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charts/style9.xml" ContentType="application/vnd.ms-office.chartstyle+xml"/>
  <Override PartName="/ppt/charts/colors9.xml" ContentType="application/vnd.ms-office.chartcolorstyle+xml"/>
  <Override PartName="/ppt/charts/chart13.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4.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5.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6.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7.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8.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9.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20.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21.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2.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3.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4.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5.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6.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7.xml" ContentType="application/vnd.openxmlformats-officedocument.drawingml.chart+xml"/>
  <Override PartName="/ppt/charts/style24.xml" ContentType="application/vnd.ms-office.chartstyle+xml"/>
  <Override PartName="/ppt/charts/colors24.xml" ContentType="application/vnd.ms-office.chartcolorstyl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34"/>
  </p:notesMasterIdLst>
  <p:handoutMasterIdLst>
    <p:handoutMasterId r:id="rId135"/>
  </p:handoutMasterIdLst>
  <p:sldIdLst>
    <p:sldId id="297" r:id="rId5"/>
    <p:sldId id="302" r:id="rId6"/>
    <p:sldId id="385" r:id="rId7"/>
    <p:sldId id="490" r:id="rId8"/>
    <p:sldId id="298" r:id="rId9"/>
    <p:sldId id="262" r:id="rId10"/>
    <p:sldId id="296" r:id="rId11"/>
    <p:sldId id="292" r:id="rId12"/>
    <p:sldId id="265" r:id="rId13"/>
    <p:sldId id="266" r:id="rId14"/>
    <p:sldId id="389" r:id="rId15"/>
    <p:sldId id="280" r:id="rId16"/>
    <p:sldId id="276" r:id="rId17"/>
    <p:sldId id="268" r:id="rId18"/>
    <p:sldId id="284" r:id="rId19"/>
    <p:sldId id="303" r:id="rId20"/>
    <p:sldId id="274" r:id="rId21"/>
    <p:sldId id="283" r:id="rId22"/>
    <p:sldId id="367" r:id="rId23"/>
    <p:sldId id="339" r:id="rId24"/>
    <p:sldId id="269" r:id="rId25"/>
    <p:sldId id="273" r:id="rId26"/>
    <p:sldId id="271" r:id="rId27"/>
    <p:sldId id="270" r:id="rId28"/>
    <p:sldId id="272" r:id="rId29"/>
    <p:sldId id="391" r:id="rId30"/>
    <p:sldId id="277" r:id="rId31"/>
    <p:sldId id="294" r:id="rId32"/>
    <p:sldId id="305" r:id="rId33"/>
    <p:sldId id="388" r:id="rId34"/>
    <p:sldId id="369" r:id="rId35"/>
    <p:sldId id="309" r:id="rId36"/>
    <p:sldId id="381" r:id="rId37"/>
    <p:sldId id="370" r:id="rId38"/>
    <p:sldId id="335" r:id="rId39"/>
    <p:sldId id="332" r:id="rId40"/>
    <p:sldId id="459" r:id="rId41"/>
    <p:sldId id="462" r:id="rId42"/>
    <p:sldId id="460" r:id="rId43"/>
    <p:sldId id="330" r:id="rId44"/>
    <p:sldId id="365" r:id="rId45"/>
    <p:sldId id="366" r:id="rId46"/>
    <p:sldId id="368" r:id="rId47"/>
    <p:sldId id="382" r:id="rId48"/>
    <p:sldId id="372" r:id="rId49"/>
    <p:sldId id="379" r:id="rId50"/>
    <p:sldId id="374" r:id="rId51"/>
    <p:sldId id="376" r:id="rId52"/>
    <p:sldId id="377" r:id="rId53"/>
    <p:sldId id="378" r:id="rId54"/>
    <p:sldId id="475" r:id="rId55"/>
    <p:sldId id="476" r:id="rId56"/>
    <p:sldId id="409" r:id="rId57"/>
    <p:sldId id="337" r:id="rId58"/>
    <p:sldId id="358" r:id="rId59"/>
    <p:sldId id="384" r:id="rId60"/>
    <p:sldId id="360" r:id="rId61"/>
    <p:sldId id="354" r:id="rId62"/>
    <p:sldId id="362" r:id="rId63"/>
    <p:sldId id="357" r:id="rId64"/>
    <p:sldId id="387" r:id="rId65"/>
    <p:sldId id="329" r:id="rId66"/>
    <p:sldId id="394" r:id="rId67"/>
    <p:sldId id="315" r:id="rId68"/>
    <p:sldId id="323" r:id="rId69"/>
    <p:sldId id="311" r:id="rId70"/>
    <p:sldId id="341" r:id="rId71"/>
    <p:sldId id="342" r:id="rId72"/>
    <p:sldId id="344" r:id="rId73"/>
    <p:sldId id="345" r:id="rId74"/>
    <p:sldId id="350" r:id="rId75"/>
    <p:sldId id="348" r:id="rId76"/>
    <p:sldId id="349" r:id="rId77"/>
    <p:sldId id="346" r:id="rId78"/>
    <p:sldId id="347" r:id="rId79"/>
    <p:sldId id="485" r:id="rId80"/>
    <p:sldId id="491" r:id="rId81"/>
    <p:sldId id="319" r:id="rId82"/>
    <p:sldId id="320" r:id="rId83"/>
    <p:sldId id="317" r:id="rId84"/>
    <p:sldId id="340" r:id="rId85"/>
    <p:sldId id="439" r:id="rId86"/>
    <p:sldId id="395" r:id="rId87"/>
    <p:sldId id="455" r:id="rId88"/>
    <p:sldId id="451" r:id="rId89"/>
    <p:sldId id="401" r:id="rId90"/>
    <p:sldId id="452" r:id="rId91"/>
    <p:sldId id="441" r:id="rId92"/>
    <p:sldId id="442" r:id="rId93"/>
    <p:sldId id="406" r:id="rId94"/>
    <p:sldId id="443" r:id="rId95"/>
    <p:sldId id="444" r:id="rId96"/>
    <p:sldId id="445" r:id="rId97"/>
    <p:sldId id="422" r:id="rId98"/>
    <p:sldId id="421" r:id="rId99"/>
    <p:sldId id="413" r:id="rId100"/>
    <p:sldId id="414" r:id="rId101"/>
    <p:sldId id="423" r:id="rId102"/>
    <p:sldId id="417" r:id="rId103"/>
    <p:sldId id="419" r:id="rId104"/>
    <p:sldId id="446" r:id="rId105"/>
    <p:sldId id="447" r:id="rId106"/>
    <p:sldId id="397" r:id="rId107"/>
    <p:sldId id="398" r:id="rId108"/>
    <p:sldId id="430" r:id="rId109"/>
    <p:sldId id="450" r:id="rId110"/>
    <p:sldId id="467" r:id="rId111"/>
    <p:sldId id="428" r:id="rId112"/>
    <p:sldId id="425" r:id="rId113"/>
    <p:sldId id="429" r:id="rId114"/>
    <p:sldId id="436" r:id="rId115"/>
    <p:sldId id="468" r:id="rId116"/>
    <p:sldId id="469" r:id="rId117"/>
    <p:sldId id="470" r:id="rId118"/>
    <p:sldId id="449" r:id="rId119"/>
    <p:sldId id="399" r:id="rId120"/>
    <p:sldId id="477" r:id="rId121"/>
    <p:sldId id="396" r:id="rId122"/>
    <p:sldId id="465" r:id="rId123"/>
    <p:sldId id="466" r:id="rId124"/>
    <p:sldId id="412" r:id="rId125"/>
    <p:sldId id="463" r:id="rId126"/>
    <p:sldId id="454" r:id="rId127"/>
    <p:sldId id="464" r:id="rId128"/>
    <p:sldId id="407" r:id="rId129"/>
    <p:sldId id="448" r:id="rId130"/>
    <p:sldId id="472" r:id="rId131"/>
    <p:sldId id="473" r:id="rId132"/>
    <p:sldId id="474" r:id="rId133"/>
  </p:sldIdLst>
  <p:sldSz cx="12192000" cy="6858000"/>
  <p:notesSz cx="6794500" cy="99314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uideline" id="{3CCD0424-C852-432F-A84B-B7293073D514}">
          <p14:sldIdLst>
            <p14:sldId id="297"/>
            <p14:sldId id="302"/>
            <p14:sldId id="385"/>
            <p14:sldId id="490"/>
          </p14:sldIdLst>
        </p14:section>
        <p14:section name="Dräger Master" id="{3056337D-3D7A-40CA-9BD6-74CA21A12765}">
          <p14:sldIdLst>
            <p14:sldId id="298"/>
            <p14:sldId id="262"/>
            <p14:sldId id="296"/>
            <p14:sldId id="292"/>
            <p14:sldId id="265"/>
            <p14:sldId id="266"/>
            <p14:sldId id="389"/>
            <p14:sldId id="280"/>
            <p14:sldId id="276"/>
            <p14:sldId id="268"/>
            <p14:sldId id="284"/>
            <p14:sldId id="303"/>
            <p14:sldId id="274"/>
            <p14:sldId id="283"/>
            <p14:sldId id="367"/>
            <p14:sldId id="339"/>
            <p14:sldId id="269"/>
            <p14:sldId id="273"/>
            <p14:sldId id="271"/>
            <p14:sldId id="270"/>
            <p14:sldId id="272"/>
            <p14:sldId id="391"/>
            <p14:sldId id="277"/>
            <p14:sldId id="294"/>
          </p14:sldIdLst>
        </p14:section>
        <p14:section name="Informative Layouts" id="{18670A38-6E7A-44A5-B623-1D5B4F60765F}">
          <p14:sldIdLst>
            <p14:sldId id="305"/>
            <p14:sldId id="388"/>
            <p14:sldId id="369"/>
            <p14:sldId id="309"/>
            <p14:sldId id="381"/>
            <p14:sldId id="370"/>
            <p14:sldId id="335"/>
            <p14:sldId id="332"/>
            <p14:sldId id="459"/>
            <p14:sldId id="462"/>
            <p14:sldId id="460"/>
            <p14:sldId id="330"/>
            <p14:sldId id="365"/>
            <p14:sldId id="366"/>
            <p14:sldId id="368"/>
            <p14:sldId id="382"/>
            <p14:sldId id="372"/>
            <p14:sldId id="379"/>
            <p14:sldId id="374"/>
            <p14:sldId id="376"/>
            <p14:sldId id="377"/>
            <p14:sldId id="378"/>
            <p14:sldId id="475"/>
            <p14:sldId id="476"/>
          </p14:sldIdLst>
        </p14:section>
        <p14:section name="Striking layouts" id="{A0CC7891-01EC-46C9-9BB1-CA6E962D7FAF}">
          <p14:sldIdLst>
            <p14:sldId id="409"/>
            <p14:sldId id="337"/>
            <p14:sldId id="358"/>
            <p14:sldId id="384"/>
            <p14:sldId id="360"/>
            <p14:sldId id="354"/>
            <p14:sldId id="362"/>
            <p14:sldId id="357"/>
            <p14:sldId id="387"/>
            <p14:sldId id="329"/>
            <p14:sldId id="394"/>
            <p14:sldId id="315"/>
            <p14:sldId id="323"/>
            <p14:sldId id="311"/>
            <p14:sldId id="341"/>
            <p14:sldId id="342"/>
            <p14:sldId id="344"/>
            <p14:sldId id="345"/>
            <p14:sldId id="350"/>
            <p14:sldId id="348"/>
            <p14:sldId id="349"/>
            <p14:sldId id="346"/>
            <p14:sldId id="347"/>
            <p14:sldId id="485"/>
            <p14:sldId id="491"/>
            <p14:sldId id="319"/>
            <p14:sldId id="320"/>
            <p14:sldId id="317"/>
            <p14:sldId id="340"/>
          </p14:sldIdLst>
        </p14:section>
        <p14:section name="Guideline Informative Set" id="{32A0A98F-FAF6-4EFF-977F-239183087CD0}">
          <p14:sldIdLst>
            <p14:sldId id="439"/>
            <p14:sldId id="395"/>
            <p14:sldId id="455"/>
          </p14:sldIdLst>
        </p14:section>
        <p14:section name="Informative Set" id="{C2EC3ADC-A95F-4006-AFF9-ADD849DECDCE}">
          <p14:sldIdLst>
            <p14:sldId id="451"/>
            <p14:sldId id="401"/>
            <p14:sldId id="452"/>
            <p14:sldId id="441"/>
            <p14:sldId id="442"/>
            <p14:sldId id="406"/>
            <p14:sldId id="443"/>
            <p14:sldId id="444"/>
            <p14:sldId id="445"/>
            <p14:sldId id="422"/>
            <p14:sldId id="421"/>
            <p14:sldId id="413"/>
            <p14:sldId id="414"/>
            <p14:sldId id="423"/>
            <p14:sldId id="417"/>
            <p14:sldId id="419"/>
            <p14:sldId id="446"/>
            <p14:sldId id="447"/>
          </p14:sldIdLst>
        </p14:section>
        <p14:section name="Guideline Striking Set" id="{97B8E2B3-DC7B-445F-B42B-6D04EF65681E}">
          <p14:sldIdLst>
            <p14:sldId id="397"/>
            <p14:sldId id="398"/>
          </p14:sldIdLst>
        </p14:section>
        <p14:section name="Striking Set 01" id="{C726E817-8CB4-4F07-8816-A409F806D4C3}">
          <p14:sldIdLst>
            <p14:sldId id="430"/>
            <p14:sldId id="450"/>
            <p14:sldId id="467"/>
            <p14:sldId id="428"/>
            <p14:sldId id="425"/>
            <p14:sldId id="429"/>
            <p14:sldId id="436"/>
            <p14:sldId id="468"/>
            <p14:sldId id="469"/>
            <p14:sldId id="470"/>
            <p14:sldId id="449"/>
          </p14:sldIdLst>
        </p14:section>
        <p14:section name="Striking Set 02" id="{77EE7AB9-B911-4A3F-A335-E110F5D474BF}">
          <p14:sldIdLst>
            <p14:sldId id="399"/>
            <p14:sldId id="477"/>
            <p14:sldId id="396"/>
            <p14:sldId id="465"/>
            <p14:sldId id="466"/>
            <p14:sldId id="412"/>
            <p14:sldId id="463"/>
            <p14:sldId id="454"/>
            <p14:sldId id="464"/>
            <p14:sldId id="407"/>
            <p14:sldId id="448"/>
          </p14:sldIdLst>
        </p14:section>
        <p14:section name="Icons" id="{ECACEA0F-7535-46E7-9378-6BA15FBD91E7}">
          <p14:sldIdLst>
            <p14:sldId id="472"/>
            <p14:sldId id="473"/>
            <p14:sldId id="474"/>
          </p14:sldIdLst>
        </p14:section>
      </p14:sectionLst>
    </p:ext>
    <p:ext uri="{EFAFB233-063F-42B5-8137-9DF3F51BA10A}">
      <p15:sldGuideLst xmlns:p15="http://schemas.microsoft.com/office/powerpoint/2012/main">
        <p15:guide id="16" pos="1935" userDrawn="1">
          <p15:clr>
            <a:srgbClr val="A4A3A4"/>
          </p15:clr>
        </p15:guide>
        <p15:guide id="18" pos="2207" userDrawn="1">
          <p15:clr>
            <a:srgbClr val="A4A3A4"/>
          </p15:clr>
        </p15:guide>
        <p15:guide id="19" pos="3704" userDrawn="1">
          <p15:clr>
            <a:srgbClr val="A4A3A4"/>
          </p15:clr>
        </p15:guide>
        <p15:guide id="20" pos="3976" userDrawn="1">
          <p15:clr>
            <a:srgbClr val="A4A3A4"/>
          </p15:clr>
        </p15:guide>
        <p15:guide id="21" pos="5473" userDrawn="1">
          <p15:clr>
            <a:srgbClr val="A4A3A4"/>
          </p15:clr>
        </p15:guide>
        <p15:guide id="22" pos="5745" userDrawn="1">
          <p15:clr>
            <a:srgbClr val="A4A3A4"/>
          </p15:clr>
        </p15:guide>
        <p15:guide id="23" pos="393" userDrawn="1">
          <p15:clr>
            <a:srgbClr val="A4A3A4"/>
          </p15:clr>
        </p15:guide>
        <p15:guide id="24" pos="7287" userDrawn="1">
          <p15:clr>
            <a:srgbClr val="A4A3A4"/>
          </p15:clr>
        </p15:guide>
        <p15:guide id="25"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id Kahlisch" initials="DK" lastIdx="1" clrIdx="0">
    <p:extLst>
      <p:ext uri="{19B8F6BF-5375-455C-9EA6-DF929625EA0E}">
        <p15:presenceInfo xmlns:p15="http://schemas.microsoft.com/office/powerpoint/2012/main" userId="S-1-5-21-2900290652-3162160026-1438150922-173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653DB0C-6615-4049-9199-DE9CC69911B9}">
  <a:tblStyle styleId="{C653DB0C-6615-4049-9199-DE9CC69911B9}" styleName="Dräger Tab">
    <a:wholeTbl>
      <a:tcTxStyle>
        <a:fontRef idx="minor">
          <a:prstClr val="black"/>
        </a:fontRef>
        <a:schemeClr val="dk1"/>
      </a:tcTxStyle>
      <a:tcStyle>
        <a:tcBdr>
          <a:left>
            <a:ln>
              <a:noFill/>
            </a:ln>
          </a:left>
          <a:right>
            <a:ln>
              <a:noFill/>
            </a:ln>
          </a:right>
          <a:top>
            <a:ln w="6350" cmpd="sng">
              <a:solidFill>
                <a:schemeClr val="dk1"/>
              </a:solidFill>
            </a:ln>
          </a:top>
          <a:bottom>
            <a:ln w="6350" cmpd="sng">
              <a:solidFill>
                <a:schemeClr val="dk1"/>
              </a:solidFill>
            </a:ln>
          </a:bottom>
          <a:insideH>
            <a:ln w="6350" cmpd="sng">
              <a:solidFill>
                <a:schemeClr val="dk1"/>
              </a:solidFill>
            </a:ln>
          </a:insideH>
          <a:insideV>
            <a:ln>
              <a:noFill/>
            </a:ln>
          </a:insideV>
        </a:tcBdr>
        <a:fill>
          <a:noFill/>
        </a:fill>
      </a:tcStyle>
    </a:wholeTbl>
    <a:lastCol>
      <a:tcTxStyle>
        <a:fontRef idx="major">
          <a:prstClr val="black"/>
        </a:fontRef>
        <a:schemeClr val="dk1"/>
      </a:tcTxStyle>
      <a:tcStyle>
        <a:tcBdr/>
      </a:tcStyle>
    </a:lastCol>
    <a:firstCol>
      <a:tcTxStyle>
        <a:fontRef idx="major">
          <a:prstClr val="black"/>
        </a:fontRef>
        <a:schemeClr val="dk1"/>
      </a:tcTxStyle>
      <a:tcStyle>
        <a:tcBdr/>
      </a:tcStyle>
    </a:firstCol>
    <a:lastRow>
      <a:tcTxStyle>
        <a:fontRef idx="major">
          <a:prstClr val="black"/>
        </a:fontRef>
        <a:schemeClr val="dk1"/>
      </a:tcTxStyle>
      <a:tcStyle>
        <a:tcBdr>
          <a:top>
            <a:ln w="19050" cmpd="sng">
              <a:solidFill>
                <a:schemeClr val="dk1"/>
              </a:solidFill>
            </a:ln>
          </a:top>
        </a:tcBdr>
      </a:tcStyle>
    </a:lastRow>
    <a:firstRow>
      <a:tcTxStyle>
        <a:fontRef idx="major">
          <a:prstClr val="black"/>
        </a:fontRef>
        <a:schemeClr val="accent1"/>
      </a:tcTxStyle>
      <a:tcStyle>
        <a:tcBdr/>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16" autoAdjust="0"/>
    <p:restoredTop sz="95828" autoAdjust="0"/>
  </p:normalViewPr>
  <p:slideViewPr>
    <p:cSldViewPr showGuides="1">
      <p:cViewPr varScale="1">
        <p:scale>
          <a:sx n="75" d="100"/>
          <a:sy n="75" d="100"/>
        </p:scale>
        <p:origin x="36" y="140"/>
      </p:cViewPr>
      <p:guideLst>
        <p:guide pos="1935"/>
        <p:guide pos="2207"/>
        <p:guide pos="3704"/>
        <p:guide pos="3976"/>
        <p:guide pos="5473"/>
        <p:guide pos="5745"/>
        <p:guide pos="393"/>
        <p:guide pos="7287"/>
        <p:guide orient="horz" pos="2160"/>
      </p:guideLst>
    </p:cSldViewPr>
  </p:slideViewPr>
  <p:notesTextViewPr>
    <p:cViewPr>
      <p:scale>
        <a:sx n="3" d="2"/>
        <a:sy n="3" d="2"/>
      </p:scale>
      <p:origin x="0" y="0"/>
    </p:cViewPr>
  </p:notesTextViewPr>
  <p:sorterViewPr>
    <p:cViewPr>
      <p:scale>
        <a:sx n="1" d="2"/>
        <a:sy n="1" d="2"/>
      </p:scale>
      <p:origin x="0" y="0"/>
    </p:cViewPr>
  </p:sorterViewPr>
  <p:notesViewPr>
    <p:cSldViewPr showGuides="1">
      <p:cViewPr varScale="1">
        <p:scale>
          <a:sx n="74" d="100"/>
          <a:sy n="74" d="100"/>
        </p:scale>
        <p:origin x="4044" y="7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38" Type="http://schemas.openxmlformats.org/officeDocument/2006/relationships/viewProps" Target="viewProp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notesMaster" Target="notesMasters/notesMaster1.xml"/><Relationship Id="rId139"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116" Type="http://schemas.openxmlformats.org/officeDocument/2006/relationships/slide" Target="slides/slide112.xml"/><Relationship Id="rId124" Type="http://schemas.openxmlformats.org/officeDocument/2006/relationships/slide" Target="slides/slide120.xml"/><Relationship Id="rId129" Type="http://schemas.openxmlformats.org/officeDocument/2006/relationships/slide" Target="slides/slide125.xml"/><Relationship Id="rId137"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32" Type="http://schemas.openxmlformats.org/officeDocument/2006/relationships/slide" Target="slides/slide128.xml"/><Relationship Id="rId14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slide" Target="slides/slide126.xml"/><Relationship Id="rId135"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microsoft.com/office/2016/11/relationships/changesInfo" Target="changesInfos/changesInfo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commentAuthors" Target="commentAuthor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utierrez, Lina" userId="d0e15861-044d-4890-b868-cd78f3ef34ca" providerId="ADAL" clId="{0E36A875-A49D-4802-9E2E-CC86ADD28879}"/>
    <pc:docChg chg="undo custSel modSld">
      <pc:chgData name="Gutierrez, Lina" userId="d0e15861-044d-4890-b868-cd78f3ef34ca" providerId="ADAL" clId="{0E36A875-A49D-4802-9E2E-CC86ADD28879}" dt="2020-12-10T20:13:12.557" v="583" actId="20577"/>
      <pc:docMkLst>
        <pc:docMk/>
      </pc:docMkLst>
      <pc:sldChg chg="addSp delSp modSp">
        <pc:chgData name="Gutierrez, Lina" userId="d0e15861-044d-4890-b868-cd78f3ef34ca" providerId="ADAL" clId="{0E36A875-A49D-4802-9E2E-CC86ADD28879}" dt="2020-12-10T20:13:12.557" v="583" actId="20577"/>
        <pc:sldMkLst>
          <pc:docMk/>
          <pc:sldMk cId="4025140885" sldId="283"/>
        </pc:sldMkLst>
        <pc:spChg chg="mod">
          <ac:chgData name="Gutierrez, Lina" userId="d0e15861-044d-4890-b868-cd78f3ef34ca" providerId="ADAL" clId="{0E36A875-A49D-4802-9E2E-CC86ADD28879}" dt="2020-12-10T19:57:12.793" v="13" actId="20577"/>
          <ac:spMkLst>
            <pc:docMk/>
            <pc:sldMk cId="4025140885" sldId="283"/>
            <ac:spMk id="7" creationId="{9D15BD9F-CEA8-4E58-A30C-D3C8AFCBF30C}"/>
          </ac:spMkLst>
        </pc:spChg>
        <pc:spChg chg="mod">
          <ac:chgData name="Gutierrez, Lina" userId="d0e15861-044d-4890-b868-cd78f3ef34ca" providerId="ADAL" clId="{0E36A875-A49D-4802-9E2E-CC86ADD28879}" dt="2020-12-10T20:08:35.944" v="21" actId="20577"/>
          <ac:spMkLst>
            <pc:docMk/>
            <pc:sldMk cId="4025140885" sldId="283"/>
            <ac:spMk id="9" creationId="{EDA10F32-BF86-4938-8486-B9CD4AD9BA3C}"/>
          </ac:spMkLst>
        </pc:spChg>
        <pc:spChg chg="mod">
          <ac:chgData name="Gutierrez, Lina" userId="d0e15861-044d-4890-b868-cd78f3ef34ca" providerId="ADAL" clId="{0E36A875-A49D-4802-9E2E-CC86ADD28879}" dt="2020-12-10T20:09:36.816" v="188" actId="20577"/>
          <ac:spMkLst>
            <pc:docMk/>
            <pc:sldMk cId="4025140885" sldId="283"/>
            <ac:spMk id="14" creationId="{ADFF6E98-B884-425D-ACD4-53BB08719BB4}"/>
          </ac:spMkLst>
        </pc:spChg>
        <pc:spChg chg="mod">
          <ac:chgData name="Gutierrez, Lina" userId="d0e15861-044d-4890-b868-cd78f3ef34ca" providerId="ADAL" clId="{0E36A875-A49D-4802-9E2E-CC86ADD28879}" dt="2020-12-10T20:11:23.707" v="285" actId="20577"/>
          <ac:spMkLst>
            <pc:docMk/>
            <pc:sldMk cId="4025140885" sldId="283"/>
            <ac:spMk id="17" creationId="{12E90683-A0F4-46C9-A24E-0CAF57146430}"/>
          </ac:spMkLst>
        </pc:spChg>
        <pc:spChg chg="mod">
          <ac:chgData name="Gutierrez, Lina" userId="d0e15861-044d-4890-b868-cd78f3ef34ca" providerId="ADAL" clId="{0E36A875-A49D-4802-9E2E-CC86ADD28879}" dt="2020-12-10T20:12:18.785" v="447" actId="20577"/>
          <ac:spMkLst>
            <pc:docMk/>
            <pc:sldMk cId="4025140885" sldId="283"/>
            <ac:spMk id="18" creationId="{4FA09FA8-3AD2-4491-8919-6112627C53A1}"/>
          </ac:spMkLst>
        </pc:spChg>
        <pc:spChg chg="mod">
          <ac:chgData name="Gutierrez, Lina" userId="d0e15861-044d-4890-b868-cd78f3ef34ca" providerId="ADAL" clId="{0E36A875-A49D-4802-9E2E-CC86ADD28879}" dt="2020-12-10T20:13:12.557" v="583" actId="20577"/>
          <ac:spMkLst>
            <pc:docMk/>
            <pc:sldMk cId="4025140885" sldId="283"/>
            <ac:spMk id="19" creationId="{700BD282-ACDB-45A6-909F-2AB88D9183BA}"/>
          </ac:spMkLst>
        </pc:spChg>
        <pc:spChg chg="mod">
          <ac:chgData name="Gutierrez, Lina" userId="d0e15861-044d-4890-b868-cd78f3ef34ca" providerId="ADAL" clId="{0E36A875-A49D-4802-9E2E-CC86ADD28879}" dt="2020-12-10T20:09:17.563" v="139" actId="20577"/>
          <ac:spMkLst>
            <pc:docMk/>
            <pc:sldMk cId="4025140885" sldId="283"/>
            <ac:spMk id="31" creationId="{97053E5C-9D7B-4902-93F0-0DD5F631F36B}"/>
          </ac:spMkLst>
        </pc:spChg>
        <pc:spChg chg="mod">
          <ac:chgData name="Gutierrez, Lina" userId="d0e15861-044d-4890-b868-cd78f3ef34ca" providerId="ADAL" clId="{0E36A875-A49D-4802-9E2E-CC86ADD28879}" dt="2020-12-10T20:11:27.514" v="291" actId="20577"/>
          <ac:spMkLst>
            <pc:docMk/>
            <pc:sldMk cId="4025140885" sldId="283"/>
            <ac:spMk id="32" creationId="{9A43A67D-CD2F-461A-8BAE-DBA5DC2761B2}"/>
          </ac:spMkLst>
        </pc:spChg>
        <pc:spChg chg="mod">
          <ac:chgData name="Gutierrez, Lina" userId="d0e15861-044d-4890-b868-cd78f3ef34ca" providerId="ADAL" clId="{0E36A875-A49D-4802-9E2E-CC86ADD28879}" dt="2020-12-10T20:12:25.266" v="451" actId="20577"/>
          <ac:spMkLst>
            <pc:docMk/>
            <pc:sldMk cId="4025140885" sldId="283"/>
            <ac:spMk id="33" creationId="{19A60BFC-F982-4359-8E03-E1BD811B46E8}"/>
          </ac:spMkLst>
        </pc:spChg>
        <pc:picChg chg="add del mod">
          <ac:chgData name="Gutierrez, Lina" userId="d0e15861-044d-4890-b868-cd78f3ef34ca" providerId="ADAL" clId="{0E36A875-A49D-4802-9E2E-CC86ADD28879}" dt="2020-12-10T20:06:57.076" v="15" actId="478"/>
          <ac:picMkLst>
            <pc:docMk/>
            <pc:sldMk cId="4025140885" sldId="283"/>
            <ac:picMk id="5" creationId="{C911E8A7-0DC2-48DB-910A-BA8E8A71594F}"/>
          </ac:picMkLst>
        </pc:picChg>
        <pc:picChg chg="mod">
          <ac:chgData name="Gutierrez, Lina" userId="d0e15861-044d-4890-b868-cd78f3ef34ca" providerId="ADAL" clId="{0E36A875-A49D-4802-9E2E-CC86ADD28879}" dt="2020-12-10T20:08:26.244" v="17" actId="14826"/>
          <ac:picMkLst>
            <pc:docMk/>
            <pc:sldMk cId="4025140885" sldId="283"/>
            <ac:picMk id="15" creationId="{183A125D-DFC6-4CD8-BB2F-B90455512561}"/>
          </ac:picMkLst>
        </pc:picChg>
        <pc:picChg chg="mod">
          <ac:chgData name="Gutierrez, Lina" userId="d0e15861-044d-4890-b868-cd78f3ef34ca" providerId="ADAL" clId="{0E36A875-A49D-4802-9E2E-CC86ADD28879}" dt="2020-12-10T20:07:07.682" v="16" actId="14826"/>
          <ac:picMkLst>
            <pc:docMk/>
            <pc:sldMk cId="4025140885" sldId="283"/>
            <ac:picMk id="24" creationId="{EA6164BA-70BB-48A8-8499-13BA956AED3A}"/>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8.xml"/><Relationship Id="rId1" Type="http://schemas.microsoft.com/office/2011/relationships/chartStyle" Target="style8.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9.xml"/><Relationship Id="rId1" Type="http://schemas.microsoft.com/office/2011/relationships/chartStyle" Target="style9.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0.xml"/><Relationship Id="rId1" Type="http://schemas.microsoft.com/office/2011/relationships/chartStyle" Target="style10.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1.xml"/><Relationship Id="rId1" Type="http://schemas.microsoft.com/office/2011/relationships/chartStyle" Target="style11.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2.xml"/><Relationship Id="rId1" Type="http://schemas.microsoft.com/office/2011/relationships/chartStyle" Target="style12.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3.xml"/><Relationship Id="rId1" Type="http://schemas.microsoft.com/office/2011/relationships/chartStyle" Target="style13.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4.xml"/><Relationship Id="rId1" Type="http://schemas.microsoft.com/office/2011/relationships/chartStyle" Target="style14.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5.xml"/><Relationship Id="rId1" Type="http://schemas.microsoft.com/office/2011/relationships/chartStyle" Target="style15.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6.xml"/><Relationship Id="rId1" Type="http://schemas.microsoft.com/office/2011/relationships/chartStyle" Target="style16.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7.xml"/><Relationship Id="rId1" Type="http://schemas.microsoft.com/office/2011/relationships/chartStyle" Target="style17.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8.xml"/><Relationship Id="rId1" Type="http://schemas.microsoft.com/office/2011/relationships/chartStyle" Target="style18.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9.xml"/><Relationship Id="rId1" Type="http://schemas.microsoft.com/office/2011/relationships/chartStyle" Target="style19.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0.xml"/><Relationship Id="rId1" Type="http://schemas.microsoft.com/office/2011/relationships/chartStyle" Target="style20.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1.xml"/><Relationship Id="rId1" Type="http://schemas.microsoft.com/office/2011/relationships/chartStyle" Target="style21.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2.xml"/><Relationship Id="rId1" Type="http://schemas.microsoft.com/office/2011/relationships/chartStyle" Target="style22.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3.xml"/><Relationship Id="rId1" Type="http://schemas.microsoft.com/office/2011/relationships/chartStyle" Target="style23.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4.xml"/><Relationship Id="rId1" Type="http://schemas.microsoft.com/office/2011/relationships/chartStyle" Target="style24.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solidFill>
                <a:latin typeface="+mj-lt"/>
                <a:ea typeface="+mn-ea"/>
                <a:cs typeface="+mn-cs"/>
              </a:defRPr>
            </a:pPr>
            <a:r>
              <a:rPr lang="de-DE" dirty="0"/>
              <a:t>Sales</a:t>
            </a:r>
          </a:p>
        </c:rich>
      </c:tx>
      <c:layout>
        <c:manualLayout>
          <c:xMode val="edge"/>
          <c:yMode val="edge"/>
          <c:x val="0.39348631997564798"/>
          <c:y val="0.36681838135573974"/>
        </c:manualLayout>
      </c:layout>
      <c:overlay val="0"/>
      <c:spPr>
        <a:noFill/>
        <a:ln>
          <a:noFill/>
        </a:ln>
        <a:effectLst/>
      </c:spPr>
      <c:txPr>
        <a:bodyPr rot="0" spcFirstLastPara="1" vertOverflow="ellipsis" vert="horz" wrap="square" anchor="ctr" anchorCtr="1"/>
        <a:lstStyle/>
        <a:p>
          <a:pPr>
            <a:defRPr sz="1600" b="0" i="0" u="none" strike="noStrike" kern="1200" spc="0" baseline="0">
              <a:solidFill>
                <a:schemeClr val="tx1"/>
              </a:solidFill>
              <a:latin typeface="+mj-lt"/>
              <a:ea typeface="+mn-ea"/>
              <a:cs typeface="+mn-cs"/>
            </a:defRPr>
          </a:pPr>
          <a:endParaRPr lang="es-CO"/>
        </a:p>
      </c:txPr>
    </c:title>
    <c:autoTitleDeleted val="0"/>
    <c:plotArea>
      <c:layout>
        <c:manualLayout>
          <c:layoutTarget val="inner"/>
          <c:xMode val="edge"/>
          <c:yMode val="edge"/>
          <c:x val="4.0422594059933079E-2"/>
          <c:y val="6.4094991342715776E-2"/>
          <c:w val="0.91915481188013382"/>
          <c:h val="0.70038520670437376"/>
        </c:manualLayout>
      </c:layout>
      <c:doughnutChart>
        <c:varyColors val="1"/>
        <c:ser>
          <c:idx val="0"/>
          <c:order val="0"/>
          <c:tx>
            <c:strRef>
              <c:f>Tabelle1!$B$1</c:f>
              <c:strCache>
                <c:ptCount val="1"/>
                <c:pt idx="0">
                  <c:v>Verkauf</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297A-4085-A491-A2483D493513}"/>
              </c:ext>
            </c:extLst>
          </c:dPt>
          <c:dPt>
            <c:idx val="1"/>
            <c:bubble3D val="0"/>
            <c:spPr>
              <a:solidFill>
                <a:schemeClr val="accent2"/>
              </a:solidFill>
              <a:ln w="19050">
                <a:noFill/>
              </a:ln>
              <a:effectLst/>
            </c:spPr>
            <c:extLst>
              <c:ext xmlns:c16="http://schemas.microsoft.com/office/drawing/2014/chart" uri="{C3380CC4-5D6E-409C-BE32-E72D297353CC}">
                <c16:uniqueId val="{00000003-297A-4085-A491-A2483D493513}"/>
              </c:ext>
            </c:extLst>
          </c:dPt>
          <c:dPt>
            <c:idx val="2"/>
            <c:bubble3D val="0"/>
            <c:spPr>
              <a:solidFill>
                <a:schemeClr val="accent3"/>
              </a:solidFill>
              <a:ln w="19050">
                <a:noFill/>
              </a:ln>
              <a:effectLst/>
            </c:spPr>
            <c:extLst>
              <c:ext xmlns:c16="http://schemas.microsoft.com/office/drawing/2014/chart" uri="{C3380CC4-5D6E-409C-BE32-E72D297353CC}">
                <c16:uniqueId val="{00000005-297A-4085-A491-A2483D493513}"/>
              </c:ext>
            </c:extLst>
          </c:dPt>
          <c:dPt>
            <c:idx val="3"/>
            <c:bubble3D val="0"/>
            <c:spPr>
              <a:solidFill>
                <a:schemeClr val="accent4"/>
              </a:solidFill>
              <a:ln w="19050">
                <a:noFill/>
              </a:ln>
              <a:effectLst/>
            </c:spPr>
            <c:extLst>
              <c:ext xmlns:c16="http://schemas.microsoft.com/office/drawing/2014/chart" uri="{C3380CC4-5D6E-409C-BE32-E72D297353CC}">
                <c16:uniqueId val="{00000007-297A-4085-A491-A2483D493513}"/>
              </c:ext>
            </c:extLst>
          </c:dPt>
          <c:cat>
            <c:strRef>
              <c:f>Tabelle1!$A$2:$A$5</c:f>
              <c:strCache>
                <c:ptCount val="4"/>
                <c:pt idx="0">
                  <c:v>1. Quarter</c:v>
                </c:pt>
                <c:pt idx="1">
                  <c:v>2. Quarter</c:v>
                </c:pt>
                <c:pt idx="2">
                  <c:v>3. Quarter</c:v>
                </c:pt>
                <c:pt idx="3">
                  <c:v>4. Quarter</c:v>
                </c:pt>
              </c:strCache>
            </c:strRef>
          </c:cat>
          <c:val>
            <c:numRef>
              <c:f>Tabelle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A439-433E-BE91-4CCAF4282E2C}"/>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37499999999999E-3"/>
          <c:w val="1"/>
          <c:h val="0.83673472222222223"/>
        </c:manualLayout>
      </c:layout>
      <c:barChart>
        <c:barDir val="col"/>
        <c:grouping val="clustered"/>
        <c:varyColors val="0"/>
        <c:ser>
          <c:idx val="0"/>
          <c:order val="0"/>
          <c:tx>
            <c:strRef>
              <c:f>Tabelle1!$B$1</c:f>
              <c:strCache>
                <c:ptCount val="1"/>
                <c:pt idx="0">
                  <c:v>Datenreihe 1</c:v>
                </c:pt>
              </c:strCache>
            </c:strRef>
          </c:tx>
          <c:spPr>
            <a:solidFill>
              <a:schemeClr val="accent1"/>
            </a:solidFill>
            <a:ln>
              <a:noFill/>
            </a:ln>
            <a:effectLst/>
          </c:spPr>
          <c:invertIfNegative val="0"/>
          <c:dLbls>
            <c:dLbl>
              <c:idx val="0"/>
              <c:tx>
                <c:rich>
                  <a:bodyPr/>
                  <a:lstStyle/>
                  <a:p>
                    <a:r>
                      <a:rPr lang="en-US" dirty="0"/>
                      <a:t>4.3</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393-49F6-AD3C-FE95C5F22B4E}"/>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Comparison 02</c:v>
                </c:pt>
              </c:strCache>
            </c:strRef>
          </c:cat>
          <c:val>
            <c:numRef>
              <c:f>Tabelle1!$B$2</c:f>
              <c:numCache>
                <c:formatCode>General</c:formatCode>
                <c:ptCount val="1"/>
                <c:pt idx="0">
                  <c:v>4.3</c:v>
                </c:pt>
              </c:numCache>
            </c:numRef>
          </c:val>
          <c:extLst>
            <c:ext xmlns:c16="http://schemas.microsoft.com/office/drawing/2014/chart" uri="{C3380CC4-5D6E-409C-BE32-E72D297353CC}">
              <c16:uniqueId val="{00000000-B393-49F6-AD3C-FE95C5F22B4E}"/>
            </c:ext>
          </c:extLst>
        </c:ser>
        <c:ser>
          <c:idx val="1"/>
          <c:order val="1"/>
          <c:tx>
            <c:strRef>
              <c:f>Tabelle1!$C$1</c:f>
              <c:strCache>
                <c:ptCount val="1"/>
                <c:pt idx="0">
                  <c:v>Datenreihe 2</c:v>
                </c:pt>
              </c:strCache>
            </c:strRef>
          </c:tx>
          <c:spPr>
            <a:solidFill>
              <a:schemeClr val="accent5"/>
            </a:solidFill>
            <a:ln>
              <a:noFill/>
            </a:ln>
            <a:effectLst/>
          </c:spPr>
          <c:invertIfNegative val="0"/>
          <c:dLbls>
            <c:dLbl>
              <c:idx val="0"/>
              <c:tx>
                <c:rich>
                  <a:bodyPr/>
                  <a:lstStyle/>
                  <a:p>
                    <a:r>
                      <a:rPr lang="en-US" dirty="0"/>
                      <a:t>2.4</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393-49F6-AD3C-FE95C5F22B4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Comparison 02</c:v>
                </c:pt>
              </c:strCache>
            </c:strRef>
          </c:cat>
          <c:val>
            <c:numRef>
              <c:f>Tabelle1!$C$2</c:f>
              <c:numCache>
                <c:formatCode>General</c:formatCode>
                <c:ptCount val="1"/>
                <c:pt idx="0">
                  <c:v>2.4</c:v>
                </c:pt>
              </c:numCache>
            </c:numRef>
          </c:val>
          <c:extLst>
            <c:ext xmlns:c16="http://schemas.microsoft.com/office/drawing/2014/chart" uri="{C3380CC4-5D6E-409C-BE32-E72D297353CC}">
              <c16:uniqueId val="{00000001-B393-49F6-AD3C-FE95C5F22B4E}"/>
            </c:ext>
          </c:extLst>
        </c:ser>
        <c:ser>
          <c:idx val="2"/>
          <c:order val="2"/>
          <c:tx>
            <c:strRef>
              <c:f>Tabelle1!$D$1</c:f>
              <c:strCache>
                <c:ptCount val="1"/>
                <c:pt idx="0">
                  <c:v>Datenreihe 3</c:v>
                </c:pt>
              </c:strCache>
            </c:strRef>
          </c:tx>
          <c:spPr>
            <a:solidFill>
              <a:schemeClr val="accent2"/>
            </a:solidFill>
            <a:ln>
              <a:noFill/>
            </a:ln>
            <a:effectLst/>
          </c:spPr>
          <c:invertIfNegative val="0"/>
          <c:dLbls>
            <c:dLbl>
              <c:idx val="0"/>
              <c:tx>
                <c:rich>
                  <a:bodyPr/>
                  <a:lstStyle/>
                  <a:p>
                    <a:r>
                      <a:rPr lang="en-US" dirty="0"/>
                      <a:t>3.0</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393-49F6-AD3C-FE95C5F22B4E}"/>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Comparison 02</c:v>
                </c:pt>
              </c:strCache>
            </c:strRef>
          </c:cat>
          <c:val>
            <c:numRef>
              <c:f>Tabelle1!$D$2</c:f>
              <c:numCache>
                <c:formatCode>General</c:formatCode>
                <c:ptCount val="1"/>
                <c:pt idx="0">
                  <c:v>3</c:v>
                </c:pt>
              </c:numCache>
            </c:numRef>
          </c:val>
          <c:extLst>
            <c:ext xmlns:c16="http://schemas.microsoft.com/office/drawing/2014/chart" uri="{C3380CC4-5D6E-409C-BE32-E72D297353CC}">
              <c16:uniqueId val="{00000002-B393-49F6-AD3C-FE95C5F22B4E}"/>
            </c:ext>
          </c:extLst>
        </c:ser>
        <c:dLbls>
          <c:showLegendKey val="0"/>
          <c:showVal val="0"/>
          <c:showCatName val="0"/>
          <c:showSerName val="0"/>
          <c:showPercent val="0"/>
          <c:showBubbleSize val="0"/>
        </c:dLbls>
        <c:gapWidth val="100"/>
        <c:overlap val="-42"/>
        <c:axId val="168223488"/>
        <c:axId val="168225024"/>
      </c:barChart>
      <c:catAx>
        <c:axId val="168223488"/>
        <c:scaling>
          <c:orientation val="minMax"/>
        </c:scaling>
        <c:delete val="0"/>
        <c:axPos val="b"/>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O"/>
          </a:p>
        </c:txPr>
        <c:crossAx val="168225024"/>
        <c:crosses val="autoZero"/>
        <c:auto val="1"/>
        <c:lblAlgn val="ctr"/>
        <c:lblOffset val="100"/>
        <c:noMultiLvlLbl val="0"/>
      </c:catAx>
      <c:valAx>
        <c:axId val="168225024"/>
        <c:scaling>
          <c:orientation val="minMax"/>
        </c:scaling>
        <c:delete val="1"/>
        <c:axPos val="l"/>
        <c:numFmt formatCode="General" sourceLinked="1"/>
        <c:majorTickMark val="none"/>
        <c:minorTickMark val="none"/>
        <c:tickLblPos val="nextTo"/>
        <c:crossAx val="168223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5.5555555555555558E-5"/>
          <c:w val="0.99988890123319629"/>
          <c:h val="1"/>
        </c:manualLayout>
      </c:layout>
      <c:doughnutChart>
        <c:varyColors val="0"/>
        <c:ser>
          <c:idx val="0"/>
          <c:order val="0"/>
          <c:tx>
            <c:strRef>
              <c:f>Tabelle1!$B$1</c:f>
              <c:strCache>
                <c:ptCount val="1"/>
                <c:pt idx="0">
                  <c:v>Verkauf</c:v>
                </c:pt>
              </c:strCache>
            </c:strRef>
          </c:tx>
          <c:spPr>
            <a:solidFill>
              <a:schemeClr val="accent5"/>
            </a:solidFill>
            <a:ln w="44450">
              <a:solidFill>
                <a:schemeClr val="bg1"/>
              </a:solidFill>
            </a:ln>
          </c:spPr>
          <c:dPt>
            <c:idx val="0"/>
            <c:bubble3D val="0"/>
            <c:spPr>
              <a:solidFill>
                <a:schemeClr val="accent1"/>
              </a:solidFill>
              <a:ln w="44450">
                <a:solidFill>
                  <a:schemeClr val="bg1"/>
                </a:solidFill>
              </a:ln>
            </c:spPr>
            <c:extLst>
              <c:ext xmlns:c16="http://schemas.microsoft.com/office/drawing/2014/chart" uri="{C3380CC4-5D6E-409C-BE32-E72D297353CC}">
                <c16:uniqueId val="{00000001-B188-4DC6-9F09-FAE52AADDAB0}"/>
              </c:ext>
            </c:extLst>
          </c:dPt>
          <c:dPt>
            <c:idx val="1"/>
            <c:bubble3D val="0"/>
            <c:spPr>
              <a:solidFill>
                <a:schemeClr val="accent2"/>
              </a:solidFill>
              <a:ln w="44450">
                <a:solidFill>
                  <a:schemeClr val="bg1"/>
                </a:solidFill>
              </a:ln>
            </c:spPr>
            <c:extLst>
              <c:ext xmlns:c16="http://schemas.microsoft.com/office/drawing/2014/chart" uri="{C3380CC4-5D6E-409C-BE32-E72D297353CC}">
                <c16:uniqueId val="{00000003-B188-4DC6-9F09-FAE52AADDAB0}"/>
              </c:ext>
            </c:extLst>
          </c:dPt>
          <c:dPt>
            <c:idx val="2"/>
            <c:bubble3D val="0"/>
            <c:spPr>
              <a:solidFill>
                <a:schemeClr val="accent3"/>
              </a:solidFill>
              <a:ln w="44450">
                <a:solidFill>
                  <a:schemeClr val="bg1"/>
                </a:solidFill>
              </a:ln>
            </c:spPr>
            <c:extLst>
              <c:ext xmlns:c16="http://schemas.microsoft.com/office/drawing/2014/chart" uri="{C3380CC4-5D6E-409C-BE32-E72D297353CC}">
                <c16:uniqueId val="{00000005-B188-4DC6-9F09-FAE52AADDAB0}"/>
              </c:ext>
            </c:extLst>
          </c:dPt>
          <c:dPt>
            <c:idx val="3"/>
            <c:bubble3D val="0"/>
            <c:extLst>
              <c:ext xmlns:c16="http://schemas.microsoft.com/office/drawing/2014/chart" uri="{C3380CC4-5D6E-409C-BE32-E72D297353CC}">
                <c16:uniqueId val="{00000007-B188-4DC6-9F09-FAE52AADDAB0}"/>
              </c:ext>
            </c:extLst>
          </c:dPt>
          <c:dPt>
            <c:idx val="4"/>
            <c:bubble3D val="0"/>
            <c:spPr>
              <a:solidFill>
                <a:schemeClr val="accent5">
                  <a:alpha val="0"/>
                </a:schemeClr>
              </a:solidFill>
              <a:ln w="44450">
                <a:noFill/>
              </a:ln>
            </c:spPr>
            <c:extLst>
              <c:ext xmlns:c16="http://schemas.microsoft.com/office/drawing/2014/chart" uri="{C3380CC4-5D6E-409C-BE32-E72D297353CC}">
                <c16:uniqueId val="{00000009-B188-4DC6-9F09-FAE52AADDAB0}"/>
              </c:ext>
            </c:extLst>
          </c:dPt>
          <c:cat>
            <c:strRef>
              <c:f>Tabelle1!$A$2:$A$6</c:f>
              <c:strCache>
                <c:ptCount val="5"/>
                <c:pt idx="0">
                  <c:v>1. Quartal</c:v>
                </c:pt>
                <c:pt idx="1">
                  <c:v>2. Quartal</c:v>
                </c:pt>
                <c:pt idx="2">
                  <c:v>3. Quartal</c:v>
                </c:pt>
                <c:pt idx="3">
                  <c:v>4. Quartal</c:v>
                </c:pt>
                <c:pt idx="4">
                  <c:v>FIX</c:v>
                </c:pt>
              </c:strCache>
            </c:strRef>
          </c:cat>
          <c:val>
            <c:numRef>
              <c:f>Tabelle1!$B$2:$B$6</c:f>
              <c:numCache>
                <c:formatCode>General</c:formatCode>
                <c:ptCount val="5"/>
                <c:pt idx="0">
                  <c:v>0.2</c:v>
                </c:pt>
                <c:pt idx="1">
                  <c:v>0.15</c:v>
                </c:pt>
                <c:pt idx="2">
                  <c:v>0.1</c:v>
                </c:pt>
                <c:pt idx="3">
                  <c:v>0.05</c:v>
                </c:pt>
                <c:pt idx="4">
                  <c:v>0.5</c:v>
                </c:pt>
              </c:numCache>
            </c:numRef>
          </c:val>
          <c:extLst>
            <c:ext xmlns:c16="http://schemas.microsoft.com/office/drawing/2014/chart" uri="{C3380CC4-5D6E-409C-BE32-E72D297353CC}">
              <c16:uniqueId val="{0000000A-B188-4DC6-9F09-FAE52AADDAB0}"/>
            </c:ext>
          </c:extLst>
        </c:ser>
        <c:dLbls>
          <c:showLegendKey val="0"/>
          <c:showVal val="0"/>
          <c:showCatName val="0"/>
          <c:showSerName val="0"/>
          <c:showPercent val="0"/>
          <c:showBubbleSize val="0"/>
          <c:showLeaderLines val="1"/>
        </c:dLbls>
        <c:firstSliceAng val="180"/>
        <c:holeSize val="73"/>
      </c:doughnutChart>
    </c:plotArea>
    <c:plotVisOnly val="1"/>
    <c:dispBlanksAs val="gap"/>
    <c:showDLblsOverMax val="0"/>
  </c:chart>
  <c:txPr>
    <a:bodyPr/>
    <a:lstStyle/>
    <a:p>
      <a:pPr>
        <a:defRPr sz="1800"/>
      </a:pPr>
      <a:endParaRPr lang="es-CO"/>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2-28F0-40E9-B0B7-909AED6502F9}"/>
              </c:ext>
            </c:extLst>
          </c:dPt>
          <c:dPt>
            <c:idx val="1"/>
            <c:bubble3D val="0"/>
            <c:spPr>
              <a:solidFill>
                <a:schemeClr val="bg2"/>
              </a:solidFill>
              <a:ln w="19050">
                <a:noFill/>
              </a:ln>
              <a:effectLst/>
            </c:spPr>
            <c:extLst>
              <c:ext xmlns:c16="http://schemas.microsoft.com/office/drawing/2014/chart" uri="{C3380CC4-5D6E-409C-BE32-E72D297353CC}">
                <c16:uniqueId val="{00000003-28F0-40E9-B0B7-909AED6502F9}"/>
              </c:ext>
            </c:extLst>
          </c:dPt>
          <c:dLbls>
            <c:dLbl>
              <c:idx val="0"/>
              <c:layout>
                <c:manualLayout>
                  <c:x val="-0.2765197181721244"/>
                  <c:y val="-0.19553193693961826"/>
                </c:manualLayout>
              </c:layout>
              <c:spPr>
                <a:noFill/>
                <a:ln>
                  <a:noFill/>
                </a:ln>
                <a:effectLst/>
              </c:spPr>
              <c:txPr>
                <a:bodyPr rot="0" spcFirstLastPara="1" vertOverflow="ellipsis" vert="horz" wrap="square" lIns="38100" tIns="19050" rIns="38100" bIns="19050" anchor="ctr" anchorCtr="1">
                  <a:spAutoFit/>
                </a:bodyPr>
                <a:lstStyle/>
                <a:p>
                  <a:pPr>
                    <a:lnSpc>
                      <a:spcPct val="60000"/>
                    </a:lnSpc>
                    <a:defRPr sz="6000" b="0" i="0" u="none" strike="noStrike" kern="1200" baseline="0">
                      <a:solidFill>
                        <a:schemeClr val="accent1"/>
                      </a:solidFill>
                      <a:latin typeface="+mj-lt"/>
                      <a:ea typeface="+mn-ea"/>
                      <a:cs typeface="+mn-cs"/>
                    </a:defRPr>
                  </a:pPr>
                  <a:endParaRPr lang="es-CO"/>
                </a:p>
              </c:txPr>
              <c:showLegendKey val="0"/>
              <c:showVal val="1"/>
              <c:showCatName val="0"/>
              <c:showSerName val="0"/>
              <c:showPercent val="0"/>
              <c:showBubbleSize val="0"/>
              <c:extLst>
                <c:ext xmlns:c15="http://schemas.microsoft.com/office/drawing/2012/chart" uri="{CE6537A1-D6FC-4f65-9D91-7224C49458BB}">
                  <c15:layout>
                    <c:manualLayout>
                      <c:w val="0.28905845711682582"/>
                      <c:h val="0.28057218191478339"/>
                    </c:manualLayout>
                  </c15:layout>
                </c:ext>
                <c:ext xmlns:c16="http://schemas.microsoft.com/office/drawing/2014/chart" uri="{C3380CC4-5D6E-409C-BE32-E72D297353CC}">
                  <c16:uniqueId val="{00000002-28F0-40E9-B0B7-909AED6502F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CO"/>
              </a:p>
            </c:txPr>
            <c:showLegendKey val="0"/>
            <c:showVal val="0"/>
            <c:showCatName val="0"/>
            <c:showSerName val="0"/>
            <c:showPercent val="0"/>
            <c:showBubbleSize val="0"/>
            <c:extLst>
              <c:ext xmlns:c15="http://schemas.microsoft.com/office/drawing/2012/chart" uri="{CE6537A1-D6FC-4f65-9D91-7224C49458BB}"/>
            </c:extLst>
          </c:dLbls>
          <c:cat>
            <c:strRef>
              <c:f>Tabelle1!$A$2:$A$3</c:f>
              <c:strCache>
                <c:ptCount val="2"/>
                <c:pt idx="0">
                  <c:v>1. Quartal</c:v>
                </c:pt>
                <c:pt idx="1">
                  <c:v>2. Quartal</c:v>
                </c:pt>
              </c:strCache>
            </c:strRef>
          </c:cat>
          <c:val>
            <c:numRef>
              <c:f>Tabelle1!$B$2:$B$3</c:f>
              <c:numCache>
                <c:formatCode>0%</c:formatCode>
                <c:ptCount val="2"/>
                <c:pt idx="0">
                  <c:v>0.7</c:v>
                </c:pt>
                <c:pt idx="1">
                  <c:v>0.3</c:v>
                </c:pt>
              </c:numCache>
            </c:numRef>
          </c:val>
          <c:extLst>
            <c:ext xmlns:c16="http://schemas.microsoft.com/office/drawing/2014/chart" uri="{C3380CC4-5D6E-409C-BE32-E72D297353CC}">
              <c16:uniqueId val="{00000000-28F0-40E9-B0B7-909AED6502F9}"/>
            </c:ext>
          </c:extLst>
        </c:ser>
        <c:dLbls>
          <c:showLegendKey val="0"/>
          <c:showVal val="0"/>
          <c:showCatName val="0"/>
          <c:showSerName val="0"/>
          <c:showPercent val="0"/>
          <c:showBubbleSize val="0"/>
          <c:showLeaderLines val="1"/>
        </c:dLbls>
        <c:firstSliceAng val="0"/>
        <c:holeSize val="8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9127166762693597"/>
        </c:manualLayout>
      </c:layout>
      <c:barChart>
        <c:barDir val="col"/>
        <c:grouping val="stacked"/>
        <c:varyColors val="0"/>
        <c:ser>
          <c:idx val="0"/>
          <c:order val="0"/>
          <c:tx>
            <c:strRef>
              <c:f>Tabelle1!$B$1</c:f>
              <c:strCache>
                <c:ptCount val="1"/>
                <c:pt idx="0">
                  <c:v>Datenreihe 1</c:v>
                </c:pt>
              </c:strCache>
            </c:strRef>
          </c:tx>
          <c:spPr>
            <a:solidFill>
              <a:schemeClr val="accent2"/>
            </a:solidFill>
            <a:ln>
              <a:noFill/>
            </a:ln>
            <a:effectLst/>
          </c:spPr>
          <c:invertIfNegative val="0"/>
          <c:cat>
            <c:strRef>
              <c:f>Tabelle1!$A$2</c:f>
              <c:strCache>
                <c:ptCount val="1"/>
                <c:pt idx="0">
                  <c:v>Kategorie 1</c:v>
                </c:pt>
              </c:strCache>
            </c:strRef>
          </c:cat>
          <c:val>
            <c:numRef>
              <c:f>Tabelle1!$B$2</c:f>
              <c:numCache>
                <c:formatCode>0%</c:formatCode>
                <c:ptCount val="1"/>
                <c:pt idx="0">
                  <c:v>0.4</c:v>
                </c:pt>
              </c:numCache>
            </c:numRef>
          </c:val>
          <c:extLst>
            <c:ext xmlns:c16="http://schemas.microsoft.com/office/drawing/2014/chart" uri="{C3380CC4-5D6E-409C-BE32-E72D297353CC}">
              <c16:uniqueId val="{00000000-2467-4A01-9778-45D8C7F2BC9B}"/>
            </c:ext>
          </c:extLst>
        </c:ser>
        <c:ser>
          <c:idx val="1"/>
          <c:order val="1"/>
          <c:tx>
            <c:strRef>
              <c:f>Tabelle1!$C$1</c:f>
              <c:strCache>
                <c:ptCount val="1"/>
                <c:pt idx="0">
                  <c:v>Datenreihe 2</c:v>
                </c:pt>
              </c:strCache>
            </c:strRef>
          </c:tx>
          <c:spPr>
            <a:pattFill prst="dkUpDiag">
              <a:fgClr>
                <a:schemeClr val="tx2"/>
              </a:fgClr>
              <a:bgClr>
                <a:schemeClr val="bg1"/>
              </a:bgClr>
            </a:pattFill>
            <a:ln>
              <a:noFill/>
            </a:ln>
            <a:effectLst/>
          </c:spPr>
          <c:invertIfNegative val="0"/>
          <c:dPt>
            <c:idx val="0"/>
            <c:invertIfNegative val="0"/>
            <c:bubble3D val="0"/>
            <c:spPr>
              <a:pattFill prst="dkUpDiag">
                <a:fgClr>
                  <a:schemeClr val="accent2"/>
                </a:fgClr>
                <a:bgClr>
                  <a:schemeClr val="bg1"/>
                </a:bgClr>
              </a:pattFill>
              <a:ln>
                <a:noFill/>
              </a:ln>
              <a:effectLst/>
            </c:spPr>
            <c:extLst>
              <c:ext xmlns:c16="http://schemas.microsoft.com/office/drawing/2014/chart" uri="{C3380CC4-5D6E-409C-BE32-E72D297353CC}">
                <c16:uniqueId val="{00000000-D8D4-4C88-97A8-075CCA40A7F7}"/>
              </c:ext>
            </c:extLst>
          </c:dPt>
          <c:cat>
            <c:strRef>
              <c:f>Tabelle1!$A$2</c:f>
              <c:strCache>
                <c:ptCount val="1"/>
                <c:pt idx="0">
                  <c:v>Kategorie 1</c:v>
                </c:pt>
              </c:strCache>
            </c:strRef>
          </c:cat>
          <c:val>
            <c:numRef>
              <c:f>Tabelle1!$C$2</c:f>
              <c:numCache>
                <c:formatCode>0%</c:formatCode>
                <c:ptCount val="1"/>
                <c:pt idx="0">
                  <c:v>0.6</c:v>
                </c:pt>
              </c:numCache>
            </c:numRef>
          </c:val>
          <c:extLst>
            <c:ext xmlns:c16="http://schemas.microsoft.com/office/drawing/2014/chart" uri="{C3380CC4-5D6E-409C-BE32-E72D297353CC}">
              <c16:uniqueId val="{00000001-2467-4A01-9778-45D8C7F2BC9B}"/>
            </c:ext>
          </c:extLst>
        </c:ser>
        <c:dLbls>
          <c:showLegendKey val="0"/>
          <c:showVal val="0"/>
          <c:showCatName val="0"/>
          <c:showSerName val="0"/>
          <c:showPercent val="0"/>
          <c:showBubbleSize val="0"/>
        </c:dLbls>
        <c:gapWidth val="0"/>
        <c:overlap val="100"/>
        <c:axId val="154179607"/>
        <c:axId val="154178951"/>
      </c:barChart>
      <c:catAx>
        <c:axId val="154179607"/>
        <c:scaling>
          <c:orientation val="minMax"/>
        </c:scaling>
        <c:delete val="1"/>
        <c:axPos val="b"/>
        <c:numFmt formatCode="General" sourceLinked="1"/>
        <c:majorTickMark val="none"/>
        <c:minorTickMark val="none"/>
        <c:tickLblPos val="nextTo"/>
        <c:crossAx val="154178951"/>
        <c:crosses val="autoZero"/>
        <c:auto val="1"/>
        <c:lblAlgn val="ctr"/>
        <c:lblOffset val="100"/>
        <c:noMultiLvlLbl val="0"/>
      </c:catAx>
      <c:valAx>
        <c:axId val="154178951"/>
        <c:scaling>
          <c:orientation val="minMax"/>
          <c:max val="1"/>
        </c:scaling>
        <c:delete val="1"/>
        <c:axPos val="l"/>
        <c:numFmt formatCode="0%" sourceLinked="1"/>
        <c:majorTickMark val="out"/>
        <c:minorTickMark val="none"/>
        <c:tickLblPos val="nextTo"/>
        <c:crossAx val="15417960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tx2"/>
    </a:solidFill>
    <a:ln>
      <a:noFill/>
    </a:ln>
    <a:effectLst/>
  </c:spPr>
  <c:txPr>
    <a:bodyPr/>
    <a:lstStyle/>
    <a:p>
      <a:pPr>
        <a:defRPr/>
      </a:pPr>
      <a:endParaRPr lang="es-CO"/>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9127166762693597"/>
        </c:manualLayout>
      </c:layout>
      <c:barChart>
        <c:barDir val="col"/>
        <c:grouping val="stacked"/>
        <c:varyColors val="0"/>
        <c:ser>
          <c:idx val="0"/>
          <c:order val="0"/>
          <c:tx>
            <c:strRef>
              <c:f>Tabelle1!$B$1</c:f>
              <c:strCache>
                <c:ptCount val="1"/>
                <c:pt idx="0">
                  <c:v>Datenreihe 1</c:v>
                </c:pt>
              </c:strCache>
            </c:strRef>
          </c:tx>
          <c:spPr>
            <a:solidFill>
              <a:schemeClr val="tx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2-9F64-4385-8BD2-A071ECF2B849}"/>
              </c:ext>
            </c:extLst>
          </c:dPt>
          <c:cat>
            <c:strRef>
              <c:f>Tabelle1!$A$2</c:f>
              <c:strCache>
                <c:ptCount val="1"/>
                <c:pt idx="0">
                  <c:v>Kategorie 1</c:v>
                </c:pt>
              </c:strCache>
            </c:strRef>
          </c:cat>
          <c:val>
            <c:numRef>
              <c:f>Tabelle1!$B$2</c:f>
              <c:numCache>
                <c:formatCode>0%</c:formatCode>
                <c:ptCount val="1"/>
                <c:pt idx="0">
                  <c:v>0.8</c:v>
                </c:pt>
              </c:numCache>
            </c:numRef>
          </c:val>
          <c:extLst>
            <c:ext xmlns:c16="http://schemas.microsoft.com/office/drawing/2014/chart" uri="{C3380CC4-5D6E-409C-BE32-E72D297353CC}">
              <c16:uniqueId val="{00000000-2467-4A01-9778-45D8C7F2BC9B}"/>
            </c:ext>
          </c:extLst>
        </c:ser>
        <c:ser>
          <c:idx val="1"/>
          <c:order val="1"/>
          <c:tx>
            <c:strRef>
              <c:f>Tabelle1!$C$1</c:f>
              <c:strCache>
                <c:ptCount val="1"/>
                <c:pt idx="0">
                  <c:v>Datenreihe 2</c:v>
                </c:pt>
              </c:strCache>
            </c:strRef>
          </c:tx>
          <c:spPr>
            <a:solidFill>
              <a:schemeClr val="accent2"/>
            </a:solidFill>
            <a:ln>
              <a:noFill/>
            </a:ln>
            <a:effectLst/>
          </c:spPr>
          <c:invertIfNegative val="0"/>
          <c:dPt>
            <c:idx val="0"/>
            <c:invertIfNegative val="0"/>
            <c:bubble3D val="0"/>
            <c:spPr>
              <a:pattFill prst="dkUpDiag">
                <a:fgClr>
                  <a:schemeClr val="accent2"/>
                </a:fgClr>
                <a:bgClr>
                  <a:schemeClr val="bg1"/>
                </a:bgClr>
              </a:pattFill>
              <a:ln>
                <a:noFill/>
              </a:ln>
              <a:effectLst/>
            </c:spPr>
            <c:extLst>
              <c:ext xmlns:c16="http://schemas.microsoft.com/office/drawing/2014/chart" uri="{C3380CC4-5D6E-409C-BE32-E72D297353CC}">
                <c16:uniqueId val="{00000001-F5E7-4E86-8142-2507ED25643E}"/>
              </c:ext>
            </c:extLst>
          </c:dPt>
          <c:cat>
            <c:strRef>
              <c:f>Tabelle1!$A$2</c:f>
              <c:strCache>
                <c:ptCount val="1"/>
                <c:pt idx="0">
                  <c:v>Kategorie 1</c:v>
                </c:pt>
              </c:strCache>
            </c:strRef>
          </c:cat>
          <c:val>
            <c:numRef>
              <c:f>Tabelle1!$C$2</c:f>
              <c:numCache>
                <c:formatCode>0%</c:formatCode>
                <c:ptCount val="1"/>
                <c:pt idx="0">
                  <c:v>0.2</c:v>
                </c:pt>
              </c:numCache>
            </c:numRef>
          </c:val>
          <c:extLst>
            <c:ext xmlns:c16="http://schemas.microsoft.com/office/drawing/2014/chart" uri="{C3380CC4-5D6E-409C-BE32-E72D297353CC}">
              <c16:uniqueId val="{00000001-2467-4A01-9778-45D8C7F2BC9B}"/>
            </c:ext>
          </c:extLst>
        </c:ser>
        <c:dLbls>
          <c:showLegendKey val="0"/>
          <c:showVal val="0"/>
          <c:showCatName val="0"/>
          <c:showSerName val="0"/>
          <c:showPercent val="0"/>
          <c:showBubbleSize val="0"/>
        </c:dLbls>
        <c:gapWidth val="0"/>
        <c:overlap val="100"/>
        <c:axId val="154179607"/>
        <c:axId val="154178951"/>
      </c:barChart>
      <c:catAx>
        <c:axId val="154179607"/>
        <c:scaling>
          <c:orientation val="minMax"/>
        </c:scaling>
        <c:delete val="1"/>
        <c:axPos val="b"/>
        <c:numFmt formatCode="General" sourceLinked="1"/>
        <c:majorTickMark val="none"/>
        <c:minorTickMark val="none"/>
        <c:tickLblPos val="nextTo"/>
        <c:crossAx val="154178951"/>
        <c:crosses val="autoZero"/>
        <c:auto val="1"/>
        <c:lblAlgn val="ctr"/>
        <c:lblOffset val="100"/>
        <c:noMultiLvlLbl val="0"/>
      </c:catAx>
      <c:valAx>
        <c:axId val="154178951"/>
        <c:scaling>
          <c:orientation val="minMax"/>
          <c:max val="1"/>
        </c:scaling>
        <c:delete val="1"/>
        <c:axPos val="l"/>
        <c:numFmt formatCode="0%" sourceLinked="1"/>
        <c:majorTickMark val="out"/>
        <c:minorTickMark val="none"/>
        <c:tickLblPos val="nextTo"/>
        <c:crossAx val="15417960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9127166762693597"/>
        </c:manualLayout>
      </c:layout>
      <c:barChart>
        <c:barDir val="col"/>
        <c:grouping val="stacked"/>
        <c:varyColors val="0"/>
        <c:ser>
          <c:idx val="0"/>
          <c:order val="0"/>
          <c:tx>
            <c:strRef>
              <c:f>Tabelle1!$B$1</c:f>
              <c:strCache>
                <c:ptCount val="1"/>
                <c:pt idx="0">
                  <c:v>Datenreihe 1</c:v>
                </c:pt>
              </c:strCache>
            </c:strRef>
          </c:tx>
          <c:spPr>
            <a:solidFill>
              <a:schemeClr val="accent2"/>
            </a:solidFill>
            <a:ln>
              <a:noFill/>
            </a:ln>
            <a:effectLst/>
          </c:spPr>
          <c:invertIfNegative val="0"/>
          <c:cat>
            <c:strRef>
              <c:f>Tabelle1!$A$2</c:f>
              <c:strCache>
                <c:ptCount val="1"/>
                <c:pt idx="0">
                  <c:v>Kategorie 1</c:v>
                </c:pt>
              </c:strCache>
            </c:strRef>
          </c:cat>
          <c:val>
            <c:numRef>
              <c:f>Tabelle1!$B$2</c:f>
              <c:numCache>
                <c:formatCode>0%</c:formatCode>
                <c:ptCount val="1"/>
                <c:pt idx="0">
                  <c:v>0.3</c:v>
                </c:pt>
              </c:numCache>
            </c:numRef>
          </c:val>
          <c:extLst>
            <c:ext xmlns:c16="http://schemas.microsoft.com/office/drawing/2014/chart" uri="{C3380CC4-5D6E-409C-BE32-E72D297353CC}">
              <c16:uniqueId val="{00000000-2467-4A01-9778-45D8C7F2BC9B}"/>
            </c:ext>
          </c:extLst>
        </c:ser>
        <c:ser>
          <c:idx val="1"/>
          <c:order val="1"/>
          <c:tx>
            <c:strRef>
              <c:f>Tabelle1!$C$1</c:f>
              <c:strCache>
                <c:ptCount val="1"/>
                <c:pt idx="0">
                  <c:v>Datenreihe 2</c:v>
                </c:pt>
              </c:strCache>
            </c:strRef>
          </c:tx>
          <c:spPr>
            <a:pattFill prst="dkUpDiag">
              <a:fgClr>
                <a:schemeClr val="tx2"/>
              </a:fgClr>
              <a:bgClr>
                <a:schemeClr val="bg1"/>
              </a:bgClr>
            </a:pattFill>
            <a:ln>
              <a:noFill/>
            </a:ln>
            <a:effectLst/>
          </c:spPr>
          <c:invertIfNegative val="0"/>
          <c:dPt>
            <c:idx val="0"/>
            <c:invertIfNegative val="0"/>
            <c:bubble3D val="0"/>
            <c:spPr>
              <a:pattFill prst="dkUpDiag">
                <a:fgClr>
                  <a:schemeClr val="accent2"/>
                </a:fgClr>
                <a:bgClr>
                  <a:schemeClr val="bg1"/>
                </a:bgClr>
              </a:pattFill>
              <a:ln>
                <a:noFill/>
              </a:ln>
              <a:effectLst/>
            </c:spPr>
            <c:extLst>
              <c:ext xmlns:c16="http://schemas.microsoft.com/office/drawing/2014/chart" uri="{C3380CC4-5D6E-409C-BE32-E72D297353CC}">
                <c16:uniqueId val="{00000000-D8D4-4C88-97A8-075CCA40A7F7}"/>
              </c:ext>
            </c:extLst>
          </c:dPt>
          <c:cat>
            <c:strRef>
              <c:f>Tabelle1!$A$2</c:f>
              <c:strCache>
                <c:ptCount val="1"/>
                <c:pt idx="0">
                  <c:v>Kategorie 1</c:v>
                </c:pt>
              </c:strCache>
            </c:strRef>
          </c:cat>
          <c:val>
            <c:numRef>
              <c:f>Tabelle1!$C$2</c:f>
              <c:numCache>
                <c:formatCode>0%</c:formatCode>
                <c:ptCount val="1"/>
                <c:pt idx="0">
                  <c:v>0.7</c:v>
                </c:pt>
              </c:numCache>
            </c:numRef>
          </c:val>
          <c:extLst>
            <c:ext xmlns:c16="http://schemas.microsoft.com/office/drawing/2014/chart" uri="{C3380CC4-5D6E-409C-BE32-E72D297353CC}">
              <c16:uniqueId val="{00000001-2467-4A01-9778-45D8C7F2BC9B}"/>
            </c:ext>
          </c:extLst>
        </c:ser>
        <c:dLbls>
          <c:showLegendKey val="0"/>
          <c:showVal val="0"/>
          <c:showCatName val="0"/>
          <c:showSerName val="0"/>
          <c:showPercent val="0"/>
          <c:showBubbleSize val="0"/>
        </c:dLbls>
        <c:gapWidth val="0"/>
        <c:overlap val="100"/>
        <c:axId val="154179607"/>
        <c:axId val="154178951"/>
      </c:barChart>
      <c:catAx>
        <c:axId val="154179607"/>
        <c:scaling>
          <c:orientation val="minMax"/>
        </c:scaling>
        <c:delete val="1"/>
        <c:axPos val="b"/>
        <c:numFmt formatCode="General" sourceLinked="1"/>
        <c:majorTickMark val="none"/>
        <c:minorTickMark val="none"/>
        <c:tickLblPos val="nextTo"/>
        <c:crossAx val="154178951"/>
        <c:crosses val="autoZero"/>
        <c:auto val="1"/>
        <c:lblAlgn val="ctr"/>
        <c:lblOffset val="100"/>
        <c:noMultiLvlLbl val="0"/>
      </c:catAx>
      <c:valAx>
        <c:axId val="154178951"/>
        <c:scaling>
          <c:orientation val="minMax"/>
          <c:max val="1"/>
        </c:scaling>
        <c:delete val="1"/>
        <c:axPos val="l"/>
        <c:numFmt formatCode="0%" sourceLinked="1"/>
        <c:majorTickMark val="out"/>
        <c:minorTickMark val="none"/>
        <c:tickLblPos val="nextTo"/>
        <c:crossAx val="15417960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tx2"/>
    </a:solidFill>
    <a:ln>
      <a:noFill/>
    </a:ln>
    <a:effectLst/>
  </c:spPr>
  <c:txPr>
    <a:bodyPr/>
    <a:lstStyle/>
    <a:p>
      <a:pPr>
        <a:defRPr/>
      </a:pPr>
      <a:endParaRPr lang="es-CO"/>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9127166762693597"/>
        </c:manualLayout>
      </c:layout>
      <c:barChart>
        <c:barDir val="col"/>
        <c:grouping val="stacked"/>
        <c:varyColors val="0"/>
        <c:ser>
          <c:idx val="0"/>
          <c:order val="0"/>
          <c:tx>
            <c:strRef>
              <c:f>Tabelle1!$B$1</c:f>
              <c:strCache>
                <c:ptCount val="1"/>
                <c:pt idx="0">
                  <c:v>Datenreihe 1</c:v>
                </c:pt>
              </c:strCache>
            </c:strRef>
          </c:tx>
          <c:spPr>
            <a:solidFill>
              <a:schemeClr val="accent2"/>
            </a:solidFill>
            <a:ln>
              <a:noFill/>
            </a:ln>
            <a:effectLst/>
          </c:spPr>
          <c:invertIfNegative val="0"/>
          <c:cat>
            <c:strRef>
              <c:f>Tabelle1!$A$2</c:f>
              <c:strCache>
                <c:ptCount val="1"/>
                <c:pt idx="0">
                  <c:v>Kategorie 1</c:v>
                </c:pt>
              </c:strCache>
            </c:strRef>
          </c:cat>
          <c:val>
            <c:numRef>
              <c:f>Tabelle1!$B$2</c:f>
              <c:numCache>
                <c:formatCode>0%</c:formatCode>
                <c:ptCount val="1"/>
                <c:pt idx="0">
                  <c:v>0.2</c:v>
                </c:pt>
              </c:numCache>
            </c:numRef>
          </c:val>
          <c:extLst>
            <c:ext xmlns:c16="http://schemas.microsoft.com/office/drawing/2014/chart" uri="{C3380CC4-5D6E-409C-BE32-E72D297353CC}">
              <c16:uniqueId val="{00000000-2467-4A01-9778-45D8C7F2BC9B}"/>
            </c:ext>
          </c:extLst>
        </c:ser>
        <c:ser>
          <c:idx val="1"/>
          <c:order val="1"/>
          <c:tx>
            <c:strRef>
              <c:f>Tabelle1!$C$1</c:f>
              <c:strCache>
                <c:ptCount val="1"/>
                <c:pt idx="0">
                  <c:v>Datenreihe 2</c:v>
                </c:pt>
              </c:strCache>
            </c:strRef>
          </c:tx>
          <c:spPr>
            <a:pattFill prst="dkUpDiag">
              <a:fgClr>
                <a:schemeClr val="tx2"/>
              </a:fgClr>
              <a:bgClr>
                <a:schemeClr val="bg1"/>
              </a:bgClr>
            </a:pattFill>
            <a:ln>
              <a:noFill/>
            </a:ln>
            <a:effectLst/>
          </c:spPr>
          <c:invertIfNegative val="0"/>
          <c:dPt>
            <c:idx val="0"/>
            <c:invertIfNegative val="0"/>
            <c:bubble3D val="0"/>
            <c:spPr>
              <a:pattFill prst="dkUpDiag">
                <a:fgClr>
                  <a:schemeClr val="accent2"/>
                </a:fgClr>
                <a:bgClr>
                  <a:schemeClr val="bg1"/>
                </a:bgClr>
              </a:pattFill>
              <a:ln>
                <a:noFill/>
              </a:ln>
              <a:effectLst/>
            </c:spPr>
            <c:extLst>
              <c:ext xmlns:c16="http://schemas.microsoft.com/office/drawing/2014/chart" uri="{C3380CC4-5D6E-409C-BE32-E72D297353CC}">
                <c16:uniqueId val="{00000000-D8D4-4C88-97A8-075CCA40A7F7}"/>
              </c:ext>
            </c:extLst>
          </c:dPt>
          <c:cat>
            <c:strRef>
              <c:f>Tabelle1!$A$2</c:f>
              <c:strCache>
                <c:ptCount val="1"/>
                <c:pt idx="0">
                  <c:v>Kategorie 1</c:v>
                </c:pt>
              </c:strCache>
            </c:strRef>
          </c:cat>
          <c:val>
            <c:numRef>
              <c:f>Tabelle1!$C$2</c:f>
              <c:numCache>
                <c:formatCode>0%</c:formatCode>
                <c:ptCount val="1"/>
                <c:pt idx="0">
                  <c:v>0.8</c:v>
                </c:pt>
              </c:numCache>
            </c:numRef>
          </c:val>
          <c:extLst>
            <c:ext xmlns:c16="http://schemas.microsoft.com/office/drawing/2014/chart" uri="{C3380CC4-5D6E-409C-BE32-E72D297353CC}">
              <c16:uniqueId val="{00000001-2467-4A01-9778-45D8C7F2BC9B}"/>
            </c:ext>
          </c:extLst>
        </c:ser>
        <c:dLbls>
          <c:showLegendKey val="0"/>
          <c:showVal val="0"/>
          <c:showCatName val="0"/>
          <c:showSerName val="0"/>
          <c:showPercent val="0"/>
          <c:showBubbleSize val="0"/>
        </c:dLbls>
        <c:gapWidth val="0"/>
        <c:overlap val="100"/>
        <c:axId val="154179607"/>
        <c:axId val="154178951"/>
      </c:barChart>
      <c:catAx>
        <c:axId val="154179607"/>
        <c:scaling>
          <c:orientation val="minMax"/>
        </c:scaling>
        <c:delete val="1"/>
        <c:axPos val="b"/>
        <c:numFmt formatCode="General" sourceLinked="1"/>
        <c:majorTickMark val="out"/>
        <c:minorTickMark val="none"/>
        <c:tickLblPos val="nextTo"/>
        <c:crossAx val="154178951"/>
        <c:crosses val="autoZero"/>
        <c:auto val="1"/>
        <c:lblAlgn val="ctr"/>
        <c:lblOffset val="100"/>
        <c:noMultiLvlLbl val="0"/>
      </c:catAx>
      <c:valAx>
        <c:axId val="154178951"/>
        <c:scaling>
          <c:orientation val="minMax"/>
          <c:max val="1"/>
        </c:scaling>
        <c:delete val="1"/>
        <c:axPos val="l"/>
        <c:numFmt formatCode="0%" sourceLinked="1"/>
        <c:majorTickMark val="out"/>
        <c:minorTickMark val="none"/>
        <c:tickLblPos val="nextTo"/>
        <c:crossAx val="15417960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9127166762693597"/>
        </c:manualLayout>
      </c:layout>
      <c:barChart>
        <c:barDir val="col"/>
        <c:grouping val="stacked"/>
        <c:varyColors val="0"/>
        <c:ser>
          <c:idx val="0"/>
          <c:order val="0"/>
          <c:tx>
            <c:strRef>
              <c:f>Tabelle1!$B$1</c:f>
              <c:strCache>
                <c:ptCount val="1"/>
                <c:pt idx="0">
                  <c:v>Datenreihe 1</c:v>
                </c:pt>
              </c:strCache>
            </c:strRef>
          </c:tx>
          <c:spPr>
            <a:solidFill>
              <a:schemeClr val="tx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2-9F64-4385-8BD2-A071ECF2B849}"/>
              </c:ext>
            </c:extLst>
          </c:dPt>
          <c:cat>
            <c:strRef>
              <c:f>Tabelle1!$A$2</c:f>
              <c:strCache>
                <c:ptCount val="1"/>
                <c:pt idx="0">
                  <c:v>Kategorie 1</c:v>
                </c:pt>
              </c:strCache>
            </c:strRef>
          </c:cat>
          <c:val>
            <c:numRef>
              <c:f>Tabelle1!$B$2</c:f>
              <c:numCache>
                <c:formatCode>0%</c:formatCode>
                <c:ptCount val="1"/>
                <c:pt idx="0">
                  <c:v>0.8</c:v>
                </c:pt>
              </c:numCache>
            </c:numRef>
          </c:val>
          <c:extLst>
            <c:ext xmlns:c16="http://schemas.microsoft.com/office/drawing/2014/chart" uri="{C3380CC4-5D6E-409C-BE32-E72D297353CC}">
              <c16:uniqueId val="{00000000-2467-4A01-9778-45D8C7F2BC9B}"/>
            </c:ext>
          </c:extLst>
        </c:ser>
        <c:ser>
          <c:idx val="1"/>
          <c:order val="1"/>
          <c:tx>
            <c:strRef>
              <c:f>Tabelle1!$C$1</c:f>
              <c:strCache>
                <c:ptCount val="1"/>
                <c:pt idx="0">
                  <c:v>Datenreihe 2</c:v>
                </c:pt>
              </c:strCache>
            </c:strRef>
          </c:tx>
          <c:spPr>
            <a:solidFill>
              <a:schemeClr val="accent2"/>
            </a:solidFill>
            <a:ln>
              <a:noFill/>
            </a:ln>
            <a:effectLst/>
          </c:spPr>
          <c:invertIfNegative val="0"/>
          <c:dPt>
            <c:idx val="0"/>
            <c:invertIfNegative val="0"/>
            <c:bubble3D val="0"/>
            <c:spPr>
              <a:pattFill prst="dkUpDiag">
                <a:fgClr>
                  <a:schemeClr val="accent2"/>
                </a:fgClr>
                <a:bgClr>
                  <a:schemeClr val="bg1"/>
                </a:bgClr>
              </a:pattFill>
              <a:ln>
                <a:noFill/>
              </a:ln>
              <a:effectLst/>
            </c:spPr>
            <c:extLst>
              <c:ext xmlns:c16="http://schemas.microsoft.com/office/drawing/2014/chart" uri="{C3380CC4-5D6E-409C-BE32-E72D297353CC}">
                <c16:uniqueId val="{00000001-F5E7-4E86-8142-2507ED25643E}"/>
              </c:ext>
            </c:extLst>
          </c:dPt>
          <c:cat>
            <c:strRef>
              <c:f>Tabelle1!$A$2</c:f>
              <c:strCache>
                <c:ptCount val="1"/>
                <c:pt idx="0">
                  <c:v>Kategorie 1</c:v>
                </c:pt>
              </c:strCache>
            </c:strRef>
          </c:cat>
          <c:val>
            <c:numRef>
              <c:f>Tabelle1!$C$2</c:f>
              <c:numCache>
                <c:formatCode>0%</c:formatCode>
                <c:ptCount val="1"/>
                <c:pt idx="0">
                  <c:v>0.2</c:v>
                </c:pt>
              </c:numCache>
            </c:numRef>
          </c:val>
          <c:extLst>
            <c:ext xmlns:c16="http://schemas.microsoft.com/office/drawing/2014/chart" uri="{C3380CC4-5D6E-409C-BE32-E72D297353CC}">
              <c16:uniqueId val="{00000001-2467-4A01-9778-45D8C7F2BC9B}"/>
            </c:ext>
          </c:extLst>
        </c:ser>
        <c:dLbls>
          <c:showLegendKey val="0"/>
          <c:showVal val="0"/>
          <c:showCatName val="0"/>
          <c:showSerName val="0"/>
          <c:showPercent val="0"/>
          <c:showBubbleSize val="0"/>
        </c:dLbls>
        <c:gapWidth val="0"/>
        <c:overlap val="100"/>
        <c:axId val="154179607"/>
        <c:axId val="154178951"/>
      </c:barChart>
      <c:catAx>
        <c:axId val="154179607"/>
        <c:scaling>
          <c:orientation val="minMax"/>
        </c:scaling>
        <c:delete val="1"/>
        <c:axPos val="b"/>
        <c:numFmt formatCode="General" sourceLinked="1"/>
        <c:majorTickMark val="none"/>
        <c:minorTickMark val="none"/>
        <c:tickLblPos val="nextTo"/>
        <c:crossAx val="154178951"/>
        <c:crosses val="autoZero"/>
        <c:auto val="1"/>
        <c:lblAlgn val="ctr"/>
        <c:lblOffset val="100"/>
        <c:noMultiLvlLbl val="0"/>
      </c:catAx>
      <c:valAx>
        <c:axId val="154178951"/>
        <c:scaling>
          <c:orientation val="minMax"/>
          <c:max val="1"/>
        </c:scaling>
        <c:delete val="1"/>
        <c:axPos val="l"/>
        <c:numFmt formatCode="0%" sourceLinked="1"/>
        <c:majorTickMark val="out"/>
        <c:minorTickMark val="none"/>
        <c:tickLblPos val="nextTo"/>
        <c:crossAx val="15417960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422594059933079E-2"/>
          <c:y val="6.4094991342715776E-2"/>
          <c:w val="0.91915481188013382"/>
          <c:h val="0.70038520670437376"/>
        </c:manualLayout>
      </c:layout>
      <c:doughnutChart>
        <c:varyColors val="1"/>
        <c:ser>
          <c:idx val="0"/>
          <c:order val="0"/>
          <c:tx>
            <c:strRef>
              <c:f>Tabelle1!$B$1</c:f>
              <c:strCache>
                <c:ptCount val="1"/>
                <c:pt idx="0">
                  <c:v>Verkauf</c:v>
                </c:pt>
              </c:strCache>
            </c:strRef>
          </c:tx>
          <c:spPr>
            <a:ln w="9525">
              <a:solidFill>
                <a:schemeClr val="bg1"/>
              </a:solidFill>
            </a:ln>
          </c:spPr>
          <c:dPt>
            <c:idx val="0"/>
            <c:bubble3D val="0"/>
            <c:spPr>
              <a:solidFill>
                <a:schemeClr val="accent5"/>
              </a:solidFill>
              <a:ln w="9525">
                <a:solidFill>
                  <a:schemeClr val="bg1"/>
                </a:solidFill>
              </a:ln>
              <a:effectLst/>
            </c:spPr>
            <c:extLst>
              <c:ext xmlns:c16="http://schemas.microsoft.com/office/drawing/2014/chart" uri="{C3380CC4-5D6E-409C-BE32-E72D297353CC}">
                <c16:uniqueId val="{00000001-C3C7-4D9D-AAD9-26B62EFD5FDF}"/>
              </c:ext>
            </c:extLst>
          </c:dPt>
          <c:dPt>
            <c:idx val="1"/>
            <c:bubble3D val="0"/>
            <c:spPr>
              <a:solidFill>
                <a:schemeClr val="bg2"/>
              </a:solidFill>
              <a:ln w="9525">
                <a:solidFill>
                  <a:schemeClr val="bg1"/>
                </a:solidFill>
              </a:ln>
              <a:effectLst/>
            </c:spPr>
            <c:extLst>
              <c:ext xmlns:c16="http://schemas.microsoft.com/office/drawing/2014/chart" uri="{C3380CC4-5D6E-409C-BE32-E72D297353CC}">
                <c16:uniqueId val="{00000003-C3C7-4D9D-AAD9-26B62EFD5FDF}"/>
              </c:ext>
            </c:extLst>
          </c:dPt>
          <c:dPt>
            <c:idx val="2"/>
            <c:bubble3D val="0"/>
            <c:spPr>
              <a:solidFill>
                <a:schemeClr val="accent3"/>
              </a:solidFill>
              <a:ln w="9525">
                <a:solidFill>
                  <a:schemeClr val="bg1"/>
                </a:solidFill>
              </a:ln>
              <a:effectLst/>
            </c:spPr>
            <c:extLst>
              <c:ext xmlns:c16="http://schemas.microsoft.com/office/drawing/2014/chart" uri="{C3380CC4-5D6E-409C-BE32-E72D297353CC}">
                <c16:uniqueId val="{00000005-C3C7-4D9D-AAD9-26B62EFD5FDF}"/>
              </c:ext>
            </c:extLst>
          </c:dPt>
          <c:dPt>
            <c:idx val="3"/>
            <c:bubble3D val="0"/>
            <c:spPr>
              <a:solidFill>
                <a:schemeClr val="accent4"/>
              </a:solidFill>
              <a:ln w="9525">
                <a:solidFill>
                  <a:schemeClr val="bg1"/>
                </a:solidFill>
              </a:ln>
              <a:effectLst/>
            </c:spPr>
            <c:extLst>
              <c:ext xmlns:c16="http://schemas.microsoft.com/office/drawing/2014/chart" uri="{C3380CC4-5D6E-409C-BE32-E72D297353CC}">
                <c16:uniqueId val="{00000007-C3C7-4D9D-AAD9-26B62EFD5FDF}"/>
              </c:ext>
            </c:extLst>
          </c:dPt>
          <c:cat>
            <c:strRef>
              <c:f>Tabelle1!$A$2:$A$3</c:f>
              <c:strCache>
                <c:ptCount val="2"/>
                <c:pt idx="0">
                  <c:v>1. Quartal</c:v>
                </c:pt>
                <c:pt idx="1">
                  <c:v>2. Quartal</c:v>
                </c:pt>
              </c:strCache>
            </c:strRef>
          </c:cat>
          <c:val>
            <c:numRef>
              <c:f>Tabelle1!$B$2:$B$3</c:f>
              <c:numCache>
                <c:formatCode>General</c:formatCode>
                <c:ptCount val="2"/>
                <c:pt idx="0">
                  <c:v>10</c:v>
                </c:pt>
                <c:pt idx="1">
                  <c:v>90</c:v>
                </c:pt>
              </c:numCache>
            </c:numRef>
          </c:val>
          <c:extLst>
            <c:ext xmlns:c16="http://schemas.microsoft.com/office/drawing/2014/chart" uri="{C3380CC4-5D6E-409C-BE32-E72D297353CC}">
              <c16:uniqueId val="{00000008-C3C7-4D9D-AAD9-26B62EFD5FDF}"/>
            </c:ext>
          </c:extLst>
        </c:ser>
        <c:dLbls>
          <c:showLegendKey val="0"/>
          <c:showVal val="0"/>
          <c:showCatName val="0"/>
          <c:showSerName val="0"/>
          <c:showPercent val="0"/>
          <c:showBubbleSize val="0"/>
          <c:showLeaderLines val="1"/>
        </c:dLbls>
        <c:firstSliceAng val="0"/>
        <c:holeSize val="7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422594059933079E-2"/>
          <c:y val="6.4094991342715776E-2"/>
          <c:w val="0.91915481188013382"/>
          <c:h val="0.70038520670437376"/>
        </c:manualLayout>
      </c:layout>
      <c:doughnutChart>
        <c:varyColors val="1"/>
        <c:ser>
          <c:idx val="0"/>
          <c:order val="0"/>
          <c:tx>
            <c:strRef>
              <c:f>Tabelle1!$B$1</c:f>
              <c:strCache>
                <c:ptCount val="1"/>
                <c:pt idx="0">
                  <c:v>Verkauf</c:v>
                </c:pt>
              </c:strCache>
            </c:strRef>
          </c:tx>
          <c:spPr>
            <a:ln w="9525">
              <a:solidFill>
                <a:schemeClr val="bg1"/>
              </a:solidFill>
            </a:ln>
          </c:spPr>
          <c:dPt>
            <c:idx val="0"/>
            <c:bubble3D val="0"/>
            <c:spPr>
              <a:solidFill>
                <a:schemeClr val="accent5"/>
              </a:solidFill>
              <a:ln w="9525">
                <a:solidFill>
                  <a:schemeClr val="bg1"/>
                </a:solidFill>
              </a:ln>
              <a:effectLst/>
            </c:spPr>
            <c:extLst>
              <c:ext xmlns:c16="http://schemas.microsoft.com/office/drawing/2014/chart" uri="{C3380CC4-5D6E-409C-BE32-E72D297353CC}">
                <c16:uniqueId val="{00000001-C3C7-4D9D-AAD9-26B62EFD5FDF}"/>
              </c:ext>
            </c:extLst>
          </c:dPt>
          <c:dPt>
            <c:idx val="1"/>
            <c:bubble3D val="0"/>
            <c:spPr>
              <a:solidFill>
                <a:schemeClr val="bg2"/>
              </a:solidFill>
              <a:ln w="9525">
                <a:solidFill>
                  <a:schemeClr val="bg1"/>
                </a:solidFill>
              </a:ln>
              <a:effectLst/>
            </c:spPr>
            <c:extLst>
              <c:ext xmlns:c16="http://schemas.microsoft.com/office/drawing/2014/chart" uri="{C3380CC4-5D6E-409C-BE32-E72D297353CC}">
                <c16:uniqueId val="{00000003-C3C7-4D9D-AAD9-26B62EFD5FDF}"/>
              </c:ext>
            </c:extLst>
          </c:dPt>
          <c:dPt>
            <c:idx val="2"/>
            <c:bubble3D val="0"/>
            <c:spPr>
              <a:solidFill>
                <a:schemeClr val="accent3"/>
              </a:solidFill>
              <a:ln w="9525">
                <a:solidFill>
                  <a:schemeClr val="bg1"/>
                </a:solidFill>
              </a:ln>
              <a:effectLst/>
            </c:spPr>
            <c:extLst>
              <c:ext xmlns:c16="http://schemas.microsoft.com/office/drawing/2014/chart" uri="{C3380CC4-5D6E-409C-BE32-E72D297353CC}">
                <c16:uniqueId val="{00000005-C3C7-4D9D-AAD9-26B62EFD5FDF}"/>
              </c:ext>
            </c:extLst>
          </c:dPt>
          <c:dPt>
            <c:idx val="3"/>
            <c:bubble3D val="0"/>
            <c:spPr>
              <a:solidFill>
                <a:schemeClr val="accent4"/>
              </a:solidFill>
              <a:ln w="9525">
                <a:solidFill>
                  <a:schemeClr val="bg1"/>
                </a:solidFill>
              </a:ln>
              <a:effectLst/>
            </c:spPr>
            <c:extLst>
              <c:ext xmlns:c16="http://schemas.microsoft.com/office/drawing/2014/chart" uri="{C3380CC4-5D6E-409C-BE32-E72D297353CC}">
                <c16:uniqueId val="{00000007-C3C7-4D9D-AAD9-26B62EFD5FDF}"/>
              </c:ext>
            </c:extLst>
          </c:dPt>
          <c:cat>
            <c:strRef>
              <c:f>Tabelle1!$A$2:$A$3</c:f>
              <c:strCache>
                <c:ptCount val="2"/>
                <c:pt idx="0">
                  <c:v>1. Quartal</c:v>
                </c:pt>
                <c:pt idx="1">
                  <c:v>2. Quartal</c:v>
                </c:pt>
              </c:strCache>
            </c:strRef>
          </c:cat>
          <c:val>
            <c:numRef>
              <c:f>Tabelle1!$B$2:$B$3</c:f>
              <c:numCache>
                <c:formatCode>General</c:formatCode>
                <c:ptCount val="2"/>
                <c:pt idx="0">
                  <c:v>20</c:v>
                </c:pt>
                <c:pt idx="1">
                  <c:v>80</c:v>
                </c:pt>
              </c:numCache>
            </c:numRef>
          </c:val>
          <c:extLst>
            <c:ext xmlns:c16="http://schemas.microsoft.com/office/drawing/2014/chart" uri="{C3380CC4-5D6E-409C-BE32-E72D297353CC}">
              <c16:uniqueId val="{00000008-C3C7-4D9D-AAD9-26B62EFD5FDF}"/>
            </c:ext>
          </c:extLst>
        </c:ser>
        <c:dLbls>
          <c:showLegendKey val="0"/>
          <c:showVal val="0"/>
          <c:showCatName val="0"/>
          <c:showSerName val="0"/>
          <c:showPercent val="0"/>
          <c:showBubbleSize val="0"/>
          <c:showLeaderLines val="1"/>
        </c:dLbls>
        <c:firstSliceAng val="0"/>
        <c:holeSize val="7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solidFill>
                <a:latin typeface="+mj-lt"/>
                <a:ea typeface="+mn-ea"/>
                <a:cs typeface="+mn-cs"/>
              </a:defRPr>
            </a:pPr>
            <a:r>
              <a:rPr lang="en-US" sz="1800" dirty="0">
                <a:effectLst/>
              </a:rPr>
              <a:t>Diagram heading</a:t>
            </a:r>
            <a:endParaRPr lang="de-DE" dirty="0">
              <a:effectLst/>
            </a:endParaRPr>
          </a:p>
        </c:rich>
      </c:tx>
      <c:layout>
        <c:manualLayout>
          <c:xMode val="edge"/>
          <c:yMode val="edge"/>
          <c:x val="0.14959772051839823"/>
          <c:y val="0"/>
        </c:manualLayout>
      </c:layout>
      <c:overlay val="0"/>
      <c:spPr>
        <a:noFill/>
        <a:ln>
          <a:noFill/>
        </a:ln>
        <a:effectLst/>
      </c:spPr>
      <c:txPr>
        <a:bodyPr rot="0" spcFirstLastPara="1" vertOverflow="ellipsis" vert="horz" wrap="square" anchor="ctr" anchorCtr="1"/>
        <a:lstStyle/>
        <a:p>
          <a:pPr>
            <a:defRPr sz="1600" b="0" i="0" u="none" strike="noStrike" kern="1200" spc="0" baseline="0">
              <a:solidFill>
                <a:schemeClr val="tx1"/>
              </a:solidFill>
              <a:latin typeface="+mj-lt"/>
              <a:ea typeface="+mn-ea"/>
              <a:cs typeface="+mn-cs"/>
            </a:defRPr>
          </a:pPr>
          <a:endParaRPr lang="es-CO"/>
        </a:p>
      </c:txPr>
    </c:title>
    <c:autoTitleDeleted val="0"/>
    <c:plotArea>
      <c:layout>
        <c:manualLayout>
          <c:layoutTarget val="inner"/>
          <c:xMode val="edge"/>
          <c:yMode val="edge"/>
          <c:x val="0.11669814949255029"/>
          <c:y val="0.11186582609541158"/>
          <c:w val="0.88330185050744969"/>
          <c:h val="0.6662223924354761"/>
        </c:manualLayout>
      </c:layout>
      <c:barChart>
        <c:barDir val="col"/>
        <c:grouping val="clustered"/>
        <c:varyColors val="0"/>
        <c:ser>
          <c:idx val="0"/>
          <c:order val="0"/>
          <c:tx>
            <c:strRef>
              <c:f>Tabelle1!$B$1</c:f>
              <c:strCache>
                <c:ptCount val="1"/>
                <c:pt idx="0">
                  <c:v>Column 01</c:v>
                </c:pt>
              </c:strCache>
            </c:strRef>
          </c:tx>
          <c:spPr>
            <a:solidFill>
              <a:schemeClr val="accent1"/>
            </a:solidFill>
            <a:ln>
              <a:noFill/>
            </a:ln>
            <a:effectLst/>
          </c:spPr>
          <c:invertIfNegative val="0"/>
          <c:cat>
            <c:numRef>
              <c:f>Tabelle1!$A$2</c:f>
              <c:numCache>
                <c:formatCode>General</c:formatCode>
                <c:ptCount val="1"/>
                <c:pt idx="0">
                  <c:v>2019</c:v>
                </c:pt>
              </c:numCache>
            </c:numRef>
          </c:cat>
          <c:val>
            <c:numRef>
              <c:f>Tabelle1!$B$2</c:f>
              <c:numCache>
                <c:formatCode>General</c:formatCode>
                <c:ptCount val="1"/>
                <c:pt idx="0">
                  <c:v>4.3</c:v>
                </c:pt>
              </c:numCache>
            </c:numRef>
          </c:val>
          <c:extLst>
            <c:ext xmlns:c16="http://schemas.microsoft.com/office/drawing/2014/chart" uri="{C3380CC4-5D6E-409C-BE32-E72D297353CC}">
              <c16:uniqueId val="{00000000-322F-4E44-A566-EB5F8C1F6A31}"/>
            </c:ext>
          </c:extLst>
        </c:ser>
        <c:ser>
          <c:idx val="1"/>
          <c:order val="1"/>
          <c:tx>
            <c:strRef>
              <c:f>Tabelle1!$C$1</c:f>
              <c:strCache>
                <c:ptCount val="1"/>
                <c:pt idx="0">
                  <c:v>Column 02</c:v>
                </c:pt>
              </c:strCache>
            </c:strRef>
          </c:tx>
          <c:spPr>
            <a:solidFill>
              <a:schemeClr val="accent2"/>
            </a:solidFill>
            <a:ln>
              <a:noFill/>
            </a:ln>
            <a:effectLst/>
          </c:spPr>
          <c:invertIfNegative val="0"/>
          <c:cat>
            <c:numRef>
              <c:f>Tabelle1!$A$2</c:f>
              <c:numCache>
                <c:formatCode>General</c:formatCode>
                <c:ptCount val="1"/>
                <c:pt idx="0">
                  <c:v>2019</c:v>
                </c:pt>
              </c:numCache>
            </c:numRef>
          </c:cat>
          <c:val>
            <c:numRef>
              <c:f>Tabelle1!$C$2</c:f>
              <c:numCache>
                <c:formatCode>General</c:formatCode>
                <c:ptCount val="1"/>
                <c:pt idx="0">
                  <c:v>2.5</c:v>
                </c:pt>
              </c:numCache>
            </c:numRef>
          </c:val>
          <c:extLst>
            <c:ext xmlns:c16="http://schemas.microsoft.com/office/drawing/2014/chart" uri="{C3380CC4-5D6E-409C-BE32-E72D297353CC}">
              <c16:uniqueId val="{00000003-322F-4E44-A566-EB5F8C1F6A31}"/>
            </c:ext>
          </c:extLst>
        </c:ser>
        <c:ser>
          <c:idx val="2"/>
          <c:order val="2"/>
          <c:tx>
            <c:strRef>
              <c:f>Tabelle1!$D$1</c:f>
              <c:strCache>
                <c:ptCount val="1"/>
                <c:pt idx="0">
                  <c:v>Column 03</c:v>
                </c:pt>
              </c:strCache>
            </c:strRef>
          </c:tx>
          <c:spPr>
            <a:solidFill>
              <a:schemeClr val="accent3"/>
            </a:solidFill>
            <a:ln>
              <a:noFill/>
            </a:ln>
            <a:effectLst/>
          </c:spPr>
          <c:invertIfNegative val="0"/>
          <c:cat>
            <c:numRef>
              <c:f>Tabelle1!$A$2</c:f>
              <c:numCache>
                <c:formatCode>General</c:formatCode>
                <c:ptCount val="1"/>
                <c:pt idx="0">
                  <c:v>2019</c:v>
                </c:pt>
              </c:numCache>
            </c:numRef>
          </c:cat>
          <c:val>
            <c:numRef>
              <c:f>Tabelle1!$D$2</c:f>
              <c:numCache>
                <c:formatCode>General</c:formatCode>
                <c:ptCount val="1"/>
                <c:pt idx="0">
                  <c:v>3.5</c:v>
                </c:pt>
              </c:numCache>
            </c:numRef>
          </c:val>
          <c:extLst>
            <c:ext xmlns:c16="http://schemas.microsoft.com/office/drawing/2014/chart" uri="{C3380CC4-5D6E-409C-BE32-E72D297353CC}">
              <c16:uniqueId val="{00000004-322F-4E44-A566-EB5F8C1F6A31}"/>
            </c:ext>
          </c:extLst>
        </c:ser>
        <c:ser>
          <c:idx val="3"/>
          <c:order val="3"/>
          <c:tx>
            <c:strRef>
              <c:f>Tabelle1!$E$1</c:f>
              <c:strCache>
                <c:ptCount val="1"/>
                <c:pt idx="0">
                  <c:v>Column 04</c:v>
                </c:pt>
              </c:strCache>
            </c:strRef>
          </c:tx>
          <c:spPr>
            <a:solidFill>
              <a:schemeClr val="accent4"/>
            </a:solidFill>
            <a:ln>
              <a:noFill/>
            </a:ln>
            <a:effectLst/>
          </c:spPr>
          <c:invertIfNegative val="0"/>
          <c:cat>
            <c:numRef>
              <c:f>Tabelle1!$A$2</c:f>
              <c:numCache>
                <c:formatCode>General</c:formatCode>
                <c:ptCount val="1"/>
                <c:pt idx="0">
                  <c:v>2019</c:v>
                </c:pt>
              </c:numCache>
            </c:numRef>
          </c:cat>
          <c:val>
            <c:numRef>
              <c:f>Tabelle1!$E$2</c:f>
              <c:numCache>
                <c:formatCode>General</c:formatCode>
                <c:ptCount val="1"/>
                <c:pt idx="0">
                  <c:v>4.5</c:v>
                </c:pt>
              </c:numCache>
            </c:numRef>
          </c:val>
          <c:extLst>
            <c:ext xmlns:c16="http://schemas.microsoft.com/office/drawing/2014/chart" uri="{C3380CC4-5D6E-409C-BE32-E72D297353CC}">
              <c16:uniqueId val="{00000005-322F-4E44-A566-EB5F8C1F6A31}"/>
            </c:ext>
          </c:extLst>
        </c:ser>
        <c:ser>
          <c:idx val="4"/>
          <c:order val="4"/>
          <c:tx>
            <c:strRef>
              <c:f>Tabelle1!$F$1</c:f>
              <c:strCache>
                <c:ptCount val="1"/>
                <c:pt idx="0">
                  <c:v>Column 05</c:v>
                </c:pt>
              </c:strCache>
            </c:strRef>
          </c:tx>
          <c:spPr>
            <a:solidFill>
              <a:schemeClr val="accent5"/>
            </a:solidFill>
            <a:ln>
              <a:noFill/>
            </a:ln>
            <a:effectLst/>
          </c:spPr>
          <c:invertIfNegative val="0"/>
          <c:cat>
            <c:numRef>
              <c:f>Tabelle1!$A$2</c:f>
              <c:numCache>
                <c:formatCode>General</c:formatCode>
                <c:ptCount val="1"/>
                <c:pt idx="0">
                  <c:v>2019</c:v>
                </c:pt>
              </c:numCache>
            </c:numRef>
          </c:cat>
          <c:val>
            <c:numRef>
              <c:f>Tabelle1!$F$2</c:f>
              <c:numCache>
                <c:formatCode>General</c:formatCode>
                <c:ptCount val="1"/>
                <c:pt idx="0">
                  <c:v>5.5</c:v>
                </c:pt>
              </c:numCache>
            </c:numRef>
          </c:val>
          <c:extLst>
            <c:ext xmlns:c16="http://schemas.microsoft.com/office/drawing/2014/chart" uri="{C3380CC4-5D6E-409C-BE32-E72D297353CC}">
              <c16:uniqueId val="{00000006-322F-4E44-A566-EB5F8C1F6A31}"/>
            </c:ext>
          </c:extLst>
        </c:ser>
        <c:ser>
          <c:idx val="5"/>
          <c:order val="5"/>
          <c:tx>
            <c:strRef>
              <c:f>Tabelle1!$G$1</c:f>
              <c:strCache>
                <c:ptCount val="1"/>
                <c:pt idx="0">
                  <c:v>Column 06</c:v>
                </c:pt>
              </c:strCache>
            </c:strRef>
          </c:tx>
          <c:spPr>
            <a:solidFill>
              <a:schemeClr val="accent6"/>
            </a:solidFill>
            <a:ln>
              <a:noFill/>
            </a:ln>
            <a:effectLst/>
          </c:spPr>
          <c:invertIfNegative val="0"/>
          <c:cat>
            <c:numRef>
              <c:f>Tabelle1!$A$2</c:f>
              <c:numCache>
                <c:formatCode>General</c:formatCode>
                <c:ptCount val="1"/>
                <c:pt idx="0">
                  <c:v>2019</c:v>
                </c:pt>
              </c:numCache>
            </c:numRef>
          </c:cat>
          <c:val>
            <c:numRef>
              <c:f>Tabelle1!$G$2</c:f>
              <c:numCache>
                <c:formatCode>General</c:formatCode>
                <c:ptCount val="1"/>
                <c:pt idx="0">
                  <c:v>6.5</c:v>
                </c:pt>
              </c:numCache>
            </c:numRef>
          </c:val>
          <c:extLst>
            <c:ext xmlns:c16="http://schemas.microsoft.com/office/drawing/2014/chart" uri="{C3380CC4-5D6E-409C-BE32-E72D297353CC}">
              <c16:uniqueId val="{00000007-322F-4E44-A566-EB5F8C1F6A31}"/>
            </c:ext>
          </c:extLst>
        </c:ser>
        <c:dLbls>
          <c:showLegendKey val="0"/>
          <c:showVal val="0"/>
          <c:showCatName val="0"/>
          <c:showSerName val="0"/>
          <c:showPercent val="0"/>
          <c:showBubbleSize val="0"/>
        </c:dLbls>
        <c:gapWidth val="219"/>
        <c:overlap val="-27"/>
        <c:axId val="1080785096"/>
        <c:axId val="1080796904"/>
      </c:barChart>
      <c:catAx>
        <c:axId val="10807850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s-CO"/>
          </a:p>
        </c:txPr>
        <c:crossAx val="1080796904"/>
        <c:crosses val="autoZero"/>
        <c:auto val="1"/>
        <c:lblAlgn val="ctr"/>
        <c:lblOffset val="100"/>
        <c:noMultiLvlLbl val="0"/>
      </c:catAx>
      <c:valAx>
        <c:axId val="10807969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s-CO"/>
          </a:p>
        </c:txPr>
        <c:crossAx val="1080785096"/>
        <c:crosses val="autoZero"/>
        <c:crossBetween val="between"/>
      </c:valAx>
      <c:spPr>
        <a:noFill/>
        <a:ln>
          <a:noFill/>
        </a:ln>
        <a:effectLst/>
      </c:spPr>
    </c:plotArea>
    <c:legend>
      <c:legendPos val="b"/>
      <c:layout>
        <c:manualLayout>
          <c:xMode val="edge"/>
          <c:yMode val="edge"/>
          <c:x val="0"/>
          <c:y val="0.87900527550845142"/>
          <c:w val="0.99585768307306255"/>
          <c:h val="0.1041938825973925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422594059933079E-2"/>
          <c:y val="6.4094991342715776E-2"/>
          <c:w val="0.91915481188013382"/>
          <c:h val="0.70038520670437376"/>
        </c:manualLayout>
      </c:layout>
      <c:doughnutChart>
        <c:varyColors val="1"/>
        <c:ser>
          <c:idx val="0"/>
          <c:order val="0"/>
          <c:tx>
            <c:strRef>
              <c:f>Tabelle1!$B$1</c:f>
              <c:strCache>
                <c:ptCount val="1"/>
                <c:pt idx="0">
                  <c:v>Verkauf</c:v>
                </c:pt>
              </c:strCache>
            </c:strRef>
          </c:tx>
          <c:spPr>
            <a:ln w="9525">
              <a:solidFill>
                <a:schemeClr val="bg1"/>
              </a:solidFill>
            </a:ln>
          </c:spPr>
          <c:dPt>
            <c:idx val="0"/>
            <c:bubble3D val="0"/>
            <c:spPr>
              <a:solidFill>
                <a:schemeClr val="accent5"/>
              </a:solidFill>
              <a:ln w="9525">
                <a:solidFill>
                  <a:schemeClr val="bg1"/>
                </a:solidFill>
              </a:ln>
              <a:effectLst/>
            </c:spPr>
            <c:extLst>
              <c:ext xmlns:c16="http://schemas.microsoft.com/office/drawing/2014/chart" uri="{C3380CC4-5D6E-409C-BE32-E72D297353CC}">
                <c16:uniqueId val="{00000001-C3C7-4D9D-AAD9-26B62EFD5FDF}"/>
              </c:ext>
            </c:extLst>
          </c:dPt>
          <c:dPt>
            <c:idx val="1"/>
            <c:bubble3D val="0"/>
            <c:spPr>
              <a:solidFill>
                <a:schemeClr val="bg2"/>
              </a:solidFill>
              <a:ln w="9525">
                <a:solidFill>
                  <a:schemeClr val="bg1"/>
                </a:solidFill>
              </a:ln>
              <a:effectLst/>
            </c:spPr>
            <c:extLst>
              <c:ext xmlns:c16="http://schemas.microsoft.com/office/drawing/2014/chart" uri="{C3380CC4-5D6E-409C-BE32-E72D297353CC}">
                <c16:uniqueId val="{00000003-C3C7-4D9D-AAD9-26B62EFD5FDF}"/>
              </c:ext>
            </c:extLst>
          </c:dPt>
          <c:dPt>
            <c:idx val="2"/>
            <c:bubble3D val="0"/>
            <c:spPr>
              <a:solidFill>
                <a:schemeClr val="accent3"/>
              </a:solidFill>
              <a:ln w="9525">
                <a:solidFill>
                  <a:schemeClr val="bg1"/>
                </a:solidFill>
              </a:ln>
              <a:effectLst/>
            </c:spPr>
            <c:extLst>
              <c:ext xmlns:c16="http://schemas.microsoft.com/office/drawing/2014/chart" uri="{C3380CC4-5D6E-409C-BE32-E72D297353CC}">
                <c16:uniqueId val="{00000005-C3C7-4D9D-AAD9-26B62EFD5FDF}"/>
              </c:ext>
            </c:extLst>
          </c:dPt>
          <c:dPt>
            <c:idx val="3"/>
            <c:bubble3D val="0"/>
            <c:spPr>
              <a:solidFill>
                <a:schemeClr val="accent4"/>
              </a:solidFill>
              <a:ln w="9525">
                <a:solidFill>
                  <a:schemeClr val="bg1"/>
                </a:solidFill>
              </a:ln>
              <a:effectLst/>
            </c:spPr>
            <c:extLst>
              <c:ext xmlns:c16="http://schemas.microsoft.com/office/drawing/2014/chart" uri="{C3380CC4-5D6E-409C-BE32-E72D297353CC}">
                <c16:uniqueId val="{00000007-C3C7-4D9D-AAD9-26B62EFD5FDF}"/>
              </c:ext>
            </c:extLst>
          </c:dPt>
          <c:cat>
            <c:strRef>
              <c:f>Tabelle1!$A$2:$A$3</c:f>
              <c:strCache>
                <c:ptCount val="2"/>
                <c:pt idx="0">
                  <c:v>1. Quartal</c:v>
                </c:pt>
                <c:pt idx="1">
                  <c:v>2. Quartal</c:v>
                </c:pt>
              </c:strCache>
            </c:strRef>
          </c:cat>
          <c:val>
            <c:numRef>
              <c:f>Tabelle1!$B$2:$B$3</c:f>
              <c:numCache>
                <c:formatCode>General</c:formatCode>
                <c:ptCount val="2"/>
                <c:pt idx="0">
                  <c:v>30</c:v>
                </c:pt>
                <c:pt idx="1">
                  <c:v>70</c:v>
                </c:pt>
              </c:numCache>
            </c:numRef>
          </c:val>
          <c:extLst>
            <c:ext xmlns:c16="http://schemas.microsoft.com/office/drawing/2014/chart" uri="{C3380CC4-5D6E-409C-BE32-E72D297353CC}">
              <c16:uniqueId val="{00000008-C3C7-4D9D-AAD9-26B62EFD5FDF}"/>
            </c:ext>
          </c:extLst>
        </c:ser>
        <c:dLbls>
          <c:showLegendKey val="0"/>
          <c:showVal val="0"/>
          <c:showCatName val="0"/>
          <c:showSerName val="0"/>
          <c:showPercent val="0"/>
          <c:showBubbleSize val="0"/>
          <c:showLeaderLines val="1"/>
        </c:dLbls>
        <c:firstSliceAng val="0"/>
        <c:holeSize val="7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Tabelle1!$B$1</c:f>
              <c:strCache>
                <c:ptCount val="1"/>
                <c:pt idx="0">
                  <c:v>Data series 1</c:v>
                </c:pt>
              </c:strCache>
            </c:strRef>
          </c:tx>
          <c:spPr>
            <a:ln w="28575" cap="rnd">
              <a:solidFill>
                <a:schemeClr val="accent1"/>
              </a:solidFill>
              <a:round/>
            </a:ln>
            <a:effectLst/>
          </c:spPr>
          <c:marker>
            <c:symbol val="none"/>
          </c:marker>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37B0-494C-A377-724F92167F89}"/>
            </c:ext>
          </c:extLst>
        </c:ser>
        <c:ser>
          <c:idx val="1"/>
          <c:order val="1"/>
          <c:tx>
            <c:strRef>
              <c:f>Tabelle1!$C$1</c:f>
              <c:strCache>
                <c:ptCount val="1"/>
                <c:pt idx="0">
                  <c:v>Data series 2</c:v>
                </c:pt>
              </c:strCache>
            </c:strRef>
          </c:tx>
          <c:spPr>
            <a:ln w="28575" cap="rnd">
              <a:solidFill>
                <a:schemeClr val="accent2"/>
              </a:solidFill>
              <a:round/>
            </a:ln>
            <a:effectLst/>
          </c:spPr>
          <c:marker>
            <c:symbol val="none"/>
          </c:marker>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37B0-494C-A377-724F92167F89}"/>
            </c:ext>
          </c:extLst>
        </c:ser>
        <c:ser>
          <c:idx val="2"/>
          <c:order val="2"/>
          <c:tx>
            <c:strRef>
              <c:f>Tabelle1!$D$1</c:f>
              <c:strCache>
                <c:ptCount val="1"/>
                <c:pt idx="0">
                  <c:v>Data series 3</c:v>
                </c:pt>
              </c:strCache>
            </c:strRef>
          </c:tx>
          <c:spPr>
            <a:ln w="28575" cap="rnd">
              <a:solidFill>
                <a:schemeClr val="accent3"/>
              </a:solidFill>
              <a:round/>
            </a:ln>
            <a:effectLst/>
          </c:spPr>
          <c:marker>
            <c:symbol val="none"/>
          </c:marker>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37B0-494C-A377-724F92167F89}"/>
            </c:ext>
          </c:extLst>
        </c:ser>
        <c:dLbls>
          <c:showLegendKey val="0"/>
          <c:showVal val="0"/>
          <c:showCatName val="0"/>
          <c:showSerName val="0"/>
          <c:showPercent val="0"/>
          <c:showBubbleSize val="0"/>
        </c:dLbls>
        <c:smooth val="0"/>
        <c:axId val="609504288"/>
        <c:axId val="609500024"/>
      </c:lineChart>
      <c:catAx>
        <c:axId val="609504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s-CO"/>
          </a:p>
        </c:txPr>
        <c:crossAx val="609500024"/>
        <c:crosses val="autoZero"/>
        <c:auto val="1"/>
        <c:lblAlgn val="ctr"/>
        <c:lblOffset val="100"/>
        <c:noMultiLvlLbl val="0"/>
      </c:catAx>
      <c:valAx>
        <c:axId val="6095000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s-CO"/>
          </a:p>
        </c:txPr>
        <c:crossAx val="609504288"/>
        <c:crosses val="autoZero"/>
        <c:crossBetween val="between"/>
      </c:valAx>
      <c:spPr>
        <a:noFill/>
        <a:ln>
          <a:noFill/>
        </a:ln>
        <a:effectLst/>
      </c:spPr>
    </c:plotArea>
    <c:legend>
      <c:legendPos val="b"/>
      <c:layout>
        <c:manualLayout>
          <c:xMode val="edge"/>
          <c:yMode val="edge"/>
          <c:x val="0"/>
          <c:y val="0.81499027626482212"/>
          <c:w val="0.98808923879298227"/>
          <c:h val="0.1850097237351779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s-CO"/>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422594059933079E-2"/>
          <c:y val="6.4094991342715776E-2"/>
          <c:w val="0.91915481188013382"/>
          <c:h val="0.70038520670437376"/>
        </c:manualLayout>
      </c:layout>
      <c:doughnutChart>
        <c:varyColors val="1"/>
        <c:ser>
          <c:idx val="0"/>
          <c:order val="0"/>
          <c:tx>
            <c:strRef>
              <c:f>Tabelle1!$B$1</c:f>
              <c:strCache>
                <c:ptCount val="1"/>
                <c:pt idx="0">
                  <c:v>Verkauf</c:v>
                </c:pt>
              </c:strCache>
            </c:strRef>
          </c:tx>
          <c:spPr>
            <a:ln w="9525">
              <a:solidFill>
                <a:schemeClr val="bg1"/>
              </a:solidFill>
            </a:ln>
          </c:spPr>
          <c:dPt>
            <c:idx val="0"/>
            <c:bubble3D val="0"/>
            <c:spPr>
              <a:solidFill>
                <a:schemeClr val="accent5"/>
              </a:solidFill>
              <a:ln w="9525">
                <a:solidFill>
                  <a:schemeClr val="bg1"/>
                </a:solidFill>
              </a:ln>
              <a:effectLst/>
            </c:spPr>
            <c:extLst>
              <c:ext xmlns:c16="http://schemas.microsoft.com/office/drawing/2014/chart" uri="{C3380CC4-5D6E-409C-BE32-E72D297353CC}">
                <c16:uniqueId val="{00000001-C3C7-4D9D-AAD9-26B62EFD5FDF}"/>
              </c:ext>
            </c:extLst>
          </c:dPt>
          <c:dPt>
            <c:idx val="1"/>
            <c:bubble3D val="0"/>
            <c:spPr>
              <a:solidFill>
                <a:schemeClr val="bg2"/>
              </a:solidFill>
              <a:ln w="9525">
                <a:solidFill>
                  <a:schemeClr val="bg1"/>
                </a:solidFill>
              </a:ln>
              <a:effectLst/>
            </c:spPr>
            <c:extLst>
              <c:ext xmlns:c16="http://schemas.microsoft.com/office/drawing/2014/chart" uri="{C3380CC4-5D6E-409C-BE32-E72D297353CC}">
                <c16:uniqueId val="{00000003-C3C7-4D9D-AAD9-26B62EFD5FDF}"/>
              </c:ext>
            </c:extLst>
          </c:dPt>
          <c:dPt>
            <c:idx val="2"/>
            <c:bubble3D val="0"/>
            <c:spPr>
              <a:solidFill>
                <a:schemeClr val="accent3"/>
              </a:solidFill>
              <a:ln w="9525">
                <a:solidFill>
                  <a:schemeClr val="bg1"/>
                </a:solidFill>
              </a:ln>
              <a:effectLst/>
            </c:spPr>
            <c:extLst>
              <c:ext xmlns:c16="http://schemas.microsoft.com/office/drawing/2014/chart" uri="{C3380CC4-5D6E-409C-BE32-E72D297353CC}">
                <c16:uniqueId val="{00000005-C3C7-4D9D-AAD9-26B62EFD5FDF}"/>
              </c:ext>
            </c:extLst>
          </c:dPt>
          <c:dPt>
            <c:idx val="3"/>
            <c:bubble3D val="0"/>
            <c:spPr>
              <a:solidFill>
                <a:schemeClr val="accent4"/>
              </a:solidFill>
              <a:ln w="9525">
                <a:solidFill>
                  <a:schemeClr val="bg1"/>
                </a:solidFill>
              </a:ln>
              <a:effectLst/>
            </c:spPr>
            <c:extLst>
              <c:ext xmlns:c16="http://schemas.microsoft.com/office/drawing/2014/chart" uri="{C3380CC4-5D6E-409C-BE32-E72D297353CC}">
                <c16:uniqueId val="{00000007-C3C7-4D9D-AAD9-26B62EFD5FDF}"/>
              </c:ext>
            </c:extLst>
          </c:dPt>
          <c:cat>
            <c:strRef>
              <c:f>Tabelle1!$A$2:$A$3</c:f>
              <c:strCache>
                <c:ptCount val="2"/>
                <c:pt idx="0">
                  <c:v>1. Quartal</c:v>
                </c:pt>
                <c:pt idx="1">
                  <c:v>2. Quartal</c:v>
                </c:pt>
              </c:strCache>
            </c:strRef>
          </c:cat>
          <c:val>
            <c:numRef>
              <c:f>Tabelle1!$B$2:$B$3</c:f>
              <c:numCache>
                <c:formatCode>General</c:formatCode>
                <c:ptCount val="2"/>
                <c:pt idx="0">
                  <c:v>70</c:v>
                </c:pt>
                <c:pt idx="1">
                  <c:v>30</c:v>
                </c:pt>
              </c:numCache>
            </c:numRef>
          </c:val>
          <c:extLst>
            <c:ext xmlns:c16="http://schemas.microsoft.com/office/drawing/2014/chart" uri="{C3380CC4-5D6E-409C-BE32-E72D297353CC}">
              <c16:uniqueId val="{00000008-C3C7-4D9D-AAD9-26B62EFD5FDF}"/>
            </c:ext>
          </c:extLst>
        </c:ser>
        <c:dLbls>
          <c:showLegendKey val="0"/>
          <c:showVal val="0"/>
          <c:showCatName val="0"/>
          <c:showSerName val="0"/>
          <c:showPercent val="0"/>
          <c:showBubbleSize val="0"/>
          <c:showLeaderLines val="1"/>
        </c:dLbls>
        <c:firstSliceAng val="0"/>
        <c:holeSize val="7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422594059933079E-2"/>
          <c:y val="6.4094991342715776E-2"/>
          <c:w val="0.91915481188013382"/>
          <c:h val="0.70038520670437376"/>
        </c:manualLayout>
      </c:layout>
      <c:doughnutChart>
        <c:varyColors val="1"/>
        <c:ser>
          <c:idx val="0"/>
          <c:order val="0"/>
          <c:tx>
            <c:strRef>
              <c:f>Tabelle1!$B$1</c:f>
              <c:strCache>
                <c:ptCount val="1"/>
                <c:pt idx="0">
                  <c:v>Verkauf</c:v>
                </c:pt>
              </c:strCache>
            </c:strRef>
          </c:tx>
          <c:spPr>
            <a:ln w="9525">
              <a:solidFill>
                <a:schemeClr val="bg1"/>
              </a:solidFill>
            </a:ln>
          </c:spPr>
          <c:dPt>
            <c:idx val="0"/>
            <c:bubble3D val="0"/>
            <c:spPr>
              <a:solidFill>
                <a:schemeClr val="accent5"/>
              </a:solidFill>
              <a:ln w="9525">
                <a:solidFill>
                  <a:schemeClr val="bg1"/>
                </a:solidFill>
              </a:ln>
              <a:effectLst/>
            </c:spPr>
            <c:extLst>
              <c:ext xmlns:c16="http://schemas.microsoft.com/office/drawing/2014/chart" uri="{C3380CC4-5D6E-409C-BE32-E72D297353CC}">
                <c16:uniqueId val="{00000001-C3C7-4D9D-AAD9-26B62EFD5FDF}"/>
              </c:ext>
            </c:extLst>
          </c:dPt>
          <c:dPt>
            <c:idx val="1"/>
            <c:bubble3D val="0"/>
            <c:spPr>
              <a:solidFill>
                <a:schemeClr val="bg2"/>
              </a:solidFill>
              <a:ln w="9525">
                <a:solidFill>
                  <a:schemeClr val="bg1"/>
                </a:solidFill>
              </a:ln>
              <a:effectLst/>
            </c:spPr>
            <c:extLst>
              <c:ext xmlns:c16="http://schemas.microsoft.com/office/drawing/2014/chart" uri="{C3380CC4-5D6E-409C-BE32-E72D297353CC}">
                <c16:uniqueId val="{00000003-C3C7-4D9D-AAD9-26B62EFD5FDF}"/>
              </c:ext>
            </c:extLst>
          </c:dPt>
          <c:dPt>
            <c:idx val="2"/>
            <c:bubble3D val="0"/>
            <c:spPr>
              <a:solidFill>
                <a:schemeClr val="accent3"/>
              </a:solidFill>
              <a:ln w="9525">
                <a:solidFill>
                  <a:schemeClr val="bg1"/>
                </a:solidFill>
              </a:ln>
              <a:effectLst/>
            </c:spPr>
            <c:extLst>
              <c:ext xmlns:c16="http://schemas.microsoft.com/office/drawing/2014/chart" uri="{C3380CC4-5D6E-409C-BE32-E72D297353CC}">
                <c16:uniqueId val="{00000005-C3C7-4D9D-AAD9-26B62EFD5FDF}"/>
              </c:ext>
            </c:extLst>
          </c:dPt>
          <c:dPt>
            <c:idx val="3"/>
            <c:bubble3D val="0"/>
            <c:spPr>
              <a:solidFill>
                <a:schemeClr val="accent4"/>
              </a:solidFill>
              <a:ln w="9525">
                <a:solidFill>
                  <a:schemeClr val="bg1"/>
                </a:solidFill>
              </a:ln>
              <a:effectLst/>
            </c:spPr>
            <c:extLst>
              <c:ext xmlns:c16="http://schemas.microsoft.com/office/drawing/2014/chart" uri="{C3380CC4-5D6E-409C-BE32-E72D297353CC}">
                <c16:uniqueId val="{00000007-C3C7-4D9D-AAD9-26B62EFD5FDF}"/>
              </c:ext>
            </c:extLst>
          </c:dPt>
          <c:cat>
            <c:strRef>
              <c:f>Tabelle1!$A$2:$A$3</c:f>
              <c:strCache>
                <c:ptCount val="2"/>
                <c:pt idx="0">
                  <c:v>1. Quartal</c:v>
                </c:pt>
                <c:pt idx="1">
                  <c:v>2. Quartal</c:v>
                </c:pt>
              </c:strCache>
            </c:strRef>
          </c:cat>
          <c:val>
            <c:numRef>
              <c:f>Tabelle1!$B$2:$B$3</c:f>
              <c:numCache>
                <c:formatCode>General</c:formatCode>
                <c:ptCount val="2"/>
                <c:pt idx="0">
                  <c:v>30</c:v>
                </c:pt>
                <c:pt idx="1">
                  <c:v>70</c:v>
                </c:pt>
              </c:numCache>
            </c:numRef>
          </c:val>
          <c:extLst>
            <c:ext xmlns:c16="http://schemas.microsoft.com/office/drawing/2014/chart" uri="{C3380CC4-5D6E-409C-BE32-E72D297353CC}">
              <c16:uniqueId val="{00000008-C3C7-4D9D-AAD9-26B62EFD5FDF}"/>
            </c:ext>
          </c:extLst>
        </c:ser>
        <c:dLbls>
          <c:showLegendKey val="0"/>
          <c:showVal val="0"/>
          <c:showCatName val="0"/>
          <c:showSerName val="0"/>
          <c:showPercent val="0"/>
          <c:showBubbleSize val="0"/>
          <c:showLeaderLines val="1"/>
        </c:dLbls>
        <c:firstSliceAng val="0"/>
        <c:holeSize val="7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422594059933079E-2"/>
          <c:y val="6.4094991342715776E-2"/>
          <c:w val="0.91915481188013382"/>
          <c:h val="0.70038520670437376"/>
        </c:manualLayout>
      </c:layout>
      <c:doughnutChart>
        <c:varyColors val="1"/>
        <c:ser>
          <c:idx val="0"/>
          <c:order val="0"/>
          <c:tx>
            <c:strRef>
              <c:f>Tabelle1!$B$1</c:f>
              <c:strCache>
                <c:ptCount val="1"/>
                <c:pt idx="0">
                  <c:v>Verkauf</c:v>
                </c:pt>
              </c:strCache>
            </c:strRef>
          </c:tx>
          <c:spPr>
            <a:ln w="9525">
              <a:solidFill>
                <a:schemeClr val="bg1"/>
              </a:solidFill>
            </a:ln>
          </c:spPr>
          <c:dPt>
            <c:idx val="0"/>
            <c:bubble3D val="0"/>
            <c:spPr>
              <a:solidFill>
                <a:schemeClr val="accent5"/>
              </a:solidFill>
              <a:ln w="9525">
                <a:solidFill>
                  <a:schemeClr val="bg1"/>
                </a:solidFill>
              </a:ln>
              <a:effectLst/>
            </c:spPr>
            <c:extLst>
              <c:ext xmlns:c16="http://schemas.microsoft.com/office/drawing/2014/chart" uri="{C3380CC4-5D6E-409C-BE32-E72D297353CC}">
                <c16:uniqueId val="{00000001-C3C7-4D9D-AAD9-26B62EFD5FDF}"/>
              </c:ext>
            </c:extLst>
          </c:dPt>
          <c:dPt>
            <c:idx val="1"/>
            <c:bubble3D val="0"/>
            <c:spPr>
              <a:solidFill>
                <a:schemeClr val="bg2"/>
              </a:solidFill>
              <a:ln w="9525">
                <a:solidFill>
                  <a:schemeClr val="bg1"/>
                </a:solidFill>
              </a:ln>
              <a:effectLst/>
            </c:spPr>
            <c:extLst>
              <c:ext xmlns:c16="http://schemas.microsoft.com/office/drawing/2014/chart" uri="{C3380CC4-5D6E-409C-BE32-E72D297353CC}">
                <c16:uniqueId val="{00000003-C3C7-4D9D-AAD9-26B62EFD5FDF}"/>
              </c:ext>
            </c:extLst>
          </c:dPt>
          <c:dPt>
            <c:idx val="2"/>
            <c:bubble3D val="0"/>
            <c:spPr>
              <a:solidFill>
                <a:schemeClr val="accent3"/>
              </a:solidFill>
              <a:ln w="9525">
                <a:solidFill>
                  <a:schemeClr val="bg1"/>
                </a:solidFill>
              </a:ln>
              <a:effectLst/>
            </c:spPr>
            <c:extLst>
              <c:ext xmlns:c16="http://schemas.microsoft.com/office/drawing/2014/chart" uri="{C3380CC4-5D6E-409C-BE32-E72D297353CC}">
                <c16:uniqueId val="{00000005-C3C7-4D9D-AAD9-26B62EFD5FDF}"/>
              </c:ext>
            </c:extLst>
          </c:dPt>
          <c:dPt>
            <c:idx val="3"/>
            <c:bubble3D val="0"/>
            <c:spPr>
              <a:solidFill>
                <a:schemeClr val="accent4"/>
              </a:solidFill>
              <a:ln w="9525">
                <a:solidFill>
                  <a:schemeClr val="bg1"/>
                </a:solidFill>
              </a:ln>
              <a:effectLst/>
            </c:spPr>
            <c:extLst>
              <c:ext xmlns:c16="http://schemas.microsoft.com/office/drawing/2014/chart" uri="{C3380CC4-5D6E-409C-BE32-E72D297353CC}">
                <c16:uniqueId val="{00000007-C3C7-4D9D-AAD9-26B62EFD5FDF}"/>
              </c:ext>
            </c:extLst>
          </c:dPt>
          <c:cat>
            <c:strRef>
              <c:f>Tabelle1!$A$2:$A$3</c:f>
              <c:strCache>
                <c:ptCount val="2"/>
                <c:pt idx="0">
                  <c:v>1. Quartal</c:v>
                </c:pt>
                <c:pt idx="1">
                  <c:v>2. Quartal</c:v>
                </c:pt>
              </c:strCache>
            </c:strRef>
          </c:cat>
          <c:val>
            <c:numRef>
              <c:f>Tabelle1!$B$2:$B$3</c:f>
              <c:numCache>
                <c:formatCode>General</c:formatCode>
                <c:ptCount val="2"/>
                <c:pt idx="0">
                  <c:v>95</c:v>
                </c:pt>
                <c:pt idx="1">
                  <c:v>5</c:v>
                </c:pt>
              </c:numCache>
            </c:numRef>
          </c:val>
          <c:extLst>
            <c:ext xmlns:c16="http://schemas.microsoft.com/office/drawing/2014/chart" uri="{C3380CC4-5D6E-409C-BE32-E72D297353CC}">
              <c16:uniqueId val="{00000008-C3C7-4D9D-AAD9-26B62EFD5FDF}"/>
            </c:ext>
          </c:extLst>
        </c:ser>
        <c:dLbls>
          <c:showLegendKey val="0"/>
          <c:showVal val="0"/>
          <c:showCatName val="0"/>
          <c:showSerName val="0"/>
          <c:showPercent val="0"/>
          <c:showBubbleSize val="0"/>
          <c:showLeaderLines val="1"/>
        </c:dLbls>
        <c:firstSliceAng val="0"/>
        <c:holeSize val="7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67915896564314E-2"/>
          <c:y val="8.1567915896564314E-2"/>
          <c:w val="0.83686416820687137"/>
          <c:h val="0.83686416820687137"/>
        </c:manualLayout>
      </c:layout>
      <c:doughnutChart>
        <c:varyColors val="1"/>
        <c:ser>
          <c:idx val="0"/>
          <c:order val="0"/>
          <c:tx>
            <c:strRef>
              <c:f>Tabelle1!$B$1</c:f>
              <c:strCache>
                <c:ptCount val="1"/>
                <c:pt idx="0">
                  <c:v>Verkauf</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ED2-423C-85E6-65E98BD28DFC}"/>
              </c:ext>
            </c:extLst>
          </c:dPt>
          <c:dPt>
            <c:idx val="1"/>
            <c:bubble3D val="0"/>
            <c:spPr>
              <a:solidFill>
                <a:schemeClr val="bg2"/>
              </a:solidFill>
              <a:ln w="19050">
                <a:solidFill>
                  <a:schemeClr val="lt1"/>
                </a:solidFill>
              </a:ln>
              <a:effectLst/>
            </c:spPr>
            <c:extLst>
              <c:ext xmlns:c16="http://schemas.microsoft.com/office/drawing/2014/chart" uri="{C3380CC4-5D6E-409C-BE32-E72D297353CC}">
                <c16:uniqueId val="{00000003-7A79-48B5-93AB-A34401FC944D}"/>
              </c:ext>
            </c:extLst>
          </c:dPt>
          <c:dPt>
            <c:idx val="2"/>
            <c:bubble3D val="0"/>
            <c:spPr>
              <a:solidFill>
                <a:schemeClr val="bg2"/>
              </a:solidFill>
              <a:ln w="19050">
                <a:solidFill>
                  <a:schemeClr val="lt1"/>
                </a:solidFill>
              </a:ln>
              <a:effectLst/>
            </c:spPr>
            <c:extLst>
              <c:ext xmlns:c16="http://schemas.microsoft.com/office/drawing/2014/chart" uri="{C3380CC4-5D6E-409C-BE32-E72D297353CC}">
                <c16:uniqueId val="{00000002-7A79-48B5-93AB-A34401FC944D}"/>
              </c:ext>
            </c:extLst>
          </c:dPt>
          <c:dPt>
            <c:idx val="3"/>
            <c:bubble3D val="0"/>
            <c:spPr>
              <a:solidFill>
                <a:schemeClr val="bg2"/>
              </a:solidFill>
              <a:ln w="19050">
                <a:solidFill>
                  <a:schemeClr val="lt1"/>
                </a:solidFill>
              </a:ln>
              <a:effectLst/>
            </c:spPr>
            <c:extLst>
              <c:ext xmlns:c16="http://schemas.microsoft.com/office/drawing/2014/chart" uri="{C3380CC4-5D6E-409C-BE32-E72D297353CC}">
                <c16:uniqueId val="{00000001-7A79-48B5-93AB-A34401FC944D}"/>
              </c:ext>
            </c:extLst>
          </c:dPt>
          <c:cat>
            <c:strRef>
              <c:f>Tabelle1!$A$2:$A$4</c:f>
              <c:strCache>
                <c:ptCount val="3"/>
                <c:pt idx="0">
                  <c:v>1. Quartal</c:v>
                </c:pt>
                <c:pt idx="1">
                  <c:v>2. Quartal</c:v>
                </c:pt>
                <c:pt idx="2">
                  <c:v>3. Quartal</c:v>
                </c:pt>
              </c:strCache>
            </c:strRef>
          </c:cat>
          <c:val>
            <c:numRef>
              <c:f>Tabelle1!$B$2:$B$4</c:f>
              <c:numCache>
                <c:formatCode>General</c:formatCode>
                <c:ptCount val="3"/>
                <c:pt idx="0">
                  <c:v>8.1999999999999993</c:v>
                </c:pt>
                <c:pt idx="1">
                  <c:v>3.2</c:v>
                </c:pt>
                <c:pt idx="2">
                  <c:v>1.4</c:v>
                </c:pt>
              </c:numCache>
            </c:numRef>
          </c:val>
          <c:extLst>
            <c:ext xmlns:c16="http://schemas.microsoft.com/office/drawing/2014/chart" uri="{C3380CC4-5D6E-409C-BE32-E72D297353CC}">
              <c16:uniqueId val="{00000000-7A79-48B5-93AB-A34401FC944D}"/>
            </c:ext>
          </c:extLst>
        </c:ser>
        <c:dLbls>
          <c:showLegendKey val="0"/>
          <c:showVal val="0"/>
          <c:showCatName val="0"/>
          <c:showSerName val="0"/>
          <c:showPercent val="0"/>
          <c:showBubbleSize val="0"/>
          <c:showLeaderLines val="1"/>
        </c:dLbls>
        <c:firstSliceAng val="0"/>
        <c:holeSize val="2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67915896564314E-2"/>
          <c:y val="8.1567915896564314E-2"/>
          <c:w val="0.83686416820687137"/>
          <c:h val="0.83686416820687137"/>
        </c:manualLayout>
      </c:layout>
      <c:doughnutChart>
        <c:varyColors val="1"/>
        <c:ser>
          <c:idx val="0"/>
          <c:order val="0"/>
          <c:tx>
            <c:strRef>
              <c:f>Tabelle1!$B$1</c:f>
              <c:strCache>
                <c:ptCount val="1"/>
                <c:pt idx="0">
                  <c:v>Verkauf</c:v>
                </c:pt>
              </c:strCache>
            </c:strRef>
          </c:tx>
          <c:dPt>
            <c:idx val="0"/>
            <c:bubble3D val="0"/>
            <c:spPr>
              <a:solidFill>
                <a:schemeClr val="bg2"/>
              </a:solidFill>
              <a:ln w="19050">
                <a:solidFill>
                  <a:schemeClr val="lt1"/>
                </a:solidFill>
              </a:ln>
              <a:effectLst/>
            </c:spPr>
            <c:extLst>
              <c:ext xmlns:c16="http://schemas.microsoft.com/office/drawing/2014/chart" uri="{C3380CC4-5D6E-409C-BE32-E72D297353CC}">
                <c16:uniqueId val="{00000001-192B-4714-B76E-F5E73074000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92B-4714-B76E-F5E730740008}"/>
              </c:ext>
            </c:extLst>
          </c:dPt>
          <c:dPt>
            <c:idx val="2"/>
            <c:bubble3D val="0"/>
            <c:spPr>
              <a:solidFill>
                <a:schemeClr val="bg2"/>
              </a:solidFill>
              <a:ln w="19050">
                <a:solidFill>
                  <a:schemeClr val="lt1"/>
                </a:solidFill>
              </a:ln>
              <a:effectLst/>
            </c:spPr>
            <c:extLst>
              <c:ext xmlns:c16="http://schemas.microsoft.com/office/drawing/2014/chart" uri="{C3380CC4-5D6E-409C-BE32-E72D297353CC}">
                <c16:uniqueId val="{00000005-192B-4714-B76E-F5E730740008}"/>
              </c:ext>
            </c:extLst>
          </c:dPt>
          <c:dPt>
            <c:idx val="3"/>
            <c:bubble3D val="0"/>
            <c:spPr>
              <a:solidFill>
                <a:schemeClr val="bg2"/>
              </a:solidFill>
              <a:ln w="19050">
                <a:solidFill>
                  <a:schemeClr val="lt1"/>
                </a:solidFill>
              </a:ln>
              <a:effectLst/>
            </c:spPr>
            <c:extLst>
              <c:ext xmlns:c16="http://schemas.microsoft.com/office/drawing/2014/chart" uri="{C3380CC4-5D6E-409C-BE32-E72D297353CC}">
                <c16:uniqueId val="{00000007-192B-4714-B76E-F5E730740008}"/>
              </c:ext>
            </c:extLst>
          </c:dPt>
          <c:cat>
            <c:strRef>
              <c:f>Tabelle1!$A$2:$A$4</c:f>
              <c:strCache>
                <c:ptCount val="3"/>
                <c:pt idx="0">
                  <c:v>1. Quartal</c:v>
                </c:pt>
                <c:pt idx="1">
                  <c:v>2. Quartal</c:v>
                </c:pt>
                <c:pt idx="2">
                  <c:v>3. Quartal</c:v>
                </c:pt>
              </c:strCache>
            </c:strRef>
          </c:cat>
          <c:val>
            <c:numRef>
              <c:f>Tabelle1!$B$2:$B$4</c:f>
              <c:numCache>
                <c:formatCode>General</c:formatCode>
                <c:ptCount val="3"/>
                <c:pt idx="0">
                  <c:v>8.1999999999999993</c:v>
                </c:pt>
                <c:pt idx="1">
                  <c:v>3.2</c:v>
                </c:pt>
                <c:pt idx="2">
                  <c:v>1.4</c:v>
                </c:pt>
              </c:numCache>
            </c:numRef>
          </c:val>
          <c:extLst>
            <c:ext xmlns:c16="http://schemas.microsoft.com/office/drawing/2014/chart" uri="{C3380CC4-5D6E-409C-BE32-E72D297353CC}">
              <c16:uniqueId val="{00000000-7A79-48B5-93AB-A34401FC944D}"/>
            </c:ext>
          </c:extLst>
        </c:ser>
        <c:dLbls>
          <c:showLegendKey val="0"/>
          <c:showVal val="0"/>
          <c:showCatName val="0"/>
          <c:showSerName val="0"/>
          <c:showPercent val="0"/>
          <c:showBubbleSize val="0"/>
          <c:showLeaderLines val="1"/>
        </c:dLbls>
        <c:firstSliceAng val="0"/>
        <c:holeSize val="2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567915896564314E-2"/>
          <c:y val="8.1567915896564314E-2"/>
          <c:w val="0.83686416820687137"/>
          <c:h val="0.83686416820687137"/>
        </c:manualLayout>
      </c:layout>
      <c:doughnutChart>
        <c:varyColors val="1"/>
        <c:ser>
          <c:idx val="0"/>
          <c:order val="0"/>
          <c:tx>
            <c:strRef>
              <c:f>Tabelle1!$B$1</c:f>
              <c:strCache>
                <c:ptCount val="1"/>
                <c:pt idx="0">
                  <c:v>Verkauf</c:v>
                </c:pt>
              </c:strCache>
            </c:strRef>
          </c:tx>
          <c:dPt>
            <c:idx val="0"/>
            <c:bubble3D val="0"/>
            <c:spPr>
              <a:solidFill>
                <a:schemeClr val="bg2"/>
              </a:solidFill>
              <a:ln w="19050">
                <a:solidFill>
                  <a:schemeClr val="lt1"/>
                </a:solidFill>
              </a:ln>
              <a:effectLst/>
            </c:spPr>
            <c:extLst>
              <c:ext xmlns:c16="http://schemas.microsoft.com/office/drawing/2014/chart" uri="{C3380CC4-5D6E-409C-BE32-E72D297353CC}">
                <c16:uniqueId val="{00000001-0BB3-4232-8074-ABE8CF5E74E9}"/>
              </c:ext>
            </c:extLst>
          </c:dPt>
          <c:dPt>
            <c:idx val="1"/>
            <c:bubble3D val="0"/>
            <c:spPr>
              <a:solidFill>
                <a:schemeClr val="bg2"/>
              </a:solidFill>
              <a:ln w="19050">
                <a:solidFill>
                  <a:schemeClr val="lt1"/>
                </a:solidFill>
              </a:ln>
              <a:effectLst/>
            </c:spPr>
            <c:extLst>
              <c:ext xmlns:c16="http://schemas.microsoft.com/office/drawing/2014/chart" uri="{C3380CC4-5D6E-409C-BE32-E72D297353CC}">
                <c16:uniqueId val="{00000003-0BB3-4232-8074-ABE8CF5E74E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BB3-4232-8074-ABE8CF5E74E9}"/>
              </c:ext>
            </c:extLst>
          </c:dPt>
          <c:dPt>
            <c:idx val="3"/>
            <c:bubble3D val="0"/>
            <c:spPr>
              <a:solidFill>
                <a:schemeClr val="bg2"/>
              </a:solidFill>
              <a:ln w="19050">
                <a:solidFill>
                  <a:schemeClr val="lt1"/>
                </a:solidFill>
              </a:ln>
              <a:effectLst/>
            </c:spPr>
            <c:extLst>
              <c:ext xmlns:c16="http://schemas.microsoft.com/office/drawing/2014/chart" uri="{C3380CC4-5D6E-409C-BE32-E72D297353CC}">
                <c16:uniqueId val="{00000007-0BB3-4232-8074-ABE8CF5E74E9}"/>
              </c:ext>
            </c:extLst>
          </c:dPt>
          <c:dLbls>
            <c:delete val="1"/>
          </c:dLbls>
          <c:cat>
            <c:strRef>
              <c:f>Tabelle1!$A$2:$A$4</c:f>
              <c:strCache>
                <c:ptCount val="3"/>
                <c:pt idx="0">
                  <c:v>1. Quartal</c:v>
                </c:pt>
                <c:pt idx="1">
                  <c:v>2. Quartal</c:v>
                </c:pt>
                <c:pt idx="2">
                  <c:v>3. Quartal</c:v>
                </c:pt>
              </c:strCache>
            </c:strRef>
          </c:cat>
          <c:val>
            <c:numRef>
              <c:f>Tabelle1!$B$2:$B$4</c:f>
              <c:numCache>
                <c:formatCode>General</c:formatCode>
                <c:ptCount val="3"/>
                <c:pt idx="0">
                  <c:v>8.1999999999999993</c:v>
                </c:pt>
                <c:pt idx="1">
                  <c:v>3.2</c:v>
                </c:pt>
                <c:pt idx="2">
                  <c:v>1.4</c:v>
                </c:pt>
              </c:numCache>
            </c:numRef>
          </c:val>
          <c:extLst>
            <c:ext xmlns:c16="http://schemas.microsoft.com/office/drawing/2014/chart" uri="{C3380CC4-5D6E-409C-BE32-E72D297353CC}">
              <c16:uniqueId val="{00000008-0BB3-4232-8074-ABE8CF5E74E9}"/>
            </c:ext>
          </c:extLst>
        </c:ser>
        <c:dLbls>
          <c:showLegendKey val="0"/>
          <c:showVal val="1"/>
          <c:showCatName val="0"/>
          <c:showSerName val="0"/>
          <c:showPercent val="0"/>
          <c:showBubbleSize val="0"/>
          <c:showLeaderLines val="1"/>
        </c:dLbls>
        <c:firstSliceAng val="0"/>
        <c:holeSize val="2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Datenreihe 1</c:v>
                </c:pt>
              </c:strCache>
            </c:strRef>
          </c:tx>
          <c:dPt>
            <c:idx val="0"/>
            <c:bubble3D val="0"/>
            <c:spPr>
              <a:solidFill>
                <a:schemeClr val="accent3"/>
              </a:solidFill>
              <a:ln>
                <a:noFill/>
              </a:ln>
              <a:effectLst/>
            </c:spPr>
            <c:extLst>
              <c:ext xmlns:c16="http://schemas.microsoft.com/office/drawing/2014/chart" uri="{C3380CC4-5D6E-409C-BE32-E72D297353CC}">
                <c16:uniqueId val="{00000001-9DC8-4F51-848D-73527E0AE8CF}"/>
              </c:ext>
            </c:extLst>
          </c:dPt>
          <c:dPt>
            <c:idx val="1"/>
            <c:bubble3D val="0"/>
            <c:spPr>
              <a:noFill/>
              <a:ln>
                <a:noFill/>
              </a:ln>
              <a:effectLst/>
            </c:spPr>
            <c:extLst>
              <c:ext xmlns:c16="http://schemas.microsoft.com/office/drawing/2014/chart" uri="{C3380CC4-5D6E-409C-BE32-E72D297353CC}">
                <c16:uniqueId val="{00000003-9DC8-4F51-848D-73527E0AE8CF}"/>
              </c:ext>
            </c:extLst>
          </c:dPt>
          <c:cat>
            <c:strRef>
              <c:f>Tabelle1!$A$2:$A$3</c:f>
              <c:strCache>
                <c:ptCount val="2"/>
                <c:pt idx="0">
                  <c:v>Kategorie 1</c:v>
                </c:pt>
                <c:pt idx="1">
                  <c:v>Kategorie 2</c:v>
                </c:pt>
              </c:strCache>
            </c:strRef>
          </c:cat>
          <c:val>
            <c:numRef>
              <c:f>Tabelle1!$B$2:$B$3</c:f>
              <c:numCache>
                <c:formatCode>General</c:formatCode>
                <c:ptCount val="2"/>
                <c:pt idx="0">
                  <c:v>6</c:v>
                </c:pt>
                <c:pt idx="1">
                  <c:v>2</c:v>
                </c:pt>
              </c:numCache>
            </c:numRef>
          </c:val>
          <c:extLst>
            <c:ext xmlns:c16="http://schemas.microsoft.com/office/drawing/2014/chart" uri="{C3380CC4-5D6E-409C-BE32-E72D297353CC}">
              <c16:uniqueId val="{00000004-9DC8-4F51-848D-73527E0AE8CF}"/>
            </c:ext>
          </c:extLst>
        </c:ser>
        <c:ser>
          <c:idx val="1"/>
          <c:order val="1"/>
          <c:tx>
            <c:strRef>
              <c:f>Tabelle1!$C$1</c:f>
              <c:strCache>
                <c:ptCount val="1"/>
                <c:pt idx="0">
                  <c:v>Datenreihe 2</c:v>
                </c:pt>
              </c:strCache>
            </c:strRef>
          </c:tx>
          <c:dPt>
            <c:idx val="0"/>
            <c:bubble3D val="0"/>
            <c:spPr>
              <a:solidFill>
                <a:schemeClr val="accent2"/>
              </a:solidFill>
              <a:ln>
                <a:noFill/>
              </a:ln>
              <a:effectLst/>
            </c:spPr>
            <c:extLst>
              <c:ext xmlns:c16="http://schemas.microsoft.com/office/drawing/2014/chart" uri="{C3380CC4-5D6E-409C-BE32-E72D297353CC}">
                <c16:uniqueId val="{00000006-9DC8-4F51-848D-73527E0AE8CF}"/>
              </c:ext>
            </c:extLst>
          </c:dPt>
          <c:dPt>
            <c:idx val="1"/>
            <c:bubble3D val="0"/>
            <c:spPr>
              <a:noFill/>
              <a:ln>
                <a:noFill/>
              </a:ln>
              <a:effectLst/>
            </c:spPr>
            <c:extLst>
              <c:ext xmlns:c16="http://schemas.microsoft.com/office/drawing/2014/chart" uri="{C3380CC4-5D6E-409C-BE32-E72D297353CC}">
                <c16:uniqueId val="{00000008-9DC8-4F51-848D-73527E0AE8CF}"/>
              </c:ext>
            </c:extLst>
          </c:dPt>
          <c:cat>
            <c:strRef>
              <c:f>Tabelle1!$A$2:$A$3</c:f>
              <c:strCache>
                <c:ptCount val="2"/>
                <c:pt idx="0">
                  <c:v>Kategorie 1</c:v>
                </c:pt>
                <c:pt idx="1">
                  <c:v>Kategorie 2</c:v>
                </c:pt>
              </c:strCache>
            </c:strRef>
          </c:cat>
          <c:val>
            <c:numRef>
              <c:f>Tabelle1!$C$2:$C$3</c:f>
              <c:numCache>
                <c:formatCode>General</c:formatCode>
                <c:ptCount val="2"/>
                <c:pt idx="0">
                  <c:v>8</c:v>
                </c:pt>
                <c:pt idx="1">
                  <c:v>3</c:v>
                </c:pt>
              </c:numCache>
            </c:numRef>
          </c:val>
          <c:extLst>
            <c:ext xmlns:c16="http://schemas.microsoft.com/office/drawing/2014/chart" uri="{C3380CC4-5D6E-409C-BE32-E72D297353CC}">
              <c16:uniqueId val="{00000009-9DC8-4F51-848D-73527E0AE8CF}"/>
            </c:ext>
          </c:extLst>
        </c:ser>
        <c:ser>
          <c:idx val="2"/>
          <c:order val="2"/>
          <c:tx>
            <c:strRef>
              <c:f>Tabelle1!$D$1</c:f>
              <c:strCache>
                <c:ptCount val="1"/>
                <c:pt idx="0">
                  <c:v>Datenreihe 3</c:v>
                </c:pt>
              </c:strCache>
            </c:strRef>
          </c:tx>
          <c:dPt>
            <c:idx val="0"/>
            <c:bubble3D val="0"/>
            <c:spPr>
              <a:solidFill>
                <a:schemeClr val="accent1"/>
              </a:solidFill>
              <a:ln>
                <a:noFill/>
              </a:ln>
              <a:effectLst/>
            </c:spPr>
            <c:extLst>
              <c:ext xmlns:c16="http://schemas.microsoft.com/office/drawing/2014/chart" uri="{C3380CC4-5D6E-409C-BE32-E72D297353CC}">
                <c16:uniqueId val="{0000000B-9DC8-4F51-848D-73527E0AE8CF}"/>
              </c:ext>
            </c:extLst>
          </c:dPt>
          <c:dPt>
            <c:idx val="1"/>
            <c:bubble3D val="0"/>
            <c:spPr>
              <a:noFill/>
              <a:ln>
                <a:noFill/>
              </a:ln>
              <a:effectLst/>
            </c:spPr>
            <c:extLst>
              <c:ext xmlns:c16="http://schemas.microsoft.com/office/drawing/2014/chart" uri="{C3380CC4-5D6E-409C-BE32-E72D297353CC}">
                <c16:uniqueId val="{0000000D-9DC8-4F51-848D-73527E0AE8CF}"/>
              </c:ext>
            </c:extLst>
          </c:dPt>
          <c:cat>
            <c:strRef>
              <c:f>Tabelle1!$A$2:$A$3</c:f>
              <c:strCache>
                <c:ptCount val="2"/>
                <c:pt idx="0">
                  <c:v>Kategorie 1</c:v>
                </c:pt>
                <c:pt idx="1">
                  <c:v>Kategorie 2</c:v>
                </c:pt>
              </c:strCache>
            </c:strRef>
          </c:cat>
          <c:val>
            <c:numRef>
              <c:f>Tabelle1!$D$2:$D$3</c:f>
              <c:numCache>
                <c:formatCode>General</c:formatCode>
                <c:ptCount val="2"/>
                <c:pt idx="0">
                  <c:v>10</c:v>
                </c:pt>
                <c:pt idx="1">
                  <c:v>4</c:v>
                </c:pt>
              </c:numCache>
            </c:numRef>
          </c:val>
          <c:extLst>
            <c:ext xmlns:c16="http://schemas.microsoft.com/office/drawing/2014/chart" uri="{C3380CC4-5D6E-409C-BE32-E72D297353CC}">
              <c16:uniqueId val="{0000000E-9DC8-4F51-848D-73527E0AE8CF}"/>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277461954027158E-2"/>
          <c:y val="5.3629955440221248E-2"/>
          <c:w val="0.95738932492417916"/>
          <c:h val="0.75057906880775804"/>
        </c:manualLayout>
      </c:layout>
      <c:lineChart>
        <c:grouping val="standard"/>
        <c:varyColors val="0"/>
        <c:ser>
          <c:idx val="0"/>
          <c:order val="0"/>
          <c:tx>
            <c:strRef>
              <c:f>Tabelle1!$B$1</c:f>
              <c:strCache>
                <c:ptCount val="1"/>
                <c:pt idx="0">
                  <c:v>Data series 1</c:v>
                </c:pt>
              </c:strCache>
            </c:strRef>
          </c:tx>
          <c:spPr>
            <a:ln>
              <a:solidFill>
                <a:schemeClr val="accent1"/>
              </a:solidFill>
            </a:ln>
            <a:effectLst/>
          </c:spPr>
          <c:marker>
            <c:symbol val="circle"/>
            <c:size val="12"/>
            <c:spPr>
              <a:ln>
                <a:noFill/>
              </a:ln>
            </c:spPr>
          </c:marker>
          <c:dLbls>
            <c:dLbl>
              <c:idx val="0"/>
              <c:tx>
                <c:rich>
                  <a:bodyPr/>
                  <a:lstStyle/>
                  <a:p>
                    <a:r>
                      <a:rPr lang="en-US" dirty="0"/>
                      <a:t>4.3</a:t>
                    </a:r>
                  </a:p>
                </c:rich>
              </c:tx>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048-4D67-AF99-84D377149E67}"/>
                </c:ext>
              </c:extLst>
            </c:dLbl>
            <c:dLbl>
              <c:idx val="1"/>
              <c:tx>
                <c:rich>
                  <a:bodyPr/>
                  <a:lstStyle/>
                  <a:p>
                    <a:r>
                      <a:rPr lang="en-US" dirty="0"/>
                      <a:t>2.5</a:t>
                    </a:r>
                  </a:p>
                </c:rich>
              </c:tx>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048-4D67-AF99-84D377149E67}"/>
                </c:ext>
              </c:extLst>
            </c:dLbl>
            <c:dLbl>
              <c:idx val="2"/>
              <c:layout>
                <c:manualLayout>
                  <c:x val="-4.1997895884183178E-2"/>
                  <c:y val="-2.5196313005662226E-2"/>
                </c:manualLayout>
              </c:layout>
              <c:tx>
                <c:rich>
                  <a:bodyPr/>
                  <a:lstStyle/>
                  <a:p>
                    <a:r>
                      <a:rPr lang="en-US" dirty="0"/>
                      <a:t>3.5</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21F7-41DB-A6A4-6C0A2E7DF083}"/>
                </c:ext>
              </c:extLst>
            </c:dLbl>
            <c:dLbl>
              <c:idx val="3"/>
              <c:layout>
                <c:manualLayout>
                  <c:x val="-2.567222297597626E-2"/>
                  <c:y val="4.0944008634201119E-2"/>
                </c:manualLayout>
              </c:layout>
              <c:tx>
                <c:rich>
                  <a:bodyPr/>
                  <a:lstStyle/>
                  <a:p>
                    <a:r>
                      <a:rPr lang="en-US" dirty="0"/>
                      <a:t>4.5</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1F7-41DB-A6A4-6C0A2E7DF083}"/>
                </c:ext>
              </c:extLst>
            </c:dLbl>
            <c:dLbl>
              <c:idx val="4"/>
              <c:tx>
                <c:rich>
                  <a:bodyPr/>
                  <a:lstStyle/>
                  <a:p>
                    <a:pPr>
                      <a:defRPr sz="1600">
                        <a:solidFill>
                          <a:schemeClr val="tx1"/>
                        </a:solidFill>
                        <a:latin typeface="+mj-lt"/>
                      </a:defRPr>
                    </a:pPr>
                    <a:r>
                      <a:rPr lang="en-US" dirty="0"/>
                      <a:t>3.5</a:t>
                    </a:r>
                  </a:p>
                </c:rich>
              </c:tx>
              <c:numFmt formatCode="#,##0.0" sourceLinked="0"/>
              <c:spPr>
                <a:noFill/>
                <a:ln>
                  <a:noFill/>
                </a:ln>
                <a:effectLst/>
              </c:sp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21F7-41DB-A6A4-6C0A2E7DF083}"/>
                </c:ext>
              </c:extLst>
            </c:dLbl>
            <c:numFmt formatCode="#,##0.0" sourceLinked="0"/>
            <c:spPr>
              <a:noFill/>
              <a:ln>
                <a:noFill/>
              </a:ln>
              <a:effectLst/>
            </c:spPr>
            <c:txPr>
              <a:bodyPr/>
              <a:lstStyle/>
              <a:p>
                <a:pPr>
                  <a:defRPr sz="1000">
                    <a:solidFill>
                      <a:schemeClr val="tx1"/>
                    </a:solidFill>
                  </a:defRPr>
                </a:pPr>
                <a:endParaRPr lang="es-CO"/>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Category 1</c:v>
                </c:pt>
                <c:pt idx="1">
                  <c:v>Category 2</c:v>
                </c:pt>
                <c:pt idx="2">
                  <c:v>Category 3</c:v>
                </c:pt>
                <c:pt idx="3">
                  <c:v>Category 4</c:v>
                </c:pt>
                <c:pt idx="4">
                  <c:v>Category 5</c:v>
                </c:pt>
              </c:strCache>
            </c:strRef>
          </c:cat>
          <c:val>
            <c:numRef>
              <c:f>Tabelle1!$B$2:$B$6</c:f>
              <c:numCache>
                <c:formatCode>General</c:formatCode>
                <c:ptCount val="5"/>
                <c:pt idx="0">
                  <c:v>4.3</c:v>
                </c:pt>
                <c:pt idx="1">
                  <c:v>2.5</c:v>
                </c:pt>
                <c:pt idx="2">
                  <c:v>3.5</c:v>
                </c:pt>
                <c:pt idx="3">
                  <c:v>4.5</c:v>
                </c:pt>
                <c:pt idx="4">
                  <c:v>3.5</c:v>
                </c:pt>
              </c:numCache>
            </c:numRef>
          </c:val>
          <c:smooth val="0"/>
          <c:extLst>
            <c:ext xmlns:c16="http://schemas.microsoft.com/office/drawing/2014/chart" uri="{C3380CC4-5D6E-409C-BE32-E72D297353CC}">
              <c16:uniqueId val="{00000001-21F7-41DB-A6A4-6C0A2E7DF083}"/>
            </c:ext>
          </c:extLst>
        </c:ser>
        <c:ser>
          <c:idx val="1"/>
          <c:order val="1"/>
          <c:tx>
            <c:strRef>
              <c:f>Tabelle1!$C$1</c:f>
              <c:strCache>
                <c:ptCount val="1"/>
                <c:pt idx="0">
                  <c:v>Data series 2</c:v>
                </c:pt>
              </c:strCache>
            </c:strRef>
          </c:tx>
          <c:spPr>
            <a:ln>
              <a:solidFill>
                <a:schemeClr val="accent2"/>
              </a:solidFill>
            </a:ln>
            <a:effectLst/>
          </c:spPr>
          <c:marker>
            <c:symbol val="circle"/>
            <c:size val="12"/>
            <c:spPr>
              <a:solidFill>
                <a:schemeClr val="accent2"/>
              </a:solidFill>
            </c:spPr>
          </c:marker>
          <c:dLbls>
            <c:dLbl>
              <c:idx val="0"/>
              <c:tx>
                <c:rich>
                  <a:bodyPr/>
                  <a:lstStyle/>
                  <a:p>
                    <a:r>
                      <a:rPr lang="en-US" dirty="0"/>
                      <a:t>2.4</a:t>
                    </a:r>
                  </a:p>
                </c:rich>
              </c:tx>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21F7-41DB-A6A4-6C0A2E7DF083}"/>
                </c:ext>
              </c:extLst>
            </c:dLbl>
            <c:dLbl>
              <c:idx val="1"/>
              <c:layout>
                <c:manualLayout>
                  <c:x val="-1.8637733475313226E-2"/>
                  <c:y val="-7.2439399891278899E-2"/>
                </c:manualLayout>
              </c:layout>
              <c:tx>
                <c:rich>
                  <a:bodyPr/>
                  <a:lstStyle/>
                  <a:p>
                    <a:r>
                      <a:rPr lang="en-US" dirty="0"/>
                      <a:t>4.4</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21F7-41DB-A6A4-6C0A2E7DF083}"/>
                </c:ext>
              </c:extLst>
            </c:dLbl>
            <c:dLbl>
              <c:idx val="2"/>
              <c:layout>
                <c:manualLayout>
                  <c:x val="-1.5896444245270737E-2"/>
                  <c:y val="3.7794469508493342E-2"/>
                </c:manualLayout>
              </c:layout>
              <c:tx>
                <c:rich>
                  <a:bodyPr/>
                  <a:lstStyle/>
                  <a:p>
                    <a:r>
                      <a:rPr lang="en-US" dirty="0"/>
                      <a:t>1.8</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1F7-41DB-A6A4-6C0A2E7DF083}"/>
                </c:ext>
              </c:extLst>
            </c:dLbl>
            <c:dLbl>
              <c:idx val="3"/>
              <c:layout>
                <c:manualLayout>
                  <c:x val="-4.5214918117186455E-2"/>
                  <c:y val="-2.5196313005662226E-2"/>
                </c:manualLayout>
              </c:layout>
              <c:tx>
                <c:rich>
                  <a:bodyPr/>
                  <a:lstStyle/>
                  <a:p>
                    <a:r>
                      <a:rPr lang="en-US" dirty="0"/>
                      <a:t>2.8</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1F7-41DB-A6A4-6C0A2E7DF083}"/>
                </c:ext>
              </c:extLst>
            </c:dLbl>
            <c:dLbl>
              <c:idx val="4"/>
              <c:tx>
                <c:rich>
                  <a:bodyPr wrap="none"/>
                  <a:lstStyle/>
                  <a:p>
                    <a:pPr>
                      <a:defRPr sz="1600">
                        <a:latin typeface="+mj-lt"/>
                      </a:defRPr>
                    </a:pPr>
                    <a:r>
                      <a:rPr lang="en-US" dirty="0"/>
                      <a:t>1.5</a:t>
                    </a:r>
                  </a:p>
                </c:rich>
              </c:tx>
              <c:numFmt formatCode="#,##0.0" sourceLinked="0"/>
              <c:spPr>
                <a:noFill/>
                <a:ln>
                  <a:noFill/>
                </a:ln>
              </c:sp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1F7-41DB-A6A4-6C0A2E7DF083}"/>
                </c:ext>
              </c:extLst>
            </c:dLbl>
            <c:numFmt formatCode="#,##0.0" sourceLinked="0"/>
            <c:spPr>
              <a:noFill/>
              <a:ln>
                <a:noFill/>
              </a:ln>
            </c:spPr>
            <c:txPr>
              <a:bodyPr wrap="none"/>
              <a:lstStyle/>
              <a:p>
                <a:pPr>
                  <a:defRPr sz="1000"/>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Tabelle1!$A$2:$A$6</c:f>
              <c:strCache>
                <c:ptCount val="5"/>
                <c:pt idx="0">
                  <c:v>Category 1</c:v>
                </c:pt>
                <c:pt idx="1">
                  <c:v>Category 2</c:v>
                </c:pt>
                <c:pt idx="2">
                  <c:v>Category 3</c:v>
                </c:pt>
                <c:pt idx="3">
                  <c:v>Category 4</c:v>
                </c:pt>
                <c:pt idx="4">
                  <c:v>Category 5</c:v>
                </c:pt>
              </c:strCache>
            </c:strRef>
          </c:cat>
          <c:val>
            <c:numRef>
              <c:f>Tabelle1!$C$2:$C$6</c:f>
              <c:numCache>
                <c:formatCode>General</c:formatCode>
                <c:ptCount val="5"/>
                <c:pt idx="0">
                  <c:v>2.4</c:v>
                </c:pt>
                <c:pt idx="1">
                  <c:v>4.4000000000000004</c:v>
                </c:pt>
                <c:pt idx="2">
                  <c:v>1.8</c:v>
                </c:pt>
                <c:pt idx="3">
                  <c:v>2.8</c:v>
                </c:pt>
                <c:pt idx="4">
                  <c:v>1.5</c:v>
                </c:pt>
              </c:numCache>
            </c:numRef>
          </c:val>
          <c:smooth val="0"/>
          <c:extLst>
            <c:ext xmlns:c16="http://schemas.microsoft.com/office/drawing/2014/chart" uri="{C3380CC4-5D6E-409C-BE32-E72D297353CC}">
              <c16:uniqueId val="{00000004-21F7-41DB-A6A4-6C0A2E7DF083}"/>
            </c:ext>
          </c:extLst>
        </c:ser>
        <c:ser>
          <c:idx val="2"/>
          <c:order val="2"/>
          <c:tx>
            <c:strRef>
              <c:f>Tabelle1!$D$1</c:f>
              <c:strCache>
                <c:ptCount val="1"/>
                <c:pt idx="0">
                  <c:v>Data series 3</c:v>
                </c:pt>
              </c:strCache>
            </c:strRef>
          </c:tx>
          <c:spPr>
            <a:ln>
              <a:solidFill>
                <a:schemeClr val="accent3"/>
              </a:solidFill>
            </a:ln>
            <a:effectLst/>
          </c:spPr>
          <c:marker>
            <c:symbol val="circle"/>
            <c:size val="12"/>
            <c:spPr>
              <a:solidFill>
                <a:schemeClr val="accent3"/>
              </a:solidFill>
              <a:ln>
                <a:noFill/>
              </a:ln>
            </c:spPr>
          </c:marker>
          <c:dLbls>
            <c:dLbl>
              <c:idx val="0"/>
              <c:tx>
                <c:rich>
                  <a:bodyPr/>
                  <a:lstStyle/>
                  <a:p>
                    <a:r>
                      <a:rPr lang="en-US" dirty="0"/>
                      <a:t>2.0</a:t>
                    </a:r>
                  </a:p>
                </c:rich>
              </c:tx>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1F7-41DB-A6A4-6C0A2E7DF083}"/>
                </c:ext>
              </c:extLst>
            </c:dLbl>
            <c:dLbl>
              <c:idx val="1"/>
              <c:layout>
                <c:manualLayout>
                  <c:x val="-1.1716352762371545E-2"/>
                  <c:y val="4.0156623852774173E-2"/>
                </c:manualLayout>
              </c:layout>
              <c:tx>
                <c:rich>
                  <a:bodyPr/>
                  <a:lstStyle/>
                  <a:p>
                    <a:r>
                      <a:rPr lang="en-US" dirty="0"/>
                      <a:t>2.0</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1F7-41DB-A6A4-6C0A2E7DF083}"/>
                </c:ext>
              </c:extLst>
            </c:dLbl>
            <c:dLbl>
              <c:idx val="2"/>
              <c:layout>
                <c:manualLayout>
                  <c:x val="-6.0307632147930338E-3"/>
                  <c:y val="2.1259389098527502E-2"/>
                </c:manualLayout>
              </c:layout>
              <c:tx>
                <c:rich>
                  <a:bodyPr/>
                  <a:lstStyle/>
                  <a:p>
                    <a:r>
                      <a:rPr lang="en-US" dirty="0"/>
                      <a:t>3.0</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21F7-41DB-A6A4-6C0A2E7DF083}"/>
                </c:ext>
              </c:extLst>
            </c:dLbl>
            <c:dLbl>
              <c:idx val="3"/>
              <c:tx>
                <c:rich>
                  <a:bodyPr/>
                  <a:lstStyle/>
                  <a:p>
                    <a:r>
                      <a:rPr lang="en-US" dirty="0"/>
                      <a:t>5.0</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048-4D67-AF99-84D377149E67}"/>
                </c:ext>
              </c:extLst>
            </c:dLbl>
            <c:dLbl>
              <c:idx val="4"/>
              <c:tx>
                <c:rich>
                  <a:bodyPr wrap="square" lIns="38100" tIns="19050" rIns="38100" bIns="19050" anchor="ctr">
                    <a:spAutoFit/>
                  </a:bodyPr>
                  <a:lstStyle/>
                  <a:p>
                    <a:pPr>
                      <a:defRPr sz="1600">
                        <a:latin typeface="+mj-lt"/>
                      </a:defRPr>
                    </a:pPr>
                    <a:r>
                      <a:rPr lang="en-US" dirty="0"/>
                      <a:t>6.0</a:t>
                    </a:r>
                  </a:p>
                </c:rich>
              </c:tx>
              <c:numFmt formatCode="#,##0.0" sourceLinked="0"/>
              <c:spPr>
                <a:noFill/>
                <a:ln>
                  <a:noFill/>
                </a:ln>
                <a:effectLst/>
              </c:sp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21F7-41DB-A6A4-6C0A2E7DF083}"/>
                </c:ext>
              </c:extLst>
            </c:dLbl>
            <c:numFmt formatCode="#,##0.0" sourceLinked="0"/>
            <c:spPr>
              <a:noFill/>
              <a:ln>
                <a:noFill/>
              </a:ln>
              <a:effectLst/>
            </c:spPr>
            <c:txPr>
              <a:bodyPr wrap="square" lIns="38100" tIns="19050" rIns="38100" bIns="19050" anchor="ctr">
                <a:spAutoFit/>
              </a:bodyPr>
              <a:lstStyle/>
              <a:p>
                <a:pPr>
                  <a:defRPr sz="1000"/>
                </a:pPr>
                <a:endParaRPr lang="es-C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6</c:f>
              <c:strCache>
                <c:ptCount val="5"/>
                <c:pt idx="0">
                  <c:v>Category 1</c:v>
                </c:pt>
                <c:pt idx="1">
                  <c:v>Category 2</c:v>
                </c:pt>
                <c:pt idx="2">
                  <c:v>Category 3</c:v>
                </c:pt>
                <c:pt idx="3">
                  <c:v>Category 4</c:v>
                </c:pt>
                <c:pt idx="4">
                  <c:v>Category 5</c:v>
                </c:pt>
              </c:strCache>
            </c:strRef>
          </c:cat>
          <c:val>
            <c:numRef>
              <c:f>Tabelle1!$D$2:$D$6</c:f>
              <c:numCache>
                <c:formatCode>General</c:formatCode>
                <c:ptCount val="5"/>
                <c:pt idx="0">
                  <c:v>2</c:v>
                </c:pt>
                <c:pt idx="1">
                  <c:v>2</c:v>
                </c:pt>
                <c:pt idx="2">
                  <c:v>3</c:v>
                </c:pt>
                <c:pt idx="3">
                  <c:v>5</c:v>
                </c:pt>
                <c:pt idx="4">
                  <c:v>6</c:v>
                </c:pt>
              </c:numCache>
            </c:numRef>
          </c:val>
          <c:smooth val="0"/>
          <c:extLst>
            <c:ext xmlns:c16="http://schemas.microsoft.com/office/drawing/2014/chart" uri="{C3380CC4-5D6E-409C-BE32-E72D297353CC}">
              <c16:uniqueId val="{00000008-21F7-41DB-A6A4-6C0A2E7DF083}"/>
            </c:ext>
          </c:extLst>
        </c:ser>
        <c:ser>
          <c:idx val="3"/>
          <c:order val="3"/>
          <c:tx>
            <c:strRef>
              <c:f>Tabelle1!$E$1</c:f>
              <c:strCache>
                <c:ptCount val="1"/>
                <c:pt idx="0">
                  <c:v>Data series 4</c:v>
                </c:pt>
              </c:strCache>
            </c:strRef>
          </c:tx>
          <c:spPr>
            <a:ln>
              <a:solidFill>
                <a:schemeClr val="accent4"/>
              </a:solidFill>
            </a:ln>
            <a:effectLst/>
          </c:spPr>
          <c:marker>
            <c:symbol val="circle"/>
            <c:size val="12"/>
            <c:spPr>
              <a:solidFill>
                <a:schemeClr val="accent4"/>
              </a:solidFill>
              <a:ln>
                <a:noFill/>
              </a:ln>
            </c:spPr>
          </c:marker>
          <c:dLbls>
            <c:dLbl>
              <c:idx val="0"/>
              <c:tx>
                <c:rich>
                  <a:bodyPr/>
                  <a:lstStyle/>
                  <a:p>
                    <a:r>
                      <a:rPr lang="en-US" dirty="0"/>
                      <a:t>3.3</a:t>
                    </a:r>
                  </a:p>
                </c:rich>
              </c:tx>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1F7-41DB-A6A4-6C0A2E7DF083}"/>
                </c:ext>
              </c:extLst>
            </c:dLbl>
            <c:dLbl>
              <c:idx val="1"/>
              <c:tx>
                <c:rich>
                  <a:bodyPr/>
                  <a:lstStyle/>
                  <a:p>
                    <a:r>
                      <a:rPr lang="en-US" dirty="0"/>
                      <a:t>2.5</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048-4D67-AF99-84D377149E67}"/>
                </c:ext>
              </c:extLst>
            </c:dLbl>
            <c:dLbl>
              <c:idx val="2"/>
              <c:layout>
                <c:manualLayout>
                  <c:x val="-2.3094201438710975E-2"/>
                  <c:y val="-4.5426769991389608E-2"/>
                </c:manualLayout>
              </c:layout>
              <c:tx>
                <c:rich>
                  <a:bodyPr/>
                  <a:lstStyle/>
                  <a:p>
                    <a:r>
                      <a:rPr lang="en-US" dirty="0"/>
                      <a:t>4.4</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1F7-41DB-A6A4-6C0A2E7DF083}"/>
                </c:ext>
              </c:extLst>
            </c:dLbl>
            <c:dLbl>
              <c:idx val="3"/>
              <c:tx>
                <c:rich>
                  <a:bodyPr/>
                  <a:lstStyle/>
                  <a:p>
                    <a:r>
                      <a:rPr lang="en-US" dirty="0"/>
                      <a:t>2.0</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048-4D67-AF99-84D377149E67}"/>
                </c:ext>
              </c:extLst>
            </c:dLbl>
            <c:dLbl>
              <c:idx val="4"/>
              <c:tx>
                <c:rich>
                  <a:bodyPr/>
                  <a:lstStyle/>
                  <a:p>
                    <a:pPr>
                      <a:defRPr sz="1600">
                        <a:solidFill>
                          <a:schemeClr val="tx1"/>
                        </a:solidFill>
                        <a:latin typeface="+mj-lt"/>
                      </a:defRPr>
                    </a:pPr>
                    <a:r>
                      <a:rPr lang="en-US" dirty="0"/>
                      <a:t>4.5</a:t>
                    </a:r>
                  </a:p>
                </c:rich>
              </c:tx>
              <c:numFmt formatCode="#,##0.0" sourceLinked="0"/>
              <c:spPr>
                <a:noFill/>
                <a:ln>
                  <a:noFill/>
                </a:ln>
                <a:effectLst/>
              </c:sp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21F7-41DB-A6A4-6C0A2E7DF083}"/>
                </c:ext>
              </c:extLst>
            </c:dLbl>
            <c:numFmt formatCode="#,##0.0" sourceLinked="0"/>
            <c:spPr>
              <a:noFill/>
              <a:ln>
                <a:noFill/>
              </a:ln>
              <a:effectLst/>
            </c:spPr>
            <c:txPr>
              <a:bodyPr/>
              <a:lstStyle/>
              <a:p>
                <a:pPr>
                  <a:defRPr sz="1000">
                    <a:solidFill>
                      <a:schemeClr val="tx1"/>
                    </a:solidFill>
                  </a:defRPr>
                </a:pPr>
                <a:endParaRPr lang="es-C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Category 1</c:v>
                </c:pt>
                <c:pt idx="1">
                  <c:v>Category 2</c:v>
                </c:pt>
                <c:pt idx="2">
                  <c:v>Category 3</c:v>
                </c:pt>
                <c:pt idx="3">
                  <c:v>Category 4</c:v>
                </c:pt>
                <c:pt idx="4">
                  <c:v>Category 5</c:v>
                </c:pt>
              </c:strCache>
            </c:strRef>
          </c:cat>
          <c:val>
            <c:numRef>
              <c:f>Tabelle1!$E$2:$E$6</c:f>
              <c:numCache>
                <c:formatCode>General</c:formatCode>
                <c:ptCount val="5"/>
                <c:pt idx="0">
                  <c:v>3.3</c:v>
                </c:pt>
                <c:pt idx="1">
                  <c:v>2.5</c:v>
                </c:pt>
                <c:pt idx="2">
                  <c:v>4.4000000000000004</c:v>
                </c:pt>
                <c:pt idx="3">
                  <c:v>2</c:v>
                </c:pt>
                <c:pt idx="4">
                  <c:v>4.5</c:v>
                </c:pt>
              </c:numCache>
            </c:numRef>
          </c:val>
          <c:smooth val="0"/>
          <c:extLst>
            <c:ext xmlns:c16="http://schemas.microsoft.com/office/drawing/2014/chart" uri="{C3380CC4-5D6E-409C-BE32-E72D297353CC}">
              <c16:uniqueId val="{0000000B-21F7-41DB-A6A4-6C0A2E7DF083}"/>
            </c:ext>
          </c:extLst>
        </c:ser>
        <c:ser>
          <c:idx val="4"/>
          <c:order val="4"/>
          <c:tx>
            <c:strRef>
              <c:f>Tabelle1!$F$1</c:f>
              <c:strCache>
                <c:ptCount val="1"/>
                <c:pt idx="0">
                  <c:v>Data series 5</c:v>
                </c:pt>
              </c:strCache>
            </c:strRef>
          </c:tx>
          <c:spPr>
            <a:ln>
              <a:solidFill>
                <a:schemeClr val="accent5"/>
              </a:solidFill>
            </a:ln>
            <a:effectLst/>
          </c:spPr>
          <c:marker>
            <c:symbol val="circle"/>
            <c:size val="12"/>
          </c:marker>
          <c:dLbls>
            <c:dLbl>
              <c:idx val="0"/>
              <c:tx>
                <c:rich>
                  <a:bodyPr/>
                  <a:lstStyle/>
                  <a:p>
                    <a:r>
                      <a:rPr lang="en-US" dirty="0"/>
                      <a:t>5.0</a:t>
                    </a:r>
                  </a:p>
                </c:rich>
              </c:tx>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21F7-41DB-A6A4-6C0A2E7DF083}"/>
                </c:ext>
              </c:extLst>
            </c:dLbl>
            <c:dLbl>
              <c:idx val="1"/>
              <c:layout>
                <c:manualLayout>
                  <c:x val="-1.6860986547085233E-2"/>
                  <c:y val="2.2044088176352748E-2"/>
                </c:manualLayout>
              </c:layout>
              <c:tx>
                <c:rich>
                  <a:bodyPr/>
                  <a:lstStyle/>
                  <a:p>
                    <a:r>
                      <a:rPr lang="en-US" dirty="0"/>
                      <a:t>4.0</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21F7-41DB-A6A4-6C0A2E7DF083}"/>
                </c:ext>
              </c:extLst>
            </c:dLbl>
            <c:dLbl>
              <c:idx val="2"/>
              <c:layout>
                <c:manualLayout>
                  <c:x val="-1.6860986547085233E-2"/>
                  <c:y val="3.8076152304609222E-2"/>
                </c:manualLayout>
              </c:layout>
              <c:tx>
                <c:rich>
                  <a:bodyPr/>
                  <a:lstStyle/>
                  <a:p>
                    <a:r>
                      <a:rPr lang="en-US" dirty="0"/>
                      <a:t>6.0</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21F7-41DB-A6A4-6C0A2E7DF083}"/>
                </c:ext>
              </c:extLst>
            </c:dLbl>
            <c:dLbl>
              <c:idx val="3"/>
              <c:layout>
                <c:manualLayout>
                  <c:x val="1.0558038375672902E-3"/>
                  <c:y val="-3.5978152614266269E-2"/>
                </c:manualLayout>
              </c:layout>
              <c:tx>
                <c:rich>
                  <a:bodyPr/>
                  <a:lstStyle/>
                  <a:p>
                    <a:r>
                      <a:rPr lang="en-US" dirty="0"/>
                      <a:t>3.0</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21F7-41DB-A6A4-6C0A2E7DF083}"/>
                </c:ext>
              </c:extLst>
            </c:dLbl>
            <c:dLbl>
              <c:idx val="4"/>
              <c:tx>
                <c:rich>
                  <a:bodyPr/>
                  <a:lstStyle/>
                  <a:p>
                    <a:pPr>
                      <a:defRPr sz="1600">
                        <a:solidFill>
                          <a:schemeClr val="tx1"/>
                        </a:solidFill>
                        <a:latin typeface="+mj-lt"/>
                      </a:defRPr>
                    </a:pPr>
                    <a:r>
                      <a:rPr lang="en-US" dirty="0"/>
                      <a:t>3.0</a:t>
                    </a:r>
                  </a:p>
                </c:rich>
              </c:tx>
              <c:numFmt formatCode="#,##0.0" sourceLinked="0"/>
              <c:spPr>
                <a:noFill/>
                <a:ln>
                  <a:noFill/>
                </a:ln>
                <a:effectLst/>
              </c:sp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21F7-41DB-A6A4-6C0A2E7DF083}"/>
                </c:ext>
              </c:extLst>
            </c:dLbl>
            <c:numFmt formatCode="#,##0.0" sourceLinked="0"/>
            <c:spPr>
              <a:noFill/>
              <a:ln>
                <a:noFill/>
              </a:ln>
              <a:effectLst/>
            </c:spPr>
            <c:txPr>
              <a:bodyPr/>
              <a:lstStyle/>
              <a:p>
                <a:pPr>
                  <a:defRPr sz="1000">
                    <a:solidFill>
                      <a:schemeClr val="tx1"/>
                    </a:solidFill>
                  </a:defRPr>
                </a:pPr>
                <a:endParaRPr lang="es-C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Category 1</c:v>
                </c:pt>
                <c:pt idx="1">
                  <c:v>Category 2</c:v>
                </c:pt>
                <c:pt idx="2">
                  <c:v>Category 3</c:v>
                </c:pt>
                <c:pt idx="3">
                  <c:v>Category 4</c:v>
                </c:pt>
                <c:pt idx="4">
                  <c:v>Category 5</c:v>
                </c:pt>
              </c:strCache>
            </c:strRef>
          </c:cat>
          <c:val>
            <c:numRef>
              <c:f>Tabelle1!$F$2:$F$6</c:f>
              <c:numCache>
                <c:formatCode>General</c:formatCode>
                <c:ptCount val="5"/>
                <c:pt idx="0">
                  <c:v>5</c:v>
                </c:pt>
                <c:pt idx="1">
                  <c:v>4</c:v>
                </c:pt>
                <c:pt idx="2">
                  <c:v>6</c:v>
                </c:pt>
                <c:pt idx="3">
                  <c:v>3</c:v>
                </c:pt>
                <c:pt idx="4">
                  <c:v>3</c:v>
                </c:pt>
              </c:numCache>
            </c:numRef>
          </c:val>
          <c:smooth val="0"/>
          <c:extLst>
            <c:ext xmlns:c16="http://schemas.microsoft.com/office/drawing/2014/chart" uri="{C3380CC4-5D6E-409C-BE32-E72D297353CC}">
              <c16:uniqueId val="{00000010-21F7-41DB-A6A4-6C0A2E7DF083}"/>
            </c:ext>
          </c:extLst>
        </c:ser>
        <c:ser>
          <c:idx val="5"/>
          <c:order val="5"/>
          <c:tx>
            <c:strRef>
              <c:f>Tabelle1!$G$1</c:f>
              <c:strCache>
                <c:ptCount val="1"/>
                <c:pt idx="0">
                  <c:v>Data series 6</c:v>
                </c:pt>
              </c:strCache>
            </c:strRef>
          </c:tx>
          <c:spPr>
            <a:ln>
              <a:solidFill>
                <a:schemeClr val="accent6"/>
              </a:solidFill>
            </a:ln>
            <a:effectLst/>
          </c:spPr>
          <c:marker>
            <c:symbol val="circle"/>
            <c:size val="12"/>
            <c:spPr>
              <a:solidFill>
                <a:schemeClr val="accent6"/>
              </a:solidFill>
              <a:ln>
                <a:noFill/>
              </a:ln>
            </c:spPr>
          </c:marker>
          <c:dLbls>
            <c:dLbl>
              <c:idx val="0"/>
              <c:tx>
                <c:rich>
                  <a:bodyPr/>
                  <a:lstStyle/>
                  <a:p>
                    <a:r>
                      <a:rPr lang="en-US" dirty="0"/>
                      <a:t>4.0</a:t>
                    </a:r>
                  </a:p>
                </c:rich>
              </c:tx>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048-4D67-AF99-84D377149E67}"/>
                </c:ext>
              </c:extLst>
            </c:dLbl>
            <c:dLbl>
              <c:idx val="1"/>
              <c:tx>
                <c:rich>
                  <a:bodyPr/>
                  <a:lstStyle/>
                  <a:p>
                    <a:pPr>
                      <a:defRPr sz="1000">
                        <a:solidFill>
                          <a:schemeClr val="tx1"/>
                        </a:solidFill>
                      </a:defRPr>
                    </a:pPr>
                    <a:r>
                      <a:rPr lang="en-US" dirty="0"/>
                      <a:t>4.3</a:t>
                    </a:r>
                  </a:p>
                </c:rich>
              </c:tx>
              <c:numFmt formatCode="#,##0.0" sourceLinked="0"/>
              <c:spPr>
                <a:noFill/>
              </c:spPr>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21F7-41DB-A6A4-6C0A2E7DF083}"/>
                </c:ext>
              </c:extLst>
            </c:dLbl>
            <c:dLbl>
              <c:idx val="2"/>
              <c:tx>
                <c:rich>
                  <a:bodyPr/>
                  <a:lstStyle/>
                  <a:p>
                    <a:r>
                      <a:rPr lang="en-US" dirty="0"/>
                      <a:t>6.2</a:t>
                    </a:r>
                  </a:p>
                </c:rich>
              </c:tx>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048-4D67-AF99-84D377149E67}"/>
                </c:ext>
              </c:extLst>
            </c:dLbl>
            <c:dLbl>
              <c:idx val="3"/>
              <c:tx>
                <c:rich>
                  <a:bodyPr/>
                  <a:lstStyle/>
                  <a:p>
                    <a:r>
                      <a:rPr lang="en-US" dirty="0"/>
                      <a:t>1.8</a:t>
                    </a:r>
                  </a:p>
                </c:rich>
              </c:tx>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048-4D67-AF99-84D377149E67}"/>
                </c:ext>
              </c:extLst>
            </c:dLbl>
            <c:dLbl>
              <c:idx val="4"/>
              <c:tx>
                <c:rich>
                  <a:bodyPr/>
                  <a:lstStyle/>
                  <a:p>
                    <a:pPr>
                      <a:defRPr sz="1600">
                        <a:solidFill>
                          <a:schemeClr val="tx1"/>
                        </a:solidFill>
                        <a:latin typeface="+mj-lt"/>
                      </a:defRPr>
                    </a:pPr>
                    <a:r>
                      <a:rPr lang="en-US" dirty="0"/>
                      <a:t>2.4</a:t>
                    </a:r>
                  </a:p>
                </c:rich>
              </c:tx>
              <c:numFmt formatCode="#,##0.0" sourceLinked="0"/>
              <c:spPr>
                <a:noFill/>
                <a:ln>
                  <a:noFill/>
                </a:ln>
                <a:effectLst/>
              </c:sp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21F7-41DB-A6A4-6C0A2E7DF083}"/>
                </c:ext>
              </c:extLst>
            </c:dLbl>
            <c:numFmt formatCode="#,##0.0" sourceLinked="0"/>
            <c:spPr>
              <a:noFill/>
              <a:ln>
                <a:noFill/>
              </a:ln>
              <a:effectLst/>
            </c:spPr>
            <c:txPr>
              <a:bodyPr/>
              <a:lstStyle/>
              <a:p>
                <a:pPr>
                  <a:defRPr sz="1000">
                    <a:solidFill>
                      <a:schemeClr val="tx1"/>
                    </a:solidFill>
                  </a:defRPr>
                </a:pPr>
                <a:endParaRPr lang="es-CO"/>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Category 1</c:v>
                </c:pt>
                <c:pt idx="1">
                  <c:v>Category 2</c:v>
                </c:pt>
                <c:pt idx="2">
                  <c:v>Category 3</c:v>
                </c:pt>
                <c:pt idx="3">
                  <c:v>Category 4</c:v>
                </c:pt>
                <c:pt idx="4">
                  <c:v>Category 5</c:v>
                </c:pt>
              </c:strCache>
            </c:strRef>
          </c:cat>
          <c:val>
            <c:numRef>
              <c:f>Tabelle1!$G$2:$G$6</c:f>
              <c:numCache>
                <c:formatCode>General</c:formatCode>
                <c:ptCount val="5"/>
                <c:pt idx="0">
                  <c:v>4</c:v>
                </c:pt>
                <c:pt idx="1">
                  <c:v>4.3</c:v>
                </c:pt>
                <c:pt idx="2">
                  <c:v>6.2</c:v>
                </c:pt>
                <c:pt idx="3">
                  <c:v>1.8</c:v>
                </c:pt>
                <c:pt idx="4">
                  <c:v>2.4</c:v>
                </c:pt>
              </c:numCache>
            </c:numRef>
          </c:val>
          <c:smooth val="0"/>
          <c:extLst>
            <c:ext xmlns:c16="http://schemas.microsoft.com/office/drawing/2014/chart" uri="{C3380CC4-5D6E-409C-BE32-E72D297353CC}">
              <c16:uniqueId val="{00000015-21F7-41DB-A6A4-6C0A2E7DF083}"/>
            </c:ext>
          </c:extLst>
        </c:ser>
        <c:dLbls>
          <c:showLegendKey val="0"/>
          <c:showVal val="1"/>
          <c:showCatName val="0"/>
          <c:showSerName val="0"/>
          <c:showPercent val="0"/>
          <c:showBubbleSize val="0"/>
        </c:dLbls>
        <c:marker val="1"/>
        <c:smooth val="0"/>
        <c:axId val="982919440"/>
        <c:axId val="982913952"/>
      </c:lineChart>
      <c:catAx>
        <c:axId val="982919440"/>
        <c:scaling>
          <c:orientation val="minMax"/>
        </c:scaling>
        <c:delete val="0"/>
        <c:axPos val="b"/>
        <c:numFmt formatCode="General" sourceLinked="0"/>
        <c:majorTickMark val="none"/>
        <c:minorTickMark val="none"/>
        <c:tickLblPos val="nextTo"/>
        <c:txPr>
          <a:bodyPr/>
          <a:lstStyle/>
          <a:p>
            <a:pPr>
              <a:defRPr sz="1200"/>
            </a:pPr>
            <a:endParaRPr lang="es-CO"/>
          </a:p>
        </c:txPr>
        <c:crossAx val="982913952"/>
        <c:crosses val="autoZero"/>
        <c:auto val="1"/>
        <c:lblAlgn val="ctr"/>
        <c:lblOffset val="100"/>
        <c:noMultiLvlLbl val="0"/>
      </c:catAx>
      <c:valAx>
        <c:axId val="982913952"/>
        <c:scaling>
          <c:orientation val="minMax"/>
          <c:max val="7"/>
          <c:min val="0"/>
        </c:scaling>
        <c:delete val="0"/>
        <c:axPos val="l"/>
        <c:majorGridlines>
          <c:spPr>
            <a:ln>
              <a:solidFill>
                <a:schemeClr val="bg2"/>
              </a:solidFill>
            </a:ln>
          </c:spPr>
        </c:majorGridlines>
        <c:numFmt formatCode="General" sourceLinked="1"/>
        <c:majorTickMark val="none"/>
        <c:minorTickMark val="none"/>
        <c:tickLblPos val="nextTo"/>
        <c:spPr>
          <a:ln>
            <a:noFill/>
          </a:ln>
        </c:spPr>
        <c:txPr>
          <a:bodyPr/>
          <a:lstStyle/>
          <a:p>
            <a:pPr>
              <a:defRPr sz="1200"/>
            </a:pPr>
            <a:endParaRPr lang="es-CO"/>
          </a:p>
        </c:txPr>
        <c:crossAx val="982919440"/>
        <c:crosses val="autoZero"/>
        <c:crossBetween val="between"/>
        <c:majorUnit val="1"/>
      </c:valAx>
      <c:spPr>
        <a:noFill/>
      </c:spPr>
    </c:plotArea>
    <c:legend>
      <c:legendPos val="b"/>
      <c:layout>
        <c:manualLayout>
          <c:xMode val="edge"/>
          <c:yMode val="edge"/>
          <c:x val="0"/>
          <c:y val="0.93759076624566995"/>
          <c:w val="1"/>
          <c:h val="5.9855072426501878E-2"/>
        </c:manualLayout>
      </c:layout>
      <c:overlay val="0"/>
      <c:txPr>
        <a:bodyPr/>
        <a:lstStyle/>
        <a:p>
          <a:pPr>
            <a:defRPr sz="1200"/>
          </a:pPr>
          <a:endParaRPr lang="es-CO"/>
        </a:p>
      </c:txPr>
    </c:legend>
    <c:plotVisOnly val="1"/>
    <c:dispBlanksAs val="gap"/>
    <c:showDLblsOverMax val="0"/>
  </c:chart>
  <c:txPr>
    <a:bodyPr/>
    <a:lstStyle/>
    <a:p>
      <a:pPr>
        <a:defRPr sz="1800"/>
      </a:pPr>
      <a:endParaRPr lang="es-CO"/>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C04-4C2D-BF5A-415FBB820F6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C04-4C2D-BF5A-415FBB820F6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C04-4C2D-BF5A-415FBB820F6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2C04-4C2D-BF5A-415FBB820F62}"/>
              </c:ext>
            </c:extLst>
          </c:dPt>
          <c:cat>
            <c:strRef>
              <c:f>Tabelle1!$A$2:$A$5</c:f>
              <c:strCache>
                <c:ptCount val="4"/>
                <c:pt idx="0">
                  <c:v>1. Quarter</c:v>
                </c:pt>
                <c:pt idx="1">
                  <c:v>2. Quarter</c:v>
                </c:pt>
                <c:pt idx="2">
                  <c:v>3. Quarter</c:v>
                </c:pt>
                <c:pt idx="3">
                  <c:v>4. Quarter</c:v>
                </c:pt>
              </c:strCache>
            </c:strRef>
          </c:cat>
          <c:val>
            <c:numRef>
              <c:f>Tabelle1!$B$2:$B$5</c:f>
              <c:numCache>
                <c:formatCode>General</c:formatCode>
                <c:ptCount val="4"/>
                <c:pt idx="0">
                  <c:v>8.1999999999999993</c:v>
                </c:pt>
                <c:pt idx="1">
                  <c:v>5</c:v>
                </c:pt>
                <c:pt idx="2">
                  <c:v>3</c:v>
                </c:pt>
                <c:pt idx="3">
                  <c:v>1.2</c:v>
                </c:pt>
              </c:numCache>
            </c:numRef>
          </c:val>
          <c:extLst>
            <c:ext xmlns:c16="http://schemas.microsoft.com/office/drawing/2014/chart" uri="{C3380CC4-5D6E-409C-BE32-E72D297353CC}">
              <c16:uniqueId val="{00000000-32E6-4980-BB0F-79DB42E1C747}"/>
            </c:ext>
          </c:extLst>
        </c:ser>
        <c:dLbls>
          <c:showLegendKey val="0"/>
          <c:showVal val="0"/>
          <c:showCatName val="0"/>
          <c:showSerName val="0"/>
          <c:showPercent val="0"/>
          <c:showBubbleSize val="0"/>
          <c:showLeaderLines val="1"/>
        </c:dLbls>
        <c:firstSliceAng val="118"/>
        <c:holeSize val="75"/>
      </c:doughnutChart>
      <c:spPr>
        <a:noFill/>
        <a:ln>
          <a:noFill/>
        </a:ln>
        <a:effectLst/>
      </c:spPr>
    </c:plotArea>
    <c:legend>
      <c:legendPos val="b"/>
      <c:layout>
        <c:manualLayout>
          <c:xMode val="edge"/>
          <c:yMode val="edge"/>
          <c:x val="0.17908943359840948"/>
          <c:y val="0.94300888233387792"/>
          <c:w val="0.64182094510319843"/>
          <c:h val="5.419127551549061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787459276114872E-2"/>
          <c:y val="2.8345093539854035E-2"/>
          <c:w val="0.95921257007945382"/>
          <c:h val="0.76863715460369064"/>
        </c:manualLayout>
      </c:layout>
      <c:barChart>
        <c:barDir val="col"/>
        <c:grouping val="clustered"/>
        <c:varyColors val="0"/>
        <c:ser>
          <c:idx val="0"/>
          <c:order val="0"/>
          <c:tx>
            <c:strRef>
              <c:f>Tabelle1!$B$1</c:f>
              <c:strCache>
                <c:ptCount val="1"/>
                <c:pt idx="0">
                  <c:v>Data Series 1</c:v>
                </c:pt>
              </c:strCache>
            </c:strRef>
          </c:tx>
          <c:spPr>
            <a:solidFill>
              <a:schemeClr val="accent1"/>
            </a:solidFill>
            <a:effectLst/>
          </c:spPr>
          <c:invertIfNegative val="0"/>
          <c:dPt>
            <c:idx val="1"/>
            <c:invertIfNegative val="0"/>
            <c:bubble3D val="0"/>
            <c:extLst>
              <c:ext xmlns:c16="http://schemas.microsoft.com/office/drawing/2014/chart" uri="{C3380CC4-5D6E-409C-BE32-E72D297353CC}">
                <c16:uniqueId val="{00000001-EC3E-408D-9816-A4530CFF2C99}"/>
              </c:ext>
            </c:extLst>
          </c:dPt>
          <c:dPt>
            <c:idx val="2"/>
            <c:invertIfNegative val="0"/>
            <c:bubble3D val="0"/>
            <c:extLst>
              <c:ext xmlns:c16="http://schemas.microsoft.com/office/drawing/2014/chart" uri="{C3380CC4-5D6E-409C-BE32-E72D297353CC}">
                <c16:uniqueId val="{00000003-EC3E-408D-9816-A4530CFF2C99}"/>
              </c:ext>
            </c:extLst>
          </c:dPt>
          <c:dPt>
            <c:idx val="3"/>
            <c:invertIfNegative val="0"/>
            <c:bubble3D val="0"/>
            <c:extLst>
              <c:ext xmlns:c16="http://schemas.microsoft.com/office/drawing/2014/chart" uri="{C3380CC4-5D6E-409C-BE32-E72D297353CC}">
                <c16:uniqueId val="{00000005-EC3E-408D-9816-A4530CFF2C99}"/>
              </c:ext>
            </c:extLst>
          </c:dPt>
          <c:dPt>
            <c:idx val="4"/>
            <c:invertIfNegative val="0"/>
            <c:bubble3D val="0"/>
            <c:extLst>
              <c:ext xmlns:c16="http://schemas.microsoft.com/office/drawing/2014/chart" uri="{C3380CC4-5D6E-409C-BE32-E72D297353CC}">
                <c16:uniqueId val="{00000007-EC3E-408D-9816-A4530CFF2C99}"/>
              </c:ext>
            </c:extLst>
          </c:dPt>
          <c:dPt>
            <c:idx val="5"/>
            <c:invertIfNegative val="0"/>
            <c:bubble3D val="0"/>
            <c:extLst>
              <c:ext xmlns:c16="http://schemas.microsoft.com/office/drawing/2014/chart" uri="{C3380CC4-5D6E-409C-BE32-E72D297353CC}">
                <c16:uniqueId val="{00000009-EC3E-408D-9816-A4530CFF2C99}"/>
              </c:ext>
            </c:extLst>
          </c:dPt>
          <c:dPt>
            <c:idx val="6"/>
            <c:invertIfNegative val="0"/>
            <c:bubble3D val="0"/>
            <c:extLst>
              <c:ext xmlns:c16="http://schemas.microsoft.com/office/drawing/2014/chart" uri="{C3380CC4-5D6E-409C-BE32-E72D297353CC}">
                <c16:uniqueId val="{0000000B-EC3E-408D-9816-A4530CFF2C99}"/>
              </c:ext>
            </c:extLst>
          </c:dPt>
          <c:dPt>
            <c:idx val="7"/>
            <c:invertIfNegative val="0"/>
            <c:bubble3D val="0"/>
            <c:extLst>
              <c:ext xmlns:c16="http://schemas.microsoft.com/office/drawing/2014/chart" uri="{C3380CC4-5D6E-409C-BE32-E72D297353CC}">
                <c16:uniqueId val="{0000000D-EC3E-408D-9816-A4530CFF2C99}"/>
              </c:ext>
            </c:extLst>
          </c:dPt>
          <c:dLbls>
            <c:dLbl>
              <c:idx val="0"/>
              <c:delete val="1"/>
              <c:extLst>
                <c:ext xmlns:c15="http://schemas.microsoft.com/office/drawing/2012/chart" uri="{CE6537A1-D6FC-4f65-9D91-7224C49458BB}"/>
                <c:ext xmlns:c16="http://schemas.microsoft.com/office/drawing/2014/chart" uri="{C3380CC4-5D6E-409C-BE32-E72D297353CC}">
                  <c16:uniqueId val="{0000000E-EC3E-408D-9816-A4530CFF2C99}"/>
                </c:ext>
              </c:extLst>
            </c:dLbl>
            <c:dLbl>
              <c:idx val="1"/>
              <c:tx>
                <c:rich>
                  <a:bodyPr/>
                  <a:lstStyle/>
                  <a:p>
                    <a:pPr>
                      <a:defRPr sz="1600">
                        <a:solidFill>
                          <a:schemeClr val="bg1"/>
                        </a:solidFill>
                        <a:latin typeface="+mn-lt"/>
                      </a:defRPr>
                    </a:pPr>
                    <a:r>
                      <a:rPr lang="en-US" dirty="0"/>
                      <a:t>1.0</a:t>
                    </a:r>
                  </a:p>
                </c:rich>
              </c:tx>
              <c:numFmt formatCode="#,##0.0" sourceLinked="0"/>
              <c:spPr/>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C3E-408D-9816-A4530CFF2C99}"/>
                </c:ext>
              </c:extLst>
            </c:dLbl>
            <c:dLbl>
              <c:idx val="2"/>
              <c:tx>
                <c:rich>
                  <a:bodyPr/>
                  <a:lstStyle/>
                  <a:p>
                    <a:pPr>
                      <a:defRPr sz="1600">
                        <a:solidFill>
                          <a:schemeClr val="bg1"/>
                        </a:solidFill>
                        <a:latin typeface="+mn-lt"/>
                      </a:defRPr>
                    </a:pPr>
                    <a:r>
                      <a:rPr lang="en-US" dirty="0"/>
                      <a:t>2.0</a:t>
                    </a:r>
                  </a:p>
                </c:rich>
              </c:tx>
              <c:numFmt formatCode="#,##0.0" sourceLinked="0"/>
              <c:spPr/>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C3E-408D-9816-A4530CFF2C99}"/>
                </c:ext>
              </c:extLst>
            </c:dLbl>
            <c:dLbl>
              <c:idx val="3"/>
              <c:tx>
                <c:rich>
                  <a:bodyPr/>
                  <a:lstStyle/>
                  <a:p>
                    <a:pPr>
                      <a:defRPr sz="1600">
                        <a:solidFill>
                          <a:schemeClr val="bg1"/>
                        </a:solidFill>
                        <a:latin typeface="+mn-lt"/>
                      </a:defRPr>
                    </a:pPr>
                    <a:r>
                      <a:rPr lang="en-US" dirty="0"/>
                      <a:t>3.0</a:t>
                    </a:r>
                  </a:p>
                </c:rich>
              </c:tx>
              <c:numFmt formatCode="#,##0.0" sourceLinked="0"/>
              <c:spPr/>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C3E-408D-9816-A4530CFF2C99}"/>
                </c:ext>
              </c:extLst>
            </c:dLbl>
            <c:dLbl>
              <c:idx val="4"/>
              <c:tx>
                <c:rich>
                  <a:bodyPr/>
                  <a:lstStyle/>
                  <a:p>
                    <a:pPr>
                      <a:defRPr sz="1600">
                        <a:solidFill>
                          <a:schemeClr val="bg1"/>
                        </a:solidFill>
                        <a:latin typeface="+mn-lt"/>
                      </a:defRPr>
                    </a:pPr>
                    <a:r>
                      <a:rPr lang="en-US" dirty="0"/>
                      <a:t>4.0</a:t>
                    </a:r>
                  </a:p>
                </c:rich>
              </c:tx>
              <c:numFmt formatCode="#,##0.0" sourceLinked="0"/>
              <c:spPr/>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C3E-408D-9816-A4530CFF2C99}"/>
                </c:ext>
              </c:extLst>
            </c:dLbl>
            <c:dLbl>
              <c:idx val="5"/>
              <c:tx>
                <c:rich>
                  <a:bodyPr/>
                  <a:lstStyle/>
                  <a:p>
                    <a:r>
                      <a:rPr lang="en-US" dirty="0"/>
                      <a:t>5.0</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C3E-408D-9816-A4530CFF2C99}"/>
                </c:ext>
              </c:extLst>
            </c:dLbl>
            <c:dLbl>
              <c:idx val="6"/>
              <c:tx>
                <c:rich>
                  <a:bodyPr/>
                  <a:lstStyle/>
                  <a:p>
                    <a:r>
                      <a:rPr lang="en-US" dirty="0"/>
                      <a:t>6.0</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C3E-408D-9816-A4530CFF2C99}"/>
                </c:ext>
              </c:extLst>
            </c:dLbl>
            <c:dLbl>
              <c:idx val="7"/>
              <c:tx>
                <c:rich>
                  <a:bodyPr/>
                  <a:lstStyle/>
                  <a:p>
                    <a:r>
                      <a:rPr lang="en-US" dirty="0"/>
                      <a:t>7.0</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EC3E-408D-9816-A4530CFF2C99}"/>
                </c:ext>
              </c:extLst>
            </c:dLbl>
            <c:numFmt formatCode="#,##0.0" sourceLinked="0"/>
            <c:spPr>
              <a:noFill/>
              <a:ln>
                <a:noFill/>
              </a:ln>
              <a:effectLst/>
            </c:spPr>
            <c:txPr>
              <a:bodyPr/>
              <a:lstStyle/>
              <a:p>
                <a:pPr>
                  <a:defRPr sz="1600">
                    <a:solidFill>
                      <a:schemeClr val="bg1"/>
                    </a:solidFill>
                    <a:latin typeface="+mn-lt"/>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9</c:f>
              <c:strCache>
                <c:ptCount val="8"/>
                <c:pt idx="0">
                  <c:v>Data series 1</c:v>
                </c:pt>
                <c:pt idx="1">
                  <c:v>Data series 2</c:v>
                </c:pt>
                <c:pt idx="2">
                  <c:v>Data series 3</c:v>
                </c:pt>
                <c:pt idx="3">
                  <c:v>Data series 4</c:v>
                </c:pt>
                <c:pt idx="4">
                  <c:v>Data series 5</c:v>
                </c:pt>
                <c:pt idx="5">
                  <c:v>Data series 6</c:v>
                </c:pt>
                <c:pt idx="6">
                  <c:v>Data series 7</c:v>
                </c:pt>
                <c:pt idx="7">
                  <c:v>Data series 8</c:v>
                </c:pt>
              </c:strCache>
            </c:strRef>
          </c:cat>
          <c:val>
            <c:numRef>
              <c:f>Tabelle1!$B$2:$B$9</c:f>
              <c:numCache>
                <c:formatCode>General</c:formatCode>
                <c:ptCount val="8"/>
                <c:pt idx="0">
                  <c:v>0</c:v>
                </c:pt>
                <c:pt idx="1">
                  <c:v>1</c:v>
                </c:pt>
                <c:pt idx="2">
                  <c:v>2</c:v>
                </c:pt>
                <c:pt idx="3">
                  <c:v>3</c:v>
                </c:pt>
                <c:pt idx="4">
                  <c:v>4</c:v>
                </c:pt>
                <c:pt idx="5">
                  <c:v>5</c:v>
                </c:pt>
                <c:pt idx="6">
                  <c:v>6</c:v>
                </c:pt>
                <c:pt idx="7">
                  <c:v>7</c:v>
                </c:pt>
              </c:numCache>
            </c:numRef>
          </c:val>
          <c:extLst>
            <c:ext xmlns:c16="http://schemas.microsoft.com/office/drawing/2014/chart" uri="{C3380CC4-5D6E-409C-BE32-E72D297353CC}">
              <c16:uniqueId val="{0000000F-EC3E-408D-9816-A4530CFF2C99}"/>
            </c:ext>
          </c:extLst>
        </c:ser>
        <c:dLbls>
          <c:showLegendKey val="0"/>
          <c:showVal val="0"/>
          <c:showCatName val="0"/>
          <c:showSerName val="0"/>
          <c:showPercent val="0"/>
          <c:showBubbleSize val="0"/>
        </c:dLbls>
        <c:gapWidth val="91"/>
        <c:overlap val="59"/>
        <c:axId val="896655200"/>
        <c:axId val="896661080"/>
      </c:barChart>
      <c:catAx>
        <c:axId val="896655200"/>
        <c:scaling>
          <c:orientation val="minMax"/>
        </c:scaling>
        <c:delete val="0"/>
        <c:axPos val="b"/>
        <c:numFmt formatCode="General" sourceLinked="0"/>
        <c:majorTickMark val="none"/>
        <c:minorTickMark val="none"/>
        <c:tickLblPos val="nextTo"/>
        <c:txPr>
          <a:bodyPr/>
          <a:lstStyle/>
          <a:p>
            <a:pPr>
              <a:defRPr sz="1200"/>
            </a:pPr>
            <a:endParaRPr lang="es-CO"/>
          </a:p>
        </c:txPr>
        <c:crossAx val="896661080"/>
        <c:crosses val="autoZero"/>
        <c:auto val="1"/>
        <c:lblAlgn val="ctr"/>
        <c:lblOffset val="100"/>
        <c:noMultiLvlLbl val="0"/>
      </c:catAx>
      <c:valAx>
        <c:axId val="896661080"/>
        <c:scaling>
          <c:orientation val="minMax"/>
          <c:max val="7"/>
          <c:min val="0"/>
        </c:scaling>
        <c:delete val="0"/>
        <c:axPos val="l"/>
        <c:majorGridlines>
          <c:spPr>
            <a:ln>
              <a:solidFill>
                <a:schemeClr val="bg2"/>
              </a:solidFill>
            </a:ln>
          </c:spPr>
        </c:majorGridlines>
        <c:numFmt formatCode="General" sourceLinked="1"/>
        <c:majorTickMark val="none"/>
        <c:minorTickMark val="none"/>
        <c:tickLblPos val="nextTo"/>
        <c:spPr>
          <a:ln>
            <a:noFill/>
          </a:ln>
        </c:spPr>
        <c:txPr>
          <a:bodyPr/>
          <a:lstStyle/>
          <a:p>
            <a:pPr>
              <a:defRPr sz="1200"/>
            </a:pPr>
            <a:endParaRPr lang="es-CO"/>
          </a:p>
        </c:txPr>
        <c:crossAx val="896655200"/>
        <c:crosses val="autoZero"/>
        <c:crossBetween val="between"/>
        <c:majorUnit val="1"/>
      </c:valAx>
      <c:spPr>
        <a:noFill/>
      </c:spPr>
    </c:plotArea>
    <c:plotVisOnly val="1"/>
    <c:dispBlanksAs val="gap"/>
    <c:showDLblsOverMax val="0"/>
  </c:chart>
  <c:txPr>
    <a:bodyPr/>
    <a:lstStyle/>
    <a:p>
      <a:pPr>
        <a:defRPr sz="1800"/>
      </a:pPr>
      <a:endParaRPr lang="es-CO"/>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37499999999999E-3"/>
          <c:w val="1"/>
          <c:h val="0.83673472222222223"/>
        </c:manualLayout>
      </c:layout>
      <c:barChart>
        <c:barDir val="col"/>
        <c:grouping val="clustered"/>
        <c:varyColors val="0"/>
        <c:ser>
          <c:idx val="0"/>
          <c:order val="0"/>
          <c:tx>
            <c:strRef>
              <c:f>Tabelle1!$B$1</c:f>
              <c:strCache>
                <c:ptCount val="1"/>
                <c:pt idx="0">
                  <c:v>Datenreihe 1</c:v>
                </c:pt>
              </c:strCache>
            </c:strRef>
          </c:tx>
          <c:spPr>
            <a:solidFill>
              <a:schemeClr val="accent1"/>
            </a:solidFill>
            <a:ln>
              <a:noFill/>
            </a:ln>
            <a:effectLst/>
          </c:spPr>
          <c:invertIfNegative val="0"/>
          <c:dLbls>
            <c:dLbl>
              <c:idx val="0"/>
              <c:tx>
                <c:rich>
                  <a:bodyPr/>
                  <a:lstStyle/>
                  <a:p>
                    <a:r>
                      <a:rPr lang="en-US" dirty="0"/>
                      <a:t>4.3</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CF0-4FD4-8A8D-B92D824C8F5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Comparison 04</c:v>
                </c:pt>
              </c:strCache>
            </c:strRef>
          </c:cat>
          <c:val>
            <c:numRef>
              <c:f>Tabelle1!$B$2</c:f>
              <c:numCache>
                <c:formatCode>General</c:formatCode>
                <c:ptCount val="1"/>
                <c:pt idx="0">
                  <c:v>4.3</c:v>
                </c:pt>
              </c:numCache>
            </c:numRef>
          </c:val>
          <c:extLst>
            <c:ext xmlns:c16="http://schemas.microsoft.com/office/drawing/2014/chart" uri="{C3380CC4-5D6E-409C-BE32-E72D297353CC}">
              <c16:uniqueId val="{00000000-F52B-4997-B1B8-121EB8AE620F}"/>
            </c:ext>
          </c:extLst>
        </c:ser>
        <c:ser>
          <c:idx val="1"/>
          <c:order val="1"/>
          <c:tx>
            <c:strRef>
              <c:f>Tabelle1!$C$1</c:f>
              <c:strCache>
                <c:ptCount val="1"/>
                <c:pt idx="0">
                  <c:v>Datenreihe 2</c:v>
                </c:pt>
              </c:strCache>
            </c:strRef>
          </c:tx>
          <c:spPr>
            <a:solidFill>
              <a:schemeClr val="accent5"/>
            </a:solidFill>
            <a:ln>
              <a:noFill/>
            </a:ln>
            <a:effectLst/>
          </c:spPr>
          <c:invertIfNegative val="0"/>
          <c:dLbls>
            <c:dLbl>
              <c:idx val="0"/>
              <c:tx>
                <c:rich>
                  <a:bodyPr/>
                  <a:lstStyle/>
                  <a:p>
                    <a:r>
                      <a:rPr lang="en-US" dirty="0"/>
                      <a:t>2.4</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CF0-4FD4-8A8D-B92D824C8F5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Comparison 04</c:v>
                </c:pt>
              </c:strCache>
            </c:strRef>
          </c:cat>
          <c:val>
            <c:numRef>
              <c:f>Tabelle1!$C$2</c:f>
              <c:numCache>
                <c:formatCode>General</c:formatCode>
                <c:ptCount val="1"/>
                <c:pt idx="0">
                  <c:v>2.4</c:v>
                </c:pt>
              </c:numCache>
            </c:numRef>
          </c:val>
          <c:extLst>
            <c:ext xmlns:c16="http://schemas.microsoft.com/office/drawing/2014/chart" uri="{C3380CC4-5D6E-409C-BE32-E72D297353CC}">
              <c16:uniqueId val="{00000001-F52B-4997-B1B8-121EB8AE620F}"/>
            </c:ext>
          </c:extLst>
        </c:ser>
        <c:ser>
          <c:idx val="2"/>
          <c:order val="2"/>
          <c:tx>
            <c:strRef>
              <c:f>Tabelle1!$D$1</c:f>
              <c:strCache>
                <c:ptCount val="1"/>
                <c:pt idx="0">
                  <c:v>Datenreihe 3</c:v>
                </c:pt>
              </c:strCache>
            </c:strRef>
          </c:tx>
          <c:spPr>
            <a:solidFill>
              <a:schemeClr val="accent2"/>
            </a:solidFill>
            <a:ln>
              <a:noFill/>
            </a:ln>
            <a:effectLst/>
          </c:spPr>
          <c:invertIfNegative val="0"/>
          <c:dLbls>
            <c:dLbl>
              <c:idx val="0"/>
              <c:tx>
                <c:rich>
                  <a:bodyPr/>
                  <a:lstStyle/>
                  <a:p>
                    <a:r>
                      <a:rPr lang="en-US" dirty="0"/>
                      <a:t>3.0</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CF0-4FD4-8A8D-B92D824C8F5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Comparison 04</c:v>
                </c:pt>
              </c:strCache>
            </c:strRef>
          </c:cat>
          <c:val>
            <c:numRef>
              <c:f>Tabelle1!$D$2</c:f>
              <c:numCache>
                <c:formatCode>General</c:formatCode>
                <c:ptCount val="1"/>
                <c:pt idx="0">
                  <c:v>3</c:v>
                </c:pt>
              </c:numCache>
            </c:numRef>
          </c:val>
          <c:extLst>
            <c:ext xmlns:c16="http://schemas.microsoft.com/office/drawing/2014/chart" uri="{C3380CC4-5D6E-409C-BE32-E72D297353CC}">
              <c16:uniqueId val="{00000002-F52B-4997-B1B8-121EB8AE620F}"/>
            </c:ext>
          </c:extLst>
        </c:ser>
        <c:dLbls>
          <c:showLegendKey val="0"/>
          <c:showVal val="0"/>
          <c:showCatName val="0"/>
          <c:showSerName val="0"/>
          <c:showPercent val="0"/>
          <c:showBubbleSize val="0"/>
        </c:dLbls>
        <c:gapWidth val="100"/>
        <c:overlap val="-42"/>
        <c:axId val="1035352272"/>
        <c:axId val="1035356208"/>
      </c:barChart>
      <c:catAx>
        <c:axId val="1035352272"/>
        <c:scaling>
          <c:orientation val="minMax"/>
        </c:scaling>
        <c:delete val="0"/>
        <c:axPos val="b"/>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O"/>
          </a:p>
        </c:txPr>
        <c:crossAx val="1035356208"/>
        <c:crosses val="autoZero"/>
        <c:auto val="1"/>
        <c:lblAlgn val="ctr"/>
        <c:lblOffset val="100"/>
        <c:noMultiLvlLbl val="0"/>
      </c:catAx>
      <c:valAx>
        <c:axId val="1035356208"/>
        <c:scaling>
          <c:orientation val="minMax"/>
        </c:scaling>
        <c:delete val="1"/>
        <c:axPos val="l"/>
        <c:numFmt formatCode="General" sourceLinked="1"/>
        <c:majorTickMark val="none"/>
        <c:minorTickMark val="none"/>
        <c:tickLblPos val="nextTo"/>
        <c:crossAx val="103535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37499999999999E-3"/>
          <c:w val="1"/>
          <c:h val="0.83673472222222223"/>
        </c:manualLayout>
      </c:layout>
      <c:barChart>
        <c:barDir val="col"/>
        <c:grouping val="clustered"/>
        <c:varyColors val="0"/>
        <c:ser>
          <c:idx val="0"/>
          <c:order val="0"/>
          <c:tx>
            <c:strRef>
              <c:f>Tabelle1!$B$1</c:f>
              <c:strCache>
                <c:ptCount val="1"/>
                <c:pt idx="0">
                  <c:v>Datenreihe 1</c:v>
                </c:pt>
              </c:strCache>
            </c:strRef>
          </c:tx>
          <c:spPr>
            <a:solidFill>
              <a:schemeClr val="accent1"/>
            </a:solidFill>
            <a:ln>
              <a:noFill/>
            </a:ln>
            <a:effectLst/>
          </c:spPr>
          <c:invertIfNegative val="0"/>
          <c:dLbls>
            <c:dLbl>
              <c:idx val="0"/>
              <c:tx>
                <c:rich>
                  <a:bodyPr/>
                  <a:lstStyle/>
                  <a:p>
                    <a:r>
                      <a:rPr lang="en-US" dirty="0"/>
                      <a:t>2.0</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52C-4358-B12E-A004C82976C5}"/>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Comparison 03</c:v>
                </c:pt>
              </c:strCache>
            </c:strRef>
          </c:cat>
          <c:val>
            <c:numRef>
              <c:f>Tabelle1!$B$2</c:f>
              <c:numCache>
                <c:formatCode>General</c:formatCode>
                <c:ptCount val="1"/>
                <c:pt idx="0">
                  <c:v>2</c:v>
                </c:pt>
              </c:numCache>
            </c:numRef>
          </c:val>
          <c:extLst>
            <c:ext xmlns:c16="http://schemas.microsoft.com/office/drawing/2014/chart" uri="{C3380CC4-5D6E-409C-BE32-E72D297353CC}">
              <c16:uniqueId val="{00000000-F52B-4997-B1B8-121EB8AE620F}"/>
            </c:ext>
          </c:extLst>
        </c:ser>
        <c:ser>
          <c:idx val="1"/>
          <c:order val="1"/>
          <c:tx>
            <c:strRef>
              <c:f>Tabelle1!$C$1</c:f>
              <c:strCache>
                <c:ptCount val="1"/>
                <c:pt idx="0">
                  <c:v>Datenreihe 2</c:v>
                </c:pt>
              </c:strCache>
            </c:strRef>
          </c:tx>
          <c:spPr>
            <a:solidFill>
              <a:schemeClr val="accent5"/>
            </a:solidFill>
            <a:ln>
              <a:noFill/>
            </a:ln>
            <a:effectLst/>
          </c:spPr>
          <c:invertIfNegative val="0"/>
          <c:dLbls>
            <c:dLbl>
              <c:idx val="0"/>
              <c:tx>
                <c:rich>
                  <a:bodyPr/>
                  <a:lstStyle/>
                  <a:p>
                    <a:r>
                      <a:rPr lang="en-US" dirty="0"/>
                      <a:t>2.4</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52C-4358-B12E-A004C82976C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Comparison 03</c:v>
                </c:pt>
              </c:strCache>
            </c:strRef>
          </c:cat>
          <c:val>
            <c:numRef>
              <c:f>Tabelle1!$C$2</c:f>
              <c:numCache>
                <c:formatCode>General</c:formatCode>
                <c:ptCount val="1"/>
                <c:pt idx="0">
                  <c:v>2.4</c:v>
                </c:pt>
              </c:numCache>
            </c:numRef>
          </c:val>
          <c:extLst>
            <c:ext xmlns:c16="http://schemas.microsoft.com/office/drawing/2014/chart" uri="{C3380CC4-5D6E-409C-BE32-E72D297353CC}">
              <c16:uniqueId val="{00000001-F52B-4997-B1B8-121EB8AE620F}"/>
            </c:ext>
          </c:extLst>
        </c:ser>
        <c:ser>
          <c:idx val="2"/>
          <c:order val="2"/>
          <c:tx>
            <c:strRef>
              <c:f>Tabelle1!$D$1</c:f>
              <c:strCache>
                <c:ptCount val="1"/>
                <c:pt idx="0">
                  <c:v>Datenreihe 3</c:v>
                </c:pt>
              </c:strCache>
            </c:strRef>
          </c:tx>
          <c:spPr>
            <a:solidFill>
              <a:schemeClr val="accent2"/>
            </a:solidFill>
            <a:ln>
              <a:noFill/>
            </a:ln>
            <a:effectLst/>
          </c:spPr>
          <c:invertIfNegative val="0"/>
          <c:dLbls>
            <c:dLbl>
              <c:idx val="0"/>
              <c:tx>
                <c:rich>
                  <a:bodyPr/>
                  <a:lstStyle/>
                  <a:p>
                    <a:r>
                      <a:rPr lang="en-US" dirty="0"/>
                      <a:t>3.0</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52C-4358-B12E-A004C82976C5}"/>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Comparison 03</c:v>
                </c:pt>
              </c:strCache>
            </c:strRef>
          </c:cat>
          <c:val>
            <c:numRef>
              <c:f>Tabelle1!$D$2</c:f>
              <c:numCache>
                <c:formatCode>General</c:formatCode>
                <c:ptCount val="1"/>
                <c:pt idx="0">
                  <c:v>3</c:v>
                </c:pt>
              </c:numCache>
            </c:numRef>
          </c:val>
          <c:extLst>
            <c:ext xmlns:c16="http://schemas.microsoft.com/office/drawing/2014/chart" uri="{C3380CC4-5D6E-409C-BE32-E72D297353CC}">
              <c16:uniqueId val="{00000002-F52B-4997-B1B8-121EB8AE620F}"/>
            </c:ext>
          </c:extLst>
        </c:ser>
        <c:dLbls>
          <c:showLegendKey val="0"/>
          <c:showVal val="0"/>
          <c:showCatName val="0"/>
          <c:showSerName val="0"/>
          <c:showPercent val="0"/>
          <c:showBubbleSize val="0"/>
        </c:dLbls>
        <c:gapWidth val="100"/>
        <c:overlap val="-42"/>
        <c:axId val="1035352272"/>
        <c:axId val="1035356208"/>
      </c:barChart>
      <c:catAx>
        <c:axId val="103535227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O"/>
          </a:p>
        </c:txPr>
        <c:crossAx val="1035356208"/>
        <c:crosses val="autoZero"/>
        <c:auto val="1"/>
        <c:lblAlgn val="ctr"/>
        <c:lblOffset val="100"/>
        <c:noMultiLvlLbl val="0"/>
      </c:catAx>
      <c:valAx>
        <c:axId val="1035356208"/>
        <c:scaling>
          <c:orientation val="minMax"/>
        </c:scaling>
        <c:delete val="1"/>
        <c:axPos val="l"/>
        <c:numFmt formatCode="General" sourceLinked="1"/>
        <c:majorTickMark val="none"/>
        <c:minorTickMark val="none"/>
        <c:tickLblPos val="nextTo"/>
        <c:crossAx val="103535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37499999999999E-3"/>
          <c:w val="1"/>
          <c:h val="0.83673472222222223"/>
        </c:manualLayout>
      </c:layout>
      <c:barChart>
        <c:barDir val="col"/>
        <c:grouping val="clustered"/>
        <c:varyColors val="0"/>
        <c:ser>
          <c:idx val="0"/>
          <c:order val="0"/>
          <c:tx>
            <c:strRef>
              <c:f>Tabelle1!$B$1</c:f>
              <c:strCache>
                <c:ptCount val="1"/>
                <c:pt idx="0">
                  <c:v>Datenreihe 1</c:v>
                </c:pt>
              </c:strCache>
            </c:strRef>
          </c:tx>
          <c:spPr>
            <a:solidFill>
              <a:schemeClr val="accent1"/>
            </a:solidFill>
            <a:ln>
              <a:noFill/>
            </a:ln>
            <a:effectLst/>
          </c:spPr>
          <c:invertIfNegative val="0"/>
          <c:dLbls>
            <c:dLbl>
              <c:idx val="0"/>
              <c:tx>
                <c:rich>
                  <a:bodyPr/>
                  <a:lstStyle/>
                  <a:p>
                    <a:r>
                      <a:rPr lang="en-US" dirty="0"/>
                      <a:t>2.0</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AFF-4452-AD4D-BABF42A17DC0}"/>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Comparison 01</c:v>
                </c:pt>
              </c:strCache>
            </c:strRef>
          </c:cat>
          <c:val>
            <c:numRef>
              <c:f>Tabelle1!$B$2</c:f>
              <c:numCache>
                <c:formatCode>General</c:formatCode>
                <c:ptCount val="1"/>
                <c:pt idx="0">
                  <c:v>2</c:v>
                </c:pt>
              </c:numCache>
            </c:numRef>
          </c:val>
          <c:extLst>
            <c:ext xmlns:c16="http://schemas.microsoft.com/office/drawing/2014/chart" uri="{C3380CC4-5D6E-409C-BE32-E72D297353CC}">
              <c16:uniqueId val="{00000000-1AFF-4452-AD4D-BABF42A17DC0}"/>
            </c:ext>
          </c:extLst>
        </c:ser>
        <c:ser>
          <c:idx val="1"/>
          <c:order val="1"/>
          <c:tx>
            <c:strRef>
              <c:f>Tabelle1!$C$1</c:f>
              <c:strCache>
                <c:ptCount val="1"/>
                <c:pt idx="0">
                  <c:v>Datenreihe 2</c:v>
                </c:pt>
              </c:strCache>
            </c:strRef>
          </c:tx>
          <c:spPr>
            <a:solidFill>
              <a:schemeClr val="accent5"/>
            </a:solidFill>
            <a:ln>
              <a:noFill/>
            </a:ln>
            <a:effectLst/>
          </c:spPr>
          <c:invertIfNegative val="0"/>
          <c:dLbls>
            <c:dLbl>
              <c:idx val="0"/>
              <c:tx>
                <c:rich>
                  <a:bodyPr/>
                  <a:lstStyle/>
                  <a:p>
                    <a:r>
                      <a:rPr lang="en-US" dirty="0"/>
                      <a:t>2.4</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AFF-4452-AD4D-BABF42A17DC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Comparison 01</c:v>
                </c:pt>
              </c:strCache>
            </c:strRef>
          </c:cat>
          <c:val>
            <c:numRef>
              <c:f>Tabelle1!$C$2</c:f>
              <c:numCache>
                <c:formatCode>General</c:formatCode>
                <c:ptCount val="1"/>
                <c:pt idx="0">
                  <c:v>2.4</c:v>
                </c:pt>
              </c:numCache>
            </c:numRef>
          </c:val>
          <c:extLst>
            <c:ext xmlns:c16="http://schemas.microsoft.com/office/drawing/2014/chart" uri="{C3380CC4-5D6E-409C-BE32-E72D297353CC}">
              <c16:uniqueId val="{00000001-1AFF-4452-AD4D-BABF42A17DC0}"/>
            </c:ext>
          </c:extLst>
        </c:ser>
        <c:ser>
          <c:idx val="2"/>
          <c:order val="2"/>
          <c:tx>
            <c:strRef>
              <c:f>Tabelle1!$D$1</c:f>
              <c:strCache>
                <c:ptCount val="1"/>
                <c:pt idx="0">
                  <c:v>Datenreihe 3</c:v>
                </c:pt>
              </c:strCache>
            </c:strRef>
          </c:tx>
          <c:spPr>
            <a:solidFill>
              <a:schemeClr val="accent2"/>
            </a:solidFill>
            <a:ln>
              <a:noFill/>
            </a:ln>
            <a:effectLst/>
          </c:spPr>
          <c:invertIfNegative val="0"/>
          <c:dLbls>
            <c:dLbl>
              <c:idx val="0"/>
              <c:tx>
                <c:rich>
                  <a:bodyPr/>
                  <a:lstStyle/>
                  <a:p>
                    <a:r>
                      <a:rPr lang="en-US" dirty="0"/>
                      <a:t>3.0</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AFF-4452-AD4D-BABF42A17DC0}"/>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Comparison 01</c:v>
                </c:pt>
              </c:strCache>
            </c:strRef>
          </c:cat>
          <c:val>
            <c:numRef>
              <c:f>Tabelle1!$D$2</c:f>
              <c:numCache>
                <c:formatCode>General</c:formatCode>
                <c:ptCount val="1"/>
                <c:pt idx="0">
                  <c:v>3</c:v>
                </c:pt>
              </c:numCache>
            </c:numRef>
          </c:val>
          <c:extLst>
            <c:ext xmlns:c16="http://schemas.microsoft.com/office/drawing/2014/chart" uri="{C3380CC4-5D6E-409C-BE32-E72D297353CC}">
              <c16:uniqueId val="{00000002-1AFF-4452-AD4D-BABF42A17DC0}"/>
            </c:ext>
          </c:extLst>
        </c:ser>
        <c:dLbls>
          <c:showLegendKey val="0"/>
          <c:showVal val="0"/>
          <c:showCatName val="0"/>
          <c:showSerName val="0"/>
          <c:showPercent val="0"/>
          <c:showBubbleSize val="0"/>
        </c:dLbls>
        <c:gapWidth val="100"/>
        <c:overlap val="-42"/>
        <c:axId val="168318848"/>
        <c:axId val="168320384"/>
      </c:barChart>
      <c:catAx>
        <c:axId val="168318848"/>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O"/>
          </a:p>
        </c:txPr>
        <c:crossAx val="168320384"/>
        <c:crosses val="autoZero"/>
        <c:auto val="1"/>
        <c:lblAlgn val="ctr"/>
        <c:lblOffset val="100"/>
        <c:noMultiLvlLbl val="0"/>
      </c:catAx>
      <c:valAx>
        <c:axId val="168320384"/>
        <c:scaling>
          <c:orientation val="minMax"/>
        </c:scaling>
        <c:delete val="1"/>
        <c:axPos val="l"/>
        <c:numFmt formatCode="General" sourceLinked="1"/>
        <c:majorTickMark val="none"/>
        <c:minorTickMark val="none"/>
        <c:tickLblPos val="nextTo"/>
        <c:crossAx val="1683188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Foliennummernplatzhalter 5">
            <a:extLst>
              <a:ext uri="{FF2B5EF4-FFF2-40B4-BE49-F238E27FC236}">
                <a16:creationId xmlns:a16="http://schemas.microsoft.com/office/drawing/2014/main" id="{48AC80DB-2AC3-4281-831C-04D104AE2B1A}"/>
              </a:ext>
            </a:extLst>
          </p:cNvPr>
          <p:cNvSpPr>
            <a:spLocks noGrp="1"/>
          </p:cNvSpPr>
          <p:nvPr>
            <p:ph type="sldNum" sz="quarter" idx="3"/>
          </p:nvPr>
        </p:nvSpPr>
        <p:spPr>
          <a:xfrm>
            <a:off x="6027053" y="9432338"/>
            <a:ext cx="504218" cy="108052"/>
          </a:xfrm>
          <a:prstGeom prst="rect">
            <a:avLst/>
          </a:prstGeom>
        </p:spPr>
        <p:txBody>
          <a:bodyPr vert="horz" lIns="0" tIns="0" rIns="0" bIns="0" rtlCol="0" anchor="ctr"/>
          <a:lstStyle>
            <a:lvl1pPr algn="r">
              <a:defRPr sz="1200">
                <a:solidFill>
                  <a:schemeClr val="tx1"/>
                </a:solidFill>
                <a:latin typeface="+mj-lt"/>
              </a:defRPr>
            </a:lvl1pPr>
          </a:lstStyle>
          <a:p>
            <a:fld id="{CE82B8A1-0CCE-4815-9668-383D7DE7D8B4}" type="slidenum">
              <a:rPr lang="de-DE" smtClean="0">
                <a:latin typeface="DraegerSanLig" pitchFamily="2" charset="0"/>
              </a:rPr>
              <a:pPr/>
              <a:t>‹Nº›</a:t>
            </a:fld>
            <a:endParaRPr lang="de-DE" dirty="0">
              <a:latin typeface="DraegerSanLig" pitchFamily="2" charset="0"/>
            </a:endParaRPr>
          </a:p>
        </p:txBody>
      </p:sp>
      <p:sp>
        <p:nvSpPr>
          <p:cNvPr id="10" name="Rechteck 9">
            <a:extLst>
              <a:ext uri="{FF2B5EF4-FFF2-40B4-BE49-F238E27FC236}">
                <a16:creationId xmlns:a16="http://schemas.microsoft.com/office/drawing/2014/main" id="{1A6C54D8-AF07-481A-9AD2-320D9C1F8DBA}"/>
              </a:ext>
            </a:extLst>
          </p:cNvPr>
          <p:cNvSpPr/>
          <p:nvPr/>
        </p:nvSpPr>
        <p:spPr>
          <a:xfrm>
            <a:off x="263229" y="9432338"/>
            <a:ext cx="4678334" cy="1080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lang="de-DE" sz="800" dirty="0">
                <a:solidFill>
                  <a:schemeClr val="tx1"/>
                </a:solidFill>
              </a:rPr>
              <a:t>© Drägerwerk AG &amp; Co. KGaA, 2019</a:t>
            </a:r>
          </a:p>
        </p:txBody>
      </p:sp>
      <p:pic>
        <p:nvPicPr>
          <p:cNvPr id="11" name="Grafik 10">
            <a:extLst>
              <a:ext uri="{FF2B5EF4-FFF2-40B4-BE49-F238E27FC236}">
                <a16:creationId xmlns:a16="http://schemas.microsoft.com/office/drawing/2014/main" id="{0D1CF8EA-AD4A-4BAF-ACEB-3E4621D58EC1}"/>
              </a:ext>
            </a:extLst>
          </p:cNvPr>
          <p:cNvPicPr>
            <a:picLocks noChangeAspect="1"/>
          </p:cNvPicPr>
          <p:nvPr/>
        </p:nvPicPr>
        <p:blipFill>
          <a:blip r:embed="rId2"/>
          <a:stretch>
            <a:fillRect/>
          </a:stretch>
        </p:blipFill>
        <p:spPr>
          <a:xfrm>
            <a:off x="5517050" y="499062"/>
            <a:ext cx="1020006" cy="392244"/>
          </a:xfrm>
          <a:prstGeom prst="rect">
            <a:avLst/>
          </a:prstGeom>
        </p:spPr>
      </p:pic>
    </p:spTree>
    <p:extLst>
      <p:ext uri="{BB962C8B-B14F-4D97-AF65-F5344CB8AC3E}">
        <p14:creationId xmlns:p14="http://schemas.microsoft.com/office/powerpoint/2010/main" val="428942120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579438" y="500063"/>
            <a:ext cx="2819400" cy="1585912"/>
          </a:xfrm>
          <a:prstGeom prst="rect">
            <a:avLst/>
          </a:prstGeom>
          <a:noFill/>
          <a:ln w="12700">
            <a:solidFill>
              <a:schemeClr val="bg2"/>
            </a:solidFill>
          </a:ln>
        </p:spPr>
        <p:txBody>
          <a:bodyPr vert="horz" lIns="91440" tIns="45720" rIns="91440" bIns="45720" rtlCol="0" anchor="ctr"/>
          <a:lstStyle/>
          <a:p>
            <a:endParaRPr lang="en-US" dirty="0"/>
          </a:p>
        </p:txBody>
      </p:sp>
      <p:sp>
        <p:nvSpPr>
          <p:cNvPr id="5" name="Notizenplatzhalter 4"/>
          <p:cNvSpPr>
            <a:spLocks noGrp="1"/>
          </p:cNvSpPr>
          <p:nvPr>
            <p:ph type="body" sz="quarter" idx="3"/>
          </p:nvPr>
        </p:nvSpPr>
        <p:spPr>
          <a:xfrm>
            <a:off x="580925" y="2372168"/>
            <a:ext cx="5613377" cy="6771999"/>
          </a:xfrm>
          <a:prstGeom prst="rect">
            <a:avLst/>
          </a:prstGeom>
        </p:spPr>
        <p:txBody>
          <a:bodyPr vert="horz" lIns="0" tIns="0" rIns="0" bIns="0" rtlCol="0"/>
          <a:lstStyle/>
          <a:p>
            <a:pPr lvl="0"/>
            <a:r>
              <a:rPr lang="en-US" noProof="0" dirty="0"/>
              <a:t>Click to edit text styles</a:t>
            </a:r>
          </a:p>
          <a:p>
            <a:pPr lvl="1"/>
            <a:r>
              <a:rPr lang="de-DE" noProof="0" dirty="0"/>
              <a:t>Level 2</a:t>
            </a:r>
          </a:p>
          <a:p>
            <a:pPr lvl="2"/>
            <a:r>
              <a:rPr lang="de-DE" noProof="0" dirty="0"/>
              <a:t>Level 3</a:t>
            </a:r>
          </a:p>
          <a:p>
            <a:pPr lvl="3"/>
            <a:r>
              <a:rPr lang="de-DE" noProof="0" dirty="0"/>
              <a:t>Level 4</a:t>
            </a:r>
          </a:p>
          <a:p>
            <a:pPr lvl="4"/>
            <a:r>
              <a:rPr lang="de-DE" noProof="0" dirty="0"/>
              <a:t>Level 5</a:t>
            </a:r>
            <a:endParaRPr lang="en-US" noProof="0" dirty="0"/>
          </a:p>
        </p:txBody>
      </p:sp>
      <p:sp>
        <p:nvSpPr>
          <p:cNvPr id="11" name="Foliennummernplatzhalter 5">
            <a:extLst>
              <a:ext uri="{FF2B5EF4-FFF2-40B4-BE49-F238E27FC236}">
                <a16:creationId xmlns:a16="http://schemas.microsoft.com/office/drawing/2014/main" id="{A81C574E-5718-47E4-B6E4-C2395CAA853C}"/>
              </a:ext>
            </a:extLst>
          </p:cNvPr>
          <p:cNvSpPr>
            <a:spLocks noGrp="1"/>
          </p:cNvSpPr>
          <p:nvPr>
            <p:ph type="sldNum" sz="quarter" idx="5"/>
          </p:nvPr>
        </p:nvSpPr>
        <p:spPr>
          <a:xfrm>
            <a:off x="6027053" y="9432338"/>
            <a:ext cx="504218" cy="108052"/>
          </a:xfrm>
          <a:prstGeom prst="rect">
            <a:avLst/>
          </a:prstGeom>
        </p:spPr>
        <p:txBody>
          <a:bodyPr vert="horz" lIns="0" tIns="0" rIns="0" bIns="0" rtlCol="0" anchor="ctr"/>
          <a:lstStyle>
            <a:lvl1pPr algn="r">
              <a:defRPr sz="1200">
                <a:solidFill>
                  <a:schemeClr val="tx1"/>
                </a:solidFill>
                <a:latin typeface="DraegerSanLig" pitchFamily="2" charset="0"/>
              </a:defRPr>
            </a:lvl1pPr>
          </a:lstStyle>
          <a:p>
            <a:fld id="{CE82B8A1-0CCE-4815-9668-383D7DE7D8B4}" type="slidenum">
              <a:rPr lang="de-DE" smtClean="0"/>
              <a:pPr/>
              <a:t>‹Nº›</a:t>
            </a:fld>
            <a:endParaRPr lang="de-DE" dirty="0"/>
          </a:p>
        </p:txBody>
      </p:sp>
      <p:sp>
        <p:nvSpPr>
          <p:cNvPr id="12" name="Rechteck 11">
            <a:extLst>
              <a:ext uri="{FF2B5EF4-FFF2-40B4-BE49-F238E27FC236}">
                <a16:creationId xmlns:a16="http://schemas.microsoft.com/office/drawing/2014/main" id="{717FB2DF-73D2-4629-85EF-8B21C2618129}"/>
              </a:ext>
            </a:extLst>
          </p:cNvPr>
          <p:cNvSpPr/>
          <p:nvPr/>
        </p:nvSpPr>
        <p:spPr>
          <a:xfrm>
            <a:off x="263229" y="9432338"/>
            <a:ext cx="4678334" cy="1080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lang="de-DE" sz="800" dirty="0">
                <a:solidFill>
                  <a:schemeClr val="tx1"/>
                </a:solidFill>
              </a:rPr>
              <a:t>© Drägerwerk AG &amp; Co. KGaA, 2019</a:t>
            </a:r>
          </a:p>
        </p:txBody>
      </p:sp>
      <p:pic>
        <p:nvPicPr>
          <p:cNvPr id="13" name="Grafik 12">
            <a:extLst>
              <a:ext uri="{FF2B5EF4-FFF2-40B4-BE49-F238E27FC236}">
                <a16:creationId xmlns:a16="http://schemas.microsoft.com/office/drawing/2014/main" id="{362CE5C3-00F3-40B6-B8E3-FEE5BE0BBE67}"/>
              </a:ext>
            </a:extLst>
          </p:cNvPr>
          <p:cNvPicPr>
            <a:picLocks noChangeAspect="1"/>
          </p:cNvPicPr>
          <p:nvPr/>
        </p:nvPicPr>
        <p:blipFill>
          <a:blip r:embed="rId2"/>
          <a:stretch>
            <a:fillRect/>
          </a:stretch>
        </p:blipFill>
        <p:spPr>
          <a:xfrm>
            <a:off x="5517050" y="499062"/>
            <a:ext cx="1020006" cy="392244"/>
          </a:xfrm>
          <a:prstGeom prst="rect">
            <a:avLst/>
          </a:prstGeom>
        </p:spPr>
      </p:pic>
    </p:spTree>
    <p:extLst>
      <p:ext uri="{BB962C8B-B14F-4D97-AF65-F5344CB8AC3E}">
        <p14:creationId xmlns:p14="http://schemas.microsoft.com/office/powerpoint/2010/main" val="245285189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400" kern="1200">
        <a:solidFill>
          <a:schemeClr val="tx1"/>
        </a:solidFill>
        <a:latin typeface="DraegerSanLig" pitchFamily="2" charset="0"/>
        <a:ea typeface="+mn-ea"/>
        <a:cs typeface="+mn-cs"/>
      </a:defRPr>
    </a:lvl1pPr>
    <a:lvl2pPr marL="0" indent="0" algn="l" defTabSz="914400" rtl="0" eaLnBrk="1" latinLnBrk="0" hangingPunct="1">
      <a:defRPr sz="1400" kern="1200">
        <a:solidFill>
          <a:schemeClr val="tx1"/>
        </a:solidFill>
        <a:latin typeface="+mn-lt"/>
        <a:ea typeface="+mn-ea"/>
        <a:cs typeface="+mn-cs"/>
      </a:defRPr>
    </a:lvl2pPr>
    <a:lvl3pPr marL="180975" indent="-180975" algn="l" defTabSz="914400" rtl="0" eaLnBrk="1" latinLnBrk="0" hangingPunct="1">
      <a:buFont typeface="Symbol" panose="05050102010706020507" pitchFamily="18" charset="2"/>
      <a:buChar char="-"/>
      <a:defRPr sz="1400" kern="1200">
        <a:solidFill>
          <a:schemeClr val="tx1"/>
        </a:solidFill>
        <a:latin typeface="+mn-lt"/>
        <a:ea typeface="+mn-ea"/>
        <a:cs typeface="+mn-cs"/>
      </a:defRPr>
    </a:lvl3pPr>
    <a:lvl4pPr marL="361950" indent="-180975" algn="l" defTabSz="914400" rtl="0" eaLnBrk="1" latinLnBrk="0" hangingPunct="1">
      <a:buFont typeface="Symbol" panose="05050102010706020507" pitchFamily="18" charset="2"/>
      <a:buChar char="-"/>
      <a:defRPr sz="1400" kern="1200">
        <a:solidFill>
          <a:schemeClr val="tx1"/>
        </a:solidFill>
        <a:latin typeface="+mn-lt"/>
        <a:ea typeface="+mn-ea"/>
        <a:cs typeface="+mn-cs"/>
      </a:defRPr>
    </a:lvl4pPr>
    <a:lvl5pPr marL="542925" indent="-180975" algn="l" defTabSz="914400" rtl="0" eaLnBrk="1" latinLnBrk="0" hangingPunct="1">
      <a:buFont typeface="Symbol" panose="05050102010706020507" pitchFamily="18" charset="2"/>
      <a:buChar char="-"/>
      <a:defRPr sz="1400" kern="1200">
        <a:solidFill>
          <a:schemeClr val="tx1"/>
        </a:solidFill>
        <a:latin typeface="+mn-lt"/>
        <a:ea typeface="+mn-ea"/>
        <a:cs typeface="+mn-cs"/>
      </a:defRPr>
    </a:lvl5pPr>
    <a:lvl6pPr marL="714375" indent="-171450" algn="l" defTabSz="914400" rtl="0" eaLnBrk="1" latinLnBrk="0" hangingPunct="1">
      <a:buFont typeface="Symbol" panose="05050102010706020507" pitchFamily="18" charset="2"/>
      <a:buChar char="-"/>
      <a:defRPr sz="1400" kern="1200">
        <a:solidFill>
          <a:schemeClr val="tx1"/>
        </a:solidFill>
        <a:latin typeface="+mn-lt"/>
        <a:ea typeface="+mn-ea"/>
        <a:cs typeface="+mn-cs"/>
      </a:defRPr>
    </a:lvl6pPr>
    <a:lvl7pPr marL="714375" indent="-171450" algn="l" defTabSz="914400" rtl="0" eaLnBrk="1" latinLnBrk="0" hangingPunct="1">
      <a:buFont typeface="Symbol" panose="05050102010706020507" pitchFamily="18" charset="2"/>
      <a:buChar char="-"/>
      <a:defRPr sz="1400" kern="1200">
        <a:solidFill>
          <a:schemeClr val="tx1"/>
        </a:solidFill>
        <a:latin typeface="+mn-lt"/>
        <a:ea typeface="+mn-ea"/>
        <a:cs typeface="+mn-cs"/>
      </a:defRPr>
    </a:lvl7pPr>
    <a:lvl8pPr marL="714375" indent="-171450" algn="l" defTabSz="914400" rtl="0" eaLnBrk="1" latinLnBrk="0" hangingPunct="1">
      <a:buFont typeface="Symbol" panose="05050102010706020507" pitchFamily="18" charset="2"/>
      <a:buChar char="-"/>
      <a:defRPr sz="1400" kern="1200">
        <a:solidFill>
          <a:schemeClr val="tx1"/>
        </a:solidFill>
        <a:latin typeface="+mn-lt"/>
        <a:ea typeface="+mn-ea"/>
        <a:cs typeface="+mn-cs"/>
      </a:defRPr>
    </a:lvl8pPr>
    <a:lvl9pPr marL="714375" indent="-171450" algn="l" defTabSz="914400" rtl="0" eaLnBrk="1" latinLnBrk="0" hangingPunct="1">
      <a:buFont typeface="Symbol" panose="05050102010706020507" pitchFamily="18" charset="2"/>
      <a:buChar char="-"/>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79438" y="498475"/>
            <a:ext cx="2819400" cy="158750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a:xfrm>
            <a:off x="3848645" y="9433108"/>
            <a:ext cx="2944283" cy="498294"/>
          </a:xfrm>
          <a:prstGeom prst="rect">
            <a:avLst/>
          </a:prstGeom>
        </p:spPr>
        <p:txBody>
          <a:bodyPr/>
          <a:lstStyle/>
          <a:p>
            <a:fld id="{072282AF-481C-4904-B80A-3CF3829C36B6}" type="slidenum">
              <a:rPr lang="en-US" smtClean="0"/>
              <a:t>2</a:t>
            </a:fld>
            <a:endParaRPr lang="en-US" dirty="0"/>
          </a:p>
        </p:txBody>
      </p:sp>
    </p:spTree>
    <p:extLst>
      <p:ext uri="{BB962C8B-B14F-4D97-AF65-F5344CB8AC3E}">
        <p14:creationId xmlns:p14="http://schemas.microsoft.com/office/powerpoint/2010/main" val="14793472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79438" y="498475"/>
            <a:ext cx="2819400" cy="1587500"/>
          </a:xfrm>
        </p:spPr>
      </p:sp>
      <p:sp>
        <p:nvSpPr>
          <p:cNvPr id="3" name="Notizenplatzhalter 2"/>
          <p:cNvSpPr>
            <a:spLocks noGrp="1"/>
          </p:cNvSpPr>
          <p:nvPr>
            <p:ph type="body" idx="1"/>
          </p:nvPr>
        </p:nvSpPr>
        <p:spPr/>
        <p:txBody>
          <a:bodyPr/>
          <a:lstStyle/>
          <a:p>
            <a:r>
              <a:rPr lang="en-US" dirty="0"/>
              <a:t>Gestaltungsbereich 30,4 x 13,2 cm vs. 30,4 x 12,6</a:t>
            </a:r>
          </a:p>
        </p:txBody>
      </p:sp>
      <p:sp>
        <p:nvSpPr>
          <p:cNvPr id="4" name="Foliennummernplatzhalter 3"/>
          <p:cNvSpPr>
            <a:spLocks noGrp="1"/>
          </p:cNvSpPr>
          <p:nvPr>
            <p:ph type="sldNum" sz="quarter" idx="5"/>
          </p:nvPr>
        </p:nvSpPr>
        <p:spPr>
          <a:xfrm>
            <a:off x="3848645" y="9433108"/>
            <a:ext cx="2944283" cy="498294"/>
          </a:xfrm>
          <a:prstGeom prst="rect">
            <a:avLst/>
          </a:prstGeom>
        </p:spPr>
        <p:txBody>
          <a:bodyPr/>
          <a:lstStyle/>
          <a:p>
            <a:fld id="{072282AF-481C-4904-B80A-3CF3829C36B6}" type="slidenum">
              <a:rPr lang="en-US" smtClean="0"/>
              <a:t>14</a:t>
            </a:fld>
            <a:endParaRPr lang="en-US"/>
          </a:p>
        </p:txBody>
      </p:sp>
    </p:spTree>
    <p:extLst>
      <p:ext uri="{BB962C8B-B14F-4D97-AF65-F5344CB8AC3E}">
        <p14:creationId xmlns:p14="http://schemas.microsoft.com/office/powerpoint/2010/main" val="22765708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blank" preserve="1">
  <p:cSld name="Intro Logo">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8AF486A0-DD63-432F-A01A-9749B92E4B5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2746348" y="3060766"/>
            <a:ext cx="6699304" cy="493200"/>
          </a:xfrm>
          <a:prstGeom prst="rect">
            <a:avLst/>
          </a:prstGeom>
        </p:spPr>
      </p:pic>
      <p:sp>
        <p:nvSpPr>
          <p:cNvPr id="17" name="Rechteck 16">
            <a:extLst>
              <a:ext uri="{FF2B5EF4-FFF2-40B4-BE49-F238E27FC236}">
                <a16:creationId xmlns:a16="http://schemas.microsoft.com/office/drawing/2014/main" id="{039D7A4D-DBFD-4C0A-9AF4-0C76FE48E3EC}"/>
              </a:ext>
            </a:extLst>
          </p:cNvPr>
          <p:cNvSpPr/>
          <p:nvPr userDrawn="1"/>
        </p:nvSpPr>
        <p:spPr bwMode="gray">
          <a:xfrm>
            <a:off x="1847528" y="2636912"/>
            <a:ext cx="8352928" cy="12241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18" name="Grafik 17">
            <a:extLst>
              <a:ext uri="{FF2B5EF4-FFF2-40B4-BE49-F238E27FC236}">
                <a16:creationId xmlns:a16="http://schemas.microsoft.com/office/drawing/2014/main" id="{529AAD34-AD3B-4974-B964-139DCF172B32}"/>
              </a:ext>
            </a:extLst>
          </p:cNvPr>
          <p:cNvPicPr>
            <a:picLocks noChangeAspect="1"/>
          </p:cNvPicPr>
          <p:nvPr userDrawn="1"/>
        </p:nvPicPr>
        <p:blipFill>
          <a:blip r:embed="rId4"/>
          <a:stretch>
            <a:fillRect/>
          </a:stretch>
        </p:blipFill>
        <p:spPr bwMode="gray">
          <a:xfrm>
            <a:off x="3436751" y="2411023"/>
            <a:ext cx="5299388" cy="2035954"/>
          </a:xfrm>
          <a:prstGeom prst="rect">
            <a:avLst/>
          </a:prstGeom>
        </p:spPr>
      </p:pic>
    </p:spTree>
    <p:extLst>
      <p:ext uri="{BB962C8B-B14F-4D97-AF65-F5344CB8AC3E}">
        <p14:creationId xmlns:p14="http://schemas.microsoft.com/office/powerpoint/2010/main" val="47729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decel="45000" autoRev="1" fill="hold" nodeType="withEffect">
                                  <p:stCondLst>
                                    <p:cond delay="0"/>
                                  </p:stCondLst>
                                  <p:endCondLst>
                                    <p:cond evt="onNext" delay="0">
                                      <p:tgtEl>
                                        <p:sldTgt/>
                                      </p:tgtEl>
                                    </p:cond>
                                  </p:endCondLst>
                                  <p:childTnLst>
                                    <p:animScale>
                                      <p:cBhvr>
                                        <p:cTn id="6" dur="2000" fill="hold"/>
                                        <p:tgtEl>
                                          <p:spTgt spid="18"/>
                                        </p:tgtEl>
                                      </p:cBhvr>
                                      <p:by x="104000" y="104000"/>
                                    </p:animScale>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grpId="0" nodeType="clickEffect">
                                  <p:stCondLst>
                                    <p:cond delay="0"/>
                                  </p:stCondLst>
                                  <p:childTnLst>
                                    <p:animEffect transition="out" filter="fade">
                                      <p:cBhvr>
                                        <p:cTn id="10" dur="1000"/>
                                        <p:tgtEl>
                                          <p:spTgt spid="17"/>
                                        </p:tgtEl>
                                      </p:cBhvr>
                                    </p:animEffect>
                                    <p:set>
                                      <p:cBhvr>
                                        <p:cTn id="11" dur="1" fill="hold">
                                          <p:stCondLst>
                                            <p:cond delay="999"/>
                                          </p:stCondLst>
                                        </p:cTn>
                                        <p:tgtEl>
                                          <p:spTgt spid="17"/>
                                        </p:tgtEl>
                                        <p:attrNameLst>
                                          <p:attrName>style.visibility</p:attrName>
                                        </p:attrNameLst>
                                      </p:cBhvr>
                                      <p:to>
                                        <p:strVal val="hidden"/>
                                      </p:to>
                                    </p:set>
                                  </p:childTnLst>
                                </p:cTn>
                              </p:par>
                              <p:par>
                                <p:cTn id="12" presetID="10" presetClass="exit" presetSubtype="0" fill="hold" nodeType="withEffect">
                                  <p:stCondLst>
                                    <p:cond delay="0"/>
                                  </p:stCondLst>
                                  <p:childTnLst>
                                    <p:animEffect transition="out" filter="fade">
                                      <p:cBhvr>
                                        <p:cTn id="13" dur="1000"/>
                                        <p:tgtEl>
                                          <p:spTgt spid="18"/>
                                        </p:tgtEl>
                                      </p:cBhvr>
                                    </p:animEffect>
                                    <p:set>
                                      <p:cBhvr>
                                        <p:cTn id="14" dur="1" fill="hold">
                                          <p:stCondLst>
                                            <p:cond delay="999"/>
                                          </p:stCondLst>
                                        </p:cTn>
                                        <p:tgtEl>
                                          <p:spTgt spid="18"/>
                                        </p:tgtEl>
                                        <p:attrNameLst>
                                          <p:attrName>style.visibility</p:attrName>
                                        </p:attrNameLst>
                                      </p:cBhvr>
                                      <p:to>
                                        <p:strVal val="hidden"/>
                                      </p:to>
                                    </p:set>
                                  </p:childTnLst>
                                </p:cTn>
                              </p:par>
                              <p:par>
                                <p:cTn id="15" presetID="10" presetClass="entr" presetSubtype="0" fill="hold" nodeType="withEffect">
                                  <p:stCondLst>
                                    <p:cond delay="10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extLst>
    <p:ext uri="{DCECCB84-F9BA-43D5-87BE-67443E8EF086}">
      <p15:sldGuideLst xmlns:p15="http://schemas.microsoft.com/office/powerpoint/2012/main">
        <p15:guide id="1" pos="121">
          <p15:clr>
            <a:srgbClr val="FBAE40"/>
          </p15:clr>
        </p15:guide>
        <p15:guide id="2" pos="7559">
          <p15:clr>
            <a:srgbClr val="FBAE40"/>
          </p15:clr>
        </p15:guide>
        <p15:guide id="3" orient="horz" pos="119">
          <p15:clr>
            <a:srgbClr val="FBAE40"/>
          </p15:clr>
        </p15:guide>
        <p15:guide id="4" orient="horz" pos="420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Topics">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lvl1pPr>
          </a:lstStyle>
          <a:p>
            <a:r>
              <a:rPr lang="en-US" noProof="0" dirty="0"/>
              <a:t>Click to edit Master title style</a:t>
            </a:r>
          </a:p>
        </p:txBody>
      </p:sp>
      <p:sp>
        <p:nvSpPr>
          <p:cNvPr id="7" name="Foliennummernplatzhalter 6"/>
          <p:cNvSpPr>
            <a:spLocks noGrp="1"/>
          </p:cNvSpPr>
          <p:nvPr>
            <p:ph type="sldNum" sz="quarter" idx="12"/>
          </p:nvPr>
        </p:nvSpPr>
        <p:spPr bwMode="gray"/>
        <p:txBody>
          <a:bodyPr/>
          <a:lstStyle/>
          <a:p>
            <a:fld id="{CE82B8A1-0CCE-4815-9668-383D7DE7D8B4}" type="slidenum">
              <a:rPr lang="en-US" noProof="0" smtClean="0"/>
              <a:t>‹Nº›</a:t>
            </a:fld>
            <a:endParaRPr lang="en-US" noProof="0" dirty="0"/>
          </a:p>
        </p:txBody>
      </p:sp>
      <p:sp>
        <p:nvSpPr>
          <p:cNvPr id="5" name="Bogen 4">
            <a:extLst>
              <a:ext uri="{FF2B5EF4-FFF2-40B4-BE49-F238E27FC236}">
                <a16:creationId xmlns:a16="http://schemas.microsoft.com/office/drawing/2014/main" id="{5E1117FF-80C4-42D4-B557-A8C22C255D89}"/>
              </a:ext>
            </a:extLst>
          </p:cNvPr>
          <p:cNvSpPr/>
          <p:nvPr userDrawn="1"/>
        </p:nvSpPr>
        <p:spPr bwMode="gray">
          <a:xfrm>
            <a:off x="4354715" y="2263779"/>
            <a:ext cx="3541485" cy="3541485"/>
          </a:xfrm>
          <a:prstGeom prst="arc">
            <a:avLst>
              <a:gd name="adj1" fmla="val 14552069"/>
              <a:gd name="adj2" fmla="val 17639898"/>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noProof="0" dirty="0"/>
          </a:p>
        </p:txBody>
      </p:sp>
      <p:sp>
        <p:nvSpPr>
          <p:cNvPr id="18" name="Bogen 17">
            <a:extLst>
              <a:ext uri="{FF2B5EF4-FFF2-40B4-BE49-F238E27FC236}">
                <a16:creationId xmlns:a16="http://schemas.microsoft.com/office/drawing/2014/main" id="{65AB8326-D205-4125-95EA-10F2FE17FFC2}"/>
              </a:ext>
            </a:extLst>
          </p:cNvPr>
          <p:cNvSpPr/>
          <p:nvPr userDrawn="1"/>
        </p:nvSpPr>
        <p:spPr bwMode="gray">
          <a:xfrm>
            <a:off x="4367808" y="2263779"/>
            <a:ext cx="3541485" cy="3541485"/>
          </a:xfrm>
          <a:prstGeom prst="arc">
            <a:avLst>
              <a:gd name="adj1" fmla="val 20933021"/>
              <a:gd name="adj2" fmla="val 683694"/>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noProof="0" dirty="0"/>
          </a:p>
        </p:txBody>
      </p:sp>
      <p:sp>
        <p:nvSpPr>
          <p:cNvPr id="19" name="Bogen 18">
            <a:extLst>
              <a:ext uri="{FF2B5EF4-FFF2-40B4-BE49-F238E27FC236}">
                <a16:creationId xmlns:a16="http://schemas.microsoft.com/office/drawing/2014/main" id="{AF5040F0-A9A7-4D86-AB50-2AF336425C0F}"/>
              </a:ext>
            </a:extLst>
          </p:cNvPr>
          <p:cNvSpPr/>
          <p:nvPr userDrawn="1"/>
        </p:nvSpPr>
        <p:spPr bwMode="gray">
          <a:xfrm flipH="1">
            <a:off x="4367808" y="2250686"/>
            <a:ext cx="3541485" cy="3541485"/>
          </a:xfrm>
          <a:prstGeom prst="arc">
            <a:avLst>
              <a:gd name="adj1" fmla="val 20933021"/>
              <a:gd name="adj2" fmla="val 683694"/>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noProof="0" dirty="0"/>
          </a:p>
        </p:txBody>
      </p:sp>
      <p:sp>
        <p:nvSpPr>
          <p:cNvPr id="20" name="Bogen 19">
            <a:extLst>
              <a:ext uri="{FF2B5EF4-FFF2-40B4-BE49-F238E27FC236}">
                <a16:creationId xmlns:a16="http://schemas.microsoft.com/office/drawing/2014/main" id="{B31CD0DB-D690-48AB-9293-0CFDD9CA068C}"/>
              </a:ext>
            </a:extLst>
          </p:cNvPr>
          <p:cNvSpPr/>
          <p:nvPr userDrawn="1"/>
        </p:nvSpPr>
        <p:spPr bwMode="gray">
          <a:xfrm>
            <a:off x="4367808" y="2263779"/>
            <a:ext cx="3541485" cy="3541485"/>
          </a:xfrm>
          <a:prstGeom prst="arc">
            <a:avLst>
              <a:gd name="adj1" fmla="val 3991286"/>
              <a:gd name="adj2" fmla="val 7044174"/>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noProof="0" dirty="0"/>
          </a:p>
        </p:txBody>
      </p:sp>
      <p:sp>
        <p:nvSpPr>
          <p:cNvPr id="8" name="Textplatzhalter 7">
            <a:extLst>
              <a:ext uri="{FF2B5EF4-FFF2-40B4-BE49-F238E27FC236}">
                <a16:creationId xmlns:a16="http://schemas.microsoft.com/office/drawing/2014/main" id="{6C3E2A32-0D32-4B3E-9A89-B5A03EE5F97D}"/>
              </a:ext>
            </a:extLst>
          </p:cNvPr>
          <p:cNvSpPr>
            <a:spLocks noGrp="1"/>
          </p:cNvSpPr>
          <p:nvPr>
            <p:ph type="body" sz="quarter" idx="17" hasCustomPrompt="1"/>
          </p:nvPr>
        </p:nvSpPr>
        <p:spPr bwMode="gray">
          <a:xfrm>
            <a:off x="4367808" y="2283228"/>
            <a:ext cx="3528417" cy="3508719"/>
          </a:xfrm>
        </p:spPr>
        <p:txBody>
          <a:bodyPr anchor="ctr"/>
          <a:lstStyle>
            <a:lvl1pPr marL="0" indent="0" algn="ctr">
              <a:buFont typeface="Arial" panose="020B0604020202020204" pitchFamily="34" charset="0"/>
              <a:buNone/>
              <a:defRPr sz="2800">
                <a:latin typeface="+mj-lt"/>
              </a:defRPr>
            </a:lvl1pPr>
            <a:lvl2pPr marL="0" indent="0" algn="ctr">
              <a:buFont typeface="Arial" panose="020B0604020202020204" pitchFamily="34" charset="0"/>
              <a:buNone/>
              <a:defRPr sz="2800">
                <a:latin typeface="+mj-lt"/>
              </a:defRPr>
            </a:lvl2pPr>
            <a:lvl3pPr marL="0" indent="0" algn="ctr">
              <a:buNone/>
              <a:defRPr sz="2800">
                <a:latin typeface="+mj-lt"/>
              </a:defRPr>
            </a:lvl3pPr>
            <a:lvl4pPr marL="0" indent="0" algn="ctr">
              <a:buNone/>
              <a:defRPr sz="2800">
                <a:latin typeface="+mj-lt"/>
              </a:defRPr>
            </a:lvl4pPr>
            <a:lvl5pPr marL="0" indent="0" algn="ctr">
              <a:buNone/>
              <a:defRPr sz="2800">
                <a:latin typeface="+mj-lt"/>
              </a:defRPr>
            </a:lvl5pPr>
            <a:lvl6pPr marL="0" indent="0" algn="ctr">
              <a:buNone/>
              <a:defRPr sz="2800">
                <a:latin typeface="+mj-lt"/>
              </a:defRPr>
            </a:lvl6pPr>
            <a:lvl7pPr marL="0" indent="0" algn="ctr">
              <a:buNone/>
              <a:defRPr sz="2800">
                <a:latin typeface="+mj-lt"/>
              </a:defRPr>
            </a:lvl7pPr>
            <a:lvl8pPr marL="0" indent="0" algn="ctr">
              <a:buNone/>
              <a:defRPr sz="2800">
                <a:latin typeface="+mj-lt"/>
              </a:defRPr>
            </a:lvl8pPr>
            <a:lvl9pPr marL="0" indent="0" algn="ctr">
              <a:buNone/>
              <a:defRPr sz="2800">
                <a:latin typeface="+mj-lt"/>
              </a:defRPr>
            </a:lvl9pPr>
          </a:lstStyle>
          <a:p>
            <a:pPr lvl="0"/>
            <a:r>
              <a:rPr lang="en-US" noProof="0" dirty="0"/>
              <a:t>Title of</a:t>
            </a:r>
            <a:br>
              <a:rPr lang="en-US" noProof="0" dirty="0"/>
            </a:br>
            <a:r>
              <a:rPr lang="en-US" noProof="0" dirty="0"/>
              <a:t>the graphic</a:t>
            </a:r>
          </a:p>
        </p:txBody>
      </p:sp>
      <p:sp>
        <p:nvSpPr>
          <p:cNvPr id="4" name="Bildplatzhalter 3">
            <a:extLst>
              <a:ext uri="{FF2B5EF4-FFF2-40B4-BE49-F238E27FC236}">
                <a16:creationId xmlns:a16="http://schemas.microsoft.com/office/drawing/2014/main" id="{4D18026B-6CFF-40C6-80B3-65904BFCC4BA}"/>
              </a:ext>
            </a:extLst>
          </p:cNvPr>
          <p:cNvSpPr>
            <a:spLocks noGrp="1"/>
          </p:cNvSpPr>
          <p:nvPr>
            <p:ph type="pic" sz="quarter" idx="13" hasCustomPrompt="1"/>
          </p:nvPr>
        </p:nvSpPr>
        <p:spPr bwMode="gray">
          <a:xfrm>
            <a:off x="4007928" y="2263779"/>
            <a:ext cx="1440000" cy="1440000"/>
          </a:xfrm>
          <a:prstGeom prst="ellipse">
            <a:avLst/>
          </a:prstGeom>
          <a:solidFill>
            <a:schemeClr val="accent1"/>
          </a:solidFill>
        </p:spPr>
        <p:txBody>
          <a:bodyPr tIns="792000"/>
          <a:lstStyle>
            <a:lvl1pPr marL="0" indent="0" algn="ctr">
              <a:buFont typeface="Arial" panose="020B0604020202020204" pitchFamily="34" charset="0"/>
              <a:buNone/>
              <a:defRPr sz="800">
                <a:solidFill>
                  <a:schemeClr val="bg1"/>
                </a:solidFill>
                <a:latin typeface="+mn-lt"/>
              </a:defRPr>
            </a:lvl1pPr>
            <a:lvl2pPr marL="0" indent="0" algn="ctr">
              <a:buFont typeface="Arial" panose="020B0604020202020204" pitchFamily="34" charset="0"/>
              <a:buNone/>
              <a:defRPr sz="800">
                <a:solidFill>
                  <a:schemeClr val="bg1"/>
                </a:solidFill>
                <a:latin typeface="+mn-lt"/>
              </a:defRPr>
            </a:lvl2pPr>
            <a:lvl3pPr marL="0" indent="0" algn="ctr">
              <a:buNone/>
              <a:defRPr sz="800">
                <a:solidFill>
                  <a:schemeClr val="bg1"/>
                </a:solidFill>
                <a:latin typeface="+mn-lt"/>
              </a:defRPr>
            </a:lvl3pPr>
            <a:lvl4pPr marL="0" indent="0" algn="ctr">
              <a:buNone/>
              <a:defRPr sz="800">
                <a:solidFill>
                  <a:schemeClr val="bg1"/>
                </a:solidFill>
                <a:latin typeface="+mn-lt"/>
              </a:defRPr>
            </a:lvl4pPr>
            <a:lvl5pPr marL="0" indent="0" algn="ctr">
              <a:buNone/>
              <a:defRPr sz="800">
                <a:solidFill>
                  <a:schemeClr val="bg1"/>
                </a:solidFill>
                <a:latin typeface="+mn-lt"/>
              </a:defRPr>
            </a:lvl5pPr>
            <a:lvl6pPr marL="0" indent="0" algn="ctr">
              <a:buNone/>
              <a:defRPr sz="800">
                <a:solidFill>
                  <a:schemeClr val="bg1"/>
                </a:solidFill>
                <a:latin typeface="+mn-lt"/>
              </a:defRPr>
            </a:lvl6pPr>
            <a:lvl7pPr marL="0" indent="0" algn="ctr">
              <a:buNone/>
              <a:defRPr sz="800">
                <a:solidFill>
                  <a:schemeClr val="bg1"/>
                </a:solidFill>
                <a:latin typeface="+mn-lt"/>
              </a:defRPr>
            </a:lvl7pPr>
            <a:lvl8pPr marL="0" indent="0" algn="ctr">
              <a:buNone/>
              <a:defRPr sz="800">
                <a:solidFill>
                  <a:schemeClr val="bg1"/>
                </a:solidFill>
                <a:latin typeface="+mn-lt"/>
              </a:defRPr>
            </a:lvl8pPr>
            <a:lvl9pPr marL="0" indent="0" algn="ctr">
              <a:buNone/>
              <a:defRPr sz="800">
                <a:solidFill>
                  <a:schemeClr val="bg1"/>
                </a:solidFill>
                <a:latin typeface="+mn-lt"/>
              </a:defRPr>
            </a:lvl9pPr>
          </a:lstStyle>
          <a:p>
            <a:pPr lvl="0"/>
            <a:r>
              <a:rPr lang="en-US" noProof="0" dirty="0"/>
              <a:t>Optional: Insert picture</a:t>
            </a:r>
          </a:p>
        </p:txBody>
      </p:sp>
      <p:sp>
        <p:nvSpPr>
          <p:cNvPr id="11" name="Bildplatzhalter 3">
            <a:extLst>
              <a:ext uri="{FF2B5EF4-FFF2-40B4-BE49-F238E27FC236}">
                <a16:creationId xmlns:a16="http://schemas.microsoft.com/office/drawing/2014/main" id="{5C610885-E4FC-4530-B7DC-0BE1C772C5D0}"/>
              </a:ext>
            </a:extLst>
          </p:cNvPr>
          <p:cNvSpPr>
            <a:spLocks noGrp="1"/>
          </p:cNvSpPr>
          <p:nvPr>
            <p:ph type="pic" sz="quarter" idx="14" hasCustomPrompt="1"/>
          </p:nvPr>
        </p:nvSpPr>
        <p:spPr bwMode="gray">
          <a:xfrm>
            <a:off x="6744232" y="2263779"/>
            <a:ext cx="1440000" cy="1440000"/>
          </a:xfrm>
          <a:prstGeom prst="ellipse">
            <a:avLst/>
          </a:prstGeom>
          <a:solidFill>
            <a:schemeClr val="accent2"/>
          </a:solidFill>
        </p:spPr>
        <p:txBody>
          <a:bodyPr tIns="792000"/>
          <a:lstStyle>
            <a:lvl1pPr marL="0" indent="0" algn="ctr">
              <a:buFont typeface="Arial" panose="020B0604020202020204" pitchFamily="34" charset="0"/>
              <a:buNone/>
              <a:defRPr sz="800">
                <a:solidFill>
                  <a:schemeClr val="bg1"/>
                </a:solidFill>
                <a:latin typeface="+mn-lt"/>
              </a:defRPr>
            </a:lvl1pPr>
            <a:lvl2pPr marL="0" indent="0" algn="ctr">
              <a:buFont typeface="Arial" panose="020B0604020202020204" pitchFamily="34" charset="0"/>
              <a:buNone/>
              <a:defRPr sz="800">
                <a:solidFill>
                  <a:schemeClr val="bg1"/>
                </a:solidFill>
                <a:latin typeface="+mn-lt"/>
              </a:defRPr>
            </a:lvl2pPr>
            <a:lvl3pPr marL="0" indent="0" algn="ctr">
              <a:buNone/>
              <a:defRPr sz="800">
                <a:solidFill>
                  <a:schemeClr val="bg1"/>
                </a:solidFill>
                <a:latin typeface="+mn-lt"/>
              </a:defRPr>
            </a:lvl3pPr>
            <a:lvl4pPr marL="0" indent="0" algn="ctr">
              <a:buNone/>
              <a:defRPr sz="800">
                <a:solidFill>
                  <a:schemeClr val="bg1"/>
                </a:solidFill>
                <a:latin typeface="+mn-lt"/>
              </a:defRPr>
            </a:lvl4pPr>
            <a:lvl5pPr marL="0" indent="0" algn="ctr">
              <a:buNone/>
              <a:defRPr sz="800">
                <a:solidFill>
                  <a:schemeClr val="bg1"/>
                </a:solidFill>
                <a:latin typeface="+mn-lt"/>
              </a:defRPr>
            </a:lvl5pPr>
            <a:lvl6pPr marL="0" indent="0" algn="ctr">
              <a:buNone/>
              <a:defRPr sz="800">
                <a:solidFill>
                  <a:schemeClr val="bg1"/>
                </a:solidFill>
                <a:latin typeface="+mn-lt"/>
              </a:defRPr>
            </a:lvl6pPr>
            <a:lvl7pPr marL="0" indent="0" algn="ctr">
              <a:buNone/>
              <a:defRPr sz="800">
                <a:solidFill>
                  <a:schemeClr val="bg1"/>
                </a:solidFill>
                <a:latin typeface="+mn-lt"/>
              </a:defRPr>
            </a:lvl7pPr>
            <a:lvl8pPr marL="0" indent="0" algn="ctr">
              <a:buNone/>
              <a:defRPr sz="800">
                <a:solidFill>
                  <a:schemeClr val="bg1"/>
                </a:solidFill>
                <a:latin typeface="+mn-lt"/>
              </a:defRPr>
            </a:lvl8pPr>
            <a:lvl9pPr marL="0" indent="0" algn="ctr">
              <a:buNone/>
              <a:defRPr sz="800">
                <a:solidFill>
                  <a:schemeClr val="bg1"/>
                </a:solidFill>
                <a:latin typeface="+mn-lt"/>
              </a:defRPr>
            </a:lvl9pPr>
          </a:lstStyle>
          <a:p>
            <a:pPr lvl="0"/>
            <a:r>
              <a:rPr lang="en-US" noProof="0" dirty="0"/>
              <a:t>Optional: Insert picture</a:t>
            </a:r>
          </a:p>
        </p:txBody>
      </p:sp>
      <p:sp>
        <p:nvSpPr>
          <p:cNvPr id="12" name="Bildplatzhalter 3">
            <a:extLst>
              <a:ext uri="{FF2B5EF4-FFF2-40B4-BE49-F238E27FC236}">
                <a16:creationId xmlns:a16="http://schemas.microsoft.com/office/drawing/2014/main" id="{91A4529A-C526-40CE-9C24-BCD396961B6B}"/>
              </a:ext>
            </a:extLst>
          </p:cNvPr>
          <p:cNvSpPr>
            <a:spLocks noGrp="1"/>
          </p:cNvSpPr>
          <p:nvPr>
            <p:ph type="pic" sz="quarter" idx="15" hasCustomPrompt="1"/>
          </p:nvPr>
        </p:nvSpPr>
        <p:spPr bwMode="gray">
          <a:xfrm>
            <a:off x="6744232" y="4365264"/>
            <a:ext cx="1440000" cy="1440000"/>
          </a:xfrm>
          <a:prstGeom prst="ellipse">
            <a:avLst/>
          </a:prstGeom>
          <a:solidFill>
            <a:schemeClr val="accent3"/>
          </a:solidFill>
        </p:spPr>
        <p:txBody>
          <a:bodyPr tIns="792000"/>
          <a:lstStyle>
            <a:lvl1pPr marL="0" indent="0" algn="ctr">
              <a:buFont typeface="Arial" panose="020B0604020202020204" pitchFamily="34" charset="0"/>
              <a:buNone/>
              <a:defRPr sz="800">
                <a:solidFill>
                  <a:schemeClr val="bg1"/>
                </a:solidFill>
                <a:latin typeface="+mn-lt"/>
              </a:defRPr>
            </a:lvl1pPr>
            <a:lvl2pPr marL="0" indent="0" algn="ctr">
              <a:buFont typeface="Arial" panose="020B0604020202020204" pitchFamily="34" charset="0"/>
              <a:buNone/>
              <a:defRPr sz="800">
                <a:solidFill>
                  <a:schemeClr val="bg1"/>
                </a:solidFill>
                <a:latin typeface="+mn-lt"/>
              </a:defRPr>
            </a:lvl2pPr>
            <a:lvl3pPr marL="0" indent="0" algn="ctr">
              <a:buNone/>
              <a:defRPr sz="800">
                <a:solidFill>
                  <a:schemeClr val="bg1"/>
                </a:solidFill>
                <a:latin typeface="+mn-lt"/>
              </a:defRPr>
            </a:lvl3pPr>
            <a:lvl4pPr marL="0" indent="0" algn="ctr">
              <a:buNone/>
              <a:defRPr sz="800">
                <a:solidFill>
                  <a:schemeClr val="bg1"/>
                </a:solidFill>
                <a:latin typeface="+mn-lt"/>
              </a:defRPr>
            </a:lvl4pPr>
            <a:lvl5pPr marL="0" indent="0" algn="ctr">
              <a:buNone/>
              <a:defRPr sz="800">
                <a:solidFill>
                  <a:schemeClr val="bg1"/>
                </a:solidFill>
                <a:latin typeface="+mn-lt"/>
              </a:defRPr>
            </a:lvl5pPr>
            <a:lvl6pPr marL="0" indent="0" algn="ctr">
              <a:buNone/>
              <a:defRPr sz="800">
                <a:solidFill>
                  <a:schemeClr val="bg1"/>
                </a:solidFill>
                <a:latin typeface="+mn-lt"/>
              </a:defRPr>
            </a:lvl6pPr>
            <a:lvl7pPr marL="0" indent="0" algn="ctr">
              <a:buNone/>
              <a:defRPr sz="800">
                <a:solidFill>
                  <a:schemeClr val="bg1"/>
                </a:solidFill>
                <a:latin typeface="+mn-lt"/>
              </a:defRPr>
            </a:lvl7pPr>
            <a:lvl8pPr marL="0" indent="0" algn="ctr">
              <a:buNone/>
              <a:defRPr sz="800">
                <a:solidFill>
                  <a:schemeClr val="bg1"/>
                </a:solidFill>
                <a:latin typeface="+mn-lt"/>
              </a:defRPr>
            </a:lvl8pPr>
            <a:lvl9pPr marL="0" indent="0" algn="ctr">
              <a:buNone/>
              <a:defRPr sz="800">
                <a:solidFill>
                  <a:schemeClr val="bg1"/>
                </a:solidFill>
                <a:latin typeface="+mn-lt"/>
              </a:defRPr>
            </a:lvl9pPr>
          </a:lstStyle>
          <a:p>
            <a:pPr lvl="0"/>
            <a:r>
              <a:rPr lang="en-US" noProof="0" dirty="0"/>
              <a:t>Optional: Insert picture</a:t>
            </a:r>
          </a:p>
        </p:txBody>
      </p:sp>
      <p:sp>
        <p:nvSpPr>
          <p:cNvPr id="17" name="Bildplatzhalter 3">
            <a:extLst>
              <a:ext uri="{FF2B5EF4-FFF2-40B4-BE49-F238E27FC236}">
                <a16:creationId xmlns:a16="http://schemas.microsoft.com/office/drawing/2014/main" id="{3028EB42-CAE1-4241-826E-AC923C69BA7D}"/>
              </a:ext>
            </a:extLst>
          </p:cNvPr>
          <p:cNvSpPr>
            <a:spLocks noGrp="1"/>
          </p:cNvSpPr>
          <p:nvPr>
            <p:ph type="pic" sz="quarter" idx="16" hasCustomPrompt="1"/>
          </p:nvPr>
        </p:nvSpPr>
        <p:spPr bwMode="gray">
          <a:xfrm>
            <a:off x="4007928" y="4365264"/>
            <a:ext cx="1440000" cy="1440000"/>
          </a:xfrm>
          <a:prstGeom prst="ellipse">
            <a:avLst/>
          </a:prstGeom>
          <a:solidFill>
            <a:schemeClr val="accent4"/>
          </a:solidFill>
        </p:spPr>
        <p:txBody>
          <a:bodyPr tIns="792000"/>
          <a:lstStyle>
            <a:lvl1pPr marL="0" indent="0" algn="ctr">
              <a:buFont typeface="Arial" panose="020B0604020202020204" pitchFamily="34" charset="0"/>
              <a:buNone/>
              <a:defRPr sz="800">
                <a:solidFill>
                  <a:schemeClr val="bg1"/>
                </a:solidFill>
                <a:latin typeface="+mn-lt"/>
              </a:defRPr>
            </a:lvl1pPr>
            <a:lvl2pPr marL="0" indent="0" algn="ctr">
              <a:buFont typeface="Arial" panose="020B0604020202020204" pitchFamily="34" charset="0"/>
              <a:buNone/>
              <a:defRPr sz="800">
                <a:solidFill>
                  <a:schemeClr val="bg1"/>
                </a:solidFill>
                <a:latin typeface="+mn-lt"/>
              </a:defRPr>
            </a:lvl2pPr>
            <a:lvl3pPr marL="0" indent="0" algn="ctr">
              <a:buNone/>
              <a:defRPr sz="800">
                <a:solidFill>
                  <a:schemeClr val="bg1"/>
                </a:solidFill>
                <a:latin typeface="+mn-lt"/>
              </a:defRPr>
            </a:lvl3pPr>
            <a:lvl4pPr marL="0" indent="0" algn="ctr">
              <a:buNone/>
              <a:defRPr sz="800">
                <a:solidFill>
                  <a:schemeClr val="bg1"/>
                </a:solidFill>
                <a:latin typeface="+mn-lt"/>
              </a:defRPr>
            </a:lvl4pPr>
            <a:lvl5pPr marL="0" indent="0" algn="ctr">
              <a:buNone/>
              <a:defRPr sz="800">
                <a:solidFill>
                  <a:schemeClr val="bg1"/>
                </a:solidFill>
                <a:latin typeface="+mn-lt"/>
              </a:defRPr>
            </a:lvl5pPr>
            <a:lvl6pPr marL="0" indent="0" algn="ctr">
              <a:buNone/>
              <a:defRPr sz="800">
                <a:solidFill>
                  <a:schemeClr val="bg1"/>
                </a:solidFill>
                <a:latin typeface="+mn-lt"/>
              </a:defRPr>
            </a:lvl6pPr>
            <a:lvl7pPr marL="0" indent="0" algn="ctr">
              <a:buNone/>
              <a:defRPr sz="800">
                <a:solidFill>
                  <a:schemeClr val="bg1"/>
                </a:solidFill>
                <a:latin typeface="+mn-lt"/>
              </a:defRPr>
            </a:lvl7pPr>
            <a:lvl8pPr marL="0" indent="0" algn="ctr">
              <a:buNone/>
              <a:defRPr sz="800">
                <a:solidFill>
                  <a:schemeClr val="bg1"/>
                </a:solidFill>
                <a:latin typeface="+mn-lt"/>
              </a:defRPr>
            </a:lvl8pPr>
            <a:lvl9pPr marL="0" indent="0" algn="ctr">
              <a:buNone/>
              <a:defRPr sz="800">
                <a:solidFill>
                  <a:schemeClr val="bg1"/>
                </a:solidFill>
                <a:latin typeface="+mn-lt"/>
              </a:defRPr>
            </a:lvl9pPr>
          </a:lstStyle>
          <a:p>
            <a:pPr lvl="0"/>
            <a:r>
              <a:rPr lang="en-US" noProof="0" dirty="0"/>
              <a:t>Optional: Insert picture</a:t>
            </a:r>
          </a:p>
        </p:txBody>
      </p:sp>
      <p:sp>
        <p:nvSpPr>
          <p:cNvPr id="22" name="Textplatzhalter 21">
            <a:extLst>
              <a:ext uri="{FF2B5EF4-FFF2-40B4-BE49-F238E27FC236}">
                <a16:creationId xmlns:a16="http://schemas.microsoft.com/office/drawing/2014/main" id="{E46B4FCB-D300-4793-9D5A-E82B5A15F880}"/>
              </a:ext>
            </a:extLst>
          </p:cNvPr>
          <p:cNvSpPr>
            <a:spLocks noGrp="1"/>
          </p:cNvSpPr>
          <p:nvPr>
            <p:ph type="body" sz="quarter" idx="18" hasCustomPrompt="1"/>
          </p:nvPr>
        </p:nvSpPr>
        <p:spPr bwMode="gray">
          <a:xfrm>
            <a:off x="8486850" y="1773238"/>
            <a:ext cx="3096000" cy="1800225"/>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3" name="Textplatzhalter 21">
            <a:extLst>
              <a:ext uri="{FF2B5EF4-FFF2-40B4-BE49-F238E27FC236}">
                <a16:creationId xmlns:a16="http://schemas.microsoft.com/office/drawing/2014/main" id="{D0C321D0-F8DA-4439-8FB5-4E34F8BCCA64}"/>
              </a:ext>
            </a:extLst>
          </p:cNvPr>
          <p:cNvSpPr>
            <a:spLocks noGrp="1"/>
          </p:cNvSpPr>
          <p:nvPr>
            <p:ph type="body" sz="quarter" idx="19" hasCustomPrompt="1"/>
          </p:nvPr>
        </p:nvSpPr>
        <p:spPr bwMode="gray">
          <a:xfrm>
            <a:off x="8472264" y="4509095"/>
            <a:ext cx="3096000" cy="1800225"/>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4" name="Textplatzhalter 21">
            <a:extLst>
              <a:ext uri="{FF2B5EF4-FFF2-40B4-BE49-F238E27FC236}">
                <a16:creationId xmlns:a16="http://schemas.microsoft.com/office/drawing/2014/main" id="{A22DB3A8-C81C-4961-B4B3-70C82DA0B5BA}"/>
              </a:ext>
            </a:extLst>
          </p:cNvPr>
          <p:cNvSpPr>
            <a:spLocks noGrp="1"/>
          </p:cNvSpPr>
          <p:nvPr>
            <p:ph type="body" sz="quarter" idx="20" hasCustomPrompt="1"/>
          </p:nvPr>
        </p:nvSpPr>
        <p:spPr bwMode="gray">
          <a:xfrm>
            <a:off x="637977" y="1772816"/>
            <a:ext cx="3096000" cy="1800225"/>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5" name="Textplatzhalter 21">
            <a:extLst>
              <a:ext uri="{FF2B5EF4-FFF2-40B4-BE49-F238E27FC236}">
                <a16:creationId xmlns:a16="http://schemas.microsoft.com/office/drawing/2014/main" id="{8A493F07-63AE-435B-B820-36A339CD8D40}"/>
              </a:ext>
            </a:extLst>
          </p:cNvPr>
          <p:cNvSpPr>
            <a:spLocks noGrp="1"/>
          </p:cNvSpPr>
          <p:nvPr>
            <p:ph type="body" sz="quarter" idx="21" hasCustomPrompt="1"/>
          </p:nvPr>
        </p:nvSpPr>
        <p:spPr bwMode="gray">
          <a:xfrm>
            <a:off x="623391" y="4508673"/>
            <a:ext cx="3096000" cy="1800225"/>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2" name="Rechteck 31">
            <a:extLst>
              <a:ext uri="{FF2B5EF4-FFF2-40B4-BE49-F238E27FC236}">
                <a16:creationId xmlns:a16="http://schemas.microsoft.com/office/drawing/2014/main" id="{76122A79-1A2C-4298-9E50-EB3D10293C57}"/>
              </a:ext>
            </a:extLst>
          </p:cNvPr>
          <p:cNvSpPr/>
          <p:nvPr userDrawn="1"/>
        </p:nvSpPr>
        <p:spPr bwMode="gray">
          <a:xfrm>
            <a:off x="12288880" y="188640"/>
            <a:ext cx="1728000" cy="64804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t"/>
          <a:lstStyle/>
          <a:p>
            <a:pPr algn="l"/>
            <a:r>
              <a:rPr lang="en-US" sz="1200" noProof="0" dirty="0">
                <a:solidFill>
                  <a:schemeClr val="tx1"/>
                </a:solidFill>
                <a:latin typeface="+mj-lt"/>
              </a:rPr>
              <a:t>Note:</a:t>
            </a:r>
          </a:p>
          <a:p>
            <a:pPr algn="l"/>
            <a:r>
              <a:rPr lang="en-US" sz="1200" noProof="0" dirty="0">
                <a:solidFill>
                  <a:schemeClr val="tx1"/>
                </a:solidFill>
              </a:rPr>
              <a:t>You can use the image placeholders to insert images, icons or text. </a:t>
            </a:r>
          </a:p>
        </p:txBody>
      </p:sp>
      <p:grpSp>
        <p:nvGrpSpPr>
          <p:cNvPr id="41" name="Gruppieren 40">
            <a:extLst>
              <a:ext uri="{FF2B5EF4-FFF2-40B4-BE49-F238E27FC236}">
                <a16:creationId xmlns:a16="http://schemas.microsoft.com/office/drawing/2014/main" id="{5BACAA83-D3E7-4D54-8CD7-70DBBF524F1D}"/>
              </a:ext>
            </a:extLst>
          </p:cNvPr>
          <p:cNvGrpSpPr/>
          <p:nvPr userDrawn="1"/>
        </p:nvGrpSpPr>
        <p:grpSpPr bwMode="gray">
          <a:xfrm>
            <a:off x="3935760" y="-207392"/>
            <a:ext cx="4320480" cy="108000"/>
            <a:chOff x="3935760" y="-207392"/>
            <a:chExt cx="4320480" cy="108000"/>
          </a:xfrm>
        </p:grpSpPr>
        <p:sp>
          <p:nvSpPr>
            <p:cNvPr id="42" name="Freihandform: Form 41">
              <a:extLst>
                <a:ext uri="{FF2B5EF4-FFF2-40B4-BE49-F238E27FC236}">
                  <a16:creationId xmlns:a16="http://schemas.microsoft.com/office/drawing/2014/main" id="{29E5BEB8-AED4-4C44-8D5E-E382486346AB}"/>
                </a:ext>
              </a:extLst>
            </p:cNvPr>
            <p:cNvSpPr/>
            <p:nvPr userDrawn="1"/>
          </p:nvSpPr>
          <p:spPr bwMode="gray">
            <a:xfrm>
              <a:off x="3935760"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3" name="Freihandform: Form 42">
              <a:extLst>
                <a:ext uri="{FF2B5EF4-FFF2-40B4-BE49-F238E27FC236}">
                  <a16:creationId xmlns:a16="http://schemas.microsoft.com/office/drawing/2014/main" id="{09769816-07D4-40B0-8A9F-187567FEC5B8}"/>
                </a:ext>
              </a:extLst>
            </p:cNvPr>
            <p:cNvSpPr/>
            <p:nvPr userDrawn="1"/>
          </p:nvSpPr>
          <p:spPr bwMode="gray">
            <a:xfrm>
              <a:off x="443981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4" name="Freihandform: Form 43">
              <a:extLst>
                <a:ext uri="{FF2B5EF4-FFF2-40B4-BE49-F238E27FC236}">
                  <a16:creationId xmlns:a16="http://schemas.microsoft.com/office/drawing/2014/main" id="{FB37291D-452C-42D4-B551-E9B05AB9BC19}"/>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5" name="Freihandform: Form 44">
              <a:extLst>
                <a:ext uri="{FF2B5EF4-FFF2-40B4-BE49-F238E27FC236}">
                  <a16:creationId xmlns:a16="http://schemas.microsoft.com/office/drawing/2014/main" id="{C7C781A6-1FCE-46D1-BCFF-E71E808F485E}"/>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6" name="Freihandform: Form 45">
              <a:extLst>
                <a:ext uri="{FF2B5EF4-FFF2-40B4-BE49-F238E27FC236}">
                  <a16:creationId xmlns:a16="http://schemas.microsoft.com/office/drawing/2014/main" id="{94173930-B04F-4176-ABA9-3763F44F5A05}"/>
                </a:ext>
              </a:extLst>
            </p:cNvPr>
            <p:cNvSpPr/>
            <p:nvPr userDrawn="1"/>
          </p:nvSpPr>
          <p:spPr bwMode="gray">
            <a:xfrm>
              <a:off x="775218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7" name="Freihandform: Form 46">
              <a:extLst>
                <a:ext uri="{FF2B5EF4-FFF2-40B4-BE49-F238E27FC236}">
                  <a16:creationId xmlns:a16="http://schemas.microsoft.com/office/drawing/2014/main" id="{97E7A481-91F7-4AAA-B734-58CFE257248D}"/>
                </a:ext>
              </a:extLst>
            </p:cNvPr>
            <p:cNvSpPr/>
            <p:nvPr userDrawn="1"/>
          </p:nvSpPr>
          <p:spPr bwMode="gray">
            <a:xfrm>
              <a:off x="8256240"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3" name="Fußzeilenplatzhalter 2">
            <a:extLst>
              <a:ext uri="{FF2B5EF4-FFF2-40B4-BE49-F238E27FC236}">
                <a16:creationId xmlns:a16="http://schemas.microsoft.com/office/drawing/2014/main" id="{C46DAF27-8FB1-4599-8C73-1A9DD2B7F06A}"/>
              </a:ext>
            </a:extLst>
          </p:cNvPr>
          <p:cNvSpPr>
            <a:spLocks noGrp="1"/>
          </p:cNvSpPr>
          <p:nvPr>
            <p:ph type="ftr" sz="quarter" idx="22"/>
          </p:nvPr>
        </p:nvSpPr>
        <p:spPr bwMode="gray"/>
        <p:txBody>
          <a:bodyPr/>
          <a:lstStyle/>
          <a:p>
            <a:r>
              <a:rPr lang="en-US"/>
              <a:t>Footnote: Please insert appropriate company</a:t>
            </a:r>
            <a:endParaRPr lang="de-DE" dirty="0"/>
          </a:p>
        </p:txBody>
      </p:sp>
    </p:spTree>
    <p:extLst>
      <p:ext uri="{BB962C8B-B14F-4D97-AF65-F5344CB8AC3E}">
        <p14:creationId xmlns:p14="http://schemas.microsoft.com/office/powerpoint/2010/main" val="3364485576"/>
      </p:ext>
    </p:extLst>
  </p:cSld>
  <p:clrMapOvr>
    <a:masterClrMapping/>
  </p:clrMapOvr>
  <p:extLst>
    <p:ext uri="{DCECCB84-F9BA-43D5-87BE-67443E8EF086}">
      <p15:sldGuideLst xmlns:p15="http://schemas.microsoft.com/office/powerpoint/2012/main">
        <p15:guide id="3" pos="393">
          <p15:clr>
            <a:srgbClr val="F26B43"/>
          </p15:clr>
        </p15:guide>
        <p15:guide id="4" pos="7287">
          <p15:clr>
            <a:srgbClr val="F26B43"/>
          </p15:clr>
        </p15:guide>
        <p15:guide id="5" orient="horz" pos="1117">
          <p15:clr>
            <a:srgbClr val="F26B43"/>
          </p15:clr>
        </p15:guide>
        <p15:guide id="6" orient="horz" pos="3974">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lvl1pPr>
          </a:lstStyle>
          <a:p>
            <a:r>
              <a:rPr lang="en-US" noProof="0" dirty="0"/>
              <a:t>Click to edit Master title style</a:t>
            </a:r>
          </a:p>
        </p:txBody>
      </p:sp>
      <p:sp>
        <p:nvSpPr>
          <p:cNvPr id="5" name="Foliennummernplatzhalter 4"/>
          <p:cNvSpPr>
            <a:spLocks noGrp="1"/>
          </p:cNvSpPr>
          <p:nvPr>
            <p:ph type="sldNum" sz="quarter" idx="12"/>
          </p:nvPr>
        </p:nvSpPr>
        <p:spPr bwMode="gray"/>
        <p:txBody>
          <a:bodyPr/>
          <a:lstStyle/>
          <a:p>
            <a:fld id="{CE82B8A1-0CCE-4815-9668-383D7DE7D8B4}" type="slidenum">
              <a:rPr lang="en-US" noProof="0" smtClean="0"/>
              <a:t>‹Nº›</a:t>
            </a:fld>
            <a:endParaRPr lang="en-US" noProof="0" dirty="0"/>
          </a:p>
        </p:txBody>
      </p:sp>
      <p:grpSp>
        <p:nvGrpSpPr>
          <p:cNvPr id="11" name="Gruppieren 10">
            <a:extLst>
              <a:ext uri="{FF2B5EF4-FFF2-40B4-BE49-F238E27FC236}">
                <a16:creationId xmlns:a16="http://schemas.microsoft.com/office/drawing/2014/main" id="{C21ADAF5-13FD-4D24-A2FD-BFA72EDF02E2}"/>
              </a:ext>
            </a:extLst>
          </p:cNvPr>
          <p:cNvGrpSpPr/>
          <p:nvPr userDrawn="1"/>
        </p:nvGrpSpPr>
        <p:grpSpPr bwMode="gray">
          <a:xfrm>
            <a:off x="3071664" y="-207392"/>
            <a:ext cx="6048672" cy="108000"/>
            <a:chOff x="3071664" y="-207392"/>
            <a:chExt cx="6048672" cy="108000"/>
          </a:xfrm>
        </p:grpSpPr>
        <p:sp>
          <p:nvSpPr>
            <p:cNvPr id="12" name="Freihandform: Form 11">
              <a:extLst>
                <a:ext uri="{FF2B5EF4-FFF2-40B4-BE49-F238E27FC236}">
                  <a16:creationId xmlns:a16="http://schemas.microsoft.com/office/drawing/2014/main" id="{7B36B0FD-0450-48C1-BC78-FD308EA2A709}"/>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Freihandform: Form 19">
              <a:extLst>
                <a:ext uri="{FF2B5EF4-FFF2-40B4-BE49-F238E27FC236}">
                  <a16:creationId xmlns:a16="http://schemas.microsoft.com/office/drawing/2014/main" id="{6BE60C3C-C29D-445E-A4E2-0FA2591AECFE}"/>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Freihandform: Form 20">
              <a:extLst>
                <a:ext uri="{FF2B5EF4-FFF2-40B4-BE49-F238E27FC236}">
                  <a16:creationId xmlns:a16="http://schemas.microsoft.com/office/drawing/2014/main" id="{C39A7C93-DDF1-44F6-8CFE-79A5B8BF6E99}"/>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A0BDDA70-C1B1-4117-862D-0B0279CD3D6F}"/>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3" name="Freihandform: Form 22">
              <a:extLst>
                <a:ext uri="{FF2B5EF4-FFF2-40B4-BE49-F238E27FC236}">
                  <a16:creationId xmlns:a16="http://schemas.microsoft.com/office/drawing/2014/main" id="{9F786F30-57D0-4D56-A597-1DBB1B5974A7}"/>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4" name="Freihandform: Form 23">
              <a:extLst>
                <a:ext uri="{FF2B5EF4-FFF2-40B4-BE49-F238E27FC236}">
                  <a16:creationId xmlns:a16="http://schemas.microsoft.com/office/drawing/2014/main" id="{43CA35FA-8636-4624-BC1D-8A6FA4E17B69}"/>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3" name="Fußzeilenplatzhalter 2">
            <a:extLst>
              <a:ext uri="{FF2B5EF4-FFF2-40B4-BE49-F238E27FC236}">
                <a16:creationId xmlns:a16="http://schemas.microsoft.com/office/drawing/2014/main" id="{EAF01356-6638-4E78-A63A-F0393F232B91}"/>
              </a:ext>
            </a:extLst>
          </p:cNvPr>
          <p:cNvSpPr>
            <a:spLocks noGrp="1"/>
          </p:cNvSpPr>
          <p:nvPr>
            <p:ph type="ftr" sz="quarter" idx="13"/>
          </p:nvPr>
        </p:nvSpPr>
        <p:spPr bwMode="gray"/>
        <p:txBody>
          <a:bodyPr/>
          <a:lstStyle/>
          <a:p>
            <a:r>
              <a:rPr lang="en-US"/>
              <a:t>Footnote: Please insert appropriate company</a:t>
            </a:r>
            <a:endParaRPr lang="de-DE" dirty="0"/>
          </a:p>
        </p:txBody>
      </p:sp>
    </p:spTree>
    <p:extLst>
      <p:ext uri="{BB962C8B-B14F-4D97-AF65-F5344CB8AC3E}">
        <p14:creationId xmlns:p14="http://schemas.microsoft.com/office/powerpoint/2010/main" val="1096183775"/>
      </p:ext>
    </p:extLst>
  </p:cSld>
  <p:clrMapOvr>
    <a:masterClrMapping/>
  </p:clrMapOvr>
  <p:extLst>
    <p:ext uri="{DCECCB84-F9BA-43D5-87BE-67443E8EF086}">
      <p15:sldGuideLst xmlns:p15="http://schemas.microsoft.com/office/powerpoint/2012/main">
        <p15:guide id="1" pos="393" userDrawn="1">
          <p15:clr>
            <a:srgbClr val="F26B43"/>
          </p15:clr>
        </p15:guide>
        <p15:guide id="2" pos="7287" userDrawn="1">
          <p15:clr>
            <a:srgbClr val="F26B43"/>
          </p15:clr>
        </p15:guide>
        <p15:guide id="3" orient="horz" pos="3974" userDrawn="1">
          <p15:clr>
            <a:srgbClr val="F26B43"/>
          </p15:clr>
        </p15:guide>
        <p15:guide id="4" orient="horz" pos="1117"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and Content empty">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bwMode="gray"/>
        <p:txBody>
          <a:bodyPr/>
          <a:lstStyle>
            <a:lvl1pPr>
              <a:defRPr>
                <a:solidFill>
                  <a:schemeClr val="tx1"/>
                </a:solidFill>
              </a:defRPr>
            </a:lvl1pPr>
          </a:lstStyle>
          <a:p>
            <a:fld id="{CE82B8A1-0CCE-4815-9668-383D7DE7D8B4}" type="slidenum">
              <a:rPr lang="en-US" noProof="0" smtClean="0"/>
              <a:pPr/>
              <a:t>‹Nº›</a:t>
            </a:fld>
            <a:endParaRPr lang="en-US" noProof="0" dirty="0"/>
          </a:p>
        </p:txBody>
      </p:sp>
      <p:sp>
        <p:nvSpPr>
          <p:cNvPr id="3" name="Titel 2">
            <a:extLst>
              <a:ext uri="{FF2B5EF4-FFF2-40B4-BE49-F238E27FC236}">
                <a16:creationId xmlns:a16="http://schemas.microsoft.com/office/drawing/2014/main" id="{7D556D57-7CFD-4E88-98D7-0C6CE62FF5C7}"/>
              </a:ext>
            </a:extLst>
          </p:cNvPr>
          <p:cNvSpPr>
            <a:spLocks noGrp="1"/>
          </p:cNvSpPr>
          <p:nvPr>
            <p:ph type="title" hasCustomPrompt="1"/>
          </p:nvPr>
        </p:nvSpPr>
        <p:spPr bwMode="gray">
          <a:xfrm>
            <a:off x="623393" y="1340768"/>
            <a:ext cx="4320479" cy="1080157"/>
          </a:xfrm>
        </p:spPr>
        <p:txBody>
          <a:bodyPr anchor="b" anchorCtr="0"/>
          <a:lstStyle>
            <a:lvl1pPr>
              <a:defRPr/>
            </a:lvl1pPr>
          </a:lstStyle>
          <a:p>
            <a:r>
              <a:rPr lang="en-US" noProof="0" dirty="0"/>
              <a:t>Click to edit Master title style</a:t>
            </a:r>
          </a:p>
        </p:txBody>
      </p:sp>
      <p:sp>
        <p:nvSpPr>
          <p:cNvPr id="16" name="Textplatzhalter 15">
            <a:extLst>
              <a:ext uri="{FF2B5EF4-FFF2-40B4-BE49-F238E27FC236}">
                <a16:creationId xmlns:a16="http://schemas.microsoft.com/office/drawing/2014/main" id="{2E00D667-49A1-47E5-9412-6CD7271FA83E}"/>
              </a:ext>
            </a:extLst>
          </p:cNvPr>
          <p:cNvSpPr>
            <a:spLocks noGrp="1"/>
          </p:cNvSpPr>
          <p:nvPr>
            <p:ph type="body" sz="quarter" idx="15" hasCustomPrompt="1"/>
          </p:nvPr>
        </p:nvSpPr>
        <p:spPr bwMode="gray">
          <a:xfrm>
            <a:off x="623392" y="2565400"/>
            <a:ext cx="2880000" cy="3527425"/>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grpSp>
        <p:nvGrpSpPr>
          <p:cNvPr id="15" name="Gruppieren 14">
            <a:extLst>
              <a:ext uri="{FF2B5EF4-FFF2-40B4-BE49-F238E27FC236}">
                <a16:creationId xmlns:a16="http://schemas.microsoft.com/office/drawing/2014/main" id="{100CDE95-65CC-4CAE-A227-A249CC2E29C7}"/>
              </a:ext>
            </a:extLst>
          </p:cNvPr>
          <p:cNvGrpSpPr/>
          <p:nvPr userDrawn="1"/>
        </p:nvGrpSpPr>
        <p:grpSpPr bwMode="gray">
          <a:xfrm>
            <a:off x="3071664" y="-207392"/>
            <a:ext cx="6048672" cy="108000"/>
            <a:chOff x="3071664" y="-207392"/>
            <a:chExt cx="6048672" cy="108000"/>
          </a:xfrm>
        </p:grpSpPr>
        <p:sp>
          <p:nvSpPr>
            <p:cNvPr id="17" name="Freihandform: Form 16">
              <a:extLst>
                <a:ext uri="{FF2B5EF4-FFF2-40B4-BE49-F238E27FC236}">
                  <a16:creationId xmlns:a16="http://schemas.microsoft.com/office/drawing/2014/main" id="{DDAC6E77-6CB7-4CF4-A2CF-7A7E1B6516FB}"/>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 name="Freihandform: Form 17">
              <a:extLst>
                <a:ext uri="{FF2B5EF4-FFF2-40B4-BE49-F238E27FC236}">
                  <a16:creationId xmlns:a16="http://schemas.microsoft.com/office/drawing/2014/main" id="{0AE67009-D54E-43FD-B334-ABD2DFF951ED}"/>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 name="Freihandform: Form 18">
              <a:extLst>
                <a:ext uri="{FF2B5EF4-FFF2-40B4-BE49-F238E27FC236}">
                  <a16:creationId xmlns:a16="http://schemas.microsoft.com/office/drawing/2014/main" id="{B4F83B98-51B6-4A2B-8527-4C12E956A8EF}"/>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Freihandform: Form 19">
              <a:extLst>
                <a:ext uri="{FF2B5EF4-FFF2-40B4-BE49-F238E27FC236}">
                  <a16:creationId xmlns:a16="http://schemas.microsoft.com/office/drawing/2014/main" id="{00F888B8-9257-43AE-87BB-87F3DF4373D2}"/>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Freihandform: Form 20">
              <a:extLst>
                <a:ext uri="{FF2B5EF4-FFF2-40B4-BE49-F238E27FC236}">
                  <a16:creationId xmlns:a16="http://schemas.microsoft.com/office/drawing/2014/main" id="{790AEBF1-847E-44F1-89D6-2798AAB3CC1F}"/>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4CBC736A-D63C-436B-A733-EB6B6ACB83AA}"/>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2" name="Fußzeilenplatzhalter 1">
            <a:extLst>
              <a:ext uri="{FF2B5EF4-FFF2-40B4-BE49-F238E27FC236}">
                <a16:creationId xmlns:a16="http://schemas.microsoft.com/office/drawing/2014/main" id="{A94107FB-C044-4754-90B4-7EA107E1886D}"/>
              </a:ext>
            </a:extLst>
          </p:cNvPr>
          <p:cNvSpPr>
            <a:spLocks noGrp="1"/>
          </p:cNvSpPr>
          <p:nvPr>
            <p:ph type="ftr" sz="quarter" idx="16"/>
          </p:nvPr>
        </p:nvSpPr>
        <p:spPr bwMode="gray"/>
        <p:txBody>
          <a:bodyPr/>
          <a:lstStyle/>
          <a:p>
            <a:r>
              <a:rPr lang="en-US"/>
              <a:t>Footnote: Please insert appropriate company</a:t>
            </a:r>
            <a:endParaRPr lang="de-DE" dirty="0"/>
          </a:p>
        </p:txBody>
      </p:sp>
    </p:spTree>
    <p:extLst>
      <p:ext uri="{BB962C8B-B14F-4D97-AF65-F5344CB8AC3E}">
        <p14:creationId xmlns:p14="http://schemas.microsoft.com/office/powerpoint/2010/main" val="1509601993"/>
      </p:ext>
    </p:extLst>
  </p:cSld>
  <p:clrMapOvr>
    <a:masterClrMapping/>
  </p:clrMapOvr>
  <p:extLst>
    <p:ext uri="{DCECCB84-F9BA-43D5-87BE-67443E8EF086}">
      <p15:sldGuideLst xmlns:p15="http://schemas.microsoft.com/office/powerpoint/2012/main">
        <p15:guide id="1" pos="121">
          <p15:clr>
            <a:srgbClr val="FBAE40"/>
          </p15:clr>
        </p15:guide>
        <p15:guide id="2" pos="7559">
          <p15:clr>
            <a:srgbClr val="FBAE40"/>
          </p15:clr>
        </p15:guide>
        <p15:guide id="3" orient="horz" pos="119">
          <p15:clr>
            <a:srgbClr val="FBAE40"/>
          </p15:clr>
        </p15:guide>
        <p15:guide id="4" orient="horz" pos="420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ey Facts">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623394" y="548792"/>
            <a:ext cx="5328426" cy="864000"/>
          </a:xfrm>
        </p:spPr>
        <p:txBody>
          <a:bodyPr/>
          <a:lstStyle>
            <a:lvl1pPr>
              <a:defRPr/>
            </a:lvl1pPr>
          </a:lstStyle>
          <a:p>
            <a:r>
              <a:rPr lang="en-US" noProof="0" dirty="0"/>
              <a:t>Click to edit Master title style</a:t>
            </a:r>
          </a:p>
        </p:txBody>
      </p:sp>
      <p:sp>
        <p:nvSpPr>
          <p:cNvPr id="7" name="Foliennummernplatzhalter 6"/>
          <p:cNvSpPr>
            <a:spLocks noGrp="1"/>
          </p:cNvSpPr>
          <p:nvPr>
            <p:ph type="sldNum" sz="quarter" idx="12"/>
          </p:nvPr>
        </p:nvSpPr>
        <p:spPr bwMode="gray"/>
        <p:txBody>
          <a:bodyPr/>
          <a:lstStyle/>
          <a:p>
            <a:fld id="{CE82B8A1-0CCE-4815-9668-383D7DE7D8B4}" type="slidenum">
              <a:rPr lang="en-US" noProof="0" smtClean="0"/>
              <a:t>‹Nº›</a:t>
            </a:fld>
            <a:endParaRPr lang="en-US" noProof="0" dirty="0"/>
          </a:p>
        </p:txBody>
      </p:sp>
      <p:sp>
        <p:nvSpPr>
          <p:cNvPr id="17" name="Bildplatzhalter 3">
            <a:extLst>
              <a:ext uri="{FF2B5EF4-FFF2-40B4-BE49-F238E27FC236}">
                <a16:creationId xmlns:a16="http://schemas.microsoft.com/office/drawing/2014/main" id="{AA65DD36-1235-48FF-B371-443DC70CA809}"/>
              </a:ext>
            </a:extLst>
          </p:cNvPr>
          <p:cNvSpPr>
            <a:spLocks noGrp="1"/>
          </p:cNvSpPr>
          <p:nvPr>
            <p:ph type="pic" sz="quarter" idx="14" hasCustomPrompt="1"/>
          </p:nvPr>
        </p:nvSpPr>
        <p:spPr bwMode="gray">
          <a:xfrm>
            <a:off x="6168008" y="188913"/>
            <a:ext cx="5832000" cy="3168079"/>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21" name="Bildplatzhalter 3">
            <a:extLst>
              <a:ext uri="{FF2B5EF4-FFF2-40B4-BE49-F238E27FC236}">
                <a16:creationId xmlns:a16="http://schemas.microsoft.com/office/drawing/2014/main" id="{BCA48E5C-D0F8-4C4F-A05A-1F7EF3CE0B87}"/>
              </a:ext>
            </a:extLst>
          </p:cNvPr>
          <p:cNvSpPr>
            <a:spLocks noGrp="1"/>
          </p:cNvSpPr>
          <p:nvPr>
            <p:ph type="pic" sz="quarter" idx="18" hasCustomPrompt="1"/>
          </p:nvPr>
        </p:nvSpPr>
        <p:spPr bwMode="gray">
          <a:xfrm>
            <a:off x="3052595" y="1773238"/>
            <a:ext cx="3024000" cy="1583753"/>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20" name="Textplatzhalter 3">
            <a:extLst>
              <a:ext uri="{FF2B5EF4-FFF2-40B4-BE49-F238E27FC236}">
                <a16:creationId xmlns:a16="http://schemas.microsoft.com/office/drawing/2014/main" id="{1CFF7B0D-B803-4EDA-A1D9-9A633090372C}"/>
              </a:ext>
            </a:extLst>
          </p:cNvPr>
          <p:cNvSpPr>
            <a:spLocks noGrp="1"/>
          </p:cNvSpPr>
          <p:nvPr>
            <p:ph type="body" sz="quarter" idx="17" hasCustomPrompt="1"/>
          </p:nvPr>
        </p:nvSpPr>
        <p:spPr bwMode="gray">
          <a:xfrm>
            <a:off x="624099" y="3645152"/>
            <a:ext cx="2448000" cy="1008000"/>
          </a:xfrm>
        </p:spPr>
        <p:txBody>
          <a:bodyPr anchor="b"/>
          <a:lstStyle>
            <a:lvl1pPr marL="0" indent="0" algn="ctr">
              <a:buFont typeface="Arial" panose="020B0604020202020204" pitchFamily="34" charset="0"/>
              <a:buNone/>
              <a:defRPr sz="6000">
                <a:solidFill>
                  <a:schemeClr val="accent1"/>
                </a:solidFill>
                <a:latin typeface="+mj-lt"/>
              </a:defRPr>
            </a:lvl1pPr>
            <a:lvl2pPr marL="0" indent="0" algn="ctr">
              <a:buFont typeface="Arial" panose="020B0604020202020204" pitchFamily="34" charset="0"/>
              <a:buNone/>
              <a:defRPr sz="6000">
                <a:solidFill>
                  <a:schemeClr val="accent1"/>
                </a:solidFill>
                <a:latin typeface="+mj-lt"/>
              </a:defRPr>
            </a:lvl2pPr>
            <a:lvl3pPr marL="0" indent="0" algn="ctr">
              <a:buNone/>
              <a:defRPr sz="6000">
                <a:solidFill>
                  <a:schemeClr val="accent1"/>
                </a:solidFill>
                <a:latin typeface="+mj-lt"/>
              </a:defRPr>
            </a:lvl3pPr>
            <a:lvl4pPr marL="0" indent="0" algn="ctr">
              <a:buNone/>
              <a:defRPr sz="6000">
                <a:solidFill>
                  <a:schemeClr val="accent1"/>
                </a:solidFill>
                <a:latin typeface="+mj-lt"/>
              </a:defRPr>
            </a:lvl4pPr>
            <a:lvl5pPr marL="0" indent="0" algn="ctr">
              <a:buNone/>
              <a:defRPr sz="6000">
                <a:solidFill>
                  <a:schemeClr val="accent1"/>
                </a:solidFill>
                <a:latin typeface="+mj-lt"/>
              </a:defRPr>
            </a:lvl5pPr>
            <a:lvl6pPr marL="0" indent="0" algn="ctr">
              <a:buNone/>
              <a:defRPr sz="6000">
                <a:solidFill>
                  <a:schemeClr val="accent1"/>
                </a:solidFill>
                <a:latin typeface="+mj-lt"/>
              </a:defRPr>
            </a:lvl6pPr>
            <a:lvl7pPr marL="0" indent="0" algn="ctr">
              <a:buNone/>
              <a:defRPr sz="6000">
                <a:solidFill>
                  <a:schemeClr val="accent1"/>
                </a:solidFill>
                <a:latin typeface="+mj-lt"/>
              </a:defRPr>
            </a:lvl7pPr>
            <a:lvl8pPr marL="0" indent="0" algn="ctr">
              <a:buNone/>
              <a:defRPr sz="6000">
                <a:solidFill>
                  <a:schemeClr val="accent1"/>
                </a:solidFill>
                <a:latin typeface="+mj-lt"/>
              </a:defRPr>
            </a:lvl8pPr>
            <a:lvl9pPr marL="0" indent="0" algn="ctr">
              <a:buNone/>
              <a:defRPr sz="6000">
                <a:solidFill>
                  <a:schemeClr val="accent1"/>
                </a:solidFill>
                <a:latin typeface="+mj-lt"/>
              </a:defRPr>
            </a:lvl9pPr>
          </a:lstStyle>
          <a:p>
            <a:pPr lvl="0"/>
            <a:r>
              <a:rPr lang="en-US" noProof="0" dirty="0"/>
              <a:t>15,000</a:t>
            </a:r>
          </a:p>
        </p:txBody>
      </p:sp>
      <p:sp>
        <p:nvSpPr>
          <p:cNvPr id="6" name="Textplatzhalter 5">
            <a:extLst>
              <a:ext uri="{FF2B5EF4-FFF2-40B4-BE49-F238E27FC236}">
                <a16:creationId xmlns:a16="http://schemas.microsoft.com/office/drawing/2014/main" id="{30B71BFF-0074-4A8E-A01B-3B76CEEA3F52}"/>
              </a:ext>
            </a:extLst>
          </p:cNvPr>
          <p:cNvSpPr>
            <a:spLocks noGrp="1"/>
          </p:cNvSpPr>
          <p:nvPr>
            <p:ph type="body" sz="quarter" idx="22" hasCustomPrompt="1"/>
          </p:nvPr>
        </p:nvSpPr>
        <p:spPr bwMode="gray">
          <a:xfrm>
            <a:off x="624099" y="4867275"/>
            <a:ext cx="2448000" cy="1441450"/>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9" name="Textplatzhalter 5">
            <a:extLst>
              <a:ext uri="{FF2B5EF4-FFF2-40B4-BE49-F238E27FC236}">
                <a16:creationId xmlns:a16="http://schemas.microsoft.com/office/drawing/2014/main" id="{1E336BD0-7CC1-4293-B449-B4E9D886256E}"/>
              </a:ext>
            </a:extLst>
          </p:cNvPr>
          <p:cNvSpPr>
            <a:spLocks noGrp="1"/>
          </p:cNvSpPr>
          <p:nvPr>
            <p:ph type="body" sz="quarter" idx="23" hasCustomPrompt="1"/>
          </p:nvPr>
        </p:nvSpPr>
        <p:spPr bwMode="gray">
          <a:xfrm>
            <a:off x="3503976" y="4867870"/>
            <a:ext cx="2376000" cy="1441450"/>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0" name="Textplatzhalter 5">
            <a:extLst>
              <a:ext uri="{FF2B5EF4-FFF2-40B4-BE49-F238E27FC236}">
                <a16:creationId xmlns:a16="http://schemas.microsoft.com/office/drawing/2014/main" id="{518DB0B2-BF65-48B8-9238-7DC0B235FDF8}"/>
              </a:ext>
            </a:extLst>
          </p:cNvPr>
          <p:cNvSpPr>
            <a:spLocks noGrp="1"/>
          </p:cNvSpPr>
          <p:nvPr>
            <p:ph type="body" sz="quarter" idx="24" hasCustomPrompt="1"/>
          </p:nvPr>
        </p:nvSpPr>
        <p:spPr bwMode="gray">
          <a:xfrm>
            <a:off x="6312288" y="4867870"/>
            <a:ext cx="2376000" cy="1441450"/>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1" name="Textplatzhalter 5">
            <a:extLst>
              <a:ext uri="{FF2B5EF4-FFF2-40B4-BE49-F238E27FC236}">
                <a16:creationId xmlns:a16="http://schemas.microsoft.com/office/drawing/2014/main" id="{9F3FAE60-ACF8-4A07-A6D3-740BBB4378D6}"/>
              </a:ext>
            </a:extLst>
          </p:cNvPr>
          <p:cNvSpPr>
            <a:spLocks noGrp="1"/>
          </p:cNvSpPr>
          <p:nvPr>
            <p:ph type="body" sz="quarter" idx="25" hasCustomPrompt="1"/>
          </p:nvPr>
        </p:nvSpPr>
        <p:spPr bwMode="gray">
          <a:xfrm>
            <a:off x="9120608" y="4872930"/>
            <a:ext cx="2448000" cy="1441450"/>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7" name="Textplatzhalter 36">
            <a:extLst>
              <a:ext uri="{FF2B5EF4-FFF2-40B4-BE49-F238E27FC236}">
                <a16:creationId xmlns:a16="http://schemas.microsoft.com/office/drawing/2014/main" id="{4981CC81-1C74-44A2-A8D5-40285B01F017}"/>
              </a:ext>
            </a:extLst>
          </p:cNvPr>
          <p:cNvSpPr>
            <a:spLocks noGrp="1"/>
          </p:cNvSpPr>
          <p:nvPr>
            <p:ph type="body" sz="quarter" idx="26" hasCustomPrompt="1"/>
          </p:nvPr>
        </p:nvSpPr>
        <p:spPr bwMode="gray">
          <a:xfrm>
            <a:off x="1452018" y="4635136"/>
            <a:ext cx="792162" cy="18000"/>
          </a:xfrm>
          <a:solidFill>
            <a:schemeClr val="accent1"/>
          </a:solidFill>
        </p:spPr>
        <p:txBody>
          <a:bodyPr/>
          <a:lstStyle>
            <a:lvl1pPr marL="0" indent="0" algn="ctr">
              <a:buFont typeface="Arial" panose="020B0604020202020204" pitchFamily="34" charset="0"/>
              <a:buNone/>
              <a:defRPr sz="300">
                <a:solidFill>
                  <a:schemeClr val="accent5">
                    <a:alpha val="0"/>
                  </a:schemeClr>
                </a:solidFill>
                <a:latin typeface="+mn-lt"/>
              </a:defRPr>
            </a:lvl1pPr>
            <a:lvl2pPr marL="0" indent="0" algn="ctr">
              <a:buFont typeface="Arial" panose="020B0604020202020204" pitchFamily="34" charset="0"/>
              <a:buNone/>
              <a:defRPr sz="300">
                <a:solidFill>
                  <a:schemeClr val="accent5">
                    <a:alpha val="0"/>
                  </a:schemeClr>
                </a:solidFill>
                <a:latin typeface="+mn-lt"/>
              </a:defRPr>
            </a:lvl2pPr>
            <a:lvl3pPr marL="0" indent="0" algn="ctr">
              <a:buNone/>
              <a:defRPr sz="300">
                <a:solidFill>
                  <a:schemeClr val="accent5">
                    <a:alpha val="0"/>
                  </a:schemeClr>
                </a:solidFill>
                <a:latin typeface="+mn-lt"/>
              </a:defRPr>
            </a:lvl3pPr>
            <a:lvl4pPr marL="0" indent="0" algn="ctr">
              <a:buNone/>
              <a:defRPr sz="300">
                <a:solidFill>
                  <a:schemeClr val="accent5">
                    <a:alpha val="0"/>
                  </a:schemeClr>
                </a:solidFill>
                <a:latin typeface="+mn-lt"/>
              </a:defRPr>
            </a:lvl4pPr>
            <a:lvl5pPr marL="0" indent="0" algn="ctr">
              <a:buNone/>
              <a:defRPr sz="300">
                <a:solidFill>
                  <a:schemeClr val="accent5">
                    <a:alpha val="0"/>
                  </a:schemeClr>
                </a:solidFill>
                <a:latin typeface="+mn-lt"/>
              </a:defRPr>
            </a:lvl5pPr>
            <a:lvl6pPr marL="0" indent="0" algn="ctr">
              <a:buNone/>
              <a:defRPr sz="300">
                <a:solidFill>
                  <a:schemeClr val="accent5">
                    <a:alpha val="0"/>
                  </a:schemeClr>
                </a:solidFill>
                <a:latin typeface="+mn-lt"/>
              </a:defRPr>
            </a:lvl6pPr>
            <a:lvl7pPr marL="0" indent="0" algn="ctr">
              <a:buNone/>
              <a:defRPr sz="300">
                <a:solidFill>
                  <a:schemeClr val="accent5">
                    <a:alpha val="0"/>
                  </a:schemeClr>
                </a:solidFill>
                <a:latin typeface="+mn-lt"/>
              </a:defRPr>
            </a:lvl7pPr>
            <a:lvl8pPr marL="0" indent="0" algn="ctr">
              <a:buNone/>
              <a:defRPr sz="300">
                <a:solidFill>
                  <a:schemeClr val="accent5">
                    <a:alpha val="0"/>
                  </a:schemeClr>
                </a:solidFill>
                <a:latin typeface="+mn-lt"/>
              </a:defRPr>
            </a:lvl8pPr>
            <a:lvl9pPr marL="0" indent="0" algn="ctr">
              <a:buNone/>
              <a:defRPr sz="300">
                <a:solidFill>
                  <a:schemeClr val="accent5">
                    <a:alpha val="0"/>
                  </a:schemeClr>
                </a:solidFill>
                <a:latin typeface="+mn-lt"/>
              </a:defRPr>
            </a:lvl9pPr>
          </a:lstStyle>
          <a:p>
            <a:pPr lvl="0"/>
            <a:r>
              <a:rPr lang="en-US" noProof="0" dirty="0"/>
              <a:t> </a:t>
            </a:r>
          </a:p>
        </p:txBody>
      </p:sp>
      <p:sp>
        <p:nvSpPr>
          <p:cNvPr id="38" name="Textplatzhalter 36">
            <a:extLst>
              <a:ext uri="{FF2B5EF4-FFF2-40B4-BE49-F238E27FC236}">
                <a16:creationId xmlns:a16="http://schemas.microsoft.com/office/drawing/2014/main" id="{5945EA28-8542-4035-8018-4EEC46034A86}"/>
              </a:ext>
            </a:extLst>
          </p:cNvPr>
          <p:cNvSpPr>
            <a:spLocks noGrp="1"/>
          </p:cNvSpPr>
          <p:nvPr>
            <p:ph type="body" sz="quarter" idx="27" hasCustomPrompt="1"/>
          </p:nvPr>
        </p:nvSpPr>
        <p:spPr bwMode="gray">
          <a:xfrm>
            <a:off x="4295895" y="4633846"/>
            <a:ext cx="792162" cy="18000"/>
          </a:xfrm>
          <a:solidFill>
            <a:schemeClr val="accent1"/>
          </a:solidFill>
        </p:spPr>
        <p:txBody>
          <a:bodyPr/>
          <a:lstStyle>
            <a:lvl1pPr marL="0" indent="0" algn="ctr">
              <a:buFont typeface="Arial" panose="020B0604020202020204" pitchFamily="34" charset="0"/>
              <a:buNone/>
              <a:defRPr sz="300">
                <a:solidFill>
                  <a:schemeClr val="accent5">
                    <a:alpha val="0"/>
                  </a:schemeClr>
                </a:solidFill>
                <a:latin typeface="+mn-lt"/>
              </a:defRPr>
            </a:lvl1pPr>
            <a:lvl2pPr marL="0" indent="0" algn="ctr">
              <a:buFont typeface="Arial" panose="020B0604020202020204" pitchFamily="34" charset="0"/>
              <a:buNone/>
              <a:defRPr sz="300">
                <a:solidFill>
                  <a:schemeClr val="accent5">
                    <a:alpha val="0"/>
                  </a:schemeClr>
                </a:solidFill>
                <a:latin typeface="+mn-lt"/>
              </a:defRPr>
            </a:lvl2pPr>
            <a:lvl3pPr marL="0" indent="0" algn="ctr">
              <a:buNone/>
              <a:defRPr sz="300">
                <a:solidFill>
                  <a:schemeClr val="accent5">
                    <a:alpha val="0"/>
                  </a:schemeClr>
                </a:solidFill>
                <a:latin typeface="+mn-lt"/>
              </a:defRPr>
            </a:lvl3pPr>
            <a:lvl4pPr marL="0" indent="0" algn="ctr">
              <a:buNone/>
              <a:defRPr sz="300">
                <a:solidFill>
                  <a:schemeClr val="accent5">
                    <a:alpha val="0"/>
                  </a:schemeClr>
                </a:solidFill>
                <a:latin typeface="+mn-lt"/>
              </a:defRPr>
            </a:lvl4pPr>
            <a:lvl5pPr marL="0" indent="0" algn="ctr">
              <a:buNone/>
              <a:defRPr sz="300">
                <a:solidFill>
                  <a:schemeClr val="accent5">
                    <a:alpha val="0"/>
                  </a:schemeClr>
                </a:solidFill>
                <a:latin typeface="+mn-lt"/>
              </a:defRPr>
            </a:lvl5pPr>
            <a:lvl6pPr marL="0" indent="0" algn="ctr">
              <a:buNone/>
              <a:defRPr sz="300">
                <a:solidFill>
                  <a:schemeClr val="accent5">
                    <a:alpha val="0"/>
                  </a:schemeClr>
                </a:solidFill>
                <a:latin typeface="+mn-lt"/>
              </a:defRPr>
            </a:lvl6pPr>
            <a:lvl7pPr marL="0" indent="0" algn="ctr">
              <a:buNone/>
              <a:defRPr sz="300">
                <a:solidFill>
                  <a:schemeClr val="accent5">
                    <a:alpha val="0"/>
                  </a:schemeClr>
                </a:solidFill>
                <a:latin typeface="+mn-lt"/>
              </a:defRPr>
            </a:lvl7pPr>
            <a:lvl8pPr marL="0" indent="0" algn="ctr">
              <a:buNone/>
              <a:defRPr sz="300">
                <a:solidFill>
                  <a:schemeClr val="accent5">
                    <a:alpha val="0"/>
                  </a:schemeClr>
                </a:solidFill>
                <a:latin typeface="+mn-lt"/>
              </a:defRPr>
            </a:lvl8pPr>
            <a:lvl9pPr marL="0" indent="0" algn="ctr">
              <a:buNone/>
              <a:defRPr sz="300">
                <a:solidFill>
                  <a:schemeClr val="accent5">
                    <a:alpha val="0"/>
                  </a:schemeClr>
                </a:solidFill>
                <a:latin typeface="+mn-lt"/>
              </a:defRPr>
            </a:lvl9pPr>
          </a:lstStyle>
          <a:p>
            <a:pPr lvl="0"/>
            <a:r>
              <a:rPr lang="en-US" noProof="0" dirty="0"/>
              <a:t> </a:t>
            </a:r>
          </a:p>
        </p:txBody>
      </p:sp>
      <p:sp>
        <p:nvSpPr>
          <p:cNvPr id="39" name="Textplatzhalter 36">
            <a:extLst>
              <a:ext uri="{FF2B5EF4-FFF2-40B4-BE49-F238E27FC236}">
                <a16:creationId xmlns:a16="http://schemas.microsoft.com/office/drawing/2014/main" id="{7B138BD6-E132-4660-93BD-35BF6CDA1392}"/>
              </a:ext>
            </a:extLst>
          </p:cNvPr>
          <p:cNvSpPr>
            <a:spLocks noGrp="1"/>
          </p:cNvSpPr>
          <p:nvPr>
            <p:ph type="body" sz="quarter" idx="28" hasCustomPrompt="1"/>
          </p:nvPr>
        </p:nvSpPr>
        <p:spPr bwMode="gray">
          <a:xfrm>
            <a:off x="7104207" y="4631961"/>
            <a:ext cx="792162" cy="18000"/>
          </a:xfrm>
          <a:solidFill>
            <a:schemeClr val="accent1"/>
          </a:solidFill>
        </p:spPr>
        <p:txBody>
          <a:bodyPr/>
          <a:lstStyle>
            <a:lvl1pPr marL="0" indent="0" algn="ctr">
              <a:buFont typeface="Arial" panose="020B0604020202020204" pitchFamily="34" charset="0"/>
              <a:buNone/>
              <a:defRPr sz="300">
                <a:solidFill>
                  <a:schemeClr val="accent5">
                    <a:alpha val="0"/>
                  </a:schemeClr>
                </a:solidFill>
                <a:latin typeface="+mn-lt"/>
              </a:defRPr>
            </a:lvl1pPr>
            <a:lvl2pPr marL="0" indent="0" algn="ctr">
              <a:buFont typeface="Arial" panose="020B0604020202020204" pitchFamily="34" charset="0"/>
              <a:buNone/>
              <a:defRPr sz="300">
                <a:solidFill>
                  <a:schemeClr val="accent5">
                    <a:alpha val="0"/>
                  </a:schemeClr>
                </a:solidFill>
                <a:latin typeface="+mn-lt"/>
              </a:defRPr>
            </a:lvl2pPr>
            <a:lvl3pPr marL="0" indent="0" algn="ctr">
              <a:buNone/>
              <a:defRPr sz="300">
                <a:solidFill>
                  <a:schemeClr val="accent5">
                    <a:alpha val="0"/>
                  </a:schemeClr>
                </a:solidFill>
                <a:latin typeface="+mn-lt"/>
              </a:defRPr>
            </a:lvl3pPr>
            <a:lvl4pPr marL="0" indent="0" algn="ctr">
              <a:buNone/>
              <a:defRPr sz="300">
                <a:solidFill>
                  <a:schemeClr val="accent5">
                    <a:alpha val="0"/>
                  </a:schemeClr>
                </a:solidFill>
                <a:latin typeface="+mn-lt"/>
              </a:defRPr>
            </a:lvl4pPr>
            <a:lvl5pPr marL="0" indent="0" algn="ctr">
              <a:buNone/>
              <a:defRPr sz="300">
                <a:solidFill>
                  <a:schemeClr val="accent5">
                    <a:alpha val="0"/>
                  </a:schemeClr>
                </a:solidFill>
                <a:latin typeface="+mn-lt"/>
              </a:defRPr>
            </a:lvl5pPr>
            <a:lvl6pPr marL="0" indent="0" algn="ctr">
              <a:buNone/>
              <a:defRPr sz="300">
                <a:solidFill>
                  <a:schemeClr val="accent5">
                    <a:alpha val="0"/>
                  </a:schemeClr>
                </a:solidFill>
                <a:latin typeface="+mn-lt"/>
              </a:defRPr>
            </a:lvl6pPr>
            <a:lvl7pPr marL="0" indent="0" algn="ctr">
              <a:buNone/>
              <a:defRPr sz="300">
                <a:solidFill>
                  <a:schemeClr val="accent5">
                    <a:alpha val="0"/>
                  </a:schemeClr>
                </a:solidFill>
                <a:latin typeface="+mn-lt"/>
              </a:defRPr>
            </a:lvl7pPr>
            <a:lvl8pPr marL="0" indent="0" algn="ctr">
              <a:buNone/>
              <a:defRPr sz="300">
                <a:solidFill>
                  <a:schemeClr val="accent5">
                    <a:alpha val="0"/>
                  </a:schemeClr>
                </a:solidFill>
                <a:latin typeface="+mn-lt"/>
              </a:defRPr>
            </a:lvl8pPr>
            <a:lvl9pPr marL="0" indent="0" algn="ctr">
              <a:buNone/>
              <a:defRPr sz="300">
                <a:solidFill>
                  <a:schemeClr val="accent5">
                    <a:alpha val="0"/>
                  </a:schemeClr>
                </a:solidFill>
                <a:latin typeface="+mn-lt"/>
              </a:defRPr>
            </a:lvl9pPr>
          </a:lstStyle>
          <a:p>
            <a:pPr lvl="0"/>
            <a:r>
              <a:rPr lang="en-US" noProof="0" dirty="0"/>
              <a:t> </a:t>
            </a:r>
          </a:p>
        </p:txBody>
      </p:sp>
      <p:sp>
        <p:nvSpPr>
          <p:cNvPr id="40" name="Textplatzhalter 36">
            <a:extLst>
              <a:ext uri="{FF2B5EF4-FFF2-40B4-BE49-F238E27FC236}">
                <a16:creationId xmlns:a16="http://schemas.microsoft.com/office/drawing/2014/main" id="{4A10760C-4078-4454-BEDD-78DB9F3486C5}"/>
              </a:ext>
            </a:extLst>
          </p:cNvPr>
          <p:cNvSpPr>
            <a:spLocks noGrp="1"/>
          </p:cNvSpPr>
          <p:nvPr>
            <p:ph type="body" sz="quarter" idx="29" hasCustomPrompt="1"/>
          </p:nvPr>
        </p:nvSpPr>
        <p:spPr bwMode="gray">
          <a:xfrm>
            <a:off x="9948527" y="4635136"/>
            <a:ext cx="792162" cy="18000"/>
          </a:xfrm>
          <a:solidFill>
            <a:schemeClr val="accent1"/>
          </a:solidFill>
        </p:spPr>
        <p:txBody>
          <a:bodyPr/>
          <a:lstStyle>
            <a:lvl1pPr marL="0" indent="0" algn="ctr">
              <a:buFont typeface="Arial" panose="020B0604020202020204" pitchFamily="34" charset="0"/>
              <a:buNone/>
              <a:defRPr sz="300">
                <a:solidFill>
                  <a:schemeClr val="accent5">
                    <a:alpha val="0"/>
                  </a:schemeClr>
                </a:solidFill>
                <a:latin typeface="+mn-lt"/>
              </a:defRPr>
            </a:lvl1pPr>
            <a:lvl2pPr marL="0" indent="0" algn="ctr">
              <a:buFont typeface="Arial" panose="020B0604020202020204" pitchFamily="34" charset="0"/>
              <a:buNone/>
              <a:defRPr sz="300">
                <a:solidFill>
                  <a:schemeClr val="accent5">
                    <a:alpha val="0"/>
                  </a:schemeClr>
                </a:solidFill>
                <a:latin typeface="+mn-lt"/>
              </a:defRPr>
            </a:lvl2pPr>
            <a:lvl3pPr marL="0" indent="0" algn="ctr">
              <a:buNone/>
              <a:defRPr sz="300">
                <a:solidFill>
                  <a:schemeClr val="accent5">
                    <a:alpha val="0"/>
                  </a:schemeClr>
                </a:solidFill>
                <a:latin typeface="+mn-lt"/>
              </a:defRPr>
            </a:lvl3pPr>
            <a:lvl4pPr marL="0" indent="0" algn="ctr">
              <a:buNone/>
              <a:defRPr sz="300">
                <a:solidFill>
                  <a:schemeClr val="accent5">
                    <a:alpha val="0"/>
                  </a:schemeClr>
                </a:solidFill>
                <a:latin typeface="+mn-lt"/>
              </a:defRPr>
            </a:lvl4pPr>
            <a:lvl5pPr marL="0" indent="0" algn="ctr">
              <a:buNone/>
              <a:defRPr sz="300">
                <a:solidFill>
                  <a:schemeClr val="accent5">
                    <a:alpha val="0"/>
                  </a:schemeClr>
                </a:solidFill>
                <a:latin typeface="+mn-lt"/>
              </a:defRPr>
            </a:lvl5pPr>
            <a:lvl6pPr marL="0" indent="0" algn="ctr">
              <a:buNone/>
              <a:defRPr sz="300">
                <a:solidFill>
                  <a:schemeClr val="accent5">
                    <a:alpha val="0"/>
                  </a:schemeClr>
                </a:solidFill>
                <a:latin typeface="+mn-lt"/>
              </a:defRPr>
            </a:lvl6pPr>
            <a:lvl7pPr marL="0" indent="0" algn="ctr">
              <a:buNone/>
              <a:defRPr sz="300">
                <a:solidFill>
                  <a:schemeClr val="accent5">
                    <a:alpha val="0"/>
                  </a:schemeClr>
                </a:solidFill>
                <a:latin typeface="+mn-lt"/>
              </a:defRPr>
            </a:lvl7pPr>
            <a:lvl8pPr marL="0" indent="0" algn="ctr">
              <a:buNone/>
              <a:defRPr sz="300">
                <a:solidFill>
                  <a:schemeClr val="accent5">
                    <a:alpha val="0"/>
                  </a:schemeClr>
                </a:solidFill>
                <a:latin typeface="+mn-lt"/>
              </a:defRPr>
            </a:lvl8pPr>
            <a:lvl9pPr marL="0" indent="0" algn="ctr">
              <a:buNone/>
              <a:defRPr sz="300">
                <a:solidFill>
                  <a:schemeClr val="accent5">
                    <a:alpha val="0"/>
                  </a:schemeClr>
                </a:solidFill>
                <a:latin typeface="+mn-lt"/>
              </a:defRPr>
            </a:lvl9pPr>
          </a:lstStyle>
          <a:p>
            <a:pPr lvl="0"/>
            <a:r>
              <a:rPr lang="en-US" noProof="0" dirty="0"/>
              <a:t> </a:t>
            </a:r>
          </a:p>
        </p:txBody>
      </p:sp>
      <p:sp>
        <p:nvSpPr>
          <p:cNvPr id="33" name="Textplatzhalter 3">
            <a:extLst>
              <a:ext uri="{FF2B5EF4-FFF2-40B4-BE49-F238E27FC236}">
                <a16:creationId xmlns:a16="http://schemas.microsoft.com/office/drawing/2014/main" id="{15F5356B-0391-499C-AA62-4AF921DA2883}"/>
              </a:ext>
            </a:extLst>
          </p:cNvPr>
          <p:cNvSpPr>
            <a:spLocks noGrp="1"/>
          </p:cNvSpPr>
          <p:nvPr>
            <p:ph type="body" sz="quarter" idx="30" hasCustomPrompt="1"/>
          </p:nvPr>
        </p:nvSpPr>
        <p:spPr bwMode="gray">
          <a:xfrm>
            <a:off x="3503976" y="3643734"/>
            <a:ext cx="2376000" cy="1008000"/>
          </a:xfrm>
        </p:spPr>
        <p:txBody>
          <a:bodyPr anchor="b"/>
          <a:lstStyle>
            <a:lvl1pPr marL="0" indent="0" algn="ctr">
              <a:buFont typeface="Arial" panose="020B0604020202020204" pitchFamily="34" charset="0"/>
              <a:buNone/>
              <a:defRPr sz="6000">
                <a:solidFill>
                  <a:schemeClr val="accent1"/>
                </a:solidFill>
                <a:latin typeface="+mj-lt"/>
              </a:defRPr>
            </a:lvl1pPr>
            <a:lvl2pPr marL="0" indent="0" algn="ctr">
              <a:buFont typeface="Arial" panose="020B0604020202020204" pitchFamily="34" charset="0"/>
              <a:buNone/>
              <a:defRPr sz="6000">
                <a:solidFill>
                  <a:schemeClr val="accent1"/>
                </a:solidFill>
                <a:latin typeface="+mj-lt"/>
              </a:defRPr>
            </a:lvl2pPr>
            <a:lvl3pPr marL="0" indent="0" algn="ctr">
              <a:buNone/>
              <a:defRPr sz="6000">
                <a:solidFill>
                  <a:schemeClr val="accent1"/>
                </a:solidFill>
                <a:latin typeface="+mj-lt"/>
              </a:defRPr>
            </a:lvl3pPr>
            <a:lvl4pPr marL="0" indent="0" algn="ctr">
              <a:buNone/>
              <a:defRPr sz="6000">
                <a:solidFill>
                  <a:schemeClr val="accent1"/>
                </a:solidFill>
                <a:latin typeface="+mj-lt"/>
              </a:defRPr>
            </a:lvl4pPr>
            <a:lvl5pPr marL="0" indent="0" algn="ctr">
              <a:buNone/>
              <a:defRPr sz="6000">
                <a:solidFill>
                  <a:schemeClr val="accent1"/>
                </a:solidFill>
                <a:latin typeface="+mj-lt"/>
              </a:defRPr>
            </a:lvl5pPr>
            <a:lvl6pPr marL="0" indent="0" algn="ctr">
              <a:buNone/>
              <a:defRPr sz="6000">
                <a:solidFill>
                  <a:schemeClr val="accent1"/>
                </a:solidFill>
                <a:latin typeface="+mj-lt"/>
              </a:defRPr>
            </a:lvl6pPr>
            <a:lvl7pPr marL="0" indent="0" algn="ctr">
              <a:buNone/>
              <a:defRPr sz="6000">
                <a:solidFill>
                  <a:schemeClr val="accent1"/>
                </a:solidFill>
                <a:latin typeface="+mj-lt"/>
              </a:defRPr>
            </a:lvl7pPr>
            <a:lvl8pPr marL="0" indent="0" algn="ctr">
              <a:buNone/>
              <a:defRPr sz="6000">
                <a:solidFill>
                  <a:schemeClr val="accent1"/>
                </a:solidFill>
                <a:latin typeface="+mj-lt"/>
              </a:defRPr>
            </a:lvl8pPr>
            <a:lvl9pPr marL="0" indent="0" algn="ctr">
              <a:buNone/>
              <a:defRPr sz="6000">
                <a:solidFill>
                  <a:schemeClr val="accent1"/>
                </a:solidFill>
                <a:latin typeface="+mj-lt"/>
              </a:defRPr>
            </a:lvl9pPr>
          </a:lstStyle>
          <a:p>
            <a:pPr lvl="0"/>
            <a:r>
              <a:rPr lang="en-US" noProof="0" dirty="0"/>
              <a:t>15,000</a:t>
            </a:r>
          </a:p>
        </p:txBody>
      </p:sp>
      <p:sp>
        <p:nvSpPr>
          <p:cNvPr id="34" name="Textplatzhalter 3">
            <a:extLst>
              <a:ext uri="{FF2B5EF4-FFF2-40B4-BE49-F238E27FC236}">
                <a16:creationId xmlns:a16="http://schemas.microsoft.com/office/drawing/2014/main" id="{BC5F186F-6F34-42D2-99BA-6CCB037F74CC}"/>
              </a:ext>
            </a:extLst>
          </p:cNvPr>
          <p:cNvSpPr>
            <a:spLocks noGrp="1"/>
          </p:cNvSpPr>
          <p:nvPr>
            <p:ph type="body" sz="quarter" idx="31" hasCustomPrompt="1"/>
          </p:nvPr>
        </p:nvSpPr>
        <p:spPr bwMode="gray">
          <a:xfrm>
            <a:off x="6312288" y="3641721"/>
            <a:ext cx="2376000" cy="1008000"/>
          </a:xfrm>
        </p:spPr>
        <p:txBody>
          <a:bodyPr anchor="b"/>
          <a:lstStyle>
            <a:lvl1pPr marL="0" indent="0" algn="ctr">
              <a:buFont typeface="Arial" panose="020B0604020202020204" pitchFamily="34" charset="0"/>
              <a:buNone/>
              <a:defRPr sz="6000">
                <a:solidFill>
                  <a:schemeClr val="accent1"/>
                </a:solidFill>
                <a:latin typeface="+mj-lt"/>
              </a:defRPr>
            </a:lvl1pPr>
            <a:lvl2pPr marL="0" indent="0" algn="ctr">
              <a:buFont typeface="Arial" panose="020B0604020202020204" pitchFamily="34" charset="0"/>
              <a:buNone/>
              <a:defRPr sz="6000">
                <a:solidFill>
                  <a:schemeClr val="accent1"/>
                </a:solidFill>
                <a:latin typeface="+mj-lt"/>
              </a:defRPr>
            </a:lvl2pPr>
            <a:lvl3pPr marL="0" indent="0" algn="ctr">
              <a:buNone/>
              <a:defRPr sz="6000">
                <a:solidFill>
                  <a:schemeClr val="accent1"/>
                </a:solidFill>
                <a:latin typeface="+mj-lt"/>
              </a:defRPr>
            </a:lvl3pPr>
            <a:lvl4pPr marL="0" indent="0" algn="ctr">
              <a:buNone/>
              <a:defRPr sz="6000">
                <a:solidFill>
                  <a:schemeClr val="accent1"/>
                </a:solidFill>
                <a:latin typeface="+mj-lt"/>
              </a:defRPr>
            </a:lvl4pPr>
            <a:lvl5pPr marL="0" indent="0" algn="ctr">
              <a:buNone/>
              <a:defRPr sz="6000">
                <a:solidFill>
                  <a:schemeClr val="accent1"/>
                </a:solidFill>
                <a:latin typeface="+mj-lt"/>
              </a:defRPr>
            </a:lvl5pPr>
            <a:lvl6pPr marL="0" indent="0" algn="ctr">
              <a:buNone/>
              <a:defRPr sz="6000">
                <a:solidFill>
                  <a:schemeClr val="accent1"/>
                </a:solidFill>
                <a:latin typeface="+mj-lt"/>
              </a:defRPr>
            </a:lvl6pPr>
            <a:lvl7pPr marL="0" indent="0" algn="ctr">
              <a:buNone/>
              <a:defRPr sz="6000">
                <a:solidFill>
                  <a:schemeClr val="accent1"/>
                </a:solidFill>
                <a:latin typeface="+mj-lt"/>
              </a:defRPr>
            </a:lvl7pPr>
            <a:lvl8pPr marL="0" indent="0" algn="ctr">
              <a:buNone/>
              <a:defRPr sz="6000">
                <a:solidFill>
                  <a:schemeClr val="accent1"/>
                </a:solidFill>
                <a:latin typeface="+mj-lt"/>
              </a:defRPr>
            </a:lvl8pPr>
            <a:lvl9pPr marL="0" indent="0" algn="ctr">
              <a:buNone/>
              <a:defRPr sz="6000">
                <a:solidFill>
                  <a:schemeClr val="accent1"/>
                </a:solidFill>
                <a:latin typeface="+mj-lt"/>
              </a:defRPr>
            </a:lvl9pPr>
          </a:lstStyle>
          <a:p>
            <a:pPr lvl="0"/>
            <a:r>
              <a:rPr lang="en-US" noProof="0" dirty="0"/>
              <a:t>15,000</a:t>
            </a:r>
          </a:p>
        </p:txBody>
      </p:sp>
      <p:sp>
        <p:nvSpPr>
          <p:cNvPr id="35" name="Textplatzhalter 3">
            <a:extLst>
              <a:ext uri="{FF2B5EF4-FFF2-40B4-BE49-F238E27FC236}">
                <a16:creationId xmlns:a16="http://schemas.microsoft.com/office/drawing/2014/main" id="{FA70ECC1-39B2-47A5-94E4-95BE84D47192}"/>
              </a:ext>
            </a:extLst>
          </p:cNvPr>
          <p:cNvSpPr>
            <a:spLocks noGrp="1"/>
          </p:cNvSpPr>
          <p:nvPr>
            <p:ph type="body" sz="quarter" idx="32" hasCustomPrompt="1"/>
          </p:nvPr>
        </p:nvSpPr>
        <p:spPr bwMode="gray">
          <a:xfrm>
            <a:off x="9120608" y="3644768"/>
            <a:ext cx="2448000" cy="1008000"/>
          </a:xfrm>
        </p:spPr>
        <p:txBody>
          <a:bodyPr anchor="b"/>
          <a:lstStyle>
            <a:lvl1pPr marL="0" indent="0" algn="ctr">
              <a:buFont typeface="Arial" panose="020B0604020202020204" pitchFamily="34" charset="0"/>
              <a:buNone/>
              <a:defRPr sz="6000">
                <a:solidFill>
                  <a:schemeClr val="accent1"/>
                </a:solidFill>
                <a:latin typeface="+mj-lt"/>
              </a:defRPr>
            </a:lvl1pPr>
            <a:lvl2pPr marL="0" indent="0" algn="ctr">
              <a:buFont typeface="Arial" panose="020B0604020202020204" pitchFamily="34" charset="0"/>
              <a:buNone/>
              <a:defRPr sz="6000">
                <a:solidFill>
                  <a:schemeClr val="accent1"/>
                </a:solidFill>
                <a:latin typeface="+mj-lt"/>
              </a:defRPr>
            </a:lvl2pPr>
            <a:lvl3pPr marL="0" indent="0" algn="ctr">
              <a:buNone/>
              <a:defRPr sz="6000">
                <a:solidFill>
                  <a:schemeClr val="accent1"/>
                </a:solidFill>
                <a:latin typeface="+mj-lt"/>
              </a:defRPr>
            </a:lvl3pPr>
            <a:lvl4pPr marL="0" indent="0" algn="ctr">
              <a:buNone/>
              <a:defRPr sz="6000">
                <a:solidFill>
                  <a:schemeClr val="accent1"/>
                </a:solidFill>
                <a:latin typeface="+mj-lt"/>
              </a:defRPr>
            </a:lvl4pPr>
            <a:lvl5pPr marL="0" indent="0" algn="ctr">
              <a:buNone/>
              <a:defRPr sz="6000">
                <a:solidFill>
                  <a:schemeClr val="accent1"/>
                </a:solidFill>
                <a:latin typeface="+mj-lt"/>
              </a:defRPr>
            </a:lvl5pPr>
            <a:lvl6pPr marL="0" indent="0" algn="ctr">
              <a:buNone/>
              <a:defRPr sz="6000">
                <a:solidFill>
                  <a:schemeClr val="accent1"/>
                </a:solidFill>
                <a:latin typeface="+mj-lt"/>
              </a:defRPr>
            </a:lvl6pPr>
            <a:lvl7pPr marL="0" indent="0" algn="ctr">
              <a:buNone/>
              <a:defRPr sz="6000">
                <a:solidFill>
                  <a:schemeClr val="accent1"/>
                </a:solidFill>
                <a:latin typeface="+mj-lt"/>
              </a:defRPr>
            </a:lvl7pPr>
            <a:lvl8pPr marL="0" indent="0" algn="ctr">
              <a:buNone/>
              <a:defRPr sz="6000">
                <a:solidFill>
                  <a:schemeClr val="accent1"/>
                </a:solidFill>
                <a:latin typeface="+mj-lt"/>
              </a:defRPr>
            </a:lvl8pPr>
            <a:lvl9pPr marL="0" indent="0" algn="ctr">
              <a:buNone/>
              <a:defRPr sz="6000">
                <a:solidFill>
                  <a:schemeClr val="accent1"/>
                </a:solidFill>
                <a:latin typeface="+mj-lt"/>
              </a:defRPr>
            </a:lvl9pPr>
          </a:lstStyle>
          <a:p>
            <a:pPr lvl="0"/>
            <a:r>
              <a:rPr lang="en-US" noProof="0" dirty="0"/>
              <a:t>15,000</a:t>
            </a:r>
          </a:p>
        </p:txBody>
      </p:sp>
      <p:grpSp>
        <p:nvGrpSpPr>
          <p:cNvPr id="44" name="Gruppieren 43">
            <a:extLst>
              <a:ext uri="{FF2B5EF4-FFF2-40B4-BE49-F238E27FC236}">
                <a16:creationId xmlns:a16="http://schemas.microsoft.com/office/drawing/2014/main" id="{316F7B4B-5F40-444C-B546-397739CA02C4}"/>
              </a:ext>
            </a:extLst>
          </p:cNvPr>
          <p:cNvGrpSpPr/>
          <p:nvPr userDrawn="1"/>
        </p:nvGrpSpPr>
        <p:grpSpPr bwMode="gray">
          <a:xfrm>
            <a:off x="3071664" y="-207392"/>
            <a:ext cx="6048672" cy="108000"/>
            <a:chOff x="3071664" y="-207392"/>
            <a:chExt cx="6048672" cy="108000"/>
          </a:xfrm>
        </p:grpSpPr>
        <p:sp>
          <p:nvSpPr>
            <p:cNvPr id="45" name="Freihandform: Form 44">
              <a:extLst>
                <a:ext uri="{FF2B5EF4-FFF2-40B4-BE49-F238E27FC236}">
                  <a16:creationId xmlns:a16="http://schemas.microsoft.com/office/drawing/2014/main" id="{73651750-1A07-4C37-97C4-E35A4837D550}"/>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6" name="Freihandform: Form 45">
              <a:extLst>
                <a:ext uri="{FF2B5EF4-FFF2-40B4-BE49-F238E27FC236}">
                  <a16:creationId xmlns:a16="http://schemas.microsoft.com/office/drawing/2014/main" id="{1F042689-08AF-41C2-940B-C5917DF56C3B}"/>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7" name="Freihandform: Form 46">
              <a:extLst>
                <a:ext uri="{FF2B5EF4-FFF2-40B4-BE49-F238E27FC236}">
                  <a16:creationId xmlns:a16="http://schemas.microsoft.com/office/drawing/2014/main" id="{7E2B9234-97E0-4B8F-899A-CA33F738F7AE}"/>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8" name="Freihandform: Form 47">
              <a:extLst>
                <a:ext uri="{FF2B5EF4-FFF2-40B4-BE49-F238E27FC236}">
                  <a16:creationId xmlns:a16="http://schemas.microsoft.com/office/drawing/2014/main" id="{499FA66E-135C-497E-BFB5-08DCAF56B6FC}"/>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9" name="Freihandform: Form 48">
              <a:extLst>
                <a:ext uri="{FF2B5EF4-FFF2-40B4-BE49-F238E27FC236}">
                  <a16:creationId xmlns:a16="http://schemas.microsoft.com/office/drawing/2014/main" id="{64E42530-14B5-413D-A7FE-6EDF8AA5344A}"/>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50" name="Freihandform: Form 49">
              <a:extLst>
                <a:ext uri="{FF2B5EF4-FFF2-40B4-BE49-F238E27FC236}">
                  <a16:creationId xmlns:a16="http://schemas.microsoft.com/office/drawing/2014/main" id="{A0E0394A-3313-43E0-9825-F554E5422F47}"/>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3" name="Fußzeilenplatzhalter 2">
            <a:extLst>
              <a:ext uri="{FF2B5EF4-FFF2-40B4-BE49-F238E27FC236}">
                <a16:creationId xmlns:a16="http://schemas.microsoft.com/office/drawing/2014/main" id="{3276C8BD-A609-4EB7-A6FB-006D3E97FD0B}"/>
              </a:ext>
            </a:extLst>
          </p:cNvPr>
          <p:cNvSpPr>
            <a:spLocks noGrp="1"/>
          </p:cNvSpPr>
          <p:nvPr>
            <p:ph type="ftr" sz="quarter" idx="33"/>
          </p:nvPr>
        </p:nvSpPr>
        <p:spPr bwMode="gray"/>
        <p:txBody>
          <a:bodyPr/>
          <a:lstStyle/>
          <a:p>
            <a:r>
              <a:rPr lang="en-US"/>
              <a:t>Footnote: Please insert appropriate company</a:t>
            </a:r>
            <a:endParaRPr lang="de-DE" dirty="0"/>
          </a:p>
        </p:txBody>
      </p:sp>
    </p:spTree>
    <p:extLst>
      <p:ext uri="{BB962C8B-B14F-4D97-AF65-F5344CB8AC3E}">
        <p14:creationId xmlns:p14="http://schemas.microsoft.com/office/powerpoint/2010/main" val="3376722991"/>
      </p:ext>
    </p:extLst>
  </p:cSld>
  <p:clrMapOvr>
    <a:masterClrMapping/>
  </p:clrMapOvr>
  <p:extLst>
    <p:ext uri="{DCECCB84-F9BA-43D5-87BE-67443E8EF086}">
      <p15:sldGuideLst xmlns:p15="http://schemas.microsoft.com/office/powerpoint/2012/main">
        <p15:guide id="3" pos="393">
          <p15:clr>
            <a:srgbClr val="F26B43"/>
          </p15:clr>
        </p15:guide>
        <p15:guide id="4" pos="7287">
          <p15:clr>
            <a:srgbClr val="F26B43"/>
          </p15:clr>
        </p15:guide>
        <p15:guide id="5" orient="horz" pos="1117">
          <p15:clr>
            <a:srgbClr val="F26B43"/>
          </p15:clr>
        </p15:guide>
        <p15:guide id="6" orient="horz" pos="3974">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Pictures with Content">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B8ED12C-8C1A-4F6D-A9E7-0249501BE59D}"/>
              </a:ext>
            </a:extLst>
          </p:cNvPr>
          <p:cNvSpPr>
            <a:spLocks noGrp="1"/>
          </p:cNvSpPr>
          <p:nvPr>
            <p:ph type="sldNum" sz="quarter" idx="10"/>
          </p:nvPr>
        </p:nvSpPr>
        <p:spPr bwMode="gray"/>
        <p:txBody>
          <a:bodyPr/>
          <a:lstStyle/>
          <a:p>
            <a:fld id="{CE82B8A1-0CCE-4815-9668-383D7DE7D8B4}" type="slidenum">
              <a:rPr lang="en-US" noProof="0" smtClean="0"/>
              <a:pPr/>
              <a:t>‹Nº›</a:t>
            </a:fld>
            <a:endParaRPr lang="en-US" noProof="0" dirty="0"/>
          </a:p>
        </p:txBody>
      </p:sp>
      <p:sp>
        <p:nvSpPr>
          <p:cNvPr id="4" name="Bildplatzhalter 3">
            <a:extLst>
              <a:ext uri="{FF2B5EF4-FFF2-40B4-BE49-F238E27FC236}">
                <a16:creationId xmlns:a16="http://schemas.microsoft.com/office/drawing/2014/main" id="{7423CB53-4470-4462-9146-EFEED281B435}"/>
              </a:ext>
            </a:extLst>
          </p:cNvPr>
          <p:cNvSpPr>
            <a:spLocks noGrp="1"/>
          </p:cNvSpPr>
          <p:nvPr>
            <p:ph type="pic" sz="quarter" idx="15" hasCustomPrompt="1"/>
          </p:nvPr>
        </p:nvSpPr>
        <p:spPr bwMode="gray">
          <a:xfrm>
            <a:off x="4440184" y="1772816"/>
            <a:ext cx="3312000" cy="1944000"/>
          </a:xfrm>
          <a:solidFill>
            <a:schemeClr val="bg2"/>
          </a:solidFill>
          <a:ln w="50800" cap="sq">
            <a:noFill/>
            <a:miter lim="800000"/>
          </a:ln>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5" name="Inhaltsplatzhalter 8">
            <a:extLst>
              <a:ext uri="{FF2B5EF4-FFF2-40B4-BE49-F238E27FC236}">
                <a16:creationId xmlns:a16="http://schemas.microsoft.com/office/drawing/2014/main" id="{46F00DDC-BD5D-4CF2-AF37-29B136BD351F}"/>
              </a:ext>
            </a:extLst>
          </p:cNvPr>
          <p:cNvSpPr>
            <a:spLocks noGrp="1"/>
          </p:cNvSpPr>
          <p:nvPr>
            <p:ph sz="quarter" idx="13" hasCustomPrompt="1"/>
          </p:nvPr>
        </p:nvSpPr>
        <p:spPr bwMode="gray">
          <a:xfrm>
            <a:off x="623392" y="3933320"/>
            <a:ext cx="3384000" cy="2376000"/>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Bildplatzhalter 3">
            <a:extLst>
              <a:ext uri="{FF2B5EF4-FFF2-40B4-BE49-F238E27FC236}">
                <a16:creationId xmlns:a16="http://schemas.microsoft.com/office/drawing/2014/main" id="{E856E5F2-671C-43D8-A6FA-92D6874B0880}"/>
              </a:ext>
            </a:extLst>
          </p:cNvPr>
          <p:cNvSpPr>
            <a:spLocks noGrp="1"/>
          </p:cNvSpPr>
          <p:nvPr>
            <p:ph type="pic" sz="quarter" idx="17" hasCustomPrompt="1"/>
          </p:nvPr>
        </p:nvSpPr>
        <p:spPr bwMode="gray">
          <a:xfrm>
            <a:off x="623393" y="1773238"/>
            <a:ext cx="3384000" cy="1944000"/>
          </a:xfrm>
          <a:solidFill>
            <a:schemeClr val="bg2"/>
          </a:solidFill>
          <a:ln w="50800" cap="sq">
            <a:noFill/>
            <a:miter lim="800000"/>
          </a:ln>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8" name="Bildplatzhalter 3">
            <a:extLst>
              <a:ext uri="{FF2B5EF4-FFF2-40B4-BE49-F238E27FC236}">
                <a16:creationId xmlns:a16="http://schemas.microsoft.com/office/drawing/2014/main" id="{DBC13F3F-0A67-4543-BAD9-4EAEB24BB01A}"/>
              </a:ext>
            </a:extLst>
          </p:cNvPr>
          <p:cNvSpPr>
            <a:spLocks noGrp="1"/>
          </p:cNvSpPr>
          <p:nvPr>
            <p:ph type="pic" sz="quarter" idx="18" hasCustomPrompt="1"/>
          </p:nvPr>
        </p:nvSpPr>
        <p:spPr bwMode="gray">
          <a:xfrm>
            <a:off x="8184608" y="1773238"/>
            <a:ext cx="3384000" cy="1944000"/>
          </a:xfrm>
          <a:solidFill>
            <a:schemeClr val="bg2"/>
          </a:solidFill>
          <a:ln w="50800" cap="sq">
            <a:noFill/>
            <a:miter lim="800000"/>
          </a:ln>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10" name="Titel 9">
            <a:extLst>
              <a:ext uri="{FF2B5EF4-FFF2-40B4-BE49-F238E27FC236}">
                <a16:creationId xmlns:a16="http://schemas.microsoft.com/office/drawing/2014/main" id="{DEB3A138-6C1F-4E1D-9691-71D6BAF85B14}"/>
              </a:ext>
            </a:extLst>
          </p:cNvPr>
          <p:cNvSpPr>
            <a:spLocks noGrp="1"/>
          </p:cNvSpPr>
          <p:nvPr>
            <p:ph type="title" hasCustomPrompt="1"/>
          </p:nvPr>
        </p:nvSpPr>
        <p:spPr bwMode="gray"/>
        <p:txBody>
          <a:bodyPr/>
          <a:lstStyle>
            <a:lvl1pPr>
              <a:defRPr/>
            </a:lvl1pPr>
          </a:lstStyle>
          <a:p>
            <a:r>
              <a:rPr lang="en-US" noProof="0" dirty="0"/>
              <a:t>Click to edit Master title style</a:t>
            </a:r>
          </a:p>
        </p:txBody>
      </p:sp>
      <p:sp>
        <p:nvSpPr>
          <p:cNvPr id="11" name="Inhaltsplatzhalter 8">
            <a:extLst>
              <a:ext uri="{FF2B5EF4-FFF2-40B4-BE49-F238E27FC236}">
                <a16:creationId xmlns:a16="http://schemas.microsoft.com/office/drawing/2014/main" id="{F87D3548-048E-40A5-ADF2-B68F908BEB74}"/>
              </a:ext>
            </a:extLst>
          </p:cNvPr>
          <p:cNvSpPr>
            <a:spLocks noGrp="1"/>
          </p:cNvSpPr>
          <p:nvPr>
            <p:ph sz="quarter" idx="19" hasCustomPrompt="1"/>
          </p:nvPr>
        </p:nvSpPr>
        <p:spPr bwMode="gray">
          <a:xfrm>
            <a:off x="4439800" y="3933056"/>
            <a:ext cx="3312000" cy="2376000"/>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Inhaltsplatzhalter 8">
            <a:extLst>
              <a:ext uri="{FF2B5EF4-FFF2-40B4-BE49-F238E27FC236}">
                <a16:creationId xmlns:a16="http://schemas.microsoft.com/office/drawing/2014/main" id="{C286CA78-ED96-4D20-9113-8CFBF7464539}"/>
              </a:ext>
            </a:extLst>
          </p:cNvPr>
          <p:cNvSpPr>
            <a:spLocks noGrp="1"/>
          </p:cNvSpPr>
          <p:nvPr>
            <p:ph sz="quarter" idx="20" hasCustomPrompt="1"/>
          </p:nvPr>
        </p:nvSpPr>
        <p:spPr bwMode="gray">
          <a:xfrm>
            <a:off x="8184224" y="3932792"/>
            <a:ext cx="3384000" cy="2376000"/>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grpSp>
        <p:nvGrpSpPr>
          <p:cNvPr id="41" name="Gruppieren 40">
            <a:extLst>
              <a:ext uri="{FF2B5EF4-FFF2-40B4-BE49-F238E27FC236}">
                <a16:creationId xmlns:a16="http://schemas.microsoft.com/office/drawing/2014/main" id="{337AAE8C-F9CF-405C-B561-CB8CC4B12B54}"/>
              </a:ext>
            </a:extLst>
          </p:cNvPr>
          <p:cNvGrpSpPr/>
          <p:nvPr userDrawn="1"/>
        </p:nvGrpSpPr>
        <p:grpSpPr bwMode="gray">
          <a:xfrm>
            <a:off x="4007768" y="-207392"/>
            <a:ext cx="4176464" cy="108000"/>
            <a:chOff x="4007768" y="-207392"/>
            <a:chExt cx="4176464" cy="108000"/>
          </a:xfrm>
        </p:grpSpPr>
        <p:sp>
          <p:nvSpPr>
            <p:cNvPr id="42" name="Freihandform: Form 41">
              <a:extLst>
                <a:ext uri="{FF2B5EF4-FFF2-40B4-BE49-F238E27FC236}">
                  <a16:creationId xmlns:a16="http://schemas.microsoft.com/office/drawing/2014/main" id="{48540807-26F0-44B1-8C12-8E022F0DFF5D}"/>
                </a:ext>
              </a:extLst>
            </p:cNvPr>
            <p:cNvSpPr/>
            <p:nvPr userDrawn="1"/>
          </p:nvSpPr>
          <p:spPr bwMode="gray">
            <a:xfrm>
              <a:off x="400776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3" name="Freihandform: Form 42">
              <a:extLst>
                <a:ext uri="{FF2B5EF4-FFF2-40B4-BE49-F238E27FC236}">
                  <a16:creationId xmlns:a16="http://schemas.microsoft.com/office/drawing/2014/main" id="{7A67DC13-0293-4BB3-A792-DA1354331B16}"/>
                </a:ext>
              </a:extLst>
            </p:cNvPr>
            <p:cNvSpPr/>
            <p:nvPr userDrawn="1"/>
          </p:nvSpPr>
          <p:spPr bwMode="gray">
            <a:xfrm>
              <a:off x="443981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4" name="Freihandform: Form 43">
              <a:extLst>
                <a:ext uri="{FF2B5EF4-FFF2-40B4-BE49-F238E27FC236}">
                  <a16:creationId xmlns:a16="http://schemas.microsoft.com/office/drawing/2014/main" id="{489AED9F-C765-4CC5-A451-79E30046DF86}"/>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5" name="Freihandform: Form 44">
              <a:extLst>
                <a:ext uri="{FF2B5EF4-FFF2-40B4-BE49-F238E27FC236}">
                  <a16:creationId xmlns:a16="http://schemas.microsoft.com/office/drawing/2014/main" id="{94D4D759-6912-4E31-9C2D-B2A6C2F9163C}"/>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6" name="Freihandform: Form 45">
              <a:extLst>
                <a:ext uri="{FF2B5EF4-FFF2-40B4-BE49-F238E27FC236}">
                  <a16:creationId xmlns:a16="http://schemas.microsoft.com/office/drawing/2014/main" id="{CDA2DF7B-A4FA-4EA8-A377-B50336EB9F00}"/>
                </a:ext>
              </a:extLst>
            </p:cNvPr>
            <p:cNvSpPr/>
            <p:nvPr userDrawn="1"/>
          </p:nvSpPr>
          <p:spPr bwMode="gray">
            <a:xfrm>
              <a:off x="775218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7" name="Freihandform: Form 46">
              <a:extLst>
                <a:ext uri="{FF2B5EF4-FFF2-40B4-BE49-F238E27FC236}">
                  <a16:creationId xmlns:a16="http://schemas.microsoft.com/office/drawing/2014/main" id="{5EA95E23-9413-4A40-AE89-8EB9217B6A7C}"/>
                </a:ext>
              </a:extLst>
            </p:cNvPr>
            <p:cNvSpPr/>
            <p:nvPr userDrawn="1"/>
          </p:nvSpPr>
          <p:spPr bwMode="gray">
            <a:xfrm>
              <a:off x="818423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2" name="Fußzeilenplatzhalter 1">
            <a:extLst>
              <a:ext uri="{FF2B5EF4-FFF2-40B4-BE49-F238E27FC236}">
                <a16:creationId xmlns:a16="http://schemas.microsoft.com/office/drawing/2014/main" id="{976366BB-CDD9-4CF6-9BAC-D7B8714FB5E7}"/>
              </a:ext>
            </a:extLst>
          </p:cNvPr>
          <p:cNvSpPr>
            <a:spLocks noGrp="1"/>
          </p:cNvSpPr>
          <p:nvPr>
            <p:ph type="ftr" sz="quarter" idx="21"/>
          </p:nvPr>
        </p:nvSpPr>
        <p:spPr bwMode="gray"/>
        <p:txBody>
          <a:bodyPr/>
          <a:lstStyle/>
          <a:p>
            <a:r>
              <a:rPr lang="en-US"/>
              <a:t>Footnote: Please insert appropriate company</a:t>
            </a:r>
            <a:endParaRPr lang="de-DE" dirty="0"/>
          </a:p>
        </p:txBody>
      </p:sp>
    </p:spTree>
    <p:extLst>
      <p:ext uri="{BB962C8B-B14F-4D97-AF65-F5344CB8AC3E}">
        <p14:creationId xmlns:p14="http://schemas.microsoft.com/office/powerpoint/2010/main" val="1805554311"/>
      </p:ext>
    </p:extLst>
  </p:cSld>
  <p:clrMapOvr>
    <a:masterClrMapping/>
  </p:clrMapOvr>
  <p:extLst>
    <p:ext uri="{DCECCB84-F9BA-43D5-87BE-67443E8EF086}">
      <p15:sldGuideLst xmlns:p15="http://schemas.microsoft.com/office/powerpoint/2012/main">
        <p15:guide id="1" pos="393" userDrawn="1">
          <p15:clr>
            <a:srgbClr val="F26B43"/>
          </p15:clr>
        </p15:guide>
        <p15:guide id="3" orient="horz" pos="1117" userDrawn="1">
          <p15:clr>
            <a:srgbClr val="F26B43"/>
          </p15:clr>
        </p15:guide>
        <p15:guide id="4" orient="horz" pos="3974" userDrawn="1">
          <p15:clr>
            <a:srgbClr val="F26B43"/>
          </p15:clr>
        </p15:guide>
        <p15:guide id="5" pos="7287" userDrawn="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ull Size Picture with Title">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4C75B40B-9C48-4171-920D-3DBD2EB5B219}"/>
              </a:ext>
            </a:extLst>
          </p:cNvPr>
          <p:cNvSpPr>
            <a:spLocks noGrp="1"/>
          </p:cNvSpPr>
          <p:nvPr>
            <p:ph type="pic" sz="quarter" idx="13" hasCustomPrompt="1"/>
          </p:nvPr>
        </p:nvSpPr>
        <p:spPr bwMode="gray">
          <a:xfrm>
            <a:off x="192088" y="188913"/>
            <a:ext cx="11807825" cy="6480175"/>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2" name="Titel 1">
            <a:extLst>
              <a:ext uri="{FF2B5EF4-FFF2-40B4-BE49-F238E27FC236}">
                <a16:creationId xmlns:a16="http://schemas.microsoft.com/office/drawing/2014/main" id="{98C89792-B02B-45D3-9167-613E5DF02D4A}"/>
              </a:ext>
            </a:extLst>
          </p:cNvPr>
          <p:cNvSpPr>
            <a:spLocks noGrp="1"/>
          </p:cNvSpPr>
          <p:nvPr>
            <p:ph type="title" hasCustomPrompt="1"/>
          </p:nvPr>
        </p:nvSpPr>
        <p:spPr bwMode="gray">
          <a:xfrm>
            <a:off x="3539627" y="5337220"/>
            <a:ext cx="8137192" cy="864000"/>
          </a:xfrm>
        </p:spPr>
        <p:txBody>
          <a:bodyPr anchor="b"/>
          <a:lstStyle>
            <a:lvl1pPr algn="r">
              <a:defRPr/>
            </a:lvl1pPr>
          </a:lstStyle>
          <a:p>
            <a:r>
              <a:rPr lang="en-US" noProof="0" dirty="0"/>
              <a:t>Click to edit Master title style</a:t>
            </a:r>
          </a:p>
        </p:txBody>
      </p:sp>
      <p:sp>
        <p:nvSpPr>
          <p:cNvPr id="3" name="Foliennummernplatzhalter 2">
            <a:extLst>
              <a:ext uri="{FF2B5EF4-FFF2-40B4-BE49-F238E27FC236}">
                <a16:creationId xmlns:a16="http://schemas.microsoft.com/office/drawing/2014/main" id="{CED6F269-5469-49D5-9DB6-17B053A5C524}"/>
              </a:ext>
            </a:extLst>
          </p:cNvPr>
          <p:cNvSpPr>
            <a:spLocks noGrp="1"/>
          </p:cNvSpPr>
          <p:nvPr>
            <p:ph type="sldNum" sz="quarter" idx="10"/>
          </p:nvPr>
        </p:nvSpPr>
        <p:spPr bwMode="gray"/>
        <p:txBody>
          <a:bodyPr/>
          <a:lstStyle/>
          <a:p>
            <a:fld id="{CE82B8A1-0CCE-4815-9668-383D7DE7D8B4}" type="slidenum">
              <a:rPr lang="en-US" noProof="0" smtClean="0"/>
              <a:pPr/>
              <a:t>‹Nº›</a:t>
            </a:fld>
            <a:endParaRPr lang="en-US" noProof="0" dirty="0"/>
          </a:p>
        </p:txBody>
      </p:sp>
      <p:sp>
        <p:nvSpPr>
          <p:cNvPr id="5" name="Rechteck 4">
            <a:extLst>
              <a:ext uri="{FF2B5EF4-FFF2-40B4-BE49-F238E27FC236}">
                <a16:creationId xmlns:a16="http://schemas.microsoft.com/office/drawing/2014/main" id="{D78C334F-C120-413E-96B2-95ADFE6B75AF}"/>
              </a:ext>
            </a:extLst>
          </p:cNvPr>
          <p:cNvSpPr/>
          <p:nvPr userDrawn="1"/>
        </p:nvSpPr>
        <p:spPr bwMode="gray">
          <a:xfrm>
            <a:off x="12288880" y="188640"/>
            <a:ext cx="1728000" cy="64804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t"/>
          <a:lstStyle/>
          <a:p>
            <a:pPr algn="l"/>
            <a:r>
              <a:rPr lang="en-US" sz="1200" dirty="0">
                <a:solidFill>
                  <a:schemeClr val="tx1"/>
                </a:solidFill>
                <a:latin typeface="+mj-lt"/>
              </a:rPr>
              <a:t>No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Please make sure the text boxes have a smooth and calm background so that the text can be easily read.  Additional image layouts are available if this is not the case.</a:t>
            </a:r>
            <a:br>
              <a:rPr lang="en-US" sz="1200" dirty="0">
                <a:solidFill>
                  <a:schemeClr val="tx1"/>
                </a:solidFill>
              </a:rPr>
            </a:br>
            <a:endParaRPr lang="en-US"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Select the color of the page number depending on legibility. You can choose a white or black page number.</a:t>
            </a:r>
          </a:p>
          <a:p>
            <a:pPr algn="l"/>
            <a:endParaRPr lang="en-US" sz="1200" dirty="0">
              <a:solidFill>
                <a:schemeClr val="tx1"/>
              </a:solidFill>
            </a:endParaRPr>
          </a:p>
        </p:txBody>
      </p:sp>
      <p:grpSp>
        <p:nvGrpSpPr>
          <p:cNvPr id="6" name="Gruppieren 5">
            <a:extLst>
              <a:ext uri="{FF2B5EF4-FFF2-40B4-BE49-F238E27FC236}">
                <a16:creationId xmlns:a16="http://schemas.microsoft.com/office/drawing/2014/main" id="{36D683CA-3A8E-45AB-8EFD-EF13B59EB51B}"/>
              </a:ext>
            </a:extLst>
          </p:cNvPr>
          <p:cNvGrpSpPr/>
          <p:nvPr userDrawn="1"/>
        </p:nvGrpSpPr>
        <p:grpSpPr bwMode="gray">
          <a:xfrm>
            <a:off x="3071664" y="-207392"/>
            <a:ext cx="6048672" cy="108000"/>
            <a:chOff x="3071664" y="-207392"/>
            <a:chExt cx="6048672" cy="108000"/>
          </a:xfrm>
        </p:grpSpPr>
        <p:sp>
          <p:nvSpPr>
            <p:cNvPr id="7" name="Freihandform: Form 6">
              <a:extLst>
                <a:ext uri="{FF2B5EF4-FFF2-40B4-BE49-F238E27FC236}">
                  <a16:creationId xmlns:a16="http://schemas.microsoft.com/office/drawing/2014/main" id="{703DEFD9-671E-45F8-A479-558626D391D4}"/>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Freihandform: Form 7">
              <a:extLst>
                <a:ext uri="{FF2B5EF4-FFF2-40B4-BE49-F238E27FC236}">
                  <a16:creationId xmlns:a16="http://schemas.microsoft.com/office/drawing/2014/main" id="{DD4F2F7B-D5FC-41C2-96BA-57B8FB4A8E60}"/>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 name="Freihandform: Form 8">
              <a:extLst>
                <a:ext uri="{FF2B5EF4-FFF2-40B4-BE49-F238E27FC236}">
                  <a16:creationId xmlns:a16="http://schemas.microsoft.com/office/drawing/2014/main" id="{55D94C5C-654E-4E60-9AFB-F5104B3782B8}"/>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Freihandform: Form 9">
              <a:extLst>
                <a:ext uri="{FF2B5EF4-FFF2-40B4-BE49-F238E27FC236}">
                  <a16:creationId xmlns:a16="http://schemas.microsoft.com/office/drawing/2014/main" id="{8D702950-0051-4F76-9CEA-ED63DD954269}"/>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Freihandform: Form 10">
              <a:extLst>
                <a:ext uri="{FF2B5EF4-FFF2-40B4-BE49-F238E27FC236}">
                  <a16:creationId xmlns:a16="http://schemas.microsoft.com/office/drawing/2014/main" id="{2CECA57B-B1B0-49B2-87A4-BD49D0719F7A}"/>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Freihandform: Form 11">
              <a:extLst>
                <a:ext uri="{FF2B5EF4-FFF2-40B4-BE49-F238E27FC236}">
                  <a16:creationId xmlns:a16="http://schemas.microsoft.com/office/drawing/2014/main" id="{50B4FDD1-6403-40FA-855B-F659C30029A6}"/>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Tree>
    <p:extLst>
      <p:ext uri="{BB962C8B-B14F-4D97-AF65-F5344CB8AC3E}">
        <p14:creationId xmlns:p14="http://schemas.microsoft.com/office/powerpoint/2010/main" val="3266163121"/>
      </p:ext>
    </p:extLst>
  </p:cSld>
  <p:clrMapOvr>
    <a:masterClrMapping/>
  </p:clrMapOvr>
  <p:extLst>
    <p:ext uri="{DCECCB84-F9BA-43D5-87BE-67443E8EF086}">
      <p15:sldGuideLst xmlns:p15="http://schemas.microsoft.com/office/powerpoint/2012/main">
        <p15:guide id="1" pos="121" userDrawn="1">
          <p15:clr>
            <a:srgbClr val="FBAE40"/>
          </p15:clr>
        </p15:guide>
        <p15:guide id="2" orient="horz" pos="119" userDrawn="1">
          <p15:clr>
            <a:srgbClr val="FBAE40"/>
          </p15:clr>
        </p15:guide>
        <p15:guide id="3" pos="7559" userDrawn="1">
          <p15:clr>
            <a:srgbClr val="FBAE40"/>
          </p15:clr>
        </p15:guide>
        <p15:guide id="4" orient="horz" pos="4201"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 Size Picture with Content">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8362331E-B0C2-4183-8683-0AFAA09A5ED7}"/>
              </a:ext>
            </a:extLst>
          </p:cNvPr>
          <p:cNvSpPr>
            <a:spLocks noGrp="1"/>
          </p:cNvSpPr>
          <p:nvPr>
            <p:ph type="pic" sz="quarter" idx="13" hasCustomPrompt="1"/>
          </p:nvPr>
        </p:nvSpPr>
        <p:spPr bwMode="gray">
          <a:xfrm>
            <a:off x="192088" y="188913"/>
            <a:ext cx="11807825" cy="6480175"/>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5" name="Foliennummernplatzhalter 4"/>
          <p:cNvSpPr>
            <a:spLocks noGrp="1"/>
          </p:cNvSpPr>
          <p:nvPr>
            <p:ph type="sldNum" sz="quarter" idx="12"/>
          </p:nvPr>
        </p:nvSpPr>
        <p:spPr bwMode="gray"/>
        <p:txBody>
          <a:bodyPr/>
          <a:lstStyle/>
          <a:p>
            <a:fld id="{CE82B8A1-0CCE-4815-9668-383D7DE7D8B4}" type="slidenum">
              <a:rPr lang="en-US" noProof="0" smtClean="0"/>
              <a:t>‹Nº›</a:t>
            </a:fld>
            <a:endParaRPr lang="en-US" noProof="0" dirty="0"/>
          </a:p>
        </p:txBody>
      </p:sp>
      <p:sp>
        <p:nvSpPr>
          <p:cNvPr id="7" name="Textplatzhalter 6">
            <a:extLst>
              <a:ext uri="{FF2B5EF4-FFF2-40B4-BE49-F238E27FC236}">
                <a16:creationId xmlns:a16="http://schemas.microsoft.com/office/drawing/2014/main" id="{D942C1B7-99D9-404E-A81C-9E855BD2A153}"/>
              </a:ext>
            </a:extLst>
          </p:cNvPr>
          <p:cNvSpPr>
            <a:spLocks noGrp="1"/>
          </p:cNvSpPr>
          <p:nvPr>
            <p:ph type="body" sz="quarter" idx="14" hasCustomPrompt="1"/>
          </p:nvPr>
        </p:nvSpPr>
        <p:spPr bwMode="gray">
          <a:xfrm>
            <a:off x="8688388" y="549275"/>
            <a:ext cx="3311525" cy="5759450"/>
          </a:xfrm>
          <a:solidFill>
            <a:schemeClr val="bg1"/>
          </a:solidFill>
        </p:spPr>
        <p:txBody>
          <a:bodyPr lIns="288000" tIns="1728000" rIns="288000" bIns="288000"/>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el 1">
            <a:extLst>
              <a:ext uri="{FF2B5EF4-FFF2-40B4-BE49-F238E27FC236}">
                <a16:creationId xmlns:a16="http://schemas.microsoft.com/office/drawing/2014/main" id="{96136DB2-0241-45E9-9304-293529A4B1A3}"/>
              </a:ext>
            </a:extLst>
          </p:cNvPr>
          <p:cNvSpPr>
            <a:spLocks noGrp="1"/>
          </p:cNvSpPr>
          <p:nvPr>
            <p:ph type="title" hasCustomPrompt="1"/>
          </p:nvPr>
        </p:nvSpPr>
        <p:spPr bwMode="gray">
          <a:xfrm>
            <a:off x="8688388" y="549275"/>
            <a:ext cx="3311525" cy="1655589"/>
          </a:xfrm>
        </p:spPr>
        <p:txBody>
          <a:bodyPr lIns="288000" tIns="288000" rIns="288000" bIns="0" anchor="b" anchorCtr="0"/>
          <a:lstStyle>
            <a:lvl1pPr>
              <a:defRPr/>
            </a:lvl1pPr>
          </a:lstStyle>
          <a:p>
            <a:r>
              <a:rPr lang="en-US" noProof="0" dirty="0"/>
              <a:t>Click to edit Master title style</a:t>
            </a:r>
          </a:p>
        </p:txBody>
      </p:sp>
      <p:grpSp>
        <p:nvGrpSpPr>
          <p:cNvPr id="14" name="Gruppieren 13">
            <a:extLst>
              <a:ext uri="{FF2B5EF4-FFF2-40B4-BE49-F238E27FC236}">
                <a16:creationId xmlns:a16="http://schemas.microsoft.com/office/drawing/2014/main" id="{FB3367B4-392F-4A3C-88E1-54E1AA3EF2C4}"/>
              </a:ext>
            </a:extLst>
          </p:cNvPr>
          <p:cNvGrpSpPr/>
          <p:nvPr userDrawn="1"/>
        </p:nvGrpSpPr>
        <p:grpSpPr bwMode="gray">
          <a:xfrm>
            <a:off x="3071664" y="-207392"/>
            <a:ext cx="6048672" cy="108000"/>
            <a:chOff x="3071664" y="-207392"/>
            <a:chExt cx="6048672" cy="108000"/>
          </a:xfrm>
        </p:grpSpPr>
        <p:sp>
          <p:nvSpPr>
            <p:cNvPr id="15" name="Freihandform: Form 14">
              <a:extLst>
                <a:ext uri="{FF2B5EF4-FFF2-40B4-BE49-F238E27FC236}">
                  <a16:creationId xmlns:a16="http://schemas.microsoft.com/office/drawing/2014/main" id="{23E97105-BC5B-4F4B-8309-F30CFEB24F61}"/>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6" name="Freihandform: Form 15">
              <a:extLst>
                <a:ext uri="{FF2B5EF4-FFF2-40B4-BE49-F238E27FC236}">
                  <a16:creationId xmlns:a16="http://schemas.microsoft.com/office/drawing/2014/main" id="{18CA6599-8CFE-4229-85DB-A828232E54C0}"/>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7" name="Freihandform: Form 16">
              <a:extLst>
                <a:ext uri="{FF2B5EF4-FFF2-40B4-BE49-F238E27FC236}">
                  <a16:creationId xmlns:a16="http://schemas.microsoft.com/office/drawing/2014/main" id="{065E23A5-5B98-49DE-8F37-9B8797CF29AA}"/>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 name="Freihandform: Form 17">
              <a:extLst>
                <a:ext uri="{FF2B5EF4-FFF2-40B4-BE49-F238E27FC236}">
                  <a16:creationId xmlns:a16="http://schemas.microsoft.com/office/drawing/2014/main" id="{5422F81C-4B1B-41EF-B732-D312AF338AE7}"/>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 name="Freihandform: Form 18">
              <a:extLst>
                <a:ext uri="{FF2B5EF4-FFF2-40B4-BE49-F238E27FC236}">
                  <a16:creationId xmlns:a16="http://schemas.microsoft.com/office/drawing/2014/main" id="{275C0530-2D80-483E-9695-7C6E18A179C7}"/>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Freihandform: Form 19">
              <a:extLst>
                <a:ext uri="{FF2B5EF4-FFF2-40B4-BE49-F238E27FC236}">
                  <a16:creationId xmlns:a16="http://schemas.microsoft.com/office/drawing/2014/main" id="{7AFF8CAA-3B77-4F8C-A466-9D7CF7FCEB47}"/>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13" name="Rechteck 12">
            <a:extLst>
              <a:ext uri="{FF2B5EF4-FFF2-40B4-BE49-F238E27FC236}">
                <a16:creationId xmlns:a16="http://schemas.microsoft.com/office/drawing/2014/main" id="{13C9AF67-271B-4947-AEFB-CF21A7EAF214}"/>
              </a:ext>
            </a:extLst>
          </p:cNvPr>
          <p:cNvSpPr/>
          <p:nvPr userDrawn="1"/>
        </p:nvSpPr>
        <p:spPr bwMode="gray">
          <a:xfrm>
            <a:off x="12288880" y="188640"/>
            <a:ext cx="1728000" cy="64804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t"/>
          <a:lstStyle/>
          <a:p>
            <a:pPr algn="l"/>
            <a:r>
              <a:rPr lang="en-US" sz="1200" dirty="0">
                <a:solidFill>
                  <a:schemeClr val="tx1"/>
                </a:solidFill>
                <a:latin typeface="+mj-lt"/>
              </a:rPr>
              <a:t>No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Select the color</a:t>
            </a:r>
            <a:br>
              <a:rPr lang="en-US" sz="1200" dirty="0">
                <a:solidFill>
                  <a:schemeClr val="tx1"/>
                </a:solidFill>
              </a:rPr>
            </a:br>
            <a:r>
              <a:rPr lang="en-US" sz="1200" dirty="0">
                <a:solidFill>
                  <a:schemeClr val="tx1"/>
                </a:solidFill>
              </a:rPr>
              <a:t>of the page number depending on legibility.</a:t>
            </a:r>
            <a:br>
              <a:rPr lang="en-US" sz="1200" dirty="0">
                <a:solidFill>
                  <a:schemeClr val="tx1"/>
                </a:solidFill>
              </a:rPr>
            </a:br>
            <a:r>
              <a:rPr lang="en-US" sz="1200" dirty="0">
                <a:solidFill>
                  <a:schemeClr val="tx1"/>
                </a:solidFill>
              </a:rPr>
              <a:t>You can choose a white</a:t>
            </a:r>
            <a:br>
              <a:rPr lang="en-US" sz="1200" dirty="0">
                <a:solidFill>
                  <a:schemeClr val="tx1"/>
                </a:solidFill>
              </a:rPr>
            </a:br>
            <a:r>
              <a:rPr lang="en-US" sz="1200" dirty="0">
                <a:solidFill>
                  <a:schemeClr val="tx1"/>
                </a:solidFill>
              </a:rPr>
              <a:t>or black page number.</a:t>
            </a:r>
          </a:p>
          <a:p>
            <a:pPr algn="l"/>
            <a:endParaRPr lang="en-US" sz="1200" dirty="0">
              <a:solidFill>
                <a:schemeClr val="tx1"/>
              </a:solidFill>
            </a:endParaRPr>
          </a:p>
        </p:txBody>
      </p:sp>
    </p:spTree>
    <p:extLst>
      <p:ext uri="{BB962C8B-B14F-4D97-AF65-F5344CB8AC3E}">
        <p14:creationId xmlns:p14="http://schemas.microsoft.com/office/powerpoint/2010/main" val="343766011"/>
      </p:ext>
    </p:extLst>
  </p:cSld>
  <p:clrMapOvr>
    <a:masterClrMapping/>
  </p:clrMapOvr>
  <p:extLst>
    <p:ext uri="{DCECCB84-F9BA-43D5-87BE-67443E8EF086}">
      <p15:sldGuideLst xmlns:p15="http://schemas.microsoft.com/office/powerpoint/2012/main">
        <p15:guide id="1" pos="121" userDrawn="1">
          <p15:clr>
            <a:srgbClr val="FBAE40"/>
          </p15:clr>
        </p15:guide>
        <p15:guide id="2" pos="7559" userDrawn="1">
          <p15:clr>
            <a:srgbClr val="FBAE40"/>
          </p15:clr>
        </p15:guide>
        <p15:guide id="3" orient="horz" pos="119" userDrawn="1">
          <p15:clr>
            <a:srgbClr val="FBAE40"/>
          </p15:clr>
        </p15:guide>
        <p15:guide id="4" orient="horz" pos="4201"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Pictures with Content">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D5BAC79C-AC59-4D20-A4F4-C2EA223DA67B}"/>
              </a:ext>
            </a:extLst>
          </p:cNvPr>
          <p:cNvSpPr>
            <a:spLocks noGrp="1"/>
          </p:cNvSpPr>
          <p:nvPr>
            <p:ph type="pic" sz="quarter" idx="13" hasCustomPrompt="1"/>
          </p:nvPr>
        </p:nvSpPr>
        <p:spPr bwMode="gray">
          <a:xfrm>
            <a:off x="192088" y="188912"/>
            <a:ext cx="5903911" cy="5904000"/>
          </a:xfrm>
          <a:custGeom>
            <a:avLst/>
            <a:gdLst>
              <a:gd name="connsiteX0" fmla="*/ 0 w 5903911"/>
              <a:gd name="connsiteY0" fmla="*/ 0 h 5904000"/>
              <a:gd name="connsiteX1" fmla="*/ 5903911 w 5903911"/>
              <a:gd name="connsiteY1" fmla="*/ 0 h 5904000"/>
              <a:gd name="connsiteX2" fmla="*/ 5903911 w 5903911"/>
              <a:gd name="connsiteY2" fmla="*/ 503784 h 5904000"/>
              <a:gd name="connsiteX3" fmla="*/ 4247728 w 5903911"/>
              <a:gd name="connsiteY3" fmla="*/ 503784 h 5904000"/>
              <a:gd name="connsiteX4" fmla="*/ 4247728 w 5903911"/>
              <a:gd name="connsiteY4" fmla="*/ 5904000 h 5904000"/>
              <a:gd name="connsiteX5" fmla="*/ 0 w 5903911"/>
              <a:gd name="connsiteY5" fmla="*/ 5904000 h 59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3911" h="5904000">
                <a:moveTo>
                  <a:pt x="0" y="0"/>
                </a:moveTo>
                <a:lnTo>
                  <a:pt x="5903911" y="0"/>
                </a:lnTo>
                <a:lnTo>
                  <a:pt x="5903911" y="503784"/>
                </a:lnTo>
                <a:lnTo>
                  <a:pt x="4247728" y="503784"/>
                </a:lnTo>
                <a:lnTo>
                  <a:pt x="4247728" y="5904000"/>
                </a:lnTo>
                <a:lnTo>
                  <a:pt x="0" y="5904000"/>
                </a:lnTo>
                <a:close/>
              </a:path>
            </a:pathLst>
          </a:custGeom>
          <a:solidFill>
            <a:schemeClr val="bg2"/>
          </a:solidFill>
        </p:spPr>
        <p:txBody>
          <a:bodyPr wrap="square" bIns="576000" anchor="ctr">
            <a:noAutofit/>
          </a:bodyP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5" name="Foliennummernplatzhalter 4"/>
          <p:cNvSpPr>
            <a:spLocks noGrp="1"/>
          </p:cNvSpPr>
          <p:nvPr>
            <p:ph type="sldNum" sz="quarter" idx="12"/>
          </p:nvPr>
        </p:nvSpPr>
        <p:spPr bwMode="gray"/>
        <p:txBody>
          <a:bodyPr/>
          <a:lstStyle/>
          <a:p>
            <a:fld id="{CE82B8A1-0CCE-4815-9668-383D7DE7D8B4}" type="slidenum">
              <a:rPr lang="en-US" noProof="0" smtClean="0"/>
              <a:t>‹Nº›</a:t>
            </a:fld>
            <a:endParaRPr lang="en-US" noProof="0" dirty="0"/>
          </a:p>
        </p:txBody>
      </p:sp>
      <p:sp>
        <p:nvSpPr>
          <p:cNvPr id="7" name="Textplatzhalter 6">
            <a:extLst>
              <a:ext uri="{FF2B5EF4-FFF2-40B4-BE49-F238E27FC236}">
                <a16:creationId xmlns:a16="http://schemas.microsoft.com/office/drawing/2014/main" id="{D942C1B7-99D9-404E-A81C-9E855BD2A153}"/>
              </a:ext>
            </a:extLst>
          </p:cNvPr>
          <p:cNvSpPr>
            <a:spLocks noGrp="1"/>
          </p:cNvSpPr>
          <p:nvPr>
            <p:ph type="body" sz="quarter" idx="14" hasCustomPrompt="1"/>
          </p:nvPr>
        </p:nvSpPr>
        <p:spPr bwMode="gray">
          <a:xfrm>
            <a:off x="8688388" y="2564904"/>
            <a:ext cx="2880000" cy="3743820"/>
          </a:xfrm>
          <a:solidFill>
            <a:schemeClr val="bg1"/>
          </a:solidFill>
        </p:spPr>
        <p:txBody>
          <a:bodyPr lIns="0" tIns="0" rIns="0" bIns="0"/>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el 1">
            <a:extLst>
              <a:ext uri="{FF2B5EF4-FFF2-40B4-BE49-F238E27FC236}">
                <a16:creationId xmlns:a16="http://schemas.microsoft.com/office/drawing/2014/main" id="{8E103399-48BE-45A3-A065-DC354D906BD5}"/>
              </a:ext>
            </a:extLst>
          </p:cNvPr>
          <p:cNvSpPr>
            <a:spLocks noGrp="1"/>
          </p:cNvSpPr>
          <p:nvPr>
            <p:ph type="title" hasCustomPrompt="1"/>
          </p:nvPr>
        </p:nvSpPr>
        <p:spPr bwMode="gray">
          <a:xfrm>
            <a:off x="8688388" y="771437"/>
            <a:ext cx="2880000" cy="1656000"/>
          </a:xfrm>
        </p:spPr>
        <p:txBody>
          <a:bodyPr anchor="b"/>
          <a:lstStyle>
            <a:lvl1pPr>
              <a:defRPr/>
            </a:lvl1pPr>
          </a:lstStyle>
          <a:p>
            <a:r>
              <a:rPr lang="en-US" noProof="0" dirty="0"/>
              <a:t>Click to edit Master title style</a:t>
            </a:r>
          </a:p>
        </p:txBody>
      </p:sp>
      <p:sp>
        <p:nvSpPr>
          <p:cNvPr id="6" name="Bildplatzhalter 3">
            <a:extLst>
              <a:ext uri="{FF2B5EF4-FFF2-40B4-BE49-F238E27FC236}">
                <a16:creationId xmlns:a16="http://schemas.microsoft.com/office/drawing/2014/main" id="{D3F78C6A-1FEE-4EF7-912D-F640BD169B7B}"/>
              </a:ext>
            </a:extLst>
          </p:cNvPr>
          <p:cNvSpPr>
            <a:spLocks noGrp="1"/>
          </p:cNvSpPr>
          <p:nvPr>
            <p:ph type="pic" sz="quarter" idx="15" hasCustomPrompt="1"/>
          </p:nvPr>
        </p:nvSpPr>
        <p:spPr bwMode="gray">
          <a:xfrm>
            <a:off x="4511824" y="765088"/>
            <a:ext cx="3959695" cy="5904000"/>
          </a:xfrm>
          <a:solidFill>
            <a:schemeClr val="bg2"/>
          </a:solidFill>
          <a:ln w="50800" cap="sq">
            <a:noFill/>
            <a:miter lim="800000"/>
          </a:ln>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grpSp>
        <p:nvGrpSpPr>
          <p:cNvPr id="16" name="Gruppieren 15">
            <a:extLst>
              <a:ext uri="{FF2B5EF4-FFF2-40B4-BE49-F238E27FC236}">
                <a16:creationId xmlns:a16="http://schemas.microsoft.com/office/drawing/2014/main" id="{6BD99C1E-9030-440F-BA46-0628D9DA3AD0}"/>
              </a:ext>
            </a:extLst>
          </p:cNvPr>
          <p:cNvGrpSpPr/>
          <p:nvPr userDrawn="1"/>
        </p:nvGrpSpPr>
        <p:grpSpPr bwMode="gray">
          <a:xfrm>
            <a:off x="3071664" y="-207392"/>
            <a:ext cx="6048672" cy="108000"/>
            <a:chOff x="3071664" y="-207392"/>
            <a:chExt cx="6048672" cy="108000"/>
          </a:xfrm>
        </p:grpSpPr>
        <p:sp>
          <p:nvSpPr>
            <p:cNvPr id="17" name="Freihandform: Form 16">
              <a:extLst>
                <a:ext uri="{FF2B5EF4-FFF2-40B4-BE49-F238E27FC236}">
                  <a16:creationId xmlns:a16="http://schemas.microsoft.com/office/drawing/2014/main" id="{8DBD5368-6669-4DE3-87A3-2D2E27950FC6}"/>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 name="Freihandform: Form 17">
              <a:extLst>
                <a:ext uri="{FF2B5EF4-FFF2-40B4-BE49-F238E27FC236}">
                  <a16:creationId xmlns:a16="http://schemas.microsoft.com/office/drawing/2014/main" id="{D765DA19-F58E-4369-BBEC-0E4D7897142C}"/>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 name="Freihandform: Form 18">
              <a:extLst>
                <a:ext uri="{FF2B5EF4-FFF2-40B4-BE49-F238E27FC236}">
                  <a16:creationId xmlns:a16="http://schemas.microsoft.com/office/drawing/2014/main" id="{56AB13CE-57CB-46E5-A1C4-96B3B4BE11CA}"/>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Freihandform: Form 19">
              <a:extLst>
                <a:ext uri="{FF2B5EF4-FFF2-40B4-BE49-F238E27FC236}">
                  <a16:creationId xmlns:a16="http://schemas.microsoft.com/office/drawing/2014/main" id="{19AEF5B1-023F-41E5-B7CB-C9D8CFC44F25}"/>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Freihandform: Form 20">
              <a:extLst>
                <a:ext uri="{FF2B5EF4-FFF2-40B4-BE49-F238E27FC236}">
                  <a16:creationId xmlns:a16="http://schemas.microsoft.com/office/drawing/2014/main" id="{67B4789F-420B-4625-9257-4C446B980D39}"/>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896311D5-6FEA-4B6B-B591-8D14D7CCBCA4}"/>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3" name="Fußzeilenplatzhalter 2">
            <a:extLst>
              <a:ext uri="{FF2B5EF4-FFF2-40B4-BE49-F238E27FC236}">
                <a16:creationId xmlns:a16="http://schemas.microsoft.com/office/drawing/2014/main" id="{7F8DF279-CB5C-46DC-B4A1-D6F23E1DE130}"/>
              </a:ext>
            </a:extLst>
          </p:cNvPr>
          <p:cNvSpPr>
            <a:spLocks noGrp="1"/>
          </p:cNvSpPr>
          <p:nvPr>
            <p:ph type="ftr" sz="quarter" idx="16"/>
          </p:nvPr>
        </p:nvSpPr>
        <p:spPr bwMode="gray"/>
        <p:txBody>
          <a:bodyPr/>
          <a:lstStyle/>
          <a:p>
            <a:r>
              <a:rPr lang="en-US"/>
              <a:t>Footnote: Please insert appropriate company</a:t>
            </a:r>
            <a:endParaRPr lang="de-DE" dirty="0"/>
          </a:p>
        </p:txBody>
      </p:sp>
    </p:spTree>
    <p:extLst>
      <p:ext uri="{BB962C8B-B14F-4D97-AF65-F5344CB8AC3E}">
        <p14:creationId xmlns:p14="http://schemas.microsoft.com/office/powerpoint/2010/main" val="140068880"/>
      </p:ext>
    </p:extLst>
  </p:cSld>
  <p:clrMapOvr>
    <a:masterClrMapping/>
  </p:clrMapOvr>
  <p:extLst>
    <p:ext uri="{DCECCB84-F9BA-43D5-87BE-67443E8EF086}">
      <p15:sldGuideLst xmlns:p15="http://schemas.microsoft.com/office/powerpoint/2012/main">
        <p15:guide id="1" pos="121">
          <p15:clr>
            <a:srgbClr val="FBAE40"/>
          </p15:clr>
        </p15:guide>
        <p15:guide id="2" pos="7559">
          <p15:clr>
            <a:srgbClr val="FBAE40"/>
          </p15:clr>
        </p15:guide>
        <p15:guide id="3" orient="horz" pos="119">
          <p15:clr>
            <a:srgbClr val="FBAE40"/>
          </p15:clr>
        </p15:guide>
        <p15:guide id="4" orient="horz" pos="4201">
          <p15:clr>
            <a:srgbClr val="FBAE40"/>
          </p15:clr>
        </p15:guide>
        <p15:guide id="5" pos="5473"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12" name="Bildplatzhalter 3">
            <a:extLst>
              <a:ext uri="{FF2B5EF4-FFF2-40B4-BE49-F238E27FC236}">
                <a16:creationId xmlns:a16="http://schemas.microsoft.com/office/drawing/2014/main" id="{1371B121-9BC3-450C-A2E2-E6848BF51123}"/>
              </a:ext>
            </a:extLst>
          </p:cNvPr>
          <p:cNvSpPr>
            <a:spLocks noGrp="1"/>
          </p:cNvSpPr>
          <p:nvPr>
            <p:ph type="pic" sz="quarter" idx="20" hasCustomPrompt="1"/>
          </p:nvPr>
        </p:nvSpPr>
        <p:spPr bwMode="gray">
          <a:xfrm>
            <a:off x="191343" y="188640"/>
            <a:ext cx="11808569" cy="3240000"/>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11" name="Bildplatzhalter 3">
            <a:extLst>
              <a:ext uri="{FF2B5EF4-FFF2-40B4-BE49-F238E27FC236}">
                <a16:creationId xmlns:a16="http://schemas.microsoft.com/office/drawing/2014/main" id="{640E9695-E03F-4CB6-AE08-99B9D9F72DC4}"/>
              </a:ext>
            </a:extLst>
          </p:cNvPr>
          <p:cNvSpPr>
            <a:spLocks noGrp="1"/>
          </p:cNvSpPr>
          <p:nvPr>
            <p:ph type="pic" sz="quarter" idx="22" hasCustomPrompt="1"/>
          </p:nvPr>
        </p:nvSpPr>
        <p:spPr bwMode="gray">
          <a:xfrm>
            <a:off x="191344" y="3501008"/>
            <a:ext cx="11808569" cy="3168000"/>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5" name="Foliennummernplatzhalter 4"/>
          <p:cNvSpPr>
            <a:spLocks noGrp="1"/>
          </p:cNvSpPr>
          <p:nvPr>
            <p:ph type="sldNum" sz="quarter" idx="12"/>
          </p:nvPr>
        </p:nvSpPr>
        <p:spPr bwMode="gray"/>
        <p:txBody>
          <a:bodyPr/>
          <a:lstStyle/>
          <a:p>
            <a:fld id="{CE82B8A1-0CCE-4815-9668-383D7DE7D8B4}" type="slidenum">
              <a:rPr lang="en-US" noProof="0" smtClean="0"/>
              <a:t>‹Nº›</a:t>
            </a:fld>
            <a:endParaRPr lang="en-US" noProof="0" dirty="0"/>
          </a:p>
        </p:txBody>
      </p:sp>
      <p:sp>
        <p:nvSpPr>
          <p:cNvPr id="3" name="Textplatzhalter 2">
            <a:extLst>
              <a:ext uri="{FF2B5EF4-FFF2-40B4-BE49-F238E27FC236}">
                <a16:creationId xmlns:a16="http://schemas.microsoft.com/office/drawing/2014/main" id="{E5435D3C-C2C8-454A-99E8-9ED4649D3BFE}"/>
              </a:ext>
            </a:extLst>
          </p:cNvPr>
          <p:cNvSpPr>
            <a:spLocks noGrp="1"/>
          </p:cNvSpPr>
          <p:nvPr>
            <p:ph type="body" sz="quarter" idx="21" hasCustomPrompt="1"/>
          </p:nvPr>
        </p:nvSpPr>
        <p:spPr bwMode="gray">
          <a:xfrm>
            <a:off x="335627" y="3645352"/>
            <a:ext cx="3024069" cy="2880000"/>
          </a:xfrm>
        </p:spPr>
        <p:txBody>
          <a:bodyPr tIns="0" bIns="0"/>
          <a:lstStyle>
            <a:lvl1pPr marL="0" indent="0">
              <a:buFont typeface="Arial" panose="020B0604020202020204" pitchFamily="34" charset="0"/>
              <a:buNone/>
              <a:defRPr sz="1200">
                <a:latin typeface="+mn-lt"/>
              </a:defRPr>
            </a:lvl1pPr>
            <a:lvl2pPr marL="0" indent="0">
              <a:buFont typeface="Arial" panose="020B0604020202020204" pitchFamily="34" charset="0"/>
              <a:buNone/>
              <a:defRPr sz="1200">
                <a:latin typeface="+mn-lt"/>
              </a:defRPr>
            </a:lvl2pPr>
            <a:lvl3pPr marL="0" indent="0">
              <a:buNone/>
              <a:defRPr sz="1200">
                <a:latin typeface="+mn-lt"/>
              </a:defRPr>
            </a:lvl3pPr>
            <a:lvl4pPr marL="0" indent="0">
              <a:buNone/>
              <a:defRPr sz="1200">
                <a:latin typeface="+mn-lt"/>
              </a:defRPr>
            </a:lvl4pPr>
            <a:lvl5pPr marL="0" indent="0">
              <a:buNone/>
              <a:defRPr sz="1200">
                <a:latin typeface="+mn-lt"/>
              </a:defRPr>
            </a:lvl5pPr>
            <a:lvl6pPr marL="0" indent="0">
              <a:buNone/>
              <a:defRPr sz="1200">
                <a:latin typeface="+mn-lt"/>
              </a:defRPr>
            </a:lvl6pPr>
            <a:lvl7pPr marL="0" indent="0">
              <a:buNone/>
              <a:defRPr sz="1200">
                <a:latin typeface="+mn-lt"/>
              </a:defRPr>
            </a:lvl7pPr>
            <a:lvl8pPr marL="0" indent="0">
              <a:buNone/>
              <a:defRPr sz="1200">
                <a:latin typeface="+mn-lt"/>
              </a:defRPr>
            </a:lvl8pPr>
            <a:lvl9pPr marL="0" indent="0">
              <a:buNone/>
              <a:defRPr sz="1200">
                <a:latin typeface="+mn-lt"/>
              </a:defRPr>
            </a:lvl9pPr>
          </a:lstStyle>
          <a:p>
            <a:pPr lvl="0"/>
            <a:r>
              <a:rPr lang="en-US" noProof="0" dirty="0"/>
              <a:t>Captions</a:t>
            </a:r>
          </a:p>
        </p:txBody>
      </p:sp>
      <p:sp>
        <p:nvSpPr>
          <p:cNvPr id="14" name="Textplatzhalter 2">
            <a:extLst>
              <a:ext uri="{FF2B5EF4-FFF2-40B4-BE49-F238E27FC236}">
                <a16:creationId xmlns:a16="http://schemas.microsoft.com/office/drawing/2014/main" id="{8BF0880E-48EB-42EB-AA7A-D5836CD8A537}"/>
              </a:ext>
            </a:extLst>
          </p:cNvPr>
          <p:cNvSpPr>
            <a:spLocks noGrp="1"/>
          </p:cNvSpPr>
          <p:nvPr>
            <p:ph type="body" sz="quarter" idx="23" hasCustomPrompt="1"/>
          </p:nvPr>
        </p:nvSpPr>
        <p:spPr bwMode="gray">
          <a:xfrm>
            <a:off x="8832571" y="332656"/>
            <a:ext cx="3024069" cy="2952000"/>
          </a:xfrm>
        </p:spPr>
        <p:txBody>
          <a:bodyPr tIns="0" bIns="0" anchor="b"/>
          <a:lstStyle>
            <a:lvl1pPr marL="0" indent="0" algn="r">
              <a:buFont typeface="Arial" panose="020B0604020202020204" pitchFamily="34" charset="0"/>
              <a:buNone/>
              <a:defRPr sz="1200">
                <a:latin typeface="+mn-lt"/>
              </a:defRPr>
            </a:lvl1pPr>
            <a:lvl2pPr marL="0" indent="0" algn="r">
              <a:buFont typeface="Arial" panose="020B0604020202020204" pitchFamily="34" charset="0"/>
              <a:buNone/>
              <a:defRPr sz="1200">
                <a:latin typeface="+mn-lt"/>
              </a:defRPr>
            </a:lvl2pPr>
            <a:lvl3pPr marL="0" indent="0" algn="r">
              <a:buNone/>
              <a:defRPr sz="1200">
                <a:latin typeface="+mn-lt"/>
              </a:defRPr>
            </a:lvl3pPr>
            <a:lvl4pPr marL="0" indent="0" algn="r">
              <a:buNone/>
              <a:defRPr sz="1200">
                <a:latin typeface="+mn-lt"/>
              </a:defRPr>
            </a:lvl4pPr>
            <a:lvl5pPr marL="0" indent="0" algn="r">
              <a:buNone/>
              <a:defRPr sz="1200">
                <a:latin typeface="+mn-lt"/>
              </a:defRPr>
            </a:lvl5pPr>
            <a:lvl6pPr marL="0" indent="0" algn="r">
              <a:buNone/>
              <a:defRPr sz="1200">
                <a:latin typeface="+mn-lt"/>
              </a:defRPr>
            </a:lvl6pPr>
            <a:lvl7pPr marL="0" indent="0" algn="r">
              <a:buNone/>
              <a:defRPr sz="1200">
                <a:latin typeface="+mn-lt"/>
              </a:defRPr>
            </a:lvl7pPr>
            <a:lvl8pPr marL="0" indent="0" algn="r">
              <a:buNone/>
              <a:defRPr sz="1200">
                <a:latin typeface="+mn-lt"/>
              </a:defRPr>
            </a:lvl8pPr>
            <a:lvl9pPr marL="0" indent="0" algn="r">
              <a:buNone/>
              <a:defRPr sz="1200">
                <a:latin typeface="+mn-lt"/>
              </a:defRPr>
            </a:lvl9pPr>
          </a:lstStyle>
          <a:p>
            <a:pPr lvl="0"/>
            <a:r>
              <a:rPr lang="en-US" noProof="0" dirty="0"/>
              <a:t>Captions</a:t>
            </a:r>
          </a:p>
        </p:txBody>
      </p:sp>
      <p:grpSp>
        <p:nvGrpSpPr>
          <p:cNvPr id="18" name="Gruppieren 17">
            <a:extLst>
              <a:ext uri="{FF2B5EF4-FFF2-40B4-BE49-F238E27FC236}">
                <a16:creationId xmlns:a16="http://schemas.microsoft.com/office/drawing/2014/main" id="{321B1058-900F-4C8E-8BA5-9F078471CC1D}"/>
              </a:ext>
            </a:extLst>
          </p:cNvPr>
          <p:cNvGrpSpPr/>
          <p:nvPr userDrawn="1"/>
        </p:nvGrpSpPr>
        <p:grpSpPr bwMode="gray">
          <a:xfrm>
            <a:off x="3071664" y="-207392"/>
            <a:ext cx="6048672" cy="108000"/>
            <a:chOff x="3071664" y="-207392"/>
            <a:chExt cx="6048672" cy="108000"/>
          </a:xfrm>
        </p:grpSpPr>
        <p:sp>
          <p:nvSpPr>
            <p:cNvPr id="19" name="Freihandform: Form 18">
              <a:extLst>
                <a:ext uri="{FF2B5EF4-FFF2-40B4-BE49-F238E27FC236}">
                  <a16:creationId xmlns:a16="http://schemas.microsoft.com/office/drawing/2014/main" id="{3CD2CD93-BC1F-4B18-91C2-31FD82F29A0B}"/>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Freihandform: Form 19">
              <a:extLst>
                <a:ext uri="{FF2B5EF4-FFF2-40B4-BE49-F238E27FC236}">
                  <a16:creationId xmlns:a16="http://schemas.microsoft.com/office/drawing/2014/main" id="{29503916-5C92-4F1D-BF50-62C75DF46F82}"/>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Freihandform: Form 20">
              <a:extLst>
                <a:ext uri="{FF2B5EF4-FFF2-40B4-BE49-F238E27FC236}">
                  <a16:creationId xmlns:a16="http://schemas.microsoft.com/office/drawing/2014/main" id="{1F09BC55-4493-422B-8964-3C125680F2D6}"/>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D4FD357E-A9B7-46DA-853F-C9F32CB786B9}"/>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3" name="Freihandform: Form 22">
              <a:extLst>
                <a:ext uri="{FF2B5EF4-FFF2-40B4-BE49-F238E27FC236}">
                  <a16:creationId xmlns:a16="http://schemas.microsoft.com/office/drawing/2014/main" id="{F50E4B1F-DF41-4E8D-B3D2-C79F41977183}"/>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4" name="Freihandform: Form 23">
              <a:extLst>
                <a:ext uri="{FF2B5EF4-FFF2-40B4-BE49-F238E27FC236}">
                  <a16:creationId xmlns:a16="http://schemas.microsoft.com/office/drawing/2014/main" id="{033C48B0-B4B5-43E6-B9B3-4188E67AF202}"/>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15" name="Rechteck 14">
            <a:extLst>
              <a:ext uri="{FF2B5EF4-FFF2-40B4-BE49-F238E27FC236}">
                <a16:creationId xmlns:a16="http://schemas.microsoft.com/office/drawing/2014/main" id="{9871A9D6-CCCE-4DB1-B907-35A96FD51FEB}"/>
              </a:ext>
            </a:extLst>
          </p:cNvPr>
          <p:cNvSpPr/>
          <p:nvPr userDrawn="1"/>
        </p:nvSpPr>
        <p:spPr bwMode="gray">
          <a:xfrm>
            <a:off x="12288880" y="188640"/>
            <a:ext cx="1728000" cy="64804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t"/>
          <a:lstStyle/>
          <a:p>
            <a:pPr algn="l"/>
            <a:r>
              <a:rPr lang="en-US" sz="1200" dirty="0">
                <a:solidFill>
                  <a:schemeClr val="tx1"/>
                </a:solidFill>
                <a:latin typeface="+mj-lt"/>
              </a:rPr>
              <a:t>No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Please make sure the text boxes have a smooth and calm background so that the text can be easily read.  Additional image layouts are available if this is not the case.</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sz="1200" dirty="0">
                <a:solidFill>
                  <a:schemeClr val="tx1"/>
                </a:solidFill>
              </a:rPr>
            </a:br>
            <a:r>
              <a:rPr lang="en-US" sz="1200" dirty="0">
                <a:solidFill>
                  <a:schemeClr val="tx1"/>
                </a:solidFill>
              </a:rPr>
              <a:t>Select the color of the page number depending on legibility. You can choose a white or black page number.</a:t>
            </a:r>
          </a:p>
          <a:p>
            <a:pPr algn="l"/>
            <a:endParaRPr lang="en-US" sz="1200" dirty="0">
              <a:solidFill>
                <a:schemeClr val="tx1"/>
              </a:solidFill>
            </a:endParaRPr>
          </a:p>
        </p:txBody>
      </p:sp>
    </p:spTree>
    <p:extLst>
      <p:ext uri="{BB962C8B-B14F-4D97-AF65-F5344CB8AC3E}">
        <p14:creationId xmlns:p14="http://schemas.microsoft.com/office/powerpoint/2010/main" val="1348197270"/>
      </p:ext>
    </p:extLst>
  </p:cSld>
  <p:clrMapOvr>
    <a:masterClrMapping/>
  </p:clrMapOvr>
  <p:extLst>
    <p:ext uri="{DCECCB84-F9BA-43D5-87BE-67443E8EF086}">
      <p15:sldGuideLst xmlns:p15="http://schemas.microsoft.com/office/powerpoint/2012/main">
        <p15:guide id="1" pos="121" userDrawn="1">
          <p15:clr>
            <a:srgbClr val="FBAE40"/>
          </p15:clr>
        </p15:guide>
        <p15:guide id="2" pos="7559" userDrawn="1">
          <p15:clr>
            <a:srgbClr val="FBAE40"/>
          </p15:clr>
        </p15:guide>
        <p15:guide id="3" orient="horz" pos="119" userDrawn="1">
          <p15:clr>
            <a:srgbClr val="FBAE40"/>
          </p15:clr>
        </p15:guide>
        <p15:guide id="6" orient="horz" pos="420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llage with Content">
    <p:spTree>
      <p:nvGrpSpPr>
        <p:cNvPr id="1" name=""/>
        <p:cNvGrpSpPr/>
        <p:nvPr/>
      </p:nvGrpSpPr>
      <p:grpSpPr>
        <a:xfrm>
          <a:off x="0" y="0"/>
          <a:ext cx="0" cy="0"/>
          <a:chOff x="0" y="0"/>
          <a:chExt cx="0" cy="0"/>
        </a:xfrm>
      </p:grpSpPr>
      <p:sp>
        <p:nvSpPr>
          <p:cNvPr id="10" name="Bildplatzhalter 3">
            <a:extLst>
              <a:ext uri="{FF2B5EF4-FFF2-40B4-BE49-F238E27FC236}">
                <a16:creationId xmlns:a16="http://schemas.microsoft.com/office/drawing/2014/main" id="{D9CAD6F3-9D2C-4063-BE8B-B68CEF17A8CD}"/>
              </a:ext>
            </a:extLst>
          </p:cNvPr>
          <p:cNvSpPr>
            <a:spLocks noGrp="1"/>
          </p:cNvSpPr>
          <p:nvPr>
            <p:ph type="pic" sz="quarter" idx="18" hasCustomPrompt="1"/>
          </p:nvPr>
        </p:nvSpPr>
        <p:spPr bwMode="gray">
          <a:xfrm>
            <a:off x="9212794" y="3789040"/>
            <a:ext cx="2808000" cy="1728000"/>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4" name="Bildplatzhalter 3">
            <a:extLst>
              <a:ext uri="{FF2B5EF4-FFF2-40B4-BE49-F238E27FC236}">
                <a16:creationId xmlns:a16="http://schemas.microsoft.com/office/drawing/2014/main" id="{8362331E-B0C2-4183-8683-0AFAA09A5ED7}"/>
              </a:ext>
            </a:extLst>
          </p:cNvPr>
          <p:cNvSpPr>
            <a:spLocks noGrp="1"/>
          </p:cNvSpPr>
          <p:nvPr>
            <p:ph type="pic" sz="quarter" idx="13" hasCustomPrompt="1"/>
          </p:nvPr>
        </p:nvSpPr>
        <p:spPr bwMode="gray">
          <a:xfrm>
            <a:off x="6168336" y="188640"/>
            <a:ext cx="2952000" cy="6480448"/>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5" name="Foliennummernplatzhalter 4"/>
          <p:cNvSpPr>
            <a:spLocks noGrp="1"/>
          </p:cNvSpPr>
          <p:nvPr>
            <p:ph type="sldNum" sz="quarter" idx="12"/>
          </p:nvPr>
        </p:nvSpPr>
        <p:spPr bwMode="gray"/>
        <p:txBody>
          <a:bodyPr/>
          <a:lstStyle/>
          <a:p>
            <a:fld id="{CE82B8A1-0CCE-4815-9668-383D7DE7D8B4}" type="slidenum">
              <a:rPr lang="en-US" noProof="0" smtClean="0"/>
              <a:t>‹Nº›</a:t>
            </a:fld>
            <a:endParaRPr lang="en-US" noProof="0" dirty="0"/>
          </a:p>
        </p:txBody>
      </p:sp>
      <p:sp>
        <p:nvSpPr>
          <p:cNvPr id="8" name="Bildplatzhalter 3">
            <a:extLst>
              <a:ext uri="{FF2B5EF4-FFF2-40B4-BE49-F238E27FC236}">
                <a16:creationId xmlns:a16="http://schemas.microsoft.com/office/drawing/2014/main" id="{36899CE4-8C06-4BD8-B3E1-78B58E452E12}"/>
              </a:ext>
            </a:extLst>
          </p:cNvPr>
          <p:cNvSpPr>
            <a:spLocks noGrp="1"/>
          </p:cNvSpPr>
          <p:nvPr>
            <p:ph type="pic" sz="quarter" idx="16" hasCustomPrompt="1"/>
          </p:nvPr>
        </p:nvSpPr>
        <p:spPr bwMode="gray">
          <a:xfrm>
            <a:off x="9192344" y="188640"/>
            <a:ext cx="2808000" cy="1728000"/>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9" name="Bildplatzhalter 3">
            <a:extLst>
              <a:ext uri="{FF2B5EF4-FFF2-40B4-BE49-F238E27FC236}">
                <a16:creationId xmlns:a16="http://schemas.microsoft.com/office/drawing/2014/main" id="{270F9862-F2B9-4BFC-838A-1BDB7146C487}"/>
              </a:ext>
            </a:extLst>
          </p:cNvPr>
          <p:cNvSpPr>
            <a:spLocks noGrp="1"/>
          </p:cNvSpPr>
          <p:nvPr>
            <p:ph type="pic" sz="quarter" idx="17" hasCustomPrompt="1"/>
          </p:nvPr>
        </p:nvSpPr>
        <p:spPr bwMode="gray">
          <a:xfrm>
            <a:off x="9202449" y="1988840"/>
            <a:ext cx="2808000" cy="1728000"/>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12" name="Bildplatzhalter 3">
            <a:extLst>
              <a:ext uri="{FF2B5EF4-FFF2-40B4-BE49-F238E27FC236}">
                <a16:creationId xmlns:a16="http://schemas.microsoft.com/office/drawing/2014/main" id="{1371B121-9BC3-450C-A2E2-E6848BF51123}"/>
              </a:ext>
            </a:extLst>
          </p:cNvPr>
          <p:cNvSpPr>
            <a:spLocks noGrp="1"/>
          </p:cNvSpPr>
          <p:nvPr>
            <p:ph type="pic" sz="quarter" idx="20" hasCustomPrompt="1"/>
          </p:nvPr>
        </p:nvSpPr>
        <p:spPr bwMode="gray">
          <a:xfrm>
            <a:off x="3072000" y="188640"/>
            <a:ext cx="3024000" cy="3528200"/>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3" name="Textplatzhalter 2">
            <a:extLst>
              <a:ext uri="{FF2B5EF4-FFF2-40B4-BE49-F238E27FC236}">
                <a16:creationId xmlns:a16="http://schemas.microsoft.com/office/drawing/2014/main" id="{E5435D3C-C2C8-454A-99E8-9ED4649D3BFE}"/>
              </a:ext>
            </a:extLst>
          </p:cNvPr>
          <p:cNvSpPr>
            <a:spLocks noGrp="1"/>
          </p:cNvSpPr>
          <p:nvPr>
            <p:ph type="body" sz="quarter" idx="21" hasCustomPrompt="1"/>
          </p:nvPr>
        </p:nvSpPr>
        <p:spPr bwMode="gray">
          <a:xfrm>
            <a:off x="623888" y="4005064"/>
            <a:ext cx="5327456" cy="2304000"/>
          </a:xfrm>
        </p:spPr>
        <p:txBody>
          <a:bodyPr tIns="0" bIns="0"/>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grpSp>
        <p:nvGrpSpPr>
          <p:cNvPr id="19" name="Gruppieren 18">
            <a:extLst>
              <a:ext uri="{FF2B5EF4-FFF2-40B4-BE49-F238E27FC236}">
                <a16:creationId xmlns:a16="http://schemas.microsoft.com/office/drawing/2014/main" id="{989E1020-8CD7-434F-9900-0B79D28C7A16}"/>
              </a:ext>
            </a:extLst>
          </p:cNvPr>
          <p:cNvGrpSpPr/>
          <p:nvPr userDrawn="1"/>
        </p:nvGrpSpPr>
        <p:grpSpPr bwMode="gray">
          <a:xfrm>
            <a:off x="3071664" y="-207392"/>
            <a:ext cx="6048672" cy="108000"/>
            <a:chOff x="3071664" y="-207392"/>
            <a:chExt cx="6048672" cy="108000"/>
          </a:xfrm>
        </p:grpSpPr>
        <p:sp>
          <p:nvSpPr>
            <p:cNvPr id="20" name="Freihandform: Form 19">
              <a:extLst>
                <a:ext uri="{FF2B5EF4-FFF2-40B4-BE49-F238E27FC236}">
                  <a16:creationId xmlns:a16="http://schemas.microsoft.com/office/drawing/2014/main" id="{FC1DB742-A946-462E-BCA6-F3C2F4528A05}"/>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Freihandform: Form 20">
              <a:extLst>
                <a:ext uri="{FF2B5EF4-FFF2-40B4-BE49-F238E27FC236}">
                  <a16:creationId xmlns:a16="http://schemas.microsoft.com/office/drawing/2014/main" id="{5A68E154-C955-4C62-B594-A9A531867678}"/>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0DA8F495-B28C-45F0-AAB2-0A0A4EFF8A55}"/>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3" name="Freihandform: Form 22">
              <a:extLst>
                <a:ext uri="{FF2B5EF4-FFF2-40B4-BE49-F238E27FC236}">
                  <a16:creationId xmlns:a16="http://schemas.microsoft.com/office/drawing/2014/main" id="{BB95262F-87DB-417D-B41C-9FA3E08FF8F7}"/>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4" name="Freihandform: Form 23">
              <a:extLst>
                <a:ext uri="{FF2B5EF4-FFF2-40B4-BE49-F238E27FC236}">
                  <a16:creationId xmlns:a16="http://schemas.microsoft.com/office/drawing/2014/main" id="{9B4F2045-7890-43BF-8E5A-55AEB574BEA9}"/>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5" name="Freihandform: Form 24">
              <a:extLst>
                <a:ext uri="{FF2B5EF4-FFF2-40B4-BE49-F238E27FC236}">
                  <a16:creationId xmlns:a16="http://schemas.microsoft.com/office/drawing/2014/main" id="{F847547F-8E20-4DFF-BAEC-6DEDBAD330E3}"/>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2" name="Fußzeilenplatzhalter 1">
            <a:extLst>
              <a:ext uri="{FF2B5EF4-FFF2-40B4-BE49-F238E27FC236}">
                <a16:creationId xmlns:a16="http://schemas.microsoft.com/office/drawing/2014/main" id="{86965705-930E-409E-AD3B-B1A5925021FD}"/>
              </a:ext>
            </a:extLst>
          </p:cNvPr>
          <p:cNvSpPr>
            <a:spLocks noGrp="1"/>
          </p:cNvSpPr>
          <p:nvPr>
            <p:ph type="ftr" sz="quarter" idx="22"/>
          </p:nvPr>
        </p:nvSpPr>
        <p:spPr bwMode="gray"/>
        <p:txBody>
          <a:bodyPr/>
          <a:lstStyle/>
          <a:p>
            <a:r>
              <a:rPr lang="en-US"/>
              <a:t>Footnote: Please insert appropriate company</a:t>
            </a:r>
            <a:endParaRPr lang="de-DE" dirty="0"/>
          </a:p>
        </p:txBody>
      </p:sp>
    </p:spTree>
    <p:extLst>
      <p:ext uri="{BB962C8B-B14F-4D97-AF65-F5344CB8AC3E}">
        <p14:creationId xmlns:p14="http://schemas.microsoft.com/office/powerpoint/2010/main" val="1130471253"/>
      </p:ext>
    </p:extLst>
  </p:cSld>
  <p:clrMapOvr>
    <a:masterClrMapping/>
  </p:clrMapOvr>
  <p:extLst>
    <p:ext uri="{DCECCB84-F9BA-43D5-87BE-67443E8EF086}">
      <p15:sldGuideLst xmlns:p15="http://schemas.microsoft.com/office/powerpoint/2012/main">
        <p15:guide id="1" pos="121" userDrawn="1">
          <p15:clr>
            <a:srgbClr val="FBAE40"/>
          </p15:clr>
        </p15:guide>
        <p15:guide id="2" pos="7559" userDrawn="1">
          <p15:clr>
            <a:srgbClr val="FBAE40"/>
          </p15:clr>
        </p15:guide>
        <p15:guide id="3" orient="horz" pos="4201" userDrawn="1">
          <p15:clr>
            <a:srgbClr val="FBAE40"/>
          </p15:clr>
        </p15:guide>
        <p15:guide id="4" orient="horz" pos="11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6" name="Bildplatzhalter 3">
            <a:extLst>
              <a:ext uri="{FF2B5EF4-FFF2-40B4-BE49-F238E27FC236}">
                <a16:creationId xmlns:a16="http://schemas.microsoft.com/office/drawing/2014/main" id="{7568B9F4-53AD-467F-8644-65D2252FB792}"/>
              </a:ext>
            </a:extLst>
          </p:cNvPr>
          <p:cNvSpPr>
            <a:spLocks noGrp="1"/>
          </p:cNvSpPr>
          <p:nvPr>
            <p:ph type="pic" sz="quarter" idx="13" hasCustomPrompt="1"/>
          </p:nvPr>
        </p:nvSpPr>
        <p:spPr bwMode="gray">
          <a:xfrm>
            <a:off x="192831" y="188640"/>
            <a:ext cx="11807825" cy="6480448"/>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2" name="Titel 1"/>
          <p:cNvSpPr>
            <a:spLocks noGrp="1"/>
          </p:cNvSpPr>
          <p:nvPr>
            <p:ph type="ctrTitle" hasCustomPrompt="1"/>
          </p:nvPr>
        </p:nvSpPr>
        <p:spPr bwMode="gray">
          <a:xfrm>
            <a:off x="6540000" y="3703613"/>
            <a:ext cx="5652000" cy="2461691"/>
          </a:xfrm>
          <a:solidFill>
            <a:schemeClr val="accent1"/>
          </a:solidFill>
        </p:spPr>
        <p:txBody>
          <a:bodyPr lIns="360000" tIns="360000" rIns="360000" bIns="720000" anchor="b" anchorCtr="0">
            <a:spAutoFit/>
          </a:bodyPr>
          <a:lstStyle>
            <a:lvl1pPr>
              <a:defRPr sz="5400">
                <a:solidFill>
                  <a:schemeClr val="bg1"/>
                </a:solidFill>
                <a:latin typeface="DraegerWalbaum" pitchFamily="2" charset="0"/>
              </a:defRPr>
            </a:lvl1pPr>
          </a:lstStyle>
          <a:p>
            <a:r>
              <a:rPr lang="en-US" noProof="0" dirty="0"/>
              <a:t>Click to edit Master title style</a:t>
            </a:r>
          </a:p>
        </p:txBody>
      </p:sp>
      <p:sp>
        <p:nvSpPr>
          <p:cNvPr id="98" name="Rechteck 97">
            <a:extLst>
              <a:ext uri="{FF2B5EF4-FFF2-40B4-BE49-F238E27FC236}">
                <a16:creationId xmlns:a16="http://schemas.microsoft.com/office/drawing/2014/main" id="{97317CE1-156C-4073-A1EA-13FB2B497A65}"/>
              </a:ext>
            </a:extLst>
          </p:cNvPr>
          <p:cNvSpPr/>
          <p:nvPr userDrawn="1"/>
        </p:nvSpPr>
        <p:spPr bwMode="gray">
          <a:xfrm>
            <a:off x="12288880" y="188640"/>
            <a:ext cx="1728000" cy="64804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t"/>
          <a:lstStyle/>
          <a:p>
            <a:pPr algn="l"/>
            <a:r>
              <a:rPr lang="en-US" sz="1200" noProof="0" dirty="0">
                <a:solidFill>
                  <a:schemeClr val="tx1"/>
                </a:solidFill>
                <a:latin typeface="+mj-lt"/>
              </a:rPr>
              <a:t>Note:</a:t>
            </a:r>
            <a:endParaRPr lang="en-US" sz="1200" noProof="0" dirty="0">
              <a:solidFill>
                <a:schemeClr val="tx1"/>
              </a:solidFill>
            </a:endParaRPr>
          </a:p>
          <a:p>
            <a:pPr algn="l"/>
            <a:r>
              <a:rPr lang="en-US" sz="1200" noProof="0" dirty="0">
                <a:solidFill>
                  <a:schemeClr val="tx1"/>
                </a:solidFill>
              </a:rPr>
              <a:t>For dark images,</a:t>
            </a:r>
            <a:br>
              <a:rPr lang="en-US" sz="1200" noProof="0" dirty="0">
                <a:solidFill>
                  <a:schemeClr val="tx1"/>
                </a:solidFill>
              </a:rPr>
            </a:br>
            <a:r>
              <a:rPr lang="en-US" sz="1200" noProof="0" dirty="0">
                <a:solidFill>
                  <a:schemeClr val="tx1"/>
                </a:solidFill>
              </a:rPr>
              <a:t>the copyright can be rendered white.</a:t>
            </a:r>
          </a:p>
        </p:txBody>
      </p:sp>
      <p:sp>
        <p:nvSpPr>
          <p:cNvPr id="5" name="Textplatzhalter 4">
            <a:extLst>
              <a:ext uri="{FF2B5EF4-FFF2-40B4-BE49-F238E27FC236}">
                <a16:creationId xmlns:a16="http://schemas.microsoft.com/office/drawing/2014/main" id="{0C4BB2BE-B19C-4022-A278-0F543B835CE6}"/>
              </a:ext>
            </a:extLst>
          </p:cNvPr>
          <p:cNvSpPr>
            <a:spLocks noGrp="1"/>
          </p:cNvSpPr>
          <p:nvPr>
            <p:ph type="body" sz="quarter" idx="15" hasCustomPrompt="1"/>
          </p:nvPr>
        </p:nvSpPr>
        <p:spPr bwMode="gray">
          <a:xfrm>
            <a:off x="6960914" y="5589464"/>
            <a:ext cx="5040000" cy="288000"/>
          </a:xfrm>
        </p:spPr>
        <p:txBody>
          <a:bodyPr/>
          <a:lstStyle>
            <a:lvl1pPr marL="0" indent="0">
              <a:buFont typeface="Arial" panose="020B0604020202020204" pitchFamily="34" charset="0"/>
              <a:buNone/>
              <a:defRPr sz="1800">
                <a:solidFill>
                  <a:schemeClr val="bg1"/>
                </a:solidFill>
                <a:latin typeface="+mn-lt"/>
              </a:defRPr>
            </a:lvl1pPr>
            <a:lvl2pPr marL="0" indent="0">
              <a:buFont typeface="Arial" panose="020B0604020202020204" pitchFamily="34" charset="0"/>
              <a:buNone/>
              <a:defRPr sz="1800">
                <a:solidFill>
                  <a:schemeClr val="bg1"/>
                </a:solidFill>
                <a:latin typeface="+mn-lt"/>
              </a:defRPr>
            </a:lvl2pPr>
            <a:lvl3pPr marL="0" indent="0">
              <a:buNone/>
              <a:defRPr sz="1800">
                <a:solidFill>
                  <a:schemeClr val="bg1"/>
                </a:solidFill>
                <a:latin typeface="+mn-lt"/>
              </a:defRPr>
            </a:lvl3pPr>
            <a:lvl4pPr marL="0" indent="0">
              <a:buNone/>
              <a:defRPr sz="1800">
                <a:solidFill>
                  <a:schemeClr val="bg1"/>
                </a:solidFill>
                <a:latin typeface="+mn-lt"/>
              </a:defRPr>
            </a:lvl4pPr>
            <a:lvl5pPr marL="0" indent="0">
              <a:buNone/>
              <a:defRPr sz="1800">
                <a:solidFill>
                  <a:schemeClr val="bg1"/>
                </a:solidFill>
                <a:latin typeface="+mn-lt"/>
              </a:defRPr>
            </a:lvl5pPr>
            <a:lvl6pPr marL="0" indent="0">
              <a:buNone/>
              <a:defRPr sz="1800">
                <a:solidFill>
                  <a:schemeClr val="bg1"/>
                </a:solidFill>
                <a:latin typeface="+mn-lt"/>
              </a:defRPr>
            </a:lvl6pPr>
            <a:lvl7pPr marL="0" indent="0">
              <a:buNone/>
              <a:defRPr sz="1800">
                <a:solidFill>
                  <a:schemeClr val="bg1"/>
                </a:solidFill>
                <a:latin typeface="+mn-lt"/>
              </a:defRPr>
            </a:lvl7pPr>
            <a:lvl8pPr marL="0" indent="0">
              <a:buNone/>
              <a:defRPr sz="1800">
                <a:solidFill>
                  <a:schemeClr val="bg1"/>
                </a:solidFill>
                <a:latin typeface="+mn-lt"/>
              </a:defRPr>
            </a:lvl8pPr>
            <a:lvl9pPr marL="0" indent="0">
              <a:buNone/>
              <a:defRPr sz="1800">
                <a:solidFill>
                  <a:schemeClr val="bg1"/>
                </a:solidFill>
                <a:latin typeface="+mn-lt"/>
              </a:defRPr>
            </a:lvl9pPr>
          </a:lstStyle>
          <a:p>
            <a:pPr lvl="0"/>
            <a:r>
              <a:rPr lang="en-US" noProof="0" dirty="0"/>
              <a:t>Click to edit Master title style</a:t>
            </a:r>
          </a:p>
        </p:txBody>
      </p:sp>
      <p:sp>
        <p:nvSpPr>
          <p:cNvPr id="16" name="Textplatzhalter 36">
            <a:extLst>
              <a:ext uri="{FF2B5EF4-FFF2-40B4-BE49-F238E27FC236}">
                <a16:creationId xmlns:a16="http://schemas.microsoft.com/office/drawing/2014/main" id="{6D499A30-54E2-4E79-BE32-AF9679ED35C3}"/>
              </a:ext>
            </a:extLst>
          </p:cNvPr>
          <p:cNvSpPr>
            <a:spLocks noGrp="1"/>
          </p:cNvSpPr>
          <p:nvPr>
            <p:ph type="body" sz="quarter" idx="26" hasCustomPrompt="1"/>
          </p:nvPr>
        </p:nvSpPr>
        <p:spPr bwMode="gray">
          <a:xfrm>
            <a:off x="6960022" y="5383614"/>
            <a:ext cx="792162" cy="18000"/>
          </a:xfrm>
          <a:solidFill>
            <a:schemeClr val="bg1"/>
          </a:solidFill>
        </p:spPr>
        <p:txBody>
          <a:bodyPr/>
          <a:lstStyle>
            <a:lvl1pPr marL="0" indent="0" algn="ctr">
              <a:buFont typeface="Arial" panose="020B0604020202020204" pitchFamily="34" charset="0"/>
              <a:buNone/>
              <a:defRPr sz="300">
                <a:solidFill>
                  <a:schemeClr val="accent5">
                    <a:alpha val="0"/>
                  </a:schemeClr>
                </a:solidFill>
                <a:latin typeface="+mn-lt"/>
              </a:defRPr>
            </a:lvl1pPr>
            <a:lvl2pPr marL="0" indent="0" algn="ctr">
              <a:buFont typeface="Arial" panose="020B0604020202020204" pitchFamily="34" charset="0"/>
              <a:buNone/>
              <a:defRPr sz="300">
                <a:solidFill>
                  <a:schemeClr val="accent5">
                    <a:alpha val="0"/>
                  </a:schemeClr>
                </a:solidFill>
                <a:latin typeface="+mn-lt"/>
              </a:defRPr>
            </a:lvl2pPr>
            <a:lvl3pPr marL="0" indent="0" algn="ctr">
              <a:buNone/>
              <a:defRPr sz="300">
                <a:solidFill>
                  <a:schemeClr val="accent5">
                    <a:alpha val="0"/>
                  </a:schemeClr>
                </a:solidFill>
                <a:latin typeface="+mn-lt"/>
              </a:defRPr>
            </a:lvl3pPr>
            <a:lvl4pPr marL="0" indent="0" algn="ctr">
              <a:buNone/>
              <a:defRPr sz="300">
                <a:solidFill>
                  <a:schemeClr val="accent5">
                    <a:alpha val="0"/>
                  </a:schemeClr>
                </a:solidFill>
                <a:latin typeface="+mn-lt"/>
              </a:defRPr>
            </a:lvl4pPr>
            <a:lvl5pPr marL="0" indent="0" algn="ctr">
              <a:buNone/>
              <a:defRPr sz="300">
                <a:solidFill>
                  <a:schemeClr val="accent5">
                    <a:alpha val="0"/>
                  </a:schemeClr>
                </a:solidFill>
                <a:latin typeface="+mn-lt"/>
              </a:defRPr>
            </a:lvl5pPr>
            <a:lvl6pPr marL="0" indent="0" algn="ctr">
              <a:buNone/>
              <a:defRPr sz="300">
                <a:solidFill>
                  <a:schemeClr val="accent5">
                    <a:alpha val="0"/>
                  </a:schemeClr>
                </a:solidFill>
                <a:latin typeface="+mn-lt"/>
              </a:defRPr>
            </a:lvl6pPr>
            <a:lvl7pPr marL="0" indent="0" algn="ctr">
              <a:buNone/>
              <a:defRPr sz="300">
                <a:solidFill>
                  <a:schemeClr val="accent5">
                    <a:alpha val="0"/>
                  </a:schemeClr>
                </a:solidFill>
                <a:latin typeface="+mn-lt"/>
              </a:defRPr>
            </a:lvl7pPr>
            <a:lvl8pPr marL="0" indent="0" algn="ctr">
              <a:buNone/>
              <a:defRPr sz="300">
                <a:solidFill>
                  <a:schemeClr val="accent5">
                    <a:alpha val="0"/>
                  </a:schemeClr>
                </a:solidFill>
                <a:latin typeface="+mn-lt"/>
              </a:defRPr>
            </a:lvl8pPr>
            <a:lvl9pPr marL="0" indent="0" algn="ctr">
              <a:buNone/>
              <a:defRPr sz="300">
                <a:solidFill>
                  <a:schemeClr val="accent5">
                    <a:alpha val="0"/>
                  </a:schemeClr>
                </a:solidFill>
                <a:latin typeface="+mn-lt"/>
              </a:defRPr>
            </a:lvl9pPr>
          </a:lstStyle>
          <a:p>
            <a:pPr lvl="0"/>
            <a:r>
              <a:rPr lang="en-US" noProof="0" dirty="0"/>
              <a:t> </a:t>
            </a:r>
          </a:p>
        </p:txBody>
      </p:sp>
      <p:grpSp>
        <p:nvGrpSpPr>
          <p:cNvPr id="15" name="Gruppieren 14">
            <a:extLst>
              <a:ext uri="{FF2B5EF4-FFF2-40B4-BE49-F238E27FC236}">
                <a16:creationId xmlns:a16="http://schemas.microsoft.com/office/drawing/2014/main" id="{5D1D2F5C-3037-4FA4-BAC0-2121D70AAAC2}"/>
              </a:ext>
            </a:extLst>
          </p:cNvPr>
          <p:cNvGrpSpPr/>
          <p:nvPr userDrawn="1"/>
        </p:nvGrpSpPr>
        <p:grpSpPr bwMode="gray">
          <a:xfrm>
            <a:off x="3071664" y="-207392"/>
            <a:ext cx="6048672" cy="108000"/>
            <a:chOff x="3071664" y="-207392"/>
            <a:chExt cx="6048672" cy="108000"/>
          </a:xfrm>
        </p:grpSpPr>
        <p:sp>
          <p:nvSpPr>
            <p:cNvPr id="17" name="Freihandform: Form 16">
              <a:extLst>
                <a:ext uri="{FF2B5EF4-FFF2-40B4-BE49-F238E27FC236}">
                  <a16:creationId xmlns:a16="http://schemas.microsoft.com/office/drawing/2014/main" id="{F74A57A9-1B47-4DC2-8CAC-43F5D55EEF54}"/>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 name="Freihandform: Form 17">
              <a:extLst>
                <a:ext uri="{FF2B5EF4-FFF2-40B4-BE49-F238E27FC236}">
                  <a16:creationId xmlns:a16="http://schemas.microsoft.com/office/drawing/2014/main" id="{139B05E4-A6C4-43B7-9BE4-BE14DF981273}"/>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 name="Freihandform: Form 18">
              <a:extLst>
                <a:ext uri="{FF2B5EF4-FFF2-40B4-BE49-F238E27FC236}">
                  <a16:creationId xmlns:a16="http://schemas.microsoft.com/office/drawing/2014/main" id="{6A002CE4-765C-4174-8B8C-A715B3DE0B0C}"/>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Freihandform: Form 19">
              <a:extLst>
                <a:ext uri="{FF2B5EF4-FFF2-40B4-BE49-F238E27FC236}">
                  <a16:creationId xmlns:a16="http://schemas.microsoft.com/office/drawing/2014/main" id="{E0596343-2559-4C1E-8061-16136F753B77}"/>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Freihandform: Form 20">
              <a:extLst>
                <a:ext uri="{FF2B5EF4-FFF2-40B4-BE49-F238E27FC236}">
                  <a16:creationId xmlns:a16="http://schemas.microsoft.com/office/drawing/2014/main" id="{615436B0-A78D-4756-9298-4BF9CF4A8357}"/>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6FC61D8B-F04A-44D7-A391-478AE0F25864}"/>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3" name="Fußzeilenplatzhalter 2">
            <a:extLst>
              <a:ext uri="{FF2B5EF4-FFF2-40B4-BE49-F238E27FC236}">
                <a16:creationId xmlns:a16="http://schemas.microsoft.com/office/drawing/2014/main" id="{470100BF-8D93-4412-8415-95E13534142D}"/>
              </a:ext>
            </a:extLst>
          </p:cNvPr>
          <p:cNvSpPr>
            <a:spLocks noGrp="1"/>
          </p:cNvSpPr>
          <p:nvPr>
            <p:ph type="ftr" sz="quarter" idx="27"/>
          </p:nvPr>
        </p:nvSpPr>
        <p:spPr bwMode="gray"/>
        <p:txBody>
          <a:bodyPr/>
          <a:lstStyle/>
          <a:p>
            <a:r>
              <a:rPr lang="en-US"/>
              <a:t>Footnote: Please insert appropriate company</a:t>
            </a:r>
            <a:endParaRPr lang="de-DE" dirty="0"/>
          </a:p>
        </p:txBody>
      </p:sp>
    </p:spTree>
    <p:extLst>
      <p:ext uri="{BB962C8B-B14F-4D97-AF65-F5344CB8AC3E}">
        <p14:creationId xmlns:p14="http://schemas.microsoft.com/office/powerpoint/2010/main" val="566257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10" presetClass="entr" presetSubtype="0" fill="hold" grpId="0" nodeType="after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6">
                                            <p:bg/>
                                          </p:spTgt>
                                        </p:tgtEl>
                                        <p:attrNameLst>
                                          <p:attrName>style.visibility</p:attrName>
                                        </p:attrNameLst>
                                      </p:cBhvr>
                                      <p:to>
                                        <p:strVal val="visible"/>
                                      </p:to>
                                    </p:set>
                                    <p:animEffect transition="in" filter="fade">
                                      <p:cBhvr>
                                        <p:cTn id="15" dur="500"/>
                                        <p:tgtEl>
                                          <p:spTgt spid="16">
                                            <p:bg/>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6">
                                            <p:txEl>
                                              <p:pRg st="0" end="0"/>
                                            </p:txEl>
                                          </p:spTgt>
                                        </p:tgtEl>
                                        <p:attrNameLst>
                                          <p:attrName>style.visibility</p:attrName>
                                        </p:attrNameLst>
                                      </p:cBhvr>
                                      <p:to>
                                        <p:strVal val="visible"/>
                                      </p:to>
                                    </p:set>
                                    <p:animEffect transition="in" filter="fade">
                                      <p:cBhvr>
                                        <p:cTn id="20"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16" grpId="0" build="p" animBg="1">
        <p:tmplLst>
          <p:tmpl>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 lvl="1">
            <p:tnLst>
              <p:par>
                <p:cTn presetID="10" presetClass="entr" presetSubtype="0" fill="hold" nodeType="click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p:extLst>
    <p:ext uri="{DCECCB84-F9BA-43D5-87BE-67443E8EF086}">
      <p15:sldGuideLst xmlns:p15="http://schemas.microsoft.com/office/powerpoint/2012/main">
        <p15:guide id="1" pos="121" userDrawn="1">
          <p15:clr>
            <a:srgbClr val="FBAE40"/>
          </p15:clr>
        </p15:guide>
        <p15:guide id="2" pos="7559" userDrawn="1">
          <p15:clr>
            <a:srgbClr val="FBAE40"/>
          </p15:clr>
        </p15:guide>
        <p15:guide id="3" orient="horz" pos="119" userDrawn="1">
          <p15:clr>
            <a:srgbClr val="FBAE40"/>
          </p15:clr>
        </p15:guide>
        <p15:guide id="4" orient="horz" pos="4201"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Foliennummernplatzhalter 4">
            <a:extLst>
              <a:ext uri="{FF2B5EF4-FFF2-40B4-BE49-F238E27FC236}">
                <a16:creationId xmlns:a16="http://schemas.microsoft.com/office/drawing/2014/main" id="{7005EA78-E6A3-4E7B-B699-66185168948F}"/>
              </a:ext>
            </a:extLst>
          </p:cNvPr>
          <p:cNvSpPr>
            <a:spLocks noGrp="1"/>
          </p:cNvSpPr>
          <p:nvPr>
            <p:ph type="sldNum" sz="quarter" idx="12"/>
          </p:nvPr>
        </p:nvSpPr>
        <p:spPr bwMode="gray">
          <a:xfrm>
            <a:off x="11424592" y="6489352"/>
            <a:ext cx="504454" cy="108000"/>
          </a:xfrm>
        </p:spPr>
        <p:txBody>
          <a:bodyPr/>
          <a:lstStyle/>
          <a:p>
            <a:fld id="{CE82B8A1-0CCE-4815-9668-383D7DE7D8B4}" type="slidenum">
              <a:rPr lang="en-US" smtClean="0"/>
              <a:t>‹Nº›</a:t>
            </a:fld>
            <a:endParaRPr lang="en-US" dirty="0"/>
          </a:p>
        </p:txBody>
      </p:sp>
      <p:grpSp>
        <p:nvGrpSpPr>
          <p:cNvPr id="17" name="Gruppieren 16">
            <a:extLst>
              <a:ext uri="{FF2B5EF4-FFF2-40B4-BE49-F238E27FC236}">
                <a16:creationId xmlns:a16="http://schemas.microsoft.com/office/drawing/2014/main" id="{8E73828C-E1AE-4F3A-8851-B1AF74DC3EF9}"/>
              </a:ext>
            </a:extLst>
          </p:cNvPr>
          <p:cNvGrpSpPr/>
          <p:nvPr userDrawn="1"/>
        </p:nvGrpSpPr>
        <p:grpSpPr bwMode="gray">
          <a:xfrm>
            <a:off x="3071664" y="-207392"/>
            <a:ext cx="6048672" cy="108000"/>
            <a:chOff x="3071664" y="-207392"/>
            <a:chExt cx="6048672" cy="108000"/>
          </a:xfrm>
        </p:grpSpPr>
        <p:sp>
          <p:nvSpPr>
            <p:cNvPr id="18" name="Freihandform: Form 17">
              <a:extLst>
                <a:ext uri="{FF2B5EF4-FFF2-40B4-BE49-F238E27FC236}">
                  <a16:creationId xmlns:a16="http://schemas.microsoft.com/office/drawing/2014/main" id="{C60EE41F-1766-4711-B102-75DDD9AD9D13}"/>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 name="Freihandform: Form 18">
              <a:extLst>
                <a:ext uri="{FF2B5EF4-FFF2-40B4-BE49-F238E27FC236}">
                  <a16:creationId xmlns:a16="http://schemas.microsoft.com/office/drawing/2014/main" id="{99E0E32A-934C-4E21-A7D7-E12FA3A21491}"/>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Freihandform: Form 19">
              <a:extLst>
                <a:ext uri="{FF2B5EF4-FFF2-40B4-BE49-F238E27FC236}">
                  <a16:creationId xmlns:a16="http://schemas.microsoft.com/office/drawing/2014/main" id="{1A830B49-A1EC-4BD2-AC1E-EE0EEB317001}"/>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Freihandform: Form 20">
              <a:extLst>
                <a:ext uri="{FF2B5EF4-FFF2-40B4-BE49-F238E27FC236}">
                  <a16:creationId xmlns:a16="http://schemas.microsoft.com/office/drawing/2014/main" id="{0C813F1A-43FE-4280-AEEF-C4580BDDD33B}"/>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D5D31129-A918-4BF8-AE31-4B322E312D35}"/>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3" name="Freihandform: Form 22">
              <a:extLst>
                <a:ext uri="{FF2B5EF4-FFF2-40B4-BE49-F238E27FC236}">
                  <a16:creationId xmlns:a16="http://schemas.microsoft.com/office/drawing/2014/main" id="{F05EF609-CB49-4C41-AB23-90F1F12280DD}"/>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3" name="Fußzeilenplatzhalter 2">
            <a:extLst>
              <a:ext uri="{FF2B5EF4-FFF2-40B4-BE49-F238E27FC236}">
                <a16:creationId xmlns:a16="http://schemas.microsoft.com/office/drawing/2014/main" id="{C395D1B3-CCE3-45E3-A630-49ADCCEFABF1}"/>
              </a:ext>
            </a:extLst>
          </p:cNvPr>
          <p:cNvSpPr>
            <a:spLocks noGrp="1"/>
          </p:cNvSpPr>
          <p:nvPr>
            <p:ph type="ftr" sz="quarter" idx="13"/>
          </p:nvPr>
        </p:nvSpPr>
        <p:spPr bwMode="gray"/>
        <p:txBody>
          <a:bodyPr/>
          <a:lstStyle/>
          <a:p>
            <a:r>
              <a:rPr lang="en-US"/>
              <a:t>Footnote: Please insert appropriate company</a:t>
            </a:r>
            <a:endParaRPr lang="de-DE" dirty="0"/>
          </a:p>
        </p:txBody>
      </p:sp>
    </p:spTree>
    <p:extLst>
      <p:ext uri="{BB962C8B-B14F-4D97-AF65-F5344CB8AC3E}">
        <p14:creationId xmlns:p14="http://schemas.microsoft.com/office/powerpoint/2010/main" val="1840166228"/>
      </p:ext>
    </p:extLst>
  </p:cSld>
  <p:clrMapOvr>
    <a:masterClrMapping/>
  </p:clrMapOvr>
  <p:extLst>
    <p:ext uri="{DCECCB84-F9BA-43D5-87BE-67443E8EF086}">
      <p15:sldGuideLst xmlns:p15="http://schemas.microsoft.com/office/powerpoint/2012/main">
        <p15:guide id="1" pos="121" userDrawn="1">
          <p15:clr>
            <a:srgbClr val="FBAE40"/>
          </p15:clr>
        </p15:guide>
        <p15:guide id="2" pos="7559" userDrawn="1">
          <p15:clr>
            <a:srgbClr val="FBAE40"/>
          </p15:clr>
        </p15:guide>
        <p15:guide id="3" orient="horz" pos="119" userDrawn="1">
          <p15:clr>
            <a:srgbClr val="FBAE40"/>
          </p15:clr>
        </p15:guide>
        <p15:guide id="4" orient="horz" pos="4201"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sp>
        <p:nvSpPr>
          <p:cNvPr id="4" name="Medienplatzhalter 3">
            <a:extLst>
              <a:ext uri="{FF2B5EF4-FFF2-40B4-BE49-F238E27FC236}">
                <a16:creationId xmlns:a16="http://schemas.microsoft.com/office/drawing/2014/main" id="{4EE7FA2A-7300-4E0E-A515-196E20598EF5}"/>
              </a:ext>
            </a:extLst>
          </p:cNvPr>
          <p:cNvSpPr>
            <a:spLocks noGrp="1"/>
          </p:cNvSpPr>
          <p:nvPr>
            <p:ph type="media" sz="quarter" idx="13" hasCustomPrompt="1"/>
          </p:nvPr>
        </p:nvSpPr>
        <p:spPr bwMode="gray">
          <a:xfrm>
            <a:off x="0" y="0"/>
            <a:ext cx="12192000" cy="6858000"/>
          </a:xfrm>
          <a:solidFill>
            <a:schemeClr val="bg2"/>
          </a:solidFill>
          <a:ln>
            <a:noFill/>
          </a:ln>
        </p:spPr>
        <p:txBody>
          <a:bodyPr bIns="504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video by clicking on the symbol</a:t>
            </a:r>
          </a:p>
        </p:txBody>
      </p:sp>
      <p:sp>
        <p:nvSpPr>
          <p:cNvPr id="2" name="Foliennummernplatzhalter 4">
            <a:extLst>
              <a:ext uri="{FF2B5EF4-FFF2-40B4-BE49-F238E27FC236}">
                <a16:creationId xmlns:a16="http://schemas.microsoft.com/office/drawing/2014/main" id="{7005EA78-E6A3-4E7B-B699-66185168948F}"/>
              </a:ext>
            </a:extLst>
          </p:cNvPr>
          <p:cNvSpPr>
            <a:spLocks noGrp="1"/>
          </p:cNvSpPr>
          <p:nvPr>
            <p:ph type="sldNum" sz="quarter" idx="12"/>
          </p:nvPr>
        </p:nvSpPr>
        <p:spPr bwMode="gray">
          <a:xfrm>
            <a:off x="11424592" y="6489352"/>
            <a:ext cx="504454" cy="108000"/>
          </a:xfrm>
        </p:spPr>
        <p:txBody>
          <a:bodyPr/>
          <a:lstStyle/>
          <a:p>
            <a:fld id="{CE82B8A1-0CCE-4815-9668-383D7DE7D8B4}" type="slidenum">
              <a:rPr lang="en-US" noProof="0" smtClean="0"/>
              <a:t>‹Nº›</a:t>
            </a:fld>
            <a:endParaRPr lang="en-US" noProof="0" dirty="0"/>
          </a:p>
        </p:txBody>
      </p:sp>
      <p:grpSp>
        <p:nvGrpSpPr>
          <p:cNvPr id="12" name="Gruppieren 11">
            <a:extLst>
              <a:ext uri="{FF2B5EF4-FFF2-40B4-BE49-F238E27FC236}">
                <a16:creationId xmlns:a16="http://schemas.microsoft.com/office/drawing/2014/main" id="{70589B0A-BA30-4CAA-882E-A999A2324972}"/>
              </a:ext>
            </a:extLst>
          </p:cNvPr>
          <p:cNvGrpSpPr/>
          <p:nvPr userDrawn="1"/>
        </p:nvGrpSpPr>
        <p:grpSpPr bwMode="gray">
          <a:xfrm>
            <a:off x="3071664" y="-207392"/>
            <a:ext cx="6048672" cy="108000"/>
            <a:chOff x="3071664" y="-207392"/>
            <a:chExt cx="6048672" cy="108000"/>
          </a:xfrm>
        </p:grpSpPr>
        <p:sp>
          <p:nvSpPr>
            <p:cNvPr id="13" name="Freihandform: Form 12">
              <a:extLst>
                <a:ext uri="{FF2B5EF4-FFF2-40B4-BE49-F238E27FC236}">
                  <a16:creationId xmlns:a16="http://schemas.microsoft.com/office/drawing/2014/main" id="{12ECCA91-9122-4475-87D1-7F993AE0BDE9}"/>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Freihandform: Form 13">
              <a:extLst>
                <a:ext uri="{FF2B5EF4-FFF2-40B4-BE49-F238E27FC236}">
                  <a16:creationId xmlns:a16="http://schemas.microsoft.com/office/drawing/2014/main" id="{F2CFCDEC-1292-44B7-9B65-1D820F228E9F}"/>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Freihandform: Form 14">
              <a:extLst>
                <a:ext uri="{FF2B5EF4-FFF2-40B4-BE49-F238E27FC236}">
                  <a16:creationId xmlns:a16="http://schemas.microsoft.com/office/drawing/2014/main" id="{E66C5163-83B9-4377-92E8-9F3165EE4879}"/>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6" name="Freihandform: Form 15">
              <a:extLst>
                <a:ext uri="{FF2B5EF4-FFF2-40B4-BE49-F238E27FC236}">
                  <a16:creationId xmlns:a16="http://schemas.microsoft.com/office/drawing/2014/main" id="{50B0011B-98C3-438C-B81B-FD3DE64E8700}"/>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7" name="Freihandform: Form 16">
              <a:extLst>
                <a:ext uri="{FF2B5EF4-FFF2-40B4-BE49-F238E27FC236}">
                  <a16:creationId xmlns:a16="http://schemas.microsoft.com/office/drawing/2014/main" id="{99E365E8-AC1A-4D9B-92CE-F16035E4FB82}"/>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 name="Freihandform: Form 17">
              <a:extLst>
                <a:ext uri="{FF2B5EF4-FFF2-40B4-BE49-F238E27FC236}">
                  <a16:creationId xmlns:a16="http://schemas.microsoft.com/office/drawing/2014/main" id="{2A1633A0-EB1F-47EA-BB0F-C3F41FE42000}"/>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11" name="Rechteck 10">
            <a:extLst>
              <a:ext uri="{FF2B5EF4-FFF2-40B4-BE49-F238E27FC236}">
                <a16:creationId xmlns:a16="http://schemas.microsoft.com/office/drawing/2014/main" id="{11E76821-062B-4795-A54A-AC903E1E04E7}"/>
              </a:ext>
            </a:extLst>
          </p:cNvPr>
          <p:cNvSpPr/>
          <p:nvPr userDrawn="1"/>
        </p:nvSpPr>
        <p:spPr bwMode="gray">
          <a:xfrm>
            <a:off x="12288880" y="188640"/>
            <a:ext cx="1728000" cy="64804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t"/>
          <a:lstStyle/>
          <a:p>
            <a:pPr algn="l"/>
            <a:r>
              <a:rPr lang="en-US" sz="1200" dirty="0">
                <a:solidFill>
                  <a:schemeClr val="tx1"/>
                </a:solidFill>
                <a:latin typeface="+mj-lt"/>
              </a:rPr>
              <a:t>No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Select the color of the page number depending on legibility. You can choose a white or black page number.</a:t>
            </a:r>
          </a:p>
          <a:p>
            <a:pPr algn="l"/>
            <a:endParaRPr lang="en-US" sz="1200" dirty="0">
              <a:solidFill>
                <a:schemeClr val="tx1"/>
              </a:solidFill>
            </a:endParaRPr>
          </a:p>
        </p:txBody>
      </p:sp>
    </p:spTree>
    <p:extLst>
      <p:ext uri="{BB962C8B-B14F-4D97-AF65-F5344CB8AC3E}">
        <p14:creationId xmlns:p14="http://schemas.microsoft.com/office/powerpoint/2010/main" val="1653115190"/>
      </p:ext>
    </p:extLst>
  </p:cSld>
  <p:clrMapOvr>
    <a:masterClrMapping/>
  </p:clrMapOvr>
  <p:extLst>
    <p:ext uri="{DCECCB84-F9BA-43D5-87BE-67443E8EF086}">
      <p15:sldGuideLst xmlns:p15="http://schemas.microsoft.com/office/powerpoint/2012/main">
        <p15:guide id="1" pos="121">
          <p15:clr>
            <a:srgbClr val="FBAE40"/>
          </p15:clr>
        </p15:guide>
        <p15:guide id="2" pos="7559">
          <p15:clr>
            <a:srgbClr val="FBAE40"/>
          </p15:clr>
        </p15:guide>
        <p15:guide id="3" orient="horz" pos="119">
          <p15:clr>
            <a:srgbClr val="FBAE40"/>
          </p15:clr>
        </p15:guide>
        <p15:guide id="4" orient="horz" pos="420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75A4B4C7-747A-4615-974E-D0005E6719DF}"/>
              </a:ext>
            </a:extLst>
          </p:cNvPr>
          <p:cNvSpPr/>
          <p:nvPr userDrawn="1"/>
        </p:nvSpPr>
        <p:spPr bwMode="gray">
          <a:xfrm>
            <a:off x="191344" y="188913"/>
            <a:ext cx="11808569" cy="6480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Foliennummernplatzhalter 4">
            <a:extLst>
              <a:ext uri="{FF2B5EF4-FFF2-40B4-BE49-F238E27FC236}">
                <a16:creationId xmlns:a16="http://schemas.microsoft.com/office/drawing/2014/main" id="{7005EA78-E6A3-4E7B-B699-66185168948F}"/>
              </a:ext>
            </a:extLst>
          </p:cNvPr>
          <p:cNvSpPr>
            <a:spLocks noGrp="1"/>
          </p:cNvSpPr>
          <p:nvPr>
            <p:ph type="sldNum" sz="quarter" idx="12"/>
          </p:nvPr>
        </p:nvSpPr>
        <p:spPr bwMode="gray">
          <a:xfrm>
            <a:off x="11424592" y="6489352"/>
            <a:ext cx="504454" cy="108000"/>
          </a:xfrm>
        </p:spPr>
        <p:txBody>
          <a:bodyPr/>
          <a:lstStyle>
            <a:lvl1pPr>
              <a:defRPr>
                <a:solidFill>
                  <a:schemeClr val="bg1"/>
                </a:solidFill>
              </a:defRPr>
            </a:lvl1pPr>
          </a:lstStyle>
          <a:p>
            <a:fld id="{CE82B8A1-0CCE-4815-9668-383D7DE7D8B4}" type="slidenum">
              <a:rPr lang="en-US" noProof="0" smtClean="0"/>
              <a:pPr/>
              <a:t>‹Nº›</a:t>
            </a:fld>
            <a:endParaRPr lang="en-US" noProof="0" dirty="0"/>
          </a:p>
        </p:txBody>
      </p:sp>
      <p:sp>
        <p:nvSpPr>
          <p:cNvPr id="3" name="Titel 2">
            <a:extLst>
              <a:ext uri="{FF2B5EF4-FFF2-40B4-BE49-F238E27FC236}">
                <a16:creationId xmlns:a16="http://schemas.microsoft.com/office/drawing/2014/main" id="{DC75916E-A1CA-4E69-BF32-1A927E7D8909}"/>
              </a:ext>
            </a:extLst>
          </p:cNvPr>
          <p:cNvSpPr>
            <a:spLocks noGrp="1"/>
          </p:cNvSpPr>
          <p:nvPr>
            <p:ph type="title" hasCustomPrompt="1"/>
          </p:nvPr>
        </p:nvSpPr>
        <p:spPr bwMode="gray">
          <a:xfrm>
            <a:off x="1558923" y="1413072"/>
            <a:ext cx="9072000" cy="2664000"/>
          </a:xfrm>
        </p:spPr>
        <p:txBody>
          <a:bodyPr anchor="b"/>
          <a:lstStyle>
            <a:lvl1pPr>
              <a:defRPr sz="9600">
                <a:solidFill>
                  <a:schemeClr val="bg1"/>
                </a:solidFill>
                <a:latin typeface="DraegerWalbaum" pitchFamily="2" charset="0"/>
              </a:defRPr>
            </a:lvl1pPr>
          </a:lstStyle>
          <a:p>
            <a:r>
              <a:rPr lang="en-US" noProof="0" dirty="0"/>
              <a:t>Closing</a:t>
            </a:r>
          </a:p>
        </p:txBody>
      </p:sp>
      <p:sp>
        <p:nvSpPr>
          <p:cNvPr id="26" name="Untertitel 2">
            <a:extLst>
              <a:ext uri="{FF2B5EF4-FFF2-40B4-BE49-F238E27FC236}">
                <a16:creationId xmlns:a16="http://schemas.microsoft.com/office/drawing/2014/main" id="{B955DD62-B3F0-4193-89DF-A6B3EC9767C2}"/>
              </a:ext>
            </a:extLst>
          </p:cNvPr>
          <p:cNvSpPr>
            <a:spLocks noGrp="1"/>
          </p:cNvSpPr>
          <p:nvPr>
            <p:ph type="subTitle" idx="1" hasCustomPrompt="1"/>
          </p:nvPr>
        </p:nvSpPr>
        <p:spPr bwMode="gray">
          <a:xfrm>
            <a:off x="2783632" y="4220654"/>
            <a:ext cx="7847292" cy="720000"/>
          </a:xfrm>
          <a:noFill/>
        </p:spPr>
        <p:txBody>
          <a:bodyPr wrap="square" lIns="0" tIns="0" rIns="0" bIns="0" anchor="t"/>
          <a:lstStyle>
            <a:lvl1pPr marL="0" indent="0" algn="l">
              <a:buFont typeface="Arial" panose="020B0604020202020204" pitchFamily="34" charset="0"/>
              <a:buNone/>
              <a:defRPr sz="1800">
                <a:solidFill>
                  <a:schemeClr val="bg1"/>
                </a:solidFill>
                <a:latin typeface="+mj-lt"/>
              </a:defRPr>
            </a:lvl1pPr>
            <a:lvl2pPr marL="0" indent="0" algn="l">
              <a:buFont typeface="Arial" panose="020B0604020202020204" pitchFamily="34" charset="0"/>
              <a:buNone/>
              <a:defRPr sz="1400">
                <a:solidFill>
                  <a:schemeClr val="bg1"/>
                </a:solidFill>
              </a:defRPr>
            </a:lvl2pPr>
            <a:lvl3pPr marL="0" indent="0" algn="l">
              <a:buFont typeface="Arial" panose="020B0604020202020204" pitchFamily="34" charset="0"/>
              <a:buNone/>
              <a:defRPr sz="1400">
                <a:solidFill>
                  <a:schemeClr val="bg1"/>
                </a:solidFill>
              </a:defRPr>
            </a:lvl3pPr>
            <a:lvl4pPr marL="0" indent="0" algn="l">
              <a:buFont typeface="Arial" panose="020B0604020202020204" pitchFamily="34" charset="0"/>
              <a:buNone/>
              <a:defRPr sz="1400">
                <a:solidFill>
                  <a:schemeClr val="bg1"/>
                </a:solidFill>
              </a:defRPr>
            </a:lvl4pPr>
            <a:lvl5pPr marL="0" indent="0" algn="l">
              <a:buFont typeface="Arial" panose="020B0604020202020204" pitchFamily="34" charset="0"/>
              <a:buNone/>
              <a:defRPr sz="1400">
                <a:solidFill>
                  <a:schemeClr val="bg1"/>
                </a:solidFill>
              </a:defRPr>
            </a:lvl5pPr>
            <a:lvl6pPr marL="0" indent="0" algn="l">
              <a:buFont typeface="Arial" panose="020B0604020202020204" pitchFamily="34" charset="0"/>
              <a:buNone/>
              <a:defRPr sz="1400">
                <a:solidFill>
                  <a:schemeClr val="bg1"/>
                </a:solidFill>
              </a:defRPr>
            </a:lvl6pPr>
            <a:lvl7pPr marL="0" indent="0" algn="l">
              <a:buFont typeface="Arial" panose="020B0604020202020204" pitchFamily="34" charset="0"/>
              <a:buNone/>
              <a:defRPr sz="1400">
                <a:solidFill>
                  <a:schemeClr val="bg1"/>
                </a:solidFill>
              </a:defRPr>
            </a:lvl7pPr>
            <a:lvl8pPr marL="0" indent="0" algn="l">
              <a:buFont typeface="Arial" panose="020B0604020202020204" pitchFamily="34" charset="0"/>
              <a:buNone/>
              <a:defRPr sz="1400">
                <a:solidFill>
                  <a:schemeClr val="bg1"/>
                </a:solidFill>
              </a:defRPr>
            </a:lvl8pPr>
            <a:lvl9pPr marL="0" indent="0" algn="l">
              <a:buFont typeface="Arial" panose="020B0604020202020204" pitchFamily="34" charset="0"/>
              <a:buNone/>
              <a:defRPr sz="1400">
                <a:solidFill>
                  <a:schemeClr val="bg1"/>
                </a:solidFill>
              </a:defRPr>
            </a:lvl9pPr>
          </a:lstStyle>
          <a:p>
            <a:pPr lvl="0"/>
            <a:r>
              <a:rPr lang="en-US" noProof="0" dirty="0"/>
              <a:t>Click to edit Master title style</a:t>
            </a:r>
          </a:p>
          <a:p>
            <a:pPr lvl="1"/>
            <a:r>
              <a:rPr lang="en-US" noProof="0" dirty="0"/>
              <a:t>Second level</a:t>
            </a:r>
          </a:p>
        </p:txBody>
      </p:sp>
      <p:cxnSp>
        <p:nvCxnSpPr>
          <p:cNvPr id="27" name="Gerader Verbinder 26">
            <a:extLst>
              <a:ext uri="{FF2B5EF4-FFF2-40B4-BE49-F238E27FC236}">
                <a16:creationId xmlns:a16="http://schemas.microsoft.com/office/drawing/2014/main" id="{B3BA5703-EB09-435D-AF87-109CA1492C62}"/>
              </a:ext>
            </a:extLst>
          </p:cNvPr>
          <p:cNvCxnSpPr>
            <a:cxnSpLocks/>
          </p:cNvCxnSpPr>
          <p:nvPr userDrawn="1"/>
        </p:nvCxnSpPr>
        <p:spPr bwMode="gray">
          <a:xfrm>
            <a:off x="1558925" y="4293096"/>
            <a:ext cx="10806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5" name="Gruppieren 14">
            <a:extLst>
              <a:ext uri="{FF2B5EF4-FFF2-40B4-BE49-F238E27FC236}">
                <a16:creationId xmlns:a16="http://schemas.microsoft.com/office/drawing/2014/main" id="{55805D2B-8903-4C43-BAC5-B25A2102578F}"/>
              </a:ext>
            </a:extLst>
          </p:cNvPr>
          <p:cNvGrpSpPr/>
          <p:nvPr userDrawn="1"/>
        </p:nvGrpSpPr>
        <p:grpSpPr bwMode="gray">
          <a:xfrm>
            <a:off x="3071664" y="-207392"/>
            <a:ext cx="6048672" cy="108000"/>
            <a:chOff x="3071664" y="-207392"/>
            <a:chExt cx="6048672" cy="108000"/>
          </a:xfrm>
        </p:grpSpPr>
        <p:sp>
          <p:nvSpPr>
            <p:cNvPr id="17" name="Freihandform: Form 16">
              <a:extLst>
                <a:ext uri="{FF2B5EF4-FFF2-40B4-BE49-F238E27FC236}">
                  <a16:creationId xmlns:a16="http://schemas.microsoft.com/office/drawing/2014/main" id="{299E4FC5-4CA5-4890-BE44-C6ABBA444B20}"/>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 name="Freihandform: Form 18">
              <a:extLst>
                <a:ext uri="{FF2B5EF4-FFF2-40B4-BE49-F238E27FC236}">
                  <a16:creationId xmlns:a16="http://schemas.microsoft.com/office/drawing/2014/main" id="{CB37906A-CD73-43B7-B056-00534CF4404B}"/>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5E88FE8D-2EF4-4EDD-9725-5484C2F8EC05}"/>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3" name="Freihandform: Form 22">
              <a:extLst>
                <a:ext uri="{FF2B5EF4-FFF2-40B4-BE49-F238E27FC236}">
                  <a16:creationId xmlns:a16="http://schemas.microsoft.com/office/drawing/2014/main" id="{66883720-A36C-4932-9070-8698B2795D7F}"/>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4" name="Freihandform: Form 23">
              <a:extLst>
                <a:ext uri="{FF2B5EF4-FFF2-40B4-BE49-F238E27FC236}">
                  <a16:creationId xmlns:a16="http://schemas.microsoft.com/office/drawing/2014/main" id="{1E50F954-1662-4675-BE78-53D1B5A5E25E}"/>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5" name="Freihandform: Form 24">
              <a:extLst>
                <a:ext uri="{FF2B5EF4-FFF2-40B4-BE49-F238E27FC236}">
                  <a16:creationId xmlns:a16="http://schemas.microsoft.com/office/drawing/2014/main" id="{1EC92DC9-CB05-4E6B-ABB8-B2A4418D9E6C}"/>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4" name="Fußzeilenplatzhalter 3">
            <a:extLst>
              <a:ext uri="{FF2B5EF4-FFF2-40B4-BE49-F238E27FC236}">
                <a16:creationId xmlns:a16="http://schemas.microsoft.com/office/drawing/2014/main" id="{0421355A-9D7F-4771-A163-DDD4ED3786A1}"/>
              </a:ext>
            </a:extLst>
          </p:cNvPr>
          <p:cNvSpPr>
            <a:spLocks noGrp="1"/>
          </p:cNvSpPr>
          <p:nvPr>
            <p:ph type="ftr" sz="quarter" idx="13"/>
          </p:nvPr>
        </p:nvSpPr>
        <p:spPr bwMode="gray"/>
        <p:txBody>
          <a:bodyPr/>
          <a:lstStyle>
            <a:lvl1pPr>
              <a:defRPr>
                <a:solidFill>
                  <a:schemeClr val="bg1"/>
                </a:solidFill>
              </a:defRPr>
            </a:lvl1pPr>
          </a:lstStyle>
          <a:p>
            <a:r>
              <a:rPr lang="en-US"/>
              <a:t>Footnote: Please insert appropriate company</a:t>
            </a:r>
            <a:endParaRPr lang="de-DE" dirty="0"/>
          </a:p>
        </p:txBody>
      </p:sp>
    </p:spTree>
    <p:extLst>
      <p:ext uri="{BB962C8B-B14F-4D97-AF65-F5344CB8AC3E}">
        <p14:creationId xmlns:p14="http://schemas.microsoft.com/office/powerpoint/2010/main" val="4177752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22" presetClass="entr" presetSubtype="8"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wipe(left)">
                                      <p:cBhvr>
                                        <p:cTn id="11" dur="500"/>
                                        <p:tgtEl>
                                          <p:spTgt spid="27"/>
                                        </p:tgtEl>
                                      </p:cBhvr>
                                    </p:animEffect>
                                  </p:childTnLst>
                                </p:cTn>
                              </p:par>
                            </p:childTnLst>
                          </p:cTn>
                        </p:par>
                        <p:par>
                          <p:cTn id="12" fill="hold">
                            <p:stCondLst>
                              <p:cond delay="2500"/>
                            </p:stCondLst>
                            <p:childTnLst>
                              <p:par>
                                <p:cTn id="13" presetID="10" presetClass="entr" presetSubtype="0" fill="hold" grpId="0" nodeType="afterEffect">
                                  <p:stCondLst>
                                    <p:cond delay="0"/>
                                  </p:stCondLst>
                                  <p:childTnLst>
                                    <p:set>
                                      <p:cBhvr>
                                        <p:cTn id="14" dur="1" fill="hold">
                                          <p:stCondLst>
                                            <p:cond delay="0"/>
                                          </p:stCondLst>
                                        </p:cTn>
                                        <p:tgtEl>
                                          <p:spTgt spid="26">
                                            <p:txEl>
                                              <p:pRg st="0" end="0"/>
                                            </p:txEl>
                                          </p:spTgt>
                                        </p:tgtEl>
                                        <p:attrNameLst>
                                          <p:attrName>style.visibility</p:attrName>
                                        </p:attrNameLst>
                                      </p:cBhvr>
                                      <p:to>
                                        <p:strVal val="visible"/>
                                      </p:to>
                                    </p:set>
                                    <p:animEffect transition="in" filter="fade">
                                      <p:cBhvr>
                                        <p:cTn id="15" dur="1000"/>
                                        <p:tgtEl>
                                          <p:spTgt spid="26">
                                            <p:txEl>
                                              <p:pRg st="0" end="0"/>
                                            </p:txEl>
                                          </p:spTgt>
                                        </p:tgtEl>
                                      </p:cBhvr>
                                    </p:animEffect>
                                  </p:childTnLst>
                                </p:cTn>
                              </p:par>
                            </p:childTnLst>
                          </p:cTn>
                        </p:par>
                        <p:par>
                          <p:cTn id="16" fill="hold">
                            <p:stCondLst>
                              <p:cond delay="3500"/>
                            </p:stCondLst>
                            <p:childTnLst>
                              <p:par>
                                <p:cTn id="17" presetID="10" presetClass="entr" presetSubtype="0" fill="hold" grpId="0" nodeType="afterEffect">
                                  <p:stCondLst>
                                    <p:cond delay="0"/>
                                  </p:stCondLst>
                                  <p:childTnLst>
                                    <p:set>
                                      <p:cBhvr>
                                        <p:cTn id="18" dur="1" fill="hold">
                                          <p:stCondLst>
                                            <p:cond delay="0"/>
                                          </p:stCondLst>
                                        </p:cTn>
                                        <p:tgtEl>
                                          <p:spTgt spid="26">
                                            <p:txEl>
                                              <p:pRg st="1" end="1"/>
                                            </p:txEl>
                                          </p:spTgt>
                                        </p:tgtEl>
                                        <p:attrNameLst>
                                          <p:attrName>style.visibility</p:attrName>
                                        </p:attrNameLst>
                                      </p:cBhvr>
                                      <p:to>
                                        <p:strVal val="visible"/>
                                      </p:to>
                                    </p:set>
                                    <p:animEffect transition="in" filter="fade">
                                      <p:cBhvr>
                                        <p:cTn id="19" dur="1000"/>
                                        <p:tgtEl>
                                          <p:spTgt spid="2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6" grpId="0" build="p">
        <p:tmplLst>
          <p:tmpl lvl="1">
            <p:tnLst>
              <p:par>
                <p:cTn presetID="10" presetClass="entr" presetSubtype="0"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fade">
                      <p:cBhvr>
                        <p:cTn dur="1000"/>
                        <p:tgtEl>
                          <p:spTgt spid="26"/>
                        </p:tgtEl>
                      </p:cBhvr>
                    </p:animEffect>
                  </p:childTnLst>
                </p:cTn>
              </p:par>
            </p:tnLst>
          </p:tmpl>
          <p:tmpl lvl="2">
            <p:tnLst>
              <p:par>
                <p:cTn presetID="10" presetClass="entr" presetSubtype="0"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fade">
                      <p:cBhvr>
                        <p:cTn dur="1000"/>
                        <p:tgtEl>
                          <p:spTgt spid="26"/>
                        </p:tgtEl>
                      </p:cBhvr>
                    </p:animEffect>
                  </p:childTnLst>
                </p:cTn>
              </p:par>
            </p:tnLst>
          </p:tmpl>
        </p:tmplLst>
      </p:bldP>
    </p:bldLst>
  </p:timing>
  <p:extLst>
    <p:ext uri="{DCECCB84-F9BA-43D5-87BE-67443E8EF086}">
      <p15:sldGuideLst xmlns:p15="http://schemas.microsoft.com/office/powerpoint/2012/main">
        <p15:guide id="1" pos="121">
          <p15:clr>
            <a:srgbClr val="FBAE40"/>
          </p15:clr>
        </p15:guide>
        <p15:guide id="2" pos="7559">
          <p15:clr>
            <a:srgbClr val="FBAE40"/>
          </p15:clr>
        </p15:guide>
        <p15:guide id="3" orient="horz" pos="119">
          <p15:clr>
            <a:srgbClr val="FBAE40"/>
          </p15:clr>
        </p15:guide>
        <p15:guide id="4" orient="horz" pos="4201">
          <p15:clr>
            <a:srgbClr val="FBAE40"/>
          </p15:clr>
        </p15:guide>
        <p15:guide id="5" orient="horz" pos="2568"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Claim">
    <p:spTree>
      <p:nvGrpSpPr>
        <p:cNvPr id="1" name=""/>
        <p:cNvGrpSpPr/>
        <p:nvPr/>
      </p:nvGrpSpPr>
      <p:grpSpPr>
        <a:xfrm>
          <a:off x="0" y="0"/>
          <a:ext cx="0" cy="0"/>
          <a:chOff x="0" y="0"/>
          <a:chExt cx="0" cy="0"/>
        </a:xfrm>
      </p:grpSpPr>
      <p:grpSp>
        <p:nvGrpSpPr>
          <p:cNvPr id="10" name="Gruppieren 9">
            <a:extLst>
              <a:ext uri="{FF2B5EF4-FFF2-40B4-BE49-F238E27FC236}">
                <a16:creationId xmlns:a16="http://schemas.microsoft.com/office/drawing/2014/main" id="{B7BCCCEC-1576-42CB-AD93-6C82B9DDDBD9}"/>
              </a:ext>
            </a:extLst>
          </p:cNvPr>
          <p:cNvGrpSpPr/>
          <p:nvPr userDrawn="1"/>
        </p:nvGrpSpPr>
        <p:grpSpPr bwMode="gray">
          <a:xfrm>
            <a:off x="3071664" y="-207392"/>
            <a:ext cx="6048672" cy="108000"/>
            <a:chOff x="3071664" y="-207392"/>
            <a:chExt cx="6048672" cy="108000"/>
          </a:xfrm>
        </p:grpSpPr>
        <p:sp>
          <p:nvSpPr>
            <p:cNvPr id="11" name="Freihandform: Form 10">
              <a:extLst>
                <a:ext uri="{FF2B5EF4-FFF2-40B4-BE49-F238E27FC236}">
                  <a16:creationId xmlns:a16="http://schemas.microsoft.com/office/drawing/2014/main" id="{ED459E4D-9C57-4B7E-BCDA-F4C9C9845544}"/>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Freihandform: Form 11">
              <a:extLst>
                <a:ext uri="{FF2B5EF4-FFF2-40B4-BE49-F238E27FC236}">
                  <a16:creationId xmlns:a16="http://schemas.microsoft.com/office/drawing/2014/main" id="{3CC54014-A514-40DC-8710-7D2E69AF94AF}"/>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 name="Freihandform: Form 12">
              <a:extLst>
                <a:ext uri="{FF2B5EF4-FFF2-40B4-BE49-F238E27FC236}">
                  <a16:creationId xmlns:a16="http://schemas.microsoft.com/office/drawing/2014/main" id="{D96EC4D0-A413-447F-8CAE-A50EFC189DD4}"/>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Freihandform: Form 13">
              <a:extLst>
                <a:ext uri="{FF2B5EF4-FFF2-40B4-BE49-F238E27FC236}">
                  <a16:creationId xmlns:a16="http://schemas.microsoft.com/office/drawing/2014/main" id="{C113D463-D579-4803-9CBF-699859F6C6D4}"/>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Freihandform: Form 14">
              <a:extLst>
                <a:ext uri="{FF2B5EF4-FFF2-40B4-BE49-F238E27FC236}">
                  <a16:creationId xmlns:a16="http://schemas.microsoft.com/office/drawing/2014/main" id="{048541F6-BB65-4DC0-95D0-F3A5E090B12F}"/>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6" name="Freihandform: Form 15">
              <a:extLst>
                <a:ext uri="{FF2B5EF4-FFF2-40B4-BE49-F238E27FC236}">
                  <a16:creationId xmlns:a16="http://schemas.microsoft.com/office/drawing/2014/main" id="{7D30A383-503F-46D5-8292-39970642B367}"/>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pic>
        <p:nvPicPr>
          <p:cNvPr id="18" name="Grafik 17">
            <a:extLst>
              <a:ext uri="{FF2B5EF4-FFF2-40B4-BE49-F238E27FC236}">
                <a16:creationId xmlns:a16="http://schemas.microsoft.com/office/drawing/2014/main" id="{0E344180-3E9A-476D-962C-ADB749928E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2746348" y="3060766"/>
            <a:ext cx="6699304" cy="493200"/>
          </a:xfrm>
          <a:prstGeom prst="rect">
            <a:avLst/>
          </a:prstGeom>
        </p:spPr>
      </p:pic>
    </p:spTree>
    <p:extLst>
      <p:ext uri="{BB962C8B-B14F-4D97-AF65-F5344CB8AC3E}">
        <p14:creationId xmlns:p14="http://schemas.microsoft.com/office/powerpoint/2010/main" val="27617858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2000"/>
                                        <p:tgtEl>
                                          <p:spTgt spid="18"/>
                                        </p:tgtEl>
                                      </p:cBhvr>
                                    </p:animEffect>
                                  </p:childTnLst>
                                </p:cTn>
                              </p:par>
                            </p:childTnLst>
                          </p:cTn>
                        </p:par>
                        <p:par>
                          <p:cTn id="8" fill="hold">
                            <p:stCondLst>
                              <p:cond delay="2000"/>
                            </p:stCondLst>
                            <p:childTnLst>
                              <p:par>
                                <p:cTn id="9" presetID="6" presetClass="emph" presetSubtype="0" repeatCount="indefinite" autoRev="1" fill="hold" nodeType="afterEffect">
                                  <p:stCondLst>
                                    <p:cond delay="0"/>
                                  </p:stCondLst>
                                  <p:childTnLst>
                                    <p:animScale>
                                      <p:cBhvr>
                                        <p:cTn id="10" dur="2000" fill="hold"/>
                                        <p:tgtEl>
                                          <p:spTgt spid="18"/>
                                        </p:tgtEl>
                                      </p:cBhvr>
                                      <p:by x="103000" y="103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1" pos="121" userDrawn="1">
          <p15:clr>
            <a:srgbClr val="FBAE40"/>
          </p15:clr>
        </p15:guide>
        <p15:guide id="2" pos="7559" userDrawn="1">
          <p15:clr>
            <a:srgbClr val="FBAE40"/>
          </p15:clr>
        </p15:guide>
        <p15:guide id="3" orient="horz" pos="119" userDrawn="1">
          <p15:clr>
            <a:srgbClr val="FBAE40"/>
          </p15:clr>
        </p15:guide>
        <p15:guide id="4" orient="horz" pos="4201"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A386701E-19DC-496B-98CB-37773E788AFC}"/>
              </a:ext>
            </a:extLst>
          </p:cNvPr>
          <p:cNvSpPr/>
          <p:nvPr userDrawn="1"/>
        </p:nvSpPr>
        <p:spPr bwMode="gray">
          <a:xfrm>
            <a:off x="192087" y="188914"/>
            <a:ext cx="11807825" cy="64801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el 1"/>
          <p:cNvSpPr>
            <a:spLocks noGrp="1"/>
          </p:cNvSpPr>
          <p:nvPr>
            <p:ph type="ctrTitle" hasCustomPrompt="1"/>
          </p:nvPr>
        </p:nvSpPr>
        <p:spPr bwMode="gray">
          <a:xfrm>
            <a:off x="1558924" y="1557338"/>
            <a:ext cx="9072000" cy="2519027"/>
          </a:xfrm>
          <a:noFill/>
        </p:spPr>
        <p:txBody>
          <a:bodyPr lIns="0" tIns="0" rIns="0" bIns="0" anchor="b"/>
          <a:lstStyle>
            <a:lvl1pPr algn="l">
              <a:defRPr sz="5400">
                <a:solidFill>
                  <a:schemeClr val="bg1"/>
                </a:solidFill>
                <a:latin typeface="DraegerWalbaum" pitchFamily="2" charset="0"/>
              </a:defRPr>
            </a:lvl1pPr>
          </a:lstStyle>
          <a:p>
            <a:r>
              <a:rPr lang="en-US" noProof="0" dirty="0"/>
              <a:t>Click to edit Master title style</a:t>
            </a:r>
          </a:p>
        </p:txBody>
      </p:sp>
      <p:sp>
        <p:nvSpPr>
          <p:cNvPr id="3" name="Untertitel 2"/>
          <p:cNvSpPr>
            <a:spLocks noGrp="1"/>
          </p:cNvSpPr>
          <p:nvPr>
            <p:ph type="subTitle" idx="1" hasCustomPrompt="1"/>
          </p:nvPr>
        </p:nvSpPr>
        <p:spPr bwMode="gray">
          <a:xfrm>
            <a:off x="2783632" y="4220654"/>
            <a:ext cx="7847292" cy="720000"/>
          </a:xfrm>
          <a:noFill/>
        </p:spPr>
        <p:txBody>
          <a:bodyPr wrap="square" lIns="0" tIns="0" rIns="0" bIns="0" anchor="t"/>
          <a:lstStyle>
            <a:lvl1pPr marL="0" indent="0" algn="l">
              <a:buFont typeface="Arial" panose="020B0604020202020204" pitchFamily="34" charset="0"/>
              <a:buNone/>
              <a:defRPr sz="1800">
                <a:solidFill>
                  <a:schemeClr val="bg1"/>
                </a:solidFill>
                <a:latin typeface="+mj-lt"/>
              </a:defRPr>
            </a:lvl1pPr>
            <a:lvl2pPr marL="0" indent="0" algn="l">
              <a:buFont typeface="Arial" panose="020B0604020202020204" pitchFamily="34" charset="0"/>
              <a:buNone/>
              <a:defRPr sz="1800">
                <a:solidFill>
                  <a:schemeClr val="bg1"/>
                </a:solidFill>
              </a:defRPr>
            </a:lvl2pPr>
            <a:lvl3pPr marL="0" indent="0" algn="l">
              <a:buFont typeface="Arial" panose="020B0604020202020204" pitchFamily="34" charset="0"/>
              <a:buNone/>
              <a:defRPr sz="1800">
                <a:solidFill>
                  <a:schemeClr val="bg1"/>
                </a:solidFill>
              </a:defRPr>
            </a:lvl3pPr>
            <a:lvl4pPr marL="0" indent="0" algn="l">
              <a:buFont typeface="Arial" panose="020B0604020202020204" pitchFamily="34" charset="0"/>
              <a:buNone/>
              <a:defRPr sz="1800">
                <a:solidFill>
                  <a:schemeClr val="bg1"/>
                </a:solidFill>
              </a:defRPr>
            </a:lvl4pPr>
            <a:lvl5pPr marL="0" indent="0" algn="l">
              <a:buFont typeface="Arial" panose="020B0604020202020204" pitchFamily="34" charset="0"/>
              <a:buNone/>
              <a:defRPr sz="1800">
                <a:solidFill>
                  <a:schemeClr val="bg1"/>
                </a:solidFill>
              </a:defRPr>
            </a:lvl5pPr>
            <a:lvl6pPr marL="0" indent="0" algn="l">
              <a:buFont typeface="Arial" panose="020B0604020202020204" pitchFamily="34" charset="0"/>
              <a:buNone/>
              <a:defRPr sz="1800">
                <a:solidFill>
                  <a:schemeClr val="bg1"/>
                </a:solidFill>
              </a:defRPr>
            </a:lvl6pPr>
            <a:lvl7pPr marL="0" indent="0" algn="l">
              <a:buFont typeface="Arial" panose="020B0604020202020204" pitchFamily="34" charset="0"/>
              <a:buNone/>
              <a:defRPr sz="1800">
                <a:solidFill>
                  <a:schemeClr val="bg1"/>
                </a:solidFill>
              </a:defRPr>
            </a:lvl7pPr>
            <a:lvl8pPr marL="0" indent="0" algn="l">
              <a:buFont typeface="Arial" panose="020B0604020202020204" pitchFamily="34" charset="0"/>
              <a:buNone/>
              <a:defRPr sz="1800">
                <a:solidFill>
                  <a:schemeClr val="bg1"/>
                </a:solidFill>
              </a:defRPr>
            </a:lvl8pPr>
            <a:lvl9pPr marL="0" indent="0" algn="l">
              <a:buFont typeface="Arial" panose="020B0604020202020204" pitchFamily="34" charset="0"/>
              <a:buNone/>
              <a:defRPr sz="1800">
                <a:solidFill>
                  <a:schemeClr val="bg1"/>
                </a:solidFill>
              </a:defRPr>
            </a:lvl9pPr>
          </a:lstStyle>
          <a:p>
            <a:pPr lvl="0"/>
            <a:r>
              <a:rPr lang="en-US" noProof="0" dirty="0"/>
              <a:t>Click to edit Master title style</a:t>
            </a:r>
          </a:p>
          <a:p>
            <a:pPr lvl="1"/>
            <a:r>
              <a:rPr lang="en-US" noProof="0" dirty="0"/>
              <a:t>Second level</a:t>
            </a:r>
          </a:p>
        </p:txBody>
      </p:sp>
      <p:cxnSp>
        <p:nvCxnSpPr>
          <p:cNvPr id="17" name="Gerader Verbinder 16">
            <a:extLst>
              <a:ext uri="{FF2B5EF4-FFF2-40B4-BE49-F238E27FC236}">
                <a16:creationId xmlns:a16="http://schemas.microsoft.com/office/drawing/2014/main" id="{A1C97870-6A6F-436D-ADA8-77F742E6B358}"/>
              </a:ext>
            </a:extLst>
          </p:cNvPr>
          <p:cNvCxnSpPr>
            <a:cxnSpLocks/>
          </p:cNvCxnSpPr>
          <p:nvPr userDrawn="1"/>
        </p:nvCxnSpPr>
        <p:spPr bwMode="gray">
          <a:xfrm>
            <a:off x="1558925" y="4293096"/>
            <a:ext cx="10806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6" name="Gruppieren 15">
            <a:extLst>
              <a:ext uri="{FF2B5EF4-FFF2-40B4-BE49-F238E27FC236}">
                <a16:creationId xmlns:a16="http://schemas.microsoft.com/office/drawing/2014/main" id="{6505DCEC-289D-4040-920F-E8B85583B474}"/>
              </a:ext>
            </a:extLst>
          </p:cNvPr>
          <p:cNvGrpSpPr/>
          <p:nvPr userDrawn="1"/>
        </p:nvGrpSpPr>
        <p:grpSpPr bwMode="gray">
          <a:xfrm>
            <a:off x="3071664" y="-207392"/>
            <a:ext cx="6048672" cy="108000"/>
            <a:chOff x="3071664" y="-207392"/>
            <a:chExt cx="6048672" cy="108000"/>
          </a:xfrm>
        </p:grpSpPr>
        <p:sp>
          <p:nvSpPr>
            <p:cNvPr id="18" name="Freihandform: Form 17">
              <a:extLst>
                <a:ext uri="{FF2B5EF4-FFF2-40B4-BE49-F238E27FC236}">
                  <a16:creationId xmlns:a16="http://schemas.microsoft.com/office/drawing/2014/main" id="{2AF8F81C-2DC6-4BC8-A109-E3ADDCA9CF19}"/>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 name="Freihandform: Form 18">
              <a:extLst>
                <a:ext uri="{FF2B5EF4-FFF2-40B4-BE49-F238E27FC236}">
                  <a16:creationId xmlns:a16="http://schemas.microsoft.com/office/drawing/2014/main" id="{F580CED8-5E5D-4206-A6D2-4380C792210C}"/>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Freihandform: Form 19">
              <a:extLst>
                <a:ext uri="{FF2B5EF4-FFF2-40B4-BE49-F238E27FC236}">
                  <a16:creationId xmlns:a16="http://schemas.microsoft.com/office/drawing/2014/main" id="{315D3729-EC3E-4022-8CAA-2823F746F02F}"/>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Freihandform: Form 20">
              <a:extLst>
                <a:ext uri="{FF2B5EF4-FFF2-40B4-BE49-F238E27FC236}">
                  <a16:creationId xmlns:a16="http://schemas.microsoft.com/office/drawing/2014/main" id="{2CBF9204-2861-42D9-9128-61F0D0D2D02F}"/>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C2FB64CB-3686-4103-86F3-97E7677B9ECE}"/>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3" name="Freihandform: Form 22">
              <a:extLst>
                <a:ext uri="{FF2B5EF4-FFF2-40B4-BE49-F238E27FC236}">
                  <a16:creationId xmlns:a16="http://schemas.microsoft.com/office/drawing/2014/main" id="{5F026A49-66A8-4ACA-B4D5-B476BE24E9DE}"/>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4" name="Fußzeilenplatzhalter 3">
            <a:extLst>
              <a:ext uri="{FF2B5EF4-FFF2-40B4-BE49-F238E27FC236}">
                <a16:creationId xmlns:a16="http://schemas.microsoft.com/office/drawing/2014/main" id="{574F0914-D661-48C9-B494-9A6569777E70}"/>
              </a:ext>
            </a:extLst>
          </p:cNvPr>
          <p:cNvSpPr>
            <a:spLocks noGrp="1"/>
          </p:cNvSpPr>
          <p:nvPr>
            <p:ph type="ftr" sz="quarter" idx="10"/>
          </p:nvPr>
        </p:nvSpPr>
        <p:spPr bwMode="gray"/>
        <p:txBody>
          <a:bodyPr/>
          <a:lstStyle>
            <a:lvl1pPr>
              <a:defRPr>
                <a:solidFill>
                  <a:schemeClr val="bg1"/>
                </a:solidFill>
              </a:defRPr>
            </a:lvl1pPr>
          </a:lstStyle>
          <a:p>
            <a:r>
              <a:rPr lang="en-US"/>
              <a:t>Footnote: Please insert appropriate company</a:t>
            </a:r>
            <a:endParaRPr lang="de-DE" dirty="0"/>
          </a:p>
        </p:txBody>
      </p:sp>
    </p:spTree>
    <p:extLst>
      <p:ext uri="{BB962C8B-B14F-4D97-AF65-F5344CB8AC3E}">
        <p14:creationId xmlns:p14="http://schemas.microsoft.com/office/powerpoint/2010/main" val="3936156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wipe(left)">
                                      <p:cBhvr>
                                        <p:cTn id="11" dur="500"/>
                                        <p:tgtEl>
                                          <p:spTgt spid="17"/>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0" end="0"/>
                                            </p:txEl>
                                          </p:spTgt>
                                        </p:tgtEl>
                                        <p:attrNameLst>
                                          <p:attrName>style.visibility</p:attrName>
                                        </p:attrNameLst>
                                      </p:cBhvr>
                                      <p:to>
                                        <p:strVal val="visible"/>
                                      </p:to>
                                    </p:set>
                                    <p:animEffect transition="in" filter="fade">
                                      <p:cBhvr>
                                        <p:cTn id="15" dur="1000"/>
                                        <p:tgtEl>
                                          <p:spTgt spid="3">
                                            <p:txEl>
                                              <p:pRg st="0" end="0"/>
                                            </p:txEl>
                                          </p:spTgt>
                                        </p:tgtEl>
                                      </p:cBhvr>
                                    </p:animEffect>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3">
                                            <p:txEl>
                                              <p:pRg st="1" end="1"/>
                                            </p:txEl>
                                          </p:spTgt>
                                        </p:tgtEl>
                                        <p:attrNameLst>
                                          <p:attrName>style.visibility</p:attrName>
                                        </p:attrNameLst>
                                      </p:cBhvr>
                                      <p:to>
                                        <p:strVal val="visible"/>
                                      </p:to>
                                    </p:set>
                                    <p:animEffect transition="in" filter="fade">
                                      <p:cBhvr>
                                        <p:cTn id="19" dur="10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1000"/>
                        <p:tgtEl>
                          <p:spTgt spid="3"/>
                        </p:tgtEl>
                      </p:cBhvr>
                    </p:animEffect>
                  </p:childTnLst>
                </p:cTn>
              </p:par>
            </p:tnLst>
          </p:tmpl>
          <p:tmpl lvl="2">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1000"/>
                        <p:tgtEl>
                          <p:spTgt spid="3"/>
                        </p:tgtEl>
                      </p:cBhvr>
                    </p:animEffect>
                  </p:childTnLst>
                </p:cTn>
              </p:par>
            </p:tnLst>
          </p:tmpl>
        </p:tmplLst>
      </p:bldP>
    </p:bldLst>
  </p:timing>
  <p:extLst>
    <p:ext uri="{DCECCB84-F9BA-43D5-87BE-67443E8EF086}">
      <p15:sldGuideLst xmlns:p15="http://schemas.microsoft.com/office/powerpoint/2012/main">
        <p15:guide id="1" pos="121">
          <p15:clr>
            <a:srgbClr val="FBAE40"/>
          </p15:clr>
        </p15:guide>
        <p15:guide id="2" pos="7559">
          <p15:clr>
            <a:srgbClr val="FBAE40"/>
          </p15:clr>
        </p15:guide>
        <p15:guide id="3" orient="horz" pos="119">
          <p15:clr>
            <a:srgbClr val="FBAE40"/>
          </p15:clr>
        </p15:guide>
        <p15:guide id="4" orient="horz" pos="420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9" name="Bildplatzhalter 3">
            <a:extLst>
              <a:ext uri="{FF2B5EF4-FFF2-40B4-BE49-F238E27FC236}">
                <a16:creationId xmlns:a16="http://schemas.microsoft.com/office/drawing/2014/main" id="{2D32482D-BDF3-4CE7-BED2-F23547CE9048}"/>
              </a:ext>
            </a:extLst>
          </p:cNvPr>
          <p:cNvSpPr>
            <a:spLocks noGrp="1"/>
          </p:cNvSpPr>
          <p:nvPr>
            <p:ph type="pic" sz="quarter" idx="18" hasCustomPrompt="1"/>
          </p:nvPr>
        </p:nvSpPr>
        <p:spPr bwMode="gray">
          <a:xfrm>
            <a:off x="3359696" y="2636912"/>
            <a:ext cx="2736000" cy="1800104"/>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2" name="Titel 1">
            <a:extLst>
              <a:ext uri="{FF2B5EF4-FFF2-40B4-BE49-F238E27FC236}">
                <a16:creationId xmlns:a16="http://schemas.microsoft.com/office/drawing/2014/main" id="{41CEB352-6B3F-444B-98DA-C3CADBD2BDD1}"/>
              </a:ext>
            </a:extLst>
          </p:cNvPr>
          <p:cNvSpPr>
            <a:spLocks noGrp="1"/>
          </p:cNvSpPr>
          <p:nvPr>
            <p:ph type="title" hasCustomPrompt="1"/>
          </p:nvPr>
        </p:nvSpPr>
        <p:spPr bwMode="gray">
          <a:xfrm>
            <a:off x="623393" y="332656"/>
            <a:ext cx="5328287" cy="1800104"/>
          </a:xfrm>
        </p:spPr>
        <p:txBody>
          <a:bodyPr anchor="b"/>
          <a:lstStyle>
            <a:lvl1pPr>
              <a:defRPr sz="6000">
                <a:latin typeface="+mj-lt"/>
              </a:defRPr>
            </a:lvl1pPr>
          </a:lstStyle>
          <a:p>
            <a:r>
              <a:rPr lang="en-US" noProof="0" dirty="0"/>
              <a:t>Click to edit Master title style</a:t>
            </a:r>
          </a:p>
        </p:txBody>
      </p:sp>
      <p:sp>
        <p:nvSpPr>
          <p:cNvPr id="3" name="Foliennummernplatzhalter 2">
            <a:extLst>
              <a:ext uri="{FF2B5EF4-FFF2-40B4-BE49-F238E27FC236}">
                <a16:creationId xmlns:a16="http://schemas.microsoft.com/office/drawing/2014/main" id="{8877B72F-4824-4358-B5B3-E8E5615D4073}"/>
              </a:ext>
            </a:extLst>
          </p:cNvPr>
          <p:cNvSpPr>
            <a:spLocks noGrp="1"/>
          </p:cNvSpPr>
          <p:nvPr>
            <p:ph type="sldNum" sz="quarter" idx="10"/>
          </p:nvPr>
        </p:nvSpPr>
        <p:spPr bwMode="gray"/>
        <p:txBody>
          <a:bodyPr/>
          <a:lstStyle/>
          <a:p>
            <a:fld id="{CE82B8A1-0CCE-4815-9668-383D7DE7D8B4}" type="slidenum">
              <a:rPr lang="en-US" noProof="0" smtClean="0"/>
              <a:pPr/>
              <a:t>‹Nº›</a:t>
            </a:fld>
            <a:endParaRPr lang="en-US" noProof="0" dirty="0"/>
          </a:p>
        </p:txBody>
      </p:sp>
      <p:sp>
        <p:nvSpPr>
          <p:cNvPr id="13" name="Bildplatzhalter 3">
            <a:extLst>
              <a:ext uri="{FF2B5EF4-FFF2-40B4-BE49-F238E27FC236}">
                <a16:creationId xmlns:a16="http://schemas.microsoft.com/office/drawing/2014/main" id="{90CE10F3-1924-44CF-BEA8-F88000E97656}"/>
              </a:ext>
            </a:extLst>
          </p:cNvPr>
          <p:cNvSpPr>
            <a:spLocks noGrp="1"/>
          </p:cNvSpPr>
          <p:nvPr>
            <p:ph type="pic" sz="quarter" idx="13" hasCustomPrompt="1"/>
          </p:nvPr>
        </p:nvSpPr>
        <p:spPr bwMode="gray">
          <a:xfrm>
            <a:off x="6168008" y="188640"/>
            <a:ext cx="5832000" cy="2880000"/>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15" name="Textplatzhalter 14">
            <a:extLst>
              <a:ext uri="{FF2B5EF4-FFF2-40B4-BE49-F238E27FC236}">
                <a16:creationId xmlns:a16="http://schemas.microsoft.com/office/drawing/2014/main" id="{6F54AD5C-A3F7-4D7C-A8A6-9A6BF2DAF09D}"/>
              </a:ext>
            </a:extLst>
          </p:cNvPr>
          <p:cNvSpPr>
            <a:spLocks noGrp="1"/>
          </p:cNvSpPr>
          <p:nvPr>
            <p:ph type="body" sz="quarter" idx="14" hasCustomPrompt="1"/>
          </p:nvPr>
        </p:nvSpPr>
        <p:spPr bwMode="gray">
          <a:xfrm>
            <a:off x="623888" y="2636912"/>
            <a:ext cx="2519362" cy="288925"/>
          </a:xfrm>
        </p:spPr>
        <p:txBody>
          <a:bodyPr/>
          <a:lstStyle>
            <a:lvl1pPr marL="0" indent="0" algn="r">
              <a:buFont typeface="Arial" panose="020B0604020202020204" pitchFamily="34" charset="0"/>
              <a:buNone/>
              <a:defRPr>
                <a:solidFill>
                  <a:schemeClr val="accent1"/>
                </a:solidFill>
                <a:latin typeface="+mj-lt"/>
              </a:defRPr>
            </a:lvl1pPr>
            <a:lvl2pPr marL="0" indent="0" algn="r">
              <a:buFont typeface="Arial" panose="020B0604020202020204" pitchFamily="34" charset="0"/>
              <a:buNone/>
              <a:defRPr>
                <a:solidFill>
                  <a:schemeClr val="accent1"/>
                </a:solidFill>
                <a:latin typeface="+mj-lt"/>
              </a:defRPr>
            </a:lvl2pPr>
            <a:lvl3pPr marL="0" indent="0" algn="r">
              <a:buNone/>
              <a:defRPr>
                <a:solidFill>
                  <a:schemeClr val="accent1"/>
                </a:solidFill>
                <a:latin typeface="+mj-lt"/>
              </a:defRPr>
            </a:lvl3pPr>
            <a:lvl4pPr marL="0" indent="0" algn="r">
              <a:buNone/>
              <a:defRPr>
                <a:solidFill>
                  <a:schemeClr val="accent1"/>
                </a:solidFill>
                <a:latin typeface="+mj-lt"/>
              </a:defRPr>
            </a:lvl4pPr>
            <a:lvl5pPr marL="0" indent="0" algn="r">
              <a:buNone/>
              <a:defRPr>
                <a:solidFill>
                  <a:schemeClr val="accent1"/>
                </a:solidFill>
                <a:latin typeface="+mj-lt"/>
              </a:defRPr>
            </a:lvl5pPr>
            <a:lvl6pPr marL="0" indent="0" algn="r">
              <a:buNone/>
              <a:defRPr>
                <a:solidFill>
                  <a:schemeClr val="accent1"/>
                </a:solidFill>
                <a:latin typeface="+mj-lt"/>
              </a:defRPr>
            </a:lvl6pPr>
            <a:lvl7pPr marL="0" indent="0" algn="r">
              <a:buNone/>
              <a:defRPr>
                <a:solidFill>
                  <a:schemeClr val="accent1"/>
                </a:solidFill>
                <a:latin typeface="+mj-lt"/>
              </a:defRPr>
            </a:lvl7pPr>
            <a:lvl8pPr marL="0" indent="0" algn="r">
              <a:buNone/>
              <a:defRPr>
                <a:solidFill>
                  <a:schemeClr val="accent1"/>
                </a:solidFill>
                <a:latin typeface="+mj-lt"/>
              </a:defRPr>
            </a:lvl8pPr>
            <a:lvl9pPr marL="0" indent="0" algn="r">
              <a:buNone/>
              <a:defRPr>
                <a:solidFill>
                  <a:schemeClr val="accent1"/>
                </a:solidFill>
                <a:latin typeface="+mj-lt"/>
              </a:defRPr>
            </a:lvl9pPr>
          </a:lstStyle>
          <a:p>
            <a:pPr lvl="0"/>
            <a:r>
              <a:rPr lang="en-US" noProof="0" dirty="0"/>
              <a:t>Item 01</a:t>
            </a:r>
          </a:p>
        </p:txBody>
      </p:sp>
      <p:sp>
        <p:nvSpPr>
          <p:cNvPr id="16" name="Textplatzhalter 14">
            <a:extLst>
              <a:ext uri="{FF2B5EF4-FFF2-40B4-BE49-F238E27FC236}">
                <a16:creationId xmlns:a16="http://schemas.microsoft.com/office/drawing/2014/main" id="{A40819FF-4342-45E9-80A4-13D442D4E14D}"/>
              </a:ext>
            </a:extLst>
          </p:cNvPr>
          <p:cNvSpPr>
            <a:spLocks noGrp="1"/>
          </p:cNvSpPr>
          <p:nvPr>
            <p:ph type="body" sz="quarter" idx="15" hasCustomPrompt="1"/>
          </p:nvPr>
        </p:nvSpPr>
        <p:spPr bwMode="gray">
          <a:xfrm>
            <a:off x="3431952" y="4627476"/>
            <a:ext cx="2519362" cy="288925"/>
          </a:xfrm>
        </p:spPr>
        <p:txBody>
          <a:bodyPr/>
          <a:lstStyle>
            <a:lvl1pPr marL="0" indent="0" algn="l">
              <a:buFont typeface="Arial" panose="020B0604020202020204" pitchFamily="34" charset="0"/>
              <a:buNone/>
              <a:defRPr>
                <a:solidFill>
                  <a:schemeClr val="accent1"/>
                </a:solidFill>
                <a:latin typeface="+mj-lt"/>
              </a:defRPr>
            </a:lvl1pPr>
            <a:lvl2pPr marL="0" indent="0" algn="l">
              <a:buFont typeface="Arial" panose="020B0604020202020204" pitchFamily="34" charset="0"/>
              <a:buNone/>
              <a:defRPr>
                <a:solidFill>
                  <a:schemeClr val="accent1"/>
                </a:solidFill>
                <a:latin typeface="+mj-lt"/>
              </a:defRPr>
            </a:lvl2pPr>
            <a:lvl3pPr marL="0" indent="0" algn="l">
              <a:buNone/>
              <a:defRPr>
                <a:solidFill>
                  <a:schemeClr val="accent1"/>
                </a:solidFill>
                <a:latin typeface="+mj-lt"/>
              </a:defRPr>
            </a:lvl3pPr>
            <a:lvl4pPr marL="0" indent="0" algn="l">
              <a:buNone/>
              <a:defRPr>
                <a:solidFill>
                  <a:schemeClr val="accent1"/>
                </a:solidFill>
                <a:latin typeface="+mj-lt"/>
              </a:defRPr>
            </a:lvl4pPr>
            <a:lvl5pPr marL="0" indent="0" algn="l">
              <a:buNone/>
              <a:defRPr>
                <a:solidFill>
                  <a:schemeClr val="accent1"/>
                </a:solidFill>
                <a:latin typeface="+mj-lt"/>
              </a:defRPr>
            </a:lvl5pPr>
            <a:lvl6pPr marL="0" indent="0" algn="l">
              <a:buNone/>
              <a:defRPr>
                <a:solidFill>
                  <a:schemeClr val="accent1"/>
                </a:solidFill>
                <a:latin typeface="+mj-lt"/>
              </a:defRPr>
            </a:lvl6pPr>
            <a:lvl7pPr marL="0" indent="0" algn="l">
              <a:buNone/>
              <a:defRPr>
                <a:solidFill>
                  <a:schemeClr val="accent1"/>
                </a:solidFill>
                <a:latin typeface="+mj-lt"/>
              </a:defRPr>
            </a:lvl7pPr>
            <a:lvl8pPr marL="0" indent="0" algn="l">
              <a:buNone/>
              <a:defRPr>
                <a:solidFill>
                  <a:schemeClr val="accent1"/>
                </a:solidFill>
                <a:latin typeface="+mj-lt"/>
              </a:defRPr>
            </a:lvl8pPr>
            <a:lvl9pPr marL="0" indent="0" algn="l">
              <a:buNone/>
              <a:defRPr>
                <a:solidFill>
                  <a:schemeClr val="accent1"/>
                </a:solidFill>
                <a:latin typeface="+mj-lt"/>
              </a:defRPr>
            </a:lvl9pPr>
          </a:lstStyle>
          <a:p>
            <a:pPr lvl="0"/>
            <a:r>
              <a:rPr lang="en-US" noProof="0" dirty="0"/>
              <a:t>Item 02</a:t>
            </a:r>
          </a:p>
        </p:txBody>
      </p:sp>
      <p:sp>
        <p:nvSpPr>
          <p:cNvPr id="17" name="Textplatzhalter 14">
            <a:extLst>
              <a:ext uri="{FF2B5EF4-FFF2-40B4-BE49-F238E27FC236}">
                <a16:creationId xmlns:a16="http://schemas.microsoft.com/office/drawing/2014/main" id="{76A0062F-C967-4CA1-AB1A-BB0244BE18F5}"/>
              </a:ext>
            </a:extLst>
          </p:cNvPr>
          <p:cNvSpPr>
            <a:spLocks noGrp="1"/>
          </p:cNvSpPr>
          <p:nvPr>
            <p:ph type="body" sz="quarter" idx="16" hasCustomPrompt="1"/>
          </p:nvPr>
        </p:nvSpPr>
        <p:spPr bwMode="gray">
          <a:xfrm>
            <a:off x="6238460" y="5157320"/>
            <a:ext cx="2519362" cy="288925"/>
          </a:xfrm>
        </p:spPr>
        <p:txBody>
          <a:bodyPr/>
          <a:lstStyle>
            <a:lvl1pPr marL="0" indent="0" algn="l">
              <a:buFont typeface="Arial" panose="020B0604020202020204" pitchFamily="34" charset="0"/>
              <a:buNone/>
              <a:defRPr>
                <a:solidFill>
                  <a:schemeClr val="accent1"/>
                </a:solidFill>
                <a:latin typeface="+mj-lt"/>
              </a:defRPr>
            </a:lvl1pPr>
            <a:lvl2pPr marL="0" indent="0" algn="l">
              <a:buFont typeface="Arial" panose="020B0604020202020204" pitchFamily="34" charset="0"/>
              <a:buNone/>
              <a:defRPr>
                <a:solidFill>
                  <a:schemeClr val="accent1"/>
                </a:solidFill>
                <a:latin typeface="+mj-lt"/>
              </a:defRPr>
            </a:lvl2pPr>
            <a:lvl3pPr marL="0" indent="0" algn="l">
              <a:buNone/>
              <a:defRPr>
                <a:solidFill>
                  <a:schemeClr val="accent1"/>
                </a:solidFill>
                <a:latin typeface="+mj-lt"/>
              </a:defRPr>
            </a:lvl3pPr>
            <a:lvl4pPr marL="0" indent="0" algn="l">
              <a:buNone/>
              <a:defRPr>
                <a:solidFill>
                  <a:schemeClr val="accent1"/>
                </a:solidFill>
                <a:latin typeface="+mj-lt"/>
              </a:defRPr>
            </a:lvl4pPr>
            <a:lvl5pPr marL="0" indent="0" algn="l">
              <a:buNone/>
              <a:defRPr>
                <a:solidFill>
                  <a:schemeClr val="accent1"/>
                </a:solidFill>
                <a:latin typeface="+mj-lt"/>
              </a:defRPr>
            </a:lvl5pPr>
            <a:lvl6pPr marL="0" indent="0" algn="l">
              <a:buNone/>
              <a:defRPr>
                <a:solidFill>
                  <a:schemeClr val="accent1"/>
                </a:solidFill>
                <a:latin typeface="+mj-lt"/>
              </a:defRPr>
            </a:lvl6pPr>
            <a:lvl7pPr marL="0" indent="0" algn="l">
              <a:buNone/>
              <a:defRPr>
                <a:solidFill>
                  <a:schemeClr val="accent1"/>
                </a:solidFill>
                <a:latin typeface="+mj-lt"/>
              </a:defRPr>
            </a:lvl7pPr>
            <a:lvl8pPr marL="0" indent="0" algn="l">
              <a:buNone/>
              <a:defRPr>
                <a:solidFill>
                  <a:schemeClr val="accent1"/>
                </a:solidFill>
                <a:latin typeface="+mj-lt"/>
              </a:defRPr>
            </a:lvl8pPr>
            <a:lvl9pPr marL="0" indent="0" algn="l">
              <a:buNone/>
              <a:defRPr>
                <a:solidFill>
                  <a:schemeClr val="accent1"/>
                </a:solidFill>
                <a:latin typeface="+mj-lt"/>
              </a:defRPr>
            </a:lvl9pPr>
          </a:lstStyle>
          <a:p>
            <a:pPr lvl="0"/>
            <a:r>
              <a:rPr lang="en-US" noProof="0" dirty="0"/>
              <a:t>Item 03</a:t>
            </a:r>
          </a:p>
        </p:txBody>
      </p:sp>
      <p:sp>
        <p:nvSpPr>
          <p:cNvPr id="18" name="Textplatzhalter 14">
            <a:extLst>
              <a:ext uri="{FF2B5EF4-FFF2-40B4-BE49-F238E27FC236}">
                <a16:creationId xmlns:a16="http://schemas.microsoft.com/office/drawing/2014/main" id="{8523EC68-8987-4E7F-81E5-BA1A24CF744F}"/>
              </a:ext>
            </a:extLst>
          </p:cNvPr>
          <p:cNvSpPr>
            <a:spLocks noGrp="1"/>
          </p:cNvSpPr>
          <p:nvPr>
            <p:ph type="body" sz="quarter" idx="17" hasCustomPrompt="1"/>
          </p:nvPr>
        </p:nvSpPr>
        <p:spPr bwMode="gray">
          <a:xfrm>
            <a:off x="9044968" y="3284944"/>
            <a:ext cx="2519362" cy="288925"/>
          </a:xfrm>
        </p:spPr>
        <p:txBody>
          <a:bodyPr/>
          <a:lstStyle>
            <a:lvl1pPr marL="0" indent="0" algn="l">
              <a:buFont typeface="Arial" panose="020B0604020202020204" pitchFamily="34" charset="0"/>
              <a:buNone/>
              <a:defRPr>
                <a:solidFill>
                  <a:schemeClr val="accent1"/>
                </a:solidFill>
                <a:latin typeface="+mj-lt"/>
              </a:defRPr>
            </a:lvl1pPr>
            <a:lvl2pPr marL="0" indent="0" algn="l">
              <a:buFont typeface="Arial" panose="020B0604020202020204" pitchFamily="34" charset="0"/>
              <a:buNone/>
              <a:defRPr>
                <a:solidFill>
                  <a:schemeClr val="accent1"/>
                </a:solidFill>
                <a:latin typeface="+mj-lt"/>
              </a:defRPr>
            </a:lvl2pPr>
            <a:lvl3pPr marL="0" indent="0" algn="l">
              <a:buNone/>
              <a:defRPr>
                <a:solidFill>
                  <a:schemeClr val="accent1"/>
                </a:solidFill>
                <a:latin typeface="+mj-lt"/>
              </a:defRPr>
            </a:lvl3pPr>
            <a:lvl4pPr marL="0" indent="0" algn="l">
              <a:buNone/>
              <a:defRPr>
                <a:solidFill>
                  <a:schemeClr val="accent1"/>
                </a:solidFill>
                <a:latin typeface="+mj-lt"/>
              </a:defRPr>
            </a:lvl4pPr>
            <a:lvl5pPr marL="0" indent="0" algn="l">
              <a:buNone/>
              <a:defRPr>
                <a:solidFill>
                  <a:schemeClr val="accent1"/>
                </a:solidFill>
                <a:latin typeface="+mj-lt"/>
              </a:defRPr>
            </a:lvl5pPr>
            <a:lvl6pPr marL="0" indent="0" algn="l">
              <a:buNone/>
              <a:defRPr>
                <a:solidFill>
                  <a:schemeClr val="accent1"/>
                </a:solidFill>
                <a:latin typeface="+mj-lt"/>
              </a:defRPr>
            </a:lvl6pPr>
            <a:lvl7pPr marL="0" indent="0" algn="l">
              <a:buNone/>
              <a:defRPr>
                <a:solidFill>
                  <a:schemeClr val="accent1"/>
                </a:solidFill>
                <a:latin typeface="+mj-lt"/>
              </a:defRPr>
            </a:lvl7pPr>
            <a:lvl8pPr marL="0" indent="0" algn="l">
              <a:buNone/>
              <a:defRPr>
                <a:solidFill>
                  <a:schemeClr val="accent1"/>
                </a:solidFill>
                <a:latin typeface="+mj-lt"/>
              </a:defRPr>
            </a:lvl8pPr>
            <a:lvl9pPr marL="0" indent="0" algn="l">
              <a:buNone/>
              <a:defRPr>
                <a:solidFill>
                  <a:schemeClr val="accent1"/>
                </a:solidFill>
                <a:latin typeface="+mj-lt"/>
              </a:defRPr>
            </a:lvl9pPr>
          </a:lstStyle>
          <a:p>
            <a:pPr lvl="0"/>
            <a:r>
              <a:rPr lang="en-US" noProof="0" dirty="0"/>
              <a:t>Item 04</a:t>
            </a:r>
          </a:p>
        </p:txBody>
      </p:sp>
      <p:sp>
        <p:nvSpPr>
          <p:cNvPr id="20" name="Bildplatzhalter 3">
            <a:extLst>
              <a:ext uri="{FF2B5EF4-FFF2-40B4-BE49-F238E27FC236}">
                <a16:creationId xmlns:a16="http://schemas.microsoft.com/office/drawing/2014/main" id="{B93112B3-DF5F-49E4-B01E-6CAF305262E0}"/>
              </a:ext>
            </a:extLst>
          </p:cNvPr>
          <p:cNvSpPr>
            <a:spLocks noGrp="1"/>
          </p:cNvSpPr>
          <p:nvPr>
            <p:ph type="pic" sz="quarter" idx="19" hasCustomPrompt="1"/>
          </p:nvPr>
        </p:nvSpPr>
        <p:spPr bwMode="gray">
          <a:xfrm>
            <a:off x="6168008" y="3141925"/>
            <a:ext cx="2592000" cy="1800104"/>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22" name="Textplatzhalter 21">
            <a:extLst>
              <a:ext uri="{FF2B5EF4-FFF2-40B4-BE49-F238E27FC236}">
                <a16:creationId xmlns:a16="http://schemas.microsoft.com/office/drawing/2014/main" id="{948DF261-EF2A-453E-AB94-9D7AB703CCB6}"/>
              </a:ext>
            </a:extLst>
          </p:cNvPr>
          <p:cNvSpPr>
            <a:spLocks noGrp="1"/>
          </p:cNvSpPr>
          <p:nvPr>
            <p:ph type="body" sz="quarter" idx="20" hasCustomPrompt="1"/>
          </p:nvPr>
        </p:nvSpPr>
        <p:spPr bwMode="gray">
          <a:xfrm>
            <a:off x="623888" y="2997120"/>
            <a:ext cx="2519362" cy="1152000"/>
          </a:xfrm>
        </p:spPr>
        <p:txBody>
          <a:bodyPr/>
          <a:lstStyle>
            <a:lvl1pPr marL="0" indent="0" algn="r">
              <a:buFont typeface="Arial" panose="020B0604020202020204" pitchFamily="34" charset="0"/>
              <a:buNone/>
              <a:defRPr sz="2400">
                <a:latin typeface="+mn-lt"/>
              </a:defRPr>
            </a:lvl1pPr>
            <a:lvl2pPr marL="0" indent="0" algn="r">
              <a:buFont typeface="Arial" panose="020B0604020202020204" pitchFamily="34" charset="0"/>
              <a:buNone/>
              <a:defRPr sz="2400">
                <a:latin typeface="+mn-lt"/>
              </a:defRPr>
            </a:lvl2pPr>
            <a:lvl3pPr marL="0" indent="0" algn="r">
              <a:buNone/>
              <a:defRPr sz="2400">
                <a:latin typeface="+mn-lt"/>
              </a:defRPr>
            </a:lvl3pPr>
            <a:lvl4pPr marL="0" indent="0" algn="r">
              <a:buNone/>
              <a:defRPr sz="2400">
                <a:latin typeface="+mn-lt"/>
              </a:defRPr>
            </a:lvl4pPr>
            <a:lvl5pPr marL="0" indent="0" algn="r">
              <a:buNone/>
              <a:defRPr sz="2400">
                <a:latin typeface="+mn-lt"/>
              </a:defRPr>
            </a:lvl5pPr>
            <a:lvl6pPr marL="0" indent="0" algn="r">
              <a:buNone/>
              <a:defRPr sz="2400">
                <a:latin typeface="+mn-lt"/>
              </a:defRPr>
            </a:lvl6pPr>
            <a:lvl7pPr marL="0" indent="0" algn="r">
              <a:buNone/>
              <a:defRPr sz="2400">
                <a:latin typeface="+mn-lt"/>
              </a:defRPr>
            </a:lvl7pPr>
            <a:lvl8pPr marL="0" indent="0" algn="r">
              <a:buNone/>
              <a:defRPr sz="2400">
                <a:latin typeface="+mn-lt"/>
              </a:defRPr>
            </a:lvl8pPr>
            <a:lvl9pPr marL="0" indent="0" algn="r">
              <a:buNone/>
              <a:defRPr sz="2400">
                <a:latin typeface="+mn-lt"/>
              </a:defRPr>
            </a:lvl9pPr>
          </a:lstStyle>
          <a:p>
            <a:pPr lvl="0"/>
            <a:r>
              <a:rPr lang="en-US" noProof="0" dirty="0"/>
              <a:t>First point on the agenda</a:t>
            </a:r>
          </a:p>
        </p:txBody>
      </p:sp>
      <p:sp>
        <p:nvSpPr>
          <p:cNvPr id="23" name="Textplatzhalter 21">
            <a:extLst>
              <a:ext uri="{FF2B5EF4-FFF2-40B4-BE49-F238E27FC236}">
                <a16:creationId xmlns:a16="http://schemas.microsoft.com/office/drawing/2014/main" id="{D62D761E-83CD-4847-94B4-5E3FA20742FB}"/>
              </a:ext>
            </a:extLst>
          </p:cNvPr>
          <p:cNvSpPr>
            <a:spLocks noGrp="1"/>
          </p:cNvSpPr>
          <p:nvPr>
            <p:ph type="body" sz="quarter" idx="21" hasCustomPrompt="1"/>
          </p:nvPr>
        </p:nvSpPr>
        <p:spPr bwMode="gray">
          <a:xfrm>
            <a:off x="3431704" y="4987516"/>
            <a:ext cx="2519362" cy="1152000"/>
          </a:xfrm>
        </p:spPr>
        <p:txBody>
          <a:bodyPr/>
          <a:lstStyle>
            <a:lvl1pPr marL="0" indent="0">
              <a:buFont typeface="Arial" panose="020B0604020202020204" pitchFamily="34" charset="0"/>
              <a:buNone/>
              <a:defRPr sz="2400">
                <a:latin typeface="+mn-lt"/>
              </a:defRPr>
            </a:lvl1pPr>
            <a:lvl2pPr marL="0" indent="0">
              <a:buFont typeface="Arial" panose="020B0604020202020204" pitchFamily="34" charset="0"/>
              <a:buNone/>
              <a:defRPr sz="2400">
                <a:latin typeface="+mn-lt"/>
              </a:defRPr>
            </a:lvl2pPr>
            <a:lvl3pPr marL="0" indent="0">
              <a:buNone/>
              <a:defRPr sz="2400">
                <a:latin typeface="+mn-lt"/>
              </a:defRPr>
            </a:lvl3pPr>
            <a:lvl4pPr marL="0" indent="0">
              <a:buNone/>
              <a:defRPr sz="2400">
                <a:latin typeface="+mn-lt"/>
              </a:defRPr>
            </a:lvl4pPr>
            <a:lvl5pPr marL="0" indent="0">
              <a:buNone/>
              <a:defRPr sz="2400">
                <a:latin typeface="+mn-lt"/>
              </a:defRPr>
            </a:lvl5pPr>
            <a:lvl6pPr marL="0" indent="0">
              <a:buNone/>
              <a:defRPr sz="2400">
                <a:latin typeface="+mn-lt"/>
              </a:defRPr>
            </a:lvl6pPr>
            <a:lvl7pPr marL="0" indent="0">
              <a:buNone/>
              <a:defRPr sz="2400">
                <a:latin typeface="+mn-lt"/>
              </a:defRPr>
            </a:lvl7pPr>
            <a:lvl8pPr marL="0" indent="0">
              <a:buNone/>
              <a:defRPr sz="2400">
                <a:latin typeface="+mn-lt"/>
              </a:defRPr>
            </a:lvl8pPr>
            <a:lvl9pPr marL="0" indent="0">
              <a:buNone/>
              <a:defRPr sz="2400">
                <a:latin typeface="+mn-lt"/>
              </a:defRPr>
            </a:lvl9pPr>
          </a:lstStyle>
          <a:p>
            <a:pPr lvl="0"/>
            <a:r>
              <a:rPr lang="en-US" noProof="0" dirty="0"/>
              <a:t>Second point on the agenda</a:t>
            </a:r>
          </a:p>
        </p:txBody>
      </p:sp>
      <p:sp>
        <p:nvSpPr>
          <p:cNvPr id="24" name="Textplatzhalter 21">
            <a:extLst>
              <a:ext uri="{FF2B5EF4-FFF2-40B4-BE49-F238E27FC236}">
                <a16:creationId xmlns:a16="http://schemas.microsoft.com/office/drawing/2014/main" id="{071509D3-12A8-41F9-953A-EDDA57CF9BDE}"/>
              </a:ext>
            </a:extLst>
          </p:cNvPr>
          <p:cNvSpPr>
            <a:spLocks noGrp="1"/>
          </p:cNvSpPr>
          <p:nvPr>
            <p:ph type="body" sz="quarter" idx="22" hasCustomPrompt="1"/>
          </p:nvPr>
        </p:nvSpPr>
        <p:spPr bwMode="gray">
          <a:xfrm>
            <a:off x="6236758" y="5517360"/>
            <a:ext cx="2519362" cy="1152000"/>
          </a:xfrm>
        </p:spPr>
        <p:txBody>
          <a:bodyPr/>
          <a:lstStyle>
            <a:lvl1pPr marL="0" indent="0" algn="l">
              <a:buFont typeface="Arial" panose="020B0604020202020204" pitchFamily="34" charset="0"/>
              <a:buNone/>
              <a:defRPr sz="2400">
                <a:latin typeface="+mn-lt"/>
              </a:defRPr>
            </a:lvl1pPr>
            <a:lvl2pPr marL="0" indent="0">
              <a:buFont typeface="Arial" panose="020B0604020202020204" pitchFamily="34" charset="0"/>
              <a:buNone/>
              <a:defRPr sz="2400">
                <a:latin typeface="+mn-lt"/>
              </a:defRPr>
            </a:lvl2pPr>
            <a:lvl3pPr marL="0" indent="0">
              <a:buNone/>
              <a:defRPr sz="2400">
                <a:latin typeface="+mn-lt"/>
              </a:defRPr>
            </a:lvl3pPr>
            <a:lvl4pPr marL="0" indent="0">
              <a:buNone/>
              <a:defRPr sz="2400">
                <a:latin typeface="+mn-lt"/>
              </a:defRPr>
            </a:lvl4pPr>
            <a:lvl5pPr marL="0" indent="0">
              <a:buNone/>
              <a:defRPr sz="2400">
                <a:latin typeface="+mn-lt"/>
              </a:defRPr>
            </a:lvl5pPr>
            <a:lvl6pPr marL="0" indent="0">
              <a:buNone/>
              <a:defRPr sz="2400">
                <a:latin typeface="+mn-lt"/>
              </a:defRPr>
            </a:lvl6pPr>
            <a:lvl7pPr marL="0" indent="0">
              <a:buNone/>
              <a:defRPr sz="2400">
                <a:latin typeface="+mn-lt"/>
              </a:defRPr>
            </a:lvl7pPr>
            <a:lvl8pPr marL="0" indent="0">
              <a:buNone/>
              <a:defRPr sz="2400">
                <a:latin typeface="+mn-lt"/>
              </a:defRPr>
            </a:lvl8pPr>
            <a:lvl9pPr marL="0" indent="0">
              <a:buNone/>
              <a:defRPr sz="2400">
                <a:latin typeface="+mn-lt"/>
              </a:defRPr>
            </a:lvl9pPr>
          </a:lstStyle>
          <a:p>
            <a:pPr lvl="0"/>
            <a:r>
              <a:rPr lang="en-US" noProof="0" dirty="0"/>
              <a:t>Third point on the agenda</a:t>
            </a:r>
          </a:p>
        </p:txBody>
      </p:sp>
      <p:sp>
        <p:nvSpPr>
          <p:cNvPr id="25" name="Textplatzhalter 21">
            <a:extLst>
              <a:ext uri="{FF2B5EF4-FFF2-40B4-BE49-F238E27FC236}">
                <a16:creationId xmlns:a16="http://schemas.microsoft.com/office/drawing/2014/main" id="{D0AD966F-3C3F-457A-B74E-A79C1E40D0F3}"/>
              </a:ext>
            </a:extLst>
          </p:cNvPr>
          <p:cNvSpPr>
            <a:spLocks noGrp="1"/>
          </p:cNvSpPr>
          <p:nvPr>
            <p:ph type="body" sz="quarter" idx="23" hasCustomPrompt="1"/>
          </p:nvPr>
        </p:nvSpPr>
        <p:spPr bwMode="gray">
          <a:xfrm>
            <a:off x="9046028" y="3645152"/>
            <a:ext cx="2519362" cy="1152000"/>
          </a:xfrm>
        </p:spPr>
        <p:txBody>
          <a:bodyPr/>
          <a:lstStyle>
            <a:lvl1pPr marL="0" indent="0" algn="l">
              <a:buFont typeface="Arial" panose="020B0604020202020204" pitchFamily="34" charset="0"/>
              <a:buNone/>
              <a:defRPr sz="2400">
                <a:latin typeface="+mn-lt"/>
              </a:defRPr>
            </a:lvl1pPr>
            <a:lvl2pPr marL="0" indent="0">
              <a:buFont typeface="Arial" panose="020B0604020202020204" pitchFamily="34" charset="0"/>
              <a:buNone/>
              <a:defRPr sz="2400">
                <a:latin typeface="+mn-lt"/>
              </a:defRPr>
            </a:lvl2pPr>
            <a:lvl3pPr marL="0" indent="0">
              <a:buNone/>
              <a:defRPr sz="2400">
                <a:latin typeface="+mn-lt"/>
              </a:defRPr>
            </a:lvl3pPr>
            <a:lvl4pPr marL="0" indent="0">
              <a:buNone/>
              <a:defRPr sz="2400">
                <a:latin typeface="+mn-lt"/>
              </a:defRPr>
            </a:lvl4pPr>
            <a:lvl5pPr marL="0" indent="0">
              <a:buNone/>
              <a:defRPr sz="2400">
                <a:latin typeface="+mn-lt"/>
              </a:defRPr>
            </a:lvl5pPr>
            <a:lvl6pPr marL="0" indent="0">
              <a:buNone/>
              <a:defRPr sz="2400">
                <a:latin typeface="+mn-lt"/>
              </a:defRPr>
            </a:lvl6pPr>
            <a:lvl7pPr marL="0" indent="0">
              <a:buNone/>
              <a:defRPr sz="2400">
                <a:latin typeface="+mn-lt"/>
              </a:defRPr>
            </a:lvl7pPr>
            <a:lvl8pPr marL="0" indent="0">
              <a:buNone/>
              <a:defRPr sz="2400">
                <a:latin typeface="+mn-lt"/>
              </a:defRPr>
            </a:lvl8pPr>
            <a:lvl9pPr marL="0" indent="0">
              <a:buNone/>
              <a:defRPr sz="2400">
                <a:latin typeface="+mn-lt"/>
              </a:defRPr>
            </a:lvl9pPr>
          </a:lstStyle>
          <a:p>
            <a:pPr lvl="0"/>
            <a:r>
              <a:rPr lang="en-US" noProof="0" dirty="0"/>
              <a:t>Fourth point on the agenda</a:t>
            </a:r>
          </a:p>
        </p:txBody>
      </p:sp>
      <p:grpSp>
        <p:nvGrpSpPr>
          <p:cNvPr id="32" name="Gruppieren 31">
            <a:extLst>
              <a:ext uri="{FF2B5EF4-FFF2-40B4-BE49-F238E27FC236}">
                <a16:creationId xmlns:a16="http://schemas.microsoft.com/office/drawing/2014/main" id="{43A3A0A2-BB46-4466-AAEC-730759DE5D39}"/>
              </a:ext>
            </a:extLst>
          </p:cNvPr>
          <p:cNvGrpSpPr/>
          <p:nvPr userDrawn="1"/>
        </p:nvGrpSpPr>
        <p:grpSpPr bwMode="gray">
          <a:xfrm>
            <a:off x="3071664" y="-207392"/>
            <a:ext cx="6048672" cy="108000"/>
            <a:chOff x="3071664" y="-207392"/>
            <a:chExt cx="6048672" cy="108000"/>
          </a:xfrm>
        </p:grpSpPr>
        <p:sp>
          <p:nvSpPr>
            <p:cNvPr id="33" name="Freihandform: Form 32">
              <a:extLst>
                <a:ext uri="{FF2B5EF4-FFF2-40B4-BE49-F238E27FC236}">
                  <a16:creationId xmlns:a16="http://schemas.microsoft.com/office/drawing/2014/main" id="{DF8578A4-3D42-4350-8C22-33D06922A549}"/>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4" name="Freihandform: Form 33">
              <a:extLst>
                <a:ext uri="{FF2B5EF4-FFF2-40B4-BE49-F238E27FC236}">
                  <a16:creationId xmlns:a16="http://schemas.microsoft.com/office/drawing/2014/main" id="{37AA8D13-114D-4BF1-889C-61BB39D4D814}"/>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5" name="Freihandform: Form 34">
              <a:extLst>
                <a:ext uri="{FF2B5EF4-FFF2-40B4-BE49-F238E27FC236}">
                  <a16:creationId xmlns:a16="http://schemas.microsoft.com/office/drawing/2014/main" id="{5930D681-678A-4025-9554-0FF0C16E64B7}"/>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6" name="Freihandform: Form 35">
              <a:extLst>
                <a:ext uri="{FF2B5EF4-FFF2-40B4-BE49-F238E27FC236}">
                  <a16:creationId xmlns:a16="http://schemas.microsoft.com/office/drawing/2014/main" id="{8AFCEFC6-8BA6-4A24-A91A-D23D6AA2B9AA}"/>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7" name="Freihandform: Form 36">
              <a:extLst>
                <a:ext uri="{FF2B5EF4-FFF2-40B4-BE49-F238E27FC236}">
                  <a16:creationId xmlns:a16="http://schemas.microsoft.com/office/drawing/2014/main" id="{82B30C80-88C8-451E-BBEF-E955365268D7}"/>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 name="Freihandform: Form 37">
              <a:extLst>
                <a:ext uri="{FF2B5EF4-FFF2-40B4-BE49-F238E27FC236}">
                  <a16:creationId xmlns:a16="http://schemas.microsoft.com/office/drawing/2014/main" id="{3591A4B7-872C-44E8-A076-BB0E7C6ED15E}"/>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26" name="Rechteck 25">
            <a:extLst>
              <a:ext uri="{FF2B5EF4-FFF2-40B4-BE49-F238E27FC236}">
                <a16:creationId xmlns:a16="http://schemas.microsoft.com/office/drawing/2014/main" id="{5874FCF8-84E5-4590-89DF-C5B959C3FC56}"/>
              </a:ext>
            </a:extLst>
          </p:cNvPr>
          <p:cNvSpPr/>
          <p:nvPr userDrawn="1"/>
        </p:nvSpPr>
        <p:spPr bwMode="gray">
          <a:xfrm>
            <a:off x="12288880" y="188640"/>
            <a:ext cx="1728000" cy="64804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t"/>
          <a:lstStyle/>
          <a:p>
            <a:pPr algn="l"/>
            <a:r>
              <a:rPr lang="en-US" sz="1200" noProof="0" dirty="0">
                <a:solidFill>
                  <a:schemeClr val="tx1"/>
                </a:solidFill>
                <a:latin typeface="+mj-lt"/>
              </a:rPr>
              <a:t>Note:</a:t>
            </a:r>
          </a:p>
          <a:p>
            <a:pPr algn="l"/>
            <a:r>
              <a:rPr lang="en-US" sz="1200" noProof="0" dirty="0">
                <a:solidFill>
                  <a:schemeClr val="tx1"/>
                </a:solidFill>
              </a:rPr>
              <a:t>Image placeholders</a:t>
            </a:r>
            <a:br>
              <a:rPr lang="en-US" sz="1200" noProof="0" dirty="0">
                <a:solidFill>
                  <a:schemeClr val="tx1"/>
                </a:solidFill>
              </a:rPr>
            </a:br>
            <a:r>
              <a:rPr lang="en-US" sz="1200" noProof="0" dirty="0">
                <a:solidFill>
                  <a:schemeClr val="tx1"/>
                </a:solidFill>
              </a:rPr>
              <a:t>don't have to be filled;</a:t>
            </a:r>
            <a:br>
              <a:rPr lang="en-US" sz="1200" noProof="0" dirty="0">
                <a:solidFill>
                  <a:schemeClr val="tx1"/>
                </a:solidFill>
              </a:rPr>
            </a:br>
            <a:r>
              <a:rPr lang="en-US" sz="1200" noProof="0" dirty="0">
                <a:solidFill>
                  <a:schemeClr val="tx1"/>
                </a:solidFill>
              </a:rPr>
              <a:t>they can simply be displayed in blue tones</a:t>
            </a:r>
            <a:br>
              <a:rPr lang="en-US" sz="1200" noProof="0" dirty="0">
                <a:solidFill>
                  <a:schemeClr val="tx1"/>
                </a:solidFill>
              </a:rPr>
            </a:br>
            <a:r>
              <a:rPr lang="en-US" sz="1200" noProof="0" dirty="0">
                <a:solidFill>
                  <a:schemeClr val="tx1"/>
                </a:solidFill>
              </a:rPr>
              <a:t>in the on-screen presentation mode.</a:t>
            </a:r>
          </a:p>
        </p:txBody>
      </p:sp>
      <p:sp>
        <p:nvSpPr>
          <p:cNvPr id="4" name="Fußzeilenplatzhalter 3">
            <a:extLst>
              <a:ext uri="{FF2B5EF4-FFF2-40B4-BE49-F238E27FC236}">
                <a16:creationId xmlns:a16="http://schemas.microsoft.com/office/drawing/2014/main" id="{E49CECBF-D11D-49C6-B6D6-10E133F4F150}"/>
              </a:ext>
            </a:extLst>
          </p:cNvPr>
          <p:cNvSpPr>
            <a:spLocks noGrp="1"/>
          </p:cNvSpPr>
          <p:nvPr>
            <p:ph type="ftr" sz="quarter" idx="24"/>
          </p:nvPr>
        </p:nvSpPr>
        <p:spPr bwMode="gray"/>
        <p:txBody>
          <a:bodyPr/>
          <a:lstStyle/>
          <a:p>
            <a:r>
              <a:rPr lang="en-US"/>
              <a:t>Footnote: Please insert appropriate company</a:t>
            </a:r>
            <a:endParaRPr lang="de-DE" dirty="0"/>
          </a:p>
        </p:txBody>
      </p:sp>
    </p:spTree>
    <p:extLst>
      <p:ext uri="{BB962C8B-B14F-4D97-AF65-F5344CB8AC3E}">
        <p14:creationId xmlns:p14="http://schemas.microsoft.com/office/powerpoint/2010/main" val="1221983351"/>
      </p:ext>
    </p:extLst>
  </p:cSld>
  <p:clrMapOvr>
    <a:masterClrMapping/>
  </p:clrMapOvr>
  <p:extLst>
    <p:ext uri="{DCECCB84-F9BA-43D5-87BE-67443E8EF086}">
      <p15:sldGuideLst xmlns:p15="http://schemas.microsoft.com/office/powerpoint/2012/main">
        <p15:guide id="1" pos="393">
          <p15:clr>
            <a:srgbClr val="FBAE40"/>
          </p15:clr>
        </p15:guide>
        <p15:guide id="2" pos="121">
          <p15:clr>
            <a:srgbClr val="FBAE40"/>
          </p15:clr>
        </p15:guide>
        <p15:guide id="3" pos="7559">
          <p15:clr>
            <a:srgbClr val="FBAE40"/>
          </p15:clr>
        </p15:guide>
        <p15:guide id="4" orient="horz" pos="119">
          <p15:clr>
            <a:srgbClr val="FBAE40"/>
          </p15:clr>
        </p15:guide>
        <p15:guide id="5" orient="horz" pos="4201">
          <p15:clr>
            <a:srgbClr val="FBAE40"/>
          </p15:clr>
        </p15:guide>
        <p15:guide id="6" pos="728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Divider">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CF11B41A-302F-4E3F-973C-42BA4A43B723}"/>
              </a:ext>
            </a:extLst>
          </p:cNvPr>
          <p:cNvSpPr/>
          <p:nvPr userDrawn="1"/>
        </p:nvSpPr>
        <p:spPr bwMode="gray">
          <a:xfrm>
            <a:off x="192088" y="188913"/>
            <a:ext cx="11807824" cy="64801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el 1">
            <a:extLst>
              <a:ext uri="{FF2B5EF4-FFF2-40B4-BE49-F238E27FC236}">
                <a16:creationId xmlns:a16="http://schemas.microsoft.com/office/drawing/2014/main" id="{41CEB352-6B3F-444B-98DA-C3CADBD2BDD1}"/>
              </a:ext>
            </a:extLst>
          </p:cNvPr>
          <p:cNvSpPr>
            <a:spLocks noGrp="1"/>
          </p:cNvSpPr>
          <p:nvPr>
            <p:ph type="title" hasCustomPrompt="1"/>
          </p:nvPr>
        </p:nvSpPr>
        <p:spPr bwMode="gray">
          <a:xfrm>
            <a:off x="1559496" y="2637019"/>
            <a:ext cx="5760640" cy="2232141"/>
          </a:xfrm>
        </p:spPr>
        <p:txBody>
          <a:bodyPr/>
          <a:lstStyle>
            <a:lvl1pPr>
              <a:defRPr>
                <a:solidFill>
                  <a:schemeClr val="bg1"/>
                </a:solidFill>
              </a:defRPr>
            </a:lvl1pPr>
          </a:lstStyle>
          <a:p>
            <a:r>
              <a:rPr lang="en-US" noProof="0" dirty="0"/>
              <a:t>Click to edit Master title style</a:t>
            </a:r>
          </a:p>
        </p:txBody>
      </p:sp>
      <p:sp>
        <p:nvSpPr>
          <p:cNvPr id="3" name="Foliennummernplatzhalter 2">
            <a:extLst>
              <a:ext uri="{FF2B5EF4-FFF2-40B4-BE49-F238E27FC236}">
                <a16:creationId xmlns:a16="http://schemas.microsoft.com/office/drawing/2014/main" id="{8877B72F-4824-4358-B5B3-E8E5615D4073}"/>
              </a:ext>
            </a:extLst>
          </p:cNvPr>
          <p:cNvSpPr>
            <a:spLocks noGrp="1"/>
          </p:cNvSpPr>
          <p:nvPr>
            <p:ph type="sldNum" sz="quarter" idx="10"/>
          </p:nvPr>
        </p:nvSpPr>
        <p:spPr bwMode="gray"/>
        <p:txBody>
          <a:bodyPr/>
          <a:lstStyle>
            <a:lvl1pPr>
              <a:defRPr>
                <a:solidFill>
                  <a:schemeClr val="bg1"/>
                </a:solidFill>
              </a:defRPr>
            </a:lvl1pPr>
          </a:lstStyle>
          <a:p>
            <a:fld id="{CE82B8A1-0CCE-4815-9668-383D7DE7D8B4}" type="slidenum">
              <a:rPr lang="en-US" noProof="0" smtClean="0"/>
              <a:pPr/>
              <a:t>‹Nº›</a:t>
            </a:fld>
            <a:endParaRPr lang="en-US" noProof="0" dirty="0"/>
          </a:p>
        </p:txBody>
      </p:sp>
      <p:sp>
        <p:nvSpPr>
          <p:cNvPr id="8" name="Textplatzhalter 7">
            <a:extLst>
              <a:ext uri="{FF2B5EF4-FFF2-40B4-BE49-F238E27FC236}">
                <a16:creationId xmlns:a16="http://schemas.microsoft.com/office/drawing/2014/main" id="{A579BA00-4FE1-4E08-86CC-6182D25E46A4}"/>
              </a:ext>
            </a:extLst>
          </p:cNvPr>
          <p:cNvSpPr>
            <a:spLocks noGrp="1"/>
          </p:cNvSpPr>
          <p:nvPr>
            <p:ph type="body" sz="quarter" idx="11" hasCustomPrompt="1"/>
          </p:nvPr>
        </p:nvSpPr>
        <p:spPr bwMode="gray">
          <a:xfrm>
            <a:off x="1559496" y="1916840"/>
            <a:ext cx="504056" cy="504042"/>
          </a:xfrm>
        </p:spPr>
        <p:txBody>
          <a:bodyPr wrap="none" anchor="b" anchorCtr="0"/>
          <a:lstStyle>
            <a:lvl1pPr marL="0" indent="0">
              <a:buFont typeface="Arial" panose="020B0604020202020204" pitchFamily="34" charset="0"/>
              <a:buNone/>
              <a:defRPr sz="4000">
                <a:solidFill>
                  <a:schemeClr val="bg1"/>
                </a:solidFill>
                <a:latin typeface="+mn-lt"/>
              </a:defRPr>
            </a:lvl1pPr>
            <a:lvl2pPr marL="0" indent="0">
              <a:buFont typeface="Arial" panose="020B0604020202020204" pitchFamily="34" charset="0"/>
              <a:buNone/>
              <a:defRPr sz="4000">
                <a:solidFill>
                  <a:schemeClr val="bg1"/>
                </a:solidFill>
                <a:latin typeface="+mn-lt"/>
              </a:defRPr>
            </a:lvl2pPr>
            <a:lvl3pPr marL="0" indent="0">
              <a:buNone/>
              <a:defRPr sz="4000">
                <a:solidFill>
                  <a:schemeClr val="bg1"/>
                </a:solidFill>
                <a:latin typeface="+mn-lt"/>
              </a:defRPr>
            </a:lvl3pPr>
            <a:lvl4pPr marL="0" indent="0">
              <a:buNone/>
              <a:defRPr sz="4000">
                <a:solidFill>
                  <a:schemeClr val="bg1"/>
                </a:solidFill>
                <a:latin typeface="+mn-lt"/>
              </a:defRPr>
            </a:lvl4pPr>
            <a:lvl5pPr marL="0" indent="0">
              <a:buNone/>
              <a:defRPr sz="4000">
                <a:solidFill>
                  <a:schemeClr val="bg1"/>
                </a:solidFill>
                <a:latin typeface="+mn-lt"/>
              </a:defRPr>
            </a:lvl5pPr>
            <a:lvl6pPr marL="0" indent="0">
              <a:buNone/>
              <a:defRPr sz="4000">
                <a:solidFill>
                  <a:schemeClr val="bg1"/>
                </a:solidFill>
                <a:latin typeface="+mn-lt"/>
              </a:defRPr>
            </a:lvl6pPr>
            <a:lvl7pPr marL="0" indent="0">
              <a:buNone/>
              <a:defRPr sz="4000">
                <a:solidFill>
                  <a:schemeClr val="bg1"/>
                </a:solidFill>
                <a:latin typeface="+mn-lt"/>
              </a:defRPr>
            </a:lvl7pPr>
            <a:lvl8pPr marL="0" indent="0">
              <a:buNone/>
              <a:defRPr sz="4000">
                <a:solidFill>
                  <a:schemeClr val="bg1"/>
                </a:solidFill>
                <a:latin typeface="+mn-lt"/>
              </a:defRPr>
            </a:lvl8pPr>
            <a:lvl9pPr marL="0" indent="0">
              <a:buNone/>
              <a:defRPr sz="4000">
                <a:solidFill>
                  <a:schemeClr val="bg1"/>
                </a:solidFill>
                <a:latin typeface="+mn-lt"/>
              </a:defRPr>
            </a:lvl9pPr>
          </a:lstStyle>
          <a:p>
            <a:pPr lvl="0"/>
            <a:r>
              <a:rPr lang="en-US" noProof="0" dirty="0"/>
              <a:t>01</a:t>
            </a:r>
          </a:p>
        </p:txBody>
      </p:sp>
      <p:cxnSp>
        <p:nvCxnSpPr>
          <p:cNvPr id="10" name="Gerader Verbinder 9">
            <a:extLst>
              <a:ext uri="{FF2B5EF4-FFF2-40B4-BE49-F238E27FC236}">
                <a16:creationId xmlns:a16="http://schemas.microsoft.com/office/drawing/2014/main" id="{4360C61A-E6BB-43B4-B21E-7E2A126286DD}"/>
              </a:ext>
            </a:extLst>
          </p:cNvPr>
          <p:cNvCxnSpPr>
            <a:cxnSpLocks/>
          </p:cNvCxnSpPr>
          <p:nvPr userDrawn="1"/>
        </p:nvCxnSpPr>
        <p:spPr bwMode="gray">
          <a:xfrm>
            <a:off x="2171476" y="2293539"/>
            <a:ext cx="51486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7" name="Gruppieren 16">
            <a:extLst>
              <a:ext uri="{FF2B5EF4-FFF2-40B4-BE49-F238E27FC236}">
                <a16:creationId xmlns:a16="http://schemas.microsoft.com/office/drawing/2014/main" id="{FADA5DA3-0EE9-42F1-9935-1E887E7ACF60}"/>
              </a:ext>
            </a:extLst>
          </p:cNvPr>
          <p:cNvGrpSpPr/>
          <p:nvPr userDrawn="1"/>
        </p:nvGrpSpPr>
        <p:grpSpPr bwMode="gray">
          <a:xfrm>
            <a:off x="3071664" y="-207392"/>
            <a:ext cx="6048672" cy="108000"/>
            <a:chOff x="3071664" y="-207392"/>
            <a:chExt cx="6048672" cy="108000"/>
          </a:xfrm>
        </p:grpSpPr>
        <p:sp>
          <p:nvSpPr>
            <p:cNvPr id="18" name="Freihandform: Form 17">
              <a:extLst>
                <a:ext uri="{FF2B5EF4-FFF2-40B4-BE49-F238E27FC236}">
                  <a16:creationId xmlns:a16="http://schemas.microsoft.com/office/drawing/2014/main" id="{108FFF83-ECC3-4D7B-AF0C-0EE5C4A511B9}"/>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 name="Freihandform: Form 18">
              <a:extLst>
                <a:ext uri="{FF2B5EF4-FFF2-40B4-BE49-F238E27FC236}">
                  <a16:creationId xmlns:a16="http://schemas.microsoft.com/office/drawing/2014/main" id="{C7CD8879-D929-4A01-9F09-F7372AA8B313}"/>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Freihandform: Form 19">
              <a:extLst>
                <a:ext uri="{FF2B5EF4-FFF2-40B4-BE49-F238E27FC236}">
                  <a16:creationId xmlns:a16="http://schemas.microsoft.com/office/drawing/2014/main" id="{5C4AA553-D393-42B2-B018-FB342E5B2357}"/>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Freihandform: Form 20">
              <a:extLst>
                <a:ext uri="{FF2B5EF4-FFF2-40B4-BE49-F238E27FC236}">
                  <a16:creationId xmlns:a16="http://schemas.microsoft.com/office/drawing/2014/main" id="{6807EDE3-79EB-49A2-A011-694F9A205515}"/>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20971E52-8A34-46C4-884E-72D6714842B3}"/>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3" name="Freihandform: Form 22">
              <a:extLst>
                <a:ext uri="{FF2B5EF4-FFF2-40B4-BE49-F238E27FC236}">
                  <a16:creationId xmlns:a16="http://schemas.microsoft.com/office/drawing/2014/main" id="{BB5446A8-E8DE-4390-96BF-5F8D77A87520}"/>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4" name="Fußzeilenplatzhalter 3">
            <a:extLst>
              <a:ext uri="{FF2B5EF4-FFF2-40B4-BE49-F238E27FC236}">
                <a16:creationId xmlns:a16="http://schemas.microsoft.com/office/drawing/2014/main" id="{ACF635F2-8DE8-4558-918E-38D69C38F68D}"/>
              </a:ext>
            </a:extLst>
          </p:cNvPr>
          <p:cNvSpPr>
            <a:spLocks noGrp="1"/>
          </p:cNvSpPr>
          <p:nvPr>
            <p:ph type="ftr" sz="quarter" idx="12"/>
          </p:nvPr>
        </p:nvSpPr>
        <p:spPr bwMode="gray"/>
        <p:txBody>
          <a:bodyPr/>
          <a:lstStyle>
            <a:lvl1pPr>
              <a:defRPr>
                <a:solidFill>
                  <a:schemeClr val="bg1"/>
                </a:solidFill>
              </a:defRPr>
            </a:lvl1pPr>
          </a:lstStyle>
          <a:p>
            <a:r>
              <a:rPr lang="en-US"/>
              <a:t>Footnote: Please insert appropriate company</a:t>
            </a:r>
            <a:endParaRPr lang="de-DE" dirty="0"/>
          </a:p>
        </p:txBody>
      </p:sp>
    </p:spTree>
    <p:extLst>
      <p:ext uri="{BB962C8B-B14F-4D97-AF65-F5344CB8AC3E}">
        <p14:creationId xmlns:p14="http://schemas.microsoft.com/office/powerpoint/2010/main" val="2500898896"/>
      </p:ext>
    </p:extLst>
  </p:cSld>
  <p:clrMapOvr>
    <a:masterClrMapping/>
  </p:clrMapOvr>
  <p:extLst>
    <p:ext uri="{DCECCB84-F9BA-43D5-87BE-67443E8EF086}">
      <p15:sldGuideLst xmlns:p15="http://schemas.microsoft.com/office/powerpoint/2012/main">
        <p15:guide id="1" pos="121" userDrawn="1">
          <p15:clr>
            <a:srgbClr val="FBAE40"/>
          </p15:clr>
        </p15:guide>
        <p15:guide id="2" pos="7559" userDrawn="1">
          <p15:clr>
            <a:srgbClr val="FBAE40"/>
          </p15:clr>
        </p15:guide>
        <p15:guide id="3" orient="horz" pos="119" userDrawn="1">
          <p15:clr>
            <a:srgbClr val="FBAE40"/>
          </p15:clr>
        </p15:guide>
        <p15:guide id="4" orient="horz" pos="420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with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lvl1pPr>
          </a:lstStyle>
          <a:p>
            <a:r>
              <a:rPr lang="en-US" noProof="0" dirty="0"/>
              <a:t>Click to edit Master title style</a:t>
            </a:r>
          </a:p>
        </p:txBody>
      </p:sp>
      <p:sp>
        <p:nvSpPr>
          <p:cNvPr id="3" name="Inhaltsplatzhalter 2"/>
          <p:cNvSpPr>
            <a:spLocks noGrp="1"/>
          </p:cNvSpPr>
          <p:nvPr>
            <p:ph idx="1" hasCustomPrompt="1"/>
          </p:nvPr>
        </p:nvSpPr>
        <p:spPr bwMode="gray"/>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liennummernplatzhalter 5"/>
          <p:cNvSpPr>
            <a:spLocks noGrp="1"/>
          </p:cNvSpPr>
          <p:nvPr>
            <p:ph type="sldNum" sz="quarter" idx="12"/>
          </p:nvPr>
        </p:nvSpPr>
        <p:spPr bwMode="gray"/>
        <p:txBody>
          <a:bodyPr/>
          <a:lstStyle/>
          <a:p>
            <a:fld id="{CE82B8A1-0CCE-4815-9668-383D7DE7D8B4}" type="slidenum">
              <a:rPr lang="en-US" noProof="0" smtClean="0"/>
              <a:t>‹Nº›</a:t>
            </a:fld>
            <a:endParaRPr lang="en-US" noProof="0" dirty="0"/>
          </a:p>
        </p:txBody>
      </p:sp>
      <p:grpSp>
        <p:nvGrpSpPr>
          <p:cNvPr id="16" name="Gruppieren 15">
            <a:extLst>
              <a:ext uri="{FF2B5EF4-FFF2-40B4-BE49-F238E27FC236}">
                <a16:creationId xmlns:a16="http://schemas.microsoft.com/office/drawing/2014/main" id="{BE026C33-3885-4CE0-B856-86ADAD7EDD56}"/>
              </a:ext>
            </a:extLst>
          </p:cNvPr>
          <p:cNvGrpSpPr/>
          <p:nvPr userDrawn="1"/>
        </p:nvGrpSpPr>
        <p:grpSpPr bwMode="gray">
          <a:xfrm>
            <a:off x="3071664" y="-207392"/>
            <a:ext cx="6048672" cy="108000"/>
            <a:chOff x="3071664" y="-207392"/>
            <a:chExt cx="6048672" cy="108000"/>
          </a:xfrm>
        </p:grpSpPr>
        <p:sp>
          <p:nvSpPr>
            <p:cNvPr id="17" name="Freihandform: Form 16">
              <a:extLst>
                <a:ext uri="{FF2B5EF4-FFF2-40B4-BE49-F238E27FC236}">
                  <a16:creationId xmlns:a16="http://schemas.microsoft.com/office/drawing/2014/main" id="{784416AB-634C-4B0E-80A7-642F9169BECD}"/>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 name="Freihandform: Form 17">
              <a:extLst>
                <a:ext uri="{FF2B5EF4-FFF2-40B4-BE49-F238E27FC236}">
                  <a16:creationId xmlns:a16="http://schemas.microsoft.com/office/drawing/2014/main" id="{D25516CA-4371-474B-BE00-CB4CE02E802D}"/>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 name="Freihandform: Form 18">
              <a:extLst>
                <a:ext uri="{FF2B5EF4-FFF2-40B4-BE49-F238E27FC236}">
                  <a16:creationId xmlns:a16="http://schemas.microsoft.com/office/drawing/2014/main" id="{7BA1D2F7-65B3-45F8-8B07-18A174CA6D84}"/>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Freihandform: Form 19">
              <a:extLst>
                <a:ext uri="{FF2B5EF4-FFF2-40B4-BE49-F238E27FC236}">
                  <a16:creationId xmlns:a16="http://schemas.microsoft.com/office/drawing/2014/main" id="{3F1AA9A5-2D51-4FEA-849A-5F39118D8F7C}"/>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Freihandform: Form 20">
              <a:extLst>
                <a:ext uri="{FF2B5EF4-FFF2-40B4-BE49-F238E27FC236}">
                  <a16:creationId xmlns:a16="http://schemas.microsoft.com/office/drawing/2014/main" id="{EB52281D-78C2-41D2-BD38-44063758910C}"/>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EEEE21B0-61F7-4E8C-A7A4-EF0E5A65903E}"/>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4" name="Fußzeilenplatzhalter 3">
            <a:extLst>
              <a:ext uri="{FF2B5EF4-FFF2-40B4-BE49-F238E27FC236}">
                <a16:creationId xmlns:a16="http://schemas.microsoft.com/office/drawing/2014/main" id="{92C1E476-18F1-474D-BE30-D03EAD0CA02F}"/>
              </a:ext>
            </a:extLst>
          </p:cNvPr>
          <p:cNvSpPr>
            <a:spLocks noGrp="1"/>
          </p:cNvSpPr>
          <p:nvPr>
            <p:ph type="ftr" sz="quarter" idx="13"/>
          </p:nvPr>
        </p:nvSpPr>
        <p:spPr bwMode="gray"/>
        <p:txBody>
          <a:bodyPr/>
          <a:lstStyle/>
          <a:p>
            <a:r>
              <a:rPr lang="en-US"/>
              <a:t>Footnote: Please insert appropriate company</a:t>
            </a:r>
            <a:endParaRPr lang="de-DE" dirty="0"/>
          </a:p>
        </p:txBody>
      </p:sp>
    </p:spTree>
    <p:extLst>
      <p:ext uri="{BB962C8B-B14F-4D97-AF65-F5344CB8AC3E}">
        <p14:creationId xmlns:p14="http://schemas.microsoft.com/office/powerpoint/2010/main" val="354017964"/>
      </p:ext>
    </p:extLst>
  </p:cSld>
  <p:clrMapOvr>
    <a:masterClrMapping/>
  </p:clrMapOvr>
  <p:extLst>
    <p:ext uri="{DCECCB84-F9BA-43D5-87BE-67443E8EF086}">
      <p15:sldGuideLst xmlns:p15="http://schemas.microsoft.com/office/powerpoint/2012/main">
        <p15:guide id="1" pos="393" userDrawn="1">
          <p15:clr>
            <a:srgbClr val="F26B43"/>
          </p15:clr>
        </p15:guide>
        <p15:guide id="2" pos="7287" userDrawn="1">
          <p15:clr>
            <a:srgbClr val="F26B43"/>
          </p15:clr>
        </p15:guide>
        <p15:guide id="3" orient="horz" pos="1117" userDrawn="1">
          <p15:clr>
            <a:srgbClr val="F26B43"/>
          </p15:clr>
        </p15:guide>
        <p15:guide id="4" orient="horz" pos="3974"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lvl1pPr>
          </a:lstStyle>
          <a:p>
            <a:r>
              <a:rPr lang="en-US" noProof="0" dirty="0"/>
              <a:t>Click to edit Master title style</a:t>
            </a:r>
          </a:p>
        </p:txBody>
      </p:sp>
      <p:sp>
        <p:nvSpPr>
          <p:cNvPr id="7" name="Foliennummernplatzhalter 6"/>
          <p:cNvSpPr>
            <a:spLocks noGrp="1"/>
          </p:cNvSpPr>
          <p:nvPr>
            <p:ph type="sldNum" sz="quarter" idx="12"/>
          </p:nvPr>
        </p:nvSpPr>
        <p:spPr bwMode="gray"/>
        <p:txBody>
          <a:bodyPr/>
          <a:lstStyle/>
          <a:p>
            <a:fld id="{CE82B8A1-0CCE-4815-9668-383D7DE7D8B4}" type="slidenum">
              <a:rPr lang="en-US" noProof="0" smtClean="0"/>
              <a:t>‹Nº›</a:t>
            </a:fld>
            <a:endParaRPr lang="en-US" noProof="0" dirty="0"/>
          </a:p>
        </p:txBody>
      </p:sp>
      <p:sp>
        <p:nvSpPr>
          <p:cNvPr id="9" name="Inhaltsplatzhalter 8">
            <a:extLst>
              <a:ext uri="{FF2B5EF4-FFF2-40B4-BE49-F238E27FC236}">
                <a16:creationId xmlns:a16="http://schemas.microsoft.com/office/drawing/2014/main" id="{54A0242C-EC77-491A-9828-44A7C1DACFD6}"/>
              </a:ext>
            </a:extLst>
          </p:cNvPr>
          <p:cNvSpPr>
            <a:spLocks noGrp="1"/>
          </p:cNvSpPr>
          <p:nvPr>
            <p:ph sz="quarter" idx="13" hasCustomPrompt="1"/>
          </p:nvPr>
        </p:nvSpPr>
        <p:spPr bwMode="gray">
          <a:xfrm>
            <a:off x="623888" y="1773238"/>
            <a:ext cx="5256000" cy="4535487"/>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Inhaltsplatzhalter 10">
            <a:extLst>
              <a:ext uri="{FF2B5EF4-FFF2-40B4-BE49-F238E27FC236}">
                <a16:creationId xmlns:a16="http://schemas.microsoft.com/office/drawing/2014/main" id="{27364DD5-45C1-4585-820E-9EADE08C9779}"/>
              </a:ext>
            </a:extLst>
          </p:cNvPr>
          <p:cNvSpPr>
            <a:spLocks noGrp="1"/>
          </p:cNvSpPr>
          <p:nvPr>
            <p:ph sz="quarter" idx="14" hasCustomPrompt="1"/>
          </p:nvPr>
        </p:nvSpPr>
        <p:spPr bwMode="gray">
          <a:xfrm>
            <a:off x="6312608" y="1773238"/>
            <a:ext cx="5256000" cy="4535487"/>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grpSp>
        <p:nvGrpSpPr>
          <p:cNvPr id="17" name="Gruppieren 16">
            <a:extLst>
              <a:ext uri="{FF2B5EF4-FFF2-40B4-BE49-F238E27FC236}">
                <a16:creationId xmlns:a16="http://schemas.microsoft.com/office/drawing/2014/main" id="{DA60C791-BF37-4A6B-9053-7C03BF6F4229}"/>
              </a:ext>
            </a:extLst>
          </p:cNvPr>
          <p:cNvGrpSpPr/>
          <p:nvPr userDrawn="1"/>
        </p:nvGrpSpPr>
        <p:grpSpPr bwMode="gray">
          <a:xfrm>
            <a:off x="3071664" y="2402892"/>
            <a:ext cx="6048672" cy="108000"/>
            <a:chOff x="3071664" y="-207392"/>
            <a:chExt cx="6048672" cy="108000"/>
          </a:xfrm>
        </p:grpSpPr>
        <p:sp>
          <p:nvSpPr>
            <p:cNvPr id="18" name="Freihandform: Form 17">
              <a:extLst>
                <a:ext uri="{FF2B5EF4-FFF2-40B4-BE49-F238E27FC236}">
                  <a16:creationId xmlns:a16="http://schemas.microsoft.com/office/drawing/2014/main" id="{C2FCB882-E981-4D8F-B922-8C7D45A863FB}"/>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 name="Freihandform: Form 18">
              <a:extLst>
                <a:ext uri="{FF2B5EF4-FFF2-40B4-BE49-F238E27FC236}">
                  <a16:creationId xmlns:a16="http://schemas.microsoft.com/office/drawing/2014/main" id="{DE2A10A3-EFFE-45F5-90DE-97095DA21A72}"/>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Freihandform: Form 19">
              <a:extLst>
                <a:ext uri="{FF2B5EF4-FFF2-40B4-BE49-F238E27FC236}">
                  <a16:creationId xmlns:a16="http://schemas.microsoft.com/office/drawing/2014/main" id="{09978493-0C91-45F5-B760-2DBAF0E0572D}"/>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Freihandform: Form 20">
              <a:extLst>
                <a:ext uri="{FF2B5EF4-FFF2-40B4-BE49-F238E27FC236}">
                  <a16:creationId xmlns:a16="http://schemas.microsoft.com/office/drawing/2014/main" id="{C494D57B-3835-4335-BA98-5574D458F72F}"/>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3E7544C5-909A-40E2-AC2D-CB38459B087E}"/>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3" name="Freihandform: Form 22">
              <a:extLst>
                <a:ext uri="{FF2B5EF4-FFF2-40B4-BE49-F238E27FC236}">
                  <a16:creationId xmlns:a16="http://schemas.microsoft.com/office/drawing/2014/main" id="{17F4A0FA-D9EF-4BD8-B2EC-6DAB712FE018}"/>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nvGrpSpPr>
          <p:cNvPr id="32" name="Gruppieren 31">
            <a:extLst>
              <a:ext uri="{FF2B5EF4-FFF2-40B4-BE49-F238E27FC236}">
                <a16:creationId xmlns:a16="http://schemas.microsoft.com/office/drawing/2014/main" id="{31CF0CC3-040F-4CA4-82B4-F39646DF01DA}"/>
              </a:ext>
            </a:extLst>
          </p:cNvPr>
          <p:cNvGrpSpPr/>
          <p:nvPr userDrawn="1"/>
        </p:nvGrpSpPr>
        <p:grpSpPr bwMode="gray">
          <a:xfrm>
            <a:off x="3071664" y="-207392"/>
            <a:ext cx="6048672" cy="108000"/>
            <a:chOff x="3071664" y="-207392"/>
            <a:chExt cx="6048672" cy="108000"/>
          </a:xfrm>
        </p:grpSpPr>
        <p:sp>
          <p:nvSpPr>
            <p:cNvPr id="33" name="Freihandform: Form 32">
              <a:extLst>
                <a:ext uri="{FF2B5EF4-FFF2-40B4-BE49-F238E27FC236}">
                  <a16:creationId xmlns:a16="http://schemas.microsoft.com/office/drawing/2014/main" id="{5E1192C3-EEC3-4B9F-8D47-25C49BD9A6C1}"/>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4" name="Freihandform: Form 33">
              <a:extLst>
                <a:ext uri="{FF2B5EF4-FFF2-40B4-BE49-F238E27FC236}">
                  <a16:creationId xmlns:a16="http://schemas.microsoft.com/office/drawing/2014/main" id="{6476BD2F-7FD2-4AF8-992D-8A23F3D91A98}"/>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5" name="Freihandform: Form 34">
              <a:extLst>
                <a:ext uri="{FF2B5EF4-FFF2-40B4-BE49-F238E27FC236}">
                  <a16:creationId xmlns:a16="http://schemas.microsoft.com/office/drawing/2014/main" id="{33B8FB9D-F715-43E8-817F-684E420A15F8}"/>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6" name="Freihandform: Form 35">
              <a:extLst>
                <a:ext uri="{FF2B5EF4-FFF2-40B4-BE49-F238E27FC236}">
                  <a16:creationId xmlns:a16="http://schemas.microsoft.com/office/drawing/2014/main" id="{393B4624-5EDB-4296-9FB4-DD0BB7BF506C}"/>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7" name="Freihandform: Form 36">
              <a:extLst>
                <a:ext uri="{FF2B5EF4-FFF2-40B4-BE49-F238E27FC236}">
                  <a16:creationId xmlns:a16="http://schemas.microsoft.com/office/drawing/2014/main" id="{F26B7392-4F3C-424A-BC1C-C6B403BDD294}"/>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 name="Freihandform: Form 37">
              <a:extLst>
                <a:ext uri="{FF2B5EF4-FFF2-40B4-BE49-F238E27FC236}">
                  <a16:creationId xmlns:a16="http://schemas.microsoft.com/office/drawing/2014/main" id="{BB8795CD-0F71-401B-8342-32EAED87EDC4}"/>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3" name="Fußzeilenplatzhalter 2">
            <a:extLst>
              <a:ext uri="{FF2B5EF4-FFF2-40B4-BE49-F238E27FC236}">
                <a16:creationId xmlns:a16="http://schemas.microsoft.com/office/drawing/2014/main" id="{010A556F-068F-4AE2-B412-7A67B9134D11}"/>
              </a:ext>
            </a:extLst>
          </p:cNvPr>
          <p:cNvSpPr>
            <a:spLocks noGrp="1"/>
          </p:cNvSpPr>
          <p:nvPr>
            <p:ph type="ftr" sz="quarter" idx="15"/>
          </p:nvPr>
        </p:nvSpPr>
        <p:spPr bwMode="gray"/>
        <p:txBody>
          <a:bodyPr/>
          <a:lstStyle/>
          <a:p>
            <a:r>
              <a:rPr lang="en-US"/>
              <a:t>Footnote: Please insert appropriate company</a:t>
            </a:r>
            <a:endParaRPr lang="de-DE" dirty="0"/>
          </a:p>
        </p:txBody>
      </p:sp>
    </p:spTree>
    <p:extLst>
      <p:ext uri="{BB962C8B-B14F-4D97-AF65-F5344CB8AC3E}">
        <p14:creationId xmlns:p14="http://schemas.microsoft.com/office/powerpoint/2010/main" val="1120835931"/>
      </p:ext>
    </p:extLst>
  </p:cSld>
  <p:clrMapOvr>
    <a:masterClrMapping/>
  </p:clrMapOvr>
  <p:extLst>
    <p:ext uri="{DCECCB84-F9BA-43D5-87BE-67443E8EF086}">
      <p15:sldGuideLst xmlns:p15="http://schemas.microsoft.com/office/powerpoint/2012/main">
        <p15:guide id="3" pos="393" userDrawn="1">
          <p15:clr>
            <a:srgbClr val="F26B43"/>
          </p15:clr>
        </p15:guide>
        <p15:guide id="4" pos="7287" userDrawn="1">
          <p15:clr>
            <a:srgbClr val="F26B43"/>
          </p15:clr>
        </p15:guide>
        <p15:guide id="5" orient="horz" pos="1117" userDrawn="1">
          <p15:clr>
            <a:srgbClr val="F26B43"/>
          </p15:clr>
        </p15:guide>
        <p15:guide id="6" orient="horz" pos="3974"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three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lvl1pPr>
          </a:lstStyle>
          <a:p>
            <a:r>
              <a:rPr lang="en-US" noProof="0" dirty="0"/>
              <a:t>Click to edit Master title style</a:t>
            </a:r>
          </a:p>
        </p:txBody>
      </p:sp>
      <p:sp>
        <p:nvSpPr>
          <p:cNvPr id="7" name="Foliennummernplatzhalter 6"/>
          <p:cNvSpPr>
            <a:spLocks noGrp="1"/>
          </p:cNvSpPr>
          <p:nvPr>
            <p:ph type="sldNum" sz="quarter" idx="12"/>
          </p:nvPr>
        </p:nvSpPr>
        <p:spPr bwMode="gray"/>
        <p:txBody>
          <a:bodyPr/>
          <a:lstStyle/>
          <a:p>
            <a:fld id="{CE82B8A1-0CCE-4815-9668-383D7DE7D8B4}" type="slidenum">
              <a:rPr lang="en-US" noProof="0" smtClean="0"/>
              <a:t>‹Nº›</a:t>
            </a:fld>
            <a:endParaRPr lang="en-US" noProof="0" dirty="0"/>
          </a:p>
        </p:txBody>
      </p:sp>
      <p:sp>
        <p:nvSpPr>
          <p:cNvPr id="9" name="Inhaltsplatzhalter 8">
            <a:extLst>
              <a:ext uri="{FF2B5EF4-FFF2-40B4-BE49-F238E27FC236}">
                <a16:creationId xmlns:a16="http://schemas.microsoft.com/office/drawing/2014/main" id="{54A0242C-EC77-491A-9828-44A7C1DACFD6}"/>
              </a:ext>
            </a:extLst>
          </p:cNvPr>
          <p:cNvSpPr>
            <a:spLocks noGrp="1"/>
          </p:cNvSpPr>
          <p:nvPr>
            <p:ph sz="quarter" idx="13" hasCustomPrompt="1"/>
          </p:nvPr>
        </p:nvSpPr>
        <p:spPr bwMode="gray">
          <a:xfrm>
            <a:off x="623888" y="1773238"/>
            <a:ext cx="3384000" cy="4535487"/>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Inhaltsplatzhalter 10">
            <a:extLst>
              <a:ext uri="{FF2B5EF4-FFF2-40B4-BE49-F238E27FC236}">
                <a16:creationId xmlns:a16="http://schemas.microsoft.com/office/drawing/2014/main" id="{27364DD5-45C1-4585-820E-9EADE08C9779}"/>
              </a:ext>
            </a:extLst>
          </p:cNvPr>
          <p:cNvSpPr>
            <a:spLocks noGrp="1"/>
          </p:cNvSpPr>
          <p:nvPr>
            <p:ph sz="quarter" idx="14" hasCustomPrompt="1"/>
          </p:nvPr>
        </p:nvSpPr>
        <p:spPr bwMode="gray">
          <a:xfrm>
            <a:off x="4440184" y="1773238"/>
            <a:ext cx="3312000" cy="4535487"/>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0" name="Inhaltsplatzhalter 10">
            <a:extLst>
              <a:ext uri="{FF2B5EF4-FFF2-40B4-BE49-F238E27FC236}">
                <a16:creationId xmlns:a16="http://schemas.microsoft.com/office/drawing/2014/main" id="{231407CF-2A03-4936-A0CA-73A91BFF5E6B}"/>
              </a:ext>
            </a:extLst>
          </p:cNvPr>
          <p:cNvSpPr>
            <a:spLocks noGrp="1"/>
          </p:cNvSpPr>
          <p:nvPr>
            <p:ph sz="quarter" idx="15" hasCustomPrompt="1"/>
          </p:nvPr>
        </p:nvSpPr>
        <p:spPr bwMode="gray">
          <a:xfrm>
            <a:off x="8184232" y="1772816"/>
            <a:ext cx="3384000" cy="4535487"/>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grpSp>
        <p:nvGrpSpPr>
          <p:cNvPr id="17" name="Gruppieren 16">
            <a:extLst>
              <a:ext uri="{FF2B5EF4-FFF2-40B4-BE49-F238E27FC236}">
                <a16:creationId xmlns:a16="http://schemas.microsoft.com/office/drawing/2014/main" id="{4734FC9D-89AC-48FE-B29A-B665540479DD}"/>
              </a:ext>
            </a:extLst>
          </p:cNvPr>
          <p:cNvGrpSpPr/>
          <p:nvPr userDrawn="1"/>
        </p:nvGrpSpPr>
        <p:grpSpPr bwMode="gray">
          <a:xfrm>
            <a:off x="4007768" y="-207392"/>
            <a:ext cx="4176464" cy="108000"/>
            <a:chOff x="4007768" y="-207392"/>
            <a:chExt cx="4176464" cy="108000"/>
          </a:xfrm>
        </p:grpSpPr>
        <p:sp>
          <p:nvSpPr>
            <p:cNvPr id="18" name="Freihandform: Form 17">
              <a:extLst>
                <a:ext uri="{FF2B5EF4-FFF2-40B4-BE49-F238E27FC236}">
                  <a16:creationId xmlns:a16="http://schemas.microsoft.com/office/drawing/2014/main" id="{E9A6D7FC-A772-4E01-A7E8-8DA9BC749802}"/>
                </a:ext>
              </a:extLst>
            </p:cNvPr>
            <p:cNvSpPr/>
            <p:nvPr userDrawn="1"/>
          </p:nvSpPr>
          <p:spPr bwMode="gray">
            <a:xfrm>
              <a:off x="400776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 name="Freihandform: Form 18">
              <a:extLst>
                <a:ext uri="{FF2B5EF4-FFF2-40B4-BE49-F238E27FC236}">
                  <a16:creationId xmlns:a16="http://schemas.microsoft.com/office/drawing/2014/main" id="{74B8E3F8-9A6D-4DD5-97D0-03FC6784E0C7}"/>
                </a:ext>
              </a:extLst>
            </p:cNvPr>
            <p:cNvSpPr/>
            <p:nvPr userDrawn="1"/>
          </p:nvSpPr>
          <p:spPr bwMode="gray">
            <a:xfrm>
              <a:off x="443981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Freihandform: Form 20">
              <a:extLst>
                <a:ext uri="{FF2B5EF4-FFF2-40B4-BE49-F238E27FC236}">
                  <a16:creationId xmlns:a16="http://schemas.microsoft.com/office/drawing/2014/main" id="{2F19128B-C813-48FC-B46D-FE33ABBC465A}"/>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2295FD5A-F5A3-45EB-B650-A6DDF16BFA4D}"/>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3" name="Freihandform: Form 22">
              <a:extLst>
                <a:ext uri="{FF2B5EF4-FFF2-40B4-BE49-F238E27FC236}">
                  <a16:creationId xmlns:a16="http://schemas.microsoft.com/office/drawing/2014/main" id="{F339453F-D2D3-4493-BCBE-88E698841CA8}"/>
                </a:ext>
              </a:extLst>
            </p:cNvPr>
            <p:cNvSpPr/>
            <p:nvPr userDrawn="1"/>
          </p:nvSpPr>
          <p:spPr bwMode="gray">
            <a:xfrm>
              <a:off x="775218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4" name="Freihandform: Form 23">
              <a:extLst>
                <a:ext uri="{FF2B5EF4-FFF2-40B4-BE49-F238E27FC236}">
                  <a16:creationId xmlns:a16="http://schemas.microsoft.com/office/drawing/2014/main" id="{FBDB702F-592D-448F-BED3-5DC78C9C1DA3}"/>
                </a:ext>
              </a:extLst>
            </p:cNvPr>
            <p:cNvSpPr/>
            <p:nvPr userDrawn="1"/>
          </p:nvSpPr>
          <p:spPr bwMode="gray">
            <a:xfrm>
              <a:off x="818423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3" name="Fußzeilenplatzhalter 2">
            <a:extLst>
              <a:ext uri="{FF2B5EF4-FFF2-40B4-BE49-F238E27FC236}">
                <a16:creationId xmlns:a16="http://schemas.microsoft.com/office/drawing/2014/main" id="{0C8578AE-766A-43A3-8896-CD341109902A}"/>
              </a:ext>
            </a:extLst>
          </p:cNvPr>
          <p:cNvSpPr>
            <a:spLocks noGrp="1"/>
          </p:cNvSpPr>
          <p:nvPr>
            <p:ph type="ftr" sz="quarter" idx="16"/>
          </p:nvPr>
        </p:nvSpPr>
        <p:spPr bwMode="gray"/>
        <p:txBody>
          <a:bodyPr/>
          <a:lstStyle/>
          <a:p>
            <a:r>
              <a:rPr lang="en-US"/>
              <a:t>Footnote: Please insert appropriate company</a:t>
            </a:r>
            <a:endParaRPr lang="de-DE" dirty="0"/>
          </a:p>
        </p:txBody>
      </p:sp>
    </p:spTree>
    <p:extLst>
      <p:ext uri="{BB962C8B-B14F-4D97-AF65-F5344CB8AC3E}">
        <p14:creationId xmlns:p14="http://schemas.microsoft.com/office/powerpoint/2010/main" val="3051143210"/>
      </p:ext>
    </p:extLst>
  </p:cSld>
  <p:clrMapOvr>
    <a:masterClrMapping/>
  </p:clrMapOvr>
  <p:extLst>
    <p:ext uri="{DCECCB84-F9BA-43D5-87BE-67443E8EF086}">
      <p15:sldGuideLst xmlns:p15="http://schemas.microsoft.com/office/powerpoint/2012/main">
        <p15:guide id="3" pos="393">
          <p15:clr>
            <a:srgbClr val="F26B43"/>
          </p15:clr>
        </p15:guide>
        <p15:guide id="4" pos="7287">
          <p15:clr>
            <a:srgbClr val="F26B43"/>
          </p15:clr>
        </p15:guide>
        <p15:guide id="5" orient="horz" pos="1117">
          <p15:clr>
            <a:srgbClr val="F26B43"/>
          </p15:clr>
        </p15:guide>
        <p15:guide id="6" orient="horz" pos="3974">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four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lvl1pPr>
          </a:lstStyle>
          <a:p>
            <a:r>
              <a:rPr lang="en-US" noProof="0" dirty="0"/>
              <a:t>Click to edit Master title style</a:t>
            </a:r>
          </a:p>
        </p:txBody>
      </p:sp>
      <p:sp>
        <p:nvSpPr>
          <p:cNvPr id="7" name="Foliennummernplatzhalter 6"/>
          <p:cNvSpPr>
            <a:spLocks noGrp="1"/>
          </p:cNvSpPr>
          <p:nvPr>
            <p:ph type="sldNum" sz="quarter" idx="12"/>
          </p:nvPr>
        </p:nvSpPr>
        <p:spPr bwMode="gray"/>
        <p:txBody>
          <a:bodyPr/>
          <a:lstStyle/>
          <a:p>
            <a:fld id="{CE82B8A1-0CCE-4815-9668-383D7DE7D8B4}" type="slidenum">
              <a:rPr lang="en-US" noProof="0" smtClean="0"/>
              <a:t>‹Nº›</a:t>
            </a:fld>
            <a:endParaRPr lang="en-US" noProof="0" dirty="0"/>
          </a:p>
        </p:txBody>
      </p:sp>
      <p:sp>
        <p:nvSpPr>
          <p:cNvPr id="9" name="Inhaltsplatzhalter 8">
            <a:extLst>
              <a:ext uri="{FF2B5EF4-FFF2-40B4-BE49-F238E27FC236}">
                <a16:creationId xmlns:a16="http://schemas.microsoft.com/office/drawing/2014/main" id="{54A0242C-EC77-491A-9828-44A7C1DACFD6}"/>
              </a:ext>
            </a:extLst>
          </p:cNvPr>
          <p:cNvSpPr>
            <a:spLocks noGrp="1"/>
          </p:cNvSpPr>
          <p:nvPr>
            <p:ph sz="quarter" idx="13" hasCustomPrompt="1"/>
          </p:nvPr>
        </p:nvSpPr>
        <p:spPr bwMode="gray">
          <a:xfrm>
            <a:off x="623392" y="1773238"/>
            <a:ext cx="2448000" cy="4535487"/>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2" name="Inhaltsplatzhalter 8">
            <a:extLst>
              <a:ext uri="{FF2B5EF4-FFF2-40B4-BE49-F238E27FC236}">
                <a16:creationId xmlns:a16="http://schemas.microsoft.com/office/drawing/2014/main" id="{C47693A3-D92B-4B1F-8954-10425FA4DBED}"/>
              </a:ext>
            </a:extLst>
          </p:cNvPr>
          <p:cNvSpPr>
            <a:spLocks noGrp="1"/>
          </p:cNvSpPr>
          <p:nvPr>
            <p:ph sz="quarter" idx="14" hasCustomPrompt="1"/>
          </p:nvPr>
        </p:nvSpPr>
        <p:spPr bwMode="gray">
          <a:xfrm>
            <a:off x="3503976" y="1772816"/>
            <a:ext cx="2376000" cy="4535487"/>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3" name="Inhaltsplatzhalter 8">
            <a:extLst>
              <a:ext uri="{FF2B5EF4-FFF2-40B4-BE49-F238E27FC236}">
                <a16:creationId xmlns:a16="http://schemas.microsoft.com/office/drawing/2014/main" id="{5BEC92A7-1E00-4F56-BD2D-D290E4CFC3AE}"/>
              </a:ext>
            </a:extLst>
          </p:cNvPr>
          <p:cNvSpPr>
            <a:spLocks noGrp="1"/>
          </p:cNvSpPr>
          <p:nvPr>
            <p:ph sz="quarter" idx="15" hasCustomPrompt="1"/>
          </p:nvPr>
        </p:nvSpPr>
        <p:spPr bwMode="gray">
          <a:xfrm>
            <a:off x="6312288" y="1772816"/>
            <a:ext cx="2376000" cy="4535487"/>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4" name="Inhaltsplatzhalter 8">
            <a:extLst>
              <a:ext uri="{FF2B5EF4-FFF2-40B4-BE49-F238E27FC236}">
                <a16:creationId xmlns:a16="http://schemas.microsoft.com/office/drawing/2014/main" id="{FEC2A893-58F3-42DE-9A99-301A6E5D39F5}"/>
              </a:ext>
            </a:extLst>
          </p:cNvPr>
          <p:cNvSpPr>
            <a:spLocks noGrp="1"/>
          </p:cNvSpPr>
          <p:nvPr>
            <p:ph sz="quarter" idx="16" hasCustomPrompt="1"/>
          </p:nvPr>
        </p:nvSpPr>
        <p:spPr bwMode="gray">
          <a:xfrm>
            <a:off x="9120608" y="1772816"/>
            <a:ext cx="2448000" cy="4535487"/>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grpSp>
        <p:nvGrpSpPr>
          <p:cNvPr id="5" name="Gruppieren 4">
            <a:extLst>
              <a:ext uri="{FF2B5EF4-FFF2-40B4-BE49-F238E27FC236}">
                <a16:creationId xmlns:a16="http://schemas.microsoft.com/office/drawing/2014/main" id="{D2546EAC-2484-4058-8FE4-1D5D9A3BC9C1}"/>
              </a:ext>
            </a:extLst>
          </p:cNvPr>
          <p:cNvGrpSpPr/>
          <p:nvPr userDrawn="1"/>
        </p:nvGrpSpPr>
        <p:grpSpPr bwMode="gray">
          <a:xfrm>
            <a:off x="3071664" y="-207392"/>
            <a:ext cx="6048672" cy="108000"/>
            <a:chOff x="3071664" y="-207392"/>
            <a:chExt cx="6048672" cy="108000"/>
          </a:xfrm>
        </p:grpSpPr>
        <p:sp>
          <p:nvSpPr>
            <p:cNvPr id="10" name="Freihandform: Form 9">
              <a:extLst>
                <a:ext uri="{FF2B5EF4-FFF2-40B4-BE49-F238E27FC236}">
                  <a16:creationId xmlns:a16="http://schemas.microsoft.com/office/drawing/2014/main" id="{CCC0656E-9AD5-4AE2-B7AF-94DAA5F34750}"/>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Freihandform: Form 10">
              <a:extLst>
                <a:ext uri="{FF2B5EF4-FFF2-40B4-BE49-F238E27FC236}">
                  <a16:creationId xmlns:a16="http://schemas.microsoft.com/office/drawing/2014/main" id="{744C4C88-A40D-4E3B-BC07-60F67A4A5653}"/>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Freihandform: Form 11">
              <a:extLst>
                <a:ext uri="{FF2B5EF4-FFF2-40B4-BE49-F238E27FC236}">
                  <a16:creationId xmlns:a16="http://schemas.microsoft.com/office/drawing/2014/main" id="{E9EB7001-271E-4CB4-882F-2223631A2ED5}"/>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 name="Freihandform: Form 12">
              <a:extLst>
                <a:ext uri="{FF2B5EF4-FFF2-40B4-BE49-F238E27FC236}">
                  <a16:creationId xmlns:a16="http://schemas.microsoft.com/office/drawing/2014/main" id="{E7FE091A-CB76-4034-A565-6EE9EA38C825}"/>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Freihandform: Form 13">
              <a:extLst>
                <a:ext uri="{FF2B5EF4-FFF2-40B4-BE49-F238E27FC236}">
                  <a16:creationId xmlns:a16="http://schemas.microsoft.com/office/drawing/2014/main" id="{D46C50C2-A0E0-4B96-A56F-E815C90C52F5}"/>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Freihandform: Form 14">
              <a:extLst>
                <a:ext uri="{FF2B5EF4-FFF2-40B4-BE49-F238E27FC236}">
                  <a16:creationId xmlns:a16="http://schemas.microsoft.com/office/drawing/2014/main" id="{C14A575D-FB98-4E09-A261-FDE721404B48}"/>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3" name="Fußzeilenplatzhalter 2">
            <a:extLst>
              <a:ext uri="{FF2B5EF4-FFF2-40B4-BE49-F238E27FC236}">
                <a16:creationId xmlns:a16="http://schemas.microsoft.com/office/drawing/2014/main" id="{5841F480-1AB5-4950-B4B3-DDDC446F0B00}"/>
              </a:ext>
            </a:extLst>
          </p:cNvPr>
          <p:cNvSpPr>
            <a:spLocks noGrp="1"/>
          </p:cNvSpPr>
          <p:nvPr>
            <p:ph type="ftr" sz="quarter" idx="17"/>
          </p:nvPr>
        </p:nvSpPr>
        <p:spPr bwMode="gray"/>
        <p:txBody>
          <a:bodyPr/>
          <a:lstStyle/>
          <a:p>
            <a:r>
              <a:rPr lang="en-US"/>
              <a:t>Footnote: Please insert appropriate company</a:t>
            </a:r>
            <a:endParaRPr lang="de-DE" dirty="0"/>
          </a:p>
        </p:txBody>
      </p:sp>
    </p:spTree>
    <p:extLst>
      <p:ext uri="{BB962C8B-B14F-4D97-AF65-F5344CB8AC3E}">
        <p14:creationId xmlns:p14="http://schemas.microsoft.com/office/powerpoint/2010/main" val="1073095857"/>
      </p:ext>
    </p:extLst>
  </p:cSld>
  <p:clrMapOvr>
    <a:masterClrMapping/>
  </p:clrMapOvr>
  <p:extLst>
    <p:ext uri="{DCECCB84-F9BA-43D5-87BE-67443E8EF086}">
      <p15:sldGuideLst xmlns:p15="http://schemas.microsoft.com/office/powerpoint/2012/main">
        <p15:guide id="3" pos="393">
          <p15:clr>
            <a:srgbClr val="F26B43"/>
          </p15:clr>
        </p15:guide>
        <p15:guide id="4" pos="7287">
          <p15:clr>
            <a:srgbClr val="F26B43"/>
          </p15:clr>
        </p15:guide>
        <p15:guide id="5" orient="horz" pos="1117">
          <p15:clr>
            <a:srgbClr val="F26B43"/>
          </p15:clr>
        </p15:guide>
        <p15:guide id="6" orient="horz" pos="3974">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623393" y="548792"/>
            <a:ext cx="8137192" cy="864000"/>
          </a:xfrm>
          <a:prstGeom prst="rect">
            <a:avLst/>
          </a:prstGeom>
        </p:spPr>
        <p:txBody>
          <a:bodyPr vert="horz" lIns="0" tIns="0" rIns="0" bIns="0" rtlCol="0" anchor="t">
            <a:noAutofit/>
          </a:bodyPr>
          <a:lstStyle/>
          <a:p>
            <a:r>
              <a:rPr lang="en-US" noProof="0" dirty="0"/>
              <a:t>Click to edit title style</a:t>
            </a:r>
          </a:p>
        </p:txBody>
      </p:sp>
      <p:sp>
        <p:nvSpPr>
          <p:cNvPr id="3" name="Textplatzhalter 2"/>
          <p:cNvSpPr>
            <a:spLocks noGrp="1"/>
          </p:cNvSpPr>
          <p:nvPr>
            <p:ph type="body" idx="1"/>
          </p:nvPr>
        </p:nvSpPr>
        <p:spPr bwMode="gray">
          <a:xfrm>
            <a:off x="623392" y="1773320"/>
            <a:ext cx="10945216" cy="4536000"/>
          </a:xfrm>
          <a:prstGeom prst="rect">
            <a:avLst/>
          </a:prstGeom>
        </p:spPr>
        <p:txBody>
          <a:bodyPr vert="horz" lIns="0" tIns="0" rIns="0" bIns="0" rtlCol="0">
            <a:noAutofit/>
          </a:bodyPr>
          <a:lstStyle/>
          <a:p>
            <a:pPr lvl="0"/>
            <a:r>
              <a:rPr lang="en-US" noProof="0" dirty="0"/>
              <a:t>Click to edit text styles</a:t>
            </a:r>
          </a:p>
          <a:p>
            <a:pPr lvl="1"/>
            <a:r>
              <a:rPr lang="de-DE" noProof="0" dirty="0"/>
              <a:t>Level 2</a:t>
            </a:r>
          </a:p>
          <a:p>
            <a:pPr lvl="2"/>
            <a:r>
              <a:rPr lang="de-DE" noProof="0" dirty="0"/>
              <a:t>Level 3</a:t>
            </a:r>
          </a:p>
          <a:p>
            <a:pPr lvl="3"/>
            <a:r>
              <a:rPr lang="de-DE" noProof="0" dirty="0"/>
              <a:t>Level 4</a:t>
            </a:r>
          </a:p>
          <a:p>
            <a:pPr lvl="4"/>
            <a:r>
              <a:rPr lang="de-DE" noProof="0" dirty="0"/>
              <a:t>Level 5</a:t>
            </a:r>
            <a:endParaRPr lang="en-US" noProof="0" dirty="0"/>
          </a:p>
        </p:txBody>
      </p:sp>
      <p:sp>
        <p:nvSpPr>
          <p:cNvPr id="6" name="Foliennummernplatzhalter 5"/>
          <p:cNvSpPr>
            <a:spLocks noGrp="1"/>
          </p:cNvSpPr>
          <p:nvPr>
            <p:ph type="sldNum" sz="quarter" idx="4"/>
          </p:nvPr>
        </p:nvSpPr>
        <p:spPr bwMode="gray">
          <a:xfrm>
            <a:off x="11424592" y="6489352"/>
            <a:ext cx="504454" cy="108000"/>
          </a:xfrm>
          <a:prstGeom prst="rect">
            <a:avLst/>
          </a:prstGeom>
        </p:spPr>
        <p:txBody>
          <a:bodyPr vert="horz" lIns="0" tIns="0" rIns="0" bIns="0" rtlCol="0" anchor="ctr"/>
          <a:lstStyle>
            <a:lvl1pPr algn="r">
              <a:defRPr sz="1200">
                <a:solidFill>
                  <a:schemeClr val="tx1"/>
                </a:solidFill>
                <a:latin typeface="+mj-lt"/>
              </a:defRPr>
            </a:lvl1pPr>
          </a:lstStyle>
          <a:p>
            <a:fld id="{CE82B8A1-0CCE-4815-9668-383D7DE7D8B4}" type="slidenum">
              <a:rPr lang="en-US" noProof="0" smtClean="0"/>
              <a:pPr/>
              <a:t>‹Nº›</a:t>
            </a:fld>
            <a:endParaRPr lang="en-US" noProof="0" dirty="0"/>
          </a:p>
        </p:txBody>
      </p:sp>
      <p:sp>
        <p:nvSpPr>
          <p:cNvPr id="4" name="Fußzeilenplatzhalter 3">
            <a:extLst>
              <a:ext uri="{FF2B5EF4-FFF2-40B4-BE49-F238E27FC236}">
                <a16:creationId xmlns:a16="http://schemas.microsoft.com/office/drawing/2014/main" id="{D2D69535-DE7B-40DD-8435-E3F7BD6DB362}"/>
              </a:ext>
            </a:extLst>
          </p:cNvPr>
          <p:cNvSpPr>
            <a:spLocks noGrp="1"/>
          </p:cNvSpPr>
          <p:nvPr>
            <p:ph type="ftr" sz="quarter" idx="3"/>
          </p:nvPr>
        </p:nvSpPr>
        <p:spPr bwMode="gray">
          <a:xfrm>
            <a:off x="263352" y="6489352"/>
            <a:ext cx="4680000" cy="108000"/>
          </a:xfrm>
          <a:prstGeom prst="rect">
            <a:avLst/>
          </a:prstGeom>
        </p:spPr>
        <p:txBody>
          <a:bodyPr vert="horz" lIns="0" tIns="0" rIns="0" bIns="0" rtlCol="0" anchor="ctr"/>
          <a:lstStyle>
            <a:lvl1pPr algn="l">
              <a:defRPr sz="800">
                <a:solidFill>
                  <a:schemeClr val="tx1"/>
                </a:solidFill>
                <a:latin typeface="+mn-lt"/>
              </a:defRPr>
            </a:lvl1pPr>
          </a:lstStyle>
          <a:p>
            <a:r>
              <a:rPr lang="en-US"/>
              <a:t>Footnote: Please insert appropriate company</a:t>
            </a:r>
            <a:endParaRPr lang="de-DE" dirty="0"/>
          </a:p>
        </p:txBody>
      </p:sp>
    </p:spTree>
    <p:extLst>
      <p:ext uri="{BB962C8B-B14F-4D97-AF65-F5344CB8AC3E}">
        <p14:creationId xmlns:p14="http://schemas.microsoft.com/office/powerpoint/2010/main" val="1132894697"/>
      </p:ext>
    </p:extLst>
  </p:cSld>
  <p:clrMap bg1="lt1" tx1="dk1" bg2="lt2" tx2="dk2" accent1="accent1" accent2="accent2" accent3="accent3" accent4="accent4" accent5="accent5" accent6="accent6" hlink="hlink" folHlink="folHlink"/>
  <p:sldLayoutIdLst>
    <p:sldLayoutId id="2147483681" r:id="rId1"/>
    <p:sldLayoutId id="2147483649" r:id="rId2"/>
    <p:sldLayoutId id="2147483679" r:id="rId3"/>
    <p:sldLayoutId id="2147483672" r:id="rId4"/>
    <p:sldLayoutId id="2147483657" r:id="rId5"/>
    <p:sldLayoutId id="2147483650" r:id="rId6"/>
    <p:sldLayoutId id="2147483652" r:id="rId7"/>
    <p:sldLayoutId id="2147483669" r:id="rId8"/>
    <p:sldLayoutId id="2147483666" r:id="rId9"/>
    <p:sldLayoutId id="2147483673" r:id="rId10"/>
    <p:sldLayoutId id="2147483654" r:id="rId11"/>
    <p:sldLayoutId id="2147483674" r:id="rId12"/>
    <p:sldLayoutId id="2147483670" r:id="rId13"/>
    <p:sldLayoutId id="2147483683" r:id="rId14"/>
    <p:sldLayoutId id="2147483682" r:id="rId15"/>
    <p:sldLayoutId id="2147483659" r:id="rId16"/>
    <p:sldLayoutId id="2147483664" r:id="rId17"/>
    <p:sldLayoutId id="2147483661" r:id="rId18"/>
    <p:sldLayoutId id="2147483660" r:id="rId19"/>
    <p:sldLayoutId id="2147483655" r:id="rId20"/>
    <p:sldLayoutId id="2147483680" r:id="rId21"/>
    <p:sldLayoutId id="2147483668" r:id="rId22"/>
    <p:sldLayoutId id="2147483675" r:id="rId23"/>
  </p:sldLayoutIdLst>
  <p:hf hdr="0" dt="0"/>
  <p:txStyles>
    <p:titleStyle>
      <a:lvl1pPr algn="l" defTabSz="914400" rtl="0" eaLnBrk="1" latinLnBrk="0" hangingPunct="1">
        <a:lnSpc>
          <a:spcPct val="80000"/>
        </a:lnSpc>
        <a:spcBef>
          <a:spcPct val="0"/>
        </a:spcBef>
        <a:buNone/>
        <a:defRPr sz="3600" kern="1200" cap="none" baseline="0">
          <a:solidFill>
            <a:schemeClr val="accent1"/>
          </a:solidFill>
          <a:latin typeface="+mj-lt"/>
          <a:ea typeface="+mj-ea"/>
          <a:cs typeface="+mj-cs"/>
        </a:defRPr>
      </a:lvl1pPr>
    </p:titleStyle>
    <p:body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03.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26.jpeg"/><Relationship Id="rId7" Type="http://schemas.openxmlformats.org/officeDocument/2006/relationships/image" Target="../media/image48.jpeg"/><Relationship Id="rId2" Type="http://schemas.openxmlformats.org/officeDocument/2006/relationships/image" Target="../media/image33.png"/><Relationship Id="rId1" Type="http://schemas.openxmlformats.org/officeDocument/2006/relationships/slideLayout" Target="../slideLayouts/slideLayout20.xml"/><Relationship Id="rId6" Type="http://schemas.openxmlformats.org/officeDocument/2006/relationships/image" Target="../media/image47.jpeg"/><Relationship Id="rId5" Type="http://schemas.openxmlformats.org/officeDocument/2006/relationships/image" Target="../media/image46.jpeg"/><Relationship Id="rId4" Type="http://schemas.openxmlformats.org/officeDocument/2006/relationships/image" Target="../media/image45.jpeg"/><Relationship Id="rId9" Type="http://schemas.openxmlformats.org/officeDocument/2006/relationships/image" Target="../media/image50.jpeg"/></Relationships>
</file>

<file path=ppt/slides/_rels/slide104.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20.xml"/><Relationship Id="rId4" Type="http://schemas.openxmlformats.org/officeDocument/2006/relationships/image" Target="../media/image43.jpeg"/></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7.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8.xml"/></Relationships>
</file>

<file path=ppt/slides/_rels/slide12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0.xml"/></Relationships>
</file>

<file path=ppt/slides/_rels/slide121.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image" Target="../media/image55.png"/><Relationship Id="rId1" Type="http://schemas.openxmlformats.org/officeDocument/2006/relationships/slideLayout" Target="../slideLayouts/slideLayout20.xml"/><Relationship Id="rId5" Type="http://schemas.openxmlformats.org/officeDocument/2006/relationships/chart" Target="../charts/chart27.xml"/><Relationship Id="rId4" Type="http://schemas.openxmlformats.org/officeDocument/2006/relationships/chart" Target="../charts/chart26.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9.xml.rels><?xml version="1.0" encoding="UTF-8" standalone="yes"?>
<Relationships xmlns="http://schemas.openxmlformats.org/package/2006/relationships"><Relationship Id="rId3" Type="http://schemas.openxmlformats.org/officeDocument/2006/relationships/image" Target="../media/image57.emf"/><Relationship Id="rId7" Type="http://schemas.openxmlformats.org/officeDocument/2006/relationships/image" Target="../media/image61.emf"/><Relationship Id="rId2" Type="http://schemas.openxmlformats.org/officeDocument/2006/relationships/image" Target="../media/image56.emf"/><Relationship Id="rId1" Type="http://schemas.openxmlformats.org/officeDocument/2006/relationships/slideLayout" Target="../slideLayouts/slideLayout11.xml"/><Relationship Id="rId6" Type="http://schemas.openxmlformats.org/officeDocument/2006/relationships/image" Target="../media/image60.emf"/><Relationship Id="rId5" Type="http://schemas.openxmlformats.org/officeDocument/2006/relationships/image" Target="../media/image59.emf"/><Relationship Id="rId4" Type="http://schemas.openxmlformats.org/officeDocument/2006/relationships/image" Target="../media/image58.emf"/></Relationships>
</file>

<file path=ppt/slides/_rels/slide1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0.jpe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9.png"/><Relationship Id="rId5" Type="http://schemas.openxmlformats.org/officeDocument/2006/relationships/image" Target="../media/image8.tmp"/><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1.jpg"/><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g"/><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chart" Target="../charts/char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11.xml"/><Relationship Id="rId5" Type="http://schemas.openxmlformats.org/officeDocument/2006/relationships/chart" Target="../charts/chart10.xml"/><Relationship Id="rId4" Type="http://schemas.openxmlformats.org/officeDocument/2006/relationships/chart" Target="../charts/chart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2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tags" Target="../tags/tag10.xml"/><Relationship Id="rId7" Type="http://schemas.openxmlformats.org/officeDocument/2006/relationships/slideLayout" Target="../slideLayouts/slideLayout2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s>
</file>

<file path=ppt/slides/_rels/slide58.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20.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2.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11.xml"/><Relationship Id="rId4" Type="http://schemas.openxmlformats.org/officeDocument/2006/relationships/chart" Target="../charts/chart1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4.xml"/><Relationship Id="rId4" Type="http://schemas.openxmlformats.org/officeDocument/2006/relationships/image" Target="../media/image17.jpe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2.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image" Target="../media/image27.jpeg"/><Relationship Id="rId7" Type="http://schemas.openxmlformats.org/officeDocument/2006/relationships/image" Target="../media/image31.jpeg"/><Relationship Id="rId2" Type="http://schemas.openxmlformats.org/officeDocument/2006/relationships/image" Target="../media/image26.jpeg"/><Relationship Id="rId1" Type="http://schemas.openxmlformats.org/officeDocument/2006/relationships/slideLayout" Target="../slideLayouts/slideLayout20.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jpeg"/><Relationship Id="rId9" Type="http://schemas.openxmlformats.org/officeDocument/2006/relationships/image" Target="../media/image33.png"/></Relationships>
</file>

<file path=ppt/slides/_rels/slide83.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35.jpeg"/><Relationship Id="rId7" Type="http://schemas.openxmlformats.org/officeDocument/2006/relationships/image" Target="../media/image39.jpeg"/><Relationship Id="rId2" Type="http://schemas.openxmlformats.org/officeDocument/2006/relationships/image" Target="../media/image34.jpeg"/><Relationship Id="rId1" Type="http://schemas.openxmlformats.org/officeDocument/2006/relationships/slideLayout" Target="../slideLayouts/slideLayout20.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jpeg"/><Relationship Id="rId9" Type="http://schemas.openxmlformats.org/officeDocument/2006/relationships/image" Target="../media/image41.jpeg"/></Relationships>
</file>

<file path=ppt/slides/_rels/slide84.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Layout" Target="../slideLayouts/slideLayout20.xml"/><Relationship Id="rId4" Type="http://schemas.openxmlformats.org/officeDocument/2006/relationships/image" Target="../media/image44.jpeg"/></Relationships>
</file>

<file path=ppt/slides/_rels/slide8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5.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8.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chart" Target="../charts/chart18.xml"/><Relationship Id="rId1" Type="http://schemas.openxmlformats.org/officeDocument/2006/relationships/slideLayout" Target="../slideLayouts/slideLayout11.xml"/><Relationship Id="rId4" Type="http://schemas.openxmlformats.org/officeDocument/2006/relationships/chart" Target="../charts/chart20.xml"/></Relationships>
</file>

<file path=ppt/slides/_rels/slide8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4.xml"/><Relationship Id="rId4" Type="http://schemas.openxmlformats.org/officeDocument/2006/relationships/image" Target="../media/image17.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6.xml"/></Relationships>
</file>

<file path=ppt/slides/_rels/slide92.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image" Target="../media/image21.jpg"/><Relationship Id="rId1" Type="http://schemas.openxmlformats.org/officeDocument/2006/relationships/slideLayout" Target="../slideLayouts/slideLayout16.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9.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chart" Target="../charts/chart22.xml"/><Relationship Id="rId1" Type="http://schemas.openxmlformats.org/officeDocument/2006/relationships/slideLayout" Target="../slideLayouts/slideLayout11.xml"/><Relationship Id="rId4" Type="http://schemas.openxmlformats.org/officeDocument/2006/relationships/chart" Target="../charts/char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llipse 2">
            <a:extLst>
              <a:ext uri="{FF2B5EF4-FFF2-40B4-BE49-F238E27FC236}">
                <a16:creationId xmlns:a16="http://schemas.microsoft.com/office/drawing/2014/main" id="{BE1B3684-AFD7-42A2-A980-E8D35229D3B9}"/>
              </a:ext>
            </a:extLst>
          </p:cNvPr>
          <p:cNvSpPr/>
          <p:nvPr/>
        </p:nvSpPr>
        <p:spPr bwMode="gray">
          <a:xfrm>
            <a:off x="4503356" y="332656"/>
            <a:ext cx="6162910" cy="6162910"/>
          </a:xfrm>
          <a:prstGeom prst="ellips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4" name="Titel 3">
            <a:extLst>
              <a:ext uri="{FF2B5EF4-FFF2-40B4-BE49-F238E27FC236}">
                <a16:creationId xmlns:a16="http://schemas.microsoft.com/office/drawing/2014/main" id="{D1A0F949-E64D-4155-B269-21692A6B9DE8}"/>
              </a:ext>
            </a:extLst>
          </p:cNvPr>
          <p:cNvSpPr>
            <a:spLocks noGrp="1"/>
          </p:cNvSpPr>
          <p:nvPr>
            <p:ph type="title"/>
          </p:nvPr>
        </p:nvSpPr>
        <p:spPr bwMode="gray"/>
        <p:txBody>
          <a:bodyPr/>
          <a:lstStyle/>
          <a:p>
            <a:r>
              <a:rPr lang="en-US" dirty="0"/>
              <a:t>Embedding the corporate fonts</a:t>
            </a:r>
          </a:p>
        </p:txBody>
      </p:sp>
      <p:sp>
        <p:nvSpPr>
          <p:cNvPr id="5" name="Textplatzhalter 4">
            <a:extLst>
              <a:ext uri="{FF2B5EF4-FFF2-40B4-BE49-F238E27FC236}">
                <a16:creationId xmlns:a16="http://schemas.microsoft.com/office/drawing/2014/main" id="{7280F7ED-8217-432F-9899-9ECE33C1B143}"/>
              </a:ext>
            </a:extLst>
          </p:cNvPr>
          <p:cNvSpPr>
            <a:spLocks noGrp="1"/>
          </p:cNvSpPr>
          <p:nvPr>
            <p:ph type="body" sz="quarter" idx="15"/>
          </p:nvPr>
        </p:nvSpPr>
        <p:spPr bwMode="gray"/>
        <p:txBody>
          <a:bodyPr/>
          <a:lstStyle/>
          <a:p>
            <a:r>
              <a:rPr lang="en-US" dirty="0"/>
              <a:t>The new master is optimized</a:t>
            </a:r>
            <a:br>
              <a:rPr lang="en-US" dirty="0"/>
            </a:br>
            <a:r>
              <a:rPr lang="en-US" dirty="0"/>
              <a:t>for the predefined Dräger corporate fonts.</a:t>
            </a:r>
          </a:p>
          <a:p>
            <a:pPr lvl="1"/>
            <a:r>
              <a:rPr lang="en-US" dirty="0"/>
              <a:t>However, you must make sure that the fonts are installed on your computer. When you load up </a:t>
            </a:r>
            <a:br>
              <a:rPr lang="en-US" dirty="0"/>
            </a:br>
            <a:r>
              <a:rPr lang="en-US" dirty="0"/>
              <a:t>your presentations on external computers – e.g. at conferences – </a:t>
            </a:r>
            <a:br>
              <a:rPr lang="en-US" dirty="0"/>
            </a:br>
            <a:r>
              <a:rPr lang="en-US" dirty="0"/>
              <a:t>the fonts are often not installed. </a:t>
            </a:r>
            <a:br>
              <a:rPr lang="en-US" dirty="0"/>
            </a:br>
            <a:r>
              <a:rPr lang="en-US" dirty="0"/>
              <a:t>In this case, you will have the option of embedding corporate fonts.</a:t>
            </a:r>
          </a:p>
        </p:txBody>
      </p:sp>
      <p:grpSp>
        <p:nvGrpSpPr>
          <p:cNvPr id="7" name="Gruppieren 6">
            <a:extLst>
              <a:ext uri="{FF2B5EF4-FFF2-40B4-BE49-F238E27FC236}">
                <a16:creationId xmlns:a16="http://schemas.microsoft.com/office/drawing/2014/main" id="{3922C5F3-592C-4FAE-945D-93E41F9BB09E}"/>
              </a:ext>
            </a:extLst>
          </p:cNvPr>
          <p:cNvGrpSpPr>
            <a:grpSpLocks noChangeAspect="1"/>
          </p:cNvGrpSpPr>
          <p:nvPr/>
        </p:nvGrpSpPr>
        <p:grpSpPr bwMode="gray">
          <a:xfrm flipH="1">
            <a:off x="8397052" y="1638932"/>
            <a:ext cx="2883524" cy="2880000"/>
            <a:chOff x="12646025" y="1482725"/>
            <a:chExt cx="3897313" cy="3892550"/>
          </a:xfrm>
        </p:grpSpPr>
        <p:sp>
          <p:nvSpPr>
            <p:cNvPr id="10" name="AutoShape 3">
              <a:extLst>
                <a:ext uri="{FF2B5EF4-FFF2-40B4-BE49-F238E27FC236}">
                  <a16:creationId xmlns:a16="http://schemas.microsoft.com/office/drawing/2014/main" id="{0420CF73-40FE-4499-B4A5-8239FC8B65DF}"/>
                </a:ext>
              </a:extLst>
            </p:cNvPr>
            <p:cNvSpPr>
              <a:spLocks noChangeAspect="1" noChangeArrowheads="1" noTextEdit="1"/>
            </p:cNvSpPr>
            <p:nvPr/>
          </p:nvSpPr>
          <p:spPr bwMode="gray">
            <a:xfrm>
              <a:off x="12649200" y="1485900"/>
              <a:ext cx="3890963"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Oval 5">
              <a:extLst>
                <a:ext uri="{FF2B5EF4-FFF2-40B4-BE49-F238E27FC236}">
                  <a16:creationId xmlns:a16="http://schemas.microsoft.com/office/drawing/2014/main" id="{B694C906-6BAD-463B-8A42-A6A61C0FF192}"/>
                </a:ext>
              </a:extLst>
            </p:cNvPr>
            <p:cNvSpPr>
              <a:spLocks noChangeArrowheads="1"/>
            </p:cNvSpPr>
            <p:nvPr/>
          </p:nvSpPr>
          <p:spPr bwMode="gray">
            <a:xfrm>
              <a:off x="12646025" y="1482725"/>
              <a:ext cx="3897313" cy="3892550"/>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50">
              <a:extLst>
                <a:ext uri="{FF2B5EF4-FFF2-40B4-BE49-F238E27FC236}">
                  <a16:creationId xmlns:a16="http://schemas.microsoft.com/office/drawing/2014/main" id="{0DF9C643-4093-4998-9460-734D9CEB9641}"/>
                </a:ext>
              </a:extLst>
            </p:cNvPr>
            <p:cNvSpPr>
              <a:spLocks/>
            </p:cNvSpPr>
            <p:nvPr/>
          </p:nvSpPr>
          <p:spPr bwMode="gray">
            <a:xfrm>
              <a:off x="12761913" y="3536950"/>
              <a:ext cx="2373313" cy="1389063"/>
            </a:xfrm>
            <a:custGeom>
              <a:avLst/>
              <a:gdLst>
                <a:gd name="T0" fmla="*/ 0 w 633"/>
                <a:gd name="T1" fmla="*/ 0 h 371"/>
                <a:gd name="T2" fmla="*/ 0 w 633"/>
                <a:gd name="T3" fmla="*/ 342 h 371"/>
                <a:gd name="T4" fmla="*/ 8 w 633"/>
                <a:gd name="T5" fmla="*/ 363 h 371"/>
                <a:gd name="T6" fmla="*/ 29 w 633"/>
                <a:gd name="T7" fmla="*/ 371 h 371"/>
                <a:gd name="T8" fmla="*/ 603 w 633"/>
                <a:gd name="T9" fmla="*/ 371 h 371"/>
                <a:gd name="T10" fmla="*/ 624 w 633"/>
                <a:gd name="T11" fmla="*/ 363 h 371"/>
                <a:gd name="T12" fmla="*/ 633 w 633"/>
                <a:gd name="T13" fmla="*/ 342 h 371"/>
                <a:gd name="T14" fmla="*/ 633 w 633"/>
                <a:gd name="T15" fmla="*/ 0 h 371"/>
                <a:gd name="T16" fmla="*/ 0 w 633"/>
                <a:gd name="T17"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3" h="371">
                  <a:moveTo>
                    <a:pt x="0" y="0"/>
                  </a:moveTo>
                  <a:cubicBezTo>
                    <a:pt x="0" y="342"/>
                    <a:pt x="0" y="342"/>
                    <a:pt x="0" y="342"/>
                  </a:cubicBezTo>
                  <a:cubicBezTo>
                    <a:pt x="0" y="349"/>
                    <a:pt x="3" y="357"/>
                    <a:pt x="8" y="363"/>
                  </a:cubicBezTo>
                  <a:cubicBezTo>
                    <a:pt x="14" y="368"/>
                    <a:pt x="22" y="371"/>
                    <a:pt x="29" y="371"/>
                  </a:cubicBezTo>
                  <a:cubicBezTo>
                    <a:pt x="603" y="371"/>
                    <a:pt x="603" y="371"/>
                    <a:pt x="603" y="371"/>
                  </a:cubicBezTo>
                  <a:cubicBezTo>
                    <a:pt x="611" y="371"/>
                    <a:pt x="618" y="368"/>
                    <a:pt x="624" y="363"/>
                  </a:cubicBezTo>
                  <a:cubicBezTo>
                    <a:pt x="630" y="357"/>
                    <a:pt x="633" y="349"/>
                    <a:pt x="633" y="342"/>
                  </a:cubicBezTo>
                  <a:cubicBezTo>
                    <a:pt x="633" y="0"/>
                    <a:pt x="633" y="0"/>
                    <a:pt x="633" y="0"/>
                  </a:cubicBezTo>
                  <a:lnTo>
                    <a:pt x="0"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51">
              <a:extLst>
                <a:ext uri="{FF2B5EF4-FFF2-40B4-BE49-F238E27FC236}">
                  <a16:creationId xmlns:a16="http://schemas.microsoft.com/office/drawing/2014/main" id="{AD58E1C3-4DBC-4ED5-A9C7-238FC887C05E}"/>
                </a:ext>
              </a:extLst>
            </p:cNvPr>
            <p:cNvSpPr>
              <a:spLocks/>
            </p:cNvSpPr>
            <p:nvPr/>
          </p:nvSpPr>
          <p:spPr bwMode="gray">
            <a:xfrm>
              <a:off x="13654088" y="4484688"/>
              <a:ext cx="588963" cy="355600"/>
            </a:xfrm>
            <a:custGeom>
              <a:avLst/>
              <a:gdLst>
                <a:gd name="T0" fmla="*/ 157 w 157"/>
                <a:gd name="T1" fmla="*/ 93 h 95"/>
                <a:gd name="T2" fmla="*/ 154 w 157"/>
                <a:gd name="T3" fmla="*/ 95 h 95"/>
                <a:gd name="T4" fmla="*/ 2 w 157"/>
                <a:gd name="T5" fmla="*/ 95 h 95"/>
                <a:gd name="T6" fmla="*/ 0 w 157"/>
                <a:gd name="T7" fmla="*/ 93 h 95"/>
                <a:gd name="T8" fmla="*/ 0 w 157"/>
                <a:gd name="T9" fmla="*/ 2 h 95"/>
                <a:gd name="T10" fmla="*/ 2 w 157"/>
                <a:gd name="T11" fmla="*/ 0 h 95"/>
                <a:gd name="T12" fmla="*/ 154 w 157"/>
                <a:gd name="T13" fmla="*/ 0 h 95"/>
                <a:gd name="T14" fmla="*/ 157 w 157"/>
                <a:gd name="T15" fmla="*/ 2 h 95"/>
                <a:gd name="T16" fmla="*/ 157 w 157"/>
                <a:gd name="T17" fmla="*/ 9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95">
                  <a:moveTo>
                    <a:pt x="157" y="93"/>
                  </a:moveTo>
                  <a:cubicBezTo>
                    <a:pt x="157" y="94"/>
                    <a:pt x="156" y="95"/>
                    <a:pt x="154" y="95"/>
                  </a:cubicBezTo>
                  <a:cubicBezTo>
                    <a:pt x="2" y="95"/>
                    <a:pt x="2" y="95"/>
                    <a:pt x="2" y="95"/>
                  </a:cubicBezTo>
                  <a:cubicBezTo>
                    <a:pt x="1" y="95"/>
                    <a:pt x="0" y="94"/>
                    <a:pt x="0" y="93"/>
                  </a:cubicBezTo>
                  <a:cubicBezTo>
                    <a:pt x="0" y="2"/>
                    <a:pt x="0" y="2"/>
                    <a:pt x="0" y="2"/>
                  </a:cubicBezTo>
                  <a:cubicBezTo>
                    <a:pt x="0" y="1"/>
                    <a:pt x="1" y="0"/>
                    <a:pt x="2" y="0"/>
                  </a:cubicBezTo>
                  <a:cubicBezTo>
                    <a:pt x="154" y="0"/>
                    <a:pt x="154" y="0"/>
                    <a:pt x="154" y="0"/>
                  </a:cubicBezTo>
                  <a:cubicBezTo>
                    <a:pt x="156" y="0"/>
                    <a:pt x="157" y="1"/>
                    <a:pt x="157" y="2"/>
                  </a:cubicBezTo>
                  <a:lnTo>
                    <a:pt x="157" y="9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52">
              <a:extLst>
                <a:ext uri="{FF2B5EF4-FFF2-40B4-BE49-F238E27FC236}">
                  <a16:creationId xmlns:a16="http://schemas.microsoft.com/office/drawing/2014/main" id="{2D082EFF-3324-4A79-B1C2-BE0B93BDF41E}"/>
                </a:ext>
              </a:extLst>
            </p:cNvPr>
            <p:cNvSpPr>
              <a:spLocks/>
            </p:cNvSpPr>
            <p:nvPr/>
          </p:nvSpPr>
          <p:spPr bwMode="gray">
            <a:xfrm>
              <a:off x="12900025" y="3676650"/>
              <a:ext cx="120650" cy="119063"/>
            </a:xfrm>
            <a:custGeom>
              <a:avLst/>
              <a:gdLst>
                <a:gd name="T0" fmla="*/ 32 w 32"/>
                <a:gd name="T1" fmla="*/ 30 h 32"/>
                <a:gd name="T2" fmla="*/ 31 w 32"/>
                <a:gd name="T3" fmla="*/ 32 h 32"/>
                <a:gd name="T4" fmla="*/ 2 w 32"/>
                <a:gd name="T5" fmla="*/ 32 h 32"/>
                <a:gd name="T6" fmla="*/ 0 w 32"/>
                <a:gd name="T7" fmla="*/ 30 h 32"/>
                <a:gd name="T8" fmla="*/ 0 w 32"/>
                <a:gd name="T9" fmla="*/ 2 h 32"/>
                <a:gd name="T10" fmla="*/ 2 w 32"/>
                <a:gd name="T11" fmla="*/ 0 h 32"/>
                <a:gd name="T12" fmla="*/ 31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2" y="32"/>
                    <a:pt x="31" y="32"/>
                  </a:cubicBezTo>
                  <a:cubicBezTo>
                    <a:pt x="2" y="32"/>
                    <a:pt x="2" y="32"/>
                    <a:pt x="2" y="32"/>
                  </a:cubicBezTo>
                  <a:cubicBezTo>
                    <a:pt x="1" y="32"/>
                    <a:pt x="0" y="31"/>
                    <a:pt x="0" y="30"/>
                  </a:cubicBezTo>
                  <a:cubicBezTo>
                    <a:pt x="0" y="2"/>
                    <a:pt x="0" y="2"/>
                    <a:pt x="0" y="2"/>
                  </a:cubicBezTo>
                  <a:cubicBezTo>
                    <a:pt x="0" y="1"/>
                    <a:pt x="1" y="0"/>
                    <a:pt x="2" y="0"/>
                  </a:cubicBezTo>
                  <a:cubicBezTo>
                    <a:pt x="31" y="0"/>
                    <a:pt x="31" y="0"/>
                    <a:pt x="31" y="0"/>
                  </a:cubicBezTo>
                  <a:cubicBezTo>
                    <a:pt x="32"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53">
              <a:extLst>
                <a:ext uri="{FF2B5EF4-FFF2-40B4-BE49-F238E27FC236}">
                  <a16:creationId xmlns:a16="http://schemas.microsoft.com/office/drawing/2014/main" id="{7CB01B26-2A55-42EF-8DA8-63DDC3710268}"/>
                </a:ext>
              </a:extLst>
            </p:cNvPr>
            <p:cNvSpPr>
              <a:spLocks/>
            </p:cNvSpPr>
            <p:nvPr/>
          </p:nvSpPr>
          <p:spPr bwMode="gray">
            <a:xfrm>
              <a:off x="13122275"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54">
              <a:extLst>
                <a:ext uri="{FF2B5EF4-FFF2-40B4-BE49-F238E27FC236}">
                  <a16:creationId xmlns:a16="http://schemas.microsoft.com/office/drawing/2014/main" id="{5B70BBC1-C342-4B0B-B107-88984024FD3F}"/>
                </a:ext>
              </a:extLst>
            </p:cNvPr>
            <p:cNvSpPr>
              <a:spLocks/>
            </p:cNvSpPr>
            <p:nvPr/>
          </p:nvSpPr>
          <p:spPr bwMode="gray">
            <a:xfrm>
              <a:off x="13155613" y="39687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55">
              <a:extLst>
                <a:ext uri="{FF2B5EF4-FFF2-40B4-BE49-F238E27FC236}">
                  <a16:creationId xmlns:a16="http://schemas.microsoft.com/office/drawing/2014/main" id="{0D57AB07-1EB4-4060-9925-D1897642083D}"/>
                </a:ext>
              </a:extLst>
            </p:cNvPr>
            <p:cNvSpPr>
              <a:spLocks/>
            </p:cNvSpPr>
            <p:nvPr/>
          </p:nvSpPr>
          <p:spPr bwMode="gray">
            <a:xfrm>
              <a:off x="13084175"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56">
              <a:extLst>
                <a:ext uri="{FF2B5EF4-FFF2-40B4-BE49-F238E27FC236}">
                  <a16:creationId xmlns:a16="http://schemas.microsoft.com/office/drawing/2014/main" id="{D1EECD82-C143-46D7-B301-7BAE3C158AAD}"/>
                </a:ext>
              </a:extLst>
            </p:cNvPr>
            <p:cNvSpPr>
              <a:spLocks/>
            </p:cNvSpPr>
            <p:nvPr/>
          </p:nvSpPr>
          <p:spPr bwMode="gray">
            <a:xfrm>
              <a:off x="12900025" y="4260850"/>
              <a:ext cx="120650" cy="133350"/>
            </a:xfrm>
            <a:custGeom>
              <a:avLst/>
              <a:gdLst>
                <a:gd name="T0" fmla="*/ 32 w 32"/>
                <a:gd name="T1" fmla="*/ 35 h 36"/>
                <a:gd name="T2" fmla="*/ 31 w 32"/>
                <a:gd name="T3" fmla="*/ 36 h 36"/>
                <a:gd name="T4" fmla="*/ 2 w 32"/>
                <a:gd name="T5" fmla="*/ 36 h 36"/>
                <a:gd name="T6" fmla="*/ 0 w 32"/>
                <a:gd name="T7" fmla="*/ 35 h 36"/>
                <a:gd name="T8" fmla="*/ 0 w 32"/>
                <a:gd name="T9" fmla="*/ 1 h 36"/>
                <a:gd name="T10" fmla="*/ 2 w 32"/>
                <a:gd name="T11" fmla="*/ 0 h 36"/>
                <a:gd name="T12" fmla="*/ 31 w 32"/>
                <a:gd name="T13" fmla="*/ 0 h 36"/>
                <a:gd name="T14" fmla="*/ 32 w 32"/>
                <a:gd name="T15" fmla="*/ 1 h 36"/>
                <a:gd name="T16" fmla="*/ 32 w 3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32" y="35"/>
                  </a:moveTo>
                  <a:cubicBezTo>
                    <a:pt x="32" y="36"/>
                    <a:pt x="32" y="36"/>
                    <a:pt x="31" y="36"/>
                  </a:cubicBezTo>
                  <a:cubicBezTo>
                    <a:pt x="2" y="36"/>
                    <a:pt x="2" y="36"/>
                    <a:pt x="2" y="36"/>
                  </a:cubicBezTo>
                  <a:cubicBezTo>
                    <a:pt x="1" y="36"/>
                    <a:pt x="0" y="36"/>
                    <a:pt x="0" y="35"/>
                  </a:cubicBezTo>
                  <a:cubicBezTo>
                    <a:pt x="0" y="1"/>
                    <a:pt x="0" y="1"/>
                    <a:pt x="0" y="1"/>
                  </a:cubicBezTo>
                  <a:cubicBezTo>
                    <a:pt x="0" y="0"/>
                    <a:pt x="1" y="0"/>
                    <a:pt x="2" y="0"/>
                  </a:cubicBezTo>
                  <a:cubicBezTo>
                    <a:pt x="31" y="0"/>
                    <a:pt x="31" y="0"/>
                    <a:pt x="31" y="0"/>
                  </a:cubicBezTo>
                  <a:cubicBezTo>
                    <a:pt x="32" y="0"/>
                    <a:pt x="32" y="0"/>
                    <a:pt x="32" y="1"/>
                  </a:cubicBezTo>
                  <a:lnTo>
                    <a:pt x="3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57">
              <a:extLst>
                <a:ext uri="{FF2B5EF4-FFF2-40B4-BE49-F238E27FC236}">
                  <a16:creationId xmlns:a16="http://schemas.microsoft.com/office/drawing/2014/main" id="{87A04A6C-C175-49C1-9A62-9D93ED1FDB42}"/>
                </a:ext>
              </a:extLst>
            </p:cNvPr>
            <p:cNvSpPr>
              <a:spLocks/>
            </p:cNvSpPr>
            <p:nvPr/>
          </p:nvSpPr>
          <p:spPr bwMode="gray">
            <a:xfrm>
              <a:off x="13046075" y="4260850"/>
              <a:ext cx="120650" cy="133350"/>
            </a:xfrm>
            <a:custGeom>
              <a:avLst/>
              <a:gdLst>
                <a:gd name="T0" fmla="*/ 32 w 32"/>
                <a:gd name="T1" fmla="*/ 35 h 36"/>
                <a:gd name="T2" fmla="*/ 30 w 32"/>
                <a:gd name="T3" fmla="*/ 36 h 36"/>
                <a:gd name="T4" fmla="*/ 2 w 32"/>
                <a:gd name="T5" fmla="*/ 36 h 36"/>
                <a:gd name="T6" fmla="*/ 0 w 32"/>
                <a:gd name="T7" fmla="*/ 35 h 36"/>
                <a:gd name="T8" fmla="*/ 0 w 32"/>
                <a:gd name="T9" fmla="*/ 1 h 36"/>
                <a:gd name="T10" fmla="*/ 2 w 32"/>
                <a:gd name="T11" fmla="*/ 0 h 36"/>
                <a:gd name="T12" fmla="*/ 30 w 32"/>
                <a:gd name="T13" fmla="*/ 0 h 36"/>
                <a:gd name="T14" fmla="*/ 32 w 32"/>
                <a:gd name="T15" fmla="*/ 1 h 36"/>
                <a:gd name="T16" fmla="*/ 32 w 3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32" y="35"/>
                  </a:moveTo>
                  <a:cubicBezTo>
                    <a:pt x="32" y="36"/>
                    <a:pt x="31" y="36"/>
                    <a:pt x="30" y="36"/>
                  </a:cubicBezTo>
                  <a:cubicBezTo>
                    <a:pt x="2" y="36"/>
                    <a:pt x="2" y="36"/>
                    <a:pt x="2" y="36"/>
                  </a:cubicBezTo>
                  <a:cubicBezTo>
                    <a:pt x="1" y="36"/>
                    <a:pt x="0" y="36"/>
                    <a:pt x="0" y="35"/>
                  </a:cubicBezTo>
                  <a:cubicBezTo>
                    <a:pt x="0" y="1"/>
                    <a:pt x="0" y="1"/>
                    <a:pt x="0" y="1"/>
                  </a:cubicBezTo>
                  <a:cubicBezTo>
                    <a:pt x="0" y="0"/>
                    <a:pt x="1" y="0"/>
                    <a:pt x="2" y="0"/>
                  </a:cubicBezTo>
                  <a:cubicBezTo>
                    <a:pt x="30" y="0"/>
                    <a:pt x="30" y="0"/>
                    <a:pt x="30" y="0"/>
                  </a:cubicBezTo>
                  <a:cubicBezTo>
                    <a:pt x="31" y="0"/>
                    <a:pt x="32" y="0"/>
                    <a:pt x="32" y="1"/>
                  </a:cubicBezTo>
                  <a:lnTo>
                    <a:pt x="3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58">
              <a:extLst>
                <a:ext uri="{FF2B5EF4-FFF2-40B4-BE49-F238E27FC236}">
                  <a16:creationId xmlns:a16="http://schemas.microsoft.com/office/drawing/2014/main" id="{15E82762-7773-4B48-B796-EB2C1D9A2C40}"/>
                </a:ext>
              </a:extLst>
            </p:cNvPr>
            <p:cNvSpPr>
              <a:spLocks/>
            </p:cNvSpPr>
            <p:nvPr/>
          </p:nvSpPr>
          <p:spPr bwMode="gray">
            <a:xfrm>
              <a:off x="13192125" y="4260850"/>
              <a:ext cx="120650" cy="133350"/>
            </a:xfrm>
            <a:custGeom>
              <a:avLst/>
              <a:gdLst>
                <a:gd name="T0" fmla="*/ 32 w 32"/>
                <a:gd name="T1" fmla="*/ 35 h 36"/>
                <a:gd name="T2" fmla="*/ 30 w 32"/>
                <a:gd name="T3" fmla="*/ 36 h 36"/>
                <a:gd name="T4" fmla="*/ 2 w 32"/>
                <a:gd name="T5" fmla="*/ 36 h 36"/>
                <a:gd name="T6" fmla="*/ 0 w 32"/>
                <a:gd name="T7" fmla="*/ 35 h 36"/>
                <a:gd name="T8" fmla="*/ 0 w 32"/>
                <a:gd name="T9" fmla="*/ 1 h 36"/>
                <a:gd name="T10" fmla="*/ 2 w 32"/>
                <a:gd name="T11" fmla="*/ 0 h 36"/>
                <a:gd name="T12" fmla="*/ 30 w 32"/>
                <a:gd name="T13" fmla="*/ 0 h 36"/>
                <a:gd name="T14" fmla="*/ 32 w 32"/>
                <a:gd name="T15" fmla="*/ 1 h 36"/>
                <a:gd name="T16" fmla="*/ 32 w 3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32" y="35"/>
                  </a:moveTo>
                  <a:cubicBezTo>
                    <a:pt x="32" y="36"/>
                    <a:pt x="31" y="36"/>
                    <a:pt x="30" y="36"/>
                  </a:cubicBezTo>
                  <a:cubicBezTo>
                    <a:pt x="2" y="36"/>
                    <a:pt x="2" y="36"/>
                    <a:pt x="2" y="36"/>
                  </a:cubicBezTo>
                  <a:cubicBezTo>
                    <a:pt x="1" y="36"/>
                    <a:pt x="0" y="36"/>
                    <a:pt x="0" y="35"/>
                  </a:cubicBezTo>
                  <a:cubicBezTo>
                    <a:pt x="0" y="1"/>
                    <a:pt x="0" y="1"/>
                    <a:pt x="0" y="1"/>
                  </a:cubicBezTo>
                  <a:cubicBezTo>
                    <a:pt x="0" y="0"/>
                    <a:pt x="1" y="0"/>
                    <a:pt x="2" y="0"/>
                  </a:cubicBezTo>
                  <a:cubicBezTo>
                    <a:pt x="30" y="0"/>
                    <a:pt x="30" y="0"/>
                    <a:pt x="30" y="0"/>
                  </a:cubicBezTo>
                  <a:cubicBezTo>
                    <a:pt x="31" y="0"/>
                    <a:pt x="32" y="0"/>
                    <a:pt x="32" y="1"/>
                  </a:cubicBezTo>
                  <a:lnTo>
                    <a:pt x="3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59">
              <a:extLst>
                <a:ext uri="{FF2B5EF4-FFF2-40B4-BE49-F238E27FC236}">
                  <a16:creationId xmlns:a16="http://schemas.microsoft.com/office/drawing/2014/main" id="{CCC803CD-F5C1-4426-821C-237A65CF7912}"/>
                </a:ext>
              </a:extLst>
            </p:cNvPr>
            <p:cNvSpPr>
              <a:spLocks/>
            </p:cNvSpPr>
            <p:nvPr/>
          </p:nvSpPr>
          <p:spPr bwMode="gray">
            <a:xfrm>
              <a:off x="14433550" y="4260850"/>
              <a:ext cx="120650" cy="133350"/>
            </a:xfrm>
            <a:custGeom>
              <a:avLst/>
              <a:gdLst>
                <a:gd name="T0" fmla="*/ 32 w 32"/>
                <a:gd name="T1" fmla="*/ 35 h 36"/>
                <a:gd name="T2" fmla="*/ 30 w 32"/>
                <a:gd name="T3" fmla="*/ 36 h 36"/>
                <a:gd name="T4" fmla="*/ 2 w 32"/>
                <a:gd name="T5" fmla="*/ 36 h 36"/>
                <a:gd name="T6" fmla="*/ 0 w 32"/>
                <a:gd name="T7" fmla="*/ 35 h 36"/>
                <a:gd name="T8" fmla="*/ 0 w 32"/>
                <a:gd name="T9" fmla="*/ 1 h 36"/>
                <a:gd name="T10" fmla="*/ 2 w 32"/>
                <a:gd name="T11" fmla="*/ 0 h 36"/>
                <a:gd name="T12" fmla="*/ 30 w 32"/>
                <a:gd name="T13" fmla="*/ 0 h 36"/>
                <a:gd name="T14" fmla="*/ 32 w 32"/>
                <a:gd name="T15" fmla="*/ 1 h 36"/>
                <a:gd name="T16" fmla="*/ 32 w 3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32" y="35"/>
                  </a:moveTo>
                  <a:cubicBezTo>
                    <a:pt x="32" y="36"/>
                    <a:pt x="31" y="36"/>
                    <a:pt x="30" y="36"/>
                  </a:cubicBezTo>
                  <a:cubicBezTo>
                    <a:pt x="2" y="36"/>
                    <a:pt x="2" y="36"/>
                    <a:pt x="2" y="36"/>
                  </a:cubicBezTo>
                  <a:cubicBezTo>
                    <a:pt x="1" y="36"/>
                    <a:pt x="0" y="36"/>
                    <a:pt x="0" y="35"/>
                  </a:cubicBezTo>
                  <a:cubicBezTo>
                    <a:pt x="0" y="1"/>
                    <a:pt x="0" y="1"/>
                    <a:pt x="0" y="1"/>
                  </a:cubicBezTo>
                  <a:cubicBezTo>
                    <a:pt x="0" y="0"/>
                    <a:pt x="1" y="0"/>
                    <a:pt x="2" y="0"/>
                  </a:cubicBezTo>
                  <a:cubicBezTo>
                    <a:pt x="30" y="0"/>
                    <a:pt x="30" y="0"/>
                    <a:pt x="30" y="0"/>
                  </a:cubicBezTo>
                  <a:cubicBezTo>
                    <a:pt x="31" y="0"/>
                    <a:pt x="32" y="0"/>
                    <a:pt x="32" y="1"/>
                  </a:cubicBezTo>
                  <a:lnTo>
                    <a:pt x="3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60">
              <a:extLst>
                <a:ext uri="{FF2B5EF4-FFF2-40B4-BE49-F238E27FC236}">
                  <a16:creationId xmlns:a16="http://schemas.microsoft.com/office/drawing/2014/main" id="{B6BB9ECB-4348-4558-AC68-EBF0F3FDF6C5}"/>
                </a:ext>
              </a:extLst>
            </p:cNvPr>
            <p:cNvSpPr>
              <a:spLocks/>
            </p:cNvSpPr>
            <p:nvPr/>
          </p:nvSpPr>
          <p:spPr bwMode="gray">
            <a:xfrm>
              <a:off x="14579600" y="4327525"/>
              <a:ext cx="120650" cy="66675"/>
            </a:xfrm>
            <a:custGeom>
              <a:avLst/>
              <a:gdLst>
                <a:gd name="T0" fmla="*/ 32 w 32"/>
                <a:gd name="T1" fmla="*/ 17 h 18"/>
                <a:gd name="T2" fmla="*/ 30 w 32"/>
                <a:gd name="T3" fmla="*/ 18 h 18"/>
                <a:gd name="T4" fmla="*/ 2 w 32"/>
                <a:gd name="T5" fmla="*/ 18 h 18"/>
                <a:gd name="T6" fmla="*/ 0 w 32"/>
                <a:gd name="T7" fmla="*/ 17 h 18"/>
                <a:gd name="T8" fmla="*/ 0 w 32"/>
                <a:gd name="T9" fmla="*/ 2 h 18"/>
                <a:gd name="T10" fmla="*/ 2 w 32"/>
                <a:gd name="T11" fmla="*/ 0 h 18"/>
                <a:gd name="T12" fmla="*/ 30 w 32"/>
                <a:gd name="T13" fmla="*/ 0 h 18"/>
                <a:gd name="T14" fmla="*/ 32 w 32"/>
                <a:gd name="T15" fmla="*/ 2 h 18"/>
                <a:gd name="T16" fmla="*/ 32 w 32"/>
                <a:gd name="T17"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8">
                  <a:moveTo>
                    <a:pt x="32" y="17"/>
                  </a:moveTo>
                  <a:cubicBezTo>
                    <a:pt x="32" y="18"/>
                    <a:pt x="31" y="18"/>
                    <a:pt x="30" y="18"/>
                  </a:cubicBezTo>
                  <a:cubicBezTo>
                    <a:pt x="2" y="18"/>
                    <a:pt x="2" y="18"/>
                    <a:pt x="2" y="18"/>
                  </a:cubicBezTo>
                  <a:cubicBezTo>
                    <a:pt x="1" y="18"/>
                    <a:pt x="0" y="18"/>
                    <a:pt x="0" y="17"/>
                  </a:cubicBezTo>
                  <a:cubicBezTo>
                    <a:pt x="0" y="2"/>
                    <a:pt x="0" y="2"/>
                    <a:pt x="0" y="2"/>
                  </a:cubicBezTo>
                  <a:cubicBezTo>
                    <a:pt x="0" y="1"/>
                    <a:pt x="1" y="0"/>
                    <a:pt x="2" y="0"/>
                  </a:cubicBezTo>
                  <a:cubicBezTo>
                    <a:pt x="30" y="0"/>
                    <a:pt x="30" y="0"/>
                    <a:pt x="30" y="0"/>
                  </a:cubicBezTo>
                  <a:cubicBezTo>
                    <a:pt x="31" y="0"/>
                    <a:pt x="32" y="1"/>
                    <a:pt x="32" y="2"/>
                  </a:cubicBezTo>
                  <a:lnTo>
                    <a:pt x="32"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61">
              <a:extLst>
                <a:ext uri="{FF2B5EF4-FFF2-40B4-BE49-F238E27FC236}">
                  <a16:creationId xmlns:a16="http://schemas.microsoft.com/office/drawing/2014/main" id="{3E6A7380-61CE-4D1D-98C6-EE441C0AD93E}"/>
                </a:ext>
              </a:extLst>
            </p:cNvPr>
            <p:cNvSpPr>
              <a:spLocks/>
            </p:cNvSpPr>
            <p:nvPr/>
          </p:nvSpPr>
          <p:spPr bwMode="gray">
            <a:xfrm>
              <a:off x="14871700" y="4327525"/>
              <a:ext cx="120650" cy="66675"/>
            </a:xfrm>
            <a:custGeom>
              <a:avLst/>
              <a:gdLst>
                <a:gd name="T0" fmla="*/ 32 w 32"/>
                <a:gd name="T1" fmla="*/ 17 h 18"/>
                <a:gd name="T2" fmla="*/ 30 w 32"/>
                <a:gd name="T3" fmla="*/ 18 h 18"/>
                <a:gd name="T4" fmla="*/ 2 w 32"/>
                <a:gd name="T5" fmla="*/ 18 h 18"/>
                <a:gd name="T6" fmla="*/ 0 w 32"/>
                <a:gd name="T7" fmla="*/ 17 h 18"/>
                <a:gd name="T8" fmla="*/ 0 w 32"/>
                <a:gd name="T9" fmla="*/ 2 h 18"/>
                <a:gd name="T10" fmla="*/ 2 w 32"/>
                <a:gd name="T11" fmla="*/ 0 h 18"/>
                <a:gd name="T12" fmla="*/ 30 w 32"/>
                <a:gd name="T13" fmla="*/ 0 h 18"/>
                <a:gd name="T14" fmla="*/ 32 w 32"/>
                <a:gd name="T15" fmla="*/ 2 h 18"/>
                <a:gd name="T16" fmla="*/ 32 w 32"/>
                <a:gd name="T17"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8">
                  <a:moveTo>
                    <a:pt x="32" y="17"/>
                  </a:moveTo>
                  <a:cubicBezTo>
                    <a:pt x="32" y="18"/>
                    <a:pt x="31" y="18"/>
                    <a:pt x="30" y="18"/>
                  </a:cubicBezTo>
                  <a:cubicBezTo>
                    <a:pt x="2" y="18"/>
                    <a:pt x="2" y="18"/>
                    <a:pt x="2" y="18"/>
                  </a:cubicBezTo>
                  <a:cubicBezTo>
                    <a:pt x="1" y="18"/>
                    <a:pt x="0" y="18"/>
                    <a:pt x="0" y="17"/>
                  </a:cubicBezTo>
                  <a:cubicBezTo>
                    <a:pt x="0" y="2"/>
                    <a:pt x="0" y="2"/>
                    <a:pt x="0" y="2"/>
                  </a:cubicBezTo>
                  <a:cubicBezTo>
                    <a:pt x="0" y="1"/>
                    <a:pt x="1" y="0"/>
                    <a:pt x="2" y="0"/>
                  </a:cubicBezTo>
                  <a:cubicBezTo>
                    <a:pt x="30" y="0"/>
                    <a:pt x="30" y="0"/>
                    <a:pt x="30" y="0"/>
                  </a:cubicBezTo>
                  <a:cubicBezTo>
                    <a:pt x="31" y="0"/>
                    <a:pt x="32" y="1"/>
                    <a:pt x="32" y="2"/>
                  </a:cubicBezTo>
                  <a:lnTo>
                    <a:pt x="32"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62">
              <a:extLst>
                <a:ext uri="{FF2B5EF4-FFF2-40B4-BE49-F238E27FC236}">
                  <a16:creationId xmlns:a16="http://schemas.microsoft.com/office/drawing/2014/main" id="{11C8B0B5-5ACD-4ACD-9A0D-B45677686C43}"/>
                </a:ext>
              </a:extLst>
            </p:cNvPr>
            <p:cNvSpPr>
              <a:spLocks/>
            </p:cNvSpPr>
            <p:nvPr/>
          </p:nvSpPr>
          <p:spPr bwMode="gray">
            <a:xfrm>
              <a:off x="13339763" y="4260850"/>
              <a:ext cx="157163" cy="133350"/>
            </a:xfrm>
            <a:custGeom>
              <a:avLst/>
              <a:gdLst>
                <a:gd name="T0" fmla="*/ 42 w 42"/>
                <a:gd name="T1" fmla="*/ 35 h 36"/>
                <a:gd name="T2" fmla="*/ 40 w 42"/>
                <a:gd name="T3" fmla="*/ 36 h 36"/>
                <a:gd name="T4" fmla="*/ 2 w 42"/>
                <a:gd name="T5" fmla="*/ 36 h 36"/>
                <a:gd name="T6" fmla="*/ 0 w 42"/>
                <a:gd name="T7" fmla="*/ 35 h 36"/>
                <a:gd name="T8" fmla="*/ 0 w 42"/>
                <a:gd name="T9" fmla="*/ 1 h 36"/>
                <a:gd name="T10" fmla="*/ 2 w 42"/>
                <a:gd name="T11" fmla="*/ 0 h 36"/>
                <a:gd name="T12" fmla="*/ 40 w 42"/>
                <a:gd name="T13" fmla="*/ 0 h 36"/>
                <a:gd name="T14" fmla="*/ 42 w 42"/>
                <a:gd name="T15" fmla="*/ 1 h 36"/>
                <a:gd name="T16" fmla="*/ 42 w 4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6">
                  <a:moveTo>
                    <a:pt x="42" y="35"/>
                  </a:moveTo>
                  <a:cubicBezTo>
                    <a:pt x="42" y="36"/>
                    <a:pt x="41" y="36"/>
                    <a:pt x="40" y="36"/>
                  </a:cubicBezTo>
                  <a:cubicBezTo>
                    <a:pt x="2" y="36"/>
                    <a:pt x="2" y="36"/>
                    <a:pt x="2" y="36"/>
                  </a:cubicBezTo>
                  <a:cubicBezTo>
                    <a:pt x="1" y="36"/>
                    <a:pt x="0" y="36"/>
                    <a:pt x="0" y="35"/>
                  </a:cubicBezTo>
                  <a:cubicBezTo>
                    <a:pt x="0" y="1"/>
                    <a:pt x="0" y="1"/>
                    <a:pt x="0" y="1"/>
                  </a:cubicBezTo>
                  <a:cubicBezTo>
                    <a:pt x="0" y="0"/>
                    <a:pt x="1" y="0"/>
                    <a:pt x="2" y="0"/>
                  </a:cubicBezTo>
                  <a:cubicBezTo>
                    <a:pt x="40" y="0"/>
                    <a:pt x="40" y="0"/>
                    <a:pt x="40" y="0"/>
                  </a:cubicBezTo>
                  <a:cubicBezTo>
                    <a:pt x="41" y="0"/>
                    <a:pt x="42" y="0"/>
                    <a:pt x="42" y="1"/>
                  </a:cubicBezTo>
                  <a:lnTo>
                    <a:pt x="4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63">
              <a:extLst>
                <a:ext uri="{FF2B5EF4-FFF2-40B4-BE49-F238E27FC236}">
                  <a16:creationId xmlns:a16="http://schemas.microsoft.com/office/drawing/2014/main" id="{8E2D66D5-5ADE-42B1-82FC-1FEED35AF2A0}"/>
                </a:ext>
              </a:extLst>
            </p:cNvPr>
            <p:cNvSpPr>
              <a:spLocks/>
            </p:cNvSpPr>
            <p:nvPr/>
          </p:nvSpPr>
          <p:spPr bwMode="gray">
            <a:xfrm>
              <a:off x="14249400" y="4260850"/>
              <a:ext cx="157163" cy="133350"/>
            </a:xfrm>
            <a:custGeom>
              <a:avLst/>
              <a:gdLst>
                <a:gd name="T0" fmla="*/ 42 w 42"/>
                <a:gd name="T1" fmla="*/ 35 h 36"/>
                <a:gd name="T2" fmla="*/ 41 w 42"/>
                <a:gd name="T3" fmla="*/ 36 h 36"/>
                <a:gd name="T4" fmla="*/ 2 w 42"/>
                <a:gd name="T5" fmla="*/ 36 h 36"/>
                <a:gd name="T6" fmla="*/ 0 w 42"/>
                <a:gd name="T7" fmla="*/ 35 h 36"/>
                <a:gd name="T8" fmla="*/ 0 w 42"/>
                <a:gd name="T9" fmla="*/ 1 h 36"/>
                <a:gd name="T10" fmla="*/ 2 w 42"/>
                <a:gd name="T11" fmla="*/ 0 h 36"/>
                <a:gd name="T12" fmla="*/ 41 w 42"/>
                <a:gd name="T13" fmla="*/ 0 h 36"/>
                <a:gd name="T14" fmla="*/ 42 w 42"/>
                <a:gd name="T15" fmla="*/ 1 h 36"/>
                <a:gd name="T16" fmla="*/ 42 w 4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6">
                  <a:moveTo>
                    <a:pt x="42" y="35"/>
                  </a:moveTo>
                  <a:cubicBezTo>
                    <a:pt x="42" y="36"/>
                    <a:pt x="42" y="36"/>
                    <a:pt x="41" y="36"/>
                  </a:cubicBezTo>
                  <a:cubicBezTo>
                    <a:pt x="2" y="36"/>
                    <a:pt x="2" y="36"/>
                    <a:pt x="2" y="36"/>
                  </a:cubicBezTo>
                  <a:cubicBezTo>
                    <a:pt x="1" y="36"/>
                    <a:pt x="0" y="36"/>
                    <a:pt x="0" y="35"/>
                  </a:cubicBezTo>
                  <a:cubicBezTo>
                    <a:pt x="0" y="1"/>
                    <a:pt x="0" y="1"/>
                    <a:pt x="0" y="1"/>
                  </a:cubicBezTo>
                  <a:cubicBezTo>
                    <a:pt x="0" y="0"/>
                    <a:pt x="1" y="0"/>
                    <a:pt x="2" y="0"/>
                  </a:cubicBezTo>
                  <a:cubicBezTo>
                    <a:pt x="41" y="0"/>
                    <a:pt x="41" y="0"/>
                    <a:pt x="41" y="0"/>
                  </a:cubicBezTo>
                  <a:cubicBezTo>
                    <a:pt x="42" y="0"/>
                    <a:pt x="42" y="0"/>
                    <a:pt x="42" y="1"/>
                  </a:cubicBezTo>
                  <a:lnTo>
                    <a:pt x="4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64">
              <a:extLst>
                <a:ext uri="{FF2B5EF4-FFF2-40B4-BE49-F238E27FC236}">
                  <a16:creationId xmlns:a16="http://schemas.microsoft.com/office/drawing/2014/main" id="{D5C28421-1660-455F-93FA-74F7FA471E06}"/>
                </a:ext>
              </a:extLst>
            </p:cNvPr>
            <p:cNvSpPr>
              <a:spLocks/>
            </p:cNvSpPr>
            <p:nvPr/>
          </p:nvSpPr>
          <p:spPr bwMode="gray">
            <a:xfrm>
              <a:off x="13522325" y="4260850"/>
              <a:ext cx="701675" cy="133350"/>
            </a:xfrm>
            <a:custGeom>
              <a:avLst/>
              <a:gdLst>
                <a:gd name="T0" fmla="*/ 187 w 187"/>
                <a:gd name="T1" fmla="*/ 35 h 36"/>
                <a:gd name="T2" fmla="*/ 185 w 187"/>
                <a:gd name="T3" fmla="*/ 36 h 36"/>
                <a:gd name="T4" fmla="*/ 2 w 187"/>
                <a:gd name="T5" fmla="*/ 36 h 36"/>
                <a:gd name="T6" fmla="*/ 0 w 187"/>
                <a:gd name="T7" fmla="*/ 35 h 36"/>
                <a:gd name="T8" fmla="*/ 0 w 187"/>
                <a:gd name="T9" fmla="*/ 1 h 36"/>
                <a:gd name="T10" fmla="*/ 2 w 187"/>
                <a:gd name="T11" fmla="*/ 0 h 36"/>
                <a:gd name="T12" fmla="*/ 185 w 187"/>
                <a:gd name="T13" fmla="*/ 0 h 36"/>
                <a:gd name="T14" fmla="*/ 187 w 187"/>
                <a:gd name="T15" fmla="*/ 1 h 36"/>
                <a:gd name="T16" fmla="*/ 187 w 187"/>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36">
                  <a:moveTo>
                    <a:pt x="187" y="35"/>
                  </a:moveTo>
                  <a:cubicBezTo>
                    <a:pt x="187" y="36"/>
                    <a:pt x="187" y="36"/>
                    <a:pt x="185" y="36"/>
                  </a:cubicBezTo>
                  <a:cubicBezTo>
                    <a:pt x="2" y="36"/>
                    <a:pt x="2" y="36"/>
                    <a:pt x="2" y="36"/>
                  </a:cubicBezTo>
                  <a:cubicBezTo>
                    <a:pt x="1" y="36"/>
                    <a:pt x="0" y="36"/>
                    <a:pt x="0" y="35"/>
                  </a:cubicBezTo>
                  <a:cubicBezTo>
                    <a:pt x="0" y="1"/>
                    <a:pt x="0" y="1"/>
                    <a:pt x="0" y="1"/>
                  </a:cubicBezTo>
                  <a:cubicBezTo>
                    <a:pt x="0" y="0"/>
                    <a:pt x="1" y="0"/>
                    <a:pt x="2" y="0"/>
                  </a:cubicBezTo>
                  <a:cubicBezTo>
                    <a:pt x="185" y="0"/>
                    <a:pt x="185" y="0"/>
                    <a:pt x="185" y="0"/>
                  </a:cubicBezTo>
                  <a:cubicBezTo>
                    <a:pt x="187" y="0"/>
                    <a:pt x="187" y="0"/>
                    <a:pt x="187" y="1"/>
                  </a:cubicBezTo>
                  <a:lnTo>
                    <a:pt x="187"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65">
              <a:extLst>
                <a:ext uri="{FF2B5EF4-FFF2-40B4-BE49-F238E27FC236}">
                  <a16:creationId xmlns:a16="http://schemas.microsoft.com/office/drawing/2014/main" id="{4C749D4B-D129-4E3A-8173-0A83F9E4B753}"/>
                </a:ext>
              </a:extLst>
            </p:cNvPr>
            <p:cNvSpPr>
              <a:spLocks/>
            </p:cNvSpPr>
            <p:nvPr/>
          </p:nvSpPr>
          <p:spPr bwMode="gray">
            <a:xfrm>
              <a:off x="13230225"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66">
              <a:extLst>
                <a:ext uri="{FF2B5EF4-FFF2-40B4-BE49-F238E27FC236}">
                  <a16:creationId xmlns:a16="http://schemas.microsoft.com/office/drawing/2014/main" id="{35003669-44BA-4D9C-A84B-581F999CB582}"/>
                </a:ext>
              </a:extLst>
            </p:cNvPr>
            <p:cNvSpPr>
              <a:spLocks/>
            </p:cNvSpPr>
            <p:nvPr/>
          </p:nvSpPr>
          <p:spPr bwMode="gray">
            <a:xfrm>
              <a:off x="13376275"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7">
              <a:extLst>
                <a:ext uri="{FF2B5EF4-FFF2-40B4-BE49-F238E27FC236}">
                  <a16:creationId xmlns:a16="http://schemas.microsoft.com/office/drawing/2014/main" id="{3A2C261B-EAD9-4E00-9538-551E0AC51424}"/>
                </a:ext>
              </a:extLst>
            </p:cNvPr>
            <p:cNvSpPr>
              <a:spLocks/>
            </p:cNvSpPr>
            <p:nvPr/>
          </p:nvSpPr>
          <p:spPr bwMode="gray">
            <a:xfrm>
              <a:off x="13522325"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68">
              <a:extLst>
                <a:ext uri="{FF2B5EF4-FFF2-40B4-BE49-F238E27FC236}">
                  <a16:creationId xmlns:a16="http://schemas.microsoft.com/office/drawing/2014/main" id="{3AF6C8B8-AA8F-4552-9464-E7F369CBD323}"/>
                </a:ext>
              </a:extLst>
            </p:cNvPr>
            <p:cNvSpPr>
              <a:spLocks/>
            </p:cNvSpPr>
            <p:nvPr/>
          </p:nvSpPr>
          <p:spPr bwMode="gray">
            <a:xfrm>
              <a:off x="13668375"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69">
              <a:extLst>
                <a:ext uri="{FF2B5EF4-FFF2-40B4-BE49-F238E27FC236}">
                  <a16:creationId xmlns:a16="http://schemas.microsoft.com/office/drawing/2014/main" id="{9652B4EB-71C1-40F3-BAA0-B6A02BB81D12}"/>
                </a:ext>
              </a:extLst>
            </p:cNvPr>
            <p:cNvSpPr>
              <a:spLocks/>
            </p:cNvSpPr>
            <p:nvPr/>
          </p:nvSpPr>
          <p:spPr bwMode="gray">
            <a:xfrm>
              <a:off x="13814425" y="4114800"/>
              <a:ext cx="120650" cy="119063"/>
            </a:xfrm>
            <a:custGeom>
              <a:avLst/>
              <a:gdLst>
                <a:gd name="T0" fmla="*/ 32 w 32"/>
                <a:gd name="T1" fmla="*/ 30 h 32"/>
                <a:gd name="T2" fmla="*/ 30 w 32"/>
                <a:gd name="T3" fmla="*/ 32 h 32"/>
                <a:gd name="T4" fmla="*/ 1 w 32"/>
                <a:gd name="T5" fmla="*/ 32 h 32"/>
                <a:gd name="T6" fmla="*/ 0 w 32"/>
                <a:gd name="T7" fmla="*/ 30 h 32"/>
                <a:gd name="T8" fmla="*/ 0 w 32"/>
                <a:gd name="T9" fmla="*/ 2 h 32"/>
                <a:gd name="T10" fmla="*/ 1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1" y="32"/>
                    <a:pt x="1" y="32"/>
                    <a:pt x="1" y="32"/>
                  </a:cubicBezTo>
                  <a:cubicBezTo>
                    <a:pt x="0" y="32"/>
                    <a:pt x="0" y="31"/>
                    <a:pt x="0" y="30"/>
                  </a:cubicBezTo>
                  <a:cubicBezTo>
                    <a:pt x="0" y="2"/>
                    <a:pt x="0" y="2"/>
                    <a:pt x="0" y="2"/>
                  </a:cubicBezTo>
                  <a:cubicBezTo>
                    <a:pt x="0" y="1"/>
                    <a:pt x="0" y="0"/>
                    <a:pt x="1"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70">
              <a:extLst>
                <a:ext uri="{FF2B5EF4-FFF2-40B4-BE49-F238E27FC236}">
                  <a16:creationId xmlns:a16="http://schemas.microsoft.com/office/drawing/2014/main" id="{40371219-B11D-44A7-852F-6A0EE304D912}"/>
                </a:ext>
              </a:extLst>
            </p:cNvPr>
            <p:cNvSpPr>
              <a:spLocks/>
            </p:cNvSpPr>
            <p:nvPr/>
          </p:nvSpPr>
          <p:spPr bwMode="gray">
            <a:xfrm>
              <a:off x="13960475" y="4114800"/>
              <a:ext cx="117475" cy="119063"/>
            </a:xfrm>
            <a:custGeom>
              <a:avLst/>
              <a:gdLst>
                <a:gd name="T0" fmla="*/ 31 w 31"/>
                <a:gd name="T1" fmla="*/ 30 h 32"/>
                <a:gd name="T2" fmla="*/ 30 w 31"/>
                <a:gd name="T3" fmla="*/ 32 h 32"/>
                <a:gd name="T4" fmla="*/ 1 w 31"/>
                <a:gd name="T5" fmla="*/ 32 h 32"/>
                <a:gd name="T6" fmla="*/ 0 w 31"/>
                <a:gd name="T7" fmla="*/ 30 h 32"/>
                <a:gd name="T8" fmla="*/ 0 w 31"/>
                <a:gd name="T9" fmla="*/ 2 h 32"/>
                <a:gd name="T10" fmla="*/ 1 w 31"/>
                <a:gd name="T11" fmla="*/ 0 h 32"/>
                <a:gd name="T12" fmla="*/ 30 w 31"/>
                <a:gd name="T13" fmla="*/ 0 h 32"/>
                <a:gd name="T14" fmla="*/ 31 w 31"/>
                <a:gd name="T15" fmla="*/ 2 h 32"/>
                <a:gd name="T16" fmla="*/ 31 w 31"/>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31" y="30"/>
                  </a:moveTo>
                  <a:cubicBezTo>
                    <a:pt x="31" y="31"/>
                    <a:pt x="31" y="32"/>
                    <a:pt x="30" y="32"/>
                  </a:cubicBezTo>
                  <a:cubicBezTo>
                    <a:pt x="1" y="32"/>
                    <a:pt x="1" y="32"/>
                    <a:pt x="1" y="32"/>
                  </a:cubicBezTo>
                  <a:cubicBezTo>
                    <a:pt x="0" y="32"/>
                    <a:pt x="0" y="31"/>
                    <a:pt x="0" y="30"/>
                  </a:cubicBezTo>
                  <a:cubicBezTo>
                    <a:pt x="0" y="2"/>
                    <a:pt x="0" y="2"/>
                    <a:pt x="0" y="2"/>
                  </a:cubicBezTo>
                  <a:cubicBezTo>
                    <a:pt x="0" y="1"/>
                    <a:pt x="0" y="0"/>
                    <a:pt x="1" y="0"/>
                  </a:cubicBezTo>
                  <a:cubicBezTo>
                    <a:pt x="30" y="0"/>
                    <a:pt x="30" y="0"/>
                    <a:pt x="30" y="0"/>
                  </a:cubicBezTo>
                  <a:cubicBezTo>
                    <a:pt x="31" y="0"/>
                    <a:pt x="31" y="1"/>
                    <a:pt x="31" y="2"/>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71">
              <a:extLst>
                <a:ext uri="{FF2B5EF4-FFF2-40B4-BE49-F238E27FC236}">
                  <a16:creationId xmlns:a16="http://schemas.microsoft.com/office/drawing/2014/main" id="{48446D79-8783-4EB6-A347-C7C9DCC3E09A}"/>
                </a:ext>
              </a:extLst>
            </p:cNvPr>
            <p:cNvSpPr>
              <a:spLocks/>
            </p:cNvSpPr>
            <p:nvPr/>
          </p:nvSpPr>
          <p:spPr bwMode="gray">
            <a:xfrm>
              <a:off x="14103350"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2"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2"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72">
              <a:extLst>
                <a:ext uri="{FF2B5EF4-FFF2-40B4-BE49-F238E27FC236}">
                  <a16:creationId xmlns:a16="http://schemas.microsoft.com/office/drawing/2014/main" id="{0A4A76A1-AD13-472E-B3E4-95418683B246}"/>
                </a:ext>
              </a:extLst>
            </p:cNvPr>
            <p:cNvSpPr>
              <a:spLocks/>
            </p:cNvSpPr>
            <p:nvPr/>
          </p:nvSpPr>
          <p:spPr bwMode="gray">
            <a:xfrm>
              <a:off x="14249400"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73">
              <a:extLst>
                <a:ext uri="{FF2B5EF4-FFF2-40B4-BE49-F238E27FC236}">
                  <a16:creationId xmlns:a16="http://schemas.microsoft.com/office/drawing/2014/main" id="{9C93A65A-F288-4696-8813-6EFEB755FCD1}"/>
                </a:ext>
              </a:extLst>
            </p:cNvPr>
            <p:cNvSpPr>
              <a:spLocks/>
            </p:cNvSpPr>
            <p:nvPr/>
          </p:nvSpPr>
          <p:spPr bwMode="gray">
            <a:xfrm>
              <a:off x="14395450"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74">
              <a:extLst>
                <a:ext uri="{FF2B5EF4-FFF2-40B4-BE49-F238E27FC236}">
                  <a16:creationId xmlns:a16="http://schemas.microsoft.com/office/drawing/2014/main" id="{2EE5812C-0B17-4CB6-9022-68CB88AB1EC9}"/>
                </a:ext>
              </a:extLst>
            </p:cNvPr>
            <p:cNvSpPr>
              <a:spLocks/>
            </p:cNvSpPr>
            <p:nvPr/>
          </p:nvSpPr>
          <p:spPr bwMode="gray">
            <a:xfrm>
              <a:off x="14541500"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75">
              <a:extLst>
                <a:ext uri="{FF2B5EF4-FFF2-40B4-BE49-F238E27FC236}">
                  <a16:creationId xmlns:a16="http://schemas.microsoft.com/office/drawing/2014/main" id="{A5E19183-FB42-48C6-9B5F-631ABEE94666}"/>
                </a:ext>
              </a:extLst>
            </p:cNvPr>
            <p:cNvSpPr>
              <a:spLocks/>
            </p:cNvSpPr>
            <p:nvPr/>
          </p:nvSpPr>
          <p:spPr bwMode="gray">
            <a:xfrm>
              <a:off x="14689138" y="4114800"/>
              <a:ext cx="303213" cy="119063"/>
            </a:xfrm>
            <a:custGeom>
              <a:avLst/>
              <a:gdLst>
                <a:gd name="T0" fmla="*/ 81 w 81"/>
                <a:gd name="T1" fmla="*/ 30 h 32"/>
                <a:gd name="T2" fmla="*/ 79 w 81"/>
                <a:gd name="T3" fmla="*/ 32 h 32"/>
                <a:gd name="T4" fmla="*/ 2 w 81"/>
                <a:gd name="T5" fmla="*/ 32 h 32"/>
                <a:gd name="T6" fmla="*/ 0 w 81"/>
                <a:gd name="T7" fmla="*/ 30 h 32"/>
                <a:gd name="T8" fmla="*/ 0 w 81"/>
                <a:gd name="T9" fmla="*/ 2 h 32"/>
                <a:gd name="T10" fmla="*/ 2 w 81"/>
                <a:gd name="T11" fmla="*/ 0 h 32"/>
                <a:gd name="T12" fmla="*/ 79 w 81"/>
                <a:gd name="T13" fmla="*/ 0 h 32"/>
                <a:gd name="T14" fmla="*/ 81 w 81"/>
                <a:gd name="T15" fmla="*/ 2 h 32"/>
                <a:gd name="T16" fmla="*/ 81 w 81"/>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32">
                  <a:moveTo>
                    <a:pt x="81" y="30"/>
                  </a:moveTo>
                  <a:cubicBezTo>
                    <a:pt x="81" y="31"/>
                    <a:pt x="80" y="32"/>
                    <a:pt x="79" y="32"/>
                  </a:cubicBezTo>
                  <a:cubicBezTo>
                    <a:pt x="2" y="32"/>
                    <a:pt x="2" y="32"/>
                    <a:pt x="2" y="32"/>
                  </a:cubicBezTo>
                  <a:cubicBezTo>
                    <a:pt x="1" y="32"/>
                    <a:pt x="0" y="31"/>
                    <a:pt x="0" y="30"/>
                  </a:cubicBezTo>
                  <a:cubicBezTo>
                    <a:pt x="0" y="2"/>
                    <a:pt x="0" y="2"/>
                    <a:pt x="0" y="2"/>
                  </a:cubicBezTo>
                  <a:cubicBezTo>
                    <a:pt x="0" y="1"/>
                    <a:pt x="1" y="0"/>
                    <a:pt x="2" y="0"/>
                  </a:cubicBezTo>
                  <a:cubicBezTo>
                    <a:pt x="79" y="0"/>
                    <a:pt x="79" y="0"/>
                    <a:pt x="79" y="0"/>
                  </a:cubicBezTo>
                  <a:cubicBezTo>
                    <a:pt x="80" y="0"/>
                    <a:pt x="81" y="1"/>
                    <a:pt x="81" y="2"/>
                  </a:cubicBezTo>
                  <a:lnTo>
                    <a:pt x="8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76">
              <a:extLst>
                <a:ext uri="{FF2B5EF4-FFF2-40B4-BE49-F238E27FC236}">
                  <a16:creationId xmlns:a16="http://schemas.microsoft.com/office/drawing/2014/main" id="{CA4E5FEE-4ECC-4F91-A68F-46C2E81F482C}"/>
                </a:ext>
              </a:extLst>
            </p:cNvPr>
            <p:cNvSpPr>
              <a:spLocks/>
            </p:cNvSpPr>
            <p:nvPr/>
          </p:nvSpPr>
          <p:spPr bwMode="gray">
            <a:xfrm>
              <a:off x="13301663" y="39687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77">
              <a:extLst>
                <a:ext uri="{FF2B5EF4-FFF2-40B4-BE49-F238E27FC236}">
                  <a16:creationId xmlns:a16="http://schemas.microsoft.com/office/drawing/2014/main" id="{13062E40-61B8-4435-9D1C-2D3BB21A1B79}"/>
                </a:ext>
              </a:extLst>
            </p:cNvPr>
            <p:cNvSpPr>
              <a:spLocks/>
            </p:cNvSpPr>
            <p:nvPr/>
          </p:nvSpPr>
          <p:spPr bwMode="gray">
            <a:xfrm>
              <a:off x="13447713"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78">
              <a:extLst>
                <a:ext uri="{FF2B5EF4-FFF2-40B4-BE49-F238E27FC236}">
                  <a16:creationId xmlns:a16="http://schemas.microsoft.com/office/drawing/2014/main" id="{BDDE44B7-D444-4EFE-A30C-E0FA554DEAAB}"/>
                </a:ext>
              </a:extLst>
            </p:cNvPr>
            <p:cNvSpPr>
              <a:spLocks/>
            </p:cNvSpPr>
            <p:nvPr/>
          </p:nvSpPr>
          <p:spPr bwMode="gray">
            <a:xfrm>
              <a:off x="13593763"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79">
              <a:extLst>
                <a:ext uri="{FF2B5EF4-FFF2-40B4-BE49-F238E27FC236}">
                  <a16:creationId xmlns:a16="http://schemas.microsoft.com/office/drawing/2014/main" id="{09438D4A-99B2-44FB-AFAF-1359AC309F49}"/>
                </a:ext>
              </a:extLst>
            </p:cNvPr>
            <p:cNvSpPr>
              <a:spLocks/>
            </p:cNvSpPr>
            <p:nvPr/>
          </p:nvSpPr>
          <p:spPr bwMode="gray">
            <a:xfrm>
              <a:off x="13739813"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80">
              <a:extLst>
                <a:ext uri="{FF2B5EF4-FFF2-40B4-BE49-F238E27FC236}">
                  <a16:creationId xmlns:a16="http://schemas.microsoft.com/office/drawing/2014/main" id="{92C8F2E5-DD65-44A1-B506-4AB57E7F0257}"/>
                </a:ext>
              </a:extLst>
            </p:cNvPr>
            <p:cNvSpPr>
              <a:spLocks/>
            </p:cNvSpPr>
            <p:nvPr/>
          </p:nvSpPr>
          <p:spPr bwMode="gray">
            <a:xfrm>
              <a:off x="13885863"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81">
              <a:extLst>
                <a:ext uri="{FF2B5EF4-FFF2-40B4-BE49-F238E27FC236}">
                  <a16:creationId xmlns:a16="http://schemas.microsoft.com/office/drawing/2014/main" id="{484616E3-39D6-4966-BD93-333F77EA2119}"/>
                </a:ext>
              </a:extLst>
            </p:cNvPr>
            <p:cNvSpPr>
              <a:spLocks/>
            </p:cNvSpPr>
            <p:nvPr/>
          </p:nvSpPr>
          <p:spPr bwMode="gray">
            <a:xfrm>
              <a:off x="14031913" y="3968750"/>
              <a:ext cx="117475" cy="119063"/>
            </a:xfrm>
            <a:custGeom>
              <a:avLst/>
              <a:gdLst>
                <a:gd name="T0" fmla="*/ 31 w 31"/>
                <a:gd name="T1" fmla="*/ 30 h 32"/>
                <a:gd name="T2" fmla="*/ 30 w 31"/>
                <a:gd name="T3" fmla="*/ 32 h 32"/>
                <a:gd name="T4" fmla="*/ 1 w 31"/>
                <a:gd name="T5" fmla="*/ 32 h 32"/>
                <a:gd name="T6" fmla="*/ 0 w 31"/>
                <a:gd name="T7" fmla="*/ 30 h 32"/>
                <a:gd name="T8" fmla="*/ 0 w 31"/>
                <a:gd name="T9" fmla="*/ 2 h 32"/>
                <a:gd name="T10" fmla="*/ 1 w 31"/>
                <a:gd name="T11" fmla="*/ 0 h 32"/>
                <a:gd name="T12" fmla="*/ 30 w 31"/>
                <a:gd name="T13" fmla="*/ 0 h 32"/>
                <a:gd name="T14" fmla="*/ 31 w 31"/>
                <a:gd name="T15" fmla="*/ 2 h 32"/>
                <a:gd name="T16" fmla="*/ 31 w 31"/>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31" y="30"/>
                  </a:moveTo>
                  <a:cubicBezTo>
                    <a:pt x="31" y="31"/>
                    <a:pt x="31" y="32"/>
                    <a:pt x="30" y="32"/>
                  </a:cubicBezTo>
                  <a:cubicBezTo>
                    <a:pt x="1" y="32"/>
                    <a:pt x="1" y="32"/>
                    <a:pt x="1" y="32"/>
                  </a:cubicBezTo>
                  <a:cubicBezTo>
                    <a:pt x="0" y="32"/>
                    <a:pt x="0" y="31"/>
                    <a:pt x="0" y="30"/>
                  </a:cubicBezTo>
                  <a:cubicBezTo>
                    <a:pt x="0" y="2"/>
                    <a:pt x="0" y="2"/>
                    <a:pt x="0" y="2"/>
                  </a:cubicBezTo>
                  <a:cubicBezTo>
                    <a:pt x="0" y="1"/>
                    <a:pt x="0" y="0"/>
                    <a:pt x="1" y="0"/>
                  </a:cubicBezTo>
                  <a:cubicBezTo>
                    <a:pt x="30" y="0"/>
                    <a:pt x="30" y="0"/>
                    <a:pt x="30" y="0"/>
                  </a:cubicBezTo>
                  <a:cubicBezTo>
                    <a:pt x="31" y="0"/>
                    <a:pt x="31" y="1"/>
                    <a:pt x="31" y="2"/>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82">
              <a:extLst>
                <a:ext uri="{FF2B5EF4-FFF2-40B4-BE49-F238E27FC236}">
                  <a16:creationId xmlns:a16="http://schemas.microsoft.com/office/drawing/2014/main" id="{0CF3258A-C4AB-4400-86BB-40E968471D18}"/>
                </a:ext>
              </a:extLst>
            </p:cNvPr>
            <p:cNvSpPr>
              <a:spLocks/>
            </p:cNvSpPr>
            <p:nvPr/>
          </p:nvSpPr>
          <p:spPr bwMode="gray">
            <a:xfrm>
              <a:off x="14174788" y="3968750"/>
              <a:ext cx="120650" cy="119063"/>
            </a:xfrm>
            <a:custGeom>
              <a:avLst/>
              <a:gdLst>
                <a:gd name="T0" fmla="*/ 32 w 32"/>
                <a:gd name="T1" fmla="*/ 30 h 32"/>
                <a:gd name="T2" fmla="*/ 31 w 32"/>
                <a:gd name="T3" fmla="*/ 32 h 32"/>
                <a:gd name="T4" fmla="*/ 2 w 32"/>
                <a:gd name="T5" fmla="*/ 32 h 32"/>
                <a:gd name="T6" fmla="*/ 0 w 32"/>
                <a:gd name="T7" fmla="*/ 30 h 32"/>
                <a:gd name="T8" fmla="*/ 0 w 32"/>
                <a:gd name="T9" fmla="*/ 2 h 32"/>
                <a:gd name="T10" fmla="*/ 2 w 32"/>
                <a:gd name="T11" fmla="*/ 0 h 32"/>
                <a:gd name="T12" fmla="*/ 31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2" y="32"/>
                    <a:pt x="31" y="32"/>
                  </a:cubicBezTo>
                  <a:cubicBezTo>
                    <a:pt x="2" y="32"/>
                    <a:pt x="2" y="32"/>
                    <a:pt x="2" y="32"/>
                  </a:cubicBezTo>
                  <a:cubicBezTo>
                    <a:pt x="1" y="32"/>
                    <a:pt x="0" y="31"/>
                    <a:pt x="0" y="30"/>
                  </a:cubicBezTo>
                  <a:cubicBezTo>
                    <a:pt x="0" y="2"/>
                    <a:pt x="0" y="2"/>
                    <a:pt x="0" y="2"/>
                  </a:cubicBezTo>
                  <a:cubicBezTo>
                    <a:pt x="0" y="1"/>
                    <a:pt x="1" y="0"/>
                    <a:pt x="2" y="0"/>
                  </a:cubicBezTo>
                  <a:cubicBezTo>
                    <a:pt x="31" y="0"/>
                    <a:pt x="31" y="0"/>
                    <a:pt x="31" y="0"/>
                  </a:cubicBezTo>
                  <a:cubicBezTo>
                    <a:pt x="32"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83">
              <a:extLst>
                <a:ext uri="{FF2B5EF4-FFF2-40B4-BE49-F238E27FC236}">
                  <a16:creationId xmlns:a16="http://schemas.microsoft.com/office/drawing/2014/main" id="{483A3750-8FAE-42DA-A965-C44FDB89F18D}"/>
                </a:ext>
              </a:extLst>
            </p:cNvPr>
            <p:cNvSpPr>
              <a:spLocks/>
            </p:cNvSpPr>
            <p:nvPr/>
          </p:nvSpPr>
          <p:spPr bwMode="gray">
            <a:xfrm>
              <a:off x="14320838"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84">
              <a:extLst>
                <a:ext uri="{FF2B5EF4-FFF2-40B4-BE49-F238E27FC236}">
                  <a16:creationId xmlns:a16="http://schemas.microsoft.com/office/drawing/2014/main" id="{117680B7-8E03-4761-A246-55938E7922E3}"/>
                </a:ext>
              </a:extLst>
            </p:cNvPr>
            <p:cNvSpPr>
              <a:spLocks/>
            </p:cNvSpPr>
            <p:nvPr/>
          </p:nvSpPr>
          <p:spPr bwMode="gray">
            <a:xfrm>
              <a:off x="14466888"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85">
              <a:extLst>
                <a:ext uri="{FF2B5EF4-FFF2-40B4-BE49-F238E27FC236}">
                  <a16:creationId xmlns:a16="http://schemas.microsoft.com/office/drawing/2014/main" id="{0EBA7DD8-043A-49C7-AF99-F316D2984795}"/>
                </a:ext>
              </a:extLst>
            </p:cNvPr>
            <p:cNvSpPr>
              <a:spLocks/>
            </p:cNvSpPr>
            <p:nvPr/>
          </p:nvSpPr>
          <p:spPr bwMode="gray">
            <a:xfrm>
              <a:off x="14612938"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86">
              <a:extLst>
                <a:ext uri="{FF2B5EF4-FFF2-40B4-BE49-F238E27FC236}">
                  <a16:creationId xmlns:a16="http://schemas.microsoft.com/office/drawing/2014/main" id="{C0D0A3CB-4654-49A9-9C09-689AE990C5D9}"/>
                </a:ext>
              </a:extLst>
            </p:cNvPr>
            <p:cNvSpPr>
              <a:spLocks/>
            </p:cNvSpPr>
            <p:nvPr/>
          </p:nvSpPr>
          <p:spPr bwMode="gray">
            <a:xfrm>
              <a:off x="14758988"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87">
              <a:extLst>
                <a:ext uri="{FF2B5EF4-FFF2-40B4-BE49-F238E27FC236}">
                  <a16:creationId xmlns:a16="http://schemas.microsoft.com/office/drawing/2014/main" id="{538DE137-61D2-488F-9466-AFD20A122929}"/>
                </a:ext>
              </a:extLst>
            </p:cNvPr>
            <p:cNvSpPr>
              <a:spLocks/>
            </p:cNvSpPr>
            <p:nvPr/>
          </p:nvSpPr>
          <p:spPr bwMode="gray">
            <a:xfrm>
              <a:off x="13268325"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88">
              <a:extLst>
                <a:ext uri="{FF2B5EF4-FFF2-40B4-BE49-F238E27FC236}">
                  <a16:creationId xmlns:a16="http://schemas.microsoft.com/office/drawing/2014/main" id="{F269E066-5105-4774-8E1A-E21EAE11CEE0}"/>
                </a:ext>
              </a:extLst>
            </p:cNvPr>
            <p:cNvSpPr>
              <a:spLocks/>
            </p:cNvSpPr>
            <p:nvPr/>
          </p:nvSpPr>
          <p:spPr bwMode="gray">
            <a:xfrm>
              <a:off x="13414375"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89">
              <a:extLst>
                <a:ext uri="{FF2B5EF4-FFF2-40B4-BE49-F238E27FC236}">
                  <a16:creationId xmlns:a16="http://schemas.microsoft.com/office/drawing/2014/main" id="{9F8E4B37-36B9-42F6-BDAB-89BC118A71B3}"/>
                </a:ext>
              </a:extLst>
            </p:cNvPr>
            <p:cNvSpPr>
              <a:spLocks/>
            </p:cNvSpPr>
            <p:nvPr/>
          </p:nvSpPr>
          <p:spPr bwMode="gray">
            <a:xfrm>
              <a:off x="13560425"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90">
              <a:extLst>
                <a:ext uri="{FF2B5EF4-FFF2-40B4-BE49-F238E27FC236}">
                  <a16:creationId xmlns:a16="http://schemas.microsoft.com/office/drawing/2014/main" id="{87FEFD72-8F2F-49C4-A085-B306DFF4E575}"/>
                </a:ext>
              </a:extLst>
            </p:cNvPr>
            <p:cNvSpPr>
              <a:spLocks/>
            </p:cNvSpPr>
            <p:nvPr/>
          </p:nvSpPr>
          <p:spPr bwMode="gray">
            <a:xfrm>
              <a:off x="13706475" y="3822700"/>
              <a:ext cx="115888" cy="119063"/>
            </a:xfrm>
            <a:custGeom>
              <a:avLst/>
              <a:gdLst>
                <a:gd name="T0" fmla="*/ 31 w 31"/>
                <a:gd name="T1" fmla="*/ 30 h 32"/>
                <a:gd name="T2" fmla="*/ 30 w 31"/>
                <a:gd name="T3" fmla="*/ 32 h 32"/>
                <a:gd name="T4" fmla="*/ 1 w 31"/>
                <a:gd name="T5" fmla="*/ 32 h 32"/>
                <a:gd name="T6" fmla="*/ 0 w 31"/>
                <a:gd name="T7" fmla="*/ 30 h 32"/>
                <a:gd name="T8" fmla="*/ 0 w 31"/>
                <a:gd name="T9" fmla="*/ 2 h 32"/>
                <a:gd name="T10" fmla="*/ 1 w 31"/>
                <a:gd name="T11" fmla="*/ 0 h 32"/>
                <a:gd name="T12" fmla="*/ 30 w 31"/>
                <a:gd name="T13" fmla="*/ 0 h 32"/>
                <a:gd name="T14" fmla="*/ 31 w 31"/>
                <a:gd name="T15" fmla="*/ 2 h 32"/>
                <a:gd name="T16" fmla="*/ 31 w 31"/>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31" y="30"/>
                  </a:moveTo>
                  <a:cubicBezTo>
                    <a:pt x="31" y="31"/>
                    <a:pt x="31" y="32"/>
                    <a:pt x="30" y="32"/>
                  </a:cubicBezTo>
                  <a:cubicBezTo>
                    <a:pt x="1" y="32"/>
                    <a:pt x="1" y="32"/>
                    <a:pt x="1" y="32"/>
                  </a:cubicBezTo>
                  <a:cubicBezTo>
                    <a:pt x="0" y="32"/>
                    <a:pt x="0" y="31"/>
                    <a:pt x="0" y="30"/>
                  </a:cubicBezTo>
                  <a:cubicBezTo>
                    <a:pt x="0" y="2"/>
                    <a:pt x="0" y="2"/>
                    <a:pt x="0" y="2"/>
                  </a:cubicBezTo>
                  <a:cubicBezTo>
                    <a:pt x="0" y="1"/>
                    <a:pt x="0" y="0"/>
                    <a:pt x="1" y="0"/>
                  </a:cubicBezTo>
                  <a:cubicBezTo>
                    <a:pt x="30" y="0"/>
                    <a:pt x="30" y="0"/>
                    <a:pt x="30" y="0"/>
                  </a:cubicBezTo>
                  <a:cubicBezTo>
                    <a:pt x="31" y="0"/>
                    <a:pt x="31" y="1"/>
                    <a:pt x="31" y="2"/>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91">
              <a:extLst>
                <a:ext uri="{FF2B5EF4-FFF2-40B4-BE49-F238E27FC236}">
                  <a16:creationId xmlns:a16="http://schemas.microsoft.com/office/drawing/2014/main" id="{B8DCDB65-7E74-4FC7-9174-0AE2A47FFAA3}"/>
                </a:ext>
              </a:extLst>
            </p:cNvPr>
            <p:cNvSpPr>
              <a:spLocks/>
            </p:cNvSpPr>
            <p:nvPr/>
          </p:nvSpPr>
          <p:spPr bwMode="gray">
            <a:xfrm>
              <a:off x="13849350" y="3822700"/>
              <a:ext cx="119063" cy="119063"/>
            </a:xfrm>
            <a:custGeom>
              <a:avLst/>
              <a:gdLst>
                <a:gd name="T0" fmla="*/ 32 w 32"/>
                <a:gd name="T1" fmla="*/ 30 h 32"/>
                <a:gd name="T2" fmla="*/ 31 w 32"/>
                <a:gd name="T3" fmla="*/ 32 h 32"/>
                <a:gd name="T4" fmla="*/ 2 w 32"/>
                <a:gd name="T5" fmla="*/ 32 h 32"/>
                <a:gd name="T6" fmla="*/ 0 w 32"/>
                <a:gd name="T7" fmla="*/ 30 h 32"/>
                <a:gd name="T8" fmla="*/ 0 w 32"/>
                <a:gd name="T9" fmla="*/ 2 h 32"/>
                <a:gd name="T10" fmla="*/ 2 w 32"/>
                <a:gd name="T11" fmla="*/ 0 h 32"/>
                <a:gd name="T12" fmla="*/ 31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2" y="32"/>
                    <a:pt x="31" y="32"/>
                  </a:cubicBezTo>
                  <a:cubicBezTo>
                    <a:pt x="2" y="32"/>
                    <a:pt x="2" y="32"/>
                    <a:pt x="2" y="32"/>
                  </a:cubicBezTo>
                  <a:cubicBezTo>
                    <a:pt x="1" y="32"/>
                    <a:pt x="0" y="31"/>
                    <a:pt x="0" y="30"/>
                  </a:cubicBezTo>
                  <a:cubicBezTo>
                    <a:pt x="0" y="2"/>
                    <a:pt x="0" y="2"/>
                    <a:pt x="0" y="2"/>
                  </a:cubicBezTo>
                  <a:cubicBezTo>
                    <a:pt x="0" y="1"/>
                    <a:pt x="1" y="0"/>
                    <a:pt x="2" y="0"/>
                  </a:cubicBezTo>
                  <a:cubicBezTo>
                    <a:pt x="31" y="0"/>
                    <a:pt x="31" y="0"/>
                    <a:pt x="31" y="0"/>
                  </a:cubicBezTo>
                  <a:cubicBezTo>
                    <a:pt x="32"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92">
              <a:extLst>
                <a:ext uri="{FF2B5EF4-FFF2-40B4-BE49-F238E27FC236}">
                  <a16:creationId xmlns:a16="http://schemas.microsoft.com/office/drawing/2014/main" id="{22C821B6-5FE5-46DB-9508-7B4169F561E2}"/>
                </a:ext>
              </a:extLst>
            </p:cNvPr>
            <p:cNvSpPr>
              <a:spLocks/>
            </p:cNvSpPr>
            <p:nvPr/>
          </p:nvSpPr>
          <p:spPr bwMode="gray">
            <a:xfrm>
              <a:off x="13995400"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93">
              <a:extLst>
                <a:ext uri="{FF2B5EF4-FFF2-40B4-BE49-F238E27FC236}">
                  <a16:creationId xmlns:a16="http://schemas.microsoft.com/office/drawing/2014/main" id="{EBD399A3-E775-4662-AB30-451D7B4FE234}"/>
                </a:ext>
              </a:extLst>
            </p:cNvPr>
            <p:cNvSpPr>
              <a:spLocks/>
            </p:cNvSpPr>
            <p:nvPr/>
          </p:nvSpPr>
          <p:spPr bwMode="gray">
            <a:xfrm>
              <a:off x="14141450"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94">
              <a:extLst>
                <a:ext uri="{FF2B5EF4-FFF2-40B4-BE49-F238E27FC236}">
                  <a16:creationId xmlns:a16="http://schemas.microsoft.com/office/drawing/2014/main" id="{CD334C89-FCA2-44F8-B694-340B385BE8E6}"/>
                </a:ext>
              </a:extLst>
            </p:cNvPr>
            <p:cNvSpPr>
              <a:spLocks/>
            </p:cNvSpPr>
            <p:nvPr/>
          </p:nvSpPr>
          <p:spPr bwMode="gray">
            <a:xfrm>
              <a:off x="14287500"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95">
              <a:extLst>
                <a:ext uri="{FF2B5EF4-FFF2-40B4-BE49-F238E27FC236}">
                  <a16:creationId xmlns:a16="http://schemas.microsoft.com/office/drawing/2014/main" id="{067DA7C0-72C4-4706-B448-6EE31C6EE3DD}"/>
                </a:ext>
              </a:extLst>
            </p:cNvPr>
            <p:cNvSpPr>
              <a:spLocks/>
            </p:cNvSpPr>
            <p:nvPr/>
          </p:nvSpPr>
          <p:spPr bwMode="gray">
            <a:xfrm>
              <a:off x="14433550" y="38227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96">
              <a:extLst>
                <a:ext uri="{FF2B5EF4-FFF2-40B4-BE49-F238E27FC236}">
                  <a16:creationId xmlns:a16="http://schemas.microsoft.com/office/drawing/2014/main" id="{9FF750EB-A8EF-4572-AD93-DEB0F6500DA1}"/>
                </a:ext>
              </a:extLst>
            </p:cNvPr>
            <p:cNvSpPr>
              <a:spLocks/>
            </p:cNvSpPr>
            <p:nvPr/>
          </p:nvSpPr>
          <p:spPr bwMode="gray">
            <a:xfrm>
              <a:off x="14579600" y="38227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97">
              <a:extLst>
                <a:ext uri="{FF2B5EF4-FFF2-40B4-BE49-F238E27FC236}">
                  <a16:creationId xmlns:a16="http://schemas.microsoft.com/office/drawing/2014/main" id="{BB066AE7-EC52-4D20-AD13-6903728BCA10}"/>
                </a:ext>
              </a:extLst>
            </p:cNvPr>
            <p:cNvSpPr>
              <a:spLocks/>
            </p:cNvSpPr>
            <p:nvPr/>
          </p:nvSpPr>
          <p:spPr bwMode="gray">
            <a:xfrm>
              <a:off x="14725650" y="38227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98">
              <a:extLst>
                <a:ext uri="{FF2B5EF4-FFF2-40B4-BE49-F238E27FC236}">
                  <a16:creationId xmlns:a16="http://schemas.microsoft.com/office/drawing/2014/main" id="{BCBB439C-E71C-4E8D-A0EB-6DDD0D6FBB2B}"/>
                </a:ext>
              </a:extLst>
            </p:cNvPr>
            <p:cNvSpPr>
              <a:spLocks/>
            </p:cNvSpPr>
            <p:nvPr/>
          </p:nvSpPr>
          <p:spPr bwMode="gray">
            <a:xfrm>
              <a:off x="12900025" y="3822700"/>
              <a:ext cx="195263" cy="119063"/>
            </a:xfrm>
            <a:custGeom>
              <a:avLst/>
              <a:gdLst>
                <a:gd name="T0" fmla="*/ 52 w 52"/>
                <a:gd name="T1" fmla="*/ 30 h 32"/>
                <a:gd name="T2" fmla="*/ 50 w 52"/>
                <a:gd name="T3" fmla="*/ 32 h 32"/>
                <a:gd name="T4" fmla="*/ 2 w 52"/>
                <a:gd name="T5" fmla="*/ 32 h 32"/>
                <a:gd name="T6" fmla="*/ 0 w 52"/>
                <a:gd name="T7" fmla="*/ 30 h 32"/>
                <a:gd name="T8" fmla="*/ 0 w 52"/>
                <a:gd name="T9" fmla="*/ 2 h 32"/>
                <a:gd name="T10" fmla="*/ 2 w 52"/>
                <a:gd name="T11" fmla="*/ 0 h 32"/>
                <a:gd name="T12" fmla="*/ 50 w 52"/>
                <a:gd name="T13" fmla="*/ 0 h 32"/>
                <a:gd name="T14" fmla="*/ 52 w 52"/>
                <a:gd name="T15" fmla="*/ 2 h 32"/>
                <a:gd name="T16" fmla="*/ 52 w 5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32">
                  <a:moveTo>
                    <a:pt x="52" y="30"/>
                  </a:moveTo>
                  <a:cubicBezTo>
                    <a:pt x="52" y="31"/>
                    <a:pt x="51" y="32"/>
                    <a:pt x="50" y="32"/>
                  </a:cubicBezTo>
                  <a:cubicBezTo>
                    <a:pt x="2" y="32"/>
                    <a:pt x="2" y="32"/>
                    <a:pt x="2" y="32"/>
                  </a:cubicBezTo>
                  <a:cubicBezTo>
                    <a:pt x="1" y="32"/>
                    <a:pt x="0" y="31"/>
                    <a:pt x="0" y="30"/>
                  </a:cubicBezTo>
                  <a:cubicBezTo>
                    <a:pt x="0" y="2"/>
                    <a:pt x="0" y="2"/>
                    <a:pt x="0" y="2"/>
                  </a:cubicBezTo>
                  <a:cubicBezTo>
                    <a:pt x="0" y="1"/>
                    <a:pt x="1" y="0"/>
                    <a:pt x="2" y="0"/>
                  </a:cubicBezTo>
                  <a:cubicBezTo>
                    <a:pt x="50" y="0"/>
                    <a:pt x="50" y="0"/>
                    <a:pt x="50" y="0"/>
                  </a:cubicBezTo>
                  <a:cubicBezTo>
                    <a:pt x="51" y="0"/>
                    <a:pt x="52" y="1"/>
                    <a:pt x="52" y="2"/>
                  </a:cubicBezTo>
                  <a:lnTo>
                    <a:pt x="5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99">
              <a:extLst>
                <a:ext uri="{FF2B5EF4-FFF2-40B4-BE49-F238E27FC236}">
                  <a16:creationId xmlns:a16="http://schemas.microsoft.com/office/drawing/2014/main" id="{55C4CA3F-041C-4715-AC22-677DE6E4EA0A}"/>
                </a:ext>
              </a:extLst>
            </p:cNvPr>
            <p:cNvSpPr>
              <a:spLocks/>
            </p:cNvSpPr>
            <p:nvPr/>
          </p:nvSpPr>
          <p:spPr bwMode="gray">
            <a:xfrm>
              <a:off x="14797088" y="3676650"/>
              <a:ext cx="195263" cy="119063"/>
            </a:xfrm>
            <a:custGeom>
              <a:avLst/>
              <a:gdLst>
                <a:gd name="T0" fmla="*/ 52 w 52"/>
                <a:gd name="T1" fmla="*/ 30 h 32"/>
                <a:gd name="T2" fmla="*/ 50 w 52"/>
                <a:gd name="T3" fmla="*/ 32 h 32"/>
                <a:gd name="T4" fmla="*/ 2 w 52"/>
                <a:gd name="T5" fmla="*/ 32 h 32"/>
                <a:gd name="T6" fmla="*/ 0 w 52"/>
                <a:gd name="T7" fmla="*/ 30 h 32"/>
                <a:gd name="T8" fmla="*/ 0 w 52"/>
                <a:gd name="T9" fmla="*/ 2 h 32"/>
                <a:gd name="T10" fmla="*/ 2 w 52"/>
                <a:gd name="T11" fmla="*/ 0 h 32"/>
                <a:gd name="T12" fmla="*/ 50 w 52"/>
                <a:gd name="T13" fmla="*/ 0 h 32"/>
                <a:gd name="T14" fmla="*/ 52 w 52"/>
                <a:gd name="T15" fmla="*/ 2 h 32"/>
                <a:gd name="T16" fmla="*/ 52 w 5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32">
                  <a:moveTo>
                    <a:pt x="52" y="30"/>
                  </a:moveTo>
                  <a:cubicBezTo>
                    <a:pt x="52" y="31"/>
                    <a:pt x="51" y="32"/>
                    <a:pt x="50" y="32"/>
                  </a:cubicBezTo>
                  <a:cubicBezTo>
                    <a:pt x="2" y="32"/>
                    <a:pt x="2" y="32"/>
                    <a:pt x="2" y="32"/>
                  </a:cubicBezTo>
                  <a:cubicBezTo>
                    <a:pt x="1" y="32"/>
                    <a:pt x="0" y="31"/>
                    <a:pt x="0" y="30"/>
                  </a:cubicBezTo>
                  <a:cubicBezTo>
                    <a:pt x="0" y="2"/>
                    <a:pt x="0" y="2"/>
                    <a:pt x="0" y="2"/>
                  </a:cubicBezTo>
                  <a:cubicBezTo>
                    <a:pt x="0" y="1"/>
                    <a:pt x="1" y="0"/>
                    <a:pt x="2" y="0"/>
                  </a:cubicBezTo>
                  <a:cubicBezTo>
                    <a:pt x="50" y="0"/>
                    <a:pt x="50" y="0"/>
                    <a:pt x="50" y="0"/>
                  </a:cubicBezTo>
                  <a:cubicBezTo>
                    <a:pt x="51" y="0"/>
                    <a:pt x="52" y="1"/>
                    <a:pt x="52" y="2"/>
                  </a:cubicBezTo>
                  <a:lnTo>
                    <a:pt x="5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00">
              <a:extLst>
                <a:ext uri="{FF2B5EF4-FFF2-40B4-BE49-F238E27FC236}">
                  <a16:creationId xmlns:a16="http://schemas.microsoft.com/office/drawing/2014/main" id="{3DB15410-586B-4EE8-9225-46DBEF468A85}"/>
                </a:ext>
              </a:extLst>
            </p:cNvPr>
            <p:cNvSpPr>
              <a:spLocks/>
            </p:cNvSpPr>
            <p:nvPr/>
          </p:nvSpPr>
          <p:spPr bwMode="gray">
            <a:xfrm>
              <a:off x="12900025" y="3968750"/>
              <a:ext cx="228600" cy="119063"/>
            </a:xfrm>
            <a:custGeom>
              <a:avLst/>
              <a:gdLst>
                <a:gd name="T0" fmla="*/ 61 w 61"/>
                <a:gd name="T1" fmla="*/ 30 h 32"/>
                <a:gd name="T2" fmla="*/ 59 w 61"/>
                <a:gd name="T3" fmla="*/ 32 h 32"/>
                <a:gd name="T4" fmla="*/ 2 w 61"/>
                <a:gd name="T5" fmla="*/ 32 h 32"/>
                <a:gd name="T6" fmla="*/ 0 w 61"/>
                <a:gd name="T7" fmla="*/ 30 h 32"/>
                <a:gd name="T8" fmla="*/ 0 w 61"/>
                <a:gd name="T9" fmla="*/ 2 h 32"/>
                <a:gd name="T10" fmla="*/ 2 w 61"/>
                <a:gd name="T11" fmla="*/ 0 h 32"/>
                <a:gd name="T12" fmla="*/ 59 w 61"/>
                <a:gd name="T13" fmla="*/ 0 h 32"/>
                <a:gd name="T14" fmla="*/ 61 w 61"/>
                <a:gd name="T15" fmla="*/ 2 h 32"/>
                <a:gd name="T16" fmla="*/ 61 w 61"/>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32">
                  <a:moveTo>
                    <a:pt x="61" y="30"/>
                  </a:moveTo>
                  <a:cubicBezTo>
                    <a:pt x="61" y="31"/>
                    <a:pt x="60" y="32"/>
                    <a:pt x="59" y="32"/>
                  </a:cubicBezTo>
                  <a:cubicBezTo>
                    <a:pt x="2" y="32"/>
                    <a:pt x="2" y="32"/>
                    <a:pt x="2" y="32"/>
                  </a:cubicBezTo>
                  <a:cubicBezTo>
                    <a:pt x="1" y="32"/>
                    <a:pt x="0" y="31"/>
                    <a:pt x="0" y="30"/>
                  </a:cubicBezTo>
                  <a:cubicBezTo>
                    <a:pt x="0" y="2"/>
                    <a:pt x="0" y="2"/>
                    <a:pt x="0" y="2"/>
                  </a:cubicBezTo>
                  <a:cubicBezTo>
                    <a:pt x="0" y="1"/>
                    <a:pt x="1" y="0"/>
                    <a:pt x="2" y="0"/>
                  </a:cubicBezTo>
                  <a:cubicBezTo>
                    <a:pt x="59" y="0"/>
                    <a:pt x="59" y="0"/>
                    <a:pt x="59" y="0"/>
                  </a:cubicBezTo>
                  <a:cubicBezTo>
                    <a:pt x="60" y="0"/>
                    <a:pt x="61" y="1"/>
                    <a:pt x="61" y="2"/>
                  </a:cubicBezTo>
                  <a:lnTo>
                    <a:pt x="6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01">
              <a:extLst>
                <a:ext uri="{FF2B5EF4-FFF2-40B4-BE49-F238E27FC236}">
                  <a16:creationId xmlns:a16="http://schemas.microsoft.com/office/drawing/2014/main" id="{7AF9E27F-345D-4713-BA00-F0FBF380B255}"/>
                </a:ext>
              </a:extLst>
            </p:cNvPr>
            <p:cNvSpPr>
              <a:spLocks/>
            </p:cNvSpPr>
            <p:nvPr/>
          </p:nvSpPr>
          <p:spPr bwMode="gray">
            <a:xfrm>
              <a:off x="12900025" y="4114800"/>
              <a:ext cx="157163" cy="119063"/>
            </a:xfrm>
            <a:custGeom>
              <a:avLst/>
              <a:gdLst>
                <a:gd name="T0" fmla="*/ 42 w 42"/>
                <a:gd name="T1" fmla="*/ 30 h 32"/>
                <a:gd name="T2" fmla="*/ 40 w 42"/>
                <a:gd name="T3" fmla="*/ 32 h 32"/>
                <a:gd name="T4" fmla="*/ 2 w 42"/>
                <a:gd name="T5" fmla="*/ 32 h 32"/>
                <a:gd name="T6" fmla="*/ 0 w 42"/>
                <a:gd name="T7" fmla="*/ 30 h 32"/>
                <a:gd name="T8" fmla="*/ 0 w 42"/>
                <a:gd name="T9" fmla="*/ 2 h 32"/>
                <a:gd name="T10" fmla="*/ 2 w 42"/>
                <a:gd name="T11" fmla="*/ 0 h 32"/>
                <a:gd name="T12" fmla="*/ 40 w 42"/>
                <a:gd name="T13" fmla="*/ 0 h 32"/>
                <a:gd name="T14" fmla="*/ 42 w 42"/>
                <a:gd name="T15" fmla="*/ 2 h 32"/>
                <a:gd name="T16" fmla="*/ 42 w 4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2">
                  <a:moveTo>
                    <a:pt x="42" y="30"/>
                  </a:moveTo>
                  <a:cubicBezTo>
                    <a:pt x="42" y="31"/>
                    <a:pt x="41" y="32"/>
                    <a:pt x="40" y="32"/>
                  </a:cubicBezTo>
                  <a:cubicBezTo>
                    <a:pt x="2" y="32"/>
                    <a:pt x="2" y="32"/>
                    <a:pt x="2" y="32"/>
                  </a:cubicBezTo>
                  <a:cubicBezTo>
                    <a:pt x="1" y="32"/>
                    <a:pt x="0" y="31"/>
                    <a:pt x="0" y="30"/>
                  </a:cubicBezTo>
                  <a:cubicBezTo>
                    <a:pt x="0" y="2"/>
                    <a:pt x="0" y="2"/>
                    <a:pt x="0" y="2"/>
                  </a:cubicBezTo>
                  <a:cubicBezTo>
                    <a:pt x="0" y="1"/>
                    <a:pt x="1" y="0"/>
                    <a:pt x="2" y="0"/>
                  </a:cubicBezTo>
                  <a:cubicBezTo>
                    <a:pt x="40" y="0"/>
                    <a:pt x="40" y="0"/>
                    <a:pt x="40" y="0"/>
                  </a:cubicBezTo>
                  <a:cubicBezTo>
                    <a:pt x="41" y="0"/>
                    <a:pt x="42" y="1"/>
                    <a:pt x="42" y="2"/>
                  </a:cubicBezTo>
                  <a:lnTo>
                    <a:pt x="4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102">
              <a:extLst>
                <a:ext uri="{FF2B5EF4-FFF2-40B4-BE49-F238E27FC236}">
                  <a16:creationId xmlns:a16="http://schemas.microsoft.com/office/drawing/2014/main" id="{E516005D-8A86-4ABC-9C73-408A0DBABA2C}"/>
                </a:ext>
              </a:extLst>
            </p:cNvPr>
            <p:cNvSpPr>
              <a:spLocks/>
            </p:cNvSpPr>
            <p:nvPr/>
          </p:nvSpPr>
          <p:spPr bwMode="gray">
            <a:xfrm>
              <a:off x="13046075" y="36766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103">
              <a:extLst>
                <a:ext uri="{FF2B5EF4-FFF2-40B4-BE49-F238E27FC236}">
                  <a16:creationId xmlns:a16="http://schemas.microsoft.com/office/drawing/2014/main" id="{35F5A661-6BCD-4261-AD52-8B251E46ABC7}"/>
                </a:ext>
              </a:extLst>
            </p:cNvPr>
            <p:cNvSpPr>
              <a:spLocks/>
            </p:cNvSpPr>
            <p:nvPr/>
          </p:nvSpPr>
          <p:spPr bwMode="gray">
            <a:xfrm>
              <a:off x="13192125" y="36766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04">
              <a:extLst>
                <a:ext uri="{FF2B5EF4-FFF2-40B4-BE49-F238E27FC236}">
                  <a16:creationId xmlns:a16="http://schemas.microsoft.com/office/drawing/2014/main" id="{0B6D3DEE-F7C8-4CB8-B923-FEF4FBC13AA5}"/>
                </a:ext>
              </a:extLst>
            </p:cNvPr>
            <p:cNvSpPr>
              <a:spLocks/>
            </p:cNvSpPr>
            <p:nvPr/>
          </p:nvSpPr>
          <p:spPr bwMode="gray">
            <a:xfrm>
              <a:off x="13339763"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05">
              <a:extLst>
                <a:ext uri="{FF2B5EF4-FFF2-40B4-BE49-F238E27FC236}">
                  <a16:creationId xmlns:a16="http://schemas.microsoft.com/office/drawing/2014/main" id="{814FB896-73B6-4CCE-9648-9EE983D8792D}"/>
                </a:ext>
              </a:extLst>
            </p:cNvPr>
            <p:cNvSpPr>
              <a:spLocks/>
            </p:cNvSpPr>
            <p:nvPr/>
          </p:nvSpPr>
          <p:spPr bwMode="gray">
            <a:xfrm>
              <a:off x="13485813"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06">
              <a:extLst>
                <a:ext uri="{FF2B5EF4-FFF2-40B4-BE49-F238E27FC236}">
                  <a16:creationId xmlns:a16="http://schemas.microsoft.com/office/drawing/2014/main" id="{26B8E305-5D02-4511-9D6B-F2EFF60A90DA}"/>
                </a:ext>
              </a:extLst>
            </p:cNvPr>
            <p:cNvSpPr>
              <a:spLocks/>
            </p:cNvSpPr>
            <p:nvPr/>
          </p:nvSpPr>
          <p:spPr bwMode="gray">
            <a:xfrm>
              <a:off x="13631863"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07">
              <a:extLst>
                <a:ext uri="{FF2B5EF4-FFF2-40B4-BE49-F238E27FC236}">
                  <a16:creationId xmlns:a16="http://schemas.microsoft.com/office/drawing/2014/main" id="{DB117E29-EE2C-4EB3-8D5D-74AD77969C35}"/>
                </a:ext>
              </a:extLst>
            </p:cNvPr>
            <p:cNvSpPr>
              <a:spLocks/>
            </p:cNvSpPr>
            <p:nvPr/>
          </p:nvSpPr>
          <p:spPr bwMode="gray">
            <a:xfrm>
              <a:off x="13777913"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108">
              <a:extLst>
                <a:ext uri="{FF2B5EF4-FFF2-40B4-BE49-F238E27FC236}">
                  <a16:creationId xmlns:a16="http://schemas.microsoft.com/office/drawing/2014/main" id="{9954B4B0-0E7F-4927-90DA-C1E4F2E7695F}"/>
                </a:ext>
              </a:extLst>
            </p:cNvPr>
            <p:cNvSpPr>
              <a:spLocks/>
            </p:cNvSpPr>
            <p:nvPr/>
          </p:nvSpPr>
          <p:spPr bwMode="gray">
            <a:xfrm>
              <a:off x="13923963"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109">
              <a:extLst>
                <a:ext uri="{FF2B5EF4-FFF2-40B4-BE49-F238E27FC236}">
                  <a16:creationId xmlns:a16="http://schemas.microsoft.com/office/drawing/2014/main" id="{DD87FC58-B0BB-406E-AE14-26C888BA0605}"/>
                </a:ext>
              </a:extLst>
            </p:cNvPr>
            <p:cNvSpPr>
              <a:spLocks/>
            </p:cNvSpPr>
            <p:nvPr/>
          </p:nvSpPr>
          <p:spPr bwMode="gray">
            <a:xfrm>
              <a:off x="14070013" y="3676650"/>
              <a:ext cx="119063" cy="119063"/>
            </a:xfrm>
            <a:custGeom>
              <a:avLst/>
              <a:gdLst>
                <a:gd name="T0" fmla="*/ 32 w 32"/>
                <a:gd name="T1" fmla="*/ 30 h 32"/>
                <a:gd name="T2" fmla="*/ 30 w 32"/>
                <a:gd name="T3" fmla="*/ 32 h 32"/>
                <a:gd name="T4" fmla="*/ 1 w 32"/>
                <a:gd name="T5" fmla="*/ 32 h 32"/>
                <a:gd name="T6" fmla="*/ 0 w 32"/>
                <a:gd name="T7" fmla="*/ 30 h 32"/>
                <a:gd name="T8" fmla="*/ 0 w 32"/>
                <a:gd name="T9" fmla="*/ 2 h 32"/>
                <a:gd name="T10" fmla="*/ 1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1" y="32"/>
                    <a:pt x="1" y="32"/>
                    <a:pt x="1" y="32"/>
                  </a:cubicBezTo>
                  <a:cubicBezTo>
                    <a:pt x="0" y="32"/>
                    <a:pt x="0" y="31"/>
                    <a:pt x="0" y="30"/>
                  </a:cubicBezTo>
                  <a:cubicBezTo>
                    <a:pt x="0" y="2"/>
                    <a:pt x="0" y="2"/>
                    <a:pt x="0" y="2"/>
                  </a:cubicBezTo>
                  <a:cubicBezTo>
                    <a:pt x="0" y="1"/>
                    <a:pt x="0" y="0"/>
                    <a:pt x="1"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110">
              <a:extLst>
                <a:ext uri="{FF2B5EF4-FFF2-40B4-BE49-F238E27FC236}">
                  <a16:creationId xmlns:a16="http://schemas.microsoft.com/office/drawing/2014/main" id="{EA03D8B4-56E0-4B7B-98E8-8349FFC65FA1}"/>
                </a:ext>
              </a:extLst>
            </p:cNvPr>
            <p:cNvSpPr>
              <a:spLocks/>
            </p:cNvSpPr>
            <p:nvPr/>
          </p:nvSpPr>
          <p:spPr bwMode="gray">
            <a:xfrm>
              <a:off x="14212888" y="3676650"/>
              <a:ext cx="119063" cy="119063"/>
            </a:xfrm>
            <a:custGeom>
              <a:avLst/>
              <a:gdLst>
                <a:gd name="T0" fmla="*/ 32 w 32"/>
                <a:gd name="T1" fmla="*/ 30 h 32"/>
                <a:gd name="T2" fmla="*/ 31 w 32"/>
                <a:gd name="T3" fmla="*/ 32 h 32"/>
                <a:gd name="T4" fmla="*/ 2 w 32"/>
                <a:gd name="T5" fmla="*/ 32 h 32"/>
                <a:gd name="T6" fmla="*/ 0 w 32"/>
                <a:gd name="T7" fmla="*/ 30 h 32"/>
                <a:gd name="T8" fmla="*/ 0 w 32"/>
                <a:gd name="T9" fmla="*/ 2 h 32"/>
                <a:gd name="T10" fmla="*/ 2 w 32"/>
                <a:gd name="T11" fmla="*/ 0 h 32"/>
                <a:gd name="T12" fmla="*/ 31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2" y="32"/>
                    <a:pt x="31" y="32"/>
                  </a:cubicBezTo>
                  <a:cubicBezTo>
                    <a:pt x="2" y="32"/>
                    <a:pt x="2" y="32"/>
                    <a:pt x="2" y="32"/>
                  </a:cubicBezTo>
                  <a:cubicBezTo>
                    <a:pt x="1" y="32"/>
                    <a:pt x="0" y="31"/>
                    <a:pt x="0" y="30"/>
                  </a:cubicBezTo>
                  <a:cubicBezTo>
                    <a:pt x="0" y="2"/>
                    <a:pt x="0" y="2"/>
                    <a:pt x="0" y="2"/>
                  </a:cubicBezTo>
                  <a:cubicBezTo>
                    <a:pt x="0" y="1"/>
                    <a:pt x="1" y="0"/>
                    <a:pt x="2" y="0"/>
                  </a:cubicBezTo>
                  <a:cubicBezTo>
                    <a:pt x="31" y="0"/>
                    <a:pt x="31" y="0"/>
                    <a:pt x="31" y="0"/>
                  </a:cubicBezTo>
                  <a:cubicBezTo>
                    <a:pt x="32"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111">
              <a:extLst>
                <a:ext uri="{FF2B5EF4-FFF2-40B4-BE49-F238E27FC236}">
                  <a16:creationId xmlns:a16="http://schemas.microsoft.com/office/drawing/2014/main" id="{201A881A-E8C9-413B-B04A-2A35D4A64C3D}"/>
                </a:ext>
              </a:extLst>
            </p:cNvPr>
            <p:cNvSpPr>
              <a:spLocks/>
            </p:cNvSpPr>
            <p:nvPr/>
          </p:nvSpPr>
          <p:spPr bwMode="gray">
            <a:xfrm>
              <a:off x="14358938"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112">
              <a:extLst>
                <a:ext uri="{FF2B5EF4-FFF2-40B4-BE49-F238E27FC236}">
                  <a16:creationId xmlns:a16="http://schemas.microsoft.com/office/drawing/2014/main" id="{F77E7C93-7A75-4882-A70D-E7FA5246DB4E}"/>
                </a:ext>
              </a:extLst>
            </p:cNvPr>
            <p:cNvSpPr>
              <a:spLocks/>
            </p:cNvSpPr>
            <p:nvPr/>
          </p:nvSpPr>
          <p:spPr bwMode="gray">
            <a:xfrm>
              <a:off x="14504988"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113">
              <a:extLst>
                <a:ext uri="{FF2B5EF4-FFF2-40B4-BE49-F238E27FC236}">
                  <a16:creationId xmlns:a16="http://schemas.microsoft.com/office/drawing/2014/main" id="{AB9E7D05-10C9-40C3-95F7-79A747996460}"/>
                </a:ext>
              </a:extLst>
            </p:cNvPr>
            <p:cNvSpPr>
              <a:spLocks/>
            </p:cNvSpPr>
            <p:nvPr/>
          </p:nvSpPr>
          <p:spPr bwMode="gray">
            <a:xfrm>
              <a:off x="14651038"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114">
              <a:extLst>
                <a:ext uri="{FF2B5EF4-FFF2-40B4-BE49-F238E27FC236}">
                  <a16:creationId xmlns:a16="http://schemas.microsoft.com/office/drawing/2014/main" id="{9A9B876D-76EA-48A2-BE04-11A32C71555C}"/>
                </a:ext>
              </a:extLst>
            </p:cNvPr>
            <p:cNvSpPr>
              <a:spLocks/>
            </p:cNvSpPr>
            <p:nvPr/>
          </p:nvSpPr>
          <p:spPr bwMode="gray">
            <a:xfrm>
              <a:off x="14725650" y="4330700"/>
              <a:ext cx="120650" cy="63500"/>
            </a:xfrm>
            <a:custGeom>
              <a:avLst/>
              <a:gdLst>
                <a:gd name="T0" fmla="*/ 0 w 32"/>
                <a:gd name="T1" fmla="*/ 0 h 17"/>
                <a:gd name="T2" fmla="*/ 0 w 32"/>
                <a:gd name="T3" fmla="*/ 16 h 17"/>
                <a:gd name="T4" fmla="*/ 1 w 32"/>
                <a:gd name="T5" fmla="*/ 17 h 17"/>
                <a:gd name="T6" fmla="*/ 2 w 32"/>
                <a:gd name="T7" fmla="*/ 17 h 17"/>
                <a:gd name="T8" fmla="*/ 30 w 32"/>
                <a:gd name="T9" fmla="*/ 17 h 17"/>
                <a:gd name="T10" fmla="*/ 31 w 32"/>
                <a:gd name="T11" fmla="*/ 17 h 17"/>
                <a:gd name="T12" fmla="*/ 32 w 32"/>
                <a:gd name="T13" fmla="*/ 16 h 17"/>
                <a:gd name="T14" fmla="*/ 32 w 32"/>
                <a:gd name="T15" fmla="*/ 0 h 17"/>
                <a:gd name="T16" fmla="*/ 0 w 32"/>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7">
                  <a:moveTo>
                    <a:pt x="0" y="0"/>
                  </a:moveTo>
                  <a:cubicBezTo>
                    <a:pt x="0" y="16"/>
                    <a:pt x="0" y="16"/>
                    <a:pt x="0" y="16"/>
                  </a:cubicBezTo>
                  <a:cubicBezTo>
                    <a:pt x="0" y="16"/>
                    <a:pt x="0" y="17"/>
                    <a:pt x="1" y="17"/>
                  </a:cubicBezTo>
                  <a:cubicBezTo>
                    <a:pt x="1" y="17"/>
                    <a:pt x="1" y="17"/>
                    <a:pt x="2" y="17"/>
                  </a:cubicBezTo>
                  <a:cubicBezTo>
                    <a:pt x="30" y="17"/>
                    <a:pt x="30" y="17"/>
                    <a:pt x="30" y="17"/>
                  </a:cubicBezTo>
                  <a:cubicBezTo>
                    <a:pt x="31" y="17"/>
                    <a:pt x="31" y="17"/>
                    <a:pt x="31" y="17"/>
                  </a:cubicBezTo>
                  <a:cubicBezTo>
                    <a:pt x="32" y="17"/>
                    <a:pt x="32" y="16"/>
                    <a:pt x="32" y="16"/>
                  </a:cubicBezTo>
                  <a:cubicBezTo>
                    <a:pt x="32" y="0"/>
                    <a:pt x="32" y="0"/>
                    <a:pt x="32"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115">
              <a:extLst>
                <a:ext uri="{FF2B5EF4-FFF2-40B4-BE49-F238E27FC236}">
                  <a16:creationId xmlns:a16="http://schemas.microsoft.com/office/drawing/2014/main" id="{86F6D2EC-EC33-42B1-88BD-E92A1F2F28C3}"/>
                </a:ext>
              </a:extLst>
            </p:cNvPr>
            <p:cNvSpPr>
              <a:spLocks/>
            </p:cNvSpPr>
            <p:nvPr/>
          </p:nvSpPr>
          <p:spPr bwMode="gray">
            <a:xfrm>
              <a:off x="14725650" y="4260850"/>
              <a:ext cx="120650" cy="63500"/>
            </a:xfrm>
            <a:custGeom>
              <a:avLst/>
              <a:gdLst>
                <a:gd name="T0" fmla="*/ 32 w 32"/>
                <a:gd name="T1" fmla="*/ 17 h 17"/>
                <a:gd name="T2" fmla="*/ 32 w 32"/>
                <a:gd name="T3" fmla="*/ 1 h 17"/>
                <a:gd name="T4" fmla="*/ 31 w 32"/>
                <a:gd name="T5" fmla="*/ 0 h 17"/>
                <a:gd name="T6" fmla="*/ 30 w 32"/>
                <a:gd name="T7" fmla="*/ 0 h 17"/>
                <a:gd name="T8" fmla="*/ 2 w 32"/>
                <a:gd name="T9" fmla="*/ 0 h 17"/>
                <a:gd name="T10" fmla="*/ 1 w 32"/>
                <a:gd name="T11" fmla="*/ 0 h 17"/>
                <a:gd name="T12" fmla="*/ 0 w 32"/>
                <a:gd name="T13" fmla="*/ 1 h 17"/>
                <a:gd name="T14" fmla="*/ 0 w 32"/>
                <a:gd name="T15" fmla="*/ 17 h 17"/>
                <a:gd name="T16" fmla="*/ 32 w 32"/>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7">
                  <a:moveTo>
                    <a:pt x="32" y="17"/>
                  </a:moveTo>
                  <a:cubicBezTo>
                    <a:pt x="32" y="1"/>
                    <a:pt x="32" y="1"/>
                    <a:pt x="32" y="1"/>
                  </a:cubicBezTo>
                  <a:cubicBezTo>
                    <a:pt x="32" y="1"/>
                    <a:pt x="32" y="0"/>
                    <a:pt x="31" y="0"/>
                  </a:cubicBezTo>
                  <a:cubicBezTo>
                    <a:pt x="31" y="0"/>
                    <a:pt x="31" y="0"/>
                    <a:pt x="30" y="0"/>
                  </a:cubicBezTo>
                  <a:cubicBezTo>
                    <a:pt x="2" y="0"/>
                    <a:pt x="2" y="0"/>
                    <a:pt x="2" y="0"/>
                  </a:cubicBezTo>
                  <a:cubicBezTo>
                    <a:pt x="1" y="0"/>
                    <a:pt x="1" y="0"/>
                    <a:pt x="1" y="0"/>
                  </a:cubicBezTo>
                  <a:cubicBezTo>
                    <a:pt x="0" y="0"/>
                    <a:pt x="0" y="1"/>
                    <a:pt x="0" y="1"/>
                  </a:cubicBezTo>
                  <a:cubicBezTo>
                    <a:pt x="0" y="17"/>
                    <a:pt x="0" y="17"/>
                    <a:pt x="0" y="17"/>
                  </a:cubicBezTo>
                  <a:lnTo>
                    <a:pt x="32"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116">
              <a:extLst>
                <a:ext uri="{FF2B5EF4-FFF2-40B4-BE49-F238E27FC236}">
                  <a16:creationId xmlns:a16="http://schemas.microsoft.com/office/drawing/2014/main" id="{3E7BD596-93EE-48EA-A8E7-AA4058EA84BE}"/>
                </a:ext>
              </a:extLst>
            </p:cNvPr>
            <p:cNvSpPr>
              <a:spLocks/>
            </p:cNvSpPr>
            <p:nvPr/>
          </p:nvSpPr>
          <p:spPr bwMode="gray">
            <a:xfrm>
              <a:off x="14871700" y="3822700"/>
              <a:ext cx="120650" cy="265113"/>
            </a:xfrm>
            <a:custGeom>
              <a:avLst/>
              <a:gdLst>
                <a:gd name="T0" fmla="*/ 2 w 32"/>
                <a:gd name="T1" fmla="*/ 0 h 71"/>
                <a:gd name="T2" fmla="*/ 1 w 32"/>
                <a:gd name="T3" fmla="*/ 0 h 71"/>
                <a:gd name="T4" fmla="*/ 0 w 32"/>
                <a:gd name="T5" fmla="*/ 2 h 71"/>
                <a:gd name="T6" fmla="*/ 0 w 32"/>
                <a:gd name="T7" fmla="*/ 30 h 71"/>
                <a:gd name="T8" fmla="*/ 1 w 32"/>
                <a:gd name="T9" fmla="*/ 31 h 71"/>
                <a:gd name="T10" fmla="*/ 2 w 32"/>
                <a:gd name="T11" fmla="*/ 32 h 71"/>
                <a:gd name="T12" fmla="*/ 9 w 32"/>
                <a:gd name="T13" fmla="*/ 32 h 71"/>
                <a:gd name="T14" fmla="*/ 9 w 32"/>
                <a:gd name="T15" fmla="*/ 69 h 71"/>
                <a:gd name="T16" fmla="*/ 10 w 32"/>
                <a:gd name="T17" fmla="*/ 70 h 71"/>
                <a:gd name="T18" fmla="*/ 11 w 32"/>
                <a:gd name="T19" fmla="*/ 71 h 71"/>
                <a:gd name="T20" fmla="*/ 30 w 32"/>
                <a:gd name="T21" fmla="*/ 71 h 71"/>
                <a:gd name="T22" fmla="*/ 31 w 32"/>
                <a:gd name="T23" fmla="*/ 70 h 71"/>
                <a:gd name="T24" fmla="*/ 32 w 32"/>
                <a:gd name="T25" fmla="*/ 69 h 71"/>
                <a:gd name="T26" fmla="*/ 32 w 32"/>
                <a:gd name="T27" fmla="*/ 2 h 71"/>
                <a:gd name="T28" fmla="*/ 31 w 32"/>
                <a:gd name="T29" fmla="*/ 0 h 71"/>
                <a:gd name="T30" fmla="*/ 30 w 32"/>
                <a:gd name="T31" fmla="*/ 0 h 71"/>
                <a:gd name="T32" fmla="*/ 2 w 32"/>
                <a:gd name="T3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1">
                  <a:moveTo>
                    <a:pt x="2" y="0"/>
                  </a:moveTo>
                  <a:cubicBezTo>
                    <a:pt x="1" y="0"/>
                    <a:pt x="1" y="0"/>
                    <a:pt x="1" y="0"/>
                  </a:cubicBezTo>
                  <a:cubicBezTo>
                    <a:pt x="0" y="1"/>
                    <a:pt x="0" y="1"/>
                    <a:pt x="0" y="2"/>
                  </a:cubicBezTo>
                  <a:cubicBezTo>
                    <a:pt x="0" y="30"/>
                    <a:pt x="0" y="30"/>
                    <a:pt x="0" y="30"/>
                  </a:cubicBezTo>
                  <a:cubicBezTo>
                    <a:pt x="0" y="30"/>
                    <a:pt x="0" y="31"/>
                    <a:pt x="1" y="31"/>
                  </a:cubicBezTo>
                  <a:cubicBezTo>
                    <a:pt x="1" y="32"/>
                    <a:pt x="1" y="32"/>
                    <a:pt x="2" y="32"/>
                  </a:cubicBezTo>
                  <a:cubicBezTo>
                    <a:pt x="9" y="32"/>
                    <a:pt x="9" y="32"/>
                    <a:pt x="9" y="32"/>
                  </a:cubicBezTo>
                  <a:cubicBezTo>
                    <a:pt x="9" y="69"/>
                    <a:pt x="9" y="69"/>
                    <a:pt x="9" y="69"/>
                  </a:cubicBezTo>
                  <a:cubicBezTo>
                    <a:pt x="9" y="69"/>
                    <a:pt x="9" y="70"/>
                    <a:pt x="10" y="70"/>
                  </a:cubicBezTo>
                  <a:cubicBezTo>
                    <a:pt x="10" y="71"/>
                    <a:pt x="11" y="71"/>
                    <a:pt x="11" y="71"/>
                  </a:cubicBezTo>
                  <a:cubicBezTo>
                    <a:pt x="30" y="71"/>
                    <a:pt x="30" y="71"/>
                    <a:pt x="30" y="71"/>
                  </a:cubicBezTo>
                  <a:cubicBezTo>
                    <a:pt x="31" y="71"/>
                    <a:pt x="31" y="71"/>
                    <a:pt x="31" y="70"/>
                  </a:cubicBezTo>
                  <a:cubicBezTo>
                    <a:pt x="32" y="70"/>
                    <a:pt x="32" y="69"/>
                    <a:pt x="32" y="69"/>
                  </a:cubicBezTo>
                  <a:cubicBezTo>
                    <a:pt x="32" y="2"/>
                    <a:pt x="32" y="2"/>
                    <a:pt x="32" y="2"/>
                  </a:cubicBezTo>
                  <a:cubicBezTo>
                    <a:pt x="32" y="1"/>
                    <a:pt x="32" y="1"/>
                    <a:pt x="31" y="0"/>
                  </a:cubicBezTo>
                  <a:cubicBezTo>
                    <a:pt x="31" y="0"/>
                    <a:pt x="31" y="0"/>
                    <a:pt x="30"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117">
              <a:extLst>
                <a:ext uri="{FF2B5EF4-FFF2-40B4-BE49-F238E27FC236}">
                  <a16:creationId xmlns:a16="http://schemas.microsoft.com/office/drawing/2014/main" id="{E6747321-0EE9-4412-B5EC-9BEC289745EC}"/>
                </a:ext>
              </a:extLst>
            </p:cNvPr>
            <p:cNvSpPr>
              <a:spLocks/>
            </p:cNvSpPr>
            <p:nvPr/>
          </p:nvSpPr>
          <p:spPr bwMode="gray">
            <a:xfrm>
              <a:off x="12761913" y="2147888"/>
              <a:ext cx="2373313" cy="1389063"/>
            </a:xfrm>
            <a:custGeom>
              <a:avLst/>
              <a:gdLst>
                <a:gd name="T0" fmla="*/ 29 w 633"/>
                <a:gd name="T1" fmla="*/ 0 h 371"/>
                <a:gd name="T2" fmla="*/ 8 w 633"/>
                <a:gd name="T3" fmla="*/ 9 h 371"/>
                <a:gd name="T4" fmla="*/ 0 w 633"/>
                <a:gd name="T5" fmla="*/ 30 h 371"/>
                <a:gd name="T6" fmla="*/ 0 w 633"/>
                <a:gd name="T7" fmla="*/ 371 h 371"/>
                <a:gd name="T8" fmla="*/ 633 w 633"/>
                <a:gd name="T9" fmla="*/ 371 h 371"/>
                <a:gd name="T10" fmla="*/ 633 w 633"/>
                <a:gd name="T11" fmla="*/ 30 h 371"/>
                <a:gd name="T12" fmla="*/ 624 w 633"/>
                <a:gd name="T13" fmla="*/ 9 h 371"/>
                <a:gd name="T14" fmla="*/ 603 w 633"/>
                <a:gd name="T15" fmla="*/ 0 h 371"/>
                <a:gd name="T16" fmla="*/ 29 w 633"/>
                <a:gd name="T17"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3" h="371">
                  <a:moveTo>
                    <a:pt x="29" y="0"/>
                  </a:moveTo>
                  <a:cubicBezTo>
                    <a:pt x="22" y="0"/>
                    <a:pt x="14" y="3"/>
                    <a:pt x="8" y="9"/>
                  </a:cubicBezTo>
                  <a:cubicBezTo>
                    <a:pt x="3" y="14"/>
                    <a:pt x="0" y="22"/>
                    <a:pt x="0" y="30"/>
                  </a:cubicBezTo>
                  <a:cubicBezTo>
                    <a:pt x="0" y="371"/>
                    <a:pt x="0" y="371"/>
                    <a:pt x="0" y="371"/>
                  </a:cubicBezTo>
                  <a:cubicBezTo>
                    <a:pt x="633" y="371"/>
                    <a:pt x="633" y="371"/>
                    <a:pt x="633" y="371"/>
                  </a:cubicBezTo>
                  <a:cubicBezTo>
                    <a:pt x="633" y="30"/>
                    <a:pt x="633" y="30"/>
                    <a:pt x="633" y="30"/>
                  </a:cubicBezTo>
                  <a:cubicBezTo>
                    <a:pt x="633" y="22"/>
                    <a:pt x="630" y="14"/>
                    <a:pt x="624" y="9"/>
                  </a:cubicBezTo>
                  <a:cubicBezTo>
                    <a:pt x="618" y="3"/>
                    <a:pt x="611" y="0"/>
                    <a:pt x="603" y="0"/>
                  </a:cubicBezTo>
                  <a:lnTo>
                    <a:pt x="29"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0" name="Oval 118">
              <a:extLst>
                <a:ext uri="{FF2B5EF4-FFF2-40B4-BE49-F238E27FC236}">
                  <a16:creationId xmlns:a16="http://schemas.microsoft.com/office/drawing/2014/main" id="{2CF7A83A-6DFA-4023-A2E3-1F2F377FDA76}"/>
                </a:ext>
              </a:extLst>
            </p:cNvPr>
            <p:cNvSpPr>
              <a:spLocks noChangeArrowheads="1"/>
            </p:cNvSpPr>
            <p:nvPr/>
          </p:nvSpPr>
          <p:spPr bwMode="gray">
            <a:xfrm>
              <a:off x="13919200" y="2182813"/>
              <a:ext cx="53975" cy="52388"/>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1" name="Rectangle 120">
              <a:extLst>
                <a:ext uri="{FF2B5EF4-FFF2-40B4-BE49-F238E27FC236}">
                  <a16:creationId xmlns:a16="http://schemas.microsoft.com/office/drawing/2014/main" id="{83BCF126-0274-4F03-B0C7-55EBD719C2A0}"/>
                </a:ext>
              </a:extLst>
            </p:cNvPr>
            <p:cNvSpPr>
              <a:spLocks noChangeArrowheads="1"/>
            </p:cNvSpPr>
            <p:nvPr/>
          </p:nvSpPr>
          <p:spPr bwMode="gray">
            <a:xfrm>
              <a:off x="14912975" y="3489325"/>
              <a:ext cx="157163" cy="96838"/>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2" name="Rectangle 121">
              <a:extLst>
                <a:ext uri="{FF2B5EF4-FFF2-40B4-BE49-F238E27FC236}">
                  <a16:creationId xmlns:a16="http://schemas.microsoft.com/office/drawing/2014/main" id="{4533AE57-5B42-49C4-96DE-E8F803EBD3D3}"/>
                </a:ext>
              </a:extLst>
            </p:cNvPr>
            <p:cNvSpPr>
              <a:spLocks noChangeArrowheads="1"/>
            </p:cNvSpPr>
            <p:nvPr/>
          </p:nvSpPr>
          <p:spPr bwMode="gray">
            <a:xfrm>
              <a:off x="14912975" y="3536950"/>
              <a:ext cx="157163" cy="4921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 name="Rectangle 122">
              <a:extLst>
                <a:ext uri="{FF2B5EF4-FFF2-40B4-BE49-F238E27FC236}">
                  <a16:creationId xmlns:a16="http://schemas.microsoft.com/office/drawing/2014/main" id="{D6E24AA7-AE4E-4E00-BDE3-FAAEBAA48FBF}"/>
                </a:ext>
              </a:extLst>
            </p:cNvPr>
            <p:cNvSpPr>
              <a:spLocks noChangeArrowheads="1"/>
            </p:cNvSpPr>
            <p:nvPr/>
          </p:nvSpPr>
          <p:spPr bwMode="gray">
            <a:xfrm>
              <a:off x="12825413" y="3489325"/>
              <a:ext cx="153988" cy="96838"/>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 name="Rectangle 123">
              <a:extLst>
                <a:ext uri="{FF2B5EF4-FFF2-40B4-BE49-F238E27FC236}">
                  <a16:creationId xmlns:a16="http://schemas.microsoft.com/office/drawing/2014/main" id="{CF171FB1-D6EC-4E25-9EDA-CAF7D067DBE3}"/>
                </a:ext>
              </a:extLst>
            </p:cNvPr>
            <p:cNvSpPr>
              <a:spLocks noChangeArrowheads="1"/>
            </p:cNvSpPr>
            <p:nvPr/>
          </p:nvSpPr>
          <p:spPr bwMode="gray">
            <a:xfrm>
              <a:off x="12825413" y="3536950"/>
              <a:ext cx="153988" cy="4921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5" name="Oval 172">
              <a:extLst>
                <a:ext uri="{FF2B5EF4-FFF2-40B4-BE49-F238E27FC236}">
                  <a16:creationId xmlns:a16="http://schemas.microsoft.com/office/drawing/2014/main" id="{DB5625BB-39B5-4C83-B2F6-4566D89D13D2}"/>
                </a:ext>
              </a:extLst>
            </p:cNvPr>
            <p:cNvSpPr>
              <a:spLocks noChangeArrowheads="1"/>
            </p:cNvSpPr>
            <p:nvPr/>
          </p:nvSpPr>
          <p:spPr bwMode="gray">
            <a:xfrm>
              <a:off x="15374938" y="3197225"/>
              <a:ext cx="876300" cy="8715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73">
              <a:extLst>
                <a:ext uri="{FF2B5EF4-FFF2-40B4-BE49-F238E27FC236}">
                  <a16:creationId xmlns:a16="http://schemas.microsoft.com/office/drawing/2014/main" id="{B46B7F9F-9160-4BBC-BD33-69AC72EE147D}"/>
                </a:ext>
              </a:extLst>
            </p:cNvPr>
            <p:cNvSpPr>
              <a:spLocks/>
            </p:cNvSpPr>
            <p:nvPr/>
          </p:nvSpPr>
          <p:spPr bwMode="gray">
            <a:xfrm>
              <a:off x="15873413" y="3694113"/>
              <a:ext cx="546100" cy="385763"/>
            </a:xfrm>
            <a:custGeom>
              <a:avLst/>
              <a:gdLst>
                <a:gd name="T0" fmla="*/ 99 w 146"/>
                <a:gd name="T1" fmla="*/ 0 h 103"/>
                <a:gd name="T2" fmla="*/ 0 w 146"/>
                <a:gd name="T3" fmla="*/ 99 h 103"/>
                <a:gd name="T4" fmla="*/ 25 w 146"/>
                <a:gd name="T5" fmla="*/ 103 h 103"/>
                <a:gd name="T6" fmla="*/ 96 w 146"/>
                <a:gd name="T7" fmla="*/ 57 h 103"/>
                <a:gd name="T8" fmla="*/ 107 w 146"/>
                <a:gd name="T9" fmla="*/ 59 h 103"/>
                <a:gd name="T10" fmla="*/ 107 w 146"/>
                <a:gd name="T11" fmla="*/ 59 h 103"/>
                <a:gd name="T12" fmla="*/ 129 w 146"/>
                <a:gd name="T13" fmla="*/ 66 h 103"/>
                <a:gd name="T14" fmla="*/ 133 w 146"/>
                <a:gd name="T15" fmla="*/ 66 h 103"/>
                <a:gd name="T16" fmla="*/ 139 w 146"/>
                <a:gd name="T17" fmla="*/ 64 h 103"/>
                <a:gd name="T18" fmla="*/ 145 w 146"/>
                <a:gd name="T19" fmla="*/ 57 h 103"/>
                <a:gd name="T20" fmla="*/ 144 w 146"/>
                <a:gd name="T21" fmla="*/ 47 h 103"/>
                <a:gd name="T22" fmla="*/ 140 w 146"/>
                <a:gd name="T23" fmla="*/ 43 h 103"/>
                <a:gd name="T24" fmla="*/ 138 w 146"/>
                <a:gd name="T25" fmla="*/ 41 h 103"/>
                <a:gd name="T26" fmla="*/ 136 w 146"/>
                <a:gd name="T27" fmla="*/ 39 h 103"/>
                <a:gd name="T28" fmla="*/ 134 w 146"/>
                <a:gd name="T29" fmla="*/ 37 h 103"/>
                <a:gd name="T30" fmla="*/ 131 w 146"/>
                <a:gd name="T31" fmla="*/ 35 h 103"/>
                <a:gd name="T32" fmla="*/ 129 w 146"/>
                <a:gd name="T33" fmla="*/ 32 h 103"/>
                <a:gd name="T34" fmla="*/ 127 w 146"/>
                <a:gd name="T35" fmla="*/ 30 h 103"/>
                <a:gd name="T36" fmla="*/ 125 w 146"/>
                <a:gd name="T37" fmla="*/ 28 h 103"/>
                <a:gd name="T38" fmla="*/ 123 w 146"/>
                <a:gd name="T39" fmla="*/ 26 h 103"/>
                <a:gd name="T40" fmla="*/ 120 w 146"/>
                <a:gd name="T41" fmla="*/ 24 h 103"/>
                <a:gd name="T42" fmla="*/ 118 w 146"/>
                <a:gd name="T43" fmla="*/ 21 h 103"/>
                <a:gd name="T44" fmla="*/ 116 w 146"/>
                <a:gd name="T45" fmla="*/ 19 h 103"/>
                <a:gd name="T46" fmla="*/ 114 w 146"/>
                <a:gd name="T47" fmla="*/ 17 h 103"/>
                <a:gd name="T48" fmla="*/ 112 w 146"/>
                <a:gd name="T49" fmla="*/ 15 h 103"/>
                <a:gd name="T50" fmla="*/ 109 w 146"/>
                <a:gd name="T51" fmla="*/ 13 h 103"/>
                <a:gd name="T52" fmla="*/ 107 w 146"/>
                <a:gd name="T53" fmla="*/ 10 h 103"/>
                <a:gd name="T54" fmla="*/ 105 w 146"/>
                <a:gd name="T55" fmla="*/ 8 h 103"/>
                <a:gd name="T56" fmla="*/ 103 w 146"/>
                <a:gd name="T57" fmla="*/ 6 h 103"/>
                <a:gd name="T58" fmla="*/ 101 w 146"/>
                <a:gd name="T59" fmla="*/ 4 h 103"/>
                <a:gd name="T60" fmla="*/ 99 w 146"/>
                <a:gd name="T6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6" h="103">
                  <a:moveTo>
                    <a:pt x="99" y="0"/>
                  </a:moveTo>
                  <a:cubicBezTo>
                    <a:pt x="92" y="51"/>
                    <a:pt x="52" y="92"/>
                    <a:pt x="0" y="99"/>
                  </a:cubicBezTo>
                  <a:cubicBezTo>
                    <a:pt x="8" y="101"/>
                    <a:pt x="16" y="103"/>
                    <a:pt x="25" y="103"/>
                  </a:cubicBezTo>
                  <a:cubicBezTo>
                    <a:pt x="56" y="103"/>
                    <a:pt x="84" y="84"/>
                    <a:pt x="96" y="57"/>
                  </a:cubicBezTo>
                  <a:cubicBezTo>
                    <a:pt x="107" y="59"/>
                    <a:pt x="107" y="59"/>
                    <a:pt x="107" y="59"/>
                  </a:cubicBezTo>
                  <a:cubicBezTo>
                    <a:pt x="107" y="59"/>
                    <a:pt x="107" y="59"/>
                    <a:pt x="107" y="59"/>
                  </a:cubicBezTo>
                  <a:cubicBezTo>
                    <a:pt x="129" y="66"/>
                    <a:pt x="129" y="66"/>
                    <a:pt x="129" y="66"/>
                  </a:cubicBezTo>
                  <a:cubicBezTo>
                    <a:pt x="130" y="66"/>
                    <a:pt x="132" y="66"/>
                    <a:pt x="133" y="66"/>
                  </a:cubicBezTo>
                  <a:cubicBezTo>
                    <a:pt x="135" y="66"/>
                    <a:pt x="137" y="66"/>
                    <a:pt x="139" y="64"/>
                  </a:cubicBezTo>
                  <a:cubicBezTo>
                    <a:pt x="142" y="63"/>
                    <a:pt x="144" y="60"/>
                    <a:pt x="145" y="57"/>
                  </a:cubicBezTo>
                  <a:cubicBezTo>
                    <a:pt x="146" y="54"/>
                    <a:pt x="145" y="50"/>
                    <a:pt x="144" y="47"/>
                  </a:cubicBezTo>
                  <a:cubicBezTo>
                    <a:pt x="143" y="46"/>
                    <a:pt x="142" y="44"/>
                    <a:pt x="140" y="43"/>
                  </a:cubicBezTo>
                  <a:cubicBezTo>
                    <a:pt x="140" y="43"/>
                    <a:pt x="139" y="42"/>
                    <a:pt x="138" y="41"/>
                  </a:cubicBezTo>
                  <a:cubicBezTo>
                    <a:pt x="137" y="40"/>
                    <a:pt x="137" y="40"/>
                    <a:pt x="136" y="39"/>
                  </a:cubicBezTo>
                  <a:cubicBezTo>
                    <a:pt x="135" y="38"/>
                    <a:pt x="135" y="37"/>
                    <a:pt x="134" y="37"/>
                  </a:cubicBezTo>
                  <a:cubicBezTo>
                    <a:pt x="133" y="36"/>
                    <a:pt x="132" y="35"/>
                    <a:pt x="131" y="35"/>
                  </a:cubicBezTo>
                  <a:cubicBezTo>
                    <a:pt x="131" y="34"/>
                    <a:pt x="130" y="33"/>
                    <a:pt x="129" y="32"/>
                  </a:cubicBezTo>
                  <a:cubicBezTo>
                    <a:pt x="129" y="32"/>
                    <a:pt x="128" y="31"/>
                    <a:pt x="127" y="30"/>
                  </a:cubicBezTo>
                  <a:cubicBezTo>
                    <a:pt x="126" y="29"/>
                    <a:pt x="126" y="29"/>
                    <a:pt x="125" y="28"/>
                  </a:cubicBezTo>
                  <a:cubicBezTo>
                    <a:pt x="124" y="27"/>
                    <a:pt x="123" y="26"/>
                    <a:pt x="123" y="26"/>
                  </a:cubicBezTo>
                  <a:cubicBezTo>
                    <a:pt x="122" y="25"/>
                    <a:pt x="121" y="24"/>
                    <a:pt x="120" y="24"/>
                  </a:cubicBezTo>
                  <a:cubicBezTo>
                    <a:pt x="120" y="23"/>
                    <a:pt x="119" y="22"/>
                    <a:pt x="118" y="21"/>
                  </a:cubicBezTo>
                  <a:cubicBezTo>
                    <a:pt x="118" y="21"/>
                    <a:pt x="117" y="20"/>
                    <a:pt x="116" y="19"/>
                  </a:cubicBezTo>
                  <a:cubicBezTo>
                    <a:pt x="115" y="18"/>
                    <a:pt x="115" y="18"/>
                    <a:pt x="114" y="17"/>
                  </a:cubicBezTo>
                  <a:cubicBezTo>
                    <a:pt x="113" y="16"/>
                    <a:pt x="112" y="15"/>
                    <a:pt x="112" y="15"/>
                  </a:cubicBezTo>
                  <a:cubicBezTo>
                    <a:pt x="111" y="14"/>
                    <a:pt x="110" y="13"/>
                    <a:pt x="109" y="13"/>
                  </a:cubicBezTo>
                  <a:cubicBezTo>
                    <a:pt x="109" y="12"/>
                    <a:pt x="108" y="11"/>
                    <a:pt x="107" y="10"/>
                  </a:cubicBezTo>
                  <a:cubicBezTo>
                    <a:pt x="107" y="9"/>
                    <a:pt x="106" y="9"/>
                    <a:pt x="105" y="8"/>
                  </a:cubicBezTo>
                  <a:cubicBezTo>
                    <a:pt x="104" y="7"/>
                    <a:pt x="104" y="7"/>
                    <a:pt x="103" y="6"/>
                  </a:cubicBezTo>
                  <a:cubicBezTo>
                    <a:pt x="102" y="5"/>
                    <a:pt x="101" y="4"/>
                    <a:pt x="101" y="4"/>
                  </a:cubicBezTo>
                  <a:cubicBezTo>
                    <a:pt x="100" y="2"/>
                    <a:pt x="100" y="1"/>
                    <a:pt x="99" y="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7" name="Freeform 174">
              <a:extLst>
                <a:ext uri="{FF2B5EF4-FFF2-40B4-BE49-F238E27FC236}">
                  <a16:creationId xmlns:a16="http://schemas.microsoft.com/office/drawing/2014/main" id="{6DF2C68C-433C-4E5A-99FA-C2BCF00E8A98}"/>
                </a:ext>
              </a:extLst>
            </p:cNvPr>
            <p:cNvSpPr>
              <a:spLocks/>
            </p:cNvSpPr>
            <p:nvPr/>
          </p:nvSpPr>
          <p:spPr bwMode="gray">
            <a:xfrm>
              <a:off x="15516225" y="3338513"/>
              <a:ext cx="727075" cy="727075"/>
            </a:xfrm>
            <a:custGeom>
              <a:avLst/>
              <a:gdLst>
                <a:gd name="T0" fmla="*/ 79 w 194"/>
                <a:gd name="T1" fmla="*/ 0 h 194"/>
                <a:gd name="T2" fmla="*/ 0 w 194"/>
                <a:gd name="T3" fmla="*/ 78 h 194"/>
                <a:gd name="T4" fmla="*/ 24 w 194"/>
                <a:gd name="T5" fmla="*/ 135 h 194"/>
                <a:gd name="T6" fmla="*/ 63 w 194"/>
                <a:gd name="T7" fmla="*/ 174 h 194"/>
                <a:gd name="T8" fmla="*/ 95 w 194"/>
                <a:gd name="T9" fmla="*/ 194 h 194"/>
                <a:gd name="T10" fmla="*/ 194 w 194"/>
                <a:gd name="T11" fmla="*/ 95 h 194"/>
                <a:gd name="T12" fmla="*/ 174 w 194"/>
                <a:gd name="T13" fmla="*/ 62 h 194"/>
                <a:gd name="T14" fmla="*/ 136 w 194"/>
                <a:gd name="T15" fmla="*/ 24 h 194"/>
                <a:gd name="T16" fmla="*/ 79 w 194"/>
                <a:gd name="T17"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194">
                  <a:moveTo>
                    <a:pt x="79" y="0"/>
                  </a:moveTo>
                  <a:cubicBezTo>
                    <a:pt x="35" y="0"/>
                    <a:pt x="0" y="35"/>
                    <a:pt x="0" y="78"/>
                  </a:cubicBezTo>
                  <a:cubicBezTo>
                    <a:pt x="0" y="101"/>
                    <a:pt x="9" y="121"/>
                    <a:pt x="24" y="135"/>
                  </a:cubicBezTo>
                  <a:cubicBezTo>
                    <a:pt x="25" y="136"/>
                    <a:pt x="62" y="173"/>
                    <a:pt x="63" y="174"/>
                  </a:cubicBezTo>
                  <a:cubicBezTo>
                    <a:pt x="72" y="183"/>
                    <a:pt x="83" y="190"/>
                    <a:pt x="95" y="194"/>
                  </a:cubicBezTo>
                  <a:cubicBezTo>
                    <a:pt x="147" y="187"/>
                    <a:pt x="187" y="146"/>
                    <a:pt x="194" y="95"/>
                  </a:cubicBezTo>
                  <a:cubicBezTo>
                    <a:pt x="190" y="82"/>
                    <a:pt x="183" y="71"/>
                    <a:pt x="174" y="62"/>
                  </a:cubicBezTo>
                  <a:cubicBezTo>
                    <a:pt x="173" y="61"/>
                    <a:pt x="136" y="25"/>
                    <a:pt x="136" y="24"/>
                  </a:cubicBezTo>
                  <a:cubicBezTo>
                    <a:pt x="121" y="9"/>
                    <a:pt x="101" y="0"/>
                    <a:pt x="79" y="0"/>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8" name="Freeform 175">
              <a:extLst>
                <a:ext uri="{FF2B5EF4-FFF2-40B4-BE49-F238E27FC236}">
                  <a16:creationId xmlns:a16="http://schemas.microsoft.com/office/drawing/2014/main" id="{25B767B3-CA2D-4B78-868C-D63B29AFEDEE}"/>
                </a:ext>
              </a:extLst>
            </p:cNvPr>
            <p:cNvSpPr>
              <a:spLocks/>
            </p:cNvSpPr>
            <p:nvPr/>
          </p:nvSpPr>
          <p:spPr bwMode="gray">
            <a:xfrm>
              <a:off x="16067088" y="3660775"/>
              <a:ext cx="200025" cy="131763"/>
            </a:xfrm>
            <a:custGeom>
              <a:avLst/>
              <a:gdLst>
                <a:gd name="T0" fmla="*/ 52 w 53"/>
                <a:gd name="T1" fmla="*/ 25 h 35"/>
                <a:gd name="T2" fmla="*/ 46 w 53"/>
                <a:gd name="T3" fmla="*/ 33 h 35"/>
                <a:gd name="T4" fmla="*/ 37 w 53"/>
                <a:gd name="T5" fmla="*/ 34 h 35"/>
                <a:gd name="T6" fmla="*/ 0 w 53"/>
                <a:gd name="T7" fmla="*/ 24 h 35"/>
                <a:gd name="T8" fmla="*/ 7 w 53"/>
                <a:gd name="T9" fmla="*/ 0 h 35"/>
                <a:gd name="T10" fmla="*/ 43 w 53"/>
                <a:gd name="T11" fmla="*/ 10 h 35"/>
                <a:gd name="T12" fmla="*/ 51 w 53"/>
                <a:gd name="T13" fmla="*/ 16 h 35"/>
                <a:gd name="T14" fmla="*/ 52 w 53"/>
                <a:gd name="T15" fmla="*/ 2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35">
                  <a:moveTo>
                    <a:pt x="52" y="25"/>
                  </a:moveTo>
                  <a:cubicBezTo>
                    <a:pt x="51" y="28"/>
                    <a:pt x="49" y="31"/>
                    <a:pt x="46" y="33"/>
                  </a:cubicBezTo>
                  <a:cubicBezTo>
                    <a:pt x="43" y="35"/>
                    <a:pt x="40" y="35"/>
                    <a:pt x="37" y="34"/>
                  </a:cubicBezTo>
                  <a:cubicBezTo>
                    <a:pt x="0" y="24"/>
                    <a:pt x="0" y="24"/>
                    <a:pt x="0" y="24"/>
                  </a:cubicBezTo>
                  <a:cubicBezTo>
                    <a:pt x="7" y="0"/>
                    <a:pt x="7" y="0"/>
                    <a:pt x="7" y="0"/>
                  </a:cubicBezTo>
                  <a:cubicBezTo>
                    <a:pt x="43" y="10"/>
                    <a:pt x="43" y="10"/>
                    <a:pt x="43" y="10"/>
                  </a:cubicBezTo>
                  <a:cubicBezTo>
                    <a:pt x="47" y="11"/>
                    <a:pt x="49" y="13"/>
                    <a:pt x="51" y="16"/>
                  </a:cubicBezTo>
                  <a:cubicBezTo>
                    <a:pt x="53" y="19"/>
                    <a:pt x="53" y="22"/>
                    <a:pt x="52"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176">
              <a:extLst>
                <a:ext uri="{FF2B5EF4-FFF2-40B4-BE49-F238E27FC236}">
                  <a16:creationId xmlns:a16="http://schemas.microsoft.com/office/drawing/2014/main" id="{D9AF0F7A-D3E5-4C81-8A5A-3849DC649EF6}"/>
                </a:ext>
              </a:extLst>
            </p:cNvPr>
            <p:cNvSpPr>
              <a:spLocks/>
            </p:cNvSpPr>
            <p:nvPr/>
          </p:nvSpPr>
          <p:spPr bwMode="gray">
            <a:xfrm>
              <a:off x="16067088" y="3660775"/>
              <a:ext cx="79375" cy="104775"/>
            </a:xfrm>
            <a:custGeom>
              <a:avLst/>
              <a:gdLst>
                <a:gd name="T0" fmla="*/ 7 w 21"/>
                <a:gd name="T1" fmla="*/ 0 h 28"/>
                <a:gd name="T2" fmla="*/ 0 w 21"/>
                <a:gd name="T3" fmla="*/ 24 h 28"/>
                <a:gd name="T4" fmla="*/ 14 w 21"/>
                <a:gd name="T5" fmla="*/ 28 h 28"/>
                <a:gd name="T6" fmla="*/ 21 w 21"/>
                <a:gd name="T7" fmla="*/ 4 h 28"/>
                <a:gd name="T8" fmla="*/ 7 w 21"/>
                <a:gd name="T9" fmla="*/ 0 h 28"/>
              </a:gdLst>
              <a:ahLst/>
              <a:cxnLst>
                <a:cxn ang="0">
                  <a:pos x="T0" y="T1"/>
                </a:cxn>
                <a:cxn ang="0">
                  <a:pos x="T2" y="T3"/>
                </a:cxn>
                <a:cxn ang="0">
                  <a:pos x="T4" y="T5"/>
                </a:cxn>
                <a:cxn ang="0">
                  <a:pos x="T6" y="T7"/>
                </a:cxn>
                <a:cxn ang="0">
                  <a:pos x="T8" y="T9"/>
                </a:cxn>
              </a:cxnLst>
              <a:rect l="0" t="0" r="r" b="b"/>
              <a:pathLst>
                <a:path w="21" h="28">
                  <a:moveTo>
                    <a:pt x="7" y="0"/>
                  </a:moveTo>
                  <a:cubicBezTo>
                    <a:pt x="0" y="24"/>
                    <a:pt x="0" y="24"/>
                    <a:pt x="0" y="24"/>
                  </a:cubicBezTo>
                  <a:cubicBezTo>
                    <a:pt x="14" y="28"/>
                    <a:pt x="14" y="28"/>
                    <a:pt x="14" y="28"/>
                  </a:cubicBezTo>
                  <a:cubicBezTo>
                    <a:pt x="17" y="20"/>
                    <a:pt x="19" y="12"/>
                    <a:pt x="21" y="4"/>
                  </a:cubicBezTo>
                  <a:lnTo>
                    <a:pt x="7"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0" name="Oval 177">
              <a:extLst>
                <a:ext uri="{FF2B5EF4-FFF2-40B4-BE49-F238E27FC236}">
                  <a16:creationId xmlns:a16="http://schemas.microsoft.com/office/drawing/2014/main" id="{37D578E6-6730-4EF7-89B2-927E116C8089}"/>
                </a:ext>
              </a:extLst>
            </p:cNvPr>
            <p:cNvSpPr>
              <a:spLocks noChangeArrowheads="1"/>
            </p:cNvSpPr>
            <p:nvPr/>
          </p:nvSpPr>
          <p:spPr bwMode="gray">
            <a:xfrm>
              <a:off x="15516225" y="3338513"/>
              <a:ext cx="592138" cy="5889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Oval 178">
              <a:extLst>
                <a:ext uri="{FF2B5EF4-FFF2-40B4-BE49-F238E27FC236}">
                  <a16:creationId xmlns:a16="http://schemas.microsoft.com/office/drawing/2014/main" id="{D12CF3C1-DCF8-4E1E-8B3E-88BB311F0172}"/>
                </a:ext>
              </a:extLst>
            </p:cNvPr>
            <p:cNvSpPr>
              <a:spLocks noChangeArrowheads="1"/>
            </p:cNvSpPr>
            <p:nvPr/>
          </p:nvSpPr>
          <p:spPr bwMode="gray">
            <a:xfrm>
              <a:off x="15565438" y="3384550"/>
              <a:ext cx="495300" cy="496888"/>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2" name="Freeform 179">
              <a:extLst>
                <a:ext uri="{FF2B5EF4-FFF2-40B4-BE49-F238E27FC236}">
                  <a16:creationId xmlns:a16="http://schemas.microsoft.com/office/drawing/2014/main" id="{DBE9347F-531D-4729-978F-C8289967154D}"/>
                </a:ext>
              </a:extLst>
            </p:cNvPr>
            <p:cNvSpPr>
              <a:spLocks/>
            </p:cNvSpPr>
            <p:nvPr/>
          </p:nvSpPr>
          <p:spPr bwMode="gray">
            <a:xfrm>
              <a:off x="15565438" y="3384550"/>
              <a:ext cx="454025" cy="455613"/>
            </a:xfrm>
            <a:custGeom>
              <a:avLst/>
              <a:gdLst>
                <a:gd name="T0" fmla="*/ 19 w 121"/>
                <a:gd name="T1" fmla="*/ 85 h 122"/>
                <a:gd name="T2" fmla="*/ 85 w 121"/>
                <a:gd name="T3" fmla="*/ 19 h 122"/>
                <a:gd name="T4" fmla="*/ 121 w 121"/>
                <a:gd name="T5" fmla="*/ 30 h 122"/>
                <a:gd name="T6" fmla="*/ 66 w 121"/>
                <a:gd name="T7" fmla="*/ 0 h 122"/>
                <a:gd name="T8" fmla="*/ 0 w 121"/>
                <a:gd name="T9" fmla="*/ 66 h 122"/>
                <a:gd name="T10" fmla="*/ 30 w 121"/>
                <a:gd name="T11" fmla="*/ 122 h 122"/>
                <a:gd name="T12" fmla="*/ 19 w 121"/>
                <a:gd name="T13" fmla="*/ 85 h 122"/>
              </a:gdLst>
              <a:ahLst/>
              <a:cxnLst>
                <a:cxn ang="0">
                  <a:pos x="T0" y="T1"/>
                </a:cxn>
                <a:cxn ang="0">
                  <a:pos x="T2" y="T3"/>
                </a:cxn>
                <a:cxn ang="0">
                  <a:pos x="T4" y="T5"/>
                </a:cxn>
                <a:cxn ang="0">
                  <a:pos x="T6" y="T7"/>
                </a:cxn>
                <a:cxn ang="0">
                  <a:pos x="T8" y="T9"/>
                </a:cxn>
                <a:cxn ang="0">
                  <a:pos x="T10" y="T11"/>
                </a:cxn>
                <a:cxn ang="0">
                  <a:pos x="T12" y="T13"/>
                </a:cxn>
              </a:cxnLst>
              <a:rect l="0" t="0" r="r" b="b"/>
              <a:pathLst>
                <a:path w="121" h="122">
                  <a:moveTo>
                    <a:pt x="19" y="85"/>
                  </a:moveTo>
                  <a:cubicBezTo>
                    <a:pt x="19" y="49"/>
                    <a:pt x="48" y="19"/>
                    <a:pt x="85" y="19"/>
                  </a:cubicBezTo>
                  <a:cubicBezTo>
                    <a:pt x="98" y="19"/>
                    <a:pt x="111" y="23"/>
                    <a:pt x="121" y="30"/>
                  </a:cubicBezTo>
                  <a:cubicBezTo>
                    <a:pt x="109" y="12"/>
                    <a:pt x="89" y="0"/>
                    <a:pt x="66" y="0"/>
                  </a:cubicBezTo>
                  <a:cubicBezTo>
                    <a:pt x="29" y="0"/>
                    <a:pt x="0" y="30"/>
                    <a:pt x="0" y="66"/>
                  </a:cubicBezTo>
                  <a:cubicBezTo>
                    <a:pt x="0" y="90"/>
                    <a:pt x="12" y="110"/>
                    <a:pt x="30" y="122"/>
                  </a:cubicBezTo>
                  <a:cubicBezTo>
                    <a:pt x="23" y="111"/>
                    <a:pt x="19" y="99"/>
                    <a:pt x="19" y="8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3" name="Freeform 180">
              <a:extLst>
                <a:ext uri="{FF2B5EF4-FFF2-40B4-BE49-F238E27FC236}">
                  <a16:creationId xmlns:a16="http://schemas.microsoft.com/office/drawing/2014/main" id="{F13CFDD1-FD0B-4A2A-9CAD-A2C1C7607D12}"/>
                </a:ext>
              </a:extLst>
            </p:cNvPr>
            <p:cNvSpPr>
              <a:spLocks/>
            </p:cNvSpPr>
            <p:nvPr/>
          </p:nvSpPr>
          <p:spPr bwMode="gray">
            <a:xfrm>
              <a:off x="15340013" y="4454525"/>
              <a:ext cx="461963" cy="820738"/>
            </a:xfrm>
            <a:custGeom>
              <a:avLst/>
              <a:gdLst>
                <a:gd name="T0" fmla="*/ 123 w 123"/>
                <a:gd name="T1" fmla="*/ 174 h 219"/>
                <a:gd name="T2" fmla="*/ 78 w 123"/>
                <a:gd name="T3" fmla="*/ 219 h 219"/>
                <a:gd name="T4" fmla="*/ 45 w 123"/>
                <a:gd name="T5" fmla="*/ 219 h 219"/>
                <a:gd name="T6" fmla="*/ 0 w 123"/>
                <a:gd name="T7" fmla="*/ 174 h 219"/>
                <a:gd name="T8" fmla="*/ 0 w 123"/>
                <a:gd name="T9" fmla="*/ 45 h 219"/>
                <a:gd name="T10" fmla="*/ 45 w 123"/>
                <a:gd name="T11" fmla="*/ 0 h 219"/>
                <a:gd name="T12" fmla="*/ 78 w 123"/>
                <a:gd name="T13" fmla="*/ 0 h 219"/>
                <a:gd name="T14" fmla="*/ 123 w 123"/>
                <a:gd name="T15" fmla="*/ 45 h 219"/>
                <a:gd name="T16" fmla="*/ 123 w 123"/>
                <a:gd name="T17" fmla="*/ 17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219">
                  <a:moveTo>
                    <a:pt x="123" y="174"/>
                  </a:moveTo>
                  <a:cubicBezTo>
                    <a:pt x="123" y="198"/>
                    <a:pt x="102" y="219"/>
                    <a:pt x="78" y="219"/>
                  </a:cubicBezTo>
                  <a:cubicBezTo>
                    <a:pt x="45" y="219"/>
                    <a:pt x="45" y="219"/>
                    <a:pt x="45" y="219"/>
                  </a:cubicBezTo>
                  <a:cubicBezTo>
                    <a:pt x="20" y="219"/>
                    <a:pt x="0" y="198"/>
                    <a:pt x="0" y="174"/>
                  </a:cubicBezTo>
                  <a:cubicBezTo>
                    <a:pt x="0" y="45"/>
                    <a:pt x="0" y="45"/>
                    <a:pt x="0" y="45"/>
                  </a:cubicBezTo>
                  <a:cubicBezTo>
                    <a:pt x="0" y="20"/>
                    <a:pt x="20" y="0"/>
                    <a:pt x="45" y="0"/>
                  </a:cubicBezTo>
                  <a:cubicBezTo>
                    <a:pt x="78" y="0"/>
                    <a:pt x="78" y="0"/>
                    <a:pt x="78" y="0"/>
                  </a:cubicBezTo>
                  <a:cubicBezTo>
                    <a:pt x="102" y="0"/>
                    <a:pt x="123" y="20"/>
                    <a:pt x="123" y="45"/>
                  </a:cubicBezTo>
                  <a:lnTo>
                    <a:pt x="123" y="1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81">
              <a:extLst>
                <a:ext uri="{FF2B5EF4-FFF2-40B4-BE49-F238E27FC236}">
                  <a16:creationId xmlns:a16="http://schemas.microsoft.com/office/drawing/2014/main" id="{FA8BEE9F-FFF7-4416-B3E1-2CBB606308E7}"/>
                </a:ext>
              </a:extLst>
            </p:cNvPr>
            <p:cNvSpPr>
              <a:spLocks/>
            </p:cNvSpPr>
            <p:nvPr/>
          </p:nvSpPr>
          <p:spPr bwMode="gray">
            <a:xfrm>
              <a:off x="15344775" y="4481513"/>
              <a:ext cx="457200" cy="793750"/>
            </a:xfrm>
            <a:custGeom>
              <a:avLst/>
              <a:gdLst>
                <a:gd name="T0" fmla="*/ 101 w 122"/>
                <a:gd name="T1" fmla="*/ 0 h 212"/>
                <a:gd name="T2" fmla="*/ 102 w 122"/>
                <a:gd name="T3" fmla="*/ 8 h 212"/>
                <a:gd name="T4" fmla="*/ 102 w 122"/>
                <a:gd name="T5" fmla="*/ 106 h 212"/>
                <a:gd name="T6" fmla="*/ 79 w 122"/>
                <a:gd name="T7" fmla="*/ 159 h 212"/>
                <a:gd name="T8" fmla="*/ 26 w 122"/>
                <a:gd name="T9" fmla="*/ 182 h 212"/>
                <a:gd name="T10" fmla="*/ 24 w 122"/>
                <a:gd name="T11" fmla="*/ 182 h 212"/>
                <a:gd name="T12" fmla="*/ 0 w 122"/>
                <a:gd name="T13" fmla="*/ 174 h 212"/>
                <a:gd name="T14" fmla="*/ 44 w 122"/>
                <a:gd name="T15" fmla="*/ 212 h 212"/>
                <a:gd name="T16" fmla="*/ 77 w 122"/>
                <a:gd name="T17" fmla="*/ 212 h 212"/>
                <a:gd name="T18" fmla="*/ 122 w 122"/>
                <a:gd name="T19" fmla="*/ 167 h 212"/>
                <a:gd name="T20" fmla="*/ 122 w 122"/>
                <a:gd name="T21" fmla="*/ 38 h 212"/>
                <a:gd name="T22" fmla="*/ 101 w 122"/>
                <a:gd name="T23"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 h="212">
                  <a:moveTo>
                    <a:pt x="101" y="0"/>
                  </a:moveTo>
                  <a:cubicBezTo>
                    <a:pt x="101" y="3"/>
                    <a:pt x="102" y="5"/>
                    <a:pt x="102" y="8"/>
                  </a:cubicBezTo>
                  <a:cubicBezTo>
                    <a:pt x="102" y="106"/>
                    <a:pt x="102" y="106"/>
                    <a:pt x="102" y="106"/>
                  </a:cubicBezTo>
                  <a:cubicBezTo>
                    <a:pt x="102" y="125"/>
                    <a:pt x="94" y="144"/>
                    <a:pt x="79" y="159"/>
                  </a:cubicBezTo>
                  <a:cubicBezTo>
                    <a:pt x="64" y="174"/>
                    <a:pt x="45" y="182"/>
                    <a:pt x="26" y="182"/>
                  </a:cubicBezTo>
                  <a:cubicBezTo>
                    <a:pt x="24" y="182"/>
                    <a:pt x="24" y="182"/>
                    <a:pt x="24" y="182"/>
                  </a:cubicBezTo>
                  <a:cubicBezTo>
                    <a:pt x="15" y="182"/>
                    <a:pt x="7" y="179"/>
                    <a:pt x="0" y="174"/>
                  </a:cubicBezTo>
                  <a:cubicBezTo>
                    <a:pt x="3" y="195"/>
                    <a:pt x="22" y="212"/>
                    <a:pt x="44" y="212"/>
                  </a:cubicBezTo>
                  <a:cubicBezTo>
                    <a:pt x="77" y="212"/>
                    <a:pt x="77" y="212"/>
                    <a:pt x="77" y="212"/>
                  </a:cubicBezTo>
                  <a:cubicBezTo>
                    <a:pt x="101" y="212"/>
                    <a:pt x="122" y="191"/>
                    <a:pt x="122" y="167"/>
                  </a:cubicBezTo>
                  <a:cubicBezTo>
                    <a:pt x="122" y="38"/>
                    <a:pt x="122" y="38"/>
                    <a:pt x="122" y="38"/>
                  </a:cubicBezTo>
                  <a:cubicBezTo>
                    <a:pt x="122" y="22"/>
                    <a:pt x="113" y="8"/>
                    <a:pt x="101" y="0"/>
                  </a:cubicBezTo>
                  <a:close/>
                </a:path>
              </a:pathLst>
            </a:custGeom>
            <a:solidFill>
              <a:srgbClr val="E6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Oval 182">
              <a:extLst>
                <a:ext uri="{FF2B5EF4-FFF2-40B4-BE49-F238E27FC236}">
                  <a16:creationId xmlns:a16="http://schemas.microsoft.com/office/drawing/2014/main" id="{EB0C6FE4-8EA4-4F3A-BF19-1E3504DCFF6E}"/>
                </a:ext>
              </a:extLst>
            </p:cNvPr>
            <p:cNvSpPr>
              <a:spLocks noChangeArrowheads="1"/>
            </p:cNvSpPr>
            <p:nvPr/>
          </p:nvSpPr>
          <p:spPr bwMode="gray">
            <a:xfrm>
              <a:off x="15532100" y="4592638"/>
              <a:ext cx="74613" cy="76200"/>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96" name="Ellipse 95">
            <a:extLst>
              <a:ext uri="{FF2B5EF4-FFF2-40B4-BE49-F238E27FC236}">
                <a16:creationId xmlns:a16="http://schemas.microsoft.com/office/drawing/2014/main" id="{7E4A5492-26B6-4751-A6F9-984497F14A02}"/>
              </a:ext>
            </a:extLst>
          </p:cNvPr>
          <p:cNvSpPr/>
          <p:nvPr/>
        </p:nvSpPr>
        <p:spPr bwMode="gray">
          <a:xfrm>
            <a:off x="8864298" y="1782628"/>
            <a:ext cx="576064" cy="57606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600" dirty="0">
                <a:solidFill>
                  <a:schemeClr val="accent1"/>
                </a:solidFill>
                <a:latin typeface="+mj-lt"/>
              </a:rPr>
              <a:t>1</a:t>
            </a:r>
          </a:p>
        </p:txBody>
      </p:sp>
      <p:sp>
        <p:nvSpPr>
          <p:cNvPr id="97" name="Textfeld 96">
            <a:extLst>
              <a:ext uri="{FF2B5EF4-FFF2-40B4-BE49-F238E27FC236}">
                <a16:creationId xmlns:a16="http://schemas.microsoft.com/office/drawing/2014/main" id="{5A6DACF6-88AA-4682-8FD6-00AED92A9E20}"/>
              </a:ext>
            </a:extLst>
          </p:cNvPr>
          <p:cNvSpPr txBox="1"/>
          <p:nvPr/>
        </p:nvSpPr>
        <p:spPr bwMode="gray">
          <a:xfrm>
            <a:off x="4223792" y="918692"/>
            <a:ext cx="4030772" cy="1628969"/>
          </a:xfrm>
          <a:prstGeom prst="rect">
            <a:avLst/>
          </a:prstGeom>
          <a:noFill/>
        </p:spPr>
        <p:txBody>
          <a:bodyPr wrap="square" lIns="108000" tIns="72000" rIns="108000" bIns="72000" rtlCol="0">
            <a:noAutofit/>
          </a:bodyPr>
          <a:lstStyle/>
          <a:p>
            <a:pPr algn="r">
              <a:buClr>
                <a:schemeClr val="accent1"/>
              </a:buClr>
            </a:pPr>
            <a:r>
              <a:rPr lang="en-US" sz="1400" dirty="0">
                <a:solidFill>
                  <a:schemeClr val="accent1"/>
                </a:solidFill>
                <a:latin typeface="+mj-lt"/>
              </a:rPr>
              <a:t>Embed fonts in PowerPoint </a:t>
            </a:r>
          </a:p>
          <a:p>
            <a:pPr algn="r">
              <a:buClr>
                <a:schemeClr val="accent1"/>
              </a:buClr>
            </a:pPr>
            <a:r>
              <a:rPr lang="en-US" sz="1400" dirty="0">
                <a:solidFill>
                  <a:schemeClr val="accent1"/>
                </a:solidFill>
                <a:latin typeface="+mj-lt"/>
              </a:rPr>
              <a:t>in just a few easy steps.</a:t>
            </a:r>
          </a:p>
          <a:p>
            <a:pPr algn="r">
              <a:buClr>
                <a:schemeClr val="accent1"/>
              </a:buClr>
            </a:pPr>
            <a:r>
              <a:rPr lang="en-US" sz="1400" dirty="0"/>
              <a:t>First click on “File” in the menu, then on “Options”</a:t>
            </a:r>
            <a:br>
              <a:rPr lang="en-US" sz="1400" dirty="0"/>
            </a:br>
            <a:r>
              <a:rPr lang="en-US" sz="1400" dirty="0"/>
              <a:t>in the lower left corner of the screen, and then click</a:t>
            </a:r>
            <a:br>
              <a:rPr lang="en-US" sz="1400" dirty="0"/>
            </a:br>
            <a:r>
              <a:rPr lang="en-US" sz="1400" dirty="0"/>
              <a:t>on “Save”. Finally tick “Embed fonts in the file”. </a:t>
            </a:r>
          </a:p>
        </p:txBody>
      </p:sp>
      <p:sp>
        <p:nvSpPr>
          <p:cNvPr id="103" name="Bogen 102">
            <a:extLst>
              <a:ext uri="{FF2B5EF4-FFF2-40B4-BE49-F238E27FC236}">
                <a16:creationId xmlns:a16="http://schemas.microsoft.com/office/drawing/2014/main" id="{7404D3E2-66C4-4EA5-9DBC-DB25A7771EBC}"/>
              </a:ext>
            </a:extLst>
          </p:cNvPr>
          <p:cNvSpPr/>
          <p:nvPr/>
        </p:nvSpPr>
        <p:spPr bwMode="gray">
          <a:xfrm>
            <a:off x="6164803" y="918693"/>
            <a:ext cx="4320479" cy="4320479"/>
          </a:xfrm>
          <a:prstGeom prst="arc">
            <a:avLst>
              <a:gd name="adj1" fmla="val 15624993"/>
              <a:gd name="adj2" fmla="val 19911664"/>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Bogen 103">
            <a:extLst>
              <a:ext uri="{FF2B5EF4-FFF2-40B4-BE49-F238E27FC236}">
                <a16:creationId xmlns:a16="http://schemas.microsoft.com/office/drawing/2014/main" id="{1496258D-1E76-4F1B-BD02-DD9A88C00820}"/>
              </a:ext>
            </a:extLst>
          </p:cNvPr>
          <p:cNvSpPr/>
          <p:nvPr/>
        </p:nvSpPr>
        <p:spPr bwMode="gray">
          <a:xfrm>
            <a:off x="6166333" y="918692"/>
            <a:ext cx="4320479" cy="4320479"/>
          </a:xfrm>
          <a:prstGeom prst="arc">
            <a:avLst>
              <a:gd name="adj1" fmla="val 2006487"/>
              <a:gd name="adj2" fmla="val 5326851"/>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Ellipse 109">
            <a:extLst>
              <a:ext uri="{FF2B5EF4-FFF2-40B4-BE49-F238E27FC236}">
                <a16:creationId xmlns:a16="http://schemas.microsoft.com/office/drawing/2014/main" id="{C820C777-F5B6-4E79-9EEA-EB537FE60C8B}"/>
              </a:ext>
            </a:extLst>
          </p:cNvPr>
          <p:cNvSpPr/>
          <p:nvPr/>
        </p:nvSpPr>
        <p:spPr bwMode="gray">
          <a:xfrm>
            <a:off x="9058107" y="4774984"/>
            <a:ext cx="418781" cy="418781"/>
          </a:xfrm>
          <a:prstGeom prst="ellipse">
            <a:avLst/>
          </a:prstGeom>
          <a:solidFill>
            <a:schemeClr val="tx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accent1"/>
                </a:solidFill>
                <a:latin typeface="+mj-lt"/>
              </a:rPr>
              <a:t>!</a:t>
            </a:r>
          </a:p>
        </p:txBody>
      </p:sp>
      <p:sp>
        <p:nvSpPr>
          <p:cNvPr id="111" name="Textfeld 110">
            <a:extLst>
              <a:ext uri="{FF2B5EF4-FFF2-40B4-BE49-F238E27FC236}">
                <a16:creationId xmlns:a16="http://schemas.microsoft.com/office/drawing/2014/main" id="{2AED5CD6-7C74-4E87-BF14-FE1B94E51A33}"/>
              </a:ext>
            </a:extLst>
          </p:cNvPr>
          <p:cNvSpPr txBox="1"/>
          <p:nvPr/>
        </p:nvSpPr>
        <p:spPr bwMode="gray">
          <a:xfrm>
            <a:off x="9512370" y="4900314"/>
            <a:ext cx="2056238" cy="1264990"/>
          </a:xfrm>
          <a:prstGeom prst="rect">
            <a:avLst/>
          </a:prstGeom>
          <a:noFill/>
        </p:spPr>
        <p:txBody>
          <a:bodyPr wrap="square" lIns="108000" tIns="72000" rIns="108000" bIns="72000" rtlCol="0">
            <a:noAutofit/>
          </a:bodyPr>
          <a:lstStyle/>
          <a:p>
            <a:pPr>
              <a:buClr>
                <a:schemeClr val="accent1"/>
              </a:buClr>
            </a:pPr>
            <a:r>
              <a:rPr lang="en-US" sz="1000" dirty="0"/>
              <a:t>Please note!</a:t>
            </a:r>
            <a:br>
              <a:rPr lang="en-US" sz="1000" dirty="0"/>
            </a:br>
            <a:r>
              <a:rPr lang="en-US" sz="1000" dirty="0"/>
              <a:t>We do not recommend embedding the fonts permanently. Additional fonts are often unintentionally embedded in daily work with PowerPoint. This makes the file size unnecessarily larger.</a:t>
            </a:r>
          </a:p>
        </p:txBody>
      </p:sp>
      <p:sp>
        <p:nvSpPr>
          <p:cNvPr id="102" name="Bogen 101">
            <a:extLst>
              <a:ext uri="{FF2B5EF4-FFF2-40B4-BE49-F238E27FC236}">
                <a16:creationId xmlns:a16="http://schemas.microsoft.com/office/drawing/2014/main" id="{BAF90D56-554B-400F-98C5-0C97DB03FB71}"/>
              </a:ext>
            </a:extLst>
          </p:cNvPr>
          <p:cNvSpPr/>
          <p:nvPr/>
        </p:nvSpPr>
        <p:spPr bwMode="gray">
          <a:xfrm>
            <a:off x="6168008" y="918693"/>
            <a:ext cx="4320479" cy="4320479"/>
          </a:xfrm>
          <a:prstGeom prst="arc">
            <a:avLst>
              <a:gd name="adj1" fmla="val 11256954"/>
              <a:gd name="adj2" fmla="val 1236414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7">
            <a:extLst>
              <a:ext uri="{FF2B5EF4-FFF2-40B4-BE49-F238E27FC236}">
                <a16:creationId xmlns:a16="http://schemas.microsoft.com/office/drawing/2014/main" id="{BD217AED-E283-468A-9B7F-0F187351E66C}"/>
              </a:ext>
            </a:extLst>
          </p:cNvPr>
          <p:cNvGrpSpPr/>
          <p:nvPr/>
        </p:nvGrpSpPr>
        <p:grpSpPr bwMode="gray">
          <a:xfrm>
            <a:off x="4868660" y="2898308"/>
            <a:ext cx="3405765" cy="2825804"/>
            <a:chOff x="4868660" y="2934916"/>
            <a:chExt cx="3405765" cy="2825804"/>
          </a:xfrm>
        </p:grpSpPr>
        <p:sp>
          <p:nvSpPr>
            <p:cNvPr id="101" name="Sprechblase: rechteckig 100">
              <a:extLst>
                <a:ext uri="{FF2B5EF4-FFF2-40B4-BE49-F238E27FC236}">
                  <a16:creationId xmlns:a16="http://schemas.microsoft.com/office/drawing/2014/main" id="{A2A54808-1185-4D1F-9D14-8068C1DD38BF}"/>
                </a:ext>
              </a:extLst>
            </p:cNvPr>
            <p:cNvSpPr/>
            <p:nvPr/>
          </p:nvSpPr>
          <p:spPr bwMode="gray">
            <a:xfrm>
              <a:off x="4868660" y="2934916"/>
              <a:ext cx="3405765" cy="2825804"/>
            </a:xfrm>
            <a:prstGeom prst="wedgeRectCallout">
              <a:avLst>
                <a:gd name="adj1" fmla="val 61231"/>
                <a:gd name="adj2" fmla="val -33493"/>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6" name="Picture 5">
              <a:extLst>
                <a:ext uri="{FF2B5EF4-FFF2-40B4-BE49-F238E27FC236}">
                  <a16:creationId xmlns:a16="http://schemas.microsoft.com/office/drawing/2014/main" id="{73518451-6969-49FE-BB40-C039480A06ED}"/>
                </a:ext>
              </a:extLst>
            </p:cNvPr>
            <p:cNvPicPr>
              <a:picLocks noChangeAspect="1"/>
            </p:cNvPicPr>
            <p:nvPr/>
          </p:nvPicPr>
          <p:blipFill>
            <a:blip r:embed="rId2"/>
            <a:stretch>
              <a:fillRect/>
            </a:stretch>
          </p:blipFill>
          <p:spPr bwMode="gray">
            <a:xfrm>
              <a:off x="4976742" y="3038769"/>
              <a:ext cx="3189600" cy="2618099"/>
            </a:xfrm>
            <a:prstGeom prst="rect">
              <a:avLst/>
            </a:prstGeom>
          </p:spPr>
        </p:pic>
      </p:grpSp>
      <p:pic>
        <p:nvPicPr>
          <p:cNvPr id="100" name="Picture 99">
            <a:extLst>
              <a:ext uri="{FF2B5EF4-FFF2-40B4-BE49-F238E27FC236}">
                <a16:creationId xmlns:a16="http://schemas.microsoft.com/office/drawing/2014/main" id="{D7644C1F-F610-4951-BD43-37E30B0AECFB}"/>
              </a:ext>
            </a:extLst>
          </p:cNvPr>
          <p:cNvPicPr>
            <a:picLocks noChangeAspect="1"/>
          </p:cNvPicPr>
          <p:nvPr/>
        </p:nvPicPr>
        <p:blipFill rotWithShape="1">
          <a:blip r:embed="rId3"/>
          <a:srcRect l="368" r="582" b="943"/>
          <a:stretch/>
        </p:blipFill>
        <p:spPr bwMode="gray">
          <a:xfrm>
            <a:off x="9546080" y="2217267"/>
            <a:ext cx="1569600" cy="849728"/>
          </a:xfrm>
          <a:prstGeom prst="rect">
            <a:avLst/>
          </a:prstGeom>
        </p:spPr>
      </p:pic>
      <p:sp>
        <p:nvSpPr>
          <p:cNvPr id="9" name="Fußzeilenplatzhalter 8">
            <a:extLst>
              <a:ext uri="{FF2B5EF4-FFF2-40B4-BE49-F238E27FC236}">
                <a16:creationId xmlns:a16="http://schemas.microsoft.com/office/drawing/2014/main" id="{77EE0E8E-19C4-4CCC-99A2-5470B175F57B}"/>
              </a:ext>
            </a:extLst>
          </p:cNvPr>
          <p:cNvSpPr>
            <a:spLocks noGrp="1"/>
          </p:cNvSpPr>
          <p:nvPr>
            <p:ph type="ftr" sz="quarter" idx="16"/>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FE7AE624-D6E3-46F4-921C-89F8DC847852}"/>
              </a:ext>
            </a:extLst>
          </p:cNvPr>
          <p:cNvSpPr>
            <a:spLocks noGrp="1"/>
          </p:cNvSpPr>
          <p:nvPr>
            <p:ph type="sldNum" sz="quarter" idx="12"/>
          </p:nvPr>
        </p:nvSpPr>
        <p:spPr/>
        <p:txBody>
          <a:bodyPr/>
          <a:lstStyle/>
          <a:p>
            <a:fld id="{CE82B8A1-0CCE-4815-9668-383D7DE7D8B4}" type="slidenum">
              <a:rPr lang="en-US" noProof="0" smtClean="0"/>
              <a:pPr/>
              <a:t>1</a:t>
            </a:fld>
            <a:endParaRPr lang="en-US" noProof="0" dirty="0"/>
          </a:p>
        </p:txBody>
      </p:sp>
    </p:spTree>
    <p:extLst>
      <p:ext uri="{BB962C8B-B14F-4D97-AF65-F5344CB8AC3E}">
        <p14:creationId xmlns:p14="http://schemas.microsoft.com/office/powerpoint/2010/main" val="15140427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B46E6B-B704-468C-A603-FBF35B0FE344}"/>
              </a:ext>
            </a:extLst>
          </p:cNvPr>
          <p:cNvSpPr>
            <a:spLocks noGrp="1"/>
          </p:cNvSpPr>
          <p:nvPr>
            <p:ph type="title"/>
          </p:nvPr>
        </p:nvSpPr>
        <p:spPr bwMode="gray"/>
        <p:txBody>
          <a:bodyPr/>
          <a:lstStyle/>
          <a:p>
            <a:r>
              <a:rPr lang="en-US" dirty="0"/>
              <a:t>Lorem ipsum dolor sit amet, consectetuer adipiscing elit</a:t>
            </a:r>
          </a:p>
        </p:txBody>
      </p:sp>
      <p:sp>
        <p:nvSpPr>
          <p:cNvPr id="3" name="Inhaltsplatzhalter 2">
            <a:extLst>
              <a:ext uri="{FF2B5EF4-FFF2-40B4-BE49-F238E27FC236}">
                <a16:creationId xmlns:a16="http://schemas.microsoft.com/office/drawing/2014/main" id="{72B55F11-EBC0-4EE1-9CB1-0F013D86E1F5}"/>
              </a:ext>
            </a:extLst>
          </p:cNvPr>
          <p:cNvSpPr>
            <a:spLocks noGrp="1"/>
          </p:cNvSpPr>
          <p:nvPr>
            <p:ph idx="1"/>
          </p:nvPr>
        </p:nvSpPr>
        <p:spPr bwMode="gray"/>
        <p:txBody>
          <a:bodyPr/>
          <a:lstStyle/>
          <a:p>
            <a:r>
              <a:rPr lang="en-US" dirty="0"/>
              <a:t>Lorem ipsum dolor sit amet, consectetuer adipiscing elit. Maecenas porttitor congue </a:t>
            </a:r>
            <a:r>
              <a:rPr lang="en-US" dirty="0" err="1"/>
              <a:t>massa</a:t>
            </a:r>
            <a:r>
              <a:rPr lang="en-US" dirty="0"/>
              <a:t>.</a:t>
            </a:r>
            <a:br>
              <a:rPr lang="en-US" dirty="0"/>
            </a:br>
            <a:r>
              <a:rPr lang="en-US" dirty="0" err="1"/>
              <a:t>Fusce</a:t>
            </a:r>
            <a:r>
              <a:rPr lang="en-US" dirty="0"/>
              <a:t> posuere, magna sed pulvinar ultricies, purus lectus malesuada libero, sit amet commodo magna eros quis urna.</a:t>
            </a:r>
          </a:p>
          <a:p>
            <a:pPr lvl="1"/>
            <a:r>
              <a:rPr lang="en-US" dirty="0"/>
              <a:t>Nunc viverra imperdiet enim. Fusce est. Vivamus a tellus. Pellentesque habitant morbi tristique senectus et netus et malesuada fames ac turpis egestas. Proin pharetra nonummy pede. Mauris et </a:t>
            </a:r>
            <a:r>
              <a:rPr lang="en-US" dirty="0" err="1"/>
              <a:t>orci</a:t>
            </a:r>
            <a:r>
              <a:rPr lang="en-US" dirty="0"/>
              <a:t>.</a:t>
            </a:r>
          </a:p>
          <a:p>
            <a:pPr lvl="2"/>
            <a:r>
              <a:rPr lang="en-US" dirty="0"/>
              <a:t>Lorem ipsum dolor sit amet, consectetuer adipiscing elit. Maecenas porttitor congue massa. Fusce posuere, magna sed pulvinar ultricies, purus lectus malesuada libero, sit amet commodo magna eros quis urna.</a:t>
            </a:r>
          </a:p>
          <a:p>
            <a:pPr lvl="2"/>
            <a:r>
              <a:rPr lang="en-US" dirty="0"/>
              <a:t>Nunc viverra imperdiet enim. Fusce est. Vivamus a tellus.</a:t>
            </a:r>
          </a:p>
          <a:p>
            <a:pPr lvl="3"/>
            <a:r>
              <a:rPr lang="en-US" dirty="0"/>
              <a:t>Pellentesque habitant morbi tristique senectus et netus et malesuada fames ac turpis egestas.</a:t>
            </a:r>
          </a:p>
          <a:p>
            <a:pPr lvl="3"/>
            <a:r>
              <a:rPr lang="en-US" dirty="0"/>
              <a:t>Proin pharetra nonummy pede. Mauris et orci.</a:t>
            </a:r>
          </a:p>
          <a:p>
            <a:pPr lvl="1"/>
            <a:br>
              <a:rPr lang="en-US" dirty="0"/>
            </a:br>
            <a:endParaRPr lang="en-US" dirty="0"/>
          </a:p>
        </p:txBody>
      </p:sp>
      <p:sp>
        <p:nvSpPr>
          <p:cNvPr id="7" name="Fußzeilenplatzhalter 6">
            <a:extLst>
              <a:ext uri="{FF2B5EF4-FFF2-40B4-BE49-F238E27FC236}">
                <a16:creationId xmlns:a16="http://schemas.microsoft.com/office/drawing/2014/main" id="{106CED08-91D4-44FB-A688-2C0570584855}"/>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4" name="Foliennummernplatzhalter 3">
            <a:extLst>
              <a:ext uri="{FF2B5EF4-FFF2-40B4-BE49-F238E27FC236}">
                <a16:creationId xmlns:a16="http://schemas.microsoft.com/office/drawing/2014/main" id="{39D58E62-3A02-4529-A6BC-3EABACACBA6C}"/>
              </a:ext>
            </a:extLst>
          </p:cNvPr>
          <p:cNvSpPr>
            <a:spLocks noGrp="1"/>
          </p:cNvSpPr>
          <p:nvPr>
            <p:ph type="sldNum" sz="quarter" idx="12"/>
          </p:nvPr>
        </p:nvSpPr>
        <p:spPr/>
        <p:txBody>
          <a:bodyPr/>
          <a:lstStyle/>
          <a:p>
            <a:fld id="{CE82B8A1-0CCE-4815-9668-383D7DE7D8B4}" type="slidenum">
              <a:rPr lang="en-US" noProof="0" smtClean="0"/>
              <a:t>10</a:t>
            </a:fld>
            <a:endParaRPr lang="en-US" noProof="0" dirty="0"/>
          </a:p>
        </p:txBody>
      </p:sp>
      <p:sp>
        <p:nvSpPr>
          <p:cNvPr id="8" name="Rechteck 7">
            <a:extLst>
              <a:ext uri="{FF2B5EF4-FFF2-40B4-BE49-F238E27FC236}">
                <a16:creationId xmlns:a16="http://schemas.microsoft.com/office/drawing/2014/main" id="{155742BE-6BB0-48DB-8C27-05BA0D5EF5E3}"/>
              </a:ext>
            </a:extLst>
          </p:cNvPr>
          <p:cNvSpPr/>
          <p:nvPr/>
        </p:nvSpPr>
        <p:spPr bwMode="gray">
          <a:xfrm>
            <a:off x="623393" y="3087"/>
            <a:ext cx="1584000" cy="288000"/>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r"/>
            <a:r>
              <a:rPr lang="de-DE" sz="1200" cap="all" dirty="0">
                <a:solidFill>
                  <a:schemeClr val="bg1"/>
                </a:solidFill>
                <a:latin typeface="+mj-lt"/>
              </a:rPr>
              <a:t>Internal use only</a:t>
            </a:r>
          </a:p>
        </p:txBody>
      </p:sp>
    </p:spTree>
    <p:extLst>
      <p:ext uri="{BB962C8B-B14F-4D97-AF65-F5344CB8AC3E}">
        <p14:creationId xmlns:p14="http://schemas.microsoft.com/office/powerpoint/2010/main" val="296194603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360C3B5-9DAB-4B8B-8E5D-A3A44FACA449}"/>
              </a:ext>
            </a:extLst>
          </p:cNvPr>
          <p:cNvSpPr/>
          <p:nvPr/>
        </p:nvSpPr>
        <p:spPr bwMode="gray">
          <a:xfrm>
            <a:off x="8183563" y="188912"/>
            <a:ext cx="3817093" cy="6480175"/>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icture</a:t>
            </a:r>
          </a:p>
        </p:txBody>
      </p:sp>
      <p:sp>
        <p:nvSpPr>
          <p:cNvPr id="7" name="Textplatzhalter 3">
            <a:extLst>
              <a:ext uri="{FF2B5EF4-FFF2-40B4-BE49-F238E27FC236}">
                <a16:creationId xmlns:a16="http://schemas.microsoft.com/office/drawing/2014/main" id="{D2474466-E514-48F8-80BD-AC94148C0552}"/>
              </a:ext>
            </a:extLst>
          </p:cNvPr>
          <p:cNvSpPr txBox="1">
            <a:spLocks/>
          </p:cNvSpPr>
          <p:nvPr/>
        </p:nvSpPr>
        <p:spPr bwMode="gray">
          <a:xfrm>
            <a:off x="623392" y="188640"/>
            <a:ext cx="5328146" cy="1512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t>Conclusion/vote</a:t>
            </a:r>
          </a:p>
        </p:txBody>
      </p:sp>
      <p:cxnSp>
        <p:nvCxnSpPr>
          <p:cNvPr id="8" name="Gerader Verbinder 7">
            <a:extLst>
              <a:ext uri="{FF2B5EF4-FFF2-40B4-BE49-F238E27FC236}">
                <a16:creationId xmlns:a16="http://schemas.microsoft.com/office/drawing/2014/main" id="{3FCA4547-E06B-4E84-863A-77215929B4C4}"/>
              </a:ext>
            </a:extLst>
          </p:cNvPr>
          <p:cNvCxnSpPr/>
          <p:nvPr/>
        </p:nvCxnSpPr>
        <p:spPr bwMode="gray">
          <a:xfrm>
            <a:off x="623392" y="1988840"/>
            <a:ext cx="1295697"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platzhalter 3">
            <a:extLst>
              <a:ext uri="{FF2B5EF4-FFF2-40B4-BE49-F238E27FC236}">
                <a16:creationId xmlns:a16="http://schemas.microsoft.com/office/drawing/2014/main" id="{E1DB8920-42FF-405B-A856-D036D42450DC}"/>
              </a:ext>
            </a:extLst>
          </p:cNvPr>
          <p:cNvSpPr txBox="1">
            <a:spLocks/>
          </p:cNvSpPr>
          <p:nvPr/>
        </p:nvSpPr>
        <p:spPr bwMode="gray">
          <a:xfrm>
            <a:off x="623392" y="2277016"/>
            <a:ext cx="7344000" cy="504000"/>
          </a:xfrm>
          <a:prstGeom prst="rect">
            <a:avLst/>
          </a:prstGeom>
        </p:spPr>
        <p:txBody>
          <a:bodyPr wrap="squar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tx1"/>
                </a:solidFill>
                <a:latin typeface="+mn-lt"/>
              </a:rPr>
              <a:t>First-name.surname@draeger.com </a:t>
            </a:r>
            <a:r>
              <a:rPr lang="en-US" sz="1600" dirty="0">
                <a:latin typeface="+mn-lt"/>
              </a:rPr>
              <a:t>|</a:t>
            </a:r>
            <a:r>
              <a:rPr lang="en-US" sz="1600" dirty="0">
                <a:solidFill>
                  <a:schemeClr val="tx1"/>
                </a:solidFill>
                <a:latin typeface="+mn-lt"/>
              </a:rPr>
              <a:t> Tel +49 451 882-2076</a:t>
            </a:r>
            <a:r>
              <a:rPr lang="en-US" sz="1600" dirty="0">
                <a:latin typeface="+mn-lt"/>
              </a:rPr>
              <a:t> | </a:t>
            </a:r>
            <a:r>
              <a:rPr lang="en-US" sz="1600" dirty="0">
                <a:solidFill>
                  <a:schemeClr val="tx1"/>
                </a:solidFill>
                <a:latin typeface="+mn-lt"/>
              </a:rPr>
              <a:t>Mobile +49 152 000 000 00</a:t>
            </a:r>
          </a:p>
        </p:txBody>
      </p:sp>
      <p:sp>
        <p:nvSpPr>
          <p:cNvPr id="12" name="Textplatzhalter 3">
            <a:extLst>
              <a:ext uri="{FF2B5EF4-FFF2-40B4-BE49-F238E27FC236}">
                <a16:creationId xmlns:a16="http://schemas.microsoft.com/office/drawing/2014/main" id="{0801BBA7-5004-44FD-8773-3CB223DF11A3}"/>
              </a:ext>
            </a:extLst>
          </p:cNvPr>
          <p:cNvSpPr txBox="1">
            <a:spLocks/>
          </p:cNvSpPr>
          <p:nvPr/>
        </p:nvSpPr>
        <p:spPr bwMode="gray">
          <a:xfrm>
            <a:off x="2063552" y="1736848"/>
            <a:ext cx="3888000" cy="324000"/>
          </a:xfrm>
          <a:prstGeom prst="rect">
            <a:avLst/>
          </a:prstGeom>
        </p:spPr>
        <p:txBody>
          <a:bodyPr wrap="squar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2000" dirty="0">
                <a:solidFill>
                  <a:schemeClr val="accent5"/>
                </a:solidFill>
              </a:rPr>
              <a:t>Position</a:t>
            </a:r>
          </a:p>
        </p:txBody>
      </p:sp>
      <p:sp>
        <p:nvSpPr>
          <p:cNvPr id="2" name="Fußzeilenplatzhalter 1">
            <a:extLst>
              <a:ext uri="{FF2B5EF4-FFF2-40B4-BE49-F238E27FC236}">
                <a16:creationId xmlns:a16="http://schemas.microsoft.com/office/drawing/2014/main" id="{9D23E3A4-780F-42FA-89DE-FB47311446EF}"/>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10" name="Textplatzhalter 15">
            <a:extLst>
              <a:ext uri="{FF2B5EF4-FFF2-40B4-BE49-F238E27FC236}">
                <a16:creationId xmlns:a16="http://schemas.microsoft.com/office/drawing/2014/main" id="{B3CF0249-8E98-4CB4-B18D-F5582442D376}"/>
              </a:ext>
            </a:extLst>
          </p:cNvPr>
          <p:cNvSpPr txBox="1">
            <a:spLocks/>
          </p:cNvSpPr>
          <p:nvPr/>
        </p:nvSpPr>
        <p:spPr bwMode="gray">
          <a:xfrm>
            <a:off x="640532" y="2780927"/>
            <a:ext cx="7111231" cy="3528000"/>
          </a:xfrm>
          <a:prstGeom prst="rect">
            <a:avLst/>
          </a:prstGeom>
        </p:spPr>
        <p:txBody>
          <a:bodyPr lIns="0" tIns="0" rIns="0" bIns="0" numCol="2" spcCol="50400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Aft>
                <a:spcPts val="600"/>
              </a:spcAft>
            </a:pPr>
            <a:r>
              <a:rPr lang="en-US" dirty="0"/>
              <a:t>Lorem ipsum dolor sit amet, consectetuer adipiscing elit.</a:t>
            </a:r>
          </a:p>
          <a:p>
            <a:pPr lvl="1"/>
            <a:r>
              <a:rPr lang="en-US" dirty="0"/>
              <a:t>Maecenas porttitor congue massa.</a:t>
            </a:r>
            <a:br>
              <a:rPr lang="en-US" dirty="0"/>
            </a:br>
            <a:r>
              <a:rPr lang="en-US" dirty="0"/>
              <a:t>Fusce posuere, magna sed pulvinar.</a:t>
            </a:r>
          </a:p>
          <a:p>
            <a:pPr lvl="2"/>
            <a:r>
              <a:rPr lang="en-US" dirty="0"/>
              <a:t>Lorem ipsum dolor sit amet, consectetuer adipiscing elit</a:t>
            </a:r>
          </a:p>
          <a:p>
            <a:pPr lvl="2"/>
            <a:r>
              <a:rPr lang="en-US" dirty="0"/>
              <a:t>Maecenas porttitor congue massa.</a:t>
            </a:r>
          </a:p>
          <a:p>
            <a:pPr lvl="2"/>
            <a:r>
              <a:rPr lang="en-US" dirty="0"/>
              <a:t>Fusce posuere, magna sed pulvinar</a:t>
            </a:r>
            <a:br>
              <a:rPr lang="en-US" dirty="0"/>
            </a:br>
            <a:r>
              <a:rPr lang="en-US" dirty="0"/>
              <a:t>Nunc viverra imperdiet enim</a:t>
            </a:r>
          </a:p>
          <a:p>
            <a:pPr lvl="2"/>
            <a:r>
              <a:rPr lang="en-US" dirty="0"/>
              <a:t>Fusce </a:t>
            </a:r>
            <a:r>
              <a:rPr lang="en-US" dirty="0" err="1"/>
              <a:t>est</a:t>
            </a:r>
            <a:r>
              <a:rPr lang="en-US" dirty="0"/>
              <a:t> Vivamus a tellus</a:t>
            </a:r>
          </a:p>
          <a:p>
            <a:pPr lvl="2"/>
            <a:r>
              <a:rPr lang="en-US" dirty="0"/>
              <a:t>Lorem ipsum dolor sit amet,</a:t>
            </a:r>
            <a:br>
              <a:rPr lang="en-US" dirty="0"/>
            </a:br>
            <a:r>
              <a:rPr lang="en-US" dirty="0"/>
              <a:t>consectetuer adipiscing elit</a:t>
            </a:r>
          </a:p>
          <a:p>
            <a:pPr lvl="2"/>
            <a:r>
              <a:rPr lang="en-US" dirty="0"/>
              <a:t>Maecenas porttitor congue </a:t>
            </a:r>
            <a:r>
              <a:rPr lang="en-US" dirty="0" err="1"/>
              <a:t>massa</a:t>
            </a:r>
            <a:r>
              <a:rPr lang="en-US" dirty="0"/>
              <a:t> </a:t>
            </a:r>
            <a:r>
              <a:rPr lang="en-US" dirty="0" err="1"/>
              <a:t>fusce</a:t>
            </a:r>
            <a:r>
              <a:rPr lang="en-US" dirty="0"/>
              <a:t> posuere, magna sed pulvinar ultricies, </a:t>
            </a:r>
          </a:p>
          <a:p>
            <a:pPr lvl="2"/>
            <a:r>
              <a:rPr lang="en-US" dirty="0"/>
              <a:t>Purus lectus malesuada libero, sit amet commodo magna eros </a:t>
            </a:r>
            <a:r>
              <a:rPr lang="en-US" dirty="0" err="1"/>
              <a:t>quis</a:t>
            </a:r>
            <a:r>
              <a:rPr lang="en-US" dirty="0"/>
              <a:t> </a:t>
            </a:r>
            <a:r>
              <a:rPr lang="en-US" dirty="0" err="1"/>
              <a:t>urna</a:t>
            </a:r>
            <a:endParaRPr lang="en-US" dirty="0"/>
          </a:p>
          <a:p>
            <a:pPr lvl="2"/>
            <a:r>
              <a:rPr lang="en-US" dirty="0"/>
              <a:t>Nunc viverra imperdiet enim</a:t>
            </a:r>
          </a:p>
          <a:p>
            <a:pPr lvl="2"/>
            <a:r>
              <a:rPr lang="en-US" dirty="0" err="1"/>
              <a:t>Fusce</a:t>
            </a:r>
            <a:r>
              <a:rPr lang="en-US" dirty="0"/>
              <a:t> est. Vivamus a tellus</a:t>
            </a:r>
          </a:p>
          <a:p>
            <a:pPr marL="0" lvl="2" indent="0">
              <a:buNone/>
            </a:pPr>
            <a:endParaRPr lang="en-US" dirty="0"/>
          </a:p>
          <a:p>
            <a:pPr marL="0" lvl="2" indent="0">
              <a:buNone/>
            </a:pPr>
            <a:r>
              <a:rPr lang="en-US" dirty="0" err="1"/>
              <a:t>Pellentesque</a:t>
            </a:r>
            <a:r>
              <a:rPr lang="en-US" dirty="0"/>
              <a:t> habitant morbi tristique senectus et netus et malesuada fames ac turpis egestas. Proin pharetra nonummy pede. Mauris et orci.</a:t>
            </a:r>
          </a:p>
          <a:p>
            <a:pPr marL="0" lvl="2" indent="0">
              <a:buNone/>
            </a:pPr>
            <a:r>
              <a:rPr lang="en-US" dirty="0"/>
              <a:t>Lorem ipsum dolor sit amet, consectetuer adipiscing elit. Maecenas porttitor congue massa. Fusce posuere, magna sed pulvinar ultricies, habitant morbi</a:t>
            </a:r>
          </a:p>
        </p:txBody>
      </p:sp>
      <p:sp>
        <p:nvSpPr>
          <p:cNvPr id="3" name="Foliennummernplatzhalter 2">
            <a:extLst>
              <a:ext uri="{FF2B5EF4-FFF2-40B4-BE49-F238E27FC236}">
                <a16:creationId xmlns:a16="http://schemas.microsoft.com/office/drawing/2014/main" id="{DA1DB434-F892-4D34-A020-1B9AFAF80904}"/>
              </a:ext>
            </a:extLst>
          </p:cNvPr>
          <p:cNvSpPr>
            <a:spLocks noGrp="1"/>
          </p:cNvSpPr>
          <p:nvPr>
            <p:ph type="sldNum" sz="quarter" idx="12"/>
          </p:nvPr>
        </p:nvSpPr>
        <p:spPr/>
        <p:txBody>
          <a:bodyPr/>
          <a:lstStyle/>
          <a:p>
            <a:fld id="{CE82B8A1-0CCE-4815-9668-383D7DE7D8B4}" type="slidenum">
              <a:rPr lang="en-US" smtClean="0"/>
              <a:t>100</a:t>
            </a:fld>
            <a:endParaRPr lang="en-US" dirty="0"/>
          </a:p>
        </p:txBody>
      </p:sp>
    </p:spTree>
    <p:extLst>
      <p:ext uri="{BB962C8B-B14F-4D97-AF65-F5344CB8AC3E}">
        <p14:creationId xmlns:p14="http://schemas.microsoft.com/office/powerpoint/2010/main" val="255625440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447A662F-D257-4D47-BAB5-808D88CE136A}"/>
              </a:ext>
            </a:extLst>
          </p:cNvPr>
          <p:cNvSpPr>
            <a:spLocks noGrp="1"/>
          </p:cNvSpPr>
          <p:nvPr>
            <p:ph type="title"/>
          </p:nvPr>
        </p:nvSpPr>
        <p:spPr bwMode="gray"/>
        <p:txBody>
          <a:bodyPr/>
          <a:lstStyle/>
          <a:p>
            <a:r>
              <a:rPr lang="en-US" dirty="0"/>
              <a:t>Many thanks</a:t>
            </a:r>
          </a:p>
        </p:txBody>
      </p:sp>
      <p:sp>
        <p:nvSpPr>
          <p:cNvPr id="5" name="Textplatzhalter 4">
            <a:extLst>
              <a:ext uri="{FF2B5EF4-FFF2-40B4-BE49-F238E27FC236}">
                <a16:creationId xmlns:a16="http://schemas.microsoft.com/office/drawing/2014/main" id="{B31EE6EB-2C08-469F-AD1F-7D8D502C1D1E}"/>
              </a:ext>
            </a:extLst>
          </p:cNvPr>
          <p:cNvSpPr>
            <a:spLocks noGrp="1"/>
          </p:cNvSpPr>
          <p:nvPr>
            <p:ph type="body" sz="quarter" idx="1"/>
          </p:nvPr>
        </p:nvSpPr>
        <p:spPr bwMode="gray"/>
        <p:txBody>
          <a:bodyPr/>
          <a:lstStyle/>
          <a:p>
            <a:r>
              <a:rPr lang="en-US" dirty="0"/>
              <a:t>Max Mustermann | Position</a:t>
            </a:r>
          </a:p>
          <a:p>
            <a:pPr lvl="1"/>
            <a:r>
              <a:rPr lang="en-US" dirty="0"/>
              <a:t>Musterstraße 00</a:t>
            </a:r>
          </a:p>
          <a:p>
            <a:pPr lvl="1"/>
            <a:r>
              <a:rPr lang="en-US" dirty="0"/>
              <a:t>00 00 0 Musterstadt</a:t>
            </a:r>
          </a:p>
          <a:p>
            <a:pPr lvl="1"/>
            <a:endParaRPr lang="en-US" dirty="0"/>
          </a:p>
          <a:p>
            <a:pPr lvl="1"/>
            <a:r>
              <a:rPr lang="en-US" dirty="0"/>
              <a:t>Tel. 000 000 000 00</a:t>
            </a:r>
          </a:p>
          <a:p>
            <a:pPr lvl="1"/>
            <a:r>
              <a:rPr lang="en-US" dirty="0"/>
              <a:t>Mail max.mustermann@draeger.com</a:t>
            </a:r>
          </a:p>
        </p:txBody>
      </p:sp>
      <p:sp>
        <p:nvSpPr>
          <p:cNvPr id="2" name="Fußzeilenplatzhalter 1">
            <a:extLst>
              <a:ext uri="{FF2B5EF4-FFF2-40B4-BE49-F238E27FC236}">
                <a16:creationId xmlns:a16="http://schemas.microsoft.com/office/drawing/2014/main" id="{2CE83861-63C1-442B-B062-719D67F8049F}"/>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B5049876-CAA1-4324-A04F-BA1D9ADF6DDB}"/>
              </a:ext>
            </a:extLst>
          </p:cNvPr>
          <p:cNvSpPr>
            <a:spLocks noGrp="1"/>
          </p:cNvSpPr>
          <p:nvPr>
            <p:ph type="sldNum" sz="quarter" idx="12"/>
          </p:nvPr>
        </p:nvSpPr>
        <p:spPr/>
        <p:txBody>
          <a:bodyPr/>
          <a:lstStyle/>
          <a:p>
            <a:fld id="{CE82B8A1-0CCE-4815-9668-383D7DE7D8B4}" type="slidenum">
              <a:rPr lang="en-US" noProof="0" smtClean="0"/>
              <a:pPr/>
              <a:t>101</a:t>
            </a:fld>
            <a:endParaRPr lang="en-US" noProof="0" dirty="0"/>
          </a:p>
        </p:txBody>
      </p:sp>
    </p:spTree>
    <p:extLst>
      <p:ext uri="{BB962C8B-B14F-4D97-AF65-F5344CB8AC3E}">
        <p14:creationId xmlns:p14="http://schemas.microsoft.com/office/powerpoint/2010/main" val="2033825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108733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80AC895C-EF86-44B3-81F6-00AA2B705DAD}"/>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bwMode="gray">
          <a:xfrm>
            <a:off x="661539" y="549943"/>
            <a:ext cx="2011937" cy="1131714"/>
          </a:xfrm>
          <a:prstGeom prst="rect">
            <a:avLst/>
          </a:prstGeom>
          <a:ln>
            <a:solidFill>
              <a:schemeClr val="bg2"/>
            </a:solidFill>
          </a:ln>
        </p:spPr>
      </p:pic>
      <p:sp>
        <p:nvSpPr>
          <p:cNvPr id="26" name="Textplatzhalter 4">
            <a:extLst>
              <a:ext uri="{FF2B5EF4-FFF2-40B4-BE49-F238E27FC236}">
                <a16:creationId xmlns:a16="http://schemas.microsoft.com/office/drawing/2014/main" id="{CFF36CCE-2087-4E44-9C35-BA05004F1A0D}"/>
              </a:ext>
            </a:extLst>
          </p:cNvPr>
          <p:cNvSpPr txBox="1">
            <a:spLocks/>
          </p:cNvSpPr>
          <p:nvPr/>
        </p:nvSpPr>
        <p:spPr bwMode="gray">
          <a:xfrm>
            <a:off x="659508" y="170092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Welcome</a:t>
            </a:r>
          </a:p>
          <a:p>
            <a:pPr lvl="1"/>
            <a:r>
              <a:rPr lang="en-US" sz="1200" dirty="0"/>
              <a:t>Use the Dräger welcome slide to start your meeting. This slide provides you with an introduction without revealing your topic.</a:t>
            </a:r>
          </a:p>
        </p:txBody>
      </p:sp>
      <p:pic>
        <p:nvPicPr>
          <p:cNvPr id="29" name="Grafik 28">
            <a:extLst>
              <a:ext uri="{FF2B5EF4-FFF2-40B4-BE49-F238E27FC236}">
                <a16:creationId xmlns:a16="http://schemas.microsoft.com/office/drawing/2014/main" id="{23D2F6DF-07CC-4FB1-9254-81880227847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bwMode="gray">
          <a:xfrm>
            <a:off x="3613867" y="549943"/>
            <a:ext cx="2011937" cy="1131714"/>
          </a:xfrm>
          <a:prstGeom prst="rect">
            <a:avLst/>
          </a:prstGeom>
          <a:ln>
            <a:solidFill>
              <a:schemeClr val="bg2"/>
            </a:solidFill>
          </a:ln>
        </p:spPr>
      </p:pic>
      <p:sp>
        <p:nvSpPr>
          <p:cNvPr id="30" name="Textplatzhalter 4">
            <a:extLst>
              <a:ext uri="{FF2B5EF4-FFF2-40B4-BE49-F238E27FC236}">
                <a16:creationId xmlns:a16="http://schemas.microsoft.com/office/drawing/2014/main" id="{5A543153-C8B0-4164-AE49-3D2274F00117}"/>
              </a:ext>
            </a:extLst>
          </p:cNvPr>
          <p:cNvSpPr txBox="1">
            <a:spLocks/>
          </p:cNvSpPr>
          <p:nvPr/>
        </p:nvSpPr>
        <p:spPr bwMode="gray">
          <a:xfrm>
            <a:off x="3611836" y="170092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Title</a:t>
            </a:r>
          </a:p>
          <a:p>
            <a:pPr lvl="1"/>
            <a:r>
              <a:rPr lang="en-US" sz="1200" dirty="0"/>
              <a:t>The wording of the title and the selection of the title design can itself contain a provocative question or an accentuation of the topic.</a:t>
            </a:r>
          </a:p>
        </p:txBody>
      </p:sp>
      <p:pic>
        <p:nvPicPr>
          <p:cNvPr id="32" name="Grafik 31">
            <a:extLst>
              <a:ext uri="{FF2B5EF4-FFF2-40B4-BE49-F238E27FC236}">
                <a16:creationId xmlns:a16="http://schemas.microsoft.com/office/drawing/2014/main" id="{804E9853-F912-4ED9-BA97-F7000D206BE1}"/>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bwMode="gray">
          <a:xfrm>
            <a:off x="6566195" y="549943"/>
            <a:ext cx="2011936" cy="1131714"/>
          </a:xfrm>
          <a:prstGeom prst="rect">
            <a:avLst/>
          </a:prstGeom>
          <a:ln>
            <a:solidFill>
              <a:schemeClr val="bg2"/>
            </a:solidFill>
          </a:ln>
        </p:spPr>
      </p:pic>
      <p:sp>
        <p:nvSpPr>
          <p:cNvPr id="33" name="Textplatzhalter 4">
            <a:extLst>
              <a:ext uri="{FF2B5EF4-FFF2-40B4-BE49-F238E27FC236}">
                <a16:creationId xmlns:a16="http://schemas.microsoft.com/office/drawing/2014/main" id="{0FA93D38-70EC-4982-B8CC-4EF4D0FA4D13}"/>
              </a:ext>
            </a:extLst>
          </p:cNvPr>
          <p:cNvSpPr txBox="1">
            <a:spLocks/>
          </p:cNvSpPr>
          <p:nvPr/>
        </p:nvSpPr>
        <p:spPr bwMode="gray">
          <a:xfrm>
            <a:off x="6564164" y="170092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Challenge</a:t>
            </a:r>
          </a:p>
          <a:p>
            <a:pPr lvl="1"/>
            <a:r>
              <a:rPr lang="en-US" sz="1200" dirty="0"/>
              <a:t>What is the task you face? What makes the task so challenging and possibly complicated?</a:t>
            </a:r>
          </a:p>
        </p:txBody>
      </p:sp>
      <p:pic>
        <p:nvPicPr>
          <p:cNvPr id="35" name="Grafik 34">
            <a:extLst>
              <a:ext uri="{FF2B5EF4-FFF2-40B4-BE49-F238E27FC236}">
                <a16:creationId xmlns:a16="http://schemas.microsoft.com/office/drawing/2014/main" id="{C414D557-8660-4A23-A913-7F299CAFDBA8}"/>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bwMode="gray">
          <a:xfrm>
            <a:off x="9518523" y="549943"/>
            <a:ext cx="2011936" cy="1131714"/>
          </a:xfrm>
          <a:prstGeom prst="rect">
            <a:avLst/>
          </a:prstGeom>
          <a:ln>
            <a:solidFill>
              <a:schemeClr val="bg2"/>
            </a:solidFill>
          </a:ln>
        </p:spPr>
      </p:pic>
      <p:sp>
        <p:nvSpPr>
          <p:cNvPr id="36" name="Textplatzhalter 4">
            <a:extLst>
              <a:ext uri="{FF2B5EF4-FFF2-40B4-BE49-F238E27FC236}">
                <a16:creationId xmlns:a16="http://schemas.microsoft.com/office/drawing/2014/main" id="{3A9888BF-0A43-4625-89EA-EDDCA27536F5}"/>
              </a:ext>
            </a:extLst>
          </p:cNvPr>
          <p:cNvSpPr txBox="1">
            <a:spLocks/>
          </p:cNvSpPr>
          <p:nvPr/>
        </p:nvSpPr>
        <p:spPr bwMode="gray">
          <a:xfrm>
            <a:off x="9516492" y="170092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Idea</a:t>
            </a:r>
          </a:p>
          <a:p>
            <a:pPr lvl="1"/>
            <a:r>
              <a:rPr lang="en-US" sz="1200" dirty="0"/>
              <a:t>What is the core idea you will be using to face this challenge? Can it be broken down into one or two sentences?</a:t>
            </a:r>
          </a:p>
        </p:txBody>
      </p:sp>
      <p:pic>
        <p:nvPicPr>
          <p:cNvPr id="49" name="Grafik 48">
            <a:extLst>
              <a:ext uri="{FF2B5EF4-FFF2-40B4-BE49-F238E27FC236}">
                <a16:creationId xmlns:a16="http://schemas.microsoft.com/office/drawing/2014/main" id="{42CF93ED-BCC1-47EC-9F25-C311F7070C0D}"/>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bwMode="gray">
          <a:xfrm>
            <a:off x="661539" y="3430143"/>
            <a:ext cx="2011936" cy="1131714"/>
          </a:xfrm>
          <a:prstGeom prst="rect">
            <a:avLst/>
          </a:prstGeom>
          <a:ln>
            <a:solidFill>
              <a:schemeClr val="bg2"/>
            </a:solidFill>
          </a:ln>
        </p:spPr>
      </p:pic>
      <p:sp>
        <p:nvSpPr>
          <p:cNvPr id="50" name="Textplatzhalter 4">
            <a:extLst>
              <a:ext uri="{FF2B5EF4-FFF2-40B4-BE49-F238E27FC236}">
                <a16:creationId xmlns:a16="http://schemas.microsoft.com/office/drawing/2014/main" id="{D7CB7030-FC60-4B39-892C-226B47E64156}"/>
              </a:ext>
            </a:extLst>
          </p:cNvPr>
          <p:cNvSpPr txBox="1">
            <a:spLocks/>
          </p:cNvSpPr>
          <p:nvPr/>
        </p:nvSpPr>
        <p:spPr bwMode="gray">
          <a:xfrm>
            <a:off x="659508" y="458112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Implementation</a:t>
            </a:r>
          </a:p>
          <a:p>
            <a:pPr lvl="1"/>
            <a:r>
              <a:rPr lang="en-US" sz="1200" dirty="0"/>
              <a:t>What are the three core elements in the implementation of your idea? What are the decisive factors for successfully implementing the project?</a:t>
            </a:r>
          </a:p>
        </p:txBody>
      </p:sp>
      <p:pic>
        <p:nvPicPr>
          <p:cNvPr id="47" name="Grafik 46">
            <a:extLst>
              <a:ext uri="{FF2B5EF4-FFF2-40B4-BE49-F238E27FC236}">
                <a16:creationId xmlns:a16="http://schemas.microsoft.com/office/drawing/2014/main" id="{6D9F9A21-2F75-4A85-9632-EE225F1AAA36}"/>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bwMode="gray">
          <a:xfrm>
            <a:off x="3613867" y="3430143"/>
            <a:ext cx="2011936" cy="1131714"/>
          </a:xfrm>
          <a:prstGeom prst="rect">
            <a:avLst/>
          </a:prstGeom>
          <a:ln>
            <a:solidFill>
              <a:schemeClr val="bg2"/>
            </a:solidFill>
          </a:ln>
        </p:spPr>
      </p:pic>
      <p:sp>
        <p:nvSpPr>
          <p:cNvPr id="48" name="Textplatzhalter 4">
            <a:extLst>
              <a:ext uri="{FF2B5EF4-FFF2-40B4-BE49-F238E27FC236}">
                <a16:creationId xmlns:a16="http://schemas.microsoft.com/office/drawing/2014/main" id="{D936D8DC-34D5-4792-8C72-04776DD97FE4}"/>
              </a:ext>
            </a:extLst>
          </p:cNvPr>
          <p:cNvSpPr txBox="1">
            <a:spLocks/>
          </p:cNvSpPr>
          <p:nvPr/>
        </p:nvSpPr>
        <p:spPr bwMode="gray">
          <a:xfrm>
            <a:off x="3611836" y="458112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Result</a:t>
            </a:r>
            <a:endParaRPr lang="en-US" sz="1200" dirty="0"/>
          </a:p>
          <a:p>
            <a:pPr lvl="1"/>
            <a:r>
              <a:rPr lang="en-US" sz="1200" dirty="0"/>
              <a:t>What will the world look like when your idea has been implemented? How can the success of your idea be measured?</a:t>
            </a:r>
          </a:p>
        </p:txBody>
      </p:sp>
      <p:pic>
        <p:nvPicPr>
          <p:cNvPr id="45" name="Grafik 44">
            <a:extLst>
              <a:ext uri="{FF2B5EF4-FFF2-40B4-BE49-F238E27FC236}">
                <a16:creationId xmlns:a16="http://schemas.microsoft.com/office/drawing/2014/main" id="{EE6EE939-6801-4645-B868-B864FD11F29D}"/>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bwMode="gray">
          <a:xfrm>
            <a:off x="6566195" y="3430143"/>
            <a:ext cx="2011936" cy="1131714"/>
          </a:xfrm>
          <a:prstGeom prst="rect">
            <a:avLst/>
          </a:prstGeom>
          <a:ln>
            <a:solidFill>
              <a:schemeClr val="bg2"/>
            </a:solidFill>
          </a:ln>
        </p:spPr>
      </p:pic>
      <p:sp>
        <p:nvSpPr>
          <p:cNvPr id="46" name="Textplatzhalter 4">
            <a:extLst>
              <a:ext uri="{FF2B5EF4-FFF2-40B4-BE49-F238E27FC236}">
                <a16:creationId xmlns:a16="http://schemas.microsoft.com/office/drawing/2014/main" id="{C6EEEE6D-311D-40EC-9B97-781346D9E8A3}"/>
              </a:ext>
            </a:extLst>
          </p:cNvPr>
          <p:cNvSpPr txBox="1">
            <a:spLocks/>
          </p:cNvSpPr>
          <p:nvPr/>
        </p:nvSpPr>
        <p:spPr bwMode="gray">
          <a:xfrm>
            <a:off x="6564164" y="458112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Business Case</a:t>
            </a:r>
          </a:p>
          <a:p>
            <a:pPr lvl="1"/>
            <a:r>
              <a:rPr lang="en-US" sz="1200" dirty="0"/>
              <a:t>What does your business case look like? What resources will you need? How will the economic return of the project be calculated?</a:t>
            </a:r>
          </a:p>
        </p:txBody>
      </p:sp>
      <p:pic>
        <p:nvPicPr>
          <p:cNvPr id="43" name="Grafik 42">
            <a:extLst>
              <a:ext uri="{FF2B5EF4-FFF2-40B4-BE49-F238E27FC236}">
                <a16:creationId xmlns:a16="http://schemas.microsoft.com/office/drawing/2014/main" id="{4AE61507-C94A-46A7-AC71-E070B9470729}"/>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bwMode="gray">
          <a:xfrm>
            <a:off x="9518523" y="3430143"/>
            <a:ext cx="2011936" cy="1131714"/>
          </a:xfrm>
          <a:prstGeom prst="rect">
            <a:avLst/>
          </a:prstGeom>
          <a:ln>
            <a:solidFill>
              <a:schemeClr val="bg2"/>
            </a:solidFill>
          </a:ln>
        </p:spPr>
      </p:pic>
      <p:sp>
        <p:nvSpPr>
          <p:cNvPr id="44" name="Textplatzhalter 4">
            <a:extLst>
              <a:ext uri="{FF2B5EF4-FFF2-40B4-BE49-F238E27FC236}">
                <a16:creationId xmlns:a16="http://schemas.microsoft.com/office/drawing/2014/main" id="{2A97437C-76CA-4A35-85DE-D54D761C4333}"/>
              </a:ext>
            </a:extLst>
          </p:cNvPr>
          <p:cNvSpPr txBox="1">
            <a:spLocks/>
          </p:cNvSpPr>
          <p:nvPr/>
        </p:nvSpPr>
        <p:spPr bwMode="gray">
          <a:xfrm>
            <a:off x="9516492" y="458112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Conclusion</a:t>
            </a:r>
          </a:p>
          <a:p>
            <a:pPr lvl="1"/>
            <a:r>
              <a:rPr lang="en-US" sz="1200" dirty="0"/>
              <a:t>What should we do now? Insert your Call to Action here.</a:t>
            </a:r>
          </a:p>
        </p:txBody>
      </p:sp>
      <p:sp>
        <p:nvSpPr>
          <p:cNvPr id="4" name="Fußzeilenplatzhalter 3">
            <a:extLst>
              <a:ext uri="{FF2B5EF4-FFF2-40B4-BE49-F238E27FC236}">
                <a16:creationId xmlns:a16="http://schemas.microsoft.com/office/drawing/2014/main" id="{142798F0-E852-4F9E-97C0-17DB628B3710}"/>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D6FD871F-2057-40DF-829E-0527CD3F9872}"/>
              </a:ext>
            </a:extLst>
          </p:cNvPr>
          <p:cNvSpPr>
            <a:spLocks noGrp="1"/>
          </p:cNvSpPr>
          <p:nvPr>
            <p:ph type="sldNum" sz="quarter" idx="12"/>
          </p:nvPr>
        </p:nvSpPr>
        <p:spPr/>
        <p:txBody>
          <a:bodyPr/>
          <a:lstStyle/>
          <a:p>
            <a:fld id="{CE82B8A1-0CCE-4815-9668-383D7DE7D8B4}" type="slidenum">
              <a:rPr lang="en-US" smtClean="0"/>
              <a:t>103</a:t>
            </a:fld>
            <a:endParaRPr lang="en-US" dirty="0"/>
          </a:p>
        </p:txBody>
      </p:sp>
    </p:spTree>
    <p:extLst>
      <p:ext uri="{BB962C8B-B14F-4D97-AF65-F5344CB8AC3E}">
        <p14:creationId xmlns:p14="http://schemas.microsoft.com/office/powerpoint/2010/main" val="366111737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Grafik 61">
            <a:extLst>
              <a:ext uri="{FF2B5EF4-FFF2-40B4-BE49-F238E27FC236}">
                <a16:creationId xmlns:a16="http://schemas.microsoft.com/office/drawing/2014/main" id="{29DEAF25-D39D-44A3-8E83-A8A59588B8CE}"/>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bwMode="gray">
          <a:xfrm>
            <a:off x="661539" y="549823"/>
            <a:ext cx="2011936" cy="1131714"/>
          </a:xfrm>
          <a:prstGeom prst="rect">
            <a:avLst/>
          </a:prstGeom>
          <a:ln>
            <a:solidFill>
              <a:schemeClr val="bg2"/>
            </a:solidFill>
          </a:ln>
        </p:spPr>
      </p:pic>
      <p:sp>
        <p:nvSpPr>
          <p:cNvPr id="63" name="Textplatzhalter 4">
            <a:extLst>
              <a:ext uri="{FF2B5EF4-FFF2-40B4-BE49-F238E27FC236}">
                <a16:creationId xmlns:a16="http://schemas.microsoft.com/office/drawing/2014/main" id="{0A6B254F-C2AD-48CA-A9D3-066FE46F22A5}"/>
              </a:ext>
            </a:extLst>
          </p:cNvPr>
          <p:cNvSpPr txBox="1">
            <a:spLocks/>
          </p:cNvSpPr>
          <p:nvPr/>
        </p:nvSpPr>
        <p:spPr bwMode="gray">
          <a:xfrm>
            <a:off x="659508" y="170080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Team</a:t>
            </a:r>
          </a:p>
          <a:p>
            <a:pPr lvl="1"/>
            <a:r>
              <a:rPr lang="en-US" sz="1200" dirty="0"/>
              <a:t>And these are the people behind the project/idea. Feel free to get in touch.</a:t>
            </a:r>
            <a:endParaRPr lang="en-US" sz="1200" b="1" dirty="0"/>
          </a:p>
        </p:txBody>
      </p:sp>
      <p:pic>
        <p:nvPicPr>
          <p:cNvPr id="60" name="Grafik 59">
            <a:extLst>
              <a:ext uri="{FF2B5EF4-FFF2-40B4-BE49-F238E27FC236}">
                <a16:creationId xmlns:a16="http://schemas.microsoft.com/office/drawing/2014/main" id="{B3642E64-7631-496A-A39D-9B40A1152FE8}"/>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bwMode="gray">
          <a:xfrm>
            <a:off x="3613867" y="549823"/>
            <a:ext cx="2011936" cy="1131714"/>
          </a:xfrm>
          <a:prstGeom prst="rect">
            <a:avLst/>
          </a:prstGeom>
          <a:ln>
            <a:solidFill>
              <a:schemeClr val="bg2"/>
            </a:solidFill>
          </a:ln>
        </p:spPr>
      </p:pic>
      <p:sp>
        <p:nvSpPr>
          <p:cNvPr id="61" name="Textplatzhalter 4">
            <a:extLst>
              <a:ext uri="{FF2B5EF4-FFF2-40B4-BE49-F238E27FC236}">
                <a16:creationId xmlns:a16="http://schemas.microsoft.com/office/drawing/2014/main" id="{9BCC387B-CB4C-453A-8A63-9B7B0BAD32F9}"/>
              </a:ext>
            </a:extLst>
          </p:cNvPr>
          <p:cNvSpPr txBox="1">
            <a:spLocks/>
          </p:cNvSpPr>
          <p:nvPr/>
        </p:nvSpPr>
        <p:spPr bwMode="gray">
          <a:xfrm>
            <a:off x="3611836" y="170080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Thanks</a:t>
            </a:r>
          </a:p>
          <a:p>
            <a:pPr lvl="1"/>
            <a:r>
              <a:rPr lang="en-US" sz="1200" dirty="0"/>
              <a:t>Finish and thank your audience.</a:t>
            </a:r>
          </a:p>
        </p:txBody>
      </p:sp>
      <p:pic>
        <p:nvPicPr>
          <p:cNvPr id="58" name="Grafik 57">
            <a:extLst>
              <a:ext uri="{FF2B5EF4-FFF2-40B4-BE49-F238E27FC236}">
                <a16:creationId xmlns:a16="http://schemas.microsoft.com/office/drawing/2014/main" id="{92E1DD1B-99AB-4695-87A0-37D811E4525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bwMode="gray">
          <a:xfrm>
            <a:off x="6566195" y="549823"/>
            <a:ext cx="2011936" cy="1131714"/>
          </a:xfrm>
          <a:prstGeom prst="rect">
            <a:avLst/>
          </a:prstGeom>
          <a:ln>
            <a:solidFill>
              <a:schemeClr val="bg2"/>
            </a:solidFill>
          </a:ln>
        </p:spPr>
      </p:pic>
      <p:sp>
        <p:nvSpPr>
          <p:cNvPr id="59" name="Textplatzhalter 4">
            <a:extLst>
              <a:ext uri="{FF2B5EF4-FFF2-40B4-BE49-F238E27FC236}">
                <a16:creationId xmlns:a16="http://schemas.microsoft.com/office/drawing/2014/main" id="{AFB27D9F-6C8E-4CE2-A8D2-2BF4D19210AB}"/>
              </a:ext>
            </a:extLst>
          </p:cNvPr>
          <p:cNvSpPr txBox="1">
            <a:spLocks/>
          </p:cNvSpPr>
          <p:nvPr/>
        </p:nvSpPr>
        <p:spPr bwMode="gray">
          <a:xfrm>
            <a:off x="6564164" y="170080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Back-up</a:t>
            </a:r>
          </a:p>
          <a:p>
            <a:pPr lvl="1"/>
            <a:r>
              <a:rPr lang="en-US" sz="1200" dirty="0"/>
              <a:t>Place additional charts for facts &amp; figures here, which will further strengthen and enhance your idea.</a:t>
            </a:r>
          </a:p>
        </p:txBody>
      </p:sp>
      <p:sp>
        <p:nvSpPr>
          <p:cNvPr id="3" name="Fußzeilenplatzhalter 2">
            <a:extLst>
              <a:ext uri="{FF2B5EF4-FFF2-40B4-BE49-F238E27FC236}">
                <a16:creationId xmlns:a16="http://schemas.microsoft.com/office/drawing/2014/main" id="{274DCC75-4481-4E3C-93D1-3CAA0A9E989D}"/>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D3C8DA76-01B7-4162-9431-C55A14EE00C5}"/>
              </a:ext>
            </a:extLst>
          </p:cNvPr>
          <p:cNvSpPr>
            <a:spLocks noGrp="1"/>
          </p:cNvSpPr>
          <p:nvPr>
            <p:ph type="sldNum" sz="quarter" idx="12"/>
          </p:nvPr>
        </p:nvSpPr>
        <p:spPr/>
        <p:txBody>
          <a:bodyPr/>
          <a:lstStyle/>
          <a:p>
            <a:fld id="{CE82B8A1-0CCE-4815-9668-383D7DE7D8B4}" type="slidenum">
              <a:rPr lang="en-US" smtClean="0"/>
              <a:t>104</a:t>
            </a:fld>
            <a:endParaRPr lang="en-US" dirty="0"/>
          </a:p>
        </p:txBody>
      </p:sp>
    </p:spTree>
    <p:extLst>
      <p:ext uri="{BB962C8B-B14F-4D97-AF65-F5344CB8AC3E}">
        <p14:creationId xmlns:p14="http://schemas.microsoft.com/office/powerpoint/2010/main" val="421574647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382669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platzhalter 9">
            <a:extLst>
              <a:ext uri="{FF2B5EF4-FFF2-40B4-BE49-F238E27FC236}">
                <a16:creationId xmlns:a16="http://schemas.microsoft.com/office/drawing/2014/main" id="{3C7A39B9-9F1A-4FD6-B76C-215F1D746E1C}"/>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l="1147" t="5084" r="4046" b="18647"/>
          <a:stretch/>
        </p:blipFill>
        <p:spPr bwMode="gray">
          <a:xfrm>
            <a:off x="192831" y="188640"/>
            <a:ext cx="11807825" cy="6480448"/>
          </a:xfrm>
        </p:spPr>
      </p:pic>
      <p:sp>
        <p:nvSpPr>
          <p:cNvPr id="2" name="Titel 1">
            <a:extLst>
              <a:ext uri="{FF2B5EF4-FFF2-40B4-BE49-F238E27FC236}">
                <a16:creationId xmlns:a16="http://schemas.microsoft.com/office/drawing/2014/main" id="{ED3B7623-8612-4758-910E-3B37BD3BC7B6}"/>
              </a:ext>
            </a:extLst>
          </p:cNvPr>
          <p:cNvSpPr>
            <a:spLocks noGrp="1"/>
          </p:cNvSpPr>
          <p:nvPr>
            <p:ph type="ctrTitle"/>
          </p:nvPr>
        </p:nvSpPr>
        <p:spPr bwMode="gray"/>
        <p:txBody>
          <a:bodyPr/>
          <a:lstStyle/>
          <a:p>
            <a:r>
              <a:rPr lang="en-US" dirty="0"/>
              <a:t>Lorem ipsum dolor sit amet</a:t>
            </a:r>
          </a:p>
        </p:txBody>
      </p:sp>
      <p:sp>
        <p:nvSpPr>
          <p:cNvPr id="8" name="Textplatzhalter 7">
            <a:extLst>
              <a:ext uri="{FF2B5EF4-FFF2-40B4-BE49-F238E27FC236}">
                <a16:creationId xmlns:a16="http://schemas.microsoft.com/office/drawing/2014/main" id="{49B3B232-5F87-435B-A266-A0B007D35B2D}"/>
              </a:ext>
            </a:extLst>
          </p:cNvPr>
          <p:cNvSpPr>
            <a:spLocks noGrp="1"/>
          </p:cNvSpPr>
          <p:nvPr>
            <p:ph type="body" sz="quarter" idx="15"/>
          </p:nvPr>
        </p:nvSpPr>
        <p:spPr bwMode="gray"/>
        <p:txBody>
          <a:bodyPr/>
          <a:lstStyle/>
          <a:p>
            <a:r>
              <a:rPr lang="en-US" dirty="0"/>
              <a:t>August 2019, Lübeck</a:t>
            </a:r>
          </a:p>
        </p:txBody>
      </p:sp>
      <p:sp>
        <p:nvSpPr>
          <p:cNvPr id="3" name="Untertitel 2">
            <a:extLst>
              <a:ext uri="{FF2B5EF4-FFF2-40B4-BE49-F238E27FC236}">
                <a16:creationId xmlns:a16="http://schemas.microsoft.com/office/drawing/2014/main" id="{C3FCBCAF-68DD-4EB2-98FF-B9FFC6421419}"/>
              </a:ext>
            </a:extLst>
          </p:cNvPr>
          <p:cNvSpPr>
            <a:spLocks noGrp="1"/>
          </p:cNvSpPr>
          <p:nvPr>
            <p:ph type="body" sz="quarter" idx="26"/>
          </p:nvPr>
        </p:nvSpPr>
        <p:spPr bwMode="gray"/>
        <p:txBody>
          <a:bodyPr/>
          <a:lstStyle/>
          <a:p>
            <a:r>
              <a:rPr lang="en-US" dirty="0"/>
              <a:t>August 2019, Lübeck</a:t>
            </a:r>
          </a:p>
        </p:txBody>
      </p:sp>
      <p:sp>
        <p:nvSpPr>
          <p:cNvPr id="12" name="Rechteck 11">
            <a:extLst>
              <a:ext uri="{FF2B5EF4-FFF2-40B4-BE49-F238E27FC236}">
                <a16:creationId xmlns:a16="http://schemas.microsoft.com/office/drawing/2014/main" id="{144E9DAD-BC94-4A56-8CF1-EF968D4B009F}"/>
              </a:ext>
            </a:extLst>
          </p:cNvPr>
          <p:cNvSpPr/>
          <p:nvPr/>
        </p:nvSpPr>
        <p:spPr bwMode="gray">
          <a:xfrm>
            <a:off x="12288688" y="3140968"/>
            <a:ext cx="1728000" cy="8640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200" dirty="0">
                <a:solidFill>
                  <a:schemeClr val="tx1"/>
                </a:solidFill>
              </a:rPr>
              <a:t>© Drägerwerk AG &amp; Co. KGaA, 2019</a:t>
            </a:r>
          </a:p>
        </p:txBody>
      </p:sp>
      <p:sp>
        <p:nvSpPr>
          <p:cNvPr id="7" name="Fußzeilenplatzhalter 6">
            <a:extLst>
              <a:ext uri="{FF2B5EF4-FFF2-40B4-BE49-F238E27FC236}">
                <a16:creationId xmlns:a16="http://schemas.microsoft.com/office/drawing/2014/main" id="{AB7C6235-A137-43DF-B235-1850E4C27C20}"/>
              </a:ext>
            </a:extLst>
          </p:cNvPr>
          <p:cNvSpPr>
            <a:spLocks noGrp="1"/>
          </p:cNvSpPr>
          <p:nvPr>
            <p:ph type="ftr" sz="quarter" idx="27"/>
          </p:nvPr>
        </p:nvSpPr>
        <p:spPr bwMode="gray"/>
        <p:txBody>
          <a:bodyPr/>
          <a:lstStyle/>
          <a:p>
            <a:r>
              <a:rPr lang="en-US">
                <a:solidFill>
                  <a:schemeClr val="bg1"/>
                </a:solidFill>
              </a:rPr>
              <a:t>Footnote: Please insert appropriate company</a:t>
            </a:r>
            <a:endParaRPr lang="de-DE" dirty="0">
              <a:solidFill>
                <a:schemeClr val="bg1"/>
              </a:solidFill>
            </a:endParaRPr>
          </a:p>
        </p:txBody>
      </p:sp>
    </p:spTree>
    <p:extLst>
      <p:ext uri="{BB962C8B-B14F-4D97-AF65-F5344CB8AC3E}">
        <p14:creationId xmlns:p14="http://schemas.microsoft.com/office/powerpoint/2010/main" val="3594232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20F17EA-334B-4046-8CE3-7CE648F87621}"/>
              </a:ext>
            </a:extLst>
          </p:cNvPr>
          <p:cNvSpPr>
            <a:spLocks noGrp="1"/>
          </p:cNvSpPr>
          <p:nvPr>
            <p:ph type="title"/>
          </p:nvPr>
        </p:nvSpPr>
        <p:spPr bwMode="gray"/>
        <p:txBody>
          <a:bodyPr/>
          <a:lstStyle/>
          <a:p>
            <a:r>
              <a:rPr lang="en-US" dirty="0"/>
              <a:t>Lorem ipsum dolor sit amet, consectetuer adipiscing elit. Maecenas porttitor congue massa. Fusce posuere, magna sed pulvinar ultricies</a:t>
            </a:r>
            <a:br>
              <a:rPr lang="en-US" dirty="0"/>
            </a:br>
            <a:endParaRPr lang="en-US" dirty="0"/>
          </a:p>
        </p:txBody>
      </p:sp>
      <p:sp>
        <p:nvSpPr>
          <p:cNvPr id="4" name="Textplatzhalter 3">
            <a:extLst>
              <a:ext uri="{FF2B5EF4-FFF2-40B4-BE49-F238E27FC236}">
                <a16:creationId xmlns:a16="http://schemas.microsoft.com/office/drawing/2014/main" id="{BF0AE77A-5D0D-4F46-A19D-8037C4D2FF48}"/>
              </a:ext>
            </a:extLst>
          </p:cNvPr>
          <p:cNvSpPr>
            <a:spLocks noGrp="1"/>
          </p:cNvSpPr>
          <p:nvPr>
            <p:ph type="body" sz="quarter" idx="11"/>
          </p:nvPr>
        </p:nvSpPr>
        <p:spPr bwMode="gray">
          <a:xfrm>
            <a:off x="1559496" y="1916840"/>
            <a:ext cx="2088000" cy="504042"/>
          </a:xfrm>
          <a:solidFill>
            <a:schemeClr val="accent1"/>
          </a:solidFill>
        </p:spPr>
        <p:txBody>
          <a:bodyPr/>
          <a:lstStyle/>
          <a:p>
            <a:r>
              <a:rPr lang="en-US" dirty="0"/>
              <a:t>Challenge</a:t>
            </a:r>
          </a:p>
        </p:txBody>
      </p:sp>
      <p:sp>
        <p:nvSpPr>
          <p:cNvPr id="5" name="Rechteck 4">
            <a:extLst>
              <a:ext uri="{FF2B5EF4-FFF2-40B4-BE49-F238E27FC236}">
                <a16:creationId xmlns:a16="http://schemas.microsoft.com/office/drawing/2014/main" id="{4290C33A-C01A-45A2-AFA4-96787A96BA36}"/>
              </a:ext>
            </a:extLst>
          </p:cNvPr>
          <p:cNvSpPr/>
          <p:nvPr/>
        </p:nvSpPr>
        <p:spPr bwMode="gray">
          <a:xfrm>
            <a:off x="-7945560" y="549320"/>
            <a:ext cx="7560000" cy="5760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icture</a:t>
            </a:r>
          </a:p>
        </p:txBody>
      </p:sp>
      <p:sp>
        <p:nvSpPr>
          <p:cNvPr id="6" name="Textplatzhalter 3">
            <a:extLst>
              <a:ext uri="{FF2B5EF4-FFF2-40B4-BE49-F238E27FC236}">
                <a16:creationId xmlns:a16="http://schemas.microsoft.com/office/drawing/2014/main" id="{DE6CBC4E-F7F0-4ECA-BEA6-1C05D5E6E4D1}"/>
              </a:ext>
            </a:extLst>
          </p:cNvPr>
          <p:cNvSpPr txBox="1">
            <a:spLocks/>
          </p:cNvSpPr>
          <p:nvPr/>
        </p:nvSpPr>
        <p:spPr bwMode="gray">
          <a:xfrm>
            <a:off x="14952984" y="2277000"/>
            <a:ext cx="3672408" cy="1152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1500" dirty="0">
                <a:solidFill>
                  <a:schemeClr val="accent5"/>
                </a:solidFill>
              </a:rPr>
              <a:t>Idea</a:t>
            </a:r>
          </a:p>
        </p:txBody>
      </p:sp>
      <p:sp>
        <p:nvSpPr>
          <p:cNvPr id="7" name="Textplatzhalter 3">
            <a:extLst>
              <a:ext uri="{FF2B5EF4-FFF2-40B4-BE49-F238E27FC236}">
                <a16:creationId xmlns:a16="http://schemas.microsoft.com/office/drawing/2014/main" id="{05C391EE-8A79-4F25-B627-597E781BEFB4}"/>
              </a:ext>
            </a:extLst>
          </p:cNvPr>
          <p:cNvSpPr txBox="1">
            <a:spLocks/>
          </p:cNvSpPr>
          <p:nvPr/>
        </p:nvSpPr>
        <p:spPr bwMode="gray">
          <a:xfrm>
            <a:off x="11287992" y="-1179512"/>
            <a:ext cx="1936800" cy="618952"/>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3200">
                <a:solidFill>
                  <a:schemeClr val="accent5"/>
                </a:solidFill>
                <a:latin typeface="+mn-lt"/>
              </a:rPr>
              <a:t>The</a:t>
            </a:r>
            <a:endParaRPr lang="en-US" sz="3200" dirty="0">
              <a:solidFill>
                <a:schemeClr val="accent5"/>
              </a:solidFill>
              <a:latin typeface="+mn-lt"/>
            </a:endParaRPr>
          </a:p>
        </p:txBody>
      </p:sp>
      <p:sp>
        <p:nvSpPr>
          <p:cNvPr id="8" name="Rechteck 7">
            <a:extLst>
              <a:ext uri="{FF2B5EF4-FFF2-40B4-BE49-F238E27FC236}">
                <a16:creationId xmlns:a16="http://schemas.microsoft.com/office/drawing/2014/main" id="{1110CAE8-4A99-4388-895D-466EA833886B}"/>
              </a:ext>
            </a:extLst>
          </p:cNvPr>
          <p:cNvSpPr/>
          <p:nvPr/>
        </p:nvSpPr>
        <p:spPr bwMode="gray">
          <a:xfrm>
            <a:off x="13009120" y="3141320"/>
            <a:ext cx="3168000" cy="3168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lvl="1" algn="ctr"/>
            <a:r>
              <a:rPr lang="en-US" dirty="0">
                <a:solidFill>
                  <a:prstClr val="white"/>
                </a:solidFill>
              </a:rPr>
              <a:t>Maecenas</a:t>
            </a:r>
            <a:br>
              <a:rPr lang="en-US" dirty="0">
                <a:solidFill>
                  <a:prstClr val="white"/>
                </a:solidFill>
              </a:rPr>
            </a:br>
            <a:r>
              <a:rPr lang="en-US" dirty="0">
                <a:solidFill>
                  <a:prstClr val="white"/>
                </a:solidFill>
              </a:rPr>
              <a:t>porttitor congue massa.</a:t>
            </a:r>
            <a:br>
              <a:rPr lang="en-US" dirty="0">
                <a:solidFill>
                  <a:prstClr val="white"/>
                </a:solidFill>
              </a:rPr>
            </a:br>
            <a:r>
              <a:rPr lang="en-US" dirty="0">
                <a:solidFill>
                  <a:prstClr val="white"/>
                </a:solidFill>
              </a:rPr>
              <a:t>Fusce posuere, magna sed pulvinar ultricies, purus</a:t>
            </a:r>
            <a:br>
              <a:rPr lang="en-US" dirty="0">
                <a:solidFill>
                  <a:prstClr val="white"/>
                </a:solidFill>
              </a:rPr>
            </a:br>
            <a:r>
              <a:rPr lang="en-US" dirty="0">
                <a:solidFill>
                  <a:prstClr val="white"/>
                </a:solidFill>
              </a:rPr>
              <a:t>lectus malesuada libero, sit amet commodo magna eros</a:t>
            </a:r>
            <a:br>
              <a:rPr lang="en-US" dirty="0">
                <a:solidFill>
                  <a:prstClr val="white"/>
                </a:solidFill>
              </a:rPr>
            </a:br>
            <a:r>
              <a:rPr lang="en-US" dirty="0">
                <a:solidFill>
                  <a:prstClr val="white"/>
                </a:solidFill>
              </a:rPr>
              <a:t>quis urna.</a:t>
            </a:r>
          </a:p>
        </p:txBody>
      </p:sp>
      <p:sp>
        <p:nvSpPr>
          <p:cNvPr id="9" name="Ellipse 8">
            <a:extLst>
              <a:ext uri="{FF2B5EF4-FFF2-40B4-BE49-F238E27FC236}">
                <a16:creationId xmlns:a16="http://schemas.microsoft.com/office/drawing/2014/main" id="{43D0A8A9-8B5F-4025-A21B-6C66BFA5D173}"/>
              </a:ext>
            </a:extLst>
          </p:cNvPr>
          <p:cNvSpPr/>
          <p:nvPr/>
        </p:nvSpPr>
        <p:spPr bwMode="gray">
          <a:xfrm>
            <a:off x="7104464" y="7749832"/>
            <a:ext cx="3168000" cy="3168000"/>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1"/>
            <a:endParaRPr lang="en-US" dirty="0">
              <a:solidFill>
                <a:prstClr val="white"/>
              </a:solidFill>
            </a:endParaRPr>
          </a:p>
        </p:txBody>
      </p:sp>
      <p:sp>
        <p:nvSpPr>
          <p:cNvPr id="10" name="Fußzeilenplatzhalter 9">
            <a:extLst>
              <a:ext uri="{FF2B5EF4-FFF2-40B4-BE49-F238E27FC236}">
                <a16:creationId xmlns:a16="http://schemas.microsoft.com/office/drawing/2014/main" id="{9E0F956C-F505-4C65-9EBE-6073940E8B2C}"/>
              </a:ext>
            </a:extLst>
          </p:cNvPr>
          <p:cNvSpPr>
            <a:spLocks noGrp="1"/>
          </p:cNvSpPr>
          <p:nvPr>
            <p:ph type="ftr" sz="quarter" idx="12"/>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AD9131F0-905B-476F-802D-97B166DB2091}"/>
              </a:ext>
            </a:extLst>
          </p:cNvPr>
          <p:cNvSpPr>
            <a:spLocks noGrp="1"/>
          </p:cNvSpPr>
          <p:nvPr>
            <p:ph type="sldNum" sz="quarter" idx="10"/>
          </p:nvPr>
        </p:nvSpPr>
        <p:spPr/>
        <p:txBody>
          <a:bodyPr/>
          <a:lstStyle/>
          <a:p>
            <a:fld id="{CE82B8A1-0CCE-4815-9668-383D7DE7D8B4}" type="slidenum">
              <a:rPr lang="en-US" noProof="0" smtClean="0"/>
              <a:pPr/>
              <a:t>107</a:t>
            </a:fld>
            <a:endParaRPr lang="en-US" noProof="0" dirty="0"/>
          </a:p>
        </p:txBody>
      </p:sp>
    </p:spTree>
    <p:extLst>
      <p:ext uri="{BB962C8B-B14F-4D97-AF65-F5344CB8AC3E}">
        <p14:creationId xmlns:p14="http://schemas.microsoft.com/office/powerpoint/2010/main" val="18070003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a:extLst>
              <a:ext uri="{FF2B5EF4-FFF2-40B4-BE49-F238E27FC236}">
                <a16:creationId xmlns:a16="http://schemas.microsoft.com/office/drawing/2014/main" id="{2AD4B171-5251-4652-97CA-5CF7C0C8F4C3}"/>
              </a:ext>
            </a:extLst>
          </p:cNvPr>
          <p:cNvSpPr/>
          <p:nvPr/>
        </p:nvSpPr>
        <p:spPr bwMode="gray">
          <a:xfrm>
            <a:off x="206648" y="549319"/>
            <a:ext cx="7704000" cy="5184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icture</a:t>
            </a:r>
          </a:p>
        </p:txBody>
      </p:sp>
      <p:sp>
        <p:nvSpPr>
          <p:cNvPr id="18" name="Textplatzhalter 3">
            <a:extLst>
              <a:ext uri="{FF2B5EF4-FFF2-40B4-BE49-F238E27FC236}">
                <a16:creationId xmlns:a16="http://schemas.microsoft.com/office/drawing/2014/main" id="{72E2E2D8-B98D-49BC-B018-5A572AF5542B}"/>
              </a:ext>
            </a:extLst>
          </p:cNvPr>
          <p:cNvSpPr txBox="1">
            <a:spLocks/>
          </p:cNvSpPr>
          <p:nvPr/>
        </p:nvSpPr>
        <p:spPr bwMode="gray">
          <a:xfrm>
            <a:off x="8328248" y="1628928"/>
            <a:ext cx="3672408" cy="1152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1500" dirty="0">
                <a:solidFill>
                  <a:schemeClr val="accent5"/>
                </a:solidFill>
              </a:rPr>
              <a:t>Idea</a:t>
            </a:r>
          </a:p>
        </p:txBody>
      </p:sp>
      <p:sp>
        <p:nvSpPr>
          <p:cNvPr id="22" name="Textplatzhalter 3">
            <a:extLst>
              <a:ext uri="{FF2B5EF4-FFF2-40B4-BE49-F238E27FC236}">
                <a16:creationId xmlns:a16="http://schemas.microsoft.com/office/drawing/2014/main" id="{D359034C-744A-4598-8D88-452D30434479}"/>
              </a:ext>
            </a:extLst>
          </p:cNvPr>
          <p:cNvSpPr txBox="1">
            <a:spLocks/>
          </p:cNvSpPr>
          <p:nvPr/>
        </p:nvSpPr>
        <p:spPr bwMode="gray">
          <a:xfrm>
            <a:off x="8400052" y="764704"/>
            <a:ext cx="1936800" cy="618952"/>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3200" dirty="0">
                <a:solidFill>
                  <a:schemeClr val="accent5"/>
                </a:solidFill>
                <a:latin typeface="+mn-lt"/>
              </a:rPr>
              <a:t>The</a:t>
            </a:r>
          </a:p>
        </p:txBody>
      </p:sp>
      <p:sp>
        <p:nvSpPr>
          <p:cNvPr id="28" name="Textplatzhalter 3">
            <a:extLst>
              <a:ext uri="{FF2B5EF4-FFF2-40B4-BE49-F238E27FC236}">
                <a16:creationId xmlns:a16="http://schemas.microsoft.com/office/drawing/2014/main" id="{6716BD5A-3CF7-4EDB-8E94-0FB769C2E977}"/>
              </a:ext>
            </a:extLst>
          </p:cNvPr>
          <p:cNvSpPr txBox="1">
            <a:spLocks/>
          </p:cNvSpPr>
          <p:nvPr/>
        </p:nvSpPr>
        <p:spPr bwMode="gray">
          <a:xfrm>
            <a:off x="13944872" y="783176"/>
            <a:ext cx="8208912" cy="1152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8000" dirty="0">
                <a:solidFill>
                  <a:schemeClr val="accent5"/>
                </a:solidFill>
              </a:rPr>
              <a:t>Implementation</a:t>
            </a:r>
          </a:p>
        </p:txBody>
      </p:sp>
      <p:sp>
        <p:nvSpPr>
          <p:cNvPr id="11" name="Ellipse 10">
            <a:extLst>
              <a:ext uri="{FF2B5EF4-FFF2-40B4-BE49-F238E27FC236}">
                <a16:creationId xmlns:a16="http://schemas.microsoft.com/office/drawing/2014/main" id="{978DFFAD-8BE3-4F29-87E2-FFF9810B019E}"/>
              </a:ext>
            </a:extLst>
          </p:cNvPr>
          <p:cNvSpPr/>
          <p:nvPr/>
        </p:nvSpPr>
        <p:spPr bwMode="gray">
          <a:xfrm>
            <a:off x="7104464" y="3141320"/>
            <a:ext cx="3168000" cy="3168000"/>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1"/>
            <a:endParaRPr lang="en-US" dirty="0">
              <a:solidFill>
                <a:prstClr val="white"/>
              </a:solidFill>
            </a:endParaRPr>
          </a:p>
        </p:txBody>
      </p:sp>
      <p:sp>
        <p:nvSpPr>
          <p:cNvPr id="15" name="Ellipse 14">
            <a:extLst>
              <a:ext uri="{FF2B5EF4-FFF2-40B4-BE49-F238E27FC236}">
                <a16:creationId xmlns:a16="http://schemas.microsoft.com/office/drawing/2014/main" id="{F27BECB2-8372-4707-A304-EB6FECD62500}"/>
              </a:ext>
            </a:extLst>
          </p:cNvPr>
          <p:cNvSpPr/>
          <p:nvPr/>
        </p:nvSpPr>
        <p:spPr bwMode="gray">
          <a:xfrm>
            <a:off x="7104464" y="3141320"/>
            <a:ext cx="3168000" cy="3168000"/>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1"/>
            <a:endParaRPr lang="en-US" dirty="0">
              <a:solidFill>
                <a:prstClr val="white"/>
              </a:solidFill>
            </a:endParaRPr>
          </a:p>
        </p:txBody>
      </p:sp>
      <p:sp>
        <p:nvSpPr>
          <p:cNvPr id="16" name="Ellipse 15">
            <a:extLst>
              <a:ext uri="{FF2B5EF4-FFF2-40B4-BE49-F238E27FC236}">
                <a16:creationId xmlns:a16="http://schemas.microsoft.com/office/drawing/2014/main" id="{E8F6E1B1-B930-49BE-A913-326200DC3294}"/>
              </a:ext>
            </a:extLst>
          </p:cNvPr>
          <p:cNvSpPr/>
          <p:nvPr/>
        </p:nvSpPr>
        <p:spPr bwMode="gray">
          <a:xfrm>
            <a:off x="7104464" y="3141320"/>
            <a:ext cx="3168000" cy="3168000"/>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1"/>
            <a:endParaRPr lang="en-US" dirty="0">
              <a:solidFill>
                <a:prstClr val="white"/>
              </a:solidFill>
            </a:endParaRPr>
          </a:p>
        </p:txBody>
      </p:sp>
      <p:sp>
        <p:nvSpPr>
          <p:cNvPr id="19" name="Rechteck 18">
            <a:extLst>
              <a:ext uri="{FF2B5EF4-FFF2-40B4-BE49-F238E27FC236}">
                <a16:creationId xmlns:a16="http://schemas.microsoft.com/office/drawing/2014/main" id="{7CBC5AF6-F1EC-4E33-8326-8087054CF267}"/>
              </a:ext>
            </a:extLst>
          </p:cNvPr>
          <p:cNvSpPr/>
          <p:nvPr/>
        </p:nvSpPr>
        <p:spPr bwMode="gray">
          <a:xfrm>
            <a:off x="7104464" y="3141320"/>
            <a:ext cx="3168000" cy="3168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lvl="1" algn="ctr"/>
            <a:r>
              <a:rPr lang="en-US" dirty="0">
                <a:solidFill>
                  <a:prstClr val="white"/>
                </a:solidFill>
              </a:rPr>
              <a:t>Maecenas</a:t>
            </a:r>
            <a:br>
              <a:rPr lang="en-US" dirty="0">
                <a:solidFill>
                  <a:prstClr val="white"/>
                </a:solidFill>
              </a:rPr>
            </a:br>
            <a:r>
              <a:rPr lang="en-US" dirty="0">
                <a:solidFill>
                  <a:prstClr val="white"/>
                </a:solidFill>
              </a:rPr>
              <a:t>porttitor congue massa.</a:t>
            </a:r>
            <a:br>
              <a:rPr lang="en-US" dirty="0">
                <a:solidFill>
                  <a:prstClr val="white"/>
                </a:solidFill>
              </a:rPr>
            </a:br>
            <a:r>
              <a:rPr lang="en-US" dirty="0">
                <a:solidFill>
                  <a:prstClr val="white"/>
                </a:solidFill>
              </a:rPr>
              <a:t>Fusce posuere, magna sed pulvinar ultricies, purus</a:t>
            </a:r>
            <a:br>
              <a:rPr lang="en-US" dirty="0">
                <a:solidFill>
                  <a:prstClr val="white"/>
                </a:solidFill>
              </a:rPr>
            </a:br>
            <a:r>
              <a:rPr lang="en-US" dirty="0">
                <a:solidFill>
                  <a:prstClr val="white"/>
                </a:solidFill>
              </a:rPr>
              <a:t>lectus malesuada libero, sit amet commodo magna eros</a:t>
            </a:r>
            <a:br>
              <a:rPr lang="en-US" dirty="0">
                <a:solidFill>
                  <a:prstClr val="white"/>
                </a:solidFill>
              </a:rPr>
            </a:br>
            <a:r>
              <a:rPr lang="en-US" dirty="0">
                <a:solidFill>
                  <a:prstClr val="white"/>
                </a:solidFill>
              </a:rPr>
              <a:t>quis urna.</a:t>
            </a:r>
          </a:p>
        </p:txBody>
      </p:sp>
      <p:sp>
        <p:nvSpPr>
          <p:cNvPr id="4" name="Fußzeilenplatzhalter 3">
            <a:extLst>
              <a:ext uri="{FF2B5EF4-FFF2-40B4-BE49-F238E27FC236}">
                <a16:creationId xmlns:a16="http://schemas.microsoft.com/office/drawing/2014/main" id="{37ED5A1E-CCA3-472A-8C94-B68B9AE8E230}"/>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B881EBA3-468C-4604-9671-B727D63B5D2C}"/>
              </a:ext>
            </a:extLst>
          </p:cNvPr>
          <p:cNvSpPr>
            <a:spLocks noGrp="1"/>
          </p:cNvSpPr>
          <p:nvPr>
            <p:ph type="sldNum" sz="quarter" idx="12"/>
          </p:nvPr>
        </p:nvSpPr>
        <p:spPr/>
        <p:txBody>
          <a:bodyPr/>
          <a:lstStyle/>
          <a:p>
            <a:fld id="{CE82B8A1-0CCE-4815-9668-383D7DE7D8B4}" type="slidenum">
              <a:rPr lang="en-US" smtClean="0"/>
              <a:t>108</a:t>
            </a:fld>
            <a:endParaRPr lang="en-US" dirty="0"/>
          </a:p>
        </p:txBody>
      </p:sp>
    </p:spTree>
    <p:extLst>
      <p:ext uri="{BB962C8B-B14F-4D97-AF65-F5344CB8AC3E}">
        <p14:creationId xmlns:p14="http://schemas.microsoft.com/office/powerpoint/2010/main" val="32171692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a:extLst>
              <a:ext uri="{FF2B5EF4-FFF2-40B4-BE49-F238E27FC236}">
                <a16:creationId xmlns:a16="http://schemas.microsoft.com/office/drawing/2014/main" id="{2AD4B171-5251-4652-97CA-5CF7C0C8F4C3}"/>
              </a:ext>
            </a:extLst>
          </p:cNvPr>
          <p:cNvSpPr/>
          <p:nvPr/>
        </p:nvSpPr>
        <p:spPr bwMode="gray">
          <a:xfrm>
            <a:off x="-5813786" y="549320"/>
            <a:ext cx="7560000" cy="5760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icture</a:t>
            </a:r>
          </a:p>
        </p:txBody>
      </p:sp>
      <p:sp>
        <p:nvSpPr>
          <p:cNvPr id="6" name="Ellipse 5">
            <a:extLst>
              <a:ext uri="{FF2B5EF4-FFF2-40B4-BE49-F238E27FC236}">
                <a16:creationId xmlns:a16="http://schemas.microsoft.com/office/drawing/2014/main" id="{A360C3B5-9DAB-4B8B-8E5D-A3A44FACA449}"/>
              </a:ext>
            </a:extLst>
          </p:cNvPr>
          <p:cNvSpPr/>
          <p:nvPr/>
        </p:nvSpPr>
        <p:spPr bwMode="gray">
          <a:xfrm>
            <a:off x="2063349" y="3284984"/>
            <a:ext cx="1152331" cy="1152459"/>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1"/>
            <a:endParaRPr lang="en-US" dirty="0">
              <a:solidFill>
                <a:prstClr val="white"/>
              </a:solidFill>
            </a:endParaRPr>
          </a:p>
        </p:txBody>
      </p:sp>
      <p:sp>
        <p:nvSpPr>
          <p:cNvPr id="18" name="Textplatzhalter 3">
            <a:extLst>
              <a:ext uri="{FF2B5EF4-FFF2-40B4-BE49-F238E27FC236}">
                <a16:creationId xmlns:a16="http://schemas.microsoft.com/office/drawing/2014/main" id="{72E2E2D8-B98D-49BC-B018-5A572AF5542B}"/>
              </a:ext>
            </a:extLst>
          </p:cNvPr>
          <p:cNvSpPr txBox="1">
            <a:spLocks/>
          </p:cNvSpPr>
          <p:nvPr/>
        </p:nvSpPr>
        <p:spPr bwMode="gray">
          <a:xfrm>
            <a:off x="2028488" y="783176"/>
            <a:ext cx="8208912" cy="1152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8000" dirty="0">
                <a:solidFill>
                  <a:schemeClr val="accent5"/>
                </a:solidFill>
              </a:rPr>
              <a:t>Implementation</a:t>
            </a:r>
          </a:p>
        </p:txBody>
      </p:sp>
      <p:sp>
        <p:nvSpPr>
          <p:cNvPr id="22" name="Textplatzhalter 3">
            <a:extLst>
              <a:ext uri="{FF2B5EF4-FFF2-40B4-BE49-F238E27FC236}">
                <a16:creationId xmlns:a16="http://schemas.microsoft.com/office/drawing/2014/main" id="{D359034C-744A-4598-8D88-452D30434479}"/>
              </a:ext>
            </a:extLst>
          </p:cNvPr>
          <p:cNvSpPr txBox="1">
            <a:spLocks/>
          </p:cNvSpPr>
          <p:nvPr/>
        </p:nvSpPr>
        <p:spPr bwMode="gray">
          <a:xfrm>
            <a:off x="2063348" y="332528"/>
            <a:ext cx="1936800" cy="618952"/>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3200" dirty="0">
                <a:solidFill>
                  <a:schemeClr val="accent5"/>
                </a:solidFill>
                <a:latin typeface="+mn-lt"/>
              </a:rPr>
              <a:t>The</a:t>
            </a:r>
          </a:p>
        </p:txBody>
      </p:sp>
      <p:sp>
        <p:nvSpPr>
          <p:cNvPr id="8" name="Textplatzhalter 15">
            <a:extLst>
              <a:ext uri="{FF2B5EF4-FFF2-40B4-BE49-F238E27FC236}">
                <a16:creationId xmlns:a16="http://schemas.microsoft.com/office/drawing/2014/main" id="{CDFE7AD0-3A1D-4E5D-8A6E-B093FAE8A658}"/>
              </a:ext>
            </a:extLst>
          </p:cNvPr>
          <p:cNvSpPr txBox="1">
            <a:spLocks/>
          </p:cNvSpPr>
          <p:nvPr/>
        </p:nvSpPr>
        <p:spPr bwMode="gray">
          <a:xfrm>
            <a:off x="2063848" y="4716338"/>
            <a:ext cx="2664000" cy="1368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solidFill>
                  <a:schemeClr val="accent5"/>
                </a:solidFill>
                <a:latin typeface="+mj-lt"/>
              </a:rPr>
              <a:t>Maecenas porttitor congue </a:t>
            </a:r>
            <a:r>
              <a:rPr lang="en-US" dirty="0"/>
              <a:t>massa. Fusce posuere, magna sed pulvinar ultricies, purus lectus malesuada libero, sit amet commodo magna eros quis urna</a:t>
            </a:r>
          </a:p>
        </p:txBody>
      </p:sp>
      <p:sp>
        <p:nvSpPr>
          <p:cNvPr id="9" name="Textplatzhalter 15">
            <a:extLst>
              <a:ext uri="{FF2B5EF4-FFF2-40B4-BE49-F238E27FC236}">
                <a16:creationId xmlns:a16="http://schemas.microsoft.com/office/drawing/2014/main" id="{036ED1D0-9E1F-4910-BDA3-3A4F74CAF3C0}"/>
              </a:ext>
            </a:extLst>
          </p:cNvPr>
          <p:cNvSpPr txBox="1">
            <a:spLocks/>
          </p:cNvSpPr>
          <p:nvPr/>
        </p:nvSpPr>
        <p:spPr bwMode="gray">
          <a:xfrm>
            <a:off x="5664248" y="4716338"/>
            <a:ext cx="2664000" cy="1368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solidFill>
                  <a:schemeClr val="accent5"/>
                </a:solidFill>
                <a:latin typeface="+mj-lt"/>
              </a:rPr>
              <a:t>Maecenas porttitor congue </a:t>
            </a:r>
            <a:r>
              <a:rPr lang="en-US" dirty="0"/>
              <a:t>massa. Fusce posuere, magna sed pulvinar ultricies, purus lectus malesuada libero, sit amet commodo magna eros quis urna</a:t>
            </a:r>
          </a:p>
        </p:txBody>
      </p:sp>
      <p:sp>
        <p:nvSpPr>
          <p:cNvPr id="10" name="Textplatzhalter 15">
            <a:extLst>
              <a:ext uri="{FF2B5EF4-FFF2-40B4-BE49-F238E27FC236}">
                <a16:creationId xmlns:a16="http://schemas.microsoft.com/office/drawing/2014/main" id="{D99D8CE0-006A-43A4-8038-A9225EE6924D}"/>
              </a:ext>
            </a:extLst>
          </p:cNvPr>
          <p:cNvSpPr txBox="1">
            <a:spLocks/>
          </p:cNvSpPr>
          <p:nvPr/>
        </p:nvSpPr>
        <p:spPr bwMode="gray">
          <a:xfrm>
            <a:off x="9264648" y="4716338"/>
            <a:ext cx="2664000" cy="1368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solidFill>
                  <a:schemeClr val="accent5"/>
                </a:solidFill>
                <a:latin typeface="+mj-lt"/>
              </a:rPr>
              <a:t>Maecenas porttitor congue </a:t>
            </a:r>
            <a:r>
              <a:rPr lang="en-US" dirty="0"/>
              <a:t>massa. Fusce posuere, magna sed pulvinar ultricies, purus lectus malesuada libero, sit amet commodo magna eros quis urna</a:t>
            </a:r>
          </a:p>
        </p:txBody>
      </p:sp>
      <p:sp>
        <p:nvSpPr>
          <p:cNvPr id="14" name="Ellipse 13">
            <a:extLst>
              <a:ext uri="{FF2B5EF4-FFF2-40B4-BE49-F238E27FC236}">
                <a16:creationId xmlns:a16="http://schemas.microsoft.com/office/drawing/2014/main" id="{A215E382-DC13-4418-B872-35FE83F8B500}"/>
              </a:ext>
            </a:extLst>
          </p:cNvPr>
          <p:cNvSpPr/>
          <p:nvPr/>
        </p:nvSpPr>
        <p:spPr bwMode="gray">
          <a:xfrm>
            <a:off x="5663999" y="3284984"/>
            <a:ext cx="1152331" cy="1152459"/>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1"/>
            <a:endParaRPr lang="en-US" dirty="0">
              <a:solidFill>
                <a:prstClr val="white"/>
              </a:solidFill>
            </a:endParaRPr>
          </a:p>
        </p:txBody>
      </p:sp>
      <p:sp>
        <p:nvSpPr>
          <p:cNvPr id="15" name="Ellipse 14">
            <a:extLst>
              <a:ext uri="{FF2B5EF4-FFF2-40B4-BE49-F238E27FC236}">
                <a16:creationId xmlns:a16="http://schemas.microsoft.com/office/drawing/2014/main" id="{BAB780A1-3DF1-4D50-A01A-A736226692EA}"/>
              </a:ext>
            </a:extLst>
          </p:cNvPr>
          <p:cNvSpPr/>
          <p:nvPr/>
        </p:nvSpPr>
        <p:spPr bwMode="gray">
          <a:xfrm>
            <a:off x="9264649" y="3284984"/>
            <a:ext cx="1152331" cy="1152459"/>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1"/>
            <a:endParaRPr lang="en-US" dirty="0">
              <a:solidFill>
                <a:prstClr val="white"/>
              </a:solidFill>
            </a:endParaRPr>
          </a:p>
        </p:txBody>
      </p:sp>
      <p:sp>
        <p:nvSpPr>
          <p:cNvPr id="16" name="Freeform 13">
            <a:extLst>
              <a:ext uri="{FF2B5EF4-FFF2-40B4-BE49-F238E27FC236}">
                <a16:creationId xmlns:a16="http://schemas.microsoft.com/office/drawing/2014/main" id="{97C6203C-A7E3-4EA2-BD74-9544D1FFEC23}"/>
              </a:ext>
            </a:extLst>
          </p:cNvPr>
          <p:cNvSpPr>
            <a:spLocks noEditPoints="1"/>
          </p:cNvSpPr>
          <p:nvPr/>
        </p:nvSpPr>
        <p:spPr bwMode="gray">
          <a:xfrm>
            <a:off x="2462426" y="3687853"/>
            <a:ext cx="354176" cy="346720"/>
          </a:xfrm>
          <a:custGeom>
            <a:avLst/>
            <a:gdLst>
              <a:gd name="T0" fmla="*/ 136 w 160"/>
              <a:gd name="T1" fmla="*/ 144 h 160"/>
              <a:gd name="T2" fmla="*/ 136 w 160"/>
              <a:gd name="T3" fmla="*/ 160 h 160"/>
              <a:gd name="T4" fmla="*/ 0 w 160"/>
              <a:gd name="T5" fmla="*/ 160 h 160"/>
              <a:gd name="T6" fmla="*/ 0 w 160"/>
              <a:gd name="T7" fmla="*/ 72 h 160"/>
              <a:gd name="T8" fmla="*/ 16 w 160"/>
              <a:gd name="T9" fmla="*/ 72 h 160"/>
              <a:gd name="T10" fmla="*/ 16 w 160"/>
              <a:gd name="T11" fmla="*/ 144 h 160"/>
              <a:gd name="T12" fmla="*/ 72 w 160"/>
              <a:gd name="T13" fmla="*/ 48 h 160"/>
              <a:gd name="T14" fmla="*/ 136 w 160"/>
              <a:gd name="T15" fmla="*/ 112 h 160"/>
              <a:gd name="T16" fmla="*/ 136 w 160"/>
              <a:gd name="T17" fmla="*/ 48 h 160"/>
              <a:gd name="T18" fmla="*/ 72 w 160"/>
              <a:gd name="T19" fmla="*/ 48 h 160"/>
              <a:gd name="T20" fmla="*/ 160 w 160"/>
              <a:gd name="T21" fmla="*/ 0 h 160"/>
              <a:gd name="T22" fmla="*/ 160 w 160"/>
              <a:gd name="T23" fmla="*/ 136 h 160"/>
              <a:gd name="T24" fmla="*/ 24 w 160"/>
              <a:gd name="T25" fmla="*/ 136 h 160"/>
              <a:gd name="T26" fmla="*/ 24 w 160"/>
              <a:gd name="T27" fmla="*/ 32 h 160"/>
              <a:gd name="T28" fmla="*/ 56 w 160"/>
              <a:gd name="T29" fmla="*/ 0 h 160"/>
              <a:gd name="T30" fmla="*/ 160 w 160"/>
              <a:gd name="T31" fmla="*/ 0 h 160"/>
              <a:gd name="T32" fmla="*/ 144 w 160"/>
              <a:gd name="T33" fmla="*/ 40 h 160"/>
              <a:gd name="T34" fmla="*/ 40 w 160"/>
              <a:gd name="T35" fmla="*/ 40 h 160"/>
              <a:gd name="T36" fmla="*/ 40 w 160"/>
              <a:gd name="T37" fmla="*/ 120 h 160"/>
              <a:gd name="T38" fmla="*/ 144 w 160"/>
              <a:gd name="T39" fmla="*/ 120 h 160"/>
              <a:gd name="T40" fmla="*/ 144 w 160"/>
              <a:gd name="T41" fmla="*/ 4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0" h="160">
                <a:moveTo>
                  <a:pt x="136" y="144"/>
                </a:moveTo>
                <a:cubicBezTo>
                  <a:pt x="136" y="160"/>
                  <a:pt x="136" y="160"/>
                  <a:pt x="136" y="160"/>
                </a:cubicBezTo>
                <a:cubicBezTo>
                  <a:pt x="0" y="160"/>
                  <a:pt x="0" y="160"/>
                  <a:pt x="0" y="160"/>
                </a:cubicBezTo>
                <a:cubicBezTo>
                  <a:pt x="0" y="72"/>
                  <a:pt x="0" y="72"/>
                  <a:pt x="0" y="72"/>
                </a:cubicBezTo>
                <a:cubicBezTo>
                  <a:pt x="16" y="72"/>
                  <a:pt x="16" y="72"/>
                  <a:pt x="16" y="72"/>
                </a:cubicBezTo>
                <a:cubicBezTo>
                  <a:pt x="16" y="144"/>
                  <a:pt x="16" y="144"/>
                  <a:pt x="16" y="144"/>
                </a:cubicBezTo>
                <a:moveTo>
                  <a:pt x="72" y="48"/>
                </a:moveTo>
                <a:cubicBezTo>
                  <a:pt x="136" y="112"/>
                  <a:pt x="136" y="112"/>
                  <a:pt x="136" y="112"/>
                </a:cubicBezTo>
                <a:cubicBezTo>
                  <a:pt x="136" y="48"/>
                  <a:pt x="136" y="48"/>
                  <a:pt x="136" y="48"/>
                </a:cubicBezTo>
                <a:cubicBezTo>
                  <a:pt x="136" y="47"/>
                  <a:pt x="72" y="48"/>
                  <a:pt x="72" y="48"/>
                </a:cubicBezTo>
                <a:moveTo>
                  <a:pt x="160" y="0"/>
                </a:moveTo>
                <a:cubicBezTo>
                  <a:pt x="160" y="136"/>
                  <a:pt x="160" y="136"/>
                  <a:pt x="160" y="136"/>
                </a:cubicBezTo>
                <a:cubicBezTo>
                  <a:pt x="24" y="136"/>
                  <a:pt x="24" y="136"/>
                  <a:pt x="24" y="136"/>
                </a:cubicBezTo>
                <a:cubicBezTo>
                  <a:pt x="24" y="32"/>
                  <a:pt x="24" y="32"/>
                  <a:pt x="24" y="32"/>
                </a:cubicBezTo>
                <a:cubicBezTo>
                  <a:pt x="24" y="14"/>
                  <a:pt x="38" y="0"/>
                  <a:pt x="56" y="0"/>
                </a:cubicBezTo>
                <a:lnTo>
                  <a:pt x="160" y="0"/>
                </a:lnTo>
                <a:close/>
                <a:moveTo>
                  <a:pt x="144" y="40"/>
                </a:moveTo>
                <a:cubicBezTo>
                  <a:pt x="40" y="40"/>
                  <a:pt x="40" y="40"/>
                  <a:pt x="40" y="40"/>
                </a:cubicBezTo>
                <a:cubicBezTo>
                  <a:pt x="40" y="120"/>
                  <a:pt x="40" y="120"/>
                  <a:pt x="40" y="120"/>
                </a:cubicBezTo>
                <a:cubicBezTo>
                  <a:pt x="144" y="120"/>
                  <a:pt x="144" y="120"/>
                  <a:pt x="144" y="120"/>
                </a:cubicBezTo>
                <a:lnTo>
                  <a:pt x="144" y="4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7">
            <a:extLst>
              <a:ext uri="{FF2B5EF4-FFF2-40B4-BE49-F238E27FC236}">
                <a16:creationId xmlns:a16="http://schemas.microsoft.com/office/drawing/2014/main" id="{2CECA132-2678-4517-ADCC-01FA24DA1CA1}"/>
              </a:ext>
            </a:extLst>
          </p:cNvPr>
          <p:cNvSpPr>
            <a:spLocks noEditPoints="1"/>
          </p:cNvSpPr>
          <p:nvPr/>
        </p:nvSpPr>
        <p:spPr bwMode="gray">
          <a:xfrm>
            <a:off x="6063076" y="3685990"/>
            <a:ext cx="354176" cy="350447"/>
          </a:xfrm>
          <a:custGeom>
            <a:avLst/>
            <a:gdLst>
              <a:gd name="T0" fmla="*/ 88 w 160"/>
              <a:gd name="T1" fmla="*/ 40 h 160"/>
              <a:gd name="T2" fmla="*/ 64 w 160"/>
              <a:gd name="T3" fmla="*/ 40 h 160"/>
              <a:gd name="T4" fmla="*/ 64 w 160"/>
              <a:gd name="T5" fmla="*/ 24 h 160"/>
              <a:gd name="T6" fmla="*/ 88 w 160"/>
              <a:gd name="T7" fmla="*/ 24 h 160"/>
              <a:gd name="T8" fmla="*/ 88 w 160"/>
              <a:gd name="T9" fmla="*/ 40 h 160"/>
              <a:gd name="T10" fmla="*/ 0 w 160"/>
              <a:gd name="T11" fmla="*/ 160 h 160"/>
              <a:gd name="T12" fmla="*/ 0 w 160"/>
              <a:gd name="T13" fmla="*/ 0 h 160"/>
              <a:gd name="T14" fmla="*/ 112 w 160"/>
              <a:gd name="T15" fmla="*/ 0 h 160"/>
              <a:gd name="T16" fmla="*/ 160 w 160"/>
              <a:gd name="T17" fmla="*/ 48 h 160"/>
              <a:gd name="T18" fmla="*/ 160 w 160"/>
              <a:gd name="T19" fmla="*/ 128 h 160"/>
              <a:gd name="T20" fmla="*/ 128 w 160"/>
              <a:gd name="T21" fmla="*/ 160 h 160"/>
              <a:gd name="T22" fmla="*/ 0 w 160"/>
              <a:gd name="T23" fmla="*/ 160 h 160"/>
              <a:gd name="T24" fmla="*/ 32 w 160"/>
              <a:gd name="T25" fmla="*/ 48 h 160"/>
              <a:gd name="T26" fmla="*/ 96 w 160"/>
              <a:gd name="T27" fmla="*/ 48 h 160"/>
              <a:gd name="T28" fmla="*/ 96 w 160"/>
              <a:gd name="T29" fmla="*/ 16 h 160"/>
              <a:gd name="T30" fmla="*/ 32 w 160"/>
              <a:gd name="T31" fmla="*/ 16 h 160"/>
              <a:gd name="T32" fmla="*/ 32 w 160"/>
              <a:gd name="T33" fmla="*/ 48 h 160"/>
              <a:gd name="T34" fmla="*/ 128 w 160"/>
              <a:gd name="T35" fmla="*/ 80 h 160"/>
              <a:gd name="T36" fmla="*/ 32 w 160"/>
              <a:gd name="T37" fmla="*/ 80 h 160"/>
              <a:gd name="T38" fmla="*/ 32 w 160"/>
              <a:gd name="T39" fmla="*/ 144 h 160"/>
              <a:gd name="T40" fmla="*/ 128 w 160"/>
              <a:gd name="T41" fmla="*/ 144 h 160"/>
              <a:gd name="T42" fmla="*/ 128 w 160"/>
              <a:gd name="T4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0" h="160">
                <a:moveTo>
                  <a:pt x="88" y="40"/>
                </a:moveTo>
                <a:cubicBezTo>
                  <a:pt x="64" y="40"/>
                  <a:pt x="64" y="40"/>
                  <a:pt x="64" y="40"/>
                </a:cubicBezTo>
                <a:cubicBezTo>
                  <a:pt x="64" y="24"/>
                  <a:pt x="64" y="24"/>
                  <a:pt x="64" y="24"/>
                </a:cubicBezTo>
                <a:cubicBezTo>
                  <a:pt x="88" y="24"/>
                  <a:pt x="88" y="24"/>
                  <a:pt x="88" y="24"/>
                </a:cubicBezTo>
                <a:lnTo>
                  <a:pt x="88" y="40"/>
                </a:lnTo>
                <a:close/>
                <a:moveTo>
                  <a:pt x="0" y="160"/>
                </a:moveTo>
                <a:cubicBezTo>
                  <a:pt x="0" y="0"/>
                  <a:pt x="0" y="0"/>
                  <a:pt x="0" y="0"/>
                </a:cubicBezTo>
                <a:cubicBezTo>
                  <a:pt x="112" y="0"/>
                  <a:pt x="112" y="0"/>
                  <a:pt x="112" y="0"/>
                </a:cubicBezTo>
                <a:cubicBezTo>
                  <a:pt x="160" y="48"/>
                  <a:pt x="160" y="48"/>
                  <a:pt x="160" y="48"/>
                </a:cubicBezTo>
                <a:cubicBezTo>
                  <a:pt x="160" y="128"/>
                  <a:pt x="160" y="128"/>
                  <a:pt x="160" y="128"/>
                </a:cubicBezTo>
                <a:cubicBezTo>
                  <a:pt x="160" y="145"/>
                  <a:pt x="145" y="160"/>
                  <a:pt x="128" y="160"/>
                </a:cubicBezTo>
                <a:lnTo>
                  <a:pt x="0" y="160"/>
                </a:lnTo>
                <a:close/>
                <a:moveTo>
                  <a:pt x="32" y="48"/>
                </a:moveTo>
                <a:cubicBezTo>
                  <a:pt x="96" y="48"/>
                  <a:pt x="96" y="48"/>
                  <a:pt x="96" y="48"/>
                </a:cubicBezTo>
                <a:cubicBezTo>
                  <a:pt x="96" y="16"/>
                  <a:pt x="96" y="16"/>
                  <a:pt x="96" y="16"/>
                </a:cubicBezTo>
                <a:cubicBezTo>
                  <a:pt x="32" y="16"/>
                  <a:pt x="32" y="16"/>
                  <a:pt x="32" y="16"/>
                </a:cubicBezTo>
                <a:lnTo>
                  <a:pt x="32" y="48"/>
                </a:lnTo>
                <a:close/>
                <a:moveTo>
                  <a:pt x="128" y="80"/>
                </a:moveTo>
                <a:cubicBezTo>
                  <a:pt x="32" y="80"/>
                  <a:pt x="32" y="80"/>
                  <a:pt x="32" y="80"/>
                </a:cubicBezTo>
                <a:cubicBezTo>
                  <a:pt x="32" y="144"/>
                  <a:pt x="32" y="144"/>
                  <a:pt x="32" y="144"/>
                </a:cubicBezTo>
                <a:cubicBezTo>
                  <a:pt x="128" y="144"/>
                  <a:pt x="128" y="144"/>
                  <a:pt x="128" y="144"/>
                </a:cubicBezTo>
                <a:lnTo>
                  <a:pt x="128" y="8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9">
            <a:extLst>
              <a:ext uri="{FF2B5EF4-FFF2-40B4-BE49-F238E27FC236}">
                <a16:creationId xmlns:a16="http://schemas.microsoft.com/office/drawing/2014/main" id="{8F682318-37E0-45C8-BA28-4D5213675D25}"/>
              </a:ext>
            </a:extLst>
          </p:cNvPr>
          <p:cNvSpPr>
            <a:spLocks noEditPoints="1"/>
          </p:cNvSpPr>
          <p:nvPr/>
        </p:nvSpPr>
        <p:spPr bwMode="gray">
          <a:xfrm>
            <a:off x="9663726" y="3687853"/>
            <a:ext cx="354176" cy="346720"/>
          </a:xfrm>
          <a:custGeom>
            <a:avLst/>
            <a:gdLst>
              <a:gd name="T0" fmla="*/ 160 w 160"/>
              <a:gd name="T1" fmla="*/ 44 h 160"/>
              <a:gd name="T2" fmla="*/ 160 w 160"/>
              <a:gd name="T3" fmla="*/ 128 h 160"/>
              <a:gd name="T4" fmla="*/ 128 w 160"/>
              <a:gd name="T5" fmla="*/ 160 h 160"/>
              <a:gd name="T6" fmla="*/ 32 w 160"/>
              <a:gd name="T7" fmla="*/ 160 h 160"/>
              <a:gd name="T8" fmla="*/ 0 w 160"/>
              <a:gd name="T9" fmla="*/ 128 h 160"/>
              <a:gd name="T10" fmla="*/ 0 w 160"/>
              <a:gd name="T11" fmla="*/ 44 h 160"/>
              <a:gd name="T12" fmla="*/ 32 w 160"/>
              <a:gd name="T13" fmla="*/ 76 h 160"/>
              <a:gd name="T14" fmla="*/ 32 w 160"/>
              <a:gd name="T15" fmla="*/ 144 h 160"/>
              <a:gd name="T16" fmla="*/ 128 w 160"/>
              <a:gd name="T17" fmla="*/ 144 h 160"/>
              <a:gd name="T18" fmla="*/ 128 w 160"/>
              <a:gd name="T19" fmla="*/ 76 h 160"/>
              <a:gd name="T20" fmla="*/ 160 w 160"/>
              <a:gd name="T21" fmla="*/ 44 h 160"/>
              <a:gd name="T22" fmla="*/ 44 w 160"/>
              <a:gd name="T23" fmla="*/ 136 h 160"/>
              <a:gd name="T24" fmla="*/ 116 w 160"/>
              <a:gd name="T25" fmla="*/ 136 h 160"/>
              <a:gd name="T26" fmla="*/ 116 w 160"/>
              <a:gd name="T27" fmla="*/ 120 h 160"/>
              <a:gd name="T28" fmla="*/ 44 w 160"/>
              <a:gd name="T29" fmla="*/ 120 h 160"/>
              <a:gd name="T30" fmla="*/ 44 w 160"/>
              <a:gd name="T31" fmla="*/ 136 h 160"/>
              <a:gd name="T32" fmla="*/ 144 w 160"/>
              <a:gd name="T33" fmla="*/ 32 h 160"/>
              <a:gd name="T34" fmla="*/ 104 w 160"/>
              <a:gd name="T35" fmla="*/ 32 h 160"/>
              <a:gd name="T36" fmla="*/ 104 w 160"/>
              <a:gd name="T37" fmla="*/ 0 h 160"/>
              <a:gd name="T38" fmla="*/ 56 w 160"/>
              <a:gd name="T39" fmla="*/ 0 h 160"/>
              <a:gd name="T40" fmla="*/ 56 w 160"/>
              <a:gd name="T41" fmla="*/ 32 h 160"/>
              <a:gd name="T42" fmla="*/ 16 w 160"/>
              <a:gd name="T43" fmla="*/ 32 h 160"/>
              <a:gd name="T44" fmla="*/ 80 w 160"/>
              <a:gd name="T45" fmla="*/ 96 h 160"/>
              <a:gd name="T46" fmla="*/ 144 w 160"/>
              <a:gd name="T47" fmla="*/ 3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0" h="160">
                <a:moveTo>
                  <a:pt x="160" y="44"/>
                </a:moveTo>
                <a:cubicBezTo>
                  <a:pt x="160" y="128"/>
                  <a:pt x="160" y="128"/>
                  <a:pt x="160" y="128"/>
                </a:cubicBezTo>
                <a:cubicBezTo>
                  <a:pt x="160" y="145"/>
                  <a:pt x="145" y="160"/>
                  <a:pt x="128" y="160"/>
                </a:cubicBezTo>
                <a:cubicBezTo>
                  <a:pt x="32" y="160"/>
                  <a:pt x="32" y="160"/>
                  <a:pt x="32" y="160"/>
                </a:cubicBezTo>
                <a:cubicBezTo>
                  <a:pt x="14" y="160"/>
                  <a:pt x="0" y="145"/>
                  <a:pt x="0" y="128"/>
                </a:cubicBezTo>
                <a:cubicBezTo>
                  <a:pt x="0" y="44"/>
                  <a:pt x="0" y="44"/>
                  <a:pt x="0" y="44"/>
                </a:cubicBezTo>
                <a:cubicBezTo>
                  <a:pt x="32" y="76"/>
                  <a:pt x="32" y="76"/>
                  <a:pt x="32" y="76"/>
                </a:cubicBezTo>
                <a:cubicBezTo>
                  <a:pt x="32" y="144"/>
                  <a:pt x="32" y="144"/>
                  <a:pt x="32" y="144"/>
                </a:cubicBezTo>
                <a:cubicBezTo>
                  <a:pt x="128" y="144"/>
                  <a:pt x="128" y="144"/>
                  <a:pt x="128" y="144"/>
                </a:cubicBezTo>
                <a:cubicBezTo>
                  <a:pt x="128" y="76"/>
                  <a:pt x="128" y="76"/>
                  <a:pt x="128" y="76"/>
                </a:cubicBezTo>
                <a:lnTo>
                  <a:pt x="160" y="44"/>
                </a:lnTo>
                <a:close/>
                <a:moveTo>
                  <a:pt x="44" y="136"/>
                </a:moveTo>
                <a:cubicBezTo>
                  <a:pt x="116" y="136"/>
                  <a:pt x="116" y="136"/>
                  <a:pt x="116" y="136"/>
                </a:cubicBezTo>
                <a:cubicBezTo>
                  <a:pt x="116" y="120"/>
                  <a:pt x="116" y="120"/>
                  <a:pt x="116" y="120"/>
                </a:cubicBezTo>
                <a:cubicBezTo>
                  <a:pt x="44" y="120"/>
                  <a:pt x="44" y="120"/>
                  <a:pt x="44" y="120"/>
                </a:cubicBezTo>
                <a:lnTo>
                  <a:pt x="44" y="136"/>
                </a:lnTo>
                <a:close/>
                <a:moveTo>
                  <a:pt x="144" y="32"/>
                </a:moveTo>
                <a:cubicBezTo>
                  <a:pt x="104" y="32"/>
                  <a:pt x="104" y="32"/>
                  <a:pt x="104" y="32"/>
                </a:cubicBezTo>
                <a:cubicBezTo>
                  <a:pt x="104" y="0"/>
                  <a:pt x="104" y="0"/>
                  <a:pt x="104" y="0"/>
                </a:cubicBezTo>
                <a:cubicBezTo>
                  <a:pt x="56" y="0"/>
                  <a:pt x="56" y="0"/>
                  <a:pt x="56" y="0"/>
                </a:cubicBezTo>
                <a:cubicBezTo>
                  <a:pt x="56" y="32"/>
                  <a:pt x="56" y="32"/>
                  <a:pt x="56" y="32"/>
                </a:cubicBezTo>
                <a:cubicBezTo>
                  <a:pt x="16" y="32"/>
                  <a:pt x="16" y="32"/>
                  <a:pt x="16" y="32"/>
                </a:cubicBezTo>
                <a:cubicBezTo>
                  <a:pt x="80" y="96"/>
                  <a:pt x="80" y="96"/>
                  <a:pt x="80" y="96"/>
                </a:cubicBezTo>
                <a:lnTo>
                  <a:pt x="144" y="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Textplatzhalter 3">
            <a:extLst>
              <a:ext uri="{FF2B5EF4-FFF2-40B4-BE49-F238E27FC236}">
                <a16:creationId xmlns:a16="http://schemas.microsoft.com/office/drawing/2014/main" id="{BF55347C-CC2A-4C47-89D3-3D11D5350182}"/>
              </a:ext>
            </a:extLst>
          </p:cNvPr>
          <p:cNvSpPr txBox="1">
            <a:spLocks/>
          </p:cNvSpPr>
          <p:nvPr/>
        </p:nvSpPr>
        <p:spPr bwMode="gray">
          <a:xfrm>
            <a:off x="-5813786" y="2277000"/>
            <a:ext cx="3672408" cy="1152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1500" dirty="0">
                <a:solidFill>
                  <a:schemeClr val="accent5"/>
                </a:solidFill>
              </a:rPr>
              <a:t>Idea</a:t>
            </a:r>
          </a:p>
        </p:txBody>
      </p:sp>
      <p:sp>
        <p:nvSpPr>
          <p:cNvPr id="26" name="Textplatzhalter 3">
            <a:extLst>
              <a:ext uri="{FF2B5EF4-FFF2-40B4-BE49-F238E27FC236}">
                <a16:creationId xmlns:a16="http://schemas.microsoft.com/office/drawing/2014/main" id="{79FEBE4E-9A94-4063-908E-C2A1E7851F61}"/>
              </a:ext>
            </a:extLst>
          </p:cNvPr>
          <p:cNvSpPr txBox="1">
            <a:spLocks/>
          </p:cNvSpPr>
          <p:nvPr/>
        </p:nvSpPr>
        <p:spPr bwMode="gray">
          <a:xfrm>
            <a:off x="1717090" y="6633416"/>
            <a:ext cx="864096"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sz="28700" dirty="0">
                <a:solidFill>
                  <a:schemeClr val="bg1"/>
                </a:solidFill>
              </a:rPr>
              <a:t>„</a:t>
            </a:r>
          </a:p>
        </p:txBody>
      </p:sp>
      <p:sp>
        <p:nvSpPr>
          <p:cNvPr id="21" name="Textplatzhalter 3">
            <a:extLst>
              <a:ext uri="{FF2B5EF4-FFF2-40B4-BE49-F238E27FC236}">
                <a16:creationId xmlns:a16="http://schemas.microsoft.com/office/drawing/2014/main" id="{6E58C491-C706-4DB1-9320-7618B1297500}"/>
              </a:ext>
            </a:extLst>
          </p:cNvPr>
          <p:cNvSpPr txBox="1">
            <a:spLocks/>
          </p:cNvSpPr>
          <p:nvPr/>
        </p:nvSpPr>
        <p:spPr bwMode="gray">
          <a:xfrm>
            <a:off x="13728848" y="783176"/>
            <a:ext cx="9865096" cy="1152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8000" dirty="0">
                <a:solidFill>
                  <a:schemeClr val="accent5"/>
                </a:solidFill>
              </a:rPr>
              <a:t>Measuring of Success </a:t>
            </a:r>
          </a:p>
        </p:txBody>
      </p:sp>
      <p:grpSp>
        <p:nvGrpSpPr>
          <p:cNvPr id="38" name="Gruppieren 37">
            <a:extLst>
              <a:ext uri="{FF2B5EF4-FFF2-40B4-BE49-F238E27FC236}">
                <a16:creationId xmlns:a16="http://schemas.microsoft.com/office/drawing/2014/main" id="{3861FC25-AFE1-4704-9AE1-14BB0A288817}"/>
              </a:ext>
            </a:extLst>
          </p:cNvPr>
          <p:cNvGrpSpPr/>
          <p:nvPr/>
        </p:nvGrpSpPr>
        <p:grpSpPr bwMode="gray">
          <a:xfrm>
            <a:off x="13368808" y="3068744"/>
            <a:ext cx="6912768" cy="3528608"/>
            <a:chOff x="3859559" y="3068744"/>
            <a:chExt cx="6912768" cy="3528608"/>
          </a:xfrm>
        </p:grpSpPr>
        <p:sp>
          <p:nvSpPr>
            <p:cNvPr id="39" name="Textplatzhalter 15">
              <a:extLst>
                <a:ext uri="{FF2B5EF4-FFF2-40B4-BE49-F238E27FC236}">
                  <a16:creationId xmlns:a16="http://schemas.microsoft.com/office/drawing/2014/main" id="{13C28CF2-1C1F-490A-801F-46D727CB765D}"/>
                </a:ext>
              </a:extLst>
            </p:cNvPr>
            <p:cNvSpPr txBox="1">
              <a:spLocks/>
            </p:cNvSpPr>
            <p:nvPr/>
          </p:nvSpPr>
          <p:spPr bwMode="gray">
            <a:xfrm>
              <a:off x="3859559" y="3068744"/>
              <a:ext cx="5075702" cy="1368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3600" dirty="0"/>
                <a:t>Lorem ipsum dolor sit amet, consectetuer adipiscing elit.</a:t>
              </a:r>
            </a:p>
            <a:p>
              <a:pPr lvl="1"/>
              <a:r>
                <a:rPr lang="en-US" sz="3600" dirty="0"/>
                <a:t>Maecenas porttitor congue massa. Fusce posuere, magna sed pulvinar</a:t>
              </a:r>
            </a:p>
          </p:txBody>
        </p:sp>
        <p:grpSp>
          <p:nvGrpSpPr>
            <p:cNvPr id="40" name="Gruppieren 39">
              <a:extLst>
                <a:ext uri="{FF2B5EF4-FFF2-40B4-BE49-F238E27FC236}">
                  <a16:creationId xmlns:a16="http://schemas.microsoft.com/office/drawing/2014/main" id="{ACBA5E85-5D66-41DA-9BF0-10607FA8E608}"/>
                </a:ext>
              </a:extLst>
            </p:cNvPr>
            <p:cNvGrpSpPr/>
            <p:nvPr/>
          </p:nvGrpSpPr>
          <p:grpSpPr bwMode="gray">
            <a:xfrm>
              <a:off x="8828111" y="4652920"/>
              <a:ext cx="1944216" cy="1944432"/>
              <a:chOff x="9552384" y="4724928"/>
              <a:chExt cx="1944216" cy="1944432"/>
            </a:xfrm>
          </p:grpSpPr>
          <p:sp>
            <p:nvSpPr>
              <p:cNvPr id="41" name="Ellipse 40">
                <a:extLst>
                  <a:ext uri="{FF2B5EF4-FFF2-40B4-BE49-F238E27FC236}">
                    <a16:creationId xmlns:a16="http://schemas.microsoft.com/office/drawing/2014/main" id="{E6BA0DC1-BF6D-43A1-9D57-FD5EC3C298BC}"/>
                  </a:ext>
                </a:extLst>
              </p:cNvPr>
              <p:cNvSpPr/>
              <p:nvPr/>
            </p:nvSpPr>
            <p:spPr bwMode="gray">
              <a:xfrm>
                <a:off x="9552384" y="4724928"/>
                <a:ext cx="1944216" cy="1944432"/>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1"/>
                <a:endParaRPr lang="en-US" dirty="0">
                  <a:solidFill>
                    <a:prstClr val="white"/>
                  </a:solidFill>
                </a:endParaRPr>
              </a:p>
            </p:txBody>
          </p:sp>
          <p:sp>
            <p:nvSpPr>
              <p:cNvPr id="42" name="Textplatzhalter 3">
                <a:extLst>
                  <a:ext uri="{FF2B5EF4-FFF2-40B4-BE49-F238E27FC236}">
                    <a16:creationId xmlns:a16="http://schemas.microsoft.com/office/drawing/2014/main" id="{83E7944F-26FC-4D54-AC40-C66E99849FA5}"/>
                  </a:ext>
                </a:extLst>
              </p:cNvPr>
              <p:cNvSpPr txBox="1">
                <a:spLocks/>
              </p:cNvSpPr>
              <p:nvPr/>
            </p:nvSpPr>
            <p:spPr bwMode="gray">
              <a:xfrm>
                <a:off x="10312401" y="5610422"/>
                <a:ext cx="864096"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sz="28700" dirty="0">
                    <a:solidFill>
                      <a:schemeClr val="bg1"/>
                    </a:solidFill>
                  </a:rPr>
                  <a:t>“</a:t>
                </a:r>
              </a:p>
            </p:txBody>
          </p:sp>
        </p:grpSp>
      </p:grpSp>
      <p:sp>
        <p:nvSpPr>
          <p:cNvPr id="3" name="Fußzeilenplatzhalter 2">
            <a:extLst>
              <a:ext uri="{FF2B5EF4-FFF2-40B4-BE49-F238E27FC236}">
                <a16:creationId xmlns:a16="http://schemas.microsoft.com/office/drawing/2014/main" id="{A3673EF5-E29A-40DD-A38C-77C5CF67C513}"/>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C688B445-7F68-44C9-8FEF-CC116D427B96}"/>
              </a:ext>
            </a:extLst>
          </p:cNvPr>
          <p:cNvSpPr>
            <a:spLocks noGrp="1"/>
          </p:cNvSpPr>
          <p:nvPr>
            <p:ph type="sldNum" sz="quarter" idx="12"/>
          </p:nvPr>
        </p:nvSpPr>
        <p:spPr/>
        <p:txBody>
          <a:bodyPr/>
          <a:lstStyle/>
          <a:p>
            <a:fld id="{CE82B8A1-0CCE-4815-9668-383D7DE7D8B4}" type="slidenum">
              <a:rPr lang="en-US" smtClean="0"/>
              <a:t>109</a:t>
            </a:fld>
            <a:endParaRPr lang="en-US" dirty="0"/>
          </a:p>
        </p:txBody>
      </p:sp>
    </p:spTree>
    <p:extLst>
      <p:ext uri="{BB962C8B-B14F-4D97-AF65-F5344CB8AC3E}">
        <p14:creationId xmlns:p14="http://schemas.microsoft.com/office/powerpoint/2010/main" val="24460391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1000"/>
                                        <p:tgtEl>
                                          <p:spTgt spid="19"/>
                                        </p:tgtEl>
                                      </p:cBhvr>
                                    </p:animEffect>
                                    <p:anim calcmode="lin" valueType="num">
                                      <p:cBhvr>
                                        <p:cTn id="13" dur="1000" fill="hold"/>
                                        <p:tgtEl>
                                          <p:spTgt spid="19"/>
                                        </p:tgtEl>
                                        <p:attrNameLst>
                                          <p:attrName>ppt_x</p:attrName>
                                        </p:attrNameLst>
                                      </p:cBhvr>
                                      <p:tavLst>
                                        <p:tav tm="0">
                                          <p:val>
                                            <p:strVal val="#ppt_x"/>
                                          </p:val>
                                        </p:tav>
                                        <p:tav tm="100000">
                                          <p:val>
                                            <p:strVal val="#ppt_x"/>
                                          </p:val>
                                        </p:tav>
                                      </p:tavLst>
                                    </p:anim>
                                    <p:anim calcmode="lin" valueType="num">
                                      <p:cBhvr>
                                        <p:cTn id="14" dur="1000" fill="hold"/>
                                        <p:tgtEl>
                                          <p:spTgt spid="19"/>
                                        </p:tgtEl>
                                        <p:attrNameLst>
                                          <p:attrName>ppt_y</p:attrName>
                                        </p:attrNameLst>
                                      </p:cBhvr>
                                      <p:tavLst>
                                        <p:tav tm="0">
                                          <p:val>
                                            <p:strVal val="#ppt_y-.1"/>
                                          </p:val>
                                        </p:tav>
                                        <p:tav tm="100000">
                                          <p:val>
                                            <p:strVal val="#ppt_y"/>
                                          </p:val>
                                        </p:tav>
                                      </p:tavLst>
                                    </p:anim>
                                  </p:childTnLst>
                                </p:cTn>
                              </p:par>
                              <p:par>
                                <p:cTn id="15" presetID="47" presetClass="entr" presetSubtype="0"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1000"/>
                                        <p:tgtEl>
                                          <p:spTgt spid="20"/>
                                        </p:tgtEl>
                                      </p:cBhvr>
                                    </p:animEffect>
                                    <p:anim calcmode="lin" valueType="num">
                                      <p:cBhvr>
                                        <p:cTn id="18" dur="1000" fill="hold"/>
                                        <p:tgtEl>
                                          <p:spTgt spid="20"/>
                                        </p:tgtEl>
                                        <p:attrNameLst>
                                          <p:attrName>ppt_x</p:attrName>
                                        </p:attrNameLst>
                                      </p:cBhvr>
                                      <p:tavLst>
                                        <p:tav tm="0">
                                          <p:val>
                                            <p:strVal val="#ppt_x"/>
                                          </p:val>
                                        </p:tav>
                                        <p:tav tm="100000">
                                          <p:val>
                                            <p:strVal val="#ppt_x"/>
                                          </p:val>
                                        </p:tav>
                                      </p:tavLst>
                                    </p:anim>
                                    <p:anim calcmode="lin" valueType="num">
                                      <p:cBhvr>
                                        <p:cTn id="19" dur="1000" fill="hold"/>
                                        <p:tgtEl>
                                          <p:spTgt spid="20"/>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1000"/>
                                        <p:tgtEl>
                                          <p:spTgt spid="8"/>
                                        </p:tgtEl>
                                      </p:cBhvr>
                                    </p:animEffect>
                                    <p:anim calcmode="lin" valueType="num">
                                      <p:cBhvr>
                                        <p:cTn id="23" dur="1000" fill="hold"/>
                                        <p:tgtEl>
                                          <p:spTgt spid="8"/>
                                        </p:tgtEl>
                                        <p:attrNameLst>
                                          <p:attrName>ppt_x</p:attrName>
                                        </p:attrNameLst>
                                      </p:cBhvr>
                                      <p:tavLst>
                                        <p:tav tm="0">
                                          <p:val>
                                            <p:strVal val="#ppt_x"/>
                                          </p:val>
                                        </p:tav>
                                        <p:tav tm="100000">
                                          <p:val>
                                            <p:strVal val="#ppt_x"/>
                                          </p:val>
                                        </p:tav>
                                      </p:tavLst>
                                    </p:anim>
                                    <p:anim calcmode="lin" valueType="num">
                                      <p:cBhvr>
                                        <p:cTn id="24" dur="1000" fill="hold"/>
                                        <p:tgtEl>
                                          <p:spTgt spid="8"/>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1000"/>
                                        <p:tgtEl>
                                          <p:spTgt spid="9"/>
                                        </p:tgtEl>
                                      </p:cBhvr>
                                    </p:animEffect>
                                    <p:anim calcmode="lin" valueType="num">
                                      <p:cBhvr>
                                        <p:cTn id="28" dur="1000" fill="hold"/>
                                        <p:tgtEl>
                                          <p:spTgt spid="9"/>
                                        </p:tgtEl>
                                        <p:attrNameLst>
                                          <p:attrName>ppt_x</p:attrName>
                                        </p:attrNameLst>
                                      </p:cBhvr>
                                      <p:tavLst>
                                        <p:tav tm="0">
                                          <p:val>
                                            <p:strVal val="#ppt_x"/>
                                          </p:val>
                                        </p:tav>
                                        <p:tav tm="100000">
                                          <p:val>
                                            <p:strVal val="#ppt_x"/>
                                          </p:val>
                                        </p:tav>
                                      </p:tavLst>
                                    </p:anim>
                                    <p:anim calcmode="lin" valueType="num">
                                      <p:cBhvr>
                                        <p:cTn id="29" dur="1000" fill="hold"/>
                                        <p:tgtEl>
                                          <p:spTgt spid="9"/>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1000"/>
                                        <p:tgtEl>
                                          <p:spTgt spid="10"/>
                                        </p:tgtEl>
                                      </p:cBhvr>
                                    </p:animEffect>
                                    <p:anim calcmode="lin" valueType="num">
                                      <p:cBhvr>
                                        <p:cTn id="33" dur="1000" fill="hold"/>
                                        <p:tgtEl>
                                          <p:spTgt spid="10"/>
                                        </p:tgtEl>
                                        <p:attrNameLst>
                                          <p:attrName>ppt_x</p:attrName>
                                        </p:attrNameLst>
                                      </p:cBhvr>
                                      <p:tavLst>
                                        <p:tav tm="0">
                                          <p:val>
                                            <p:strVal val="#ppt_x"/>
                                          </p:val>
                                        </p:tav>
                                        <p:tav tm="100000">
                                          <p:val>
                                            <p:strVal val="#ppt_x"/>
                                          </p:val>
                                        </p:tav>
                                      </p:tavLst>
                                    </p:anim>
                                    <p:anim calcmode="lin" valueType="num">
                                      <p:cBhvr>
                                        <p:cTn id="34"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6" grpId="0" animBg="1"/>
      <p:bldP spid="19" grpId="0" animBg="1"/>
      <p:bldP spid="2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F862295-9F56-49C5-ACA0-5329D09D6315}"/>
              </a:ext>
            </a:extLst>
          </p:cNvPr>
          <p:cNvSpPr>
            <a:spLocks noGrp="1"/>
          </p:cNvSpPr>
          <p:nvPr>
            <p:ph type="title"/>
          </p:nvPr>
        </p:nvSpPr>
        <p:spPr bwMode="gray"/>
        <p:txBody>
          <a:bodyPr/>
          <a:lstStyle/>
          <a:p>
            <a:r>
              <a:rPr lang="en-US" dirty="0"/>
              <a:t>Lorem ipsum dolor sit amet, consectetuer adipiscing elit</a:t>
            </a:r>
          </a:p>
        </p:txBody>
      </p:sp>
      <p:sp>
        <p:nvSpPr>
          <p:cNvPr id="3" name="Inhaltsplatzhalter 2">
            <a:extLst>
              <a:ext uri="{FF2B5EF4-FFF2-40B4-BE49-F238E27FC236}">
                <a16:creationId xmlns:a16="http://schemas.microsoft.com/office/drawing/2014/main" id="{0F8E9971-9D58-4CD8-AD2C-AF1743FAF40B}"/>
              </a:ext>
            </a:extLst>
          </p:cNvPr>
          <p:cNvSpPr>
            <a:spLocks noGrp="1"/>
          </p:cNvSpPr>
          <p:nvPr>
            <p:ph sz="quarter" idx="13"/>
          </p:nvPr>
        </p:nvSpPr>
        <p:spPr bwMode="gray"/>
        <p:txBody>
          <a:bodyPr/>
          <a:lstStyle/>
          <a:p>
            <a:r>
              <a:rPr lang="en-US" dirty="0"/>
              <a:t>Lorem ipsum dolor sit amet, consectetuer adipiscing elit</a:t>
            </a:r>
          </a:p>
          <a:p>
            <a:pPr lvl="1"/>
            <a:r>
              <a:rPr lang="en-US" dirty="0"/>
              <a:t>Maecenas porttitor congue massa. Fusce posuere, magna sed pulvinar ultricies, purus</a:t>
            </a:r>
          </a:p>
          <a:p>
            <a:pPr lvl="2"/>
            <a:r>
              <a:rPr lang="en-US" dirty="0"/>
              <a:t>Nunc viverra imperdiet enim. Fusce est. Vivamus a tellus.</a:t>
            </a:r>
          </a:p>
          <a:p>
            <a:pPr lvl="2"/>
            <a:r>
              <a:rPr lang="en-US" dirty="0"/>
              <a:t>Pellentesque habitant morbi tristique senectus et netus et malesuada</a:t>
            </a:r>
          </a:p>
          <a:p>
            <a:pPr lvl="3"/>
            <a:r>
              <a:rPr lang="en-US" dirty="0"/>
              <a:t>fames ac turpis egestas. Proin pharetra nonummy pede. Mauris et orci.</a:t>
            </a:r>
          </a:p>
          <a:p>
            <a:endParaRPr lang="en-US" dirty="0"/>
          </a:p>
        </p:txBody>
      </p:sp>
      <p:graphicFrame>
        <p:nvGraphicFramePr>
          <p:cNvPr id="7" name="Inhaltsplatzhalter 6">
            <a:extLst>
              <a:ext uri="{FF2B5EF4-FFF2-40B4-BE49-F238E27FC236}">
                <a16:creationId xmlns:a16="http://schemas.microsoft.com/office/drawing/2014/main" id="{0683A8D2-EE9F-4F2F-83A2-BFB38890538E}"/>
              </a:ext>
            </a:extLst>
          </p:cNvPr>
          <p:cNvGraphicFramePr>
            <a:graphicFrameLocks noGrp="1"/>
          </p:cNvGraphicFramePr>
          <p:nvPr>
            <p:ph sz="quarter" idx="14"/>
            <p:extLst>
              <p:ext uri="{D42A27DB-BD31-4B8C-83A1-F6EECF244321}">
                <p14:modId xmlns:p14="http://schemas.microsoft.com/office/powerpoint/2010/main" val="2360306726"/>
              </p:ext>
            </p:extLst>
          </p:nvPr>
        </p:nvGraphicFramePr>
        <p:xfrm>
          <a:off x="6311900" y="2156936"/>
          <a:ext cx="5267829" cy="3576320"/>
        </p:xfrm>
        <a:graphic>
          <a:graphicData uri="http://schemas.openxmlformats.org/drawingml/2006/table">
            <a:tbl>
              <a:tblPr firstRow="1" firstCol="1" lastRow="1" lastCol="1">
                <a:tableStyleId>{0E3FDE45-AF77-4B5C-9715-49D594BDF05E}</a:tableStyleId>
              </a:tblPr>
              <a:tblGrid>
                <a:gridCol w="1811829">
                  <a:extLst>
                    <a:ext uri="{9D8B030D-6E8A-4147-A177-3AD203B41FA5}">
                      <a16:colId xmlns:a16="http://schemas.microsoft.com/office/drawing/2014/main" val="1532515492"/>
                    </a:ext>
                  </a:extLst>
                </a:gridCol>
                <a:gridCol w="1152000">
                  <a:extLst>
                    <a:ext uri="{9D8B030D-6E8A-4147-A177-3AD203B41FA5}">
                      <a16:colId xmlns:a16="http://schemas.microsoft.com/office/drawing/2014/main" val="1046473389"/>
                    </a:ext>
                  </a:extLst>
                </a:gridCol>
                <a:gridCol w="1152000">
                  <a:extLst>
                    <a:ext uri="{9D8B030D-6E8A-4147-A177-3AD203B41FA5}">
                      <a16:colId xmlns:a16="http://schemas.microsoft.com/office/drawing/2014/main" val="3597104414"/>
                    </a:ext>
                  </a:extLst>
                </a:gridCol>
                <a:gridCol w="1152000">
                  <a:extLst>
                    <a:ext uri="{9D8B030D-6E8A-4147-A177-3AD203B41FA5}">
                      <a16:colId xmlns:a16="http://schemas.microsoft.com/office/drawing/2014/main" val="3391893409"/>
                    </a:ext>
                  </a:extLst>
                </a:gridCol>
              </a:tblGrid>
              <a:tr h="370840">
                <a:tc>
                  <a:txBody>
                    <a:bodyPr/>
                    <a:lstStyle/>
                    <a:p>
                      <a:r>
                        <a:rPr lang="en-US" sz="1400" b="0" dirty="0">
                          <a:solidFill>
                            <a:schemeClr val="accent1"/>
                          </a:solidFill>
                          <a:latin typeface="+mj-lt"/>
                        </a:rPr>
                        <a:t>Heading column 01</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lang="en-US" sz="1400" b="0" dirty="0">
                          <a:solidFill>
                            <a:schemeClr val="accent1"/>
                          </a:solidFill>
                          <a:latin typeface="+mj-lt"/>
                        </a:rPr>
                        <a:t>Column 02</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lang="en-US" sz="1400" b="0" dirty="0">
                          <a:solidFill>
                            <a:schemeClr val="accent1"/>
                          </a:solidFill>
                          <a:latin typeface="+mj-lt"/>
                        </a:rPr>
                        <a:t>Column 03</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lang="en-US" sz="1400" b="0" dirty="0">
                          <a:solidFill>
                            <a:schemeClr val="accent1"/>
                          </a:solidFill>
                          <a:latin typeface="+mj-lt"/>
                        </a:rPr>
                        <a:t>Column 04</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864410155"/>
                  </a:ext>
                </a:extLst>
              </a:tr>
              <a:tr h="370840">
                <a:tc>
                  <a:txBody>
                    <a:bodyPr/>
                    <a:lstStyle/>
                    <a:p>
                      <a:r>
                        <a:rPr lang="en-US" sz="1400" b="0" dirty="0">
                          <a:latin typeface="+mj-lt"/>
                        </a:rPr>
                        <a:t>Lorem ipsum dolor sit amet, consectetuer adipiscing elit. </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400" dirty="0"/>
                        <a:t>123456</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alpha val="20000"/>
                      </a:schemeClr>
                    </a:solidFill>
                  </a:tcPr>
                </a:tc>
                <a:tc>
                  <a:txBody>
                    <a:bodyPr/>
                    <a:lstStyle/>
                    <a:p>
                      <a:r>
                        <a:rPr lang="en-US" sz="1400" dirty="0"/>
                        <a:t>123456</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400" b="0" dirty="0">
                          <a:latin typeface="+mj-lt"/>
                        </a:rPr>
                        <a:t>123456</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290007912"/>
                  </a:ext>
                </a:extLst>
              </a:tr>
              <a:tr h="370840">
                <a:tc>
                  <a:txBody>
                    <a:bodyPr/>
                    <a:lstStyle/>
                    <a:p>
                      <a:r>
                        <a:rPr lang="en-US" sz="1400" b="0" dirty="0">
                          <a:latin typeface="+mj-lt"/>
                        </a:rPr>
                        <a:t>Maecenas porttitor congue massa. Fusce posuere, magna sed</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lang="en-US" sz="1400" dirty="0"/>
                        <a:t>123456</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lang="en-US" sz="1400" dirty="0"/>
                        <a:t>123456</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lang="en-US" sz="1400" b="0" dirty="0">
                          <a:latin typeface="+mj-lt"/>
                        </a:rPr>
                        <a:t>123456</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879876437"/>
                  </a:ext>
                </a:extLst>
              </a:tr>
              <a:tr h="370840">
                <a:tc>
                  <a:txBody>
                    <a:bodyPr/>
                    <a:lstStyle/>
                    <a:p>
                      <a:r>
                        <a:rPr lang="en-US" sz="1400" b="0" dirty="0">
                          <a:latin typeface="+mj-lt"/>
                        </a:rPr>
                        <a:t>Nunc viverra imperdiet enim. Fusce est. Vivamus a tellus.</a:t>
                      </a:r>
                    </a:p>
                  </a:txBody>
                  <a:tcP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r>
                        <a:rPr lang="en-US" sz="1400" dirty="0"/>
                        <a:t>123456</a:t>
                      </a:r>
                    </a:p>
                  </a:txBody>
                  <a:tcP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alpha val="20000"/>
                      </a:schemeClr>
                    </a:solidFill>
                  </a:tcPr>
                </a:tc>
                <a:tc>
                  <a:txBody>
                    <a:bodyPr/>
                    <a:lstStyle/>
                    <a:p>
                      <a:r>
                        <a:rPr lang="en-US" sz="1400" dirty="0"/>
                        <a:t>123456</a:t>
                      </a:r>
                    </a:p>
                  </a:txBody>
                  <a:tcP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r>
                        <a:rPr lang="en-US" sz="1400" b="0" dirty="0">
                          <a:latin typeface="+mj-lt"/>
                        </a:rPr>
                        <a:t>123456</a:t>
                      </a:r>
                    </a:p>
                  </a:txBody>
                  <a:tcP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568869702"/>
                  </a:ext>
                </a:extLst>
              </a:tr>
              <a:tr h="370840">
                <a:tc>
                  <a:txBody>
                    <a:bodyPr/>
                    <a:lstStyle/>
                    <a:p>
                      <a:r>
                        <a:rPr lang="en-US" sz="1400" b="0" dirty="0">
                          <a:latin typeface="+mj-lt"/>
                        </a:rPr>
                        <a:t>Total</a:t>
                      </a:r>
                    </a:p>
                  </a:txBody>
                  <a:tcP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400" b="0" dirty="0">
                          <a:latin typeface="+mj-lt"/>
                        </a:rPr>
                        <a:t>123456</a:t>
                      </a:r>
                    </a:p>
                  </a:txBody>
                  <a:tcP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400" b="0" dirty="0">
                          <a:latin typeface="+mj-lt"/>
                        </a:rPr>
                        <a:t>123456</a:t>
                      </a:r>
                    </a:p>
                  </a:txBody>
                  <a:tcP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400" b="0" dirty="0">
                          <a:latin typeface="+mj-lt"/>
                        </a:rPr>
                        <a:t>123456</a:t>
                      </a:r>
                    </a:p>
                  </a:txBody>
                  <a:tcP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354889565"/>
                  </a:ext>
                </a:extLst>
              </a:tr>
            </a:tbl>
          </a:graphicData>
        </a:graphic>
      </p:graphicFrame>
      <p:sp>
        <p:nvSpPr>
          <p:cNvPr id="4" name="Rectangle 3">
            <a:extLst>
              <a:ext uri="{FF2B5EF4-FFF2-40B4-BE49-F238E27FC236}">
                <a16:creationId xmlns:a16="http://schemas.microsoft.com/office/drawing/2014/main" id="{343E45F5-0EA0-4013-8603-B1BD4B62FBF6}"/>
              </a:ext>
            </a:extLst>
          </p:cNvPr>
          <p:cNvSpPr/>
          <p:nvPr/>
        </p:nvSpPr>
        <p:spPr bwMode="gray">
          <a:xfrm>
            <a:off x="6311899" y="1772816"/>
            <a:ext cx="5256709" cy="35961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latin typeface="+mj-lt"/>
              </a:rPr>
              <a:t>Table heading </a:t>
            </a:r>
            <a:r>
              <a:rPr lang="en-US" sz="1600" dirty="0">
                <a:solidFill>
                  <a:schemeClr val="tx1"/>
                </a:solidFill>
              </a:rPr>
              <a:t>(Subheading)</a:t>
            </a:r>
          </a:p>
        </p:txBody>
      </p:sp>
      <p:sp>
        <p:nvSpPr>
          <p:cNvPr id="9" name="Rechteck 8">
            <a:extLst>
              <a:ext uri="{FF2B5EF4-FFF2-40B4-BE49-F238E27FC236}">
                <a16:creationId xmlns:a16="http://schemas.microsoft.com/office/drawing/2014/main" id="{5394B03C-32B6-4941-AD00-8B91813D5400}"/>
              </a:ext>
            </a:extLst>
          </p:cNvPr>
          <p:cNvSpPr/>
          <p:nvPr/>
        </p:nvSpPr>
        <p:spPr bwMode="gray">
          <a:xfrm>
            <a:off x="12288880" y="188640"/>
            <a:ext cx="1728000" cy="64804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t"/>
          <a:lstStyle/>
          <a:p>
            <a:pPr algn="l"/>
            <a:r>
              <a:rPr lang="en-US" sz="1200" noProof="0" dirty="0">
                <a:solidFill>
                  <a:schemeClr val="tx1"/>
                </a:solidFill>
                <a:latin typeface="+mj-lt"/>
              </a:rPr>
              <a:t>Note:</a:t>
            </a:r>
          </a:p>
          <a:p>
            <a:r>
              <a:rPr lang="en-US" sz="1200" dirty="0">
                <a:solidFill>
                  <a:schemeClr val="tx1"/>
                </a:solidFill>
              </a:rPr>
              <a:t>Table backgrounds</a:t>
            </a:r>
            <a:br>
              <a:rPr lang="en-US" sz="1200" dirty="0">
                <a:solidFill>
                  <a:schemeClr val="tx1"/>
                </a:solidFill>
              </a:rPr>
            </a:br>
            <a:r>
              <a:rPr lang="en-US" sz="1200" dirty="0">
                <a:solidFill>
                  <a:schemeClr val="tx1"/>
                </a:solidFill>
              </a:rPr>
              <a:t>are set manually</a:t>
            </a:r>
            <a:br>
              <a:rPr lang="en-US" sz="1200" dirty="0">
                <a:solidFill>
                  <a:schemeClr val="tx1"/>
                </a:solidFill>
              </a:rPr>
            </a:br>
            <a:r>
              <a:rPr lang="en-US" sz="1200" dirty="0">
                <a:solidFill>
                  <a:schemeClr val="tx1"/>
                </a:solidFill>
              </a:rPr>
              <a:t>by “shape fill”.</a:t>
            </a:r>
            <a:endParaRPr lang="en-US" sz="1200" noProof="0" dirty="0">
              <a:solidFill>
                <a:schemeClr val="tx1"/>
              </a:solidFill>
            </a:endParaRPr>
          </a:p>
        </p:txBody>
      </p:sp>
      <p:sp>
        <p:nvSpPr>
          <p:cNvPr id="5" name="Fußzeilenplatzhalter 4">
            <a:extLst>
              <a:ext uri="{FF2B5EF4-FFF2-40B4-BE49-F238E27FC236}">
                <a16:creationId xmlns:a16="http://schemas.microsoft.com/office/drawing/2014/main" id="{C7B227D1-35B3-469F-92CE-8498E56B4640}"/>
              </a:ext>
            </a:extLst>
          </p:cNvPr>
          <p:cNvSpPr>
            <a:spLocks noGrp="1"/>
          </p:cNvSpPr>
          <p:nvPr>
            <p:ph type="ftr" sz="quarter" idx="15"/>
          </p:nvPr>
        </p:nvSpPr>
        <p:spPr bwMode="gray"/>
        <p:txBody>
          <a:bodyPr/>
          <a:lstStyle/>
          <a:p>
            <a:r>
              <a:rPr lang="en-US"/>
              <a:t>Footnote: Please insert appropriate company</a:t>
            </a:r>
            <a:endParaRPr lang="de-DE" dirty="0"/>
          </a:p>
        </p:txBody>
      </p:sp>
      <p:sp>
        <p:nvSpPr>
          <p:cNvPr id="6" name="Foliennummernplatzhalter 5">
            <a:extLst>
              <a:ext uri="{FF2B5EF4-FFF2-40B4-BE49-F238E27FC236}">
                <a16:creationId xmlns:a16="http://schemas.microsoft.com/office/drawing/2014/main" id="{C2254193-A744-4EA9-8B31-DA255BF1204E}"/>
              </a:ext>
            </a:extLst>
          </p:cNvPr>
          <p:cNvSpPr>
            <a:spLocks noGrp="1"/>
          </p:cNvSpPr>
          <p:nvPr>
            <p:ph type="sldNum" sz="quarter" idx="12"/>
          </p:nvPr>
        </p:nvSpPr>
        <p:spPr/>
        <p:txBody>
          <a:bodyPr/>
          <a:lstStyle/>
          <a:p>
            <a:fld id="{CE82B8A1-0CCE-4815-9668-383D7DE7D8B4}" type="slidenum">
              <a:rPr lang="en-US" noProof="0" smtClean="0"/>
              <a:t>11</a:t>
            </a:fld>
            <a:endParaRPr lang="en-US" noProof="0" dirty="0"/>
          </a:p>
        </p:txBody>
      </p:sp>
    </p:spTree>
    <p:extLst>
      <p:ext uri="{BB962C8B-B14F-4D97-AF65-F5344CB8AC3E}">
        <p14:creationId xmlns:p14="http://schemas.microsoft.com/office/powerpoint/2010/main" val="94097634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Freeform 13">
            <a:extLst>
              <a:ext uri="{FF2B5EF4-FFF2-40B4-BE49-F238E27FC236}">
                <a16:creationId xmlns:a16="http://schemas.microsoft.com/office/drawing/2014/main" id="{147DAED5-C064-41FD-AF0F-F528BC8B46DE}"/>
              </a:ext>
            </a:extLst>
          </p:cNvPr>
          <p:cNvSpPr>
            <a:spLocks noEditPoints="1"/>
          </p:cNvSpPr>
          <p:nvPr/>
        </p:nvSpPr>
        <p:spPr bwMode="gray">
          <a:xfrm>
            <a:off x="2462426" y="-961625"/>
            <a:ext cx="354176" cy="346720"/>
          </a:xfrm>
          <a:custGeom>
            <a:avLst/>
            <a:gdLst>
              <a:gd name="T0" fmla="*/ 136 w 160"/>
              <a:gd name="T1" fmla="*/ 144 h 160"/>
              <a:gd name="T2" fmla="*/ 136 w 160"/>
              <a:gd name="T3" fmla="*/ 160 h 160"/>
              <a:gd name="T4" fmla="*/ 0 w 160"/>
              <a:gd name="T5" fmla="*/ 160 h 160"/>
              <a:gd name="T6" fmla="*/ 0 w 160"/>
              <a:gd name="T7" fmla="*/ 72 h 160"/>
              <a:gd name="T8" fmla="*/ 16 w 160"/>
              <a:gd name="T9" fmla="*/ 72 h 160"/>
              <a:gd name="T10" fmla="*/ 16 w 160"/>
              <a:gd name="T11" fmla="*/ 144 h 160"/>
              <a:gd name="T12" fmla="*/ 72 w 160"/>
              <a:gd name="T13" fmla="*/ 48 h 160"/>
              <a:gd name="T14" fmla="*/ 136 w 160"/>
              <a:gd name="T15" fmla="*/ 112 h 160"/>
              <a:gd name="T16" fmla="*/ 136 w 160"/>
              <a:gd name="T17" fmla="*/ 48 h 160"/>
              <a:gd name="T18" fmla="*/ 72 w 160"/>
              <a:gd name="T19" fmla="*/ 48 h 160"/>
              <a:gd name="T20" fmla="*/ 160 w 160"/>
              <a:gd name="T21" fmla="*/ 0 h 160"/>
              <a:gd name="T22" fmla="*/ 160 w 160"/>
              <a:gd name="T23" fmla="*/ 136 h 160"/>
              <a:gd name="T24" fmla="*/ 24 w 160"/>
              <a:gd name="T25" fmla="*/ 136 h 160"/>
              <a:gd name="T26" fmla="*/ 24 w 160"/>
              <a:gd name="T27" fmla="*/ 32 h 160"/>
              <a:gd name="T28" fmla="*/ 56 w 160"/>
              <a:gd name="T29" fmla="*/ 0 h 160"/>
              <a:gd name="T30" fmla="*/ 160 w 160"/>
              <a:gd name="T31" fmla="*/ 0 h 160"/>
              <a:gd name="T32" fmla="*/ 144 w 160"/>
              <a:gd name="T33" fmla="*/ 40 h 160"/>
              <a:gd name="T34" fmla="*/ 40 w 160"/>
              <a:gd name="T35" fmla="*/ 40 h 160"/>
              <a:gd name="T36" fmla="*/ 40 w 160"/>
              <a:gd name="T37" fmla="*/ 120 h 160"/>
              <a:gd name="T38" fmla="*/ 144 w 160"/>
              <a:gd name="T39" fmla="*/ 120 h 160"/>
              <a:gd name="T40" fmla="*/ 144 w 160"/>
              <a:gd name="T41" fmla="*/ 4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0" h="160">
                <a:moveTo>
                  <a:pt x="136" y="144"/>
                </a:moveTo>
                <a:cubicBezTo>
                  <a:pt x="136" y="160"/>
                  <a:pt x="136" y="160"/>
                  <a:pt x="136" y="160"/>
                </a:cubicBezTo>
                <a:cubicBezTo>
                  <a:pt x="0" y="160"/>
                  <a:pt x="0" y="160"/>
                  <a:pt x="0" y="160"/>
                </a:cubicBezTo>
                <a:cubicBezTo>
                  <a:pt x="0" y="72"/>
                  <a:pt x="0" y="72"/>
                  <a:pt x="0" y="72"/>
                </a:cubicBezTo>
                <a:cubicBezTo>
                  <a:pt x="16" y="72"/>
                  <a:pt x="16" y="72"/>
                  <a:pt x="16" y="72"/>
                </a:cubicBezTo>
                <a:cubicBezTo>
                  <a:pt x="16" y="144"/>
                  <a:pt x="16" y="144"/>
                  <a:pt x="16" y="144"/>
                </a:cubicBezTo>
                <a:moveTo>
                  <a:pt x="72" y="48"/>
                </a:moveTo>
                <a:cubicBezTo>
                  <a:pt x="136" y="112"/>
                  <a:pt x="136" y="112"/>
                  <a:pt x="136" y="112"/>
                </a:cubicBezTo>
                <a:cubicBezTo>
                  <a:pt x="136" y="48"/>
                  <a:pt x="136" y="48"/>
                  <a:pt x="136" y="48"/>
                </a:cubicBezTo>
                <a:cubicBezTo>
                  <a:pt x="136" y="47"/>
                  <a:pt x="72" y="48"/>
                  <a:pt x="72" y="48"/>
                </a:cubicBezTo>
                <a:moveTo>
                  <a:pt x="160" y="0"/>
                </a:moveTo>
                <a:cubicBezTo>
                  <a:pt x="160" y="136"/>
                  <a:pt x="160" y="136"/>
                  <a:pt x="160" y="136"/>
                </a:cubicBezTo>
                <a:cubicBezTo>
                  <a:pt x="24" y="136"/>
                  <a:pt x="24" y="136"/>
                  <a:pt x="24" y="136"/>
                </a:cubicBezTo>
                <a:cubicBezTo>
                  <a:pt x="24" y="32"/>
                  <a:pt x="24" y="32"/>
                  <a:pt x="24" y="32"/>
                </a:cubicBezTo>
                <a:cubicBezTo>
                  <a:pt x="24" y="14"/>
                  <a:pt x="38" y="0"/>
                  <a:pt x="56" y="0"/>
                </a:cubicBezTo>
                <a:lnTo>
                  <a:pt x="160" y="0"/>
                </a:lnTo>
                <a:close/>
                <a:moveTo>
                  <a:pt x="144" y="40"/>
                </a:moveTo>
                <a:cubicBezTo>
                  <a:pt x="40" y="40"/>
                  <a:pt x="40" y="40"/>
                  <a:pt x="40" y="40"/>
                </a:cubicBezTo>
                <a:cubicBezTo>
                  <a:pt x="40" y="120"/>
                  <a:pt x="40" y="120"/>
                  <a:pt x="40" y="120"/>
                </a:cubicBezTo>
                <a:cubicBezTo>
                  <a:pt x="144" y="120"/>
                  <a:pt x="144" y="120"/>
                  <a:pt x="144" y="120"/>
                </a:cubicBezTo>
                <a:lnTo>
                  <a:pt x="144" y="4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17">
            <a:extLst>
              <a:ext uri="{FF2B5EF4-FFF2-40B4-BE49-F238E27FC236}">
                <a16:creationId xmlns:a16="http://schemas.microsoft.com/office/drawing/2014/main" id="{0D61CFEF-771F-4079-8089-46FFF8F9C834}"/>
              </a:ext>
            </a:extLst>
          </p:cNvPr>
          <p:cNvSpPr>
            <a:spLocks noEditPoints="1"/>
          </p:cNvSpPr>
          <p:nvPr/>
        </p:nvSpPr>
        <p:spPr bwMode="gray">
          <a:xfrm>
            <a:off x="6063076" y="-963488"/>
            <a:ext cx="354176" cy="350447"/>
          </a:xfrm>
          <a:custGeom>
            <a:avLst/>
            <a:gdLst>
              <a:gd name="T0" fmla="*/ 88 w 160"/>
              <a:gd name="T1" fmla="*/ 40 h 160"/>
              <a:gd name="T2" fmla="*/ 64 w 160"/>
              <a:gd name="T3" fmla="*/ 40 h 160"/>
              <a:gd name="T4" fmla="*/ 64 w 160"/>
              <a:gd name="T5" fmla="*/ 24 h 160"/>
              <a:gd name="T6" fmla="*/ 88 w 160"/>
              <a:gd name="T7" fmla="*/ 24 h 160"/>
              <a:gd name="T8" fmla="*/ 88 w 160"/>
              <a:gd name="T9" fmla="*/ 40 h 160"/>
              <a:gd name="T10" fmla="*/ 0 w 160"/>
              <a:gd name="T11" fmla="*/ 160 h 160"/>
              <a:gd name="T12" fmla="*/ 0 w 160"/>
              <a:gd name="T13" fmla="*/ 0 h 160"/>
              <a:gd name="T14" fmla="*/ 112 w 160"/>
              <a:gd name="T15" fmla="*/ 0 h 160"/>
              <a:gd name="T16" fmla="*/ 160 w 160"/>
              <a:gd name="T17" fmla="*/ 48 h 160"/>
              <a:gd name="T18" fmla="*/ 160 w 160"/>
              <a:gd name="T19" fmla="*/ 128 h 160"/>
              <a:gd name="T20" fmla="*/ 128 w 160"/>
              <a:gd name="T21" fmla="*/ 160 h 160"/>
              <a:gd name="T22" fmla="*/ 0 w 160"/>
              <a:gd name="T23" fmla="*/ 160 h 160"/>
              <a:gd name="T24" fmla="*/ 32 w 160"/>
              <a:gd name="T25" fmla="*/ 48 h 160"/>
              <a:gd name="T26" fmla="*/ 96 w 160"/>
              <a:gd name="T27" fmla="*/ 48 h 160"/>
              <a:gd name="T28" fmla="*/ 96 w 160"/>
              <a:gd name="T29" fmla="*/ 16 h 160"/>
              <a:gd name="T30" fmla="*/ 32 w 160"/>
              <a:gd name="T31" fmla="*/ 16 h 160"/>
              <a:gd name="T32" fmla="*/ 32 w 160"/>
              <a:gd name="T33" fmla="*/ 48 h 160"/>
              <a:gd name="T34" fmla="*/ 128 w 160"/>
              <a:gd name="T35" fmla="*/ 80 h 160"/>
              <a:gd name="T36" fmla="*/ 32 w 160"/>
              <a:gd name="T37" fmla="*/ 80 h 160"/>
              <a:gd name="T38" fmla="*/ 32 w 160"/>
              <a:gd name="T39" fmla="*/ 144 h 160"/>
              <a:gd name="T40" fmla="*/ 128 w 160"/>
              <a:gd name="T41" fmla="*/ 144 h 160"/>
              <a:gd name="T42" fmla="*/ 128 w 160"/>
              <a:gd name="T4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0" h="160">
                <a:moveTo>
                  <a:pt x="88" y="40"/>
                </a:moveTo>
                <a:cubicBezTo>
                  <a:pt x="64" y="40"/>
                  <a:pt x="64" y="40"/>
                  <a:pt x="64" y="40"/>
                </a:cubicBezTo>
                <a:cubicBezTo>
                  <a:pt x="64" y="24"/>
                  <a:pt x="64" y="24"/>
                  <a:pt x="64" y="24"/>
                </a:cubicBezTo>
                <a:cubicBezTo>
                  <a:pt x="88" y="24"/>
                  <a:pt x="88" y="24"/>
                  <a:pt x="88" y="24"/>
                </a:cubicBezTo>
                <a:lnTo>
                  <a:pt x="88" y="40"/>
                </a:lnTo>
                <a:close/>
                <a:moveTo>
                  <a:pt x="0" y="160"/>
                </a:moveTo>
                <a:cubicBezTo>
                  <a:pt x="0" y="0"/>
                  <a:pt x="0" y="0"/>
                  <a:pt x="0" y="0"/>
                </a:cubicBezTo>
                <a:cubicBezTo>
                  <a:pt x="112" y="0"/>
                  <a:pt x="112" y="0"/>
                  <a:pt x="112" y="0"/>
                </a:cubicBezTo>
                <a:cubicBezTo>
                  <a:pt x="160" y="48"/>
                  <a:pt x="160" y="48"/>
                  <a:pt x="160" y="48"/>
                </a:cubicBezTo>
                <a:cubicBezTo>
                  <a:pt x="160" y="128"/>
                  <a:pt x="160" y="128"/>
                  <a:pt x="160" y="128"/>
                </a:cubicBezTo>
                <a:cubicBezTo>
                  <a:pt x="160" y="145"/>
                  <a:pt x="145" y="160"/>
                  <a:pt x="128" y="160"/>
                </a:cubicBezTo>
                <a:lnTo>
                  <a:pt x="0" y="160"/>
                </a:lnTo>
                <a:close/>
                <a:moveTo>
                  <a:pt x="32" y="48"/>
                </a:moveTo>
                <a:cubicBezTo>
                  <a:pt x="96" y="48"/>
                  <a:pt x="96" y="48"/>
                  <a:pt x="96" y="48"/>
                </a:cubicBezTo>
                <a:cubicBezTo>
                  <a:pt x="96" y="16"/>
                  <a:pt x="96" y="16"/>
                  <a:pt x="96" y="16"/>
                </a:cubicBezTo>
                <a:cubicBezTo>
                  <a:pt x="32" y="16"/>
                  <a:pt x="32" y="16"/>
                  <a:pt x="32" y="16"/>
                </a:cubicBezTo>
                <a:lnTo>
                  <a:pt x="32" y="48"/>
                </a:lnTo>
                <a:close/>
                <a:moveTo>
                  <a:pt x="128" y="80"/>
                </a:moveTo>
                <a:cubicBezTo>
                  <a:pt x="32" y="80"/>
                  <a:pt x="32" y="80"/>
                  <a:pt x="32" y="80"/>
                </a:cubicBezTo>
                <a:cubicBezTo>
                  <a:pt x="32" y="144"/>
                  <a:pt x="32" y="144"/>
                  <a:pt x="32" y="144"/>
                </a:cubicBezTo>
                <a:cubicBezTo>
                  <a:pt x="128" y="144"/>
                  <a:pt x="128" y="144"/>
                  <a:pt x="128" y="144"/>
                </a:cubicBezTo>
                <a:lnTo>
                  <a:pt x="128" y="8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Freeform 19">
            <a:extLst>
              <a:ext uri="{FF2B5EF4-FFF2-40B4-BE49-F238E27FC236}">
                <a16:creationId xmlns:a16="http://schemas.microsoft.com/office/drawing/2014/main" id="{007A9E8E-043D-4186-9CED-FED68E04655F}"/>
              </a:ext>
            </a:extLst>
          </p:cNvPr>
          <p:cNvSpPr>
            <a:spLocks noEditPoints="1"/>
          </p:cNvSpPr>
          <p:nvPr/>
        </p:nvSpPr>
        <p:spPr bwMode="gray">
          <a:xfrm>
            <a:off x="9663726" y="-961625"/>
            <a:ext cx="354176" cy="346720"/>
          </a:xfrm>
          <a:custGeom>
            <a:avLst/>
            <a:gdLst>
              <a:gd name="T0" fmla="*/ 160 w 160"/>
              <a:gd name="T1" fmla="*/ 44 h 160"/>
              <a:gd name="T2" fmla="*/ 160 w 160"/>
              <a:gd name="T3" fmla="*/ 128 h 160"/>
              <a:gd name="T4" fmla="*/ 128 w 160"/>
              <a:gd name="T5" fmla="*/ 160 h 160"/>
              <a:gd name="T6" fmla="*/ 32 w 160"/>
              <a:gd name="T7" fmla="*/ 160 h 160"/>
              <a:gd name="T8" fmla="*/ 0 w 160"/>
              <a:gd name="T9" fmla="*/ 128 h 160"/>
              <a:gd name="T10" fmla="*/ 0 w 160"/>
              <a:gd name="T11" fmla="*/ 44 h 160"/>
              <a:gd name="T12" fmla="*/ 32 w 160"/>
              <a:gd name="T13" fmla="*/ 76 h 160"/>
              <a:gd name="T14" fmla="*/ 32 w 160"/>
              <a:gd name="T15" fmla="*/ 144 h 160"/>
              <a:gd name="T16" fmla="*/ 128 w 160"/>
              <a:gd name="T17" fmla="*/ 144 h 160"/>
              <a:gd name="T18" fmla="*/ 128 w 160"/>
              <a:gd name="T19" fmla="*/ 76 h 160"/>
              <a:gd name="T20" fmla="*/ 160 w 160"/>
              <a:gd name="T21" fmla="*/ 44 h 160"/>
              <a:gd name="T22" fmla="*/ 44 w 160"/>
              <a:gd name="T23" fmla="*/ 136 h 160"/>
              <a:gd name="T24" fmla="*/ 116 w 160"/>
              <a:gd name="T25" fmla="*/ 136 h 160"/>
              <a:gd name="T26" fmla="*/ 116 w 160"/>
              <a:gd name="T27" fmla="*/ 120 h 160"/>
              <a:gd name="T28" fmla="*/ 44 w 160"/>
              <a:gd name="T29" fmla="*/ 120 h 160"/>
              <a:gd name="T30" fmla="*/ 44 w 160"/>
              <a:gd name="T31" fmla="*/ 136 h 160"/>
              <a:gd name="T32" fmla="*/ 144 w 160"/>
              <a:gd name="T33" fmla="*/ 32 h 160"/>
              <a:gd name="T34" fmla="*/ 104 w 160"/>
              <a:gd name="T35" fmla="*/ 32 h 160"/>
              <a:gd name="T36" fmla="*/ 104 w 160"/>
              <a:gd name="T37" fmla="*/ 0 h 160"/>
              <a:gd name="T38" fmla="*/ 56 w 160"/>
              <a:gd name="T39" fmla="*/ 0 h 160"/>
              <a:gd name="T40" fmla="*/ 56 w 160"/>
              <a:gd name="T41" fmla="*/ 32 h 160"/>
              <a:gd name="T42" fmla="*/ 16 w 160"/>
              <a:gd name="T43" fmla="*/ 32 h 160"/>
              <a:gd name="T44" fmla="*/ 80 w 160"/>
              <a:gd name="T45" fmla="*/ 96 h 160"/>
              <a:gd name="T46" fmla="*/ 144 w 160"/>
              <a:gd name="T47" fmla="*/ 3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0" h="160">
                <a:moveTo>
                  <a:pt x="160" y="44"/>
                </a:moveTo>
                <a:cubicBezTo>
                  <a:pt x="160" y="128"/>
                  <a:pt x="160" y="128"/>
                  <a:pt x="160" y="128"/>
                </a:cubicBezTo>
                <a:cubicBezTo>
                  <a:pt x="160" y="145"/>
                  <a:pt x="145" y="160"/>
                  <a:pt x="128" y="160"/>
                </a:cubicBezTo>
                <a:cubicBezTo>
                  <a:pt x="32" y="160"/>
                  <a:pt x="32" y="160"/>
                  <a:pt x="32" y="160"/>
                </a:cubicBezTo>
                <a:cubicBezTo>
                  <a:pt x="14" y="160"/>
                  <a:pt x="0" y="145"/>
                  <a:pt x="0" y="128"/>
                </a:cubicBezTo>
                <a:cubicBezTo>
                  <a:pt x="0" y="44"/>
                  <a:pt x="0" y="44"/>
                  <a:pt x="0" y="44"/>
                </a:cubicBezTo>
                <a:cubicBezTo>
                  <a:pt x="32" y="76"/>
                  <a:pt x="32" y="76"/>
                  <a:pt x="32" y="76"/>
                </a:cubicBezTo>
                <a:cubicBezTo>
                  <a:pt x="32" y="144"/>
                  <a:pt x="32" y="144"/>
                  <a:pt x="32" y="144"/>
                </a:cubicBezTo>
                <a:cubicBezTo>
                  <a:pt x="128" y="144"/>
                  <a:pt x="128" y="144"/>
                  <a:pt x="128" y="144"/>
                </a:cubicBezTo>
                <a:cubicBezTo>
                  <a:pt x="128" y="76"/>
                  <a:pt x="128" y="76"/>
                  <a:pt x="128" y="76"/>
                </a:cubicBezTo>
                <a:lnTo>
                  <a:pt x="160" y="44"/>
                </a:lnTo>
                <a:close/>
                <a:moveTo>
                  <a:pt x="44" y="136"/>
                </a:moveTo>
                <a:cubicBezTo>
                  <a:pt x="116" y="136"/>
                  <a:pt x="116" y="136"/>
                  <a:pt x="116" y="136"/>
                </a:cubicBezTo>
                <a:cubicBezTo>
                  <a:pt x="116" y="120"/>
                  <a:pt x="116" y="120"/>
                  <a:pt x="116" y="120"/>
                </a:cubicBezTo>
                <a:cubicBezTo>
                  <a:pt x="44" y="120"/>
                  <a:pt x="44" y="120"/>
                  <a:pt x="44" y="120"/>
                </a:cubicBezTo>
                <a:lnTo>
                  <a:pt x="44" y="136"/>
                </a:lnTo>
                <a:close/>
                <a:moveTo>
                  <a:pt x="144" y="32"/>
                </a:moveTo>
                <a:cubicBezTo>
                  <a:pt x="104" y="32"/>
                  <a:pt x="104" y="32"/>
                  <a:pt x="104" y="32"/>
                </a:cubicBezTo>
                <a:cubicBezTo>
                  <a:pt x="104" y="0"/>
                  <a:pt x="104" y="0"/>
                  <a:pt x="104" y="0"/>
                </a:cubicBezTo>
                <a:cubicBezTo>
                  <a:pt x="56" y="0"/>
                  <a:pt x="56" y="0"/>
                  <a:pt x="56" y="0"/>
                </a:cubicBezTo>
                <a:cubicBezTo>
                  <a:pt x="56" y="32"/>
                  <a:pt x="56" y="32"/>
                  <a:pt x="56" y="32"/>
                </a:cubicBezTo>
                <a:cubicBezTo>
                  <a:pt x="16" y="32"/>
                  <a:pt x="16" y="32"/>
                  <a:pt x="16" y="32"/>
                </a:cubicBezTo>
                <a:cubicBezTo>
                  <a:pt x="80" y="96"/>
                  <a:pt x="80" y="96"/>
                  <a:pt x="80" y="96"/>
                </a:cubicBezTo>
                <a:lnTo>
                  <a:pt x="144" y="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Rechteck 16">
            <a:extLst>
              <a:ext uri="{FF2B5EF4-FFF2-40B4-BE49-F238E27FC236}">
                <a16:creationId xmlns:a16="http://schemas.microsoft.com/office/drawing/2014/main" id="{2AD4B171-5251-4652-97CA-5CF7C0C8F4C3}"/>
              </a:ext>
            </a:extLst>
          </p:cNvPr>
          <p:cNvSpPr/>
          <p:nvPr/>
        </p:nvSpPr>
        <p:spPr bwMode="gray">
          <a:xfrm>
            <a:off x="-5813786" y="-4063197"/>
            <a:ext cx="7560000" cy="5760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icture</a:t>
            </a:r>
          </a:p>
        </p:txBody>
      </p:sp>
      <p:sp>
        <p:nvSpPr>
          <p:cNvPr id="18" name="Textplatzhalter 3">
            <a:extLst>
              <a:ext uri="{FF2B5EF4-FFF2-40B4-BE49-F238E27FC236}">
                <a16:creationId xmlns:a16="http://schemas.microsoft.com/office/drawing/2014/main" id="{72E2E2D8-B98D-49BC-B018-5A572AF5542B}"/>
              </a:ext>
            </a:extLst>
          </p:cNvPr>
          <p:cNvSpPr txBox="1">
            <a:spLocks/>
          </p:cNvSpPr>
          <p:nvPr/>
        </p:nvSpPr>
        <p:spPr bwMode="gray">
          <a:xfrm>
            <a:off x="2028488" y="783176"/>
            <a:ext cx="10163512" cy="1152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8000" dirty="0">
                <a:solidFill>
                  <a:schemeClr val="accent5"/>
                </a:solidFill>
              </a:rPr>
              <a:t>Measuring of Success </a:t>
            </a:r>
          </a:p>
        </p:txBody>
      </p:sp>
      <p:sp>
        <p:nvSpPr>
          <p:cNvPr id="22" name="Textplatzhalter 3">
            <a:extLst>
              <a:ext uri="{FF2B5EF4-FFF2-40B4-BE49-F238E27FC236}">
                <a16:creationId xmlns:a16="http://schemas.microsoft.com/office/drawing/2014/main" id="{D359034C-744A-4598-8D88-452D30434479}"/>
              </a:ext>
            </a:extLst>
          </p:cNvPr>
          <p:cNvSpPr txBox="1">
            <a:spLocks/>
          </p:cNvSpPr>
          <p:nvPr/>
        </p:nvSpPr>
        <p:spPr bwMode="gray">
          <a:xfrm>
            <a:off x="2063348" y="332528"/>
            <a:ext cx="1936800" cy="618952"/>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3200" dirty="0">
                <a:solidFill>
                  <a:schemeClr val="accent5"/>
                </a:solidFill>
                <a:latin typeface="+mn-lt"/>
              </a:rPr>
              <a:t>The</a:t>
            </a:r>
          </a:p>
        </p:txBody>
      </p:sp>
      <p:sp>
        <p:nvSpPr>
          <p:cNvPr id="26" name="Ellipse 25">
            <a:extLst>
              <a:ext uri="{FF2B5EF4-FFF2-40B4-BE49-F238E27FC236}">
                <a16:creationId xmlns:a16="http://schemas.microsoft.com/office/drawing/2014/main" id="{22039051-72F6-4FE9-84EC-723778DDBBEB}"/>
              </a:ext>
            </a:extLst>
          </p:cNvPr>
          <p:cNvSpPr/>
          <p:nvPr/>
        </p:nvSpPr>
        <p:spPr bwMode="gray">
          <a:xfrm>
            <a:off x="1487488" y="2564804"/>
            <a:ext cx="1944000" cy="1944000"/>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1"/>
            <a:endParaRPr lang="en-US" dirty="0">
              <a:solidFill>
                <a:prstClr val="white"/>
              </a:solidFill>
            </a:endParaRPr>
          </a:p>
        </p:txBody>
      </p:sp>
      <p:sp>
        <p:nvSpPr>
          <p:cNvPr id="27" name="Ellipse 26">
            <a:extLst>
              <a:ext uri="{FF2B5EF4-FFF2-40B4-BE49-F238E27FC236}">
                <a16:creationId xmlns:a16="http://schemas.microsoft.com/office/drawing/2014/main" id="{CEB4C6A1-7D88-4F34-B916-570833F809FF}"/>
              </a:ext>
            </a:extLst>
          </p:cNvPr>
          <p:cNvSpPr/>
          <p:nvPr/>
        </p:nvSpPr>
        <p:spPr bwMode="gray">
          <a:xfrm>
            <a:off x="1487488" y="2564804"/>
            <a:ext cx="1944000" cy="1944000"/>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1"/>
            <a:endParaRPr lang="en-US" dirty="0">
              <a:solidFill>
                <a:prstClr val="white"/>
              </a:solidFill>
            </a:endParaRPr>
          </a:p>
        </p:txBody>
      </p:sp>
      <p:sp>
        <p:nvSpPr>
          <p:cNvPr id="6" name="Ellipse 5">
            <a:extLst>
              <a:ext uri="{FF2B5EF4-FFF2-40B4-BE49-F238E27FC236}">
                <a16:creationId xmlns:a16="http://schemas.microsoft.com/office/drawing/2014/main" id="{A360C3B5-9DAB-4B8B-8E5D-A3A44FACA449}"/>
              </a:ext>
            </a:extLst>
          </p:cNvPr>
          <p:cNvSpPr/>
          <p:nvPr/>
        </p:nvSpPr>
        <p:spPr bwMode="gray">
          <a:xfrm>
            <a:off x="1487488" y="2564804"/>
            <a:ext cx="1944216" cy="1944432"/>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1"/>
            <a:endParaRPr lang="en-US" dirty="0">
              <a:solidFill>
                <a:prstClr val="white"/>
              </a:solidFill>
            </a:endParaRPr>
          </a:p>
        </p:txBody>
      </p:sp>
      <p:sp>
        <p:nvSpPr>
          <p:cNvPr id="13" name="Textplatzhalter 3">
            <a:extLst>
              <a:ext uri="{FF2B5EF4-FFF2-40B4-BE49-F238E27FC236}">
                <a16:creationId xmlns:a16="http://schemas.microsoft.com/office/drawing/2014/main" id="{00684C74-3380-418A-9916-F667FAF5F9C5}"/>
              </a:ext>
            </a:extLst>
          </p:cNvPr>
          <p:cNvSpPr txBox="1">
            <a:spLocks/>
          </p:cNvSpPr>
          <p:nvPr/>
        </p:nvSpPr>
        <p:spPr bwMode="gray">
          <a:xfrm>
            <a:off x="-8665640" y="783176"/>
            <a:ext cx="8208912" cy="1152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8000" dirty="0">
                <a:solidFill>
                  <a:schemeClr val="accent5"/>
                </a:solidFill>
              </a:rPr>
              <a:t>Implementation</a:t>
            </a:r>
          </a:p>
        </p:txBody>
      </p:sp>
      <p:grpSp>
        <p:nvGrpSpPr>
          <p:cNvPr id="5" name="Gruppieren 4">
            <a:extLst>
              <a:ext uri="{FF2B5EF4-FFF2-40B4-BE49-F238E27FC236}">
                <a16:creationId xmlns:a16="http://schemas.microsoft.com/office/drawing/2014/main" id="{CC0C67C3-2987-4BC8-8063-2836518A18E4}"/>
              </a:ext>
            </a:extLst>
          </p:cNvPr>
          <p:cNvGrpSpPr/>
          <p:nvPr/>
        </p:nvGrpSpPr>
        <p:grpSpPr bwMode="gray">
          <a:xfrm>
            <a:off x="3859559" y="3068744"/>
            <a:ext cx="6912768" cy="3528608"/>
            <a:chOff x="3859559" y="3068744"/>
            <a:chExt cx="6912768" cy="3528608"/>
          </a:xfrm>
        </p:grpSpPr>
        <p:sp>
          <p:nvSpPr>
            <p:cNvPr id="8" name="Textplatzhalter 15">
              <a:extLst>
                <a:ext uri="{FF2B5EF4-FFF2-40B4-BE49-F238E27FC236}">
                  <a16:creationId xmlns:a16="http://schemas.microsoft.com/office/drawing/2014/main" id="{CDFE7AD0-3A1D-4E5D-8A6E-B093FAE8A658}"/>
                </a:ext>
              </a:extLst>
            </p:cNvPr>
            <p:cNvSpPr txBox="1">
              <a:spLocks/>
            </p:cNvSpPr>
            <p:nvPr/>
          </p:nvSpPr>
          <p:spPr bwMode="gray">
            <a:xfrm>
              <a:off x="3859559" y="3068744"/>
              <a:ext cx="5075702" cy="1368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3600" dirty="0"/>
                <a:t>Lorem ipsum dolor sit amet, consectetuer adipiscing elit.</a:t>
              </a:r>
            </a:p>
            <a:p>
              <a:pPr lvl="1"/>
              <a:r>
                <a:rPr lang="en-US" sz="3600" dirty="0"/>
                <a:t>Maecenas porttitor congue massa. Fusce posuere, magna sed pulvinar</a:t>
              </a:r>
            </a:p>
          </p:txBody>
        </p:sp>
        <p:grpSp>
          <p:nvGrpSpPr>
            <p:cNvPr id="4" name="Gruppieren 3">
              <a:extLst>
                <a:ext uri="{FF2B5EF4-FFF2-40B4-BE49-F238E27FC236}">
                  <a16:creationId xmlns:a16="http://schemas.microsoft.com/office/drawing/2014/main" id="{CB6E4B41-379F-42AF-B295-8EC767B403C1}"/>
                </a:ext>
              </a:extLst>
            </p:cNvPr>
            <p:cNvGrpSpPr/>
            <p:nvPr/>
          </p:nvGrpSpPr>
          <p:grpSpPr bwMode="gray">
            <a:xfrm>
              <a:off x="8828111" y="4652920"/>
              <a:ext cx="1944216" cy="1944432"/>
              <a:chOff x="9552384" y="4724928"/>
              <a:chExt cx="1944216" cy="1944432"/>
            </a:xfrm>
          </p:grpSpPr>
          <p:sp>
            <p:nvSpPr>
              <p:cNvPr id="20" name="Ellipse 19">
                <a:extLst>
                  <a:ext uri="{FF2B5EF4-FFF2-40B4-BE49-F238E27FC236}">
                    <a16:creationId xmlns:a16="http://schemas.microsoft.com/office/drawing/2014/main" id="{E2C24796-119C-4B35-B5D7-47776450A86D}"/>
                  </a:ext>
                </a:extLst>
              </p:cNvPr>
              <p:cNvSpPr/>
              <p:nvPr/>
            </p:nvSpPr>
            <p:spPr bwMode="gray">
              <a:xfrm>
                <a:off x="9552384" y="4724928"/>
                <a:ext cx="1944216" cy="1944432"/>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1"/>
                <a:endParaRPr lang="en-US" dirty="0">
                  <a:solidFill>
                    <a:prstClr val="white"/>
                  </a:solidFill>
                </a:endParaRPr>
              </a:p>
            </p:txBody>
          </p:sp>
          <p:sp>
            <p:nvSpPr>
              <p:cNvPr id="21" name="Textplatzhalter 3">
                <a:extLst>
                  <a:ext uri="{FF2B5EF4-FFF2-40B4-BE49-F238E27FC236}">
                    <a16:creationId xmlns:a16="http://schemas.microsoft.com/office/drawing/2014/main" id="{6610AF73-C1BF-440D-9B31-1A6EA008306A}"/>
                  </a:ext>
                </a:extLst>
              </p:cNvPr>
              <p:cNvSpPr txBox="1">
                <a:spLocks/>
              </p:cNvSpPr>
              <p:nvPr/>
            </p:nvSpPr>
            <p:spPr bwMode="gray">
              <a:xfrm>
                <a:off x="10312401" y="5610422"/>
                <a:ext cx="864096"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sz="28700" dirty="0">
                    <a:solidFill>
                      <a:schemeClr val="bg1"/>
                    </a:solidFill>
                  </a:rPr>
                  <a:t>“</a:t>
                </a:r>
              </a:p>
            </p:txBody>
          </p:sp>
        </p:grpSp>
      </p:grpSp>
      <p:sp>
        <p:nvSpPr>
          <p:cNvPr id="23" name="Textplatzhalter 3">
            <a:extLst>
              <a:ext uri="{FF2B5EF4-FFF2-40B4-BE49-F238E27FC236}">
                <a16:creationId xmlns:a16="http://schemas.microsoft.com/office/drawing/2014/main" id="{5EC5D624-24C8-4DFA-82B5-05832C0B2062}"/>
              </a:ext>
            </a:extLst>
          </p:cNvPr>
          <p:cNvSpPr txBox="1">
            <a:spLocks/>
          </p:cNvSpPr>
          <p:nvPr/>
        </p:nvSpPr>
        <p:spPr bwMode="gray">
          <a:xfrm>
            <a:off x="1933113" y="2251793"/>
            <a:ext cx="864096"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sz="28700" dirty="0">
                <a:solidFill>
                  <a:schemeClr val="bg1"/>
                </a:solidFill>
              </a:rPr>
              <a:t>„</a:t>
            </a:r>
          </a:p>
        </p:txBody>
      </p:sp>
      <p:sp>
        <p:nvSpPr>
          <p:cNvPr id="3" name="Fußzeilenplatzhalter 2">
            <a:extLst>
              <a:ext uri="{FF2B5EF4-FFF2-40B4-BE49-F238E27FC236}">
                <a16:creationId xmlns:a16="http://schemas.microsoft.com/office/drawing/2014/main" id="{F9989B44-C600-4022-B572-BFA3A9F4993B}"/>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1A227D77-620A-4B3F-859C-153ABBA7E38D}"/>
              </a:ext>
            </a:extLst>
          </p:cNvPr>
          <p:cNvSpPr>
            <a:spLocks noGrp="1"/>
          </p:cNvSpPr>
          <p:nvPr>
            <p:ph type="sldNum" sz="quarter" idx="12"/>
          </p:nvPr>
        </p:nvSpPr>
        <p:spPr/>
        <p:txBody>
          <a:bodyPr/>
          <a:lstStyle/>
          <a:p>
            <a:fld id="{CE82B8A1-0CCE-4815-9668-383D7DE7D8B4}" type="slidenum">
              <a:rPr lang="en-US" smtClean="0"/>
              <a:t>110</a:t>
            </a:fld>
            <a:endParaRPr lang="en-US" dirty="0"/>
          </a:p>
        </p:txBody>
      </p:sp>
    </p:spTree>
    <p:extLst>
      <p:ext uri="{BB962C8B-B14F-4D97-AF65-F5344CB8AC3E}">
        <p14:creationId xmlns:p14="http://schemas.microsoft.com/office/powerpoint/2010/main" val="1133309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C176343D-E6D3-40F8-912D-4B6A9FF8B489}"/>
              </a:ext>
            </a:extLst>
          </p:cNvPr>
          <p:cNvSpPr txBox="1">
            <a:spLocks/>
          </p:cNvSpPr>
          <p:nvPr/>
        </p:nvSpPr>
        <p:spPr bwMode="gray">
          <a:xfrm>
            <a:off x="1971166" y="1268760"/>
            <a:ext cx="4463543" cy="1296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t>Conclusion</a:t>
            </a:r>
          </a:p>
        </p:txBody>
      </p:sp>
      <p:cxnSp>
        <p:nvCxnSpPr>
          <p:cNvPr id="5" name="Gerader Verbinder 4">
            <a:extLst>
              <a:ext uri="{FF2B5EF4-FFF2-40B4-BE49-F238E27FC236}">
                <a16:creationId xmlns:a16="http://schemas.microsoft.com/office/drawing/2014/main" id="{A383A2D4-F585-44F0-90F6-34C558AE4D96}"/>
              </a:ext>
            </a:extLst>
          </p:cNvPr>
          <p:cNvCxnSpPr/>
          <p:nvPr/>
        </p:nvCxnSpPr>
        <p:spPr bwMode="gray">
          <a:xfrm>
            <a:off x="4655840" y="2435984"/>
            <a:ext cx="129569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platzhalter 3">
            <a:extLst>
              <a:ext uri="{FF2B5EF4-FFF2-40B4-BE49-F238E27FC236}">
                <a16:creationId xmlns:a16="http://schemas.microsoft.com/office/drawing/2014/main" id="{273FAC2D-C8F8-4013-B42C-A0583D9E883D}"/>
              </a:ext>
            </a:extLst>
          </p:cNvPr>
          <p:cNvSpPr txBox="1">
            <a:spLocks/>
          </p:cNvSpPr>
          <p:nvPr/>
        </p:nvSpPr>
        <p:spPr bwMode="gray">
          <a:xfrm>
            <a:off x="1971166" y="2636912"/>
            <a:ext cx="8136000" cy="2592000"/>
          </a:xfrm>
          <a:prstGeom prst="rect">
            <a:avLst/>
          </a:prstGeom>
        </p:spPr>
        <p:txBody>
          <a:bodyPr wrap="squar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latin typeface="+mn-lt"/>
              </a:rPr>
              <a:t>Pellentesque habitant morbi tristique senectus et netus et malesuada fames ac turpis egestas. Proin pharetra nonummy pede. Mauris et orci.</a:t>
            </a:r>
          </a:p>
          <a:p>
            <a:pPr algn="l"/>
            <a:endParaRPr lang="en-US" sz="4000" dirty="0">
              <a:solidFill>
                <a:schemeClr val="accent5"/>
              </a:solidFill>
              <a:latin typeface="+mn-lt"/>
            </a:endParaRPr>
          </a:p>
        </p:txBody>
      </p:sp>
      <p:sp>
        <p:nvSpPr>
          <p:cNvPr id="3" name="Fußzeilenplatzhalter 2">
            <a:extLst>
              <a:ext uri="{FF2B5EF4-FFF2-40B4-BE49-F238E27FC236}">
                <a16:creationId xmlns:a16="http://schemas.microsoft.com/office/drawing/2014/main" id="{C141C494-324B-4779-A0D8-2A38C7BFCBB6}"/>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18D95584-C5A7-458B-8903-D19B5352D70B}"/>
              </a:ext>
            </a:extLst>
          </p:cNvPr>
          <p:cNvSpPr>
            <a:spLocks noGrp="1"/>
          </p:cNvSpPr>
          <p:nvPr>
            <p:ph type="sldNum" sz="quarter" idx="12"/>
          </p:nvPr>
        </p:nvSpPr>
        <p:spPr/>
        <p:txBody>
          <a:bodyPr/>
          <a:lstStyle/>
          <a:p>
            <a:fld id="{CE82B8A1-0CCE-4815-9668-383D7DE7D8B4}" type="slidenum">
              <a:rPr lang="en-US" smtClean="0"/>
              <a:t>111</a:t>
            </a:fld>
            <a:endParaRPr lang="en-US" dirty="0"/>
          </a:p>
        </p:txBody>
      </p:sp>
    </p:spTree>
    <p:extLst>
      <p:ext uri="{BB962C8B-B14F-4D97-AF65-F5344CB8AC3E}">
        <p14:creationId xmlns:p14="http://schemas.microsoft.com/office/powerpoint/2010/main" val="4173012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el 42">
            <a:extLst>
              <a:ext uri="{FF2B5EF4-FFF2-40B4-BE49-F238E27FC236}">
                <a16:creationId xmlns:a16="http://schemas.microsoft.com/office/drawing/2014/main" id="{CC308FDC-9FAE-4825-B92B-9F415358844B}"/>
              </a:ext>
            </a:extLst>
          </p:cNvPr>
          <p:cNvSpPr>
            <a:spLocks noGrp="1"/>
          </p:cNvSpPr>
          <p:nvPr>
            <p:ph type="title"/>
          </p:nvPr>
        </p:nvSpPr>
        <p:spPr bwMode="gray"/>
        <p:txBody>
          <a:bodyPr/>
          <a:lstStyle/>
          <a:p>
            <a:r>
              <a:rPr lang="en-US" dirty="0"/>
              <a:t>Business case</a:t>
            </a:r>
          </a:p>
        </p:txBody>
      </p:sp>
      <p:sp>
        <p:nvSpPr>
          <p:cNvPr id="14" name="Textplatzhalter 3">
            <a:extLst>
              <a:ext uri="{FF2B5EF4-FFF2-40B4-BE49-F238E27FC236}">
                <a16:creationId xmlns:a16="http://schemas.microsoft.com/office/drawing/2014/main" id="{355EB9C3-79F2-4E64-A777-BC82077ED86B}"/>
              </a:ext>
            </a:extLst>
          </p:cNvPr>
          <p:cNvSpPr txBox="1">
            <a:spLocks/>
          </p:cNvSpPr>
          <p:nvPr/>
        </p:nvSpPr>
        <p:spPr bwMode="gray">
          <a:xfrm>
            <a:off x="623664" y="1700848"/>
            <a:ext cx="2448000" cy="360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tx1"/>
                </a:solidFill>
                <a:latin typeface="+mn-lt"/>
              </a:rPr>
              <a:t>Number of xxx</a:t>
            </a:r>
          </a:p>
        </p:txBody>
      </p:sp>
      <p:sp>
        <p:nvSpPr>
          <p:cNvPr id="15" name="Textplatzhalter 3">
            <a:extLst>
              <a:ext uri="{FF2B5EF4-FFF2-40B4-BE49-F238E27FC236}">
                <a16:creationId xmlns:a16="http://schemas.microsoft.com/office/drawing/2014/main" id="{6C5633AE-1E49-4728-9274-F0CCF127E346}"/>
              </a:ext>
            </a:extLst>
          </p:cNvPr>
          <p:cNvSpPr txBox="1">
            <a:spLocks/>
          </p:cNvSpPr>
          <p:nvPr/>
        </p:nvSpPr>
        <p:spPr bwMode="gray">
          <a:xfrm>
            <a:off x="623664" y="2132783"/>
            <a:ext cx="2448000" cy="504129"/>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6,350,350</a:t>
            </a:r>
          </a:p>
        </p:txBody>
      </p:sp>
      <p:sp>
        <p:nvSpPr>
          <p:cNvPr id="21" name="Textplatzhalter 3">
            <a:extLst>
              <a:ext uri="{FF2B5EF4-FFF2-40B4-BE49-F238E27FC236}">
                <a16:creationId xmlns:a16="http://schemas.microsoft.com/office/drawing/2014/main" id="{2D3D917A-9448-41FE-9E89-E193A3241D7D}"/>
              </a:ext>
            </a:extLst>
          </p:cNvPr>
          <p:cNvSpPr txBox="1">
            <a:spLocks/>
          </p:cNvSpPr>
          <p:nvPr/>
        </p:nvSpPr>
        <p:spPr bwMode="gray">
          <a:xfrm>
            <a:off x="3503976" y="1700848"/>
            <a:ext cx="2376000" cy="360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tx1"/>
                </a:solidFill>
                <a:latin typeface="+mn-lt"/>
              </a:rPr>
              <a:t>Cost per case</a:t>
            </a:r>
          </a:p>
        </p:txBody>
      </p:sp>
      <p:sp>
        <p:nvSpPr>
          <p:cNvPr id="22" name="Textplatzhalter 3">
            <a:extLst>
              <a:ext uri="{FF2B5EF4-FFF2-40B4-BE49-F238E27FC236}">
                <a16:creationId xmlns:a16="http://schemas.microsoft.com/office/drawing/2014/main" id="{2EAE4C93-85B2-4702-822B-340BE98451EA}"/>
              </a:ext>
            </a:extLst>
          </p:cNvPr>
          <p:cNvSpPr txBox="1">
            <a:spLocks/>
          </p:cNvSpPr>
          <p:nvPr/>
        </p:nvSpPr>
        <p:spPr bwMode="gray">
          <a:xfrm>
            <a:off x="3503976" y="2132783"/>
            <a:ext cx="2376000" cy="504129"/>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680 €</a:t>
            </a:r>
          </a:p>
        </p:txBody>
      </p:sp>
      <p:sp>
        <p:nvSpPr>
          <p:cNvPr id="18" name="Textplatzhalter 3">
            <a:extLst>
              <a:ext uri="{FF2B5EF4-FFF2-40B4-BE49-F238E27FC236}">
                <a16:creationId xmlns:a16="http://schemas.microsoft.com/office/drawing/2014/main" id="{E6048528-945B-42CF-99AC-6E8FBC8D863A}"/>
              </a:ext>
            </a:extLst>
          </p:cNvPr>
          <p:cNvSpPr txBox="1">
            <a:spLocks/>
          </p:cNvSpPr>
          <p:nvPr/>
        </p:nvSpPr>
        <p:spPr bwMode="gray">
          <a:xfrm>
            <a:off x="623664" y="4149120"/>
            <a:ext cx="2448000" cy="360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tx1"/>
                </a:solidFill>
                <a:latin typeface="+mn-lt"/>
              </a:rPr>
              <a:t>Share of xxx</a:t>
            </a:r>
          </a:p>
        </p:txBody>
      </p:sp>
      <p:sp>
        <p:nvSpPr>
          <p:cNvPr id="19" name="Textplatzhalter 3">
            <a:extLst>
              <a:ext uri="{FF2B5EF4-FFF2-40B4-BE49-F238E27FC236}">
                <a16:creationId xmlns:a16="http://schemas.microsoft.com/office/drawing/2014/main" id="{711542D8-9FBC-4E7B-8B69-396DEBAC82FB}"/>
              </a:ext>
            </a:extLst>
          </p:cNvPr>
          <p:cNvSpPr txBox="1">
            <a:spLocks/>
          </p:cNvSpPr>
          <p:nvPr/>
        </p:nvSpPr>
        <p:spPr bwMode="gray">
          <a:xfrm>
            <a:off x="623664" y="4581055"/>
            <a:ext cx="2448000" cy="504129"/>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6.5%</a:t>
            </a:r>
          </a:p>
        </p:txBody>
      </p:sp>
      <p:sp>
        <p:nvSpPr>
          <p:cNvPr id="25" name="Textplatzhalter 3">
            <a:extLst>
              <a:ext uri="{FF2B5EF4-FFF2-40B4-BE49-F238E27FC236}">
                <a16:creationId xmlns:a16="http://schemas.microsoft.com/office/drawing/2014/main" id="{C42DFE64-81D3-49DD-871D-7CAFCD10C3B0}"/>
              </a:ext>
            </a:extLst>
          </p:cNvPr>
          <p:cNvSpPr txBox="1">
            <a:spLocks/>
          </p:cNvSpPr>
          <p:nvPr/>
        </p:nvSpPr>
        <p:spPr bwMode="gray">
          <a:xfrm>
            <a:off x="3503976" y="4149120"/>
            <a:ext cx="2376000" cy="360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tx1"/>
                </a:solidFill>
                <a:latin typeface="+mn-lt"/>
              </a:rPr>
              <a:t>Cost p.a.</a:t>
            </a:r>
          </a:p>
        </p:txBody>
      </p:sp>
      <p:sp>
        <p:nvSpPr>
          <p:cNvPr id="26" name="Textplatzhalter 3">
            <a:extLst>
              <a:ext uri="{FF2B5EF4-FFF2-40B4-BE49-F238E27FC236}">
                <a16:creationId xmlns:a16="http://schemas.microsoft.com/office/drawing/2014/main" id="{6B896F89-99DF-433F-9EEA-DF03C1CE9563}"/>
              </a:ext>
            </a:extLst>
          </p:cNvPr>
          <p:cNvSpPr txBox="1">
            <a:spLocks/>
          </p:cNvSpPr>
          <p:nvPr/>
        </p:nvSpPr>
        <p:spPr bwMode="gray">
          <a:xfrm>
            <a:off x="3503976" y="4581055"/>
            <a:ext cx="2376000" cy="504129"/>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2,500 €</a:t>
            </a:r>
          </a:p>
        </p:txBody>
      </p:sp>
      <p:sp>
        <p:nvSpPr>
          <p:cNvPr id="34" name="Textplatzhalter 3">
            <a:extLst>
              <a:ext uri="{FF2B5EF4-FFF2-40B4-BE49-F238E27FC236}">
                <a16:creationId xmlns:a16="http://schemas.microsoft.com/office/drawing/2014/main" id="{2D5DCD02-3497-4CA8-AB9D-D17331117A0D}"/>
              </a:ext>
            </a:extLst>
          </p:cNvPr>
          <p:cNvSpPr txBox="1">
            <a:spLocks/>
          </p:cNvSpPr>
          <p:nvPr/>
        </p:nvSpPr>
        <p:spPr bwMode="gray">
          <a:xfrm>
            <a:off x="623664" y="5373256"/>
            <a:ext cx="2448000" cy="360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tx1"/>
                </a:solidFill>
                <a:latin typeface="+mn-lt"/>
              </a:rPr>
              <a:t>Investment cost</a:t>
            </a:r>
          </a:p>
        </p:txBody>
      </p:sp>
      <p:sp>
        <p:nvSpPr>
          <p:cNvPr id="35" name="Textplatzhalter 3">
            <a:extLst>
              <a:ext uri="{FF2B5EF4-FFF2-40B4-BE49-F238E27FC236}">
                <a16:creationId xmlns:a16="http://schemas.microsoft.com/office/drawing/2014/main" id="{C8BB7473-D917-4E3A-8555-48D84B1F00E8}"/>
              </a:ext>
            </a:extLst>
          </p:cNvPr>
          <p:cNvSpPr txBox="1">
            <a:spLocks/>
          </p:cNvSpPr>
          <p:nvPr/>
        </p:nvSpPr>
        <p:spPr bwMode="gray">
          <a:xfrm>
            <a:off x="623664" y="5805191"/>
            <a:ext cx="2448000" cy="504129"/>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450,000</a:t>
            </a:r>
          </a:p>
        </p:txBody>
      </p:sp>
      <p:sp>
        <p:nvSpPr>
          <p:cNvPr id="37" name="Textplatzhalter 3">
            <a:extLst>
              <a:ext uri="{FF2B5EF4-FFF2-40B4-BE49-F238E27FC236}">
                <a16:creationId xmlns:a16="http://schemas.microsoft.com/office/drawing/2014/main" id="{10A63B71-10FD-4820-ACB0-8660CD6997BD}"/>
              </a:ext>
            </a:extLst>
          </p:cNvPr>
          <p:cNvSpPr txBox="1">
            <a:spLocks/>
          </p:cNvSpPr>
          <p:nvPr/>
        </p:nvSpPr>
        <p:spPr bwMode="gray">
          <a:xfrm>
            <a:off x="3503976" y="2924984"/>
            <a:ext cx="2376000" cy="360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tx1"/>
                </a:solidFill>
                <a:latin typeface="+mn-lt"/>
              </a:rPr>
              <a:t>Return on Investment</a:t>
            </a:r>
          </a:p>
        </p:txBody>
      </p:sp>
      <p:sp>
        <p:nvSpPr>
          <p:cNvPr id="38" name="Textplatzhalter 3">
            <a:extLst>
              <a:ext uri="{FF2B5EF4-FFF2-40B4-BE49-F238E27FC236}">
                <a16:creationId xmlns:a16="http://schemas.microsoft.com/office/drawing/2014/main" id="{2D6F7AE5-AE8A-4B45-825A-BD318CBEACA3}"/>
              </a:ext>
            </a:extLst>
          </p:cNvPr>
          <p:cNvSpPr txBox="1">
            <a:spLocks/>
          </p:cNvSpPr>
          <p:nvPr/>
        </p:nvSpPr>
        <p:spPr bwMode="gray">
          <a:xfrm>
            <a:off x="3503976" y="3356919"/>
            <a:ext cx="2376000" cy="504129"/>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2 Months</a:t>
            </a:r>
          </a:p>
        </p:txBody>
      </p:sp>
      <p:cxnSp>
        <p:nvCxnSpPr>
          <p:cNvPr id="52" name="Gerader Verbinder 51">
            <a:extLst>
              <a:ext uri="{FF2B5EF4-FFF2-40B4-BE49-F238E27FC236}">
                <a16:creationId xmlns:a16="http://schemas.microsoft.com/office/drawing/2014/main" id="{8118CFBF-EB6C-4658-A565-75AFA65D340E}"/>
              </a:ext>
            </a:extLst>
          </p:cNvPr>
          <p:cNvCxnSpPr>
            <a:cxnSpLocks/>
          </p:cNvCxnSpPr>
          <p:nvPr/>
        </p:nvCxnSpPr>
        <p:spPr bwMode="gray">
          <a:xfrm>
            <a:off x="6095618" y="1808800"/>
            <a:ext cx="382" cy="450040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platzhalter 3">
            <a:extLst>
              <a:ext uri="{FF2B5EF4-FFF2-40B4-BE49-F238E27FC236}">
                <a16:creationId xmlns:a16="http://schemas.microsoft.com/office/drawing/2014/main" id="{832D8E09-5D17-438C-AC79-E046D8BA3E54}"/>
              </a:ext>
            </a:extLst>
          </p:cNvPr>
          <p:cNvSpPr txBox="1">
            <a:spLocks/>
          </p:cNvSpPr>
          <p:nvPr/>
        </p:nvSpPr>
        <p:spPr bwMode="gray">
          <a:xfrm>
            <a:off x="623664" y="2924984"/>
            <a:ext cx="2448000" cy="360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tx1"/>
                </a:solidFill>
                <a:latin typeface="+mn-lt"/>
              </a:rPr>
              <a:t>Implementation period</a:t>
            </a:r>
          </a:p>
        </p:txBody>
      </p:sp>
      <p:sp>
        <p:nvSpPr>
          <p:cNvPr id="29" name="Textplatzhalter 3">
            <a:extLst>
              <a:ext uri="{FF2B5EF4-FFF2-40B4-BE49-F238E27FC236}">
                <a16:creationId xmlns:a16="http://schemas.microsoft.com/office/drawing/2014/main" id="{D9A4EBC9-C3EE-4EC8-9164-91611750677B}"/>
              </a:ext>
            </a:extLst>
          </p:cNvPr>
          <p:cNvSpPr txBox="1">
            <a:spLocks/>
          </p:cNvSpPr>
          <p:nvPr/>
        </p:nvSpPr>
        <p:spPr bwMode="gray">
          <a:xfrm>
            <a:off x="623664" y="3356919"/>
            <a:ext cx="2448000" cy="504129"/>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3 Months</a:t>
            </a:r>
          </a:p>
        </p:txBody>
      </p:sp>
      <p:sp>
        <p:nvSpPr>
          <p:cNvPr id="77" name="Textplatzhalter 3">
            <a:extLst>
              <a:ext uri="{FF2B5EF4-FFF2-40B4-BE49-F238E27FC236}">
                <a16:creationId xmlns:a16="http://schemas.microsoft.com/office/drawing/2014/main" id="{D759469D-3902-45D6-9A91-927A6CEE0474}"/>
              </a:ext>
            </a:extLst>
          </p:cNvPr>
          <p:cNvSpPr txBox="1">
            <a:spLocks/>
          </p:cNvSpPr>
          <p:nvPr/>
        </p:nvSpPr>
        <p:spPr bwMode="gray">
          <a:xfrm>
            <a:off x="6311901" y="1701032"/>
            <a:ext cx="5256212" cy="2232024"/>
          </a:xfrm>
          <a:prstGeom prst="rect">
            <a:avLst/>
          </a:prstGeom>
        </p:spPr>
        <p:txBody>
          <a:bodyPr wrap="squar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lvl="0" algn="l"/>
            <a:r>
              <a:rPr lang="en-US" sz="4000" dirty="0">
                <a:solidFill>
                  <a:srgbClr val="4C73C0"/>
                </a:solidFill>
              </a:rPr>
              <a:t>Saving</a:t>
            </a:r>
          </a:p>
          <a:p>
            <a:pPr lvl="0" algn="l">
              <a:spcAft>
                <a:spcPts val="600"/>
              </a:spcAft>
            </a:pPr>
            <a:r>
              <a:rPr lang="en-US" sz="1600" dirty="0">
                <a:solidFill>
                  <a:srgbClr val="1E1E1E"/>
                </a:solidFill>
              </a:rPr>
              <a:t>Lorem ipsum dolor sit amet, consectetuer adipiscing elit.</a:t>
            </a:r>
          </a:p>
          <a:p>
            <a:pPr lvl="1" algn="l"/>
            <a:r>
              <a:rPr lang="en-US" sz="1600" dirty="0">
                <a:solidFill>
                  <a:srgbClr val="1E1E1E"/>
                </a:solidFill>
                <a:latin typeface="DraegerSanLig"/>
              </a:rPr>
              <a:t>Maecenas porttitor congue massa. Fusce posuere, magna sed pulvinar ultricies, purus lectus malesuada libero, sit amet commodo magna eros quis urna.</a:t>
            </a:r>
          </a:p>
        </p:txBody>
      </p:sp>
      <p:sp>
        <p:nvSpPr>
          <p:cNvPr id="95" name="Textplatzhalter 3">
            <a:extLst>
              <a:ext uri="{FF2B5EF4-FFF2-40B4-BE49-F238E27FC236}">
                <a16:creationId xmlns:a16="http://schemas.microsoft.com/office/drawing/2014/main" id="{BA92144B-33C3-46C0-BFF7-B34685F0EE41}"/>
              </a:ext>
            </a:extLst>
          </p:cNvPr>
          <p:cNvSpPr txBox="1">
            <a:spLocks/>
          </p:cNvSpPr>
          <p:nvPr/>
        </p:nvSpPr>
        <p:spPr bwMode="gray">
          <a:xfrm>
            <a:off x="6312288" y="4149120"/>
            <a:ext cx="2376000" cy="360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tx1"/>
                </a:solidFill>
                <a:latin typeface="+mn-lt"/>
              </a:rPr>
              <a:t>Total Saving</a:t>
            </a:r>
          </a:p>
        </p:txBody>
      </p:sp>
      <p:sp>
        <p:nvSpPr>
          <p:cNvPr id="96" name="Textplatzhalter 3">
            <a:extLst>
              <a:ext uri="{FF2B5EF4-FFF2-40B4-BE49-F238E27FC236}">
                <a16:creationId xmlns:a16="http://schemas.microsoft.com/office/drawing/2014/main" id="{6A8A354F-1795-4E9A-84BE-D1693676C154}"/>
              </a:ext>
            </a:extLst>
          </p:cNvPr>
          <p:cNvSpPr txBox="1">
            <a:spLocks/>
          </p:cNvSpPr>
          <p:nvPr/>
        </p:nvSpPr>
        <p:spPr bwMode="gray">
          <a:xfrm>
            <a:off x="6312288" y="4581055"/>
            <a:ext cx="2376000" cy="504129"/>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9,750 €</a:t>
            </a:r>
          </a:p>
        </p:txBody>
      </p:sp>
      <p:sp>
        <p:nvSpPr>
          <p:cNvPr id="98" name="Textplatzhalter 3">
            <a:extLst>
              <a:ext uri="{FF2B5EF4-FFF2-40B4-BE49-F238E27FC236}">
                <a16:creationId xmlns:a16="http://schemas.microsoft.com/office/drawing/2014/main" id="{60C722AE-EDC4-45BB-8F08-D9CE4C850130}"/>
              </a:ext>
            </a:extLst>
          </p:cNvPr>
          <p:cNvSpPr txBox="1">
            <a:spLocks/>
          </p:cNvSpPr>
          <p:nvPr/>
        </p:nvSpPr>
        <p:spPr bwMode="gray">
          <a:xfrm>
            <a:off x="9120336" y="4149120"/>
            <a:ext cx="2448000" cy="360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tx1"/>
                </a:solidFill>
                <a:latin typeface="+mn-lt"/>
              </a:rPr>
              <a:t>In Percentage</a:t>
            </a:r>
          </a:p>
        </p:txBody>
      </p:sp>
      <p:sp>
        <p:nvSpPr>
          <p:cNvPr id="99" name="Textplatzhalter 3">
            <a:extLst>
              <a:ext uri="{FF2B5EF4-FFF2-40B4-BE49-F238E27FC236}">
                <a16:creationId xmlns:a16="http://schemas.microsoft.com/office/drawing/2014/main" id="{8CF646BF-8935-4F4F-AC1F-F1F2C2297BFE}"/>
              </a:ext>
            </a:extLst>
          </p:cNvPr>
          <p:cNvSpPr txBox="1">
            <a:spLocks/>
          </p:cNvSpPr>
          <p:nvPr/>
        </p:nvSpPr>
        <p:spPr bwMode="gray">
          <a:xfrm>
            <a:off x="9120336" y="4581055"/>
            <a:ext cx="2448000" cy="504129"/>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12%</a:t>
            </a:r>
          </a:p>
        </p:txBody>
      </p:sp>
      <p:sp>
        <p:nvSpPr>
          <p:cNvPr id="3" name="Fußzeilenplatzhalter 2">
            <a:extLst>
              <a:ext uri="{FF2B5EF4-FFF2-40B4-BE49-F238E27FC236}">
                <a16:creationId xmlns:a16="http://schemas.microsoft.com/office/drawing/2014/main" id="{890E34E7-2D4C-4CD0-8250-0097F1423B76}"/>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7D4D8377-30B2-4709-98FE-257EEC3C89FF}"/>
              </a:ext>
            </a:extLst>
          </p:cNvPr>
          <p:cNvSpPr>
            <a:spLocks noGrp="1"/>
          </p:cNvSpPr>
          <p:nvPr>
            <p:ph type="sldNum" sz="quarter" idx="12"/>
          </p:nvPr>
        </p:nvSpPr>
        <p:spPr/>
        <p:txBody>
          <a:bodyPr/>
          <a:lstStyle/>
          <a:p>
            <a:fld id="{CE82B8A1-0CCE-4815-9668-383D7DE7D8B4}" type="slidenum">
              <a:rPr lang="en-US" noProof="0" smtClean="0"/>
              <a:t>112</a:t>
            </a:fld>
            <a:endParaRPr lang="en-US" noProof="0" dirty="0"/>
          </a:p>
        </p:txBody>
      </p:sp>
    </p:spTree>
    <p:extLst>
      <p:ext uri="{BB962C8B-B14F-4D97-AF65-F5344CB8AC3E}">
        <p14:creationId xmlns:p14="http://schemas.microsoft.com/office/powerpoint/2010/main" val="331458257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3">
            <a:extLst>
              <a:ext uri="{FF2B5EF4-FFF2-40B4-BE49-F238E27FC236}">
                <a16:creationId xmlns:a16="http://schemas.microsoft.com/office/drawing/2014/main" id="{2E251DC1-F6DD-4A3E-B060-B5AB705E60C9}"/>
              </a:ext>
            </a:extLst>
          </p:cNvPr>
          <p:cNvSpPr txBox="1">
            <a:spLocks/>
          </p:cNvSpPr>
          <p:nvPr/>
        </p:nvSpPr>
        <p:spPr bwMode="gray">
          <a:xfrm>
            <a:off x="623392" y="1052880"/>
            <a:ext cx="4463543" cy="1296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t>Lorem ipsum sit amet, consectetuer</a:t>
            </a:r>
          </a:p>
        </p:txBody>
      </p:sp>
      <p:cxnSp>
        <p:nvCxnSpPr>
          <p:cNvPr id="9" name="Gerader Verbinder 8">
            <a:extLst>
              <a:ext uri="{FF2B5EF4-FFF2-40B4-BE49-F238E27FC236}">
                <a16:creationId xmlns:a16="http://schemas.microsoft.com/office/drawing/2014/main" id="{64A1C561-87DA-4862-B912-BCFE87F5B626}"/>
              </a:ext>
            </a:extLst>
          </p:cNvPr>
          <p:cNvCxnSpPr/>
          <p:nvPr/>
        </p:nvCxnSpPr>
        <p:spPr bwMode="gray">
          <a:xfrm>
            <a:off x="5036308" y="2205008"/>
            <a:ext cx="1295697"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platzhalter 3">
            <a:extLst>
              <a:ext uri="{FF2B5EF4-FFF2-40B4-BE49-F238E27FC236}">
                <a16:creationId xmlns:a16="http://schemas.microsoft.com/office/drawing/2014/main" id="{720104D8-792F-4AF4-9F4E-3A7E5AAA384F}"/>
              </a:ext>
            </a:extLst>
          </p:cNvPr>
          <p:cNvSpPr txBox="1">
            <a:spLocks/>
          </p:cNvSpPr>
          <p:nvPr/>
        </p:nvSpPr>
        <p:spPr bwMode="gray">
          <a:xfrm>
            <a:off x="6312024" y="3861272"/>
            <a:ext cx="2376000" cy="2016000"/>
          </a:xfrm>
          <a:prstGeom prst="rect">
            <a:avLst/>
          </a:prstGeom>
        </p:spPr>
        <p:txBody>
          <a:bodyPr wrap="non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400" dirty="0">
                <a:solidFill>
                  <a:schemeClr val="accent5"/>
                </a:solidFill>
              </a:rPr>
              <a:t>First-name Surname</a:t>
            </a:r>
          </a:p>
          <a:p>
            <a:pPr algn="l"/>
            <a:r>
              <a:rPr lang="en-US" sz="1400" dirty="0">
                <a:solidFill>
                  <a:srgbClr val="1E1E1E"/>
                </a:solidFill>
                <a:latin typeface="DraegerSanLig"/>
              </a:rPr>
              <a:t>Position</a:t>
            </a:r>
          </a:p>
          <a:p>
            <a:pPr algn="l"/>
            <a:endParaRPr lang="en-US" sz="1400" dirty="0">
              <a:solidFill>
                <a:srgbClr val="1E1E1E"/>
              </a:solidFill>
              <a:latin typeface="DraegerSanLig"/>
            </a:endParaRPr>
          </a:p>
          <a:p>
            <a:pPr algn="l"/>
            <a:r>
              <a:rPr lang="en-US" sz="1400" dirty="0">
                <a:solidFill>
                  <a:srgbClr val="1E1E1E"/>
                </a:solidFill>
                <a:latin typeface="DraegerSanLig"/>
              </a:rPr>
              <a:t>Drägerwerk AG &amp; Co. KGaA</a:t>
            </a:r>
          </a:p>
          <a:p>
            <a:pPr algn="l"/>
            <a:r>
              <a:rPr lang="en-US" sz="1400" dirty="0">
                <a:solidFill>
                  <a:srgbClr val="1E1E1E"/>
                </a:solidFill>
                <a:latin typeface="DraegerSanLig"/>
              </a:rPr>
              <a:t>Moislinger Allee 53-55</a:t>
            </a:r>
          </a:p>
          <a:p>
            <a:pPr algn="l"/>
            <a:r>
              <a:rPr lang="en-US" sz="1400" dirty="0">
                <a:solidFill>
                  <a:srgbClr val="1E1E1E"/>
                </a:solidFill>
                <a:latin typeface="DraegerSanLig"/>
              </a:rPr>
              <a:t>23558 Lübeck, Germany</a:t>
            </a:r>
          </a:p>
          <a:p>
            <a:pPr algn="l"/>
            <a:endParaRPr lang="en-US" sz="1400" dirty="0">
              <a:solidFill>
                <a:srgbClr val="1E1E1E"/>
              </a:solidFill>
              <a:latin typeface="DraegerSanLig"/>
            </a:endParaRPr>
          </a:p>
          <a:p>
            <a:pPr algn="l"/>
            <a:r>
              <a:rPr lang="en-US" sz="1400" dirty="0">
                <a:solidFill>
                  <a:srgbClr val="1E1E1E"/>
                </a:solidFill>
                <a:latin typeface="DraegerSanLig"/>
              </a:rPr>
              <a:t>Tel +49 451 000-0000</a:t>
            </a:r>
          </a:p>
          <a:p>
            <a:pPr algn="l"/>
            <a:r>
              <a:rPr lang="en-US" sz="1400" dirty="0">
                <a:solidFill>
                  <a:srgbClr val="1E1E1E"/>
                </a:solidFill>
                <a:latin typeface="DraegerSanLig"/>
              </a:rPr>
              <a:t>First-name.Surname@draeger.com</a:t>
            </a:r>
          </a:p>
        </p:txBody>
      </p:sp>
      <p:sp>
        <p:nvSpPr>
          <p:cNvPr id="15" name="Ellipse 14">
            <a:extLst>
              <a:ext uri="{FF2B5EF4-FFF2-40B4-BE49-F238E27FC236}">
                <a16:creationId xmlns:a16="http://schemas.microsoft.com/office/drawing/2014/main" id="{F9BDC4FB-97F4-4502-A08A-36A17A251331}"/>
              </a:ext>
            </a:extLst>
          </p:cNvPr>
          <p:cNvSpPr/>
          <p:nvPr/>
        </p:nvSpPr>
        <p:spPr bwMode="gray">
          <a:xfrm>
            <a:off x="6312024" y="2853072"/>
            <a:ext cx="864000" cy="864000"/>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1500" dirty="0">
                <a:solidFill>
                  <a:schemeClr val="bg1"/>
                </a:solidFill>
              </a:rPr>
              <a:t>PHOTO</a:t>
            </a:r>
          </a:p>
        </p:txBody>
      </p:sp>
      <p:sp>
        <p:nvSpPr>
          <p:cNvPr id="16" name="Textplatzhalter 3">
            <a:extLst>
              <a:ext uri="{FF2B5EF4-FFF2-40B4-BE49-F238E27FC236}">
                <a16:creationId xmlns:a16="http://schemas.microsoft.com/office/drawing/2014/main" id="{5D5F974B-D6D1-4678-BE47-83E7F3C3C48C}"/>
              </a:ext>
            </a:extLst>
          </p:cNvPr>
          <p:cNvSpPr txBox="1">
            <a:spLocks/>
          </p:cNvSpPr>
          <p:nvPr/>
        </p:nvSpPr>
        <p:spPr bwMode="gray">
          <a:xfrm>
            <a:off x="3503712" y="3861272"/>
            <a:ext cx="2376000" cy="2016000"/>
          </a:xfrm>
          <a:prstGeom prst="rect">
            <a:avLst/>
          </a:prstGeom>
        </p:spPr>
        <p:txBody>
          <a:bodyPr wrap="non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400" dirty="0">
                <a:solidFill>
                  <a:schemeClr val="accent5"/>
                </a:solidFill>
              </a:rPr>
              <a:t>First-name Surname</a:t>
            </a:r>
          </a:p>
          <a:p>
            <a:pPr algn="l"/>
            <a:r>
              <a:rPr lang="en-US" sz="1400" dirty="0">
                <a:solidFill>
                  <a:srgbClr val="1E1E1E"/>
                </a:solidFill>
                <a:latin typeface="DraegerSanLig"/>
              </a:rPr>
              <a:t>Position</a:t>
            </a:r>
          </a:p>
          <a:p>
            <a:pPr algn="l"/>
            <a:endParaRPr lang="en-US" sz="1400" dirty="0">
              <a:solidFill>
                <a:srgbClr val="1E1E1E"/>
              </a:solidFill>
              <a:latin typeface="DraegerSanLig"/>
            </a:endParaRPr>
          </a:p>
          <a:p>
            <a:pPr algn="l"/>
            <a:r>
              <a:rPr lang="en-US" sz="1400" dirty="0">
                <a:solidFill>
                  <a:srgbClr val="1E1E1E"/>
                </a:solidFill>
                <a:latin typeface="DraegerSanLig"/>
              </a:rPr>
              <a:t>Drägerwerk AG &amp; Co. KGaA</a:t>
            </a:r>
          </a:p>
          <a:p>
            <a:pPr algn="l"/>
            <a:r>
              <a:rPr lang="en-US" sz="1400" dirty="0">
                <a:solidFill>
                  <a:srgbClr val="1E1E1E"/>
                </a:solidFill>
                <a:latin typeface="DraegerSanLig"/>
              </a:rPr>
              <a:t>Moislinger Allee 53-55</a:t>
            </a:r>
          </a:p>
          <a:p>
            <a:pPr algn="l"/>
            <a:r>
              <a:rPr lang="en-US" sz="1400" dirty="0">
                <a:solidFill>
                  <a:srgbClr val="1E1E1E"/>
                </a:solidFill>
                <a:latin typeface="DraegerSanLig"/>
              </a:rPr>
              <a:t>23558 Lübeck, Germany</a:t>
            </a:r>
          </a:p>
          <a:p>
            <a:pPr algn="l"/>
            <a:endParaRPr lang="en-US" sz="1400" dirty="0">
              <a:solidFill>
                <a:srgbClr val="1E1E1E"/>
              </a:solidFill>
              <a:latin typeface="DraegerSanLig"/>
            </a:endParaRPr>
          </a:p>
          <a:p>
            <a:pPr algn="l"/>
            <a:r>
              <a:rPr lang="en-US" sz="1400" dirty="0">
                <a:solidFill>
                  <a:srgbClr val="1E1E1E"/>
                </a:solidFill>
                <a:latin typeface="DraegerSanLig"/>
              </a:rPr>
              <a:t>Tel +49 451 000-0000</a:t>
            </a:r>
          </a:p>
          <a:p>
            <a:pPr algn="l"/>
            <a:r>
              <a:rPr lang="en-US" sz="1400" dirty="0">
                <a:solidFill>
                  <a:srgbClr val="1E1E1E"/>
                </a:solidFill>
                <a:latin typeface="DraegerSanLig"/>
              </a:rPr>
              <a:t>First-name.Surname@draeger.com</a:t>
            </a:r>
          </a:p>
        </p:txBody>
      </p:sp>
      <p:sp>
        <p:nvSpPr>
          <p:cNvPr id="17" name="Ellipse 16">
            <a:extLst>
              <a:ext uri="{FF2B5EF4-FFF2-40B4-BE49-F238E27FC236}">
                <a16:creationId xmlns:a16="http://schemas.microsoft.com/office/drawing/2014/main" id="{0CEC1462-1BF3-466F-8333-46A65D6A2FC6}"/>
              </a:ext>
            </a:extLst>
          </p:cNvPr>
          <p:cNvSpPr/>
          <p:nvPr/>
        </p:nvSpPr>
        <p:spPr bwMode="gray">
          <a:xfrm>
            <a:off x="3503712" y="2853072"/>
            <a:ext cx="864000" cy="864000"/>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1500" dirty="0">
                <a:solidFill>
                  <a:schemeClr val="bg1"/>
                </a:solidFill>
              </a:rPr>
              <a:t>PHOTO</a:t>
            </a:r>
          </a:p>
        </p:txBody>
      </p:sp>
      <p:sp>
        <p:nvSpPr>
          <p:cNvPr id="18" name="Textplatzhalter 3">
            <a:extLst>
              <a:ext uri="{FF2B5EF4-FFF2-40B4-BE49-F238E27FC236}">
                <a16:creationId xmlns:a16="http://schemas.microsoft.com/office/drawing/2014/main" id="{6DF5C91D-8C82-4F95-8DC8-32E2B874C67E}"/>
              </a:ext>
            </a:extLst>
          </p:cNvPr>
          <p:cNvSpPr txBox="1">
            <a:spLocks/>
          </p:cNvSpPr>
          <p:nvPr/>
        </p:nvSpPr>
        <p:spPr bwMode="gray">
          <a:xfrm>
            <a:off x="9120336" y="3861272"/>
            <a:ext cx="2448000" cy="2016000"/>
          </a:xfrm>
          <a:prstGeom prst="rect">
            <a:avLst/>
          </a:prstGeom>
        </p:spPr>
        <p:txBody>
          <a:bodyPr wrap="non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400" dirty="0">
                <a:solidFill>
                  <a:schemeClr val="accent5"/>
                </a:solidFill>
              </a:rPr>
              <a:t>First-name Surname</a:t>
            </a:r>
          </a:p>
          <a:p>
            <a:pPr algn="l"/>
            <a:r>
              <a:rPr lang="en-US" sz="1400" dirty="0">
                <a:solidFill>
                  <a:srgbClr val="1E1E1E"/>
                </a:solidFill>
                <a:latin typeface="DraegerSanLig"/>
              </a:rPr>
              <a:t>Position</a:t>
            </a:r>
          </a:p>
          <a:p>
            <a:pPr algn="l"/>
            <a:endParaRPr lang="en-US" sz="1400" dirty="0">
              <a:solidFill>
                <a:srgbClr val="1E1E1E"/>
              </a:solidFill>
              <a:latin typeface="DraegerSanLig"/>
            </a:endParaRPr>
          </a:p>
          <a:p>
            <a:pPr algn="l"/>
            <a:r>
              <a:rPr lang="en-US" sz="1400" dirty="0">
                <a:solidFill>
                  <a:srgbClr val="1E1E1E"/>
                </a:solidFill>
                <a:latin typeface="DraegerSanLig"/>
              </a:rPr>
              <a:t>Drägerwerk AG &amp; Co. KGaA</a:t>
            </a:r>
          </a:p>
          <a:p>
            <a:pPr algn="l"/>
            <a:r>
              <a:rPr lang="en-US" sz="1400" dirty="0">
                <a:solidFill>
                  <a:srgbClr val="1E1E1E"/>
                </a:solidFill>
                <a:latin typeface="DraegerSanLig"/>
              </a:rPr>
              <a:t>Moislinger Allee 53-55</a:t>
            </a:r>
          </a:p>
          <a:p>
            <a:pPr algn="l"/>
            <a:r>
              <a:rPr lang="en-US" sz="1400" dirty="0">
                <a:solidFill>
                  <a:srgbClr val="1E1E1E"/>
                </a:solidFill>
                <a:latin typeface="DraegerSanLig"/>
              </a:rPr>
              <a:t>23558 Lübeck, Germany</a:t>
            </a:r>
          </a:p>
          <a:p>
            <a:pPr algn="l"/>
            <a:endParaRPr lang="en-US" sz="1400" dirty="0">
              <a:solidFill>
                <a:srgbClr val="1E1E1E"/>
              </a:solidFill>
              <a:latin typeface="DraegerSanLig"/>
            </a:endParaRPr>
          </a:p>
          <a:p>
            <a:pPr algn="l"/>
            <a:r>
              <a:rPr lang="en-US" sz="1400" dirty="0">
                <a:solidFill>
                  <a:srgbClr val="1E1E1E"/>
                </a:solidFill>
                <a:latin typeface="DraegerSanLig"/>
              </a:rPr>
              <a:t>Tel +49 451 000-0000</a:t>
            </a:r>
          </a:p>
          <a:p>
            <a:pPr algn="l"/>
            <a:r>
              <a:rPr lang="en-US" sz="1400" dirty="0">
                <a:solidFill>
                  <a:srgbClr val="1E1E1E"/>
                </a:solidFill>
                <a:latin typeface="DraegerSanLig"/>
              </a:rPr>
              <a:t>First-name.Surname@draeger.com</a:t>
            </a:r>
          </a:p>
        </p:txBody>
      </p:sp>
      <p:sp>
        <p:nvSpPr>
          <p:cNvPr id="19" name="Ellipse 18">
            <a:extLst>
              <a:ext uri="{FF2B5EF4-FFF2-40B4-BE49-F238E27FC236}">
                <a16:creationId xmlns:a16="http://schemas.microsoft.com/office/drawing/2014/main" id="{A816A94E-0493-408D-9C3E-447580499CF3}"/>
              </a:ext>
            </a:extLst>
          </p:cNvPr>
          <p:cNvSpPr/>
          <p:nvPr/>
        </p:nvSpPr>
        <p:spPr bwMode="gray">
          <a:xfrm>
            <a:off x="9120336" y="2853072"/>
            <a:ext cx="864000" cy="864000"/>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1500" dirty="0">
                <a:solidFill>
                  <a:schemeClr val="bg1"/>
                </a:solidFill>
              </a:rPr>
              <a:t>PHOTO</a:t>
            </a:r>
          </a:p>
        </p:txBody>
      </p:sp>
      <p:sp>
        <p:nvSpPr>
          <p:cNvPr id="3" name="Fußzeilenplatzhalter 2">
            <a:extLst>
              <a:ext uri="{FF2B5EF4-FFF2-40B4-BE49-F238E27FC236}">
                <a16:creationId xmlns:a16="http://schemas.microsoft.com/office/drawing/2014/main" id="{2EC6BFBE-7283-4DE9-A2CD-6AF33C21CDB3}"/>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6C32CB5D-2523-4C7F-BFA9-85D4C25B1BD8}"/>
              </a:ext>
            </a:extLst>
          </p:cNvPr>
          <p:cNvSpPr>
            <a:spLocks noGrp="1"/>
          </p:cNvSpPr>
          <p:nvPr>
            <p:ph type="sldNum" sz="quarter" idx="12"/>
          </p:nvPr>
        </p:nvSpPr>
        <p:spPr/>
        <p:txBody>
          <a:bodyPr/>
          <a:lstStyle/>
          <a:p>
            <a:fld id="{CE82B8A1-0CCE-4815-9668-383D7DE7D8B4}" type="slidenum">
              <a:rPr lang="en-US" smtClean="0"/>
              <a:t>113</a:t>
            </a:fld>
            <a:endParaRPr lang="en-US" dirty="0"/>
          </a:p>
        </p:txBody>
      </p:sp>
    </p:spTree>
    <p:extLst>
      <p:ext uri="{BB962C8B-B14F-4D97-AF65-F5344CB8AC3E}">
        <p14:creationId xmlns:p14="http://schemas.microsoft.com/office/powerpoint/2010/main" val="29763869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750" fill="hold"/>
                                        <p:tgtEl>
                                          <p:spTgt spid="17"/>
                                        </p:tgtEl>
                                        <p:attrNameLst>
                                          <p:attrName>ppt_x</p:attrName>
                                        </p:attrNameLst>
                                      </p:cBhvr>
                                      <p:tavLst>
                                        <p:tav tm="0">
                                          <p:val>
                                            <p:strVal val="1+#ppt_w/2"/>
                                          </p:val>
                                        </p:tav>
                                        <p:tav tm="100000">
                                          <p:val>
                                            <p:strVal val="#ppt_x"/>
                                          </p:val>
                                        </p:tav>
                                      </p:tavLst>
                                    </p:anim>
                                    <p:anim calcmode="lin" valueType="num">
                                      <p:cBhvr additive="base">
                                        <p:cTn id="8" dur="750" fill="hold"/>
                                        <p:tgtEl>
                                          <p:spTgt spid="1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750" fill="hold"/>
                                        <p:tgtEl>
                                          <p:spTgt spid="16"/>
                                        </p:tgtEl>
                                        <p:attrNameLst>
                                          <p:attrName>ppt_x</p:attrName>
                                        </p:attrNameLst>
                                      </p:cBhvr>
                                      <p:tavLst>
                                        <p:tav tm="0">
                                          <p:val>
                                            <p:strVal val="1+#ppt_w/2"/>
                                          </p:val>
                                        </p:tav>
                                        <p:tav tm="100000">
                                          <p:val>
                                            <p:strVal val="#ppt_x"/>
                                          </p:val>
                                        </p:tav>
                                      </p:tavLst>
                                    </p:anim>
                                    <p:anim calcmode="lin" valueType="num">
                                      <p:cBhvr additive="base">
                                        <p:cTn id="12" dur="750" fill="hold"/>
                                        <p:tgtEl>
                                          <p:spTgt spid="16"/>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100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750" fill="hold"/>
                                        <p:tgtEl>
                                          <p:spTgt spid="15"/>
                                        </p:tgtEl>
                                        <p:attrNameLst>
                                          <p:attrName>ppt_x</p:attrName>
                                        </p:attrNameLst>
                                      </p:cBhvr>
                                      <p:tavLst>
                                        <p:tav tm="0">
                                          <p:val>
                                            <p:strVal val="1+#ppt_w/2"/>
                                          </p:val>
                                        </p:tav>
                                        <p:tav tm="100000">
                                          <p:val>
                                            <p:strVal val="#ppt_x"/>
                                          </p:val>
                                        </p:tav>
                                      </p:tavLst>
                                    </p:anim>
                                    <p:anim calcmode="lin" valueType="num">
                                      <p:cBhvr additive="base">
                                        <p:cTn id="16" dur="750" fill="hold"/>
                                        <p:tgtEl>
                                          <p:spTgt spid="15"/>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100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750" fill="hold"/>
                                        <p:tgtEl>
                                          <p:spTgt spid="14"/>
                                        </p:tgtEl>
                                        <p:attrNameLst>
                                          <p:attrName>ppt_x</p:attrName>
                                        </p:attrNameLst>
                                      </p:cBhvr>
                                      <p:tavLst>
                                        <p:tav tm="0">
                                          <p:val>
                                            <p:strVal val="1+#ppt_w/2"/>
                                          </p:val>
                                        </p:tav>
                                        <p:tav tm="100000">
                                          <p:val>
                                            <p:strVal val="#ppt_x"/>
                                          </p:val>
                                        </p:tav>
                                      </p:tavLst>
                                    </p:anim>
                                    <p:anim calcmode="lin" valueType="num">
                                      <p:cBhvr additive="base">
                                        <p:cTn id="20" dur="750" fill="hold"/>
                                        <p:tgtEl>
                                          <p:spTgt spid="14"/>
                                        </p:tgtEl>
                                        <p:attrNameLst>
                                          <p:attrName>ppt_y</p:attrName>
                                        </p:attrNameLst>
                                      </p:cBhvr>
                                      <p:tavLst>
                                        <p:tav tm="0">
                                          <p:val>
                                            <p:strVal val="#ppt_y"/>
                                          </p:val>
                                        </p:tav>
                                        <p:tav tm="100000">
                                          <p:val>
                                            <p:strVal val="#ppt_y"/>
                                          </p:val>
                                        </p:tav>
                                      </p:tavLst>
                                    </p:anim>
                                  </p:childTnLst>
                                </p:cTn>
                              </p:par>
                              <p:par>
                                <p:cTn id="21" presetID="2" presetClass="entr" presetSubtype="2" fill="hold" grpId="0" nodeType="withEffect">
                                  <p:stCondLst>
                                    <p:cond delay="2000"/>
                                  </p:stCondLst>
                                  <p:childTnLst>
                                    <p:set>
                                      <p:cBhvr>
                                        <p:cTn id="22" dur="1" fill="hold">
                                          <p:stCondLst>
                                            <p:cond delay="0"/>
                                          </p:stCondLst>
                                        </p:cTn>
                                        <p:tgtEl>
                                          <p:spTgt spid="19"/>
                                        </p:tgtEl>
                                        <p:attrNameLst>
                                          <p:attrName>style.visibility</p:attrName>
                                        </p:attrNameLst>
                                      </p:cBhvr>
                                      <p:to>
                                        <p:strVal val="visible"/>
                                      </p:to>
                                    </p:set>
                                    <p:anim calcmode="lin" valueType="num">
                                      <p:cBhvr additive="base">
                                        <p:cTn id="23" dur="750" fill="hold"/>
                                        <p:tgtEl>
                                          <p:spTgt spid="19"/>
                                        </p:tgtEl>
                                        <p:attrNameLst>
                                          <p:attrName>ppt_x</p:attrName>
                                        </p:attrNameLst>
                                      </p:cBhvr>
                                      <p:tavLst>
                                        <p:tav tm="0">
                                          <p:val>
                                            <p:strVal val="1+#ppt_w/2"/>
                                          </p:val>
                                        </p:tav>
                                        <p:tav tm="100000">
                                          <p:val>
                                            <p:strVal val="#ppt_x"/>
                                          </p:val>
                                        </p:tav>
                                      </p:tavLst>
                                    </p:anim>
                                    <p:anim calcmode="lin" valueType="num">
                                      <p:cBhvr additive="base">
                                        <p:cTn id="24" dur="750" fill="hold"/>
                                        <p:tgtEl>
                                          <p:spTgt spid="19"/>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2000"/>
                                  </p:stCondLst>
                                  <p:childTnLst>
                                    <p:set>
                                      <p:cBhvr>
                                        <p:cTn id="26" dur="1" fill="hold">
                                          <p:stCondLst>
                                            <p:cond delay="0"/>
                                          </p:stCondLst>
                                        </p:cTn>
                                        <p:tgtEl>
                                          <p:spTgt spid="18"/>
                                        </p:tgtEl>
                                        <p:attrNameLst>
                                          <p:attrName>style.visibility</p:attrName>
                                        </p:attrNameLst>
                                      </p:cBhvr>
                                      <p:to>
                                        <p:strVal val="visible"/>
                                      </p:to>
                                    </p:set>
                                    <p:anim calcmode="lin" valueType="num">
                                      <p:cBhvr additive="base">
                                        <p:cTn id="27" dur="750" fill="hold"/>
                                        <p:tgtEl>
                                          <p:spTgt spid="18"/>
                                        </p:tgtEl>
                                        <p:attrNameLst>
                                          <p:attrName>ppt_x</p:attrName>
                                        </p:attrNameLst>
                                      </p:cBhvr>
                                      <p:tavLst>
                                        <p:tav tm="0">
                                          <p:val>
                                            <p:strVal val="1+#ppt_w/2"/>
                                          </p:val>
                                        </p:tav>
                                        <p:tav tm="100000">
                                          <p:val>
                                            <p:strVal val="#ppt_x"/>
                                          </p:val>
                                        </p:tav>
                                      </p:tavLst>
                                    </p:anim>
                                    <p:anim calcmode="lin" valueType="num">
                                      <p:cBhvr additive="base">
                                        <p:cTn id="28" dur="75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animBg="1"/>
      <p:bldP spid="16" grpId="0"/>
      <p:bldP spid="17" grpId="0" animBg="1"/>
      <p:bldP spid="18" grpId="0"/>
      <p:bldP spid="19" grpId="0" animBg="1"/>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447A662F-D257-4D47-BAB5-808D88CE136A}"/>
              </a:ext>
            </a:extLst>
          </p:cNvPr>
          <p:cNvSpPr>
            <a:spLocks noGrp="1"/>
          </p:cNvSpPr>
          <p:nvPr>
            <p:ph type="title"/>
          </p:nvPr>
        </p:nvSpPr>
        <p:spPr bwMode="gray"/>
        <p:txBody>
          <a:bodyPr/>
          <a:lstStyle/>
          <a:p>
            <a:r>
              <a:rPr lang="en-US" dirty="0"/>
              <a:t>Many Thanks</a:t>
            </a:r>
          </a:p>
        </p:txBody>
      </p:sp>
      <p:sp>
        <p:nvSpPr>
          <p:cNvPr id="5" name="Textplatzhalter 4">
            <a:extLst>
              <a:ext uri="{FF2B5EF4-FFF2-40B4-BE49-F238E27FC236}">
                <a16:creationId xmlns:a16="http://schemas.microsoft.com/office/drawing/2014/main" id="{B31EE6EB-2C08-469F-AD1F-7D8D502C1D1E}"/>
              </a:ext>
            </a:extLst>
          </p:cNvPr>
          <p:cNvSpPr>
            <a:spLocks noGrp="1"/>
          </p:cNvSpPr>
          <p:nvPr>
            <p:ph type="body" sz="quarter" idx="1"/>
          </p:nvPr>
        </p:nvSpPr>
        <p:spPr bwMode="gray"/>
        <p:txBody>
          <a:bodyPr/>
          <a:lstStyle/>
          <a:p>
            <a:r>
              <a:rPr lang="en-US" dirty="0"/>
              <a:t>Max Mustermann | Position</a:t>
            </a:r>
          </a:p>
          <a:p>
            <a:pPr lvl="1"/>
            <a:r>
              <a:rPr lang="en-US" dirty="0"/>
              <a:t>Musterstraße 00</a:t>
            </a:r>
          </a:p>
          <a:p>
            <a:pPr lvl="1"/>
            <a:r>
              <a:rPr lang="en-US" dirty="0"/>
              <a:t>00 00 0 Musterstadt</a:t>
            </a:r>
          </a:p>
          <a:p>
            <a:pPr lvl="1"/>
            <a:endParaRPr lang="en-US" dirty="0"/>
          </a:p>
          <a:p>
            <a:pPr lvl="1"/>
            <a:r>
              <a:rPr lang="en-US" dirty="0"/>
              <a:t>Tel. 000 000 000 00</a:t>
            </a:r>
          </a:p>
          <a:p>
            <a:pPr lvl="1"/>
            <a:r>
              <a:rPr lang="en-US" dirty="0"/>
              <a:t>Mail max.mustermann@draeger.com</a:t>
            </a:r>
          </a:p>
        </p:txBody>
      </p:sp>
      <p:sp>
        <p:nvSpPr>
          <p:cNvPr id="2" name="Fußzeilenplatzhalter 1">
            <a:extLst>
              <a:ext uri="{FF2B5EF4-FFF2-40B4-BE49-F238E27FC236}">
                <a16:creationId xmlns:a16="http://schemas.microsoft.com/office/drawing/2014/main" id="{B9263608-5B3E-4C04-B3FE-4AC492673A72}"/>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2519A521-B63E-4381-8CE2-C12AF47FF8A7}"/>
              </a:ext>
            </a:extLst>
          </p:cNvPr>
          <p:cNvSpPr>
            <a:spLocks noGrp="1"/>
          </p:cNvSpPr>
          <p:nvPr>
            <p:ph type="sldNum" sz="quarter" idx="12"/>
          </p:nvPr>
        </p:nvSpPr>
        <p:spPr/>
        <p:txBody>
          <a:bodyPr/>
          <a:lstStyle/>
          <a:p>
            <a:fld id="{CE82B8A1-0CCE-4815-9668-383D7DE7D8B4}" type="slidenum">
              <a:rPr lang="en-US" noProof="0" smtClean="0"/>
              <a:pPr/>
              <a:t>114</a:t>
            </a:fld>
            <a:endParaRPr lang="en-US" noProof="0" dirty="0"/>
          </a:p>
        </p:txBody>
      </p:sp>
    </p:spTree>
    <p:extLst>
      <p:ext uri="{BB962C8B-B14F-4D97-AF65-F5344CB8AC3E}">
        <p14:creationId xmlns:p14="http://schemas.microsoft.com/office/powerpoint/2010/main" val="36099506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399810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586505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platzhalter 9">
            <a:extLst>
              <a:ext uri="{FF2B5EF4-FFF2-40B4-BE49-F238E27FC236}">
                <a16:creationId xmlns:a16="http://schemas.microsoft.com/office/drawing/2014/main" id="{3C7A39B9-9F1A-4FD6-B76C-215F1D746E1C}"/>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l="1147" t="5084" r="4046" b="18647"/>
          <a:stretch/>
        </p:blipFill>
        <p:spPr bwMode="gray">
          <a:xfrm>
            <a:off x="192831" y="188640"/>
            <a:ext cx="11807825" cy="6480448"/>
          </a:xfrm>
        </p:spPr>
      </p:pic>
      <p:sp>
        <p:nvSpPr>
          <p:cNvPr id="2" name="Titel 1">
            <a:extLst>
              <a:ext uri="{FF2B5EF4-FFF2-40B4-BE49-F238E27FC236}">
                <a16:creationId xmlns:a16="http://schemas.microsoft.com/office/drawing/2014/main" id="{ED3B7623-8612-4758-910E-3B37BD3BC7B6}"/>
              </a:ext>
            </a:extLst>
          </p:cNvPr>
          <p:cNvSpPr>
            <a:spLocks noGrp="1"/>
          </p:cNvSpPr>
          <p:nvPr>
            <p:ph type="ctrTitle"/>
          </p:nvPr>
        </p:nvSpPr>
        <p:spPr bwMode="gray"/>
        <p:txBody>
          <a:bodyPr/>
          <a:lstStyle/>
          <a:p>
            <a:r>
              <a:rPr lang="en-US" dirty="0"/>
              <a:t>Lorem ipsum dolor sit amet</a:t>
            </a:r>
          </a:p>
        </p:txBody>
      </p:sp>
      <p:sp>
        <p:nvSpPr>
          <p:cNvPr id="8" name="Textplatzhalter 7">
            <a:extLst>
              <a:ext uri="{FF2B5EF4-FFF2-40B4-BE49-F238E27FC236}">
                <a16:creationId xmlns:a16="http://schemas.microsoft.com/office/drawing/2014/main" id="{49B3B232-5F87-435B-A266-A0B007D35B2D}"/>
              </a:ext>
            </a:extLst>
          </p:cNvPr>
          <p:cNvSpPr>
            <a:spLocks noGrp="1"/>
          </p:cNvSpPr>
          <p:nvPr>
            <p:ph type="body" sz="quarter" idx="15"/>
          </p:nvPr>
        </p:nvSpPr>
        <p:spPr bwMode="gray"/>
        <p:txBody>
          <a:bodyPr/>
          <a:lstStyle/>
          <a:p>
            <a:r>
              <a:rPr lang="en-US" dirty="0"/>
              <a:t>August 2019, Lübeck</a:t>
            </a:r>
          </a:p>
        </p:txBody>
      </p:sp>
      <p:sp>
        <p:nvSpPr>
          <p:cNvPr id="3" name="Untertitel 2">
            <a:extLst>
              <a:ext uri="{FF2B5EF4-FFF2-40B4-BE49-F238E27FC236}">
                <a16:creationId xmlns:a16="http://schemas.microsoft.com/office/drawing/2014/main" id="{C3FCBCAF-68DD-4EB2-98FF-B9FFC6421419}"/>
              </a:ext>
            </a:extLst>
          </p:cNvPr>
          <p:cNvSpPr>
            <a:spLocks noGrp="1"/>
          </p:cNvSpPr>
          <p:nvPr>
            <p:ph type="body" sz="quarter" idx="26"/>
          </p:nvPr>
        </p:nvSpPr>
        <p:spPr bwMode="gray"/>
        <p:txBody>
          <a:bodyPr/>
          <a:lstStyle/>
          <a:p>
            <a:r>
              <a:rPr lang="en-US" dirty="0"/>
              <a:t>August 2019, Lübeck</a:t>
            </a:r>
          </a:p>
        </p:txBody>
      </p:sp>
      <p:sp>
        <p:nvSpPr>
          <p:cNvPr id="12" name="Rechteck 11">
            <a:extLst>
              <a:ext uri="{FF2B5EF4-FFF2-40B4-BE49-F238E27FC236}">
                <a16:creationId xmlns:a16="http://schemas.microsoft.com/office/drawing/2014/main" id="{144E9DAD-BC94-4A56-8CF1-EF968D4B009F}"/>
              </a:ext>
            </a:extLst>
          </p:cNvPr>
          <p:cNvSpPr/>
          <p:nvPr/>
        </p:nvSpPr>
        <p:spPr bwMode="gray">
          <a:xfrm>
            <a:off x="12288688" y="3140968"/>
            <a:ext cx="1728000" cy="8640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200" dirty="0">
                <a:solidFill>
                  <a:schemeClr val="tx1"/>
                </a:solidFill>
              </a:rPr>
              <a:t>© Drägerwerk AG &amp; Co. KGaA, 2019</a:t>
            </a:r>
          </a:p>
        </p:txBody>
      </p:sp>
      <p:sp>
        <p:nvSpPr>
          <p:cNvPr id="7" name="Fußzeilenplatzhalter 6">
            <a:extLst>
              <a:ext uri="{FF2B5EF4-FFF2-40B4-BE49-F238E27FC236}">
                <a16:creationId xmlns:a16="http://schemas.microsoft.com/office/drawing/2014/main" id="{AB7C6235-A137-43DF-B235-1850E4C27C20}"/>
              </a:ext>
            </a:extLst>
          </p:cNvPr>
          <p:cNvSpPr>
            <a:spLocks noGrp="1"/>
          </p:cNvSpPr>
          <p:nvPr>
            <p:ph type="ftr" sz="quarter" idx="27"/>
          </p:nvPr>
        </p:nvSpPr>
        <p:spPr bwMode="gray"/>
        <p:txBody>
          <a:bodyPr/>
          <a:lstStyle/>
          <a:p>
            <a:r>
              <a:rPr lang="en-US">
                <a:solidFill>
                  <a:schemeClr val="bg1"/>
                </a:solidFill>
              </a:rPr>
              <a:t>Footnote: Please insert appropriate company</a:t>
            </a:r>
            <a:endParaRPr lang="de-DE" dirty="0">
              <a:solidFill>
                <a:schemeClr val="bg1"/>
              </a:solidFill>
            </a:endParaRPr>
          </a:p>
        </p:txBody>
      </p:sp>
    </p:spTree>
    <p:extLst>
      <p:ext uri="{BB962C8B-B14F-4D97-AF65-F5344CB8AC3E}">
        <p14:creationId xmlns:p14="http://schemas.microsoft.com/office/powerpoint/2010/main" val="1097711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20F17EA-334B-4046-8CE3-7CE648F87621}"/>
              </a:ext>
            </a:extLst>
          </p:cNvPr>
          <p:cNvSpPr>
            <a:spLocks noGrp="1"/>
          </p:cNvSpPr>
          <p:nvPr>
            <p:ph type="title"/>
          </p:nvPr>
        </p:nvSpPr>
        <p:spPr bwMode="gray"/>
        <p:txBody>
          <a:bodyPr/>
          <a:lstStyle/>
          <a:p>
            <a:r>
              <a:rPr lang="en-US" dirty="0"/>
              <a:t>Lorem ipsum dolor sit amet, consectetuer adipiscing elit. Maecenas porttitor congue massa. Fusce posuere, magna sed pulvinar ultricies</a:t>
            </a:r>
            <a:br>
              <a:rPr lang="en-US" dirty="0"/>
            </a:br>
            <a:endParaRPr lang="en-US" dirty="0"/>
          </a:p>
        </p:txBody>
      </p:sp>
      <p:sp>
        <p:nvSpPr>
          <p:cNvPr id="4" name="Textplatzhalter 3">
            <a:extLst>
              <a:ext uri="{FF2B5EF4-FFF2-40B4-BE49-F238E27FC236}">
                <a16:creationId xmlns:a16="http://schemas.microsoft.com/office/drawing/2014/main" id="{BF0AE77A-5D0D-4F46-A19D-8037C4D2FF48}"/>
              </a:ext>
            </a:extLst>
          </p:cNvPr>
          <p:cNvSpPr>
            <a:spLocks noGrp="1"/>
          </p:cNvSpPr>
          <p:nvPr>
            <p:ph type="body" sz="quarter" idx="11"/>
          </p:nvPr>
        </p:nvSpPr>
        <p:spPr bwMode="gray">
          <a:xfrm>
            <a:off x="1559496" y="1916840"/>
            <a:ext cx="2088000" cy="504042"/>
          </a:xfrm>
          <a:solidFill>
            <a:schemeClr val="accent1"/>
          </a:solidFill>
        </p:spPr>
        <p:txBody>
          <a:bodyPr/>
          <a:lstStyle/>
          <a:p>
            <a:r>
              <a:rPr lang="en-US" dirty="0"/>
              <a:t>Challenge</a:t>
            </a:r>
          </a:p>
        </p:txBody>
      </p:sp>
      <p:sp>
        <p:nvSpPr>
          <p:cNvPr id="5" name="Fußzeilenplatzhalter 4">
            <a:extLst>
              <a:ext uri="{FF2B5EF4-FFF2-40B4-BE49-F238E27FC236}">
                <a16:creationId xmlns:a16="http://schemas.microsoft.com/office/drawing/2014/main" id="{5BEB53DC-38FA-4833-8426-7EF9FFAF7D43}"/>
              </a:ext>
            </a:extLst>
          </p:cNvPr>
          <p:cNvSpPr>
            <a:spLocks noGrp="1"/>
          </p:cNvSpPr>
          <p:nvPr>
            <p:ph type="ftr" sz="quarter" idx="12"/>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B6B66EA8-5E68-43C7-951C-3E5E85B398F5}"/>
              </a:ext>
            </a:extLst>
          </p:cNvPr>
          <p:cNvSpPr>
            <a:spLocks noGrp="1"/>
          </p:cNvSpPr>
          <p:nvPr>
            <p:ph type="sldNum" sz="quarter" idx="10"/>
          </p:nvPr>
        </p:nvSpPr>
        <p:spPr/>
        <p:txBody>
          <a:bodyPr/>
          <a:lstStyle/>
          <a:p>
            <a:fld id="{CE82B8A1-0CCE-4815-9668-383D7DE7D8B4}" type="slidenum">
              <a:rPr lang="en-US" noProof="0" smtClean="0"/>
              <a:pPr/>
              <a:t>118</a:t>
            </a:fld>
            <a:endParaRPr lang="en-US" noProof="0" dirty="0"/>
          </a:p>
        </p:txBody>
      </p:sp>
    </p:spTree>
    <p:extLst>
      <p:ext uri="{BB962C8B-B14F-4D97-AF65-F5344CB8AC3E}">
        <p14:creationId xmlns:p14="http://schemas.microsoft.com/office/powerpoint/2010/main" val="2746518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1F0DD9EE-3BDC-47E3-98FE-7CC9B1B6E0B5}"/>
              </a:ext>
            </a:extLst>
          </p:cNvPr>
          <p:cNvPicPr>
            <a:picLocks noChangeAspect="1"/>
          </p:cNvPicPr>
          <p:nvPr/>
        </p:nvPicPr>
        <p:blipFill rotWithShape="1">
          <a:blip r:embed="rId2">
            <a:extLst>
              <a:ext uri="{28A0092B-C50C-407E-A947-70E740481C1C}">
                <a14:useLocalDpi xmlns:a14="http://schemas.microsoft.com/office/drawing/2010/main" val="0"/>
              </a:ext>
            </a:extLst>
          </a:blip>
          <a:srcRect t="9068" b="10964"/>
          <a:stretch/>
        </p:blipFill>
        <p:spPr bwMode="gray">
          <a:xfrm>
            <a:off x="192656" y="188913"/>
            <a:ext cx="11808000" cy="6480176"/>
          </a:xfrm>
          <a:prstGeom prst="rect">
            <a:avLst/>
          </a:prstGeom>
        </p:spPr>
      </p:pic>
      <p:sp>
        <p:nvSpPr>
          <p:cNvPr id="10" name="Textplatzhalter 15">
            <a:extLst>
              <a:ext uri="{FF2B5EF4-FFF2-40B4-BE49-F238E27FC236}">
                <a16:creationId xmlns:a16="http://schemas.microsoft.com/office/drawing/2014/main" id="{E536930B-E61A-4816-8B88-FFD9A064C92E}"/>
              </a:ext>
            </a:extLst>
          </p:cNvPr>
          <p:cNvSpPr txBox="1">
            <a:spLocks/>
          </p:cNvSpPr>
          <p:nvPr/>
        </p:nvSpPr>
        <p:spPr bwMode="gray">
          <a:xfrm>
            <a:off x="8112224" y="1197475"/>
            <a:ext cx="2923465" cy="1295421"/>
          </a:xfrm>
          <a:prstGeom prst="rect">
            <a:avLst/>
          </a:prstGeom>
        </p:spPr>
        <p:txBody>
          <a:bodyPr lIns="0" tIns="0" rIns="0" bIns="0" anchor="b"/>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dirty="0">
                <a:solidFill>
                  <a:schemeClr val="bg1"/>
                </a:solidFill>
              </a:rPr>
              <a:t>Lorem ipsum dolor sit amet, consectetuer adipiscing elit.</a:t>
            </a:r>
          </a:p>
          <a:p>
            <a:pPr lvl="1"/>
            <a:r>
              <a:rPr lang="en-US" dirty="0">
                <a:solidFill>
                  <a:schemeClr val="bg1"/>
                </a:solidFill>
              </a:rPr>
              <a:t>Maecenas porttitor congue massa. Fusce posuere, magna sed pulvinar</a:t>
            </a:r>
          </a:p>
        </p:txBody>
      </p:sp>
      <p:cxnSp>
        <p:nvCxnSpPr>
          <p:cNvPr id="11" name="Gerader Verbinder 10">
            <a:extLst>
              <a:ext uri="{FF2B5EF4-FFF2-40B4-BE49-F238E27FC236}">
                <a16:creationId xmlns:a16="http://schemas.microsoft.com/office/drawing/2014/main" id="{A2A74E0C-F62A-4E50-9809-6E0DA9A4952D}"/>
              </a:ext>
            </a:extLst>
          </p:cNvPr>
          <p:cNvCxnSpPr>
            <a:cxnSpLocks/>
          </p:cNvCxnSpPr>
          <p:nvPr/>
        </p:nvCxnSpPr>
        <p:spPr bwMode="gray">
          <a:xfrm flipV="1">
            <a:off x="6629400" y="2348882"/>
            <a:ext cx="1338808" cy="66101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platzhalter 3">
            <a:extLst>
              <a:ext uri="{FF2B5EF4-FFF2-40B4-BE49-F238E27FC236}">
                <a16:creationId xmlns:a16="http://schemas.microsoft.com/office/drawing/2014/main" id="{E16B034D-2D9E-4646-A041-A97123EDBA3C}"/>
              </a:ext>
            </a:extLst>
          </p:cNvPr>
          <p:cNvSpPr txBox="1">
            <a:spLocks/>
          </p:cNvSpPr>
          <p:nvPr/>
        </p:nvSpPr>
        <p:spPr bwMode="gray">
          <a:xfrm>
            <a:off x="623392" y="1268920"/>
            <a:ext cx="5256708" cy="1440000"/>
          </a:xfrm>
          <a:prstGeom prst="rect">
            <a:avLst/>
          </a:prstGeom>
        </p:spPr>
        <p:txBody>
          <a:bodyPr wrap="non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lnSpc>
                <a:spcPct val="80000"/>
              </a:lnSpc>
            </a:pPr>
            <a:r>
              <a:rPr lang="en-US" dirty="0">
                <a:solidFill>
                  <a:schemeClr val="accent2"/>
                </a:solidFill>
              </a:rPr>
              <a:t>The Idea:</a:t>
            </a:r>
          </a:p>
          <a:p>
            <a:pPr algn="l">
              <a:lnSpc>
                <a:spcPct val="80000"/>
              </a:lnSpc>
            </a:pPr>
            <a:r>
              <a:rPr lang="en-US" dirty="0">
                <a:solidFill>
                  <a:schemeClr val="accent2"/>
                </a:solidFill>
              </a:rPr>
              <a:t>Lorem Ipsum</a:t>
            </a:r>
          </a:p>
        </p:txBody>
      </p:sp>
      <p:sp>
        <p:nvSpPr>
          <p:cNvPr id="21" name="Textplatzhalter 3">
            <a:extLst>
              <a:ext uri="{FF2B5EF4-FFF2-40B4-BE49-F238E27FC236}">
                <a16:creationId xmlns:a16="http://schemas.microsoft.com/office/drawing/2014/main" id="{7D787386-B6F9-4E2D-9644-FA00EED8D3EA}"/>
              </a:ext>
            </a:extLst>
          </p:cNvPr>
          <p:cNvSpPr txBox="1">
            <a:spLocks/>
          </p:cNvSpPr>
          <p:nvPr/>
        </p:nvSpPr>
        <p:spPr bwMode="gray">
          <a:xfrm>
            <a:off x="623392" y="908720"/>
            <a:ext cx="5256708" cy="288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lnSpc>
                <a:spcPct val="80000"/>
              </a:lnSpc>
            </a:pPr>
            <a:r>
              <a:rPr lang="en-US" sz="2000" dirty="0">
                <a:solidFill>
                  <a:schemeClr val="bg1"/>
                </a:solidFill>
              </a:rPr>
              <a:t>STEP 01</a:t>
            </a:r>
          </a:p>
        </p:txBody>
      </p:sp>
      <p:cxnSp>
        <p:nvCxnSpPr>
          <p:cNvPr id="25" name="Gerader Verbinder 24">
            <a:extLst>
              <a:ext uri="{FF2B5EF4-FFF2-40B4-BE49-F238E27FC236}">
                <a16:creationId xmlns:a16="http://schemas.microsoft.com/office/drawing/2014/main" id="{3F6E467B-BB9D-4A47-A7AF-0B257A9CBF2D}"/>
              </a:ext>
            </a:extLst>
          </p:cNvPr>
          <p:cNvCxnSpPr>
            <a:cxnSpLocks/>
          </p:cNvCxnSpPr>
          <p:nvPr/>
        </p:nvCxnSpPr>
        <p:spPr bwMode="gray">
          <a:xfrm flipV="1">
            <a:off x="4168179" y="3590956"/>
            <a:ext cx="1368152" cy="7200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185D2B5B-C3D8-4853-99F9-9D521C781DFB}"/>
              </a:ext>
            </a:extLst>
          </p:cNvPr>
          <p:cNvCxnSpPr>
            <a:cxnSpLocks/>
          </p:cNvCxnSpPr>
          <p:nvPr/>
        </p:nvCxnSpPr>
        <p:spPr bwMode="gray">
          <a:xfrm flipV="1">
            <a:off x="3215680" y="3343275"/>
            <a:ext cx="2337395" cy="44563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B0BAACEC-D528-41A7-B8CE-8353AB3818E5}"/>
              </a:ext>
            </a:extLst>
          </p:cNvPr>
          <p:cNvCxnSpPr>
            <a:cxnSpLocks/>
          </p:cNvCxnSpPr>
          <p:nvPr/>
        </p:nvCxnSpPr>
        <p:spPr bwMode="gray">
          <a:xfrm flipH="1" flipV="1">
            <a:off x="6610350" y="3600450"/>
            <a:ext cx="2221954" cy="14961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Textplatzhalter 15">
            <a:extLst>
              <a:ext uri="{FF2B5EF4-FFF2-40B4-BE49-F238E27FC236}">
                <a16:creationId xmlns:a16="http://schemas.microsoft.com/office/drawing/2014/main" id="{7C68E954-A41F-48C6-A848-96D1741E0321}"/>
              </a:ext>
            </a:extLst>
          </p:cNvPr>
          <p:cNvSpPr txBox="1">
            <a:spLocks/>
          </p:cNvSpPr>
          <p:nvPr/>
        </p:nvSpPr>
        <p:spPr bwMode="gray">
          <a:xfrm>
            <a:off x="8976320" y="5013303"/>
            <a:ext cx="2591793" cy="1295421"/>
          </a:xfrm>
          <a:prstGeom prst="rect">
            <a:avLst/>
          </a:prstGeom>
        </p:spPr>
        <p:txBody>
          <a:bodyPr lIns="0" tIns="0" rIns="0" bIns="0" anchor="t"/>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dirty="0">
                <a:solidFill>
                  <a:schemeClr val="bg1"/>
                </a:solidFill>
              </a:rPr>
              <a:t>Lorem ipsum dolor sit amet, consectetuer adipiscing elit.</a:t>
            </a:r>
          </a:p>
          <a:p>
            <a:pPr lvl="1"/>
            <a:r>
              <a:rPr lang="en-US" dirty="0">
                <a:solidFill>
                  <a:schemeClr val="bg1"/>
                </a:solidFill>
              </a:rPr>
              <a:t>Maecenas porttitor congue massa. Fusce posuere, magna sed pulvinar</a:t>
            </a:r>
          </a:p>
        </p:txBody>
      </p:sp>
      <p:sp>
        <p:nvSpPr>
          <p:cNvPr id="32" name="Textplatzhalter 15">
            <a:extLst>
              <a:ext uri="{FF2B5EF4-FFF2-40B4-BE49-F238E27FC236}">
                <a16:creationId xmlns:a16="http://schemas.microsoft.com/office/drawing/2014/main" id="{AFC2494B-C8AB-4D67-B353-8A36902E9DFC}"/>
              </a:ext>
            </a:extLst>
          </p:cNvPr>
          <p:cNvSpPr txBox="1">
            <a:spLocks/>
          </p:cNvSpPr>
          <p:nvPr/>
        </p:nvSpPr>
        <p:spPr bwMode="gray">
          <a:xfrm>
            <a:off x="4080096" y="4437239"/>
            <a:ext cx="2880000" cy="1295421"/>
          </a:xfrm>
          <a:prstGeom prst="rect">
            <a:avLst/>
          </a:prstGeom>
        </p:spPr>
        <p:txBody>
          <a:bodyPr lIns="0" tIns="0" rIns="0" bIns="0" anchor="t"/>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dirty="0">
                <a:solidFill>
                  <a:schemeClr val="bg1"/>
                </a:solidFill>
              </a:rPr>
              <a:t>Lorem ipsum dolor sit amet, consectetuer adipiscing elit.</a:t>
            </a:r>
          </a:p>
          <a:p>
            <a:pPr lvl="1"/>
            <a:r>
              <a:rPr lang="en-US" dirty="0">
                <a:solidFill>
                  <a:schemeClr val="bg1"/>
                </a:solidFill>
              </a:rPr>
              <a:t>Maecenas porttitor congue massa. Fusce posuere, magna sed pulvinar</a:t>
            </a:r>
          </a:p>
        </p:txBody>
      </p:sp>
      <p:sp>
        <p:nvSpPr>
          <p:cNvPr id="33" name="Textplatzhalter 15">
            <a:extLst>
              <a:ext uri="{FF2B5EF4-FFF2-40B4-BE49-F238E27FC236}">
                <a16:creationId xmlns:a16="http://schemas.microsoft.com/office/drawing/2014/main" id="{53356544-85D5-4310-B18E-F1FF72863100}"/>
              </a:ext>
            </a:extLst>
          </p:cNvPr>
          <p:cNvSpPr txBox="1">
            <a:spLocks/>
          </p:cNvSpPr>
          <p:nvPr/>
        </p:nvSpPr>
        <p:spPr bwMode="gray">
          <a:xfrm>
            <a:off x="623392" y="3645023"/>
            <a:ext cx="2447777" cy="1295421"/>
          </a:xfrm>
          <a:prstGeom prst="rect">
            <a:avLst/>
          </a:prstGeom>
        </p:spPr>
        <p:txBody>
          <a:bodyPr lIns="0" tIns="0" rIns="0" bIns="0" anchor="t"/>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lgn="r"/>
            <a:r>
              <a:rPr lang="en-US" dirty="0">
                <a:solidFill>
                  <a:schemeClr val="bg1"/>
                </a:solidFill>
              </a:rPr>
              <a:t>Lorem ipsum dolor sit amet, consectetuer elit.</a:t>
            </a:r>
          </a:p>
          <a:p>
            <a:pPr lvl="1" algn="r"/>
            <a:r>
              <a:rPr lang="en-US" dirty="0">
                <a:solidFill>
                  <a:schemeClr val="bg1"/>
                </a:solidFill>
              </a:rPr>
              <a:t>Maecenas porttitor congue massa. Fusce posuere, magna sed pulvinar</a:t>
            </a:r>
          </a:p>
        </p:txBody>
      </p:sp>
      <p:sp>
        <p:nvSpPr>
          <p:cNvPr id="2" name="Fußzeilenplatzhalter 1">
            <a:extLst>
              <a:ext uri="{FF2B5EF4-FFF2-40B4-BE49-F238E27FC236}">
                <a16:creationId xmlns:a16="http://schemas.microsoft.com/office/drawing/2014/main" id="{3948B841-2C4D-441B-98EC-1F358B7E9A35}"/>
              </a:ext>
            </a:extLst>
          </p:cNvPr>
          <p:cNvSpPr>
            <a:spLocks noGrp="1"/>
          </p:cNvSpPr>
          <p:nvPr>
            <p:ph type="ftr" sz="quarter" idx="13"/>
          </p:nvPr>
        </p:nvSpPr>
        <p:spPr bwMode="gray"/>
        <p:txBody>
          <a:bodyPr/>
          <a:lstStyle/>
          <a:p>
            <a:r>
              <a:rPr lang="en-US">
                <a:solidFill>
                  <a:schemeClr val="bg1"/>
                </a:solidFill>
              </a:rPr>
              <a:t>Footnote: Please insert appropriate company</a:t>
            </a:r>
            <a:endParaRPr lang="de-DE" dirty="0">
              <a:solidFill>
                <a:schemeClr val="bg1"/>
              </a:solidFill>
            </a:endParaRPr>
          </a:p>
        </p:txBody>
      </p:sp>
      <p:sp>
        <p:nvSpPr>
          <p:cNvPr id="3" name="Foliennummernplatzhalter 2">
            <a:extLst>
              <a:ext uri="{FF2B5EF4-FFF2-40B4-BE49-F238E27FC236}">
                <a16:creationId xmlns:a16="http://schemas.microsoft.com/office/drawing/2014/main" id="{D58F10CD-0330-4B6D-AD13-62C1FA6370B8}"/>
              </a:ext>
            </a:extLst>
          </p:cNvPr>
          <p:cNvSpPr>
            <a:spLocks noGrp="1"/>
          </p:cNvSpPr>
          <p:nvPr>
            <p:ph type="sldNum" sz="quarter" idx="12"/>
          </p:nvPr>
        </p:nvSpPr>
        <p:spPr/>
        <p:txBody>
          <a:bodyPr/>
          <a:lstStyle/>
          <a:p>
            <a:fld id="{CE82B8A1-0CCE-4815-9668-383D7DE7D8B4}" type="slidenum">
              <a:rPr lang="en-US" smtClean="0"/>
              <a:t>119</a:t>
            </a:fld>
            <a:endParaRPr lang="en-US" dirty="0"/>
          </a:p>
        </p:txBody>
      </p:sp>
    </p:spTree>
    <p:extLst>
      <p:ext uri="{BB962C8B-B14F-4D97-AF65-F5344CB8AC3E}">
        <p14:creationId xmlns:p14="http://schemas.microsoft.com/office/powerpoint/2010/main" val="276257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00"/>
                                        <p:tgtEl>
                                          <p:spTgt spid="11"/>
                                        </p:tgtEl>
                                      </p:cBhvr>
                                    </p:animEffect>
                                  </p:childTnLst>
                                </p:cTn>
                              </p:par>
                              <p:par>
                                <p:cTn id="8" presetID="47"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1000"/>
                                        <p:tgtEl>
                                          <p:spTgt spid="10"/>
                                        </p:tgtEl>
                                      </p:cBhvr>
                                    </p:animEffect>
                                    <p:anim calcmode="lin" valueType="num">
                                      <p:cBhvr>
                                        <p:cTn id="11" dur="1000" fill="hold"/>
                                        <p:tgtEl>
                                          <p:spTgt spid="10"/>
                                        </p:tgtEl>
                                        <p:attrNameLst>
                                          <p:attrName>ppt_x</p:attrName>
                                        </p:attrNameLst>
                                      </p:cBhvr>
                                      <p:tavLst>
                                        <p:tav tm="0">
                                          <p:val>
                                            <p:strVal val="#ppt_x"/>
                                          </p:val>
                                        </p:tav>
                                        <p:tav tm="100000">
                                          <p:val>
                                            <p:strVal val="#ppt_x"/>
                                          </p:val>
                                        </p:tav>
                                      </p:tavLst>
                                    </p:anim>
                                    <p:anim calcmode="lin" valueType="num">
                                      <p:cBhvr>
                                        <p:cTn id="12" dur="1000" fill="hold"/>
                                        <p:tgtEl>
                                          <p:spTgt spid="10"/>
                                        </p:tgtEl>
                                        <p:attrNameLst>
                                          <p:attrName>ppt_y</p:attrName>
                                        </p:attrNameLst>
                                      </p:cBhvr>
                                      <p:tavLst>
                                        <p:tav tm="0">
                                          <p:val>
                                            <p:strVal val="#ppt_y-.1"/>
                                          </p:val>
                                        </p:tav>
                                        <p:tav tm="100000">
                                          <p:val>
                                            <p:strVal val="#ppt_y"/>
                                          </p:val>
                                        </p:tav>
                                      </p:tavLst>
                                    </p:anim>
                                  </p:childTnLst>
                                </p:cTn>
                              </p:par>
                            </p:childTnLst>
                          </p:cTn>
                        </p:par>
                        <p:par>
                          <p:cTn id="13" fill="hold">
                            <p:stCondLst>
                              <p:cond delay="1000"/>
                            </p:stCondLst>
                            <p:childTnLst>
                              <p:par>
                                <p:cTn id="14" presetID="22" presetClass="entr" presetSubtype="8" fill="hold" nodeType="after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wipe(left)">
                                      <p:cBhvr>
                                        <p:cTn id="16" dur="500"/>
                                        <p:tgtEl>
                                          <p:spTgt spid="28"/>
                                        </p:tgtEl>
                                      </p:cBhvr>
                                    </p:animEffect>
                                  </p:childTnLst>
                                </p:cTn>
                              </p:par>
                              <p:par>
                                <p:cTn id="17" presetID="47" presetClass="entr" presetSubtype="0" fill="hold" grpId="0" nodeType="with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1000"/>
                                        <p:tgtEl>
                                          <p:spTgt spid="31"/>
                                        </p:tgtEl>
                                      </p:cBhvr>
                                    </p:animEffect>
                                    <p:anim calcmode="lin" valueType="num">
                                      <p:cBhvr>
                                        <p:cTn id="20" dur="1000" fill="hold"/>
                                        <p:tgtEl>
                                          <p:spTgt spid="31"/>
                                        </p:tgtEl>
                                        <p:attrNameLst>
                                          <p:attrName>ppt_x</p:attrName>
                                        </p:attrNameLst>
                                      </p:cBhvr>
                                      <p:tavLst>
                                        <p:tav tm="0">
                                          <p:val>
                                            <p:strVal val="#ppt_x"/>
                                          </p:val>
                                        </p:tav>
                                        <p:tav tm="100000">
                                          <p:val>
                                            <p:strVal val="#ppt_x"/>
                                          </p:val>
                                        </p:tav>
                                      </p:tavLst>
                                    </p:anim>
                                    <p:anim calcmode="lin" valueType="num">
                                      <p:cBhvr>
                                        <p:cTn id="21" dur="1000" fill="hold"/>
                                        <p:tgtEl>
                                          <p:spTgt spid="31"/>
                                        </p:tgtEl>
                                        <p:attrNameLst>
                                          <p:attrName>ppt_y</p:attrName>
                                        </p:attrNameLst>
                                      </p:cBhvr>
                                      <p:tavLst>
                                        <p:tav tm="0">
                                          <p:val>
                                            <p:strVal val="#ppt_y-.1"/>
                                          </p:val>
                                        </p:tav>
                                        <p:tav tm="100000">
                                          <p:val>
                                            <p:strVal val="#ppt_y"/>
                                          </p:val>
                                        </p:tav>
                                      </p:tavLst>
                                    </p:anim>
                                  </p:childTnLst>
                                </p:cTn>
                              </p:par>
                            </p:childTnLst>
                          </p:cTn>
                        </p:par>
                        <p:par>
                          <p:cTn id="22" fill="hold">
                            <p:stCondLst>
                              <p:cond delay="2000"/>
                            </p:stCondLst>
                            <p:childTnLst>
                              <p:par>
                                <p:cTn id="23" presetID="22" presetClass="entr" presetSubtype="2" fill="hold"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wipe(right)">
                                      <p:cBhvr>
                                        <p:cTn id="25" dur="500"/>
                                        <p:tgtEl>
                                          <p:spTgt spid="25"/>
                                        </p:tgtEl>
                                      </p:cBhvr>
                                    </p:animEffect>
                                  </p:childTnLst>
                                </p:cTn>
                              </p:par>
                              <p:par>
                                <p:cTn id="26" presetID="42" presetClass="entr" presetSubtype="0" fill="hold" grpId="0" nodeType="withEffect">
                                  <p:stCondLst>
                                    <p:cond delay="0"/>
                                  </p:stCondLst>
                                  <p:childTnLst>
                                    <p:set>
                                      <p:cBhvr>
                                        <p:cTn id="27" dur="1" fill="hold">
                                          <p:stCondLst>
                                            <p:cond delay="0"/>
                                          </p:stCondLst>
                                        </p:cTn>
                                        <p:tgtEl>
                                          <p:spTgt spid="32"/>
                                        </p:tgtEl>
                                        <p:attrNameLst>
                                          <p:attrName>style.visibility</p:attrName>
                                        </p:attrNameLst>
                                      </p:cBhvr>
                                      <p:to>
                                        <p:strVal val="visible"/>
                                      </p:to>
                                    </p:set>
                                    <p:animEffect transition="in" filter="fade">
                                      <p:cBhvr>
                                        <p:cTn id="28" dur="1000"/>
                                        <p:tgtEl>
                                          <p:spTgt spid="32"/>
                                        </p:tgtEl>
                                      </p:cBhvr>
                                    </p:animEffect>
                                    <p:anim calcmode="lin" valueType="num">
                                      <p:cBhvr>
                                        <p:cTn id="29" dur="1000" fill="hold"/>
                                        <p:tgtEl>
                                          <p:spTgt spid="32"/>
                                        </p:tgtEl>
                                        <p:attrNameLst>
                                          <p:attrName>ppt_x</p:attrName>
                                        </p:attrNameLst>
                                      </p:cBhvr>
                                      <p:tavLst>
                                        <p:tav tm="0">
                                          <p:val>
                                            <p:strVal val="#ppt_x"/>
                                          </p:val>
                                        </p:tav>
                                        <p:tav tm="100000">
                                          <p:val>
                                            <p:strVal val="#ppt_x"/>
                                          </p:val>
                                        </p:tav>
                                      </p:tavLst>
                                    </p:anim>
                                    <p:anim calcmode="lin" valueType="num">
                                      <p:cBhvr>
                                        <p:cTn id="30" dur="1000" fill="hold"/>
                                        <p:tgtEl>
                                          <p:spTgt spid="32"/>
                                        </p:tgtEl>
                                        <p:attrNameLst>
                                          <p:attrName>ppt_y</p:attrName>
                                        </p:attrNameLst>
                                      </p:cBhvr>
                                      <p:tavLst>
                                        <p:tav tm="0">
                                          <p:val>
                                            <p:strVal val="#ppt_y+.1"/>
                                          </p:val>
                                        </p:tav>
                                        <p:tav tm="100000">
                                          <p:val>
                                            <p:strVal val="#ppt_y"/>
                                          </p:val>
                                        </p:tav>
                                      </p:tavLst>
                                    </p:anim>
                                  </p:childTnLst>
                                </p:cTn>
                              </p:par>
                            </p:childTnLst>
                          </p:cTn>
                        </p:par>
                        <p:par>
                          <p:cTn id="31" fill="hold">
                            <p:stCondLst>
                              <p:cond delay="3000"/>
                            </p:stCondLst>
                            <p:childTnLst>
                              <p:par>
                                <p:cTn id="32" presetID="22" presetClass="entr" presetSubtype="2" fill="hold" nodeType="afterEffect">
                                  <p:stCondLst>
                                    <p:cond delay="0"/>
                                  </p:stCondLst>
                                  <p:childTnLst>
                                    <p:set>
                                      <p:cBhvr>
                                        <p:cTn id="33" dur="1" fill="hold">
                                          <p:stCondLst>
                                            <p:cond delay="0"/>
                                          </p:stCondLst>
                                        </p:cTn>
                                        <p:tgtEl>
                                          <p:spTgt spid="26"/>
                                        </p:tgtEl>
                                        <p:attrNameLst>
                                          <p:attrName>style.visibility</p:attrName>
                                        </p:attrNameLst>
                                      </p:cBhvr>
                                      <p:to>
                                        <p:strVal val="visible"/>
                                      </p:to>
                                    </p:set>
                                    <p:animEffect transition="in" filter="wipe(right)">
                                      <p:cBhvr>
                                        <p:cTn id="34" dur="500"/>
                                        <p:tgtEl>
                                          <p:spTgt spid="26"/>
                                        </p:tgtEl>
                                      </p:cBhvr>
                                    </p:animEffect>
                                  </p:childTnLst>
                                </p:cTn>
                              </p:par>
                              <p:par>
                                <p:cTn id="35" presetID="42" presetClass="entr" presetSubtype="0" fill="hold" grpId="0" nodeType="withEffect">
                                  <p:stCondLst>
                                    <p:cond delay="0"/>
                                  </p:stCondLst>
                                  <p:childTnLst>
                                    <p:set>
                                      <p:cBhvr>
                                        <p:cTn id="36" dur="1" fill="hold">
                                          <p:stCondLst>
                                            <p:cond delay="0"/>
                                          </p:stCondLst>
                                        </p:cTn>
                                        <p:tgtEl>
                                          <p:spTgt spid="33"/>
                                        </p:tgtEl>
                                        <p:attrNameLst>
                                          <p:attrName>style.visibility</p:attrName>
                                        </p:attrNameLst>
                                      </p:cBhvr>
                                      <p:to>
                                        <p:strVal val="visible"/>
                                      </p:to>
                                    </p:set>
                                    <p:animEffect transition="in" filter="fade">
                                      <p:cBhvr>
                                        <p:cTn id="37" dur="1000"/>
                                        <p:tgtEl>
                                          <p:spTgt spid="33"/>
                                        </p:tgtEl>
                                      </p:cBhvr>
                                    </p:animEffect>
                                    <p:anim calcmode="lin" valueType="num">
                                      <p:cBhvr>
                                        <p:cTn id="38" dur="1000" fill="hold"/>
                                        <p:tgtEl>
                                          <p:spTgt spid="33"/>
                                        </p:tgtEl>
                                        <p:attrNameLst>
                                          <p:attrName>ppt_x</p:attrName>
                                        </p:attrNameLst>
                                      </p:cBhvr>
                                      <p:tavLst>
                                        <p:tav tm="0">
                                          <p:val>
                                            <p:strVal val="#ppt_x"/>
                                          </p:val>
                                        </p:tav>
                                        <p:tav tm="100000">
                                          <p:val>
                                            <p:strVal val="#ppt_x"/>
                                          </p:val>
                                        </p:tav>
                                      </p:tavLst>
                                    </p:anim>
                                    <p:anim calcmode="lin" valueType="num">
                                      <p:cBhvr>
                                        <p:cTn id="39"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31" grpId="0"/>
      <p:bldP spid="32" grpId="0"/>
      <p:bldP spid="3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C28A2E-D83B-4FB0-904A-0EDBE82C6E15}"/>
              </a:ext>
            </a:extLst>
          </p:cNvPr>
          <p:cNvSpPr>
            <a:spLocks noGrp="1"/>
          </p:cNvSpPr>
          <p:nvPr>
            <p:ph type="title"/>
          </p:nvPr>
        </p:nvSpPr>
        <p:spPr bwMode="gray"/>
        <p:txBody>
          <a:bodyPr/>
          <a:lstStyle/>
          <a:p>
            <a:r>
              <a:rPr lang="en-US" dirty="0"/>
              <a:t>Lorem ipsum dolor sit amet, consectetuer adipiscing elit</a:t>
            </a:r>
          </a:p>
        </p:txBody>
      </p:sp>
      <p:sp>
        <p:nvSpPr>
          <p:cNvPr id="4" name="Inhaltsplatzhalter 3">
            <a:extLst>
              <a:ext uri="{FF2B5EF4-FFF2-40B4-BE49-F238E27FC236}">
                <a16:creationId xmlns:a16="http://schemas.microsoft.com/office/drawing/2014/main" id="{E0782EA6-537A-4B36-A777-CB748FAF4AA8}"/>
              </a:ext>
            </a:extLst>
          </p:cNvPr>
          <p:cNvSpPr>
            <a:spLocks noGrp="1"/>
          </p:cNvSpPr>
          <p:nvPr>
            <p:ph sz="quarter" idx="13"/>
          </p:nvPr>
        </p:nvSpPr>
        <p:spPr bwMode="gray"/>
        <p:txBody>
          <a:bodyPr/>
          <a:lstStyle/>
          <a:p>
            <a:r>
              <a:rPr lang="en-US" dirty="0"/>
              <a:t>Lorem ipsum dolor sit amet, consectetuer adipiscing elit</a:t>
            </a:r>
          </a:p>
          <a:p>
            <a:pPr lvl="1"/>
            <a:r>
              <a:rPr lang="en-US" dirty="0"/>
              <a:t>Maecenas porttitor congue massa. Fusce posuere, magna sed pulvinar ultricies, purus</a:t>
            </a:r>
          </a:p>
          <a:p>
            <a:pPr lvl="2"/>
            <a:r>
              <a:rPr lang="en-US" dirty="0"/>
              <a:t>Nunc viverra imperdiet enim. Fusce est. Vivamus a tellus.</a:t>
            </a:r>
          </a:p>
          <a:p>
            <a:pPr lvl="2"/>
            <a:r>
              <a:rPr lang="en-US" dirty="0"/>
              <a:t>Pellentesque habitant morbi tristique senectus et netus et malesuada</a:t>
            </a:r>
          </a:p>
          <a:p>
            <a:pPr lvl="3"/>
            <a:r>
              <a:rPr lang="en-US" dirty="0"/>
              <a:t>fames ac turpis egestas. Proin pharetra nonummy pede. Mauris et orci.</a:t>
            </a:r>
          </a:p>
          <a:p>
            <a:endParaRPr lang="en-US" dirty="0"/>
          </a:p>
          <a:p>
            <a:endParaRPr lang="en-US" dirty="0"/>
          </a:p>
        </p:txBody>
      </p:sp>
      <p:sp>
        <p:nvSpPr>
          <p:cNvPr id="5" name="Inhaltsplatzhalter 4">
            <a:extLst>
              <a:ext uri="{FF2B5EF4-FFF2-40B4-BE49-F238E27FC236}">
                <a16:creationId xmlns:a16="http://schemas.microsoft.com/office/drawing/2014/main" id="{903C357B-9D89-4040-AE79-84CA1F9706F5}"/>
              </a:ext>
            </a:extLst>
          </p:cNvPr>
          <p:cNvSpPr>
            <a:spLocks noGrp="1"/>
          </p:cNvSpPr>
          <p:nvPr>
            <p:ph sz="quarter" idx="14"/>
          </p:nvPr>
        </p:nvSpPr>
        <p:spPr bwMode="gray"/>
        <p:txBody>
          <a:bodyPr/>
          <a:lstStyle/>
          <a:p>
            <a:r>
              <a:rPr lang="en-US" dirty="0"/>
              <a:t>Lorem ipsum dolor sit amet, consectetuer adipiscing elit</a:t>
            </a:r>
          </a:p>
          <a:p>
            <a:pPr lvl="1"/>
            <a:r>
              <a:rPr lang="en-US" dirty="0"/>
              <a:t>Maecenas porttitor congue massa. Fusce posuere, magna sed pulvinar ultricies, purus</a:t>
            </a:r>
          </a:p>
          <a:p>
            <a:pPr lvl="2"/>
            <a:r>
              <a:rPr lang="en-US" dirty="0"/>
              <a:t>Nunc viverra imperdiet enim. Fusce est. Vivamus a tellus.</a:t>
            </a:r>
          </a:p>
          <a:p>
            <a:pPr lvl="2"/>
            <a:r>
              <a:rPr lang="en-US" dirty="0"/>
              <a:t>Pellentesque habitant morbi tristique senectus et netus et malesuada</a:t>
            </a:r>
          </a:p>
          <a:p>
            <a:pPr lvl="3"/>
            <a:r>
              <a:rPr lang="en-US" dirty="0"/>
              <a:t>fames ac turpis egestas. Proin pharetra nonummy pede. Mauris et orci.</a:t>
            </a:r>
          </a:p>
          <a:p>
            <a:endParaRPr lang="en-US" dirty="0"/>
          </a:p>
          <a:p>
            <a:endParaRPr lang="en-US" dirty="0"/>
          </a:p>
        </p:txBody>
      </p:sp>
      <p:graphicFrame>
        <p:nvGraphicFramePr>
          <p:cNvPr id="9" name="Inhaltsplatzhalter 8">
            <a:extLst>
              <a:ext uri="{FF2B5EF4-FFF2-40B4-BE49-F238E27FC236}">
                <a16:creationId xmlns:a16="http://schemas.microsoft.com/office/drawing/2014/main" id="{161664B1-8A00-41A7-A9BD-908346C61616}"/>
              </a:ext>
            </a:extLst>
          </p:cNvPr>
          <p:cNvGraphicFramePr>
            <a:graphicFrameLocks noGrp="1"/>
          </p:cNvGraphicFramePr>
          <p:nvPr>
            <p:ph sz="quarter" idx="15"/>
            <p:extLst>
              <p:ext uri="{D42A27DB-BD31-4B8C-83A1-F6EECF244321}">
                <p14:modId xmlns:p14="http://schemas.microsoft.com/office/powerpoint/2010/main" val="3447212897"/>
              </p:ext>
            </p:extLst>
          </p:nvPr>
        </p:nvGraphicFramePr>
        <p:xfrm>
          <a:off x="8183563" y="1773238"/>
          <a:ext cx="3384550" cy="4535487"/>
        </p:xfrm>
        <a:graphic>
          <a:graphicData uri="http://schemas.openxmlformats.org/drawingml/2006/chart">
            <c:chart xmlns:c="http://schemas.openxmlformats.org/drawingml/2006/chart" xmlns:r="http://schemas.openxmlformats.org/officeDocument/2006/relationships" r:id="rId2"/>
          </a:graphicData>
        </a:graphic>
      </p:graphicFrame>
      <p:sp>
        <p:nvSpPr>
          <p:cNvPr id="6" name="Fußzeilenplatzhalter 5">
            <a:extLst>
              <a:ext uri="{FF2B5EF4-FFF2-40B4-BE49-F238E27FC236}">
                <a16:creationId xmlns:a16="http://schemas.microsoft.com/office/drawing/2014/main" id="{6998EA5B-AF42-4F76-8DDD-D32BC821BEF2}"/>
              </a:ext>
            </a:extLst>
          </p:cNvPr>
          <p:cNvSpPr>
            <a:spLocks noGrp="1"/>
          </p:cNvSpPr>
          <p:nvPr>
            <p:ph type="ftr" sz="quarter" idx="16"/>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D591AD27-4B07-488E-86DD-43A409220576}"/>
              </a:ext>
            </a:extLst>
          </p:cNvPr>
          <p:cNvSpPr>
            <a:spLocks noGrp="1"/>
          </p:cNvSpPr>
          <p:nvPr>
            <p:ph type="sldNum" sz="quarter" idx="12"/>
          </p:nvPr>
        </p:nvSpPr>
        <p:spPr/>
        <p:txBody>
          <a:bodyPr/>
          <a:lstStyle/>
          <a:p>
            <a:fld id="{CE82B8A1-0CCE-4815-9668-383D7DE7D8B4}" type="slidenum">
              <a:rPr lang="en-US" noProof="0" smtClean="0"/>
              <a:t>12</a:t>
            </a:fld>
            <a:endParaRPr lang="en-US" noProof="0" dirty="0"/>
          </a:p>
        </p:txBody>
      </p:sp>
    </p:spTree>
    <p:extLst>
      <p:ext uri="{BB962C8B-B14F-4D97-AF65-F5344CB8AC3E}">
        <p14:creationId xmlns:p14="http://schemas.microsoft.com/office/powerpoint/2010/main" val="395925046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9F11CC5B-8648-4D57-8E48-1627FC828AA0}"/>
              </a:ext>
            </a:extLst>
          </p:cNvPr>
          <p:cNvPicPr>
            <a:picLocks noChangeAspect="1"/>
          </p:cNvPicPr>
          <p:nvPr/>
        </p:nvPicPr>
        <p:blipFill rotWithShape="1">
          <a:blip r:embed="rId2">
            <a:extLst>
              <a:ext uri="{28A0092B-C50C-407E-A947-70E740481C1C}">
                <a14:useLocalDpi xmlns:a14="http://schemas.microsoft.com/office/drawing/2010/main" val="0"/>
              </a:ext>
            </a:extLst>
          </a:blip>
          <a:srcRect t="9067" b="10965"/>
          <a:stretch/>
        </p:blipFill>
        <p:spPr bwMode="gray">
          <a:xfrm>
            <a:off x="192656" y="188912"/>
            <a:ext cx="11808000" cy="6480175"/>
          </a:xfrm>
          <a:prstGeom prst="rect">
            <a:avLst/>
          </a:prstGeom>
        </p:spPr>
      </p:pic>
      <p:sp>
        <p:nvSpPr>
          <p:cNvPr id="16" name="Textplatzhalter 3">
            <a:extLst>
              <a:ext uri="{FF2B5EF4-FFF2-40B4-BE49-F238E27FC236}">
                <a16:creationId xmlns:a16="http://schemas.microsoft.com/office/drawing/2014/main" id="{6A9E6780-5E17-42B1-B245-F816EB5CFBE0}"/>
              </a:ext>
            </a:extLst>
          </p:cNvPr>
          <p:cNvSpPr txBox="1">
            <a:spLocks/>
          </p:cNvSpPr>
          <p:nvPr/>
        </p:nvSpPr>
        <p:spPr bwMode="gray">
          <a:xfrm>
            <a:off x="6311900" y="4869320"/>
            <a:ext cx="5256708" cy="1440000"/>
          </a:xfrm>
          <a:prstGeom prst="rect">
            <a:avLst/>
          </a:prstGeom>
        </p:spPr>
        <p:txBody>
          <a:bodyPr wrap="squar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r">
              <a:lnSpc>
                <a:spcPct val="80000"/>
              </a:lnSpc>
            </a:pPr>
            <a:r>
              <a:rPr lang="en-US" sz="5000" dirty="0">
                <a:solidFill>
                  <a:schemeClr val="accent2"/>
                </a:solidFill>
              </a:rPr>
              <a:t>Implementation:</a:t>
            </a:r>
          </a:p>
          <a:p>
            <a:pPr algn="r">
              <a:lnSpc>
                <a:spcPct val="80000"/>
              </a:lnSpc>
            </a:pPr>
            <a:r>
              <a:rPr lang="en-US" sz="5000" dirty="0">
                <a:solidFill>
                  <a:schemeClr val="accent2"/>
                </a:solidFill>
              </a:rPr>
              <a:t>Lorem Ipsum</a:t>
            </a:r>
          </a:p>
        </p:txBody>
      </p:sp>
      <p:sp>
        <p:nvSpPr>
          <p:cNvPr id="17" name="Textplatzhalter 3">
            <a:extLst>
              <a:ext uri="{FF2B5EF4-FFF2-40B4-BE49-F238E27FC236}">
                <a16:creationId xmlns:a16="http://schemas.microsoft.com/office/drawing/2014/main" id="{0D562825-F83D-41D7-86B3-E6090F90FCED}"/>
              </a:ext>
            </a:extLst>
          </p:cNvPr>
          <p:cNvSpPr txBox="1">
            <a:spLocks/>
          </p:cNvSpPr>
          <p:nvPr/>
        </p:nvSpPr>
        <p:spPr bwMode="gray">
          <a:xfrm>
            <a:off x="6311900" y="4509120"/>
            <a:ext cx="5256213" cy="288000"/>
          </a:xfrm>
          <a:prstGeom prst="rect">
            <a:avLst/>
          </a:prstGeom>
        </p:spPr>
        <p:txBody>
          <a:bodyPr wrap="squar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r">
              <a:lnSpc>
                <a:spcPct val="80000"/>
              </a:lnSpc>
            </a:pPr>
            <a:r>
              <a:rPr lang="en-US" sz="2000" dirty="0">
                <a:solidFill>
                  <a:schemeClr val="bg1"/>
                </a:solidFill>
              </a:rPr>
              <a:t>STEP 02</a:t>
            </a:r>
          </a:p>
        </p:txBody>
      </p:sp>
      <p:sp>
        <p:nvSpPr>
          <p:cNvPr id="18" name="Textplatzhalter 15">
            <a:extLst>
              <a:ext uri="{FF2B5EF4-FFF2-40B4-BE49-F238E27FC236}">
                <a16:creationId xmlns:a16="http://schemas.microsoft.com/office/drawing/2014/main" id="{767C00E3-EA27-4BEC-9646-9320E93FDE8D}"/>
              </a:ext>
            </a:extLst>
          </p:cNvPr>
          <p:cNvSpPr txBox="1">
            <a:spLocks/>
          </p:cNvSpPr>
          <p:nvPr/>
        </p:nvSpPr>
        <p:spPr bwMode="gray">
          <a:xfrm>
            <a:off x="8328248" y="1628944"/>
            <a:ext cx="2880320" cy="1296000"/>
          </a:xfrm>
          <a:prstGeom prst="rect">
            <a:avLst/>
          </a:prstGeom>
        </p:spPr>
        <p:txBody>
          <a:bodyPr lIns="0" tIns="0" rIns="0" bIns="0" anchor="b"/>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dirty="0">
                <a:solidFill>
                  <a:schemeClr val="bg1"/>
                </a:solidFill>
              </a:rPr>
              <a:t>Lorem ipsum dolor sit amet, consectetuer adipiscing elit.</a:t>
            </a:r>
          </a:p>
          <a:p>
            <a:pPr lvl="1"/>
            <a:r>
              <a:rPr lang="en-US" dirty="0">
                <a:solidFill>
                  <a:schemeClr val="bg1"/>
                </a:solidFill>
              </a:rPr>
              <a:t>Maecenas porttitor congue massa. Fusce posuere, magna sed pulvinar</a:t>
            </a:r>
          </a:p>
        </p:txBody>
      </p:sp>
      <p:cxnSp>
        <p:nvCxnSpPr>
          <p:cNvPr id="19" name="Gerader Verbinder 18">
            <a:extLst>
              <a:ext uri="{FF2B5EF4-FFF2-40B4-BE49-F238E27FC236}">
                <a16:creationId xmlns:a16="http://schemas.microsoft.com/office/drawing/2014/main" id="{523D9101-0CB4-445B-A12B-8C93A57AEB2F}"/>
              </a:ext>
            </a:extLst>
          </p:cNvPr>
          <p:cNvCxnSpPr>
            <a:cxnSpLocks/>
          </p:cNvCxnSpPr>
          <p:nvPr/>
        </p:nvCxnSpPr>
        <p:spPr bwMode="gray">
          <a:xfrm flipV="1">
            <a:off x="6762750" y="2852938"/>
            <a:ext cx="1421482" cy="3093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9F47D502-7A5A-40D0-8A4E-DD41716B7FC3}"/>
              </a:ext>
            </a:extLst>
          </p:cNvPr>
          <p:cNvCxnSpPr>
            <a:cxnSpLocks/>
          </p:cNvCxnSpPr>
          <p:nvPr/>
        </p:nvCxnSpPr>
        <p:spPr bwMode="gray">
          <a:xfrm flipV="1">
            <a:off x="3719736" y="3390900"/>
            <a:ext cx="1842864" cy="2000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C8DEECB9-33B6-4A9B-8E4B-B6078B869DA5}"/>
              </a:ext>
            </a:extLst>
          </p:cNvPr>
          <p:cNvCxnSpPr>
            <a:cxnSpLocks/>
          </p:cNvCxnSpPr>
          <p:nvPr/>
        </p:nvCxnSpPr>
        <p:spPr bwMode="gray">
          <a:xfrm>
            <a:off x="3296195" y="1799729"/>
            <a:ext cx="2218780" cy="113397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B616B24F-CE9F-48C6-8A01-9F25EDED0F90}"/>
              </a:ext>
            </a:extLst>
          </p:cNvPr>
          <p:cNvCxnSpPr>
            <a:cxnSpLocks/>
          </p:cNvCxnSpPr>
          <p:nvPr/>
        </p:nvCxnSpPr>
        <p:spPr bwMode="gray">
          <a:xfrm flipV="1">
            <a:off x="5264941" y="3714750"/>
            <a:ext cx="592934" cy="85854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platzhalter 15">
            <a:extLst>
              <a:ext uri="{FF2B5EF4-FFF2-40B4-BE49-F238E27FC236}">
                <a16:creationId xmlns:a16="http://schemas.microsoft.com/office/drawing/2014/main" id="{88C16713-0A92-4E80-87C2-3B4267CCD353}"/>
              </a:ext>
            </a:extLst>
          </p:cNvPr>
          <p:cNvSpPr txBox="1">
            <a:spLocks/>
          </p:cNvSpPr>
          <p:nvPr/>
        </p:nvSpPr>
        <p:spPr bwMode="gray">
          <a:xfrm>
            <a:off x="4296295" y="4653136"/>
            <a:ext cx="2447777" cy="1296000"/>
          </a:xfrm>
          <a:prstGeom prst="rect">
            <a:avLst/>
          </a:prstGeom>
        </p:spPr>
        <p:txBody>
          <a:bodyPr lIns="0" tIns="0" rIns="0" bIns="0" anchor="t" anchorCtr="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dirty="0">
                <a:solidFill>
                  <a:schemeClr val="bg1"/>
                </a:solidFill>
              </a:rPr>
              <a:t>Lorem ipsum dolor sit amet, consectetuer elit.</a:t>
            </a:r>
          </a:p>
          <a:p>
            <a:pPr lvl="1"/>
            <a:r>
              <a:rPr lang="en-US" dirty="0">
                <a:solidFill>
                  <a:schemeClr val="bg1"/>
                </a:solidFill>
              </a:rPr>
              <a:t>Maecenas porttitor congue massa. Fusce posuere, magna sed pulvinar</a:t>
            </a:r>
          </a:p>
        </p:txBody>
      </p:sp>
      <p:sp>
        <p:nvSpPr>
          <p:cNvPr id="24" name="Textplatzhalter 15">
            <a:extLst>
              <a:ext uri="{FF2B5EF4-FFF2-40B4-BE49-F238E27FC236}">
                <a16:creationId xmlns:a16="http://schemas.microsoft.com/office/drawing/2014/main" id="{1AB722F1-3D13-4CCD-AD5D-D15F83931719}"/>
              </a:ext>
            </a:extLst>
          </p:cNvPr>
          <p:cNvSpPr txBox="1">
            <a:spLocks/>
          </p:cNvSpPr>
          <p:nvPr/>
        </p:nvSpPr>
        <p:spPr bwMode="gray">
          <a:xfrm>
            <a:off x="1127448" y="3429144"/>
            <a:ext cx="2447777" cy="1296000"/>
          </a:xfrm>
          <a:prstGeom prst="rect">
            <a:avLst/>
          </a:prstGeom>
        </p:spPr>
        <p:txBody>
          <a:bodyPr lIns="0" tIns="0" rIns="0" bIns="0" anchor="t" anchorCtr="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lgn="r"/>
            <a:r>
              <a:rPr lang="en-US" dirty="0">
                <a:solidFill>
                  <a:schemeClr val="bg1"/>
                </a:solidFill>
              </a:rPr>
              <a:t>Lorem ipsum dolor sit amet, consectetuer elit.</a:t>
            </a:r>
          </a:p>
          <a:p>
            <a:pPr lvl="1" algn="r"/>
            <a:r>
              <a:rPr lang="en-US" dirty="0">
                <a:solidFill>
                  <a:schemeClr val="bg1"/>
                </a:solidFill>
              </a:rPr>
              <a:t>Maecenas porttitor congue massa. Fusce posuere, magna sed pulvinar</a:t>
            </a:r>
          </a:p>
        </p:txBody>
      </p:sp>
      <p:sp>
        <p:nvSpPr>
          <p:cNvPr id="25" name="Textplatzhalter 15">
            <a:extLst>
              <a:ext uri="{FF2B5EF4-FFF2-40B4-BE49-F238E27FC236}">
                <a16:creationId xmlns:a16="http://schemas.microsoft.com/office/drawing/2014/main" id="{006BC8CE-E92C-4A9F-9666-77403F589C7B}"/>
              </a:ext>
            </a:extLst>
          </p:cNvPr>
          <p:cNvSpPr txBox="1">
            <a:spLocks/>
          </p:cNvSpPr>
          <p:nvPr/>
        </p:nvSpPr>
        <p:spPr bwMode="gray">
          <a:xfrm>
            <a:off x="623889" y="1340912"/>
            <a:ext cx="2519784" cy="1296000"/>
          </a:xfrm>
          <a:prstGeom prst="rect">
            <a:avLst/>
          </a:prstGeom>
        </p:spPr>
        <p:txBody>
          <a:bodyPr lIns="0" tIns="0" rIns="0" bIns="0" anchor="t" anchorCtr="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lgn="r"/>
            <a:r>
              <a:rPr lang="en-US" dirty="0">
                <a:solidFill>
                  <a:schemeClr val="bg1"/>
                </a:solidFill>
              </a:rPr>
              <a:t>Lorem ipsum dolor sit amet, consectetuer elit.</a:t>
            </a:r>
          </a:p>
          <a:p>
            <a:pPr lvl="1" algn="r"/>
            <a:r>
              <a:rPr lang="en-US" dirty="0">
                <a:solidFill>
                  <a:schemeClr val="bg1"/>
                </a:solidFill>
              </a:rPr>
              <a:t>Maecenas porttitor congue massa. Fusce posuere, magna sed pulvinar</a:t>
            </a:r>
          </a:p>
        </p:txBody>
      </p:sp>
      <p:sp>
        <p:nvSpPr>
          <p:cNvPr id="2" name="Fußzeilenplatzhalter 1">
            <a:extLst>
              <a:ext uri="{FF2B5EF4-FFF2-40B4-BE49-F238E27FC236}">
                <a16:creationId xmlns:a16="http://schemas.microsoft.com/office/drawing/2014/main" id="{B639525E-E504-4D1C-8482-D0A56084A84D}"/>
              </a:ext>
            </a:extLst>
          </p:cNvPr>
          <p:cNvSpPr>
            <a:spLocks noGrp="1"/>
          </p:cNvSpPr>
          <p:nvPr>
            <p:ph type="ftr" sz="quarter" idx="13"/>
          </p:nvPr>
        </p:nvSpPr>
        <p:spPr bwMode="gray"/>
        <p:txBody>
          <a:bodyPr/>
          <a:lstStyle/>
          <a:p>
            <a:r>
              <a:rPr lang="en-US">
                <a:solidFill>
                  <a:schemeClr val="bg1"/>
                </a:solidFill>
              </a:rPr>
              <a:t>Footnote: Please insert appropriate company</a:t>
            </a:r>
            <a:endParaRPr lang="de-DE" dirty="0">
              <a:solidFill>
                <a:schemeClr val="bg1"/>
              </a:solidFill>
            </a:endParaRPr>
          </a:p>
        </p:txBody>
      </p:sp>
      <p:sp>
        <p:nvSpPr>
          <p:cNvPr id="3" name="Foliennummernplatzhalter 2">
            <a:extLst>
              <a:ext uri="{FF2B5EF4-FFF2-40B4-BE49-F238E27FC236}">
                <a16:creationId xmlns:a16="http://schemas.microsoft.com/office/drawing/2014/main" id="{8754C804-EEE5-4C26-B3CA-0842AFBB123E}"/>
              </a:ext>
            </a:extLst>
          </p:cNvPr>
          <p:cNvSpPr>
            <a:spLocks noGrp="1"/>
          </p:cNvSpPr>
          <p:nvPr>
            <p:ph type="sldNum" sz="quarter" idx="12"/>
          </p:nvPr>
        </p:nvSpPr>
        <p:spPr/>
        <p:txBody>
          <a:bodyPr/>
          <a:lstStyle/>
          <a:p>
            <a:fld id="{CE82B8A1-0CCE-4815-9668-383D7DE7D8B4}" type="slidenum">
              <a:rPr lang="en-US" smtClean="0"/>
              <a:t>120</a:t>
            </a:fld>
            <a:endParaRPr lang="en-US" dirty="0"/>
          </a:p>
        </p:txBody>
      </p:sp>
    </p:spTree>
    <p:extLst>
      <p:ext uri="{BB962C8B-B14F-4D97-AF65-F5344CB8AC3E}">
        <p14:creationId xmlns:p14="http://schemas.microsoft.com/office/powerpoint/2010/main" val="4020939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down)">
                                      <p:cBhvr>
                                        <p:cTn id="7" dur="500"/>
                                        <p:tgtEl>
                                          <p:spTgt spid="19"/>
                                        </p:tgtEl>
                                      </p:cBhvr>
                                    </p:animEffect>
                                  </p:childTnLst>
                                </p:cTn>
                              </p:par>
                              <p:par>
                                <p:cTn id="8" presetID="47"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anim calcmode="lin" valueType="num">
                                      <p:cBhvr>
                                        <p:cTn id="11" dur="1000" fill="hold"/>
                                        <p:tgtEl>
                                          <p:spTgt spid="18"/>
                                        </p:tgtEl>
                                        <p:attrNameLst>
                                          <p:attrName>ppt_x</p:attrName>
                                        </p:attrNameLst>
                                      </p:cBhvr>
                                      <p:tavLst>
                                        <p:tav tm="0">
                                          <p:val>
                                            <p:strVal val="#ppt_x"/>
                                          </p:val>
                                        </p:tav>
                                        <p:tav tm="100000">
                                          <p:val>
                                            <p:strVal val="#ppt_x"/>
                                          </p:val>
                                        </p:tav>
                                      </p:tavLst>
                                    </p:anim>
                                    <p:anim calcmode="lin" valueType="num">
                                      <p:cBhvr>
                                        <p:cTn id="12" dur="1000" fill="hold"/>
                                        <p:tgtEl>
                                          <p:spTgt spid="18"/>
                                        </p:tgtEl>
                                        <p:attrNameLst>
                                          <p:attrName>ppt_y</p:attrName>
                                        </p:attrNameLst>
                                      </p:cBhvr>
                                      <p:tavLst>
                                        <p:tav tm="0">
                                          <p:val>
                                            <p:strVal val="#ppt_y-.1"/>
                                          </p:val>
                                        </p:tav>
                                        <p:tav tm="100000">
                                          <p:val>
                                            <p:strVal val="#ppt_y"/>
                                          </p:val>
                                        </p:tav>
                                      </p:tavLst>
                                    </p:anim>
                                  </p:childTnLst>
                                </p:cTn>
                              </p:par>
                            </p:childTnLst>
                          </p:cTn>
                        </p:par>
                        <p:par>
                          <p:cTn id="13" fill="hold">
                            <p:stCondLst>
                              <p:cond delay="1000"/>
                            </p:stCondLst>
                            <p:childTnLst>
                              <p:par>
                                <p:cTn id="14" presetID="22" presetClass="entr" presetSubtype="8" fill="hold" nodeType="after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wipe(left)">
                                      <p:cBhvr>
                                        <p:cTn id="16" dur="500"/>
                                        <p:tgtEl>
                                          <p:spTgt spid="22"/>
                                        </p:tgtEl>
                                      </p:cBhvr>
                                    </p:animEffect>
                                  </p:childTnLst>
                                </p:cTn>
                              </p:par>
                              <p:par>
                                <p:cTn id="17" presetID="47"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1000"/>
                                        <p:tgtEl>
                                          <p:spTgt spid="23"/>
                                        </p:tgtEl>
                                      </p:cBhvr>
                                    </p:animEffect>
                                    <p:anim calcmode="lin" valueType="num">
                                      <p:cBhvr>
                                        <p:cTn id="20" dur="1000" fill="hold"/>
                                        <p:tgtEl>
                                          <p:spTgt spid="23"/>
                                        </p:tgtEl>
                                        <p:attrNameLst>
                                          <p:attrName>ppt_x</p:attrName>
                                        </p:attrNameLst>
                                      </p:cBhvr>
                                      <p:tavLst>
                                        <p:tav tm="0">
                                          <p:val>
                                            <p:strVal val="#ppt_x"/>
                                          </p:val>
                                        </p:tav>
                                        <p:tav tm="100000">
                                          <p:val>
                                            <p:strVal val="#ppt_x"/>
                                          </p:val>
                                        </p:tav>
                                      </p:tavLst>
                                    </p:anim>
                                    <p:anim calcmode="lin" valueType="num">
                                      <p:cBhvr>
                                        <p:cTn id="21" dur="1000" fill="hold"/>
                                        <p:tgtEl>
                                          <p:spTgt spid="23"/>
                                        </p:tgtEl>
                                        <p:attrNameLst>
                                          <p:attrName>ppt_y</p:attrName>
                                        </p:attrNameLst>
                                      </p:cBhvr>
                                      <p:tavLst>
                                        <p:tav tm="0">
                                          <p:val>
                                            <p:strVal val="#ppt_y-.1"/>
                                          </p:val>
                                        </p:tav>
                                        <p:tav tm="100000">
                                          <p:val>
                                            <p:strVal val="#ppt_y"/>
                                          </p:val>
                                        </p:tav>
                                      </p:tavLst>
                                    </p:anim>
                                  </p:childTnLst>
                                </p:cTn>
                              </p:par>
                            </p:childTnLst>
                          </p:cTn>
                        </p:par>
                        <p:par>
                          <p:cTn id="22" fill="hold">
                            <p:stCondLst>
                              <p:cond delay="2000"/>
                            </p:stCondLst>
                            <p:childTnLst>
                              <p:par>
                                <p:cTn id="23" presetID="22" presetClass="entr" presetSubtype="2" fill="hold" nodeType="after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wipe(right)">
                                      <p:cBhvr>
                                        <p:cTn id="25" dur="500"/>
                                        <p:tgtEl>
                                          <p:spTgt spid="20"/>
                                        </p:tgtEl>
                                      </p:cBhvr>
                                    </p:animEffect>
                                  </p:childTnLst>
                                </p:cTn>
                              </p:par>
                              <p:par>
                                <p:cTn id="26" presetID="42" presetClass="entr" presetSubtype="0" fill="hold" grpId="0" nodeType="with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1000"/>
                                        <p:tgtEl>
                                          <p:spTgt spid="24"/>
                                        </p:tgtEl>
                                      </p:cBhvr>
                                    </p:animEffect>
                                    <p:anim calcmode="lin" valueType="num">
                                      <p:cBhvr>
                                        <p:cTn id="29" dur="1000" fill="hold"/>
                                        <p:tgtEl>
                                          <p:spTgt spid="24"/>
                                        </p:tgtEl>
                                        <p:attrNameLst>
                                          <p:attrName>ppt_x</p:attrName>
                                        </p:attrNameLst>
                                      </p:cBhvr>
                                      <p:tavLst>
                                        <p:tav tm="0">
                                          <p:val>
                                            <p:strVal val="#ppt_x"/>
                                          </p:val>
                                        </p:tav>
                                        <p:tav tm="100000">
                                          <p:val>
                                            <p:strVal val="#ppt_x"/>
                                          </p:val>
                                        </p:tav>
                                      </p:tavLst>
                                    </p:anim>
                                    <p:anim calcmode="lin" valueType="num">
                                      <p:cBhvr>
                                        <p:cTn id="30" dur="1000" fill="hold"/>
                                        <p:tgtEl>
                                          <p:spTgt spid="24"/>
                                        </p:tgtEl>
                                        <p:attrNameLst>
                                          <p:attrName>ppt_y</p:attrName>
                                        </p:attrNameLst>
                                      </p:cBhvr>
                                      <p:tavLst>
                                        <p:tav tm="0">
                                          <p:val>
                                            <p:strVal val="#ppt_y+.1"/>
                                          </p:val>
                                        </p:tav>
                                        <p:tav tm="100000">
                                          <p:val>
                                            <p:strVal val="#ppt_y"/>
                                          </p:val>
                                        </p:tav>
                                      </p:tavLst>
                                    </p:anim>
                                  </p:childTnLst>
                                </p:cTn>
                              </p:par>
                            </p:childTnLst>
                          </p:cTn>
                        </p:par>
                        <p:par>
                          <p:cTn id="31" fill="hold">
                            <p:stCondLst>
                              <p:cond delay="3000"/>
                            </p:stCondLst>
                            <p:childTnLst>
                              <p:par>
                                <p:cTn id="32" presetID="22" presetClass="entr" presetSubtype="2" fill="hold" nodeType="after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wipe(right)">
                                      <p:cBhvr>
                                        <p:cTn id="34" dur="500"/>
                                        <p:tgtEl>
                                          <p:spTgt spid="21"/>
                                        </p:tgtEl>
                                      </p:cBhvr>
                                    </p:animEffect>
                                  </p:childTnLst>
                                </p:cTn>
                              </p:par>
                              <p:par>
                                <p:cTn id="35" presetID="42" presetClass="entr" presetSubtype="0" fill="hold" grpId="0" nodeType="with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1000"/>
                                        <p:tgtEl>
                                          <p:spTgt spid="25"/>
                                        </p:tgtEl>
                                      </p:cBhvr>
                                    </p:animEffect>
                                    <p:anim calcmode="lin" valueType="num">
                                      <p:cBhvr>
                                        <p:cTn id="38" dur="1000" fill="hold"/>
                                        <p:tgtEl>
                                          <p:spTgt spid="25"/>
                                        </p:tgtEl>
                                        <p:attrNameLst>
                                          <p:attrName>ppt_x</p:attrName>
                                        </p:attrNameLst>
                                      </p:cBhvr>
                                      <p:tavLst>
                                        <p:tav tm="0">
                                          <p:val>
                                            <p:strVal val="#ppt_x"/>
                                          </p:val>
                                        </p:tav>
                                        <p:tav tm="100000">
                                          <p:val>
                                            <p:strVal val="#ppt_x"/>
                                          </p:val>
                                        </p:tav>
                                      </p:tavLst>
                                    </p:anim>
                                    <p:anim calcmode="lin" valueType="num">
                                      <p:cBhvr>
                                        <p:cTn id="39"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3" grpId="0"/>
      <p:bldP spid="24" grpId="0"/>
      <p:bldP spid="25" grpId="0"/>
    </p:bld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Grafik 21">
            <a:extLst>
              <a:ext uri="{FF2B5EF4-FFF2-40B4-BE49-F238E27FC236}">
                <a16:creationId xmlns:a16="http://schemas.microsoft.com/office/drawing/2014/main" id="{24559C8D-7923-498B-AFEF-9055827BF4A7}"/>
              </a:ext>
            </a:extLst>
          </p:cNvPr>
          <p:cNvPicPr>
            <a:picLocks noChangeAspect="1"/>
          </p:cNvPicPr>
          <p:nvPr/>
        </p:nvPicPr>
        <p:blipFill rotWithShape="1">
          <a:blip r:embed="rId2">
            <a:extLst>
              <a:ext uri="{28A0092B-C50C-407E-A947-70E740481C1C}">
                <a14:useLocalDpi xmlns:a14="http://schemas.microsoft.com/office/drawing/2010/main" val="0"/>
              </a:ext>
            </a:extLst>
          </a:blip>
          <a:srcRect t="9067" b="10965"/>
          <a:stretch/>
        </p:blipFill>
        <p:spPr bwMode="gray">
          <a:xfrm>
            <a:off x="192656" y="188912"/>
            <a:ext cx="11808000" cy="6480175"/>
          </a:xfrm>
          <a:prstGeom prst="rect">
            <a:avLst/>
          </a:prstGeom>
        </p:spPr>
      </p:pic>
      <p:grpSp>
        <p:nvGrpSpPr>
          <p:cNvPr id="30" name="Gruppieren 29">
            <a:extLst>
              <a:ext uri="{FF2B5EF4-FFF2-40B4-BE49-F238E27FC236}">
                <a16:creationId xmlns:a16="http://schemas.microsoft.com/office/drawing/2014/main" id="{46B89CFD-C8E6-41ED-BEE2-8522EB9AB51D}"/>
              </a:ext>
            </a:extLst>
          </p:cNvPr>
          <p:cNvGrpSpPr/>
          <p:nvPr/>
        </p:nvGrpSpPr>
        <p:grpSpPr bwMode="gray">
          <a:xfrm>
            <a:off x="8550149" y="692696"/>
            <a:ext cx="3018459" cy="3096344"/>
            <a:chOff x="6528048" y="52476"/>
            <a:chExt cx="3018459" cy="3096344"/>
          </a:xfrm>
        </p:grpSpPr>
        <p:sp>
          <p:nvSpPr>
            <p:cNvPr id="15" name="Ellipse 14">
              <a:extLst>
                <a:ext uri="{FF2B5EF4-FFF2-40B4-BE49-F238E27FC236}">
                  <a16:creationId xmlns:a16="http://schemas.microsoft.com/office/drawing/2014/main" id="{039FCF4B-336D-4574-939D-628591DFA781}"/>
                </a:ext>
              </a:extLst>
            </p:cNvPr>
            <p:cNvSpPr/>
            <p:nvPr/>
          </p:nvSpPr>
          <p:spPr bwMode="gray">
            <a:xfrm>
              <a:off x="6528048" y="52476"/>
              <a:ext cx="2664148" cy="2664148"/>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sz="1600" dirty="0">
                <a:solidFill>
                  <a:schemeClr val="bg1"/>
                </a:solidFill>
              </a:endParaRPr>
            </a:p>
          </p:txBody>
        </p:sp>
        <p:graphicFrame>
          <p:nvGraphicFramePr>
            <p:cNvPr id="20" name="Diagramm 19">
              <a:extLst>
                <a:ext uri="{FF2B5EF4-FFF2-40B4-BE49-F238E27FC236}">
                  <a16:creationId xmlns:a16="http://schemas.microsoft.com/office/drawing/2014/main" id="{D2B6BDCA-D4FE-4E4C-9461-FB947371BC24}"/>
                </a:ext>
              </a:extLst>
            </p:cNvPr>
            <p:cNvGraphicFramePr/>
            <p:nvPr/>
          </p:nvGraphicFramePr>
          <p:xfrm>
            <a:off x="6528048" y="52476"/>
            <a:ext cx="2664148" cy="2664148"/>
          </p:xfrm>
          <a:graphic>
            <a:graphicData uri="http://schemas.openxmlformats.org/drawingml/2006/chart">
              <c:chart xmlns:c="http://schemas.openxmlformats.org/drawingml/2006/chart" xmlns:r="http://schemas.openxmlformats.org/officeDocument/2006/relationships" r:id="rId3"/>
            </a:graphicData>
          </a:graphic>
        </p:graphicFrame>
        <p:sp>
          <p:nvSpPr>
            <p:cNvPr id="23" name="Textplatzhalter 3">
              <a:extLst>
                <a:ext uri="{FF2B5EF4-FFF2-40B4-BE49-F238E27FC236}">
                  <a16:creationId xmlns:a16="http://schemas.microsoft.com/office/drawing/2014/main" id="{B5E7BC50-C56C-433F-A6EE-F73E3F48F14B}"/>
                </a:ext>
              </a:extLst>
            </p:cNvPr>
            <p:cNvSpPr txBox="1">
              <a:spLocks/>
            </p:cNvSpPr>
            <p:nvPr/>
          </p:nvSpPr>
          <p:spPr bwMode="gray">
            <a:xfrm>
              <a:off x="8322866" y="2716820"/>
              <a:ext cx="1223641" cy="432000"/>
            </a:xfrm>
            <a:prstGeom prst="rect">
              <a:avLst/>
            </a:prstGeom>
          </p:spPr>
          <p:txBody>
            <a:bodyPr wrap="squar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lnSpc>
                  <a:spcPct val="80000"/>
                </a:lnSpc>
              </a:pPr>
              <a:r>
                <a:rPr lang="en-US" sz="1600" dirty="0">
                  <a:solidFill>
                    <a:schemeClr val="bg1"/>
                  </a:solidFill>
                </a:rPr>
                <a:t>Are for this decision</a:t>
              </a:r>
            </a:p>
          </p:txBody>
        </p:sp>
      </p:grpSp>
      <p:grpSp>
        <p:nvGrpSpPr>
          <p:cNvPr id="29" name="Gruppieren 28">
            <a:extLst>
              <a:ext uri="{FF2B5EF4-FFF2-40B4-BE49-F238E27FC236}">
                <a16:creationId xmlns:a16="http://schemas.microsoft.com/office/drawing/2014/main" id="{91EDB64B-281F-4E4D-B7E6-6A52DAEB380F}"/>
              </a:ext>
            </a:extLst>
          </p:cNvPr>
          <p:cNvGrpSpPr/>
          <p:nvPr/>
        </p:nvGrpSpPr>
        <p:grpSpPr bwMode="gray">
          <a:xfrm>
            <a:off x="551384" y="1556840"/>
            <a:ext cx="2952328" cy="2008458"/>
            <a:chOff x="5081706" y="-113286"/>
            <a:chExt cx="4571671" cy="3110088"/>
          </a:xfrm>
        </p:grpSpPr>
        <p:sp>
          <p:nvSpPr>
            <p:cNvPr id="16" name="Ellipse 15">
              <a:extLst>
                <a:ext uri="{FF2B5EF4-FFF2-40B4-BE49-F238E27FC236}">
                  <a16:creationId xmlns:a16="http://schemas.microsoft.com/office/drawing/2014/main" id="{443D1636-58C6-410C-A96B-EF5AA0743E3C}"/>
                </a:ext>
              </a:extLst>
            </p:cNvPr>
            <p:cNvSpPr/>
            <p:nvPr/>
          </p:nvSpPr>
          <p:spPr bwMode="gray">
            <a:xfrm>
              <a:off x="6989228" y="332656"/>
              <a:ext cx="2664149" cy="2664146"/>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sz="1600" dirty="0">
                <a:solidFill>
                  <a:schemeClr val="bg1"/>
                </a:solidFill>
              </a:endParaRPr>
            </a:p>
          </p:txBody>
        </p:sp>
        <p:graphicFrame>
          <p:nvGraphicFramePr>
            <p:cNvPr id="21" name="Diagramm 20">
              <a:extLst>
                <a:ext uri="{FF2B5EF4-FFF2-40B4-BE49-F238E27FC236}">
                  <a16:creationId xmlns:a16="http://schemas.microsoft.com/office/drawing/2014/main" id="{1DC1AD17-B9EA-4C23-84F8-C68ADA676650}"/>
                </a:ext>
              </a:extLst>
            </p:cNvPr>
            <p:cNvGraphicFramePr/>
            <p:nvPr/>
          </p:nvGraphicFramePr>
          <p:xfrm>
            <a:off x="6989228" y="332656"/>
            <a:ext cx="2664149" cy="2664146"/>
          </p:xfrm>
          <a:graphic>
            <a:graphicData uri="http://schemas.openxmlformats.org/drawingml/2006/chart">
              <c:chart xmlns:c="http://schemas.openxmlformats.org/drawingml/2006/chart" xmlns:r="http://schemas.openxmlformats.org/officeDocument/2006/relationships" r:id="rId4"/>
            </a:graphicData>
          </a:graphic>
        </p:graphicFrame>
        <p:sp>
          <p:nvSpPr>
            <p:cNvPr id="24" name="Textplatzhalter 3">
              <a:extLst>
                <a:ext uri="{FF2B5EF4-FFF2-40B4-BE49-F238E27FC236}">
                  <a16:creationId xmlns:a16="http://schemas.microsoft.com/office/drawing/2014/main" id="{7E602D9B-F4EA-4E71-84F8-E8BE157714B5}"/>
                </a:ext>
              </a:extLst>
            </p:cNvPr>
            <p:cNvSpPr txBox="1">
              <a:spLocks/>
            </p:cNvSpPr>
            <p:nvPr/>
          </p:nvSpPr>
          <p:spPr bwMode="gray">
            <a:xfrm>
              <a:off x="5081706" y="-113286"/>
              <a:ext cx="2230082" cy="668950"/>
            </a:xfrm>
            <a:prstGeom prst="rect">
              <a:avLst/>
            </a:prstGeom>
          </p:spPr>
          <p:txBody>
            <a:bodyPr wrap="square" lIns="0" tIns="0" rIns="0" bIns="0" anchor="b"/>
            <a:lstStyle>
              <a:defPPr>
                <a:defRPr lang="de-DE"/>
              </a:defPPr>
              <a:lvl1pPr indent="0">
                <a:lnSpc>
                  <a:spcPct val="80000"/>
                </a:lnSpc>
                <a:spcBef>
                  <a:spcPts val="0"/>
                </a:spcBef>
                <a:buFont typeface="Arial" panose="020B0604020202020204" pitchFamily="34" charset="0"/>
                <a:buNone/>
                <a:defRPr sz="1600">
                  <a:solidFill>
                    <a:schemeClr val="bg1"/>
                  </a:solidFill>
                  <a:latin typeface="+mj-lt"/>
                </a:defRPr>
              </a:lvl1pPr>
              <a:lvl2pPr marL="0" indent="0" algn="ctr">
                <a:spcBef>
                  <a:spcPts val="0"/>
                </a:spcBef>
                <a:buFont typeface="Arial" panose="020B0604020202020204" pitchFamily="34" charset="0"/>
                <a:buNone/>
                <a:defRPr sz="6000">
                  <a:solidFill>
                    <a:schemeClr val="accent1"/>
                  </a:solidFill>
                  <a:latin typeface="+mj-lt"/>
                </a:defRPr>
              </a:lvl2pPr>
              <a:lvl3pPr marL="0" indent="0" algn="ctr">
                <a:spcBef>
                  <a:spcPts val="0"/>
                </a:spcBef>
                <a:buFont typeface="Symbol" panose="05050102010706020507" pitchFamily="18" charset="2"/>
                <a:buNone/>
                <a:defRPr sz="6000">
                  <a:solidFill>
                    <a:schemeClr val="accent1"/>
                  </a:solidFill>
                  <a:latin typeface="+mj-lt"/>
                </a:defRPr>
              </a:lvl3pPr>
              <a:lvl4pPr marL="0" indent="0" algn="ctr">
                <a:spcBef>
                  <a:spcPts val="0"/>
                </a:spcBef>
                <a:buFont typeface="Symbol" panose="05050102010706020507" pitchFamily="18" charset="2"/>
                <a:buNone/>
                <a:defRPr sz="6000">
                  <a:solidFill>
                    <a:schemeClr val="accent1"/>
                  </a:solidFill>
                  <a:latin typeface="+mj-lt"/>
                </a:defRPr>
              </a:lvl4pPr>
              <a:lvl5pPr marL="0" indent="0" algn="ctr">
                <a:spcBef>
                  <a:spcPts val="0"/>
                </a:spcBef>
                <a:buFont typeface="Symbol" panose="05050102010706020507" pitchFamily="18" charset="2"/>
                <a:buNone/>
                <a:defRPr sz="6000">
                  <a:solidFill>
                    <a:schemeClr val="accent1"/>
                  </a:solidFill>
                  <a:latin typeface="+mj-lt"/>
                </a:defRPr>
              </a:lvl5pPr>
              <a:lvl6pPr marL="0" indent="0" algn="ctr">
                <a:spcBef>
                  <a:spcPts val="0"/>
                </a:spcBef>
                <a:buFont typeface="Symbol" panose="05050102010706020507" pitchFamily="18" charset="2"/>
                <a:buNone/>
                <a:defRPr sz="6000">
                  <a:solidFill>
                    <a:schemeClr val="accent1"/>
                  </a:solidFill>
                  <a:latin typeface="+mj-lt"/>
                </a:defRPr>
              </a:lvl6pPr>
              <a:lvl7pPr marL="0" indent="0" algn="ctr">
                <a:spcBef>
                  <a:spcPts val="0"/>
                </a:spcBef>
                <a:buFont typeface="Symbol" panose="05050102010706020507" pitchFamily="18" charset="2"/>
                <a:buNone/>
                <a:defRPr sz="6000">
                  <a:solidFill>
                    <a:schemeClr val="accent1"/>
                  </a:solidFill>
                  <a:latin typeface="+mj-lt"/>
                </a:defRPr>
              </a:lvl7pPr>
              <a:lvl8pPr marL="0" indent="0" algn="ctr">
                <a:spcBef>
                  <a:spcPts val="0"/>
                </a:spcBef>
                <a:buFont typeface="Symbol" panose="05050102010706020507" pitchFamily="18" charset="2"/>
                <a:buNone/>
                <a:defRPr sz="6000">
                  <a:solidFill>
                    <a:schemeClr val="accent1"/>
                  </a:solidFill>
                  <a:latin typeface="+mj-lt"/>
                </a:defRPr>
              </a:lvl8pPr>
              <a:lvl9pPr marL="0" indent="0" algn="ctr">
                <a:spcBef>
                  <a:spcPts val="0"/>
                </a:spcBef>
                <a:buFont typeface="Symbol" panose="05050102010706020507" pitchFamily="18" charset="2"/>
                <a:buNone/>
                <a:defRPr sz="6000">
                  <a:solidFill>
                    <a:schemeClr val="accent1"/>
                  </a:solidFill>
                  <a:latin typeface="+mj-lt"/>
                </a:defRPr>
              </a:lvl9pPr>
            </a:lstStyle>
            <a:p>
              <a:pPr algn="r"/>
              <a:r>
                <a:rPr lang="en-US" dirty="0"/>
                <a:t>Are</a:t>
              </a:r>
              <a:br>
                <a:rPr lang="en-US" dirty="0"/>
              </a:br>
              <a:r>
                <a:rPr lang="en-US" dirty="0"/>
                <a:t>undecided</a:t>
              </a:r>
            </a:p>
          </p:txBody>
        </p:sp>
      </p:grpSp>
      <p:grpSp>
        <p:nvGrpSpPr>
          <p:cNvPr id="28" name="Gruppieren 27">
            <a:extLst>
              <a:ext uri="{FF2B5EF4-FFF2-40B4-BE49-F238E27FC236}">
                <a16:creationId xmlns:a16="http://schemas.microsoft.com/office/drawing/2014/main" id="{2286B9EF-7BDC-4DA7-BB33-D646484F3E9A}"/>
              </a:ext>
            </a:extLst>
          </p:cNvPr>
          <p:cNvGrpSpPr/>
          <p:nvPr/>
        </p:nvGrpSpPr>
        <p:grpSpPr bwMode="gray">
          <a:xfrm>
            <a:off x="623888" y="4221134"/>
            <a:ext cx="3196908" cy="1970305"/>
            <a:chOff x="5779098" y="2308248"/>
            <a:chExt cx="4950402" cy="3051013"/>
          </a:xfrm>
        </p:grpSpPr>
        <p:sp>
          <p:nvSpPr>
            <p:cNvPr id="25" name="Ellipse 24">
              <a:extLst>
                <a:ext uri="{FF2B5EF4-FFF2-40B4-BE49-F238E27FC236}">
                  <a16:creationId xmlns:a16="http://schemas.microsoft.com/office/drawing/2014/main" id="{7F096D02-F6C8-430E-A241-2164C22936A7}"/>
                </a:ext>
              </a:extLst>
            </p:cNvPr>
            <p:cNvSpPr/>
            <p:nvPr/>
          </p:nvSpPr>
          <p:spPr bwMode="gray">
            <a:xfrm>
              <a:off x="8065353" y="2695111"/>
              <a:ext cx="2664147" cy="2664150"/>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sz="1600" dirty="0">
                <a:solidFill>
                  <a:schemeClr val="bg1"/>
                </a:solidFill>
              </a:endParaRPr>
            </a:p>
          </p:txBody>
        </p:sp>
        <p:graphicFrame>
          <p:nvGraphicFramePr>
            <p:cNvPr id="26" name="Diagramm 25">
              <a:extLst>
                <a:ext uri="{FF2B5EF4-FFF2-40B4-BE49-F238E27FC236}">
                  <a16:creationId xmlns:a16="http://schemas.microsoft.com/office/drawing/2014/main" id="{6950D717-D6BA-43EB-B00C-E88CB53978B0}"/>
                </a:ext>
              </a:extLst>
            </p:cNvPr>
            <p:cNvGraphicFramePr/>
            <p:nvPr/>
          </p:nvGraphicFramePr>
          <p:xfrm>
            <a:off x="8065353" y="2695111"/>
            <a:ext cx="2664147" cy="2664150"/>
          </p:xfrm>
          <a:graphic>
            <a:graphicData uri="http://schemas.openxmlformats.org/drawingml/2006/chart">
              <c:chart xmlns:c="http://schemas.openxmlformats.org/drawingml/2006/chart" xmlns:r="http://schemas.openxmlformats.org/officeDocument/2006/relationships" r:id="rId5"/>
            </a:graphicData>
          </a:graphic>
        </p:graphicFrame>
        <p:sp>
          <p:nvSpPr>
            <p:cNvPr id="27" name="Textplatzhalter 3">
              <a:extLst>
                <a:ext uri="{FF2B5EF4-FFF2-40B4-BE49-F238E27FC236}">
                  <a16:creationId xmlns:a16="http://schemas.microsoft.com/office/drawing/2014/main" id="{F805D654-798E-402A-A5E3-AF5D9FC0E5EC}"/>
                </a:ext>
              </a:extLst>
            </p:cNvPr>
            <p:cNvSpPr txBox="1">
              <a:spLocks/>
            </p:cNvSpPr>
            <p:nvPr/>
          </p:nvSpPr>
          <p:spPr bwMode="gray">
            <a:xfrm>
              <a:off x="5779098" y="2308248"/>
              <a:ext cx="2563591" cy="668951"/>
            </a:xfrm>
            <a:prstGeom prst="rect">
              <a:avLst/>
            </a:prstGeom>
          </p:spPr>
          <p:txBody>
            <a:bodyPr wrap="squar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r">
                <a:lnSpc>
                  <a:spcPct val="80000"/>
                </a:lnSpc>
              </a:pPr>
              <a:r>
                <a:rPr lang="en-US" sz="1600" dirty="0">
                  <a:solidFill>
                    <a:schemeClr val="bg1"/>
                  </a:solidFill>
                </a:rPr>
                <a:t>Are against </a:t>
              </a:r>
              <a:br>
                <a:rPr lang="en-US" sz="1600" dirty="0">
                  <a:solidFill>
                    <a:schemeClr val="bg1"/>
                  </a:solidFill>
                </a:rPr>
              </a:br>
              <a:r>
                <a:rPr lang="en-US" sz="1600" dirty="0">
                  <a:solidFill>
                    <a:schemeClr val="bg1"/>
                  </a:solidFill>
                </a:rPr>
                <a:t>this decision</a:t>
              </a:r>
            </a:p>
          </p:txBody>
        </p:sp>
      </p:grpSp>
      <p:sp>
        <p:nvSpPr>
          <p:cNvPr id="31" name="Textplatzhalter 3">
            <a:extLst>
              <a:ext uri="{FF2B5EF4-FFF2-40B4-BE49-F238E27FC236}">
                <a16:creationId xmlns:a16="http://schemas.microsoft.com/office/drawing/2014/main" id="{04F20E2E-3426-41E4-B6DC-DEF751483A24}"/>
              </a:ext>
            </a:extLst>
          </p:cNvPr>
          <p:cNvSpPr txBox="1">
            <a:spLocks/>
          </p:cNvSpPr>
          <p:nvPr/>
        </p:nvSpPr>
        <p:spPr bwMode="gray">
          <a:xfrm>
            <a:off x="6311900" y="4869320"/>
            <a:ext cx="5256708" cy="1440000"/>
          </a:xfrm>
          <a:prstGeom prst="rect">
            <a:avLst/>
          </a:prstGeom>
        </p:spPr>
        <p:txBody>
          <a:bodyPr wrap="squar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r">
              <a:lnSpc>
                <a:spcPct val="80000"/>
              </a:lnSpc>
            </a:pPr>
            <a:r>
              <a:rPr lang="en-US" sz="5000" dirty="0">
                <a:solidFill>
                  <a:schemeClr val="accent2"/>
                </a:solidFill>
              </a:rPr>
              <a:t>The Result:</a:t>
            </a:r>
          </a:p>
          <a:p>
            <a:pPr algn="r">
              <a:lnSpc>
                <a:spcPct val="80000"/>
              </a:lnSpc>
            </a:pPr>
            <a:r>
              <a:rPr lang="en-US" sz="5000" dirty="0">
                <a:solidFill>
                  <a:schemeClr val="accent2"/>
                </a:solidFill>
              </a:rPr>
              <a:t>Lorem Ipsum</a:t>
            </a:r>
          </a:p>
        </p:txBody>
      </p:sp>
      <p:sp>
        <p:nvSpPr>
          <p:cNvPr id="32" name="Textplatzhalter 3">
            <a:extLst>
              <a:ext uri="{FF2B5EF4-FFF2-40B4-BE49-F238E27FC236}">
                <a16:creationId xmlns:a16="http://schemas.microsoft.com/office/drawing/2014/main" id="{DCC0691B-9BE4-4129-A86B-C7FA7A8DE5FB}"/>
              </a:ext>
            </a:extLst>
          </p:cNvPr>
          <p:cNvSpPr txBox="1">
            <a:spLocks/>
          </p:cNvSpPr>
          <p:nvPr/>
        </p:nvSpPr>
        <p:spPr bwMode="gray">
          <a:xfrm>
            <a:off x="6311900" y="4509152"/>
            <a:ext cx="5256213" cy="288000"/>
          </a:xfrm>
          <a:prstGeom prst="rect">
            <a:avLst/>
          </a:prstGeom>
        </p:spPr>
        <p:txBody>
          <a:bodyPr wrap="squar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r">
              <a:lnSpc>
                <a:spcPct val="80000"/>
              </a:lnSpc>
            </a:pPr>
            <a:r>
              <a:rPr lang="en-US" sz="2000" dirty="0">
                <a:solidFill>
                  <a:schemeClr val="bg1"/>
                </a:solidFill>
              </a:rPr>
              <a:t>STEP 03</a:t>
            </a:r>
          </a:p>
        </p:txBody>
      </p:sp>
      <p:cxnSp>
        <p:nvCxnSpPr>
          <p:cNvPr id="33" name="Gerader Verbinder 32">
            <a:extLst>
              <a:ext uri="{FF2B5EF4-FFF2-40B4-BE49-F238E27FC236}">
                <a16:creationId xmlns:a16="http://schemas.microsoft.com/office/drawing/2014/main" id="{246230C6-70EC-4724-987D-2E442B42149E}"/>
              </a:ext>
            </a:extLst>
          </p:cNvPr>
          <p:cNvCxnSpPr>
            <a:cxnSpLocks/>
          </p:cNvCxnSpPr>
          <p:nvPr/>
        </p:nvCxnSpPr>
        <p:spPr bwMode="gray">
          <a:xfrm flipV="1">
            <a:off x="6819900" y="2533650"/>
            <a:ext cx="1666875" cy="55245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9CDB7B1A-B88B-4CDF-A61D-734421D0D48A}"/>
              </a:ext>
            </a:extLst>
          </p:cNvPr>
          <p:cNvCxnSpPr>
            <a:cxnSpLocks/>
          </p:cNvCxnSpPr>
          <p:nvPr/>
        </p:nvCxnSpPr>
        <p:spPr bwMode="gray">
          <a:xfrm flipH="1" flipV="1">
            <a:off x="3619500" y="2828925"/>
            <a:ext cx="1981201" cy="32385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5A7C3AE3-E49A-47BC-93A9-692E1F238CA3}"/>
              </a:ext>
            </a:extLst>
          </p:cNvPr>
          <p:cNvCxnSpPr>
            <a:cxnSpLocks/>
          </p:cNvCxnSpPr>
          <p:nvPr/>
        </p:nvCxnSpPr>
        <p:spPr bwMode="gray">
          <a:xfrm flipH="1">
            <a:off x="3838575" y="3810000"/>
            <a:ext cx="1638300" cy="104775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EDD83F49-D368-4FBE-B194-2E774840B22E}"/>
              </a:ext>
            </a:extLst>
          </p:cNvPr>
          <p:cNvSpPr>
            <a:spLocks noGrp="1"/>
          </p:cNvSpPr>
          <p:nvPr>
            <p:ph type="ftr" sz="quarter" idx="13"/>
          </p:nvPr>
        </p:nvSpPr>
        <p:spPr bwMode="gray"/>
        <p:txBody>
          <a:bodyPr/>
          <a:lstStyle/>
          <a:p>
            <a:r>
              <a:rPr lang="en-US">
                <a:solidFill>
                  <a:schemeClr val="bg1"/>
                </a:solidFill>
              </a:rPr>
              <a:t>Footnote: Please insert appropriate company</a:t>
            </a:r>
            <a:endParaRPr lang="de-DE" dirty="0">
              <a:solidFill>
                <a:schemeClr val="bg1"/>
              </a:solidFill>
            </a:endParaRPr>
          </a:p>
        </p:txBody>
      </p:sp>
      <p:sp>
        <p:nvSpPr>
          <p:cNvPr id="3" name="Foliennummernplatzhalter 2">
            <a:extLst>
              <a:ext uri="{FF2B5EF4-FFF2-40B4-BE49-F238E27FC236}">
                <a16:creationId xmlns:a16="http://schemas.microsoft.com/office/drawing/2014/main" id="{4AB41ADF-CF9F-4EEE-B2DA-DE19F18787BC}"/>
              </a:ext>
            </a:extLst>
          </p:cNvPr>
          <p:cNvSpPr>
            <a:spLocks noGrp="1"/>
          </p:cNvSpPr>
          <p:nvPr>
            <p:ph type="sldNum" sz="quarter" idx="12"/>
          </p:nvPr>
        </p:nvSpPr>
        <p:spPr/>
        <p:txBody>
          <a:bodyPr/>
          <a:lstStyle/>
          <a:p>
            <a:fld id="{CE82B8A1-0CCE-4815-9668-383D7DE7D8B4}" type="slidenum">
              <a:rPr lang="en-US" smtClean="0"/>
              <a:t>121</a:t>
            </a:fld>
            <a:endParaRPr lang="en-US" dirty="0"/>
          </a:p>
        </p:txBody>
      </p:sp>
    </p:spTree>
    <p:extLst>
      <p:ext uri="{BB962C8B-B14F-4D97-AF65-F5344CB8AC3E}">
        <p14:creationId xmlns:p14="http://schemas.microsoft.com/office/powerpoint/2010/main" val="1788609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wipe(down)">
                                      <p:cBhvr>
                                        <p:cTn id="7" dur="500"/>
                                        <p:tgtEl>
                                          <p:spTgt spid="40"/>
                                        </p:tgtEl>
                                      </p:cBhvr>
                                    </p:animEffect>
                                  </p:childTnLst>
                                </p:cTn>
                              </p:par>
                              <p:par>
                                <p:cTn id="8" presetID="53" presetClass="entr" presetSubtype="528" fill="hold" nodeType="withEffect">
                                  <p:stCondLst>
                                    <p:cond delay="0"/>
                                  </p:stCondLst>
                                  <p:childTnLst>
                                    <p:set>
                                      <p:cBhvr>
                                        <p:cTn id="9" dur="1" fill="hold">
                                          <p:stCondLst>
                                            <p:cond delay="0"/>
                                          </p:stCondLst>
                                        </p:cTn>
                                        <p:tgtEl>
                                          <p:spTgt spid="28"/>
                                        </p:tgtEl>
                                        <p:attrNameLst>
                                          <p:attrName>style.visibility</p:attrName>
                                        </p:attrNameLst>
                                      </p:cBhvr>
                                      <p:to>
                                        <p:strVal val="visible"/>
                                      </p:to>
                                    </p:set>
                                    <p:anim calcmode="lin" valueType="num">
                                      <p:cBhvr>
                                        <p:cTn id="10" dur="1000" fill="hold"/>
                                        <p:tgtEl>
                                          <p:spTgt spid="28"/>
                                        </p:tgtEl>
                                        <p:attrNameLst>
                                          <p:attrName>ppt_w</p:attrName>
                                        </p:attrNameLst>
                                      </p:cBhvr>
                                      <p:tavLst>
                                        <p:tav tm="0">
                                          <p:val>
                                            <p:fltVal val="0"/>
                                          </p:val>
                                        </p:tav>
                                        <p:tav tm="100000">
                                          <p:val>
                                            <p:strVal val="#ppt_w"/>
                                          </p:val>
                                        </p:tav>
                                      </p:tavLst>
                                    </p:anim>
                                    <p:anim calcmode="lin" valueType="num">
                                      <p:cBhvr>
                                        <p:cTn id="11" dur="1000" fill="hold"/>
                                        <p:tgtEl>
                                          <p:spTgt spid="28"/>
                                        </p:tgtEl>
                                        <p:attrNameLst>
                                          <p:attrName>ppt_h</p:attrName>
                                        </p:attrNameLst>
                                      </p:cBhvr>
                                      <p:tavLst>
                                        <p:tav tm="0">
                                          <p:val>
                                            <p:fltVal val="0"/>
                                          </p:val>
                                        </p:tav>
                                        <p:tav tm="100000">
                                          <p:val>
                                            <p:strVal val="#ppt_h"/>
                                          </p:val>
                                        </p:tav>
                                      </p:tavLst>
                                    </p:anim>
                                    <p:animEffect transition="in" filter="fade">
                                      <p:cBhvr>
                                        <p:cTn id="12" dur="1000"/>
                                        <p:tgtEl>
                                          <p:spTgt spid="28"/>
                                        </p:tgtEl>
                                      </p:cBhvr>
                                    </p:animEffect>
                                    <p:anim calcmode="lin" valueType="num">
                                      <p:cBhvr>
                                        <p:cTn id="13" dur="1000" fill="hold"/>
                                        <p:tgtEl>
                                          <p:spTgt spid="28"/>
                                        </p:tgtEl>
                                        <p:attrNameLst>
                                          <p:attrName>ppt_x</p:attrName>
                                        </p:attrNameLst>
                                      </p:cBhvr>
                                      <p:tavLst>
                                        <p:tav tm="0">
                                          <p:val>
                                            <p:fltVal val="0.5"/>
                                          </p:val>
                                        </p:tav>
                                        <p:tav tm="100000">
                                          <p:val>
                                            <p:strVal val="#ppt_x"/>
                                          </p:val>
                                        </p:tav>
                                      </p:tavLst>
                                    </p:anim>
                                    <p:anim calcmode="lin" valueType="num">
                                      <p:cBhvr>
                                        <p:cTn id="14" dur="1000" fill="hold"/>
                                        <p:tgtEl>
                                          <p:spTgt spid="28"/>
                                        </p:tgtEl>
                                        <p:attrNameLst>
                                          <p:attrName>ppt_y</p:attrName>
                                        </p:attrNameLst>
                                      </p:cBhvr>
                                      <p:tavLst>
                                        <p:tav tm="0">
                                          <p:val>
                                            <p:fltVal val="0.5"/>
                                          </p:val>
                                        </p:tav>
                                        <p:tav tm="100000">
                                          <p:val>
                                            <p:strVal val="#ppt_y"/>
                                          </p:val>
                                        </p:tav>
                                      </p:tavLst>
                                    </p:anim>
                                  </p:childTnLst>
                                </p:cTn>
                              </p:par>
                            </p:childTnLst>
                          </p:cTn>
                        </p:par>
                        <p:par>
                          <p:cTn id="15" fill="hold">
                            <p:stCondLst>
                              <p:cond delay="1000"/>
                            </p:stCondLst>
                            <p:childTnLst>
                              <p:par>
                                <p:cTn id="16" presetID="22" presetClass="entr" presetSubtype="4" fill="hold"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wipe(down)">
                                      <p:cBhvr>
                                        <p:cTn id="18" dur="500"/>
                                        <p:tgtEl>
                                          <p:spTgt spid="36"/>
                                        </p:tgtEl>
                                      </p:cBhvr>
                                    </p:animEffect>
                                  </p:childTnLst>
                                </p:cTn>
                              </p:par>
                              <p:par>
                                <p:cTn id="19" presetID="53" presetClass="entr" presetSubtype="528" fill="hold" nodeType="withEffect">
                                  <p:stCondLst>
                                    <p:cond delay="0"/>
                                  </p:stCondLst>
                                  <p:childTnLst>
                                    <p:set>
                                      <p:cBhvr>
                                        <p:cTn id="20" dur="1" fill="hold">
                                          <p:stCondLst>
                                            <p:cond delay="0"/>
                                          </p:stCondLst>
                                        </p:cTn>
                                        <p:tgtEl>
                                          <p:spTgt spid="29"/>
                                        </p:tgtEl>
                                        <p:attrNameLst>
                                          <p:attrName>style.visibility</p:attrName>
                                        </p:attrNameLst>
                                      </p:cBhvr>
                                      <p:to>
                                        <p:strVal val="visible"/>
                                      </p:to>
                                    </p:set>
                                    <p:anim calcmode="lin" valueType="num">
                                      <p:cBhvr>
                                        <p:cTn id="21" dur="1000" fill="hold"/>
                                        <p:tgtEl>
                                          <p:spTgt spid="29"/>
                                        </p:tgtEl>
                                        <p:attrNameLst>
                                          <p:attrName>ppt_w</p:attrName>
                                        </p:attrNameLst>
                                      </p:cBhvr>
                                      <p:tavLst>
                                        <p:tav tm="0">
                                          <p:val>
                                            <p:fltVal val="0"/>
                                          </p:val>
                                        </p:tav>
                                        <p:tav tm="100000">
                                          <p:val>
                                            <p:strVal val="#ppt_w"/>
                                          </p:val>
                                        </p:tav>
                                      </p:tavLst>
                                    </p:anim>
                                    <p:anim calcmode="lin" valueType="num">
                                      <p:cBhvr>
                                        <p:cTn id="22" dur="1000" fill="hold"/>
                                        <p:tgtEl>
                                          <p:spTgt spid="29"/>
                                        </p:tgtEl>
                                        <p:attrNameLst>
                                          <p:attrName>ppt_h</p:attrName>
                                        </p:attrNameLst>
                                      </p:cBhvr>
                                      <p:tavLst>
                                        <p:tav tm="0">
                                          <p:val>
                                            <p:fltVal val="0"/>
                                          </p:val>
                                        </p:tav>
                                        <p:tav tm="100000">
                                          <p:val>
                                            <p:strVal val="#ppt_h"/>
                                          </p:val>
                                        </p:tav>
                                      </p:tavLst>
                                    </p:anim>
                                    <p:animEffect transition="in" filter="fade">
                                      <p:cBhvr>
                                        <p:cTn id="23" dur="1000"/>
                                        <p:tgtEl>
                                          <p:spTgt spid="29"/>
                                        </p:tgtEl>
                                      </p:cBhvr>
                                    </p:animEffect>
                                    <p:anim calcmode="lin" valueType="num">
                                      <p:cBhvr>
                                        <p:cTn id="24" dur="1000" fill="hold"/>
                                        <p:tgtEl>
                                          <p:spTgt spid="29"/>
                                        </p:tgtEl>
                                        <p:attrNameLst>
                                          <p:attrName>ppt_x</p:attrName>
                                        </p:attrNameLst>
                                      </p:cBhvr>
                                      <p:tavLst>
                                        <p:tav tm="0">
                                          <p:val>
                                            <p:fltVal val="0.5"/>
                                          </p:val>
                                        </p:tav>
                                        <p:tav tm="100000">
                                          <p:val>
                                            <p:strVal val="#ppt_x"/>
                                          </p:val>
                                        </p:tav>
                                      </p:tavLst>
                                    </p:anim>
                                    <p:anim calcmode="lin" valueType="num">
                                      <p:cBhvr>
                                        <p:cTn id="25" dur="1000" fill="hold"/>
                                        <p:tgtEl>
                                          <p:spTgt spid="29"/>
                                        </p:tgtEl>
                                        <p:attrNameLst>
                                          <p:attrName>ppt_y</p:attrName>
                                        </p:attrNameLst>
                                      </p:cBhvr>
                                      <p:tavLst>
                                        <p:tav tm="0">
                                          <p:val>
                                            <p:fltVal val="0.5"/>
                                          </p:val>
                                        </p:tav>
                                        <p:tav tm="100000">
                                          <p:val>
                                            <p:strVal val="#ppt_y"/>
                                          </p:val>
                                        </p:tav>
                                      </p:tavLst>
                                    </p:anim>
                                  </p:childTnLst>
                                </p:cTn>
                              </p:par>
                            </p:childTnLst>
                          </p:cTn>
                        </p:par>
                        <p:par>
                          <p:cTn id="26" fill="hold">
                            <p:stCondLst>
                              <p:cond delay="2000"/>
                            </p:stCondLst>
                            <p:childTnLst>
                              <p:par>
                                <p:cTn id="27" presetID="22" presetClass="entr" presetSubtype="4" fill="hold" nodeType="afterEffect">
                                  <p:stCondLst>
                                    <p:cond delay="0"/>
                                  </p:stCondLst>
                                  <p:childTnLst>
                                    <p:set>
                                      <p:cBhvr>
                                        <p:cTn id="28" dur="1" fill="hold">
                                          <p:stCondLst>
                                            <p:cond delay="0"/>
                                          </p:stCondLst>
                                        </p:cTn>
                                        <p:tgtEl>
                                          <p:spTgt spid="33"/>
                                        </p:tgtEl>
                                        <p:attrNameLst>
                                          <p:attrName>style.visibility</p:attrName>
                                        </p:attrNameLst>
                                      </p:cBhvr>
                                      <p:to>
                                        <p:strVal val="visible"/>
                                      </p:to>
                                    </p:set>
                                    <p:animEffect transition="in" filter="wipe(down)">
                                      <p:cBhvr>
                                        <p:cTn id="29" dur="500"/>
                                        <p:tgtEl>
                                          <p:spTgt spid="33"/>
                                        </p:tgtEl>
                                      </p:cBhvr>
                                    </p:animEffect>
                                  </p:childTnLst>
                                </p:cTn>
                              </p:par>
                              <p:par>
                                <p:cTn id="30" presetID="53" presetClass="entr" presetSubtype="528" fill="hold" nodeType="withEffect">
                                  <p:stCondLst>
                                    <p:cond delay="0"/>
                                  </p:stCondLst>
                                  <p:childTnLst>
                                    <p:set>
                                      <p:cBhvr>
                                        <p:cTn id="31" dur="1" fill="hold">
                                          <p:stCondLst>
                                            <p:cond delay="0"/>
                                          </p:stCondLst>
                                        </p:cTn>
                                        <p:tgtEl>
                                          <p:spTgt spid="30"/>
                                        </p:tgtEl>
                                        <p:attrNameLst>
                                          <p:attrName>style.visibility</p:attrName>
                                        </p:attrNameLst>
                                      </p:cBhvr>
                                      <p:to>
                                        <p:strVal val="visible"/>
                                      </p:to>
                                    </p:set>
                                    <p:anim calcmode="lin" valueType="num">
                                      <p:cBhvr>
                                        <p:cTn id="32" dur="1000" fill="hold"/>
                                        <p:tgtEl>
                                          <p:spTgt spid="30"/>
                                        </p:tgtEl>
                                        <p:attrNameLst>
                                          <p:attrName>ppt_w</p:attrName>
                                        </p:attrNameLst>
                                      </p:cBhvr>
                                      <p:tavLst>
                                        <p:tav tm="0">
                                          <p:val>
                                            <p:fltVal val="0"/>
                                          </p:val>
                                        </p:tav>
                                        <p:tav tm="100000">
                                          <p:val>
                                            <p:strVal val="#ppt_w"/>
                                          </p:val>
                                        </p:tav>
                                      </p:tavLst>
                                    </p:anim>
                                    <p:anim calcmode="lin" valueType="num">
                                      <p:cBhvr>
                                        <p:cTn id="33" dur="1000" fill="hold"/>
                                        <p:tgtEl>
                                          <p:spTgt spid="30"/>
                                        </p:tgtEl>
                                        <p:attrNameLst>
                                          <p:attrName>ppt_h</p:attrName>
                                        </p:attrNameLst>
                                      </p:cBhvr>
                                      <p:tavLst>
                                        <p:tav tm="0">
                                          <p:val>
                                            <p:fltVal val="0"/>
                                          </p:val>
                                        </p:tav>
                                        <p:tav tm="100000">
                                          <p:val>
                                            <p:strVal val="#ppt_h"/>
                                          </p:val>
                                        </p:tav>
                                      </p:tavLst>
                                    </p:anim>
                                    <p:animEffect transition="in" filter="fade">
                                      <p:cBhvr>
                                        <p:cTn id="34" dur="1000"/>
                                        <p:tgtEl>
                                          <p:spTgt spid="30"/>
                                        </p:tgtEl>
                                      </p:cBhvr>
                                    </p:animEffect>
                                    <p:anim calcmode="lin" valueType="num">
                                      <p:cBhvr>
                                        <p:cTn id="35" dur="1000" fill="hold"/>
                                        <p:tgtEl>
                                          <p:spTgt spid="30"/>
                                        </p:tgtEl>
                                        <p:attrNameLst>
                                          <p:attrName>ppt_x</p:attrName>
                                        </p:attrNameLst>
                                      </p:cBhvr>
                                      <p:tavLst>
                                        <p:tav tm="0">
                                          <p:val>
                                            <p:fltVal val="0.5"/>
                                          </p:val>
                                        </p:tav>
                                        <p:tav tm="100000">
                                          <p:val>
                                            <p:strVal val="#ppt_x"/>
                                          </p:val>
                                        </p:tav>
                                      </p:tavLst>
                                    </p:anim>
                                    <p:anim calcmode="lin" valueType="num">
                                      <p:cBhvr>
                                        <p:cTn id="36" dur="1000" fill="hold"/>
                                        <p:tgtEl>
                                          <p:spTgt spid="30"/>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C176343D-E6D3-40F8-912D-4B6A9FF8B489}"/>
              </a:ext>
            </a:extLst>
          </p:cNvPr>
          <p:cNvSpPr txBox="1">
            <a:spLocks/>
          </p:cNvSpPr>
          <p:nvPr/>
        </p:nvSpPr>
        <p:spPr bwMode="gray">
          <a:xfrm>
            <a:off x="1971166" y="1268760"/>
            <a:ext cx="4463543" cy="1296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t>Conclusion</a:t>
            </a:r>
          </a:p>
        </p:txBody>
      </p:sp>
      <p:cxnSp>
        <p:nvCxnSpPr>
          <p:cNvPr id="5" name="Gerader Verbinder 4">
            <a:extLst>
              <a:ext uri="{FF2B5EF4-FFF2-40B4-BE49-F238E27FC236}">
                <a16:creationId xmlns:a16="http://schemas.microsoft.com/office/drawing/2014/main" id="{A383A2D4-F585-44F0-90F6-34C558AE4D96}"/>
              </a:ext>
            </a:extLst>
          </p:cNvPr>
          <p:cNvCxnSpPr/>
          <p:nvPr/>
        </p:nvCxnSpPr>
        <p:spPr bwMode="gray">
          <a:xfrm>
            <a:off x="4656287" y="2430413"/>
            <a:ext cx="129569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platzhalter 3">
            <a:extLst>
              <a:ext uri="{FF2B5EF4-FFF2-40B4-BE49-F238E27FC236}">
                <a16:creationId xmlns:a16="http://schemas.microsoft.com/office/drawing/2014/main" id="{273FAC2D-C8F8-4013-B42C-A0583D9E883D}"/>
              </a:ext>
            </a:extLst>
          </p:cNvPr>
          <p:cNvSpPr txBox="1">
            <a:spLocks/>
          </p:cNvSpPr>
          <p:nvPr/>
        </p:nvSpPr>
        <p:spPr bwMode="gray">
          <a:xfrm>
            <a:off x="1971166" y="2636912"/>
            <a:ext cx="8136000" cy="2592000"/>
          </a:xfrm>
          <a:prstGeom prst="rect">
            <a:avLst/>
          </a:prstGeom>
        </p:spPr>
        <p:txBody>
          <a:bodyPr wrap="squar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latin typeface="+mn-lt"/>
              </a:rPr>
              <a:t>Pellentesque habitant morbi tristique senectus et netus et malesuada fames ac turpis egestas. Proin pharetra nonummy pede. Mauris et orci.</a:t>
            </a:r>
          </a:p>
          <a:p>
            <a:pPr algn="l"/>
            <a:endParaRPr lang="en-US" sz="4000" dirty="0">
              <a:solidFill>
                <a:schemeClr val="accent5"/>
              </a:solidFill>
              <a:latin typeface="+mn-lt"/>
            </a:endParaRPr>
          </a:p>
        </p:txBody>
      </p:sp>
      <p:sp>
        <p:nvSpPr>
          <p:cNvPr id="3" name="Fußzeilenplatzhalter 2">
            <a:extLst>
              <a:ext uri="{FF2B5EF4-FFF2-40B4-BE49-F238E27FC236}">
                <a16:creationId xmlns:a16="http://schemas.microsoft.com/office/drawing/2014/main" id="{278070C7-66EC-4343-9B10-D1A2608A4271}"/>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F34AADB1-7EE4-4A31-B53A-53F053005597}"/>
              </a:ext>
            </a:extLst>
          </p:cNvPr>
          <p:cNvSpPr>
            <a:spLocks noGrp="1"/>
          </p:cNvSpPr>
          <p:nvPr>
            <p:ph type="sldNum" sz="quarter" idx="12"/>
          </p:nvPr>
        </p:nvSpPr>
        <p:spPr/>
        <p:txBody>
          <a:bodyPr/>
          <a:lstStyle/>
          <a:p>
            <a:fld id="{CE82B8A1-0CCE-4815-9668-383D7DE7D8B4}" type="slidenum">
              <a:rPr lang="en-US" smtClean="0"/>
              <a:t>122</a:t>
            </a:fld>
            <a:endParaRPr lang="en-US" dirty="0"/>
          </a:p>
        </p:txBody>
      </p:sp>
    </p:spTree>
    <p:extLst>
      <p:ext uri="{BB962C8B-B14F-4D97-AF65-F5344CB8AC3E}">
        <p14:creationId xmlns:p14="http://schemas.microsoft.com/office/powerpoint/2010/main" val="19443343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el 42">
            <a:extLst>
              <a:ext uri="{FF2B5EF4-FFF2-40B4-BE49-F238E27FC236}">
                <a16:creationId xmlns:a16="http://schemas.microsoft.com/office/drawing/2014/main" id="{CC308FDC-9FAE-4825-B92B-9F415358844B}"/>
              </a:ext>
            </a:extLst>
          </p:cNvPr>
          <p:cNvSpPr>
            <a:spLocks noGrp="1"/>
          </p:cNvSpPr>
          <p:nvPr>
            <p:ph type="title"/>
          </p:nvPr>
        </p:nvSpPr>
        <p:spPr bwMode="gray"/>
        <p:txBody>
          <a:bodyPr/>
          <a:lstStyle/>
          <a:p>
            <a:r>
              <a:rPr lang="en-US" dirty="0"/>
              <a:t>Business case</a:t>
            </a:r>
          </a:p>
        </p:txBody>
      </p:sp>
      <p:sp>
        <p:nvSpPr>
          <p:cNvPr id="76" name="Textplatzhalter 3">
            <a:extLst>
              <a:ext uri="{FF2B5EF4-FFF2-40B4-BE49-F238E27FC236}">
                <a16:creationId xmlns:a16="http://schemas.microsoft.com/office/drawing/2014/main" id="{C9A9E073-CA31-4D43-B9BA-9A7B077B81CE}"/>
              </a:ext>
            </a:extLst>
          </p:cNvPr>
          <p:cNvSpPr txBox="1">
            <a:spLocks/>
          </p:cNvSpPr>
          <p:nvPr/>
        </p:nvSpPr>
        <p:spPr bwMode="gray">
          <a:xfrm>
            <a:off x="13656840" y="2351226"/>
            <a:ext cx="2592000" cy="360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endParaRPr lang="en-US" sz="4000" dirty="0">
              <a:solidFill>
                <a:schemeClr val="accent5"/>
              </a:solidFill>
            </a:endParaRPr>
          </a:p>
        </p:txBody>
      </p:sp>
      <p:sp>
        <p:nvSpPr>
          <p:cNvPr id="3" name="Fußzeilenplatzhalter 2">
            <a:extLst>
              <a:ext uri="{FF2B5EF4-FFF2-40B4-BE49-F238E27FC236}">
                <a16:creationId xmlns:a16="http://schemas.microsoft.com/office/drawing/2014/main" id="{BB07F868-BE7E-447D-BAA6-C211AC43B40C}"/>
              </a:ext>
            </a:extLst>
          </p:cNvPr>
          <p:cNvSpPr>
            <a:spLocks noGrp="1"/>
          </p:cNvSpPr>
          <p:nvPr>
            <p:ph type="ftr" sz="quarter" idx="13"/>
          </p:nvPr>
        </p:nvSpPr>
        <p:spPr bwMode="gray"/>
        <p:txBody>
          <a:bodyPr/>
          <a:lstStyle/>
          <a:p>
            <a:r>
              <a:rPr lang="en-US"/>
              <a:t>Footnote: Please insert appropriate company</a:t>
            </a:r>
            <a:endParaRPr lang="de-DE" dirty="0"/>
          </a:p>
        </p:txBody>
      </p:sp>
      <p:grpSp>
        <p:nvGrpSpPr>
          <p:cNvPr id="32" name="Gruppieren 31">
            <a:extLst>
              <a:ext uri="{FF2B5EF4-FFF2-40B4-BE49-F238E27FC236}">
                <a16:creationId xmlns:a16="http://schemas.microsoft.com/office/drawing/2014/main" id="{02010D07-4E7D-4D47-915B-38859A2A230A}"/>
              </a:ext>
            </a:extLst>
          </p:cNvPr>
          <p:cNvGrpSpPr/>
          <p:nvPr/>
        </p:nvGrpSpPr>
        <p:grpSpPr bwMode="gray">
          <a:xfrm>
            <a:off x="623664" y="1700848"/>
            <a:ext cx="2448000" cy="936064"/>
            <a:chOff x="623664" y="1628840"/>
            <a:chExt cx="2448000" cy="936064"/>
          </a:xfrm>
        </p:grpSpPr>
        <p:sp>
          <p:nvSpPr>
            <p:cNvPr id="33" name="Textplatzhalter 3">
              <a:extLst>
                <a:ext uri="{FF2B5EF4-FFF2-40B4-BE49-F238E27FC236}">
                  <a16:creationId xmlns:a16="http://schemas.microsoft.com/office/drawing/2014/main" id="{05F016FA-A05A-4F53-8412-CCCFC466D0FC}"/>
                </a:ext>
              </a:extLst>
            </p:cNvPr>
            <p:cNvSpPr txBox="1">
              <a:spLocks/>
            </p:cNvSpPr>
            <p:nvPr/>
          </p:nvSpPr>
          <p:spPr bwMode="gray">
            <a:xfrm>
              <a:off x="623664" y="1628840"/>
              <a:ext cx="2448000" cy="360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800" dirty="0">
                  <a:solidFill>
                    <a:schemeClr val="tx1"/>
                  </a:solidFill>
                  <a:latin typeface="+mn-lt"/>
                </a:rPr>
                <a:t>Number of xxx</a:t>
              </a:r>
            </a:p>
          </p:txBody>
        </p:sp>
        <p:sp>
          <p:nvSpPr>
            <p:cNvPr id="36" name="Textplatzhalter 3">
              <a:extLst>
                <a:ext uri="{FF2B5EF4-FFF2-40B4-BE49-F238E27FC236}">
                  <a16:creationId xmlns:a16="http://schemas.microsoft.com/office/drawing/2014/main" id="{BBE22663-63F6-4E72-876F-3FE1C8C3B8CB}"/>
                </a:ext>
              </a:extLst>
            </p:cNvPr>
            <p:cNvSpPr txBox="1">
              <a:spLocks/>
            </p:cNvSpPr>
            <p:nvPr/>
          </p:nvSpPr>
          <p:spPr bwMode="gray">
            <a:xfrm>
              <a:off x="623664" y="2060775"/>
              <a:ext cx="2448000" cy="504129"/>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6,350,350</a:t>
              </a:r>
            </a:p>
          </p:txBody>
        </p:sp>
      </p:grpSp>
      <p:grpSp>
        <p:nvGrpSpPr>
          <p:cNvPr id="39" name="Gruppieren 38">
            <a:extLst>
              <a:ext uri="{FF2B5EF4-FFF2-40B4-BE49-F238E27FC236}">
                <a16:creationId xmlns:a16="http://schemas.microsoft.com/office/drawing/2014/main" id="{4A9CCD4F-1A79-44CF-A7DB-526803D53FAC}"/>
              </a:ext>
            </a:extLst>
          </p:cNvPr>
          <p:cNvGrpSpPr/>
          <p:nvPr/>
        </p:nvGrpSpPr>
        <p:grpSpPr bwMode="gray">
          <a:xfrm>
            <a:off x="3503976" y="1700848"/>
            <a:ext cx="2376000" cy="936064"/>
            <a:chOff x="3575984" y="1628840"/>
            <a:chExt cx="2376000" cy="936064"/>
          </a:xfrm>
        </p:grpSpPr>
        <p:sp>
          <p:nvSpPr>
            <p:cNvPr id="40" name="Textplatzhalter 3">
              <a:extLst>
                <a:ext uri="{FF2B5EF4-FFF2-40B4-BE49-F238E27FC236}">
                  <a16:creationId xmlns:a16="http://schemas.microsoft.com/office/drawing/2014/main" id="{1EB26FCE-7706-493F-A516-2832CE7CB4A4}"/>
                </a:ext>
              </a:extLst>
            </p:cNvPr>
            <p:cNvSpPr txBox="1">
              <a:spLocks/>
            </p:cNvSpPr>
            <p:nvPr/>
          </p:nvSpPr>
          <p:spPr bwMode="gray">
            <a:xfrm>
              <a:off x="3575984" y="1628840"/>
              <a:ext cx="2376000" cy="360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800" dirty="0">
                  <a:solidFill>
                    <a:schemeClr val="tx1"/>
                  </a:solidFill>
                  <a:latin typeface="+mn-lt"/>
                </a:rPr>
                <a:t>Cost per case</a:t>
              </a:r>
            </a:p>
          </p:txBody>
        </p:sp>
        <p:sp>
          <p:nvSpPr>
            <p:cNvPr id="41" name="Textplatzhalter 3">
              <a:extLst>
                <a:ext uri="{FF2B5EF4-FFF2-40B4-BE49-F238E27FC236}">
                  <a16:creationId xmlns:a16="http://schemas.microsoft.com/office/drawing/2014/main" id="{DD9A5428-5B59-44B7-8CF8-BEB4AEC6FA92}"/>
                </a:ext>
              </a:extLst>
            </p:cNvPr>
            <p:cNvSpPr txBox="1">
              <a:spLocks/>
            </p:cNvSpPr>
            <p:nvPr/>
          </p:nvSpPr>
          <p:spPr bwMode="gray">
            <a:xfrm>
              <a:off x="3575984" y="2060775"/>
              <a:ext cx="2376000" cy="504129"/>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680 €</a:t>
              </a:r>
            </a:p>
          </p:txBody>
        </p:sp>
      </p:grpSp>
      <p:grpSp>
        <p:nvGrpSpPr>
          <p:cNvPr id="42" name="Gruppieren 41">
            <a:extLst>
              <a:ext uri="{FF2B5EF4-FFF2-40B4-BE49-F238E27FC236}">
                <a16:creationId xmlns:a16="http://schemas.microsoft.com/office/drawing/2014/main" id="{F49987DC-13D2-41A3-B543-69A2C2A6A67A}"/>
              </a:ext>
            </a:extLst>
          </p:cNvPr>
          <p:cNvGrpSpPr/>
          <p:nvPr/>
        </p:nvGrpSpPr>
        <p:grpSpPr bwMode="gray">
          <a:xfrm>
            <a:off x="623664" y="4149120"/>
            <a:ext cx="2448000" cy="936064"/>
            <a:chOff x="623664" y="4077160"/>
            <a:chExt cx="2448000" cy="936064"/>
          </a:xfrm>
        </p:grpSpPr>
        <p:sp>
          <p:nvSpPr>
            <p:cNvPr id="44" name="Textplatzhalter 3">
              <a:extLst>
                <a:ext uri="{FF2B5EF4-FFF2-40B4-BE49-F238E27FC236}">
                  <a16:creationId xmlns:a16="http://schemas.microsoft.com/office/drawing/2014/main" id="{5DAB38D5-C604-40A0-953A-9A777EA41D60}"/>
                </a:ext>
              </a:extLst>
            </p:cNvPr>
            <p:cNvSpPr txBox="1">
              <a:spLocks/>
            </p:cNvSpPr>
            <p:nvPr/>
          </p:nvSpPr>
          <p:spPr bwMode="gray">
            <a:xfrm>
              <a:off x="623664" y="4077160"/>
              <a:ext cx="2448000" cy="360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800" dirty="0">
                  <a:solidFill>
                    <a:schemeClr val="tx1"/>
                  </a:solidFill>
                  <a:latin typeface="+mn-lt"/>
                </a:rPr>
                <a:t>Share of xxx</a:t>
              </a:r>
            </a:p>
          </p:txBody>
        </p:sp>
        <p:sp>
          <p:nvSpPr>
            <p:cNvPr id="45" name="Textplatzhalter 3">
              <a:extLst>
                <a:ext uri="{FF2B5EF4-FFF2-40B4-BE49-F238E27FC236}">
                  <a16:creationId xmlns:a16="http://schemas.microsoft.com/office/drawing/2014/main" id="{37A6F781-12A6-482C-9BAC-2510EFCE313B}"/>
                </a:ext>
              </a:extLst>
            </p:cNvPr>
            <p:cNvSpPr txBox="1">
              <a:spLocks/>
            </p:cNvSpPr>
            <p:nvPr/>
          </p:nvSpPr>
          <p:spPr bwMode="gray">
            <a:xfrm>
              <a:off x="623664" y="4509095"/>
              <a:ext cx="2448000" cy="504129"/>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6.5%</a:t>
              </a:r>
            </a:p>
          </p:txBody>
        </p:sp>
      </p:grpSp>
      <p:grpSp>
        <p:nvGrpSpPr>
          <p:cNvPr id="46" name="Gruppieren 45">
            <a:extLst>
              <a:ext uri="{FF2B5EF4-FFF2-40B4-BE49-F238E27FC236}">
                <a16:creationId xmlns:a16="http://schemas.microsoft.com/office/drawing/2014/main" id="{EC508616-CCFA-4904-B870-4AB70C30CFE6}"/>
              </a:ext>
            </a:extLst>
          </p:cNvPr>
          <p:cNvGrpSpPr/>
          <p:nvPr/>
        </p:nvGrpSpPr>
        <p:grpSpPr bwMode="gray">
          <a:xfrm>
            <a:off x="3503976" y="4149120"/>
            <a:ext cx="2376000" cy="936064"/>
            <a:chOff x="3503976" y="4149120"/>
            <a:chExt cx="2376000" cy="936064"/>
          </a:xfrm>
        </p:grpSpPr>
        <p:sp>
          <p:nvSpPr>
            <p:cNvPr id="47" name="Textplatzhalter 3">
              <a:extLst>
                <a:ext uri="{FF2B5EF4-FFF2-40B4-BE49-F238E27FC236}">
                  <a16:creationId xmlns:a16="http://schemas.microsoft.com/office/drawing/2014/main" id="{6CC29C82-81C9-442F-8A62-173F9FB266F3}"/>
                </a:ext>
              </a:extLst>
            </p:cNvPr>
            <p:cNvSpPr txBox="1">
              <a:spLocks/>
            </p:cNvSpPr>
            <p:nvPr/>
          </p:nvSpPr>
          <p:spPr bwMode="gray">
            <a:xfrm>
              <a:off x="3503976" y="4149120"/>
              <a:ext cx="2376000" cy="360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800" dirty="0">
                  <a:solidFill>
                    <a:schemeClr val="tx1"/>
                  </a:solidFill>
                  <a:latin typeface="+mn-lt"/>
                </a:rPr>
                <a:t>Cost p.a.</a:t>
              </a:r>
            </a:p>
          </p:txBody>
        </p:sp>
        <p:sp>
          <p:nvSpPr>
            <p:cNvPr id="48" name="Textplatzhalter 3">
              <a:extLst>
                <a:ext uri="{FF2B5EF4-FFF2-40B4-BE49-F238E27FC236}">
                  <a16:creationId xmlns:a16="http://schemas.microsoft.com/office/drawing/2014/main" id="{C669F360-277A-4674-8DF3-EF202BE2A005}"/>
                </a:ext>
              </a:extLst>
            </p:cNvPr>
            <p:cNvSpPr txBox="1">
              <a:spLocks/>
            </p:cNvSpPr>
            <p:nvPr/>
          </p:nvSpPr>
          <p:spPr bwMode="gray">
            <a:xfrm>
              <a:off x="3503976" y="4581055"/>
              <a:ext cx="2376000" cy="504129"/>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2,500 €</a:t>
              </a:r>
            </a:p>
          </p:txBody>
        </p:sp>
      </p:grpSp>
      <p:grpSp>
        <p:nvGrpSpPr>
          <p:cNvPr id="49" name="Gruppieren 48">
            <a:extLst>
              <a:ext uri="{FF2B5EF4-FFF2-40B4-BE49-F238E27FC236}">
                <a16:creationId xmlns:a16="http://schemas.microsoft.com/office/drawing/2014/main" id="{888D9DCD-2CCF-4F4E-88D1-13E7269C3942}"/>
              </a:ext>
            </a:extLst>
          </p:cNvPr>
          <p:cNvGrpSpPr/>
          <p:nvPr/>
        </p:nvGrpSpPr>
        <p:grpSpPr bwMode="gray">
          <a:xfrm>
            <a:off x="623664" y="5373256"/>
            <a:ext cx="2448000" cy="936064"/>
            <a:chOff x="623664" y="5157305"/>
            <a:chExt cx="2448000" cy="936064"/>
          </a:xfrm>
        </p:grpSpPr>
        <p:sp>
          <p:nvSpPr>
            <p:cNvPr id="50" name="Textplatzhalter 3">
              <a:extLst>
                <a:ext uri="{FF2B5EF4-FFF2-40B4-BE49-F238E27FC236}">
                  <a16:creationId xmlns:a16="http://schemas.microsoft.com/office/drawing/2014/main" id="{F506D4C7-29CB-4B32-A9EA-3DE0B4037CB4}"/>
                </a:ext>
              </a:extLst>
            </p:cNvPr>
            <p:cNvSpPr txBox="1">
              <a:spLocks/>
            </p:cNvSpPr>
            <p:nvPr/>
          </p:nvSpPr>
          <p:spPr bwMode="gray">
            <a:xfrm>
              <a:off x="623664" y="5157305"/>
              <a:ext cx="2448000" cy="360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800" dirty="0">
                  <a:solidFill>
                    <a:schemeClr val="tx1"/>
                  </a:solidFill>
                  <a:latin typeface="+mn-lt"/>
                </a:rPr>
                <a:t>Investment cost</a:t>
              </a:r>
            </a:p>
          </p:txBody>
        </p:sp>
        <p:sp>
          <p:nvSpPr>
            <p:cNvPr id="51" name="Textplatzhalter 3">
              <a:extLst>
                <a:ext uri="{FF2B5EF4-FFF2-40B4-BE49-F238E27FC236}">
                  <a16:creationId xmlns:a16="http://schemas.microsoft.com/office/drawing/2014/main" id="{CF4A3897-8EB2-4295-82FB-F13303927A0D}"/>
                </a:ext>
              </a:extLst>
            </p:cNvPr>
            <p:cNvSpPr txBox="1">
              <a:spLocks/>
            </p:cNvSpPr>
            <p:nvPr/>
          </p:nvSpPr>
          <p:spPr bwMode="gray">
            <a:xfrm>
              <a:off x="623664" y="5589240"/>
              <a:ext cx="2448000" cy="504129"/>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450,000</a:t>
              </a:r>
            </a:p>
          </p:txBody>
        </p:sp>
      </p:grpSp>
      <p:grpSp>
        <p:nvGrpSpPr>
          <p:cNvPr id="53" name="Gruppieren 52">
            <a:extLst>
              <a:ext uri="{FF2B5EF4-FFF2-40B4-BE49-F238E27FC236}">
                <a16:creationId xmlns:a16="http://schemas.microsoft.com/office/drawing/2014/main" id="{351A4739-DEC5-4E45-A05F-CD7CAC3D962D}"/>
              </a:ext>
            </a:extLst>
          </p:cNvPr>
          <p:cNvGrpSpPr/>
          <p:nvPr/>
        </p:nvGrpSpPr>
        <p:grpSpPr bwMode="gray">
          <a:xfrm>
            <a:off x="3503976" y="2924984"/>
            <a:ext cx="2376000" cy="936064"/>
            <a:chOff x="3575975" y="2853000"/>
            <a:chExt cx="2304000" cy="936064"/>
          </a:xfrm>
        </p:grpSpPr>
        <p:sp>
          <p:nvSpPr>
            <p:cNvPr id="54" name="Textplatzhalter 3">
              <a:extLst>
                <a:ext uri="{FF2B5EF4-FFF2-40B4-BE49-F238E27FC236}">
                  <a16:creationId xmlns:a16="http://schemas.microsoft.com/office/drawing/2014/main" id="{9A008B75-D0C8-40A4-BBB6-DA999326E873}"/>
                </a:ext>
              </a:extLst>
            </p:cNvPr>
            <p:cNvSpPr txBox="1">
              <a:spLocks/>
            </p:cNvSpPr>
            <p:nvPr/>
          </p:nvSpPr>
          <p:spPr bwMode="gray">
            <a:xfrm>
              <a:off x="3575975" y="2853000"/>
              <a:ext cx="2304000" cy="360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800" dirty="0">
                  <a:solidFill>
                    <a:schemeClr val="tx1"/>
                  </a:solidFill>
                  <a:latin typeface="+mn-lt"/>
                </a:rPr>
                <a:t>Return on Investment</a:t>
              </a:r>
            </a:p>
          </p:txBody>
        </p:sp>
        <p:sp>
          <p:nvSpPr>
            <p:cNvPr id="55" name="Textplatzhalter 3">
              <a:extLst>
                <a:ext uri="{FF2B5EF4-FFF2-40B4-BE49-F238E27FC236}">
                  <a16:creationId xmlns:a16="http://schemas.microsoft.com/office/drawing/2014/main" id="{1BC8AF45-BCCB-45B1-9586-3A261E642255}"/>
                </a:ext>
              </a:extLst>
            </p:cNvPr>
            <p:cNvSpPr txBox="1">
              <a:spLocks/>
            </p:cNvSpPr>
            <p:nvPr/>
          </p:nvSpPr>
          <p:spPr bwMode="gray">
            <a:xfrm>
              <a:off x="3575975" y="3284935"/>
              <a:ext cx="2304000" cy="504129"/>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2 Months</a:t>
              </a:r>
            </a:p>
          </p:txBody>
        </p:sp>
      </p:grpSp>
      <p:cxnSp>
        <p:nvCxnSpPr>
          <p:cNvPr id="56" name="Gerader Verbinder 55">
            <a:extLst>
              <a:ext uri="{FF2B5EF4-FFF2-40B4-BE49-F238E27FC236}">
                <a16:creationId xmlns:a16="http://schemas.microsoft.com/office/drawing/2014/main" id="{259A9C6E-C8BA-448F-B87B-ACAED178E5EE}"/>
              </a:ext>
            </a:extLst>
          </p:cNvPr>
          <p:cNvCxnSpPr>
            <a:cxnSpLocks/>
          </p:cNvCxnSpPr>
          <p:nvPr/>
        </p:nvCxnSpPr>
        <p:spPr bwMode="gray">
          <a:xfrm>
            <a:off x="6095618" y="1808800"/>
            <a:ext cx="382" cy="450040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57" name="Gruppieren 56">
            <a:extLst>
              <a:ext uri="{FF2B5EF4-FFF2-40B4-BE49-F238E27FC236}">
                <a16:creationId xmlns:a16="http://schemas.microsoft.com/office/drawing/2014/main" id="{4F93FC67-FD7E-4AA1-86D4-A1DBD0148055}"/>
              </a:ext>
            </a:extLst>
          </p:cNvPr>
          <p:cNvGrpSpPr/>
          <p:nvPr/>
        </p:nvGrpSpPr>
        <p:grpSpPr bwMode="gray">
          <a:xfrm>
            <a:off x="623664" y="2924984"/>
            <a:ext cx="2448000" cy="936064"/>
            <a:chOff x="623664" y="2853000"/>
            <a:chExt cx="2448000" cy="936064"/>
          </a:xfrm>
        </p:grpSpPr>
        <p:sp>
          <p:nvSpPr>
            <p:cNvPr id="58" name="Textplatzhalter 3">
              <a:extLst>
                <a:ext uri="{FF2B5EF4-FFF2-40B4-BE49-F238E27FC236}">
                  <a16:creationId xmlns:a16="http://schemas.microsoft.com/office/drawing/2014/main" id="{CDA7ED9E-3190-4E71-89DA-E6004BBB30BF}"/>
                </a:ext>
              </a:extLst>
            </p:cNvPr>
            <p:cNvSpPr txBox="1">
              <a:spLocks/>
            </p:cNvSpPr>
            <p:nvPr/>
          </p:nvSpPr>
          <p:spPr bwMode="gray">
            <a:xfrm>
              <a:off x="623664" y="2853000"/>
              <a:ext cx="2448000" cy="360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800" dirty="0">
                  <a:solidFill>
                    <a:schemeClr val="tx1"/>
                  </a:solidFill>
                  <a:latin typeface="+mn-lt"/>
                </a:rPr>
                <a:t>Implementation period</a:t>
              </a:r>
            </a:p>
          </p:txBody>
        </p:sp>
        <p:sp>
          <p:nvSpPr>
            <p:cNvPr id="59" name="Textplatzhalter 3">
              <a:extLst>
                <a:ext uri="{FF2B5EF4-FFF2-40B4-BE49-F238E27FC236}">
                  <a16:creationId xmlns:a16="http://schemas.microsoft.com/office/drawing/2014/main" id="{32235CC9-1667-4B6C-BA0E-CA46B46D20D9}"/>
                </a:ext>
              </a:extLst>
            </p:cNvPr>
            <p:cNvSpPr txBox="1">
              <a:spLocks/>
            </p:cNvSpPr>
            <p:nvPr/>
          </p:nvSpPr>
          <p:spPr bwMode="gray">
            <a:xfrm>
              <a:off x="623664" y="3284935"/>
              <a:ext cx="2448000" cy="504129"/>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3 Months</a:t>
              </a:r>
            </a:p>
          </p:txBody>
        </p:sp>
      </p:grpSp>
      <p:sp>
        <p:nvSpPr>
          <p:cNvPr id="60" name="Textplatzhalter 3">
            <a:extLst>
              <a:ext uri="{FF2B5EF4-FFF2-40B4-BE49-F238E27FC236}">
                <a16:creationId xmlns:a16="http://schemas.microsoft.com/office/drawing/2014/main" id="{214C37CE-B80B-4368-8F74-67CB94416907}"/>
              </a:ext>
            </a:extLst>
          </p:cNvPr>
          <p:cNvSpPr txBox="1">
            <a:spLocks/>
          </p:cNvSpPr>
          <p:nvPr/>
        </p:nvSpPr>
        <p:spPr bwMode="gray">
          <a:xfrm>
            <a:off x="6311901" y="1701032"/>
            <a:ext cx="5256212" cy="2232024"/>
          </a:xfrm>
          <a:prstGeom prst="rect">
            <a:avLst/>
          </a:prstGeom>
        </p:spPr>
        <p:txBody>
          <a:bodyPr wrap="squar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lvl="0" algn="l"/>
            <a:r>
              <a:rPr lang="en-US" sz="4000" dirty="0">
                <a:solidFill>
                  <a:srgbClr val="4C73C0"/>
                </a:solidFill>
              </a:rPr>
              <a:t>Saving</a:t>
            </a:r>
          </a:p>
          <a:p>
            <a:pPr lvl="0" algn="l">
              <a:spcAft>
                <a:spcPts val="600"/>
              </a:spcAft>
            </a:pPr>
            <a:r>
              <a:rPr lang="en-US" sz="1600" dirty="0">
                <a:solidFill>
                  <a:srgbClr val="1E1E1E"/>
                </a:solidFill>
              </a:rPr>
              <a:t>Lorem ipsum dolor sit amet, consectetuer adipiscing elit.</a:t>
            </a:r>
          </a:p>
          <a:p>
            <a:pPr lvl="1" algn="l"/>
            <a:r>
              <a:rPr lang="en-US" sz="1600" dirty="0">
                <a:solidFill>
                  <a:srgbClr val="1E1E1E"/>
                </a:solidFill>
                <a:latin typeface="DraegerSanLig"/>
              </a:rPr>
              <a:t>Maecenas porttitor congue massa. Fusce posuere, magna sed pulvinar ultricies, purus lectus malesuada libero, sit amet commodo magna eros quis urna.</a:t>
            </a:r>
          </a:p>
        </p:txBody>
      </p:sp>
      <p:grpSp>
        <p:nvGrpSpPr>
          <p:cNvPr id="67" name="Gruppieren 66">
            <a:extLst>
              <a:ext uri="{FF2B5EF4-FFF2-40B4-BE49-F238E27FC236}">
                <a16:creationId xmlns:a16="http://schemas.microsoft.com/office/drawing/2014/main" id="{3943C1C6-C3E2-493D-B035-490123A9D5ED}"/>
              </a:ext>
            </a:extLst>
          </p:cNvPr>
          <p:cNvGrpSpPr/>
          <p:nvPr/>
        </p:nvGrpSpPr>
        <p:grpSpPr bwMode="gray">
          <a:xfrm>
            <a:off x="6312288" y="4149120"/>
            <a:ext cx="2376000" cy="936064"/>
            <a:chOff x="6312288" y="4149120"/>
            <a:chExt cx="2376000" cy="936064"/>
          </a:xfrm>
        </p:grpSpPr>
        <p:sp>
          <p:nvSpPr>
            <p:cNvPr id="68" name="Textplatzhalter 3">
              <a:extLst>
                <a:ext uri="{FF2B5EF4-FFF2-40B4-BE49-F238E27FC236}">
                  <a16:creationId xmlns:a16="http://schemas.microsoft.com/office/drawing/2014/main" id="{C6836A83-19C6-4402-972B-9404F543EC84}"/>
                </a:ext>
              </a:extLst>
            </p:cNvPr>
            <p:cNvSpPr txBox="1">
              <a:spLocks/>
            </p:cNvSpPr>
            <p:nvPr/>
          </p:nvSpPr>
          <p:spPr bwMode="gray">
            <a:xfrm>
              <a:off x="6312288" y="4149120"/>
              <a:ext cx="2376000" cy="360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tx1"/>
                  </a:solidFill>
                  <a:latin typeface="+mn-lt"/>
                </a:rPr>
                <a:t>Total Saving</a:t>
              </a:r>
            </a:p>
          </p:txBody>
        </p:sp>
        <p:sp>
          <p:nvSpPr>
            <p:cNvPr id="69" name="Textplatzhalter 3">
              <a:extLst>
                <a:ext uri="{FF2B5EF4-FFF2-40B4-BE49-F238E27FC236}">
                  <a16:creationId xmlns:a16="http://schemas.microsoft.com/office/drawing/2014/main" id="{744A797E-5BED-4A6E-9669-4310F92CDA9B}"/>
                </a:ext>
              </a:extLst>
            </p:cNvPr>
            <p:cNvSpPr txBox="1">
              <a:spLocks/>
            </p:cNvSpPr>
            <p:nvPr/>
          </p:nvSpPr>
          <p:spPr bwMode="gray">
            <a:xfrm>
              <a:off x="6312288" y="4581055"/>
              <a:ext cx="2376000" cy="504129"/>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9,750 €</a:t>
              </a:r>
            </a:p>
          </p:txBody>
        </p:sp>
      </p:grpSp>
      <p:grpSp>
        <p:nvGrpSpPr>
          <p:cNvPr id="70" name="Gruppieren 69">
            <a:extLst>
              <a:ext uri="{FF2B5EF4-FFF2-40B4-BE49-F238E27FC236}">
                <a16:creationId xmlns:a16="http://schemas.microsoft.com/office/drawing/2014/main" id="{E7DA81E0-4E72-461A-830F-CFBD17F7905E}"/>
              </a:ext>
            </a:extLst>
          </p:cNvPr>
          <p:cNvGrpSpPr/>
          <p:nvPr/>
        </p:nvGrpSpPr>
        <p:grpSpPr bwMode="gray">
          <a:xfrm>
            <a:off x="9120336" y="4149120"/>
            <a:ext cx="2448000" cy="936064"/>
            <a:chOff x="9120336" y="4149120"/>
            <a:chExt cx="2448000" cy="936064"/>
          </a:xfrm>
        </p:grpSpPr>
        <p:sp>
          <p:nvSpPr>
            <p:cNvPr id="71" name="Textplatzhalter 3">
              <a:extLst>
                <a:ext uri="{FF2B5EF4-FFF2-40B4-BE49-F238E27FC236}">
                  <a16:creationId xmlns:a16="http://schemas.microsoft.com/office/drawing/2014/main" id="{5215B7EF-1ADD-4F92-8B0B-6B00C5EEC89F}"/>
                </a:ext>
              </a:extLst>
            </p:cNvPr>
            <p:cNvSpPr txBox="1">
              <a:spLocks/>
            </p:cNvSpPr>
            <p:nvPr/>
          </p:nvSpPr>
          <p:spPr bwMode="gray">
            <a:xfrm>
              <a:off x="9120336" y="4149120"/>
              <a:ext cx="2448000" cy="360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tx1"/>
                  </a:solidFill>
                  <a:latin typeface="+mn-lt"/>
                </a:rPr>
                <a:t>In Percentage</a:t>
              </a:r>
            </a:p>
          </p:txBody>
        </p:sp>
        <p:sp>
          <p:nvSpPr>
            <p:cNvPr id="72" name="Textplatzhalter 3">
              <a:extLst>
                <a:ext uri="{FF2B5EF4-FFF2-40B4-BE49-F238E27FC236}">
                  <a16:creationId xmlns:a16="http://schemas.microsoft.com/office/drawing/2014/main" id="{6F32F808-5359-436B-8E2A-D874CD9AEE33}"/>
                </a:ext>
              </a:extLst>
            </p:cNvPr>
            <p:cNvSpPr txBox="1">
              <a:spLocks/>
            </p:cNvSpPr>
            <p:nvPr/>
          </p:nvSpPr>
          <p:spPr bwMode="gray">
            <a:xfrm>
              <a:off x="9120336" y="4581055"/>
              <a:ext cx="2448000" cy="504129"/>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12%</a:t>
              </a:r>
            </a:p>
          </p:txBody>
        </p:sp>
      </p:grpSp>
      <p:sp>
        <p:nvSpPr>
          <p:cNvPr id="2" name="Foliennummernplatzhalter 1">
            <a:extLst>
              <a:ext uri="{FF2B5EF4-FFF2-40B4-BE49-F238E27FC236}">
                <a16:creationId xmlns:a16="http://schemas.microsoft.com/office/drawing/2014/main" id="{C19E5B29-95BF-410D-B995-33DBE5ACAEC8}"/>
              </a:ext>
            </a:extLst>
          </p:cNvPr>
          <p:cNvSpPr>
            <a:spLocks noGrp="1"/>
          </p:cNvSpPr>
          <p:nvPr>
            <p:ph type="sldNum" sz="quarter" idx="12"/>
          </p:nvPr>
        </p:nvSpPr>
        <p:spPr/>
        <p:txBody>
          <a:bodyPr/>
          <a:lstStyle/>
          <a:p>
            <a:fld id="{CE82B8A1-0CCE-4815-9668-383D7DE7D8B4}" type="slidenum">
              <a:rPr lang="en-US" noProof="0" smtClean="0"/>
              <a:t>123</a:t>
            </a:fld>
            <a:endParaRPr lang="en-US" noProof="0" dirty="0"/>
          </a:p>
        </p:txBody>
      </p:sp>
    </p:spTree>
    <p:extLst>
      <p:ext uri="{BB962C8B-B14F-4D97-AF65-F5344CB8AC3E}">
        <p14:creationId xmlns:p14="http://schemas.microsoft.com/office/powerpoint/2010/main" val="104937423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3">
            <a:extLst>
              <a:ext uri="{FF2B5EF4-FFF2-40B4-BE49-F238E27FC236}">
                <a16:creationId xmlns:a16="http://schemas.microsoft.com/office/drawing/2014/main" id="{2E251DC1-F6DD-4A3E-B060-B5AB705E60C9}"/>
              </a:ext>
            </a:extLst>
          </p:cNvPr>
          <p:cNvSpPr txBox="1">
            <a:spLocks/>
          </p:cNvSpPr>
          <p:nvPr/>
        </p:nvSpPr>
        <p:spPr bwMode="gray">
          <a:xfrm>
            <a:off x="623392" y="1052880"/>
            <a:ext cx="4463543" cy="1296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t>Lorem ipsum sit amet, consectetuer</a:t>
            </a:r>
          </a:p>
        </p:txBody>
      </p:sp>
      <p:cxnSp>
        <p:nvCxnSpPr>
          <p:cNvPr id="9" name="Gerader Verbinder 8">
            <a:extLst>
              <a:ext uri="{FF2B5EF4-FFF2-40B4-BE49-F238E27FC236}">
                <a16:creationId xmlns:a16="http://schemas.microsoft.com/office/drawing/2014/main" id="{64A1C561-87DA-4862-B912-BCFE87F5B626}"/>
              </a:ext>
            </a:extLst>
          </p:cNvPr>
          <p:cNvCxnSpPr/>
          <p:nvPr/>
        </p:nvCxnSpPr>
        <p:spPr bwMode="gray">
          <a:xfrm>
            <a:off x="5036308" y="2205008"/>
            <a:ext cx="1295697"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platzhalter 3">
            <a:extLst>
              <a:ext uri="{FF2B5EF4-FFF2-40B4-BE49-F238E27FC236}">
                <a16:creationId xmlns:a16="http://schemas.microsoft.com/office/drawing/2014/main" id="{720104D8-792F-4AF4-9F4E-3A7E5AAA384F}"/>
              </a:ext>
            </a:extLst>
          </p:cNvPr>
          <p:cNvSpPr txBox="1">
            <a:spLocks/>
          </p:cNvSpPr>
          <p:nvPr/>
        </p:nvSpPr>
        <p:spPr bwMode="gray">
          <a:xfrm>
            <a:off x="6312024" y="3861272"/>
            <a:ext cx="2376000" cy="2016000"/>
          </a:xfrm>
          <a:prstGeom prst="rect">
            <a:avLst/>
          </a:prstGeom>
        </p:spPr>
        <p:txBody>
          <a:bodyPr wrap="non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400" dirty="0">
                <a:solidFill>
                  <a:schemeClr val="accent5"/>
                </a:solidFill>
              </a:rPr>
              <a:t>First-name Surname</a:t>
            </a:r>
          </a:p>
          <a:p>
            <a:pPr algn="l"/>
            <a:r>
              <a:rPr lang="en-US" sz="1400" dirty="0">
                <a:solidFill>
                  <a:srgbClr val="1E1E1E"/>
                </a:solidFill>
                <a:latin typeface="DraegerSanLig"/>
              </a:rPr>
              <a:t>Position</a:t>
            </a:r>
          </a:p>
          <a:p>
            <a:pPr algn="l"/>
            <a:endParaRPr lang="en-US" sz="1400" dirty="0">
              <a:solidFill>
                <a:srgbClr val="1E1E1E"/>
              </a:solidFill>
              <a:latin typeface="DraegerSanLig"/>
            </a:endParaRPr>
          </a:p>
          <a:p>
            <a:pPr algn="l"/>
            <a:r>
              <a:rPr lang="en-US" sz="1400" dirty="0">
                <a:solidFill>
                  <a:srgbClr val="1E1E1E"/>
                </a:solidFill>
                <a:latin typeface="DraegerSanLig"/>
              </a:rPr>
              <a:t>Drägerwerk AG &amp; Co. KGaA</a:t>
            </a:r>
          </a:p>
          <a:p>
            <a:pPr algn="l"/>
            <a:r>
              <a:rPr lang="en-US" sz="1400" dirty="0">
                <a:solidFill>
                  <a:srgbClr val="1E1E1E"/>
                </a:solidFill>
                <a:latin typeface="DraegerSanLig"/>
              </a:rPr>
              <a:t>Moislinger Allee 53-55</a:t>
            </a:r>
          </a:p>
          <a:p>
            <a:pPr algn="l"/>
            <a:r>
              <a:rPr lang="en-US" sz="1400" dirty="0">
                <a:solidFill>
                  <a:srgbClr val="1E1E1E"/>
                </a:solidFill>
                <a:latin typeface="DraegerSanLig"/>
              </a:rPr>
              <a:t>23558 Lübeck, Germany</a:t>
            </a:r>
          </a:p>
          <a:p>
            <a:pPr algn="l"/>
            <a:endParaRPr lang="en-US" sz="1400" dirty="0">
              <a:solidFill>
                <a:srgbClr val="1E1E1E"/>
              </a:solidFill>
              <a:latin typeface="DraegerSanLig"/>
            </a:endParaRPr>
          </a:p>
          <a:p>
            <a:pPr algn="l"/>
            <a:r>
              <a:rPr lang="en-US" sz="1400" dirty="0">
                <a:solidFill>
                  <a:srgbClr val="1E1E1E"/>
                </a:solidFill>
                <a:latin typeface="DraegerSanLig"/>
              </a:rPr>
              <a:t>Tel +49 451 000-0000</a:t>
            </a:r>
          </a:p>
          <a:p>
            <a:pPr algn="l"/>
            <a:r>
              <a:rPr lang="en-US" sz="1400" dirty="0">
                <a:solidFill>
                  <a:srgbClr val="1E1E1E"/>
                </a:solidFill>
                <a:latin typeface="DraegerSanLig"/>
              </a:rPr>
              <a:t>First-name.Surname@draeger.com</a:t>
            </a:r>
          </a:p>
        </p:txBody>
      </p:sp>
      <p:sp>
        <p:nvSpPr>
          <p:cNvPr id="15" name="Ellipse 14">
            <a:extLst>
              <a:ext uri="{FF2B5EF4-FFF2-40B4-BE49-F238E27FC236}">
                <a16:creationId xmlns:a16="http://schemas.microsoft.com/office/drawing/2014/main" id="{F9BDC4FB-97F4-4502-A08A-36A17A251331}"/>
              </a:ext>
            </a:extLst>
          </p:cNvPr>
          <p:cNvSpPr/>
          <p:nvPr/>
        </p:nvSpPr>
        <p:spPr bwMode="gray">
          <a:xfrm>
            <a:off x="6312024" y="2853072"/>
            <a:ext cx="864000" cy="864000"/>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1500" dirty="0">
                <a:solidFill>
                  <a:schemeClr val="bg1"/>
                </a:solidFill>
              </a:rPr>
              <a:t>PHOTO</a:t>
            </a:r>
          </a:p>
        </p:txBody>
      </p:sp>
      <p:sp>
        <p:nvSpPr>
          <p:cNvPr id="16" name="Textplatzhalter 3">
            <a:extLst>
              <a:ext uri="{FF2B5EF4-FFF2-40B4-BE49-F238E27FC236}">
                <a16:creationId xmlns:a16="http://schemas.microsoft.com/office/drawing/2014/main" id="{5D5F974B-D6D1-4678-BE47-83E7F3C3C48C}"/>
              </a:ext>
            </a:extLst>
          </p:cNvPr>
          <p:cNvSpPr txBox="1">
            <a:spLocks/>
          </p:cNvSpPr>
          <p:nvPr/>
        </p:nvSpPr>
        <p:spPr bwMode="gray">
          <a:xfrm>
            <a:off x="3503712" y="3861272"/>
            <a:ext cx="2376000" cy="2016000"/>
          </a:xfrm>
          <a:prstGeom prst="rect">
            <a:avLst/>
          </a:prstGeom>
        </p:spPr>
        <p:txBody>
          <a:bodyPr wrap="non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400" dirty="0">
                <a:solidFill>
                  <a:schemeClr val="accent5"/>
                </a:solidFill>
              </a:rPr>
              <a:t>First-name Surname</a:t>
            </a:r>
          </a:p>
          <a:p>
            <a:pPr algn="l"/>
            <a:r>
              <a:rPr lang="en-US" sz="1400" dirty="0">
                <a:solidFill>
                  <a:srgbClr val="1E1E1E"/>
                </a:solidFill>
                <a:latin typeface="DraegerSanLig"/>
              </a:rPr>
              <a:t>Position</a:t>
            </a:r>
          </a:p>
          <a:p>
            <a:pPr algn="l"/>
            <a:endParaRPr lang="en-US" sz="1400" dirty="0">
              <a:solidFill>
                <a:srgbClr val="1E1E1E"/>
              </a:solidFill>
              <a:latin typeface="DraegerSanLig"/>
            </a:endParaRPr>
          </a:p>
          <a:p>
            <a:pPr algn="l"/>
            <a:r>
              <a:rPr lang="en-US" sz="1400" dirty="0">
                <a:solidFill>
                  <a:srgbClr val="1E1E1E"/>
                </a:solidFill>
                <a:latin typeface="DraegerSanLig"/>
              </a:rPr>
              <a:t>Drägerwerk AG &amp; Co. KGaA</a:t>
            </a:r>
          </a:p>
          <a:p>
            <a:pPr algn="l"/>
            <a:r>
              <a:rPr lang="en-US" sz="1400" dirty="0">
                <a:solidFill>
                  <a:srgbClr val="1E1E1E"/>
                </a:solidFill>
                <a:latin typeface="DraegerSanLig"/>
              </a:rPr>
              <a:t>Moislinger Allee 53-55</a:t>
            </a:r>
          </a:p>
          <a:p>
            <a:pPr algn="l"/>
            <a:r>
              <a:rPr lang="en-US" sz="1400" dirty="0">
                <a:solidFill>
                  <a:srgbClr val="1E1E1E"/>
                </a:solidFill>
                <a:latin typeface="DraegerSanLig"/>
              </a:rPr>
              <a:t>23558 Lübeck, Germany</a:t>
            </a:r>
          </a:p>
          <a:p>
            <a:pPr algn="l"/>
            <a:endParaRPr lang="en-US" sz="1400" dirty="0">
              <a:solidFill>
                <a:srgbClr val="1E1E1E"/>
              </a:solidFill>
              <a:latin typeface="DraegerSanLig"/>
            </a:endParaRPr>
          </a:p>
          <a:p>
            <a:pPr algn="l"/>
            <a:r>
              <a:rPr lang="en-US" sz="1400" dirty="0">
                <a:solidFill>
                  <a:srgbClr val="1E1E1E"/>
                </a:solidFill>
                <a:latin typeface="DraegerSanLig"/>
              </a:rPr>
              <a:t>Tel +49 451 000-0000</a:t>
            </a:r>
          </a:p>
          <a:p>
            <a:pPr algn="l"/>
            <a:r>
              <a:rPr lang="en-US" sz="1400" dirty="0">
                <a:solidFill>
                  <a:srgbClr val="1E1E1E"/>
                </a:solidFill>
                <a:latin typeface="DraegerSanLig"/>
              </a:rPr>
              <a:t>First-name.Surname@draeger.com</a:t>
            </a:r>
          </a:p>
        </p:txBody>
      </p:sp>
      <p:sp>
        <p:nvSpPr>
          <p:cNvPr id="17" name="Ellipse 16">
            <a:extLst>
              <a:ext uri="{FF2B5EF4-FFF2-40B4-BE49-F238E27FC236}">
                <a16:creationId xmlns:a16="http://schemas.microsoft.com/office/drawing/2014/main" id="{0CEC1462-1BF3-466F-8333-46A65D6A2FC6}"/>
              </a:ext>
            </a:extLst>
          </p:cNvPr>
          <p:cNvSpPr/>
          <p:nvPr/>
        </p:nvSpPr>
        <p:spPr bwMode="gray">
          <a:xfrm>
            <a:off x="3503712" y="2853072"/>
            <a:ext cx="864000" cy="864000"/>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1500" dirty="0">
                <a:solidFill>
                  <a:schemeClr val="bg1"/>
                </a:solidFill>
              </a:rPr>
              <a:t>PHOTO</a:t>
            </a:r>
          </a:p>
        </p:txBody>
      </p:sp>
      <p:sp>
        <p:nvSpPr>
          <p:cNvPr id="18" name="Textplatzhalter 3">
            <a:extLst>
              <a:ext uri="{FF2B5EF4-FFF2-40B4-BE49-F238E27FC236}">
                <a16:creationId xmlns:a16="http://schemas.microsoft.com/office/drawing/2014/main" id="{6DF5C91D-8C82-4F95-8DC8-32E2B874C67E}"/>
              </a:ext>
            </a:extLst>
          </p:cNvPr>
          <p:cNvSpPr txBox="1">
            <a:spLocks/>
          </p:cNvSpPr>
          <p:nvPr/>
        </p:nvSpPr>
        <p:spPr bwMode="gray">
          <a:xfrm>
            <a:off x="9120336" y="3861272"/>
            <a:ext cx="2448000" cy="2016000"/>
          </a:xfrm>
          <a:prstGeom prst="rect">
            <a:avLst/>
          </a:prstGeom>
        </p:spPr>
        <p:txBody>
          <a:bodyPr wrap="non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400" dirty="0">
                <a:solidFill>
                  <a:schemeClr val="accent5"/>
                </a:solidFill>
              </a:rPr>
              <a:t>First-name Surname</a:t>
            </a:r>
          </a:p>
          <a:p>
            <a:pPr algn="l"/>
            <a:r>
              <a:rPr lang="en-US" sz="1400" dirty="0">
                <a:solidFill>
                  <a:srgbClr val="1E1E1E"/>
                </a:solidFill>
                <a:latin typeface="DraegerSanLig"/>
              </a:rPr>
              <a:t>Position</a:t>
            </a:r>
          </a:p>
          <a:p>
            <a:pPr algn="l"/>
            <a:endParaRPr lang="en-US" sz="1400" dirty="0">
              <a:solidFill>
                <a:srgbClr val="1E1E1E"/>
              </a:solidFill>
              <a:latin typeface="DraegerSanLig"/>
            </a:endParaRPr>
          </a:p>
          <a:p>
            <a:pPr algn="l"/>
            <a:r>
              <a:rPr lang="en-US" sz="1400" dirty="0">
                <a:solidFill>
                  <a:srgbClr val="1E1E1E"/>
                </a:solidFill>
                <a:latin typeface="DraegerSanLig"/>
              </a:rPr>
              <a:t>Drägerwerk AG &amp; Co. KGaA</a:t>
            </a:r>
          </a:p>
          <a:p>
            <a:pPr algn="l"/>
            <a:r>
              <a:rPr lang="en-US" sz="1400" dirty="0">
                <a:solidFill>
                  <a:srgbClr val="1E1E1E"/>
                </a:solidFill>
                <a:latin typeface="DraegerSanLig"/>
              </a:rPr>
              <a:t>Moislinger Allee 53-55</a:t>
            </a:r>
          </a:p>
          <a:p>
            <a:pPr algn="l"/>
            <a:r>
              <a:rPr lang="en-US" sz="1400" dirty="0">
                <a:solidFill>
                  <a:srgbClr val="1E1E1E"/>
                </a:solidFill>
                <a:latin typeface="DraegerSanLig"/>
              </a:rPr>
              <a:t>23558 Lübeck, Germany</a:t>
            </a:r>
          </a:p>
          <a:p>
            <a:pPr algn="l"/>
            <a:endParaRPr lang="en-US" sz="1400" dirty="0">
              <a:solidFill>
                <a:srgbClr val="1E1E1E"/>
              </a:solidFill>
              <a:latin typeface="DraegerSanLig"/>
            </a:endParaRPr>
          </a:p>
          <a:p>
            <a:pPr algn="l"/>
            <a:r>
              <a:rPr lang="en-US" sz="1400" dirty="0">
                <a:solidFill>
                  <a:srgbClr val="1E1E1E"/>
                </a:solidFill>
                <a:latin typeface="DraegerSanLig"/>
              </a:rPr>
              <a:t>Tel +49 451 000-0000</a:t>
            </a:r>
          </a:p>
          <a:p>
            <a:pPr algn="l"/>
            <a:r>
              <a:rPr lang="en-US" sz="1400" dirty="0">
                <a:solidFill>
                  <a:srgbClr val="1E1E1E"/>
                </a:solidFill>
                <a:latin typeface="DraegerSanLig"/>
              </a:rPr>
              <a:t>First-name.Surname@draeger.com</a:t>
            </a:r>
          </a:p>
        </p:txBody>
      </p:sp>
      <p:sp>
        <p:nvSpPr>
          <p:cNvPr id="19" name="Ellipse 18">
            <a:extLst>
              <a:ext uri="{FF2B5EF4-FFF2-40B4-BE49-F238E27FC236}">
                <a16:creationId xmlns:a16="http://schemas.microsoft.com/office/drawing/2014/main" id="{A816A94E-0493-408D-9C3E-447580499CF3}"/>
              </a:ext>
            </a:extLst>
          </p:cNvPr>
          <p:cNvSpPr/>
          <p:nvPr/>
        </p:nvSpPr>
        <p:spPr bwMode="gray">
          <a:xfrm>
            <a:off x="9120336" y="2853072"/>
            <a:ext cx="864000" cy="864000"/>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1500" dirty="0">
                <a:solidFill>
                  <a:schemeClr val="bg1"/>
                </a:solidFill>
              </a:rPr>
              <a:t>PHOTO</a:t>
            </a:r>
          </a:p>
        </p:txBody>
      </p:sp>
      <p:sp>
        <p:nvSpPr>
          <p:cNvPr id="3" name="Fußzeilenplatzhalter 2">
            <a:extLst>
              <a:ext uri="{FF2B5EF4-FFF2-40B4-BE49-F238E27FC236}">
                <a16:creationId xmlns:a16="http://schemas.microsoft.com/office/drawing/2014/main" id="{3DC4F7AD-FDAC-4DA1-B8CB-9DFEE6FBCFE8}"/>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24B9E65E-03E3-4447-85C6-EC6D65AD3463}"/>
              </a:ext>
            </a:extLst>
          </p:cNvPr>
          <p:cNvSpPr>
            <a:spLocks noGrp="1"/>
          </p:cNvSpPr>
          <p:nvPr>
            <p:ph type="sldNum" sz="quarter" idx="12"/>
          </p:nvPr>
        </p:nvSpPr>
        <p:spPr/>
        <p:txBody>
          <a:bodyPr/>
          <a:lstStyle/>
          <a:p>
            <a:fld id="{CE82B8A1-0CCE-4815-9668-383D7DE7D8B4}" type="slidenum">
              <a:rPr lang="en-US" smtClean="0"/>
              <a:t>124</a:t>
            </a:fld>
            <a:endParaRPr lang="en-US" dirty="0"/>
          </a:p>
        </p:txBody>
      </p:sp>
    </p:spTree>
    <p:extLst>
      <p:ext uri="{BB962C8B-B14F-4D97-AF65-F5344CB8AC3E}">
        <p14:creationId xmlns:p14="http://schemas.microsoft.com/office/powerpoint/2010/main" val="3095955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750" fill="hold"/>
                                        <p:tgtEl>
                                          <p:spTgt spid="17"/>
                                        </p:tgtEl>
                                        <p:attrNameLst>
                                          <p:attrName>ppt_x</p:attrName>
                                        </p:attrNameLst>
                                      </p:cBhvr>
                                      <p:tavLst>
                                        <p:tav tm="0">
                                          <p:val>
                                            <p:strVal val="1+#ppt_w/2"/>
                                          </p:val>
                                        </p:tav>
                                        <p:tav tm="100000">
                                          <p:val>
                                            <p:strVal val="#ppt_x"/>
                                          </p:val>
                                        </p:tav>
                                      </p:tavLst>
                                    </p:anim>
                                    <p:anim calcmode="lin" valueType="num">
                                      <p:cBhvr additive="base">
                                        <p:cTn id="8" dur="750" fill="hold"/>
                                        <p:tgtEl>
                                          <p:spTgt spid="1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750" fill="hold"/>
                                        <p:tgtEl>
                                          <p:spTgt spid="16"/>
                                        </p:tgtEl>
                                        <p:attrNameLst>
                                          <p:attrName>ppt_x</p:attrName>
                                        </p:attrNameLst>
                                      </p:cBhvr>
                                      <p:tavLst>
                                        <p:tav tm="0">
                                          <p:val>
                                            <p:strVal val="1+#ppt_w/2"/>
                                          </p:val>
                                        </p:tav>
                                        <p:tav tm="100000">
                                          <p:val>
                                            <p:strVal val="#ppt_x"/>
                                          </p:val>
                                        </p:tav>
                                      </p:tavLst>
                                    </p:anim>
                                    <p:anim calcmode="lin" valueType="num">
                                      <p:cBhvr additive="base">
                                        <p:cTn id="12" dur="750" fill="hold"/>
                                        <p:tgtEl>
                                          <p:spTgt spid="16"/>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100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750" fill="hold"/>
                                        <p:tgtEl>
                                          <p:spTgt spid="15"/>
                                        </p:tgtEl>
                                        <p:attrNameLst>
                                          <p:attrName>ppt_x</p:attrName>
                                        </p:attrNameLst>
                                      </p:cBhvr>
                                      <p:tavLst>
                                        <p:tav tm="0">
                                          <p:val>
                                            <p:strVal val="1+#ppt_w/2"/>
                                          </p:val>
                                        </p:tav>
                                        <p:tav tm="100000">
                                          <p:val>
                                            <p:strVal val="#ppt_x"/>
                                          </p:val>
                                        </p:tav>
                                      </p:tavLst>
                                    </p:anim>
                                    <p:anim calcmode="lin" valueType="num">
                                      <p:cBhvr additive="base">
                                        <p:cTn id="16" dur="750" fill="hold"/>
                                        <p:tgtEl>
                                          <p:spTgt spid="15"/>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100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750" fill="hold"/>
                                        <p:tgtEl>
                                          <p:spTgt spid="14"/>
                                        </p:tgtEl>
                                        <p:attrNameLst>
                                          <p:attrName>ppt_x</p:attrName>
                                        </p:attrNameLst>
                                      </p:cBhvr>
                                      <p:tavLst>
                                        <p:tav tm="0">
                                          <p:val>
                                            <p:strVal val="1+#ppt_w/2"/>
                                          </p:val>
                                        </p:tav>
                                        <p:tav tm="100000">
                                          <p:val>
                                            <p:strVal val="#ppt_x"/>
                                          </p:val>
                                        </p:tav>
                                      </p:tavLst>
                                    </p:anim>
                                    <p:anim calcmode="lin" valueType="num">
                                      <p:cBhvr additive="base">
                                        <p:cTn id="20" dur="750" fill="hold"/>
                                        <p:tgtEl>
                                          <p:spTgt spid="14"/>
                                        </p:tgtEl>
                                        <p:attrNameLst>
                                          <p:attrName>ppt_y</p:attrName>
                                        </p:attrNameLst>
                                      </p:cBhvr>
                                      <p:tavLst>
                                        <p:tav tm="0">
                                          <p:val>
                                            <p:strVal val="#ppt_y"/>
                                          </p:val>
                                        </p:tav>
                                        <p:tav tm="100000">
                                          <p:val>
                                            <p:strVal val="#ppt_y"/>
                                          </p:val>
                                        </p:tav>
                                      </p:tavLst>
                                    </p:anim>
                                  </p:childTnLst>
                                </p:cTn>
                              </p:par>
                              <p:par>
                                <p:cTn id="21" presetID="2" presetClass="entr" presetSubtype="2" fill="hold" grpId="0" nodeType="withEffect">
                                  <p:stCondLst>
                                    <p:cond delay="2000"/>
                                  </p:stCondLst>
                                  <p:childTnLst>
                                    <p:set>
                                      <p:cBhvr>
                                        <p:cTn id="22" dur="1" fill="hold">
                                          <p:stCondLst>
                                            <p:cond delay="0"/>
                                          </p:stCondLst>
                                        </p:cTn>
                                        <p:tgtEl>
                                          <p:spTgt spid="19"/>
                                        </p:tgtEl>
                                        <p:attrNameLst>
                                          <p:attrName>style.visibility</p:attrName>
                                        </p:attrNameLst>
                                      </p:cBhvr>
                                      <p:to>
                                        <p:strVal val="visible"/>
                                      </p:to>
                                    </p:set>
                                    <p:anim calcmode="lin" valueType="num">
                                      <p:cBhvr additive="base">
                                        <p:cTn id="23" dur="750" fill="hold"/>
                                        <p:tgtEl>
                                          <p:spTgt spid="19"/>
                                        </p:tgtEl>
                                        <p:attrNameLst>
                                          <p:attrName>ppt_x</p:attrName>
                                        </p:attrNameLst>
                                      </p:cBhvr>
                                      <p:tavLst>
                                        <p:tav tm="0">
                                          <p:val>
                                            <p:strVal val="1+#ppt_w/2"/>
                                          </p:val>
                                        </p:tav>
                                        <p:tav tm="100000">
                                          <p:val>
                                            <p:strVal val="#ppt_x"/>
                                          </p:val>
                                        </p:tav>
                                      </p:tavLst>
                                    </p:anim>
                                    <p:anim calcmode="lin" valueType="num">
                                      <p:cBhvr additive="base">
                                        <p:cTn id="24" dur="750" fill="hold"/>
                                        <p:tgtEl>
                                          <p:spTgt spid="19"/>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2000"/>
                                  </p:stCondLst>
                                  <p:childTnLst>
                                    <p:set>
                                      <p:cBhvr>
                                        <p:cTn id="26" dur="1" fill="hold">
                                          <p:stCondLst>
                                            <p:cond delay="0"/>
                                          </p:stCondLst>
                                        </p:cTn>
                                        <p:tgtEl>
                                          <p:spTgt spid="18"/>
                                        </p:tgtEl>
                                        <p:attrNameLst>
                                          <p:attrName>style.visibility</p:attrName>
                                        </p:attrNameLst>
                                      </p:cBhvr>
                                      <p:to>
                                        <p:strVal val="visible"/>
                                      </p:to>
                                    </p:set>
                                    <p:anim calcmode="lin" valueType="num">
                                      <p:cBhvr additive="base">
                                        <p:cTn id="27" dur="750" fill="hold"/>
                                        <p:tgtEl>
                                          <p:spTgt spid="18"/>
                                        </p:tgtEl>
                                        <p:attrNameLst>
                                          <p:attrName>ppt_x</p:attrName>
                                        </p:attrNameLst>
                                      </p:cBhvr>
                                      <p:tavLst>
                                        <p:tav tm="0">
                                          <p:val>
                                            <p:strVal val="1+#ppt_w/2"/>
                                          </p:val>
                                        </p:tav>
                                        <p:tav tm="100000">
                                          <p:val>
                                            <p:strVal val="#ppt_x"/>
                                          </p:val>
                                        </p:tav>
                                      </p:tavLst>
                                    </p:anim>
                                    <p:anim calcmode="lin" valueType="num">
                                      <p:cBhvr additive="base">
                                        <p:cTn id="28" dur="75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animBg="1"/>
      <p:bldP spid="16" grpId="0"/>
      <p:bldP spid="17" grpId="0" animBg="1"/>
      <p:bldP spid="18" grpId="0"/>
      <p:bldP spid="19" grpId="0" animBg="1"/>
    </p:bld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447A662F-D257-4D47-BAB5-808D88CE136A}"/>
              </a:ext>
            </a:extLst>
          </p:cNvPr>
          <p:cNvSpPr>
            <a:spLocks noGrp="1"/>
          </p:cNvSpPr>
          <p:nvPr>
            <p:ph type="title"/>
          </p:nvPr>
        </p:nvSpPr>
        <p:spPr bwMode="gray"/>
        <p:txBody>
          <a:bodyPr/>
          <a:lstStyle/>
          <a:p>
            <a:r>
              <a:rPr lang="en-US" dirty="0"/>
              <a:t>Many Thanks</a:t>
            </a:r>
          </a:p>
        </p:txBody>
      </p:sp>
      <p:sp>
        <p:nvSpPr>
          <p:cNvPr id="5" name="Textplatzhalter 4">
            <a:extLst>
              <a:ext uri="{FF2B5EF4-FFF2-40B4-BE49-F238E27FC236}">
                <a16:creationId xmlns:a16="http://schemas.microsoft.com/office/drawing/2014/main" id="{B31EE6EB-2C08-469F-AD1F-7D8D502C1D1E}"/>
              </a:ext>
            </a:extLst>
          </p:cNvPr>
          <p:cNvSpPr>
            <a:spLocks noGrp="1"/>
          </p:cNvSpPr>
          <p:nvPr>
            <p:ph type="body" sz="quarter" idx="1"/>
          </p:nvPr>
        </p:nvSpPr>
        <p:spPr bwMode="gray"/>
        <p:txBody>
          <a:bodyPr/>
          <a:lstStyle/>
          <a:p>
            <a:r>
              <a:rPr lang="en-US" dirty="0"/>
              <a:t>Max Mustermann | Position</a:t>
            </a:r>
          </a:p>
          <a:p>
            <a:pPr lvl="1"/>
            <a:r>
              <a:rPr lang="en-US" dirty="0"/>
              <a:t>Musterstraße 00</a:t>
            </a:r>
          </a:p>
          <a:p>
            <a:pPr lvl="1"/>
            <a:r>
              <a:rPr lang="en-US" dirty="0"/>
              <a:t>00 00 0 Musterstadt</a:t>
            </a:r>
          </a:p>
          <a:p>
            <a:pPr lvl="1"/>
            <a:endParaRPr lang="en-US" dirty="0"/>
          </a:p>
          <a:p>
            <a:pPr lvl="1"/>
            <a:r>
              <a:rPr lang="en-US" dirty="0"/>
              <a:t>Tel. 000 000 000 00</a:t>
            </a:r>
          </a:p>
          <a:p>
            <a:pPr lvl="1"/>
            <a:r>
              <a:rPr lang="en-US" dirty="0"/>
              <a:t>Mail max.mustermann@draeger.com</a:t>
            </a:r>
          </a:p>
        </p:txBody>
      </p:sp>
      <p:sp>
        <p:nvSpPr>
          <p:cNvPr id="2" name="Fußzeilenplatzhalter 1">
            <a:extLst>
              <a:ext uri="{FF2B5EF4-FFF2-40B4-BE49-F238E27FC236}">
                <a16:creationId xmlns:a16="http://schemas.microsoft.com/office/drawing/2014/main" id="{7AC7A3F8-FCD9-4966-AB63-4E232BDBB040}"/>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254D6761-E936-44D5-BDE8-52241BD5B89C}"/>
              </a:ext>
            </a:extLst>
          </p:cNvPr>
          <p:cNvSpPr>
            <a:spLocks noGrp="1"/>
          </p:cNvSpPr>
          <p:nvPr>
            <p:ph type="sldNum" sz="quarter" idx="12"/>
          </p:nvPr>
        </p:nvSpPr>
        <p:spPr/>
        <p:txBody>
          <a:bodyPr/>
          <a:lstStyle/>
          <a:p>
            <a:fld id="{CE82B8A1-0CCE-4815-9668-383D7DE7D8B4}" type="slidenum">
              <a:rPr lang="en-US" noProof="0" smtClean="0"/>
              <a:pPr/>
              <a:t>125</a:t>
            </a:fld>
            <a:endParaRPr lang="en-US" noProof="0" dirty="0"/>
          </a:p>
        </p:txBody>
      </p:sp>
    </p:spTree>
    <p:extLst>
      <p:ext uri="{BB962C8B-B14F-4D97-AF65-F5344CB8AC3E}">
        <p14:creationId xmlns:p14="http://schemas.microsoft.com/office/powerpoint/2010/main" val="25829771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9903411"/>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D0B8FD-ABB8-4755-89EC-C02E7931E67B}"/>
              </a:ext>
            </a:extLst>
          </p:cNvPr>
          <p:cNvSpPr>
            <a:spLocks noGrp="1"/>
          </p:cNvSpPr>
          <p:nvPr>
            <p:ph type="title"/>
          </p:nvPr>
        </p:nvSpPr>
        <p:spPr bwMode="gray"/>
        <p:txBody>
          <a:bodyPr/>
          <a:lstStyle/>
          <a:p>
            <a:r>
              <a:rPr lang="en-US"/>
              <a:t>Icons</a:t>
            </a:r>
            <a:endParaRPr lang="en-US" dirty="0"/>
          </a:p>
        </p:txBody>
      </p:sp>
      <p:sp>
        <p:nvSpPr>
          <p:cNvPr id="43" name="Rechteck 42">
            <a:extLst>
              <a:ext uri="{FF2B5EF4-FFF2-40B4-BE49-F238E27FC236}">
                <a16:creationId xmlns:a16="http://schemas.microsoft.com/office/drawing/2014/main" id="{4AC01B59-DEAA-45CB-9424-1E971B1A3A73}"/>
              </a:ext>
            </a:extLst>
          </p:cNvPr>
          <p:cNvSpPr/>
          <p:nvPr/>
        </p:nvSpPr>
        <p:spPr bwMode="gray">
          <a:xfrm>
            <a:off x="626800"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PC online </a:t>
            </a:r>
            <a:endParaRPr lang="en-US" sz="800" dirty="0">
              <a:solidFill>
                <a:schemeClr val="tx1"/>
              </a:solidFill>
            </a:endParaRPr>
          </a:p>
        </p:txBody>
      </p:sp>
      <p:sp>
        <p:nvSpPr>
          <p:cNvPr id="44" name="Rechteck 43">
            <a:extLst>
              <a:ext uri="{FF2B5EF4-FFF2-40B4-BE49-F238E27FC236}">
                <a16:creationId xmlns:a16="http://schemas.microsoft.com/office/drawing/2014/main" id="{225F767A-7A7E-4C94-802B-79EBA727116D}"/>
              </a:ext>
            </a:extLst>
          </p:cNvPr>
          <p:cNvSpPr/>
          <p:nvPr/>
        </p:nvSpPr>
        <p:spPr bwMode="gray">
          <a:xfrm>
            <a:off x="1736725"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PC offline </a:t>
            </a:r>
            <a:endParaRPr lang="en-US" sz="800" dirty="0">
              <a:solidFill>
                <a:schemeClr val="tx1"/>
              </a:solidFill>
            </a:endParaRPr>
          </a:p>
        </p:txBody>
      </p:sp>
      <p:sp>
        <p:nvSpPr>
          <p:cNvPr id="45" name="Rechteck 44">
            <a:extLst>
              <a:ext uri="{FF2B5EF4-FFF2-40B4-BE49-F238E27FC236}">
                <a16:creationId xmlns:a16="http://schemas.microsoft.com/office/drawing/2014/main" id="{6ED00091-CDF4-41F3-8FCE-7DCFC3530D23}"/>
              </a:ext>
            </a:extLst>
          </p:cNvPr>
          <p:cNvSpPr/>
          <p:nvPr/>
        </p:nvSpPr>
        <p:spPr bwMode="gray">
          <a:xfrm>
            <a:off x="2850058"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PC + USB</a:t>
            </a:r>
            <a:endParaRPr lang="en-US" sz="800" dirty="0">
              <a:solidFill>
                <a:schemeClr val="tx1"/>
              </a:solidFill>
            </a:endParaRPr>
          </a:p>
        </p:txBody>
      </p:sp>
      <p:sp>
        <p:nvSpPr>
          <p:cNvPr id="46" name="Rechteck 45">
            <a:extLst>
              <a:ext uri="{FF2B5EF4-FFF2-40B4-BE49-F238E27FC236}">
                <a16:creationId xmlns:a16="http://schemas.microsoft.com/office/drawing/2014/main" id="{CBFFA51A-3DF8-4B6C-B573-A210821EA705}"/>
              </a:ext>
            </a:extLst>
          </p:cNvPr>
          <p:cNvSpPr/>
          <p:nvPr/>
        </p:nvSpPr>
        <p:spPr bwMode="gray">
          <a:xfrm>
            <a:off x="3963391"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E-Mail</a:t>
            </a:r>
            <a:endParaRPr lang="en-US" sz="800" dirty="0">
              <a:solidFill>
                <a:schemeClr val="tx1"/>
              </a:solidFill>
            </a:endParaRPr>
          </a:p>
        </p:txBody>
      </p:sp>
      <p:sp>
        <p:nvSpPr>
          <p:cNvPr id="47" name="Rechteck 46">
            <a:extLst>
              <a:ext uri="{FF2B5EF4-FFF2-40B4-BE49-F238E27FC236}">
                <a16:creationId xmlns:a16="http://schemas.microsoft.com/office/drawing/2014/main" id="{813B6C9F-22B8-4484-9DD6-8B30A11C0A5E}"/>
              </a:ext>
            </a:extLst>
          </p:cNvPr>
          <p:cNvSpPr/>
          <p:nvPr/>
        </p:nvSpPr>
        <p:spPr bwMode="gray">
          <a:xfrm>
            <a:off x="5076724"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Adobe Reader</a:t>
            </a:r>
          </a:p>
        </p:txBody>
      </p:sp>
      <p:sp>
        <p:nvSpPr>
          <p:cNvPr id="48" name="Rechteck 47">
            <a:extLst>
              <a:ext uri="{FF2B5EF4-FFF2-40B4-BE49-F238E27FC236}">
                <a16:creationId xmlns:a16="http://schemas.microsoft.com/office/drawing/2014/main" id="{BDC263D1-B00E-461C-B8B6-B4B75B17BA23}"/>
              </a:ext>
            </a:extLst>
          </p:cNvPr>
          <p:cNvSpPr/>
          <p:nvPr/>
        </p:nvSpPr>
        <p:spPr bwMode="gray">
          <a:xfrm>
            <a:off x="6190057"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Download</a:t>
            </a:r>
            <a:endParaRPr lang="en-US" sz="800" dirty="0">
              <a:solidFill>
                <a:schemeClr val="tx1"/>
              </a:solidFill>
            </a:endParaRPr>
          </a:p>
        </p:txBody>
      </p:sp>
      <p:sp>
        <p:nvSpPr>
          <p:cNvPr id="49" name="Rechteck 48">
            <a:extLst>
              <a:ext uri="{FF2B5EF4-FFF2-40B4-BE49-F238E27FC236}">
                <a16:creationId xmlns:a16="http://schemas.microsoft.com/office/drawing/2014/main" id="{E5575ABA-7F79-4005-A49C-14255643CC19}"/>
              </a:ext>
            </a:extLst>
          </p:cNvPr>
          <p:cNvSpPr/>
          <p:nvPr/>
        </p:nvSpPr>
        <p:spPr bwMode="gray">
          <a:xfrm>
            <a:off x="7303390"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Upload</a:t>
            </a:r>
            <a:endParaRPr lang="en-US" sz="800" dirty="0">
              <a:solidFill>
                <a:schemeClr val="tx1"/>
              </a:solidFill>
            </a:endParaRPr>
          </a:p>
        </p:txBody>
      </p:sp>
      <p:sp>
        <p:nvSpPr>
          <p:cNvPr id="50" name="Rechteck 49">
            <a:extLst>
              <a:ext uri="{FF2B5EF4-FFF2-40B4-BE49-F238E27FC236}">
                <a16:creationId xmlns:a16="http://schemas.microsoft.com/office/drawing/2014/main" id="{CFF23A7F-7B64-45C3-A66B-983C03D4B373}"/>
              </a:ext>
            </a:extLst>
          </p:cNvPr>
          <p:cNvSpPr/>
          <p:nvPr/>
        </p:nvSpPr>
        <p:spPr bwMode="gray">
          <a:xfrm>
            <a:off x="8416723"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WLAN</a:t>
            </a:r>
            <a:endParaRPr lang="en-US" sz="800" dirty="0">
              <a:solidFill>
                <a:schemeClr val="tx1"/>
              </a:solidFill>
            </a:endParaRPr>
          </a:p>
        </p:txBody>
      </p:sp>
      <p:sp>
        <p:nvSpPr>
          <p:cNvPr id="51" name="Rechteck 50">
            <a:extLst>
              <a:ext uri="{FF2B5EF4-FFF2-40B4-BE49-F238E27FC236}">
                <a16:creationId xmlns:a16="http://schemas.microsoft.com/office/drawing/2014/main" id="{D10E7A44-EF4B-4339-84C4-9FCA6929FAE4}"/>
              </a:ext>
            </a:extLst>
          </p:cNvPr>
          <p:cNvSpPr/>
          <p:nvPr/>
        </p:nvSpPr>
        <p:spPr bwMode="gray">
          <a:xfrm>
            <a:off x="9530056"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Favorites</a:t>
            </a:r>
            <a:endParaRPr lang="en-US" sz="800" dirty="0">
              <a:solidFill>
                <a:schemeClr val="tx1"/>
              </a:solidFill>
            </a:endParaRPr>
          </a:p>
        </p:txBody>
      </p:sp>
      <p:sp>
        <p:nvSpPr>
          <p:cNvPr id="52" name="Rechteck 51">
            <a:extLst>
              <a:ext uri="{FF2B5EF4-FFF2-40B4-BE49-F238E27FC236}">
                <a16:creationId xmlns:a16="http://schemas.microsoft.com/office/drawing/2014/main" id="{54F1D1A7-F532-4D75-B69F-80A91F6DDC9B}"/>
              </a:ext>
            </a:extLst>
          </p:cNvPr>
          <p:cNvSpPr/>
          <p:nvPr/>
        </p:nvSpPr>
        <p:spPr bwMode="gray">
          <a:xfrm>
            <a:off x="10643389"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Reload</a:t>
            </a:r>
            <a:endParaRPr lang="en-US" sz="800" dirty="0">
              <a:solidFill>
                <a:schemeClr val="tx1"/>
              </a:solidFill>
            </a:endParaRPr>
          </a:p>
        </p:txBody>
      </p:sp>
      <p:sp>
        <p:nvSpPr>
          <p:cNvPr id="53" name="Rechteck 52">
            <a:extLst>
              <a:ext uri="{FF2B5EF4-FFF2-40B4-BE49-F238E27FC236}">
                <a16:creationId xmlns:a16="http://schemas.microsoft.com/office/drawing/2014/main" id="{7CADDFCD-A808-4A53-B096-12483E3F3B10}"/>
              </a:ext>
            </a:extLst>
          </p:cNvPr>
          <p:cNvSpPr/>
          <p:nvPr/>
        </p:nvSpPr>
        <p:spPr bwMode="gray">
          <a:xfrm>
            <a:off x="626800"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Word</a:t>
            </a:r>
            <a:endParaRPr lang="en-US" sz="800" dirty="0">
              <a:solidFill>
                <a:schemeClr val="tx1"/>
              </a:solidFill>
            </a:endParaRPr>
          </a:p>
        </p:txBody>
      </p:sp>
      <p:sp>
        <p:nvSpPr>
          <p:cNvPr id="54" name="Rechteck 53">
            <a:extLst>
              <a:ext uri="{FF2B5EF4-FFF2-40B4-BE49-F238E27FC236}">
                <a16:creationId xmlns:a16="http://schemas.microsoft.com/office/drawing/2014/main" id="{75B39B68-33AF-4E22-8FE2-FB7221D1B9D1}"/>
              </a:ext>
            </a:extLst>
          </p:cNvPr>
          <p:cNvSpPr/>
          <p:nvPr/>
        </p:nvSpPr>
        <p:spPr bwMode="gray">
          <a:xfrm>
            <a:off x="1736725"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PowerPoint</a:t>
            </a:r>
            <a:endParaRPr lang="en-US" sz="800" dirty="0">
              <a:solidFill>
                <a:schemeClr val="tx1"/>
              </a:solidFill>
            </a:endParaRPr>
          </a:p>
        </p:txBody>
      </p:sp>
      <p:sp>
        <p:nvSpPr>
          <p:cNvPr id="55" name="Rechteck 54">
            <a:extLst>
              <a:ext uri="{FF2B5EF4-FFF2-40B4-BE49-F238E27FC236}">
                <a16:creationId xmlns:a16="http://schemas.microsoft.com/office/drawing/2014/main" id="{7E28BA45-4BB3-43F1-BFFC-7E53E716EC02}"/>
              </a:ext>
            </a:extLst>
          </p:cNvPr>
          <p:cNvSpPr/>
          <p:nvPr/>
        </p:nvSpPr>
        <p:spPr bwMode="gray">
          <a:xfrm>
            <a:off x="2850058"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Excel</a:t>
            </a:r>
            <a:endParaRPr lang="en-US" sz="800" dirty="0">
              <a:solidFill>
                <a:schemeClr val="tx1"/>
              </a:solidFill>
            </a:endParaRPr>
          </a:p>
        </p:txBody>
      </p:sp>
      <p:sp>
        <p:nvSpPr>
          <p:cNvPr id="56" name="Rechteck 55">
            <a:extLst>
              <a:ext uri="{FF2B5EF4-FFF2-40B4-BE49-F238E27FC236}">
                <a16:creationId xmlns:a16="http://schemas.microsoft.com/office/drawing/2014/main" id="{503F9E7C-6B43-4153-9F5A-220F02F93F4C}"/>
              </a:ext>
            </a:extLst>
          </p:cNvPr>
          <p:cNvSpPr/>
          <p:nvPr/>
        </p:nvSpPr>
        <p:spPr bwMode="gray">
          <a:xfrm>
            <a:off x="3963391"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to sort</a:t>
            </a:r>
            <a:endParaRPr lang="en-US" sz="800" dirty="0">
              <a:solidFill>
                <a:schemeClr val="tx1"/>
              </a:solidFill>
            </a:endParaRPr>
          </a:p>
        </p:txBody>
      </p:sp>
      <p:sp>
        <p:nvSpPr>
          <p:cNvPr id="57" name="Rechteck 56">
            <a:extLst>
              <a:ext uri="{FF2B5EF4-FFF2-40B4-BE49-F238E27FC236}">
                <a16:creationId xmlns:a16="http://schemas.microsoft.com/office/drawing/2014/main" id="{571B3BC2-583C-4C7F-BF4D-2D09EFF74C44}"/>
              </a:ext>
            </a:extLst>
          </p:cNvPr>
          <p:cNvSpPr/>
          <p:nvPr/>
        </p:nvSpPr>
        <p:spPr bwMode="gray">
          <a:xfrm>
            <a:off x="5076724"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Filter</a:t>
            </a:r>
            <a:endParaRPr lang="en-US" sz="800" dirty="0">
              <a:solidFill>
                <a:schemeClr val="tx1"/>
              </a:solidFill>
            </a:endParaRPr>
          </a:p>
        </p:txBody>
      </p:sp>
      <p:sp>
        <p:nvSpPr>
          <p:cNvPr id="58" name="Rechteck 57">
            <a:extLst>
              <a:ext uri="{FF2B5EF4-FFF2-40B4-BE49-F238E27FC236}">
                <a16:creationId xmlns:a16="http://schemas.microsoft.com/office/drawing/2014/main" id="{B90605A1-F04C-444E-9D2B-41FBDC61D675}"/>
              </a:ext>
            </a:extLst>
          </p:cNvPr>
          <p:cNvSpPr/>
          <p:nvPr/>
        </p:nvSpPr>
        <p:spPr bwMode="gray">
          <a:xfrm>
            <a:off x="6190057"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to save</a:t>
            </a:r>
            <a:endParaRPr lang="en-US" sz="800" dirty="0">
              <a:solidFill>
                <a:schemeClr val="tx1"/>
              </a:solidFill>
            </a:endParaRPr>
          </a:p>
        </p:txBody>
      </p:sp>
      <p:sp>
        <p:nvSpPr>
          <p:cNvPr id="59" name="Rechteck 58">
            <a:extLst>
              <a:ext uri="{FF2B5EF4-FFF2-40B4-BE49-F238E27FC236}">
                <a16:creationId xmlns:a16="http://schemas.microsoft.com/office/drawing/2014/main" id="{4FD9956E-CAA2-4AEB-809C-BF5F5FBF83C6}"/>
              </a:ext>
            </a:extLst>
          </p:cNvPr>
          <p:cNvSpPr/>
          <p:nvPr/>
        </p:nvSpPr>
        <p:spPr bwMode="gray">
          <a:xfrm>
            <a:off x="7303390"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to send pictures</a:t>
            </a:r>
            <a:endParaRPr lang="en-US" sz="800" dirty="0">
              <a:solidFill>
                <a:schemeClr val="tx1"/>
              </a:solidFill>
            </a:endParaRPr>
          </a:p>
        </p:txBody>
      </p:sp>
      <p:sp>
        <p:nvSpPr>
          <p:cNvPr id="60" name="Rechteck 59">
            <a:extLst>
              <a:ext uri="{FF2B5EF4-FFF2-40B4-BE49-F238E27FC236}">
                <a16:creationId xmlns:a16="http://schemas.microsoft.com/office/drawing/2014/main" id="{D58FA226-29B7-45E2-B104-AB6640551A07}"/>
              </a:ext>
            </a:extLst>
          </p:cNvPr>
          <p:cNvSpPr/>
          <p:nvPr/>
        </p:nvSpPr>
        <p:spPr bwMode="gray">
          <a:xfrm>
            <a:off x="8416723"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Search</a:t>
            </a:r>
            <a:endParaRPr lang="en-US" sz="800" dirty="0">
              <a:solidFill>
                <a:schemeClr val="tx1"/>
              </a:solidFill>
            </a:endParaRPr>
          </a:p>
        </p:txBody>
      </p:sp>
      <p:sp>
        <p:nvSpPr>
          <p:cNvPr id="61" name="Rechteck 60">
            <a:extLst>
              <a:ext uri="{FF2B5EF4-FFF2-40B4-BE49-F238E27FC236}">
                <a16:creationId xmlns:a16="http://schemas.microsoft.com/office/drawing/2014/main" id="{E14ABED5-87B3-4656-BF9B-1FBA1DDA9AA6}"/>
              </a:ext>
            </a:extLst>
          </p:cNvPr>
          <p:cNvSpPr/>
          <p:nvPr/>
        </p:nvSpPr>
        <p:spPr bwMode="gray">
          <a:xfrm>
            <a:off x="9530056"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Help</a:t>
            </a:r>
            <a:endParaRPr lang="en-US" sz="800" dirty="0">
              <a:solidFill>
                <a:schemeClr val="tx1"/>
              </a:solidFill>
            </a:endParaRPr>
          </a:p>
        </p:txBody>
      </p:sp>
      <p:sp>
        <p:nvSpPr>
          <p:cNvPr id="62" name="Rechteck 61">
            <a:extLst>
              <a:ext uri="{FF2B5EF4-FFF2-40B4-BE49-F238E27FC236}">
                <a16:creationId xmlns:a16="http://schemas.microsoft.com/office/drawing/2014/main" id="{AFEA2762-A1C3-4F9B-BB70-C637F525FEAA}"/>
              </a:ext>
            </a:extLst>
          </p:cNvPr>
          <p:cNvSpPr/>
          <p:nvPr/>
        </p:nvSpPr>
        <p:spPr bwMode="gray">
          <a:xfrm>
            <a:off x="10643389"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Information</a:t>
            </a:r>
            <a:endParaRPr lang="en-US" sz="800" dirty="0">
              <a:solidFill>
                <a:schemeClr val="tx1"/>
              </a:solidFill>
            </a:endParaRPr>
          </a:p>
        </p:txBody>
      </p:sp>
      <p:sp>
        <p:nvSpPr>
          <p:cNvPr id="63" name="Rechteck 62">
            <a:extLst>
              <a:ext uri="{FF2B5EF4-FFF2-40B4-BE49-F238E27FC236}">
                <a16:creationId xmlns:a16="http://schemas.microsoft.com/office/drawing/2014/main" id="{0A3291E0-9A8C-4454-A865-F35ECF3C7B27}"/>
              </a:ext>
            </a:extLst>
          </p:cNvPr>
          <p:cNvSpPr/>
          <p:nvPr/>
        </p:nvSpPr>
        <p:spPr bwMode="gray">
          <a:xfrm>
            <a:off x="626800"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Signal</a:t>
            </a:r>
            <a:endParaRPr lang="en-US" sz="800" dirty="0">
              <a:solidFill>
                <a:schemeClr val="tx1"/>
              </a:solidFill>
            </a:endParaRPr>
          </a:p>
        </p:txBody>
      </p:sp>
      <p:sp>
        <p:nvSpPr>
          <p:cNvPr id="64" name="Rechteck 63">
            <a:extLst>
              <a:ext uri="{FF2B5EF4-FFF2-40B4-BE49-F238E27FC236}">
                <a16:creationId xmlns:a16="http://schemas.microsoft.com/office/drawing/2014/main" id="{B6679ED3-66AC-493F-B64F-1F825529BBF0}"/>
              </a:ext>
            </a:extLst>
          </p:cNvPr>
          <p:cNvSpPr/>
          <p:nvPr/>
        </p:nvSpPr>
        <p:spPr bwMode="gray">
          <a:xfrm>
            <a:off x="1736725"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Settings</a:t>
            </a:r>
            <a:endParaRPr lang="en-US" sz="800" dirty="0">
              <a:solidFill>
                <a:schemeClr val="tx1"/>
              </a:solidFill>
            </a:endParaRPr>
          </a:p>
        </p:txBody>
      </p:sp>
      <p:sp>
        <p:nvSpPr>
          <p:cNvPr id="65" name="Rechteck 64">
            <a:extLst>
              <a:ext uri="{FF2B5EF4-FFF2-40B4-BE49-F238E27FC236}">
                <a16:creationId xmlns:a16="http://schemas.microsoft.com/office/drawing/2014/main" id="{2868369A-8D29-44A0-9DED-B6AF8B5324C2}"/>
              </a:ext>
            </a:extLst>
          </p:cNvPr>
          <p:cNvSpPr/>
          <p:nvPr/>
        </p:nvSpPr>
        <p:spPr bwMode="gray">
          <a:xfrm>
            <a:off x="2850058"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Bluetooth</a:t>
            </a:r>
            <a:endParaRPr lang="en-US" sz="800" dirty="0">
              <a:solidFill>
                <a:schemeClr val="tx1"/>
              </a:solidFill>
            </a:endParaRPr>
          </a:p>
        </p:txBody>
      </p:sp>
      <p:sp>
        <p:nvSpPr>
          <p:cNvPr id="66" name="Rechteck 65">
            <a:extLst>
              <a:ext uri="{FF2B5EF4-FFF2-40B4-BE49-F238E27FC236}">
                <a16:creationId xmlns:a16="http://schemas.microsoft.com/office/drawing/2014/main" id="{2FF5364B-393E-402C-A882-2418879FECA9}"/>
              </a:ext>
            </a:extLst>
          </p:cNvPr>
          <p:cNvSpPr/>
          <p:nvPr/>
        </p:nvSpPr>
        <p:spPr bwMode="gray">
          <a:xfrm>
            <a:off x="3963391"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Lightness</a:t>
            </a:r>
            <a:endParaRPr lang="en-US" sz="800" dirty="0">
              <a:solidFill>
                <a:schemeClr val="tx1"/>
              </a:solidFill>
            </a:endParaRPr>
          </a:p>
        </p:txBody>
      </p:sp>
      <p:sp>
        <p:nvSpPr>
          <p:cNvPr id="67" name="Rechteck 66">
            <a:extLst>
              <a:ext uri="{FF2B5EF4-FFF2-40B4-BE49-F238E27FC236}">
                <a16:creationId xmlns:a16="http://schemas.microsoft.com/office/drawing/2014/main" id="{53106EB6-502E-44A0-BA21-7C71ACAE5F8A}"/>
              </a:ext>
            </a:extLst>
          </p:cNvPr>
          <p:cNvSpPr/>
          <p:nvPr/>
        </p:nvSpPr>
        <p:spPr bwMode="gray">
          <a:xfrm>
            <a:off x="5076724"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Moon</a:t>
            </a:r>
            <a:endParaRPr lang="en-US" sz="800" dirty="0">
              <a:solidFill>
                <a:schemeClr val="tx1"/>
              </a:solidFill>
            </a:endParaRPr>
          </a:p>
        </p:txBody>
      </p:sp>
      <p:sp>
        <p:nvSpPr>
          <p:cNvPr id="68" name="Rechteck 67">
            <a:extLst>
              <a:ext uri="{FF2B5EF4-FFF2-40B4-BE49-F238E27FC236}">
                <a16:creationId xmlns:a16="http://schemas.microsoft.com/office/drawing/2014/main" id="{3D9BD904-6919-482E-A06A-BD90F551D676}"/>
              </a:ext>
            </a:extLst>
          </p:cNvPr>
          <p:cNvSpPr/>
          <p:nvPr/>
        </p:nvSpPr>
        <p:spPr bwMode="gray">
          <a:xfrm>
            <a:off x="6190057"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Plug</a:t>
            </a:r>
            <a:endParaRPr lang="en-US" sz="800" dirty="0">
              <a:solidFill>
                <a:schemeClr val="tx1"/>
              </a:solidFill>
            </a:endParaRPr>
          </a:p>
        </p:txBody>
      </p:sp>
      <p:sp>
        <p:nvSpPr>
          <p:cNvPr id="69" name="Rechteck 68">
            <a:extLst>
              <a:ext uri="{FF2B5EF4-FFF2-40B4-BE49-F238E27FC236}">
                <a16:creationId xmlns:a16="http://schemas.microsoft.com/office/drawing/2014/main" id="{9CAE09C6-F565-4F7E-A9D4-B8424D9F8EFF}"/>
              </a:ext>
            </a:extLst>
          </p:cNvPr>
          <p:cNvSpPr/>
          <p:nvPr/>
        </p:nvSpPr>
        <p:spPr bwMode="gray">
          <a:xfrm>
            <a:off x="7303390"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Loading</a:t>
            </a:r>
            <a:endParaRPr lang="en-US" sz="800" dirty="0">
              <a:solidFill>
                <a:schemeClr val="tx1"/>
              </a:solidFill>
            </a:endParaRPr>
          </a:p>
        </p:txBody>
      </p:sp>
      <p:sp>
        <p:nvSpPr>
          <p:cNvPr id="70" name="Rechteck 69">
            <a:extLst>
              <a:ext uri="{FF2B5EF4-FFF2-40B4-BE49-F238E27FC236}">
                <a16:creationId xmlns:a16="http://schemas.microsoft.com/office/drawing/2014/main" id="{96A25E37-D6B6-4571-8A9F-45CEF39F93B4}"/>
              </a:ext>
            </a:extLst>
          </p:cNvPr>
          <p:cNvSpPr/>
          <p:nvPr/>
        </p:nvSpPr>
        <p:spPr bwMode="gray">
          <a:xfrm>
            <a:off x="8416723"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75 % Loading</a:t>
            </a:r>
            <a:endParaRPr lang="en-US" sz="800" dirty="0">
              <a:solidFill>
                <a:schemeClr val="tx1"/>
              </a:solidFill>
            </a:endParaRPr>
          </a:p>
        </p:txBody>
      </p:sp>
      <p:sp>
        <p:nvSpPr>
          <p:cNvPr id="71" name="Rechteck 70">
            <a:extLst>
              <a:ext uri="{FF2B5EF4-FFF2-40B4-BE49-F238E27FC236}">
                <a16:creationId xmlns:a16="http://schemas.microsoft.com/office/drawing/2014/main" id="{FEB8C4F9-8BDF-4429-8395-C5B075B1F9FC}"/>
              </a:ext>
            </a:extLst>
          </p:cNvPr>
          <p:cNvSpPr/>
          <p:nvPr/>
        </p:nvSpPr>
        <p:spPr bwMode="gray">
          <a:xfrm>
            <a:off x="9530056"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Camera</a:t>
            </a:r>
            <a:endParaRPr lang="en-US" sz="800" dirty="0">
              <a:solidFill>
                <a:schemeClr val="tx1"/>
              </a:solidFill>
            </a:endParaRPr>
          </a:p>
        </p:txBody>
      </p:sp>
      <p:sp>
        <p:nvSpPr>
          <p:cNvPr id="72" name="Rechteck 71">
            <a:extLst>
              <a:ext uri="{FF2B5EF4-FFF2-40B4-BE49-F238E27FC236}">
                <a16:creationId xmlns:a16="http://schemas.microsoft.com/office/drawing/2014/main" id="{3AC52078-9EE4-4515-B749-2BD6331FD35C}"/>
              </a:ext>
            </a:extLst>
          </p:cNvPr>
          <p:cNvSpPr/>
          <p:nvPr/>
        </p:nvSpPr>
        <p:spPr bwMode="gray">
          <a:xfrm>
            <a:off x="10643389"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Video</a:t>
            </a:r>
            <a:endParaRPr lang="en-US" sz="800" dirty="0">
              <a:solidFill>
                <a:schemeClr val="tx1"/>
              </a:solidFill>
            </a:endParaRPr>
          </a:p>
        </p:txBody>
      </p:sp>
      <p:sp>
        <p:nvSpPr>
          <p:cNvPr id="73" name="Rechteck 72">
            <a:extLst>
              <a:ext uri="{FF2B5EF4-FFF2-40B4-BE49-F238E27FC236}">
                <a16:creationId xmlns:a16="http://schemas.microsoft.com/office/drawing/2014/main" id="{6EC57BDB-8900-44D6-85AA-05FC59FBD6DA}"/>
              </a:ext>
            </a:extLst>
          </p:cNvPr>
          <p:cNvSpPr/>
          <p:nvPr/>
        </p:nvSpPr>
        <p:spPr bwMode="gray">
          <a:xfrm>
            <a:off x="626800"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Play</a:t>
            </a:r>
            <a:endParaRPr lang="en-US" sz="800" dirty="0">
              <a:solidFill>
                <a:schemeClr val="tx1"/>
              </a:solidFill>
            </a:endParaRPr>
          </a:p>
        </p:txBody>
      </p:sp>
      <p:sp>
        <p:nvSpPr>
          <p:cNvPr id="74" name="Rechteck 73">
            <a:extLst>
              <a:ext uri="{FF2B5EF4-FFF2-40B4-BE49-F238E27FC236}">
                <a16:creationId xmlns:a16="http://schemas.microsoft.com/office/drawing/2014/main" id="{1233829B-1A33-4939-B392-16A53685241C}"/>
              </a:ext>
            </a:extLst>
          </p:cNvPr>
          <p:cNvSpPr/>
          <p:nvPr/>
        </p:nvSpPr>
        <p:spPr bwMode="gray">
          <a:xfrm>
            <a:off x="1736725"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Break</a:t>
            </a:r>
            <a:endParaRPr lang="en-US" sz="800" dirty="0">
              <a:solidFill>
                <a:schemeClr val="tx1"/>
              </a:solidFill>
            </a:endParaRPr>
          </a:p>
        </p:txBody>
      </p:sp>
      <p:sp>
        <p:nvSpPr>
          <p:cNvPr id="75" name="Rechteck 74">
            <a:extLst>
              <a:ext uri="{FF2B5EF4-FFF2-40B4-BE49-F238E27FC236}">
                <a16:creationId xmlns:a16="http://schemas.microsoft.com/office/drawing/2014/main" id="{CA19F1E4-0D3E-445B-9136-454B3BE9DE2E}"/>
              </a:ext>
            </a:extLst>
          </p:cNvPr>
          <p:cNvSpPr/>
          <p:nvPr/>
        </p:nvSpPr>
        <p:spPr bwMode="gray">
          <a:xfrm>
            <a:off x="2850058"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Stop</a:t>
            </a:r>
            <a:endParaRPr lang="en-US" sz="800" dirty="0">
              <a:solidFill>
                <a:schemeClr val="tx1"/>
              </a:solidFill>
            </a:endParaRPr>
          </a:p>
        </p:txBody>
      </p:sp>
      <p:sp>
        <p:nvSpPr>
          <p:cNvPr id="76" name="Rechteck 75">
            <a:extLst>
              <a:ext uri="{FF2B5EF4-FFF2-40B4-BE49-F238E27FC236}">
                <a16:creationId xmlns:a16="http://schemas.microsoft.com/office/drawing/2014/main" id="{3E9FC616-DB40-41DA-854F-529C16F87A71}"/>
              </a:ext>
            </a:extLst>
          </p:cNvPr>
          <p:cNvSpPr/>
          <p:nvPr/>
        </p:nvSpPr>
        <p:spPr bwMode="gray">
          <a:xfrm>
            <a:off x="3963391"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Jump Back</a:t>
            </a:r>
            <a:endParaRPr lang="en-US" sz="800" dirty="0">
              <a:solidFill>
                <a:schemeClr val="tx1"/>
              </a:solidFill>
            </a:endParaRPr>
          </a:p>
        </p:txBody>
      </p:sp>
      <p:sp>
        <p:nvSpPr>
          <p:cNvPr id="77" name="Rechteck 76">
            <a:extLst>
              <a:ext uri="{FF2B5EF4-FFF2-40B4-BE49-F238E27FC236}">
                <a16:creationId xmlns:a16="http://schemas.microsoft.com/office/drawing/2014/main" id="{E00015F1-B239-4C05-AE14-3B4DB77E80F1}"/>
              </a:ext>
            </a:extLst>
          </p:cNvPr>
          <p:cNvSpPr/>
          <p:nvPr/>
        </p:nvSpPr>
        <p:spPr bwMode="gray">
          <a:xfrm>
            <a:off x="5076724"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Jump Forward</a:t>
            </a:r>
            <a:endParaRPr lang="en-US" sz="800" dirty="0">
              <a:solidFill>
                <a:schemeClr val="tx1"/>
              </a:solidFill>
            </a:endParaRPr>
          </a:p>
        </p:txBody>
      </p:sp>
      <p:sp>
        <p:nvSpPr>
          <p:cNvPr id="78" name="Rechteck 77">
            <a:extLst>
              <a:ext uri="{FF2B5EF4-FFF2-40B4-BE49-F238E27FC236}">
                <a16:creationId xmlns:a16="http://schemas.microsoft.com/office/drawing/2014/main" id="{2FD2E532-DC7C-4AFB-9573-F8A049A81AF1}"/>
              </a:ext>
            </a:extLst>
          </p:cNvPr>
          <p:cNvSpPr/>
          <p:nvPr/>
        </p:nvSpPr>
        <p:spPr bwMode="gray">
          <a:xfrm>
            <a:off x="6190057"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Rewind</a:t>
            </a:r>
            <a:endParaRPr lang="en-US" sz="800" dirty="0">
              <a:solidFill>
                <a:schemeClr val="tx1"/>
              </a:solidFill>
            </a:endParaRPr>
          </a:p>
        </p:txBody>
      </p:sp>
      <p:sp>
        <p:nvSpPr>
          <p:cNvPr id="79" name="Rechteck 78">
            <a:extLst>
              <a:ext uri="{FF2B5EF4-FFF2-40B4-BE49-F238E27FC236}">
                <a16:creationId xmlns:a16="http://schemas.microsoft.com/office/drawing/2014/main" id="{1C1E5D9E-03DF-49BB-9B42-56DFD3C3CC78}"/>
              </a:ext>
            </a:extLst>
          </p:cNvPr>
          <p:cNvSpPr/>
          <p:nvPr/>
        </p:nvSpPr>
        <p:spPr bwMode="gray">
          <a:xfrm>
            <a:off x="7303390"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Fast Forward</a:t>
            </a:r>
            <a:endParaRPr lang="en-US" sz="800" dirty="0">
              <a:solidFill>
                <a:schemeClr val="tx1"/>
              </a:solidFill>
            </a:endParaRPr>
          </a:p>
        </p:txBody>
      </p:sp>
      <p:sp>
        <p:nvSpPr>
          <p:cNvPr id="80" name="Rechteck 79">
            <a:extLst>
              <a:ext uri="{FF2B5EF4-FFF2-40B4-BE49-F238E27FC236}">
                <a16:creationId xmlns:a16="http://schemas.microsoft.com/office/drawing/2014/main" id="{42A1BEB0-BDB5-483C-88D9-6C64B01B6B03}"/>
              </a:ext>
            </a:extLst>
          </p:cNvPr>
          <p:cNvSpPr/>
          <p:nvPr/>
        </p:nvSpPr>
        <p:spPr bwMode="gray">
          <a:xfrm>
            <a:off x="8416723"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Sound</a:t>
            </a:r>
            <a:endParaRPr lang="en-US" sz="800" dirty="0">
              <a:solidFill>
                <a:schemeClr val="tx1"/>
              </a:solidFill>
            </a:endParaRPr>
          </a:p>
        </p:txBody>
      </p:sp>
      <p:sp>
        <p:nvSpPr>
          <p:cNvPr id="81" name="Rechteck 80">
            <a:extLst>
              <a:ext uri="{FF2B5EF4-FFF2-40B4-BE49-F238E27FC236}">
                <a16:creationId xmlns:a16="http://schemas.microsoft.com/office/drawing/2014/main" id="{918CC046-DFDB-482A-B132-FCD062AD89FA}"/>
              </a:ext>
            </a:extLst>
          </p:cNvPr>
          <p:cNvSpPr/>
          <p:nvPr/>
        </p:nvSpPr>
        <p:spPr bwMode="gray">
          <a:xfrm>
            <a:off x="9530056"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Mute</a:t>
            </a:r>
            <a:endParaRPr lang="en-US" sz="800" dirty="0">
              <a:solidFill>
                <a:schemeClr val="tx1"/>
              </a:solidFill>
            </a:endParaRPr>
          </a:p>
        </p:txBody>
      </p:sp>
      <p:sp>
        <p:nvSpPr>
          <p:cNvPr id="82" name="Rechteck 81">
            <a:extLst>
              <a:ext uri="{FF2B5EF4-FFF2-40B4-BE49-F238E27FC236}">
                <a16:creationId xmlns:a16="http://schemas.microsoft.com/office/drawing/2014/main" id="{EF8585ED-8518-470F-840B-49DD49A814CE}"/>
              </a:ext>
            </a:extLst>
          </p:cNvPr>
          <p:cNvSpPr/>
          <p:nvPr/>
        </p:nvSpPr>
        <p:spPr bwMode="gray">
          <a:xfrm>
            <a:off x="10643389"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Microphone</a:t>
            </a:r>
            <a:endParaRPr lang="en-US" sz="800" dirty="0">
              <a:solidFill>
                <a:schemeClr val="tx1"/>
              </a:solidFill>
            </a:endParaRPr>
          </a:p>
        </p:txBody>
      </p:sp>
      <p:sp>
        <p:nvSpPr>
          <p:cNvPr id="83" name="Freeform 9">
            <a:extLst>
              <a:ext uri="{FF2B5EF4-FFF2-40B4-BE49-F238E27FC236}">
                <a16:creationId xmlns:a16="http://schemas.microsoft.com/office/drawing/2014/main" id="{644FD1F4-CE20-4234-A5FF-17A22AA10B24}"/>
              </a:ext>
            </a:extLst>
          </p:cNvPr>
          <p:cNvSpPr>
            <a:spLocks noEditPoints="1"/>
          </p:cNvSpPr>
          <p:nvPr/>
        </p:nvSpPr>
        <p:spPr bwMode="gray">
          <a:xfrm>
            <a:off x="7594353" y="2094558"/>
            <a:ext cx="354177" cy="365360"/>
          </a:xfrm>
          <a:custGeom>
            <a:avLst/>
            <a:gdLst>
              <a:gd name="T0" fmla="*/ 160 w 160"/>
              <a:gd name="T1" fmla="*/ 80 h 168"/>
              <a:gd name="T2" fmla="*/ 160 w 160"/>
              <a:gd name="T3" fmla="*/ 136 h 168"/>
              <a:gd name="T4" fmla="*/ 128 w 160"/>
              <a:gd name="T5" fmla="*/ 168 h 168"/>
              <a:gd name="T6" fmla="*/ 32 w 160"/>
              <a:gd name="T7" fmla="*/ 168 h 168"/>
              <a:gd name="T8" fmla="*/ 0 w 160"/>
              <a:gd name="T9" fmla="*/ 136 h 168"/>
              <a:gd name="T10" fmla="*/ 0 w 160"/>
              <a:gd name="T11" fmla="*/ 80 h 168"/>
              <a:gd name="T12" fmla="*/ 32 w 160"/>
              <a:gd name="T13" fmla="*/ 80 h 168"/>
              <a:gd name="T14" fmla="*/ 32 w 160"/>
              <a:gd name="T15" fmla="*/ 152 h 168"/>
              <a:gd name="T16" fmla="*/ 128 w 160"/>
              <a:gd name="T17" fmla="*/ 152 h 168"/>
              <a:gd name="T18" fmla="*/ 128 w 160"/>
              <a:gd name="T19" fmla="*/ 80 h 168"/>
              <a:gd name="T20" fmla="*/ 160 w 160"/>
              <a:gd name="T21" fmla="*/ 80 h 168"/>
              <a:gd name="T22" fmla="*/ 48 w 160"/>
              <a:gd name="T23" fmla="*/ 144 h 168"/>
              <a:gd name="T24" fmla="*/ 112 w 160"/>
              <a:gd name="T25" fmla="*/ 144 h 168"/>
              <a:gd name="T26" fmla="*/ 112 w 160"/>
              <a:gd name="T27" fmla="*/ 128 h 168"/>
              <a:gd name="T28" fmla="*/ 48 w 160"/>
              <a:gd name="T29" fmla="*/ 128 h 168"/>
              <a:gd name="T30" fmla="*/ 48 w 160"/>
              <a:gd name="T31" fmla="*/ 144 h 168"/>
              <a:gd name="T32" fmla="*/ 56 w 160"/>
              <a:gd name="T33" fmla="*/ 96 h 168"/>
              <a:gd name="T34" fmla="*/ 104 w 160"/>
              <a:gd name="T35" fmla="*/ 96 h 168"/>
              <a:gd name="T36" fmla="*/ 104 w 160"/>
              <a:gd name="T37" fmla="*/ 64 h 168"/>
              <a:gd name="T38" fmla="*/ 144 w 160"/>
              <a:gd name="T39" fmla="*/ 64 h 168"/>
              <a:gd name="T40" fmla="*/ 80 w 160"/>
              <a:gd name="T41" fmla="*/ 0 h 168"/>
              <a:gd name="T42" fmla="*/ 16 w 160"/>
              <a:gd name="T43" fmla="*/ 64 h 168"/>
              <a:gd name="T44" fmla="*/ 56 w 160"/>
              <a:gd name="T45" fmla="*/ 64 h 168"/>
              <a:gd name="T46" fmla="*/ 56 w 160"/>
              <a:gd name="T47" fmla="*/ 9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0" h="168">
                <a:moveTo>
                  <a:pt x="160" y="80"/>
                </a:moveTo>
                <a:cubicBezTo>
                  <a:pt x="160" y="136"/>
                  <a:pt x="160" y="136"/>
                  <a:pt x="160" y="136"/>
                </a:cubicBezTo>
                <a:cubicBezTo>
                  <a:pt x="160" y="153"/>
                  <a:pt x="145" y="168"/>
                  <a:pt x="128" y="168"/>
                </a:cubicBezTo>
                <a:cubicBezTo>
                  <a:pt x="32" y="168"/>
                  <a:pt x="32" y="168"/>
                  <a:pt x="32" y="168"/>
                </a:cubicBezTo>
                <a:cubicBezTo>
                  <a:pt x="14" y="168"/>
                  <a:pt x="0" y="153"/>
                  <a:pt x="0" y="136"/>
                </a:cubicBezTo>
                <a:cubicBezTo>
                  <a:pt x="0" y="80"/>
                  <a:pt x="0" y="80"/>
                  <a:pt x="0" y="80"/>
                </a:cubicBezTo>
                <a:cubicBezTo>
                  <a:pt x="32" y="80"/>
                  <a:pt x="32" y="80"/>
                  <a:pt x="32" y="80"/>
                </a:cubicBezTo>
                <a:cubicBezTo>
                  <a:pt x="32" y="152"/>
                  <a:pt x="32" y="152"/>
                  <a:pt x="32" y="152"/>
                </a:cubicBezTo>
                <a:cubicBezTo>
                  <a:pt x="128" y="152"/>
                  <a:pt x="128" y="152"/>
                  <a:pt x="128" y="152"/>
                </a:cubicBezTo>
                <a:cubicBezTo>
                  <a:pt x="128" y="80"/>
                  <a:pt x="128" y="80"/>
                  <a:pt x="128" y="80"/>
                </a:cubicBezTo>
                <a:lnTo>
                  <a:pt x="160" y="80"/>
                </a:lnTo>
                <a:close/>
                <a:moveTo>
                  <a:pt x="48" y="144"/>
                </a:moveTo>
                <a:cubicBezTo>
                  <a:pt x="112" y="144"/>
                  <a:pt x="112" y="144"/>
                  <a:pt x="112" y="144"/>
                </a:cubicBezTo>
                <a:cubicBezTo>
                  <a:pt x="112" y="128"/>
                  <a:pt x="112" y="128"/>
                  <a:pt x="112" y="128"/>
                </a:cubicBezTo>
                <a:cubicBezTo>
                  <a:pt x="48" y="128"/>
                  <a:pt x="48" y="128"/>
                  <a:pt x="48" y="128"/>
                </a:cubicBezTo>
                <a:lnTo>
                  <a:pt x="48" y="144"/>
                </a:lnTo>
                <a:close/>
                <a:moveTo>
                  <a:pt x="56" y="96"/>
                </a:moveTo>
                <a:cubicBezTo>
                  <a:pt x="104" y="96"/>
                  <a:pt x="104" y="96"/>
                  <a:pt x="104" y="96"/>
                </a:cubicBezTo>
                <a:cubicBezTo>
                  <a:pt x="104" y="64"/>
                  <a:pt x="104" y="64"/>
                  <a:pt x="104" y="64"/>
                </a:cubicBezTo>
                <a:cubicBezTo>
                  <a:pt x="144" y="64"/>
                  <a:pt x="144" y="64"/>
                  <a:pt x="144" y="64"/>
                </a:cubicBezTo>
                <a:cubicBezTo>
                  <a:pt x="80" y="0"/>
                  <a:pt x="80" y="0"/>
                  <a:pt x="80" y="0"/>
                </a:cubicBezTo>
                <a:cubicBezTo>
                  <a:pt x="16" y="64"/>
                  <a:pt x="16" y="64"/>
                  <a:pt x="16" y="64"/>
                </a:cubicBezTo>
                <a:cubicBezTo>
                  <a:pt x="56" y="64"/>
                  <a:pt x="56" y="64"/>
                  <a:pt x="56" y="64"/>
                </a:cubicBezTo>
                <a:lnTo>
                  <a:pt x="56" y="9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 name="Freeform 10">
            <a:extLst>
              <a:ext uri="{FF2B5EF4-FFF2-40B4-BE49-F238E27FC236}">
                <a16:creationId xmlns:a16="http://schemas.microsoft.com/office/drawing/2014/main" id="{7FEA93F9-5192-4599-880A-378215D52C8C}"/>
              </a:ext>
            </a:extLst>
          </p:cNvPr>
          <p:cNvSpPr>
            <a:spLocks noEditPoints="1"/>
          </p:cNvSpPr>
          <p:nvPr/>
        </p:nvSpPr>
        <p:spPr bwMode="gray">
          <a:xfrm>
            <a:off x="4118636" y="2134555"/>
            <a:ext cx="625613" cy="285367"/>
          </a:xfrm>
          <a:custGeom>
            <a:avLst/>
            <a:gdLst>
              <a:gd name="T0" fmla="*/ 68 w 192"/>
              <a:gd name="T1" fmla="*/ 36 h 88"/>
              <a:gd name="T2" fmla="*/ 12 w 192"/>
              <a:gd name="T3" fmla="*/ 0 h 88"/>
              <a:gd name="T4" fmla="*/ 123 w 192"/>
              <a:gd name="T5" fmla="*/ 0 h 88"/>
              <a:gd name="T6" fmla="*/ 68 w 192"/>
              <a:gd name="T7" fmla="*/ 36 h 88"/>
              <a:gd name="T8" fmla="*/ 68 w 192"/>
              <a:gd name="T9" fmla="*/ 52 h 88"/>
              <a:gd name="T10" fmla="*/ 0 w 192"/>
              <a:gd name="T11" fmla="*/ 8 h 88"/>
              <a:gd name="T12" fmla="*/ 0 w 192"/>
              <a:gd name="T13" fmla="*/ 56 h 88"/>
              <a:gd name="T14" fmla="*/ 32 w 192"/>
              <a:gd name="T15" fmla="*/ 88 h 88"/>
              <a:gd name="T16" fmla="*/ 104 w 192"/>
              <a:gd name="T17" fmla="*/ 88 h 88"/>
              <a:gd name="T18" fmla="*/ 136 w 192"/>
              <a:gd name="T19" fmla="*/ 56 h 88"/>
              <a:gd name="T20" fmla="*/ 136 w 192"/>
              <a:gd name="T21" fmla="*/ 8 h 88"/>
              <a:gd name="T22" fmla="*/ 68 w 192"/>
              <a:gd name="T23" fmla="*/ 52 h 88"/>
              <a:gd name="T24" fmla="*/ 148 w 192"/>
              <a:gd name="T25" fmla="*/ 88 h 88"/>
              <a:gd name="T26" fmla="*/ 192 w 192"/>
              <a:gd name="T27" fmla="*/ 44 h 88"/>
              <a:gd name="T28" fmla="*/ 148 w 192"/>
              <a:gd name="T29" fmla="*/ 0 h 88"/>
              <a:gd name="T30" fmla="*/ 148 w 192"/>
              <a:gd name="T3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2" h="88">
                <a:moveTo>
                  <a:pt x="68" y="36"/>
                </a:moveTo>
                <a:cubicBezTo>
                  <a:pt x="12" y="0"/>
                  <a:pt x="12" y="0"/>
                  <a:pt x="12" y="0"/>
                </a:cubicBezTo>
                <a:cubicBezTo>
                  <a:pt x="123" y="0"/>
                  <a:pt x="123" y="0"/>
                  <a:pt x="123" y="0"/>
                </a:cubicBezTo>
                <a:lnTo>
                  <a:pt x="68" y="36"/>
                </a:lnTo>
                <a:close/>
                <a:moveTo>
                  <a:pt x="68" y="52"/>
                </a:moveTo>
                <a:cubicBezTo>
                  <a:pt x="0" y="8"/>
                  <a:pt x="0" y="8"/>
                  <a:pt x="0" y="8"/>
                </a:cubicBezTo>
                <a:cubicBezTo>
                  <a:pt x="0" y="56"/>
                  <a:pt x="0" y="56"/>
                  <a:pt x="0" y="56"/>
                </a:cubicBezTo>
                <a:cubicBezTo>
                  <a:pt x="0" y="73"/>
                  <a:pt x="14" y="88"/>
                  <a:pt x="32" y="88"/>
                </a:cubicBezTo>
                <a:cubicBezTo>
                  <a:pt x="104" y="88"/>
                  <a:pt x="104" y="88"/>
                  <a:pt x="104" y="88"/>
                </a:cubicBezTo>
                <a:cubicBezTo>
                  <a:pt x="121" y="88"/>
                  <a:pt x="136" y="73"/>
                  <a:pt x="136" y="56"/>
                </a:cubicBezTo>
                <a:cubicBezTo>
                  <a:pt x="136" y="8"/>
                  <a:pt x="136" y="8"/>
                  <a:pt x="136" y="8"/>
                </a:cubicBezTo>
                <a:lnTo>
                  <a:pt x="68" y="52"/>
                </a:lnTo>
                <a:close/>
                <a:moveTo>
                  <a:pt x="148" y="88"/>
                </a:moveTo>
                <a:cubicBezTo>
                  <a:pt x="192" y="44"/>
                  <a:pt x="192" y="44"/>
                  <a:pt x="192" y="44"/>
                </a:cubicBezTo>
                <a:cubicBezTo>
                  <a:pt x="148" y="0"/>
                  <a:pt x="148" y="0"/>
                  <a:pt x="148" y="0"/>
                </a:cubicBezTo>
                <a:lnTo>
                  <a:pt x="148" y="8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5" name="Freeform 17">
            <a:extLst>
              <a:ext uri="{FF2B5EF4-FFF2-40B4-BE49-F238E27FC236}">
                <a16:creationId xmlns:a16="http://schemas.microsoft.com/office/drawing/2014/main" id="{A263F415-FAEF-42FB-B517-A8C5184C4015}"/>
              </a:ext>
            </a:extLst>
          </p:cNvPr>
          <p:cNvSpPr>
            <a:spLocks noEditPoints="1"/>
          </p:cNvSpPr>
          <p:nvPr/>
        </p:nvSpPr>
        <p:spPr bwMode="gray">
          <a:xfrm>
            <a:off x="6481020" y="3275016"/>
            <a:ext cx="354176" cy="350447"/>
          </a:xfrm>
          <a:custGeom>
            <a:avLst/>
            <a:gdLst>
              <a:gd name="T0" fmla="*/ 88 w 160"/>
              <a:gd name="T1" fmla="*/ 40 h 160"/>
              <a:gd name="T2" fmla="*/ 64 w 160"/>
              <a:gd name="T3" fmla="*/ 40 h 160"/>
              <a:gd name="T4" fmla="*/ 64 w 160"/>
              <a:gd name="T5" fmla="*/ 24 h 160"/>
              <a:gd name="T6" fmla="*/ 88 w 160"/>
              <a:gd name="T7" fmla="*/ 24 h 160"/>
              <a:gd name="T8" fmla="*/ 88 w 160"/>
              <a:gd name="T9" fmla="*/ 40 h 160"/>
              <a:gd name="T10" fmla="*/ 0 w 160"/>
              <a:gd name="T11" fmla="*/ 160 h 160"/>
              <a:gd name="T12" fmla="*/ 0 w 160"/>
              <a:gd name="T13" fmla="*/ 0 h 160"/>
              <a:gd name="T14" fmla="*/ 112 w 160"/>
              <a:gd name="T15" fmla="*/ 0 h 160"/>
              <a:gd name="T16" fmla="*/ 160 w 160"/>
              <a:gd name="T17" fmla="*/ 48 h 160"/>
              <a:gd name="T18" fmla="*/ 160 w 160"/>
              <a:gd name="T19" fmla="*/ 128 h 160"/>
              <a:gd name="T20" fmla="*/ 128 w 160"/>
              <a:gd name="T21" fmla="*/ 160 h 160"/>
              <a:gd name="T22" fmla="*/ 0 w 160"/>
              <a:gd name="T23" fmla="*/ 160 h 160"/>
              <a:gd name="T24" fmla="*/ 32 w 160"/>
              <a:gd name="T25" fmla="*/ 48 h 160"/>
              <a:gd name="T26" fmla="*/ 96 w 160"/>
              <a:gd name="T27" fmla="*/ 48 h 160"/>
              <a:gd name="T28" fmla="*/ 96 w 160"/>
              <a:gd name="T29" fmla="*/ 16 h 160"/>
              <a:gd name="T30" fmla="*/ 32 w 160"/>
              <a:gd name="T31" fmla="*/ 16 h 160"/>
              <a:gd name="T32" fmla="*/ 32 w 160"/>
              <a:gd name="T33" fmla="*/ 48 h 160"/>
              <a:gd name="T34" fmla="*/ 128 w 160"/>
              <a:gd name="T35" fmla="*/ 80 h 160"/>
              <a:gd name="T36" fmla="*/ 32 w 160"/>
              <a:gd name="T37" fmla="*/ 80 h 160"/>
              <a:gd name="T38" fmla="*/ 32 w 160"/>
              <a:gd name="T39" fmla="*/ 144 h 160"/>
              <a:gd name="T40" fmla="*/ 128 w 160"/>
              <a:gd name="T41" fmla="*/ 144 h 160"/>
              <a:gd name="T42" fmla="*/ 128 w 160"/>
              <a:gd name="T4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0" h="160">
                <a:moveTo>
                  <a:pt x="88" y="40"/>
                </a:moveTo>
                <a:cubicBezTo>
                  <a:pt x="64" y="40"/>
                  <a:pt x="64" y="40"/>
                  <a:pt x="64" y="40"/>
                </a:cubicBezTo>
                <a:cubicBezTo>
                  <a:pt x="64" y="24"/>
                  <a:pt x="64" y="24"/>
                  <a:pt x="64" y="24"/>
                </a:cubicBezTo>
                <a:cubicBezTo>
                  <a:pt x="88" y="24"/>
                  <a:pt x="88" y="24"/>
                  <a:pt x="88" y="24"/>
                </a:cubicBezTo>
                <a:lnTo>
                  <a:pt x="88" y="40"/>
                </a:lnTo>
                <a:close/>
                <a:moveTo>
                  <a:pt x="0" y="160"/>
                </a:moveTo>
                <a:cubicBezTo>
                  <a:pt x="0" y="0"/>
                  <a:pt x="0" y="0"/>
                  <a:pt x="0" y="0"/>
                </a:cubicBezTo>
                <a:cubicBezTo>
                  <a:pt x="112" y="0"/>
                  <a:pt x="112" y="0"/>
                  <a:pt x="112" y="0"/>
                </a:cubicBezTo>
                <a:cubicBezTo>
                  <a:pt x="160" y="48"/>
                  <a:pt x="160" y="48"/>
                  <a:pt x="160" y="48"/>
                </a:cubicBezTo>
                <a:cubicBezTo>
                  <a:pt x="160" y="128"/>
                  <a:pt x="160" y="128"/>
                  <a:pt x="160" y="128"/>
                </a:cubicBezTo>
                <a:cubicBezTo>
                  <a:pt x="160" y="145"/>
                  <a:pt x="145" y="160"/>
                  <a:pt x="128" y="160"/>
                </a:cubicBezTo>
                <a:lnTo>
                  <a:pt x="0" y="160"/>
                </a:lnTo>
                <a:close/>
                <a:moveTo>
                  <a:pt x="32" y="48"/>
                </a:moveTo>
                <a:cubicBezTo>
                  <a:pt x="96" y="48"/>
                  <a:pt x="96" y="48"/>
                  <a:pt x="96" y="48"/>
                </a:cubicBezTo>
                <a:cubicBezTo>
                  <a:pt x="96" y="16"/>
                  <a:pt x="96" y="16"/>
                  <a:pt x="96" y="16"/>
                </a:cubicBezTo>
                <a:cubicBezTo>
                  <a:pt x="32" y="16"/>
                  <a:pt x="32" y="16"/>
                  <a:pt x="32" y="16"/>
                </a:cubicBezTo>
                <a:lnTo>
                  <a:pt x="32" y="48"/>
                </a:lnTo>
                <a:close/>
                <a:moveTo>
                  <a:pt x="128" y="80"/>
                </a:moveTo>
                <a:cubicBezTo>
                  <a:pt x="32" y="80"/>
                  <a:pt x="32" y="80"/>
                  <a:pt x="32" y="80"/>
                </a:cubicBezTo>
                <a:cubicBezTo>
                  <a:pt x="32" y="144"/>
                  <a:pt x="32" y="144"/>
                  <a:pt x="32" y="144"/>
                </a:cubicBezTo>
                <a:cubicBezTo>
                  <a:pt x="128" y="144"/>
                  <a:pt x="128" y="144"/>
                  <a:pt x="128" y="144"/>
                </a:cubicBezTo>
                <a:lnTo>
                  <a:pt x="128" y="8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6" name="Freeform 19">
            <a:extLst>
              <a:ext uri="{FF2B5EF4-FFF2-40B4-BE49-F238E27FC236}">
                <a16:creationId xmlns:a16="http://schemas.microsoft.com/office/drawing/2014/main" id="{E7757A53-4148-4A32-8C9C-C08E47998A4A}"/>
              </a:ext>
            </a:extLst>
          </p:cNvPr>
          <p:cNvSpPr>
            <a:spLocks noEditPoints="1"/>
          </p:cNvSpPr>
          <p:nvPr/>
        </p:nvSpPr>
        <p:spPr bwMode="gray">
          <a:xfrm>
            <a:off x="6481020" y="2103878"/>
            <a:ext cx="354176" cy="346720"/>
          </a:xfrm>
          <a:custGeom>
            <a:avLst/>
            <a:gdLst>
              <a:gd name="T0" fmla="*/ 160 w 160"/>
              <a:gd name="T1" fmla="*/ 44 h 160"/>
              <a:gd name="T2" fmla="*/ 160 w 160"/>
              <a:gd name="T3" fmla="*/ 128 h 160"/>
              <a:gd name="T4" fmla="*/ 128 w 160"/>
              <a:gd name="T5" fmla="*/ 160 h 160"/>
              <a:gd name="T6" fmla="*/ 32 w 160"/>
              <a:gd name="T7" fmla="*/ 160 h 160"/>
              <a:gd name="T8" fmla="*/ 0 w 160"/>
              <a:gd name="T9" fmla="*/ 128 h 160"/>
              <a:gd name="T10" fmla="*/ 0 w 160"/>
              <a:gd name="T11" fmla="*/ 44 h 160"/>
              <a:gd name="T12" fmla="*/ 32 w 160"/>
              <a:gd name="T13" fmla="*/ 76 h 160"/>
              <a:gd name="T14" fmla="*/ 32 w 160"/>
              <a:gd name="T15" fmla="*/ 144 h 160"/>
              <a:gd name="T16" fmla="*/ 128 w 160"/>
              <a:gd name="T17" fmla="*/ 144 h 160"/>
              <a:gd name="T18" fmla="*/ 128 w 160"/>
              <a:gd name="T19" fmla="*/ 76 h 160"/>
              <a:gd name="T20" fmla="*/ 160 w 160"/>
              <a:gd name="T21" fmla="*/ 44 h 160"/>
              <a:gd name="T22" fmla="*/ 44 w 160"/>
              <a:gd name="T23" fmla="*/ 136 h 160"/>
              <a:gd name="T24" fmla="*/ 116 w 160"/>
              <a:gd name="T25" fmla="*/ 136 h 160"/>
              <a:gd name="T26" fmla="*/ 116 w 160"/>
              <a:gd name="T27" fmla="*/ 120 h 160"/>
              <a:gd name="T28" fmla="*/ 44 w 160"/>
              <a:gd name="T29" fmla="*/ 120 h 160"/>
              <a:gd name="T30" fmla="*/ 44 w 160"/>
              <a:gd name="T31" fmla="*/ 136 h 160"/>
              <a:gd name="T32" fmla="*/ 144 w 160"/>
              <a:gd name="T33" fmla="*/ 32 h 160"/>
              <a:gd name="T34" fmla="*/ 104 w 160"/>
              <a:gd name="T35" fmla="*/ 32 h 160"/>
              <a:gd name="T36" fmla="*/ 104 w 160"/>
              <a:gd name="T37" fmla="*/ 0 h 160"/>
              <a:gd name="T38" fmla="*/ 56 w 160"/>
              <a:gd name="T39" fmla="*/ 0 h 160"/>
              <a:gd name="T40" fmla="*/ 56 w 160"/>
              <a:gd name="T41" fmla="*/ 32 h 160"/>
              <a:gd name="T42" fmla="*/ 16 w 160"/>
              <a:gd name="T43" fmla="*/ 32 h 160"/>
              <a:gd name="T44" fmla="*/ 80 w 160"/>
              <a:gd name="T45" fmla="*/ 96 h 160"/>
              <a:gd name="T46" fmla="*/ 144 w 160"/>
              <a:gd name="T47" fmla="*/ 3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0" h="160">
                <a:moveTo>
                  <a:pt x="160" y="44"/>
                </a:moveTo>
                <a:cubicBezTo>
                  <a:pt x="160" y="128"/>
                  <a:pt x="160" y="128"/>
                  <a:pt x="160" y="128"/>
                </a:cubicBezTo>
                <a:cubicBezTo>
                  <a:pt x="160" y="145"/>
                  <a:pt x="145" y="160"/>
                  <a:pt x="128" y="160"/>
                </a:cubicBezTo>
                <a:cubicBezTo>
                  <a:pt x="32" y="160"/>
                  <a:pt x="32" y="160"/>
                  <a:pt x="32" y="160"/>
                </a:cubicBezTo>
                <a:cubicBezTo>
                  <a:pt x="14" y="160"/>
                  <a:pt x="0" y="145"/>
                  <a:pt x="0" y="128"/>
                </a:cubicBezTo>
                <a:cubicBezTo>
                  <a:pt x="0" y="44"/>
                  <a:pt x="0" y="44"/>
                  <a:pt x="0" y="44"/>
                </a:cubicBezTo>
                <a:cubicBezTo>
                  <a:pt x="32" y="76"/>
                  <a:pt x="32" y="76"/>
                  <a:pt x="32" y="76"/>
                </a:cubicBezTo>
                <a:cubicBezTo>
                  <a:pt x="32" y="144"/>
                  <a:pt x="32" y="144"/>
                  <a:pt x="32" y="144"/>
                </a:cubicBezTo>
                <a:cubicBezTo>
                  <a:pt x="128" y="144"/>
                  <a:pt x="128" y="144"/>
                  <a:pt x="128" y="144"/>
                </a:cubicBezTo>
                <a:cubicBezTo>
                  <a:pt x="128" y="76"/>
                  <a:pt x="128" y="76"/>
                  <a:pt x="128" y="76"/>
                </a:cubicBezTo>
                <a:lnTo>
                  <a:pt x="160" y="44"/>
                </a:lnTo>
                <a:close/>
                <a:moveTo>
                  <a:pt x="44" y="136"/>
                </a:moveTo>
                <a:cubicBezTo>
                  <a:pt x="116" y="136"/>
                  <a:pt x="116" y="136"/>
                  <a:pt x="116" y="136"/>
                </a:cubicBezTo>
                <a:cubicBezTo>
                  <a:pt x="116" y="120"/>
                  <a:pt x="116" y="120"/>
                  <a:pt x="116" y="120"/>
                </a:cubicBezTo>
                <a:cubicBezTo>
                  <a:pt x="44" y="120"/>
                  <a:pt x="44" y="120"/>
                  <a:pt x="44" y="120"/>
                </a:cubicBezTo>
                <a:lnTo>
                  <a:pt x="44" y="136"/>
                </a:lnTo>
                <a:close/>
                <a:moveTo>
                  <a:pt x="144" y="32"/>
                </a:moveTo>
                <a:cubicBezTo>
                  <a:pt x="104" y="32"/>
                  <a:pt x="104" y="32"/>
                  <a:pt x="104" y="32"/>
                </a:cubicBezTo>
                <a:cubicBezTo>
                  <a:pt x="104" y="0"/>
                  <a:pt x="104" y="0"/>
                  <a:pt x="104" y="0"/>
                </a:cubicBezTo>
                <a:cubicBezTo>
                  <a:pt x="56" y="0"/>
                  <a:pt x="56" y="0"/>
                  <a:pt x="56" y="0"/>
                </a:cubicBezTo>
                <a:cubicBezTo>
                  <a:pt x="56" y="32"/>
                  <a:pt x="56" y="32"/>
                  <a:pt x="56" y="32"/>
                </a:cubicBezTo>
                <a:cubicBezTo>
                  <a:pt x="16" y="32"/>
                  <a:pt x="16" y="32"/>
                  <a:pt x="16" y="32"/>
                </a:cubicBezTo>
                <a:cubicBezTo>
                  <a:pt x="80" y="96"/>
                  <a:pt x="80" y="96"/>
                  <a:pt x="80" y="96"/>
                </a:cubicBezTo>
                <a:lnTo>
                  <a:pt x="144" y="3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7" name="Freeform 32">
            <a:extLst>
              <a:ext uri="{FF2B5EF4-FFF2-40B4-BE49-F238E27FC236}">
                <a16:creationId xmlns:a16="http://schemas.microsoft.com/office/drawing/2014/main" id="{BF76D68E-F20F-4991-B0C6-FDE0AD373090}"/>
              </a:ext>
            </a:extLst>
          </p:cNvPr>
          <p:cNvSpPr>
            <a:spLocks noEditPoints="1"/>
          </p:cNvSpPr>
          <p:nvPr/>
        </p:nvSpPr>
        <p:spPr bwMode="gray">
          <a:xfrm>
            <a:off x="896414" y="3252595"/>
            <a:ext cx="396875" cy="395288"/>
          </a:xfrm>
          <a:custGeom>
            <a:avLst/>
            <a:gdLst>
              <a:gd name="T0" fmla="*/ 249 w 1536"/>
              <a:gd name="T1" fmla="*/ 363 h 1536"/>
              <a:gd name="T2" fmla="*/ 0 w 1536"/>
              <a:gd name="T3" fmla="*/ 652 h 1536"/>
              <a:gd name="T4" fmla="*/ 0 w 1536"/>
              <a:gd name="T5" fmla="*/ 1280 h 1536"/>
              <a:gd name="T6" fmla="*/ 960 w 1536"/>
              <a:gd name="T7" fmla="*/ 1280 h 1536"/>
              <a:gd name="T8" fmla="*/ 960 w 1536"/>
              <a:gd name="T9" fmla="*/ 256 h 1536"/>
              <a:gd name="T10" fmla="*/ 249 w 1536"/>
              <a:gd name="T11" fmla="*/ 363 h 1536"/>
              <a:gd name="T12" fmla="*/ 672 w 1536"/>
              <a:gd name="T13" fmla="*/ 1088 h 1536"/>
              <a:gd name="T14" fmla="*/ 571 w 1536"/>
              <a:gd name="T15" fmla="*/ 1088 h 1536"/>
              <a:gd name="T16" fmla="*/ 483 w 1536"/>
              <a:gd name="T17" fmla="*/ 788 h 1536"/>
              <a:gd name="T18" fmla="*/ 476 w 1536"/>
              <a:gd name="T19" fmla="*/ 788 h 1536"/>
              <a:gd name="T20" fmla="*/ 389 w 1536"/>
              <a:gd name="T21" fmla="*/ 1088 h 1536"/>
              <a:gd name="T22" fmla="*/ 288 w 1536"/>
              <a:gd name="T23" fmla="*/ 1088 h 1536"/>
              <a:gd name="T24" fmla="*/ 160 w 1536"/>
              <a:gd name="T25" fmla="*/ 611 h 1536"/>
              <a:gd name="T26" fmla="*/ 277 w 1536"/>
              <a:gd name="T27" fmla="*/ 611 h 1536"/>
              <a:gd name="T28" fmla="*/ 344 w 1536"/>
              <a:gd name="T29" fmla="*/ 925 h 1536"/>
              <a:gd name="T30" fmla="*/ 350 w 1536"/>
              <a:gd name="T31" fmla="*/ 925 h 1536"/>
              <a:gd name="T32" fmla="*/ 434 w 1536"/>
              <a:gd name="T33" fmla="*/ 611 h 1536"/>
              <a:gd name="T34" fmla="*/ 525 w 1536"/>
              <a:gd name="T35" fmla="*/ 611 h 1536"/>
              <a:gd name="T36" fmla="*/ 609 w 1536"/>
              <a:gd name="T37" fmla="*/ 922 h 1536"/>
              <a:gd name="T38" fmla="*/ 615 w 1536"/>
              <a:gd name="T39" fmla="*/ 922 h 1536"/>
              <a:gd name="T40" fmla="*/ 683 w 1536"/>
              <a:gd name="T41" fmla="*/ 611 h 1536"/>
              <a:gd name="T42" fmla="*/ 800 w 1536"/>
              <a:gd name="T43" fmla="*/ 611 h 1536"/>
              <a:gd name="T44" fmla="*/ 672 w 1536"/>
              <a:gd name="T45" fmla="*/ 1088 h 1536"/>
              <a:gd name="T46" fmla="*/ 1536 w 1536"/>
              <a:gd name="T47" fmla="*/ 384 h 1536"/>
              <a:gd name="T48" fmla="*/ 1536 w 1536"/>
              <a:gd name="T49" fmla="*/ 1536 h 1536"/>
              <a:gd name="T50" fmla="*/ 772 w 1536"/>
              <a:gd name="T51" fmla="*/ 1536 h 1536"/>
              <a:gd name="T52" fmla="*/ 512 w 1536"/>
              <a:gd name="T53" fmla="*/ 1344 h 1536"/>
              <a:gd name="T54" fmla="*/ 672 w 1536"/>
              <a:gd name="T55" fmla="*/ 1344 h 1536"/>
              <a:gd name="T56" fmla="*/ 811 w 1536"/>
              <a:gd name="T57" fmla="*/ 1408 h 1536"/>
              <a:gd name="T58" fmla="*/ 1408 w 1536"/>
              <a:gd name="T59" fmla="*/ 1408 h 1536"/>
              <a:gd name="T60" fmla="*/ 1408 w 1536"/>
              <a:gd name="T61" fmla="*/ 448 h 1536"/>
              <a:gd name="T62" fmla="*/ 1139 w 1536"/>
              <a:gd name="T63" fmla="*/ 128 h 1536"/>
              <a:gd name="T64" fmla="*/ 640 w 1536"/>
              <a:gd name="T65" fmla="*/ 128 h 1536"/>
              <a:gd name="T66" fmla="*/ 640 w 1536"/>
              <a:gd name="T67" fmla="*/ 256 h 1536"/>
              <a:gd name="T68" fmla="*/ 512 w 1536"/>
              <a:gd name="T69" fmla="*/ 256 h 1536"/>
              <a:gd name="T70" fmla="*/ 512 w 1536"/>
              <a:gd name="T71" fmla="*/ 0 h 1536"/>
              <a:gd name="T72" fmla="*/ 1178 w 1536"/>
              <a:gd name="T73" fmla="*/ 0 h 1536"/>
              <a:gd name="T74" fmla="*/ 1536 w 1536"/>
              <a:gd name="T75" fmla="*/ 384 h 1536"/>
              <a:gd name="T76" fmla="*/ 1312 w 1536"/>
              <a:gd name="T77" fmla="*/ 704 h 1536"/>
              <a:gd name="T78" fmla="*/ 1088 w 1536"/>
              <a:gd name="T79" fmla="*/ 704 h 1536"/>
              <a:gd name="T80" fmla="*/ 1088 w 1536"/>
              <a:gd name="T81" fmla="*/ 640 h 1536"/>
              <a:gd name="T82" fmla="*/ 1312 w 1536"/>
              <a:gd name="T83" fmla="*/ 640 h 1536"/>
              <a:gd name="T84" fmla="*/ 1312 w 1536"/>
              <a:gd name="T85" fmla="*/ 704 h 1536"/>
              <a:gd name="T86" fmla="*/ 1312 w 1536"/>
              <a:gd name="T87" fmla="*/ 576 h 1536"/>
              <a:gd name="T88" fmla="*/ 1088 w 1536"/>
              <a:gd name="T89" fmla="*/ 576 h 1536"/>
              <a:gd name="T90" fmla="*/ 1088 w 1536"/>
              <a:gd name="T91" fmla="*/ 512 h 1536"/>
              <a:gd name="T92" fmla="*/ 1312 w 1536"/>
              <a:gd name="T93" fmla="*/ 512 h 1536"/>
              <a:gd name="T94" fmla="*/ 1312 w 1536"/>
              <a:gd name="T95" fmla="*/ 576 h 1536"/>
              <a:gd name="T96" fmla="*/ 1312 w 1536"/>
              <a:gd name="T97" fmla="*/ 832 h 1536"/>
              <a:gd name="T98" fmla="*/ 1088 w 1536"/>
              <a:gd name="T99" fmla="*/ 832 h 1536"/>
              <a:gd name="T100" fmla="*/ 1088 w 1536"/>
              <a:gd name="T101" fmla="*/ 768 h 1536"/>
              <a:gd name="T102" fmla="*/ 1312 w 1536"/>
              <a:gd name="T103" fmla="*/ 768 h 1536"/>
              <a:gd name="T104" fmla="*/ 1312 w 1536"/>
              <a:gd name="T105" fmla="*/ 832 h 1536"/>
              <a:gd name="T106" fmla="*/ 1312 w 1536"/>
              <a:gd name="T107" fmla="*/ 960 h 1536"/>
              <a:gd name="T108" fmla="*/ 1088 w 1536"/>
              <a:gd name="T109" fmla="*/ 960 h 1536"/>
              <a:gd name="T110" fmla="*/ 1088 w 1536"/>
              <a:gd name="T111" fmla="*/ 896 h 1536"/>
              <a:gd name="T112" fmla="*/ 1312 w 1536"/>
              <a:gd name="T113" fmla="*/ 896 h 1536"/>
              <a:gd name="T114" fmla="*/ 1312 w 1536"/>
              <a:gd name="T115" fmla="*/ 960 h 1536"/>
              <a:gd name="T116" fmla="*/ 1312 w 1536"/>
              <a:gd name="T117" fmla="*/ 1088 h 1536"/>
              <a:gd name="T118" fmla="*/ 1088 w 1536"/>
              <a:gd name="T119" fmla="*/ 1088 h 1536"/>
              <a:gd name="T120" fmla="*/ 1088 w 1536"/>
              <a:gd name="T121" fmla="*/ 1024 h 1536"/>
              <a:gd name="T122" fmla="*/ 1312 w 1536"/>
              <a:gd name="T123" fmla="*/ 1024 h 1536"/>
              <a:gd name="T124" fmla="*/ 1312 w 1536"/>
              <a:gd name="T125" fmla="*/ 1088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36" h="1536">
                <a:moveTo>
                  <a:pt x="249" y="363"/>
                </a:moveTo>
                <a:cubicBezTo>
                  <a:pt x="105" y="386"/>
                  <a:pt x="0" y="508"/>
                  <a:pt x="0" y="652"/>
                </a:cubicBezTo>
                <a:cubicBezTo>
                  <a:pt x="0" y="1280"/>
                  <a:pt x="0" y="1280"/>
                  <a:pt x="0" y="1280"/>
                </a:cubicBezTo>
                <a:cubicBezTo>
                  <a:pt x="960" y="1280"/>
                  <a:pt x="960" y="1280"/>
                  <a:pt x="960" y="1280"/>
                </a:cubicBezTo>
                <a:cubicBezTo>
                  <a:pt x="960" y="256"/>
                  <a:pt x="960" y="256"/>
                  <a:pt x="960" y="256"/>
                </a:cubicBezTo>
                <a:lnTo>
                  <a:pt x="249" y="363"/>
                </a:lnTo>
                <a:close/>
                <a:moveTo>
                  <a:pt x="672" y="1088"/>
                </a:moveTo>
                <a:cubicBezTo>
                  <a:pt x="571" y="1088"/>
                  <a:pt x="571" y="1088"/>
                  <a:pt x="571" y="1088"/>
                </a:cubicBezTo>
                <a:cubicBezTo>
                  <a:pt x="483" y="788"/>
                  <a:pt x="483" y="788"/>
                  <a:pt x="483" y="788"/>
                </a:cubicBezTo>
                <a:cubicBezTo>
                  <a:pt x="476" y="788"/>
                  <a:pt x="476" y="788"/>
                  <a:pt x="476" y="788"/>
                </a:cubicBezTo>
                <a:cubicBezTo>
                  <a:pt x="389" y="1088"/>
                  <a:pt x="389" y="1088"/>
                  <a:pt x="389" y="1088"/>
                </a:cubicBezTo>
                <a:cubicBezTo>
                  <a:pt x="288" y="1088"/>
                  <a:pt x="288" y="1088"/>
                  <a:pt x="288" y="1088"/>
                </a:cubicBezTo>
                <a:cubicBezTo>
                  <a:pt x="160" y="611"/>
                  <a:pt x="160" y="611"/>
                  <a:pt x="160" y="611"/>
                </a:cubicBezTo>
                <a:cubicBezTo>
                  <a:pt x="277" y="611"/>
                  <a:pt x="277" y="611"/>
                  <a:pt x="277" y="611"/>
                </a:cubicBezTo>
                <a:cubicBezTo>
                  <a:pt x="344" y="925"/>
                  <a:pt x="344" y="925"/>
                  <a:pt x="344" y="925"/>
                </a:cubicBezTo>
                <a:cubicBezTo>
                  <a:pt x="350" y="925"/>
                  <a:pt x="350" y="925"/>
                  <a:pt x="350" y="925"/>
                </a:cubicBezTo>
                <a:cubicBezTo>
                  <a:pt x="434" y="611"/>
                  <a:pt x="434" y="611"/>
                  <a:pt x="434" y="611"/>
                </a:cubicBezTo>
                <a:cubicBezTo>
                  <a:pt x="525" y="611"/>
                  <a:pt x="525" y="611"/>
                  <a:pt x="525" y="611"/>
                </a:cubicBezTo>
                <a:cubicBezTo>
                  <a:pt x="609" y="922"/>
                  <a:pt x="609" y="922"/>
                  <a:pt x="609" y="922"/>
                </a:cubicBezTo>
                <a:cubicBezTo>
                  <a:pt x="615" y="922"/>
                  <a:pt x="615" y="922"/>
                  <a:pt x="615" y="922"/>
                </a:cubicBezTo>
                <a:cubicBezTo>
                  <a:pt x="683" y="611"/>
                  <a:pt x="683" y="611"/>
                  <a:pt x="683" y="611"/>
                </a:cubicBezTo>
                <a:cubicBezTo>
                  <a:pt x="800" y="611"/>
                  <a:pt x="800" y="611"/>
                  <a:pt x="800" y="611"/>
                </a:cubicBezTo>
                <a:lnTo>
                  <a:pt x="672" y="1088"/>
                </a:lnTo>
                <a:close/>
                <a:moveTo>
                  <a:pt x="1536" y="384"/>
                </a:moveTo>
                <a:cubicBezTo>
                  <a:pt x="1536" y="1536"/>
                  <a:pt x="1536" y="1536"/>
                  <a:pt x="1536" y="1536"/>
                </a:cubicBezTo>
                <a:cubicBezTo>
                  <a:pt x="772" y="1536"/>
                  <a:pt x="772" y="1536"/>
                  <a:pt x="772" y="1536"/>
                </a:cubicBezTo>
                <a:cubicBezTo>
                  <a:pt x="654" y="1536"/>
                  <a:pt x="542" y="1454"/>
                  <a:pt x="512" y="1344"/>
                </a:cubicBezTo>
                <a:cubicBezTo>
                  <a:pt x="672" y="1344"/>
                  <a:pt x="672" y="1344"/>
                  <a:pt x="672" y="1344"/>
                </a:cubicBezTo>
                <a:cubicBezTo>
                  <a:pt x="708" y="1383"/>
                  <a:pt x="736" y="1408"/>
                  <a:pt x="811" y="1408"/>
                </a:cubicBezTo>
                <a:cubicBezTo>
                  <a:pt x="1408" y="1408"/>
                  <a:pt x="1408" y="1408"/>
                  <a:pt x="1408" y="1408"/>
                </a:cubicBezTo>
                <a:cubicBezTo>
                  <a:pt x="1408" y="448"/>
                  <a:pt x="1408" y="448"/>
                  <a:pt x="1408" y="448"/>
                </a:cubicBezTo>
                <a:cubicBezTo>
                  <a:pt x="1139" y="128"/>
                  <a:pt x="1139" y="128"/>
                  <a:pt x="1139" y="128"/>
                </a:cubicBezTo>
                <a:cubicBezTo>
                  <a:pt x="640" y="128"/>
                  <a:pt x="640" y="128"/>
                  <a:pt x="640" y="128"/>
                </a:cubicBezTo>
                <a:cubicBezTo>
                  <a:pt x="640" y="256"/>
                  <a:pt x="640" y="256"/>
                  <a:pt x="640" y="256"/>
                </a:cubicBezTo>
                <a:cubicBezTo>
                  <a:pt x="512" y="256"/>
                  <a:pt x="512" y="256"/>
                  <a:pt x="512" y="256"/>
                </a:cubicBezTo>
                <a:cubicBezTo>
                  <a:pt x="512" y="0"/>
                  <a:pt x="512" y="0"/>
                  <a:pt x="512" y="0"/>
                </a:cubicBezTo>
                <a:cubicBezTo>
                  <a:pt x="1178" y="0"/>
                  <a:pt x="1178" y="0"/>
                  <a:pt x="1178" y="0"/>
                </a:cubicBezTo>
                <a:lnTo>
                  <a:pt x="1536" y="384"/>
                </a:lnTo>
                <a:close/>
                <a:moveTo>
                  <a:pt x="1312" y="704"/>
                </a:moveTo>
                <a:cubicBezTo>
                  <a:pt x="1088" y="704"/>
                  <a:pt x="1088" y="704"/>
                  <a:pt x="1088" y="704"/>
                </a:cubicBezTo>
                <a:cubicBezTo>
                  <a:pt x="1088" y="640"/>
                  <a:pt x="1088" y="640"/>
                  <a:pt x="1088" y="640"/>
                </a:cubicBezTo>
                <a:cubicBezTo>
                  <a:pt x="1312" y="640"/>
                  <a:pt x="1312" y="640"/>
                  <a:pt x="1312" y="640"/>
                </a:cubicBezTo>
                <a:lnTo>
                  <a:pt x="1312" y="704"/>
                </a:lnTo>
                <a:close/>
                <a:moveTo>
                  <a:pt x="1312" y="576"/>
                </a:moveTo>
                <a:cubicBezTo>
                  <a:pt x="1088" y="576"/>
                  <a:pt x="1088" y="576"/>
                  <a:pt x="1088" y="576"/>
                </a:cubicBezTo>
                <a:cubicBezTo>
                  <a:pt x="1088" y="512"/>
                  <a:pt x="1088" y="512"/>
                  <a:pt x="1088" y="512"/>
                </a:cubicBezTo>
                <a:cubicBezTo>
                  <a:pt x="1312" y="512"/>
                  <a:pt x="1312" y="512"/>
                  <a:pt x="1312" y="512"/>
                </a:cubicBezTo>
                <a:lnTo>
                  <a:pt x="1312" y="576"/>
                </a:lnTo>
                <a:close/>
                <a:moveTo>
                  <a:pt x="1312" y="832"/>
                </a:moveTo>
                <a:cubicBezTo>
                  <a:pt x="1088" y="832"/>
                  <a:pt x="1088" y="832"/>
                  <a:pt x="1088" y="832"/>
                </a:cubicBezTo>
                <a:cubicBezTo>
                  <a:pt x="1088" y="768"/>
                  <a:pt x="1088" y="768"/>
                  <a:pt x="1088" y="768"/>
                </a:cubicBezTo>
                <a:cubicBezTo>
                  <a:pt x="1312" y="768"/>
                  <a:pt x="1312" y="768"/>
                  <a:pt x="1312" y="768"/>
                </a:cubicBezTo>
                <a:lnTo>
                  <a:pt x="1312" y="832"/>
                </a:lnTo>
                <a:close/>
                <a:moveTo>
                  <a:pt x="1312" y="960"/>
                </a:moveTo>
                <a:cubicBezTo>
                  <a:pt x="1088" y="960"/>
                  <a:pt x="1088" y="960"/>
                  <a:pt x="1088" y="960"/>
                </a:cubicBezTo>
                <a:cubicBezTo>
                  <a:pt x="1088" y="896"/>
                  <a:pt x="1088" y="896"/>
                  <a:pt x="1088" y="896"/>
                </a:cubicBezTo>
                <a:cubicBezTo>
                  <a:pt x="1312" y="896"/>
                  <a:pt x="1312" y="896"/>
                  <a:pt x="1312" y="896"/>
                </a:cubicBezTo>
                <a:lnTo>
                  <a:pt x="1312" y="960"/>
                </a:lnTo>
                <a:close/>
                <a:moveTo>
                  <a:pt x="1312" y="1088"/>
                </a:moveTo>
                <a:cubicBezTo>
                  <a:pt x="1088" y="1088"/>
                  <a:pt x="1088" y="1088"/>
                  <a:pt x="1088" y="1088"/>
                </a:cubicBezTo>
                <a:cubicBezTo>
                  <a:pt x="1088" y="1024"/>
                  <a:pt x="1088" y="1024"/>
                  <a:pt x="1088" y="1024"/>
                </a:cubicBezTo>
                <a:cubicBezTo>
                  <a:pt x="1312" y="1024"/>
                  <a:pt x="1312" y="1024"/>
                  <a:pt x="1312" y="1024"/>
                </a:cubicBezTo>
                <a:lnTo>
                  <a:pt x="1312" y="1088"/>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40">
            <a:extLst>
              <a:ext uri="{FF2B5EF4-FFF2-40B4-BE49-F238E27FC236}">
                <a16:creationId xmlns:a16="http://schemas.microsoft.com/office/drawing/2014/main" id="{7AEEDD63-271C-4D3C-8B11-7B611E457A70}"/>
              </a:ext>
            </a:extLst>
          </p:cNvPr>
          <p:cNvSpPr>
            <a:spLocks noEditPoints="1"/>
          </p:cNvSpPr>
          <p:nvPr/>
        </p:nvSpPr>
        <p:spPr bwMode="gray">
          <a:xfrm>
            <a:off x="2006339" y="3251802"/>
            <a:ext cx="396875" cy="396875"/>
          </a:xfrm>
          <a:custGeom>
            <a:avLst/>
            <a:gdLst>
              <a:gd name="T0" fmla="*/ 594 w 1536"/>
              <a:gd name="T1" fmla="*/ 747 h 1536"/>
              <a:gd name="T2" fmla="*/ 509 w 1536"/>
              <a:gd name="T3" fmla="*/ 831 h 1536"/>
              <a:gd name="T4" fmla="*/ 417 w 1536"/>
              <a:gd name="T5" fmla="*/ 831 h 1536"/>
              <a:gd name="T6" fmla="*/ 417 w 1536"/>
              <a:gd name="T7" fmla="*/ 663 h 1536"/>
              <a:gd name="T8" fmla="*/ 508 w 1536"/>
              <a:gd name="T9" fmla="*/ 663 h 1536"/>
              <a:gd name="T10" fmla="*/ 594 w 1536"/>
              <a:gd name="T11" fmla="*/ 747 h 1536"/>
              <a:gd name="T12" fmla="*/ 960 w 1536"/>
              <a:gd name="T13" fmla="*/ 256 h 1536"/>
              <a:gd name="T14" fmla="*/ 960 w 1536"/>
              <a:gd name="T15" fmla="*/ 1280 h 1536"/>
              <a:gd name="T16" fmla="*/ 0 w 1536"/>
              <a:gd name="T17" fmla="*/ 1280 h 1536"/>
              <a:gd name="T18" fmla="*/ 0 w 1536"/>
              <a:gd name="T19" fmla="*/ 649 h 1536"/>
              <a:gd name="T20" fmla="*/ 249 w 1536"/>
              <a:gd name="T21" fmla="*/ 360 h 1536"/>
              <a:gd name="T22" fmla="*/ 960 w 1536"/>
              <a:gd name="T23" fmla="*/ 256 h 1536"/>
              <a:gd name="T24" fmla="*/ 689 w 1536"/>
              <a:gd name="T25" fmla="*/ 750 h 1536"/>
              <a:gd name="T26" fmla="*/ 508 w 1536"/>
              <a:gd name="T27" fmla="*/ 582 h 1536"/>
              <a:gd name="T28" fmla="*/ 320 w 1536"/>
              <a:gd name="T29" fmla="*/ 582 h 1536"/>
              <a:gd name="T30" fmla="*/ 320 w 1536"/>
              <a:gd name="T31" fmla="*/ 1088 h 1536"/>
              <a:gd name="T32" fmla="*/ 417 w 1536"/>
              <a:gd name="T33" fmla="*/ 1088 h 1536"/>
              <a:gd name="T34" fmla="*/ 417 w 1536"/>
              <a:gd name="T35" fmla="*/ 911 h 1536"/>
              <a:gd name="T36" fmla="*/ 509 w 1536"/>
              <a:gd name="T37" fmla="*/ 911 h 1536"/>
              <a:gd name="T38" fmla="*/ 689 w 1536"/>
              <a:gd name="T39" fmla="*/ 750 h 1536"/>
              <a:gd name="T40" fmla="*/ 1178 w 1536"/>
              <a:gd name="T41" fmla="*/ 0 h 1536"/>
              <a:gd name="T42" fmla="*/ 512 w 1536"/>
              <a:gd name="T43" fmla="*/ 0 h 1536"/>
              <a:gd name="T44" fmla="*/ 512 w 1536"/>
              <a:gd name="T45" fmla="*/ 256 h 1536"/>
              <a:gd name="T46" fmla="*/ 640 w 1536"/>
              <a:gd name="T47" fmla="*/ 256 h 1536"/>
              <a:gd name="T48" fmla="*/ 640 w 1536"/>
              <a:gd name="T49" fmla="*/ 128 h 1536"/>
              <a:gd name="T50" fmla="*/ 1139 w 1536"/>
              <a:gd name="T51" fmla="*/ 128 h 1536"/>
              <a:gd name="T52" fmla="*/ 1408 w 1536"/>
              <a:gd name="T53" fmla="*/ 448 h 1536"/>
              <a:gd name="T54" fmla="*/ 1408 w 1536"/>
              <a:gd name="T55" fmla="*/ 1408 h 1536"/>
              <a:gd name="T56" fmla="*/ 811 w 1536"/>
              <a:gd name="T57" fmla="*/ 1408 h 1536"/>
              <a:gd name="T58" fmla="*/ 672 w 1536"/>
              <a:gd name="T59" fmla="*/ 1344 h 1536"/>
              <a:gd name="T60" fmla="*/ 512 w 1536"/>
              <a:gd name="T61" fmla="*/ 1344 h 1536"/>
              <a:gd name="T62" fmla="*/ 772 w 1536"/>
              <a:gd name="T63" fmla="*/ 1536 h 1536"/>
              <a:gd name="T64" fmla="*/ 1536 w 1536"/>
              <a:gd name="T65" fmla="*/ 1536 h 1536"/>
              <a:gd name="T66" fmla="*/ 1536 w 1536"/>
              <a:gd name="T67" fmla="*/ 384 h 1536"/>
              <a:gd name="T68" fmla="*/ 1178 w 1536"/>
              <a:gd name="T69" fmla="*/ 0 h 1536"/>
              <a:gd name="T70" fmla="*/ 1312 w 1536"/>
              <a:gd name="T71" fmla="*/ 864 h 1536"/>
              <a:gd name="T72" fmla="*/ 1056 w 1536"/>
              <a:gd name="T73" fmla="*/ 864 h 1536"/>
              <a:gd name="T74" fmla="*/ 1056 w 1536"/>
              <a:gd name="T75" fmla="*/ 928 h 1536"/>
              <a:gd name="T76" fmla="*/ 1312 w 1536"/>
              <a:gd name="T77" fmla="*/ 928 h 1536"/>
              <a:gd name="T78" fmla="*/ 1312 w 1536"/>
              <a:gd name="T79" fmla="*/ 864 h 1536"/>
              <a:gd name="T80" fmla="*/ 1312 w 1536"/>
              <a:gd name="T81" fmla="*/ 992 h 1536"/>
              <a:gd name="T82" fmla="*/ 1056 w 1536"/>
              <a:gd name="T83" fmla="*/ 992 h 1536"/>
              <a:gd name="T84" fmla="*/ 1056 w 1536"/>
              <a:gd name="T85" fmla="*/ 1056 h 1536"/>
              <a:gd name="T86" fmla="*/ 1312 w 1536"/>
              <a:gd name="T87" fmla="*/ 1056 h 1536"/>
              <a:gd name="T88" fmla="*/ 1312 w 1536"/>
              <a:gd name="T89" fmla="*/ 992 h 1536"/>
              <a:gd name="T90" fmla="*/ 1167 w 1536"/>
              <a:gd name="T91" fmla="*/ 689 h 1536"/>
              <a:gd name="T92" fmla="*/ 1167 w 1536"/>
              <a:gd name="T93" fmla="*/ 544 h 1536"/>
              <a:gd name="T94" fmla="*/ 1057 w 1536"/>
              <a:gd name="T95" fmla="*/ 689 h 1536"/>
              <a:gd name="T96" fmla="*/ 1203 w 1536"/>
              <a:gd name="T97" fmla="*/ 799 h 1536"/>
              <a:gd name="T98" fmla="*/ 1312 w 1536"/>
              <a:gd name="T99" fmla="*/ 689 h 1536"/>
              <a:gd name="T100" fmla="*/ 1167 w 1536"/>
              <a:gd name="T101" fmla="*/ 689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36" h="1536">
                <a:moveTo>
                  <a:pt x="594" y="747"/>
                </a:moveTo>
                <a:cubicBezTo>
                  <a:pt x="594" y="792"/>
                  <a:pt x="570" y="831"/>
                  <a:pt x="509" y="831"/>
                </a:cubicBezTo>
                <a:cubicBezTo>
                  <a:pt x="417" y="831"/>
                  <a:pt x="417" y="831"/>
                  <a:pt x="417" y="831"/>
                </a:cubicBezTo>
                <a:cubicBezTo>
                  <a:pt x="417" y="663"/>
                  <a:pt x="417" y="663"/>
                  <a:pt x="417" y="663"/>
                </a:cubicBezTo>
                <a:cubicBezTo>
                  <a:pt x="508" y="663"/>
                  <a:pt x="508" y="663"/>
                  <a:pt x="508" y="663"/>
                </a:cubicBezTo>
                <a:cubicBezTo>
                  <a:pt x="570" y="663"/>
                  <a:pt x="594" y="702"/>
                  <a:pt x="594" y="747"/>
                </a:cubicBezTo>
                <a:close/>
                <a:moveTo>
                  <a:pt x="960" y="256"/>
                </a:moveTo>
                <a:cubicBezTo>
                  <a:pt x="960" y="1280"/>
                  <a:pt x="960" y="1280"/>
                  <a:pt x="960" y="1280"/>
                </a:cubicBezTo>
                <a:cubicBezTo>
                  <a:pt x="0" y="1280"/>
                  <a:pt x="0" y="1280"/>
                  <a:pt x="0" y="1280"/>
                </a:cubicBezTo>
                <a:cubicBezTo>
                  <a:pt x="0" y="649"/>
                  <a:pt x="0" y="649"/>
                  <a:pt x="0" y="649"/>
                </a:cubicBezTo>
                <a:cubicBezTo>
                  <a:pt x="0" y="506"/>
                  <a:pt x="105" y="383"/>
                  <a:pt x="249" y="360"/>
                </a:cubicBezTo>
                <a:lnTo>
                  <a:pt x="960" y="256"/>
                </a:lnTo>
                <a:close/>
                <a:moveTo>
                  <a:pt x="689" y="750"/>
                </a:moveTo>
                <a:cubicBezTo>
                  <a:pt x="689" y="656"/>
                  <a:pt x="633" y="582"/>
                  <a:pt x="508" y="582"/>
                </a:cubicBezTo>
                <a:cubicBezTo>
                  <a:pt x="320" y="582"/>
                  <a:pt x="320" y="582"/>
                  <a:pt x="320" y="582"/>
                </a:cubicBezTo>
                <a:cubicBezTo>
                  <a:pt x="320" y="1088"/>
                  <a:pt x="320" y="1088"/>
                  <a:pt x="320" y="1088"/>
                </a:cubicBezTo>
                <a:cubicBezTo>
                  <a:pt x="417" y="1088"/>
                  <a:pt x="417" y="1088"/>
                  <a:pt x="417" y="1088"/>
                </a:cubicBezTo>
                <a:cubicBezTo>
                  <a:pt x="417" y="911"/>
                  <a:pt x="417" y="911"/>
                  <a:pt x="417" y="911"/>
                </a:cubicBezTo>
                <a:cubicBezTo>
                  <a:pt x="509" y="911"/>
                  <a:pt x="509" y="911"/>
                  <a:pt x="509" y="911"/>
                </a:cubicBezTo>
                <a:cubicBezTo>
                  <a:pt x="631" y="911"/>
                  <a:pt x="689" y="845"/>
                  <a:pt x="689" y="750"/>
                </a:cubicBezTo>
                <a:close/>
                <a:moveTo>
                  <a:pt x="1178" y="0"/>
                </a:moveTo>
                <a:cubicBezTo>
                  <a:pt x="512" y="0"/>
                  <a:pt x="512" y="0"/>
                  <a:pt x="512" y="0"/>
                </a:cubicBezTo>
                <a:cubicBezTo>
                  <a:pt x="512" y="256"/>
                  <a:pt x="512" y="256"/>
                  <a:pt x="512" y="256"/>
                </a:cubicBezTo>
                <a:cubicBezTo>
                  <a:pt x="640" y="256"/>
                  <a:pt x="640" y="256"/>
                  <a:pt x="640" y="256"/>
                </a:cubicBezTo>
                <a:cubicBezTo>
                  <a:pt x="640" y="128"/>
                  <a:pt x="640" y="128"/>
                  <a:pt x="640" y="128"/>
                </a:cubicBezTo>
                <a:cubicBezTo>
                  <a:pt x="1139" y="128"/>
                  <a:pt x="1139" y="128"/>
                  <a:pt x="1139" y="128"/>
                </a:cubicBezTo>
                <a:cubicBezTo>
                  <a:pt x="1408" y="448"/>
                  <a:pt x="1408" y="448"/>
                  <a:pt x="1408" y="448"/>
                </a:cubicBezTo>
                <a:cubicBezTo>
                  <a:pt x="1408" y="1408"/>
                  <a:pt x="1408" y="1408"/>
                  <a:pt x="1408" y="1408"/>
                </a:cubicBezTo>
                <a:cubicBezTo>
                  <a:pt x="811" y="1408"/>
                  <a:pt x="811" y="1408"/>
                  <a:pt x="811" y="1408"/>
                </a:cubicBezTo>
                <a:cubicBezTo>
                  <a:pt x="736" y="1408"/>
                  <a:pt x="708" y="1383"/>
                  <a:pt x="672" y="1344"/>
                </a:cubicBezTo>
                <a:cubicBezTo>
                  <a:pt x="512" y="1344"/>
                  <a:pt x="512" y="1344"/>
                  <a:pt x="512" y="1344"/>
                </a:cubicBezTo>
                <a:cubicBezTo>
                  <a:pt x="542" y="1454"/>
                  <a:pt x="654" y="1536"/>
                  <a:pt x="772" y="1536"/>
                </a:cubicBezTo>
                <a:cubicBezTo>
                  <a:pt x="1536" y="1536"/>
                  <a:pt x="1536" y="1536"/>
                  <a:pt x="1536" y="1536"/>
                </a:cubicBezTo>
                <a:cubicBezTo>
                  <a:pt x="1536" y="384"/>
                  <a:pt x="1536" y="384"/>
                  <a:pt x="1536" y="384"/>
                </a:cubicBezTo>
                <a:lnTo>
                  <a:pt x="1178" y="0"/>
                </a:lnTo>
                <a:close/>
                <a:moveTo>
                  <a:pt x="1312" y="864"/>
                </a:moveTo>
                <a:cubicBezTo>
                  <a:pt x="1056" y="864"/>
                  <a:pt x="1056" y="864"/>
                  <a:pt x="1056" y="864"/>
                </a:cubicBezTo>
                <a:cubicBezTo>
                  <a:pt x="1056" y="928"/>
                  <a:pt x="1056" y="928"/>
                  <a:pt x="1056" y="928"/>
                </a:cubicBezTo>
                <a:cubicBezTo>
                  <a:pt x="1312" y="928"/>
                  <a:pt x="1312" y="928"/>
                  <a:pt x="1312" y="928"/>
                </a:cubicBezTo>
                <a:lnTo>
                  <a:pt x="1312" y="864"/>
                </a:lnTo>
                <a:close/>
                <a:moveTo>
                  <a:pt x="1312" y="992"/>
                </a:moveTo>
                <a:cubicBezTo>
                  <a:pt x="1056" y="992"/>
                  <a:pt x="1056" y="992"/>
                  <a:pt x="1056" y="992"/>
                </a:cubicBezTo>
                <a:cubicBezTo>
                  <a:pt x="1056" y="1056"/>
                  <a:pt x="1056" y="1056"/>
                  <a:pt x="1056" y="1056"/>
                </a:cubicBezTo>
                <a:cubicBezTo>
                  <a:pt x="1312" y="1056"/>
                  <a:pt x="1312" y="1056"/>
                  <a:pt x="1312" y="1056"/>
                </a:cubicBezTo>
                <a:lnTo>
                  <a:pt x="1312" y="992"/>
                </a:lnTo>
                <a:close/>
                <a:moveTo>
                  <a:pt x="1167" y="689"/>
                </a:moveTo>
                <a:cubicBezTo>
                  <a:pt x="1167" y="544"/>
                  <a:pt x="1167" y="544"/>
                  <a:pt x="1167" y="544"/>
                </a:cubicBezTo>
                <a:cubicBezTo>
                  <a:pt x="1096" y="554"/>
                  <a:pt x="1047" y="619"/>
                  <a:pt x="1057" y="689"/>
                </a:cubicBezTo>
                <a:cubicBezTo>
                  <a:pt x="1067" y="760"/>
                  <a:pt x="1132" y="809"/>
                  <a:pt x="1203" y="799"/>
                </a:cubicBezTo>
                <a:cubicBezTo>
                  <a:pt x="1259" y="791"/>
                  <a:pt x="1304" y="746"/>
                  <a:pt x="1312" y="689"/>
                </a:cubicBezTo>
                <a:lnTo>
                  <a:pt x="1167" y="68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9" name="Freeform 44">
            <a:extLst>
              <a:ext uri="{FF2B5EF4-FFF2-40B4-BE49-F238E27FC236}">
                <a16:creationId xmlns:a16="http://schemas.microsoft.com/office/drawing/2014/main" id="{D5775F1D-427F-4432-9C37-155674F0B40C}"/>
              </a:ext>
            </a:extLst>
          </p:cNvPr>
          <p:cNvSpPr>
            <a:spLocks noEditPoints="1"/>
          </p:cNvSpPr>
          <p:nvPr/>
        </p:nvSpPr>
        <p:spPr bwMode="gray">
          <a:xfrm>
            <a:off x="3119672" y="3252595"/>
            <a:ext cx="396875" cy="395288"/>
          </a:xfrm>
          <a:custGeom>
            <a:avLst/>
            <a:gdLst>
              <a:gd name="T0" fmla="*/ 0 w 1536"/>
              <a:gd name="T1" fmla="*/ 1280 h 1536"/>
              <a:gd name="T2" fmla="*/ 960 w 1536"/>
              <a:gd name="T3" fmla="*/ 256 h 1536"/>
              <a:gd name="T4" fmla="*/ 0 w 1536"/>
              <a:gd name="T5" fmla="*/ 652 h 1536"/>
              <a:gd name="T6" fmla="*/ 578 w 1536"/>
              <a:gd name="T7" fmla="*/ 544 h 1536"/>
              <a:gd name="T8" fmla="*/ 541 w 1536"/>
              <a:gd name="T9" fmla="*/ 808 h 1536"/>
              <a:gd name="T10" fmla="*/ 589 w 1536"/>
              <a:gd name="T11" fmla="*/ 1087 h 1536"/>
              <a:gd name="T12" fmla="*/ 371 w 1536"/>
              <a:gd name="T13" fmla="*/ 1087 h 1536"/>
              <a:gd name="T14" fmla="*/ 420 w 1536"/>
              <a:gd name="T15" fmla="*/ 804 h 1536"/>
              <a:gd name="T16" fmla="*/ 383 w 1536"/>
              <a:gd name="T17" fmla="*/ 544 h 1536"/>
              <a:gd name="T18" fmla="*/ 1536 w 1536"/>
              <a:gd name="T19" fmla="*/ 384 h 1536"/>
              <a:gd name="T20" fmla="*/ 772 w 1536"/>
              <a:gd name="T21" fmla="*/ 1536 h 1536"/>
              <a:gd name="T22" fmla="*/ 672 w 1536"/>
              <a:gd name="T23" fmla="*/ 1344 h 1536"/>
              <a:gd name="T24" fmla="*/ 1408 w 1536"/>
              <a:gd name="T25" fmla="*/ 1408 h 1536"/>
              <a:gd name="T26" fmla="*/ 1139 w 1536"/>
              <a:gd name="T27" fmla="*/ 128 h 1536"/>
              <a:gd name="T28" fmla="*/ 640 w 1536"/>
              <a:gd name="T29" fmla="*/ 256 h 1536"/>
              <a:gd name="T30" fmla="*/ 512 w 1536"/>
              <a:gd name="T31" fmla="*/ 0 h 1536"/>
              <a:gd name="T32" fmla="*/ 1536 w 1536"/>
              <a:gd name="T33" fmla="*/ 384 h 1536"/>
              <a:gd name="T34" fmla="*/ 1152 w 1536"/>
              <a:gd name="T35" fmla="*/ 576 h 1536"/>
              <a:gd name="T36" fmla="*/ 1312 w 1536"/>
              <a:gd name="T37" fmla="*/ 512 h 1536"/>
              <a:gd name="T38" fmla="*/ 1120 w 1536"/>
              <a:gd name="T39" fmla="*/ 576 h 1536"/>
              <a:gd name="T40" fmla="*/ 1056 w 1536"/>
              <a:gd name="T41" fmla="*/ 512 h 1536"/>
              <a:gd name="T42" fmla="*/ 1120 w 1536"/>
              <a:gd name="T43" fmla="*/ 576 h 1536"/>
              <a:gd name="T44" fmla="*/ 1152 w 1536"/>
              <a:gd name="T45" fmla="*/ 704 h 1536"/>
              <a:gd name="T46" fmla="*/ 1312 w 1536"/>
              <a:gd name="T47" fmla="*/ 640 h 1536"/>
              <a:gd name="T48" fmla="*/ 1120 w 1536"/>
              <a:gd name="T49" fmla="*/ 704 h 1536"/>
              <a:gd name="T50" fmla="*/ 1056 w 1536"/>
              <a:gd name="T51" fmla="*/ 640 h 1536"/>
              <a:gd name="T52" fmla="*/ 1120 w 1536"/>
              <a:gd name="T53" fmla="*/ 704 h 1536"/>
              <a:gd name="T54" fmla="*/ 1152 w 1536"/>
              <a:gd name="T55" fmla="*/ 832 h 1536"/>
              <a:gd name="T56" fmla="*/ 1312 w 1536"/>
              <a:gd name="T57" fmla="*/ 768 h 1536"/>
              <a:gd name="T58" fmla="*/ 1120 w 1536"/>
              <a:gd name="T59" fmla="*/ 832 h 1536"/>
              <a:gd name="T60" fmla="*/ 1056 w 1536"/>
              <a:gd name="T61" fmla="*/ 768 h 1536"/>
              <a:gd name="T62" fmla="*/ 1120 w 1536"/>
              <a:gd name="T63" fmla="*/ 832 h 1536"/>
              <a:gd name="T64" fmla="*/ 1152 w 1536"/>
              <a:gd name="T65" fmla="*/ 960 h 1536"/>
              <a:gd name="T66" fmla="*/ 1312 w 1536"/>
              <a:gd name="T67" fmla="*/ 896 h 1536"/>
              <a:gd name="T68" fmla="*/ 1120 w 1536"/>
              <a:gd name="T69" fmla="*/ 960 h 1536"/>
              <a:gd name="T70" fmla="*/ 1056 w 1536"/>
              <a:gd name="T71" fmla="*/ 896 h 1536"/>
              <a:gd name="T72" fmla="*/ 1120 w 1536"/>
              <a:gd name="T73" fmla="*/ 960 h 1536"/>
              <a:gd name="T74" fmla="*/ 1152 w 1536"/>
              <a:gd name="T75" fmla="*/ 1088 h 1536"/>
              <a:gd name="T76" fmla="*/ 1312 w 1536"/>
              <a:gd name="T77" fmla="*/ 1024 h 1536"/>
              <a:gd name="T78" fmla="*/ 1120 w 1536"/>
              <a:gd name="T79" fmla="*/ 1088 h 1536"/>
              <a:gd name="T80" fmla="*/ 1056 w 1536"/>
              <a:gd name="T81" fmla="*/ 1024 h 1536"/>
              <a:gd name="T82" fmla="*/ 1120 w 1536"/>
              <a:gd name="T83" fmla="*/ 1088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36" h="1536">
                <a:moveTo>
                  <a:pt x="0" y="652"/>
                </a:moveTo>
                <a:cubicBezTo>
                  <a:pt x="0" y="1280"/>
                  <a:pt x="0" y="1280"/>
                  <a:pt x="0" y="1280"/>
                </a:cubicBezTo>
                <a:cubicBezTo>
                  <a:pt x="960" y="1280"/>
                  <a:pt x="960" y="1280"/>
                  <a:pt x="960" y="1280"/>
                </a:cubicBezTo>
                <a:cubicBezTo>
                  <a:pt x="960" y="256"/>
                  <a:pt x="960" y="256"/>
                  <a:pt x="960" y="256"/>
                </a:cubicBezTo>
                <a:cubicBezTo>
                  <a:pt x="249" y="363"/>
                  <a:pt x="249" y="363"/>
                  <a:pt x="249" y="363"/>
                </a:cubicBezTo>
                <a:cubicBezTo>
                  <a:pt x="105" y="386"/>
                  <a:pt x="0" y="508"/>
                  <a:pt x="0" y="652"/>
                </a:cubicBezTo>
                <a:close/>
                <a:moveTo>
                  <a:pt x="482" y="718"/>
                </a:moveTo>
                <a:cubicBezTo>
                  <a:pt x="578" y="544"/>
                  <a:pt x="578" y="544"/>
                  <a:pt x="578" y="544"/>
                </a:cubicBezTo>
                <a:cubicBezTo>
                  <a:pt x="693" y="544"/>
                  <a:pt x="693" y="544"/>
                  <a:pt x="693" y="544"/>
                </a:cubicBezTo>
                <a:cubicBezTo>
                  <a:pt x="541" y="808"/>
                  <a:pt x="541" y="808"/>
                  <a:pt x="541" y="808"/>
                </a:cubicBezTo>
                <a:cubicBezTo>
                  <a:pt x="709" y="1087"/>
                  <a:pt x="709" y="1087"/>
                  <a:pt x="709" y="1087"/>
                </a:cubicBezTo>
                <a:cubicBezTo>
                  <a:pt x="589" y="1087"/>
                  <a:pt x="589" y="1087"/>
                  <a:pt x="589" y="1087"/>
                </a:cubicBezTo>
                <a:cubicBezTo>
                  <a:pt x="480" y="899"/>
                  <a:pt x="480" y="899"/>
                  <a:pt x="480" y="899"/>
                </a:cubicBezTo>
                <a:cubicBezTo>
                  <a:pt x="371" y="1087"/>
                  <a:pt x="371" y="1087"/>
                  <a:pt x="371" y="1087"/>
                </a:cubicBezTo>
                <a:cubicBezTo>
                  <a:pt x="252" y="1087"/>
                  <a:pt x="252" y="1087"/>
                  <a:pt x="252" y="1087"/>
                </a:cubicBezTo>
                <a:cubicBezTo>
                  <a:pt x="420" y="804"/>
                  <a:pt x="420" y="804"/>
                  <a:pt x="420" y="804"/>
                </a:cubicBezTo>
                <a:cubicBezTo>
                  <a:pt x="267" y="544"/>
                  <a:pt x="267" y="544"/>
                  <a:pt x="267" y="544"/>
                </a:cubicBezTo>
                <a:cubicBezTo>
                  <a:pt x="383" y="544"/>
                  <a:pt x="383" y="544"/>
                  <a:pt x="383" y="544"/>
                </a:cubicBezTo>
                <a:lnTo>
                  <a:pt x="482" y="718"/>
                </a:lnTo>
                <a:close/>
                <a:moveTo>
                  <a:pt x="1536" y="384"/>
                </a:moveTo>
                <a:cubicBezTo>
                  <a:pt x="1536" y="1536"/>
                  <a:pt x="1536" y="1536"/>
                  <a:pt x="1536" y="1536"/>
                </a:cubicBezTo>
                <a:cubicBezTo>
                  <a:pt x="772" y="1536"/>
                  <a:pt x="772" y="1536"/>
                  <a:pt x="772" y="1536"/>
                </a:cubicBezTo>
                <a:cubicBezTo>
                  <a:pt x="654" y="1536"/>
                  <a:pt x="542" y="1454"/>
                  <a:pt x="512" y="1344"/>
                </a:cubicBezTo>
                <a:cubicBezTo>
                  <a:pt x="672" y="1344"/>
                  <a:pt x="672" y="1344"/>
                  <a:pt x="672" y="1344"/>
                </a:cubicBezTo>
                <a:cubicBezTo>
                  <a:pt x="708" y="1383"/>
                  <a:pt x="736" y="1408"/>
                  <a:pt x="811" y="1408"/>
                </a:cubicBezTo>
                <a:cubicBezTo>
                  <a:pt x="1408" y="1408"/>
                  <a:pt x="1408" y="1408"/>
                  <a:pt x="1408" y="1408"/>
                </a:cubicBezTo>
                <a:cubicBezTo>
                  <a:pt x="1408" y="448"/>
                  <a:pt x="1408" y="448"/>
                  <a:pt x="1408" y="448"/>
                </a:cubicBezTo>
                <a:cubicBezTo>
                  <a:pt x="1139" y="128"/>
                  <a:pt x="1139" y="128"/>
                  <a:pt x="1139" y="128"/>
                </a:cubicBezTo>
                <a:cubicBezTo>
                  <a:pt x="640" y="128"/>
                  <a:pt x="640" y="128"/>
                  <a:pt x="640" y="128"/>
                </a:cubicBezTo>
                <a:cubicBezTo>
                  <a:pt x="640" y="256"/>
                  <a:pt x="640" y="256"/>
                  <a:pt x="640" y="256"/>
                </a:cubicBezTo>
                <a:cubicBezTo>
                  <a:pt x="512" y="256"/>
                  <a:pt x="512" y="256"/>
                  <a:pt x="512" y="256"/>
                </a:cubicBezTo>
                <a:cubicBezTo>
                  <a:pt x="512" y="0"/>
                  <a:pt x="512" y="0"/>
                  <a:pt x="512" y="0"/>
                </a:cubicBezTo>
                <a:cubicBezTo>
                  <a:pt x="1178" y="0"/>
                  <a:pt x="1178" y="0"/>
                  <a:pt x="1178" y="0"/>
                </a:cubicBezTo>
                <a:lnTo>
                  <a:pt x="1536" y="384"/>
                </a:lnTo>
                <a:close/>
                <a:moveTo>
                  <a:pt x="1312" y="576"/>
                </a:moveTo>
                <a:cubicBezTo>
                  <a:pt x="1152" y="576"/>
                  <a:pt x="1152" y="576"/>
                  <a:pt x="1152" y="576"/>
                </a:cubicBezTo>
                <a:cubicBezTo>
                  <a:pt x="1152" y="512"/>
                  <a:pt x="1152" y="512"/>
                  <a:pt x="1152" y="512"/>
                </a:cubicBezTo>
                <a:cubicBezTo>
                  <a:pt x="1312" y="512"/>
                  <a:pt x="1312" y="512"/>
                  <a:pt x="1312" y="512"/>
                </a:cubicBezTo>
                <a:lnTo>
                  <a:pt x="1312" y="576"/>
                </a:lnTo>
                <a:close/>
                <a:moveTo>
                  <a:pt x="1120" y="576"/>
                </a:moveTo>
                <a:cubicBezTo>
                  <a:pt x="1056" y="576"/>
                  <a:pt x="1056" y="576"/>
                  <a:pt x="1056" y="576"/>
                </a:cubicBezTo>
                <a:cubicBezTo>
                  <a:pt x="1056" y="512"/>
                  <a:pt x="1056" y="512"/>
                  <a:pt x="1056" y="512"/>
                </a:cubicBezTo>
                <a:cubicBezTo>
                  <a:pt x="1120" y="512"/>
                  <a:pt x="1120" y="512"/>
                  <a:pt x="1120" y="512"/>
                </a:cubicBezTo>
                <a:lnTo>
                  <a:pt x="1120" y="576"/>
                </a:lnTo>
                <a:close/>
                <a:moveTo>
                  <a:pt x="1312" y="704"/>
                </a:moveTo>
                <a:cubicBezTo>
                  <a:pt x="1152" y="704"/>
                  <a:pt x="1152" y="704"/>
                  <a:pt x="1152" y="704"/>
                </a:cubicBezTo>
                <a:cubicBezTo>
                  <a:pt x="1152" y="640"/>
                  <a:pt x="1152" y="640"/>
                  <a:pt x="1152" y="640"/>
                </a:cubicBezTo>
                <a:cubicBezTo>
                  <a:pt x="1312" y="640"/>
                  <a:pt x="1312" y="640"/>
                  <a:pt x="1312" y="640"/>
                </a:cubicBezTo>
                <a:lnTo>
                  <a:pt x="1312" y="704"/>
                </a:lnTo>
                <a:close/>
                <a:moveTo>
                  <a:pt x="1120" y="704"/>
                </a:moveTo>
                <a:cubicBezTo>
                  <a:pt x="1056" y="704"/>
                  <a:pt x="1056" y="704"/>
                  <a:pt x="1056" y="704"/>
                </a:cubicBezTo>
                <a:cubicBezTo>
                  <a:pt x="1056" y="640"/>
                  <a:pt x="1056" y="640"/>
                  <a:pt x="1056" y="640"/>
                </a:cubicBezTo>
                <a:cubicBezTo>
                  <a:pt x="1120" y="640"/>
                  <a:pt x="1120" y="640"/>
                  <a:pt x="1120" y="640"/>
                </a:cubicBezTo>
                <a:lnTo>
                  <a:pt x="1120" y="704"/>
                </a:lnTo>
                <a:close/>
                <a:moveTo>
                  <a:pt x="1312" y="832"/>
                </a:moveTo>
                <a:cubicBezTo>
                  <a:pt x="1152" y="832"/>
                  <a:pt x="1152" y="832"/>
                  <a:pt x="1152" y="832"/>
                </a:cubicBezTo>
                <a:cubicBezTo>
                  <a:pt x="1152" y="768"/>
                  <a:pt x="1152" y="768"/>
                  <a:pt x="1152" y="768"/>
                </a:cubicBezTo>
                <a:cubicBezTo>
                  <a:pt x="1312" y="768"/>
                  <a:pt x="1312" y="768"/>
                  <a:pt x="1312" y="768"/>
                </a:cubicBezTo>
                <a:lnTo>
                  <a:pt x="1312" y="832"/>
                </a:lnTo>
                <a:close/>
                <a:moveTo>
                  <a:pt x="1120" y="832"/>
                </a:moveTo>
                <a:cubicBezTo>
                  <a:pt x="1056" y="832"/>
                  <a:pt x="1056" y="832"/>
                  <a:pt x="1056" y="832"/>
                </a:cubicBezTo>
                <a:cubicBezTo>
                  <a:pt x="1056" y="768"/>
                  <a:pt x="1056" y="768"/>
                  <a:pt x="1056" y="768"/>
                </a:cubicBezTo>
                <a:cubicBezTo>
                  <a:pt x="1120" y="768"/>
                  <a:pt x="1120" y="768"/>
                  <a:pt x="1120" y="768"/>
                </a:cubicBezTo>
                <a:lnTo>
                  <a:pt x="1120" y="832"/>
                </a:lnTo>
                <a:close/>
                <a:moveTo>
                  <a:pt x="1312" y="960"/>
                </a:moveTo>
                <a:cubicBezTo>
                  <a:pt x="1152" y="960"/>
                  <a:pt x="1152" y="960"/>
                  <a:pt x="1152" y="960"/>
                </a:cubicBezTo>
                <a:cubicBezTo>
                  <a:pt x="1152" y="896"/>
                  <a:pt x="1152" y="896"/>
                  <a:pt x="1152" y="896"/>
                </a:cubicBezTo>
                <a:cubicBezTo>
                  <a:pt x="1312" y="896"/>
                  <a:pt x="1312" y="896"/>
                  <a:pt x="1312" y="896"/>
                </a:cubicBezTo>
                <a:lnTo>
                  <a:pt x="1312" y="960"/>
                </a:lnTo>
                <a:close/>
                <a:moveTo>
                  <a:pt x="1120" y="960"/>
                </a:moveTo>
                <a:cubicBezTo>
                  <a:pt x="1056" y="960"/>
                  <a:pt x="1056" y="960"/>
                  <a:pt x="1056" y="960"/>
                </a:cubicBezTo>
                <a:cubicBezTo>
                  <a:pt x="1056" y="896"/>
                  <a:pt x="1056" y="896"/>
                  <a:pt x="1056" y="896"/>
                </a:cubicBezTo>
                <a:cubicBezTo>
                  <a:pt x="1120" y="896"/>
                  <a:pt x="1120" y="896"/>
                  <a:pt x="1120" y="896"/>
                </a:cubicBezTo>
                <a:lnTo>
                  <a:pt x="1120" y="960"/>
                </a:lnTo>
                <a:close/>
                <a:moveTo>
                  <a:pt x="1312" y="1088"/>
                </a:moveTo>
                <a:cubicBezTo>
                  <a:pt x="1152" y="1088"/>
                  <a:pt x="1152" y="1088"/>
                  <a:pt x="1152" y="1088"/>
                </a:cubicBezTo>
                <a:cubicBezTo>
                  <a:pt x="1152" y="1024"/>
                  <a:pt x="1152" y="1024"/>
                  <a:pt x="1152" y="1024"/>
                </a:cubicBezTo>
                <a:cubicBezTo>
                  <a:pt x="1312" y="1024"/>
                  <a:pt x="1312" y="1024"/>
                  <a:pt x="1312" y="1024"/>
                </a:cubicBezTo>
                <a:lnTo>
                  <a:pt x="1312" y="1088"/>
                </a:lnTo>
                <a:close/>
                <a:moveTo>
                  <a:pt x="1120" y="1088"/>
                </a:moveTo>
                <a:cubicBezTo>
                  <a:pt x="1056" y="1088"/>
                  <a:pt x="1056" y="1088"/>
                  <a:pt x="1056" y="1088"/>
                </a:cubicBezTo>
                <a:cubicBezTo>
                  <a:pt x="1056" y="1024"/>
                  <a:pt x="1056" y="1024"/>
                  <a:pt x="1056" y="1024"/>
                </a:cubicBezTo>
                <a:cubicBezTo>
                  <a:pt x="1120" y="1024"/>
                  <a:pt x="1120" y="1024"/>
                  <a:pt x="1120" y="1024"/>
                </a:cubicBezTo>
                <a:lnTo>
                  <a:pt x="1120" y="108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0" name="Freeform 48">
            <a:extLst>
              <a:ext uri="{FF2B5EF4-FFF2-40B4-BE49-F238E27FC236}">
                <a16:creationId xmlns:a16="http://schemas.microsoft.com/office/drawing/2014/main" id="{E6FFA7BF-FD83-4145-917F-D707E0164E68}"/>
              </a:ext>
            </a:extLst>
          </p:cNvPr>
          <p:cNvSpPr>
            <a:spLocks noEditPoints="1"/>
          </p:cNvSpPr>
          <p:nvPr/>
        </p:nvSpPr>
        <p:spPr bwMode="gray">
          <a:xfrm>
            <a:off x="5367687" y="2067868"/>
            <a:ext cx="354176" cy="418740"/>
          </a:xfrm>
          <a:custGeom>
            <a:avLst/>
            <a:gdLst>
              <a:gd name="T0" fmla="*/ 569 w 1408"/>
              <a:gd name="T1" fmla="*/ 1536 h 1664"/>
              <a:gd name="T2" fmla="*/ 256 w 1408"/>
              <a:gd name="T3" fmla="*/ 1536 h 1664"/>
              <a:gd name="T4" fmla="*/ 0 w 1408"/>
              <a:gd name="T5" fmla="*/ 1280 h 1664"/>
              <a:gd name="T6" fmla="*/ 0 w 1408"/>
              <a:gd name="T7" fmla="*/ 0 h 1664"/>
              <a:gd name="T8" fmla="*/ 640 w 1408"/>
              <a:gd name="T9" fmla="*/ 0 h 1664"/>
              <a:gd name="T10" fmla="*/ 1024 w 1408"/>
              <a:gd name="T11" fmla="*/ 384 h 1664"/>
              <a:gd name="T12" fmla="*/ 1024 w 1408"/>
              <a:gd name="T13" fmla="*/ 738 h 1664"/>
              <a:gd name="T14" fmla="*/ 992 w 1408"/>
              <a:gd name="T15" fmla="*/ 736 h 1664"/>
              <a:gd name="T16" fmla="*/ 736 w 1408"/>
              <a:gd name="T17" fmla="*/ 805 h 1664"/>
              <a:gd name="T18" fmla="*/ 660 w 1408"/>
              <a:gd name="T19" fmla="*/ 808 h 1664"/>
              <a:gd name="T20" fmla="*/ 528 w 1408"/>
              <a:gd name="T21" fmla="*/ 641 h 1664"/>
              <a:gd name="T22" fmla="*/ 521 w 1408"/>
              <a:gd name="T23" fmla="*/ 410 h 1664"/>
              <a:gd name="T24" fmla="*/ 489 w 1408"/>
              <a:gd name="T25" fmla="*/ 387 h 1664"/>
              <a:gd name="T26" fmla="*/ 409 w 1408"/>
              <a:gd name="T27" fmla="*/ 423 h 1664"/>
              <a:gd name="T28" fmla="*/ 405 w 1408"/>
              <a:gd name="T29" fmla="*/ 444 h 1664"/>
              <a:gd name="T30" fmla="*/ 405 w 1408"/>
              <a:gd name="T31" fmla="*/ 463 h 1664"/>
              <a:gd name="T32" fmla="*/ 433 w 1408"/>
              <a:gd name="T33" fmla="*/ 648 h 1664"/>
              <a:gd name="T34" fmla="*/ 433 w 1408"/>
              <a:gd name="T35" fmla="*/ 656 h 1664"/>
              <a:gd name="T36" fmla="*/ 316 w 1408"/>
              <a:gd name="T37" fmla="*/ 890 h 1664"/>
              <a:gd name="T38" fmla="*/ 131 w 1408"/>
              <a:gd name="T39" fmla="*/ 1059 h 1664"/>
              <a:gd name="T40" fmla="*/ 149 w 1408"/>
              <a:gd name="T41" fmla="*/ 1124 h 1664"/>
              <a:gd name="T42" fmla="*/ 247 w 1408"/>
              <a:gd name="T43" fmla="*/ 1119 h 1664"/>
              <a:gd name="T44" fmla="*/ 375 w 1408"/>
              <a:gd name="T45" fmla="*/ 956 h 1664"/>
              <a:gd name="T46" fmla="*/ 384 w 1408"/>
              <a:gd name="T47" fmla="*/ 943 h 1664"/>
              <a:gd name="T48" fmla="*/ 621 w 1408"/>
              <a:gd name="T49" fmla="*/ 885 h 1664"/>
              <a:gd name="T50" fmla="*/ 630 w 1408"/>
              <a:gd name="T51" fmla="*/ 885 h 1664"/>
              <a:gd name="T52" fmla="*/ 569 w 1408"/>
              <a:gd name="T53" fmla="*/ 1536 h 1664"/>
              <a:gd name="T54" fmla="*/ 1408 w 1408"/>
              <a:gd name="T55" fmla="*/ 1248 h 1664"/>
              <a:gd name="T56" fmla="*/ 992 w 1408"/>
              <a:gd name="T57" fmla="*/ 1664 h 1664"/>
              <a:gd name="T58" fmla="*/ 576 w 1408"/>
              <a:gd name="T59" fmla="*/ 1248 h 1664"/>
              <a:gd name="T60" fmla="*/ 992 w 1408"/>
              <a:gd name="T61" fmla="*/ 832 h 1664"/>
              <a:gd name="T62" fmla="*/ 1408 w 1408"/>
              <a:gd name="T63" fmla="*/ 1248 h 1664"/>
              <a:gd name="T64" fmla="*/ 1280 w 1408"/>
              <a:gd name="T65" fmla="*/ 1248 h 1664"/>
              <a:gd name="T66" fmla="*/ 1024 w 1408"/>
              <a:gd name="T67" fmla="*/ 992 h 1664"/>
              <a:gd name="T68" fmla="*/ 1024 w 1408"/>
              <a:gd name="T69" fmla="*/ 1152 h 1664"/>
              <a:gd name="T70" fmla="*/ 768 w 1408"/>
              <a:gd name="T71" fmla="*/ 1152 h 1664"/>
              <a:gd name="T72" fmla="*/ 768 w 1408"/>
              <a:gd name="T73" fmla="*/ 1344 h 1664"/>
              <a:gd name="T74" fmla="*/ 1024 w 1408"/>
              <a:gd name="T75" fmla="*/ 1344 h 1664"/>
              <a:gd name="T76" fmla="*/ 1024 w 1408"/>
              <a:gd name="T77" fmla="*/ 1504 h 1664"/>
              <a:gd name="T78" fmla="*/ 1280 w 1408"/>
              <a:gd name="T79" fmla="*/ 1248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8" h="1664">
                <a:moveTo>
                  <a:pt x="569" y="1536"/>
                </a:moveTo>
                <a:cubicBezTo>
                  <a:pt x="256" y="1536"/>
                  <a:pt x="256" y="1536"/>
                  <a:pt x="256" y="1536"/>
                </a:cubicBezTo>
                <a:cubicBezTo>
                  <a:pt x="115" y="1536"/>
                  <a:pt x="0" y="1421"/>
                  <a:pt x="0" y="1280"/>
                </a:cubicBezTo>
                <a:cubicBezTo>
                  <a:pt x="0" y="0"/>
                  <a:pt x="0" y="0"/>
                  <a:pt x="0" y="0"/>
                </a:cubicBezTo>
                <a:cubicBezTo>
                  <a:pt x="640" y="0"/>
                  <a:pt x="640" y="0"/>
                  <a:pt x="640" y="0"/>
                </a:cubicBezTo>
                <a:cubicBezTo>
                  <a:pt x="1024" y="384"/>
                  <a:pt x="1024" y="384"/>
                  <a:pt x="1024" y="384"/>
                </a:cubicBezTo>
                <a:cubicBezTo>
                  <a:pt x="1024" y="738"/>
                  <a:pt x="1024" y="738"/>
                  <a:pt x="1024" y="738"/>
                </a:cubicBezTo>
                <a:cubicBezTo>
                  <a:pt x="1013" y="737"/>
                  <a:pt x="1003" y="736"/>
                  <a:pt x="992" y="736"/>
                </a:cubicBezTo>
                <a:cubicBezTo>
                  <a:pt x="902" y="736"/>
                  <a:pt x="814" y="760"/>
                  <a:pt x="736" y="805"/>
                </a:cubicBezTo>
                <a:cubicBezTo>
                  <a:pt x="711" y="805"/>
                  <a:pt x="685" y="806"/>
                  <a:pt x="660" y="808"/>
                </a:cubicBezTo>
                <a:cubicBezTo>
                  <a:pt x="599" y="768"/>
                  <a:pt x="552" y="710"/>
                  <a:pt x="528" y="641"/>
                </a:cubicBezTo>
                <a:cubicBezTo>
                  <a:pt x="562" y="482"/>
                  <a:pt x="531" y="424"/>
                  <a:pt x="521" y="410"/>
                </a:cubicBezTo>
                <a:cubicBezTo>
                  <a:pt x="514" y="399"/>
                  <a:pt x="502" y="391"/>
                  <a:pt x="489" y="387"/>
                </a:cubicBezTo>
                <a:cubicBezTo>
                  <a:pt x="457" y="375"/>
                  <a:pt x="422" y="391"/>
                  <a:pt x="409" y="423"/>
                </a:cubicBezTo>
                <a:cubicBezTo>
                  <a:pt x="407" y="430"/>
                  <a:pt x="405" y="437"/>
                  <a:pt x="405" y="444"/>
                </a:cubicBezTo>
                <a:cubicBezTo>
                  <a:pt x="405" y="463"/>
                  <a:pt x="405" y="463"/>
                  <a:pt x="405" y="463"/>
                </a:cubicBezTo>
                <a:cubicBezTo>
                  <a:pt x="406" y="526"/>
                  <a:pt x="415" y="588"/>
                  <a:pt x="433" y="648"/>
                </a:cubicBezTo>
                <a:cubicBezTo>
                  <a:pt x="433" y="656"/>
                  <a:pt x="433" y="656"/>
                  <a:pt x="433" y="656"/>
                </a:cubicBezTo>
                <a:cubicBezTo>
                  <a:pt x="391" y="748"/>
                  <a:pt x="363" y="808"/>
                  <a:pt x="316" y="890"/>
                </a:cubicBezTo>
                <a:cubicBezTo>
                  <a:pt x="209" y="933"/>
                  <a:pt x="139" y="1009"/>
                  <a:pt x="131" y="1059"/>
                </a:cubicBezTo>
                <a:cubicBezTo>
                  <a:pt x="127" y="1079"/>
                  <a:pt x="128" y="1105"/>
                  <a:pt x="149" y="1124"/>
                </a:cubicBezTo>
                <a:cubicBezTo>
                  <a:pt x="182" y="1150"/>
                  <a:pt x="219" y="1143"/>
                  <a:pt x="247" y="1119"/>
                </a:cubicBezTo>
                <a:cubicBezTo>
                  <a:pt x="300" y="1074"/>
                  <a:pt x="344" y="1019"/>
                  <a:pt x="375" y="956"/>
                </a:cubicBezTo>
                <a:cubicBezTo>
                  <a:pt x="384" y="943"/>
                  <a:pt x="384" y="943"/>
                  <a:pt x="384" y="943"/>
                </a:cubicBezTo>
                <a:cubicBezTo>
                  <a:pt x="462" y="918"/>
                  <a:pt x="541" y="899"/>
                  <a:pt x="621" y="885"/>
                </a:cubicBezTo>
                <a:cubicBezTo>
                  <a:pt x="624" y="885"/>
                  <a:pt x="627" y="885"/>
                  <a:pt x="630" y="885"/>
                </a:cubicBezTo>
                <a:cubicBezTo>
                  <a:pt x="456" y="1059"/>
                  <a:pt x="430" y="1333"/>
                  <a:pt x="569" y="1536"/>
                </a:cubicBezTo>
                <a:close/>
                <a:moveTo>
                  <a:pt x="1408" y="1248"/>
                </a:moveTo>
                <a:cubicBezTo>
                  <a:pt x="1408" y="1478"/>
                  <a:pt x="1222" y="1664"/>
                  <a:pt x="992" y="1664"/>
                </a:cubicBezTo>
                <a:cubicBezTo>
                  <a:pt x="762" y="1664"/>
                  <a:pt x="576" y="1478"/>
                  <a:pt x="576" y="1248"/>
                </a:cubicBezTo>
                <a:cubicBezTo>
                  <a:pt x="576" y="1018"/>
                  <a:pt x="762" y="832"/>
                  <a:pt x="992" y="832"/>
                </a:cubicBezTo>
                <a:cubicBezTo>
                  <a:pt x="1222" y="832"/>
                  <a:pt x="1408" y="1018"/>
                  <a:pt x="1408" y="1248"/>
                </a:cubicBezTo>
                <a:close/>
                <a:moveTo>
                  <a:pt x="1280" y="1248"/>
                </a:moveTo>
                <a:cubicBezTo>
                  <a:pt x="1024" y="992"/>
                  <a:pt x="1024" y="992"/>
                  <a:pt x="1024" y="992"/>
                </a:cubicBezTo>
                <a:cubicBezTo>
                  <a:pt x="1024" y="1152"/>
                  <a:pt x="1024" y="1152"/>
                  <a:pt x="1024" y="1152"/>
                </a:cubicBezTo>
                <a:cubicBezTo>
                  <a:pt x="768" y="1152"/>
                  <a:pt x="768" y="1152"/>
                  <a:pt x="768" y="1152"/>
                </a:cubicBezTo>
                <a:cubicBezTo>
                  <a:pt x="768" y="1344"/>
                  <a:pt x="768" y="1344"/>
                  <a:pt x="768" y="1344"/>
                </a:cubicBezTo>
                <a:cubicBezTo>
                  <a:pt x="1024" y="1344"/>
                  <a:pt x="1024" y="1344"/>
                  <a:pt x="1024" y="1344"/>
                </a:cubicBezTo>
                <a:cubicBezTo>
                  <a:pt x="1024" y="1504"/>
                  <a:pt x="1024" y="1504"/>
                  <a:pt x="1024" y="1504"/>
                </a:cubicBezTo>
                <a:lnTo>
                  <a:pt x="1280" y="124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1" name="Freeform 52">
            <a:extLst>
              <a:ext uri="{FF2B5EF4-FFF2-40B4-BE49-F238E27FC236}">
                <a16:creationId xmlns:a16="http://schemas.microsoft.com/office/drawing/2014/main" id="{CE8128C8-7632-415A-892B-3FD0B556DB78}"/>
              </a:ext>
            </a:extLst>
          </p:cNvPr>
          <p:cNvSpPr>
            <a:spLocks noEditPoints="1"/>
          </p:cNvSpPr>
          <p:nvPr/>
        </p:nvSpPr>
        <p:spPr bwMode="gray">
          <a:xfrm>
            <a:off x="7557922" y="3270058"/>
            <a:ext cx="427038" cy="360363"/>
          </a:xfrm>
          <a:custGeom>
            <a:avLst/>
            <a:gdLst>
              <a:gd name="T0" fmla="*/ 736 w 1664"/>
              <a:gd name="T1" fmla="*/ 992 h 1408"/>
              <a:gd name="T2" fmla="*/ 745 w 1664"/>
              <a:gd name="T3" fmla="*/ 896 h 1408"/>
              <a:gd name="T4" fmla="*/ 256 w 1664"/>
              <a:gd name="T5" fmla="*/ 896 h 1408"/>
              <a:gd name="T6" fmla="*/ 512 w 1664"/>
              <a:gd name="T7" fmla="*/ 512 h 1408"/>
              <a:gd name="T8" fmla="*/ 768 w 1664"/>
              <a:gd name="T9" fmla="*/ 640 h 1408"/>
              <a:gd name="T10" fmla="*/ 1024 w 1664"/>
              <a:gd name="T11" fmla="*/ 256 h 1408"/>
              <a:gd name="T12" fmla="*/ 1098 w 1664"/>
              <a:gd name="T13" fmla="*/ 502 h 1408"/>
              <a:gd name="T14" fmla="*/ 1536 w 1664"/>
              <a:gd name="T15" fmla="*/ 569 h 1408"/>
              <a:gd name="T16" fmla="*/ 1536 w 1664"/>
              <a:gd name="T17" fmla="*/ 0 h 1408"/>
              <a:gd name="T18" fmla="*/ 256 w 1664"/>
              <a:gd name="T19" fmla="*/ 0 h 1408"/>
              <a:gd name="T20" fmla="*/ 0 w 1664"/>
              <a:gd name="T21" fmla="*/ 256 h 1408"/>
              <a:gd name="T22" fmla="*/ 0 w 1664"/>
              <a:gd name="T23" fmla="*/ 768 h 1408"/>
              <a:gd name="T24" fmla="*/ 256 w 1664"/>
              <a:gd name="T25" fmla="*/ 1024 h 1408"/>
              <a:gd name="T26" fmla="*/ 738 w 1664"/>
              <a:gd name="T27" fmla="*/ 1024 h 1408"/>
              <a:gd name="T28" fmla="*/ 736 w 1664"/>
              <a:gd name="T29" fmla="*/ 992 h 1408"/>
              <a:gd name="T30" fmla="*/ 384 w 1664"/>
              <a:gd name="T31" fmla="*/ 128 h 1408"/>
              <a:gd name="T32" fmla="*/ 512 w 1664"/>
              <a:gd name="T33" fmla="*/ 256 h 1408"/>
              <a:gd name="T34" fmla="*/ 384 w 1664"/>
              <a:gd name="T35" fmla="*/ 384 h 1408"/>
              <a:gd name="T36" fmla="*/ 256 w 1664"/>
              <a:gd name="T37" fmla="*/ 256 h 1408"/>
              <a:gd name="T38" fmla="*/ 384 w 1664"/>
              <a:gd name="T39" fmla="*/ 128 h 1408"/>
              <a:gd name="T40" fmla="*/ 1248 w 1664"/>
              <a:gd name="T41" fmla="*/ 576 h 1408"/>
              <a:gd name="T42" fmla="*/ 832 w 1664"/>
              <a:gd name="T43" fmla="*/ 992 h 1408"/>
              <a:gd name="T44" fmla="*/ 1248 w 1664"/>
              <a:gd name="T45" fmla="*/ 1408 h 1408"/>
              <a:gd name="T46" fmla="*/ 1664 w 1664"/>
              <a:gd name="T47" fmla="*/ 992 h 1408"/>
              <a:gd name="T48" fmla="*/ 1248 w 1664"/>
              <a:gd name="T49" fmla="*/ 576 h 1408"/>
              <a:gd name="T50" fmla="*/ 1280 w 1664"/>
              <a:gd name="T51" fmla="*/ 1248 h 1408"/>
              <a:gd name="T52" fmla="*/ 1280 w 1664"/>
              <a:gd name="T53" fmla="*/ 1088 h 1408"/>
              <a:gd name="T54" fmla="*/ 1024 w 1664"/>
              <a:gd name="T55" fmla="*/ 1088 h 1408"/>
              <a:gd name="T56" fmla="*/ 1024 w 1664"/>
              <a:gd name="T57" fmla="*/ 896 h 1408"/>
              <a:gd name="T58" fmla="*/ 1280 w 1664"/>
              <a:gd name="T59" fmla="*/ 896 h 1408"/>
              <a:gd name="T60" fmla="*/ 1280 w 1664"/>
              <a:gd name="T61" fmla="*/ 736 h 1408"/>
              <a:gd name="T62" fmla="*/ 1536 w 1664"/>
              <a:gd name="T63" fmla="*/ 992 h 1408"/>
              <a:gd name="T64" fmla="*/ 1280 w 1664"/>
              <a:gd name="T65" fmla="*/ 1248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64" h="1408">
                <a:moveTo>
                  <a:pt x="736" y="992"/>
                </a:moveTo>
                <a:cubicBezTo>
                  <a:pt x="736" y="960"/>
                  <a:pt x="739" y="928"/>
                  <a:pt x="745" y="896"/>
                </a:cubicBezTo>
                <a:cubicBezTo>
                  <a:pt x="256" y="896"/>
                  <a:pt x="256" y="896"/>
                  <a:pt x="256" y="896"/>
                </a:cubicBezTo>
                <a:cubicBezTo>
                  <a:pt x="512" y="512"/>
                  <a:pt x="512" y="512"/>
                  <a:pt x="512" y="512"/>
                </a:cubicBezTo>
                <a:cubicBezTo>
                  <a:pt x="768" y="640"/>
                  <a:pt x="768" y="640"/>
                  <a:pt x="768" y="640"/>
                </a:cubicBezTo>
                <a:cubicBezTo>
                  <a:pt x="1024" y="256"/>
                  <a:pt x="1024" y="256"/>
                  <a:pt x="1024" y="256"/>
                </a:cubicBezTo>
                <a:cubicBezTo>
                  <a:pt x="1098" y="502"/>
                  <a:pt x="1098" y="502"/>
                  <a:pt x="1098" y="502"/>
                </a:cubicBezTo>
                <a:cubicBezTo>
                  <a:pt x="1246" y="457"/>
                  <a:pt x="1408" y="481"/>
                  <a:pt x="1536" y="569"/>
                </a:cubicBezTo>
                <a:cubicBezTo>
                  <a:pt x="1536" y="0"/>
                  <a:pt x="1536" y="0"/>
                  <a:pt x="1536" y="0"/>
                </a:cubicBezTo>
                <a:cubicBezTo>
                  <a:pt x="256" y="0"/>
                  <a:pt x="256" y="0"/>
                  <a:pt x="256" y="0"/>
                </a:cubicBezTo>
                <a:cubicBezTo>
                  <a:pt x="115" y="0"/>
                  <a:pt x="0" y="115"/>
                  <a:pt x="0" y="256"/>
                </a:cubicBezTo>
                <a:cubicBezTo>
                  <a:pt x="0" y="768"/>
                  <a:pt x="0" y="768"/>
                  <a:pt x="0" y="768"/>
                </a:cubicBezTo>
                <a:cubicBezTo>
                  <a:pt x="0" y="909"/>
                  <a:pt x="115" y="1024"/>
                  <a:pt x="256" y="1024"/>
                </a:cubicBezTo>
                <a:cubicBezTo>
                  <a:pt x="738" y="1024"/>
                  <a:pt x="738" y="1024"/>
                  <a:pt x="738" y="1024"/>
                </a:cubicBezTo>
                <a:cubicBezTo>
                  <a:pt x="737" y="1013"/>
                  <a:pt x="736" y="1003"/>
                  <a:pt x="736" y="992"/>
                </a:cubicBezTo>
                <a:close/>
                <a:moveTo>
                  <a:pt x="384" y="128"/>
                </a:moveTo>
                <a:cubicBezTo>
                  <a:pt x="455" y="128"/>
                  <a:pt x="512" y="185"/>
                  <a:pt x="512" y="256"/>
                </a:cubicBezTo>
                <a:cubicBezTo>
                  <a:pt x="512" y="327"/>
                  <a:pt x="455" y="384"/>
                  <a:pt x="384" y="384"/>
                </a:cubicBezTo>
                <a:cubicBezTo>
                  <a:pt x="313" y="384"/>
                  <a:pt x="256" y="327"/>
                  <a:pt x="256" y="256"/>
                </a:cubicBezTo>
                <a:cubicBezTo>
                  <a:pt x="256" y="185"/>
                  <a:pt x="313" y="128"/>
                  <a:pt x="384" y="128"/>
                </a:cubicBezTo>
                <a:close/>
                <a:moveTo>
                  <a:pt x="1248" y="576"/>
                </a:moveTo>
                <a:cubicBezTo>
                  <a:pt x="1018" y="576"/>
                  <a:pt x="832" y="762"/>
                  <a:pt x="832" y="992"/>
                </a:cubicBezTo>
                <a:cubicBezTo>
                  <a:pt x="832" y="1222"/>
                  <a:pt x="1018" y="1408"/>
                  <a:pt x="1248" y="1408"/>
                </a:cubicBezTo>
                <a:cubicBezTo>
                  <a:pt x="1478" y="1408"/>
                  <a:pt x="1664" y="1222"/>
                  <a:pt x="1664" y="992"/>
                </a:cubicBezTo>
                <a:cubicBezTo>
                  <a:pt x="1664" y="762"/>
                  <a:pt x="1478" y="576"/>
                  <a:pt x="1248" y="576"/>
                </a:cubicBezTo>
                <a:close/>
                <a:moveTo>
                  <a:pt x="1280" y="1248"/>
                </a:moveTo>
                <a:cubicBezTo>
                  <a:pt x="1280" y="1088"/>
                  <a:pt x="1280" y="1088"/>
                  <a:pt x="1280" y="1088"/>
                </a:cubicBezTo>
                <a:cubicBezTo>
                  <a:pt x="1024" y="1088"/>
                  <a:pt x="1024" y="1088"/>
                  <a:pt x="1024" y="1088"/>
                </a:cubicBezTo>
                <a:cubicBezTo>
                  <a:pt x="1024" y="896"/>
                  <a:pt x="1024" y="896"/>
                  <a:pt x="1024" y="896"/>
                </a:cubicBezTo>
                <a:cubicBezTo>
                  <a:pt x="1280" y="896"/>
                  <a:pt x="1280" y="896"/>
                  <a:pt x="1280" y="896"/>
                </a:cubicBezTo>
                <a:cubicBezTo>
                  <a:pt x="1280" y="736"/>
                  <a:pt x="1280" y="736"/>
                  <a:pt x="1280" y="736"/>
                </a:cubicBezTo>
                <a:cubicBezTo>
                  <a:pt x="1536" y="992"/>
                  <a:pt x="1536" y="992"/>
                  <a:pt x="1536" y="992"/>
                </a:cubicBezTo>
                <a:lnTo>
                  <a:pt x="1280" y="124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2" name="Freeform 5">
            <a:extLst>
              <a:ext uri="{FF2B5EF4-FFF2-40B4-BE49-F238E27FC236}">
                <a16:creationId xmlns:a16="http://schemas.microsoft.com/office/drawing/2014/main" id="{2D63E98C-1BE7-4918-BB19-FD501F4ED17B}"/>
              </a:ext>
            </a:extLst>
          </p:cNvPr>
          <p:cNvSpPr>
            <a:spLocks noEditPoints="1"/>
          </p:cNvSpPr>
          <p:nvPr/>
        </p:nvSpPr>
        <p:spPr bwMode="gray">
          <a:xfrm>
            <a:off x="3099989" y="2077064"/>
            <a:ext cx="436241" cy="400349"/>
          </a:xfrm>
          <a:custGeom>
            <a:avLst/>
            <a:gdLst>
              <a:gd name="T0" fmla="*/ 832 w 1536"/>
              <a:gd name="T1" fmla="*/ 960 h 1408"/>
              <a:gd name="T2" fmla="*/ 0 w 1536"/>
              <a:gd name="T3" fmla="*/ 960 h 1408"/>
              <a:gd name="T4" fmla="*/ 0 w 1536"/>
              <a:gd name="T5" fmla="*/ 0 h 1408"/>
              <a:gd name="T6" fmla="*/ 1408 w 1536"/>
              <a:gd name="T7" fmla="*/ 0 h 1408"/>
              <a:gd name="T8" fmla="*/ 1408 w 1536"/>
              <a:gd name="T9" fmla="*/ 192 h 1408"/>
              <a:gd name="T10" fmla="*/ 896 w 1536"/>
              <a:gd name="T11" fmla="*/ 192 h 1408"/>
              <a:gd name="T12" fmla="*/ 896 w 1536"/>
              <a:gd name="T13" fmla="*/ 704 h 1408"/>
              <a:gd name="T14" fmla="*/ 832 w 1536"/>
              <a:gd name="T15" fmla="*/ 704 h 1408"/>
              <a:gd name="T16" fmla="*/ 832 w 1536"/>
              <a:gd name="T17" fmla="*/ 960 h 1408"/>
              <a:gd name="T18" fmla="*/ 832 w 1536"/>
              <a:gd name="T19" fmla="*/ 1024 h 1408"/>
              <a:gd name="T20" fmla="*/ 448 w 1536"/>
              <a:gd name="T21" fmla="*/ 1024 h 1408"/>
              <a:gd name="T22" fmla="*/ 448 w 1536"/>
              <a:gd name="T23" fmla="*/ 1152 h 1408"/>
              <a:gd name="T24" fmla="*/ 832 w 1536"/>
              <a:gd name="T25" fmla="*/ 1152 h 1408"/>
              <a:gd name="T26" fmla="*/ 832 w 1536"/>
              <a:gd name="T27" fmla="*/ 1024 h 1408"/>
              <a:gd name="T28" fmla="*/ 896 w 1536"/>
              <a:gd name="T29" fmla="*/ 768 h 1408"/>
              <a:gd name="T30" fmla="*/ 896 w 1536"/>
              <a:gd name="T31" fmla="*/ 1152 h 1408"/>
              <a:gd name="T32" fmla="*/ 1024 w 1536"/>
              <a:gd name="T33" fmla="*/ 1280 h 1408"/>
              <a:gd name="T34" fmla="*/ 1088 w 1536"/>
              <a:gd name="T35" fmla="*/ 1280 h 1408"/>
              <a:gd name="T36" fmla="*/ 1088 w 1536"/>
              <a:gd name="T37" fmla="*/ 1408 h 1408"/>
              <a:gd name="T38" fmla="*/ 1344 w 1536"/>
              <a:gd name="T39" fmla="*/ 1408 h 1408"/>
              <a:gd name="T40" fmla="*/ 1344 w 1536"/>
              <a:gd name="T41" fmla="*/ 1280 h 1408"/>
              <a:gd name="T42" fmla="*/ 1408 w 1536"/>
              <a:gd name="T43" fmla="*/ 1280 h 1408"/>
              <a:gd name="T44" fmla="*/ 1536 w 1536"/>
              <a:gd name="T45" fmla="*/ 1152 h 1408"/>
              <a:gd name="T46" fmla="*/ 1536 w 1536"/>
              <a:gd name="T47" fmla="*/ 768 h 1408"/>
              <a:gd name="T48" fmla="*/ 896 w 1536"/>
              <a:gd name="T49" fmla="*/ 768 h 1408"/>
              <a:gd name="T50" fmla="*/ 1472 w 1536"/>
              <a:gd name="T51" fmla="*/ 256 h 1408"/>
              <a:gd name="T52" fmla="*/ 1472 w 1536"/>
              <a:gd name="T53" fmla="*/ 704 h 1408"/>
              <a:gd name="T54" fmla="*/ 960 w 1536"/>
              <a:gd name="T55" fmla="*/ 704 h 1408"/>
              <a:gd name="T56" fmla="*/ 960 w 1536"/>
              <a:gd name="T57" fmla="*/ 256 h 1408"/>
              <a:gd name="T58" fmla="*/ 1472 w 1536"/>
              <a:gd name="T59" fmla="*/ 256 h 1408"/>
              <a:gd name="T60" fmla="*/ 1152 w 1536"/>
              <a:gd name="T61" fmla="*/ 384 h 1408"/>
              <a:gd name="T62" fmla="*/ 1024 w 1536"/>
              <a:gd name="T63" fmla="*/ 384 h 1408"/>
              <a:gd name="T64" fmla="*/ 1024 w 1536"/>
              <a:gd name="T65" fmla="*/ 512 h 1408"/>
              <a:gd name="T66" fmla="*/ 1152 w 1536"/>
              <a:gd name="T67" fmla="*/ 512 h 1408"/>
              <a:gd name="T68" fmla="*/ 1152 w 1536"/>
              <a:gd name="T69" fmla="*/ 384 h 1408"/>
              <a:gd name="T70" fmla="*/ 1408 w 1536"/>
              <a:gd name="T71" fmla="*/ 384 h 1408"/>
              <a:gd name="T72" fmla="*/ 1280 w 1536"/>
              <a:gd name="T73" fmla="*/ 384 h 1408"/>
              <a:gd name="T74" fmla="*/ 1280 w 1536"/>
              <a:gd name="T75" fmla="*/ 512 h 1408"/>
              <a:gd name="T76" fmla="*/ 1408 w 1536"/>
              <a:gd name="T77" fmla="*/ 512 h 1408"/>
              <a:gd name="T78" fmla="*/ 1408 w 1536"/>
              <a:gd name="T79" fmla="*/ 384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36" h="1408">
                <a:moveTo>
                  <a:pt x="832" y="960"/>
                </a:moveTo>
                <a:cubicBezTo>
                  <a:pt x="0" y="960"/>
                  <a:pt x="0" y="960"/>
                  <a:pt x="0" y="960"/>
                </a:cubicBezTo>
                <a:cubicBezTo>
                  <a:pt x="0" y="0"/>
                  <a:pt x="0" y="0"/>
                  <a:pt x="0" y="0"/>
                </a:cubicBezTo>
                <a:cubicBezTo>
                  <a:pt x="1408" y="0"/>
                  <a:pt x="1408" y="0"/>
                  <a:pt x="1408" y="0"/>
                </a:cubicBezTo>
                <a:cubicBezTo>
                  <a:pt x="1408" y="192"/>
                  <a:pt x="1408" y="192"/>
                  <a:pt x="1408" y="192"/>
                </a:cubicBezTo>
                <a:cubicBezTo>
                  <a:pt x="896" y="192"/>
                  <a:pt x="896" y="192"/>
                  <a:pt x="896" y="192"/>
                </a:cubicBezTo>
                <a:cubicBezTo>
                  <a:pt x="896" y="704"/>
                  <a:pt x="896" y="704"/>
                  <a:pt x="896" y="704"/>
                </a:cubicBezTo>
                <a:cubicBezTo>
                  <a:pt x="832" y="704"/>
                  <a:pt x="832" y="704"/>
                  <a:pt x="832" y="704"/>
                </a:cubicBezTo>
                <a:lnTo>
                  <a:pt x="832" y="960"/>
                </a:lnTo>
                <a:close/>
                <a:moveTo>
                  <a:pt x="832" y="1024"/>
                </a:moveTo>
                <a:cubicBezTo>
                  <a:pt x="448" y="1024"/>
                  <a:pt x="448" y="1024"/>
                  <a:pt x="448" y="1024"/>
                </a:cubicBezTo>
                <a:cubicBezTo>
                  <a:pt x="448" y="1152"/>
                  <a:pt x="448" y="1152"/>
                  <a:pt x="448" y="1152"/>
                </a:cubicBezTo>
                <a:cubicBezTo>
                  <a:pt x="832" y="1152"/>
                  <a:pt x="832" y="1152"/>
                  <a:pt x="832" y="1152"/>
                </a:cubicBezTo>
                <a:lnTo>
                  <a:pt x="832" y="1024"/>
                </a:lnTo>
                <a:close/>
                <a:moveTo>
                  <a:pt x="896" y="768"/>
                </a:moveTo>
                <a:cubicBezTo>
                  <a:pt x="896" y="1152"/>
                  <a:pt x="896" y="1152"/>
                  <a:pt x="896" y="1152"/>
                </a:cubicBezTo>
                <a:cubicBezTo>
                  <a:pt x="896" y="1223"/>
                  <a:pt x="953" y="1280"/>
                  <a:pt x="1024" y="1280"/>
                </a:cubicBezTo>
                <a:cubicBezTo>
                  <a:pt x="1088" y="1280"/>
                  <a:pt x="1088" y="1280"/>
                  <a:pt x="1088" y="1280"/>
                </a:cubicBezTo>
                <a:cubicBezTo>
                  <a:pt x="1088" y="1408"/>
                  <a:pt x="1088" y="1408"/>
                  <a:pt x="1088" y="1408"/>
                </a:cubicBezTo>
                <a:cubicBezTo>
                  <a:pt x="1344" y="1408"/>
                  <a:pt x="1344" y="1408"/>
                  <a:pt x="1344" y="1408"/>
                </a:cubicBezTo>
                <a:cubicBezTo>
                  <a:pt x="1344" y="1280"/>
                  <a:pt x="1344" y="1280"/>
                  <a:pt x="1344" y="1280"/>
                </a:cubicBezTo>
                <a:cubicBezTo>
                  <a:pt x="1408" y="1280"/>
                  <a:pt x="1408" y="1280"/>
                  <a:pt x="1408" y="1280"/>
                </a:cubicBezTo>
                <a:cubicBezTo>
                  <a:pt x="1479" y="1280"/>
                  <a:pt x="1536" y="1223"/>
                  <a:pt x="1536" y="1152"/>
                </a:cubicBezTo>
                <a:cubicBezTo>
                  <a:pt x="1536" y="768"/>
                  <a:pt x="1536" y="768"/>
                  <a:pt x="1536" y="768"/>
                </a:cubicBezTo>
                <a:lnTo>
                  <a:pt x="896" y="768"/>
                </a:lnTo>
                <a:close/>
                <a:moveTo>
                  <a:pt x="1472" y="256"/>
                </a:moveTo>
                <a:cubicBezTo>
                  <a:pt x="1472" y="704"/>
                  <a:pt x="1472" y="704"/>
                  <a:pt x="1472" y="704"/>
                </a:cubicBezTo>
                <a:cubicBezTo>
                  <a:pt x="960" y="704"/>
                  <a:pt x="960" y="704"/>
                  <a:pt x="960" y="704"/>
                </a:cubicBezTo>
                <a:cubicBezTo>
                  <a:pt x="960" y="256"/>
                  <a:pt x="960" y="256"/>
                  <a:pt x="960" y="256"/>
                </a:cubicBezTo>
                <a:lnTo>
                  <a:pt x="1472" y="256"/>
                </a:lnTo>
                <a:close/>
                <a:moveTo>
                  <a:pt x="1152" y="384"/>
                </a:moveTo>
                <a:cubicBezTo>
                  <a:pt x="1024" y="384"/>
                  <a:pt x="1024" y="384"/>
                  <a:pt x="1024" y="384"/>
                </a:cubicBezTo>
                <a:cubicBezTo>
                  <a:pt x="1024" y="512"/>
                  <a:pt x="1024" y="512"/>
                  <a:pt x="1024" y="512"/>
                </a:cubicBezTo>
                <a:cubicBezTo>
                  <a:pt x="1152" y="512"/>
                  <a:pt x="1152" y="512"/>
                  <a:pt x="1152" y="512"/>
                </a:cubicBezTo>
                <a:lnTo>
                  <a:pt x="1152" y="384"/>
                </a:lnTo>
                <a:close/>
                <a:moveTo>
                  <a:pt x="1408" y="384"/>
                </a:moveTo>
                <a:cubicBezTo>
                  <a:pt x="1280" y="384"/>
                  <a:pt x="1280" y="384"/>
                  <a:pt x="1280" y="384"/>
                </a:cubicBezTo>
                <a:cubicBezTo>
                  <a:pt x="1280" y="512"/>
                  <a:pt x="1280" y="512"/>
                  <a:pt x="1280" y="512"/>
                </a:cubicBezTo>
                <a:cubicBezTo>
                  <a:pt x="1408" y="512"/>
                  <a:pt x="1408" y="512"/>
                  <a:pt x="1408" y="512"/>
                </a:cubicBezTo>
                <a:lnTo>
                  <a:pt x="1408" y="38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3" name="Freeform 22">
            <a:extLst>
              <a:ext uri="{FF2B5EF4-FFF2-40B4-BE49-F238E27FC236}">
                <a16:creationId xmlns:a16="http://schemas.microsoft.com/office/drawing/2014/main" id="{997F75AA-4C64-44A9-8260-EFDA498533D9}"/>
              </a:ext>
            </a:extLst>
          </p:cNvPr>
          <p:cNvSpPr>
            <a:spLocks noEditPoints="1"/>
          </p:cNvSpPr>
          <p:nvPr/>
        </p:nvSpPr>
        <p:spPr bwMode="gray">
          <a:xfrm>
            <a:off x="10913148" y="4502005"/>
            <a:ext cx="396585" cy="242470"/>
          </a:xfrm>
          <a:custGeom>
            <a:avLst/>
            <a:gdLst>
              <a:gd name="T0" fmla="*/ 1472 w 1472"/>
              <a:gd name="T1" fmla="*/ 64 h 768"/>
              <a:gd name="T2" fmla="*/ 1472 w 1472"/>
              <a:gd name="T3" fmla="*/ 704 h 768"/>
              <a:gd name="T4" fmla="*/ 1280 w 1472"/>
              <a:gd name="T5" fmla="*/ 704 h 768"/>
              <a:gd name="T6" fmla="*/ 1088 w 1472"/>
              <a:gd name="T7" fmla="*/ 512 h 768"/>
              <a:gd name="T8" fmla="*/ 1088 w 1472"/>
              <a:gd name="T9" fmla="*/ 256 h 768"/>
              <a:gd name="T10" fmla="*/ 1280 w 1472"/>
              <a:gd name="T11" fmla="*/ 64 h 768"/>
              <a:gd name="T12" fmla="*/ 1472 w 1472"/>
              <a:gd name="T13" fmla="*/ 64 h 768"/>
              <a:gd name="T14" fmla="*/ 1024 w 1472"/>
              <a:gd name="T15" fmla="*/ 0 h 768"/>
              <a:gd name="T16" fmla="*/ 1024 w 1472"/>
              <a:gd name="T17" fmla="*/ 768 h 768"/>
              <a:gd name="T18" fmla="*/ 256 w 1472"/>
              <a:gd name="T19" fmla="*/ 768 h 768"/>
              <a:gd name="T20" fmla="*/ 0 w 1472"/>
              <a:gd name="T21" fmla="*/ 512 h 768"/>
              <a:gd name="T22" fmla="*/ 0 w 1472"/>
              <a:gd name="T23" fmla="*/ 256 h 768"/>
              <a:gd name="T24" fmla="*/ 256 w 1472"/>
              <a:gd name="T25" fmla="*/ 0 h 768"/>
              <a:gd name="T26" fmla="*/ 1024 w 1472"/>
              <a:gd name="T27" fmla="*/ 0 h 768"/>
              <a:gd name="T28" fmla="*/ 704 w 1472"/>
              <a:gd name="T29" fmla="*/ 384 h 768"/>
              <a:gd name="T30" fmla="*/ 448 w 1472"/>
              <a:gd name="T31" fmla="*/ 128 h 768"/>
              <a:gd name="T32" fmla="*/ 448 w 1472"/>
              <a:gd name="T33" fmla="*/ 640 h 768"/>
              <a:gd name="T34" fmla="*/ 704 w 1472"/>
              <a:gd name="T35" fmla="*/ 384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72" h="768">
                <a:moveTo>
                  <a:pt x="1472" y="64"/>
                </a:moveTo>
                <a:cubicBezTo>
                  <a:pt x="1472" y="704"/>
                  <a:pt x="1472" y="704"/>
                  <a:pt x="1472" y="704"/>
                </a:cubicBezTo>
                <a:cubicBezTo>
                  <a:pt x="1280" y="704"/>
                  <a:pt x="1280" y="704"/>
                  <a:pt x="1280" y="704"/>
                </a:cubicBezTo>
                <a:cubicBezTo>
                  <a:pt x="1088" y="512"/>
                  <a:pt x="1088" y="512"/>
                  <a:pt x="1088" y="512"/>
                </a:cubicBezTo>
                <a:cubicBezTo>
                  <a:pt x="1088" y="256"/>
                  <a:pt x="1088" y="256"/>
                  <a:pt x="1088" y="256"/>
                </a:cubicBezTo>
                <a:cubicBezTo>
                  <a:pt x="1280" y="64"/>
                  <a:pt x="1280" y="64"/>
                  <a:pt x="1280" y="64"/>
                </a:cubicBezTo>
                <a:lnTo>
                  <a:pt x="1472" y="64"/>
                </a:lnTo>
                <a:close/>
                <a:moveTo>
                  <a:pt x="1024" y="0"/>
                </a:moveTo>
                <a:cubicBezTo>
                  <a:pt x="1024" y="768"/>
                  <a:pt x="1024" y="768"/>
                  <a:pt x="1024" y="768"/>
                </a:cubicBezTo>
                <a:cubicBezTo>
                  <a:pt x="256" y="768"/>
                  <a:pt x="256" y="768"/>
                  <a:pt x="256" y="768"/>
                </a:cubicBezTo>
                <a:cubicBezTo>
                  <a:pt x="115" y="768"/>
                  <a:pt x="0" y="653"/>
                  <a:pt x="0" y="512"/>
                </a:cubicBezTo>
                <a:cubicBezTo>
                  <a:pt x="0" y="256"/>
                  <a:pt x="0" y="256"/>
                  <a:pt x="0" y="256"/>
                </a:cubicBezTo>
                <a:cubicBezTo>
                  <a:pt x="0" y="115"/>
                  <a:pt x="115" y="0"/>
                  <a:pt x="256" y="0"/>
                </a:cubicBezTo>
                <a:lnTo>
                  <a:pt x="1024" y="0"/>
                </a:lnTo>
                <a:close/>
                <a:moveTo>
                  <a:pt x="704" y="384"/>
                </a:moveTo>
                <a:cubicBezTo>
                  <a:pt x="448" y="128"/>
                  <a:pt x="448" y="128"/>
                  <a:pt x="448" y="128"/>
                </a:cubicBezTo>
                <a:cubicBezTo>
                  <a:pt x="448" y="640"/>
                  <a:pt x="448" y="640"/>
                  <a:pt x="448" y="640"/>
                </a:cubicBezTo>
                <a:lnTo>
                  <a:pt x="704" y="38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4" name="Freeform 56">
            <a:extLst>
              <a:ext uri="{FF2B5EF4-FFF2-40B4-BE49-F238E27FC236}">
                <a16:creationId xmlns:a16="http://schemas.microsoft.com/office/drawing/2014/main" id="{69E81D26-72B5-479E-BADD-7E827E6BEC1F}"/>
              </a:ext>
            </a:extLst>
          </p:cNvPr>
          <p:cNvSpPr>
            <a:spLocks noEditPoints="1"/>
          </p:cNvSpPr>
          <p:nvPr/>
        </p:nvSpPr>
        <p:spPr bwMode="gray">
          <a:xfrm>
            <a:off x="9785581" y="4464324"/>
            <a:ext cx="425052" cy="317832"/>
          </a:xfrm>
          <a:custGeom>
            <a:avLst/>
            <a:gdLst>
              <a:gd name="T0" fmla="*/ 1120 w 1536"/>
              <a:gd name="T1" fmla="*/ 192 h 1152"/>
              <a:gd name="T2" fmla="*/ 964 w 1536"/>
              <a:gd name="T3" fmla="*/ 0 h 1152"/>
              <a:gd name="T4" fmla="*/ 572 w 1536"/>
              <a:gd name="T5" fmla="*/ 0 h 1152"/>
              <a:gd name="T6" fmla="*/ 416 w 1536"/>
              <a:gd name="T7" fmla="*/ 192 h 1152"/>
              <a:gd name="T8" fmla="*/ 0 w 1536"/>
              <a:gd name="T9" fmla="*/ 192 h 1152"/>
              <a:gd name="T10" fmla="*/ 0 w 1536"/>
              <a:gd name="T11" fmla="*/ 896 h 1152"/>
              <a:gd name="T12" fmla="*/ 256 w 1536"/>
              <a:gd name="T13" fmla="*/ 1152 h 1152"/>
              <a:gd name="T14" fmla="*/ 1536 w 1536"/>
              <a:gd name="T15" fmla="*/ 1152 h 1152"/>
              <a:gd name="T16" fmla="*/ 1536 w 1536"/>
              <a:gd name="T17" fmla="*/ 192 h 1152"/>
              <a:gd name="T18" fmla="*/ 1120 w 1536"/>
              <a:gd name="T19" fmla="*/ 192 h 1152"/>
              <a:gd name="T20" fmla="*/ 768 w 1536"/>
              <a:gd name="T21" fmla="*/ 1024 h 1152"/>
              <a:gd name="T22" fmla="*/ 416 w 1536"/>
              <a:gd name="T23" fmla="*/ 672 h 1152"/>
              <a:gd name="T24" fmla="*/ 768 w 1536"/>
              <a:gd name="T25" fmla="*/ 320 h 1152"/>
              <a:gd name="T26" fmla="*/ 1120 w 1536"/>
              <a:gd name="T27" fmla="*/ 672 h 1152"/>
              <a:gd name="T28" fmla="*/ 768 w 1536"/>
              <a:gd name="T29" fmla="*/ 1024 h 1152"/>
              <a:gd name="T30" fmla="*/ 1024 w 1536"/>
              <a:gd name="T31" fmla="*/ 672 h 1152"/>
              <a:gd name="T32" fmla="*/ 768 w 1536"/>
              <a:gd name="T33" fmla="*/ 928 h 1152"/>
              <a:gd name="T34" fmla="*/ 512 w 1536"/>
              <a:gd name="T35" fmla="*/ 672 h 1152"/>
              <a:gd name="T36" fmla="*/ 768 w 1536"/>
              <a:gd name="T37" fmla="*/ 416 h 1152"/>
              <a:gd name="T38" fmla="*/ 1024 w 1536"/>
              <a:gd name="T39" fmla="*/ 672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36" h="1152">
                <a:moveTo>
                  <a:pt x="1120" y="192"/>
                </a:moveTo>
                <a:cubicBezTo>
                  <a:pt x="964" y="0"/>
                  <a:pt x="964" y="0"/>
                  <a:pt x="964" y="0"/>
                </a:cubicBezTo>
                <a:cubicBezTo>
                  <a:pt x="572" y="0"/>
                  <a:pt x="572" y="0"/>
                  <a:pt x="572" y="0"/>
                </a:cubicBezTo>
                <a:cubicBezTo>
                  <a:pt x="416" y="192"/>
                  <a:pt x="416" y="192"/>
                  <a:pt x="416" y="192"/>
                </a:cubicBezTo>
                <a:cubicBezTo>
                  <a:pt x="0" y="192"/>
                  <a:pt x="0" y="192"/>
                  <a:pt x="0" y="192"/>
                </a:cubicBezTo>
                <a:cubicBezTo>
                  <a:pt x="0" y="896"/>
                  <a:pt x="0" y="896"/>
                  <a:pt x="0" y="896"/>
                </a:cubicBezTo>
                <a:cubicBezTo>
                  <a:pt x="0" y="1037"/>
                  <a:pt x="115" y="1152"/>
                  <a:pt x="256" y="1152"/>
                </a:cubicBezTo>
                <a:cubicBezTo>
                  <a:pt x="1536" y="1152"/>
                  <a:pt x="1536" y="1152"/>
                  <a:pt x="1536" y="1152"/>
                </a:cubicBezTo>
                <a:cubicBezTo>
                  <a:pt x="1536" y="192"/>
                  <a:pt x="1536" y="192"/>
                  <a:pt x="1536" y="192"/>
                </a:cubicBezTo>
                <a:lnTo>
                  <a:pt x="1120" y="192"/>
                </a:lnTo>
                <a:close/>
                <a:moveTo>
                  <a:pt x="768" y="1024"/>
                </a:moveTo>
                <a:cubicBezTo>
                  <a:pt x="574" y="1024"/>
                  <a:pt x="416" y="866"/>
                  <a:pt x="416" y="672"/>
                </a:cubicBezTo>
                <a:cubicBezTo>
                  <a:pt x="416" y="478"/>
                  <a:pt x="574" y="320"/>
                  <a:pt x="768" y="320"/>
                </a:cubicBezTo>
                <a:cubicBezTo>
                  <a:pt x="962" y="320"/>
                  <a:pt x="1120" y="478"/>
                  <a:pt x="1120" y="672"/>
                </a:cubicBezTo>
                <a:cubicBezTo>
                  <a:pt x="1120" y="866"/>
                  <a:pt x="962" y="1024"/>
                  <a:pt x="768" y="1024"/>
                </a:cubicBezTo>
                <a:close/>
                <a:moveTo>
                  <a:pt x="1024" y="672"/>
                </a:moveTo>
                <a:cubicBezTo>
                  <a:pt x="1024" y="813"/>
                  <a:pt x="909" y="928"/>
                  <a:pt x="768" y="928"/>
                </a:cubicBezTo>
                <a:cubicBezTo>
                  <a:pt x="627" y="928"/>
                  <a:pt x="512" y="813"/>
                  <a:pt x="512" y="672"/>
                </a:cubicBezTo>
                <a:cubicBezTo>
                  <a:pt x="512" y="531"/>
                  <a:pt x="627" y="416"/>
                  <a:pt x="768" y="416"/>
                </a:cubicBezTo>
                <a:cubicBezTo>
                  <a:pt x="909" y="416"/>
                  <a:pt x="1024" y="531"/>
                  <a:pt x="1024" y="67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5" name="Freeform 65">
            <a:extLst>
              <a:ext uri="{FF2B5EF4-FFF2-40B4-BE49-F238E27FC236}">
                <a16:creationId xmlns:a16="http://schemas.microsoft.com/office/drawing/2014/main" id="{75A7ED3C-7F96-4E70-875E-34CACCDB018A}"/>
              </a:ext>
            </a:extLst>
          </p:cNvPr>
          <p:cNvSpPr>
            <a:spLocks noEditPoints="1"/>
          </p:cNvSpPr>
          <p:nvPr/>
        </p:nvSpPr>
        <p:spPr bwMode="gray">
          <a:xfrm>
            <a:off x="8639861" y="2106296"/>
            <a:ext cx="489826" cy="341884"/>
          </a:xfrm>
          <a:custGeom>
            <a:avLst/>
            <a:gdLst>
              <a:gd name="T0" fmla="*/ 0 w 1535"/>
              <a:gd name="T1" fmla="*/ 354 h 1072"/>
              <a:gd name="T2" fmla="*/ 1535 w 1535"/>
              <a:gd name="T3" fmla="*/ 354 h 1072"/>
              <a:gd name="T4" fmla="*/ 1419 w 1535"/>
              <a:gd name="T5" fmla="*/ 468 h 1072"/>
              <a:gd name="T6" fmla="*/ 116 w 1535"/>
              <a:gd name="T7" fmla="*/ 468 h 1072"/>
              <a:gd name="T8" fmla="*/ 0 w 1535"/>
              <a:gd name="T9" fmla="*/ 354 h 1072"/>
              <a:gd name="T10" fmla="*/ 859 w 1535"/>
              <a:gd name="T11" fmla="*/ 1022 h 1072"/>
              <a:gd name="T12" fmla="*/ 976 w 1535"/>
              <a:gd name="T13" fmla="*/ 907 h 1072"/>
              <a:gd name="T14" fmla="*/ 559 w 1535"/>
              <a:gd name="T15" fmla="*/ 907 h 1072"/>
              <a:gd name="T16" fmla="*/ 676 w 1535"/>
              <a:gd name="T17" fmla="*/ 1022 h 1072"/>
              <a:gd name="T18" fmla="*/ 859 w 1535"/>
              <a:gd name="T19" fmla="*/ 1022 h 1072"/>
              <a:gd name="T20" fmla="*/ 488 w 1535"/>
              <a:gd name="T21" fmla="*/ 836 h 1072"/>
              <a:gd name="T22" fmla="*/ 1047 w 1535"/>
              <a:gd name="T23" fmla="*/ 836 h 1072"/>
              <a:gd name="T24" fmla="*/ 1165 w 1535"/>
              <a:gd name="T25" fmla="*/ 720 h 1072"/>
              <a:gd name="T26" fmla="*/ 370 w 1535"/>
              <a:gd name="T27" fmla="*/ 720 h 1072"/>
              <a:gd name="T28" fmla="*/ 488 w 1535"/>
              <a:gd name="T29" fmla="*/ 836 h 1072"/>
              <a:gd name="T30" fmla="*/ 301 w 1535"/>
              <a:gd name="T31" fmla="*/ 651 h 1072"/>
              <a:gd name="T32" fmla="*/ 1234 w 1535"/>
              <a:gd name="T33" fmla="*/ 651 h 1072"/>
              <a:gd name="T34" fmla="*/ 1350 w 1535"/>
              <a:gd name="T35" fmla="*/ 536 h 1072"/>
              <a:gd name="T36" fmla="*/ 185 w 1535"/>
              <a:gd name="T37" fmla="*/ 536 h 1072"/>
              <a:gd name="T38" fmla="*/ 301 w 1535"/>
              <a:gd name="T39" fmla="*/ 651 h 1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35" h="1072">
                <a:moveTo>
                  <a:pt x="0" y="354"/>
                </a:moveTo>
                <a:cubicBezTo>
                  <a:pt x="451" y="0"/>
                  <a:pt x="1085" y="0"/>
                  <a:pt x="1535" y="354"/>
                </a:cubicBezTo>
                <a:cubicBezTo>
                  <a:pt x="1419" y="468"/>
                  <a:pt x="1419" y="468"/>
                  <a:pt x="1419" y="468"/>
                </a:cubicBezTo>
                <a:cubicBezTo>
                  <a:pt x="1034" y="175"/>
                  <a:pt x="501" y="175"/>
                  <a:pt x="116" y="468"/>
                </a:cubicBezTo>
                <a:lnTo>
                  <a:pt x="0" y="354"/>
                </a:lnTo>
                <a:close/>
                <a:moveTo>
                  <a:pt x="859" y="1022"/>
                </a:moveTo>
                <a:cubicBezTo>
                  <a:pt x="976" y="907"/>
                  <a:pt x="976" y="907"/>
                  <a:pt x="976" y="907"/>
                </a:cubicBezTo>
                <a:cubicBezTo>
                  <a:pt x="845" y="840"/>
                  <a:pt x="690" y="840"/>
                  <a:pt x="559" y="907"/>
                </a:cubicBezTo>
                <a:cubicBezTo>
                  <a:pt x="676" y="1022"/>
                  <a:pt x="676" y="1022"/>
                  <a:pt x="676" y="1022"/>
                </a:cubicBezTo>
                <a:cubicBezTo>
                  <a:pt x="727" y="1072"/>
                  <a:pt x="808" y="1072"/>
                  <a:pt x="859" y="1022"/>
                </a:cubicBezTo>
                <a:close/>
                <a:moveTo>
                  <a:pt x="488" y="836"/>
                </a:moveTo>
                <a:cubicBezTo>
                  <a:pt x="661" y="735"/>
                  <a:pt x="874" y="735"/>
                  <a:pt x="1047" y="836"/>
                </a:cubicBezTo>
                <a:cubicBezTo>
                  <a:pt x="1165" y="720"/>
                  <a:pt x="1165" y="720"/>
                  <a:pt x="1165" y="720"/>
                </a:cubicBezTo>
                <a:cubicBezTo>
                  <a:pt x="924" y="561"/>
                  <a:pt x="611" y="561"/>
                  <a:pt x="370" y="720"/>
                </a:cubicBezTo>
                <a:lnTo>
                  <a:pt x="488" y="836"/>
                </a:lnTo>
                <a:close/>
                <a:moveTo>
                  <a:pt x="301" y="651"/>
                </a:moveTo>
                <a:cubicBezTo>
                  <a:pt x="581" y="455"/>
                  <a:pt x="954" y="456"/>
                  <a:pt x="1234" y="651"/>
                </a:cubicBezTo>
                <a:cubicBezTo>
                  <a:pt x="1350" y="536"/>
                  <a:pt x="1350" y="536"/>
                  <a:pt x="1350" y="536"/>
                </a:cubicBezTo>
                <a:cubicBezTo>
                  <a:pt x="1004" y="281"/>
                  <a:pt x="531" y="280"/>
                  <a:pt x="185" y="536"/>
                </a:cubicBezTo>
                <a:lnTo>
                  <a:pt x="301" y="651"/>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69">
            <a:extLst>
              <a:ext uri="{FF2B5EF4-FFF2-40B4-BE49-F238E27FC236}">
                <a16:creationId xmlns:a16="http://schemas.microsoft.com/office/drawing/2014/main" id="{CCC7CE8F-43AF-4937-9558-C61610E574BE}"/>
              </a:ext>
            </a:extLst>
          </p:cNvPr>
          <p:cNvSpPr>
            <a:spLocks noEditPoints="1"/>
          </p:cNvSpPr>
          <p:nvPr/>
        </p:nvSpPr>
        <p:spPr bwMode="gray">
          <a:xfrm>
            <a:off x="877364" y="4425597"/>
            <a:ext cx="434975" cy="395287"/>
          </a:xfrm>
          <a:custGeom>
            <a:avLst/>
            <a:gdLst>
              <a:gd name="T0" fmla="*/ 224 w 274"/>
              <a:gd name="T1" fmla="*/ 0 h 249"/>
              <a:gd name="T2" fmla="*/ 274 w 274"/>
              <a:gd name="T3" fmla="*/ 0 h 249"/>
              <a:gd name="T4" fmla="*/ 274 w 274"/>
              <a:gd name="T5" fmla="*/ 249 h 249"/>
              <a:gd name="T6" fmla="*/ 224 w 274"/>
              <a:gd name="T7" fmla="*/ 249 h 249"/>
              <a:gd name="T8" fmla="*/ 224 w 274"/>
              <a:gd name="T9" fmla="*/ 0 h 249"/>
              <a:gd name="T10" fmla="*/ 149 w 274"/>
              <a:gd name="T11" fmla="*/ 249 h 249"/>
              <a:gd name="T12" fmla="*/ 199 w 274"/>
              <a:gd name="T13" fmla="*/ 249 h 249"/>
              <a:gd name="T14" fmla="*/ 199 w 274"/>
              <a:gd name="T15" fmla="*/ 50 h 249"/>
              <a:gd name="T16" fmla="*/ 149 w 274"/>
              <a:gd name="T17" fmla="*/ 50 h 249"/>
              <a:gd name="T18" fmla="*/ 149 w 274"/>
              <a:gd name="T19" fmla="*/ 249 h 249"/>
              <a:gd name="T20" fmla="*/ 75 w 274"/>
              <a:gd name="T21" fmla="*/ 249 h 249"/>
              <a:gd name="T22" fmla="*/ 124 w 274"/>
              <a:gd name="T23" fmla="*/ 249 h 249"/>
              <a:gd name="T24" fmla="*/ 124 w 274"/>
              <a:gd name="T25" fmla="*/ 112 h 249"/>
              <a:gd name="T26" fmla="*/ 75 w 274"/>
              <a:gd name="T27" fmla="*/ 112 h 249"/>
              <a:gd name="T28" fmla="*/ 75 w 274"/>
              <a:gd name="T29" fmla="*/ 249 h 249"/>
              <a:gd name="T30" fmla="*/ 0 w 274"/>
              <a:gd name="T31" fmla="*/ 249 h 249"/>
              <a:gd name="T32" fmla="*/ 50 w 274"/>
              <a:gd name="T33" fmla="*/ 249 h 249"/>
              <a:gd name="T34" fmla="*/ 50 w 274"/>
              <a:gd name="T35" fmla="*/ 162 h 249"/>
              <a:gd name="T36" fmla="*/ 0 w 274"/>
              <a:gd name="T37" fmla="*/ 162 h 249"/>
              <a:gd name="T38" fmla="*/ 0 w 274"/>
              <a:gd name="T39" fmla="*/ 249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4" h="249">
                <a:moveTo>
                  <a:pt x="224" y="0"/>
                </a:moveTo>
                <a:lnTo>
                  <a:pt x="274" y="0"/>
                </a:lnTo>
                <a:lnTo>
                  <a:pt x="274" y="249"/>
                </a:lnTo>
                <a:lnTo>
                  <a:pt x="224" y="249"/>
                </a:lnTo>
                <a:lnTo>
                  <a:pt x="224" y="0"/>
                </a:lnTo>
                <a:close/>
                <a:moveTo>
                  <a:pt x="149" y="249"/>
                </a:moveTo>
                <a:lnTo>
                  <a:pt x="199" y="249"/>
                </a:lnTo>
                <a:lnTo>
                  <a:pt x="199" y="50"/>
                </a:lnTo>
                <a:lnTo>
                  <a:pt x="149" y="50"/>
                </a:lnTo>
                <a:lnTo>
                  <a:pt x="149" y="249"/>
                </a:lnTo>
                <a:close/>
                <a:moveTo>
                  <a:pt x="75" y="249"/>
                </a:moveTo>
                <a:lnTo>
                  <a:pt x="124" y="249"/>
                </a:lnTo>
                <a:lnTo>
                  <a:pt x="124" y="112"/>
                </a:lnTo>
                <a:lnTo>
                  <a:pt x="75" y="112"/>
                </a:lnTo>
                <a:lnTo>
                  <a:pt x="75" y="249"/>
                </a:lnTo>
                <a:close/>
                <a:moveTo>
                  <a:pt x="0" y="249"/>
                </a:moveTo>
                <a:lnTo>
                  <a:pt x="50" y="249"/>
                </a:lnTo>
                <a:lnTo>
                  <a:pt x="50" y="162"/>
                </a:lnTo>
                <a:lnTo>
                  <a:pt x="0" y="162"/>
                </a:lnTo>
                <a:lnTo>
                  <a:pt x="0" y="24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7" name="Freeform 73">
            <a:extLst>
              <a:ext uri="{FF2B5EF4-FFF2-40B4-BE49-F238E27FC236}">
                <a16:creationId xmlns:a16="http://schemas.microsoft.com/office/drawing/2014/main" id="{1DB1E1CF-F3EC-4A44-BAD6-C8317F56D58F}"/>
              </a:ext>
            </a:extLst>
          </p:cNvPr>
          <p:cNvSpPr>
            <a:spLocks noEditPoints="1"/>
          </p:cNvSpPr>
          <p:nvPr/>
        </p:nvSpPr>
        <p:spPr bwMode="gray">
          <a:xfrm>
            <a:off x="3218890" y="4425597"/>
            <a:ext cx="198438" cy="395287"/>
          </a:xfrm>
          <a:custGeom>
            <a:avLst/>
            <a:gdLst>
              <a:gd name="T0" fmla="*/ 47 w 125"/>
              <a:gd name="T1" fmla="*/ 249 h 249"/>
              <a:gd name="T2" fmla="*/ 47 w 125"/>
              <a:gd name="T3" fmla="*/ 150 h 249"/>
              <a:gd name="T4" fmla="*/ 15 w 125"/>
              <a:gd name="T5" fmla="*/ 181 h 249"/>
              <a:gd name="T6" fmla="*/ 0 w 125"/>
              <a:gd name="T7" fmla="*/ 167 h 249"/>
              <a:gd name="T8" fmla="*/ 44 w 125"/>
              <a:gd name="T9" fmla="*/ 124 h 249"/>
              <a:gd name="T10" fmla="*/ 0 w 125"/>
              <a:gd name="T11" fmla="*/ 82 h 249"/>
              <a:gd name="T12" fmla="*/ 15 w 125"/>
              <a:gd name="T13" fmla="*/ 67 h 249"/>
              <a:gd name="T14" fmla="*/ 47 w 125"/>
              <a:gd name="T15" fmla="*/ 98 h 249"/>
              <a:gd name="T16" fmla="*/ 47 w 125"/>
              <a:gd name="T17" fmla="*/ 0 h 249"/>
              <a:gd name="T18" fmla="*/ 125 w 125"/>
              <a:gd name="T19" fmla="*/ 74 h 249"/>
              <a:gd name="T20" fmla="*/ 74 w 125"/>
              <a:gd name="T21" fmla="*/ 124 h 249"/>
              <a:gd name="T22" fmla="*/ 125 w 125"/>
              <a:gd name="T23" fmla="*/ 174 h 249"/>
              <a:gd name="T24" fmla="*/ 47 w 125"/>
              <a:gd name="T25" fmla="*/ 249 h 249"/>
              <a:gd name="T26" fmla="*/ 68 w 125"/>
              <a:gd name="T27" fmla="*/ 150 h 249"/>
              <a:gd name="T28" fmla="*/ 68 w 125"/>
              <a:gd name="T29" fmla="*/ 197 h 249"/>
              <a:gd name="T30" fmla="*/ 95 w 125"/>
              <a:gd name="T31" fmla="*/ 174 h 249"/>
              <a:gd name="T32" fmla="*/ 68 w 125"/>
              <a:gd name="T33" fmla="*/ 150 h 249"/>
              <a:gd name="T34" fmla="*/ 68 w 125"/>
              <a:gd name="T35" fmla="*/ 52 h 249"/>
              <a:gd name="T36" fmla="*/ 68 w 125"/>
              <a:gd name="T37" fmla="*/ 98 h 249"/>
              <a:gd name="T38" fmla="*/ 95 w 125"/>
              <a:gd name="T39" fmla="*/ 74 h 249"/>
              <a:gd name="T40" fmla="*/ 68 w 125"/>
              <a:gd name="T41" fmla="*/ 52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249">
                <a:moveTo>
                  <a:pt x="47" y="249"/>
                </a:moveTo>
                <a:lnTo>
                  <a:pt x="47" y="150"/>
                </a:lnTo>
                <a:lnTo>
                  <a:pt x="15" y="181"/>
                </a:lnTo>
                <a:lnTo>
                  <a:pt x="0" y="167"/>
                </a:lnTo>
                <a:lnTo>
                  <a:pt x="44" y="124"/>
                </a:lnTo>
                <a:lnTo>
                  <a:pt x="0" y="82"/>
                </a:lnTo>
                <a:lnTo>
                  <a:pt x="15" y="67"/>
                </a:lnTo>
                <a:lnTo>
                  <a:pt x="47" y="98"/>
                </a:lnTo>
                <a:lnTo>
                  <a:pt x="47" y="0"/>
                </a:lnTo>
                <a:lnTo>
                  <a:pt x="125" y="74"/>
                </a:lnTo>
                <a:lnTo>
                  <a:pt x="74" y="124"/>
                </a:lnTo>
                <a:lnTo>
                  <a:pt x="125" y="174"/>
                </a:lnTo>
                <a:lnTo>
                  <a:pt x="47" y="249"/>
                </a:lnTo>
                <a:close/>
                <a:moveTo>
                  <a:pt x="68" y="150"/>
                </a:moveTo>
                <a:lnTo>
                  <a:pt x="68" y="197"/>
                </a:lnTo>
                <a:lnTo>
                  <a:pt x="95" y="174"/>
                </a:lnTo>
                <a:lnTo>
                  <a:pt x="68" y="150"/>
                </a:lnTo>
                <a:close/>
                <a:moveTo>
                  <a:pt x="68" y="52"/>
                </a:moveTo>
                <a:lnTo>
                  <a:pt x="68" y="98"/>
                </a:lnTo>
                <a:lnTo>
                  <a:pt x="95" y="74"/>
                </a:lnTo>
                <a:lnTo>
                  <a:pt x="68" y="5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8" name="Freeform 77">
            <a:extLst>
              <a:ext uri="{FF2B5EF4-FFF2-40B4-BE49-F238E27FC236}">
                <a16:creationId xmlns:a16="http://schemas.microsoft.com/office/drawing/2014/main" id="{59A64396-7AB4-4270-B7C0-620315D7AC24}"/>
              </a:ext>
            </a:extLst>
          </p:cNvPr>
          <p:cNvSpPr>
            <a:spLocks noEditPoints="1"/>
          </p:cNvSpPr>
          <p:nvPr/>
        </p:nvSpPr>
        <p:spPr bwMode="gray">
          <a:xfrm>
            <a:off x="4233005" y="4425597"/>
            <a:ext cx="396875" cy="395287"/>
          </a:xfrm>
          <a:custGeom>
            <a:avLst/>
            <a:gdLst>
              <a:gd name="T0" fmla="*/ 206 w 1408"/>
              <a:gd name="T1" fmla="*/ 297 h 1408"/>
              <a:gd name="T2" fmla="*/ 206 w 1408"/>
              <a:gd name="T3" fmla="*/ 206 h 1408"/>
              <a:gd name="T4" fmla="*/ 297 w 1408"/>
              <a:gd name="T5" fmla="*/ 206 h 1408"/>
              <a:gd name="T6" fmla="*/ 436 w 1408"/>
              <a:gd name="T7" fmla="*/ 345 h 1408"/>
              <a:gd name="T8" fmla="*/ 345 w 1408"/>
              <a:gd name="T9" fmla="*/ 436 h 1408"/>
              <a:gd name="T10" fmla="*/ 206 w 1408"/>
              <a:gd name="T11" fmla="*/ 297 h 1408"/>
              <a:gd name="T12" fmla="*/ 704 w 1408"/>
              <a:gd name="T13" fmla="*/ 255 h 1408"/>
              <a:gd name="T14" fmla="*/ 768 w 1408"/>
              <a:gd name="T15" fmla="*/ 260 h 1408"/>
              <a:gd name="T16" fmla="*/ 768 w 1408"/>
              <a:gd name="T17" fmla="*/ 64 h 1408"/>
              <a:gd name="T18" fmla="*/ 704 w 1408"/>
              <a:gd name="T19" fmla="*/ 0 h 1408"/>
              <a:gd name="T20" fmla="*/ 640 w 1408"/>
              <a:gd name="T21" fmla="*/ 64 h 1408"/>
              <a:gd name="T22" fmla="*/ 640 w 1408"/>
              <a:gd name="T23" fmla="*/ 260 h 1408"/>
              <a:gd name="T24" fmla="*/ 704 w 1408"/>
              <a:gd name="T25" fmla="*/ 255 h 1408"/>
              <a:gd name="T26" fmla="*/ 255 w 1408"/>
              <a:gd name="T27" fmla="*/ 704 h 1408"/>
              <a:gd name="T28" fmla="*/ 260 w 1408"/>
              <a:gd name="T29" fmla="*/ 640 h 1408"/>
              <a:gd name="T30" fmla="*/ 64 w 1408"/>
              <a:gd name="T31" fmla="*/ 640 h 1408"/>
              <a:gd name="T32" fmla="*/ 0 w 1408"/>
              <a:gd name="T33" fmla="*/ 704 h 1408"/>
              <a:gd name="T34" fmla="*/ 64 w 1408"/>
              <a:gd name="T35" fmla="*/ 768 h 1408"/>
              <a:gd name="T36" fmla="*/ 260 w 1408"/>
              <a:gd name="T37" fmla="*/ 768 h 1408"/>
              <a:gd name="T38" fmla="*/ 255 w 1408"/>
              <a:gd name="T39" fmla="*/ 704 h 1408"/>
              <a:gd name="T40" fmla="*/ 1063 w 1408"/>
              <a:gd name="T41" fmla="*/ 436 h 1408"/>
              <a:gd name="T42" fmla="*/ 1202 w 1408"/>
              <a:gd name="T43" fmla="*/ 297 h 1408"/>
              <a:gd name="T44" fmla="*/ 1202 w 1408"/>
              <a:gd name="T45" fmla="*/ 206 h 1408"/>
              <a:gd name="T46" fmla="*/ 1202 w 1408"/>
              <a:gd name="T47" fmla="*/ 206 h 1408"/>
              <a:gd name="T48" fmla="*/ 1202 w 1408"/>
              <a:gd name="T49" fmla="*/ 206 h 1408"/>
              <a:gd name="T50" fmla="*/ 1111 w 1408"/>
              <a:gd name="T51" fmla="*/ 206 h 1408"/>
              <a:gd name="T52" fmla="*/ 1111 w 1408"/>
              <a:gd name="T53" fmla="*/ 206 h 1408"/>
              <a:gd name="T54" fmla="*/ 972 w 1408"/>
              <a:gd name="T55" fmla="*/ 345 h 1408"/>
              <a:gd name="T56" fmla="*/ 1063 w 1408"/>
              <a:gd name="T57" fmla="*/ 436 h 1408"/>
              <a:gd name="T58" fmla="*/ 1063 w 1408"/>
              <a:gd name="T59" fmla="*/ 972 h 1408"/>
              <a:gd name="T60" fmla="*/ 972 w 1408"/>
              <a:gd name="T61" fmla="*/ 1063 h 1408"/>
              <a:gd name="T62" fmla="*/ 1111 w 1408"/>
              <a:gd name="T63" fmla="*/ 1202 h 1408"/>
              <a:gd name="T64" fmla="*/ 1202 w 1408"/>
              <a:gd name="T65" fmla="*/ 1202 h 1408"/>
              <a:gd name="T66" fmla="*/ 1202 w 1408"/>
              <a:gd name="T67" fmla="*/ 1111 h 1408"/>
              <a:gd name="T68" fmla="*/ 1063 w 1408"/>
              <a:gd name="T69" fmla="*/ 972 h 1408"/>
              <a:gd name="T70" fmla="*/ 1344 w 1408"/>
              <a:gd name="T71" fmla="*/ 640 h 1408"/>
              <a:gd name="T72" fmla="*/ 1148 w 1408"/>
              <a:gd name="T73" fmla="*/ 640 h 1408"/>
              <a:gd name="T74" fmla="*/ 1148 w 1408"/>
              <a:gd name="T75" fmla="*/ 768 h 1408"/>
              <a:gd name="T76" fmla="*/ 1344 w 1408"/>
              <a:gd name="T77" fmla="*/ 768 h 1408"/>
              <a:gd name="T78" fmla="*/ 1408 w 1408"/>
              <a:gd name="T79" fmla="*/ 704 h 1408"/>
              <a:gd name="T80" fmla="*/ 1344 w 1408"/>
              <a:gd name="T81" fmla="*/ 640 h 1408"/>
              <a:gd name="T82" fmla="*/ 345 w 1408"/>
              <a:gd name="T83" fmla="*/ 972 h 1408"/>
              <a:gd name="T84" fmla="*/ 206 w 1408"/>
              <a:gd name="T85" fmla="*/ 1111 h 1408"/>
              <a:gd name="T86" fmla="*/ 206 w 1408"/>
              <a:gd name="T87" fmla="*/ 1202 h 1408"/>
              <a:gd name="T88" fmla="*/ 206 w 1408"/>
              <a:gd name="T89" fmla="*/ 1202 h 1408"/>
              <a:gd name="T90" fmla="*/ 206 w 1408"/>
              <a:gd name="T91" fmla="*/ 1202 h 1408"/>
              <a:gd name="T92" fmla="*/ 297 w 1408"/>
              <a:gd name="T93" fmla="*/ 1202 h 1408"/>
              <a:gd name="T94" fmla="*/ 297 w 1408"/>
              <a:gd name="T95" fmla="*/ 1202 h 1408"/>
              <a:gd name="T96" fmla="*/ 436 w 1408"/>
              <a:gd name="T97" fmla="*/ 1063 h 1408"/>
              <a:gd name="T98" fmla="*/ 345 w 1408"/>
              <a:gd name="T99" fmla="*/ 972 h 1408"/>
              <a:gd name="T100" fmla="*/ 704 w 1408"/>
              <a:gd name="T101" fmla="*/ 1153 h 1408"/>
              <a:gd name="T102" fmla="*/ 640 w 1408"/>
              <a:gd name="T103" fmla="*/ 1148 h 1408"/>
              <a:gd name="T104" fmla="*/ 640 w 1408"/>
              <a:gd name="T105" fmla="*/ 1344 h 1408"/>
              <a:gd name="T106" fmla="*/ 704 w 1408"/>
              <a:gd name="T107" fmla="*/ 1408 h 1408"/>
              <a:gd name="T108" fmla="*/ 768 w 1408"/>
              <a:gd name="T109" fmla="*/ 1344 h 1408"/>
              <a:gd name="T110" fmla="*/ 768 w 1408"/>
              <a:gd name="T111" fmla="*/ 1148 h 1408"/>
              <a:gd name="T112" fmla="*/ 704 w 1408"/>
              <a:gd name="T113" fmla="*/ 1153 h 1408"/>
              <a:gd name="T114" fmla="*/ 704 w 1408"/>
              <a:gd name="T115" fmla="*/ 319 h 1408"/>
              <a:gd name="T116" fmla="*/ 1089 w 1408"/>
              <a:gd name="T117" fmla="*/ 704 h 1408"/>
              <a:gd name="T118" fmla="*/ 704 w 1408"/>
              <a:gd name="T119" fmla="*/ 1089 h 1408"/>
              <a:gd name="T120" fmla="*/ 319 w 1408"/>
              <a:gd name="T121" fmla="*/ 704 h 1408"/>
              <a:gd name="T122" fmla="*/ 319 w 1408"/>
              <a:gd name="T123" fmla="*/ 704 h 1408"/>
              <a:gd name="T124" fmla="*/ 704 w 1408"/>
              <a:gd name="T125" fmla="*/ 319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08" h="1408">
                <a:moveTo>
                  <a:pt x="206" y="297"/>
                </a:moveTo>
                <a:cubicBezTo>
                  <a:pt x="181" y="272"/>
                  <a:pt x="181" y="231"/>
                  <a:pt x="206" y="206"/>
                </a:cubicBezTo>
                <a:cubicBezTo>
                  <a:pt x="231" y="181"/>
                  <a:pt x="272" y="181"/>
                  <a:pt x="297" y="206"/>
                </a:cubicBezTo>
                <a:cubicBezTo>
                  <a:pt x="436" y="345"/>
                  <a:pt x="436" y="345"/>
                  <a:pt x="436" y="345"/>
                </a:cubicBezTo>
                <a:cubicBezTo>
                  <a:pt x="401" y="371"/>
                  <a:pt x="371" y="401"/>
                  <a:pt x="345" y="436"/>
                </a:cubicBezTo>
                <a:lnTo>
                  <a:pt x="206" y="297"/>
                </a:lnTo>
                <a:close/>
                <a:moveTo>
                  <a:pt x="704" y="255"/>
                </a:moveTo>
                <a:cubicBezTo>
                  <a:pt x="725" y="256"/>
                  <a:pt x="747" y="257"/>
                  <a:pt x="768" y="260"/>
                </a:cubicBezTo>
                <a:cubicBezTo>
                  <a:pt x="768" y="64"/>
                  <a:pt x="768" y="64"/>
                  <a:pt x="768" y="64"/>
                </a:cubicBezTo>
                <a:cubicBezTo>
                  <a:pt x="768" y="29"/>
                  <a:pt x="739" y="0"/>
                  <a:pt x="704" y="0"/>
                </a:cubicBezTo>
                <a:cubicBezTo>
                  <a:pt x="669" y="0"/>
                  <a:pt x="640" y="29"/>
                  <a:pt x="640" y="64"/>
                </a:cubicBezTo>
                <a:cubicBezTo>
                  <a:pt x="640" y="260"/>
                  <a:pt x="640" y="260"/>
                  <a:pt x="640" y="260"/>
                </a:cubicBezTo>
                <a:cubicBezTo>
                  <a:pt x="661" y="257"/>
                  <a:pt x="683" y="256"/>
                  <a:pt x="704" y="255"/>
                </a:cubicBezTo>
                <a:close/>
                <a:moveTo>
                  <a:pt x="255" y="704"/>
                </a:moveTo>
                <a:cubicBezTo>
                  <a:pt x="256" y="683"/>
                  <a:pt x="257" y="661"/>
                  <a:pt x="260" y="640"/>
                </a:cubicBezTo>
                <a:cubicBezTo>
                  <a:pt x="64" y="640"/>
                  <a:pt x="64" y="640"/>
                  <a:pt x="64" y="640"/>
                </a:cubicBezTo>
                <a:cubicBezTo>
                  <a:pt x="29" y="640"/>
                  <a:pt x="0" y="669"/>
                  <a:pt x="0" y="704"/>
                </a:cubicBezTo>
                <a:cubicBezTo>
                  <a:pt x="0" y="739"/>
                  <a:pt x="29" y="768"/>
                  <a:pt x="64" y="768"/>
                </a:cubicBezTo>
                <a:cubicBezTo>
                  <a:pt x="260" y="768"/>
                  <a:pt x="260" y="768"/>
                  <a:pt x="260" y="768"/>
                </a:cubicBezTo>
                <a:cubicBezTo>
                  <a:pt x="257" y="747"/>
                  <a:pt x="256" y="725"/>
                  <a:pt x="255" y="704"/>
                </a:cubicBezTo>
                <a:close/>
                <a:moveTo>
                  <a:pt x="1063" y="436"/>
                </a:moveTo>
                <a:cubicBezTo>
                  <a:pt x="1202" y="297"/>
                  <a:pt x="1202" y="297"/>
                  <a:pt x="1202" y="297"/>
                </a:cubicBezTo>
                <a:cubicBezTo>
                  <a:pt x="1227" y="272"/>
                  <a:pt x="1227" y="231"/>
                  <a:pt x="1202" y="206"/>
                </a:cubicBezTo>
                <a:cubicBezTo>
                  <a:pt x="1202" y="206"/>
                  <a:pt x="1202" y="206"/>
                  <a:pt x="1202" y="206"/>
                </a:cubicBezTo>
                <a:cubicBezTo>
                  <a:pt x="1202" y="206"/>
                  <a:pt x="1202" y="206"/>
                  <a:pt x="1202" y="206"/>
                </a:cubicBezTo>
                <a:cubicBezTo>
                  <a:pt x="1177" y="181"/>
                  <a:pt x="1136" y="181"/>
                  <a:pt x="1111" y="206"/>
                </a:cubicBezTo>
                <a:cubicBezTo>
                  <a:pt x="1111" y="206"/>
                  <a:pt x="1111" y="206"/>
                  <a:pt x="1111" y="206"/>
                </a:cubicBezTo>
                <a:cubicBezTo>
                  <a:pt x="972" y="345"/>
                  <a:pt x="972" y="345"/>
                  <a:pt x="972" y="345"/>
                </a:cubicBezTo>
                <a:cubicBezTo>
                  <a:pt x="1007" y="371"/>
                  <a:pt x="1037" y="401"/>
                  <a:pt x="1063" y="436"/>
                </a:cubicBezTo>
                <a:close/>
                <a:moveTo>
                  <a:pt x="1063" y="972"/>
                </a:moveTo>
                <a:cubicBezTo>
                  <a:pt x="1037" y="1007"/>
                  <a:pt x="1007" y="1037"/>
                  <a:pt x="972" y="1063"/>
                </a:cubicBezTo>
                <a:cubicBezTo>
                  <a:pt x="1111" y="1202"/>
                  <a:pt x="1111" y="1202"/>
                  <a:pt x="1111" y="1202"/>
                </a:cubicBezTo>
                <a:cubicBezTo>
                  <a:pt x="1136" y="1227"/>
                  <a:pt x="1177" y="1227"/>
                  <a:pt x="1202" y="1202"/>
                </a:cubicBezTo>
                <a:cubicBezTo>
                  <a:pt x="1227" y="1177"/>
                  <a:pt x="1227" y="1136"/>
                  <a:pt x="1202" y="1111"/>
                </a:cubicBezTo>
                <a:lnTo>
                  <a:pt x="1063" y="972"/>
                </a:lnTo>
                <a:close/>
                <a:moveTo>
                  <a:pt x="1344" y="640"/>
                </a:moveTo>
                <a:cubicBezTo>
                  <a:pt x="1148" y="640"/>
                  <a:pt x="1148" y="640"/>
                  <a:pt x="1148" y="640"/>
                </a:cubicBezTo>
                <a:cubicBezTo>
                  <a:pt x="1154" y="682"/>
                  <a:pt x="1154" y="726"/>
                  <a:pt x="1148" y="768"/>
                </a:cubicBezTo>
                <a:cubicBezTo>
                  <a:pt x="1344" y="768"/>
                  <a:pt x="1344" y="768"/>
                  <a:pt x="1344" y="768"/>
                </a:cubicBezTo>
                <a:cubicBezTo>
                  <a:pt x="1379" y="768"/>
                  <a:pt x="1408" y="739"/>
                  <a:pt x="1408" y="704"/>
                </a:cubicBezTo>
                <a:cubicBezTo>
                  <a:pt x="1408" y="669"/>
                  <a:pt x="1379" y="640"/>
                  <a:pt x="1344" y="640"/>
                </a:cubicBezTo>
                <a:close/>
                <a:moveTo>
                  <a:pt x="345" y="972"/>
                </a:moveTo>
                <a:cubicBezTo>
                  <a:pt x="206" y="1111"/>
                  <a:pt x="206" y="1111"/>
                  <a:pt x="206" y="1111"/>
                </a:cubicBezTo>
                <a:cubicBezTo>
                  <a:pt x="181" y="1136"/>
                  <a:pt x="181" y="1177"/>
                  <a:pt x="206" y="1202"/>
                </a:cubicBezTo>
                <a:cubicBezTo>
                  <a:pt x="206" y="1202"/>
                  <a:pt x="206" y="1202"/>
                  <a:pt x="206" y="1202"/>
                </a:cubicBezTo>
                <a:cubicBezTo>
                  <a:pt x="206" y="1202"/>
                  <a:pt x="206" y="1202"/>
                  <a:pt x="206" y="1202"/>
                </a:cubicBezTo>
                <a:cubicBezTo>
                  <a:pt x="231" y="1227"/>
                  <a:pt x="272" y="1227"/>
                  <a:pt x="297" y="1202"/>
                </a:cubicBezTo>
                <a:cubicBezTo>
                  <a:pt x="297" y="1202"/>
                  <a:pt x="297" y="1202"/>
                  <a:pt x="297" y="1202"/>
                </a:cubicBezTo>
                <a:cubicBezTo>
                  <a:pt x="436" y="1063"/>
                  <a:pt x="436" y="1063"/>
                  <a:pt x="436" y="1063"/>
                </a:cubicBezTo>
                <a:cubicBezTo>
                  <a:pt x="401" y="1037"/>
                  <a:pt x="371" y="1007"/>
                  <a:pt x="345" y="972"/>
                </a:cubicBezTo>
                <a:close/>
                <a:moveTo>
                  <a:pt x="704" y="1153"/>
                </a:moveTo>
                <a:cubicBezTo>
                  <a:pt x="683" y="1152"/>
                  <a:pt x="661" y="1151"/>
                  <a:pt x="640" y="1148"/>
                </a:cubicBezTo>
                <a:cubicBezTo>
                  <a:pt x="640" y="1344"/>
                  <a:pt x="640" y="1344"/>
                  <a:pt x="640" y="1344"/>
                </a:cubicBezTo>
                <a:cubicBezTo>
                  <a:pt x="640" y="1379"/>
                  <a:pt x="669" y="1408"/>
                  <a:pt x="704" y="1408"/>
                </a:cubicBezTo>
                <a:cubicBezTo>
                  <a:pt x="739" y="1408"/>
                  <a:pt x="768" y="1379"/>
                  <a:pt x="768" y="1344"/>
                </a:cubicBezTo>
                <a:cubicBezTo>
                  <a:pt x="768" y="1148"/>
                  <a:pt x="768" y="1148"/>
                  <a:pt x="768" y="1148"/>
                </a:cubicBezTo>
                <a:cubicBezTo>
                  <a:pt x="747" y="1151"/>
                  <a:pt x="725" y="1152"/>
                  <a:pt x="704" y="1153"/>
                </a:cubicBezTo>
                <a:close/>
                <a:moveTo>
                  <a:pt x="704" y="319"/>
                </a:moveTo>
                <a:cubicBezTo>
                  <a:pt x="916" y="319"/>
                  <a:pt x="1089" y="492"/>
                  <a:pt x="1089" y="704"/>
                </a:cubicBezTo>
                <a:cubicBezTo>
                  <a:pt x="1089" y="916"/>
                  <a:pt x="916" y="1089"/>
                  <a:pt x="704" y="1089"/>
                </a:cubicBezTo>
                <a:cubicBezTo>
                  <a:pt x="492" y="1089"/>
                  <a:pt x="319" y="916"/>
                  <a:pt x="319" y="704"/>
                </a:cubicBezTo>
                <a:cubicBezTo>
                  <a:pt x="319" y="704"/>
                  <a:pt x="319" y="704"/>
                  <a:pt x="319" y="704"/>
                </a:cubicBezTo>
                <a:cubicBezTo>
                  <a:pt x="319" y="492"/>
                  <a:pt x="492" y="319"/>
                  <a:pt x="704" y="31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9" name="Freeform 81">
            <a:extLst>
              <a:ext uri="{FF2B5EF4-FFF2-40B4-BE49-F238E27FC236}">
                <a16:creationId xmlns:a16="http://schemas.microsoft.com/office/drawing/2014/main" id="{6B69268B-3322-49B5-9CF0-421B25213F8A}"/>
              </a:ext>
            </a:extLst>
          </p:cNvPr>
          <p:cNvSpPr>
            <a:spLocks/>
          </p:cNvSpPr>
          <p:nvPr/>
        </p:nvSpPr>
        <p:spPr bwMode="gray">
          <a:xfrm>
            <a:off x="5343956" y="4424803"/>
            <a:ext cx="401638" cy="396875"/>
          </a:xfrm>
          <a:custGeom>
            <a:avLst/>
            <a:gdLst>
              <a:gd name="T0" fmla="*/ 848 w 1341"/>
              <a:gd name="T1" fmla="*/ 1003 h 1323"/>
              <a:gd name="T2" fmla="*/ 288 w 1341"/>
              <a:gd name="T3" fmla="*/ 444 h 1323"/>
              <a:gd name="T4" fmla="*/ 505 w 1341"/>
              <a:gd name="T5" fmla="*/ 0 h 1323"/>
              <a:gd name="T6" fmla="*/ 0 w 1341"/>
              <a:gd name="T7" fmla="*/ 651 h 1323"/>
              <a:gd name="T8" fmla="*/ 672 w 1341"/>
              <a:gd name="T9" fmla="*/ 1323 h 1323"/>
              <a:gd name="T10" fmla="*/ 1341 w 1341"/>
              <a:gd name="T11" fmla="*/ 708 h 1323"/>
              <a:gd name="T12" fmla="*/ 848 w 1341"/>
              <a:gd name="T13" fmla="*/ 1003 h 1323"/>
            </a:gdLst>
            <a:ahLst/>
            <a:cxnLst>
              <a:cxn ang="0">
                <a:pos x="T0" y="T1"/>
              </a:cxn>
              <a:cxn ang="0">
                <a:pos x="T2" y="T3"/>
              </a:cxn>
              <a:cxn ang="0">
                <a:pos x="T4" y="T5"/>
              </a:cxn>
              <a:cxn ang="0">
                <a:pos x="T6" y="T7"/>
              </a:cxn>
              <a:cxn ang="0">
                <a:pos x="T8" y="T9"/>
              </a:cxn>
              <a:cxn ang="0">
                <a:pos x="T10" y="T11"/>
              </a:cxn>
              <a:cxn ang="0">
                <a:pos x="T12" y="T13"/>
              </a:cxn>
            </a:cxnLst>
            <a:rect l="0" t="0" r="r" b="b"/>
            <a:pathLst>
              <a:path w="1341" h="1323">
                <a:moveTo>
                  <a:pt x="848" y="1003"/>
                </a:moveTo>
                <a:cubicBezTo>
                  <a:pt x="539" y="1003"/>
                  <a:pt x="288" y="753"/>
                  <a:pt x="288" y="444"/>
                </a:cubicBezTo>
                <a:cubicBezTo>
                  <a:pt x="287" y="270"/>
                  <a:pt x="368" y="107"/>
                  <a:pt x="505" y="0"/>
                </a:cubicBezTo>
                <a:cubicBezTo>
                  <a:pt x="215" y="75"/>
                  <a:pt x="0" y="337"/>
                  <a:pt x="0" y="651"/>
                </a:cubicBezTo>
                <a:cubicBezTo>
                  <a:pt x="0" y="1022"/>
                  <a:pt x="300" y="1323"/>
                  <a:pt x="672" y="1323"/>
                </a:cubicBezTo>
                <a:cubicBezTo>
                  <a:pt x="1023" y="1323"/>
                  <a:pt x="1312" y="1052"/>
                  <a:pt x="1341" y="708"/>
                </a:cubicBezTo>
                <a:cubicBezTo>
                  <a:pt x="1243" y="890"/>
                  <a:pt x="1054" y="1003"/>
                  <a:pt x="848" y="100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0" name="Freeform 85">
            <a:extLst>
              <a:ext uri="{FF2B5EF4-FFF2-40B4-BE49-F238E27FC236}">
                <a16:creationId xmlns:a16="http://schemas.microsoft.com/office/drawing/2014/main" id="{FD5E8BD5-1F9C-47CF-9075-815665F87533}"/>
              </a:ext>
            </a:extLst>
          </p:cNvPr>
          <p:cNvSpPr>
            <a:spLocks noEditPoints="1"/>
          </p:cNvSpPr>
          <p:nvPr/>
        </p:nvSpPr>
        <p:spPr bwMode="gray">
          <a:xfrm>
            <a:off x="1989670" y="4425596"/>
            <a:ext cx="430213" cy="395288"/>
          </a:xfrm>
          <a:custGeom>
            <a:avLst/>
            <a:gdLst>
              <a:gd name="T0" fmla="*/ 1424 w 1486"/>
              <a:gd name="T1" fmla="*/ 307 h 1370"/>
              <a:gd name="T2" fmla="*/ 1416 w 1486"/>
              <a:gd name="T3" fmla="*/ 115 h 1370"/>
              <a:gd name="T4" fmla="*/ 1246 w 1486"/>
              <a:gd name="T5" fmla="*/ 89 h 1370"/>
              <a:gd name="T6" fmla="*/ 1076 w 1486"/>
              <a:gd name="T7" fmla="*/ 0 h 1370"/>
              <a:gd name="T8" fmla="*/ 968 w 1486"/>
              <a:gd name="T9" fmla="*/ 134 h 1370"/>
              <a:gd name="T10" fmla="*/ 806 w 1486"/>
              <a:gd name="T11" fmla="*/ 237 h 1370"/>
              <a:gd name="T12" fmla="*/ 868 w 1486"/>
              <a:gd name="T13" fmla="*/ 397 h 1370"/>
              <a:gd name="T14" fmla="*/ 876 w 1486"/>
              <a:gd name="T15" fmla="*/ 589 h 1370"/>
              <a:gd name="T16" fmla="*/ 1046 w 1486"/>
              <a:gd name="T17" fmla="*/ 615 h 1370"/>
              <a:gd name="T18" fmla="*/ 1216 w 1486"/>
              <a:gd name="T19" fmla="*/ 704 h 1370"/>
              <a:gd name="T20" fmla="*/ 1324 w 1486"/>
              <a:gd name="T21" fmla="*/ 570 h 1370"/>
              <a:gd name="T22" fmla="*/ 1486 w 1486"/>
              <a:gd name="T23" fmla="*/ 467 h 1370"/>
              <a:gd name="T24" fmla="*/ 1428 w 1486"/>
              <a:gd name="T25" fmla="*/ 352 h 1370"/>
              <a:gd name="T26" fmla="*/ 986 w 1486"/>
              <a:gd name="T27" fmla="*/ 352 h 1370"/>
              <a:gd name="T28" fmla="*/ 1306 w 1486"/>
              <a:gd name="T29" fmla="*/ 352 h 1370"/>
              <a:gd name="T30" fmla="*/ 887 w 1486"/>
              <a:gd name="T31" fmla="*/ 638 h 1370"/>
              <a:gd name="T32" fmla="*/ 710 w 1486"/>
              <a:gd name="T33" fmla="*/ 593 h 1370"/>
              <a:gd name="T34" fmla="*/ 584 w 1486"/>
              <a:gd name="T35" fmla="*/ 422 h 1370"/>
              <a:gd name="T36" fmla="*/ 474 w 1486"/>
              <a:gd name="T37" fmla="*/ 512 h 1370"/>
              <a:gd name="T38" fmla="*/ 364 w 1486"/>
              <a:gd name="T39" fmla="*/ 422 h 1370"/>
              <a:gd name="T40" fmla="*/ 238 w 1486"/>
              <a:gd name="T41" fmla="*/ 594 h 1370"/>
              <a:gd name="T42" fmla="*/ 61 w 1486"/>
              <a:gd name="T43" fmla="*/ 638 h 1370"/>
              <a:gd name="T44" fmla="*/ 93 w 1486"/>
              <a:gd name="T45" fmla="*/ 849 h 1370"/>
              <a:gd name="T46" fmla="*/ 0 w 1486"/>
              <a:gd name="T47" fmla="*/ 1006 h 1370"/>
              <a:gd name="T48" fmla="*/ 171 w 1486"/>
              <a:gd name="T49" fmla="*/ 1132 h 1370"/>
              <a:gd name="T50" fmla="*/ 216 w 1486"/>
              <a:gd name="T51" fmla="*/ 1309 h 1370"/>
              <a:gd name="T52" fmla="*/ 427 w 1486"/>
              <a:gd name="T53" fmla="*/ 1277 h 1370"/>
              <a:gd name="T54" fmla="*/ 521 w 1486"/>
              <a:gd name="T55" fmla="*/ 1276 h 1370"/>
              <a:gd name="T56" fmla="*/ 732 w 1486"/>
              <a:gd name="T57" fmla="*/ 1309 h 1370"/>
              <a:gd name="T58" fmla="*/ 776 w 1486"/>
              <a:gd name="T59" fmla="*/ 1132 h 1370"/>
              <a:gd name="T60" fmla="*/ 948 w 1486"/>
              <a:gd name="T61" fmla="*/ 1005 h 1370"/>
              <a:gd name="T62" fmla="*/ 855 w 1486"/>
              <a:gd name="T63" fmla="*/ 848 h 1370"/>
              <a:gd name="T64" fmla="*/ 887 w 1486"/>
              <a:gd name="T65" fmla="*/ 638 h 1370"/>
              <a:gd name="T66" fmla="*/ 267 w 1486"/>
              <a:gd name="T67" fmla="*/ 811 h 1370"/>
              <a:gd name="T68" fmla="*/ 681 w 1486"/>
              <a:gd name="T69" fmla="*/ 982 h 1370"/>
              <a:gd name="T70" fmla="*/ 388 w 1486"/>
              <a:gd name="T71" fmla="*/ 1103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86" h="1370">
                <a:moveTo>
                  <a:pt x="1428" y="352"/>
                </a:moveTo>
                <a:cubicBezTo>
                  <a:pt x="1427" y="337"/>
                  <a:pt x="1426" y="322"/>
                  <a:pt x="1424" y="307"/>
                </a:cubicBezTo>
                <a:cubicBezTo>
                  <a:pt x="1486" y="237"/>
                  <a:pt x="1486" y="237"/>
                  <a:pt x="1486" y="237"/>
                </a:cubicBezTo>
                <a:cubicBezTo>
                  <a:pt x="1416" y="115"/>
                  <a:pt x="1416" y="115"/>
                  <a:pt x="1416" y="115"/>
                </a:cubicBezTo>
                <a:cubicBezTo>
                  <a:pt x="1324" y="134"/>
                  <a:pt x="1324" y="134"/>
                  <a:pt x="1324" y="134"/>
                </a:cubicBezTo>
                <a:cubicBezTo>
                  <a:pt x="1300" y="115"/>
                  <a:pt x="1274" y="100"/>
                  <a:pt x="1246" y="89"/>
                </a:cubicBezTo>
                <a:cubicBezTo>
                  <a:pt x="1216" y="0"/>
                  <a:pt x="1216" y="0"/>
                  <a:pt x="1216" y="0"/>
                </a:cubicBezTo>
                <a:cubicBezTo>
                  <a:pt x="1076" y="0"/>
                  <a:pt x="1076" y="0"/>
                  <a:pt x="1076" y="0"/>
                </a:cubicBezTo>
                <a:cubicBezTo>
                  <a:pt x="1046" y="89"/>
                  <a:pt x="1046" y="89"/>
                  <a:pt x="1046" y="89"/>
                </a:cubicBezTo>
                <a:cubicBezTo>
                  <a:pt x="1018" y="100"/>
                  <a:pt x="992" y="115"/>
                  <a:pt x="968" y="134"/>
                </a:cubicBezTo>
                <a:cubicBezTo>
                  <a:pt x="876" y="115"/>
                  <a:pt x="876" y="115"/>
                  <a:pt x="876" y="115"/>
                </a:cubicBezTo>
                <a:cubicBezTo>
                  <a:pt x="806" y="237"/>
                  <a:pt x="806" y="237"/>
                  <a:pt x="806" y="237"/>
                </a:cubicBezTo>
                <a:cubicBezTo>
                  <a:pt x="868" y="307"/>
                  <a:pt x="868" y="307"/>
                  <a:pt x="868" y="307"/>
                </a:cubicBezTo>
                <a:cubicBezTo>
                  <a:pt x="863" y="337"/>
                  <a:pt x="863" y="367"/>
                  <a:pt x="868" y="397"/>
                </a:cubicBezTo>
                <a:cubicBezTo>
                  <a:pt x="806" y="467"/>
                  <a:pt x="806" y="467"/>
                  <a:pt x="806" y="467"/>
                </a:cubicBezTo>
                <a:cubicBezTo>
                  <a:pt x="876" y="589"/>
                  <a:pt x="876" y="589"/>
                  <a:pt x="876" y="589"/>
                </a:cubicBezTo>
                <a:cubicBezTo>
                  <a:pt x="968" y="570"/>
                  <a:pt x="968" y="570"/>
                  <a:pt x="968" y="570"/>
                </a:cubicBezTo>
                <a:cubicBezTo>
                  <a:pt x="992" y="589"/>
                  <a:pt x="1018" y="604"/>
                  <a:pt x="1046" y="615"/>
                </a:cubicBezTo>
                <a:cubicBezTo>
                  <a:pt x="1076" y="704"/>
                  <a:pt x="1076" y="704"/>
                  <a:pt x="1076" y="704"/>
                </a:cubicBezTo>
                <a:cubicBezTo>
                  <a:pt x="1216" y="704"/>
                  <a:pt x="1216" y="704"/>
                  <a:pt x="1216" y="704"/>
                </a:cubicBezTo>
                <a:cubicBezTo>
                  <a:pt x="1246" y="615"/>
                  <a:pt x="1246" y="615"/>
                  <a:pt x="1246" y="615"/>
                </a:cubicBezTo>
                <a:cubicBezTo>
                  <a:pt x="1274" y="604"/>
                  <a:pt x="1300" y="589"/>
                  <a:pt x="1324" y="570"/>
                </a:cubicBezTo>
                <a:cubicBezTo>
                  <a:pt x="1416" y="589"/>
                  <a:pt x="1416" y="589"/>
                  <a:pt x="1416" y="589"/>
                </a:cubicBezTo>
                <a:cubicBezTo>
                  <a:pt x="1486" y="467"/>
                  <a:pt x="1486" y="467"/>
                  <a:pt x="1486" y="467"/>
                </a:cubicBezTo>
                <a:cubicBezTo>
                  <a:pt x="1424" y="397"/>
                  <a:pt x="1424" y="397"/>
                  <a:pt x="1424" y="397"/>
                </a:cubicBezTo>
                <a:cubicBezTo>
                  <a:pt x="1426" y="382"/>
                  <a:pt x="1427" y="367"/>
                  <a:pt x="1428" y="352"/>
                </a:cubicBezTo>
                <a:close/>
                <a:moveTo>
                  <a:pt x="1146" y="512"/>
                </a:moveTo>
                <a:cubicBezTo>
                  <a:pt x="1058" y="512"/>
                  <a:pt x="986" y="440"/>
                  <a:pt x="986" y="352"/>
                </a:cubicBezTo>
                <a:cubicBezTo>
                  <a:pt x="986" y="264"/>
                  <a:pt x="1058" y="192"/>
                  <a:pt x="1146" y="192"/>
                </a:cubicBezTo>
                <a:cubicBezTo>
                  <a:pt x="1234" y="192"/>
                  <a:pt x="1306" y="264"/>
                  <a:pt x="1306" y="352"/>
                </a:cubicBezTo>
                <a:cubicBezTo>
                  <a:pt x="1306" y="440"/>
                  <a:pt x="1234" y="512"/>
                  <a:pt x="1146" y="512"/>
                </a:cubicBezTo>
                <a:close/>
                <a:moveTo>
                  <a:pt x="887" y="638"/>
                </a:moveTo>
                <a:cubicBezTo>
                  <a:pt x="777" y="660"/>
                  <a:pt x="777" y="660"/>
                  <a:pt x="777" y="660"/>
                </a:cubicBezTo>
                <a:cubicBezTo>
                  <a:pt x="757" y="635"/>
                  <a:pt x="735" y="613"/>
                  <a:pt x="710" y="593"/>
                </a:cubicBezTo>
                <a:cubicBezTo>
                  <a:pt x="732" y="483"/>
                  <a:pt x="732" y="483"/>
                  <a:pt x="732" y="483"/>
                </a:cubicBezTo>
                <a:cubicBezTo>
                  <a:pt x="584" y="422"/>
                  <a:pt x="584" y="422"/>
                  <a:pt x="584" y="422"/>
                </a:cubicBezTo>
                <a:cubicBezTo>
                  <a:pt x="521" y="515"/>
                  <a:pt x="521" y="515"/>
                  <a:pt x="521" y="515"/>
                </a:cubicBezTo>
                <a:cubicBezTo>
                  <a:pt x="506" y="513"/>
                  <a:pt x="490" y="512"/>
                  <a:pt x="474" y="512"/>
                </a:cubicBezTo>
                <a:cubicBezTo>
                  <a:pt x="458" y="512"/>
                  <a:pt x="442" y="513"/>
                  <a:pt x="427" y="516"/>
                </a:cubicBezTo>
                <a:cubicBezTo>
                  <a:pt x="364" y="422"/>
                  <a:pt x="364" y="422"/>
                  <a:pt x="364" y="422"/>
                </a:cubicBezTo>
                <a:cubicBezTo>
                  <a:pt x="216" y="483"/>
                  <a:pt x="216" y="483"/>
                  <a:pt x="216" y="483"/>
                </a:cubicBezTo>
                <a:cubicBezTo>
                  <a:pt x="238" y="594"/>
                  <a:pt x="238" y="594"/>
                  <a:pt x="238" y="594"/>
                </a:cubicBezTo>
                <a:cubicBezTo>
                  <a:pt x="213" y="613"/>
                  <a:pt x="191" y="636"/>
                  <a:pt x="171" y="660"/>
                </a:cubicBezTo>
                <a:cubicBezTo>
                  <a:pt x="61" y="638"/>
                  <a:pt x="61" y="638"/>
                  <a:pt x="61" y="638"/>
                </a:cubicBezTo>
                <a:cubicBezTo>
                  <a:pt x="0" y="786"/>
                  <a:pt x="0" y="786"/>
                  <a:pt x="0" y="786"/>
                </a:cubicBezTo>
                <a:cubicBezTo>
                  <a:pt x="93" y="849"/>
                  <a:pt x="93" y="849"/>
                  <a:pt x="93" y="849"/>
                </a:cubicBezTo>
                <a:cubicBezTo>
                  <a:pt x="89" y="880"/>
                  <a:pt x="89" y="912"/>
                  <a:pt x="93" y="944"/>
                </a:cubicBezTo>
                <a:cubicBezTo>
                  <a:pt x="0" y="1006"/>
                  <a:pt x="0" y="1006"/>
                  <a:pt x="0" y="1006"/>
                </a:cubicBezTo>
                <a:cubicBezTo>
                  <a:pt x="61" y="1154"/>
                  <a:pt x="61" y="1154"/>
                  <a:pt x="61" y="1154"/>
                </a:cubicBezTo>
                <a:cubicBezTo>
                  <a:pt x="171" y="1132"/>
                  <a:pt x="171" y="1132"/>
                  <a:pt x="171" y="1132"/>
                </a:cubicBezTo>
                <a:cubicBezTo>
                  <a:pt x="191" y="1157"/>
                  <a:pt x="213" y="1179"/>
                  <a:pt x="238" y="1199"/>
                </a:cubicBezTo>
                <a:cubicBezTo>
                  <a:pt x="216" y="1309"/>
                  <a:pt x="216" y="1309"/>
                  <a:pt x="216" y="1309"/>
                </a:cubicBezTo>
                <a:cubicBezTo>
                  <a:pt x="364" y="1370"/>
                  <a:pt x="364" y="1370"/>
                  <a:pt x="364" y="1370"/>
                </a:cubicBezTo>
                <a:cubicBezTo>
                  <a:pt x="427" y="1277"/>
                  <a:pt x="427" y="1277"/>
                  <a:pt x="427" y="1277"/>
                </a:cubicBezTo>
                <a:cubicBezTo>
                  <a:pt x="443" y="1279"/>
                  <a:pt x="458" y="1280"/>
                  <a:pt x="474" y="1280"/>
                </a:cubicBezTo>
                <a:cubicBezTo>
                  <a:pt x="490" y="1280"/>
                  <a:pt x="506" y="1279"/>
                  <a:pt x="521" y="1276"/>
                </a:cubicBezTo>
                <a:cubicBezTo>
                  <a:pt x="584" y="1370"/>
                  <a:pt x="584" y="1370"/>
                  <a:pt x="584" y="1370"/>
                </a:cubicBezTo>
                <a:cubicBezTo>
                  <a:pt x="732" y="1309"/>
                  <a:pt x="732" y="1309"/>
                  <a:pt x="732" y="1309"/>
                </a:cubicBezTo>
                <a:cubicBezTo>
                  <a:pt x="710" y="1198"/>
                  <a:pt x="710" y="1198"/>
                  <a:pt x="710" y="1198"/>
                </a:cubicBezTo>
                <a:cubicBezTo>
                  <a:pt x="735" y="1179"/>
                  <a:pt x="757" y="1156"/>
                  <a:pt x="776" y="1132"/>
                </a:cubicBezTo>
                <a:cubicBezTo>
                  <a:pt x="887" y="1153"/>
                  <a:pt x="887" y="1153"/>
                  <a:pt x="887" y="1153"/>
                </a:cubicBezTo>
                <a:cubicBezTo>
                  <a:pt x="948" y="1005"/>
                  <a:pt x="948" y="1005"/>
                  <a:pt x="948" y="1005"/>
                </a:cubicBezTo>
                <a:cubicBezTo>
                  <a:pt x="855" y="943"/>
                  <a:pt x="855" y="943"/>
                  <a:pt x="855" y="943"/>
                </a:cubicBezTo>
                <a:cubicBezTo>
                  <a:pt x="859" y="912"/>
                  <a:pt x="859" y="880"/>
                  <a:pt x="855" y="848"/>
                </a:cubicBezTo>
                <a:cubicBezTo>
                  <a:pt x="948" y="786"/>
                  <a:pt x="948" y="786"/>
                  <a:pt x="948" y="786"/>
                </a:cubicBezTo>
                <a:lnTo>
                  <a:pt x="887" y="638"/>
                </a:lnTo>
                <a:close/>
                <a:moveTo>
                  <a:pt x="388" y="1103"/>
                </a:moveTo>
                <a:cubicBezTo>
                  <a:pt x="274" y="1056"/>
                  <a:pt x="220" y="925"/>
                  <a:pt x="267" y="811"/>
                </a:cubicBezTo>
                <a:cubicBezTo>
                  <a:pt x="315" y="697"/>
                  <a:pt x="445" y="642"/>
                  <a:pt x="560" y="690"/>
                </a:cubicBezTo>
                <a:cubicBezTo>
                  <a:pt x="674" y="737"/>
                  <a:pt x="728" y="868"/>
                  <a:pt x="681" y="982"/>
                </a:cubicBezTo>
                <a:cubicBezTo>
                  <a:pt x="646" y="1065"/>
                  <a:pt x="564" y="1120"/>
                  <a:pt x="474" y="1120"/>
                </a:cubicBezTo>
                <a:cubicBezTo>
                  <a:pt x="445" y="1120"/>
                  <a:pt x="415" y="1114"/>
                  <a:pt x="388" y="110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1" name="Freeform 89">
            <a:extLst>
              <a:ext uri="{FF2B5EF4-FFF2-40B4-BE49-F238E27FC236}">
                <a16:creationId xmlns:a16="http://schemas.microsoft.com/office/drawing/2014/main" id="{67312BAD-3960-452B-B919-C21C37EDDD2A}"/>
              </a:ext>
            </a:extLst>
          </p:cNvPr>
          <p:cNvSpPr>
            <a:spLocks/>
          </p:cNvSpPr>
          <p:nvPr/>
        </p:nvSpPr>
        <p:spPr bwMode="gray">
          <a:xfrm>
            <a:off x="9799670" y="2079594"/>
            <a:ext cx="396875" cy="395288"/>
          </a:xfrm>
          <a:custGeom>
            <a:avLst/>
            <a:gdLst>
              <a:gd name="T0" fmla="*/ 125 w 250"/>
              <a:gd name="T1" fmla="*/ 0 h 249"/>
              <a:gd name="T2" fmla="*/ 154 w 250"/>
              <a:gd name="T3" fmla="*/ 96 h 249"/>
              <a:gd name="T4" fmla="*/ 250 w 250"/>
              <a:gd name="T5" fmla="*/ 96 h 249"/>
              <a:gd name="T6" fmla="*/ 172 w 250"/>
              <a:gd name="T7" fmla="*/ 154 h 249"/>
              <a:gd name="T8" fmla="*/ 204 w 250"/>
              <a:gd name="T9" fmla="*/ 249 h 249"/>
              <a:gd name="T10" fmla="*/ 125 w 250"/>
              <a:gd name="T11" fmla="*/ 190 h 249"/>
              <a:gd name="T12" fmla="*/ 45 w 250"/>
              <a:gd name="T13" fmla="*/ 249 h 249"/>
              <a:gd name="T14" fmla="*/ 78 w 250"/>
              <a:gd name="T15" fmla="*/ 154 h 249"/>
              <a:gd name="T16" fmla="*/ 0 w 250"/>
              <a:gd name="T17" fmla="*/ 96 h 249"/>
              <a:gd name="T18" fmla="*/ 96 w 250"/>
              <a:gd name="T19" fmla="*/ 96 h 249"/>
              <a:gd name="T20" fmla="*/ 125 w 250"/>
              <a:gd name="T21"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249">
                <a:moveTo>
                  <a:pt x="125" y="0"/>
                </a:moveTo>
                <a:lnTo>
                  <a:pt x="154" y="96"/>
                </a:lnTo>
                <a:lnTo>
                  <a:pt x="250" y="96"/>
                </a:lnTo>
                <a:lnTo>
                  <a:pt x="172" y="154"/>
                </a:lnTo>
                <a:lnTo>
                  <a:pt x="204" y="249"/>
                </a:lnTo>
                <a:lnTo>
                  <a:pt x="125" y="190"/>
                </a:lnTo>
                <a:lnTo>
                  <a:pt x="45" y="249"/>
                </a:lnTo>
                <a:lnTo>
                  <a:pt x="78" y="154"/>
                </a:lnTo>
                <a:lnTo>
                  <a:pt x="0" y="96"/>
                </a:lnTo>
                <a:lnTo>
                  <a:pt x="96" y="96"/>
                </a:lnTo>
                <a:lnTo>
                  <a:pt x="125"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2" name="Freeform 93">
            <a:extLst>
              <a:ext uri="{FF2B5EF4-FFF2-40B4-BE49-F238E27FC236}">
                <a16:creationId xmlns:a16="http://schemas.microsoft.com/office/drawing/2014/main" id="{F2279414-F463-4C9F-A2BA-48BC8349D771}"/>
              </a:ext>
            </a:extLst>
          </p:cNvPr>
          <p:cNvSpPr>
            <a:spLocks/>
          </p:cNvSpPr>
          <p:nvPr/>
        </p:nvSpPr>
        <p:spPr bwMode="gray">
          <a:xfrm>
            <a:off x="10908240" y="2078801"/>
            <a:ext cx="406400" cy="396875"/>
          </a:xfrm>
          <a:custGeom>
            <a:avLst/>
            <a:gdLst>
              <a:gd name="T0" fmla="*/ 801 w 1377"/>
              <a:gd name="T1" fmla="*/ 608 h 1344"/>
              <a:gd name="T2" fmla="*/ 1005 w 1377"/>
              <a:gd name="T3" fmla="*/ 404 h 1344"/>
              <a:gd name="T4" fmla="*/ 404 w 1377"/>
              <a:gd name="T5" fmla="*/ 340 h 1344"/>
              <a:gd name="T6" fmla="*/ 340 w 1377"/>
              <a:gd name="T7" fmla="*/ 941 h 1344"/>
              <a:gd name="T8" fmla="*/ 673 w 1377"/>
              <a:gd name="T9" fmla="*/ 1100 h 1344"/>
              <a:gd name="T10" fmla="*/ 1095 w 1377"/>
              <a:gd name="T11" fmla="*/ 736 h 1344"/>
              <a:gd name="T12" fmla="*/ 1342 w 1377"/>
              <a:gd name="T13" fmla="*/ 736 h 1344"/>
              <a:gd name="T14" fmla="*/ 673 w 1377"/>
              <a:gd name="T15" fmla="*/ 1344 h 1344"/>
              <a:gd name="T16" fmla="*/ 0 w 1377"/>
              <a:gd name="T17" fmla="*/ 673 h 1344"/>
              <a:gd name="T18" fmla="*/ 671 w 1377"/>
              <a:gd name="T19" fmla="*/ 0 h 1344"/>
              <a:gd name="T20" fmla="*/ 1179 w 1377"/>
              <a:gd name="T21" fmla="*/ 230 h 1344"/>
              <a:gd name="T22" fmla="*/ 1377 w 1377"/>
              <a:gd name="T23" fmla="*/ 32 h 1344"/>
              <a:gd name="T24" fmla="*/ 1377 w 1377"/>
              <a:gd name="T25" fmla="*/ 608 h 1344"/>
              <a:gd name="T26" fmla="*/ 801 w 1377"/>
              <a:gd name="T27" fmla="*/ 608 h 1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7" h="1344">
                <a:moveTo>
                  <a:pt x="801" y="608"/>
                </a:moveTo>
                <a:cubicBezTo>
                  <a:pt x="1005" y="404"/>
                  <a:pt x="1005" y="404"/>
                  <a:pt x="1005" y="404"/>
                </a:cubicBezTo>
                <a:cubicBezTo>
                  <a:pt x="857" y="220"/>
                  <a:pt x="588" y="192"/>
                  <a:pt x="404" y="340"/>
                </a:cubicBezTo>
                <a:cubicBezTo>
                  <a:pt x="221" y="488"/>
                  <a:pt x="192" y="757"/>
                  <a:pt x="340" y="941"/>
                </a:cubicBezTo>
                <a:cubicBezTo>
                  <a:pt x="422" y="1041"/>
                  <a:pt x="544" y="1100"/>
                  <a:pt x="673" y="1100"/>
                </a:cubicBezTo>
                <a:cubicBezTo>
                  <a:pt x="887" y="1100"/>
                  <a:pt x="1064" y="942"/>
                  <a:pt x="1095" y="736"/>
                </a:cubicBezTo>
                <a:cubicBezTo>
                  <a:pt x="1342" y="736"/>
                  <a:pt x="1342" y="736"/>
                  <a:pt x="1342" y="736"/>
                </a:cubicBezTo>
                <a:cubicBezTo>
                  <a:pt x="1310" y="1077"/>
                  <a:pt x="1023" y="1344"/>
                  <a:pt x="673" y="1344"/>
                </a:cubicBezTo>
                <a:cubicBezTo>
                  <a:pt x="302" y="1344"/>
                  <a:pt x="1" y="1044"/>
                  <a:pt x="0" y="673"/>
                </a:cubicBezTo>
                <a:cubicBezTo>
                  <a:pt x="0" y="302"/>
                  <a:pt x="300" y="0"/>
                  <a:pt x="671" y="0"/>
                </a:cubicBezTo>
                <a:cubicBezTo>
                  <a:pt x="866" y="0"/>
                  <a:pt x="1051" y="84"/>
                  <a:pt x="1179" y="230"/>
                </a:cubicBezTo>
                <a:cubicBezTo>
                  <a:pt x="1377" y="32"/>
                  <a:pt x="1377" y="32"/>
                  <a:pt x="1377" y="32"/>
                </a:cubicBezTo>
                <a:cubicBezTo>
                  <a:pt x="1377" y="608"/>
                  <a:pt x="1377" y="608"/>
                  <a:pt x="1377" y="608"/>
                </a:cubicBezTo>
                <a:lnTo>
                  <a:pt x="801" y="60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3" name="Freeform 97">
            <a:extLst>
              <a:ext uri="{FF2B5EF4-FFF2-40B4-BE49-F238E27FC236}">
                <a16:creationId xmlns:a16="http://schemas.microsoft.com/office/drawing/2014/main" id="{F38DB9D3-5D33-49F4-99E8-85D906824A9A}"/>
              </a:ext>
            </a:extLst>
          </p:cNvPr>
          <p:cNvSpPr>
            <a:spLocks noEditPoints="1"/>
          </p:cNvSpPr>
          <p:nvPr/>
        </p:nvSpPr>
        <p:spPr bwMode="gray">
          <a:xfrm>
            <a:off x="4239355" y="3251802"/>
            <a:ext cx="384175" cy="396875"/>
          </a:xfrm>
          <a:custGeom>
            <a:avLst/>
            <a:gdLst>
              <a:gd name="T0" fmla="*/ 242 w 242"/>
              <a:gd name="T1" fmla="*/ 136 h 250"/>
              <a:gd name="T2" fmla="*/ 174 w 242"/>
              <a:gd name="T3" fmla="*/ 204 h 250"/>
              <a:gd name="T4" fmla="*/ 106 w 242"/>
              <a:gd name="T5" fmla="*/ 136 h 250"/>
              <a:gd name="T6" fmla="*/ 153 w 242"/>
              <a:gd name="T7" fmla="*/ 136 h 250"/>
              <a:gd name="T8" fmla="*/ 153 w 242"/>
              <a:gd name="T9" fmla="*/ 73 h 250"/>
              <a:gd name="T10" fmla="*/ 195 w 242"/>
              <a:gd name="T11" fmla="*/ 73 h 250"/>
              <a:gd name="T12" fmla="*/ 195 w 242"/>
              <a:gd name="T13" fmla="*/ 136 h 250"/>
              <a:gd name="T14" fmla="*/ 242 w 242"/>
              <a:gd name="T15" fmla="*/ 136 h 250"/>
              <a:gd name="T16" fmla="*/ 23 w 242"/>
              <a:gd name="T17" fmla="*/ 114 h 250"/>
              <a:gd name="T18" fmla="*/ 31 w 242"/>
              <a:gd name="T19" fmla="*/ 90 h 250"/>
              <a:gd name="T20" fmla="*/ 69 w 242"/>
              <a:gd name="T21" fmla="*/ 90 h 250"/>
              <a:gd name="T22" fmla="*/ 77 w 242"/>
              <a:gd name="T23" fmla="*/ 114 h 250"/>
              <a:gd name="T24" fmla="*/ 100 w 242"/>
              <a:gd name="T25" fmla="*/ 114 h 250"/>
              <a:gd name="T26" fmla="*/ 61 w 242"/>
              <a:gd name="T27" fmla="*/ 0 h 250"/>
              <a:gd name="T28" fmla="*/ 38 w 242"/>
              <a:gd name="T29" fmla="*/ 0 h 250"/>
              <a:gd name="T30" fmla="*/ 0 w 242"/>
              <a:gd name="T31" fmla="*/ 114 h 250"/>
              <a:gd name="T32" fmla="*/ 23 w 242"/>
              <a:gd name="T33" fmla="*/ 114 h 250"/>
              <a:gd name="T34" fmla="*/ 49 w 242"/>
              <a:gd name="T35" fmla="*/ 28 h 250"/>
              <a:gd name="T36" fmla="*/ 51 w 242"/>
              <a:gd name="T37" fmla="*/ 28 h 250"/>
              <a:gd name="T38" fmla="*/ 64 w 242"/>
              <a:gd name="T39" fmla="*/ 72 h 250"/>
              <a:gd name="T40" fmla="*/ 36 w 242"/>
              <a:gd name="T41" fmla="*/ 72 h 250"/>
              <a:gd name="T42" fmla="*/ 49 w 242"/>
              <a:gd name="T43" fmla="*/ 28 h 250"/>
              <a:gd name="T44" fmla="*/ 90 w 242"/>
              <a:gd name="T45" fmla="*/ 232 h 250"/>
              <a:gd name="T46" fmla="*/ 34 w 242"/>
              <a:gd name="T47" fmla="*/ 232 h 250"/>
              <a:gd name="T48" fmla="*/ 89 w 242"/>
              <a:gd name="T49" fmla="*/ 150 h 250"/>
              <a:gd name="T50" fmla="*/ 89 w 242"/>
              <a:gd name="T51" fmla="*/ 136 h 250"/>
              <a:gd name="T52" fmla="*/ 8 w 242"/>
              <a:gd name="T53" fmla="*/ 136 h 250"/>
              <a:gd name="T54" fmla="*/ 8 w 242"/>
              <a:gd name="T55" fmla="*/ 154 h 250"/>
              <a:gd name="T56" fmla="*/ 63 w 242"/>
              <a:gd name="T57" fmla="*/ 154 h 250"/>
              <a:gd name="T58" fmla="*/ 8 w 242"/>
              <a:gd name="T59" fmla="*/ 236 h 250"/>
              <a:gd name="T60" fmla="*/ 8 w 242"/>
              <a:gd name="T61" fmla="*/ 250 h 250"/>
              <a:gd name="T62" fmla="*/ 90 w 242"/>
              <a:gd name="T63" fmla="*/ 250 h 250"/>
              <a:gd name="T64" fmla="*/ 90 w 242"/>
              <a:gd name="T65" fmla="*/ 232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2" h="250">
                <a:moveTo>
                  <a:pt x="242" y="136"/>
                </a:moveTo>
                <a:lnTo>
                  <a:pt x="174" y="204"/>
                </a:lnTo>
                <a:lnTo>
                  <a:pt x="106" y="136"/>
                </a:lnTo>
                <a:lnTo>
                  <a:pt x="153" y="136"/>
                </a:lnTo>
                <a:lnTo>
                  <a:pt x="153" y="73"/>
                </a:lnTo>
                <a:lnTo>
                  <a:pt x="195" y="73"/>
                </a:lnTo>
                <a:lnTo>
                  <a:pt x="195" y="136"/>
                </a:lnTo>
                <a:lnTo>
                  <a:pt x="242" y="136"/>
                </a:lnTo>
                <a:close/>
                <a:moveTo>
                  <a:pt x="23" y="114"/>
                </a:moveTo>
                <a:lnTo>
                  <a:pt x="31" y="90"/>
                </a:lnTo>
                <a:lnTo>
                  <a:pt x="69" y="90"/>
                </a:lnTo>
                <a:lnTo>
                  <a:pt x="77" y="114"/>
                </a:lnTo>
                <a:lnTo>
                  <a:pt x="100" y="114"/>
                </a:lnTo>
                <a:lnTo>
                  <a:pt x="61" y="0"/>
                </a:lnTo>
                <a:lnTo>
                  <a:pt x="38" y="0"/>
                </a:lnTo>
                <a:lnTo>
                  <a:pt x="0" y="114"/>
                </a:lnTo>
                <a:lnTo>
                  <a:pt x="23" y="114"/>
                </a:lnTo>
                <a:close/>
                <a:moveTo>
                  <a:pt x="49" y="28"/>
                </a:moveTo>
                <a:lnTo>
                  <a:pt x="51" y="28"/>
                </a:lnTo>
                <a:lnTo>
                  <a:pt x="64" y="72"/>
                </a:lnTo>
                <a:lnTo>
                  <a:pt x="36" y="72"/>
                </a:lnTo>
                <a:lnTo>
                  <a:pt x="49" y="28"/>
                </a:lnTo>
                <a:close/>
                <a:moveTo>
                  <a:pt x="90" y="232"/>
                </a:moveTo>
                <a:lnTo>
                  <a:pt x="34" y="232"/>
                </a:lnTo>
                <a:lnTo>
                  <a:pt x="89" y="150"/>
                </a:lnTo>
                <a:lnTo>
                  <a:pt x="89" y="136"/>
                </a:lnTo>
                <a:lnTo>
                  <a:pt x="8" y="136"/>
                </a:lnTo>
                <a:lnTo>
                  <a:pt x="8" y="154"/>
                </a:lnTo>
                <a:lnTo>
                  <a:pt x="63" y="154"/>
                </a:lnTo>
                <a:lnTo>
                  <a:pt x="8" y="236"/>
                </a:lnTo>
                <a:lnTo>
                  <a:pt x="8" y="250"/>
                </a:lnTo>
                <a:lnTo>
                  <a:pt x="90" y="250"/>
                </a:lnTo>
                <a:lnTo>
                  <a:pt x="90" y="23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4" name="Freeform 101">
            <a:extLst>
              <a:ext uri="{FF2B5EF4-FFF2-40B4-BE49-F238E27FC236}">
                <a16:creationId xmlns:a16="http://schemas.microsoft.com/office/drawing/2014/main" id="{0CFB3317-B8EC-4EA7-80CE-B112E90149B7}"/>
              </a:ext>
            </a:extLst>
          </p:cNvPr>
          <p:cNvSpPr>
            <a:spLocks noEditPoints="1"/>
          </p:cNvSpPr>
          <p:nvPr/>
        </p:nvSpPr>
        <p:spPr bwMode="gray">
          <a:xfrm>
            <a:off x="5378881" y="3252595"/>
            <a:ext cx="331788" cy="395288"/>
          </a:xfrm>
          <a:custGeom>
            <a:avLst/>
            <a:gdLst>
              <a:gd name="T0" fmla="*/ 84 w 209"/>
              <a:gd name="T1" fmla="*/ 135 h 249"/>
              <a:gd name="T2" fmla="*/ 125 w 209"/>
              <a:gd name="T3" fmla="*/ 135 h 249"/>
              <a:gd name="T4" fmla="*/ 125 w 209"/>
              <a:gd name="T5" fmla="*/ 228 h 249"/>
              <a:gd name="T6" fmla="*/ 84 w 209"/>
              <a:gd name="T7" fmla="*/ 249 h 249"/>
              <a:gd name="T8" fmla="*/ 84 w 209"/>
              <a:gd name="T9" fmla="*/ 135 h 249"/>
              <a:gd name="T10" fmla="*/ 0 w 209"/>
              <a:gd name="T11" fmla="*/ 0 h 249"/>
              <a:gd name="T12" fmla="*/ 0 w 209"/>
              <a:gd name="T13" fmla="*/ 21 h 249"/>
              <a:gd name="T14" fmla="*/ 84 w 209"/>
              <a:gd name="T15" fmla="*/ 114 h 249"/>
              <a:gd name="T16" fmla="*/ 125 w 209"/>
              <a:gd name="T17" fmla="*/ 114 h 249"/>
              <a:gd name="T18" fmla="*/ 209 w 209"/>
              <a:gd name="T19" fmla="*/ 21 h 249"/>
              <a:gd name="T20" fmla="*/ 209 w 209"/>
              <a:gd name="T21" fmla="*/ 0 h 249"/>
              <a:gd name="T22" fmla="*/ 0 w 209"/>
              <a:gd name="T23"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9" h="249">
                <a:moveTo>
                  <a:pt x="84" y="135"/>
                </a:moveTo>
                <a:lnTo>
                  <a:pt x="125" y="135"/>
                </a:lnTo>
                <a:lnTo>
                  <a:pt x="125" y="228"/>
                </a:lnTo>
                <a:lnTo>
                  <a:pt x="84" y="249"/>
                </a:lnTo>
                <a:lnTo>
                  <a:pt x="84" y="135"/>
                </a:lnTo>
                <a:close/>
                <a:moveTo>
                  <a:pt x="0" y="0"/>
                </a:moveTo>
                <a:lnTo>
                  <a:pt x="0" y="21"/>
                </a:lnTo>
                <a:lnTo>
                  <a:pt x="84" y="114"/>
                </a:lnTo>
                <a:lnTo>
                  <a:pt x="125" y="114"/>
                </a:lnTo>
                <a:lnTo>
                  <a:pt x="209" y="21"/>
                </a:lnTo>
                <a:lnTo>
                  <a:pt x="209" y="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5" name="Freeform 105">
            <a:extLst>
              <a:ext uri="{FF2B5EF4-FFF2-40B4-BE49-F238E27FC236}">
                <a16:creationId xmlns:a16="http://schemas.microsoft.com/office/drawing/2014/main" id="{5A68FE86-6B1E-4EB8-814E-3B333EDC018F}"/>
              </a:ext>
            </a:extLst>
          </p:cNvPr>
          <p:cNvSpPr>
            <a:spLocks noEditPoints="1"/>
          </p:cNvSpPr>
          <p:nvPr/>
        </p:nvSpPr>
        <p:spPr bwMode="gray">
          <a:xfrm>
            <a:off x="8686337" y="3251802"/>
            <a:ext cx="396875" cy="396875"/>
          </a:xfrm>
          <a:custGeom>
            <a:avLst/>
            <a:gdLst>
              <a:gd name="T0" fmla="*/ 546 w 1531"/>
              <a:gd name="T1" fmla="*/ 805 h 1532"/>
              <a:gd name="T2" fmla="*/ 727 w 1531"/>
              <a:gd name="T3" fmla="*/ 986 h 1532"/>
              <a:gd name="T4" fmla="*/ 181 w 1531"/>
              <a:gd name="T5" fmla="*/ 1532 h 1532"/>
              <a:gd name="T6" fmla="*/ 0 w 1531"/>
              <a:gd name="T7" fmla="*/ 1351 h 1532"/>
              <a:gd name="T8" fmla="*/ 546 w 1531"/>
              <a:gd name="T9" fmla="*/ 805 h 1532"/>
              <a:gd name="T10" fmla="*/ 1531 w 1531"/>
              <a:gd name="T11" fmla="*/ 479 h 1532"/>
              <a:gd name="T12" fmla="*/ 1053 w 1531"/>
              <a:gd name="T13" fmla="*/ 959 h 1532"/>
              <a:gd name="T14" fmla="*/ 573 w 1531"/>
              <a:gd name="T15" fmla="*/ 479 h 1532"/>
              <a:gd name="T16" fmla="*/ 1053 w 1531"/>
              <a:gd name="T17" fmla="*/ 1 h 1532"/>
              <a:gd name="T18" fmla="*/ 1531 w 1531"/>
              <a:gd name="T19" fmla="*/ 477 h 1532"/>
              <a:gd name="T20" fmla="*/ 1531 w 1531"/>
              <a:gd name="T21" fmla="*/ 479 h 1532"/>
              <a:gd name="T22" fmla="*/ 1405 w 1531"/>
              <a:gd name="T23" fmla="*/ 479 h 1532"/>
              <a:gd name="T24" fmla="*/ 1053 w 1531"/>
              <a:gd name="T25" fmla="*/ 127 h 1532"/>
              <a:gd name="T26" fmla="*/ 701 w 1531"/>
              <a:gd name="T27" fmla="*/ 479 h 1532"/>
              <a:gd name="T28" fmla="*/ 1053 w 1531"/>
              <a:gd name="T29" fmla="*/ 831 h 1532"/>
              <a:gd name="T30" fmla="*/ 1405 w 1531"/>
              <a:gd name="T31" fmla="*/ 479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31" h="1532">
                <a:moveTo>
                  <a:pt x="546" y="805"/>
                </a:moveTo>
                <a:cubicBezTo>
                  <a:pt x="727" y="986"/>
                  <a:pt x="727" y="986"/>
                  <a:pt x="727" y="986"/>
                </a:cubicBezTo>
                <a:cubicBezTo>
                  <a:pt x="181" y="1532"/>
                  <a:pt x="181" y="1532"/>
                  <a:pt x="181" y="1532"/>
                </a:cubicBezTo>
                <a:cubicBezTo>
                  <a:pt x="0" y="1351"/>
                  <a:pt x="0" y="1351"/>
                  <a:pt x="0" y="1351"/>
                </a:cubicBezTo>
                <a:lnTo>
                  <a:pt x="546" y="805"/>
                </a:lnTo>
                <a:close/>
                <a:moveTo>
                  <a:pt x="1531" y="479"/>
                </a:moveTo>
                <a:cubicBezTo>
                  <a:pt x="1531" y="745"/>
                  <a:pt x="1318" y="959"/>
                  <a:pt x="1053" y="959"/>
                </a:cubicBezTo>
                <a:cubicBezTo>
                  <a:pt x="787" y="959"/>
                  <a:pt x="573" y="745"/>
                  <a:pt x="573" y="479"/>
                </a:cubicBezTo>
                <a:cubicBezTo>
                  <a:pt x="573" y="214"/>
                  <a:pt x="787" y="1"/>
                  <a:pt x="1053" y="1"/>
                </a:cubicBezTo>
                <a:cubicBezTo>
                  <a:pt x="1316" y="0"/>
                  <a:pt x="1530" y="214"/>
                  <a:pt x="1531" y="477"/>
                </a:cubicBezTo>
                <a:cubicBezTo>
                  <a:pt x="1531" y="478"/>
                  <a:pt x="1531" y="479"/>
                  <a:pt x="1531" y="479"/>
                </a:cubicBezTo>
                <a:close/>
                <a:moveTo>
                  <a:pt x="1405" y="479"/>
                </a:moveTo>
                <a:cubicBezTo>
                  <a:pt x="1405" y="285"/>
                  <a:pt x="1247" y="127"/>
                  <a:pt x="1053" y="127"/>
                </a:cubicBezTo>
                <a:cubicBezTo>
                  <a:pt x="858" y="127"/>
                  <a:pt x="701" y="285"/>
                  <a:pt x="701" y="479"/>
                </a:cubicBezTo>
                <a:cubicBezTo>
                  <a:pt x="701" y="674"/>
                  <a:pt x="858" y="831"/>
                  <a:pt x="1053" y="831"/>
                </a:cubicBezTo>
                <a:cubicBezTo>
                  <a:pt x="1247" y="831"/>
                  <a:pt x="1404" y="674"/>
                  <a:pt x="1405" y="47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6" name="Freeform 109">
            <a:extLst>
              <a:ext uri="{FF2B5EF4-FFF2-40B4-BE49-F238E27FC236}">
                <a16:creationId xmlns:a16="http://schemas.microsoft.com/office/drawing/2014/main" id="{06A705BA-9930-4B30-AACB-AFA1606ACA99}"/>
              </a:ext>
            </a:extLst>
          </p:cNvPr>
          <p:cNvSpPr>
            <a:spLocks noEditPoints="1"/>
          </p:cNvSpPr>
          <p:nvPr/>
        </p:nvSpPr>
        <p:spPr bwMode="gray">
          <a:xfrm>
            <a:off x="9780620" y="3233545"/>
            <a:ext cx="434975" cy="433388"/>
          </a:xfrm>
          <a:custGeom>
            <a:avLst/>
            <a:gdLst>
              <a:gd name="T0" fmla="*/ 1213 w 1476"/>
              <a:gd name="T1" fmla="*/ 263 h 1476"/>
              <a:gd name="T2" fmla="*/ 263 w 1476"/>
              <a:gd name="T3" fmla="*/ 263 h 1476"/>
              <a:gd name="T4" fmla="*/ 263 w 1476"/>
              <a:gd name="T5" fmla="*/ 1213 h 1476"/>
              <a:gd name="T6" fmla="*/ 1213 w 1476"/>
              <a:gd name="T7" fmla="*/ 1213 h 1476"/>
              <a:gd name="T8" fmla="*/ 1213 w 1476"/>
              <a:gd name="T9" fmla="*/ 1213 h 1476"/>
              <a:gd name="T10" fmla="*/ 1213 w 1476"/>
              <a:gd name="T11" fmla="*/ 263 h 1476"/>
              <a:gd name="T12" fmla="*/ 733 w 1476"/>
              <a:gd name="T13" fmla="*/ 1188 h 1476"/>
              <a:gd name="T14" fmla="*/ 635 w 1476"/>
              <a:gd name="T15" fmla="*/ 1094 h 1476"/>
              <a:gd name="T16" fmla="*/ 733 w 1476"/>
              <a:gd name="T17" fmla="*/ 999 h 1476"/>
              <a:gd name="T18" fmla="*/ 831 w 1476"/>
              <a:gd name="T19" fmla="*/ 1094 h 1476"/>
              <a:gd name="T20" fmla="*/ 733 w 1476"/>
              <a:gd name="T21" fmla="*/ 1188 h 1476"/>
              <a:gd name="T22" fmla="*/ 803 w 1476"/>
              <a:gd name="T23" fmla="*/ 913 h 1476"/>
              <a:gd name="T24" fmla="*/ 660 w 1476"/>
              <a:gd name="T25" fmla="*/ 913 h 1476"/>
              <a:gd name="T26" fmla="*/ 850 w 1476"/>
              <a:gd name="T27" fmla="*/ 521 h 1476"/>
              <a:gd name="T28" fmla="*/ 748 w 1476"/>
              <a:gd name="T29" fmla="*/ 415 h 1476"/>
              <a:gd name="T30" fmla="*/ 645 w 1476"/>
              <a:gd name="T31" fmla="*/ 528 h 1476"/>
              <a:gd name="T32" fmla="*/ 482 w 1476"/>
              <a:gd name="T33" fmla="*/ 528 h 1476"/>
              <a:gd name="T34" fmla="*/ 748 w 1476"/>
              <a:gd name="T35" fmla="*/ 282 h 1476"/>
              <a:gd name="T36" fmla="*/ 1011 w 1476"/>
              <a:gd name="T37" fmla="*/ 518 h 1476"/>
              <a:gd name="T38" fmla="*/ 803 w 1476"/>
              <a:gd name="T39" fmla="*/ 913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6" h="1476">
                <a:moveTo>
                  <a:pt x="1213" y="263"/>
                </a:moveTo>
                <a:cubicBezTo>
                  <a:pt x="951" y="0"/>
                  <a:pt x="525" y="0"/>
                  <a:pt x="263" y="263"/>
                </a:cubicBezTo>
                <a:cubicBezTo>
                  <a:pt x="0" y="525"/>
                  <a:pt x="0" y="951"/>
                  <a:pt x="263" y="1213"/>
                </a:cubicBezTo>
                <a:cubicBezTo>
                  <a:pt x="525" y="1476"/>
                  <a:pt x="951" y="1476"/>
                  <a:pt x="1213" y="1213"/>
                </a:cubicBezTo>
                <a:cubicBezTo>
                  <a:pt x="1213" y="1213"/>
                  <a:pt x="1213" y="1213"/>
                  <a:pt x="1213" y="1213"/>
                </a:cubicBezTo>
                <a:cubicBezTo>
                  <a:pt x="1476" y="951"/>
                  <a:pt x="1476" y="525"/>
                  <a:pt x="1213" y="263"/>
                </a:cubicBezTo>
                <a:close/>
                <a:moveTo>
                  <a:pt x="733" y="1188"/>
                </a:moveTo>
                <a:cubicBezTo>
                  <a:pt x="675" y="1188"/>
                  <a:pt x="635" y="1147"/>
                  <a:pt x="635" y="1094"/>
                </a:cubicBezTo>
                <a:cubicBezTo>
                  <a:pt x="635" y="1041"/>
                  <a:pt x="675" y="999"/>
                  <a:pt x="733" y="999"/>
                </a:cubicBezTo>
                <a:cubicBezTo>
                  <a:pt x="789" y="999"/>
                  <a:pt x="831" y="1040"/>
                  <a:pt x="831" y="1094"/>
                </a:cubicBezTo>
                <a:cubicBezTo>
                  <a:pt x="831" y="1147"/>
                  <a:pt x="789" y="1188"/>
                  <a:pt x="733" y="1188"/>
                </a:cubicBezTo>
                <a:close/>
                <a:moveTo>
                  <a:pt x="803" y="913"/>
                </a:moveTo>
                <a:cubicBezTo>
                  <a:pt x="660" y="913"/>
                  <a:pt x="660" y="913"/>
                  <a:pt x="660" y="913"/>
                </a:cubicBezTo>
                <a:cubicBezTo>
                  <a:pt x="660" y="648"/>
                  <a:pt x="850" y="661"/>
                  <a:pt x="850" y="521"/>
                </a:cubicBezTo>
                <a:cubicBezTo>
                  <a:pt x="850" y="451"/>
                  <a:pt x="813" y="415"/>
                  <a:pt x="748" y="415"/>
                </a:cubicBezTo>
                <a:cubicBezTo>
                  <a:pt x="696" y="415"/>
                  <a:pt x="646" y="447"/>
                  <a:pt x="645" y="528"/>
                </a:cubicBezTo>
                <a:cubicBezTo>
                  <a:pt x="482" y="528"/>
                  <a:pt x="482" y="528"/>
                  <a:pt x="482" y="528"/>
                </a:cubicBezTo>
                <a:cubicBezTo>
                  <a:pt x="483" y="361"/>
                  <a:pt x="600" y="282"/>
                  <a:pt x="748" y="282"/>
                </a:cubicBezTo>
                <a:cubicBezTo>
                  <a:pt x="913" y="282"/>
                  <a:pt x="1011" y="371"/>
                  <a:pt x="1011" y="518"/>
                </a:cubicBezTo>
                <a:cubicBezTo>
                  <a:pt x="1011" y="716"/>
                  <a:pt x="806" y="720"/>
                  <a:pt x="803" y="91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7" name="Freeform 113">
            <a:extLst>
              <a:ext uri="{FF2B5EF4-FFF2-40B4-BE49-F238E27FC236}">
                <a16:creationId xmlns:a16="http://schemas.microsoft.com/office/drawing/2014/main" id="{CE4F7D7C-51B2-4D54-ACD9-7B01EACEEAF3}"/>
              </a:ext>
            </a:extLst>
          </p:cNvPr>
          <p:cNvSpPr>
            <a:spLocks noEditPoints="1"/>
          </p:cNvSpPr>
          <p:nvPr/>
        </p:nvSpPr>
        <p:spPr bwMode="gray">
          <a:xfrm>
            <a:off x="10893953" y="3233545"/>
            <a:ext cx="434975" cy="433388"/>
          </a:xfrm>
          <a:custGeom>
            <a:avLst/>
            <a:gdLst>
              <a:gd name="T0" fmla="*/ 1213 w 1476"/>
              <a:gd name="T1" fmla="*/ 263 h 1476"/>
              <a:gd name="T2" fmla="*/ 263 w 1476"/>
              <a:gd name="T3" fmla="*/ 263 h 1476"/>
              <a:gd name="T4" fmla="*/ 263 w 1476"/>
              <a:gd name="T5" fmla="*/ 1213 h 1476"/>
              <a:gd name="T6" fmla="*/ 1213 w 1476"/>
              <a:gd name="T7" fmla="*/ 1213 h 1476"/>
              <a:gd name="T8" fmla="*/ 1213 w 1476"/>
              <a:gd name="T9" fmla="*/ 1213 h 1476"/>
              <a:gd name="T10" fmla="*/ 1213 w 1476"/>
              <a:gd name="T11" fmla="*/ 263 h 1476"/>
              <a:gd name="T12" fmla="*/ 820 w 1476"/>
              <a:gd name="T13" fmla="*/ 1178 h 1476"/>
              <a:gd name="T14" fmla="*/ 656 w 1476"/>
              <a:gd name="T15" fmla="*/ 1178 h 1476"/>
              <a:gd name="T16" fmla="*/ 656 w 1476"/>
              <a:gd name="T17" fmla="*/ 547 h 1476"/>
              <a:gd name="T18" fmla="*/ 820 w 1476"/>
              <a:gd name="T19" fmla="*/ 547 h 1476"/>
              <a:gd name="T20" fmla="*/ 820 w 1476"/>
              <a:gd name="T21" fmla="*/ 1178 h 1476"/>
              <a:gd name="T22" fmla="*/ 739 w 1476"/>
              <a:gd name="T23" fmla="*/ 459 h 1476"/>
              <a:gd name="T24" fmla="*/ 626 w 1476"/>
              <a:gd name="T25" fmla="*/ 354 h 1476"/>
              <a:gd name="T26" fmla="*/ 739 w 1476"/>
              <a:gd name="T27" fmla="*/ 249 h 1476"/>
              <a:gd name="T28" fmla="*/ 850 w 1476"/>
              <a:gd name="T29" fmla="*/ 354 h 1476"/>
              <a:gd name="T30" fmla="*/ 739 w 1476"/>
              <a:gd name="T31" fmla="*/ 459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76" h="1476">
                <a:moveTo>
                  <a:pt x="1213" y="263"/>
                </a:moveTo>
                <a:cubicBezTo>
                  <a:pt x="951" y="0"/>
                  <a:pt x="525" y="0"/>
                  <a:pt x="263" y="263"/>
                </a:cubicBezTo>
                <a:cubicBezTo>
                  <a:pt x="0" y="525"/>
                  <a:pt x="0" y="951"/>
                  <a:pt x="263" y="1213"/>
                </a:cubicBezTo>
                <a:cubicBezTo>
                  <a:pt x="525" y="1476"/>
                  <a:pt x="951" y="1476"/>
                  <a:pt x="1213" y="1213"/>
                </a:cubicBezTo>
                <a:cubicBezTo>
                  <a:pt x="1213" y="1213"/>
                  <a:pt x="1213" y="1213"/>
                  <a:pt x="1213" y="1213"/>
                </a:cubicBezTo>
                <a:cubicBezTo>
                  <a:pt x="1476" y="951"/>
                  <a:pt x="1476" y="525"/>
                  <a:pt x="1213" y="263"/>
                </a:cubicBezTo>
                <a:close/>
                <a:moveTo>
                  <a:pt x="820" y="1178"/>
                </a:moveTo>
                <a:cubicBezTo>
                  <a:pt x="656" y="1178"/>
                  <a:pt x="656" y="1178"/>
                  <a:pt x="656" y="1178"/>
                </a:cubicBezTo>
                <a:cubicBezTo>
                  <a:pt x="656" y="547"/>
                  <a:pt x="656" y="547"/>
                  <a:pt x="656" y="547"/>
                </a:cubicBezTo>
                <a:cubicBezTo>
                  <a:pt x="820" y="547"/>
                  <a:pt x="820" y="547"/>
                  <a:pt x="820" y="547"/>
                </a:cubicBezTo>
                <a:lnTo>
                  <a:pt x="820" y="1178"/>
                </a:lnTo>
                <a:close/>
                <a:moveTo>
                  <a:pt x="739" y="459"/>
                </a:moveTo>
                <a:cubicBezTo>
                  <a:pt x="675" y="459"/>
                  <a:pt x="626" y="411"/>
                  <a:pt x="626" y="354"/>
                </a:cubicBezTo>
                <a:cubicBezTo>
                  <a:pt x="626" y="299"/>
                  <a:pt x="675" y="249"/>
                  <a:pt x="739" y="249"/>
                </a:cubicBezTo>
                <a:cubicBezTo>
                  <a:pt x="803" y="249"/>
                  <a:pt x="850" y="299"/>
                  <a:pt x="850" y="354"/>
                </a:cubicBezTo>
                <a:cubicBezTo>
                  <a:pt x="850" y="411"/>
                  <a:pt x="803" y="459"/>
                  <a:pt x="739" y="45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8" name="Freeform 117">
            <a:extLst>
              <a:ext uri="{FF2B5EF4-FFF2-40B4-BE49-F238E27FC236}">
                <a16:creationId xmlns:a16="http://schemas.microsoft.com/office/drawing/2014/main" id="{A1099AF1-39E0-40A5-9830-0BC11AB9B2E1}"/>
              </a:ext>
            </a:extLst>
          </p:cNvPr>
          <p:cNvSpPr>
            <a:spLocks noEditPoints="1"/>
          </p:cNvSpPr>
          <p:nvPr/>
        </p:nvSpPr>
        <p:spPr bwMode="gray">
          <a:xfrm>
            <a:off x="6478849" y="4383877"/>
            <a:ext cx="358518" cy="478727"/>
          </a:xfrm>
          <a:custGeom>
            <a:avLst/>
            <a:gdLst>
              <a:gd name="T0" fmla="*/ 1152 w 1152"/>
              <a:gd name="T1" fmla="*/ 448 h 1536"/>
              <a:gd name="T2" fmla="*/ 1086 w 1152"/>
              <a:gd name="T3" fmla="*/ 866 h 1536"/>
              <a:gd name="T4" fmla="*/ 832 w 1152"/>
              <a:gd name="T5" fmla="*/ 1088 h 1536"/>
              <a:gd name="T6" fmla="*/ 512 w 1152"/>
              <a:gd name="T7" fmla="*/ 1088 h 1536"/>
              <a:gd name="T8" fmla="*/ 258 w 1152"/>
              <a:gd name="T9" fmla="*/ 866 h 1536"/>
              <a:gd name="T10" fmla="*/ 192 w 1152"/>
              <a:gd name="T11" fmla="*/ 448 h 1536"/>
              <a:gd name="T12" fmla="*/ 1152 w 1152"/>
              <a:gd name="T13" fmla="*/ 448 h 1536"/>
              <a:gd name="T14" fmla="*/ 692 w 1152"/>
              <a:gd name="T15" fmla="*/ 1339 h 1536"/>
              <a:gd name="T16" fmla="*/ 736 w 1152"/>
              <a:gd name="T17" fmla="*/ 1152 h 1536"/>
              <a:gd name="T18" fmla="*/ 608 w 1152"/>
              <a:gd name="T19" fmla="*/ 1152 h 1536"/>
              <a:gd name="T20" fmla="*/ 368 w 1152"/>
              <a:gd name="T21" fmla="*/ 1408 h 1536"/>
              <a:gd name="T22" fmla="*/ 0 w 1152"/>
              <a:gd name="T23" fmla="*/ 1408 h 1536"/>
              <a:gd name="T24" fmla="*/ 0 w 1152"/>
              <a:gd name="T25" fmla="*/ 1536 h 1536"/>
              <a:gd name="T26" fmla="*/ 368 w 1152"/>
              <a:gd name="T27" fmla="*/ 1536 h 1536"/>
              <a:gd name="T28" fmla="*/ 692 w 1152"/>
              <a:gd name="T29" fmla="*/ 1339 h 1536"/>
              <a:gd name="T30" fmla="*/ 512 w 1152"/>
              <a:gd name="T31" fmla="*/ 0 h 1536"/>
              <a:gd name="T32" fmla="*/ 384 w 1152"/>
              <a:gd name="T33" fmla="*/ 0 h 1536"/>
              <a:gd name="T34" fmla="*/ 384 w 1152"/>
              <a:gd name="T35" fmla="*/ 384 h 1536"/>
              <a:gd name="T36" fmla="*/ 512 w 1152"/>
              <a:gd name="T37" fmla="*/ 384 h 1536"/>
              <a:gd name="T38" fmla="*/ 512 w 1152"/>
              <a:gd name="T39" fmla="*/ 0 h 1536"/>
              <a:gd name="T40" fmla="*/ 960 w 1152"/>
              <a:gd name="T41" fmla="*/ 0 h 1536"/>
              <a:gd name="T42" fmla="*/ 832 w 1152"/>
              <a:gd name="T43" fmla="*/ 0 h 1536"/>
              <a:gd name="T44" fmla="*/ 832 w 1152"/>
              <a:gd name="T45" fmla="*/ 384 h 1536"/>
              <a:gd name="T46" fmla="*/ 960 w 1152"/>
              <a:gd name="T47" fmla="*/ 384 h 1536"/>
              <a:gd name="T48" fmla="*/ 960 w 1152"/>
              <a:gd name="T49" fmla="*/ 0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52" h="1536">
                <a:moveTo>
                  <a:pt x="1152" y="448"/>
                </a:moveTo>
                <a:cubicBezTo>
                  <a:pt x="1086" y="866"/>
                  <a:pt x="1086" y="866"/>
                  <a:pt x="1086" y="866"/>
                </a:cubicBezTo>
                <a:cubicBezTo>
                  <a:pt x="1069" y="993"/>
                  <a:pt x="960" y="1088"/>
                  <a:pt x="832" y="1088"/>
                </a:cubicBezTo>
                <a:cubicBezTo>
                  <a:pt x="512" y="1088"/>
                  <a:pt x="512" y="1088"/>
                  <a:pt x="512" y="1088"/>
                </a:cubicBezTo>
                <a:cubicBezTo>
                  <a:pt x="384" y="1088"/>
                  <a:pt x="275" y="993"/>
                  <a:pt x="258" y="866"/>
                </a:cubicBezTo>
                <a:cubicBezTo>
                  <a:pt x="192" y="448"/>
                  <a:pt x="192" y="448"/>
                  <a:pt x="192" y="448"/>
                </a:cubicBezTo>
                <a:lnTo>
                  <a:pt x="1152" y="448"/>
                </a:lnTo>
                <a:close/>
                <a:moveTo>
                  <a:pt x="692" y="1339"/>
                </a:moveTo>
                <a:cubicBezTo>
                  <a:pt x="719" y="1281"/>
                  <a:pt x="734" y="1217"/>
                  <a:pt x="736" y="1152"/>
                </a:cubicBezTo>
                <a:cubicBezTo>
                  <a:pt x="608" y="1152"/>
                  <a:pt x="608" y="1152"/>
                  <a:pt x="608" y="1152"/>
                </a:cubicBezTo>
                <a:cubicBezTo>
                  <a:pt x="608" y="1162"/>
                  <a:pt x="605" y="1408"/>
                  <a:pt x="368" y="1408"/>
                </a:cubicBezTo>
                <a:cubicBezTo>
                  <a:pt x="0" y="1408"/>
                  <a:pt x="0" y="1408"/>
                  <a:pt x="0" y="1408"/>
                </a:cubicBezTo>
                <a:cubicBezTo>
                  <a:pt x="0" y="1536"/>
                  <a:pt x="0" y="1536"/>
                  <a:pt x="0" y="1536"/>
                </a:cubicBezTo>
                <a:cubicBezTo>
                  <a:pt x="368" y="1536"/>
                  <a:pt x="368" y="1536"/>
                  <a:pt x="368" y="1536"/>
                </a:cubicBezTo>
                <a:cubicBezTo>
                  <a:pt x="559" y="1536"/>
                  <a:pt x="649" y="1429"/>
                  <a:pt x="692" y="1339"/>
                </a:cubicBezTo>
                <a:close/>
                <a:moveTo>
                  <a:pt x="512" y="0"/>
                </a:moveTo>
                <a:cubicBezTo>
                  <a:pt x="384" y="0"/>
                  <a:pt x="384" y="0"/>
                  <a:pt x="384" y="0"/>
                </a:cubicBezTo>
                <a:cubicBezTo>
                  <a:pt x="384" y="384"/>
                  <a:pt x="384" y="384"/>
                  <a:pt x="384" y="384"/>
                </a:cubicBezTo>
                <a:cubicBezTo>
                  <a:pt x="512" y="384"/>
                  <a:pt x="512" y="384"/>
                  <a:pt x="512" y="384"/>
                </a:cubicBezTo>
                <a:lnTo>
                  <a:pt x="512" y="0"/>
                </a:lnTo>
                <a:close/>
                <a:moveTo>
                  <a:pt x="960" y="0"/>
                </a:moveTo>
                <a:cubicBezTo>
                  <a:pt x="832" y="0"/>
                  <a:pt x="832" y="0"/>
                  <a:pt x="832" y="0"/>
                </a:cubicBezTo>
                <a:cubicBezTo>
                  <a:pt x="832" y="384"/>
                  <a:pt x="832" y="384"/>
                  <a:pt x="832" y="384"/>
                </a:cubicBezTo>
                <a:cubicBezTo>
                  <a:pt x="960" y="384"/>
                  <a:pt x="960" y="384"/>
                  <a:pt x="960" y="384"/>
                </a:cubicBezTo>
                <a:lnTo>
                  <a:pt x="96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9" name="Freeform 121">
            <a:extLst>
              <a:ext uri="{FF2B5EF4-FFF2-40B4-BE49-F238E27FC236}">
                <a16:creationId xmlns:a16="http://schemas.microsoft.com/office/drawing/2014/main" id="{BEF7B718-7703-4DDD-B270-E7FC6E8E0FFC}"/>
              </a:ext>
            </a:extLst>
          </p:cNvPr>
          <p:cNvSpPr>
            <a:spLocks noEditPoints="1"/>
          </p:cNvSpPr>
          <p:nvPr/>
        </p:nvSpPr>
        <p:spPr bwMode="gray">
          <a:xfrm>
            <a:off x="7544429" y="4424803"/>
            <a:ext cx="454025" cy="396875"/>
          </a:xfrm>
          <a:custGeom>
            <a:avLst/>
            <a:gdLst>
              <a:gd name="T0" fmla="*/ 1088 w 1536"/>
              <a:gd name="T1" fmla="*/ 448 h 1344"/>
              <a:gd name="T2" fmla="*/ 856 w 1536"/>
              <a:gd name="T3" fmla="*/ 448 h 1344"/>
              <a:gd name="T4" fmla="*/ 904 w 1536"/>
              <a:gd name="T5" fmla="*/ 320 h 1344"/>
              <a:gd name="T6" fmla="*/ 1088 w 1536"/>
              <a:gd name="T7" fmla="*/ 320 h 1344"/>
              <a:gd name="T8" fmla="*/ 1088 w 1536"/>
              <a:gd name="T9" fmla="*/ 448 h 1344"/>
              <a:gd name="T10" fmla="*/ 488 w 1536"/>
              <a:gd name="T11" fmla="*/ 960 h 1344"/>
              <a:gd name="T12" fmla="*/ 256 w 1536"/>
              <a:gd name="T13" fmla="*/ 960 h 1344"/>
              <a:gd name="T14" fmla="*/ 128 w 1536"/>
              <a:gd name="T15" fmla="*/ 832 h 1344"/>
              <a:gd name="T16" fmla="*/ 128 w 1536"/>
              <a:gd name="T17" fmla="*/ 448 h 1344"/>
              <a:gd name="T18" fmla="*/ 344 w 1536"/>
              <a:gd name="T19" fmla="*/ 448 h 1344"/>
              <a:gd name="T20" fmla="*/ 456 w 1536"/>
              <a:gd name="T21" fmla="*/ 320 h 1344"/>
              <a:gd name="T22" fmla="*/ 0 w 1536"/>
              <a:gd name="T23" fmla="*/ 320 h 1344"/>
              <a:gd name="T24" fmla="*/ 0 w 1536"/>
              <a:gd name="T25" fmla="*/ 832 h 1344"/>
              <a:gd name="T26" fmla="*/ 256 w 1536"/>
              <a:gd name="T27" fmla="*/ 1088 h 1344"/>
              <a:gd name="T28" fmla="*/ 440 w 1536"/>
              <a:gd name="T29" fmla="*/ 1088 h 1344"/>
              <a:gd name="T30" fmla="*/ 488 w 1536"/>
              <a:gd name="T31" fmla="*/ 960 h 1344"/>
              <a:gd name="T32" fmla="*/ 1344 w 1536"/>
              <a:gd name="T33" fmla="*/ 512 h 1344"/>
              <a:gd name="T34" fmla="*/ 1344 w 1536"/>
              <a:gd name="T35" fmla="*/ 320 h 1344"/>
              <a:gd name="T36" fmla="*/ 1216 w 1536"/>
              <a:gd name="T37" fmla="*/ 320 h 1344"/>
              <a:gd name="T38" fmla="*/ 1216 w 1536"/>
              <a:gd name="T39" fmla="*/ 960 h 1344"/>
              <a:gd name="T40" fmla="*/ 1000 w 1536"/>
              <a:gd name="T41" fmla="*/ 960 h 1344"/>
              <a:gd name="T42" fmla="*/ 888 w 1536"/>
              <a:gd name="T43" fmla="*/ 1088 h 1344"/>
              <a:gd name="T44" fmla="*/ 1344 w 1536"/>
              <a:gd name="T45" fmla="*/ 1088 h 1344"/>
              <a:gd name="T46" fmla="*/ 1344 w 1536"/>
              <a:gd name="T47" fmla="*/ 896 h 1344"/>
              <a:gd name="T48" fmla="*/ 1536 w 1536"/>
              <a:gd name="T49" fmla="*/ 896 h 1344"/>
              <a:gd name="T50" fmla="*/ 1536 w 1536"/>
              <a:gd name="T51" fmla="*/ 512 h 1344"/>
              <a:gd name="T52" fmla="*/ 1344 w 1536"/>
              <a:gd name="T53" fmla="*/ 512 h 1344"/>
              <a:gd name="T54" fmla="*/ 373 w 1536"/>
              <a:gd name="T55" fmla="*/ 768 h 1344"/>
              <a:gd name="T56" fmla="*/ 704 w 1536"/>
              <a:gd name="T57" fmla="*/ 768 h 1344"/>
              <a:gd name="T58" fmla="*/ 463 w 1536"/>
              <a:gd name="T59" fmla="*/ 1344 h 1344"/>
              <a:gd name="T60" fmla="*/ 516 w 1536"/>
              <a:gd name="T61" fmla="*/ 1344 h 1344"/>
              <a:gd name="T62" fmla="*/ 605 w 1536"/>
              <a:gd name="T63" fmla="*/ 1298 h 1344"/>
              <a:gd name="T64" fmla="*/ 1057 w 1536"/>
              <a:gd name="T65" fmla="*/ 665 h 1344"/>
              <a:gd name="T66" fmla="*/ 1044 w 1536"/>
              <a:gd name="T67" fmla="*/ 589 h 1344"/>
              <a:gd name="T68" fmla="*/ 1013 w 1536"/>
              <a:gd name="T69" fmla="*/ 579 h 1344"/>
              <a:gd name="T70" fmla="*/ 681 w 1536"/>
              <a:gd name="T71" fmla="*/ 579 h 1344"/>
              <a:gd name="T72" fmla="*/ 896 w 1536"/>
              <a:gd name="T73" fmla="*/ 0 h 1344"/>
              <a:gd name="T74" fmla="*/ 843 w 1536"/>
              <a:gd name="T75" fmla="*/ 0 h 1344"/>
              <a:gd name="T76" fmla="*/ 758 w 1536"/>
              <a:gd name="T77" fmla="*/ 78 h 1344"/>
              <a:gd name="T78" fmla="*/ 328 w 1536"/>
              <a:gd name="T79" fmla="*/ 682 h 1344"/>
              <a:gd name="T80" fmla="*/ 341 w 1536"/>
              <a:gd name="T81" fmla="*/ 758 h 1344"/>
              <a:gd name="T82" fmla="*/ 373 w 1536"/>
              <a:gd name="T83" fmla="*/ 768 h 1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36" h="1344">
                <a:moveTo>
                  <a:pt x="1088" y="448"/>
                </a:moveTo>
                <a:cubicBezTo>
                  <a:pt x="856" y="448"/>
                  <a:pt x="856" y="448"/>
                  <a:pt x="856" y="448"/>
                </a:cubicBezTo>
                <a:cubicBezTo>
                  <a:pt x="904" y="320"/>
                  <a:pt x="904" y="320"/>
                  <a:pt x="904" y="320"/>
                </a:cubicBezTo>
                <a:cubicBezTo>
                  <a:pt x="1088" y="320"/>
                  <a:pt x="1088" y="320"/>
                  <a:pt x="1088" y="320"/>
                </a:cubicBezTo>
                <a:lnTo>
                  <a:pt x="1088" y="448"/>
                </a:lnTo>
                <a:close/>
                <a:moveTo>
                  <a:pt x="488" y="960"/>
                </a:moveTo>
                <a:cubicBezTo>
                  <a:pt x="256" y="960"/>
                  <a:pt x="256" y="960"/>
                  <a:pt x="256" y="960"/>
                </a:cubicBezTo>
                <a:cubicBezTo>
                  <a:pt x="185" y="960"/>
                  <a:pt x="128" y="903"/>
                  <a:pt x="128" y="832"/>
                </a:cubicBezTo>
                <a:cubicBezTo>
                  <a:pt x="128" y="448"/>
                  <a:pt x="128" y="448"/>
                  <a:pt x="128" y="448"/>
                </a:cubicBezTo>
                <a:cubicBezTo>
                  <a:pt x="344" y="448"/>
                  <a:pt x="344" y="448"/>
                  <a:pt x="344" y="448"/>
                </a:cubicBezTo>
                <a:cubicBezTo>
                  <a:pt x="456" y="320"/>
                  <a:pt x="456" y="320"/>
                  <a:pt x="456" y="320"/>
                </a:cubicBezTo>
                <a:cubicBezTo>
                  <a:pt x="0" y="320"/>
                  <a:pt x="0" y="320"/>
                  <a:pt x="0" y="320"/>
                </a:cubicBezTo>
                <a:cubicBezTo>
                  <a:pt x="0" y="832"/>
                  <a:pt x="0" y="832"/>
                  <a:pt x="0" y="832"/>
                </a:cubicBezTo>
                <a:cubicBezTo>
                  <a:pt x="0" y="973"/>
                  <a:pt x="115" y="1088"/>
                  <a:pt x="256" y="1088"/>
                </a:cubicBezTo>
                <a:cubicBezTo>
                  <a:pt x="440" y="1088"/>
                  <a:pt x="440" y="1088"/>
                  <a:pt x="440" y="1088"/>
                </a:cubicBezTo>
                <a:lnTo>
                  <a:pt x="488" y="960"/>
                </a:lnTo>
                <a:close/>
                <a:moveTo>
                  <a:pt x="1344" y="512"/>
                </a:moveTo>
                <a:cubicBezTo>
                  <a:pt x="1344" y="320"/>
                  <a:pt x="1344" y="320"/>
                  <a:pt x="1344" y="320"/>
                </a:cubicBezTo>
                <a:cubicBezTo>
                  <a:pt x="1216" y="320"/>
                  <a:pt x="1216" y="320"/>
                  <a:pt x="1216" y="320"/>
                </a:cubicBezTo>
                <a:cubicBezTo>
                  <a:pt x="1216" y="960"/>
                  <a:pt x="1216" y="960"/>
                  <a:pt x="1216" y="960"/>
                </a:cubicBezTo>
                <a:cubicBezTo>
                  <a:pt x="1000" y="960"/>
                  <a:pt x="1000" y="960"/>
                  <a:pt x="1000" y="960"/>
                </a:cubicBezTo>
                <a:cubicBezTo>
                  <a:pt x="888" y="1088"/>
                  <a:pt x="888" y="1088"/>
                  <a:pt x="888" y="1088"/>
                </a:cubicBezTo>
                <a:cubicBezTo>
                  <a:pt x="1344" y="1088"/>
                  <a:pt x="1344" y="1088"/>
                  <a:pt x="1344" y="1088"/>
                </a:cubicBezTo>
                <a:cubicBezTo>
                  <a:pt x="1344" y="896"/>
                  <a:pt x="1344" y="896"/>
                  <a:pt x="1344" y="896"/>
                </a:cubicBezTo>
                <a:cubicBezTo>
                  <a:pt x="1536" y="896"/>
                  <a:pt x="1536" y="896"/>
                  <a:pt x="1536" y="896"/>
                </a:cubicBezTo>
                <a:cubicBezTo>
                  <a:pt x="1536" y="512"/>
                  <a:pt x="1536" y="512"/>
                  <a:pt x="1536" y="512"/>
                </a:cubicBezTo>
                <a:lnTo>
                  <a:pt x="1344" y="512"/>
                </a:lnTo>
                <a:close/>
                <a:moveTo>
                  <a:pt x="373" y="768"/>
                </a:moveTo>
                <a:cubicBezTo>
                  <a:pt x="704" y="768"/>
                  <a:pt x="704" y="768"/>
                  <a:pt x="704" y="768"/>
                </a:cubicBezTo>
                <a:cubicBezTo>
                  <a:pt x="463" y="1344"/>
                  <a:pt x="463" y="1344"/>
                  <a:pt x="463" y="1344"/>
                </a:cubicBezTo>
                <a:cubicBezTo>
                  <a:pt x="516" y="1344"/>
                  <a:pt x="516" y="1344"/>
                  <a:pt x="516" y="1344"/>
                </a:cubicBezTo>
                <a:cubicBezTo>
                  <a:pt x="551" y="1344"/>
                  <a:pt x="584" y="1327"/>
                  <a:pt x="605" y="1298"/>
                </a:cubicBezTo>
                <a:cubicBezTo>
                  <a:pt x="1057" y="665"/>
                  <a:pt x="1057" y="665"/>
                  <a:pt x="1057" y="665"/>
                </a:cubicBezTo>
                <a:cubicBezTo>
                  <a:pt x="1075" y="641"/>
                  <a:pt x="1069" y="606"/>
                  <a:pt x="1044" y="589"/>
                </a:cubicBezTo>
                <a:cubicBezTo>
                  <a:pt x="1035" y="582"/>
                  <a:pt x="1024" y="579"/>
                  <a:pt x="1013" y="579"/>
                </a:cubicBezTo>
                <a:cubicBezTo>
                  <a:pt x="681" y="579"/>
                  <a:pt x="681" y="579"/>
                  <a:pt x="681" y="579"/>
                </a:cubicBezTo>
                <a:cubicBezTo>
                  <a:pt x="896" y="0"/>
                  <a:pt x="896" y="0"/>
                  <a:pt x="896" y="0"/>
                </a:cubicBezTo>
                <a:cubicBezTo>
                  <a:pt x="843" y="0"/>
                  <a:pt x="843" y="0"/>
                  <a:pt x="843" y="0"/>
                </a:cubicBezTo>
                <a:cubicBezTo>
                  <a:pt x="808" y="0"/>
                  <a:pt x="779" y="49"/>
                  <a:pt x="758" y="78"/>
                </a:cubicBezTo>
                <a:cubicBezTo>
                  <a:pt x="328" y="682"/>
                  <a:pt x="328" y="682"/>
                  <a:pt x="328" y="682"/>
                </a:cubicBezTo>
                <a:cubicBezTo>
                  <a:pt x="311" y="706"/>
                  <a:pt x="317" y="740"/>
                  <a:pt x="341" y="758"/>
                </a:cubicBezTo>
                <a:cubicBezTo>
                  <a:pt x="350" y="764"/>
                  <a:pt x="362" y="768"/>
                  <a:pt x="373" y="76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0" name="Freeform 125">
            <a:extLst>
              <a:ext uri="{FF2B5EF4-FFF2-40B4-BE49-F238E27FC236}">
                <a16:creationId xmlns:a16="http://schemas.microsoft.com/office/drawing/2014/main" id="{3AF3988D-87EB-4289-9EF1-645DA11736F2}"/>
              </a:ext>
            </a:extLst>
          </p:cNvPr>
          <p:cNvSpPr>
            <a:spLocks/>
          </p:cNvSpPr>
          <p:nvPr/>
        </p:nvSpPr>
        <p:spPr bwMode="gray">
          <a:xfrm>
            <a:off x="8600393" y="4481049"/>
            <a:ext cx="568763" cy="284382"/>
          </a:xfrm>
          <a:custGeom>
            <a:avLst/>
            <a:gdLst>
              <a:gd name="T0" fmla="*/ 1216 w 1536"/>
              <a:gd name="T1" fmla="*/ 640 h 768"/>
              <a:gd name="T2" fmla="*/ 896 w 1536"/>
              <a:gd name="T3" fmla="*/ 640 h 768"/>
              <a:gd name="T4" fmla="*/ 896 w 1536"/>
              <a:gd name="T5" fmla="*/ 128 h 768"/>
              <a:gd name="T6" fmla="*/ 1088 w 1536"/>
              <a:gd name="T7" fmla="*/ 128 h 768"/>
              <a:gd name="T8" fmla="*/ 1088 w 1536"/>
              <a:gd name="T9" fmla="*/ 0 h 768"/>
              <a:gd name="T10" fmla="*/ 0 w 1536"/>
              <a:gd name="T11" fmla="*/ 0 h 768"/>
              <a:gd name="T12" fmla="*/ 0 w 1536"/>
              <a:gd name="T13" fmla="*/ 512 h 768"/>
              <a:gd name="T14" fmla="*/ 256 w 1536"/>
              <a:gd name="T15" fmla="*/ 768 h 768"/>
              <a:gd name="T16" fmla="*/ 1344 w 1536"/>
              <a:gd name="T17" fmla="*/ 768 h 768"/>
              <a:gd name="T18" fmla="*/ 1344 w 1536"/>
              <a:gd name="T19" fmla="*/ 576 h 768"/>
              <a:gd name="T20" fmla="*/ 1536 w 1536"/>
              <a:gd name="T21" fmla="*/ 576 h 768"/>
              <a:gd name="T22" fmla="*/ 1536 w 1536"/>
              <a:gd name="T23" fmla="*/ 192 h 768"/>
              <a:gd name="T24" fmla="*/ 1344 w 1536"/>
              <a:gd name="T25" fmla="*/ 192 h 768"/>
              <a:gd name="T26" fmla="*/ 1344 w 1536"/>
              <a:gd name="T27" fmla="*/ 0 h 768"/>
              <a:gd name="T28" fmla="*/ 1216 w 1536"/>
              <a:gd name="T29" fmla="*/ 0 h 768"/>
              <a:gd name="T30" fmla="*/ 1216 w 1536"/>
              <a:gd name="T31" fmla="*/ 640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36" h="768">
                <a:moveTo>
                  <a:pt x="1216" y="640"/>
                </a:moveTo>
                <a:cubicBezTo>
                  <a:pt x="896" y="640"/>
                  <a:pt x="896" y="640"/>
                  <a:pt x="896" y="640"/>
                </a:cubicBezTo>
                <a:cubicBezTo>
                  <a:pt x="896" y="128"/>
                  <a:pt x="896" y="128"/>
                  <a:pt x="896" y="128"/>
                </a:cubicBezTo>
                <a:cubicBezTo>
                  <a:pt x="1088" y="128"/>
                  <a:pt x="1088" y="128"/>
                  <a:pt x="1088" y="128"/>
                </a:cubicBezTo>
                <a:cubicBezTo>
                  <a:pt x="1088" y="0"/>
                  <a:pt x="1088" y="0"/>
                  <a:pt x="1088" y="0"/>
                </a:cubicBezTo>
                <a:cubicBezTo>
                  <a:pt x="0" y="0"/>
                  <a:pt x="0" y="0"/>
                  <a:pt x="0" y="0"/>
                </a:cubicBezTo>
                <a:cubicBezTo>
                  <a:pt x="0" y="512"/>
                  <a:pt x="0" y="512"/>
                  <a:pt x="0" y="512"/>
                </a:cubicBezTo>
                <a:cubicBezTo>
                  <a:pt x="0" y="653"/>
                  <a:pt x="115" y="768"/>
                  <a:pt x="256" y="768"/>
                </a:cubicBezTo>
                <a:cubicBezTo>
                  <a:pt x="1344" y="768"/>
                  <a:pt x="1344" y="768"/>
                  <a:pt x="1344" y="768"/>
                </a:cubicBezTo>
                <a:cubicBezTo>
                  <a:pt x="1344" y="576"/>
                  <a:pt x="1344" y="576"/>
                  <a:pt x="1344" y="576"/>
                </a:cubicBezTo>
                <a:cubicBezTo>
                  <a:pt x="1536" y="576"/>
                  <a:pt x="1536" y="576"/>
                  <a:pt x="1536" y="576"/>
                </a:cubicBezTo>
                <a:cubicBezTo>
                  <a:pt x="1536" y="192"/>
                  <a:pt x="1536" y="192"/>
                  <a:pt x="1536" y="192"/>
                </a:cubicBezTo>
                <a:cubicBezTo>
                  <a:pt x="1344" y="192"/>
                  <a:pt x="1344" y="192"/>
                  <a:pt x="1344" y="192"/>
                </a:cubicBezTo>
                <a:cubicBezTo>
                  <a:pt x="1344" y="0"/>
                  <a:pt x="1344" y="0"/>
                  <a:pt x="1344" y="0"/>
                </a:cubicBezTo>
                <a:cubicBezTo>
                  <a:pt x="1216" y="0"/>
                  <a:pt x="1216" y="0"/>
                  <a:pt x="1216" y="0"/>
                </a:cubicBezTo>
                <a:lnTo>
                  <a:pt x="1216" y="64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1" name="Freeform 18">
            <a:extLst>
              <a:ext uri="{FF2B5EF4-FFF2-40B4-BE49-F238E27FC236}">
                <a16:creationId xmlns:a16="http://schemas.microsoft.com/office/drawing/2014/main" id="{73EA4244-B6C5-4BC9-A8D7-14A8729A1111}"/>
              </a:ext>
            </a:extLst>
          </p:cNvPr>
          <p:cNvSpPr>
            <a:spLocks noEditPoints="1"/>
          </p:cNvSpPr>
          <p:nvPr/>
        </p:nvSpPr>
        <p:spPr bwMode="gray">
          <a:xfrm>
            <a:off x="896414" y="5606883"/>
            <a:ext cx="396875" cy="396875"/>
          </a:xfrm>
          <a:custGeom>
            <a:avLst/>
            <a:gdLst>
              <a:gd name="T0" fmla="*/ 1280 w 1280"/>
              <a:gd name="T1" fmla="*/ 0 h 1280"/>
              <a:gd name="T2" fmla="*/ 284 w 1280"/>
              <a:gd name="T3" fmla="*/ 0 h 1280"/>
              <a:gd name="T4" fmla="*/ 0 w 1280"/>
              <a:gd name="T5" fmla="*/ 284 h 1280"/>
              <a:gd name="T6" fmla="*/ 0 w 1280"/>
              <a:gd name="T7" fmla="*/ 996 h 1280"/>
              <a:gd name="T8" fmla="*/ 284 w 1280"/>
              <a:gd name="T9" fmla="*/ 1280 h 1280"/>
              <a:gd name="T10" fmla="*/ 996 w 1280"/>
              <a:gd name="T11" fmla="*/ 1280 h 1280"/>
              <a:gd name="T12" fmla="*/ 1280 w 1280"/>
              <a:gd name="T13" fmla="*/ 996 h 1280"/>
              <a:gd name="T14" fmla="*/ 1280 w 1280"/>
              <a:gd name="T15" fmla="*/ 0 h 1280"/>
              <a:gd name="T16" fmla="*/ 512 w 1280"/>
              <a:gd name="T17" fmla="*/ 1024 h 1280"/>
              <a:gd name="T18" fmla="*/ 512 w 1280"/>
              <a:gd name="T19" fmla="*/ 256 h 1280"/>
              <a:gd name="T20" fmla="*/ 896 w 1280"/>
              <a:gd name="T21" fmla="*/ 640 h 1280"/>
              <a:gd name="T22" fmla="*/ 512 w 1280"/>
              <a:gd name="T23" fmla="*/ 1024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80" h="1280">
                <a:moveTo>
                  <a:pt x="1280" y="0"/>
                </a:moveTo>
                <a:cubicBezTo>
                  <a:pt x="284" y="0"/>
                  <a:pt x="284" y="0"/>
                  <a:pt x="284" y="0"/>
                </a:cubicBezTo>
                <a:cubicBezTo>
                  <a:pt x="127" y="0"/>
                  <a:pt x="0" y="127"/>
                  <a:pt x="0" y="284"/>
                </a:cubicBezTo>
                <a:cubicBezTo>
                  <a:pt x="0" y="996"/>
                  <a:pt x="0" y="996"/>
                  <a:pt x="0" y="996"/>
                </a:cubicBezTo>
                <a:cubicBezTo>
                  <a:pt x="0" y="1153"/>
                  <a:pt x="127" y="1280"/>
                  <a:pt x="284" y="1280"/>
                </a:cubicBezTo>
                <a:cubicBezTo>
                  <a:pt x="996" y="1280"/>
                  <a:pt x="996" y="1280"/>
                  <a:pt x="996" y="1280"/>
                </a:cubicBezTo>
                <a:cubicBezTo>
                  <a:pt x="1153" y="1280"/>
                  <a:pt x="1280" y="1153"/>
                  <a:pt x="1280" y="996"/>
                </a:cubicBezTo>
                <a:lnTo>
                  <a:pt x="1280" y="0"/>
                </a:lnTo>
                <a:close/>
                <a:moveTo>
                  <a:pt x="512" y="1024"/>
                </a:moveTo>
                <a:cubicBezTo>
                  <a:pt x="512" y="256"/>
                  <a:pt x="512" y="256"/>
                  <a:pt x="512" y="256"/>
                </a:cubicBezTo>
                <a:cubicBezTo>
                  <a:pt x="896" y="640"/>
                  <a:pt x="896" y="640"/>
                  <a:pt x="896" y="640"/>
                </a:cubicBezTo>
                <a:lnTo>
                  <a:pt x="512" y="102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2" name="Freeform 22">
            <a:extLst>
              <a:ext uri="{FF2B5EF4-FFF2-40B4-BE49-F238E27FC236}">
                <a16:creationId xmlns:a16="http://schemas.microsoft.com/office/drawing/2014/main" id="{C6AA49F4-A949-407B-B96B-C0DCFC8C0404}"/>
              </a:ext>
            </a:extLst>
          </p:cNvPr>
          <p:cNvSpPr>
            <a:spLocks noEditPoints="1"/>
          </p:cNvSpPr>
          <p:nvPr/>
        </p:nvSpPr>
        <p:spPr bwMode="gray">
          <a:xfrm>
            <a:off x="2007133" y="5606883"/>
            <a:ext cx="395287" cy="396875"/>
          </a:xfrm>
          <a:custGeom>
            <a:avLst/>
            <a:gdLst>
              <a:gd name="T0" fmla="*/ 284 w 1280"/>
              <a:gd name="T1" fmla="*/ 0 h 1280"/>
              <a:gd name="T2" fmla="*/ 0 w 1280"/>
              <a:gd name="T3" fmla="*/ 284 h 1280"/>
              <a:gd name="T4" fmla="*/ 0 w 1280"/>
              <a:gd name="T5" fmla="*/ 996 h 1280"/>
              <a:gd name="T6" fmla="*/ 284 w 1280"/>
              <a:gd name="T7" fmla="*/ 1280 h 1280"/>
              <a:gd name="T8" fmla="*/ 996 w 1280"/>
              <a:gd name="T9" fmla="*/ 1280 h 1280"/>
              <a:gd name="T10" fmla="*/ 1280 w 1280"/>
              <a:gd name="T11" fmla="*/ 996 h 1280"/>
              <a:gd name="T12" fmla="*/ 1280 w 1280"/>
              <a:gd name="T13" fmla="*/ 0 h 1280"/>
              <a:gd name="T14" fmla="*/ 284 w 1280"/>
              <a:gd name="T15" fmla="*/ 0 h 1280"/>
              <a:gd name="T16" fmla="*/ 576 w 1280"/>
              <a:gd name="T17" fmla="*/ 960 h 1280"/>
              <a:gd name="T18" fmla="*/ 384 w 1280"/>
              <a:gd name="T19" fmla="*/ 960 h 1280"/>
              <a:gd name="T20" fmla="*/ 384 w 1280"/>
              <a:gd name="T21" fmla="*/ 320 h 1280"/>
              <a:gd name="T22" fmla="*/ 576 w 1280"/>
              <a:gd name="T23" fmla="*/ 320 h 1280"/>
              <a:gd name="T24" fmla="*/ 576 w 1280"/>
              <a:gd name="T25" fmla="*/ 960 h 1280"/>
              <a:gd name="T26" fmla="*/ 896 w 1280"/>
              <a:gd name="T27" fmla="*/ 960 h 1280"/>
              <a:gd name="T28" fmla="*/ 704 w 1280"/>
              <a:gd name="T29" fmla="*/ 960 h 1280"/>
              <a:gd name="T30" fmla="*/ 704 w 1280"/>
              <a:gd name="T31" fmla="*/ 320 h 1280"/>
              <a:gd name="T32" fmla="*/ 896 w 1280"/>
              <a:gd name="T33" fmla="*/ 320 h 1280"/>
              <a:gd name="T34" fmla="*/ 896 w 1280"/>
              <a:gd name="T35" fmla="*/ 960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0" h="1280">
                <a:moveTo>
                  <a:pt x="284" y="0"/>
                </a:moveTo>
                <a:cubicBezTo>
                  <a:pt x="127" y="0"/>
                  <a:pt x="0" y="127"/>
                  <a:pt x="0" y="284"/>
                </a:cubicBezTo>
                <a:cubicBezTo>
                  <a:pt x="0" y="996"/>
                  <a:pt x="0" y="996"/>
                  <a:pt x="0" y="996"/>
                </a:cubicBezTo>
                <a:cubicBezTo>
                  <a:pt x="0" y="1153"/>
                  <a:pt x="127" y="1280"/>
                  <a:pt x="284" y="1280"/>
                </a:cubicBezTo>
                <a:cubicBezTo>
                  <a:pt x="996" y="1280"/>
                  <a:pt x="996" y="1280"/>
                  <a:pt x="996" y="1280"/>
                </a:cubicBezTo>
                <a:cubicBezTo>
                  <a:pt x="1153" y="1280"/>
                  <a:pt x="1280" y="1153"/>
                  <a:pt x="1280" y="996"/>
                </a:cubicBezTo>
                <a:cubicBezTo>
                  <a:pt x="1280" y="0"/>
                  <a:pt x="1280" y="0"/>
                  <a:pt x="1280" y="0"/>
                </a:cubicBezTo>
                <a:lnTo>
                  <a:pt x="284" y="0"/>
                </a:lnTo>
                <a:close/>
                <a:moveTo>
                  <a:pt x="576" y="960"/>
                </a:moveTo>
                <a:cubicBezTo>
                  <a:pt x="384" y="960"/>
                  <a:pt x="384" y="960"/>
                  <a:pt x="384" y="960"/>
                </a:cubicBezTo>
                <a:cubicBezTo>
                  <a:pt x="384" y="320"/>
                  <a:pt x="384" y="320"/>
                  <a:pt x="384" y="320"/>
                </a:cubicBezTo>
                <a:cubicBezTo>
                  <a:pt x="576" y="320"/>
                  <a:pt x="576" y="320"/>
                  <a:pt x="576" y="320"/>
                </a:cubicBezTo>
                <a:lnTo>
                  <a:pt x="576" y="960"/>
                </a:lnTo>
                <a:close/>
                <a:moveTo>
                  <a:pt x="896" y="960"/>
                </a:moveTo>
                <a:cubicBezTo>
                  <a:pt x="704" y="960"/>
                  <a:pt x="704" y="960"/>
                  <a:pt x="704" y="960"/>
                </a:cubicBezTo>
                <a:cubicBezTo>
                  <a:pt x="704" y="320"/>
                  <a:pt x="704" y="320"/>
                  <a:pt x="704" y="320"/>
                </a:cubicBezTo>
                <a:cubicBezTo>
                  <a:pt x="896" y="320"/>
                  <a:pt x="896" y="320"/>
                  <a:pt x="896" y="320"/>
                </a:cubicBezTo>
                <a:lnTo>
                  <a:pt x="896" y="9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3" name="Freeform 26">
            <a:extLst>
              <a:ext uri="{FF2B5EF4-FFF2-40B4-BE49-F238E27FC236}">
                <a16:creationId xmlns:a16="http://schemas.microsoft.com/office/drawing/2014/main" id="{B965AB5A-76FC-4318-B0DF-295B5B1BB481}"/>
              </a:ext>
            </a:extLst>
          </p:cNvPr>
          <p:cNvSpPr>
            <a:spLocks noEditPoints="1"/>
          </p:cNvSpPr>
          <p:nvPr/>
        </p:nvSpPr>
        <p:spPr bwMode="gray">
          <a:xfrm>
            <a:off x="3119672" y="5607676"/>
            <a:ext cx="396875" cy="395288"/>
          </a:xfrm>
          <a:custGeom>
            <a:avLst/>
            <a:gdLst>
              <a:gd name="T0" fmla="*/ 284 w 1280"/>
              <a:gd name="T1" fmla="*/ 0 h 1280"/>
              <a:gd name="T2" fmla="*/ 0 w 1280"/>
              <a:gd name="T3" fmla="*/ 284 h 1280"/>
              <a:gd name="T4" fmla="*/ 0 w 1280"/>
              <a:gd name="T5" fmla="*/ 996 h 1280"/>
              <a:gd name="T6" fmla="*/ 284 w 1280"/>
              <a:gd name="T7" fmla="*/ 1280 h 1280"/>
              <a:gd name="T8" fmla="*/ 996 w 1280"/>
              <a:gd name="T9" fmla="*/ 1280 h 1280"/>
              <a:gd name="T10" fmla="*/ 1280 w 1280"/>
              <a:gd name="T11" fmla="*/ 996 h 1280"/>
              <a:gd name="T12" fmla="*/ 1280 w 1280"/>
              <a:gd name="T13" fmla="*/ 0 h 1280"/>
              <a:gd name="T14" fmla="*/ 284 w 1280"/>
              <a:gd name="T15" fmla="*/ 0 h 1280"/>
              <a:gd name="T16" fmla="*/ 896 w 1280"/>
              <a:gd name="T17" fmla="*/ 896 h 1280"/>
              <a:gd name="T18" fmla="*/ 384 w 1280"/>
              <a:gd name="T19" fmla="*/ 896 h 1280"/>
              <a:gd name="T20" fmla="*/ 384 w 1280"/>
              <a:gd name="T21" fmla="*/ 384 h 1280"/>
              <a:gd name="T22" fmla="*/ 896 w 1280"/>
              <a:gd name="T23" fmla="*/ 384 h 1280"/>
              <a:gd name="T24" fmla="*/ 896 w 1280"/>
              <a:gd name="T25" fmla="*/ 896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80" h="1280">
                <a:moveTo>
                  <a:pt x="284" y="0"/>
                </a:moveTo>
                <a:cubicBezTo>
                  <a:pt x="127" y="0"/>
                  <a:pt x="0" y="127"/>
                  <a:pt x="0" y="284"/>
                </a:cubicBezTo>
                <a:cubicBezTo>
                  <a:pt x="0" y="996"/>
                  <a:pt x="0" y="996"/>
                  <a:pt x="0" y="996"/>
                </a:cubicBezTo>
                <a:cubicBezTo>
                  <a:pt x="0" y="1153"/>
                  <a:pt x="127" y="1280"/>
                  <a:pt x="284" y="1280"/>
                </a:cubicBezTo>
                <a:cubicBezTo>
                  <a:pt x="996" y="1280"/>
                  <a:pt x="996" y="1280"/>
                  <a:pt x="996" y="1280"/>
                </a:cubicBezTo>
                <a:cubicBezTo>
                  <a:pt x="1153" y="1280"/>
                  <a:pt x="1280" y="1153"/>
                  <a:pt x="1280" y="996"/>
                </a:cubicBezTo>
                <a:cubicBezTo>
                  <a:pt x="1280" y="0"/>
                  <a:pt x="1280" y="0"/>
                  <a:pt x="1280" y="0"/>
                </a:cubicBezTo>
                <a:lnTo>
                  <a:pt x="284" y="0"/>
                </a:lnTo>
                <a:close/>
                <a:moveTo>
                  <a:pt x="896" y="896"/>
                </a:moveTo>
                <a:cubicBezTo>
                  <a:pt x="384" y="896"/>
                  <a:pt x="384" y="896"/>
                  <a:pt x="384" y="896"/>
                </a:cubicBezTo>
                <a:cubicBezTo>
                  <a:pt x="384" y="384"/>
                  <a:pt x="384" y="384"/>
                  <a:pt x="384" y="384"/>
                </a:cubicBezTo>
                <a:cubicBezTo>
                  <a:pt x="896" y="384"/>
                  <a:pt x="896" y="384"/>
                  <a:pt x="896" y="384"/>
                </a:cubicBezTo>
                <a:lnTo>
                  <a:pt x="896" y="89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4" name="Freeform 30">
            <a:extLst>
              <a:ext uri="{FF2B5EF4-FFF2-40B4-BE49-F238E27FC236}">
                <a16:creationId xmlns:a16="http://schemas.microsoft.com/office/drawing/2014/main" id="{189FC15E-607C-45EB-AF91-EA444F4EB201}"/>
              </a:ext>
            </a:extLst>
          </p:cNvPr>
          <p:cNvSpPr>
            <a:spLocks noEditPoints="1"/>
          </p:cNvSpPr>
          <p:nvPr/>
        </p:nvSpPr>
        <p:spPr bwMode="gray">
          <a:xfrm>
            <a:off x="4233005" y="5606883"/>
            <a:ext cx="396875" cy="396875"/>
          </a:xfrm>
          <a:custGeom>
            <a:avLst/>
            <a:gdLst>
              <a:gd name="T0" fmla="*/ 284 w 1280"/>
              <a:gd name="T1" fmla="*/ 0 h 1280"/>
              <a:gd name="T2" fmla="*/ 0 w 1280"/>
              <a:gd name="T3" fmla="*/ 284 h 1280"/>
              <a:gd name="T4" fmla="*/ 0 w 1280"/>
              <a:gd name="T5" fmla="*/ 996 h 1280"/>
              <a:gd name="T6" fmla="*/ 284 w 1280"/>
              <a:gd name="T7" fmla="*/ 1280 h 1280"/>
              <a:gd name="T8" fmla="*/ 996 w 1280"/>
              <a:gd name="T9" fmla="*/ 1280 h 1280"/>
              <a:gd name="T10" fmla="*/ 1280 w 1280"/>
              <a:gd name="T11" fmla="*/ 996 h 1280"/>
              <a:gd name="T12" fmla="*/ 1280 w 1280"/>
              <a:gd name="T13" fmla="*/ 0 h 1280"/>
              <a:gd name="T14" fmla="*/ 284 w 1280"/>
              <a:gd name="T15" fmla="*/ 0 h 1280"/>
              <a:gd name="T16" fmla="*/ 384 w 1280"/>
              <a:gd name="T17" fmla="*/ 256 h 1280"/>
              <a:gd name="T18" fmla="*/ 576 w 1280"/>
              <a:gd name="T19" fmla="*/ 256 h 1280"/>
              <a:gd name="T20" fmla="*/ 576 w 1280"/>
              <a:gd name="T21" fmla="*/ 576 h 1280"/>
              <a:gd name="T22" fmla="*/ 896 w 1280"/>
              <a:gd name="T23" fmla="*/ 256 h 1280"/>
              <a:gd name="T24" fmla="*/ 896 w 1280"/>
              <a:gd name="T25" fmla="*/ 1024 h 1280"/>
              <a:gd name="T26" fmla="*/ 576 w 1280"/>
              <a:gd name="T27" fmla="*/ 704 h 1280"/>
              <a:gd name="T28" fmla="*/ 576 w 1280"/>
              <a:gd name="T29" fmla="*/ 1024 h 1280"/>
              <a:gd name="T30" fmla="*/ 384 w 1280"/>
              <a:gd name="T31" fmla="*/ 1024 h 1280"/>
              <a:gd name="T32" fmla="*/ 384 w 1280"/>
              <a:gd name="T33" fmla="*/ 256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80" h="1280">
                <a:moveTo>
                  <a:pt x="284" y="0"/>
                </a:moveTo>
                <a:cubicBezTo>
                  <a:pt x="127" y="0"/>
                  <a:pt x="0" y="127"/>
                  <a:pt x="0" y="284"/>
                </a:cubicBezTo>
                <a:cubicBezTo>
                  <a:pt x="0" y="996"/>
                  <a:pt x="0" y="996"/>
                  <a:pt x="0" y="996"/>
                </a:cubicBezTo>
                <a:cubicBezTo>
                  <a:pt x="0" y="1153"/>
                  <a:pt x="127" y="1280"/>
                  <a:pt x="284" y="1280"/>
                </a:cubicBezTo>
                <a:cubicBezTo>
                  <a:pt x="996" y="1280"/>
                  <a:pt x="996" y="1280"/>
                  <a:pt x="996" y="1280"/>
                </a:cubicBezTo>
                <a:cubicBezTo>
                  <a:pt x="1153" y="1280"/>
                  <a:pt x="1280" y="1153"/>
                  <a:pt x="1280" y="996"/>
                </a:cubicBezTo>
                <a:cubicBezTo>
                  <a:pt x="1280" y="0"/>
                  <a:pt x="1280" y="0"/>
                  <a:pt x="1280" y="0"/>
                </a:cubicBezTo>
                <a:lnTo>
                  <a:pt x="284" y="0"/>
                </a:lnTo>
                <a:close/>
                <a:moveTo>
                  <a:pt x="384" y="256"/>
                </a:moveTo>
                <a:cubicBezTo>
                  <a:pt x="576" y="256"/>
                  <a:pt x="576" y="256"/>
                  <a:pt x="576" y="256"/>
                </a:cubicBezTo>
                <a:cubicBezTo>
                  <a:pt x="576" y="576"/>
                  <a:pt x="576" y="576"/>
                  <a:pt x="576" y="576"/>
                </a:cubicBezTo>
                <a:cubicBezTo>
                  <a:pt x="896" y="256"/>
                  <a:pt x="896" y="256"/>
                  <a:pt x="896" y="256"/>
                </a:cubicBezTo>
                <a:cubicBezTo>
                  <a:pt x="896" y="1024"/>
                  <a:pt x="896" y="1024"/>
                  <a:pt x="896" y="1024"/>
                </a:cubicBezTo>
                <a:cubicBezTo>
                  <a:pt x="576" y="704"/>
                  <a:pt x="576" y="704"/>
                  <a:pt x="576" y="704"/>
                </a:cubicBezTo>
                <a:cubicBezTo>
                  <a:pt x="576" y="1024"/>
                  <a:pt x="576" y="1024"/>
                  <a:pt x="576" y="1024"/>
                </a:cubicBezTo>
                <a:cubicBezTo>
                  <a:pt x="384" y="1024"/>
                  <a:pt x="384" y="1024"/>
                  <a:pt x="384" y="1024"/>
                </a:cubicBezTo>
                <a:lnTo>
                  <a:pt x="384" y="25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5" name="Freeform 34">
            <a:extLst>
              <a:ext uri="{FF2B5EF4-FFF2-40B4-BE49-F238E27FC236}">
                <a16:creationId xmlns:a16="http://schemas.microsoft.com/office/drawing/2014/main" id="{1A786DDF-7B11-4EE0-940B-A15E80A43FA2}"/>
              </a:ext>
            </a:extLst>
          </p:cNvPr>
          <p:cNvSpPr>
            <a:spLocks noEditPoints="1"/>
          </p:cNvSpPr>
          <p:nvPr/>
        </p:nvSpPr>
        <p:spPr bwMode="gray">
          <a:xfrm>
            <a:off x="5346338" y="5607677"/>
            <a:ext cx="396875" cy="395287"/>
          </a:xfrm>
          <a:custGeom>
            <a:avLst/>
            <a:gdLst>
              <a:gd name="T0" fmla="*/ 284 w 1280"/>
              <a:gd name="T1" fmla="*/ 0 h 1280"/>
              <a:gd name="T2" fmla="*/ 0 w 1280"/>
              <a:gd name="T3" fmla="*/ 284 h 1280"/>
              <a:gd name="T4" fmla="*/ 0 w 1280"/>
              <a:gd name="T5" fmla="*/ 996 h 1280"/>
              <a:gd name="T6" fmla="*/ 284 w 1280"/>
              <a:gd name="T7" fmla="*/ 1280 h 1280"/>
              <a:gd name="T8" fmla="*/ 996 w 1280"/>
              <a:gd name="T9" fmla="*/ 1280 h 1280"/>
              <a:gd name="T10" fmla="*/ 1280 w 1280"/>
              <a:gd name="T11" fmla="*/ 996 h 1280"/>
              <a:gd name="T12" fmla="*/ 1280 w 1280"/>
              <a:gd name="T13" fmla="*/ 0 h 1280"/>
              <a:gd name="T14" fmla="*/ 284 w 1280"/>
              <a:gd name="T15" fmla="*/ 0 h 1280"/>
              <a:gd name="T16" fmla="*/ 896 w 1280"/>
              <a:gd name="T17" fmla="*/ 1024 h 1280"/>
              <a:gd name="T18" fmla="*/ 704 w 1280"/>
              <a:gd name="T19" fmla="*/ 1024 h 1280"/>
              <a:gd name="T20" fmla="*/ 704 w 1280"/>
              <a:gd name="T21" fmla="*/ 704 h 1280"/>
              <a:gd name="T22" fmla="*/ 384 w 1280"/>
              <a:gd name="T23" fmla="*/ 1024 h 1280"/>
              <a:gd name="T24" fmla="*/ 384 w 1280"/>
              <a:gd name="T25" fmla="*/ 256 h 1280"/>
              <a:gd name="T26" fmla="*/ 704 w 1280"/>
              <a:gd name="T27" fmla="*/ 576 h 1280"/>
              <a:gd name="T28" fmla="*/ 704 w 1280"/>
              <a:gd name="T29" fmla="*/ 256 h 1280"/>
              <a:gd name="T30" fmla="*/ 896 w 1280"/>
              <a:gd name="T31" fmla="*/ 256 h 1280"/>
              <a:gd name="T32" fmla="*/ 896 w 1280"/>
              <a:gd name="T33" fmla="*/ 1024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80" h="1280">
                <a:moveTo>
                  <a:pt x="284" y="0"/>
                </a:moveTo>
                <a:cubicBezTo>
                  <a:pt x="127" y="0"/>
                  <a:pt x="0" y="127"/>
                  <a:pt x="0" y="284"/>
                </a:cubicBezTo>
                <a:cubicBezTo>
                  <a:pt x="0" y="996"/>
                  <a:pt x="0" y="996"/>
                  <a:pt x="0" y="996"/>
                </a:cubicBezTo>
                <a:cubicBezTo>
                  <a:pt x="0" y="1153"/>
                  <a:pt x="127" y="1280"/>
                  <a:pt x="284" y="1280"/>
                </a:cubicBezTo>
                <a:cubicBezTo>
                  <a:pt x="996" y="1280"/>
                  <a:pt x="996" y="1280"/>
                  <a:pt x="996" y="1280"/>
                </a:cubicBezTo>
                <a:cubicBezTo>
                  <a:pt x="1153" y="1280"/>
                  <a:pt x="1280" y="1153"/>
                  <a:pt x="1280" y="996"/>
                </a:cubicBezTo>
                <a:cubicBezTo>
                  <a:pt x="1280" y="0"/>
                  <a:pt x="1280" y="0"/>
                  <a:pt x="1280" y="0"/>
                </a:cubicBezTo>
                <a:lnTo>
                  <a:pt x="284" y="0"/>
                </a:lnTo>
                <a:close/>
                <a:moveTo>
                  <a:pt x="896" y="1024"/>
                </a:moveTo>
                <a:cubicBezTo>
                  <a:pt x="704" y="1024"/>
                  <a:pt x="704" y="1024"/>
                  <a:pt x="704" y="1024"/>
                </a:cubicBezTo>
                <a:cubicBezTo>
                  <a:pt x="704" y="704"/>
                  <a:pt x="704" y="704"/>
                  <a:pt x="704" y="704"/>
                </a:cubicBezTo>
                <a:cubicBezTo>
                  <a:pt x="384" y="1024"/>
                  <a:pt x="384" y="1024"/>
                  <a:pt x="384" y="1024"/>
                </a:cubicBezTo>
                <a:cubicBezTo>
                  <a:pt x="384" y="256"/>
                  <a:pt x="384" y="256"/>
                  <a:pt x="384" y="256"/>
                </a:cubicBezTo>
                <a:cubicBezTo>
                  <a:pt x="704" y="576"/>
                  <a:pt x="704" y="576"/>
                  <a:pt x="704" y="576"/>
                </a:cubicBezTo>
                <a:cubicBezTo>
                  <a:pt x="704" y="256"/>
                  <a:pt x="704" y="256"/>
                  <a:pt x="704" y="256"/>
                </a:cubicBezTo>
                <a:cubicBezTo>
                  <a:pt x="896" y="256"/>
                  <a:pt x="896" y="256"/>
                  <a:pt x="896" y="256"/>
                </a:cubicBezTo>
                <a:lnTo>
                  <a:pt x="896" y="102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6" name="Freeform 38">
            <a:extLst>
              <a:ext uri="{FF2B5EF4-FFF2-40B4-BE49-F238E27FC236}">
                <a16:creationId xmlns:a16="http://schemas.microsoft.com/office/drawing/2014/main" id="{BD838B06-55EC-4618-91C6-6525A84B8E51}"/>
              </a:ext>
            </a:extLst>
          </p:cNvPr>
          <p:cNvSpPr>
            <a:spLocks noEditPoints="1"/>
          </p:cNvSpPr>
          <p:nvPr/>
        </p:nvSpPr>
        <p:spPr bwMode="gray">
          <a:xfrm>
            <a:off x="6459671" y="5607677"/>
            <a:ext cx="396875" cy="395287"/>
          </a:xfrm>
          <a:custGeom>
            <a:avLst/>
            <a:gdLst>
              <a:gd name="T0" fmla="*/ 996 w 1280"/>
              <a:gd name="T1" fmla="*/ 1280 h 1280"/>
              <a:gd name="T2" fmla="*/ 1280 w 1280"/>
              <a:gd name="T3" fmla="*/ 996 h 1280"/>
              <a:gd name="T4" fmla="*/ 1280 w 1280"/>
              <a:gd name="T5" fmla="*/ 0 h 1280"/>
              <a:gd name="T6" fmla="*/ 284 w 1280"/>
              <a:gd name="T7" fmla="*/ 0 h 1280"/>
              <a:gd name="T8" fmla="*/ 0 w 1280"/>
              <a:gd name="T9" fmla="*/ 284 h 1280"/>
              <a:gd name="T10" fmla="*/ 0 w 1280"/>
              <a:gd name="T11" fmla="*/ 1024 h 1280"/>
              <a:gd name="T12" fmla="*/ 256 w 1280"/>
              <a:gd name="T13" fmla="*/ 1280 h 1280"/>
              <a:gd name="T14" fmla="*/ 996 w 1280"/>
              <a:gd name="T15" fmla="*/ 1280 h 1280"/>
              <a:gd name="T16" fmla="*/ 640 w 1280"/>
              <a:gd name="T17" fmla="*/ 256 h 1280"/>
              <a:gd name="T18" fmla="*/ 640 w 1280"/>
              <a:gd name="T19" fmla="*/ 512 h 1280"/>
              <a:gd name="T20" fmla="*/ 896 w 1280"/>
              <a:gd name="T21" fmla="*/ 256 h 1280"/>
              <a:gd name="T22" fmla="*/ 896 w 1280"/>
              <a:gd name="T23" fmla="*/ 1024 h 1280"/>
              <a:gd name="T24" fmla="*/ 640 w 1280"/>
              <a:gd name="T25" fmla="*/ 768 h 1280"/>
              <a:gd name="T26" fmla="*/ 640 w 1280"/>
              <a:gd name="T27" fmla="*/ 1024 h 1280"/>
              <a:gd name="T28" fmla="*/ 256 w 1280"/>
              <a:gd name="T29" fmla="*/ 640 h 1280"/>
              <a:gd name="T30" fmla="*/ 640 w 1280"/>
              <a:gd name="T31" fmla="*/ 256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0" h="1280">
                <a:moveTo>
                  <a:pt x="996" y="1280"/>
                </a:moveTo>
                <a:cubicBezTo>
                  <a:pt x="1153" y="1280"/>
                  <a:pt x="1280" y="1153"/>
                  <a:pt x="1280" y="996"/>
                </a:cubicBezTo>
                <a:cubicBezTo>
                  <a:pt x="1280" y="0"/>
                  <a:pt x="1280" y="0"/>
                  <a:pt x="1280" y="0"/>
                </a:cubicBezTo>
                <a:cubicBezTo>
                  <a:pt x="284" y="0"/>
                  <a:pt x="284" y="0"/>
                  <a:pt x="284" y="0"/>
                </a:cubicBezTo>
                <a:cubicBezTo>
                  <a:pt x="127" y="0"/>
                  <a:pt x="0" y="127"/>
                  <a:pt x="0" y="284"/>
                </a:cubicBezTo>
                <a:cubicBezTo>
                  <a:pt x="0" y="1024"/>
                  <a:pt x="0" y="1024"/>
                  <a:pt x="0" y="1024"/>
                </a:cubicBezTo>
                <a:cubicBezTo>
                  <a:pt x="0" y="1165"/>
                  <a:pt x="115" y="1280"/>
                  <a:pt x="256" y="1280"/>
                </a:cubicBezTo>
                <a:lnTo>
                  <a:pt x="996" y="1280"/>
                </a:lnTo>
                <a:close/>
                <a:moveTo>
                  <a:pt x="640" y="256"/>
                </a:moveTo>
                <a:cubicBezTo>
                  <a:pt x="640" y="512"/>
                  <a:pt x="640" y="512"/>
                  <a:pt x="640" y="512"/>
                </a:cubicBezTo>
                <a:cubicBezTo>
                  <a:pt x="896" y="256"/>
                  <a:pt x="896" y="256"/>
                  <a:pt x="896" y="256"/>
                </a:cubicBezTo>
                <a:cubicBezTo>
                  <a:pt x="896" y="1024"/>
                  <a:pt x="896" y="1024"/>
                  <a:pt x="896" y="1024"/>
                </a:cubicBezTo>
                <a:cubicBezTo>
                  <a:pt x="640" y="768"/>
                  <a:pt x="640" y="768"/>
                  <a:pt x="640" y="768"/>
                </a:cubicBezTo>
                <a:cubicBezTo>
                  <a:pt x="640" y="1024"/>
                  <a:pt x="640" y="1024"/>
                  <a:pt x="640" y="1024"/>
                </a:cubicBezTo>
                <a:cubicBezTo>
                  <a:pt x="256" y="640"/>
                  <a:pt x="256" y="640"/>
                  <a:pt x="256" y="640"/>
                </a:cubicBezTo>
                <a:lnTo>
                  <a:pt x="640" y="25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7" name="Freeform 42">
            <a:extLst>
              <a:ext uri="{FF2B5EF4-FFF2-40B4-BE49-F238E27FC236}">
                <a16:creationId xmlns:a16="http://schemas.microsoft.com/office/drawing/2014/main" id="{99F0044E-A548-48A3-AFED-EDBA644B8CBA}"/>
              </a:ext>
            </a:extLst>
          </p:cNvPr>
          <p:cNvSpPr>
            <a:spLocks noEditPoints="1"/>
          </p:cNvSpPr>
          <p:nvPr/>
        </p:nvSpPr>
        <p:spPr bwMode="gray">
          <a:xfrm>
            <a:off x="7573004" y="5606883"/>
            <a:ext cx="396875" cy="396875"/>
          </a:xfrm>
          <a:custGeom>
            <a:avLst/>
            <a:gdLst>
              <a:gd name="T0" fmla="*/ 284 w 1280"/>
              <a:gd name="T1" fmla="*/ 0 h 1280"/>
              <a:gd name="T2" fmla="*/ 0 w 1280"/>
              <a:gd name="T3" fmla="*/ 284 h 1280"/>
              <a:gd name="T4" fmla="*/ 0 w 1280"/>
              <a:gd name="T5" fmla="*/ 996 h 1280"/>
              <a:gd name="T6" fmla="*/ 284 w 1280"/>
              <a:gd name="T7" fmla="*/ 1280 h 1280"/>
              <a:gd name="T8" fmla="*/ 996 w 1280"/>
              <a:gd name="T9" fmla="*/ 1280 h 1280"/>
              <a:gd name="T10" fmla="*/ 1280 w 1280"/>
              <a:gd name="T11" fmla="*/ 996 h 1280"/>
              <a:gd name="T12" fmla="*/ 1280 w 1280"/>
              <a:gd name="T13" fmla="*/ 0 h 1280"/>
              <a:gd name="T14" fmla="*/ 284 w 1280"/>
              <a:gd name="T15" fmla="*/ 0 h 1280"/>
              <a:gd name="T16" fmla="*/ 640 w 1280"/>
              <a:gd name="T17" fmla="*/ 1024 h 1280"/>
              <a:gd name="T18" fmla="*/ 640 w 1280"/>
              <a:gd name="T19" fmla="*/ 768 h 1280"/>
              <a:gd name="T20" fmla="*/ 384 w 1280"/>
              <a:gd name="T21" fmla="*/ 1024 h 1280"/>
              <a:gd name="T22" fmla="*/ 384 w 1280"/>
              <a:gd name="T23" fmla="*/ 256 h 1280"/>
              <a:gd name="T24" fmla="*/ 640 w 1280"/>
              <a:gd name="T25" fmla="*/ 512 h 1280"/>
              <a:gd name="T26" fmla="*/ 640 w 1280"/>
              <a:gd name="T27" fmla="*/ 256 h 1280"/>
              <a:gd name="T28" fmla="*/ 1024 w 1280"/>
              <a:gd name="T29" fmla="*/ 640 h 1280"/>
              <a:gd name="T30" fmla="*/ 640 w 1280"/>
              <a:gd name="T31" fmla="*/ 1024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0" h="1280">
                <a:moveTo>
                  <a:pt x="284" y="0"/>
                </a:moveTo>
                <a:cubicBezTo>
                  <a:pt x="127" y="0"/>
                  <a:pt x="0" y="127"/>
                  <a:pt x="0" y="284"/>
                </a:cubicBezTo>
                <a:cubicBezTo>
                  <a:pt x="0" y="996"/>
                  <a:pt x="0" y="996"/>
                  <a:pt x="0" y="996"/>
                </a:cubicBezTo>
                <a:cubicBezTo>
                  <a:pt x="0" y="1153"/>
                  <a:pt x="127" y="1280"/>
                  <a:pt x="284" y="1280"/>
                </a:cubicBezTo>
                <a:cubicBezTo>
                  <a:pt x="996" y="1280"/>
                  <a:pt x="996" y="1280"/>
                  <a:pt x="996" y="1280"/>
                </a:cubicBezTo>
                <a:cubicBezTo>
                  <a:pt x="1153" y="1280"/>
                  <a:pt x="1280" y="1153"/>
                  <a:pt x="1280" y="996"/>
                </a:cubicBezTo>
                <a:cubicBezTo>
                  <a:pt x="1280" y="0"/>
                  <a:pt x="1280" y="0"/>
                  <a:pt x="1280" y="0"/>
                </a:cubicBezTo>
                <a:lnTo>
                  <a:pt x="284" y="0"/>
                </a:lnTo>
                <a:close/>
                <a:moveTo>
                  <a:pt x="640" y="1024"/>
                </a:moveTo>
                <a:cubicBezTo>
                  <a:pt x="640" y="768"/>
                  <a:pt x="640" y="768"/>
                  <a:pt x="640" y="768"/>
                </a:cubicBezTo>
                <a:cubicBezTo>
                  <a:pt x="384" y="1024"/>
                  <a:pt x="384" y="1024"/>
                  <a:pt x="384" y="1024"/>
                </a:cubicBezTo>
                <a:cubicBezTo>
                  <a:pt x="384" y="256"/>
                  <a:pt x="384" y="256"/>
                  <a:pt x="384" y="256"/>
                </a:cubicBezTo>
                <a:cubicBezTo>
                  <a:pt x="640" y="512"/>
                  <a:pt x="640" y="512"/>
                  <a:pt x="640" y="512"/>
                </a:cubicBezTo>
                <a:cubicBezTo>
                  <a:pt x="640" y="256"/>
                  <a:pt x="640" y="256"/>
                  <a:pt x="640" y="256"/>
                </a:cubicBezTo>
                <a:cubicBezTo>
                  <a:pt x="1024" y="640"/>
                  <a:pt x="1024" y="640"/>
                  <a:pt x="1024" y="640"/>
                </a:cubicBezTo>
                <a:lnTo>
                  <a:pt x="640" y="102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8" name="Freeform 46">
            <a:extLst>
              <a:ext uri="{FF2B5EF4-FFF2-40B4-BE49-F238E27FC236}">
                <a16:creationId xmlns:a16="http://schemas.microsoft.com/office/drawing/2014/main" id="{E3CCD59B-F567-4395-94C1-D81D2BFD42A5}"/>
              </a:ext>
            </a:extLst>
          </p:cNvPr>
          <p:cNvSpPr>
            <a:spLocks noEditPoints="1"/>
          </p:cNvSpPr>
          <p:nvPr/>
        </p:nvSpPr>
        <p:spPr bwMode="gray">
          <a:xfrm>
            <a:off x="8686337" y="5606883"/>
            <a:ext cx="396875" cy="396875"/>
          </a:xfrm>
          <a:custGeom>
            <a:avLst/>
            <a:gdLst>
              <a:gd name="T0" fmla="*/ 256 w 1407"/>
              <a:gd name="T1" fmla="*/ 960 h 1408"/>
              <a:gd name="T2" fmla="*/ 6 w 1407"/>
              <a:gd name="T3" fmla="*/ 960 h 1408"/>
              <a:gd name="T4" fmla="*/ 0 w 1407"/>
              <a:gd name="T5" fmla="*/ 954 h 1408"/>
              <a:gd name="T6" fmla="*/ 0 w 1407"/>
              <a:gd name="T7" fmla="*/ 454 h 1408"/>
              <a:gd name="T8" fmla="*/ 6 w 1407"/>
              <a:gd name="T9" fmla="*/ 448 h 1408"/>
              <a:gd name="T10" fmla="*/ 256 w 1407"/>
              <a:gd name="T11" fmla="*/ 448 h 1408"/>
              <a:gd name="T12" fmla="*/ 256 w 1407"/>
              <a:gd name="T13" fmla="*/ 960 h 1408"/>
              <a:gd name="T14" fmla="*/ 320 w 1407"/>
              <a:gd name="T15" fmla="*/ 960 h 1408"/>
              <a:gd name="T16" fmla="*/ 768 w 1407"/>
              <a:gd name="T17" fmla="*/ 1408 h 1408"/>
              <a:gd name="T18" fmla="*/ 768 w 1407"/>
              <a:gd name="T19" fmla="*/ 0 h 1408"/>
              <a:gd name="T20" fmla="*/ 320 w 1407"/>
              <a:gd name="T21" fmla="*/ 448 h 1408"/>
              <a:gd name="T22" fmla="*/ 320 w 1407"/>
              <a:gd name="T23" fmla="*/ 960 h 1408"/>
              <a:gd name="T24" fmla="*/ 938 w 1407"/>
              <a:gd name="T25" fmla="*/ 1075 h 1408"/>
              <a:gd name="T26" fmla="*/ 950 w 1407"/>
              <a:gd name="T27" fmla="*/ 1063 h 1408"/>
              <a:gd name="T28" fmla="*/ 1066 w 1407"/>
              <a:gd name="T29" fmla="*/ 877 h 1408"/>
              <a:gd name="T30" fmla="*/ 942 w 1407"/>
              <a:gd name="T31" fmla="*/ 337 h 1408"/>
              <a:gd name="T32" fmla="*/ 938 w 1407"/>
              <a:gd name="T33" fmla="*/ 333 h 1408"/>
              <a:gd name="T34" fmla="*/ 883 w 1407"/>
              <a:gd name="T35" fmla="*/ 387 h 1408"/>
              <a:gd name="T36" fmla="*/ 895 w 1407"/>
              <a:gd name="T37" fmla="*/ 399 h 1408"/>
              <a:gd name="T38" fmla="*/ 982 w 1407"/>
              <a:gd name="T39" fmla="*/ 525 h 1408"/>
              <a:gd name="T40" fmla="*/ 888 w 1407"/>
              <a:gd name="T41" fmla="*/ 1016 h 1408"/>
              <a:gd name="T42" fmla="*/ 883 w 1407"/>
              <a:gd name="T43" fmla="*/ 1020 h 1408"/>
              <a:gd name="T44" fmla="*/ 938 w 1407"/>
              <a:gd name="T45" fmla="*/ 1075 h 1408"/>
              <a:gd name="T46" fmla="*/ 1119 w 1407"/>
              <a:gd name="T47" fmla="*/ 1256 h 1408"/>
              <a:gd name="T48" fmla="*/ 1132 w 1407"/>
              <a:gd name="T49" fmla="*/ 1243 h 1408"/>
              <a:gd name="T50" fmla="*/ 1306 w 1407"/>
              <a:gd name="T51" fmla="*/ 971 h 1408"/>
              <a:gd name="T52" fmla="*/ 1124 w 1407"/>
              <a:gd name="T53" fmla="*/ 156 h 1408"/>
              <a:gd name="T54" fmla="*/ 1119 w 1407"/>
              <a:gd name="T55" fmla="*/ 152 h 1408"/>
              <a:gd name="T56" fmla="*/ 1064 w 1407"/>
              <a:gd name="T57" fmla="*/ 207 h 1408"/>
              <a:gd name="T58" fmla="*/ 1076 w 1407"/>
              <a:gd name="T59" fmla="*/ 218 h 1408"/>
              <a:gd name="T60" fmla="*/ 1228 w 1407"/>
              <a:gd name="T61" fmla="*/ 448 h 1408"/>
              <a:gd name="T62" fmla="*/ 1069 w 1407"/>
              <a:gd name="T63" fmla="*/ 1197 h 1408"/>
              <a:gd name="T64" fmla="*/ 1065 w 1407"/>
              <a:gd name="T65" fmla="*/ 1202 h 1408"/>
              <a:gd name="T66" fmla="*/ 1119 w 1407"/>
              <a:gd name="T67" fmla="*/ 1256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07" h="1408">
                <a:moveTo>
                  <a:pt x="256" y="960"/>
                </a:moveTo>
                <a:cubicBezTo>
                  <a:pt x="6" y="960"/>
                  <a:pt x="6" y="960"/>
                  <a:pt x="6" y="960"/>
                </a:cubicBezTo>
                <a:cubicBezTo>
                  <a:pt x="3" y="960"/>
                  <a:pt x="0" y="957"/>
                  <a:pt x="0" y="954"/>
                </a:cubicBezTo>
                <a:cubicBezTo>
                  <a:pt x="0" y="454"/>
                  <a:pt x="0" y="454"/>
                  <a:pt x="0" y="454"/>
                </a:cubicBezTo>
                <a:cubicBezTo>
                  <a:pt x="0" y="451"/>
                  <a:pt x="3" y="448"/>
                  <a:pt x="6" y="448"/>
                </a:cubicBezTo>
                <a:cubicBezTo>
                  <a:pt x="256" y="448"/>
                  <a:pt x="256" y="448"/>
                  <a:pt x="256" y="448"/>
                </a:cubicBezTo>
                <a:lnTo>
                  <a:pt x="256" y="960"/>
                </a:lnTo>
                <a:close/>
                <a:moveTo>
                  <a:pt x="320" y="960"/>
                </a:moveTo>
                <a:cubicBezTo>
                  <a:pt x="768" y="1408"/>
                  <a:pt x="768" y="1408"/>
                  <a:pt x="768" y="1408"/>
                </a:cubicBezTo>
                <a:cubicBezTo>
                  <a:pt x="768" y="0"/>
                  <a:pt x="768" y="0"/>
                  <a:pt x="768" y="0"/>
                </a:cubicBezTo>
                <a:cubicBezTo>
                  <a:pt x="320" y="448"/>
                  <a:pt x="320" y="448"/>
                  <a:pt x="320" y="448"/>
                </a:cubicBezTo>
                <a:lnTo>
                  <a:pt x="320" y="960"/>
                </a:lnTo>
                <a:close/>
                <a:moveTo>
                  <a:pt x="938" y="1075"/>
                </a:moveTo>
                <a:cubicBezTo>
                  <a:pt x="950" y="1063"/>
                  <a:pt x="950" y="1063"/>
                  <a:pt x="950" y="1063"/>
                </a:cubicBezTo>
                <a:cubicBezTo>
                  <a:pt x="1002" y="1010"/>
                  <a:pt x="1043" y="947"/>
                  <a:pt x="1066" y="877"/>
                </a:cubicBezTo>
                <a:cubicBezTo>
                  <a:pt x="1131" y="678"/>
                  <a:pt x="1081" y="475"/>
                  <a:pt x="942" y="337"/>
                </a:cubicBezTo>
                <a:cubicBezTo>
                  <a:pt x="938" y="333"/>
                  <a:pt x="938" y="333"/>
                  <a:pt x="938" y="333"/>
                </a:cubicBezTo>
                <a:cubicBezTo>
                  <a:pt x="883" y="387"/>
                  <a:pt x="883" y="387"/>
                  <a:pt x="883" y="387"/>
                </a:cubicBezTo>
                <a:cubicBezTo>
                  <a:pt x="895" y="399"/>
                  <a:pt x="895" y="399"/>
                  <a:pt x="895" y="399"/>
                </a:cubicBezTo>
                <a:cubicBezTo>
                  <a:pt x="932" y="435"/>
                  <a:pt x="963" y="477"/>
                  <a:pt x="982" y="525"/>
                </a:cubicBezTo>
                <a:cubicBezTo>
                  <a:pt x="1054" y="704"/>
                  <a:pt x="1013" y="891"/>
                  <a:pt x="888" y="1016"/>
                </a:cubicBezTo>
                <a:cubicBezTo>
                  <a:pt x="883" y="1020"/>
                  <a:pt x="883" y="1020"/>
                  <a:pt x="883" y="1020"/>
                </a:cubicBezTo>
                <a:lnTo>
                  <a:pt x="938" y="1075"/>
                </a:lnTo>
                <a:close/>
                <a:moveTo>
                  <a:pt x="1119" y="1256"/>
                </a:moveTo>
                <a:cubicBezTo>
                  <a:pt x="1132" y="1243"/>
                  <a:pt x="1132" y="1243"/>
                  <a:pt x="1132" y="1243"/>
                </a:cubicBezTo>
                <a:cubicBezTo>
                  <a:pt x="1208" y="1166"/>
                  <a:pt x="1271" y="1074"/>
                  <a:pt x="1306" y="971"/>
                </a:cubicBezTo>
                <a:cubicBezTo>
                  <a:pt x="1407" y="671"/>
                  <a:pt x="1332" y="365"/>
                  <a:pt x="1124" y="156"/>
                </a:cubicBezTo>
                <a:cubicBezTo>
                  <a:pt x="1119" y="152"/>
                  <a:pt x="1119" y="152"/>
                  <a:pt x="1119" y="152"/>
                </a:cubicBezTo>
                <a:cubicBezTo>
                  <a:pt x="1064" y="207"/>
                  <a:pt x="1064" y="207"/>
                  <a:pt x="1064" y="207"/>
                </a:cubicBezTo>
                <a:cubicBezTo>
                  <a:pt x="1076" y="218"/>
                  <a:pt x="1076" y="218"/>
                  <a:pt x="1076" y="218"/>
                </a:cubicBezTo>
                <a:cubicBezTo>
                  <a:pt x="1142" y="283"/>
                  <a:pt x="1196" y="361"/>
                  <a:pt x="1228" y="448"/>
                </a:cubicBezTo>
                <a:cubicBezTo>
                  <a:pt x="1327" y="723"/>
                  <a:pt x="1261" y="1006"/>
                  <a:pt x="1069" y="1197"/>
                </a:cubicBezTo>
                <a:cubicBezTo>
                  <a:pt x="1065" y="1202"/>
                  <a:pt x="1065" y="1202"/>
                  <a:pt x="1065" y="1202"/>
                </a:cubicBezTo>
                <a:lnTo>
                  <a:pt x="1119" y="125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9" name="Freeform 50">
            <a:extLst>
              <a:ext uri="{FF2B5EF4-FFF2-40B4-BE49-F238E27FC236}">
                <a16:creationId xmlns:a16="http://schemas.microsoft.com/office/drawing/2014/main" id="{BA0FDCD3-A9F9-4423-8DB2-5AE50490ECAC}"/>
              </a:ext>
            </a:extLst>
          </p:cNvPr>
          <p:cNvSpPr>
            <a:spLocks noEditPoints="1"/>
          </p:cNvSpPr>
          <p:nvPr/>
        </p:nvSpPr>
        <p:spPr bwMode="gray">
          <a:xfrm>
            <a:off x="9817926" y="5606883"/>
            <a:ext cx="360363" cy="396875"/>
          </a:xfrm>
          <a:custGeom>
            <a:avLst/>
            <a:gdLst>
              <a:gd name="T0" fmla="*/ 384 w 1280"/>
              <a:gd name="T1" fmla="*/ 800 h 1408"/>
              <a:gd name="T2" fmla="*/ 384 w 1280"/>
              <a:gd name="T3" fmla="*/ 448 h 1408"/>
              <a:gd name="T4" fmla="*/ 832 w 1280"/>
              <a:gd name="T5" fmla="*/ 0 h 1408"/>
              <a:gd name="T6" fmla="*/ 832 w 1280"/>
              <a:gd name="T7" fmla="*/ 352 h 1408"/>
              <a:gd name="T8" fmla="*/ 384 w 1280"/>
              <a:gd name="T9" fmla="*/ 800 h 1408"/>
              <a:gd name="T10" fmla="*/ 192 w 1280"/>
              <a:gd name="T11" fmla="*/ 960 h 1408"/>
              <a:gd name="T12" fmla="*/ 224 w 1280"/>
              <a:gd name="T13" fmla="*/ 960 h 1408"/>
              <a:gd name="T14" fmla="*/ 320 w 1280"/>
              <a:gd name="T15" fmla="*/ 864 h 1408"/>
              <a:gd name="T16" fmla="*/ 320 w 1280"/>
              <a:gd name="T17" fmla="*/ 448 h 1408"/>
              <a:gd name="T18" fmla="*/ 192 w 1280"/>
              <a:gd name="T19" fmla="*/ 448 h 1408"/>
              <a:gd name="T20" fmla="*/ 64 w 1280"/>
              <a:gd name="T21" fmla="*/ 576 h 1408"/>
              <a:gd name="T22" fmla="*/ 64 w 1280"/>
              <a:gd name="T23" fmla="*/ 832 h 1408"/>
              <a:gd name="T24" fmla="*/ 192 w 1280"/>
              <a:gd name="T25" fmla="*/ 960 h 1408"/>
              <a:gd name="T26" fmla="*/ 1280 w 1280"/>
              <a:gd name="T27" fmla="*/ 64 h 1408"/>
              <a:gd name="T28" fmla="*/ 0 w 1280"/>
              <a:gd name="T29" fmla="*/ 1344 h 1408"/>
              <a:gd name="T30" fmla="*/ 192 w 1280"/>
              <a:gd name="T31" fmla="*/ 1344 h 1408"/>
              <a:gd name="T32" fmla="*/ 480 w 1280"/>
              <a:gd name="T33" fmla="*/ 1056 h 1408"/>
              <a:gd name="T34" fmla="*/ 832 w 1280"/>
              <a:gd name="T35" fmla="*/ 1408 h 1408"/>
              <a:gd name="T36" fmla="*/ 832 w 1280"/>
              <a:gd name="T37" fmla="*/ 704 h 1408"/>
              <a:gd name="T38" fmla="*/ 1280 w 1280"/>
              <a:gd name="T39" fmla="*/ 256 h 1408"/>
              <a:gd name="T40" fmla="*/ 1280 w 1280"/>
              <a:gd name="T41" fmla="*/ 64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80" h="1408">
                <a:moveTo>
                  <a:pt x="384" y="800"/>
                </a:moveTo>
                <a:cubicBezTo>
                  <a:pt x="384" y="448"/>
                  <a:pt x="384" y="448"/>
                  <a:pt x="384" y="448"/>
                </a:cubicBezTo>
                <a:cubicBezTo>
                  <a:pt x="832" y="0"/>
                  <a:pt x="832" y="0"/>
                  <a:pt x="832" y="0"/>
                </a:cubicBezTo>
                <a:cubicBezTo>
                  <a:pt x="832" y="352"/>
                  <a:pt x="832" y="352"/>
                  <a:pt x="832" y="352"/>
                </a:cubicBezTo>
                <a:lnTo>
                  <a:pt x="384" y="800"/>
                </a:lnTo>
                <a:close/>
                <a:moveTo>
                  <a:pt x="192" y="960"/>
                </a:moveTo>
                <a:cubicBezTo>
                  <a:pt x="224" y="960"/>
                  <a:pt x="224" y="960"/>
                  <a:pt x="224" y="960"/>
                </a:cubicBezTo>
                <a:cubicBezTo>
                  <a:pt x="320" y="864"/>
                  <a:pt x="320" y="864"/>
                  <a:pt x="320" y="864"/>
                </a:cubicBezTo>
                <a:cubicBezTo>
                  <a:pt x="320" y="448"/>
                  <a:pt x="320" y="448"/>
                  <a:pt x="320" y="448"/>
                </a:cubicBezTo>
                <a:cubicBezTo>
                  <a:pt x="192" y="448"/>
                  <a:pt x="192" y="448"/>
                  <a:pt x="192" y="448"/>
                </a:cubicBezTo>
                <a:cubicBezTo>
                  <a:pt x="121" y="448"/>
                  <a:pt x="64" y="505"/>
                  <a:pt x="64" y="576"/>
                </a:cubicBezTo>
                <a:cubicBezTo>
                  <a:pt x="64" y="832"/>
                  <a:pt x="64" y="832"/>
                  <a:pt x="64" y="832"/>
                </a:cubicBezTo>
                <a:cubicBezTo>
                  <a:pt x="64" y="903"/>
                  <a:pt x="121" y="960"/>
                  <a:pt x="192" y="960"/>
                </a:cubicBezTo>
                <a:close/>
                <a:moveTo>
                  <a:pt x="1280" y="64"/>
                </a:moveTo>
                <a:cubicBezTo>
                  <a:pt x="0" y="1344"/>
                  <a:pt x="0" y="1344"/>
                  <a:pt x="0" y="1344"/>
                </a:cubicBezTo>
                <a:cubicBezTo>
                  <a:pt x="192" y="1344"/>
                  <a:pt x="192" y="1344"/>
                  <a:pt x="192" y="1344"/>
                </a:cubicBezTo>
                <a:cubicBezTo>
                  <a:pt x="480" y="1056"/>
                  <a:pt x="480" y="1056"/>
                  <a:pt x="480" y="1056"/>
                </a:cubicBezTo>
                <a:cubicBezTo>
                  <a:pt x="832" y="1408"/>
                  <a:pt x="832" y="1408"/>
                  <a:pt x="832" y="1408"/>
                </a:cubicBezTo>
                <a:cubicBezTo>
                  <a:pt x="832" y="704"/>
                  <a:pt x="832" y="704"/>
                  <a:pt x="832" y="704"/>
                </a:cubicBezTo>
                <a:cubicBezTo>
                  <a:pt x="1280" y="256"/>
                  <a:pt x="1280" y="256"/>
                  <a:pt x="1280" y="256"/>
                </a:cubicBezTo>
                <a:lnTo>
                  <a:pt x="1280" y="6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0" name="Freeform 54">
            <a:extLst>
              <a:ext uri="{FF2B5EF4-FFF2-40B4-BE49-F238E27FC236}">
                <a16:creationId xmlns:a16="http://schemas.microsoft.com/office/drawing/2014/main" id="{A9860FFC-D5A7-441E-B3B9-3D6ADE1B26FF}"/>
              </a:ext>
            </a:extLst>
          </p:cNvPr>
          <p:cNvSpPr>
            <a:spLocks noEditPoints="1"/>
          </p:cNvSpPr>
          <p:nvPr/>
        </p:nvSpPr>
        <p:spPr bwMode="gray">
          <a:xfrm>
            <a:off x="11000315" y="5606883"/>
            <a:ext cx="222250" cy="396875"/>
          </a:xfrm>
          <a:custGeom>
            <a:avLst/>
            <a:gdLst>
              <a:gd name="T0" fmla="*/ 555 w 854"/>
              <a:gd name="T1" fmla="*/ 1257 h 1536"/>
              <a:gd name="T2" fmla="*/ 555 w 854"/>
              <a:gd name="T3" fmla="*/ 1408 h 1536"/>
              <a:gd name="T4" fmla="*/ 704 w 854"/>
              <a:gd name="T5" fmla="*/ 1408 h 1536"/>
              <a:gd name="T6" fmla="*/ 768 w 854"/>
              <a:gd name="T7" fmla="*/ 1472 h 1536"/>
              <a:gd name="T8" fmla="*/ 768 w 854"/>
              <a:gd name="T9" fmla="*/ 1536 h 1536"/>
              <a:gd name="T10" fmla="*/ 86 w 854"/>
              <a:gd name="T11" fmla="*/ 1536 h 1536"/>
              <a:gd name="T12" fmla="*/ 86 w 854"/>
              <a:gd name="T13" fmla="*/ 1472 h 1536"/>
              <a:gd name="T14" fmla="*/ 150 w 854"/>
              <a:gd name="T15" fmla="*/ 1408 h 1536"/>
              <a:gd name="T16" fmla="*/ 299 w 854"/>
              <a:gd name="T17" fmla="*/ 1408 h 1536"/>
              <a:gd name="T18" fmla="*/ 299 w 854"/>
              <a:gd name="T19" fmla="*/ 1257 h 1536"/>
              <a:gd name="T20" fmla="*/ 0 w 854"/>
              <a:gd name="T21" fmla="*/ 857 h 1536"/>
              <a:gd name="T22" fmla="*/ 0 w 854"/>
              <a:gd name="T23" fmla="*/ 597 h 1536"/>
              <a:gd name="T24" fmla="*/ 128 w 854"/>
              <a:gd name="T25" fmla="*/ 597 h 1536"/>
              <a:gd name="T26" fmla="*/ 128 w 854"/>
              <a:gd name="T27" fmla="*/ 843 h 1536"/>
              <a:gd name="T28" fmla="*/ 331 w 854"/>
              <a:gd name="T29" fmla="*/ 1127 h 1536"/>
              <a:gd name="T30" fmla="*/ 726 w 854"/>
              <a:gd name="T31" fmla="*/ 853 h 1536"/>
              <a:gd name="T32" fmla="*/ 726 w 854"/>
              <a:gd name="T33" fmla="*/ 597 h 1536"/>
              <a:gd name="T34" fmla="*/ 854 w 854"/>
              <a:gd name="T35" fmla="*/ 597 h 1536"/>
              <a:gd name="T36" fmla="*/ 854 w 854"/>
              <a:gd name="T37" fmla="*/ 857 h 1536"/>
              <a:gd name="T38" fmla="*/ 555 w 854"/>
              <a:gd name="T39" fmla="*/ 1257 h 1536"/>
              <a:gd name="T40" fmla="*/ 640 w 854"/>
              <a:gd name="T41" fmla="*/ 811 h 1536"/>
              <a:gd name="T42" fmla="*/ 640 w 854"/>
              <a:gd name="T43" fmla="*/ 214 h 1536"/>
              <a:gd name="T44" fmla="*/ 427 w 854"/>
              <a:gd name="T45" fmla="*/ 0 h 1536"/>
              <a:gd name="T46" fmla="*/ 427 w 854"/>
              <a:gd name="T47" fmla="*/ 0 h 1536"/>
              <a:gd name="T48" fmla="*/ 214 w 854"/>
              <a:gd name="T49" fmla="*/ 214 h 1536"/>
              <a:gd name="T50" fmla="*/ 214 w 854"/>
              <a:gd name="T51" fmla="*/ 811 h 1536"/>
              <a:gd name="T52" fmla="*/ 427 w 854"/>
              <a:gd name="T53" fmla="*/ 1045 h 1536"/>
              <a:gd name="T54" fmla="*/ 427 w 854"/>
              <a:gd name="T55" fmla="*/ 1045 h 1536"/>
              <a:gd name="T56" fmla="*/ 640 w 854"/>
              <a:gd name="T57" fmla="*/ 811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4" h="1536">
                <a:moveTo>
                  <a:pt x="555" y="1257"/>
                </a:moveTo>
                <a:cubicBezTo>
                  <a:pt x="555" y="1408"/>
                  <a:pt x="555" y="1408"/>
                  <a:pt x="555" y="1408"/>
                </a:cubicBezTo>
                <a:cubicBezTo>
                  <a:pt x="704" y="1408"/>
                  <a:pt x="704" y="1408"/>
                  <a:pt x="704" y="1408"/>
                </a:cubicBezTo>
                <a:cubicBezTo>
                  <a:pt x="740" y="1408"/>
                  <a:pt x="768" y="1436"/>
                  <a:pt x="768" y="1472"/>
                </a:cubicBezTo>
                <a:cubicBezTo>
                  <a:pt x="768" y="1536"/>
                  <a:pt x="768" y="1536"/>
                  <a:pt x="768" y="1536"/>
                </a:cubicBezTo>
                <a:cubicBezTo>
                  <a:pt x="86" y="1536"/>
                  <a:pt x="86" y="1536"/>
                  <a:pt x="86" y="1536"/>
                </a:cubicBezTo>
                <a:cubicBezTo>
                  <a:pt x="86" y="1472"/>
                  <a:pt x="86" y="1472"/>
                  <a:pt x="86" y="1472"/>
                </a:cubicBezTo>
                <a:cubicBezTo>
                  <a:pt x="86" y="1436"/>
                  <a:pt x="114" y="1408"/>
                  <a:pt x="150" y="1408"/>
                </a:cubicBezTo>
                <a:cubicBezTo>
                  <a:pt x="299" y="1408"/>
                  <a:pt x="299" y="1408"/>
                  <a:pt x="299" y="1408"/>
                </a:cubicBezTo>
                <a:cubicBezTo>
                  <a:pt x="299" y="1257"/>
                  <a:pt x="299" y="1257"/>
                  <a:pt x="299" y="1257"/>
                </a:cubicBezTo>
                <a:cubicBezTo>
                  <a:pt x="126" y="1203"/>
                  <a:pt x="0" y="1044"/>
                  <a:pt x="0" y="857"/>
                </a:cubicBezTo>
                <a:cubicBezTo>
                  <a:pt x="0" y="597"/>
                  <a:pt x="0" y="597"/>
                  <a:pt x="0" y="597"/>
                </a:cubicBezTo>
                <a:cubicBezTo>
                  <a:pt x="128" y="597"/>
                  <a:pt x="128" y="597"/>
                  <a:pt x="128" y="597"/>
                </a:cubicBezTo>
                <a:cubicBezTo>
                  <a:pt x="128" y="843"/>
                  <a:pt x="128" y="843"/>
                  <a:pt x="128" y="843"/>
                </a:cubicBezTo>
                <a:cubicBezTo>
                  <a:pt x="128" y="971"/>
                  <a:pt x="208" y="1089"/>
                  <a:pt x="331" y="1127"/>
                </a:cubicBezTo>
                <a:cubicBezTo>
                  <a:pt x="536" y="1189"/>
                  <a:pt x="726" y="1042"/>
                  <a:pt x="726" y="853"/>
                </a:cubicBezTo>
                <a:cubicBezTo>
                  <a:pt x="726" y="597"/>
                  <a:pt x="726" y="597"/>
                  <a:pt x="726" y="597"/>
                </a:cubicBezTo>
                <a:cubicBezTo>
                  <a:pt x="854" y="597"/>
                  <a:pt x="854" y="597"/>
                  <a:pt x="854" y="597"/>
                </a:cubicBezTo>
                <a:cubicBezTo>
                  <a:pt x="854" y="857"/>
                  <a:pt x="854" y="857"/>
                  <a:pt x="854" y="857"/>
                </a:cubicBezTo>
                <a:cubicBezTo>
                  <a:pt x="853" y="1044"/>
                  <a:pt x="728" y="1203"/>
                  <a:pt x="555" y="1257"/>
                </a:cubicBezTo>
                <a:close/>
                <a:moveTo>
                  <a:pt x="640" y="811"/>
                </a:moveTo>
                <a:cubicBezTo>
                  <a:pt x="640" y="214"/>
                  <a:pt x="640" y="214"/>
                  <a:pt x="640" y="214"/>
                </a:cubicBezTo>
                <a:cubicBezTo>
                  <a:pt x="640" y="90"/>
                  <a:pt x="551" y="0"/>
                  <a:pt x="427" y="0"/>
                </a:cubicBezTo>
                <a:cubicBezTo>
                  <a:pt x="427" y="0"/>
                  <a:pt x="427" y="0"/>
                  <a:pt x="427" y="0"/>
                </a:cubicBezTo>
                <a:cubicBezTo>
                  <a:pt x="303" y="0"/>
                  <a:pt x="214" y="90"/>
                  <a:pt x="214" y="214"/>
                </a:cubicBezTo>
                <a:cubicBezTo>
                  <a:pt x="214" y="811"/>
                  <a:pt x="214" y="811"/>
                  <a:pt x="214" y="811"/>
                </a:cubicBezTo>
                <a:cubicBezTo>
                  <a:pt x="214" y="934"/>
                  <a:pt x="303" y="1045"/>
                  <a:pt x="427" y="1045"/>
                </a:cubicBezTo>
                <a:cubicBezTo>
                  <a:pt x="427" y="1045"/>
                  <a:pt x="427" y="1045"/>
                  <a:pt x="427" y="1045"/>
                </a:cubicBezTo>
                <a:cubicBezTo>
                  <a:pt x="551" y="1045"/>
                  <a:pt x="640" y="934"/>
                  <a:pt x="640" y="81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21" name="Gruppieren 120">
            <a:extLst>
              <a:ext uri="{FF2B5EF4-FFF2-40B4-BE49-F238E27FC236}">
                <a16:creationId xmlns:a16="http://schemas.microsoft.com/office/drawing/2014/main" id="{B56E9C60-9D7F-4DDB-8F44-8910DD491BB6}"/>
              </a:ext>
            </a:extLst>
          </p:cNvPr>
          <p:cNvGrpSpPr/>
          <p:nvPr/>
        </p:nvGrpSpPr>
        <p:grpSpPr bwMode="gray">
          <a:xfrm>
            <a:off x="767706" y="1974571"/>
            <a:ext cx="654292" cy="605336"/>
            <a:chOff x="776945" y="1956562"/>
            <a:chExt cx="704877" cy="652139"/>
          </a:xfrm>
          <a:solidFill>
            <a:schemeClr val="accent1"/>
          </a:solidFill>
        </p:grpSpPr>
        <p:sp>
          <p:nvSpPr>
            <p:cNvPr id="122" name="Freeform 13">
              <a:extLst>
                <a:ext uri="{FF2B5EF4-FFF2-40B4-BE49-F238E27FC236}">
                  <a16:creationId xmlns:a16="http://schemas.microsoft.com/office/drawing/2014/main" id="{8DCAFA9C-92AE-4642-B021-873A7D20948A}"/>
                </a:ext>
              </a:extLst>
            </p:cNvPr>
            <p:cNvSpPr>
              <a:spLocks noEditPoints="1"/>
            </p:cNvSpPr>
            <p:nvPr/>
          </p:nvSpPr>
          <p:spPr bwMode="gray">
            <a:xfrm>
              <a:off x="776945" y="1956562"/>
              <a:ext cx="587375" cy="454025"/>
            </a:xfrm>
            <a:custGeom>
              <a:avLst/>
              <a:gdLst>
                <a:gd name="T0" fmla="*/ 103 w 176"/>
                <a:gd name="T1" fmla="*/ 112 h 136"/>
                <a:gd name="T2" fmla="*/ 0 w 176"/>
                <a:gd name="T3" fmla="*/ 112 h 136"/>
                <a:gd name="T4" fmla="*/ 0 w 176"/>
                <a:gd name="T5" fmla="*/ 0 h 136"/>
                <a:gd name="T6" fmla="*/ 176 w 176"/>
                <a:gd name="T7" fmla="*/ 0 h 136"/>
                <a:gd name="T8" fmla="*/ 176 w 176"/>
                <a:gd name="T9" fmla="*/ 83 h 136"/>
                <a:gd name="T10" fmla="*/ 103 w 176"/>
                <a:gd name="T11" fmla="*/ 112 h 136"/>
                <a:gd name="T12" fmla="*/ 99 w 176"/>
                <a:gd name="T13" fmla="*/ 120 h 136"/>
                <a:gd name="T14" fmla="*/ 56 w 176"/>
                <a:gd name="T15" fmla="*/ 120 h 136"/>
                <a:gd name="T16" fmla="*/ 56 w 176"/>
                <a:gd name="T17" fmla="*/ 136 h 136"/>
                <a:gd name="T18" fmla="*/ 96 w 176"/>
                <a:gd name="T19" fmla="*/ 136 h 136"/>
                <a:gd name="T20" fmla="*/ 99 w 176"/>
                <a:gd name="T21" fmla="*/ 1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6" h="136">
                  <a:moveTo>
                    <a:pt x="103" y="112"/>
                  </a:moveTo>
                  <a:cubicBezTo>
                    <a:pt x="0" y="112"/>
                    <a:pt x="0" y="112"/>
                    <a:pt x="0" y="112"/>
                  </a:cubicBezTo>
                  <a:cubicBezTo>
                    <a:pt x="0" y="0"/>
                    <a:pt x="0" y="0"/>
                    <a:pt x="0" y="0"/>
                  </a:cubicBezTo>
                  <a:cubicBezTo>
                    <a:pt x="176" y="0"/>
                    <a:pt x="176" y="0"/>
                    <a:pt x="176" y="0"/>
                  </a:cubicBezTo>
                  <a:cubicBezTo>
                    <a:pt x="176" y="83"/>
                    <a:pt x="176" y="83"/>
                    <a:pt x="176" y="83"/>
                  </a:cubicBezTo>
                  <a:cubicBezTo>
                    <a:pt x="148" y="73"/>
                    <a:pt x="117" y="86"/>
                    <a:pt x="103" y="112"/>
                  </a:cubicBezTo>
                  <a:close/>
                  <a:moveTo>
                    <a:pt x="99" y="120"/>
                  </a:moveTo>
                  <a:cubicBezTo>
                    <a:pt x="56" y="120"/>
                    <a:pt x="56" y="120"/>
                    <a:pt x="56" y="120"/>
                  </a:cubicBezTo>
                  <a:cubicBezTo>
                    <a:pt x="56" y="136"/>
                    <a:pt x="56" y="136"/>
                    <a:pt x="56" y="136"/>
                  </a:cubicBezTo>
                  <a:cubicBezTo>
                    <a:pt x="96" y="136"/>
                    <a:pt x="96" y="136"/>
                    <a:pt x="96" y="136"/>
                  </a:cubicBezTo>
                  <a:cubicBezTo>
                    <a:pt x="96" y="131"/>
                    <a:pt x="98" y="125"/>
                    <a:pt x="99" y="1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3" name="Oval 14">
              <a:extLst>
                <a:ext uri="{FF2B5EF4-FFF2-40B4-BE49-F238E27FC236}">
                  <a16:creationId xmlns:a16="http://schemas.microsoft.com/office/drawing/2014/main" id="{6249A1E8-C016-4E70-9F7C-F8E57781D835}"/>
                </a:ext>
              </a:extLst>
            </p:cNvPr>
            <p:cNvSpPr>
              <a:spLocks noChangeArrowheads="1"/>
            </p:cNvSpPr>
            <p:nvPr/>
          </p:nvSpPr>
          <p:spPr bwMode="gray">
            <a:xfrm>
              <a:off x="1134159" y="2261038"/>
              <a:ext cx="347663" cy="3476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15">
              <a:extLst>
                <a:ext uri="{FF2B5EF4-FFF2-40B4-BE49-F238E27FC236}">
                  <a16:creationId xmlns:a16="http://schemas.microsoft.com/office/drawing/2014/main" id="{6B800A1B-5053-4439-BAB0-F6C266AFB2C1}"/>
                </a:ext>
              </a:extLst>
            </p:cNvPr>
            <p:cNvSpPr>
              <a:spLocks/>
            </p:cNvSpPr>
            <p:nvPr/>
          </p:nvSpPr>
          <p:spPr bwMode="gray">
            <a:xfrm>
              <a:off x="1178609" y="2354700"/>
              <a:ext cx="249238" cy="187325"/>
            </a:xfrm>
            <a:custGeom>
              <a:avLst/>
              <a:gdLst>
                <a:gd name="T0" fmla="*/ 75 w 157"/>
                <a:gd name="T1" fmla="*/ 103 h 118"/>
                <a:gd name="T2" fmla="*/ 61 w 157"/>
                <a:gd name="T3" fmla="*/ 118 h 118"/>
                <a:gd name="T4" fmla="*/ 44 w 157"/>
                <a:gd name="T5" fmla="*/ 103 h 118"/>
                <a:gd name="T6" fmla="*/ 0 w 157"/>
                <a:gd name="T7" fmla="*/ 59 h 118"/>
                <a:gd name="T8" fmla="*/ 21 w 157"/>
                <a:gd name="T9" fmla="*/ 38 h 118"/>
                <a:gd name="T10" fmla="*/ 61 w 157"/>
                <a:gd name="T11" fmla="*/ 76 h 118"/>
                <a:gd name="T12" fmla="*/ 136 w 157"/>
                <a:gd name="T13" fmla="*/ 0 h 118"/>
                <a:gd name="T14" fmla="*/ 157 w 157"/>
                <a:gd name="T15" fmla="*/ 21 h 118"/>
                <a:gd name="T16" fmla="*/ 75 w 157"/>
                <a:gd name="T17" fmla="*/ 103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18">
                  <a:moveTo>
                    <a:pt x="75" y="103"/>
                  </a:moveTo>
                  <a:lnTo>
                    <a:pt x="61" y="118"/>
                  </a:lnTo>
                  <a:lnTo>
                    <a:pt x="44" y="103"/>
                  </a:lnTo>
                  <a:lnTo>
                    <a:pt x="0" y="59"/>
                  </a:lnTo>
                  <a:lnTo>
                    <a:pt x="21" y="38"/>
                  </a:lnTo>
                  <a:lnTo>
                    <a:pt x="61" y="76"/>
                  </a:lnTo>
                  <a:lnTo>
                    <a:pt x="136" y="0"/>
                  </a:lnTo>
                  <a:lnTo>
                    <a:pt x="157" y="21"/>
                  </a:lnTo>
                  <a:lnTo>
                    <a:pt x="75" y="103"/>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25" name="Gruppieren 124">
            <a:extLst>
              <a:ext uri="{FF2B5EF4-FFF2-40B4-BE49-F238E27FC236}">
                <a16:creationId xmlns:a16="http://schemas.microsoft.com/office/drawing/2014/main" id="{A454F701-2F35-47CB-B1BF-F04CAF82698D}"/>
              </a:ext>
            </a:extLst>
          </p:cNvPr>
          <p:cNvGrpSpPr/>
          <p:nvPr/>
        </p:nvGrpSpPr>
        <p:grpSpPr bwMode="gray">
          <a:xfrm>
            <a:off x="1885809" y="1984165"/>
            <a:ext cx="637936" cy="586148"/>
            <a:chOff x="3454400" y="1003300"/>
            <a:chExt cx="5280025" cy="4851401"/>
          </a:xfrm>
          <a:solidFill>
            <a:schemeClr val="accent1"/>
          </a:solidFill>
        </p:grpSpPr>
        <p:sp>
          <p:nvSpPr>
            <p:cNvPr id="126" name="Freeform 9">
              <a:extLst>
                <a:ext uri="{FF2B5EF4-FFF2-40B4-BE49-F238E27FC236}">
                  <a16:creationId xmlns:a16="http://schemas.microsoft.com/office/drawing/2014/main" id="{D691A30A-8539-450B-8F3E-6FC187CBD118}"/>
                </a:ext>
              </a:extLst>
            </p:cNvPr>
            <p:cNvSpPr>
              <a:spLocks noEditPoints="1"/>
            </p:cNvSpPr>
            <p:nvPr/>
          </p:nvSpPr>
          <p:spPr bwMode="gray">
            <a:xfrm>
              <a:off x="3575720" y="3068960"/>
              <a:ext cx="695325" cy="641350"/>
            </a:xfrm>
            <a:custGeom>
              <a:avLst/>
              <a:gdLst>
                <a:gd name="T0" fmla="*/ 103 w 208"/>
                <a:gd name="T1" fmla="*/ 112 h 192"/>
                <a:gd name="T2" fmla="*/ 0 w 208"/>
                <a:gd name="T3" fmla="*/ 112 h 192"/>
                <a:gd name="T4" fmla="*/ 0 w 208"/>
                <a:gd name="T5" fmla="*/ 0 h 192"/>
                <a:gd name="T6" fmla="*/ 176 w 208"/>
                <a:gd name="T7" fmla="*/ 0 h 192"/>
                <a:gd name="T8" fmla="*/ 176 w 208"/>
                <a:gd name="T9" fmla="*/ 83 h 192"/>
                <a:gd name="T10" fmla="*/ 103 w 208"/>
                <a:gd name="T11" fmla="*/ 112 h 192"/>
                <a:gd name="T12" fmla="*/ 99 w 208"/>
                <a:gd name="T13" fmla="*/ 120 h 192"/>
                <a:gd name="T14" fmla="*/ 56 w 208"/>
                <a:gd name="T15" fmla="*/ 120 h 192"/>
                <a:gd name="T16" fmla="*/ 56 w 208"/>
                <a:gd name="T17" fmla="*/ 136 h 192"/>
                <a:gd name="T18" fmla="*/ 96 w 208"/>
                <a:gd name="T19" fmla="*/ 136 h 192"/>
                <a:gd name="T20" fmla="*/ 99 w 208"/>
                <a:gd name="T21" fmla="*/ 120 h 192"/>
                <a:gd name="T22" fmla="*/ 208 w 208"/>
                <a:gd name="T23" fmla="*/ 140 h 192"/>
                <a:gd name="T24" fmla="*/ 156 w 208"/>
                <a:gd name="T25" fmla="*/ 192 h 192"/>
                <a:gd name="T26" fmla="*/ 104 w 208"/>
                <a:gd name="T27" fmla="*/ 140 h 192"/>
                <a:gd name="T28" fmla="*/ 156 w 208"/>
                <a:gd name="T29" fmla="*/ 88 h 192"/>
                <a:gd name="T30" fmla="*/ 208 w 208"/>
                <a:gd name="T31" fmla="*/ 140 h 192"/>
                <a:gd name="T32" fmla="*/ 127 w 208"/>
                <a:gd name="T33" fmla="*/ 158 h 192"/>
                <a:gd name="T34" fmla="*/ 174 w 208"/>
                <a:gd name="T35" fmla="*/ 111 h 192"/>
                <a:gd name="T36" fmla="*/ 127 w 208"/>
                <a:gd name="T37" fmla="*/ 122 h 192"/>
                <a:gd name="T38" fmla="*/ 127 w 208"/>
                <a:gd name="T39" fmla="*/ 158 h 192"/>
                <a:gd name="T40" fmla="*/ 185 w 208"/>
                <a:gd name="T41" fmla="*/ 122 h 192"/>
                <a:gd name="T42" fmla="*/ 138 w 208"/>
                <a:gd name="T43" fmla="*/ 169 h 192"/>
                <a:gd name="T44" fmla="*/ 185 w 208"/>
                <a:gd name="T45" fmla="*/ 158 h 192"/>
                <a:gd name="T46" fmla="*/ 185 w 208"/>
                <a:gd name="T47" fmla="*/ 12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8" h="192">
                  <a:moveTo>
                    <a:pt x="103" y="112"/>
                  </a:moveTo>
                  <a:cubicBezTo>
                    <a:pt x="0" y="112"/>
                    <a:pt x="0" y="112"/>
                    <a:pt x="0" y="112"/>
                  </a:cubicBezTo>
                  <a:cubicBezTo>
                    <a:pt x="0" y="0"/>
                    <a:pt x="0" y="0"/>
                    <a:pt x="0" y="0"/>
                  </a:cubicBezTo>
                  <a:cubicBezTo>
                    <a:pt x="176" y="0"/>
                    <a:pt x="176" y="0"/>
                    <a:pt x="176" y="0"/>
                  </a:cubicBezTo>
                  <a:cubicBezTo>
                    <a:pt x="176" y="83"/>
                    <a:pt x="176" y="83"/>
                    <a:pt x="176" y="83"/>
                  </a:cubicBezTo>
                  <a:cubicBezTo>
                    <a:pt x="148" y="73"/>
                    <a:pt x="117" y="86"/>
                    <a:pt x="103" y="112"/>
                  </a:cubicBezTo>
                  <a:close/>
                  <a:moveTo>
                    <a:pt x="99" y="120"/>
                  </a:moveTo>
                  <a:cubicBezTo>
                    <a:pt x="56" y="120"/>
                    <a:pt x="56" y="120"/>
                    <a:pt x="56" y="120"/>
                  </a:cubicBezTo>
                  <a:cubicBezTo>
                    <a:pt x="56" y="136"/>
                    <a:pt x="56" y="136"/>
                    <a:pt x="56" y="136"/>
                  </a:cubicBezTo>
                  <a:cubicBezTo>
                    <a:pt x="96" y="136"/>
                    <a:pt x="96" y="136"/>
                    <a:pt x="96" y="136"/>
                  </a:cubicBezTo>
                  <a:cubicBezTo>
                    <a:pt x="96" y="131"/>
                    <a:pt x="98" y="125"/>
                    <a:pt x="99" y="120"/>
                  </a:cubicBezTo>
                  <a:close/>
                  <a:moveTo>
                    <a:pt x="208" y="140"/>
                  </a:moveTo>
                  <a:cubicBezTo>
                    <a:pt x="208" y="169"/>
                    <a:pt x="185" y="192"/>
                    <a:pt x="156" y="192"/>
                  </a:cubicBezTo>
                  <a:cubicBezTo>
                    <a:pt x="127" y="192"/>
                    <a:pt x="104" y="169"/>
                    <a:pt x="104" y="140"/>
                  </a:cubicBezTo>
                  <a:cubicBezTo>
                    <a:pt x="104" y="111"/>
                    <a:pt x="127" y="88"/>
                    <a:pt x="156" y="88"/>
                  </a:cubicBezTo>
                  <a:cubicBezTo>
                    <a:pt x="185" y="88"/>
                    <a:pt x="208" y="111"/>
                    <a:pt x="208" y="140"/>
                  </a:cubicBezTo>
                  <a:close/>
                  <a:moveTo>
                    <a:pt x="127" y="158"/>
                  </a:moveTo>
                  <a:cubicBezTo>
                    <a:pt x="174" y="111"/>
                    <a:pt x="174" y="111"/>
                    <a:pt x="174" y="111"/>
                  </a:cubicBezTo>
                  <a:cubicBezTo>
                    <a:pt x="158" y="101"/>
                    <a:pt x="137" y="106"/>
                    <a:pt x="127" y="122"/>
                  </a:cubicBezTo>
                  <a:cubicBezTo>
                    <a:pt x="120" y="133"/>
                    <a:pt x="120" y="147"/>
                    <a:pt x="127" y="158"/>
                  </a:cubicBezTo>
                  <a:close/>
                  <a:moveTo>
                    <a:pt x="185" y="122"/>
                  </a:moveTo>
                  <a:cubicBezTo>
                    <a:pt x="138" y="169"/>
                    <a:pt x="138" y="169"/>
                    <a:pt x="138" y="169"/>
                  </a:cubicBezTo>
                  <a:cubicBezTo>
                    <a:pt x="154" y="179"/>
                    <a:pt x="175" y="174"/>
                    <a:pt x="185" y="158"/>
                  </a:cubicBezTo>
                  <a:cubicBezTo>
                    <a:pt x="192" y="147"/>
                    <a:pt x="192" y="133"/>
                    <a:pt x="185" y="1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19">
              <a:extLst>
                <a:ext uri="{FF2B5EF4-FFF2-40B4-BE49-F238E27FC236}">
                  <a16:creationId xmlns:a16="http://schemas.microsoft.com/office/drawing/2014/main" id="{AADBDDAB-C700-4F99-87B5-86D380A948FB}"/>
                </a:ext>
              </a:extLst>
            </p:cNvPr>
            <p:cNvSpPr>
              <a:spLocks noEditPoints="1"/>
            </p:cNvSpPr>
            <p:nvPr/>
          </p:nvSpPr>
          <p:spPr bwMode="gray">
            <a:xfrm>
              <a:off x="3454400" y="1003300"/>
              <a:ext cx="4646613" cy="3586160"/>
            </a:xfrm>
            <a:custGeom>
              <a:avLst/>
              <a:gdLst>
                <a:gd name="T0" fmla="*/ 698 w 1408"/>
                <a:gd name="T1" fmla="*/ 896 h 1088"/>
                <a:gd name="T2" fmla="*/ 0 w 1408"/>
                <a:gd name="T3" fmla="*/ 896 h 1088"/>
                <a:gd name="T4" fmla="*/ 0 w 1408"/>
                <a:gd name="T5" fmla="*/ 0 h 1088"/>
                <a:gd name="T6" fmla="*/ 1408 w 1408"/>
                <a:gd name="T7" fmla="*/ 0 h 1088"/>
                <a:gd name="T8" fmla="*/ 1408 w 1408"/>
                <a:gd name="T9" fmla="*/ 596 h 1088"/>
                <a:gd name="T10" fmla="*/ 725 w 1408"/>
                <a:gd name="T11" fmla="*/ 830 h 1088"/>
                <a:gd name="T12" fmla="*/ 698 w 1408"/>
                <a:gd name="T13" fmla="*/ 896 h 1088"/>
                <a:gd name="T14" fmla="*/ 672 w 1408"/>
                <a:gd name="T15" fmla="*/ 1056 h 1088"/>
                <a:gd name="T16" fmla="*/ 681 w 1408"/>
                <a:gd name="T17" fmla="*/ 960 h 1088"/>
                <a:gd name="T18" fmla="*/ 448 w 1408"/>
                <a:gd name="T19" fmla="*/ 960 h 1088"/>
                <a:gd name="T20" fmla="*/ 448 w 1408"/>
                <a:gd name="T21" fmla="*/ 1088 h 1088"/>
                <a:gd name="T22" fmla="*/ 674 w 1408"/>
                <a:gd name="T23" fmla="*/ 1088 h 1088"/>
                <a:gd name="T24" fmla="*/ 672 w 1408"/>
                <a:gd name="T25" fmla="*/ 1056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8" h="1088">
                  <a:moveTo>
                    <a:pt x="698" y="896"/>
                  </a:moveTo>
                  <a:cubicBezTo>
                    <a:pt x="0" y="896"/>
                    <a:pt x="0" y="896"/>
                    <a:pt x="0" y="896"/>
                  </a:cubicBezTo>
                  <a:cubicBezTo>
                    <a:pt x="0" y="0"/>
                    <a:pt x="0" y="0"/>
                    <a:pt x="0" y="0"/>
                  </a:cubicBezTo>
                  <a:cubicBezTo>
                    <a:pt x="1408" y="0"/>
                    <a:pt x="1408" y="0"/>
                    <a:pt x="1408" y="0"/>
                  </a:cubicBezTo>
                  <a:cubicBezTo>
                    <a:pt x="1408" y="596"/>
                    <a:pt x="1408" y="596"/>
                    <a:pt x="1408" y="596"/>
                  </a:cubicBezTo>
                  <a:cubicBezTo>
                    <a:pt x="1155" y="472"/>
                    <a:pt x="849" y="576"/>
                    <a:pt x="725" y="830"/>
                  </a:cubicBezTo>
                  <a:cubicBezTo>
                    <a:pt x="714" y="851"/>
                    <a:pt x="705" y="873"/>
                    <a:pt x="698" y="896"/>
                  </a:cubicBezTo>
                  <a:close/>
                  <a:moveTo>
                    <a:pt x="672" y="1056"/>
                  </a:moveTo>
                  <a:cubicBezTo>
                    <a:pt x="672" y="1024"/>
                    <a:pt x="675" y="992"/>
                    <a:pt x="681" y="960"/>
                  </a:cubicBezTo>
                  <a:cubicBezTo>
                    <a:pt x="448" y="960"/>
                    <a:pt x="448" y="960"/>
                    <a:pt x="448" y="960"/>
                  </a:cubicBezTo>
                  <a:cubicBezTo>
                    <a:pt x="448" y="1088"/>
                    <a:pt x="448" y="1088"/>
                    <a:pt x="448" y="1088"/>
                  </a:cubicBezTo>
                  <a:cubicBezTo>
                    <a:pt x="674" y="1088"/>
                    <a:pt x="674" y="1088"/>
                    <a:pt x="674" y="1088"/>
                  </a:cubicBezTo>
                  <a:cubicBezTo>
                    <a:pt x="673" y="1077"/>
                    <a:pt x="672" y="1067"/>
                    <a:pt x="672" y="105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8" name="Freeform 20">
              <a:extLst>
                <a:ext uri="{FF2B5EF4-FFF2-40B4-BE49-F238E27FC236}">
                  <a16:creationId xmlns:a16="http://schemas.microsoft.com/office/drawing/2014/main" id="{B49C837F-6541-44AF-BA50-3999CE982856}"/>
                </a:ext>
              </a:extLst>
            </p:cNvPr>
            <p:cNvSpPr>
              <a:spLocks noEditPoints="1"/>
            </p:cNvSpPr>
            <p:nvPr/>
          </p:nvSpPr>
          <p:spPr bwMode="gray">
            <a:xfrm>
              <a:off x="5988050" y="3113088"/>
              <a:ext cx="2746375" cy="2741613"/>
            </a:xfrm>
            <a:custGeom>
              <a:avLst/>
              <a:gdLst>
                <a:gd name="T0" fmla="*/ 416 w 832"/>
                <a:gd name="T1" fmla="*/ 0 h 832"/>
                <a:gd name="T2" fmla="*/ 0 w 832"/>
                <a:gd name="T3" fmla="*/ 416 h 832"/>
                <a:gd name="T4" fmla="*/ 416 w 832"/>
                <a:gd name="T5" fmla="*/ 832 h 832"/>
                <a:gd name="T6" fmla="*/ 832 w 832"/>
                <a:gd name="T7" fmla="*/ 416 h 832"/>
                <a:gd name="T8" fmla="*/ 416 w 832"/>
                <a:gd name="T9" fmla="*/ 0 h 832"/>
                <a:gd name="T10" fmla="*/ 212 w 832"/>
                <a:gd name="T11" fmla="*/ 212 h 832"/>
                <a:gd name="T12" fmla="*/ 566 w 832"/>
                <a:gd name="T13" fmla="*/ 170 h 832"/>
                <a:gd name="T14" fmla="*/ 170 w 832"/>
                <a:gd name="T15" fmla="*/ 566 h 832"/>
                <a:gd name="T16" fmla="*/ 212 w 832"/>
                <a:gd name="T17" fmla="*/ 212 h 832"/>
                <a:gd name="T18" fmla="*/ 620 w 832"/>
                <a:gd name="T19" fmla="*/ 620 h 832"/>
                <a:gd name="T20" fmla="*/ 266 w 832"/>
                <a:gd name="T21" fmla="*/ 662 h 832"/>
                <a:gd name="T22" fmla="*/ 662 w 832"/>
                <a:gd name="T23" fmla="*/ 266 h 832"/>
                <a:gd name="T24" fmla="*/ 620 w 832"/>
                <a:gd name="T25" fmla="*/ 620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2" h="832">
                  <a:moveTo>
                    <a:pt x="416" y="0"/>
                  </a:moveTo>
                  <a:cubicBezTo>
                    <a:pt x="186" y="0"/>
                    <a:pt x="0" y="186"/>
                    <a:pt x="0" y="416"/>
                  </a:cubicBezTo>
                  <a:cubicBezTo>
                    <a:pt x="0" y="646"/>
                    <a:pt x="186" y="832"/>
                    <a:pt x="416" y="832"/>
                  </a:cubicBezTo>
                  <a:cubicBezTo>
                    <a:pt x="646" y="832"/>
                    <a:pt x="832" y="646"/>
                    <a:pt x="832" y="416"/>
                  </a:cubicBezTo>
                  <a:cubicBezTo>
                    <a:pt x="832" y="186"/>
                    <a:pt x="646" y="0"/>
                    <a:pt x="416" y="0"/>
                  </a:cubicBezTo>
                  <a:close/>
                  <a:moveTo>
                    <a:pt x="212" y="212"/>
                  </a:moveTo>
                  <a:cubicBezTo>
                    <a:pt x="306" y="118"/>
                    <a:pt x="452" y="101"/>
                    <a:pt x="566" y="170"/>
                  </a:cubicBezTo>
                  <a:cubicBezTo>
                    <a:pt x="170" y="566"/>
                    <a:pt x="170" y="566"/>
                    <a:pt x="170" y="566"/>
                  </a:cubicBezTo>
                  <a:cubicBezTo>
                    <a:pt x="101" y="452"/>
                    <a:pt x="118" y="306"/>
                    <a:pt x="212" y="212"/>
                  </a:cubicBezTo>
                  <a:close/>
                  <a:moveTo>
                    <a:pt x="620" y="620"/>
                  </a:moveTo>
                  <a:cubicBezTo>
                    <a:pt x="526" y="714"/>
                    <a:pt x="380" y="731"/>
                    <a:pt x="266" y="662"/>
                  </a:cubicBezTo>
                  <a:cubicBezTo>
                    <a:pt x="662" y="266"/>
                    <a:pt x="662" y="266"/>
                    <a:pt x="662" y="266"/>
                  </a:cubicBezTo>
                  <a:cubicBezTo>
                    <a:pt x="731" y="380"/>
                    <a:pt x="714" y="526"/>
                    <a:pt x="620" y="620"/>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Fußzeilenplatzhalter 2">
            <a:extLst>
              <a:ext uri="{FF2B5EF4-FFF2-40B4-BE49-F238E27FC236}">
                <a16:creationId xmlns:a16="http://schemas.microsoft.com/office/drawing/2014/main" id="{B1A355EC-FF4D-467E-9998-A7792B366857}"/>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4" name="Foliennummernplatzhalter 3">
            <a:extLst>
              <a:ext uri="{FF2B5EF4-FFF2-40B4-BE49-F238E27FC236}">
                <a16:creationId xmlns:a16="http://schemas.microsoft.com/office/drawing/2014/main" id="{2EBD6075-F6BB-404C-A137-807966505C66}"/>
              </a:ext>
            </a:extLst>
          </p:cNvPr>
          <p:cNvSpPr>
            <a:spLocks noGrp="1"/>
          </p:cNvSpPr>
          <p:nvPr>
            <p:ph type="sldNum" sz="quarter" idx="12"/>
          </p:nvPr>
        </p:nvSpPr>
        <p:spPr/>
        <p:txBody>
          <a:bodyPr/>
          <a:lstStyle/>
          <a:p>
            <a:fld id="{CE82B8A1-0CCE-4815-9668-383D7DE7D8B4}" type="slidenum">
              <a:rPr lang="en-US" noProof="0" smtClean="0"/>
              <a:t>127</a:t>
            </a:fld>
            <a:endParaRPr lang="en-US" noProof="0" dirty="0"/>
          </a:p>
        </p:txBody>
      </p:sp>
    </p:spTree>
    <p:extLst>
      <p:ext uri="{BB962C8B-B14F-4D97-AF65-F5344CB8AC3E}">
        <p14:creationId xmlns:p14="http://schemas.microsoft.com/office/powerpoint/2010/main" val="4287070035"/>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D0B8FD-ABB8-4755-89EC-C02E7931E67B}"/>
              </a:ext>
            </a:extLst>
          </p:cNvPr>
          <p:cNvSpPr>
            <a:spLocks noGrp="1"/>
          </p:cNvSpPr>
          <p:nvPr>
            <p:ph type="title"/>
          </p:nvPr>
        </p:nvSpPr>
        <p:spPr bwMode="gray">
          <a:xfrm>
            <a:off x="623393" y="548792"/>
            <a:ext cx="8137192" cy="864000"/>
          </a:xfrm>
        </p:spPr>
        <p:txBody>
          <a:bodyPr/>
          <a:lstStyle/>
          <a:p>
            <a:r>
              <a:rPr lang="en-US"/>
              <a:t>Icons</a:t>
            </a:r>
            <a:endParaRPr lang="en-US" dirty="0"/>
          </a:p>
        </p:txBody>
      </p:sp>
      <p:sp>
        <p:nvSpPr>
          <p:cNvPr id="129" name="Rechteck 128">
            <a:extLst>
              <a:ext uri="{FF2B5EF4-FFF2-40B4-BE49-F238E27FC236}">
                <a16:creationId xmlns:a16="http://schemas.microsoft.com/office/drawing/2014/main" id="{8431EB20-743E-4803-A6D8-0F3DE755C781}"/>
              </a:ext>
            </a:extLst>
          </p:cNvPr>
          <p:cNvSpPr/>
          <p:nvPr/>
        </p:nvSpPr>
        <p:spPr bwMode="gray">
          <a:xfrm>
            <a:off x="626800"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House</a:t>
            </a:r>
            <a:endParaRPr lang="en-US" sz="800" dirty="0">
              <a:solidFill>
                <a:schemeClr val="tx1"/>
              </a:solidFill>
            </a:endParaRPr>
          </a:p>
        </p:txBody>
      </p:sp>
      <p:sp>
        <p:nvSpPr>
          <p:cNvPr id="130" name="Rechteck 129">
            <a:extLst>
              <a:ext uri="{FF2B5EF4-FFF2-40B4-BE49-F238E27FC236}">
                <a16:creationId xmlns:a16="http://schemas.microsoft.com/office/drawing/2014/main" id="{CF4246B5-BBDC-4F09-BD0D-44BED03F37C4}"/>
              </a:ext>
            </a:extLst>
          </p:cNvPr>
          <p:cNvSpPr/>
          <p:nvPr/>
        </p:nvSpPr>
        <p:spPr bwMode="gray">
          <a:xfrm>
            <a:off x="1736725"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Employee</a:t>
            </a:r>
            <a:endParaRPr lang="en-US" sz="800" dirty="0">
              <a:solidFill>
                <a:schemeClr val="tx1"/>
              </a:solidFill>
            </a:endParaRPr>
          </a:p>
        </p:txBody>
      </p:sp>
      <p:sp>
        <p:nvSpPr>
          <p:cNvPr id="131" name="Rechteck 130">
            <a:extLst>
              <a:ext uri="{FF2B5EF4-FFF2-40B4-BE49-F238E27FC236}">
                <a16:creationId xmlns:a16="http://schemas.microsoft.com/office/drawing/2014/main" id="{B5DA95A3-FB30-4685-9CC0-E325BD904CD8}"/>
              </a:ext>
            </a:extLst>
          </p:cNvPr>
          <p:cNvSpPr/>
          <p:nvPr/>
        </p:nvSpPr>
        <p:spPr bwMode="gray">
          <a:xfrm>
            <a:off x="2850058"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Telephone</a:t>
            </a:r>
            <a:endParaRPr lang="en-US" sz="800" dirty="0">
              <a:solidFill>
                <a:schemeClr val="tx1"/>
              </a:solidFill>
            </a:endParaRPr>
          </a:p>
        </p:txBody>
      </p:sp>
      <p:sp>
        <p:nvSpPr>
          <p:cNvPr id="132" name="Rechteck 131">
            <a:extLst>
              <a:ext uri="{FF2B5EF4-FFF2-40B4-BE49-F238E27FC236}">
                <a16:creationId xmlns:a16="http://schemas.microsoft.com/office/drawing/2014/main" id="{01E09DED-53EF-43F1-AA1D-DB748651628B}"/>
              </a:ext>
            </a:extLst>
          </p:cNvPr>
          <p:cNvSpPr/>
          <p:nvPr/>
        </p:nvSpPr>
        <p:spPr bwMode="gray">
          <a:xfrm>
            <a:off x="3963391"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Printer</a:t>
            </a:r>
            <a:endParaRPr lang="en-US" sz="800" dirty="0">
              <a:solidFill>
                <a:schemeClr val="tx1"/>
              </a:solidFill>
            </a:endParaRPr>
          </a:p>
        </p:txBody>
      </p:sp>
      <p:sp>
        <p:nvSpPr>
          <p:cNvPr id="133" name="Rechteck 132">
            <a:extLst>
              <a:ext uri="{FF2B5EF4-FFF2-40B4-BE49-F238E27FC236}">
                <a16:creationId xmlns:a16="http://schemas.microsoft.com/office/drawing/2014/main" id="{48350608-30E0-4962-BFB4-A74FC736FA0E}"/>
              </a:ext>
            </a:extLst>
          </p:cNvPr>
          <p:cNvSpPr/>
          <p:nvPr/>
        </p:nvSpPr>
        <p:spPr bwMode="gray">
          <a:xfrm>
            <a:off x="5076724"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Bin</a:t>
            </a:r>
            <a:endParaRPr lang="en-US" sz="800" dirty="0">
              <a:solidFill>
                <a:schemeClr val="tx1"/>
              </a:solidFill>
            </a:endParaRPr>
          </a:p>
        </p:txBody>
      </p:sp>
      <p:sp>
        <p:nvSpPr>
          <p:cNvPr id="134" name="Rechteck 133">
            <a:extLst>
              <a:ext uri="{FF2B5EF4-FFF2-40B4-BE49-F238E27FC236}">
                <a16:creationId xmlns:a16="http://schemas.microsoft.com/office/drawing/2014/main" id="{A3B72E7C-4C94-4A73-BE94-FCCF810B9BC3}"/>
              </a:ext>
            </a:extLst>
          </p:cNvPr>
          <p:cNvSpPr/>
          <p:nvPr/>
        </p:nvSpPr>
        <p:spPr bwMode="gray">
          <a:xfrm>
            <a:off x="6190057"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Clock</a:t>
            </a:r>
            <a:endParaRPr lang="en-US" sz="800" dirty="0">
              <a:solidFill>
                <a:schemeClr val="tx1"/>
              </a:solidFill>
            </a:endParaRPr>
          </a:p>
        </p:txBody>
      </p:sp>
      <p:sp>
        <p:nvSpPr>
          <p:cNvPr id="135" name="Rechteck 134">
            <a:extLst>
              <a:ext uri="{FF2B5EF4-FFF2-40B4-BE49-F238E27FC236}">
                <a16:creationId xmlns:a16="http://schemas.microsoft.com/office/drawing/2014/main" id="{91CBEE0F-86D2-4DB5-9B9C-B03AE23BE3F4}"/>
              </a:ext>
            </a:extLst>
          </p:cNvPr>
          <p:cNvSpPr/>
          <p:nvPr/>
        </p:nvSpPr>
        <p:spPr bwMode="gray">
          <a:xfrm>
            <a:off x="7303390"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Calendar</a:t>
            </a:r>
            <a:endParaRPr lang="en-US" sz="800" dirty="0">
              <a:solidFill>
                <a:schemeClr val="tx1"/>
              </a:solidFill>
            </a:endParaRPr>
          </a:p>
        </p:txBody>
      </p:sp>
      <p:sp>
        <p:nvSpPr>
          <p:cNvPr id="136" name="Rechteck 135">
            <a:extLst>
              <a:ext uri="{FF2B5EF4-FFF2-40B4-BE49-F238E27FC236}">
                <a16:creationId xmlns:a16="http://schemas.microsoft.com/office/drawing/2014/main" id="{1454440A-F34D-41A4-AF02-65E70D29531C}"/>
              </a:ext>
            </a:extLst>
          </p:cNvPr>
          <p:cNvSpPr/>
          <p:nvPr/>
        </p:nvSpPr>
        <p:spPr bwMode="gray">
          <a:xfrm>
            <a:off x="8416723"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Keyboard</a:t>
            </a:r>
            <a:endParaRPr lang="en-US" sz="800" dirty="0">
              <a:solidFill>
                <a:schemeClr val="tx1"/>
              </a:solidFill>
            </a:endParaRPr>
          </a:p>
        </p:txBody>
      </p:sp>
      <p:sp>
        <p:nvSpPr>
          <p:cNvPr id="137" name="Rechteck 136">
            <a:extLst>
              <a:ext uri="{FF2B5EF4-FFF2-40B4-BE49-F238E27FC236}">
                <a16:creationId xmlns:a16="http://schemas.microsoft.com/office/drawing/2014/main" id="{6D43272B-2545-48A5-845B-6EA039596A81}"/>
              </a:ext>
            </a:extLst>
          </p:cNvPr>
          <p:cNvSpPr/>
          <p:nvPr/>
        </p:nvSpPr>
        <p:spPr bwMode="gray">
          <a:xfrm>
            <a:off x="9530056"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Calculator</a:t>
            </a:r>
            <a:endParaRPr lang="en-US" sz="800" dirty="0">
              <a:solidFill>
                <a:schemeClr val="tx1"/>
              </a:solidFill>
            </a:endParaRPr>
          </a:p>
        </p:txBody>
      </p:sp>
      <p:sp>
        <p:nvSpPr>
          <p:cNvPr id="138" name="Rechteck 137">
            <a:extLst>
              <a:ext uri="{FF2B5EF4-FFF2-40B4-BE49-F238E27FC236}">
                <a16:creationId xmlns:a16="http://schemas.microsoft.com/office/drawing/2014/main" id="{74071982-6BE3-4CC8-9CC6-B468142BE34E}"/>
              </a:ext>
            </a:extLst>
          </p:cNvPr>
          <p:cNvSpPr/>
          <p:nvPr/>
        </p:nvSpPr>
        <p:spPr bwMode="gray">
          <a:xfrm>
            <a:off x="10643389"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Personal File</a:t>
            </a:r>
            <a:endParaRPr lang="en-US" sz="800" dirty="0">
              <a:solidFill>
                <a:schemeClr val="tx1"/>
              </a:solidFill>
            </a:endParaRPr>
          </a:p>
        </p:txBody>
      </p:sp>
      <p:sp>
        <p:nvSpPr>
          <p:cNvPr id="139" name="Rechteck 138">
            <a:extLst>
              <a:ext uri="{FF2B5EF4-FFF2-40B4-BE49-F238E27FC236}">
                <a16:creationId xmlns:a16="http://schemas.microsoft.com/office/drawing/2014/main" id="{9F862AF0-63F3-4808-B0B8-7CD620ADB28F}"/>
              </a:ext>
            </a:extLst>
          </p:cNvPr>
          <p:cNvSpPr/>
          <p:nvPr/>
        </p:nvSpPr>
        <p:spPr bwMode="gray">
          <a:xfrm>
            <a:off x="626800"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Paper Clip</a:t>
            </a:r>
            <a:endParaRPr lang="en-US" sz="800" dirty="0">
              <a:solidFill>
                <a:schemeClr val="tx1"/>
              </a:solidFill>
            </a:endParaRPr>
          </a:p>
        </p:txBody>
      </p:sp>
      <p:sp>
        <p:nvSpPr>
          <p:cNvPr id="140" name="Rechteck 139">
            <a:extLst>
              <a:ext uri="{FF2B5EF4-FFF2-40B4-BE49-F238E27FC236}">
                <a16:creationId xmlns:a16="http://schemas.microsoft.com/office/drawing/2014/main" id="{F6BCA7BE-7865-4481-942F-A8E6D3A65A45}"/>
              </a:ext>
            </a:extLst>
          </p:cNvPr>
          <p:cNvSpPr/>
          <p:nvPr/>
        </p:nvSpPr>
        <p:spPr bwMode="gray">
          <a:xfrm>
            <a:off x="1736725"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Pencil</a:t>
            </a:r>
            <a:endParaRPr lang="en-US" sz="800" dirty="0">
              <a:solidFill>
                <a:schemeClr val="tx1"/>
              </a:solidFill>
            </a:endParaRPr>
          </a:p>
        </p:txBody>
      </p:sp>
      <p:sp>
        <p:nvSpPr>
          <p:cNvPr id="141" name="Rechteck 140">
            <a:extLst>
              <a:ext uri="{FF2B5EF4-FFF2-40B4-BE49-F238E27FC236}">
                <a16:creationId xmlns:a16="http://schemas.microsoft.com/office/drawing/2014/main" id="{2F228FB0-51AF-4D82-AE8B-2E62FF7EF59D}"/>
              </a:ext>
            </a:extLst>
          </p:cNvPr>
          <p:cNvSpPr/>
          <p:nvPr/>
        </p:nvSpPr>
        <p:spPr bwMode="gray">
          <a:xfrm>
            <a:off x="2850058"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Claw</a:t>
            </a:r>
            <a:endParaRPr lang="en-US" sz="800" dirty="0">
              <a:solidFill>
                <a:schemeClr val="tx1"/>
              </a:solidFill>
            </a:endParaRPr>
          </a:p>
        </p:txBody>
      </p:sp>
      <p:sp>
        <p:nvSpPr>
          <p:cNvPr id="142" name="Rechteck 141">
            <a:extLst>
              <a:ext uri="{FF2B5EF4-FFF2-40B4-BE49-F238E27FC236}">
                <a16:creationId xmlns:a16="http://schemas.microsoft.com/office/drawing/2014/main" id="{2B23CC88-93DC-4E3F-BDE7-8B4E71426D97}"/>
              </a:ext>
            </a:extLst>
          </p:cNvPr>
          <p:cNvSpPr/>
          <p:nvPr/>
        </p:nvSpPr>
        <p:spPr bwMode="gray">
          <a:xfrm>
            <a:off x="3963391"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Folder</a:t>
            </a:r>
            <a:endParaRPr lang="en-US" sz="800" dirty="0">
              <a:solidFill>
                <a:schemeClr val="tx1"/>
              </a:solidFill>
            </a:endParaRPr>
          </a:p>
        </p:txBody>
      </p:sp>
      <p:sp>
        <p:nvSpPr>
          <p:cNvPr id="143" name="Rechteck 142">
            <a:extLst>
              <a:ext uri="{FF2B5EF4-FFF2-40B4-BE49-F238E27FC236}">
                <a16:creationId xmlns:a16="http://schemas.microsoft.com/office/drawing/2014/main" id="{9553C7A3-2528-41CD-A391-5AB19451064D}"/>
              </a:ext>
            </a:extLst>
          </p:cNvPr>
          <p:cNvSpPr/>
          <p:nvPr/>
        </p:nvSpPr>
        <p:spPr bwMode="gray">
          <a:xfrm>
            <a:off x="5076724"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Briefcase</a:t>
            </a:r>
            <a:endParaRPr lang="en-US" sz="800" dirty="0">
              <a:solidFill>
                <a:schemeClr val="tx1"/>
              </a:solidFill>
            </a:endParaRPr>
          </a:p>
        </p:txBody>
      </p:sp>
      <p:sp>
        <p:nvSpPr>
          <p:cNvPr id="144" name="Rechteck 143">
            <a:extLst>
              <a:ext uri="{FF2B5EF4-FFF2-40B4-BE49-F238E27FC236}">
                <a16:creationId xmlns:a16="http://schemas.microsoft.com/office/drawing/2014/main" id="{C6F295E2-F413-414E-A451-8146A958E5A5}"/>
              </a:ext>
            </a:extLst>
          </p:cNvPr>
          <p:cNvSpPr/>
          <p:nvPr/>
        </p:nvSpPr>
        <p:spPr bwMode="gray">
          <a:xfrm>
            <a:off x="6190057"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Statement</a:t>
            </a:r>
            <a:endParaRPr lang="en-US" sz="800" dirty="0">
              <a:solidFill>
                <a:schemeClr val="tx1"/>
              </a:solidFill>
            </a:endParaRPr>
          </a:p>
        </p:txBody>
      </p:sp>
      <p:sp>
        <p:nvSpPr>
          <p:cNvPr id="145" name="Rechteck 144">
            <a:extLst>
              <a:ext uri="{FF2B5EF4-FFF2-40B4-BE49-F238E27FC236}">
                <a16:creationId xmlns:a16="http://schemas.microsoft.com/office/drawing/2014/main" id="{4EFF5594-1BDF-43AE-8BDB-249AC5C40C9A}"/>
              </a:ext>
            </a:extLst>
          </p:cNvPr>
          <p:cNvSpPr/>
          <p:nvPr/>
        </p:nvSpPr>
        <p:spPr bwMode="gray">
          <a:xfrm>
            <a:off x="7303390"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Mobile Phone</a:t>
            </a:r>
            <a:endParaRPr lang="en-US" sz="800" dirty="0">
              <a:solidFill>
                <a:schemeClr val="tx1"/>
              </a:solidFill>
            </a:endParaRPr>
          </a:p>
        </p:txBody>
      </p:sp>
      <p:sp>
        <p:nvSpPr>
          <p:cNvPr id="146" name="Rechteck 145">
            <a:extLst>
              <a:ext uri="{FF2B5EF4-FFF2-40B4-BE49-F238E27FC236}">
                <a16:creationId xmlns:a16="http://schemas.microsoft.com/office/drawing/2014/main" id="{4A7CFE0E-00F1-4C9E-A51D-B7B45CAA1D52}"/>
              </a:ext>
            </a:extLst>
          </p:cNvPr>
          <p:cNvSpPr/>
          <p:nvPr/>
        </p:nvSpPr>
        <p:spPr bwMode="gray">
          <a:xfrm>
            <a:off x="8416723"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Fire Engine</a:t>
            </a:r>
            <a:endParaRPr lang="en-US" sz="800" dirty="0">
              <a:solidFill>
                <a:schemeClr val="tx1"/>
              </a:solidFill>
            </a:endParaRPr>
          </a:p>
        </p:txBody>
      </p:sp>
      <p:sp>
        <p:nvSpPr>
          <p:cNvPr id="147" name="Rechteck 146">
            <a:extLst>
              <a:ext uri="{FF2B5EF4-FFF2-40B4-BE49-F238E27FC236}">
                <a16:creationId xmlns:a16="http://schemas.microsoft.com/office/drawing/2014/main" id="{0D3B40E8-7FD9-4E5F-8B9A-76CD443168FA}"/>
              </a:ext>
            </a:extLst>
          </p:cNvPr>
          <p:cNvSpPr/>
          <p:nvPr/>
        </p:nvSpPr>
        <p:spPr bwMode="gray">
          <a:xfrm>
            <a:off x="9530056"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Pump</a:t>
            </a:r>
            <a:endParaRPr lang="en-US" sz="800" dirty="0">
              <a:solidFill>
                <a:schemeClr val="tx1"/>
              </a:solidFill>
            </a:endParaRPr>
          </a:p>
        </p:txBody>
      </p:sp>
      <p:sp>
        <p:nvSpPr>
          <p:cNvPr id="148" name="Rechteck 147">
            <a:extLst>
              <a:ext uri="{FF2B5EF4-FFF2-40B4-BE49-F238E27FC236}">
                <a16:creationId xmlns:a16="http://schemas.microsoft.com/office/drawing/2014/main" id="{F19FCCE8-9E24-42A5-8A9A-8889BCF16CBD}"/>
              </a:ext>
            </a:extLst>
          </p:cNvPr>
          <p:cNvSpPr/>
          <p:nvPr/>
        </p:nvSpPr>
        <p:spPr bwMode="gray">
          <a:xfrm>
            <a:off x="10643389"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Hose</a:t>
            </a:r>
            <a:endParaRPr lang="en-US" sz="800" dirty="0">
              <a:solidFill>
                <a:schemeClr val="tx1"/>
              </a:solidFill>
            </a:endParaRPr>
          </a:p>
        </p:txBody>
      </p:sp>
      <p:sp>
        <p:nvSpPr>
          <p:cNvPr id="149" name="Rechteck 148">
            <a:extLst>
              <a:ext uri="{FF2B5EF4-FFF2-40B4-BE49-F238E27FC236}">
                <a16:creationId xmlns:a16="http://schemas.microsoft.com/office/drawing/2014/main" id="{A2E35D8B-26F7-4237-A16F-4B501A02C6DC}"/>
              </a:ext>
            </a:extLst>
          </p:cNvPr>
          <p:cNvSpPr/>
          <p:nvPr/>
        </p:nvSpPr>
        <p:spPr bwMode="gray">
          <a:xfrm>
            <a:off x="626800"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Faucet</a:t>
            </a:r>
            <a:endParaRPr lang="en-US" sz="800" dirty="0">
              <a:solidFill>
                <a:schemeClr val="tx1"/>
              </a:solidFill>
            </a:endParaRPr>
          </a:p>
        </p:txBody>
      </p:sp>
      <p:sp>
        <p:nvSpPr>
          <p:cNvPr id="150" name="Rechteck 149">
            <a:extLst>
              <a:ext uri="{FF2B5EF4-FFF2-40B4-BE49-F238E27FC236}">
                <a16:creationId xmlns:a16="http://schemas.microsoft.com/office/drawing/2014/main" id="{E8685B6E-B2B5-4B07-8618-C56F6B4333B2}"/>
              </a:ext>
            </a:extLst>
          </p:cNvPr>
          <p:cNvSpPr/>
          <p:nvPr/>
        </p:nvSpPr>
        <p:spPr bwMode="gray">
          <a:xfrm>
            <a:off x="1736725"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Step-ladder</a:t>
            </a:r>
            <a:endParaRPr lang="en-US" sz="800" dirty="0">
              <a:solidFill>
                <a:schemeClr val="tx1"/>
              </a:solidFill>
            </a:endParaRPr>
          </a:p>
        </p:txBody>
      </p:sp>
      <p:sp>
        <p:nvSpPr>
          <p:cNvPr id="151" name="Rechteck 150">
            <a:extLst>
              <a:ext uri="{FF2B5EF4-FFF2-40B4-BE49-F238E27FC236}">
                <a16:creationId xmlns:a16="http://schemas.microsoft.com/office/drawing/2014/main" id="{0ACE4DB1-4DCB-47C4-9CC7-CDE6EE02F4B0}"/>
              </a:ext>
            </a:extLst>
          </p:cNvPr>
          <p:cNvSpPr/>
          <p:nvPr/>
        </p:nvSpPr>
        <p:spPr bwMode="gray">
          <a:xfrm>
            <a:off x="2850058"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Fire Extinguisher</a:t>
            </a:r>
            <a:endParaRPr lang="en-US" sz="800" dirty="0">
              <a:solidFill>
                <a:schemeClr val="tx1"/>
              </a:solidFill>
            </a:endParaRPr>
          </a:p>
        </p:txBody>
      </p:sp>
      <p:sp>
        <p:nvSpPr>
          <p:cNvPr id="152" name="Rechteck 151">
            <a:extLst>
              <a:ext uri="{FF2B5EF4-FFF2-40B4-BE49-F238E27FC236}">
                <a16:creationId xmlns:a16="http://schemas.microsoft.com/office/drawing/2014/main" id="{EB5D6FB4-F0AC-473D-AF01-F3DA233807AC}"/>
              </a:ext>
            </a:extLst>
          </p:cNvPr>
          <p:cNvSpPr/>
          <p:nvPr/>
        </p:nvSpPr>
        <p:spPr bwMode="gray">
          <a:xfrm>
            <a:off x="3963391"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Hydrant</a:t>
            </a:r>
            <a:endParaRPr lang="en-US" sz="800" dirty="0">
              <a:solidFill>
                <a:schemeClr val="tx1"/>
              </a:solidFill>
            </a:endParaRPr>
          </a:p>
        </p:txBody>
      </p:sp>
      <p:sp>
        <p:nvSpPr>
          <p:cNvPr id="153" name="Rechteck 152">
            <a:extLst>
              <a:ext uri="{FF2B5EF4-FFF2-40B4-BE49-F238E27FC236}">
                <a16:creationId xmlns:a16="http://schemas.microsoft.com/office/drawing/2014/main" id="{87E3E950-F853-4CCB-9417-D5A5CC6147F4}"/>
              </a:ext>
            </a:extLst>
          </p:cNvPr>
          <p:cNvSpPr/>
          <p:nvPr/>
        </p:nvSpPr>
        <p:spPr bwMode="gray">
          <a:xfrm>
            <a:off x="5076724"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Sprinkler System</a:t>
            </a:r>
            <a:endParaRPr lang="en-US" sz="800" dirty="0">
              <a:solidFill>
                <a:schemeClr val="tx1"/>
              </a:solidFill>
            </a:endParaRPr>
          </a:p>
        </p:txBody>
      </p:sp>
      <p:sp>
        <p:nvSpPr>
          <p:cNvPr id="154" name="Rechteck 153">
            <a:extLst>
              <a:ext uri="{FF2B5EF4-FFF2-40B4-BE49-F238E27FC236}">
                <a16:creationId xmlns:a16="http://schemas.microsoft.com/office/drawing/2014/main" id="{E0EC0C59-063D-4472-A211-77FECAC4E975}"/>
              </a:ext>
            </a:extLst>
          </p:cNvPr>
          <p:cNvSpPr/>
          <p:nvPr/>
        </p:nvSpPr>
        <p:spPr bwMode="gray">
          <a:xfrm>
            <a:off x="6190057"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Burning House</a:t>
            </a:r>
            <a:endParaRPr lang="en-US" sz="800" dirty="0">
              <a:solidFill>
                <a:schemeClr val="tx1"/>
              </a:solidFill>
            </a:endParaRPr>
          </a:p>
        </p:txBody>
      </p:sp>
      <p:sp>
        <p:nvSpPr>
          <p:cNvPr id="155" name="Rechteck 154">
            <a:extLst>
              <a:ext uri="{FF2B5EF4-FFF2-40B4-BE49-F238E27FC236}">
                <a16:creationId xmlns:a16="http://schemas.microsoft.com/office/drawing/2014/main" id="{FEB5AA60-E98C-4E44-BC79-DFC2B0BA20DE}"/>
              </a:ext>
            </a:extLst>
          </p:cNvPr>
          <p:cNvSpPr/>
          <p:nvPr/>
        </p:nvSpPr>
        <p:spPr bwMode="gray">
          <a:xfrm>
            <a:off x="7303390"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Fire-resistant Jacket</a:t>
            </a:r>
            <a:endParaRPr lang="en-US" sz="800" dirty="0">
              <a:solidFill>
                <a:schemeClr val="tx1"/>
              </a:solidFill>
            </a:endParaRPr>
          </a:p>
        </p:txBody>
      </p:sp>
      <p:sp>
        <p:nvSpPr>
          <p:cNvPr id="156" name="Rechteck 155">
            <a:extLst>
              <a:ext uri="{FF2B5EF4-FFF2-40B4-BE49-F238E27FC236}">
                <a16:creationId xmlns:a16="http://schemas.microsoft.com/office/drawing/2014/main" id="{58AE0A11-EA17-4256-9282-DBF38593DAC4}"/>
              </a:ext>
            </a:extLst>
          </p:cNvPr>
          <p:cNvSpPr/>
          <p:nvPr/>
        </p:nvSpPr>
        <p:spPr bwMode="gray">
          <a:xfrm>
            <a:off x="8416723"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Safety Shoes</a:t>
            </a:r>
            <a:endParaRPr lang="en-US" sz="800" dirty="0">
              <a:solidFill>
                <a:schemeClr val="tx1"/>
              </a:solidFill>
            </a:endParaRPr>
          </a:p>
        </p:txBody>
      </p:sp>
      <p:sp>
        <p:nvSpPr>
          <p:cNvPr id="157" name="Rechteck 156">
            <a:extLst>
              <a:ext uri="{FF2B5EF4-FFF2-40B4-BE49-F238E27FC236}">
                <a16:creationId xmlns:a16="http://schemas.microsoft.com/office/drawing/2014/main" id="{06FE6E71-D091-4C92-B0F3-8A66637AF493}"/>
              </a:ext>
            </a:extLst>
          </p:cNvPr>
          <p:cNvSpPr/>
          <p:nvPr/>
        </p:nvSpPr>
        <p:spPr bwMode="gray">
          <a:xfrm>
            <a:off x="9530056"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Helmet</a:t>
            </a:r>
            <a:endParaRPr lang="en-US" sz="800" dirty="0">
              <a:solidFill>
                <a:schemeClr val="tx1"/>
              </a:solidFill>
            </a:endParaRPr>
          </a:p>
        </p:txBody>
      </p:sp>
      <p:sp>
        <p:nvSpPr>
          <p:cNvPr id="158" name="Rechteck 157">
            <a:extLst>
              <a:ext uri="{FF2B5EF4-FFF2-40B4-BE49-F238E27FC236}">
                <a16:creationId xmlns:a16="http://schemas.microsoft.com/office/drawing/2014/main" id="{B832B4F8-B54B-4E87-B706-866B725C7E38}"/>
              </a:ext>
            </a:extLst>
          </p:cNvPr>
          <p:cNvSpPr/>
          <p:nvPr/>
        </p:nvSpPr>
        <p:spPr bwMode="gray">
          <a:xfrm>
            <a:off x="10643389"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Clove</a:t>
            </a:r>
            <a:endParaRPr lang="en-US" sz="800" dirty="0">
              <a:solidFill>
                <a:schemeClr val="tx1"/>
              </a:solidFill>
            </a:endParaRPr>
          </a:p>
        </p:txBody>
      </p:sp>
      <p:sp>
        <p:nvSpPr>
          <p:cNvPr id="159" name="Rechteck 158">
            <a:extLst>
              <a:ext uri="{FF2B5EF4-FFF2-40B4-BE49-F238E27FC236}">
                <a16:creationId xmlns:a16="http://schemas.microsoft.com/office/drawing/2014/main" id="{9716017F-CAD6-4C3F-BD1C-EE2B71561D1C}"/>
              </a:ext>
            </a:extLst>
          </p:cNvPr>
          <p:cNvSpPr/>
          <p:nvPr/>
        </p:nvSpPr>
        <p:spPr bwMode="gray">
          <a:xfrm>
            <a:off x="626800"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Tap</a:t>
            </a:r>
            <a:endParaRPr lang="en-US" sz="800" dirty="0">
              <a:solidFill>
                <a:schemeClr val="tx1"/>
              </a:solidFill>
            </a:endParaRPr>
          </a:p>
        </p:txBody>
      </p:sp>
      <p:sp>
        <p:nvSpPr>
          <p:cNvPr id="160" name="Rechteck 159">
            <a:extLst>
              <a:ext uri="{FF2B5EF4-FFF2-40B4-BE49-F238E27FC236}">
                <a16:creationId xmlns:a16="http://schemas.microsoft.com/office/drawing/2014/main" id="{DC2046DC-409A-409F-9644-FA2CA3CFF071}"/>
              </a:ext>
            </a:extLst>
          </p:cNvPr>
          <p:cNvSpPr/>
          <p:nvPr/>
        </p:nvSpPr>
        <p:spPr bwMode="gray">
          <a:xfrm>
            <a:off x="1736725"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Position</a:t>
            </a:r>
          </a:p>
        </p:txBody>
      </p:sp>
      <p:sp>
        <p:nvSpPr>
          <p:cNvPr id="161" name="Rechteck 160">
            <a:extLst>
              <a:ext uri="{FF2B5EF4-FFF2-40B4-BE49-F238E27FC236}">
                <a16:creationId xmlns:a16="http://schemas.microsoft.com/office/drawing/2014/main" id="{21C216DA-8E68-4651-A929-2CA79739F759}"/>
              </a:ext>
            </a:extLst>
          </p:cNvPr>
          <p:cNvSpPr/>
          <p:nvPr/>
        </p:nvSpPr>
        <p:spPr bwMode="gray">
          <a:xfrm>
            <a:off x="2850058"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Holding Hands</a:t>
            </a:r>
            <a:endParaRPr lang="en-US" sz="800" dirty="0">
              <a:solidFill>
                <a:schemeClr val="tx1"/>
              </a:solidFill>
            </a:endParaRPr>
          </a:p>
        </p:txBody>
      </p:sp>
      <p:sp>
        <p:nvSpPr>
          <p:cNvPr id="162" name="Rechteck 161">
            <a:extLst>
              <a:ext uri="{FF2B5EF4-FFF2-40B4-BE49-F238E27FC236}">
                <a16:creationId xmlns:a16="http://schemas.microsoft.com/office/drawing/2014/main" id="{56B45BBA-FD75-435B-A0DD-C8F71585BF23}"/>
              </a:ext>
            </a:extLst>
          </p:cNvPr>
          <p:cNvSpPr/>
          <p:nvPr/>
        </p:nvSpPr>
        <p:spPr bwMode="gray">
          <a:xfrm>
            <a:off x="3963391"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Hospital</a:t>
            </a:r>
            <a:endParaRPr lang="en-US" sz="800" dirty="0">
              <a:solidFill>
                <a:schemeClr val="tx1"/>
              </a:solidFill>
            </a:endParaRPr>
          </a:p>
        </p:txBody>
      </p:sp>
      <p:sp>
        <p:nvSpPr>
          <p:cNvPr id="163" name="Rechteck 162">
            <a:extLst>
              <a:ext uri="{FF2B5EF4-FFF2-40B4-BE49-F238E27FC236}">
                <a16:creationId xmlns:a16="http://schemas.microsoft.com/office/drawing/2014/main" id="{15BE8040-9BC1-464E-A3E3-13B866845C6C}"/>
              </a:ext>
            </a:extLst>
          </p:cNvPr>
          <p:cNvSpPr/>
          <p:nvPr/>
        </p:nvSpPr>
        <p:spPr bwMode="gray">
          <a:xfrm>
            <a:off x="5076724"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First-aid Box</a:t>
            </a:r>
            <a:endParaRPr lang="en-US" sz="800" dirty="0">
              <a:solidFill>
                <a:schemeClr val="tx1"/>
              </a:solidFill>
            </a:endParaRPr>
          </a:p>
        </p:txBody>
      </p:sp>
      <p:sp>
        <p:nvSpPr>
          <p:cNvPr id="164" name="Rechteck 163">
            <a:extLst>
              <a:ext uri="{FF2B5EF4-FFF2-40B4-BE49-F238E27FC236}">
                <a16:creationId xmlns:a16="http://schemas.microsoft.com/office/drawing/2014/main" id="{16F1B093-F095-410A-95C4-AE15304005BB}"/>
              </a:ext>
            </a:extLst>
          </p:cNvPr>
          <p:cNvSpPr/>
          <p:nvPr/>
        </p:nvSpPr>
        <p:spPr bwMode="gray">
          <a:xfrm>
            <a:off x="6190057"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Heartbeat</a:t>
            </a:r>
            <a:endParaRPr lang="en-US" sz="800" dirty="0">
              <a:solidFill>
                <a:schemeClr val="tx1"/>
              </a:solidFill>
            </a:endParaRPr>
          </a:p>
        </p:txBody>
      </p:sp>
      <p:sp>
        <p:nvSpPr>
          <p:cNvPr id="165" name="Rechteck 164">
            <a:extLst>
              <a:ext uri="{FF2B5EF4-FFF2-40B4-BE49-F238E27FC236}">
                <a16:creationId xmlns:a16="http://schemas.microsoft.com/office/drawing/2014/main" id="{1905385F-E485-4C75-92F6-47AF1F15A81E}"/>
              </a:ext>
            </a:extLst>
          </p:cNvPr>
          <p:cNvSpPr/>
          <p:nvPr/>
        </p:nvSpPr>
        <p:spPr bwMode="gray">
          <a:xfrm>
            <a:off x="7303390"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Gas Bottle</a:t>
            </a:r>
            <a:endParaRPr lang="en-US" sz="800" dirty="0">
              <a:solidFill>
                <a:schemeClr val="tx1"/>
              </a:solidFill>
            </a:endParaRPr>
          </a:p>
        </p:txBody>
      </p:sp>
      <p:sp>
        <p:nvSpPr>
          <p:cNvPr id="166" name="Rechteck 165">
            <a:extLst>
              <a:ext uri="{FF2B5EF4-FFF2-40B4-BE49-F238E27FC236}">
                <a16:creationId xmlns:a16="http://schemas.microsoft.com/office/drawing/2014/main" id="{ACF2ADEA-97EE-4610-A6BC-502250086291}"/>
              </a:ext>
            </a:extLst>
          </p:cNvPr>
          <p:cNvSpPr/>
          <p:nvPr/>
        </p:nvSpPr>
        <p:spPr bwMode="gray">
          <a:xfrm>
            <a:off x="8416723"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Gas Bottle 2</a:t>
            </a:r>
            <a:endParaRPr lang="en-US" sz="800" dirty="0">
              <a:solidFill>
                <a:schemeClr val="tx1"/>
              </a:solidFill>
            </a:endParaRPr>
          </a:p>
        </p:txBody>
      </p:sp>
      <p:sp>
        <p:nvSpPr>
          <p:cNvPr id="167" name="Rechteck 166">
            <a:extLst>
              <a:ext uri="{FF2B5EF4-FFF2-40B4-BE49-F238E27FC236}">
                <a16:creationId xmlns:a16="http://schemas.microsoft.com/office/drawing/2014/main" id="{6D970589-3AF3-4759-98BD-B20EDB571D3E}"/>
              </a:ext>
            </a:extLst>
          </p:cNvPr>
          <p:cNvSpPr/>
          <p:nvPr/>
        </p:nvSpPr>
        <p:spPr bwMode="gray">
          <a:xfrm>
            <a:off x="9530056"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Gas Mask</a:t>
            </a:r>
            <a:endParaRPr lang="en-US" sz="800" dirty="0">
              <a:solidFill>
                <a:schemeClr val="tx1"/>
              </a:solidFill>
            </a:endParaRPr>
          </a:p>
        </p:txBody>
      </p:sp>
      <p:sp>
        <p:nvSpPr>
          <p:cNvPr id="168" name="Rechteck 167">
            <a:extLst>
              <a:ext uri="{FF2B5EF4-FFF2-40B4-BE49-F238E27FC236}">
                <a16:creationId xmlns:a16="http://schemas.microsoft.com/office/drawing/2014/main" id="{6C622622-BF38-4B09-9A10-50E9F001D1A6}"/>
              </a:ext>
            </a:extLst>
          </p:cNvPr>
          <p:cNvSpPr/>
          <p:nvPr/>
        </p:nvSpPr>
        <p:spPr bwMode="gray">
          <a:xfrm>
            <a:off x="10643389"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Alcotest 5820</a:t>
            </a:r>
            <a:endParaRPr lang="en-US" sz="800" dirty="0">
              <a:solidFill>
                <a:schemeClr val="tx1"/>
              </a:solidFill>
            </a:endParaRPr>
          </a:p>
        </p:txBody>
      </p:sp>
      <p:sp>
        <p:nvSpPr>
          <p:cNvPr id="169" name="Freeform 21">
            <a:extLst>
              <a:ext uri="{FF2B5EF4-FFF2-40B4-BE49-F238E27FC236}">
                <a16:creationId xmlns:a16="http://schemas.microsoft.com/office/drawing/2014/main" id="{45A9B4A6-D5D3-4991-8293-71F9375429DA}"/>
              </a:ext>
            </a:extLst>
          </p:cNvPr>
          <p:cNvSpPr>
            <a:spLocks noEditPoints="1"/>
          </p:cNvSpPr>
          <p:nvPr/>
        </p:nvSpPr>
        <p:spPr bwMode="gray">
          <a:xfrm>
            <a:off x="4237578" y="2094558"/>
            <a:ext cx="387729" cy="365360"/>
          </a:xfrm>
          <a:custGeom>
            <a:avLst/>
            <a:gdLst>
              <a:gd name="T0" fmla="*/ 176 w 176"/>
              <a:gd name="T1" fmla="*/ 96 h 168"/>
              <a:gd name="T2" fmla="*/ 176 w 176"/>
              <a:gd name="T3" fmla="*/ 144 h 168"/>
              <a:gd name="T4" fmla="*/ 136 w 176"/>
              <a:gd name="T5" fmla="*/ 144 h 168"/>
              <a:gd name="T6" fmla="*/ 136 w 176"/>
              <a:gd name="T7" fmla="*/ 96 h 168"/>
              <a:gd name="T8" fmla="*/ 40 w 176"/>
              <a:gd name="T9" fmla="*/ 96 h 168"/>
              <a:gd name="T10" fmla="*/ 40 w 176"/>
              <a:gd name="T11" fmla="*/ 144 h 168"/>
              <a:gd name="T12" fmla="*/ 0 w 176"/>
              <a:gd name="T13" fmla="*/ 144 h 168"/>
              <a:gd name="T14" fmla="*/ 0 w 176"/>
              <a:gd name="T15" fmla="*/ 96 h 168"/>
              <a:gd name="T16" fmla="*/ 32 w 176"/>
              <a:gd name="T17" fmla="*/ 64 h 168"/>
              <a:gd name="T18" fmla="*/ 144 w 176"/>
              <a:gd name="T19" fmla="*/ 64 h 168"/>
              <a:gd name="T20" fmla="*/ 176 w 176"/>
              <a:gd name="T21" fmla="*/ 96 h 168"/>
              <a:gd name="T22" fmla="*/ 120 w 176"/>
              <a:gd name="T23" fmla="*/ 168 h 168"/>
              <a:gd name="T24" fmla="*/ 56 w 176"/>
              <a:gd name="T25" fmla="*/ 168 h 168"/>
              <a:gd name="T26" fmla="*/ 56 w 176"/>
              <a:gd name="T27" fmla="*/ 104 h 168"/>
              <a:gd name="T28" fmla="*/ 120 w 176"/>
              <a:gd name="T29" fmla="*/ 104 h 168"/>
              <a:gd name="T30" fmla="*/ 120 w 176"/>
              <a:gd name="T31" fmla="*/ 168 h 168"/>
              <a:gd name="T32" fmla="*/ 104 w 176"/>
              <a:gd name="T33" fmla="*/ 148 h 168"/>
              <a:gd name="T34" fmla="*/ 72 w 176"/>
              <a:gd name="T35" fmla="*/ 148 h 168"/>
              <a:gd name="T36" fmla="*/ 72 w 176"/>
              <a:gd name="T37" fmla="*/ 156 h 168"/>
              <a:gd name="T38" fmla="*/ 104 w 176"/>
              <a:gd name="T39" fmla="*/ 156 h 168"/>
              <a:gd name="T40" fmla="*/ 104 w 176"/>
              <a:gd name="T41" fmla="*/ 148 h 168"/>
              <a:gd name="T42" fmla="*/ 104 w 176"/>
              <a:gd name="T43" fmla="*/ 132 h 168"/>
              <a:gd name="T44" fmla="*/ 72 w 176"/>
              <a:gd name="T45" fmla="*/ 132 h 168"/>
              <a:gd name="T46" fmla="*/ 72 w 176"/>
              <a:gd name="T47" fmla="*/ 140 h 168"/>
              <a:gd name="T48" fmla="*/ 104 w 176"/>
              <a:gd name="T49" fmla="*/ 140 h 168"/>
              <a:gd name="T50" fmla="*/ 104 w 176"/>
              <a:gd name="T51" fmla="*/ 132 h 168"/>
              <a:gd name="T52" fmla="*/ 104 w 176"/>
              <a:gd name="T53" fmla="*/ 116 h 168"/>
              <a:gd name="T54" fmla="*/ 72 w 176"/>
              <a:gd name="T55" fmla="*/ 116 h 168"/>
              <a:gd name="T56" fmla="*/ 72 w 176"/>
              <a:gd name="T57" fmla="*/ 124 h 168"/>
              <a:gd name="T58" fmla="*/ 104 w 176"/>
              <a:gd name="T59" fmla="*/ 124 h 168"/>
              <a:gd name="T60" fmla="*/ 104 w 176"/>
              <a:gd name="T61" fmla="*/ 116 h 168"/>
              <a:gd name="T62" fmla="*/ 40 w 176"/>
              <a:gd name="T63" fmla="*/ 0 h 168"/>
              <a:gd name="T64" fmla="*/ 40 w 176"/>
              <a:gd name="T65" fmla="*/ 56 h 168"/>
              <a:gd name="T66" fmla="*/ 56 w 176"/>
              <a:gd name="T67" fmla="*/ 56 h 168"/>
              <a:gd name="T68" fmla="*/ 56 w 176"/>
              <a:gd name="T69" fmla="*/ 32 h 168"/>
              <a:gd name="T70" fmla="*/ 120 w 176"/>
              <a:gd name="T71" fmla="*/ 32 h 168"/>
              <a:gd name="T72" fmla="*/ 120 w 176"/>
              <a:gd name="T73" fmla="*/ 56 h 168"/>
              <a:gd name="T74" fmla="*/ 136 w 176"/>
              <a:gd name="T75" fmla="*/ 56 h 168"/>
              <a:gd name="T76" fmla="*/ 136 w 176"/>
              <a:gd name="T77" fmla="*/ 32 h 168"/>
              <a:gd name="T78" fmla="*/ 104 w 176"/>
              <a:gd name="T79" fmla="*/ 0 h 168"/>
              <a:gd name="T80" fmla="*/ 40 w 176"/>
              <a:gd name="T8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6" h="168">
                <a:moveTo>
                  <a:pt x="176" y="96"/>
                </a:moveTo>
                <a:cubicBezTo>
                  <a:pt x="176" y="144"/>
                  <a:pt x="176" y="144"/>
                  <a:pt x="176" y="144"/>
                </a:cubicBezTo>
                <a:cubicBezTo>
                  <a:pt x="136" y="144"/>
                  <a:pt x="136" y="144"/>
                  <a:pt x="136" y="144"/>
                </a:cubicBezTo>
                <a:cubicBezTo>
                  <a:pt x="136" y="96"/>
                  <a:pt x="136" y="96"/>
                  <a:pt x="136" y="96"/>
                </a:cubicBezTo>
                <a:cubicBezTo>
                  <a:pt x="40" y="96"/>
                  <a:pt x="40" y="96"/>
                  <a:pt x="40" y="96"/>
                </a:cubicBezTo>
                <a:cubicBezTo>
                  <a:pt x="40" y="144"/>
                  <a:pt x="40" y="144"/>
                  <a:pt x="40" y="144"/>
                </a:cubicBezTo>
                <a:cubicBezTo>
                  <a:pt x="0" y="144"/>
                  <a:pt x="0" y="144"/>
                  <a:pt x="0" y="144"/>
                </a:cubicBezTo>
                <a:cubicBezTo>
                  <a:pt x="0" y="96"/>
                  <a:pt x="0" y="96"/>
                  <a:pt x="0" y="96"/>
                </a:cubicBezTo>
                <a:cubicBezTo>
                  <a:pt x="0" y="78"/>
                  <a:pt x="14" y="64"/>
                  <a:pt x="32" y="64"/>
                </a:cubicBezTo>
                <a:cubicBezTo>
                  <a:pt x="144" y="64"/>
                  <a:pt x="144" y="64"/>
                  <a:pt x="144" y="64"/>
                </a:cubicBezTo>
                <a:cubicBezTo>
                  <a:pt x="161" y="64"/>
                  <a:pt x="176" y="78"/>
                  <a:pt x="176" y="96"/>
                </a:cubicBezTo>
                <a:moveTo>
                  <a:pt x="120" y="168"/>
                </a:moveTo>
                <a:cubicBezTo>
                  <a:pt x="56" y="168"/>
                  <a:pt x="56" y="168"/>
                  <a:pt x="56" y="168"/>
                </a:cubicBezTo>
                <a:cubicBezTo>
                  <a:pt x="56" y="104"/>
                  <a:pt x="56" y="104"/>
                  <a:pt x="56" y="104"/>
                </a:cubicBezTo>
                <a:cubicBezTo>
                  <a:pt x="120" y="104"/>
                  <a:pt x="120" y="104"/>
                  <a:pt x="120" y="104"/>
                </a:cubicBezTo>
                <a:lnTo>
                  <a:pt x="120" y="168"/>
                </a:lnTo>
                <a:close/>
                <a:moveTo>
                  <a:pt x="104" y="148"/>
                </a:moveTo>
                <a:cubicBezTo>
                  <a:pt x="72" y="148"/>
                  <a:pt x="72" y="148"/>
                  <a:pt x="72" y="148"/>
                </a:cubicBezTo>
                <a:cubicBezTo>
                  <a:pt x="72" y="156"/>
                  <a:pt x="72" y="156"/>
                  <a:pt x="72" y="156"/>
                </a:cubicBezTo>
                <a:cubicBezTo>
                  <a:pt x="104" y="156"/>
                  <a:pt x="104" y="156"/>
                  <a:pt x="104" y="156"/>
                </a:cubicBezTo>
                <a:lnTo>
                  <a:pt x="104" y="148"/>
                </a:lnTo>
                <a:close/>
                <a:moveTo>
                  <a:pt x="104" y="132"/>
                </a:moveTo>
                <a:cubicBezTo>
                  <a:pt x="72" y="132"/>
                  <a:pt x="72" y="132"/>
                  <a:pt x="72" y="132"/>
                </a:cubicBezTo>
                <a:cubicBezTo>
                  <a:pt x="72" y="140"/>
                  <a:pt x="72" y="140"/>
                  <a:pt x="72" y="140"/>
                </a:cubicBezTo>
                <a:cubicBezTo>
                  <a:pt x="104" y="140"/>
                  <a:pt x="104" y="140"/>
                  <a:pt x="104" y="140"/>
                </a:cubicBezTo>
                <a:lnTo>
                  <a:pt x="104" y="132"/>
                </a:lnTo>
                <a:close/>
                <a:moveTo>
                  <a:pt x="104" y="116"/>
                </a:moveTo>
                <a:cubicBezTo>
                  <a:pt x="72" y="116"/>
                  <a:pt x="72" y="116"/>
                  <a:pt x="72" y="116"/>
                </a:cubicBezTo>
                <a:cubicBezTo>
                  <a:pt x="72" y="124"/>
                  <a:pt x="72" y="124"/>
                  <a:pt x="72" y="124"/>
                </a:cubicBezTo>
                <a:cubicBezTo>
                  <a:pt x="104" y="124"/>
                  <a:pt x="104" y="124"/>
                  <a:pt x="104" y="124"/>
                </a:cubicBezTo>
                <a:lnTo>
                  <a:pt x="104" y="116"/>
                </a:lnTo>
                <a:close/>
                <a:moveTo>
                  <a:pt x="40" y="0"/>
                </a:moveTo>
                <a:cubicBezTo>
                  <a:pt x="40" y="56"/>
                  <a:pt x="40" y="56"/>
                  <a:pt x="40" y="56"/>
                </a:cubicBezTo>
                <a:cubicBezTo>
                  <a:pt x="56" y="56"/>
                  <a:pt x="56" y="56"/>
                  <a:pt x="56" y="56"/>
                </a:cubicBezTo>
                <a:cubicBezTo>
                  <a:pt x="56" y="32"/>
                  <a:pt x="56" y="32"/>
                  <a:pt x="56" y="32"/>
                </a:cubicBezTo>
                <a:cubicBezTo>
                  <a:pt x="120" y="32"/>
                  <a:pt x="120" y="32"/>
                  <a:pt x="120" y="32"/>
                </a:cubicBezTo>
                <a:cubicBezTo>
                  <a:pt x="120" y="56"/>
                  <a:pt x="120" y="56"/>
                  <a:pt x="120" y="56"/>
                </a:cubicBezTo>
                <a:cubicBezTo>
                  <a:pt x="136" y="56"/>
                  <a:pt x="136" y="56"/>
                  <a:pt x="136" y="56"/>
                </a:cubicBezTo>
                <a:cubicBezTo>
                  <a:pt x="136" y="32"/>
                  <a:pt x="136" y="32"/>
                  <a:pt x="136" y="32"/>
                </a:cubicBezTo>
                <a:cubicBezTo>
                  <a:pt x="136" y="14"/>
                  <a:pt x="121" y="0"/>
                  <a:pt x="104" y="0"/>
                </a:cubicBezTo>
                <a:lnTo>
                  <a:pt x="4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0" name="Freeform 13">
            <a:extLst>
              <a:ext uri="{FF2B5EF4-FFF2-40B4-BE49-F238E27FC236}">
                <a16:creationId xmlns:a16="http://schemas.microsoft.com/office/drawing/2014/main" id="{DB02A70C-CBC2-465A-ACAD-9404B8E6B7CA}"/>
              </a:ext>
            </a:extLst>
          </p:cNvPr>
          <p:cNvSpPr>
            <a:spLocks noEditPoints="1"/>
          </p:cNvSpPr>
          <p:nvPr/>
        </p:nvSpPr>
        <p:spPr bwMode="gray">
          <a:xfrm>
            <a:off x="6452493" y="3264265"/>
            <a:ext cx="411230" cy="371948"/>
          </a:xfrm>
          <a:custGeom>
            <a:avLst/>
            <a:gdLst>
              <a:gd name="T0" fmla="*/ 256 w 1280"/>
              <a:gd name="T1" fmla="*/ 0 h 1216"/>
              <a:gd name="T2" fmla="*/ 0 w 1280"/>
              <a:gd name="T3" fmla="*/ 256 h 1216"/>
              <a:gd name="T4" fmla="*/ 0 w 1280"/>
              <a:gd name="T5" fmla="*/ 1216 h 1216"/>
              <a:gd name="T6" fmla="*/ 320 w 1280"/>
              <a:gd name="T7" fmla="*/ 896 h 1216"/>
              <a:gd name="T8" fmla="*/ 1280 w 1280"/>
              <a:gd name="T9" fmla="*/ 896 h 1216"/>
              <a:gd name="T10" fmla="*/ 1280 w 1280"/>
              <a:gd name="T11" fmla="*/ 0 h 1216"/>
              <a:gd name="T12" fmla="*/ 256 w 1280"/>
              <a:gd name="T13" fmla="*/ 0 h 1216"/>
              <a:gd name="T14" fmla="*/ 1024 w 1280"/>
              <a:gd name="T15" fmla="*/ 640 h 1216"/>
              <a:gd name="T16" fmla="*/ 256 w 1280"/>
              <a:gd name="T17" fmla="*/ 640 h 1216"/>
              <a:gd name="T18" fmla="*/ 256 w 1280"/>
              <a:gd name="T19" fmla="*/ 512 h 1216"/>
              <a:gd name="T20" fmla="*/ 1024 w 1280"/>
              <a:gd name="T21" fmla="*/ 512 h 1216"/>
              <a:gd name="T22" fmla="*/ 1024 w 1280"/>
              <a:gd name="T23" fmla="*/ 640 h 1216"/>
              <a:gd name="T24" fmla="*/ 1024 w 1280"/>
              <a:gd name="T25" fmla="*/ 384 h 1216"/>
              <a:gd name="T26" fmla="*/ 256 w 1280"/>
              <a:gd name="T27" fmla="*/ 384 h 1216"/>
              <a:gd name="T28" fmla="*/ 256 w 1280"/>
              <a:gd name="T29" fmla="*/ 256 h 1216"/>
              <a:gd name="T30" fmla="*/ 1024 w 1280"/>
              <a:gd name="T31" fmla="*/ 256 h 1216"/>
              <a:gd name="T32" fmla="*/ 1024 w 1280"/>
              <a:gd name="T33" fmla="*/ 384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80" h="1216">
                <a:moveTo>
                  <a:pt x="256" y="0"/>
                </a:moveTo>
                <a:cubicBezTo>
                  <a:pt x="115" y="0"/>
                  <a:pt x="0" y="115"/>
                  <a:pt x="0" y="256"/>
                </a:cubicBezTo>
                <a:cubicBezTo>
                  <a:pt x="0" y="1216"/>
                  <a:pt x="0" y="1216"/>
                  <a:pt x="0" y="1216"/>
                </a:cubicBezTo>
                <a:cubicBezTo>
                  <a:pt x="320" y="896"/>
                  <a:pt x="320" y="896"/>
                  <a:pt x="320" y="896"/>
                </a:cubicBezTo>
                <a:cubicBezTo>
                  <a:pt x="1280" y="896"/>
                  <a:pt x="1280" y="896"/>
                  <a:pt x="1280" y="896"/>
                </a:cubicBezTo>
                <a:cubicBezTo>
                  <a:pt x="1280" y="0"/>
                  <a:pt x="1280" y="0"/>
                  <a:pt x="1280" y="0"/>
                </a:cubicBezTo>
                <a:lnTo>
                  <a:pt x="256" y="0"/>
                </a:lnTo>
                <a:close/>
                <a:moveTo>
                  <a:pt x="1024" y="640"/>
                </a:moveTo>
                <a:cubicBezTo>
                  <a:pt x="256" y="640"/>
                  <a:pt x="256" y="640"/>
                  <a:pt x="256" y="640"/>
                </a:cubicBezTo>
                <a:cubicBezTo>
                  <a:pt x="256" y="512"/>
                  <a:pt x="256" y="512"/>
                  <a:pt x="256" y="512"/>
                </a:cubicBezTo>
                <a:cubicBezTo>
                  <a:pt x="1024" y="512"/>
                  <a:pt x="1024" y="512"/>
                  <a:pt x="1024" y="512"/>
                </a:cubicBezTo>
                <a:lnTo>
                  <a:pt x="1024" y="640"/>
                </a:lnTo>
                <a:close/>
                <a:moveTo>
                  <a:pt x="1024" y="384"/>
                </a:moveTo>
                <a:cubicBezTo>
                  <a:pt x="256" y="384"/>
                  <a:pt x="256" y="384"/>
                  <a:pt x="256" y="384"/>
                </a:cubicBezTo>
                <a:cubicBezTo>
                  <a:pt x="256" y="256"/>
                  <a:pt x="256" y="256"/>
                  <a:pt x="256" y="256"/>
                </a:cubicBezTo>
                <a:cubicBezTo>
                  <a:pt x="1024" y="256"/>
                  <a:pt x="1024" y="256"/>
                  <a:pt x="1024" y="256"/>
                </a:cubicBezTo>
                <a:lnTo>
                  <a:pt x="1024" y="38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1" name="Freeform 36">
            <a:extLst>
              <a:ext uri="{FF2B5EF4-FFF2-40B4-BE49-F238E27FC236}">
                <a16:creationId xmlns:a16="http://schemas.microsoft.com/office/drawing/2014/main" id="{47C7F39C-F8DA-4733-8C85-49C4C295BF7C}"/>
              </a:ext>
            </a:extLst>
          </p:cNvPr>
          <p:cNvSpPr>
            <a:spLocks noEditPoints="1"/>
          </p:cNvSpPr>
          <p:nvPr/>
        </p:nvSpPr>
        <p:spPr bwMode="gray">
          <a:xfrm>
            <a:off x="5315381" y="3251802"/>
            <a:ext cx="458788" cy="396875"/>
          </a:xfrm>
          <a:custGeom>
            <a:avLst/>
            <a:gdLst>
              <a:gd name="T0" fmla="*/ 384 w 1408"/>
              <a:gd name="T1" fmla="*/ 256 h 1216"/>
              <a:gd name="T2" fmla="*/ 384 w 1408"/>
              <a:gd name="T3" fmla="*/ 0 h 1216"/>
              <a:gd name="T4" fmla="*/ 1024 w 1408"/>
              <a:gd name="T5" fmla="*/ 0 h 1216"/>
              <a:gd name="T6" fmla="*/ 1024 w 1408"/>
              <a:gd name="T7" fmla="*/ 256 h 1216"/>
              <a:gd name="T8" fmla="*/ 896 w 1408"/>
              <a:gd name="T9" fmla="*/ 256 h 1216"/>
              <a:gd name="T10" fmla="*/ 896 w 1408"/>
              <a:gd name="T11" fmla="*/ 128 h 1216"/>
              <a:gd name="T12" fmla="*/ 512 w 1408"/>
              <a:gd name="T13" fmla="*/ 128 h 1216"/>
              <a:gd name="T14" fmla="*/ 512 w 1408"/>
              <a:gd name="T15" fmla="*/ 256 h 1216"/>
              <a:gd name="T16" fmla="*/ 384 w 1408"/>
              <a:gd name="T17" fmla="*/ 256 h 1216"/>
              <a:gd name="T18" fmla="*/ 1408 w 1408"/>
              <a:gd name="T19" fmla="*/ 1024 h 1216"/>
              <a:gd name="T20" fmla="*/ 1408 w 1408"/>
              <a:gd name="T21" fmla="*/ 320 h 1216"/>
              <a:gd name="T22" fmla="*/ 192 w 1408"/>
              <a:gd name="T23" fmla="*/ 320 h 1216"/>
              <a:gd name="T24" fmla="*/ 0 w 1408"/>
              <a:gd name="T25" fmla="*/ 512 h 1216"/>
              <a:gd name="T26" fmla="*/ 0 w 1408"/>
              <a:gd name="T27" fmla="*/ 1024 h 1216"/>
              <a:gd name="T28" fmla="*/ 192 w 1408"/>
              <a:gd name="T29" fmla="*/ 1216 h 1216"/>
              <a:gd name="T30" fmla="*/ 1216 w 1408"/>
              <a:gd name="T31" fmla="*/ 1216 h 1216"/>
              <a:gd name="T32" fmla="*/ 1408 w 1408"/>
              <a:gd name="T33" fmla="*/ 1024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08" h="1216">
                <a:moveTo>
                  <a:pt x="384" y="256"/>
                </a:moveTo>
                <a:cubicBezTo>
                  <a:pt x="384" y="0"/>
                  <a:pt x="384" y="0"/>
                  <a:pt x="384" y="0"/>
                </a:cubicBezTo>
                <a:cubicBezTo>
                  <a:pt x="1024" y="0"/>
                  <a:pt x="1024" y="0"/>
                  <a:pt x="1024" y="0"/>
                </a:cubicBezTo>
                <a:cubicBezTo>
                  <a:pt x="1024" y="256"/>
                  <a:pt x="1024" y="256"/>
                  <a:pt x="1024" y="256"/>
                </a:cubicBezTo>
                <a:cubicBezTo>
                  <a:pt x="896" y="256"/>
                  <a:pt x="896" y="256"/>
                  <a:pt x="896" y="256"/>
                </a:cubicBezTo>
                <a:cubicBezTo>
                  <a:pt x="896" y="128"/>
                  <a:pt x="896" y="128"/>
                  <a:pt x="896" y="128"/>
                </a:cubicBezTo>
                <a:cubicBezTo>
                  <a:pt x="512" y="128"/>
                  <a:pt x="512" y="128"/>
                  <a:pt x="512" y="128"/>
                </a:cubicBezTo>
                <a:cubicBezTo>
                  <a:pt x="512" y="256"/>
                  <a:pt x="512" y="256"/>
                  <a:pt x="512" y="256"/>
                </a:cubicBezTo>
                <a:lnTo>
                  <a:pt x="384" y="256"/>
                </a:lnTo>
                <a:close/>
                <a:moveTo>
                  <a:pt x="1408" y="1024"/>
                </a:moveTo>
                <a:cubicBezTo>
                  <a:pt x="1408" y="320"/>
                  <a:pt x="1408" y="320"/>
                  <a:pt x="1408" y="320"/>
                </a:cubicBezTo>
                <a:cubicBezTo>
                  <a:pt x="192" y="320"/>
                  <a:pt x="192" y="320"/>
                  <a:pt x="192" y="320"/>
                </a:cubicBezTo>
                <a:cubicBezTo>
                  <a:pt x="86" y="320"/>
                  <a:pt x="0" y="406"/>
                  <a:pt x="0" y="512"/>
                </a:cubicBezTo>
                <a:cubicBezTo>
                  <a:pt x="0" y="1024"/>
                  <a:pt x="0" y="1024"/>
                  <a:pt x="0" y="1024"/>
                </a:cubicBezTo>
                <a:cubicBezTo>
                  <a:pt x="0" y="1130"/>
                  <a:pt x="86" y="1216"/>
                  <a:pt x="192" y="1216"/>
                </a:cubicBezTo>
                <a:cubicBezTo>
                  <a:pt x="1216" y="1216"/>
                  <a:pt x="1216" y="1216"/>
                  <a:pt x="1216" y="1216"/>
                </a:cubicBezTo>
                <a:cubicBezTo>
                  <a:pt x="1322" y="1216"/>
                  <a:pt x="1408" y="1130"/>
                  <a:pt x="1408" y="102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2" name="Freeform 58">
            <a:extLst>
              <a:ext uri="{FF2B5EF4-FFF2-40B4-BE49-F238E27FC236}">
                <a16:creationId xmlns:a16="http://schemas.microsoft.com/office/drawing/2014/main" id="{2D5D30EB-2AAE-4365-95F6-87D36AE3D39B}"/>
              </a:ext>
            </a:extLst>
          </p:cNvPr>
          <p:cNvSpPr>
            <a:spLocks/>
          </p:cNvSpPr>
          <p:nvPr/>
        </p:nvSpPr>
        <p:spPr bwMode="gray">
          <a:xfrm>
            <a:off x="896414" y="2079594"/>
            <a:ext cx="396875" cy="395288"/>
          </a:xfrm>
          <a:custGeom>
            <a:avLst/>
            <a:gdLst>
              <a:gd name="T0" fmla="*/ 112 w 250"/>
              <a:gd name="T1" fmla="*/ 249 h 249"/>
              <a:gd name="T2" fmla="*/ 112 w 250"/>
              <a:gd name="T3" fmla="*/ 224 h 249"/>
              <a:gd name="T4" fmla="*/ 162 w 250"/>
              <a:gd name="T5" fmla="*/ 224 h 249"/>
              <a:gd name="T6" fmla="*/ 162 w 250"/>
              <a:gd name="T7" fmla="*/ 150 h 249"/>
              <a:gd name="T8" fmla="*/ 87 w 250"/>
              <a:gd name="T9" fmla="*/ 150 h 249"/>
              <a:gd name="T10" fmla="*/ 87 w 250"/>
              <a:gd name="T11" fmla="*/ 249 h 249"/>
              <a:gd name="T12" fmla="*/ 0 w 250"/>
              <a:gd name="T13" fmla="*/ 249 h 249"/>
              <a:gd name="T14" fmla="*/ 0 w 250"/>
              <a:gd name="T15" fmla="*/ 118 h 249"/>
              <a:gd name="T16" fmla="*/ 125 w 250"/>
              <a:gd name="T17" fmla="*/ 0 h 249"/>
              <a:gd name="T18" fmla="*/ 250 w 250"/>
              <a:gd name="T19" fmla="*/ 118 h 249"/>
              <a:gd name="T20" fmla="*/ 250 w 250"/>
              <a:gd name="T21" fmla="*/ 249 h 249"/>
              <a:gd name="T22" fmla="*/ 112 w 250"/>
              <a:gd name="T23" fmla="*/ 249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 h="249">
                <a:moveTo>
                  <a:pt x="112" y="249"/>
                </a:moveTo>
                <a:lnTo>
                  <a:pt x="112" y="224"/>
                </a:lnTo>
                <a:lnTo>
                  <a:pt x="162" y="224"/>
                </a:lnTo>
                <a:lnTo>
                  <a:pt x="162" y="150"/>
                </a:lnTo>
                <a:lnTo>
                  <a:pt x="87" y="150"/>
                </a:lnTo>
                <a:lnTo>
                  <a:pt x="87" y="249"/>
                </a:lnTo>
                <a:lnTo>
                  <a:pt x="0" y="249"/>
                </a:lnTo>
                <a:lnTo>
                  <a:pt x="0" y="118"/>
                </a:lnTo>
                <a:lnTo>
                  <a:pt x="125" y="0"/>
                </a:lnTo>
                <a:lnTo>
                  <a:pt x="250" y="118"/>
                </a:lnTo>
                <a:lnTo>
                  <a:pt x="250" y="249"/>
                </a:lnTo>
                <a:lnTo>
                  <a:pt x="112" y="24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3" name="Freeform 5">
            <a:extLst>
              <a:ext uri="{FF2B5EF4-FFF2-40B4-BE49-F238E27FC236}">
                <a16:creationId xmlns:a16="http://schemas.microsoft.com/office/drawing/2014/main" id="{9EB393B9-0F32-4D91-83B0-DC103CF84EF9}"/>
              </a:ext>
            </a:extLst>
          </p:cNvPr>
          <p:cNvSpPr>
            <a:spLocks noEditPoints="1"/>
          </p:cNvSpPr>
          <p:nvPr/>
        </p:nvSpPr>
        <p:spPr bwMode="gray">
          <a:xfrm>
            <a:off x="2026182" y="2078801"/>
            <a:ext cx="357188" cy="396875"/>
          </a:xfrm>
          <a:custGeom>
            <a:avLst/>
            <a:gdLst>
              <a:gd name="T0" fmla="*/ 896 w 1152"/>
              <a:gd name="T1" fmla="*/ 320 h 1280"/>
              <a:gd name="T2" fmla="*/ 576 w 1152"/>
              <a:gd name="T3" fmla="*/ 640 h 1280"/>
              <a:gd name="T4" fmla="*/ 256 w 1152"/>
              <a:gd name="T5" fmla="*/ 320 h 1280"/>
              <a:gd name="T6" fmla="*/ 576 w 1152"/>
              <a:gd name="T7" fmla="*/ 0 h 1280"/>
              <a:gd name="T8" fmla="*/ 896 w 1152"/>
              <a:gd name="T9" fmla="*/ 320 h 1280"/>
              <a:gd name="T10" fmla="*/ 0 w 1152"/>
              <a:gd name="T11" fmla="*/ 1280 h 1280"/>
              <a:gd name="T12" fmla="*/ 1152 w 1152"/>
              <a:gd name="T13" fmla="*/ 1280 h 1280"/>
              <a:gd name="T14" fmla="*/ 1152 w 1152"/>
              <a:gd name="T15" fmla="*/ 999 h 1280"/>
              <a:gd name="T16" fmla="*/ 1032 w 1152"/>
              <a:gd name="T17" fmla="*/ 821 h 1280"/>
              <a:gd name="T18" fmla="*/ 763 w 1152"/>
              <a:gd name="T19" fmla="*/ 743 h 1280"/>
              <a:gd name="T20" fmla="*/ 672 w 1152"/>
              <a:gd name="T21" fmla="*/ 864 h 1280"/>
              <a:gd name="T22" fmla="*/ 480 w 1152"/>
              <a:gd name="T23" fmla="*/ 864 h 1280"/>
              <a:gd name="T24" fmla="*/ 389 w 1152"/>
              <a:gd name="T25" fmla="*/ 743 h 1280"/>
              <a:gd name="T26" fmla="*/ 120 w 1152"/>
              <a:gd name="T27" fmla="*/ 821 h 1280"/>
              <a:gd name="T28" fmla="*/ 0 w 1152"/>
              <a:gd name="T29" fmla="*/ 999 h 1280"/>
              <a:gd name="T30" fmla="*/ 0 w 1152"/>
              <a:gd name="T31" fmla="*/ 1280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2" h="1280">
                <a:moveTo>
                  <a:pt x="896" y="320"/>
                </a:moveTo>
                <a:cubicBezTo>
                  <a:pt x="896" y="497"/>
                  <a:pt x="753" y="640"/>
                  <a:pt x="576" y="640"/>
                </a:cubicBezTo>
                <a:cubicBezTo>
                  <a:pt x="399" y="640"/>
                  <a:pt x="256" y="497"/>
                  <a:pt x="256" y="320"/>
                </a:cubicBezTo>
                <a:cubicBezTo>
                  <a:pt x="256" y="143"/>
                  <a:pt x="399" y="0"/>
                  <a:pt x="576" y="0"/>
                </a:cubicBezTo>
                <a:cubicBezTo>
                  <a:pt x="753" y="0"/>
                  <a:pt x="896" y="143"/>
                  <a:pt x="896" y="320"/>
                </a:cubicBezTo>
                <a:close/>
                <a:moveTo>
                  <a:pt x="0" y="1280"/>
                </a:moveTo>
                <a:cubicBezTo>
                  <a:pt x="1152" y="1280"/>
                  <a:pt x="1152" y="1280"/>
                  <a:pt x="1152" y="1280"/>
                </a:cubicBezTo>
                <a:cubicBezTo>
                  <a:pt x="1152" y="999"/>
                  <a:pt x="1152" y="999"/>
                  <a:pt x="1152" y="999"/>
                </a:cubicBezTo>
                <a:cubicBezTo>
                  <a:pt x="1152" y="921"/>
                  <a:pt x="1105" y="850"/>
                  <a:pt x="1032" y="821"/>
                </a:cubicBezTo>
                <a:cubicBezTo>
                  <a:pt x="949" y="787"/>
                  <a:pt x="852" y="749"/>
                  <a:pt x="763" y="743"/>
                </a:cubicBezTo>
                <a:cubicBezTo>
                  <a:pt x="672" y="864"/>
                  <a:pt x="672" y="864"/>
                  <a:pt x="672" y="864"/>
                </a:cubicBezTo>
                <a:cubicBezTo>
                  <a:pt x="480" y="864"/>
                  <a:pt x="480" y="864"/>
                  <a:pt x="480" y="864"/>
                </a:cubicBezTo>
                <a:cubicBezTo>
                  <a:pt x="389" y="743"/>
                  <a:pt x="389" y="743"/>
                  <a:pt x="389" y="743"/>
                </a:cubicBezTo>
                <a:cubicBezTo>
                  <a:pt x="300" y="749"/>
                  <a:pt x="203" y="787"/>
                  <a:pt x="120" y="821"/>
                </a:cubicBezTo>
                <a:cubicBezTo>
                  <a:pt x="47" y="850"/>
                  <a:pt x="0" y="921"/>
                  <a:pt x="0" y="999"/>
                </a:cubicBezTo>
                <a:lnTo>
                  <a:pt x="0" y="128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4" name="Freeform 62">
            <a:extLst>
              <a:ext uri="{FF2B5EF4-FFF2-40B4-BE49-F238E27FC236}">
                <a16:creationId xmlns:a16="http://schemas.microsoft.com/office/drawing/2014/main" id="{9F13FFCB-DD66-4460-AC0F-687851074F17}"/>
              </a:ext>
            </a:extLst>
          </p:cNvPr>
          <p:cNvSpPr>
            <a:spLocks noEditPoints="1"/>
          </p:cNvSpPr>
          <p:nvPr/>
        </p:nvSpPr>
        <p:spPr bwMode="gray">
          <a:xfrm>
            <a:off x="3185553" y="3251802"/>
            <a:ext cx="265113" cy="396875"/>
          </a:xfrm>
          <a:custGeom>
            <a:avLst/>
            <a:gdLst>
              <a:gd name="T0" fmla="*/ 448 w 1024"/>
              <a:gd name="T1" fmla="*/ 426 h 1536"/>
              <a:gd name="T2" fmla="*/ 336 w 1024"/>
              <a:gd name="T3" fmla="*/ 638 h 1536"/>
              <a:gd name="T4" fmla="*/ 64 w 1024"/>
              <a:gd name="T5" fmla="*/ 122 h 1536"/>
              <a:gd name="T6" fmla="*/ 64 w 1024"/>
              <a:gd name="T7" fmla="*/ 0 h 1536"/>
              <a:gd name="T8" fmla="*/ 69 w 1024"/>
              <a:gd name="T9" fmla="*/ 0 h 1536"/>
              <a:gd name="T10" fmla="*/ 296 w 1024"/>
              <a:gd name="T11" fmla="*/ 137 h 1536"/>
              <a:gd name="T12" fmla="*/ 448 w 1024"/>
              <a:gd name="T13" fmla="*/ 426 h 1536"/>
              <a:gd name="T14" fmla="*/ 1024 w 1024"/>
              <a:gd name="T15" fmla="*/ 1280 h 1536"/>
              <a:gd name="T16" fmla="*/ 1024 w 1024"/>
              <a:gd name="T17" fmla="*/ 1408 h 1536"/>
              <a:gd name="T18" fmla="*/ 896 w 1024"/>
              <a:gd name="T19" fmla="*/ 1536 h 1536"/>
              <a:gd name="T20" fmla="*/ 768 w 1024"/>
              <a:gd name="T21" fmla="*/ 1536 h 1536"/>
              <a:gd name="T22" fmla="*/ 640 w 1024"/>
              <a:gd name="T23" fmla="*/ 1408 h 1536"/>
              <a:gd name="T24" fmla="*/ 640 w 1024"/>
              <a:gd name="T25" fmla="*/ 1280 h 1536"/>
              <a:gd name="T26" fmla="*/ 648 w 1024"/>
              <a:gd name="T27" fmla="*/ 1236 h 1536"/>
              <a:gd name="T28" fmla="*/ 513 w 1024"/>
              <a:gd name="T29" fmla="*/ 976 h 1536"/>
              <a:gd name="T30" fmla="*/ 376 w 1024"/>
              <a:gd name="T31" fmla="*/ 1237 h 1536"/>
              <a:gd name="T32" fmla="*/ 384 w 1024"/>
              <a:gd name="T33" fmla="*/ 1280 h 1536"/>
              <a:gd name="T34" fmla="*/ 384 w 1024"/>
              <a:gd name="T35" fmla="*/ 1408 h 1536"/>
              <a:gd name="T36" fmla="*/ 256 w 1024"/>
              <a:gd name="T37" fmla="*/ 1536 h 1536"/>
              <a:gd name="T38" fmla="*/ 128 w 1024"/>
              <a:gd name="T39" fmla="*/ 1536 h 1536"/>
              <a:gd name="T40" fmla="*/ 0 w 1024"/>
              <a:gd name="T41" fmla="*/ 1408 h 1536"/>
              <a:gd name="T42" fmla="*/ 0 w 1024"/>
              <a:gd name="T43" fmla="*/ 1280 h 1536"/>
              <a:gd name="T44" fmla="*/ 128 w 1024"/>
              <a:gd name="T45" fmla="*/ 1152 h 1536"/>
              <a:gd name="T46" fmla="*/ 194 w 1024"/>
              <a:gd name="T47" fmla="*/ 1152 h 1536"/>
              <a:gd name="T48" fmla="*/ 728 w 1024"/>
              <a:gd name="T49" fmla="*/ 137 h 1536"/>
              <a:gd name="T50" fmla="*/ 928 w 1024"/>
              <a:gd name="T51" fmla="*/ 2 h 1536"/>
              <a:gd name="T52" fmla="*/ 928 w 1024"/>
              <a:gd name="T53" fmla="*/ 182 h 1536"/>
              <a:gd name="T54" fmla="*/ 625 w 1024"/>
              <a:gd name="T55" fmla="*/ 762 h 1536"/>
              <a:gd name="T56" fmla="*/ 830 w 1024"/>
              <a:gd name="T57" fmla="*/ 1152 h 1536"/>
              <a:gd name="T58" fmla="*/ 896 w 1024"/>
              <a:gd name="T59" fmla="*/ 1152 h 1536"/>
              <a:gd name="T60" fmla="*/ 1024 w 1024"/>
              <a:gd name="T61" fmla="*/ 1280 h 1536"/>
              <a:gd name="T62" fmla="*/ 288 w 1024"/>
              <a:gd name="T63" fmla="*/ 1280 h 1536"/>
              <a:gd name="T64" fmla="*/ 256 w 1024"/>
              <a:gd name="T65" fmla="*/ 1248 h 1536"/>
              <a:gd name="T66" fmla="*/ 128 w 1024"/>
              <a:gd name="T67" fmla="*/ 1248 h 1536"/>
              <a:gd name="T68" fmla="*/ 96 w 1024"/>
              <a:gd name="T69" fmla="*/ 1280 h 1536"/>
              <a:gd name="T70" fmla="*/ 96 w 1024"/>
              <a:gd name="T71" fmla="*/ 1408 h 1536"/>
              <a:gd name="T72" fmla="*/ 128 w 1024"/>
              <a:gd name="T73" fmla="*/ 1440 h 1536"/>
              <a:gd name="T74" fmla="*/ 256 w 1024"/>
              <a:gd name="T75" fmla="*/ 1440 h 1536"/>
              <a:gd name="T76" fmla="*/ 288 w 1024"/>
              <a:gd name="T77" fmla="*/ 1408 h 1536"/>
              <a:gd name="T78" fmla="*/ 288 w 1024"/>
              <a:gd name="T79" fmla="*/ 1280 h 1536"/>
              <a:gd name="T80" fmla="*/ 928 w 1024"/>
              <a:gd name="T81" fmla="*/ 1280 h 1536"/>
              <a:gd name="T82" fmla="*/ 896 w 1024"/>
              <a:gd name="T83" fmla="*/ 1248 h 1536"/>
              <a:gd name="T84" fmla="*/ 768 w 1024"/>
              <a:gd name="T85" fmla="*/ 1248 h 1536"/>
              <a:gd name="T86" fmla="*/ 736 w 1024"/>
              <a:gd name="T87" fmla="*/ 1280 h 1536"/>
              <a:gd name="T88" fmla="*/ 736 w 1024"/>
              <a:gd name="T89" fmla="*/ 1408 h 1536"/>
              <a:gd name="T90" fmla="*/ 768 w 1024"/>
              <a:gd name="T91" fmla="*/ 1440 h 1536"/>
              <a:gd name="T92" fmla="*/ 896 w 1024"/>
              <a:gd name="T93" fmla="*/ 1440 h 1536"/>
              <a:gd name="T94" fmla="*/ 928 w 1024"/>
              <a:gd name="T95" fmla="*/ 1408 h 1536"/>
              <a:gd name="T96" fmla="*/ 928 w 1024"/>
              <a:gd name="T97" fmla="*/ 1280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24" h="1536">
                <a:moveTo>
                  <a:pt x="448" y="426"/>
                </a:moveTo>
                <a:cubicBezTo>
                  <a:pt x="336" y="638"/>
                  <a:pt x="336" y="638"/>
                  <a:pt x="336" y="638"/>
                </a:cubicBezTo>
                <a:cubicBezTo>
                  <a:pt x="64" y="122"/>
                  <a:pt x="64" y="122"/>
                  <a:pt x="64" y="122"/>
                </a:cubicBezTo>
                <a:cubicBezTo>
                  <a:pt x="64" y="0"/>
                  <a:pt x="64" y="0"/>
                  <a:pt x="64" y="0"/>
                </a:cubicBezTo>
                <a:cubicBezTo>
                  <a:pt x="69" y="0"/>
                  <a:pt x="69" y="0"/>
                  <a:pt x="69" y="0"/>
                </a:cubicBezTo>
                <a:cubicBezTo>
                  <a:pt x="164" y="0"/>
                  <a:pt x="252" y="53"/>
                  <a:pt x="296" y="137"/>
                </a:cubicBezTo>
                <a:lnTo>
                  <a:pt x="448" y="426"/>
                </a:lnTo>
                <a:close/>
                <a:moveTo>
                  <a:pt x="1024" y="1280"/>
                </a:moveTo>
                <a:cubicBezTo>
                  <a:pt x="1024" y="1408"/>
                  <a:pt x="1024" y="1408"/>
                  <a:pt x="1024" y="1408"/>
                </a:cubicBezTo>
                <a:cubicBezTo>
                  <a:pt x="1024" y="1479"/>
                  <a:pt x="967" y="1536"/>
                  <a:pt x="896" y="1536"/>
                </a:cubicBezTo>
                <a:cubicBezTo>
                  <a:pt x="768" y="1536"/>
                  <a:pt x="768" y="1536"/>
                  <a:pt x="768" y="1536"/>
                </a:cubicBezTo>
                <a:cubicBezTo>
                  <a:pt x="697" y="1536"/>
                  <a:pt x="640" y="1479"/>
                  <a:pt x="640" y="1408"/>
                </a:cubicBezTo>
                <a:cubicBezTo>
                  <a:pt x="640" y="1280"/>
                  <a:pt x="640" y="1280"/>
                  <a:pt x="640" y="1280"/>
                </a:cubicBezTo>
                <a:cubicBezTo>
                  <a:pt x="640" y="1265"/>
                  <a:pt x="643" y="1250"/>
                  <a:pt x="648" y="1236"/>
                </a:cubicBezTo>
                <a:cubicBezTo>
                  <a:pt x="513" y="976"/>
                  <a:pt x="513" y="976"/>
                  <a:pt x="513" y="976"/>
                </a:cubicBezTo>
                <a:cubicBezTo>
                  <a:pt x="376" y="1237"/>
                  <a:pt x="376" y="1237"/>
                  <a:pt x="376" y="1237"/>
                </a:cubicBezTo>
                <a:cubicBezTo>
                  <a:pt x="381" y="1251"/>
                  <a:pt x="384" y="1265"/>
                  <a:pt x="384" y="1280"/>
                </a:cubicBezTo>
                <a:cubicBezTo>
                  <a:pt x="384" y="1408"/>
                  <a:pt x="384" y="1408"/>
                  <a:pt x="384" y="1408"/>
                </a:cubicBezTo>
                <a:cubicBezTo>
                  <a:pt x="384" y="1479"/>
                  <a:pt x="327" y="1536"/>
                  <a:pt x="256" y="1536"/>
                </a:cubicBezTo>
                <a:cubicBezTo>
                  <a:pt x="128" y="1536"/>
                  <a:pt x="128" y="1536"/>
                  <a:pt x="128" y="1536"/>
                </a:cubicBezTo>
                <a:cubicBezTo>
                  <a:pt x="57" y="1536"/>
                  <a:pt x="0" y="1479"/>
                  <a:pt x="0" y="1408"/>
                </a:cubicBezTo>
                <a:cubicBezTo>
                  <a:pt x="0" y="1280"/>
                  <a:pt x="0" y="1280"/>
                  <a:pt x="0" y="1280"/>
                </a:cubicBezTo>
                <a:cubicBezTo>
                  <a:pt x="0" y="1209"/>
                  <a:pt x="57" y="1152"/>
                  <a:pt x="128" y="1152"/>
                </a:cubicBezTo>
                <a:cubicBezTo>
                  <a:pt x="194" y="1152"/>
                  <a:pt x="194" y="1152"/>
                  <a:pt x="194" y="1152"/>
                </a:cubicBezTo>
                <a:cubicBezTo>
                  <a:pt x="728" y="137"/>
                  <a:pt x="728" y="137"/>
                  <a:pt x="728" y="137"/>
                </a:cubicBezTo>
                <a:cubicBezTo>
                  <a:pt x="768" y="61"/>
                  <a:pt x="843" y="11"/>
                  <a:pt x="928" y="2"/>
                </a:cubicBezTo>
                <a:cubicBezTo>
                  <a:pt x="928" y="182"/>
                  <a:pt x="928" y="182"/>
                  <a:pt x="928" y="182"/>
                </a:cubicBezTo>
                <a:cubicBezTo>
                  <a:pt x="625" y="762"/>
                  <a:pt x="625" y="762"/>
                  <a:pt x="625" y="762"/>
                </a:cubicBezTo>
                <a:cubicBezTo>
                  <a:pt x="830" y="1152"/>
                  <a:pt x="830" y="1152"/>
                  <a:pt x="830" y="1152"/>
                </a:cubicBezTo>
                <a:cubicBezTo>
                  <a:pt x="896" y="1152"/>
                  <a:pt x="896" y="1152"/>
                  <a:pt x="896" y="1152"/>
                </a:cubicBezTo>
                <a:cubicBezTo>
                  <a:pt x="967" y="1152"/>
                  <a:pt x="1024" y="1209"/>
                  <a:pt x="1024" y="1280"/>
                </a:cubicBezTo>
                <a:close/>
                <a:moveTo>
                  <a:pt x="288" y="1280"/>
                </a:moveTo>
                <a:cubicBezTo>
                  <a:pt x="288" y="1262"/>
                  <a:pt x="274" y="1248"/>
                  <a:pt x="256" y="1248"/>
                </a:cubicBezTo>
                <a:cubicBezTo>
                  <a:pt x="128" y="1248"/>
                  <a:pt x="128" y="1248"/>
                  <a:pt x="128" y="1248"/>
                </a:cubicBezTo>
                <a:cubicBezTo>
                  <a:pt x="110" y="1248"/>
                  <a:pt x="96" y="1262"/>
                  <a:pt x="96" y="1280"/>
                </a:cubicBezTo>
                <a:cubicBezTo>
                  <a:pt x="96" y="1408"/>
                  <a:pt x="96" y="1408"/>
                  <a:pt x="96" y="1408"/>
                </a:cubicBezTo>
                <a:cubicBezTo>
                  <a:pt x="96" y="1426"/>
                  <a:pt x="110" y="1440"/>
                  <a:pt x="128" y="1440"/>
                </a:cubicBezTo>
                <a:cubicBezTo>
                  <a:pt x="256" y="1440"/>
                  <a:pt x="256" y="1440"/>
                  <a:pt x="256" y="1440"/>
                </a:cubicBezTo>
                <a:cubicBezTo>
                  <a:pt x="274" y="1440"/>
                  <a:pt x="288" y="1426"/>
                  <a:pt x="288" y="1408"/>
                </a:cubicBezTo>
                <a:lnTo>
                  <a:pt x="288" y="1280"/>
                </a:lnTo>
                <a:close/>
                <a:moveTo>
                  <a:pt x="928" y="1280"/>
                </a:moveTo>
                <a:cubicBezTo>
                  <a:pt x="928" y="1262"/>
                  <a:pt x="914" y="1248"/>
                  <a:pt x="896" y="1248"/>
                </a:cubicBezTo>
                <a:cubicBezTo>
                  <a:pt x="768" y="1248"/>
                  <a:pt x="768" y="1248"/>
                  <a:pt x="768" y="1248"/>
                </a:cubicBezTo>
                <a:cubicBezTo>
                  <a:pt x="750" y="1248"/>
                  <a:pt x="736" y="1262"/>
                  <a:pt x="736" y="1280"/>
                </a:cubicBezTo>
                <a:cubicBezTo>
                  <a:pt x="736" y="1408"/>
                  <a:pt x="736" y="1408"/>
                  <a:pt x="736" y="1408"/>
                </a:cubicBezTo>
                <a:cubicBezTo>
                  <a:pt x="736" y="1426"/>
                  <a:pt x="750" y="1440"/>
                  <a:pt x="768" y="1440"/>
                </a:cubicBezTo>
                <a:cubicBezTo>
                  <a:pt x="896" y="1440"/>
                  <a:pt x="896" y="1440"/>
                  <a:pt x="896" y="1440"/>
                </a:cubicBezTo>
                <a:cubicBezTo>
                  <a:pt x="914" y="1440"/>
                  <a:pt x="928" y="1426"/>
                  <a:pt x="928" y="1408"/>
                </a:cubicBezTo>
                <a:lnTo>
                  <a:pt x="928" y="128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5" name="Freeform 66">
            <a:extLst>
              <a:ext uri="{FF2B5EF4-FFF2-40B4-BE49-F238E27FC236}">
                <a16:creationId xmlns:a16="http://schemas.microsoft.com/office/drawing/2014/main" id="{93A011A1-D908-4B13-B3D5-FD711ACAD23C}"/>
              </a:ext>
            </a:extLst>
          </p:cNvPr>
          <p:cNvSpPr>
            <a:spLocks noEditPoints="1"/>
          </p:cNvSpPr>
          <p:nvPr/>
        </p:nvSpPr>
        <p:spPr bwMode="gray">
          <a:xfrm>
            <a:off x="2007926" y="3251802"/>
            <a:ext cx="393700" cy="396875"/>
          </a:xfrm>
          <a:custGeom>
            <a:avLst/>
            <a:gdLst>
              <a:gd name="T0" fmla="*/ 72 w 248"/>
              <a:gd name="T1" fmla="*/ 211 h 250"/>
              <a:gd name="T2" fmla="*/ 38 w 248"/>
              <a:gd name="T3" fmla="*/ 176 h 250"/>
              <a:gd name="T4" fmla="*/ 172 w 248"/>
              <a:gd name="T5" fmla="*/ 41 h 250"/>
              <a:gd name="T6" fmla="*/ 207 w 248"/>
              <a:gd name="T7" fmla="*/ 76 h 250"/>
              <a:gd name="T8" fmla="*/ 72 w 248"/>
              <a:gd name="T9" fmla="*/ 211 h 250"/>
              <a:gd name="T10" fmla="*/ 56 w 248"/>
              <a:gd name="T11" fmla="*/ 227 h 250"/>
              <a:gd name="T12" fmla="*/ 22 w 248"/>
              <a:gd name="T13" fmla="*/ 192 h 250"/>
              <a:gd name="T14" fmla="*/ 0 w 248"/>
              <a:gd name="T15" fmla="*/ 250 h 250"/>
              <a:gd name="T16" fmla="*/ 56 w 248"/>
              <a:gd name="T17" fmla="*/ 227 h 250"/>
              <a:gd name="T18" fmla="*/ 224 w 248"/>
              <a:gd name="T19" fmla="*/ 58 h 250"/>
              <a:gd name="T20" fmla="*/ 248 w 248"/>
              <a:gd name="T21" fmla="*/ 35 h 250"/>
              <a:gd name="T22" fmla="*/ 213 w 248"/>
              <a:gd name="T23" fmla="*/ 0 h 250"/>
              <a:gd name="T24" fmla="*/ 190 w 248"/>
              <a:gd name="T25" fmla="*/ 24 h 250"/>
              <a:gd name="T26" fmla="*/ 224 w 248"/>
              <a:gd name="T27" fmla="*/ 58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8" h="250">
                <a:moveTo>
                  <a:pt x="72" y="211"/>
                </a:moveTo>
                <a:lnTo>
                  <a:pt x="38" y="176"/>
                </a:lnTo>
                <a:lnTo>
                  <a:pt x="172" y="41"/>
                </a:lnTo>
                <a:lnTo>
                  <a:pt x="207" y="76"/>
                </a:lnTo>
                <a:lnTo>
                  <a:pt x="72" y="211"/>
                </a:lnTo>
                <a:close/>
                <a:moveTo>
                  <a:pt x="56" y="227"/>
                </a:moveTo>
                <a:lnTo>
                  <a:pt x="22" y="192"/>
                </a:lnTo>
                <a:lnTo>
                  <a:pt x="0" y="250"/>
                </a:lnTo>
                <a:lnTo>
                  <a:pt x="56" y="227"/>
                </a:lnTo>
                <a:close/>
                <a:moveTo>
                  <a:pt x="224" y="58"/>
                </a:moveTo>
                <a:lnTo>
                  <a:pt x="248" y="35"/>
                </a:lnTo>
                <a:lnTo>
                  <a:pt x="213" y="0"/>
                </a:lnTo>
                <a:lnTo>
                  <a:pt x="190" y="24"/>
                </a:lnTo>
                <a:lnTo>
                  <a:pt x="224" y="5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6" name="Freeform 70">
            <a:extLst>
              <a:ext uri="{FF2B5EF4-FFF2-40B4-BE49-F238E27FC236}">
                <a16:creationId xmlns:a16="http://schemas.microsoft.com/office/drawing/2014/main" id="{D4E4D2AF-B348-4EFA-B0E3-7AF87590D800}"/>
              </a:ext>
            </a:extLst>
          </p:cNvPr>
          <p:cNvSpPr>
            <a:spLocks noEditPoints="1"/>
          </p:cNvSpPr>
          <p:nvPr/>
        </p:nvSpPr>
        <p:spPr bwMode="gray">
          <a:xfrm>
            <a:off x="5393963" y="2078801"/>
            <a:ext cx="301625" cy="396875"/>
          </a:xfrm>
          <a:custGeom>
            <a:avLst/>
            <a:gdLst>
              <a:gd name="T0" fmla="*/ 1024 w 1024"/>
              <a:gd name="T1" fmla="*/ 192 h 1344"/>
              <a:gd name="T2" fmla="*/ 1024 w 1024"/>
              <a:gd name="T3" fmla="*/ 320 h 1344"/>
              <a:gd name="T4" fmla="*/ 0 w 1024"/>
              <a:gd name="T5" fmla="*/ 320 h 1344"/>
              <a:gd name="T6" fmla="*/ 0 w 1024"/>
              <a:gd name="T7" fmla="*/ 192 h 1344"/>
              <a:gd name="T8" fmla="*/ 320 w 1024"/>
              <a:gd name="T9" fmla="*/ 64 h 1344"/>
              <a:gd name="T10" fmla="*/ 384 w 1024"/>
              <a:gd name="T11" fmla="*/ 0 h 1344"/>
              <a:gd name="T12" fmla="*/ 640 w 1024"/>
              <a:gd name="T13" fmla="*/ 0 h 1344"/>
              <a:gd name="T14" fmla="*/ 704 w 1024"/>
              <a:gd name="T15" fmla="*/ 64 h 1344"/>
              <a:gd name="T16" fmla="*/ 1024 w 1024"/>
              <a:gd name="T17" fmla="*/ 192 h 1344"/>
              <a:gd name="T18" fmla="*/ 0 w 1024"/>
              <a:gd name="T19" fmla="*/ 384 h 1344"/>
              <a:gd name="T20" fmla="*/ 98 w 1024"/>
              <a:gd name="T21" fmla="*/ 1122 h 1344"/>
              <a:gd name="T22" fmla="*/ 352 w 1024"/>
              <a:gd name="T23" fmla="*/ 1344 h 1344"/>
              <a:gd name="T24" fmla="*/ 672 w 1024"/>
              <a:gd name="T25" fmla="*/ 1344 h 1344"/>
              <a:gd name="T26" fmla="*/ 926 w 1024"/>
              <a:gd name="T27" fmla="*/ 1122 h 1344"/>
              <a:gd name="T28" fmla="*/ 1024 w 1024"/>
              <a:gd name="T29" fmla="*/ 384 h 1344"/>
              <a:gd name="T30" fmla="*/ 0 w 1024"/>
              <a:gd name="T31" fmla="*/ 384 h 1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4" h="1344">
                <a:moveTo>
                  <a:pt x="1024" y="192"/>
                </a:moveTo>
                <a:cubicBezTo>
                  <a:pt x="1024" y="320"/>
                  <a:pt x="1024" y="320"/>
                  <a:pt x="1024" y="320"/>
                </a:cubicBezTo>
                <a:cubicBezTo>
                  <a:pt x="0" y="320"/>
                  <a:pt x="0" y="320"/>
                  <a:pt x="0" y="320"/>
                </a:cubicBezTo>
                <a:cubicBezTo>
                  <a:pt x="0" y="192"/>
                  <a:pt x="0" y="192"/>
                  <a:pt x="0" y="192"/>
                </a:cubicBezTo>
                <a:cubicBezTo>
                  <a:pt x="64" y="128"/>
                  <a:pt x="128" y="64"/>
                  <a:pt x="320" y="64"/>
                </a:cubicBezTo>
                <a:cubicBezTo>
                  <a:pt x="320" y="29"/>
                  <a:pt x="349" y="0"/>
                  <a:pt x="384" y="0"/>
                </a:cubicBezTo>
                <a:cubicBezTo>
                  <a:pt x="640" y="0"/>
                  <a:pt x="640" y="0"/>
                  <a:pt x="640" y="0"/>
                </a:cubicBezTo>
                <a:cubicBezTo>
                  <a:pt x="675" y="0"/>
                  <a:pt x="704" y="29"/>
                  <a:pt x="704" y="64"/>
                </a:cubicBezTo>
                <a:cubicBezTo>
                  <a:pt x="896" y="64"/>
                  <a:pt x="960" y="128"/>
                  <a:pt x="1024" y="192"/>
                </a:cubicBezTo>
                <a:close/>
                <a:moveTo>
                  <a:pt x="0" y="384"/>
                </a:moveTo>
                <a:cubicBezTo>
                  <a:pt x="98" y="1122"/>
                  <a:pt x="98" y="1122"/>
                  <a:pt x="98" y="1122"/>
                </a:cubicBezTo>
                <a:cubicBezTo>
                  <a:pt x="115" y="1249"/>
                  <a:pt x="224" y="1344"/>
                  <a:pt x="352" y="1344"/>
                </a:cubicBezTo>
                <a:cubicBezTo>
                  <a:pt x="672" y="1344"/>
                  <a:pt x="672" y="1344"/>
                  <a:pt x="672" y="1344"/>
                </a:cubicBezTo>
                <a:cubicBezTo>
                  <a:pt x="800" y="1344"/>
                  <a:pt x="909" y="1249"/>
                  <a:pt x="926" y="1122"/>
                </a:cubicBezTo>
                <a:cubicBezTo>
                  <a:pt x="1024" y="384"/>
                  <a:pt x="1024" y="384"/>
                  <a:pt x="1024" y="384"/>
                </a:cubicBezTo>
                <a:lnTo>
                  <a:pt x="0" y="38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7" name="Freeform 74">
            <a:extLst>
              <a:ext uri="{FF2B5EF4-FFF2-40B4-BE49-F238E27FC236}">
                <a16:creationId xmlns:a16="http://schemas.microsoft.com/office/drawing/2014/main" id="{ECE2FAF8-0F1C-43BB-BDC9-F7A563131339}"/>
              </a:ext>
            </a:extLst>
          </p:cNvPr>
          <p:cNvSpPr>
            <a:spLocks noEditPoints="1"/>
          </p:cNvSpPr>
          <p:nvPr/>
        </p:nvSpPr>
        <p:spPr bwMode="gray">
          <a:xfrm>
            <a:off x="4139632" y="3264408"/>
            <a:ext cx="583620" cy="371664"/>
          </a:xfrm>
          <a:custGeom>
            <a:avLst/>
            <a:gdLst>
              <a:gd name="T0" fmla="*/ 1408 w 1408"/>
              <a:gd name="T1" fmla="*/ 896 h 896"/>
              <a:gd name="T2" fmla="*/ 256 w 1408"/>
              <a:gd name="T3" fmla="*/ 896 h 896"/>
              <a:gd name="T4" fmla="*/ 0 w 1408"/>
              <a:gd name="T5" fmla="*/ 640 h 896"/>
              <a:gd name="T6" fmla="*/ 0 w 1408"/>
              <a:gd name="T7" fmla="*/ 320 h 896"/>
              <a:gd name="T8" fmla="*/ 1408 w 1408"/>
              <a:gd name="T9" fmla="*/ 320 h 896"/>
              <a:gd name="T10" fmla="*/ 1408 w 1408"/>
              <a:gd name="T11" fmla="*/ 896 h 896"/>
              <a:gd name="T12" fmla="*/ 640 w 1408"/>
              <a:gd name="T13" fmla="*/ 128 h 896"/>
              <a:gd name="T14" fmla="*/ 549 w 1408"/>
              <a:gd name="T15" fmla="*/ 37 h 896"/>
              <a:gd name="T16" fmla="*/ 459 w 1408"/>
              <a:gd name="T17" fmla="*/ 0 h 896"/>
              <a:gd name="T18" fmla="*/ 0 w 1408"/>
              <a:gd name="T19" fmla="*/ 0 h 896"/>
              <a:gd name="T20" fmla="*/ 0 w 1408"/>
              <a:gd name="T21" fmla="*/ 256 h 896"/>
              <a:gd name="T22" fmla="*/ 1408 w 1408"/>
              <a:gd name="T23" fmla="*/ 256 h 896"/>
              <a:gd name="T24" fmla="*/ 1408 w 1408"/>
              <a:gd name="T25" fmla="*/ 128 h 896"/>
              <a:gd name="T26" fmla="*/ 640 w 1408"/>
              <a:gd name="T27" fmla="*/ 128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8" h="896">
                <a:moveTo>
                  <a:pt x="1408" y="896"/>
                </a:moveTo>
                <a:cubicBezTo>
                  <a:pt x="256" y="896"/>
                  <a:pt x="256" y="896"/>
                  <a:pt x="256" y="896"/>
                </a:cubicBezTo>
                <a:cubicBezTo>
                  <a:pt x="115" y="896"/>
                  <a:pt x="0" y="781"/>
                  <a:pt x="0" y="640"/>
                </a:cubicBezTo>
                <a:cubicBezTo>
                  <a:pt x="0" y="320"/>
                  <a:pt x="0" y="320"/>
                  <a:pt x="0" y="320"/>
                </a:cubicBezTo>
                <a:cubicBezTo>
                  <a:pt x="1408" y="320"/>
                  <a:pt x="1408" y="320"/>
                  <a:pt x="1408" y="320"/>
                </a:cubicBezTo>
                <a:lnTo>
                  <a:pt x="1408" y="896"/>
                </a:lnTo>
                <a:close/>
                <a:moveTo>
                  <a:pt x="640" y="128"/>
                </a:moveTo>
                <a:cubicBezTo>
                  <a:pt x="549" y="37"/>
                  <a:pt x="549" y="37"/>
                  <a:pt x="549" y="37"/>
                </a:cubicBezTo>
                <a:cubicBezTo>
                  <a:pt x="525" y="13"/>
                  <a:pt x="493" y="0"/>
                  <a:pt x="459" y="0"/>
                </a:cubicBezTo>
                <a:cubicBezTo>
                  <a:pt x="0" y="0"/>
                  <a:pt x="0" y="0"/>
                  <a:pt x="0" y="0"/>
                </a:cubicBezTo>
                <a:cubicBezTo>
                  <a:pt x="0" y="256"/>
                  <a:pt x="0" y="256"/>
                  <a:pt x="0" y="256"/>
                </a:cubicBezTo>
                <a:cubicBezTo>
                  <a:pt x="1408" y="256"/>
                  <a:pt x="1408" y="256"/>
                  <a:pt x="1408" y="256"/>
                </a:cubicBezTo>
                <a:cubicBezTo>
                  <a:pt x="1408" y="128"/>
                  <a:pt x="1408" y="128"/>
                  <a:pt x="1408" y="128"/>
                </a:cubicBezTo>
                <a:lnTo>
                  <a:pt x="640" y="12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8" name="Freeform 78">
            <a:extLst>
              <a:ext uri="{FF2B5EF4-FFF2-40B4-BE49-F238E27FC236}">
                <a16:creationId xmlns:a16="http://schemas.microsoft.com/office/drawing/2014/main" id="{817D49D4-45C5-466D-968E-FC3EA79A9AD6}"/>
              </a:ext>
            </a:extLst>
          </p:cNvPr>
          <p:cNvSpPr>
            <a:spLocks noEditPoints="1"/>
          </p:cNvSpPr>
          <p:nvPr/>
        </p:nvSpPr>
        <p:spPr bwMode="gray">
          <a:xfrm>
            <a:off x="3116496" y="2074832"/>
            <a:ext cx="403226" cy="404813"/>
          </a:xfrm>
          <a:custGeom>
            <a:avLst/>
            <a:gdLst>
              <a:gd name="T0" fmla="*/ 574 w 1440"/>
              <a:gd name="T1" fmla="*/ 344 h 1440"/>
              <a:gd name="T2" fmla="*/ 495 w 1440"/>
              <a:gd name="T3" fmla="*/ 423 h 1440"/>
              <a:gd name="T4" fmla="*/ 234 w 1440"/>
              <a:gd name="T5" fmla="*/ 57 h 1440"/>
              <a:gd name="T6" fmla="*/ 234 w 1440"/>
              <a:gd name="T7" fmla="*/ 57 h 1440"/>
              <a:gd name="T8" fmla="*/ 443 w 1440"/>
              <a:gd name="T9" fmla="*/ 57 h 1440"/>
              <a:gd name="T10" fmla="*/ 574 w 1440"/>
              <a:gd name="T11" fmla="*/ 344 h 1440"/>
              <a:gd name="T12" fmla="*/ 1096 w 1440"/>
              <a:gd name="T13" fmla="*/ 866 h 1440"/>
              <a:gd name="T14" fmla="*/ 1017 w 1440"/>
              <a:gd name="T15" fmla="*/ 945 h 1440"/>
              <a:gd name="T16" fmla="*/ 1383 w 1440"/>
              <a:gd name="T17" fmla="*/ 1206 h 1440"/>
              <a:gd name="T18" fmla="*/ 1383 w 1440"/>
              <a:gd name="T19" fmla="*/ 1206 h 1440"/>
              <a:gd name="T20" fmla="*/ 1383 w 1440"/>
              <a:gd name="T21" fmla="*/ 997 h 1440"/>
              <a:gd name="T22" fmla="*/ 1096 w 1440"/>
              <a:gd name="T23" fmla="*/ 866 h 1440"/>
              <a:gd name="T24" fmla="*/ 939 w 1440"/>
              <a:gd name="T25" fmla="*/ 1023 h 1440"/>
              <a:gd name="T26" fmla="*/ 887 w 1440"/>
              <a:gd name="T27" fmla="*/ 1075 h 1440"/>
              <a:gd name="T28" fmla="*/ 365 w 1440"/>
              <a:gd name="T29" fmla="*/ 553 h 1440"/>
              <a:gd name="T30" fmla="*/ 417 w 1440"/>
              <a:gd name="T31" fmla="*/ 501 h 1440"/>
              <a:gd name="T32" fmla="*/ 443 w 1440"/>
              <a:gd name="T33" fmla="*/ 475 h 1440"/>
              <a:gd name="T34" fmla="*/ 182 w 1440"/>
              <a:gd name="T35" fmla="*/ 109 h 1440"/>
              <a:gd name="T36" fmla="*/ 83 w 1440"/>
              <a:gd name="T37" fmla="*/ 209 h 1440"/>
              <a:gd name="T38" fmla="*/ 36 w 1440"/>
              <a:gd name="T39" fmla="*/ 454 h 1440"/>
              <a:gd name="T40" fmla="*/ 417 w 1440"/>
              <a:gd name="T41" fmla="*/ 1023 h 1440"/>
              <a:gd name="T42" fmla="*/ 986 w 1440"/>
              <a:gd name="T43" fmla="*/ 1404 h 1440"/>
              <a:gd name="T44" fmla="*/ 1231 w 1440"/>
              <a:gd name="T45" fmla="*/ 1358 h 1440"/>
              <a:gd name="T46" fmla="*/ 1331 w 1440"/>
              <a:gd name="T47" fmla="*/ 1258 h 1440"/>
              <a:gd name="T48" fmla="*/ 965 w 1440"/>
              <a:gd name="T49" fmla="*/ 997 h 1440"/>
              <a:gd name="T50" fmla="*/ 939 w 1440"/>
              <a:gd name="T51" fmla="*/ 1023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0" h="1440">
                <a:moveTo>
                  <a:pt x="574" y="344"/>
                </a:moveTo>
                <a:cubicBezTo>
                  <a:pt x="495" y="423"/>
                  <a:pt x="495" y="423"/>
                  <a:pt x="495" y="423"/>
                </a:cubicBezTo>
                <a:cubicBezTo>
                  <a:pt x="234" y="57"/>
                  <a:pt x="234" y="57"/>
                  <a:pt x="234" y="57"/>
                </a:cubicBezTo>
                <a:cubicBezTo>
                  <a:pt x="234" y="57"/>
                  <a:pt x="234" y="57"/>
                  <a:pt x="234" y="57"/>
                </a:cubicBezTo>
                <a:cubicBezTo>
                  <a:pt x="292" y="0"/>
                  <a:pt x="386" y="0"/>
                  <a:pt x="443" y="57"/>
                </a:cubicBezTo>
                <a:lnTo>
                  <a:pt x="574" y="344"/>
                </a:lnTo>
                <a:close/>
                <a:moveTo>
                  <a:pt x="1096" y="866"/>
                </a:moveTo>
                <a:cubicBezTo>
                  <a:pt x="1017" y="945"/>
                  <a:pt x="1017" y="945"/>
                  <a:pt x="1017" y="945"/>
                </a:cubicBezTo>
                <a:cubicBezTo>
                  <a:pt x="1383" y="1206"/>
                  <a:pt x="1383" y="1206"/>
                  <a:pt x="1383" y="1206"/>
                </a:cubicBezTo>
                <a:cubicBezTo>
                  <a:pt x="1383" y="1206"/>
                  <a:pt x="1383" y="1206"/>
                  <a:pt x="1383" y="1206"/>
                </a:cubicBezTo>
                <a:cubicBezTo>
                  <a:pt x="1440" y="1148"/>
                  <a:pt x="1440" y="1054"/>
                  <a:pt x="1383" y="997"/>
                </a:cubicBezTo>
                <a:lnTo>
                  <a:pt x="1096" y="866"/>
                </a:lnTo>
                <a:close/>
                <a:moveTo>
                  <a:pt x="939" y="1023"/>
                </a:moveTo>
                <a:cubicBezTo>
                  <a:pt x="887" y="1075"/>
                  <a:pt x="887" y="1075"/>
                  <a:pt x="887" y="1075"/>
                </a:cubicBezTo>
                <a:cubicBezTo>
                  <a:pt x="365" y="553"/>
                  <a:pt x="365" y="553"/>
                  <a:pt x="365" y="553"/>
                </a:cubicBezTo>
                <a:cubicBezTo>
                  <a:pt x="417" y="501"/>
                  <a:pt x="417" y="501"/>
                  <a:pt x="417" y="501"/>
                </a:cubicBezTo>
                <a:cubicBezTo>
                  <a:pt x="443" y="475"/>
                  <a:pt x="443" y="475"/>
                  <a:pt x="443" y="475"/>
                </a:cubicBezTo>
                <a:cubicBezTo>
                  <a:pt x="182" y="109"/>
                  <a:pt x="182" y="109"/>
                  <a:pt x="182" y="109"/>
                </a:cubicBezTo>
                <a:cubicBezTo>
                  <a:pt x="83" y="209"/>
                  <a:pt x="83" y="209"/>
                  <a:pt x="83" y="209"/>
                </a:cubicBezTo>
                <a:cubicBezTo>
                  <a:pt x="19" y="274"/>
                  <a:pt x="0" y="370"/>
                  <a:pt x="36" y="454"/>
                </a:cubicBezTo>
                <a:cubicBezTo>
                  <a:pt x="121" y="656"/>
                  <a:pt x="217" y="823"/>
                  <a:pt x="417" y="1023"/>
                </a:cubicBezTo>
                <a:cubicBezTo>
                  <a:pt x="617" y="1223"/>
                  <a:pt x="784" y="1319"/>
                  <a:pt x="986" y="1404"/>
                </a:cubicBezTo>
                <a:cubicBezTo>
                  <a:pt x="1070" y="1440"/>
                  <a:pt x="1166" y="1421"/>
                  <a:pt x="1231" y="1358"/>
                </a:cubicBezTo>
                <a:cubicBezTo>
                  <a:pt x="1331" y="1258"/>
                  <a:pt x="1331" y="1258"/>
                  <a:pt x="1331" y="1258"/>
                </a:cubicBezTo>
                <a:cubicBezTo>
                  <a:pt x="965" y="997"/>
                  <a:pt x="965" y="997"/>
                  <a:pt x="965" y="997"/>
                </a:cubicBezTo>
                <a:lnTo>
                  <a:pt x="939" y="10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9" name="Freeform 82">
            <a:extLst>
              <a:ext uri="{FF2B5EF4-FFF2-40B4-BE49-F238E27FC236}">
                <a16:creationId xmlns:a16="http://schemas.microsoft.com/office/drawing/2014/main" id="{7A48833F-482A-4F9C-B333-9667B8529063}"/>
              </a:ext>
            </a:extLst>
          </p:cNvPr>
          <p:cNvSpPr>
            <a:spLocks noEditPoints="1"/>
          </p:cNvSpPr>
          <p:nvPr/>
        </p:nvSpPr>
        <p:spPr bwMode="gray">
          <a:xfrm>
            <a:off x="6459671" y="2078801"/>
            <a:ext cx="396875" cy="396875"/>
          </a:xfrm>
          <a:custGeom>
            <a:avLst/>
            <a:gdLst>
              <a:gd name="T0" fmla="*/ 721 w 1280"/>
              <a:gd name="T1" fmla="*/ 589 h 1280"/>
              <a:gd name="T2" fmla="*/ 940 w 1280"/>
              <a:gd name="T3" fmla="*/ 748 h 1280"/>
              <a:gd name="T4" fmla="*/ 848 w 1280"/>
              <a:gd name="T5" fmla="*/ 864 h 1280"/>
              <a:gd name="T6" fmla="*/ 673 w 1280"/>
              <a:gd name="T7" fmla="*/ 730 h 1280"/>
              <a:gd name="T8" fmla="*/ 550 w 1280"/>
              <a:gd name="T9" fmla="*/ 674 h 1280"/>
              <a:gd name="T10" fmla="*/ 576 w 1280"/>
              <a:gd name="T11" fmla="*/ 569 h 1280"/>
              <a:gd name="T12" fmla="*/ 576 w 1280"/>
              <a:gd name="T13" fmla="*/ 192 h 1280"/>
              <a:gd name="T14" fmla="*/ 704 w 1280"/>
              <a:gd name="T15" fmla="*/ 192 h 1280"/>
              <a:gd name="T16" fmla="*/ 704 w 1280"/>
              <a:gd name="T17" fmla="*/ 568 h 1280"/>
              <a:gd name="T18" fmla="*/ 704 w 1280"/>
              <a:gd name="T19" fmla="*/ 569 h 1280"/>
              <a:gd name="T20" fmla="*/ 704 w 1280"/>
              <a:gd name="T21" fmla="*/ 569 h 1280"/>
              <a:gd name="T22" fmla="*/ 704 w 1280"/>
              <a:gd name="T23" fmla="*/ 568 h 1280"/>
              <a:gd name="T24" fmla="*/ 712 w 1280"/>
              <a:gd name="T25" fmla="*/ 577 h 1280"/>
              <a:gd name="T26" fmla="*/ 721 w 1280"/>
              <a:gd name="T27" fmla="*/ 589 h 1280"/>
              <a:gd name="T28" fmla="*/ 640 w 1280"/>
              <a:gd name="T29" fmla="*/ 128 h 1280"/>
              <a:gd name="T30" fmla="*/ 1152 w 1280"/>
              <a:gd name="T31" fmla="*/ 640 h 1280"/>
              <a:gd name="T32" fmla="*/ 640 w 1280"/>
              <a:gd name="T33" fmla="*/ 1152 h 1280"/>
              <a:gd name="T34" fmla="*/ 128 w 1280"/>
              <a:gd name="T35" fmla="*/ 640 h 1280"/>
              <a:gd name="T36" fmla="*/ 640 w 1280"/>
              <a:gd name="T37" fmla="*/ 128 h 1280"/>
              <a:gd name="T38" fmla="*/ 640 w 1280"/>
              <a:gd name="T39" fmla="*/ 0 h 1280"/>
              <a:gd name="T40" fmla="*/ 0 w 1280"/>
              <a:gd name="T41" fmla="*/ 640 h 1280"/>
              <a:gd name="T42" fmla="*/ 640 w 1280"/>
              <a:gd name="T43" fmla="*/ 1280 h 1280"/>
              <a:gd name="T44" fmla="*/ 1280 w 1280"/>
              <a:gd name="T45" fmla="*/ 640 h 1280"/>
              <a:gd name="T46" fmla="*/ 640 w 1280"/>
              <a:gd name="T47" fmla="*/ 0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80" h="1280">
                <a:moveTo>
                  <a:pt x="721" y="589"/>
                </a:moveTo>
                <a:cubicBezTo>
                  <a:pt x="940" y="748"/>
                  <a:pt x="940" y="748"/>
                  <a:pt x="940" y="748"/>
                </a:cubicBezTo>
                <a:cubicBezTo>
                  <a:pt x="848" y="864"/>
                  <a:pt x="848" y="864"/>
                  <a:pt x="848" y="864"/>
                </a:cubicBezTo>
                <a:cubicBezTo>
                  <a:pt x="673" y="730"/>
                  <a:pt x="673" y="730"/>
                  <a:pt x="673" y="730"/>
                </a:cubicBezTo>
                <a:cubicBezTo>
                  <a:pt x="623" y="748"/>
                  <a:pt x="568" y="723"/>
                  <a:pt x="550" y="674"/>
                </a:cubicBezTo>
                <a:cubicBezTo>
                  <a:pt x="536" y="637"/>
                  <a:pt x="547" y="595"/>
                  <a:pt x="576" y="569"/>
                </a:cubicBezTo>
                <a:cubicBezTo>
                  <a:pt x="576" y="192"/>
                  <a:pt x="576" y="192"/>
                  <a:pt x="576" y="192"/>
                </a:cubicBezTo>
                <a:cubicBezTo>
                  <a:pt x="704" y="192"/>
                  <a:pt x="704" y="192"/>
                  <a:pt x="704" y="192"/>
                </a:cubicBezTo>
                <a:cubicBezTo>
                  <a:pt x="704" y="568"/>
                  <a:pt x="704" y="568"/>
                  <a:pt x="704" y="568"/>
                </a:cubicBezTo>
                <a:cubicBezTo>
                  <a:pt x="704" y="568"/>
                  <a:pt x="704" y="568"/>
                  <a:pt x="704" y="569"/>
                </a:cubicBezTo>
                <a:cubicBezTo>
                  <a:pt x="704" y="569"/>
                  <a:pt x="704" y="569"/>
                  <a:pt x="704" y="569"/>
                </a:cubicBezTo>
                <a:cubicBezTo>
                  <a:pt x="704" y="568"/>
                  <a:pt x="704" y="568"/>
                  <a:pt x="704" y="568"/>
                </a:cubicBezTo>
                <a:cubicBezTo>
                  <a:pt x="706" y="562"/>
                  <a:pt x="716" y="575"/>
                  <a:pt x="712" y="577"/>
                </a:cubicBezTo>
                <a:cubicBezTo>
                  <a:pt x="715" y="581"/>
                  <a:pt x="718" y="585"/>
                  <a:pt x="721" y="589"/>
                </a:cubicBezTo>
                <a:close/>
                <a:moveTo>
                  <a:pt x="640" y="128"/>
                </a:moveTo>
                <a:cubicBezTo>
                  <a:pt x="923" y="128"/>
                  <a:pt x="1152" y="357"/>
                  <a:pt x="1152" y="640"/>
                </a:cubicBezTo>
                <a:cubicBezTo>
                  <a:pt x="1152" y="923"/>
                  <a:pt x="923" y="1152"/>
                  <a:pt x="640" y="1152"/>
                </a:cubicBezTo>
                <a:cubicBezTo>
                  <a:pt x="357" y="1152"/>
                  <a:pt x="128" y="923"/>
                  <a:pt x="128" y="640"/>
                </a:cubicBezTo>
                <a:cubicBezTo>
                  <a:pt x="128" y="357"/>
                  <a:pt x="357" y="128"/>
                  <a:pt x="640" y="128"/>
                </a:cubicBezTo>
                <a:moveTo>
                  <a:pt x="640" y="0"/>
                </a:moveTo>
                <a:cubicBezTo>
                  <a:pt x="287" y="0"/>
                  <a:pt x="0" y="287"/>
                  <a:pt x="0" y="640"/>
                </a:cubicBezTo>
                <a:cubicBezTo>
                  <a:pt x="0" y="993"/>
                  <a:pt x="287" y="1280"/>
                  <a:pt x="640" y="1280"/>
                </a:cubicBezTo>
                <a:cubicBezTo>
                  <a:pt x="993" y="1280"/>
                  <a:pt x="1280" y="993"/>
                  <a:pt x="1280" y="640"/>
                </a:cubicBezTo>
                <a:cubicBezTo>
                  <a:pt x="1280" y="287"/>
                  <a:pt x="993" y="0"/>
                  <a:pt x="64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0" name="Freeform 86">
            <a:extLst>
              <a:ext uri="{FF2B5EF4-FFF2-40B4-BE49-F238E27FC236}">
                <a16:creationId xmlns:a16="http://schemas.microsoft.com/office/drawing/2014/main" id="{7DCB0553-95F3-498B-BB18-D73C57018A44}"/>
              </a:ext>
            </a:extLst>
          </p:cNvPr>
          <p:cNvSpPr>
            <a:spLocks noEditPoints="1"/>
          </p:cNvSpPr>
          <p:nvPr/>
        </p:nvSpPr>
        <p:spPr bwMode="gray">
          <a:xfrm>
            <a:off x="7553954" y="2078801"/>
            <a:ext cx="434975" cy="396875"/>
          </a:xfrm>
          <a:custGeom>
            <a:avLst/>
            <a:gdLst>
              <a:gd name="T0" fmla="*/ 425 w 1408"/>
              <a:gd name="T1" fmla="*/ 980 h 1280"/>
              <a:gd name="T2" fmla="*/ 549 w 1408"/>
              <a:gd name="T3" fmla="*/ 804 h 1280"/>
              <a:gd name="T4" fmla="*/ 548 w 1408"/>
              <a:gd name="T5" fmla="*/ 659 h 1280"/>
              <a:gd name="T6" fmla="*/ 427 w 1408"/>
              <a:gd name="T7" fmla="*/ 727 h 1280"/>
              <a:gd name="T8" fmla="*/ 669 w 1408"/>
              <a:gd name="T9" fmla="*/ 710 h 1280"/>
              <a:gd name="T10" fmla="*/ 533 w 1408"/>
              <a:gd name="T11" fmla="*/ 910 h 1280"/>
              <a:gd name="T12" fmla="*/ 519 w 1408"/>
              <a:gd name="T13" fmla="*/ 924 h 1280"/>
              <a:gd name="T14" fmla="*/ 679 w 1408"/>
              <a:gd name="T15" fmla="*/ 921 h 1280"/>
              <a:gd name="T16" fmla="*/ 817 w 1408"/>
              <a:gd name="T17" fmla="*/ 764 h 1280"/>
              <a:gd name="T18" fmla="*/ 907 w 1408"/>
              <a:gd name="T19" fmla="*/ 708 h 1280"/>
              <a:gd name="T20" fmla="*/ 802 w 1408"/>
              <a:gd name="T21" fmla="*/ 702 h 1280"/>
              <a:gd name="T22" fmla="*/ 852 w 1408"/>
              <a:gd name="T23" fmla="*/ 603 h 1280"/>
              <a:gd name="T24" fmla="*/ 917 w 1408"/>
              <a:gd name="T25" fmla="*/ 792 h 1280"/>
              <a:gd name="T26" fmla="*/ 852 w 1408"/>
              <a:gd name="T27" fmla="*/ 985 h 1280"/>
              <a:gd name="T28" fmla="*/ 799 w 1408"/>
              <a:gd name="T29" fmla="*/ 882 h 1280"/>
              <a:gd name="T30" fmla="*/ 912 w 1408"/>
              <a:gd name="T31" fmla="*/ 878 h 1280"/>
              <a:gd name="T32" fmla="*/ 817 w 1408"/>
              <a:gd name="T33" fmla="*/ 823 h 1280"/>
              <a:gd name="T34" fmla="*/ 1280 w 1408"/>
              <a:gd name="T35" fmla="*/ 128 h 1280"/>
              <a:gd name="T36" fmla="*/ 1024 w 1408"/>
              <a:gd name="T37" fmla="*/ 320 h 1280"/>
              <a:gd name="T38" fmla="*/ 384 w 1408"/>
              <a:gd name="T39" fmla="*/ 128 h 1280"/>
              <a:gd name="T40" fmla="*/ 128 w 1408"/>
              <a:gd name="T41" fmla="*/ 320 h 1280"/>
              <a:gd name="T42" fmla="*/ 0 w 1408"/>
              <a:gd name="T43" fmla="*/ 128 h 1280"/>
              <a:gd name="T44" fmla="*/ 256 w 1408"/>
              <a:gd name="T45" fmla="*/ 1280 h 1280"/>
              <a:gd name="T46" fmla="*/ 1408 w 1408"/>
              <a:gd name="T47" fmla="*/ 1024 h 1280"/>
              <a:gd name="T48" fmla="*/ 1280 w 1408"/>
              <a:gd name="T49" fmla="*/ 128 h 1280"/>
              <a:gd name="T50" fmla="*/ 1152 w 1408"/>
              <a:gd name="T51" fmla="*/ 1152 h 1280"/>
              <a:gd name="T52" fmla="*/ 128 w 1408"/>
              <a:gd name="T53" fmla="*/ 1024 h 1280"/>
              <a:gd name="T54" fmla="*/ 1280 w 1408"/>
              <a:gd name="T55" fmla="*/ 448 h 1280"/>
              <a:gd name="T56" fmla="*/ 320 w 1408"/>
              <a:gd name="T57" fmla="*/ 256 h 1280"/>
              <a:gd name="T58" fmla="*/ 192 w 1408"/>
              <a:gd name="T59" fmla="*/ 0 h 1280"/>
              <a:gd name="T60" fmla="*/ 320 w 1408"/>
              <a:gd name="T61" fmla="*/ 256 h 1280"/>
              <a:gd name="T62" fmla="*/ 1088 w 1408"/>
              <a:gd name="T63" fmla="*/ 256 h 1280"/>
              <a:gd name="T64" fmla="*/ 1216 w 1408"/>
              <a:gd name="T65" fmla="*/ 0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08" h="1280">
                <a:moveTo>
                  <a:pt x="679" y="980"/>
                </a:moveTo>
                <a:cubicBezTo>
                  <a:pt x="425" y="980"/>
                  <a:pt x="425" y="980"/>
                  <a:pt x="425" y="980"/>
                </a:cubicBezTo>
                <a:cubicBezTo>
                  <a:pt x="425" y="929"/>
                  <a:pt x="425" y="929"/>
                  <a:pt x="425" y="929"/>
                </a:cubicBezTo>
                <a:cubicBezTo>
                  <a:pt x="549" y="804"/>
                  <a:pt x="549" y="804"/>
                  <a:pt x="549" y="804"/>
                </a:cubicBezTo>
                <a:cubicBezTo>
                  <a:pt x="587" y="765"/>
                  <a:pt x="601" y="739"/>
                  <a:pt x="601" y="716"/>
                </a:cubicBezTo>
                <a:cubicBezTo>
                  <a:pt x="601" y="682"/>
                  <a:pt x="582" y="659"/>
                  <a:pt x="548" y="659"/>
                </a:cubicBezTo>
                <a:cubicBezTo>
                  <a:pt x="512" y="659"/>
                  <a:pt x="495" y="691"/>
                  <a:pt x="495" y="727"/>
                </a:cubicBezTo>
                <a:cubicBezTo>
                  <a:pt x="427" y="727"/>
                  <a:pt x="427" y="727"/>
                  <a:pt x="427" y="727"/>
                </a:cubicBezTo>
                <a:cubicBezTo>
                  <a:pt x="427" y="662"/>
                  <a:pt x="472" y="604"/>
                  <a:pt x="550" y="604"/>
                </a:cubicBezTo>
                <a:cubicBezTo>
                  <a:pt x="625" y="604"/>
                  <a:pt x="669" y="645"/>
                  <a:pt x="669" y="710"/>
                </a:cubicBezTo>
                <a:cubicBezTo>
                  <a:pt x="669" y="760"/>
                  <a:pt x="634" y="802"/>
                  <a:pt x="588" y="852"/>
                </a:cubicBezTo>
                <a:cubicBezTo>
                  <a:pt x="533" y="910"/>
                  <a:pt x="533" y="910"/>
                  <a:pt x="533" y="910"/>
                </a:cubicBezTo>
                <a:cubicBezTo>
                  <a:pt x="529" y="914"/>
                  <a:pt x="523" y="918"/>
                  <a:pt x="518" y="920"/>
                </a:cubicBezTo>
                <a:cubicBezTo>
                  <a:pt x="519" y="924"/>
                  <a:pt x="519" y="924"/>
                  <a:pt x="519" y="924"/>
                </a:cubicBezTo>
                <a:cubicBezTo>
                  <a:pt x="525" y="922"/>
                  <a:pt x="532" y="921"/>
                  <a:pt x="539" y="921"/>
                </a:cubicBezTo>
                <a:cubicBezTo>
                  <a:pt x="679" y="921"/>
                  <a:pt x="679" y="921"/>
                  <a:pt x="679" y="921"/>
                </a:cubicBezTo>
                <a:lnTo>
                  <a:pt x="679" y="980"/>
                </a:lnTo>
                <a:close/>
                <a:moveTo>
                  <a:pt x="817" y="764"/>
                </a:moveTo>
                <a:cubicBezTo>
                  <a:pt x="850" y="764"/>
                  <a:pt x="850" y="764"/>
                  <a:pt x="850" y="764"/>
                </a:cubicBezTo>
                <a:cubicBezTo>
                  <a:pt x="888" y="764"/>
                  <a:pt x="907" y="739"/>
                  <a:pt x="907" y="708"/>
                </a:cubicBezTo>
                <a:cubicBezTo>
                  <a:pt x="907" y="679"/>
                  <a:pt x="888" y="658"/>
                  <a:pt x="854" y="658"/>
                </a:cubicBezTo>
                <a:cubicBezTo>
                  <a:pt x="825" y="658"/>
                  <a:pt x="802" y="675"/>
                  <a:pt x="802" y="702"/>
                </a:cubicBezTo>
                <a:cubicBezTo>
                  <a:pt x="735" y="702"/>
                  <a:pt x="735" y="702"/>
                  <a:pt x="735" y="702"/>
                </a:cubicBezTo>
                <a:cubicBezTo>
                  <a:pt x="735" y="643"/>
                  <a:pt x="785" y="603"/>
                  <a:pt x="852" y="603"/>
                </a:cubicBezTo>
                <a:cubicBezTo>
                  <a:pt x="924" y="603"/>
                  <a:pt x="974" y="639"/>
                  <a:pt x="974" y="707"/>
                </a:cubicBezTo>
                <a:cubicBezTo>
                  <a:pt x="974" y="739"/>
                  <a:pt x="954" y="774"/>
                  <a:pt x="917" y="792"/>
                </a:cubicBezTo>
                <a:cubicBezTo>
                  <a:pt x="960" y="806"/>
                  <a:pt x="981" y="838"/>
                  <a:pt x="981" y="878"/>
                </a:cubicBezTo>
                <a:cubicBezTo>
                  <a:pt x="981" y="946"/>
                  <a:pt x="924" y="985"/>
                  <a:pt x="852" y="985"/>
                </a:cubicBezTo>
                <a:cubicBezTo>
                  <a:pt x="789" y="985"/>
                  <a:pt x="730" y="953"/>
                  <a:pt x="730" y="882"/>
                </a:cubicBezTo>
                <a:cubicBezTo>
                  <a:pt x="799" y="882"/>
                  <a:pt x="799" y="882"/>
                  <a:pt x="799" y="882"/>
                </a:cubicBezTo>
                <a:cubicBezTo>
                  <a:pt x="799" y="910"/>
                  <a:pt x="821" y="930"/>
                  <a:pt x="853" y="930"/>
                </a:cubicBezTo>
                <a:cubicBezTo>
                  <a:pt x="888" y="930"/>
                  <a:pt x="912" y="910"/>
                  <a:pt x="912" y="878"/>
                </a:cubicBezTo>
                <a:cubicBezTo>
                  <a:pt x="912" y="838"/>
                  <a:pt x="888" y="823"/>
                  <a:pt x="850" y="823"/>
                </a:cubicBezTo>
                <a:cubicBezTo>
                  <a:pt x="817" y="823"/>
                  <a:pt x="817" y="823"/>
                  <a:pt x="817" y="823"/>
                </a:cubicBezTo>
                <a:lnTo>
                  <a:pt x="817" y="764"/>
                </a:lnTo>
                <a:close/>
                <a:moveTo>
                  <a:pt x="1280" y="128"/>
                </a:moveTo>
                <a:cubicBezTo>
                  <a:pt x="1280" y="320"/>
                  <a:pt x="1280" y="320"/>
                  <a:pt x="1280" y="320"/>
                </a:cubicBezTo>
                <a:cubicBezTo>
                  <a:pt x="1024" y="320"/>
                  <a:pt x="1024" y="320"/>
                  <a:pt x="1024" y="320"/>
                </a:cubicBezTo>
                <a:cubicBezTo>
                  <a:pt x="1024" y="128"/>
                  <a:pt x="1024" y="128"/>
                  <a:pt x="1024" y="128"/>
                </a:cubicBezTo>
                <a:cubicBezTo>
                  <a:pt x="384" y="128"/>
                  <a:pt x="384" y="128"/>
                  <a:pt x="384" y="128"/>
                </a:cubicBezTo>
                <a:cubicBezTo>
                  <a:pt x="384" y="320"/>
                  <a:pt x="384" y="320"/>
                  <a:pt x="384" y="320"/>
                </a:cubicBezTo>
                <a:cubicBezTo>
                  <a:pt x="128" y="320"/>
                  <a:pt x="128" y="320"/>
                  <a:pt x="128" y="320"/>
                </a:cubicBezTo>
                <a:cubicBezTo>
                  <a:pt x="128" y="128"/>
                  <a:pt x="128" y="128"/>
                  <a:pt x="128" y="128"/>
                </a:cubicBezTo>
                <a:cubicBezTo>
                  <a:pt x="0" y="128"/>
                  <a:pt x="0" y="128"/>
                  <a:pt x="0" y="128"/>
                </a:cubicBezTo>
                <a:cubicBezTo>
                  <a:pt x="0" y="1024"/>
                  <a:pt x="0" y="1024"/>
                  <a:pt x="0" y="1024"/>
                </a:cubicBezTo>
                <a:cubicBezTo>
                  <a:pt x="0" y="1165"/>
                  <a:pt x="115" y="1280"/>
                  <a:pt x="256" y="1280"/>
                </a:cubicBezTo>
                <a:cubicBezTo>
                  <a:pt x="1152" y="1280"/>
                  <a:pt x="1152" y="1280"/>
                  <a:pt x="1152" y="1280"/>
                </a:cubicBezTo>
                <a:cubicBezTo>
                  <a:pt x="1293" y="1280"/>
                  <a:pt x="1408" y="1165"/>
                  <a:pt x="1408" y="1024"/>
                </a:cubicBezTo>
                <a:cubicBezTo>
                  <a:pt x="1408" y="128"/>
                  <a:pt x="1408" y="128"/>
                  <a:pt x="1408" y="128"/>
                </a:cubicBezTo>
                <a:lnTo>
                  <a:pt x="1280" y="128"/>
                </a:lnTo>
                <a:close/>
                <a:moveTo>
                  <a:pt x="1280" y="1024"/>
                </a:moveTo>
                <a:cubicBezTo>
                  <a:pt x="1280" y="1095"/>
                  <a:pt x="1223" y="1152"/>
                  <a:pt x="1152" y="1152"/>
                </a:cubicBezTo>
                <a:cubicBezTo>
                  <a:pt x="256" y="1152"/>
                  <a:pt x="256" y="1152"/>
                  <a:pt x="256" y="1152"/>
                </a:cubicBezTo>
                <a:cubicBezTo>
                  <a:pt x="185" y="1152"/>
                  <a:pt x="128" y="1095"/>
                  <a:pt x="128" y="1024"/>
                </a:cubicBezTo>
                <a:cubicBezTo>
                  <a:pt x="128" y="448"/>
                  <a:pt x="128" y="448"/>
                  <a:pt x="128" y="448"/>
                </a:cubicBezTo>
                <a:cubicBezTo>
                  <a:pt x="1280" y="448"/>
                  <a:pt x="1280" y="448"/>
                  <a:pt x="1280" y="448"/>
                </a:cubicBezTo>
                <a:lnTo>
                  <a:pt x="1280" y="1024"/>
                </a:lnTo>
                <a:close/>
                <a:moveTo>
                  <a:pt x="320" y="256"/>
                </a:moveTo>
                <a:cubicBezTo>
                  <a:pt x="192" y="256"/>
                  <a:pt x="192" y="256"/>
                  <a:pt x="192" y="256"/>
                </a:cubicBezTo>
                <a:cubicBezTo>
                  <a:pt x="192" y="0"/>
                  <a:pt x="192" y="0"/>
                  <a:pt x="192" y="0"/>
                </a:cubicBezTo>
                <a:cubicBezTo>
                  <a:pt x="320" y="0"/>
                  <a:pt x="320" y="0"/>
                  <a:pt x="320" y="0"/>
                </a:cubicBezTo>
                <a:lnTo>
                  <a:pt x="320" y="256"/>
                </a:lnTo>
                <a:close/>
                <a:moveTo>
                  <a:pt x="1216" y="256"/>
                </a:moveTo>
                <a:cubicBezTo>
                  <a:pt x="1088" y="256"/>
                  <a:pt x="1088" y="256"/>
                  <a:pt x="1088" y="256"/>
                </a:cubicBezTo>
                <a:cubicBezTo>
                  <a:pt x="1088" y="0"/>
                  <a:pt x="1088" y="0"/>
                  <a:pt x="1088" y="0"/>
                </a:cubicBezTo>
                <a:cubicBezTo>
                  <a:pt x="1216" y="0"/>
                  <a:pt x="1216" y="0"/>
                  <a:pt x="1216" y="0"/>
                </a:cubicBezTo>
                <a:lnTo>
                  <a:pt x="1216" y="25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1" name="Freeform 90">
            <a:extLst>
              <a:ext uri="{FF2B5EF4-FFF2-40B4-BE49-F238E27FC236}">
                <a16:creationId xmlns:a16="http://schemas.microsoft.com/office/drawing/2014/main" id="{39D6E303-CC0B-462F-92A2-C9B4351130C7}"/>
              </a:ext>
            </a:extLst>
          </p:cNvPr>
          <p:cNvSpPr>
            <a:spLocks noEditPoints="1"/>
          </p:cNvSpPr>
          <p:nvPr/>
        </p:nvSpPr>
        <p:spPr bwMode="gray">
          <a:xfrm>
            <a:off x="8633949" y="2078801"/>
            <a:ext cx="501650" cy="396875"/>
          </a:xfrm>
          <a:custGeom>
            <a:avLst/>
            <a:gdLst>
              <a:gd name="T0" fmla="*/ 0 w 1536"/>
              <a:gd name="T1" fmla="*/ 512 h 1216"/>
              <a:gd name="T2" fmla="*/ 1280 w 1536"/>
              <a:gd name="T3" fmla="*/ 768 h 1216"/>
              <a:gd name="T4" fmla="*/ 1536 w 1536"/>
              <a:gd name="T5" fmla="*/ 0 h 1216"/>
              <a:gd name="T6" fmla="*/ 1088 w 1536"/>
              <a:gd name="T7" fmla="*/ 128 h 1216"/>
              <a:gd name="T8" fmla="*/ 1216 w 1536"/>
              <a:gd name="T9" fmla="*/ 256 h 1216"/>
              <a:gd name="T10" fmla="*/ 1088 w 1536"/>
              <a:gd name="T11" fmla="*/ 128 h 1216"/>
              <a:gd name="T12" fmla="*/ 1024 w 1536"/>
              <a:gd name="T13" fmla="*/ 128 h 1216"/>
              <a:gd name="T14" fmla="*/ 896 w 1536"/>
              <a:gd name="T15" fmla="*/ 256 h 1216"/>
              <a:gd name="T16" fmla="*/ 1088 w 1536"/>
              <a:gd name="T17" fmla="*/ 320 h 1216"/>
              <a:gd name="T18" fmla="*/ 960 w 1536"/>
              <a:gd name="T19" fmla="*/ 448 h 1216"/>
              <a:gd name="T20" fmla="*/ 1088 w 1536"/>
              <a:gd name="T21" fmla="*/ 320 h 1216"/>
              <a:gd name="T22" fmla="*/ 832 w 1536"/>
              <a:gd name="T23" fmla="*/ 128 h 1216"/>
              <a:gd name="T24" fmla="*/ 704 w 1536"/>
              <a:gd name="T25" fmla="*/ 256 h 1216"/>
              <a:gd name="T26" fmla="*/ 896 w 1536"/>
              <a:gd name="T27" fmla="*/ 320 h 1216"/>
              <a:gd name="T28" fmla="*/ 768 w 1536"/>
              <a:gd name="T29" fmla="*/ 448 h 1216"/>
              <a:gd name="T30" fmla="*/ 896 w 1536"/>
              <a:gd name="T31" fmla="*/ 320 h 1216"/>
              <a:gd name="T32" fmla="*/ 640 w 1536"/>
              <a:gd name="T33" fmla="*/ 128 h 1216"/>
              <a:gd name="T34" fmla="*/ 512 w 1536"/>
              <a:gd name="T35" fmla="*/ 256 h 1216"/>
              <a:gd name="T36" fmla="*/ 704 w 1536"/>
              <a:gd name="T37" fmla="*/ 320 h 1216"/>
              <a:gd name="T38" fmla="*/ 576 w 1536"/>
              <a:gd name="T39" fmla="*/ 448 h 1216"/>
              <a:gd name="T40" fmla="*/ 704 w 1536"/>
              <a:gd name="T41" fmla="*/ 320 h 1216"/>
              <a:gd name="T42" fmla="*/ 448 w 1536"/>
              <a:gd name="T43" fmla="*/ 128 h 1216"/>
              <a:gd name="T44" fmla="*/ 320 w 1536"/>
              <a:gd name="T45" fmla="*/ 256 h 1216"/>
              <a:gd name="T46" fmla="*/ 512 w 1536"/>
              <a:gd name="T47" fmla="*/ 320 h 1216"/>
              <a:gd name="T48" fmla="*/ 384 w 1536"/>
              <a:gd name="T49" fmla="*/ 448 h 1216"/>
              <a:gd name="T50" fmla="*/ 512 w 1536"/>
              <a:gd name="T51" fmla="*/ 320 h 1216"/>
              <a:gd name="T52" fmla="*/ 256 w 1536"/>
              <a:gd name="T53" fmla="*/ 128 h 1216"/>
              <a:gd name="T54" fmla="*/ 128 w 1536"/>
              <a:gd name="T55" fmla="*/ 256 h 1216"/>
              <a:gd name="T56" fmla="*/ 256 w 1536"/>
              <a:gd name="T57" fmla="*/ 640 h 1216"/>
              <a:gd name="T58" fmla="*/ 128 w 1536"/>
              <a:gd name="T59" fmla="*/ 512 h 1216"/>
              <a:gd name="T60" fmla="*/ 256 w 1536"/>
              <a:gd name="T61" fmla="*/ 640 h 1216"/>
              <a:gd name="T62" fmla="*/ 192 w 1536"/>
              <a:gd name="T63" fmla="*/ 320 h 1216"/>
              <a:gd name="T64" fmla="*/ 320 w 1536"/>
              <a:gd name="T65" fmla="*/ 448 h 1216"/>
              <a:gd name="T66" fmla="*/ 1216 w 1536"/>
              <a:gd name="T67" fmla="*/ 640 h 1216"/>
              <a:gd name="T68" fmla="*/ 320 w 1536"/>
              <a:gd name="T69" fmla="*/ 512 h 1216"/>
              <a:gd name="T70" fmla="*/ 1216 w 1536"/>
              <a:gd name="T71" fmla="*/ 640 h 1216"/>
              <a:gd name="T72" fmla="*/ 1280 w 1536"/>
              <a:gd name="T73" fmla="*/ 640 h 1216"/>
              <a:gd name="T74" fmla="*/ 1408 w 1536"/>
              <a:gd name="T75" fmla="*/ 512 h 1216"/>
              <a:gd name="T76" fmla="*/ 1408 w 1536"/>
              <a:gd name="T77" fmla="*/ 448 h 1216"/>
              <a:gd name="T78" fmla="*/ 1216 w 1536"/>
              <a:gd name="T79" fmla="*/ 320 h 1216"/>
              <a:gd name="T80" fmla="*/ 1408 w 1536"/>
              <a:gd name="T81" fmla="*/ 448 h 1216"/>
              <a:gd name="T82" fmla="*/ 1280 w 1536"/>
              <a:gd name="T83" fmla="*/ 256 h 1216"/>
              <a:gd name="T84" fmla="*/ 1408 w 1536"/>
              <a:gd name="T85" fmla="*/ 128 h 1216"/>
              <a:gd name="T86" fmla="*/ 1152 w 1536"/>
              <a:gd name="T87" fmla="*/ 832 h 1216"/>
              <a:gd name="T88" fmla="*/ 384 w 1536"/>
              <a:gd name="T89" fmla="*/ 832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6" h="1216">
                <a:moveTo>
                  <a:pt x="0" y="0"/>
                </a:moveTo>
                <a:cubicBezTo>
                  <a:pt x="0" y="512"/>
                  <a:pt x="0" y="512"/>
                  <a:pt x="0" y="512"/>
                </a:cubicBezTo>
                <a:cubicBezTo>
                  <a:pt x="0" y="653"/>
                  <a:pt x="115" y="768"/>
                  <a:pt x="256" y="768"/>
                </a:cubicBezTo>
                <a:cubicBezTo>
                  <a:pt x="1280" y="768"/>
                  <a:pt x="1280" y="768"/>
                  <a:pt x="1280" y="768"/>
                </a:cubicBezTo>
                <a:cubicBezTo>
                  <a:pt x="1421" y="768"/>
                  <a:pt x="1536" y="653"/>
                  <a:pt x="1536" y="512"/>
                </a:cubicBezTo>
                <a:cubicBezTo>
                  <a:pt x="1536" y="0"/>
                  <a:pt x="1536" y="0"/>
                  <a:pt x="1536" y="0"/>
                </a:cubicBezTo>
                <a:lnTo>
                  <a:pt x="0" y="0"/>
                </a:lnTo>
                <a:close/>
                <a:moveTo>
                  <a:pt x="1088" y="128"/>
                </a:moveTo>
                <a:cubicBezTo>
                  <a:pt x="1216" y="128"/>
                  <a:pt x="1216" y="128"/>
                  <a:pt x="1216" y="128"/>
                </a:cubicBezTo>
                <a:cubicBezTo>
                  <a:pt x="1216" y="256"/>
                  <a:pt x="1216" y="256"/>
                  <a:pt x="1216" y="256"/>
                </a:cubicBezTo>
                <a:cubicBezTo>
                  <a:pt x="1088" y="256"/>
                  <a:pt x="1088" y="256"/>
                  <a:pt x="1088" y="256"/>
                </a:cubicBezTo>
                <a:lnTo>
                  <a:pt x="1088" y="128"/>
                </a:lnTo>
                <a:close/>
                <a:moveTo>
                  <a:pt x="896" y="128"/>
                </a:moveTo>
                <a:cubicBezTo>
                  <a:pt x="1024" y="128"/>
                  <a:pt x="1024" y="128"/>
                  <a:pt x="1024" y="128"/>
                </a:cubicBezTo>
                <a:cubicBezTo>
                  <a:pt x="1024" y="256"/>
                  <a:pt x="1024" y="256"/>
                  <a:pt x="1024" y="256"/>
                </a:cubicBezTo>
                <a:cubicBezTo>
                  <a:pt x="896" y="256"/>
                  <a:pt x="896" y="256"/>
                  <a:pt x="896" y="256"/>
                </a:cubicBezTo>
                <a:lnTo>
                  <a:pt x="896" y="128"/>
                </a:lnTo>
                <a:close/>
                <a:moveTo>
                  <a:pt x="1088" y="320"/>
                </a:moveTo>
                <a:cubicBezTo>
                  <a:pt x="1088" y="448"/>
                  <a:pt x="1088" y="448"/>
                  <a:pt x="1088" y="448"/>
                </a:cubicBezTo>
                <a:cubicBezTo>
                  <a:pt x="960" y="448"/>
                  <a:pt x="960" y="448"/>
                  <a:pt x="960" y="448"/>
                </a:cubicBezTo>
                <a:cubicBezTo>
                  <a:pt x="960" y="320"/>
                  <a:pt x="960" y="320"/>
                  <a:pt x="960" y="320"/>
                </a:cubicBezTo>
                <a:lnTo>
                  <a:pt x="1088" y="320"/>
                </a:lnTo>
                <a:close/>
                <a:moveTo>
                  <a:pt x="704" y="128"/>
                </a:moveTo>
                <a:cubicBezTo>
                  <a:pt x="832" y="128"/>
                  <a:pt x="832" y="128"/>
                  <a:pt x="832" y="128"/>
                </a:cubicBezTo>
                <a:cubicBezTo>
                  <a:pt x="832" y="256"/>
                  <a:pt x="832" y="256"/>
                  <a:pt x="832" y="256"/>
                </a:cubicBezTo>
                <a:cubicBezTo>
                  <a:pt x="704" y="256"/>
                  <a:pt x="704" y="256"/>
                  <a:pt x="704" y="256"/>
                </a:cubicBezTo>
                <a:lnTo>
                  <a:pt x="704" y="128"/>
                </a:lnTo>
                <a:close/>
                <a:moveTo>
                  <a:pt x="896" y="320"/>
                </a:moveTo>
                <a:cubicBezTo>
                  <a:pt x="896" y="448"/>
                  <a:pt x="896" y="448"/>
                  <a:pt x="896" y="448"/>
                </a:cubicBezTo>
                <a:cubicBezTo>
                  <a:pt x="768" y="448"/>
                  <a:pt x="768" y="448"/>
                  <a:pt x="768" y="448"/>
                </a:cubicBezTo>
                <a:cubicBezTo>
                  <a:pt x="768" y="320"/>
                  <a:pt x="768" y="320"/>
                  <a:pt x="768" y="320"/>
                </a:cubicBezTo>
                <a:lnTo>
                  <a:pt x="896" y="320"/>
                </a:lnTo>
                <a:close/>
                <a:moveTo>
                  <a:pt x="512" y="128"/>
                </a:moveTo>
                <a:cubicBezTo>
                  <a:pt x="640" y="128"/>
                  <a:pt x="640" y="128"/>
                  <a:pt x="640" y="128"/>
                </a:cubicBezTo>
                <a:cubicBezTo>
                  <a:pt x="640" y="256"/>
                  <a:pt x="640" y="256"/>
                  <a:pt x="640" y="256"/>
                </a:cubicBezTo>
                <a:cubicBezTo>
                  <a:pt x="512" y="256"/>
                  <a:pt x="512" y="256"/>
                  <a:pt x="512" y="256"/>
                </a:cubicBezTo>
                <a:lnTo>
                  <a:pt x="512" y="128"/>
                </a:lnTo>
                <a:close/>
                <a:moveTo>
                  <a:pt x="704" y="320"/>
                </a:moveTo>
                <a:cubicBezTo>
                  <a:pt x="704" y="448"/>
                  <a:pt x="704" y="448"/>
                  <a:pt x="704" y="448"/>
                </a:cubicBezTo>
                <a:cubicBezTo>
                  <a:pt x="576" y="448"/>
                  <a:pt x="576" y="448"/>
                  <a:pt x="576" y="448"/>
                </a:cubicBezTo>
                <a:cubicBezTo>
                  <a:pt x="576" y="320"/>
                  <a:pt x="576" y="320"/>
                  <a:pt x="576" y="320"/>
                </a:cubicBezTo>
                <a:lnTo>
                  <a:pt x="704" y="320"/>
                </a:lnTo>
                <a:close/>
                <a:moveTo>
                  <a:pt x="320" y="128"/>
                </a:moveTo>
                <a:cubicBezTo>
                  <a:pt x="448" y="128"/>
                  <a:pt x="448" y="128"/>
                  <a:pt x="448" y="128"/>
                </a:cubicBezTo>
                <a:cubicBezTo>
                  <a:pt x="448" y="256"/>
                  <a:pt x="448" y="256"/>
                  <a:pt x="448" y="256"/>
                </a:cubicBezTo>
                <a:cubicBezTo>
                  <a:pt x="320" y="256"/>
                  <a:pt x="320" y="256"/>
                  <a:pt x="320" y="256"/>
                </a:cubicBezTo>
                <a:lnTo>
                  <a:pt x="320" y="128"/>
                </a:lnTo>
                <a:close/>
                <a:moveTo>
                  <a:pt x="512" y="320"/>
                </a:moveTo>
                <a:cubicBezTo>
                  <a:pt x="512" y="448"/>
                  <a:pt x="512" y="448"/>
                  <a:pt x="512" y="448"/>
                </a:cubicBezTo>
                <a:cubicBezTo>
                  <a:pt x="384" y="448"/>
                  <a:pt x="384" y="448"/>
                  <a:pt x="384" y="448"/>
                </a:cubicBezTo>
                <a:cubicBezTo>
                  <a:pt x="384" y="320"/>
                  <a:pt x="384" y="320"/>
                  <a:pt x="384" y="320"/>
                </a:cubicBezTo>
                <a:lnTo>
                  <a:pt x="512" y="320"/>
                </a:lnTo>
                <a:close/>
                <a:moveTo>
                  <a:pt x="128" y="128"/>
                </a:moveTo>
                <a:cubicBezTo>
                  <a:pt x="256" y="128"/>
                  <a:pt x="256" y="128"/>
                  <a:pt x="256" y="128"/>
                </a:cubicBezTo>
                <a:cubicBezTo>
                  <a:pt x="256" y="256"/>
                  <a:pt x="256" y="256"/>
                  <a:pt x="256" y="256"/>
                </a:cubicBezTo>
                <a:cubicBezTo>
                  <a:pt x="128" y="256"/>
                  <a:pt x="128" y="256"/>
                  <a:pt x="128" y="256"/>
                </a:cubicBezTo>
                <a:lnTo>
                  <a:pt x="128" y="128"/>
                </a:lnTo>
                <a:close/>
                <a:moveTo>
                  <a:pt x="256" y="640"/>
                </a:moveTo>
                <a:cubicBezTo>
                  <a:pt x="128" y="640"/>
                  <a:pt x="128" y="640"/>
                  <a:pt x="128" y="640"/>
                </a:cubicBezTo>
                <a:cubicBezTo>
                  <a:pt x="128" y="512"/>
                  <a:pt x="128" y="512"/>
                  <a:pt x="128" y="512"/>
                </a:cubicBezTo>
                <a:cubicBezTo>
                  <a:pt x="256" y="512"/>
                  <a:pt x="256" y="512"/>
                  <a:pt x="256" y="512"/>
                </a:cubicBezTo>
                <a:lnTo>
                  <a:pt x="256" y="640"/>
                </a:lnTo>
                <a:close/>
                <a:moveTo>
                  <a:pt x="192" y="448"/>
                </a:moveTo>
                <a:cubicBezTo>
                  <a:pt x="192" y="320"/>
                  <a:pt x="192" y="320"/>
                  <a:pt x="192" y="320"/>
                </a:cubicBezTo>
                <a:cubicBezTo>
                  <a:pt x="320" y="320"/>
                  <a:pt x="320" y="320"/>
                  <a:pt x="320" y="320"/>
                </a:cubicBezTo>
                <a:cubicBezTo>
                  <a:pt x="320" y="448"/>
                  <a:pt x="320" y="448"/>
                  <a:pt x="320" y="448"/>
                </a:cubicBezTo>
                <a:lnTo>
                  <a:pt x="192" y="448"/>
                </a:lnTo>
                <a:close/>
                <a:moveTo>
                  <a:pt x="1216" y="640"/>
                </a:moveTo>
                <a:cubicBezTo>
                  <a:pt x="320" y="640"/>
                  <a:pt x="320" y="640"/>
                  <a:pt x="320" y="640"/>
                </a:cubicBezTo>
                <a:cubicBezTo>
                  <a:pt x="320" y="512"/>
                  <a:pt x="320" y="512"/>
                  <a:pt x="320" y="512"/>
                </a:cubicBezTo>
                <a:cubicBezTo>
                  <a:pt x="1216" y="512"/>
                  <a:pt x="1216" y="512"/>
                  <a:pt x="1216" y="512"/>
                </a:cubicBezTo>
                <a:lnTo>
                  <a:pt x="1216" y="640"/>
                </a:lnTo>
                <a:close/>
                <a:moveTo>
                  <a:pt x="1408" y="640"/>
                </a:moveTo>
                <a:cubicBezTo>
                  <a:pt x="1280" y="640"/>
                  <a:pt x="1280" y="640"/>
                  <a:pt x="1280" y="640"/>
                </a:cubicBezTo>
                <a:cubicBezTo>
                  <a:pt x="1280" y="512"/>
                  <a:pt x="1280" y="512"/>
                  <a:pt x="1280" y="512"/>
                </a:cubicBezTo>
                <a:cubicBezTo>
                  <a:pt x="1408" y="512"/>
                  <a:pt x="1408" y="512"/>
                  <a:pt x="1408" y="512"/>
                </a:cubicBezTo>
                <a:lnTo>
                  <a:pt x="1408" y="640"/>
                </a:lnTo>
                <a:close/>
                <a:moveTo>
                  <a:pt x="1408" y="448"/>
                </a:moveTo>
                <a:cubicBezTo>
                  <a:pt x="1216" y="448"/>
                  <a:pt x="1216" y="448"/>
                  <a:pt x="1216" y="448"/>
                </a:cubicBezTo>
                <a:cubicBezTo>
                  <a:pt x="1216" y="320"/>
                  <a:pt x="1216" y="320"/>
                  <a:pt x="1216" y="320"/>
                </a:cubicBezTo>
                <a:cubicBezTo>
                  <a:pt x="1408" y="320"/>
                  <a:pt x="1408" y="320"/>
                  <a:pt x="1408" y="320"/>
                </a:cubicBezTo>
                <a:lnTo>
                  <a:pt x="1408" y="448"/>
                </a:lnTo>
                <a:close/>
                <a:moveTo>
                  <a:pt x="1408" y="256"/>
                </a:moveTo>
                <a:cubicBezTo>
                  <a:pt x="1280" y="256"/>
                  <a:pt x="1280" y="256"/>
                  <a:pt x="1280" y="256"/>
                </a:cubicBezTo>
                <a:cubicBezTo>
                  <a:pt x="1280" y="128"/>
                  <a:pt x="1280" y="128"/>
                  <a:pt x="1280" y="128"/>
                </a:cubicBezTo>
                <a:cubicBezTo>
                  <a:pt x="1408" y="128"/>
                  <a:pt x="1408" y="128"/>
                  <a:pt x="1408" y="128"/>
                </a:cubicBezTo>
                <a:lnTo>
                  <a:pt x="1408" y="256"/>
                </a:lnTo>
                <a:close/>
                <a:moveTo>
                  <a:pt x="1152" y="832"/>
                </a:moveTo>
                <a:cubicBezTo>
                  <a:pt x="768" y="1216"/>
                  <a:pt x="768" y="1216"/>
                  <a:pt x="768" y="1216"/>
                </a:cubicBezTo>
                <a:cubicBezTo>
                  <a:pt x="384" y="832"/>
                  <a:pt x="384" y="832"/>
                  <a:pt x="384" y="832"/>
                </a:cubicBezTo>
                <a:lnTo>
                  <a:pt x="1152" y="83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2" name="Freeform 94">
            <a:extLst>
              <a:ext uri="{FF2B5EF4-FFF2-40B4-BE49-F238E27FC236}">
                <a16:creationId xmlns:a16="http://schemas.microsoft.com/office/drawing/2014/main" id="{DEAE6E25-6365-4525-80DE-760C4DEED342}"/>
              </a:ext>
            </a:extLst>
          </p:cNvPr>
          <p:cNvSpPr>
            <a:spLocks/>
          </p:cNvSpPr>
          <p:nvPr/>
        </p:nvSpPr>
        <p:spPr bwMode="gray">
          <a:xfrm>
            <a:off x="995632" y="3252596"/>
            <a:ext cx="198438" cy="395287"/>
          </a:xfrm>
          <a:custGeom>
            <a:avLst/>
            <a:gdLst>
              <a:gd name="T0" fmla="*/ 768 w 768"/>
              <a:gd name="T1" fmla="*/ 1280 h 1536"/>
              <a:gd name="T2" fmla="*/ 768 w 768"/>
              <a:gd name="T3" fmla="*/ 0 h 1536"/>
              <a:gd name="T4" fmla="*/ 256 w 768"/>
              <a:gd name="T5" fmla="*/ 0 h 1536"/>
              <a:gd name="T6" fmla="*/ 0 w 768"/>
              <a:gd name="T7" fmla="*/ 256 h 1536"/>
              <a:gd name="T8" fmla="*/ 0 w 768"/>
              <a:gd name="T9" fmla="*/ 1280 h 1536"/>
              <a:gd name="T10" fmla="*/ 160 w 768"/>
              <a:gd name="T11" fmla="*/ 1280 h 1536"/>
              <a:gd name="T12" fmla="*/ 160 w 768"/>
              <a:gd name="T13" fmla="*/ 256 h 1536"/>
              <a:gd name="T14" fmla="*/ 256 w 768"/>
              <a:gd name="T15" fmla="*/ 160 h 1536"/>
              <a:gd name="T16" fmla="*/ 608 w 768"/>
              <a:gd name="T17" fmla="*/ 160 h 1536"/>
              <a:gd name="T18" fmla="*/ 608 w 768"/>
              <a:gd name="T19" fmla="*/ 1280 h 1536"/>
              <a:gd name="T20" fmla="*/ 512 w 768"/>
              <a:gd name="T21" fmla="*/ 1376 h 1536"/>
              <a:gd name="T22" fmla="*/ 512 w 768"/>
              <a:gd name="T23" fmla="*/ 1376 h 1536"/>
              <a:gd name="T24" fmla="*/ 416 w 768"/>
              <a:gd name="T25" fmla="*/ 1280 h 1536"/>
              <a:gd name="T26" fmla="*/ 416 w 768"/>
              <a:gd name="T27" fmla="*/ 256 h 1536"/>
              <a:gd name="T28" fmla="*/ 256 w 768"/>
              <a:gd name="T29" fmla="*/ 256 h 1536"/>
              <a:gd name="T30" fmla="*/ 256 w 768"/>
              <a:gd name="T31" fmla="*/ 1280 h 1536"/>
              <a:gd name="T32" fmla="*/ 512 w 768"/>
              <a:gd name="T33" fmla="*/ 1536 h 1536"/>
              <a:gd name="T34" fmla="*/ 512 w 768"/>
              <a:gd name="T35" fmla="*/ 1536 h 1536"/>
              <a:gd name="T36" fmla="*/ 768 w 768"/>
              <a:gd name="T37" fmla="*/ 1280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8" h="1536">
                <a:moveTo>
                  <a:pt x="768" y="1280"/>
                </a:moveTo>
                <a:cubicBezTo>
                  <a:pt x="768" y="0"/>
                  <a:pt x="768" y="0"/>
                  <a:pt x="768" y="0"/>
                </a:cubicBezTo>
                <a:cubicBezTo>
                  <a:pt x="256" y="0"/>
                  <a:pt x="256" y="0"/>
                  <a:pt x="256" y="0"/>
                </a:cubicBezTo>
                <a:cubicBezTo>
                  <a:pt x="115" y="0"/>
                  <a:pt x="0" y="115"/>
                  <a:pt x="0" y="256"/>
                </a:cubicBezTo>
                <a:cubicBezTo>
                  <a:pt x="0" y="1280"/>
                  <a:pt x="0" y="1280"/>
                  <a:pt x="0" y="1280"/>
                </a:cubicBezTo>
                <a:cubicBezTo>
                  <a:pt x="160" y="1280"/>
                  <a:pt x="160" y="1280"/>
                  <a:pt x="160" y="1280"/>
                </a:cubicBezTo>
                <a:cubicBezTo>
                  <a:pt x="160" y="256"/>
                  <a:pt x="160" y="256"/>
                  <a:pt x="160" y="256"/>
                </a:cubicBezTo>
                <a:cubicBezTo>
                  <a:pt x="160" y="203"/>
                  <a:pt x="203" y="160"/>
                  <a:pt x="256" y="160"/>
                </a:cubicBezTo>
                <a:cubicBezTo>
                  <a:pt x="608" y="160"/>
                  <a:pt x="608" y="160"/>
                  <a:pt x="608" y="160"/>
                </a:cubicBezTo>
                <a:cubicBezTo>
                  <a:pt x="608" y="1280"/>
                  <a:pt x="608" y="1280"/>
                  <a:pt x="608" y="1280"/>
                </a:cubicBezTo>
                <a:cubicBezTo>
                  <a:pt x="608" y="1333"/>
                  <a:pt x="565" y="1376"/>
                  <a:pt x="512" y="1376"/>
                </a:cubicBezTo>
                <a:cubicBezTo>
                  <a:pt x="512" y="1376"/>
                  <a:pt x="512" y="1376"/>
                  <a:pt x="512" y="1376"/>
                </a:cubicBezTo>
                <a:cubicBezTo>
                  <a:pt x="459" y="1376"/>
                  <a:pt x="416" y="1333"/>
                  <a:pt x="416" y="1280"/>
                </a:cubicBezTo>
                <a:cubicBezTo>
                  <a:pt x="416" y="256"/>
                  <a:pt x="416" y="256"/>
                  <a:pt x="416" y="256"/>
                </a:cubicBezTo>
                <a:cubicBezTo>
                  <a:pt x="256" y="256"/>
                  <a:pt x="256" y="256"/>
                  <a:pt x="256" y="256"/>
                </a:cubicBezTo>
                <a:cubicBezTo>
                  <a:pt x="256" y="1280"/>
                  <a:pt x="256" y="1280"/>
                  <a:pt x="256" y="1280"/>
                </a:cubicBezTo>
                <a:cubicBezTo>
                  <a:pt x="256" y="1421"/>
                  <a:pt x="371" y="1536"/>
                  <a:pt x="512" y="1536"/>
                </a:cubicBezTo>
                <a:cubicBezTo>
                  <a:pt x="512" y="1536"/>
                  <a:pt x="512" y="1536"/>
                  <a:pt x="512" y="1536"/>
                </a:cubicBezTo>
                <a:cubicBezTo>
                  <a:pt x="653" y="1536"/>
                  <a:pt x="768" y="1421"/>
                  <a:pt x="768" y="128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3" name="Freeform 98">
            <a:extLst>
              <a:ext uri="{FF2B5EF4-FFF2-40B4-BE49-F238E27FC236}">
                <a16:creationId xmlns:a16="http://schemas.microsoft.com/office/drawing/2014/main" id="{6138EBB5-37AC-44C4-8DDF-B444CA4100A6}"/>
              </a:ext>
            </a:extLst>
          </p:cNvPr>
          <p:cNvSpPr>
            <a:spLocks noEditPoints="1"/>
          </p:cNvSpPr>
          <p:nvPr/>
        </p:nvSpPr>
        <p:spPr bwMode="gray">
          <a:xfrm>
            <a:off x="9844702" y="2031396"/>
            <a:ext cx="306811" cy="491684"/>
          </a:xfrm>
          <a:custGeom>
            <a:avLst/>
            <a:gdLst>
              <a:gd name="T0" fmla="*/ 704 w 960"/>
              <a:gd name="T1" fmla="*/ 0 h 1536"/>
              <a:gd name="T2" fmla="*/ 0 w 960"/>
              <a:gd name="T3" fmla="*/ 0 h 1536"/>
              <a:gd name="T4" fmla="*/ 0 w 960"/>
              <a:gd name="T5" fmla="*/ 1536 h 1536"/>
              <a:gd name="T6" fmla="*/ 704 w 960"/>
              <a:gd name="T7" fmla="*/ 1536 h 1536"/>
              <a:gd name="T8" fmla="*/ 960 w 960"/>
              <a:gd name="T9" fmla="*/ 1280 h 1536"/>
              <a:gd name="T10" fmla="*/ 960 w 960"/>
              <a:gd name="T11" fmla="*/ 256 h 1536"/>
              <a:gd name="T12" fmla="*/ 704 w 960"/>
              <a:gd name="T13" fmla="*/ 0 h 1536"/>
              <a:gd name="T14" fmla="*/ 320 w 960"/>
              <a:gd name="T15" fmla="*/ 1408 h 1536"/>
              <a:gd name="T16" fmla="*/ 128 w 960"/>
              <a:gd name="T17" fmla="*/ 1408 h 1536"/>
              <a:gd name="T18" fmla="*/ 128 w 960"/>
              <a:gd name="T19" fmla="*/ 1280 h 1536"/>
              <a:gd name="T20" fmla="*/ 320 w 960"/>
              <a:gd name="T21" fmla="*/ 1280 h 1536"/>
              <a:gd name="T22" fmla="*/ 320 w 960"/>
              <a:gd name="T23" fmla="*/ 1408 h 1536"/>
              <a:gd name="T24" fmla="*/ 320 w 960"/>
              <a:gd name="T25" fmla="*/ 1152 h 1536"/>
              <a:gd name="T26" fmla="*/ 128 w 960"/>
              <a:gd name="T27" fmla="*/ 1152 h 1536"/>
              <a:gd name="T28" fmla="*/ 128 w 960"/>
              <a:gd name="T29" fmla="*/ 1024 h 1536"/>
              <a:gd name="T30" fmla="*/ 320 w 960"/>
              <a:gd name="T31" fmla="*/ 1024 h 1536"/>
              <a:gd name="T32" fmla="*/ 320 w 960"/>
              <a:gd name="T33" fmla="*/ 1152 h 1536"/>
              <a:gd name="T34" fmla="*/ 320 w 960"/>
              <a:gd name="T35" fmla="*/ 896 h 1536"/>
              <a:gd name="T36" fmla="*/ 128 w 960"/>
              <a:gd name="T37" fmla="*/ 896 h 1536"/>
              <a:gd name="T38" fmla="*/ 128 w 960"/>
              <a:gd name="T39" fmla="*/ 768 h 1536"/>
              <a:gd name="T40" fmla="*/ 320 w 960"/>
              <a:gd name="T41" fmla="*/ 768 h 1536"/>
              <a:gd name="T42" fmla="*/ 320 w 960"/>
              <a:gd name="T43" fmla="*/ 896 h 1536"/>
              <a:gd name="T44" fmla="*/ 576 w 960"/>
              <a:gd name="T45" fmla="*/ 1408 h 1536"/>
              <a:gd name="T46" fmla="*/ 384 w 960"/>
              <a:gd name="T47" fmla="*/ 1408 h 1536"/>
              <a:gd name="T48" fmla="*/ 384 w 960"/>
              <a:gd name="T49" fmla="*/ 1280 h 1536"/>
              <a:gd name="T50" fmla="*/ 576 w 960"/>
              <a:gd name="T51" fmla="*/ 1280 h 1536"/>
              <a:gd name="T52" fmla="*/ 576 w 960"/>
              <a:gd name="T53" fmla="*/ 1408 h 1536"/>
              <a:gd name="T54" fmla="*/ 576 w 960"/>
              <a:gd name="T55" fmla="*/ 1152 h 1536"/>
              <a:gd name="T56" fmla="*/ 384 w 960"/>
              <a:gd name="T57" fmla="*/ 1152 h 1536"/>
              <a:gd name="T58" fmla="*/ 384 w 960"/>
              <a:gd name="T59" fmla="*/ 1024 h 1536"/>
              <a:gd name="T60" fmla="*/ 576 w 960"/>
              <a:gd name="T61" fmla="*/ 1024 h 1536"/>
              <a:gd name="T62" fmla="*/ 576 w 960"/>
              <a:gd name="T63" fmla="*/ 1152 h 1536"/>
              <a:gd name="T64" fmla="*/ 576 w 960"/>
              <a:gd name="T65" fmla="*/ 896 h 1536"/>
              <a:gd name="T66" fmla="*/ 384 w 960"/>
              <a:gd name="T67" fmla="*/ 896 h 1536"/>
              <a:gd name="T68" fmla="*/ 384 w 960"/>
              <a:gd name="T69" fmla="*/ 768 h 1536"/>
              <a:gd name="T70" fmla="*/ 576 w 960"/>
              <a:gd name="T71" fmla="*/ 768 h 1536"/>
              <a:gd name="T72" fmla="*/ 576 w 960"/>
              <a:gd name="T73" fmla="*/ 896 h 1536"/>
              <a:gd name="T74" fmla="*/ 832 w 960"/>
              <a:gd name="T75" fmla="*/ 1280 h 1536"/>
              <a:gd name="T76" fmla="*/ 704 w 960"/>
              <a:gd name="T77" fmla="*/ 1408 h 1536"/>
              <a:gd name="T78" fmla="*/ 640 w 960"/>
              <a:gd name="T79" fmla="*/ 1408 h 1536"/>
              <a:gd name="T80" fmla="*/ 640 w 960"/>
              <a:gd name="T81" fmla="*/ 1024 h 1536"/>
              <a:gd name="T82" fmla="*/ 832 w 960"/>
              <a:gd name="T83" fmla="*/ 1024 h 1536"/>
              <a:gd name="T84" fmla="*/ 832 w 960"/>
              <a:gd name="T85" fmla="*/ 1280 h 1536"/>
              <a:gd name="T86" fmla="*/ 832 w 960"/>
              <a:gd name="T87" fmla="*/ 896 h 1536"/>
              <a:gd name="T88" fmla="*/ 640 w 960"/>
              <a:gd name="T89" fmla="*/ 896 h 1536"/>
              <a:gd name="T90" fmla="*/ 640 w 960"/>
              <a:gd name="T91" fmla="*/ 768 h 1536"/>
              <a:gd name="T92" fmla="*/ 832 w 960"/>
              <a:gd name="T93" fmla="*/ 768 h 1536"/>
              <a:gd name="T94" fmla="*/ 832 w 960"/>
              <a:gd name="T95" fmla="*/ 896 h 1536"/>
              <a:gd name="T96" fmla="*/ 832 w 960"/>
              <a:gd name="T97" fmla="*/ 384 h 1536"/>
              <a:gd name="T98" fmla="*/ 128 w 960"/>
              <a:gd name="T99" fmla="*/ 384 h 1536"/>
              <a:gd name="T100" fmla="*/ 128 w 960"/>
              <a:gd name="T101" fmla="*/ 128 h 1536"/>
              <a:gd name="T102" fmla="*/ 704 w 960"/>
              <a:gd name="T103" fmla="*/ 128 h 1536"/>
              <a:gd name="T104" fmla="*/ 832 w 960"/>
              <a:gd name="T105" fmla="*/ 256 h 1536"/>
              <a:gd name="T106" fmla="*/ 832 w 960"/>
              <a:gd name="T107" fmla="*/ 384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0" h="1536">
                <a:moveTo>
                  <a:pt x="704" y="0"/>
                </a:moveTo>
                <a:cubicBezTo>
                  <a:pt x="0" y="0"/>
                  <a:pt x="0" y="0"/>
                  <a:pt x="0" y="0"/>
                </a:cubicBezTo>
                <a:cubicBezTo>
                  <a:pt x="0" y="1536"/>
                  <a:pt x="0" y="1536"/>
                  <a:pt x="0" y="1536"/>
                </a:cubicBezTo>
                <a:cubicBezTo>
                  <a:pt x="704" y="1536"/>
                  <a:pt x="704" y="1536"/>
                  <a:pt x="704" y="1536"/>
                </a:cubicBezTo>
                <a:cubicBezTo>
                  <a:pt x="845" y="1536"/>
                  <a:pt x="960" y="1421"/>
                  <a:pt x="960" y="1280"/>
                </a:cubicBezTo>
                <a:cubicBezTo>
                  <a:pt x="960" y="256"/>
                  <a:pt x="960" y="256"/>
                  <a:pt x="960" y="256"/>
                </a:cubicBezTo>
                <a:cubicBezTo>
                  <a:pt x="960" y="115"/>
                  <a:pt x="845" y="0"/>
                  <a:pt x="704" y="0"/>
                </a:cubicBezTo>
                <a:close/>
                <a:moveTo>
                  <a:pt x="320" y="1408"/>
                </a:moveTo>
                <a:cubicBezTo>
                  <a:pt x="128" y="1408"/>
                  <a:pt x="128" y="1408"/>
                  <a:pt x="128" y="1408"/>
                </a:cubicBezTo>
                <a:cubicBezTo>
                  <a:pt x="128" y="1280"/>
                  <a:pt x="128" y="1280"/>
                  <a:pt x="128" y="1280"/>
                </a:cubicBezTo>
                <a:cubicBezTo>
                  <a:pt x="320" y="1280"/>
                  <a:pt x="320" y="1280"/>
                  <a:pt x="320" y="1280"/>
                </a:cubicBezTo>
                <a:lnTo>
                  <a:pt x="320" y="1408"/>
                </a:lnTo>
                <a:close/>
                <a:moveTo>
                  <a:pt x="320" y="1152"/>
                </a:moveTo>
                <a:cubicBezTo>
                  <a:pt x="128" y="1152"/>
                  <a:pt x="128" y="1152"/>
                  <a:pt x="128" y="1152"/>
                </a:cubicBezTo>
                <a:cubicBezTo>
                  <a:pt x="128" y="1024"/>
                  <a:pt x="128" y="1024"/>
                  <a:pt x="128" y="1024"/>
                </a:cubicBezTo>
                <a:cubicBezTo>
                  <a:pt x="320" y="1024"/>
                  <a:pt x="320" y="1024"/>
                  <a:pt x="320" y="1024"/>
                </a:cubicBezTo>
                <a:lnTo>
                  <a:pt x="320" y="1152"/>
                </a:lnTo>
                <a:close/>
                <a:moveTo>
                  <a:pt x="320" y="896"/>
                </a:moveTo>
                <a:cubicBezTo>
                  <a:pt x="128" y="896"/>
                  <a:pt x="128" y="896"/>
                  <a:pt x="128" y="896"/>
                </a:cubicBezTo>
                <a:cubicBezTo>
                  <a:pt x="128" y="768"/>
                  <a:pt x="128" y="768"/>
                  <a:pt x="128" y="768"/>
                </a:cubicBezTo>
                <a:cubicBezTo>
                  <a:pt x="320" y="768"/>
                  <a:pt x="320" y="768"/>
                  <a:pt x="320" y="768"/>
                </a:cubicBezTo>
                <a:lnTo>
                  <a:pt x="320" y="896"/>
                </a:lnTo>
                <a:close/>
                <a:moveTo>
                  <a:pt x="576" y="1408"/>
                </a:moveTo>
                <a:cubicBezTo>
                  <a:pt x="384" y="1408"/>
                  <a:pt x="384" y="1408"/>
                  <a:pt x="384" y="1408"/>
                </a:cubicBezTo>
                <a:cubicBezTo>
                  <a:pt x="384" y="1280"/>
                  <a:pt x="384" y="1280"/>
                  <a:pt x="384" y="1280"/>
                </a:cubicBezTo>
                <a:cubicBezTo>
                  <a:pt x="576" y="1280"/>
                  <a:pt x="576" y="1280"/>
                  <a:pt x="576" y="1280"/>
                </a:cubicBezTo>
                <a:lnTo>
                  <a:pt x="576" y="1408"/>
                </a:lnTo>
                <a:close/>
                <a:moveTo>
                  <a:pt x="576" y="1152"/>
                </a:moveTo>
                <a:cubicBezTo>
                  <a:pt x="384" y="1152"/>
                  <a:pt x="384" y="1152"/>
                  <a:pt x="384" y="1152"/>
                </a:cubicBezTo>
                <a:cubicBezTo>
                  <a:pt x="384" y="1024"/>
                  <a:pt x="384" y="1024"/>
                  <a:pt x="384" y="1024"/>
                </a:cubicBezTo>
                <a:cubicBezTo>
                  <a:pt x="576" y="1024"/>
                  <a:pt x="576" y="1024"/>
                  <a:pt x="576" y="1024"/>
                </a:cubicBezTo>
                <a:lnTo>
                  <a:pt x="576" y="1152"/>
                </a:lnTo>
                <a:close/>
                <a:moveTo>
                  <a:pt x="576" y="896"/>
                </a:moveTo>
                <a:cubicBezTo>
                  <a:pt x="384" y="896"/>
                  <a:pt x="384" y="896"/>
                  <a:pt x="384" y="896"/>
                </a:cubicBezTo>
                <a:cubicBezTo>
                  <a:pt x="384" y="768"/>
                  <a:pt x="384" y="768"/>
                  <a:pt x="384" y="768"/>
                </a:cubicBezTo>
                <a:cubicBezTo>
                  <a:pt x="576" y="768"/>
                  <a:pt x="576" y="768"/>
                  <a:pt x="576" y="768"/>
                </a:cubicBezTo>
                <a:lnTo>
                  <a:pt x="576" y="896"/>
                </a:lnTo>
                <a:close/>
                <a:moveTo>
                  <a:pt x="832" y="1280"/>
                </a:moveTo>
                <a:cubicBezTo>
                  <a:pt x="832" y="1351"/>
                  <a:pt x="775" y="1408"/>
                  <a:pt x="704" y="1408"/>
                </a:cubicBezTo>
                <a:cubicBezTo>
                  <a:pt x="640" y="1408"/>
                  <a:pt x="640" y="1408"/>
                  <a:pt x="640" y="1408"/>
                </a:cubicBezTo>
                <a:cubicBezTo>
                  <a:pt x="640" y="1024"/>
                  <a:pt x="640" y="1024"/>
                  <a:pt x="640" y="1024"/>
                </a:cubicBezTo>
                <a:cubicBezTo>
                  <a:pt x="832" y="1024"/>
                  <a:pt x="832" y="1024"/>
                  <a:pt x="832" y="1024"/>
                </a:cubicBezTo>
                <a:lnTo>
                  <a:pt x="832" y="1280"/>
                </a:lnTo>
                <a:close/>
                <a:moveTo>
                  <a:pt x="832" y="896"/>
                </a:moveTo>
                <a:cubicBezTo>
                  <a:pt x="640" y="896"/>
                  <a:pt x="640" y="896"/>
                  <a:pt x="640" y="896"/>
                </a:cubicBezTo>
                <a:cubicBezTo>
                  <a:pt x="640" y="768"/>
                  <a:pt x="640" y="768"/>
                  <a:pt x="640" y="768"/>
                </a:cubicBezTo>
                <a:cubicBezTo>
                  <a:pt x="832" y="768"/>
                  <a:pt x="832" y="768"/>
                  <a:pt x="832" y="768"/>
                </a:cubicBezTo>
                <a:lnTo>
                  <a:pt x="832" y="896"/>
                </a:lnTo>
                <a:close/>
                <a:moveTo>
                  <a:pt x="832" y="384"/>
                </a:moveTo>
                <a:cubicBezTo>
                  <a:pt x="128" y="384"/>
                  <a:pt x="128" y="384"/>
                  <a:pt x="128" y="384"/>
                </a:cubicBezTo>
                <a:cubicBezTo>
                  <a:pt x="128" y="128"/>
                  <a:pt x="128" y="128"/>
                  <a:pt x="128" y="128"/>
                </a:cubicBezTo>
                <a:cubicBezTo>
                  <a:pt x="704" y="128"/>
                  <a:pt x="704" y="128"/>
                  <a:pt x="704" y="128"/>
                </a:cubicBezTo>
                <a:cubicBezTo>
                  <a:pt x="775" y="128"/>
                  <a:pt x="832" y="185"/>
                  <a:pt x="832" y="256"/>
                </a:cubicBezTo>
                <a:lnTo>
                  <a:pt x="832" y="38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4" name="Freeform 102">
            <a:extLst>
              <a:ext uri="{FF2B5EF4-FFF2-40B4-BE49-F238E27FC236}">
                <a16:creationId xmlns:a16="http://schemas.microsoft.com/office/drawing/2014/main" id="{B0C576E4-E01E-4FAA-BF18-471EC34CC291}"/>
              </a:ext>
            </a:extLst>
          </p:cNvPr>
          <p:cNvSpPr>
            <a:spLocks noEditPoints="1"/>
          </p:cNvSpPr>
          <p:nvPr/>
        </p:nvSpPr>
        <p:spPr bwMode="gray">
          <a:xfrm>
            <a:off x="10809022" y="2097057"/>
            <a:ext cx="604837" cy="360362"/>
          </a:xfrm>
          <a:custGeom>
            <a:avLst/>
            <a:gdLst>
              <a:gd name="T0" fmla="*/ 128 w 1504"/>
              <a:gd name="T1" fmla="*/ 0 h 896"/>
              <a:gd name="T2" fmla="*/ 0 w 1504"/>
              <a:gd name="T3" fmla="*/ 128 h 896"/>
              <a:gd name="T4" fmla="*/ 0 w 1504"/>
              <a:gd name="T5" fmla="*/ 768 h 896"/>
              <a:gd name="T6" fmla="*/ 128 w 1504"/>
              <a:gd name="T7" fmla="*/ 896 h 896"/>
              <a:gd name="T8" fmla="*/ 1376 w 1504"/>
              <a:gd name="T9" fmla="*/ 896 h 896"/>
              <a:gd name="T10" fmla="*/ 1504 w 1504"/>
              <a:gd name="T11" fmla="*/ 768 h 896"/>
              <a:gd name="T12" fmla="*/ 1504 w 1504"/>
              <a:gd name="T13" fmla="*/ 0 h 896"/>
              <a:gd name="T14" fmla="*/ 128 w 1504"/>
              <a:gd name="T15" fmla="*/ 0 h 896"/>
              <a:gd name="T16" fmla="*/ 1184 w 1504"/>
              <a:gd name="T17" fmla="*/ 240 h 896"/>
              <a:gd name="T18" fmla="*/ 1296 w 1504"/>
              <a:gd name="T19" fmla="*/ 352 h 896"/>
              <a:gd name="T20" fmla="*/ 1184 w 1504"/>
              <a:gd name="T21" fmla="*/ 464 h 896"/>
              <a:gd name="T22" fmla="*/ 1072 w 1504"/>
              <a:gd name="T23" fmla="*/ 352 h 896"/>
              <a:gd name="T24" fmla="*/ 1184 w 1504"/>
              <a:gd name="T25" fmla="*/ 240 h 896"/>
              <a:gd name="T26" fmla="*/ 896 w 1504"/>
              <a:gd name="T27" fmla="*/ 640 h 896"/>
              <a:gd name="T28" fmla="*/ 256 w 1504"/>
              <a:gd name="T29" fmla="*/ 640 h 896"/>
              <a:gd name="T30" fmla="*/ 256 w 1504"/>
              <a:gd name="T31" fmla="*/ 512 h 896"/>
              <a:gd name="T32" fmla="*/ 896 w 1504"/>
              <a:gd name="T33" fmla="*/ 512 h 896"/>
              <a:gd name="T34" fmla="*/ 896 w 1504"/>
              <a:gd name="T35" fmla="*/ 640 h 896"/>
              <a:gd name="T36" fmla="*/ 896 w 1504"/>
              <a:gd name="T37" fmla="*/ 384 h 896"/>
              <a:gd name="T38" fmla="*/ 256 w 1504"/>
              <a:gd name="T39" fmla="*/ 384 h 896"/>
              <a:gd name="T40" fmla="*/ 256 w 1504"/>
              <a:gd name="T41" fmla="*/ 256 h 896"/>
              <a:gd name="T42" fmla="*/ 896 w 1504"/>
              <a:gd name="T43" fmla="*/ 256 h 896"/>
              <a:gd name="T44" fmla="*/ 896 w 1504"/>
              <a:gd name="T45" fmla="*/ 384 h 896"/>
              <a:gd name="T46" fmla="*/ 1344 w 1504"/>
              <a:gd name="T47" fmla="*/ 640 h 896"/>
              <a:gd name="T48" fmla="*/ 1024 w 1504"/>
              <a:gd name="T49" fmla="*/ 640 h 896"/>
              <a:gd name="T50" fmla="*/ 1024 w 1504"/>
              <a:gd name="T51" fmla="*/ 553 h 896"/>
              <a:gd name="T52" fmla="*/ 1031 w 1504"/>
              <a:gd name="T53" fmla="*/ 531 h 896"/>
              <a:gd name="T54" fmla="*/ 1124 w 1504"/>
              <a:gd name="T55" fmla="*/ 486 h 896"/>
              <a:gd name="T56" fmla="*/ 1136 w 1504"/>
              <a:gd name="T57" fmla="*/ 486 h 896"/>
              <a:gd name="T58" fmla="*/ 1160 w 1504"/>
              <a:gd name="T59" fmla="*/ 525 h 896"/>
              <a:gd name="T60" fmla="*/ 1208 w 1504"/>
              <a:gd name="T61" fmla="*/ 525 h 896"/>
              <a:gd name="T62" fmla="*/ 1232 w 1504"/>
              <a:gd name="T63" fmla="*/ 486 h 896"/>
              <a:gd name="T64" fmla="*/ 1244 w 1504"/>
              <a:gd name="T65" fmla="*/ 486 h 896"/>
              <a:gd name="T66" fmla="*/ 1337 w 1504"/>
              <a:gd name="T67" fmla="*/ 531 h 896"/>
              <a:gd name="T68" fmla="*/ 1344 w 1504"/>
              <a:gd name="T69" fmla="*/ 553 h 896"/>
              <a:gd name="T70" fmla="*/ 1344 w 1504"/>
              <a:gd name="T71" fmla="*/ 64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04" h="896">
                <a:moveTo>
                  <a:pt x="128" y="0"/>
                </a:moveTo>
                <a:cubicBezTo>
                  <a:pt x="57" y="0"/>
                  <a:pt x="0" y="57"/>
                  <a:pt x="0" y="128"/>
                </a:cubicBezTo>
                <a:cubicBezTo>
                  <a:pt x="0" y="768"/>
                  <a:pt x="0" y="768"/>
                  <a:pt x="0" y="768"/>
                </a:cubicBezTo>
                <a:cubicBezTo>
                  <a:pt x="0" y="839"/>
                  <a:pt x="57" y="896"/>
                  <a:pt x="128" y="896"/>
                </a:cubicBezTo>
                <a:cubicBezTo>
                  <a:pt x="1376" y="896"/>
                  <a:pt x="1376" y="896"/>
                  <a:pt x="1376" y="896"/>
                </a:cubicBezTo>
                <a:cubicBezTo>
                  <a:pt x="1447" y="896"/>
                  <a:pt x="1504" y="839"/>
                  <a:pt x="1504" y="768"/>
                </a:cubicBezTo>
                <a:cubicBezTo>
                  <a:pt x="1504" y="0"/>
                  <a:pt x="1504" y="0"/>
                  <a:pt x="1504" y="0"/>
                </a:cubicBezTo>
                <a:lnTo>
                  <a:pt x="128" y="0"/>
                </a:lnTo>
                <a:close/>
                <a:moveTo>
                  <a:pt x="1184" y="240"/>
                </a:moveTo>
                <a:cubicBezTo>
                  <a:pt x="1246" y="240"/>
                  <a:pt x="1296" y="290"/>
                  <a:pt x="1296" y="352"/>
                </a:cubicBezTo>
                <a:cubicBezTo>
                  <a:pt x="1296" y="414"/>
                  <a:pt x="1246" y="464"/>
                  <a:pt x="1184" y="464"/>
                </a:cubicBezTo>
                <a:cubicBezTo>
                  <a:pt x="1122" y="464"/>
                  <a:pt x="1072" y="414"/>
                  <a:pt x="1072" y="352"/>
                </a:cubicBezTo>
                <a:cubicBezTo>
                  <a:pt x="1072" y="290"/>
                  <a:pt x="1122" y="240"/>
                  <a:pt x="1184" y="240"/>
                </a:cubicBezTo>
                <a:close/>
                <a:moveTo>
                  <a:pt x="896" y="640"/>
                </a:moveTo>
                <a:cubicBezTo>
                  <a:pt x="256" y="640"/>
                  <a:pt x="256" y="640"/>
                  <a:pt x="256" y="640"/>
                </a:cubicBezTo>
                <a:cubicBezTo>
                  <a:pt x="256" y="512"/>
                  <a:pt x="256" y="512"/>
                  <a:pt x="256" y="512"/>
                </a:cubicBezTo>
                <a:cubicBezTo>
                  <a:pt x="896" y="512"/>
                  <a:pt x="896" y="512"/>
                  <a:pt x="896" y="512"/>
                </a:cubicBezTo>
                <a:lnTo>
                  <a:pt x="896" y="640"/>
                </a:lnTo>
                <a:close/>
                <a:moveTo>
                  <a:pt x="896" y="384"/>
                </a:moveTo>
                <a:cubicBezTo>
                  <a:pt x="256" y="384"/>
                  <a:pt x="256" y="384"/>
                  <a:pt x="256" y="384"/>
                </a:cubicBezTo>
                <a:cubicBezTo>
                  <a:pt x="256" y="256"/>
                  <a:pt x="256" y="256"/>
                  <a:pt x="256" y="256"/>
                </a:cubicBezTo>
                <a:cubicBezTo>
                  <a:pt x="896" y="256"/>
                  <a:pt x="896" y="256"/>
                  <a:pt x="896" y="256"/>
                </a:cubicBezTo>
                <a:lnTo>
                  <a:pt x="896" y="384"/>
                </a:lnTo>
                <a:close/>
                <a:moveTo>
                  <a:pt x="1344" y="640"/>
                </a:moveTo>
                <a:cubicBezTo>
                  <a:pt x="1024" y="640"/>
                  <a:pt x="1024" y="640"/>
                  <a:pt x="1024" y="640"/>
                </a:cubicBezTo>
                <a:cubicBezTo>
                  <a:pt x="1024" y="553"/>
                  <a:pt x="1024" y="553"/>
                  <a:pt x="1024" y="553"/>
                </a:cubicBezTo>
                <a:cubicBezTo>
                  <a:pt x="1024" y="545"/>
                  <a:pt x="1026" y="538"/>
                  <a:pt x="1031" y="531"/>
                </a:cubicBezTo>
                <a:cubicBezTo>
                  <a:pt x="1049" y="509"/>
                  <a:pt x="1071" y="486"/>
                  <a:pt x="1124" y="486"/>
                </a:cubicBezTo>
                <a:cubicBezTo>
                  <a:pt x="1136" y="486"/>
                  <a:pt x="1136" y="486"/>
                  <a:pt x="1136" y="486"/>
                </a:cubicBezTo>
                <a:cubicBezTo>
                  <a:pt x="1160" y="525"/>
                  <a:pt x="1160" y="525"/>
                  <a:pt x="1160" y="525"/>
                </a:cubicBezTo>
                <a:cubicBezTo>
                  <a:pt x="1208" y="525"/>
                  <a:pt x="1208" y="525"/>
                  <a:pt x="1208" y="525"/>
                </a:cubicBezTo>
                <a:cubicBezTo>
                  <a:pt x="1232" y="486"/>
                  <a:pt x="1232" y="486"/>
                  <a:pt x="1232" y="486"/>
                </a:cubicBezTo>
                <a:cubicBezTo>
                  <a:pt x="1244" y="486"/>
                  <a:pt x="1244" y="486"/>
                  <a:pt x="1244" y="486"/>
                </a:cubicBezTo>
                <a:cubicBezTo>
                  <a:pt x="1297" y="486"/>
                  <a:pt x="1319" y="509"/>
                  <a:pt x="1337" y="531"/>
                </a:cubicBezTo>
                <a:cubicBezTo>
                  <a:pt x="1342" y="538"/>
                  <a:pt x="1344" y="545"/>
                  <a:pt x="1344" y="553"/>
                </a:cubicBezTo>
                <a:lnTo>
                  <a:pt x="1344" y="64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85" name="Gruppieren 184">
            <a:extLst>
              <a:ext uri="{FF2B5EF4-FFF2-40B4-BE49-F238E27FC236}">
                <a16:creationId xmlns:a16="http://schemas.microsoft.com/office/drawing/2014/main" id="{D9D519B4-EEBD-47BD-AFC5-49C2B9580A44}"/>
              </a:ext>
            </a:extLst>
          </p:cNvPr>
          <p:cNvGrpSpPr/>
          <p:nvPr/>
        </p:nvGrpSpPr>
        <p:grpSpPr bwMode="gray">
          <a:xfrm>
            <a:off x="8620455" y="3251801"/>
            <a:ext cx="528638" cy="396876"/>
            <a:chOff x="371475" y="1484313"/>
            <a:chExt cx="528638" cy="396876"/>
          </a:xfrm>
          <a:solidFill>
            <a:schemeClr val="accent1"/>
          </a:solidFill>
        </p:grpSpPr>
        <p:sp>
          <p:nvSpPr>
            <p:cNvPr id="186" name="Oval 121">
              <a:extLst>
                <a:ext uri="{FF2B5EF4-FFF2-40B4-BE49-F238E27FC236}">
                  <a16:creationId xmlns:a16="http://schemas.microsoft.com/office/drawing/2014/main" id="{718256A1-A1F9-484E-9C93-00B5D641E910}"/>
                </a:ext>
              </a:extLst>
            </p:cNvPr>
            <p:cNvSpPr>
              <a:spLocks noChangeArrowheads="1"/>
            </p:cNvSpPr>
            <p:nvPr/>
          </p:nvSpPr>
          <p:spPr bwMode="gray">
            <a:xfrm>
              <a:off x="723900" y="1749426"/>
              <a:ext cx="133350" cy="1317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87" name="Oval 122">
              <a:extLst>
                <a:ext uri="{FF2B5EF4-FFF2-40B4-BE49-F238E27FC236}">
                  <a16:creationId xmlns:a16="http://schemas.microsoft.com/office/drawing/2014/main" id="{0523300C-1F79-43B5-A416-02277441E7C9}"/>
                </a:ext>
              </a:extLst>
            </p:cNvPr>
            <p:cNvSpPr>
              <a:spLocks noChangeArrowheads="1"/>
            </p:cNvSpPr>
            <p:nvPr/>
          </p:nvSpPr>
          <p:spPr bwMode="gray">
            <a:xfrm>
              <a:off x="415925" y="1749426"/>
              <a:ext cx="131763" cy="131763"/>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88" name="Freeform 123">
              <a:extLst>
                <a:ext uri="{FF2B5EF4-FFF2-40B4-BE49-F238E27FC236}">
                  <a16:creationId xmlns:a16="http://schemas.microsoft.com/office/drawing/2014/main" id="{9EC9174E-3F6E-4B54-85AE-8A1BD1E7C526}"/>
                </a:ext>
              </a:extLst>
            </p:cNvPr>
            <p:cNvSpPr>
              <a:spLocks noEditPoints="1"/>
            </p:cNvSpPr>
            <p:nvPr/>
          </p:nvSpPr>
          <p:spPr bwMode="gray">
            <a:xfrm>
              <a:off x="371475" y="1484313"/>
              <a:ext cx="528638" cy="307975"/>
            </a:xfrm>
            <a:custGeom>
              <a:avLst/>
              <a:gdLst>
                <a:gd name="T0" fmla="*/ 1280 w 1536"/>
                <a:gd name="T1" fmla="*/ 128 h 896"/>
                <a:gd name="T2" fmla="*/ 1088 w 1536"/>
                <a:gd name="T3" fmla="*/ 128 h 896"/>
                <a:gd name="T4" fmla="*/ 1088 w 1536"/>
                <a:gd name="T5" fmla="*/ 0 h 896"/>
                <a:gd name="T6" fmla="*/ 960 w 1536"/>
                <a:gd name="T7" fmla="*/ 0 h 896"/>
                <a:gd name="T8" fmla="*/ 960 w 1536"/>
                <a:gd name="T9" fmla="*/ 128 h 896"/>
                <a:gd name="T10" fmla="*/ 768 w 1536"/>
                <a:gd name="T11" fmla="*/ 128 h 896"/>
                <a:gd name="T12" fmla="*/ 768 w 1536"/>
                <a:gd name="T13" fmla="*/ 0 h 896"/>
                <a:gd name="T14" fmla="*/ 128 w 1536"/>
                <a:gd name="T15" fmla="*/ 0 h 896"/>
                <a:gd name="T16" fmla="*/ 128 w 1536"/>
                <a:gd name="T17" fmla="*/ 128 h 896"/>
                <a:gd name="T18" fmla="*/ 0 w 1536"/>
                <a:gd name="T19" fmla="*/ 128 h 896"/>
                <a:gd name="T20" fmla="*/ 0 w 1536"/>
                <a:gd name="T21" fmla="*/ 896 h 896"/>
                <a:gd name="T22" fmla="*/ 73 w 1536"/>
                <a:gd name="T23" fmla="*/ 896 h 896"/>
                <a:gd name="T24" fmla="*/ 383 w 1536"/>
                <a:gd name="T25" fmla="*/ 712 h 896"/>
                <a:gd name="T26" fmla="*/ 567 w 1536"/>
                <a:gd name="T27" fmla="*/ 896 h 896"/>
                <a:gd name="T28" fmla="*/ 969 w 1536"/>
                <a:gd name="T29" fmla="*/ 896 h 896"/>
                <a:gd name="T30" fmla="*/ 1279 w 1536"/>
                <a:gd name="T31" fmla="*/ 712 h 896"/>
                <a:gd name="T32" fmla="*/ 1463 w 1536"/>
                <a:gd name="T33" fmla="*/ 896 h 896"/>
                <a:gd name="T34" fmla="*/ 1536 w 1536"/>
                <a:gd name="T35" fmla="*/ 896 h 896"/>
                <a:gd name="T36" fmla="*/ 1536 w 1536"/>
                <a:gd name="T37" fmla="*/ 384 h 896"/>
                <a:gd name="T38" fmla="*/ 1280 w 1536"/>
                <a:gd name="T39" fmla="*/ 128 h 896"/>
                <a:gd name="T40" fmla="*/ 768 w 1536"/>
                <a:gd name="T41" fmla="*/ 576 h 896"/>
                <a:gd name="T42" fmla="*/ 256 w 1536"/>
                <a:gd name="T43" fmla="*/ 576 h 896"/>
                <a:gd name="T44" fmla="*/ 256 w 1536"/>
                <a:gd name="T45" fmla="*/ 512 h 896"/>
                <a:gd name="T46" fmla="*/ 768 w 1536"/>
                <a:gd name="T47" fmla="*/ 512 h 896"/>
                <a:gd name="T48" fmla="*/ 768 w 1536"/>
                <a:gd name="T49" fmla="*/ 576 h 896"/>
                <a:gd name="T50" fmla="*/ 768 w 1536"/>
                <a:gd name="T51" fmla="*/ 448 h 896"/>
                <a:gd name="T52" fmla="*/ 256 w 1536"/>
                <a:gd name="T53" fmla="*/ 448 h 896"/>
                <a:gd name="T54" fmla="*/ 256 w 1536"/>
                <a:gd name="T55" fmla="*/ 384 h 896"/>
                <a:gd name="T56" fmla="*/ 768 w 1536"/>
                <a:gd name="T57" fmla="*/ 384 h 896"/>
                <a:gd name="T58" fmla="*/ 768 w 1536"/>
                <a:gd name="T59" fmla="*/ 448 h 896"/>
                <a:gd name="T60" fmla="*/ 768 w 1536"/>
                <a:gd name="T61" fmla="*/ 320 h 896"/>
                <a:gd name="T62" fmla="*/ 256 w 1536"/>
                <a:gd name="T63" fmla="*/ 320 h 896"/>
                <a:gd name="T64" fmla="*/ 256 w 1536"/>
                <a:gd name="T65" fmla="*/ 256 h 896"/>
                <a:gd name="T66" fmla="*/ 768 w 1536"/>
                <a:gd name="T67" fmla="*/ 256 h 896"/>
                <a:gd name="T68" fmla="*/ 768 w 1536"/>
                <a:gd name="T69" fmla="*/ 320 h 896"/>
                <a:gd name="T70" fmla="*/ 1408 w 1536"/>
                <a:gd name="T71" fmla="*/ 576 h 896"/>
                <a:gd name="T72" fmla="*/ 1088 w 1536"/>
                <a:gd name="T73" fmla="*/ 576 h 896"/>
                <a:gd name="T74" fmla="*/ 1088 w 1536"/>
                <a:gd name="T75" fmla="*/ 256 h 896"/>
                <a:gd name="T76" fmla="*/ 1280 w 1536"/>
                <a:gd name="T77" fmla="*/ 256 h 896"/>
                <a:gd name="T78" fmla="*/ 1408 w 1536"/>
                <a:gd name="T79" fmla="*/ 384 h 896"/>
                <a:gd name="T80" fmla="*/ 1408 w 1536"/>
                <a:gd name="T81" fmla="*/ 576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36" h="896">
                  <a:moveTo>
                    <a:pt x="1280" y="128"/>
                  </a:moveTo>
                  <a:cubicBezTo>
                    <a:pt x="1088" y="128"/>
                    <a:pt x="1088" y="128"/>
                    <a:pt x="1088" y="128"/>
                  </a:cubicBezTo>
                  <a:cubicBezTo>
                    <a:pt x="1088" y="0"/>
                    <a:pt x="1088" y="0"/>
                    <a:pt x="1088" y="0"/>
                  </a:cubicBezTo>
                  <a:cubicBezTo>
                    <a:pt x="960" y="0"/>
                    <a:pt x="960" y="0"/>
                    <a:pt x="960" y="0"/>
                  </a:cubicBezTo>
                  <a:cubicBezTo>
                    <a:pt x="960" y="128"/>
                    <a:pt x="960" y="128"/>
                    <a:pt x="960" y="128"/>
                  </a:cubicBezTo>
                  <a:cubicBezTo>
                    <a:pt x="768" y="128"/>
                    <a:pt x="768" y="128"/>
                    <a:pt x="768" y="128"/>
                  </a:cubicBezTo>
                  <a:cubicBezTo>
                    <a:pt x="768" y="0"/>
                    <a:pt x="768" y="0"/>
                    <a:pt x="768" y="0"/>
                  </a:cubicBezTo>
                  <a:cubicBezTo>
                    <a:pt x="128" y="0"/>
                    <a:pt x="128" y="0"/>
                    <a:pt x="128" y="0"/>
                  </a:cubicBezTo>
                  <a:cubicBezTo>
                    <a:pt x="128" y="128"/>
                    <a:pt x="128" y="128"/>
                    <a:pt x="128" y="128"/>
                  </a:cubicBezTo>
                  <a:cubicBezTo>
                    <a:pt x="0" y="128"/>
                    <a:pt x="0" y="128"/>
                    <a:pt x="0" y="128"/>
                  </a:cubicBezTo>
                  <a:cubicBezTo>
                    <a:pt x="0" y="896"/>
                    <a:pt x="0" y="896"/>
                    <a:pt x="0" y="896"/>
                  </a:cubicBezTo>
                  <a:cubicBezTo>
                    <a:pt x="73" y="896"/>
                    <a:pt x="73" y="896"/>
                    <a:pt x="73" y="896"/>
                  </a:cubicBezTo>
                  <a:cubicBezTo>
                    <a:pt x="108" y="760"/>
                    <a:pt x="246" y="677"/>
                    <a:pt x="383" y="712"/>
                  </a:cubicBezTo>
                  <a:cubicBezTo>
                    <a:pt x="473" y="735"/>
                    <a:pt x="544" y="805"/>
                    <a:pt x="567" y="896"/>
                  </a:cubicBezTo>
                  <a:cubicBezTo>
                    <a:pt x="969" y="896"/>
                    <a:pt x="969" y="896"/>
                    <a:pt x="969" y="896"/>
                  </a:cubicBezTo>
                  <a:cubicBezTo>
                    <a:pt x="1004" y="760"/>
                    <a:pt x="1142" y="677"/>
                    <a:pt x="1279" y="712"/>
                  </a:cubicBezTo>
                  <a:cubicBezTo>
                    <a:pt x="1369" y="735"/>
                    <a:pt x="1440" y="805"/>
                    <a:pt x="1463" y="896"/>
                  </a:cubicBezTo>
                  <a:cubicBezTo>
                    <a:pt x="1536" y="896"/>
                    <a:pt x="1536" y="896"/>
                    <a:pt x="1536" y="896"/>
                  </a:cubicBezTo>
                  <a:cubicBezTo>
                    <a:pt x="1536" y="384"/>
                    <a:pt x="1536" y="384"/>
                    <a:pt x="1536" y="384"/>
                  </a:cubicBezTo>
                  <a:cubicBezTo>
                    <a:pt x="1536" y="243"/>
                    <a:pt x="1421" y="128"/>
                    <a:pt x="1280" y="128"/>
                  </a:cubicBezTo>
                  <a:close/>
                  <a:moveTo>
                    <a:pt x="768" y="576"/>
                  </a:moveTo>
                  <a:cubicBezTo>
                    <a:pt x="256" y="576"/>
                    <a:pt x="256" y="576"/>
                    <a:pt x="256" y="576"/>
                  </a:cubicBezTo>
                  <a:cubicBezTo>
                    <a:pt x="256" y="512"/>
                    <a:pt x="256" y="512"/>
                    <a:pt x="256" y="512"/>
                  </a:cubicBezTo>
                  <a:cubicBezTo>
                    <a:pt x="768" y="512"/>
                    <a:pt x="768" y="512"/>
                    <a:pt x="768" y="512"/>
                  </a:cubicBezTo>
                  <a:lnTo>
                    <a:pt x="768" y="576"/>
                  </a:lnTo>
                  <a:close/>
                  <a:moveTo>
                    <a:pt x="768" y="448"/>
                  </a:moveTo>
                  <a:cubicBezTo>
                    <a:pt x="256" y="448"/>
                    <a:pt x="256" y="448"/>
                    <a:pt x="256" y="448"/>
                  </a:cubicBezTo>
                  <a:cubicBezTo>
                    <a:pt x="256" y="384"/>
                    <a:pt x="256" y="384"/>
                    <a:pt x="256" y="384"/>
                  </a:cubicBezTo>
                  <a:cubicBezTo>
                    <a:pt x="768" y="384"/>
                    <a:pt x="768" y="384"/>
                    <a:pt x="768" y="384"/>
                  </a:cubicBezTo>
                  <a:lnTo>
                    <a:pt x="768" y="448"/>
                  </a:lnTo>
                  <a:close/>
                  <a:moveTo>
                    <a:pt x="768" y="320"/>
                  </a:moveTo>
                  <a:cubicBezTo>
                    <a:pt x="256" y="320"/>
                    <a:pt x="256" y="320"/>
                    <a:pt x="256" y="320"/>
                  </a:cubicBezTo>
                  <a:cubicBezTo>
                    <a:pt x="256" y="256"/>
                    <a:pt x="256" y="256"/>
                    <a:pt x="256" y="256"/>
                  </a:cubicBezTo>
                  <a:cubicBezTo>
                    <a:pt x="768" y="256"/>
                    <a:pt x="768" y="256"/>
                    <a:pt x="768" y="256"/>
                  </a:cubicBezTo>
                  <a:lnTo>
                    <a:pt x="768" y="320"/>
                  </a:lnTo>
                  <a:close/>
                  <a:moveTo>
                    <a:pt x="1408" y="576"/>
                  </a:moveTo>
                  <a:cubicBezTo>
                    <a:pt x="1088" y="576"/>
                    <a:pt x="1088" y="576"/>
                    <a:pt x="1088" y="576"/>
                  </a:cubicBezTo>
                  <a:cubicBezTo>
                    <a:pt x="1088" y="256"/>
                    <a:pt x="1088" y="256"/>
                    <a:pt x="1088" y="256"/>
                  </a:cubicBezTo>
                  <a:cubicBezTo>
                    <a:pt x="1280" y="256"/>
                    <a:pt x="1280" y="256"/>
                    <a:pt x="1280" y="256"/>
                  </a:cubicBezTo>
                  <a:cubicBezTo>
                    <a:pt x="1351" y="256"/>
                    <a:pt x="1408" y="313"/>
                    <a:pt x="1408" y="384"/>
                  </a:cubicBezTo>
                  <a:lnTo>
                    <a:pt x="1408" y="57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89" name="Freeform 127">
            <a:extLst>
              <a:ext uri="{FF2B5EF4-FFF2-40B4-BE49-F238E27FC236}">
                <a16:creationId xmlns:a16="http://schemas.microsoft.com/office/drawing/2014/main" id="{11419B52-BA38-4297-9145-9ECF2BC229C2}"/>
              </a:ext>
            </a:extLst>
          </p:cNvPr>
          <p:cNvSpPr>
            <a:spLocks noEditPoints="1"/>
          </p:cNvSpPr>
          <p:nvPr/>
        </p:nvSpPr>
        <p:spPr bwMode="gray">
          <a:xfrm>
            <a:off x="9720295" y="3251802"/>
            <a:ext cx="555625" cy="396875"/>
          </a:xfrm>
          <a:custGeom>
            <a:avLst/>
            <a:gdLst>
              <a:gd name="T0" fmla="*/ 728 w 1432"/>
              <a:gd name="T1" fmla="*/ 0 h 1024"/>
              <a:gd name="T2" fmla="*/ 472 w 1432"/>
              <a:gd name="T3" fmla="*/ 256 h 1024"/>
              <a:gd name="T4" fmla="*/ 280 w 1432"/>
              <a:gd name="T5" fmla="*/ 256 h 1024"/>
              <a:gd name="T6" fmla="*/ 280 w 1432"/>
              <a:gd name="T7" fmla="*/ 192 h 1024"/>
              <a:gd name="T8" fmla="*/ 408 w 1432"/>
              <a:gd name="T9" fmla="*/ 192 h 1024"/>
              <a:gd name="T10" fmla="*/ 408 w 1432"/>
              <a:gd name="T11" fmla="*/ 128 h 1024"/>
              <a:gd name="T12" fmla="*/ 24 w 1432"/>
              <a:gd name="T13" fmla="*/ 128 h 1024"/>
              <a:gd name="T14" fmla="*/ 24 w 1432"/>
              <a:gd name="T15" fmla="*/ 192 h 1024"/>
              <a:gd name="T16" fmla="*/ 152 w 1432"/>
              <a:gd name="T17" fmla="*/ 192 h 1024"/>
              <a:gd name="T18" fmla="*/ 152 w 1432"/>
              <a:gd name="T19" fmla="*/ 396 h 1024"/>
              <a:gd name="T20" fmla="*/ 36 w 1432"/>
              <a:gd name="T21" fmla="*/ 641 h 1024"/>
              <a:gd name="T22" fmla="*/ 281 w 1432"/>
              <a:gd name="T23" fmla="*/ 757 h 1024"/>
              <a:gd name="T24" fmla="*/ 408 w 1432"/>
              <a:gd name="T25" fmla="*/ 576 h 1024"/>
              <a:gd name="T26" fmla="*/ 472 w 1432"/>
              <a:gd name="T27" fmla="*/ 576 h 1024"/>
              <a:gd name="T28" fmla="*/ 472 w 1432"/>
              <a:gd name="T29" fmla="*/ 768 h 1024"/>
              <a:gd name="T30" fmla="*/ 728 w 1432"/>
              <a:gd name="T31" fmla="*/ 1024 h 1024"/>
              <a:gd name="T32" fmla="*/ 1176 w 1432"/>
              <a:gd name="T33" fmla="*/ 1024 h 1024"/>
              <a:gd name="T34" fmla="*/ 1432 w 1432"/>
              <a:gd name="T35" fmla="*/ 768 h 1024"/>
              <a:gd name="T36" fmla="*/ 1432 w 1432"/>
              <a:gd name="T37" fmla="*/ 0 h 1024"/>
              <a:gd name="T38" fmla="*/ 728 w 1432"/>
              <a:gd name="T39" fmla="*/ 0 h 1024"/>
              <a:gd name="T40" fmla="*/ 216 w 1432"/>
              <a:gd name="T41" fmla="*/ 704 h 1024"/>
              <a:gd name="T42" fmla="*/ 88 w 1432"/>
              <a:gd name="T43" fmla="*/ 576 h 1024"/>
              <a:gd name="T44" fmla="*/ 216 w 1432"/>
              <a:gd name="T45" fmla="*/ 448 h 1024"/>
              <a:gd name="T46" fmla="*/ 344 w 1432"/>
              <a:gd name="T47" fmla="*/ 576 h 1024"/>
              <a:gd name="T48" fmla="*/ 216 w 1432"/>
              <a:gd name="T49" fmla="*/ 704 h 1024"/>
              <a:gd name="T50" fmla="*/ 1304 w 1432"/>
              <a:gd name="T51" fmla="*/ 256 h 1024"/>
              <a:gd name="T52" fmla="*/ 856 w 1432"/>
              <a:gd name="T53" fmla="*/ 256 h 1024"/>
              <a:gd name="T54" fmla="*/ 856 w 1432"/>
              <a:gd name="T55" fmla="*/ 128 h 1024"/>
              <a:gd name="T56" fmla="*/ 1304 w 1432"/>
              <a:gd name="T57" fmla="*/ 128 h 1024"/>
              <a:gd name="T58" fmla="*/ 1304 w 1432"/>
              <a:gd name="T59" fmla="*/ 256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32" h="1024">
                <a:moveTo>
                  <a:pt x="728" y="0"/>
                </a:moveTo>
                <a:cubicBezTo>
                  <a:pt x="587" y="0"/>
                  <a:pt x="472" y="115"/>
                  <a:pt x="472" y="256"/>
                </a:cubicBezTo>
                <a:cubicBezTo>
                  <a:pt x="280" y="256"/>
                  <a:pt x="280" y="256"/>
                  <a:pt x="280" y="256"/>
                </a:cubicBezTo>
                <a:cubicBezTo>
                  <a:pt x="280" y="192"/>
                  <a:pt x="280" y="192"/>
                  <a:pt x="280" y="192"/>
                </a:cubicBezTo>
                <a:cubicBezTo>
                  <a:pt x="408" y="192"/>
                  <a:pt x="408" y="192"/>
                  <a:pt x="408" y="192"/>
                </a:cubicBezTo>
                <a:cubicBezTo>
                  <a:pt x="408" y="128"/>
                  <a:pt x="408" y="128"/>
                  <a:pt x="408" y="128"/>
                </a:cubicBezTo>
                <a:cubicBezTo>
                  <a:pt x="24" y="128"/>
                  <a:pt x="24" y="128"/>
                  <a:pt x="24" y="128"/>
                </a:cubicBezTo>
                <a:cubicBezTo>
                  <a:pt x="24" y="192"/>
                  <a:pt x="24" y="192"/>
                  <a:pt x="24" y="192"/>
                </a:cubicBezTo>
                <a:cubicBezTo>
                  <a:pt x="152" y="192"/>
                  <a:pt x="152" y="192"/>
                  <a:pt x="152" y="192"/>
                </a:cubicBezTo>
                <a:cubicBezTo>
                  <a:pt x="152" y="396"/>
                  <a:pt x="152" y="396"/>
                  <a:pt x="152" y="396"/>
                </a:cubicBezTo>
                <a:cubicBezTo>
                  <a:pt x="52" y="431"/>
                  <a:pt x="0" y="541"/>
                  <a:pt x="36" y="641"/>
                </a:cubicBezTo>
                <a:cubicBezTo>
                  <a:pt x="71" y="740"/>
                  <a:pt x="181" y="792"/>
                  <a:pt x="281" y="757"/>
                </a:cubicBezTo>
                <a:cubicBezTo>
                  <a:pt x="357" y="730"/>
                  <a:pt x="408" y="657"/>
                  <a:pt x="408" y="576"/>
                </a:cubicBezTo>
                <a:cubicBezTo>
                  <a:pt x="472" y="576"/>
                  <a:pt x="472" y="576"/>
                  <a:pt x="472" y="576"/>
                </a:cubicBezTo>
                <a:cubicBezTo>
                  <a:pt x="472" y="768"/>
                  <a:pt x="472" y="768"/>
                  <a:pt x="472" y="768"/>
                </a:cubicBezTo>
                <a:cubicBezTo>
                  <a:pt x="472" y="909"/>
                  <a:pt x="587" y="1024"/>
                  <a:pt x="728" y="1024"/>
                </a:cubicBezTo>
                <a:cubicBezTo>
                  <a:pt x="1176" y="1024"/>
                  <a:pt x="1176" y="1024"/>
                  <a:pt x="1176" y="1024"/>
                </a:cubicBezTo>
                <a:cubicBezTo>
                  <a:pt x="1317" y="1024"/>
                  <a:pt x="1432" y="909"/>
                  <a:pt x="1432" y="768"/>
                </a:cubicBezTo>
                <a:cubicBezTo>
                  <a:pt x="1432" y="0"/>
                  <a:pt x="1432" y="0"/>
                  <a:pt x="1432" y="0"/>
                </a:cubicBezTo>
                <a:lnTo>
                  <a:pt x="728" y="0"/>
                </a:lnTo>
                <a:close/>
                <a:moveTo>
                  <a:pt x="216" y="704"/>
                </a:moveTo>
                <a:cubicBezTo>
                  <a:pt x="145" y="704"/>
                  <a:pt x="88" y="647"/>
                  <a:pt x="88" y="576"/>
                </a:cubicBezTo>
                <a:cubicBezTo>
                  <a:pt x="88" y="505"/>
                  <a:pt x="145" y="448"/>
                  <a:pt x="216" y="448"/>
                </a:cubicBezTo>
                <a:cubicBezTo>
                  <a:pt x="287" y="448"/>
                  <a:pt x="344" y="505"/>
                  <a:pt x="344" y="576"/>
                </a:cubicBezTo>
                <a:cubicBezTo>
                  <a:pt x="344" y="647"/>
                  <a:pt x="287" y="704"/>
                  <a:pt x="216" y="704"/>
                </a:cubicBezTo>
                <a:close/>
                <a:moveTo>
                  <a:pt x="1304" y="256"/>
                </a:moveTo>
                <a:cubicBezTo>
                  <a:pt x="856" y="256"/>
                  <a:pt x="856" y="256"/>
                  <a:pt x="856" y="256"/>
                </a:cubicBezTo>
                <a:cubicBezTo>
                  <a:pt x="856" y="128"/>
                  <a:pt x="856" y="128"/>
                  <a:pt x="856" y="128"/>
                </a:cubicBezTo>
                <a:cubicBezTo>
                  <a:pt x="1304" y="128"/>
                  <a:pt x="1304" y="128"/>
                  <a:pt x="1304" y="128"/>
                </a:cubicBezTo>
                <a:lnTo>
                  <a:pt x="1304" y="25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0" name="Freeform 131">
            <a:extLst>
              <a:ext uri="{FF2B5EF4-FFF2-40B4-BE49-F238E27FC236}">
                <a16:creationId xmlns:a16="http://schemas.microsoft.com/office/drawing/2014/main" id="{D503AE8A-CCF5-4C80-A5C8-CB7CB9995170}"/>
              </a:ext>
            </a:extLst>
          </p:cNvPr>
          <p:cNvSpPr>
            <a:spLocks noEditPoints="1"/>
          </p:cNvSpPr>
          <p:nvPr/>
        </p:nvSpPr>
        <p:spPr bwMode="gray">
          <a:xfrm>
            <a:off x="10946340" y="3251802"/>
            <a:ext cx="330200" cy="396875"/>
          </a:xfrm>
          <a:custGeom>
            <a:avLst/>
            <a:gdLst>
              <a:gd name="T0" fmla="*/ 645 w 1286"/>
              <a:gd name="T1" fmla="*/ 357 h 1541"/>
              <a:gd name="T2" fmla="*/ 933 w 1286"/>
              <a:gd name="T3" fmla="*/ 645 h 1541"/>
              <a:gd name="T4" fmla="*/ 645 w 1286"/>
              <a:gd name="T5" fmla="*/ 933 h 1541"/>
              <a:gd name="T6" fmla="*/ 357 w 1286"/>
              <a:gd name="T7" fmla="*/ 645 h 1541"/>
              <a:gd name="T8" fmla="*/ 645 w 1286"/>
              <a:gd name="T9" fmla="*/ 357 h 1541"/>
              <a:gd name="T10" fmla="*/ 645 w 1286"/>
              <a:gd name="T11" fmla="*/ 229 h 1541"/>
              <a:gd name="T12" fmla="*/ 229 w 1286"/>
              <a:gd name="T13" fmla="*/ 645 h 1541"/>
              <a:gd name="T14" fmla="*/ 645 w 1286"/>
              <a:gd name="T15" fmla="*/ 1061 h 1541"/>
              <a:gd name="T16" fmla="*/ 1061 w 1286"/>
              <a:gd name="T17" fmla="*/ 645 h 1541"/>
              <a:gd name="T18" fmla="*/ 645 w 1286"/>
              <a:gd name="T19" fmla="*/ 229 h 1541"/>
              <a:gd name="T20" fmla="*/ 645 w 1286"/>
              <a:gd name="T21" fmla="*/ 581 h 1541"/>
              <a:gd name="T22" fmla="*/ 709 w 1286"/>
              <a:gd name="T23" fmla="*/ 645 h 1541"/>
              <a:gd name="T24" fmla="*/ 645 w 1286"/>
              <a:gd name="T25" fmla="*/ 709 h 1541"/>
              <a:gd name="T26" fmla="*/ 581 w 1286"/>
              <a:gd name="T27" fmla="*/ 645 h 1541"/>
              <a:gd name="T28" fmla="*/ 645 w 1286"/>
              <a:gd name="T29" fmla="*/ 581 h 1541"/>
              <a:gd name="T30" fmla="*/ 645 w 1286"/>
              <a:gd name="T31" fmla="*/ 453 h 1541"/>
              <a:gd name="T32" fmla="*/ 453 w 1286"/>
              <a:gd name="T33" fmla="*/ 645 h 1541"/>
              <a:gd name="T34" fmla="*/ 645 w 1286"/>
              <a:gd name="T35" fmla="*/ 837 h 1541"/>
              <a:gd name="T36" fmla="*/ 837 w 1286"/>
              <a:gd name="T37" fmla="*/ 645 h 1541"/>
              <a:gd name="T38" fmla="*/ 645 w 1286"/>
              <a:gd name="T39" fmla="*/ 453 h 1541"/>
              <a:gd name="T40" fmla="*/ 1285 w 1286"/>
              <a:gd name="T41" fmla="*/ 645 h 1541"/>
              <a:gd name="T42" fmla="*/ 645 w 1286"/>
              <a:gd name="T43" fmla="*/ 1 h 1541"/>
              <a:gd name="T44" fmla="*/ 1 w 1286"/>
              <a:gd name="T45" fmla="*/ 641 h 1541"/>
              <a:gd name="T46" fmla="*/ 641 w 1286"/>
              <a:gd name="T47" fmla="*/ 1285 h 1541"/>
              <a:gd name="T48" fmla="*/ 866 w 1286"/>
              <a:gd name="T49" fmla="*/ 1245 h 1541"/>
              <a:gd name="T50" fmla="*/ 517 w 1286"/>
              <a:gd name="T51" fmla="*/ 1363 h 1541"/>
              <a:gd name="T52" fmla="*/ 517 w 1286"/>
              <a:gd name="T53" fmla="*/ 1317 h 1541"/>
              <a:gd name="T54" fmla="*/ 69 w 1286"/>
              <a:gd name="T55" fmla="*/ 1381 h 1541"/>
              <a:gd name="T56" fmla="*/ 69 w 1286"/>
              <a:gd name="T57" fmla="*/ 1477 h 1541"/>
              <a:gd name="T58" fmla="*/ 517 w 1286"/>
              <a:gd name="T59" fmla="*/ 1541 h 1541"/>
              <a:gd name="T60" fmla="*/ 517 w 1286"/>
              <a:gd name="T61" fmla="*/ 1491 h 1541"/>
              <a:gd name="T62" fmla="*/ 1285 w 1286"/>
              <a:gd name="T63" fmla="*/ 693 h 1541"/>
              <a:gd name="T64" fmla="*/ 1283 w 1286"/>
              <a:gd name="T65" fmla="*/ 693 h 1541"/>
              <a:gd name="T66" fmla="*/ 1285 w 1286"/>
              <a:gd name="T67" fmla="*/ 645 h 1541"/>
              <a:gd name="T68" fmla="*/ 133 w 1286"/>
              <a:gd name="T69" fmla="*/ 645 h 1541"/>
              <a:gd name="T70" fmla="*/ 645 w 1286"/>
              <a:gd name="T71" fmla="*/ 133 h 1541"/>
              <a:gd name="T72" fmla="*/ 1157 w 1286"/>
              <a:gd name="T73" fmla="*/ 645 h 1541"/>
              <a:gd name="T74" fmla="*/ 645 w 1286"/>
              <a:gd name="T75" fmla="*/ 1157 h 1541"/>
              <a:gd name="T76" fmla="*/ 133 w 1286"/>
              <a:gd name="T77" fmla="*/ 645 h 1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86" h="1541">
                <a:moveTo>
                  <a:pt x="645" y="357"/>
                </a:moveTo>
                <a:cubicBezTo>
                  <a:pt x="804" y="357"/>
                  <a:pt x="933" y="486"/>
                  <a:pt x="933" y="645"/>
                </a:cubicBezTo>
                <a:cubicBezTo>
                  <a:pt x="933" y="804"/>
                  <a:pt x="804" y="933"/>
                  <a:pt x="645" y="933"/>
                </a:cubicBezTo>
                <a:cubicBezTo>
                  <a:pt x="486" y="933"/>
                  <a:pt x="357" y="804"/>
                  <a:pt x="357" y="645"/>
                </a:cubicBezTo>
                <a:cubicBezTo>
                  <a:pt x="357" y="486"/>
                  <a:pt x="486" y="357"/>
                  <a:pt x="645" y="357"/>
                </a:cubicBezTo>
                <a:moveTo>
                  <a:pt x="645" y="229"/>
                </a:moveTo>
                <a:cubicBezTo>
                  <a:pt x="415" y="229"/>
                  <a:pt x="229" y="415"/>
                  <a:pt x="229" y="645"/>
                </a:cubicBezTo>
                <a:cubicBezTo>
                  <a:pt x="229" y="875"/>
                  <a:pt x="415" y="1061"/>
                  <a:pt x="645" y="1061"/>
                </a:cubicBezTo>
                <a:cubicBezTo>
                  <a:pt x="875" y="1061"/>
                  <a:pt x="1061" y="875"/>
                  <a:pt x="1061" y="645"/>
                </a:cubicBezTo>
                <a:cubicBezTo>
                  <a:pt x="1061" y="415"/>
                  <a:pt x="875" y="229"/>
                  <a:pt x="645" y="229"/>
                </a:cubicBezTo>
                <a:close/>
                <a:moveTo>
                  <a:pt x="645" y="581"/>
                </a:moveTo>
                <a:cubicBezTo>
                  <a:pt x="680" y="581"/>
                  <a:pt x="709" y="610"/>
                  <a:pt x="709" y="645"/>
                </a:cubicBezTo>
                <a:cubicBezTo>
                  <a:pt x="709" y="680"/>
                  <a:pt x="680" y="709"/>
                  <a:pt x="645" y="709"/>
                </a:cubicBezTo>
                <a:cubicBezTo>
                  <a:pt x="610" y="709"/>
                  <a:pt x="581" y="680"/>
                  <a:pt x="581" y="645"/>
                </a:cubicBezTo>
                <a:cubicBezTo>
                  <a:pt x="581" y="610"/>
                  <a:pt x="610" y="581"/>
                  <a:pt x="645" y="581"/>
                </a:cubicBezTo>
                <a:moveTo>
                  <a:pt x="645" y="453"/>
                </a:moveTo>
                <a:cubicBezTo>
                  <a:pt x="539" y="453"/>
                  <a:pt x="453" y="539"/>
                  <a:pt x="453" y="645"/>
                </a:cubicBezTo>
                <a:cubicBezTo>
                  <a:pt x="453" y="751"/>
                  <a:pt x="539" y="837"/>
                  <a:pt x="645" y="837"/>
                </a:cubicBezTo>
                <a:cubicBezTo>
                  <a:pt x="751" y="837"/>
                  <a:pt x="837" y="751"/>
                  <a:pt x="837" y="645"/>
                </a:cubicBezTo>
                <a:cubicBezTo>
                  <a:pt x="837" y="539"/>
                  <a:pt x="751" y="453"/>
                  <a:pt x="645" y="453"/>
                </a:cubicBezTo>
                <a:close/>
                <a:moveTo>
                  <a:pt x="1285" y="645"/>
                </a:moveTo>
                <a:cubicBezTo>
                  <a:pt x="1286" y="290"/>
                  <a:pt x="1000" y="2"/>
                  <a:pt x="645" y="1"/>
                </a:cubicBezTo>
                <a:cubicBezTo>
                  <a:pt x="290" y="0"/>
                  <a:pt x="2" y="286"/>
                  <a:pt x="1" y="641"/>
                </a:cubicBezTo>
                <a:cubicBezTo>
                  <a:pt x="0" y="995"/>
                  <a:pt x="286" y="1284"/>
                  <a:pt x="641" y="1285"/>
                </a:cubicBezTo>
                <a:cubicBezTo>
                  <a:pt x="718" y="1285"/>
                  <a:pt x="794" y="1272"/>
                  <a:pt x="866" y="1245"/>
                </a:cubicBezTo>
                <a:cubicBezTo>
                  <a:pt x="763" y="1316"/>
                  <a:pt x="642" y="1357"/>
                  <a:pt x="517" y="1363"/>
                </a:cubicBezTo>
                <a:cubicBezTo>
                  <a:pt x="517" y="1317"/>
                  <a:pt x="517" y="1317"/>
                  <a:pt x="517" y="1317"/>
                </a:cubicBezTo>
                <a:cubicBezTo>
                  <a:pt x="69" y="1381"/>
                  <a:pt x="69" y="1381"/>
                  <a:pt x="69" y="1381"/>
                </a:cubicBezTo>
                <a:cubicBezTo>
                  <a:pt x="69" y="1477"/>
                  <a:pt x="69" y="1477"/>
                  <a:pt x="69" y="1477"/>
                </a:cubicBezTo>
                <a:cubicBezTo>
                  <a:pt x="517" y="1541"/>
                  <a:pt x="517" y="1541"/>
                  <a:pt x="517" y="1541"/>
                </a:cubicBezTo>
                <a:cubicBezTo>
                  <a:pt x="517" y="1491"/>
                  <a:pt x="517" y="1491"/>
                  <a:pt x="517" y="1491"/>
                </a:cubicBezTo>
                <a:cubicBezTo>
                  <a:pt x="943" y="1474"/>
                  <a:pt x="1285" y="1123"/>
                  <a:pt x="1285" y="693"/>
                </a:cubicBezTo>
                <a:cubicBezTo>
                  <a:pt x="1283" y="693"/>
                  <a:pt x="1283" y="693"/>
                  <a:pt x="1283" y="693"/>
                </a:cubicBezTo>
                <a:cubicBezTo>
                  <a:pt x="1284" y="677"/>
                  <a:pt x="1285" y="661"/>
                  <a:pt x="1285" y="645"/>
                </a:cubicBezTo>
                <a:close/>
                <a:moveTo>
                  <a:pt x="133" y="645"/>
                </a:moveTo>
                <a:cubicBezTo>
                  <a:pt x="133" y="362"/>
                  <a:pt x="362" y="133"/>
                  <a:pt x="645" y="133"/>
                </a:cubicBezTo>
                <a:cubicBezTo>
                  <a:pt x="928" y="133"/>
                  <a:pt x="1157" y="362"/>
                  <a:pt x="1157" y="645"/>
                </a:cubicBezTo>
                <a:cubicBezTo>
                  <a:pt x="1157" y="928"/>
                  <a:pt x="928" y="1157"/>
                  <a:pt x="645" y="1157"/>
                </a:cubicBezTo>
                <a:cubicBezTo>
                  <a:pt x="362" y="1157"/>
                  <a:pt x="133" y="928"/>
                  <a:pt x="133" y="64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1" name="Freeform 135">
            <a:extLst>
              <a:ext uri="{FF2B5EF4-FFF2-40B4-BE49-F238E27FC236}">
                <a16:creationId xmlns:a16="http://schemas.microsoft.com/office/drawing/2014/main" id="{65DBBD08-EACE-4C10-A84E-B5C657F4E07C}"/>
              </a:ext>
            </a:extLst>
          </p:cNvPr>
          <p:cNvSpPr>
            <a:spLocks noEditPoints="1"/>
          </p:cNvSpPr>
          <p:nvPr/>
        </p:nvSpPr>
        <p:spPr bwMode="gray">
          <a:xfrm>
            <a:off x="830533" y="4424803"/>
            <a:ext cx="528637" cy="396875"/>
          </a:xfrm>
          <a:custGeom>
            <a:avLst/>
            <a:gdLst>
              <a:gd name="T0" fmla="*/ 512 w 1536"/>
              <a:gd name="T1" fmla="*/ 384 h 1152"/>
              <a:gd name="T2" fmla="*/ 1280 w 1536"/>
              <a:gd name="T3" fmla="*/ 384 h 1152"/>
              <a:gd name="T4" fmla="*/ 1280 w 1536"/>
              <a:gd name="T5" fmla="*/ 896 h 1152"/>
              <a:gd name="T6" fmla="*/ 1024 w 1536"/>
              <a:gd name="T7" fmla="*/ 1152 h 1152"/>
              <a:gd name="T8" fmla="*/ 512 w 1536"/>
              <a:gd name="T9" fmla="*/ 1152 h 1152"/>
              <a:gd name="T10" fmla="*/ 256 w 1536"/>
              <a:gd name="T11" fmla="*/ 896 h 1152"/>
              <a:gd name="T12" fmla="*/ 256 w 1536"/>
              <a:gd name="T13" fmla="*/ 640 h 1152"/>
              <a:gd name="T14" fmla="*/ 512 w 1536"/>
              <a:gd name="T15" fmla="*/ 384 h 1152"/>
              <a:gd name="T16" fmla="*/ 0 w 1536"/>
              <a:gd name="T17" fmla="*/ 960 h 1152"/>
              <a:gd name="T18" fmla="*/ 192 w 1536"/>
              <a:gd name="T19" fmla="*/ 960 h 1152"/>
              <a:gd name="T20" fmla="*/ 192 w 1536"/>
              <a:gd name="T21" fmla="*/ 704 h 1152"/>
              <a:gd name="T22" fmla="*/ 0 w 1536"/>
              <a:gd name="T23" fmla="*/ 704 h 1152"/>
              <a:gd name="T24" fmla="*/ 0 w 1536"/>
              <a:gd name="T25" fmla="*/ 960 h 1152"/>
              <a:gd name="T26" fmla="*/ 1344 w 1536"/>
              <a:gd name="T27" fmla="*/ 704 h 1152"/>
              <a:gd name="T28" fmla="*/ 1344 w 1536"/>
              <a:gd name="T29" fmla="*/ 960 h 1152"/>
              <a:gd name="T30" fmla="*/ 1536 w 1536"/>
              <a:gd name="T31" fmla="*/ 960 h 1152"/>
              <a:gd name="T32" fmla="*/ 1536 w 1536"/>
              <a:gd name="T33" fmla="*/ 704 h 1152"/>
              <a:gd name="T34" fmla="*/ 1344 w 1536"/>
              <a:gd name="T35" fmla="*/ 704 h 1152"/>
              <a:gd name="T36" fmla="*/ 704 w 1536"/>
              <a:gd name="T37" fmla="*/ 320 h 1152"/>
              <a:gd name="T38" fmla="*/ 832 w 1536"/>
              <a:gd name="T39" fmla="*/ 320 h 1152"/>
              <a:gd name="T40" fmla="*/ 832 w 1536"/>
              <a:gd name="T41" fmla="*/ 128 h 1152"/>
              <a:gd name="T42" fmla="*/ 1024 w 1536"/>
              <a:gd name="T43" fmla="*/ 128 h 1152"/>
              <a:gd name="T44" fmla="*/ 1024 w 1536"/>
              <a:gd name="T45" fmla="*/ 0 h 1152"/>
              <a:gd name="T46" fmla="*/ 512 w 1536"/>
              <a:gd name="T47" fmla="*/ 0 h 1152"/>
              <a:gd name="T48" fmla="*/ 512 w 1536"/>
              <a:gd name="T49" fmla="*/ 128 h 1152"/>
              <a:gd name="T50" fmla="*/ 704 w 1536"/>
              <a:gd name="T51" fmla="*/ 128 h 1152"/>
              <a:gd name="T52" fmla="*/ 704 w 1536"/>
              <a:gd name="T53" fmla="*/ 32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36" h="1152">
                <a:moveTo>
                  <a:pt x="512" y="384"/>
                </a:moveTo>
                <a:cubicBezTo>
                  <a:pt x="1280" y="384"/>
                  <a:pt x="1280" y="384"/>
                  <a:pt x="1280" y="384"/>
                </a:cubicBezTo>
                <a:cubicBezTo>
                  <a:pt x="1280" y="896"/>
                  <a:pt x="1280" y="896"/>
                  <a:pt x="1280" y="896"/>
                </a:cubicBezTo>
                <a:cubicBezTo>
                  <a:pt x="1280" y="1037"/>
                  <a:pt x="1165" y="1152"/>
                  <a:pt x="1024" y="1152"/>
                </a:cubicBezTo>
                <a:cubicBezTo>
                  <a:pt x="512" y="1152"/>
                  <a:pt x="512" y="1152"/>
                  <a:pt x="512" y="1152"/>
                </a:cubicBezTo>
                <a:cubicBezTo>
                  <a:pt x="371" y="1152"/>
                  <a:pt x="256" y="1037"/>
                  <a:pt x="256" y="896"/>
                </a:cubicBezTo>
                <a:cubicBezTo>
                  <a:pt x="256" y="640"/>
                  <a:pt x="256" y="640"/>
                  <a:pt x="256" y="640"/>
                </a:cubicBezTo>
                <a:cubicBezTo>
                  <a:pt x="256" y="499"/>
                  <a:pt x="371" y="384"/>
                  <a:pt x="512" y="384"/>
                </a:cubicBezTo>
                <a:close/>
                <a:moveTo>
                  <a:pt x="0" y="960"/>
                </a:moveTo>
                <a:cubicBezTo>
                  <a:pt x="192" y="960"/>
                  <a:pt x="192" y="960"/>
                  <a:pt x="192" y="960"/>
                </a:cubicBezTo>
                <a:cubicBezTo>
                  <a:pt x="192" y="704"/>
                  <a:pt x="192" y="704"/>
                  <a:pt x="192" y="704"/>
                </a:cubicBezTo>
                <a:cubicBezTo>
                  <a:pt x="0" y="704"/>
                  <a:pt x="0" y="704"/>
                  <a:pt x="0" y="704"/>
                </a:cubicBezTo>
                <a:lnTo>
                  <a:pt x="0" y="960"/>
                </a:lnTo>
                <a:close/>
                <a:moveTo>
                  <a:pt x="1344" y="704"/>
                </a:moveTo>
                <a:cubicBezTo>
                  <a:pt x="1344" y="960"/>
                  <a:pt x="1344" y="960"/>
                  <a:pt x="1344" y="960"/>
                </a:cubicBezTo>
                <a:cubicBezTo>
                  <a:pt x="1536" y="960"/>
                  <a:pt x="1536" y="960"/>
                  <a:pt x="1536" y="960"/>
                </a:cubicBezTo>
                <a:cubicBezTo>
                  <a:pt x="1536" y="704"/>
                  <a:pt x="1536" y="704"/>
                  <a:pt x="1536" y="704"/>
                </a:cubicBezTo>
                <a:lnTo>
                  <a:pt x="1344" y="704"/>
                </a:lnTo>
                <a:close/>
                <a:moveTo>
                  <a:pt x="704" y="320"/>
                </a:moveTo>
                <a:cubicBezTo>
                  <a:pt x="832" y="320"/>
                  <a:pt x="832" y="320"/>
                  <a:pt x="832" y="320"/>
                </a:cubicBezTo>
                <a:cubicBezTo>
                  <a:pt x="832" y="128"/>
                  <a:pt x="832" y="128"/>
                  <a:pt x="832" y="128"/>
                </a:cubicBezTo>
                <a:cubicBezTo>
                  <a:pt x="1024" y="128"/>
                  <a:pt x="1024" y="128"/>
                  <a:pt x="1024" y="128"/>
                </a:cubicBezTo>
                <a:cubicBezTo>
                  <a:pt x="1024" y="0"/>
                  <a:pt x="1024" y="0"/>
                  <a:pt x="1024" y="0"/>
                </a:cubicBezTo>
                <a:cubicBezTo>
                  <a:pt x="512" y="0"/>
                  <a:pt x="512" y="0"/>
                  <a:pt x="512" y="0"/>
                </a:cubicBezTo>
                <a:cubicBezTo>
                  <a:pt x="512" y="128"/>
                  <a:pt x="512" y="128"/>
                  <a:pt x="512" y="128"/>
                </a:cubicBezTo>
                <a:cubicBezTo>
                  <a:pt x="704" y="128"/>
                  <a:pt x="704" y="128"/>
                  <a:pt x="704" y="128"/>
                </a:cubicBezTo>
                <a:lnTo>
                  <a:pt x="704" y="32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2" name="Freeform 139">
            <a:extLst>
              <a:ext uri="{FF2B5EF4-FFF2-40B4-BE49-F238E27FC236}">
                <a16:creationId xmlns:a16="http://schemas.microsoft.com/office/drawing/2014/main" id="{CC67C2C8-4CD0-47A1-88F5-70A3B4CCCFC6}"/>
              </a:ext>
            </a:extLst>
          </p:cNvPr>
          <p:cNvSpPr>
            <a:spLocks noEditPoints="1"/>
          </p:cNvSpPr>
          <p:nvPr/>
        </p:nvSpPr>
        <p:spPr bwMode="gray">
          <a:xfrm>
            <a:off x="2006339" y="4443059"/>
            <a:ext cx="396875" cy="360363"/>
          </a:xfrm>
          <a:custGeom>
            <a:avLst/>
            <a:gdLst>
              <a:gd name="T0" fmla="*/ 1280 w 1408"/>
              <a:gd name="T1" fmla="*/ 0 h 1280"/>
              <a:gd name="T2" fmla="*/ 1280 w 1408"/>
              <a:gd name="T3" fmla="*/ 64 h 1280"/>
              <a:gd name="T4" fmla="*/ 1024 w 1408"/>
              <a:gd name="T5" fmla="*/ 64 h 1280"/>
              <a:gd name="T6" fmla="*/ 1024 w 1408"/>
              <a:gd name="T7" fmla="*/ 0 h 1280"/>
              <a:gd name="T8" fmla="*/ 896 w 1408"/>
              <a:gd name="T9" fmla="*/ 0 h 1280"/>
              <a:gd name="T10" fmla="*/ 896 w 1408"/>
              <a:gd name="T11" fmla="*/ 1280 h 1280"/>
              <a:gd name="T12" fmla="*/ 1024 w 1408"/>
              <a:gd name="T13" fmla="*/ 1280 h 1280"/>
              <a:gd name="T14" fmla="*/ 1024 w 1408"/>
              <a:gd name="T15" fmla="*/ 1216 h 1280"/>
              <a:gd name="T16" fmla="*/ 1280 w 1408"/>
              <a:gd name="T17" fmla="*/ 1216 h 1280"/>
              <a:gd name="T18" fmla="*/ 1280 w 1408"/>
              <a:gd name="T19" fmla="*/ 1280 h 1280"/>
              <a:gd name="T20" fmla="*/ 1408 w 1408"/>
              <a:gd name="T21" fmla="*/ 1280 h 1280"/>
              <a:gd name="T22" fmla="*/ 1408 w 1408"/>
              <a:gd name="T23" fmla="*/ 0 h 1280"/>
              <a:gd name="T24" fmla="*/ 1280 w 1408"/>
              <a:gd name="T25" fmla="*/ 0 h 1280"/>
              <a:gd name="T26" fmla="*/ 1280 w 1408"/>
              <a:gd name="T27" fmla="*/ 192 h 1280"/>
              <a:gd name="T28" fmla="*/ 1280 w 1408"/>
              <a:gd name="T29" fmla="*/ 320 h 1280"/>
              <a:gd name="T30" fmla="*/ 1024 w 1408"/>
              <a:gd name="T31" fmla="*/ 320 h 1280"/>
              <a:gd name="T32" fmla="*/ 1024 w 1408"/>
              <a:gd name="T33" fmla="*/ 192 h 1280"/>
              <a:gd name="T34" fmla="*/ 1280 w 1408"/>
              <a:gd name="T35" fmla="*/ 192 h 1280"/>
              <a:gd name="T36" fmla="*/ 1024 w 1408"/>
              <a:gd name="T37" fmla="*/ 576 h 1280"/>
              <a:gd name="T38" fmla="*/ 1024 w 1408"/>
              <a:gd name="T39" fmla="*/ 448 h 1280"/>
              <a:gd name="T40" fmla="*/ 1280 w 1408"/>
              <a:gd name="T41" fmla="*/ 448 h 1280"/>
              <a:gd name="T42" fmla="*/ 1280 w 1408"/>
              <a:gd name="T43" fmla="*/ 576 h 1280"/>
              <a:gd name="T44" fmla="*/ 1024 w 1408"/>
              <a:gd name="T45" fmla="*/ 576 h 1280"/>
              <a:gd name="T46" fmla="*/ 1280 w 1408"/>
              <a:gd name="T47" fmla="*/ 704 h 1280"/>
              <a:gd name="T48" fmla="*/ 1280 w 1408"/>
              <a:gd name="T49" fmla="*/ 832 h 1280"/>
              <a:gd name="T50" fmla="*/ 1024 w 1408"/>
              <a:gd name="T51" fmla="*/ 832 h 1280"/>
              <a:gd name="T52" fmla="*/ 1024 w 1408"/>
              <a:gd name="T53" fmla="*/ 704 h 1280"/>
              <a:gd name="T54" fmla="*/ 1280 w 1408"/>
              <a:gd name="T55" fmla="*/ 704 h 1280"/>
              <a:gd name="T56" fmla="*/ 1024 w 1408"/>
              <a:gd name="T57" fmla="*/ 1088 h 1280"/>
              <a:gd name="T58" fmla="*/ 1024 w 1408"/>
              <a:gd name="T59" fmla="*/ 960 h 1280"/>
              <a:gd name="T60" fmla="*/ 1280 w 1408"/>
              <a:gd name="T61" fmla="*/ 960 h 1280"/>
              <a:gd name="T62" fmla="*/ 1280 w 1408"/>
              <a:gd name="T63" fmla="*/ 1088 h 1280"/>
              <a:gd name="T64" fmla="*/ 1024 w 1408"/>
              <a:gd name="T65" fmla="*/ 1088 h 1280"/>
              <a:gd name="T66" fmla="*/ 768 w 1408"/>
              <a:gd name="T67" fmla="*/ 128 h 1280"/>
              <a:gd name="T68" fmla="*/ 768 w 1408"/>
              <a:gd name="T69" fmla="*/ 512 h 1280"/>
              <a:gd name="T70" fmla="*/ 640 w 1408"/>
              <a:gd name="T71" fmla="*/ 512 h 1280"/>
              <a:gd name="T72" fmla="*/ 640 w 1408"/>
              <a:gd name="T73" fmla="*/ 128 h 1280"/>
              <a:gd name="T74" fmla="*/ 768 w 1408"/>
              <a:gd name="T75" fmla="*/ 128 h 1280"/>
              <a:gd name="T76" fmla="*/ 576 w 1408"/>
              <a:gd name="T77" fmla="*/ 128 h 1280"/>
              <a:gd name="T78" fmla="*/ 448 w 1408"/>
              <a:gd name="T79" fmla="*/ 128 h 1280"/>
              <a:gd name="T80" fmla="*/ 448 w 1408"/>
              <a:gd name="T81" fmla="*/ 0 h 1280"/>
              <a:gd name="T82" fmla="*/ 320 w 1408"/>
              <a:gd name="T83" fmla="*/ 0 h 1280"/>
              <a:gd name="T84" fmla="*/ 320 w 1408"/>
              <a:gd name="T85" fmla="*/ 128 h 1280"/>
              <a:gd name="T86" fmla="*/ 0 w 1408"/>
              <a:gd name="T87" fmla="*/ 128 h 1280"/>
              <a:gd name="T88" fmla="*/ 0 w 1408"/>
              <a:gd name="T89" fmla="*/ 208 h 1280"/>
              <a:gd name="T90" fmla="*/ 23 w 1408"/>
              <a:gd name="T91" fmla="*/ 256 h 1280"/>
              <a:gd name="T92" fmla="*/ 192 w 1408"/>
              <a:gd name="T93" fmla="*/ 256 h 1280"/>
              <a:gd name="T94" fmla="*/ 192 w 1408"/>
              <a:gd name="T95" fmla="*/ 329 h 1280"/>
              <a:gd name="T96" fmla="*/ 320 w 1408"/>
              <a:gd name="T97" fmla="*/ 381 h 1280"/>
              <a:gd name="T98" fmla="*/ 320 w 1408"/>
              <a:gd name="T99" fmla="*/ 1152 h 1280"/>
              <a:gd name="T100" fmla="*/ 448 w 1408"/>
              <a:gd name="T101" fmla="*/ 1280 h 1280"/>
              <a:gd name="T102" fmla="*/ 448 w 1408"/>
              <a:gd name="T103" fmla="*/ 434 h 1280"/>
              <a:gd name="T104" fmla="*/ 576 w 1408"/>
              <a:gd name="T105" fmla="*/ 486 h 1280"/>
              <a:gd name="T106" fmla="*/ 576 w 1408"/>
              <a:gd name="T107" fmla="*/ 128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08" h="1280">
                <a:moveTo>
                  <a:pt x="1280" y="0"/>
                </a:moveTo>
                <a:cubicBezTo>
                  <a:pt x="1280" y="64"/>
                  <a:pt x="1280" y="64"/>
                  <a:pt x="1280" y="64"/>
                </a:cubicBezTo>
                <a:cubicBezTo>
                  <a:pt x="1024" y="64"/>
                  <a:pt x="1024" y="64"/>
                  <a:pt x="1024" y="64"/>
                </a:cubicBezTo>
                <a:cubicBezTo>
                  <a:pt x="1024" y="0"/>
                  <a:pt x="1024" y="0"/>
                  <a:pt x="1024" y="0"/>
                </a:cubicBezTo>
                <a:cubicBezTo>
                  <a:pt x="896" y="0"/>
                  <a:pt x="896" y="0"/>
                  <a:pt x="896" y="0"/>
                </a:cubicBezTo>
                <a:cubicBezTo>
                  <a:pt x="896" y="1280"/>
                  <a:pt x="896" y="1280"/>
                  <a:pt x="896" y="1280"/>
                </a:cubicBezTo>
                <a:cubicBezTo>
                  <a:pt x="1024" y="1280"/>
                  <a:pt x="1024" y="1280"/>
                  <a:pt x="1024" y="1280"/>
                </a:cubicBezTo>
                <a:cubicBezTo>
                  <a:pt x="1024" y="1216"/>
                  <a:pt x="1024" y="1216"/>
                  <a:pt x="1024" y="1216"/>
                </a:cubicBezTo>
                <a:cubicBezTo>
                  <a:pt x="1280" y="1216"/>
                  <a:pt x="1280" y="1216"/>
                  <a:pt x="1280" y="1216"/>
                </a:cubicBezTo>
                <a:cubicBezTo>
                  <a:pt x="1280" y="1280"/>
                  <a:pt x="1280" y="1280"/>
                  <a:pt x="1280" y="1280"/>
                </a:cubicBezTo>
                <a:cubicBezTo>
                  <a:pt x="1408" y="1280"/>
                  <a:pt x="1408" y="1280"/>
                  <a:pt x="1408" y="1280"/>
                </a:cubicBezTo>
                <a:cubicBezTo>
                  <a:pt x="1408" y="0"/>
                  <a:pt x="1408" y="0"/>
                  <a:pt x="1408" y="0"/>
                </a:cubicBezTo>
                <a:lnTo>
                  <a:pt x="1280" y="0"/>
                </a:lnTo>
                <a:close/>
                <a:moveTo>
                  <a:pt x="1280" y="192"/>
                </a:moveTo>
                <a:cubicBezTo>
                  <a:pt x="1280" y="320"/>
                  <a:pt x="1280" y="320"/>
                  <a:pt x="1280" y="320"/>
                </a:cubicBezTo>
                <a:cubicBezTo>
                  <a:pt x="1024" y="320"/>
                  <a:pt x="1024" y="320"/>
                  <a:pt x="1024" y="320"/>
                </a:cubicBezTo>
                <a:cubicBezTo>
                  <a:pt x="1024" y="192"/>
                  <a:pt x="1024" y="192"/>
                  <a:pt x="1024" y="192"/>
                </a:cubicBezTo>
                <a:lnTo>
                  <a:pt x="1280" y="192"/>
                </a:lnTo>
                <a:close/>
                <a:moveTo>
                  <a:pt x="1024" y="576"/>
                </a:moveTo>
                <a:cubicBezTo>
                  <a:pt x="1024" y="448"/>
                  <a:pt x="1024" y="448"/>
                  <a:pt x="1024" y="448"/>
                </a:cubicBezTo>
                <a:cubicBezTo>
                  <a:pt x="1280" y="448"/>
                  <a:pt x="1280" y="448"/>
                  <a:pt x="1280" y="448"/>
                </a:cubicBezTo>
                <a:cubicBezTo>
                  <a:pt x="1280" y="576"/>
                  <a:pt x="1280" y="576"/>
                  <a:pt x="1280" y="576"/>
                </a:cubicBezTo>
                <a:lnTo>
                  <a:pt x="1024" y="576"/>
                </a:lnTo>
                <a:close/>
                <a:moveTo>
                  <a:pt x="1280" y="704"/>
                </a:moveTo>
                <a:cubicBezTo>
                  <a:pt x="1280" y="832"/>
                  <a:pt x="1280" y="832"/>
                  <a:pt x="1280" y="832"/>
                </a:cubicBezTo>
                <a:cubicBezTo>
                  <a:pt x="1024" y="832"/>
                  <a:pt x="1024" y="832"/>
                  <a:pt x="1024" y="832"/>
                </a:cubicBezTo>
                <a:cubicBezTo>
                  <a:pt x="1024" y="704"/>
                  <a:pt x="1024" y="704"/>
                  <a:pt x="1024" y="704"/>
                </a:cubicBezTo>
                <a:lnTo>
                  <a:pt x="1280" y="704"/>
                </a:lnTo>
                <a:close/>
                <a:moveTo>
                  <a:pt x="1024" y="1088"/>
                </a:moveTo>
                <a:cubicBezTo>
                  <a:pt x="1024" y="960"/>
                  <a:pt x="1024" y="960"/>
                  <a:pt x="1024" y="960"/>
                </a:cubicBezTo>
                <a:cubicBezTo>
                  <a:pt x="1280" y="960"/>
                  <a:pt x="1280" y="960"/>
                  <a:pt x="1280" y="960"/>
                </a:cubicBezTo>
                <a:cubicBezTo>
                  <a:pt x="1280" y="1088"/>
                  <a:pt x="1280" y="1088"/>
                  <a:pt x="1280" y="1088"/>
                </a:cubicBezTo>
                <a:lnTo>
                  <a:pt x="1024" y="1088"/>
                </a:lnTo>
                <a:close/>
                <a:moveTo>
                  <a:pt x="768" y="128"/>
                </a:moveTo>
                <a:cubicBezTo>
                  <a:pt x="768" y="512"/>
                  <a:pt x="768" y="512"/>
                  <a:pt x="768" y="512"/>
                </a:cubicBezTo>
                <a:cubicBezTo>
                  <a:pt x="640" y="512"/>
                  <a:pt x="640" y="512"/>
                  <a:pt x="640" y="512"/>
                </a:cubicBezTo>
                <a:cubicBezTo>
                  <a:pt x="640" y="128"/>
                  <a:pt x="640" y="128"/>
                  <a:pt x="640" y="128"/>
                </a:cubicBezTo>
                <a:lnTo>
                  <a:pt x="768" y="128"/>
                </a:lnTo>
                <a:close/>
                <a:moveTo>
                  <a:pt x="576" y="128"/>
                </a:moveTo>
                <a:cubicBezTo>
                  <a:pt x="448" y="128"/>
                  <a:pt x="448" y="128"/>
                  <a:pt x="448" y="128"/>
                </a:cubicBezTo>
                <a:cubicBezTo>
                  <a:pt x="448" y="0"/>
                  <a:pt x="448" y="0"/>
                  <a:pt x="448" y="0"/>
                </a:cubicBezTo>
                <a:cubicBezTo>
                  <a:pt x="320" y="0"/>
                  <a:pt x="320" y="0"/>
                  <a:pt x="320" y="0"/>
                </a:cubicBezTo>
                <a:cubicBezTo>
                  <a:pt x="320" y="128"/>
                  <a:pt x="320" y="128"/>
                  <a:pt x="320" y="128"/>
                </a:cubicBezTo>
                <a:cubicBezTo>
                  <a:pt x="0" y="128"/>
                  <a:pt x="0" y="128"/>
                  <a:pt x="0" y="128"/>
                </a:cubicBezTo>
                <a:cubicBezTo>
                  <a:pt x="0" y="208"/>
                  <a:pt x="0" y="208"/>
                  <a:pt x="0" y="208"/>
                </a:cubicBezTo>
                <a:cubicBezTo>
                  <a:pt x="0" y="227"/>
                  <a:pt x="8" y="244"/>
                  <a:pt x="23" y="256"/>
                </a:cubicBezTo>
                <a:cubicBezTo>
                  <a:pt x="192" y="256"/>
                  <a:pt x="192" y="256"/>
                  <a:pt x="192" y="256"/>
                </a:cubicBezTo>
                <a:cubicBezTo>
                  <a:pt x="192" y="329"/>
                  <a:pt x="192" y="329"/>
                  <a:pt x="192" y="329"/>
                </a:cubicBezTo>
                <a:cubicBezTo>
                  <a:pt x="320" y="381"/>
                  <a:pt x="320" y="381"/>
                  <a:pt x="320" y="381"/>
                </a:cubicBezTo>
                <a:cubicBezTo>
                  <a:pt x="320" y="1152"/>
                  <a:pt x="320" y="1152"/>
                  <a:pt x="320" y="1152"/>
                </a:cubicBezTo>
                <a:cubicBezTo>
                  <a:pt x="320" y="1223"/>
                  <a:pt x="377" y="1280"/>
                  <a:pt x="448" y="1280"/>
                </a:cubicBezTo>
                <a:cubicBezTo>
                  <a:pt x="448" y="434"/>
                  <a:pt x="448" y="434"/>
                  <a:pt x="448" y="434"/>
                </a:cubicBezTo>
                <a:cubicBezTo>
                  <a:pt x="576" y="486"/>
                  <a:pt x="576" y="486"/>
                  <a:pt x="576" y="486"/>
                </a:cubicBezTo>
                <a:lnTo>
                  <a:pt x="576" y="12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3" name="Freeform 155">
            <a:extLst>
              <a:ext uri="{FF2B5EF4-FFF2-40B4-BE49-F238E27FC236}">
                <a16:creationId xmlns:a16="http://schemas.microsoft.com/office/drawing/2014/main" id="{17FF6773-DF2E-4E00-BCC8-753CF7EFAE4C}"/>
              </a:ext>
            </a:extLst>
          </p:cNvPr>
          <p:cNvSpPr>
            <a:spLocks noEditPoints="1"/>
          </p:cNvSpPr>
          <p:nvPr/>
        </p:nvSpPr>
        <p:spPr bwMode="gray">
          <a:xfrm>
            <a:off x="6459671" y="4425596"/>
            <a:ext cx="396875" cy="395288"/>
          </a:xfrm>
          <a:custGeom>
            <a:avLst/>
            <a:gdLst>
              <a:gd name="T0" fmla="*/ 648 w 1280"/>
              <a:gd name="T1" fmla="*/ 0 h 1280"/>
              <a:gd name="T2" fmla="*/ 0 w 1280"/>
              <a:gd name="T3" fmla="*/ 256 h 1280"/>
              <a:gd name="T4" fmla="*/ 0 w 1280"/>
              <a:gd name="T5" fmla="*/ 1024 h 1280"/>
              <a:gd name="T6" fmla="*/ 256 w 1280"/>
              <a:gd name="T7" fmla="*/ 1280 h 1280"/>
              <a:gd name="T8" fmla="*/ 1088 w 1280"/>
              <a:gd name="T9" fmla="*/ 1280 h 1280"/>
              <a:gd name="T10" fmla="*/ 1280 w 1280"/>
              <a:gd name="T11" fmla="*/ 1088 h 1280"/>
              <a:gd name="T12" fmla="*/ 1280 w 1280"/>
              <a:gd name="T13" fmla="*/ 256 h 1280"/>
              <a:gd name="T14" fmla="*/ 648 w 1280"/>
              <a:gd name="T15" fmla="*/ 0 h 1280"/>
              <a:gd name="T16" fmla="*/ 814 w 1280"/>
              <a:gd name="T17" fmla="*/ 1152 h 1280"/>
              <a:gd name="T18" fmla="*/ 694 w 1280"/>
              <a:gd name="T19" fmla="*/ 1082 h 1280"/>
              <a:gd name="T20" fmla="*/ 632 w 1280"/>
              <a:gd name="T21" fmla="*/ 789 h 1280"/>
              <a:gd name="T22" fmla="*/ 456 w 1280"/>
              <a:gd name="T23" fmla="*/ 994 h 1280"/>
              <a:gd name="T24" fmla="*/ 501 w 1280"/>
              <a:gd name="T25" fmla="*/ 1152 h 1280"/>
              <a:gd name="T26" fmla="*/ 303 w 1280"/>
              <a:gd name="T27" fmla="*/ 869 h 1280"/>
              <a:gd name="T28" fmla="*/ 493 w 1280"/>
              <a:gd name="T29" fmla="*/ 560 h 1280"/>
              <a:gd name="T30" fmla="*/ 633 w 1280"/>
              <a:gd name="T31" fmla="*/ 372 h 1280"/>
              <a:gd name="T32" fmla="*/ 633 w 1280"/>
              <a:gd name="T33" fmla="*/ 256 h 1280"/>
              <a:gd name="T34" fmla="*/ 828 w 1280"/>
              <a:gd name="T35" fmla="*/ 469 h 1280"/>
              <a:gd name="T36" fmla="*/ 782 w 1280"/>
              <a:gd name="T37" fmla="*/ 831 h 1280"/>
              <a:gd name="T38" fmla="*/ 899 w 1280"/>
              <a:gd name="T39" fmla="*/ 767 h 1280"/>
              <a:gd name="T40" fmla="*/ 910 w 1280"/>
              <a:gd name="T41" fmla="*/ 701 h 1280"/>
              <a:gd name="T42" fmla="*/ 814 w 1280"/>
              <a:gd name="T43" fmla="*/ 1152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0" h="1280">
                <a:moveTo>
                  <a:pt x="648" y="0"/>
                </a:moveTo>
                <a:cubicBezTo>
                  <a:pt x="0" y="256"/>
                  <a:pt x="0" y="256"/>
                  <a:pt x="0" y="256"/>
                </a:cubicBezTo>
                <a:cubicBezTo>
                  <a:pt x="0" y="1024"/>
                  <a:pt x="0" y="1024"/>
                  <a:pt x="0" y="1024"/>
                </a:cubicBezTo>
                <a:cubicBezTo>
                  <a:pt x="0" y="1165"/>
                  <a:pt x="115" y="1280"/>
                  <a:pt x="256" y="1280"/>
                </a:cubicBezTo>
                <a:cubicBezTo>
                  <a:pt x="1088" y="1280"/>
                  <a:pt x="1088" y="1280"/>
                  <a:pt x="1088" y="1280"/>
                </a:cubicBezTo>
                <a:cubicBezTo>
                  <a:pt x="1194" y="1280"/>
                  <a:pt x="1280" y="1194"/>
                  <a:pt x="1280" y="1088"/>
                </a:cubicBezTo>
                <a:cubicBezTo>
                  <a:pt x="1280" y="256"/>
                  <a:pt x="1280" y="256"/>
                  <a:pt x="1280" y="256"/>
                </a:cubicBezTo>
                <a:lnTo>
                  <a:pt x="648" y="0"/>
                </a:lnTo>
                <a:close/>
                <a:moveTo>
                  <a:pt x="814" y="1152"/>
                </a:moveTo>
                <a:cubicBezTo>
                  <a:pt x="802" y="1155"/>
                  <a:pt x="736" y="1124"/>
                  <a:pt x="694" y="1082"/>
                </a:cubicBezTo>
                <a:cubicBezTo>
                  <a:pt x="579" y="968"/>
                  <a:pt x="620" y="819"/>
                  <a:pt x="632" y="789"/>
                </a:cubicBezTo>
                <a:cubicBezTo>
                  <a:pt x="621" y="791"/>
                  <a:pt x="456" y="866"/>
                  <a:pt x="456" y="994"/>
                </a:cubicBezTo>
                <a:cubicBezTo>
                  <a:pt x="456" y="1099"/>
                  <a:pt x="501" y="1152"/>
                  <a:pt x="501" y="1152"/>
                </a:cubicBezTo>
                <a:cubicBezTo>
                  <a:pt x="501" y="1152"/>
                  <a:pt x="303" y="1056"/>
                  <a:pt x="303" y="869"/>
                </a:cubicBezTo>
                <a:cubicBezTo>
                  <a:pt x="303" y="715"/>
                  <a:pt x="427" y="624"/>
                  <a:pt x="493" y="560"/>
                </a:cubicBezTo>
                <a:cubicBezTo>
                  <a:pt x="560" y="497"/>
                  <a:pt x="612" y="432"/>
                  <a:pt x="633" y="372"/>
                </a:cubicBezTo>
                <a:cubicBezTo>
                  <a:pt x="653" y="313"/>
                  <a:pt x="633" y="256"/>
                  <a:pt x="633" y="256"/>
                </a:cubicBezTo>
                <a:cubicBezTo>
                  <a:pt x="633" y="256"/>
                  <a:pt x="801" y="373"/>
                  <a:pt x="828" y="469"/>
                </a:cubicBezTo>
                <a:cubicBezTo>
                  <a:pt x="856" y="564"/>
                  <a:pt x="852" y="731"/>
                  <a:pt x="782" y="831"/>
                </a:cubicBezTo>
                <a:cubicBezTo>
                  <a:pt x="805" y="835"/>
                  <a:pt x="881" y="808"/>
                  <a:pt x="899" y="767"/>
                </a:cubicBezTo>
                <a:cubicBezTo>
                  <a:pt x="909" y="746"/>
                  <a:pt x="912" y="723"/>
                  <a:pt x="910" y="701"/>
                </a:cubicBezTo>
                <a:cubicBezTo>
                  <a:pt x="910" y="701"/>
                  <a:pt x="1113" y="968"/>
                  <a:pt x="814" y="115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4" name="Freeform 163">
            <a:extLst>
              <a:ext uri="{FF2B5EF4-FFF2-40B4-BE49-F238E27FC236}">
                <a16:creationId xmlns:a16="http://schemas.microsoft.com/office/drawing/2014/main" id="{9F058360-918E-4AEC-A03E-73C890437257}"/>
              </a:ext>
            </a:extLst>
          </p:cNvPr>
          <p:cNvSpPr>
            <a:spLocks noEditPoints="1"/>
          </p:cNvSpPr>
          <p:nvPr/>
        </p:nvSpPr>
        <p:spPr bwMode="gray">
          <a:xfrm>
            <a:off x="8695068" y="4443059"/>
            <a:ext cx="379412" cy="360362"/>
          </a:xfrm>
          <a:custGeom>
            <a:avLst/>
            <a:gdLst>
              <a:gd name="T0" fmla="*/ 1280 w 1280"/>
              <a:gd name="T1" fmla="*/ 1024 h 1216"/>
              <a:gd name="T2" fmla="*/ 1280 w 1280"/>
              <a:gd name="T3" fmla="*/ 1216 h 1216"/>
              <a:gd name="T4" fmla="*/ 708 w 1280"/>
              <a:gd name="T5" fmla="*/ 1216 h 1216"/>
              <a:gd name="T6" fmla="*/ 640 w 1280"/>
              <a:gd name="T7" fmla="*/ 1152 h 1216"/>
              <a:gd name="T8" fmla="*/ 400 w 1280"/>
              <a:gd name="T9" fmla="*/ 1152 h 1216"/>
              <a:gd name="T10" fmla="*/ 336 w 1280"/>
              <a:gd name="T11" fmla="*/ 1216 h 1216"/>
              <a:gd name="T12" fmla="*/ 128 w 1280"/>
              <a:gd name="T13" fmla="*/ 1216 h 1216"/>
              <a:gd name="T14" fmla="*/ 0 w 1280"/>
              <a:gd name="T15" fmla="*/ 1024 h 1216"/>
              <a:gd name="T16" fmla="*/ 1280 w 1280"/>
              <a:gd name="T17" fmla="*/ 1024 h 1216"/>
              <a:gd name="T18" fmla="*/ 1280 w 1280"/>
              <a:gd name="T19" fmla="*/ 960 h 1216"/>
              <a:gd name="T20" fmla="*/ 1280 w 1280"/>
              <a:gd name="T21" fmla="*/ 832 h 1216"/>
              <a:gd name="T22" fmla="*/ 1088 w 1280"/>
              <a:gd name="T23" fmla="*/ 640 h 1216"/>
              <a:gd name="T24" fmla="*/ 767 w 1280"/>
              <a:gd name="T25" fmla="*/ 640 h 1216"/>
              <a:gd name="T26" fmla="*/ 640 w 1280"/>
              <a:gd name="T27" fmla="*/ 512 h 1216"/>
              <a:gd name="T28" fmla="*/ 640 w 1280"/>
              <a:gd name="T29" fmla="*/ 0 h 1216"/>
              <a:gd name="T30" fmla="*/ 104 w 1280"/>
              <a:gd name="T31" fmla="*/ 100 h 1216"/>
              <a:gd name="T32" fmla="*/ 0 w 1280"/>
              <a:gd name="T33" fmla="*/ 226 h 1216"/>
              <a:gd name="T34" fmla="*/ 0 w 1280"/>
              <a:gd name="T35" fmla="*/ 960 h 1216"/>
              <a:gd name="T36" fmla="*/ 1280 w 1280"/>
              <a:gd name="T37" fmla="*/ 96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0" h="1216">
                <a:moveTo>
                  <a:pt x="1280" y="1024"/>
                </a:moveTo>
                <a:cubicBezTo>
                  <a:pt x="1280" y="1216"/>
                  <a:pt x="1280" y="1216"/>
                  <a:pt x="1280" y="1216"/>
                </a:cubicBezTo>
                <a:cubicBezTo>
                  <a:pt x="708" y="1216"/>
                  <a:pt x="708" y="1216"/>
                  <a:pt x="708" y="1216"/>
                </a:cubicBezTo>
                <a:cubicBezTo>
                  <a:pt x="671" y="1216"/>
                  <a:pt x="640" y="1187"/>
                  <a:pt x="640" y="1152"/>
                </a:cubicBezTo>
                <a:cubicBezTo>
                  <a:pt x="400" y="1152"/>
                  <a:pt x="400" y="1152"/>
                  <a:pt x="400" y="1152"/>
                </a:cubicBezTo>
                <a:cubicBezTo>
                  <a:pt x="400" y="1187"/>
                  <a:pt x="371" y="1216"/>
                  <a:pt x="336" y="1216"/>
                </a:cubicBezTo>
                <a:cubicBezTo>
                  <a:pt x="128" y="1216"/>
                  <a:pt x="128" y="1216"/>
                  <a:pt x="128" y="1216"/>
                </a:cubicBezTo>
                <a:cubicBezTo>
                  <a:pt x="57" y="1216"/>
                  <a:pt x="0" y="1095"/>
                  <a:pt x="0" y="1024"/>
                </a:cubicBezTo>
                <a:lnTo>
                  <a:pt x="1280" y="1024"/>
                </a:lnTo>
                <a:close/>
                <a:moveTo>
                  <a:pt x="1280" y="960"/>
                </a:moveTo>
                <a:cubicBezTo>
                  <a:pt x="1280" y="832"/>
                  <a:pt x="1280" y="832"/>
                  <a:pt x="1280" y="832"/>
                </a:cubicBezTo>
                <a:cubicBezTo>
                  <a:pt x="1280" y="726"/>
                  <a:pt x="1194" y="640"/>
                  <a:pt x="1088" y="640"/>
                </a:cubicBezTo>
                <a:cubicBezTo>
                  <a:pt x="767" y="640"/>
                  <a:pt x="767" y="640"/>
                  <a:pt x="767" y="640"/>
                </a:cubicBezTo>
                <a:cubicBezTo>
                  <a:pt x="640" y="512"/>
                  <a:pt x="640" y="512"/>
                  <a:pt x="640" y="512"/>
                </a:cubicBezTo>
                <a:cubicBezTo>
                  <a:pt x="640" y="0"/>
                  <a:pt x="640" y="0"/>
                  <a:pt x="640" y="0"/>
                </a:cubicBezTo>
                <a:cubicBezTo>
                  <a:pt x="104" y="100"/>
                  <a:pt x="104" y="100"/>
                  <a:pt x="104" y="100"/>
                </a:cubicBezTo>
                <a:cubicBezTo>
                  <a:pt x="44" y="112"/>
                  <a:pt x="0" y="164"/>
                  <a:pt x="0" y="226"/>
                </a:cubicBezTo>
                <a:cubicBezTo>
                  <a:pt x="0" y="960"/>
                  <a:pt x="0" y="960"/>
                  <a:pt x="0" y="960"/>
                </a:cubicBezTo>
                <a:lnTo>
                  <a:pt x="1280" y="9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5" name="Freeform 167">
            <a:extLst>
              <a:ext uri="{FF2B5EF4-FFF2-40B4-BE49-F238E27FC236}">
                <a16:creationId xmlns:a16="http://schemas.microsoft.com/office/drawing/2014/main" id="{7017BE2C-3ABB-4216-A777-054A0C74C742}"/>
              </a:ext>
            </a:extLst>
          </p:cNvPr>
          <p:cNvSpPr>
            <a:spLocks noEditPoints="1"/>
          </p:cNvSpPr>
          <p:nvPr/>
        </p:nvSpPr>
        <p:spPr bwMode="gray">
          <a:xfrm>
            <a:off x="9763157" y="4424802"/>
            <a:ext cx="469901" cy="396876"/>
          </a:xfrm>
          <a:custGeom>
            <a:avLst/>
            <a:gdLst>
              <a:gd name="T0" fmla="*/ 1418 w 1522"/>
              <a:gd name="T1" fmla="*/ 559 h 1287"/>
              <a:gd name="T2" fmla="*/ 1326 w 1522"/>
              <a:gd name="T3" fmla="*/ 559 h 1287"/>
              <a:gd name="T4" fmla="*/ 687 w 1522"/>
              <a:gd name="T5" fmla="*/ 4 h 1287"/>
              <a:gd name="T6" fmla="*/ 29 w 1522"/>
              <a:gd name="T7" fmla="*/ 651 h 1287"/>
              <a:gd name="T8" fmla="*/ 94 w 1522"/>
              <a:gd name="T9" fmla="*/ 944 h 1287"/>
              <a:gd name="T10" fmla="*/ 25 w 1522"/>
              <a:gd name="T11" fmla="*/ 1016 h 1287"/>
              <a:gd name="T12" fmla="*/ 26 w 1522"/>
              <a:gd name="T13" fmla="*/ 1104 h 1287"/>
              <a:gd name="T14" fmla="*/ 48 w 1522"/>
              <a:gd name="T15" fmla="*/ 1129 h 1287"/>
              <a:gd name="T16" fmla="*/ 106 w 1522"/>
              <a:gd name="T17" fmla="*/ 1128 h 1287"/>
              <a:gd name="T18" fmla="*/ 178 w 1522"/>
              <a:gd name="T19" fmla="*/ 1052 h 1287"/>
              <a:gd name="T20" fmla="*/ 866 w 1522"/>
              <a:gd name="T21" fmla="*/ 748 h 1287"/>
              <a:gd name="T22" fmla="*/ 1458 w 1522"/>
              <a:gd name="T23" fmla="*/ 748 h 1287"/>
              <a:gd name="T24" fmla="*/ 1522 w 1522"/>
              <a:gd name="T25" fmla="*/ 684 h 1287"/>
              <a:gd name="T26" fmla="*/ 1522 w 1522"/>
              <a:gd name="T27" fmla="*/ 684 h 1287"/>
              <a:gd name="T28" fmla="*/ 1522 w 1522"/>
              <a:gd name="T29" fmla="*/ 664 h 1287"/>
              <a:gd name="T30" fmla="*/ 1418 w 1522"/>
              <a:gd name="T31" fmla="*/ 559 h 1287"/>
              <a:gd name="T32" fmla="*/ 842 w 1522"/>
              <a:gd name="T33" fmla="*/ 560 h 1287"/>
              <a:gd name="T34" fmla="*/ 822 w 1522"/>
              <a:gd name="T35" fmla="*/ 488 h 1287"/>
              <a:gd name="T36" fmla="*/ 974 w 1522"/>
              <a:gd name="T37" fmla="*/ 488 h 1287"/>
              <a:gd name="T38" fmla="*/ 1046 w 1522"/>
              <a:gd name="T39" fmla="*/ 359 h 1287"/>
              <a:gd name="T40" fmla="*/ 947 w 1522"/>
              <a:gd name="T41" fmla="*/ 221 h 1287"/>
              <a:gd name="T42" fmla="*/ 698 w 1522"/>
              <a:gd name="T43" fmla="*/ 116 h 1287"/>
              <a:gd name="T44" fmla="*/ 674 w 1522"/>
              <a:gd name="T45" fmla="*/ 44 h 1287"/>
              <a:gd name="T46" fmla="*/ 1158 w 1522"/>
              <a:gd name="T47" fmla="*/ 472 h 1287"/>
              <a:gd name="T48" fmla="*/ 1166 w 1522"/>
              <a:gd name="T49" fmla="*/ 561 h 1287"/>
              <a:gd name="T50" fmla="*/ 842 w 1522"/>
              <a:gd name="T51" fmla="*/ 560 h 1287"/>
              <a:gd name="T52" fmla="*/ 241 w 1522"/>
              <a:gd name="T53" fmla="*/ 1154 h 1287"/>
              <a:gd name="T54" fmla="*/ 714 w 1522"/>
              <a:gd name="T55" fmla="*/ 916 h 1287"/>
              <a:gd name="T56" fmla="*/ 714 w 1522"/>
              <a:gd name="T57" fmla="*/ 1012 h 1287"/>
              <a:gd name="T58" fmla="*/ 452 w 1522"/>
              <a:gd name="T59" fmla="*/ 1272 h 1287"/>
              <a:gd name="T60" fmla="*/ 411 w 1522"/>
              <a:gd name="T61" fmla="*/ 1282 h 1287"/>
              <a:gd name="T62" fmla="*/ 247 w 1522"/>
              <a:gd name="T63" fmla="*/ 1227 h 1287"/>
              <a:gd name="T64" fmla="*/ 221 w 1522"/>
              <a:gd name="T65" fmla="*/ 1177 h 1287"/>
              <a:gd name="T66" fmla="*/ 241 w 1522"/>
              <a:gd name="T67" fmla="*/ 1154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22" h="1287">
                <a:moveTo>
                  <a:pt x="1418" y="559"/>
                </a:moveTo>
                <a:cubicBezTo>
                  <a:pt x="1326" y="559"/>
                  <a:pt x="1326" y="559"/>
                  <a:pt x="1326" y="559"/>
                </a:cubicBezTo>
                <a:cubicBezTo>
                  <a:pt x="1281" y="246"/>
                  <a:pt x="1012" y="7"/>
                  <a:pt x="687" y="4"/>
                </a:cubicBezTo>
                <a:cubicBezTo>
                  <a:pt x="328" y="0"/>
                  <a:pt x="31" y="291"/>
                  <a:pt x="29" y="651"/>
                </a:cubicBezTo>
                <a:cubicBezTo>
                  <a:pt x="28" y="756"/>
                  <a:pt x="50" y="856"/>
                  <a:pt x="94" y="944"/>
                </a:cubicBezTo>
                <a:cubicBezTo>
                  <a:pt x="25" y="1016"/>
                  <a:pt x="25" y="1016"/>
                  <a:pt x="25" y="1016"/>
                </a:cubicBezTo>
                <a:cubicBezTo>
                  <a:pt x="0" y="1041"/>
                  <a:pt x="1" y="1080"/>
                  <a:pt x="26" y="1104"/>
                </a:cubicBezTo>
                <a:cubicBezTo>
                  <a:pt x="48" y="1129"/>
                  <a:pt x="48" y="1129"/>
                  <a:pt x="48" y="1129"/>
                </a:cubicBezTo>
                <a:cubicBezTo>
                  <a:pt x="64" y="1144"/>
                  <a:pt x="90" y="1144"/>
                  <a:pt x="106" y="1128"/>
                </a:cubicBezTo>
                <a:cubicBezTo>
                  <a:pt x="178" y="1052"/>
                  <a:pt x="178" y="1052"/>
                  <a:pt x="178" y="1052"/>
                </a:cubicBezTo>
                <a:cubicBezTo>
                  <a:pt x="866" y="748"/>
                  <a:pt x="866" y="748"/>
                  <a:pt x="866" y="748"/>
                </a:cubicBezTo>
                <a:cubicBezTo>
                  <a:pt x="1458" y="748"/>
                  <a:pt x="1458" y="748"/>
                  <a:pt x="1458" y="748"/>
                </a:cubicBezTo>
                <a:cubicBezTo>
                  <a:pt x="1494" y="748"/>
                  <a:pt x="1522" y="720"/>
                  <a:pt x="1522" y="684"/>
                </a:cubicBezTo>
                <a:cubicBezTo>
                  <a:pt x="1522" y="684"/>
                  <a:pt x="1522" y="684"/>
                  <a:pt x="1522" y="684"/>
                </a:cubicBezTo>
                <a:cubicBezTo>
                  <a:pt x="1522" y="664"/>
                  <a:pt x="1522" y="664"/>
                  <a:pt x="1522" y="664"/>
                </a:cubicBezTo>
                <a:cubicBezTo>
                  <a:pt x="1522" y="607"/>
                  <a:pt x="1476" y="559"/>
                  <a:pt x="1418" y="559"/>
                </a:cubicBezTo>
                <a:close/>
                <a:moveTo>
                  <a:pt x="842" y="560"/>
                </a:moveTo>
                <a:cubicBezTo>
                  <a:pt x="837" y="543"/>
                  <a:pt x="832" y="518"/>
                  <a:pt x="822" y="488"/>
                </a:cubicBezTo>
                <a:cubicBezTo>
                  <a:pt x="974" y="488"/>
                  <a:pt x="974" y="488"/>
                  <a:pt x="974" y="488"/>
                </a:cubicBezTo>
                <a:cubicBezTo>
                  <a:pt x="1040" y="488"/>
                  <a:pt x="1073" y="419"/>
                  <a:pt x="1046" y="359"/>
                </a:cubicBezTo>
                <a:cubicBezTo>
                  <a:pt x="1024" y="308"/>
                  <a:pt x="991" y="254"/>
                  <a:pt x="947" y="221"/>
                </a:cubicBezTo>
                <a:cubicBezTo>
                  <a:pt x="872" y="166"/>
                  <a:pt x="791" y="124"/>
                  <a:pt x="698" y="116"/>
                </a:cubicBezTo>
                <a:cubicBezTo>
                  <a:pt x="690" y="92"/>
                  <a:pt x="682" y="67"/>
                  <a:pt x="674" y="44"/>
                </a:cubicBezTo>
                <a:cubicBezTo>
                  <a:pt x="918" y="50"/>
                  <a:pt x="1123" y="231"/>
                  <a:pt x="1158" y="472"/>
                </a:cubicBezTo>
                <a:cubicBezTo>
                  <a:pt x="1166" y="561"/>
                  <a:pt x="1166" y="561"/>
                  <a:pt x="1166" y="561"/>
                </a:cubicBezTo>
                <a:lnTo>
                  <a:pt x="842" y="560"/>
                </a:lnTo>
                <a:close/>
                <a:moveTo>
                  <a:pt x="241" y="1154"/>
                </a:moveTo>
                <a:cubicBezTo>
                  <a:pt x="714" y="916"/>
                  <a:pt x="714" y="916"/>
                  <a:pt x="714" y="916"/>
                </a:cubicBezTo>
                <a:cubicBezTo>
                  <a:pt x="714" y="1012"/>
                  <a:pt x="714" y="1012"/>
                  <a:pt x="714" y="1012"/>
                </a:cubicBezTo>
                <a:cubicBezTo>
                  <a:pt x="452" y="1272"/>
                  <a:pt x="452" y="1272"/>
                  <a:pt x="452" y="1272"/>
                </a:cubicBezTo>
                <a:cubicBezTo>
                  <a:pt x="441" y="1283"/>
                  <a:pt x="425" y="1287"/>
                  <a:pt x="411" y="1282"/>
                </a:cubicBezTo>
                <a:cubicBezTo>
                  <a:pt x="247" y="1227"/>
                  <a:pt x="247" y="1227"/>
                  <a:pt x="247" y="1227"/>
                </a:cubicBezTo>
                <a:cubicBezTo>
                  <a:pt x="226" y="1220"/>
                  <a:pt x="214" y="1198"/>
                  <a:pt x="221" y="1177"/>
                </a:cubicBezTo>
                <a:cubicBezTo>
                  <a:pt x="225" y="1167"/>
                  <a:pt x="232" y="1158"/>
                  <a:pt x="241" y="115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6" name="Freeform 175">
            <a:extLst>
              <a:ext uri="{FF2B5EF4-FFF2-40B4-BE49-F238E27FC236}">
                <a16:creationId xmlns:a16="http://schemas.microsoft.com/office/drawing/2014/main" id="{B774BD24-C031-43BE-A650-4A53C06BFA27}"/>
              </a:ext>
            </a:extLst>
          </p:cNvPr>
          <p:cNvSpPr>
            <a:spLocks noEditPoints="1"/>
          </p:cNvSpPr>
          <p:nvPr/>
        </p:nvSpPr>
        <p:spPr bwMode="gray">
          <a:xfrm>
            <a:off x="5302682" y="5607677"/>
            <a:ext cx="484187" cy="395287"/>
          </a:xfrm>
          <a:custGeom>
            <a:avLst/>
            <a:gdLst>
              <a:gd name="T0" fmla="*/ 1408 w 1408"/>
              <a:gd name="T1" fmla="*/ 256 h 1152"/>
              <a:gd name="T2" fmla="*/ 1408 w 1408"/>
              <a:gd name="T3" fmla="*/ 960 h 1152"/>
              <a:gd name="T4" fmla="*/ 1216 w 1408"/>
              <a:gd name="T5" fmla="*/ 1152 h 1152"/>
              <a:gd name="T6" fmla="*/ 192 w 1408"/>
              <a:gd name="T7" fmla="*/ 1152 h 1152"/>
              <a:gd name="T8" fmla="*/ 0 w 1408"/>
              <a:gd name="T9" fmla="*/ 960 h 1152"/>
              <a:gd name="T10" fmla="*/ 0 w 1408"/>
              <a:gd name="T11" fmla="*/ 448 h 1152"/>
              <a:gd name="T12" fmla="*/ 192 w 1408"/>
              <a:gd name="T13" fmla="*/ 256 h 1152"/>
              <a:gd name="T14" fmla="*/ 1408 w 1408"/>
              <a:gd name="T15" fmla="*/ 256 h 1152"/>
              <a:gd name="T16" fmla="*/ 896 w 1408"/>
              <a:gd name="T17" fmla="*/ 576 h 1152"/>
              <a:gd name="T18" fmla="*/ 768 w 1408"/>
              <a:gd name="T19" fmla="*/ 576 h 1152"/>
              <a:gd name="T20" fmla="*/ 768 w 1408"/>
              <a:gd name="T21" fmla="*/ 448 h 1152"/>
              <a:gd name="T22" fmla="*/ 576 w 1408"/>
              <a:gd name="T23" fmla="*/ 448 h 1152"/>
              <a:gd name="T24" fmla="*/ 576 w 1408"/>
              <a:gd name="T25" fmla="*/ 576 h 1152"/>
              <a:gd name="T26" fmla="*/ 448 w 1408"/>
              <a:gd name="T27" fmla="*/ 576 h 1152"/>
              <a:gd name="T28" fmla="*/ 448 w 1408"/>
              <a:gd name="T29" fmla="*/ 768 h 1152"/>
              <a:gd name="T30" fmla="*/ 576 w 1408"/>
              <a:gd name="T31" fmla="*/ 768 h 1152"/>
              <a:gd name="T32" fmla="*/ 576 w 1408"/>
              <a:gd name="T33" fmla="*/ 896 h 1152"/>
              <a:gd name="T34" fmla="*/ 768 w 1408"/>
              <a:gd name="T35" fmla="*/ 896 h 1152"/>
              <a:gd name="T36" fmla="*/ 768 w 1408"/>
              <a:gd name="T37" fmla="*/ 768 h 1152"/>
              <a:gd name="T38" fmla="*/ 896 w 1408"/>
              <a:gd name="T39" fmla="*/ 768 h 1152"/>
              <a:gd name="T40" fmla="*/ 896 w 1408"/>
              <a:gd name="T41" fmla="*/ 576 h 1152"/>
              <a:gd name="T42" fmla="*/ 320 w 1408"/>
              <a:gd name="T43" fmla="*/ 0 h 1152"/>
              <a:gd name="T44" fmla="*/ 320 w 1408"/>
              <a:gd name="T45" fmla="*/ 192 h 1152"/>
              <a:gd name="T46" fmla="*/ 448 w 1408"/>
              <a:gd name="T47" fmla="*/ 192 h 1152"/>
              <a:gd name="T48" fmla="*/ 448 w 1408"/>
              <a:gd name="T49" fmla="*/ 128 h 1152"/>
              <a:gd name="T50" fmla="*/ 960 w 1408"/>
              <a:gd name="T51" fmla="*/ 128 h 1152"/>
              <a:gd name="T52" fmla="*/ 960 w 1408"/>
              <a:gd name="T53" fmla="*/ 192 h 1152"/>
              <a:gd name="T54" fmla="*/ 1088 w 1408"/>
              <a:gd name="T55" fmla="*/ 192 h 1152"/>
              <a:gd name="T56" fmla="*/ 1088 w 1408"/>
              <a:gd name="T57" fmla="*/ 0 h 1152"/>
              <a:gd name="T58" fmla="*/ 320 w 1408"/>
              <a:gd name="T59"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08" h="1152">
                <a:moveTo>
                  <a:pt x="1408" y="256"/>
                </a:moveTo>
                <a:cubicBezTo>
                  <a:pt x="1408" y="960"/>
                  <a:pt x="1408" y="960"/>
                  <a:pt x="1408" y="960"/>
                </a:cubicBezTo>
                <a:cubicBezTo>
                  <a:pt x="1408" y="1066"/>
                  <a:pt x="1322" y="1152"/>
                  <a:pt x="1216" y="1152"/>
                </a:cubicBezTo>
                <a:cubicBezTo>
                  <a:pt x="192" y="1152"/>
                  <a:pt x="192" y="1152"/>
                  <a:pt x="192" y="1152"/>
                </a:cubicBezTo>
                <a:cubicBezTo>
                  <a:pt x="86" y="1152"/>
                  <a:pt x="0" y="1066"/>
                  <a:pt x="0" y="960"/>
                </a:cubicBezTo>
                <a:cubicBezTo>
                  <a:pt x="0" y="448"/>
                  <a:pt x="0" y="448"/>
                  <a:pt x="0" y="448"/>
                </a:cubicBezTo>
                <a:cubicBezTo>
                  <a:pt x="0" y="342"/>
                  <a:pt x="86" y="256"/>
                  <a:pt x="192" y="256"/>
                </a:cubicBezTo>
                <a:lnTo>
                  <a:pt x="1408" y="256"/>
                </a:lnTo>
                <a:close/>
                <a:moveTo>
                  <a:pt x="896" y="576"/>
                </a:moveTo>
                <a:cubicBezTo>
                  <a:pt x="768" y="576"/>
                  <a:pt x="768" y="576"/>
                  <a:pt x="768" y="576"/>
                </a:cubicBezTo>
                <a:cubicBezTo>
                  <a:pt x="768" y="448"/>
                  <a:pt x="768" y="448"/>
                  <a:pt x="768" y="448"/>
                </a:cubicBezTo>
                <a:cubicBezTo>
                  <a:pt x="576" y="448"/>
                  <a:pt x="576" y="448"/>
                  <a:pt x="576" y="448"/>
                </a:cubicBezTo>
                <a:cubicBezTo>
                  <a:pt x="576" y="576"/>
                  <a:pt x="576" y="576"/>
                  <a:pt x="576" y="576"/>
                </a:cubicBezTo>
                <a:cubicBezTo>
                  <a:pt x="448" y="576"/>
                  <a:pt x="448" y="576"/>
                  <a:pt x="448" y="576"/>
                </a:cubicBezTo>
                <a:cubicBezTo>
                  <a:pt x="448" y="768"/>
                  <a:pt x="448" y="768"/>
                  <a:pt x="448" y="768"/>
                </a:cubicBezTo>
                <a:cubicBezTo>
                  <a:pt x="576" y="768"/>
                  <a:pt x="576" y="768"/>
                  <a:pt x="576" y="768"/>
                </a:cubicBezTo>
                <a:cubicBezTo>
                  <a:pt x="576" y="896"/>
                  <a:pt x="576" y="896"/>
                  <a:pt x="576" y="896"/>
                </a:cubicBezTo>
                <a:cubicBezTo>
                  <a:pt x="768" y="896"/>
                  <a:pt x="768" y="896"/>
                  <a:pt x="768" y="896"/>
                </a:cubicBezTo>
                <a:cubicBezTo>
                  <a:pt x="768" y="768"/>
                  <a:pt x="768" y="768"/>
                  <a:pt x="768" y="768"/>
                </a:cubicBezTo>
                <a:cubicBezTo>
                  <a:pt x="896" y="768"/>
                  <a:pt x="896" y="768"/>
                  <a:pt x="896" y="768"/>
                </a:cubicBezTo>
                <a:lnTo>
                  <a:pt x="896" y="576"/>
                </a:lnTo>
                <a:close/>
                <a:moveTo>
                  <a:pt x="320" y="0"/>
                </a:moveTo>
                <a:cubicBezTo>
                  <a:pt x="320" y="192"/>
                  <a:pt x="320" y="192"/>
                  <a:pt x="320" y="192"/>
                </a:cubicBezTo>
                <a:cubicBezTo>
                  <a:pt x="448" y="192"/>
                  <a:pt x="448" y="192"/>
                  <a:pt x="448" y="192"/>
                </a:cubicBezTo>
                <a:cubicBezTo>
                  <a:pt x="448" y="128"/>
                  <a:pt x="448" y="128"/>
                  <a:pt x="448" y="128"/>
                </a:cubicBezTo>
                <a:cubicBezTo>
                  <a:pt x="960" y="128"/>
                  <a:pt x="960" y="128"/>
                  <a:pt x="960" y="128"/>
                </a:cubicBezTo>
                <a:cubicBezTo>
                  <a:pt x="960" y="192"/>
                  <a:pt x="960" y="192"/>
                  <a:pt x="960" y="192"/>
                </a:cubicBezTo>
                <a:cubicBezTo>
                  <a:pt x="1088" y="192"/>
                  <a:pt x="1088" y="192"/>
                  <a:pt x="1088" y="192"/>
                </a:cubicBezTo>
                <a:cubicBezTo>
                  <a:pt x="1088" y="0"/>
                  <a:pt x="1088" y="0"/>
                  <a:pt x="1088" y="0"/>
                </a:cubicBezTo>
                <a:lnTo>
                  <a:pt x="32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7" name="Freeform 179">
            <a:extLst>
              <a:ext uri="{FF2B5EF4-FFF2-40B4-BE49-F238E27FC236}">
                <a16:creationId xmlns:a16="http://schemas.microsoft.com/office/drawing/2014/main" id="{ADA993F2-5DD6-4958-BC8E-63F79438E6C4}"/>
              </a:ext>
            </a:extLst>
          </p:cNvPr>
          <p:cNvSpPr>
            <a:spLocks noEditPoints="1"/>
          </p:cNvSpPr>
          <p:nvPr/>
        </p:nvSpPr>
        <p:spPr bwMode="gray">
          <a:xfrm>
            <a:off x="6360452" y="5607676"/>
            <a:ext cx="595312" cy="395288"/>
          </a:xfrm>
          <a:custGeom>
            <a:avLst/>
            <a:gdLst>
              <a:gd name="T0" fmla="*/ 256 w 1536"/>
              <a:gd name="T1" fmla="*/ 0 h 1024"/>
              <a:gd name="T2" fmla="*/ 0 w 1536"/>
              <a:gd name="T3" fmla="*/ 256 h 1024"/>
              <a:gd name="T4" fmla="*/ 0 w 1536"/>
              <a:gd name="T5" fmla="*/ 768 h 1024"/>
              <a:gd name="T6" fmla="*/ 256 w 1536"/>
              <a:gd name="T7" fmla="*/ 1024 h 1024"/>
              <a:gd name="T8" fmla="*/ 1280 w 1536"/>
              <a:gd name="T9" fmla="*/ 1024 h 1024"/>
              <a:gd name="T10" fmla="*/ 1536 w 1536"/>
              <a:gd name="T11" fmla="*/ 768 h 1024"/>
              <a:gd name="T12" fmla="*/ 1536 w 1536"/>
              <a:gd name="T13" fmla="*/ 0 h 1024"/>
              <a:gd name="T14" fmla="*/ 256 w 1536"/>
              <a:gd name="T15" fmla="*/ 0 h 1024"/>
              <a:gd name="T16" fmla="*/ 1408 w 1536"/>
              <a:gd name="T17" fmla="*/ 576 h 1024"/>
              <a:gd name="T18" fmla="*/ 1195 w 1536"/>
              <a:gd name="T19" fmla="*/ 576 h 1024"/>
              <a:gd name="T20" fmla="*/ 1030 w 1536"/>
              <a:gd name="T21" fmla="*/ 988 h 1024"/>
              <a:gd name="T22" fmla="*/ 707 w 1536"/>
              <a:gd name="T23" fmla="*/ 342 h 1024"/>
              <a:gd name="T24" fmla="*/ 451 w 1536"/>
              <a:gd name="T25" fmla="*/ 918 h 1024"/>
              <a:gd name="T26" fmla="*/ 280 w 1536"/>
              <a:gd name="T27" fmla="*/ 576 h 1024"/>
              <a:gd name="T28" fmla="*/ 128 w 1536"/>
              <a:gd name="T29" fmla="*/ 576 h 1024"/>
              <a:gd name="T30" fmla="*/ 128 w 1536"/>
              <a:gd name="T31" fmla="*/ 448 h 1024"/>
              <a:gd name="T32" fmla="*/ 360 w 1536"/>
              <a:gd name="T33" fmla="*/ 448 h 1024"/>
              <a:gd name="T34" fmla="*/ 445 w 1536"/>
              <a:gd name="T35" fmla="*/ 618 h 1024"/>
              <a:gd name="T36" fmla="*/ 701 w 1536"/>
              <a:gd name="T37" fmla="*/ 42 h 1024"/>
              <a:gd name="T38" fmla="*/ 1018 w 1536"/>
              <a:gd name="T39" fmla="*/ 676 h 1024"/>
              <a:gd name="T40" fmla="*/ 1109 w 1536"/>
              <a:gd name="T41" fmla="*/ 448 h 1024"/>
              <a:gd name="T42" fmla="*/ 1408 w 1536"/>
              <a:gd name="T43" fmla="*/ 448 h 1024"/>
              <a:gd name="T44" fmla="*/ 1408 w 1536"/>
              <a:gd name="T45" fmla="*/ 576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36" h="1024">
                <a:moveTo>
                  <a:pt x="256" y="0"/>
                </a:moveTo>
                <a:cubicBezTo>
                  <a:pt x="115" y="0"/>
                  <a:pt x="0" y="115"/>
                  <a:pt x="0" y="256"/>
                </a:cubicBezTo>
                <a:cubicBezTo>
                  <a:pt x="0" y="768"/>
                  <a:pt x="0" y="768"/>
                  <a:pt x="0" y="768"/>
                </a:cubicBezTo>
                <a:cubicBezTo>
                  <a:pt x="0" y="909"/>
                  <a:pt x="115" y="1024"/>
                  <a:pt x="256" y="1024"/>
                </a:cubicBezTo>
                <a:cubicBezTo>
                  <a:pt x="1280" y="1024"/>
                  <a:pt x="1280" y="1024"/>
                  <a:pt x="1280" y="1024"/>
                </a:cubicBezTo>
                <a:cubicBezTo>
                  <a:pt x="1421" y="1024"/>
                  <a:pt x="1536" y="909"/>
                  <a:pt x="1536" y="768"/>
                </a:cubicBezTo>
                <a:cubicBezTo>
                  <a:pt x="1536" y="0"/>
                  <a:pt x="1536" y="0"/>
                  <a:pt x="1536" y="0"/>
                </a:cubicBezTo>
                <a:lnTo>
                  <a:pt x="256" y="0"/>
                </a:lnTo>
                <a:close/>
                <a:moveTo>
                  <a:pt x="1408" y="576"/>
                </a:moveTo>
                <a:cubicBezTo>
                  <a:pt x="1195" y="576"/>
                  <a:pt x="1195" y="576"/>
                  <a:pt x="1195" y="576"/>
                </a:cubicBezTo>
                <a:cubicBezTo>
                  <a:pt x="1030" y="988"/>
                  <a:pt x="1030" y="988"/>
                  <a:pt x="1030" y="988"/>
                </a:cubicBezTo>
                <a:cubicBezTo>
                  <a:pt x="707" y="342"/>
                  <a:pt x="707" y="342"/>
                  <a:pt x="707" y="342"/>
                </a:cubicBezTo>
                <a:cubicBezTo>
                  <a:pt x="451" y="918"/>
                  <a:pt x="451" y="918"/>
                  <a:pt x="451" y="918"/>
                </a:cubicBezTo>
                <a:cubicBezTo>
                  <a:pt x="280" y="576"/>
                  <a:pt x="280" y="576"/>
                  <a:pt x="280" y="576"/>
                </a:cubicBezTo>
                <a:cubicBezTo>
                  <a:pt x="128" y="576"/>
                  <a:pt x="128" y="576"/>
                  <a:pt x="128" y="576"/>
                </a:cubicBezTo>
                <a:cubicBezTo>
                  <a:pt x="128" y="448"/>
                  <a:pt x="128" y="448"/>
                  <a:pt x="128" y="448"/>
                </a:cubicBezTo>
                <a:cubicBezTo>
                  <a:pt x="360" y="448"/>
                  <a:pt x="360" y="448"/>
                  <a:pt x="360" y="448"/>
                </a:cubicBezTo>
                <a:cubicBezTo>
                  <a:pt x="445" y="618"/>
                  <a:pt x="445" y="618"/>
                  <a:pt x="445" y="618"/>
                </a:cubicBezTo>
                <a:cubicBezTo>
                  <a:pt x="701" y="42"/>
                  <a:pt x="701" y="42"/>
                  <a:pt x="701" y="42"/>
                </a:cubicBezTo>
                <a:cubicBezTo>
                  <a:pt x="1018" y="676"/>
                  <a:pt x="1018" y="676"/>
                  <a:pt x="1018" y="676"/>
                </a:cubicBezTo>
                <a:cubicBezTo>
                  <a:pt x="1109" y="448"/>
                  <a:pt x="1109" y="448"/>
                  <a:pt x="1109" y="448"/>
                </a:cubicBezTo>
                <a:cubicBezTo>
                  <a:pt x="1408" y="448"/>
                  <a:pt x="1408" y="448"/>
                  <a:pt x="1408" y="448"/>
                </a:cubicBezTo>
                <a:lnTo>
                  <a:pt x="1408" y="57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8" name="Freeform 187">
            <a:extLst>
              <a:ext uri="{FF2B5EF4-FFF2-40B4-BE49-F238E27FC236}">
                <a16:creationId xmlns:a16="http://schemas.microsoft.com/office/drawing/2014/main" id="{1972F0C9-D768-4DF9-84BA-25C3A4A3A198}"/>
              </a:ext>
            </a:extLst>
          </p:cNvPr>
          <p:cNvSpPr>
            <a:spLocks noEditPoints="1"/>
          </p:cNvSpPr>
          <p:nvPr/>
        </p:nvSpPr>
        <p:spPr bwMode="gray">
          <a:xfrm>
            <a:off x="4233005" y="5606883"/>
            <a:ext cx="396875" cy="396875"/>
          </a:xfrm>
          <a:custGeom>
            <a:avLst/>
            <a:gdLst>
              <a:gd name="T0" fmla="*/ 576 w 1280"/>
              <a:gd name="T1" fmla="*/ 128 h 1280"/>
              <a:gd name="T2" fmla="*/ 64 w 1280"/>
              <a:gd name="T3" fmla="*/ 0 h 1280"/>
              <a:gd name="T4" fmla="*/ 0 w 1280"/>
              <a:gd name="T5" fmla="*/ 128 h 1280"/>
              <a:gd name="T6" fmla="*/ 320 w 1280"/>
              <a:gd name="T7" fmla="*/ 1280 h 1280"/>
              <a:gd name="T8" fmla="*/ 512 w 1280"/>
              <a:gd name="T9" fmla="*/ 1024 h 1280"/>
              <a:gd name="T10" fmla="*/ 1280 w 1280"/>
              <a:gd name="T11" fmla="*/ 1280 h 1280"/>
              <a:gd name="T12" fmla="*/ 1024 w 1280"/>
              <a:gd name="T13" fmla="*/ 128 h 1280"/>
              <a:gd name="T14" fmla="*/ 128 w 1280"/>
              <a:gd name="T15" fmla="*/ 896 h 1280"/>
              <a:gd name="T16" fmla="*/ 256 w 1280"/>
              <a:gd name="T17" fmla="*/ 768 h 1280"/>
              <a:gd name="T18" fmla="*/ 256 w 1280"/>
              <a:gd name="T19" fmla="*/ 704 h 1280"/>
              <a:gd name="T20" fmla="*/ 128 w 1280"/>
              <a:gd name="T21" fmla="*/ 576 h 1280"/>
              <a:gd name="T22" fmla="*/ 256 w 1280"/>
              <a:gd name="T23" fmla="*/ 704 h 1280"/>
              <a:gd name="T24" fmla="*/ 128 w 1280"/>
              <a:gd name="T25" fmla="*/ 512 h 1280"/>
              <a:gd name="T26" fmla="*/ 256 w 1280"/>
              <a:gd name="T27" fmla="*/ 384 h 1280"/>
              <a:gd name="T28" fmla="*/ 512 w 1280"/>
              <a:gd name="T29" fmla="*/ 896 h 1280"/>
              <a:gd name="T30" fmla="*/ 384 w 1280"/>
              <a:gd name="T31" fmla="*/ 768 h 1280"/>
              <a:gd name="T32" fmla="*/ 512 w 1280"/>
              <a:gd name="T33" fmla="*/ 896 h 1280"/>
              <a:gd name="T34" fmla="*/ 384 w 1280"/>
              <a:gd name="T35" fmla="*/ 704 h 1280"/>
              <a:gd name="T36" fmla="*/ 512 w 1280"/>
              <a:gd name="T37" fmla="*/ 576 h 1280"/>
              <a:gd name="T38" fmla="*/ 512 w 1280"/>
              <a:gd name="T39" fmla="*/ 512 h 1280"/>
              <a:gd name="T40" fmla="*/ 384 w 1280"/>
              <a:gd name="T41" fmla="*/ 384 h 1280"/>
              <a:gd name="T42" fmla="*/ 512 w 1280"/>
              <a:gd name="T43" fmla="*/ 512 h 1280"/>
              <a:gd name="T44" fmla="*/ 640 w 1280"/>
              <a:gd name="T45" fmla="*/ 896 h 1280"/>
              <a:gd name="T46" fmla="*/ 768 w 1280"/>
              <a:gd name="T47" fmla="*/ 768 h 1280"/>
              <a:gd name="T48" fmla="*/ 768 w 1280"/>
              <a:gd name="T49" fmla="*/ 704 h 1280"/>
              <a:gd name="T50" fmla="*/ 640 w 1280"/>
              <a:gd name="T51" fmla="*/ 576 h 1280"/>
              <a:gd name="T52" fmla="*/ 768 w 1280"/>
              <a:gd name="T53" fmla="*/ 704 h 1280"/>
              <a:gd name="T54" fmla="*/ 640 w 1280"/>
              <a:gd name="T55" fmla="*/ 512 h 1280"/>
              <a:gd name="T56" fmla="*/ 768 w 1280"/>
              <a:gd name="T57" fmla="*/ 384 h 1280"/>
              <a:gd name="T58" fmla="*/ 1024 w 1280"/>
              <a:gd name="T59" fmla="*/ 896 h 1280"/>
              <a:gd name="T60" fmla="*/ 896 w 1280"/>
              <a:gd name="T61" fmla="*/ 768 h 1280"/>
              <a:gd name="T62" fmla="*/ 1024 w 1280"/>
              <a:gd name="T63" fmla="*/ 896 h 1280"/>
              <a:gd name="T64" fmla="*/ 896 w 1280"/>
              <a:gd name="T65" fmla="*/ 704 h 1280"/>
              <a:gd name="T66" fmla="*/ 1024 w 1280"/>
              <a:gd name="T67" fmla="*/ 576 h 1280"/>
              <a:gd name="T68" fmla="*/ 1024 w 1280"/>
              <a:gd name="T69" fmla="*/ 512 h 1280"/>
              <a:gd name="T70" fmla="*/ 896 w 1280"/>
              <a:gd name="T71" fmla="*/ 384 h 1280"/>
              <a:gd name="T72" fmla="*/ 1024 w 1280"/>
              <a:gd name="T73" fmla="*/ 512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0" h="1280">
                <a:moveTo>
                  <a:pt x="1024" y="128"/>
                </a:moveTo>
                <a:cubicBezTo>
                  <a:pt x="576" y="128"/>
                  <a:pt x="576" y="128"/>
                  <a:pt x="576" y="128"/>
                </a:cubicBezTo>
                <a:cubicBezTo>
                  <a:pt x="576" y="0"/>
                  <a:pt x="576" y="0"/>
                  <a:pt x="576" y="0"/>
                </a:cubicBezTo>
                <a:cubicBezTo>
                  <a:pt x="64" y="0"/>
                  <a:pt x="64" y="0"/>
                  <a:pt x="64" y="0"/>
                </a:cubicBezTo>
                <a:cubicBezTo>
                  <a:pt x="64" y="128"/>
                  <a:pt x="64" y="128"/>
                  <a:pt x="64" y="128"/>
                </a:cubicBezTo>
                <a:cubicBezTo>
                  <a:pt x="0" y="128"/>
                  <a:pt x="0" y="128"/>
                  <a:pt x="0" y="128"/>
                </a:cubicBezTo>
                <a:cubicBezTo>
                  <a:pt x="0" y="1280"/>
                  <a:pt x="0" y="1280"/>
                  <a:pt x="0" y="1280"/>
                </a:cubicBezTo>
                <a:cubicBezTo>
                  <a:pt x="320" y="1280"/>
                  <a:pt x="320" y="1280"/>
                  <a:pt x="320" y="1280"/>
                </a:cubicBezTo>
                <a:cubicBezTo>
                  <a:pt x="320" y="1024"/>
                  <a:pt x="320" y="1024"/>
                  <a:pt x="320" y="1024"/>
                </a:cubicBezTo>
                <a:cubicBezTo>
                  <a:pt x="512" y="1024"/>
                  <a:pt x="512" y="1024"/>
                  <a:pt x="512" y="1024"/>
                </a:cubicBezTo>
                <a:cubicBezTo>
                  <a:pt x="512" y="1280"/>
                  <a:pt x="512" y="1280"/>
                  <a:pt x="512" y="1280"/>
                </a:cubicBezTo>
                <a:cubicBezTo>
                  <a:pt x="1280" y="1280"/>
                  <a:pt x="1280" y="1280"/>
                  <a:pt x="1280" y="1280"/>
                </a:cubicBezTo>
                <a:cubicBezTo>
                  <a:pt x="1280" y="384"/>
                  <a:pt x="1280" y="384"/>
                  <a:pt x="1280" y="384"/>
                </a:cubicBezTo>
                <a:cubicBezTo>
                  <a:pt x="1280" y="243"/>
                  <a:pt x="1165" y="128"/>
                  <a:pt x="1024" y="128"/>
                </a:cubicBezTo>
                <a:close/>
                <a:moveTo>
                  <a:pt x="256" y="896"/>
                </a:moveTo>
                <a:cubicBezTo>
                  <a:pt x="128" y="896"/>
                  <a:pt x="128" y="896"/>
                  <a:pt x="128" y="896"/>
                </a:cubicBezTo>
                <a:cubicBezTo>
                  <a:pt x="128" y="768"/>
                  <a:pt x="128" y="768"/>
                  <a:pt x="128" y="768"/>
                </a:cubicBezTo>
                <a:cubicBezTo>
                  <a:pt x="256" y="768"/>
                  <a:pt x="256" y="768"/>
                  <a:pt x="256" y="768"/>
                </a:cubicBezTo>
                <a:lnTo>
                  <a:pt x="256" y="896"/>
                </a:lnTo>
                <a:close/>
                <a:moveTo>
                  <a:pt x="256" y="704"/>
                </a:moveTo>
                <a:cubicBezTo>
                  <a:pt x="128" y="704"/>
                  <a:pt x="128" y="704"/>
                  <a:pt x="128" y="704"/>
                </a:cubicBezTo>
                <a:cubicBezTo>
                  <a:pt x="128" y="576"/>
                  <a:pt x="128" y="576"/>
                  <a:pt x="128" y="576"/>
                </a:cubicBezTo>
                <a:cubicBezTo>
                  <a:pt x="256" y="576"/>
                  <a:pt x="256" y="576"/>
                  <a:pt x="256" y="576"/>
                </a:cubicBezTo>
                <a:lnTo>
                  <a:pt x="256" y="704"/>
                </a:lnTo>
                <a:close/>
                <a:moveTo>
                  <a:pt x="256" y="512"/>
                </a:moveTo>
                <a:cubicBezTo>
                  <a:pt x="128" y="512"/>
                  <a:pt x="128" y="512"/>
                  <a:pt x="128" y="512"/>
                </a:cubicBezTo>
                <a:cubicBezTo>
                  <a:pt x="128" y="384"/>
                  <a:pt x="128" y="384"/>
                  <a:pt x="128" y="384"/>
                </a:cubicBezTo>
                <a:cubicBezTo>
                  <a:pt x="256" y="384"/>
                  <a:pt x="256" y="384"/>
                  <a:pt x="256" y="384"/>
                </a:cubicBezTo>
                <a:lnTo>
                  <a:pt x="256" y="512"/>
                </a:lnTo>
                <a:close/>
                <a:moveTo>
                  <a:pt x="512" y="896"/>
                </a:moveTo>
                <a:cubicBezTo>
                  <a:pt x="384" y="896"/>
                  <a:pt x="384" y="896"/>
                  <a:pt x="384" y="896"/>
                </a:cubicBezTo>
                <a:cubicBezTo>
                  <a:pt x="384" y="768"/>
                  <a:pt x="384" y="768"/>
                  <a:pt x="384" y="768"/>
                </a:cubicBezTo>
                <a:cubicBezTo>
                  <a:pt x="512" y="768"/>
                  <a:pt x="512" y="768"/>
                  <a:pt x="512" y="768"/>
                </a:cubicBezTo>
                <a:lnTo>
                  <a:pt x="512" y="896"/>
                </a:lnTo>
                <a:close/>
                <a:moveTo>
                  <a:pt x="512" y="704"/>
                </a:moveTo>
                <a:cubicBezTo>
                  <a:pt x="384" y="704"/>
                  <a:pt x="384" y="704"/>
                  <a:pt x="384" y="704"/>
                </a:cubicBezTo>
                <a:cubicBezTo>
                  <a:pt x="384" y="576"/>
                  <a:pt x="384" y="576"/>
                  <a:pt x="384" y="576"/>
                </a:cubicBezTo>
                <a:cubicBezTo>
                  <a:pt x="512" y="576"/>
                  <a:pt x="512" y="576"/>
                  <a:pt x="512" y="576"/>
                </a:cubicBezTo>
                <a:lnTo>
                  <a:pt x="512" y="704"/>
                </a:lnTo>
                <a:close/>
                <a:moveTo>
                  <a:pt x="512" y="512"/>
                </a:moveTo>
                <a:cubicBezTo>
                  <a:pt x="384" y="512"/>
                  <a:pt x="384" y="512"/>
                  <a:pt x="384" y="512"/>
                </a:cubicBezTo>
                <a:cubicBezTo>
                  <a:pt x="384" y="384"/>
                  <a:pt x="384" y="384"/>
                  <a:pt x="384" y="384"/>
                </a:cubicBezTo>
                <a:cubicBezTo>
                  <a:pt x="512" y="384"/>
                  <a:pt x="512" y="384"/>
                  <a:pt x="512" y="384"/>
                </a:cubicBezTo>
                <a:lnTo>
                  <a:pt x="512" y="512"/>
                </a:lnTo>
                <a:close/>
                <a:moveTo>
                  <a:pt x="768" y="896"/>
                </a:moveTo>
                <a:cubicBezTo>
                  <a:pt x="640" y="896"/>
                  <a:pt x="640" y="896"/>
                  <a:pt x="640" y="896"/>
                </a:cubicBezTo>
                <a:cubicBezTo>
                  <a:pt x="640" y="768"/>
                  <a:pt x="640" y="768"/>
                  <a:pt x="640" y="768"/>
                </a:cubicBezTo>
                <a:cubicBezTo>
                  <a:pt x="768" y="768"/>
                  <a:pt x="768" y="768"/>
                  <a:pt x="768" y="768"/>
                </a:cubicBezTo>
                <a:lnTo>
                  <a:pt x="768" y="896"/>
                </a:lnTo>
                <a:close/>
                <a:moveTo>
                  <a:pt x="768" y="704"/>
                </a:moveTo>
                <a:cubicBezTo>
                  <a:pt x="640" y="704"/>
                  <a:pt x="640" y="704"/>
                  <a:pt x="640" y="704"/>
                </a:cubicBezTo>
                <a:cubicBezTo>
                  <a:pt x="640" y="576"/>
                  <a:pt x="640" y="576"/>
                  <a:pt x="640" y="576"/>
                </a:cubicBezTo>
                <a:cubicBezTo>
                  <a:pt x="768" y="576"/>
                  <a:pt x="768" y="576"/>
                  <a:pt x="768" y="576"/>
                </a:cubicBezTo>
                <a:lnTo>
                  <a:pt x="768" y="704"/>
                </a:lnTo>
                <a:close/>
                <a:moveTo>
                  <a:pt x="768" y="512"/>
                </a:moveTo>
                <a:cubicBezTo>
                  <a:pt x="640" y="512"/>
                  <a:pt x="640" y="512"/>
                  <a:pt x="640" y="512"/>
                </a:cubicBezTo>
                <a:cubicBezTo>
                  <a:pt x="640" y="384"/>
                  <a:pt x="640" y="384"/>
                  <a:pt x="640" y="384"/>
                </a:cubicBezTo>
                <a:cubicBezTo>
                  <a:pt x="768" y="384"/>
                  <a:pt x="768" y="384"/>
                  <a:pt x="768" y="384"/>
                </a:cubicBezTo>
                <a:lnTo>
                  <a:pt x="768" y="512"/>
                </a:lnTo>
                <a:close/>
                <a:moveTo>
                  <a:pt x="1024" y="896"/>
                </a:moveTo>
                <a:cubicBezTo>
                  <a:pt x="896" y="896"/>
                  <a:pt x="896" y="896"/>
                  <a:pt x="896" y="896"/>
                </a:cubicBezTo>
                <a:cubicBezTo>
                  <a:pt x="896" y="768"/>
                  <a:pt x="896" y="768"/>
                  <a:pt x="896" y="768"/>
                </a:cubicBezTo>
                <a:cubicBezTo>
                  <a:pt x="1024" y="768"/>
                  <a:pt x="1024" y="768"/>
                  <a:pt x="1024" y="768"/>
                </a:cubicBezTo>
                <a:lnTo>
                  <a:pt x="1024" y="896"/>
                </a:lnTo>
                <a:close/>
                <a:moveTo>
                  <a:pt x="1024" y="704"/>
                </a:moveTo>
                <a:cubicBezTo>
                  <a:pt x="896" y="704"/>
                  <a:pt x="896" y="704"/>
                  <a:pt x="896" y="704"/>
                </a:cubicBezTo>
                <a:cubicBezTo>
                  <a:pt x="896" y="576"/>
                  <a:pt x="896" y="576"/>
                  <a:pt x="896" y="576"/>
                </a:cubicBezTo>
                <a:cubicBezTo>
                  <a:pt x="1024" y="576"/>
                  <a:pt x="1024" y="576"/>
                  <a:pt x="1024" y="576"/>
                </a:cubicBezTo>
                <a:lnTo>
                  <a:pt x="1024" y="704"/>
                </a:lnTo>
                <a:close/>
                <a:moveTo>
                  <a:pt x="1024" y="512"/>
                </a:moveTo>
                <a:cubicBezTo>
                  <a:pt x="896" y="512"/>
                  <a:pt x="896" y="512"/>
                  <a:pt x="896" y="512"/>
                </a:cubicBezTo>
                <a:cubicBezTo>
                  <a:pt x="896" y="384"/>
                  <a:pt x="896" y="384"/>
                  <a:pt x="896" y="384"/>
                </a:cubicBezTo>
                <a:cubicBezTo>
                  <a:pt x="1024" y="384"/>
                  <a:pt x="1024" y="384"/>
                  <a:pt x="1024" y="384"/>
                </a:cubicBezTo>
                <a:lnTo>
                  <a:pt x="1024" y="51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9" name="Freeform 13">
            <a:extLst>
              <a:ext uri="{FF2B5EF4-FFF2-40B4-BE49-F238E27FC236}">
                <a16:creationId xmlns:a16="http://schemas.microsoft.com/office/drawing/2014/main" id="{C09D24BF-2604-4121-AB54-687FA21833C4}"/>
              </a:ext>
            </a:extLst>
          </p:cNvPr>
          <p:cNvSpPr>
            <a:spLocks noEditPoints="1"/>
          </p:cNvSpPr>
          <p:nvPr/>
        </p:nvSpPr>
        <p:spPr bwMode="gray">
          <a:xfrm>
            <a:off x="840058" y="5606883"/>
            <a:ext cx="509587" cy="396875"/>
          </a:xfrm>
          <a:custGeom>
            <a:avLst/>
            <a:gdLst>
              <a:gd name="T0" fmla="*/ 1472 w 1482"/>
              <a:gd name="T1" fmla="*/ 190 h 1151"/>
              <a:gd name="T2" fmla="*/ 1162 w 1482"/>
              <a:gd name="T3" fmla="*/ 508 h 1151"/>
              <a:gd name="T4" fmla="*/ 1162 w 1482"/>
              <a:gd name="T5" fmla="*/ 640 h 1151"/>
              <a:gd name="T6" fmla="*/ 1034 w 1482"/>
              <a:gd name="T7" fmla="*/ 640 h 1151"/>
              <a:gd name="T8" fmla="*/ 1034 w 1482"/>
              <a:gd name="T9" fmla="*/ 128 h 1151"/>
              <a:gd name="T10" fmla="*/ 1446 w 1482"/>
              <a:gd name="T11" fmla="*/ 128 h 1151"/>
              <a:gd name="T12" fmla="*/ 1482 w 1482"/>
              <a:gd name="T13" fmla="*/ 164 h 1151"/>
              <a:gd name="T14" fmla="*/ 1472 w 1482"/>
              <a:gd name="T15" fmla="*/ 190 h 1151"/>
              <a:gd name="T16" fmla="*/ 330 w 1482"/>
              <a:gd name="T17" fmla="*/ 128 h 1151"/>
              <a:gd name="T18" fmla="*/ 207 w 1482"/>
              <a:gd name="T19" fmla="*/ 221 h 1151"/>
              <a:gd name="T20" fmla="*/ 50 w 1482"/>
              <a:gd name="T21" fmla="*/ 766 h 1151"/>
              <a:gd name="T22" fmla="*/ 94 w 1482"/>
              <a:gd name="T23" fmla="*/ 778 h 1151"/>
              <a:gd name="T24" fmla="*/ 0 w 1482"/>
              <a:gd name="T25" fmla="*/ 1105 h 1151"/>
              <a:gd name="T26" fmla="*/ 162 w 1482"/>
              <a:gd name="T27" fmla="*/ 1151 h 1151"/>
              <a:gd name="T28" fmla="*/ 256 w 1482"/>
              <a:gd name="T29" fmla="*/ 824 h 1151"/>
              <a:gd name="T30" fmla="*/ 296 w 1482"/>
              <a:gd name="T31" fmla="*/ 836 h 1151"/>
              <a:gd name="T32" fmla="*/ 350 w 1482"/>
              <a:gd name="T33" fmla="*/ 640 h 1151"/>
              <a:gd name="T34" fmla="*/ 650 w 1482"/>
              <a:gd name="T35" fmla="*/ 640 h 1151"/>
              <a:gd name="T36" fmla="*/ 650 w 1482"/>
              <a:gd name="T37" fmla="*/ 768 h 1151"/>
              <a:gd name="T38" fmla="*/ 778 w 1482"/>
              <a:gd name="T39" fmla="*/ 768 h 1151"/>
              <a:gd name="T40" fmla="*/ 778 w 1482"/>
              <a:gd name="T41" fmla="*/ 640 h 1151"/>
              <a:gd name="T42" fmla="*/ 970 w 1482"/>
              <a:gd name="T43" fmla="*/ 640 h 1151"/>
              <a:gd name="T44" fmla="*/ 970 w 1482"/>
              <a:gd name="T45" fmla="*/ 128 h 1151"/>
              <a:gd name="T46" fmla="*/ 842 w 1482"/>
              <a:gd name="T47" fmla="*/ 128 h 1151"/>
              <a:gd name="T48" fmla="*/ 842 w 1482"/>
              <a:gd name="T49" fmla="*/ 0 h 1151"/>
              <a:gd name="T50" fmla="*/ 650 w 1482"/>
              <a:gd name="T51" fmla="*/ 0 h 1151"/>
              <a:gd name="T52" fmla="*/ 650 w 1482"/>
              <a:gd name="T53" fmla="*/ 128 h 1151"/>
              <a:gd name="T54" fmla="*/ 330 w 1482"/>
              <a:gd name="T55" fmla="*/ 128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82" h="1151">
                <a:moveTo>
                  <a:pt x="1472" y="190"/>
                </a:moveTo>
                <a:cubicBezTo>
                  <a:pt x="1162" y="508"/>
                  <a:pt x="1162" y="508"/>
                  <a:pt x="1162" y="508"/>
                </a:cubicBezTo>
                <a:cubicBezTo>
                  <a:pt x="1162" y="640"/>
                  <a:pt x="1162" y="640"/>
                  <a:pt x="1162" y="640"/>
                </a:cubicBezTo>
                <a:cubicBezTo>
                  <a:pt x="1034" y="640"/>
                  <a:pt x="1034" y="640"/>
                  <a:pt x="1034" y="640"/>
                </a:cubicBezTo>
                <a:cubicBezTo>
                  <a:pt x="1034" y="128"/>
                  <a:pt x="1034" y="128"/>
                  <a:pt x="1034" y="128"/>
                </a:cubicBezTo>
                <a:cubicBezTo>
                  <a:pt x="1446" y="128"/>
                  <a:pt x="1446" y="128"/>
                  <a:pt x="1446" y="128"/>
                </a:cubicBezTo>
                <a:cubicBezTo>
                  <a:pt x="1466" y="128"/>
                  <a:pt x="1482" y="144"/>
                  <a:pt x="1482" y="164"/>
                </a:cubicBezTo>
                <a:cubicBezTo>
                  <a:pt x="1482" y="174"/>
                  <a:pt x="1478" y="183"/>
                  <a:pt x="1472" y="190"/>
                </a:cubicBezTo>
                <a:close/>
                <a:moveTo>
                  <a:pt x="330" y="128"/>
                </a:moveTo>
                <a:cubicBezTo>
                  <a:pt x="273" y="128"/>
                  <a:pt x="223" y="166"/>
                  <a:pt x="207" y="221"/>
                </a:cubicBezTo>
                <a:cubicBezTo>
                  <a:pt x="50" y="766"/>
                  <a:pt x="50" y="766"/>
                  <a:pt x="50" y="766"/>
                </a:cubicBezTo>
                <a:cubicBezTo>
                  <a:pt x="94" y="778"/>
                  <a:pt x="94" y="778"/>
                  <a:pt x="94" y="778"/>
                </a:cubicBezTo>
                <a:cubicBezTo>
                  <a:pt x="0" y="1105"/>
                  <a:pt x="0" y="1105"/>
                  <a:pt x="0" y="1105"/>
                </a:cubicBezTo>
                <a:cubicBezTo>
                  <a:pt x="162" y="1151"/>
                  <a:pt x="162" y="1151"/>
                  <a:pt x="162" y="1151"/>
                </a:cubicBezTo>
                <a:cubicBezTo>
                  <a:pt x="256" y="824"/>
                  <a:pt x="256" y="824"/>
                  <a:pt x="256" y="824"/>
                </a:cubicBezTo>
                <a:cubicBezTo>
                  <a:pt x="296" y="836"/>
                  <a:pt x="296" y="836"/>
                  <a:pt x="296" y="836"/>
                </a:cubicBezTo>
                <a:cubicBezTo>
                  <a:pt x="350" y="640"/>
                  <a:pt x="350" y="640"/>
                  <a:pt x="350" y="640"/>
                </a:cubicBezTo>
                <a:cubicBezTo>
                  <a:pt x="650" y="640"/>
                  <a:pt x="650" y="640"/>
                  <a:pt x="650" y="640"/>
                </a:cubicBezTo>
                <a:cubicBezTo>
                  <a:pt x="650" y="768"/>
                  <a:pt x="650" y="768"/>
                  <a:pt x="650" y="768"/>
                </a:cubicBezTo>
                <a:cubicBezTo>
                  <a:pt x="778" y="768"/>
                  <a:pt x="778" y="768"/>
                  <a:pt x="778" y="768"/>
                </a:cubicBezTo>
                <a:cubicBezTo>
                  <a:pt x="778" y="640"/>
                  <a:pt x="778" y="640"/>
                  <a:pt x="778" y="640"/>
                </a:cubicBezTo>
                <a:cubicBezTo>
                  <a:pt x="970" y="640"/>
                  <a:pt x="970" y="640"/>
                  <a:pt x="970" y="640"/>
                </a:cubicBezTo>
                <a:cubicBezTo>
                  <a:pt x="970" y="128"/>
                  <a:pt x="970" y="128"/>
                  <a:pt x="970" y="128"/>
                </a:cubicBezTo>
                <a:cubicBezTo>
                  <a:pt x="842" y="128"/>
                  <a:pt x="842" y="128"/>
                  <a:pt x="842" y="128"/>
                </a:cubicBezTo>
                <a:cubicBezTo>
                  <a:pt x="842" y="0"/>
                  <a:pt x="842" y="0"/>
                  <a:pt x="842" y="0"/>
                </a:cubicBezTo>
                <a:cubicBezTo>
                  <a:pt x="650" y="0"/>
                  <a:pt x="650" y="0"/>
                  <a:pt x="650" y="0"/>
                </a:cubicBezTo>
                <a:cubicBezTo>
                  <a:pt x="650" y="128"/>
                  <a:pt x="650" y="128"/>
                  <a:pt x="650" y="128"/>
                </a:cubicBezTo>
                <a:lnTo>
                  <a:pt x="330" y="12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0" name="Freeform 191">
            <a:extLst>
              <a:ext uri="{FF2B5EF4-FFF2-40B4-BE49-F238E27FC236}">
                <a16:creationId xmlns:a16="http://schemas.microsoft.com/office/drawing/2014/main" id="{2177F891-7100-4007-88A5-89164292F49D}"/>
              </a:ext>
            </a:extLst>
          </p:cNvPr>
          <p:cNvSpPr>
            <a:spLocks noEditPoints="1"/>
          </p:cNvSpPr>
          <p:nvPr/>
        </p:nvSpPr>
        <p:spPr bwMode="gray">
          <a:xfrm>
            <a:off x="9755793" y="5573274"/>
            <a:ext cx="484628" cy="464093"/>
          </a:xfrm>
          <a:custGeom>
            <a:avLst/>
            <a:gdLst>
              <a:gd name="T0" fmla="*/ 1316 w 1664"/>
              <a:gd name="T1" fmla="*/ 961 h 1600"/>
              <a:gd name="T2" fmla="*/ 1175 w 1664"/>
              <a:gd name="T3" fmla="*/ 992 h 1600"/>
              <a:gd name="T4" fmla="*/ 1041 w 1664"/>
              <a:gd name="T5" fmla="*/ 884 h 1600"/>
              <a:gd name="T6" fmla="*/ 960 w 1664"/>
              <a:gd name="T7" fmla="*/ 640 h 1600"/>
              <a:gd name="T8" fmla="*/ 704 w 1664"/>
              <a:gd name="T9" fmla="*/ 640 h 1600"/>
              <a:gd name="T10" fmla="*/ 623 w 1664"/>
              <a:gd name="T11" fmla="*/ 884 h 1600"/>
              <a:gd name="T12" fmla="*/ 488 w 1664"/>
              <a:gd name="T13" fmla="*/ 993 h 1600"/>
              <a:gd name="T14" fmla="*/ 319 w 1664"/>
              <a:gd name="T15" fmla="*/ 955 h 1600"/>
              <a:gd name="T16" fmla="*/ 256 w 1664"/>
              <a:gd name="T17" fmla="*/ 879 h 1600"/>
              <a:gd name="T18" fmla="*/ 256 w 1664"/>
              <a:gd name="T19" fmla="*/ 543 h 1600"/>
              <a:gd name="T20" fmla="*/ 286 w 1664"/>
              <a:gd name="T21" fmla="*/ 501 h 1600"/>
              <a:gd name="T22" fmla="*/ 1378 w 1664"/>
              <a:gd name="T23" fmla="*/ 501 h 1600"/>
              <a:gd name="T24" fmla="*/ 1408 w 1664"/>
              <a:gd name="T25" fmla="*/ 543 h 1600"/>
              <a:gd name="T26" fmla="*/ 1408 w 1664"/>
              <a:gd name="T27" fmla="*/ 856 h 1600"/>
              <a:gd name="T28" fmla="*/ 1322 w 1664"/>
              <a:gd name="T29" fmla="*/ 960 h 1600"/>
              <a:gd name="T30" fmla="*/ 1316 w 1664"/>
              <a:gd name="T31" fmla="*/ 961 h 1600"/>
              <a:gd name="T32" fmla="*/ 1664 w 1664"/>
              <a:gd name="T33" fmla="*/ 442 h 1600"/>
              <a:gd name="T34" fmla="*/ 1576 w 1664"/>
              <a:gd name="T35" fmla="*/ 300 h 1600"/>
              <a:gd name="T36" fmla="*/ 1022 w 1664"/>
              <a:gd name="T37" fmla="*/ 139 h 1600"/>
              <a:gd name="T38" fmla="*/ 864 w 1664"/>
              <a:gd name="T39" fmla="*/ 0 h 1600"/>
              <a:gd name="T40" fmla="*/ 800 w 1664"/>
              <a:gd name="T41" fmla="*/ 0 h 1600"/>
              <a:gd name="T42" fmla="*/ 642 w 1664"/>
              <a:gd name="T43" fmla="*/ 139 h 1600"/>
              <a:gd name="T44" fmla="*/ 88 w 1664"/>
              <a:gd name="T45" fmla="*/ 300 h 1600"/>
              <a:gd name="T46" fmla="*/ 0 w 1664"/>
              <a:gd name="T47" fmla="*/ 442 h 1600"/>
              <a:gd name="T48" fmla="*/ 0 w 1664"/>
              <a:gd name="T49" fmla="*/ 959 h 1600"/>
              <a:gd name="T50" fmla="*/ 146 w 1664"/>
              <a:gd name="T51" fmla="*/ 1239 h 1600"/>
              <a:gd name="T52" fmla="*/ 191 w 1664"/>
              <a:gd name="T53" fmla="*/ 1270 h 1600"/>
              <a:gd name="T54" fmla="*/ 396 w 1664"/>
              <a:gd name="T55" fmla="*/ 1383 h 1600"/>
              <a:gd name="T56" fmla="*/ 418 w 1664"/>
              <a:gd name="T57" fmla="*/ 1110 h 1600"/>
              <a:gd name="T58" fmla="*/ 285 w 1664"/>
              <a:gd name="T59" fmla="*/ 1079 h 1600"/>
              <a:gd name="T60" fmla="*/ 128 w 1664"/>
              <a:gd name="T61" fmla="*/ 879 h 1600"/>
              <a:gd name="T62" fmla="*/ 128 w 1664"/>
              <a:gd name="T63" fmla="*/ 543 h 1600"/>
              <a:gd name="T64" fmla="*/ 233 w 1664"/>
              <a:gd name="T65" fmla="*/ 384 h 1600"/>
              <a:gd name="T66" fmla="*/ 1430 w 1664"/>
              <a:gd name="T67" fmla="*/ 384 h 1600"/>
              <a:gd name="T68" fmla="*/ 1536 w 1664"/>
              <a:gd name="T69" fmla="*/ 543 h 1600"/>
              <a:gd name="T70" fmla="*/ 1536 w 1664"/>
              <a:gd name="T71" fmla="*/ 856 h 1600"/>
              <a:gd name="T72" fmla="*/ 1354 w 1664"/>
              <a:gd name="T73" fmla="*/ 1084 h 1600"/>
              <a:gd name="T74" fmla="*/ 1348 w 1664"/>
              <a:gd name="T75" fmla="*/ 1085 h 1600"/>
              <a:gd name="T76" fmla="*/ 1246 w 1664"/>
              <a:gd name="T77" fmla="*/ 1108 h 1600"/>
              <a:gd name="T78" fmla="*/ 1268 w 1664"/>
              <a:gd name="T79" fmla="*/ 1383 h 1600"/>
              <a:gd name="T80" fmla="*/ 1473 w 1664"/>
              <a:gd name="T81" fmla="*/ 1270 h 1600"/>
              <a:gd name="T82" fmla="*/ 1518 w 1664"/>
              <a:gd name="T83" fmla="*/ 1239 h 1600"/>
              <a:gd name="T84" fmla="*/ 1664 w 1664"/>
              <a:gd name="T85" fmla="*/ 959 h 1600"/>
              <a:gd name="T86" fmla="*/ 1664 w 1664"/>
              <a:gd name="T87" fmla="*/ 896 h 1600"/>
              <a:gd name="T88" fmla="*/ 1663 w 1664"/>
              <a:gd name="T89" fmla="*/ 896 h 1600"/>
              <a:gd name="T90" fmla="*/ 1664 w 1664"/>
              <a:gd name="T91" fmla="*/ 888 h 1600"/>
              <a:gd name="T92" fmla="*/ 1664 w 1664"/>
              <a:gd name="T93" fmla="*/ 442 h 1600"/>
              <a:gd name="T94" fmla="*/ 1152 w 1664"/>
              <a:gd name="T95" fmla="*/ 1280 h 1600"/>
              <a:gd name="T96" fmla="*/ 832 w 1664"/>
              <a:gd name="T97" fmla="*/ 1600 h 1600"/>
              <a:gd name="T98" fmla="*/ 512 w 1664"/>
              <a:gd name="T99" fmla="*/ 1280 h 1600"/>
              <a:gd name="T100" fmla="*/ 832 w 1664"/>
              <a:gd name="T101" fmla="*/ 960 h 1600"/>
              <a:gd name="T102" fmla="*/ 1152 w 1664"/>
              <a:gd name="T103" fmla="*/ 1280 h 1600"/>
              <a:gd name="T104" fmla="*/ 960 w 1664"/>
              <a:gd name="T105" fmla="*/ 1216 h 1600"/>
              <a:gd name="T106" fmla="*/ 832 w 1664"/>
              <a:gd name="T107" fmla="*/ 1088 h 1600"/>
              <a:gd name="T108" fmla="*/ 704 w 1664"/>
              <a:gd name="T109" fmla="*/ 1216 h 1600"/>
              <a:gd name="T110" fmla="*/ 832 w 1664"/>
              <a:gd name="T111" fmla="*/ 1344 h 1600"/>
              <a:gd name="T112" fmla="*/ 960 w 1664"/>
              <a:gd name="T113" fmla="*/ 1216 h 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64" h="1600">
                <a:moveTo>
                  <a:pt x="1316" y="961"/>
                </a:moveTo>
                <a:cubicBezTo>
                  <a:pt x="1269" y="973"/>
                  <a:pt x="1222" y="983"/>
                  <a:pt x="1175" y="992"/>
                </a:cubicBezTo>
                <a:cubicBezTo>
                  <a:pt x="1138" y="948"/>
                  <a:pt x="1092" y="911"/>
                  <a:pt x="1041" y="884"/>
                </a:cubicBezTo>
                <a:cubicBezTo>
                  <a:pt x="960" y="640"/>
                  <a:pt x="960" y="640"/>
                  <a:pt x="960" y="640"/>
                </a:cubicBezTo>
                <a:cubicBezTo>
                  <a:pt x="704" y="640"/>
                  <a:pt x="704" y="640"/>
                  <a:pt x="704" y="640"/>
                </a:cubicBezTo>
                <a:cubicBezTo>
                  <a:pt x="623" y="884"/>
                  <a:pt x="623" y="884"/>
                  <a:pt x="623" y="884"/>
                </a:cubicBezTo>
                <a:cubicBezTo>
                  <a:pt x="571" y="911"/>
                  <a:pt x="526" y="948"/>
                  <a:pt x="488" y="993"/>
                </a:cubicBezTo>
                <a:cubicBezTo>
                  <a:pt x="432" y="982"/>
                  <a:pt x="375" y="971"/>
                  <a:pt x="319" y="955"/>
                </a:cubicBezTo>
                <a:cubicBezTo>
                  <a:pt x="282" y="945"/>
                  <a:pt x="256" y="914"/>
                  <a:pt x="256" y="879"/>
                </a:cubicBezTo>
                <a:cubicBezTo>
                  <a:pt x="256" y="543"/>
                  <a:pt x="256" y="543"/>
                  <a:pt x="256" y="543"/>
                </a:cubicBezTo>
                <a:cubicBezTo>
                  <a:pt x="256" y="525"/>
                  <a:pt x="267" y="509"/>
                  <a:pt x="286" y="501"/>
                </a:cubicBezTo>
                <a:cubicBezTo>
                  <a:pt x="633" y="346"/>
                  <a:pt x="1031" y="346"/>
                  <a:pt x="1378" y="501"/>
                </a:cubicBezTo>
                <a:cubicBezTo>
                  <a:pt x="1397" y="509"/>
                  <a:pt x="1408" y="525"/>
                  <a:pt x="1408" y="543"/>
                </a:cubicBezTo>
                <a:cubicBezTo>
                  <a:pt x="1408" y="856"/>
                  <a:pt x="1408" y="856"/>
                  <a:pt x="1408" y="856"/>
                </a:cubicBezTo>
                <a:cubicBezTo>
                  <a:pt x="1408" y="904"/>
                  <a:pt x="1373" y="946"/>
                  <a:pt x="1322" y="960"/>
                </a:cubicBezTo>
                <a:lnTo>
                  <a:pt x="1316" y="961"/>
                </a:lnTo>
                <a:close/>
                <a:moveTo>
                  <a:pt x="1664" y="442"/>
                </a:moveTo>
                <a:cubicBezTo>
                  <a:pt x="1664" y="382"/>
                  <a:pt x="1630" y="327"/>
                  <a:pt x="1576" y="300"/>
                </a:cubicBezTo>
                <a:cubicBezTo>
                  <a:pt x="1402" y="215"/>
                  <a:pt x="1214" y="160"/>
                  <a:pt x="1022" y="139"/>
                </a:cubicBezTo>
                <a:cubicBezTo>
                  <a:pt x="1011" y="59"/>
                  <a:pt x="944" y="0"/>
                  <a:pt x="864" y="0"/>
                </a:cubicBezTo>
                <a:cubicBezTo>
                  <a:pt x="800" y="0"/>
                  <a:pt x="800" y="0"/>
                  <a:pt x="800" y="0"/>
                </a:cubicBezTo>
                <a:cubicBezTo>
                  <a:pt x="720" y="0"/>
                  <a:pt x="653" y="59"/>
                  <a:pt x="642" y="139"/>
                </a:cubicBezTo>
                <a:cubicBezTo>
                  <a:pt x="450" y="160"/>
                  <a:pt x="262" y="215"/>
                  <a:pt x="88" y="300"/>
                </a:cubicBezTo>
                <a:cubicBezTo>
                  <a:pt x="34" y="327"/>
                  <a:pt x="0" y="382"/>
                  <a:pt x="0" y="442"/>
                </a:cubicBezTo>
                <a:cubicBezTo>
                  <a:pt x="0" y="959"/>
                  <a:pt x="0" y="959"/>
                  <a:pt x="0" y="959"/>
                </a:cubicBezTo>
                <a:cubicBezTo>
                  <a:pt x="0" y="1070"/>
                  <a:pt x="55" y="1175"/>
                  <a:pt x="146" y="1239"/>
                </a:cubicBezTo>
                <a:cubicBezTo>
                  <a:pt x="191" y="1270"/>
                  <a:pt x="191" y="1270"/>
                  <a:pt x="191" y="1270"/>
                </a:cubicBezTo>
                <a:cubicBezTo>
                  <a:pt x="255" y="1315"/>
                  <a:pt x="324" y="1353"/>
                  <a:pt x="396" y="1383"/>
                </a:cubicBezTo>
                <a:cubicBezTo>
                  <a:pt x="374" y="1292"/>
                  <a:pt x="382" y="1197"/>
                  <a:pt x="418" y="1110"/>
                </a:cubicBezTo>
                <a:cubicBezTo>
                  <a:pt x="373" y="1101"/>
                  <a:pt x="329" y="1091"/>
                  <a:pt x="285" y="1079"/>
                </a:cubicBezTo>
                <a:cubicBezTo>
                  <a:pt x="192" y="1053"/>
                  <a:pt x="128" y="971"/>
                  <a:pt x="128" y="879"/>
                </a:cubicBezTo>
                <a:cubicBezTo>
                  <a:pt x="128" y="543"/>
                  <a:pt x="128" y="543"/>
                  <a:pt x="128" y="543"/>
                </a:cubicBezTo>
                <a:cubicBezTo>
                  <a:pt x="128" y="475"/>
                  <a:pt x="169" y="412"/>
                  <a:pt x="233" y="384"/>
                </a:cubicBezTo>
                <a:cubicBezTo>
                  <a:pt x="614" y="214"/>
                  <a:pt x="1050" y="214"/>
                  <a:pt x="1430" y="384"/>
                </a:cubicBezTo>
                <a:cubicBezTo>
                  <a:pt x="1494" y="412"/>
                  <a:pt x="1536" y="475"/>
                  <a:pt x="1536" y="543"/>
                </a:cubicBezTo>
                <a:cubicBezTo>
                  <a:pt x="1536" y="856"/>
                  <a:pt x="1536" y="856"/>
                  <a:pt x="1536" y="856"/>
                </a:cubicBezTo>
                <a:cubicBezTo>
                  <a:pt x="1536" y="962"/>
                  <a:pt x="1461" y="1056"/>
                  <a:pt x="1354" y="1084"/>
                </a:cubicBezTo>
                <a:cubicBezTo>
                  <a:pt x="1348" y="1085"/>
                  <a:pt x="1348" y="1085"/>
                  <a:pt x="1348" y="1085"/>
                </a:cubicBezTo>
                <a:cubicBezTo>
                  <a:pt x="1314" y="1094"/>
                  <a:pt x="1280" y="1101"/>
                  <a:pt x="1246" y="1108"/>
                </a:cubicBezTo>
                <a:cubicBezTo>
                  <a:pt x="1282" y="1195"/>
                  <a:pt x="1290" y="1292"/>
                  <a:pt x="1268" y="1383"/>
                </a:cubicBezTo>
                <a:cubicBezTo>
                  <a:pt x="1340" y="1353"/>
                  <a:pt x="1409" y="1315"/>
                  <a:pt x="1473" y="1270"/>
                </a:cubicBezTo>
                <a:cubicBezTo>
                  <a:pt x="1518" y="1239"/>
                  <a:pt x="1518" y="1239"/>
                  <a:pt x="1518" y="1239"/>
                </a:cubicBezTo>
                <a:cubicBezTo>
                  <a:pt x="1609" y="1175"/>
                  <a:pt x="1664" y="1070"/>
                  <a:pt x="1664" y="959"/>
                </a:cubicBezTo>
                <a:cubicBezTo>
                  <a:pt x="1664" y="896"/>
                  <a:pt x="1664" y="896"/>
                  <a:pt x="1664" y="896"/>
                </a:cubicBezTo>
                <a:cubicBezTo>
                  <a:pt x="1663" y="896"/>
                  <a:pt x="1663" y="896"/>
                  <a:pt x="1663" y="896"/>
                </a:cubicBezTo>
                <a:cubicBezTo>
                  <a:pt x="1663" y="893"/>
                  <a:pt x="1664" y="891"/>
                  <a:pt x="1664" y="888"/>
                </a:cubicBezTo>
                <a:lnTo>
                  <a:pt x="1664" y="442"/>
                </a:lnTo>
                <a:close/>
                <a:moveTo>
                  <a:pt x="1152" y="1280"/>
                </a:moveTo>
                <a:cubicBezTo>
                  <a:pt x="1152" y="1457"/>
                  <a:pt x="1009" y="1600"/>
                  <a:pt x="832" y="1600"/>
                </a:cubicBezTo>
                <a:cubicBezTo>
                  <a:pt x="655" y="1600"/>
                  <a:pt x="512" y="1457"/>
                  <a:pt x="512" y="1280"/>
                </a:cubicBezTo>
                <a:cubicBezTo>
                  <a:pt x="512" y="1103"/>
                  <a:pt x="655" y="960"/>
                  <a:pt x="832" y="960"/>
                </a:cubicBezTo>
                <a:cubicBezTo>
                  <a:pt x="1009" y="960"/>
                  <a:pt x="1152" y="1103"/>
                  <a:pt x="1152" y="1280"/>
                </a:cubicBezTo>
                <a:close/>
                <a:moveTo>
                  <a:pt x="960" y="1216"/>
                </a:moveTo>
                <a:cubicBezTo>
                  <a:pt x="960" y="1145"/>
                  <a:pt x="903" y="1088"/>
                  <a:pt x="832" y="1088"/>
                </a:cubicBezTo>
                <a:cubicBezTo>
                  <a:pt x="761" y="1088"/>
                  <a:pt x="704" y="1145"/>
                  <a:pt x="704" y="1216"/>
                </a:cubicBezTo>
                <a:cubicBezTo>
                  <a:pt x="704" y="1287"/>
                  <a:pt x="761" y="1344"/>
                  <a:pt x="832" y="1344"/>
                </a:cubicBezTo>
                <a:cubicBezTo>
                  <a:pt x="903" y="1344"/>
                  <a:pt x="960" y="1287"/>
                  <a:pt x="960" y="12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1" name="Freeform 195">
            <a:extLst>
              <a:ext uri="{FF2B5EF4-FFF2-40B4-BE49-F238E27FC236}">
                <a16:creationId xmlns:a16="http://schemas.microsoft.com/office/drawing/2014/main" id="{DF86193C-2A9C-4497-AD53-5E4486561F57}"/>
              </a:ext>
            </a:extLst>
          </p:cNvPr>
          <p:cNvSpPr>
            <a:spLocks noEditPoints="1"/>
          </p:cNvSpPr>
          <p:nvPr/>
        </p:nvSpPr>
        <p:spPr bwMode="gray">
          <a:xfrm>
            <a:off x="7642287" y="5548045"/>
            <a:ext cx="258309" cy="514550"/>
          </a:xfrm>
          <a:custGeom>
            <a:avLst/>
            <a:gdLst>
              <a:gd name="T0" fmla="*/ 576 w 768"/>
              <a:gd name="T1" fmla="*/ 128 h 1536"/>
              <a:gd name="T2" fmla="*/ 192 w 768"/>
              <a:gd name="T3" fmla="*/ 128 h 1536"/>
              <a:gd name="T4" fmla="*/ 192 w 768"/>
              <a:gd name="T5" fmla="*/ 0 h 1536"/>
              <a:gd name="T6" fmla="*/ 576 w 768"/>
              <a:gd name="T7" fmla="*/ 0 h 1536"/>
              <a:gd name="T8" fmla="*/ 576 w 768"/>
              <a:gd name="T9" fmla="*/ 128 h 1536"/>
              <a:gd name="T10" fmla="*/ 512 w 768"/>
              <a:gd name="T11" fmla="*/ 256 h 1536"/>
              <a:gd name="T12" fmla="*/ 512 w 768"/>
              <a:gd name="T13" fmla="*/ 192 h 1536"/>
              <a:gd name="T14" fmla="*/ 256 w 768"/>
              <a:gd name="T15" fmla="*/ 192 h 1536"/>
              <a:gd name="T16" fmla="*/ 256 w 768"/>
              <a:gd name="T17" fmla="*/ 256 h 1536"/>
              <a:gd name="T18" fmla="*/ 3 w 768"/>
              <a:gd name="T19" fmla="*/ 504 h 1536"/>
              <a:gd name="T20" fmla="*/ 2 w 768"/>
              <a:gd name="T21" fmla="*/ 512 h 1536"/>
              <a:gd name="T22" fmla="*/ 640 w 768"/>
              <a:gd name="T23" fmla="*/ 512 h 1536"/>
              <a:gd name="T24" fmla="*/ 640 w 768"/>
              <a:gd name="T25" fmla="*/ 640 h 1536"/>
              <a:gd name="T26" fmla="*/ 0 w 768"/>
              <a:gd name="T27" fmla="*/ 640 h 1536"/>
              <a:gd name="T28" fmla="*/ 0 w 768"/>
              <a:gd name="T29" fmla="*/ 1536 h 1536"/>
              <a:gd name="T30" fmla="*/ 768 w 768"/>
              <a:gd name="T31" fmla="*/ 1536 h 1536"/>
              <a:gd name="T32" fmla="*/ 768 w 768"/>
              <a:gd name="T33" fmla="*/ 512 h 1536"/>
              <a:gd name="T34" fmla="*/ 512 w 768"/>
              <a:gd name="T35" fmla="*/ 256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8" h="1536">
                <a:moveTo>
                  <a:pt x="576" y="128"/>
                </a:moveTo>
                <a:cubicBezTo>
                  <a:pt x="192" y="128"/>
                  <a:pt x="192" y="128"/>
                  <a:pt x="192" y="128"/>
                </a:cubicBezTo>
                <a:cubicBezTo>
                  <a:pt x="192" y="0"/>
                  <a:pt x="192" y="0"/>
                  <a:pt x="192" y="0"/>
                </a:cubicBezTo>
                <a:cubicBezTo>
                  <a:pt x="576" y="0"/>
                  <a:pt x="576" y="0"/>
                  <a:pt x="576" y="0"/>
                </a:cubicBezTo>
                <a:lnTo>
                  <a:pt x="576" y="128"/>
                </a:lnTo>
                <a:close/>
                <a:moveTo>
                  <a:pt x="512" y="256"/>
                </a:moveTo>
                <a:cubicBezTo>
                  <a:pt x="512" y="192"/>
                  <a:pt x="512" y="192"/>
                  <a:pt x="512" y="192"/>
                </a:cubicBezTo>
                <a:cubicBezTo>
                  <a:pt x="256" y="192"/>
                  <a:pt x="256" y="192"/>
                  <a:pt x="256" y="192"/>
                </a:cubicBezTo>
                <a:cubicBezTo>
                  <a:pt x="256" y="256"/>
                  <a:pt x="256" y="256"/>
                  <a:pt x="256" y="256"/>
                </a:cubicBezTo>
                <a:cubicBezTo>
                  <a:pt x="118" y="256"/>
                  <a:pt x="6" y="366"/>
                  <a:pt x="3" y="504"/>
                </a:cubicBezTo>
                <a:cubicBezTo>
                  <a:pt x="3" y="509"/>
                  <a:pt x="3" y="512"/>
                  <a:pt x="2" y="512"/>
                </a:cubicBezTo>
                <a:cubicBezTo>
                  <a:pt x="640" y="512"/>
                  <a:pt x="640" y="512"/>
                  <a:pt x="640" y="512"/>
                </a:cubicBezTo>
                <a:cubicBezTo>
                  <a:pt x="640" y="640"/>
                  <a:pt x="640" y="640"/>
                  <a:pt x="640" y="640"/>
                </a:cubicBezTo>
                <a:cubicBezTo>
                  <a:pt x="0" y="640"/>
                  <a:pt x="0" y="640"/>
                  <a:pt x="0" y="640"/>
                </a:cubicBezTo>
                <a:cubicBezTo>
                  <a:pt x="0" y="1536"/>
                  <a:pt x="0" y="1536"/>
                  <a:pt x="0" y="1536"/>
                </a:cubicBezTo>
                <a:cubicBezTo>
                  <a:pt x="768" y="1536"/>
                  <a:pt x="768" y="1536"/>
                  <a:pt x="768" y="1536"/>
                </a:cubicBezTo>
                <a:cubicBezTo>
                  <a:pt x="768" y="512"/>
                  <a:pt x="768" y="512"/>
                  <a:pt x="768" y="512"/>
                </a:cubicBezTo>
                <a:cubicBezTo>
                  <a:pt x="768" y="371"/>
                  <a:pt x="653" y="256"/>
                  <a:pt x="512" y="25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2" name="Freeform 199">
            <a:extLst>
              <a:ext uri="{FF2B5EF4-FFF2-40B4-BE49-F238E27FC236}">
                <a16:creationId xmlns:a16="http://schemas.microsoft.com/office/drawing/2014/main" id="{DE3573AE-A48C-4AEA-8EA8-52815B63C489}"/>
              </a:ext>
            </a:extLst>
          </p:cNvPr>
          <p:cNvSpPr>
            <a:spLocks noEditPoints="1"/>
          </p:cNvSpPr>
          <p:nvPr/>
        </p:nvSpPr>
        <p:spPr bwMode="gray">
          <a:xfrm>
            <a:off x="8773691" y="5538294"/>
            <a:ext cx="222166" cy="534052"/>
          </a:xfrm>
          <a:custGeom>
            <a:avLst/>
            <a:gdLst>
              <a:gd name="T0" fmla="*/ 416 w 640"/>
              <a:gd name="T1" fmla="*/ 271 h 1536"/>
              <a:gd name="T2" fmla="*/ 416 w 640"/>
              <a:gd name="T3" fmla="*/ 192 h 1536"/>
              <a:gd name="T4" fmla="*/ 512 w 640"/>
              <a:gd name="T5" fmla="*/ 192 h 1536"/>
              <a:gd name="T6" fmla="*/ 512 w 640"/>
              <a:gd name="T7" fmla="*/ 0 h 1536"/>
              <a:gd name="T8" fmla="*/ 256 w 640"/>
              <a:gd name="T9" fmla="*/ 0 h 1536"/>
              <a:gd name="T10" fmla="*/ 128 w 640"/>
              <a:gd name="T11" fmla="*/ 128 h 1536"/>
              <a:gd name="T12" fmla="*/ 128 w 640"/>
              <a:gd name="T13" fmla="*/ 192 h 1536"/>
              <a:gd name="T14" fmla="*/ 224 w 640"/>
              <a:gd name="T15" fmla="*/ 192 h 1536"/>
              <a:gd name="T16" fmla="*/ 224 w 640"/>
              <a:gd name="T17" fmla="*/ 271 h 1536"/>
              <a:gd name="T18" fmla="*/ 0 w 640"/>
              <a:gd name="T19" fmla="*/ 576 h 1536"/>
              <a:gd name="T20" fmla="*/ 0 w 640"/>
              <a:gd name="T21" fmla="*/ 1216 h 1536"/>
              <a:gd name="T22" fmla="*/ 320 w 640"/>
              <a:gd name="T23" fmla="*/ 1536 h 1536"/>
              <a:gd name="T24" fmla="*/ 640 w 640"/>
              <a:gd name="T25" fmla="*/ 1216 h 1536"/>
              <a:gd name="T26" fmla="*/ 640 w 640"/>
              <a:gd name="T27" fmla="*/ 576 h 1536"/>
              <a:gd name="T28" fmla="*/ 416 w 640"/>
              <a:gd name="T29" fmla="*/ 271 h 1536"/>
              <a:gd name="T30" fmla="*/ 512 w 640"/>
              <a:gd name="T31" fmla="*/ 1280 h 1536"/>
              <a:gd name="T32" fmla="*/ 448 w 640"/>
              <a:gd name="T33" fmla="*/ 1280 h 1536"/>
              <a:gd name="T34" fmla="*/ 448 w 640"/>
              <a:gd name="T35" fmla="*/ 512 h 1536"/>
              <a:gd name="T36" fmla="*/ 512 w 640"/>
              <a:gd name="T37" fmla="*/ 512 h 1536"/>
              <a:gd name="T38" fmla="*/ 512 w 640"/>
              <a:gd name="T39" fmla="*/ 1280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0" h="1536">
                <a:moveTo>
                  <a:pt x="416" y="271"/>
                </a:moveTo>
                <a:cubicBezTo>
                  <a:pt x="416" y="192"/>
                  <a:pt x="416" y="192"/>
                  <a:pt x="416" y="192"/>
                </a:cubicBezTo>
                <a:cubicBezTo>
                  <a:pt x="512" y="192"/>
                  <a:pt x="512" y="192"/>
                  <a:pt x="512" y="192"/>
                </a:cubicBezTo>
                <a:cubicBezTo>
                  <a:pt x="512" y="0"/>
                  <a:pt x="512" y="0"/>
                  <a:pt x="512" y="0"/>
                </a:cubicBezTo>
                <a:cubicBezTo>
                  <a:pt x="256" y="0"/>
                  <a:pt x="256" y="0"/>
                  <a:pt x="256" y="0"/>
                </a:cubicBezTo>
                <a:cubicBezTo>
                  <a:pt x="185" y="0"/>
                  <a:pt x="128" y="57"/>
                  <a:pt x="128" y="128"/>
                </a:cubicBezTo>
                <a:cubicBezTo>
                  <a:pt x="128" y="192"/>
                  <a:pt x="128" y="192"/>
                  <a:pt x="128" y="192"/>
                </a:cubicBezTo>
                <a:cubicBezTo>
                  <a:pt x="224" y="192"/>
                  <a:pt x="224" y="192"/>
                  <a:pt x="224" y="192"/>
                </a:cubicBezTo>
                <a:cubicBezTo>
                  <a:pt x="224" y="271"/>
                  <a:pt x="224" y="271"/>
                  <a:pt x="224" y="271"/>
                </a:cubicBezTo>
                <a:cubicBezTo>
                  <a:pt x="91" y="313"/>
                  <a:pt x="0" y="436"/>
                  <a:pt x="0" y="576"/>
                </a:cubicBezTo>
                <a:cubicBezTo>
                  <a:pt x="0" y="1216"/>
                  <a:pt x="0" y="1216"/>
                  <a:pt x="0" y="1216"/>
                </a:cubicBezTo>
                <a:cubicBezTo>
                  <a:pt x="0" y="1393"/>
                  <a:pt x="143" y="1536"/>
                  <a:pt x="320" y="1536"/>
                </a:cubicBezTo>
                <a:cubicBezTo>
                  <a:pt x="497" y="1536"/>
                  <a:pt x="640" y="1393"/>
                  <a:pt x="640" y="1216"/>
                </a:cubicBezTo>
                <a:cubicBezTo>
                  <a:pt x="640" y="576"/>
                  <a:pt x="640" y="576"/>
                  <a:pt x="640" y="576"/>
                </a:cubicBezTo>
                <a:cubicBezTo>
                  <a:pt x="640" y="436"/>
                  <a:pt x="549" y="313"/>
                  <a:pt x="416" y="271"/>
                </a:cubicBezTo>
                <a:close/>
                <a:moveTo>
                  <a:pt x="512" y="1280"/>
                </a:moveTo>
                <a:cubicBezTo>
                  <a:pt x="448" y="1280"/>
                  <a:pt x="448" y="1280"/>
                  <a:pt x="448" y="1280"/>
                </a:cubicBezTo>
                <a:cubicBezTo>
                  <a:pt x="448" y="512"/>
                  <a:pt x="448" y="512"/>
                  <a:pt x="448" y="512"/>
                </a:cubicBezTo>
                <a:cubicBezTo>
                  <a:pt x="512" y="512"/>
                  <a:pt x="512" y="512"/>
                  <a:pt x="512" y="512"/>
                </a:cubicBezTo>
                <a:lnTo>
                  <a:pt x="512" y="128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3" name="Freeform 5">
            <a:extLst>
              <a:ext uri="{FF2B5EF4-FFF2-40B4-BE49-F238E27FC236}">
                <a16:creationId xmlns:a16="http://schemas.microsoft.com/office/drawing/2014/main" id="{E51A09E2-0B92-4B8F-8726-91A0D06BFEF3}"/>
              </a:ext>
            </a:extLst>
          </p:cNvPr>
          <p:cNvSpPr>
            <a:spLocks noEditPoints="1"/>
          </p:cNvSpPr>
          <p:nvPr/>
        </p:nvSpPr>
        <p:spPr bwMode="gray">
          <a:xfrm>
            <a:off x="10962215" y="4308915"/>
            <a:ext cx="298450" cy="628650"/>
          </a:xfrm>
          <a:custGeom>
            <a:avLst/>
            <a:gdLst>
              <a:gd name="T0" fmla="*/ 4 w 88"/>
              <a:gd name="T1" fmla="*/ 50 h 188"/>
              <a:gd name="T2" fmla="*/ 8 w 88"/>
              <a:gd name="T3" fmla="*/ 48 h 188"/>
              <a:gd name="T4" fmla="*/ 16 w 88"/>
              <a:gd name="T5" fmla="*/ 52 h 188"/>
              <a:gd name="T6" fmla="*/ 28 w 88"/>
              <a:gd name="T7" fmla="*/ 86 h 188"/>
              <a:gd name="T8" fmla="*/ 28 w 88"/>
              <a:gd name="T9" fmla="*/ 12 h 188"/>
              <a:gd name="T10" fmla="*/ 32 w 88"/>
              <a:gd name="T11" fmla="*/ 8 h 188"/>
              <a:gd name="T12" fmla="*/ 36 w 88"/>
              <a:gd name="T13" fmla="*/ 8 h 188"/>
              <a:gd name="T14" fmla="*/ 40 w 88"/>
              <a:gd name="T15" fmla="*/ 12 h 188"/>
              <a:gd name="T16" fmla="*/ 40 w 88"/>
              <a:gd name="T17" fmla="*/ 80 h 188"/>
              <a:gd name="T18" fmla="*/ 44 w 88"/>
              <a:gd name="T19" fmla="*/ 80 h 188"/>
              <a:gd name="T20" fmla="*/ 44 w 88"/>
              <a:gd name="T21" fmla="*/ 4 h 188"/>
              <a:gd name="T22" fmla="*/ 48 w 88"/>
              <a:gd name="T23" fmla="*/ 0 h 188"/>
              <a:gd name="T24" fmla="*/ 52 w 88"/>
              <a:gd name="T25" fmla="*/ 0 h 188"/>
              <a:gd name="T26" fmla="*/ 56 w 88"/>
              <a:gd name="T27" fmla="*/ 4 h 188"/>
              <a:gd name="T28" fmla="*/ 56 w 88"/>
              <a:gd name="T29" fmla="*/ 80 h 188"/>
              <a:gd name="T30" fmla="*/ 60 w 88"/>
              <a:gd name="T31" fmla="*/ 80 h 188"/>
              <a:gd name="T32" fmla="*/ 60 w 88"/>
              <a:gd name="T33" fmla="*/ 12 h 188"/>
              <a:gd name="T34" fmla="*/ 64 w 88"/>
              <a:gd name="T35" fmla="*/ 8 h 188"/>
              <a:gd name="T36" fmla="*/ 68 w 88"/>
              <a:gd name="T37" fmla="*/ 8 h 188"/>
              <a:gd name="T38" fmla="*/ 72 w 88"/>
              <a:gd name="T39" fmla="*/ 12 h 188"/>
              <a:gd name="T40" fmla="*/ 72 w 88"/>
              <a:gd name="T41" fmla="*/ 80 h 188"/>
              <a:gd name="T42" fmla="*/ 76 w 88"/>
              <a:gd name="T43" fmla="*/ 80 h 188"/>
              <a:gd name="T44" fmla="*/ 76 w 88"/>
              <a:gd name="T45" fmla="*/ 24 h 188"/>
              <a:gd name="T46" fmla="*/ 80 w 88"/>
              <a:gd name="T47" fmla="*/ 20 h 188"/>
              <a:gd name="T48" fmla="*/ 84 w 88"/>
              <a:gd name="T49" fmla="*/ 20 h 188"/>
              <a:gd name="T50" fmla="*/ 88 w 88"/>
              <a:gd name="T51" fmla="*/ 24 h 188"/>
              <a:gd name="T52" fmla="*/ 88 w 88"/>
              <a:gd name="T53" fmla="*/ 96 h 188"/>
              <a:gd name="T54" fmla="*/ 84 w 88"/>
              <a:gd name="T55" fmla="*/ 144 h 188"/>
              <a:gd name="T56" fmla="*/ 32 w 88"/>
              <a:gd name="T57" fmla="*/ 144 h 188"/>
              <a:gd name="T58" fmla="*/ 0 w 88"/>
              <a:gd name="T59" fmla="*/ 56 h 188"/>
              <a:gd name="T60" fmla="*/ 4 w 88"/>
              <a:gd name="T61" fmla="*/ 50 h 188"/>
              <a:gd name="T62" fmla="*/ 40 w 88"/>
              <a:gd name="T63" fmla="*/ 181 h 188"/>
              <a:gd name="T64" fmla="*/ 46 w 88"/>
              <a:gd name="T65" fmla="*/ 188 h 188"/>
              <a:gd name="T66" fmla="*/ 76 w 88"/>
              <a:gd name="T67" fmla="*/ 188 h 188"/>
              <a:gd name="T68" fmla="*/ 82 w 88"/>
              <a:gd name="T69" fmla="*/ 180 h 188"/>
              <a:gd name="T70" fmla="*/ 84 w 88"/>
              <a:gd name="T71" fmla="*/ 156 h 188"/>
              <a:gd name="T72" fmla="*/ 36 w 88"/>
              <a:gd name="T73" fmla="*/ 156 h 188"/>
              <a:gd name="T74" fmla="*/ 40 w 88"/>
              <a:gd name="T75" fmla="*/ 18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188">
                <a:moveTo>
                  <a:pt x="4" y="50"/>
                </a:moveTo>
                <a:cubicBezTo>
                  <a:pt x="8" y="48"/>
                  <a:pt x="8" y="48"/>
                  <a:pt x="8" y="48"/>
                </a:cubicBezTo>
                <a:cubicBezTo>
                  <a:pt x="11" y="47"/>
                  <a:pt x="14" y="49"/>
                  <a:pt x="16" y="52"/>
                </a:cubicBezTo>
                <a:cubicBezTo>
                  <a:pt x="28" y="86"/>
                  <a:pt x="28" y="86"/>
                  <a:pt x="28" y="86"/>
                </a:cubicBezTo>
                <a:cubicBezTo>
                  <a:pt x="28" y="12"/>
                  <a:pt x="28" y="12"/>
                  <a:pt x="28" y="12"/>
                </a:cubicBezTo>
                <a:cubicBezTo>
                  <a:pt x="28" y="10"/>
                  <a:pt x="30" y="8"/>
                  <a:pt x="32" y="8"/>
                </a:cubicBezTo>
                <a:cubicBezTo>
                  <a:pt x="36" y="8"/>
                  <a:pt x="36" y="8"/>
                  <a:pt x="36" y="8"/>
                </a:cubicBezTo>
                <a:cubicBezTo>
                  <a:pt x="38" y="8"/>
                  <a:pt x="40" y="10"/>
                  <a:pt x="40" y="12"/>
                </a:cubicBezTo>
                <a:cubicBezTo>
                  <a:pt x="40" y="80"/>
                  <a:pt x="40" y="80"/>
                  <a:pt x="40" y="80"/>
                </a:cubicBezTo>
                <a:cubicBezTo>
                  <a:pt x="44" y="80"/>
                  <a:pt x="44" y="80"/>
                  <a:pt x="44" y="80"/>
                </a:cubicBezTo>
                <a:cubicBezTo>
                  <a:pt x="44" y="4"/>
                  <a:pt x="44" y="4"/>
                  <a:pt x="44" y="4"/>
                </a:cubicBezTo>
                <a:cubicBezTo>
                  <a:pt x="44" y="2"/>
                  <a:pt x="46" y="0"/>
                  <a:pt x="48" y="0"/>
                </a:cubicBezTo>
                <a:cubicBezTo>
                  <a:pt x="52" y="0"/>
                  <a:pt x="52" y="0"/>
                  <a:pt x="52" y="0"/>
                </a:cubicBezTo>
                <a:cubicBezTo>
                  <a:pt x="54" y="0"/>
                  <a:pt x="56" y="2"/>
                  <a:pt x="56" y="4"/>
                </a:cubicBezTo>
                <a:cubicBezTo>
                  <a:pt x="56" y="80"/>
                  <a:pt x="56" y="80"/>
                  <a:pt x="56" y="80"/>
                </a:cubicBezTo>
                <a:cubicBezTo>
                  <a:pt x="60" y="80"/>
                  <a:pt x="60" y="80"/>
                  <a:pt x="60" y="80"/>
                </a:cubicBezTo>
                <a:cubicBezTo>
                  <a:pt x="60" y="12"/>
                  <a:pt x="60" y="12"/>
                  <a:pt x="60" y="12"/>
                </a:cubicBezTo>
                <a:cubicBezTo>
                  <a:pt x="60" y="10"/>
                  <a:pt x="62" y="8"/>
                  <a:pt x="64" y="8"/>
                </a:cubicBezTo>
                <a:cubicBezTo>
                  <a:pt x="68" y="8"/>
                  <a:pt x="68" y="8"/>
                  <a:pt x="68" y="8"/>
                </a:cubicBezTo>
                <a:cubicBezTo>
                  <a:pt x="70" y="8"/>
                  <a:pt x="72" y="10"/>
                  <a:pt x="72" y="12"/>
                </a:cubicBezTo>
                <a:cubicBezTo>
                  <a:pt x="72" y="80"/>
                  <a:pt x="72" y="80"/>
                  <a:pt x="72" y="80"/>
                </a:cubicBezTo>
                <a:cubicBezTo>
                  <a:pt x="76" y="80"/>
                  <a:pt x="76" y="80"/>
                  <a:pt x="76" y="80"/>
                </a:cubicBezTo>
                <a:cubicBezTo>
                  <a:pt x="76" y="24"/>
                  <a:pt x="76" y="24"/>
                  <a:pt x="76" y="24"/>
                </a:cubicBezTo>
                <a:cubicBezTo>
                  <a:pt x="76" y="22"/>
                  <a:pt x="78" y="20"/>
                  <a:pt x="80" y="20"/>
                </a:cubicBezTo>
                <a:cubicBezTo>
                  <a:pt x="84" y="20"/>
                  <a:pt x="84" y="20"/>
                  <a:pt x="84" y="20"/>
                </a:cubicBezTo>
                <a:cubicBezTo>
                  <a:pt x="86" y="20"/>
                  <a:pt x="88" y="22"/>
                  <a:pt x="88" y="24"/>
                </a:cubicBezTo>
                <a:cubicBezTo>
                  <a:pt x="88" y="96"/>
                  <a:pt x="88" y="96"/>
                  <a:pt x="88" y="96"/>
                </a:cubicBezTo>
                <a:cubicBezTo>
                  <a:pt x="84" y="144"/>
                  <a:pt x="84" y="144"/>
                  <a:pt x="84" y="144"/>
                </a:cubicBezTo>
                <a:cubicBezTo>
                  <a:pt x="32" y="144"/>
                  <a:pt x="32" y="144"/>
                  <a:pt x="32" y="144"/>
                </a:cubicBezTo>
                <a:cubicBezTo>
                  <a:pt x="0" y="56"/>
                  <a:pt x="0" y="56"/>
                  <a:pt x="0" y="56"/>
                </a:cubicBezTo>
                <a:cubicBezTo>
                  <a:pt x="0" y="53"/>
                  <a:pt x="2" y="51"/>
                  <a:pt x="4" y="50"/>
                </a:cubicBezTo>
                <a:close/>
                <a:moveTo>
                  <a:pt x="40" y="181"/>
                </a:moveTo>
                <a:cubicBezTo>
                  <a:pt x="41" y="185"/>
                  <a:pt x="43" y="188"/>
                  <a:pt x="46" y="188"/>
                </a:cubicBezTo>
                <a:cubicBezTo>
                  <a:pt x="76" y="188"/>
                  <a:pt x="76" y="188"/>
                  <a:pt x="76" y="188"/>
                </a:cubicBezTo>
                <a:cubicBezTo>
                  <a:pt x="79" y="188"/>
                  <a:pt x="81" y="185"/>
                  <a:pt x="82" y="180"/>
                </a:cubicBezTo>
                <a:cubicBezTo>
                  <a:pt x="84" y="156"/>
                  <a:pt x="84" y="156"/>
                  <a:pt x="84" y="156"/>
                </a:cubicBezTo>
                <a:cubicBezTo>
                  <a:pt x="36" y="156"/>
                  <a:pt x="36" y="156"/>
                  <a:pt x="36" y="156"/>
                </a:cubicBezTo>
                <a:lnTo>
                  <a:pt x="40" y="18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4" name="Freeform 24">
            <a:extLst>
              <a:ext uri="{FF2B5EF4-FFF2-40B4-BE49-F238E27FC236}">
                <a16:creationId xmlns:a16="http://schemas.microsoft.com/office/drawing/2014/main" id="{55B8AE7B-1E85-4CBB-9C21-E9072D2EBAFB}"/>
              </a:ext>
            </a:extLst>
          </p:cNvPr>
          <p:cNvSpPr>
            <a:spLocks noEditPoints="1"/>
          </p:cNvSpPr>
          <p:nvPr/>
        </p:nvSpPr>
        <p:spPr bwMode="gray">
          <a:xfrm>
            <a:off x="3160190" y="4325112"/>
            <a:ext cx="315840" cy="596256"/>
          </a:xfrm>
          <a:custGeom>
            <a:avLst/>
            <a:gdLst>
              <a:gd name="T0" fmla="*/ 56 w 100"/>
              <a:gd name="T1" fmla="*/ 0 h 192"/>
              <a:gd name="T2" fmla="*/ 100 w 100"/>
              <a:gd name="T3" fmla="*/ 0 h 192"/>
              <a:gd name="T4" fmla="*/ 100 w 100"/>
              <a:gd name="T5" fmla="*/ 8 h 192"/>
              <a:gd name="T6" fmla="*/ 72 w 100"/>
              <a:gd name="T7" fmla="*/ 11 h 192"/>
              <a:gd name="T8" fmla="*/ 72 w 100"/>
              <a:gd name="T9" fmla="*/ 17 h 192"/>
              <a:gd name="T10" fmla="*/ 100 w 100"/>
              <a:gd name="T11" fmla="*/ 20 h 192"/>
              <a:gd name="T12" fmla="*/ 100 w 100"/>
              <a:gd name="T13" fmla="*/ 28 h 192"/>
              <a:gd name="T14" fmla="*/ 72 w 100"/>
              <a:gd name="T15" fmla="*/ 28 h 192"/>
              <a:gd name="T16" fmla="*/ 72 w 100"/>
              <a:gd name="T17" fmla="*/ 32 h 192"/>
              <a:gd name="T18" fmla="*/ 80 w 100"/>
              <a:gd name="T19" fmla="*/ 32 h 192"/>
              <a:gd name="T20" fmla="*/ 96 w 100"/>
              <a:gd name="T21" fmla="*/ 48 h 192"/>
              <a:gd name="T22" fmla="*/ 96 w 100"/>
              <a:gd name="T23" fmla="*/ 176 h 192"/>
              <a:gd name="T24" fmla="*/ 80 w 100"/>
              <a:gd name="T25" fmla="*/ 192 h 192"/>
              <a:gd name="T26" fmla="*/ 32 w 100"/>
              <a:gd name="T27" fmla="*/ 192 h 192"/>
              <a:gd name="T28" fmla="*/ 32 w 100"/>
              <a:gd name="T29" fmla="*/ 48 h 192"/>
              <a:gd name="T30" fmla="*/ 48 w 100"/>
              <a:gd name="T31" fmla="*/ 32 h 192"/>
              <a:gd name="T32" fmla="*/ 56 w 100"/>
              <a:gd name="T33" fmla="*/ 32 h 192"/>
              <a:gd name="T34" fmla="*/ 56 w 100"/>
              <a:gd name="T35" fmla="*/ 0 h 192"/>
              <a:gd name="T36" fmla="*/ 32 w 100"/>
              <a:gd name="T37" fmla="*/ 12 h 192"/>
              <a:gd name="T38" fmla="*/ 8 w 100"/>
              <a:gd name="T39" fmla="*/ 36 h 192"/>
              <a:gd name="T40" fmla="*/ 8 w 100"/>
              <a:gd name="T41" fmla="*/ 84 h 192"/>
              <a:gd name="T42" fmla="*/ 16 w 100"/>
              <a:gd name="T43" fmla="*/ 84 h 192"/>
              <a:gd name="T44" fmla="*/ 16 w 100"/>
              <a:gd name="T45" fmla="*/ 36 h 192"/>
              <a:gd name="T46" fmla="*/ 32 w 100"/>
              <a:gd name="T47" fmla="*/ 20 h 192"/>
              <a:gd name="T48" fmla="*/ 48 w 100"/>
              <a:gd name="T49" fmla="*/ 20 h 192"/>
              <a:gd name="T50" fmla="*/ 48 w 100"/>
              <a:gd name="T51" fmla="*/ 12 h 192"/>
              <a:gd name="T52" fmla="*/ 32 w 100"/>
              <a:gd name="T53" fmla="*/ 12 h 192"/>
              <a:gd name="T54" fmla="*/ 18 w 100"/>
              <a:gd name="T55" fmla="*/ 92 h 192"/>
              <a:gd name="T56" fmla="*/ 6 w 100"/>
              <a:gd name="T57" fmla="*/ 92 h 192"/>
              <a:gd name="T58" fmla="*/ 0 w 100"/>
              <a:gd name="T59" fmla="*/ 120 h 192"/>
              <a:gd name="T60" fmla="*/ 0 w 100"/>
              <a:gd name="T61" fmla="*/ 136 h 192"/>
              <a:gd name="T62" fmla="*/ 24 w 100"/>
              <a:gd name="T63" fmla="*/ 136 h 192"/>
              <a:gd name="T64" fmla="*/ 24 w 100"/>
              <a:gd name="T65" fmla="*/ 120 h 192"/>
              <a:gd name="T66" fmla="*/ 18 w 100"/>
              <a:gd name="T67" fmla="*/ 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 h="192">
                <a:moveTo>
                  <a:pt x="56" y="0"/>
                </a:moveTo>
                <a:cubicBezTo>
                  <a:pt x="100" y="0"/>
                  <a:pt x="100" y="0"/>
                  <a:pt x="100" y="0"/>
                </a:cubicBezTo>
                <a:cubicBezTo>
                  <a:pt x="100" y="8"/>
                  <a:pt x="100" y="8"/>
                  <a:pt x="100" y="8"/>
                </a:cubicBezTo>
                <a:cubicBezTo>
                  <a:pt x="72" y="11"/>
                  <a:pt x="72" y="11"/>
                  <a:pt x="72" y="11"/>
                </a:cubicBezTo>
                <a:cubicBezTo>
                  <a:pt x="72" y="17"/>
                  <a:pt x="72" y="17"/>
                  <a:pt x="72" y="17"/>
                </a:cubicBezTo>
                <a:cubicBezTo>
                  <a:pt x="100" y="20"/>
                  <a:pt x="100" y="20"/>
                  <a:pt x="100" y="20"/>
                </a:cubicBezTo>
                <a:cubicBezTo>
                  <a:pt x="100" y="28"/>
                  <a:pt x="100" y="28"/>
                  <a:pt x="100" y="28"/>
                </a:cubicBezTo>
                <a:cubicBezTo>
                  <a:pt x="72" y="28"/>
                  <a:pt x="72" y="28"/>
                  <a:pt x="72" y="28"/>
                </a:cubicBezTo>
                <a:cubicBezTo>
                  <a:pt x="72" y="32"/>
                  <a:pt x="72" y="32"/>
                  <a:pt x="72" y="32"/>
                </a:cubicBezTo>
                <a:cubicBezTo>
                  <a:pt x="80" y="32"/>
                  <a:pt x="80" y="32"/>
                  <a:pt x="80" y="32"/>
                </a:cubicBezTo>
                <a:cubicBezTo>
                  <a:pt x="89" y="32"/>
                  <a:pt x="96" y="39"/>
                  <a:pt x="96" y="48"/>
                </a:cubicBezTo>
                <a:cubicBezTo>
                  <a:pt x="96" y="176"/>
                  <a:pt x="96" y="176"/>
                  <a:pt x="96" y="176"/>
                </a:cubicBezTo>
                <a:cubicBezTo>
                  <a:pt x="96" y="185"/>
                  <a:pt x="89" y="192"/>
                  <a:pt x="80" y="192"/>
                </a:cubicBezTo>
                <a:cubicBezTo>
                  <a:pt x="32" y="192"/>
                  <a:pt x="32" y="192"/>
                  <a:pt x="32" y="192"/>
                </a:cubicBezTo>
                <a:cubicBezTo>
                  <a:pt x="32" y="48"/>
                  <a:pt x="32" y="48"/>
                  <a:pt x="32" y="48"/>
                </a:cubicBezTo>
                <a:cubicBezTo>
                  <a:pt x="32" y="39"/>
                  <a:pt x="39" y="32"/>
                  <a:pt x="48" y="32"/>
                </a:cubicBezTo>
                <a:cubicBezTo>
                  <a:pt x="56" y="32"/>
                  <a:pt x="56" y="32"/>
                  <a:pt x="56" y="32"/>
                </a:cubicBezTo>
                <a:lnTo>
                  <a:pt x="56" y="0"/>
                </a:lnTo>
                <a:close/>
                <a:moveTo>
                  <a:pt x="32" y="12"/>
                </a:moveTo>
                <a:cubicBezTo>
                  <a:pt x="19" y="12"/>
                  <a:pt x="8" y="23"/>
                  <a:pt x="8" y="36"/>
                </a:cubicBezTo>
                <a:cubicBezTo>
                  <a:pt x="8" y="84"/>
                  <a:pt x="8" y="84"/>
                  <a:pt x="8" y="84"/>
                </a:cubicBezTo>
                <a:cubicBezTo>
                  <a:pt x="16" y="84"/>
                  <a:pt x="16" y="84"/>
                  <a:pt x="16" y="84"/>
                </a:cubicBezTo>
                <a:cubicBezTo>
                  <a:pt x="16" y="36"/>
                  <a:pt x="16" y="36"/>
                  <a:pt x="16" y="36"/>
                </a:cubicBezTo>
                <a:cubicBezTo>
                  <a:pt x="16" y="27"/>
                  <a:pt x="23" y="20"/>
                  <a:pt x="32" y="20"/>
                </a:cubicBezTo>
                <a:cubicBezTo>
                  <a:pt x="48" y="20"/>
                  <a:pt x="48" y="20"/>
                  <a:pt x="48" y="20"/>
                </a:cubicBezTo>
                <a:cubicBezTo>
                  <a:pt x="48" y="12"/>
                  <a:pt x="48" y="12"/>
                  <a:pt x="48" y="12"/>
                </a:cubicBezTo>
                <a:lnTo>
                  <a:pt x="32" y="12"/>
                </a:lnTo>
                <a:close/>
                <a:moveTo>
                  <a:pt x="18" y="92"/>
                </a:moveTo>
                <a:cubicBezTo>
                  <a:pt x="6" y="92"/>
                  <a:pt x="6" y="92"/>
                  <a:pt x="6" y="92"/>
                </a:cubicBezTo>
                <a:cubicBezTo>
                  <a:pt x="0" y="120"/>
                  <a:pt x="0" y="120"/>
                  <a:pt x="0" y="120"/>
                </a:cubicBezTo>
                <a:cubicBezTo>
                  <a:pt x="0" y="136"/>
                  <a:pt x="0" y="136"/>
                  <a:pt x="0" y="136"/>
                </a:cubicBezTo>
                <a:cubicBezTo>
                  <a:pt x="24" y="136"/>
                  <a:pt x="24" y="136"/>
                  <a:pt x="24" y="136"/>
                </a:cubicBezTo>
                <a:cubicBezTo>
                  <a:pt x="24" y="120"/>
                  <a:pt x="24" y="120"/>
                  <a:pt x="24" y="120"/>
                </a:cubicBezTo>
                <a:lnTo>
                  <a:pt x="18" y="9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5" name="Freeform 28">
            <a:extLst>
              <a:ext uri="{FF2B5EF4-FFF2-40B4-BE49-F238E27FC236}">
                <a16:creationId xmlns:a16="http://schemas.microsoft.com/office/drawing/2014/main" id="{F3FBE4C6-DC1E-4FCB-9E4D-F9D6E2A9D9BE}"/>
              </a:ext>
            </a:extLst>
          </p:cNvPr>
          <p:cNvSpPr>
            <a:spLocks noEditPoints="1"/>
          </p:cNvSpPr>
          <p:nvPr/>
        </p:nvSpPr>
        <p:spPr bwMode="gray">
          <a:xfrm>
            <a:off x="4226876" y="4313383"/>
            <a:ext cx="409132" cy="619714"/>
          </a:xfrm>
          <a:custGeom>
            <a:avLst/>
            <a:gdLst>
              <a:gd name="T0" fmla="*/ 96 w 128"/>
              <a:gd name="T1" fmla="*/ 172 h 196"/>
              <a:gd name="T2" fmla="*/ 32 w 128"/>
              <a:gd name="T3" fmla="*/ 172 h 196"/>
              <a:gd name="T4" fmla="*/ 32 w 128"/>
              <a:gd name="T5" fmla="*/ 36 h 196"/>
              <a:gd name="T6" fmla="*/ 96 w 128"/>
              <a:gd name="T7" fmla="*/ 36 h 196"/>
              <a:gd name="T8" fmla="*/ 96 w 128"/>
              <a:gd name="T9" fmla="*/ 172 h 196"/>
              <a:gd name="T10" fmla="*/ 24 w 128"/>
              <a:gd name="T11" fmla="*/ 56 h 196"/>
              <a:gd name="T12" fmla="*/ 0 w 128"/>
              <a:gd name="T13" fmla="*/ 56 h 196"/>
              <a:gd name="T14" fmla="*/ 0 w 128"/>
              <a:gd name="T15" fmla="*/ 88 h 196"/>
              <a:gd name="T16" fmla="*/ 16 w 128"/>
              <a:gd name="T17" fmla="*/ 104 h 196"/>
              <a:gd name="T18" fmla="*/ 24 w 128"/>
              <a:gd name="T19" fmla="*/ 104 h 196"/>
              <a:gd name="T20" fmla="*/ 24 w 128"/>
              <a:gd name="T21" fmla="*/ 56 h 196"/>
              <a:gd name="T22" fmla="*/ 104 w 128"/>
              <a:gd name="T23" fmla="*/ 104 h 196"/>
              <a:gd name="T24" fmla="*/ 112 w 128"/>
              <a:gd name="T25" fmla="*/ 104 h 196"/>
              <a:gd name="T26" fmla="*/ 128 w 128"/>
              <a:gd name="T27" fmla="*/ 88 h 196"/>
              <a:gd name="T28" fmla="*/ 128 w 128"/>
              <a:gd name="T29" fmla="*/ 56 h 196"/>
              <a:gd name="T30" fmla="*/ 104 w 128"/>
              <a:gd name="T31" fmla="*/ 56 h 196"/>
              <a:gd name="T32" fmla="*/ 104 w 128"/>
              <a:gd name="T33" fmla="*/ 104 h 196"/>
              <a:gd name="T34" fmla="*/ 128 w 128"/>
              <a:gd name="T35" fmla="*/ 180 h 196"/>
              <a:gd name="T36" fmla="*/ 0 w 128"/>
              <a:gd name="T37" fmla="*/ 180 h 196"/>
              <a:gd name="T38" fmla="*/ 0 w 128"/>
              <a:gd name="T39" fmla="*/ 196 h 196"/>
              <a:gd name="T40" fmla="*/ 128 w 128"/>
              <a:gd name="T41" fmla="*/ 196 h 196"/>
              <a:gd name="T42" fmla="*/ 128 w 128"/>
              <a:gd name="T43" fmla="*/ 180 h 196"/>
              <a:gd name="T44" fmla="*/ 80 w 128"/>
              <a:gd name="T45" fmla="*/ 80 h 196"/>
              <a:gd name="T46" fmla="*/ 64 w 128"/>
              <a:gd name="T47" fmla="*/ 64 h 196"/>
              <a:gd name="T48" fmla="*/ 48 w 128"/>
              <a:gd name="T49" fmla="*/ 80 h 196"/>
              <a:gd name="T50" fmla="*/ 64 w 128"/>
              <a:gd name="T51" fmla="*/ 96 h 196"/>
              <a:gd name="T52" fmla="*/ 80 w 128"/>
              <a:gd name="T53" fmla="*/ 80 h 196"/>
              <a:gd name="T54" fmla="*/ 96 w 128"/>
              <a:gd name="T55" fmla="*/ 0 h 196"/>
              <a:gd name="T56" fmla="*/ 60 w 128"/>
              <a:gd name="T57" fmla="*/ 0 h 196"/>
              <a:gd name="T58" fmla="*/ 32 w 128"/>
              <a:gd name="T59" fmla="*/ 28 h 196"/>
              <a:gd name="T60" fmla="*/ 96 w 128"/>
              <a:gd name="T61" fmla="*/ 28 h 196"/>
              <a:gd name="T62" fmla="*/ 96 w 128"/>
              <a:gd name="T63"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8" h="196">
                <a:moveTo>
                  <a:pt x="96" y="172"/>
                </a:moveTo>
                <a:cubicBezTo>
                  <a:pt x="32" y="172"/>
                  <a:pt x="32" y="172"/>
                  <a:pt x="32" y="172"/>
                </a:cubicBezTo>
                <a:cubicBezTo>
                  <a:pt x="32" y="36"/>
                  <a:pt x="32" y="36"/>
                  <a:pt x="32" y="36"/>
                </a:cubicBezTo>
                <a:cubicBezTo>
                  <a:pt x="96" y="36"/>
                  <a:pt x="96" y="36"/>
                  <a:pt x="96" y="36"/>
                </a:cubicBezTo>
                <a:lnTo>
                  <a:pt x="96" y="172"/>
                </a:lnTo>
                <a:close/>
                <a:moveTo>
                  <a:pt x="24" y="56"/>
                </a:moveTo>
                <a:cubicBezTo>
                  <a:pt x="0" y="56"/>
                  <a:pt x="0" y="56"/>
                  <a:pt x="0" y="56"/>
                </a:cubicBezTo>
                <a:cubicBezTo>
                  <a:pt x="0" y="88"/>
                  <a:pt x="0" y="88"/>
                  <a:pt x="0" y="88"/>
                </a:cubicBezTo>
                <a:cubicBezTo>
                  <a:pt x="0" y="97"/>
                  <a:pt x="7" y="104"/>
                  <a:pt x="16" y="104"/>
                </a:cubicBezTo>
                <a:cubicBezTo>
                  <a:pt x="24" y="104"/>
                  <a:pt x="24" y="104"/>
                  <a:pt x="24" y="104"/>
                </a:cubicBezTo>
                <a:lnTo>
                  <a:pt x="24" y="56"/>
                </a:lnTo>
                <a:close/>
                <a:moveTo>
                  <a:pt x="104" y="104"/>
                </a:moveTo>
                <a:cubicBezTo>
                  <a:pt x="112" y="104"/>
                  <a:pt x="112" y="104"/>
                  <a:pt x="112" y="104"/>
                </a:cubicBezTo>
                <a:cubicBezTo>
                  <a:pt x="121" y="104"/>
                  <a:pt x="128" y="97"/>
                  <a:pt x="128" y="88"/>
                </a:cubicBezTo>
                <a:cubicBezTo>
                  <a:pt x="128" y="56"/>
                  <a:pt x="128" y="56"/>
                  <a:pt x="128" y="56"/>
                </a:cubicBezTo>
                <a:cubicBezTo>
                  <a:pt x="104" y="56"/>
                  <a:pt x="104" y="56"/>
                  <a:pt x="104" y="56"/>
                </a:cubicBezTo>
                <a:lnTo>
                  <a:pt x="104" y="104"/>
                </a:lnTo>
                <a:close/>
                <a:moveTo>
                  <a:pt x="128" y="180"/>
                </a:moveTo>
                <a:cubicBezTo>
                  <a:pt x="0" y="180"/>
                  <a:pt x="0" y="180"/>
                  <a:pt x="0" y="180"/>
                </a:cubicBezTo>
                <a:cubicBezTo>
                  <a:pt x="0" y="196"/>
                  <a:pt x="0" y="196"/>
                  <a:pt x="0" y="196"/>
                </a:cubicBezTo>
                <a:cubicBezTo>
                  <a:pt x="128" y="196"/>
                  <a:pt x="128" y="196"/>
                  <a:pt x="128" y="196"/>
                </a:cubicBezTo>
                <a:lnTo>
                  <a:pt x="128" y="180"/>
                </a:lnTo>
                <a:close/>
                <a:moveTo>
                  <a:pt x="80" y="80"/>
                </a:moveTo>
                <a:cubicBezTo>
                  <a:pt x="80" y="71"/>
                  <a:pt x="73" y="64"/>
                  <a:pt x="64" y="64"/>
                </a:cubicBezTo>
                <a:cubicBezTo>
                  <a:pt x="55" y="64"/>
                  <a:pt x="48" y="71"/>
                  <a:pt x="48" y="80"/>
                </a:cubicBezTo>
                <a:cubicBezTo>
                  <a:pt x="48" y="89"/>
                  <a:pt x="55" y="96"/>
                  <a:pt x="64" y="96"/>
                </a:cubicBezTo>
                <a:cubicBezTo>
                  <a:pt x="73" y="96"/>
                  <a:pt x="80" y="89"/>
                  <a:pt x="80" y="80"/>
                </a:cubicBezTo>
                <a:close/>
                <a:moveTo>
                  <a:pt x="96" y="0"/>
                </a:moveTo>
                <a:cubicBezTo>
                  <a:pt x="60" y="0"/>
                  <a:pt x="60" y="0"/>
                  <a:pt x="60" y="0"/>
                </a:cubicBezTo>
                <a:cubicBezTo>
                  <a:pt x="45" y="0"/>
                  <a:pt x="32" y="13"/>
                  <a:pt x="32" y="28"/>
                </a:cubicBezTo>
                <a:cubicBezTo>
                  <a:pt x="96" y="28"/>
                  <a:pt x="96" y="28"/>
                  <a:pt x="96" y="28"/>
                </a:cubicBezTo>
                <a:lnTo>
                  <a:pt x="96"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6" name="Freeform 32">
            <a:extLst>
              <a:ext uri="{FF2B5EF4-FFF2-40B4-BE49-F238E27FC236}">
                <a16:creationId xmlns:a16="http://schemas.microsoft.com/office/drawing/2014/main" id="{D8E2ECE4-D322-446A-B96A-1AD7FA84323A}"/>
              </a:ext>
            </a:extLst>
          </p:cNvPr>
          <p:cNvSpPr>
            <a:spLocks noEditPoints="1"/>
          </p:cNvSpPr>
          <p:nvPr/>
        </p:nvSpPr>
        <p:spPr bwMode="gray">
          <a:xfrm>
            <a:off x="5282508" y="4315968"/>
            <a:ext cx="524536" cy="614544"/>
          </a:xfrm>
          <a:custGeom>
            <a:avLst/>
            <a:gdLst>
              <a:gd name="T0" fmla="*/ 96 w 160"/>
              <a:gd name="T1" fmla="*/ 172 h 188"/>
              <a:gd name="T2" fmla="*/ 80 w 160"/>
              <a:gd name="T3" fmla="*/ 188 h 188"/>
              <a:gd name="T4" fmla="*/ 64 w 160"/>
              <a:gd name="T5" fmla="*/ 172 h 188"/>
              <a:gd name="T6" fmla="*/ 80 w 160"/>
              <a:gd name="T7" fmla="*/ 132 h 188"/>
              <a:gd name="T8" fmla="*/ 96 w 160"/>
              <a:gd name="T9" fmla="*/ 172 h 188"/>
              <a:gd name="T10" fmla="*/ 48 w 160"/>
              <a:gd name="T11" fmla="*/ 132 h 188"/>
              <a:gd name="T12" fmla="*/ 8 w 160"/>
              <a:gd name="T13" fmla="*/ 149 h 188"/>
              <a:gd name="T14" fmla="*/ 8 w 160"/>
              <a:gd name="T15" fmla="*/ 172 h 188"/>
              <a:gd name="T16" fmla="*/ 31 w 160"/>
              <a:gd name="T17" fmla="*/ 172 h 188"/>
              <a:gd name="T18" fmla="*/ 48 w 160"/>
              <a:gd name="T19" fmla="*/ 132 h 188"/>
              <a:gd name="T20" fmla="*/ 112 w 160"/>
              <a:gd name="T21" fmla="*/ 132 h 188"/>
              <a:gd name="T22" fmla="*/ 129 w 160"/>
              <a:gd name="T23" fmla="*/ 172 h 188"/>
              <a:gd name="T24" fmla="*/ 152 w 160"/>
              <a:gd name="T25" fmla="*/ 174 h 188"/>
              <a:gd name="T26" fmla="*/ 154 w 160"/>
              <a:gd name="T27" fmla="*/ 151 h 188"/>
              <a:gd name="T28" fmla="*/ 152 w 160"/>
              <a:gd name="T29" fmla="*/ 149 h 188"/>
              <a:gd name="T30" fmla="*/ 112 w 160"/>
              <a:gd name="T31" fmla="*/ 132 h 188"/>
              <a:gd name="T32" fmla="*/ 160 w 160"/>
              <a:gd name="T33" fmla="*/ 0 h 188"/>
              <a:gd name="T34" fmla="*/ 160 w 160"/>
              <a:gd name="T35" fmla="*/ 16 h 188"/>
              <a:gd name="T36" fmla="*/ 128 w 160"/>
              <a:gd name="T37" fmla="*/ 16 h 188"/>
              <a:gd name="T38" fmla="*/ 128 w 160"/>
              <a:gd name="T39" fmla="*/ 72 h 188"/>
              <a:gd name="T40" fmla="*/ 112 w 160"/>
              <a:gd name="T41" fmla="*/ 88 h 188"/>
              <a:gd name="T42" fmla="*/ 96 w 160"/>
              <a:gd name="T43" fmla="*/ 88 h 188"/>
              <a:gd name="T44" fmla="*/ 96 w 160"/>
              <a:gd name="T45" fmla="*/ 96 h 188"/>
              <a:gd name="T46" fmla="*/ 128 w 160"/>
              <a:gd name="T47" fmla="*/ 96 h 188"/>
              <a:gd name="T48" fmla="*/ 144 w 160"/>
              <a:gd name="T49" fmla="*/ 112 h 188"/>
              <a:gd name="T50" fmla="*/ 144 w 160"/>
              <a:gd name="T51" fmla="*/ 120 h 188"/>
              <a:gd name="T52" fmla="*/ 16 w 160"/>
              <a:gd name="T53" fmla="*/ 120 h 188"/>
              <a:gd name="T54" fmla="*/ 16 w 160"/>
              <a:gd name="T55" fmla="*/ 112 h 188"/>
              <a:gd name="T56" fmla="*/ 32 w 160"/>
              <a:gd name="T57" fmla="*/ 96 h 188"/>
              <a:gd name="T58" fmla="*/ 64 w 160"/>
              <a:gd name="T59" fmla="*/ 96 h 188"/>
              <a:gd name="T60" fmla="*/ 64 w 160"/>
              <a:gd name="T61" fmla="*/ 88 h 188"/>
              <a:gd name="T62" fmla="*/ 48 w 160"/>
              <a:gd name="T63" fmla="*/ 88 h 188"/>
              <a:gd name="T64" fmla="*/ 32 w 160"/>
              <a:gd name="T65" fmla="*/ 72 h 188"/>
              <a:gd name="T66" fmla="*/ 32 w 160"/>
              <a:gd name="T67" fmla="*/ 16 h 188"/>
              <a:gd name="T68" fmla="*/ 0 w 160"/>
              <a:gd name="T69" fmla="*/ 16 h 188"/>
              <a:gd name="T70" fmla="*/ 0 w 160"/>
              <a:gd name="T71" fmla="*/ 0 h 188"/>
              <a:gd name="T72" fmla="*/ 160 w 160"/>
              <a:gd name="T73" fmla="*/ 0 h 188"/>
              <a:gd name="T74" fmla="*/ 64 w 160"/>
              <a:gd name="T75" fmla="*/ 72 h 188"/>
              <a:gd name="T76" fmla="*/ 64 w 160"/>
              <a:gd name="T77" fmla="*/ 56 h 188"/>
              <a:gd name="T78" fmla="*/ 56 w 160"/>
              <a:gd name="T79" fmla="*/ 56 h 188"/>
              <a:gd name="T80" fmla="*/ 56 w 160"/>
              <a:gd name="T81" fmla="*/ 32 h 188"/>
              <a:gd name="T82" fmla="*/ 104 w 160"/>
              <a:gd name="T83" fmla="*/ 32 h 188"/>
              <a:gd name="T84" fmla="*/ 104 w 160"/>
              <a:gd name="T85" fmla="*/ 56 h 188"/>
              <a:gd name="T86" fmla="*/ 96 w 160"/>
              <a:gd name="T87" fmla="*/ 56 h 188"/>
              <a:gd name="T88" fmla="*/ 96 w 160"/>
              <a:gd name="T89" fmla="*/ 72 h 188"/>
              <a:gd name="T90" fmla="*/ 112 w 160"/>
              <a:gd name="T91" fmla="*/ 72 h 188"/>
              <a:gd name="T92" fmla="*/ 112 w 160"/>
              <a:gd name="T93" fmla="*/ 16 h 188"/>
              <a:gd name="T94" fmla="*/ 48 w 160"/>
              <a:gd name="T95" fmla="*/ 16 h 188"/>
              <a:gd name="T96" fmla="*/ 48 w 160"/>
              <a:gd name="T97" fmla="*/ 72 h 188"/>
              <a:gd name="T98" fmla="*/ 64 w 160"/>
              <a:gd name="T99" fmla="*/ 7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0" h="188">
                <a:moveTo>
                  <a:pt x="96" y="172"/>
                </a:moveTo>
                <a:cubicBezTo>
                  <a:pt x="96" y="181"/>
                  <a:pt x="89" y="188"/>
                  <a:pt x="80" y="188"/>
                </a:cubicBezTo>
                <a:cubicBezTo>
                  <a:pt x="71" y="188"/>
                  <a:pt x="64" y="181"/>
                  <a:pt x="64" y="172"/>
                </a:cubicBezTo>
                <a:cubicBezTo>
                  <a:pt x="64" y="163"/>
                  <a:pt x="80" y="132"/>
                  <a:pt x="80" y="132"/>
                </a:cubicBezTo>
                <a:cubicBezTo>
                  <a:pt x="80" y="132"/>
                  <a:pt x="96" y="163"/>
                  <a:pt x="96" y="172"/>
                </a:cubicBezTo>
                <a:close/>
                <a:moveTo>
                  <a:pt x="48" y="132"/>
                </a:moveTo>
                <a:cubicBezTo>
                  <a:pt x="48" y="132"/>
                  <a:pt x="15" y="143"/>
                  <a:pt x="8" y="149"/>
                </a:cubicBezTo>
                <a:cubicBezTo>
                  <a:pt x="2" y="155"/>
                  <a:pt x="2" y="165"/>
                  <a:pt x="8" y="172"/>
                </a:cubicBezTo>
                <a:cubicBezTo>
                  <a:pt x="14" y="178"/>
                  <a:pt x="24" y="178"/>
                  <a:pt x="31" y="172"/>
                </a:cubicBezTo>
                <a:cubicBezTo>
                  <a:pt x="37" y="166"/>
                  <a:pt x="48" y="132"/>
                  <a:pt x="48" y="132"/>
                </a:cubicBezTo>
                <a:close/>
                <a:moveTo>
                  <a:pt x="112" y="132"/>
                </a:moveTo>
                <a:cubicBezTo>
                  <a:pt x="112" y="132"/>
                  <a:pt x="123" y="165"/>
                  <a:pt x="129" y="172"/>
                </a:cubicBezTo>
                <a:cubicBezTo>
                  <a:pt x="135" y="178"/>
                  <a:pt x="145" y="179"/>
                  <a:pt x="152" y="174"/>
                </a:cubicBezTo>
                <a:cubicBezTo>
                  <a:pt x="159" y="168"/>
                  <a:pt x="160" y="158"/>
                  <a:pt x="154" y="151"/>
                </a:cubicBezTo>
                <a:cubicBezTo>
                  <a:pt x="153" y="150"/>
                  <a:pt x="153" y="150"/>
                  <a:pt x="152" y="149"/>
                </a:cubicBezTo>
                <a:cubicBezTo>
                  <a:pt x="146" y="143"/>
                  <a:pt x="112" y="132"/>
                  <a:pt x="112" y="132"/>
                </a:cubicBezTo>
                <a:close/>
                <a:moveTo>
                  <a:pt x="160" y="0"/>
                </a:moveTo>
                <a:cubicBezTo>
                  <a:pt x="160" y="16"/>
                  <a:pt x="160" y="16"/>
                  <a:pt x="160" y="16"/>
                </a:cubicBezTo>
                <a:cubicBezTo>
                  <a:pt x="128" y="16"/>
                  <a:pt x="128" y="16"/>
                  <a:pt x="128" y="16"/>
                </a:cubicBezTo>
                <a:cubicBezTo>
                  <a:pt x="128" y="72"/>
                  <a:pt x="128" y="72"/>
                  <a:pt x="128" y="72"/>
                </a:cubicBezTo>
                <a:cubicBezTo>
                  <a:pt x="128" y="81"/>
                  <a:pt x="121" y="88"/>
                  <a:pt x="112" y="88"/>
                </a:cubicBezTo>
                <a:cubicBezTo>
                  <a:pt x="96" y="88"/>
                  <a:pt x="96" y="88"/>
                  <a:pt x="96" y="88"/>
                </a:cubicBezTo>
                <a:cubicBezTo>
                  <a:pt x="96" y="96"/>
                  <a:pt x="96" y="96"/>
                  <a:pt x="96" y="96"/>
                </a:cubicBezTo>
                <a:cubicBezTo>
                  <a:pt x="128" y="96"/>
                  <a:pt x="128" y="96"/>
                  <a:pt x="128" y="96"/>
                </a:cubicBezTo>
                <a:cubicBezTo>
                  <a:pt x="137" y="96"/>
                  <a:pt x="144" y="103"/>
                  <a:pt x="144" y="112"/>
                </a:cubicBezTo>
                <a:cubicBezTo>
                  <a:pt x="144" y="120"/>
                  <a:pt x="144" y="120"/>
                  <a:pt x="144" y="120"/>
                </a:cubicBezTo>
                <a:cubicBezTo>
                  <a:pt x="16" y="120"/>
                  <a:pt x="16" y="120"/>
                  <a:pt x="16" y="120"/>
                </a:cubicBezTo>
                <a:cubicBezTo>
                  <a:pt x="16" y="112"/>
                  <a:pt x="16" y="112"/>
                  <a:pt x="16" y="112"/>
                </a:cubicBezTo>
                <a:cubicBezTo>
                  <a:pt x="16" y="103"/>
                  <a:pt x="23" y="96"/>
                  <a:pt x="32" y="96"/>
                </a:cubicBezTo>
                <a:cubicBezTo>
                  <a:pt x="64" y="96"/>
                  <a:pt x="64" y="96"/>
                  <a:pt x="64" y="96"/>
                </a:cubicBezTo>
                <a:cubicBezTo>
                  <a:pt x="64" y="88"/>
                  <a:pt x="64" y="88"/>
                  <a:pt x="64" y="88"/>
                </a:cubicBezTo>
                <a:cubicBezTo>
                  <a:pt x="48" y="88"/>
                  <a:pt x="48" y="88"/>
                  <a:pt x="48" y="88"/>
                </a:cubicBezTo>
                <a:cubicBezTo>
                  <a:pt x="39" y="88"/>
                  <a:pt x="32" y="81"/>
                  <a:pt x="32" y="72"/>
                </a:cubicBezTo>
                <a:cubicBezTo>
                  <a:pt x="32" y="16"/>
                  <a:pt x="32" y="16"/>
                  <a:pt x="32" y="16"/>
                </a:cubicBezTo>
                <a:cubicBezTo>
                  <a:pt x="0" y="16"/>
                  <a:pt x="0" y="16"/>
                  <a:pt x="0" y="16"/>
                </a:cubicBezTo>
                <a:cubicBezTo>
                  <a:pt x="0" y="0"/>
                  <a:pt x="0" y="0"/>
                  <a:pt x="0" y="0"/>
                </a:cubicBezTo>
                <a:lnTo>
                  <a:pt x="160" y="0"/>
                </a:lnTo>
                <a:close/>
                <a:moveTo>
                  <a:pt x="64" y="72"/>
                </a:moveTo>
                <a:cubicBezTo>
                  <a:pt x="64" y="56"/>
                  <a:pt x="64" y="56"/>
                  <a:pt x="64" y="56"/>
                </a:cubicBezTo>
                <a:cubicBezTo>
                  <a:pt x="56" y="56"/>
                  <a:pt x="56" y="56"/>
                  <a:pt x="56" y="56"/>
                </a:cubicBezTo>
                <a:cubicBezTo>
                  <a:pt x="56" y="32"/>
                  <a:pt x="56" y="32"/>
                  <a:pt x="56" y="32"/>
                </a:cubicBezTo>
                <a:cubicBezTo>
                  <a:pt x="104" y="32"/>
                  <a:pt x="104" y="32"/>
                  <a:pt x="104" y="32"/>
                </a:cubicBezTo>
                <a:cubicBezTo>
                  <a:pt x="104" y="56"/>
                  <a:pt x="104" y="56"/>
                  <a:pt x="104" y="56"/>
                </a:cubicBezTo>
                <a:cubicBezTo>
                  <a:pt x="96" y="56"/>
                  <a:pt x="96" y="56"/>
                  <a:pt x="96" y="56"/>
                </a:cubicBezTo>
                <a:cubicBezTo>
                  <a:pt x="96" y="72"/>
                  <a:pt x="96" y="72"/>
                  <a:pt x="96" y="72"/>
                </a:cubicBezTo>
                <a:cubicBezTo>
                  <a:pt x="112" y="72"/>
                  <a:pt x="112" y="72"/>
                  <a:pt x="112" y="72"/>
                </a:cubicBezTo>
                <a:cubicBezTo>
                  <a:pt x="112" y="16"/>
                  <a:pt x="112" y="16"/>
                  <a:pt x="112" y="16"/>
                </a:cubicBezTo>
                <a:cubicBezTo>
                  <a:pt x="48" y="16"/>
                  <a:pt x="48" y="16"/>
                  <a:pt x="48" y="16"/>
                </a:cubicBezTo>
                <a:cubicBezTo>
                  <a:pt x="48" y="72"/>
                  <a:pt x="48" y="72"/>
                  <a:pt x="48" y="72"/>
                </a:cubicBezTo>
                <a:lnTo>
                  <a:pt x="64" y="7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07" name="Gruppieren 206">
            <a:extLst>
              <a:ext uri="{FF2B5EF4-FFF2-40B4-BE49-F238E27FC236}">
                <a16:creationId xmlns:a16="http://schemas.microsoft.com/office/drawing/2014/main" id="{5E2C4D87-DBE7-422C-AF51-F7938E86D0D1}"/>
              </a:ext>
            </a:extLst>
          </p:cNvPr>
          <p:cNvGrpSpPr/>
          <p:nvPr/>
        </p:nvGrpSpPr>
        <p:grpSpPr bwMode="gray">
          <a:xfrm>
            <a:off x="7482457" y="4334256"/>
            <a:ext cx="577970" cy="577968"/>
            <a:chOff x="5772150" y="3105150"/>
            <a:chExt cx="641351" cy="641350"/>
          </a:xfrm>
          <a:solidFill>
            <a:schemeClr val="accent1"/>
          </a:solidFill>
        </p:grpSpPr>
        <p:sp>
          <p:nvSpPr>
            <p:cNvPr id="208" name="Freeform 36">
              <a:extLst>
                <a:ext uri="{FF2B5EF4-FFF2-40B4-BE49-F238E27FC236}">
                  <a16:creationId xmlns:a16="http://schemas.microsoft.com/office/drawing/2014/main" id="{A1F5D6C4-7324-4674-88DB-66202E951ACC}"/>
                </a:ext>
              </a:extLst>
            </p:cNvPr>
            <p:cNvSpPr>
              <a:spLocks/>
            </p:cNvSpPr>
            <p:nvPr/>
          </p:nvSpPr>
          <p:spPr bwMode="gray">
            <a:xfrm>
              <a:off x="5781675" y="3198813"/>
              <a:ext cx="123825" cy="366713"/>
            </a:xfrm>
            <a:custGeom>
              <a:avLst/>
              <a:gdLst>
                <a:gd name="T0" fmla="*/ 49 w 78"/>
                <a:gd name="T1" fmla="*/ 231 h 231"/>
                <a:gd name="T2" fmla="*/ 78 w 78"/>
                <a:gd name="T3" fmla="*/ 0 h 231"/>
                <a:gd name="T4" fmla="*/ 28 w 78"/>
                <a:gd name="T5" fmla="*/ 17 h 231"/>
                <a:gd name="T6" fmla="*/ 0 w 78"/>
                <a:gd name="T7" fmla="*/ 214 h 231"/>
                <a:gd name="T8" fmla="*/ 49 w 78"/>
                <a:gd name="T9" fmla="*/ 231 h 231"/>
              </a:gdLst>
              <a:ahLst/>
              <a:cxnLst>
                <a:cxn ang="0">
                  <a:pos x="T0" y="T1"/>
                </a:cxn>
                <a:cxn ang="0">
                  <a:pos x="T2" y="T3"/>
                </a:cxn>
                <a:cxn ang="0">
                  <a:pos x="T4" y="T5"/>
                </a:cxn>
                <a:cxn ang="0">
                  <a:pos x="T6" y="T7"/>
                </a:cxn>
                <a:cxn ang="0">
                  <a:pos x="T8" y="T9"/>
                </a:cxn>
              </a:cxnLst>
              <a:rect l="0" t="0" r="r" b="b"/>
              <a:pathLst>
                <a:path w="78" h="231">
                  <a:moveTo>
                    <a:pt x="49" y="231"/>
                  </a:moveTo>
                  <a:lnTo>
                    <a:pt x="78" y="0"/>
                  </a:lnTo>
                  <a:lnTo>
                    <a:pt x="28" y="17"/>
                  </a:lnTo>
                  <a:lnTo>
                    <a:pt x="0" y="214"/>
                  </a:lnTo>
                  <a:lnTo>
                    <a:pt x="49" y="231"/>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09" name="Freeform 37">
              <a:extLst>
                <a:ext uri="{FF2B5EF4-FFF2-40B4-BE49-F238E27FC236}">
                  <a16:creationId xmlns:a16="http://schemas.microsoft.com/office/drawing/2014/main" id="{45AD69EF-4137-4299-8A5F-66DB0B989176}"/>
                </a:ext>
              </a:extLst>
            </p:cNvPr>
            <p:cNvSpPr>
              <a:spLocks/>
            </p:cNvSpPr>
            <p:nvPr/>
          </p:nvSpPr>
          <p:spPr bwMode="gray">
            <a:xfrm>
              <a:off x="5772150" y="3565525"/>
              <a:ext cx="82550" cy="60325"/>
            </a:xfrm>
            <a:custGeom>
              <a:avLst/>
              <a:gdLst>
                <a:gd name="T0" fmla="*/ 2 w 52"/>
                <a:gd name="T1" fmla="*/ 0 h 38"/>
                <a:gd name="T2" fmla="*/ 0 w 52"/>
                <a:gd name="T3" fmla="*/ 21 h 38"/>
                <a:gd name="T4" fmla="*/ 50 w 52"/>
                <a:gd name="T5" fmla="*/ 38 h 38"/>
                <a:gd name="T6" fmla="*/ 52 w 52"/>
                <a:gd name="T7" fmla="*/ 17 h 38"/>
                <a:gd name="T8" fmla="*/ 2 w 52"/>
                <a:gd name="T9" fmla="*/ 0 h 38"/>
              </a:gdLst>
              <a:ahLst/>
              <a:cxnLst>
                <a:cxn ang="0">
                  <a:pos x="T0" y="T1"/>
                </a:cxn>
                <a:cxn ang="0">
                  <a:pos x="T2" y="T3"/>
                </a:cxn>
                <a:cxn ang="0">
                  <a:pos x="T4" y="T5"/>
                </a:cxn>
                <a:cxn ang="0">
                  <a:pos x="T6" y="T7"/>
                </a:cxn>
                <a:cxn ang="0">
                  <a:pos x="T8" y="T9"/>
                </a:cxn>
              </a:cxnLst>
              <a:rect l="0" t="0" r="r" b="b"/>
              <a:pathLst>
                <a:path w="52" h="38">
                  <a:moveTo>
                    <a:pt x="2" y="0"/>
                  </a:moveTo>
                  <a:lnTo>
                    <a:pt x="0" y="21"/>
                  </a:lnTo>
                  <a:lnTo>
                    <a:pt x="50" y="38"/>
                  </a:lnTo>
                  <a:lnTo>
                    <a:pt x="52" y="17"/>
                  </a:lnTo>
                  <a:lnTo>
                    <a:pt x="2"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10" name="Freeform 38">
              <a:extLst>
                <a:ext uri="{FF2B5EF4-FFF2-40B4-BE49-F238E27FC236}">
                  <a16:creationId xmlns:a16="http://schemas.microsoft.com/office/drawing/2014/main" id="{4B26FE6C-4DC8-4CB1-BA19-E68317812327}"/>
                </a:ext>
              </a:extLst>
            </p:cNvPr>
            <p:cNvSpPr>
              <a:spLocks/>
            </p:cNvSpPr>
            <p:nvPr/>
          </p:nvSpPr>
          <p:spPr bwMode="gray">
            <a:xfrm>
              <a:off x="5884863" y="3465513"/>
              <a:ext cx="193675" cy="211138"/>
            </a:xfrm>
            <a:custGeom>
              <a:avLst/>
              <a:gdLst>
                <a:gd name="T0" fmla="*/ 122 w 122"/>
                <a:gd name="T1" fmla="*/ 15 h 133"/>
                <a:gd name="T2" fmla="*/ 13 w 122"/>
                <a:gd name="T3" fmla="*/ 0 h 133"/>
                <a:gd name="T4" fmla="*/ 0 w 122"/>
                <a:gd name="T5" fmla="*/ 116 h 133"/>
                <a:gd name="T6" fmla="*/ 122 w 122"/>
                <a:gd name="T7" fmla="*/ 133 h 133"/>
                <a:gd name="T8" fmla="*/ 122 w 122"/>
                <a:gd name="T9" fmla="*/ 15 h 133"/>
              </a:gdLst>
              <a:ahLst/>
              <a:cxnLst>
                <a:cxn ang="0">
                  <a:pos x="T0" y="T1"/>
                </a:cxn>
                <a:cxn ang="0">
                  <a:pos x="T2" y="T3"/>
                </a:cxn>
                <a:cxn ang="0">
                  <a:pos x="T4" y="T5"/>
                </a:cxn>
                <a:cxn ang="0">
                  <a:pos x="T6" y="T7"/>
                </a:cxn>
                <a:cxn ang="0">
                  <a:pos x="T8" y="T9"/>
                </a:cxn>
              </a:cxnLst>
              <a:rect l="0" t="0" r="r" b="b"/>
              <a:pathLst>
                <a:path w="122" h="133">
                  <a:moveTo>
                    <a:pt x="122" y="15"/>
                  </a:moveTo>
                  <a:lnTo>
                    <a:pt x="13" y="0"/>
                  </a:lnTo>
                  <a:lnTo>
                    <a:pt x="0" y="116"/>
                  </a:lnTo>
                  <a:lnTo>
                    <a:pt x="122" y="133"/>
                  </a:lnTo>
                  <a:lnTo>
                    <a:pt x="122" y="1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11" name="Freeform 39">
              <a:extLst>
                <a:ext uri="{FF2B5EF4-FFF2-40B4-BE49-F238E27FC236}">
                  <a16:creationId xmlns:a16="http://schemas.microsoft.com/office/drawing/2014/main" id="{89AB3207-8D61-4EAD-AF97-BBECA0513392}"/>
                </a:ext>
              </a:extLst>
            </p:cNvPr>
            <p:cNvSpPr>
              <a:spLocks/>
            </p:cNvSpPr>
            <p:nvPr/>
          </p:nvSpPr>
          <p:spPr bwMode="gray">
            <a:xfrm>
              <a:off x="6105525" y="3465513"/>
              <a:ext cx="193675" cy="211138"/>
            </a:xfrm>
            <a:custGeom>
              <a:avLst/>
              <a:gdLst>
                <a:gd name="T0" fmla="*/ 0 w 122"/>
                <a:gd name="T1" fmla="*/ 133 h 133"/>
                <a:gd name="T2" fmla="*/ 122 w 122"/>
                <a:gd name="T3" fmla="*/ 116 h 133"/>
                <a:gd name="T4" fmla="*/ 110 w 122"/>
                <a:gd name="T5" fmla="*/ 0 h 133"/>
                <a:gd name="T6" fmla="*/ 0 w 122"/>
                <a:gd name="T7" fmla="*/ 15 h 133"/>
                <a:gd name="T8" fmla="*/ 0 w 122"/>
                <a:gd name="T9" fmla="*/ 133 h 133"/>
              </a:gdLst>
              <a:ahLst/>
              <a:cxnLst>
                <a:cxn ang="0">
                  <a:pos x="T0" y="T1"/>
                </a:cxn>
                <a:cxn ang="0">
                  <a:pos x="T2" y="T3"/>
                </a:cxn>
                <a:cxn ang="0">
                  <a:pos x="T4" y="T5"/>
                </a:cxn>
                <a:cxn ang="0">
                  <a:pos x="T6" y="T7"/>
                </a:cxn>
                <a:cxn ang="0">
                  <a:pos x="T8" y="T9"/>
                </a:cxn>
              </a:cxnLst>
              <a:rect l="0" t="0" r="r" b="b"/>
              <a:pathLst>
                <a:path w="122" h="133">
                  <a:moveTo>
                    <a:pt x="0" y="133"/>
                  </a:moveTo>
                  <a:lnTo>
                    <a:pt x="122" y="116"/>
                  </a:lnTo>
                  <a:lnTo>
                    <a:pt x="110" y="0"/>
                  </a:lnTo>
                  <a:lnTo>
                    <a:pt x="0" y="15"/>
                  </a:lnTo>
                  <a:lnTo>
                    <a:pt x="0" y="133"/>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12" name="Freeform 40">
              <a:extLst>
                <a:ext uri="{FF2B5EF4-FFF2-40B4-BE49-F238E27FC236}">
                  <a16:creationId xmlns:a16="http://schemas.microsoft.com/office/drawing/2014/main" id="{A321A3E9-910C-4400-BCF8-126F50B03635}"/>
                </a:ext>
              </a:extLst>
            </p:cNvPr>
            <p:cNvSpPr>
              <a:spLocks/>
            </p:cNvSpPr>
            <p:nvPr/>
          </p:nvSpPr>
          <p:spPr bwMode="gray">
            <a:xfrm>
              <a:off x="5878513" y="3676650"/>
              <a:ext cx="200025" cy="69850"/>
            </a:xfrm>
            <a:custGeom>
              <a:avLst/>
              <a:gdLst>
                <a:gd name="T0" fmla="*/ 2 w 126"/>
                <a:gd name="T1" fmla="*/ 0 h 44"/>
                <a:gd name="T2" fmla="*/ 0 w 126"/>
                <a:gd name="T3" fmla="*/ 27 h 44"/>
                <a:gd name="T4" fmla="*/ 126 w 126"/>
                <a:gd name="T5" fmla="*/ 44 h 44"/>
                <a:gd name="T6" fmla="*/ 126 w 126"/>
                <a:gd name="T7" fmla="*/ 17 h 44"/>
                <a:gd name="T8" fmla="*/ 2 w 126"/>
                <a:gd name="T9" fmla="*/ 0 h 44"/>
              </a:gdLst>
              <a:ahLst/>
              <a:cxnLst>
                <a:cxn ang="0">
                  <a:pos x="T0" y="T1"/>
                </a:cxn>
                <a:cxn ang="0">
                  <a:pos x="T2" y="T3"/>
                </a:cxn>
                <a:cxn ang="0">
                  <a:pos x="T4" y="T5"/>
                </a:cxn>
                <a:cxn ang="0">
                  <a:pos x="T6" y="T7"/>
                </a:cxn>
                <a:cxn ang="0">
                  <a:pos x="T8" y="T9"/>
                </a:cxn>
              </a:cxnLst>
              <a:rect l="0" t="0" r="r" b="b"/>
              <a:pathLst>
                <a:path w="126" h="44">
                  <a:moveTo>
                    <a:pt x="2" y="0"/>
                  </a:moveTo>
                  <a:lnTo>
                    <a:pt x="0" y="27"/>
                  </a:lnTo>
                  <a:lnTo>
                    <a:pt x="126" y="44"/>
                  </a:lnTo>
                  <a:lnTo>
                    <a:pt x="126" y="17"/>
                  </a:lnTo>
                  <a:lnTo>
                    <a:pt x="2"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13" name="Freeform 41">
              <a:extLst>
                <a:ext uri="{FF2B5EF4-FFF2-40B4-BE49-F238E27FC236}">
                  <a16:creationId xmlns:a16="http://schemas.microsoft.com/office/drawing/2014/main" id="{B9027AB0-BC30-4E5F-9DE1-9082E94E2C38}"/>
                </a:ext>
              </a:extLst>
            </p:cNvPr>
            <p:cNvSpPr>
              <a:spLocks/>
            </p:cNvSpPr>
            <p:nvPr/>
          </p:nvSpPr>
          <p:spPr bwMode="gray">
            <a:xfrm>
              <a:off x="5905500" y="3105150"/>
              <a:ext cx="374650" cy="357188"/>
            </a:xfrm>
            <a:custGeom>
              <a:avLst/>
              <a:gdLst>
                <a:gd name="T0" fmla="*/ 52 w 112"/>
                <a:gd name="T1" fmla="*/ 107 h 107"/>
                <a:gd name="T2" fmla="*/ 52 w 112"/>
                <a:gd name="T3" fmla="*/ 49 h 107"/>
                <a:gd name="T4" fmla="*/ 31 w 112"/>
                <a:gd name="T5" fmla="*/ 35 h 107"/>
                <a:gd name="T6" fmla="*/ 29 w 112"/>
                <a:gd name="T7" fmla="*/ 24 h 107"/>
                <a:gd name="T8" fmla="*/ 34 w 112"/>
                <a:gd name="T9" fmla="*/ 20 h 107"/>
                <a:gd name="T10" fmla="*/ 34 w 112"/>
                <a:gd name="T11" fmla="*/ 20 h 107"/>
                <a:gd name="T12" fmla="*/ 78 w 112"/>
                <a:gd name="T13" fmla="*/ 20 h 107"/>
                <a:gd name="T14" fmla="*/ 78 w 112"/>
                <a:gd name="T15" fmla="*/ 20 h 107"/>
                <a:gd name="T16" fmla="*/ 84 w 112"/>
                <a:gd name="T17" fmla="*/ 30 h 107"/>
                <a:gd name="T18" fmla="*/ 81 w 112"/>
                <a:gd name="T19" fmla="*/ 35 h 107"/>
                <a:gd name="T20" fmla="*/ 60 w 112"/>
                <a:gd name="T21" fmla="*/ 49 h 107"/>
                <a:gd name="T22" fmla="*/ 60 w 112"/>
                <a:gd name="T23" fmla="*/ 107 h 107"/>
                <a:gd name="T24" fmla="*/ 112 w 112"/>
                <a:gd name="T25" fmla="*/ 100 h 107"/>
                <a:gd name="T26" fmla="*/ 104 w 112"/>
                <a:gd name="T27" fmla="*/ 24 h 107"/>
                <a:gd name="T28" fmla="*/ 90 w 112"/>
                <a:gd name="T29" fmla="*/ 18 h 107"/>
                <a:gd name="T30" fmla="*/ 84 w 112"/>
                <a:gd name="T31" fmla="*/ 0 h 107"/>
                <a:gd name="T32" fmla="*/ 28 w 112"/>
                <a:gd name="T33" fmla="*/ 0 h 107"/>
                <a:gd name="T34" fmla="*/ 22 w 112"/>
                <a:gd name="T35" fmla="*/ 18 h 107"/>
                <a:gd name="T36" fmla="*/ 8 w 112"/>
                <a:gd name="T37" fmla="*/ 24 h 107"/>
                <a:gd name="T38" fmla="*/ 0 w 112"/>
                <a:gd name="T39" fmla="*/ 100 h 107"/>
                <a:gd name="T40" fmla="*/ 52 w 112"/>
                <a:gd name="T4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2" h="107">
                  <a:moveTo>
                    <a:pt x="52" y="107"/>
                  </a:moveTo>
                  <a:cubicBezTo>
                    <a:pt x="52" y="49"/>
                    <a:pt x="52" y="49"/>
                    <a:pt x="52" y="49"/>
                  </a:cubicBezTo>
                  <a:cubicBezTo>
                    <a:pt x="31" y="35"/>
                    <a:pt x="31" y="35"/>
                    <a:pt x="31" y="35"/>
                  </a:cubicBezTo>
                  <a:cubicBezTo>
                    <a:pt x="28" y="32"/>
                    <a:pt x="27" y="27"/>
                    <a:pt x="29" y="24"/>
                  </a:cubicBezTo>
                  <a:cubicBezTo>
                    <a:pt x="31" y="22"/>
                    <a:pt x="32" y="21"/>
                    <a:pt x="34" y="20"/>
                  </a:cubicBezTo>
                  <a:cubicBezTo>
                    <a:pt x="34" y="20"/>
                    <a:pt x="34" y="20"/>
                    <a:pt x="34" y="20"/>
                  </a:cubicBezTo>
                  <a:cubicBezTo>
                    <a:pt x="49" y="17"/>
                    <a:pt x="63" y="17"/>
                    <a:pt x="78" y="20"/>
                  </a:cubicBezTo>
                  <a:cubicBezTo>
                    <a:pt x="78" y="20"/>
                    <a:pt x="78" y="20"/>
                    <a:pt x="78" y="20"/>
                  </a:cubicBezTo>
                  <a:cubicBezTo>
                    <a:pt x="82" y="21"/>
                    <a:pt x="85" y="25"/>
                    <a:pt x="84" y="30"/>
                  </a:cubicBezTo>
                  <a:cubicBezTo>
                    <a:pt x="84" y="32"/>
                    <a:pt x="82" y="34"/>
                    <a:pt x="81" y="35"/>
                  </a:cubicBezTo>
                  <a:cubicBezTo>
                    <a:pt x="60" y="49"/>
                    <a:pt x="60" y="49"/>
                    <a:pt x="60" y="49"/>
                  </a:cubicBezTo>
                  <a:cubicBezTo>
                    <a:pt x="60" y="107"/>
                    <a:pt x="60" y="107"/>
                    <a:pt x="60" y="107"/>
                  </a:cubicBezTo>
                  <a:cubicBezTo>
                    <a:pt x="112" y="100"/>
                    <a:pt x="112" y="100"/>
                    <a:pt x="112" y="100"/>
                  </a:cubicBezTo>
                  <a:cubicBezTo>
                    <a:pt x="104" y="24"/>
                    <a:pt x="104" y="24"/>
                    <a:pt x="104" y="24"/>
                  </a:cubicBezTo>
                  <a:cubicBezTo>
                    <a:pt x="90" y="18"/>
                    <a:pt x="90" y="18"/>
                    <a:pt x="90" y="18"/>
                  </a:cubicBezTo>
                  <a:cubicBezTo>
                    <a:pt x="84" y="0"/>
                    <a:pt x="84" y="0"/>
                    <a:pt x="84" y="0"/>
                  </a:cubicBezTo>
                  <a:cubicBezTo>
                    <a:pt x="28" y="0"/>
                    <a:pt x="28" y="0"/>
                    <a:pt x="28" y="0"/>
                  </a:cubicBezTo>
                  <a:cubicBezTo>
                    <a:pt x="22" y="18"/>
                    <a:pt x="22" y="18"/>
                    <a:pt x="22" y="18"/>
                  </a:cubicBezTo>
                  <a:cubicBezTo>
                    <a:pt x="8" y="24"/>
                    <a:pt x="8" y="24"/>
                    <a:pt x="8" y="24"/>
                  </a:cubicBezTo>
                  <a:cubicBezTo>
                    <a:pt x="0" y="100"/>
                    <a:pt x="0" y="100"/>
                    <a:pt x="0" y="100"/>
                  </a:cubicBezTo>
                  <a:lnTo>
                    <a:pt x="52" y="107"/>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14" name="Freeform 42">
              <a:extLst>
                <a:ext uri="{FF2B5EF4-FFF2-40B4-BE49-F238E27FC236}">
                  <a16:creationId xmlns:a16="http://schemas.microsoft.com/office/drawing/2014/main" id="{6B097451-7052-4B9D-901A-C212AC2BB7C9}"/>
                </a:ext>
              </a:extLst>
            </p:cNvPr>
            <p:cNvSpPr>
              <a:spLocks/>
            </p:cNvSpPr>
            <p:nvPr/>
          </p:nvSpPr>
          <p:spPr bwMode="gray">
            <a:xfrm>
              <a:off x="6105525" y="3676650"/>
              <a:ext cx="201613" cy="69850"/>
            </a:xfrm>
            <a:custGeom>
              <a:avLst/>
              <a:gdLst>
                <a:gd name="T0" fmla="*/ 0 w 127"/>
                <a:gd name="T1" fmla="*/ 17 h 44"/>
                <a:gd name="T2" fmla="*/ 0 w 127"/>
                <a:gd name="T3" fmla="*/ 44 h 44"/>
                <a:gd name="T4" fmla="*/ 127 w 127"/>
                <a:gd name="T5" fmla="*/ 27 h 44"/>
                <a:gd name="T6" fmla="*/ 124 w 127"/>
                <a:gd name="T7" fmla="*/ 0 h 44"/>
                <a:gd name="T8" fmla="*/ 0 w 127"/>
                <a:gd name="T9" fmla="*/ 17 h 44"/>
              </a:gdLst>
              <a:ahLst/>
              <a:cxnLst>
                <a:cxn ang="0">
                  <a:pos x="T0" y="T1"/>
                </a:cxn>
                <a:cxn ang="0">
                  <a:pos x="T2" y="T3"/>
                </a:cxn>
                <a:cxn ang="0">
                  <a:pos x="T4" y="T5"/>
                </a:cxn>
                <a:cxn ang="0">
                  <a:pos x="T6" y="T7"/>
                </a:cxn>
                <a:cxn ang="0">
                  <a:pos x="T8" y="T9"/>
                </a:cxn>
              </a:cxnLst>
              <a:rect l="0" t="0" r="r" b="b"/>
              <a:pathLst>
                <a:path w="127" h="44">
                  <a:moveTo>
                    <a:pt x="0" y="17"/>
                  </a:moveTo>
                  <a:lnTo>
                    <a:pt x="0" y="44"/>
                  </a:lnTo>
                  <a:lnTo>
                    <a:pt x="127" y="27"/>
                  </a:lnTo>
                  <a:lnTo>
                    <a:pt x="124" y="0"/>
                  </a:lnTo>
                  <a:lnTo>
                    <a:pt x="0" y="17"/>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15" name="Freeform 43">
              <a:extLst>
                <a:ext uri="{FF2B5EF4-FFF2-40B4-BE49-F238E27FC236}">
                  <a16:creationId xmlns:a16="http://schemas.microsoft.com/office/drawing/2014/main" id="{B7871893-F890-4B6E-BAD7-BC0648CBA504}"/>
                </a:ext>
              </a:extLst>
            </p:cNvPr>
            <p:cNvSpPr>
              <a:spLocks/>
            </p:cNvSpPr>
            <p:nvPr/>
          </p:nvSpPr>
          <p:spPr bwMode="gray">
            <a:xfrm>
              <a:off x="6280150" y="3184525"/>
              <a:ext cx="123825" cy="368300"/>
            </a:xfrm>
            <a:custGeom>
              <a:avLst/>
              <a:gdLst>
                <a:gd name="T0" fmla="*/ 78 w 78"/>
                <a:gd name="T1" fmla="*/ 215 h 232"/>
                <a:gd name="T2" fmla="*/ 50 w 78"/>
                <a:gd name="T3" fmla="*/ 17 h 232"/>
                <a:gd name="T4" fmla="*/ 0 w 78"/>
                <a:gd name="T5" fmla="*/ 0 h 232"/>
                <a:gd name="T6" fmla="*/ 29 w 78"/>
                <a:gd name="T7" fmla="*/ 232 h 232"/>
                <a:gd name="T8" fmla="*/ 78 w 78"/>
                <a:gd name="T9" fmla="*/ 215 h 232"/>
              </a:gdLst>
              <a:ahLst/>
              <a:cxnLst>
                <a:cxn ang="0">
                  <a:pos x="T0" y="T1"/>
                </a:cxn>
                <a:cxn ang="0">
                  <a:pos x="T2" y="T3"/>
                </a:cxn>
                <a:cxn ang="0">
                  <a:pos x="T4" y="T5"/>
                </a:cxn>
                <a:cxn ang="0">
                  <a:pos x="T6" y="T7"/>
                </a:cxn>
                <a:cxn ang="0">
                  <a:pos x="T8" y="T9"/>
                </a:cxn>
              </a:cxnLst>
              <a:rect l="0" t="0" r="r" b="b"/>
              <a:pathLst>
                <a:path w="78" h="232">
                  <a:moveTo>
                    <a:pt x="78" y="215"/>
                  </a:moveTo>
                  <a:lnTo>
                    <a:pt x="50" y="17"/>
                  </a:lnTo>
                  <a:lnTo>
                    <a:pt x="0" y="0"/>
                  </a:lnTo>
                  <a:lnTo>
                    <a:pt x="29" y="232"/>
                  </a:lnTo>
                  <a:lnTo>
                    <a:pt x="78" y="21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16" name="Freeform 44">
              <a:extLst>
                <a:ext uri="{FF2B5EF4-FFF2-40B4-BE49-F238E27FC236}">
                  <a16:creationId xmlns:a16="http://schemas.microsoft.com/office/drawing/2014/main" id="{34C12DBE-250C-48CE-A3DA-0729972680BF}"/>
                </a:ext>
              </a:extLst>
            </p:cNvPr>
            <p:cNvSpPr>
              <a:spLocks/>
            </p:cNvSpPr>
            <p:nvPr/>
          </p:nvSpPr>
          <p:spPr bwMode="gray">
            <a:xfrm>
              <a:off x="6329363" y="3552825"/>
              <a:ext cx="84138" cy="60325"/>
            </a:xfrm>
            <a:custGeom>
              <a:avLst/>
              <a:gdLst>
                <a:gd name="T0" fmla="*/ 0 w 53"/>
                <a:gd name="T1" fmla="*/ 17 h 38"/>
                <a:gd name="T2" fmla="*/ 2 w 53"/>
                <a:gd name="T3" fmla="*/ 38 h 38"/>
                <a:gd name="T4" fmla="*/ 53 w 53"/>
                <a:gd name="T5" fmla="*/ 21 h 38"/>
                <a:gd name="T6" fmla="*/ 51 w 53"/>
                <a:gd name="T7" fmla="*/ 0 h 38"/>
                <a:gd name="T8" fmla="*/ 0 w 53"/>
                <a:gd name="T9" fmla="*/ 17 h 38"/>
              </a:gdLst>
              <a:ahLst/>
              <a:cxnLst>
                <a:cxn ang="0">
                  <a:pos x="T0" y="T1"/>
                </a:cxn>
                <a:cxn ang="0">
                  <a:pos x="T2" y="T3"/>
                </a:cxn>
                <a:cxn ang="0">
                  <a:pos x="T4" y="T5"/>
                </a:cxn>
                <a:cxn ang="0">
                  <a:pos x="T6" y="T7"/>
                </a:cxn>
                <a:cxn ang="0">
                  <a:pos x="T8" y="T9"/>
                </a:cxn>
              </a:cxnLst>
              <a:rect l="0" t="0" r="r" b="b"/>
              <a:pathLst>
                <a:path w="53" h="38">
                  <a:moveTo>
                    <a:pt x="0" y="17"/>
                  </a:moveTo>
                  <a:lnTo>
                    <a:pt x="2" y="38"/>
                  </a:lnTo>
                  <a:lnTo>
                    <a:pt x="53" y="21"/>
                  </a:lnTo>
                  <a:lnTo>
                    <a:pt x="51" y="0"/>
                  </a:lnTo>
                  <a:lnTo>
                    <a:pt x="0" y="17"/>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17" name="Freeform 48">
            <a:extLst>
              <a:ext uri="{FF2B5EF4-FFF2-40B4-BE49-F238E27FC236}">
                <a16:creationId xmlns:a16="http://schemas.microsoft.com/office/drawing/2014/main" id="{0672A995-10A6-47D1-853E-F260D78EEC2C}"/>
              </a:ext>
            </a:extLst>
          </p:cNvPr>
          <p:cNvSpPr>
            <a:spLocks noEditPoints="1"/>
          </p:cNvSpPr>
          <p:nvPr/>
        </p:nvSpPr>
        <p:spPr bwMode="gray">
          <a:xfrm>
            <a:off x="3049102" y="5532121"/>
            <a:ext cx="538016" cy="546400"/>
          </a:xfrm>
          <a:custGeom>
            <a:avLst/>
            <a:gdLst>
              <a:gd name="T0" fmla="*/ 166 w 183"/>
              <a:gd name="T1" fmla="*/ 97 h 186"/>
              <a:gd name="T2" fmla="*/ 99 w 183"/>
              <a:gd name="T3" fmla="*/ 43 h 186"/>
              <a:gd name="T4" fmla="*/ 58 w 183"/>
              <a:gd name="T5" fmla="*/ 59 h 186"/>
              <a:gd name="T6" fmla="*/ 58 w 183"/>
              <a:gd name="T7" fmla="*/ 54 h 186"/>
              <a:gd name="T8" fmla="*/ 128 w 183"/>
              <a:gd name="T9" fmla="*/ 5 h 186"/>
              <a:gd name="T10" fmla="*/ 171 w 183"/>
              <a:gd name="T11" fmla="*/ 92 h 186"/>
              <a:gd name="T12" fmla="*/ 32 w 183"/>
              <a:gd name="T13" fmla="*/ 132 h 186"/>
              <a:gd name="T14" fmla="*/ 45 w 183"/>
              <a:gd name="T15" fmla="*/ 108 h 186"/>
              <a:gd name="T16" fmla="*/ 45 w 183"/>
              <a:gd name="T17" fmla="*/ 108 h 186"/>
              <a:gd name="T18" fmla="*/ 21 w 183"/>
              <a:gd name="T19" fmla="*/ 121 h 186"/>
              <a:gd name="T20" fmla="*/ 21 w 183"/>
              <a:gd name="T21" fmla="*/ 132 h 186"/>
              <a:gd name="T22" fmla="*/ 32 w 183"/>
              <a:gd name="T23" fmla="*/ 132 h 186"/>
              <a:gd name="T24" fmla="*/ 62 w 183"/>
              <a:gd name="T25" fmla="*/ 136 h 186"/>
              <a:gd name="T26" fmla="*/ 62 w 183"/>
              <a:gd name="T27" fmla="*/ 125 h 186"/>
              <a:gd name="T28" fmla="*/ 38 w 183"/>
              <a:gd name="T29" fmla="*/ 138 h 186"/>
              <a:gd name="T30" fmla="*/ 38 w 183"/>
              <a:gd name="T31" fmla="*/ 149 h 186"/>
              <a:gd name="T32" fmla="*/ 49 w 183"/>
              <a:gd name="T33" fmla="*/ 149 h 186"/>
              <a:gd name="T34" fmla="*/ 79 w 183"/>
              <a:gd name="T35" fmla="*/ 153 h 186"/>
              <a:gd name="T36" fmla="*/ 79 w 183"/>
              <a:gd name="T37" fmla="*/ 142 h 186"/>
              <a:gd name="T38" fmla="*/ 68 w 183"/>
              <a:gd name="T39" fmla="*/ 142 h 186"/>
              <a:gd name="T40" fmla="*/ 55 w 183"/>
              <a:gd name="T41" fmla="*/ 155 h 186"/>
              <a:gd name="T42" fmla="*/ 55 w 183"/>
              <a:gd name="T43" fmla="*/ 166 h 186"/>
              <a:gd name="T44" fmla="*/ 66 w 183"/>
              <a:gd name="T45" fmla="*/ 166 h 186"/>
              <a:gd name="T46" fmla="*/ 66 w 183"/>
              <a:gd name="T47" fmla="*/ 166 h 186"/>
              <a:gd name="T48" fmla="*/ 96 w 183"/>
              <a:gd name="T49" fmla="*/ 170 h 186"/>
              <a:gd name="T50" fmla="*/ 96 w 183"/>
              <a:gd name="T51" fmla="*/ 159 h 186"/>
              <a:gd name="T52" fmla="*/ 85 w 183"/>
              <a:gd name="T53" fmla="*/ 159 h 186"/>
              <a:gd name="T54" fmla="*/ 73 w 183"/>
              <a:gd name="T55" fmla="*/ 183 h 186"/>
              <a:gd name="T56" fmla="*/ 73 w 183"/>
              <a:gd name="T57" fmla="*/ 183 h 186"/>
              <a:gd name="T58" fmla="*/ 52 w 183"/>
              <a:gd name="T59" fmla="*/ 104 h 186"/>
              <a:gd name="T60" fmla="*/ 118 w 183"/>
              <a:gd name="T61" fmla="*/ 157 h 186"/>
              <a:gd name="T62" fmla="*/ 118 w 183"/>
              <a:gd name="T63" fmla="*/ 157 h 186"/>
              <a:gd name="T64" fmla="*/ 71 w 183"/>
              <a:gd name="T65" fmla="*/ 99 h 186"/>
              <a:gd name="T66" fmla="*/ 71 w 183"/>
              <a:gd name="T67" fmla="*/ 99 h 186"/>
              <a:gd name="T68" fmla="*/ 87 w 183"/>
              <a:gd name="T69" fmla="*/ 99 h 186"/>
              <a:gd name="T70" fmla="*/ 138 w 183"/>
              <a:gd name="T71" fmla="*/ 137 h 186"/>
              <a:gd name="T72" fmla="*/ 140 w 183"/>
              <a:gd name="T73" fmla="*/ 135 h 186"/>
              <a:gd name="T74" fmla="*/ 140 w 183"/>
              <a:gd name="T75" fmla="*/ 124 h 186"/>
              <a:gd name="T76" fmla="*/ 96 w 183"/>
              <a:gd name="T77" fmla="*/ 81 h 186"/>
              <a:gd name="T78" fmla="*/ 146 w 183"/>
              <a:gd name="T79" fmla="*/ 117 h 186"/>
              <a:gd name="T80" fmla="*/ 158 w 183"/>
              <a:gd name="T81" fmla="*/ 117 h 186"/>
              <a:gd name="T82" fmla="*/ 159 w 183"/>
              <a:gd name="T83" fmla="*/ 103 h 186"/>
              <a:gd name="T84" fmla="*/ 110 w 183"/>
              <a:gd name="T85" fmla="*/ 55 h 186"/>
              <a:gd name="T86" fmla="*/ 96 w 183"/>
              <a:gd name="T87" fmla="*/ 61 h 186"/>
              <a:gd name="T88" fmla="*/ 43 w 183"/>
              <a:gd name="T89" fmla="*/ 56 h 186"/>
              <a:gd name="T90" fmla="*/ 74 w 183"/>
              <a:gd name="T91" fmla="*/ 27 h 186"/>
              <a:gd name="T92" fmla="*/ 49 w 183"/>
              <a:gd name="T93" fmla="*/ 17 h 186"/>
              <a:gd name="T94" fmla="*/ 16 w 183"/>
              <a:gd name="T95" fmla="*/ 108 h 186"/>
              <a:gd name="T96" fmla="*/ 19 w 183"/>
              <a:gd name="T97" fmla="*/ 111 h 186"/>
              <a:gd name="T98" fmla="*/ 30 w 183"/>
              <a:gd name="T99" fmla="*/ 101 h 186"/>
              <a:gd name="T100" fmla="*/ 56 w 183"/>
              <a:gd name="T101" fmla="*/ 108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3" h="186">
                <a:moveTo>
                  <a:pt x="171" y="92"/>
                </a:moveTo>
                <a:cubicBezTo>
                  <a:pt x="166" y="97"/>
                  <a:pt x="166" y="97"/>
                  <a:pt x="166" y="97"/>
                </a:cubicBezTo>
                <a:cubicBezTo>
                  <a:pt x="112" y="43"/>
                  <a:pt x="112" y="43"/>
                  <a:pt x="112" y="43"/>
                </a:cubicBezTo>
                <a:cubicBezTo>
                  <a:pt x="108" y="40"/>
                  <a:pt x="102" y="40"/>
                  <a:pt x="99" y="43"/>
                </a:cubicBezTo>
                <a:cubicBezTo>
                  <a:pt x="85" y="56"/>
                  <a:pt x="85" y="56"/>
                  <a:pt x="85" y="56"/>
                </a:cubicBezTo>
                <a:cubicBezTo>
                  <a:pt x="78" y="63"/>
                  <a:pt x="67" y="64"/>
                  <a:pt x="58" y="59"/>
                </a:cubicBezTo>
                <a:cubicBezTo>
                  <a:pt x="56" y="58"/>
                  <a:pt x="56" y="56"/>
                  <a:pt x="57" y="54"/>
                </a:cubicBezTo>
                <a:cubicBezTo>
                  <a:pt x="57" y="54"/>
                  <a:pt x="57" y="54"/>
                  <a:pt x="58" y="54"/>
                </a:cubicBezTo>
                <a:cubicBezTo>
                  <a:pt x="106" y="5"/>
                  <a:pt x="106" y="5"/>
                  <a:pt x="106" y="5"/>
                </a:cubicBezTo>
                <a:cubicBezTo>
                  <a:pt x="112" y="0"/>
                  <a:pt x="121" y="0"/>
                  <a:pt x="128" y="5"/>
                </a:cubicBezTo>
                <a:cubicBezTo>
                  <a:pt x="171" y="48"/>
                  <a:pt x="171" y="48"/>
                  <a:pt x="171" y="48"/>
                </a:cubicBezTo>
                <a:cubicBezTo>
                  <a:pt x="183" y="60"/>
                  <a:pt x="183" y="80"/>
                  <a:pt x="171" y="92"/>
                </a:cubicBezTo>
                <a:cubicBezTo>
                  <a:pt x="171" y="92"/>
                  <a:pt x="171" y="92"/>
                  <a:pt x="171" y="92"/>
                </a:cubicBezTo>
                <a:close/>
                <a:moveTo>
                  <a:pt x="32" y="132"/>
                </a:moveTo>
                <a:cubicBezTo>
                  <a:pt x="45" y="119"/>
                  <a:pt x="45" y="119"/>
                  <a:pt x="45" y="119"/>
                </a:cubicBezTo>
                <a:cubicBezTo>
                  <a:pt x="48" y="116"/>
                  <a:pt x="48" y="111"/>
                  <a:pt x="45" y="108"/>
                </a:cubicBezTo>
                <a:cubicBezTo>
                  <a:pt x="45" y="108"/>
                  <a:pt x="45" y="108"/>
                  <a:pt x="45" y="108"/>
                </a:cubicBezTo>
                <a:cubicBezTo>
                  <a:pt x="45" y="108"/>
                  <a:pt x="45" y="108"/>
                  <a:pt x="45" y="108"/>
                </a:cubicBezTo>
                <a:cubicBezTo>
                  <a:pt x="42" y="105"/>
                  <a:pt x="37" y="105"/>
                  <a:pt x="34" y="108"/>
                </a:cubicBezTo>
                <a:cubicBezTo>
                  <a:pt x="21" y="121"/>
                  <a:pt x="21" y="121"/>
                  <a:pt x="21" y="121"/>
                </a:cubicBezTo>
                <a:cubicBezTo>
                  <a:pt x="18" y="124"/>
                  <a:pt x="18" y="129"/>
                  <a:pt x="21" y="132"/>
                </a:cubicBezTo>
                <a:cubicBezTo>
                  <a:pt x="21" y="132"/>
                  <a:pt x="21" y="132"/>
                  <a:pt x="21" y="132"/>
                </a:cubicBezTo>
                <a:cubicBezTo>
                  <a:pt x="21" y="132"/>
                  <a:pt x="21" y="132"/>
                  <a:pt x="21" y="132"/>
                </a:cubicBezTo>
                <a:cubicBezTo>
                  <a:pt x="24" y="135"/>
                  <a:pt x="29" y="135"/>
                  <a:pt x="32" y="132"/>
                </a:cubicBezTo>
                <a:close/>
                <a:moveTo>
                  <a:pt x="49" y="149"/>
                </a:moveTo>
                <a:cubicBezTo>
                  <a:pt x="62" y="136"/>
                  <a:pt x="62" y="136"/>
                  <a:pt x="62" y="136"/>
                </a:cubicBezTo>
                <a:cubicBezTo>
                  <a:pt x="65" y="133"/>
                  <a:pt x="65" y="128"/>
                  <a:pt x="62" y="125"/>
                </a:cubicBezTo>
                <a:cubicBezTo>
                  <a:pt x="62" y="125"/>
                  <a:pt x="62" y="125"/>
                  <a:pt x="62" y="125"/>
                </a:cubicBezTo>
                <a:cubicBezTo>
                  <a:pt x="59" y="122"/>
                  <a:pt x="54" y="122"/>
                  <a:pt x="51" y="125"/>
                </a:cubicBezTo>
                <a:cubicBezTo>
                  <a:pt x="38" y="138"/>
                  <a:pt x="38" y="138"/>
                  <a:pt x="38" y="138"/>
                </a:cubicBezTo>
                <a:cubicBezTo>
                  <a:pt x="35" y="141"/>
                  <a:pt x="35" y="146"/>
                  <a:pt x="38" y="149"/>
                </a:cubicBezTo>
                <a:cubicBezTo>
                  <a:pt x="38" y="149"/>
                  <a:pt x="38" y="149"/>
                  <a:pt x="38" y="149"/>
                </a:cubicBezTo>
                <a:cubicBezTo>
                  <a:pt x="38" y="149"/>
                  <a:pt x="38" y="149"/>
                  <a:pt x="38" y="149"/>
                </a:cubicBezTo>
                <a:cubicBezTo>
                  <a:pt x="41" y="152"/>
                  <a:pt x="46" y="152"/>
                  <a:pt x="49" y="149"/>
                </a:cubicBezTo>
                <a:close/>
                <a:moveTo>
                  <a:pt x="66" y="166"/>
                </a:moveTo>
                <a:cubicBezTo>
                  <a:pt x="79" y="153"/>
                  <a:pt x="79" y="153"/>
                  <a:pt x="79" y="153"/>
                </a:cubicBezTo>
                <a:cubicBezTo>
                  <a:pt x="82" y="150"/>
                  <a:pt x="82" y="145"/>
                  <a:pt x="79" y="142"/>
                </a:cubicBezTo>
                <a:cubicBezTo>
                  <a:pt x="79" y="142"/>
                  <a:pt x="79" y="142"/>
                  <a:pt x="79" y="142"/>
                </a:cubicBezTo>
                <a:cubicBezTo>
                  <a:pt x="79" y="142"/>
                  <a:pt x="79" y="142"/>
                  <a:pt x="79" y="142"/>
                </a:cubicBezTo>
                <a:cubicBezTo>
                  <a:pt x="76" y="139"/>
                  <a:pt x="71" y="139"/>
                  <a:pt x="68" y="142"/>
                </a:cubicBezTo>
                <a:cubicBezTo>
                  <a:pt x="68" y="142"/>
                  <a:pt x="68" y="142"/>
                  <a:pt x="68" y="142"/>
                </a:cubicBezTo>
                <a:cubicBezTo>
                  <a:pt x="55" y="155"/>
                  <a:pt x="55" y="155"/>
                  <a:pt x="55" y="155"/>
                </a:cubicBezTo>
                <a:cubicBezTo>
                  <a:pt x="52" y="158"/>
                  <a:pt x="52" y="163"/>
                  <a:pt x="55" y="166"/>
                </a:cubicBezTo>
                <a:cubicBezTo>
                  <a:pt x="55" y="166"/>
                  <a:pt x="55" y="166"/>
                  <a:pt x="55" y="166"/>
                </a:cubicBezTo>
                <a:cubicBezTo>
                  <a:pt x="55" y="166"/>
                  <a:pt x="55" y="166"/>
                  <a:pt x="55" y="166"/>
                </a:cubicBezTo>
                <a:cubicBezTo>
                  <a:pt x="58" y="169"/>
                  <a:pt x="63" y="169"/>
                  <a:pt x="66" y="166"/>
                </a:cubicBezTo>
                <a:cubicBezTo>
                  <a:pt x="66" y="166"/>
                  <a:pt x="66" y="165"/>
                  <a:pt x="66" y="165"/>
                </a:cubicBezTo>
                <a:lnTo>
                  <a:pt x="66" y="166"/>
                </a:lnTo>
                <a:close/>
                <a:moveTo>
                  <a:pt x="83" y="183"/>
                </a:moveTo>
                <a:cubicBezTo>
                  <a:pt x="96" y="170"/>
                  <a:pt x="96" y="170"/>
                  <a:pt x="96" y="170"/>
                </a:cubicBezTo>
                <a:cubicBezTo>
                  <a:pt x="99" y="167"/>
                  <a:pt x="99" y="162"/>
                  <a:pt x="96" y="159"/>
                </a:cubicBezTo>
                <a:cubicBezTo>
                  <a:pt x="96" y="159"/>
                  <a:pt x="96" y="159"/>
                  <a:pt x="96" y="159"/>
                </a:cubicBezTo>
                <a:cubicBezTo>
                  <a:pt x="96" y="159"/>
                  <a:pt x="96" y="159"/>
                  <a:pt x="96" y="159"/>
                </a:cubicBezTo>
                <a:cubicBezTo>
                  <a:pt x="93" y="157"/>
                  <a:pt x="88" y="157"/>
                  <a:pt x="85" y="159"/>
                </a:cubicBezTo>
                <a:cubicBezTo>
                  <a:pt x="73" y="172"/>
                  <a:pt x="73" y="172"/>
                  <a:pt x="73" y="172"/>
                </a:cubicBezTo>
                <a:cubicBezTo>
                  <a:pt x="70" y="175"/>
                  <a:pt x="70" y="180"/>
                  <a:pt x="73" y="183"/>
                </a:cubicBezTo>
                <a:cubicBezTo>
                  <a:pt x="73" y="183"/>
                  <a:pt x="73" y="183"/>
                  <a:pt x="73" y="183"/>
                </a:cubicBezTo>
                <a:cubicBezTo>
                  <a:pt x="73" y="183"/>
                  <a:pt x="73" y="183"/>
                  <a:pt x="73" y="183"/>
                </a:cubicBezTo>
                <a:cubicBezTo>
                  <a:pt x="76" y="186"/>
                  <a:pt x="80" y="186"/>
                  <a:pt x="83" y="183"/>
                </a:cubicBezTo>
                <a:close/>
                <a:moveTo>
                  <a:pt x="52" y="104"/>
                </a:moveTo>
                <a:cubicBezTo>
                  <a:pt x="104" y="157"/>
                  <a:pt x="104" y="157"/>
                  <a:pt x="104" y="157"/>
                </a:cubicBezTo>
                <a:cubicBezTo>
                  <a:pt x="108" y="161"/>
                  <a:pt x="114" y="161"/>
                  <a:pt x="118" y="157"/>
                </a:cubicBezTo>
                <a:cubicBezTo>
                  <a:pt x="118" y="157"/>
                  <a:pt x="118" y="157"/>
                  <a:pt x="118" y="157"/>
                </a:cubicBezTo>
                <a:cubicBezTo>
                  <a:pt x="118" y="157"/>
                  <a:pt x="118" y="157"/>
                  <a:pt x="118" y="157"/>
                </a:cubicBezTo>
                <a:cubicBezTo>
                  <a:pt x="121" y="154"/>
                  <a:pt x="121" y="149"/>
                  <a:pt x="118" y="146"/>
                </a:cubicBezTo>
                <a:cubicBezTo>
                  <a:pt x="71" y="99"/>
                  <a:pt x="71" y="99"/>
                  <a:pt x="71" y="99"/>
                </a:cubicBezTo>
                <a:cubicBezTo>
                  <a:pt x="71" y="99"/>
                  <a:pt x="71" y="99"/>
                  <a:pt x="71" y="99"/>
                </a:cubicBezTo>
                <a:cubicBezTo>
                  <a:pt x="71" y="99"/>
                  <a:pt x="71" y="99"/>
                  <a:pt x="71" y="99"/>
                </a:cubicBezTo>
                <a:cubicBezTo>
                  <a:pt x="75" y="94"/>
                  <a:pt x="83" y="94"/>
                  <a:pt x="87" y="98"/>
                </a:cubicBezTo>
                <a:cubicBezTo>
                  <a:pt x="87" y="98"/>
                  <a:pt x="87" y="99"/>
                  <a:pt x="87" y="99"/>
                </a:cubicBezTo>
                <a:cubicBezTo>
                  <a:pt x="126" y="137"/>
                  <a:pt x="126" y="137"/>
                  <a:pt x="126" y="137"/>
                </a:cubicBezTo>
                <a:cubicBezTo>
                  <a:pt x="129" y="141"/>
                  <a:pt x="134" y="141"/>
                  <a:pt x="138" y="137"/>
                </a:cubicBezTo>
                <a:cubicBezTo>
                  <a:pt x="138" y="137"/>
                  <a:pt x="138" y="137"/>
                  <a:pt x="138" y="137"/>
                </a:cubicBezTo>
                <a:cubicBezTo>
                  <a:pt x="140" y="135"/>
                  <a:pt x="140" y="135"/>
                  <a:pt x="140" y="135"/>
                </a:cubicBezTo>
                <a:cubicBezTo>
                  <a:pt x="143" y="132"/>
                  <a:pt x="143" y="127"/>
                  <a:pt x="140" y="124"/>
                </a:cubicBezTo>
                <a:cubicBezTo>
                  <a:pt x="140" y="124"/>
                  <a:pt x="140" y="124"/>
                  <a:pt x="140" y="124"/>
                </a:cubicBezTo>
                <a:cubicBezTo>
                  <a:pt x="96" y="81"/>
                  <a:pt x="96" y="81"/>
                  <a:pt x="96" y="81"/>
                </a:cubicBezTo>
                <a:cubicBezTo>
                  <a:pt x="96" y="81"/>
                  <a:pt x="96" y="81"/>
                  <a:pt x="96" y="81"/>
                </a:cubicBezTo>
                <a:cubicBezTo>
                  <a:pt x="100" y="77"/>
                  <a:pt x="106" y="77"/>
                  <a:pt x="110" y="81"/>
                </a:cubicBezTo>
                <a:cubicBezTo>
                  <a:pt x="146" y="117"/>
                  <a:pt x="146" y="117"/>
                  <a:pt x="146" y="117"/>
                </a:cubicBezTo>
                <a:cubicBezTo>
                  <a:pt x="149" y="121"/>
                  <a:pt x="154" y="121"/>
                  <a:pt x="158" y="117"/>
                </a:cubicBezTo>
                <a:cubicBezTo>
                  <a:pt x="158" y="117"/>
                  <a:pt x="158" y="117"/>
                  <a:pt x="158" y="117"/>
                </a:cubicBezTo>
                <a:cubicBezTo>
                  <a:pt x="159" y="116"/>
                  <a:pt x="159" y="116"/>
                  <a:pt x="159" y="116"/>
                </a:cubicBezTo>
                <a:cubicBezTo>
                  <a:pt x="162" y="113"/>
                  <a:pt x="162" y="107"/>
                  <a:pt x="159" y="103"/>
                </a:cubicBezTo>
                <a:cubicBezTo>
                  <a:pt x="159" y="103"/>
                  <a:pt x="159" y="103"/>
                  <a:pt x="159" y="103"/>
                </a:cubicBezTo>
                <a:cubicBezTo>
                  <a:pt x="110" y="55"/>
                  <a:pt x="110" y="55"/>
                  <a:pt x="110" y="55"/>
                </a:cubicBezTo>
                <a:cubicBezTo>
                  <a:pt x="108" y="53"/>
                  <a:pt x="105" y="53"/>
                  <a:pt x="103" y="55"/>
                </a:cubicBezTo>
                <a:cubicBezTo>
                  <a:pt x="96" y="61"/>
                  <a:pt x="96" y="61"/>
                  <a:pt x="96" y="61"/>
                </a:cubicBezTo>
                <a:cubicBezTo>
                  <a:pt x="83" y="74"/>
                  <a:pt x="61" y="74"/>
                  <a:pt x="48" y="61"/>
                </a:cubicBezTo>
                <a:cubicBezTo>
                  <a:pt x="43" y="56"/>
                  <a:pt x="43" y="56"/>
                  <a:pt x="43" y="56"/>
                </a:cubicBezTo>
                <a:cubicBezTo>
                  <a:pt x="74" y="27"/>
                  <a:pt x="74" y="27"/>
                  <a:pt x="74" y="27"/>
                </a:cubicBezTo>
                <a:cubicBezTo>
                  <a:pt x="74" y="27"/>
                  <a:pt x="74" y="27"/>
                  <a:pt x="74" y="27"/>
                </a:cubicBezTo>
                <a:cubicBezTo>
                  <a:pt x="64" y="17"/>
                  <a:pt x="64" y="17"/>
                  <a:pt x="64" y="17"/>
                </a:cubicBezTo>
                <a:cubicBezTo>
                  <a:pt x="60" y="13"/>
                  <a:pt x="53" y="13"/>
                  <a:pt x="49" y="17"/>
                </a:cubicBezTo>
                <a:cubicBezTo>
                  <a:pt x="16" y="50"/>
                  <a:pt x="16" y="50"/>
                  <a:pt x="16" y="50"/>
                </a:cubicBezTo>
                <a:cubicBezTo>
                  <a:pt x="0" y="66"/>
                  <a:pt x="0" y="92"/>
                  <a:pt x="16" y="108"/>
                </a:cubicBezTo>
                <a:cubicBezTo>
                  <a:pt x="16" y="108"/>
                  <a:pt x="16" y="108"/>
                  <a:pt x="16" y="108"/>
                </a:cubicBezTo>
                <a:cubicBezTo>
                  <a:pt x="19" y="111"/>
                  <a:pt x="19" y="111"/>
                  <a:pt x="19" y="111"/>
                </a:cubicBezTo>
                <a:cubicBezTo>
                  <a:pt x="19" y="111"/>
                  <a:pt x="19" y="111"/>
                  <a:pt x="19" y="111"/>
                </a:cubicBezTo>
                <a:cubicBezTo>
                  <a:pt x="30" y="101"/>
                  <a:pt x="30" y="101"/>
                  <a:pt x="30" y="101"/>
                </a:cubicBezTo>
                <a:cubicBezTo>
                  <a:pt x="35" y="96"/>
                  <a:pt x="44" y="96"/>
                  <a:pt x="49" y="101"/>
                </a:cubicBezTo>
                <a:cubicBezTo>
                  <a:pt x="56" y="108"/>
                  <a:pt x="56" y="108"/>
                  <a:pt x="56" y="108"/>
                </a:cubicBezTo>
                <a:lnTo>
                  <a:pt x="52" y="10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8" name="Freeform 88">
            <a:extLst>
              <a:ext uri="{FF2B5EF4-FFF2-40B4-BE49-F238E27FC236}">
                <a16:creationId xmlns:a16="http://schemas.microsoft.com/office/drawing/2014/main" id="{4C00D486-15FE-40AC-9787-D343214EAAE7}"/>
              </a:ext>
            </a:extLst>
          </p:cNvPr>
          <p:cNvSpPr>
            <a:spLocks noEditPoints="1"/>
          </p:cNvSpPr>
          <p:nvPr/>
        </p:nvSpPr>
        <p:spPr bwMode="gray">
          <a:xfrm>
            <a:off x="10882840" y="5484645"/>
            <a:ext cx="457200" cy="641350"/>
          </a:xfrm>
          <a:custGeom>
            <a:avLst/>
            <a:gdLst>
              <a:gd name="T0" fmla="*/ 16 w 136"/>
              <a:gd name="T1" fmla="*/ 0 h 192"/>
              <a:gd name="T2" fmla="*/ 16 w 136"/>
              <a:gd name="T3" fmla="*/ 32 h 192"/>
              <a:gd name="T4" fmla="*/ 8 w 136"/>
              <a:gd name="T5" fmla="*/ 32 h 192"/>
              <a:gd name="T6" fmla="*/ 0 w 136"/>
              <a:gd name="T7" fmla="*/ 40 h 192"/>
              <a:gd name="T8" fmla="*/ 0 w 136"/>
              <a:gd name="T9" fmla="*/ 80 h 192"/>
              <a:gd name="T10" fmla="*/ 16 w 136"/>
              <a:gd name="T11" fmla="*/ 96 h 192"/>
              <a:gd name="T12" fmla="*/ 16 w 136"/>
              <a:gd name="T13" fmla="*/ 172 h 192"/>
              <a:gd name="T14" fmla="*/ 36 w 136"/>
              <a:gd name="T15" fmla="*/ 192 h 192"/>
              <a:gd name="T16" fmla="*/ 76 w 136"/>
              <a:gd name="T17" fmla="*/ 192 h 192"/>
              <a:gd name="T18" fmla="*/ 96 w 136"/>
              <a:gd name="T19" fmla="*/ 172 h 192"/>
              <a:gd name="T20" fmla="*/ 96 w 136"/>
              <a:gd name="T21" fmla="*/ 16 h 192"/>
              <a:gd name="T22" fmla="*/ 136 w 136"/>
              <a:gd name="T23" fmla="*/ 16 h 192"/>
              <a:gd name="T24" fmla="*/ 136 w 136"/>
              <a:gd name="T25" fmla="*/ 0 h 192"/>
              <a:gd name="T26" fmla="*/ 16 w 136"/>
              <a:gd name="T27" fmla="*/ 0 h 192"/>
              <a:gd name="T28" fmla="*/ 32 w 136"/>
              <a:gd name="T29" fmla="*/ 108 h 192"/>
              <a:gd name="T30" fmla="*/ 40 w 136"/>
              <a:gd name="T31" fmla="*/ 100 h 192"/>
              <a:gd name="T32" fmla="*/ 48 w 136"/>
              <a:gd name="T33" fmla="*/ 108 h 192"/>
              <a:gd name="T34" fmla="*/ 40 w 136"/>
              <a:gd name="T35" fmla="*/ 116 h 192"/>
              <a:gd name="T36" fmla="*/ 32 w 136"/>
              <a:gd name="T37" fmla="*/ 108 h 192"/>
              <a:gd name="T38" fmla="*/ 56 w 136"/>
              <a:gd name="T39" fmla="*/ 142 h 192"/>
              <a:gd name="T40" fmla="*/ 44 w 136"/>
              <a:gd name="T41" fmla="*/ 130 h 192"/>
              <a:gd name="T42" fmla="*/ 56 w 136"/>
              <a:gd name="T43" fmla="*/ 118 h 192"/>
              <a:gd name="T44" fmla="*/ 68 w 136"/>
              <a:gd name="T45" fmla="*/ 130 h 192"/>
              <a:gd name="T46" fmla="*/ 56 w 136"/>
              <a:gd name="T47" fmla="*/ 142 h 192"/>
              <a:gd name="T48" fmla="*/ 72 w 136"/>
              <a:gd name="T49" fmla="*/ 116 h 192"/>
              <a:gd name="T50" fmla="*/ 64 w 136"/>
              <a:gd name="T51" fmla="*/ 108 h 192"/>
              <a:gd name="T52" fmla="*/ 72 w 136"/>
              <a:gd name="T53" fmla="*/ 100 h 192"/>
              <a:gd name="T54" fmla="*/ 80 w 136"/>
              <a:gd name="T55" fmla="*/ 108 h 192"/>
              <a:gd name="T56" fmla="*/ 72 w 136"/>
              <a:gd name="T57" fmla="*/ 116 h 192"/>
              <a:gd name="T58" fmla="*/ 80 w 136"/>
              <a:gd name="T59" fmla="*/ 84 h 192"/>
              <a:gd name="T60" fmla="*/ 32 w 136"/>
              <a:gd name="T61" fmla="*/ 84 h 192"/>
              <a:gd name="T62" fmla="*/ 32 w 136"/>
              <a:gd name="T63" fmla="*/ 48 h 192"/>
              <a:gd name="T64" fmla="*/ 80 w 136"/>
              <a:gd name="T65" fmla="*/ 48 h 192"/>
              <a:gd name="T66" fmla="*/ 80 w 136"/>
              <a:gd name="T67" fmla="*/ 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 h="192">
                <a:moveTo>
                  <a:pt x="16" y="0"/>
                </a:moveTo>
                <a:cubicBezTo>
                  <a:pt x="16" y="32"/>
                  <a:pt x="16" y="32"/>
                  <a:pt x="16" y="32"/>
                </a:cubicBezTo>
                <a:cubicBezTo>
                  <a:pt x="8" y="32"/>
                  <a:pt x="8" y="32"/>
                  <a:pt x="8" y="32"/>
                </a:cubicBezTo>
                <a:cubicBezTo>
                  <a:pt x="4" y="32"/>
                  <a:pt x="0" y="36"/>
                  <a:pt x="0" y="40"/>
                </a:cubicBezTo>
                <a:cubicBezTo>
                  <a:pt x="0" y="80"/>
                  <a:pt x="0" y="80"/>
                  <a:pt x="0" y="80"/>
                </a:cubicBezTo>
                <a:cubicBezTo>
                  <a:pt x="16" y="96"/>
                  <a:pt x="16" y="96"/>
                  <a:pt x="16" y="96"/>
                </a:cubicBezTo>
                <a:cubicBezTo>
                  <a:pt x="16" y="172"/>
                  <a:pt x="16" y="172"/>
                  <a:pt x="16" y="172"/>
                </a:cubicBezTo>
                <a:cubicBezTo>
                  <a:pt x="16" y="183"/>
                  <a:pt x="25" y="192"/>
                  <a:pt x="36" y="192"/>
                </a:cubicBezTo>
                <a:cubicBezTo>
                  <a:pt x="76" y="192"/>
                  <a:pt x="76" y="192"/>
                  <a:pt x="76" y="192"/>
                </a:cubicBezTo>
                <a:cubicBezTo>
                  <a:pt x="87" y="192"/>
                  <a:pt x="96" y="183"/>
                  <a:pt x="96" y="172"/>
                </a:cubicBezTo>
                <a:cubicBezTo>
                  <a:pt x="96" y="16"/>
                  <a:pt x="96" y="16"/>
                  <a:pt x="96" y="16"/>
                </a:cubicBezTo>
                <a:cubicBezTo>
                  <a:pt x="136" y="16"/>
                  <a:pt x="136" y="16"/>
                  <a:pt x="136" y="16"/>
                </a:cubicBezTo>
                <a:cubicBezTo>
                  <a:pt x="136" y="0"/>
                  <a:pt x="136" y="0"/>
                  <a:pt x="136" y="0"/>
                </a:cubicBezTo>
                <a:lnTo>
                  <a:pt x="16" y="0"/>
                </a:lnTo>
                <a:close/>
                <a:moveTo>
                  <a:pt x="32" y="108"/>
                </a:moveTo>
                <a:cubicBezTo>
                  <a:pt x="32" y="104"/>
                  <a:pt x="36" y="100"/>
                  <a:pt x="40" y="100"/>
                </a:cubicBezTo>
                <a:cubicBezTo>
                  <a:pt x="44" y="100"/>
                  <a:pt x="48" y="104"/>
                  <a:pt x="48" y="108"/>
                </a:cubicBezTo>
                <a:cubicBezTo>
                  <a:pt x="48" y="112"/>
                  <a:pt x="44" y="116"/>
                  <a:pt x="40" y="116"/>
                </a:cubicBezTo>
                <a:cubicBezTo>
                  <a:pt x="36" y="116"/>
                  <a:pt x="32" y="112"/>
                  <a:pt x="32" y="108"/>
                </a:cubicBezTo>
                <a:close/>
                <a:moveTo>
                  <a:pt x="56" y="142"/>
                </a:moveTo>
                <a:cubicBezTo>
                  <a:pt x="49" y="142"/>
                  <a:pt x="44" y="137"/>
                  <a:pt x="44" y="130"/>
                </a:cubicBezTo>
                <a:cubicBezTo>
                  <a:pt x="44" y="124"/>
                  <a:pt x="49" y="118"/>
                  <a:pt x="56" y="118"/>
                </a:cubicBezTo>
                <a:cubicBezTo>
                  <a:pt x="63" y="118"/>
                  <a:pt x="68" y="124"/>
                  <a:pt x="68" y="130"/>
                </a:cubicBezTo>
                <a:cubicBezTo>
                  <a:pt x="68" y="137"/>
                  <a:pt x="63" y="142"/>
                  <a:pt x="56" y="142"/>
                </a:cubicBezTo>
                <a:close/>
                <a:moveTo>
                  <a:pt x="72" y="116"/>
                </a:moveTo>
                <a:cubicBezTo>
                  <a:pt x="68" y="116"/>
                  <a:pt x="64" y="112"/>
                  <a:pt x="64" y="108"/>
                </a:cubicBezTo>
                <a:cubicBezTo>
                  <a:pt x="64" y="104"/>
                  <a:pt x="68" y="100"/>
                  <a:pt x="72" y="100"/>
                </a:cubicBezTo>
                <a:cubicBezTo>
                  <a:pt x="76" y="100"/>
                  <a:pt x="80" y="104"/>
                  <a:pt x="80" y="108"/>
                </a:cubicBezTo>
                <a:cubicBezTo>
                  <a:pt x="80" y="112"/>
                  <a:pt x="76" y="116"/>
                  <a:pt x="72" y="116"/>
                </a:cubicBezTo>
                <a:close/>
                <a:moveTo>
                  <a:pt x="80" y="84"/>
                </a:moveTo>
                <a:cubicBezTo>
                  <a:pt x="32" y="84"/>
                  <a:pt x="32" y="84"/>
                  <a:pt x="32" y="84"/>
                </a:cubicBezTo>
                <a:cubicBezTo>
                  <a:pt x="32" y="48"/>
                  <a:pt x="32" y="48"/>
                  <a:pt x="32" y="48"/>
                </a:cubicBezTo>
                <a:cubicBezTo>
                  <a:pt x="80" y="48"/>
                  <a:pt x="80" y="48"/>
                  <a:pt x="80" y="48"/>
                </a:cubicBezTo>
                <a:lnTo>
                  <a:pt x="80" y="8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9" name="Freeform 100">
            <a:extLst>
              <a:ext uri="{FF2B5EF4-FFF2-40B4-BE49-F238E27FC236}">
                <a16:creationId xmlns:a16="http://schemas.microsoft.com/office/drawing/2014/main" id="{C0BE83ED-B5DA-4F9D-9BB6-2FEDC3015BDF}"/>
              </a:ext>
            </a:extLst>
          </p:cNvPr>
          <p:cNvSpPr>
            <a:spLocks noEditPoints="1"/>
          </p:cNvSpPr>
          <p:nvPr/>
        </p:nvSpPr>
        <p:spPr bwMode="gray">
          <a:xfrm>
            <a:off x="7614055" y="3163824"/>
            <a:ext cx="314774" cy="572830"/>
          </a:xfrm>
          <a:custGeom>
            <a:avLst/>
            <a:gdLst>
              <a:gd name="T0" fmla="*/ 88 w 104"/>
              <a:gd name="T1" fmla="*/ 12 h 192"/>
              <a:gd name="T2" fmla="*/ 92 w 104"/>
              <a:gd name="T3" fmla="*/ 16 h 192"/>
              <a:gd name="T4" fmla="*/ 92 w 104"/>
              <a:gd name="T5" fmla="*/ 176 h 192"/>
              <a:gd name="T6" fmla="*/ 88 w 104"/>
              <a:gd name="T7" fmla="*/ 180 h 192"/>
              <a:gd name="T8" fmla="*/ 16 w 104"/>
              <a:gd name="T9" fmla="*/ 180 h 192"/>
              <a:gd name="T10" fmla="*/ 12 w 104"/>
              <a:gd name="T11" fmla="*/ 176 h 192"/>
              <a:gd name="T12" fmla="*/ 12 w 104"/>
              <a:gd name="T13" fmla="*/ 16 h 192"/>
              <a:gd name="T14" fmla="*/ 16 w 104"/>
              <a:gd name="T15" fmla="*/ 12 h 192"/>
              <a:gd name="T16" fmla="*/ 88 w 104"/>
              <a:gd name="T17" fmla="*/ 12 h 192"/>
              <a:gd name="T18" fmla="*/ 88 w 104"/>
              <a:gd name="T19" fmla="*/ 0 h 192"/>
              <a:gd name="T20" fmla="*/ 16 w 104"/>
              <a:gd name="T21" fmla="*/ 0 h 192"/>
              <a:gd name="T22" fmla="*/ 0 w 104"/>
              <a:gd name="T23" fmla="*/ 16 h 192"/>
              <a:gd name="T24" fmla="*/ 0 w 104"/>
              <a:gd name="T25" fmla="*/ 176 h 192"/>
              <a:gd name="T26" fmla="*/ 16 w 104"/>
              <a:gd name="T27" fmla="*/ 192 h 192"/>
              <a:gd name="T28" fmla="*/ 88 w 104"/>
              <a:gd name="T29" fmla="*/ 192 h 192"/>
              <a:gd name="T30" fmla="*/ 104 w 104"/>
              <a:gd name="T31" fmla="*/ 176 h 192"/>
              <a:gd name="T32" fmla="*/ 104 w 104"/>
              <a:gd name="T33" fmla="*/ 16 h 192"/>
              <a:gd name="T34" fmla="*/ 88 w 104"/>
              <a:gd name="T35" fmla="*/ 0 h 192"/>
              <a:gd name="T36" fmla="*/ 52 w 104"/>
              <a:gd name="T37" fmla="*/ 160 h 192"/>
              <a:gd name="T38" fmla="*/ 44 w 104"/>
              <a:gd name="T39" fmla="*/ 168 h 192"/>
              <a:gd name="T40" fmla="*/ 52 w 104"/>
              <a:gd name="T41" fmla="*/ 176 h 192"/>
              <a:gd name="T42" fmla="*/ 60 w 104"/>
              <a:gd name="T43" fmla="*/ 168 h 192"/>
              <a:gd name="T44" fmla="*/ 52 w 104"/>
              <a:gd name="T45" fmla="*/ 160 h 192"/>
              <a:gd name="T46" fmla="*/ 88 w 104"/>
              <a:gd name="T47" fmla="*/ 32 h 192"/>
              <a:gd name="T48" fmla="*/ 16 w 104"/>
              <a:gd name="T49" fmla="*/ 32 h 192"/>
              <a:gd name="T50" fmla="*/ 16 w 104"/>
              <a:gd name="T51" fmla="*/ 156 h 192"/>
              <a:gd name="T52" fmla="*/ 88 w 104"/>
              <a:gd name="T53" fmla="*/ 156 h 192"/>
              <a:gd name="T54" fmla="*/ 88 w 104"/>
              <a:gd name="T55" fmla="*/ 32 h 192"/>
              <a:gd name="T56" fmla="*/ 68 w 104"/>
              <a:gd name="T57" fmla="*/ 20 h 192"/>
              <a:gd name="T58" fmla="*/ 36 w 104"/>
              <a:gd name="T59" fmla="*/ 20 h 192"/>
              <a:gd name="T60" fmla="*/ 36 w 104"/>
              <a:gd name="T61" fmla="*/ 28 h 192"/>
              <a:gd name="T62" fmla="*/ 68 w 104"/>
              <a:gd name="T63" fmla="*/ 28 h 192"/>
              <a:gd name="T64" fmla="*/ 68 w 104"/>
              <a:gd name="T65" fmla="*/ 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192">
                <a:moveTo>
                  <a:pt x="88" y="12"/>
                </a:moveTo>
                <a:cubicBezTo>
                  <a:pt x="90" y="12"/>
                  <a:pt x="92" y="14"/>
                  <a:pt x="92" y="16"/>
                </a:cubicBezTo>
                <a:cubicBezTo>
                  <a:pt x="92" y="176"/>
                  <a:pt x="92" y="176"/>
                  <a:pt x="92" y="176"/>
                </a:cubicBezTo>
                <a:cubicBezTo>
                  <a:pt x="92" y="178"/>
                  <a:pt x="90" y="180"/>
                  <a:pt x="88" y="180"/>
                </a:cubicBezTo>
                <a:cubicBezTo>
                  <a:pt x="16" y="180"/>
                  <a:pt x="16" y="180"/>
                  <a:pt x="16" y="180"/>
                </a:cubicBezTo>
                <a:cubicBezTo>
                  <a:pt x="14" y="180"/>
                  <a:pt x="12" y="178"/>
                  <a:pt x="12" y="176"/>
                </a:cubicBezTo>
                <a:cubicBezTo>
                  <a:pt x="12" y="16"/>
                  <a:pt x="12" y="16"/>
                  <a:pt x="12" y="16"/>
                </a:cubicBezTo>
                <a:cubicBezTo>
                  <a:pt x="12" y="14"/>
                  <a:pt x="14" y="12"/>
                  <a:pt x="16" y="12"/>
                </a:cubicBezTo>
                <a:cubicBezTo>
                  <a:pt x="88" y="12"/>
                  <a:pt x="88" y="12"/>
                  <a:pt x="88" y="12"/>
                </a:cubicBezTo>
                <a:moveTo>
                  <a:pt x="88" y="0"/>
                </a:moveTo>
                <a:cubicBezTo>
                  <a:pt x="16" y="0"/>
                  <a:pt x="16" y="0"/>
                  <a:pt x="16" y="0"/>
                </a:cubicBezTo>
                <a:cubicBezTo>
                  <a:pt x="7" y="0"/>
                  <a:pt x="0" y="7"/>
                  <a:pt x="0" y="16"/>
                </a:cubicBezTo>
                <a:cubicBezTo>
                  <a:pt x="0" y="176"/>
                  <a:pt x="0" y="176"/>
                  <a:pt x="0" y="176"/>
                </a:cubicBezTo>
                <a:cubicBezTo>
                  <a:pt x="0" y="185"/>
                  <a:pt x="7" y="192"/>
                  <a:pt x="16" y="192"/>
                </a:cubicBezTo>
                <a:cubicBezTo>
                  <a:pt x="88" y="192"/>
                  <a:pt x="88" y="192"/>
                  <a:pt x="88" y="192"/>
                </a:cubicBezTo>
                <a:cubicBezTo>
                  <a:pt x="97" y="192"/>
                  <a:pt x="104" y="185"/>
                  <a:pt x="104" y="176"/>
                </a:cubicBezTo>
                <a:cubicBezTo>
                  <a:pt x="104" y="16"/>
                  <a:pt x="104" y="16"/>
                  <a:pt x="104" y="16"/>
                </a:cubicBezTo>
                <a:cubicBezTo>
                  <a:pt x="104" y="7"/>
                  <a:pt x="97" y="0"/>
                  <a:pt x="88" y="0"/>
                </a:cubicBezTo>
                <a:close/>
                <a:moveTo>
                  <a:pt x="52" y="160"/>
                </a:moveTo>
                <a:cubicBezTo>
                  <a:pt x="48" y="160"/>
                  <a:pt x="44" y="164"/>
                  <a:pt x="44" y="168"/>
                </a:cubicBezTo>
                <a:cubicBezTo>
                  <a:pt x="44" y="172"/>
                  <a:pt x="48" y="176"/>
                  <a:pt x="52" y="176"/>
                </a:cubicBezTo>
                <a:cubicBezTo>
                  <a:pt x="56" y="176"/>
                  <a:pt x="60" y="172"/>
                  <a:pt x="60" y="168"/>
                </a:cubicBezTo>
                <a:cubicBezTo>
                  <a:pt x="60" y="164"/>
                  <a:pt x="56" y="160"/>
                  <a:pt x="52" y="160"/>
                </a:cubicBezTo>
                <a:close/>
                <a:moveTo>
                  <a:pt x="88" y="32"/>
                </a:moveTo>
                <a:cubicBezTo>
                  <a:pt x="16" y="32"/>
                  <a:pt x="16" y="32"/>
                  <a:pt x="16" y="32"/>
                </a:cubicBezTo>
                <a:cubicBezTo>
                  <a:pt x="16" y="156"/>
                  <a:pt x="16" y="156"/>
                  <a:pt x="16" y="156"/>
                </a:cubicBezTo>
                <a:cubicBezTo>
                  <a:pt x="88" y="156"/>
                  <a:pt x="88" y="156"/>
                  <a:pt x="88" y="156"/>
                </a:cubicBezTo>
                <a:lnTo>
                  <a:pt x="88" y="32"/>
                </a:lnTo>
                <a:close/>
                <a:moveTo>
                  <a:pt x="68" y="20"/>
                </a:moveTo>
                <a:cubicBezTo>
                  <a:pt x="36" y="20"/>
                  <a:pt x="36" y="20"/>
                  <a:pt x="36" y="20"/>
                </a:cubicBezTo>
                <a:cubicBezTo>
                  <a:pt x="36" y="28"/>
                  <a:pt x="36" y="28"/>
                  <a:pt x="36" y="28"/>
                </a:cubicBezTo>
                <a:cubicBezTo>
                  <a:pt x="68" y="28"/>
                  <a:pt x="68" y="28"/>
                  <a:pt x="68" y="28"/>
                </a:cubicBezTo>
                <a:lnTo>
                  <a:pt x="68" y="2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4" name="Freeform 253">
            <a:extLst>
              <a:ext uri="{FF2B5EF4-FFF2-40B4-BE49-F238E27FC236}">
                <a16:creationId xmlns:a16="http://schemas.microsoft.com/office/drawing/2014/main" id="{A760987E-C0C3-425E-9D77-2EAE230A600B}"/>
              </a:ext>
            </a:extLst>
          </p:cNvPr>
          <p:cNvSpPr>
            <a:spLocks noEditPoints="1"/>
          </p:cNvSpPr>
          <p:nvPr/>
        </p:nvSpPr>
        <p:spPr bwMode="gray">
          <a:xfrm>
            <a:off x="2023376" y="5567592"/>
            <a:ext cx="362800" cy="475456"/>
          </a:xfrm>
          <a:custGeom>
            <a:avLst/>
            <a:gdLst>
              <a:gd name="T0" fmla="*/ 583 w 1166"/>
              <a:gd name="T1" fmla="*/ 1536 h 1536"/>
              <a:gd name="T2" fmla="*/ 155 w 1166"/>
              <a:gd name="T3" fmla="*/ 697 h 1536"/>
              <a:gd name="T4" fmla="*/ 552 w 1166"/>
              <a:gd name="T5" fmla="*/ 1 h 1536"/>
              <a:gd name="T6" fmla="*/ 583 w 1166"/>
              <a:gd name="T7" fmla="*/ 0 h 1536"/>
              <a:gd name="T8" fmla="*/ 614 w 1166"/>
              <a:gd name="T9" fmla="*/ 1 h 1536"/>
              <a:gd name="T10" fmla="*/ 1011 w 1166"/>
              <a:gd name="T11" fmla="*/ 697 h 1536"/>
              <a:gd name="T12" fmla="*/ 583 w 1166"/>
              <a:gd name="T13" fmla="*/ 1536 h 1536"/>
              <a:gd name="T14" fmla="*/ 583 w 1166"/>
              <a:gd name="T15" fmla="*/ 192 h 1536"/>
              <a:gd name="T16" fmla="*/ 295 w 1166"/>
              <a:gd name="T17" fmla="*/ 480 h 1536"/>
              <a:gd name="T18" fmla="*/ 583 w 1166"/>
              <a:gd name="T19" fmla="*/ 768 h 1536"/>
              <a:gd name="T20" fmla="*/ 871 w 1166"/>
              <a:gd name="T21" fmla="*/ 480 h 1536"/>
              <a:gd name="T22" fmla="*/ 583 w 1166"/>
              <a:gd name="T23" fmla="*/ 192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66" h="1536">
                <a:moveTo>
                  <a:pt x="583" y="1536"/>
                </a:moveTo>
                <a:cubicBezTo>
                  <a:pt x="155" y="697"/>
                  <a:pt x="155" y="697"/>
                  <a:pt x="155" y="697"/>
                </a:cubicBezTo>
                <a:cubicBezTo>
                  <a:pt x="0" y="392"/>
                  <a:pt x="206" y="21"/>
                  <a:pt x="552" y="1"/>
                </a:cubicBezTo>
                <a:cubicBezTo>
                  <a:pt x="562" y="0"/>
                  <a:pt x="573" y="0"/>
                  <a:pt x="583" y="0"/>
                </a:cubicBezTo>
                <a:cubicBezTo>
                  <a:pt x="593" y="0"/>
                  <a:pt x="604" y="0"/>
                  <a:pt x="614" y="1"/>
                </a:cubicBezTo>
                <a:cubicBezTo>
                  <a:pt x="960" y="21"/>
                  <a:pt x="1166" y="392"/>
                  <a:pt x="1011" y="697"/>
                </a:cubicBezTo>
                <a:lnTo>
                  <a:pt x="583" y="1536"/>
                </a:lnTo>
                <a:close/>
                <a:moveTo>
                  <a:pt x="583" y="192"/>
                </a:moveTo>
                <a:cubicBezTo>
                  <a:pt x="424" y="192"/>
                  <a:pt x="295" y="321"/>
                  <a:pt x="295" y="480"/>
                </a:cubicBezTo>
                <a:cubicBezTo>
                  <a:pt x="295" y="639"/>
                  <a:pt x="424" y="768"/>
                  <a:pt x="583" y="768"/>
                </a:cubicBezTo>
                <a:cubicBezTo>
                  <a:pt x="742" y="768"/>
                  <a:pt x="871" y="639"/>
                  <a:pt x="871" y="480"/>
                </a:cubicBezTo>
                <a:cubicBezTo>
                  <a:pt x="871" y="321"/>
                  <a:pt x="742" y="192"/>
                  <a:pt x="583" y="19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 name="Fußzeilenplatzhalter 2">
            <a:extLst>
              <a:ext uri="{FF2B5EF4-FFF2-40B4-BE49-F238E27FC236}">
                <a16:creationId xmlns:a16="http://schemas.microsoft.com/office/drawing/2014/main" id="{5D5E5D3C-1E07-4EA5-9ED4-77BAAFF373E9}"/>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4" name="Foliennummernplatzhalter 3">
            <a:extLst>
              <a:ext uri="{FF2B5EF4-FFF2-40B4-BE49-F238E27FC236}">
                <a16:creationId xmlns:a16="http://schemas.microsoft.com/office/drawing/2014/main" id="{A1AA3FA9-26C4-4AFA-989E-FF7385BE5AEE}"/>
              </a:ext>
            </a:extLst>
          </p:cNvPr>
          <p:cNvSpPr>
            <a:spLocks noGrp="1"/>
          </p:cNvSpPr>
          <p:nvPr>
            <p:ph type="sldNum" sz="quarter" idx="12"/>
          </p:nvPr>
        </p:nvSpPr>
        <p:spPr/>
        <p:txBody>
          <a:bodyPr/>
          <a:lstStyle/>
          <a:p>
            <a:fld id="{CE82B8A1-0CCE-4815-9668-383D7DE7D8B4}" type="slidenum">
              <a:rPr lang="en-US" noProof="0" smtClean="0"/>
              <a:t>128</a:t>
            </a:fld>
            <a:endParaRPr lang="en-US" noProof="0" dirty="0"/>
          </a:p>
        </p:txBody>
      </p:sp>
    </p:spTree>
    <p:extLst>
      <p:ext uri="{BB962C8B-B14F-4D97-AF65-F5344CB8AC3E}">
        <p14:creationId xmlns:p14="http://schemas.microsoft.com/office/powerpoint/2010/main" val="176990943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D0B8FD-ABB8-4755-89EC-C02E7931E67B}"/>
              </a:ext>
            </a:extLst>
          </p:cNvPr>
          <p:cNvSpPr>
            <a:spLocks noGrp="1"/>
          </p:cNvSpPr>
          <p:nvPr>
            <p:ph type="title"/>
          </p:nvPr>
        </p:nvSpPr>
        <p:spPr bwMode="gray">
          <a:xfrm>
            <a:off x="623393" y="548792"/>
            <a:ext cx="8137192" cy="864000"/>
          </a:xfrm>
        </p:spPr>
        <p:txBody>
          <a:bodyPr/>
          <a:lstStyle/>
          <a:p>
            <a:r>
              <a:rPr lang="en-US"/>
              <a:t>Icons</a:t>
            </a:r>
            <a:endParaRPr lang="en-US" dirty="0"/>
          </a:p>
        </p:txBody>
      </p:sp>
      <p:sp>
        <p:nvSpPr>
          <p:cNvPr id="94" name="Rechteck 93">
            <a:extLst>
              <a:ext uri="{FF2B5EF4-FFF2-40B4-BE49-F238E27FC236}">
                <a16:creationId xmlns:a16="http://schemas.microsoft.com/office/drawing/2014/main" id="{1FBFA566-625D-4125-BB7B-15A594ECEDFD}"/>
              </a:ext>
            </a:extLst>
          </p:cNvPr>
          <p:cNvSpPr/>
          <p:nvPr/>
        </p:nvSpPr>
        <p:spPr bwMode="gray">
          <a:xfrm>
            <a:off x="626800"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Alcotest 6820</a:t>
            </a:r>
            <a:endParaRPr lang="en-US" sz="800" dirty="0">
              <a:solidFill>
                <a:schemeClr val="tx1"/>
              </a:solidFill>
            </a:endParaRPr>
          </a:p>
        </p:txBody>
      </p:sp>
      <p:sp>
        <p:nvSpPr>
          <p:cNvPr id="95" name="Rechteck 94">
            <a:extLst>
              <a:ext uri="{FF2B5EF4-FFF2-40B4-BE49-F238E27FC236}">
                <a16:creationId xmlns:a16="http://schemas.microsoft.com/office/drawing/2014/main" id="{19011B3C-B052-4C28-BF2F-D0F8DA711A5D}"/>
              </a:ext>
            </a:extLst>
          </p:cNvPr>
          <p:cNvSpPr/>
          <p:nvPr/>
        </p:nvSpPr>
        <p:spPr bwMode="gray">
          <a:xfrm>
            <a:off x="1736725"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Alcotest 7510 </a:t>
            </a:r>
            <a:endParaRPr lang="en-US" sz="800" dirty="0">
              <a:solidFill>
                <a:schemeClr val="tx1"/>
              </a:solidFill>
            </a:endParaRPr>
          </a:p>
        </p:txBody>
      </p:sp>
      <p:sp>
        <p:nvSpPr>
          <p:cNvPr id="96" name="Rechteck 95">
            <a:extLst>
              <a:ext uri="{FF2B5EF4-FFF2-40B4-BE49-F238E27FC236}">
                <a16:creationId xmlns:a16="http://schemas.microsoft.com/office/drawing/2014/main" id="{FFC3EFD8-78C1-4505-83E4-051B0806142C}"/>
              </a:ext>
            </a:extLst>
          </p:cNvPr>
          <p:cNvSpPr/>
          <p:nvPr/>
        </p:nvSpPr>
        <p:spPr bwMode="gray">
          <a:xfrm>
            <a:off x="2850058"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Alcotest 3820</a:t>
            </a:r>
            <a:endParaRPr lang="en-US" sz="800" dirty="0">
              <a:solidFill>
                <a:schemeClr val="tx1"/>
              </a:solidFill>
            </a:endParaRPr>
          </a:p>
        </p:txBody>
      </p:sp>
      <p:sp>
        <p:nvSpPr>
          <p:cNvPr id="97" name="Rechteck 96">
            <a:extLst>
              <a:ext uri="{FF2B5EF4-FFF2-40B4-BE49-F238E27FC236}">
                <a16:creationId xmlns:a16="http://schemas.microsoft.com/office/drawing/2014/main" id="{F069EF3B-632D-4C8D-9330-71CCF7E4A0F3}"/>
              </a:ext>
            </a:extLst>
          </p:cNvPr>
          <p:cNvSpPr/>
          <p:nvPr/>
        </p:nvSpPr>
        <p:spPr bwMode="gray">
          <a:xfrm>
            <a:off x="3963391"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a:solidFill>
                  <a:schemeClr val="tx1"/>
                </a:solidFill>
              </a:rPr>
              <a:t>X-plore 8000</a:t>
            </a:r>
            <a:endParaRPr lang="en-US" sz="800" dirty="0">
              <a:solidFill>
                <a:schemeClr val="tx1"/>
              </a:solidFill>
            </a:endParaRPr>
          </a:p>
        </p:txBody>
      </p:sp>
      <p:sp>
        <p:nvSpPr>
          <p:cNvPr id="98" name="Rechteck 97">
            <a:extLst>
              <a:ext uri="{FF2B5EF4-FFF2-40B4-BE49-F238E27FC236}">
                <a16:creationId xmlns:a16="http://schemas.microsoft.com/office/drawing/2014/main" id="{D4F9215F-22BE-47C4-AB8E-C7417B37117D}"/>
              </a:ext>
            </a:extLst>
          </p:cNvPr>
          <p:cNvSpPr/>
          <p:nvPr/>
        </p:nvSpPr>
        <p:spPr bwMode="gray">
          <a:xfrm>
            <a:off x="5076724"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Pac 1000 - 7000</a:t>
            </a:r>
          </a:p>
        </p:txBody>
      </p:sp>
      <p:sp>
        <p:nvSpPr>
          <p:cNvPr id="99" name="Rechteck 98">
            <a:extLst>
              <a:ext uri="{FF2B5EF4-FFF2-40B4-BE49-F238E27FC236}">
                <a16:creationId xmlns:a16="http://schemas.microsoft.com/office/drawing/2014/main" id="{A2E2E633-6F64-426C-B797-B4CC19270611}"/>
              </a:ext>
            </a:extLst>
          </p:cNvPr>
          <p:cNvSpPr/>
          <p:nvPr/>
        </p:nvSpPr>
        <p:spPr bwMode="gray">
          <a:xfrm>
            <a:off x="6190057"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X-am 2500</a:t>
            </a:r>
          </a:p>
        </p:txBody>
      </p:sp>
      <p:sp>
        <p:nvSpPr>
          <p:cNvPr id="100" name="Rechteck 99">
            <a:extLst>
              <a:ext uri="{FF2B5EF4-FFF2-40B4-BE49-F238E27FC236}">
                <a16:creationId xmlns:a16="http://schemas.microsoft.com/office/drawing/2014/main" id="{1BA918BB-3C14-4D3F-BF35-D3A1F4A1152B}"/>
              </a:ext>
            </a:extLst>
          </p:cNvPr>
          <p:cNvSpPr/>
          <p:nvPr/>
        </p:nvSpPr>
        <p:spPr bwMode="gray">
          <a:xfrm>
            <a:off x="7303390"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X-am 5000 </a:t>
            </a:r>
          </a:p>
        </p:txBody>
      </p:sp>
      <p:sp>
        <p:nvSpPr>
          <p:cNvPr id="101" name="Rechteck 100">
            <a:extLst>
              <a:ext uri="{FF2B5EF4-FFF2-40B4-BE49-F238E27FC236}">
                <a16:creationId xmlns:a16="http://schemas.microsoft.com/office/drawing/2014/main" id="{87B6CD73-46FE-4EF1-B997-5D00099BF6E8}"/>
              </a:ext>
            </a:extLst>
          </p:cNvPr>
          <p:cNvSpPr/>
          <p:nvPr/>
        </p:nvSpPr>
        <p:spPr bwMode="gray">
          <a:xfrm>
            <a:off x="8416723"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X-am 7000</a:t>
            </a:r>
          </a:p>
        </p:txBody>
      </p:sp>
      <p:sp>
        <p:nvSpPr>
          <p:cNvPr id="102" name="Rechteck 101">
            <a:extLst>
              <a:ext uri="{FF2B5EF4-FFF2-40B4-BE49-F238E27FC236}">
                <a16:creationId xmlns:a16="http://schemas.microsoft.com/office/drawing/2014/main" id="{9FA9F07D-893C-4241-988D-F93149AF7744}"/>
              </a:ext>
            </a:extLst>
          </p:cNvPr>
          <p:cNvSpPr/>
          <p:nvPr/>
        </p:nvSpPr>
        <p:spPr bwMode="gray">
          <a:xfrm>
            <a:off x="9530056"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Polytron 7000 </a:t>
            </a:r>
          </a:p>
        </p:txBody>
      </p:sp>
      <p:sp>
        <p:nvSpPr>
          <p:cNvPr id="103" name="Rechteck 102">
            <a:extLst>
              <a:ext uri="{FF2B5EF4-FFF2-40B4-BE49-F238E27FC236}">
                <a16:creationId xmlns:a16="http://schemas.microsoft.com/office/drawing/2014/main" id="{CD6C0634-D6E1-4A36-8937-78580162AB17}"/>
              </a:ext>
            </a:extLst>
          </p:cNvPr>
          <p:cNvSpPr/>
          <p:nvPr/>
        </p:nvSpPr>
        <p:spPr bwMode="gray">
          <a:xfrm>
            <a:off x="10643389" y="1773238"/>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Interlock</a:t>
            </a:r>
          </a:p>
        </p:txBody>
      </p:sp>
      <p:sp>
        <p:nvSpPr>
          <p:cNvPr id="104" name="Rechteck 103">
            <a:extLst>
              <a:ext uri="{FF2B5EF4-FFF2-40B4-BE49-F238E27FC236}">
                <a16:creationId xmlns:a16="http://schemas.microsoft.com/office/drawing/2014/main" id="{6446B2C7-AA8F-4819-9E6F-33B409CD117B}"/>
              </a:ext>
            </a:extLst>
          </p:cNvPr>
          <p:cNvSpPr/>
          <p:nvPr/>
        </p:nvSpPr>
        <p:spPr bwMode="gray">
          <a:xfrm>
            <a:off x="626800"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X-zone 5500 </a:t>
            </a:r>
          </a:p>
        </p:txBody>
      </p:sp>
      <p:sp>
        <p:nvSpPr>
          <p:cNvPr id="105" name="Rechteck 104">
            <a:extLst>
              <a:ext uri="{FF2B5EF4-FFF2-40B4-BE49-F238E27FC236}">
                <a16:creationId xmlns:a16="http://schemas.microsoft.com/office/drawing/2014/main" id="{6B7F3416-0A70-461D-B2FD-0B87172895E8}"/>
              </a:ext>
            </a:extLst>
          </p:cNvPr>
          <p:cNvSpPr/>
          <p:nvPr/>
        </p:nvSpPr>
        <p:spPr bwMode="gray">
          <a:xfrm>
            <a:off x="1736725"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VarioGard</a:t>
            </a:r>
          </a:p>
        </p:txBody>
      </p:sp>
      <p:sp>
        <p:nvSpPr>
          <p:cNvPr id="106" name="Rechteck 105">
            <a:extLst>
              <a:ext uri="{FF2B5EF4-FFF2-40B4-BE49-F238E27FC236}">
                <a16:creationId xmlns:a16="http://schemas.microsoft.com/office/drawing/2014/main" id="{D2CD4AAB-5696-4E4A-BD2A-E0AF31EE5BD9}"/>
              </a:ext>
            </a:extLst>
          </p:cNvPr>
          <p:cNvSpPr/>
          <p:nvPr/>
        </p:nvSpPr>
        <p:spPr bwMode="gray">
          <a:xfrm>
            <a:off x="2850058"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UCF 6000 - 9000</a:t>
            </a:r>
          </a:p>
        </p:txBody>
      </p:sp>
      <p:sp>
        <p:nvSpPr>
          <p:cNvPr id="107" name="Rechteck 106">
            <a:extLst>
              <a:ext uri="{FF2B5EF4-FFF2-40B4-BE49-F238E27FC236}">
                <a16:creationId xmlns:a16="http://schemas.microsoft.com/office/drawing/2014/main" id="{E7662F5A-2CBC-4E64-BC12-B024B63297BF}"/>
              </a:ext>
            </a:extLst>
          </p:cNvPr>
          <p:cNvSpPr/>
          <p:nvPr/>
        </p:nvSpPr>
        <p:spPr bwMode="gray">
          <a:xfrm>
            <a:off x="3963391"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X-act 5000 </a:t>
            </a:r>
          </a:p>
        </p:txBody>
      </p:sp>
      <p:sp>
        <p:nvSpPr>
          <p:cNvPr id="108" name="Rechteck 107">
            <a:extLst>
              <a:ext uri="{FF2B5EF4-FFF2-40B4-BE49-F238E27FC236}">
                <a16:creationId xmlns:a16="http://schemas.microsoft.com/office/drawing/2014/main" id="{72B4690C-3BBA-46AF-9996-CEF5E1BFDF19}"/>
              </a:ext>
            </a:extLst>
          </p:cNvPr>
          <p:cNvSpPr/>
          <p:nvPr/>
        </p:nvSpPr>
        <p:spPr bwMode="gray">
          <a:xfrm>
            <a:off x="5076724"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Service</a:t>
            </a:r>
          </a:p>
        </p:txBody>
      </p:sp>
      <p:sp>
        <p:nvSpPr>
          <p:cNvPr id="109" name="Rechteck 108">
            <a:extLst>
              <a:ext uri="{FF2B5EF4-FFF2-40B4-BE49-F238E27FC236}">
                <a16:creationId xmlns:a16="http://schemas.microsoft.com/office/drawing/2014/main" id="{70BCD13E-AE50-43DC-A805-FA32B09B4160}"/>
              </a:ext>
            </a:extLst>
          </p:cNvPr>
          <p:cNvSpPr/>
          <p:nvPr/>
        </p:nvSpPr>
        <p:spPr bwMode="gray">
          <a:xfrm>
            <a:off x="6190057"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Tool</a:t>
            </a:r>
          </a:p>
        </p:txBody>
      </p:sp>
      <p:sp>
        <p:nvSpPr>
          <p:cNvPr id="110" name="Rechteck 109">
            <a:extLst>
              <a:ext uri="{FF2B5EF4-FFF2-40B4-BE49-F238E27FC236}">
                <a16:creationId xmlns:a16="http://schemas.microsoft.com/office/drawing/2014/main" id="{9D92461A-6D20-431D-B9A3-5906B2AC40C2}"/>
              </a:ext>
            </a:extLst>
          </p:cNvPr>
          <p:cNvSpPr/>
          <p:nvPr/>
        </p:nvSpPr>
        <p:spPr bwMode="gray">
          <a:xfrm>
            <a:off x="7303390"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Synchronize</a:t>
            </a:r>
          </a:p>
        </p:txBody>
      </p:sp>
      <p:sp>
        <p:nvSpPr>
          <p:cNvPr id="111" name="Rechteck 110">
            <a:extLst>
              <a:ext uri="{FF2B5EF4-FFF2-40B4-BE49-F238E27FC236}">
                <a16:creationId xmlns:a16="http://schemas.microsoft.com/office/drawing/2014/main" id="{C1244685-1D69-4A10-815E-153ABBFFE073}"/>
              </a:ext>
            </a:extLst>
          </p:cNvPr>
          <p:cNvSpPr/>
          <p:nvPr/>
        </p:nvSpPr>
        <p:spPr bwMode="gray">
          <a:xfrm>
            <a:off x="8416723"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Language</a:t>
            </a:r>
          </a:p>
        </p:txBody>
      </p:sp>
      <p:sp>
        <p:nvSpPr>
          <p:cNvPr id="112" name="Rechteck 111">
            <a:extLst>
              <a:ext uri="{FF2B5EF4-FFF2-40B4-BE49-F238E27FC236}">
                <a16:creationId xmlns:a16="http://schemas.microsoft.com/office/drawing/2014/main" id="{774C8A0D-3496-41FB-82E1-9E8070B0D41D}"/>
              </a:ext>
            </a:extLst>
          </p:cNvPr>
          <p:cNvSpPr/>
          <p:nvPr/>
        </p:nvSpPr>
        <p:spPr bwMode="gray">
          <a:xfrm>
            <a:off x="9530056"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Key</a:t>
            </a:r>
          </a:p>
        </p:txBody>
      </p:sp>
      <p:sp>
        <p:nvSpPr>
          <p:cNvPr id="113" name="Rechteck 112">
            <a:extLst>
              <a:ext uri="{FF2B5EF4-FFF2-40B4-BE49-F238E27FC236}">
                <a16:creationId xmlns:a16="http://schemas.microsoft.com/office/drawing/2014/main" id="{ECECB70B-9DB5-441B-9AD2-72C4F8B81FBA}"/>
              </a:ext>
            </a:extLst>
          </p:cNvPr>
          <p:cNvSpPr/>
          <p:nvPr/>
        </p:nvSpPr>
        <p:spPr bwMode="gray">
          <a:xfrm>
            <a:off x="10643389" y="2946239"/>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Unlock</a:t>
            </a:r>
          </a:p>
        </p:txBody>
      </p:sp>
      <p:sp>
        <p:nvSpPr>
          <p:cNvPr id="114" name="Rechteck 113">
            <a:extLst>
              <a:ext uri="{FF2B5EF4-FFF2-40B4-BE49-F238E27FC236}">
                <a16:creationId xmlns:a16="http://schemas.microsoft.com/office/drawing/2014/main" id="{AFEFFAC6-6C35-4411-BC5B-400165B9DE0F}"/>
              </a:ext>
            </a:extLst>
          </p:cNvPr>
          <p:cNvSpPr/>
          <p:nvPr/>
        </p:nvSpPr>
        <p:spPr bwMode="gray">
          <a:xfrm>
            <a:off x="626800"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Lock</a:t>
            </a:r>
          </a:p>
        </p:txBody>
      </p:sp>
      <p:sp>
        <p:nvSpPr>
          <p:cNvPr id="115" name="Rechteck 114">
            <a:extLst>
              <a:ext uri="{FF2B5EF4-FFF2-40B4-BE49-F238E27FC236}">
                <a16:creationId xmlns:a16="http://schemas.microsoft.com/office/drawing/2014/main" id="{89E161B2-826C-46C0-885D-B29CD467430E}"/>
              </a:ext>
            </a:extLst>
          </p:cNvPr>
          <p:cNvSpPr/>
          <p:nvPr/>
        </p:nvSpPr>
        <p:spPr bwMode="gray">
          <a:xfrm>
            <a:off x="1736725"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Left Arrow</a:t>
            </a:r>
          </a:p>
        </p:txBody>
      </p:sp>
      <p:sp>
        <p:nvSpPr>
          <p:cNvPr id="116" name="Rechteck 115">
            <a:extLst>
              <a:ext uri="{FF2B5EF4-FFF2-40B4-BE49-F238E27FC236}">
                <a16:creationId xmlns:a16="http://schemas.microsoft.com/office/drawing/2014/main" id="{608F26CC-8935-4DA9-82F2-FEFAE3E5BCE5}"/>
              </a:ext>
            </a:extLst>
          </p:cNvPr>
          <p:cNvSpPr/>
          <p:nvPr/>
        </p:nvSpPr>
        <p:spPr bwMode="gray">
          <a:xfrm>
            <a:off x="2850058"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Right Arrow</a:t>
            </a:r>
          </a:p>
        </p:txBody>
      </p:sp>
      <p:sp>
        <p:nvSpPr>
          <p:cNvPr id="117" name="Rechteck 116">
            <a:extLst>
              <a:ext uri="{FF2B5EF4-FFF2-40B4-BE49-F238E27FC236}">
                <a16:creationId xmlns:a16="http://schemas.microsoft.com/office/drawing/2014/main" id="{B14539F9-B0C1-4097-8DE3-AA302A7218B9}"/>
              </a:ext>
            </a:extLst>
          </p:cNvPr>
          <p:cNvSpPr/>
          <p:nvPr/>
        </p:nvSpPr>
        <p:spPr bwMode="gray">
          <a:xfrm>
            <a:off x="3963391"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Up Arrow</a:t>
            </a:r>
          </a:p>
        </p:txBody>
      </p:sp>
      <p:sp>
        <p:nvSpPr>
          <p:cNvPr id="118" name="Rechteck 117">
            <a:extLst>
              <a:ext uri="{FF2B5EF4-FFF2-40B4-BE49-F238E27FC236}">
                <a16:creationId xmlns:a16="http://schemas.microsoft.com/office/drawing/2014/main" id="{39FF6BA8-5303-482E-BD0B-DE97A41D678F}"/>
              </a:ext>
            </a:extLst>
          </p:cNvPr>
          <p:cNvSpPr/>
          <p:nvPr/>
        </p:nvSpPr>
        <p:spPr bwMode="gray">
          <a:xfrm>
            <a:off x="5076724"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Down Arrow</a:t>
            </a:r>
          </a:p>
        </p:txBody>
      </p:sp>
      <p:sp>
        <p:nvSpPr>
          <p:cNvPr id="119" name="Rechteck 118">
            <a:extLst>
              <a:ext uri="{FF2B5EF4-FFF2-40B4-BE49-F238E27FC236}">
                <a16:creationId xmlns:a16="http://schemas.microsoft.com/office/drawing/2014/main" id="{DEE2B283-C3C0-4626-ACB0-39A1D3C6F874}"/>
              </a:ext>
            </a:extLst>
          </p:cNvPr>
          <p:cNvSpPr/>
          <p:nvPr/>
        </p:nvSpPr>
        <p:spPr bwMode="gray">
          <a:xfrm>
            <a:off x="6190057"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Undo</a:t>
            </a:r>
          </a:p>
        </p:txBody>
      </p:sp>
      <p:sp>
        <p:nvSpPr>
          <p:cNvPr id="120" name="Rechteck 119">
            <a:extLst>
              <a:ext uri="{FF2B5EF4-FFF2-40B4-BE49-F238E27FC236}">
                <a16:creationId xmlns:a16="http://schemas.microsoft.com/office/drawing/2014/main" id="{06661D7B-2E08-4064-A612-1373CEA969F3}"/>
              </a:ext>
            </a:extLst>
          </p:cNvPr>
          <p:cNvSpPr/>
          <p:nvPr/>
        </p:nvSpPr>
        <p:spPr bwMode="gray">
          <a:xfrm>
            <a:off x="7303390"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Restore</a:t>
            </a:r>
          </a:p>
        </p:txBody>
      </p:sp>
      <p:sp>
        <p:nvSpPr>
          <p:cNvPr id="121" name="Rechteck 120">
            <a:extLst>
              <a:ext uri="{FF2B5EF4-FFF2-40B4-BE49-F238E27FC236}">
                <a16:creationId xmlns:a16="http://schemas.microsoft.com/office/drawing/2014/main" id="{C6FBD708-D048-4197-B846-20DE80FB4C66}"/>
              </a:ext>
            </a:extLst>
          </p:cNvPr>
          <p:cNvSpPr/>
          <p:nvPr/>
        </p:nvSpPr>
        <p:spPr bwMode="gray">
          <a:xfrm>
            <a:off x="8416723"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Cross</a:t>
            </a:r>
          </a:p>
        </p:txBody>
      </p:sp>
      <p:sp>
        <p:nvSpPr>
          <p:cNvPr id="122" name="Rechteck 121">
            <a:extLst>
              <a:ext uri="{FF2B5EF4-FFF2-40B4-BE49-F238E27FC236}">
                <a16:creationId xmlns:a16="http://schemas.microsoft.com/office/drawing/2014/main" id="{22DE26C8-45F1-4CEE-8AA0-37E48DFC7BC1}"/>
              </a:ext>
            </a:extLst>
          </p:cNvPr>
          <p:cNvSpPr/>
          <p:nvPr/>
        </p:nvSpPr>
        <p:spPr bwMode="gray">
          <a:xfrm>
            <a:off x="9530056"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Plus</a:t>
            </a:r>
          </a:p>
        </p:txBody>
      </p:sp>
      <p:sp>
        <p:nvSpPr>
          <p:cNvPr id="123" name="Rechteck 122">
            <a:extLst>
              <a:ext uri="{FF2B5EF4-FFF2-40B4-BE49-F238E27FC236}">
                <a16:creationId xmlns:a16="http://schemas.microsoft.com/office/drawing/2014/main" id="{278ED4DD-AA62-4F37-A56E-9990846027D1}"/>
              </a:ext>
            </a:extLst>
          </p:cNvPr>
          <p:cNvSpPr/>
          <p:nvPr/>
        </p:nvSpPr>
        <p:spPr bwMode="gray">
          <a:xfrm>
            <a:off x="10643389" y="411924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Flash</a:t>
            </a:r>
          </a:p>
        </p:txBody>
      </p:sp>
      <p:sp>
        <p:nvSpPr>
          <p:cNvPr id="124" name="Rechteck 123">
            <a:extLst>
              <a:ext uri="{FF2B5EF4-FFF2-40B4-BE49-F238E27FC236}">
                <a16:creationId xmlns:a16="http://schemas.microsoft.com/office/drawing/2014/main" id="{84D5A239-FDC2-4A37-B419-06DB035DB8B0}"/>
              </a:ext>
            </a:extLst>
          </p:cNvPr>
          <p:cNvSpPr/>
          <p:nvPr/>
        </p:nvSpPr>
        <p:spPr bwMode="gray">
          <a:xfrm>
            <a:off x="626800"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No Flash</a:t>
            </a:r>
          </a:p>
        </p:txBody>
      </p:sp>
      <p:sp>
        <p:nvSpPr>
          <p:cNvPr id="125" name="Rechteck 124">
            <a:extLst>
              <a:ext uri="{FF2B5EF4-FFF2-40B4-BE49-F238E27FC236}">
                <a16:creationId xmlns:a16="http://schemas.microsoft.com/office/drawing/2014/main" id="{2648357F-05CA-4976-9650-824AEE7338DE}"/>
              </a:ext>
            </a:extLst>
          </p:cNvPr>
          <p:cNvSpPr/>
          <p:nvPr/>
        </p:nvSpPr>
        <p:spPr bwMode="gray">
          <a:xfrm>
            <a:off x="1736725"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Prohibited</a:t>
            </a:r>
          </a:p>
        </p:txBody>
      </p:sp>
      <p:sp>
        <p:nvSpPr>
          <p:cNvPr id="126" name="Rechteck 125">
            <a:extLst>
              <a:ext uri="{FF2B5EF4-FFF2-40B4-BE49-F238E27FC236}">
                <a16:creationId xmlns:a16="http://schemas.microsoft.com/office/drawing/2014/main" id="{6086761B-355C-48AB-949A-6E7AE4CF85D1}"/>
              </a:ext>
            </a:extLst>
          </p:cNvPr>
          <p:cNvSpPr/>
          <p:nvPr/>
        </p:nvSpPr>
        <p:spPr bwMode="gray">
          <a:xfrm>
            <a:off x="2850058"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Flammable</a:t>
            </a:r>
          </a:p>
        </p:txBody>
      </p:sp>
      <p:sp>
        <p:nvSpPr>
          <p:cNvPr id="127" name="Rechteck 126">
            <a:extLst>
              <a:ext uri="{FF2B5EF4-FFF2-40B4-BE49-F238E27FC236}">
                <a16:creationId xmlns:a16="http://schemas.microsoft.com/office/drawing/2014/main" id="{4891C749-72AA-4596-8DA9-AE789E40235B}"/>
              </a:ext>
            </a:extLst>
          </p:cNvPr>
          <p:cNvSpPr/>
          <p:nvPr/>
        </p:nvSpPr>
        <p:spPr bwMode="gray">
          <a:xfrm>
            <a:off x="3963391"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Explosive</a:t>
            </a:r>
          </a:p>
        </p:txBody>
      </p:sp>
      <p:sp>
        <p:nvSpPr>
          <p:cNvPr id="128" name="Rechteck 127">
            <a:extLst>
              <a:ext uri="{FF2B5EF4-FFF2-40B4-BE49-F238E27FC236}">
                <a16:creationId xmlns:a16="http://schemas.microsoft.com/office/drawing/2014/main" id="{F50D579B-0E53-4010-AEFC-6E2BC2508F36}"/>
              </a:ext>
            </a:extLst>
          </p:cNvPr>
          <p:cNvSpPr/>
          <p:nvPr/>
        </p:nvSpPr>
        <p:spPr bwMode="gray">
          <a:xfrm>
            <a:off x="5076724"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Toxic</a:t>
            </a:r>
          </a:p>
        </p:txBody>
      </p:sp>
      <p:sp>
        <p:nvSpPr>
          <p:cNvPr id="220" name="Rechteck 219">
            <a:extLst>
              <a:ext uri="{FF2B5EF4-FFF2-40B4-BE49-F238E27FC236}">
                <a16:creationId xmlns:a16="http://schemas.microsoft.com/office/drawing/2014/main" id="{32BDD064-E317-42AC-8852-188503BDB3D5}"/>
              </a:ext>
            </a:extLst>
          </p:cNvPr>
          <p:cNvSpPr/>
          <p:nvPr/>
        </p:nvSpPr>
        <p:spPr bwMode="gray">
          <a:xfrm>
            <a:off x="6190057"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a:solidFill>
                  <a:schemeClr val="tx1"/>
                </a:solidFill>
              </a:rPr>
              <a:t>Warning</a:t>
            </a:r>
          </a:p>
        </p:txBody>
      </p:sp>
      <p:sp>
        <p:nvSpPr>
          <p:cNvPr id="221" name="Rechteck 220">
            <a:extLst>
              <a:ext uri="{FF2B5EF4-FFF2-40B4-BE49-F238E27FC236}">
                <a16:creationId xmlns:a16="http://schemas.microsoft.com/office/drawing/2014/main" id="{9B87A743-EDBA-43C3-B434-6CF676A778DD}"/>
              </a:ext>
            </a:extLst>
          </p:cNvPr>
          <p:cNvSpPr/>
          <p:nvPr/>
        </p:nvSpPr>
        <p:spPr bwMode="gray">
          <a:xfrm>
            <a:off x="7303390"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err="1">
                <a:solidFill>
                  <a:schemeClr val="tx1"/>
                </a:solidFill>
              </a:rPr>
              <a:t>Positiv</a:t>
            </a:r>
            <a:endParaRPr lang="en-US" sz="800" dirty="0">
              <a:solidFill>
                <a:schemeClr val="tx1"/>
              </a:solidFill>
            </a:endParaRPr>
          </a:p>
        </p:txBody>
      </p:sp>
      <p:sp>
        <p:nvSpPr>
          <p:cNvPr id="222" name="Rechteck 221">
            <a:extLst>
              <a:ext uri="{FF2B5EF4-FFF2-40B4-BE49-F238E27FC236}">
                <a16:creationId xmlns:a16="http://schemas.microsoft.com/office/drawing/2014/main" id="{A6781384-392C-4239-8B06-DE7ABFC66614}"/>
              </a:ext>
            </a:extLst>
          </p:cNvPr>
          <p:cNvSpPr/>
          <p:nvPr/>
        </p:nvSpPr>
        <p:spPr bwMode="gray">
          <a:xfrm>
            <a:off x="8416723" y="5301320"/>
            <a:ext cx="936103" cy="100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lgn="ctr"/>
            <a:r>
              <a:rPr lang="en-US" sz="800" dirty="0" err="1">
                <a:solidFill>
                  <a:schemeClr val="tx1"/>
                </a:solidFill>
              </a:rPr>
              <a:t>Negativ</a:t>
            </a:r>
            <a:endParaRPr lang="en-US" sz="800" dirty="0">
              <a:solidFill>
                <a:schemeClr val="tx1"/>
              </a:solidFill>
            </a:endParaRPr>
          </a:p>
        </p:txBody>
      </p:sp>
      <p:grpSp>
        <p:nvGrpSpPr>
          <p:cNvPr id="225" name="Gruppieren 224">
            <a:extLst>
              <a:ext uri="{FF2B5EF4-FFF2-40B4-BE49-F238E27FC236}">
                <a16:creationId xmlns:a16="http://schemas.microsoft.com/office/drawing/2014/main" id="{3DE761F1-7E52-4040-B60B-D7633F10BAD2}"/>
              </a:ext>
            </a:extLst>
          </p:cNvPr>
          <p:cNvGrpSpPr/>
          <p:nvPr/>
        </p:nvGrpSpPr>
        <p:grpSpPr bwMode="gray">
          <a:xfrm>
            <a:off x="6543340" y="2000250"/>
            <a:ext cx="229538" cy="553976"/>
            <a:chOff x="1751013" y="1341438"/>
            <a:chExt cx="165100" cy="398462"/>
          </a:xfrm>
          <a:solidFill>
            <a:schemeClr val="accent1"/>
          </a:solidFill>
        </p:grpSpPr>
        <p:sp>
          <p:nvSpPr>
            <p:cNvPr id="226" name="Freeform 34">
              <a:extLst>
                <a:ext uri="{FF2B5EF4-FFF2-40B4-BE49-F238E27FC236}">
                  <a16:creationId xmlns:a16="http://schemas.microsoft.com/office/drawing/2014/main" id="{C088945B-B331-44C4-92F9-4744523C0593}"/>
                </a:ext>
              </a:extLst>
            </p:cNvPr>
            <p:cNvSpPr>
              <a:spLocks noEditPoints="1"/>
            </p:cNvSpPr>
            <p:nvPr/>
          </p:nvSpPr>
          <p:spPr bwMode="gray">
            <a:xfrm>
              <a:off x="1751013" y="1341438"/>
              <a:ext cx="165100" cy="398462"/>
            </a:xfrm>
            <a:custGeom>
              <a:avLst/>
              <a:gdLst>
                <a:gd name="T0" fmla="*/ 553 w 640"/>
                <a:gd name="T1" fmla="*/ 0 h 1547"/>
                <a:gd name="T2" fmla="*/ 87 w 640"/>
                <a:gd name="T3" fmla="*/ 0 h 1547"/>
                <a:gd name="T4" fmla="*/ 0 w 640"/>
                <a:gd name="T5" fmla="*/ 96 h 1547"/>
                <a:gd name="T6" fmla="*/ 0 w 640"/>
                <a:gd name="T7" fmla="*/ 1280 h 1547"/>
                <a:gd name="T8" fmla="*/ 8 w 640"/>
                <a:gd name="T9" fmla="*/ 1401 h 1547"/>
                <a:gd name="T10" fmla="*/ 90 w 640"/>
                <a:gd name="T11" fmla="*/ 1502 h 1547"/>
                <a:gd name="T12" fmla="*/ 550 w 640"/>
                <a:gd name="T13" fmla="*/ 1502 h 1547"/>
                <a:gd name="T14" fmla="*/ 632 w 640"/>
                <a:gd name="T15" fmla="*/ 1401 h 1547"/>
                <a:gd name="T16" fmla="*/ 640 w 640"/>
                <a:gd name="T17" fmla="*/ 1280 h 1547"/>
                <a:gd name="T18" fmla="*/ 640 w 640"/>
                <a:gd name="T19" fmla="*/ 96 h 1547"/>
                <a:gd name="T20" fmla="*/ 553 w 640"/>
                <a:gd name="T21" fmla="*/ 0 h 1547"/>
                <a:gd name="T22" fmla="*/ 96 w 640"/>
                <a:gd name="T23" fmla="*/ 192 h 1547"/>
                <a:gd name="T24" fmla="*/ 152 w 640"/>
                <a:gd name="T25" fmla="*/ 128 h 1547"/>
                <a:gd name="T26" fmla="*/ 256 w 640"/>
                <a:gd name="T27" fmla="*/ 128 h 1547"/>
                <a:gd name="T28" fmla="*/ 256 w 640"/>
                <a:gd name="T29" fmla="*/ 293 h 1547"/>
                <a:gd name="T30" fmla="*/ 280 w 640"/>
                <a:gd name="T31" fmla="*/ 320 h 1547"/>
                <a:gd name="T32" fmla="*/ 360 w 640"/>
                <a:gd name="T33" fmla="*/ 320 h 1547"/>
                <a:gd name="T34" fmla="*/ 384 w 640"/>
                <a:gd name="T35" fmla="*/ 293 h 1547"/>
                <a:gd name="T36" fmla="*/ 384 w 640"/>
                <a:gd name="T37" fmla="*/ 128 h 1547"/>
                <a:gd name="T38" fmla="*/ 488 w 640"/>
                <a:gd name="T39" fmla="*/ 128 h 1547"/>
                <a:gd name="T40" fmla="*/ 544 w 640"/>
                <a:gd name="T41" fmla="*/ 192 h 1547"/>
                <a:gd name="T42" fmla="*/ 544 w 640"/>
                <a:gd name="T43" fmla="*/ 448 h 1547"/>
                <a:gd name="T44" fmla="*/ 96 w 640"/>
                <a:gd name="T45" fmla="*/ 448 h 1547"/>
                <a:gd name="T46" fmla="*/ 96 w 640"/>
                <a:gd name="T47" fmla="*/ 192 h 1547"/>
                <a:gd name="T48" fmla="*/ 500 w 640"/>
                <a:gd name="T49" fmla="*/ 1357 h 1547"/>
                <a:gd name="T50" fmla="*/ 320 w 640"/>
                <a:gd name="T51" fmla="*/ 1376 h 1547"/>
                <a:gd name="T52" fmla="*/ 140 w 640"/>
                <a:gd name="T53" fmla="*/ 1357 h 1547"/>
                <a:gd name="T54" fmla="*/ 96 w 640"/>
                <a:gd name="T55" fmla="*/ 1297 h 1547"/>
                <a:gd name="T56" fmla="*/ 96 w 640"/>
                <a:gd name="T57" fmla="*/ 1152 h 1547"/>
                <a:gd name="T58" fmla="*/ 544 w 640"/>
                <a:gd name="T59" fmla="*/ 1152 h 1547"/>
                <a:gd name="T60" fmla="*/ 544 w 640"/>
                <a:gd name="T61" fmla="*/ 1297 h 1547"/>
                <a:gd name="T62" fmla="*/ 500 w 640"/>
                <a:gd name="T63" fmla="*/ 1357 h 1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0" h="1547">
                  <a:moveTo>
                    <a:pt x="553" y="0"/>
                  </a:moveTo>
                  <a:cubicBezTo>
                    <a:pt x="87" y="0"/>
                    <a:pt x="87" y="0"/>
                    <a:pt x="87" y="0"/>
                  </a:cubicBezTo>
                  <a:cubicBezTo>
                    <a:pt x="39" y="0"/>
                    <a:pt x="0" y="43"/>
                    <a:pt x="0" y="96"/>
                  </a:cubicBezTo>
                  <a:cubicBezTo>
                    <a:pt x="0" y="1280"/>
                    <a:pt x="0" y="1280"/>
                    <a:pt x="0" y="1280"/>
                  </a:cubicBezTo>
                  <a:cubicBezTo>
                    <a:pt x="0" y="1289"/>
                    <a:pt x="5" y="1381"/>
                    <a:pt x="8" y="1401"/>
                  </a:cubicBezTo>
                  <a:cubicBezTo>
                    <a:pt x="15" y="1449"/>
                    <a:pt x="47" y="1489"/>
                    <a:pt x="90" y="1502"/>
                  </a:cubicBezTo>
                  <a:cubicBezTo>
                    <a:pt x="240" y="1547"/>
                    <a:pt x="400" y="1547"/>
                    <a:pt x="550" y="1502"/>
                  </a:cubicBezTo>
                  <a:cubicBezTo>
                    <a:pt x="593" y="1489"/>
                    <a:pt x="625" y="1449"/>
                    <a:pt x="632" y="1401"/>
                  </a:cubicBezTo>
                  <a:cubicBezTo>
                    <a:pt x="635" y="1381"/>
                    <a:pt x="640" y="1289"/>
                    <a:pt x="640" y="1280"/>
                  </a:cubicBezTo>
                  <a:cubicBezTo>
                    <a:pt x="640" y="96"/>
                    <a:pt x="640" y="96"/>
                    <a:pt x="640" y="96"/>
                  </a:cubicBezTo>
                  <a:cubicBezTo>
                    <a:pt x="640" y="43"/>
                    <a:pt x="601" y="0"/>
                    <a:pt x="553" y="0"/>
                  </a:cubicBezTo>
                  <a:close/>
                  <a:moveTo>
                    <a:pt x="96" y="192"/>
                  </a:moveTo>
                  <a:cubicBezTo>
                    <a:pt x="96" y="157"/>
                    <a:pt x="121" y="128"/>
                    <a:pt x="152" y="128"/>
                  </a:cubicBezTo>
                  <a:cubicBezTo>
                    <a:pt x="256" y="128"/>
                    <a:pt x="256" y="128"/>
                    <a:pt x="256" y="128"/>
                  </a:cubicBezTo>
                  <a:cubicBezTo>
                    <a:pt x="256" y="293"/>
                    <a:pt x="256" y="293"/>
                    <a:pt x="256" y="293"/>
                  </a:cubicBezTo>
                  <a:cubicBezTo>
                    <a:pt x="256" y="308"/>
                    <a:pt x="267" y="320"/>
                    <a:pt x="280" y="320"/>
                  </a:cubicBezTo>
                  <a:cubicBezTo>
                    <a:pt x="360" y="320"/>
                    <a:pt x="360" y="320"/>
                    <a:pt x="360" y="320"/>
                  </a:cubicBezTo>
                  <a:cubicBezTo>
                    <a:pt x="373" y="320"/>
                    <a:pt x="384" y="308"/>
                    <a:pt x="384" y="293"/>
                  </a:cubicBezTo>
                  <a:cubicBezTo>
                    <a:pt x="384" y="128"/>
                    <a:pt x="384" y="128"/>
                    <a:pt x="384" y="128"/>
                  </a:cubicBezTo>
                  <a:cubicBezTo>
                    <a:pt x="488" y="128"/>
                    <a:pt x="488" y="128"/>
                    <a:pt x="488" y="128"/>
                  </a:cubicBezTo>
                  <a:cubicBezTo>
                    <a:pt x="519" y="128"/>
                    <a:pt x="544" y="157"/>
                    <a:pt x="544" y="192"/>
                  </a:cubicBezTo>
                  <a:cubicBezTo>
                    <a:pt x="544" y="448"/>
                    <a:pt x="544" y="448"/>
                    <a:pt x="544" y="448"/>
                  </a:cubicBezTo>
                  <a:cubicBezTo>
                    <a:pt x="96" y="448"/>
                    <a:pt x="96" y="448"/>
                    <a:pt x="96" y="448"/>
                  </a:cubicBezTo>
                  <a:lnTo>
                    <a:pt x="96" y="192"/>
                  </a:lnTo>
                  <a:close/>
                  <a:moveTo>
                    <a:pt x="500" y="1357"/>
                  </a:moveTo>
                  <a:cubicBezTo>
                    <a:pt x="441" y="1370"/>
                    <a:pt x="380" y="1376"/>
                    <a:pt x="320" y="1376"/>
                  </a:cubicBezTo>
                  <a:cubicBezTo>
                    <a:pt x="260" y="1376"/>
                    <a:pt x="199" y="1370"/>
                    <a:pt x="140" y="1357"/>
                  </a:cubicBezTo>
                  <a:cubicBezTo>
                    <a:pt x="114" y="1352"/>
                    <a:pt x="96" y="1326"/>
                    <a:pt x="96" y="1297"/>
                  </a:cubicBezTo>
                  <a:cubicBezTo>
                    <a:pt x="96" y="1152"/>
                    <a:pt x="96" y="1152"/>
                    <a:pt x="96" y="1152"/>
                  </a:cubicBezTo>
                  <a:cubicBezTo>
                    <a:pt x="544" y="1152"/>
                    <a:pt x="544" y="1152"/>
                    <a:pt x="544" y="1152"/>
                  </a:cubicBezTo>
                  <a:cubicBezTo>
                    <a:pt x="544" y="1297"/>
                    <a:pt x="544" y="1297"/>
                    <a:pt x="544" y="1297"/>
                  </a:cubicBezTo>
                  <a:cubicBezTo>
                    <a:pt x="544" y="1326"/>
                    <a:pt x="526" y="1352"/>
                    <a:pt x="500" y="135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27" name="Oval 35">
              <a:extLst>
                <a:ext uri="{FF2B5EF4-FFF2-40B4-BE49-F238E27FC236}">
                  <a16:creationId xmlns:a16="http://schemas.microsoft.com/office/drawing/2014/main" id="{962949E3-A64A-4B63-A686-01A8B9EC6BA5}"/>
                </a:ext>
              </a:extLst>
            </p:cNvPr>
            <p:cNvSpPr>
              <a:spLocks noChangeArrowheads="1"/>
            </p:cNvSpPr>
            <p:nvPr/>
          </p:nvSpPr>
          <p:spPr bwMode="gray">
            <a:xfrm>
              <a:off x="1792288" y="1646238"/>
              <a:ext cx="33338" cy="33337"/>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28" name="Oval 36">
              <a:extLst>
                <a:ext uri="{FF2B5EF4-FFF2-40B4-BE49-F238E27FC236}">
                  <a16:creationId xmlns:a16="http://schemas.microsoft.com/office/drawing/2014/main" id="{8E750024-BC78-40BD-8732-A56A8D85898D}"/>
                </a:ext>
              </a:extLst>
            </p:cNvPr>
            <p:cNvSpPr>
              <a:spLocks noChangeArrowheads="1"/>
            </p:cNvSpPr>
            <p:nvPr/>
          </p:nvSpPr>
          <p:spPr bwMode="gray">
            <a:xfrm>
              <a:off x="1841501" y="1646238"/>
              <a:ext cx="33338" cy="33337"/>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29" name="Freeform 68">
            <a:extLst>
              <a:ext uri="{FF2B5EF4-FFF2-40B4-BE49-F238E27FC236}">
                <a16:creationId xmlns:a16="http://schemas.microsoft.com/office/drawing/2014/main" id="{A75C6C1E-1913-4E50-8FC3-DBF20EED9C1F}"/>
              </a:ext>
            </a:extLst>
          </p:cNvPr>
          <p:cNvSpPr>
            <a:spLocks noEditPoints="1"/>
          </p:cNvSpPr>
          <p:nvPr/>
        </p:nvSpPr>
        <p:spPr bwMode="gray">
          <a:xfrm>
            <a:off x="4198874" y="3250214"/>
            <a:ext cx="465137" cy="400051"/>
          </a:xfrm>
          <a:custGeom>
            <a:avLst/>
            <a:gdLst>
              <a:gd name="T0" fmla="*/ 1024 w 1536"/>
              <a:gd name="T1" fmla="*/ 864 h 1328"/>
              <a:gd name="T2" fmla="*/ 512 w 1536"/>
              <a:gd name="T3" fmla="*/ 864 h 1328"/>
              <a:gd name="T4" fmla="*/ 512 w 1536"/>
              <a:gd name="T5" fmla="*/ 608 h 1328"/>
              <a:gd name="T6" fmla="*/ 1024 w 1536"/>
              <a:gd name="T7" fmla="*/ 608 h 1328"/>
              <a:gd name="T8" fmla="*/ 1024 w 1536"/>
              <a:gd name="T9" fmla="*/ 864 h 1328"/>
              <a:gd name="T10" fmla="*/ 1536 w 1536"/>
              <a:gd name="T11" fmla="*/ 141 h 1328"/>
              <a:gd name="T12" fmla="*/ 1536 w 1536"/>
              <a:gd name="T13" fmla="*/ 1200 h 1328"/>
              <a:gd name="T14" fmla="*/ 1408 w 1536"/>
              <a:gd name="T15" fmla="*/ 1312 h 1328"/>
              <a:gd name="T16" fmla="*/ 1152 w 1536"/>
              <a:gd name="T17" fmla="*/ 1312 h 1328"/>
              <a:gd name="T18" fmla="*/ 1024 w 1536"/>
              <a:gd name="T19" fmla="*/ 1184 h 1328"/>
              <a:gd name="T20" fmla="*/ 512 w 1536"/>
              <a:gd name="T21" fmla="*/ 1184 h 1328"/>
              <a:gd name="T22" fmla="*/ 384 w 1536"/>
              <a:gd name="T23" fmla="*/ 1312 h 1328"/>
              <a:gd name="T24" fmla="*/ 91 w 1536"/>
              <a:gd name="T25" fmla="*/ 1312 h 1328"/>
              <a:gd name="T26" fmla="*/ 0 w 1536"/>
              <a:gd name="T27" fmla="*/ 1221 h 1328"/>
              <a:gd name="T28" fmla="*/ 0 w 1536"/>
              <a:gd name="T29" fmla="*/ 141 h 1328"/>
              <a:gd name="T30" fmla="*/ 76 w 1536"/>
              <a:gd name="T31" fmla="*/ 51 h 1328"/>
              <a:gd name="T32" fmla="*/ 384 w 1536"/>
              <a:gd name="T33" fmla="*/ 0 h 1328"/>
              <a:gd name="T34" fmla="*/ 384 w 1536"/>
              <a:gd name="T35" fmla="*/ 96 h 1328"/>
              <a:gd name="T36" fmla="*/ 1152 w 1536"/>
              <a:gd name="T37" fmla="*/ 96 h 1328"/>
              <a:gd name="T38" fmla="*/ 1152 w 1536"/>
              <a:gd name="T39" fmla="*/ 0 h 1328"/>
              <a:gd name="T40" fmla="*/ 1460 w 1536"/>
              <a:gd name="T41" fmla="*/ 51 h 1328"/>
              <a:gd name="T42" fmla="*/ 1536 w 1536"/>
              <a:gd name="T43" fmla="*/ 141 h 1328"/>
              <a:gd name="T44" fmla="*/ 640 w 1536"/>
              <a:gd name="T45" fmla="*/ 992 h 1328"/>
              <a:gd name="T46" fmla="*/ 448 w 1536"/>
              <a:gd name="T47" fmla="*/ 992 h 1328"/>
              <a:gd name="T48" fmla="*/ 448 w 1536"/>
              <a:gd name="T49" fmla="*/ 1120 h 1328"/>
              <a:gd name="T50" fmla="*/ 640 w 1536"/>
              <a:gd name="T51" fmla="*/ 1120 h 1328"/>
              <a:gd name="T52" fmla="*/ 640 w 1536"/>
              <a:gd name="T53" fmla="*/ 992 h 1328"/>
              <a:gd name="T54" fmla="*/ 832 w 1536"/>
              <a:gd name="T55" fmla="*/ 992 h 1328"/>
              <a:gd name="T56" fmla="*/ 704 w 1536"/>
              <a:gd name="T57" fmla="*/ 992 h 1328"/>
              <a:gd name="T58" fmla="*/ 704 w 1536"/>
              <a:gd name="T59" fmla="*/ 1120 h 1328"/>
              <a:gd name="T60" fmla="*/ 832 w 1536"/>
              <a:gd name="T61" fmla="*/ 1120 h 1328"/>
              <a:gd name="T62" fmla="*/ 832 w 1536"/>
              <a:gd name="T63" fmla="*/ 992 h 1328"/>
              <a:gd name="T64" fmla="*/ 1088 w 1536"/>
              <a:gd name="T65" fmla="*/ 992 h 1328"/>
              <a:gd name="T66" fmla="*/ 896 w 1536"/>
              <a:gd name="T67" fmla="*/ 992 h 1328"/>
              <a:gd name="T68" fmla="*/ 896 w 1536"/>
              <a:gd name="T69" fmla="*/ 1120 h 1328"/>
              <a:gd name="T70" fmla="*/ 1088 w 1536"/>
              <a:gd name="T71" fmla="*/ 1120 h 1328"/>
              <a:gd name="T72" fmla="*/ 1088 w 1536"/>
              <a:gd name="T73" fmla="*/ 992 h 1328"/>
              <a:gd name="T74" fmla="*/ 1152 w 1536"/>
              <a:gd name="T75" fmla="*/ 544 h 1328"/>
              <a:gd name="T76" fmla="*/ 384 w 1536"/>
              <a:gd name="T77" fmla="*/ 544 h 1328"/>
              <a:gd name="T78" fmla="*/ 448 w 1536"/>
              <a:gd name="T79" fmla="*/ 928 h 1328"/>
              <a:gd name="T80" fmla="*/ 1088 w 1536"/>
              <a:gd name="T81" fmla="*/ 928 h 1328"/>
              <a:gd name="T82" fmla="*/ 1152 w 1536"/>
              <a:gd name="T83" fmla="*/ 544 h 1328"/>
              <a:gd name="T84" fmla="*/ 1152 w 1536"/>
              <a:gd name="T85" fmla="*/ 224 h 1328"/>
              <a:gd name="T86" fmla="*/ 384 w 1536"/>
              <a:gd name="T87" fmla="*/ 224 h 1328"/>
              <a:gd name="T88" fmla="*/ 384 w 1536"/>
              <a:gd name="T89" fmla="*/ 416 h 1328"/>
              <a:gd name="T90" fmla="*/ 1152 w 1536"/>
              <a:gd name="T91" fmla="*/ 416 h 1328"/>
              <a:gd name="T92" fmla="*/ 1152 w 1536"/>
              <a:gd name="T93" fmla="*/ 224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6" h="1328">
                <a:moveTo>
                  <a:pt x="1024" y="864"/>
                </a:moveTo>
                <a:cubicBezTo>
                  <a:pt x="512" y="864"/>
                  <a:pt x="512" y="864"/>
                  <a:pt x="512" y="864"/>
                </a:cubicBezTo>
                <a:cubicBezTo>
                  <a:pt x="512" y="608"/>
                  <a:pt x="512" y="608"/>
                  <a:pt x="512" y="608"/>
                </a:cubicBezTo>
                <a:cubicBezTo>
                  <a:pt x="1024" y="608"/>
                  <a:pt x="1024" y="608"/>
                  <a:pt x="1024" y="608"/>
                </a:cubicBezTo>
                <a:lnTo>
                  <a:pt x="1024" y="864"/>
                </a:lnTo>
                <a:close/>
                <a:moveTo>
                  <a:pt x="1536" y="141"/>
                </a:moveTo>
                <a:cubicBezTo>
                  <a:pt x="1536" y="1200"/>
                  <a:pt x="1536" y="1200"/>
                  <a:pt x="1536" y="1200"/>
                </a:cubicBezTo>
                <a:cubicBezTo>
                  <a:pt x="1536" y="1200"/>
                  <a:pt x="1479" y="1328"/>
                  <a:pt x="1408" y="1312"/>
                </a:cubicBezTo>
                <a:cubicBezTo>
                  <a:pt x="1152" y="1312"/>
                  <a:pt x="1152" y="1312"/>
                  <a:pt x="1152" y="1312"/>
                </a:cubicBezTo>
                <a:cubicBezTo>
                  <a:pt x="1024" y="1184"/>
                  <a:pt x="1024" y="1184"/>
                  <a:pt x="1024" y="1184"/>
                </a:cubicBezTo>
                <a:cubicBezTo>
                  <a:pt x="512" y="1184"/>
                  <a:pt x="512" y="1184"/>
                  <a:pt x="512" y="1184"/>
                </a:cubicBezTo>
                <a:cubicBezTo>
                  <a:pt x="384" y="1312"/>
                  <a:pt x="384" y="1312"/>
                  <a:pt x="384" y="1312"/>
                </a:cubicBezTo>
                <a:cubicBezTo>
                  <a:pt x="91" y="1312"/>
                  <a:pt x="91" y="1312"/>
                  <a:pt x="91" y="1312"/>
                </a:cubicBezTo>
                <a:cubicBezTo>
                  <a:pt x="41" y="1312"/>
                  <a:pt x="0" y="1271"/>
                  <a:pt x="0" y="1221"/>
                </a:cubicBezTo>
                <a:cubicBezTo>
                  <a:pt x="0" y="141"/>
                  <a:pt x="0" y="141"/>
                  <a:pt x="0" y="141"/>
                </a:cubicBezTo>
                <a:cubicBezTo>
                  <a:pt x="0" y="97"/>
                  <a:pt x="32" y="59"/>
                  <a:pt x="76" y="51"/>
                </a:cubicBezTo>
                <a:cubicBezTo>
                  <a:pt x="384" y="0"/>
                  <a:pt x="384" y="0"/>
                  <a:pt x="384" y="0"/>
                </a:cubicBezTo>
                <a:cubicBezTo>
                  <a:pt x="384" y="96"/>
                  <a:pt x="384" y="96"/>
                  <a:pt x="384" y="96"/>
                </a:cubicBezTo>
                <a:cubicBezTo>
                  <a:pt x="1152" y="96"/>
                  <a:pt x="1152" y="96"/>
                  <a:pt x="1152" y="96"/>
                </a:cubicBezTo>
                <a:cubicBezTo>
                  <a:pt x="1152" y="0"/>
                  <a:pt x="1152" y="0"/>
                  <a:pt x="1152" y="0"/>
                </a:cubicBezTo>
                <a:cubicBezTo>
                  <a:pt x="1460" y="51"/>
                  <a:pt x="1460" y="51"/>
                  <a:pt x="1460" y="51"/>
                </a:cubicBezTo>
                <a:cubicBezTo>
                  <a:pt x="1504" y="59"/>
                  <a:pt x="1536" y="97"/>
                  <a:pt x="1536" y="141"/>
                </a:cubicBezTo>
                <a:close/>
                <a:moveTo>
                  <a:pt x="640" y="992"/>
                </a:moveTo>
                <a:cubicBezTo>
                  <a:pt x="448" y="992"/>
                  <a:pt x="448" y="992"/>
                  <a:pt x="448" y="992"/>
                </a:cubicBezTo>
                <a:cubicBezTo>
                  <a:pt x="448" y="1120"/>
                  <a:pt x="448" y="1120"/>
                  <a:pt x="448" y="1120"/>
                </a:cubicBezTo>
                <a:cubicBezTo>
                  <a:pt x="640" y="1120"/>
                  <a:pt x="640" y="1120"/>
                  <a:pt x="640" y="1120"/>
                </a:cubicBezTo>
                <a:lnTo>
                  <a:pt x="640" y="992"/>
                </a:lnTo>
                <a:close/>
                <a:moveTo>
                  <a:pt x="832" y="992"/>
                </a:moveTo>
                <a:cubicBezTo>
                  <a:pt x="704" y="992"/>
                  <a:pt x="704" y="992"/>
                  <a:pt x="704" y="992"/>
                </a:cubicBezTo>
                <a:cubicBezTo>
                  <a:pt x="704" y="1120"/>
                  <a:pt x="704" y="1120"/>
                  <a:pt x="704" y="1120"/>
                </a:cubicBezTo>
                <a:cubicBezTo>
                  <a:pt x="832" y="1120"/>
                  <a:pt x="832" y="1120"/>
                  <a:pt x="832" y="1120"/>
                </a:cubicBezTo>
                <a:lnTo>
                  <a:pt x="832" y="992"/>
                </a:lnTo>
                <a:close/>
                <a:moveTo>
                  <a:pt x="1088" y="992"/>
                </a:moveTo>
                <a:cubicBezTo>
                  <a:pt x="896" y="992"/>
                  <a:pt x="896" y="992"/>
                  <a:pt x="896" y="992"/>
                </a:cubicBezTo>
                <a:cubicBezTo>
                  <a:pt x="896" y="1120"/>
                  <a:pt x="896" y="1120"/>
                  <a:pt x="896" y="1120"/>
                </a:cubicBezTo>
                <a:cubicBezTo>
                  <a:pt x="1088" y="1120"/>
                  <a:pt x="1088" y="1120"/>
                  <a:pt x="1088" y="1120"/>
                </a:cubicBezTo>
                <a:lnTo>
                  <a:pt x="1088" y="992"/>
                </a:lnTo>
                <a:close/>
                <a:moveTo>
                  <a:pt x="1152" y="544"/>
                </a:moveTo>
                <a:cubicBezTo>
                  <a:pt x="384" y="544"/>
                  <a:pt x="384" y="544"/>
                  <a:pt x="384" y="544"/>
                </a:cubicBezTo>
                <a:cubicBezTo>
                  <a:pt x="448" y="928"/>
                  <a:pt x="448" y="928"/>
                  <a:pt x="448" y="928"/>
                </a:cubicBezTo>
                <a:cubicBezTo>
                  <a:pt x="1088" y="928"/>
                  <a:pt x="1088" y="928"/>
                  <a:pt x="1088" y="928"/>
                </a:cubicBezTo>
                <a:lnTo>
                  <a:pt x="1152" y="544"/>
                </a:lnTo>
                <a:close/>
                <a:moveTo>
                  <a:pt x="1152" y="224"/>
                </a:moveTo>
                <a:cubicBezTo>
                  <a:pt x="384" y="224"/>
                  <a:pt x="384" y="224"/>
                  <a:pt x="384" y="224"/>
                </a:cubicBezTo>
                <a:cubicBezTo>
                  <a:pt x="384" y="416"/>
                  <a:pt x="384" y="416"/>
                  <a:pt x="384" y="416"/>
                </a:cubicBezTo>
                <a:cubicBezTo>
                  <a:pt x="1152" y="416"/>
                  <a:pt x="1152" y="416"/>
                  <a:pt x="1152" y="416"/>
                </a:cubicBezTo>
                <a:lnTo>
                  <a:pt x="1152" y="22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0" name="Freeform 233">
            <a:extLst>
              <a:ext uri="{FF2B5EF4-FFF2-40B4-BE49-F238E27FC236}">
                <a16:creationId xmlns:a16="http://schemas.microsoft.com/office/drawing/2014/main" id="{0221F142-262E-4E93-B91F-3450A82744CB}"/>
              </a:ext>
            </a:extLst>
          </p:cNvPr>
          <p:cNvSpPr>
            <a:spLocks noEditPoints="1"/>
          </p:cNvSpPr>
          <p:nvPr/>
        </p:nvSpPr>
        <p:spPr bwMode="gray">
          <a:xfrm>
            <a:off x="5317401" y="3199828"/>
            <a:ext cx="454750" cy="500824"/>
          </a:xfrm>
          <a:custGeom>
            <a:avLst/>
            <a:gdLst>
              <a:gd name="T0" fmla="*/ 1309 w 1380"/>
              <a:gd name="T1" fmla="*/ 974 h 1518"/>
              <a:gd name="T2" fmla="*/ 1304 w 1380"/>
              <a:gd name="T3" fmla="*/ 921 h 1518"/>
              <a:gd name="T4" fmla="*/ 1380 w 1380"/>
              <a:gd name="T5" fmla="*/ 838 h 1518"/>
              <a:gd name="T6" fmla="*/ 1294 w 1380"/>
              <a:gd name="T7" fmla="*/ 694 h 1518"/>
              <a:gd name="T8" fmla="*/ 1182 w 1380"/>
              <a:gd name="T9" fmla="*/ 716 h 1518"/>
              <a:gd name="T10" fmla="*/ 1086 w 1380"/>
              <a:gd name="T11" fmla="*/ 663 h 1518"/>
              <a:gd name="T12" fmla="*/ 1050 w 1380"/>
              <a:gd name="T13" fmla="*/ 558 h 1518"/>
              <a:gd name="T14" fmla="*/ 878 w 1380"/>
              <a:gd name="T15" fmla="*/ 558 h 1518"/>
              <a:gd name="T16" fmla="*/ 842 w 1380"/>
              <a:gd name="T17" fmla="*/ 663 h 1518"/>
              <a:gd name="T18" fmla="*/ 746 w 1380"/>
              <a:gd name="T19" fmla="*/ 716 h 1518"/>
              <a:gd name="T20" fmla="*/ 634 w 1380"/>
              <a:gd name="T21" fmla="*/ 694 h 1518"/>
              <a:gd name="T22" fmla="*/ 548 w 1380"/>
              <a:gd name="T23" fmla="*/ 838 h 1518"/>
              <a:gd name="T24" fmla="*/ 624 w 1380"/>
              <a:gd name="T25" fmla="*/ 921 h 1518"/>
              <a:gd name="T26" fmla="*/ 624 w 1380"/>
              <a:gd name="T27" fmla="*/ 1027 h 1518"/>
              <a:gd name="T28" fmla="*/ 548 w 1380"/>
              <a:gd name="T29" fmla="*/ 1110 h 1518"/>
              <a:gd name="T30" fmla="*/ 634 w 1380"/>
              <a:gd name="T31" fmla="*/ 1254 h 1518"/>
              <a:gd name="T32" fmla="*/ 746 w 1380"/>
              <a:gd name="T33" fmla="*/ 1232 h 1518"/>
              <a:gd name="T34" fmla="*/ 842 w 1380"/>
              <a:gd name="T35" fmla="*/ 1285 h 1518"/>
              <a:gd name="T36" fmla="*/ 878 w 1380"/>
              <a:gd name="T37" fmla="*/ 1390 h 1518"/>
              <a:gd name="T38" fmla="*/ 1050 w 1380"/>
              <a:gd name="T39" fmla="*/ 1390 h 1518"/>
              <a:gd name="T40" fmla="*/ 1086 w 1380"/>
              <a:gd name="T41" fmla="*/ 1285 h 1518"/>
              <a:gd name="T42" fmla="*/ 1182 w 1380"/>
              <a:gd name="T43" fmla="*/ 1232 h 1518"/>
              <a:gd name="T44" fmla="*/ 1294 w 1380"/>
              <a:gd name="T45" fmla="*/ 1254 h 1518"/>
              <a:gd name="T46" fmla="*/ 1380 w 1380"/>
              <a:gd name="T47" fmla="*/ 1110 h 1518"/>
              <a:gd name="T48" fmla="*/ 1304 w 1380"/>
              <a:gd name="T49" fmla="*/ 1027 h 1518"/>
              <a:gd name="T50" fmla="*/ 1309 w 1380"/>
              <a:gd name="T51" fmla="*/ 974 h 1518"/>
              <a:gd name="T52" fmla="*/ 964 w 1380"/>
              <a:gd name="T53" fmla="*/ 1182 h 1518"/>
              <a:gd name="T54" fmla="*/ 749 w 1380"/>
              <a:gd name="T55" fmla="*/ 974 h 1518"/>
              <a:gd name="T56" fmla="*/ 964 w 1380"/>
              <a:gd name="T57" fmla="*/ 766 h 1518"/>
              <a:gd name="T58" fmla="*/ 1179 w 1380"/>
              <a:gd name="T59" fmla="*/ 974 h 1518"/>
              <a:gd name="T60" fmla="*/ 964 w 1380"/>
              <a:gd name="T61" fmla="*/ 1182 h 1518"/>
              <a:gd name="T62" fmla="*/ 420 w 1380"/>
              <a:gd name="T63" fmla="*/ 540 h 1518"/>
              <a:gd name="T64" fmla="*/ 420 w 1380"/>
              <a:gd name="T65" fmla="*/ 1518 h 1518"/>
              <a:gd name="T66" fmla="*/ 228 w 1380"/>
              <a:gd name="T67" fmla="*/ 1518 h 1518"/>
              <a:gd name="T68" fmla="*/ 228 w 1380"/>
              <a:gd name="T69" fmla="*/ 540 h 1518"/>
              <a:gd name="T70" fmla="*/ 52 w 1380"/>
              <a:gd name="T71" fmla="*/ 176 h 1518"/>
              <a:gd name="T72" fmla="*/ 228 w 1380"/>
              <a:gd name="T73" fmla="*/ 0 h 1518"/>
              <a:gd name="T74" fmla="*/ 228 w 1380"/>
              <a:gd name="T75" fmla="*/ 302 h 1518"/>
              <a:gd name="T76" fmla="*/ 420 w 1380"/>
              <a:gd name="T77" fmla="*/ 302 h 1518"/>
              <a:gd name="T78" fmla="*/ 420 w 1380"/>
              <a:gd name="T79" fmla="*/ 0 h 1518"/>
              <a:gd name="T80" fmla="*/ 596 w 1380"/>
              <a:gd name="T81" fmla="*/ 364 h 1518"/>
              <a:gd name="T82" fmla="*/ 420 w 1380"/>
              <a:gd name="T83" fmla="*/ 540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80" h="1518">
                <a:moveTo>
                  <a:pt x="1309" y="974"/>
                </a:moveTo>
                <a:cubicBezTo>
                  <a:pt x="1308" y="956"/>
                  <a:pt x="1307" y="939"/>
                  <a:pt x="1304" y="921"/>
                </a:cubicBezTo>
                <a:cubicBezTo>
                  <a:pt x="1380" y="838"/>
                  <a:pt x="1380" y="838"/>
                  <a:pt x="1380" y="838"/>
                </a:cubicBezTo>
                <a:cubicBezTo>
                  <a:pt x="1294" y="694"/>
                  <a:pt x="1294" y="694"/>
                  <a:pt x="1294" y="694"/>
                </a:cubicBezTo>
                <a:cubicBezTo>
                  <a:pt x="1182" y="716"/>
                  <a:pt x="1182" y="716"/>
                  <a:pt x="1182" y="716"/>
                </a:cubicBezTo>
                <a:cubicBezTo>
                  <a:pt x="1153" y="694"/>
                  <a:pt x="1121" y="676"/>
                  <a:pt x="1086" y="663"/>
                </a:cubicBezTo>
                <a:cubicBezTo>
                  <a:pt x="1050" y="558"/>
                  <a:pt x="1050" y="558"/>
                  <a:pt x="1050" y="558"/>
                </a:cubicBezTo>
                <a:cubicBezTo>
                  <a:pt x="878" y="558"/>
                  <a:pt x="878" y="558"/>
                  <a:pt x="878" y="558"/>
                </a:cubicBezTo>
                <a:cubicBezTo>
                  <a:pt x="842" y="663"/>
                  <a:pt x="842" y="663"/>
                  <a:pt x="842" y="663"/>
                </a:cubicBezTo>
                <a:cubicBezTo>
                  <a:pt x="807" y="676"/>
                  <a:pt x="775" y="694"/>
                  <a:pt x="746" y="716"/>
                </a:cubicBezTo>
                <a:cubicBezTo>
                  <a:pt x="634" y="694"/>
                  <a:pt x="634" y="694"/>
                  <a:pt x="634" y="694"/>
                </a:cubicBezTo>
                <a:cubicBezTo>
                  <a:pt x="548" y="838"/>
                  <a:pt x="548" y="838"/>
                  <a:pt x="548" y="838"/>
                </a:cubicBezTo>
                <a:cubicBezTo>
                  <a:pt x="624" y="921"/>
                  <a:pt x="624" y="921"/>
                  <a:pt x="624" y="921"/>
                </a:cubicBezTo>
                <a:cubicBezTo>
                  <a:pt x="618" y="956"/>
                  <a:pt x="618" y="992"/>
                  <a:pt x="624" y="1027"/>
                </a:cubicBezTo>
                <a:cubicBezTo>
                  <a:pt x="548" y="1110"/>
                  <a:pt x="548" y="1110"/>
                  <a:pt x="548" y="1110"/>
                </a:cubicBezTo>
                <a:cubicBezTo>
                  <a:pt x="634" y="1254"/>
                  <a:pt x="634" y="1254"/>
                  <a:pt x="634" y="1254"/>
                </a:cubicBezTo>
                <a:cubicBezTo>
                  <a:pt x="746" y="1232"/>
                  <a:pt x="746" y="1232"/>
                  <a:pt x="746" y="1232"/>
                </a:cubicBezTo>
                <a:cubicBezTo>
                  <a:pt x="775" y="1254"/>
                  <a:pt x="807" y="1272"/>
                  <a:pt x="842" y="1285"/>
                </a:cubicBezTo>
                <a:cubicBezTo>
                  <a:pt x="878" y="1390"/>
                  <a:pt x="878" y="1390"/>
                  <a:pt x="878" y="1390"/>
                </a:cubicBezTo>
                <a:cubicBezTo>
                  <a:pt x="1050" y="1390"/>
                  <a:pt x="1050" y="1390"/>
                  <a:pt x="1050" y="1390"/>
                </a:cubicBezTo>
                <a:cubicBezTo>
                  <a:pt x="1086" y="1285"/>
                  <a:pt x="1086" y="1285"/>
                  <a:pt x="1086" y="1285"/>
                </a:cubicBezTo>
                <a:cubicBezTo>
                  <a:pt x="1121" y="1272"/>
                  <a:pt x="1153" y="1254"/>
                  <a:pt x="1182" y="1232"/>
                </a:cubicBezTo>
                <a:cubicBezTo>
                  <a:pt x="1294" y="1254"/>
                  <a:pt x="1294" y="1254"/>
                  <a:pt x="1294" y="1254"/>
                </a:cubicBezTo>
                <a:cubicBezTo>
                  <a:pt x="1380" y="1110"/>
                  <a:pt x="1380" y="1110"/>
                  <a:pt x="1380" y="1110"/>
                </a:cubicBezTo>
                <a:cubicBezTo>
                  <a:pt x="1304" y="1027"/>
                  <a:pt x="1304" y="1027"/>
                  <a:pt x="1304" y="1027"/>
                </a:cubicBezTo>
                <a:cubicBezTo>
                  <a:pt x="1307" y="1009"/>
                  <a:pt x="1308" y="992"/>
                  <a:pt x="1309" y="974"/>
                </a:cubicBezTo>
                <a:close/>
                <a:moveTo>
                  <a:pt x="964" y="1182"/>
                </a:moveTo>
                <a:cubicBezTo>
                  <a:pt x="845" y="1182"/>
                  <a:pt x="749" y="1089"/>
                  <a:pt x="749" y="974"/>
                </a:cubicBezTo>
                <a:cubicBezTo>
                  <a:pt x="749" y="859"/>
                  <a:pt x="845" y="766"/>
                  <a:pt x="964" y="766"/>
                </a:cubicBezTo>
                <a:cubicBezTo>
                  <a:pt x="1083" y="766"/>
                  <a:pt x="1179" y="859"/>
                  <a:pt x="1179" y="974"/>
                </a:cubicBezTo>
                <a:cubicBezTo>
                  <a:pt x="1179" y="1089"/>
                  <a:pt x="1083" y="1182"/>
                  <a:pt x="964" y="1182"/>
                </a:cubicBezTo>
                <a:close/>
                <a:moveTo>
                  <a:pt x="420" y="540"/>
                </a:moveTo>
                <a:cubicBezTo>
                  <a:pt x="420" y="1518"/>
                  <a:pt x="420" y="1518"/>
                  <a:pt x="420" y="1518"/>
                </a:cubicBezTo>
                <a:cubicBezTo>
                  <a:pt x="228" y="1518"/>
                  <a:pt x="228" y="1518"/>
                  <a:pt x="228" y="1518"/>
                </a:cubicBezTo>
                <a:cubicBezTo>
                  <a:pt x="228" y="540"/>
                  <a:pt x="228" y="540"/>
                  <a:pt x="228" y="540"/>
                </a:cubicBezTo>
                <a:cubicBezTo>
                  <a:pt x="79" y="488"/>
                  <a:pt x="0" y="325"/>
                  <a:pt x="52" y="176"/>
                </a:cubicBezTo>
                <a:cubicBezTo>
                  <a:pt x="81" y="93"/>
                  <a:pt x="146" y="28"/>
                  <a:pt x="228" y="0"/>
                </a:cubicBezTo>
                <a:cubicBezTo>
                  <a:pt x="228" y="302"/>
                  <a:pt x="228" y="302"/>
                  <a:pt x="228" y="302"/>
                </a:cubicBezTo>
                <a:cubicBezTo>
                  <a:pt x="420" y="302"/>
                  <a:pt x="420" y="302"/>
                  <a:pt x="420" y="302"/>
                </a:cubicBezTo>
                <a:cubicBezTo>
                  <a:pt x="420" y="0"/>
                  <a:pt x="420" y="0"/>
                  <a:pt x="420" y="0"/>
                </a:cubicBezTo>
                <a:cubicBezTo>
                  <a:pt x="569" y="52"/>
                  <a:pt x="648" y="215"/>
                  <a:pt x="596" y="364"/>
                </a:cubicBezTo>
                <a:cubicBezTo>
                  <a:pt x="567" y="447"/>
                  <a:pt x="502" y="512"/>
                  <a:pt x="420" y="54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1" name="Freeform 237">
            <a:extLst>
              <a:ext uri="{FF2B5EF4-FFF2-40B4-BE49-F238E27FC236}">
                <a16:creationId xmlns:a16="http://schemas.microsoft.com/office/drawing/2014/main" id="{9AC7CD8F-EB80-42AF-AEF5-927FD50D73AA}"/>
              </a:ext>
            </a:extLst>
          </p:cNvPr>
          <p:cNvSpPr>
            <a:spLocks noEditPoints="1"/>
          </p:cNvSpPr>
          <p:nvPr/>
        </p:nvSpPr>
        <p:spPr bwMode="gray">
          <a:xfrm>
            <a:off x="7595229" y="3264501"/>
            <a:ext cx="352425" cy="371476"/>
          </a:xfrm>
          <a:custGeom>
            <a:avLst/>
            <a:gdLst>
              <a:gd name="T0" fmla="*/ 768 w 1408"/>
              <a:gd name="T1" fmla="*/ 576 h 1485"/>
              <a:gd name="T2" fmla="*/ 998 w 1408"/>
              <a:gd name="T3" fmla="*/ 369 h 1485"/>
              <a:gd name="T4" fmla="*/ 369 w 1408"/>
              <a:gd name="T5" fmla="*/ 406 h 1485"/>
              <a:gd name="T6" fmla="*/ 256 w 1408"/>
              <a:gd name="T7" fmla="*/ 704 h 1485"/>
              <a:gd name="T8" fmla="*/ 0 w 1408"/>
              <a:gd name="T9" fmla="*/ 704 h 1485"/>
              <a:gd name="T10" fmla="*/ 702 w 1408"/>
              <a:gd name="T11" fmla="*/ 0 h 1485"/>
              <a:gd name="T12" fmla="*/ 1190 w 1408"/>
              <a:gd name="T13" fmla="*/ 196 h 1485"/>
              <a:gd name="T14" fmla="*/ 1408 w 1408"/>
              <a:gd name="T15" fmla="*/ 0 h 1485"/>
              <a:gd name="T16" fmla="*/ 1408 w 1408"/>
              <a:gd name="T17" fmla="*/ 576 h 1485"/>
              <a:gd name="T18" fmla="*/ 768 w 1408"/>
              <a:gd name="T19" fmla="*/ 576 h 1485"/>
              <a:gd name="T20" fmla="*/ 0 w 1408"/>
              <a:gd name="T21" fmla="*/ 1440 h 1485"/>
              <a:gd name="T22" fmla="*/ 229 w 1408"/>
              <a:gd name="T23" fmla="*/ 1222 h 1485"/>
              <a:gd name="T24" fmla="*/ 1222 w 1408"/>
              <a:gd name="T25" fmla="*/ 1181 h 1485"/>
              <a:gd name="T26" fmla="*/ 1408 w 1408"/>
              <a:gd name="T27" fmla="*/ 704 h 1485"/>
              <a:gd name="T28" fmla="*/ 1152 w 1408"/>
              <a:gd name="T29" fmla="*/ 704 h 1485"/>
              <a:gd name="T30" fmla="*/ 704 w 1408"/>
              <a:gd name="T31" fmla="*/ 1152 h 1485"/>
              <a:gd name="T32" fmla="*/ 416 w 1408"/>
              <a:gd name="T33" fmla="*/ 1045 h 1485"/>
              <a:gd name="T34" fmla="*/ 640 w 1408"/>
              <a:gd name="T35" fmla="*/ 832 h 1485"/>
              <a:gd name="T36" fmla="*/ 0 w 1408"/>
              <a:gd name="T37" fmla="*/ 832 h 1485"/>
              <a:gd name="T38" fmla="*/ 0 w 1408"/>
              <a:gd name="T39" fmla="*/ 1440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08" h="1485">
                <a:moveTo>
                  <a:pt x="768" y="576"/>
                </a:moveTo>
                <a:cubicBezTo>
                  <a:pt x="998" y="369"/>
                  <a:pt x="998" y="369"/>
                  <a:pt x="998" y="369"/>
                </a:cubicBezTo>
                <a:cubicBezTo>
                  <a:pt x="814" y="205"/>
                  <a:pt x="532" y="222"/>
                  <a:pt x="369" y="406"/>
                </a:cubicBezTo>
                <a:cubicBezTo>
                  <a:pt x="296" y="488"/>
                  <a:pt x="256" y="594"/>
                  <a:pt x="256" y="704"/>
                </a:cubicBezTo>
                <a:cubicBezTo>
                  <a:pt x="0" y="704"/>
                  <a:pt x="0" y="704"/>
                  <a:pt x="0" y="704"/>
                </a:cubicBezTo>
                <a:cubicBezTo>
                  <a:pt x="0" y="316"/>
                  <a:pt x="314" y="0"/>
                  <a:pt x="702" y="0"/>
                </a:cubicBezTo>
                <a:cubicBezTo>
                  <a:pt x="884" y="0"/>
                  <a:pt x="1059" y="70"/>
                  <a:pt x="1190" y="196"/>
                </a:cubicBezTo>
                <a:cubicBezTo>
                  <a:pt x="1408" y="0"/>
                  <a:pt x="1408" y="0"/>
                  <a:pt x="1408" y="0"/>
                </a:cubicBezTo>
                <a:cubicBezTo>
                  <a:pt x="1408" y="576"/>
                  <a:pt x="1408" y="576"/>
                  <a:pt x="1408" y="576"/>
                </a:cubicBezTo>
                <a:lnTo>
                  <a:pt x="768" y="576"/>
                </a:lnTo>
                <a:close/>
                <a:moveTo>
                  <a:pt x="0" y="1440"/>
                </a:moveTo>
                <a:cubicBezTo>
                  <a:pt x="229" y="1222"/>
                  <a:pt x="229" y="1222"/>
                  <a:pt x="229" y="1222"/>
                </a:cubicBezTo>
                <a:cubicBezTo>
                  <a:pt x="515" y="1485"/>
                  <a:pt x="960" y="1467"/>
                  <a:pt x="1222" y="1181"/>
                </a:cubicBezTo>
                <a:cubicBezTo>
                  <a:pt x="1342" y="1051"/>
                  <a:pt x="1408" y="881"/>
                  <a:pt x="1408" y="704"/>
                </a:cubicBezTo>
                <a:cubicBezTo>
                  <a:pt x="1152" y="704"/>
                  <a:pt x="1152" y="704"/>
                  <a:pt x="1152" y="704"/>
                </a:cubicBezTo>
                <a:cubicBezTo>
                  <a:pt x="1152" y="951"/>
                  <a:pt x="951" y="1152"/>
                  <a:pt x="704" y="1152"/>
                </a:cubicBezTo>
                <a:cubicBezTo>
                  <a:pt x="598" y="1152"/>
                  <a:pt x="496" y="1114"/>
                  <a:pt x="416" y="1045"/>
                </a:cubicBezTo>
                <a:cubicBezTo>
                  <a:pt x="640" y="832"/>
                  <a:pt x="640" y="832"/>
                  <a:pt x="640" y="832"/>
                </a:cubicBezTo>
                <a:cubicBezTo>
                  <a:pt x="0" y="832"/>
                  <a:pt x="0" y="832"/>
                  <a:pt x="0" y="832"/>
                </a:cubicBezTo>
                <a:lnTo>
                  <a:pt x="0" y="144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2" name="Freeform 241">
            <a:extLst>
              <a:ext uri="{FF2B5EF4-FFF2-40B4-BE49-F238E27FC236}">
                <a16:creationId xmlns:a16="http://schemas.microsoft.com/office/drawing/2014/main" id="{C084DA08-9C2B-46CA-B36E-E3BB38504D09}"/>
              </a:ext>
            </a:extLst>
          </p:cNvPr>
          <p:cNvSpPr>
            <a:spLocks noEditPoints="1"/>
          </p:cNvSpPr>
          <p:nvPr/>
        </p:nvSpPr>
        <p:spPr bwMode="gray">
          <a:xfrm>
            <a:off x="6511639" y="3207550"/>
            <a:ext cx="292938" cy="485379"/>
          </a:xfrm>
          <a:custGeom>
            <a:avLst/>
            <a:gdLst>
              <a:gd name="T0" fmla="*/ 868 w 932"/>
              <a:gd name="T1" fmla="*/ 704 h 1536"/>
              <a:gd name="T2" fmla="*/ 740 w 932"/>
              <a:gd name="T3" fmla="*/ 704 h 1536"/>
              <a:gd name="T4" fmla="*/ 740 w 932"/>
              <a:gd name="T5" fmla="*/ 128 h 1536"/>
              <a:gd name="T6" fmla="*/ 772 w 932"/>
              <a:gd name="T7" fmla="*/ 0 h 1536"/>
              <a:gd name="T8" fmla="*/ 836 w 932"/>
              <a:gd name="T9" fmla="*/ 0 h 1536"/>
              <a:gd name="T10" fmla="*/ 868 w 932"/>
              <a:gd name="T11" fmla="*/ 128 h 1536"/>
              <a:gd name="T12" fmla="*/ 868 w 932"/>
              <a:gd name="T13" fmla="*/ 704 h 1536"/>
              <a:gd name="T14" fmla="*/ 932 w 932"/>
              <a:gd name="T15" fmla="*/ 1528 h 1536"/>
              <a:gd name="T16" fmla="*/ 932 w 932"/>
              <a:gd name="T17" fmla="*/ 768 h 1536"/>
              <a:gd name="T18" fmla="*/ 676 w 932"/>
              <a:gd name="T19" fmla="*/ 768 h 1536"/>
              <a:gd name="T20" fmla="*/ 676 w 932"/>
              <a:gd name="T21" fmla="*/ 1528 h 1536"/>
              <a:gd name="T22" fmla="*/ 684 w 932"/>
              <a:gd name="T23" fmla="*/ 1536 h 1536"/>
              <a:gd name="T24" fmla="*/ 924 w 932"/>
              <a:gd name="T25" fmla="*/ 1536 h 1536"/>
              <a:gd name="T26" fmla="*/ 932 w 932"/>
              <a:gd name="T27" fmla="*/ 1528 h 1536"/>
              <a:gd name="T28" fmla="*/ 612 w 932"/>
              <a:gd name="T29" fmla="*/ 288 h 1536"/>
              <a:gd name="T30" fmla="*/ 420 w 932"/>
              <a:gd name="T31" fmla="*/ 18 h 1536"/>
              <a:gd name="T32" fmla="*/ 420 w 932"/>
              <a:gd name="T33" fmla="*/ 320 h 1536"/>
              <a:gd name="T34" fmla="*/ 228 w 932"/>
              <a:gd name="T35" fmla="*/ 320 h 1536"/>
              <a:gd name="T36" fmla="*/ 228 w 932"/>
              <a:gd name="T37" fmla="*/ 18 h 1536"/>
              <a:gd name="T38" fmla="*/ 52 w 932"/>
              <a:gd name="T39" fmla="*/ 382 h 1536"/>
              <a:gd name="T40" fmla="*/ 228 w 932"/>
              <a:gd name="T41" fmla="*/ 558 h 1536"/>
              <a:gd name="T42" fmla="*/ 228 w 932"/>
              <a:gd name="T43" fmla="*/ 1536 h 1536"/>
              <a:gd name="T44" fmla="*/ 420 w 932"/>
              <a:gd name="T45" fmla="*/ 1536 h 1536"/>
              <a:gd name="T46" fmla="*/ 420 w 932"/>
              <a:gd name="T47" fmla="*/ 558 h 1536"/>
              <a:gd name="T48" fmla="*/ 612 w 932"/>
              <a:gd name="T49" fmla="*/ 288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32" h="1536">
                <a:moveTo>
                  <a:pt x="868" y="704"/>
                </a:moveTo>
                <a:cubicBezTo>
                  <a:pt x="740" y="704"/>
                  <a:pt x="740" y="704"/>
                  <a:pt x="740" y="704"/>
                </a:cubicBezTo>
                <a:cubicBezTo>
                  <a:pt x="740" y="128"/>
                  <a:pt x="740" y="128"/>
                  <a:pt x="740" y="128"/>
                </a:cubicBezTo>
                <a:cubicBezTo>
                  <a:pt x="772" y="0"/>
                  <a:pt x="772" y="0"/>
                  <a:pt x="772" y="0"/>
                </a:cubicBezTo>
                <a:cubicBezTo>
                  <a:pt x="836" y="0"/>
                  <a:pt x="836" y="0"/>
                  <a:pt x="836" y="0"/>
                </a:cubicBezTo>
                <a:cubicBezTo>
                  <a:pt x="868" y="128"/>
                  <a:pt x="868" y="128"/>
                  <a:pt x="868" y="128"/>
                </a:cubicBezTo>
                <a:lnTo>
                  <a:pt x="868" y="704"/>
                </a:lnTo>
                <a:close/>
                <a:moveTo>
                  <a:pt x="932" y="1528"/>
                </a:moveTo>
                <a:cubicBezTo>
                  <a:pt x="932" y="768"/>
                  <a:pt x="932" y="768"/>
                  <a:pt x="932" y="768"/>
                </a:cubicBezTo>
                <a:cubicBezTo>
                  <a:pt x="676" y="768"/>
                  <a:pt x="676" y="768"/>
                  <a:pt x="676" y="768"/>
                </a:cubicBezTo>
                <a:cubicBezTo>
                  <a:pt x="676" y="1528"/>
                  <a:pt x="676" y="1528"/>
                  <a:pt x="676" y="1528"/>
                </a:cubicBezTo>
                <a:cubicBezTo>
                  <a:pt x="676" y="1532"/>
                  <a:pt x="680" y="1536"/>
                  <a:pt x="684" y="1536"/>
                </a:cubicBezTo>
                <a:cubicBezTo>
                  <a:pt x="924" y="1536"/>
                  <a:pt x="924" y="1536"/>
                  <a:pt x="924" y="1536"/>
                </a:cubicBezTo>
                <a:cubicBezTo>
                  <a:pt x="928" y="1536"/>
                  <a:pt x="932" y="1532"/>
                  <a:pt x="932" y="1528"/>
                </a:cubicBezTo>
                <a:close/>
                <a:moveTo>
                  <a:pt x="612" y="288"/>
                </a:moveTo>
                <a:cubicBezTo>
                  <a:pt x="612" y="166"/>
                  <a:pt x="535" y="58"/>
                  <a:pt x="420" y="18"/>
                </a:cubicBezTo>
                <a:cubicBezTo>
                  <a:pt x="420" y="320"/>
                  <a:pt x="420" y="320"/>
                  <a:pt x="420" y="320"/>
                </a:cubicBezTo>
                <a:cubicBezTo>
                  <a:pt x="228" y="320"/>
                  <a:pt x="228" y="320"/>
                  <a:pt x="228" y="320"/>
                </a:cubicBezTo>
                <a:cubicBezTo>
                  <a:pt x="228" y="18"/>
                  <a:pt x="228" y="18"/>
                  <a:pt x="228" y="18"/>
                </a:cubicBezTo>
                <a:cubicBezTo>
                  <a:pt x="79" y="70"/>
                  <a:pt x="0" y="233"/>
                  <a:pt x="52" y="382"/>
                </a:cubicBezTo>
                <a:cubicBezTo>
                  <a:pt x="81" y="465"/>
                  <a:pt x="146" y="530"/>
                  <a:pt x="228" y="558"/>
                </a:cubicBezTo>
                <a:cubicBezTo>
                  <a:pt x="228" y="1536"/>
                  <a:pt x="228" y="1536"/>
                  <a:pt x="228" y="1536"/>
                </a:cubicBezTo>
                <a:cubicBezTo>
                  <a:pt x="420" y="1536"/>
                  <a:pt x="420" y="1536"/>
                  <a:pt x="420" y="1536"/>
                </a:cubicBezTo>
                <a:cubicBezTo>
                  <a:pt x="420" y="558"/>
                  <a:pt x="420" y="558"/>
                  <a:pt x="420" y="558"/>
                </a:cubicBezTo>
                <a:cubicBezTo>
                  <a:pt x="535" y="518"/>
                  <a:pt x="612" y="410"/>
                  <a:pt x="612" y="28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3" name="Freeform 249">
            <a:extLst>
              <a:ext uri="{FF2B5EF4-FFF2-40B4-BE49-F238E27FC236}">
                <a16:creationId xmlns:a16="http://schemas.microsoft.com/office/drawing/2014/main" id="{90E3C209-F869-4CDF-9F86-F60D2AEE7508}"/>
              </a:ext>
            </a:extLst>
          </p:cNvPr>
          <p:cNvSpPr>
            <a:spLocks noEditPoints="1"/>
          </p:cNvSpPr>
          <p:nvPr/>
        </p:nvSpPr>
        <p:spPr bwMode="gray">
          <a:xfrm>
            <a:off x="9794510" y="3246643"/>
            <a:ext cx="407194" cy="407192"/>
          </a:xfrm>
          <a:custGeom>
            <a:avLst/>
            <a:gdLst>
              <a:gd name="T0" fmla="*/ 1472 w 1472"/>
              <a:gd name="T1" fmla="*/ 436 h 1474"/>
              <a:gd name="T2" fmla="*/ 1036 w 1472"/>
              <a:gd name="T3" fmla="*/ 0 h 1474"/>
              <a:gd name="T4" fmla="*/ 600 w 1472"/>
              <a:gd name="T5" fmla="*/ 436 h 1474"/>
              <a:gd name="T6" fmla="*/ 612 w 1472"/>
              <a:gd name="T7" fmla="*/ 540 h 1474"/>
              <a:gd name="T8" fmla="*/ 0 w 1472"/>
              <a:gd name="T9" fmla="*/ 1154 h 1474"/>
              <a:gd name="T10" fmla="*/ 0 w 1472"/>
              <a:gd name="T11" fmla="*/ 1282 h 1474"/>
              <a:gd name="T12" fmla="*/ 576 w 1472"/>
              <a:gd name="T13" fmla="*/ 706 h 1474"/>
              <a:gd name="T14" fmla="*/ 640 w 1472"/>
              <a:gd name="T15" fmla="*/ 770 h 1474"/>
              <a:gd name="T16" fmla="*/ 64 w 1472"/>
              <a:gd name="T17" fmla="*/ 1346 h 1474"/>
              <a:gd name="T18" fmla="*/ 0 w 1472"/>
              <a:gd name="T19" fmla="*/ 1410 h 1474"/>
              <a:gd name="T20" fmla="*/ 64 w 1472"/>
              <a:gd name="T21" fmla="*/ 1474 h 1474"/>
              <a:gd name="T22" fmla="*/ 256 w 1472"/>
              <a:gd name="T23" fmla="*/ 1474 h 1474"/>
              <a:gd name="T24" fmla="*/ 384 w 1472"/>
              <a:gd name="T25" fmla="*/ 1346 h 1474"/>
              <a:gd name="T26" fmla="*/ 384 w 1472"/>
              <a:gd name="T27" fmla="*/ 1218 h 1474"/>
              <a:gd name="T28" fmla="*/ 512 w 1472"/>
              <a:gd name="T29" fmla="*/ 1218 h 1474"/>
              <a:gd name="T30" fmla="*/ 576 w 1472"/>
              <a:gd name="T31" fmla="*/ 1154 h 1474"/>
              <a:gd name="T32" fmla="*/ 576 w 1472"/>
              <a:gd name="T33" fmla="*/ 1026 h 1474"/>
              <a:gd name="T34" fmla="*/ 704 w 1472"/>
              <a:gd name="T35" fmla="*/ 1026 h 1474"/>
              <a:gd name="T36" fmla="*/ 895 w 1472"/>
              <a:gd name="T37" fmla="*/ 849 h 1474"/>
              <a:gd name="T38" fmla="*/ 1449 w 1472"/>
              <a:gd name="T39" fmla="*/ 576 h 1474"/>
              <a:gd name="T40" fmla="*/ 1472 w 1472"/>
              <a:gd name="T41" fmla="*/ 437 h 1474"/>
              <a:gd name="T42" fmla="*/ 1472 w 1472"/>
              <a:gd name="T43" fmla="*/ 436 h 1474"/>
              <a:gd name="T44" fmla="*/ 1152 w 1472"/>
              <a:gd name="T45" fmla="*/ 418 h 1474"/>
              <a:gd name="T46" fmla="*/ 1024 w 1472"/>
              <a:gd name="T47" fmla="*/ 290 h 1474"/>
              <a:gd name="T48" fmla="*/ 1152 w 1472"/>
              <a:gd name="T49" fmla="*/ 162 h 1474"/>
              <a:gd name="T50" fmla="*/ 1280 w 1472"/>
              <a:gd name="T51" fmla="*/ 290 h 1474"/>
              <a:gd name="T52" fmla="*/ 1152 w 1472"/>
              <a:gd name="T53" fmla="*/ 418 h 1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72" h="1474">
                <a:moveTo>
                  <a:pt x="1472" y="436"/>
                </a:moveTo>
                <a:cubicBezTo>
                  <a:pt x="1472" y="195"/>
                  <a:pt x="1277" y="0"/>
                  <a:pt x="1036" y="0"/>
                </a:cubicBezTo>
                <a:cubicBezTo>
                  <a:pt x="795" y="0"/>
                  <a:pt x="600" y="196"/>
                  <a:pt x="600" y="436"/>
                </a:cubicBezTo>
                <a:cubicBezTo>
                  <a:pt x="600" y="471"/>
                  <a:pt x="604" y="506"/>
                  <a:pt x="612" y="540"/>
                </a:cubicBezTo>
                <a:cubicBezTo>
                  <a:pt x="0" y="1154"/>
                  <a:pt x="0" y="1154"/>
                  <a:pt x="0" y="1154"/>
                </a:cubicBezTo>
                <a:cubicBezTo>
                  <a:pt x="0" y="1282"/>
                  <a:pt x="0" y="1282"/>
                  <a:pt x="0" y="1282"/>
                </a:cubicBezTo>
                <a:cubicBezTo>
                  <a:pt x="576" y="706"/>
                  <a:pt x="576" y="706"/>
                  <a:pt x="576" y="706"/>
                </a:cubicBezTo>
                <a:cubicBezTo>
                  <a:pt x="640" y="770"/>
                  <a:pt x="640" y="770"/>
                  <a:pt x="640" y="770"/>
                </a:cubicBezTo>
                <a:cubicBezTo>
                  <a:pt x="64" y="1346"/>
                  <a:pt x="64" y="1346"/>
                  <a:pt x="64" y="1346"/>
                </a:cubicBezTo>
                <a:cubicBezTo>
                  <a:pt x="0" y="1410"/>
                  <a:pt x="0" y="1410"/>
                  <a:pt x="0" y="1410"/>
                </a:cubicBezTo>
                <a:cubicBezTo>
                  <a:pt x="0" y="1433"/>
                  <a:pt x="41" y="1474"/>
                  <a:pt x="64" y="1474"/>
                </a:cubicBezTo>
                <a:cubicBezTo>
                  <a:pt x="256" y="1474"/>
                  <a:pt x="256" y="1474"/>
                  <a:pt x="256" y="1474"/>
                </a:cubicBezTo>
                <a:cubicBezTo>
                  <a:pt x="384" y="1346"/>
                  <a:pt x="384" y="1346"/>
                  <a:pt x="384" y="1346"/>
                </a:cubicBezTo>
                <a:cubicBezTo>
                  <a:pt x="384" y="1218"/>
                  <a:pt x="384" y="1218"/>
                  <a:pt x="384" y="1218"/>
                </a:cubicBezTo>
                <a:cubicBezTo>
                  <a:pt x="512" y="1218"/>
                  <a:pt x="512" y="1218"/>
                  <a:pt x="512" y="1218"/>
                </a:cubicBezTo>
                <a:cubicBezTo>
                  <a:pt x="576" y="1154"/>
                  <a:pt x="576" y="1154"/>
                  <a:pt x="576" y="1154"/>
                </a:cubicBezTo>
                <a:cubicBezTo>
                  <a:pt x="576" y="1026"/>
                  <a:pt x="576" y="1026"/>
                  <a:pt x="576" y="1026"/>
                </a:cubicBezTo>
                <a:cubicBezTo>
                  <a:pt x="704" y="1026"/>
                  <a:pt x="704" y="1026"/>
                  <a:pt x="704" y="1026"/>
                </a:cubicBezTo>
                <a:cubicBezTo>
                  <a:pt x="895" y="849"/>
                  <a:pt x="895" y="849"/>
                  <a:pt x="895" y="849"/>
                </a:cubicBezTo>
                <a:cubicBezTo>
                  <a:pt x="1123" y="926"/>
                  <a:pt x="1371" y="805"/>
                  <a:pt x="1449" y="576"/>
                </a:cubicBezTo>
                <a:cubicBezTo>
                  <a:pt x="1464" y="532"/>
                  <a:pt x="1472" y="485"/>
                  <a:pt x="1472" y="437"/>
                </a:cubicBezTo>
                <a:lnTo>
                  <a:pt x="1472" y="436"/>
                </a:lnTo>
                <a:close/>
                <a:moveTo>
                  <a:pt x="1152" y="418"/>
                </a:moveTo>
                <a:cubicBezTo>
                  <a:pt x="1081" y="418"/>
                  <a:pt x="1024" y="361"/>
                  <a:pt x="1024" y="290"/>
                </a:cubicBezTo>
                <a:cubicBezTo>
                  <a:pt x="1024" y="219"/>
                  <a:pt x="1081" y="162"/>
                  <a:pt x="1152" y="162"/>
                </a:cubicBezTo>
                <a:cubicBezTo>
                  <a:pt x="1223" y="162"/>
                  <a:pt x="1280" y="219"/>
                  <a:pt x="1280" y="290"/>
                </a:cubicBezTo>
                <a:cubicBezTo>
                  <a:pt x="1280" y="361"/>
                  <a:pt x="1223" y="418"/>
                  <a:pt x="1152" y="41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5" name="Freeform 257">
            <a:extLst>
              <a:ext uri="{FF2B5EF4-FFF2-40B4-BE49-F238E27FC236}">
                <a16:creationId xmlns:a16="http://schemas.microsoft.com/office/drawing/2014/main" id="{EAE176A2-B809-4622-8747-F6D3CCB6B302}"/>
              </a:ext>
            </a:extLst>
          </p:cNvPr>
          <p:cNvSpPr>
            <a:spLocks noEditPoints="1"/>
          </p:cNvSpPr>
          <p:nvPr/>
        </p:nvSpPr>
        <p:spPr bwMode="gray">
          <a:xfrm>
            <a:off x="10932847" y="3251802"/>
            <a:ext cx="357187" cy="396875"/>
          </a:xfrm>
          <a:custGeom>
            <a:avLst/>
            <a:gdLst>
              <a:gd name="T0" fmla="*/ 1024 w 1152"/>
              <a:gd name="T1" fmla="*/ 512 h 1280"/>
              <a:gd name="T2" fmla="*/ 1024 w 1152"/>
              <a:gd name="T3" fmla="*/ 256 h 1280"/>
              <a:gd name="T4" fmla="*/ 768 w 1152"/>
              <a:gd name="T5" fmla="*/ 0 h 1280"/>
              <a:gd name="T6" fmla="*/ 384 w 1152"/>
              <a:gd name="T7" fmla="*/ 0 h 1280"/>
              <a:gd name="T8" fmla="*/ 128 w 1152"/>
              <a:gd name="T9" fmla="*/ 256 h 1280"/>
              <a:gd name="T10" fmla="*/ 128 w 1152"/>
              <a:gd name="T11" fmla="*/ 320 h 1280"/>
              <a:gd name="T12" fmla="*/ 320 w 1152"/>
              <a:gd name="T13" fmla="*/ 320 h 1280"/>
              <a:gd name="T14" fmla="*/ 320 w 1152"/>
              <a:gd name="T15" fmla="*/ 256 h 1280"/>
              <a:gd name="T16" fmla="*/ 384 w 1152"/>
              <a:gd name="T17" fmla="*/ 192 h 1280"/>
              <a:gd name="T18" fmla="*/ 768 w 1152"/>
              <a:gd name="T19" fmla="*/ 192 h 1280"/>
              <a:gd name="T20" fmla="*/ 832 w 1152"/>
              <a:gd name="T21" fmla="*/ 256 h 1280"/>
              <a:gd name="T22" fmla="*/ 832 w 1152"/>
              <a:gd name="T23" fmla="*/ 512 h 1280"/>
              <a:gd name="T24" fmla="*/ 0 w 1152"/>
              <a:gd name="T25" fmla="*/ 512 h 1280"/>
              <a:gd name="T26" fmla="*/ 0 w 1152"/>
              <a:gd name="T27" fmla="*/ 1024 h 1280"/>
              <a:gd name="T28" fmla="*/ 256 w 1152"/>
              <a:gd name="T29" fmla="*/ 1280 h 1280"/>
              <a:gd name="T30" fmla="*/ 896 w 1152"/>
              <a:gd name="T31" fmla="*/ 1280 h 1280"/>
              <a:gd name="T32" fmla="*/ 1152 w 1152"/>
              <a:gd name="T33" fmla="*/ 1024 h 1280"/>
              <a:gd name="T34" fmla="*/ 1152 w 1152"/>
              <a:gd name="T35" fmla="*/ 512 h 1280"/>
              <a:gd name="T36" fmla="*/ 1024 w 1152"/>
              <a:gd name="T37" fmla="*/ 512 h 1280"/>
              <a:gd name="T38" fmla="*/ 704 w 1152"/>
              <a:gd name="T39" fmla="*/ 896 h 1280"/>
              <a:gd name="T40" fmla="*/ 640 w 1152"/>
              <a:gd name="T41" fmla="*/ 1024 h 1280"/>
              <a:gd name="T42" fmla="*/ 512 w 1152"/>
              <a:gd name="T43" fmla="*/ 1024 h 1280"/>
              <a:gd name="T44" fmla="*/ 448 w 1152"/>
              <a:gd name="T45" fmla="*/ 896 h 1280"/>
              <a:gd name="T46" fmla="*/ 448 w 1152"/>
              <a:gd name="T47" fmla="*/ 768 h 1280"/>
              <a:gd name="T48" fmla="*/ 704 w 1152"/>
              <a:gd name="T49" fmla="*/ 768 h 1280"/>
              <a:gd name="T50" fmla="*/ 704 w 1152"/>
              <a:gd name="T51" fmla="*/ 896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52" h="1280">
                <a:moveTo>
                  <a:pt x="1024" y="512"/>
                </a:moveTo>
                <a:cubicBezTo>
                  <a:pt x="1024" y="256"/>
                  <a:pt x="1024" y="256"/>
                  <a:pt x="1024" y="256"/>
                </a:cubicBezTo>
                <a:cubicBezTo>
                  <a:pt x="1024" y="115"/>
                  <a:pt x="909" y="0"/>
                  <a:pt x="768" y="0"/>
                </a:cubicBezTo>
                <a:cubicBezTo>
                  <a:pt x="384" y="0"/>
                  <a:pt x="384" y="0"/>
                  <a:pt x="384" y="0"/>
                </a:cubicBezTo>
                <a:cubicBezTo>
                  <a:pt x="243" y="0"/>
                  <a:pt x="128" y="115"/>
                  <a:pt x="128" y="256"/>
                </a:cubicBezTo>
                <a:cubicBezTo>
                  <a:pt x="128" y="320"/>
                  <a:pt x="128" y="320"/>
                  <a:pt x="128" y="320"/>
                </a:cubicBezTo>
                <a:cubicBezTo>
                  <a:pt x="320" y="320"/>
                  <a:pt x="320" y="320"/>
                  <a:pt x="320" y="320"/>
                </a:cubicBezTo>
                <a:cubicBezTo>
                  <a:pt x="320" y="256"/>
                  <a:pt x="320" y="256"/>
                  <a:pt x="320" y="256"/>
                </a:cubicBezTo>
                <a:cubicBezTo>
                  <a:pt x="320" y="221"/>
                  <a:pt x="349" y="192"/>
                  <a:pt x="384" y="192"/>
                </a:cubicBezTo>
                <a:cubicBezTo>
                  <a:pt x="768" y="192"/>
                  <a:pt x="768" y="192"/>
                  <a:pt x="768" y="192"/>
                </a:cubicBezTo>
                <a:cubicBezTo>
                  <a:pt x="803" y="192"/>
                  <a:pt x="832" y="221"/>
                  <a:pt x="832" y="256"/>
                </a:cubicBezTo>
                <a:cubicBezTo>
                  <a:pt x="832" y="512"/>
                  <a:pt x="832" y="512"/>
                  <a:pt x="832" y="512"/>
                </a:cubicBezTo>
                <a:cubicBezTo>
                  <a:pt x="0" y="512"/>
                  <a:pt x="0" y="512"/>
                  <a:pt x="0" y="512"/>
                </a:cubicBezTo>
                <a:cubicBezTo>
                  <a:pt x="0" y="1024"/>
                  <a:pt x="0" y="1024"/>
                  <a:pt x="0" y="1024"/>
                </a:cubicBezTo>
                <a:cubicBezTo>
                  <a:pt x="0" y="1165"/>
                  <a:pt x="115" y="1280"/>
                  <a:pt x="256" y="1280"/>
                </a:cubicBezTo>
                <a:cubicBezTo>
                  <a:pt x="896" y="1280"/>
                  <a:pt x="896" y="1280"/>
                  <a:pt x="896" y="1280"/>
                </a:cubicBezTo>
                <a:cubicBezTo>
                  <a:pt x="1037" y="1280"/>
                  <a:pt x="1152" y="1165"/>
                  <a:pt x="1152" y="1024"/>
                </a:cubicBezTo>
                <a:cubicBezTo>
                  <a:pt x="1152" y="512"/>
                  <a:pt x="1152" y="512"/>
                  <a:pt x="1152" y="512"/>
                </a:cubicBezTo>
                <a:lnTo>
                  <a:pt x="1024" y="512"/>
                </a:lnTo>
                <a:close/>
                <a:moveTo>
                  <a:pt x="704" y="896"/>
                </a:moveTo>
                <a:cubicBezTo>
                  <a:pt x="640" y="1024"/>
                  <a:pt x="640" y="1024"/>
                  <a:pt x="640" y="1024"/>
                </a:cubicBezTo>
                <a:cubicBezTo>
                  <a:pt x="512" y="1024"/>
                  <a:pt x="512" y="1024"/>
                  <a:pt x="512" y="1024"/>
                </a:cubicBezTo>
                <a:cubicBezTo>
                  <a:pt x="448" y="896"/>
                  <a:pt x="448" y="896"/>
                  <a:pt x="448" y="896"/>
                </a:cubicBezTo>
                <a:cubicBezTo>
                  <a:pt x="448" y="768"/>
                  <a:pt x="448" y="768"/>
                  <a:pt x="448" y="768"/>
                </a:cubicBezTo>
                <a:cubicBezTo>
                  <a:pt x="704" y="768"/>
                  <a:pt x="704" y="768"/>
                  <a:pt x="704" y="768"/>
                </a:cubicBezTo>
                <a:lnTo>
                  <a:pt x="704" y="89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6" name="Freeform 261">
            <a:extLst>
              <a:ext uri="{FF2B5EF4-FFF2-40B4-BE49-F238E27FC236}">
                <a16:creationId xmlns:a16="http://schemas.microsoft.com/office/drawing/2014/main" id="{790798E4-439D-44DA-B284-D66CD5CD0386}"/>
              </a:ext>
            </a:extLst>
          </p:cNvPr>
          <p:cNvSpPr>
            <a:spLocks noEditPoints="1"/>
          </p:cNvSpPr>
          <p:nvPr/>
        </p:nvSpPr>
        <p:spPr bwMode="gray">
          <a:xfrm>
            <a:off x="917051" y="4424803"/>
            <a:ext cx="355600" cy="396875"/>
          </a:xfrm>
          <a:custGeom>
            <a:avLst/>
            <a:gdLst>
              <a:gd name="T0" fmla="*/ 1024 w 1152"/>
              <a:gd name="T1" fmla="*/ 512 h 1280"/>
              <a:gd name="T2" fmla="*/ 1024 w 1152"/>
              <a:gd name="T3" fmla="*/ 256 h 1280"/>
              <a:gd name="T4" fmla="*/ 768 w 1152"/>
              <a:gd name="T5" fmla="*/ 0 h 1280"/>
              <a:gd name="T6" fmla="*/ 384 w 1152"/>
              <a:gd name="T7" fmla="*/ 0 h 1280"/>
              <a:gd name="T8" fmla="*/ 128 w 1152"/>
              <a:gd name="T9" fmla="*/ 256 h 1280"/>
              <a:gd name="T10" fmla="*/ 128 w 1152"/>
              <a:gd name="T11" fmla="*/ 512 h 1280"/>
              <a:gd name="T12" fmla="*/ 0 w 1152"/>
              <a:gd name="T13" fmla="*/ 512 h 1280"/>
              <a:gd name="T14" fmla="*/ 0 w 1152"/>
              <a:gd name="T15" fmla="*/ 1024 h 1280"/>
              <a:gd name="T16" fmla="*/ 256 w 1152"/>
              <a:gd name="T17" fmla="*/ 1280 h 1280"/>
              <a:gd name="T18" fmla="*/ 896 w 1152"/>
              <a:gd name="T19" fmla="*/ 1280 h 1280"/>
              <a:gd name="T20" fmla="*/ 1152 w 1152"/>
              <a:gd name="T21" fmla="*/ 1024 h 1280"/>
              <a:gd name="T22" fmla="*/ 1152 w 1152"/>
              <a:gd name="T23" fmla="*/ 512 h 1280"/>
              <a:gd name="T24" fmla="*/ 1024 w 1152"/>
              <a:gd name="T25" fmla="*/ 512 h 1280"/>
              <a:gd name="T26" fmla="*/ 320 w 1152"/>
              <a:gd name="T27" fmla="*/ 256 h 1280"/>
              <a:gd name="T28" fmla="*/ 384 w 1152"/>
              <a:gd name="T29" fmla="*/ 192 h 1280"/>
              <a:gd name="T30" fmla="*/ 768 w 1152"/>
              <a:gd name="T31" fmla="*/ 192 h 1280"/>
              <a:gd name="T32" fmla="*/ 832 w 1152"/>
              <a:gd name="T33" fmla="*/ 256 h 1280"/>
              <a:gd name="T34" fmla="*/ 832 w 1152"/>
              <a:gd name="T35" fmla="*/ 512 h 1280"/>
              <a:gd name="T36" fmla="*/ 320 w 1152"/>
              <a:gd name="T37" fmla="*/ 512 h 1280"/>
              <a:gd name="T38" fmla="*/ 320 w 1152"/>
              <a:gd name="T39" fmla="*/ 256 h 1280"/>
              <a:gd name="T40" fmla="*/ 704 w 1152"/>
              <a:gd name="T41" fmla="*/ 896 h 1280"/>
              <a:gd name="T42" fmla="*/ 640 w 1152"/>
              <a:gd name="T43" fmla="*/ 1024 h 1280"/>
              <a:gd name="T44" fmla="*/ 512 w 1152"/>
              <a:gd name="T45" fmla="*/ 1024 h 1280"/>
              <a:gd name="T46" fmla="*/ 448 w 1152"/>
              <a:gd name="T47" fmla="*/ 896 h 1280"/>
              <a:gd name="T48" fmla="*/ 448 w 1152"/>
              <a:gd name="T49" fmla="*/ 768 h 1280"/>
              <a:gd name="T50" fmla="*/ 704 w 1152"/>
              <a:gd name="T51" fmla="*/ 768 h 1280"/>
              <a:gd name="T52" fmla="*/ 704 w 1152"/>
              <a:gd name="T53" fmla="*/ 896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52" h="1280">
                <a:moveTo>
                  <a:pt x="1024" y="512"/>
                </a:moveTo>
                <a:cubicBezTo>
                  <a:pt x="1024" y="256"/>
                  <a:pt x="1024" y="256"/>
                  <a:pt x="1024" y="256"/>
                </a:cubicBezTo>
                <a:cubicBezTo>
                  <a:pt x="1024" y="115"/>
                  <a:pt x="909" y="0"/>
                  <a:pt x="768" y="0"/>
                </a:cubicBezTo>
                <a:cubicBezTo>
                  <a:pt x="384" y="0"/>
                  <a:pt x="384" y="0"/>
                  <a:pt x="384" y="0"/>
                </a:cubicBezTo>
                <a:cubicBezTo>
                  <a:pt x="243" y="0"/>
                  <a:pt x="128" y="115"/>
                  <a:pt x="128" y="256"/>
                </a:cubicBezTo>
                <a:cubicBezTo>
                  <a:pt x="128" y="512"/>
                  <a:pt x="128" y="512"/>
                  <a:pt x="128" y="512"/>
                </a:cubicBezTo>
                <a:cubicBezTo>
                  <a:pt x="0" y="512"/>
                  <a:pt x="0" y="512"/>
                  <a:pt x="0" y="512"/>
                </a:cubicBezTo>
                <a:cubicBezTo>
                  <a:pt x="0" y="1024"/>
                  <a:pt x="0" y="1024"/>
                  <a:pt x="0" y="1024"/>
                </a:cubicBezTo>
                <a:cubicBezTo>
                  <a:pt x="0" y="1165"/>
                  <a:pt x="115" y="1280"/>
                  <a:pt x="256" y="1280"/>
                </a:cubicBezTo>
                <a:cubicBezTo>
                  <a:pt x="896" y="1280"/>
                  <a:pt x="896" y="1280"/>
                  <a:pt x="896" y="1280"/>
                </a:cubicBezTo>
                <a:cubicBezTo>
                  <a:pt x="1037" y="1280"/>
                  <a:pt x="1152" y="1165"/>
                  <a:pt x="1152" y="1024"/>
                </a:cubicBezTo>
                <a:cubicBezTo>
                  <a:pt x="1152" y="512"/>
                  <a:pt x="1152" y="512"/>
                  <a:pt x="1152" y="512"/>
                </a:cubicBezTo>
                <a:lnTo>
                  <a:pt x="1024" y="512"/>
                </a:lnTo>
                <a:close/>
                <a:moveTo>
                  <a:pt x="320" y="256"/>
                </a:moveTo>
                <a:cubicBezTo>
                  <a:pt x="320" y="221"/>
                  <a:pt x="349" y="192"/>
                  <a:pt x="384" y="192"/>
                </a:cubicBezTo>
                <a:cubicBezTo>
                  <a:pt x="768" y="192"/>
                  <a:pt x="768" y="192"/>
                  <a:pt x="768" y="192"/>
                </a:cubicBezTo>
                <a:cubicBezTo>
                  <a:pt x="803" y="192"/>
                  <a:pt x="832" y="221"/>
                  <a:pt x="832" y="256"/>
                </a:cubicBezTo>
                <a:cubicBezTo>
                  <a:pt x="832" y="512"/>
                  <a:pt x="832" y="512"/>
                  <a:pt x="832" y="512"/>
                </a:cubicBezTo>
                <a:cubicBezTo>
                  <a:pt x="320" y="512"/>
                  <a:pt x="320" y="512"/>
                  <a:pt x="320" y="512"/>
                </a:cubicBezTo>
                <a:lnTo>
                  <a:pt x="320" y="256"/>
                </a:lnTo>
                <a:close/>
                <a:moveTo>
                  <a:pt x="704" y="896"/>
                </a:moveTo>
                <a:cubicBezTo>
                  <a:pt x="640" y="1024"/>
                  <a:pt x="640" y="1024"/>
                  <a:pt x="640" y="1024"/>
                </a:cubicBezTo>
                <a:cubicBezTo>
                  <a:pt x="512" y="1024"/>
                  <a:pt x="512" y="1024"/>
                  <a:pt x="512" y="1024"/>
                </a:cubicBezTo>
                <a:cubicBezTo>
                  <a:pt x="448" y="896"/>
                  <a:pt x="448" y="896"/>
                  <a:pt x="448" y="896"/>
                </a:cubicBezTo>
                <a:cubicBezTo>
                  <a:pt x="448" y="768"/>
                  <a:pt x="448" y="768"/>
                  <a:pt x="448" y="768"/>
                </a:cubicBezTo>
                <a:cubicBezTo>
                  <a:pt x="704" y="768"/>
                  <a:pt x="704" y="768"/>
                  <a:pt x="704" y="768"/>
                </a:cubicBezTo>
                <a:lnTo>
                  <a:pt x="704" y="89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7" name="Freeform 265">
            <a:extLst>
              <a:ext uri="{FF2B5EF4-FFF2-40B4-BE49-F238E27FC236}">
                <a16:creationId xmlns:a16="http://schemas.microsoft.com/office/drawing/2014/main" id="{206A8BD9-C259-4EC9-B176-0085BC4D633D}"/>
              </a:ext>
            </a:extLst>
          </p:cNvPr>
          <p:cNvSpPr>
            <a:spLocks/>
          </p:cNvSpPr>
          <p:nvPr/>
        </p:nvSpPr>
        <p:spPr bwMode="gray">
          <a:xfrm>
            <a:off x="2006339" y="4424803"/>
            <a:ext cx="396875" cy="396875"/>
          </a:xfrm>
          <a:custGeom>
            <a:avLst/>
            <a:gdLst>
              <a:gd name="T0" fmla="*/ 250 w 250"/>
              <a:gd name="T1" fmla="*/ 83 h 250"/>
              <a:gd name="T2" fmla="*/ 125 w 250"/>
              <a:gd name="T3" fmla="*/ 83 h 250"/>
              <a:gd name="T4" fmla="*/ 125 w 250"/>
              <a:gd name="T5" fmla="*/ 0 h 250"/>
              <a:gd name="T6" fmla="*/ 0 w 250"/>
              <a:gd name="T7" fmla="*/ 125 h 250"/>
              <a:gd name="T8" fmla="*/ 125 w 250"/>
              <a:gd name="T9" fmla="*/ 250 h 250"/>
              <a:gd name="T10" fmla="*/ 125 w 250"/>
              <a:gd name="T11" fmla="*/ 167 h 250"/>
              <a:gd name="T12" fmla="*/ 250 w 250"/>
              <a:gd name="T13" fmla="*/ 167 h 250"/>
              <a:gd name="T14" fmla="*/ 250 w 250"/>
              <a:gd name="T15" fmla="*/ 83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83"/>
                </a:moveTo>
                <a:lnTo>
                  <a:pt x="125" y="83"/>
                </a:lnTo>
                <a:lnTo>
                  <a:pt x="125" y="0"/>
                </a:lnTo>
                <a:lnTo>
                  <a:pt x="0" y="125"/>
                </a:lnTo>
                <a:lnTo>
                  <a:pt x="125" y="250"/>
                </a:lnTo>
                <a:lnTo>
                  <a:pt x="125" y="167"/>
                </a:lnTo>
                <a:lnTo>
                  <a:pt x="250" y="167"/>
                </a:lnTo>
                <a:lnTo>
                  <a:pt x="250" y="8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8" name="Freeform 269">
            <a:extLst>
              <a:ext uri="{FF2B5EF4-FFF2-40B4-BE49-F238E27FC236}">
                <a16:creationId xmlns:a16="http://schemas.microsoft.com/office/drawing/2014/main" id="{AEEDA7B8-3E32-4EBF-9214-7B78810DC73B}"/>
              </a:ext>
            </a:extLst>
          </p:cNvPr>
          <p:cNvSpPr>
            <a:spLocks/>
          </p:cNvSpPr>
          <p:nvPr/>
        </p:nvSpPr>
        <p:spPr bwMode="gray">
          <a:xfrm>
            <a:off x="3095731" y="4401752"/>
            <a:ext cx="444756" cy="442976"/>
          </a:xfrm>
          <a:custGeom>
            <a:avLst/>
            <a:gdLst>
              <a:gd name="T0" fmla="*/ 250 w 250"/>
              <a:gd name="T1" fmla="*/ 124 h 249"/>
              <a:gd name="T2" fmla="*/ 125 w 250"/>
              <a:gd name="T3" fmla="*/ 0 h 249"/>
              <a:gd name="T4" fmla="*/ 125 w 250"/>
              <a:gd name="T5" fmla="*/ 83 h 249"/>
              <a:gd name="T6" fmla="*/ 0 w 250"/>
              <a:gd name="T7" fmla="*/ 83 h 249"/>
              <a:gd name="T8" fmla="*/ 0 w 250"/>
              <a:gd name="T9" fmla="*/ 166 h 249"/>
              <a:gd name="T10" fmla="*/ 125 w 250"/>
              <a:gd name="T11" fmla="*/ 166 h 249"/>
              <a:gd name="T12" fmla="*/ 125 w 250"/>
              <a:gd name="T13" fmla="*/ 249 h 249"/>
              <a:gd name="T14" fmla="*/ 250 w 250"/>
              <a:gd name="T15" fmla="*/ 124 h 2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49">
                <a:moveTo>
                  <a:pt x="250" y="124"/>
                </a:moveTo>
                <a:lnTo>
                  <a:pt x="125" y="0"/>
                </a:lnTo>
                <a:lnTo>
                  <a:pt x="125" y="83"/>
                </a:lnTo>
                <a:lnTo>
                  <a:pt x="0" y="83"/>
                </a:lnTo>
                <a:lnTo>
                  <a:pt x="0" y="166"/>
                </a:lnTo>
                <a:lnTo>
                  <a:pt x="125" y="166"/>
                </a:lnTo>
                <a:lnTo>
                  <a:pt x="125" y="249"/>
                </a:lnTo>
                <a:lnTo>
                  <a:pt x="250" y="12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9" name="Freeform 273">
            <a:extLst>
              <a:ext uri="{FF2B5EF4-FFF2-40B4-BE49-F238E27FC236}">
                <a16:creationId xmlns:a16="http://schemas.microsoft.com/office/drawing/2014/main" id="{D1DA5B33-E640-4745-A31D-8A2EA3F2A816}"/>
              </a:ext>
            </a:extLst>
          </p:cNvPr>
          <p:cNvSpPr>
            <a:spLocks/>
          </p:cNvSpPr>
          <p:nvPr/>
        </p:nvSpPr>
        <p:spPr bwMode="gray">
          <a:xfrm>
            <a:off x="4208399" y="4425596"/>
            <a:ext cx="446087" cy="395288"/>
          </a:xfrm>
          <a:custGeom>
            <a:avLst/>
            <a:gdLst>
              <a:gd name="T0" fmla="*/ 281 w 281"/>
              <a:gd name="T1" fmla="*/ 140 h 249"/>
              <a:gd name="T2" fmla="*/ 141 w 281"/>
              <a:gd name="T3" fmla="*/ 0 h 249"/>
              <a:gd name="T4" fmla="*/ 0 w 281"/>
              <a:gd name="T5" fmla="*/ 140 h 249"/>
              <a:gd name="T6" fmla="*/ 94 w 281"/>
              <a:gd name="T7" fmla="*/ 140 h 249"/>
              <a:gd name="T8" fmla="*/ 94 w 281"/>
              <a:gd name="T9" fmla="*/ 249 h 249"/>
              <a:gd name="T10" fmla="*/ 188 w 281"/>
              <a:gd name="T11" fmla="*/ 249 h 249"/>
              <a:gd name="T12" fmla="*/ 188 w 281"/>
              <a:gd name="T13" fmla="*/ 140 h 249"/>
              <a:gd name="T14" fmla="*/ 281 w 281"/>
              <a:gd name="T15" fmla="*/ 140 h 2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49">
                <a:moveTo>
                  <a:pt x="281" y="140"/>
                </a:moveTo>
                <a:lnTo>
                  <a:pt x="141" y="0"/>
                </a:lnTo>
                <a:lnTo>
                  <a:pt x="0" y="140"/>
                </a:lnTo>
                <a:lnTo>
                  <a:pt x="94" y="140"/>
                </a:lnTo>
                <a:lnTo>
                  <a:pt x="94" y="249"/>
                </a:lnTo>
                <a:lnTo>
                  <a:pt x="188" y="249"/>
                </a:lnTo>
                <a:lnTo>
                  <a:pt x="188" y="140"/>
                </a:lnTo>
                <a:lnTo>
                  <a:pt x="281" y="14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0" name="Freeform 277">
            <a:extLst>
              <a:ext uri="{FF2B5EF4-FFF2-40B4-BE49-F238E27FC236}">
                <a16:creationId xmlns:a16="http://schemas.microsoft.com/office/drawing/2014/main" id="{30F685CA-9233-4118-9CE7-F5A17F7A5BC1}"/>
              </a:ext>
            </a:extLst>
          </p:cNvPr>
          <p:cNvSpPr>
            <a:spLocks/>
          </p:cNvSpPr>
          <p:nvPr/>
        </p:nvSpPr>
        <p:spPr bwMode="gray">
          <a:xfrm>
            <a:off x="5321731" y="4424803"/>
            <a:ext cx="446088" cy="396875"/>
          </a:xfrm>
          <a:custGeom>
            <a:avLst/>
            <a:gdLst>
              <a:gd name="T0" fmla="*/ 188 w 281"/>
              <a:gd name="T1" fmla="*/ 110 h 250"/>
              <a:gd name="T2" fmla="*/ 188 w 281"/>
              <a:gd name="T3" fmla="*/ 0 h 250"/>
              <a:gd name="T4" fmla="*/ 94 w 281"/>
              <a:gd name="T5" fmla="*/ 0 h 250"/>
              <a:gd name="T6" fmla="*/ 94 w 281"/>
              <a:gd name="T7" fmla="*/ 110 h 250"/>
              <a:gd name="T8" fmla="*/ 0 w 281"/>
              <a:gd name="T9" fmla="*/ 110 h 250"/>
              <a:gd name="T10" fmla="*/ 141 w 281"/>
              <a:gd name="T11" fmla="*/ 250 h 250"/>
              <a:gd name="T12" fmla="*/ 281 w 281"/>
              <a:gd name="T13" fmla="*/ 110 h 250"/>
              <a:gd name="T14" fmla="*/ 188 w 281"/>
              <a:gd name="T15" fmla="*/ 110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50">
                <a:moveTo>
                  <a:pt x="188" y="110"/>
                </a:moveTo>
                <a:lnTo>
                  <a:pt x="188" y="0"/>
                </a:lnTo>
                <a:lnTo>
                  <a:pt x="94" y="0"/>
                </a:lnTo>
                <a:lnTo>
                  <a:pt x="94" y="110"/>
                </a:lnTo>
                <a:lnTo>
                  <a:pt x="0" y="110"/>
                </a:lnTo>
                <a:lnTo>
                  <a:pt x="141" y="250"/>
                </a:lnTo>
                <a:lnTo>
                  <a:pt x="281" y="110"/>
                </a:lnTo>
                <a:lnTo>
                  <a:pt x="188" y="11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1" name="Freeform 281">
            <a:extLst>
              <a:ext uri="{FF2B5EF4-FFF2-40B4-BE49-F238E27FC236}">
                <a16:creationId xmlns:a16="http://schemas.microsoft.com/office/drawing/2014/main" id="{AC1F22D2-8349-4842-A424-2F38C378FBC9}"/>
              </a:ext>
            </a:extLst>
          </p:cNvPr>
          <p:cNvSpPr>
            <a:spLocks/>
          </p:cNvSpPr>
          <p:nvPr/>
        </p:nvSpPr>
        <p:spPr bwMode="gray">
          <a:xfrm>
            <a:off x="6431096" y="4425597"/>
            <a:ext cx="454025" cy="395287"/>
          </a:xfrm>
          <a:custGeom>
            <a:avLst/>
            <a:gdLst>
              <a:gd name="T0" fmla="*/ 960 w 1280"/>
              <a:gd name="T1" fmla="*/ 352 h 1120"/>
              <a:gd name="T2" fmla="*/ 512 w 1280"/>
              <a:gd name="T3" fmla="*/ 352 h 1120"/>
              <a:gd name="T4" fmla="*/ 512 w 1280"/>
              <a:gd name="T5" fmla="*/ 0 h 1120"/>
              <a:gd name="T6" fmla="*/ 0 w 1280"/>
              <a:gd name="T7" fmla="*/ 512 h 1120"/>
              <a:gd name="T8" fmla="*/ 512 w 1280"/>
              <a:gd name="T9" fmla="*/ 1024 h 1120"/>
              <a:gd name="T10" fmla="*/ 512 w 1280"/>
              <a:gd name="T11" fmla="*/ 672 h 1120"/>
              <a:gd name="T12" fmla="*/ 960 w 1280"/>
              <a:gd name="T13" fmla="*/ 672 h 1120"/>
              <a:gd name="T14" fmla="*/ 960 w 1280"/>
              <a:gd name="T15" fmla="*/ 1120 h 1120"/>
              <a:gd name="T16" fmla="*/ 1280 w 1280"/>
              <a:gd name="T17" fmla="*/ 1120 h 1120"/>
              <a:gd name="T18" fmla="*/ 1280 w 1280"/>
              <a:gd name="T19" fmla="*/ 672 h 1120"/>
              <a:gd name="T20" fmla="*/ 960 w 1280"/>
              <a:gd name="T21" fmla="*/ 352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0" h="1120">
                <a:moveTo>
                  <a:pt x="960" y="352"/>
                </a:moveTo>
                <a:cubicBezTo>
                  <a:pt x="512" y="352"/>
                  <a:pt x="512" y="352"/>
                  <a:pt x="512" y="352"/>
                </a:cubicBezTo>
                <a:cubicBezTo>
                  <a:pt x="512" y="0"/>
                  <a:pt x="512" y="0"/>
                  <a:pt x="512" y="0"/>
                </a:cubicBezTo>
                <a:cubicBezTo>
                  <a:pt x="0" y="512"/>
                  <a:pt x="0" y="512"/>
                  <a:pt x="0" y="512"/>
                </a:cubicBezTo>
                <a:cubicBezTo>
                  <a:pt x="512" y="1024"/>
                  <a:pt x="512" y="1024"/>
                  <a:pt x="512" y="1024"/>
                </a:cubicBezTo>
                <a:cubicBezTo>
                  <a:pt x="512" y="672"/>
                  <a:pt x="512" y="672"/>
                  <a:pt x="512" y="672"/>
                </a:cubicBezTo>
                <a:cubicBezTo>
                  <a:pt x="960" y="672"/>
                  <a:pt x="960" y="672"/>
                  <a:pt x="960" y="672"/>
                </a:cubicBezTo>
                <a:cubicBezTo>
                  <a:pt x="960" y="1120"/>
                  <a:pt x="960" y="1120"/>
                  <a:pt x="960" y="1120"/>
                </a:cubicBezTo>
                <a:cubicBezTo>
                  <a:pt x="1280" y="1120"/>
                  <a:pt x="1280" y="1120"/>
                  <a:pt x="1280" y="1120"/>
                </a:cubicBezTo>
                <a:cubicBezTo>
                  <a:pt x="1280" y="672"/>
                  <a:pt x="1280" y="672"/>
                  <a:pt x="1280" y="672"/>
                </a:cubicBezTo>
                <a:cubicBezTo>
                  <a:pt x="1280" y="495"/>
                  <a:pt x="1137" y="352"/>
                  <a:pt x="960" y="35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2" name="Freeform 285">
            <a:extLst>
              <a:ext uri="{FF2B5EF4-FFF2-40B4-BE49-F238E27FC236}">
                <a16:creationId xmlns:a16="http://schemas.microsoft.com/office/drawing/2014/main" id="{237DB3F9-7859-419D-A1B9-C9F6AD310FEA}"/>
              </a:ext>
            </a:extLst>
          </p:cNvPr>
          <p:cNvSpPr>
            <a:spLocks/>
          </p:cNvSpPr>
          <p:nvPr/>
        </p:nvSpPr>
        <p:spPr bwMode="gray">
          <a:xfrm>
            <a:off x="7544429" y="4425596"/>
            <a:ext cx="454025" cy="395288"/>
          </a:xfrm>
          <a:custGeom>
            <a:avLst/>
            <a:gdLst>
              <a:gd name="T0" fmla="*/ 1280 w 1280"/>
              <a:gd name="T1" fmla="*/ 512 h 1120"/>
              <a:gd name="T2" fmla="*/ 768 w 1280"/>
              <a:gd name="T3" fmla="*/ 0 h 1120"/>
              <a:gd name="T4" fmla="*/ 768 w 1280"/>
              <a:gd name="T5" fmla="*/ 352 h 1120"/>
              <a:gd name="T6" fmla="*/ 320 w 1280"/>
              <a:gd name="T7" fmla="*/ 352 h 1120"/>
              <a:gd name="T8" fmla="*/ 0 w 1280"/>
              <a:gd name="T9" fmla="*/ 672 h 1120"/>
              <a:gd name="T10" fmla="*/ 0 w 1280"/>
              <a:gd name="T11" fmla="*/ 1120 h 1120"/>
              <a:gd name="T12" fmla="*/ 320 w 1280"/>
              <a:gd name="T13" fmla="*/ 1120 h 1120"/>
              <a:gd name="T14" fmla="*/ 320 w 1280"/>
              <a:gd name="T15" fmla="*/ 672 h 1120"/>
              <a:gd name="T16" fmla="*/ 768 w 1280"/>
              <a:gd name="T17" fmla="*/ 672 h 1120"/>
              <a:gd name="T18" fmla="*/ 768 w 1280"/>
              <a:gd name="T19" fmla="*/ 1024 h 1120"/>
              <a:gd name="T20" fmla="*/ 1280 w 1280"/>
              <a:gd name="T21" fmla="*/ 512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0" h="1120">
                <a:moveTo>
                  <a:pt x="1280" y="512"/>
                </a:moveTo>
                <a:cubicBezTo>
                  <a:pt x="768" y="0"/>
                  <a:pt x="768" y="0"/>
                  <a:pt x="768" y="0"/>
                </a:cubicBezTo>
                <a:cubicBezTo>
                  <a:pt x="768" y="352"/>
                  <a:pt x="768" y="352"/>
                  <a:pt x="768" y="352"/>
                </a:cubicBezTo>
                <a:cubicBezTo>
                  <a:pt x="320" y="352"/>
                  <a:pt x="320" y="352"/>
                  <a:pt x="320" y="352"/>
                </a:cubicBezTo>
                <a:cubicBezTo>
                  <a:pt x="143" y="352"/>
                  <a:pt x="0" y="495"/>
                  <a:pt x="0" y="672"/>
                </a:cubicBezTo>
                <a:cubicBezTo>
                  <a:pt x="0" y="1120"/>
                  <a:pt x="0" y="1120"/>
                  <a:pt x="0" y="1120"/>
                </a:cubicBezTo>
                <a:cubicBezTo>
                  <a:pt x="320" y="1120"/>
                  <a:pt x="320" y="1120"/>
                  <a:pt x="320" y="1120"/>
                </a:cubicBezTo>
                <a:cubicBezTo>
                  <a:pt x="320" y="672"/>
                  <a:pt x="320" y="672"/>
                  <a:pt x="320" y="672"/>
                </a:cubicBezTo>
                <a:cubicBezTo>
                  <a:pt x="768" y="672"/>
                  <a:pt x="768" y="672"/>
                  <a:pt x="768" y="672"/>
                </a:cubicBezTo>
                <a:cubicBezTo>
                  <a:pt x="768" y="1024"/>
                  <a:pt x="768" y="1024"/>
                  <a:pt x="768" y="1024"/>
                </a:cubicBezTo>
                <a:lnTo>
                  <a:pt x="1280" y="51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3" name="Freeform 289">
            <a:extLst>
              <a:ext uri="{FF2B5EF4-FFF2-40B4-BE49-F238E27FC236}">
                <a16:creationId xmlns:a16="http://schemas.microsoft.com/office/drawing/2014/main" id="{AA084372-6D0E-47EE-A479-6B57135199AE}"/>
              </a:ext>
            </a:extLst>
          </p:cNvPr>
          <p:cNvSpPr>
            <a:spLocks noEditPoints="1"/>
          </p:cNvSpPr>
          <p:nvPr/>
        </p:nvSpPr>
        <p:spPr bwMode="gray">
          <a:xfrm>
            <a:off x="8686337" y="3252595"/>
            <a:ext cx="396875" cy="395288"/>
          </a:xfrm>
          <a:custGeom>
            <a:avLst/>
            <a:gdLst>
              <a:gd name="T0" fmla="*/ 0 w 1344"/>
              <a:gd name="T1" fmla="*/ 672 h 1344"/>
              <a:gd name="T2" fmla="*/ 1344 w 1344"/>
              <a:gd name="T3" fmla="*/ 672 h 1344"/>
              <a:gd name="T4" fmla="*/ 672 w 1344"/>
              <a:gd name="T5" fmla="*/ 1216 h 1344"/>
              <a:gd name="T6" fmla="*/ 511 w 1344"/>
              <a:gd name="T7" fmla="*/ 978 h 1344"/>
              <a:gd name="T8" fmla="*/ 715 w 1344"/>
              <a:gd name="T9" fmla="*/ 1214 h 1344"/>
              <a:gd name="T10" fmla="*/ 484 w 1344"/>
              <a:gd name="T11" fmla="*/ 1182 h 1344"/>
              <a:gd name="T12" fmla="*/ 419 w 1344"/>
              <a:gd name="T13" fmla="*/ 1002 h 1344"/>
              <a:gd name="T14" fmla="*/ 629 w 1344"/>
              <a:gd name="T15" fmla="*/ 130 h 1344"/>
              <a:gd name="T16" fmla="*/ 715 w 1344"/>
              <a:gd name="T17" fmla="*/ 130 h 1344"/>
              <a:gd name="T18" fmla="*/ 672 w 1344"/>
              <a:gd name="T19" fmla="*/ 381 h 1344"/>
              <a:gd name="T20" fmla="*/ 629 w 1344"/>
              <a:gd name="T21" fmla="*/ 130 h 1344"/>
              <a:gd name="T22" fmla="*/ 290 w 1344"/>
              <a:gd name="T23" fmla="*/ 286 h 1344"/>
              <a:gd name="T24" fmla="*/ 419 w 1344"/>
              <a:gd name="T25" fmla="*/ 342 h 1344"/>
              <a:gd name="T26" fmla="*/ 1054 w 1344"/>
              <a:gd name="T27" fmla="*/ 286 h 1344"/>
              <a:gd name="T28" fmla="*/ 860 w 1344"/>
              <a:gd name="T29" fmla="*/ 162 h 1344"/>
              <a:gd name="T30" fmla="*/ 851 w 1344"/>
              <a:gd name="T31" fmla="*/ 460 h 1344"/>
              <a:gd name="T32" fmla="*/ 478 w 1344"/>
              <a:gd name="T33" fmla="*/ 611 h 1344"/>
              <a:gd name="T34" fmla="*/ 672 w 1344"/>
              <a:gd name="T35" fmla="*/ 477 h 1344"/>
              <a:gd name="T36" fmla="*/ 851 w 1344"/>
              <a:gd name="T37" fmla="*/ 884 h 1344"/>
              <a:gd name="T38" fmla="*/ 478 w 1344"/>
              <a:gd name="T39" fmla="*/ 733 h 1344"/>
              <a:gd name="T40" fmla="*/ 925 w 1344"/>
              <a:gd name="T41" fmla="*/ 1002 h 1344"/>
              <a:gd name="T42" fmla="*/ 860 w 1344"/>
              <a:gd name="T43" fmla="*/ 1182 h 1344"/>
              <a:gd name="T44" fmla="*/ 945 w 1344"/>
              <a:gd name="T45" fmla="*/ 907 h 1344"/>
              <a:gd name="T46" fmla="*/ 1212 w 1344"/>
              <a:gd name="T47" fmla="*/ 733 h 1344"/>
              <a:gd name="T48" fmla="*/ 945 w 1344"/>
              <a:gd name="T49" fmla="*/ 907 h 1344"/>
              <a:gd name="T50" fmla="*/ 962 w 1344"/>
              <a:gd name="T51" fmla="*/ 611 h 1344"/>
              <a:gd name="T52" fmla="*/ 1117 w 1344"/>
              <a:gd name="T53" fmla="*/ 360 h 1344"/>
              <a:gd name="T54" fmla="*/ 227 w 1344"/>
              <a:gd name="T55" fmla="*/ 360 h 1344"/>
              <a:gd name="T56" fmla="*/ 382 w 1344"/>
              <a:gd name="T57" fmla="*/ 611 h 1344"/>
              <a:gd name="T58" fmla="*/ 227 w 1344"/>
              <a:gd name="T59" fmla="*/ 360 h 1344"/>
              <a:gd name="T60" fmla="*/ 382 w 1344"/>
              <a:gd name="T61" fmla="*/ 733 h 1344"/>
              <a:gd name="T62" fmla="*/ 227 w 1344"/>
              <a:gd name="T63" fmla="*/ 984 h 1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44" h="1344">
                <a:moveTo>
                  <a:pt x="672" y="0"/>
                </a:moveTo>
                <a:cubicBezTo>
                  <a:pt x="301" y="0"/>
                  <a:pt x="0" y="301"/>
                  <a:pt x="0" y="672"/>
                </a:cubicBezTo>
                <a:cubicBezTo>
                  <a:pt x="0" y="1043"/>
                  <a:pt x="301" y="1344"/>
                  <a:pt x="672" y="1344"/>
                </a:cubicBezTo>
                <a:cubicBezTo>
                  <a:pt x="1043" y="1344"/>
                  <a:pt x="1344" y="1043"/>
                  <a:pt x="1344" y="672"/>
                </a:cubicBezTo>
                <a:cubicBezTo>
                  <a:pt x="1344" y="301"/>
                  <a:pt x="1043" y="0"/>
                  <a:pt x="672" y="0"/>
                </a:cubicBezTo>
                <a:close/>
                <a:moveTo>
                  <a:pt x="672" y="1216"/>
                </a:moveTo>
                <a:cubicBezTo>
                  <a:pt x="657" y="1216"/>
                  <a:pt x="643" y="1215"/>
                  <a:pt x="629" y="1214"/>
                </a:cubicBezTo>
                <a:cubicBezTo>
                  <a:pt x="586" y="1180"/>
                  <a:pt x="541" y="1098"/>
                  <a:pt x="511" y="978"/>
                </a:cubicBezTo>
                <a:cubicBezTo>
                  <a:pt x="617" y="958"/>
                  <a:pt x="727" y="958"/>
                  <a:pt x="833" y="978"/>
                </a:cubicBezTo>
                <a:cubicBezTo>
                  <a:pt x="803" y="1098"/>
                  <a:pt x="758" y="1180"/>
                  <a:pt x="715" y="1214"/>
                </a:cubicBezTo>
                <a:cubicBezTo>
                  <a:pt x="701" y="1215"/>
                  <a:pt x="687" y="1216"/>
                  <a:pt x="672" y="1216"/>
                </a:cubicBezTo>
                <a:close/>
                <a:moveTo>
                  <a:pt x="484" y="1182"/>
                </a:moveTo>
                <a:cubicBezTo>
                  <a:pt x="411" y="1155"/>
                  <a:pt x="345" y="1113"/>
                  <a:pt x="290" y="1058"/>
                </a:cubicBezTo>
                <a:cubicBezTo>
                  <a:pt x="330" y="1035"/>
                  <a:pt x="374" y="1016"/>
                  <a:pt x="419" y="1002"/>
                </a:cubicBezTo>
                <a:cubicBezTo>
                  <a:pt x="435" y="1069"/>
                  <a:pt x="457" y="1131"/>
                  <a:pt x="484" y="1182"/>
                </a:cubicBezTo>
                <a:close/>
                <a:moveTo>
                  <a:pt x="629" y="130"/>
                </a:moveTo>
                <a:cubicBezTo>
                  <a:pt x="643" y="129"/>
                  <a:pt x="657" y="128"/>
                  <a:pt x="672" y="128"/>
                </a:cubicBezTo>
                <a:cubicBezTo>
                  <a:pt x="687" y="128"/>
                  <a:pt x="701" y="129"/>
                  <a:pt x="715" y="130"/>
                </a:cubicBezTo>
                <a:cubicBezTo>
                  <a:pt x="758" y="164"/>
                  <a:pt x="803" y="246"/>
                  <a:pt x="833" y="366"/>
                </a:cubicBezTo>
                <a:cubicBezTo>
                  <a:pt x="780" y="376"/>
                  <a:pt x="726" y="381"/>
                  <a:pt x="672" y="381"/>
                </a:cubicBezTo>
                <a:cubicBezTo>
                  <a:pt x="618" y="381"/>
                  <a:pt x="564" y="376"/>
                  <a:pt x="511" y="366"/>
                </a:cubicBezTo>
                <a:cubicBezTo>
                  <a:pt x="541" y="246"/>
                  <a:pt x="586" y="164"/>
                  <a:pt x="629" y="130"/>
                </a:cubicBezTo>
                <a:close/>
                <a:moveTo>
                  <a:pt x="419" y="342"/>
                </a:moveTo>
                <a:cubicBezTo>
                  <a:pt x="374" y="328"/>
                  <a:pt x="331" y="309"/>
                  <a:pt x="290" y="286"/>
                </a:cubicBezTo>
                <a:cubicBezTo>
                  <a:pt x="345" y="231"/>
                  <a:pt x="411" y="189"/>
                  <a:pt x="484" y="162"/>
                </a:cubicBezTo>
                <a:cubicBezTo>
                  <a:pt x="457" y="213"/>
                  <a:pt x="435" y="275"/>
                  <a:pt x="419" y="342"/>
                </a:cubicBezTo>
                <a:close/>
                <a:moveTo>
                  <a:pt x="860" y="162"/>
                </a:moveTo>
                <a:cubicBezTo>
                  <a:pt x="933" y="189"/>
                  <a:pt x="999" y="231"/>
                  <a:pt x="1054" y="286"/>
                </a:cubicBezTo>
                <a:cubicBezTo>
                  <a:pt x="1013" y="309"/>
                  <a:pt x="970" y="328"/>
                  <a:pt x="925" y="342"/>
                </a:cubicBezTo>
                <a:cubicBezTo>
                  <a:pt x="909" y="275"/>
                  <a:pt x="887" y="213"/>
                  <a:pt x="860" y="162"/>
                </a:cubicBezTo>
                <a:close/>
                <a:moveTo>
                  <a:pt x="672" y="477"/>
                </a:moveTo>
                <a:cubicBezTo>
                  <a:pt x="732" y="477"/>
                  <a:pt x="792" y="471"/>
                  <a:pt x="851" y="460"/>
                </a:cubicBezTo>
                <a:cubicBezTo>
                  <a:pt x="859" y="510"/>
                  <a:pt x="864" y="561"/>
                  <a:pt x="866" y="611"/>
                </a:cubicBezTo>
                <a:cubicBezTo>
                  <a:pt x="478" y="611"/>
                  <a:pt x="478" y="611"/>
                  <a:pt x="478" y="611"/>
                </a:cubicBezTo>
                <a:cubicBezTo>
                  <a:pt x="480" y="561"/>
                  <a:pt x="485" y="510"/>
                  <a:pt x="493" y="460"/>
                </a:cubicBezTo>
                <a:cubicBezTo>
                  <a:pt x="552" y="471"/>
                  <a:pt x="612" y="477"/>
                  <a:pt x="672" y="477"/>
                </a:cubicBezTo>
                <a:close/>
                <a:moveTo>
                  <a:pt x="866" y="733"/>
                </a:moveTo>
                <a:cubicBezTo>
                  <a:pt x="864" y="783"/>
                  <a:pt x="859" y="834"/>
                  <a:pt x="851" y="884"/>
                </a:cubicBezTo>
                <a:cubicBezTo>
                  <a:pt x="733" y="861"/>
                  <a:pt x="611" y="861"/>
                  <a:pt x="493" y="884"/>
                </a:cubicBezTo>
                <a:cubicBezTo>
                  <a:pt x="485" y="834"/>
                  <a:pt x="480" y="783"/>
                  <a:pt x="478" y="733"/>
                </a:cubicBezTo>
                <a:lnTo>
                  <a:pt x="866" y="733"/>
                </a:lnTo>
                <a:close/>
                <a:moveTo>
                  <a:pt x="925" y="1002"/>
                </a:moveTo>
                <a:cubicBezTo>
                  <a:pt x="970" y="1016"/>
                  <a:pt x="1014" y="1035"/>
                  <a:pt x="1054" y="1058"/>
                </a:cubicBezTo>
                <a:cubicBezTo>
                  <a:pt x="999" y="1113"/>
                  <a:pt x="933" y="1155"/>
                  <a:pt x="860" y="1182"/>
                </a:cubicBezTo>
                <a:cubicBezTo>
                  <a:pt x="887" y="1131"/>
                  <a:pt x="909" y="1069"/>
                  <a:pt x="925" y="1002"/>
                </a:cubicBezTo>
                <a:close/>
                <a:moveTo>
                  <a:pt x="945" y="907"/>
                </a:moveTo>
                <a:cubicBezTo>
                  <a:pt x="954" y="849"/>
                  <a:pt x="960" y="791"/>
                  <a:pt x="962" y="733"/>
                </a:cubicBezTo>
                <a:cubicBezTo>
                  <a:pt x="1212" y="733"/>
                  <a:pt x="1212" y="733"/>
                  <a:pt x="1212" y="733"/>
                </a:cubicBezTo>
                <a:cubicBezTo>
                  <a:pt x="1202" y="823"/>
                  <a:pt x="1169" y="910"/>
                  <a:pt x="1117" y="984"/>
                </a:cubicBezTo>
                <a:cubicBezTo>
                  <a:pt x="1063" y="951"/>
                  <a:pt x="1005" y="925"/>
                  <a:pt x="945" y="907"/>
                </a:cubicBezTo>
                <a:close/>
                <a:moveTo>
                  <a:pt x="1212" y="611"/>
                </a:moveTo>
                <a:cubicBezTo>
                  <a:pt x="962" y="611"/>
                  <a:pt x="962" y="611"/>
                  <a:pt x="962" y="611"/>
                </a:cubicBezTo>
                <a:cubicBezTo>
                  <a:pt x="960" y="553"/>
                  <a:pt x="954" y="495"/>
                  <a:pt x="945" y="437"/>
                </a:cubicBezTo>
                <a:cubicBezTo>
                  <a:pt x="1005" y="419"/>
                  <a:pt x="1063" y="393"/>
                  <a:pt x="1117" y="360"/>
                </a:cubicBezTo>
                <a:cubicBezTo>
                  <a:pt x="1169" y="434"/>
                  <a:pt x="1202" y="521"/>
                  <a:pt x="1212" y="611"/>
                </a:cubicBezTo>
                <a:close/>
                <a:moveTo>
                  <a:pt x="227" y="360"/>
                </a:moveTo>
                <a:cubicBezTo>
                  <a:pt x="281" y="393"/>
                  <a:pt x="339" y="419"/>
                  <a:pt x="399" y="437"/>
                </a:cubicBezTo>
                <a:cubicBezTo>
                  <a:pt x="390" y="495"/>
                  <a:pt x="384" y="553"/>
                  <a:pt x="382" y="611"/>
                </a:cubicBezTo>
                <a:cubicBezTo>
                  <a:pt x="132" y="611"/>
                  <a:pt x="132" y="611"/>
                  <a:pt x="132" y="611"/>
                </a:cubicBezTo>
                <a:cubicBezTo>
                  <a:pt x="142" y="521"/>
                  <a:pt x="175" y="434"/>
                  <a:pt x="227" y="360"/>
                </a:cubicBezTo>
                <a:close/>
                <a:moveTo>
                  <a:pt x="132" y="733"/>
                </a:moveTo>
                <a:cubicBezTo>
                  <a:pt x="382" y="733"/>
                  <a:pt x="382" y="733"/>
                  <a:pt x="382" y="733"/>
                </a:cubicBezTo>
                <a:cubicBezTo>
                  <a:pt x="384" y="791"/>
                  <a:pt x="390" y="849"/>
                  <a:pt x="399" y="907"/>
                </a:cubicBezTo>
                <a:cubicBezTo>
                  <a:pt x="339" y="925"/>
                  <a:pt x="281" y="951"/>
                  <a:pt x="227" y="984"/>
                </a:cubicBezTo>
                <a:cubicBezTo>
                  <a:pt x="175" y="910"/>
                  <a:pt x="142" y="823"/>
                  <a:pt x="132" y="73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4" name="Freeform 52">
            <a:extLst>
              <a:ext uri="{FF2B5EF4-FFF2-40B4-BE49-F238E27FC236}">
                <a16:creationId xmlns:a16="http://schemas.microsoft.com/office/drawing/2014/main" id="{6242AF42-4C89-417B-A91C-C762748AF4BC}"/>
              </a:ext>
            </a:extLst>
          </p:cNvPr>
          <p:cNvSpPr>
            <a:spLocks noEditPoints="1"/>
          </p:cNvSpPr>
          <p:nvPr/>
        </p:nvSpPr>
        <p:spPr bwMode="gray">
          <a:xfrm>
            <a:off x="5328875" y="1993870"/>
            <a:ext cx="431800" cy="566737"/>
          </a:xfrm>
          <a:custGeom>
            <a:avLst/>
            <a:gdLst>
              <a:gd name="T0" fmla="*/ 100 w 128"/>
              <a:gd name="T1" fmla="*/ 96 h 169"/>
              <a:gd name="T2" fmla="*/ 28 w 128"/>
              <a:gd name="T3" fmla="*/ 96 h 169"/>
              <a:gd name="T4" fmla="*/ 28 w 128"/>
              <a:gd name="T5" fmla="*/ 56 h 169"/>
              <a:gd name="T6" fmla="*/ 100 w 128"/>
              <a:gd name="T7" fmla="*/ 56 h 169"/>
              <a:gd name="T8" fmla="*/ 100 w 128"/>
              <a:gd name="T9" fmla="*/ 96 h 169"/>
              <a:gd name="T10" fmla="*/ 128 w 128"/>
              <a:gd name="T11" fmla="*/ 84 h 169"/>
              <a:gd name="T12" fmla="*/ 123 w 128"/>
              <a:gd name="T13" fmla="*/ 141 h 169"/>
              <a:gd name="T14" fmla="*/ 101 w 128"/>
              <a:gd name="T15" fmla="*/ 165 h 169"/>
              <a:gd name="T16" fmla="*/ 27 w 128"/>
              <a:gd name="T17" fmla="*/ 165 h 169"/>
              <a:gd name="T18" fmla="*/ 5 w 128"/>
              <a:gd name="T19" fmla="*/ 141 h 169"/>
              <a:gd name="T20" fmla="*/ 0 w 128"/>
              <a:gd name="T21" fmla="*/ 84 h 169"/>
              <a:gd name="T22" fmla="*/ 5 w 128"/>
              <a:gd name="T23" fmla="*/ 27 h 169"/>
              <a:gd name="T24" fmla="*/ 27 w 128"/>
              <a:gd name="T25" fmla="*/ 3 h 169"/>
              <a:gd name="T26" fmla="*/ 64 w 128"/>
              <a:gd name="T27" fmla="*/ 0 h 169"/>
              <a:gd name="T28" fmla="*/ 119 w 128"/>
              <a:gd name="T29" fmla="*/ 8 h 169"/>
              <a:gd name="T30" fmla="*/ 128 w 128"/>
              <a:gd name="T31" fmla="*/ 84 h 169"/>
              <a:gd name="T32" fmla="*/ 112 w 128"/>
              <a:gd name="T33" fmla="*/ 90 h 169"/>
              <a:gd name="T34" fmla="*/ 109 w 128"/>
              <a:gd name="T35" fmla="*/ 46 h 169"/>
              <a:gd name="T36" fmla="*/ 102 w 128"/>
              <a:gd name="T37" fmla="*/ 38 h 169"/>
              <a:gd name="T38" fmla="*/ 79 w 128"/>
              <a:gd name="T39" fmla="*/ 36 h 169"/>
              <a:gd name="T40" fmla="*/ 76 w 128"/>
              <a:gd name="T41" fmla="*/ 48 h 169"/>
              <a:gd name="T42" fmla="*/ 52 w 128"/>
              <a:gd name="T43" fmla="*/ 48 h 169"/>
              <a:gd name="T44" fmla="*/ 49 w 128"/>
              <a:gd name="T45" fmla="*/ 36 h 169"/>
              <a:gd name="T46" fmla="*/ 26 w 128"/>
              <a:gd name="T47" fmla="*/ 38 h 169"/>
              <a:gd name="T48" fmla="*/ 19 w 128"/>
              <a:gd name="T49" fmla="*/ 46 h 169"/>
              <a:gd name="T50" fmla="*/ 19 w 128"/>
              <a:gd name="T51" fmla="*/ 132 h 169"/>
              <a:gd name="T52" fmla="*/ 33 w 128"/>
              <a:gd name="T53" fmla="*/ 146 h 169"/>
              <a:gd name="T54" fmla="*/ 64 w 128"/>
              <a:gd name="T55" fmla="*/ 148 h 169"/>
              <a:gd name="T56" fmla="*/ 95 w 128"/>
              <a:gd name="T57" fmla="*/ 146 h 169"/>
              <a:gd name="T58" fmla="*/ 109 w 128"/>
              <a:gd name="T59" fmla="*/ 132 h 169"/>
              <a:gd name="T60" fmla="*/ 112 w 128"/>
              <a:gd name="T61" fmla="*/ 90 h 169"/>
              <a:gd name="T62" fmla="*/ 38 w 128"/>
              <a:gd name="T63" fmla="*/ 104 h 169"/>
              <a:gd name="T64" fmla="*/ 28 w 128"/>
              <a:gd name="T65" fmla="*/ 114 h 169"/>
              <a:gd name="T66" fmla="*/ 38 w 128"/>
              <a:gd name="T67" fmla="*/ 124 h 169"/>
              <a:gd name="T68" fmla="*/ 48 w 128"/>
              <a:gd name="T69" fmla="*/ 114 h 169"/>
              <a:gd name="T70" fmla="*/ 38 w 128"/>
              <a:gd name="T71" fmla="*/ 104 h 169"/>
              <a:gd name="T72" fmla="*/ 90 w 128"/>
              <a:gd name="T73" fmla="*/ 104 h 169"/>
              <a:gd name="T74" fmla="*/ 80 w 128"/>
              <a:gd name="T75" fmla="*/ 114 h 169"/>
              <a:gd name="T76" fmla="*/ 90 w 128"/>
              <a:gd name="T77" fmla="*/ 124 h 169"/>
              <a:gd name="T78" fmla="*/ 100 w 128"/>
              <a:gd name="T79" fmla="*/ 114 h 169"/>
              <a:gd name="T80" fmla="*/ 90 w 128"/>
              <a:gd name="T81" fmla="*/ 10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169">
                <a:moveTo>
                  <a:pt x="100" y="96"/>
                </a:moveTo>
                <a:cubicBezTo>
                  <a:pt x="28" y="96"/>
                  <a:pt x="28" y="96"/>
                  <a:pt x="28" y="96"/>
                </a:cubicBezTo>
                <a:cubicBezTo>
                  <a:pt x="28" y="56"/>
                  <a:pt x="28" y="56"/>
                  <a:pt x="28" y="56"/>
                </a:cubicBezTo>
                <a:cubicBezTo>
                  <a:pt x="100" y="56"/>
                  <a:pt x="100" y="56"/>
                  <a:pt x="100" y="56"/>
                </a:cubicBezTo>
                <a:lnTo>
                  <a:pt x="100" y="96"/>
                </a:lnTo>
                <a:close/>
                <a:moveTo>
                  <a:pt x="128" y="84"/>
                </a:moveTo>
                <a:cubicBezTo>
                  <a:pt x="128" y="103"/>
                  <a:pt x="126" y="122"/>
                  <a:pt x="123" y="141"/>
                </a:cubicBezTo>
                <a:cubicBezTo>
                  <a:pt x="121" y="153"/>
                  <a:pt x="112" y="162"/>
                  <a:pt x="101" y="165"/>
                </a:cubicBezTo>
                <a:cubicBezTo>
                  <a:pt x="76" y="169"/>
                  <a:pt x="52" y="169"/>
                  <a:pt x="27" y="165"/>
                </a:cubicBezTo>
                <a:cubicBezTo>
                  <a:pt x="16" y="162"/>
                  <a:pt x="7" y="153"/>
                  <a:pt x="5" y="141"/>
                </a:cubicBezTo>
                <a:cubicBezTo>
                  <a:pt x="2" y="122"/>
                  <a:pt x="0" y="103"/>
                  <a:pt x="0" y="84"/>
                </a:cubicBezTo>
                <a:cubicBezTo>
                  <a:pt x="0" y="65"/>
                  <a:pt x="2" y="46"/>
                  <a:pt x="5" y="27"/>
                </a:cubicBezTo>
                <a:cubicBezTo>
                  <a:pt x="7" y="15"/>
                  <a:pt x="16" y="6"/>
                  <a:pt x="27" y="3"/>
                </a:cubicBezTo>
                <a:cubicBezTo>
                  <a:pt x="39" y="1"/>
                  <a:pt x="52" y="0"/>
                  <a:pt x="64" y="0"/>
                </a:cubicBezTo>
                <a:cubicBezTo>
                  <a:pt x="83" y="0"/>
                  <a:pt x="101" y="3"/>
                  <a:pt x="119" y="8"/>
                </a:cubicBezTo>
                <a:cubicBezTo>
                  <a:pt x="125" y="33"/>
                  <a:pt x="128" y="58"/>
                  <a:pt x="128" y="84"/>
                </a:cubicBezTo>
                <a:close/>
                <a:moveTo>
                  <a:pt x="112" y="90"/>
                </a:moveTo>
                <a:cubicBezTo>
                  <a:pt x="112" y="75"/>
                  <a:pt x="111" y="61"/>
                  <a:pt x="109" y="46"/>
                </a:cubicBezTo>
                <a:cubicBezTo>
                  <a:pt x="109" y="42"/>
                  <a:pt x="106" y="39"/>
                  <a:pt x="102" y="38"/>
                </a:cubicBezTo>
                <a:cubicBezTo>
                  <a:pt x="95" y="37"/>
                  <a:pt x="87" y="37"/>
                  <a:pt x="79" y="36"/>
                </a:cubicBezTo>
                <a:cubicBezTo>
                  <a:pt x="76" y="48"/>
                  <a:pt x="76" y="48"/>
                  <a:pt x="76" y="48"/>
                </a:cubicBezTo>
                <a:cubicBezTo>
                  <a:pt x="52" y="48"/>
                  <a:pt x="52" y="48"/>
                  <a:pt x="52" y="48"/>
                </a:cubicBezTo>
                <a:cubicBezTo>
                  <a:pt x="49" y="36"/>
                  <a:pt x="49" y="36"/>
                  <a:pt x="49" y="36"/>
                </a:cubicBezTo>
                <a:cubicBezTo>
                  <a:pt x="41" y="37"/>
                  <a:pt x="33" y="37"/>
                  <a:pt x="26" y="38"/>
                </a:cubicBezTo>
                <a:cubicBezTo>
                  <a:pt x="22" y="39"/>
                  <a:pt x="19" y="42"/>
                  <a:pt x="19" y="46"/>
                </a:cubicBezTo>
                <a:cubicBezTo>
                  <a:pt x="15" y="74"/>
                  <a:pt x="15" y="103"/>
                  <a:pt x="19" y="132"/>
                </a:cubicBezTo>
                <a:cubicBezTo>
                  <a:pt x="19" y="140"/>
                  <a:pt x="25" y="145"/>
                  <a:pt x="33" y="146"/>
                </a:cubicBezTo>
                <a:cubicBezTo>
                  <a:pt x="43" y="147"/>
                  <a:pt x="53" y="148"/>
                  <a:pt x="64" y="148"/>
                </a:cubicBezTo>
                <a:cubicBezTo>
                  <a:pt x="75" y="148"/>
                  <a:pt x="85" y="147"/>
                  <a:pt x="95" y="146"/>
                </a:cubicBezTo>
                <a:cubicBezTo>
                  <a:pt x="103" y="145"/>
                  <a:pt x="109" y="140"/>
                  <a:pt x="109" y="132"/>
                </a:cubicBezTo>
                <a:cubicBezTo>
                  <a:pt x="111" y="118"/>
                  <a:pt x="112" y="104"/>
                  <a:pt x="112" y="90"/>
                </a:cubicBezTo>
                <a:close/>
                <a:moveTo>
                  <a:pt x="38" y="104"/>
                </a:moveTo>
                <a:cubicBezTo>
                  <a:pt x="32" y="104"/>
                  <a:pt x="28" y="108"/>
                  <a:pt x="28" y="114"/>
                </a:cubicBezTo>
                <a:cubicBezTo>
                  <a:pt x="28" y="120"/>
                  <a:pt x="32" y="124"/>
                  <a:pt x="38" y="124"/>
                </a:cubicBezTo>
                <a:cubicBezTo>
                  <a:pt x="44" y="124"/>
                  <a:pt x="48" y="120"/>
                  <a:pt x="48" y="114"/>
                </a:cubicBezTo>
                <a:cubicBezTo>
                  <a:pt x="48" y="108"/>
                  <a:pt x="44" y="104"/>
                  <a:pt x="38" y="104"/>
                </a:cubicBezTo>
                <a:close/>
                <a:moveTo>
                  <a:pt x="90" y="104"/>
                </a:moveTo>
                <a:cubicBezTo>
                  <a:pt x="84" y="104"/>
                  <a:pt x="80" y="108"/>
                  <a:pt x="80" y="114"/>
                </a:cubicBezTo>
                <a:cubicBezTo>
                  <a:pt x="80" y="120"/>
                  <a:pt x="84" y="124"/>
                  <a:pt x="90" y="124"/>
                </a:cubicBezTo>
                <a:cubicBezTo>
                  <a:pt x="96" y="124"/>
                  <a:pt x="100" y="120"/>
                  <a:pt x="100" y="114"/>
                </a:cubicBezTo>
                <a:cubicBezTo>
                  <a:pt x="100" y="108"/>
                  <a:pt x="96" y="104"/>
                  <a:pt x="90" y="10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5" name="Freeform 72">
            <a:extLst>
              <a:ext uri="{FF2B5EF4-FFF2-40B4-BE49-F238E27FC236}">
                <a16:creationId xmlns:a16="http://schemas.microsoft.com/office/drawing/2014/main" id="{D609D5CC-78D3-4EB6-BFFD-8C238DFE3058}"/>
              </a:ext>
            </a:extLst>
          </p:cNvPr>
          <p:cNvSpPr>
            <a:spLocks noEditPoints="1"/>
          </p:cNvSpPr>
          <p:nvPr/>
        </p:nvSpPr>
        <p:spPr bwMode="gray">
          <a:xfrm>
            <a:off x="7645915" y="1981200"/>
            <a:ext cx="251052" cy="592076"/>
          </a:xfrm>
          <a:custGeom>
            <a:avLst/>
            <a:gdLst>
              <a:gd name="T0" fmla="*/ 60 w 80"/>
              <a:gd name="T1" fmla="*/ 140 h 194"/>
              <a:gd name="T2" fmla="*/ 20 w 80"/>
              <a:gd name="T3" fmla="*/ 140 h 194"/>
              <a:gd name="T4" fmla="*/ 20 w 80"/>
              <a:gd name="T5" fmla="*/ 80 h 194"/>
              <a:gd name="T6" fmla="*/ 60 w 80"/>
              <a:gd name="T7" fmla="*/ 80 h 194"/>
              <a:gd name="T8" fmla="*/ 60 w 80"/>
              <a:gd name="T9" fmla="*/ 140 h 194"/>
              <a:gd name="T10" fmla="*/ 26 w 80"/>
              <a:gd name="T11" fmla="*/ 148 h 194"/>
              <a:gd name="T12" fmla="*/ 20 w 80"/>
              <a:gd name="T13" fmla="*/ 154 h 194"/>
              <a:gd name="T14" fmla="*/ 26 w 80"/>
              <a:gd name="T15" fmla="*/ 160 h 194"/>
              <a:gd name="T16" fmla="*/ 32 w 80"/>
              <a:gd name="T17" fmla="*/ 154 h 194"/>
              <a:gd name="T18" fmla="*/ 26 w 80"/>
              <a:gd name="T19" fmla="*/ 148 h 194"/>
              <a:gd name="T20" fmla="*/ 54 w 80"/>
              <a:gd name="T21" fmla="*/ 148 h 194"/>
              <a:gd name="T22" fmla="*/ 48 w 80"/>
              <a:gd name="T23" fmla="*/ 154 h 194"/>
              <a:gd name="T24" fmla="*/ 54 w 80"/>
              <a:gd name="T25" fmla="*/ 160 h 194"/>
              <a:gd name="T26" fmla="*/ 60 w 80"/>
              <a:gd name="T27" fmla="*/ 154 h 194"/>
              <a:gd name="T28" fmla="*/ 54 w 80"/>
              <a:gd name="T29" fmla="*/ 148 h 194"/>
              <a:gd name="T30" fmla="*/ 80 w 80"/>
              <a:gd name="T31" fmla="*/ 12 h 194"/>
              <a:gd name="T32" fmla="*/ 80 w 80"/>
              <a:gd name="T33" fmla="*/ 160 h 194"/>
              <a:gd name="T34" fmla="*/ 79 w 80"/>
              <a:gd name="T35" fmla="*/ 175 h 194"/>
              <a:gd name="T36" fmla="*/ 69 w 80"/>
              <a:gd name="T37" fmla="*/ 188 h 194"/>
              <a:gd name="T38" fmla="*/ 11 w 80"/>
              <a:gd name="T39" fmla="*/ 188 h 194"/>
              <a:gd name="T40" fmla="*/ 1 w 80"/>
              <a:gd name="T41" fmla="*/ 175 h 194"/>
              <a:gd name="T42" fmla="*/ 0 w 80"/>
              <a:gd name="T43" fmla="*/ 160 h 194"/>
              <a:gd name="T44" fmla="*/ 0 w 80"/>
              <a:gd name="T45" fmla="*/ 12 h 194"/>
              <a:gd name="T46" fmla="*/ 11 w 80"/>
              <a:gd name="T47" fmla="*/ 0 h 194"/>
              <a:gd name="T48" fmla="*/ 69 w 80"/>
              <a:gd name="T49" fmla="*/ 0 h 194"/>
              <a:gd name="T50" fmla="*/ 80 w 80"/>
              <a:gd name="T51" fmla="*/ 12 h 194"/>
              <a:gd name="T52" fmla="*/ 68 w 80"/>
              <a:gd name="T53" fmla="*/ 72 h 194"/>
              <a:gd name="T54" fmla="*/ 12 w 80"/>
              <a:gd name="T55" fmla="*/ 72 h 194"/>
              <a:gd name="T56" fmla="*/ 12 w 80"/>
              <a:gd name="T57" fmla="*/ 162 h 194"/>
              <a:gd name="T58" fmla="*/ 18 w 80"/>
              <a:gd name="T59" fmla="*/ 170 h 194"/>
              <a:gd name="T60" fmla="*/ 40 w 80"/>
              <a:gd name="T61" fmla="*/ 172 h 194"/>
              <a:gd name="T62" fmla="*/ 62 w 80"/>
              <a:gd name="T63" fmla="*/ 170 h 194"/>
              <a:gd name="T64" fmla="*/ 68 w 80"/>
              <a:gd name="T65" fmla="*/ 162 h 194"/>
              <a:gd name="T66" fmla="*/ 68 w 80"/>
              <a:gd name="T67" fmla="*/ 72 h 194"/>
              <a:gd name="T68" fmla="*/ 68 w 80"/>
              <a:gd name="T69" fmla="*/ 24 h 194"/>
              <a:gd name="T70" fmla="*/ 61 w 80"/>
              <a:gd name="T71" fmla="*/ 16 h 194"/>
              <a:gd name="T72" fmla="*/ 47 w 80"/>
              <a:gd name="T73" fmla="*/ 16 h 194"/>
              <a:gd name="T74" fmla="*/ 47 w 80"/>
              <a:gd name="T75" fmla="*/ 37 h 194"/>
              <a:gd name="T76" fmla="*/ 44 w 80"/>
              <a:gd name="T77" fmla="*/ 40 h 194"/>
              <a:gd name="T78" fmla="*/ 36 w 80"/>
              <a:gd name="T79" fmla="*/ 40 h 194"/>
              <a:gd name="T80" fmla="*/ 33 w 80"/>
              <a:gd name="T81" fmla="*/ 37 h 194"/>
              <a:gd name="T82" fmla="*/ 33 w 80"/>
              <a:gd name="T83" fmla="*/ 16 h 194"/>
              <a:gd name="T84" fmla="*/ 19 w 80"/>
              <a:gd name="T85" fmla="*/ 16 h 194"/>
              <a:gd name="T86" fmla="*/ 12 w 80"/>
              <a:gd name="T87" fmla="*/ 24 h 194"/>
              <a:gd name="T88" fmla="*/ 12 w 80"/>
              <a:gd name="T89" fmla="*/ 64 h 194"/>
              <a:gd name="T90" fmla="*/ 68 w 80"/>
              <a:gd name="T91" fmla="*/ 64 h 194"/>
              <a:gd name="T92" fmla="*/ 68 w 80"/>
              <a:gd name="T93" fmla="*/ 2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0" h="194">
                <a:moveTo>
                  <a:pt x="60" y="140"/>
                </a:moveTo>
                <a:cubicBezTo>
                  <a:pt x="20" y="140"/>
                  <a:pt x="20" y="140"/>
                  <a:pt x="20" y="140"/>
                </a:cubicBezTo>
                <a:cubicBezTo>
                  <a:pt x="20" y="80"/>
                  <a:pt x="20" y="80"/>
                  <a:pt x="20" y="80"/>
                </a:cubicBezTo>
                <a:cubicBezTo>
                  <a:pt x="60" y="80"/>
                  <a:pt x="60" y="80"/>
                  <a:pt x="60" y="80"/>
                </a:cubicBezTo>
                <a:lnTo>
                  <a:pt x="60" y="140"/>
                </a:lnTo>
                <a:close/>
                <a:moveTo>
                  <a:pt x="26" y="148"/>
                </a:moveTo>
                <a:cubicBezTo>
                  <a:pt x="23" y="148"/>
                  <a:pt x="20" y="151"/>
                  <a:pt x="20" y="154"/>
                </a:cubicBezTo>
                <a:cubicBezTo>
                  <a:pt x="20" y="157"/>
                  <a:pt x="23" y="160"/>
                  <a:pt x="26" y="160"/>
                </a:cubicBezTo>
                <a:cubicBezTo>
                  <a:pt x="29" y="160"/>
                  <a:pt x="32" y="157"/>
                  <a:pt x="32" y="154"/>
                </a:cubicBezTo>
                <a:cubicBezTo>
                  <a:pt x="32" y="151"/>
                  <a:pt x="29" y="148"/>
                  <a:pt x="26" y="148"/>
                </a:cubicBezTo>
                <a:close/>
                <a:moveTo>
                  <a:pt x="54" y="148"/>
                </a:moveTo>
                <a:cubicBezTo>
                  <a:pt x="51" y="148"/>
                  <a:pt x="48" y="151"/>
                  <a:pt x="48" y="154"/>
                </a:cubicBezTo>
                <a:cubicBezTo>
                  <a:pt x="48" y="157"/>
                  <a:pt x="51" y="160"/>
                  <a:pt x="54" y="160"/>
                </a:cubicBezTo>
                <a:cubicBezTo>
                  <a:pt x="57" y="160"/>
                  <a:pt x="60" y="157"/>
                  <a:pt x="60" y="154"/>
                </a:cubicBezTo>
                <a:cubicBezTo>
                  <a:pt x="60" y="151"/>
                  <a:pt x="57" y="148"/>
                  <a:pt x="54" y="148"/>
                </a:cubicBezTo>
                <a:close/>
                <a:moveTo>
                  <a:pt x="80" y="12"/>
                </a:moveTo>
                <a:cubicBezTo>
                  <a:pt x="80" y="160"/>
                  <a:pt x="80" y="160"/>
                  <a:pt x="80" y="160"/>
                </a:cubicBezTo>
                <a:cubicBezTo>
                  <a:pt x="80" y="161"/>
                  <a:pt x="79" y="173"/>
                  <a:pt x="79" y="175"/>
                </a:cubicBezTo>
                <a:cubicBezTo>
                  <a:pt x="78" y="181"/>
                  <a:pt x="74" y="186"/>
                  <a:pt x="69" y="188"/>
                </a:cubicBezTo>
                <a:cubicBezTo>
                  <a:pt x="50" y="194"/>
                  <a:pt x="30" y="194"/>
                  <a:pt x="11" y="188"/>
                </a:cubicBezTo>
                <a:cubicBezTo>
                  <a:pt x="6" y="186"/>
                  <a:pt x="2" y="181"/>
                  <a:pt x="1" y="175"/>
                </a:cubicBezTo>
                <a:cubicBezTo>
                  <a:pt x="1" y="173"/>
                  <a:pt x="0" y="161"/>
                  <a:pt x="0" y="160"/>
                </a:cubicBezTo>
                <a:cubicBezTo>
                  <a:pt x="0" y="12"/>
                  <a:pt x="0" y="12"/>
                  <a:pt x="0" y="12"/>
                </a:cubicBezTo>
                <a:cubicBezTo>
                  <a:pt x="0" y="6"/>
                  <a:pt x="5" y="0"/>
                  <a:pt x="11" y="0"/>
                </a:cubicBezTo>
                <a:cubicBezTo>
                  <a:pt x="69" y="0"/>
                  <a:pt x="69" y="0"/>
                  <a:pt x="69" y="0"/>
                </a:cubicBezTo>
                <a:cubicBezTo>
                  <a:pt x="75" y="0"/>
                  <a:pt x="80" y="6"/>
                  <a:pt x="80" y="12"/>
                </a:cubicBezTo>
                <a:close/>
                <a:moveTo>
                  <a:pt x="68" y="72"/>
                </a:moveTo>
                <a:cubicBezTo>
                  <a:pt x="12" y="72"/>
                  <a:pt x="12" y="72"/>
                  <a:pt x="12" y="72"/>
                </a:cubicBezTo>
                <a:cubicBezTo>
                  <a:pt x="12" y="162"/>
                  <a:pt x="12" y="162"/>
                  <a:pt x="12" y="162"/>
                </a:cubicBezTo>
                <a:cubicBezTo>
                  <a:pt x="12" y="166"/>
                  <a:pt x="14" y="169"/>
                  <a:pt x="18" y="170"/>
                </a:cubicBezTo>
                <a:cubicBezTo>
                  <a:pt x="25" y="171"/>
                  <a:pt x="32" y="172"/>
                  <a:pt x="40" y="172"/>
                </a:cubicBezTo>
                <a:cubicBezTo>
                  <a:pt x="48" y="172"/>
                  <a:pt x="55" y="171"/>
                  <a:pt x="62" y="170"/>
                </a:cubicBezTo>
                <a:cubicBezTo>
                  <a:pt x="66" y="169"/>
                  <a:pt x="68" y="166"/>
                  <a:pt x="68" y="162"/>
                </a:cubicBezTo>
                <a:lnTo>
                  <a:pt x="68" y="72"/>
                </a:lnTo>
                <a:close/>
                <a:moveTo>
                  <a:pt x="68" y="24"/>
                </a:moveTo>
                <a:cubicBezTo>
                  <a:pt x="68" y="20"/>
                  <a:pt x="65" y="16"/>
                  <a:pt x="61" y="16"/>
                </a:cubicBezTo>
                <a:cubicBezTo>
                  <a:pt x="47" y="16"/>
                  <a:pt x="47" y="16"/>
                  <a:pt x="47" y="16"/>
                </a:cubicBezTo>
                <a:cubicBezTo>
                  <a:pt x="47" y="37"/>
                  <a:pt x="47" y="37"/>
                  <a:pt x="47" y="37"/>
                </a:cubicBezTo>
                <a:cubicBezTo>
                  <a:pt x="47" y="38"/>
                  <a:pt x="46" y="40"/>
                  <a:pt x="44" y="40"/>
                </a:cubicBezTo>
                <a:cubicBezTo>
                  <a:pt x="36" y="40"/>
                  <a:pt x="36" y="40"/>
                  <a:pt x="36" y="40"/>
                </a:cubicBezTo>
                <a:cubicBezTo>
                  <a:pt x="34" y="40"/>
                  <a:pt x="33" y="38"/>
                  <a:pt x="33" y="37"/>
                </a:cubicBezTo>
                <a:cubicBezTo>
                  <a:pt x="33" y="16"/>
                  <a:pt x="33" y="16"/>
                  <a:pt x="33" y="16"/>
                </a:cubicBezTo>
                <a:cubicBezTo>
                  <a:pt x="19" y="16"/>
                  <a:pt x="19" y="16"/>
                  <a:pt x="19" y="16"/>
                </a:cubicBezTo>
                <a:cubicBezTo>
                  <a:pt x="15" y="16"/>
                  <a:pt x="12" y="20"/>
                  <a:pt x="12" y="24"/>
                </a:cubicBezTo>
                <a:cubicBezTo>
                  <a:pt x="12" y="64"/>
                  <a:pt x="12" y="64"/>
                  <a:pt x="12" y="64"/>
                </a:cubicBezTo>
                <a:cubicBezTo>
                  <a:pt x="68" y="64"/>
                  <a:pt x="68" y="64"/>
                  <a:pt x="68" y="64"/>
                </a:cubicBezTo>
                <a:lnTo>
                  <a:pt x="68" y="2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6" name="Freeform 76">
            <a:extLst>
              <a:ext uri="{FF2B5EF4-FFF2-40B4-BE49-F238E27FC236}">
                <a16:creationId xmlns:a16="http://schemas.microsoft.com/office/drawing/2014/main" id="{4586BB57-F1B7-4460-B7F4-0901C1424B32}"/>
              </a:ext>
            </a:extLst>
          </p:cNvPr>
          <p:cNvSpPr>
            <a:spLocks noEditPoints="1"/>
          </p:cNvSpPr>
          <p:nvPr/>
        </p:nvSpPr>
        <p:spPr bwMode="gray">
          <a:xfrm>
            <a:off x="8557749" y="2114520"/>
            <a:ext cx="654050" cy="325437"/>
          </a:xfrm>
          <a:custGeom>
            <a:avLst/>
            <a:gdLst>
              <a:gd name="T0" fmla="*/ 189 w 196"/>
              <a:gd name="T1" fmla="*/ 12 h 96"/>
              <a:gd name="T2" fmla="*/ 173 w 196"/>
              <a:gd name="T3" fmla="*/ 0 h 96"/>
              <a:gd name="T4" fmla="*/ 23 w 196"/>
              <a:gd name="T5" fmla="*/ 0 h 96"/>
              <a:gd name="T6" fmla="*/ 7 w 196"/>
              <a:gd name="T7" fmla="*/ 12 h 96"/>
              <a:gd name="T8" fmla="*/ 7 w 196"/>
              <a:gd name="T9" fmla="*/ 84 h 96"/>
              <a:gd name="T10" fmla="*/ 23 w 196"/>
              <a:gd name="T11" fmla="*/ 96 h 96"/>
              <a:gd name="T12" fmla="*/ 173 w 196"/>
              <a:gd name="T13" fmla="*/ 96 h 96"/>
              <a:gd name="T14" fmla="*/ 189 w 196"/>
              <a:gd name="T15" fmla="*/ 84 h 96"/>
              <a:gd name="T16" fmla="*/ 189 w 196"/>
              <a:gd name="T17" fmla="*/ 12 h 96"/>
              <a:gd name="T18" fmla="*/ 158 w 196"/>
              <a:gd name="T19" fmla="*/ 16 h 96"/>
              <a:gd name="T20" fmla="*/ 158 w 196"/>
              <a:gd name="T21" fmla="*/ 80 h 96"/>
              <a:gd name="T22" fmla="*/ 38 w 196"/>
              <a:gd name="T23" fmla="*/ 80 h 96"/>
              <a:gd name="T24" fmla="*/ 38 w 196"/>
              <a:gd name="T25" fmla="*/ 16 h 96"/>
              <a:gd name="T26" fmla="*/ 158 w 196"/>
              <a:gd name="T27" fmla="*/ 16 h 96"/>
              <a:gd name="T28" fmla="*/ 18 w 196"/>
              <a:gd name="T29" fmla="*/ 80 h 96"/>
              <a:gd name="T30" fmla="*/ 18 w 196"/>
              <a:gd name="T31" fmla="*/ 16 h 96"/>
              <a:gd name="T32" fmla="*/ 26 w 196"/>
              <a:gd name="T33" fmla="*/ 16 h 96"/>
              <a:gd name="T34" fmla="*/ 26 w 196"/>
              <a:gd name="T35" fmla="*/ 80 h 96"/>
              <a:gd name="T36" fmla="*/ 18 w 196"/>
              <a:gd name="T37" fmla="*/ 80 h 96"/>
              <a:gd name="T38" fmla="*/ 178 w 196"/>
              <a:gd name="T39" fmla="*/ 80 h 96"/>
              <a:gd name="T40" fmla="*/ 170 w 196"/>
              <a:gd name="T41" fmla="*/ 80 h 96"/>
              <a:gd name="T42" fmla="*/ 170 w 196"/>
              <a:gd name="T43" fmla="*/ 16 h 96"/>
              <a:gd name="T44" fmla="*/ 178 w 196"/>
              <a:gd name="T45" fmla="*/ 16 h 96"/>
              <a:gd name="T46" fmla="*/ 178 w 196"/>
              <a:gd name="T47" fmla="*/ 80 h 96"/>
              <a:gd name="T48" fmla="*/ 62 w 196"/>
              <a:gd name="T49" fmla="*/ 36 h 96"/>
              <a:gd name="T50" fmla="*/ 54 w 196"/>
              <a:gd name="T51" fmla="*/ 44 h 96"/>
              <a:gd name="T52" fmla="*/ 46 w 196"/>
              <a:gd name="T53" fmla="*/ 36 h 96"/>
              <a:gd name="T54" fmla="*/ 54 w 196"/>
              <a:gd name="T55" fmla="*/ 28 h 96"/>
              <a:gd name="T56" fmla="*/ 62 w 196"/>
              <a:gd name="T57" fmla="*/ 36 h 96"/>
              <a:gd name="T58" fmla="*/ 62 w 196"/>
              <a:gd name="T59" fmla="*/ 60 h 96"/>
              <a:gd name="T60" fmla="*/ 54 w 196"/>
              <a:gd name="T61" fmla="*/ 68 h 96"/>
              <a:gd name="T62" fmla="*/ 46 w 196"/>
              <a:gd name="T63" fmla="*/ 60 h 96"/>
              <a:gd name="T64" fmla="*/ 54 w 196"/>
              <a:gd name="T65" fmla="*/ 52 h 96"/>
              <a:gd name="T66" fmla="*/ 62 w 196"/>
              <a:gd name="T67" fmla="*/ 60 h 96"/>
              <a:gd name="T68" fmla="*/ 150 w 196"/>
              <a:gd name="T69" fmla="*/ 48 h 96"/>
              <a:gd name="T70" fmla="*/ 142 w 196"/>
              <a:gd name="T71" fmla="*/ 64 h 96"/>
              <a:gd name="T72" fmla="*/ 134 w 196"/>
              <a:gd name="T73" fmla="*/ 48 h 96"/>
              <a:gd name="T74" fmla="*/ 142 w 196"/>
              <a:gd name="T75" fmla="*/ 32 h 96"/>
              <a:gd name="T76" fmla="*/ 150 w 196"/>
              <a:gd name="T77" fmla="*/ 48 h 96"/>
              <a:gd name="T78" fmla="*/ 126 w 196"/>
              <a:gd name="T79" fmla="*/ 68 h 96"/>
              <a:gd name="T80" fmla="*/ 70 w 196"/>
              <a:gd name="T81" fmla="*/ 68 h 96"/>
              <a:gd name="T82" fmla="*/ 70 w 196"/>
              <a:gd name="T83" fmla="*/ 28 h 96"/>
              <a:gd name="T84" fmla="*/ 126 w 196"/>
              <a:gd name="T85" fmla="*/ 28 h 96"/>
              <a:gd name="T86" fmla="*/ 126 w 196"/>
              <a:gd name="T87" fmla="*/ 6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6" h="96">
                <a:moveTo>
                  <a:pt x="189" y="12"/>
                </a:moveTo>
                <a:cubicBezTo>
                  <a:pt x="187" y="5"/>
                  <a:pt x="181" y="0"/>
                  <a:pt x="173" y="0"/>
                </a:cubicBezTo>
                <a:cubicBezTo>
                  <a:pt x="23" y="0"/>
                  <a:pt x="23" y="0"/>
                  <a:pt x="23" y="0"/>
                </a:cubicBezTo>
                <a:cubicBezTo>
                  <a:pt x="15" y="0"/>
                  <a:pt x="9" y="5"/>
                  <a:pt x="7" y="12"/>
                </a:cubicBezTo>
                <a:cubicBezTo>
                  <a:pt x="0" y="35"/>
                  <a:pt x="0" y="61"/>
                  <a:pt x="7" y="84"/>
                </a:cubicBezTo>
                <a:cubicBezTo>
                  <a:pt x="9" y="91"/>
                  <a:pt x="15" y="96"/>
                  <a:pt x="23" y="96"/>
                </a:cubicBezTo>
                <a:cubicBezTo>
                  <a:pt x="173" y="96"/>
                  <a:pt x="173" y="96"/>
                  <a:pt x="173" y="96"/>
                </a:cubicBezTo>
                <a:cubicBezTo>
                  <a:pt x="181" y="96"/>
                  <a:pt x="187" y="91"/>
                  <a:pt x="189" y="84"/>
                </a:cubicBezTo>
                <a:cubicBezTo>
                  <a:pt x="196" y="61"/>
                  <a:pt x="196" y="35"/>
                  <a:pt x="189" y="12"/>
                </a:cubicBezTo>
                <a:close/>
                <a:moveTo>
                  <a:pt x="158" y="16"/>
                </a:moveTo>
                <a:cubicBezTo>
                  <a:pt x="158" y="80"/>
                  <a:pt x="158" y="80"/>
                  <a:pt x="158" y="80"/>
                </a:cubicBezTo>
                <a:cubicBezTo>
                  <a:pt x="38" y="80"/>
                  <a:pt x="38" y="80"/>
                  <a:pt x="38" y="80"/>
                </a:cubicBezTo>
                <a:cubicBezTo>
                  <a:pt x="38" y="16"/>
                  <a:pt x="38" y="16"/>
                  <a:pt x="38" y="16"/>
                </a:cubicBezTo>
                <a:lnTo>
                  <a:pt x="158" y="16"/>
                </a:lnTo>
                <a:close/>
                <a:moveTo>
                  <a:pt x="18" y="80"/>
                </a:moveTo>
                <a:cubicBezTo>
                  <a:pt x="13" y="59"/>
                  <a:pt x="13" y="37"/>
                  <a:pt x="18" y="16"/>
                </a:cubicBezTo>
                <a:cubicBezTo>
                  <a:pt x="26" y="16"/>
                  <a:pt x="26" y="16"/>
                  <a:pt x="26" y="16"/>
                </a:cubicBezTo>
                <a:cubicBezTo>
                  <a:pt x="26" y="80"/>
                  <a:pt x="26" y="80"/>
                  <a:pt x="26" y="80"/>
                </a:cubicBezTo>
                <a:lnTo>
                  <a:pt x="18" y="80"/>
                </a:lnTo>
                <a:close/>
                <a:moveTo>
                  <a:pt x="178" y="80"/>
                </a:moveTo>
                <a:cubicBezTo>
                  <a:pt x="170" y="80"/>
                  <a:pt x="170" y="80"/>
                  <a:pt x="170" y="80"/>
                </a:cubicBezTo>
                <a:cubicBezTo>
                  <a:pt x="170" y="16"/>
                  <a:pt x="170" y="16"/>
                  <a:pt x="170" y="16"/>
                </a:cubicBezTo>
                <a:cubicBezTo>
                  <a:pt x="178" y="16"/>
                  <a:pt x="178" y="16"/>
                  <a:pt x="178" y="16"/>
                </a:cubicBezTo>
                <a:cubicBezTo>
                  <a:pt x="183" y="37"/>
                  <a:pt x="183" y="59"/>
                  <a:pt x="178" y="80"/>
                </a:cubicBezTo>
                <a:close/>
                <a:moveTo>
                  <a:pt x="62" y="36"/>
                </a:moveTo>
                <a:cubicBezTo>
                  <a:pt x="62" y="40"/>
                  <a:pt x="58" y="44"/>
                  <a:pt x="54" y="44"/>
                </a:cubicBezTo>
                <a:cubicBezTo>
                  <a:pt x="50" y="44"/>
                  <a:pt x="46" y="40"/>
                  <a:pt x="46" y="36"/>
                </a:cubicBezTo>
                <a:cubicBezTo>
                  <a:pt x="46" y="32"/>
                  <a:pt x="50" y="28"/>
                  <a:pt x="54" y="28"/>
                </a:cubicBezTo>
                <a:cubicBezTo>
                  <a:pt x="58" y="28"/>
                  <a:pt x="62" y="32"/>
                  <a:pt x="62" y="36"/>
                </a:cubicBezTo>
                <a:close/>
                <a:moveTo>
                  <a:pt x="62" y="60"/>
                </a:moveTo>
                <a:cubicBezTo>
                  <a:pt x="62" y="64"/>
                  <a:pt x="58" y="68"/>
                  <a:pt x="54" y="68"/>
                </a:cubicBezTo>
                <a:cubicBezTo>
                  <a:pt x="50" y="68"/>
                  <a:pt x="46" y="64"/>
                  <a:pt x="46" y="60"/>
                </a:cubicBezTo>
                <a:cubicBezTo>
                  <a:pt x="46" y="56"/>
                  <a:pt x="50" y="52"/>
                  <a:pt x="54" y="52"/>
                </a:cubicBezTo>
                <a:cubicBezTo>
                  <a:pt x="58" y="52"/>
                  <a:pt x="62" y="56"/>
                  <a:pt x="62" y="60"/>
                </a:cubicBezTo>
                <a:close/>
                <a:moveTo>
                  <a:pt x="150" y="48"/>
                </a:moveTo>
                <a:cubicBezTo>
                  <a:pt x="150" y="57"/>
                  <a:pt x="146" y="64"/>
                  <a:pt x="142" y="64"/>
                </a:cubicBezTo>
                <a:cubicBezTo>
                  <a:pt x="138" y="64"/>
                  <a:pt x="134" y="57"/>
                  <a:pt x="134" y="48"/>
                </a:cubicBezTo>
                <a:cubicBezTo>
                  <a:pt x="134" y="39"/>
                  <a:pt x="138" y="32"/>
                  <a:pt x="142" y="32"/>
                </a:cubicBezTo>
                <a:cubicBezTo>
                  <a:pt x="146" y="32"/>
                  <a:pt x="150" y="39"/>
                  <a:pt x="150" y="48"/>
                </a:cubicBezTo>
                <a:close/>
                <a:moveTo>
                  <a:pt x="126" y="68"/>
                </a:moveTo>
                <a:cubicBezTo>
                  <a:pt x="70" y="68"/>
                  <a:pt x="70" y="68"/>
                  <a:pt x="70" y="68"/>
                </a:cubicBezTo>
                <a:cubicBezTo>
                  <a:pt x="70" y="28"/>
                  <a:pt x="70" y="28"/>
                  <a:pt x="70" y="28"/>
                </a:cubicBezTo>
                <a:cubicBezTo>
                  <a:pt x="126" y="28"/>
                  <a:pt x="126" y="28"/>
                  <a:pt x="126" y="28"/>
                </a:cubicBezTo>
                <a:lnTo>
                  <a:pt x="126" y="6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7" name="Freeform 80">
            <a:extLst>
              <a:ext uri="{FF2B5EF4-FFF2-40B4-BE49-F238E27FC236}">
                <a16:creationId xmlns:a16="http://schemas.microsoft.com/office/drawing/2014/main" id="{AFF4DD55-188A-48CF-80FC-21D3BC22651D}"/>
              </a:ext>
            </a:extLst>
          </p:cNvPr>
          <p:cNvSpPr>
            <a:spLocks noEditPoints="1"/>
          </p:cNvSpPr>
          <p:nvPr/>
        </p:nvSpPr>
        <p:spPr bwMode="gray">
          <a:xfrm>
            <a:off x="1947322" y="1984248"/>
            <a:ext cx="514908" cy="585980"/>
          </a:xfrm>
          <a:custGeom>
            <a:avLst/>
            <a:gdLst>
              <a:gd name="T0" fmla="*/ 60 w 168"/>
              <a:gd name="T1" fmla="*/ 142 h 192"/>
              <a:gd name="T2" fmla="*/ 48 w 168"/>
              <a:gd name="T3" fmla="*/ 130 h 192"/>
              <a:gd name="T4" fmla="*/ 60 w 168"/>
              <a:gd name="T5" fmla="*/ 118 h 192"/>
              <a:gd name="T6" fmla="*/ 72 w 168"/>
              <a:gd name="T7" fmla="*/ 130 h 192"/>
              <a:gd name="T8" fmla="*/ 60 w 168"/>
              <a:gd name="T9" fmla="*/ 142 h 192"/>
              <a:gd name="T10" fmla="*/ 52 w 168"/>
              <a:gd name="T11" fmla="*/ 108 h 192"/>
              <a:gd name="T12" fmla="*/ 44 w 168"/>
              <a:gd name="T13" fmla="*/ 100 h 192"/>
              <a:gd name="T14" fmla="*/ 36 w 168"/>
              <a:gd name="T15" fmla="*/ 108 h 192"/>
              <a:gd name="T16" fmla="*/ 44 w 168"/>
              <a:gd name="T17" fmla="*/ 116 h 192"/>
              <a:gd name="T18" fmla="*/ 52 w 168"/>
              <a:gd name="T19" fmla="*/ 108 h 192"/>
              <a:gd name="T20" fmla="*/ 84 w 168"/>
              <a:gd name="T21" fmla="*/ 108 h 192"/>
              <a:gd name="T22" fmla="*/ 76 w 168"/>
              <a:gd name="T23" fmla="*/ 100 h 192"/>
              <a:gd name="T24" fmla="*/ 68 w 168"/>
              <a:gd name="T25" fmla="*/ 108 h 192"/>
              <a:gd name="T26" fmla="*/ 76 w 168"/>
              <a:gd name="T27" fmla="*/ 116 h 192"/>
              <a:gd name="T28" fmla="*/ 84 w 168"/>
              <a:gd name="T29" fmla="*/ 108 h 192"/>
              <a:gd name="T30" fmla="*/ 84 w 168"/>
              <a:gd name="T31" fmla="*/ 76 h 192"/>
              <a:gd name="T32" fmla="*/ 84 w 168"/>
              <a:gd name="T33" fmla="*/ 36 h 192"/>
              <a:gd name="T34" fmla="*/ 76 w 168"/>
              <a:gd name="T35" fmla="*/ 28 h 192"/>
              <a:gd name="T36" fmla="*/ 44 w 168"/>
              <a:gd name="T37" fmla="*/ 28 h 192"/>
              <a:gd name="T38" fmla="*/ 36 w 168"/>
              <a:gd name="T39" fmla="*/ 36 h 192"/>
              <a:gd name="T40" fmla="*/ 36 w 168"/>
              <a:gd name="T41" fmla="*/ 76 h 192"/>
              <a:gd name="T42" fmla="*/ 44 w 168"/>
              <a:gd name="T43" fmla="*/ 84 h 192"/>
              <a:gd name="T44" fmla="*/ 76 w 168"/>
              <a:gd name="T45" fmla="*/ 84 h 192"/>
              <a:gd name="T46" fmla="*/ 84 w 168"/>
              <a:gd name="T47" fmla="*/ 76 h 192"/>
              <a:gd name="T48" fmla="*/ 168 w 168"/>
              <a:gd name="T49" fmla="*/ 0 h 192"/>
              <a:gd name="T50" fmla="*/ 168 w 168"/>
              <a:gd name="T51" fmla="*/ 16 h 192"/>
              <a:gd name="T52" fmla="*/ 144 w 168"/>
              <a:gd name="T53" fmla="*/ 16 h 192"/>
              <a:gd name="T54" fmla="*/ 144 w 168"/>
              <a:gd name="T55" fmla="*/ 32 h 192"/>
              <a:gd name="T56" fmla="*/ 128 w 168"/>
              <a:gd name="T57" fmla="*/ 32 h 192"/>
              <a:gd name="T58" fmla="*/ 128 w 168"/>
              <a:gd name="T59" fmla="*/ 16 h 192"/>
              <a:gd name="T60" fmla="*/ 114 w 168"/>
              <a:gd name="T61" fmla="*/ 16 h 192"/>
              <a:gd name="T62" fmla="*/ 120 w 168"/>
              <a:gd name="T63" fmla="*/ 80 h 192"/>
              <a:gd name="T64" fmla="*/ 108 w 168"/>
              <a:gd name="T65" fmla="*/ 100 h 192"/>
              <a:gd name="T66" fmla="*/ 108 w 168"/>
              <a:gd name="T67" fmla="*/ 172 h 192"/>
              <a:gd name="T68" fmla="*/ 88 w 168"/>
              <a:gd name="T69" fmla="*/ 192 h 192"/>
              <a:gd name="T70" fmla="*/ 32 w 168"/>
              <a:gd name="T71" fmla="*/ 192 h 192"/>
              <a:gd name="T72" fmla="*/ 12 w 168"/>
              <a:gd name="T73" fmla="*/ 172 h 192"/>
              <a:gd name="T74" fmla="*/ 12 w 168"/>
              <a:gd name="T75" fmla="*/ 100 h 192"/>
              <a:gd name="T76" fmla="*/ 0 w 168"/>
              <a:gd name="T77" fmla="*/ 76 h 192"/>
              <a:gd name="T78" fmla="*/ 8 w 168"/>
              <a:gd name="T79" fmla="*/ 0 h 192"/>
              <a:gd name="T80" fmla="*/ 168 w 168"/>
              <a:gd name="T81" fmla="*/ 0 h 192"/>
              <a:gd name="T82" fmla="*/ 22 w 168"/>
              <a:gd name="T83" fmla="*/ 16 h 192"/>
              <a:gd name="T84" fmla="*/ 16 w 168"/>
              <a:gd name="T85" fmla="*/ 73 h 192"/>
              <a:gd name="T86" fmla="*/ 26 w 168"/>
              <a:gd name="T87" fmla="*/ 93 h 192"/>
              <a:gd name="T88" fmla="*/ 28 w 168"/>
              <a:gd name="T89" fmla="*/ 96 h 192"/>
              <a:gd name="T90" fmla="*/ 28 w 168"/>
              <a:gd name="T91" fmla="*/ 172 h 192"/>
              <a:gd name="T92" fmla="*/ 32 w 168"/>
              <a:gd name="T93" fmla="*/ 176 h 192"/>
              <a:gd name="T94" fmla="*/ 88 w 168"/>
              <a:gd name="T95" fmla="*/ 176 h 192"/>
              <a:gd name="T96" fmla="*/ 92 w 168"/>
              <a:gd name="T97" fmla="*/ 172 h 192"/>
              <a:gd name="T98" fmla="*/ 92 w 168"/>
              <a:gd name="T99" fmla="*/ 96 h 192"/>
              <a:gd name="T100" fmla="*/ 94 w 168"/>
              <a:gd name="T101" fmla="*/ 92 h 192"/>
              <a:gd name="T102" fmla="*/ 104 w 168"/>
              <a:gd name="T103" fmla="*/ 76 h 192"/>
              <a:gd name="T104" fmla="*/ 98 w 168"/>
              <a:gd name="T105" fmla="*/ 16 h 192"/>
              <a:gd name="T106" fmla="*/ 22 w 168"/>
              <a:gd name="T107" fmla="*/ 1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8" h="192">
                <a:moveTo>
                  <a:pt x="60" y="142"/>
                </a:moveTo>
                <a:cubicBezTo>
                  <a:pt x="53" y="142"/>
                  <a:pt x="48" y="137"/>
                  <a:pt x="48" y="130"/>
                </a:cubicBezTo>
                <a:cubicBezTo>
                  <a:pt x="48" y="124"/>
                  <a:pt x="53" y="118"/>
                  <a:pt x="60" y="118"/>
                </a:cubicBezTo>
                <a:cubicBezTo>
                  <a:pt x="67" y="118"/>
                  <a:pt x="72" y="124"/>
                  <a:pt x="72" y="130"/>
                </a:cubicBezTo>
                <a:cubicBezTo>
                  <a:pt x="72" y="137"/>
                  <a:pt x="67" y="142"/>
                  <a:pt x="60" y="142"/>
                </a:cubicBezTo>
                <a:close/>
                <a:moveTo>
                  <a:pt x="52" y="108"/>
                </a:moveTo>
                <a:cubicBezTo>
                  <a:pt x="52" y="104"/>
                  <a:pt x="48" y="100"/>
                  <a:pt x="44" y="100"/>
                </a:cubicBezTo>
                <a:cubicBezTo>
                  <a:pt x="40" y="100"/>
                  <a:pt x="36" y="104"/>
                  <a:pt x="36" y="108"/>
                </a:cubicBezTo>
                <a:cubicBezTo>
                  <a:pt x="36" y="112"/>
                  <a:pt x="40" y="116"/>
                  <a:pt x="44" y="116"/>
                </a:cubicBezTo>
                <a:cubicBezTo>
                  <a:pt x="48" y="116"/>
                  <a:pt x="52" y="112"/>
                  <a:pt x="52" y="108"/>
                </a:cubicBezTo>
                <a:close/>
                <a:moveTo>
                  <a:pt x="84" y="108"/>
                </a:moveTo>
                <a:cubicBezTo>
                  <a:pt x="84" y="104"/>
                  <a:pt x="80" y="100"/>
                  <a:pt x="76" y="100"/>
                </a:cubicBezTo>
                <a:cubicBezTo>
                  <a:pt x="72" y="100"/>
                  <a:pt x="68" y="104"/>
                  <a:pt x="68" y="108"/>
                </a:cubicBezTo>
                <a:cubicBezTo>
                  <a:pt x="68" y="112"/>
                  <a:pt x="72" y="116"/>
                  <a:pt x="76" y="116"/>
                </a:cubicBezTo>
                <a:cubicBezTo>
                  <a:pt x="80" y="116"/>
                  <a:pt x="84" y="112"/>
                  <a:pt x="84" y="108"/>
                </a:cubicBezTo>
                <a:close/>
                <a:moveTo>
                  <a:pt x="84" y="76"/>
                </a:moveTo>
                <a:cubicBezTo>
                  <a:pt x="84" y="36"/>
                  <a:pt x="84" y="36"/>
                  <a:pt x="84" y="36"/>
                </a:cubicBezTo>
                <a:cubicBezTo>
                  <a:pt x="84" y="32"/>
                  <a:pt x="80" y="28"/>
                  <a:pt x="76" y="28"/>
                </a:cubicBezTo>
                <a:cubicBezTo>
                  <a:pt x="44" y="28"/>
                  <a:pt x="44" y="28"/>
                  <a:pt x="44" y="28"/>
                </a:cubicBezTo>
                <a:cubicBezTo>
                  <a:pt x="40" y="28"/>
                  <a:pt x="36" y="32"/>
                  <a:pt x="36" y="36"/>
                </a:cubicBezTo>
                <a:cubicBezTo>
                  <a:pt x="36" y="76"/>
                  <a:pt x="36" y="76"/>
                  <a:pt x="36" y="76"/>
                </a:cubicBezTo>
                <a:cubicBezTo>
                  <a:pt x="36" y="80"/>
                  <a:pt x="40" y="84"/>
                  <a:pt x="44" y="84"/>
                </a:cubicBezTo>
                <a:cubicBezTo>
                  <a:pt x="76" y="84"/>
                  <a:pt x="76" y="84"/>
                  <a:pt x="76" y="84"/>
                </a:cubicBezTo>
                <a:cubicBezTo>
                  <a:pt x="80" y="84"/>
                  <a:pt x="84" y="80"/>
                  <a:pt x="84" y="76"/>
                </a:cubicBezTo>
                <a:close/>
                <a:moveTo>
                  <a:pt x="168" y="0"/>
                </a:moveTo>
                <a:cubicBezTo>
                  <a:pt x="168" y="16"/>
                  <a:pt x="168" y="16"/>
                  <a:pt x="168" y="16"/>
                </a:cubicBezTo>
                <a:cubicBezTo>
                  <a:pt x="144" y="16"/>
                  <a:pt x="144" y="16"/>
                  <a:pt x="144" y="16"/>
                </a:cubicBezTo>
                <a:cubicBezTo>
                  <a:pt x="144" y="32"/>
                  <a:pt x="144" y="32"/>
                  <a:pt x="144" y="32"/>
                </a:cubicBezTo>
                <a:cubicBezTo>
                  <a:pt x="128" y="32"/>
                  <a:pt x="128" y="32"/>
                  <a:pt x="128" y="32"/>
                </a:cubicBezTo>
                <a:cubicBezTo>
                  <a:pt x="128" y="16"/>
                  <a:pt x="128" y="16"/>
                  <a:pt x="128" y="16"/>
                </a:cubicBezTo>
                <a:cubicBezTo>
                  <a:pt x="114" y="16"/>
                  <a:pt x="114" y="16"/>
                  <a:pt x="114" y="16"/>
                </a:cubicBezTo>
                <a:cubicBezTo>
                  <a:pt x="120" y="80"/>
                  <a:pt x="120" y="80"/>
                  <a:pt x="120" y="80"/>
                </a:cubicBezTo>
                <a:cubicBezTo>
                  <a:pt x="108" y="100"/>
                  <a:pt x="108" y="100"/>
                  <a:pt x="108" y="100"/>
                </a:cubicBezTo>
                <a:cubicBezTo>
                  <a:pt x="108" y="172"/>
                  <a:pt x="108" y="172"/>
                  <a:pt x="108" y="172"/>
                </a:cubicBezTo>
                <a:cubicBezTo>
                  <a:pt x="108" y="183"/>
                  <a:pt x="99" y="192"/>
                  <a:pt x="88" y="192"/>
                </a:cubicBezTo>
                <a:cubicBezTo>
                  <a:pt x="32" y="192"/>
                  <a:pt x="32" y="192"/>
                  <a:pt x="32" y="192"/>
                </a:cubicBezTo>
                <a:cubicBezTo>
                  <a:pt x="21" y="192"/>
                  <a:pt x="12" y="183"/>
                  <a:pt x="12" y="172"/>
                </a:cubicBezTo>
                <a:cubicBezTo>
                  <a:pt x="12" y="100"/>
                  <a:pt x="12" y="100"/>
                  <a:pt x="12" y="100"/>
                </a:cubicBezTo>
                <a:cubicBezTo>
                  <a:pt x="0" y="76"/>
                  <a:pt x="0" y="76"/>
                  <a:pt x="0" y="76"/>
                </a:cubicBezTo>
                <a:cubicBezTo>
                  <a:pt x="8" y="0"/>
                  <a:pt x="8" y="0"/>
                  <a:pt x="8" y="0"/>
                </a:cubicBezTo>
                <a:lnTo>
                  <a:pt x="168" y="0"/>
                </a:lnTo>
                <a:close/>
                <a:moveTo>
                  <a:pt x="22" y="16"/>
                </a:moveTo>
                <a:cubicBezTo>
                  <a:pt x="16" y="73"/>
                  <a:pt x="16" y="73"/>
                  <a:pt x="16" y="73"/>
                </a:cubicBezTo>
                <a:cubicBezTo>
                  <a:pt x="26" y="93"/>
                  <a:pt x="26" y="93"/>
                  <a:pt x="26" y="93"/>
                </a:cubicBezTo>
                <a:cubicBezTo>
                  <a:pt x="28" y="96"/>
                  <a:pt x="28" y="96"/>
                  <a:pt x="28" y="96"/>
                </a:cubicBezTo>
                <a:cubicBezTo>
                  <a:pt x="28" y="172"/>
                  <a:pt x="28" y="172"/>
                  <a:pt x="28" y="172"/>
                </a:cubicBezTo>
                <a:cubicBezTo>
                  <a:pt x="28" y="174"/>
                  <a:pt x="30" y="176"/>
                  <a:pt x="32" y="176"/>
                </a:cubicBezTo>
                <a:cubicBezTo>
                  <a:pt x="88" y="176"/>
                  <a:pt x="88" y="176"/>
                  <a:pt x="88" y="176"/>
                </a:cubicBezTo>
                <a:cubicBezTo>
                  <a:pt x="90" y="176"/>
                  <a:pt x="92" y="174"/>
                  <a:pt x="92" y="172"/>
                </a:cubicBezTo>
                <a:cubicBezTo>
                  <a:pt x="92" y="96"/>
                  <a:pt x="92" y="96"/>
                  <a:pt x="92" y="96"/>
                </a:cubicBezTo>
                <a:cubicBezTo>
                  <a:pt x="94" y="92"/>
                  <a:pt x="94" y="92"/>
                  <a:pt x="94" y="92"/>
                </a:cubicBezTo>
                <a:cubicBezTo>
                  <a:pt x="104" y="76"/>
                  <a:pt x="104" y="76"/>
                  <a:pt x="104" y="76"/>
                </a:cubicBezTo>
                <a:cubicBezTo>
                  <a:pt x="98" y="16"/>
                  <a:pt x="98" y="16"/>
                  <a:pt x="98" y="16"/>
                </a:cubicBezTo>
                <a:lnTo>
                  <a:pt x="22" y="1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8" name="Freeform 84">
            <a:extLst>
              <a:ext uri="{FF2B5EF4-FFF2-40B4-BE49-F238E27FC236}">
                <a16:creationId xmlns:a16="http://schemas.microsoft.com/office/drawing/2014/main" id="{A8415081-CE39-4242-9102-2E5B488B1205}"/>
              </a:ext>
            </a:extLst>
          </p:cNvPr>
          <p:cNvSpPr>
            <a:spLocks noEditPoints="1"/>
          </p:cNvSpPr>
          <p:nvPr/>
        </p:nvSpPr>
        <p:spPr bwMode="gray">
          <a:xfrm>
            <a:off x="873657" y="1984974"/>
            <a:ext cx="442388" cy="584530"/>
          </a:xfrm>
          <a:custGeom>
            <a:avLst/>
            <a:gdLst>
              <a:gd name="T0" fmla="*/ 16 w 144"/>
              <a:gd name="T1" fmla="*/ 0 h 192"/>
              <a:gd name="T2" fmla="*/ 0 w 144"/>
              <a:gd name="T3" fmla="*/ 16 h 192"/>
              <a:gd name="T4" fmla="*/ 0 w 144"/>
              <a:gd name="T5" fmla="*/ 160 h 192"/>
              <a:gd name="T6" fmla="*/ 32 w 144"/>
              <a:gd name="T7" fmla="*/ 192 h 192"/>
              <a:gd name="T8" fmla="*/ 64 w 144"/>
              <a:gd name="T9" fmla="*/ 192 h 192"/>
              <a:gd name="T10" fmla="*/ 96 w 144"/>
              <a:gd name="T11" fmla="*/ 160 h 192"/>
              <a:gd name="T12" fmla="*/ 96 w 144"/>
              <a:gd name="T13" fmla="*/ 16 h 192"/>
              <a:gd name="T14" fmla="*/ 104 w 144"/>
              <a:gd name="T15" fmla="*/ 16 h 192"/>
              <a:gd name="T16" fmla="*/ 104 w 144"/>
              <a:gd name="T17" fmla="*/ 32 h 192"/>
              <a:gd name="T18" fmla="*/ 120 w 144"/>
              <a:gd name="T19" fmla="*/ 32 h 192"/>
              <a:gd name="T20" fmla="*/ 120 w 144"/>
              <a:gd name="T21" fmla="*/ 16 h 192"/>
              <a:gd name="T22" fmla="*/ 144 w 144"/>
              <a:gd name="T23" fmla="*/ 16 h 192"/>
              <a:gd name="T24" fmla="*/ 144 w 144"/>
              <a:gd name="T25" fmla="*/ 0 h 192"/>
              <a:gd name="T26" fmla="*/ 16 w 144"/>
              <a:gd name="T27" fmla="*/ 0 h 192"/>
              <a:gd name="T28" fmla="*/ 16 w 144"/>
              <a:gd name="T29" fmla="*/ 104 h 192"/>
              <a:gd name="T30" fmla="*/ 24 w 144"/>
              <a:gd name="T31" fmla="*/ 96 h 192"/>
              <a:gd name="T32" fmla="*/ 32 w 144"/>
              <a:gd name="T33" fmla="*/ 104 h 192"/>
              <a:gd name="T34" fmla="*/ 24 w 144"/>
              <a:gd name="T35" fmla="*/ 112 h 192"/>
              <a:gd name="T36" fmla="*/ 16 w 144"/>
              <a:gd name="T37" fmla="*/ 104 h 192"/>
              <a:gd name="T38" fmla="*/ 48 w 144"/>
              <a:gd name="T39" fmla="*/ 156 h 192"/>
              <a:gd name="T40" fmla="*/ 28 w 144"/>
              <a:gd name="T41" fmla="*/ 136 h 192"/>
              <a:gd name="T42" fmla="*/ 48 w 144"/>
              <a:gd name="T43" fmla="*/ 116 h 192"/>
              <a:gd name="T44" fmla="*/ 68 w 144"/>
              <a:gd name="T45" fmla="*/ 136 h 192"/>
              <a:gd name="T46" fmla="*/ 48 w 144"/>
              <a:gd name="T47" fmla="*/ 156 h 192"/>
              <a:gd name="T48" fmla="*/ 72 w 144"/>
              <a:gd name="T49" fmla="*/ 112 h 192"/>
              <a:gd name="T50" fmla="*/ 64 w 144"/>
              <a:gd name="T51" fmla="*/ 104 h 192"/>
              <a:gd name="T52" fmla="*/ 72 w 144"/>
              <a:gd name="T53" fmla="*/ 96 h 192"/>
              <a:gd name="T54" fmla="*/ 80 w 144"/>
              <a:gd name="T55" fmla="*/ 104 h 192"/>
              <a:gd name="T56" fmla="*/ 72 w 144"/>
              <a:gd name="T57" fmla="*/ 112 h 192"/>
              <a:gd name="T58" fmla="*/ 84 w 144"/>
              <a:gd name="T59" fmla="*/ 80 h 192"/>
              <a:gd name="T60" fmla="*/ 12 w 144"/>
              <a:gd name="T61" fmla="*/ 80 h 192"/>
              <a:gd name="T62" fmla="*/ 12 w 144"/>
              <a:gd name="T63" fmla="*/ 32 h 192"/>
              <a:gd name="T64" fmla="*/ 84 w 144"/>
              <a:gd name="T65" fmla="*/ 32 h 192"/>
              <a:gd name="T66" fmla="*/ 84 w 144"/>
              <a:gd name="T67" fmla="*/ 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4" h="192">
                <a:moveTo>
                  <a:pt x="16" y="0"/>
                </a:moveTo>
                <a:cubicBezTo>
                  <a:pt x="7" y="0"/>
                  <a:pt x="0" y="7"/>
                  <a:pt x="0" y="16"/>
                </a:cubicBezTo>
                <a:cubicBezTo>
                  <a:pt x="0" y="160"/>
                  <a:pt x="0" y="160"/>
                  <a:pt x="0" y="160"/>
                </a:cubicBezTo>
                <a:cubicBezTo>
                  <a:pt x="0" y="178"/>
                  <a:pt x="14" y="192"/>
                  <a:pt x="32" y="192"/>
                </a:cubicBezTo>
                <a:cubicBezTo>
                  <a:pt x="64" y="192"/>
                  <a:pt x="64" y="192"/>
                  <a:pt x="64" y="192"/>
                </a:cubicBezTo>
                <a:cubicBezTo>
                  <a:pt x="82" y="192"/>
                  <a:pt x="96" y="178"/>
                  <a:pt x="96" y="160"/>
                </a:cubicBezTo>
                <a:cubicBezTo>
                  <a:pt x="96" y="16"/>
                  <a:pt x="96" y="16"/>
                  <a:pt x="96" y="16"/>
                </a:cubicBezTo>
                <a:cubicBezTo>
                  <a:pt x="104" y="16"/>
                  <a:pt x="104" y="16"/>
                  <a:pt x="104" y="16"/>
                </a:cubicBezTo>
                <a:cubicBezTo>
                  <a:pt x="104" y="32"/>
                  <a:pt x="104" y="32"/>
                  <a:pt x="104" y="32"/>
                </a:cubicBezTo>
                <a:cubicBezTo>
                  <a:pt x="120" y="32"/>
                  <a:pt x="120" y="32"/>
                  <a:pt x="120" y="32"/>
                </a:cubicBezTo>
                <a:cubicBezTo>
                  <a:pt x="120" y="16"/>
                  <a:pt x="120" y="16"/>
                  <a:pt x="120" y="16"/>
                </a:cubicBezTo>
                <a:cubicBezTo>
                  <a:pt x="144" y="16"/>
                  <a:pt x="144" y="16"/>
                  <a:pt x="144" y="16"/>
                </a:cubicBezTo>
                <a:cubicBezTo>
                  <a:pt x="144" y="0"/>
                  <a:pt x="144" y="0"/>
                  <a:pt x="144" y="0"/>
                </a:cubicBezTo>
                <a:lnTo>
                  <a:pt x="16" y="0"/>
                </a:lnTo>
                <a:close/>
                <a:moveTo>
                  <a:pt x="16" y="104"/>
                </a:moveTo>
                <a:cubicBezTo>
                  <a:pt x="16" y="100"/>
                  <a:pt x="20" y="96"/>
                  <a:pt x="24" y="96"/>
                </a:cubicBezTo>
                <a:cubicBezTo>
                  <a:pt x="28" y="96"/>
                  <a:pt x="32" y="100"/>
                  <a:pt x="32" y="104"/>
                </a:cubicBezTo>
                <a:cubicBezTo>
                  <a:pt x="32" y="108"/>
                  <a:pt x="28" y="112"/>
                  <a:pt x="24" y="112"/>
                </a:cubicBezTo>
                <a:cubicBezTo>
                  <a:pt x="20" y="112"/>
                  <a:pt x="16" y="108"/>
                  <a:pt x="16" y="104"/>
                </a:cubicBezTo>
                <a:close/>
                <a:moveTo>
                  <a:pt x="48" y="156"/>
                </a:moveTo>
                <a:cubicBezTo>
                  <a:pt x="37" y="156"/>
                  <a:pt x="28" y="147"/>
                  <a:pt x="28" y="136"/>
                </a:cubicBezTo>
                <a:cubicBezTo>
                  <a:pt x="28" y="125"/>
                  <a:pt x="37" y="116"/>
                  <a:pt x="48" y="116"/>
                </a:cubicBezTo>
                <a:cubicBezTo>
                  <a:pt x="59" y="116"/>
                  <a:pt x="68" y="125"/>
                  <a:pt x="68" y="136"/>
                </a:cubicBezTo>
                <a:cubicBezTo>
                  <a:pt x="68" y="147"/>
                  <a:pt x="59" y="156"/>
                  <a:pt x="48" y="156"/>
                </a:cubicBezTo>
                <a:close/>
                <a:moveTo>
                  <a:pt x="72" y="112"/>
                </a:moveTo>
                <a:cubicBezTo>
                  <a:pt x="68" y="112"/>
                  <a:pt x="64" y="108"/>
                  <a:pt x="64" y="104"/>
                </a:cubicBezTo>
                <a:cubicBezTo>
                  <a:pt x="64" y="100"/>
                  <a:pt x="68" y="96"/>
                  <a:pt x="72" y="96"/>
                </a:cubicBezTo>
                <a:cubicBezTo>
                  <a:pt x="76" y="96"/>
                  <a:pt x="80" y="100"/>
                  <a:pt x="80" y="104"/>
                </a:cubicBezTo>
                <a:cubicBezTo>
                  <a:pt x="80" y="108"/>
                  <a:pt x="76" y="112"/>
                  <a:pt x="72" y="112"/>
                </a:cubicBezTo>
                <a:close/>
                <a:moveTo>
                  <a:pt x="84" y="80"/>
                </a:moveTo>
                <a:cubicBezTo>
                  <a:pt x="12" y="80"/>
                  <a:pt x="12" y="80"/>
                  <a:pt x="12" y="80"/>
                </a:cubicBezTo>
                <a:cubicBezTo>
                  <a:pt x="12" y="32"/>
                  <a:pt x="12" y="32"/>
                  <a:pt x="12" y="32"/>
                </a:cubicBezTo>
                <a:cubicBezTo>
                  <a:pt x="84" y="32"/>
                  <a:pt x="84" y="32"/>
                  <a:pt x="84" y="32"/>
                </a:cubicBezTo>
                <a:lnTo>
                  <a:pt x="84" y="8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9" name="Freeform 92">
            <a:extLst>
              <a:ext uri="{FF2B5EF4-FFF2-40B4-BE49-F238E27FC236}">
                <a16:creationId xmlns:a16="http://schemas.microsoft.com/office/drawing/2014/main" id="{DAECD7BC-BA8E-4F5A-998F-CFBD94AD9F04}"/>
              </a:ext>
            </a:extLst>
          </p:cNvPr>
          <p:cNvSpPr>
            <a:spLocks noEditPoints="1"/>
          </p:cNvSpPr>
          <p:nvPr/>
        </p:nvSpPr>
        <p:spPr bwMode="gray">
          <a:xfrm>
            <a:off x="3189478" y="1975104"/>
            <a:ext cx="257262" cy="604268"/>
          </a:xfrm>
          <a:custGeom>
            <a:avLst/>
            <a:gdLst>
              <a:gd name="T0" fmla="*/ 0 w 80"/>
              <a:gd name="T1" fmla="*/ 40 h 192"/>
              <a:gd name="T2" fmla="*/ 0 w 80"/>
              <a:gd name="T3" fmla="*/ 168 h 192"/>
              <a:gd name="T4" fmla="*/ 24 w 80"/>
              <a:gd name="T5" fmla="*/ 192 h 192"/>
              <a:gd name="T6" fmla="*/ 56 w 80"/>
              <a:gd name="T7" fmla="*/ 192 h 192"/>
              <a:gd name="T8" fmla="*/ 80 w 80"/>
              <a:gd name="T9" fmla="*/ 168 h 192"/>
              <a:gd name="T10" fmla="*/ 80 w 80"/>
              <a:gd name="T11" fmla="*/ 40 h 192"/>
              <a:gd name="T12" fmla="*/ 0 w 80"/>
              <a:gd name="T13" fmla="*/ 40 h 192"/>
              <a:gd name="T14" fmla="*/ 40 w 80"/>
              <a:gd name="T15" fmla="*/ 140 h 192"/>
              <a:gd name="T16" fmla="*/ 24 w 80"/>
              <a:gd name="T17" fmla="*/ 124 h 192"/>
              <a:gd name="T18" fmla="*/ 40 w 80"/>
              <a:gd name="T19" fmla="*/ 108 h 192"/>
              <a:gd name="T20" fmla="*/ 56 w 80"/>
              <a:gd name="T21" fmla="*/ 124 h 192"/>
              <a:gd name="T22" fmla="*/ 40 w 80"/>
              <a:gd name="T23" fmla="*/ 140 h 192"/>
              <a:gd name="T24" fmla="*/ 68 w 80"/>
              <a:gd name="T25" fmla="*/ 100 h 192"/>
              <a:gd name="T26" fmla="*/ 12 w 80"/>
              <a:gd name="T27" fmla="*/ 100 h 192"/>
              <a:gd name="T28" fmla="*/ 12 w 80"/>
              <a:gd name="T29" fmla="*/ 56 h 192"/>
              <a:gd name="T30" fmla="*/ 68 w 80"/>
              <a:gd name="T31" fmla="*/ 56 h 192"/>
              <a:gd name="T32" fmla="*/ 68 w 80"/>
              <a:gd name="T33" fmla="*/ 100 h 192"/>
              <a:gd name="T34" fmla="*/ 72 w 80"/>
              <a:gd name="T35" fmla="*/ 14 h 192"/>
              <a:gd name="T36" fmla="*/ 80 w 80"/>
              <a:gd name="T37" fmla="*/ 24 h 192"/>
              <a:gd name="T38" fmla="*/ 80 w 80"/>
              <a:gd name="T39" fmla="*/ 32 h 192"/>
              <a:gd name="T40" fmla="*/ 0 w 80"/>
              <a:gd name="T41" fmla="*/ 32 h 192"/>
              <a:gd name="T42" fmla="*/ 0 w 80"/>
              <a:gd name="T43" fmla="*/ 24 h 192"/>
              <a:gd name="T44" fmla="*/ 8 w 80"/>
              <a:gd name="T45" fmla="*/ 14 h 192"/>
              <a:gd name="T46" fmla="*/ 16 w 80"/>
              <a:gd name="T47" fmla="*/ 2 h 192"/>
              <a:gd name="T48" fmla="*/ 16 w 80"/>
              <a:gd name="T49" fmla="*/ 0 h 192"/>
              <a:gd name="T50" fmla="*/ 64 w 80"/>
              <a:gd name="T51" fmla="*/ 0 h 192"/>
              <a:gd name="T52" fmla="*/ 64 w 80"/>
              <a:gd name="T53" fmla="*/ 2 h 192"/>
              <a:gd name="T54" fmla="*/ 72 w 80"/>
              <a:gd name="T55" fmla="*/ 1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92">
                <a:moveTo>
                  <a:pt x="0" y="40"/>
                </a:moveTo>
                <a:cubicBezTo>
                  <a:pt x="0" y="168"/>
                  <a:pt x="0" y="168"/>
                  <a:pt x="0" y="168"/>
                </a:cubicBezTo>
                <a:cubicBezTo>
                  <a:pt x="0" y="181"/>
                  <a:pt x="11" y="192"/>
                  <a:pt x="24" y="192"/>
                </a:cubicBezTo>
                <a:cubicBezTo>
                  <a:pt x="56" y="192"/>
                  <a:pt x="56" y="192"/>
                  <a:pt x="56" y="192"/>
                </a:cubicBezTo>
                <a:cubicBezTo>
                  <a:pt x="69" y="192"/>
                  <a:pt x="80" y="181"/>
                  <a:pt x="80" y="168"/>
                </a:cubicBezTo>
                <a:cubicBezTo>
                  <a:pt x="80" y="40"/>
                  <a:pt x="80" y="40"/>
                  <a:pt x="80" y="40"/>
                </a:cubicBezTo>
                <a:lnTo>
                  <a:pt x="0" y="40"/>
                </a:lnTo>
                <a:close/>
                <a:moveTo>
                  <a:pt x="40" y="140"/>
                </a:moveTo>
                <a:cubicBezTo>
                  <a:pt x="31" y="140"/>
                  <a:pt x="24" y="133"/>
                  <a:pt x="24" y="124"/>
                </a:cubicBezTo>
                <a:cubicBezTo>
                  <a:pt x="24" y="115"/>
                  <a:pt x="31" y="108"/>
                  <a:pt x="40" y="108"/>
                </a:cubicBezTo>
                <a:cubicBezTo>
                  <a:pt x="49" y="108"/>
                  <a:pt x="56" y="115"/>
                  <a:pt x="56" y="124"/>
                </a:cubicBezTo>
                <a:cubicBezTo>
                  <a:pt x="56" y="133"/>
                  <a:pt x="49" y="140"/>
                  <a:pt x="40" y="140"/>
                </a:cubicBezTo>
                <a:close/>
                <a:moveTo>
                  <a:pt x="68" y="100"/>
                </a:moveTo>
                <a:cubicBezTo>
                  <a:pt x="12" y="100"/>
                  <a:pt x="12" y="100"/>
                  <a:pt x="12" y="100"/>
                </a:cubicBezTo>
                <a:cubicBezTo>
                  <a:pt x="12" y="56"/>
                  <a:pt x="12" y="56"/>
                  <a:pt x="12" y="56"/>
                </a:cubicBezTo>
                <a:cubicBezTo>
                  <a:pt x="68" y="56"/>
                  <a:pt x="68" y="56"/>
                  <a:pt x="68" y="56"/>
                </a:cubicBezTo>
                <a:lnTo>
                  <a:pt x="68" y="100"/>
                </a:lnTo>
                <a:close/>
                <a:moveTo>
                  <a:pt x="72" y="14"/>
                </a:moveTo>
                <a:cubicBezTo>
                  <a:pt x="77" y="15"/>
                  <a:pt x="80" y="19"/>
                  <a:pt x="80" y="24"/>
                </a:cubicBezTo>
                <a:cubicBezTo>
                  <a:pt x="80" y="32"/>
                  <a:pt x="80" y="32"/>
                  <a:pt x="80" y="32"/>
                </a:cubicBezTo>
                <a:cubicBezTo>
                  <a:pt x="0" y="32"/>
                  <a:pt x="0" y="32"/>
                  <a:pt x="0" y="32"/>
                </a:cubicBezTo>
                <a:cubicBezTo>
                  <a:pt x="0" y="24"/>
                  <a:pt x="0" y="24"/>
                  <a:pt x="0" y="24"/>
                </a:cubicBezTo>
                <a:cubicBezTo>
                  <a:pt x="0" y="19"/>
                  <a:pt x="4" y="15"/>
                  <a:pt x="8" y="14"/>
                </a:cubicBezTo>
                <a:cubicBezTo>
                  <a:pt x="13" y="12"/>
                  <a:pt x="16" y="7"/>
                  <a:pt x="16" y="2"/>
                </a:cubicBezTo>
                <a:cubicBezTo>
                  <a:pt x="16" y="0"/>
                  <a:pt x="16" y="0"/>
                  <a:pt x="16" y="0"/>
                </a:cubicBezTo>
                <a:cubicBezTo>
                  <a:pt x="64" y="0"/>
                  <a:pt x="64" y="0"/>
                  <a:pt x="64" y="0"/>
                </a:cubicBezTo>
                <a:cubicBezTo>
                  <a:pt x="64" y="2"/>
                  <a:pt x="64" y="2"/>
                  <a:pt x="64" y="2"/>
                </a:cubicBezTo>
                <a:cubicBezTo>
                  <a:pt x="64" y="7"/>
                  <a:pt x="67" y="12"/>
                  <a:pt x="72" y="1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0" name="Freeform 120">
            <a:extLst>
              <a:ext uri="{FF2B5EF4-FFF2-40B4-BE49-F238E27FC236}">
                <a16:creationId xmlns:a16="http://schemas.microsoft.com/office/drawing/2014/main" id="{ADFAD341-371E-4F4E-B991-A044B5A8FFDD}"/>
              </a:ext>
            </a:extLst>
          </p:cNvPr>
          <p:cNvSpPr>
            <a:spLocks noEditPoints="1"/>
          </p:cNvSpPr>
          <p:nvPr/>
        </p:nvSpPr>
        <p:spPr bwMode="gray">
          <a:xfrm>
            <a:off x="9757170" y="1990105"/>
            <a:ext cx="481874" cy="574266"/>
          </a:xfrm>
          <a:custGeom>
            <a:avLst/>
            <a:gdLst>
              <a:gd name="T0" fmla="*/ 112 w 160"/>
              <a:gd name="T1" fmla="*/ 192 h 192"/>
              <a:gd name="T2" fmla="*/ 48 w 160"/>
              <a:gd name="T3" fmla="*/ 192 h 192"/>
              <a:gd name="T4" fmla="*/ 48 w 160"/>
              <a:gd name="T5" fmla="*/ 176 h 192"/>
              <a:gd name="T6" fmla="*/ 112 w 160"/>
              <a:gd name="T7" fmla="*/ 176 h 192"/>
              <a:gd name="T8" fmla="*/ 112 w 160"/>
              <a:gd name="T9" fmla="*/ 192 h 192"/>
              <a:gd name="T10" fmla="*/ 160 w 160"/>
              <a:gd name="T11" fmla="*/ 24 h 192"/>
              <a:gd name="T12" fmla="*/ 160 w 160"/>
              <a:gd name="T13" fmla="*/ 168 h 192"/>
              <a:gd name="T14" fmla="*/ 16 w 160"/>
              <a:gd name="T15" fmla="*/ 168 h 192"/>
              <a:gd name="T16" fmla="*/ 0 w 160"/>
              <a:gd name="T17" fmla="*/ 152 h 192"/>
              <a:gd name="T18" fmla="*/ 0 w 160"/>
              <a:gd name="T19" fmla="*/ 24 h 192"/>
              <a:gd name="T20" fmla="*/ 4 w 160"/>
              <a:gd name="T21" fmla="*/ 0 h 192"/>
              <a:gd name="T22" fmla="*/ 156 w 160"/>
              <a:gd name="T23" fmla="*/ 0 h 192"/>
              <a:gd name="T24" fmla="*/ 160 w 160"/>
              <a:gd name="T25" fmla="*/ 24 h 192"/>
              <a:gd name="T26" fmla="*/ 148 w 160"/>
              <a:gd name="T27" fmla="*/ 24 h 192"/>
              <a:gd name="T28" fmla="*/ 12 w 160"/>
              <a:gd name="T29" fmla="*/ 24 h 192"/>
              <a:gd name="T30" fmla="*/ 12 w 160"/>
              <a:gd name="T31" fmla="*/ 156 h 192"/>
              <a:gd name="T32" fmla="*/ 148 w 160"/>
              <a:gd name="T33" fmla="*/ 156 h 192"/>
              <a:gd name="T34" fmla="*/ 148 w 160"/>
              <a:gd name="T35" fmla="*/ 24 h 192"/>
              <a:gd name="T36" fmla="*/ 64 w 160"/>
              <a:gd name="T37" fmla="*/ 100 h 192"/>
              <a:gd name="T38" fmla="*/ 56 w 160"/>
              <a:gd name="T39" fmla="*/ 108 h 192"/>
              <a:gd name="T40" fmla="*/ 64 w 160"/>
              <a:gd name="T41" fmla="*/ 116 h 192"/>
              <a:gd name="T42" fmla="*/ 72 w 160"/>
              <a:gd name="T43" fmla="*/ 108 h 192"/>
              <a:gd name="T44" fmla="*/ 64 w 160"/>
              <a:gd name="T45" fmla="*/ 100 h 192"/>
              <a:gd name="T46" fmla="*/ 64 w 160"/>
              <a:gd name="T47" fmla="*/ 132 h 192"/>
              <a:gd name="T48" fmla="*/ 56 w 160"/>
              <a:gd name="T49" fmla="*/ 140 h 192"/>
              <a:gd name="T50" fmla="*/ 64 w 160"/>
              <a:gd name="T51" fmla="*/ 148 h 192"/>
              <a:gd name="T52" fmla="*/ 72 w 160"/>
              <a:gd name="T53" fmla="*/ 140 h 192"/>
              <a:gd name="T54" fmla="*/ 64 w 160"/>
              <a:gd name="T55" fmla="*/ 132 h 192"/>
              <a:gd name="T56" fmla="*/ 96 w 160"/>
              <a:gd name="T57" fmla="*/ 112 h 192"/>
              <a:gd name="T58" fmla="*/ 84 w 160"/>
              <a:gd name="T59" fmla="*/ 124 h 192"/>
              <a:gd name="T60" fmla="*/ 96 w 160"/>
              <a:gd name="T61" fmla="*/ 136 h 192"/>
              <a:gd name="T62" fmla="*/ 108 w 160"/>
              <a:gd name="T63" fmla="*/ 124 h 192"/>
              <a:gd name="T64" fmla="*/ 96 w 160"/>
              <a:gd name="T65" fmla="*/ 112 h 192"/>
              <a:gd name="T66" fmla="*/ 124 w 160"/>
              <a:gd name="T67" fmla="*/ 36 h 192"/>
              <a:gd name="T68" fmla="*/ 40 w 160"/>
              <a:gd name="T69" fmla="*/ 36 h 192"/>
              <a:gd name="T70" fmla="*/ 40 w 160"/>
              <a:gd name="T71" fmla="*/ 88 h 192"/>
              <a:gd name="T72" fmla="*/ 124 w 160"/>
              <a:gd name="T73" fmla="*/ 88 h 192"/>
              <a:gd name="T74" fmla="*/ 124 w 160"/>
              <a:gd name="T75" fmla="*/ 3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92">
                <a:moveTo>
                  <a:pt x="112" y="192"/>
                </a:moveTo>
                <a:cubicBezTo>
                  <a:pt x="48" y="192"/>
                  <a:pt x="48" y="192"/>
                  <a:pt x="48" y="192"/>
                </a:cubicBezTo>
                <a:cubicBezTo>
                  <a:pt x="48" y="176"/>
                  <a:pt x="48" y="176"/>
                  <a:pt x="48" y="176"/>
                </a:cubicBezTo>
                <a:cubicBezTo>
                  <a:pt x="112" y="176"/>
                  <a:pt x="112" y="176"/>
                  <a:pt x="112" y="176"/>
                </a:cubicBezTo>
                <a:lnTo>
                  <a:pt x="112" y="192"/>
                </a:lnTo>
                <a:close/>
                <a:moveTo>
                  <a:pt x="160" y="24"/>
                </a:moveTo>
                <a:cubicBezTo>
                  <a:pt x="160" y="168"/>
                  <a:pt x="160" y="168"/>
                  <a:pt x="160" y="168"/>
                </a:cubicBezTo>
                <a:cubicBezTo>
                  <a:pt x="16" y="168"/>
                  <a:pt x="16" y="168"/>
                  <a:pt x="16" y="168"/>
                </a:cubicBezTo>
                <a:cubicBezTo>
                  <a:pt x="7" y="168"/>
                  <a:pt x="0" y="161"/>
                  <a:pt x="0" y="152"/>
                </a:cubicBezTo>
                <a:cubicBezTo>
                  <a:pt x="0" y="24"/>
                  <a:pt x="0" y="24"/>
                  <a:pt x="0" y="24"/>
                </a:cubicBezTo>
                <a:cubicBezTo>
                  <a:pt x="4" y="0"/>
                  <a:pt x="4" y="0"/>
                  <a:pt x="4" y="0"/>
                </a:cubicBezTo>
                <a:cubicBezTo>
                  <a:pt x="156" y="0"/>
                  <a:pt x="156" y="0"/>
                  <a:pt x="156" y="0"/>
                </a:cubicBezTo>
                <a:lnTo>
                  <a:pt x="160" y="24"/>
                </a:lnTo>
                <a:close/>
                <a:moveTo>
                  <a:pt x="148" y="24"/>
                </a:moveTo>
                <a:cubicBezTo>
                  <a:pt x="12" y="24"/>
                  <a:pt x="12" y="24"/>
                  <a:pt x="12" y="24"/>
                </a:cubicBezTo>
                <a:cubicBezTo>
                  <a:pt x="12" y="156"/>
                  <a:pt x="12" y="156"/>
                  <a:pt x="12" y="156"/>
                </a:cubicBezTo>
                <a:cubicBezTo>
                  <a:pt x="148" y="156"/>
                  <a:pt x="148" y="156"/>
                  <a:pt x="148" y="156"/>
                </a:cubicBezTo>
                <a:lnTo>
                  <a:pt x="148" y="24"/>
                </a:lnTo>
                <a:close/>
                <a:moveTo>
                  <a:pt x="64" y="100"/>
                </a:moveTo>
                <a:cubicBezTo>
                  <a:pt x="60" y="100"/>
                  <a:pt x="56" y="104"/>
                  <a:pt x="56" y="108"/>
                </a:cubicBezTo>
                <a:cubicBezTo>
                  <a:pt x="56" y="112"/>
                  <a:pt x="60" y="116"/>
                  <a:pt x="64" y="116"/>
                </a:cubicBezTo>
                <a:cubicBezTo>
                  <a:pt x="68" y="116"/>
                  <a:pt x="72" y="112"/>
                  <a:pt x="72" y="108"/>
                </a:cubicBezTo>
                <a:cubicBezTo>
                  <a:pt x="72" y="104"/>
                  <a:pt x="68" y="100"/>
                  <a:pt x="64" y="100"/>
                </a:cubicBezTo>
                <a:close/>
                <a:moveTo>
                  <a:pt x="64" y="132"/>
                </a:moveTo>
                <a:cubicBezTo>
                  <a:pt x="60" y="132"/>
                  <a:pt x="56" y="136"/>
                  <a:pt x="56" y="140"/>
                </a:cubicBezTo>
                <a:cubicBezTo>
                  <a:pt x="56" y="144"/>
                  <a:pt x="60" y="148"/>
                  <a:pt x="64" y="148"/>
                </a:cubicBezTo>
                <a:cubicBezTo>
                  <a:pt x="68" y="148"/>
                  <a:pt x="72" y="144"/>
                  <a:pt x="72" y="140"/>
                </a:cubicBezTo>
                <a:cubicBezTo>
                  <a:pt x="72" y="136"/>
                  <a:pt x="68" y="132"/>
                  <a:pt x="64" y="132"/>
                </a:cubicBezTo>
                <a:close/>
                <a:moveTo>
                  <a:pt x="96" y="112"/>
                </a:moveTo>
                <a:cubicBezTo>
                  <a:pt x="89" y="112"/>
                  <a:pt x="84" y="117"/>
                  <a:pt x="84" y="124"/>
                </a:cubicBezTo>
                <a:cubicBezTo>
                  <a:pt x="84" y="131"/>
                  <a:pt x="89" y="136"/>
                  <a:pt x="96" y="136"/>
                </a:cubicBezTo>
                <a:cubicBezTo>
                  <a:pt x="103" y="136"/>
                  <a:pt x="108" y="131"/>
                  <a:pt x="108" y="124"/>
                </a:cubicBezTo>
                <a:cubicBezTo>
                  <a:pt x="108" y="117"/>
                  <a:pt x="103" y="112"/>
                  <a:pt x="96" y="112"/>
                </a:cubicBezTo>
                <a:close/>
                <a:moveTo>
                  <a:pt x="124" y="36"/>
                </a:moveTo>
                <a:cubicBezTo>
                  <a:pt x="40" y="36"/>
                  <a:pt x="40" y="36"/>
                  <a:pt x="40" y="36"/>
                </a:cubicBezTo>
                <a:cubicBezTo>
                  <a:pt x="40" y="88"/>
                  <a:pt x="40" y="88"/>
                  <a:pt x="40" y="88"/>
                </a:cubicBezTo>
                <a:cubicBezTo>
                  <a:pt x="124" y="88"/>
                  <a:pt x="124" y="88"/>
                  <a:pt x="124" y="88"/>
                </a:cubicBezTo>
                <a:lnTo>
                  <a:pt x="124" y="3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1" name="Freeform 128">
            <a:extLst>
              <a:ext uri="{FF2B5EF4-FFF2-40B4-BE49-F238E27FC236}">
                <a16:creationId xmlns:a16="http://schemas.microsoft.com/office/drawing/2014/main" id="{02FCDA3F-FFFC-4E49-B9E8-87C600EED223}"/>
              </a:ext>
            </a:extLst>
          </p:cNvPr>
          <p:cNvSpPr>
            <a:spLocks noEditPoints="1"/>
          </p:cNvSpPr>
          <p:nvPr/>
        </p:nvSpPr>
        <p:spPr bwMode="gray">
          <a:xfrm>
            <a:off x="10986842" y="1981679"/>
            <a:ext cx="249196" cy="591118"/>
          </a:xfrm>
          <a:custGeom>
            <a:avLst/>
            <a:gdLst>
              <a:gd name="T0" fmla="*/ 66 w 80"/>
              <a:gd name="T1" fmla="*/ 3 h 194"/>
              <a:gd name="T2" fmla="*/ 14 w 80"/>
              <a:gd name="T3" fmla="*/ 3 h 194"/>
              <a:gd name="T4" fmla="*/ 0 w 80"/>
              <a:gd name="T5" fmla="*/ 19 h 194"/>
              <a:gd name="T6" fmla="*/ 0 w 80"/>
              <a:gd name="T7" fmla="*/ 175 h 194"/>
              <a:gd name="T8" fmla="*/ 14 w 80"/>
              <a:gd name="T9" fmla="*/ 191 h 194"/>
              <a:gd name="T10" fmla="*/ 66 w 80"/>
              <a:gd name="T11" fmla="*/ 191 h 194"/>
              <a:gd name="T12" fmla="*/ 80 w 80"/>
              <a:gd name="T13" fmla="*/ 175 h 194"/>
              <a:gd name="T14" fmla="*/ 80 w 80"/>
              <a:gd name="T15" fmla="*/ 19 h 194"/>
              <a:gd name="T16" fmla="*/ 66 w 80"/>
              <a:gd name="T17" fmla="*/ 3 h 194"/>
              <a:gd name="T18" fmla="*/ 16 w 80"/>
              <a:gd name="T19" fmla="*/ 189 h 194"/>
              <a:gd name="T20" fmla="*/ 20 w 80"/>
              <a:gd name="T21" fmla="*/ 181 h 194"/>
              <a:gd name="T22" fmla="*/ 60 w 80"/>
              <a:gd name="T23" fmla="*/ 181 h 194"/>
              <a:gd name="T24" fmla="*/ 64 w 80"/>
              <a:gd name="T25" fmla="*/ 189 h 194"/>
              <a:gd name="T26" fmla="*/ 16 w 80"/>
              <a:gd name="T27" fmla="*/ 189 h 194"/>
              <a:gd name="T28" fmla="*/ 16 w 80"/>
              <a:gd name="T29" fmla="*/ 145 h 194"/>
              <a:gd name="T30" fmla="*/ 24 w 80"/>
              <a:gd name="T31" fmla="*/ 137 h 194"/>
              <a:gd name="T32" fmla="*/ 32 w 80"/>
              <a:gd name="T33" fmla="*/ 145 h 194"/>
              <a:gd name="T34" fmla="*/ 24 w 80"/>
              <a:gd name="T35" fmla="*/ 153 h 194"/>
              <a:gd name="T36" fmla="*/ 16 w 80"/>
              <a:gd name="T37" fmla="*/ 145 h 194"/>
              <a:gd name="T38" fmla="*/ 56 w 80"/>
              <a:gd name="T39" fmla="*/ 153 h 194"/>
              <a:gd name="T40" fmla="*/ 48 w 80"/>
              <a:gd name="T41" fmla="*/ 145 h 194"/>
              <a:gd name="T42" fmla="*/ 56 w 80"/>
              <a:gd name="T43" fmla="*/ 137 h 194"/>
              <a:gd name="T44" fmla="*/ 64 w 80"/>
              <a:gd name="T45" fmla="*/ 145 h 194"/>
              <a:gd name="T46" fmla="*/ 56 w 80"/>
              <a:gd name="T47" fmla="*/ 153 h 194"/>
              <a:gd name="T48" fmla="*/ 64 w 80"/>
              <a:gd name="T49" fmla="*/ 121 h 194"/>
              <a:gd name="T50" fmla="*/ 16 w 80"/>
              <a:gd name="T51" fmla="*/ 121 h 194"/>
              <a:gd name="T52" fmla="*/ 16 w 80"/>
              <a:gd name="T53" fmla="*/ 49 h 194"/>
              <a:gd name="T54" fmla="*/ 64 w 80"/>
              <a:gd name="T55" fmla="*/ 49 h 194"/>
              <a:gd name="T56" fmla="*/ 64 w 80"/>
              <a:gd name="T57" fmla="*/ 121 h 194"/>
              <a:gd name="T58" fmla="*/ 60 w 80"/>
              <a:gd name="T59" fmla="*/ 13 h 194"/>
              <a:gd name="T60" fmla="*/ 20 w 80"/>
              <a:gd name="T61" fmla="*/ 13 h 194"/>
              <a:gd name="T62" fmla="*/ 16 w 80"/>
              <a:gd name="T63" fmla="*/ 5 h 194"/>
              <a:gd name="T64" fmla="*/ 64 w 80"/>
              <a:gd name="T65" fmla="*/ 5 h 194"/>
              <a:gd name="T66" fmla="*/ 60 w 80"/>
              <a:gd name="T67" fmla="*/ 1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0" h="194">
                <a:moveTo>
                  <a:pt x="66" y="3"/>
                </a:moveTo>
                <a:cubicBezTo>
                  <a:pt x="49" y="0"/>
                  <a:pt x="31" y="0"/>
                  <a:pt x="14" y="3"/>
                </a:cubicBezTo>
                <a:cubicBezTo>
                  <a:pt x="6" y="4"/>
                  <a:pt x="0" y="11"/>
                  <a:pt x="0" y="19"/>
                </a:cubicBezTo>
                <a:cubicBezTo>
                  <a:pt x="0" y="175"/>
                  <a:pt x="0" y="175"/>
                  <a:pt x="0" y="175"/>
                </a:cubicBezTo>
                <a:cubicBezTo>
                  <a:pt x="0" y="183"/>
                  <a:pt x="6" y="190"/>
                  <a:pt x="14" y="191"/>
                </a:cubicBezTo>
                <a:cubicBezTo>
                  <a:pt x="31" y="194"/>
                  <a:pt x="49" y="194"/>
                  <a:pt x="66" y="191"/>
                </a:cubicBezTo>
                <a:cubicBezTo>
                  <a:pt x="74" y="190"/>
                  <a:pt x="80" y="183"/>
                  <a:pt x="80" y="175"/>
                </a:cubicBezTo>
                <a:cubicBezTo>
                  <a:pt x="80" y="19"/>
                  <a:pt x="80" y="19"/>
                  <a:pt x="80" y="19"/>
                </a:cubicBezTo>
                <a:cubicBezTo>
                  <a:pt x="80" y="11"/>
                  <a:pt x="74" y="4"/>
                  <a:pt x="66" y="3"/>
                </a:cubicBezTo>
                <a:close/>
                <a:moveTo>
                  <a:pt x="16" y="189"/>
                </a:moveTo>
                <a:cubicBezTo>
                  <a:pt x="20" y="181"/>
                  <a:pt x="20" y="181"/>
                  <a:pt x="20" y="181"/>
                </a:cubicBezTo>
                <a:cubicBezTo>
                  <a:pt x="60" y="181"/>
                  <a:pt x="60" y="181"/>
                  <a:pt x="60" y="181"/>
                </a:cubicBezTo>
                <a:cubicBezTo>
                  <a:pt x="64" y="189"/>
                  <a:pt x="64" y="189"/>
                  <a:pt x="64" y="189"/>
                </a:cubicBezTo>
                <a:lnTo>
                  <a:pt x="16" y="189"/>
                </a:lnTo>
                <a:close/>
                <a:moveTo>
                  <a:pt x="16" y="145"/>
                </a:moveTo>
                <a:cubicBezTo>
                  <a:pt x="16" y="141"/>
                  <a:pt x="20" y="137"/>
                  <a:pt x="24" y="137"/>
                </a:cubicBezTo>
                <a:cubicBezTo>
                  <a:pt x="28" y="137"/>
                  <a:pt x="32" y="141"/>
                  <a:pt x="32" y="145"/>
                </a:cubicBezTo>
                <a:cubicBezTo>
                  <a:pt x="32" y="149"/>
                  <a:pt x="28" y="153"/>
                  <a:pt x="24" y="153"/>
                </a:cubicBezTo>
                <a:cubicBezTo>
                  <a:pt x="20" y="153"/>
                  <a:pt x="16" y="149"/>
                  <a:pt x="16" y="145"/>
                </a:cubicBezTo>
                <a:close/>
                <a:moveTo>
                  <a:pt x="56" y="153"/>
                </a:moveTo>
                <a:cubicBezTo>
                  <a:pt x="52" y="153"/>
                  <a:pt x="48" y="149"/>
                  <a:pt x="48" y="145"/>
                </a:cubicBezTo>
                <a:cubicBezTo>
                  <a:pt x="48" y="141"/>
                  <a:pt x="52" y="137"/>
                  <a:pt x="56" y="137"/>
                </a:cubicBezTo>
                <a:cubicBezTo>
                  <a:pt x="60" y="137"/>
                  <a:pt x="64" y="141"/>
                  <a:pt x="64" y="145"/>
                </a:cubicBezTo>
                <a:cubicBezTo>
                  <a:pt x="64" y="149"/>
                  <a:pt x="60" y="153"/>
                  <a:pt x="56" y="153"/>
                </a:cubicBezTo>
                <a:close/>
                <a:moveTo>
                  <a:pt x="64" y="121"/>
                </a:moveTo>
                <a:cubicBezTo>
                  <a:pt x="16" y="121"/>
                  <a:pt x="16" y="121"/>
                  <a:pt x="16" y="121"/>
                </a:cubicBezTo>
                <a:cubicBezTo>
                  <a:pt x="16" y="49"/>
                  <a:pt x="16" y="49"/>
                  <a:pt x="16" y="49"/>
                </a:cubicBezTo>
                <a:cubicBezTo>
                  <a:pt x="64" y="49"/>
                  <a:pt x="64" y="49"/>
                  <a:pt x="64" y="49"/>
                </a:cubicBezTo>
                <a:lnTo>
                  <a:pt x="64" y="121"/>
                </a:lnTo>
                <a:close/>
                <a:moveTo>
                  <a:pt x="60" y="13"/>
                </a:moveTo>
                <a:cubicBezTo>
                  <a:pt x="20" y="13"/>
                  <a:pt x="20" y="13"/>
                  <a:pt x="20" y="13"/>
                </a:cubicBezTo>
                <a:cubicBezTo>
                  <a:pt x="16" y="5"/>
                  <a:pt x="16" y="5"/>
                  <a:pt x="16" y="5"/>
                </a:cubicBezTo>
                <a:cubicBezTo>
                  <a:pt x="64" y="5"/>
                  <a:pt x="64" y="5"/>
                  <a:pt x="64" y="5"/>
                </a:cubicBezTo>
                <a:lnTo>
                  <a:pt x="60" y="1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2" name="Freeform 136">
            <a:extLst>
              <a:ext uri="{FF2B5EF4-FFF2-40B4-BE49-F238E27FC236}">
                <a16:creationId xmlns:a16="http://schemas.microsoft.com/office/drawing/2014/main" id="{69864A3F-A9F8-4F80-B7AC-34696ACED3E6}"/>
              </a:ext>
            </a:extLst>
          </p:cNvPr>
          <p:cNvSpPr>
            <a:spLocks noEditPoints="1"/>
          </p:cNvSpPr>
          <p:nvPr/>
        </p:nvSpPr>
        <p:spPr bwMode="gray">
          <a:xfrm>
            <a:off x="903899" y="3165572"/>
            <a:ext cx="381904" cy="569334"/>
          </a:xfrm>
          <a:custGeom>
            <a:avLst/>
            <a:gdLst>
              <a:gd name="T0" fmla="*/ 0 w 128"/>
              <a:gd name="T1" fmla="*/ 160 h 192"/>
              <a:gd name="T2" fmla="*/ 128 w 128"/>
              <a:gd name="T3" fmla="*/ 160 h 192"/>
              <a:gd name="T4" fmla="*/ 128 w 128"/>
              <a:gd name="T5" fmla="*/ 192 h 192"/>
              <a:gd name="T6" fmla="*/ 107 w 128"/>
              <a:gd name="T7" fmla="*/ 192 h 192"/>
              <a:gd name="T8" fmla="*/ 100 w 128"/>
              <a:gd name="T9" fmla="*/ 176 h 192"/>
              <a:gd name="T10" fmla="*/ 28 w 128"/>
              <a:gd name="T11" fmla="*/ 176 h 192"/>
              <a:gd name="T12" fmla="*/ 21 w 128"/>
              <a:gd name="T13" fmla="*/ 192 h 192"/>
              <a:gd name="T14" fmla="*/ 0 w 128"/>
              <a:gd name="T15" fmla="*/ 192 h 192"/>
              <a:gd name="T16" fmla="*/ 0 w 128"/>
              <a:gd name="T17" fmla="*/ 160 h 192"/>
              <a:gd name="T18" fmla="*/ 11 w 128"/>
              <a:gd name="T19" fmla="*/ 96 h 192"/>
              <a:gd name="T20" fmla="*/ 2 w 128"/>
              <a:gd name="T21" fmla="*/ 148 h 192"/>
              <a:gd name="T22" fmla="*/ 126 w 128"/>
              <a:gd name="T23" fmla="*/ 148 h 192"/>
              <a:gd name="T24" fmla="*/ 117 w 128"/>
              <a:gd name="T25" fmla="*/ 96 h 192"/>
              <a:gd name="T26" fmla="*/ 11 w 128"/>
              <a:gd name="T27" fmla="*/ 96 h 192"/>
              <a:gd name="T28" fmla="*/ 102 w 128"/>
              <a:gd name="T29" fmla="*/ 13 h 192"/>
              <a:gd name="T30" fmla="*/ 114 w 128"/>
              <a:gd name="T31" fmla="*/ 80 h 192"/>
              <a:gd name="T32" fmla="*/ 14 w 128"/>
              <a:gd name="T33" fmla="*/ 80 h 192"/>
              <a:gd name="T34" fmla="*/ 26 w 128"/>
              <a:gd name="T35" fmla="*/ 13 h 192"/>
              <a:gd name="T36" fmla="*/ 42 w 128"/>
              <a:gd name="T37" fmla="*/ 0 h 192"/>
              <a:gd name="T38" fmla="*/ 86 w 128"/>
              <a:gd name="T39" fmla="*/ 0 h 192"/>
              <a:gd name="T40" fmla="*/ 102 w 128"/>
              <a:gd name="T41" fmla="*/ 13 h 192"/>
              <a:gd name="T42" fmla="*/ 84 w 128"/>
              <a:gd name="T43" fmla="*/ 16 h 192"/>
              <a:gd name="T44" fmla="*/ 44 w 128"/>
              <a:gd name="T45" fmla="*/ 16 h 192"/>
              <a:gd name="T46" fmla="*/ 36 w 128"/>
              <a:gd name="T47" fmla="*/ 24 h 192"/>
              <a:gd name="T48" fmla="*/ 36 w 128"/>
              <a:gd name="T49" fmla="*/ 26 h 192"/>
              <a:gd name="T50" fmla="*/ 40 w 128"/>
              <a:gd name="T51" fmla="*/ 42 h 192"/>
              <a:gd name="T52" fmla="*/ 47 w 128"/>
              <a:gd name="T53" fmla="*/ 48 h 192"/>
              <a:gd name="T54" fmla="*/ 81 w 128"/>
              <a:gd name="T55" fmla="*/ 48 h 192"/>
              <a:gd name="T56" fmla="*/ 88 w 128"/>
              <a:gd name="T57" fmla="*/ 42 h 192"/>
              <a:gd name="T58" fmla="*/ 92 w 128"/>
              <a:gd name="T59" fmla="*/ 26 h 192"/>
              <a:gd name="T60" fmla="*/ 86 w 128"/>
              <a:gd name="T61" fmla="*/ 16 h 192"/>
              <a:gd name="T62" fmla="*/ 84 w 128"/>
              <a:gd name="T63" fmla="*/ 1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8" h="192">
                <a:moveTo>
                  <a:pt x="0" y="160"/>
                </a:moveTo>
                <a:cubicBezTo>
                  <a:pt x="128" y="160"/>
                  <a:pt x="128" y="160"/>
                  <a:pt x="128" y="160"/>
                </a:cubicBezTo>
                <a:cubicBezTo>
                  <a:pt x="128" y="192"/>
                  <a:pt x="128" y="192"/>
                  <a:pt x="128" y="192"/>
                </a:cubicBezTo>
                <a:cubicBezTo>
                  <a:pt x="107" y="192"/>
                  <a:pt x="107" y="192"/>
                  <a:pt x="107" y="192"/>
                </a:cubicBezTo>
                <a:cubicBezTo>
                  <a:pt x="100" y="176"/>
                  <a:pt x="100" y="176"/>
                  <a:pt x="100" y="176"/>
                </a:cubicBezTo>
                <a:cubicBezTo>
                  <a:pt x="28" y="176"/>
                  <a:pt x="28" y="176"/>
                  <a:pt x="28" y="176"/>
                </a:cubicBezTo>
                <a:cubicBezTo>
                  <a:pt x="21" y="192"/>
                  <a:pt x="21" y="192"/>
                  <a:pt x="21" y="192"/>
                </a:cubicBezTo>
                <a:cubicBezTo>
                  <a:pt x="0" y="192"/>
                  <a:pt x="0" y="192"/>
                  <a:pt x="0" y="192"/>
                </a:cubicBezTo>
                <a:lnTo>
                  <a:pt x="0" y="160"/>
                </a:lnTo>
                <a:close/>
                <a:moveTo>
                  <a:pt x="11" y="96"/>
                </a:moveTo>
                <a:cubicBezTo>
                  <a:pt x="2" y="148"/>
                  <a:pt x="2" y="148"/>
                  <a:pt x="2" y="148"/>
                </a:cubicBezTo>
                <a:cubicBezTo>
                  <a:pt x="126" y="148"/>
                  <a:pt x="126" y="148"/>
                  <a:pt x="126" y="148"/>
                </a:cubicBezTo>
                <a:cubicBezTo>
                  <a:pt x="117" y="96"/>
                  <a:pt x="117" y="96"/>
                  <a:pt x="117" y="96"/>
                </a:cubicBezTo>
                <a:lnTo>
                  <a:pt x="11" y="96"/>
                </a:lnTo>
                <a:close/>
                <a:moveTo>
                  <a:pt x="102" y="13"/>
                </a:moveTo>
                <a:cubicBezTo>
                  <a:pt x="114" y="80"/>
                  <a:pt x="114" y="80"/>
                  <a:pt x="114" y="80"/>
                </a:cubicBezTo>
                <a:cubicBezTo>
                  <a:pt x="14" y="80"/>
                  <a:pt x="14" y="80"/>
                  <a:pt x="14" y="80"/>
                </a:cubicBezTo>
                <a:cubicBezTo>
                  <a:pt x="26" y="13"/>
                  <a:pt x="26" y="13"/>
                  <a:pt x="26" y="13"/>
                </a:cubicBezTo>
                <a:cubicBezTo>
                  <a:pt x="28" y="6"/>
                  <a:pt x="34" y="0"/>
                  <a:pt x="42" y="0"/>
                </a:cubicBezTo>
                <a:cubicBezTo>
                  <a:pt x="86" y="0"/>
                  <a:pt x="86" y="0"/>
                  <a:pt x="86" y="0"/>
                </a:cubicBezTo>
                <a:cubicBezTo>
                  <a:pt x="94" y="0"/>
                  <a:pt x="101" y="6"/>
                  <a:pt x="102" y="13"/>
                </a:cubicBezTo>
                <a:close/>
                <a:moveTo>
                  <a:pt x="84" y="16"/>
                </a:moveTo>
                <a:cubicBezTo>
                  <a:pt x="44" y="16"/>
                  <a:pt x="44" y="16"/>
                  <a:pt x="44" y="16"/>
                </a:cubicBezTo>
                <a:cubicBezTo>
                  <a:pt x="39" y="16"/>
                  <a:pt x="36" y="20"/>
                  <a:pt x="36" y="24"/>
                </a:cubicBezTo>
                <a:cubicBezTo>
                  <a:pt x="36" y="25"/>
                  <a:pt x="36" y="25"/>
                  <a:pt x="36" y="26"/>
                </a:cubicBezTo>
                <a:cubicBezTo>
                  <a:pt x="40" y="42"/>
                  <a:pt x="40" y="42"/>
                  <a:pt x="40" y="42"/>
                </a:cubicBezTo>
                <a:cubicBezTo>
                  <a:pt x="41" y="45"/>
                  <a:pt x="44" y="48"/>
                  <a:pt x="47" y="48"/>
                </a:cubicBezTo>
                <a:cubicBezTo>
                  <a:pt x="81" y="48"/>
                  <a:pt x="81" y="48"/>
                  <a:pt x="81" y="48"/>
                </a:cubicBezTo>
                <a:cubicBezTo>
                  <a:pt x="84" y="48"/>
                  <a:pt x="87" y="45"/>
                  <a:pt x="88" y="42"/>
                </a:cubicBezTo>
                <a:cubicBezTo>
                  <a:pt x="92" y="26"/>
                  <a:pt x="92" y="26"/>
                  <a:pt x="92" y="26"/>
                </a:cubicBezTo>
                <a:cubicBezTo>
                  <a:pt x="93" y="22"/>
                  <a:pt x="90" y="17"/>
                  <a:pt x="86" y="16"/>
                </a:cubicBezTo>
                <a:cubicBezTo>
                  <a:pt x="85" y="16"/>
                  <a:pt x="85" y="16"/>
                  <a:pt x="84" y="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3" name="Freeform 140">
            <a:extLst>
              <a:ext uri="{FF2B5EF4-FFF2-40B4-BE49-F238E27FC236}">
                <a16:creationId xmlns:a16="http://schemas.microsoft.com/office/drawing/2014/main" id="{716D81B5-3FB5-4E6B-9E30-5D104122C5C9}"/>
              </a:ext>
            </a:extLst>
          </p:cNvPr>
          <p:cNvSpPr>
            <a:spLocks noEditPoints="1"/>
          </p:cNvSpPr>
          <p:nvPr/>
        </p:nvSpPr>
        <p:spPr bwMode="gray">
          <a:xfrm>
            <a:off x="1929293" y="3211883"/>
            <a:ext cx="550966" cy="476712"/>
          </a:xfrm>
          <a:custGeom>
            <a:avLst/>
            <a:gdLst>
              <a:gd name="T0" fmla="*/ 60 w 176"/>
              <a:gd name="T1" fmla="*/ 116 h 152"/>
              <a:gd name="T2" fmla="*/ 48 w 176"/>
              <a:gd name="T3" fmla="*/ 128 h 152"/>
              <a:gd name="T4" fmla="*/ 36 w 176"/>
              <a:gd name="T5" fmla="*/ 116 h 152"/>
              <a:gd name="T6" fmla="*/ 48 w 176"/>
              <a:gd name="T7" fmla="*/ 104 h 152"/>
              <a:gd name="T8" fmla="*/ 60 w 176"/>
              <a:gd name="T9" fmla="*/ 116 h 152"/>
              <a:gd name="T10" fmla="*/ 120 w 176"/>
              <a:gd name="T11" fmla="*/ 112 h 152"/>
              <a:gd name="T12" fmla="*/ 112 w 176"/>
              <a:gd name="T13" fmla="*/ 120 h 152"/>
              <a:gd name="T14" fmla="*/ 120 w 176"/>
              <a:gd name="T15" fmla="*/ 128 h 152"/>
              <a:gd name="T16" fmla="*/ 128 w 176"/>
              <a:gd name="T17" fmla="*/ 120 h 152"/>
              <a:gd name="T18" fmla="*/ 120 w 176"/>
              <a:gd name="T19" fmla="*/ 112 h 152"/>
              <a:gd name="T20" fmla="*/ 120 w 176"/>
              <a:gd name="T21" fmla="*/ 80 h 152"/>
              <a:gd name="T22" fmla="*/ 112 w 176"/>
              <a:gd name="T23" fmla="*/ 88 h 152"/>
              <a:gd name="T24" fmla="*/ 120 w 176"/>
              <a:gd name="T25" fmla="*/ 96 h 152"/>
              <a:gd name="T26" fmla="*/ 128 w 176"/>
              <a:gd name="T27" fmla="*/ 88 h 152"/>
              <a:gd name="T28" fmla="*/ 120 w 176"/>
              <a:gd name="T29" fmla="*/ 80 h 152"/>
              <a:gd name="T30" fmla="*/ 176 w 176"/>
              <a:gd name="T31" fmla="*/ 24 h 152"/>
              <a:gd name="T32" fmla="*/ 176 w 176"/>
              <a:gd name="T33" fmla="*/ 152 h 152"/>
              <a:gd name="T34" fmla="*/ 0 w 176"/>
              <a:gd name="T35" fmla="*/ 152 h 152"/>
              <a:gd name="T36" fmla="*/ 0 w 176"/>
              <a:gd name="T37" fmla="*/ 24 h 152"/>
              <a:gd name="T38" fmla="*/ 32 w 176"/>
              <a:gd name="T39" fmla="*/ 24 h 152"/>
              <a:gd name="T40" fmla="*/ 32 w 176"/>
              <a:gd name="T41" fmla="*/ 20 h 152"/>
              <a:gd name="T42" fmla="*/ 36 w 176"/>
              <a:gd name="T43" fmla="*/ 16 h 152"/>
              <a:gd name="T44" fmla="*/ 60 w 176"/>
              <a:gd name="T45" fmla="*/ 16 h 152"/>
              <a:gd name="T46" fmla="*/ 64 w 176"/>
              <a:gd name="T47" fmla="*/ 20 h 152"/>
              <a:gd name="T48" fmla="*/ 64 w 176"/>
              <a:gd name="T49" fmla="*/ 24 h 152"/>
              <a:gd name="T50" fmla="*/ 112 w 176"/>
              <a:gd name="T51" fmla="*/ 24 h 152"/>
              <a:gd name="T52" fmla="*/ 112 w 176"/>
              <a:gd name="T53" fmla="*/ 16 h 152"/>
              <a:gd name="T54" fmla="*/ 116 w 176"/>
              <a:gd name="T55" fmla="*/ 16 h 152"/>
              <a:gd name="T56" fmla="*/ 116 w 176"/>
              <a:gd name="T57" fmla="*/ 12 h 152"/>
              <a:gd name="T58" fmla="*/ 112 w 176"/>
              <a:gd name="T59" fmla="*/ 12 h 152"/>
              <a:gd name="T60" fmla="*/ 112 w 176"/>
              <a:gd name="T61" fmla="*/ 8 h 152"/>
              <a:gd name="T62" fmla="*/ 120 w 176"/>
              <a:gd name="T63" fmla="*/ 0 h 152"/>
              <a:gd name="T64" fmla="*/ 136 w 176"/>
              <a:gd name="T65" fmla="*/ 0 h 152"/>
              <a:gd name="T66" fmla="*/ 144 w 176"/>
              <a:gd name="T67" fmla="*/ 8 h 152"/>
              <a:gd name="T68" fmla="*/ 144 w 176"/>
              <a:gd name="T69" fmla="*/ 12 h 152"/>
              <a:gd name="T70" fmla="*/ 140 w 176"/>
              <a:gd name="T71" fmla="*/ 12 h 152"/>
              <a:gd name="T72" fmla="*/ 140 w 176"/>
              <a:gd name="T73" fmla="*/ 16 h 152"/>
              <a:gd name="T74" fmla="*/ 144 w 176"/>
              <a:gd name="T75" fmla="*/ 16 h 152"/>
              <a:gd name="T76" fmla="*/ 144 w 176"/>
              <a:gd name="T77" fmla="*/ 24 h 152"/>
              <a:gd name="T78" fmla="*/ 176 w 176"/>
              <a:gd name="T79" fmla="*/ 24 h 152"/>
              <a:gd name="T80" fmla="*/ 152 w 176"/>
              <a:gd name="T81" fmla="*/ 40 h 152"/>
              <a:gd name="T82" fmla="*/ 24 w 176"/>
              <a:gd name="T83" fmla="*/ 40 h 152"/>
              <a:gd name="T84" fmla="*/ 24 w 176"/>
              <a:gd name="T85" fmla="*/ 136 h 152"/>
              <a:gd name="T86" fmla="*/ 152 w 176"/>
              <a:gd name="T87" fmla="*/ 136 h 152"/>
              <a:gd name="T88" fmla="*/ 152 w 176"/>
              <a:gd name="T89" fmla="*/ 4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6" h="152">
                <a:moveTo>
                  <a:pt x="60" y="116"/>
                </a:moveTo>
                <a:cubicBezTo>
                  <a:pt x="60" y="123"/>
                  <a:pt x="55" y="128"/>
                  <a:pt x="48" y="128"/>
                </a:cubicBezTo>
                <a:cubicBezTo>
                  <a:pt x="41" y="128"/>
                  <a:pt x="36" y="123"/>
                  <a:pt x="36" y="116"/>
                </a:cubicBezTo>
                <a:cubicBezTo>
                  <a:pt x="36" y="109"/>
                  <a:pt x="41" y="104"/>
                  <a:pt x="48" y="104"/>
                </a:cubicBezTo>
                <a:cubicBezTo>
                  <a:pt x="55" y="104"/>
                  <a:pt x="60" y="109"/>
                  <a:pt x="60" y="116"/>
                </a:cubicBezTo>
                <a:close/>
                <a:moveTo>
                  <a:pt x="120" y="112"/>
                </a:moveTo>
                <a:cubicBezTo>
                  <a:pt x="116" y="112"/>
                  <a:pt x="112" y="116"/>
                  <a:pt x="112" y="120"/>
                </a:cubicBezTo>
                <a:cubicBezTo>
                  <a:pt x="112" y="124"/>
                  <a:pt x="116" y="128"/>
                  <a:pt x="120" y="128"/>
                </a:cubicBezTo>
                <a:cubicBezTo>
                  <a:pt x="124" y="128"/>
                  <a:pt x="128" y="124"/>
                  <a:pt x="128" y="120"/>
                </a:cubicBezTo>
                <a:cubicBezTo>
                  <a:pt x="128" y="116"/>
                  <a:pt x="124" y="112"/>
                  <a:pt x="120" y="112"/>
                </a:cubicBezTo>
                <a:close/>
                <a:moveTo>
                  <a:pt x="120" y="80"/>
                </a:moveTo>
                <a:cubicBezTo>
                  <a:pt x="116" y="80"/>
                  <a:pt x="112" y="84"/>
                  <a:pt x="112" y="88"/>
                </a:cubicBezTo>
                <a:cubicBezTo>
                  <a:pt x="112" y="92"/>
                  <a:pt x="116" y="96"/>
                  <a:pt x="120" y="96"/>
                </a:cubicBezTo>
                <a:cubicBezTo>
                  <a:pt x="124" y="96"/>
                  <a:pt x="128" y="92"/>
                  <a:pt x="128" y="88"/>
                </a:cubicBezTo>
                <a:cubicBezTo>
                  <a:pt x="128" y="84"/>
                  <a:pt x="124" y="80"/>
                  <a:pt x="120" y="80"/>
                </a:cubicBezTo>
                <a:close/>
                <a:moveTo>
                  <a:pt x="176" y="24"/>
                </a:moveTo>
                <a:cubicBezTo>
                  <a:pt x="176" y="152"/>
                  <a:pt x="176" y="152"/>
                  <a:pt x="176" y="152"/>
                </a:cubicBezTo>
                <a:cubicBezTo>
                  <a:pt x="0" y="152"/>
                  <a:pt x="0" y="152"/>
                  <a:pt x="0" y="152"/>
                </a:cubicBezTo>
                <a:cubicBezTo>
                  <a:pt x="0" y="24"/>
                  <a:pt x="0" y="24"/>
                  <a:pt x="0" y="24"/>
                </a:cubicBezTo>
                <a:cubicBezTo>
                  <a:pt x="32" y="24"/>
                  <a:pt x="32" y="24"/>
                  <a:pt x="32" y="24"/>
                </a:cubicBezTo>
                <a:cubicBezTo>
                  <a:pt x="32" y="20"/>
                  <a:pt x="32" y="20"/>
                  <a:pt x="32" y="20"/>
                </a:cubicBezTo>
                <a:cubicBezTo>
                  <a:pt x="32" y="18"/>
                  <a:pt x="34" y="16"/>
                  <a:pt x="36" y="16"/>
                </a:cubicBezTo>
                <a:cubicBezTo>
                  <a:pt x="60" y="16"/>
                  <a:pt x="60" y="16"/>
                  <a:pt x="60" y="16"/>
                </a:cubicBezTo>
                <a:cubicBezTo>
                  <a:pt x="62" y="16"/>
                  <a:pt x="64" y="18"/>
                  <a:pt x="64" y="20"/>
                </a:cubicBezTo>
                <a:cubicBezTo>
                  <a:pt x="64" y="24"/>
                  <a:pt x="64" y="24"/>
                  <a:pt x="64" y="24"/>
                </a:cubicBezTo>
                <a:cubicBezTo>
                  <a:pt x="112" y="24"/>
                  <a:pt x="112" y="24"/>
                  <a:pt x="112" y="24"/>
                </a:cubicBezTo>
                <a:cubicBezTo>
                  <a:pt x="112" y="16"/>
                  <a:pt x="112" y="16"/>
                  <a:pt x="112" y="16"/>
                </a:cubicBezTo>
                <a:cubicBezTo>
                  <a:pt x="116" y="16"/>
                  <a:pt x="116" y="16"/>
                  <a:pt x="116" y="16"/>
                </a:cubicBezTo>
                <a:cubicBezTo>
                  <a:pt x="116" y="12"/>
                  <a:pt x="116" y="12"/>
                  <a:pt x="116" y="12"/>
                </a:cubicBezTo>
                <a:cubicBezTo>
                  <a:pt x="112" y="12"/>
                  <a:pt x="112" y="12"/>
                  <a:pt x="112" y="12"/>
                </a:cubicBezTo>
                <a:cubicBezTo>
                  <a:pt x="112" y="8"/>
                  <a:pt x="112" y="8"/>
                  <a:pt x="112" y="8"/>
                </a:cubicBezTo>
                <a:cubicBezTo>
                  <a:pt x="112" y="4"/>
                  <a:pt x="116" y="0"/>
                  <a:pt x="120" y="0"/>
                </a:cubicBezTo>
                <a:cubicBezTo>
                  <a:pt x="136" y="0"/>
                  <a:pt x="136" y="0"/>
                  <a:pt x="136" y="0"/>
                </a:cubicBezTo>
                <a:cubicBezTo>
                  <a:pt x="140" y="0"/>
                  <a:pt x="144" y="4"/>
                  <a:pt x="144" y="8"/>
                </a:cubicBezTo>
                <a:cubicBezTo>
                  <a:pt x="144" y="12"/>
                  <a:pt x="144" y="12"/>
                  <a:pt x="144" y="12"/>
                </a:cubicBezTo>
                <a:cubicBezTo>
                  <a:pt x="140" y="12"/>
                  <a:pt x="140" y="12"/>
                  <a:pt x="140" y="12"/>
                </a:cubicBezTo>
                <a:cubicBezTo>
                  <a:pt x="140" y="16"/>
                  <a:pt x="140" y="16"/>
                  <a:pt x="140" y="16"/>
                </a:cubicBezTo>
                <a:cubicBezTo>
                  <a:pt x="144" y="16"/>
                  <a:pt x="144" y="16"/>
                  <a:pt x="144" y="16"/>
                </a:cubicBezTo>
                <a:cubicBezTo>
                  <a:pt x="144" y="24"/>
                  <a:pt x="144" y="24"/>
                  <a:pt x="144" y="24"/>
                </a:cubicBezTo>
                <a:lnTo>
                  <a:pt x="176" y="24"/>
                </a:lnTo>
                <a:close/>
                <a:moveTo>
                  <a:pt x="152" y="40"/>
                </a:moveTo>
                <a:cubicBezTo>
                  <a:pt x="24" y="40"/>
                  <a:pt x="24" y="40"/>
                  <a:pt x="24" y="40"/>
                </a:cubicBezTo>
                <a:cubicBezTo>
                  <a:pt x="24" y="136"/>
                  <a:pt x="24" y="136"/>
                  <a:pt x="24" y="136"/>
                </a:cubicBezTo>
                <a:cubicBezTo>
                  <a:pt x="152" y="136"/>
                  <a:pt x="152" y="136"/>
                  <a:pt x="152" y="136"/>
                </a:cubicBezTo>
                <a:lnTo>
                  <a:pt x="152" y="4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4" name="Freeform 144">
            <a:extLst>
              <a:ext uri="{FF2B5EF4-FFF2-40B4-BE49-F238E27FC236}">
                <a16:creationId xmlns:a16="http://schemas.microsoft.com/office/drawing/2014/main" id="{E7E52B5F-A8E8-477A-9783-877623DC3551}"/>
              </a:ext>
            </a:extLst>
          </p:cNvPr>
          <p:cNvSpPr>
            <a:spLocks noEditPoints="1"/>
          </p:cNvSpPr>
          <p:nvPr/>
        </p:nvSpPr>
        <p:spPr bwMode="gray">
          <a:xfrm>
            <a:off x="3131831" y="3142806"/>
            <a:ext cx="372556" cy="614866"/>
          </a:xfrm>
          <a:custGeom>
            <a:avLst/>
            <a:gdLst>
              <a:gd name="T0" fmla="*/ 113 w 116"/>
              <a:gd name="T1" fmla="*/ 28 h 193"/>
              <a:gd name="T2" fmla="*/ 110 w 116"/>
              <a:gd name="T3" fmla="*/ 24 h 193"/>
              <a:gd name="T4" fmla="*/ 99 w 116"/>
              <a:gd name="T5" fmla="*/ 21 h 193"/>
              <a:gd name="T6" fmla="*/ 95 w 116"/>
              <a:gd name="T7" fmla="*/ 25 h 193"/>
              <a:gd name="T8" fmla="*/ 49 w 116"/>
              <a:gd name="T9" fmla="*/ 12 h 193"/>
              <a:gd name="T10" fmla="*/ 47 w 116"/>
              <a:gd name="T11" fmla="*/ 5 h 193"/>
              <a:gd name="T12" fmla="*/ 33 w 116"/>
              <a:gd name="T13" fmla="*/ 1 h 193"/>
              <a:gd name="T14" fmla="*/ 28 w 116"/>
              <a:gd name="T15" fmla="*/ 4 h 193"/>
              <a:gd name="T16" fmla="*/ 28 w 116"/>
              <a:gd name="T17" fmla="*/ 5 h 193"/>
              <a:gd name="T18" fmla="*/ 32 w 116"/>
              <a:gd name="T19" fmla="*/ 90 h 193"/>
              <a:gd name="T20" fmla="*/ 17 w 116"/>
              <a:gd name="T21" fmla="*/ 169 h 193"/>
              <a:gd name="T22" fmla="*/ 11 w 116"/>
              <a:gd name="T23" fmla="*/ 169 h 193"/>
              <a:gd name="T24" fmla="*/ 3 w 116"/>
              <a:gd name="T25" fmla="*/ 176 h 193"/>
              <a:gd name="T26" fmla="*/ 0 w 116"/>
              <a:gd name="T27" fmla="*/ 193 h 193"/>
              <a:gd name="T28" fmla="*/ 88 w 116"/>
              <a:gd name="T29" fmla="*/ 193 h 193"/>
              <a:gd name="T30" fmla="*/ 85 w 116"/>
              <a:gd name="T31" fmla="*/ 172 h 193"/>
              <a:gd name="T32" fmla="*/ 81 w 116"/>
              <a:gd name="T33" fmla="*/ 169 h 193"/>
              <a:gd name="T34" fmla="*/ 59 w 116"/>
              <a:gd name="T35" fmla="*/ 169 h 193"/>
              <a:gd name="T36" fmla="*/ 51 w 116"/>
              <a:gd name="T37" fmla="*/ 161 h 193"/>
              <a:gd name="T38" fmla="*/ 51 w 116"/>
              <a:gd name="T39" fmla="*/ 160 h 193"/>
              <a:gd name="T40" fmla="*/ 59 w 116"/>
              <a:gd name="T41" fmla="*/ 113 h 193"/>
              <a:gd name="T42" fmla="*/ 64 w 116"/>
              <a:gd name="T43" fmla="*/ 113 h 193"/>
              <a:gd name="T44" fmla="*/ 68 w 116"/>
              <a:gd name="T45" fmla="*/ 109 h 193"/>
              <a:gd name="T46" fmla="*/ 68 w 116"/>
              <a:gd name="T47" fmla="*/ 94 h 193"/>
              <a:gd name="T48" fmla="*/ 106 w 116"/>
              <a:gd name="T49" fmla="*/ 86 h 193"/>
              <a:gd name="T50" fmla="*/ 116 w 116"/>
              <a:gd name="T51" fmla="*/ 73 h 193"/>
              <a:gd name="T52" fmla="*/ 113 w 116"/>
              <a:gd name="T53" fmla="*/ 28 h 193"/>
              <a:gd name="T54" fmla="*/ 52 w 116"/>
              <a:gd name="T55" fmla="*/ 41 h 193"/>
              <a:gd name="T56" fmla="*/ 44 w 116"/>
              <a:gd name="T57" fmla="*/ 33 h 193"/>
              <a:gd name="T58" fmla="*/ 52 w 116"/>
              <a:gd name="T59" fmla="*/ 25 h 193"/>
              <a:gd name="T60" fmla="*/ 60 w 116"/>
              <a:gd name="T61" fmla="*/ 33 h 193"/>
              <a:gd name="T62" fmla="*/ 52 w 116"/>
              <a:gd name="T63" fmla="*/ 4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6" h="193">
                <a:moveTo>
                  <a:pt x="113" y="28"/>
                </a:moveTo>
                <a:cubicBezTo>
                  <a:pt x="113" y="26"/>
                  <a:pt x="111" y="25"/>
                  <a:pt x="110" y="24"/>
                </a:cubicBezTo>
                <a:cubicBezTo>
                  <a:pt x="99" y="21"/>
                  <a:pt x="99" y="21"/>
                  <a:pt x="99" y="21"/>
                </a:cubicBezTo>
                <a:cubicBezTo>
                  <a:pt x="95" y="25"/>
                  <a:pt x="95" y="25"/>
                  <a:pt x="95" y="25"/>
                </a:cubicBezTo>
                <a:cubicBezTo>
                  <a:pt x="49" y="12"/>
                  <a:pt x="49" y="12"/>
                  <a:pt x="49" y="12"/>
                </a:cubicBezTo>
                <a:cubicBezTo>
                  <a:pt x="47" y="5"/>
                  <a:pt x="47" y="5"/>
                  <a:pt x="47" y="5"/>
                </a:cubicBezTo>
                <a:cubicBezTo>
                  <a:pt x="33" y="1"/>
                  <a:pt x="33" y="1"/>
                  <a:pt x="33" y="1"/>
                </a:cubicBezTo>
                <a:cubicBezTo>
                  <a:pt x="31" y="0"/>
                  <a:pt x="29" y="2"/>
                  <a:pt x="28" y="4"/>
                </a:cubicBezTo>
                <a:cubicBezTo>
                  <a:pt x="28" y="4"/>
                  <a:pt x="28" y="5"/>
                  <a:pt x="28" y="5"/>
                </a:cubicBezTo>
                <a:cubicBezTo>
                  <a:pt x="32" y="90"/>
                  <a:pt x="32" y="90"/>
                  <a:pt x="32" y="90"/>
                </a:cubicBezTo>
                <a:cubicBezTo>
                  <a:pt x="17" y="169"/>
                  <a:pt x="17" y="169"/>
                  <a:pt x="17" y="169"/>
                </a:cubicBezTo>
                <a:cubicBezTo>
                  <a:pt x="11" y="169"/>
                  <a:pt x="11" y="169"/>
                  <a:pt x="11" y="169"/>
                </a:cubicBezTo>
                <a:cubicBezTo>
                  <a:pt x="7" y="169"/>
                  <a:pt x="3" y="172"/>
                  <a:pt x="3" y="176"/>
                </a:cubicBezTo>
                <a:cubicBezTo>
                  <a:pt x="0" y="193"/>
                  <a:pt x="0" y="193"/>
                  <a:pt x="0" y="193"/>
                </a:cubicBezTo>
                <a:cubicBezTo>
                  <a:pt x="88" y="193"/>
                  <a:pt x="88" y="193"/>
                  <a:pt x="88" y="193"/>
                </a:cubicBezTo>
                <a:cubicBezTo>
                  <a:pt x="85" y="172"/>
                  <a:pt x="85" y="172"/>
                  <a:pt x="85" y="172"/>
                </a:cubicBezTo>
                <a:cubicBezTo>
                  <a:pt x="84" y="170"/>
                  <a:pt x="83" y="169"/>
                  <a:pt x="81" y="169"/>
                </a:cubicBezTo>
                <a:cubicBezTo>
                  <a:pt x="59" y="169"/>
                  <a:pt x="59" y="169"/>
                  <a:pt x="59" y="169"/>
                </a:cubicBezTo>
                <a:cubicBezTo>
                  <a:pt x="55" y="169"/>
                  <a:pt x="51" y="166"/>
                  <a:pt x="51" y="161"/>
                </a:cubicBezTo>
                <a:cubicBezTo>
                  <a:pt x="51" y="161"/>
                  <a:pt x="51" y="160"/>
                  <a:pt x="51" y="160"/>
                </a:cubicBezTo>
                <a:cubicBezTo>
                  <a:pt x="59" y="113"/>
                  <a:pt x="59" y="113"/>
                  <a:pt x="59" y="113"/>
                </a:cubicBezTo>
                <a:cubicBezTo>
                  <a:pt x="64" y="113"/>
                  <a:pt x="64" y="113"/>
                  <a:pt x="64" y="113"/>
                </a:cubicBezTo>
                <a:cubicBezTo>
                  <a:pt x="66" y="113"/>
                  <a:pt x="68" y="111"/>
                  <a:pt x="68" y="109"/>
                </a:cubicBezTo>
                <a:cubicBezTo>
                  <a:pt x="68" y="94"/>
                  <a:pt x="68" y="94"/>
                  <a:pt x="68" y="94"/>
                </a:cubicBezTo>
                <a:cubicBezTo>
                  <a:pt x="106" y="86"/>
                  <a:pt x="106" y="86"/>
                  <a:pt x="106" y="86"/>
                </a:cubicBezTo>
                <a:cubicBezTo>
                  <a:pt x="112" y="85"/>
                  <a:pt x="116" y="79"/>
                  <a:pt x="116" y="73"/>
                </a:cubicBezTo>
                <a:lnTo>
                  <a:pt x="113" y="28"/>
                </a:lnTo>
                <a:close/>
                <a:moveTo>
                  <a:pt x="52" y="41"/>
                </a:moveTo>
                <a:cubicBezTo>
                  <a:pt x="48" y="41"/>
                  <a:pt x="44" y="37"/>
                  <a:pt x="44" y="33"/>
                </a:cubicBezTo>
                <a:cubicBezTo>
                  <a:pt x="44" y="29"/>
                  <a:pt x="48" y="25"/>
                  <a:pt x="52" y="25"/>
                </a:cubicBezTo>
                <a:cubicBezTo>
                  <a:pt x="56" y="25"/>
                  <a:pt x="60" y="29"/>
                  <a:pt x="60" y="33"/>
                </a:cubicBezTo>
                <a:cubicBezTo>
                  <a:pt x="60" y="37"/>
                  <a:pt x="56" y="41"/>
                  <a:pt x="52" y="4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5" name="Freeform 64">
            <a:extLst>
              <a:ext uri="{FF2B5EF4-FFF2-40B4-BE49-F238E27FC236}">
                <a16:creationId xmlns:a16="http://schemas.microsoft.com/office/drawing/2014/main" id="{CC616D1F-1A43-45B1-8657-AA5373F48DB7}"/>
              </a:ext>
            </a:extLst>
          </p:cNvPr>
          <p:cNvSpPr>
            <a:spLocks noEditPoints="1"/>
          </p:cNvSpPr>
          <p:nvPr/>
        </p:nvSpPr>
        <p:spPr bwMode="gray">
          <a:xfrm>
            <a:off x="4161716" y="2036411"/>
            <a:ext cx="539452" cy="481654"/>
          </a:xfrm>
          <a:custGeom>
            <a:avLst/>
            <a:gdLst>
              <a:gd name="T0" fmla="*/ 1402 w 1536"/>
              <a:gd name="T1" fmla="*/ 301 h 1368"/>
              <a:gd name="T2" fmla="*/ 881 w 1536"/>
              <a:gd name="T3" fmla="*/ 136 h 1368"/>
              <a:gd name="T4" fmla="*/ 806 w 1536"/>
              <a:gd name="T5" fmla="*/ 165 h 1368"/>
              <a:gd name="T6" fmla="*/ 704 w 1536"/>
              <a:gd name="T7" fmla="*/ 344 h 1368"/>
              <a:gd name="T8" fmla="*/ 128 w 1536"/>
              <a:gd name="T9" fmla="*/ 344 h 1368"/>
              <a:gd name="T10" fmla="*/ 0 w 1536"/>
              <a:gd name="T11" fmla="*/ 472 h 1368"/>
              <a:gd name="T12" fmla="*/ 0 w 1536"/>
              <a:gd name="T13" fmla="*/ 1240 h 1368"/>
              <a:gd name="T14" fmla="*/ 128 w 1536"/>
              <a:gd name="T15" fmla="*/ 1368 h 1368"/>
              <a:gd name="T16" fmla="*/ 1408 w 1536"/>
              <a:gd name="T17" fmla="*/ 1368 h 1368"/>
              <a:gd name="T18" fmla="*/ 1536 w 1536"/>
              <a:gd name="T19" fmla="*/ 1240 h 1368"/>
              <a:gd name="T20" fmla="*/ 1536 w 1536"/>
              <a:gd name="T21" fmla="*/ 484 h 1368"/>
              <a:gd name="T22" fmla="*/ 1402 w 1536"/>
              <a:gd name="T23" fmla="*/ 301 h 1368"/>
              <a:gd name="T24" fmla="*/ 1408 w 1536"/>
              <a:gd name="T25" fmla="*/ 1112 h 1368"/>
              <a:gd name="T26" fmla="*/ 1344 w 1536"/>
              <a:gd name="T27" fmla="*/ 1176 h 1368"/>
              <a:gd name="T28" fmla="*/ 992 w 1536"/>
              <a:gd name="T29" fmla="*/ 1176 h 1368"/>
              <a:gd name="T30" fmla="*/ 928 w 1536"/>
              <a:gd name="T31" fmla="*/ 1112 h 1368"/>
              <a:gd name="T32" fmla="*/ 608 w 1536"/>
              <a:gd name="T33" fmla="*/ 1112 h 1368"/>
              <a:gd name="T34" fmla="*/ 544 w 1536"/>
              <a:gd name="T35" fmla="*/ 1176 h 1368"/>
              <a:gd name="T36" fmla="*/ 192 w 1536"/>
              <a:gd name="T37" fmla="*/ 1176 h 1368"/>
              <a:gd name="T38" fmla="*/ 128 w 1536"/>
              <a:gd name="T39" fmla="*/ 1112 h 1368"/>
              <a:gd name="T40" fmla="*/ 128 w 1536"/>
              <a:gd name="T41" fmla="*/ 600 h 1368"/>
              <a:gd name="T42" fmla="*/ 192 w 1536"/>
              <a:gd name="T43" fmla="*/ 536 h 1368"/>
              <a:gd name="T44" fmla="*/ 544 w 1536"/>
              <a:gd name="T45" fmla="*/ 536 h 1368"/>
              <a:gd name="T46" fmla="*/ 608 w 1536"/>
              <a:gd name="T47" fmla="*/ 600 h 1368"/>
              <a:gd name="T48" fmla="*/ 928 w 1536"/>
              <a:gd name="T49" fmla="*/ 600 h 1368"/>
              <a:gd name="T50" fmla="*/ 992 w 1536"/>
              <a:gd name="T51" fmla="*/ 536 h 1368"/>
              <a:gd name="T52" fmla="*/ 1344 w 1536"/>
              <a:gd name="T53" fmla="*/ 536 h 1368"/>
              <a:gd name="T54" fmla="*/ 1408 w 1536"/>
              <a:gd name="T55" fmla="*/ 600 h 1368"/>
              <a:gd name="T56" fmla="*/ 1408 w 1536"/>
              <a:gd name="T57" fmla="*/ 1112 h 1368"/>
              <a:gd name="T58" fmla="*/ 659 w 1536"/>
              <a:gd name="T59" fmla="*/ 308 h 1368"/>
              <a:gd name="T60" fmla="*/ 423 w 1536"/>
              <a:gd name="T61" fmla="*/ 175 h 1368"/>
              <a:gd name="T62" fmla="*/ 422 w 1536"/>
              <a:gd name="T63" fmla="*/ 170 h 1368"/>
              <a:gd name="T64" fmla="*/ 422 w 1536"/>
              <a:gd name="T65" fmla="*/ 170 h 1368"/>
              <a:gd name="T66" fmla="*/ 518 w 1536"/>
              <a:gd name="T67" fmla="*/ 0 h 1368"/>
              <a:gd name="T68" fmla="*/ 757 w 1536"/>
              <a:gd name="T69" fmla="*/ 135 h 1368"/>
              <a:gd name="T70" fmla="*/ 659 w 1536"/>
              <a:gd name="T71" fmla="*/ 308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36" h="1368">
                <a:moveTo>
                  <a:pt x="1402" y="301"/>
                </a:moveTo>
                <a:cubicBezTo>
                  <a:pt x="881" y="136"/>
                  <a:pt x="881" y="136"/>
                  <a:pt x="881" y="136"/>
                </a:cubicBezTo>
                <a:cubicBezTo>
                  <a:pt x="853" y="127"/>
                  <a:pt x="821" y="139"/>
                  <a:pt x="806" y="165"/>
                </a:cubicBezTo>
                <a:cubicBezTo>
                  <a:pt x="704" y="344"/>
                  <a:pt x="704" y="344"/>
                  <a:pt x="704" y="344"/>
                </a:cubicBezTo>
                <a:cubicBezTo>
                  <a:pt x="128" y="344"/>
                  <a:pt x="128" y="344"/>
                  <a:pt x="128" y="344"/>
                </a:cubicBezTo>
                <a:cubicBezTo>
                  <a:pt x="0" y="472"/>
                  <a:pt x="0" y="472"/>
                  <a:pt x="0" y="472"/>
                </a:cubicBezTo>
                <a:cubicBezTo>
                  <a:pt x="0" y="1240"/>
                  <a:pt x="0" y="1240"/>
                  <a:pt x="0" y="1240"/>
                </a:cubicBezTo>
                <a:cubicBezTo>
                  <a:pt x="128" y="1368"/>
                  <a:pt x="128" y="1368"/>
                  <a:pt x="128" y="1368"/>
                </a:cubicBezTo>
                <a:cubicBezTo>
                  <a:pt x="1408" y="1368"/>
                  <a:pt x="1408" y="1368"/>
                  <a:pt x="1408" y="1368"/>
                </a:cubicBezTo>
                <a:cubicBezTo>
                  <a:pt x="1536" y="1240"/>
                  <a:pt x="1536" y="1240"/>
                  <a:pt x="1536" y="1240"/>
                </a:cubicBezTo>
                <a:cubicBezTo>
                  <a:pt x="1536" y="484"/>
                  <a:pt x="1536" y="484"/>
                  <a:pt x="1536" y="484"/>
                </a:cubicBezTo>
                <a:cubicBezTo>
                  <a:pt x="1536" y="401"/>
                  <a:pt x="1482" y="327"/>
                  <a:pt x="1402" y="301"/>
                </a:cubicBezTo>
                <a:close/>
                <a:moveTo>
                  <a:pt x="1408" y="1112"/>
                </a:moveTo>
                <a:cubicBezTo>
                  <a:pt x="1344" y="1176"/>
                  <a:pt x="1344" y="1176"/>
                  <a:pt x="1344" y="1176"/>
                </a:cubicBezTo>
                <a:cubicBezTo>
                  <a:pt x="992" y="1176"/>
                  <a:pt x="992" y="1176"/>
                  <a:pt x="992" y="1176"/>
                </a:cubicBezTo>
                <a:cubicBezTo>
                  <a:pt x="928" y="1112"/>
                  <a:pt x="928" y="1112"/>
                  <a:pt x="928" y="1112"/>
                </a:cubicBezTo>
                <a:cubicBezTo>
                  <a:pt x="608" y="1112"/>
                  <a:pt x="608" y="1112"/>
                  <a:pt x="608" y="1112"/>
                </a:cubicBezTo>
                <a:cubicBezTo>
                  <a:pt x="544" y="1176"/>
                  <a:pt x="544" y="1176"/>
                  <a:pt x="544" y="1176"/>
                </a:cubicBezTo>
                <a:cubicBezTo>
                  <a:pt x="192" y="1176"/>
                  <a:pt x="192" y="1176"/>
                  <a:pt x="192" y="1176"/>
                </a:cubicBezTo>
                <a:cubicBezTo>
                  <a:pt x="128" y="1112"/>
                  <a:pt x="128" y="1112"/>
                  <a:pt x="128" y="1112"/>
                </a:cubicBezTo>
                <a:cubicBezTo>
                  <a:pt x="128" y="600"/>
                  <a:pt x="128" y="600"/>
                  <a:pt x="128" y="600"/>
                </a:cubicBezTo>
                <a:cubicBezTo>
                  <a:pt x="192" y="536"/>
                  <a:pt x="192" y="536"/>
                  <a:pt x="192" y="536"/>
                </a:cubicBezTo>
                <a:cubicBezTo>
                  <a:pt x="544" y="536"/>
                  <a:pt x="544" y="536"/>
                  <a:pt x="544" y="536"/>
                </a:cubicBezTo>
                <a:cubicBezTo>
                  <a:pt x="608" y="600"/>
                  <a:pt x="608" y="600"/>
                  <a:pt x="608" y="600"/>
                </a:cubicBezTo>
                <a:cubicBezTo>
                  <a:pt x="928" y="600"/>
                  <a:pt x="928" y="600"/>
                  <a:pt x="928" y="600"/>
                </a:cubicBezTo>
                <a:cubicBezTo>
                  <a:pt x="992" y="536"/>
                  <a:pt x="992" y="536"/>
                  <a:pt x="992" y="536"/>
                </a:cubicBezTo>
                <a:cubicBezTo>
                  <a:pt x="1344" y="536"/>
                  <a:pt x="1344" y="536"/>
                  <a:pt x="1344" y="536"/>
                </a:cubicBezTo>
                <a:cubicBezTo>
                  <a:pt x="1408" y="600"/>
                  <a:pt x="1408" y="600"/>
                  <a:pt x="1408" y="600"/>
                </a:cubicBezTo>
                <a:lnTo>
                  <a:pt x="1408" y="1112"/>
                </a:lnTo>
                <a:close/>
                <a:moveTo>
                  <a:pt x="659" y="308"/>
                </a:moveTo>
                <a:cubicBezTo>
                  <a:pt x="423" y="175"/>
                  <a:pt x="423" y="175"/>
                  <a:pt x="423" y="175"/>
                </a:cubicBezTo>
                <a:cubicBezTo>
                  <a:pt x="422" y="174"/>
                  <a:pt x="421" y="172"/>
                  <a:pt x="422" y="170"/>
                </a:cubicBezTo>
                <a:cubicBezTo>
                  <a:pt x="422" y="170"/>
                  <a:pt x="422" y="170"/>
                  <a:pt x="422" y="170"/>
                </a:cubicBezTo>
                <a:cubicBezTo>
                  <a:pt x="518" y="0"/>
                  <a:pt x="518" y="0"/>
                  <a:pt x="518" y="0"/>
                </a:cubicBezTo>
                <a:cubicBezTo>
                  <a:pt x="757" y="135"/>
                  <a:pt x="757" y="135"/>
                  <a:pt x="757" y="135"/>
                </a:cubicBezTo>
                <a:lnTo>
                  <a:pt x="659" y="30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74" name="Grafik 73">
            <a:extLst>
              <a:ext uri="{FF2B5EF4-FFF2-40B4-BE49-F238E27FC236}">
                <a16:creationId xmlns:a16="http://schemas.microsoft.com/office/drawing/2014/main" id="{F114CBE4-AEBE-4F9C-AA60-D44B8C06A9F4}"/>
              </a:ext>
            </a:extLst>
          </p:cNvPr>
          <p:cNvPicPr>
            <a:picLocks noChangeAspect="1"/>
          </p:cNvPicPr>
          <p:nvPr/>
        </p:nvPicPr>
        <p:blipFill>
          <a:blip r:embed="rId2"/>
          <a:stretch>
            <a:fillRect/>
          </a:stretch>
        </p:blipFill>
        <p:spPr bwMode="gray">
          <a:xfrm>
            <a:off x="6375108" y="5576720"/>
            <a:ext cx="566001" cy="457200"/>
          </a:xfrm>
          <a:prstGeom prst="rect">
            <a:avLst/>
          </a:prstGeom>
          <a:ln>
            <a:noFill/>
          </a:ln>
        </p:spPr>
      </p:pic>
      <p:sp>
        <p:nvSpPr>
          <p:cNvPr id="75" name="Freeform 14">
            <a:extLst>
              <a:ext uri="{FF2B5EF4-FFF2-40B4-BE49-F238E27FC236}">
                <a16:creationId xmlns:a16="http://schemas.microsoft.com/office/drawing/2014/main" id="{9B813FCD-099C-4B18-BEEA-000F154BBC09}"/>
              </a:ext>
            </a:extLst>
          </p:cNvPr>
          <p:cNvSpPr>
            <a:spLocks/>
          </p:cNvSpPr>
          <p:nvPr/>
        </p:nvSpPr>
        <p:spPr bwMode="gray">
          <a:xfrm>
            <a:off x="8723929" y="4466627"/>
            <a:ext cx="321691" cy="313226"/>
          </a:xfrm>
          <a:custGeom>
            <a:avLst/>
            <a:gdLst>
              <a:gd name="T0" fmla="*/ 76 w 76"/>
              <a:gd name="T1" fmla="*/ 11 h 74"/>
              <a:gd name="T2" fmla="*/ 64 w 76"/>
              <a:gd name="T3" fmla="*/ 0 h 74"/>
              <a:gd name="T4" fmla="*/ 38 w 76"/>
              <a:gd name="T5" fmla="*/ 25 h 74"/>
              <a:gd name="T6" fmla="*/ 11 w 76"/>
              <a:gd name="T7" fmla="*/ 0 h 74"/>
              <a:gd name="T8" fmla="*/ 0 w 76"/>
              <a:gd name="T9" fmla="*/ 11 h 74"/>
              <a:gd name="T10" fmla="*/ 26 w 76"/>
              <a:gd name="T11" fmla="*/ 37 h 74"/>
              <a:gd name="T12" fmla="*/ 0 w 76"/>
              <a:gd name="T13" fmla="*/ 63 h 74"/>
              <a:gd name="T14" fmla="*/ 11 w 76"/>
              <a:gd name="T15" fmla="*/ 74 h 74"/>
              <a:gd name="T16" fmla="*/ 38 w 76"/>
              <a:gd name="T17" fmla="*/ 48 h 74"/>
              <a:gd name="T18" fmla="*/ 64 w 76"/>
              <a:gd name="T19" fmla="*/ 74 h 74"/>
              <a:gd name="T20" fmla="*/ 76 w 76"/>
              <a:gd name="T21" fmla="*/ 63 h 74"/>
              <a:gd name="T22" fmla="*/ 49 w 76"/>
              <a:gd name="T23" fmla="*/ 37 h 74"/>
              <a:gd name="T24" fmla="*/ 76 w 76"/>
              <a:gd name="T25" fmla="*/ 1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74">
                <a:moveTo>
                  <a:pt x="76" y="11"/>
                </a:moveTo>
                <a:lnTo>
                  <a:pt x="64" y="0"/>
                </a:lnTo>
                <a:lnTo>
                  <a:pt x="38" y="25"/>
                </a:lnTo>
                <a:lnTo>
                  <a:pt x="11" y="0"/>
                </a:lnTo>
                <a:lnTo>
                  <a:pt x="0" y="11"/>
                </a:lnTo>
                <a:lnTo>
                  <a:pt x="26" y="37"/>
                </a:lnTo>
                <a:lnTo>
                  <a:pt x="0" y="63"/>
                </a:lnTo>
                <a:lnTo>
                  <a:pt x="11" y="74"/>
                </a:lnTo>
                <a:lnTo>
                  <a:pt x="38" y="48"/>
                </a:lnTo>
                <a:lnTo>
                  <a:pt x="64" y="74"/>
                </a:lnTo>
                <a:lnTo>
                  <a:pt x="76" y="63"/>
                </a:lnTo>
                <a:lnTo>
                  <a:pt x="49" y="37"/>
                </a:lnTo>
                <a:lnTo>
                  <a:pt x="76" y="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6" name="Freeform 12">
            <a:extLst>
              <a:ext uri="{FF2B5EF4-FFF2-40B4-BE49-F238E27FC236}">
                <a16:creationId xmlns:a16="http://schemas.microsoft.com/office/drawing/2014/main" id="{5955AD48-168E-46B7-AC69-769BDE17D997}"/>
              </a:ext>
            </a:extLst>
          </p:cNvPr>
          <p:cNvSpPr>
            <a:spLocks/>
          </p:cNvSpPr>
          <p:nvPr/>
        </p:nvSpPr>
        <p:spPr bwMode="gray">
          <a:xfrm>
            <a:off x="9800154" y="4429454"/>
            <a:ext cx="395906" cy="387572"/>
          </a:xfrm>
          <a:custGeom>
            <a:avLst/>
            <a:gdLst>
              <a:gd name="T0" fmla="*/ 95 w 95"/>
              <a:gd name="T1" fmla="*/ 37 h 93"/>
              <a:gd name="T2" fmla="*/ 57 w 95"/>
              <a:gd name="T3" fmla="*/ 37 h 93"/>
              <a:gd name="T4" fmla="*/ 57 w 95"/>
              <a:gd name="T5" fmla="*/ 0 h 93"/>
              <a:gd name="T6" fmla="*/ 38 w 95"/>
              <a:gd name="T7" fmla="*/ 0 h 93"/>
              <a:gd name="T8" fmla="*/ 38 w 95"/>
              <a:gd name="T9" fmla="*/ 37 h 93"/>
              <a:gd name="T10" fmla="*/ 0 w 95"/>
              <a:gd name="T11" fmla="*/ 37 h 93"/>
              <a:gd name="T12" fmla="*/ 0 w 95"/>
              <a:gd name="T13" fmla="*/ 56 h 93"/>
              <a:gd name="T14" fmla="*/ 38 w 95"/>
              <a:gd name="T15" fmla="*/ 56 h 93"/>
              <a:gd name="T16" fmla="*/ 38 w 95"/>
              <a:gd name="T17" fmla="*/ 93 h 93"/>
              <a:gd name="T18" fmla="*/ 57 w 95"/>
              <a:gd name="T19" fmla="*/ 93 h 93"/>
              <a:gd name="T20" fmla="*/ 57 w 95"/>
              <a:gd name="T21" fmla="*/ 56 h 93"/>
              <a:gd name="T22" fmla="*/ 95 w 95"/>
              <a:gd name="T23" fmla="*/ 56 h 93"/>
              <a:gd name="T24" fmla="*/ 95 w 95"/>
              <a:gd name="T25" fmla="*/ 3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93">
                <a:moveTo>
                  <a:pt x="95" y="37"/>
                </a:moveTo>
                <a:lnTo>
                  <a:pt x="57" y="37"/>
                </a:lnTo>
                <a:lnTo>
                  <a:pt x="57" y="0"/>
                </a:lnTo>
                <a:lnTo>
                  <a:pt x="38" y="0"/>
                </a:lnTo>
                <a:lnTo>
                  <a:pt x="38" y="37"/>
                </a:lnTo>
                <a:lnTo>
                  <a:pt x="0" y="37"/>
                </a:lnTo>
                <a:lnTo>
                  <a:pt x="0" y="56"/>
                </a:lnTo>
                <a:lnTo>
                  <a:pt x="38" y="56"/>
                </a:lnTo>
                <a:lnTo>
                  <a:pt x="38" y="93"/>
                </a:lnTo>
                <a:lnTo>
                  <a:pt x="57" y="93"/>
                </a:lnTo>
                <a:lnTo>
                  <a:pt x="57" y="56"/>
                </a:lnTo>
                <a:lnTo>
                  <a:pt x="95" y="56"/>
                </a:lnTo>
                <a:lnTo>
                  <a:pt x="95" y="3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77" name="Grafik 76">
            <a:extLst>
              <a:ext uri="{FF2B5EF4-FFF2-40B4-BE49-F238E27FC236}">
                <a16:creationId xmlns:a16="http://schemas.microsoft.com/office/drawing/2014/main" id="{6EFB9DA4-07DA-4AE5-9D56-6D7A9348B873}"/>
              </a:ext>
            </a:extLst>
          </p:cNvPr>
          <p:cNvPicPr>
            <a:picLocks noChangeAspect="1"/>
          </p:cNvPicPr>
          <p:nvPr/>
        </p:nvPicPr>
        <p:blipFill>
          <a:blip r:embed="rId3"/>
          <a:stretch>
            <a:fillRect/>
          </a:stretch>
        </p:blipFill>
        <p:spPr bwMode="gray">
          <a:xfrm>
            <a:off x="3044467" y="5584279"/>
            <a:ext cx="547284" cy="442082"/>
          </a:xfrm>
          <a:prstGeom prst="rect">
            <a:avLst/>
          </a:prstGeom>
          <a:ln>
            <a:noFill/>
          </a:ln>
        </p:spPr>
      </p:pic>
      <p:pic>
        <p:nvPicPr>
          <p:cNvPr id="78" name="Grafik 77">
            <a:extLst>
              <a:ext uri="{FF2B5EF4-FFF2-40B4-BE49-F238E27FC236}">
                <a16:creationId xmlns:a16="http://schemas.microsoft.com/office/drawing/2014/main" id="{C82D2E20-AA7C-4392-8469-F1C7583BCE08}"/>
              </a:ext>
            </a:extLst>
          </p:cNvPr>
          <p:cNvPicPr>
            <a:picLocks noChangeAspect="1"/>
          </p:cNvPicPr>
          <p:nvPr/>
        </p:nvPicPr>
        <p:blipFill>
          <a:blip r:embed="rId4"/>
          <a:stretch>
            <a:fillRect/>
          </a:stretch>
        </p:blipFill>
        <p:spPr bwMode="gray">
          <a:xfrm>
            <a:off x="5257406" y="5573191"/>
            <a:ext cx="574739" cy="464259"/>
          </a:xfrm>
          <a:prstGeom prst="rect">
            <a:avLst/>
          </a:prstGeom>
          <a:ln>
            <a:noFill/>
          </a:ln>
        </p:spPr>
      </p:pic>
      <p:pic>
        <p:nvPicPr>
          <p:cNvPr id="79" name="Grafik 78">
            <a:extLst>
              <a:ext uri="{FF2B5EF4-FFF2-40B4-BE49-F238E27FC236}">
                <a16:creationId xmlns:a16="http://schemas.microsoft.com/office/drawing/2014/main" id="{CE6C03E7-1F5F-441D-98B2-3574A71D696A}"/>
              </a:ext>
            </a:extLst>
          </p:cNvPr>
          <p:cNvPicPr>
            <a:picLocks noChangeAspect="1"/>
          </p:cNvPicPr>
          <p:nvPr/>
        </p:nvPicPr>
        <p:blipFill>
          <a:blip r:embed="rId5"/>
          <a:stretch>
            <a:fillRect/>
          </a:stretch>
        </p:blipFill>
        <p:spPr bwMode="gray">
          <a:xfrm>
            <a:off x="4147335" y="5575826"/>
            <a:ext cx="568214" cy="458989"/>
          </a:xfrm>
          <a:prstGeom prst="rect">
            <a:avLst/>
          </a:prstGeom>
          <a:ln>
            <a:noFill/>
          </a:ln>
        </p:spPr>
      </p:pic>
      <p:sp>
        <p:nvSpPr>
          <p:cNvPr id="80" name="Freeform 293">
            <a:extLst>
              <a:ext uri="{FF2B5EF4-FFF2-40B4-BE49-F238E27FC236}">
                <a16:creationId xmlns:a16="http://schemas.microsoft.com/office/drawing/2014/main" id="{C21B7358-D70C-45E2-9965-0DB59DAC9782}"/>
              </a:ext>
            </a:extLst>
          </p:cNvPr>
          <p:cNvSpPr>
            <a:spLocks/>
          </p:cNvSpPr>
          <p:nvPr/>
        </p:nvSpPr>
        <p:spPr bwMode="gray">
          <a:xfrm>
            <a:off x="10951572" y="4351356"/>
            <a:ext cx="319736" cy="543768"/>
          </a:xfrm>
          <a:custGeom>
            <a:avLst/>
            <a:gdLst>
              <a:gd name="T0" fmla="*/ 12 w 904"/>
              <a:gd name="T1" fmla="*/ 795 h 1536"/>
              <a:gd name="T2" fmla="*/ 542 w 904"/>
              <a:gd name="T3" fmla="*/ 54 h 1536"/>
              <a:gd name="T4" fmla="*/ 646 w 904"/>
              <a:gd name="T5" fmla="*/ 0 h 1536"/>
              <a:gd name="T6" fmla="*/ 708 w 904"/>
              <a:gd name="T7" fmla="*/ 0 h 1536"/>
              <a:gd name="T8" fmla="*/ 452 w 904"/>
              <a:gd name="T9" fmla="*/ 640 h 1536"/>
              <a:gd name="T10" fmla="*/ 840 w 904"/>
              <a:gd name="T11" fmla="*/ 640 h 1536"/>
              <a:gd name="T12" fmla="*/ 904 w 904"/>
              <a:gd name="T13" fmla="*/ 704 h 1536"/>
              <a:gd name="T14" fmla="*/ 892 w 904"/>
              <a:gd name="T15" fmla="*/ 741 h 1536"/>
              <a:gd name="T16" fmla="*/ 362 w 904"/>
              <a:gd name="T17" fmla="*/ 1482 h 1536"/>
              <a:gd name="T18" fmla="*/ 258 w 904"/>
              <a:gd name="T19" fmla="*/ 1536 h 1536"/>
              <a:gd name="T20" fmla="*/ 196 w 904"/>
              <a:gd name="T21" fmla="*/ 1536 h 1536"/>
              <a:gd name="T22" fmla="*/ 452 w 904"/>
              <a:gd name="T23" fmla="*/ 896 h 1536"/>
              <a:gd name="T24" fmla="*/ 64 w 904"/>
              <a:gd name="T25" fmla="*/ 896 h 1536"/>
              <a:gd name="T26" fmla="*/ 0 w 904"/>
              <a:gd name="T27" fmla="*/ 832 h 1536"/>
              <a:gd name="T28" fmla="*/ 12 w 904"/>
              <a:gd name="T29" fmla="*/ 795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4" h="1536">
                <a:moveTo>
                  <a:pt x="12" y="795"/>
                </a:moveTo>
                <a:cubicBezTo>
                  <a:pt x="542" y="54"/>
                  <a:pt x="542" y="54"/>
                  <a:pt x="542" y="54"/>
                </a:cubicBezTo>
                <a:cubicBezTo>
                  <a:pt x="566" y="20"/>
                  <a:pt x="604" y="0"/>
                  <a:pt x="646" y="0"/>
                </a:cubicBezTo>
                <a:cubicBezTo>
                  <a:pt x="708" y="0"/>
                  <a:pt x="708" y="0"/>
                  <a:pt x="708" y="0"/>
                </a:cubicBezTo>
                <a:cubicBezTo>
                  <a:pt x="452" y="640"/>
                  <a:pt x="452" y="640"/>
                  <a:pt x="452" y="640"/>
                </a:cubicBezTo>
                <a:cubicBezTo>
                  <a:pt x="840" y="640"/>
                  <a:pt x="840" y="640"/>
                  <a:pt x="840" y="640"/>
                </a:cubicBezTo>
                <a:cubicBezTo>
                  <a:pt x="875" y="640"/>
                  <a:pt x="904" y="669"/>
                  <a:pt x="904" y="704"/>
                </a:cubicBezTo>
                <a:cubicBezTo>
                  <a:pt x="904" y="717"/>
                  <a:pt x="899" y="730"/>
                  <a:pt x="892" y="741"/>
                </a:cubicBezTo>
                <a:cubicBezTo>
                  <a:pt x="362" y="1482"/>
                  <a:pt x="362" y="1482"/>
                  <a:pt x="362" y="1482"/>
                </a:cubicBezTo>
                <a:cubicBezTo>
                  <a:pt x="338" y="1516"/>
                  <a:pt x="300" y="1536"/>
                  <a:pt x="258" y="1536"/>
                </a:cubicBezTo>
                <a:cubicBezTo>
                  <a:pt x="196" y="1536"/>
                  <a:pt x="196" y="1536"/>
                  <a:pt x="196" y="1536"/>
                </a:cubicBezTo>
                <a:cubicBezTo>
                  <a:pt x="452" y="896"/>
                  <a:pt x="452" y="896"/>
                  <a:pt x="452" y="896"/>
                </a:cubicBezTo>
                <a:cubicBezTo>
                  <a:pt x="64" y="896"/>
                  <a:pt x="64" y="896"/>
                  <a:pt x="64" y="896"/>
                </a:cubicBezTo>
                <a:cubicBezTo>
                  <a:pt x="29" y="896"/>
                  <a:pt x="0" y="867"/>
                  <a:pt x="0" y="832"/>
                </a:cubicBezTo>
                <a:cubicBezTo>
                  <a:pt x="0" y="819"/>
                  <a:pt x="5" y="806"/>
                  <a:pt x="12" y="79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1" name="Freeform 297">
            <a:extLst>
              <a:ext uri="{FF2B5EF4-FFF2-40B4-BE49-F238E27FC236}">
                <a16:creationId xmlns:a16="http://schemas.microsoft.com/office/drawing/2014/main" id="{E3964830-CAAF-4CD2-8B59-5D8E8E7C26EB}"/>
              </a:ext>
            </a:extLst>
          </p:cNvPr>
          <p:cNvSpPr>
            <a:spLocks noEditPoints="1"/>
          </p:cNvSpPr>
          <p:nvPr/>
        </p:nvSpPr>
        <p:spPr bwMode="gray">
          <a:xfrm>
            <a:off x="848552" y="5537511"/>
            <a:ext cx="492598" cy="535618"/>
          </a:xfrm>
          <a:custGeom>
            <a:avLst/>
            <a:gdLst>
              <a:gd name="T0" fmla="*/ 1408 w 1408"/>
              <a:gd name="T1" fmla="*/ 256 h 1536"/>
              <a:gd name="T2" fmla="*/ 1024 w 1408"/>
              <a:gd name="T3" fmla="*/ 640 h 1536"/>
              <a:gd name="T4" fmla="*/ 1092 w 1408"/>
              <a:gd name="T5" fmla="*/ 640 h 1536"/>
              <a:gd name="T6" fmla="*/ 1156 w 1408"/>
              <a:gd name="T7" fmla="*/ 704 h 1536"/>
              <a:gd name="T8" fmla="*/ 1144 w 1408"/>
              <a:gd name="T9" fmla="*/ 741 h 1536"/>
              <a:gd name="T10" fmla="*/ 614 w 1408"/>
              <a:gd name="T11" fmla="*/ 1482 h 1536"/>
              <a:gd name="T12" fmla="*/ 510 w 1408"/>
              <a:gd name="T13" fmla="*/ 1536 h 1536"/>
              <a:gd name="T14" fmla="*/ 448 w 1408"/>
              <a:gd name="T15" fmla="*/ 1536 h 1536"/>
              <a:gd name="T16" fmla="*/ 661 w 1408"/>
              <a:gd name="T17" fmla="*/ 1003 h 1536"/>
              <a:gd name="T18" fmla="*/ 192 w 1408"/>
              <a:gd name="T19" fmla="*/ 1472 h 1536"/>
              <a:gd name="T20" fmla="*/ 0 w 1408"/>
              <a:gd name="T21" fmla="*/ 1472 h 1536"/>
              <a:gd name="T22" fmla="*/ 1408 w 1408"/>
              <a:gd name="T23" fmla="*/ 64 h 1536"/>
              <a:gd name="T24" fmla="*/ 1408 w 1408"/>
              <a:gd name="T25" fmla="*/ 256 h 1536"/>
              <a:gd name="T26" fmla="*/ 316 w 1408"/>
              <a:gd name="T27" fmla="*/ 896 h 1536"/>
              <a:gd name="T28" fmla="*/ 416 w 1408"/>
              <a:gd name="T29" fmla="*/ 896 h 1536"/>
              <a:gd name="T30" fmla="*/ 725 w 1408"/>
              <a:gd name="T31" fmla="*/ 587 h 1536"/>
              <a:gd name="T32" fmla="*/ 960 w 1408"/>
              <a:gd name="T33" fmla="*/ 0 h 1536"/>
              <a:gd name="T34" fmla="*/ 898 w 1408"/>
              <a:gd name="T35" fmla="*/ 0 h 1536"/>
              <a:gd name="T36" fmla="*/ 794 w 1408"/>
              <a:gd name="T37" fmla="*/ 54 h 1536"/>
              <a:gd name="T38" fmla="*/ 264 w 1408"/>
              <a:gd name="T39" fmla="*/ 795 h 1536"/>
              <a:gd name="T40" fmla="*/ 279 w 1408"/>
              <a:gd name="T41" fmla="*/ 884 h 1536"/>
              <a:gd name="T42" fmla="*/ 316 w 1408"/>
              <a:gd name="T43" fmla="*/ 896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08" h="1536">
                <a:moveTo>
                  <a:pt x="1408" y="256"/>
                </a:moveTo>
                <a:cubicBezTo>
                  <a:pt x="1024" y="640"/>
                  <a:pt x="1024" y="640"/>
                  <a:pt x="1024" y="640"/>
                </a:cubicBezTo>
                <a:cubicBezTo>
                  <a:pt x="1092" y="640"/>
                  <a:pt x="1092" y="640"/>
                  <a:pt x="1092" y="640"/>
                </a:cubicBezTo>
                <a:cubicBezTo>
                  <a:pt x="1127" y="640"/>
                  <a:pt x="1156" y="669"/>
                  <a:pt x="1156" y="704"/>
                </a:cubicBezTo>
                <a:cubicBezTo>
                  <a:pt x="1156" y="717"/>
                  <a:pt x="1151" y="730"/>
                  <a:pt x="1144" y="741"/>
                </a:cubicBezTo>
                <a:cubicBezTo>
                  <a:pt x="614" y="1482"/>
                  <a:pt x="614" y="1482"/>
                  <a:pt x="614" y="1482"/>
                </a:cubicBezTo>
                <a:cubicBezTo>
                  <a:pt x="590" y="1516"/>
                  <a:pt x="552" y="1536"/>
                  <a:pt x="510" y="1536"/>
                </a:cubicBezTo>
                <a:cubicBezTo>
                  <a:pt x="448" y="1536"/>
                  <a:pt x="448" y="1536"/>
                  <a:pt x="448" y="1536"/>
                </a:cubicBezTo>
                <a:cubicBezTo>
                  <a:pt x="661" y="1003"/>
                  <a:pt x="661" y="1003"/>
                  <a:pt x="661" y="1003"/>
                </a:cubicBezTo>
                <a:cubicBezTo>
                  <a:pt x="192" y="1472"/>
                  <a:pt x="192" y="1472"/>
                  <a:pt x="192" y="1472"/>
                </a:cubicBezTo>
                <a:cubicBezTo>
                  <a:pt x="0" y="1472"/>
                  <a:pt x="0" y="1472"/>
                  <a:pt x="0" y="1472"/>
                </a:cubicBezTo>
                <a:cubicBezTo>
                  <a:pt x="1408" y="64"/>
                  <a:pt x="1408" y="64"/>
                  <a:pt x="1408" y="64"/>
                </a:cubicBezTo>
                <a:lnTo>
                  <a:pt x="1408" y="256"/>
                </a:lnTo>
                <a:close/>
                <a:moveTo>
                  <a:pt x="316" y="896"/>
                </a:moveTo>
                <a:cubicBezTo>
                  <a:pt x="416" y="896"/>
                  <a:pt x="416" y="896"/>
                  <a:pt x="416" y="896"/>
                </a:cubicBezTo>
                <a:cubicBezTo>
                  <a:pt x="725" y="587"/>
                  <a:pt x="725" y="587"/>
                  <a:pt x="725" y="587"/>
                </a:cubicBezTo>
                <a:cubicBezTo>
                  <a:pt x="960" y="0"/>
                  <a:pt x="960" y="0"/>
                  <a:pt x="960" y="0"/>
                </a:cubicBezTo>
                <a:cubicBezTo>
                  <a:pt x="898" y="0"/>
                  <a:pt x="898" y="0"/>
                  <a:pt x="898" y="0"/>
                </a:cubicBezTo>
                <a:cubicBezTo>
                  <a:pt x="857" y="0"/>
                  <a:pt x="818" y="20"/>
                  <a:pt x="794" y="54"/>
                </a:cubicBezTo>
                <a:cubicBezTo>
                  <a:pt x="264" y="795"/>
                  <a:pt x="264" y="795"/>
                  <a:pt x="264" y="795"/>
                </a:cubicBezTo>
                <a:cubicBezTo>
                  <a:pt x="244" y="824"/>
                  <a:pt x="250" y="864"/>
                  <a:pt x="279" y="884"/>
                </a:cubicBezTo>
                <a:cubicBezTo>
                  <a:pt x="290" y="892"/>
                  <a:pt x="303" y="896"/>
                  <a:pt x="316" y="89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82" name="Grafik 81">
            <a:extLst>
              <a:ext uri="{FF2B5EF4-FFF2-40B4-BE49-F238E27FC236}">
                <a16:creationId xmlns:a16="http://schemas.microsoft.com/office/drawing/2014/main" id="{4990A0A3-D31B-4A0F-AD45-59F40970C96D}"/>
              </a:ext>
            </a:extLst>
          </p:cNvPr>
          <p:cNvPicPr>
            <a:picLocks noChangeAspect="1"/>
          </p:cNvPicPr>
          <p:nvPr/>
        </p:nvPicPr>
        <p:blipFill>
          <a:blip r:embed="rId6"/>
          <a:stretch>
            <a:fillRect/>
          </a:stretch>
        </p:blipFill>
        <p:spPr bwMode="gray">
          <a:xfrm>
            <a:off x="7573149" y="5607320"/>
            <a:ext cx="396585" cy="396000"/>
          </a:xfrm>
          <a:prstGeom prst="rect">
            <a:avLst/>
          </a:prstGeom>
          <a:ln>
            <a:noFill/>
          </a:ln>
        </p:spPr>
      </p:pic>
      <p:pic>
        <p:nvPicPr>
          <p:cNvPr id="83" name="Grafik 82">
            <a:extLst>
              <a:ext uri="{FF2B5EF4-FFF2-40B4-BE49-F238E27FC236}">
                <a16:creationId xmlns:a16="http://schemas.microsoft.com/office/drawing/2014/main" id="{5741805C-6E39-4D84-BEF2-3EFB230218AF}"/>
              </a:ext>
            </a:extLst>
          </p:cNvPr>
          <p:cNvPicPr>
            <a:picLocks noChangeAspect="1"/>
          </p:cNvPicPr>
          <p:nvPr/>
        </p:nvPicPr>
        <p:blipFill>
          <a:blip r:embed="rId7"/>
          <a:stretch>
            <a:fillRect/>
          </a:stretch>
        </p:blipFill>
        <p:spPr bwMode="gray">
          <a:xfrm>
            <a:off x="8686482" y="5607320"/>
            <a:ext cx="396585" cy="396000"/>
          </a:xfrm>
          <a:prstGeom prst="rect">
            <a:avLst/>
          </a:prstGeom>
          <a:ln>
            <a:noFill/>
          </a:ln>
        </p:spPr>
      </p:pic>
      <p:sp>
        <p:nvSpPr>
          <p:cNvPr id="84" name="Freeform 301">
            <a:extLst>
              <a:ext uri="{FF2B5EF4-FFF2-40B4-BE49-F238E27FC236}">
                <a16:creationId xmlns:a16="http://schemas.microsoft.com/office/drawing/2014/main" id="{58A1C5C2-8C52-4268-953F-27BB9982FAF2}"/>
              </a:ext>
            </a:extLst>
          </p:cNvPr>
          <p:cNvSpPr>
            <a:spLocks noEditPoints="1"/>
          </p:cNvSpPr>
          <p:nvPr/>
        </p:nvSpPr>
        <p:spPr bwMode="gray">
          <a:xfrm>
            <a:off x="2006339" y="5607676"/>
            <a:ext cx="396875" cy="395288"/>
          </a:xfrm>
          <a:custGeom>
            <a:avLst/>
            <a:gdLst>
              <a:gd name="T0" fmla="*/ 672 w 1344"/>
              <a:gd name="T1" fmla="*/ 0 h 1344"/>
              <a:gd name="T2" fmla="*/ 0 w 1344"/>
              <a:gd name="T3" fmla="*/ 672 h 1344"/>
              <a:gd name="T4" fmla="*/ 672 w 1344"/>
              <a:gd name="T5" fmla="*/ 1344 h 1344"/>
              <a:gd name="T6" fmla="*/ 1344 w 1344"/>
              <a:gd name="T7" fmla="*/ 672 h 1344"/>
              <a:gd name="T8" fmla="*/ 672 w 1344"/>
              <a:gd name="T9" fmla="*/ 0 h 1344"/>
              <a:gd name="T10" fmla="*/ 672 w 1344"/>
              <a:gd name="T11" fmla="*/ 192 h 1344"/>
              <a:gd name="T12" fmla="*/ 936 w 1344"/>
              <a:gd name="T13" fmla="*/ 272 h 1344"/>
              <a:gd name="T14" fmla="*/ 272 w 1344"/>
              <a:gd name="T15" fmla="*/ 936 h 1344"/>
              <a:gd name="T16" fmla="*/ 407 w 1344"/>
              <a:gd name="T17" fmla="*/ 272 h 1344"/>
              <a:gd name="T18" fmla="*/ 672 w 1344"/>
              <a:gd name="T19" fmla="*/ 192 h 1344"/>
              <a:gd name="T20" fmla="*/ 672 w 1344"/>
              <a:gd name="T21" fmla="*/ 1152 h 1344"/>
              <a:gd name="T22" fmla="*/ 408 w 1344"/>
              <a:gd name="T23" fmla="*/ 1072 h 1344"/>
              <a:gd name="T24" fmla="*/ 1072 w 1344"/>
              <a:gd name="T25" fmla="*/ 408 h 1344"/>
              <a:gd name="T26" fmla="*/ 937 w 1344"/>
              <a:gd name="T27" fmla="*/ 1072 h 1344"/>
              <a:gd name="T28" fmla="*/ 672 w 1344"/>
              <a:gd name="T29" fmla="*/ 1152 h 1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44" h="1344">
                <a:moveTo>
                  <a:pt x="672" y="0"/>
                </a:moveTo>
                <a:cubicBezTo>
                  <a:pt x="301" y="0"/>
                  <a:pt x="0" y="301"/>
                  <a:pt x="0" y="672"/>
                </a:cubicBezTo>
                <a:cubicBezTo>
                  <a:pt x="0" y="1043"/>
                  <a:pt x="301" y="1344"/>
                  <a:pt x="672" y="1344"/>
                </a:cubicBezTo>
                <a:cubicBezTo>
                  <a:pt x="1043" y="1344"/>
                  <a:pt x="1344" y="1043"/>
                  <a:pt x="1344" y="672"/>
                </a:cubicBezTo>
                <a:cubicBezTo>
                  <a:pt x="1344" y="301"/>
                  <a:pt x="1043" y="0"/>
                  <a:pt x="672" y="0"/>
                </a:cubicBezTo>
                <a:close/>
                <a:moveTo>
                  <a:pt x="672" y="192"/>
                </a:moveTo>
                <a:cubicBezTo>
                  <a:pt x="766" y="192"/>
                  <a:pt x="858" y="220"/>
                  <a:pt x="936" y="272"/>
                </a:cubicBezTo>
                <a:cubicBezTo>
                  <a:pt x="272" y="936"/>
                  <a:pt x="272" y="936"/>
                  <a:pt x="272" y="936"/>
                </a:cubicBezTo>
                <a:cubicBezTo>
                  <a:pt x="126" y="716"/>
                  <a:pt x="186" y="418"/>
                  <a:pt x="407" y="272"/>
                </a:cubicBezTo>
                <a:cubicBezTo>
                  <a:pt x="485" y="220"/>
                  <a:pt x="578" y="192"/>
                  <a:pt x="672" y="192"/>
                </a:cubicBezTo>
                <a:close/>
                <a:moveTo>
                  <a:pt x="672" y="1152"/>
                </a:moveTo>
                <a:cubicBezTo>
                  <a:pt x="578" y="1152"/>
                  <a:pt x="486" y="1124"/>
                  <a:pt x="408" y="1072"/>
                </a:cubicBezTo>
                <a:cubicBezTo>
                  <a:pt x="1072" y="408"/>
                  <a:pt x="1072" y="408"/>
                  <a:pt x="1072" y="408"/>
                </a:cubicBezTo>
                <a:cubicBezTo>
                  <a:pt x="1218" y="628"/>
                  <a:pt x="1158" y="926"/>
                  <a:pt x="937" y="1072"/>
                </a:cubicBezTo>
                <a:cubicBezTo>
                  <a:pt x="859" y="1124"/>
                  <a:pt x="766" y="1152"/>
                  <a:pt x="672" y="1152"/>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 name="Fußzeilenplatzhalter 2">
            <a:extLst>
              <a:ext uri="{FF2B5EF4-FFF2-40B4-BE49-F238E27FC236}">
                <a16:creationId xmlns:a16="http://schemas.microsoft.com/office/drawing/2014/main" id="{9A0A6A82-CFF6-47A2-B46D-A93D4D18AB79}"/>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4" name="Foliennummernplatzhalter 3">
            <a:extLst>
              <a:ext uri="{FF2B5EF4-FFF2-40B4-BE49-F238E27FC236}">
                <a16:creationId xmlns:a16="http://schemas.microsoft.com/office/drawing/2014/main" id="{A09C087C-CB8F-4694-A339-543DD69E077B}"/>
              </a:ext>
            </a:extLst>
          </p:cNvPr>
          <p:cNvSpPr>
            <a:spLocks noGrp="1"/>
          </p:cNvSpPr>
          <p:nvPr>
            <p:ph type="sldNum" sz="quarter" idx="12"/>
          </p:nvPr>
        </p:nvSpPr>
        <p:spPr/>
        <p:txBody>
          <a:bodyPr/>
          <a:lstStyle/>
          <a:p>
            <a:fld id="{CE82B8A1-0CCE-4815-9668-383D7DE7D8B4}" type="slidenum">
              <a:rPr lang="en-US" noProof="0" smtClean="0"/>
              <a:t>129</a:t>
            </a:fld>
            <a:endParaRPr lang="en-US" noProof="0" dirty="0"/>
          </a:p>
        </p:txBody>
      </p:sp>
    </p:spTree>
    <p:extLst>
      <p:ext uri="{BB962C8B-B14F-4D97-AF65-F5344CB8AC3E}">
        <p14:creationId xmlns:p14="http://schemas.microsoft.com/office/powerpoint/2010/main" val="37635409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221C35-E239-47A9-8006-6D1714EA3BD5}"/>
              </a:ext>
            </a:extLst>
          </p:cNvPr>
          <p:cNvSpPr>
            <a:spLocks noGrp="1"/>
          </p:cNvSpPr>
          <p:nvPr>
            <p:ph type="title"/>
          </p:nvPr>
        </p:nvSpPr>
        <p:spPr bwMode="gray"/>
        <p:txBody>
          <a:bodyPr/>
          <a:lstStyle/>
          <a:p>
            <a:r>
              <a:rPr lang="en-US" dirty="0"/>
              <a:t>Lorem ipsum dolor sit amet, consectetuer adipiscing elit</a:t>
            </a:r>
          </a:p>
        </p:txBody>
      </p:sp>
      <p:sp>
        <p:nvSpPr>
          <p:cNvPr id="3" name="Inhaltsplatzhalter 2">
            <a:extLst>
              <a:ext uri="{FF2B5EF4-FFF2-40B4-BE49-F238E27FC236}">
                <a16:creationId xmlns:a16="http://schemas.microsoft.com/office/drawing/2014/main" id="{0CDA63BB-D346-4A22-8A60-E1AE8506E391}"/>
              </a:ext>
            </a:extLst>
          </p:cNvPr>
          <p:cNvSpPr>
            <a:spLocks noGrp="1"/>
          </p:cNvSpPr>
          <p:nvPr>
            <p:ph sz="quarter" idx="13"/>
          </p:nvPr>
        </p:nvSpPr>
        <p:spPr bwMode="gray"/>
        <p:txBody>
          <a:bodyPr/>
          <a:lstStyle/>
          <a:p>
            <a:r>
              <a:rPr lang="en-US" dirty="0"/>
              <a:t>Lorem ipsum dolor sit amet, consectetuer adipiscing elit</a:t>
            </a:r>
          </a:p>
          <a:p>
            <a:pPr lvl="1"/>
            <a:r>
              <a:rPr lang="en-US" dirty="0"/>
              <a:t>Maecenas porttitor congue massa. Fusce posuere, magna sed pulvinar ultricies, purus</a:t>
            </a:r>
          </a:p>
          <a:p>
            <a:pPr lvl="2"/>
            <a:r>
              <a:rPr lang="en-US" dirty="0"/>
              <a:t>Nunc viverra imperdiet enim. Fusce est. Vivamus a tellus.</a:t>
            </a:r>
          </a:p>
          <a:p>
            <a:pPr lvl="2"/>
            <a:r>
              <a:rPr lang="en-US" dirty="0"/>
              <a:t>Pellentesque habitant morbi tristique senectus et netus et malesuada</a:t>
            </a:r>
          </a:p>
          <a:p>
            <a:pPr lvl="3"/>
            <a:r>
              <a:rPr lang="en-US" dirty="0"/>
              <a:t>fames ac turpis egestas. Proin pharetra nonummy pede. Mauris et orci.</a:t>
            </a:r>
          </a:p>
          <a:p>
            <a:endParaRPr lang="en-US" dirty="0"/>
          </a:p>
        </p:txBody>
      </p:sp>
      <p:sp>
        <p:nvSpPr>
          <p:cNvPr id="4" name="Inhaltsplatzhalter 3">
            <a:extLst>
              <a:ext uri="{FF2B5EF4-FFF2-40B4-BE49-F238E27FC236}">
                <a16:creationId xmlns:a16="http://schemas.microsoft.com/office/drawing/2014/main" id="{A7BB79DE-C740-4AEE-A127-18D27E05944F}"/>
              </a:ext>
            </a:extLst>
          </p:cNvPr>
          <p:cNvSpPr>
            <a:spLocks noGrp="1"/>
          </p:cNvSpPr>
          <p:nvPr>
            <p:ph sz="quarter" idx="14"/>
          </p:nvPr>
        </p:nvSpPr>
        <p:spPr bwMode="gray"/>
        <p:txBody>
          <a:bodyPr/>
          <a:lstStyle/>
          <a:p>
            <a:r>
              <a:rPr lang="en-US" dirty="0"/>
              <a:t>Lorem ipsum dolor sit amet, consectetuer adipiscing elit</a:t>
            </a:r>
          </a:p>
          <a:p>
            <a:pPr lvl="1"/>
            <a:r>
              <a:rPr lang="en-US" dirty="0"/>
              <a:t>Maecenas porttitor congue massa. Fusce posuere, magna sed pulvinar ultricies, purus</a:t>
            </a:r>
          </a:p>
          <a:p>
            <a:pPr lvl="2"/>
            <a:r>
              <a:rPr lang="en-US" dirty="0"/>
              <a:t>Nunc viverra imperdiet enim. Fusce est. Vivamus a tellus.</a:t>
            </a:r>
          </a:p>
          <a:p>
            <a:pPr lvl="2"/>
            <a:r>
              <a:rPr lang="en-US" dirty="0"/>
              <a:t>Pellentesque habitant morbi tristique senectus et netus et malesuada</a:t>
            </a:r>
          </a:p>
          <a:p>
            <a:pPr lvl="3"/>
            <a:r>
              <a:rPr lang="en-US" dirty="0"/>
              <a:t>fames ac turpis egestas. Proin pharetra nonummy pede. Mauris et orci.</a:t>
            </a:r>
          </a:p>
          <a:p>
            <a:endParaRPr lang="en-US" dirty="0"/>
          </a:p>
        </p:txBody>
      </p:sp>
      <p:sp>
        <p:nvSpPr>
          <p:cNvPr id="5" name="Inhaltsplatzhalter 4">
            <a:extLst>
              <a:ext uri="{FF2B5EF4-FFF2-40B4-BE49-F238E27FC236}">
                <a16:creationId xmlns:a16="http://schemas.microsoft.com/office/drawing/2014/main" id="{905D1370-4D12-4242-9F06-391D6077A0DD}"/>
              </a:ext>
            </a:extLst>
          </p:cNvPr>
          <p:cNvSpPr>
            <a:spLocks noGrp="1"/>
          </p:cNvSpPr>
          <p:nvPr>
            <p:ph sz="quarter" idx="15"/>
          </p:nvPr>
        </p:nvSpPr>
        <p:spPr bwMode="gray"/>
        <p:txBody>
          <a:bodyPr/>
          <a:lstStyle/>
          <a:p>
            <a:r>
              <a:rPr lang="en-US" dirty="0"/>
              <a:t>Lorem ipsum dolor sit amet, consectetuer adipiscing elit</a:t>
            </a:r>
          </a:p>
          <a:p>
            <a:pPr lvl="1"/>
            <a:r>
              <a:rPr lang="en-US" dirty="0"/>
              <a:t>Maecenas porttitor congue massa. Fusce posuere, magna sed pulvinar ultricies, purus</a:t>
            </a:r>
          </a:p>
          <a:p>
            <a:pPr lvl="2"/>
            <a:r>
              <a:rPr lang="en-US" dirty="0"/>
              <a:t>Nunc viverra imperdiet enim. Fusce est. Vivamus a tellus.</a:t>
            </a:r>
          </a:p>
          <a:p>
            <a:pPr lvl="2"/>
            <a:r>
              <a:rPr lang="en-US" dirty="0"/>
              <a:t>Pellentesque habitant morbi tristique senectus et netus et malesuada</a:t>
            </a:r>
          </a:p>
          <a:p>
            <a:pPr lvl="3"/>
            <a:r>
              <a:rPr lang="en-US" dirty="0"/>
              <a:t>fames ac turpis egestas. Proin pharetra nonummy pede. Mauris et orci.</a:t>
            </a:r>
          </a:p>
          <a:p>
            <a:endParaRPr lang="en-US" dirty="0"/>
          </a:p>
        </p:txBody>
      </p:sp>
      <p:graphicFrame>
        <p:nvGraphicFramePr>
          <p:cNvPr id="9" name="Inhaltsplatzhalter 8">
            <a:extLst>
              <a:ext uri="{FF2B5EF4-FFF2-40B4-BE49-F238E27FC236}">
                <a16:creationId xmlns:a16="http://schemas.microsoft.com/office/drawing/2014/main" id="{21E552D3-97F6-4F7F-97F8-6678E5A2C653}"/>
              </a:ext>
            </a:extLst>
          </p:cNvPr>
          <p:cNvGraphicFramePr>
            <a:graphicFrameLocks noGrp="1"/>
          </p:cNvGraphicFramePr>
          <p:nvPr>
            <p:ph sz="quarter" idx="16"/>
            <p:extLst>
              <p:ext uri="{D42A27DB-BD31-4B8C-83A1-F6EECF244321}">
                <p14:modId xmlns:p14="http://schemas.microsoft.com/office/powerpoint/2010/main" val="2519484409"/>
              </p:ext>
            </p:extLst>
          </p:nvPr>
        </p:nvGraphicFramePr>
        <p:xfrm>
          <a:off x="9120188" y="1773238"/>
          <a:ext cx="2447925" cy="4535487"/>
        </p:xfrm>
        <a:graphic>
          <a:graphicData uri="http://schemas.openxmlformats.org/drawingml/2006/chart">
            <c:chart xmlns:c="http://schemas.openxmlformats.org/drawingml/2006/chart" xmlns:r="http://schemas.openxmlformats.org/officeDocument/2006/relationships" r:id="rId2"/>
          </a:graphicData>
        </a:graphic>
      </p:graphicFrame>
      <p:sp>
        <p:nvSpPr>
          <p:cNvPr id="6" name="Fußzeilenplatzhalter 5">
            <a:extLst>
              <a:ext uri="{FF2B5EF4-FFF2-40B4-BE49-F238E27FC236}">
                <a16:creationId xmlns:a16="http://schemas.microsoft.com/office/drawing/2014/main" id="{FC48862E-0AA5-48D9-ADDD-121DA28B2726}"/>
              </a:ext>
            </a:extLst>
          </p:cNvPr>
          <p:cNvSpPr>
            <a:spLocks noGrp="1"/>
          </p:cNvSpPr>
          <p:nvPr>
            <p:ph type="ftr" sz="quarter" idx="17"/>
          </p:nvPr>
        </p:nvSpPr>
        <p:spPr bwMode="gray"/>
        <p:txBody>
          <a:bodyPr/>
          <a:lstStyle/>
          <a:p>
            <a:r>
              <a:rPr lang="en-US"/>
              <a:t>Footnote: Please insert appropriate company</a:t>
            </a:r>
            <a:endParaRPr lang="de-DE" dirty="0"/>
          </a:p>
        </p:txBody>
      </p:sp>
      <p:sp>
        <p:nvSpPr>
          <p:cNvPr id="7" name="Foliennummernplatzhalter 6">
            <a:extLst>
              <a:ext uri="{FF2B5EF4-FFF2-40B4-BE49-F238E27FC236}">
                <a16:creationId xmlns:a16="http://schemas.microsoft.com/office/drawing/2014/main" id="{A2418835-0E79-4837-B46F-E026B95CD378}"/>
              </a:ext>
            </a:extLst>
          </p:cNvPr>
          <p:cNvSpPr>
            <a:spLocks noGrp="1"/>
          </p:cNvSpPr>
          <p:nvPr>
            <p:ph type="sldNum" sz="quarter" idx="12"/>
          </p:nvPr>
        </p:nvSpPr>
        <p:spPr/>
        <p:txBody>
          <a:bodyPr/>
          <a:lstStyle/>
          <a:p>
            <a:fld id="{CE82B8A1-0CCE-4815-9668-383D7DE7D8B4}" type="slidenum">
              <a:rPr lang="en-US" noProof="0" smtClean="0"/>
              <a:t>13</a:t>
            </a:fld>
            <a:endParaRPr lang="en-US" noProof="0" dirty="0"/>
          </a:p>
        </p:txBody>
      </p:sp>
    </p:spTree>
    <p:extLst>
      <p:ext uri="{BB962C8B-B14F-4D97-AF65-F5344CB8AC3E}">
        <p14:creationId xmlns:p14="http://schemas.microsoft.com/office/powerpoint/2010/main" val="31242673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6CDEE51-F5BE-4621-B02C-A14B23584A5B}"/>
              </a:ext>
            </a:extLst>
          </p:cNvPr>
          <p:cNvSpPr>
            <a:spLocks noGrp="1"/>
          </p:cNvSpPr>
          <p:nvPr>
            <p:ph type="title"/>
          </p:nvPr>
        </p:nvSpPr>
        <p:spPr bwMode="gray"/>
        <p:txBody>
          <a:bodyPr/>
          <a:lstStyle/>
          <a:p>
            <a:r>
              <a:rPr lang="en-US" dirty="0"/>
              <a:t>Lorem ipsum dolor sit amet, consectetuer adipiscing elit</a:t>
            </a:r>
          </a:p>
        </p:txBody>
      </p:sp>
      <p:sp>
        <p:nvSpPr>
          <p:cNvPr id="4" name="Fußzeilenplatzhalter 3">
            <a:extLst>
              <a:ext uri="{FF2B5EF4-FFF2-40B4-BE49-F238E27FC236}">
                <a16:creationId xmlns:a16="http://schemas.microsoft.com/office/drawing/2014/main" id="{D8506BC8-07FB-4FD1-90BF-311592B89482}"/>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14351F0F-0C7D-4194-9FA4-00194A5784E3}"/>
              </a:ext>
            </a:extLst>
          </p:cNvPr>
          <p:cNvSpPr>
            <a:spLocks noGrp="1"/>
          </p:cNvSpPr>
          <p:nvPr>
            <p:ph type="sldNum" sz="quarter" idx="12"/>
          </p:nvPr>
        </p:nvSpPr>
        <p:spPr/>
        <p:txBody>
          <a:bodyPr/>
          <a:lstStyle/>
          <a:p>
            <a:fld id="{CE82B8A1-0CCE-4815-9668-383D7DE7D8B4}" type="slidenum">
              <a:rPr lang="en-US" noProof="0" smtClean="0"/>
              <a:t>14</a:t>
            </a:fld>
            <a:endParaRPr lang="en-US" noProof="0" dirty="0"/>
          </a:p>
        </p:txBody>
      </p:sp>
    </p:spTree>
    <p:extLst>
      <p:ext uri="{BB962C8B-B14F-4D97-AF65-F5344CB8AC3E}">
        <p14:creationId xmlns:p14="http://schemas.microsoft.com/office/powerpoint/2010/main" val="40881726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FD11A0-97BD-4999-920C-4562F686D885}"/>
              </a:ext>
            </a:extLst>
          </p:cNvPr>
          <p:cNvSpPr>
            <a:spLocks noGrp="1"/>
          </p:cNvSpPr>
          <p:nvPr>
            <p:ph type="title"/>
          </p:nvPr>
        </p:nvSpPr>
        <p:spPr bwMode="gray"/>
        <p:txBody>
          <a:bodyPr/>
          <a:lstStyle/>
          <a:p>
            <a:r>
              <a:rPr lang="en-US" dirty="0"/>
              <a:t>Lorem ipsum dolor sit amet</a:t>
            </a:r>
          </a:p>
        </p:txBody>
      </p:sp>
      <p:sp>
        <p:nvSpPr>
          <p:cNvPr id="10" name="Textplatzhalter 9">
            <a:extLst>
              <a:ext uri="{FF2B5EF4-FFF2-40B4-BE49-F238E27FC236}">
                <a16:creationId xmlns:a16="http://schemas.microsoft.com/office/drawing/2014/main" id="{21D91D6F-C2D4-468A-9405-93567265A463}"/>
              </a:ext>
            </a:extLst>
          </p:cNvPr>
          <p:cNvSpPr>
            <a:spLocks noGrp="1"/>
          </p:cNvSpPr>
          <p:nvPr>
            <p:ph type="body" sz="quarter" idx="17"/>
          </p:nvPr>
        </p:nvSpPr>
        <p:spPr bwMode="gray"/>
        <p:txBody>
          <a:bodyPr/>
          <a:lstStyle/>
          <a:p>
            <a:r>
              <a:rPr lang="en-US" dirty="0"/>
              <a:t>Graphic title</a:t>
            </a:r>
          </a:p>
        </p:txBody>
      </p:sp>
      <p:sp>
        <p:nvSpPr>
          <p:cNvPr id="31" name="Bildplatzhalter 30">
            <a:extLst>
              <a:ext uri="{FF2B5EF4-FFF2-40B4-BE49-F238E27FC236}">
                <a16:creationId xmlns:a16="http://schemas.microsoft.com/office/drawing/2014/main" id="{B7BE1AD7-88CB-4E4D-A199-0E5AEEADD293}"/>
              </a:ext>
            </a:extLst>
          </p:cNvPr>
          <p:cNvSpPr>
            <a:spLocks noGrp="1"/>
          </p:cNvSpPr>
          <p:nvPr>
            <p:ph type="pic" sz="quarter" idx="13"/>
          </p:nvPr>
        </p:nvSpPr>
        <p:spPr bwMode="gray"/>
      </p:sp>
      <p:sp>
        <p:nvSpPr>
          <p:cNvPr id="32" name="Bildplatzhalter 31">
            <a:extLst>
              <a:ext uri="{FF2B5EF4-FFF2-40B4-BE49-F238E27FC236}">
                <a16:creationId xmlns:a16="http://schemas.microsoft.com/office/drawing/2014/main" id="{051C9F72-2A8D-4E67-A0E3-DA43238EB0F2}"/>
              </a:ext>
            </a:extLst>
          </p:cNvPr>
          <p:cNvSpPr>
            <a:spLocks noGrp="1"/>
          </p:cNvSpPr>
          <p:nvPr>
            <p:ph type="pic" sz="quarter" idx="14"/>
          </p:nvPr>
        </p:nvSpPr>
        <p:spPr bwMode="gray"/>
      </p:sp>
      <p:sp>
        <p:nvSpPr>
          <p:cNvPr id="33" name="Bildplatzhalter 32">
            <a:extLst>
              <a:ext uri="{FF2B5EF4-FFF2-40B4-BE49-F238E27FC236}">
                <a16:creationId xmlns:a16="http://schemas.microsoft.com/office/drawing/2014/main" id="{92BF6406-6857-4ACC-A1D4-BF2577E19FF7}"/>
              </a:ext>
            </a:extLst>
          </p:cNvPr>
          <p:cNvSpPr>
            <a:spLocks noGrp="1"/>
          </p:cNvSpPr>
          <p:nvPr>
            <p:ph type="pic" sz="quarter" idx="15"/>
          </p:nvPr>
        </p:nvSpPr>
        <p:spPr bwMode="gray"/>
      </p:sp>
      <p:sp>
        <p:nvSpPr>
          <p:cNvPr id="34" name="Bildplatzhalter 33">
            <a:extLst>
              <a:ext uri="{FF2B5EF4-FFF2-40B4-BE49-F238E27FC236}">
                <a16:creationId xmlns:a16="http://schemas.microsoft.com/office/drawing/2014/main" id="{9C245E3A-636A-4B1E-A201-70557DDA8175}"/>
              </a:ext>
            </a:extLst>
          </p:cNvPr>
          <p:cNvSpPr>
            <a:spLocks noGrp="1"/>
          </p:cNvSpPr>
          <p:nvPr>
            <p:ph type="pic" sz="quarter" idx="16"/>
          </p:nvPr>
        </p:nvSpPr>
        <p:spPr bwMode="gray"/>
      </p:sp>
      <p:sp>
        <p:nvSpPr>
          <p:cNvPr id="11" name="Textplatzhalter 10">
            <a:extLst>
              <a:ext uri="{FF2B5EF4-FFF2-40B4-BE49-F238E27FC236}">
                <a16:creationId xmlns:a16="http://schemas.microsoft.com/office/drawing/2014/main" id="{D1C1B9D4-E11E-4DCB-8248-15AE3CB72825}"/>
              </a:ext>
            </a:extLst>
          </p:cNvPr>
          <p:cNvSpPr>
            <a:spLocks noGrp="1"/>
          </p:cNvSpPr>
          <p:nvPr>
            <p:ph type="body" sz="quarter" idx="18"/>
          </p:nvPr>
        </p:nvSpPr>
        <p:spPr bwMode="gray"/>
        <p:txBody>
          <a:bodyPr/>
          <a:lstStyle/>
          <a:p>
            <a:r>
              <a:rPr lang="en-US" dirty="0"/>
              <a:t>Lorem ipsum dolor sit amet, </a:t>
            </a:r>
          </a:p>
          <a:p>
            <a:pPr lvl="1"/>
            <a:r>
              <a:rPr lang="en-US" dirty="0"/>
              <a:t>Maecenas porttitor congue massa </a:t>
            </a:r>
          </a:p>
          <a:p>
            <a:pPr lvl="2"/>
            <a:r>
              <a:rPr lang="en-US" dirty="0"/>
              <a:t>Fusce posuere, magna sed</a:t>
            </a:r>
          </a:p>
          <a:p>
            <a:pPr lvl="2"/>
            <a:r>
              <a:rPr lang="en-US" dirty="0"/>
              <a:t>Pulvinar ultricies, purus lectus</a:t>
            </a:r>
          </a:p>
          <a:p>
            <a:pPr lvl="2"/>
            <a:r>
              <a:rPr lang="en-US" dirty="0"/>
              <a:t>Malesuada libero, sit amet commodo</a:t>
            </a:r>
          </a:p>
        </p:txBody>
      </p:sp>
      <p:sp>
        <p:nvSpPr>
          <p:cNvPr id="12" name="Textplatzhalter 11">
            <a:extLst>
              <a:ext uri="{FF2B5EF4-FFF2-40B4-BE49-F238E27FC236}">
                <a16:creationId xmlns:a16="http://schemas.microsoft.com/office/drawing/2014/main" id="{D95EDEF3-73E2-4592-9570-C23D061F3979}"/>
              </a:ext>
            </a:extLst>
          </p:cNvPr>
          <p:cNvSpPr>
            <a:spLocks noGrp="1"/>
          </p:cNvSpPr>
          <p:nvPr>
            <p:ph type="body" sz="quarter" idx="19"/>
          </p:nvPr>
        </p:nvSpPr>
        <p:spPr bwMode="gray"/>
        <p:txBody>
          <a:bodyPr/>
          <a:lstStyle/>
          <a:p>
            <a:r>
              <a:rPr lang="en-US" dirty="0"/>
              <a:t>Lorem ipsum dolor sit amet, </a:t>
            </a:r>
          </a:p>
          <a:p>
            <a:pPr lvl="1"/>
            <a:r>
              <a:rPr lang="en-US" dirty="0"/>
              <a:t>Maecenas porttitor congue massa </a:t>
            </a:r>
          </a:p>
          <a:p>
            <a:pPr lvl="2"/>
            <a:r>
              <a:rPr lang="en-US" dirty="0"/>
              <a:t>Fusce posuere, magna sed</a:t>
            </a:r>
          </a:p>
          <a:p>
            <a:pPr lvl="2"/>
            <a:r>
              <a:rPr lang="en-US" dirty="0"/>
              <a:t>Pulvinar ultricies, purus lectus</a:t>
            </a:r>
          </a:p>
          <a:p>
            <a:pPr lvl="2"/>
            <a:r>
              <a:rPr lang="en-US" dirty="0"/>
              <a:t>Malesuada libero, sit amet commodo</a:t>
            </a:r>
          </a:p>
          <a:p>
            <a:endParaRPr lang="en-US" dirty="0"/>
          </a:p>
        </p:txBody>
      </p:sp>
      <p:sp>
        <p:nvSpPr>
          <p:cNvPr id="14" name="Textplatzhalter 13">
            <a:extLst>
              <a:ext uri="{FF2B5EF4-FFF2-40B4-BE49-F238E27FC236}">
                <a16:creationId xmlns:a16="http://schemas.microsoft.com/office/drawing/2014/main" id="{61EDBF62-B80C-4A20-8641-A734FDF6B098}"/>
              </a:ext>
            </a:extLst>
          </p:cNvPr>
          <p:cNvSpPr>
            <a:spLocks noGrp="1"/>
          </p:cNvSpPr>
          <p:nvPr>
            <p:ph type="body" sz="quarter" idx="20"/>
          </p:nvPr>
        </p:nvSpPr>
        <p:spPr bwMode="gray"/>
        <p:txBody>
          <a:bodyPr/>
          <a:lstStyle/>
          <a:p>
            <a:r>
              <a:rPr lang="en-US" dirty="0"/>
              <a:t>Lorem ipsum dolor sit amet, </a:t>
            </a:r>
          </a:p>
          <a:p>
            <a:pPr lvl="1"/>
            <a:r>
              <a:rPr lang="en-US" dirty="0"/>
              <a:t>Maecenas porttitor congue massa </a:t>
            </a:r>
          </a:p>
          <a:p>
            <a:pPr lvl="2"/>
            <a:r>
              <a:rPr lang="en-US" dirty="0"/>
              <a:t>Fusce posuere, magna sed</a:t>
            </a:r>
          </a:p>
          <a:p>
            <a:pPr lvl="2"/>
            <a:r>
              <a:rPr lang="en-US" dirty="0"/>
              <a:t>Pulvinar ultricies, purus lectus</a:t>
            </a:r>
          </a:p>
          <a:p>
            <a:pPr lvl="2"/>
            <a:r>
              <a:rPr lang="en-US" dirty="0"/>
              <a:t>Malesuada libero, sit amet commodo</a:t>
            </a:r>
          </a:p>
          <a:p>
            <a:endParaRPr lang="en-US" dirty="0"/>
          </a:p>
        </p:txBody>
      </p:sp>
      <p:sp>
        <p:nvSpPr>
          <p:cNvPr id="15" name="Textplatzhalter 14">
            <a:extLst>
              <a:ext uri="{FF2B5EF4-FFF2-40B4-BE49-F238E27FC236}">
                <a16:creationId xmlns:a16="http://schemas.microsoft.com/office/drawing/2014/main" id="{B9073429-4B4F-47D6-8A09-2FDF1FED3A0E}"/>
              </a:ext>
            </a:extLst>
          </p:cNvPr>
          <p:cNvSpPr>
            <a:spLocks noGrp="1"/>
          </p:cNvSpPr>
          <p:nvPr>
            <p:ph type="body" sz="quarter" idx="21"/>
          </p:nvPr>
        </p:nvSpPr>
        <p:spPr bwMode="gray"/>
        <p:txBody>
          <a:bodyPr/>
          <a:lstStyle/>
          <a:p>
            <a:r>
              <a:rPr lang="en-US" dirty="0"/>
              <a:t>Lorem ipsum dolor sit amet, </a:t>
            </a:r>
          </a:p>
          <a:p>
            <a:pPr lvl="1"/>
            <a:r>
              <a:rPr lang="en-US" dirty="0"/>
              <a:t>Maecenas porttitor congue massa </a:t>
            </a:r>
          </a:p>
          <a:p>
            <a:pPr lvl="2"/>
            <a:r>
              <a:rPr lang="en-US" dirty="0"/>
              <a:t>Fusce posuere, magna sed</a:t>
            </a:r>
          </a:p>
          <a:p>
            <a:pPr lvl="2"/>
            <a:r>
              <a:rPr lang="en-US" dirty="0"/>
              <a:t>Pulvinar ultricies, purus lectus</a:t>
            </a:r>
          </a:p>
          <a:p>
            <a:pPr lvl="2"/>
            <a:r>
              <a:rPr lang="en-US" dirty="0"/>
              <a:t>Malesuada libero, sit amet commodo</a:t>
            </a:r>
          </a:p>
          <a:p>
            <a:endParaRPr lang="en-US" dirty="0"/>
          </a:p>
        </p:txBody>
      </p:sp>
      <p:sp>
        <p:nvSpPr>
          <p:cNvPr id="3" name="Fußzeilenplatzhalter 2">
            <a:extLst>
              <a:ext uri="{FF2B5EF4-FFF2-40B4-BE49-F238E27FC236}">
                <a16:creationId xmlns:a16="http://schemas.microsoft.com/office/drawing/2014/main" id="{BB151A9D-5B39-4CFB-9BCD-40A761947F6D}"/>
              </a:ext>
            </a:extLst>
          </p:cNvPr>
          <p:cNvSpPr>
            <a:spLocks noGrp="1"/>
          </p:cNvSpPr>
          <p:nvPr>
            <p:ph type="ftr" sz="quarter" idx="22"/>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48432DB4-CED8-46CA-B8C2-B2AE1491B1CC}"/>
              </a:ext>
            </a:extLst>
          </p:cNvPr>
          <p:cNvSpPr>
            <a:spLocks noGrp="1"/>
          </p:cNvSpPr>
          <p:nvPr>
            <p:ph type="sldNum" sz="quarter" idx="12"/>
          </p:nvPr>
        </p:nvSpPr>
        <p:spPr/>
        <p:txBody>
          <a:bodyPr/>
          <a:lstStyle/>
          <a:p>
            <a:fld id="{CE82B8A1-0CCE-4815-9668-383D7DE7D8B4}" type="slidenum">
              <a:rPr lang="en-US" noProof="0" smtClean="0"/>
              <a:t>15</a:t>
            </a:fld>
            <a:endParaRPr lang="en-US" noProof="0" dirty="0"/>
          </a:p>
        </p:txBody>
      </p:sp>
    </p:spTree>
    <p:extLst>
      <p:ext uri="{BB962C8B-B14F-4D97-AF65-F5344CB8AC3E}">
        <p14:creationId xmlns:p14="http://schemas.microsoft.com/office/powerpoint/2010/main" val="20791081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4FD11A0-97BD-4999-920C-4562F686D885}"/>
              </a:ext>
            </a:extLst>
          </p:cNvPr>
          <p:cNvSpPr>
            <a:spLocks noGrp="1"/>
          </p:cNvSpPr>
          <p:nvPr>
            <p:ph type="title"/>
          </p:nvPr>
        </p:nvSpPr>
        <p:spPr bwMode="gray"/>
        <p:txBody>
          <a:bodyPr/>
          <a:lstStyle/>
          <a:p>
            <a:r>
              <a:rPr lang="en-US" dirty="0"/>
              <a:t>Lorem ipsum dolor sit amet</a:t>
            </a:r>
          </a:p>
        </p:txBody>
      </p:sp>
      <p:sp>
        <p:nvSpPr>
          <p:cNvPr id="10" name="Textplatzhalter 9">
            <a:extLst>
              <a:ext uri="{FF2B5EF4-FFF2-40B4-BE49-F238E27FC236}">
                <a16:creationId xmlns:a16="http://schemas.microsoft.com/office/drawing/2014/main" id="{21D91D6F-C2D4-468A-9405-93567265A463}"/>
              </a:ext>
            </a:extLst>
          </p:cNvPr>
          <p:cNvSpPr>
            <a:spLocks noGrp="1"/>
          </p:cNvSpPr>
          <p:nvPr>
            <p:ph type="body" sz="quarter" idx="17"/>
          </p:nvPr>
        </p:nvSpPr>
        <p:spPr bwMode="gray"/>
        <p:txBody>
          <a:bodyPr/>
          <a:lstStyle/>
          <a:p>
            <a:r>
              <a:rPr lang="en-US" dirty="0"/>
              <a:t>Graphic title</a:t>
            </a:r>
          </a:p>
        </p:txBody>
      </p:sp>
      <p:sp>
        <p:nvSpPr>
          <p:cNvPr id="21" name="Bildplatzhalter 20">
            <a:extLst>
              <a:ext uri="{FF2B5EF4-FFF2-40B4-BE49-F238E27FC236}">
                <a16:creationId xmlns:a16="http://schemas.microsoft.com/office/drawing/2014/main" id="{E2601AAE-7157-4ED5-9DEC-E92EEDFAADEF}"/>
              </a:ext>
            </a:extLst>
          </p:cNvPr>
          <p:cNvSpPr>
            <a:spLocks noGrp="1"/>
          </p:cNvSpPr>
          <p:nvPr>
            <p:ph type="pic" sz="quarter" idx="13"/>
          </p:nvPr>
        </p:nvSpPr>
        <p:spPr bwMode="gray"/>
      </p:sp>
      <p:sp>
        <p:nvSpPr>
          <p:cNvPr id="22" name="Bildplatzhalter 21">
            <a:extLst>
              <a:ext uri="{FF2B5EF4-FFF2-40B4-BE49-F238E27FC236}">
                <a16:creationId xmlns:a16="http://schemas.microsoft.com/office/drawing/2014/main" id="{FE875892-6A4B-47B9-9B0A-94DADAEF7338}"/>
              </a:ext>
            </a:extLst>
          </p:cNvPr>
          <p:cNvSpPr>
            <a:spLocks noGrp="1"/>
          </p:cNvSpPr>
          <p:nvPr>
            <p:ph type="pic" sz="quarter" idx="14"/>
          </p:nvPr>
        </p:nvSpPr>
        <p:spPr bwMode="gray"/>
      </p:sp>
      <p:sp>
        <p:nvSpPr>
          <p:cNvPr id="27" name="Bildplatzhalter 26">
            <a:extLst>
              <a:ext uri="{FF2B5EF4-FFF2-40B4-BE49-F238E27FC236}">
                <a16:creationId xmlns:a16="http://schemas.microsoft.com/office/drawing/2014/main" id="{2D2146B8-17B1-4C34-A29B-68511E0E81B5}"/>
              </a:ext>
            </a:extLst>
          </p:cNvPr>
          <p:cNvSpPr>
            <a:spLocks noGrp="1"/>
          </p:cNvSpPr>
          <p:nvPr>
            <p:ph type="pic" sz="quarter" idx="15"/>
          </p:nvPr>
        </p:nvSpPr>
        <p:spPr bwMode="gray"/>
      </p:sp>
      <p:sp>
        <p:nvSpPr>
          <p:cNvPr id="28" name="Bildplatzhalter 27">
            <a:extLst>
              <a:ext uri="{FF2B5EF4-FFF2-40B4-BE49-F238E27FC236}">
                <a16:creationId xmlns:a16="http://schemas.microsoft.com/office/drawing/2014/main" id="{B6EA8106-8105-4DAF-8ED8-D4BBB919A755}"/>
              </a:ext>
            </a:extLst>
          </p:cNvPr>
          <p:cNvSpPr>
            <a:spLocks noGrp="1"/>
          </p:cNvSpPr>
          <p:nvPr>
            <p:ph type="pic" sz="quarter" idx="16"/>
          </p:nvPr>
        </p:nvSpPr>
        <p:spPr bwMode="gray"/>
      </p:sp>
      <p:sp>
        <p:nvSpPr>
          <p:cNvPr id="11" name="Textplatzhalter 10">
            <a:extLst>
              <a:ext uri="{FF2B5EF4-FFF2-40B4-BE49-F238E27FC236}">
                <a16:creationId xmlns:a16="http://schemas.microsoft.com/office/drawing/2014/main" id="{D1C1B9D4-E11E-4DCB-8248-15AE3CB72825}"/>
              </a:ext>
            </a:extLst>
          </p:cNvPr>
          <p:cNvSpPr>
            <a:spLocks noGrp="1"/>
          </p:cNvSpPr>
          <p:nvPr>
            <p:ph type="body" sz="quarter" idx="18"/>
          </p:nvPr>
        </p:nvSpPr>
        <p:spPr bwMode="gray"/>
        <p:txBody>
          <a:bodyPr/>
          <a:lstStyle/>
          <a:p>
            <a:r>
              <a:rPr lang="en-US" dirty="0"/>
              <a:t>Lorem ipsum dolor sit amet, </a:t>
            </a:r>
          </a:p>
          <a:p>
            <a:pPr lvl="1"/>
            <a:r>
              <a:rPr lang="en-US" dirty="0"/>
              <a:t>Maecenas porttitor congue massa </a:t>
            </a:r>
          </a:p>
          <a:p>
            <a:pPr lvl="2"/>
            <a:r>
              <a:rPr lang="en-US" dirty="0"/>
              <a:t>Fusce posuere, magna sed</a:t>
            </a:r>
          </a:p>
          <a:p>
            <a:pPr lvl="2"/>
            <a:r>
              <a:rPr lang="en-US" dirty="0"/>
              <a:t>Pulvinar ultricies, purus lectus</a:t>
            </a:r>
          </a:p>
          <a:p>
            <a:pPr lvl="2"/>
            <a:r>
              <a:rPr lang="en-US" dirty="0"/>
              <a:t>Malesuada libero, sit amet commodo</a:t>
            </a:r>
          </a:p>
        </p:txBody>
      </p:sp>
      <p:sp>
        <p:nvSpPr>
          <p:cNvPr id="12" name="Textplatzhalter 11">
            <a:extLst>
              <a:ext uri="{FF2B5EF4-FFF2-40B4-BE49-F238E27FC236}">
                <a16:creationId xmlns:a16="http://schemas.microsoft.com/office/drawing/2014/main" id="{D95EDEF3-73E2-4592-9570-C23D061F3979}"/>
              </a:ext>
            </a:extLst>
          </p:cNvPr>
          <p:cNvSpPr>
            <a:spLocks noGrp="1"/>
          </p:cNvSpPr>
          <p:nvPr>
            <p:ph type="body" sz="quarter" idx="19"/>
          </p:nvPr>
        </p:nvSpPr>
        <p:spPr bwMode="gray"/>
        <p:txBody>
          <a:bodyPr/>
          <a:lstStyle/>
          <a:p>
            <a:r>
              <a:rPr lang="en-US" dirty="0"/>
              <a:t>Lorem ipsum dolor sit amet, </a:t>
            </a:r>
          </a:p>
          <a:p>
            <a:pPr lvl="1"/>
            <a:r>
              <a:rPr lang="en-US" dirty="0"/>
              <a:t>Maecenas porttitor congue massa </a:t>
            </a:r>
          </a:p>
          <a:p>
            <a:pPr lvl="2"/>
            <a:r>
              <a:rPr lang="en-US" dirty="0"/>
              <a:t>Fusce posuere, magna sed</a:t>
            </a:r>
          </a:p>
          <a:p>
            <a:pPr lvl="2"/>
            <a:r>
              <a:rPr lang="en-US" dirty="0"/>
              <a:t>Pulvinar ultricies, purus lectus</a:t>
            </a:r>
          </a:p>
          <a:p>
            <a:pPr lvl="2"/>
            <a:r>
              <a:rPr lang="en-US" dirty="0"/>
              <a:t>Malesuada libero, sit amet commodo</a:t>
            </a:r>
          </a:p>
          <a:p>
            <a:endParaRPr lang="en-US" dirty="0"/>
          </a:p>
        </p:txBody>
      </p:sp>
      <p:sp>
        <p:nvSpPr>
          <p:cNvPr id="14" name="Textplatzhalter 13">
            <a:extLst>
              <a:ext uri="{FF2B5EF4-FFF2-40B4-BE49-F238E27FC236}">
                <a16:creationId xmlns:a16="http://schemas.microsoft.com/office/drawing/2014/main" id="{61EDBF62-B80C-4A20-8641-A734FDF6B098}"/>
              </a:ext>
            </a:extLst>
          </p:cNvPr>
          <p:cNvSpPr>
            <a:spLocks noGrp="1"/>
          </p:cNvSpPr>
          <p:nvPr>
            <p:ph type="body" sz="quarter" idx="20"/>
          </p:nvPr>
        </p:nvSpPr>
        <p:spPr bwMode="gray"/>
        <p:txBody>
          <a:bodyPr/>
          <a:lstStyle/>
          <a:p>
            <a:r>
              <a:rPr lang="en-US" dirty="0"/>
              <a:t>Lorem ipsum dolor sit amet, </a:t>
            </a:r>
          </a:p>
          <a:p>
            <a:pPr lvl="1"/>
            <a:r>
              <a:rPr lang="en-US" dirty="0"/>
              <a:t>Maecenas porttitor congue massa </a:t>
            </a:r>
          </a:p>
          <a:p>
            <a:pPr lvl="2"/>
            <a:r>
              <a:rPr lang="en-US" dirty="0"/>
              <a:t>Fusce posuere, magna sed</a:t>
            </a:r>
          </a:p>
          <a:p>
            <a:pPr lvl="2"/>
            <a:r>
              <a:rPr lang="en-US" dirty="0"/>
              <a:t>Pulvinar ultricies, purus lectus</a:t>
            </a:r>
          </a:p>
          <a:p>
            <a:pPr lvl="2"/>
            <a:r>
              <a:rPr lang="en-US" dirty="0"/>
              <a:t>Malesuada libero, sit amet commodo</a:t>
            </a:r>
          </a:p>
          <a:p>
            <a:endParaRPr lang="en-US" dirty="0"/>
          </a:p>
        </p:txBody>
      </p:sp>
      <p:sp>
        <p:nvSpPr>
          <p:cNvPr id="15" name="Textplatzhalter 14">
            <a:extLst>
              <a:ext uri="{FF2B5EF4-FFF2-40B4-BE49-F238E27FC236}">
                <a16:creationId xmlns:a16="http://schemas.microsoft.com/office/drawing/2014/main" id="{B9073429-4B4F-47D6-8A09-2FDF1FED3A0E}"/>
              </a:ext>
            </a:extLst>
          </p:cNvPr>
          <p:cNvSpPr>
            <a:spLocks noGrp="1"/>
          </p:cNvSpPr>
          <p:nvPr>
            <p:ph type="body" sz="quarter" idx="21"/>
          </p:nvPr>
        </p:nvSpPr>
        <p:spPr bwMode="gray"/>
        <p:txBody>
          <a:bodyPr/>
          <a:lstStyle/>
          <a:p>
            <a:r>
              <a:rPr lang="en-US" dirty="0"/>
              <a:t>Lorem ipsum dolor sit amet, </a:t>
            </a:r>
          </a:p>
          <a:p>
            <a:pPr lvl="1"/>
            <a:r>
              <a:rPr lang="en-US" dirty="0"/>
              <a:t>Maecenas porttitor congue massa </a:t>
            </a:r>
          </a:p>
          <a:p>
            <a:pPr lvl="2"/>
            <a:r>
              <a:rPr lang="en-US" dirty="0"/>
              <a:t>Fusce posuere, magna sed</a:t>
            </a:r>
          </a:p>
          <a:p>
            <a:pPr lvl="2"/>
            <a:r>
              <a:rPr lang="en-US" dirty="0"/>
              <a:t>Pulvinar ultricies, purus lectus</a:t>
            </a:r>
          </a:p>
          <a:p>
            <a:pPr lvl="2"/>
            <a:r>
              <a:rPr lang="en-US" dirty="0"/>
              <a:t>Malesuada libero, sit amet commodo</a:t>
            </a:r>
          </a:p>
          <a:p>
            <a:endParaRPr lang="en-US" dirty="0"/>
          </a:p>
        </p:txBody>
      </p:sp>
      <p:sp>
        <p:nvSpPr>
          <p:cNvPr id="3" name="Ellipse 2">
            <a:extLst>
              <a:ext uri="{FF2B5EF4-FFF2-40B4-BE49-F238E27FC236}">
                <a16:creationId xmlns:a16="http://schemas.microsoft.com/office/drawing/2014/main" id="{B93180AB-4FC9-48EA-8153-7F329D952798}"/>
              </a:ext>
            </a:extLst>
          </p:cNvPr>
          <p:cNvSpPr/>
          <p:nvPr/>
        </p:nvSpPr>
        <p:spPr bwMode="gray">
          <a:xfrm>
            <a:off x="4007928" y="2263780"/>
            <a:ext cx="1439841" cy="1439999"/>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Text Example</a:t>
            </a:r>
          </a:p>
        </p:txBody>
      </p:sp>
      <p:sp>
        <p:nvSpPr>
          <p:cNvPr id="16" name="Ellipse 15">
            <a:extLst>
              <a:ext uri="{FF2B5EF4-FFF2-40B4-BE49-F238E27FC236}">
                <a16:creationId xmlns:a16="http://schemas.microsoft.com/office/drawing/2014/main" id="{1FF43FE7-05BC-4514-BB4C-0F754A47D392}"/>
              </a:ext>
            </a:extLst>
          </p:cNvPr>
          <p:cNvSpPr/>
          <p:nvPr/>
        </p:nvSpPr>
        <p:spPr bwMode="gray">
          <a:xfrm>
            <a:off x="6744391" y="2263779"/>
            <a:ext cx="1439841" cy="1439999"/>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Text Example</a:t>
            </a:r>
          </a:p>
        </p:txBody>
      </p:sp>
      <p:sp>
        <p:nvSpPr>
          <p:cNvPr id="17" name="Ellipse 16">
            <a:extLst>
              <a:ext uri="{FF2B5EF4-FFF2-40B4-BE49-F238E27FC236}">
                <a16:creationId xmlns:a16="http://schemas.microsoft.com/office/drawing/2014/main" id="{D20B3DC9-14C9-4132-A364-53D068EF479C}"/>
              </a:ext>
            </a:extLst>
          </p:cNvPr>
          <p:cNvSpPr/>
          <p:nvPr/>
        </p:nvSpPr>
        <p:spPr bwMode="gray">
          <a:xfrm>
            <a:off x="6744391" y="4365265"/>
            <a:ext cx="1439841" cy="143999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Text Example</a:t>
            </a:r>
          </a:p>
        </p:txBody>
      </p:sp>
      <p:sp>
        <p:nvSpPr>
          <p:cNvPr id="18" name="Ellipse 17">
            <a:extLst>
              <a:ext uri="{FF2B5EF4-FFF2-40B4-BE49-F238E27FC236}">
                <a16:creationId xmlns:a16="http://schemas.microsoft.com/office/drawing/2014/main" id="{235D4E1D-ED4B-4626-836D-54CDAE96FA8C}"/>
              </a:ext>
            </a:extLst>
          </p:cNvPr>
          <p:cNvSpPr/>
          <p:nvPr/>
        </p:nvSpPr>
        <p:spPr bwMode="gray">
          <a:xfrm>
            <a:off x="4007768" y="4365104"/>
            <a:ext cx="1439841" cy="1439999"/>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Text Example</a:t>
            </a:r>
          </a:p>
        </p:txBody>
      </p:sp>
      <p:sp>
        <p:nvSpPr>
          <p:cNvPr id="4" name="Rechteck 3">
            <a:extLst>
              <a:ext uri="{FF2B5EF4-FFF2-40B4-BE49-F238E27FC236}">
                <a16:creationId xmlns:a16="http://schemas.microsoft.com/office/drawing/2014/main" id="{BF942CC6-6EC0-4FDF-B9CB-F86BDE3163DB}"/>
              </a:ext>
            </a:extLst>
          </p:cNvPr>
          <p:cNvSpPr/>
          <p:nvPr/>
        </p:nvSpPr>
        <p:spPr bwMode="gray">
          <a:xfrm>
            <a:off x="10488488" y="116632"/>
            <a:ext cx="1595672" cy="432048"/>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Example</a:t>
            </a:r>
          </a:p>
        </p:txBody>
      </p:sp>
      <p:sp>
        <p:nvSpPr>
          <p:cNvPr id="6" name="Fußzeilenplatzhalter 5">
            <a:extLst>
              <a:ext uri="{FF2B5EF4-FFF2-40B4-BE49-F238E27FC236}">
                <a16:creationId xmlns:a16="http://schemas.microsoft.com/office/drawing/2014/main" id="{C50117FF-0E68-4AA7-9740-9404045E68EE}"/>
              </a:ext>
            </a:extLst>
          </p:cNvPr>
          <p:cNvSpPr>
            <a:spLocks noGrp="1"/>
          </p:cNvSpPr>
          <p:nvPr>
            <p:ph type="ftr" sz="quarter" idx="22"/>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04794750-4D17-4221-869A-5E5ACCFB0516}"/>
              </a:ext>
            </a:extLst>
          </p:cNvPr>
          <p:cNvSpPr>
            <a:spLocks noGrp="1"/>
          </p:cNvSpPr>
          <p:nvPr>
            <p:ph type="sldNum" sz="quarter" idx="12"/>
          </p:nvPr>
        </p:nvSpPr>
        <p:spPr/>
        <p:txBody>
          <a:bodyPr/>
          <a:lstStyle/>
          <a:p>
            <a:fld id="{CE82B8A1-0CCE-4815-9668-383D7DE7D8B4}" type="slidenum">
              <a:rPr lang="en-US" noProof="0" smtClean="0"/>
              <a:t>16</a:t>
            </a:fld>
            <a:endParaRPr lang="en-US" noProof="0" dirty="0"/>
          </a:p>
        </p:txBody>
      </p:sp>
    </p:spTree>
    <p:extLst>
      <p:ext uri="{BB962C8B-B14F-4D97-AF65-F5344CB8AC3E}">
        <p14:creationId xmlns:p14="http://schemas.microsoft.com/office/powerpoint/2010/main" val="3843783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Halbbogen 11">
            <a:extLst>
              <a:ext uri="{FF2B5EF4-FFF2-40B4-BE49-F238E27FC236}">
                <a16:creationId xmlns:a16="http://schemas.microsoft.com/office/drawing/2014/main" id="{2687099B-652E-4E52-AF36-1D4D8548A9A0}"/>
              </a:ext>
            </a:extLst>
          </p:cNvPr>
          <p:cNvSpPr/>
          <p:nvPr/>
        </p:nvSpPr>
        <p:spPr bwMode="gray">
          <a:xfrm>
            <a:off x="2813410" y="362434"/>
            <a:ext cx="6162910" cy="6162910"/>
          </a:xfrm>
          <a:prstGeom prst="blockArc">
            <a:avLst>
              <a:gd name="adj1" fmla="val 18889876"/>
              <a:gd name="adj2" fmla="val 8635041"/>
              <a:gd name="adj3" fmla="val 25857"/>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ndParaRPr>
          </a:p>
        </p:txBody>
      </p:sp>
      <p:sp>
        <p:nvSpPr>
          <p:cNvPr id="21" name="Titel 20">
            <a:extLst>
              <a:ext uri="{FF2B5EF4-FFF2-40B4-BE49-F238E27FC236}">
                <a16:creationId xmlns:a16="http://schemas.microsoft.com/office/drawing/2014/main" id="{76A6575B-A889-4796-BDE6-4A8B6F513D0A}"/>
              </a:ext>
            </a:extLst>
          </p:cNvPr>
          <p:cNvSpPr>
            <a:spLocks noGrp="1"/>
          </p:cNvSpPr>
          <p:nvPr>
            <p:ph type="title"/>
          </p:nvPr>
        </p:nvSpPr>
        <p:spPr bwMode="gray"/>
        <p:txBody>
          <a:bodyPr/>
          <a:lstStyle/>
          <a:p>
            <a:r>
              <a:rPr lang="en-US" dirty="0"/>
              <a:t>Lorem ipsum</a:t>
            </a:r>
            <a:br>
              <a:rPr lang="en-US" dirty="0"/>
            </a:br>
            <a:r>
              <a:rPr lang="en-US" dirty="0"/>
              <a:t>dolor sit amet</a:t>
            </a:r>
          </a:p>
        </p:txBody>
      </p:sp>
      <p:sp>
        <p:nvSpPr>
          <p:cNvPr id="34" name="Textplatzhalter 33">
            <a:extLst>
              <a:ext uri="{FF2B5EF4-FFF2-40B4-BE49-F238E27FC236}">
                <a16:creationId xmlns:a16="http://schemas.microsoft.com/office/drawing/2014/main" id="{3DB07F24-0073-43A6-88BC-BE1A29FB2550}"/>
              </a:ext>
            </a:extLst>
          </p:cNvPr>
          <p:cNvSpPr>
            <a:spLocks noGrp="1"/>
          </p:cNvSpPr>
          <p:nvPr>
            <p:ph type="body" sz="quarter" idx="15"/>
          </p:nvPr>
        </p:nvSpPr>
        <p:spPr bwMode="gray"/>
        <p:txBody>
          <a:bodyPr/>
          <a:lstStyle/>
          <a:p>
            <a:r>
              <a:rPr lang="en-US" dirty="0"/>
              <a:t>Lorem ipsum dolor sit amet, consectetuer adipiscing elit.</a:t>
            </a:r>
          </a:p>
          <a:p>
            <a:pPr lvl="1"/>
            <a:r>
              <a:rPr lang="en-US" dirty="0"/>
              <a:t>Maecenas porttitor congue massa. Fusce posuere, magna sed pulvinar ultricies, purus lectus malesuada libero, sit amet commodo magna eros quis </a:t>
            </a:r>
            <a:r>
              <a:rPr lang="en-US" dirty="0" err="1"/>
              <a:t>urna</a:t>
            </a:r>
            <a:r>
              <a:rPr lang="en-US" dirty="0"/>
              <a:t>.</a:t>
            </a:r>
          </a:p>
          <a:p>
            <a:pPr lvl="2"/>
            <a:r>
              <a:rPr lang="en-US" dirty="0"/>
              <a:t>Nunc viverra imperdiet enim. Fusce est. Vivamus a tellus.</a:t>
            </a:r>
          </a:p>
          <a:p>
            <a:pPr lvl="2"/>
            <a:r>
              <a:rPr lang="en-US" dirty="0"/>
              <a:t>Pellentesque habitant morbi tristique senectus et netus et</a:t>
            </a:r>
          </a:p>
        </p:txBody>
      </p:sp>
      <p:graphicFrame>
        <p:nvGraphicFramePr>
          <p:cNvPr id="14" name="Diagrammplatzhalter 17">
            <a:extLst>
              <a:ext uri="{FF2B5EF4-FFF2-40B4-BE49-F238E27FC236}">
                <a16:creationId xmlns:a16="http://schemas.microsoft.com/office/drawing/2014/main" id="{111F1287-F60A-400A-905C-88B3A6C54503}"/>
              </a:ext>
            </a:extLst>
          </p:cNvPr>
          <p:cNvGraphicFramePr>
            <a:graphicFrameLocks/>
          </p:cNvGraphicFramePr>
          <p:nvPr>
            <p:extLst>
              <p:ext uri="{D42A27DB-BD31-4B8C-83A1-F6EECF244321}">
                <p14:modId xmlns:p14="http://schemas.microsoft.com/office/powerpoint/2010/main" val="731466257"/>
              </p:ext>
            </p:extLst>
          </p:nvPr>
        </p:nvGraphicFramePr>
        <p:xfrm>
          <a:off x="3503613" y="836613"/>
          <a:ext cx="4895850" cy="5256212"/>
        </p:xfrm>
        <a:graphic>
          <a:graphicData uri="http://schemas.openxmlformats.org/drawingml/2006/chart">
            <c:chart xmlns:c="http://schemas.openxmlformats.org/drawingml/2006/chart" xmlns:r="http://schemas.openxmlformats.org/officeDocument/2006/relationships" r:id="rId2"/>
          </a:graphicData>
        </a:graphic>
      </p:graphicFrame>
      <p:sp>
        <p:nvSpPr>
          <p:cNvPr id="15" name="Freihandform: Form 14">
            <a:extLst>
              <a:ext uri="{FF2B5EF4-FFF2-40B4-BE49-F238E27FC236}">
                <a16:creationId xmlns:a16="http://schemas.microsoft.com/office/drawing/2014/main" id="{63A1A0B9-37D4-413D-A584-91F6396C0871}"/>
              </a:ext>
            </a:extLst>
          </p:cNvPr>
          <p:cNvSpPr/>
          <p:nvPr/>
        </p:nvSpPr>
        <p:spPr bwMode="gray">
          <a:xfrm>
            <a:off x="7608320" y="1484848"/>
            <a:ext cx="1368000" cy="576000"/>
          </a:xfrm>
          <a:custGeom>
            <a:avLst/>
            <a:gdLst>
              <a:gd name="connsiteX0" fmla="*/ 0 w 1419225"/>
              <a:gd name="connsiteY0" fmla="*/ 571500 h 571500"/>
              <a:gd name="connsiteX1" fmla="*/ 571500 w 1419225"/>
              <a:gd name="connsiteY1" fmla="*/ 0 h 571500"/>
              <a:gd name="connsiteX2" fmla="*/ 1419225 w 1419225"/>
              <a:gd name="connsiteY2" fmla="*/ 0 h 571500"/>
            </a:gdLst>
            <a:ahLst/>
            <a:cxnLst>
              <a:cxn ang="0">
                <a:pos x="connsiteX0" y="connsiteY0"/>
              </a:cxn>
              <a:cxn ang="0">
                <a:pos x="connsiteX1" y="connsiteY1"/>
              </a:cxn>
              <a:cxn ang="0">
                <a:pos x="connsiteX2" y="connsiteY2"/>
              </a:cxn>
            </a:cxnLst>
            <a:rect l="l" t="t" r="r" b="b"/>
            <a:pathLst>
              <a:path w="1419225" h="571500">
                <a:moveTo>
                  <a:pt x="0" y="571500"/>
                </a:moveTo>
                <a:lnTo>
                  <a:pt x="571500" y="0"/>
                </a:lnTo>
                <a:lnTo>
                  <a:pt x="1419225"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Freihandform: Form 16">
            <a:extLst>
              <a:ext uri="{FF2B5EF4-FFF2-40B4-BE49-F238E27FC236}">
                <a16:creationId xmlns:a16="http://schemas.microsoft.com/office/drawing/2014/main" id="{BB248FDA-72C6-4F12-9485-E7499485C217}"/>
              </a:ext>
            </a:extLst>
          </p:cNvPr>
          <p:cNvSpPr/>
          <p:nvPr/>
        </p:nvSpPr>
        <p:spPr bwMode="gray">
          <a:xfrm flipV="1">
            <a:off x="7176320" y="4437224"/>
            <a:ext cx="1800000" cy="972000"/>
          </a:xfrm>
          <a:custGeom>
            <a:avLst/>
            <a:gdLst>
              <a:gd name="connsiteX0" fmla="*/ 0 w 1419225"/>
              <a:gd name="connsiteY0" fmla="*/ 571500 h 571500"/>
              <a:gd name="connsiteX1" fmla="*/ 571500 w 1419225"/>
              <a:gd name="connsiteY1" fmla="*/ 0 h 571500"/>
              <a:gd name="connsiteX2" fmla="*/ 1419225 w 1419225"/>
              <a:gd name="connsiteY2" fmla="*/ 0 h 571500"/>
              <a:gd name="connsiteX0" fmla="*/ 0 w 2133600"/>
              <a:gd name="connsiteY0" fmla="*/ 1276350 h 1276350"/>
              <a:gd name="connsiteX1" fmla="*/ 1285875 w 2133600"/>
              <a:gd name="connsiteY1" fmla="*/ 0 h 1276350"/>
              <a:gd name="connsiteX2" fmla="*/ 2133600 w 2133600"/>
              <a:gd name="connsiteY2" fmla="*/ 0 h 1276350"/>
              <a:gd name="connsiteX0" fmla="*/ 0 w 1838325"/>
              <a:gd name="connsiteY0" fmla="*/ 981075 h 981075"/>
              <a:gd name="connsiteX1" fmla="*/ 990600 w 1838325"/>
              <a:gd name="connsiteY1" fmla="*/ 0 h 981075"/>
              <a:gd name="connsiteX2" fmla="*/ 1838325 w 1838325"/>
              <a:gd name="connsiteY2" fmla="*/ 0 h 981075"/>
            </a:gdLst>
            <a:ahLst/>
            <a:cxnLst>
              <a:cxn ang="0">
                <a:pos x="connsiteX0" y="connsiteY0"/>
              </a:cxn>
              <a:cxn ang="0">
                <a:pos x="connsiteX1" y="connsiteY1"/>
              </a:cxn>
              <a:cxn ang="0">
                <a:pos x="connsiteX2" y="connsiteY2"/>
              </a:cxn>
            </a:cxnLst>
            <a:rect l="l" t="t" r="r" b="b"/>
            <a:pathLst>
              <a:path w="1838325" h="981075">
                <a:moveTo>
                  <a:pt x="0" y="981075"/>
                </a:moveTo>
                <a:lnTo>
                  <a:pt x="990600" y="0"/>
                </a:lnTo>
                <a:lnTo>
                  <a:pt x="1838325"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hteck 18">
            <a:extLst>
              <a:ext uri="{FF2B5EF4-FFF2-40B4-BE49-F238E27FC236}">
                <a16:creationId xmlns:a16="http://schemas.microsoft.com/office/drawing/2014/main" id="{3B5160E8-BDBF-437B-8B07-2998CDECF9A4}"/>
              </a:ext>
            </a:extLst>
          </p:cNvPr>
          <p:cNvSpPr/>
          <p:nvPr/>
        </p:nvSpPr>
        <p:spPr bwMode="gray">
          <a:xfrm>
            <a:off x="9120188" y="1196752"/>
            <a:ext cx="2447925" cy="12235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dirty="0">
                <a:solidFill>
                  <a:schemeClr val="tx1"/>
                </a:solidFill>
              </a:rPr>
              <a:t>Lorem ipsum dolor sit amet, consectetuer adipiscing elit</a:t>
            </a:r>
          </a:p>
        </p:txBody>
      </p:sp>
      <p:sp>
        <p:nvSpPr>
          <p:cNvPr id="20" name="Rechteck 19">
            <a:extLst>
              <a:ext uri="{FF2B5EF4-FFF2-40B4-BE49-F238E27FC236}">
                <a16:creationId xmlns:a16="http://schemas.microsoft.com/office/drawing/2014/main" id="{35601A2C-DE07-40FC-A28F-D9B0E98CDBE5}"/>
              </a:ext>
            </a:extLst>
          </p:cNvPr>
          <p:cNvSpPr/>
          <p:nvPr/>
        </p:nvSpPr>
        <p:spPr bwMode="gray">
          <a:xfrm>
            <a:off x="9123958" y="3140968"/>
            <a:ext cx="2447925" cy="12235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dirty="0">
                <a:solidFill>
                  <a:schemeClr val="tx1"/>
                </a:solidFill>
              </a:rPr>
              <a:t>Lorem ipsum dolor sit amet, consectetuer adipiscing elit</a:t>
            </a:r>
          </a:p>
        </p:txBody>
      </p:sp>
      <p:sp>
        <p:nvSpPr>
          <p:cNvPr id="22" name="Rechteck 21">
            <a:extLst>
              <a:ext uri="{FF2B5EF4-FFF2-40B4-BE49-F238E27FC236}">
                <a16:creationId xmlns:a16="http://schemas.microsoft.com/office/drawing/2014/main" id="{58351458-6FC6-4ABD-9156-AED9FFB06660}"/>
              </a:ext>
            </a:extLst>
          </p:cNvPr>
          <p:cNvSpPr/>
          <p:nvPr/>
        </p:nvSpPr>
        <p:spPr bwMode="gray">
          <a:xfrm>
            <a:off x="9127728" y="5085184"/>
            <a:ext cx="2447925" cy="12235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dirty="0">
                <a:solidFill>
                  <a:schemeClr val="tx1"/>
                </a:solidFill>
              </a:rPr>
              <a:t>Lorem ipsum dolor sit amet, consectetuer adipiscing elit</a:t>
            </a:r>
          </a:p>
        </p:txBody>
      </p:sp>
      <p:sp>
        <p:nvSpPr>
          <p:cNvPr id="3" name="Fußzeilenplatzhalter 2">
            <a:extLst>
              <a:ext uri="{FF2B5EF4-FFF2-40B4-BE49-F238E27FC236}">
                <a16:creationId xmlns:a16="http://schemas.microsoft.com/office/drawing/2014/main" id="{6609609E-25CC-48FC-A8D9-C8BCEE37A5B9}"/>
              </a:ext>
            </a:extLst>
          </p:cNvPr>
          <p:cNvSpPr>
            <a:spLocks noGrp="1"/>
          </p:cNvSpPr>
          <p:nvPr>
            <p:ph type="ftr" sz="quarter" idx="16"/>
          </p:nvPr>
        </p:nvSpPr>
        <p:spPr bwMode="gray"/>
        <p:txBody>
          <a:bodyPr/>
          <a:lstStyle/>
          <a:p>
            <a:r>
              <a:rPr lang="en-US"/>
              <a:t>Footnote: Please insert appropriate company</a:t>
            </a:r>
            <a:endParaRPr lang="de-DE" dirty="0"/>
          </a:p>
        </p:txBody>
      </p:sp>
      <p:cxnSp>
        <p:nvCxnSpPr>
          <p:cNvPr id="5" name="Gerader Verbinder 4">
            <a:extLst>
              <a:ext uri="{FF2B5EF4-FFF2-40B4-BE49-F238E27FC236}">
                <a16:creationId xmlns:a16="http://schemas.microsoft.com/office/drawing/2014/main" id="{6F6EF0B5-E709-4D76-A706-95E015F37D65}"/>
              </a:ext>
            </a:extLst>
          </p:cNvPr>
          <p:cNvCxnSpPr/>
          <p:nvPr/>
        </p:nvCxnSpPr>
        <p:spPr bwMode="gray">
          <a:xfrm>
            <a:off x="7824192" y="3429000"/>
            <a:ext cx="1152128" cy="0"/>
          </a:xfrm>
          <a:prstGeom prst="lin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2" name="Foliennummernplatzhalter 1">
            <a:extLst>
              <a:ext uri="{FF2B5EF4-FFF2-40B4-BE49-F238E27FC236}">
                <a16:creationId xmlns:a16="http://schemas.microsoft.com/office/drawing/2014/main" id="{8507838E-39C3-42A6-ADE7-D4595376F9A5}"/>
              </a:ext>
            </a:extLst>
          </p:cNvPr>
          <p:cNvSpPr>
            <a:spLocks noGrp="1"/>
          </p:cNvSpPr>
          <p:nvPr>
            <p:ph type="sldNum" sz="quarter" idx="12"/>
          </p:nvPr>
        </p:nvSpPr>
        <p:spPr/>
        <p:txBody>
          <a:bodyPr/>
          <a:lstStyle/>
          <a:p>
            <a:fld id="{CE82B8A1-0CCE-4815-9668-383D7DE7D8B4}" type="slidenum">
              <a:rPr lang="en-US" noProof="0" smtClean="0"/>
              <a:pPr/>
              <a:t>17</a:t>
            </a:fld>
            <a:endParaRPr lang="en-US" noProof="0" dirty="0"/>
          </a:p>
        </p:txBody>
      </p:sp>
    </p:spTree>
    <p:extLst>
      <p:ext uri="{BB962C8B-B14F-4D97-AF65-F5344CB8AC3E}">
        <p14:creationId xmlns:p14="http://schemas.microsoft.com/office/powerpoint/2010/main" val="29770988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9D15BD9F-CEA8-4E58-A30C-D3C8AFCBF30C}"/>
              </a:ext>
            </a:extLst>
          </p:cNvPr>
          <p:cNvSpPr>
            <a:spLocks noGrp="1"/>
          </p:cNvSpPr>
          <p:nvPr>
            <p:ph type="title"/>
          </p:nvPr>
        </p:nvSpPr>
        <p:spPr bwMode="gray"/>
        <p:txBody>
          <a:bodyPr/>
          <a:lstStyle/>
          <a:p>
            <a:r>
              <a:rPr lang="en-US"/>
              <a:t>Go to Market</a:t>
            </a:r>
            <a:endParaRPr lang="en-US" dirty="0"/>
          </a:p>
        </p:txBody>
      </p:sp>
      <p:sp>
        <p:nvSpPr>
          <p:cNvPr id="9" name="Textplatzhalter 8">
            <a:extLst>
              <a:ext uri="{FF2B5EF4-FFF2-40B4-BE49-F238E27FC236}">
                <a16:creationId xmlns:a16="http://schemas.microsoft.com/office/drawing/2014/main" id="{EDA10F32-BF86-4938-8486-B9CD4AD9BA3C}"/>
              </a:ext>
            </a:extLst>
          </p:cNvPr>
          <p:cNvSpPr>
            <a:spLocks noGrp="1"/>
          </p:cNvSpPr>
          <p:nvPr>
            <p:ph type="body" sz="quarter" idx="17"/>
          </p:nvPr>
        </p:nvSpPr>
        <p:spPr bwMode="gray"/>
        <p:txBody>
          <a:bodyPr/>
          <a:lstStyle/>
          <a:p>
            <a:r>
              <a:rPr lang="en-US"/>
              <a:t>1</a:t>
            </a:r>
            <a:endParaRPr lang="en-US" dirty="0"/>
          </a:p>
        </p:txBody>
      </p:sp>
      <p:sp>
        <p:nvSpPr>
          <p:cNvPr id="14" name="Textplatzhalter 13">
            <a:extLst>
              <a:ext uri="{FF2B5EF4-FFF2-40B4-BE49-F238E27FC236}">
                <a16:creationId xmlns:a16="http://schemas.microsoft.com/office/drawing/2014/main" id="{ADFF6E98-B884-425D-ACD4-53BB08719BB4}"/>
              </a:ext>
            </a:extLst>
          </p:cNvPr>
          <p:cNvSpPr>
            <a:spLocks noGrp="1"/>
          </p:cNvSpPr>
          <p:nvPr>
            <p:ph type="body" sz="quarter" idx="22"/>
          </p:nvPr>
        </p:nvSpPr>
        <p:spPr bwMode="gray"/>
        <p:txBody>
          <a:bodyPr/>
          <a:lstStyle/>
          <a:p>
            <a:pPr algn="ctr"/>
            <a:r>
              <a:rPr lang="en-US"/>
              <a:t>Brainstorming</a:t>
            </a:r>
            <a:endParaRPr lang="en-US" dirty="0"/>
          </a:p>
          <a:p>
            <a:pPr lvl="1"/>
            <a:r>
              <a:rPr lang="en-US"/>
              <a:t>Ejercicio KJ en Villa de Leyva con toda la compañía. Realizado por divisiones</a:t>
            </a:r>
            <a:endParaRPr lang="en-US" dirty="0"/>
          </a:p>
        </p:txBody>
      </p:sp>
      <p:sp>
        <p:nvSpPr>
          <p:cNvPr id="17" name="Textplatzhalter 16">
            <a:extLst>
              <a:ext uri="{FF2B5EF4-FFF2-40B4-BE49-F238E27FC236}">
                <a16:creationId xmlns:a16="http://schemas.microsoft.com/office/drawing/2014/main" id="{12E90683-A0F4-46C9-A24E-0CAF57146430}"/>
              </a:ext>
            </a:extLst>
          </p:cNvPr>
          <p:cNvSpPr>
            <a:spLocks noGrp="1"/>
          </p:cNvSpPr>
          <p:nvPr>
            <p:ph type="body" sz="quarter" idx="23"/>
          </p:nvPr>
        </p:nvSpPr>
        <p:spPr bwMode="gray"/>
        <p:txBody>
          <a:bodyPr/>
          <a:lstStyle/>
          <a:p>
            <a:pPr algn="ctr"/>
            <a:r>
              <a:rPr lang="en-US"/>
              <a:t>Priorización</a:t>
            </a:r>
          </a:p>
          <a:p>
            <a:pPr algn="ctr"/>
            <a:r>
              <a:rPr lang="en-US">
                <a:latin typeface="+mn-lt"/>
              </a:rPr>
              <a:t>Revisión de iniciativas, valoración de retorno y tiempo de ejecución </a:t>
            </a:r>
            <a:endParaRPr lang="en-US" dirty="0">
              <a:latin typeface="+mn-lt"/>
            </a:endParaRPr>
          </a:p>
        </p:txBody>
      </p:sp>
      <p:sp>
        <p:nvSpPr>
          <p:cNvPr id="18" name="Textplatzhalter 17">
            <a:extLst>
              <a:ext uri="{FF2B5EF4-FFF2-40B4-BE49-F238E27FC236}">
                <a16:creationId xmlns:a16="http://schemas.microsoft.com/office/drawing/2014/main" id="{4FA09FA8-3AD2-4491-8919-6112627C53A1}"/>
              </a:ext>
            </a:extLst>
          </p:cNvPr>
          <p:cNvSpPr>
            <a:spLocks noGrp="1"/>
          </p:cNvSpPr>
          <p:nvPr>
            <p:ph type="body" sz="quarter" idx="24"/>
          </p:nvPr>
        </p:nvSpPr>
        <p:spPr bwMode="gray"/>
        <p:txBody>
          <a:bodyPr/>
          <a:lstStyle/>
          <a:p>
            <a:r>
              <a:rPr lang="en-US"/>
              <a:t>Asignación de proyectos</a:t>
            </a:r>
            <a:endParaRPr lang="en-US" dirty="0"/>
          </a:p>
          <a:p>
            <a:pPr lvl="1"/>
            <a:r>
              <a:rPr lang="en-US"/>
              <a:t>Desarrollo de iniciativas por equipo seleccionado, explicación de entregables y cronograma de trabajo</a:t>
            </a:r>
            <a:endParaRPr lang="en-US" dirty="0"/>
          </a:p>
        </p:txBody>
      </p:sp>
      <p:sp>
        <p:nvSpPr>
          <p:cNvPr id="19" name="Textplatzhalter 18">
            <a:extLst>
              <a:ext uri="{FF2B5EF4-FFF2-40B4-BE49-F238E27FC236}">
                <a16:creationId xmlns:a16="http://schemas.microsoft.com/office/drawing/2014/main" id="{700BD282-ACDB-45A6-909F-2AB88D9183BA}"/>
              </a:ext>
            </a:extLst>
          </p:cNvPr>
          <p:cNvSpPr>
            <a:spLocks noGrp="1"/>
          </p:cNvSpPr>
          <p:nvPr>
            <p:ph type="body" sz="quarter" idx="25"/>
          </p:nvPr>
        </p:nvSpPr>
        <p:spPr bwMode="gray"/>
        <p:txBody>
          <a:bodyPr/>
          <a:lstStyle/>
          <a:p>
            <a:pPr algn="ctr"/>
            <a:r>
              <a:rPr lang="en-US"/>
              <a:t>Entregables finales</a:t>
            </a:r>
          </a:p>
          <a:p>
            <a:pPr lvl="1"/>
            <a:r>
              <a:rPr lang="en-US"/>
              <a:t>Reportes finales y selección de iniciativas para 2025</a:t>
            </a:r>
            <a:endParaRPr lang="en-US" dirty="0"/>
          </a:p>
        </p:txBody>
      </p:sp>
      <p:sp>
        <p:nvSpPr>
          <p:cNvPr id="11" name="Textplatzhalter 10">
            <a:extLst>
              <a:ext uri="{FF2B5EF4-FFF2-40B4-BE49-F238E27FC236}">
                <a16:creationId xmlns:a16="http://schemas.microsoft.com/office/drawing/2014/main" id="{E2FD6BCD-925F-4B94-99E7-0A3B7834279A}"/>
              </a:ext>
            </a:extLst>
          </p:cNvPr>
          <p:cNvSpPr>
            <a:spLocks noGrp="1"/>
          </p:cNvSpPr>
          <p:nvPr>
            <p:ph type="body" sz="quarter" idx="26"/>
          </p:nvPr>
        </p:nvSpPr>
        <p:spPr bwMode="gray"/>
        <p:txBody>
          <a:bodyPr/>
          <a:lstStyle/>
          <a:p>
            <a:r>
              <a:rPr lang="en-US" dirty="0"/>
              <a:t>000</a:t>
            </a:r>
          </a:p>
        </p:txBody>
      </p:sp>
      <p:sp>
        <p:nvSpPr>
          <p:cNvPr id="12" name="Textplatzhalter 11">
            <a:extLst>
              <a:ext uri="{FF2B5EF4-FFF2-40B4-BE49-F238E27FC236}">
                <a16:creationId xmlns:a16="http://schemas.microsoft.com/office/drawing/2014/main" id="{D920F989-00F0-4E94-948F-93E5CF77133B}"/>
              </a:ext>
            </a:extLst>
          </p:cNvPr>
          <p:cNvSpPr>
            <a:spLocks noGrp="1"/>
          </p:cNvSpPr>
          <p:nvPr>
            <p:ph type="body" sz="quarter" idx="27"/>
          </p:nvPr>
        </p:nvSpPr>
        <p:spPr bwMode="gray"/>
        <p:txBody>
          <a:bodyPr/>
          <a:lstStyle/>
          <a:p>
            <a:r>
              <a:rPr lang="en-US" dirty="0"/>
              <a:t>00</a:t>
            </a:r>
          </a:p>
        </p:txBody>
      </p:sp>
      <p:sp>
        <p:nvSpPr>
          <p:cNvPr id="13" name="Textplatzhalter 12">
            <a:extLst>
              <a:ext uri="{FF2B5EF4-FFF2-40B4-BE49-F238E27FC236}">
                <a16:creationId xmlns:a16="http://schemas.microsoft.com/office/drawing/2014/main" id="{48963282-1249-4CCF-BA73-96C8AF5D873F}"/>
              </a:ext>
            </a:extLst>
          </p:cNvPr>
          <p:cNvSpPr>
            <a:spLocks noGrp="1"/>
          </p:cNvSpPr>
          <p:nvPr>
            <p:ph type="body" sz="quarter" idx="28"/>
          </p:nvPr>
        </p:nvSpPr>
        <p:spPr bwMode="gray"/>
        <p:txBody>
          <a:bodyPr/>
          <a:lstStyle/>
          <a:p>
            <a:r>
              <a:rPr lang="en-US" dirty="0"/>
              <a:t>000</a:t>
            </a:r>
          </a:p>
        </p:txBody>
      </p:sp>
      <p:sp>
        <p:nvSpPr>
          <p:cNvPr id="30" name="Textplatzhalter 29">
            <a:extLst>
              <a:ext uri="{FF2B5EF4-FFF2-40B4-BE49-F238E27FC236}">
                <a16:creationId xmlns:a16="http://schemas.microsoft.com/office/drawing/2014/main" id="{FE093035-FD4B-4F61-A08C-2475195A80B3}"/>
              </a:ext>
            </a:extLst>
          </p:cNvPr>
          <p:cNvSpPr>
            <a:spLocks noGrp="1"/>
          </p:cNvSpPr>
          <p:nvPr>
            <p:ph type="body" sz="quarter" idx="29"/>
          </p:nvPr>
        </p:nvSpPr>
        <p:spPr bwMode="gray"/>
        <p:txBody>
          <a:bodyPr/>
          <a:lstStyle/>
          <a:p>
            <a:endParaRPr lang="en-US" dirty="0"/>
          </a:p>
        </p:txBody>
      </p:sp>
      <p:sp>
        <p:nvSpPr>
          <p:cNvPr id="31" name="Textplatzhalter 30">
            <a:extLst>
              <a:ext uri="{FF2B5EF4-FFF2-40B4-BE49-F238E27FC236}">
                <a16:creationId xmlns:a16="http://schemas.microsoft.com/office/drawing/2014/main" id="{97053E5C-9D7B-4902-93F0-0DD5F631F36B}"/>
              </a:ext>
            </a:extLst>
          </p:cNvPr>
          <p:cNvSpPr>
            <a:spLocks noGrp="1"/>
          </p:cNvSpPr>
          <p:nvPr>
            <p:ph type="body" sz="quarter" idx="30"/>
          </p:nvPr>
        </p:nvSpPr>
        <p:spPr bwMode="gray"/>
        <p:txBody>
          <a:bodyPr/>
          <a:lstStyle/>
          <a:p>
            <a:r>
              <a:rPr lang="en-US"/>
              <a:t>2</a:t>
            </a:r>
            <a:endParaRPr lang="en-US" dirty="0"/>
          </a:p>
        </p:txBody>
      </p:sp>
      <p:sp>
        <p:nvSpPr>
          <p:cNvPr id="32" name="Textplatzhalter 31">
            <a:extLst>
              <a:ext uri="{FF2B5EF4-FFF2-40B4-BE49-F238E27FC236}">
                <a16:creationId xmlns:a16="http://schemas.microsoft.com/office/drawing/2014/main" id="{9A43A67D-CD2F-461A-8BAE-DBA5DC2761B2}"/>
              </a:ext>
            </a:extLst>
          </p:cNvPr>
          <p:cNvSpPr>
            <a:spLocks noGrp="1"/>
          </p:cNvSpPr>
          <p:nvPr>
            <p:ph type="body" sz="quarter" idx="31"/>
          </p:nvPr>
        </p:nvSpPr>
        <p:spPr bwMode="gray"/>
        <p:txBody>
          <a:bodyPr/>
          <a:lstStyle/>
          <a:p>
            <a:r>
              <a:rPr lang="en-US"/>
              <a:t>3</a:t>
            </a:r>
            <a:endParaRPr lang="en-US" dirty="0"/>
          </a:p>
        </p:txBody>
      </p:sp>
      <p:sp>
        <p:nvSpPr>
          <p:cNvPr id="33" name="Textplatzhalter 32">
            <a:extLst>
              <a:ext uri="{FF2B5EF4-FFF2-40B4-BE49-F238E27FC236}">
                <a16:creationId xmlns:a16="http://schemas.microsoft.com/office/drawing/2014/main" id="{19A60BFC-F982-4359-8E03-E1BD811B46E8}"/>
              </a:ext>
            </a:extLst>
          </p:cNvPr>
          <p:cNvSpPr>
            <a:spLocks noGrp="1"/>
          </p:cNvSpPr>
          <p:nvPr>
            <p:ph type="body" sz="quarter" idx="32"/>
          </p:nvPr>
        </p:nvSpPr>
        <p:spPr bwMode="gray"/>
        <p:txBody>
          <a:bodyPr/>
          <a:lstStyle/>
          <a:p>
            <a:r>
              <a:rPr lang="en-US"/>
              <a:t>4</a:t>
            </a:r>
            <a:endParaRPr lang="en-US" dirty="0"/>
          </a:p>
        </p:txBody>
      </p:sp>
      <p:pic>
        <p:nvPicPr>
          <p:cNvPr id="15" name="Bildplatzhalter 14">
            <a:extLst>
              <a:ext uri="{FF2B5EF4-FFF2-40B4-BE49-F238E27FC236}">
                <a16:creationId xmlns:a16="http://schemas.microsoft.com/office/drawing/2014/main" id="{183A125D-DFC6-4CD8-BB2F-B90455512561}"/>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a:stretch/>
        </p:blipFill>
        <p:spPr bwMode="gray">
          <a:xfrm>
            <a:off x="6707355" y="188913"/>
            <a:ext cx="4753306" cy="3168079"/>
          </a:xfrm>
        </p:spPr>
      </p:pic>
      <p:pic>
        <p:nvPicPr>
          <p:cNvPr id="24" name="Bildplatzhalter 5">
            <a:extLst>
              <a:ext uri="{FF2B5EF4-FFF2-40B4-BE49-F238E27FC236}">
                <a16:creationId xmlns:a16="http://schemas.microsoft.com/office/drawing/2014/main" id="{EA6164BA-70BB-48A8-8499-13BA956AED3A}"/>
              </a:ext>
            </a:extLst>
          </p:cNvPr>
          <p:cNvPicPr>
            <a:picLocks noGrp="1" noChangeAspect="1"/>
          </p:cNvPicPr>
          <p:nvPr>
            <p:ph type="pic" sz="quarter" idx="18"/>
          </p:nvPr>
        </p:nvPicPr>
        <p:blipFill>
          <a:blip r:embed="rId3" cstate="print">
            <a:extLst>
              <a:ext uri="{28A0092B-C50C-407E-A947-70E740481C1C}">
                <a14:useLocalDpi xmlns:a14="http://schemas.microsoft.com/office/drawing/2010/main" val="0"/>
              </a:ext>
            </a:extLst>
          </a:blip>
          <a:srcRect/>
          <a:stretch/>
        </p:blipFill>
        <p:spPr bwMode="gray">
          <a:xfrm>
            <a:off x="3376316" y="1773238"/>
            <a:ext cx="2377081" cy="1584325"/>
          </a:xfrm>
        </p:spPr>
      </p:pic>
      <p:sp>
        <p:nvSpPr>
          <p:cNvPr id="3" name="Fußzeilenplatzhalter 2">
            <a:extLst>
              <a:ext uri="{FF2B5EF4-FFF2-40B4-BE49-F238E27FC236}">
                <a16:creationId xmlns:a16="http://schemas.microsoft.com/office/drawing/2014/main" id="{D2CFC06D-FD78-41BE-A165-D04017D48789}"/>
              </a:ext>
            </a:extLst>
          </p:cNvPr>
          <p:cNvSpPr>
            <a:spLocks noGrp="1"/>
          </p:cNvSpPr>
          <p:nvPr>
            <p:ph type="ftr" sz="quarter" idx="33"/>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DA4B932D-CD85-45FA-B8B2-539B522127DF}"/>
              </a:ext>
            </a:extLst>
          </p:cNvPr>
          <p:cNvSpPr>
            <a:spLocks noGrp="1"/>
          </p:cNvSpPr>
          <p:nvPr>
            <p:ph type="sldNum" sz="quarter" idx="12"/>
          </p:nvPr>
        </p:nvSpPr>
        <p:spPr/>
        <p:txBody>
          <a:bodyPr/>
          <a:lstStyle/>
          <a:p>
            <a:fld id="{CE82B8A1-0CCE-4815-9668-383D7DE7D8B4}" type="slidenum">
              <a:rPr lang="en-US" noProof="0" smtClean="0"/>
              <a:t>18</a:t>
            </a:fld>
            <a:endParaRPr lang="en-US" noProof="0" dirty="0"/>
          </a:p>
        </p:txBody>
      </p:sp>
    </p:spTree>
    <p:extLst>
      <p:ext uri="{BB962C8B-B14F-4D97-AF65-F5344CB8AC3E}">
        <p14:creationId xmlns:p14="http://schemas.microsoft.com/office/powerpoint/2010/main" val="40251408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Inhaltsplatzhalter 23">
            <a:extLst>
              <a:ext uri="{FF2B5EF4-FFF2-40B4-BE49-F238E27FC236}">
                <a16:creationId xmlns:a16="http://schemas.microsoft.com/office/drawing/2014/main" id="{623A304C-9E1D-40F9-B964-AFD2921060B7}"/>
              </a:ext>
            </a:extLst>
          </p:cNvPr>
          <p:cNvSpPr>
            <a:spLocks noGrp="1"/>
          </p:cNvSpPr>
          <p:nvPr>
            <p:ph sz="quarter" idx="13"/>
          </p:nvPr>
        </p:nvSpPr>
        <p:spPr bwMode="gray"/>
        <p:txBody>
          <a:bodyPr/>
          <a:lstStyle/>
          <a:p>
            <a:r>
              <a:rPr lang="en-US" dirty="0"/>
              <a:t>Lorem ipsum dolor sit amet, consectetuer adipiscing elit.</a:t>
            </a:r>
          </a:p>
          <a:p>
            <a:pPr lvl="1"/>
            <a:r>
              <a:rPr lang="en-US" dirty="0"/>
              <a:t>Maecenas porttitor congue massa.</a:t>
            </a:r>
          </a:p>
          <a:p>
            <a:pPr lvl="2"/>
            <a:r>
              <a:rPr lang="en-US" dirty="0"/>
              <a:t>Fusce posuere, magna sed pulvinar</a:t>
            </a:r>
          </a:p>
          <a:p>
            <a:pPr lvl="2"/>
            <a:r>
              <a:rPr lang="en-US" dirty="0"/>
              <a:t>Ultricies, purus lectus malesuada libero</a:t>
            </a:r>
          </a:p>
          <a:p>
            <a:pPr lvl="2"/>
            <a:r>
              <a:rPr lang="en-US" dirty="0"/>
              <a:t>Sit amet commodo magna eros quis urna</a:t>
            </a:r>
          </a:p>
          <a:p>
            <a:pPr lvl="2"/>
            <a:r>
              <a:rPr lang="en-US" dirty="0"/>
              <a:t>Nunc viverra imperdiet enim. Fusce est</a:t>
            </a:r>
          </a:p>
          <a:p>
            <a:pPr lvl="2"/>
            <a:r>
              <a:rPr lang="en-US" dirty="0"/>
              <a:t>Vivamus a tellus. Pellentesque habitant</a:t>
            </a:r>
          </a:p>
        </p:txBody>
      </p:sp>
      <p:sp>
        <p:nvSpPr>
          <p:cNvPr id="2" name="Titel 1">
            <a:extLst>
              <a:ext uri="{FF2B5EF4-FFF2-40B4-BE49-F238E27FC236}">
                <a16:creationId xmlns:a16="http://schemas.microsoft.com/office/drawing/2014/main" id="{FF553F57-F999-4D18-AFF5-0F34CFF15409}"/>
              </a:ext>
            </a:extLst>
          </p:cNvPr>
          <p:cNvSpPr>
            <a:spLocks noGrp="1"/>
          </p:cNvSpPr>
          <p:nvPr>
            <p:ph type="title"/>
          </p:nvPr>
        </p:nvSpPr>
        <p:spPr bwMode="gray"/>
        <p:txBody>
          <a:bodyPr/>
          <a:lstStyle/>
          <a:p>
            <a:r>
              <a:rPr lang="en-US" dirty="0"/>
              <a:t>Lorem ipsum dolor sit amet, consectetuer</a:t>
            </a:r>
          </a:p>
        </p:txBody>
      </p:sp>
      <p:sp>
        <p:nvSpPr>
          <p:cNvPr id="28" name="Inhaltsplatzhalter 27">
            <a:extLst>
              <a:ext uri="{FF2B5EF4-FFF2-40B4-BE49-F238E27FC236}">
                <a16:creationId xmlns:a16="http://schemas.microsoft.com/office/drawing/2014/main" id="{45BF7CE3-1E0E-470A-AA39-5A3BD8B35EBC}"/>
              </a:ext>
            </a:extLst>
          </p:cNvPr>
          <p:cNvSpPr>
            <a:spLocks noGrp="1"/>
          </p:cNvSpPr>
          <p:nvPr>
            <p:ph sz="quarter" idx="19"/>
          </p:nvPr>
        </p:nvSpPr>
        <p:spPr bwMode="gray">
          <a:xfrm>
            <a:off x="4439800" y="3933056"/>
            <a:ext cx="3384000" cy="2376000"/>
          </a:xfrm>
        </p:spPr>
        <p:txBody>
          <a:bodyPr/>
          <a:lstStyle/>
          <a:p>
            <a:r>
              <a:rPr lang="en-US" dirty="0"/>
              <a:t>Lorem ipsum dolor sit amet, consectetuer adipiscing elit.</a:t>
            </a:r>
          </a:p>
          <a:p>
            <a:pPr lvl="1"/>
            <a:r>
              <a:rPr lang="en-US" dirty="0"/>
              <a:t>Maecenas porttitor congue massa.</a:t>
            </a:r>
          </a:p>
          <a:p>
            <a:pPr lvl="2"/>
            <a:r>
              <a:rPr lang="en-US" dirty="0"/>
              <a:t>Fusce posuere, magna sed pulvinar</a:t>
            </a:r>
          </a:p>
          <a:p>
            <a:pPr lvl="2"/>
            <a:r>
              <a:rPr lang="en-US" dirty="0"/>
              <a:t>Ultricies, purus lectus malesuada libero</a:t>
            </a:r>
          </a:p>
          <a:p>
            <a:pPr lvl="2"/>
            <a:r>
              <a:rPr lang="en-US" dirty="0"/>
              <a:t>Sit amet commodo magna eros quis urna</a:t>
            </a:r>
          </a:p>
          <a:p>
            <a:pPr lvl="2"/>
            <a:r>
              <a:rPr lang="en-US" dirty="0"/>
              <a:t>Nunc viverra imperdiet enim. Fusce est</a:t>
            </a:r>
          </a:p>
          <a:p>
            <a:pPr lvl="2"/>
            <a:r>
              <a:rPr lang="en-US" dirty="0"/>
              <a:t>Vivamus a tellus. Pellentesque habitant</a:t>
            </a:r>
          </a:p>
        </p:txBody>
      </p:sp>
      <p:sp>
        <p:nvSpPr>
          <p:cNvPr id="29" name="Inhaltsplatzhalter 28">
            <a:extLst>
              <a:ext uri="{FF2B5EF4-FFF2-40B4-BE49-F238E27FC236}">
                <a16:creationId xmlns:a16="http://schemas.microsoft.com/office/drawing/2014/main" id="{330FB1AF-EBAD-46FE-90B5-A3D3835FDB8C}"/>
              </a:ext>
            </a:extLst>
          </p:cNvPr>
          <p:cNvSpPr>
            <a:spLocks noGrp="1"/>
          </p:cNvSpPr>
          <p:nvPr>
            <p:ph sz="quarter" idx="20"/>
          </p:nvPr>
        </p:nvSpPr>
        <p:spPr bwMode="gray"/>
        <p:txBody>
          <a:bodyPr/>
          <a:lstStyle/>
          <a:p>
            <a:r>
              <a:rPr lang="en-US" dirty="0"/>
              <a:t>Lorem ipsum dolor sit amet, consectetuer adipiscing elit.</a:t>
            </a:r>
          </a:p>
          <a:p>
            <a:pPr lvl="1"/>
            <a:r>
              <a:rPr lang="en-US" dirty="0"/>
              <a:t>Maecenas porttitor congue massa.</a:t>
            </a:r>
          </a:p>
          <a:p>
            <a:pPr lvl="2"/>
            <a:r>
              <a:rPr lang="en-US" dirty="0"/>
              <a:t>Fusce posuere, magna sed pulvinar</a:t>
            </a:r>
          </a:p>
          <a:p>
            <a:pPr lvl="2"/>
            <a:r>
              <a:rPr lang="en-US" dirty="0"/>
              <a:t>Ultricies, purus lectus malesuada libero</a:t>
            </a:r>
          </a:p>
          <a:p>
            <a:pPr lvl="2"/>
            <a:r>
              <a:rPr lang="en-US" dirty="0"/>
              <a:t>Sit amet commodo magna eros quis urna</a:t>
            </a:r>
          </a:p>
          <a:p>
            <a:pPr lvl="2"/>
            <a:r>
              <a:rPr lang="en-US" dirty="0"/>
              <a:t>Nunc viverra imperdiet enim. Fusce est</a:t>
            </a:r>
          </a:p>
          <a:p>
            <a:pPr lvl="2"/>
            <a:r>
              <a:rPr lang="en-US" dirty="0"/>
              <a:t>Vivamus a tellus. Pellentesque habitant</a:t>
            </a:r>
          </a:p>
        </p:txBody>
      </p:sp>
      <p:pic>
        <p:nvPicPr>
          <p:cNvPr id="12" name="Bildplatzhalter 11">
            <a:extLst>
              <a:ext uri="{FF2B5EF4-FFF2-40B4-BE49-F238E27FC236}">
                <a16:creationId xmlns:a16="http://schemas.microsoft.com/office/drawing/2014/main" id="{8BB96862-0123-4BAB-A997-4AA648AFB1DC}"/>
              </a:ext>
            </a:extLst>
          </p:cNvPr>
          <p:cNvPicPr>
            <a:picLocks noGrp="1" noChangeAspect="1"/>
          </p:cNvPicPr>
          <p:nvPr>
            <p:ph type="pic" sz="quarter" idx="15"/>
          </p:nvPr>
        </p:nvPicPr>
        <p:blipFill>
          <a:blip r:embed="rId2" cstate="print">
            <a:extLst>
              <a:ext uri="{28A0092B-C50C-407E-A947-70E740481C1C}">
                <a14:useLocalDpi xmlns:a14="http://schemas.microsoft.com/office/drawing/2010/main" val="0"/>
              </a:ext>
            </a:extLst>
          </a:blip>
          <a:srcRect t="6013" b="6013"/>
          <a:stretch>
            <a:fillRect/>
          </a:stretch>
        </p:blipFill>
        <p:spPr bwMode="gray"/>
      </p:pic>
      <p:pic>
        <p:nvPicPr>
          <p:cNvPr id="16" name="Bildplatzhalter 5">
            <a:extLst>
              <a:ext uri="{FF2B5EF4-FFF2-40B4-BE49-F238E27FC236}">
                <a16:creationId xmlns:a16="http://schemas.microsoft.com/office/drawing/2014/main" id="{4781711F-4B66-4C13-B2A6-16D138212294}"/>
              </a:ext>
            </a:extLst>
          </p:cNvPr>
          <p:cNvPicPr>
            <a:picLocks noGrp="1" noChangeAspect="1"/>
          </p:cNvPicPr>
          <p:nvPr>
            <p:ph type="pic" sz="quarter" idx="17"/>
          </p:nvPr>
        </p:nvPicPr>
        <p:blipFill>
          <a:blip r:embed="rId3" cstate="screen">
            <a:extLst>
              <a:ext uri="{28A0092B-C50C-407E-A947-70E740481C1C}">
                <a14:useLocalDpi xmlns:a14="http://schemas.microsoft.com/office/drawing/2010/main"/>
              </a:ext>
            </a:extLst>
          </a:blip>
          <a:srcRect l="2267" r="2267"/>
          <a:stretch>
            <a:fillRect/>
          </a:stretch>
        </p:blipFill>
        <p:spPr bwMode="gray">
          <a:xfrm>
            <a:off x="623888" y="1773238"/>
            <a:ext cx="3382962" cy="1944687"/>
          </a:xfrm>
        </p:spPr>
      </p:pic>
      <p:pic>
        <p:nvPicPr>
          <p:cNvPr id="17" name="Bildplatzhalter 5">
            <a:extLst>
              <a:ext uri="{FF2B5EF4-FFF2-40B4-BE49-F238E27FC236}">
                <a16:creationId xmlns:a16="http://schemas.microsoft.com/office/drawing/2014/main" id="{CBA3B1F0-D58B-42D0-B03B-57994AECC9E6}"/>
              </a:ext>
            </a:extLst>
          </p:cNvPr>
          <p:cNvPicPr>
            <a:picLocks noGrp="1" noChangeAspect="1"/>
          </p:cNvPicPr>
          <p:nvPr>
            <p:ph type="pic" sz="quarter" idx="18"/>
          </p:nvPr>
        </p:nvPicPr>
        <p:blipFill>
          <a:blip r:embed="rId3" cstate="screen">
            <a:extLst>
              <a:ext uri="{28A0092B-C50C-407E-A947-70E740481C1C}">
                <a14:useLocalDpi xmlns:a14="http://schemas.microsoft.com/office/drawing/2010/main"/>
              </a:ext>
            </a:extLst>
          </a:blip>
          <a:srcRect l="2267" r="2267"/>
          <a:stretch>
            <a:fillRect/>
          </a:stretch>
        </p:blipFill>
        <p:spPr bwMode="gray">
          <a:xfrm>
            <a:off x="8185150" y="1773238"/>
            <a:ext cx="3382963" cy="1944687"/>
          </a:xfrm>
        </p:spPr>
      </p:pic>
      <p:sp>
        <p:nvSpPr>
          <p:cNvPr id="4" name="Fußzeilenplatzhalter 3">
            <a:extLst>
              <a:ext uri="{FF2B5EF4-FFF2-40B4-BE49-F238E27FC236}">
                <a16:creationId xmlns:a16="http://schemas.microsoft.com/office/drawing/2014/main" id="{109B6E51-3711-411D-85DC-99B88B70B7CD}"/>
              </a:ext>
            </a:extLst>
          </p:cNvPr>
          <p:cNvSpPr>
            <a:spLocks noGrp="1"/>
          </p:cNvSpPr>
          <p:nvPr>
            <p:ph type="ftr" sz="quarter" idx="21"/>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CA522E39-CC86-4F30-BCF3-FFCF05659E22}"/>
              </a:ext>
            </a:extLst>
          </p:cNvPr>
          <p:cNvSpPr>
            <a:spLocks noGrp="1"/>
          </p:cNvSpPr>
          <p:nvPr>
            <p:ph type="sldNum" sz="quarter" idx="10"/>
          </p:nvPr>
        </p:nvSpPr>
        <p:spPr/>
        <p:txBody>
          <a:bodyPr/>
          <a:lstStyle/>
          <a:p>
            <a:fld id="{CE82B8A1-0CCE-4815-9668-383D7DE7D8B4}" type="slidenum">
              <a:rPr lang="en-US" noProof="0" smtClean="0"/>
              <a:pPr/>
              <a:t>19</a:t>
            </a:fld>
            <a:endParaRPr lang="en-US" noProof="0" dirty="0"/>
          </a:p>
        </p:txBody>
      </p:sp>
    </p:spTree>
    <p:extLst>
      <p:ext uri="{BB962C8B-B14F-4D97-AF65-F5344CB8AC3E}">
        <p14:creationId xmlns:p14="http://schemas.microsoft.com/office/powerpoint/2010/main" val="31634205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Freihandform: Form 176">
            <a:extLst>
              <a:ext uri="{FF2B5EF4-FFF2-40B4-BE49-F238E27FC236}">
                <a16:creationId xmlns:a16="http://schemas.microsoft.com/office/drawing/2014/main" id="{9117A5FB-F28E-4312-8AD0-81100E262DB9}"/>
              </a:ext>
            </a:extLst>
          </p:cNvPr>
          <p:cNvSpPr/>
          <p:nvPr/>
        </p:nvSpPr>
        <p:spPr bwMode="gray">
          <a:xfrm>
            <a:off x="4731473" y="188640"/>
            <a:ext cx="7269183" cy="6477565"/>
          </a:xfrm>
          <a:custGeom>
            <a:avLst/>
            <a:gdLst>
              <a:gd name="connsiteX0" fmla="*/ 609878 w 7269183"/>
              <a:gd name="connsiteY0" fmla="*/ 0 h 6477565"/>
              <a:gd name="connsiteX1" fmla="*/ 7269183 w 7269183"/>
              <a:gd name="connsiteY1" fmla="*/ 0 h 6477565"/>
              <a:gd name="connsiteX2" fmla="*/ 7269183 w 7269183"/>
              <a:gd name="connsiteY2" fmla="*/ 5261643 h 6477565"/>
              <a:gd name="connsiteX3" fmla="*/ 7007443 w 7269183"/>
              <a:gd name="connsiteY3" fmla="*/ 5499528 h 6477565"/>
              <a:gd name="connsiteX4" fmla="*/ 4283035 w 7269183"/>
              <a:gd name="connsiteY4" fmla="*/ 6477565 h 6477565"/>
              <a:gd name="connsiteX5" fmla="*/ 0 w 7269183"/>
              <a:gd name="connsiteY5" fmla="*/ 2194530 h 6477565"/>
              <a:gd name="connsiteX6" fmla="*/ 516940 w 7269183"/>
              <a:gd name="connsiteY6" fmla="*/ 152981 h 647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69183" h="6477565">
                <a:moveTo>
                  <a:pt x="609878" y="0"/>
                </a:moveTo>
                <a:lnTo>
                  <a:pt x="7269183" y="0"/>
                </a:lnTo>
                <a:lnTo>
                  <a:pt x="7269183" y="5261643"/>
                </a:lnTo>
                <a:lnTo>
                  <a:pt x="7007443" y="5499528"/>
                </a:lnTo>
                <a:cubicBezTo>
                  <a:pt x="6267082" y="6110528"/>
                  <a:pt x="5317922" y="6477565"/>
                  <a:pt x="4283035" y="6477565"/>
                </a:cubicBezTo>
                <a:cubicBezTo>
                  <a:pt x="1917580" y="6477565"/>
                  <a:pt x="0" y="4559985"/>
                  <a:pt x="0" y="2194530"/>
                </a:cubicBezTo>
                <a:cubicBezTo>
                  <a:pt x="0" y="1455325"/>
                  <a:pt x="187264" y="759858"/>
                  <a:pt x="516940" y="152981"/>
                </a:cubicBez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grpSp>
        <p:nvGrpSpPr>
          <p:cNvPr id="388" name="Gruppieren 387">
            <a:extLst>
              <a:ext uri="{FF2B5EF4-FFF2-40B4-BE49-F238E27FC236}">
                <a16:creationId xmlns:a16="http://schemas.microsoft.com/office/drawing/2014/main" id="{996D2042-9DC5-4AE6-A11D-B4B243E51A5A}"/>
              </a:ext>
            </a:extLst>
          </p:cNvPr>
          <p:cNvGrpSpPr/>
          <p:nvPr/>
        </p:nvGrpSpPr>
        <p:grpSpPr bwMode="gray">
          <a:xfrm>
            <a:off x="6779236" y="693016"/>
            <a:ext cx="2883524" cy="2880000"/>
            <a:chOff x="6523391" y="548680"/>
            <a:chExt cx="2883524" cy="2880000"/>
          </a:xfrm>
        </p:grpSpPr>
        <p:grpSp>
          <p:nvGrpSpPr>
            <p:cNvPr id="195" name="Gruppieren 194">
              <a:extLst>
                <a:ext uri="{FF2B5EF4-FFF2-40B4-BE49-F238E27FC236}">
                  <a16:creationId xmlns:a16="http://schemas.microsoft.com/office/drawing/2014/main" id="{B93D24E4-ABA9-4BF1-9E05-B984AF8D5D51}"/>
                </a:ext>
              </a:extLst>
            </p:cNvPr>
            <p:cNvGrpSpPr>
              <a:grpSpLocks noChangeAspect="1"/>
            </p:cNvGrpSpPr>
            <p:nvPr/>
          </p:nvGrpSpPr>
          <p:grpSpPr bwMode="gray">
            <a:xfrm flipH="1">
              <a:off x="6523391" y="548680"/>
              <a:ext cx="2883524" cy="2880000"/>
              <a:chOff x="12646025" y="1482725"/>
              <a:chExt cx="3897313" cy="3892550"/>
            </a:xfrm>
          </p:grpSpPr>
          <p:sp>
            <p:nvSpPr>
              <p:cNvPr id="15" name="AutoShape 3">
                <a:extLst>
                  <a:ext uri="{FF2B5EF4-FFF2-40B4-BE49-F238E27FC236}">
                    <a16:creationId xmlns:a16="http://schemas.microsoft.com/office/drawing/2014/main" id="{8F2276DB-FB37-4FEF-92DC-6D008A1A5281}"/>
                  </a:ext>
                </a:extLst>
              </p:cNvPr>
              <p:cNvSpPr>
                <a:spLocks noChangeAspect="1" noChangeArrowheads="1" noTextEdit="1"/>
              </p:cNvSpPr>
              <p:nvPr/>
            </p:nvSpPr>
            <p:spPr bwMode="gray">
              <a:xfrm>
                <a:off x="12649200" y="1485900"/>
                <a:ext cx="3890963"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Oval 5">
                <a:extLst>
                  <a:ext uri="{FF2B5EF4-FFF2-40B4-BE49-F238E27FC236}">
                    <a16:creationId xmlns:a16="http://schemas.microsoft.com/office/drawing/2014/main" id="{6771174E-D14F-4F23-AE92-1CC1D7E9D3B5}"/>
                  </a:ext>
                </a:extLst>
              </p:cNvPr>
              <p:cNvSpPr>
                <a:spLocks noChangeArrowheads="1"/>
              </p:cNvSpPr>
              <p:nvPr/>
            </p:nvSpPr>
            <p:spPr bwMode="gray">
              <a:xfrm>
                <a:off x="12646025" y="1482725"/>
                <a:ext cx="3897313" cy="3892550"/>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1" name="Freeform 50">
                <a:extLst>
                  <a:ext uri="{FF2B5EF4-FFF2-40B4-BE49-F238E27FC236}">
                    <a16:creationId xmlns:a16="http://schemas.microsoft.com/office/drawing/2014/main" id="{50CBA110-7C2A-4556-94EF-787C1CCEBC79}"/>
                  </a:ext>
                </a:extLst>
              </p:cNvPr>
              <p:cNvSpPr>
                <a:spLocks/>
              </p:cNvSpPr>
              <p:nvPr/>
            </p:nvSpPr>
            <p:spPr bwMode="gray">
              <a:xfrm>
                <a:off x="12761913" y="3536950"/>
                <a:ext cx="2373313" cy="1389063"/>
              </a:xfrm>
              <a:custGeom>
                <a:avLst/>
                <a:gdLst>
                  <a:gd name="T0" fmla="*/ 0 w 633"/>
                  <a:gd name="T1" fmla="*/ 0 h 371"/>
                  <a:gd name="T2" fmla="*/ 0 w 633"/>
                  <a:gd name="T3" fmla="*/ 342 h 371"/>
                  <a:gd name="T4" fmla="*/ 8 w 633"/>
                  <a:gd name="T5" fmla="*/ 363 h 371"/>
                  <a:gd name="T6" fmla="*/ 29 w 633"/>
                  <a:gd name="T7" fmla="*/ 371 h 371"/>
                  <a:gd name="T8" fmla="*/ 603 w 633"/>
                  <a:gd name="T9" fmla="*/ 371 h 371"/>
                  <a:gd name="T10" fmla="*/ 624 w 633"/>
                  <a:gd name="T11" fmla="*/ 363 h 371"/>
                  <a:gd name="T12" fmla="*/ 633 w 633"/>
                  <a:gd name="T13" fmla="*/ 342 h 371"/>
                  <a:gd name="T14" fmla="*/ 633 w 633"/>
                  <a:gd name="T15" fmla="*/ 0 h 371"/>
                  <a:gd name="T16" fmla="*/ 0 w 633"/>
                  <a:gd name="T17"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3" h="371">
                    <a:moveTo>
                      <a:pt x="0" y="0"/>
                    </a:moveTo>
                    <a:cubicBezTo>
                      <a:pt x="0" y="342"/>
                      <a:pt x="0" y="342"/>
                      <a:pt x="0" y="342"/>
                    </a:cubicBezTo>
                    <a:cubicBezTo>
                      <a:pt x="0" y="349"/>
                      <a:pt x="3" y="357"/>
                      <a:pt x="8" y="363"/>
                    </a:cubicBezTo>
                    <a:cubicBezTo>
                      <a:pt x="14" y="368"/>
                      <a:pt x="22" y="371"/>
                      <a:pt x="29" y="371"/>
                    </a:cubicBezTo>
                    <a:cubicBezTo>
                      <a:pt x="603" y="371"/>
                      <a:pt x="603" y="371"/>
                      <a:pt x="603" y="371"/>
                    </a:cubicBezTo>
                    <a:cubicBezTo>
                      <a:pt x="611" y="371"/>
                      <a:pt x="618" y="368"/>
                      <a:pt x="624" y="363"/>
                    </a:cubicBezTo>
                    <a:cubicBezTo>
                      <a:pt x="630" y="357"/>
                      <a:pt x="633" y="349"/>
                      <a:pt x="633" y="342"/>
                    </a:cubicBezTo>
                    <a:cubicBezTo>
                      <a:pt x="633" y="0"/>
                      <a:pt x="633" y="0"/>
                      <a:pt x="633" y="0"/>
                    </a:cubicBezTo>
                    <a:lnTo>
                      <a:pt x="0"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2" name="Freeform 51">
                <a:extLst>
                  <a:ext uri="{FF2B5EF4-FFF2-40B4-BE49-F238E27FC236}">
                    <a16:creationId xmlns:a16="http://schemas.microsoft.com/office/drawing/2014/main" id="{AA4451E3-F951-4AF0-B428-7587CDCFFC93}"/>
                  </a:ext>
                </a:extLst>
              </p:cNvPr>
              <p:cNvSpPr>
                <a:spLocks/>
              </p:cNvSpPr>
              <p:nvPr/>
            </p:nvSpPr>
            <p:spPr bwMode="gray">
              <a:xfrm>
                <a:off x="13654088" y="4484688"/>
                <a:ext cx="588963" cy="355600"/>
              </a:xfrm>
              <a:custGeom>
                <a:avLst/>
                <a:gdLst>
                  <a:gd name="T0" fmla="*/ 157 w 157"/>
                  <a:gd name="T1" fmla="*/ 93 h 95"/>
                  <a:gd name="T2" fmla="*/ 154 w 157"/>
                  <a:gd name="T3" fmla="*/ 95 h 95"/>
                  <a:gd name="T4" fmla="*/ 2 w 157"/>
                  <a:gd name="T5" fmla="*/ 95 h 95"/>
                  <a:gd name="T6" fmla="*/ 0 w 157"/>
                  <a:gd name="T7" fmla="*/ 93 h 95"/>
                  <a:gd name="T8" fmla="*/ 0 w 157"/>
                  <a:gd name="T9" fmla="*/ 2 h 95"/>
                  <a:gd name="T10" fmla="*/ 2 w 157"/>
                  <a:gd name="T11" fmla="*/ 0 h 95"/>
                  <a:gd name="T12" fmla="*/ 154 w 157"/>
                  <a:gd name="T13" fmla="*/ 0 h 95"/>
                  <a:gd name="T14" fmla="*/ 157 w 157"/>
                  <a:gd name="T15" fmla="*/ 2 h 95"/>
                  <a:gd name="T16" fmla="*/ 157 w 157"/>
                  <a:gd name="T17" fmla="*/ 9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95">
                    <a:moveTo>
                      <a:pt x="157" y="93"/>
                    </a:moveTo>
                    <a:cubicBezTo>
                      <a:pt x="157" y="94"/>
                      <a:pt x="156" y="95"/>
                      <a:pt x="154" y="95"/>
                    </a:cubicBezTo>
                    <a:cubicBezTo>
                      <a:pt x="2" y="95"/>
                      <a:pt x="2" y="95"/>
                      <a:pt x="2" y="95"/>
                    </a:cubicBezTo>
                    <a:cubicBezTo>
                      <a:pt x="1" y="95"/>
                      <a:pt x="0" y="94"/>
                      <a:pt x="0" y="93"/>
                    </a:cubicBezTo>
                    <a:cubicBezTo>
                      <a:pt x="0" y="2"/>
                      <a:pt x="0" y="2"/>
                      <a:pt x="0" y="2"/>
                    </a:cubicBezTo>
                    <a:cubicBezTo>
                      <a:pt x="0" y="1"/>
                      <a:pt x="1" y="0"/>
                      <a:pt x="2" y="0"/>
                    </a:cubicBezTo>
                    <a:cubicBezTo>
                      <a:pt x="154" y="0"/>
                      <a:pt x="154" y="0"/>
                      <a:pt x="154" y="0"/>
                    </a:cubicBezTo>
                    <a:cubicBezTo>
                      <a:pt x="156" y="0"/>
                      <a:pt x="157" y="1"/>
                      <a:pt x="157" y="2"/>
                    </a:cubicBezTo>
                    <a:lnTo>
                      <a:pt x="157" y="9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52">
                <a:extLst>
                  <a:ext uri="{FF2B5EF4-FFF2-40B4-BE49-F238E27FC236}">
                    <a16:creationId xmlns:a16="http://schemas.microsoft.com/office/drawing/2014/main" id="{59DA950E-B164-46BF-96AE-0F80258579F4}"/>
                  </a:ext>
                </a:extLst>
              </p:cNvPr>
              <p:cNvSpPr>
                <a:spLocks/>
              </p:cNvSpPr>
              <p:nvPr/>
            </p:nvSpPr>
            <p:spPr bwMode="gray">
              <a:xfrm>
                <a:off x="12900025" y="3676650"/>
                <a:ext cx="120650" cy="119063"/>
              </a:xfrm>
              <a:custGeom>
                <a:avLst/>
                <a:gdLst>
                  <a:gd name="T0" fmla="*/ 32 w 32"/>
                  <a:gd name="T1" fmla="*/ 30 h 32"/>
                  <a:gd name="T2" fmla="*/ 31 w 32"/>
                  <a:gd name="T3" fmla="*/ 32 h 32"/>
                  <a:gd name="T4" fmla="*/ 2 w 32"/>
                  <a:gd name="T5" fmla="*/ 32 h 32"/>
                  <a:gd name="T6" fmla="*/ 0 w 32"/>
                  <a:gd name="T7" fmla="*/ 30 h 32"/>
                  <a:gd name="T8" fmla="*/ 0 w 32"/>
                  <a:gd name="T9" fmla="*/ 2 h 32"/>
                  <a:gd name="T10" fmla="*/ 2 w 32"/>
                  <a:gd name="T11" fmla="*/ 0 h 32"/>
                  <a:gd name="T12" fmla="*/ 31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2" y="32"/>
                      <a:pt x="31" y="32"/>
                    </a:cubicBezTo>
                    <a:cubicBezTo>
                      <a:pt x="2" y="32"/>
                      <a:pt x="2" y="32"/>
                      <a:pt x="2" y="32"/>
                    </a:cubicBezTo>
                    <a:cubicBezTo>
                      <a:pt x="1" y="32"/>
                      <a:pt x="0" y="31"/>
                      <a:pt x="0" y="30"/>
                    </a:cubicBezTo>
                    <a:cubicBezTo>
                      <a:pt x="0" y="2"/>
                      <a:pt x="0" y="2"/>
                      <a:pt x="0" y="2"/>
                    </a:cubicBezTo>
                    <a:cubicBezTo>
                      <a:pt x="0" y="1"/>
                      <a:pt x="1" y="0"/>
                      <a:pt x="2" y="0"/>
                    </a:cubicBezTo>
                    <a:cubicBezTo>
                      <a:pt x="31" y="0"/>
                      <a:pt x="31" y="0"/>
                      <a:pt x="31" y="0"/>
                    </a:cubicBezTo>
                    <a:cubicBezTo>
                      <a:pt x="32"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53">
                <a:extLst>
                  <a:ext uri="{FF2B5EF4-FFF2-40B4-BE49-F238E27FC236}">
                    <a16:creationId xmlns:a16="http://schemas.microsoft.com/office/drawing/2014/main" id="{0F41A518-80BB-469B-8F32-C9F8FE7333B0}"/>
                  </a:ext>
                </a:extLst>
              </p:cNvPr>
              <p:cNvSpPr>
                <a:spLocks/>
              </p:cNvSpPr>
              <p:nvPr/>
            </p:nvSpPr>
            <p:spPr bwMode="gray">
              <a:xfrm>
                <a:off x="13122275"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54">
                <a:extLst>
                  <a:ext uri="{FF2B5EF4-FFF2-40B4-BE49-F238E27FC236}">
                    <a16:creationId xmlns:a16="http://schemas.microsoft.com/office/drawing/2014/main" id="{67409B61-DCC5-4233-9C23-D9394459CC4A}"/>
                  </a:ext>
                </a:extLst>
              </p:cNvPr>
              <p:cNvSpPr>
                <a:spLocks/>
              </p:cNvSpPr>
              <p:nvPr/>
            </p:nvSpPr>
            <p:spPr bwMode="gray">
              <a:xfrm>
                <a:off x="13155613" y="39687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55">
                <a:extLst>
                  <a:ext uri="{FF2B5EF4-FFF2-40B4-BE49-F238E27FC236}">
                    <a16:creationId xmlns:a16="http://schemas.microsoft.com/office/drawing/2014/main" id="{51818E55-4315-46E0-8485-72CC3EB2B9A6}"/>
                  </a:ext>
                </a:extLst>
              </p:cNvPr>
              <p:cNvSpPr>
                <a:spLocks/>
              </p:cNvSpPr>
              <p:nvPr/>
            </p:nvSpPr>
            <p:spPr bwMode="gray">
              <a:xfrm>
                <a:off x="13084175"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56">
                <a:extLst>
                  <a:ext uri="{FF2B5EF4-FFF2-40B4-BE49-F238E27FC236}">
                    <a16:creationId xmlns:a16="http://schemas.microsoft.com/office/drawing/2014/main" id="{5387082D-4589-4F40-8524-5E0AD0714756}"/>
                  </a:ext>
                </a:extLst>
              </p:cNvPr>
              <p:cNvSpPr>
                <a:spLocks/>
              </p:cNvSpPr>
              <p:nvPr/>
            </p:nvSpPr>
            <p:spPr bwMode="gray">
              <a:xfrm>
                <a:off x="12900025" y="4260850"/>
                <a:ext cx="120650" cy="133350"/>
              </a:xfrm>
              <a:custGeom>
                <a:avLst/>
                <a:gdLst>
                  <a:gd name="T0" fmla="*/ 32 w 32"/>
                  <a:gd name="T1" fmla="*/ 35 h 36"/>
                  <a:gd name="T2" fmla="*/ 31 w 32"/>
                  <a:gd name="T3" fmla="*/ 36 h 36"/>
                  <a:gd name="T4" fmla="*/ 2 w 32"/>
                  <a:gd name="T5" fmla="*/ 36 h 36"/>
                  <a:gd name="T6" fmla="*/ 0 w 32"/>
                  <a:gd name="T7" fmla="*/ 35 h 36"/>
                  <a:gd name="T8" fmla="*/ 0 w 32"/>
                  <a:gd name="T9" fmla="*/ 1 h 36"/>
                  <a:gd name="T10" fmla="*/ 2 w 32"/>
                  <a:gd name="T11" fmla="*/ 0 h 36"/>
                  <a:gd name="T12" fmla="*/ 31 w 32"/>
                  <a:gd name="T13" fmla="*/ 0 h 36"/>
                  <a:gd name="T14" fmla="*/ 32 w 32"/>
                  <a:gd name="T15" fmla="*/ 1 h 36"/>
                  <a:gd name="T16" fmla="*/ 32 w 3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32" y="35"/>
                    </a:moveTo>
                    <a:cubicBezTo>
                      <a:pt x="32" y="36"/>
                      <a:pt x="32" y="36"/>
                      <a:pt x="31" y="36"/>
                    </a:cubicBezTo>
                    <a:cubicBezTo>
                      <a:pt x="2" y="36"/>
                      <a:pt x="2" y="36"/>
                      <a:pt x="2" y="36"/>
                    </a:cubicBezTo>
                    <a:cubicBezTo>
                      <a:pt x="1" y="36"/>
                      <a:pt x="0" y="36"/>
                      <a:pt x="0" y="35"/>
                    </a:cubicBezTo>
                    <a:cubicBezTo>
                      <a:pt x="0" y="1"/>
                      <a:pt x="0" y="1"/>
                      <a:pt x="0" y="1"/>
                    </a:cubicBezTo>
                    <a:cubicBezTo>
                      <a:pt x="0" y="0"/>
                      <a:pt x="1" y="0"/>
                      <a:pt x="2" y="0"/>
                    </a:cubicBezTo>
                    <a:cubicBezTo>
                      <a:pt x="31" y="0"/>
                      <a:pt x="31" y="0"/>
                      <a:pt x="31" y="0"/>
                    </a:cubicBezTo>
                    <a:cubicBezTo>
                      <a:pt x="32" y="0"/>
                      <a:pt x="32" y="0"/>
                      <a:pt x="32" y="1"/>
                    </a:cubicBezTo>
                    <a:lnTo>
                      <a:pt x="3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57">
                <a:extLst>
                  <a:ext uri="{FF2B5EF4-FFF2-40B4-BE49-F238E27FC236}">
                    <a16:creationId xmlns:a16="http://schemas.microsoft.com/office/drawing/2014/main" id="{D6335D1B-824B-4AC8-9776-8086B96ADFDC}"/>
                  </a:ext>
                </a:extLst>
              </p:cNvPr>
              <p:cNvSpPr>
                <a:spLocks/>
              </p:cNvSpPr>
              <p:nvPr/>
            </p:nvSpPr>
            <p:spPr bwMode="gray">
              <a:xfrm>
                <a:off x="13046075" y="4260850"/>
                <a:ext cx="120650" cy="133350"/>
              </a:xfrm>
              <a:custGeom>
                <a:avLst/>
                <a:gdLst>
                  <a:gd name="T0" fmla="*/ 32 w 32"/>
                  <a:gd name="T1" fmla="*/ 35 h 36"/>
                  <a:gd name="T2" fmla="*/ 30 w 32"/>
                  <a:gd name="T3" fmla="*/ 36 h 36"/>
                  <a:gd name="T4" fmla="*/ 2 w 32"/>
                  <a:gd name="T5" fmla="*/ 36 h 36"/>
                  <a:gd name="T6" fmla="*/ 0 w 32"/>
                  <a:gd name="T7" fmla="*/ 35 h 36"/>
                  <a:gd name="T8" fmla="*/ 0 w 32"/>
                  <a:gd name="T9" fmla="*/ 1 h 36"/>
                  <a:gd name="T10" fmla="*/ 2 w 32"/>
                  <a:gd name="T11" fmla="*/ 0 h 36"/>
                  <a:gd name="T12" fmla="*/ 30 w 32"/>
                  <a:gd name="T13" fmla="*/ 0 h 36"/>
                  <a:gd name="T14" fmla="*/ 32 w 32"/>
                  <a:gd name="T15" fmla="*/ 1 h 36"/>
                  <a:gd name="T16" fmla="*/ 32 w 3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32" y="35"/>
                    </a:moveTo>
                    <a:cubicBezTo>
                      <a:pt x="32" y="36"/>
                      <a:pt x="31" y="36"/>
                      <a:pt x="30" y="36"/>
                    </a:cubicBezTo>
                    <a:cubicBezTo>
                      <a:pt x="2" y="36"/>
                      <a:pt x="2" y="36"/>
                      <a:pt x="2" y="36"/>
                    </a:cubicBezTo>
                    <a:cubicBezTo>
                      <a:pt x="1" y="36"/>
                      <a:pt x="0" y="36"/>
                      <a:pt x="0" y="35"/>
                    </a:cubicBezTo>
                    <a:cubicBezTo>
                      <a:pt x="0" y="1"/>
                      <a:pt x="0" y="1"/>
                      <a:pt x="0" y="1"/>
                    </a:cubicBezTo>
                    <a:cubicBezTo>
                      <a:pt x="0" y="0"/>
                      <a:pt x="1" y="0"/>
                      <a:pt x="2" y="0"/>
                    </a:cubicBezTo>
                    <a:cubicBezTo>
                      <a:pt x="30" y="0"/>
                      <a:pt x="30" y="0"/>
                      <a:pt x="30" y="0"/>
                    </a:cubicBezTo>
                    <a:cubicBezTo>
                      <a:pt x="31" y="0"/>
                      <a:pt x="32" y="0"/>
                      <a:pt x="32" y="1"/>
                    </a:cubicBezTo>
                    <a:lnTo>
                      <a:pt x="3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58">
                <a:extLst>
                  <a:ext uri="{FF2B5EF4-FFF2-40B4-BE49-F238E27FC236}">
                    <a16:creationId xmlns:a16="http://schemas.microsoft.com/office/drawing/2014/main" id="{51E86B00-7B7D-4D5E-A4CA-C76501017A40}"/>
                  </a:ext>
                </a:extLst>
              </p:cNvPr>
              <p:cNvSpPr>
                <a:spLocks/>
              </p:cNvSpPr>
              <p:nvPr/>
            </p:nvSpPr>
            <p:spPr bwMode="gray">
              <a:xfrm>
                <a:off x="13192125" y="4260850"/>
                <a:ext cx="120650" cy="133350"/>
              </a:xfrm>
              <a:custGeom>
                <a:avLst/>
                <a:gdLst>
                  <a:gd name="T0" fmla="*/ 32 w 32"/>
                  <a:gd name="T1" fmla="*/ 35 h 36"/>
                  <a:gd name="T2" fmla="*/ 30 w 32"/>
                  <a:gd name="T3" fmla="*/ 36 h 36"/>
                  <a:gd name="T4" fmla="*/ 2 w 32"/>
                  <a:gd name="T5" fmla="*/ 36 h 36"/>
                  <a:gd name="T6" fmla="*/ 0 w 32"/>
                  <a:gd name="T7" fmla="*/ 35 h 36"/>
                  <a:gd name="T8" fmla="*/ 0 w 32"/>
                  <a:gd name="T9" fmla="*/ 1 h 36"/>
                  <a:gd name="T10" fmla="*/ 2 w 32"/>
                  <a:gd name="T11" fmla="*/ 0 h 36"/>
                  <a:gd name="T12" fmla="*/ 30 w 32"/>
                  <a:gd name="T13" fmla="*/ 0 h 36"/>
                  <a:gd name="T14" fmla="*/ 32 w 32"/>
                  <a:gd name="T15" fmla="*/ 1 h 36"/>
                  <a:gd name="T16" fmla="*/ 32 w 3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32" y="35"/>
                    </a:moveTo>
                    <a:cubicBezTo>
                      <a:pt x="32" y="36"/>
                      <a:pt x="31" y="36"/>
                      <a:pt x="30" y="36"/>
                    </a:cubicBezTo>
                    <a:cubicBezTo>
                      <a:pt x="2" y="36"/>
                      <a:pt x="2" y="36"/>
                      <a:pt x="2" y="36"/>
                    </a:cubicBezTo>
                    <a:cubicBezTo>
                      <a:pt x="1" y="36"/>
                      <a:pt x="0" y="36"/>
                      <a:pt x="0" y="35"/>
                    </a:cubicBezTo>
                    <a:cubicBezTo>
                      <a:pt x="0" y="1"/>
                      <a:pt x="0" y="1"/>
                      <a:pt x="0" y="1"/>
                    </a:cubicBezTo>
                    <a:cubicBezTo>
                      <a:pt x="0" y="0"/>
                      <a:pt x="1" y="0"/>
                      <a:pt x="2" y="0"/>
                    </a:cubicBezTo>
                    <a:cubicBezTo>
                      <a:pt x="30" y="0"/>
                      <a:pt x="30" y="0"/>
                      <a:pt x="30" y="0"/>
                    </a:cubicBezTo>
                    <a:cubicBezTo>
                      <a:pt x="31" y="0"/>
                      <a:pt x="32" y="0"/>
                      <a:pt x="32" y="1"/>
                    </a:cubicBezTo>
                    <a:lnTo>
                      <a:pt x="3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59">
                <a:extLst>
                  <a:ext uri="{FF2B5EF4-FFF2-40B4-BE49-F238E27FC236}">
                    <a16:creationId xmlns:a16="http://schemas.microsoft.com/office/drawing/2014/main" id="{8F9314F8-DF46-4C94-A724-2B3E194CAE69}"/>
                  </a:ext>
                </a:extLst>
              </p:cNvPr>
              <p:cNvSpPr>
                <a:spLocks/>
              </p:cNvSpPr>
              <p:nvPr/>
            </p:nvSpPr>
            <p:spPr bwMode="gray">
              <a:xfrm>
                <a:off x="14433550" y="4260850"/>
                <a:ext cx="120650" cy="133350"/>
              </a:xfrm>
              <a:custGeom>
                <a:avLst/>
                <a:gdLst>
                  <a:gd name="T0" fmla="*/ 32 w 32"/>
                  <a:gd name="T1" fmla="*/ 35 h 36"/>
                  <a:gd name="T2" fmla="*/ 30 w 32"/>
                  <a:gd name="T3" fmla="*/ 36 h 36"/>
                  <a:gd name="T4" fmla="*/ 2 w 32"/>
                  <a:gd name="T5" fmla="*/ 36 h 36"/>
                  <a:gd name="T6" fmla="*/ 0 w 32"/>
                  <a:gd name="T7" fmla="*/ 35 h 36"/>
                  <a:gd name="T8" fmla="*/ 0 w 32"/>
                  <a:gd name="T9" fmla="*/ 1 h 36"/>
                  <a:gd name="T10" fmla="*/ 2 w 32"/>
                  <a:gd name="T11" fmla="*/ 0 h 36"/>
                  <a:gd name="T12" fmla="*/ 30 w 32"/>
                  <a:gd name="T13" fmla="*/ 0 h 36"/>
                  <a:gd name="T14" fmla="*/ 32 w 32"/>
                  <a:gd name="T15" fmla="*/ 1 h 36"/>
                  <a:gd name="T16" fmla="*/ 32 w 3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32" y="35"/>
                    </a:moveTo>
                    <a:cubicBezTo>
                      <a:pt x="32" y="36"/>
                      <a:pt x="31" y="36"/>
                      <a:pt x="30" y="36"/>
                    </a:cubicBezTo>
                    <a:cubicBezTo>
                      <a:pt x="2" y="36"/>
                      <a:pt x="2" y="36"/>
                      <a:pt x="2" y="36"/>
                    </a:cubicBezTo>
                    <a:cubicBezTo>
                      <a:pt x="1" y="36"/>
                      <a:pt x="0" y="36"/>
                      <a:pt x="0" y="35"/>
                    </a:cubicBezTo>
                    <a:cubicBezTo>
                      <a:pt x="0" y="1"/>
                      <a:pt x="0" y="1"/>
                      <a:pt x="0" y="1"/>
                    </a:cubicBezTo>
                    <a:cubicBezTo>
                      <a:pt x="0" y="0"/>
                      <a:pt x="1" y="0"/>
                      <a:pt x="2" y="0"/>
                    </a:cubicBezTo>
                    <a:cubicBezTo>
                      <a:pt x="30" y="0"/>
                      <a:pt x="30" y="0"/>
                      <a:pt x="30" y="0"/>
                    </a:cubicBezTo>
                    <a:cubicBezTo>
                      <a:pt x="31" y="0"/>
                      <a:pt x="32" y="0"/>
                      <a:pt x="32" y="1"/>
                    </a:cubicBezTo>
                    <a:lnTo>
                      <a:pt x="3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60">
                <a:extLst>
                  <a:ext uri="{FF2B5EF4-FFF2-40B4-BE49-F238E27FC236}">
                    <a16:creationId xmlns:a16="http://schemas.microsoft.com/office/drawing/2014/main" id="{C6A024D7-8FBD-42E0-BA7E-350B21D4220B}"/>
                  </a:ext>
                </a:extLst>
              </p:cNvPr>
              <p:cNvSpPr>
                <a:spLocks/>
              </p:cNvSpPr>
              <p:nvPr/>
            </p:nvSpPr>
            <p:spPr bwMode="gray">
              <a:xfrm>
                <a:off x="14579600" y="4327525"/>
                <a:ext cx="120650" cy="66675"/>
              </a:xfrm>
              <a:custGeom>
                <a:avLst/>
                <a:gdLst>
                  <a:gd name="T0" fmla="*/ 32 w 32"/>
                  <a:gd name="T1" fmla="*/ 17 h 18"/>
                  <a:gd name="T2" fmla="*/ 30 w 32"/>
                  <a:gd name="T3" fmla="*/ 18 h 18"/>
                  <a:gd name="T4" fmla="*/ 2 w 32"/>
                  <a:gd name="T5" fmla="*/ 18 h 18"/>
                  <a:gd name="T6" fmla="*/ 0 w 32"/>
                  <a:gd name="T7" fmla="*/ 17 h 18"/>
                  <a:gd name="T8" fmla="*/ 0 w 32"/>
                  <a:gd name="T9" fmla="*/ 2 h 18"/>
                  <a:gd name="T10" fmla="*/ 2 w 32"/>
                  <a:gd name="T11" fmla="*/ 0 h 18"/>
                  <a:gd name="T12" fmla="*/ 30 w 32"/>
                  <a:gd name="T13" fmla="*/ 0 h 18"/>
                  <a:gd name="T14" fmla="*/ 32 w 32"/>
                  <a:gd name="T15" fmla="*/ 2 h 18"/>
                  <a:gd name="T16" fmla="*/ 32 w 32"/>
                  <a:gd name="T17"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8">
                    <a:moveTo>
                      <a:pt x="32" y="17"/>
                    </a:moveTo>
                    <a:cubicBezTo>
                      <a:pt x="32" y="18"/>
                      <a:pt x="31" y="18"/>
                      <a:pt x="30" y="18"/>
                    </a:cubicBezTo>
                    <a:cubicBezTo>
                      <a:pt x="2" y="18"/>
                      <a:pt x="2" y="18"/>
                      <a:pt x="2" y="18"/>
                    </a:cubicBezTo>
                    <a:cubicBezTo>
                      <a:pt x="1" y="18"/>
                      <a:pt x="0" y="18"/>
                      <a:pt x="0" y="17"/>
                    </a:cubicBezTo>
                    <a:cubicBezTo>
                      <a:pt x="0" y="2"/>
                      <a:pt x="0" y="2"/>
                      <a:pt x="0" y="2"/>
                    </a:cubicBezTo>
                    <a:cubicBezTo>
                      <a:pt x="0" y="1"/>
                      <a:pt x="1" y="0"/>
                      <a:pt x="2" y="0"/>
                    </a:cubicBezTo>
                    <a:cubicBezTo>
                      <a:pt x="30" y="0"/>
                      <a:pt x="30" y="0"/>
                      <a:pt x="30" y="0"/>
                    </a:cubicBezTo>
                    <a:cubicBezTo>
                      <a:pt x="31" y="0"/>
                      <a:pt x="32" y="1"/>
                      <a:pt x="32" y="2"/>
                    </a:cubicBezTo>
                    <a:lnTo>
                      <a:pt x="32"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61">
                <a:extLst>
                  <a:ext uri="{FF2B5EF4-FFF2-40B4-BE49-F238E27FC236}">
                    <a16:creationId xmlns:a16="http://schemas.microsoft.com/office/drawing/2014/main" id="{DA6307E3-DFC8-4B56-A676-290445685B3E}"/>
                  </a:ext>
                </a:extLst>
              </p:cNvPr>
              <p:cNvSpPr>
                <a:spLocks/>
              </p:cNvSpPr>
              <p:nvPr/>
            </p:nvSpPr>
            <p:spPr bwMode="gray">
              <a:xfrm>
                <a:off x="14871700" y="4327525"/>
                <a:ext cx="120650" cy="66675"/>
              </a:xfrm>
              <a:custGeom>
                <a:avLst/>
                <a:gdLst>
                  <a:gd name="T0" fmla="*/ 32 w 32"/>
                  <a:gd name="T1" fmla="*/ 17 h 18"/>
                  <a:gd name="T2" fmla="*/ 30 w 32"/>
                  <a:gd name="T3" fmla="*/ 18 h 18"/>
                  <a:gd name="T4" fmla="*/ 2 w 32"/>
                  <a:gd name="T5" fmla="*/ 18 h 18"/>
                  <a:gd name="T6" fmla="*/ 0 w 32"/>
                  <a:gd name="T7" fmla="*/ 17 h 18"/>
                  <a:gd name="T8" fmla="*/ 0 w 32"/>
                  <a:gd name="T9" fmla="*/ 2 h 18"/>
                  <a:gd name="T10" fmla="*/ 2 w 32"/>
                  <a:gd name="T11" fmla="*/ 0 h 18"/>
                  <a:gd name="T12" fmla="*/ 30 w 32"/>
                  <a:gd name="T13" fmla="*/ 0 h 18"/>
                  <a:gd name="T14" fmla="*/ 32 w 32"/>
                  <a:gd name="T15" fmla="*/ 2 h 18"/>
                  <a:gd name="T16" fmla="*/ 32 w 32"/>
                  <a:gd name="T17"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8">
                    <a:moveTo>
                      <a:pt x="32" y="17"/>
                    </a:moveTo>
                    <a:cubicBezTo>
                      <a:pt x="32" y="18"/>
                      <a:pt x="31" y="18"/>
                      <a:pt x="30" y="18"/>
                    </a:cubicBezTo>
                    <a:cubicBezTo>
                      <a:pt x="2" y="18"/>
                      <a:pt x="2" y="18"/>
                      <a:pt x="2" y="18"/>
                    </a:cubicBezTo>
                    <a:cubicBezTo>
                      <a:pt x="1" y="18"/>
                      <a:pt x="0" y="18"/>
                      <a:pt x="0" y="17"/>
                    </a:cubicBezTo>
                    <a:cubicBezTo>
                      <a:pt x="0" y="2"/>
                      <a:pt x="0" y="2"/>
                      <a:pt x="0" y="2"/>
                    </a:cubicBezTo>
                    <a:cubicBezTo>
                      <a:pt x="0" y="1"/>
                      <a:pt x="1" y="0"/>
                      <a:pt x="2" y="0"/>
                    </a:cubicBezTo>
                    <a:cubicBezTo>
                      <a:pt x="30" y="0"/>
                      <a:pt x="30" y="0"/>
                      <a:pt x="30" y="0"/>
                    </a:cubicBezTo>
                    <a:cubicBezTo>
                      <a:pt x="31" y="0"/>
                      <a:pt x="32" y="1"/>
                      <a:pt x="32" y="2"/>
                    </a:cubicBezTo>
                    <a:lnTo>
                      <a:pt x="32"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62">
                <a:extLst>
                  <a:ext uri="{FF2B5EF4-FFF2-40B4-BE49-F238E27FC236}">
                    <a16:creationId xmlns:a16="http://schemas.microsoft.com/office/drawing/2014/main" id="{13666C96-48D5-446B-AA30-F0A92A62D826}"/>
                  </a:ext>
                </a:extLst>
              </p:cNvPr>
              <p:cNvSpPr>
                <a:spLocks/>
              </p:cNvSpPr>
              <p:nvPr/>
            </p:nvSpPr>
            <p:spPr bwMode="gray">
              <a:xfrm>
                <a:off x="13339763" y="4260850"/>
                <a:ext cx="157163" cy="133350"/>
              </a:xfrm>
              <a:custGeom>
                <a:avLst/>
                <a:gdLst>
                  <a:gd name="T0" fmla="*/ 42 w 42"/>
                  <a:gd name="T1" fmla="*/ 35 h 36"/>
                  <a:gd name="T2" fmla="*/ 40 w 42"/>
                  <a:gd name="T3" fmla="*/ 36 h 36"/>
                  <a:gd name="T4" fmla="*/ 2 w 42"/>
                  <a:gd name="T5" fmla="*/ 36 h 36"/>
                  <a:gd name="T6" fmla="*/ 0 w 42"/>
                  <a:gd name="T7" fmla="*/ 35 h 36"/>
                  <a:gd name="T8" fmla="*/ 0 w 42"/>
                  <a:gd name="T9" fmla="*/ 1 h 36"/>
                  <a:gd name="T10" fmla="*/ 2 w 42"/>
                  <a:gd name="T11" fmla="*/ 0 h 36"/>
                  <a:gd name="T12" fmla="*/ 40 w 42"/>
                  <a:gd name="T13" fmla="*/ 0 h 36"/>
                  <a:gd name="T14" fmla="*/ 42 w 42"/>
                  <a:gd name="T15" fmla="*/ 1 h 36"/>
                  <a:gd name="T16" fmla="*/ 42 w 4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6">
                    <a:moveTo>
                      <a:pt x="42" y="35"/>
                    </a:moveTo>
                    <a:cubicBezTo>
                      <a:pt x="42" y="36"/>
                      <a:pt x="41" y="36"/>
                      <a:pt x="40" y="36"/>
                    </a:cubicBezTo>
                    <a:cubicBezTo>
                      <a:pt x="2" y="36"/>
                      <a:pt x="2" y="36"/>
                      <a:pt x="2" y="36"/>
                    </a:cubicBezTo>
                    <a:cubicBezTo>
                      <a:pt x="1" y="36"/>
                      <a:pt x="0" y="36"/>
                      <a:pt x="0" y="35"/>
                    </a:cubicBezTo>
                    <a:cubicBezTo>
                      <a:pt x="0" y="1"/>
                      <a:pt x="0" y="1"/>
                      <a:pt x="0" y="1"/>
                    </a:cubicBezTo>
                    <a:cubicBezTo>
                      <a:pt x="0" y="0"/>
                      <a:pt x="1" y="0"/>
                      <a:pt x="2" y="0"/>
                    </a:cubicBezTo>
                    <a:cubicBezTo>
                      <a:pt x="40" y="0"/>
                      <a:pt x="40" y="0"/>
                      <a:pt x="40" y="0"/>
                    </a:cubicBezTo>
                    <a:cubicBezTo>
                      <a:pt x="41" y="0"/>
                      <a:pt x="42" y="0"/>
                      <a:pt x="42" y="1"/>
                    </a:cubicBezTo>
                    <a:lnTo>
                      <a:pt x="4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63">
                <a:extLst>
                  <a:ext uri="{FF2B5EF4-FFF2-40B4-BE49-F238E27FC236}">
                    <a16:creationId xmlns:a16="http://schemas.microsoft.com/office/drawing/2014/main" id="{4E900FF4-86A2-42FD-8529-726A1489E1B6}"/>
                  </a:ext>
                </a:extLst>
              </p:cNvPr>
              <p:cNvSpPr>
                <a:spLocks/>
              </p:cNvSpPr>
              <p:nvPr/>
            </p:nvSpPr>
            <p:spPr bwMode="gray">
              <a:xfrm>
                <a:off x="14249400" y="4260850"/>
                <a:ext cx="157163" cy="133350"/>
              </a:xfrm>
              <a:custGeom>
                <a:avLst/>
                <a:gdLst>
                  <a:gd name="T0" fmla="*/ 42 w 42"/>
                  <a:gd name="T1" fmla="*/ 35 h 36"/>
                  <a:gd name="T2" fmla="*/ 41 w 42"/>
                  <a:gd name="T3" fmla="*/ 36 h 36"/>
                  <a:gd name="T4" fmla="*/ 2 w 42"/>
                  <a:gd name="T5" fmla="*/ 36 h 36"/>
                  <a:gd name="T6" fmla="*/ 0 w 42"/>
                  <a:gd name="T7" fmla="*/ 35 h 36"/>
                  <a:gd name="T8" fmla="*/ 0 w 42"/>
                  <a:gd name="T9" fmla="*/ 1 h 36"/>
                  <a:gd name="T10" fmla="*/ 2 w 42"/>
                  <a:gd name="T11" fmla="*/ 0 h 36"/>
                  <a:gd name="T12" fmla="*/ 41 w 42"/>
                  <a:gd name="T13" fmla="*/ 0 h 36"/>
                  <a:gd name="T14" fmla="*/ 42 w 42"/>
                  <a:gd name="T15" fmla="*/ 1 h 36"/>
                  <a:gd name="T16" fmla="*/ 42 w 4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6">
                    <a:moveTo>
                      <a:pt x="42" y="35"/>
                    </a:moveTo>
                    <a:cubicBezTo>
                      <a:pt x="42" y="36"/>
                      <a:pt x="42" y="36"/>
                      <a:pt x="41" y="36"/>
                    </a:cubicBezTo>
                    <a:cubicBezTo>
                      <a:pt x="2" y="36"/>
                      <a:pt x="2" y="36"/>
                      <a:pt x="2" y="36"/>
                    </a:cubicBezTo>
                    <a:cubicBezTo>
                      <a:pt x="1" y="36"/>
                      <a:pt x="0" y="36"/>
                      <a:pt x="0" y="35"/>
                    </a:cubicBezTo>
                    <a:cubicBezTo>
                      <a:pt x="0" y="1"/>
                      <a:pt x="0" y="1"/>
                      <a:pt x="0" y="1"/>
                    </a:cubicBezTo>
                    <a:cubicBezTo>
                      <a:pt x="0" y="0"/>
                      <a:pt x="1" y="0"/>
                      <a:pt x="2" y="0"/>
                    </a:cubicBezTo>
                    <a:cubicBezTo>
                      <a:pt x="41" y="0"/>
                      <a:pt x="41" y="0"/>
                      <a:pt x="41" y="0"/>
                    </a:cubicBezTo>
                    <a:cubicBezTo>
                      <a:pt x="42" y="0"/>
                      <a:pt x="42" y="0"/>
                      <a:pt x="42" y="1"/>
                    </a:cubicBezTo>
                    <a:lnTo>
                      <a:pt x="4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64">
                <a:extLst>
                  <a:ext uri="{FF2B5EF4-FFF2-40B4-BE49-F238E27FC236}">
                    <a16:creationId xmlns:a16="http://schemas.microsoft.com/office/drawing/2014/main" id="{BCE95B22-4B60-4B25-AAA2-9E49E8CDE881}"/>
                  </a:ext>
                </a:extLst>
              </p:cNvPr>
              <p:cNvSpPr>
                <a:spLocks/>
              </p:cNvSpPr>
              <p:nvPr/>
            </p:nvSpPr>
            <p:spPr bwMode="gray">
              <a:xfrm>
                <a:off x="13522325" y="4260850"/>
                <a:ext cx="701675" cy="133350"/>
              </a:xfrm>
              <a:custGeom>
                <a:avLst/>
                <a:gdLst>
                  <a:gd name="T0" fmla="*/ 187 w 187"/>
                  <a:gd name="T1" fmla="*/ 35 h 36"/>
                  <a:gd name="T2" fmla="*/ 185 w 187"/>
                  <a:gd name="T3" fmla="*/ 36 h 36"/>
                  <a:gd name="T4" fmla="*/ 2 w 187"/>
                  <a:gd name="T5" fmla="*/ 36 h 36"/>
                  <a:gd name="T6" fmla="*/ 0 w 187"/>
                  <a:gd name="T7" fmla="*/ 35 h 36"/>
                  <a:gd name="T8" fmla="*/ 0 w 187"/>
                  <a:gd name="T9" fmla="*/ 1 h 36"/>
                  <a:gd name="T10" fmla="*/ 2 w 187"/>
                  <a:gd name="T11" fmla="*/ 0 h 36"/>
                  <a:gd name="T12" fmla="*/ 185 w 187"/>
                  <a:gd name="T13" fmla="*/ 0 h 36"/>
                  <a:gd name="T14" fmla="*/ 187 w 187"/>
                  <a:gd name="T15" fmla="*/ 1 h 36"/>
                  <a:gd name="T16" fmla="*/ 187 w 187"/>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36">
                    <a:moveTo>
                      <a:pt x="187" y="35"/>
                    </a:moveTo>
                    <a:cubicBezTo>
                      <a:pt x="187" y="36"/>
                      <a:pt x="187" y="36"/>
                      <a:pt x="185" y="36"/>
                    </a:cubicBezTo>
                    <a:cubicBezTo>
                      <a:pt x="2" y="36"/>
                      <a:pt x="2" y="36"/>
                      <a:pt x="2" y="36"/>
                    </a:cubicBezTo>
                    <a:cubicBezTo>
                      <a:pt x="1" y="36"/>
                      <a:pt x="0" y="36"/>
                      <a:pt x="0" y="35"/>
                    </a:cubicBezTo>
                    <a:cubicBezTo>
                      <a:pt x="0" y="1"/>
                      <a:pt x="0" y="1"/>
                      <a:pt x="0" y="1"/>
                    </a:cubicBezTo>
                    <a:cubicBezTo>
                      <a:pt x="0" y="0"/>
                      <a:pt x="1" y="0"/>
                      <a:pt x="2" y="0"/>
                    </a:cubicBezTo>
                    <a:cubicBezTo>
                      <a:pt x="185" y="0"/>
                      <a:pt x="185" y="0"/>
                      <a:pt x="185" y="0"/>
                    </a:cubicBezTo>
                    <a:cubicBezTo>
                      <a:pt x="187" y="0"/>
                      <a:pt x="187" y="0"/>
                      <a:pt x="187" y="1"/>
                    </a:cubicBezTo>
                    <a:lnTo>
                      <a:pt x="187"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65">
                <a:extLst>
                  <a:ext uri="{FF2B5EF4-FFF2-40B4-BE49-F238E27FC236}">
                    <a16:creationId xmlns:a16="http://schemas.microsoft.com/office/drawing/2014/main" id="{DB917D1B-D6D4-44DF-9D89-226B81DC23AF}"/>
                  </a:ext>
                </a:extLst>
              </p:cNvPr>
              <p:cNvSpPr>
                <a:spLocks/>
              </p:cNvSpPr>
              <p:nvPr/>
            </p:nvSpPr>
            <p:spPr bwMode="gray">
              <a:xfrm>
                <a:off x="13230225"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66">
                <a:extLst>
                  <a:ext uri="{FF2B5EF4-FFF2-40B4-BE49-F238E27FC236}">
                    <a16:creationId xmlns:a16="http://schemas.microsoft.com/office/drawing/2014/main" id="{87219445-C8AC-4F18-9F0B-69B5452060A3}"/>
                  </a:ext>
                </a:extLst>
              </p:cNvPr>
              <p:cNvSpPr>
                <a:spLocks/>
              </p:cNvSpPr>
              <p:nvPr/>
            </p:nvSpPr>
            <p:spPr bwMode="gray">
              <a:xfrm>
                <a:off x="13376275"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67">
                <a:extLst>
                  <a:ext uri="{FF2B5EF4-FFF2-40B4-BE49-F238E27FC236}">
                    <a16:creationId xmlns:a16="http://schemas.microsoft.com/office/drawing/2014/main" id="{7AAB785D-9419-4745-992F-34BEA28BEF8E}"/>
                  </a:ext>
                </a:extLst>
              </p:cNvPr>
              <p:cNvSpPr>
                <a:spLocks/>
              </p:cNvSpPr>
              <p:nvPr/>
            </p:nvSpPr>
            <p:spPr bwMode="gray">
              <a:xfrm>
                <a:off x="13522325"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68">
                <a:extLst>
                  <a:ext uri="{FF2B5EF4-FFF2-40B4-BE49-F238E27FC236}">
                    <a16:creationId xmlns:a16="http://schemas.microsoft.com/office/drawing/2014/main" id="{7E958BAC-C902-40F9-9859-A68931AC69C4}"/>
                  </a:ext>
                </a:extLst>
              </p:cNvPr>
              <p:cNvSpPr>
                <a:spLocks/>
              </p:cNvSpPr>
              <p:nvPr/>
            </p:nvSpPr>
            <p:spPr bwMode="gray">
              <a:xfrm>
                <a:off x="13668375"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69">
                <a:extLst>
                  <a:ext uri="{FF2B5EF4-FFF2-40B4-BE49-F238E27FC236}">
                    <a16:creationId xmlns:a16="http://schemas.microsoft.com/office/drawing/2014/main" id="{AB5C4665-80B9-49CA-ACD1-AA72EFA8C71C}"/>
                  </a:ext>
                </a:extLst>
              </p:cNvPr>
              <p:cNvSpPr>
                <a:spLocks/>
              </p:cNvSpPr>
              <p:nvPr/>
            </p:nvSpPr>
            <p:spPr bwMode="gray">
              <a:xfrm>
                <a:off x="13814425" y="4114800"/>
                <a:ext cx="120650" cy="119063"/>
              </a:xfrm>
              <a:custGeom>
                <a:avLst/>
                <a:gdLst>
                  <a:gd name="T0" fmla="*/ 32 w 32"/>
                  <a:gd name="T1" fmla="*/ 30 h 32"/>
                  <a:gd name="T2" fmla="*/ 30 w 32"/>
                  <a:gd name="T3" fmla="*/ 32 h 32"/>
                  <a:gd name="T4" fmla="*/ 1 w 32"/>
                  <a:gd name="T5" fmla="*/ 32 h 32"/>
                  <a:gd name="T6" fmla="*/ 0 w 32"/>
                  <a:gd name="T7" fmla="*/ 30 h 32"/>
                  <a:gd name="T8" fmla="*/ 0 w 32"/>
                  <a:gd name="T9" fmla="*/ 2 h 32"/>
                  <a:gd name="T10" fmla="*/ 1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1" y="32"/>
                      <a:pt x="1" y="32"/>
                      <a:pt x="1" y="32"/>
                    </a:cubicBezTo>
                    <a:cubicBezTo>
                      <a:pt x="0" y="32"/>
                      <a:pt x="0" y="31"/>
                      <a:pt x="0" y="30"/>
                    </a:cubicBezTo>
                    <a:cubicBezTo>
                      <a:pt x="0" y="2"/>
                      <a:pt x="0" y="2"/>
                      <a:pt x="0" y="2"/>
                    </a:cubicBezTo>
                    <a:cubicBezTo>
                      <a:pt x="0" y="1"/>
                      <a:pt x="0" y="0"/>
                      <a:pt x="1"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70">
                <a:extLst>
                  <a:ext uri="{FF2B5EF4-FFF2-40B4-BE49-F238E27FC236}">
                    <a16:creationId xmlns:a16="http://schemas.microsoft.com/office/drawing/2014/main" id="{A9D2B2D6-9535-4BB7-8985-C2B5C51D6100}"/>
                  </a:ext>
                </a:extLst>
              </p:cNvPr>
              <p:cNvSpPr>
                <a:spLocks/>
              </p:cNvSpPr>
              <p:nvPr/>
            </p:nvSpPr>
            <p:spPr bwMode="gray">
              <a:xfrm>
                <a:off x="13960475" y="4114800"/>
                <a:ext cx="117475" cy="119063"/>
              </a:xfrm>
              <a:custGeom>
                <a:avLst/>
                <a:gdLst>
                  <a:gd name="T0" fmla="*/ 31 w 31"/>
                  <a:gd name="T1" fmla="*/ 30 h 32"/>
                  <a:gd name="T2" fmla="*/ 30 w 31"/>
                  <a:gd name="T3" fmla="*/ 32 h 32"/>
                  <a:gd name="T4" fmla="*/ 1 w 31"/>
                  <a:gd name="T5" fmla="*/ 32 h 32"/>
                  <a:gd name="T6" fmla="*/ 0 w 31"/>
                  <a:gd name="T7" fmla="*/ 30 h 32"/>
                  <a:gd name="T8" fmla="*/ 0 w 31"/>
                  <a:gd name="T9" fmla="*/ 2 h 32"/>
                  <a:gd name="T10" fmla="*/ 1 w 31"/>
                  <a:gd name="T11" fmla="*/ 0 h 32"/>
                  <a:gd name="T12" fmla="*/ 30 w 31"/>
                  <a:gd name="T13" fmla="*/ 0 h 32"/>
                  <a:gd name="T14" fmla="*/ 31 w 31"/>
                  <a:gd name="T15" fmla="*/ 2 h 32"/>
                  <a:gd name="T16" fmla="*/ 31 w 31"/>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31" y="30"/>
                    </a:moveTo>
                    <a:cubicBezTo>
                      <a:pt x="31" y="31"/>
                      <a:pt x="31" y="32"/>
                      <a:pt x="30" y="32"/>
                    </a:cubicBezTo>
                    <a:cubicBezTo>
                      <a:pt x="1" y="32"/>
                      <a:pt x="1" y="32"/>
                      <a:pt x="1" y="32"/>
                    </a:cubicBezTo>
                    <a:cubicBezTo>
                      <a:pt x="0" y="32"/>
                      <a:pt x="0" y="31"/>
                      <a:pt x="0" y="30"/>
                    </a:cubicBezTo>
                    <a:cubicBezTo>
                      <a:pt x="0" y="2"/>
                      <a:pt x="0" y="2"/>
                      <a:pt x="0" y="2"/>
                    </a:cubicBezTo>
                    <a:cubicBezTo>
                      <a:pt x="0" y="1"/>
                      <a:pt x="0" y="0"/>
                      <a:pt x="1" y="0"/>
                    </a:cubicBezTo>
                    <a:cubicBezTo>
                      <a:pt x="30" y="0"/>
                      <a:pt x="30" y="0"/>
                      <a:pt x="30" y="0"/>
                    </a:cubicBezTo>
                    <a:cubicBezTo>
                      <a:pt x="31" y="0"/>
                      <a:pt x="31" y="1"/>
                      <a:pt x="31" y="2"/>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71">
                <a:extLst>
                  <a:ext uri="{FF2B5EF4-FFF2-40B4-BE49-F238E27FC236}">
                    <a16:creationId xmlns:a16="http://schemas.microsoft.com/office/drawing/2014/main" id="{C9F1545A-CC4D-4610-BAA1-9A2C25262E1C}"/>
                  </a:ext>
                </a:extLst>
              </p:cNvPr>
              <p:cNvSpPr>
                <a:spLocks/>
              </p:cNvSpPr>
              <p:nvPr/>
            </p:nvSpPr>
            <p:spPr bwMode="gray">
              <a:xfrm>
                <a:off x="14103350"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2"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2"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72">
                <a:extLst>
                  <a:ext uri="{FF2B5EF4-FFF2-40B4-BE49-F238E27FC236}">
                    <a16:creationId xmlns:a16="http://schemas.microsoft.com/office/drawing/2014/main" id="{C5C8FD99-F8B8-4D8E-8ABA-B45AB91B4F01}"/>
                  </a:ext>
                </a:extLst>
              </p:cNvPr>
              <p:cNvSpPr>
                <a:spLocks/>
              </p:cNvSpPr>
              <p:nvPr/>
            </p:nvSpPr>
            <p:spPr bwMode="gray">
              <a:xfrm>
                <a:off x="14249400"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73">
                <a:extLst>
                  <a:ext uri="{FF2B5EF4-FFF2-40B4-BE49-F238E27FC236}">
                    <a16:creationId xmlns:a16="http://schemas.microsoft.com/office/drawing/2014/main" id="{6BE4D8AE-F0FC-471E-9EDA-38A17B90FC51}"/>
                  </a:ext>
                </a:extLst>
              </p:cNvPr>
              <p:cNvSpPr>
                <a:spLocks/>
              </p:cNvSpPr>
              <p:nvPr/>
            </p:nvSpPr>
            <p:spPr bwMode="gray">
              <a:xfrm>
                <a:off x="14395450"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74">
                <a:extLst>
                  <a:ext uri="{FF2B5EF4-FFF2-40B4-BE49-F238E27FC236}">
                    <a16:creationId xmlns:a16="http://schemas.microsoft.com/office/drawing/2014/main" id="{C066CEB2-195B-47A9-85A2-ABBD1AD76909}"/>
                  </a:ext>
                </a:extLst>
              </p:cNvPr>
              <p:cNvSpPr>
                <a:spLocks/>
              </p:cNvSpPr>
              <p:nvPr/>
            </p:nvSpPr>
            <p:spPr bwMode="gray">
              <a:xfrm>
                <a:off x="14541500"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75">
                <a:extLst>
                  <a:ext uri="{FF2B5EF4-FFF2-40B4-BE49-F238E27FC236}">
                    <a16:creationId xmlns:a16="http://schemas.microsoft.com/office/drawing/2014/main" id="{2265A3D2-4EC4-400F-8FAD-D266986E1F07}"/>
                  </a:ext>
                </a:extLst>
              </p:cNvPr>
              <p:cNvSpPr>
                <a:spLocks/>
              </p:cNvSpPr>
              <p:nvPr/>
            </p:nvSpPr>
            <p:spPr bwMode="gray">
              <a:xfrm>
                <a:off x="14689138" y="4114800"/>
                <a:ext cx="303213" cy="119063"/>
              </a:xfrm>
              <a:custGeom>
                <a:avLst/>
                <a:gdLst>
                  <a:gd name="T0" fmla="*/ 81 w 81"/>
                  <a:gd name="T1" fmla="*/ 30 h 32"/>
                  <a:gd name="T2" fmla="*/ 79 w 81"/>
                  <a:gd name="T3" fmla="*/ 32 h 32"/>
                  <a:gd name="T4" fmla="*/ 2 w 81"/>
                  <a:gd name="T5" fmla="*/ 32 h 32"/>
                  <a:gd name="T6" fmla="*/ 0 w 81"/>
                  <a:gd name="T7" fmla="*/ 30 h 32"/>
                  <a:gd name="T8" fmla="*/ 0 w 81"/>
                  <a:gd name="T9" fmla="*/ 2 h 32"/>
                  <a:gd name="T10" fmla="*/ 2 w 81"/>
                  <a:gd name="T11" fmla="*/ 0 h 32"/>
                  <a:gd name="T12" fmla="*/ 79 w 81"/>
                  <a:gd name="T13" fmla="*/ 0 h 32"/>
                  <a:gd name="T14" fmla="*/ 81 w 81"/>
                  <a:gd name="T15" fmla="*/ 2 h 32"/>
                  <a:gd name="T16" fmla="*/ 81 w 81"/>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32">
                    <a:moveTo>
                      <a:pt x="81" y="30"/>
                    </a:moveTo>
                    <a:cubicBezTo>
                      <a:pt x="81" y="31"/>
                      <a:pt x="80" y="32"/>
                      <a:pt x="79" y="32"/>
                    </a:cubicBezTo>
                    <a:cubicBezTo>
                      <a:pt x="2" y="32"/>
                      <a:pt x="2" y="32"/>
                      <a:pt x="2" y="32"/>
                    </a:cubicBezTo>
                    <a:cubicBezTo>
                      <a:pt x="1" y="32"/>
                      <a:pt x="0" y="31"/>
                      <a:pt x="0" y="30"/>
                    </a:cubicBezTo>
                    <a:cubicBezTo>
                      <a:pt x="0" y="2"/>
                      <a:pt x="0" y="2"/>
                      <a:pt x="0" y="2"/>
                    </a:cubicBezTo>
                    <a:cubicBezTo>
                      <a:pt x="0" y="1"/>
                      <a:pt x="1" y="0"/>
                      <a:pt x="2" y="0"/>
                    </a:cubicBezTo>
                    <a:cubicBezTo>
                      <a:pt x="79" y="0"/>
                      <a:pt x="79" y="0"/>
                      <a:pt x="79" y="0"/>
                    </a:cubicBezTo>
                    <a:cubicBezTo>
                      <a:pt x="80" y="0"/>
                      <a:pt x="81" y="1"/>
                      <a:pt x="81" y="2"/>
                    </a:cubicBezTo>
                    <a:lnTo>
                      <a:pt x="8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76">
                <a:extLst>
                  <a:ext uri="{FF2B5EF4-FFF2-40B4-BE49-F238E27FC236}">
                    <a16:creationId xmlns:a16="http://schemas.microsoft.com/office/drawing/2014/main" id="{5E121908-981D-4C9E-8E67-CD99A1BD0CFF}"/>
                  </a:ext>
                </a:extLst>
              </p:cNvPr>
              <p:cNvSpPr>
                <a:spLocks/>
              </p:cNvSpPr>
              <p:nvPr/>
            </p:nvSpPr>
            <p:spPr bwMode="gray">
              <a:xfrm>
                <a:off x="13301663" y="39687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77">
                <a:extLst>
                  <a:ext uri="{FF2B5EF4-FFF2-40B4-BE49-F238E27FC236}">
                    <a16:creationId xmlns:a16="http://schemas.microsoft.com/office/drawing/2014/main" id="{EC9172B4-5E7C-4092-BBCC-1A0EA4101D23}"/>
                  </a:ext>
                </a:extLst>
              </p:cNvPr>
              <p:cNvSpPr>
                <a:spLocks/>
              </p:cNvSpPr>
              <p:nvPr/>
            </p:nvSpPr>
            <p:spPr bwMode="gray">
              <a:xfrm>
                <a:off x="13447713"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78">
                <a:extLst>
                  <a:ext uri="{FF2B5EF4-FFF2-40B4-BE49-F238E27FC236}">
                    <a16:creationId xmlns:a16="http://schemas.microsoft.com/office/drawing/2014/main" id="{A0E75C00-B786-4707-81E6-8AB79C3918ED}"/>
                  </a:ext>
                </a:extLst>
              </p:cNvPr>
              <p:cNvSpPr>
                <a:spLocks/>
              </p:cNvSpPr>
              <p:nvPr/>
            </p:nvSpPr>
            <p:spPr bwMode="gray">
              <a:xfrm>
                <a:off x="13593763"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79">
                <a:extLst>
                  <a:ext uri="{FF2B5EF4-FFF2-40B4-BE49-F238E27FC236}">
                    <a16:creationId xmlns:a16="http://schemas.microsoft.com/office/drawing/2014/main" id="{23DA07DC-76A5-475D-A44A-729C45642DCE}"/>
                  </a:ext>
                </a:extLst>
              </p:cNvPr>
              <p:cNvSpPr>
                <a:spLocks/>
              </p:cNvSpPr>
              <p:nvPr/>
            </p:nvSpPr>
            <p:spPr bwMode="gray">
              <a:xfrm>
                <a:off x="13739813"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80">
                <a:extLst>
                  <a:ext uri="{FF2B5EF4-FFF2-40B4-BE49-F238E27FC236}">
                    <a16:creationId xmlns:a16="http://schemas.microsoft.com/office/drawing/2014/main" id="{1B764E43-0C9D-48DE-8044-EE6F672EF9E4}"/>
                  </a:ext>
                </a:extLst>
              </p:cNvPr>
              <p:cNvSpPr>
                <a:spLocks/>
              </p:cNvSpPr>
              <p:nvPr/>
            </p:nvSpPr>
            <p:spPr bwMode="gray">
              <a:xfrm>
                <a:off x="13885863"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81">
                <a:extLst>
                  <a:ext uri="{FF2B5EF4-FFF2-40B4-BE49-F238E27FC236}">
                    <a16:creationId xmlns:a16="http://schemas.microsoft.com/office/drawing/2014/main" id="{762A2D61-056B-4419-8650-1A8F254B79A0}"/>
                  </a:ext>
                </a:extLst>
              </p:cNvPr>
              <p:cNvSpPr>
                <a:spLocks/>
              </p:cNvSpPr>
              <p:nvPr/>
            </p:nvSpPr>
            <p:spPr bwMode="gray">
              <a:xfrm>
                <a:off x="14031913" y="3968750"/>
                <a:ext cx="117475" cy="119063"/>
              </a:xfrm>
              <a:custGeom>
                <a:avLst/>
                <a:gdLst>
                  <a:gd name="T0" fmla="*/ 31 w 31"/>
                  <a:gd name="T1" fmla="*/ 30 h 32"/>
                  <a:gd name="T2" fmla="*/ 30 w 31"/>
                  <a:gd name="T3" fmla="*/ 32 h 32"/>
                  <a:gd name="T4" fmla="*/ 1 w 31"/>
                  <a:gd name="T5" fmla="*/ 32 h 32"/>
                  <a:gd name="T6" fmla="*/ 0 w 31"/>
                  <a:gd name="T7" fmla="*/ 30 h 32"/>
                  <a:gd name="T8" fmla="*/ 0 w 31"/>
                  <a:gd name="T9" fmla="*/ 2 h 32"/>
                  <a:gd name="T10" fmla="*/ 1 w 31"/>
                  <a:gd name="T11" fmla="*/ 0 h 32"/>
                  <a:gd name="T12" fmla="*/ 30 w 31"/>
                  <a:gd name="T13" fmla="*/ 0 h 32"/>
                  <a:gd name="T14" fmla="*/ 31 w 31"/>
                  <a:gd name="T15" fmla="*/ 2 h 32"/>
                  <a:gd name="T16" fmla="*/ 31 w 31"/>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31" y="30"/>
                    </a:moveTo>
                    <a:cubicBezTo>
                      <a:pt x="31" y="31"/>
                      <a:pt x="31" y="32"/>
                      <a:pt x="30" y="32"/>
                    </a:cubicBezTo>
                    <a:cubicBezTo>
                      <a:pt x="1" y="32"/>
                      <a:pt x="1" y="32"/>
                      <a:pt x="1" y="32"/>
                    </a:cubicBezTo>
                    <a:cubicBezTo>
                      <a:pt x="0" y="32"/>
                      <a:pt x="0" y="31"/>
                      <a:pt x="0" y="30"/>
                    </a:cubicBezTo>
                    <a:cubicBezTo>
                      <a:pt x="0" y="2"/>
                      <a:pt x="0" y="2"/>
                      <a:pt x="0" y="2"/>
                    </a:cubicBezTo>
                    <a:cubicBezTo>
                      <a:pt x="0" y="1"/>
                      <a:pt x="0" y="0"/>
                      <a:pt x="1" y="0"/>
                    </a:cubicBezTo>
                    <a:cubicBezTo>
                      <a:pt x="30" y="0"/>
                      <a:pt x="30" y="0"/>
                      <a:pt x="30" y="0"/>
                    </a:cubicBezTo>
                    <a:cubicBezTo>
                      <a:pt x="31" y="0"/>
                      <a:pt x="31" y="1"/>
                      <a:pt x="31" y="2"/>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82">
                <a:extLst>
                  <a:ext uri="{FF2B5EF4-FFF2-40B4-BE49-F238E27FC236}">
                    <a16:creationId xmlns:a16="http://schemas.microsoft.com/office/drawing/2014/main" id="{F7C376D9-7FEA-4C7F-BBB8-8C2A583BAC6D}"/>
                  </a:ext>
                </a:extLst>
              </p:cNvPr>
              <p:cNvSpPr>
                <a:spLocks/>
              </p:cNvSpPr>
              <p:nvPr/>
            </p:nvSpPr>
            <p:spPr bwMode="gray">
              <a:xfrm>
                <a:off x="14174788" y="3968750"/>
                <a:ext cx="120650" cy="119063"/>
              </a:xfrm>
              <a:custGeom>
                <a:avLst/>
                <a:gdLst>
                  <a:gd name="T0" fmla="*/ 32 w 32"/>
                  <a:gd name="T1" fmla="*/ 30 h 32"/>
                  <a:gd name="T2" fmla="*/ 31 w 32"/>
                  <a:gd name="T3" fmla="*/ 32 h 32"/>
                  <a:gd name="T4" fmla="*/ 2 w 32"/>
                  <a:gd name="T5" fmla="*/ 32 h 32"/>
                  <a:gd name="T6" fmla="*/ 0 w 32"/>
                  <a:gd name="T7" fmla="*/ 30 h 32"/>
                  <a:gd name="T8" fmla="*/ 0 w 32"/>
                  <a:gd name="T9" fmla="*/ 2 h 32"/>
                  <a:gd name="T10" fmla="*/ 2 w 32"/>
                  <a:gd name="T11" fmla="*/ 0 h 32"/>
                  <a:gd name="T12" fmla="*/ 31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2" y="32"/>
                      <a:pt x="31" y="32"/>
                    </a:cubicBezTo>
                    <a:cubicBezTo>
                      <a:pt x="2" y="32"/>
                      <a:pt x="2" y="32"/>
                      <a:pt x="2" y="32"/>
                    </a:cubicBezTo>
                    <a:cubicBezTo>
                      <a:pt x="1" y="32"/>
                      <a:pt x="0" y="31"/>
                      <a:pt x="0" y="30"/>
                    </a:cubicBezTo>
                    <a:cubicBezTo>
                      <a:pt x="0" y="2"/>
                      <a:pt x="0" y="2"/>
                      <a:pt x="0" y="2"/>
                    </a:cubicBezTo>
                    <a:cubicBezTo>
                      <a:pt x="0" y="1"/>
                      <a:pt x="1" y="0"/>
                      <a:pt x="2" y="0"/>
                    </a:cubicBezTo>
                    <a:cubicBezTo>
                      <a:pt x="31" y="0"/>
                      <a:pt x="31" y="0"/>
                      <a:pt x="31" y="0"/>
                    </a:cubicBezTo>
                    <a:cubicBezTo>
                      <a:pt x="32"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83">
                <a:extLst>
                  <a:ext uri="{FF2B5EF4-FFF2-40B4-BE49-F238E27FC236}">
                    <a16:creationId xmlns:a16="http://schemas.microsoft.com/office/drawing/2014/main" id="{9286D3CC-EE00-4EF9-A7C9-FA8E4E028B45}"/>
                  </a:ext>
                </a:extLst>
              </p:cNvPr>
              <p:cNvSpPr>
                <a:spLocks/>
              </p:cNvSpPr>
              <p:nvPr/>
            </p:nvSpPr>
            <p:spPr bwMode="gray">
              <a:xfrm>
                <a:off x="14320838"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84">
                <a:extLst>
                  <a:ext uri="{FF2B5EF4-FFF2-40B4-BE49-F238E27FC236}">
                    <a16:creationId xmlns:a16="http://schemas.microsoft.com/office/drawing/2014/main" id="{033F516A-1091-43D4-AF7D-DC194424E38E}"/>
                  </a:ext>
                </a:extLst>
              </p:cNvPr>
              <p:cNvSpPr>
                <a:spLocks/>
              </p:cNvSpPr>
              <p:nvPr/>
            </p:nvSpPr>
            <p:spPr bwMode="gray">
              <a:xfrm>
                <a:off x="14466888"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85">
                <a:extLst>
                  <a:ext uri="{FF2B5EF4-FFF2-40B4-BE49-F238E27FC236}">
                    <a16:creationId xmlns:a16="http://schemas.microsoft.com/office/drawing/2014/main" id="{45B2917D-3D28-4009-8335-49A29C1BED9B}"/>
                  </a:ext>
                </a:extLst>
              </p:cNvPr>
              <p:cNvSpPr>
                <a:spLocks/>
              </p:cNvSpPr>
              <p:nvPr/>
            </p:nvSpPr>
            <p:spPr bwMode="gray">
              <a:xfrm>
                <a:off x="14612938"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86">
                <a:extLst>
                  <a:ext uri="{FF2B5EF4-FFF2-40B4-BE49-F238E27FC236}">
                    <a16:creationId xmlns:a16="http://schemas.microsoft.com/office/drawing/2014/main" id="{94E8D30E-71E5-4DEE-BAAB-7E45435EB4C3}"/>
                  </a:ext>
                </a:extLst>
              </p:cNvPr>
              <p:cNvSpPr>
                <a:spLocks/>
              </p:cNvSpPr>
              <p:nvPr/>
            </p:nvSpPr>
            <p:spPr bwMode="gray">
              <a:xfrm>
                <a:off x="14758988"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87">
                <a:extLst>
                  <a:ext uri="{FF2B5EF4-FFF2-40B4-BE49-F238E27FC236}">
                    <a16:creationId xmlns:a16="http://schemas.microsoft.com/office/drawing/2014/main" id="{A8448CF8-92CC-40E6-B00D-C48FEBE28FD2}"/>
                  </a:ext>
                </a:extLst>
              </p:cNvPr>
              <p:cNvSpPr>
                <a:spLocks/>
              </p:cNvSpPr>
              <p:nvPr/>
            </p:nvSpPr>
            <p:spPr bwMode="gray">
              <a:xfrm>
                <a:off x="13268325"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88">
                <a:extLst>
                  <a:ext uri="{FF2B5EF4-FFF2-40B4-BE49-F238E27FC236}">
                    <a16:creationId xmlns:a16="http://schemas.microsoft.com/office/drawing/2014/main" id="{F31084FA-CBD5-40E5-A811-712D8EB03221}"/>
                  </a:ext>
                </a:extLst>
              </p:cNvPr>
              <p:cNvSpPr>
                <a:spLocks/>
              </p:cNvSpPr>
              <p:nvPr/>
            </p:nvSpPr>
            <p:spPr bwMode="gray">
              <a:xfrm>
                <a:off x="13414375"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89">
                <a:extLst>
                  <a:ext uri="{FF2B5EF4-FFF2-40B4-BE49-F238E27FC236}">
                    <a16:creationId xmlns:a16="http://schemas.microsoft.com/office/drawing/2014/main" id="{BAE029A2-7A36-41EE-8C9C-03E88DB7D99E}"/>
                  </a:ext>
                </a:extLst>
              </p:cNvPr>
              <p:cNvSpPr>
                <a:spLocks/>
              </p:cNvSpPr>
              <p:nvPr/>
            </p:nvSpPr>
            <p:spPr bwMode="gray">
              <a:xfrm>
                <a:off x="13560425"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90">
                <a:extLst>
                  <a:ext uri="{FF2B5EF4-FFF2-40B4-BE49-F238E27FC236}">
                    <a16:creationId xmlns:a16="http://schemas.microsoft.com/office/drawing/2014/main" id="{D1A85ABD-3AD8-4FB3-A6E0-7BDBBD7AFBB6}"/>
                  </a:ext>
                </a:extLst>
              </p:cNvPr>
              <p:cNvSpPr>
                <a:spLocks/>
              </p:cNvSpPr>
              <p:nvPr/>
            </p:nvSpPr>
            <p:spPr bwMode="gray">
              <a:xfrm>
                <a:off x="13706475" y="3822700"/>
                <a:ext cx="115888" cy="119063"/>
              </a:xfrm>
              <a:custGeom>
                <a:avLst/>
                <a:gdLst>
                  <a:gd name="T0" fmla="*/ 31 w 31"/>
                  <a:gd name="T1" fmla="*/ 30 h 32"/>
                  <a:gd name="T2" fmla="*/ 30 w 31"/>
                  <a:gd name="T3" fmla="*/ 32 h 32"/>
                  <a:gd name="T4" fmla="*/ 1 w 31"/>
                  <a:gd name="T5" fmla="*/ 32 h 32"/>
                  <a:gd name="T6" fmla="*/ 0 w 31"/>
                  <a:gd name="T7" fmla="*/ 30 h 32"/>
                  <a:gd name="T8" fmla="*/ 0 w 31"/>
                  <a:gd name="T9" fmla="*/ 2 h 32"/>
                  <a:gd name="T10" fmla="*/ 1 w 31"/>
                  <a:gd name="T11" fmla="*/ 0 h 32"/>
                  <a:gd name="T12" fmla="*/ 30 w 31"/>
                  <a:gd name="T13" fmla="*/ 0 h 32"/>
                  <a:gd name="T14" fmla="*/ 31 w 31"/>
                  <a:gd name="T15" fmla="*/ 2 h 32"/>
                  <a:gd name="T16" fmla="*/ 31 w 31"/>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31" y="30"/>
                    </a:moveTo>
                    <a:cubicBezTo>
                      <a:pt x="31" y="31"/>
                      <a:pt x="31" y="32"/>
                      <a:pt x="30" y="32"/>
                    </a:cubicBezTo>
                    <a:cubicBezTo>
                      <a:pt x="1" y="32"/>
                      <a:pt x="1" y="32"/>
                      <a:pt x="1" y="32"/>
                    </a:cubicBezTo>
                    <a:cubicBezTo>
                      <a:pt x="0" y="32"/>
                      <a:pt x="0" y="31"/>
                      <a:pt x="0" y="30"/>
                    </a:cubicBezTo>
                    <a:cubicBezTo>
                      <a:pt x="0" y="2"/>
                      <a:pt x="0" y="2"/>
                      <a:pt x="0" y="2"/>
                    </a:cubicBezTo>
                    <a:cubicBezTo>
                      <a:pt x="0" y="1"/>
                      <a:pt x="0" y="0"/>
                      <a:pt x="1" y="0"/>
                    </a:cubicBezTo>
                    <a:cubicBezTo>
                      <a:pt x="30" y="0"/>
                      <a:pt x="30" y="0"/>
                      <a:pt x="30" y="0"/>
                    </a:cubicBezTo>
                    <a:cubicBezTo>
                      <a:pt x="31" y="0"/>
                      <a:pt x="31" y="1"/>
                      <a:pt x="31" y="2"/>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91">
                <a:extLst>
                  <a:ext uri="{FF2B5EF4-FFF2-40B4-BE49-F238E27FC236}">
                    <a16:creationId xmlns:a16="http://schemas.microsoft.com/office/drawing/2014/main" id="{54EC8DFA-B6CC-4ED0-AF1D-3DD4DDFDBFFF}"/>
                  </a:ext>
                </a:extLst>
              </p:cNvPr>
              <p:cNvSpPr>
                <a:spLocks/>
              </p:cNvSpPr>
              <p:nvPr/>
            </p:nvSpPr>
            <p:spPr bwMode="gray">
              <a:xfrm>
                <a:off x="13849350" y="3822700"/>
                <a:ext cx="119063" cy="119063"/>
              </a:xfrm>
              <a:custGeom>
                <a:avLst/>
                <a:gdLst>
                  <a:gd name="T0" fmla="*/ 32 w 32"/>
                  <a:gd name="T1" fmla="*/ 30 h 32"/>
                  <a:gd name="T2" fmla="*/ 31 w 32"/>
                  <a:gd name="T3" fmla="*/ 32 h 32"/>
                  <a:gd name="T4" fmla="*/ 2 w 32"/>
                  <a:gd name="T5" fmla="*/ 32 h 32"/>
                  <a:gd name="T6" fmla="*/ 0 w 32"/>
                  <a:gd name="T7" fmla="*/ 30 h 32"/>
                  <a:gd name="T8" fmla="*/ 0 w 32"/>
                  <a:gd name="T9" fmla="*/ 2 h 32"/>
                  <a:gd name="T10" fmla="*/ 2 w 32"/>
                  <a:gd name="T11" fmla="*/ 0 h 32"/>
                  <a:gd name="T12" fmla="*/ 31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2" y="32"/>
                      <a:pt x="31" y="32"/>
                    </a:cubicBezTo>
                    <a:cubicBezTo>
                      <a:pt x="2" y="32"/>
                      <a:pt x="2" y="32"/>
                      <a:pt x="2" y="32"/>
                    </a:cubicBezTo>
                    <a:cubicBezTo>
                      <a:pt x="1" y="32"/>
                      <a:pt x="0" y="31"/>
                      <a:pt x="0" y="30"/>
                    </a:cubicBezTo>
                    <a:cubicBezTo>
                      <a:pt x="0" y="2"/>
                      <a:pt x="0" y="2"/>
                      <a:pt x="0" y="2"/>
                    </a:cubicBezTo>
                    <a:cubicBezTo>
                      <a:pt x="0" y="1"/>
                      <a:pt x="1" y="0"/>
                      <a:pt x="2" y="0"/>
                    </a:cubicBezTo>
                    <a:cubicBezTo>
                      <a:pt x="31" y="0"/>
                      <a:pt x="31" y="0"/>
                      <a:pt x="31" y="0"/>
                    </a:cubicBezTo>
                    <a:cubicBezTo>
                      <a:pt x="32"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92">
                <a:extLst>
                  <a:ext uri="{FF2B5EF4-FFF2-40B4-BE49-F238E27FC236}">
                    <a16:creationId xmlns:a16="http://schemas.microsoft.com/office/drawing/2014/main" id="{A3F4E637-2B5D-4E58-86A6-DE1DF334F61E}"/>
                  </a:ext>
                </a:extLst>
              </p:cNvPr>
              <p:cNvSpPr>
                <a:spLocks/>
              </p:cNvSpPr>
              <p:nvPr/>
            </p:nvSpPr>
            <p:spPr bwMode="gray">
              <a:xfrm>
                <a:off x="13995400"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93">
                <a:extLst>
                  <a:ext uri="{FF2B5EF4-FFF2-40B4-BE49-F238E27FC236}">
                    <a16:creationId xmlns:a16="http://schemas.microsoft.com/office/drawing/2014/main" id="{DC195897-0B0F-435C-925D-748F8C313ED5}"/>
                  </a:ext>
                </a:extLst>
              </p:cNvPr>
              <p:cNvSpPr>
                <a:spLocks/>
              </p:cNvSpPr>
              <p:nvPr/>
            </p:nvSpPr>
            <p:spPr bwMode="gray">
              <a:xfrm>
                <a:off x="14141450"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94">
                <a:extLst>
                  <a:ext uri="{FF2B5EF4-FFF2-40B4-BE49-F238E27FC236}">
                    <a16:creationId xmlns:a16="http://schemas.microsoft.com/office/drawing/2014/main" id="{E82C758C-C47E-4A76-81E9-493BA554BF9C}"/>
                  </a:ext>
                </a:extLst>
              </p:cNvPr>
              <p:cNvSpPr>
                <a:spLocks/>
              </p:cNvSpPr>
              <p:nvPr/>
            </p:nvSpPr>
            <p:spPr bwMode="gray">
              <a:xfrm>
                <a:off x="14287500"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95">
                <a:extLst>
                  <a:ext uri="{FF2B5EF4-FFF2-40B4-BE49-F238E27FC236}">
                    <a16:creationId xmlns:a16="http://schemas.microsoft.com/office/drawing/2014/main" id="{8822B3F0-5884-48B1-9CF3-A8E9E38BBB94}"/>
                  </a:ext>
                </a:extLst>
              </p:cNvPr>
              <p:cNvSpPr>
                <a:spLocks/>
              </p:cNvSpPr>
              <p:nvPr/>
            </p:nvSpPr>
            <p:spPr bwMode="gray">
              <a:xfrm>
                <a:off x="14433550" y="38227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96">
                <a:extLst>
                  <a:ext uri="{FF2B5EF4-FFF2-40B4-BE49-F238E27FC236}">
                    <a16:creationId xmlns:a16="http://schemas.microsoft.com/office/drawing/2014/main" id="{3F4CBCB1-CC13-40C8-9970-C8208A55544E}"/>
                  </a:ext>
                </a:extLst>
              </p:cNvPr>
              <p:cNvSpPr>
                <a:spLocks/>
              </p:cNvSpPr>
              <p:nvPr/>
            </p:nvSpPr>
            <p:spPr bwMode="gray">
              <a:xfrm>
                <a:off x="14579600" y="38227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97">
                <a:extLst>
                  <a:ext uri="{FF2B5EF4-FFF2-40B4-BE49-F238E27FC236}">
                    <a16:creationId xmlns:a16="http://schemas.microsoft.com/office/drawing/2014/main" id="{160A5606-D30A-4687-9250-BCA7DD373B0B}"/>
                  </a:ext>
                </a:extLst>
              </p:cNvPr>
              <p:cNvSpPr>
                <a:spLocks/>
              </p:cNvSpPr>
              <p:nvPr/>
            </p:nvSpPr>
            <p:spPr bwMode="gray">
              <a:xfrm>
                <a:off x="14725650" y="38227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98">
                <a:extLst>
                  <a:ext uri="{FF2B5EF4-FFF2-40B4-BE49-F238E27FC236}">
                    <a16:creationId xmlns:a16="http://schemas.microsoft.com/office/drawing/2014/main" id="{BD380AA4-A79C-4AB5-A348-D553B8F609B9}"/>
                  </a:ext>
                </a:extLst>
              </p:cNvPr>
              <p:cNvSpPr>
                <a:spLocks/>
              </p:cNvSpPr>
              <p:nvPr/>
            </p:nvSpPr>
            <p:spPr bwMode="gray">
              <a:xfrm>
                <a:off x="12900025" y="3822700"/>
                <a:ext cx="195263" cy="119063"/>
              </a:xfrm>
              <a:custGeom>
                <a:avLst/>
                <a:gdLst>
                  <a:gd name="T0" fmla="*/ 52 w 52"/>
                  <a:gd name="T1" fmla="*/ 30 h 32"/>
                  <a:gd name="T2" fmla="*/ 50 w 52"/>
                  <a:gd name="T3" fmla="*/ 32 h 32"/>
                  <a:gd name="T4" fmla="*/ 2 w 52"/>
                  <a:gd name="T5" fmla="*/ 32 h 32"/>
                  <a:gd name="T6" fmla="*/ 0 w 52"/>
                  <a:gd name="T7" fmla="*/ 30 h 32"/>
                  <a:gd name="T8" fmla="*/ 0 w 52"/>
                  <a:gd name="T9" fmla="*/ 2 h 32"/>
                  <a:gd name="T10" fmla="*/ 2 w 52"/>
                  <a:gd name="T11" fmla="*/ 0 h 32"/>
                  <a:gd name="T12" fmla="*/ 50 w 52"/>
                  <a:gd name="T13" fmla="*/ 0 h 32"/>
                  <a:gd name="T14" fmla="*/ 52 w 52"/>
                  <a:gd name="T15" fmla="*/ 2 h 32"/>
                  <a:gd name="T16" fmla="*/ 52 w 5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32">
                    <a:moveTo>
                      <a:pt x="52" y="30"/>
                    </a:moveTo>
                    <a:cubicBezTo>
                      <a:pt x="52" y="31"/>
                      <a:pt x="51" y="32"/>
                      <a:pt x="50" y="32"/>
                    </a:cubicBezTo>
                    <a:cubicBezTo>
                      <a:pt x="2" y="32"/>
                      <a:pt x="2" y="32"/>
                      <a:pt x="2" y="32"/>
                    </a:cubicBezTo>
                    <a:cubicBezTo>
                      <a:pt x="1" y="32"/>
                      <a:pt x="0" y="31"/>
                      <a:pt x="0" y="30"/>
                    </a:cubicBezTo>
                    <a:cubicBezTo>
                      <a:pt x="0" y="2"/>
                      <a:pt x="0" y="2"/>
                      <a:pt x="0" y="2"/>
                    </a:cubicBezTo>
                    <a:cubicBezTo>
                      <a:pt x="0" y="1"/>
                      <a:pt x="1" y="0"/>
                      <a:pt x="2" y="0"/>
                    </a:cubicBezTo>
                    <a:cubicBezTo>
                      <a:pt x="50" y="0"/>
                      <a:pt x="50" y="0"/>
                      <a:pt x="50" y="0"/>
                    </a:cubicBezTo>
                    <a:cubicBezTo>
                      <a:pt x="51" y="0"/>
                      <a:pt x="52" y="1"/>
                      <a:pt x="52" y="2"/>
                    </a:cubicBezTo>
                    <a:lnTo>
                      <a:pt x="5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99">
                <a:extLst>
                  <a:ext uri="{FF2B5EF4-FFF2-40B4-BE49-F238E27FC236}">
                    <a16:creationId xmlns:a16="http://schemas.microsoft.com/office/drawing/2014/main" id="{6B94A8CC-6EA3-4242-BF8C-B7455DBB0A24}"/>
                  </a:ext>
                </a:extLst>
              </p:cNvPr>
              <p:cNvSpPr>
                <a:spLocks/>
              </p:cNvSpPr>
              <p:nvPr/>
            </p:nvSpPr>
            <p:spPr bwMode="gray">
              <a:xfrm>
                <a:off x="14797088" y="3676650"/>
                <a:ext cx="195263" cy="119063"/>
              </a:xfrm>
              <a:custGeom>
                <a:avLst/>
                <a:gdLst>
                  <a:gd name="T0" fmla="*/ 52 w 52"/>
                  <a:gd name="T1" fmla="*/ 30 h 32"/>
                  <a:gd name="T2" fmla="*/ 50 w 52"/>
                  <a:gd name="T3" fmla="*/ 32 h 32"/>
                  <a:gd name="T4" fmla="*/ 2 w 52"/>
                  <a:gd name="T5" fmla="*/ 32 h 32"/>
                  <a:gd name="T6" fmla="*/ 0 w 52"/>
                  <a:gd name="T7" fmla="*/ 30 h 32"/>
                  <a:gd name="T8" fmla="*/ 0 w 52"/>
                  <a:gd name="T9" fmla="*/ 2 h 32"/>
                  <a:gd name="T10" fmla="*/ 2 w 52"/>
                  <a:gd name="T11" fmla="*/ 0 h 32"/>
                  <a:gd name="T12" fmla="*/ 50 w 52"/>
                  <a:gd name="T13" fmla="*/ 0 h 32"/>
                  <a:gd name="T14" fmla="*/ 52 w 52"/>
                  <a:gd name="T15" fmla="*/ 2 h 32"/>
                  <a:gd name="T16" fmla="*/ 52 w 5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32">
                    <a:moveTo>
                      <a:pt x="52" y="30"/>
                    </a:moveTo>
                    <a:cubicBezTo>
                      <a:pt x="52" y="31"/>
                      <a:pt x="51" y="32"/>
                      <a:pt x="50" y="32"/>
                    </a:cubicBezTo>
                    <a:cubicBezTo>
                      <a:pt x="2" y="32"/>
                      <a:pt x="2" y="32"/>
                      <a:pt x="2" y="32"/>
                    </a:cubicBezTo>
                    <a:cubicBezTo>
                      <a:pt x="1" y="32"/>
                      <a:pt x="0" y="31"/>
                      <a:pt x="0" y="30"/>
                    </a:cubicBezTo>
                    <a:cubicBezTo>
                      <a:pt x="0" y="2"/>
                      <a:pt x="0" y="2"/>
                      <a:pt x="0" y="2"/>
                    </a:cubicBezTo>
                    <a:cubicBezTo>
                      <a:pt x="0" y="1"/>
                      <a:pt x="1" y="0"/>
                      <a:pt x="2" y="0"/>
                    </a:cubicBezTo>
                    <a:cubicBezTo>
                      <a:pt x="50" y="0"/>
                      <a:pt x="50" y="0"/>
                      <a:pt x="50" y="0"/>
                    </a:cubicBezTo>
                    <a:cubicBezTo>
                      <a:pt x="51" y="0"/>
                      <a:pt x="52" y="1"/>
                      <a:pt x="52" y="2"/>
                    </a:cubicBezTo>
                    <a:lnTo>
                      <a:pt x="5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100">
                <a:extLst>
                  <a:ext uri="{FF2B5EF4-FFF2-40B4-BE49-F238E27FC236}">
                    <a16:creationId xmlns:a16="http://schemas.microsoft.com/office/drawing/2014/main" id="{D435A421-FCF1-4BC6-91ED-8F83B430240F}"/>
                  </a:ext>
                </a:extLst>
              </p:cNvPr>
              <p:cNvSpPr>
                <a:spLocks/>
              </p:cNvSpPr>
              <p:nvPr/>
            </p:nvSpPr>
            <p:spPr bwMode="gray">
              <a:xfrm>
                <a:off x="12900025" y="3968750"/>
                <a:ext cx="228600" cy="119063"/>
              </a:xfrm>
              <a:custGeom>
                <a:avLst/>
                <a:gdLst>
                  <a:gd name="T0" fmla="*/ 61 w 61"/>
                  <a:gd name="T1" fmla="*/ 30 h 32"/>
                  <a:gd name="T2" fmla="*/ 59 w 61"/>
                  <a:gd name="T3" fmla="*/ 32 h 32"/>
                  <a:gd name="T4" fmla="*/ 2 w 61"/>
                  <a:gd name="T5" fmla="*/ 32 h 32"/>
                  <a:gd name="T6" fmla="*/ 0 w 61"/>
                  <a:gd name="T7" fmla="*/ 30 h 32"/>
                  <a:gd name="T8" fmla="*/ 0 w 61"/>
                  <a:gd name="T9" fmla="*/ 2 h 32"/>
                  <a:gd name="T10" fmla="*/ 2 w 61"/>
                  <a:gd name="T11" fmla="*/ 0 h 32"/>
                  <a:gd name="T12" fmla="*/ 59 w 61"/>
                  <a:gd name="T13" fmla="*/ 0 h 32"/>
                  <a:gd name="T14" fmla="*/ 61 w 61"/>
                  <a:gd name="T15" fmla="*/ 2 h 32"/>
                  <a:gd name="T16" fmla="*/ 61 w 61"/>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32">
                    <a:moveTo>
                      <a:pt x="61" y="30"/>
                    </a:moveTo>
                    <a:cubicBezTo>
                      <a:pt x="61" y="31"/>
                      <a:pt x="60" y="32"/>
                      <a:pt x="59" y="32"/>
                    </a:cubicBezTo>
                    <a:cubicBezTo>
                      <a:pt x="2" y="32"/>
                      <a:pt x="2" y="32"/>
                      <a:pt x="2" y="32"/>
                    </a:cubicBezTo>
                    <a:cubicBezTo>
                      <a:pt x="1" y="32"/>
                      <a:pt x="0" y="31"/>
                      <a:pt x="0" y="30"/>
                    </a:cubicBezTo>
                    <a:cubicBezTo>
                      <a:pt x="0" y="2"/>
                      <a:pt x="0" y="2"/>
                      <a:pt x="0" y="2"/>
                    </a:cubicBezTo>
                    <a:cubicBezTo>
                      <a:pt x="0" y="1"/>
                      <a:pt x="1" y="0"/>
                      <a:pt x="2" y="0"/>
                    </a:cubicBezTo>
                    <a:cubicBezTo>
                      <a:pt x="59" y="0"/>
                      <a:pt x="59" y="0"/>
                      <a:pt x="59" y="0"/>
                    </a:cubicBezTo>
                    <a:cubicBezTo>
                      <a:pt x="60" y="0"/>
                      <a:pt x="61" y="1"/>
                      <a:pt x="61" y="2"/>
                    </a:cubicBezTo>
                    <a:lnTo>
                      <a:pt x="6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101">
                <a:extLst>
                  <a:ext uri="{FF2B5EF4-FFF2-40B4-BE49-F238E27FC236}">
                    <a16:creationId xmlns:a16="http://schemas.microsoft.com/office/drawing/2014/main" id="{8F63F589-6751-4496-9E28-DF50D70686B3}"/>
                  </a:ext>
                </a:extLst>
              </p:cNvPr>
              <p:cNvSpPr>
                <a:spLocks/>
              </p:cNvSpPr>
              <p:nvPr/>
            </p:nvSpPr>
            <p:spPr bwMode="gray">
              <a:xfrm>
                <a:off x="12900025" y="4114800"/>
                <a:ext cx="157163" cy="119063"/>
              </a:xfrm>
              <a:custGeom>
                <a:avLst/>
                <a:gdLst>
                  <a:gd name="T0" fmla="*/ 42 w 42"/>
                  <a:gd name="T1" fmla="*/ 30 h 32"/>
                  <a:gd name="T2" fmla="*/ 40 w 42"/>
                  <a:gd name="T3" fmla="*/ 32 h 32"/>
                  <a:gd name="T4" fmla="*/ 2 w 42"/>
                  <a:gd name="T5" fmla="*/ 32 h 32"/>
                  <a:gd name="T6" fmla="*/ 0 w 42"/>
                  <a:gd name="T7" fmla="*/ 30 h 32"/>
                  <a:gd name="T8" fmla="*/ 0 w 42"/>
                  <a:gd name="T9" fmla="*/ 2 h 32"/>
                  <a:gd name="T10" fmla="*/ 2 w 42"/>
                  <a:gd name="T11" fmla="*/ 0 h 32"/>
                  <a:gd name="T12" fmla="*/ 40 w 42"/>
                  <a:gd name="T13" fmla="*/ 0 h 32"/>
                  <a:gd name="T14" fmla="*/ 42 w 42"/>
                  <a:gd name="T15" fmla="*/ 2 h 32"/>
                  <a:gd name="T16" fmla="*/ 42 w 4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2">
                    <a:moveTo>
                      <a:pt x="42" y="30"/>
                    </a:moveTo>
                    <a:cubicBezTo>
                      <a:pt x="42" y="31"/>
                      <a:pt x="41" y="32"/>
                      <a:pt x="40" y="32"/>
                    </a:cubicBezTo>
                    <a:cubicBezTo>
                      <a:pt x="2" y="32"/>
                      <a:pt x="2" y="32"/>
                      <a:pt x="2" y="32"/>
                    </a:cubicBezTo>
                    <a:cubicBezTo>
                      <a:pt x="1" y="32"/>
                      <a:pt x="0" y="31"/>
                      <a:pt x="0" y="30"/>
                    </a:cubicBezTo>
                    <a:cubicBezTo>
                      <a:pt x="0" y="2"/>
                      <a:pt x="0" y="2"/>
                      <a:pt x="0" y="2"/>
                    </a:cubicBezTo>
                    <a:cubicBezTo>
                      <a:pt x="0" y="1"/>
                      <a:pt x="1" y="0"/>
                      <a:pt x="2" y="0"/>
                    </a:cubicBezTo>
                    <a:cubicBezTo>
                      <a:pt x="40" y="0"/>
                      <a:pt x="40" y="0"/>
                      <a:pt x="40" y="0"/>
                    </a:cubicBezTo>
                    <a:cubicBezTo>
                      <a:pt x="41" y="0"/>
                      <a:pt x="42" y="1"/>
                      <a:pt x="42" y="2"/>
                    </a:cubicBezTo>
                    <a:lnTo>
                      <a:pt x="4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102">
                <a:extLst>
                  <a:ext uri="{FF2B5EF4-FFF2-40B4-BE49-F238E27FC236}">
                    <a16:creationId xmlns:a16="http://schemas.microsoft.com/office/drawing/2014/main" id="{E49723E7-FD76-4DE1-9E5A-ACE8229FE0B6}"/>
                  </a:ext>
                </a:extLst>
              </p:cNvPr>
              <p:cNvSpPr>
                <a:spLocks/>
              </p:cNvSpPr>
              <p:nvPr/>
            </p:nvSpPr>
            <p:spPr bwMode="gray">
              <a:xfrm>
                <a:off x="13046075" y="36766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103">
                <a:extLst>
                  <a:ext uri="{FF2B5EF4-FFF2-40B4-BE49-F238E27FC236}">
                    <a16:creationId xmlns:a16="http://schemas.microsoft.com/office/drawing/2014/main" id="{858F540E-B8DF-4254-9359-20EC362EF944}"/>
                  </a:ext>
                </a:extLst>
              </p:cNvPr>
              <p:cNvSpPr>
                <a:spLocks/>
              </p:cNvSpPr>
              <p:nvPr/>
            </p:nvSpPr>
            <p:spPr bwMode="gray">
              <a:xfrm>
                <a:off x="13192125" y="36766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104">
                <a:extLst>
                  <a:ext uri="{FF2B5EF4-FFF2-40B4-BE49-F238E27FC236}">
                    <a16:creationId xmlns:a16="http://schemas.microsoft.com/office/drawing/2014/main" id="{8B625BFD-A862-400F-BC26-993826AC36B9}"/>
                  </a:ext>
                </a:extLst>
              </p:cNvPr>
              <p:cNvSpPr>
                <a:spLocks/>
              </p:cNvSpPr>
              <p:nvPr/>
            </p:nvSpPr>
            <p:spPr bwMode="gray">
              <a:xfrm>
                <a:off x="13339763"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105">
                <a:extLst>
                  <a:ext uri="{FF2B5EF4-FFF2-40B4-BE49-F238E27FC236}">
                    <a16:creationId xmlns:a16="http://schemas.microsoft.com/office/drawing/2014/main" id="{2A87A3D1-A334-4A39-8A94-41872CFAB928}"/>
                  </a:ext>
                </a:extLst>
              </p:cNvPr>
              <p:cNvSpPr>
                <a:spLocks/>
              </p:cNvSpPr>
              <p:nvPr/>
            </p:nvSpPr>
            <p:spPr bwMode="gray">
              <a:xfrm>
                <a:off x="13485813"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106">
                <a:extLst>
                  <a:ext uri="{FF2B5EF4-FFF2-40B4-BE49-F238E27FC236}">
                    <a16:creationId xmlns:a16="http://schemas.microsoft.com/office/drawing/2014/main" id="{A47C3C55-A5A3-404F-8BF4-7800CCA6C47D}"/>
                  </a:ext>
                </a:extLst>
              </p:cNvPr>
              <p:cNvSpPr>
                <a:spLocks/>
              </p:cNvSpPr>
              <p:nvPr/>
            </p:nvSpPr>
            <p:spPr bwMode="gray">
              <a:xfrm>
                <a:off x="13631863"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107">
                <a:extLst>
                  <a:ext uri="{FF2B5EF4-FFF2-40B4-BE49-F238E27FC236}">
                    <a16:creationId xmlns:a16="http://schemas.microsoft.com/office/drawing/2014/main" id="{A5AE3441-C62B-4C49-B733-4C6B370F4355}"/>
                  </a:ext>
                </a:extLst>
              </p:cNvPr>
              <p:cNvSpPr>
                <a:spLocks/>
              </p:cNvSpPr>
              <p:nvPr/>
            </p:nvSpPr>
            <p:spPr bwMode="gray">
              <a:xfrm>
                <a:off x="13777913"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108">
                <a:extLst>
                  <a:ext uri="{FF2B5EF4-FFF2-40B4-BE49-F238E27FC236}">
                    <a16:creationId xmlns:a16="http://schemas.microsoft.com/office/drawing/2014/main" id="{15713621-3447-4AA8-9CA9-D2BCB78A2070}"/>
                  </a:ext>
                </a:extLst>
              </p:cNvPr>
              <p:cNvSpPr>
                <a:spLocks/>
              </p:cNvSpPr>
              <p:nvPr/>
            </p:nvSpPr>
            <p:spPr bwMode="gray">
              <a:xfrm>
                <a:off x="13923963"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109">
                <a:extLst>
                  <a:ext uri="{FF2B5EF4-FFF2-40B4-BE49-F238E27FC236}">
                    <a16:creationId xmlns:a16="http://schemas.microsoft.com/office/drawing/2014/main" id="{FDCEAA64-FAF0-4002-A528-13A892FC7C18}"/>
                  </a:ext>
                </a:extLst>
              </p:cNvPr>
              <p:cNvSpPr>
                <a:spLocks/>
              </p:cNvSpPr>
              <p:nvPr/>
            </p:nvSpPr>
            <p:spPr bwMode="gray">
              <a:xfrm>
                <a:off x="14070013" y="3676650"/>
                <a:ext cx="119063" cy="119063"/>
              </a:xfrm>
              <a:custGeom>
                <a:avLst/>
                <a:gdLst>
                  <a:gd name="T0" fmla="*/ 32 w 32"/>
                  <a:gd name="T1" fmla="*/ 30 h 32"/>
                  <a:gd name="T2" fmla="*/ 30 w 32"/>
                  <a:gd name="T3" fmla="*/ 32 h 32"/>
                  <a:gd name="T4" fmla="*/ 1 w 32"/>
                  <a:gd name="T5" fmla="*/ 32 h 32"/>
                  <a:gd name="T6" fmla="*/ 0 w 32"/>
                  <a:gd name="T7" fmla="*/ 30 h 32"/>
                  <a:gd name="T8" fmla="*/ 0 w 32"/>
                  <a:gd name="T9" fmla="*/ 2 h 32"/>
                  <a:gd name="T10" fmla="*/ 1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1" y="32"/>
                      <a:pt x="1" y="32"/>
                      <a:pt x="1" y="32"/>
                    </a:cubicBezTo>
                    <a:cubicBezTo>
                      <a:pt x="0" y="32"/>
                      <a:pt x="0" y="31"/>
                      <a:pt x="0" y="30"/>
                    </a:cubicBezTo>
                    <a:cubicBezTo>
                      <a:pt x="0" y="2"/>
                      <a:pt x="0" y="2"/>
                      <a:pt x="0" y="2"/>
                    </a:cubicBezTo>
                    <a:cubicBezTo>
                      <a:pt x="0" y="1"/>
                      <a:pt x="0" y="0"/>
                      <a:pt x="1"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110">
                <a:extLst>
                  <a:ext uri="{FF2B5EF4-FFF2-40B4-BE49-F238E27FC236}">
                    <a16:creationId xmlns:a16="http://schemas.microsoft.com/office/drawing/2014/main" id="{EFB655DD-6252-4995-8B5F-BE73B0B689D6}"/>
                  </a:ext>
                </a:extLst>
              </p:cNvPr>
              <p:cNvSpPr>
                <a:spLocks/>
              </p:cNvSpPr>
              <p:nvPr/>
            </p:nvSpPr>
            <p:spPr bwMode="gray">
              <a:xfrm>
                <a:off x="14212888" y="3676650"/>
                <a:ext cx="119063" cy="119063"/>
              </a:xfrm>
              <a:custGeom>
                <a:avLst/>
                <a:gdLst>
                  <a:gd name="T0" fmla="*/ 32 w 32"/>
                  <a:gd name="T1" fmla="*/ 30 h 32"/>
                  <a:gd name="T2" fmla="*/ 31 w 32"/>
                  <a:gd name="T3" fmla="*/ 32 h 32"/>
                  <a:gd name="T4" fmla="*/ 2 w 32"/>
                  <a:gd name="T5" fmla="*/ 32 h 32"/>
                  <a:gd name="T6" fmla="*/ 0 w 32"/>
                  <a:gd name="T7" fmla="*/ 30 h 32"/>
                  <a:gd name="T8" fmla="*/ 0 w 32"/>
                  <a:gd name="T9" fmla="*/ 2 h 32"/>
                  <a:gd name="T10" fmla="*/ 2 w 32"/>
                  <a:gd name="T11" fmla="*/ 0 h 32"/>
                  <a:gd name="T12" fmla="*/ 31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2" y="32"/>
                      <a:pt x="31" y="32"/>
                    </a:cubicBezTo>
                    <a:cubicBezTo>
                      <a:pt x="2" y="32"/>
                      <a:pt x="2" y="32"/>
                      <a:pt x="2" y="32"/>
                    </a:cubicBezTo>
                    <a:cubicBezTo>
                      <a:pt x="1" y="32"/>
                      <a:pt x="0" y="31"/>
                      <a:pt x="0" y="30"/>
                    </a:cubicBezTo>
                    <a:cubicBezTo>
                      <a:pt x="0" y="2"/>
                      <a:pt x="0" y="2"/>
                      <a:pt x="0" y="2"/>
                    </a:cubicBezTo>
                    <a:cubicBezTo>
                      <a:pt x="0" y="1"/>
                      <a:pt x="1" y="0"/>
                      <a:pt x="2" y="0"/>
                    </a:cubicBezTo>
                    <a:cubicBezTo>
                      <a:pt x="31" y="0"/>
                      <a:pt x="31" y="0"/>
                      <a:pt x="31" y="0"/>
                    </a:cubicBezTo>
                    <a:cubicBezTo>
                      <a:pt x="32"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111">
                <a:extLst>
                  <a:ext uri="{FF2B5EF4-FFF2-40B4-BE49-F238E27FC236}">
                    <a16:creationId xmlns:a16="http://schemas.microsoft.com/office/drawing/2014/main" id="{3AE42B0F-7485-4C1E-8203-33D224215E37}"/>
                  </a:ext>
                </a:extLst>
              </p:cNvPr>
              <p:cNvSpPr>
                <a:spLocks/>
              </p:cNvSpPr>
              <p:nvPr/>
            </p:nvSpPr>
            <p:spPr bwMode="gray">
              <a:xfrm>
                <a:off x="14358938"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112">
                <a:extLst>
                  <a:ext uri="{FF2B5EF4-FFF2-40B4-BE49-F238E27FC236}">
                    <a16:creationId xmlns:a16="http://schemas.microsoft.com/office/drawing/2014/main" id="{39BC4041-AD9B-4802-9D5E-3A5392387A75}"/>
                  </a:ext>
                </a:extLst>
              </p:cNvPr>
              <p:cNvSpPr>
                <a:spLocks/>
              </p:cNvSpPr>
              <p:nvPr/>
            </p:nvSpPr>
            <p:spPr bwMode="gray">
              <a:xfrm>
                <a:off x="14504988"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113">
                <a:extLst>
                  <a:ext uri="{FF2B5EF4-FFF2-40B4-BE49-F238E27FC236}">
                    <a16:creationId xmlns:a16="http://schemas.microsoft.com/office/drawing/2014/main" id="{8E6C252E-C105-4EB0-B060-2865698C0C8D}"/>
                  </a:ext>
                </a:extLst>
              </p:cNvPr>
              <p:cNvSpPr>
                <a:spLocks/>
              </p:cNvSpPr>
              <p:nvPr/>
            </p:nvSpPr>
            <p:spPr bwMode="gray">
              <a:xfrm>
                <a:off x="14651038"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114">
                <a:extLst>
                  <a:ext uri="{FF2B5EF4-FFF2-40B4-BE49-F238E27FC236}">
                    <a16:creationId xmlns:a16="http://schemas.microsoft.com/office/drawing/2014/main" id="{9EE6D312-DE60-479F-A596-6CB8C8713FC7}"/>
                  </a:ext>
                </a:extLst>
              </p:cNvPr>
              <p:cNvSpPr>
                <a:spLocks/>
              </p:cNvSpPr>
              <p:nvPr/>
            </p:nvSpPr>
            <p:spPr bwMode="gray">
              <a:xfrm>
                <a:off x="14725650" y="4330700"/>
                <a:ext cx="120650" cy="63500"/>
              </a:xfrm>
              <a:custGeom>
                <a:avLst/>
                <a:gdLst>
                  <a:gd name="T0" fmla="*/ 0 w 32"/>
                  <a:gd name="T1" fmla="*/ 0 h 17"/>
                  <a:gd name="T2" fmla="*/ 0 w 32"/>
                  <a:gd name="T3" fmla="*/ 16 h 17"/>
                  <a:gd name="T4" fmla="*/ 1 w 32"/>
                  <a:gd name="T5" fmla="*/ 17 h 17"/>
                  <a:gd name="T6" fmla="*/ 2 w 32"/>
                  <a:gd name="T7" fmla="*/ 17 h 17"/>
                  <a:gd name="T8" fmla="*/ 30 w 32"/>
                  <a:gd name="T9" fmla="*/ 17 h 17"/>
                  <a:gd name="T10" fmla="*/ 31 w 32"/>
                  <a:gd name="T11" fmla="*/ 17 h 17"/>
                  <a:gd name="T12" fmla="*/ 32 w 32"/>
                  <a:gd name="T13" fmla="*/ 16 h 17"/>
                  <a:gd name="T14" fmla="*/ 32 w 32"/>
                  <a:gd name="T15" fmla="*/ 0 h 17"/>
                  <a:gd name="T16" fmla="*/ 0 w 32"/>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7">
                    <a:moveTo>
                      <a:pt x="0" y="0"/>
                    </a:moveTo>
                    <a:cubicBezTo>
                      <a:pt x="0" y="16"/>
                      <a:pt x="0" y="16"/>
                      <a:pt x="0" y="16"/>
                    </a:cubicBezTo>
                    <a:cubicBezTo>
                      <a:pt x="0" y="16"/>
                      <a:pt x="0" y="17"/>
                      <a:pt x="1" y="17"/>
                    </a:cubicBezTo>
                    <a:cubicBezTo>
                      <a:pt x="1" y="17"/>
                      <a:pt x="1" y="17"/>
                      <a:pt x="2" y="17"/>
                    </a:cubicBezTo>
                    <a:cubicBezTo>
                      <a:pt x="30" y="17"/>
                      <a:pt x="30" y="17"/>
                      <a:pt x="30" y="17"/>
                    </a:cubicBezTo>
                    <a:cubicBezTo>
                      <a:pt x="31" y="17"/>
                      <a:pt x="31" y="17"/>
                      <a:pt x="31" y="17"/>
                    </a:cubicBezTo>
                    <a:cubicBezTo>
                      <a:pt x="32" y="17"/>
                      <a:pt x="32" y="16"/>
                      <a:pt x="32" y="16"/>
                    </a:cubicBezTo>
                    <a:cubicBezTo>
                      <a:pt x="32" y="0"/>
                      <a:pt x="32" y="0"/>
                      <a:pt x="32"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115">
                <a:extLst>
                  <a:ext uri="{FF2B5EF4-FFF2-40B4-BE49-F238E27FC236}">
                    <a16:creationId xmlns:a16="http://schemas.microsoft.com/office/drawing/2014/main" id="{1201ED74-156E-4B88-906D-61F4C291CB47}"/>
                  </a:ext>
                </a:extLst>
              </p:cNvPr>
              <p:cNvSpPr>
                <a:spLocks/>
              </p:cNvSpPr>
              <p:nvPr/>
            </p:nvSpPr>
            <p:spPr bwMode="gray">
              <a:xfrm>
                <a:off x="14725650" y="4260850"/>
                <a:ext cx="120650" cy="63500"/>
              </a:xfrm>
              <a:custGeom>
                <a:avLst/>
                <a:gdLst>
                  <a:gd name="T0" fmla="*/ 32 w 32"/>
                  <a:gd name="T1" fmla="*/ 17 h 17"/>
                  <a:gd name="T2" fmla="*/ 32 w 32"/>
                  <a:gd name="T3" fmla="*/ 1 h 17"/>
                  <a:gd name="T4" fmla="*/ 31 w 32"/>
                  <a:gd name="T5" fmla="*/ 0 h 17"/>
                  <a:gd name="T6" fmla="*/ 30 w 32"/>
                  <a:gd name="T7" fmla="*/ 0 h 17"/>
                  <a:gd name="T8" fmla="*/ 2 w 32"/>
                  <a:gd name="T9" fmla="*/ 0 h 17"/>
                  <a:gd name="T10" fmla="*/ 1 w 32"/>
                  <a:gd name="T11" fmla="*/ 0 h 17"/>
                  <a:gd name="T12" fmla="*/ 0 w 32"/>
                  <a:gd name="T13" fmla="*/ 1 h 17"/>
                  <a:gd name="T14" fmla="*/ 0 w 32"/>
                  <a:gd name="T15" fmla="*/ 17 h 17"/>
                  <a:gd name="T16" fmla="*/ 32 w 32"/>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7">
                    <a:moveTo>
                      <a:pt x="32" y="17"/>
                    </a:moveTo>
                    <a:cubicBezTo>
                      <a:pt x="32" y="1"/>
                      <a:pt x="32" y="1"/>
                      <a:pt x="32" y="1"/>
                    </a:cubicBezTo>
                    <a:cubicBezTo>
                      <a:pt x="32" y="1"/>
                      <a:pt x="32" y="0"/>
                      <a:pt x="31" y="0"/>
                    </a:cubicBezTo>
                    <a:cubicBezTo>
                      <a:pt x="31" y="0"/>
                      <a:pt x="31" y="0"/>
                      <a:pt x="30" y="0"/>
                    </a:cubicBezTo>
                    <a:cubicBezTo>
                      <a:pt x="2" y="0"/>
                      <a:pt x="2" y="0"/>
                      <a:pt x="2" y="0"/>
                    </a:cubicBezTo>
                    <a:cubicBezTo>
                      <a:pt x="1" y="0"/>
                      <a:pt x="1" y="0"/>
                      <a:pt x="1" y="0"/>
                    </a:cubicBezTo>
                    <a:cubicBezTo>
                      <a:pt x="0" y="0"/>
                      <a:pt x="0" y="1"/>
                      <a:pt x="0" y="1"/>
                    </a:cubicBezTo>
                    <a:cubicBezTo>
                      <a:pt x="0" y="17"/>
                      <a:pt x="0" y="17"/>
                      <a:pt x="0" y="17"/>
                    </a:cubicBezTo>
                    <a:lnTo>
                      <a:pt x="32"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116">
                <a:extLst>
                  <a:ext uri="{FF2B5EF4-FFF2-40B4-BE49-F238E27FC236}">
                    <a16:creationId xmlns:a16="http://schemas.microsoft.com/office/drawing/2014/main" id="{FED002A2-AC20-483C-A18C-6B60C2E942E9}"/>
                  </a:ext>
                </a:extLst>
              </p:cNvPr>
              <p:cNvSpPr>
                <a:spLocks/>
              </p:cNvSpPr>
              <p:nvPr/>
            </p:nvSpPr>
            <p:spPr bwMode="gray">
              <a:xfrm>
                <a:off x="14871700" y="3822700"/>
                <a:ext cx="120650" cy="265113"/>
              </a:xfrm>
              <a:custGeom>
                <a:avLst/>
                <a:gdLst>
                  <a:gd name="T0" fmla="*/ 2 w 32"/>
                  <a:gd name="T1" fmla="*/ 0 h 71"/>
                  <a:gd name="T2" fmla="*/ 1 w 32"/>
                  <a:gd name="T3" fmla="*/ 0 h 71"/>
                  <a:gd name="T4" fmla="*/ 0 w 32"/>
                  <a:gd name="T5" fmla="*/ 2 h 71"/>
                  <a:gd name="T6" fmla="*/ 0 w 32"/>
                  <a:gd name="T7" fmla="*/ 30 h 71"/>
                  <a:gd name="T8" fmla="*/ 1 w 32"/>
                  <a:gd name="T9" fmla="*/ 31 h 71"/>
                  <a:gd name="T10" fmla="*/ 2 w 32"/>
                  <a:gd name="T11" fmla="*/ 32 h 71"/>
                  <a:gd name="T12" fmla="*/ 9 w 32"/>
                  <a:gd name="T13" fmla="*/ 32 h 71"/>
                  <a:gd name="T14" fmla="*/ 9 w 32"/>
                  <a:gd name="T15" fmla="*/ 69 h 71"/>
                  <a:gd name="T16" fmla="*/ 10 w 32"/>
                  <a:gd name="T17" fmla="*/ 70 h 71"/>
                  <a:gd name="T18" fmla="*/ 11 w 32"/>
                  <a:gd name="T19" fmla="*/ 71 h 71"/>
                  <a:gd name="T20" fmla="*/ 30 w 32"/>
                  <a:gd name="T21" fmla="*/ 71 h 71"/>
                  <a:gd name="T22" fmla="*/ 31 w 32"/>
                  <a:gd name="T23" fmla="*/ 70 h 71"/>
                  <a:gd name="T24" fmla="*/ 32 w 32"/>
                  <a:gd name="T25" fmla="*/ 69 h 71"/>
                  <a:gd name="T26" fmla="*/ 32 w 32"/>
                  <a:gd name="T27" fmla="*/ 2 h 71"/>
                  <a:gd name="T28" fmla="*/ 31 w 32"/>
                  <a:gd name="T29" fmla="*/ 0 h 71"/>
                  <a:gd name="T30" fmla="*/ 30 w 32"/>
                  <a:gd name="T31" fmla="*/ 0 h 71"/>
                  <a:gd name="T32" fmla="*/ 2 w 32"/>
                  <a:gd name="T3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1">
                    <a:moveTo>
                      <a:pt x="2" y="0"/>
                    </a:moveTo>
                    <a:cubicBezTo>
                      <a:pt x="1" y="0"/>
                      <a:pt x="1" y="0"/>
                      <a:pt x="1" y="0"/>
                    </a:cubicBezTo>
                    <a:cubicBezTo>
                      <a:pt x="0" y="1"/>
                      <a:pt x="0" y="1"/>
                      <a:pt x="0" y="2"/>
                    </a:cubicBezTo>
                    <a:cubicBezTo>
                      <a:pt x="0" y="30"/>
                      <a:pt x="0" y="30"/>
                      <a:pt x="0" y="30"/>
                    </a:cubicBezTo>
                    <a:cubicBezTo>
                      <a:pt x="0" y="30"/>
                      <a:pt x="0" y="31"/>
                      <a:pt x="1" y="31"/>
                    </a:cubicBezTo>
                    <a:cubicBezTo>
                      <a:pt x="1" y="32"/>
                      <a:pt x="1" y="32"/>
                      <a:pt x="2" y="32"/>
                    </a:cubicBezTo>
                    <a:cubicBezTo>
                      <a:pt x="9" y="32"/>
                      <a:pt x="9" y="32"/>
                      <a:pt x="9" y="32"/>
                    </a:cubicBezTo>
                    <a:cubicBezTo>
                      <a:pt x="9" y="69"/>
                      <a:pt x="9" y="69"/>
                      <a:pt x="9" y="69"/>
                    </a:cubicBezTo>
                    <a:cubicBezTo>
                      <a:pt x="9" y="69"/>
                      <a:pt x="9" y="70"/>
                      <a:pt x="10" y="70"/>
                    </a:cubicBezTo>
                    <a:cubicBezTo>
                      <a:pt x="10" y="71"/>
                      <a:pt x="11" y="71"/>
                      <a:pt x="11" y="71"/>
                    </a:cubicBezTo>
                    <a:cubicBezTo>
                      <a:pt x="30" y="71"/>
                      <a:pt x="30" y="71"/>
                      <a:pt x="30" y="71"/>
                    </a:cubicBezTo>
                    <a:cubicBezTo>
                      <a:pt x="31" y="71"/>
                      <a:pt x="31" y="71"/>
                      <a:pt x="31" y="70"/>
                    </a:cubicBezTo>
                    <a:cubicBezTo>
                      <a:pt x="32" y="70"/>
                      <a:pt x="32" y="69"/>
                      <a:pt x="32" y="69"/>
                    </a:cubicBezTo>
                    <a:cubicBezTo>
                      <a:pt x="32" y="2"/>
                      <a:pt x="32" y="2"/>
                      <a:pt x="32" y="2"/>
                    </a:cubicBezTo>
                    <a:cubicBezTo>
                      <a:pt x="32" y="1"/>
                      <a:pt x="32" y="1"/>
                      <a:pt x="31" y="0"/>
                    </a:cubicBezTo>
                    <a:cubicBezTo>
                      <a:pt x="31" y="0"/>
                      <a:pt x="31" y="0"/>
                      <a:pt x="30"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117">
                <a:extLst>
                  <a:ext uri="{FF2B5EF4-FFF2-40B4-BE49-F238E27FC236}">
                    <a16:creationId xmlns:a16="http://schemas.microsoft.com/office/drawing/2014/main" id="{2231821D-2CA9-4725-896E-E8292AA02121}"/>
                  </a:ext>
                </a:extLst>
              </p:cNvPr>
              <p:cNvSpPr>
                <a:spLocks/>
              </p:cNvSpPr>
              <p:nvPr/>
            </p:nvSpPr>
            <p:spPr bwMode="gray">
              <a:xfrm>
                <a:off x="12761913" y="2147888"/>
                <a:ext cx="2373313" cy="1389063"/>
              </a:xfrm>
              <a:custGeom>
                <a:avLst/>
                <a:gdLst>
                  <a:gd name="T0" fmla="*/ 29 w 633"/>
                  <a:gd name="T1" fmla="*/ 0 h 371"/>
                  <a:gd name="T2" fmla="*/ 8 w 633"/>
                  <a:gd name="T3" fmla="*/ 9 h 371"/>
                  <a:gd name="T4" fmla="*/ 0 w 633"/>
                  <a:gd name="T5" fmla="*/ 30 h 371"/>
                  <a:gd name="T6" fmla="*/ 0 w 633"/>
                  <a:gd name="T7" fmla="*/ 371 h 371"/>
                  <a:gd name="T8" fmla="*/ 633 w 633"/>
                  <a:gd name="T9" fmla="*/ 371 h 371"/>
                  <a:gd name="T10" fmla="*/ 633 w 633"/>
                  <a:gd name="T11" fmla="*/ 30 h 371"/>
                  <a:gd name="T12" fmla="*/ 624 w 633"/>
                  <a:gd name="T13" fmla="*/ 9 h 371"/>
                  <a:gd name="T14" fmla="*/ 603 w 633"/>
                  <a:gd name="T15" fmla="*/ 0 h 371"/>
                  <a:gd name="T16" fmla="*/ 29 w 633"/>
                  <a:gd name="T17"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3" h="371">
                    <a:moveTo>
                      <a:pt x="29" y="0"/>
                    </a:moveTo>
                    <a:cubicBezTo>
                      <a:pt x="22" y="0"/>
                      <a:pt x="14" y="3"/>
                      <a:pt x="8" y="9"/>
                    </a:cubicBezTo>
                    <a:cubicBezTo>
                      <a:pt x="3" y="14"/>
                      <a:pt x="0" y="22"/>
                      <a:pt x="0" y="30"/>
                    </a:cubicBezTo>
                    <a:cubicBezTo>
                      <a:pt x="0" y="371"/>
                      <a:pt x="0" y="371"/>
                      <a:pt x="0" y="371"/>
                    </a:cubicBezTo>
                    <a:cubicBezTo>
                      <a:pt x="633" y="371"/>
                      <a:pt x="633" y="371"/>
                      <a:pt x="633" y="371"/>
                    </a:cubicBezTo>
                    <a:cubicBezTo>
                      <a:pt x="633" y="30"/>
                      <a:pt x="633" y="30"/>
                      <a:pt x="633" y="30"/>
                    </a:cubicBezTo>
                    <a:cubicBezTo>
                      <a:pt x="633" y="22"/>
                      <a:pt x="630" y="14"/>
                      <a:pt x="624" y="9"/>
                    </a:cubicBezTo>
                    <a:cubicBezTo>
                      <a:pt x="618" y="3"/>
                      <a:pt x="611" y="0"/>
                      <a:pt x="603" y="0"/>
                    </a:cubicBezTo>
                    <a:lnTo>
                      <a:pt x="29"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9" name="Oval 118">
                <a:extLst>
                  <a:ext uri="{FF2B5EF4-FFF2-40B4-BE49-F238E27FC236}">
                    <a16:creationId xmlns:a16="http://schemas.microsoft.com/office/drawing/2014/main" id="{1803FC15-AB19-4353-81B2-6BFEF27ABEAE}"/>
                  </a:ext>
                </a:extLst>
              </p:cNvPr>
              <p:cNvSpPr>
                <a:spLocks noChangeArrowheads="1"/>
              </p:cNvSpPr>
              <p:nvPr/>
            </p:nvSpPr>
            <p:spPr bwMode="gray">
              <a:xfrm>
                <a:off x="13919200" y="2182813"/>
                <a:ext cx="53975" cy="52388"/>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1" name="Rectangle 120">
                <a:extLst>
                  <a:ext uri="{FF2B5EF4-FFF2-40B4-BE49-F238E27FC236}">
                    <a16:creationId xmlns:a16="http://schemas.microsoft.com/office/drawing/2014/main" id="{2AEC37A8-2F53-4E06-AC39-7CE75182A61C}"/>
                  </a:ext>
                </a:extLst>
              </p:cNvPr>
              <p:cNvSpPr>
                <a:spLocks noChangeArrowheads="1"/>
              </p:cNvSpPr>
              <p:nvPr/>
            </p:nvSpPr>
            <p:spPr bwMode="gray">
              <a:xfrm>
                <a:off x="14912975" y="3489325"/>
                <a:ext cx="157163" cy="96838"/>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2" name="Rectangle 121">
                <a:extLst>
                  <a:ext uri="{FF2B5EF4-FFF2-40B4-BE49-F238E27FC236}">
                    <a16:creationId xmlns:a16="http://schemas.microsoft.com/office/drawing/2014/main" id="{EA987D5F-BED0-47CC-9658-8901A15370B2}"/>
                  </a:ext>
                </a:extLst>
              </p:cNvPr>
              <p:cNvSpPr>
                <a:spLocks noChangeArrowheads="1"/>
              </p:cNvSpPr>
              <p:nvPr/>
            </p:nvSpPr>
            <p:spPr bwMode="gray">
              <a:xfrm>
                <a:off x="14912975" y="3536950"/>
                <a:ext cx="157163" cy="4921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3" name="Rectangle 122">
                <a:extLst>
                  <a:ext uri="{FF2B5EF4-FFF2-40B4-BE49-F238E27FC236}">
                    <a16:creationId xmlns:a16="http://schemas.microsoft.com/office/drawing/2014/main" id="{A5DBC5BB-27CA-4F0B-994D-4FAD71DDD869}"/>
                  </a:ext>
                </a:extLst>
              </p:cNvPr>
              <p:cNvSpPr>
                <a:spLocks noChangeArrowheads="1"/>
              </p:cNvSpPr>
              <p:nvPr/>
            </p:nvSpPr>
            <p:spPr bwMode="gray">
              <a:xfrm>
                <a:off x="12825413" y="3489325"/>
                <a:ext cx="153988" cy="96838"/>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4" name="Rectangle 123">
                <a:extLst>
                  <a:ext uri="{FF2B5EF4-FFF2-40B4-BE49-F238E27FC236}">
                    <a16:creationId xmlns:a16="http://schemas.microsoft.com/office/drawing/2014/main" id="{D0425B3B-4B58-48A4-B9BB-F440D5555145}"/>
                  </a:ext>
                </a:extLst>
              </p:cNvPr>
              <p:cNvSpPr>
                <a:spLocks noChangeArrowheads="1"/>
              </p:cNvSpPr>
              <p:nvPr/>
            </p:nvSpPr>
            <p:spPr bwMode="gray">
              <a:xfrm>
                <a:off x="12825413" y="3536950"/>
                <a:ext cx="153988" cy="4921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3" name="Oval 172">
                <a:extLst>
                  <a:ext uri="{FF2B5EF4-FFF2-40B4-BE49-F238E27FC236}">
                    <a16:creationId xmlns:a16="http://schemas.microsoft.com/office/drawing/2014/main" id="{C2FBD91C-7A01-4409-AA1B-9710F06965B1}"/>
                  </a:ext>
                </a:extLst>
              </p:cNvPr>
              <p:cNvSpPr>
                <a:spLocks noChangeArrowheads="1"/>
              </p:cNvSpPr>
              <p:nvPr/>
            </p:nvSpPr>
            <p:spPr bwMode="gray">
              <a:xfrm>
                <a:off x="15374938" y="3197225"/>
                <a:ext cx="876300" cy="8715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 name="Freeform 173">
                <a:extLst>
                  <a:ext uri="{FF2B5EF4-FFF2-40B4-BE49-F238E27FC236}">
                    <a16:creationId xmlns:a16="http://schemas.microsoft.com/office/drawing/2014/main" id="{D038E4B9-BCD3-4237-984C-19C690BFE28B}"/>
                  </a:ext>
                </a:extLst>
              </p:cNvPr>
              <p:cNvSpPr>
                <a:spLocks/>
              </p:cNvSpPr>
              <p:nvPr/>
            </p:nvSpPr>
            <p:spPr bwMode="gray">
              <a:xfrm>
                <a:off x="15873413" y="3694113"/>
                <a:ext cx="546100" cy="385763"/>
              </a:xfrm>
              <a:custGeom>
                <a:avLst/>
                <a:gdLst>
                  <a:gd name="T0" fmla="*/ 99 w 146"/>
                  <a:gd name="T1" fmla="*/ 0 h 103"/>
                  <a:gd name="T2" fmla="*/ 0 w 146"/>
                  <a:gd name="T3" fmla="*/ 99 h 103"/>
                  <a:gd name="T4" fmla="*/ 25 w 146"/>
                  <a:gd name="T5" fmla="*/ 103 h 103"/>
                  <a:gd name="T6" fmla="*/ 96 w 146"/>
                  <a:gd name="T7" fmla="*/ 57 h 103"/>
                  <a:gd name="T8" fmla="*/ 107 w 146"/>
                  <a:gd name="T9" fmla="*/ 59 h 103"/>
                  <a:gd name="T10" fmla="*/ 107 w 146"/>
                  <a:gd name="T11" fmla="*/ 59 h 103"/>
                  <a:gd name="T12" fmla="*/ 129 w 146"/>
                  <a:gd name="T13" fmla="*/ 66 h 103"/>
                  <a:gd name="T14" fmla="*/ 133 w 146"/>
                  <a:gd name="T15" fmla="*/ 66 h 103"/>
                  <a:gd name="T16" fmla="*/ 139 w 146"/>
                  <a:gd name="T17" fmla="*/ 64 h 103"/>
                  <a:gd name="T18" fmla="*/ 145 w 146"/>
                  <a:gd name="T19" fmla="*/ 57 h 103"/>
                  <a:gd name="T20" fmla="*/ 144 w 146"/>
                  <a:gd name="T21" fmla="*/ 47 h 103"/>
                  <a:gd name="T22" fmla="*/ 140 w 146"/>
                  <a:gd name="T23" fmla="*/ 43 h 103"/>
                  <a:gd name="T24" fmla="*/ 138 w 146"/>
                  <a:gd name="T25" fmla="*/ 41 h 103"/>
                  <a:gd name="T26" fmla="*/ 136 w 146"/>
                  <a:gd name="T27" fmla="*/ 39 h 103"/>
                  <a:gd name="T28" fmla="*/ 134 w 146"/>
                  <a:gd name="T29" fmla="*/ 37 h 103"/>
                  <a:gd name="T30" fmla="*/ 131 w 146"/>
                  <a:gd name="T31" fmla="*/ 35 h 103"/>
                  <a:gd name="T32" fmla="*/ 129 w 146"/>
                  <a:gd name="T33" fmla="*/ 32 h 103"/>
                  <a:gd name="T34" fmla="*/ 127 w 146"/>
                  <a:gd name="T35" fmla="*/ 30 h 103"/>
                  <a:gd name="T36" fmla="*/ 125 w 146"/>
                  <a:gd name="T37" fmla="*/ 28 h 103"/>
                  <a:gd name="T38" fmla="*/ 123 w 146"/>
                  <a:gd name="T39" fmla="*/ 26 h 103"/>
                  <a:gd name="T40" fmla="*/ 120 w 146"/>
                  <a:gd name="T41" fmla="*/ 24 h 103"/>
                  <a:gd name="T42" fmla="*/ 118 w 146"/>
                  <a:gd name="T43" fmla="*/ 21 h 103"/>
                  <a:gd name="T44" fmla="*/ 116 w 146"/>
                  <a:gd name="T45" fmla="*/ 19 h 103"/>
                  <a:gd name="T46" fmla="*/ 114 w 146"/>
                  <a:gd name="T47" fmla="*/ 17 h 103"/>
                  <a:gd name="T48" fmla="*/ 112 w 146"/>
                  <a:gd name="T49" fmla="*/ 15 h 103"/>
                  <a:gd name="T50" fmla="*/ 109 w 146"/>
                  <a:gd name="T51" fmla="*/ 13 h 103"/>
                  <a:gd name="T52" fmla="*/ 107 w 146"/>
                  <a:gd name="T53" fmla="*/ 10 h 103"/>
                  <a:gd name="T54" fmla="*/ 105 w 146"/>
                  <a:gd name="T55" fmla="*/ 8 h 103"/>
                  <a:gd name="T56" fmla="*/ 103 w 146"/>
                  <a:gd name="T57" fmla="*/ 6 h 103"/>
                  <a:gd name="T58" fmla="*/ 101 w 146"/>
                  <a:gd name="T59" fmla="*/ 4 h 103"/>
                  <a:gd name="T60" fmla="*/ 99 w 146"/>
                  <a:gd name="T6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6" h="103">
                    <a:moveTo>
                      <a:pt x="99" y="0"/>
                    </a:moveTo>
                    <a:cubicBezTo>
                      <a:pt x="92" y="51"/>
                      <a:pt x="52" y="92"/>
                      <a:pt x="0" y="99"/>
                    </a:cubicBezTo>
                    <a:cubicBezTo>
                      <a:pt x="8" y="101"/>
                      <a:pt x="16" y="103"/>
                      <a:pt x="25" y="103"/>
                    </a:cubicBezTo>
                    <a:cubicBezTo>
                      <a:pt x="56" y="103"/>
                      <a:pt x="84" y="84"/>
                      <a:pt x="96" y="57"/>
                    </a:cubicBezTo>
                    <a:cubicBezTo>
                      <a:pt x="107" y="59"/>
                      <a:pt x="107" y="59"/>
                      <a:pt x="107" y="59"/>
                    </a:cubicBezTo>
                    <a:cubicBezTo>
                      <a:pt x="107" y="59"/>
                      <a:pt x="107" y="59"/>
                      <a:pt x="107" y="59"/>
                    </a:cubicBezTo>
                    <a:cubicBezTo>
                      <a:pt x="129" y="66"/>
                      <a:pt x="129" y="66"/>
                      <a:pt x="129" y="66"/>
                    </a:cubicBezTo>
                    <a:cubicBezTo>
                      <a:pt x="130" y="66"/>
                      <a:pt x="132" y="66"/>
                      <a:pt x="133" y="66"/>
                    </a:cubicBezTo>
                    <a:cubicBezTo>
                      <a:pt x="135" y="66"/>
                      <a:pt x="137" y="66"/>
                      <a:pt x="139" y="64"/>
                    </a:cubicBezTo>
                    <a:cubicBezTo>
                      <a:pt x="142" y="63"/>
                      <a:pt x="144" y="60"/>
                      <a:pt x="145" y="57"/>
                    </a:cubicBezTo>
                    <a:cubicBezTo>
                      <a:pt x="146" y="54"/>
                      <a:pt x="145" y="50"/>
                      <a:pt x="144" y="47"/>
                    </a:cubicBezTo>
                    <a:cubicBezTo>
                      <a:pt x="143" y="46"/>
                      <a:pt x="142" y="44"/>
                      <a:pt x="140" y="43"/>
                    </a:cubicBezTo>
                    <a:cubicBezTo>
                      <a:pt x="140" y="43"/>
                      <a:pt x="139" y="42"/>
                      <a:pt x="138" y="41"/>
                    </a:cubicBezTo>
                    <a:cubicBezTo>
                      <a:pt x="137" y="40"/>
                      <a:pt x="137" y="40"/>
                      <a:pt x="136" y="39"/>
                    </a:cubicBezTo>
                    <a:cubicBezTo>
                      <a:pt x="135" y="38"/>
                      <a:pt x="135" y="37"/>
                      <a:pt x="134" y="37"/>
                    </a:cubicBezTo>
                    <a:cubicBezTo>
                      <a:pt x="133" y="36"/>
                      <a:pt x="132" y="35"/>
                      <a:pt x="131" y="35"/>
                    </a:cubicBezTo>
                    <a:cubicBezTo>
                      <a:pt x="131" y="34"/>
                      <a:pt x="130" y="33"/>
                      <a:pt x="129" y="32"/>
                    </a:cubicBezTo>
                    <a:cubicBezTo>
                      <a:pt x="129" y="32"/>
                      <a:pt x="128" y="31"/>
                      <a:pt x="127" y="30"/>
                    </a:cubicBezTo>
                    <a:cubicBezTo>
                      <a:pt x="126" y="29"/>
                      <a:pt x="126" y="29"/>
                      <a:pt x="125" y="28"/>
                    </a:cubicBezTo>
                    <a:cubicBezTo>
                      <a:pt x="124" y="27"/>
                      <a:pt x="123" y="26"/>
                      <a:pt x="123" y="26"/>
                    </a:cubicBezTo>
                    <a:cubicBezTo>
                      <a:pt x="122" y="25"/>
                      <a:pt x="121" y="24"/>
                      <a:pt x="120" y="24"/>
                    </a:cubicBezTo>
                    <a:cubicBezTo>
                      <a:pt x="120" y="23"/>
                      <a:pt x="119" y="22"/>
                      <a:pt x="118" y="21"/>
                    </a:cubicBezTo>
                    <a:cubicBezTo>
                      <a:pt x="118" y="21"/>
                      <a:pt x="117" y="20"/>
                      <a:pt x="116" y="19"/>
                    </a:cubicBezTo>
                    <a:cubicBezTo>
                      <a:pt x="115" y="18"/>
                      <a:pt x="115" y="18"/>
                      <a:pt x="114" y="17"/>
                    </a:cubicBezTo>
                    <a:cubicBezTo>
                      <a:pt x="113" y="16"/>
                      <a:pt x="112" y="15"/>
                      <a:pt x="112" y="15"/>
                    </a:cubicBezTo>
                    <a:cubicBezTo>
                      <a:pt x="111" y="14"/>
                      <a:pt x="110" y="13"/>
                      <a:pt x="109" y="13"/>
                    </a:cubicBezTo>
                    <a:cubicBezTo>
                      <a:pt x="109" y="12"/>
                      <a:pt x="108" y="11"/>
                      <a:pt x="107" y="10"/>
                    </a:cubicBezTo>
                    <a:cubicBezTo>
                      <a:pt x="107" y="9"/>
                      <a:pt x="106" y="9"/>
                      <a:pt x="105" y="8"/>
                    </a:cubicBezTo>
                    <a:cubicBezTo>
                      <a:pt x="104" y="7"/>
                      <a:pt x="104" y="7"/>
                      <a:pt x="103" y="6"/>
                    </a:cubicBezTo>
                    <a:cubicBezTo>
                      <a:pt x="102" y="5"/>
                      <a:pt x="101" y="4"/>
                      <a:pt x="101" y="4"/>
                    </a:cubicBezTo>
                    <a:cubicBezTo>
                      <a:pt x="100" y="2"/>
                      <a:pt x="100" y="1"/>
                      <a:pt x="99" y="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5" name="Freeform 174">
                <a:extLst>
                  <a:ext uri="{FF2B5EF4-FFF2-40B4-BE49-F238E27FC236}">
                    <a16:creationId xmlns:a16="http://schemas.microsoft.com/office/drawing/2014/main" id="{3DB0FC0C-5B7E-4742-8742-C2B9DC655173}"/>
                  </a:ext>
                </a:extLst>
              </p:cNvPr>
              <p:cNvSpPr>
                <a:spLocks/>
              </p:cNvSpPr>
              <p:nvPr/>
            </p:nvSpPr>
            <p:spPr bwMode="gray">
              <a:xfrm>
                <a:off x="15516225" y="3338513"/>
                <a:ext cx="727075" cy="727075"/>
              </a:xfrm>
              <a:custGeom>
                <a:avLst/>
                <a:gdLst>
                  <a:gd name="T0" fmla="*/ 79 w 194"/>
                  <a:gd name="T1" fmla="*/ 0 h 194"/>
                  <a:gd name="T2" fmla="*/ 0 w 194"/>
                  <a:gd name="T3" fmla="*/ 78 h 194"/>
                  <a:gd name="T4" fmla="*/ 24 w 194"/>
                  <a:gd name="T5" fmla="*/ 135 h 194"/>
                  <a:gd name="T6" fmla="*/ 63 w 194"/>
                  <a:gd name="T7" fmla="*/ 174 h 194"/>
                  <a:gd name="T8" fmla="*/ 95 w 194"/>
                  <a:gd name="T9" fmla="*/ 194 h 194"/>
                  <a:gd name="T10" fmla="*/ 194 w 194"/>
                  <a:gd name="T11" fmla="*/ 95 h 194"/>
                  <a:gd name="T12" fmla="*/ 174 w 194"/>
                  <a:gd name="T13" fmla="*/ 62 h 194"/>
                  <a:gd name="T14" fmla="*/ 136 w 194"/>
                  <a:gd name="T15" fmla="*/ 24 h 194"/>
                  <a:gd name="T16" fmla="*/ 79 w 194"/>
                  <a:gd name="T17"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194">
                    <a:moveTo>
                      <a:pt x="79" y="0"/>
                    </a:moveTo>
                    <a:cubicBezTo>
                      <a:pt x="35" y="0"/>
                      <a:pt x="0" y="35"/>
                      <a:pt x="0" y="78"/>
                    </a:cubicBezTo>
                    <a:cubicBezTo>
                      <a:pt x="0" y="101"/>
                      <a:pt x="9" y="121"/>
                      <a:pt x="24" y="135"/>
                    </a:cubicBezTo>
                    <a:cubicBezTo>
                      <a:pt x="25" y="136"/>
                      <a:pt x="62" y="173"/>
                      <a:pt x="63" y="174"/>
                    </a:cubicBezTo>
                    <a:cubicBezTo>
                      <a:pt x="72" y="183"/>
                      <a:pt x="83" y="190"/>
                      <a:pt x="95" y="194"/>
                    </a:cubicBezTo>
                    <a:cubicBezTo>
                      <a:pt x="147" y="187"/>
                      <a:pt x="187" y="146"/>
                      <a:pt x="194" y="95"/>
                    </a:cubicBezTo>
                    <a:cubicBezTo>
                      <a:pt x="190" y="82"/>
                      <a:pt x="183" y="71"/>
                      <a:pt x="174" y="62"/>
                    </a:cubicBezTo>
                    <a:cubicBezTo>
                      <a:pt x="173" y="61"/>
                      <a:pt x="136" y="25"/>
                      <a:pt x="136" y="24"/>
                    </a:cubicBezTo>
                    <a:cubicBezTo>
                      <a:pt x="121" y="9"/>
                      <a:pt x="101" y="0"/>
                      <a:pt x="79" y="0"/>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6" name="Freeform 175">
                <a:extLst>
                  <a:ext uri="{FF2B5EF4-FFF2-40B4-BE49-F238E27FC236}">
                    <a16:creationId xmlns:a16="http://schemas.microsoft.com/office/drawing/2014/main" id="{4FE7E97D-589C-41C6-82AF-480AC350D210}"/>
                  </a:ext>
                </a:extLst>
              </p:cNvPr>
              <p:cNvSpPr>
                <a:spLocks/>
              </p:cNvSpPr>
              <p:nvPr/>
            </p:nvSpPr>
            <p:spPr bwMode="gray">
              <a:xfrm>
                <a:off x="16067088" y="3660775"/>
                <a:ext cx="200025" cy="131763"/>
              </a:xfrm>
              <a:custGeom>
                <a:avLst/>
                <a:gdLst>
                  <a:gd name="T0" fmla="*/ 52 w 53"/>
                  <a:gd name="T1" fmla="*/ 25 h 35"/>
                  <a:gd name="T2" fmla="*/ 46 w 53"/>
                  <a:gd name="T3" fmla="*/ 33 h 35"/>
                  <a:gd name="T4" fmla="*/ 37 w 53"/>
                  <a:gd name="T5" fmla="*/ 34 h 35"/>
                  <a:gd name="T6" fmla="*/ 0 w 53"/>
                  <a:gd name="T7" fmla="*/ 24 h 35"/>
                  <a:gd name="T8" fmla="*/ 7 w 53"/>
                  <a:gd name="T9" fmla="*/ 0 h 35"/>
                  <a:gd name="T10" fmla="*/ 43 w 53"/>
                  <a:gd name="T11" fmla="*/ 10 h 35"/>
                  <a:gd name="T12" fmla="*/ 51 w 53"/>
                  <a:gd name="T13" fmla="*/ 16 h 35"/>
                  <a:gd name="T14" fmla="*/ 52 w 53"/>
                  <a:gd name="T15" fmla="*/ 2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35">
                    <a:moveTo>
                      <a:pt x="52" y="25"/>
                    </a:moveTo>
                    <a:cubicBezTo>
                      <a:pt x="51" y="28"/>
                      <a:pt x="49" y="31"/>
                      <a:pt x="46" y="33"/>
                    </a:cubicBezTo>
                    <a:cubicBezTo>
                      <a:pt x="43" y="35"/>
                      <a:pt x="40" y="35"/>
                      <a:pt x="37" y="34"/>
                    </a:cubicBezTo>
                    <a:cubicBezTo>
                      <a:pt x="0" y="24"/>
                      <a:pt x="0" y="24"/>
                      <a:pt x="0" y="24"/>
                    </a:cubicBezTo>
                    <a:cubicBezTo>
                      <a:pt x="7" y="0"/>
                      <a:pt x="7" y="0"/>
                      <a:pt x="7" y="0"/>
                    </a:cubicBezTo>
                    <a:cubicBezTo>
                      <a:pt x="43" y="10"/>
                      <a:pt x="43" y="10"/>
                      <a:pt x="43" y="10"/>
                    </a:cubicBezTo>
                    <a:cubicBezTo>
                      <a:pt x="47" y="11"/>
                      <a:pt x="49" y="13"/>
                      <a:pt x="51" y="16"/>
                    </a:cubicBezTo>
                    <a:cubicBezTo>
                      <a:pt x="53" y="19"/>
                      <a:pt x="53" y="22"/>
                      <a:pt x="52"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 name="Freeform 176">
                <a:extLst>
                  <a:ext uri="{FF2B5EF4-FFF2-40B4-BE49-F238E27FC236}">
                    <a16:creationId xmlns:a16="http://schemas.microsoft.com/office/drawing/2014/main" id="{934BC802-B40E-4FE7-8CE7-E349AB12A239}"/>
                  </a:ext>
                </a:extLst>
              </p:cNvPr>
              <p:cNvSpPr>
                <a:spLocks/>
              </p:cNvSpPr>
              <p:nvPr/>
            </p:nvSpPr>
            <p:spPr bwMode="gray">
              <a:xfrm>
                <a:off x="16067088" y="3660775"/>
                <a:ext cx="79375" cy="104775"/>
              </a:xfrm>
              <a:custGeom>
                <a:avLst/>
                <a:gdLst>
                  <a:gd name="T0" fmla="*/ 7 w 21"/>
                  <a:gd name="T1" fmla="*/ 0 h 28"/>
                  <a:gd name="T2" fmla="*/ 0 w 21"/>
                  <a:gd name="T3" fmla="*/ 24 h 28"/>
                  <a:gd name="T4" fmla="*/ 14 w 21"/>
                  <a:gd name="T5" fmla="*/ 28 h 28"/>
                  <a:gd name="T6" fmla="*/ 21 w 21"/>
                  <a:gd name="T7" fmla="*/ 4 h 28"/>
                  <a:gd name="T8" fmla="*/ 7 w 21"/>
                  <a:gd name="T9" fmla="*/ 0 h 28"/>
                </a:gdLst>
                <a:ahLst/>
                <a:cxnLst>
                  <a:cxn ang="0">
                    <a:pos x="T0" y="T1"/>
                  </a:cxn>
                  <a:cxn ang="0">
                    <a:pos x="T2" y="T3"/>
                  </a:cxn>
                  <a:cxn ang="0">
                    <a:pos x="T4" y="T5"/>
                  </a:cxn>
                  <a:cxn ang="0">
                    <a:pos x="T6" y="T7"/>
                  </a:cxn>
                  <a:cxn ang="0">
                    <a:pos x="T8" y="T9"/>
                  </a:cxn>
                </a:cxnLst>
                <a:rect l="0" t="0" r="r" b="b"/>
                <a:pathLst>
                  <a:path w="21" h="28">
                    <a:moveTo>
                      <a:pt x="7" y="0"/>
                    </a:moveTo>
                    <a:cubicBezTo>
                      <a:pt x="0" y="24"/>
                      <a:pt x="0" y="24"/>
                      <a:pt x="0" y="24"/>
                    </a:cubicBezTo>
                    <a:cubicBezTo>
                      <a:pt x="14" y="28"/>
                      <a:pt x="14" y="28"/>
                      <a:pt x="14" y="28"/>
                    </a:cubicBezTo>
                    <a:cubicBezTo>
                      <a:pt x="17" y="20"/>
                      <a:pt x="19" y="12"/>
                      <a:pt x="21" y="4"/>
                    </a:cubicBezTo>
                    <a:lnTo>
                      <a:pt x="7"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8" name="Oval 177">
                <a:extLst>
                  <a:ext uri="{FF2B5EF4-FFF2-40B4-BE49-F238E27FC236}">
                    <a16:creationId xmlns:a16="http://schemas.microsoft.com/office/drawing/2014/main" id="{2BCCFED1-C58C-4EFD-8290-1DA614B830F9}"/>
                  </a:ext>
                </a:extLst>
              </p:cNvPr>
              <p:cNvSpPr>
                <a:spLocks noChangeArrowheads="1"/>
              </p:cNvSpPr>
              <p:nvPr/>
            </p:nvSpPr>
            <p:spPr bwMode="gray">
              <a:xfrm>
                <a:off x="15516225" y="3338513"/>
                <a:ext cx="592138" cy="5889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 name="Oval 178">
                <a:extLst>
                  <a:ext uri="{FF2B5EF4-FFF2-40B4-BE49-F238E27FC236}">
                    <a16:creationId xmlns:a16="http://schemas.microsoft.com/office/drawing/2014/main" id="{81B77724-733A-4BAD-AA2A-4A039741E81A}"/>
                  </a:ext>
                </a:extLst>
              </p:cNvPr>
              <p:cNvSpPr>
                <a:spLocks noChangeArrowheads="1"/>
              </p:cNvSpPr>
              <p:nvPr/>
            </p:nvSpPr>
            <p:spPr bwMode="gray">
              <a:xfrm>
                <a:off x="15565438" y="3384550"/>
                <a:ext cx="495300" cy="496888"/>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0" name="Freeform 179">
                <a:extLst>
                  <a:ext uri="{FF2B5EF4-FFF2-40B4-BE49-F238E27FC236}">
                    <a16:creationId xmlns:a16="http://schemas.microsoft.com/office/drawing/2014/main" id="{0E42036D-C5A7-44DA-8B07-9A26C49EC70C}"/>
                  </a:ext>
                </a:extLst>
              </p:cNvPr>
              <p:cNvSpPr>
                <a:spLocks/>
              </p:cNvSpPr>
              <p:nvPr/>
            </p:nvSpPr>
            <p:spPr bwMode="gray">
              <a:xfrm>
                <a:off x="15565438" y="3384550"/>
                <a:ext cx="454025" cy="455613"/>
              </a:xfrm>
              <a:custGeom>
                <a:avLst/>
                <a:gdLst>
                  <a:gd name="T0" fmla="*/ 19 w 121"/>
                  <a:gd name="T1" fmla="*/ 85 h 122"/>
                  <a:gd name="T2" fmla="*/ 85 w 121"/>
                  <a:gd name="T3" fmla="*/ 19 h 122"/>
                  <a:gd name="T4" fmla="*/ 121 w 121"/>
                  <a:gd name="T5" fmla="*/ 30 h 122"/>
                  <a:gd name="T6" fmla="*/ 66 w 121"/>
                  <a:gd name="T7" fmla="*/ 0 h 122"/>
                  <a:gd name="T8" fmla="*/ 0 w 121"/>
                  <a:gd name="T9" fmla="*/ 66 h 122"/>
                  <a:gd name="T10" fmla="*/ 30 w 121"/>
                  <a:gd name="T11" fmla="*/ 122 h 122"/>
                  <a:gd name="T12" fmla="*/ 19 w 121"/>
                  <a:gd name="T13" fmla="*/ 85 h 122"/>
                </a:gdLst>
                <a:ahLst/>
                <a:cxnLst>
                  <a:cxn ang="0">
                    <a:pos x="T0" y="T1"/>
                  </a:cxn>
                  <a:cxn ang="0">
                    <a:pos x="T2" y="T3"/>
                  </a:cxn>
                  <a:cxn ang="0">
                    <a:pos x="T4" y="T5"/>
                  </a:cxn>
                  <a:cxn ang="0">
                    <a:pos x="T6" y="T7"/>
                  </a:cxn>
                  <a:cxn ang="0">
                    <a:pos x="T8" y="T9"/>
                  </a:cxn>
                  <a:cxn ang="0">
                    <a:pos x="T10" y="T11"/>
                  </a:cxn>
                  <a:cxn ang="0">
                    <a:pos x="T12" y="T13"/>
                  </a:cxn>
                </a:cxnLst>
                <a:rect l="0" t="0" r="r" b="b"/>
                <a:pathLst>
                  <a:path w="121" h="122">
                    <a:moveTo>
                      <a:pt x="19" y="85"/>
                    </a:moveTo>
                    <a:cubicBezTo>
                      <a:pt x="19" y="49"/>
                      <a:pt x="48" y="19"/>
                      <a:pt x="85" y="19"/>
                    </a:cubicBezTo>
                    <a:cubicBezTo>
                      <a:pt x="98" y="19"/>
                      <a:pt x="111" y="23"/>
                      <a:pt x="121" y="30"/>
                    </a:cubicBezTo>
                    <a:cubicBezTo>
                      <a:pt x="109" y="12"/>
                      <a:pt x="89" y="0"/>
                      <a:pt x="66" y="0"/>
                    </a:cubicBezTo>
                    <a:cubicBezTo>
                      <a:pt x="29" y="0"/>
                      <a:pt x="0" y="30"/>
                      <a:pt x="0" y="66"/>
                    </a:cubicBezTo>
                    <a:cubicBezTo>
                      <a:pt x="0" y="90"/>
                      <a:pt x="12" y="110"/>
                      <a:pt x="30" y="122"/>
                    </a:cubicBezTo>
                    <a:cubicBezTo>
                      <a:pt x="23" y="111"/>
                      <a:pt x="19" y="99"/>
                      <a:pt x="19" y="8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1" name="Freeform 180">
                <a:extLst>
                  <a:ext uri="{FF2B5EF4-FFF2-40B4-BE49-F238E27FC236}">
                    <a16:creationId xmlns:a16="http://schemas.microsoft.com/office/drawing/2014/main" id="{4CE20CB9-67C7-40EA-9808-1934749458AB}"/>
                  </a:ext>
                </a:extLst>
              </p:cNvPr>
              <p:cNvSpPr>
                <a:spLocks/>
              </p:cNvSpPr>
              <p:nvPr/>
            </p:nvSpPr>
            <p:spPr bwMode="gray">
              <a:xfrm>
                <a:off x="15340013" y="4454525"/>
                <a:ext cx="461963" cy="820738"/>
              </a:xfrm>
              <a:custGeom>
                <a:avLst/>
                <a:gdLst>
                  <a:gd name="T0" fmla="*/ 123 w 123"/>
                  <a:gd name="T1" fmla="*/ 174 h 219"/>
                  <a:gd name="T2" fmla="*/ 78 w 123"/>
                  <a:gd name="T3" fmla="*/ 219 h 219"/>
                  <a:gd name="T4" fmla="*/ 45 w 123"/>
                  <a:gd name="T5" fmla="*/ 219 h 219"/>
                  <a:gd name="T6" fmla="*/ 0 w 123"/>
                  <a:gd name="T7" fmla="*/ 174 h 219"/>
                  <a:gd name="T8" fmla="*/ 0 w 123"/>
                  <a:gd name="T9" fmla="*/ 45 h 219"/>
                  <a:gd name="T10" fmla="*/ 45 w 123"/>
                  <a:gd name="T11" fmla="*/ 0 h 219"/>
                  <a:gd name="T12" fmla="*/ 78 w 123"/>
                  <a:gd name="T13" fmla="*/ 0 h 219"/>
                  <a:gd name="T14" fmla="*/ 123 w 123"/>
                  <a:gd name="T15" fmla="*/ 45 h 219"/>
                  <a:gd name="T16" fmla="*/ 123 w 123"/>
                  <a:gd name="T17" fmla="*/ 17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219">
                    <a:moveTo>
                      <a:pt x="123" y="174"/>
                    </a:moveTo>
                    <a:cubicBezTo>
                      <a:pt x="123" y="198"/>
                      <a:pt x="102" y="219"/>
                      <a:pt x="78" y="219"/>
                    </a:cubicBezTo>
                    <a:cubicBezTo>
                      <a:pt x="45" y="219"/>
                      <a:pt x="45" y="219"/>
                      <a:pt x="45" y="219"/>
                    </a:cubicBezTo>
                    <a:cubicBezTo>
                      <a:pt x="20" y="219"/>
                      <a:pt x="0" y="198"/>
                      <a:pt x="0" y="174"/>
                    </a:cubicBezTo>
                    <a:cubicBezTo>
                      <a:pt x="0" y="45"/>
                      <a:pt x="0" y="45"/>
                      <a:pt x="0" y="45"/>
                    </a:cubicBezTo>
                    <a:cubicBezTo>
                      <a:pt x="0" y="20"/>
                      <a:pt x="20" y="0"/>
                      <a:pt x="45" y="0"/>
                    </a:cubicBezTo>
                    <a:cubicBezTo>
                      <a:pt x="78" y="0"/>
                      <a:pt x="78" y="0"/>
                      <a:pt x="78" y="0"/>
                    </a:cubicBezTo>
                    <a:cubicBezTo>
                      <a:pt x="102" y="0"/>
                      <a:pt x="123" y="20"/>
                      <a:pt x="123" y="45"/>
                    </a:cubicBezTo>
                    <a:lnTo>
                      <a:pt x="123" y="1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2" name="Freeform 181">
                <a:extLst>
                  <a:ext uri="{FF2B5EF4-FFF2-40B4-BE49-F238E27FC236}">
                    <a16:creationId xmlns:a16="http://schemas.microsoft.com/office/drawing/2014/main" id="{EE5DE6FE-97B7-4DD3-9C36-481B9B5D7C8F}"/>
                  </a:ext>
                </a:extLst>
              </p:cNvPr>
              <p:cNvSpPr>
                <a:spLocks/>
              </p:cNvSpPr>
              <p:nvPr/>
            </p:nvSpPr>
            <p:spPr bwMode="gray">
              <a:xfrm>
                <a:off x="15344775" y="4481513"/>
                <a:ext cx="457200" cy="793750"/>
              </a:xfrm>
              <a:custGeom>
                <a:avLst/>
                <a:gdLst>
                  <a:gd name="T0" fmla="*/ 101 w 122"/>
                  <a:gd name="T1" fmla="*/ 0 h 212"/>
                  <a:gd name="T2" fmla="*/ 102 w 122"/>
                  <a:gd name="T3" fmla="*/ 8 h 212"/>
                  <a:gd name="T4" fmla="*/ 102 w 122"/>
                  <a:gd name="T5" fmla="*/ 106 h 212"/>
                  <a:gd name="T6" fmla="*/ 79 w 122"/>
                  <a:gd name="T7" fmla="*/ 159 h 212"/>
                  <a:gd name="T8" fmla="*/ 26 w 122"/>
                  <a:gd name="T9" fmla="*/ 182 h 212"/>
                  <a:gd name="T10" fmla="*/ 24 w 122"/>
                  <a:gd name="T11" fmla="*/ 182 h 212"/>
                  <a:gd name="T12" fmla="*/ 0 w 122"/>
                  <a:gd name="T13" fmla="*/ 174 h 212"/>
                  <a:gd name="T14" fmla="*/ 44 w 122"/>
                  <a:gd name="T15" fmla="*/ 212 h 212"/>
                  <a:gd name="T16" fmla="*/ 77 w 122"/>
                  <a:gd name="T17" fmla="*/ 212 h 212"/>
                  <a:gd name="T18" fmla="*/ 122 w 122"/>
                  <a:gd name="T19" fmla="*/ 167 h 212"/>
                  <a:gd name="T20" fmla="*/ 122 w 122"/>
                  <a:gd name="T21" fmla="*/ 38 h 212"/>
                  <a:gd name="T22" fmla="*/ 101 w 122"/>
                  <a:gd name="T23"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 h="212">
                    <a:moveTo>
                      <a:pt x="101" y="0"/>
                    </a:moveTo>
                    <a:cubicBezTo>
                      <a:pt x="101" y="3"/>
                      <a:pt x="102" y="5"/>
                      <a:pt x="102" y="8"/>
                    </a:cubicBezTo>
                    <a:cubicBezTo>
                      <a:pt x="102" y="106"/>
                      <a:pt x="102" y="106"/>
                      <a:pt x="102" y="106"/>
                    </a:cubicBezTo>
                    <a:cubicBezTo>
                      <a:pt x="102" y="125"/>
                      <a:pt x="94" y="144"/>
                      <a:pt x="79" y="159"/>
                    </a:cubicBezTo>
                    <a:cubicBezTo>
                      <a:pt x="64" y="174"/>
                      <a:pt x="45" y="182"/>
                      <a:pt x="26" y="182"/>
                    </a:cubicBezTo>
                    <a:cubicBezTo>
                      <a:pt x="24" y="182"/>
                      <a:pt x="24" y="182"/>
                      <a:pt x="24" y="182"/>
                    </a:cubicBezTo>
                    <a:cubicBezTo>
                      <a:pt x="15" y="182"/>
                      <a:pt x="7" y="179"/>
                      <a:pt x="0" y="174"/>
                    </a:cubicBezTo>
                    <a:cubicBezTo>
                      <a:pt x="3" y="195"/>
                      <a:pt x="22" y="212"/>
                      <a:pt x="44" y="212"/>
                    </a:cubicBezTo>
                    <a:cubicBezTo>
                      <a:pt x="77" y="212"/>
                      <a:pt x="77" y="212"/>
                      <a:pt x="77" y="212"/>
                    </a:cubicBezTo>
                    <a:cubicBezTo>
                      <a:pt x="101" y="212"/>
                      <a:pt x="122" y="191"/>
                      <a:pt x="122" y="167"/>
                    </a:cubicBezTo>
                    <a:cubicBezTo>
                      <a:pt x="122" y="38"/>
                      <a:pt x="122" y="38"/>
                      <a:pt x="122" y="38"/>
                    </a:cubicBezTo>
                    <a:cubicBezTo>
                      <a:pt x="122" y="22"/>
                      <a:pt x="113" y="8"/>
                      <a:pt x="101" y="0"/>
                    </a:cubicBezTo>
                    <a:close/>
                  </a:path>
                </a:pathLst>
              </a:custGeom>
              <a:solidFill>
                <a:srgbClr val="E6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3" name="Oval 182">
                <a:extLst>
                  <a:ext uri="{FF2B5EF4-FFF2-40B4-BE49-F238E27FC236}">
                    <a16:creationId xmlns:a16="http://schemas.microsoft.com/office/drawing/2014/main" id="{85F9BD48-E194-48F7-B9F6-56F978A18F19}"/>
                  </a:ext>
                </a:extLst>
              </p:cNvPr>
              <p:cNvSpPr>
                <a:spLocks noChangeArrowheads="1"/>
              </p:cNvSpPr>
              <p:nvPr/>
            </p:nvSpPr>
            <p:spPr bwMode="gray">
              <a:xfrm>
                <a:off x="15532100" y="4592638"/>
                <a:ext cx="74613" cy="76200"/>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368" name="Grafik 367">
              <a:extLst>
                <a:ext uri="{FF2B5EF4-FFF2-40B4-BE49-F238E27FC236}">
                  <a16:creationId xmlns:a16="http://schemas.microsoft.com/office/drawing/2014/main" id="{37801C90-E75D-4B86-87F3-9B2A32109723}"/>
                </a:ext>
              </a:extLst>
            </p:cNvPr>
            <p:cNvPicPr>
              <a:picLocks noChangeAspect="1"/>
            </p:cNvPicPr>
            <p:nvPr/>
          </p:nvPicPr>
          <p:blipFill>
            <a:blip r:embed="rId3"/>
            <a:stretch>
              <a:fillRect/>
            </a:stretch>
          </p:blipFill>
          <p:spPr bwMode="gray">
            <a:xfrm>
              <a:off x="7670927" y="1135078"/>
              <a:ext cx="1548060" cy="838533"/>
            </a:xfrm>
            <a:prstGeom prst="rect">
              <a:avLst/>
            </a:prstGeom>
          </p:spPr>
        </p:pic>
        <p:sp>
          <p:nvSpPr>
            <p:cNvPr id="373" name="Rechteck 372">
              <a:extLst>
                <a:ext uri="{FF2B5EF4-FFF2-40B4-BE49-F238E27FC236}">
                  <a16:creationId xmlns:a16="http://schemas.microsoft.com/office/drawing/2014/main" id="{8E87651D-C186-48E4-8FFC-B642FD605EE0}"/>
                </a:ext>
              </a:extLst>
            </p:cNvPr>
            <p:cNvSpPr/>
            <p:nvPr/>
          </p:nvSpPr>
          <p:spPr bwMode="gray">
            <a:xfrm>
              <a:off x="8265250" y="1289738"/>
              <a:ext cx="404047" cy="21048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4" name="Titel 3">
            <a:extLst>
              <a:ext uri="{FF2B5EF4-FFF2-40B4-BE49-F238E27FC236}">
                <a16:creationId xmlns:a16="http://schemas.microsoft.com/office/drawing/2014/main" id="{68156BE1-57F1-4D90-8FAD-D7646441D88F}"/>
              </a:ext>
            </a:extLst>
          </p:cNvPr>
          <p:cNvSpPr>
            <a:spLocks noGrp="1"/>
          </p:cNvSpPr>
          <p:nvPr>
            <p:ph type="title"/>
          </p:nvPr>
        </p:nvSpPr>
        <p:spPr bwMode="gray"/>
        <p:txBody>
          <a:bodyPr/>
          <a:lstStyle/>
          <a:p>
            <a:r>
              <a:rPr lang="en-US" dirty="0"/>
              <a:t>Database:</a:t>
            </a:r>
            <a:br>
              <a:rPr lang="en-US" dirty="0"/>
            </a:br>
            <a:r>
              <a:rPr lang="en-US" dirty="0"/>
              <a:t>Dräger Zonza</a:t>
            </a:r>
          </a:p>
        </p:txBody>
      </p:sp>
      <p:sp>
        <p:nvSpPr>
          <p:cNvPr id="5" name="Textplatzhalter 4">
            <a:extLst>
              <a:ext uri="{FF2B5EF4-FFF2-40B4-BE49-F238E27FC236}">
                <a16:creationId xmlns:a16="http://schemas.microsoft.com/office/drawing/2014/main" id="{E79DA9FA-1106-4953-9833-7C3188AEC866}"/>
              </a:ext>
            </a:extLst>
          </p:cNvPr>
          <p:cNvSpPr>
            <a:spLocks noGrp="1"/>
          </p:cNvSpPr>
          <p:nvPr>
            <p:ph type="body" sz="quarter" idx="15"/>
          </p:nvPr>
        </p:nvSpPr>
        <p:spPr bwMode="gray"/>
        <p:txBody>
          <a:bodyPr/>
          <a:lstStyle/>
          <a:p>
            <a:r>
              <a:rPr lang="en-US" dirty="0"/>
              <a:t>A presentation comes to life with powerful images!</a:t>
            </a:r>
          </a:p>
          <a:p>
            <a:pPr lvl="1"/>
            <a:r>
              <a:rPr lang="en-US" dirty="0"/>
              <a:t>Zonza, the Dräger Image Database, has a large selection of graphics to spice up your presentations. But please bear in mind the file size - approx. 1 MB per picture. You can quickly find yourself with a file size of 100 MB merely by using one high-resolution image per slide. There are two ways to keep presentations small:</a:t>
            </a:r>
          </a:p>
        </p:txBody>
      </p:sp>
      <p:sp>
        <p:nvSpPr>
          <p:cNvPr id="8" name="Ellipse 7">
            <a:extLst>
              <a:ext uri="{FF2B5EF4-FFF2-40B4-BE49-F238E27FC236}">
                <a16:creationId xmlns:a16="http://schemas.microsoft.com/office/drawing/2014/main" id="{CAD78827-8E4A-4BB9-8885-3988F1BB4C8A}"/>
              </a:ext>
            </a:extLst>
          </p:cNvPr>
          <p:cNvSpPr/>
          <p:nvPr/>
        </p:nvSpPr>
        <p:spPr bwMode="gray">
          <a:xfrm>
            <a:off x="7246482" y="836712"/>
            <a:ext cx="576064" cy="57606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600" dirty="0">
                <a:solidFill>
                  <a:schemeClr val="accent1"/>
                </a:solidFill>
                <a:latin typeface="+mj-lt"/>
              </a:rPr>
              <a:t>1</a:t>
            </a:r>
          </a:p>
        </p:txBody>
      </p:sp>
      <p:sp>
        <p:nvSpPr>
          <p:cNvPr id="197" name="Textfeld 196">
            <a:extLst>
              <a:ext uri="{FF2B5EF4-FFF2-40B4-BE49-F238E27FC236}">
                <a16:creationId xmlns:a16="http://schemas.microsoft.com/office/drawing/2014/main" id="{FB336D9E-FE70-4B18-B8F9-F65ED00FC09F}"/>
              </a:ext>
            </a:extLst>
          </p:cNvPr>
          <p:cNvSpPr txBox="1"/>
          <p:nvPr/>
        </p:nvSpPr>
        <p:spPr bwMode="gray">
          <a:xfrm>
            <a:off x="3900072" y="332800"/>
            <a:ext cx="2844000" cy="1296000"/>
          </a:xfrm>
          <a:prstGeom prst="rect">
            <a:avLst/>
          </a:prstGeom>
          <a:noFill/>
        </p:spPr>
        <p:txBody>
          <a:bodyPr wrap="square" lIns="108000" tIns="72000" rIns="108000" bIns="72000" rtlCol="0" anchor="b">
            <a:noAutofit/>
          </a:bodyPr>
          <a:lstStyle/>
          <a:p>
            <a:pPr algn="r">
              <a:buClr>
                <a:schemeClr val="accent1"/>
              </a:buClr>
            </a:pPr>
            <a:r>
              <a:rPr lang="en-US" sz="1200" dirty="0"/>
              <a:t>Download the image directly from</a:t>
            </a:r>
            <a:br>
              <a:rPr lang="en-US" sz="1200" dirty="0"/>
            </a:br>
            <a:r>
              <a:rPr lang="en-US" sz="1200" dirty="0"/>
              <a:t>Zonza in the required resolution. </a:t>
            </a:r>
          </a:p>
          <a:p>
            <a:pPr algn="r">
              <a:buClr>
                <a:schemeClr val="accent1"/>
              </a:buClr>
            </a:pPr>
            <a:r>
              <a:rPr lang="en-US" sz="1200" dirty="0">
                <a:solidFill>
                  <a:schemeClr val="accent1"/>
                </a:solidFill>
                <a:latin typeface="+mj-lt"/>
              </a:rPr>
              <a:t>https://draeger.zonza.tv/search/</a:t>
            </a:r>
          </a:p>
          <a:p>
            <a:pPr algn="r">
              <a:buClr>
                <a:schemeClr val="accent1"/>
              </a:buClr>
            </a:pPr>
            <a:r>
              <a:rPr lang="en-US" sz="1200" dirty="0"/>
              <a:t>We recommend a direct compression in Zonza using “Transcode” with the selection “1300JPEG”.</a:t>
            </a:r>
          </a:p>
        </p:txBody>
      </p:sp>
      <p:sp>
        <p:nvSpPr>
          <p:cNvPr id="198" name="Textfeld 197">
            <a:extLst>
              <a:ext uri="{FF2B5EF4-FFF2-40B4-BE49-F238E27FC236}">
                <a16:creationId xmlns:a16="http://schemas.microsoft.com/office/drawing/2014/main" id="{8EF68BD8-1300-4041-8AD8-D81CFAC641CB}"/>
              </a:ext>
            </a:extLst>
          </p:cNvPr>
          <p:cNvSpPr txBox="1"/>
          <p:nvPr/>
        </p:nvSpPr>
        <p:spPr bwMode="gray">
          <a:xfrm>
            <a:off x="8256239" y="4941168"/>
            <a:ext cx="3743673" cy="1264990"/>
          </a:xfrm>
          <a:prstGeom prst="rect">
            <a:avLst/>
          </a:prstGeom>
          <a:noFill/>
        </p:spPr>
        <p:txBody>
          <a:bodyPr wrap="square" lIns="108000" tIns="72000" rIns="108000" bIns="72000" rtlCol="0">
            <a:noAutofit/>
          </a:bodyPr>
          <a:lstStyle/>
          <a:p>
            <a:pPr>
              <a:buClr>
                <a:schemeClr val="accent1"/>
              </a:buClr>
            </a:pPr>
            <a:r>
              <a:rPr lang="en-US" sz="1200" dirty="0"/>
              <a:t>Alternatively, you can also compress the images in PowerPoint. It's best to compress each image separately. </a:t>
            </a:r>
            <a:br>
              <a:rPr lang="en-US" sz="1200" dirty="0"/>
            </a:br>
            <a:r>
              <a:rPr lang="en-US" sz="1200" dirty="0"/>
              <a:t>If you compress all images at once, then even the low-resolution images in your presentation will be downsampled, making them blurred or pixelated. </a:t>
            </a:r>
          </a:p>
        </p:txBody>
      </p:sp>
      <p:grpSp>
        <p:nvGrpSpPr>
          <p:cNvPr id="367" name="Gruppieren 366">
            <a:extLst>
              <a:ext uri="{FF2B5EF4-FFF2-40B4-BE49-F238E27FC236}">
                <a16:creationId xmlns:a16="http://schemas.microsoft.com/office/drawing/2014/main" id="{881FAEF1-133C-4541-82A5-AB64CEE77284}"/>
              </a:ext>
            </a:extLst>
          </p:cNvPr>
          <p:cNvGrpSpPr>
            <a:grpSpLocks noChangeAspect="1"/>
          </p:cNvGrpSpPr>
          <p:nvPr/>
        </p:nvGrpSpPr>
        <p:grpSpPr bwMode="gray">
          <a:xfrm>
            <a:off x="5561252" y="3645304"/>
            <a:ext cx="2694987" cy="2520000"/>
            <a:chOff x="12761913" y="995363"/>
            <a:chExt cx="4327525" cy="4046537"/>
          </a:xfrm>
        </p:grpSpPr>
        <p:sp>
          <p:nvSpPr>
            <p:cNvPr id="290" name="AutoShape 184">
              <a:extLst>
                <a:ext uri="{FF2B5EF4-FFF2-40B4-BE49-F238E27FC236}">
                  <a16:creationId xmlns:a16="http://schemas.microsoft.com/office/drawing/2014/main" id="{04F4812F-1D02-4F27-8421-2C0A5E5EBE7A}"/>
                </a:ext>
              </a:extLst>
            </p:cNvPr>
            <p:cNvSpPr>
              <a:spLocks noChangeAspect="1" noChangeArrowheads="1" noTextEdit="1"/>
            </p:cNvSpPr>
            <p:nvPr/>
          </p:nvSpPr>
          <p:spPr bwMode="gray">
            <a:xfrm>
              <a:off x="12761913" y="995363"/>
              <a:ext cx="4327525" cy="404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1" name="Oval 186">
              <a:extLst>
                <a:ext uri="{FF2B5EF4-FFF2-40B4-BE49-F238E27FC236}">
                  <a16:creationId xmlns:a16="http://schemas.microsoft.com/office/drawing/2014/main" id="{5B35A9ED-EC7E-4E36-BB4A-CDF1C313A7DE}"/>
                </a:ext>
              </a:extLst>
            </p:cNvPr>
            <p:cNvSpPr>
              <a:spLocks noChangeArrowheads="1"/>
            </p:cNvSpPr>
            <p:nvPr/>
          </p:nvSpPr>
          <p:spPr bwMode="gray">
            <a:xfrm>
              <a:off x="12874626" y="1133475"/>
              <a:ext cx="3895725" cy="3894137"/>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2" name="Rectangle 187">
              <a:extLst>
                <a:ext uri="{FF2B5EF4-FFF2-40B4-BE49-F238E27FC236}">
                  <a16:creationId xmlns:a16="http://schemas.microsoft.com/office/drawing/2014/main" id="{050C4B97-78EB-44B6-BF1D-F514440FFBEE}"/>
                </a:ext>
              </a:extLst>
            </p:cNvPr>
            <p:cNvSpPr>
              <a:spLocks noChangeArrowheads="1"/>
            </p:cNvSpPr>
            <p:nvPr/>
          </p:nvSpPr>
          <p:spPr bwMode="gray">
            <a:xfrm>
              <a:off x="14436726" y="4360863"/>
              <a:ext cx="225425" cy="330200"/>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3" name="Rectangle 188">
              <a:extLst>
                <a:ext uri="{FF2B5EF4-FFF2-40B4-BE49-F238E27FC236}">
                  <a16:creationId xmlns:a16="http://schemas.microsoft.com/office/drawing/2014/main" id="{9F3A877C-13CA-4494-9D9A-6B17870931D4}"/>
                </a:ext>
              </a:extLst>
            </p:cNvPr>
            <p:cNvSpPr>
              <a:spLocks noChangeArrowheads="1"/>
            </p:cNvSpPr>
            <p:nvPr/>
          </p:nvSpPr>
          <p:spPr bwMode="gray">
            <a:xfrm>
              <a:off x="14481176" y="4540250"/>
              <a:ext cx="134938" cy="10477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4" name="Rectangle 189">
              <a:extLst>
                <a:ext uri="{FF2B5EF4-FFF2-40B4-BE49-F238E27FC236}">
                  <a16:creationId xmlns:a16="http://schemas.microsoft.com/office/drawing/2014/main" id="{26174F7D-4DF2-42E6-8363-9BCB9BAAEE98}"/>
                </a:ext>
              </a:extLst>
            </p:cNvPr>
            <p:cNvSpPr>
              <a:spLocks noChangeArrowheads="1"/>
            </p:cNvSpPr>
            <p:nvPr/>
          </p:nvSpPr>
          <p:spPr bwMode="gray">
            <a:xfrm>
              <a:off x="14481176" y="4406900"/>
              <a:ext cx="22225" cy="5873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5" name="Rectangle 190">
              <a:extLst>
                <a:ext uri="{FF2B5EF4-FFF2-40B4-BE49-F238E27FC236}">
                  <a16:creationId xmlns:a16="http://schemas.microsoft.com/office/drawing/2014/main" id="{9AA91A5A-59BA-4A77-A95F-B83158FE2970}"/>
                </a:ext>
              </a:extLst>
            </p:cNvPr>
            <p:cNvSpPr>
              <a:spLocks noChangeArrowheads="1"/>
            </p:cNvSpPr>
            <p:nvPr/>
          </p:nvSpPr>
          <p:spPr bwMode="gray">
            <a:xfrm>
              <a:off x="14593888" y="4406900"/>
              <a:ext cx="22225" cy="5873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6" name="Rectangle 191">
              <a:extLst>
                <a:ext uri="{FF2B5EF4-FFF2-40B4-BE49-F238E27FC236}">
                  <a16:creationId xmlns:a16="http://schemas.microsoft.com/office/drawing/2014/main" id="{BA09FC6B-8EC0-468B-A433-B73CE52998F9}"/>
                </a:ext>
              </a:extLst>
            </p:cNvPr>
            <p:cNvSpPr>
              <a:spLocks noChangeArrowheads="1"/>
            </p:cNvSpPr>
            <p:nvPr/>
          </p:nvSpPr>
          <p:spPr bwMode="gray">
            <a:xfrm>
              <a:off x="14538326" y="4465638"/>
              <a:ext cx="22225" cy="3016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7" name="Rectangle 192">
              <a:extLst>
                <a:ext uri="{FF2B5EF4-FFF2-40B4-BE49-F238E27FC236}">
                  <a16:creationId xmlns:a16="http://schemas.microsoft.com/office/drawing/2014/main" id="{E4B5469D-F0F8-4360-BE2F-89EFB63F6643}"/>
                </a:ext>
              </a:extLst>
            </p:cNvPr>
            <p:cNvSpPr>
              <a:spLocks noChangeArrowheads="1"/>
            </p:cNvSpPr>
            <p:nvPr/>
          </p:nvSpPr>
          <p:spPr bwMode="gray">
            <a:xfrm>
              <a:off x="14533563" y="4645025"/>
              <a:ext cx="30163" cy="4603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8" name="Freeform 193">
              <a:extLst>
                <a:ext uri="{FF2B5EF4-FFF2-40B4-BE49-F238E27FC236}">
                  <a16:creationId xmlns:a16="http://schemas.microsoft.com/office/drawing/2014/main" id="{BA46B2E8-E99F-4083-8A41-EF1F0E044D9E}"/>
                </a:ext>
              </a:extLst>
            </p:cNvPr>
            <p:cNvSpPr>
              <a:spLocks/>
            </p:cNvSpPr>
            <p:nvPr/>
          </p:nvSpPr>
          <p:spPr bwMode="gray">
            <a:xfrm>
              <a:off x="13990638" y="4840288"/>
              <a:ext cx="446088" cy="201612"/>
            </a:xfrm>
            <a:custGeom>
              <a:avLst/>
              <a:gdLst>
                <a:gd name="T0" fmla="*/ 119 w 119"/>
                <a:gd name="T1" fmla="*/ 40 h 54"/>
                <a:gd name="T2" fmla="*/ 75 w 119"/>
                <a:gd name="T3" fmla="*/ 54 h 54"/>
                <a:gd name="T4" fmla="*/ 0 w 119"/>
                <a:gd name="T5" fmla="*/ 0 h 54"/>
                <a:gd name="T6" fmla="*/ 11 w 119"/>
                <a:gd name="T7" fmla="*/ 5 h 54"/>
                <a:gd name="T8" fmla="*/ 75 w 119"/>
                <a:gd name="T9" fmla="*/ 46 h 54"/>
                <a:gd name="T10" fmla="*/ 108 w 119"/>
                <a:gd name="T11" fmla="*/ 37 h 54"/>
                <a:gd name="T12" fmla="*/ 119 w 119"/>
                <a:gd name="T13" fmla="*/ 40 h 54"/>
              </a:gdLst>
              <a:ahLst/>
              <a:cxnLst>
                <a:cxn ang="0">
                  <a:pos x="T0" y="T1"/>
                </a:cxn>
                <a:cxn ang="0">
                  <a:pos x="T2" y="T3"/>
                </a:cxn>
                <a:cxn ang="0">
                  <a:pos x="T4" y="T5"/>
                </a:cxn>
                <a:cxn ang="0">
                  <a:pos x="T6" y="T7"/>
                </a:cxn>
                <a:cxn ang="0">
                  <a:pos x="T8" y="T9"/>
                </a:cxn>
                <a:cxn ang="0">
                  <a:pos x="T10" y="T11"/>
                </a:cxn>
                <a:cxn ang="0">
                  <a:pos x="T12" y="T13"/>
                </a:cxn>
              </a:cxnLst>
              <a:rect l="0" t="0" r="r" b="b"/>
              <a:pathLst>
                <a:path w="119" h="54">
                  <a:moveTo>
                    <a:pt x="119" y="40"/>
                  </a:moveTo>
                  <a:cubicBezTo>
                    <a:pt x="107" y="49"/>
                    <a:pt x="91" y="54"/>
                    <a:pt x="75" y="54"/>
                  </a:cubicBezTo>
                  <a:cubicBezTo>
                    <a:pt x="40" y="54"/>
                    <a:pt x="10" y="32"/>
                    <a:pt x="0" y="0"/>
                  </a:cubicBezTo>
                  <a:cubicBezTo>
                    <a:pt x="4" y="2"/>
                    <a:pt x="7" y="4"/>
                    <a:pt x="11" y="5"/>
                  </a:cubicBezTo>
                  <a:cubicBezTo>
                    <a:pt x="22" y="29"/>
                    <a:pt x="46" y="46"/>
                    <a:pt x="75" y="46"/>
                  </a:cubicBezTo>
                  <a:cubicBezTo>
                    <a:pt x="87" y="46"/>
                    <a:pt x="98" y="43"/>
                    <a:pt x="108" y="37"/>
                  </a:cubicBezTo>
                  <a:cubicBezTo>
                    <a:pt x="112" y="38"/>
                    <a:pt x="116" y="39"/>
                    <a:pt x="119" y="40"/>
                  </a:cubicBez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9" name="Freeform 194">
              <a:extLst>
                <a:ext uri="{FF2B5EF4-FFF2-40B4-BE49-F238E27FC236}">
                  <a16:creationId xmlns:a16="http://schemas.microsoft.com/office/drawing/2014/main" id="{E71F2368-ABAB-4BF3-ADF9-4C0C25555F81}"/>
                </a:ext>
              </a:extLst>
            </p:cNvPr>
            <p:cNvSpPr>
              <a:spLocks/>
            </p:cNvSpPr>
            <p:nvPr/>
          </p:nvSpPr>
          <p:spPr bwMode="gray">
            <a:xfrm>
              <a:off x="13976351" y="4289425"/>
              <a:ext cx="55563" cy="569912"/>
            </a:xfrm>
            <a:custGeom>
              <a:avLst/>
              <a:gdLst>
                <a:gd name="T0" fmla="*/ 15 w 15"/>
                <a:gd name="T1" fmla="*/ 152 h 152"/>
                <a:gd name="T2" fmla="*/ 4 w 15"/>
                <a:gd name="T3" fmla="*/ 147 h 152"/>
                <a:gd name="T4" fmla="*/ 0 w 15"/>
                <a:gd name="T5" fmla="*/ 122 h 152"/>
                <a:gd name="T6" fmla="*/ 0 w 15"/>
                <a:gd name="T7" fmla="*/ 0 h 152"/>
                <a:gd name="T8" fmla="*/ 8 w 15"/>
                <a:gd name="T9" fmla="*/ 0 h 152"/>
                <a:gd name="T10" fmla="*/ 8 w 15"/>
                <a:gd name="T11" fmla="*/ 122 h 152"/>
                <a:gd name="T12" fmla="*/ 15 w 15"/>
                <a:gd name="T13" fmla="*/ 152 h 152"/>
              </a:gdLst>
              <a:ahLst/>
              <a:cxnLst>
                <a:cxn ang="0">
                  <a:pos x="T0" y="T1"/>
                </a:cxn>
                <a:cxn ang="0">
                  <a:pos x="T2" y="T3"/>
                </a:cxn>
                <a:cxn ang="0">
                  <a:pos x="T4" y="T5"/>
                </a:cxn>
                <a:cxn ang="0">
                  <a:pos x="T6" y="T7"/>
                </a:cxn>
                <a:cxn ang="0">
                  <a:pos x="T8" y="T9"/>
                </a:cxn>
                <a:cxn ang="0">
                  <a:pos x="T10" y="T11"/>
                </a:cxn>
                <a:cxn ang="0">
                  <a:pos x="T12" y="T13"/>
                </a:cxn>
              </a:cxnLst>
              <a:rect l="0" t="0" r="r" b="b"/>
              <a:pathLst>
                <a:path w="15" h="152">
                  <a:moveTo>
                    <a:pt x="15" y="152"/>
                  </a:moveTo>
                  <a:cubicBezTo>
                    <a:pt x="11" y="151"/>
                    <a:pt x="8" y="149"/>
                    <a:pt x="4" y="147"/>
                  </a:cubicBezTo>
                  <a:cubicBezTo>
                    <a:pt x="1" y="140"/>
                    <a:pt x="0" y="131"/>
                    <a:pt x="0" y="122"/>
                  </a:cubicBezTo>
                  <a:cubicBezTo>
                    <a:pt x="0" y="0"/>
                    <a:pt x="0" y="0"/>
                    <a:pt x="0" y="0"/>
                  </a:cubicBezTo>
                  <a:cubicBezTo>
                    <a:pt x="8" y="0"/>
                    <a:pt x="8" y="0"/>
                    <a:pt x="8" y="0"/>
                  </a:cubicBezTo>
                  <a:cubicBezTo>
                    <a:pt x="8" y="122"/>
                    <a:pt x="8" y="122"/>
                    <a:pt x="8" y="122"/>
                  </a:cubicBezTo>
                  <a:cubicBezTo>
                    <a:pt x="8" y="133"/>
                    <a:pt x="10" y="143"/>
                    <a:pt x="15" y="152"/>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0" name="Freeform 195">
              <a:extLst>
                <a:ext uri="{FF2B5EF4-FFF2-40B4-BE49-F238E27FC236}">
                  <a16:creationId xmlns:a16="http://schemas.microsoft.com/office/drawing/2014/main" id="{76D071BF-672E-43F1-9E2F-F89185407C68}"/>
                </a:ext>
              </a:extLst>
            </p:cNvPr>
            <p:cNvSpPr>
              <a:spLocks/>
            </p:cNvSpPr>
            <p:nvPr/>
          </p:nvSpPr>
          <p:spPr bwMode="gray">
            <a:xfrm>
              <a:off x="14395451" y="4691063"/>
              <a:ext cx="168275" cy="298450"/>
            </a:xfrm>
            <a:custGeom>
              <a:avLst/>
              <a:gdLst>
                <a:gd name="T0" fmla="*/ 45 w 45"/>
                <a:gd name="T1" fmla="*/ 0 h 80"/>
                <a:gd name="T2" fmla="*/ 45 w 45"/>
                <a:gd name="T3" fmla="*/ 15 h 80"/>
                <a:gd name="T4" fmla="*/ 11 w 45"/>
                <a:gd name="T5" fmla="*/ 80 h 80"/>
                <a:gd name="T6" fmla="*/ 0 w 45"/>
                <a:gd name="T7" fmla="*/ 77 h 80"/>
                <a:gd name="T8" fmla="*/ 37 w 45"/>
                <a:gd name="T9" fmla="*/ 15 h 80"/>
                <a:gd name="T10" fmla="*/ 37 w 45"/>
                <a:gd name="T11" fmla="*/ 0 h 80"/>
                <a:gd name="T12" fmla="*/ 45 w 45"/>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45" h="80">
                  <a:moveTo>
                    <a:pt x="45" y="0"/>
                  </a:moveTo>
                  <a:cubicBezTo>
                    <a:pt x="45" y="15"/>
                    <a:pt x="45" y="15"/>
                    <a:pt x="45" y="15"/>
                  </a:cubicBezTo>
                  <a:cubicBezTo>
                    <a:pt x="45" y="42"/>
                    <a:pt x="32" y="66"/>
                    <a:pt x="11" y="80"/>
                  </a:cubicBezTo>
                  <a:cubicBezTo>
                    <a:pt x="8" y="79"/>
                    <a:pt x="4" y="78"/>
                    <a:pt x="0" y="77"/>
                  </a:cubicBezTo>
                  <a:cubicBezTo>
                    <a:pt x="22" y="66"/>
                    <a:pt x="37" y="42"/>
                    <a:pt x="37" y="15"/>
                  </a:cubicBezTo>
                  <a:cubicBezTo>
                    <a:pt x="37" y="0"/>
                    <a:pt x="37" y="0"/>
                    <a:pt x="37" y="0"/>
                  </a:cubicBezTo>
                  <a:lnTo>
                    <a:pt x="45"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1" name="Freeform 196">
              <a:extLst>
                <a:ext uri="{FF2B5EF4-FFF2-40B4-BE49-F238E27FC236}">
                  <a16:creationId xmlns:a16="http://schemas.microsoft.com/office/drawing/2014/main" id="{5978E57F-FF2E-4CD8-B736-5158F696F018}"/>
                </a:ext>
              </a:extLst>
            </p:cNvPr>
            <p:cNvSpPr>
              <a:spLocks/>
            </p:cNvSpPr>
            <p:nvPr/>
          </p:nvSpPr>
          <p:spPr bwMode="gray">
            <a:xfrm>
              <a:off x="13893801" y="3773488"/>
              <a:ext cx="658813" cy="317500"/>
            </a:xfrm>
            <a:custGeom>
              <a:avLst/>
              <a:gdLst>
                <a:gd name="T0" fmla="*/ 415 w 415"/>
                <a:gd name="T1" fmla="*/ 200 h 200"/>
                <a:gd name="T2" fmla="*/ 0 w 415"/>
                <a:gd name="T3" fmla="*/ 200 h 200"/>
                <a:gd name="T4" fmla="*/ 23 w 415"/>
                <a:gd name="T5" fmla="*/ 0 h 200"/>
                <a:gd name="T6" fmla="*/ 394 w 415"/>
                <a:gd name="T7" fmla="*/ 0 h 200"/>
                <a:gd name="T8" fmla="*/ 415 w 415"/>
                <a:gd name="T9" fmla="*/ 200 h 200"/>
              </a:gdLst>
              <a:ahLst/>
              <a:cxnLst>
                <a:cxn ang="0">
                  <a:pos x="T0" y="T1"/>
                </a:cxn>
                <a:cxn ang="0">
                  <a:pos x="T2" y="T3"/>
                </a:cxn>
                <a:cxn ang="0">
                  <a:pos x="T4" y="T5"/>
                </a:cxn>
                <a:cxn ang="0">
                  <a:pos x="T6" y="T7"/>
                </a:cxn>
                <a:cxn ang="0">
                  <a:pos x="T8" y="T9"/>
                </a:cxn>
              </a:cxnLst>
              <a:rect l="0" t="0" r="r" b="b"/>
              <a:pathLst>
                <a:path w="415" h="200">
                  <a:moveTo>
                    <a:pt x="415" y="200"/>
                  </a:moveTo>
                  <a:lnTo>
                    <a:pt x="0" y="200"/>
                  </a:lnTo>
                  <a:lnTo>
                    <a:pt x="23" y="0"/>
                  </a:lnTo>
                  <a:lnTo>
                    <a:pt x="394" y="0"/>
                  </a:lnTo>
                  <a:lnTo>
                    <a:pt x="415" y="200"/>
                  </a:lnTo>
                  <a:close/>
                </a:path>
              </a:pathLst>
            </a:custGeom>
            <a:solidFill>
              <a:srgbClr val="D9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2" name="Freeform 197">
              <a:extLst>
                <a:ext uri="{FF2B5EF4-FFF2-40B4-BE49-F238E27FC236}">
                  <a16:creationId xmlns:a16="http://schemas.microsoft.com/office/drawing/2014/main" id="{05549F03-6A93-44C0-A0BC-959371D80770}"/>
                </a:ext>
              </a:extLst>
            </p:cNvPr>
            <p:cNvSpPr>
              <a:spLocks/>
            </p:cNvSpPr>
            <p:nvPr/>
          </p:nvSpPr>
          <p:spPr bwMode="gray">
            <a:xfrm>
              <a:off x="13893801" y="3773488"/>
              <a:ext cx="658813" cy="317500"/>
            </a:xfrm>
            <a:custGeom>
              <a:avLst/>
              <a:gdLst>
                <a:gd name="T0" fmla="*/ 415 w 415"/>
                <a:gd name="T1" fmla="*/ 200 h 200"/>
                <a:gd name="T2" fmla="*/ 0 w 415"/>
                <a:gd name="T3" fmla="*/ 200 h 200"/>
                <a:gd name="T4" fmla="*/ 23 w 415"/>
                <a:gd name="T5" fmla="*/ 0 h 200"/>
                <a:gd name="T6" fmla="*/ 394 w 415"/>
                <a:gd name="T7" fmla="*/ 0 h 200"/>
                <a:gd name="T8" fmla="*/ 415 w 415"/>
                <a:gd name="T9" fmla="*/ 200 h 200"/>
              </a:gdLst>
              <a:ahLst/>
              <a:cxnLst>
                <a:cxn ang="0">
                  <a:pos x="T0" y="T1"/>
                </a:cxn>
                <a:cxn ang="0">
                  <a:pos x="T2" y="T3"/>
                </a:cxn>
                <a:cxn ang="0">
                  <a:pos x="T4" y="T5"/>
                </a:cxn>
                <a:cxn ang="0">
                  <a:pos x="T6" y="T7"/>
                </a:cxn>
                <a:cxn ang="0">
                  <a:pos x="T8" y="T9"/>
                </a:cxn>
              </a:cxnLst>
              <a:rect l="0" t="0" r="r" b="b"/>
              <a:pathLst>
                <a:path w="415" h="200">
                  <a:moveTo>
                    <a:pt x="415" y="200"/>
                  </a:moveTo>
                  <a:lnTo>
                    <a:pt x="0" y="200"/>
                  </a:lnTo>
                  <a:lnTo>
                    <a:pt x="23" y="0"/>
                  </a:lnTo>
                  <a:lnTo>
                    <a:pt x="394" y="0"/>
                  </a:lnTo>
                  <a:lnTo>
                    <a:pt x="415" y="20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 name="Freeform 198">
              <a:extLst>
                <a:ext uri="{FF2B5EF4-FFF2-40B4-BE49-F238E27FC236}">
                  <a16:creationId xmlns:a16="http://schemas.microsoft.com/office/drawing/2014/main" id="{68BADAA6-58BA-4DFC-BDAF-2F3ABF0885C0}"/>
                </a:ext>
              </a:extLst>
            </p:cNvPr>
            <p:cNvSpPr>
              <a:spLocks/>
            </p:cNvSpPr>
            <p:nvPr/>
          </p:nvSpPr>
          <p:spPr bwMode="gray">
            <a:xfrm>
              <a:off x="13762038" y="4090988"/>
              <a:ext cx="922338" cy="34925"/>
            </a:xfrm>
            <a:custGeom>
              <a:avLst/>
              <a:gdLst>
                <a:gd name="T0" fmla="*/ 246 w 246"/>
                <a:gd name="T1" fmla="*/ 9 h 9"/>
                <a:gd name="T2" fmla="*/ 0 w 246"/>
                <a:gd name="T3" fmla="*/ 9 h 9"/>
                <a:gd name="T4" fmla="*/ 0 w 246"/>
                <a:gd name="T5" fmla="*/ 5 h 9"/>
                <a:gd name="T6" fmla="*/ 2 w 246"/>
                <a:gd name="T7" fmla="*/ 1 h 9"/>
                <a:gd name="T8" fmla="*/ 6 w 246"/>
                <a:gd name="T9" fmla="*/ 0 h 9"/>
                <a:gd name="T10" fmla="*/ 241 w 246"/>
                <a:gd name="T11" fmla="*/ 0 h 9"/>
                <a:gd name="T12" fmla="*/ 245 w 246"/>
                <a:gd name="T13" fmla="*/ 1 h 9"/>
                <a:gd name="T14" fmla="*/ 246 w 246"/>
                <a:gd name="T15" fmla="*/ 5 h 9"/>
                <a:gd name="T16" fmla="*/ 246 w 24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9">
                  <a:moveTo>
                    <a:pt x="246" y="9"/>
                  </a:moveTo>
                  <a:cubicBezTo>
                    <a:pt x="0" y="9"/>
                    <a:pt x="0" y="9"/>
                    <a:pt x="0" y="9"/>
                  </a:cubicBezTo>
                  <a:cubicBezTo>
                    <a:pt x="0" y="5"/>
                    <a:pt x="0" y="5"/>
                    <a:pt x="0" y="5"/>
                  </a:cubicBezTo>
                  <a:cubicBezTo>
                    <a:pt x="0" y="4"/>
                    <a:pt x="1" y="2"/>
                    <a:pt x="2" y="1"/>
                  </a:cubicBezTo>
                  <a:cubicBezTo>
                    <a:pt x="3" y="0"/>
                    <a:pt x="4" y="0"/>
                    <a:pt x="6" y="0"/>
                  </a:cubicBezTo>
                  <a:cubicBezTo>
                    <a:pt x="241" y="0"/>
                    <a:pt x="241" y="0"/>
                    <a:pt x="241" y="0"/>
                  </a:cubicBezTo>
                  <a:cubicBezTo>
                    <a:pt x="242" y="0"/>
                    <a:pt x="244" y="0"/>
                    <a:pt x="245" y="1"/>
                  </a:cubicBezTo>
                  <a:cubicBezTo>
                    <a:pt x="246" y="2"/>
                    <a:pt x="246" y="4"/>
                    <a:pt x="246" y="5"/>
                  </a:cubicBezTo>
                  <a:cubicBezTo>
                    <a:pt x="246" y="9"/>
                    <a:pt x="246" y="9"/>
                    <a:pt x="246"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4" name="Freeform 199">
              <a:extLst>
                <a:ext uri="{FF2B5EF4-FFF2-40B4-BE49-F238E27FC236}">
                  <a16:creationId xmlns:a16="http://schemas.microsoft.com/office/drawing/2014/main" id="{911E3605-339F-4F62-9B98-B65E216BCDBD}"/>
                </a:ext>
              </a:extLst>
            </p:cNvPr>
            <p:cNvSpPr>
              <a:spLocks/>
            </p:cNvSpPr>
            <p:nvPr/>
          </p:nvSpPr>
          <p:spPr bwMode="gray">
            <a:xfrm>
              <a:off x="13039726" y="3563938"/>
              <a:ext cx="2371725" cy="209550"/>
            </a:xfrm>
            <a:custGeom>
              <a:avLst/>
              <a:gdLst>
                <a:gd name="T0" fmla="*/ 633 w 633"/>
                <a:gd name="T1" fmla="*/ 42 h 56"/>
                <a:gd name="T2" fmla="*/ 629 w 633"/>
                <a:gd name="T3" fmla="*/ 52 h 56"/>
                <a:gd name="T4" fmla="*/ 619 w 633"/>
                <a:gd name="T5" fmla="*/ 56 h 56"/>
                <a:gd name="T6" fmla="*/ 14 w 633"/>
                <a:gd name="T7" fmla="*/ 56 h 56"/>
                <a:gd name="T8" fmla="*/ 4 w 633"/>
                <a:gd name="T9" fmla="*/ 52 h 56"/>
                <a:gd name="T10" fmla="*/ 0 w 633"/>
                <a:gd name="T11" fmla="*/ 42 h 56"/>
                <a:gd name="T12" fmla="*/ 0 w 633"/>
                <a:gd name="T13" fmla="*/ 0 h 56"/>
                <a:gd name="T14" fmla="*/ 633 w 633"/>
                <a:gd name="T15" fmla="*/ 0 h 56"/>
                <a:gd name="T16" fmla="*/ 633 w 633"/>
                <a:gd name="T17"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3" h="56">
                  <a:moveTo>
                    <a:pt x="633" y="42"/>
                  </a:moveTo>
                  <a:cubicBezTo>
                    <a:pt x="633" y="46"/>
                    <a:pt x="632" y="49"/>
                    <a:pt x="629" y="52"/>
                  </a:cubicBezTo>
                  <a:cubicBezTo>
                    <a:pt x="626" y="55"/>
                    <a:pt x="622" y="56"/>
                    <a:pt x="619" y="56"/>
                  </a:cubicBezTo>
                  <a:cubicBezTo>
                    <a:pt x="14" y="56"/>
                    <a:pt x="14" y="56"/>
                    <a:pt x="14" y="56"/>
                  </a:cubicBezTo>
                  <a:cubicBezTo>
                    <a:pt x="10" y="56"/>
                    <a:pt x="7" y="55"/>
                    <a:pt x="4" y="52"/>
                  </a:cubicBezTo>
                  <a:cubicBezTo>
                    <a:pt x="1" y="49"/>
                    <a:pt x="0" y="46"/>
                    <a:pt x="0" y="42"/>
                  </a:cubicBezTo>
                  <a:cubicBezTo>
                    <a:pt x="0" y="0"/>
                    <a:pt x="0" y="0"/>
                    <a:pt x="0" y="0"/>
                  </a:cubicBezTo>
                  <a:cubicBezTo>
                    <a:pt x="633" y="0"/>
                    <a:pt x="633" y="0"/>
                    <a:pt x="633" y="0"/>
                  </a:cubicBezTo>
                  <a:cubicBezTo>
                    <a:pt x="633" y="42"/>
                    <a:pt x="633" y="42"/>
                    <a:pt x="633" y="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5" name="Freeform 200">
              <a:extLst>
                <a:ext uri="{FF2B5EF4-FFF2-40B4-BE49-F238E27FC236}">
                  <a16:creationId xmlns:a16="http://schemas.microsoft.com/office/drawing/2014/main" id="{4AA7BF8F-7BC5-462F-80EF-1041CBA32605}"/>
                </a:ext>
              </a:extLst>
            </p:cNvPr>
            <p:cNvSpPr>
              <a:spLocks/>
            </p:cNvSpPr>
            <p:nvPr/>
          </p:nvSpPr>
          <p:spPr bwMode="gray">
            <a:xfrm>
              <a:off x="13039726" y="1990725"/>
              <a:ext cx="2371725" cy="1573212"/>
            </a:xfrm>
            <a:custGeom>
              <a:avLst/>
              <a:gdLst>
                <a:gd name="T0" fmla="*/ 633 w 633"/>
                <a:gd name="T1" fmla="*/ 14 h 420"/>
                <a:gd name="T2" fmla="*/ 629 w 633"/>
                <a:gd name="T3" fmla="*/ 5 h 420"/>
                <a:gd name="T4" fmla="*/ 619 w 633"/>
                <a:gd name="T5" fmla="*/ 0 h 420"/>
                <a:gd name="T6" fmla="*/ 14 w 633"/>
                <a:gd name="T7" fmla="*/ 0 h 420"/>
                <a:gd name="T8" fmla="*/ 4 w 633"/>
                <a:gd name="T9" fmla="*/ 5 h 420"/>
                <a:gd name="T10" fmla="*/ 0 w 633"/>
                <a:gd name="T11" fmla="*/ 14 h 420"/>
                <a:gd name="T12" fmla="*/ 0 w 633"/>
                <a:gd name="T13" fmla="*/ 420 h 420"/>
                <a:gd name="T14" fmla="*/ 633 w 633"/>
                <a:gd name="T15" fmla="*/ 420 h 420"/>
                <a:gd name="T16" fmla="*/ 633 w 633"/>
                <a:gd name="T17" fmla="*/ 14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3" h="420">
                  <a:moveTo>
                    <a:pt x="633" y="14"/>
                  </a:moveTo>
                  <a:cubicBezTo>
                    <a:pt x="633" y="11"/>
                    <a:pt x="632" y="7"/>
                    <a:pt x="629" y="5"/>
                  </a:cubicBezTo>
                  <a:cubicBezTo>
                    <a:pt x="626" y="2"/>
                    <a:pt x="622" y="0"/>
                    <a:pt x="619" y="0"/>
                  </a:cubicBezTo>
                  <a:cubicBezTo>
                    <a:pt x="14" y="0"/>
                    <a:pt x="14" y="0"/>
                    <a:pt x="14" y="0"/>
                  </a:cubicBezTo>
                  <a:cubicBezTo>
                    <a:pt x="10" y="0"/>
                    <a:pt x="7" y="2"/>
                    <a:pt x="4" y="5"/>
                  </a:cubicBezTo>
                  <a:cubicBezTo>
                    <a:pt x="1" y="7"/>
                    <a:pt x="0" y="11"/>
                    <a:pt x="0" y="14"/>
                  </a:cubicBezTo>
                  <a:cubicBezTo>
                    <a:pt x="0" y="420"/>
                    <a:pt x="0" y="420"/>
                    <a:pt x="0" y="420"/>
                  </a:cubicBezTo>
                  <a:cubicBezTo>
                    <a:pt x="633" y="420"/>
                    <a:pt x="633" y="420"/>
                    <a:pt x="633" y="420"/>
                  </a:cubicBezTo>
                  <a:cubicBezTo>
                    <a:pt x="633" y="14"/>
                    <a:pt x="633" y="14"/>
                    <a:pt x="633" y="14"/>
                  </a:cubicBezTo>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6" name="Rectangle 201">
              <a:extLst>
                <a:ext uri="{FF2B5EF4-FFF2-40B4-BE49-F238E27FC236}">
                  <a16:creationId xmlns:a16="http://schemas.microsoft.com/office/drawing/2014/main" id="{BAC7B072-EA93-4E5F-98E5-2F8E9E56872C}"/>
                </a:ext>
              </a:extLst>
            </p:cNvPr>
            <p:cNvSpPr>
              <a:spLocks noChangeArrowheads="1"/>
            </p:cNvSpPr>
            <p:nvPr/>
          </p:nvSpPr>
          <p:spPr bwMode="gray">
            <a:xfrm>
              <a:off x="13155613" y="2111375"/>
              <a:ext cx="2135188" cy="13319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 name="Rectangle 202">
              <a:extLst>
                <a:ext uri="{FF2B5EF4-FFF2-40B4-BE49-F238E27FC236}">
                  <a16:creationId xmlns:a16="http://schemas.microsoft.com/office/drawing/2014/main" id="{047675E3-746E-436E-81E0-7A5CEB73BAEE}"/>
                </a:ext>
              </a:extLst>
            </p:cNvPr>
            <p:cNvSpPr>
              <a:spLocks noChangeArrowheads="1"/>
            </p:cNvSpPr>
            <p:nvPr/>
          </p:nvSpPr>
          <p:spPr bwMode="gray">
            <a:xfrm>
              <a:off x="13155613" y="2111375"/>
              <a:ext cx="2135188" cy="1331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8" name="Freeform 203">
              <a:extLst>
                <a:ext uri="{FF2B5EF4-FFF2-40B4-BE49-F238E27FC236}">
                  <a16:creationId xmlns:a16="http://schemas.microsoft.com/office/drawing/2014/main" id="{11EC05B1-5C1B-456A-BDF6-D86906F21C7F}"/>
                </a:ext>
              </a:extLst>
            </p:cNvPr>
            <p:cNvSpPr>
              <a:spLocks/>
            </p:cNvSpPr>
            <p:nvPr/>
          </p:nvSpPr>
          <p:spPr bwMode="gray">
            <a:xfrm>
              <a:off x="14781213" y="3627438"/>
              <a:ext cx="404813" cy="358775"/>
            </a:xfrm>
            <a:custGeom>
              <a:avLst/>
              <a:gdLst>
                <a:gd name="T0" fmla="*/ 108 w 108"/>
                <a:gd name="T1" fmla="*/ 0 h 96"/>
                <a:gd name="T2" fmla="*/ 108 w 108"/>
                <a:gd name="T3" fmla="*/ 96 h 96"/>
                <a:gd name="T4" fmla="*/ 18 w 108"/>
                <a:gd name="T5" fmla="*/ 96 h 96"/>
                <a:gd name="T6" fmla="*/ 0 w 108"/>
                <a:gd name="T7" fmla="*/ 79 h 96"/>
                <a:gd name="T8" fmla="*/ 0 w 108"/>
                <a:gd name="T9" fmla="*/ 0 h 96"/>
                <a:gd name="T10" fmla="*/ 108 w 108"/>
                <a:gd name="T11" fmla="*/ 0 h 96"/>
              </a:gdLst>
              <a:ahLst/>
              <a:cxnLst>
                <a:cxn ang="0">
                  <a:pos x="T0" y="T1"/>
                </a:cxn>
                <a:cxn ang="0">
                  <a:pos x="T2" y="T3"/>
                </a:cxn>
                <a:cxn ang="0">
                  <a:pos x="T4" y="T5"/>
                </a:cxn>
                <a:cxn ang="0">
                  <a:pos x="T6" y="T7"/>
                </a:cxn>
                <a:cxn ang="0">
                  <a:pos x="T8" y="T9"/>
                </a:cxn>
                <a:cxn ang="0">
                  <a:pos x="T10" y="T11"/>
                </a:cxn>
              </a:cxnLst>
              <a:rect l="0" t="0" r="r" b="b"/>
              <a:pathLst>
                <a:path w="108" h="96">
                  <a:moveTo>
                    <a:pt x="108" y="0"/>
                  </a:moveTo>
                  <a:cubicBezTo>
                    <a:pt x="108" y="96"/>
                    <a:pt x="108" y="96"/>
                    <a:pt x="108" y="96"/>
                  </a:cubicBezTo>
                  <a:cubicBezTo>
                    <a:pt x="18" y="96"/>
                    <a:pt x="18" y="96"/>
                    <a:pt x="18" y="96"/>
                  </a:cubicBezTo>
                  <a:cubicBezTo>
                    <a:pt x="8" y="96"/>
                    <a:pt x="0" y="89"/>
                    <a:pt x="0" y="79"/>
                  </a:cubicBezTo>
                  <a:cubicBezTo>
                    <a:pt x="0" y="0"/>
                    <a:pt x="0" y="0"/>
                    <a:pt x="0" y="0"/>
                  </a:cubicBezTo>
                  <a:cubicBezTo>
                    <a:pt x="108" y="0"/>
                    <a:pt x="108" y="0"/>
                    <a:pt x="108" y="0"/>
                  </a:cubicBezTo>
                </a:path>
              </a:pathLst>
            </a:custGeom>
            <a:solidFill>
              <a:srgbClr val="FFD6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9" name="Freeform 204">
              <a:extLst>
                <a:ext uri="{FF2B5EF4-FFF2-40B4-BE49-F238E27FC236}">
                  <a16:creationId xmlns:a16="http://schemas.microsoft.com/office/drawing/2014/main" id="{1408DB9B-8D2D-4C9C-8A20-0DDAC5E34176}"/>
                </a:ext>
              </a:extLst>
            </p:cNvPr>
            <p:cNvSpPr>
              <a:spLocks/>
            </p:cNvSpPr>
            <p:nvPr/>
          </p:nvSpPr>
          <p:spPr bwMode="gray">
            <a:xfrm>
              <a:off x="14849476" y="3922713"/>
              <a:ext cx="404813" cy="63500"/>
            </a:xfrm>
            <a:custGeom>
              <a:avLst/>
              <a:gdLst>
                <a:gd name="T0" fmla="*/ 17 w 108"/>
                <a:gd name="T1" fmla="*/ 0 h 17"/>
                <a:gd name="T2" fmla="*/ 0 w 108"/>
                <a:gd name="T3" fmla="*/ 17 h 17"/>
                <a:gd name="T4" fmla="*/ 90 w 108"/>
                <a:gd name="T5" fmla="*/ 17 h 17"/>
                <a:gd name="T6" fmla="*/ 108 w 108"/>
                <a:gd name="T7" fmla="*/ 0 h 17"/>
                <a:gd name="T8" fmla="*/ 17 w 108"/>
                <a:gd name="T9" fmla="*/ 0 h 17"/>
              </a:gdLst>
              <a:ahLst/>
              <a:cxnLst>
                <a:cxn ang="0">
                  <a:pos x="T0" y="T1"/>
                </a:cxn>
                <a:cxn ang="0">
                  <a:pos x="T2" y="T3"/>
                </a:cxn>
                <a:cxn ang="0">
                  <a:pos x="T4" y="T5"/>
                </a:cxn>
                <a:cxn ang="0">
                  <a:pos x="T6" y="T7"/>
                </a:cxn>
                <a:cxn ang="0">
                  <a:pos x="T8" y="T9"/>
                </a:cxn>
              </a:cxnLst>
              <a:rect l="0" t="0" r="r" b="b"/>
              <a:pathLst>
                <a:path w="108" h="17">
                  <a:moveTo>
                    <a:pt x="17" y="0"/>
                  </a:moveTo>
                  <a:cubicBezTo>
                    <a:pt x="17" y="10"/>
                    <a:pt x="10" y="17"/>
                    <a:pt x="0" y="17"/>
                  </a:cubicBezTo>
                  <a:cubicBezTo>
                    <a:pt x="90" y="17"/>
                    <a:pt x="90" y="17"/>
                    <a:pt x="90" y="17"/>
                  </a:cubicBezTo>
                  <a:cubicBezTo>
                    <a:pt x="100" y="17"/>
                    <a:pt x="108" y="10"/>
                    <a:pt x="108" y="0"/>
                  </a:cubicBezTo>
                  <a:cubicBezTo>
                    <a:pt x="17" y="0"/>
                    <a:pt x="17" y="0"/>
                    <a:pt x="17" y="0"/>
                  </a:cubicBezTo>
                </a:path>
              </a:pathLst>
            </a:custGeom>
            <a:solidFill>
              <a:srgbClr val="FFB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0" name="Rectangle 205">
              <a:extLst>
                <a:ext uri="{FF2B5EF4-FFF2-40B4-BE49-F238E27FC236}">
                  <a16:creationId xmlns:a16="http://schemas.microsoft.com/office/drawing/2014/main" id="{3D034916-FA35-4304-A77D-8F80891917EF}"/>
                </a:ext>
              </a:extLst>
            </p:cNvPr>
            <p:cNvSpPr>
              <a:spLocks noChangeArrowheads="1"/>
            </p:cNvSpPr>
            <p:nvPr/>
          </p:nvSpPr>
          <p:spPr bwMode="gray">
            <a:xfrm>
              <a:off x="14781213" y="3627438"/>
              <a:ext cx="404813" cy="66675"/>
            </a:xfrm>
            <a:prstGeom prst="rect">
              <a:avLst/>
            </a:prstGeom>
            <a:solidFill>
              <a:srgbClr val="FFB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1" name="Rectangle 206">
              <a:extLst>
                <a:ext uri="{FF2B5EF4-FFF2-40B4-BE49-F238E27FC236}">
                  <a16:creationId xmlns:a16="http://schemas.microsoft.com/office/drawing/2014/main" id="{13C84E23-E19A-47F0-B5F4-82A1FDAABC7E}"/>
                </a:ext>
              </a:extLst>
            </p:cNvPr>
            <p:cNvSpPr>
              <a:spLocks noChangeArrowheads="1"/>
            </p:cNvSpPr>
            <p:nvPr/>
          </p:nvSpPr>
          <p:spPr bwMode="gray">
            <a:xfrm>
              <a:off x="14781213" y="3627438"/>
              <a:ext cx="404813" cy="6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2" name="Freeform 207">
              <a:extLst>
                <a:ext uri="{FF2B5EF4-FFF2-40B4-BE49-F238E27FC236}">
                  <a16:creationId xmlns:a16="http://schemas.microsoft.com/office/drawing/2014/main" id="{2D803917-7564-4DF4-B803-CD1D70C5901C}"/>
                </a:ext>
              </a:extLst>
            </p:cNvPr>
            <p:cNvSpPr>
              <a:spLocks/>
            </p:cNvSpPr>
            <p:nvPr/>
          </p:nvSpPr>
          <p:spPr bwMode="gray">
            <a:xfrm>
              <a:off x="15332076" y="3960813"/>
              <a:ext cx="322263" cy="165100"/>
            </a:xfrm>
            <a:custGeom>
              <a:avLst/>
              <a:gdLst>
                <a:gd name="T0" fmla="*/ 83 w 86"/>
                <a:gd name="T1" fmla="*/ 44 h 44"/>
                <a:gd name="T2" fmla="*/ 86 w 86"/>
                <a:gd name="T3" fmla="*/ 32 h 44"/>
                <a:gd name="T4" fmla="*/ 43 w 86"/>
                <a:gd name="T5" fmla="*/ 0 h 44"/>
                <a:gd name="T6" fmla="*/ 0 w 86"/>
                <a:gd name="T7" fmla="*/ 32 h 44"/>
                <a:gd name="T8" fmla="*/ 4 w 86"/>
                <a:gd name="T9" fmla="*/ 44 h 44"/>
                <a:gd name="T10" fmla="*/ 83 w 86"/>
                <a:gd name="T11" fmla="*/ 44 h 44"/>
              </a:gdLst>
              <a:ahLst/>
              <a:cxnLst>
                <a:cxn ang="0">
                  <a:pos x="T0" y="T1"/>
                </a:cxn>
                <a:cxn ang="0">
                  <a:pos x="T2" y="T3"/>
                </a:cxn>
                <a:cxn ang="0">
                  <a:pos x="T4" y="T5"/>
                </a:cxn>
                <a:cxn ang="0">
                  <a:pos x="T6" y="T7"/>
                </a:cxn>
                <a:cxn ang="0">
                  <a:pos x="T8" y="T9"/>
                </a:cxn>
                <a:cxn ang="0">
                  <a:pos x="T10" y="T11"/>
                </a:cxn>
              </a:cxnLst>
              <a:rect l="0" t="0" r="r" b="b"/>
              <a:pathLst>
                <a:path w="86" h="44">
                  <a:moveTo>
                    <a:pt x="83" y="44"/>
                  </a:moveTo>
                  <a:cubicBezTo>
                    <a:pt x="85" y="41"/>
                    <a:pt x="86" y="36"/>
                    <a:pt x="86" y="32"/>
                  </a:cubicBezTo>
                  <a:cubicBezTo>
                    <a:pt x="86" y="14"/>
                    <a:pt x="67" y="0"/>
                    <a:pt x="43" y="0"/>
                  </a:cubicBezTo>
                  <a:cubicBezTo>
                    <a:pt x="19" y="0"/>
                    <a:pt x="0" y="14"/>
                    <a:pt x="0" y="32"/>
                  </a:cubicBezTo>
                  <a:cubicBezTo>
                    <a:pt x="0" y="36"/>
                    <a:pt x="1" y="41"/>
                    <a:pt x="4" y="44"/>
                  </a:cubicBezTo>
                  <a:cubicBezTo>
                    <a:pt x="83" y="44"/>
                    <a:pt x="83" y="44"/>
                    <a:pt x="83" y="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 name="Freeform 208">
              <a:extLst>
                <a:ext uri="{FF2B5EF4-FFF2-40B4-BE49-F238E27FC236}">
                  <a16:creationId xmlns:a16="http://schemas.microsoft.com/office/drawing/2014/main" id="{8540E6D8-BC62-45C1-BA8C-7E2E7295F6C4}"/>
                </a:ext>
              </a:extLst>
            </p:cNvPr>
            <p:cNvSpPr>
              <a:spLocks/>
            </p:cNvSpPr>
            <p:nvPr/>
          </p:nvSpPr>
          <p:spPr bwMode="gray">
            <a:xfrm>
              <a:off x="15335251" y="4098925"/>
              <a:ext cx="319088" cy="26987"/>
            </a:xfrm>
            <a:custGeom>
              <a:avLst/>
              <a:gdLst>
                <a:gd name="T0" fmla="*/ 0 w 85"/>
                <a:gd name="T1" fmla="*/ 0 h 7"/>
                <a:gd name="T2" fmla="*/ 3 w 85"/>
                <a:gd name="T3" fmla="*/ 7 h 7"/>
                <a:gd name="T4" fmla="*/ 82 w 85"/>
                <a:gd name="T5" fmla="*/ 7 h 7"/>
                <a:gd name="T6" fmla="*/ 85 w 85"/>
                <a:gd name="T7" fmla="*/ 0 h 7"/>
                <a:gd name="T8" fmla="*/ 0 w 85"/>
                <a:gd name="T9" fmla="*/ 0 h 7"/>
              </a:gdLst>
              <a:ahLst/>
              <a:cxnLst>
                <a:cxn ang="0">
                  <a:pos x="T0" y="T1"/>
                </a:cxn>
                <a:cxn ang="0">
                  <a:pos x="T2" y="T3"/>
                </a:cxn>
                <a:cxn ang="0">
                  <a:pos x="T4" y="T5"/>
                </a:cxn>
                <a:cxn ang="0">
                  <a:pos x="T6" y="T7"/>
                </a:cxn>
                <a:cxn ang="0">
                  <a:pos x="T8" y="T9"/>
                </a:cxn>
              </a:cxnLst>
              <a:rect l="0" t="0" r="r" b="b"/>
              <a:pathLst>
                <a:path w="85" h="7">
                  <a:moveTo>
                    <a:pt x="0" y="0"/>
                  </a:moveTo>
                  <a:cubicBezTo>
                    <a:pt x="0" y="2"/>
                    <a:pt x="1" y="5"/>
                    <a:pt x="3" y="7"/>
                  </a:cubicBezTo>
                  <a:cubicBezTo>
                    <a:pt x="82" y="7"/>
                    <a:pt x="82" y="7"/>
                    <a:pt x="82" y="7"/>
                  </a:cubicBezTo>
                  <a:cubicBezTo>
                    <a:pt x="83" y="5"/>
                    <a:pt x="84" y="2"/>
                    <a:pt x="85" y="0"/>
                  </a:cubicBezTo>
                  <a:cubicBezTo>
                    <a:pt x="0" y="0"/>
                    <a:pt x="0" y="0"/>
                    <a:pt x="0" y="0"/>
                  </a:cubicBezTo>
                </a:path>
              </a:pathLst>
            </a:custGeom>
            <a:solidFill>
              <a:srgbClr val="E6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 name="Rectangle 209">
              <a:extLst>
                <a:ext uri="{FF2B5EF4-FFF2-40B4-BE49-F238E27FC236}">
                  <a16:creationId xmlns:a16="http://schemas.microsoft.com/office/drawing/2014/main" id="{16C9373E-0070-49A8-842F-64AD0118C8AF}"/>
                </a:ext>
              </a:extLst>
            </p:cNvPr>
            <p:cNvSpPr>
              <a:spLocks noChangeArrowheads="1"/>
            </p:cNvSpPr>
            <p:nvPr/>
          </p:nvSpPr>
          <p:spPr bwMode="gray">
            <a:xfrm>
              <a:off x="12761913" y="4125913"/>
              <a:ext cx="4121150" cy="119062"/>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5" name="Rectangle 210">
              <a:extLst>
                <a:ext uri="{FF2B5EF4-FFF2-40B4-BE49-F238E27FC236}">
                  <a16:creationId xmlns:a16="http://schemas.microsoft.com/office/drawing/2014/main" id="{7E2BE804-7CC3-4D8C-A10D-8CC5D3E83875}"/>
                </a:ext>
              </a:extLst>
            </p:cNvPr>
            <p:cNvSpPr>
              <a:spLocks noChangeArrowheads="1"/>
            </p:cNvSpPr>
            <p:nvPr/>
          </p:nvSpPr>
          <p:spPr bwMode="gray">
            <a:xfrm>
              <a:off x="12874626" y="4244975"/>
              <a:ext cx="3895725" cy="44450"/>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2" name="Freeform 217">
              <a:extLst>
                <a:ext uri="{FF2B5EF4-FFF2-40B4-BE49-F238E27FC236}">
                  <a16:creationId xmlns:a16="http://schemas.microsoft.com/office/drawing/2014/main" id="{8F25E012-341F-49CC-9C0E-EA1291A55BD1}"/>
                </a:ext>
              </a:extLst>
            </p:cNvPr>
            <p:cNvSpPr>
              <a:spLocks/>
            </p:cNvSpPr>
            <p:nvPr/>
          </p:nvSpPr>
          <p:spPr bwMode="gray">
            <a:xfrm>
              <a:off x="15709901" y="2444750"/>
              <a:ext cx="679450" cy="598487"/>
            </a:xfrm>
            <a:custGeom>
              <a:avLst/>
              <a:gdLst>
                <a:gd name="T0" fmla="*/ 0 w 428"/>
                <a:gd name="T1" fmla="*/ 129 h 377"/>
                <a:gd name="T2" fmla="*/ 428 w 428"/>
                <a:gd name="T3" fmla="*/ 377 h 377"/>
                <a:gd name="T4" fmla="*/ 425 w 428"/>
                <a:gd name="T5" fmla="*/ 111 h 377"/>
                <a:gd name="T6" fmla="*/ 232 w 428"/>
                <a:gd name="T7" fmla="*/ 0 h 377"/>
                <a:gd name="T8" fmla="*/ 0 w 428"/>
                <a:gd name="T9" fmla="*/ 129 h 377"/>
              </a:gdLst>
              <a:ahLst/>
              <a:cxnLst>
                <a:cxn ang="0">
                  <a:pos x="T0" y="T1"/>
                </a:cxn>
                <a:cxn ang="0">
                  <a:pos x="T2" y="T3"/>
                </a:cxn>
                <a:cxn ang="0">
                  <a:pos x="T4" y="T5"/>
                </a:cxn>
                <a:cxn ang="0">
                  <a:pos x="T6" y="T7"/>
                </a:cxn>
                <a:cxn ang="0">
                  <a:pos x="T8" y="T9"/>
                </a:cxn>
              </a:cxnLst>
              <a:rect l="0" t="0" r="r" b="b"/>
              <a:pathLst>
                <a:path w="428" h="377">
                  <a:moveTo>
                    <a:pt x="0" y="129"/>
                  </a:moveTo>
                  <a:lnTo>
                    <a:pt x="428" y="377"/>
                  </a:lnTo>
                  <a:lnTo>
                    <a:pt x="425" y="111"/>
                  </a:lnTo>
                  <a:lnTo>
                    <a:pt x="232" y="0"/>
                  </a:lnTo>
                  <a:lnTo>
                    <a:pt x="0" y="1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6" name="Freeform 221">
              <a:extLst>
                <a:ext uri="{FF2B5EF4-FFF2-40B4-BE49-F238E27FC236}">
                  <a16:creationId xmlns:a16="http://schemas.microsoft.com/office/drawing/2014/main" id="{1123B8E9-8CAF-4A8C-9C68-5C3D2C5636C8}"/>
                </a:ext>
              </a:extLst>
            </p:cNvPr>
            <p:cNvSpPr>
              <a:spLocks/>
            </p:cNvSpPr>
            <p:nvPr/>
          </p:nvSpPr>
          <p:spPr bwMode="gray">
            <a:xfrm>
              <a:off x="13912851" y="3773488"/>
              <a:ext cx="639763" cy="317500"/>
            </a:xfrm>
            <a:custGeom>
              <a:avLst/>
              <a:gdLst>
                <a:gd name="T0" fmla="*/ 382 w 403"/>
                <a:gd name="T1" fmla="*/ 0 h 200"/>
                <a:gd name="T2" fmla="*/ 247 w 403"/>
                <a:gd name="T3" fmla="*/ 0 h 200"/>
                <a:gd name="T4" fmla="*/ 0 w 403"/>
                <a:gd name="T5" fmla="*/ 200 h 200"/>
                <a:gd name="T6" fmla="*/ 403 w 403"/>
                <a:gd name="T7" fmla="*/ 200 h 200"/>
                <a:gd name="T8" fmla="*/ 382 w 403"/>
                <a:gd name="T9" fmla="*/ 0 h 200"/>
              </a:gdLst>
              <a:ahLst/>
              <a:cxnLst>
                <a:cxn ang="0">
                  <a:pos x="T0" y="T1"/>
                </a:cxn>
                <a:cxn ang="0">
                  <a:pos x="T2" y="T3"/>
                </a:cxn>
                <a:cxn ang="0">
                  <a:pos x="T4" y="T5"/>
                </a:cxn>
                <a:cxn ang="0">
                  <a:pos x="T6" y="T7"/>
                </a:cxn>
                <a:cxn ang="0">
                  <a:pos x="T8" y="T9"/>
                </a:cxn>
              </a:cxnLst>
              <a:rect l="0" t="0" r="r" b="b"/>
              <a:pathLst>
                <a:path w="403" h="200">
                  <a:moveTo>
                    <a:pt x="382" y="0"/>
                  </a:moveTo>
                  <a:lnTo>
                    <a:pt x="247" y="0"/>
                  </a:lnTo>
                  <a:lnTo>
                    <a:pt x="0" y="200"/>
                  </a:lnTo>
                  <a:lnTo>
                    <a:pt x="403" y="200"/>
                  </a:lnTo>
                  <a:lnTo>
                    <a:pt x="382" y="0"/>
                  </a:lnTo>
                  <a:close/>
                </a:path>
              </a:pathLst>
            </a:custGeom>
            <a:solidFill>
              <a:srgbClr val="E4E4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7" name="Freeform 222">
              <a:extLst>
                <a:ext uri="{FF2B5EF4-FFF2-40B4-BE49-F238E27FC236}">
                  <a16:creationId xmlns:a16="http://schemas.microsoft.com/office/drawing/2014/main" id="{DBEDEDC8-BF9E-4022-A97F-07B2D07E1536}"/>
                </a:ext>
              </a:extLst>
            </p:cNvPr>
            <p:cNvSpPr>
              <a:spLocks/>
            </p:cNvSpPr>
            <p:nvPr/>
          </p:nvSpPr>
          <p:spPr bwMode="gray">
            <a:xfrm>
              <a:off x="13912851" y="3773488"/>
              <a:ext cx="639763" cy="317500"/>
            </a:xfrm>
            <a:custGeom>
              <a:avLst/>
              <a:gdLst>
                <a:gd name="T0" fmla="*/ 382 w 403"/>
                <a:gd name="T1" fmla="*/ 0 h 200"/>
                <a:gd name="T2" fmla="*/ 247 w 403"/>
                <a:gd name="T3" fmla="*/ 0 h 200"/>
                <a:gd name="T4" fmla="*/ 0 w 403"/>
                <a:gd name="T5" fmla="*/ 200 h 200"/>
                <a:gd name="T6" fmla="*/ 403 w 403"/>
                <a:gd name="T7" fmla="*/ 200 h 200"/>
                <a:gd name="T8" fmla="*/ 382 w 403"/>
                <a:gd name="T9" fmla="*/ 0 h 200"/>
              </a:gdLst>
              <a:ahLst/>
              <a:cxnLst>
                <a:cxn ang="0">
                  <a:pos x="T0" y="T1"/>
                </a:cxn>
                <a:cxn ang="0">
                  <a:pos x="T2" y="T3"/>
                </a:cxn>
                <a:cxn ang="0">
                  <a:pos x="T4" y="T5"/>
                </a:cxn>
                <a:cxn ang="0">
                  <a:pos x="T6" y="T7"/>
                </a:cxn>
                <a:cxn ang="0">
                  <a:pos x="T8" y="T9"/>
                </a:cxn>
              </a:cxnLst>
              <a:rect l="0" t="0" r="r" b="b"/>
              <a:pathLst>
                <a:path w="403" h="200">
                  <a:moveTo>
                    <a:pt x="382" y="0"/>
                  </a:moveTo>
                  <a:lnTo>
                    <a:pt x="247" y="0"/>
                  </a:lnTo>
                  <a:lnTo>
                    <a:pt x="0" y="200"/>
                  </a:lnTo>
                  <a:lnTo>
                    <a:pt x="403" y="200"/>
                  </a:lnTo>
                  <a:lnTo>
                    <a:pt x="38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8" name="Freeform 223">
              <a:extLst>
                <a:ext uri="{FF2B5EF4-FFF2-40B4-BE49-F238E27FC236}">
                  <a16:creationId xmlns:a16="http://schemas.microsoft.com/office/drawing/2014/main" id="{6D8231C8-CAAE-40E0-BA9A-C228243620C0}"/>
                </a:ext>
              </a:extLst>
            </p:cNvPr>
            <p:cNvSpPr>
              <a:spLocks/>
            </p:cNvSpPr>
            <p:nvPr/>
          </p:nvSpPr>
          <p:spPr bwMode="gray">
            <a:xfrm>
              <a:off x="13863638" y="4090988"/>
              <a:ext cx="820738" cy="34925"/>
            </a:xfrm>
            <a:custGeom>
              <a:avLst/>
              <a:gdLst>
                <a:gd name="T0" fmla="*/ 214 w 219"/>
                <a:gd name="T1" fmla="*/ 0 h 9"/>
                <a:gd name="T2" fmla="*/ 184 w 219"/>
                <a:gd name="T3" fmla="*/ 0 h 9"/>
                <a:gd name="T4" fmla="*/ 13 w 219"/>
                <a:gd name="T5" fmla="*/ 0 h 9"/>
                <a:gd name="T6" fmla="*/ 0 w 219"/>
                <a:gd name="T7" fmla="*/ 9 h 9"/>
                <a:gd name="T8" fmla="*/ 219 w 219"/>
                <a:gd name="T9" fmla="*/ 9 h 9"/>
                <a:gd name="T10" fmla="*/ 219 w 219"/>
                <a:gd name="T11" fmla="*/ 5 h 9"/>
                <a:gd name="T12" fmla="*/ 218 w 219"/>
                <a:gd name="T13" fmla="*/ 1 h 9"/>
                <a:gd name="T14" fmla="*/ 214 w 219"/>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9">
                  <a:moveTo>
                    <a:pt x="214" y="0"/>
                  </a:moveTo>
                  <a:cubicBezTo>
                    <a:pt x="184" y="0"/>
                    <a:pt x="184" y="0"/>
                    <a:pt x="184" y="0"/>
                  </a:cubicBezTo>
                  <a:cubicBezTo>
                    <a:pt x="13" y="0"/>
                    <a:pt x="13" y="0"/>
                    <a:pt x="13" y="0"/>
                  </a:cubicBezTo>
                  <a:cubicBezTo>
                    <a:pt x="0" y="9"/>
                    <a:pt x="0" y="9"/>
                    <a:pt x="0" y="9"/>
                  </a:cubicBezTo>
                  <a:cubicBezTo>
                    <a:pt x="219" y="9"/>
                    <a:pt x="219" y="9"/>
                    <a:pt x="219" y="9"/>
                  </a:cubicBezTo>
                  <a:cubicBezTo>
                    <a:pt x="219" y="5"/>
                    <a:pt x="219" y="5"/>
                    <a:pt x="219" y="5"/>
                  </a:cubicBezTo>
                  <a:cubicBezTo>
                    <a:pt x="219" y="4"/>
                    <a:pt x="219" y="2"/>
                    <a:pt x="218" y="1"/>
                  </a:cubicBezTo>
                  <a:cubicBezTo>
                    <a:pt x="217" y="0"/>
                    <a:pt x="215" y="0"/>
                    <a:pt x="21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9" name="Freeform 224">
              <a:extLst>
                <a:ext uri="{FF2B5EF4-FFF2-40B4-BE49-F238E27FC236}">
                  <a16:creationId xmlns:a16="http://schemas.microsoft.com/office/drawing/2014/main" id="{2BD199D7-02B4-401C-8A71-B40276330EA0}"/>
                </a:ext>
              </a:extLst>
            </p:cNvPr>
            <p:cNvSpPr>
              <a:spLocks/>
            </p:cNvSpPr>
            <p:nvPr/>
          </p:nvSpPr>
          <p:spPr bwMode="gray">
            <a:xfrm>
              <a:off x="14304963" y="3563938"/>
              <a:ext cx="1106488" cy="209550"/>
            </a:xfrm>
            <a:custGeom>
              <a:avLst/>
              <a:gdLst>
                <a:gd name="T0" fmla="*/ 295 w 295"/>
                <a:gd name="T1" fmla="*/ 0 h 56"/>
                <a:gd name="T2" fmla="*/ 70 w 295"/>
                <a:gd name="T3" fmla="*/ 0 h 56"/>
                <a:gd name="T4" fmla="*/ 0 w 295"/>
                <a:gd name="T5" fmla="*/ 56 h 56"/>
                <a:gd name="T6" fmla="*/ 127 w 295"/>
                <a:gd name="T7" fmla="*/ 56 h 56"/>
                <a:gd name="T8" fmla="*/ 127 w 295"/>
                <a:gd name="T9" fmla="*/ 17 h 56"/>
                <a:gd name="T10" fmla="*/ 235 w 295"/>
                <a:gd name="T11" fmla="*/ 17 h 56"/>
                <a:gd name="T12" fmla="*/ 235 w 295"/>
                <a:gd name="T13" fmla="*/ 35 h 56"/>
                <a:gd name="T14" fmla="*/ 235 w 295"/>
                <a:gd name="T15" fmla="*/ 56 h 56"/>
                <a:gd name="T16" fmla="*/ 281 w 295"/>
                <a:gd name="T17" fmla="*/ 56 h 56"/>
                <a:gd name="T18" fmla="*/ 291 w 295"/>
                <a:gd name="T19" fmla="*/ 52 h 56"/>
                <a:gd name="T20" fmla="*/ 295 w 295"/>
                <a:gd name="T21" fmla="*/ 42 h 56"/>
                <a:gd name="T22" fmla="*/ 295 w 295"/>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5" h="56">
                  <a:moveTo>
                    <a:pt x="295" y="0"/>
                  </a:moveTo>
                  <a:cubicBezTo>
                    <a:pt x="70" y="0"/>
                    <a:pt x="70" y="0"/>
                    <a:pt x="70" y="0"/>
                  </a:cubicBezTo>
                  <a:cubicBezTo>
                    <a:pt x="0" y="56"/>
                    <a:pt x="0" y="56"/>
                    <a:pt x="0" y="56"/>
                  </a:cubicBezTo>
                  <a:cubicBezTo>
                    <a:pt x="127" y="56"/>
                    <a:pt x="127" y="56"/>
                    <a:pt x="127" y="56"/>
                  </a:cubicBezTo>
                  <a:cubicBezTo>
                    <a:pt x="127" y="17"/>
                    <a:pt x="127" y="17"/>
                    <a:pt x="127" y="17"/>
                  </a:cubicBezTo>
                  <a:cubicBezTo>
                    <a:pt x="235" y="17"/>
                    <a:pt x="235" y="17"/>
                    <a:pt x="235" y="17"/>
                  </a:cubicBezTo>
                  <a:cubicBezTo>
                    <a:pt x="235" y="35"/>
                    <a:pt x="235" y="35"/>
                    <a:pt x="235" y="35"/>
                  </a:cubicBezTo>
                  <a:cubicBezTo>
                    <a:pt x="235" y="56"/>
                    <a:pt x="235" y="56"/>
                    <a:pt x="235" y="56"/>
                  </a:cubicBezTo>
                  <a:cubicBezTo>
                    <a:pt x="281" y="56"/>
                    <a:pt x="281" y="56"/>
                    <a:pt x="281" y="56"/>
                  </a:cubicBezTo>
                  <a:cubicBezTo>
                    <a:pt x="284" y="56"/>
                    <a:pt x="288" y="55"/>
                    <a:pt x="291" y="52"/>
                  </a:cubicBezTo>
                  <a:cubicBezTo>
                    <a:pt x="294" y="49"/>
                    <a:pt x="295" y="46"/>
                    <a:pt x="295" y="42"/>
                  </a:cubicBezTo>
                  <a:cubicBezTo>
                    <a:pt x="295" y="0"/>
                    <a:pt x="295" y="0"/>
                    <a:pt x="29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0" name="Freeform 225">
              <a:extLst>
                <a:ext uri="{FF2B5EF4-FFF2-40B4-BE49-F238E27FC236}">
                  <a16:creationId xmlns:a16="http://schemas.microsoft.com/office/drawing/2014/main" id="{D0F9B3EC-F9F2-4E37-8E8F-CD696EBB65F7}"/>
                </a:ext>
              </a:extLst>
            </p:cNvPr>
            <p:cNvSpPr>
              <a:spLocks/>
            </p:cNvSpPr>
            <p:nvPr/>
          </p:nvSpPr>
          <p:spPr bwMode="gray">
            <a:xfrm>
              <a:off x="14568488" y="2889250"/>
              <a:ext cx="842963" cy="674687"/>
            </a:xfrm>
            <a:custGeom>
              <a:avLst/>
              <a:gdLst>
                <a:gd name="T0" fmla="*/ 531 w 531"/>
                <a:gd name="T1" fmla="*/ 0 h 425"/>
                <a:gd name="T2" fmla="*/ 455 w 531"/>
                <a:gd name="T3" fmla="*/ 59 h 425"/>
                <a:gd name="T4" fmla="*/ 455 w 531"/>
                <a:gd name="T5" fmla="*/ 349 h 425"/>
                <a:gd name="T6" fmla="*/ 94 w 531"/>
                <a:gd name="T7" fmla="*/ 349 h 425"/>
                <a:gd name="T8" fmla="*/ 0 w 531"/>
                <a:gd name="T9" fmla="*/ 425 h 425"/>
                <a:gd name="T10" fmla="*/ 531 w 531"/>
                <a:gd name="T11" fmla="*/ 425 h 425"/>
                <a:gd name="T12" fmla="*/ 531 w 531"/>
                <a:gd name="T13" fmla="*/ 0 h 425"/>
              </a:gdLst>
              <a:ahLst/>
              <a:cxnLst>
                <a:cxn ang="0">
                  <a:pos x="T0" y="T1"/>
                </a:cxn>
                <a:cxn ang="0">
                  <a:pos x="T2" y="T3"/>
                </a:cxn>
                <a:cxn ang="0">
                  <a:pos x="T4" y="T5"/>
                </a:cxn>
                <a:cxn ang="0">
                  <a:pos x="T6" y="T7"/>
                </a:cxn>
                <a:cxn ang="0">
                  <a:pos x="T8" y="T9"/>
                </a:cxn>
                <a:cxn ang="0">
                  <a:pos x="T10" y="T11"/>
                </a:cxn>
                <a:cxn ang="0">
                  <a:pos x="T12" y="T13"/>
                </a:cxn>
              </a:cxnLst>
              <a:rect l="0" t="0" r="r" b="b"/>
              <a:pathLst>
                <a:path w="531" h="425">
                  <a:moveTo>
                    <a:pt x="531" y="0"/>
                  </a:moveTo>
                  <a:lnTo>
                    <a:pt x="455" y="59"/>
                  </a:lnTo>
                  <a:lnTo>
                    <a:pt x="455" y="349"/>
                  </a:lnTo>
                  <a:lnTo>
                    <a:pt x="94" y="349"/>
                  </a:lnTo>
                  <a:lnTo>
                    <a:pt x="0" y="425"/>
                  </a:lnTo>
                  <a:lnTo>
                    <a:pt x="531" y="425"/>
                  </a:lnTo>
                  <a:lnTo>
                    <a:pt x="531" y="0"/>
                  </a:lnTo>
                  <a:close/>
                </a:path>
              </a:pathLst>
            </a:custGeom>
            <a:solidFill>
              <a:srgbClr val="606F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1" name="Freeform 226">
              <a:extLst>
                <a:ext uri="{FF2B5EF4-FFF2-40B4-BE49-F238E27FC236}">
                  <a16:creationId xmlns:a16="http://schemas.microsoft.com/office/drawing/2014/main" id="{C2E4F035-C062-4552-80A7-0E64E4DB0803}"/>
                </a:ext>
              </a:extLst>
            </p:cNvPr>
            <p:cNvSpPr>
              <a:spLocks/>
            </p:cNvSpPr>
            <p:nvPr/>
          </p:nvSpPr>
          <p:spPr bwMode="gray">
            <a:xfrm>
              <a:off x="14568488" y="2889250"/>
              <a:ext cx="842963" cy="674687"/>
            </a:xfrm>
            <a:custGeom>
              <a:avLst/>
              <a:gdLst>
                <a:gd name="T0" fmla="*/ 531 w 531"/>
                <a:gd name="T1" fmla="*/ 0 h 425"/>
                <a:gd name="T2" fmla="*/ 455 w 531"/>
                <a:gd name="T3" fmla="*/ 59 h 425"/>
                <a:gd name="T4" fmla="*/ 455 w 531"/>
                <a:gd name="T5" fmla="*/ 349 h 425"/>
                <a:gd name="T6" fmla="*/ 94 w 531"/>
                <a:gd name="T7" fmla="*/ 349 h 425"/>
                <a:gd name="T8" fmla="*/ 0 w 531"/>
                <a:gd name="T9" fmla="*/ 425 h 425"/>
                <a:gd name="T10" fmla="*/ 531 w 531"/>
                <a:gd name="T11" fmla="*/ 425 h 425"/>
                <a:gd name="T12" fmla="*/ 531 w 531"/>
                <a:gd name="T13" fmla="*/ 0 h 425"/>
              </a:gdLst>
              <a:ahLst/>
              <a:cxnLst>
                <a:cxn ang="0">
                  <a:pos x="T0" y="T1"/>
                </a:cxn>
                <a:cxn ang="0">
                  <a:pos x="T2" y="T3"/>
                </a:cxn>
                <a:cxn ang="0">
                  <a:pos x="T4" y="T5"/>
                </a:cxn>
                <a:cxn ang="0">
                  <a:pos x="T6" y="T7"/>
                </a:cxn>
                <a:cxn ang="0">
                  <a:pos x="T8" y="T9"/>
                </a:cxn>
                <a:cxn ang="0">
                  <a:pos x="T10" y="T11"/>
                </a:cxn>
                <a:cxn ang="0">
                  <a:pos x="T12" y="T13"/>
                </a:cxn>
              </a:cxnLst>
              <a:rect l="0" t="0" r="r" b="b"/>
              <a:pathLst>
                <a:path w="531" h="425">
                  <a:moveTo>
                    <a:pt x="531" y="0"/>
                  </a:moveTo>
                  <a:lnTo>
                    <a:pt x="455" y="59"/>
                  </a:lnTo>
                  <a:lnTo>
                    <a:pt x="455" y="349"/>
                  </a:lnTo>
                  <a:lnTo>
                    <a:pt x="94" y="349"/>
                  </a:lnTo>
                  <a:lnTo>
                    <a:pt x="0" y="425"/>
                  </a:lnTo>
                  <a:lnTo>
                    <a:pt x="531" y="425"/>
                  </a:lnTo>
                  <a:lnTo>
                    <a:pt x="5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2" name="Freeform 227">
              <a:extLst>
                <a:ext uri="{FF2B5EF4-FFF2-40B4-BE49-F238E27FC236}">
                  <a16:creationId xmlns:a16="http://schemas.microsoft.com/office/drawing/2014/main" id="{A51D88EF-77D7-4699-B7EF-061F7E403A27}"/>
                </a:ext>
              </a:extLst>
            </p:cNvPr>
            <p:cNvSpPr>
              <a:spLocks/>
            </p:cNvSpPr>
            <p:nvPr/>
          </p:nvSpPr>
          <p:spPr bwMode="gray">
            <a:xfrm>
              <a:off x="14717713" y="2982913"/>
              <a:ext cx="573088" cy="460375"/>
            </a:xfrm>
            <a:custGeom>
              <a:avLst/>
              <a:gdLst>
                <a:gd name="T0" fmla="*/ 361 w 361"/>
                <a:gd name="T1" fmla="*/ 0 h 290"/>
                <a:gd name="T2" fmla="*/ 0 w 361"/>
                <a:gd name="T3" fmla="*/ 290 h 290"/>
                <a:gd name="T4" fmla="*/ 361 w 361"/>
                <a:gd name="T5" fmla="*/ 290 h 290"/>
                <a:gd name="T6" fmla="*/ 361 w 361"/>
                <a:gd name="T7" fmla="*/ 0 h 290"/>
              </a:gdLst>
              <a:ahLst/>
              <a:cxnLst>
                <a:cxn ang="0">
                  <a:pos x="T0" y="T1"/>
                </a:cxn>
                <a:cxn ang="0">
                  <a:pos x="T2" y="T3"/>
                </a:cxn>
                <a:cxn ang="0">
                  <a:pos x="T4" y="T5"/>
                </a:cxn>
                <a:cxn ang="0">
                  <a:pos x="T6" y="T7"/>
                </a:cxn>
              </a:cxnLst>
              <a:rect l="0" t="0" r="r" b="b"/>
              <a:pathLst>
                <a:path w="361" h="290">
                  <a:moveTo>
                    <a:pt x="361" y="0"/>
                  </a:moveTo>
                  <a:lnTo>
                    <a:pt x="0" y="290"/>
                  </a:lnTo>
                  <a:lnTo>
                    <a:pt x="361" y="290"/>
                  </a:lnTo>
                  <a:lnTo>
                    <a:pt x="36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3" name="Freeform 228">
              <a:extLst>
                <a:ext uri="{FF2B5EF4-FFF2-40B4-BE49-F238E27FC236}">
                  <a16:creationId xmlns:a16="http://schemas.microsoft.com/office/drawing/2014/main" id="{EEAC728E-5E66-4645-ACDA-44123D15ED46}"/>
                </a:ext>
              </a:extLst>
            </p:cNvPr>
            <p:cNvSpPr>
              <a:spLocks/>
            </p:cNvSpPr>
            <p:nvPr/>
          </p:nvSpPr>
          <p:spPr bwMode="gray">
            <a:xfrm>
              <a:off x="14717713" y="2982913"/>
              <a:ext cx="573088" cy="460375"/>
            </a:xfrm>
            <a:custGeom>
              <a:avLst/>
              <a:gdLst>
                <a:gd name="T0" fmla="*/ 361 w 361"/>
                <a:gd name="T1" fmla="*/ 0 h 290"/>
                <a:gd name="T2" fmla="*/ 0 w 361"/>
                <a:gd name="T3" fmla="*/ 290 h 290"/>
                <a:gd name="T4" fmla="*/ 361 w 361"/>
                <a:gd name="T5" fmla="*/ 290 h 290"/>
                <a:gd name="T6" fmla="*/ 361 w 361"/>
                <a:gd name="T7" fmla="*/ 0 h 290"/>
              </a:gdLst>
              <a:ahLst/>
              <a:cxnLst>
                <a:cxn ang="0">
                  <a:pos x="T0" y="T1"/>
                </a:cxn>
                <a:cxn ang="0">
                  <a:pos x="T2" y="T3"/>
                </a:cxn>
                <a:cxn ang="0">
                  <a:pos x="T4" y="T5"/>
                </a:cxn>
                <a:cxn ang="0">
                  <a:pos x="T6" y="T7"/>
                </a:cxn>
              </a:cxnLst>
              <a:rect l="0" t="0" r="r" b="b"/>
              <a:pathLst>
                <a:path w="361" h="290">
                  <a:moveTo>
                    <a:pt x="361" y="0"/>
                  </a:moveTo>
                  <a:lnTo>
                    <a:pt x="0" y="290"/>
                  </a:lnTo>
                  <a:lnTo>
                    <a:pt x="361" y="290"/>
                  </a:lnTo>
                  <a:lnTo>
                    <a:pt x="3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4" name="Freeform 229">
              <a:extLst>
                <a:ext uri="{FF2B5EF4-FFF2-40B4-BE49-F238E27FC236}">
                  <a16:creationId xmlns:a16="http://schemas.microsoft.com/office/drawing/2014/main" id="{73D76628-C783-48B4-80A0-0685AF8046F3}"/>
                </a:ext>
              </a:extLst>
            </p:cNvPr>
            <p:cNvSpPr>
              <a:spLocks/>
            </p:cNvSpPr>
            <p:nvPr/>
          </p:nvSpPr>
          <p:spPr bwMode="gray">
            <a:xfrm>
              <a:off x="14781213" y="3627438"/>
              <a:ext cx="404813" cy="358775"/>
            </a:xfrm>
            <a:custGeom>
              <a:avLst/>
              <a:gdLst>
                <a:gd name="T0" fmla="*/ 0 w 108"/>
                <a:gd name="T1" fmla="*/ 0 h 96"/>
                <a:gd name="T2" fmla="*/ 0 w 108"/>
                <a:gd name="T3" fmla="*/ 0 h 96"/>
                <a:gd name="T4" fmla="*/ 0 w 108"/>
                <a:gd name="T5" fmla="*/ 39 h 96"/>
                <a:gd name="T6" fmla="*/ 0 w 108"/>
                <a:gd name="T7" fmla="*/ 79 h 96"/>
                <a:gd name="T8" fmla="*/ 18 w 108"/>
                <a:gd name="T9" fmla="*/ 96 h 96"/>
                <a:gd name="T10" fmla="*/ 108 w 108"/>
                <a:gd name="T11" fmla="*/ 96 h 96"/>
                <a:gd name="T12" fmla="*/ 18 w 108"/>
                <a:gd name="T13" fmla="*/ 96 h 96"/>
                <a:gd name="T14" fmla="*/ 35 w 108"/>
                <a:gd name="T15" fmla="*/ 79 h 96"/>
                <a:gd name="T16" fmla="*/ 108 w 108"/>
                <a:gd name="T17" fmla="*/ 79 h 96"/>
                <a:gd name="T18" fmla="*/ 108 w 108"/>
                <a:gd name="T19" fmla="*/ 39 h 96"/>
                <a:gd name="T20" fmla="*/ 108 w 108"/>
                <a:gd name="T21" fmla="*/ 18 h 96"/>
                <a:gd name="T22" fmla="*/ 0 w 108"/>
                <a:gd name="T23" fmla="*/ 18 h 96"/>
                <a:gd name="T24" fmla="*/ 0 w 108"/>
                <a:gd name="T2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96">
                  <a:moveTo>
                    <a:pt x="0" y="0"/>
                  </a:moveTo>
                  <a:cubicBezTo>
                    <a:pt x="0" y="0"/>
                    <a:pt x="0" y="0"/>
                    <a:pt x="0" y="0"/>
                  </a:cubicBezTo>
                  <a:cubicBezTo>
                    <a:pt x="0" y="39"/>
                    <a:pt x="0" y="39"/>
                    <a:pt x="0" y="39"/>
                  </a:cubicBezTo>
                  <a:cubicBezTo>
                    <a:pt x="0" y="79"/>
                    <a:pt x="0" y="79"/>
                    <a:pt x="0" y="79"/>
                  </a:cubicBezTo>
                  <a:cubicBezTo>
                    <a:pt x="0" y="89"/>
                    <a:pt x="8" y="96"/>
                    <a:pt x="18" y="96"/>
                  </a:cubicBezTo>
                  <a:cubicBezTo>
                    <a:pt x="108" y="96"/>
                    <a:pt x="108" y="96"/>
                    <a:pt x="108" y="96"/>
                  </a:cubicBezTo>
                  <a:cubicBezTo>
                    <a:pt x="18" y="96"/>
                    <a:pt x="18" y="96"/>
                    <a:pt x="18" y="96"/>
                  </a:cubicBezTo>
                  <a:cubicBezTo>
                    <a:pt x="28" y="96"/>
                    <a:pt x="35" y="89"/>
                    <a:pt x="35" y="79"/>
                  </a:cubicBezTo>
                  <a:cubicBezTo>
                    <a:pt x="108" y="79"/>
                    <a:pt x="108" y="79"/>
                    <a:pt x="108" y="79"/>
                  </a:cubicBezTo>
                  <a:cubicBezTo>
                    <a:pt x="108" y="39"/>
                    <a:pt x="108" y="39"/>
                    <a:pt x="108" y="39"/>
                  </a:cubicBezTo>
                  <a:cubicBezTo>
                    <a:pt x="108" y="18"/>
                    <a:pt x="108" y="18"/>
                    <a:pt x="108" y="18"/>
                  </a:cubicBezTo>
                  <a:cubicBezTo>
                    <a:pt x="0" y="18"/>
                    <a:pt x="0" y="18"/>
                    <a:pt x="0" y="18"/>
                  </a:cubicBezTo>
                  <a:cubicBezTo>
                    <a:pt x="0" y="0"/>
                    <a:pt x="0" y="0"/>
                    <a:pt x="0" y="0"/>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5" name="Freeform 230">
              <a:extLst>
                <a:ext uri="{FF2B5EF4-FFF2-40B4-BE49-F238E27FC236}">
                  <a16:creationId xmlns:a16="http://schemas.microsoft.com/office/drawing/2014/main" id="{32D8B8E7-91BB-4EBC-ABD6-B8BFCD1C5884}"/>
                </a:ext>
              </a:extLst>
            </p:cNvPr>
            <p:cNvSpPr>
              <a:spLocks/>
            </p:cNvSpPr>
            <p:nvPr/>
          </p:nvSpPr>
          <p:spPr bwMode="gray">
            <a:xfrm>
              <a:off x="14849476" y="3922713"/>
              <a:ext cx="404813" cy="63500"/>
            </a:xfrm>
            <a:custGeom>
              <a:avLst/>
              <a:gdLst>
                <a:gd name="T0" fmla="*/ 108 w 108"/>
                <a:gd name="T1" fmla="*/ 0 h 17"/>
                <a:gd name="T2" fmla="*/ 90 w 108"/>
                <a:gd name="T3" fmla="*/ 0 h 17"/>
                <a:gd name="T4" fmla="*/ 17 w 108"/>
                <a:gd name="T5" fmla="*/ 0 h 17"/>
                <a:gd name="T6" fmla="*/ 0 w 108"/>
                <a:gd name="T7" fmla="*/ 17 h 17"/>
                <a:gd name="T8" fmla="*/ 90 w 108"/>
                <a:gd name="T9" fmla="*/ 17 h 17"/>
                <a:gd name="T10" fmla="*/ 108 w 108"/>
                <a:gd name="T11" fmla="*/ 0 h 17"/>
              </a:gdLst>
              <a:ahLst/>
              <a:cxnLst>
                <a:cxn ang="0">
                  <a:pos x="T0" y="T1"/>
                </a:cxn>
                <a:cxn ang="0">
                  <a:pos x="T2" y="T3"/>
                </a:cxn>
                <a:cxn ang="0">
                  <a:pos x="T4" y="T5"/>
                </a:cxn>
                <a:cxn ang="0">
                  <a:pos x="T6" y="T7"/>
                </a:cxn>
                <a:cxn ang="0">
                  <a:pos x="T8" y="T9"/>
                </a:cxn>
                <a:cxn ang="0">
                  <a:pos x="T10" y="T11"/>
                </a:cxn>
              </a:cxnLst>
              <a:rect l="0" t="0" r="r" b="b"/>
              <a:pathLst>
                <a:path w="108" h="17">
                  <a:moveTo>
                    <a:pt x="108" y="0"/>
                  </a:moveTo>
                  <a:cubicBezTo>
                    <a:pt x="90" y="0"/>
                    <a:pt x="90" y="0"/>
                    <a:pt x="90" y="0"/>
                  </a:cubicBezTo>
                  <a:cubicBezTo>
                    <a:pt x="17" y="0"/>
                    <a:pt x="17" y="0"/>
                    <a:pt x="17" y="0"/>
                  </a:cubicBezTo>
                  <a:cubicBezTo>
                    <a:pt x="17" y="10"/>
                    <a:pt x="10" y="17"/>
                    <a:pt x="0" y="17"/>
                  </a:cubicBezTo>
                  <a:cubicBezTo>
                    <a:pt x="90" y="17"/>
                    <a:pt x="90" y="17"/>
                    <a:pt x="90" y="17"/>
                  </a:cubicBezTo>
                  <a:cubicBezTo>
                    <a:pt x="100" y="17"/>
                    <a:pt x="108" y="10"/>
                    <a:pt x="108" y="0"/>
                  </a:cubicBezTo>
                </a:path>
              </a:pathLst>
            </a:cu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6" name="Rectangle 231">
              <a:extLst>
                <a:ext uri="{FF2B5EF4-FFF2-40B4-BE49-F238E27FC236}">
                  <a16:creationId xmlns:a16="http://schemas.microsoft.com/office/drawing/2014/main" id="{22077E87-CA2C-4A0C-B28B-C0CC4DB15079}"/>
                </a:ext>
              </a:extLst>
            </p:cNvPr>
            <p:cNvSpPr>
              <a:spLocks noChangeArrowheads="1"/>
            </p:cNvSpPr>
            <p:nvPr/>
          </p:nvSpPr>
          <p:spPr bwMode="gray">
            <a:xfrm>
              <a:off x="14781213" y="3627438"/>
              <a:ext cx="404813" cy="66675"/>
            </a:xfrm>
            <a:prstGeom prst="rect">
              <a:avLst/>
            </a:pr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7" name="Rectangle 232">
              <a:extLst>
                <a:ext uri="{FF2B5EF4-FFF2-40B4-BE49-F238E27FC236}">
                  <a16:creationId xmlns:a16="http://schemas.microsoft.com/office/drawing/2014/main" id="{2C60EB22-7636-4E05-BA97-65B332C09F7A}"/>
                </a:ext>
              </a:extLst>
            </p:cNvPr>
            <p:cNvSpPr>
              <a:spLocks noChangeArrowheads="1"/>
            </p:cNvSpPr>
            <p:nvPr/>
          </p:nvSpPr>
          <p:spPr bwMode="gray">
            <a:xfrm>
              <a:off x="14781213" y="3627438"/>
              <a:ext cx="404813" cy="6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8" name="Freeform 233">
              <a:extLst>
                <a:ext uri="{FF2B5EF4-FFF2-40B4-BE49-F238E27FC236}">
                  <a16:creationId xmlns:a16="http://schemas.microsoft.com/office/drawing/2014/main" id="{F9C90737-0A32-4F40-A33D-7E4CFC707935}"/>
                </a:ext>
              </a:extLst>
            </p:cNvPr>
            <p:cNvSpPr>
              <a:spLocks noEditPoints="1"/>
            </p:cNvSpPr>
            <p:nvPr/>
          </p:nvSpPr>
          <p:spPr bwMode="gray">
            <a:xfrm>
              <a:off x="15332076" y="3960813"/>
              <a:ext cx="322263" cy="153987"/>
            </a:xfrm>
            <a:custGeom>
              <a:avLst/>
              <a:gdLst>
                <a:gd name="T0" fmla="*/ 1 w 86"/>
                <a:gd name="T1" fmla="*/ 39 h 41"/>
                <a:gd name="T2" fmla="*/ 1 w 86"/>
                <a:gd name="T3" fmla="*/ 39 h 41"/>
                <a:gd name="T4" fmla="*/ 1 w 86"/>
                <a:gd name="T5" fmla="*/ 39 h 41"/>
                <a:gd name="T6" fmla="*/ 85 w 86"/>
                <a:gd name="T7" fmla="*/ 38 h 41"/>
                <a:gd name="T8" fmla="*/ 84 w 86"/>
                <a:gd name="T9" fmla="*/ 41 h 41"/>
                <a:gd name="T10" fmla="*/ 85 w 86"/>
                <a:gd name="T11" fmla="*/ 38 h 41"/>
                <a:gd name="T12" fmla="*/ 43 w 86"/>
                <a:gd name="T13" fmla="*/ 0 h 41"/>
                <a:gd name="T14" fmla="*/ 0 w 86"/>
                <a:gd name="T15" fmla="*/ 32 h 41"/>
                <a:gd name="T16" fmla="*/ 1 w 86"/>
                <a:gd name="T17" fmla="*/ 39 h 41"/>
                <a:gd name="T18" fmla="*/ 1 w 86"/>
                <a:gd name="T19" fmla="*/ 37 h 41"/>
                <a:gd name="T20" fmla="*/ 86 w 86"/>
                <a:gd name="T21" fmla="*/ 37 h 41"/>
                <a:gd name="T22" fmla="*/ 86 w 86"/>
                <a:gd name="T23" fmla="*/ 32 h 41"/>
                <a:gd name="T24" fmla="*/ 43 w 86"/>
                <a:gd name="T25"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 h="41">
                  <a:moveTo>
                    <a:pt x="1" y="39"/>
                  </a:moveTo>
                  <a:cubicBezTo>
                    <a:pt x="1" y="39"/>
                    <a:pt x="1" y="39"/>
                    <a:pt x="1" y="39"/>
                  </a:cubicBezTo>
                  <a:cubicBezTo>
                    <a:pt x="1" y="39"/>
                    <a:pt x="1" y="39"/>
                    <a:pt x="1" y="39"/>
                  </a:cubicBezTo>
                  <a:moveTo>
                    <a:pt x="85" y="38"/>
                  </a:moveTo>
                  <a:cubicBezTo>
                    <a:pt x="85" y="39"/>
                    <a:pt x="85" y="40"/>
                    <a:pt x="84" y="41"/>
                  </a:cubicBezTo>
                  <a:cubicBezTo>
                    <a:pt x="85" y="40"/>
                    <a:pt x="85" y="39"/>
                    <a:pt x="85" y="38"/>
                  </a:cubicBezTo>
                  <a:moveTo>
                    <a:pt x="43" y="0"/>
                  </a:moveTo>
                  <a:cubicBezTo>
                    <a:pt x="19" y="0"/>
                    <a:pt x="0" y="14"/>
                    <a:pt x="0" y="32"/>
                  </a:cubicBezTo>
                  <a:cubicBezTo>
                    <a:pt x="0" y="34"/>
                    <a:pt x="1" y="37"/>
                    <a:pt x="1" y="39"/>
                  </a:cubicBezTo>
                  <a:cubicBezTo>
                    <a:pt x="1" y="38"/>
                    <a:pt x="1" y="37"/>
                    <a:pt x="1" y="37"/>
                  </a:cubicBezTo>
                  <a:cubicBezTo>
                    <a:pt x="86" y="37"/>
                    <a:pt x="86" y="37"/>
                    <a:pt x="86" y="37"/>
                  </a:cubicBezTo>
                  <a:cubicBezTo>
                    <a:pt x="86" y="35"/>
                    <a:pt x="86" y="34"/>
                    <a:pt x="86" y="32"/>
                  </a:cubicBezTo>
                  <a:cubicBezTo>
                    <a:pt x="86" y="14"/>
                    <a:pt x="67" y="0"/>
                    <a:pt x="4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9" name="Freeform 234">
              <a:extLst>
                <a:ext uri="{FF2B5EF4-FFF2-40B4-BE49-F238E27FC236}">
                  <a16:creationId xmlns:a16="http://schemas.microsoft.com/office/drawing/2014/main" id="{B79051FB-690D-4789-B6A3-1C50C9B6ACD0}"/>
                </a:ext>
              </a:extLst>
            </p:cNvPr>
            <p:cNvSpPr>
              <a:spLocks/>
            </p:cNvSpPr>
            <p:nvPr/>
          </p:nvSpPr>
          <p:spPr bwMode="gray">
            <a:xfrm>
              <a:off x="15335251" y="4098925"/>
              <a:ext cx="319088" cy="26987"/>
            </a:xfrm>
            <a:custGeom>
              <a:avLst/>
              <a:gdLst>
                <a:gd name="T0" fmla="*/ 85 w 85"/>
                <a:gd name="T1" fmla="*/ 0 h 7"/>
                <a:gd name="T2" fmla="*/ 85 w 85"/>
                <a:gd name="T3" fmla="*/ 0 h 7"/>
                <a:gd name="T4" fmla="*/ 0 w 85"/>
                <a:gd name="T5" fmla="*/ 0 h 7"/>
                <a:gd name="T6" fmla="*/ 0 w 85"/>
                <a:gd name="T7" fmla="*/ 2 h 7"/>
                <a:gd name="T8" fmla="*/ 0 w 85"/>
                <a:gd name="T9" fmla="*/ 2 h 7"/>
                <a:gd name="T10" fmla="*/ 0 w 85"/>
                <a:gd name="T11" fmla="*/ 2 h 7"/>
                <a:gd name="T12" fmla="*/ 3 w 85"/>
                <a:gd name="T13" fmla="*/ 7 h 7"/>
                <a:gd name="T14" fmla="*/ 82 w 85"/>
                <a:gd name="T15" fmla="*/ 7 h 7"/>
                <a:gd name="T16" fmla="*/ 83 w 85"/>
                <a:gd name="T17" fmla="*/ 4 h 7"/>
                <a:gd name="T18" fmla="*/ 84 w 85"/>
                <a:gd name="T19" fmla="*/ 1 h 7"/>
                <a:gd name="T20" fmla="*/ 85 w 85"/>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7">
                  <a:moveTo>
                    <a:pt x="85" y="0"/>
                  </a:moveTo>
                  <a:cubicBezTo>
                    <a:pt x="85" y="0"/>
                    <a:pt x="85" y="0"/>
                    <a:pt x="85" y="0"/>
                  </a:cubicBezTo>
                  <a:cubicBezTo>
                    <a:pt x="0" y="0"/>
                    <a:pt x="0" y="0"/>
                    <a:pt x="0" y="0"/>
                  </a:cubicBezTo>
                  <a:cubicBezTo>
                    <a:pt x="0" y="0"/>
                    <a:pt x="0" y="1"/>
                    <a:pt x="0" y="2"/>
                  </a:cubicBezTo>
                  <a:cubicBezTo>
                    <a:pt x="0" y="2"/>
                    <a:pt x="0" y="2"/>
                    <a:pt x="0" y="2"/>
                  </a:cubicBezTo>
                  <a:cubicBezTo>
                    <a:pt x="0" y="2"/>
                    <a:pt x="0" y="2"/>
                    <a:pt x="0" y="2"/>
                  </a:cubicBezTo>
                  <a:cubicBezTo>
                    <a:pt x="1" y="4"/>
                    <a:pt x="2" y="6"/>
                    <a:pt x="3" y="7"/>
                  </a:cubicBezTo>
                  <a:cubicBezTo>
                    <a:pt x="82" y="7"/>
                    <a:pt x="82" y="7"/>
                    <a:pt x="82" y="7"/>
                  </a:cubicBezTo>
                  <a:cubicBezTo>
                    <a:pt x="82" y="6"/>
                    <a:pt x="83" y="5"/>
                    <a:pt x="83" y="4"/>
                  </a:cubicBezTo>
                  <a:cubicBezTo>
                    <a:pt x="84" y="3"/>
                    <a:pt x="84" y="2"/>
                    <a:pt x="84" y="1"/>
                  </a:cubicBezTo>
                  <a:cubicBezTo>
                    <a:pt x="84" y="0"/>
                    <a:pt x="84" y="0"/>
                    <a:pt x="85" y="0"/>
                  </a:cubicBezTo>
                </a:path>
              </a:pathLst>
            </a:custGeom>
            <a:solidFill>
              <a:srgbClr val="EDED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6" name="Oval 241">
              <a:extLst>
                <a:ext uri="{FF2B5EF4-FFF2-40B4-BE49-F238E27FC236}">
                  <a16:creationId xmlns:a16="http://schemas.microsoft.com/office/drawing/2014/main" id="{CDB0D433-1562-4257-AFC4-AFA1FEF3F873}"/>
                </a:ext>
              </a:extLst>
            </p:cNvPr>
            <p:cNvSpPr>
              <a:spLocks noChangeArrowheads="1"/>
            </p:cNvSpPr>
            <p:nvPr/>
          </p:nvSpPr>
          <p:spPr bwMode="gray">
            <a:xfrm>
              <a:off x="15530513" y="1298575"/>
              <a:ext cx="730250" cy="733425"/>
            </a:xfrm>
            <a:prstGeom prst="ellipse">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7" name="Oval 242">
              <a:extLst>
                <a:ext uri="{FF2B5EF4-FFF2-40B4-BE49-F238E27FC236}">
                  <a16:creationId xmlns:a16="http://schemas.microsoft.com/office/drawing/2014/main" id="{CD673E64-11BF-4D76-BECD-CEA67FD825B7}"/>
                </a:ext>
              </a:extLst>
            </p:cNvPr>
            <p:cNvSpPr>
              <a:spLocks noChangeArrowheads="1"/>
            </p:cNvSpPr>
            <p:nvPr/>
          </p:nvSpPr>
          <p:spPr bwMode="gray">
            <a:xfrm>
              <a:off x="15594013" y="1366838"/>
              <a:ext cx="603250" cy="598487"/>
            </a:xfrm>
            <a:prstGeom prst="ellipse">
              <a:avLst/>
            </a:prstGeom>
            <a:solidFill>
              <a:srgbClr val="D9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8" name="Oval 243">
              <a:extLst>
                <a:ext uri="{FF2B5EF4-FFF2-40B4-BE49-F238E27FC236}">
                  <a16:creationId xmlns:a16="http://schemas.microsoft.com/office/drawing/2014/main" id="{C5E71A3B-0B6B-4544-A872-77D7C29ADD5E}"/>
                </a:ext>
              </a:extLst>
            </p:cNvPr>
            <p:cNvSpPr>
              <a:spLocks noChangeArrowheads="1"/>
            </p:cNvSpPr>
            <p:nvPr/>
          </p:nvSpPr>
          <p:spPr bwMode="gray">
            <a:xfrm>
              <a:off x="15609888" y="1377950"/>
              <a:ext cx="573088" cy="5762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9" name="Oval 244">
              <a:extLst>
                <a:ext uri="{FF2B5EF4-FFF2-40B4-BE49-F238E27FC236}">
                  <a16:creationId xmlns:a16="http://schemas.microsoft.com/office/drawing/2014/main" id="{0E3CC131-0585-4D53-87C5-F151D2031956}"/>
                </a:ext>
              </a:extLst>
            </p:cNvPr>
            <p:cNvSpPr>
              <a:spLocks noChangeArrowheads="1"/>
            </p:cNvSpPr>
            <p:nvPr/>
          </p:nvSpPr>
          <p:spPr bwMode="gray">
            <a:xfrm>
              <a:off x="15890876" y="1395413"/>
              <a:ext cx="14288" cy="15875"/>
            </a:xfrm>
            <a:prstGeom prst="ellipse">
              <a:avLst/>
            </a:prstGeom>
            <a:solidFill>
              <a:srgbClr val="35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0" name="Freeform 245">
              <a:extLst>
                <a:ext uri="{FF2B5EF4-FFF2-40B4-BE49-F238E27FC236}">
                  <a16:creationId xmlns:a16="http://schemas.microsoft.com/office/drawing/2014/main" id="{8513B339-AE78-4C76-BB36-706EE1CA62E6}"/>
                </a:ext>
              </a:extLst>
            </p:cNvPr>
            <p:cNvSpPr>
              <a:spLocks/>
            </p:cNvSpPr>
            <p:nvPr/>
          </p:nvSpPr>
          <p:spPr bwMode="gray">
            <a:xfrm>
              <a:off x="15755938" y="1430338"/>
              <a:ext cx="19050" cy="14287"/>
            </a:xfrm>
            <a:custGeom>
              <a:avLst/>
              <a:gdLst>
                <a:gd name="T0" fmla="*/ 4 w 5"/>
                <a:gd name="T1" fmla="*/ 1 h 4"/>
                <a:gd name="T2" fmla="*/ 3 w 5"/>
                <a:gd name="T3" fmla="*/ 4 h 4"/>
                <a:gd name="T4" fmla="*/ 1 w 5"/>
                <a:gd name="T5" fmla="*/ 3 h 4"/>
                <a:gd name="T6" fmla="*/ 1 w 5"/>
                <a:gd name="T7" fmla="*/ 0 h 4"/>
                <a:gd name="T8" fmla="*/ 4 w 5"/>
                <a:gd name="T9" fmla="*/ 1 h 4"/>
              </a:gdLst>
              <a:ahLst/>
              <a:cxnLst>
                <a:cxn ang="0">
                  <a:pos x="T0" y="T1"/>
                </a:cxn>
                <a:cxn ang="0">
                  <a:pos x="T2" y="T3"/>
                </a:cxn>
                <a:cxn ang="0">
                  <a:pos x="T4" y="T5"/>
                </a:cxn>
                <a:cxn ang="0">
                  <a:pos x="T6" y="T7"/>
                </a:cxn>
                <a:cxn ang="0">
                  <a:pos x="T8" y="T9"/>
                </a:cxn>
              </a:cxnLst>
              <a:rect l="0" t="0" r="r" b="b"/>
              <a:pathLst>
                <a:path w="5" h="4">
                  <a:moveTo>
                    <a:pt x="4" y="1"/>
                  </a:moveTo>
                  <a:cubicBezTo>
                    <a:pt x="5" y="2"/>
                    <a:pt x="4" y="3"/>
                    <a:pt x="3" y="4"/>
                  </a:cubicBezTo>
                  <a:cubicBezTo>
                    <a:pt x="2" y="4"/>
                    <a:pt x="1" y="4"/>
                    <a:pt x="1" y="3"/>
                  </a:cubicBezTo>
                  <a:cubicBezTo>
                    <a:pt x="0" y="2"/>
                    <a:pt x="1" y="1"/>
                    <a:pt x="1" y="0"/>
                  </a:cubicBezTo>
                  <a:cubicBezTo>
                    <a:pt x="2" y="0"/>
                    <a:pt x="4" y="0"/>
                    <a:pt x="4" y="1"/>
                  </a:cubicBezTo>
                  <a:close/>
                </a:path>
              </a:pathLst>
            </a:custGeom>
            <a:solidFill>
              <a:srgbClr val="35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1" name="Freeform 246">
              <a:extLst>
                <a:ext uri="{FF2B5EF4-FFF2-40B4-BE49-F238E27FC236}">
                  <a16:creationId xmlns:a16="http://schemas.microsoft.com/office/drawing/2014/main" id="{EAC465E6-B6A4-42CD-A8FE-7CC628D06699}"/>
                </a:ext>
              </a:extLst>
            </p:cNvPr>
            <p:cNvSpPr>
              <a:spLocks/>
            </p:cNvSpPr>
            <p:nvPr/>
          </p:nvSpPr>
          <p:spPr bwMode="gray">
            <a:xfrm>
              <a:off x="15657513" y="1527175"/>
              <a:ext cx="19050" cy="14287"/>
            </a:xfrm>
            <a:custGeom>
              <a:avLst/>
              <a:gdLst>
                <a:gd name="T0" fmla="*/ 4 w 5"/>
                <a:gd name="T1" fmla="*/ 0 h 4"/>
                <a:gd name="T2" fmla="*/ 4 w 5"/>
                <a:gd name="T3" fmla="*/ 3 h 4"/>
                <a:gd name="T4" fmla="*/ 2 w 5"/>
                <a:gd name="T5" fmla="*/ 4 h 4"/>
                <a:gd name="T6" fmla="*/ 1 w 5"/>
                <a:gd name="T7" fmla="*/ 1 h 4"/>
                <a:gd name="T8" fmla="*/ 4 w 5"/>
                <a:gd name="T9" fmla="*/ 0 h 4"/>
              </a:gdLst>
              <a:ahLst/>
              <a:cxnLst>
                <a:cxn ang="0">
                  <a:pos x="T0" y="T1"/>
                </a:cxn>
                <a:cxn ang="0">
                  <a:pos x="T2" y="T3"/>
                </a:cxn>
                <a:cxn ang="0">
                  <a:pos x="T4" y="T5"/>
                </a:cxn>
                <a:cxn ang="0">
                  <a:pos x="T6" y="T7"/>
                </a:cxn>
                <a:cxn ang="0">
                  <a:pos x="T8" y="T9"/>
                </a:cxn>
              </a:cxnLst>
              <a:rect l="0" t="0" r="r" b="b"/>
              <a:pathLst>
                <a:path w="5" h="4">
                  <a:moveTo>
                    <a:pt x="4" y="0"/>
                  </a:moveTo>
                  <a:cubicBezTo>
                    <a:pt x="5" y="1"/>
                    <a:pt x="5" y="2"/>
                    <a:pt x="4" y="3"/>
                  </a:cubicBezTo>
                  <a:cubicBezTo>
                    <a:pt x="4" y="4"/>
                    <a:pt x="3" y="4"/>
                    <a:pt x="2" y="4"/>
                  </a:cubicBezTo>
                  <a:cubicBezTo>
                    <a:pt x="1" y="3"/>
                    <a:pt x="0" y="2"/>
                    <a:pt x="1" y="1"/>
                  </a:cubicBezTo>
                  <a:cubicBezTo>
                    <a:pt x="2" y="0"/>
                    <a:pt x="3" y="0"/>
                    <a:pt x="4" y="0"/>
                  </a:cubicBezTo>
                  <a:close/>
                </a:path>
              </a:pathLst>
            </a:custGeom>
            <a:solidFill>
              <a:srgbClr val="35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2" name="Oval 247">
              <a:extLst>
                <a:ext uri="{FF2B5EF4-FFF2-40B4-BE49-F238E27FC236}">
                  <a16:creationId xmlns:a16="http://schemas.microsoft.com/office/drawing/2014/main" id="{A373E235-5520-4583-ADFA-0A5C304BF578}"/>
                </a:ext>
              </a:extLst>
            </p:cNvPr>
            <p:cNvSpPr>
              <a:spLocks noChangeArrowheads="1"/>
            </p:cNvSpPr>
            <p:nvPr/>
          </p:nvSpPr>
          <p:spPr bwMode="gray">
            <a:xfrm>
              <a:off x="15624176" y="1658938"/>
              <a:ext cx="15875" cy="14287"/>
            </a:xfrm>
            <a:prstGeom prst="ellipse">
              <a:avLst/>
            </a:prstGeom>
            <a:solidFill>
              <a:srgbClr val="35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3" name="Freeform 248">
              <a:extLst>
                <a:ext uri="{FF2B5EF4-FFF2-40B4-BE49-F238E27FC236}">
                  <a16:creationId xmlns:a16="http://schemas.microsoft.com/office/drawing/2014/main" id="{AC9D1A93-64A4-4A39-875C-CD63713A0669}"/>
                </a:ext>
              </a:extLst>
            </p:cNvPr>
            <p:cNvSpPr>
              <a:spLocks/>
            </p:cNvSpPr>
            <p:nvPr/>
          </p:nvSpPr>
          <p:spPr bwMode="gray">
            <a:xfrm>
              <a:off x="15657513" y="1789113"/>
              <a:ext cx="19050" cy="14287"/>
            </a:xfrm>
            <a:custGeom>
              <a:avLst/>
              <a:gdLst>
                <a:gd name="T0" fmla="*/ 2 w 5"/>
                <a:gd name="T1" fmla="*/ 0 h 4"/>
                <a:gd name="T2" fmla="*/ 4 w 5"/>
                <a:gd name="T3" fmla="*/ 1 h 4"/>
                <a:gd name="T4" fmla="*/ 4 w 5"/>
                <a:gd name="T5" fmla="*/ 4 h 4"/>
                <a:gd name="T6" fmla="*/ 1 w 5"/>
                <a:gd name="T7" fmla="*/ 3 h 4"/>
                <a:gd name="T8" fmla="*/ 2 w 5"/>
                <a:gd name="T9" fmla="*/ 0 h 4"/>
              </a:gdLst>
              <a:ahLst/>
              <a:cxnLst>
                <a:cxn ang="0">
                  <a:pos x="T0" y="T1"/>
                </a:cxn>
                <a:cxn ang="0">
                  <a:pos x="T2" y="T3"/>
                </a:cxn>
                <a:cxn ang="0">
                  <a:pos x="T4" y="T5"/>
                </a:cxn>
                <a:cxn ang="0">
                  <a:pos x="T6" y="T7"/>
                </a:cxn>
                <a:cxn ang="0">
                  <a:pos x="T8" y="T9"/>
                </a:cxn>
              </a:cxnLst>
              <a:rect l="0" t="0" r="r" b="b"/>
              <a:pathLst>
                <a:path w="5" h="4">
                  <a:moveTo>
                    <a:pt x="2" y="0"/>
                  </a:moveTo>
                  <a:cubicBezTo>
                    <a:pt x="3" y="0"/>
                    <a:pt x="4" y="0"/>
                    <a:pt x="4" y="1"/>
                  </a:cubicBezTo>
                  <a:cubicBezTo>
                    <a:pt x="5" y="2"/>
                    <a:pt x="5" y="3"/>
                    <a:pt x="4" y="4"/>
                  </a:cubicBezTo>
                  <a:cubicBezTo>
                    <a:pt x="3" y="4"/>
                    <a:pt x="2" y="4"/>
                    <a:pt x="1" y="3"/>
                  </a:cubicBezTo>
                  <a:cubicBezTo>
                    <a:pt x="0" y="2"/>
                    <a:pt x="1" y="1"/>
                    <a:pt x="2" y="0"/>
                  </a:cubicBezTo>
                  <a:close/>
                </a:path>
              </a:pathLst>
            </a:custGeom>
            <a:solidFill>
              <a:srgbClr val="35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4" name="Freeform 249">
              <a:extLst>
                <a:ext uri="{FF2B5EF4-FFF2-40B4-BE49-F238E27FC236}">
                  <a16:creationId xmlns:a16="http://schemas.microsoft.com/office/drawing/2014/main" id="{E940CCA7-5DB2-42BB-8BDA-DB870829D226}"/>
                </a:ext>
              </a:extLst>
            </p:cNvPr>
            <p:cNvSpPr>
              <a:spLocks/>
            </p:cNvSpPr>
            <p:nvPr/>
          </p:nvSpPr>
          <p:spPr bwMode="gray">
            <a:xfrm>
              <a:off x="15755938" y="1882775"/>
              <a:ext cx="19050" cy="19050"/>
            </a:xfrm>
            <a:custGeom>
              <a:avLst/>
              <a:gdLst>
                <a:gd name="T0" fmla="*/ 1 w 5"/>
                <a:gd name="T1" fmla="*/ 2 h 5"/>
                <a:gd name="T2" fmla="*/ 3 w 5"/>
                <a:gd name="T3" fmla="*/ 1 h 5"/>
                <a:gd name="T4" fmla="*/ 4 w 5"/>
                <a:gd name="T5" fmla="*/ 4 h 5"/>
                <a:gd name="T6" fmla="*/ 1 w 5"/>
                <a:gd name="T7" fmla="*/ 4 h 5"/>
                <a:gd name="T8" fmla="*/ 1 w 5"/>
                <a:gd name="T9" fmla="*/ 2 h 5"/>
              </a:gdLst>
              <a:ahLst/>
              <a:cxnLst>
                <a:cxn ang="0">
                  <a:pos x="T0" y="T1"/>
                </a:cxn>
                <a:cxn ang="0">
                  <a:pos x="T2" y="T3"/>
                </a:cxn>
                <a:cxn ang="0">
                  <a:pos x="T4" y="T5"/>
                </a:cxn>
                <a:cxn ang="0">
                  <a:pos x="T6" y="T7"/>
                </a:cxn>
                <a:cxn ang="0">
                  <a:pos x="T8" y="T9"/>
                </a:cxn>
              </a:cxnLst>
              <a:rect l="0" t="0" r="r" b="b"/>
              <a:pathLst>
                <a:path w="5" h="5">
                  <a:moveTo>
                    <a:pt x="1" y="2"/>
                  </a:moveTo>
                  <a:cubicBezTo>
                    <a:pt x="1" y="1"/>
                    <a:pt x="2" y="0"/>
                    <a:pt x="3" y="1"/>
                  </a:cubicBezTo>
                  <a:cubicBezTo>
                    <a:pt x="4" y="2"/>
                    <a:pt x="5" y="3"/>
                    <a:pt x="4" y="4"/>
                  </a:cubicBezTo>
                  <a:cubicBezTo>
                    <a:pt x="4" y="5"/>
                    <a:pt x="2" y="5"/>
                    <a:pt x="1" y="4"/>
                  </a:cubicBezTo>
                  <a:cubicBezTo>
                    <a:pt x="1" y="4"/>
                    <a:pt x="0" y="3"/>
                    <a:pt x="1" y="2"/>
                  </a:cubicBezTo>
                  <a:close/>
                </a:path>
              </a:pathLst>
            </a:custGeom>
            <a:solidFill>
              <a:srgbClr val="35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5" name="Oval 250">
              <a:extLst>
                <a:ext uri="{FF2B5EF4-FFF2-40B4-BE49-F238E27FC236}">
                  <a16:creationId xmlns:a16="http://schemas.microsoft.com/office/drawing/2014/main" id="{17CBE5A7-827A-4621-B63B-1750B74B6ED6}"/>
                </a:ext>
              </a:extLst>
            </p:cNvPr>
            <p:cNvSpPr>
              <a:spLocks noChangeArrowheads="1"/>
            </p:cNvSpPr>
            <p:nvPr/>
          </p:nvSpPr>
          <p:spPr bwMode="gray">
            <a:xfrm>
              <a:off x="15890876" y="1920875"/>
              <a:ext cx="14288" cy="14287"/>
            </a:xfrm>
            <a:prstGeom prst="ellipse">
              <a:avLst/>
            </a:prstGeom>
            <a:solidFill>
              <a:srgbClr val="35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6" name="Freeform 251">
              <a:extLst>
                <a:ext uri="{FF2B5EF4-FFF2-40B4-BE49-F238E27FC236}">
                  <a16:creationId xmlns:a16="http://schemas.microsoft.com/office/drawing/2014/main" id="{9AB0DB9A-0032-4D8B-91E4-31CD1F052BC5}"/>
                </a:ext>
              </a:extLst>
            </p:cNvPr>
            <p:cNvSpPr>
              <a:spLocks/>
            </p:cNvSpPr>
            <p:nvPr/>
          </p:nvSpPr>
          <p:spPr bwMode="gray">
            <a:xfrm>
              <a:off x="16017876" y="1882775"/>
              <a:ext cx="19050" cy="19050"/>
            </a:xfrm>
            <a:custGeom>
              <a:avLst/>
              <a:gdLst>
                <a:gd name="T0" fmla="*/ 1 w 5"/>
                <a:gd name="T1" fmla="*/ 4 h 5"/>
                <a:gd name="T2" fmla="*/ 2 w 5"/>
                <a:gd name="T3" fmla="*/ 1 h 5"/>
                <a:gd name="T4" fmla="*/ 4 w 5"/>
                <a:gd name="T5" fmla="*/ 2 h 5"/>
                <a:gd name="T6" fmla="*/ 4 w 5"/>
                <a:gd name="T7" fmla="*/ 4 h 5"/>
                <a:gd name="T8" fmla="*/ 1 w 5"/>
                <a:gd name="T9" fmla="*/ 4 h 5"/>
              </a:gdLst>
              <a:ahLst/>
              <a:cxnLst>
                <a:cxn ang="0">
                  <a:pos x="T0" y="T1"/>
                </a:cxn>
                <a:cxn ang="0">
                  <a:pos x="T2" y="T3"/>
                </a:cxn>
                <a:cxn ang="0">
                  <a:pos x="T4" y="T5"/>
                </a:cxn>
                <a:cxn ang="0">
                  <a:pos x="T6" y="T7"/>
                </a:cxn>
                <a:cxn ang="0">
                  <a:pos x="T8" y="T9"/>
                </a:cxn>
              </a:cxnLst>
              <a:rect l="0" t="0" r="r" b="b"/>
              <a:pathLst>
                <a:path w="5" h="5">
                  <a:moveTo>
                    <a:pt x="1" y="4"/>
                  </a:moveTo>
                  <a:cubicBezTo>
                    <a:pt x="0" y="3"/>
                    <a:pt x="1" y="2"/>
                    <a:pt x="2" y="1"/>
                  </a:cubicBezTo>
                  <a:cubicBezTo>
                    <a:pt x="3" y="0"/>
                    <a:pt x="4" y="1"/>
                    <a:pt x="4" y="2"/>
                  </a:cubicBezTo>
                  <a:cubicBezTo>
                    <a:pt x="5" y="3"/>
                    <a:pt x="5" y="4"/>
                    <a:pt x="4" y="4"/>
                  </a:cubicBezTo>
                  <a:cubicBezTo>
                    <a:pt x="3" y="5"/>
                    <a:pt x="1" y="5"/>
                    <a:pt x="1" y="4"/>
                  </a:cubicBezTo>
                  <a:close/>
                </a:path>
              </a:pathLst>
            </a:custGeom>
            <a:solidFill>
              <a:srgbClr val="35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7" name="Freeform 252">
              <a:extLst>
                <a:ext uri="{FF2B5EF4-FFF2-40B4-BE49-F238E27FC236}">
                  <a16:creationId xmlns:a16="http://schemas.microsoft.com/office/drawing/2014/main" id="{EDD2A19A-A21E-45F9-9E8B-0E20CE248017}"/>
                </a:ext>
              </a:extLst>
            </p:cNvPr>
            <p:cNvSpPr>
              <a:spLocks/>
            </p:cNvSpPr>
            <p:nvPr/>
          </p:nvSpPr>
          <p:spPr bwMode="gray">
            <a:xfrm>
              <a:off x="16114713" y="1789113"/>
              <a:ext cx="19050" cy="14287"/>
            </a:xfrm>
            <a:custGeom>
              <a:avLst/>
              <a:gdLst>
                <a:gd name="T0" fmla="*/ 1 w 5"/>
                <a:gd name="T1" fmla="*/ 4 h 4"/>
                <a:gd name="T2" fmla="*/ 1 w 5"/>
                <a:gd name="T3" fmla="*/ 1 h 4"/>
                <a:gd name="T4" fmla="*/ 3 w 5"/>
                <a:gd name="T5" fmla="*/ 0 h 4"/>
                <a:gd name="T6" fmla="*/ 4 w 5"/>
                <a:gd name="T7" fmla="*/ 3 h 4"/>
                <a:gd name="T8" fmla="*/ 1 w 5"/>
                <a:gd name="T9" fmla="*/ 4 h 4"/>
              </a:gdLst>
              <a:ahLst/>
              <a:cxnLst>
                <a:cxn ang="0">
                  <a:pos x="T0" y="T1"/>
                </a:cxn>
                <a:cxn ang="0">
                  <a:pos x="T2" y="T3"/>
                </a:cxn>
                <a:cxn ang="0">
                  <a:pos x="T4" y="T5"/>
                </a:cxn>
                <a:cxn ang="0">
                  <a:pos x="T6" y="T7"/>
                </a:cxn>
                <a:cxn ang="0">
                  <a:pos x="T8" y="T9"/>
                </a:cxn>
              </a:cxnLst>
              <a:rect l="0" t="0" r="r" b="b"/>
              <a:pathLst>
                <a:path w="5" h="4">
                  <a:moveTo>
                    <a:pt x="1" y="4"/>
                  </a:moveTo>
                  <a:cubicBezTo>
                    <a:pt x="0" y="3"/>
                    <a:pt x="0" y="2"/>
                    <a:pt x="1" y="1"/>
                  </a:cubicBezTo>
                  <a:cubicBezTo>
                    <a:pt x="1" y="0"/>
                    <a:pt x="2" y="0"/>
                    <a:pt x="3" y="0"/>
                  </a:cubicBezTo>
                  <a:cubicBezTo>
                    <a:pt x="4" y="1"/>
                    <a:pt x="5" y="2"/>
                    <a:pt x="4" y="3"/>
                  </a:cubicBezTo>
                  <a:cubicBezTo>
                    <a:pt x="4" y="4"/>
                    <a:pt x="2" y="4"/>
                    <a:pt x="1" y="4"/>
                  </a:cubicBezTo>
                  <a:close/>
                </a:path>
              </a:pathLst>
            </a:custGeom>
            <a:solidFill>
              <a:srgbClr val="35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8" name="Oval 253">
              <a:extLst>
                <a:ext uri="{FF2B5EF4-FFF2-40B4-BE49-F238E27FC236}">
                  <a16:creationId xmlns:a16="http://schemas.microsoft.com/office/drawing/2014/main" id="{92C5EF8A-6CEF-4619-BC18-D33CF1B5F4C5}"/>
                </a:ext>
              </a:extLst>
            </p:cNvPr>
            <p:cNvSpPr>
              <a:spLocks noChangeArrowheads="1"/>
            </p:cNvSpPr>
            <p:nvPr/>
          </p:nvSpPr>
          <p:spPr bwMode="gray">
            <a:xfrm>
              <a:off x="16152813" y="1658938"/>
              <a:ext cx="14288" cy="14287"/>
            </a:xfrm>
            <a:prstGeom prst="ellipse">
              <a:avLst/>
            </a:prstGeom>
            <a:solidFill>
              <a:srgbClr val="35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9" name="Freeform 254">
              <a:extLst>
                <a:ext uri="{FF2B5EF4-FFF2-40B4-BE49-F238E27FC236}">
                  <a16:creationId xmlns:a16="http://schemas.microsoft.com/office/drawing/2014/main" id="{D35176A0-0496-4507-844A-EF9287692B2F}"/>
                </a:ext>
              </a:extLst>
            </p:cNvPr>
            <p:cNvSpPr>
              <a:spLocks/>
            </p:cNvSpPr>
            <p:nvPr/>
          </p:nvSpPr>
          <p:spPr bwMode="gray">
            <a:xfrm>
              <a:off x="16114713" y="1527175"/>
              <a:ext cx="19050" cy="14287"/>
            </a:xfrm>
            <a:custGeom>
              <a:avLst/>
              <a:gdLst>
                <a:gd name="T0" fmla="*/ 3 w 5"/>
                <a:gd name="T1" fmla="*/ 4 h 4"/>
                <a:gd name="T2" fmla="*/ 1 w 5"/>
                <a:gd name="T3" fmla="*/ 3 h 4"/>
                <a:gd name="T4" fmla="*/ 1 w 5"/>
                <a:gd name="T5" fmla="*/ 0 h 4"/>
                <a:gd name="T6" fmla="*/ 4 w 5"/>
                <a:gd name="T7" fmla="*/ 1 h 4"/>
                <a:gd name="T8" fmla="*/ 3 w 5"/>
                <a:gd name="T9" fmla="*/ 4 h 4"/>
              </a:gdLst>
              <a:ahLst/>
              <a:cxnLst>
                <a:cxn ang="0">
                  <a:pos x="T0" y="T1"/>
                </a:cxn>
                <a:cxn ang="0">
                  <a:pos x="T2" y="T3"/>
                </a:cxn>
                <a:cxn ang="0">
                  <a:pos x="T4" y="T5"/>
                </a:cxn>
                <a:cxn ang="0">
                  <a:pos x="T6" y="T7"/>
                </a:cxn>
                <a:cxn ang="0">
                  <a:pos x="T8" y="T9"/>
                </a:cxn>
              </a:cxnLst>
              <a:rect l="0" t="0" r="r" b="b"/>
              <a:pathLst>
                <a:path w="5" h="4">
                  <a:moveTo>
                    <a:pt x="3" y="4"/>
                  </a:moveTo>
                  <a:cubicBezTo>
                    <a:pt x="2" y="4"/>
                    <a:pt x="1" y="4"/>
                    <a:pt x="1" y="3"/>
                  </a:cubicBezTo>
                  <a:cubicBezTo>
                    <a:pt x="0" y="2"/>
                    <a:pt x="0" y="1"/>
                    <a:pt x="1" y="0"/>
                  </a:cubicBezTo>
                  <a:cubicBezTo>
                    <a:pt x="2" y="0"/>
                    <a:pt x="4" y="0"/>
                    <a:pt x="4" y="1"/>
                  </a:cubicBezTo>
                  <a:cubicBezTo>
                    <a:pt x="5" y="2"/>
                    <a:pt x="4" y="3"/>
                    <a:pt x="3" y="4"/>
                  </a:cubicBezTo>
                  <a:close/>
                </a:path>
              </a:pathLst>
            </a:custGeom>
            <a:solidFill>
              <a:srgbClr val="35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0" name="Freeform 255">
              <a:extLst>
                <a:ext uri="{FF2B5EF4-FFF2-40B4-BE49-F238E27FC236}">
                  <a16:creationId xmlns:a16="http://schemas.microsoft.com/office/drawing/2014/main" id="{E50086F9-2C44-4FE8-B923-12D76D1D5495}"/>
                </a:ext>
              </a:extLst>
            </p:cNvPr>
            <p:cNvSpPr>
              <a:spLocks/>
            </p:cNvSpPr>
            <p:nvPr/>
          </p:nvSpPr>
          <p:spPr bwMode="gray">
            <a:xfrm>
              <a:off x="16017876" y="1430338"/>
              <a:ext cx="19050" cy="14287"/>
            </a:xfrm>
            <a:custGeom>
              <a:avLst/>
              <a:gdLst>
                <a:gd name="T0" fmla="*/ 4 w 5"/>
                <a:gd name="T1" fmla="*/ 3 h 4"/>
                <a:gd name="T2" fmla="*/ 2 w 5"/>
                <a:gd name="T3" fmla="*/ 4 h 4"/>
                <a:gd name="T4" fmla="*/ 1 w 5"/>
                <a:gd name="T5" fmla="*/ 1 h 4"/>
                <a:gd name="T6" fmla="*/ 4 w 5"/>
                <a:gd name="T7" fmla="*/ 0 h 4"/>
                <a:gd name="T8" fmla="*/ 4 w 5"/>
                <a:gd name="T9" fmla="*/ 3 h 4"/>
              </a:gdLst>
              <a:ahLst/>
              <a:cxnLst>
                <a:cxn ang="0">
                  <a:pos x="T0" y="T1"/>
                </a:cxn>
                <a:cxn ang="0">
                  <a:pos x="T2" y="T3"/>
                </a:cxn>
                <a:cxn ang="0">
                  <a:pos x="T4" y="T5"/>
                </a:cxn>
                <a:cxn ang="0">
                  <a:pos x="T6" y="T7"/>
                </a:cxn>
                <a:cxn ang="0">
                  <a:pos x="T8" y="T9"/>
                </a:cxn>
              </a:cxnLst>
              <a:rect l="0" t="0" r="r" b="b"/>
              <a:pathLst>
                <a:path w="5" h="4">
                  <a:moveTo>
                    <a:pt x="4" y="3"/>
                  </a:moveTo>
                  <a:cubicBezTo>
                    <a:pt x="4" y="4"/>
                    <a:pt x="3" y="4"/>
                    <a:pt x="2" y="4"/>
                  </a:cubicBezTo>
                  <a:cubicBezTo>
                    <a:pt x="1" y="3"/>
                    <a:pt x="0" y="2"/>
                    <a:pt x="1" y="1"/>
                  </a:cubicBezTo>
                  <a:cubicBezTo>
                    <a:pt x="1" y="0"/>
                    <a:pt x="3" y="0"/>
                    <a:pt x="4" y="0"/>
                  </a:cubicBezTo>
                  <a:cubicBezTo>
                    <a:pt x="5" y="1"/>
                    <a:pt x="5" y="2"/>
                    <a:pt x="4" y="3"/>
                  </a:cubicBezTo>
                  <a:close/>
                </a:path>
              </a:pathLst>
            </a:custGeom>
            <a:solidFill>
              <a:srgbClr val="35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1" name="Rectangle 256">
              <a:extLst>
                <a:ext uri="{FF2B5EF4-FFF2-40B4-BE49-F238E27FC236}">
                  <a16:creationId xmlns:a16="http://schemas.microsoft.com/office/drawing/2014/main" id="{740308D0-B7ED-4599-B92E-BA2698E32B12}"/>
                </a:ext>
              </a:extLst>
            </p:cNvPr>
            <p:cNvSpPr>
              <a:spLocks noChangeArrowheads="1"/>
            </p:cNvSpPr>
            <p:nvPr/>
          </p:nvSpPr>
          <p:spPr bwMode="gray">
            <a:xfrm>
              <a:off x="15886113" y="1665288"/>
              <a:ext cx="19050" cy="146050"/>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2" name="Rectangle 257">
              <a:extLst>
                <a:ext uri="{FF2B5EF4-FFF2-40B4-BE49-F238E27FC236}">
                  <a16:creationId xmlns:a16="http://schemas.microsoft.com/office/drawing/2014/main" id="{B7BF6A24-5438-43B1-A1F2-354677F40F9C}"/>
                </a:ext>
              </a:extLst>
            </p:cNvPr>
            <p:cNvSpPr>
              <a:spLocks noChangeArrowheads="1"/>
            </p:cNvSpPr>
            <p:nvPr/>
          </p:nvSpPr>
          <p:spPr bwMode="gray">
            <a:xfrm>
              <a:off x="15913101" y="1658938"/>
              <a:ext cx="179388" cy="1428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3" name="Oval 258">
              <a:extLst>
                <a:ext uri="{FF2B5EF4-FFF2-40B4-BE49-F238E27FC236}">
                  <a16:creationId xmlns:a16="http://schemas.microsoft.com/office/drawing/2014/main" id="{D11B963C-5369-493F-A8FD-A62D049683AA}"/>
                </a:ext>
              </a:extLst>
            </p:cNvPr>
            <p:cNvSpPr>
              <a:spLocks noChangeArrowheads="1"/>
            </p:cNvSpPr>
            <p:nvPr/>
          </p:nvSpPr>
          <p:spPr bwMode="gray">
            <a:xfrm>
              <a:off x="15863888" y="1631950"/>
              <a:ext cx="68263" cy="66675"/>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4" name="Freeform 259">
              <a:extLst>
                <a:ext uri="{FF2B5EF4-FFF2-40B4-BE49-F238E27FC236}">
                  <a16:creationId xmlns:a16="http://schemas.microsoft.com/office/drawing/2014/main" id="{9B7988E2-519D-40C1-B122-40D77ECC079E}"/>
                </a:ext>
              </a:extLst>
            </p:cNvPr>
            <p:cNvSpPr>
              <a:spLocks/>
            </p:cNvSpPr>
            <p:nvPr/>
          </p:nvSpPr>
          <p:spPr bwMode="gray">
            <a:xfrm>
              <a:off x="15755938" y="1524000"/>
              <a:ext cx="176213" cy="174625"/>
            </a:xfrm>
            <a:custGeom>
              <a:avLst/>
              <a:gdLst>
                <a:gd name="T0" fmla="*/ 111 w 111"/>
                <a:gd name="T1" fmla="*/ 108 h 110"/>
                <a:gd name="T2" fmla="*/ 106 w 111"/>
                <a:gd name="T3" fmla="*/ 110 h 110"/>
                <a:gd name="T4" fmla="*/ 0 w 111"/>
                <a:gd name="T5" fmla="*/ 4 h 110"/>
                <a:gd name="T6" fmla="*/ 2 w 111"/>
                <a:gd name="T7" fmla="*/ 0 h 110"/>
                <a:gd name="T8" fmla="*/ 111 w 111"/>
                <a:gd name="T9" fmla="*/ 108 h 110"/>
              </a:gdLst>
              <a:ahLst/>
              <a:cxnLst>
                <a:cxn ang="0">
                  <a:pos x="T0" y="T1"/>
                </a:cxn>
                <a:cxn ang="0">
                  <a:pos x="T2" y="T3"/>
                </a:cxn>
                <a:cxn ang="0">
                  <a:pos x="T4" y="T5"/>
                </a:cxn>
                <a:cxn ang="0">
                  <a:pos x="T6" y="T7"/>
                </a:cxn>
                <a:cxn ang="0">
                  <a:pos x="T8" y="T9"/>
                </a:cxn>
              </a:cxnLst>
              <a:rect l="0" t="0" r="r" b="b"/>
              <a:pathLst>
                <a:path w="111" h="110">
                  <a:moveTo>
                    <a:pt x="111" y="108"/>
                  </a:moveTo>
                  <a:lnTo>
                    <a:pt x="106" y="110"/>
                  </a:lnTo>
                  <a:lnTo>
                    <a:pt x="0" y="4"/>
                  </a:lnTo>
                  <a:lnTo>
                    <a:pt x="2" y="0"/>
                  </a:lnTo>
                  <a:lnTo>
                    <a:pt x="111" y="10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5" name="Oval 260">
              <a:extLst>
                <a:ext uri="{FF2B5EF4-FFF2-40B4-BE49-F238E27FC236}">
                  <a16:creationId xmlns:a16="http://schemas.microsoft.com/office/drawing/2014/main" id="{A50AA8DA-C189-4DB1-9B25-32D01BD734BF}"/>
                </a:ext>
              </a:extLst>
            </p:cNvPr>
            <p:cNvSpPr>
              <a:spLocks noChangeArrowheads="1"/>
            </p:cNvSpPr>
            <p:nvPr/>
          </p:nvSpPr>
          <p:spPr bwMode="gray">
            <a:xfrm>
              <a:off x="15875001" y="1643063"/>
              <a:ext cx="46038" cy="44450"/>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6" name="Oval 261">
              <a:extLst>
                <a:ext uri="{FF2B5EF4-FFF2-40B4-BE49-F238E27FC236}">
                  <a16:creationId xmlns:a16="http://schemas.microsoft.com/office/drawing/2014/main" id="{36BE3E4F-51AA-4031-B43E-FEEF8BCA2E5F}"/>
                </a:ext>
              </a:extLst>
            </p:cNvPr>
            <p:cNvSpPr>
              <a:spLocks noChangeArrowheads="1"/>
            </p:cNvSpPr>
            <p:nvPr/>
          </p:nvSpPr>
          <p:spPr bwMode="gray">
            <a:xfrm>
              <a:off x="15886113" y="1654175"/>
              <a:ext cx="23813" cy="22225"/>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99" name="Ellipse 198">
            <a:extLst>
              <a:ext uri="{FF2B5EF4-FFF2-40B4-BE49-F238E27FC236}">
                <a16:creationId xmlns:a16="http://schemas.microsoft.com/office/drawing/2014/main" id="{C43D3E1A-E065-4891-828F-DADE2D9E4B71}"/>
              </a:ext>
            </a:extLst>
          </p:cNvPr>
          <p:cNvSpPr/>
          <p:nvPr/>
        </p:nvSpPr>
        <p:spPr bwMode="gray">
          <a:xfrm>
            <a:off x="7611288" y="4656115"/>
            <a:ext cx="576064" cy="57606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600" dirty="0">
                <a:solidFill>
                  <a:schemeClr val="accent1"/>
                </a:solidFill>
                <a:latin typeface="+mj-lt"/>
              </a:rPr>
              <a:t>2</a:t>
            </a:r>
          </a:p>
        </p:txBody>
      </p:sp>
      <p:sp>
        <p:nvSpPr>
          <p:cNvPr id="370" name="Bogen 369">
            <a:extLst>
              <a:ext uri="{FF2B5EF4-FFF2-40B4-BE49-F238E27FC236}">
                <a16:creationId xmlns:a16="http://schemas.microsoft.com/office/drawing/2014/main" id="{A36CDFF6-CDD1-4D5A-80E5-7726604A6BBF}"/>
              </a:ext>
            </a:extLst>
          </p:cNvPr>
          <p:cNvSpPr/>
          <p:nvPr/>
        </p:nvSpPr>
        <p:spPr bwMode="gray">
          <a:xfrm>
            <a:off x="5807968" y="1268760"/>
            <a:ext cx="4320479" cy="4320479"/>
          </a:xfrm>
          <a:prstGeom prst="arc">
            <a:avLst>
              <a:gd name="adj1" fmla="val 9542809"/>
              <a:gd name="adj2" fmla="val 1133220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85" name="Grafik 384">
            <a:extLst>
              <a:ext uri="{FF2B5EF4-FFF2-40B4-BE49-F238E27FC236}">
                <a16:creationId xmlns:a16="http://schemas.microsoft.com/office/drawing/2014/main" id="{3EA60E66-2F6C-4AC6-96AD-A839AE338A97}"/>
              </a:ext>
            </a:extLst>
          </p:cNvPr>
          <p:cNvPicPr>
            <a:picLocks noChangeAspect="1"/>
          </p:cNvPicPr>
          <p:nvPr/>
        </p:nvPicPr>
        <p:blipFill>
          <a:blip r:embed="rId4"/>
          <a:stretch>
            <a:fillRect/>
          </a:stretch>
        </p:blipFill>
        <p:spPr bwMode="gray">
          <a:xfrm>
            <a:off x="8419477" y="3354574"/>
            <a:ext cx="2376264" cy="1314219"/>
          </a:xfrm>
          <a:prstGeom prst="rect">
            <a:avLst/>
          </a:prstGeom>
        </p:spPr>
      </p:pic>
      <p:sp>
        <p:nvSpPr>
          <p:cNvPr id="390" name="Bogen 389">
            <a:extLst>
              <a:ext uri="{FF2B5EF4-FFF2-40B4-BE49-F238E27FC236}">
                <a16:creationId xmlns:a16="http://schemas.microsoft.com/office/drawing/2014/main" id="{552E7D60-4210-4AFE-B1B5-0396D7C1DF82}"/>
              </a:ext>
            </a:extLst>
          </p:cNvPr>
          <p:cNvSpPr/>
          <p:nvPr/>
        </p:nvSpPr>
        <p:spPr bwMode="gray">
          <a:xfrm>
            <a:off x="5807967" y="1259201"/>
            <a:ext cx="4320479" cy="4320479"/>
          </a:xfrm>
          <a:prstGeom prst="arc">
            <a:avLst>
              <a:gd name="adj1" fmla="val 2423105"/>
              <a:gd name="adj2" fmla="val 2809711"/>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 name="Gruppieren 10">
            <a:extLst>
              <a:ext uri="{FF2B5EF4-FFF2-40B4-BE49-F238E27FC236}">
                <a16:creationId xmlns:a16="http://schemas.microsoft.com/office/drawing/2014/main" id="{D87A9217-E2CE-42BF-88EF-AC106E4A16CA}"/>
              </a:ext>
            </a:extLst>
          </p:cNvPr>
          <p:cNvGrpSpPr/>
          <p:nvPr/>
        </p:nvGrpSpPr>
        <p:grpSpPr bwMode="gray">
          <a:xfrm>
            <a:off x="4187034" y="1700808"/>
            <a:ext cx="2524480" cy="1317033"/>
            <a:chOff x="4187034" y="1574743"/>
            <a:chExt cx="2524480" cy="1317033"/>
          </a:xfrm>
        </p:grpSpPr>
        <p:sp>
          <p:nvSpPr>
            <p:cNvPr id="371" name="Sprechblase: rechteckig 370">
              <a:extLst>
                <a:ext uri="{FF2B5EF4-FFF2-40B4-BE49-F238E27FC236}">
                  <a16:creationId xmlns:a16="http://schemas.microsoft.com/office/drawing/2014/main" id="{0E38DF95-C567-484B-B2A8-AEE10C3D7D15}"/>
                </a:ext>
              </a:extLst>
            </p:cNvPr>
            <p:cNvSpPr/>
            <p:nvPr/>
          </p:nvSpPr>
          <p:spPr bwMode="gray">
            <a:xfrm>
              <a:off x="4187034" y="1574743"/>
              <a:ext cx="2524480" cy="1317033"/>
            </a:xfrm>
            <a:prstGeom prst="wedgeRectCallout">
              <a:avLst>
                <a:gd name="adj1" fmla="val 61231"/>
                <a:gd name="adj2" fmla="val -33493"/>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180" name="Grafik 179">
              <a:extLst>
                <a:ext uri="{FF2B5EF4-FFF2-40B4-BE49-F238E27FC236}">
                  <a16:creationId xmlns:a16="http://schemas.microsoft.com/office/drawing/2014/main" id="{E237AA6B-64D0-4C6F-A7A8-3D2AA91ECC6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1" r="67127" b="3702"/>
            <a:stretch/>
          </p:blipFill>
          <p:spPr bwMode="gray">
            <a:xfrm>
              <a:off x="4265229" y="1644149"/>
              <a:ext cx="2374236" cy="1151314"/>
            </a:xfrm>
            <a:prstGeom prst="rect">
              <a:avLst/>
            </a:prstGeom>
          </p:spPr>
        </p:pic>
      </p:grpSp>
      <p:pic>
        <p:nvPicPr>
          <p:cNvPr id="6" name="Picture 5">
            <a:extLst>
              <a:ext uri="{FF2B5EF4-FFF2-40B4-BE49-F238E27FC236}">
                <a16:creationId xmlns:a16="http://schemas.microsoft.com/office/drawing/2014/main" id="{76DFD15A-9E12-4F6B-92A0-EAC17AAF9A42}"/>
              </a:ext>
            </a:extLst>
          </p:cNvPr>
          <p:cNvPicPr>
            <a:picLocks noChangeAspect="1"/>
          </p:cNvPicPr>
          <p:nvPr/>
        </p:nvPicPr>
        <p:blipFill rotWithShape="1">
          <a:blip r:embed="rId6"/>
          <a:srcRect l="388" r="11501" b="906"/>
          <a:stretch/>
        </p:blipFill>
        <p:spPr bwMode="gray">
          <a:xfrm>
            <a:off x="5803369" y="4318800"/>
            <a:ext cx="1332000" cy="854030"/>
          </a:xfrm>
          <a:prstGeom prst="rect">
            <a:avLst/>
          </a:prstGeom>
        </p:spPr>
      </p:pic>
      <p:grpSp>
        <p:nvGrpSpPr>
          <p:cNvPr id="12" name="Group 11">
            <a:extLst>
              <a:ext uri="{FF2B5EF4-FFF2-40B4-BE49-F238E27FC236}">
                <a16:creationId xmlns:a16="http://schemas.microsoft.com/office/drawing/2014/main" id="{771244B2-8A20-4BB8-BA31-BD3F0C8C30BF}"/>
              </a:ext>
            </a:extLst>
          </p:cNvPr>
          <p:cNvGrpSpPr/>
          <p:nvPr/>
        </p:nvGrpSpPr>
        <p:grpSpPr bwMode="gray">
          <a:xfrm>
            <a:off x="8359002" y="2161494"/>
            <a:ext cx="2883711" cy="2596902"/>
            <a:chOff x="8256239" y="2651201"/>
            <a:chExt cx="2883711" cy="2596902"/>
          </a:xfrm>
        </p:grpSpPr>
        <p:sp>
          <p:nvSpPr>
            <p:cNvPr id="389" name="Sprechblase: rechteckig 388">
              <a:extLst>
                <a:ext uri="{FF2B5EF4-FFF2-40B4-BE49-F238E27FC236}">
                  <a16:creationId xmlns:a16="http://schemas.microsoft.com/office/drawing/2014/main" id="{0346E146-4EC2-4772-AA5A-68371518D903}"/>
                </a:ext>
              </a:extLst>
            </p:cNvPr>
            <p:cNvSpPr/>
            <p:nvPr/>
          </p:nvSpPr>
          <p:spPr bwMode="gray">
            <a:xfrm>
              <a:off x="8256239" y="2651201"/>
              <a:ext cx="2883711" cy="2596902"/>
            </a:xfrm>
            <a:prstGeom prst="wedgeRectCallout">
              <a:avLst>
                <a:gd name="adj1" fmla="val -32847"/>
                <a:gd name="adj2" fmla="val 60046"/>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endParaRPr lang="en-US" sz="1000" dirty="0">
                <a:solidFill>
                  <a:schemeClr val="tx1"/>
                </a:solidFill>
                <a:latin typeface="+mj-lt"/>
              </a:endParaRPr>
            </a:p>
          </p:txBody>
        </p:sp>
        <p:sp>
          <p:nvSpPr>
            <p:cNvPr id="382" name="Sprechblase: rechteckig 381">
              <a:extLst>
                <a:ext uri="{FF2B5EF4-FFF2-40B4-BE49-F238E27FC236}">
                  <a16:creationId xmlns:a16="http://schemas.microsoft.com/office/drawing/2014/main" id="{1CEE48E1-1B6E-4082-BBB3-78E1BA1901A2}"/>
                </a:ext>
              </a:extLst>
            </p:cNvPr>
            <p:cNvSpPr/>
            <p:nvPr/>
          </p:nvSpPr>
          <p:spPr bwMode="gray">
            <a:xfrm>
              <a:off x="8328245" y="2722499"/>
              <a:ext cx="2736000" cy="2453559"/>
            </a:xfrm>
            <a:prstGeom prst="wedgeRectCallout">
              <a:avLst>
                <a:gd name="adj1" fmla="val -33257"/>
                <a:gd name="adj2" fmla="val 60411"/>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r>
                <a:rPr lang="en-US" sz="1000" dirty="0">
                  <a:solidFill>
                    <a:schemeClr val="tx1"/>
                  </a:solidFill>
                </a:rPr>
                <a:t>Click on the </a:t>
              </a:r>
              <a:r>
                <a:rPr lang="en-US" sz="1000" b="1" dirty="0">
                  <a:solidFill>
                    <a:schemeClr val="tx1"/>
                  </a:solidFill>
                </a:rPr>
                <a:t>image</a:t>
              </a:r>
              <a:r>
                <a:rPr lang="en-US" sz="1000" dirty="0">
                  <a:solidFill>
                    <a:schemeClr val="tx1"/>
                  </a:solidFill>
                </a:rPr>
                <a:t> and select the option </a:t>
              </a:r>
              <a:r>
                <a:rPr lang="en-US" sz="1000" b="1" dirty="0">
                  <a:solidFill>
                    <a:schemeClr val="tx1"/>
                  </a:solidFill>
                </a:rPr>
                <a:t>“Compress Pictures” </a:t>
              </a:r>
              <a:r>
                <a:rPr lang="en-US" sz="1000" dirty="0">
                  <a:solidFill>
                    <a:schemeClr val="tx1"/>
                  </a:solidFill>
                </a:rPr>
                <a:t>from the new tab </a:t>
              </a:r>
              <a:r>
                <a:rPr lang="en-US" sz="1000" b="1" dirty="0">
                  <a:solidFill>
                    <a:schemeClr val="tx1"/>
                  </a:solidFill>
                </a:rPr>
                <a:t>“Image Tools”</a:t>
              </a:r>
              <a:r>
                <a:rPr lang="en-US" sz="1000" dirty="0">
                  <a:solidFill>
                    <a:schemeClr val="tx1"/>
                  </a:solidFill>
                </a:rPr>
                <a:t>.</a:t>
              </a:r>
            </a:p>
          </p:txBody>
        </p:sp>
        <p:pic>
          <p:nvPicPr>
            <p:cNvPr id="10" name="Picture 9">
              <a:extLst>
                <a:ext uri="{FF2B5EF4-FFF2-40B4-BE49-F238E27FC236}">
                  <a16:creationId xmlns:a16="http://schemas.microsoft.com/office/drawing/2014/main" id="{CD2595B4-C00D-452A-99ED-519DA5C07704}"/>
                </a:ext>
              </a:extLst>
            </p:cNvPr>
            <p:cNvPicPr>
              <a:picLocks noChangeAspect="1"/>
            </p:cNvPicPr>
            <p:nvPr/>
          </p:nvPicPr>
          <p:blipFill>
            <a:blip r:embed="rId7"/>
            <a:stretch>
              <a:fillRect/>
            </a:stretch>
          </p:blipFill>
          <p:spPr bwMode="gray">
            <a:xfrm>
              <a:off x="8433438" y="3170413"/>
              <a:ext cx="2525615" cy="1917203"/>
            </a:xfrm>
            <a:prstGeom prst="rect">
              <a:avLst/>
            </a:prstGeom>
          </p:spPr>
        </p:pic>
      </p:grpSp>
      <p:sp>
        <p:nvSpPr>
          <p:cNvPr id="7" name="Bogen 6">
            <a:extLst>
              <a:ext uri="{FF2B5EF4-FFF2-40B4-BE49-F238E27FC236}">
                <a16:creationId xmlns:a16="http://schemas.microsoft.com/office/drawing/2014/main" id="{A8054AE8-7CDE-491C-A149-4C7C4050A24B}"/>
              </a:ext>
            </a:extLst>
          </p:cNvPr>
          <p:cNvSpPr/>
          <p:nvPr/>
        </p:nvSpPr>
        <p:spPr bwMode="gray">
          <a:xfrm>
            <a:off x="5807967" y="1268761"/>
            <a:ext cx="4320479" cy="4320479"/>
          </a:xfrm>
          <a:prstGeom prst="arc">
            <a:avLst>
              <a:gd name="adj1" fmla="val 14200303"/>
              <a:gd name="adj2" fmla="val 15280684"/>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ußzeilenplatzhalter 2">
            <a:extLst>
              <a:ext uri="{FF2B5EF4-FFF2-40B4-BE49-F238E27FC236}">
                <a16:creationId xmlns:a16="http://schemas.microsoft.com/office/drawing/2014/main" id="{8A9D6AD7-ADBD-4D0B-895B-26FD245D2E08}"/>
              </a:ext>
            </a:extLst>
          </p:cNvPr>
          <p:cNvSpPr>
            <a:spLocks noGrp="1"/>
          </p:cNvSpPr>
          <p:nvPr>
            <p:ph type="ftr" sz="quarter" idx="16"/>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F4DB35C3-0501-4468-A7BD-A4011DDD31EC}"/>
              </a:ext>
            </a:extLst>
          </p:cNvPr>
          <p:cNvSpPr>
            <a:spLocks noGrp="1"/>
          </p:cNvSpPr>
          <p:nvPr>
            <p:ph type="sldNum" sz="quarter" idx="12"/>
          </p:nvPr>
        </p:nvSpPr>
        <p:spPr/>
        <p:txBody>
          <a:bodyPr/>
          <a:lstStyle/>
          <a:p>
            <a:fld id="{CE82B8A1-0CCE-4815-9668-383D7DE7D8B4}" type="slidenum">
              <a:rPr lang="en-US" noProof="0" smtClean="0"/>
              <a:pPr/>
              <a:t>2</a:t>
            </a:fld>
            <a:endParaRPr lang="en-US" noProof="0" dirty="0"/>
          </a:p>
        </p:txBody>
      </p:sp>
    </p:spTree>
    <p:extLst>
      <p:ext uri="{BB962C8B-B14F-4D97-AF65-F5344CB8AC3E}">
        <p14:creationId xmlns:p14="http://schemas.microsoft.com/office/powerpoint/2010/main" val="34857134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5">
            <a:extLst>
              <a:ext uri="{FF2B5EF4-FFF2-40B4-BE49-F238E27FC236}">
                <a16:creationId xmlns:a16="http://schemas.microsoft.com/office/drawing/2014/main" id="{EE80DC53-E1BD-45AF-9B89-D801F76387C1}"/>
              </a:ext>
            </a:extLst>
          </p:cNvPr>
          <p:cNvPicPr>
            <a:picLocks noGrp="1" noChangeAspect="1"/>
          </p:cNvPicPr>
          <p:nvPr>
            <p:ph type="pic" sz="quarter" idx="13"/>
          </p:nvPr>
        </p:nvPicPr>
        <p:blipFill>
          <a:blip r:embed="rId2" cstate="screen">
            <a:extLst>
              <a:ext uri="{28A0092B-C50C-407E-A947-70E740481C1C}">
                <a14:useLocalDpi xmlns:a14="http://schemas.microsoft.com/office/drawing/2010/main"/>
              </a:ext>
            </a:extLst>
          </a:blip>
          <a:srcRect l="2" r="2"/>
          <a:stretch>
            <a:fillRect/>
          </a:stretch>
        </p:blipFill>
        <p:spPr bwMode="gray">
          <a:xfrm>
            <a:off x="192088" y="188913"/>
            <a:ext cx="11807825" cy="6480175"/>
          </a:xfrm>
        </p:spPr>
      </p:pic>
      <p:sp>
        <p:nvSpPr>
          <p:cNvPr id="3" name="Titel 2">
            <a:extLst>
              <a:ext uri="{FF2B5EF4-FFF2-40B4-BE49-F238E27FC236}">
                <a16:creationId xmlns:a16="http://schemas.microsoft.com/office/drawing/2014/main" id="{D57D5B09-6522-48BE-B4B8-47200DBBF025}"/>
              </a:ext>
            </a:extLst>
          </p:cNvPr>
          <p:cNvSpPr>
            <a:spLocks noGrp="1"/>
          </p:cNvSpPr>
          <p:nvPr>
            <p:ph type="title"/>
          </p:nvPr>
        </p:nvSpPr>
        <p:spPr bwMode="gray"/>
        <p:txBody>
          <a:bodyPr/>
          <a:lstStyle/>
          <a:p>
            <a:r>
              <a:rPr lang="en-US" dirty="0"/>
              <a:t>Lorem ipsum dolor</a:t>
            </a:r>
            <a:br>
              <a:rPr lang="en-US" dirty="0"/>
            </a:br>
            <a:r>
              <a:rPr lang="en-US" dirty="0"/>
              <a:t>sit amet, consectetuer</a:t>
            </a:r>
            <a:br>
              <a:rPr lang="en-US" dirty="0"/>
            </a:br>
            <a:r>
              <a:rPr lang="en-US" dirty="0"/>
              <a:t>adipiscing elit.</a:t>
            </a:r>
            <a:br>
              <a:rPr lang="en-US" dirty="0"/>
            </a:br>
            <a:r>
              <a:rPr lang="en-US" dirty="0"/>
              <a:t>Maecenas porttitor</a:t>
            </a:r>
            <a:br>
              <a:rPr lang="en-US" dirty="0"/>
            </a:br>
            <a:r>
              <a:rPr lang="en-US" dirty="0"/>
              <a:t>congue massa. </a:t>
            </a:r>
          </a:p>
        </p:txBody>
      </p:sp>
      <p:sp>
        <p:nvSpPr>
          <p:cNvPr id="2" name="Foliennummernplatzhalter 1">
            <a:extLst>
              <a:ext uri="{FF2B5EF4-FFF2-40B4-BE49-F238E27FC236}">
                <a16:creationId xmlns:a16="http://schemas.microsoft.com/office/drawing/2014/main" id="{58BD1228-E9F8-40C0-9642-F1E2FA594318}"/>
              </a:ext>
            </a:extLst>
          </p:cNvPr>
          <p:cNvSpPr>
            <a:spLocks noGrp="1"/>
          </p:cNvSpPr>
          <p:nvPr>
            <p:ph type="sldNum" sz="quarter" idx="10"/>
          </p:nvPr>
        </p:nvSpPr>
        <p:spPr/>
        <p:txBody>
          <a:bodyPr/>
          <a:lstStyle/>
          <a:p>
            <a:fld id="{CE82B8A1-0CCE-4815-9668-383D7DE7D8B4}" type="slidenum">
              <a:rPr lang="en-US" noProof="0" smtClean="0"/>
              <a:pPr/>
              <a:t>20</a:t>
            </a:fld>
            <a:endParaRPr lang="en-US" noProof="0" dirty="0"/>
          </a:p>
        </p:txBody>
      </p:sp>
    </p:spTree>
    <p:extLst>
      <p:ext uri="{BB962C8B-B14F-4D97-AF65-F5344CB8AC3E}">
        <p14:creationId xmlns:p14="http://schemas.microsoft.com/office/powerpoint/2010/main" val="33147515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a:extLst>
              <a:ext uri="{FF2B5EF4-FFF2-40B4-BE49-F238E27FC236}">
                <a16:creationId xmlns:a16="http://schemas.microsoft.com/office/drawing/2014/main" id="{E29C2ECA-B922-4BE4-A3C3-BFD520C35BFD}"/>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8859" b="8859"/>
          <a:stretch>
            <a:fillRect/>
          </a:stretch>
        </p:blipFill>
        <p:spPr bwMode="gray">
          <a:xfrm flipH="1">
            <a:off x="192088" y="188913"/>
            <a:ext cx="11807825" cy="6480175"/>
          </a:xfrm>
        </p:spPr>
      </p:pic>
      <p:sp>
        <p:nvSpPr>
          <p:cNvPr id="3" name="Textplatzhalter 2">
            <a:extLst>
              <a:ext uri="{FF2B5EF4-FFF2-40B4-BE49-F238E27FC236}">
                <a16:creationId xmlns:a16="http://schemas.microsoft.com/office/drawing/2014/main" id="{85EBC2A4-6392-438E-840B-EBE82F82D421}"/>
              </a:ext>
            </a:extLst>
          </p:cNvPr>
          <p:cNvSpPr>
            <a:spLocks noGrp="1"/>
          </p:cNvSpPr>
          <p:nvPr>
            <p:ph type="body" sz="quarter" idx="14"/>
          </p:nvPr>
        </p:nvSpPr>
        <p:spPr bwMode="gray"/>
        <p:txBody>
          <a:bodyPr/>
          <a:lstStyle/>
          <a:p>
            <a:r>
              <a:rPr lang="en-US" dirty="0"/>
              <a:t>Lorem ipsum dolor sit amet, consectetuer adipiscing elit.</a:t>
            </a:r>
          </a:p>
          <a:p>
            <a:pPr lvl="1"/>
            <a:r>
              <a:rPr lang="en-US" dirty="0"/>
              <a:t>Maecenas porttitor congue massa. Fusce posuere, magna sed pulvinar ultricies, purus lectus malesuada libero, sit amet commodo magna eros quis </a:t>
            </a:r>
            <a:r>
              <a:rPr lang="en-US" dirty="0" err="1"/>
              <a:t>urna</a:t>
            </a:r>
            <a:r>
              <a:rPr lang="en-US" dirty="0"/>
              <a:t>.</a:t>
            </a:r>
          </a:p>
          <a:p>
            <a:endParaRPr lang="en-US" dirty="0"/>
          </a:p>
          <a:p>
            <a:pPr lvl="1"/>
            <a:r>
              <a:rPr lang="en-US" dirty="0"/>
              <a:t>Nunc viverra imperdiet enim. Fusce est. Vivamus a tellus.</a:t>
            </a:r>
          </a:p>
          <a:p>
            <a:endParaRPr lang="en-US" dirty="0"/>
          </a:p>
          <a:p>
            <a:pPr lvl="1"/>
            <a:r>
              <a:rPr lang="en-US" dirty="0" err="1"/>
              <a:t>Pellentesque</a:t>
            </a:r>
            <a:r>
              <a:rPr lang="en-US" dirty="0"/>
              <a:t> habitant morbi tristique senectus et netus et malesuada fames ac turpis egestas. </a:t>
            </a:r>
          </a:p>
        </p:txBody>
      </p:sp>
      <p:sp>
        <p:nvSpPr>
          <p:cNvPr id="19" name="Titel 18">
            <a:extLst>
              <a:ext uri="{FF2B5EF4-FFF2-40B4-BE49-F238E27FC236}">
                <a16:creationId xmlns:a16="http://schemas.microsoft.com/office/drawing/2014/main" id="{C9CF7A87-6C34-4575-B694-0E1F9F30EC60}"/>
              </a:ext>
            </a:extLst>
          </p:cNvPr>
          <p:cNvSpPr>
            <a:spLocks noGrp="1"/>
          </p:cNvSpPr>
          <p:nvPr>
            <p:ph type="title"/>
          </p:nvPr>
        </p:nvSpPr>
        <p:spPr bwMode="gray"/>
        <p:txBody>
          <a:bodyPr/>
          <a:lstStyle/>
          <a:p>
            <a:r>
              <a:rPr lang="en-US" dirty="0"/>
              <a:t>Lorem ipsum dolor sit</a:t>
            </a:r>
          </a:p>
        </p:txBody>
      </p:sp>
      <p:sp>
        <p:nvSpPr>
          <p:cNvPr id="2" name="Foliennummernplatzhalter 1">
            <a:extLst>
              <a:ext uri="{FF2B5EF4-FFF2-40B4-BE49-F238E27FC236}">
                <a16:creationId xmlns:a16="http://schemas.microsoft.com/office/drawing/2014/main" id="{365C85D3-101E-4516-AD49-FD653468384A}"/>
              </a:ext>
            </a:extLst>
          </p:cNvPr>
          <p:cNvSpPr>
            <a:spLocks noGrp="1"/>
          </p:cNvSpPr>
          <p:nvPr>
            <p:ph type="sldNum" sz="quarter" idx="12"/>
          </p:nvPr>
        </p:nvSpPr>
        <p:spPr/>
        <p:txBody>
          <a:bodyPr/>
          <a:lstStyle/>
          <a:p>
            <a:fld id="{CE82B8A1-0CCE-4815-9668-383D7DE7D8B4}" type="slidenum">
              <a:rPr lang="en-US" noProof="0" smtClean="0"/>
              <a:t>21</a:t>
            </a:fld>
            <a:endParaRPr lang="en-US" noProof="0" dirty="0"/>
          </a:p>
        </p:txBody>
      </p:sp>
    </p:spTree>
    <p:extLst>
      <p:ext uri="{BB962C8B-B14F-4D97-AF65-F5344CB8AC3E}">
        <p14:creationId xmlns:p14="http://schemas.microsoft.com/office/powerpoint/2010/main" val="18751389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5743EF42-AF4F-45FD-97DC-E0B327D99DF6}"/>
              </a:ext>
            </a:extLst>
          </p:cNvPr>
          <p:cNvSpPr>
            <a:spLocks noGrp="1"/>
          </p:cNvSpPr>
          <p:nvPr>
            <p:ph type="body" sz="quarter" idx="14"/>
          </p:nvPr>
        </p:nvSpPr>
        <p:spPr bwMode="gray">
          <a:xfrm>
            <a:off x="8688388" y="2564904"/>
            <a:ext cx="2879725" cy="3743820"/>
          </a:xfrm>
        </p:spPr>
        <p:txBody>
          <a:bodyPr/>
          <a:lstStyle/>
          <a:p>
            <a:r>
              <a:rPr lang="en-US" dirty="0"/>
              <a:t>Lorem ipsum dolor sit amet, consectetuer adipiscing elit.</a:t>
            </a:r>
          </a:p>
          <a:p>
            <a:pPr lvl="1"/>
            <a:r>
              <a:rPr lang="en-US" dirty="0"/>
              <a:t>Maecenas porttitor congue massa.</a:t>
            </a:r>
            <a:br>
              <a:rPr lang="en-US" dirty="0"/>
            </a:br>
            <a:r>
              <a:rPr lang="en-US" dirty="0"/>
              <a:t>Fusce posuere, magna sed pulvinar ultricies, purus lectus malesuada libero, sit amet commodo magna eros quis urna. Nunc viverra imperdiet enim. Fusce est. Vivamus a tellus. Pellentesque habitant morbi tristique senectus et netus et malesuada fames ac turpis egestas. Proin pharetra nonummy pede. Mauris et orci. Maecenas porttitor congue massa. </a:t>
            </a:r>
          </a:p>
        </p:txBody>
      </p:sp>
      <p:sp>
        <p:nvSpPr>
          <p:cNvPr id="5" name="Titel 4">
            <a:extLst>
              <a:ext uri="{FF2B5EF4-FFF2-40B4-BE49-F238E27FC236}">
                <a16:creationId xmlns:a16="http://schemas.microsoft.com/office/drawing/2014/main" id="{68F74DE3-7A96-4759-858E-C54460D368B4}"/>
              </a:ext>
            </a:extLst>
          </p:cNvPr>
          <p:cNvSpPr>
            <a:spLocks noGrp="1"/>
          </p:cNvSpPr>
          <p:nvPr>
            <p:ph type="title"/>
          </p:nvPr>
        </p:nvSpPr>
        <p:spPr bwMode="gray">
          <a:xfrm>
            <a:off x="8688388" y="771437"/>
            <a:ext cx="2879725" cy="1656000"/>
          </a:xfrm>
        </p:spPr>
        <p:txBody>
          <a:bodyPr/>
          <a:lstStyle/>
          <a:p>
            <a:r>
              <a:rPr lang="en-US" dirty="0"/>
              <a:t>Lorem ipsum dolor sit amet</a:t>
            </a:r>
          </a:p>
        </p:txBody>
      </p:sp>
      <p:pic>
        <p:nvPicPr>
          <p:cNvPr id="10" name="Bildplatzhalter 9">
            <a:extLst>
              <a:ext uri="{FF2B5EF4-FFF2-40B4-BE49-F238E27FC236}">
                <a16:creationId xmlns:a16="http://schemas.microsoft.com/office/drawing/2014/main" id="{1D3A7472-58F1-4172-824A-B2215EA1203E}"/>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32548" r="754"/>
          <a:stretch/>
        </p:blipFill>
        <p:spPr bwMode="gray">
          <a:xfrm>
            <a:off x="192088" y="188912"/>
            <a:ext cx="5903911" cy="5904000"/>
          </a:xfrm>
        </p:spPr>
      </p:pic>
      <p:pic>
        <p:nvPicPr>
          <p:cNvPr id="11" name="Bildplatzhalter 5">
            <a:extLst>
              <a:ext uri="{FF2B5EF4-FFF2-40B4-BE49-F238E27FC236}">
                <a16:creationId xmlns:a16="http://schemas.microsoft.com/office/drawing/2014/main" id="{368E8BA6-8D07-4749-8D63-481F1EC53817}"/>
              </a:ext>
            </a:extLst>
          </p:cNvPr>
          <p:cNvPicPr>
            <a:picLocks noGrp="1" noChangeAspect="1"/>
          </p:cNvPicPr>
          <p:nvPr>
            <p:ph type="pic" sz="quarter" idx="15"/>
          </p:nvPr>
        </p:nvPicPr>
        <p:blipFill>
          <a:blip r:embed="rId3" cstate="screen">
            <a:extLst>
              <a:ext uri="{28A0092B-C50C-407E-A947-70E740481C1C}">
                <a14:useLocalDpi xmlns:a14="http://schemas.microsoft.com/office/drawing/2010/main"/>
              </a:ext>
            </a:extLst>
          </a:blip>
          <a:srcRect l="31599" r="31599"/>
          <a:stretch>
            <a:fillRect/>
          </a:stretch>
        </p:blipFill>
        <p:spPr bwMode="gray">
          <a:xfrm>
            <a:off x="4511675" y="765175"/>
            <a:ext cx="3959225" cy="5903913"/>
          </a:xfrm>
        </p:spPr>
      </p:pic>
      <p:sp>
        <p:nvSpPr>
          <p:cNvPr id="2" name="Fußzeilenplatzhalter 1">
            <a:extLst>
              <a:ext uri="{FF2B5EF4-FFF2-40B4-BE49-F238E27FC236}">
                <a16:creationId xmlns:a16="http://schemas.microsoft.com/office/drawing/2014/main" id="{4B011F76-AD90-4F39-A9C0-4AFB13FA019B}"/>
              </a:ext>
            </a:extLst>
          </p:cNvPr>
          <p:cNvSpPr>
            <a:spLocks noGrp="1"/>
          </p:cNvSpPr>
          <p:nvPr>
            <p:ph type="ftr" sz="quarter" idx="16"/>
          </p:nvPr>
        </p:nvSpPr>
        <p:spPr bwMode="gray"/>
        <p:txBody>
          <a:bodyPr/>
          <a:lstStyle/>
          <a:p>
            <a:r>
              <a:rPr lang="en-US"/>
              <a:t>Footnote: Please insert appropriate company</a:t>
            </a:r>
            <a:endParaRPr lang="de-DE" dirty="0"/>
          </a:p>
        </p:txBody>
      </p:sp>
      <p:sp>
        <p:nvSpPr>
          <p:cNvPr id="4" name="Foliennummernplatzhalter 3">
            <a:extLst>
              <a:ext uri="{FF2B5EF4-FFF2-40B4-BE49-F238E27FC236}">
                <a16:creationId xmlns:a16="http://schemas.microsoft.com/office/drawing/2014/main" id="{2E4722A3-F2BE-4802-B0A1-BADC31272652}"/>
              </a:ext>
            </a:extLst>
          </p:cNvPr>
          <p:cNvSpPr>
            <a:spLocks noGrp="1"/>
          </p:cNvSpPr>
          <p:nvPr>
            <p:ph type="sldNum" sz="quarter" idx="12"/>
          </p:nvPr>
        </p:nvSpPr>
        <p:spPr/>
        <p:txBody>
          <a:bodyPr/>
          <a:lstStyle/>
          <a:p>
            <a:fld id="{CE82B8A1-0CCE-4815-9668-383D7DE7D8B4}" type="slidenum">
              <a:rPr lang="en-US" noProof="0" smtClean="0"/>
              <a:t>22</a:t>
            </a:fld>
            <a:endParaRPr lang="en-US" noProof="0" dirty="0"/>
          </a:p>
        </p:txBody>
      </p:sp>
    </p:spTree>
    <p:extLst>
      <p:ext uri="{BB962C8B-B14F-4D97-AF65-F5344CB8AC3E}">
        <p14:creationId xmlns:p14="http://schemas.microsoft.com/office/powerpoint/2010/main" val="1771807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Bildplatzhalter 5">
            <a:extLst>
              <a:ext uri="{FF2B5EF4-FFF2-40B4-BE49-F238E27FC236}">
                <a16:creationId xmlns:a16="http://schemas.microsoft.com/office/drawing/2014/main" id="{EBB7C0C4-004F-488A-99C2-56B924664E70}"/>
              </a:ext>
            </a:extLst>
          </p:cNvPr>
          <p:cNvPicPr>
            <a:picLocks noGrp="1" noChangeAspect="1"/>
          </p:cNvPicPr>
          <p:nvPr>
            <p:ph type="pic" sz="quarter" idx="20"/>
          </p:nvPr>
        </p:nvPicPr>
        <p:blipFill>
          <a:blip r:embed="rId2" cstate="screen">
            <a:extLst>
              <a:ext uri="{28A0092B-C50C-407E-A947-70E740481C1C}">
                <a14:useLocalDpi xmlns:a14="http://schemas.microsoft.com/office/drawing/2010/main"/>
              </a:ext>
            </a:extLst>
          </a:blip>
          <a:srcRect t="24999" b="24999"/>
          <a:stretch>
            <a:fillRect/>
          </a:stretch>
        </p:blipFill>
        <p:spPr bwMode="gray">
          <a:xfrm>
            <a:off x="192088" y="188913"/>
            <a:ext cx="11807825" cy="3240087"/>
          </a:xfrm>
        </p:spPr>
      </p:pic>
      <p:pic>
        <p:nvPicPr>
          <p:cNvPr id="16" name="Bildplatzhalter 5">
            <a:extLst>
              <a:ext uri="{FF2B5EF4-FFF2-40B4-BE49-F238E27FC236}">
                <a16:creationId xmlns:a16="http://schemas.microsoft.com/office/drawing/2014/main" id="{34D8A553-AEDF-4E73-96E8-4B3E16B88D6C}"/>
              </a:ext>
            </a:extLst>
          </p:cNvPr>
          <p:cNvPicPr>
            <a:picLocks noGrp="1" noChangeAspect="1"/>
          </p:cNvPicPr>
          <p:nvPr>
            <p:ph type="pic" sz="quarter" idx="22"/>
          </p:nvPr>
        </p:nvPicPr>
        <p:blipFill>
          <a:blip r:embed="rId2" cstate="screen">
            <a:extLst>
              <a:ext uri="{28A0092B-C50C-407E-A947-70E740481C1C}">
                <a14:useLocalDpi xmlns:a14="http://schemas.microsoft.com/office/drawing/2010/main"/>
              </a:ext>
            </a:extLst>
          </a:blip>
          <a:srcRect t="25550" b="25550"/>
          <a:stretch>
            <a:fillRect/>
          </a:stretch>
        </p:blipFill>
        <p:spPr bwMode="gray">
          <a:xfrm flipH="1">
            <a:off x="192088" y="3500438"/>
            <a:ext cx="11807825" cy="3168650"/>
          </a:xfrm>
        </p:spPr>
      </p:pic>
      <p:sp>
        <p:nvSpPr>
          <p:cNvPr id="4" name="Textplatzhalter 3">
            <a:extLst>
              <a:ext uri="{FF2B5EF4-FFF2-40B4-BE49-F238E27FC236}">
                <a16:creationId xmlns:a16="http://schemas.microsoft.com/office/drawing/2014/main" id="{E9E2743B-288D-44D3-8ED3-5FED3D11B968}"/>
              </a:ext>
            </a:extLst>
          </p:cNvPr>
          <p:cNvSpPr>
            <a:spLocks noGrp="1"/>
          </p:cNvSpPr>
          <p:nvPr>
            <p:ph type="body" sz="quarter" idx="21"/>
          </p:nvPr>
        </p:nvSpPr>
        <p:spPr bwMode="gray"/>
        <p:txBody>
          <a:bodyPr/>
          <a:lstStyle/>
          <a:p>
            <a:r>
              <a:rPr lang="en-US" dirty="0"/>
              <a:t>Lorem ipsum dolor sit amet, consectetuer adipiscing elit. Maecenas porttitor congue massa. Fusce posuere, magna sed pulvinar ultricies</a:t>
            </a:r>
          </a:p>
        </p:txBody>
      </p:sp>
      <p:sp>
        <p:nvSpPr>
          <p:cNvPr id="5" name="Textplatzhalter 4">
            <a:extLst>
              <a:ext uri="{FF2B5EF4-FFF2-40B4-BE49-F238E27FC236}">
                <a16:creationId xmlns:a16="http://schemas.microsoft.com/office/drawing/2014/main" id="{E8E6C928-34B0-4006-A581-583B3C28AB76}"/>
              </a:ext>
            </a:extLst>
          </p:cNvPr>
          <p:cNvSpPr>
            <a:spLocks noGrp="1"/>
          </p:cNvSpPr>
          <p:nvPr>
            <p:ph type="body" sz="quarter" idx="23"/>
          </p:nvPr>
        </p:nvSpPr>
        <p:spPr bwMode="gray"/>
        <p:txBody>
          <a:bodyPr/>
          <a:lstStyle/>
          <a:p>
            <a:r>
              <a:rPr lang="en-US" dirty="0"/>
              <a:t>Lorem ipsum dolor sit amet, consectetuer adipiscing elit. Maecenas porttitor congue massa. Fusce posuere, magna sed pulvinar ultricies</a:t>
            </a:r>
          </a:p>
        </p:txBody>
      </p:sp>
      <p:sp>
        <p:nvSpPr>
          <p:cNvPr id="2" name="Foliennummernplatzhalter 1">
            <a:extLst>
              <a:ext uri="{FF2B5EF4-FFF2-40B4-BE49-F238E27FC236}">
                <a16:creationId xmlns:a16="http://schemas.microsoft.com/office/drawing/2014/main" id="{57CC7DBA-E914-4277-A445-E7DA3BC6257A}"/>
              </a:ext>
            </a:extLst>
          </p:cNvPr>
          <p:cNvSpPr>
            <a:spLocks noGrp="1"/>
          </p:cNvSpPr>
          <p:nvPr>
            <p:ph type="sldNum" sz="quarter" idx="12"/>
          </p:nvPr>
        </p:nvSpPr>
        <p:spPr/>
        <p:txBody>
          <a:bodyPr/>
          <a:lstStyle/>
          <a:p>
            <a:fld id="{CE82B8A1-0CCE-4815-9668-383D7DE7D8B4}" type="slidenum">
              <a:rPr lang="en-US" noProof="0" smtClean="0"/>
              <a:t>23</a:t>
            </a:fld>
            <a:endParaRPr lang="en-US" noProof="0" dirty="0"/>
          </a:p>
        </p:txBody>
      </p:sp>
    </p:spTree>
    <p:extLst>
      <p:ext uri="{BB962C8B-B14F-4D97-AF65-F5344CB8AC3E}">
        <p14:creationId xmlns:p14="http://schemas.microsoft.com/office/powerpoint/2010/main" val="17489501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6AE88639-2D85-4D4C-9210-EAADF7FB6DA6}"/>
              </a:ext>
            </a:extLst>
          </p:cNvPr>
          <p:cNvSpPr>
            <a:spLocks noGrp="1"/>
          </p:cNvSpPr>
          <p:nvPr>
            <p:ph type="body" sz="quarter" idx="21"/>
          </p:nvPr>
        </p:nvSpPr>
        <p:spPr bwMode="gray"/>
        <p:txBody>
          <a:bodyPr/>
          <a:lstStyle/>
          <a:p>
            <a:r>
              <a:rPr lang="en-US" dirty="0"/>
              <a:t>Lorem ipsum dolor sit amet, consectetuer adipiscing elit.</a:t>
            </a:r>
          </a:p>
          <a:p>
            <a:pPr lvl="1"/>
            <a:r>
              <a:rPr lang="en-US" dirty="0"/>
              <a:t>Maecenas porttitor congue massa. Fusce posuere, magna sed pulvinar ultricies, purus lectus malesuada libero, sit amet commodo magna eros quis urna. Nunc viverra imperdiet enim. Fusce est. Vivamus a tellus. Pellentesque habitant morbi tristique senectus et netus et malesuada fames ac turpis egestas. Proin pharetra nonummy pede. Mauris et orci. Maecenas porttitor congue massa. Fusce posuere, magna sed pulvinar ultricies, purus lectus malesuada libero, sit amet commodo magna eros quis urna.</a:t>
            </a:r>
          </a:p>
          <a:p>
            <a:endParaRPr lang="en-US" dirty="0"/>
          </a:p>
        </p:txBody>
      </p:sp>
      <p:pic>
        <p:nvPicPr>
          <p:cNvPr id="27" name="Bildplatzhalter 26">
            <a:extLst>
              <a:ext uri="{FF2B5EF4-FFF2-40B4-BE49-F238E27FC236}">
                <a16:creationId xmlns:a16="http://schemas.microsoft.com/office/drawing/2014/main" id="{A95E49D5-D2B3-4507-AA05-E2FB31314E87}"/>
              </a:ext>
            </a:extLst>
          </p:cNvPr>
          <p:cNvPicPr>
            <a:picLocks noGrp="1" noChangeAspect="1"/>
          </p:cNvPicPr>
          <p:nvPr>
            <p:ph type="pic" sz="quarter" idx="20"/>
          </p:nvPr>
        </p:nvPicPr>
        <p:blipFill rotWithShape="1">
          <a:blip r:embed="rId2">
            <a:extLst>
              <a:ext uri="{28A0092B-C50C-407E-A947-70E740481C1C}">
                <a14:useLocalDpi xmlns:a14="http://schemas.microsoft.com/office/drawing/2010/main" val="0"/>
              </a:ext>
            </a:extLst>
          </a:blip>
          <a:srcRect l="38368" t="37803" r="28752" b="4697"/>
          <a:stretch/>
        </p:blipFill>
        <p:spPr bwMode="gray">
          <a:xfrm>
            <a:off x="3072000" y="188640"/>
            <a:ext cx="3024000" cy="3528200"/>
          </a:xfrm>
        </p:spPr>
      </p:pic>
      <p:pic>
        <p:nvPicPr>
          <p:cNvPr id="15" name="Bildplatzhalter 14">
            <a:extLst>
              <a:ext uri="{FF2B5EF4-FFF2-40B4-BE49-F238E27FC236}">
                <a16:creationId xmlns:a16="http://schemas.microsoft.com/office/drawing/2014/main" id="{A8D6964E-FE89-42D6-97F3-AFCE210E61AB}"/>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44380" r="25244"/>
          <a:stretch/>
        </p:blipFill>
        <p:spPr bwMode="gray">
          <a:xfrm>
            <a:off x="6168336" y="188640"/>
            <a:ext cx="2952000" cy="6480448"/>
          </a:xfrm>
        </p:spPr>
      </p:pic>
      <p:pic>
        <p:nvPicPr>
          <p:cNvPr id="17" name="Bildplatzhalter 16">
            <a:extLst>
              <a:ext uri="{FF2B5EF4-FFF2-40B4-BE49-F238E27FC236}">
                <a16:creationId xmlns:a16="http://schemas.microsoft.com/office/drawing/2014/main" id="{807A15DE-7BF8-450A-955B-51D9CB4CF2F8}"/>
              </a:ext>
            </a:extLst>
          </p:cNvPr>
          <p:cNvPicPr>
            <a:picLocks noGrp="1" noChangeAspect="1"/>
          </p:cNvPicPr>
          <p:nvPr>
            <p:ph type="pic" sz="quarter" idx="16"/>
          </p:nvPr>
        </p:nvPicPr>
        <p:blipFill>
          <a:blip r:embed="rId3" cstate="print">
            <a:extLst>
              <a:ext uri="{28A0092B-C50C-407E-A947-70E740481C1C}">
                <a14:useLocalDpi xmlns:a14="http://schemas.microsoft.com/office/drawing/2010/main" val="0"/>
              </a:ext>
            </a:extLst>
          </a:blip>
          <a:srcRect t="3894" b="3894"/>
          <a:stretch>
            <a:fillRect/>
          </a:stretch>
        </p:blipFill>
        <p:spPr bwMode="gray"/>
      </p:pic>
      <p:pic>
        <p:nvPicPr>
          <p:cNvPr id="19" name="Bildplatzhalter 18">
            <a:extLst>
              <a:ext uri="{FF2B5EF4-FFF2-40B4-BE49-F238E27FC236}">
                <a16:creationId xmlns:a16="http://schemas.microsoft.com/office/drawing/2014/main" id="{3F194B9F-05A8-487B-9073-18C8CE78873E}"/>
              </a:ext>
            </a:extLst>
          </p:cNvPr>
          <p:cNvPicPr>
            <a:picLocks noGrp="1" noChangeAspect="1"/>
          </p:cNvPicPr>
          <p:nvPr>
            <p:ph type="pic" sz="quarter" idx="17"/>
          </p:nvPr>
        </p:nvPicPr>
        <p:blipFill rotWithShape="1">
          <a:blip r:embed="rId2">
            <a:extLst>
              <a:ext uri="{28A0092B-C50C-407E-A947-70E740481C1C}">
                <a14:useLocalDpi xmlns:a14="http://schemas.microsoft.com/office/drawing/2010/main" val="0"/>
              </a:ext>
            </a:extLst>
          </a:blip>
          <a:srcRect l="15499" t="51443" r="47054" b="14026"/>
          <a:stretch/>
        </p:blipFill>
        <p:spPr bwMode="gray">
          <a:xfrm>
            <a:off x="9202449" y="1988840"/>
            <a:ext cx="2808000" cy="1728000"/>
          </a:xfrm>
        </p:spPr>
      </p:pic>
      <p:pic>
        <p:nvPicPr>
          <p:cNvPr id="23" name="Bildplatzhalter 22">
            <a:extLst>
              <a:ext uri="{FF2B5EF4-FFF2-40B4-BE49-F238E27FC236}">
                <a16:creationId xmlns:a16="http://schemas.microsoft.com/office/drawing/2014/main" id="{AFA89DEE-2623-4201-8C6E-E6202CEC1088}"/>
              </a:ext>
            </a:extLst>
          </p:cNvPr>
          <p:cNvPicPr>
            <a:picLocks noGrp="1" noChangeAspect="1"/>
          </p:cNvPicPr>
          <p:nvPr>
            <p:ph type="pic" sz="quarter" idx="18"/>
          </p:nvPr>
        </p:nvPicPr>
        <p:blipFill>
          <a:blip r:embed="rId3" cstate="print">
            <a:extLst>
              <a:ext uri="{28A0092B-C50C-407E-A947-70E740481C1C}">
                <a14:useLocalDpi xmlns:a14="http://schemas.microsoft.com/office/drawing/2010/main" val="0"/>
              </a:ext>
            </a:extLst>
          </a:blip>
          <a:srcRect t="3894" b="3894"/>
          <a:stretch>
            <a:fillRect/>
          </a:stretch>
        </p:blipFill>
        <p:spPr bwMode="gray"/>
      </p:pic>
      <p:sp>
        <p:nvSpPr>
          <p:cNvPr id="2" name="Fußzeilenplatzhalter 1">
            <a:extLst>
              <a:ext uri="{FF2B5EF4-FFF2-40B4-BE49-F238E27FC236}">
                <a16:creationId xmlns:a16="http://schemas.microsoft.com/office/drawing/2014/main" id="{08416F83-2A80-4595-9A93-68565FD5CC91}"/>
              </a:ext>
            </a:extLst>
          </p:cNvPr>
          <p:cNvSpPr>
            <a:spLocks noGrp="1"/>
          </p:cNvSpPr>
          <p:nvPr>
            <p:ph type="ftr" sz="quarter" idx="22"/>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CEE8AAE1-EAD5-4AC1-8044-75516526534F}"/>
              </a:ext>
            </a:extLst>
          </p:cNvPr>
          <p:cNvSpPr>
            <a:spLocks noGrp="1"/>
          </p:cNvSpPr>
          <p:nvPr>
            <p:ph type="sldNum" sz="quarter" idx="12"/>
          </p:nvPr>
        </p:nvSpPr>
        <p:spPr/>
        <p:txBody>
          <a:bodyPr/>
          <a:lstStyle/>
          <a:p>
            <a:fld id="{CE82B8A1-0CCE-4815-9668-383D7DE7D8B4}" type="slidenum">
              <a:rPr lang="en-US" noProof="0" smtClean="0"/>
              <a:t>24</a:t>
            </a:fld>
            <a:endParaRPr lang="en-US" noProof="0" dirty="0"/>
          </a:p>
        </p:txBody>
      </p:sp>
    </p:spTree>
    <p:extLst>
      <p:ext uri="{BB962C8B-B14F-4D97-AF65-F5344CB8AC3E}">
        <p14:creationId xmlns:p14="http://schemas.microsoft.com/office/powerpoint/2010/main" val="40117502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E9E903B3-3559-4E18-96D1-A033C5082FE2}"/>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8D55F525-EB0D-46A8-B5B7-252E8DE04B14}"/>
              </a:ext>
            </a:extLst>
          </p:cNvPr>
          <p:cNvSpPr>
            <a:spLocks noGrp="1"/>
          </p:cNvSpPr>
          <p:nvPr>
            <p:ph type="sldNum" sz="quarter" idx="12"/>
          </p:nvPr>
        </p:nvSpPr>
        <p:spPr/>
        <p:txBody>
          <a:bodyPr/>
          <a:lstStyle/>
          <a:p>
            <a:fld id="{CE82B8A1-0CCE-4815-9668-383D7DE7D8B4}" type="slidenum">
              <a:rPr lang="en-US" smtClean="0"/>
              <a:t>25</a:t>
            </a:fld>
            <a:endParaRPr lang="en-US" dirty="0"/>
          </a:p>
        </p:txBody>
      </p:sp>
    </p:spTree>
    <p:extLst>
      <p:ext uri="{BB962C8B-B14F-4D97-AF65-F5344CB8AC3E}">
        <p14:creationId xmlns:p14="http://schemas.microsoft.com/office/powerpoint/2010/main" val="38848162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edienplatzhalter 4">
            <a:extLst>
              <a:ext uri="{FF2B5EF4-FFF2-40B4-BE49-F238E27FC236}">
                <a16:creationId xmlns:a16="http://schemas.microsoft.com/office/drawing/2014/main" id="{41614F56-84B6-451C-97E8-0CBF15453875}"/>
              </a:ext>
            </a:extLst>
          </p:cNvPr>
          <p:cNvSpPr>
            <a:spLocks noGrp="1"/>
          </p:cNvSpPr>
          <p:nvPr>
            <p:ph type="media" sz="quarter" idx="13"/>
          </p:nvPr>
        </p:nvSpPr>
        <p:spPr bwMode="gray">
          <a:xfrm>
            <a:off x="0" y="0"/>
            <a:ext cx="12192000" cy="6858000"/>
          </a:xfrm>
        </p:spPr>
      </p:sp>
      <p:sp>
        <p:nvSpPr>
          <p:cNvPr id="2" name="Foliennummernplatzhalter 1">
            <a:extLst>
              <a:ext uri="{FF2B5EF4-FFF2-40B4-BE49-F238E27FC236}">
                <a16:creationId xmlns:a16="http://schemas.microsoft.com/office/drawing/2014/main" id="{CD01FE91-75E2-4353-B537-CE4FA0751FEF}"/>
              </a:ext>
            </a:extLst>
          </p:cNvPr>
          <p:cNvSpPr>
            <a:spLocks noGrp="1"/>
          </p:cNvSpPr>
          <p:nvPr>
            <p:ph type="sldNum" sz="quarter" idx="12"/>
          </p:nvPr>
        </p:nvSpPr>
        <p:spPr/>
        <p:txBody>
          <a:bodyPr/>
          <a:lstStyle/>
          <a:p>
            <a:fld id="{CE82B8A1-0CCE-4815-9668-383D7DE7D8B4}" type="slidenum">
              <a:rPr lang="en-US" noProof="0" smtClean="0"/>
              <a:t>26</a:t>
            </a:fld>
            <a:endParaRPr lang="en-US" noProof="0" dirty="0"/>
          </a:p>
        </p:txBody>
      </p:sp>
    </p:spTree>
    <p:extLst>
      <p:ext uri="{BB962C8B-B14F-4D97-AF65-F5344CB8AC3E}">
        <p14:creationId xmlns:p14="http://schemas.microsoft.com/office/powerpoint/2010/main" val="30648639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447A662F-D257-4D47-BAB5-808D88CE136A}"/>
              </a:ext>
            </a:extLst>
          </p:cNvPr>
          <p:cNvSpPr>
            <a:spLocks noGrp="1"/>
          </p:cNvSpPr>
          <p:nvPr>
            <p:ph type="title"/>
          </p:nvPr>
        </p:nvSpPr>
        <p:spPr bwMode="gray"/>
        <p:txBody>
          <a:bodyPr/>
          <a:lstStyle/>
          <a:p>
            <a:r>
              <a:rPr lang="en-US" dirty="0"/>
              <a:t>Many thanks</a:t>
            </a:r>
          </a:p>
        </p:txBody>
      </p:sp>
      <p:sp>
        <p:nvSpPr>
          <p:cNvPr id="5" name="Textplatzhalter 4">
            <a:extLst>
              <a:ext uri="{FF2B5EF4-FFF2-40B4-BE49-F238E27FC236}">
                <a16:creationId xmlns:a16="http://schemas.microsoft.com/office/drawing/2014/main" id="{B31EE6EB-2C08-469F-AD1F-7D8D502C1D1E}"/>
              </a:ext>
            </a:extLst>
          </p:cNvPr>
          <p:cNvSpPr>
            <a:spLocks noGrp="1"/>
          </p:cNvSpPr>
          <p:nvPr>
            <p:ph type="body" sz="quarter" idx="1"/>
          </p:nvPr>
        </p:nvSpPr>
        <p:spPr bwMode="gray"/>
        <p:txBody>
          <a:bodyPr/>
          <a:lstStyle/>
          <a:p>
            <a:r>
              <a:rPr lang="en-US" dirty="0"/>
              <a:t>Max Mustermann | Position</a:t>
            </a:r>
          </a:p>
          <a:p>
            <a:pPr lvl="1"/>
            <a:r>
              <a:rPr lang="en-US" dirty="0"/>
              <a:t>Musterstraße 00</a:t>
            </a:r>
          </a:p>
          <a:p>
            <a:pPr lvl="1"/>
            <a:r>
              <a:rPr lang="en-US" dirty="0"/>
              <a:t>00 00 0 Musterstadt</a:t>
            </a:r>
          </a:p>
          <a:p>
            <a:pPr lvl="1"/>
            <a:endParaRPr lang="en-US" dirty="0"/>
          </a:p>
          <a:p>
            <a:pPr lvl="1"/>
            <a:r>
              <a:rPr lang="en-US" dirty="0"/>
              <a:t>Tel. 000 000 000 00</a:t>
            </a:r>
          </a:p>
          <a:p>
            <a:pPr lvl="1"/>
            <a:r>
              <a:rPr lang="en-US" dirty="0"/>
              <a:t>Mail max.mustermann@draeger.com</a:t>
            </a:r>
          </a:p>
        </p:txBody>
      </p:sp>
      <p:sp>
        <p:nvSpPr>
          <p:cNvPr id="2" name="Fußzeilenplatzhalter 1">
            <a:extLst>
              <a:ext uri="{FF2B5EF4-FFF2-40B4-BE49-F238E27FC236}">
                <a16:creationId xmlns:a16="http://schemas.microsoft.com/office/drawing/2014/main" id="{2A3792E2-771F-4D3D-A017-B32CF5B2FB2B}"/>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FDE44F15-21FA-4C6F-BCE4-EED00B1D2804}"/>
              </a:ext>
            </a:extLst>
          </p:cNvPr>
          <p:cNvSpPr>
            <a:spLocks noGrp="1"/>
          </p:cNvSpPr>
          <p:nvPr>
            <p:ph type="sldNum" sz="quarter" idx="12"/>
          </p:nvPr>
        </p:nvSpPr>
        <p:spPr/>
        <p:txBody>
          <a:bodyPr/>
          <a:lstStyle/>
          <a:p>
            <a:fld id="{CE82B8A1-0CCE-4815-9668-383D7DE7D8B4}" type="slidenum">
              <a:rPr lang="en-US" noProof="0" smtClean="0"/>
              <a:pPr/>
              <a:t>27</a:t>
            </a:fld>
            <a:endParaRPr lang="en-US" noProof="0" dirty="0"/>
          </a:p>
        </p:txBody>
      </p:sp>
    </p:spTree>
    <p:extLst>
      <p:ext uri="{BB962C8B-B14F-4D97-AF65-F5344CB8AC3E}">
        <p14:creationId xmlns:p14="http://schemas.microsoft.com/office/powerpoint/2010/main" val="31506206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5383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A4692F-05D7-45FA-B726-16A553FA7238}"/>
              </a:ext>
            </a:extLst>
          </p:cNvPr>
          <p:cNvSpPr>
            <a:spLocks noGrp="1"/>
          </p:cNvSpPr>
          <p:nvPr>
            <p:ph type="title"/>
          </p:nvPr>
        </p:nvSpPr>
        <p:spPr bwMode="gray"/>
        <p:txBody>
          <a:bodyPr/>
          <a:lstStyle/>
          <a:p>
            <a:r>
              <a:rPr lang="en-US" dirty="0"/>
              <a:t>Enumeration with numbers</a:t>
            </a:r>
          </a:p>
        </p:txBody>
      </p:sp>
      <p:sp>
        <p:nvSpPr>
          <p:cNvPr id="10" name="Textplatzhalter 15">
            <a:extLst>
              <a:ext uri="{FF2B5EF4-FFF2-40B4-BE49-F238E27FC236}">
                <a16:creationId xmlns:a16="http://schemas.microsoft.com/office/drawing/2014/main" id="{D1A043DF-DC98-4F6F-9738-561187480B15}"/>
              </a:ext>
            </a:extLst>
          </p:cNvPr>
          <p:cNvSpPr txBox="1">
            <a:spLocks/>
          </p:cNvSpPr>
          <p:nvPr/>
        </p:nvSpPr>
        <p:spPr bwMode="gray">
          <a:xfrm>
            <a:off x="623392" y="2565399"/>
            <a:ext cx="3384000" cy="3744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Bef>
                <a:spcPts val="600"/>
              </a:spcBef>
            </a:pPr>
            <a:r>
              <a:rPr lang="en-US" dirty="0"/>
              <a:t>Lorem ipsum dolor sit amet, consectetuer adipiscing elit.</a:t>
            </a:r>
          </a:p>
          <a:p>
            <a:pPr lvl="1">
              <a:spcBef>
                <a:spcPts val="600"/>
              </a:spcBef>
            </a:pPr>
            <a:r>
              <a:rPr lang="en-US" dirty="0"/>
              <a:t>Maecenas porttitor congue massa. Fusce posuere, magna sed pulvinar ultricies, purus lectus malesuada libero, sit amet commodo magna eros quis </a:t>
            </a:r>
            <a:r>
              <a:rPr lang="en-US" dirty="0" err="1"/>
              <a:t>urna</a:t>
            </a:r>
            <a:r>
              <a:rPr lang="en-US" dirty="0"/>
              <a:t>.</a:t>
            </a:r>
          </a:p>
          <a:p>
            <a:pPr lvl="2"/>
            <a:r>
              <a:rPr lang="en-US" dirty="0"/>
              <a:t>Nunc viverra imperdiet enim </a:t>
            </a:r>
            <a:br>
              <a:rPr lang="en-US" dirty="0"/>
            </a:br>
            <a:r>
              <a:rPr lang="en-US" dirty="0"/>
              <a:t>Fusce est. Vivamus a tellus</a:t>
            </a:r>
          </a:p>
          <a:p>
            <a:pPr lvl="2"/>
            <a:r>
              <a:rPr lang="en-US" dirty="0"/>
              <a:t>Pellentesque habitant morbi tristique senectus et netus et malesuada fames ac turpis egestas</a:t>
            </a:r>
          </a:p>
          <a:p>
            <a:pPr lvl="2"/>
            <a:r>
              <a:rPr lang="en-US" dirty="0"/>
              <a:t>Proin pharetra nonummy pede</a:t>
            </a:r>
          </a:p>
        </p:txBody>
      </p:sp>
      <p:sp>
        <p:nvSpPr>
          <p:cNvPr id="11" name="Textplatzhalter 3">
            <a:extLst>
              <a:ext uri="{FF2B5EF4-FFF2-40B4-BE49-F238E27FC236}">
                <a16:creationId xmlns:a16="http://schemas.microsoft.com/office/drawing/2014/main" id="{ECC42F24-0903-45F1-B2EF-1B7AEC817C85}"/>
              </a:ext>
            </a:extLst>
          </p:cNvPr>
          <p:cNvSpPr txBox="1">
            <a:spLocks/>
          </p:cNvSpPr>
          <p:nvPr/>
        </p:nvSpPr>
        <p:spPr bwMode="gray">
          <a:xfrm>
            <a:off x="624308" y="1772816"/>
            <a:ext cx="3384000" cy="360111"/>
          </a:xfrm>
          <a:prstGeom prst="rect">
            <a:avLst/>
          </a:prstGeom>
        </p:spPr>
        <p:txBody>
          <a:bodyPr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01</a:t>
            </a:r>
          </a:p>
        </p:txBody>
      </p:sp>
      <p:sp>
        <p:nvSpPr>
          <p:cNvPr id="12" name="Textplatzhalter 3">
            <a:extLst>
              <a:ext uri="{FF2B5EF4-FFF2-40B4-BE49-F238E27FC236}">
                <a16:creationId xmlns:a16="http://schemas.microsoft.com/office/drawing/2014/main" id="{7FB7D375-1A92-49E6-9B3C-42286B006F80}"/>
              </a:ext>
            </a:extLst>
          </p:cNvPr>
          <p:cNvSpPr txBox="1">
            <a:spLocks/>
          </p:cNvSpPr>
          <p:nvPr/>
        </p:nvSpPr>
        <p:spPr bwMode="gray">
          <a:xfrm>
            <a:off x="4440200" y="1772816"/>
            <a:ext cx="3312000" cy="360111"/>
          </a:xfrm>
          <a:prstGeom prst="rect">
            <a:avLst/>
          </a:prstGeom>
        </p:spPr>
        <p:txBody>
          <a:bodyPr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02</a:t>
            </a:r>
          </a:p>
        </p:txBody>
      </p:sp>
      <p:sp>
        <p:nvSpPr>
          <p:cNvPr id="13" name="Textplatzhalter 3">
            <a:extLst>
              <a:ext uri="{FF2B5EF4-FFF2-40B4-BE49-F238E27FC236}">
                <a16:creationId xmlns:a16="http://schemas.microsoft.com/office/drawing/2014/main" id="{2A606C77-63A5-4777-AA0F-070205B12C85}"/>
              </a:ext>
            </a:extLst>
          </p:cNvPr>
          <p:cNvSpPr txBox="1">
            <a:spLocks/>
          </p:cNvSpPr>
          <p:nvPr/>
        </p:nvSpPr>
        <p:spPr bwMode="gray">
          <a:xfrm>
            <a:off x="8184232" y="1772816"/>
            <a:ext cx="3384000" cy="360111"/>
          </a:xfrm>
          <a:prstGeom prst="rect">
            <a:avLst/>
          </a:prstGeom>
        </p:spPr>
        <p:txBody>
          <a:bodyPr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03</a:t>
            </a:r>
          </a:p>
        </p:txBody>
      </p:sp>
      <p:cxnSp>
        <p:nvCxnSpPr>
          <p:cNvPr id="16" name="Gerader Verbinder 15">
            <a:extLst>
              <a:ext uri="{FF2B5EF4-FFF2-40B4-BE49-F238E27FC236}">
                <a16:creationId xmlns:a16="http://schemas.microsoft.com/office/drawing/2014/main" id="{FBDB8C29-9316-41E6-BAA3-66EC02A9EAAC}"/>
              </a:ext>
            </a:extLst>
          </p:cNvPr>
          <p:cNvCxnSpPr/>
          <p:nvPr/>
        </p:nvCxnSpPr>
        <p:spPr bwMode="gray">
          <a:xfrm>
            <a:off x="1199768" y="2132927"/>
            <a:ext cx="2808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A1276BE5-FC78-47C3-BD09-38484B97E012}"/>
              </a:ext>
            </a:extLst>
          </p:cNvPr>
          <p:cNvCxnSpPr/>
          <p:nvPr/>
        </p:nvCxnSpPr>
        <p:spPr bwMode="gray">
          <a:xfrm>
            <a:off x="5087218" y="2132856"/>
            <a:ext cx="2664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3296EF9A-0D46-487A-BEF2-E9BBA7B8843B}"/>
              </a:ext>
            </a:extLst>
          </p:cNvPr>
          <p:cNvCxnSpPr/>
          <p:nvPr/>
        </p:nvCxnSpPr>
        <p:spPr bwMode="gray">
          <a:xfrm>
            <a:off x="8832304" y="2132785"/>
            <a:ext cx="2736974"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9" name="Textplatzhalter 15">
            <a:extLst>
              <a:ext uri="{FF2B5EF4-FFF2-40B4-BE49-F238E27FC236}">
                <a16:creationId xmlns:a16="http://schemas.microsoft.com/office/drawing/2014/main" id="{2C35DFC8-6700-4038-A3A7-69B309E2CF00}"/>
              </a:ext>
            </a:extLst>
          </p:cNvPr>
          <p:cNvSpPr txBox="1">
            <a:spLocks/>
          </p:cNvSpPr>
          <p:nvPr/>
        </p:nvSpPr>
        <p:spPr bwMode="gray">
          <a:xfrm>
            <a:off x="4439816" y="2565399"/>
            <a:ext cx="3312000" cy="3744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Bef>
                <a:spcPts val="600"/>
              </a:spcBef>
            </a:pPr>
            <a:r>
              <a:rPr lang="en-US" dirty="0"/>
              <a:t>Lorem ipsum dolor sit amet, consectetuer adipiscing elit.</a:t>
            </a:r>
          </a:p>
          <a:p>
            <a:pPr lvl="1">
              <a:spcBef>
                <a:spcPts val="600"/>
              </a:spcBef>
            </a:pPr>
            <a:r>
              <a:rPr lang="en-US" dirty="0"/>
              <a:t>Maecenas porttitor congue massa. Fusce posuere, magna sed pulvinar ultricies, purus lectus malesuada libero, sit amet commodo magna eros quis </a:t>
            </a:r>
            <a:r>
              <a:rPr lang="en-US" dirty="0" err="1"/>
              <a:t>urna</a:t>
            </a:r>
            <a:r>
              <a:rPr lang="en-US" dirty="0"/>
              <a:t>.</a:t>
            </a:r>
          </a:p>
          <a:p>
            <a:pPr lvl="2"/>
            <a:r>
              <a:rPr lang="en-US" dirty="0"/>
              <a:t>Nunc viverra imperdiet enim </a:t>
            </a:r>
            <a:br>
              <a:rPr lang="en-US" dirty="0"/>
            </a:br>
            <a:r>
              <a:rPr lang="en-US" dirty="0"/>
              <a:t>Fusce est. Vivamus a tellus</a:t>
            </a:r>
          </a:p>
          <a:p>
            <a:pPr lvl="2"/>
            <a:r>
              <a:rPr lang="en-US" dirty="0"/>
              <a:t>Pellentesque habitant morbi tristique senectus et netus et malesuada fames ac turpis egestas</a:t>
            </a:r>
          </a:p>
          <a:p>
            <a:pPr lvl="2"/>
            <a:r>
              <a:rPr lang="en-US" dirty="0"/>
              <a:t>Proin pharetra nonummy pede</a:t>
            </a:r>
          </a:p>
        </p:txBody>
      </p:sp>
      <p:sp>
        <p:nvSpPr>
          <p:cNvPr id="20" name="Textplatzhalter 15">
            <a:extLst>
              <a:ext uri="{FF2B5EF4-FFF2-40B4-BE49-F238E27FC236}">
                <a16:creationId xmlns:a16="http://schemas.microsoft.com/office/drawing/2014/main" id="{26907C2B-95D9-4E3B-A7D6-167363D6B615}"/>
              </a:ext>
            </a:extLst>
          </p:cNvPr>
          <p:cNvSpPr txBox="1">
            <a:spLocks/>
          </p:cNvSpPr>
          <p:nvPr/>
        </p:nvSpPr>
        <p:spPr bwMode="gray">
          <a:xfrm>
            <a:off x="8184232" y="2565399"/>
            <a:ext cx="3384000" cy="3744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dirty="0"/>
              <a:t>Lorem ipsum dolor sit amet, consectetuer adipiscing elit.</a:t>
            </a:r>
          </a:p>
          <a:p>
            <a:pPr lvl="1">
              <a:spcBef>
                <a:spcPts val="600"/>
              </a:spcBef>
            </a:pPr>
            <a:r>
              <a:rPr lang="en-US" dirty="0"/>
              <a:t>Maecenas porttitor congue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commodo magna eros </a:t>
            </a:r>
            <a:r>
              <a:rPr lang="en-US" dirty="0" err="1"/>
              <a:t>quis</a:t>
            </a:r>
            <a:r>
              <a:rPr lang="en-US" dirty="0"/>
              <a:t> </a:t>
            </a:r>
            <a:r>
              <a:rPr lang="en-US" dirty="0" err="1"/>
              <a:t>urna</a:t>
            </a:r>
            <a:r>
              <a:rPr lang="en-US" dirty="0"/>
              <a:t>.</a:t>
            </a:r>
          </a:p>
          <a:p>
            <a:pPr lvl="2"/>
            <a:r>
              <a:rPr lang="en-US" dirty="0"/>
              <a:t>Nunc viverra imperdiet enim </a:t>
            </a:r>
            <a:br>
              <a:rPr lang="en-US" dirty="0"/>
            </a:br>
            <a:r>
              <a:rPr lang="en-US" dirty="0"/>
              <a:t>Fusce est. Vivamus a tellus</a:t>
            </a:r>
          </a:p>
          <a:p>
            <a:pPr lvl="2"/>
            <a:r>
              <a:rPr lang="en-US" dirty="0"/>
              <a:t>Pellentesque habitant morbi tristique senectus et netus et malesuada fames ac turpis egestas</a:t>
            </a:r>
          </a:p>
          <a:p>
            <a:pPr lvl="2"/>
            <a:r>
              <a:rPr lang="en-US" dirty="0"/>
              <a:t>Proin pharetra nonummy pede</a:t>
            </a:r>
          </a:p>
        </p:txBody>
      </p:sp>
      <p:sp>
        <p:nvSpPr>
          <p:cNvPr id="4" name="Fußzeilenplatzhalter 3">
            <a:extLst>
              <a:ext uri="{FF2B5EF4-FFF2-40B4-BE49-F238E27FC236}">
                <a16:creationId xmlns:a16="http://schemas.microsoft.com/office/drawing/2014/main" id="{3BC37BF1-1328-4AD2-84D2-928AAEE8716B}"/>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CDA60FE4-A997-41BB-A4D9-921985DB8BE3}"/>
              </a:ext>
            </a:extLst>
          </p:cNvPr>
          <p:cNvSpPr>
            <a:spLocks noGrp="1"/>
          </p:cNvSpPr>
          <p:nvPr>
            <p:ph type="sldNum" sz="quarter" idx="12"/>
          </p:nvPr>
        </p:nvSpPr>
        <p:spPr/>
        <p:txBody>
          <a:bodyPr/>
          <a:lstStyle/>
          <a:p>
            <a:fld id="{CE82B8A1-0CCE-4815-9668-383D7DE7D8B4}" type="slidenum">
              <a:rPr lang="en-US" noProof="0" smtClean="0"/>
              <a:t>29</a:t>
            </a:fld>
            <a:endParaRPr lang="en-US" noProof="0" dirty="0"/>
          </a:p>
        </p:txBody>
      </p:sp>
    </p:spTree>
    <p:extLst>
      <p:ext uri="{BB962C8B-B14F-4D97-AF65-F5344CB8AC3E}">
        <p14:creationId xmlns:p14="http://schemas.microsoft.com/office/powerpoint/2010/main" val="7000726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Ellipse 105">
            <a:extLst>
              <a:ext uri="{FF2B5EF4-FFF2-40B4-BE49-F238E27FC236}">
                <a16:creationId xmlns:a16="http://schemas.microsoft.com/office/drawing/2014/main" id="{46819EC4-63B6-4E1A-AF46-4AA968DE8474}"/>
              </a:ext>
            </a:extLst>
          </p:cNvPr>
          <p:cNvSpPr/>
          <p:nvPr/>
        </p:nvSpPr>
        <p:spPr bwMode="gray">
          <a:xfrm>
            <a:off x="4503356" y="332656"/>
            <a:ext cx="6162910" cy="6162910"/>
          </a:xfrm>
          <a:prstGeom prst="ellips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3" name="Titel 2">
            <a:extLst>
              <a:ext uri="{FF2B5EF4-FFF2-40B4-BE49-F238E27FC236}">
                <a16:creationId xmlns:a16="http://schemas.microsoft.com/office/drawing/2014/main" id="{89E365C9-C459-444C-B263-41AF62E61472}"/>
              </a:ext>
            </a:extLst>
          </p:cNvPr>
          <p:cNvSpPr>
            <a:spLocks noGrp="1"/>
          </p:cNvSpPr>
          <p:nvPr>
            <p:ph type="title"/>
          </p:nvPr>
        </p:nvSpPr>
        <p:spPr bwMode="gray"/>
        <p:txBody>
          <a:bodyPr/>
          <a:lstStyle/>
          <a:p>
            <a:r>
              <a:rPr lang="en-US" dirty="0"/>
              <a:t>Mark intended use</a:t>
            </a:r>
          </a:p>
        </p:txBody>
      </p:sp>
      <p:sp>
        <p:nvSpPr>
          <p:cNvPr id="4" name="Textplatzhalter 3">
            <a:extLst>
              <a:ext uri="{FF2B5EF4-FFF2-40B4-BE49-F238E27FC236}">
                <a16:creationId xmlns:a16="http://schemas.microsoft.com/office/drawing/2014/main" id="{9DA69991-D41C-412C-8F89-8634B854D21D}"/>
              </a:ext>
            </a:extLst>
          </p:cNvPr>
          <p:cNvSpPr>
            <a:spLocks noGrp="1"/>
          </p:cNvSpPr>
          <p:nvPr>
            <p:ph type="body" sz="quarter" idx="15"/>
          </p:nvPr>
        </p:nvSpPr>
        <p:spPr bwMode="gray"/>
        <p:txBody>
          <a:bodyPr/>
          <a:lstStyle/>
          <a:p>
            <a:r>
              <a:rPr lang="en-US" dirty="0"/>
              <a:t>It can be useful to mark presentations distinctively.</a:t>
            </a:r>
          </a:p>
          <a:p>
            <a:pPr lvl="1"/>
            <a:r>
              <a:rPr lang="en-US" dirty="0"/>
              <a:t>A common example of this is using orange highlighting when documents are only intended for internal use. </a:t>
            </a:r>
          </a:p>
        </p:txBody>
      </p:sp>
      <p:grpSp>
        <p:nvGrpSpPr>
          <p:cNvPr id="5" name="Gruppieren 4">
            <a:extLst>
              <a:ext uri="{FF2B5EF4-FFF2-40B4-BE49-F238E27FC236}">
                <a16:creationId xmlns:a16="http://schemas.microsoft.com/office/drawing/2014/main" id="{18A7CD66-B33F-4CEB-ADD6-E94B09519A81}"/>
              </a:ext>
            </a:extLst>
          </p:cNvPr>
          <p:cNvGrpSpPr>
            <a:grpSpLocks noChangeAspect="1"/>
          </p:cNvGrpSpPr>
          <p:nvPr/>
        </p:nvGrpSpPr>
        <p:grpSpPr bwMode="gray">
          <a:xfrm flipH="1">
            <a:off x="8397052" y="1638932"/>
            <a:ext cx="2883524" cy="2880000"/>
            <a:chOff x="12646025" y="1482725"/>
            <a:chExt cx="3897313" cy="3892550"/>
          </a:xfrm>
        </p:grpSpPr>
        <p:sp>
          <p:nvSpPr>
            <p:cNvPr id="6" name="AutoShape 3">
              <a:extLst>
                <a:ext uri="{FF2B5EF4-FFF2-40B4-BE49-F238E27FC236}">
                  <a16:creationId xmlns:a16="http://schemas.microsoft.com/office/drawing/2014/main" id="{D254D020-35F8-462F-A2E2-DABF0EF8D563}"/>
                </a:ext>
              </a:extLst>
            </p:cNvPr>
            <p:cNvSpPr>
              <a:spLocks noChangeAspect="1" noChangeArrowheads="1" noTextEdit="1"/>
            </p:cNvSpPr>
            <p:nvPr/>
          </p:nvSpPr>
          <p:spPr bwMode="gray">
            <a:xfrm>
              <a:off x="12649200" y="1485900"/>
              <a:ext cx="3890963"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Oval 5">
              <a:extLst>
                <a:ext uri="{FF2B5EF4-FFF2-40B4-BE49-F238E27FC236}">
                  <a16:creationId xmlns:a16="http://schemas.microsoft.com/office/drawing/2014/main" id="{2CF2716B-55CC-4965-9C16-16313C5A3195}"/>
                </a:ext>
              </a:extLst>
            </p:cNvPr>
            <p:cNvSpPr>
              <a:spLocks noChangeArrowheads="1"/>
            </p:cNvSpPr>
            <p:nvPr/>
          </p:nvSpPr>
          <p:spPr bwMode="gray">
            <a:xfrm>
              <a:off x="12646025" y="1482725"/>
              <a:ext cx="3897313" cy="3892550"/>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50">
              <a:extLst>
                <a:ext uri="{FF2B5EF4-FFF2-40B4-BE49-F238E27FC236}">
                  <a16:creationId xmlns:a16="http://schemas.microsoft.com/office/drawing/2014/main" id="{6C2B6394-D834-46F3-B644-5AA43C941090}"/>
                </a:ext>
              </a:extLst>
            </p:cNvPr>
            <p:cNvSpPr>
              <a:spLocks/>
            </p:cNvSpPr>
            <p:nvPr/>
          </p:nvSpPr>
          <p:spPr bwMode="gray">
            <a:xfrm>
              <a:off x="12761913" y="3536950"/>
              <a:ext cx="2373313" cy="1389063"/>
            </a:xfrm>
            <a:custGeom>
              <a:avLst/>
              <a:gdLst>
                <a:gd name="T0" fmla="*/ 0 w 633"/>
                <a:gd name="T1" fmla="*/ 0 h 371"/>
                <a:gd name="T2" fmla="*/ 0 w 633"/>
                <a:gd name="T3" fmla="*/ 342 h 371"/>
                <a:gd name="T4" fmla="*/ 8 w 633"/>
                <a:gd name="T5" fmla="*/ 363 h 371"/>
                <a:gd name="T6" fmla="*/ 29 w 633"/>
                <a:gd name="T7" fmla="*/ 371 h 371"/>
                <a:gd name="T8" fmla="*/ 603 w 633"/>
                <a:gd name="T9" fmla="*/ 371 h 371"/>
                <a:gd name="T10" fmla="*/ 624 w 633"/>
                <a:gd name="T11" fmla="*/ 363 h 371"/>
                <a:gd name="T12" fmla="*/ 633 w 633"/>
                <a:gd name="T13" fmla="*/ 342 h 371"/>
                <a:gd name="T14" fmla="*/ 633 w 633"/>
                <a:gd name="T15" fmla="*/ 0 h 371"/>
                <a:gd name="T16" fmla="*/ 0 w 633"/>
                <a:gd name="T17"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3" h="371">
                  <a:moveTo>
                    <a:pt x="0" y="0"/>
                  </a:moveTo>
                  <a:cubicBezTo>
                    <a:pt x="0" y="342"/>
                    <a:pt x="0" y="342"/>
                    <a:pt x="0" y="342"/>
                  </a:cubicBezTo>
                  <a:cubicBezTo>
                    <a:pt x="0" y="349"/>
                    <a:pt x="3" y="357"/>
                    <a:pt x="8" y="363"/>
                  </a:cubicBezTo>
                  <a:cubicBezTo>
                    <a:pt x="14" y="368"/>
                    <a:pt x="22" y="371"/>
                    <a:pt x="29" y="371"/>
                  </a:cubicBezTo>
                  <a:cubicBezTo>
                    <a:pt x="603" y="371"/>
                    <a:pt x="603" y="371"/>
                    <a:pt x="603" y="371"/>
                  </a:cubicBezTo>
                  <a:cubicBezTo>
                    <a:pt x="611" y="371"/>
                    <a:pt x="618" y="368"/>
                    <a:pt x="624" y="363"/>
                  </a:cubicBezTo>
                  <a:cubicBezTo>
                    <a:pt x="630" y="357"/>
                    <a:pt x="633" y="349"/>
                    <a:pt x="633" y="342"/>
                  </a:cubicBezTo>
                  <a:cubicBezTo>
                    <a:pt x="633" y="0"/>
                    <a:pt x="633" y="0"/>
                    <a:pt x="633" y="0"/>
                  </a:cubicBezTo>
                  <a:lnTo>
                    <a:pt x="0"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51">
              <a:extLst>
                <a:ext uri="{FF2B5EF4-FFF2-40B4-BE49-F238E27FC236}">
                  <a16:creationId xmlns:a16="http://schemas.microsoft.com/office/drawing/2014/main" id="{E768786F-435C-4315-A253-F7919E7F7EB4}"/>
                </a:ext>
              </a:extLst>
            </p:cNvPr>
            <p:cNvSpPr>
              <a:spLocks/>
            </p:cNvSpPr>
            <p:nvPr/>
          </p:nvSpPr>
          <p:spPr bwMode="gray">
            <a:xfrm>
              <a:off x="13654088" y="4484688"/>
              <a:ext cx="588963" cy="355600"/>
            </a:xfrm>
            <a:custGeom>
              <a:avLst/>
              <a:gdLst>
                <a:gd name="T0" fmla="*/ 157 w 157"/>
                <a:gd name="T1" fmla="*/ 93 h 95"/>
                <a:gd name="T2" fmla="*/ 154 w 157"/>
                <a:gd name="T3" fmla="*/ 95 h 95"/>
                <a:gd name="T4" fmla="*/ 2 w 157"/>
                <a:gd name="T5" fmla="*/ 95 h 95"/>
                <a:gd name="T6" fmla="*/ 0 w 157"/>
                <a:gd name="T7" fmla="*/ 93 h 95"/>
                <a:gd name="T8" fmla="*/ 0 w 157"/>
                <a:gd name="T9" fmla="*/ 2 h 95"/>
                <a:gd name="T10" fmla="*/ 2 w 157"/>
                <a:gd name="T11" fmla="*/ 0 h 95"/>
                <a:gd name="T12" fmla="*/ 154 w 157"/>
                <a:gd name="T13" fmla="*/ 0 h 95"/>
                <a:gd name="T14" fmla="*/ 157 w 157"/>
                <a:gd name="T15" fmla="*/ 2 h 95"/>
                <a:gd name="T16" fmla="*/ 157 w 157"/>
                <a:gd name="T17" fmla="*/ 9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95">
                  <a:moveTo>
                    <a:pt x="157" y="93"/>
                  </a:moveTo>
                  <a:cubicBezTo>
                    <a:pt x="157" y="94"/>
                    <a:pt x="156" y="95"/>
                    <a:pt x="154" y="95"/>
                  </a:cubicBezTo>
                  <a:cubicBezTo>
                    <a:pt x="2" y="95"/>
                    <a:pt x="2" y="95"/>
                    <a:pt x="2" y="95"/>
                  </a:cubicBezTo>
                  <a:cubicBezTo>
                    <a:pt x="1" y="95"/>
                    <a:pt x="0" y="94"/>
                    <a:pt x="0" y="93"/>
                  </a:cubicBezTo>
                  <a:cubicBezTo>
                    <a:pt x="0" y="2"/>
                    <a:pt x="0" y="2"/>
                    <a:pt x="0" y="2"/>
                  </a:cubicBezTo>
                  <a:cubicBezTo>
                    <a:pt x="0" y="1"/>
                    <a:pt x="1" y="0"/>
                    <a:pt x="2" y="0"/>
                  </a:cubicBezTo>
                  <a:cubicBezTo>
                    <a:pt x="154" y="0"/>
                    <a:pt x="154" y="0"/>
                    <a:pt x="154" y="0"/>
                  </a:cubicBezTo>
                  <a:cubicBezTo>
                    <a:pt x="156" y="0"/>
                    <a:pt x="157" y="1"/>
                    <a:pt x="157" y="2"/>
                  </a:cubicBezTo>
                  <a:lnTo>
                    <a:pt x="157" y="9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52">
              <a:extLst>
                <a:ext uri="{FF2B5EF4-FFF2-40B4-BE49-F238E27FC236}">
                  <a16:creationId xmlns:a16="http://schemas.microsoft.com/office/drawing/2014/main" id="{F58BE4B4-BCE8-4CFB-A06C-1A94FBABE3A8}"/>
                </a:ext>
              </a:extLst>
            </p:cNvPr>
            <p:cNvSpPr>
              <a:spLocks/>
            </p:cNvSpPr>
            <p:nvPr/>
          </p:nvSpPr>
          <p:spPr bwMode="gray">
            <a:xfrm>
              <a:off x="12900025" y="3676650"/>
              <a:ext cx="120650" cy="119063"/>
            </a:xfrm>
            <a:custGeom>
              <a:avLst/>
              <a:gdLst>
                <a:gd name="T0" fmla="*/ 32 w 32"/>
                <a:gd name="T1" fmla="*/ 30 h 32"/>
                <a:gd name="T2" fmla="*/ 31 w 32"/>
                <a:gd name="T3" fmla="*/ 32 h 32"/>
                <a:gd name="T4" fmla="*/ 2 w 32"/>
                <a:gd name="T5" fmla="*/ 32 h 32"/>
                <a:gd name="T6" fmla="*/ 0 w 32"/>
                <a:gd name="T7" fmla="*/ 30 h 32"/>
                <a:gd name="T8" fmla="*/ 0 w 32"/>
                <a:gd name="T9" fmla="*/ 2 h 32"/>
                <a:gd name="T10" fmla="*/ 2 w 32"/>
                <a:gd name="T11" fmla="*/ 0 h 32"/>
                <a:gd name="T12" fmla="*/ 31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2" y="32"/>
                    <a:pt x="31" y="32"/>
                  </a:cubicBezTo>
                  <a:cubicBezTo>
                    <a:pt x="2" y="32"/>
                    <a:pt x="2" y="32"/>
                    <a:pt x="2" y="32"/>
                  </a:cubicBezTo>
                  <a:cubicBezTo>
                    <a:pt x="1" y="32"/>
                    <a:pt x="0" y="31"/>
                    <a:pt x="0" y="30"/>
                  </a:cubicBezTo>
                  <a:cubicBezTo>
                    <a:pt x="0" y="2"/>
                    <a:pt x="0" y="2"/>
                    <a:pt x="0" y="2"/>
                  </a:cubicBezTo>
                  <a:cubicBezTo>
                    <a:pt x="0" y="1"/>
                    <a:pt x="1" y="0"/>
                    <a:pt x="2" y="0"/>
                  </a:cubicBezTo>
                  <a:cubicBezTo>
                    <a:pt x="31" y="0"/>
                    <a:pt x="31" y="0"/>
                    <a:pt x="31" y="0"/>
                  </a:cubicBezTo>
                  <a:cubicBezTo>
                    <a:pt x="32"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53">
              <a:extLst>
                <a:ext uri="{FF2B5EF4-FFF2-40B4-BE49-F238E27FC236}">
                  <a16:creationId xmlns:a16="http://schemas.microsoft.com/office/drawing/2014/main" id="{618B50F7-0975-4310-8D9A-81A2AA8B0EE0}"/>
                </a:ext>
              </a:extLst>
            </p:cNvPr>
            <p:cNvSpPr>
              <a:spLocks/>
            </p:cNvSpPr>
            <p:nvPr/>
          </p:nvSpPr>
          <p:spPr bwMode="gray">
            <a:xfrm>
              <a:off x="13122275"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54">
              <a:extLst>
                <a:ext uri="{FF2B5EF4-FFF2-40B4-BE49-F238E27FC236}">
                  <a16:creationId xmlns:a16="http://schemas.microsoft.com/office/drawing/2014/main" id="{3FFC6530-F6AE-4440-A727-5B8C062D744F}"/>
                </a:ext>
              </a:extLst>
            </p:cNvPr>
            <p:cNvSpPr>
              <a:spLocks/>
            </p:cNvSpPr>
            <p:nvPr/>
          </p:nvSpPr>
          <p:spPr bwMode="gray">
            <a:xfrm>
              <a:off x="13155613" y="39687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55">
              <a:extLst>
                <a:ext uri="{FF2B5EF4-FFF2-40B4-BE49-F238E27FC236}">
                  <a16:creationId xmlns:a16="http://schemas.microsoft.com/office/drawing/2014/main" id="{8339D870-C349-4A64-80B8-4831556FBFC6}"/>
                </a:ext>
              </a:extLst>
            </p:cNvPr>
            <p:cNvSpPr>
              <a:spLocks/>
            </p:cNvSpPr>
            <p:nvPr/>
          </p:nvSpPr>
          <p:spPr bwMode="gray">
            <a:xfrm>
              <a:off x="13084175"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56">
              <a:extLst>
                <a:ext uri="{FF2B5EF4-FFF2-40B4-BE49-F238E27FC236}">
                  <a16:creationId xmlns:a16="http://schemas.microsoft.com/office/drawing/2014/main" id="{3F9D6E25-BFAE-414E-B0A7-188ADAF99655}"/>
                </a:ext>
              </a:extLst>
            </p:cNvPr>
            <p:cNvSpPr>
              <a:spLocks/>
            </p:cNvSpPr>
            <p:nvPr/>
          </p:nvSpPr>
          <p:spPr bwMode="gray">
            <a:xfrm>
              <a:off x="12900025" y="4260850"/>
              <a:ext cx="120650" cy="133350"/>
            </a:xfrm>
            <a:custGeom>
              <a:avLst/>
              <a:gdLst>
                <a:gd name="T0" fmla="*/ 32 w 32"/>
                <a:gd name="T1" fmla="*/ 35 h 36"/>
                <a:gd name="T2" fmla="*/ 31 w 32"/>
                <a:gd name="T3" fmla="*/ 36 h 36"/>
                <a:gd name="T4" fmla="*/ 2 w 32"/>
                <a:gd name="T5" fmla="*/ 36 h 36"/>
                <a:gd name="T6" fmla="*/ 0 w 32"/>
                <a:gd name="T7" fmla="*/ 35 h 36"/>
                <a:gd name="T8" fmla="*/ 0 w 32"/>
                <a:gd name="T9" fmla="*/ 1 h 36"/>
                <a:gd name="T10" fmla="*/ 2 w 32"/>
                <a:gd name="T11" fmla="*/ 0 h 36"/>
                <a:gd name="T12" fmla="*/ 31 w 32"/>
                <a:gd name="T13" fmla="*/ 0 h 36"/>
                <a:gd name="T14" fmla="*/ 32 w 32"/>
                <a:gd name="T15" fmla="*/ 1 h 36"/>
                <a:gd name="T16" fmla="*/ 32 w 3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32" y="35"/>
                  </a:moveTo>
                  <a:cubicBezTo>
                    <a:pt x="32" y="36"/>
                    <a:pt x="32" y="36"/>
                    <a:pt x="31" y="36"/>
                  </a:cubicBezTo>
                  <a:cubicBezTo>
                    <a:pt x="2" y="36"/>
                    <a:pt x="2" y="36"/>
                    <a:pt x="2" y="36"/>
                  </a:cubicBezTo>
                  <a:cubicBezTo>
                    <a:pt x="1" y="36"/>
                    <a:pt x="0" y="36"/>
                    <a:pt x="0" y="35"/>
                  </a:cubicBezTo>
                  <a:cubicBezTo>
                    <a:pt x="0" y="1"/>
                    <a:pt x="0" y="1"/>
                    <a:pt x="0" y="1"/>
                  </a:cubicBezTo>
                  <a:cubicBezTo>
                    <a:pt x="0" y="0"/>
                    <a:pt x="1" y="0"/>
                    <a:pt x="2" y="0"/>
                  </a:cubicBezTo>
                  <a:cubicBezTo>
                    <a:pt x="31" y="0"/>
                    <a:pt x="31" y="0"/>
                    <a:pt x="31" y="0"/>
                  </a:cubicBezTo>
                  <a:cubicBezTo>
                    <a:pt x="32" y="0"/>
                    <a:pt x="32" y="0"/>
                    <a:pt x="32" y="1"/>
                  </a:cubicBezTo>
                  <a:lnTo>
                    <a:pt x="3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57">
              <a:extLst>
                <a:ext uri="{FF2B5EF4-FFF2-40B4-BE49-F238E27FC236}">
                  <a16:creationId xmlns:a16="http://schemas.microsoft.com/office/drawing/2014/main" id="{5529374F-91C1-4460-992B-426A788303FB}"/>
                </a:ext>
              </a:extLst>
            </p:cNvPr>
            <p:cNvSpPr>
              <a:spLocks/>
            </p:cNvSpPr>
            <p:nvPr/>
          </p:nvSpPr>
          <p:spPr bwMode="gray">
            <a:xfrm>
              <a:off x="13046075" y="4260850"/>
              <a:ext cx="120650" cy="133350"/>
            </a:xfrm>
            <a:custGeom>
              <a:avLst/>
              <a:gdLst>
                <a:gd name="T0" fmla="*/ 32 w 32"/>
                <a:gd name="T1" fmla="*/ 35 h 36"/>
                <a:gd name="T2" fmla="*/ 30 w 32"/>
                <a:gd name="T3" fmla="*/ 36 h 36"/>
                <a:gd name="T4" fmla="*/ 2 w 32"/>
                <a:gd name="T5" fmla="*/ 36 h 36"/>
                <a:gd name="T6" fmla="*/ 0 w 32"/>
                <a:gd name="T7" fmla="*/ 35 h 36"/>
                <a:gd name="T8" fmla="*/ 0 w 32"/>
                <a:gd name="T9" fmla="*/ 1 h 36"/>
                <a:gd name="T10" fmla="*/ 2 w 32"/>
                <a:gd name="T11" fmla="*/ 0 h 36"/>
                <a:gd name="T12" fmla="*/ 30 w 32"/>
                <a:gd name="T13" fmla="*/ 0 h 36"/>
                <a:gd name="T14" fmla="*/ 32 w 32"/>
                <a:gd name="T15" fmla="*/ 1 h 36"/>
                <a:gd name="T16" fmla="*/ 32 w 3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32" y="35"/>
                  </a:moveTo>
                  <a:cubicBezTo>
                    <a:pt x="32" y="36"/>
                    <a:pt x="31" y="36"/>
                    <a:pt x="30" y="36"/>
                  </a:cubicBezTo>
                  <a:cubicBezTo>
                    <a:pt x="2" y="36"/>
                    <a:pt x="2" y="36"/>
                    <a:pt x="2" y="36"/>
                  </a:cubicBezTo>
                  <a:cubicBezTo>
                    <a:pt x="1" y="36"/>
                    <a:pt x="0" y="36"/>
                    <a:pt x="0" y="35"/>
                  </a:cubicBezTo>
                  <a:cubicBezTo>
                    <a:pt x="0" y="1"/>
                    <a:pt x="0" y="1"/>
                    <a:pt x="0" y="1"/>
                  </a:cubicBezTo>
                  <a:cubicBezTo>
                    <a:pt x="0" y="0"/>
                    <a:pt x="1" y="0"/>
                    <a:pt x="2" y="0"/>
                  </a:cubicBezTo>
                  <a:cubicBezTo>
                    <a:pt x="30" y="0"/>
                    <a:pt x="30" y="0"/>
                    <a:pt x="30" y="0"/>
                  </a:cubicBezTo>
                  <a:cubicBezTo>
                    <a:pt x="31" y="0"/>
                    <a:pt x="32" y="0"/>
                    <a:pt x="32" y="1"/>
                  </a:cubicBezTo>
                  <a:lnTo>
                    <a:pt x="3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58">
              <a:extLst>
                <a:ext uri="{FF2B5EF4-FFF2-40B4-BE49-F238E27FC236}">
                  <a16:creationId xmlns:a16="http://schemas.microsoft.com/office/drawing/2014/main" id="{335BF775-E27E-4484-8A85-060366593ED2}"/>
                </a:ext>
              </a:extLst>
            </p:cNvPr>
            <p:cNvSpPr>
              <a:spLocks/>
            </p:cNvSpPr>
            <p:nvPr/>
          </p:nvSpPr>
          <p:spPr bwMode="gray">
            <a:xfrm>
              <a:off x="13192125" y="4260850"/>
              <a:ext cx="120650" cy="133350"/>
            </a:xfrm>
            <a:custGeom>
              <a:avLst/>
              <a:gdLst>
                <a:gd name="T0" fmla="*/ 32 w 32"/>
                <a:gd name="T1" fmla="*/ 35 h 36"/>
                <a:gd name="T2" fmla="*/ 30 w 32"/>
                <a:gd name="T3" fmla="*/ 36 h 36"/>
                <a:gd name="T4" fmla="*/ 2 w 32"/>
                <a:gd name="T5" fmla="*/ 36 h 36"/>
                <a:gd name="T6" fmla="*/ 0 w 32"/>
                <a:gd name="T7" fmla="*/ 35 h 36"/>
                <a:gd name="T8" fmla="*/ 0 w 32"/>
                <a:gd name="T9" fmla="*/ 1 h 36"/>
                <a:gd name="T10" fmla="*/ 2 w 32"/>
                <a:gd name="T11" fmla="*/ 0 h 36"/>
                <a:gd name="T12" fmla="*/ 30 w 32"/>
                <a:gd name="T13" fmla="*/ 0 h 36"/>
                <a:gd name="T14" fmla="*/ 32 w 32"/>
                <a:gd name="T15" fmla="*/ 1 h 36"/>
                <a:gd name="T16" fmla="*/ 32 w 3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32" y="35"/>
                  </a:moveTo>
                  <a:cubicBezTo>
                    <a:pt x="32" y="36"/>
                    <a:pt x="31" y="36"/>
                    <a:pt x="30" y="36"/>
                  </a:cubicBezTo>
                  <a:cubicBezTo>
                    <a:pt x="2" y="36"/>
                    <a:pt x="2" y="36"/>
                    <a:pt x="2" y="36"/>
                  </a:cubicBezTo>
                  <a:cubicBezTo>
                    <a:pt x="1" y="36"/>
                    <a:pt x="0" y="36"/>
                    <a:pt x="0" y="35"/>
                  </a:cubicBezTo>
                  <a:cubicBezTo>
                    <a:pt x="0" y="1"/>
                    <a:pt x="0" y="1"/>
                    <a:pt x="0" y="1"/>
                  </a:cubicBezTo>
                  <a:cubicBezTo>
                    <a:pt x="0" y="0"/>
                    <a:pt x="1" y="0"/>
                    <a:pt x="2" y="0"/>
                  </a:cubicBezTo>
                  <a:cubicBezTo>
                    <a:pt x="30" y="0"/>
                    <a:pt x="30" y="0"/>
                    <a:pt x="30" y="0"/>
                  </a:cubicBezTo>
                  <a:cubicBezTo>
                    <a:pt x="31" y="0"/>
                    <a:pt x="32" y="0"/>
                    <a:pt x="32" y="1"/>
                  </a:cubicBezTo>
                  <a:lnTo>
                    <a:pt x="3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59">
              <a:extLst>
                <a:ext uri="{FF2B5EF4-FFF2-40B4-BE49-F238E27FC236}">
                  <a16:creationId xmlns:a16="http://schemas.microsoft.com/office/drawing/2014/main" id="{8C814B1C-27CC-4794-AFBE-61481CA5643C}"/>
                </a:ext>
              </a:extLst>
            </p:cNvPr>
            <p:cNvSpPr>
              <a:spLocks/>
            </p:cNvSpPr>
            <p:nvPr/>
          </p:nvSpPr>
          <p:spPr bwMode="gray">
            <a:xfrm>
              <a:off x="14433550" y="4260850"/>
              <a:ext cx="120650" cy="133350"/>
            </a:xfrm>
            <a:custGeom>
              <a:avLst/>
              <a:gdLst>
                <a:gd name="T0" fmla="*/ 32 w 32"/>
                <a:gd name="T1" fmla="*/ 35 h 36"/>
                <a:gd name="T2" fmla="*/ 30 w 32"/>
                <a:gd name="T3" fmla="*/ 36 h 36"/>
                <a:gd name="T4" fmla="*/ 2 w 32"/>
                <a:gd name="T5" fmla="*/ 36 h 36"/>
                <a:gd name="T6" fmla="*/ 0 w 32"/>
                <a:gd name="T7" fmla="*/ 35 h 36"/>
                <a:gd name="T8" fmla="*/ 0 w 32"/>
                <a:gd name="T9" fmla="*/ 1 h 36"/>
                <a:gd name="T10" fmla="*/ 2 w 32"/>
                <a:gd name="T11" fmla="*/ 0 h 36"/>
                <a:gd name="T12" fmla="*/ 30 w 32"/>
                <a:gd name="T13" fmla="*/ 0 h 36"/>
                <a:gd name="T14" fmla="*/ 32 w 32"/>
                <a:gd name="T15" fmla="*/ 1 h 36"/>
                <a:gd name="T16" fmla="*/ 32 w 3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32" y="35"/>
                  </a:moveTo>
                  <a:cubicBezTo>
                    <a:pt x="32" y="36"/>
                    <a:pt x="31" y="36"/>
                    <a:pt x="30" y="36"/>
                  </a:cubicBezTo>
                  <a:cubicBezTo>
                    <a:pt x="2" y="36"/>
                    <a:pt x="2" y="36"/>
                    <a:pt x="2" y="36"/>
                  </a:cubicBezTo>
                  <a:cubicBezTo>
                    <a:pt x="1" y="36"/>
                    <a:pt x="0" y="36"/>
                    <a:pt x="0" y="35"/>
                  </a:cubicBezTo>
                  <a:cubicBezTo>
                    <a:pt x="0" y="1"/>
                    <a:pt x="0" y="1"/>
                    <a:pt x="0" y="1"/>
                  </a:cubicBezTo>
                  <a:cubicBezTo>
                    <a:pt x="0" y="0"/>
                    <a:pt x="1" y="0"/>
                    <a:pt x="2" y="0"/>
                  </a:cubicBezTo>
                  <a:cubicBezTo>
                    <a:pt x="30" y="0"/>
                    <a:pt x="30" y="0"/>
                    <a:pt x="30" y="0"/>
                  </a:cubicBezTo>
                  <a:cubicBezTo>
                    <a:pt x="31" y="0"/>
                    <a:pt x="32" y="0"/>
                    <a:pt x="32" y="1"/>
                  </a:cubicBezTo>
                  <a:lnTo>
                    <a:pt x="3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60">
              <a:extLst>
                <a:ext uri="{FF2B5EF4-FFF2-40B4-BE49-F238E27FC236}">
                  <a16:creationId xmlns:a16="http://schemas.microsoft.com/office/drawing/2014/main" id="{481EDDEB-0C3E-40C1-B044-E85F3AF070AA}"/>
                </a:ext>
              </a:extLst>
            </p:cNvPr>
            <p:cNvSpPr>
              <a:spLocks/>
            </p:cNvSpPr>
            <p:nvPr/>
          </p:nvSpPr>
          <p:spPr bwMode="gray">
            <a:xfrm>
              <a:off x="14579600" y="4327525"/>
              <a:ext cx="120650" cy="66675"/>
            </a:xfrm>
            <a:custGeom>
              <a:avLst/>
              <a:gdLst>
                <a:gd name="T0" fmla="*/ 32 w 32"/>
                <a:gd name="T1" fmla="*/ 17 h 18"/>
                <a:gd name="T2" fmla="*/ 30 w 32"/>
                <a:gd name="T3" fmla="*/ 18 h 18"/>
                <a:gd name="T4" fmla="*/ 2 w 32"/>
                <a:gd name="T5" fmla="*/ 18 h 18"/>
                <a:gd name="T6" fmla="*/ 0 w 32"/>
                <a:gd name="T7" fmla="*/ 17 h 18"/>
                <a:gd name="T8" fmla="*/ 0 w 32"/>
                <a:gd name="T9" fmla="*/ 2 h 18"/>
                <a:gd name="T10" fmla="*/ 2 w 32"/>
                <a:gd name="T11" fmla="*/ 0 h 18"/>
                <a:gd name="T12" fmla="*/ 30 w 32"/>
                <a:gd name="T13" fmla="*/ 0 h 18"/>
                <a:gd name="T14" fmla="*/ 32 w 32"/>
                <a:gd name="T15" fmla="*/ 2 h 18"/>
                <a:gd name="T16" fmla="*/ 32 w 32"/>
                <a:gd name="T17"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8">
                  <a:moveTo>
                    <a:pt x="32" y="17"/>
                  </a:moveTo>
                  <a:cubicBezTo>
                    <a:pt x="32" y="18"/>
                    <a:pt x="31" y="18"/>
                    <a:pt x="30" y="18"/>
                  </a:cubicBezTo>
                  <a:cubicBezTo>
                    <a:pt x="2" y="18"/>
                    <a:pt x="2" y="18"/>
                    <a:pt x="2" y="18"/>
                  </a:cubicBezTo>
                  <a:cubicBezTo>
                    <a:pt x="1" y="18"/>
                    <a:pt x="0" y="18"/>
                    <a:pt x="0" y="17"/>
                  </a:cubicBezTo>
                  <a:cubicBezTo>
                    <a:pt x="0" y="2"/>
                    <a:pt x="0" y="2"/>
                    <a:pt x="0" y="2"/>
                  </a:cubicBezTo>
                  <a:cubicBezTo>
                    <a:pt x="0" y="1"/>
                    <a:pt x="1" y="0"/>
                    <a:pt x="2" y="0"/>
                  </a:cubicBezTo>
                  <a:cubicBezTo>
                    <a:pt x="30" y="0"/>
                    <a:pt x="30" y="0"/>
                    <a:pt x="30" y="0"/>
                  </a:cubicBezTo>
                  <a:cubicBezTo>
                    <a:pt x="31" y="0"/>
                    <a:pt x="32" y="1"/>
                    <a:pt x="32" y="2"/>
                  </a:cubicBezTo>
                  <a:lnTo>
                    <a:pt x="32"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61">
              <a:extLst>
                <a:ext uri="{FF2B5EF4-FFF2-40B4-BE49-F238E27FC236}">
                  <a16:creationId xmlns:a16="http://schemas.microsoft.com/office/drawing/2014/main" id="{1EDE35B3-C86C-4B63-870E-7AD15494F457}"/>
                </a:ext>
              </a:extLst>
            </p:cNvPr>
            <p:cNvSpPr>
              <a:spLocks/>
            </p:cNvSpPr>
            <p:nvPr/>
          </p:nvSpPr>
          <p:spPr bwMode="gray">
            <a:xfrm>
              <a:off x="14871700" y="4327525"/>
              <a:ext cx="120650" cy="66675"/>
            </a:xfrm>
            <a:custGeom>
              <a:avLst/>
              <a:gdLst>
                <a:gd name="T0" fmla="*/ 32 w 32"/>
                <a:gd name="T1" fmla="*/ 17 h 18"/>
                <a:gd name="T2" fmla="*/ 30 w 32"/>
                <a:gd name="T3" fmla="*/ 18 h 18"/>
                <a:gd name="T4" fmla="*/ 2 w 32"/>
                <a:gd name="T5" fmla="*/ 18 h 18"/>
                <a:gd name="T6" fmla="*/ 0 w 32"/>
                <a:gd name="T7" fmla="*/ 17 h 18"/>
                <a:gd name="T8" fmla="*/ 0 w 32"/>
                <a:gd name="T9" fmla="*/ 2 h 18"/>
                <a:gd name="T10" fmla="*/ 2 w 32"/>
                <a:gd name="T11" fmla="*/ 0 h 18"/>
                <a:gd name="T12" fmla="*/ 30 w 32"/>
                <a:gd name="T13" fmla="*/ 0 h 18"/>
                <a:gd name="T14" fmla="*/ 32 w 32"/>
                <a:gd name="T15" fmla="*/ 2 h 18"/>
                <a:gd name="T16" fmla="*/ 32 w 32"/>
                <a:gd name="T17"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8">
                  <a:moveTo>
                    <a:pt x="32" y="17"/>
                  </a:moveTo>
                  <a:cubicBezTo>
                    <a:pt x="32" y="18"/>
                    <a:pt x="31" y="18"/>
                    <a:pt x="30" y="18"/>
                  </a:cubicBezTo>
                  <a:cubicBezTo>
                    <a:pt x="2" y="18"/>
                    <a:pt x="2" y="18"/>
                    <a:pt x="2" y="18"/>
                  </a:cubicBezTo>
                  <a:cubicBezTo>
                    <a:pt x="1" y="18"/>
                    <a:pt x="0" y="18"/>
                    <a:pt x="0" y="17"/>
                  </a:cubicBezTo>
                  <a:cubicBezTo>
                    <a:pt x="0" y="2"/>
                    <a:pt x="0" y="2"/>
                    <a:pt x="0" y="2"/>
                  </a:cubicBezTo>
                  <a:cubicBezTo>
                    <a:pt x="0" y="1"/>
                    <a:pt x="1" y="0"/>
                    <a:pt x="2" y="0"/>
                  </a:cubicBezTo>
                  <a:cubicBezTo>
                    <a:pt x="30" y="0"/>
                    <a:pt x="30" y="0"/>
                    <a:pt x="30" y="0"/>
                  </a:cubicBezTo>
                  <a:cubicBezTo>
                    <a:pt x="31" y="0"/>
                    <a:pt x="32" y="1"/>
                    <a:pt x="32" y="2"/>
                  </a:cubicBezTo>
                  <a:lnTo>
                    <a:pt x="32"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2">
              <a:extLst>
                <a:ext uri="{FF2B5EF4-FFF2-40B4-BE49-F238E27FC236}">
                  <a16:creationId xmlns:a16="http://schemas.microsoft.com/office/drawing/2014/main" id="{790F425C-0C16-4495-A251-40047DA9D03F}"/>
                </a:ext>
              </a:extLst>
            </p:cNvPr>
            <p:cNvSpPr>
              <a:spLocks/>
            </p:cNvSpPr>
            <p:nvPr/>
          </p:nvSpPr>
          <p:spPr bwMode="gray">
            <a:xfrm>
              <a:off x="13339763" y="4260850"/>
              <a:ext cx="157163" cy="133350"/>
            </a:xfrm>
            <a:custGeom>
              <a:avLst/>
              <a:gdLst>
                <a:gd name="T0" fmla="*/ 42 w 42"/>
                <a:gd name="T1" fmla="*/ 35 h 36"/>
                <a:gd name="T2" fmla="*/ 40 w 42"/>
                <a:gd name="T3" fmla="*/ 36 h 36"/>
                <a:gd name="T4" fmla="*/ 2 w 42"/>
                <a:gd name="T5" fmla="*/ 36 h 36"/>
                <a:gd name="T6" fmla="*/ 0 w 42"/>
                <a:gd name="T7" fmla="*/ 35 h 36"/>
                <a:gd name="T8" fmla="*/ 0 w 42"/>
                <a:gd name="T9" fmla="*/ 1 h 36"/>
                <a:gd name="T10" fmla="*/ 2 w 42"/>
                <a:gd name="T11" fmla="*/ 0 h 36"/>
                <a:gd name="T12" fmla="*/ 40 w 42"/>
                <a:gd name="T13" fmla="*/ 0 h 36"/>
                <a:gd name="T14" fmla="*/ 42 w 42"/>
                <a:gd name="T15" fmla="*/ 1 h 36"/>
                <a:gd name="T16" fmla="*/ 42 w 4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6">
                  <a:moveTo>
                    <a:pt x="42" y="35"/>
                  </a:moveTo>
                  <a:cubicBezTo>
                    <a:pt x="42" y="36"/>
                    <a:pt x="41" y="36"/>
                    <a:pt x="40" y="36"/>
                  </a:cubicBezTo>
                  <a:cubicBezTo>
                    <a:pt x="2" y="36"/>
                    <a:pt x="2" y="36"/>
                    <a:pt x="2" y="36"/>
                  </a:cubicBezTo>
                  <a:cubicBezTo>
                    <a:pt x="1" y="36"/>
                    <a:pt x="0" y="36"/>
                    <a:pt x="0" y="35"/>
                  </a:cubicBezTo>
                  <a:cubicBezTo>
                    <a:pt x="0" y="1"/>
                    <a:pt x="0" y="1"/>
                    <a:pt x="0" y="1"/>
                  </a:cubicBezTo>
                  <a:cubicBezTo>
                    <a:pt x="0" y="0"/>
                    <a:pt x="1" y="0"/>
                    <a:pt x="2" y="0"/>
                  </a:cubicBezTo>
                  <a:cubicBezTo>
                    <a:pt x="40" y="0"/>
                    <a:pt x="40" y="0"/>
                    <a:pt x="40" y="0"/>
                  </a:cubicBezTo>
                  <a:cubicBezTo>
                    <a:pt x="41" y="0"/>
                    <a:pt x="42" y="0"/>
                    <a:pt x="42" y="1"/>
                  </a:cubicBezTo>
                  <a:lnTo>
                    <a:pt x="4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63">
              <a:extLst>
                <a:ext uri="{FF2B5EF4-FFF2-40B4-BE49-F238E27FC236}">
                  <a16:creationId xmlns:a16="http://schemas.microsoft.com/office/drawing/2014/main" id="{D62F17B3-E662-4074-B4B5-050298FDC681}"/>
                </a:ext>
              </a:extLst>
            </p:cNvPr>
            <p:cNvSpPr>
              <a:spLocks/>
            </p:cNvSpPr>
            <p:nvPr/>
          </p:nvSpPr>
          <p:spPr bwMode="gray">
            <a:xfrm>
              <a:off x="14249400" y="4260850"/>
              <a:ext cx="157163" cy="133350"/>
            </a:xfrm>
            <a:custGeom>
              <a:avLst/>
              <a:gdLst>
                <a:gd name="T0" fmla="*/ 42 w 42"/>
                <a:gd name="T1" fmla="*/ 35 h 36"/>
                <a:gd name="T2" fmla="*/ 41 w 42"/>
                <a:gd name="T3" fmla="*/ 36 h 36"/>
                <a:gd name="T4" fmla="*/ 2 w 42"/>
                <a:gd name="T5" fmla="*/ 36 h 36"/>
                <a:gd name="T6" fmla="*/ 0 w 42"/>
                <a:gd name="T7" fmla="*/ 35 h 36"/>
                <a:gd name="T8" fmla="*/ 0 w 42"/>
                <a:gd name="T9" fmla="*/ 1 h 36"/>
                <a:gd name="T10" fmla="*/ 2 w 42"/>
                <a:gd name="T11" fmla="*/ 0 h 36"/>
                <a:gd name="T12" fmla="*/ 41 w 42"/>
                <a:gd name="T13" fmla="*/ 0 h 36"/>
                <a:gd name="T14" fmla="*/ 42 w 42"/>
                <a:gd name="T15" fmla="*/ 1 h 36"/>
                <a:gd name="T16" fmla="*/ 42 w 4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6">
                  <a:moveTo>
                    <a:pt x="42" y="35"/>
                  </a:moveTo>
                  <a:cubicBezTo>
                    <a:pt x="42" y="36"/>
                    <a:pt x="42" y="36"/>
                    <a:pt x="41" y="36"/>
                  </a:cubicBezTo>
                  <a:cubicBezTo>
                    <a:pt x="2" y="36"/>
                    <a:pt x="2" y="36"/>
                    <a:pt x="2" y="36"/>
                  </a:cubicBezTo>
                  <a:cubicBezTo>
                    <a:pt x="1" y="36"/>
                    <a:pt x="0" y="36"/>
                    <a:pt x="0" y="35"/>
                  </a:cubicBezTo>
                  <a:cubicBezTo>
                    <a:pt x="0" y="1"/>
                    <a:pt x="0" y="1"/>
                    <a:pt x="0" y="1"/>
                  </a:cubicBezTo>
                  <a:cubicBezTo>
                    <a:pt x="0" y="0"/>
                    <a:pt x="1" y="0"/>
                    <a:pt x="2" y="0"/>
                  </a:cubicBezTo>
                  <a:cubicBezTo>
                    <a:pt x="41" y="0"/>
                    <a:pt x="41" y="0"/>
                    <a:pt x="41" y="0"/>
                  </a:cubicBezTo>
                  <a:cubicBezTo>
                    <a:pt x="42" y="0"/>
                    <a:pt x="42" y="0"/>
                    <a:pt x="42" y="1"/>
                  </a:cubicBezTo>
                  <a:lnTo>
                    <a:pt x="4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64">
              <a:extLst>
                <a:ext uri="{FF2B5EF4-FFF2-40B4-BE49-F238E27FC236}">
                  <a16:creationId xmlns:a16="http://schemas.microsoft.com/office/drawing/2014/main" id="{810864B9-11AD-4D3A-9013-CD0C948BD999}"/>
                </a:ext>
              </a:extLst>
            </p:cNvPr>
            <p:cNvSpPr>
              <a:spLocks/>
            </p:cNvSpPr>
            <p:nvPr/>
          </p:nvSpPr>
          <p:spPr bwMode="gray">
            <a:xfrm>
              <a:off x="13522325" y="4260850"/>
              <a:ext cx="701675" cy="133350"/>
            </a:xfrm>
            <a:custGeom>
              <a:avLst/>
              <a:gdLst>
                <a:gd name="T0" fmla="*/ 187 w 187"/>
                <a:gd name="T1" fmla="*/ 35 h 36"/>
                <a:gd name="T2" fmla="*/ 185 w 187"/>
                <a:gd name="T3" fmla="*/ 36 h 36"/>
                <a:gd name="T4" fmla="*/ 2 w 187"/>
                <a:gd name="T5" fmla="*/ 36 h 36"/>
                <a:gd name="T6" fmla="*/ 0 w 187"/>
                <a:gd name="T7" fmla="*/ 35 h 36"/>
                <a:gd name="T8" fmla="*/ 0 w 187"/>
                <a:gd name="T9" fmla="*/ 1 h 36"/>
                <a:gd name="T10" fmla="*/ 2 w 187"/>
                <a:gd name="T11" fmla="*/ 0 h 36"/>
                <a:gd name="T12" fmla="*/ 185 w 187"/>
                <a:gd name="T13" fmla="*/ 0 h 36"/>
                <a:gd name="T14" fmla="*/ 187 w 187"/>
                <a:gd name="T15" fmla="*/ 1 h 36"/>
                <a:gd name="T16" fmla="*/ 187 w 187"/>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36">
                  <a:moveTo>
                    <a:pt x="187" y="35"/>
                  </a:moveTo>
                  <a:cubicBezTo>
                    <a:pt x="187" y="36"/>
                    <a:pt x="187" y="36"/>
                    <a:pt x="185" y="36"/>
                  </a:cubicBezTo>
                  <a:cubicBezTo>
                    <a:pt x="2" y="36"/>
                    <a:pt x="2" y="36"/>
                    <a:pt x="2" y="36"/>
                  </a:cubicBezTo>
                  <a:cubicBezTo>
                    <a:pt x="1" y="36"/>
                    <a:pt x="0" y="36"/>
                    <a:pt x="0" y="35"/>
                  </a:cubicBezTo>
                  <a:cubicBezTo>
                    <a:pt x="0" y="1"/>
                    <a:pt x="0" y="1"/>
                    <a:pt x="0" y="1"/>
                  </a:cubicBezTo>
                  <a:cubicBezTo>
                    <a:pt x="0" y="0"/>
                    <a:pt x="1" y="0"/>
                    <a:pt x="2" y="0"/>
                  </a:cubicBezTo>
                  <a:cubicBezTo>
                    <a:pt x="185" y="0"/>
                    <a:pt x="185" y="0"/>
                    <a:pt x="185" y="0"/>
                  </a:cubicBezTo>
                  <a:cubicBezTo>
                    <a:pt x="187" y="0"/>
                    <a:pt x="187" y="0"/>
                    <a:pt x="187" y="1"/>
                  </a:cubicBezTo>
                  <a:lnTo>
                    <a:pt x="187"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65">
              <a:extLst>
                <a:ext uri="{FF2B5EF4-FFF2-40B4-BE49-F238E27FC236}">
                  <a16:creationId xmlns:a16="http://schemas.microsoft.com/office/drawing/2014/main" id="{8583CAC9-AE87-4190-8FC7-50BD49279173}"/>
                </a:ext>
              </a:extLst>
            </p:cNvPr>
            <p:cNvSpPr>
              <a:spLocks/>
            </p:cNvSpPr>
            <p:nvPr/>
          </p:nvSpPr>
          <p:spPr bwMode="gray">
            <a:xfrm>
              <a:off x="13230225"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66">
              <a:extLst>
                <a:ext uri="{FF2B5EF4-FFF2-40B4-BE49-F238E27FC236}">
                  <a16:creationId xmlns:a16="http://schemas.microsoft.com/office/drawing/2014/main" id="{CD924AF1-4123-4DC7-9373-505437B05A82}"/>
                </a:ext>
              </a:extLst>
            </p:cNvPr>
            <p:cNvSpPr>
              <a:spLocks/>
            </p:cNvSpPr>
            <p:nvPr/>
          </p:nvSpPr>
          <p:spPr bwMode="gray">
            <a:xfrm>
              <a:off x="13376275"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67">
              <a:extLst>
                <a:ext uri="{FF2B5EF4-FFF2-40B4-BE49-F238E27FC236}">
                  <a16:creationId xmlns:a16="http://schemas.microsoft.com/office/drawing/2014/main" id="{B3D30BA0-4AFB-497E-AC1E-07DBD4F4C0A8}"/>
                </a:ext>
              </a:extLst>
            </p:cNvPr>
            <p:cNvSpPr>
              <a:spLocks/>
            </p:cNvSpPr>
            <p:nvPr/>
          </p:nvSpPr>
          <p:spPr bwMode="gray">
            <a:xfrm>
              <a:off x="13522325"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68">
              <a:extLst>
                <a:ext uri="{FF2B5EF4-FFF2-40B4-BE49-F238E27FC236}">
                  <a16:creationId xmlns:a16="http://schemas.microsoft.com/office/drawing/2014/main" id="{6CB0E714-2633-47B6-81E8-0D0587800DBF}"/>
                </a:ext>
              </a:extLst>
            </p:cNvPr>
            <p:cNvSpPr>
              <a:spLocks/>
            </p:cNvSpPr>
            <p:nvPr/>
          </p:nvSpPr>
          <p:spPr bwMode="gray">
            <a:xfrm>
              <a:off x="13668375"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69">
              <a:extLst>
                <a:ext uri="{FF2B5EF4-FFF2-40B4-BE49-F238E27FC236}">
                  <a16:creationId xmlns:a16="http://schemas.microsoft.com/office/drawing/2014/main" id="{BA8ADB73-4401-47EF-A564-88CE74D32493}"/>
                </a:ext>
              </a:extLst>
            </p:cNvPr>
            <p:cNvSpPr>
              <a:spLocks/>
            </p:cNvSpPr>
            <p:nvPr/>
          </p:nvSpPr>
          <p:spPr bwMode="gray">
            <a:xfrm>
              <a:off x="13814425" y="4114800"/>
              <a:ext cx="120650" cy="119063"/>
            </a:xfrm>
            <a:custGeom>
              <a:avLst/>
              <a:gdLst>
                <a:gd name="T0" fmla="*/ 32 w 32"/>
                <a:gd name="T1" fmla="*/ 30 h 32"/>
                <a:gd name="T2" fmla="*/ 30 w 32"/>
                <a:gd name="T3" fmla="*/ 32 h 32"/>
                <a:gd name="T4" fmla="*/ 1 w 32"/>
                <a:gd name="T5" fmla="*/ 32 h 32"/>
                <a:gd name="T6" fmla="*/ 0 w 32"/>
                <a:gd name="T7" fmla="*/ 30 h 32"/>
                <a:gd name="T8" fmla="*/ 0 w 32"/>
                <a:gd name="T9" fmla="*/ 2 h 32"/>
                <a:gd name="T10" fmla="*/ 1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1" y="32"/>
                    <a:pt x="1" y="32"/>
                    <a:pt x="1" y="32"/>
                  </a:cubicBezTo>
                  <a:cubicBezTo>
                    <a:pt x="0" y="32"/>
                    <a:pt x="0" y="31"/>
                    <a:pt x="0" y="30"/>
                  </a:cubicBezTo>
                  <a:cubicBezTo>
                    <a:pt x="0" y="2"/>
                    <a:pt x="0" y="2"/>
                    <a:pt x="0" y="2"/>
                  </a:cubicBezTo>
                  <a:cubicBezTo>
                    <a:pt x="0" y="1"/>
                    <a:pt x="0" y="0"/>
                    <a:pt x="1"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70">
              <a:extLst>
                <a:ext uri="{FF2B5EF4-FFF2-40B4-BE49-F238E27FC236}">
                  <a16:creationId xmlns:a16="http://schemas.microsoft.com/office/drawing/2014/main" id="{2E12D5AB-022B-454A-BBFD-557DEC43FB86}"/>
                </a:ext>
              </a:extLst>
            </p:cNvPr>
            <p:cNvSpPr>
              <a:spLocks/>
            </p:cNvSpPr>
            <p:nvPr/>
          </p:nvSpPr>
          <p:spPr bwMode="gray">
            <a:xfrm>
              <a:off x="13960475" y="4114800"/>
              <a:ext cx="117475" cy="119063"/>
            </a:xfrm>
            <a:custGeom>
              <a:avLst/>
              <a:gdLst>
                <a:gd name="T0" fmla="*/ 31 w 31"/>
                <a:gd name="T1" fmla="*/ 30 h 32"/>
                <a:gd name="T2" fmla="*/ 30 w 31"/>
                <a:gd name="T3" fmla="*/ 32 h 32"/>
                <a:gd name="T4" fmla="*/ 1 w 31"/>
                <a:gd name="T5" fmla="*/ 32 h 32"/>
                <a:gd name="T6" fmla="*/ 0 w 31"/>
                <a:gd name="T7" fmla="*/ 30 h 32"/>
                <a:gd name="T8" fmla="*/ 0 w 31"/>
                <a:gd name="T9" fmla="*/ 2 h 32"/>
                <a:gd name="T10" fmla="*/ 1 w 31"/>
                <a:gd name="T11" fmla="*/ 0 h 32"/>
                <a:gd name="T12" fmla="*/ 30 w 31"/>
                <a:gd name="T13" fmla="*/ 0 h 32"/>
                <a:gd name="T14" fmla="*/ 31 w 31"/>
                <a:gd name="T15" fmla="*/ 2 h 32"/>
                <a:gd name="T16" fmla="*/ 31 w 31"/>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31" y="30"/>
                  </a:moveTo>
                  <a:cubicBezTo>
                    <a:pt x="31" y="31"/>
                    <a:pt x="31" y="32"/>
                    <a:pt x="30" y="32"/>
                  </a:cubicBezTo>
                  <a:cubicBezTo>
                    <a:pt x="1" y="32"/>
                    <a:pt x="1" y="32"/>
                    <a:pt x="1" y="32"/>
                  </a:cubicBezTo>
                  <a:cubicBezTo>
                    <a:pt x="0" y="32"/>
                    <a:pt x="0" y="31"/>
                    <a:pt x="0" y="30"/>
                  </a:cubicBezTo>
                  <a:cubicBezTo>
                    <a:pt x="0" y="2"/>
                    <a:pt x="0" y="2"/>
                    <a:pt x="0" y="2"/>
                  </a:cubicBezTo>
                  <a:cubicBezTo>
                    <a:pt x="0" y="1"/>
                    <a:pt x="0" y="0"/>
                    <a:pt x="1" y="0"/>
                  </a:cubicBezTo>
                  <a:cubicBezTo>
                    <a:pt x="30" y="0"/>
                    <a:pt x="30" y="0"/>
                    <a:pt x="30" y="0"/>
                  </a:cubicBezTo>
                  <a:cubicBezTo>
                    <a:pt x="31" y="0"/>
                    <a:pt x="31" y="1"/>
                    <a:pt x="31" y="2"/>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71">
              <a:extLst>
                <a:ext uri="{FF2B5EF4-FFF2-40B4-BE49-F238E27FC236}">
                  <a16:creationId xmlns:a16="http://schemas.microsoft.com/office/drawing/2014/main" id="{F83AE35E-D353-4114-92D1-2111411B950E}"/>
                </a:ext>
              </a:extLst>
            </p:cNvPr>
            <p:cNvSpPr>
              <a:spLocks/>
            </p:cNvSpPr>
            <p:nvPr/>
          </p:nvSpPr>
          <p:spPr bwMode="gray">
            <a:xfrm>
              <a:off x="14103350"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2"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2"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2">
              <a:extLst>
                <a:ext uri="{FF2B5EF4-FFF2-40B4-BE49-F238E27FC236}">
                  <a16:creationId xmlns:a16="http://schemas.microsoft.com/office/drawing/2014/main" id="{A35FA2F2-AAB8-4E7A-A5E0-F1C1500A66F7}"/>
                </a:ext>
              </a:extLst>
            </p:cNvPr>
            <p:cNvSpPr>
              <a:spLocks/>
            </p:cNvSpPr>
            <p:nvPr/>
          </p:nvSpPr>
          <p:spPr bwMode="gray">
            <a:xfrm>
              <a:off x="14249400"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73">
              <a:extLst>
                <a:ext uri="{FF2B5EF4-FFF2-40B4-BE49-F238E27FC236}">
                  <a16:creationId xmlns:a16="http://schemas.microsoft.com/office/drawing/2014/main" id="{148061EC-99CE-4460-9324-08E2CD735061}"/>
                </a:ext>
              </a:extLst>
            </p:cNvPr>
            <p:cNvSpPr>
              <a:spLocks/>
            </p:cNvSpPr>
            <p:nvPr/>
          </p:nvSpPr>
          <p:spPr bwMode="gray">
            <a:xfrm>
              <a:off x="14395450"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74">
              <a:extLst>
                <a:ext uri="{FF2B5EF4-FFF2-40B4-BE49-F238E27FC236}">
                  <a16:creationId xmlns:a16="http://schemas.microsoft.com/office/drawing/2014/main" id="{1F3958EF-9995-43FB-A09C-095321615CC0}"/>
                </a:ext>
              </a:extLst>
            </p:cNvPr>
            <p:cNvSpPr>
              <a:spLocks/>
            </p:cNvSpPr>
            <p:nvPr/>
          </p:nvSpPr>
          <p:spPr bwMode="gray">
            <a:xfrm>
              <a:off x="14541500"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75">
              <a:extLst>
                <a:ext uri="{FF2B5EF4-FFF2-40B4-BE49-F238E27FC236}">
                  <a16:creationId xmlns:a16="http://schemas.microsoft.com/office/drawing/2014/main" id="{DFEE08C7-0160-4D17-ABBC-2B9A7F545C39}"/>
                </a:ext>
              </a:extLst>
            </p:cNvPr>
            <p:cNvSpPr>
              <a:spLocks/>
            </p:cNvSpPr>
            <p:nvPr/>
          </p:nvSpPr>
          <p:spPr bwMode="gray">
            <a:xfrm>
              <a:off x="14689138" y="4114800"/>
              <a:ext cx="303213" cy="119063"/>
            </a:xfrm>
            <a:custGeom>
              <a:avLst/>
              <a:gdLst>
                <a:gd name="T0" fmla="*/ 81 w 81"/>
                <a:gd name="T1" fmla="*/ 30 h 32"/>
                <a:gd name="T2" fmla="*/ 79 w 81"/>
                <a:gd name="T3" fmla="*/ 32 h 32"/>
                <a:gd name="T4" fmla="*/ 2 w 81"/>
                <a:gd name="T5" fmla="*/ 32 h 32"/>
                <a:gd name="T6" fmla="*/ 0 w 81"/>
                <a:gd name="T7" fmla="*/ 30 h 32"/>
                <a:gd name="T8" fmla="*/ 0 w 81"/>
                <a:gd name="T9" fmla="*/ 2 h 32"/>
                <a:gd name="T10" fmla="*/ 2 w 81"/>
                <a:gd name="T11" fmla="*/ 0 h 32"/>
                <a:gd name="T12" fmla="*/ 79 w 81"/>
                <a:gd name="T13" fmla="*/ 0 h 32"/>
                <a:gd name="T14" fmla="*/ 81 w 81"/>
                <a:gd name="T15" fmla="*/ 2 h 32"/>
                <a:gd name="T16" fmla="*/ 81 w 81"/>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32">
                  <a:moveTo>
                    <a:pt x="81" y="30"/>
                  </a:moveTo>
                  <a:cubicBezTo>
                    <a:pt x="81" y="31"/>
                    <a:pt x="80" y="32"/>
                    <a:pt x="79" y="32"/>
                  </a:cubicBezTo>
                  <a:cubicBezTo>
                    <a:pt x="2" y="32"/>
                    <a:pt x="2" y="32"/>
                    <a:pt x="2" y="32"/>
                  </a:cubicBezTo>
                  <a:cubicBezTo>
                    <a:pt x="1" y="32"/>
                    <a:pt x="0" y="31"/>
                    <a:pt x="0" y="30"/>
                  </a:cubicBezTo>
                  <a:cubicBezTo>
                    <a:pt x="0" y="2"/>
                    <a:pt x="0" y="2"/>
                    <a:pt x="0" y="2"/>
                  </a:cubicBezTo>
                  <a:cubicBezTo>
                    <a:pt x="0" y="1"/>
                    <a:pt x="1" y="0"/>
                    <a:pt x="2" y="0"/>
                  </a:cubicBezTo>
                  <a:cubicBezTo>
                    <a:pt x="79" y="0"/>
                    <a:pt x="79" y="0"/>
                    <a:pt x="79" y="0"/>
                  </a:cubicBezTo>
                  <a:cubicBezTo>
                    <a:pt x="80" y="0"/>
                    <a:pt x="81" y="1"/>
                    <a:pt x="81" y="2"/>
                  </a:cubicBezTo>
                  <a:lnTo>
                    <a:pt x="8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76">
              <a:extLst>
                <a:ext uri="{FF2B5EF4-FFF2-40B4-BE49-F238E27FC236}">
                  <a16:creationId xmlns:a16="http://schemas.microsoft.com/office/drawing/2014/main" id="{28CCF5F3-EEB9-40F3-BF6A-CE39A9EF60A2}"/>
                </a:ext>
              </a:extLst>
            </p:cNvPr>
            <p:cNvSpPr>
              <a:spLocks/>
            </p:cNvSpPr>
            <p:nvPr/>
          </p:nvSpPr>
          <p:spPr bwMode="gray">
            <a:xfrm>
              <a:off x="13301663" y="39687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77">
              <a:extLst>
                <a:ext uri="{FF2B5EF4-FFF2-40B4-BE49-F238E27FC236}">
                  <a16:creationId xmlns:a16="http://schemas.microsoft.com/office/drawing/2014/main" id="{B700C27D-4F58-4C2D-87F1-CE769A25A560}"/>
                </a:ext>
              </a:extLst>
            </p:cNvPr>
            <p:cNvSpPr>
              <a:spLocks/>
            </p:cNvSpPr>
            <p:nvPr/>
          </p:nvSpPr>
          <p:spPr bwMode="gray">
            <a:xfrm>
              <a:off x="13447713"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78">
              <a:extLst>
                <a:ext uri="{FF2B5EF4-FFF2-40B4-BE49-F238E27FC236}">
                  <a16:creationId xmlns:a16="http://schemas.microsoft.com/office/drawing/2014/main" id="{6EB21E40-20A4-41D7-937A-792B74D080A5}"/>
                </a:ext>
              </a:extLst>
            </p:cNvPr>
            <p:cNvSpPr>
              <a:spLocks/>
            </p:cNvSpPr>
            <p:nvPr/>
          </p:nvSpPr>
          <p:spPr bwMode="gray">
            <a:xfrm>
              <a:off x="13593763"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79">
              <a:extLst>
                <a:ext uri="{FF2B5EF4-FFF2-40B4-BE49-F238E27FC236}">
                  <a16:creationId xmlns:a16="http://schemas.microsoft.com/office/drawing/2014/main" id="{C6843CC4-6EE4-4A46-A16F-DCD788E482AF}"/>
                </a:ext>
              </a:extLst>
            </p:cNvPr>
            <p:cNvSpPr>
              <a:spLocks/>
            </p:cNvSpPr>
            <p:nvPr/>
          </p:nvSpPr>
          <p:spPr bwMode="gray">
            <a:xfrm>
              <a:off x="13739813"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80">
              <a:extLst>
                <a:ext uri="{FF2B5EF4-FFF2-40B4-BE49-F238E27FC236}">
                  <a16:creationId xmlns:a16="http://schemas.microsoft.com/office/drawing/2014/main" id="{3E141B15-A8EE-4C5C-953D-F96E63C8A822}"/>
                </a:ext>
              </a:extLst>
            </p:cNvPr>
            <p:cNvSpPr>
              <a:spLocks/>
            </p:cNvSpPr>
            <p:nvPr/>
          </p:nvSpPr>
          <p:spPr bwMode="gray">
            <a:xfrm>
              <a:off x="13885863"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81">
              <a:extLst>
                <a:ext uri="{FF2B5EF4-FFF2-40B4-BE49-F238E27FC236}">
                  <a16:creationId xmlns:a16="http://schemas.microsoft.com/office/drawing/2014/main" id="{EFE2D2AB-E8AE-4229-A33B-F9D26F682C59}"/>
                </a:ext>
              </a:extLst>
            </p:cNvPr>
            <p:cNvSpPr>
              <a:spLocks/>
            </p:cNvSpPr>
            <p:nvPr/>
          </p:nvSpPr>
          <p:spPr bwMode="gray">
            <a:xfrm>
              <a:off x="14031913" y="3968750"/>
              <a:ext cx="117475" cy="119063"/>
            </a:xfrm>
            <a:custGeom>
              <a:avLst/>
              <a:gdLst>
                <a:gd name="T0" fmla="*/ 31 w 31"/>
                <a:gd name="T1" fmla="*/ 30 h 32"/>
                <a:gd name="T2" fmla="*/ 30 w 31"/>
                <a:gd name="T3" fmla="*/ 32 h 32"/>
                <a:gd name="T4" fmla="*/ 1 w 31"/>
                <a:gd name="T5" fmla="*/ 32 h 32"/>
                <a:gd name="T6" fmla="*/ 0 w 31"/>
                <a:gd name="T7" fmla="*/ 30 h 32"/>
                <a:gd name="T8" fmla="*/ 0 w 31"/>
                <a:gd name="T9" fmla="*/ 2 h 32"/>
                <a:gd name="T10" fmla="*/ 1 w 31"/>
                <a:gd name="T11" fmla="*/ 0 h 32"/>
                <a:gd name="T12" fmla="*/ 30 w 31"/>
                <a:gd name="T13" fmla="*/ 0 h 32"/>
                <a:gd name="T14" fmla="*/ 31 w 31"/>
                <a:gd name="T15" fmla="*/ 2 h 32"/>
                <a:gd name="T16" fmla="*/ 31 w 31"/>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31" y="30"/>
                  </a:moveTo>
                  <a:cubicBezTo>
                    <a:pt x="31" y="31"/>
                    <a:pt x="31" y="32"/>
                    <a:pt x="30" y="32"/>
                  </a:cubicBezTo>
                  <a:cubicBezTo>
                    <a:pt x="1" y="32"/>
                    <a:pt x="1" y="32"/>
                    <a:pt x="1" y="32"/>
                  </a:cubicBezTo>
                  <a:cubicBezTo>
                    <a:pt x="0" y="32"/>
                    <a:pt x="0" y="31"/>
                    <a:pt x="0" y="30"/>
                  </a:cubicBezTo>
                  <a:cubicBezTo>
                    <a:pt x="0" y="2"/>
                    <a:pt x="0" y="2"/>
                    <a:pt x="0" y="2"/>
                  </a:cubicBezTo>
                  <a:cubicBezTo>
                    <a:pt x="0" y="1"/>
                    <a:pt x="0" y="0"/>
                    <a:pt x="1" y="0"/>
                  </a:cubicBezTo>
                  <a:cubicBezTo>
                    <a:pt x="30" y="0"/>
                    <a:pt x="30" y="0"/>
                    <a:pt x="30" y="0"/>
                  </a:cubicBezTo>
                  <a:cubicBezTo>
                    <a:pt x="31" y="0"/>
                    <a:pt x="31" y="1"/>
                    <a:pt x="31" y="2"/>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82">
              <a:extLst>
                <a:ext uri="{FF2B5EF4-FFF2-40B4-BE49-F238E27FC236}">
                  <a16:creationId xmlns:a16="http://schemas.microsoft.com/office/drawing/2014/main" id="{3B80D1EC-F22B-4E6F-8D7A-27008C9BEA78}"/>
                </a:ext>
              </a:extLst>
            </p:cNvPr>
            <p:cNvSpPr>
              <a:spLocks/>
            </p:cNvSpPr>
            <p:nvPr/>
          </p:nvSpPr>
          <p:spPr bwMode="gray">
            <a:xfrm>
              <a:off x="14174788" y="3968750"/>
              <a:ext cx="120650" cy="119063"/>
            </a:xfrm>
            <a:custGeom>
              <a:avLst/>
              <a:gdLst>
                <a:gd name="T0" fmla="*/ 32 w 32"/>
                <a:gd name="T1" fmla="*/ 30 h 32"/>
                <a:gd name="T2" fmla="*/ 31 w 32"/>
                <a:gd name="T3" fmla="*/ 32 h 32"/>
                <a:gd name="T4" fmla="*/ 2 w 32"/>
                <a:gd name="T5" fmla="*/ 32 h 32"/>
                <a:gd name="T6" fmla="*/ 0 w 32"/>
                <a:gd name="T7" fmla="*/ 30 h 32"/>
                <a:gd name="T8" fmla="*/ 0 w 32"/>
                <a:gd name="T9" fmla="*/ 2 h 32"/>
                <a:gd name="T10" fmla="*/ 2 w 32"/>
                <a:gd name="T11" fmla="*/ 0 h 32"/>
                <a:gd name="T12" fmla="*/ 31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2" y="32"/>
                    <a:pt x="31" y="32"/>
                  </a:cubicBezTo>
                  <a:cubicBezTo>
                    <a:pt x="2" y="32"/>
                    <a:pt x="2" y="32"/>
                    <a:pt x="2" y="32"/>
                  </a:cubicBezTo>
                  <a:cubicBezTo>
                    <a:pt x="1" y="32"/>
                    <a:pt x="0" y="31"/>
                    <a:pt x="0" y="30"/>
                  </a:cubicBezTo>
                  <a:cubicBezTo>
                    <a:pt x="0" y="2"/>
                    <a:pt x="0" y="2"/>
                    <a:pt x="0" y="2"/>
                  </a:cubicBezTo>
                  <a:cubicBezTo>
                    <a:pt x="0" y="1"/>
                    <a:pt x="1" y="0"/>
                    <a:pt x="2" y="0"/>
                  </a:cubicBezTo>
                  <a:cubicBezTo>
                    <a:pt x="31" y="0"/>
                    <a:pt x="31" y="0"/>
                    <a:pt x="31" y="0"/>
                  </a:cubicBezTo>
                  <a:cubicBezTo>
                    <a:pt x="32"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83">
              <a:extLst>
                <a:ext uri="{FF2B5EF4-FFF2-40B4-BE49-F238E27FC236}">
                  <a16:creationId xmlns:a16="http://schemas.microsoft.com/office/drawing/2014/main" id="{D3206D15-1AF2-4996-BF52-FA920D3750C1}"/>
                </a:ext>
              </a:extLst>
            </p:cNvPr>
            <p:cNvSpPr>
              <a:spLocks/>
            </p:cNvSpPr>
            <p:nvPr/>
          </p:nvSpPr>
          <p:spPr bwMode="gray">
            <a:xfrm>
              <a:off x="14320838"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84">
              <a:extLst>
                <a:ext uri="{FF2B5EF4-FFF2-40B4-BE49-F238E27FC236}">
                  <a16:creationId xmlns:a16="http://schemas.microsoft.com/office/drawing/2014/main" id="{79BA1A7F-B129-4800-9483-174004C4F061}"/>
                </a:ext>
              </a:extLst>
            </p:cNvPr>
            <p:cNvSpPr>
              <a:spLocks/>
            </p:cNvSpPr>
            <p:nvPr/>
          </p:nvSpPr>
          <p:spPr bwMode="gray">
            <a:xfrm>
              <a:off x="14466888"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85">
              <a:extLst>
                <a:ext uri="{FF2B5EF4-FFF2-40B4-BE49-F238E27FC236}">
                  <a16:creationId xmlns:a16="http://schemas.microsoft.com/office/drawing/2014/main" id="{8C382ABD-7880-49A0-89B4-7822B2F78AAF}"/>
                </a:ext>
              </a:extLst>
            </p:cNvPr>
            <p:cNvSpPr>
              <a:spLocks/>
            </p:cNvSpPr>
            <p:nvPr/>
          </p:nvSpPr>
          <p:spPr bwMode="gray">
            <a:xfrm>
              <a:off x="14612938"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86">
              <a:extLst>
                <a:ext uri="{FF2B5EF4-FFF2-40B4-BE49-F238E27FC236}">
                  <a16:creationId xmlns:a16="http://schemas.microsoft.com/office/drawing/2014/main" id="{FDDE8EBF-1C1B-4B8E-9526-BE057F25062A}"/>
                </a:ext>
              </a:extLst>
            </p:cNvPr>
            <p:cNvSpPr>
              <a:spLocks/>
            </p:cNvSpPr>
            <p:nvPr/>
          </p:nvSpPr>
          <p:spPr bwMode="gray">
            <a:xfrm>
              <a:off x="14758988"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87">
              <a:extLst>
                <a:ext uri="{FF2B5EF4-FFF2-40B4-BE49-F238E27FC236}">
                  <a16:creationId xmlns:a16="http://schemas.microsoft.com/office/drawing/2014/main" id="{327AC8EB-81AE-4A60-8E64-D3265BE3B11B}"/>
                </a:ext>
              </a:extLst>
            </p:cNvPr>
            <p:cNvSpPr>
              <a:spLocks/>
            </p:cNvSpPr>
            <p:nvPr/>
          </p:nvSpPr>
          <p:spPr bwMode="gray">
            <a:xfrm>
              <a:off x="13268325"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88">
              <a:extLst>
                <a:ext uri="{FF2B5EF4-FFF2-40B4-BE49-F238E27FC236}">
                  <a16:creationId xmlns:a16="http://schemas.microsoft.com/office/drawing/2014/main" id="{27586CCE-AC11-49DF-8E10-400976A6A1C8}"/>
                </a:ext>
              </a:extLst>
            </p:cNvPr>
            <p:cNvSpPr>
              <a:spLocks/>
            </p:cNvSpPr>
            <p:nvPr/>
          </p:nvSpPr>
          <p:spPr bwMode="gray">
            <a:xfrm>
              <a:off x="13414375"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89">
              <a:extLst>
                <a:ext uri="{FF2B5EF4-FFF2-40B4-BE49-F238E27FC236}">
                  <a16:creationId xmlns:a16="http://schemas.microsoft.com/office/drawing/2014/main" id="{80513BE1-1E6A-4F08-80A0-3B29AC247D5D}"/>
                </a:ext>
              </a:extLst>
            </p:cNvPr>
            <p:cNvSpPr>
              <a:spLocks/>
            </p:cNvSpPr>
            <p:nvPr/>
          </p:nvSpPr>
          <p:spPr bwMode="gray">
            <a:xfrm>
              <a:off x="13560425"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90">
              <a:extLst>
                <a:ext uri="{FF2B5EF4-FFF2-40B4-BE49-F238E27FC236}">
                  <a16:creationId xmlns:a16="http://schemas.microsoft.com/office/drawing/2014/main" id="{5FBB76E6-17F7-49C1-8086-E969FC7AAB00}"/>
                </a:ext>
              </a:extLst>
            </p:cNvPr>
            <p:cNvSpPr>
              <a:spLocks/>
            </p:cNvSpPr>
            <p:nvPr/>
          </p:nvSpPr>
          <p:spPr bwMode="gray">
            <a:xfrm>
              <a:off x="13706475" y="3822700"/>
              <a:ext cx="115888" cy="119063"/>
            </a:xfrm>
            <a:custGeom>
              <a:avLst/>
              <a:gdLst>
                <a:gd name="T0" fmla="*/ 31 w 31"/>
                <a:gd name="T1" fmla="*/ 30 h 32"/>
                <a:gd name="T2" fmla="*/ 30 w 31"/>
                <a:gd name="T3" fmla="*/ 32 h 32"/>
                <a:gd name="T4" fmla="*/ 1 w 31"/>
                <a:gd name="T5" fmla="*/ 32 h 32"/>
                <a:gd name="T6" fmla="*/ 0 w 31"/>
                <a:gd name="T7" fmla="*/ 30 h 32"/>
                <a:gd name="T8" fmla="*/ 0 w 31"/>
                <a:gd name="T9" fmla="*/ 2 h 32"/>
                <a:gd name="T10" fmla="*/ 1 w 31"/>
                <a:gd name="T11" fmla="*/ 0 h 32"/>
                <a:gd name="T12" fmla="*/ 30 w 31"/>
                <a:gd name="T13" fmla="*/ 0 h 32"/>
                <a:gd name="T14" fmla="*/ 31 w 31"/>
                <a:gd name="T15" fmla="*/ 2 h 32"/>
                <a:gd name="T16" fmla="*/ 31 w 31"/>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31" y="30"/>
                  </a:moveTo>
                  <a:cubicBezTo>
                    <a:pt x="31" y="31"/>
                    <a:pt x="31" y="32"/>
                    <a:pt x="30" y="32"/>
                  </a:cubicBezTo>
                  <a:cubicBezTo>
                    <a:pt x="1" y="32"/>
                    <a:pt x="1" y="32"/>
                    <a:pt x="1" y="32"/>
                  </a:cubicBezTo>
                  <a:cubicBezTo>
                    <a:pt x="0" y="32"/>
                    <a:pt x="0" y="31"/>
                    <a:pt x="0" y="30"/>
                  </a:cubicBezTo>
                  <a:cubicBezTo>
                    <a:pt x="0" y="2"/>
                    <a:pt x="0" y="2"/>
                    <a:pt x="0" y="2"/>
                  </a:cubicBezTo>
                  <a:cubicBezTo>
                    <a:pt x="0" y="1"/>
                    <a:pt x="0" y="0"/>
                    <a:pt x="1" y="0"/>
                  </a:cubicBezTo>
                  <a:cubicBezTo>
                    <a:pt x="30" y="0"/>
                    <a:pt x="30" y="0"/>
                    <a:pt x="30" y="0"/>
                  </a:cubicBezTo>
                  <a:cubicBezTo>
                    <a:pt x="31" y="0"/>
                    <a:pt x="31" y="1"/>
                    <a:pt x="31" y="2"/>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91">
              <a:extLst>
                <a:ext uri="{FF2B5EF4-FFF2-40B4-BE49-F238E27FC236}">
                  <a16:creationId xmlns:a16="http://schemas.microsoft.com/office/drawing/2014/main" id="{667FA931-3BA4-49E9-9788-9FE8F788906C}"/>
                </a:ext>
              </a:extLst>
            </p:cNvPr>
            <p:cNvSpPr>
              <a:spLocks/>
            </p:cNvSpPr>
            <p:nvPr/>
          </p:nvSpPr>
          <p:spPr bwMode="gray">
            <a:xfrm>
              <a:off x="13849350" y="3822700"/>
              <a:ext cx="119063" cy="119063"/>
            </a:xfrm>
            <a:custGeom>
              <a:avLst/>
              <a:gdLst>
                <a:gd name="T0" fmla="*/ 32 w 32"/>
                <a:gd name="T1" fmla="*/ 30 h 32"/>
                <a:gd name="T2" fmla="*/ 31 w 32"/>
                <a:gd name="T3" fmla="*/ 32 h 32"/>
                <a:gd name="T4" fmla="*/ 2 w 32"/>
                <a:gd name="T5" fmla="*/ 32 h 32"/>
                <a:gd name="T6" fmla="*/ 0 w 32"/>
                <a:gd name="T7" fmla="*/ 30 h 32"/>
                <a:gd name="T8" fmla="*/ 0 w 32"/>
                <a:gd name="T9" fmla="*/ 2 h 32"/>
                <a:gd name="T10" fmla="*/ 2 w 32"/>
                <a:gd name="T11" fmla="*/ 0 h 32"/>
                <a:gd name="T12" fmla="*/ 31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2" y="32"/>
                    <a:pt x="31" y="32"/>
                  </a:cubicBezTo>
                  <a:cubicBezTo>
                    <a:pt x="2" y="32"/>
                    <a:pt x="2" y="32"/>
                    <a:pt x="2" y="32"/>
                  </a:cubicBezTo>
                  <a:cubicBezTo>
                    <a:pt x="1" y="32"/>
                    <a:pt x="0" y="31"/>
                    <a:pt x="0" y="30"/>
                  </a:cubicBezTo>
                  <a:cubicBezTo>
                    <a:pt x="0" y="2"/>
                    <a:pt x="0" y="2"/>
                    <a:pt x="0" y="2"/>
                  </a:cubicBezTo>
                  <a:cubicBezTo>
                    <a:pt x="0" y="1"/>
                    <a:pt x="1" y="0"/>
                    <a:pt x="2" y="0"/>
                  </a:cubicBezTo>
                  <a:cubicBezTo>
                    <a:pt x="31" y="0"/>
                    <a:pt x="31" y="0"/>
                    <a:pt x="31" y="0"/>
                  </a:cubicBezTo>
                  <a:cubicBezTo>
                    <a:pt x="32"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92">
              <a:extLst>
                <a:ext uri="{FF2B5EF4-FFF2-40B4-BE49-F238E27FC236}">
                  <a16:creationId xmlns:a16="http://schemas.microsoft.com/office/drawing/2014/main" id="{E2266EFA-C2C8-48F6-8E88-E191D27F5845}"/>
                </a:ext>
              </a:extLst>
            </p:cNvPr>
            <p:cNvSpPr>
              <a:spLocks/>
            </p:cNvSpPr>
            <p:nvPr/>
          </p:nvSpPr>
          <p:spPr bwMode="gray">
            <a:xfrm>
              <a:off x="13995400"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93">
              <a:extLst>
                <a:ext uri="{FF2B5EF4-FFF2-40B4-BE49-F238E27FC236}">
                  <a16:creationId xmlns:a16="http://schemas.microsoft.com/office/drawing/2014/main" id="{75A19065-1A9B-4552-BA05-9D9962DE40A0}"/>
                </a:ext>
              </a:extLst>
            </p:cNvPr>
            <p:cNvSpPr>
              <a:spLocks/>
            </p:cNvSpPr>
            <p:nvPr/>
          </p:nvSpPr>
          <p:spPr bwMode="gray">
            <a:xfrm>
              <a:off x="14141450"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94">
              <a:extLst>
                <a:ext uri="{FF2B5EF4-FFF2-40B4-BE49-F238E27FC236}">
                  <a16:creationId xmlns:a16="http://schemas.microsoft.com/office/drawing/2014/main" id="{3DDC6C2E-46BA-40BA-9A32-165AA8A924B2}"/>
                </a:ext>
              </a:extLst>
            </p:cNvPr>
            <p:cNvSpPr>
              <a:spLocks/>
            </p:cNvSpPr>
            <p:nvPr/>
          </p:nvSpPr>
          <p:spPr bwMode="gray">
            <a:xfrm>
              <a:off x="14287500"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95">
              <a:extLst>
                <a:ext uri="{FF2B5EF4-FFF2-40B4-BE49-F238E27FC236}">
                  <a16:creationId xmlns:a16="http://schemas.microsoft.com/office/drawing/2014/main" id="{4FB56898-3639-4F3C-9C75-5F0CDEA4170D}"/>
                </a:ext>
              </a:extLst>
            </p:cNvPr>
            <p:cNvSpPr>
              <a:spLocks/>
            </p:cNvSpPr>
            <p:nvPr/>
          </p:nvSpPr>
          <p:spPr bwMode="gray">
            <a:xfrm>
              <a:off x="14433550" y="38227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96">
              <a:extLst>
                <a:ext uri="{FF2B5EF4-FFF2-40B4-BE49-F238E27FC236}">
                  <a16:creationId xmlns:a16="http://schemas.microsoft.com/office/drawing/2014/main" id="{E0DA2617-456D-40E3-8BD4-B9F3EEB8B1FA}"/>
                </a:ext>
              </a:extLst>
            </p:cNvPr>
            <p:cNvSpPr>
              <a:spLocks/>
            </p:cNvSpPr>
            <p:nvPr/>
          </p:nvSpPr>
          <p:spPr bwMode="gray">
            <a:xfrm>
              <a:off x="14579600" y="38227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97">
              <a:extLst>
                <a:ext uri="{FF2B5EF4-FFF2-40B4-BE49-F238E27FC236}">
                  <a16:creationId xmlns:a16="http://schemas.microsoft.com/office/drawing/2014/main" id="{923FC508-3CFA-4091-9232-B09D54B93C01}"/>
                </a:ext>
              </a:extLst>
            </p:cNvPr>
            <p:cNvSpPr>
              <a:spLocks/>
            </p:cNvSpPr>
            <p:nvPr/>
          </p:nvSpPr>
          <p:spPr bwMode="gray">
            <a:xfrm>
              <a:off x="14725650" y="38227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98">
              <a:extLst>
                <a:ext uri="{FF2B5EF4-FFF2-40B4-BE49-F238E27FC236}">
                  <a16:creationId xmlns:a16="http://schemas.microsoft.com/office/drawing/2014/main" id="{D718FF51-9410-4B65-9431-874779A75166}"/>
                </a:ext>
              </a:extLst>
            </p:cNvPr>
            <p:cNvSpPr>
              <a:spLocks/>
            </p:cNvSpPr>
            <p:nvPr/>
          </p:nvSpPr>
          <p:spPr bwMode="gray">
            <a:xfrm>
              <a:off x="12900025" y="3822700"/>
              <a:ext cx="195263" cy="119063"/>
            </a:xfrm>
            <a:custGeom>
              <a:avLst/>
              <a:gdLst>
                <a:gd name="T0" fmla="*/ 52 w 52"/>
                <a:gd name="T1" fmla="*/ 30 h 32"/>
                <a:gd name="T2" fmla="*/ 50 w 52"/>
                <a:gd name="T3" fmla="*/ 32 h 32"/>
                <a:gd name="T4" fmla="*/ 2 w 52"/>
                <a:gd name="T5" fmla="*/ 32 h 32"/>
                <a:gd name="T6" fmla="*/ 0 w 52"/>
                <a:gd name="T7" fmla="*/ 30 h 32"/>
                <a:gd name="T8" fmla="*/ 0 w 52"/>
                <a:gd name="T9" fmla="*/ 2 h 32"/>
                <a:gd name="T10" fmla="*/ 2 w 52"/>
                <a:gd name="T11" fmla="*/ 0 h 32"/>
                <a:gd name="T12" fmla="*/ 50 w 52"/>
                <a:gd name="T13" fmla="*/ 0 h 32"/>
                <a:gd name="T14" fmla="*/ 52 w 52"/>
                <a:gd name="T15" fmla="*/ 2 h 32"/>
                <a:gd name="T16" fmla="*/ 52 w 5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32">
                  <a:moveTo>
                    <a:pt x="52" y="30"/>
                  </a:moveTo>
                  <a:cubicBezTo>
                    <a:pt x="52" y="31"/>
                    <a:pt x="51" y="32"/>
                    <a:pt x="50" y="32"/>
                  </a:cubicBezTo>
                  <a:cubicBezTo>
                    <a:pt x="2" y="32"/>
                    <a:pt x="2" y="32"/>
                    <a:pt x="2" y="32"/>
                  </a:cubicBezTo>
                  <a:cubicBezTo>
                    <a:pt x="1" y="32"/>
                    <a:pt x="0" y="31"/>
                    <a:pt x="0" y="30"/>
                  </a:cubicBezTo>
                  <a:cubicBezTo>
                    <a:pt x="0" y="2"/>
                    <a:pt x="0" y="2"/>
                    <a:pt x="0" y="2"/>
                  </a:cubicBezTo>
                  <a:cubicBezTo>
                    <a:pt x="0" y="1"/>
                    <a:pt x="1" y="0"/>
                    <a:pt x="2" y="0"/>
                  </a:cubicBezTo>
                  <a:cubicBezTo>
                    <a:pt x="50" y="0"/>
                    <a:pt x="50" y="0"/>
                    <a:pt x="50" y="0"/>
                  </a:cubicBezTo>
                  <a:cubicBezTo>
                    <a:pt x="51" y="0"/>
                    <a:pt x="52" y="1"/>
                    <a:pt x="52" y="2"/>
                  </a:cubicBezTo>
                  <a:lnTo>
                    <a:pt x="5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99">
              <a:extLst>
                <a:ext uri="{FF2B5EF4-FFF2-40B4-BE49-F238E27FC236}">
                  <a16:creationId xmlns:a16="http://schemas.microsoft.com/office/drawing/2014/main" id="{DE8147E8-6F48-4D7C-A349-2565A9F651DE}"/>
                </a:ext>
              </a:extLst>
            </p:cNvPr>
            <p:cNvSpPr>
              <a:spLocks/>
            </p:cNvSpPr>
            <p:nvPr/>
          </p:nvSpPr>
          <p:spPr bwMode="gray">
            <a:xfrm>
              <a:off x="14797088" y="3676650"/>
              <a:ext cx="195263" cy="119063"/>
            </a:xfrm>
            <a:custGeom>
              <a:avLst/>
              <a:gdLst>
                <a:gd name="T0" fmla="*/ 52 w 52"/>
                <a:gd name="T1" fmla="*/ 30 h 32"/>
                <a:gd name="T2" fmla="*/ 50 w 52"/>
                <a:gd name="T3" fmla="*/ 32 h 32"/>
                <a:gd name="T4" fmla="*/ 2 w 52"/>
                <a:gd name="T5" fmla="*/ 32 h 32"/>
                <a:gd name="T6" fmla="*/ 0 w 52"/>
                <a:gd name="T7" fmla="*/ 30 h 32"/>
                <a:gd name="T8" fmla="*/ 0 w 52"/>
                <a:gd name="T9" fmla="*/ 2 h 32"/>
                <a:gd name="T10" fmla="*/ 2 w 52"/>
                <a:gd name="T11" fmla="*/ 0 h 32"/>
                <a:gd name="T12" fmla="*/ 50 w 52"/>
                <a:gd name="T13" fmla="*/ 0 h 32"/>
                <a:gd name="T14" fmla="*/ 52 w 52"/>
                <a:gd name="T15" fmla="*/ 2 h 32"/>
                <a:gd name="T16" fmla="*/ 52 w 5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32">
                  <a:moveTo>
                    <a:pt x="52" y="30"/>
                  </a:moveTo>
                  <a:cubicBezTo>
                    <a:pt x="52" y="31"/>
                    <a:pt x="51" y="32"/>
                    <a:pt x="50" y="32"/>
                  </a:cubicBezTo>
                  <a:cubicBezTo>
                    <a:pt x="2" y="32"/>
                    <a:pt x="2" y="32"/>
                    <a:pt x="2" y="32"/>
                  </a:cubicBezTo>
                  <a:cubicBezTo>
                    <a:pt x="1" y="32"/>
                    <a:pt x="0" y="31"/>
                    <a:pt x="0" y="30"/>
                  </a:cubicBezTo>
                  <a:cubicBezTo>
                    <a:pt x="0" y="2"/>
                    <a:pt x="0" y="2"/>
                    <a:pt x="0" y="2"/>
                  </a:cubicBezTo>
                  <a:cubicBezTo>
                    <a:pt x="0" y="1"/>
                    <a:pt x="1" y="0"/>
                    <a:pt x="2" y="0"/>
                  </a:cubicBezTo>
                  <a:cubicBezTo>
                    <a:pt x="50" y="0"/>
                    <a:pt x="50" y="0"/>
                    <a:pt x="50" y="0"/>
                  </a:cubicBezTo>
                  <a:cubicBezTo>
                    <a:pt x="51" y="0"/>
                    <a:pt x="52" y="1"/>
                    <a:pt x="52" y="2"/>
                  </a:cubicBezTo>
                  <a:lnTo>
                    <a:pt x="5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100">
              <a:extLst>
                <a:ext uri="{FF2B5EF4-FFF2-40B4-BE49-F238E27FC236}">
                  <a16:creationId xmlns:a16="http://schemas.microsoft.com/office/drawing/2014/main" id="{6022056E-624F-436E-A883-DFC2D71B168B}"/>
                </a:ext>
              </a:extLst>
            </p:cNvPr>
            <p:cNvSpPr>
              <a:spLocks/>
            </p:cNvSpPr>
            <p:nvPr/>
          </p:nvSpPr>
          <p:spPr bwMode="gray">
            <a:xfrm>
              <a:off x="12900025" y="3968750"/>
              <a:ext cx="228600" cy="119063"/>
            </a:xfrm>
            <a:custGeom>
              <a:avLst/>
              <a:gdLst>
                <a:gd name="T0" fmla="*/ 61 w 61"/>
                <a:gd name="T1" fmla="*/ 30 h 32"/>
                <a:gd name="T2" fmla="*/ 59 w 61"/>
                <a:gd name="T3" fmla="*/ 32 h 32"/>
                <a:gd name="T4" fmla="*/ 2 w 61"/>
                <a:gd name="T5" fmla="*/ 32 h 32"/>
                <a:gd name="T6" fmla="*/ 0 w 61"/>
                <a:gd name="T7" fmla="*/ 30 h 32"/>
                <a:gd name="T8" fmla="*/ 0 w 61"/>
                <a:gd name="T9" fmla="*/ 2 h 32"/>
                <a:gd name="T10" fmla="*/ 2 w 61"/>
                <a:gd name="T11" fmla="*/ 0 h 32"/>
                <a:gd name="T12" fmla="*/ 59 w 61"/>
                <a:gd name="T13" fmla="*/ 0 h 32"/>
                <a:gd name="T14" fmla="*/ 61 w 61"/>
                <a:gd name="T15" fmla="*/ 2 h 32"/>
                <a:gd name="T16" fmla="*/ 61 w 61"/>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32">
                  <a:moveTo>
                    <a:pt x="61" y="30"/>
                  </a:moveTo>
                  <a:cubicBezTo>
                    <a:pt x="61" y="31"/>
                    <a:pt x="60" y="32"/>
                    <a:pt x="59" y="32"/>
                  </a:cubicBezTo>
                  <a:cubicBezTo>
                    <a:pt x="2" y="32"/>
                    <a:pt x="2" y="32"/>
                    <a:pt x="2" y="32"/>
                  </a:cubicBezTo>
                  <a:cubicBezTo>
                    <a:pt x="1" y="32"/>
                    <a:pt x="0" y="31"/>
                    <a:pt x="0" y="30"/>
                  </a:cubicBezTo>
                  <a:cubicBezTo>
                    <a:pt x="0" y="2"/>
                    <a:pt x="0" y="2"/>
                    <a:pt x="0" y="2"/>
                  </a:cubicBezTo>
                  <a:cubicBezTo>
                    <a:pt x="0" y="1"/>
                    <a:pt x="1" y="0"/>
                    <a:pt x="2" y="0"/>
                  </a:cubicBezTo>
                  <a:cubicBezTo>
                    <a:pt x="59" y="0"/>
                    <a:pt x="59" y="0"/>
                    <a:pt x="59" y="0"/>
                  </a:cubicBezTo>
                  <a:cubicBezTo>
                    <a:pt x="60" y="0"/>
                    <a:pt x="61" y="1"/>
                    <a:pt x="61" y="2"/>
                  </a:cubicBezTo>
                  <a:lnTo>
                    <a:pt x="6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101">
              <a:extLst>
                <a:ext uri="{FF2B5EF4-FFF2-40B4-BE49-F238E27FC236}">
                  <a16:creationId xmlns:a16="http://schemas.microsoft.com/office/drawing/2014/main" id="{FFB0A3D5-0FFA-443E-ACBE-2AC12524C018}"/>
                </a:ext>
              </a:extLst>
            </p:cNvPr>
            <p:cNvSpPr>
              <a:spLocks/>
            </p:cNvSpPr>
            <p:nvPr/>
          </p:nvSpPr>
          <p:spPr bwMode="gray">
            <a:xfrm>
              <a:off x="12900025" y="4114800"/>
              <a:ext cx="157163" cy="119063"/>
            </a:xfrm>
            <a:custGeom>
              <a:avLst/>
              <a:gdLst>
                <a:gd name="T0" fmla="*/ 42 w 42"/>
                <a:gd name="T1" fmla="*/ 30 h 32"/>
                <a:gd name="T2" fmla="*/ 40 w 42"/>
                <a:gd name="T3" fmla="*/ 32 h 32"/>
                <a:gd name="T4" fmla="*/ 2 w 42"/>
                <a:gd name="T5" fmla="*/ 32 h 32"/>
                <a:gd name="T6" fmla="*/ 0 w 42"/>
                <a:gd name="T7" fmla="*/ 30 h 32"/>
                <a:gd name="T8" fmla="*/ 0 w 42"/>
                <a:gd name="T9" fmla="*/ 2 h 32"/>
                <a:gd name="T10" fmla="*/ 2 w 42"/>
                <a:gd name="T11" fmla="*/ 0 h 32"/>
                <a:gd name="T12" fmla="*/ 40 w 42"/>
                <a:gd name="T13" fmla="*/ 0 h 32"/>
                <a:gd name="T14" fmla="*/ 42 w 42"/>
                <a:gd name="T15" fmla="*/ 2 h 32"/>
                <a:gd name="T16" fmla="*/ 42 w 4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2">
                  <a:moveTo>
                    <a:pt x="42" y="30"/>
                  </a:moveTo>
                  <a:cubicBezTo>
                    <a:pt x="42" y="31"/>
                    <a:pt x="41" y="32"/>
                    <a:pt x="40" y="32"/>
                  </a:cubicBezTo>
                  <a:cubicBezTo>
                    <a:pt x="2" y="32"/>
                    <a:pt x="2" y="32"/>
                    <a:pt x="2" y="32"/>
                  </a:cubicBezTo>
                  <a:cubicBezTo>
                    <a:pt x="1" y="32"/>
                    <a:pt x="0" y="31"/>
                    <a:pt x="0" y="30"/>
                  </a:cubicBezTo>
                  <a:cubicBezTo>
                    <a:pt x="0" y="2"/>
                    <a:pt x="0" y="2"/>
                    <a:pt x="0" y="2"/>
                  </a:cubicBezTo>
                  <a:cubicBezTo>
                    <a:pt x="0" y="1"/>
                    <a:pt x="1" y="0"/>
                    <a:pt x="2" y="0"/>
                  </a:cubicBezTo>
                  <a:cubicBezTo>
                    <a:pt x="40" y="0"/>
                    <a:pt x="40" y="0"/>
                    <a:pt x="40" y="0"/>
                  </a:cubicBezTo>
                  <a:cubicBezTo>
                    <a:pt x="41" y="0"/>
                    <a:pt x="42" y="1"/>
                    <a:pt x="42" y="2"/>
                  </a:cubicBezTo>
                  <a:lnTo>
                    <a:pt x="4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02">
              <a:extLst>
                <a:ext uri="{FF2B5EF4-FFF2-40B4-BE49-F238E27FC236}">
                  <a16:creationId xmlns:a16="http://schemas.microsoft.com/office/drawing/2014/main" id="{9335D344-E2A6-45C9-985A-D52AEA07A582}"/>
                </a:ext>
              </a:extLst>
            </p:cNvPr>
            <p:cNvSpPr>
              <a:spLocks/>
            </p:cNvSpPr>
            <p:nvPr/>
          </p:nvSpPr>
          <p:spPr bwMode="gray">
            <a:xfrm>
              <a:off x="13046075" y="36766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103">
              <a:extLst>
                <a:ext uri="{FF2B5EF4-FFF2-40B4-BE49-F238E27FC236}">
                  <a16:creationId xmlns:a16="http://schemas.microsoft.com/office/drawing/2014/main" id="{A97B2B04-E035-4C73-80D7-DE3C1EC42043}"/>
                </a:ext>
              </a:extLst>
            </p:cNvPr>
            <p:cNvSpPr>
              <a:spLocks/>
            </p:cNvSpPr>
            <p:nvPr/>
          </p:nvSpPr>
          <p:spPr bwMode="gray">
            <a:xfrm>
              <a:off x="13192125" y="36766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04">
              <a:extLst>
                <a:ext uri="{FF2B5EF4-FFF2-40B4-BE49-F238E27FC236}">
                  <a16:creationId xmlns:a16="http://schemas.microsoft.com/office/drawing/2014/main" id="{A41BFEEB-A8AD-4B64-9E27-5378385FE595}"/>
                </a:ext>
              </a:extLst>
            </p:cNvPr>
            <p:cNvSpPr>
              <a:spLocks/>
            </p:cNvSpPr>
            <p:nvPr/>
          </p:nvSpPr>
          <p:spPr bwMode="gray">
            <a:xfrm>
              <a:off x="13339763"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05">
              <a:extLst>
                <a:ext uri="{FF2B5EF4-FFF2-40B4-BE49-F238E27FC236}">
                  <a16:creationId xmlns:a16="http://schemas.microsoft.com/office/drawing/2014/main" id="{4FB90B29-F6BB-45A9-9289-8D591CA60609}"/>
                </a:ext>
              </a:extLst>
            </p:cNvPr>
            <p:cNvSpPr>
              <a:spLocks/>
            </p:cNvSpPr>
            <p:nvPr/>
          </p:nvSpPr>
          <p:spPr bwMode="gray">
            <a:xfrm>
              <a:off x="13485813"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106">
              <a:extLst>
                <a:ext uri="{FF2B5EF4-FFF2-40B4-BE49-F238E27FC236}">
                  <a16:creationId xmlns:a16="http://schemas.microsoft.com/office/drawing/2014/main" id="{780AF692-186E-46F2-89B3-8A2E1B62F1B8}"/>
                </a:ext>
              </a:extLst>
            </p:cNvPr>
            <p:cNvSpPr>
              <a:spLocks/>
            </p:cNvSpPr>
            <p:nvPr/>
          </p:nvSpPr>
          <p:spPr bwMode="gray">
            <a:xfrm>
              <a:off x="13631863"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107">
              <a:extLst>
                <a:ext uri="{FF2B5EF4-FFF2-40B4-BE49-F238E27FC236}">
                  <a16:creationId xmlns:a16="http://schemas.microsoft.com/office/drawing/2014/main" id="{D76B0641-0A55-49BE-9F0F-01C08D3AC87F}"/>
                </a:ext>
              </a:extLst>
            </p:cNvPr>
            <p:cNvSpPr>
              <a:spLocks/>
            </p:cNvSpPr>
            <p:nvPr/>
          </p:nvSpPr>
          <p:spPr bwMode="gray">
            <a:xfrm>
              <a:off x="13777913"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08">
              <a:extLst>
                <a:ext uri="{FF2B5EF4-FFF2-40B4-BE49-F238E27FC236}">
                  <a16:creationId xmlns:a16="http://schemas.microsoft.com/office/drawing/2014/main" id="{8A2A5754-F289-41A8-B9E7-BDBD1AF394C4}"/>
                </a:ext>
              </a:extLst>
            </p:cNvPr>
            <p:cNvSpPr>
              <a:spLocks/>
            </p:cNvSpPr>
            <p:nvPr/>
          </p:nvSpPr>
          <p:spPr bwMode="gray">
            <a:xfrm>
              <a:off x="13923963"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09">
              <a:extLst>
                <a:ext uri="{FF2B5EF4-FFF2-40B4-BE49-F238E27FC236}">
                  <a16:creationId xmlns:a16="http://schemas.microsoft.com/office/drawing/2014/main" id="{3D3A9D0E-0B0D-47F5-8A9B-3E91ACDA0326}"/>
                </a:ext>
              </a:extLst>
            </p:cNvPr>
            <p:cNvSpPr>
              <a:spLocks/>
            </p:cNvSpPr>
            <p:nvPr/>
          </p:nvSpPr>
          <p:spPr bwMode="gray">
            <a:xfrm>
              <a:off x="14070013" y="3676650"/>
              <a:ext cx="119063" cy="119063"/>
            </a:xfrm>
            <a:custGeom>
              <a:avLst/>
              <a:gdLst>
                <a:gd name="T0" fmla="*/ 32 w 32"/>
                <a:gd name="T1" fmla="*/ 30 h 32"/>
                <a:gd name="T2" fmla="*/ 30 w 32"/>
                <a:gd name="T3" fmla="*/ 32 h 32"/>
                <a:gd name="T4" fmla="*/ 1 w 32"/>
                <a:gd name="T5" fmla="*/ 32 h 32"/>
                <a:gd name="T6" fmla="*/ 0 w 32"/>
                <a:gd name="T7" fmla="*/ 30 h 32"/>
                <a:gd name="T8" fmla="*/ 0 w 32"/>
                <a:gd name="T9" fmla="*/ 2 h 32"/>
                <a:gd name="T10" fmla="*/ 1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1" y="32"/>
                    <a:pt x="1" y="32"/>
                    <a:pt x="1" y="32"/>
                  </a:cubicBezTo>
                  <a:cubicBezTo>
                    <a:pt x="0" y="32"/>
                    <a:pt x="0" y="31"/>
                    <a:pt x="0" y="30"/>
                  </a:cubicBezTo>
                  <a:cubicBezTo>
                    <a:pt x="0" y="2"/>
                    <a:pt x="0" y="2"/>
                    <a:pt x="0" y="2"/>
                  </a:cubicBezTo>
                  <a:cubicBezTo>
                    <a:pt x="0" y="1"/>
                    <a:pt x="0" y="0"/>
                    <a:pt x="1"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10">
              <a:extLst>
                <a:ext uri="{FF2B5EF4-FFF2-40B4-BE49-F238E27FC236}">
                  <a16:creationId xmlns:a16="http://schemas.microsoft.com/office/drawing/2014/main" id="{B3C05E23-A596-45C1-9E67-E5CEDC9F88EB}"/>
                </a:ext>
              </a:extLst>
            </p:cNvPr>
            <p:cNvSpPr>
              <a:spLocks/>
            </p:cNvSpPr>
            <p:nvPr/>
          </p:nvSpPr>
          <p:spPr bwMode="gray">
            <a:xfrm>
              <a:off x="14212888" y="3676650"/>
              <a:ext cx="119063" cy="119063"/>
            </a:xfrm>
            <a:custGeom>
              <a:avLst/>
              <a:gdLst>
                <a:gd name="T0" fmla="*/ 32 w 32"/>
                <a:gd name="T1" fmla="*/ 30 h 32"/>
                <a:gd name="T2" fmla="*/ 31 w 32"/>
                <a:gd name="T3" fmla="*/ 32 h 32"/>
                <a:gd name="T4" fmla="*/ 2 w 32"/>
                <a:gd name="T5" fmla="*/ 32 h 32"/>
                <a:gd name="T6" fmla="*/ 0 w 32"/>
                <a:gd name="T7" fmla="*/ 30 h 32"/>
                <a:gd name="T8" fmla="*/ 0 w 32"/>
                <a:gd name="T9" fmla="*/ 2 h 32"/>
                <a:gd name="T10" fmla="*/ 2 w 32"/>
                <a:gd name="T11" fmla="*/ 0 h 32"/>
                <a:gd name="T12" fmla="*/ 31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2" y="32"/>
                    <a:pt x="31" y="32"/>
                  </a:cubicBezTo>
                  <a:cubicBezTo>
                    <a:pt x="2" y="32"/>
                    <a:pt x="2" y="32"/>
                    <a:pt x="2" y="32"/>
                  </a:cubicBezTo>
                  <a:cubicBezTo>
                    <a:pt x="1" y="32"/>
                    <a:pt x="0" y="31"/>
                    <a:pt x="0" y="30"/>
                  </a:cubicBezTo>
                  <a:cubicBezTo>
                    <a:pt x="0" y="2"/>
                    <a:pt x="0" y="2"/>
                    <a:pt x="0" y="2"/>
                  </a:cubicBezTo>
                  <a:cubicBezTo>
                    <a:pt x="0" y="1"/>
                    <a:pt x="1" y="0"/>
                    <a:pt x="2" y="0"/>
                  </a:cubicBezTo>
                  <a:cubicBezTo>
                    <a:pt x="31" y="0"/>
                    <a:pt x="31" y="0"/>
                    <a:pt x="31" y="0"/>
                  </a:cubicBezTo>
                  <a:cubicBezTo>
                    <a:pt x="32"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11">
              <a:extLst>
                <a:ext uri="{FF2B5EF4-FFF2-40B4-BE49-F238E27FC236}">
                  <a16:creationId xmlns:a16="http://schemas.microsoft.com/office/drawing/2014/main" id="{B3F30FA3-6880-4F1B-A460-0CF41DB1016F}"/>
                </a:ext>
              </a:extLst>
            </p:cNvPr>
            <p:cNvSpPr>
              <a:spLocks/>
            </p:cNvSpPr>
            <p:nvPr/>
          </p:nvSpPr>
          <p:spPr bwMode="gray">
            <a:xfrm>
              <a:off x="14358938"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112">
              <a:extLst>
                <a:ext uri="{FF2B5EF4-FFF2-40B4-BE49-F238E27FC236}">
                  <a16:creationId xmlns:a16="http://schemas.microsoft.com/office/drawing/2014/main" id="{665EA1A0-4F72-4B59-9AD9-E9892E3365F9}"/>
                </a:ext>
              </a:extLst>
            </p:cNvPr>
            <p:cNvSpPr>
              <a:spLocks/>
            </p:cNvSpPr>
            <p:nvPr/>
          </p:nvSpPr>
          <p:spPr bwMode="gray">
            <a:xfrm>
              <a:off x="14504988"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113">
              <a:extLst>
                <a:ext uri="{FF2B5EF4-FFF2-40B4-BE49-F238E27FC236}">
                  <a16:creationId xmlns:a16="http://schemas.microsoft.com/office/drawing/2014/main" id="{9C1B4526-BE96-41A3-A760-395CD190A0EF}"/>
                </a:ext>
              </a:extLst>
            </p:cNvPr>
            <p:cNvSpPr>
              <a:spLocks/>
            </p:cNvSpPr>
            <p:nvPr/>
          </p:nvSpPr>
          <p:spPr bwMode="gray">
            <a:xfrm>
              <a:off x="14651038"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114">
              <a:extLst>
                <a:ext uri="{FF2B5EF4-FFF2-40B4-BE49-F238E27FC236}">
                  <a16:creationId xmlns:a16="http://schemas.microsoft.com/office/drawing/2014/main" id="{447C4E42-23EC-4CF4-A743-C5382156286A}"/>
                </a:ext>
              </a:extLst>
            </p:cNvPr>
            <p:cNvSpPr>
              <a:spLocks/>
            </p:cNvSpPr>
            <p:nvPr/>
          </p:nvSpPr>
          <p:spPr bwMode="gray">
            <a:xfrm>
              <a:off x="14725650" y="4330700"/>
              <a:ext cx="120650" cy="63500"/>
            </a:xfrm>
            <a:custGeom>
              <a:avLst/>
              <a:gdLst>
                <a:gd name="T0" fmla="*/ 0 w 32"/>
                <a:gd name="T1" fmla="*/ 0 h 17"/>
                <a:gd name="T2" fmla="*/ 0 w 32"/>
                <a:gd name="T3" fmla="*/ 16 h 17"/>
                <a:gd name="T4" fmla="*/ 1 w 32"/>
                <a:gd name="T5" fmla="*/ 17 h 17"/>
                <a:gd name="T6" fmla="*/ 2 w 32"/>
                <a:gd name="T7" fmla="*/ 17 h 17"/>
                <a:gd name="T8" fmla="*/ 30 w 32"/>
                <a:gd name="T9" fmla="*/ 17 h 17"/>
                <a:gd name="T10" fmla="*/ 31 w 32"/>
                <a:gd name="T11" fmla="*/ 17 h 17"/>
                <a:gd name="T12" fmla="*/ 32 w 32"/>
                <a:gd name="T13" fmla="*/ 16 h 17"/>
                <a:gd name="T14" fmla="*/ 32 w 32"/>
                <a:gd name="T15" fmla="*/ 0 h 17"/>
                <a:gd name="T16" fmla="*/ 0 w 32"/>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7">
                  <a:moveTo>
                    <a:pt x="0" y="0"/>
                  </a:moveTo>
                  <a:cubicBezTo>
                    <a:pt x="0" y="16"/>
                    <a:pt x="0" y="16"/>
                    <a:pt x="0" y="16"/>
                  </a:cubicBezTo>
                  <a:cubicBezTo>
                    <a:pt x="0" y="16"/>
                    <a:pt x="0" y="17"/>
                    <a:pt x="1" y="17"/>
                  </a:cubicBezTo>
                  <a:cubicBezTo>
                    <a:pt x="1" y="17"/>
                    <a:pt x="1" y="17"/>
                    <a:pt x="2" y="17"/>
                  </a:cubicBezTo>
                  <a:cubicBezTo>
                    <a:pt x="30" y="17"/>
                    <a:pt x="30" y="17"/>
                    <a:pt x="30" y="17"/>
                  </a:cubicBezTo>
                  <a:cubicBezTo>
                    <a:pt x="31" y="17"/>
                    <a:pt x="31" y="17"/>
                    <a:pt x="31" y="17"/>
                  </a:cubicBezTo>
                  <a:cubicBezTo>
                    <a:pt x="32" y="17"/>
                    <a:pt x="32" y="16"/>
                    <a:pt x="32" y="16"/>
                  </a:cubicBezTo>
                  <a:cubicBezTo>
                    <a:pt x="32" y="0"/>
                    <a:pt x="32" y="0"/>
                    <a:pt x="32"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115">
              <a:extLst>
                <a:ext uri="{FF2B5EF4-FFF2-40B4-BE49-F238E27FC236}">
                  <a16:creationId xmlns:a16="http://schemas.microsoft.com/office/drawing/2014/main" id="{16B37800-8289-46FA-9FA5-CB3C0ABE491D}"/>
                </a:ext>
              </a:extLst>
            </p:cNvPr>
            <p:cNvSpPr>
              <a:spLocks/>
            </p:cNvSpPr>
            <p:nvPr/>
          </p:nvSpPr>
          <p:spPr bwMode="gray">
            <a:xfrm>
              <a:off x="14725650" y="4260850"/>
              <a:ext cx="120650" cy="63500"/>
            </a:xfrm>
            <a:custGeom>
              <a:avLst/>
              <a:gdLst>
                <a:gd name="T0" fmla="*/ 32 w 32"/>
                <a:gd name="T1" fmla="*/ 17 h 17"/>
                <a:gd name="T2" fmla="*/ 32 w 32"/>
                <a:gd name="T3" fmla="*/ 1 h 17"/>
                <a:gd name="T4" fmla="*/ 31 w 32"/>
                <a:gd name="T5" fmla="*/ 0 h 17"/>
                <a:gd name="T6" fmla="*/ 30 w 32"/>
                <a:gd name="T7" fmla="*/ 0 h 17"/>
                <a:gd name="T8" fmla="*/ 2 w 32"/>
                <a:gd name="T9" fmla="*/ 0 h 17"/>
                <a:gd name="T10" fmla="*/ 1 w 32"/>
                <a:gd name="T11" fmla="*/ 0 h 17"/>
                <a:gd name="T12" fmla="*/ 0 w 32"/>
                <a:gd name="T13" fmla="*/ 1 h 17"/>
                <a:gd name="T14" fmla="*/ 0 w 32"/>
                <a:gd name="T15" fmla="*/ 17 h 17"/>
                <a:gd name="T16" fmla="*/ 32 w 32"/>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7">
                  <a:moveTo>
                    <a:pt x="32" y="17"/>
                  </a:moveTo>
                  <a:cubicBezTo>
                    <a:pt x="32" y="1"/>
                    <a:pt x="32" y="1"/>
                    <a:pt x="32" y="1"/>
                  </a:cubicBezTo>
                  <a:cubicBezTo>
                    <a:pt x="32" y="1"/>
                    <a:pt x="32" y="0"/>
                    <a:pt x="31" y="0"/>
                  </a:cubicBezTo>
                  <a:cubicBezTo>
                    <a:pt x="31" y="0"/>
                    <a:pt x="31" y="0"/>
                    <a:pt x="30" y="0"/>
                  </a:cubicBezTo>
                  <a:cubicBezTo>
                    <a:pt x="2" y="0"/>
                    <a:pt x="2" y="0"/>
                    <a:pt x="2" y="0"/>
                  </a:cubicBezTo>
                  <a:cubicBezTo>
                    <a:pt x="1" y="0"/>
                    <a:pt x="1" y="0"/>
                    <a:pt x="1" y="0"/>
                  </a:cubicBezTo>
                  <a:cubicBezTo>
                    <a:pt x="0" y="0"/>
                    <a:pt x="0" y="1"/>
                    <a:pt x="0" y="1"/>
                  </a:cubicBezTo>
                  <a:cubicBezTo>
                    <a:pt x="0" y="17"/>
                    <a:pt x="0" y="17"/>
                    <a:pt x="0" y="17"/>
                  </a:cubicBezTo>
                  <a:lnTo>
                    <a:pt x="32"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116">
              <a:extLst>
                <a:ext uri="{FF2B5EF4-FFF2-40B4-BE49-F238E27FC236}">
                  <a16:creationId xmlns:a16="http://schemas.microsoft.com/office/drawing/2014/main" id="{B8713076-ED46-4F95-BD91-020CA933934B}"/>
                </a:ext>
              </a:extLst>
            </p:cNvPr>
            <p:cNvSpPr>
              <a:spLocks/>
            </p:cNvSpPr>
            <p:nvPr/>
          </p:nvSpPr>
          <p:spPr bwMode="gray">
            <a:xfrm>
              <a:off x="14871700" y="3822700"/>
              <a:ext cx="120650" cy="265113"/>
            </a:xfrm>
            <a:custGeom>
              <a:avLst/>
              <a:gdLst>
                <a:gd name="T0" fmla="*/ 2 w 32"/>
                <a:gd name="T1" fmla="*/ 0 h 71"/>
                <a:gd name="T2" fmla="*/ 1 w 32"/>
                <a:gd name="T3" fmla="*/ 0 h 71"/>
                <a:gd name="T4" fmla="*/ 0 w 32"/>
                <a:gd name="T5" fmla="*/ 2 h 71"/>
                <a:gd name="T6" fmla="*/ 0 w 32"/>
                <a:gd name="T7" fmla="*/ 30 h 71"/>
                <a:gd name="T8" fmla="*/ 1 w 32"/>
                <a:gd name="T9" fmla="*/ 31 h 71"/>
                <a:gd name="T10" fmla="*/ 2 w 32"/>
                <a:gd name="T11" fmla="*/ 32 h 71"/>
                <a:gd name="T12" fmla="*/ 9 w 32"/>
                <a:gd name="T13" fmla="*/ 32 h 71"/>
                <a:gd name="T14" fmla="*/ 9 w 32"/>
                <a:gd name="T15" fmla="*/ 69 h 71"/>
                <a:gd name="T16" fmla="*/ 10 w 32"/>
                <a:gd name="T17" fmla="*/ 70 h 71"/>
                <a:gd name="T18" fmla="*/ 11 w 32"/>
                <a:gd name="T19" fmla="*/ 71 h 71"/>
                <a:gd name="T20" fmla="*/ 30 w 32"/>
                <a:gd name="T21" fmla="*/ 71 h 71"/>
                <a:gd name="T22" fmla="*/ 31 w 32"/>
                <a:gd name="T23" fmla="*/ 70 h 71"/>
                <a:gd name="T24" fmla="*/ 32 w 32"/>
                <a:gd name="T25" fmla="*/ 69 h 71"/>
                <a:gd name="T26" fmla="*/ 32 w 32"/>
                <a:gd name="T27" fmla="*/ 2 h 71"/>
                <a:gd name="T28" fmla="*/ 31 w 32"/>
                <a:gd name="T29" fmla="*/ 0 h 71"/>
                <a:gd name="T30" fmla="*/ 30 w 32"/>
                <a:gd name="T31" fmla="*/ 0 h 71"/>
                <a:gd name="T32" fmla="*/ 2 w 32"/>
                <a:gd name="T3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1">
                  <a:moveTo>
                    <a:pt x="2" y="0"/>
                  </a:moveTo>
                  <a:cubicBezTo>
                    <a:pt x="1" y="0"/>
                    <a:pt x="1" y="0"/>
                    <a:pt x="1" y="0"/>
                  </a:cubicBezTo>
                  <a:cubicBezTo>
                    <a:pt x="0" y="1"/>
                    <a:pt x="0" y="1"/>
                    <a:pt x="0" y="2"/>
                  </a:cubicBezTo>
                  <a:cubicBezTo>
                    <a:pt x="0" y="30"/>
                    <a:pt x="0" y="30"/>
                    <a:pt x="0" y="30"/>
                  </a:cubicBezTo>
                  <a:cubicBezTo>
                    <a:pt x="0" y="30"/>
                    <a:pt x="0" y="31"/>
                    <a:pt x="1" y="31"/>
                  </a:cubicBezTo>
                  <a:cubicBezTo>
                    <a:pt x="1" y="32"/>
                    <a:pt x="1" y="32"/>
                    <a:pt x="2" y="32"/>
                  </a:cubicBezTo>
                  <a:cubicBezTo>
                    <a:pt x="9" y="32"/>
                    <a:pt x="9" y="32"/>
                    <a:pt x="9" y="32"/>
                  </a:cubicBezTo>
                  <a:cubicBezTo>
                    <a:pt x="9" y="69"/>
                    <a:pt x="9" y="69"/>
                    <a:pt x="9" y="69"/>
                  </a:cubicBezTo>
                  <a:cubicBezTo>
                    <a:pt x="9" y="69"/>
                    <a:pt x="9" y="70"/>
                    <a:pt x="10" y="70"/>
                  </a:cubicBezTo>
                  <a:cubicBezTo>
                    <a:pt x="10" y="71"/>
                    <a:pt x="11" y="71"/>
                    <a:pt x="11" y="71"/>
                  </a:cubicBezTo>
                  <a:cubicBezTo>
                    <a:pt x="30" y="71"/>
                    <a:pt x="30" y="71"/>
                    <a:pt x="30" y="71"/>
                  </a:cubicBezTo>
                  <a:cubicBezTo>
                    <a:pt x="31" y="71"/>
                    <a:pt x="31" y="71"/>
                    <a:pt x="31" y="70"/>
                  </a:cubicBezTo>
                  <a:cubicBezTo>
                    <a:pt x="32" y="70"/>
                    <a:pt x="32" y="69"/>
                    <a:pt x="32" y="69"/>
                  </a:cubicBezTo>
                  <a:cubicBezTo>
                    <a:pt x="32" y="2"/>
                    <a:pt x="32" y="2"/>
                    <a:pt x="32" y="2"/>
                  </a:cubicBezTo>
                  <a:cubicBezTo>
                    <a:pt x="32" y="1"/>
                    <a:pt x="32" y="1"/>
                    <a:pt x="31" y="0"/>
                  </a:cubicBezTo>
                  <a:cubicBezTo>
                    <a:pt x="31" y="0"/>
                    <a:pt x="31" y="0"/>
                    <a:pt x="30"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117">
              <a:extLst>
                <a:ext uri="{FF2B5EF4-FFF2-40B4-BE49-F238E27FC236}">
                  <a16:creationId xmlns:a16="http://schemas.microsoft.com/office/drawing/2014/main" id="{B7A5366F-5A52-4D99-A493-17DC11D3E0AA}"/>
                </a:ext>
              </a:extLst>
            </p:cNvPr>
            <p:cNvSpPr>
              <a:spLocks/>
            </p:cNvSpPr>
            <p:nvPr/>
          </p:nvSpPr>
          <p:spPr bwMode="gray">
            <a:xfrm>
              <a:off x="12761913" y="2147888"/>
              <a:ext cx="2373313" cy="1389063"/>
            </a:xfrm>
            <a:custGeom>
              <a:avLst/>
              <a:gdLst>
                <a:gd name="T0" fmla="*/ 29 w 633"/>
                <a:gd name="T1" fmla="*/ 0 h 371"/>
                <a:gd name="T2" fmla="*/ 8 w 633"/>
                <a:gd name="T3" fmla="*/ 9 h 371"/>
                <a:gd name="T4" fmla="*/ 0 w 633"/>
                <a:gd name="T5" fmla="*/ 30 h 371"/>
                <a:gd name="T6" fmla="*/ 0 w 633"/>
                <a:gd name="T7" fmla="*/ 371 h 371"/>
                <a:gd name="T8" fmla="*/ 633 w 633"/>
                <a:gd name="T9" fmla="*/ 371 h 371"/>
                <a:gd name="T10" fmla="*/ 633 w 633"/>
                <a:gd name="T11" fmla="*/ 30 h 371"/>
                <a:gd name="T12" fmla="*/ 624 w 633"/>
                <a:gd name="T13" fmla="*/ 9 h 371"/>
                <a:gd name="T14" fmla="*/ 603 w 633"/>
                <a:gd name="T15" fmla="*/ 0 h 371"/>
                <a:gd name="T16" fmla="*/ 29 w 633"/>
                <a:gd name="T17"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3" h="371">
                  <a:moveTo>
                    <a:pt x="29" y="0"/>
                  </a:moveTo>
                  <a:cubicBezTo>
                    <a:pt x="22" y="0"/>
                    <a:pt x="14" y="3"/>
                    <a:pt x="8" y="9"/>
                  </a:cubicBezTo>
                  <a:cubicBezTo>
                    <a:pt x="3" y="14"/>
                    <a:pt x="0" y="22"/>
                    <a:pt x="0" y="30"/>
                  </a:cubicBezTo>
                  <a:cubicBezTo>
                    <a:pt x="0" y="371"/>
                    <a:pt x="0" y="371"/>
                    <a:pt x="0" y="371"/>
                  </a:cubicBezTo>
                  <a:cubicBezTo>
                    <a:pt x="633" y="371"/>
                    <a:pt x="633" y="371"/>
                    <a:pt x="633" y="371"/>
                  </a:cubicBezTo>
                  <a:cubicBezTo>
                    <a:pt x="633" y="30"/>
                    <a:pt x="633" y="30"/>
                    <a:pt x="633" y="30"/>
                  </a:cubicBezTo>
                  <a:cubicBezTo>
                    <a:pt x="633" y="22"/>
                    <a:pt x="630" y="14"/>
                    <a:pt x="624" y="9"/>
                  </a:cubicBezTo>
                  <a:cubicBezTo>
                    <a:pt x="618" y="3"/>
                    <a:pt x="611" y="0"/>
                    <a:pt x="603" y="0"/>
                  </a:cubicBezTo>
                  <a:lnTo>
                    <a:pt x="29"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6" name="Oval 118">
              <a:extLst>
                <a:ext uri="{FF2B5EF4-FFF2-40B4-BE49-F238E27FC236}">
                  <a16:creationId xmlns:a16="http://schemas.microsoft.com/office/drawing/2014/main" id="{61B6299C-8BB0-4E93-9617-71DFAFB4D195}"/>
                </a:ext>
              </a:extLst>
            </p:cNvPr>
            <p:cNvSpPr>
              <a:spLocks noChangeArrowheads="1"/>
            </p:cNvSpPr>
            <p:nvPr/>
          </p:nvSpPr>
          <p:spPr bwMode="gray">
            <a:xfrm>
              <a:off x="13919200" y="2182813"/>
              <a:ext cx="53975" cy="52388"/>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7" name="Rectangle 120">
              <a:extLst>
                <a:ext uri="{FF2B5EF4-FFF2-40B4-BE49-F238E27FC236}">
                  <a16:creationId xmlns:a16="http://schemas.microsoft.com/office/drawing/2014/main" id="{0DF62EF2-390A-4764-B91F-2F551C538FB6}"/>
                </a:ext>
              </a:extLst>
            </p:cNvPr>
            <p:cNvSpPr>
              <a:spLocks noChangeArrowheads="1"/>
            </p:cNvSpPr>
            <p:nvPr/>
          </p:nvSpPr>
          <p:spPr bwMode="gray">
            <a:xfrm>
              <a:off x="14912975" y="3489325"/>
              <a:ext cx="157163" cy="96838"/>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8" name="Rectangle 121">
              <a:extLst>
                <a:ext uri="{FF2B5EF4-FFF2-40B4-BE49-F238E27FC236}">
                  <a16:creationId xmlns:a16="http://schemas.microsoft.com/office/drawing/2014/main" id="{197591E5-FC3F-4C83-B003-BFC98E573975}"/>
                </a:ext>
              </a:extLst>
            </p:cNvPr>
            <p:cNvSpPr>
              <a:spLocks noChangeArrowheads="1"/>
            </p:cNvSpPr>
            <p:nvPr/>
          </p:nvSpPr>
          <p:spPr bwMode="gray">
            <a:xfrm>
              <a:off x="14912975" y="3536950"/>
              <a:ext cx="157163" cy="4921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9" name="Rectangle 122">
              <a:extLst>
                <a:ext uri="{FF2B5EF4-FFF2-40B4-BE49-F238E27FC236}">
                  <a16:creationId xmlns:a16="http://schemas.microsoft.com/office/drawing/2014/main" id="{5423C0AC-D4B5-4D78-B42B-1F701576BE13}"/>
                </a:ext>
              </a:extLst>
            </p:cNvPr>
            <p:cNvSpPr>
              <a:spLocks noChangeArrowheads="1"/>
            </p:cNvSpPr>
            <p:nvPr/>
          </p:nvSpPr>
          <p:spPr bwMode="gray">
            <a:xfrm>
              <a:off x="12825413" y="3489325"/>
              <a:ext cx="153988" cy="96838"/>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0" name="Rectangle 123">
              <a:extLst>
                <a:ext uri="{FF2B5EF4-FFF2-40B4-BE49-F238E27FC236}">
                  <a16:creationId xmlns:a16="http://schemas.microsoft.com/office/drawing/2014/main" id="{E6A442FA-F435-480B-8982-0C75A2C4B98B}"/>
                </a:ext>
              </a:extLst>
            </p:cNvPr>
            <p:cNvSpPr>
              <a:spLocks noChangeArrowheads="1"/>
            </p:cNvSpPr>
            <p:nvPr/>
          </p:nvSpPr>
          <p:spPr bwMode="gray">
            <a:xfrm>
              <a:off x="12825413" y="3536950"/>
              <a:ext cx="153988" cy="4921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1" name="Oval 172">
              <a:extLst>
                <a:ext uri="{FF2B5EF4-FFF2-40B4-BE49-F238E27FC236}">
                  <a16:creationId xmlns:a16="http://schemas.microsoft.com/office/drawing/2014/main" id="{2FA9B448-5CC8-42E3-AD17-570E38845959}"/>
                </a:ext>
              </a:extLst>
            </p:cNvPr>
            <p:cNvSpPr>
              <a:spLocks noChangeArrowheads="1"/>
            </p:cNvSpPr>
            <p:nvPr/>
          </p:nvSpPr>
          <p:spPr bwMode="gray">
            <a:xfrm>
              <a:off x="15374938" y="3197225"/>
              <a:ext cx="876300" cy="8715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173">
              <a:extLst>
                <a:ext uri="{FF2B5EF4-FFF2-40B4-BE49-F238E27FC236}">
                  <a16:creationId xmlns:a16="http://schemas.microsoft.com/office/drawing/2014/main" id="{3329F425-F407-438C-BD00-EA5919BB21F7}"/>
                </a:ext>
              </a:extLst>
            </p:cNvPr>
            <p:cNvSpPr>
              <a:spLocks/>
            </p:cNvSpPr>
            <p:nvPr/>
          </p:nvSpPr>
          <p:spPr bwMode="gray">
            <a:xfrm>
              <a:off x="15873413" y="3694113"/>
              <a:ext cx="546100" cy="385763"/>
            </a:xfrm>
            <a:custGeom>
              <a:avLst/>
              <a:gdLst>
                <a:gd name="T0" fmla="*/ 99 w 146"/>
                <a:gd name="T1" fmla="*/ 0 h 103"/>
                <a:gd name="T2" fmla="*/ 0 w 146"/>
                <a:gd name="T3" fmla="*/ 99 h 103"/>
                <a:gd name="T4" fmla="*/ 25 w 146"/>
                <a:gd name="T5" fmla="*/ 103 h 103"/>
                <a:gd name="T6" fmla="*/ 96 w 146"/>
                <a:gd name="T7" fmla="*/ 57 h 103"/>
                <a:gd name="T8" fmla="*/ 107 w 146"/>
                <a:gd name="T9" fmla="*/ 59 h 103"/>
                <a:gd name="T10" fmla="*/ 107 w 146"/>
                <a:gd name="T11" fmla="*/ 59 h 103"/>
                <a:gd name="T12" fmla="*/ 129 w 146"/>
                <a:gd name="T13" fmla="*/ 66 h 103"/>
                <a:gd name="T14" fmla="*/ 133 w 146"/>
                <a:gd name="T15" fmla="*/ 66 h 103"/>
                <a:gd name="T16" fmla="*/ 139 w 146"/>
                <a:gd name="T17" fmla="*/ 64 h 103"/>
                <a:gd name="T18" fmla="*/ 145 w 146"/>
                <a:gd name="T19" fmla="*/ 57 h 103"/>
                <a:gd name="T20" fmla="*/ 144 w 146"/>
                <a:gd name="T21" fmla="*/ 47 h 103"/>
                <a:gd name="T22" fmla="*/ 140 w 146"/>
                <a:gd name="T23" fmla="*/ 43 h 103"/>
                <a:gd name="T24" fmla="*/ 138 w 146"/>
                <a:gd name="T25" fmla="*/ 41 h 103"/>
                <a:gd name="T26" fmla="*/ 136 w 146"/>
                <a:gd name="T27" fmla="*/ 39 h 103"/>
                <a:gd name="T28" fmla="*/ 134 w 146"/>
                <a:gd name="T29" fmla="*/ 37 h 103"/>
                <a:gd name="T30" fmla="*/ 131 w 146"/>
                <a:gd name="T31" fmla="*/ 35 h 103"/>
                <a:gd name="T32" fmla="*/ 129 w 146"/>
                <a:gd name="T33" fmla="*/ 32 h 103"/>
                <a:gd name="T34" fmla="*/ 127 w 146"/>
                <a:gd name="T35" fmla="*/ 30 h 103"/>
                <a:gd name="T36" fmla="*/ 125 w 146"/>
                <a:gd name="T37" fmla="*/ 28 h 103"/>
                <a:gd name="T38" fmla="*/ 123 w 146"/>
                <a:gd name="T39" fmla="*/ 26 h 103"/>
                <a:gd name="T40" fmla="*/ 120 w 146"/>
                <a:gd name="T41" fmla="*/ 24 h 103"/>
                <a:gd name="T42" fmla="*/ 118 w 146"/>
                <a:gd name="T43" fmla="*/ 21 h 103"/>
                <a:gd name="T44" fmla="*/ 116 w 146"/>
                <a:gd name="T45" fmla="*/ 19 h 103"/>
                <a:gd name="T46" fmla="*/ 114 w 146"/>
                <a:gd name="T47" fmla="*/ 17 h 103"/>
                <a:gd name="T48" fmla="*/ 112 w 146"/>
                <a:gd name="T49" fmla="*/ 15 h 103"/>
                <a:gd name="T50" fmla="*/ 109 w 146"/>
                <a:gd name="T51" fmla="*/ 13 h 103"/>
                <a:gd name="T52" fmla="*/ 107 w 146"/>
                <a:gd name="T53" fmla="*/ 10 h 103"/>
                <a:gd name="T54" fmla="*/ 105 w 146"/>
                <a:gd name="T55" fmla="*/ 8 h 103"/>
                <a:gd name="T56" fmla="*/ 103 w 146"/>
                <a:gd name="T57" fmla="*/ 6 h 103"/>
                <a:gd name="T58" fmla="*/ 101 w 146"/>
                <a:gd name="T59" fmla="*/ 4 h 103"/>
                <a:gd name="T60" fmla="*/ 99 w 146"/>
                <a:gd name="T6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6" h="103">
                  <a:moveTo>
                    <a:pt x="99" y="0"/>
                  </a:moveTo>
                  <a:cubicBezTo>
                    <a:pt x="92" y="51"/>
                    <a:pt x="52" y="92"/>
                    <a:pt x="0" y="99"/>
                  </a:cubicBezTo>
                  <a:cubicBezTo>
                    <a:pt x="8" y="101"/>
                    <a:pt x="16" y="103"/>
                    <a:pt x="25" y="103"/>
                  </a:cubicBezTo>
                  <a:cubicBezTo>
                    <a:pt x="56" y="103"/>
                    <a:pt x="84" y="84"/>
                    <a:pt x="96" y="57"/>
                  </a:cubicBezTo>
                  <a:cubicBezTo>
                    <a:pt x="107" y="59"/>
                    <a:pt x="107" y="59"/>
                    <a:pt x="107" y="59"/>
                  </a:cubicBezTo>
                  <a:cubicBezTo>
                    <a:pt x="107" y="59"/>
                    <a:pt x="107" y="59"/>
                    <a:pt x="107" y="59"/>
                  </a:cubicBezTo>
                  <a:cubicBezTo>
                    <a:pt x="129" y="66"/>
                    <a:pt x="129" y="66"/>
                    <a:pt x="129" y="66"/>
                  </a:cubicBezTo>
                  <a:cubicBezTo>
                    <a:pt x="130" y="66"/>
                    <a:pt x="132" y="66"/>
                    <a:pt x="133" y="66"/>
                  </a:cubicBezTo>
                  <a:cubicBezTo>
                    <a:pt x="135" y="66"/>
                    <a:pt x="137" y="66"/>
                    <a:pt x="139" y="64"/>
                  </a:cubicBezTo>
                  <a:cubicBezTo>
                    <a:pt x="142" y="63"/>
                    <a:pt x="144" y="60"/>
                    <a:pt x="145" y="57"/>
                  </a:cubicBezTo>
                  <a:cubicBezTo>
                    <a:pt x="146" y="54"/>
                    <a:pt x="145" y="50"/>
                    <a:pt x="144" y="47"/>
                  </a:cubicBezTo>
                  <a:cubicBezTo>
                    <a:pt x="143" y="46"/>
                    <a:pt x="142" y="44"/>
                    <a:pt x="140" y="43"/>
                  </a:cubicBezTo>
                  <a:cubicBezTo>
                    <a:pt x="140" y="43"/>
                    <a:pt x="139" y="42"/>
                    <a:pt x="138" y="41"/>
                  </a:cubicBezTo>
                  <a:cubicBezTo>
                    <a:pt x="137" y="40"/>
                    <a:pt x="137" y="40"/>
                    <a:pt x="136" y="39"/>
                  </a:cubicBezTo>
                  <a:cubicBezTo>
                    <a:pt x="135" y="38"/>
                    <a:pt x="135" y="37"/>
                    <a:pt x="134" y="37"/>
                  </a:cubicBezTo>
                  <a:cubicBezTo>
                    <a:pt x="133" y="36"/>
                    <a:pt x="132" y="35"/>
                    <a:pt x="131" y="35"/>
                  </a:cubicBezTo>
                  <a:cubicBezTo>
                    <a:pt x="131" y="34"/>
                    <a:pt x="130" y="33"/>
                    <a:pt x="129" y="32"/>
                  </a:cubicBezTo>
                  <a:cubicBezTo>
                    <a:pt x="129" y="32"/>
                    <a:pt x="128" y="31"/>
                    <a:pt x="127" y="30"/>
                  </a:cubicBezTo>
                  <a:cubicBezTo>
                    <a:pt x="126" y="29"/>
                    <a:pt x="126" y="29"/>
                    <a:pt x="125" y="28"/>
                  </a:cubicBezTo>
                  <a:cubicBezTo>
                    <a:pt x="124" y="27"/>
                    <a:pt x="123" y="26"/>
                    <a:pt x="123" y="26"/>
                  </a:cubicBezTo>
                  <a:cubicBezTo>
                    <a:pt x="122" y="25"/>
                    <a:pt x="121" y="24"/>
                    <a:pt x="120" y="24"/>
                  </a:cubicBezTo>
                  <a:cubicBezTo>
                    <a:pt x="120" y="23"/>
                    <a:pt x="119" y="22"/>
                    <a:pt x="118" y="21"/>
                  </a:cubicBezTo>
                  <a:cubicBezTo>
                    <a:pt x="118" y="21"/>
                    <a:pt x="117" y="20"/>
                    <a:pt x="116" y="19"/>
                  </a:cubicBezTo>
                  <a:cubicBezTo>
                    <a:pt x="115" y="18"/>
                    <a:pt x="115" y="18"/>
                    <a:pt x="114" y="17"/>
                  </a:cubicBezTo>
                  <a:cubicBezTo>
                    <a:pt x="113" y="16"/>
                    <a:pt x="112" y="15"/>
                    <a:pt x="112" y="15"/>
                  </a:cubicBezTo>
                  <a:cubicBezTo>
                    <a:pt x="111" y="14"/>
                    <a:pt x="110" y="13"/>
                    <a:pt x="109" y="13"/>
                  </a:cubicBezTo>
                  <a:cubicBezTo>
                    <a:pt x="109" y="12"/>
                    <a:pt x="108" y="11"/>
                    <a:pt x="107" y="10"/>
                  </a:cubicBezTo>
                  <a:cubicBezTo>
                    <a:pt x="107" y="9"/>
                    <a:pt x="106" y="9"/>
                    <a:pt x="105" y="8"/>
                  </a:cubicBezTo>
                  <a:cubicBezTo>
                    <a:pt x="104" y="7"/>
                    <a:pt x="104" y="7"/>
                    <a:pt x="103" y="6"/>
                  </a:cubicBezTo>
                  <a:cubicBezTo>
                    <a:pt x="102" y="5"/>
                    <a:pt x="101" y="4"/>
                    <a:pt x="101" y="4"/>
                  </a:cubicBezTo>
                  <a:cubicBezTo>
                    <a:pt x="100" y="2"/>
                    <a:pt x="100" y="1"/>
                    <a:pt x="99" y="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 name="Freeform 174">
              <a:extLst>
                <a:ext uri="{FF2B5EF4-FFF2-40B4-BE49-F238E27FC236}">
                  <a16:creationId xmlns:a16="http://schemas.microsoft.com/office/drawing/2014/main" id="{A4868B16-0968-4709-80E1-9D31DC5C6251}"/>
                </a:ext>
              </a:extLst>
            </p:cNvPr>
            <p:cNvSpPr>
              <a:spLocks/>
            </p:cNvSpPr>
            <p:nvPr/>
          </p:nvSpPr>
          <p:spPr bwMode="gray">
            <a:xfrm>
              <a:off x="15516225" y="3338513"/>
              <a:ext cx="727075" cy="727075"/>
            </a:xfrm>
            <a:custGeom>
              <a:avLst/>
              <a:gdLst>
                <a:gd name="T0" fmla="*/ 79 w 194"/>
                <a:gd name="T1" fmla="*/ 0 h 194"/>
                <a:gd name="T2" fmla="*/ 0 w 194"/>
                <a:gd name="T3" fmla="*/ 78 h 194"/>
                <a:gd name="T4" fmla="*/ 24 w 194"/>
                <a:gd name="T5" fmla="*/ 135 h 194"/>
                <a:gd name="T6" fmla="*/ 63 w 194"/>
                <a:gd name="T7" fmla="*/ 174 h 194"/>
                <a:gd name="T8" fmla="*/ 95 w 194"/>
                <a:gd name="T9" fmla="*/ 194 h 194"/>
                <a:gd name="T10" fmla="*/ 194 w 194"/>
                <a:gd name="T11" fmla="*/ 95 h 194"/>
                <a:gd name="T12" fmla="*/ 174 w 194"/>
                <a:gd name="T13" fmla="*/ 62 h 194"/>
                <a:gd name="T14" fmla="*/ 136 w 194"/>
                <a:gd name="T15" fmla="*/ 24 h 194"/>
                <a:gd name="T16" fmla="*/ 79 w 194"/>
                <a:gd name="T17"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194">
                  <a:moveTo>
                    <a:pt x="79" y="0"/>
                  </a:moveTo>
                  <a:cubicBezTo>
                    <a:pt x="35" y="0"/>
                    <a:pt x="0" y="35"/>
                    <a:pt x="0" y="78"/>
                  </a:cubicBezTo>
                  <a:cubicBezTo>
                    <a:pt x="0" y="101"/>
                    <a:pt x="9" y="121"/>
                    <a:pt x="24" y="135"/>
                  </a:cubicBezTo>
                  <a:cubicBezTo>
                    <a:pt x="25" y="136"/>
                    <a:pt x="62" y="173"/>
                    <a:pt x="63" y="174"/>
                  </a:cubicBezTo>
                  <a:cubicBezTo>
                    <a:pt x="72" y="183"/>
                    <a:pt x="83" y="190"/>
                    <a:pt x="95" y="194"/>
                  </a:cubicBezTo>
                  <a:cubicBezTo>
                    <a:pt x="147" y="187"/>
                    <a:pt x="187" y="146"/>
                    <a:pt x="194" y="95"/>
                  </a:cubicBezTo>
                  <a:cubicBezTo>
                    <a:pt x="190" y="82"/>
                    <a:pt x="183" y="71"/>
                    <a:pt x="174" y="62"/>
                  </a:cubicBezTo>
                  <a:cubicBezTo>
                    <a:pt x="173" y="61"/>
                    <a:pt x="136" y="25"/>
                    <a:pt x="136" y="24"/>
                  </a:cubicBezTo>
                  <a:cubicBezTo>
                    <a:pt x="121" y="9"/>
                    <a:pt x="101" y="0"/>
                    <a:pt x="79" y="0"/>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4" name="Freeform 175">
              <a:extLst>
                <a:ext uri="{FF2B5EF4-FFF2-40B4-BE49-F238E27FC236}">
                  <a16:creationId xmlns:a16="http://schemas.microsoft.com/office/drawing/2014/main" id="{3D6FF942-03DD-4F5A-AE7A-85C4AF7B102E}"/>
                </a:ext>
              </a:extLst>
            </p:cNvPr>
            <p:cNvSpPr>
              <a:spLocks/>
            </p:cNvSpPr>
            <p:nvPr/>
          </p:nvSpPr>
          <p:spPr bwMode="gray">
            <a:xfrm>
              <a:off x="16067088" y="3660775"/>
              <a:ext cx="200025" cy="131763"/>
            </a:xfrm>
            <a:custGeom>
              <a:avLst/>
              <a:gdLst>
                <a:gd name="T0" fmla="*/ 52 w 53"/>
                <a:gd name="T1" fmla="*/ 25 h 35"/>
                <a:gd name="T2" fmla="*/ 46 w 53"/>
                <a:gd name="T3" fmla="*/ 33 h 35"/>
                <a:gd name="T4" fmla="*/ 37 w 53"/>
                <a:gd name="T5" fmla="*/ 34 h 35"/>
                <a:gd name="T6" fmla="*/ 0 w 53"/>
                <a:gd name="T7" fmla="*/ 24 h 35"/>
                <a:gd name="T8" fmla="*/ 7 w 53"/>
                <a:gd name="T9" fmla="*/ 0 h 35"/>
                <a:gd name="T10" fmla="*/ 43 w 53"/>
                <a:gd name="T11" fmla="*/ 10 h 35"/>
                <a:gd name="T12" fmla="*/ 51 w 53"/>
                <a:gd name="T13" fmla="*/ 16 h 35"/>
                <a:gd name="T14" fmla="*/ 52 w 53"/>
                <a:gd name="T15" fmla="*/ 2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35">
                  <a:moveTo>
                    <a:pt x="52" y="25"/>
                  </a:moveTo>
                  <a:cubicBezTo>
                    <a:pt x="51" y="28"/>
                    <a:pt x="49" y="31"/>
                    <a:pt x="46" y="33"/>
                  </a:cubicBezTo>
                  <a:cubicBezTo>
                    <a:pt x="43" y="35"/>
                    <a:pt x="40" y="35"/>
                    <a:pt x="37" y="34"/>
                  </a:cubicBezTo>
                  <a:cubicBezTo>
                    <a:pt x="0" y="24"/>
                    <a:pt x="0" y="24"/>
                    <a:pt x="0" y="24"/>
                  </a:cubicBezTo>
                  <a:cubicBezTo>
                    <a:pt x="7" y="0"/>
                    <a:pt x="7" y="0"/>
                    <a:pt x="7" y="0"/>
                  </a:cubicBezTo>
                  <a:cubicBezTo>
                    <a:pt x="43" y="10"/>
                    <a:pt x="43" y="10"/>
                    <a:pt x="43" y="10"/>
                  </a:cubicBezTo>
                  <a:cubicBezTo>
                    <a:pt x="47" y="11"/>
                    <a:pt x="49" y="13"/>
                    <a:pt x="51" y="16"/>
                  </a:cubicBezTo>
                  <a:cubicBezTo>
                    <a:pt x="53" y="19"/>
                    <a:pt x="53" y="22"/>
                    <a:pt x="52"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176">
              <a:extLst>
                <a:ext uri="{FF2B5EF4-FFF2-40B4-BE49-F238E27FC236}">
                  <a16:creationId xmlns:a16="http://schemas.microsoft.com/office/drawing/2014/main" id="{7915B877-C47B-4D20-9AC2-2656D522300D}"/>
                </a:ext>
              </a:extLst>
            </p:cNvPr>
            <p:cNvSpPr>
              <a:spLocks/>
            </p:cNvSpPr>
            <p:nvPr/>
          </p:nvSpPr>
          <p:spPr bwMode="gray">
            <a:xfrm>
              <a:off x="16067088" y="3660775"/>
              <a:ext cx="79375" cy="104775"/>
            </a:xfrm>
            <a:custGeom>
              <a:avLst/>
              <a:gdLst>
                <a:gd name="T0" fmla="*/ 7 w 21"/>
                <a:gd name="T1" fmla="*/ 0 h 28"/>
                <a:gd name="T2" fmla="*/ 0 w 21"/>
                <a:gd name="T3" fmla="*/ 24 h 28"/>
                <a:gd name="T4" fmla="*/ 14 w 21"/>
                <a:gd name="T5" fmla="*/ 28 h 28"/>
                <a:gd name="T6" fmla="*/ 21 w 21"/>
                <a:gd name="T7" fmla="*/ 4 h 28"/>
                <a:gd name="T8" fmla="*/ 7 w 21"/>
                <a:gd name="T9" fmla="*/ 0 h 28"/>
              </a:gdLst>
              <a:ahLst/>
              <a:cxnLst>
                <a:cxn ang="0">
                  <a:pos x="T0" y="T1"/>
                </a:cxn>
                <a:cxn ang="0">
                  <a:pos x="T2" y="T3"/>
                </a:cxn>
                <a:cxn ang="0">
                  <a:pos x="T4" y="T5"/>
                </a:cxn>
                <a:cxn ang="0">
                  <a:pos x="T6" y="T7"/>
                </a:cxn>
                <a:cxn ang="0">
                  <a:pos x="T8" y="T9"/>
                </a:cxn>
              </a:cxnLst>
              <a:rect l="0" t="0" r="r" b="b"/>
              <a:pathLst>
                <a:path w="21" h="28">
                  <a:moveTo>
                    <a:pt x="7" y="0"/>
                  </a:moveTo>
                  <a:cubicBezTo>
                    <a:pt x="0" y="24"/>
                    <a:pt x="0" y="24"/>
                    <a:pt x="0" y="24"/>
                  </a:cubicBezTo>
                  <a:cubicBezTo>
                    <a:pt x="14" y="28"/>
                    <a:pt x="14" y="28"/>
                    <a:pt x="14" y="28"/>
                  </a:cubicBezTo>
                  <a:cubicBezTo>
                    <a:pt x="17" y="20"/>
                    <a:pt x="19" y="12"/>
                    <a:pt x="21" y="4"/>
                  </a:cubicBezTo>
                  <a:lnTo>
                    <a:pt x="7"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6" name="Oval 177">
              <a:extLst>
                <a:ext uri="{FF2B5EF4-FFF2-40B4-BE49-F238E27FC236}">
                  <a16:creationId xmlns:a16="http://schemas.microsoft.com/office/drawing/2014/main" id="{28B04B52-C72B-4C30-A5D2-88FDD7DC2AB3}"/>
                </a:ext>
              </a:extLst>
            </p:cNvPr>
            <p:cNvSpPr>
              <a:spLocks noChangeArrowheads="1"/>
            </p:cNvSpPr>
            <p:nvPr/>
          </p:nvSpPr>
          <p:spPr bwMode="gray">
            <a:xfrm>
              <a:off x="15516225" y="3338513"/>
              <a:ext cx="592138" cy="5889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Oval 178">
              <a:extLst>
                <a:ext uri="{FF2B5EF4-FFF2-40B4-BE49-F238E27FC236}">
                  <a16:creationId xmlns:a16="http://schemas.microsoft.com/office/drawing/2014/main" id="{A8DD6676-80CE-4843-883D-E25576F7382C}"/>
                </a:ext>
              </a:extLst>
            </p:cNvPr>
            <p:cNvSpPr>
              <a:spLocks noChangeArrowheads="1"/>
            </p:cNvSpPr>
            <p:nvPr/>
          </p:nvSpPr>
          <p:spPr bwMode="gray">
            <a:xfrm>
              <a:off x="15565438" y="3384550"/>
              <a:ext cx="495300" cy="496888"/>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8" name="Freeform 179">
              <a:extLst>
                <a:ext uri="{FF2B5EF4-FFF2-40B4-BE49-F238E27FC236}">
                  <a16:creationId xmlns:a16="http://schemas.microsoft.com/office/drawing/2014/main" id="{2E286AE7-30A0-4803-8BC1-B9F29B6DE306}"/>
                </a:ext>
              </a:extLst>
            </p:cNvPr>
            <p:cNvSpPr>
              <a:spLocks/>
            </p:cNvSpPr>
            <p:nvPr/>
          </p:nvSpPr>
          <p:spPr bwMode="gray">
            <a:xfrm>
              <a:off x="15565438" y="3384550"/>
              <a:ext cx="454025" cy="455613"/>
            </a:xfrm>
            <a:custGeom>
              <a:avLst/>
              <a:gdLst>
                <a:gd name="T0" fmla="*/ 19 w 121"/>
                <a:gd name="T1" fmla="*/ 85 h 122"/>
                <a:gd name="T2" fmla="*/ 85 w 121"/>
                <a:gd name="T3" fmla="*/ 19 h 122"/>
                <a:gd name="T4" fmla="*/ 121 w 121"/>
                <a:gd name="T5" fmla="*/ 30 h 122"/>
                <a:gd name="T6" fmla="*/ 66 w 121"/>
                <a:gd name="T7" fmla="*/ 0 h 122"/>
                <a:gd name="T8" fmla="*/ 0 w 121"/>
                <a:gd name="T9" fmla="*/ 66 h 122"/>
                <a:gd name="T10" fmla="*/ 30 w 121"/>
                <a:gd name="T11" fmla="*/ 122 h 122"/>
                <a:gd name="T12" fmla="*/ 19 w 121"/>
                <a:gd name="T13" fmla="*/ 85 h 122"/>
              </a:gdLst>
              <a:ahLst/>
              <a:cxnLst>
                <a:cxn ang="0">
                  <a:pos x="T0" y="T1"/>
                </a:cxn>
                <a:cxn ang="0">
                  <a:pos x="T2" y="T3"/>
                </a:cxn>
                <a:cxn ang="0">
                  <a:pos x="T4" y="T5"/>
                </a:cxn>
                <a:cxn ang="0">
                  <a:pos x="T6" y="T7"/>
                </a:cxn>
                <a:cxn ang="0">
                  <a:pos x="T8" y="T9"/>
                </a:cxn>
                <a:cxn ang="0">
                  <a:pos x="T10" y="T11"/>
                </a:cxn>
                <a:cxn ang="0">
                  <a:pos x="T12" y="T13"/>
                </a:cxn>
              </a:cxnLst>
              <a:rect l="0" t="0" r="r" b="b"/>
              <a:pathLst>
                <a:path w="121" h="122">
                  <a:moveTo>
                    <a:pt x="19" y="85"/>
                  </a:moveTo>
                  <a:cubicBezTo>
                    <a:pt x="19" y="49"/>
                    <a:pt x="48" y="19"/>
                    <a:pt x="85" y="19"/>
                  </a:cubicBezTo>
                  <a:cubicBezTo>
                    <a:pt x="98" y="19"/>
                    <a:pt x="111" y="23"/>
                    <a:pt x="121" y="30"/>
                  </a:cubicBezTo>
                  <a:cubicBezTo>
                    <a:pt x="109" y="12"/>
                    <a:pt x="89" y="0"/>
                    <a:pt x="66" y="0"/>
                  </a:cubicBezTo>
                  <a:cubicBezTo>
                    <a:pt x="29" y="0"/>
                    <a:pt x="0" y="30"/>
                    <a:pt x="0" y="66"/>
                  </a:cubicBezTo>
                  <a:cubicBezTo>
                    <a:pt x="0" y="90"/>
                    <a:pt x="12" y="110"/>
                    <a:pt x="30" y="122"/>
                  </a:cubicBezTo>
                  <a:cubicBezTo>
                    <a:pt x="23" y="111"/>
                    <a:pt x="19" y="99"/>
                    <a:pt x="19" y="8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9" name="Freeform 180">
              <a:extLst>
                <a:ext uri="{FF2B5EF4-FFF2-40B4-BE49-F238E27FC236}">
                  <a16:creationId xmlns:a16="http://schemas.microsoft.com/office/drawing/2014/main" id="{72381461-813D-4155-8788-13077018E311}"/>
                </a:ext>
              </a:extLst>
            </p:cNvPr>
            <p:cNvSpPr>
              <a:spLocks/>
            </p:cNvSpPr>
            <p:nvPr/>
          </p:nvSpPr>
          <p:spPr bwMode="gray">
            <a:xfrm>
              <a:off x="15340013" y="4454525"/>
              <a:ext cx="461963" cy="820738"/>
            </a:xfrm>
            <a:custGeom>
              <a:avLst/>
              <a:gdLst>
                <a:gd name="T0" fmla="*/ 123 w 123"/>
                <a:gd name="T1" fmla="*/ 174 h 219"/>
                <a:gd name="T2" fmla="*/ 78 w 123"/>
                <a:gd name="T3" fmla="*/ 219 h 219"/>
                <a:gd name="T4" fmla="*/ 45 w 123"/>
                <a:gd name="T5" fmla="*/ 219 h 219"/>
                <a:gd name="T6" fmla="*/ 0 w 123"/>
                <a:gd name="T7" fmla="*/ 174 h 219"/>
                <a:gd name="T8" fmla="*/ 0 w 123"/>
                <a:gd name="T9" fmla="*/ 45 h 219"/>
                <a:gd name="T10" fmla="*/ 45 w 123"/>
                <a:gd name="T11" fmla="*/ 0 h 219"/>
                <a:gd name="T12" fmla="*/ 78 w 123"/>
                <a:gd name="T13" fmla="*/ 0 h 219"/>
                <a:gd name="T14" fmla="*/ 123 w 123"/>
                <a:gd name="T15" fmla="*/ 45 h 219"/>
                <a:gd name="T16" fmla="*/ 123 w 123"/>
                <a:gd name="T17" fmla="*/ 17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219">
                  <a:moveTo>
                    <a:pt x="123" y="174"/>
                  </a:moveTo>
                  <a:cubicBezTo>
                    <a:pt x="123" y="198"/>
                    <a:pt x="102" y="219"/>
                    <a:pt x="78" y="219"/>
                  </a:cubicBezTo>
                  <a:cubicBezTo>
                    <a:pt x="45" y="219"/>
                    <a:pt x="45" y="219"/>
                    <a:pt x="45" y="219"/>
                  </a:cubicBezTo>
                  <a:cubicBezTo>
                    <a:pt x="20" y="219"/>
                    <a:pt x="0" y="198"/>
                    <a:pt x="0" y="174"/>
                  </a:cubicBezTo>
                  <a:cubicBezTo>
                    <a:pt x="0" y="45"/>
                    <a:pt x="0" y="45"/>
                    <a:pt x="0" y="45"/>
                  </a:cubicBezTo>
                  <a:cubicBezTo>
                    <a:pt x="0" y="20"/>
                    <a:pt x="20" y="0"/>
                    <a:pt x="45" y="0"/>
                  </a:cubicBezTo>
                  <a:cubicBezTo>
                    <a:pt x="78" y="0"/>
                    <a:pt x="78" y="0"/>
                    <a:pt x="78" y="0"/>
                  </a:cubicBezTo>
                  <a:cubicBezTo>
                    <a:pt x="102" y="0"/>
                    <a:pt x="123" y="20"/>
                    <a:pt x="123" y="45"/>
                  </a:cubicBezTo>
                  <a:lnTo>
                    <a:pt x="123" y="1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181">
              <a:extLst>
                <a:ext uri="{FF2B5EF4-FFF2-40B4-BE49-F238E27FC236}">
                  <a16:creationId xmlns:a16="http://schemas.microsoft.com/office/drawing/2014/main" id="{6B146E4C-1714-4765-8134-0769584A2AE6}"/>
                </a:ext>
              </a:extLst>
            </p:cNvPr>
            <p:cNvSpPr>
              <a:spLocks/>
            </p:cNvSpPr>
            <p:nvPr/>
          </p:nvSpPr>
          <p:spPr bwMode="gray">
            <a:xfrm>
              <a:off x="15344775" y="4481513"/>
              <a:ext cx="457200" cy="793750"/>
            </a:xfrm>
            <a:custGeom>
              <a:avLst/>
              <a:gdLst>
                <a:gd name="T0" fmla="*/ 101 w 122"/>
                <a:gd name="T1" fmla="*/ 0 h 212"/>
                <a:gd name="T2" fmla="*/ 102 w 122"/>
                <a:gd name="T3" fmla="*/ 8 h 212"/>
                <a:gd name="T4" fmla="*/ 102 w 122"/>
                <a:gd name="T5" fmla="*/ 106 h 212"/>
                <a:gd name="T6" fmla="*/ 79 w 122"/>
                <a:gd name="T7" fmla="*/ 159 h 212"/>
                <a:gd name="T8" fmla="*/ 26 w 122"/>
                <a:gd name="T9" fmla="*/ 182 h 212"/>
                <a:gd name="T10" fmla="*/ 24 w 122"/>
                <a:gd name="T11" fmla="*/ 182 h 212"/>
                <a:gd name="T12" fmla="*/ 0 w 122"/>
                <a:gd name="T13" fmla="*/ 174 h 212"/>
                <a:gd name="T14" fmla="*/ 44 w 122"/>
                <a:gd name="T15" fmla="*/ 212 h 212"/>
                <a:gd name="T16" fmla="*/ 77 w 122"/>
                <a:gd name="T17" fmla="*/ 212 h 212"/>
                <a:gd name="T18" fmla="*/ 122 w 122"/>
                <a:gd name="T19" fmla="*/ 167 h 212"/>
                <a:gd name="T20" fmla="*/ 122 w 122"/>
                <a:gd name="T21" fmla="*/ 38 h 212"/>
                <a:gd name="T22" fmla="*/ 101 w 122"/>
                <a:gd name="T23"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 h="212">
                  <a:moveTo>
                    <a:pt x="101" y="0"/>
                  </a:moveTo>
                  <a:cubicBezTo>
                    <a:pt x="101" y="3"/>
                    <a:pt x="102" y="5"/>
                    <a:pt x="102" y="8"/>
                  </a:cubicBezTo>
                  <a:cubicBezTo>
                    <a:pt x="102" y="106"/>
                    <a:pt x="102" y="106"/>
                    <a:pt x="102" y="106"/>
                  </a:cubicBezTo>
                  <a:cubicBezTo>
                    <a:pt x="102" y="125"/>
                    <a:pt x="94" y="144"/>
                    <a:pt x="79" y="159"/>
                  </a:cubicBezTo>
                  <a:cubicBezTo>
                    <a:pt x="64" y="174"/>
                    <a:pt x="45" y="182"/>
                    <a:pt x="26" y="182"/>
                  </a:cubicBezTo>
                  <a:cubicBezTo>
                    <a:pt x="24" y="182"/>
                    <a:pt x="24" y="182"/>
                    <a:pt x="24" y="182"/>
                  </a:cubicBezTo>
                  <a:cubicBezTo>
                    <a:pt x="15" y="182"/>
                    <a:pt x="7" y="179"/>
                    <a:pt x="0" y="174"/>
                  </a:cubicBezTo>
                  <a:cubicBezTo>
                    <a:pt x="3" y="195"/>
                    <a:pt x="22" y="212"/>
                    <a:pt x="44" y="212"/>
                  </a:cubicBezTo>
                  <a:cubicBezTo>
                    <a:pt x="77" y="212"/>
                    <a:pt x="77" y="212"/>
                    <a:pt x="77" y="212"/>
                  </a:cubicBezTo>
                  <a:cubicBezTo>
                    <a:pt x="101" y="212"/>
                    <a:pt x="122" y="191"/>
                    <a:pt x="122" y="167"/>
                  </a:cubicBezTo>
                  <a:cubicBezTo>
                    <a:pt x="122" y="38"/>
                    <a:pt x="122" y="38"/>
                    <a:pt x="122" y="38"/>
                  </a:cubicBezTo>
                  <a:cubicBezTo>
                    <a:pt x="122" y="22"/>
                    <a:pt x="113" y="8"/>
                    <a:pt x="101" y="0"/>
                  </a:cubicBezTo>
                  <a:close/>
                </a:path>
              </a:pathLst>
            </a:custGeom>
            <a:solidFill>
              <a:srgbClr val="E6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Oval 182">
              <a:extLst>
                <a:ext uri="{FF2B5EF4-FFF2-40B4-BE49-F238E27FC236}">
                  <a16:creationId xmlns:a16="http://schemas.microsoft.com/office/drawing/2014/main" id="{878AE553-7CC3-4E16-AE24-1C7162B474B2}"/>
                </a:ext>
              </a:extLst>
            </p:cNvPr>
            <p:cNvSpPr>
              <a:spLocks noChangeArrowheads="1"/>
            </p:cNvSpPr>
            <p:nvPr/>
          </p:nvSpPr>
          <p:spPr bwMode="gray">
            <a:xfrm>
              <a:off x="15532100" y="4592638"/>
              <a:ext cx="74613" cy="76200"/>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92" name="Bogen 91">
            <a:extLst>
              <a:ext uri="{FF2B5EF4-FFF2-40B4-BE49-F238E27FC236}">
                <a16:creationId xmlns:a16="http://schemas.microsoft.com/office/drawing/2014/main" id="{6AE1C896-5C8F-447D-A431-4F2598839B82}"/>
              </a:ext>
            </a:extLst>
          </p:cNvPr>
          <p:cNvSpPr/>
          <p:nvPr/>
        </p:nvSpPr>
        <p:spPr bwMode="gray">
          <a:xfrm>
            <a:off x="6164803" y="918693"/>
            <a:ext cx="4320479" cy="4320479"/>
          </a:xfrm>
          <a:prstGeom prst="arc">
            <a:avLst>
              <a:gd name="adj1" fmla="val 10391916"/>
              <a:gd name="adj2" fmla="val 19911664"/>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Bogen 94">
            <a:extLst>
              <a:ext uri="{FF2B5EF4-FFF2-40B4-BE49-F238E27FC236}">
                <a16:creationId xmlns:a16="http://schemas.microsoft.com/office/drawing/2014/main" id="{A9E8C620-7F20-4DC1-868E-163922DED317}"/>
              </a:ext>
            </a:extLst>
          </p:cNvPr>
          <p:cNvSpPr/>
          <p:nvPr/>
        </p:nvSpPr>
        <p:spPr bwMode="gray">
          <a:xfrm>
            <a:off x="6166333" y="918692"/>
            <a:ext cx="4320479" cy="4320479"/>
          </a:xfrm>
          <a:prstGeom prst="arc">
            <a:avLst>
              <a:gd name="adj1" fmla="val 2006487"/>
              <a:gd name="adj2" fmla="val 7543714"/>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Ellipse 95">
            <a:extLst>
              <a:ext uri="{FF2B5EF4-FFF2-40B4-BE49-F238E27FC236}">
                <a16:creationId xmlns:a16="http://schemas.microsoft.com/office/drawing/2014/main" id="{101D958D-3C06-44B9-9048-5AC2D2FAD85A}"/>
              </a:ext>
            </a:extLst>
          </p:cNvPr>
          <p:cNvSpPr/>
          <p:nvPr/>
        </p:nvSpPr>
        <p:spPr bwMode="gray">
          <a:xfrm>
            <a:off x="9058107" y="4774984"/>
            <a:ext cx="418781" cy="418781"/>
          </a:xfrm>
          <a:prstGeom prst="ellipse">
            <a:avLst/>
          </a:prstGeom>
          <a:solidFill>
            <a:schemeClr val="tx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accent1"/>
                </a:solidFill>
                <a:latin typeface="+mj-lt"/>
              </a:rPr>
              <a:t>!</a:t>
            </a:r>
          </a:p>
        </p:txBody>
      </p:sp>
      <p:sp>
        <p:nvSpPr>
          <p:cNvPr id="97" name="Textfeld 96">
            <a:extLst>
              <a:ext uri="{FF2B5EF4-FFF2-40B4-BE49-F238E27FC236}">
                <a16:creationId xmlns:a16="http://schemas.microsoft.com/office/drawing/2014/main" id="{890C7AB5-5B1A-4C82-862B-F48DE8073879}"/>
              </a:ext>
            </a:extLst>
          </p:cNvPr>
          <p:cNvSpPr txBox="1"/>
          <p:nvPr/>
        </p:nvSpPr>
        <p:spPr bwMode="gray">
          <a:xfrm>
            <a:off x="9512370" y="4900314"/>
            <a:ext cx="2056238" cy="1264990"/>
          </a:xfrm>
          <a:prstGeom prst="rect">
            <a:avLst/>
          </a:prstGeom>
          <a:noFill/>
        </p:spPr>
        <p:txBody>
          <a:bodyPr wrap="square" lIns="108000" tIns="72000" rIns="108000" bIns="72000" rtlCol="0">
            <a:noAutofit/>
          </a:bodyPr>
          <a:lstStyle/>
          <a:p>
            <a:pPr>
              <a:buClr>
                <a:schemeClr val="accent1"/>
              </a:buClr>
            </a:pPr>
            <a:r>
              <a:rPr lang="en-US" sz="1000" dirty="0"/>
              <a:t>The markers are not stored in the master, but can be copied and pasted from the template on page 10. </a:t>
            </a:r>
          </a:p>
          <a:p>
            <a:pPr>
              <a:buClr>
                <a:schemeClr val="accent1"/>
              </a:buClr>
            </a:pPr>
            <a:r>
              <a:rPr lang="en-US" sz="1000" dirty="0"/>
              <a:t>The advantage: This directly positions the marker in the correct position. </a:t>
            </a:r>
          </a:p>
        </p:txBody>
      </p:sp>
      <p:grpSp>
        <p:nvGrpSpPr>
          <p:cNvPr id="105" name="Gruppieren 104">
            <a:extLst>
              <a:ext uri="{FF2B5EF4-FFF2-40B4-BE49-F238E27FC236}">
                <a16:creationId xmlns:a16="http://schemas.microsoft.com/office/drawing/2014/main" id="{F0F2137E-CB71-47F7-BDEC-B7A433B81017}"/>
              </a:ext>
            </a:extLst>
          </p:cNvPr>
          <p:cNvGrpSpPr/>
          <p:nvPr/>
        </p:nvGrpSpPr>
        <p:grpSpPr bwMode="gray">
          <a:xfrm>
            <a:off x="4511824" y="3419073"/>
            <a:ext cx="2451571" cy="2214131"/>
            <a:chOff x="5496989" y="3417008"/>
            <a:chExt cx="1511949" cy="1365514"/>
          </a:xfrm>
          <a:solidFill>
            <a:schemeClr val="accent6"/>
          </a:solidFill>
        </p:grpSpPr>
        <p:sp>
          <p:nvSpPr>
            <p:cNvPr id="98" name="Rechteck 97">
              <a:extLst>
                <a:ext uri="{FF2B5EF4-FFF2-40B4-BE49-F238E27FC236}">
                  <a16:creationId xmlns:a16="http://schemas.microsoft.com/office/drawing/2014/main" id="{AB5D214E-4C61-4854-B1E0-A0099B55AC85}"/>
                </a:ext>
              </a:extLst>
            </p:cNvPr>
            <p:cNvSpPr/>
            <p:nvPr/>
          </p:nvSpPr>
          <p:spPr bwMode="gray">
            <a:xfrm>
              <a:off x="6069317" y="3417008"/>
              <a:ext cx="939619" cy="208795"/>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r"/>
              <a:r>
                <a:rPr lang="en-US" sz="1600" cap="all" dirty="0" err="1">
                  <a:solidFill>
                    <a:schemeClr val="bg1"/>
                  </a:solidFill>
                  <a:latin typeface="+mj-lt"/>
                </a:rPr>
                <a:t>InternAL</a:t>
              </a:r>
              <a:r>
                <a:rPr lang="en-US" sz="1600" cap="all" dirty="0">
                  <a:solidFill>
                    <a:schemeClr val="bg1"/>
                  </a:solidFill>
                  <a:latin typeface="+mj-lt"/>
                </a:rPr>
                <a:t> USE</a:t>
              </a:r>
            </a:p>
          </p:txBody>
        </p:sp>
        <p:sp>
          <p:nvSpPr>
            <p:cNvPr id="99" name="Rechteck 98">
              <a:extLst>
                <a:ext uri="{FF2B5EF4-FFF2-40B4-BE49-F238E27FC236}">
                  <a16:creationId xmlns:a16="http://schemas.microsoft.com/office/drawing/2014/main" id="{5F0D5159-D88C-4933-82A9-F7FBC59F3B55}"/>
                </a:ext>
              </a:extLst>
            </p:cNvPr>
            <p:cNvSpPr/>
            <p:nvPr/>
          </p:nvSpPr>
          <p:spPr bwMode="gray">
            <a:xfrm>
              <a:off x="6522301" y="3648350"/>
              <a:ext cx="486636" cy="208795"/>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r"/>
              <a:r>
                <a:rPr lang="en-US" sz="1600" cap="all" dirty="0">
                  <a:solidFill>
                    <a:schemeClr val="bg1"/>
                  </a:solidFill>
                  <a:latin typeface="+mj-lt"/>
                </a:rPr>
                <a:t>DRAFT</a:t>
              </a:r>
            </a:p>
          </p:txBody>
        </p:sp>
        <p:sp>
          <p:nvSpPr>
            <p:cNvPr id="100" name="Rechteck 99">
              <a:extLst>
                <a:ext uri="{FF2B5EF4-FFF2-40B4-BE49-F238E27FC236}">
                  <a16:creationId xmlns:a16="http://schemas.microsoft.com/office/drawing/2014/main" id="{2FE115C0-410B-4E96-844E-49B3F4723352}"/>
                </a:ext>
              </a:extLst>
            </p:cNvPr>
            <p:cNvSpPr/>
            <p:nvPr/>
          </p:nvSpPr>
          <p:spPr bwMode="gray">
            <a:xfrm>
              <a:off x="6068487" y="3879695"/>
              <a:ext cx="940449" cy="208795"/>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r"/>
              <a:r>
                <a:rPr lang="en-US" sz="1600" cap="all" dirty="0">
                  <a:solidFill>
                    <a:schemeClr val="bg1"/>
                  </a:solidFill>
                  <a:latin typeface="+mj-lt"/>
                </a:rPr>
                <a:t>AS OF 06/2019</a:t>
              </a:r>
            </a:p>
          </p:txBody>
        </p:sp>
        <p:sp>
          <p:nvSpPr>
            <p:cNvPr id="101" name="Rechteck 100">
              <a:extLst>
                <a:ext uri="{FF2B5EF4-FFF2-40B4-BE49-F238E27FC236}">
                  <a16:creationId xmlns:a16="http://schemas.microsoft.com/office/drawing/2014/main" id="{E1E1F837-BB6D-438F-8CEE-3553A2B59113}"/>
                </a:ext>
              </a:extLst>
            </p:cNvPr>
            <p:cNvSpPr/>
            <p:nvPr/>
          </p:nvSpPr>
          <p:spPr bwMode="gray">
            <a:xfrm>
              <a:off x="5496989" y="4111039"/>
              <a:ext cx="1511948" cy="208795"/>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r"/>
              <a:r>
                <a:rPr lang="en-US" sz="1600" cap="all" dirty="0">
                  <a:solidFill>
                    <a:schemeClr val="bg1"/>
                  </a:solidFill>
                  <a:latin typeface="+mj-lt"/>
                </a:rPr>
                <a:t>Strictly confidential</a:t>
              </a:r>
            </a:p>
          </p:txBody>
        </p:sp>
        <p:sp>
          <p:nvSpPr>
            <p:cNvPr id="102" name="Rechteck 101">
              <a:extLst>
                <a:ext uri="{FF2B5EF4-FFF2-40B4-BE49-F238E27FC236}">
                  <a16:creationId xmlns:a16="http://schemas.microsoft.com/office/drawing/2014/main" id="{C8067945-00AC-48C3-A7BE-DA2FFE56DE23}"/>
                </a:ext>
              </a:extLst>
            </p:cNvPr>
            <p:cNvSpPr/>
            <p:nvPr/>
          </p:nvSpPr>
          <p:spPr bwMode="gray">
            <a:xfrm>
              <a:off x="6672611" y="4342383"/>
              <a:ext cx="336327" cy="208795"/>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r"/>
              <a:r>
                <a:rPr lang="en-US" sz="1600" cap="all" dirty="0">
                  <a:solidFill>
                    <a:schemeClr val="bg1"/>
                  </a:solidFill>
                  <a:latin typeface="+mj-lt"/>
                </a:rPr>
                <a:t>Xxx</a:t>
              </a:r>
            </a:p>
          </p:txBody>
        </p:sp>
        <p:sp>
          <p:nvSpPr>
            <p:cNvPr id="103" name="Rechteck 102">
              <a:extLst>
                <a:ext uri="{FF2B5EF4-FFF2-40B4-BE49-F238E27FC236}">
                  <a16:creationId xmlns:a16="http://schemas.microsoft.com/office/drawing/2014/main" id="{6BC35838-AD9D-490B-AE4D-0AA28ECBBBE9}"/>
                </a:ext>
              </a:extLst>
            </p:cNvPr>
            <p:cNvSpPr/>
            <p:nvPr/>
          </p:nvSpPr>
          <p:spPr bwMode="gray">
            <a:xfrm>
              <a:off x="6672611" y="4573727"/>
              <a:ext cx="336327" cy="208795"/>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algn="r"/>
              <a:r>
                <a:rPr lang="en-US" sz="1600" cap="all" dirty="0">
                  <a:solidFill>
                    <a:schemeClr val="bg1"/>
                  </a:solidFill>
                  <a:latin typeface="+mj-lt"/>
                </a:rPr>
                <a:t>Xxx</a:t>
              </a:r>
            </a:p>
          </p:txBody>
        </p:sp>
      </p:grpSp>
      <p:sp>
        <p:nvSpPr>
          <p:cNvPr id="104" name="Textfeld 103">
            <a:extLst>
              <a:ext uri="{FF2B5EF4-FFF2-40B4-BE49-F238E27FC236}">
                <a16:creationId xmlns:a16="http://schemas.microsoft.com/office/drawing/2014/main" id="{3A52A345-9624-40BA-968B-95FD887C2FDA}"/>
              </a:ext>
            </a:extLst>
          </p:cNvPr>
          <p:cNvSpPr txBox="1"/>
          <p:nvPr/>
        </p:nvSpPr>
        <p:spPr bwMode="gray">
          <a:xfrm>
            <a:off x="4944000" y="3069000"/>
            <a:ext cx="1152000" cy="360000"/>
          </a:xfrm>
          <a:prstGeom prst="rect">
            <a:avLst/>
          </a:prstGeom>
          <a:noFill/>
        </p:spPr>
        <p:txBody>
          <a:bodyPr wrap="square" lIns="108000" tIns="72000" rIns="108000" bIns="72000" rtlCol="0" anchor="b">
            <a:noAutofit/>
          </a:bodyPr>
          <a:lstStyle/>
          <a:p>
            <a:pPr algn="r">
              <a:buClr>
                <a:schemeClr val="accent1"/>
              </a:buClr>
            </a:pPr>
            <a:r>
              <a:rPr lang="en-US" sz="1200" dirty="0"/>
              <a:t>Examples:</a:t>
            </a:r>
          </a:p>
        </p:txBody>
      </p:sp>
      <p:pic>
        <p:nvPicPr>
          <p:cNvPr id="93" name="Grafik 92">
            <a:extLst>
              <a:ext uri="{FF2B5EF4-FFF2-40B4-BE49-F238E27FC236}">
                <a16:creationId xmlns:a16="http://schemas.microsoft.com/office/drawing/2014/main" id="{05A963CC-DE56-4E2B-AEFC-A106FFA68037}"/>
              </a:ext>
            </a:extLst>
          </p:cNvPr>
          <p:cNvPicPr>
            <a:picLocks noChangeAspect="1"/>
          </p:cNvPicPr>
          <p:nvPr/>
        </p:nvPicPr>
        <p:blipFill>
          <a:blip r:embed="rId2"/>
          <a:stretch>
            <a:fillRect/>
          </a:stretch>
        </p:blipFill>
        <p:spPr bwMode="gray">
          <a:xfrm>
            <a:off x="9554848" y="2215637"/>
            <a:ext cx="1529600" cy="860400"/>
          </a:xfrm>
          <a:prstGeom prst="rect">
            <a:avLst/>
          </a:prstGeom>
        </p:spPr>
      </p:pic>
      <p:sp>
        <p:nvSpPr>
          <p:cNvPr id="94" name="Rechteck 93">
            <a:extLst>
              <a:ext uri="{FF2B5EF4-FFF2-40B4-BE49-F238E27FC236}">
                <a16:creationId xmlns:a16="http://schemas.microsoft.com/office/drawing/2014/main" id="{D5015A1E-03C7-4FF9-BB13-EC854A7D98A5}"/>
              </a:ext>
            </a:extLst>
          </p:cNvPr>
          <p:cNvSpPr/>
          <p:nvPr/>
        </p:nvSpPr>
        <p:spPr bwMode="gray">
          <a:xfrm>
            <a:off x="10696576" y="2245327"/>
            <a:ext cx="338138" cy="143067"/>
          </a:xfrm>
          <a:prstGeom prst="rect">
            <a:avLst/>
          </a:prstGeom>
          <a:noFill/>
          <a:ln w="1270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7" name="Fußzeilenplatzhalter 106">
            <a:extLst>
              <a:ext uri="{FF2B5EF4-FFF2-40B4-BE49-F238E27FC236}">
                <a16:creationId xmlns:a16="http://schemas.microsoft.com/office/drawing/2014/main" id="{75445F06-3AB6-45D1-AF6B-5D9C67DF180F}"/>
              </a:ext>
            </a:extLst>
          </p:cNvPr>
          <p:cNvSpPr>
            <a:spLocks noGrp="1"/>
          </p:cNvSpPr>
          <p:nvPr>
            <p:ph type="ftr" sz="quarter" idx="16"/>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749BE9DB-0F9E-428A-B8E7-C5AC968C7CC0}"/>
              </a:ext>
            </a:extLst>
          </p:cNvPr>
          <p:cNvSpPr>
            <a:spLocks noGrp="1"/>
          </p:cNvSpPr>
          <p:nvPr>
            <p:ph type="sldNum" sz="quarter" idx="12"/>
          </p:nvPr>
        </p:nvSpPr>
        <p:spPr/>
        <p:txBody>
          <a:bodyPr/>
          <a:lstStyle/>
          <a:p>
            <a:fld id="{CE82B8A1-0CCE-4815-9668-383D7DE7D8B4}" type="slidenum">
              <a:rPr lang="en-US" noProof="0" smtClean="0"/>
              <a:pPr/>
              <a:t>3</a:t>
            </a:fld>
            <a:endParaRPr lang="en-US" noProof="0" dirty="0"/>
          </a:p>
        </p:txBody>
      </p:sp>
    </p:spTree>
    <p:extLst>
      <p:ext uri="{BB962C8B-B14F-4D97-AF65-F5344CB8AC3E}">
        <p14:creationId xmlns:p14="http://schemas.microsoft.com/office/powerpoint/2010/main" val="11261606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A4692F-05D7-45FA-B726-16A553FA7238}"/>
              </a:ext>
            </a:extLst>
          </p:cNvPr>
          <p:cNvSpPr>
            <a:spLocks noGrp="1"/>
          </p:cNvSpPr>
          <p:nvPr>
            <p:ph type="title"/>
          </p:nvPr>
        </p:nvSpPr>
        <p:spPr bwMode="gray"/>
        <p:txBody>
          <a:bodyPr/>
          <a:lstStyle/>
          <a:p>
            <a:r>
              <a:rPr lang="en-US" dirty="0"/>
              <a:t>Enumeration with icons</a:t>
            </a:r>
          </a:p>
        </p:txBody>
      </p:sp>
      <p:cxnSp>
        <p:nvCxnSpPr>
          <p:cNvPr id="16" name="Gerader Verbinder 15">
            <a:extLst>
              <a:ext uri="{FF2B5EF4-FFF2-40B4-BE49-F238E27FC236}">
                <a16:creationId xmlns:a16="http://schemas.microsoft.com/office/drawing/2014/main" id="{FBDB8C29-9316-41E6-BAA3-66EC02A9EAAC}"/>
              </a:ext>
            </a:extLst>
          </p:cNvPr>
          <p:cNvCxnSpPr/>
          <p:nvPr/>
        </p:nvCxnSpPr>
        <p:spPr bwMode="gray">
          <a:xfrm>
            <a:off x="1271464" y="2132927"/>
            <a:ext cx="2736974"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A1276BE5-FC78-47C3-BD09-38484B97E012}"/>
              </a:ext>
            </a:extLst>
          </p:cNvPr>
          <p:cNvCxnSpPr/>
          <p:nvPr/>
        </p:nvCxnSpPr>
        <p:spPr bwMode="gray">
          <a:xfrm>
            <a:off x="5087218" y="2132856"/>
            <a:ext cx="2664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3296EF9A-0D46-487A-BEF2-E9BBA7B8843B}"/>
              </a:ext>
            </a:extLst>
          </p:cNvPr>
          <p:cNvCxnSpPr/>
          <p:nvPr/>
        </p:nvCxnSpPr>
        <p:spPr bwMode="gray">
          <a:xfrm>
            <a:off x="8832304" y="2132785"/>
            <a:ext cx="2736974"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7" name="Freeform 5">
            <a:extLst>
              <a:ext uri="{FF2B5EF4-FFF2-40B4-BE49-F238E27FC236}">
                <a16:creationId xmlns:a16="http://schemas.microsoft.com/office/drawing/2014/main" id="{ED4A366A-D31D-4731-BAA1-E5DCED0B6DDD}"/>
              </a:ext>
            </a:extLst>
          </p:cNvPr>
          <p:cNvSpPr>
            <a:spLocks noChangeAspect="1" noEditPoints="1"/>
          </p:cNvSpPr>
          <p:nvPr/>
        </p:nvSpPr>
        <p:spPr bwMode="gray">
          <a:xfrm>
            <a:off x="622723" y="1845264"/>
            <a:ext cx="576000" cy="386868"/>
          </a:xfrm>
          <a:custGeom>
            <a:avLst/>
            <a:gdLst>
              <a:gd name="T0" fmla="*/ 192 w 192"/>
              <a:gd name="T1" fmla="*/ 128 h 128"/>
              <a:gd name="T2" fmla="*/ 42 w 192"/>
              <a:gd name="T3" fmla="*/ 128 h 128"/>
              <a:gd name="T4" fmla="*/ 10 w 192"/>
              <a:gd name="T5" fmla="*/ 102 h 128"/>
              <a:gd name="T6" fmla="*/ 0 w 192"/>
              <a:gd name="T7" fmla="*/ 48 h 128"/>
              <a:gd name="T8" fmla="*/ 192 w 192"/>
              <a:gd name="T9" fmla="*/ 48 h 128"/>
              <a:gd name="T10" fmla="*/ 192 w 192"/>
              <a:gd name="T11" fmla="*/ 128 h 128"/>
              <a:gd name="T12" fmla="*/ 96 w 192"/>
              <a:gd name="T13" fmla="*/ 16 h 128"/>
              <a:gd name="T14" fmla="*/ 84 w 192"/>
              <a:gd name="T15" fmla="*/ 4 h 128"/>
              <a:gd name="T16" fmla="*/ 73 w 192"/>
              <a:gd name="T17" fmla="*/ 0 h 128"/>
              <a:gd name="T18" fmla="*/ 16 w 192"/>
              <a:gd name="T19" fmla="*/ 0 h 128"/>
              <a:gd name="T20" fmla="*/ 16 w 192"/>
              <a:gd name="T21" fmla="*/ 32 h 128"/>
              <a:gd name="T22" fmla="*/ 192 w 192"/>
              <a:gd name="T23" fmla="*/ 32 h 128"/>
              <a:gd name="T24" fmla="*/ 192 w 192"/>
              <a:gd name="T25" fmla="*/ 16 h 128"/>
              <a:gd name="T26" fmla="*/ 96 w 192"/>
              <a:gd name="T27" fmla="*/ 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 h="128">
                <a:moveTo>
                  <a:pt x="192" y="128"/>
                </a:moveTo>
                <a:cubicBezTo>
                  <a:pt x="42" y="128"/>
                  <a:pt x="42" y="128"/>
                  <a:pt x="42" y="128"/>
                </a:cubicBezTo>
                <a:cubicBezTo>
                  <a:pt x="27" y="128"/>
                  <a:pt x="13" y="117"/>
                  <a:pt x="10" y="102"/>
                </a:cubicBezTo>
                <a:cubicBezTo>
                  <a:pt x="0" y="48"/>
                  <a:pt x="0" y="48"/>
                  <a:pt x="0" y="48"/>
                </a:cubicBezTo>
                <a:cubicBezTo>
                  <a:pt x="192" y="48"/>
                  <a:pt x="192" y="48"/>
                  <a:pt x="192" y="48"/>
                </a:cubicBezTo>
                <a:lnTo>
                  <a:pt x="192" y="128"/>
                </a:lnTo>
                <a:close/>
                <a:moveTo>
                  <a:pt x="96" y="16"/>
                </a:moveTo>
                <a:cubicBezTo>
                  <a:pt x="84" y="4"/>
                  <a:pt x="84" y="4"/>
                  <a:pt x="84" y="4"/>
                </a:cubicBezTo>
                <a:cubicBezTo>
                  <a:pt x="81" y="1"/>
                  <a:pt x="77" y="0"/>
                  <a:pt x="73" y="0"/>
                </a:cubicBezTo>
                <a:cubicBezTo>
                  <a:pt x="16" y="0"/>
                  <a:pt x="16" y="0"/>
                  <a:pt x="16" y="0"/>
                </a:cubicBezTo>
                <a:cubicBezTo>
                  <a:pt x="16" y="32"/>
                  <a:pt x="16" y="32"/>
                  <a:pt x="16" y="32"/>
                </a:cubicBezTo>
                <a:cubicBezTo>
                  <a:pt x="192" y="32"/>
                  <a:pt x="192" y="32"/>
                  <a:pt x="192" y="32"/>
                </a:cubicBezTo>
                <a:cubicBezTo>
                  <a:pt x="192" y="16"/>
                  <a:pt x="192" y="16"/>
                  <a:pt x="192" y="16"/>
                </a:cubicBezTo>
                <a:lnTo>
                  <a:pt x="96" y="16"/>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6">
            <a:extLst>
              <a:ext uri="{FF2B5EF4-FFF2-40B4-BE49-F238E27FC236}">
                <a16:creationId xmlns:a16="http://schemas.microsoft.com/office/drawing/2014/main" id="{42C5CDED-C322-4305-A612-94699FC716E1}"/>
              </a:ext>
            </a:extLst>
          </p:cNvPr>
          <p:cNvSpPr>
            <a:spLocks noChangeAspect="1" noEditPoints="1"/>
          </p:cNvSpPr>
          <p:nvPr/>
        </p:nvSpPr>
        <p:spPr bwMode="gray">
          <a:xfrm>
            <a:off x="4475880" y="1843759"/>
            <a:ext cx="467992" cy="482105"/>
          </a:xfrm>
          <a:custGeom>
            <a:avLst/>
            <a:gdLst>
              <a:gd name="T0" fmla="*/ 160 w 160"/>
              <a:gd name="T1" fmla="*/ 112 h 160"/>
              <a:gd name="T2" fmla="*/ 48 w 160"/>
              <a:gd name="T3" fmla="*/ 112 h 160"/>
              <a:gd name="T4" fmla="*/ 48 w 160"/>
              <a:gd name="T5" fmla="*/ 32 h 160"/>
              <a:gd name="T6" fmla="*/ 80 w 160"/>
              <a:gd name="T7" fmla="*/ 0 h 160"/>
              <a:gd name="T8" fmla="*/ 160 w 160"/>
              <a:gd name="T9" fmla="*/ 0 h 160"/>
              <a:gd name="T10" fmla="*/ 160 w 160"/>
              <a:gd name="T11" fmla="*/ 112 h 160"/>
              <a:gd name="T12" fmla="*/ 120 w 160"/>
              <a:gd name="T13" fmla="*/ 160 h 160"/>
              <a:gd name="T14" fmla="*/ 120 w 160"/>
              <a:gd name="T15" fmla="*/ 144 h 160"/>
              <a:gd name="T16" fmla="*/ 16 w 160"/>
              <a:gd name="T17" fmla="*/ 144 h 160"/>
              <a:gd name="T18" fmla="*/ 16 w 160"/>
              <a:gd name="T19" fmla="*/ 72 h 160"/>
              <a:gd name="T20" fmla="*/ 0 w 160"/>
              <a:gd name="T21" fmla="*/ 72 h 160"/>
              <a:gd name="T22" fmla="*/ 0 w 160"/>
              <a:gd name="T23" fmla="*/ 160 h 160"/>
              <a:gd name="T24" fmla="*/ 120 w 160"/>
              <a:gd name="T25" fmla="*/ 160 h 160"/>
              <a:gd name="T26" fmla="*/ 140 w 160"/>
              <a:gd name="T27" fmla="*/ 136 h 160"/>
              <a:gd name="T28" fmla="*/ 140 w 160"/>
              <a:gd name="T29" fmla="*/ 120 h 160"/>
              <a:gd name="T30" fmla="*/ 40 w 160"/>
              <a:gd name="T31" fmla="*/ 120 h 160"/>
              <a:gd name="T32" fmla="*/ 40 w 160"/>
              <a:gd name="T33" fmla="*/ 48 h 160"/>
              <a:gd name="T34" fmla="*/ 24 w 160"/>
              <a:gd name="T35" fmla="*/ 48 h 160"/>
              <a:gd name="T36" fmla="*/ 24 w 160"/>
              <a:gd name="T37" fmla="*/ 136 h 160"/>
              <a:gd name="T38" fmla="*/ 140 w 160"/>
              <a:gd name="T39"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0" h="160">
                <a:moveTo>
                  <a:pt x="160" y="112"/>
                </a:moveTo>
                <a:cubicBezTo>
                  <a:pt x="48" y="112"/>
                  <a:pt x="48" y="112"/>
                  <a:pt x="48" y="112"/>
                </a:cubicBezTo>
                <a:cubicBezTo>
                  <a:pt x="48" y="32"/>
                  <a:pt x="48" y="32"/>
                  <a:pt x="48" y="32"/>
                </a:cubicBezTo>
                <a:cubicBezTo>
                  <a:pt x="48" y="14"/>
                  <a:pt x="62" y="0"/>
                  <a:pt x="80" y="0"/>
                </a:cubicBezTo>
                <a:cubicBezTo>
                  <a:pt x="160" y="0"/>
                  <a:pt x="160" y="0"/>
                  <a:pt x="160" y="0"/>
                </a:cubicBezTo>
                <a:lnTo>
                  <a:pt x="160" y="112"/>
                </a:lnTo>
                <a:close/>
                <a:moveTo>
                  <a:pt x="120" y="160"/>
                </a:moveTo>
                <a:cubicBezTo>
                  <a:pt x="120" y="144"/>
                  <a:pt x="120" y="144"/>
                  <a:pt x="120" y="144"/>
                </a:cubicBezTo>
                <a:cubicBezTo>
                  <a:pt x="16" y="144"/>
                  <a:pt x="16" y="144"/>
                  <a:pt x="16" y="144"/>
                </a:cubicBezTo>
                <a:cubicBezTo>
                  <a:pt x="16" y="72"/>
                  <a:pt x="16" y="72"/>
                  <a:pt x="16" y="72"/>
                </a:cubicBezTo>
                <a:cubicBezTo>
                  <a:pt x="0" y="72"/>
                  <a:pt x="0" y="72"/>
                  <a:pt x="0" y="72"/>
                </a:cubicBezTo>
                <a:cubicBezTo>
                  <a:pt x="0" y="160"/>
                  <a:pt x="0" y="160"/>
                  <a:pt x="0" y="160"/>
                </a:cubicBezTo>
                <a:lnTo>
                  <a:pt x="120" y="160"/>
                </a:lnTo>
                <a:close/>
                <a:moveTo>
                  <a:pt x="140" y="136"/>
                </a:moveTo>
                <a:cubicBezTo>
                  <a:pt x="140" y="120"/>
                  <a:pt x="140" y="120"/>
                  <a:pt x="140" y="120"/>
                </a:cubicBezTo>
                <a:cubicBezTo>
                  <a:pt x="40" y="120"/>
                  <a:pt x="40" y="120"/>
                  <a:pt x="40" y="120"/>
                </a:cubicBezTo>
                <a:cubicBezTo>
                  <a:pt x="40" y="48"/>
                  <a:pt x="40" y="48"/>
                  <a:pt x="40" y="48"/>
                </a:cubicBezTo>
                <a:cubicBezTo>
                  <a:pt x="24" y="48"/>
                  <a:pt x="24" y="48"/>
                  <a:pt x="24" y="48"/>
                </a:cubicBezTo>
                <a:cubicBezTo>
                  <a:pt x="24" y="136"/>
                  <a:pt x="24" y="136"/>
                  <a:pt x="24" y="136"/>
                </a:cubicBezTo>
                <a:lnTo>
                  <a:pt x="140" y="136"/>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 name="Freeform 7">
            <a:extLst>
              <a:ext uri="{FF2B5EF4-FFF2-40B4-BE49-F238E27FC236}">
                <a16:creationId xmlns:a16="http://schemas.microsoft.com/office/drawing/2014/main" id="{46DC4930-1FBB-475A-85E4-83AB91589314}"/>
              </a:ext>
            </a:extLst>
          </p:cNvPr>
          <p:cNvSpPr>
            <a:spLocks noChangeAspect="1" noEditPoints="1"/>
          </p:cNvSpPr>
          <p:nvPr/>
        </p:nvSpPr>
        <p:spPr bwMode="gray">
          <a:xfrm>
            <a:off x="8183178" y="1777419"/>
            <a:ext cx="577407" cy="585537"/>
          </a:xfrm>
          <a:custGeom>
            <a:avLst/>
            <a:gdLst>
              <a:gd name="T0" fmla="*/ 91 w 202"/>
              <a:gd name="T1" fmla="*/ 176 h 205"/>
              <a:gd name="T2" fmla="*/ 67 w 202"/>
              <a:gd name="T3" fmla="*/ 176 h 205"/>
              <a:gd name="T4" fmla="*/ 60 w 202"/>
              <a:gd name="T5" fmla="*/ 153 h 205"/>
              <a:gd name="T6" fmla="*/ 40 w 202"/>
              <a:gd name="T7" fmla="*/ 142 h 205"/>
              <a:gd name="T8" fmla="*/ 17 w 202"/>
              <a:gd name="T9" fmla="*/ 147 h 205"/>
              <a:gd name="T10" fmla="*/ 0 w 202"/>
              <a:gd name="T11" fmla="*/ 116 h 205"/>
              <a:gd name="T12" fmla="*/ 15 w 202"/>
              <a:gd name="T13" fmla="*/ 99 h 205"/>
              <a:gd name="T14" fmla="*/ 14 w 202"/>
              <a:gd name="T15" fmla="*/ 88 h 205"/>
              <a:gd name="T16" fmla="*/ 15 w 202"/>
              <a:gd name="T17" fmla="*/ 76 h 205"/>
              <a:gd name="T18" fmla="*/ 0 w 202"/>
              <a:gd name="T19" fmla="*/ 59 h 205"/>
              <a:gd name="T20" fmla="*/ 17 w 202"/>
              <a:gd name="T21" fmla="*/ 28 h 205"/>
              <a:gd name="T22" fmla="*/ 40 w 202"/>
              <a:gd name="T23" fmla="*/ 33 h 205"/>
              <a:gd name="T24" fmla="*/ 60 w 202"/>
              <a:gd name="T25" fmla="*/ 22 h 205"/>
              <a:gd name="T26" fmla="*/ 67 w 202"/>
              <a:gd name="T27" fmla="*/ 0 h 205"/>
              <a:gd name="T28" fmla="*/ 102 w 202"/>
              <a:gd name="T29" fmla="*/ 0 h 205"/>
              <a:gd name="T30" fmla="*/ 110 w 202"/>
              <a:gd name="T31" fmla="*/ 22 h 205"/>
              <a:gd name="T32" fmla="*/ 129 w 202"/>
              <a:gd name="T33" fmla="*/ 33 h 205"/>
              <a:gd name="T34" fmla="*/ 152 w 202"/>
              <a:gd name="T35" fmla="*/ 28 h 205"/>
              <a:gd name="T36" fmla="*/ 170 w 202"/>
              <a:gd name="T37" fmla="*/ 59 h 205"/>
              <a:gd name="T38" fmla="*/ 154 w 202"/>
              <a:gd name="T39" fmla="*/ 76 h 205"/>
              <a:gd name="T40" fmla="*/ 155 w 202"/>
              <a:gd name="T41" fmla="*/ 88 h 205"/>
              <a:gd name="T42" fmla="*/ 155 w 202"/>
              <a:gd name="T43" fmla="*/ 88 h 205"/>
              <a:gd name="T44" fmla="*/ 128 w 202"/>
              <a:gd name="T45" fmla="*/ 90 h 205"/>
              <a:gd name="T46" fmla="*/ 129 w 202"/>
              <a:gd name="T47" fmla="*/ 88 h 205"/>
              <a:gd name="T48" fmla="*/ 85 w 202"/>
              <a:gd name="T49" fmla="*/ 44 h 205"/>
              <a:gd name="T50" fmla="*/ 41 w 202"/>
              <a:gd name="T51" fmla="*/ 88 h 205"/>
              <a:gd name="T52" fmla="*/ 85 w 202"/>
              <a:gd name="T53" fmla="*/ 132 h 205"/>
              <a:gd name="T54" fmla="*/ 87 w 202"/>
              <a:gd name="T55" fmla="*/ 131 h 205"/>
              <a:gd name="T56" fmla="*/ 91 w 202"/>
              <a:gd name="T57" fmla="*/ 176 h 205"/>
              <a:gd name="T58" fmla="*/ 181 w 202"/>
              <a:gd name="T59" fmla="*/ 184 h 205"/>
              <a:gd name="T60" fmla="*/ 108 w 202"/>
              <a:gd name="T61" fmla="*/ 184 h 205"/>
              <a:gd name="T62" fmla="*/ 108 w 202"/>
              <a:gd name="T63" fmla="*/ 111 h 205"/>
              <a:gd name="T64" fmla="*/ 181 w 202"/>
              <a:gd name="T65" fmla="*/ 111 h 205"/>
              <a:gd name="T66" fmla="*/ 181 w 202"/>
              <a:gd name="T67" fmla="*/ 184 h 205"/>
              <a:gd name="T68" fmla="*/ 177 w 202"/>
              <a:gd name="T69" fmla="*/ 140 h 205"/>
              <a:gd name="T70" fmla="*/ 153 w 202"/>
              <a:gd name="T71" fmla="*/ 140 h 205"/>
              <a:gd name="T72" fmla="*/ 153 w 202"/>
              <a:gd name="T73" fmla="*/ 116 h 205"/>
              <a:gd name="T74" fmla="*/ 137 w 202"/>
              <a:gd name="T75" fmla="*/ 116 h 205"/>
              <a:gd name="T76" fmla="*/ 137 w 202"/>
              <a:gd name="T77" fmla="*/ 140 h 205"/>
              <a:gd name="T78" fmla="*/ 113 w 202"/>
              <a:gd name="T79" fmla="*/ 140 h 205"/>
              <a:gd name="T80" fmla="*/ 113 w 202"/>
              <a:gd name="T81" fmla="*/ 156 h 205"/>
              <a:gd name="T82" fmla="*/ 137 w 202"/>
              <a:gd name="T83" fmla="*/ 156 h 205"/>
              <a:gd name="T84" fmla="*/ 137 w 202"/>
              <a:gd name="T85" fmla="*/ 180 h 205"/>
              <a:gd name="T86" fmla="*/ 153 w 202"/>
              <a:gd name="T87" fmla="*/ 180 h 205"/>
              <a:gd name="T88" fmla="*/ 153 w 202"/>
              <a:gd name="T89" fmla="*/ 156 h 205"/>
              <a:gd name="T90" fmla="*/ 177 w 202"/>
              <a:gd name="T91" fmla="*/ 156 h 205"/>
              <a:gd name="T92" fmla="*/ 177 w 202"/>
              <a:gd name="T93" fmla="*/ 14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2" h="205">
                <a:moveTo>
                  <a:pt x="91" y="176"/>
                </a:moveTo>
                <a:cubicBezTo>
                  <a:pt x="67" y="176"/>
                  <a:pt x="67" y="176"/>
                  <a:pt x="67" y="176"/>
                </a:cubicBezTo>
                <a:cubicBezTo>
                  <a:pt x="60" y="153"/>
                  <a:pt x="60" y="153"/>
                  <a:pt x="60" y="153"/>
                </a:cubicBezTo>
                <a:cubicBezTo>
                  <a:pt x="52" y="151"/>
                  <a:pt x="46" y="147"/>
                  <a:pt x="40" y="142"/>
                </a:cubicBezTo>
                <a:cubicBezTo>
                  <a:pt x="17" y="147"/>
                  <a:pt x="17" y="147"/>
                  <a:pt x="17" y="147"/>
                </a:cubicBezTo>
                <a:cubicBezTo>
                  <a:pt x="0" y="116"/>
                  <a:pt x="0" y="116"/>
                  <a:pt x="0" y="116"/>
                </a:cubicBezTo>
                <a:cubicBezTo>
                  <a:pt x="15" y="99"/>
                  <a:pt x="15" y="99"/>
                  <a:pt x="15" y="99"/>
                </a:cubicBezTo>
                <a:cubicBezTo>
                  <a:pt x="15" y="95"/>
                  <a:pt x="14" y="91"/>
                  <a:pt x="14" y="88"/>
                </a:cubicBezTo>
                <a:cubicBezTo>
                  <a:pt x="14" y="84"/>
                  <a:pt x="15" y="80"/>
                  <a:pt x="15" y="76"/>
                </a:cubicBezTo>
                <a:cubicBezTo>
                  <a:pt x="0" y="59"/>
                  <a:pt x="0" y="59"/>
                  <a:pt x="0" y="59"/>
                </a:cubicBezTo>
                <a:cubicBezTo>
                  <a:pt x="17" y="28"/>
                  <a:pt x="17" y="28"/>
                  <a:pt x="17" y="28"/>
                </a:cubicBezTo>
                <a:cubicBezTo>
                  <a:pt x="40" y="33"/>
                  <a:pt x="40" y="33"/>
                  <a:pt x="40" y="33"/>
                </a:cubicBezTo>
                <a:cubicBezTo>
                  <a:pt x="46" y="28"/>
                  <a:pt x="52" y="24"/>
                  <a:pt x="60" y="22"/>
                </a:cubicBezTo>
                <a:cubicBezTo>
                  <a:pt x="67" y="0"/>
                  <a:pt x="67" y="0"/>
                  <a:pt x="67" y="0"/>
                </a:cubicBezTo>
                <a:cubicBezTo>
                  <a:pt x="102" y="0"/>
                  <a:pt x="102" y="0"/>
                  <a:pt x="102" y="0"/>
                </a:cubicBezTo>
                <a:cubicBezTo>
                  <a:pt x="110" y="22"/>
                  <a:pt x="110" y="22"/>
                  <a:pt x="110" y="22"/>
                </a:cubicBezTo>
                <a:cubicBezTo>
                  <a:pt x="117" y="24"/>
                  <a:pt x="123" y="28"/>
                  <a:pt x="129" y="33"/>
                </a:cubicBezTo>
                <a:cubicBezTo>
                  <a:pt x="152" y="28"/>
                  <a:pt x="152" y="28"/>
                  <a:pt x="152" y="28"/>
                </a:cubicBezTo>
                <a:cubicBezTo>
                  <a:pt x="170" y="59"/>
                  <a:pt x="170" y="59"/>
                  <a:pt x="170" y="59"/>
                </a:cubicBezTo>
                <a:cubicBezTo>
                  <a:pt x="154" y="76"/>
                  <a:pt x="154" y="76"/>
                  <a:pt x="154" y="76"/>
                </a:cubicBezTo>
                <a:cubicBezTo>
                  <a:pt x="155" y="80"/>
                  <a:pt x="155" y="84"/>
                  <a:pt x="155" y="88"/>
                </a:cubicBezTo>
                <a:cubicBezTo>
                  <a:pt x="155" y="88"/>
                  <a:pt x="155" y="88"/>
                  <a:pt x="155" y="88"/>
                </a:cubicBezTo>
                <a:cubicBezTo>
                  <a:pt x="146" y="87"/>
                  <a:pt x="137" y="87"/>
                  <a:pt x="128" y="90"/>
                </a:cubicBezTo>
                <a:cubicBezTo>
                  <a:pt x="128" y="89"/>
                  <a:pt x="129" y="88"/>
                  <a:pt x="129" y="88"/>
                </a:cubicBezTo>
                <a:cubicBezTo>
                  <a:pt x="129" y="63"/>
                  <a:pt x="109" y="44"/>
                  <a:pt x="85" y="44"/>
                </a:cubicBezTo>
                <a:cubicBezTo>
                  <a:pt x="60" y="44"/>
                  <a:pt x="41" y="63"/>
                  <a:pt x="41" y="88"/>
                </a:cubicBezTo>
                <a:cubicBezTo>
                  <a:pt x="41" y="112"/>
                  <a:pt x="60" y="132"/>
                  <a:pt x="85" y="132"/>
                </a:cubicBezTo>
                <a:cubicBezTo>
                  <a:pt x="85" y="132"/>
                  <a:pt x="86" y="131"/>
                  <a:pt x="87" y="131"/>
                </a:cubicBezTo>
                <a:cubicBezTo>
                  <a:pt x="83" y="146"/>
                  <a:pt x="84" y="162"/>
                  <a:pt x="91" y="176"/>
                </a:cubicBezTo>
                <a:moveTo>
                  <a:pt x="181" y="184"/>
                </a:moveTo>
                <a:cubicBezTo>
                  <a:pt x="161" y="205"/>
                  <a:pt x="128" y="205"/>
                  <a:pt x="108" y="184"/>
                </a:cubicBezTo>
                <a:cubicBezTo>
                  <a:pt x="87" y="164"/>
                  <a:pt x="87" y="131"/>
                  <a:pt x="108" y="111"/>
                </a:cubicBezTo>
                <a:cubicBezTo>
                  <a:pt x="128" y="90"/>
                  <a:pt x="161" y="90"/>
                  <a:pt x="181" y="111"/>
                </a:cubicBezTo>
                <a:cubicBezTo>
                  <a:pt x="202" y="131"/>
                  <a:pt x="202" y="164"/>
                  <a:pt x="181" y="184"/>
                </a:cubicBezTo>
                <a:moveTo>
                  <a:pt x="177" y="140"/>
                </a:moveTo>
                <a:cubicBezTo>
                  <a:pt x="153" y="140"/>
                  <a:pt x="153" y="140"/>
                  <a:pt x="153" y="140"/>
                </a:cubicBezTo>
                <a:cubicBezTo>
                  <a:pt x="153" y="116"/>
                  <a:pt x="153" y="116"/>
                  <a:pt x="153" y="116"/>
                </a:cubicBezTo>
                <a:cubicBezTo>
                  <a:pt x="137" y="116"/>
                  <a:pt x="137" y="116"/>
                  <a:pt x="137" y="116"/>
                </a:cubicBezTo>
                <a:cubicBezTo>
                  <a:pt x="137" y="140"/>
                  <a:pt x="137" y="140"/>
                  <a:pt x="137" y="140"/>
                </a:cubicBezTo>
                <a:cubicBezTo>
                  <a:pt x="113" y="140"/>
                  <a:pt x="113" y="140"/>
                  <a:pt x="113" y="140"/>
                </a:cubicBezTo>
                <a:cubicBezTo>
                  <a:pt x="113" y="156"/>
                  <a:pt x="113" y="156"/>
                  <a:pt x="113" y="156"/>
                </a:cubicBezTo>
                <a:cubicBezTo>
                  <a:pt x="137" y="156"/>
                  <a:pt x="137" y="156"/>
                  <a:pt x="137" y="156"/>
                </a:cubicBezTo>
                <a:cubicBezTo>
                  <a:pt x="137" y="180"/>
                  <a:pt x="137" y="180"/>
                  <a:pt x="137" y="180"/>
                </a:cubicBezTo>
                <a:cubicBezTo>
                  <a:pt x="153" y="180"/>
                  <a:pt x="153" y="180"/>
                  <a:pt x="153" y="180"/>
                </a:cubicBezTo>
                <a:cubicBezTo>
                  <a:pt x="153" y="156"/>
                  <a:pt x="153" y="156"/>
                  <a:pt x="153" y="156"/>
                </a:cubicBezTo>
                <a:cubicBezTo>
                  <a:pt x="177" y="156"/>
                  <a:pt x="177" y="156"/>
                  <a:pt x="177" y="156"/>
                </a:cubicBezTo>
                <a:lnTo>
                  <a:pt x="177" y="14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Textplatzhalter 15">
            <a:extLst>
              <a:ext uri="{FF2B5EF4-FFF2-40B4-BE49-F238E27FC236}">
                <a16:creationId xmlns:a16="http://schemas.microsoft.com/office/drawing/2014/main" id="{2EF9E891-D998-4A13-85D1-015F0214786B}"/>
              </a:ext>
            </a:extLst>
          </p:cNvPr>
          <p:cNvSpPr txBox="1">
            <a:spLocks/>
          </p:cNvSpPr>
          <p:nvPr/>
        </p:nvSpPr>
        <p:spPr bwMode="gray">
          <a:xfrm>
            <a:off x="623392" y="2565399"/>
            <a:ext cx="3384000" cy="3744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Bef>
                <a:spcPts val="600"/>
              </a:spcBef>
            </a:pPr>
            <a:r>
              <a:rPr lang="en-US" dirty="0"/>
              <a:t>Lorem ipsum dolor sit amet, consectetuer adipiscing elit.</a:t>
            </a:r>
          </a:p>
          <a:p>
            <a:pPr lvl="1">
              <a:spcBef>
                <a:spcPts val="600"/>
              </a:spcBef>
            </a:pPr>
            <a:r>
              <a:rPr lang="en-US" dirty="0"/>
              <a:t>Maecenas porttitor congue massa. Fusce posuere, magna sed pulvinar ultricies, purus lectus malesuada libero, sit amet commodo magna eros quis </a:t>
            </a:r>
            <a:r>
              <a:rPr lang="en-US" dirty="0" err="1"/>
              <a:t>urna</a:t>
            </a:r>
            <a:r>
              <a:rPr lang="en-US" dirty="0"/>
              <a:t>.</a:t>
            </a:r>
          </a:p>
          <a:p>
            <a:pPr lvl="2"/>
            <a:r>
              <a:rPr lang="en-US" dirty="0"/>
              <a:t>Nunc viverra imperdiet enim </a:t>
            </a:r>
            <a:br>
              <a:rPr lang="en-US" dirty="0"/>
            </a:br>
            <a:r>
              <a:rPr lang="en-US" dirty="0"/>
              <a:t>Fusce est. Vivamus a tellus</a:t>
            </a:r>
          </a:p>
          <a:p>
            <a:pPr lvl="2"/>
            <a:r>
              <a:rPr lang="en-US" dirty="0"/>
              <a:t>Pellentesque habitant morbi tristique senectus et netus et malesuada fames ac turpis egestas</a:t>
            </a:r>
          </a:p>
          <a:p>
            <a:pPr lvl="2"/>
            <a:r>
              <a:rPr lang="en-US" dirty="0"/>
              <a:t>Proin pharetra nonummy pede</a:t>
            </a:r>
          </a:p>
        </p:txBody>
      </p:sp>
      <p:sp>
        <p:nvSpPr>
          <p:cNvPr id="14" name="Textplatzhalter 15">
            <a:extLst>
              <a:ext uri="{FF2B5EF4-FFF2-40B4-BE49-F238E27FC236}">
                <a16:creationId xmlns:a16="http://schemas.microsoft.com/office/drawing/2014/main" id="{980B2318-0D9B-414D-9696-5C7DE910FECE}"/>
              </a:ext>
            </a:extLst>
          </p:cNvPr>
          <p:cNvSpPr txBox="1">
            <a:spLocks/>
          </p:cNvSpPr>
          <p:nvPr/>
        </p:nvSpPr>
        <p:spPr bwMode="gray">
          <a:xfrm>
            <a:off x="4439816" y="2565399"/>
            <a:ext cx="3312000" cy="3744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Bef>
                <a:spcPts val="600"/>
              </a:spcBef>
            </a:pPr>
            <a:r>
              <a:rPr lang="en-US" dirty="0"/>
              <a:t>Lorem ipsum dolor sit amet, consectetuer adipiscing elit.</a:t>
            </a:r>
          </a:p>
          <a:p>
            <a:pPr lvl="1">
              <a:spcBef>
                <a:spcPts val="600"/>
              </a:spcBef>
            </a:pPr>
            <a:r>
              <a:rPr lang="en-US" dirty="0"/>
              <a:t>Maecenas porttitor congue massa. Fusce posuere, magna sed pulvinar ultricies, purus lectus malesuada libero, sit amet commodo magna eros quis </a:t>
            </a:r>
            <a:r>
              <a:rPr lang="en-US" dirty="0" err="1"/>
              <a:t>urna</a:t>
            </a:r>
            <a:r>
              <a:rPr lang="en-US" dirty="0"/>
              <a:t>.</a:t>
            </a:r>
          </a:p>
          <a:p>
            <a:pPr lvl="2"/>
            <a:r>
              <a:rPr lang="en-US" dirty="0"/>
              <a:t>Nunc viverra imperdiet enim </a:t>
            </a:r>
            <a:br>
              <a:rPr lang="en-US" dirty="0"/>
            </a:br>
            <a:r>
              <a:rPr lang="en-US" dirty="0"/>
              <a:t>Fusce est. Vivamus a tellus</a:t>
            </a:r>
          </a:p>
          <a:p>
            <a:pPr lvl="2"/>
            <a:r>
              <a:rPr lang="en-US" dirty="0"/>
              <a:t>Pellentesque habitant morbi tristique senectus et netus et malesuada fames ac turpis egestas</a:t>
            </a:r>
          </a:p>
          <a:p>
            <a:pPr lvl="2"/>
            <a:r>
              <a:rPr lang="en-US" dirty="0"/>
              <a:t>Proin pharetra nonummy pede</a:t>
            </a:r>
          </a:p>
        </p:txBody>
      </p:sp>
      <p:sp>
        <p:nvSpPr>
          <p:cNvPr id="15" name="Textplatzhalter 15">
            <a:extLst>
              <a:ext uri="{FF2B5EF4-FFF2-40B4-BE49-F238E27FC236}">
                <a16:creationId xmlns:a16="http://schemas.microsoft.com/office/drawing/2014/main" id="{C21C9EE5-220D-4FEA-B2A8-4C0C2BA972C9}"/>
              </a:ext>
            </a:extLst>
          </p:cNvPr>
          <p:cNvSpPr txBox="1">
            <a:spLocks/>
          </p:cNvSpPr>
          <p:nvPr/>
        </p:nvSpPr>
        <p:spPr bwMode="gray">
          <a:xfrm>
            <a:off x="8184232" y="2565399"/>
            <a:ext cx="3384000" cy="3744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dirty="0"/>
              <a:t>Lorem ipsum dolor sit amet, consectetuer adipiscing elit.</a:t>
            </a:r>
          </a:p>
          <a:p>
            <a:pPr lvl="1">
              <a:spcBef>
                <a:spcPts val="600"/>
              </a:spcBef>
            </a:pPr>
            <a:r>
              <a:rPr lang="en-US" dirty="0"/>
              <a:t>Maecenas porttitor congue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commodo magna eros </a:t>
            </a:r>
            <a:r>
              <a:rPr lang="en-US" dirty="0" err="1"/>
              <a:t>quis</a:t>
            </a:r>
            <a:r>
              <a:rPr lang="en-US" dirty="0"/>
              <a:t> </a:t>
            </a:r>
            <a:r>
              <a:rPr lang="en-US" dirty="0" err="1"/>
              <a:t>urna</a:t>
            </a:r>
            <a:r>
              <a:rPr lang="en-US" dirty="0"/>
              <a:t>.</a:t>
            </a:r>
          </a:p>
          <a:p>
            <a:pPr lvl="2"/>
            <a:r>
              <a:rPr lang="en-US" dirty="0"/>
              <a:t>Nunc viverra imperdiet enim </a:t>
            </a:r>
            <a:br>
              <a:rPr lang="en-US" dirty="0"/>
            </a:br>
            <a:r>
              <a:rPr lang="en-US" dirty="0"/>
              <a:t>Fusce est. Vivamus a tellus</a:t>
            </a:r>
          </a:p>
          <a:p>
            <a:pPr lvl="2"/>
            <a:r>
              <a:rPr lang="en-US" dirty="0"/>
              <a:t>Pellentesque habitant morbi tristique senectus et netus et malesuada fames ac turpis egestas</a:t>
            </a:r>
          </a:p>
          <a:p>
            <a:pPr lvl="2"/>
            <a:r>
              <a:rPr lang="en-US" dirty="0"/>
              <a:t>Proin pharetra nonummy pede</a:t>
            </a:r>
          </a:p>
        </p:txBody>
      </p:sp>
      <p:sp>
        <p:nvSpPr>
          <p:cNvPr id="4" name="Fußzeilenplatzhalter 3">
            <a:extLst>
              <a:ext uri="{FF2B5EF4-FFF2-40B4-BE49-F238E27FC236}">
                <a16:creationId xmlns:a16="http://schemas.microsoft.com/office/drawing/2014/main" id="{99D0FC39-EFDF-4587-A8ED-E2B3F88E5692}"/>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8323F697-DD94-451D-A309-394205052BBF}"/>
              </a:ext>
            </a:extLst>
          </p:cNvPr>
          <p:cNvSpPr>
            <a:spLocks noGrp="1"/>
          </p:cNvSpPr>
          <p:nvPr>
            <p:ph type="sldNum" sz="quarter" idx="12"/>
          </p:nvPr>
        </p:nvSpPr>
        <p:spPr/>
        <p:txBody>
          <a:bodyPr/>
          <a:lstStyle/>
          <a:p>
            <a:fld id="{CE82B8A1-0CCE-4815-9668-383D7DE7D8B4}" type="slidenum">
              <a:rPr lang="en-US" noProof="0" smtClean="0"/>
              <a:t>30</a:t>
            </a:fld>
            <a:endParaRPr lang="en-US" noProof="0" dirty="0"/>
          </a:p>
        </p:txBody>
      </p:sp>
    </p:spTree>
    <p:extLst>
      <p:ext uri="{BB962C8B-B14F-4D97-AF65-F5344CB8AC3E}">
        <p14:creationId xmlns:p14="http://schemas.microsoft.com/office/powerpoint/2010/main" val="7200702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A00FFC7-1F36-4E01-B3DA-C67D371D1CC8}"/>
              </a:ext>
            </a:extLst>
          </p:cNvPr>
          <p:cNvSpPr>
            <a:spLocks noGrp="1"/>
          </p:cNvSpPr>
          <p:nvPr>
            <p:ph type="title"/>
          </p:nvPr>
        </p:nvSpPr>
        <p:spPr bwMode="gray"/>
        <p:txBody>
          <a:bodyPr/>
          <a:lstStyle/>
          <a:p>
            <a:r>
              <a:rPr lang="en-US" dirty="0"/>
              <a:t>Vertical process in four phases</a:t>
            </a:r>
          </a:p>
        </p:txBody>
      </p:sp>
      <p:sp>
        <p:nvSpPr>
          <p:cNvPr id="9" name="Textplatzhalter 15">
            <a:extLst>
              <a:ext uri="{FF2B5EF4-FFF2-40B4-BE49-F238E27FC236}">
                <a16:creationId xmlns:a16="http://schemas.microsoft.com/office/drawing/2014/main" id="{EFD0F0A2-8B55-4C41-BBE4-9C195928B27D}"/>
              </a:ext>
            </a:extLst>
          </p:cNvPr>
          <p:cNvSpPr txBox="1">
            <a:spLocks/>
          </p:cNvSpPr>
          <p:nvPr/>
        </p:nvSpPr>
        <p:spPr bwMode="gray">
          <a:xfrm>
            <a:off x="623392" y="2565320"/>
            <a:ext cx="2448272" cy="3744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Aft>
                <a:spcPts val="600"/>
              </a:spcAft>
            </a:pPr>
            <a:r>
              <a:rPr lang="en-US" dirty="0"/>
              <a:t>Lorem ipsum dolor sit amet, consectetuer </a:t>
            </a:r>
          </a:p>
          <a:p>
            <a:pPr lvl="1"/>
            <a:r>
              <a:rPr lang="en-US" dirty="0"/>
              <a:t>Maecenas porttitor congue massa. Fusce posuere, magna sed pulvinar ultricies, purus</a:t>
            </a:r>
          </a:p>
          <a:p>
            <a:pPr lvl="2"/>
            <a:r>
              <a:rPr lang="en-US" dirty="0"/>
              <a:t>Nunc viverra imperdiet enim </a:t>
            </a:r>
            <a:br>
              <a:rPr lang="en-US" dirty="0"/>
            </a:br>
            <a:r>
              <a:rPr lang="en-US" dirty="0"/>
              <a:t>Fusce est. Vivamus a tellus</a:t>
            </a:r>
          </a:p>
          <a:p>
            <a:pPr lvl="2"/>
            <a:r>
              <a:rPr lang="en-US" dirty="0"/>
              <a:t>Pellentesque habitant morbi tristique senectus et netus et malesuada fames ac turpis egestas</a:t>
            </a:r>
          </a:p>
          <a:p>
            <a:pPr lvl="2"/>
            <a:r>
              <a:rPr lang="en-US" dirty="0"/>
              <a:t>Proin pharetra nonummy pede</a:t>
            </a:r>
          </a:p>
        </p:txBody>
      </p:sp>
      <p:sp>
        <p:nvSpPr>
          <p:cNvPr id="10" name="Textplatzhalter 3">
            <a:extLst>
              <a:ext uri="{FF2B5EF4-FFF2-40B4-BE49-F238E27FC236}">
                <a16:creationId xmlns:a16="http://schemas.microsoft.com/office/drawing/2014/main" id="{39E38A8A-5B6E-486D-8A1D-660673E8B817}"/>
              </a:ext>
            </a:extLst>
          </p:cNvPr>
          <p:cNvSpPr txBox="1">
            <a:spLocks/>
          </p:cNvSpPr>
          <p:nvPr/>
        </p:nvSpPr>
        <p:spPr bwMode="gray">
          <a:xfrm>
            <a:off x="624308" y="1772816"/>
            <a:ext cx="2518942" cy="360111"/>
          </a:xfrm>
          <a:prstGeom prst="rect">
            <a:avLst/>
          </a:prstGeom>
        </p:spPr>
        <p:txBody>
          <a:bodyPr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01</a:t>
            </a:r>
          </a:p>
        </p:txBody>
      </p:sp>
      <p:cxnSp>
        <p:nvCxnSpPr>
          <p:cNvPr id="11" name="Gerader Verbinder 10">
            <a:extLst>
              <a:ext uri="{FF2B5EF4-FFF2-40B4-BE49-F238E27FC236}">
                <a16:creationId xmlns:a16="http://schemas.microsoft.com/office/drawing/2014/main" id="{FF086C16-FB10-4F8D-A60A-FED9BB3DCC84}"/>
              </a:ext>
            </a:extLst>
          </p:cNvPr>
          <p:cNvCxnSpPr>
            <a:cxnSpLocks/>
          </p:cNvCxnSpPr>
          <p:nvPr/>
        </p:nvCxnSpPr>
        <p:spPr bwMode="gray">
          <a:xfrm>
            <a:off x="1199456" y="2132927"/>
            <a:ext cx="1871786"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extplatzhalter 15">
            <a:extLst>
              <a:ext uri="{FF2B5EF4-FFF2-40B4-BE49-F238E27FC236}">
                <a16:creationId xmlns:a16="http://schemas.microsoft.com/office/drawing/2014/main" id="{CCBEF16E-A9F9-480C-A71A-F8E73056D8CC}"/>
              </a:ext>
            </a:extLst>
          </p:cNvPr>
          <p:cNvSpPr txBox="1">
            <a:spLocks/>
          </p:cNvSpPr>
          <p:nvPr/>
        </p:nvSpPr>
        <p:spPr bwMode="gray">
          <a:xfrm>
            <a:off x="3503001" y="2565320"/>
            <a:ext cx="2376554" cy="3744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Aft>
                <a:spcPts val="600"/>
              </a:spcAft>
            </a:pPr>
            <a:r>
              <a:rPr lang="en-US" dirty="0"/>
              <a:t>Lorem ipsum dolor sit amet, consectetuer </a:t>
            </a:r>
          </a:p>
          <a:p>
            <a:pPr lvl="1"/>
            <a:r>
              <a:rPr lang="en-US" dirty="0"/>
              <a:t>Maecenas porttitor congue massa. Fusce posuere, magna sed pulvinar ultricies, purus</a:t>
            </a:r>
          </a:p>
          <a:p>
            <a:pPr lvl="2"/>
            <a:r>
              <a:rPr lang="en-US" dirty="0"/>
              <a:t>Nunc viverra imperdiet enim </a:t>
            </a:r>
            <a:br>
              <a:rPr lang="en-US" dirty="0"/>
            </a:br>
            <a:r>
              <a:rPr lang="en-US" dirty="0"/>
              <a:t>Fusce est. Vivamus a tellus</a:t>
            </a:r>
          </a:p>
          <a:p>
            <a:pPr lvl="2"/>
            <a:r>
              <a:rPr lang="en-US" dirty="0"/>
              <a:t>Pellentesque habitant morbi tristique senectus et netus et malesuada fames ac turpis egestas</a:t>
            </a:r>
          </a:p>
          <a:p>
            <a:pPr lvl="2"/>
            <a:r>
              <a:rPr lang="en-US" dirty="0"/>
              <a:t>Proin pharetra nonummy pede</a:t>
            </a:r>
          </a:p>
        </p:txBody>
      </p:sp>
      <p:sp>
        <p:nvSpPr>
          <p:cNvPr id="14" name="Textplatzhalter 3">
            <a:extLst>
              <a:ext uri="{FF2B5EF4-FFF2-40B4-BE49-F238E27FC236}">
                <a16:creationId xmlns:a16="http://schemas.microsoft.com/office/drawing/2014/main" id="{BC5A6E2F-A8EA-4385-8E64-9F6E1996BC65}"/>
              </a:ext>
            </a:extLst>
          </p:cNvPr>
          <p:cNvSpPr txBox="1">
            <a:spLocks/>
          </p:cNvSpPr>
          <p:nvPr/>
        </p:nvSpPr>
        <p:spPr bwMode="gray">
          <a:xfrm>
            <a:off x="3433042" y="1772816"/>
            <a:ext cx="2518942" cy="360111"/>
          </a:xfrm>
          <a:prstGeom prst="rect">
            <a:avLst/>
          </a:prstGeom>
        </p:spPr>
        <p:txBody>
          <a:bodyPr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02</a:t>
            </a:r>
          </a:p>
        </p:txBody>
      </p:sp>
      <p:cxnSp>
        <p:nvCxnSpPr>
          <p:cNvPr id="15" name="Gerader Verbinder 14">
            <a:extLst>
              <a:ext uri="{FF2B5EF4-FFF2-40B4-BE49-F238E27FC236}">
                <a16:creationId xmlns:a16="http://schemas.microsoft.com/office/drawing/2014/main" id="{C21CFE5C-8723-4B39-85E1-5D208ED05A70}"/>
              </a:ext>
            </a:extLst>
          </p:cNvPr>
          <p:cNvCxnSpPr>
            <a:cxnSpLocks/>
          </p:cNvCxnSpPr>
          <p:nvPr/>
        </p:nvCxnSpPr>
        <p:spPr bwMode="gray">
          <a:xfrm>
            <a:off x="4080198" y="2132927"/>
            <a:ext cx="1800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platzhalter 15">
            <a:extLst>
              <a:ext uri="{FF2B5EF4-FFF2-40B4-BE49-F238E27FC236}">
                <a16:creationId xmlns:a16="http://schemas.microsoft.com/office/drawing/2014/main" id="{98EACD93-FBF3-42E3-A9EC-2386580EDD77}"/>
              </a:ext>
            </a:extLst>
          </p:cNvPr>
          <p:cNvSpPr txBox="1">
            <a:spLocks/>
          </p:cNvSpPr>
          <p:nvPr/>
        </p:nvSpPr>
        <p:spPr bwMode="gray">
          <a:xfrm>
            <a:off x="6310892" y="2565320"/>
            <a:ext cx="2376554" cy="3744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Aft>
                <a:spcPts val="600"/>
              </a:spcAft>
            </a:pPr>
            <a:r>
              <a:rPr lang="en-US" dirty="0"/>
              <a:t>Lorem ipsum dolor sit amet, consectetuer </a:t>
            </a:r>
          </a:p>
          <a:p>
            <a:pPr lvl="1"/>
            <a:r>
              <a:rPr lang="en-US" dirty="0"/>
              <a:t>Maecenas porttitor congue massa. Fusce posuere, magna sed pulvinar ultricies, purus</a:t>
            </a:r>
          </a:p>
          <a:p>
            <a:pPr lvl="2"/>
            <a:r>
              <a:rPr lang="en-US" dirty="0"/>
              <a:t>Nunc viverra imperdiet enim </a:t>
            </a:r>
            <a:br>
              <a:rPr lang="en-US" dirty="0"/>
            </a:br>
            <a:r>
              <a:rPr lang="en-US" dirty="0"/>
              <a:t>Fusce est. Vivamus a tellus</a:t>
            </a:r>
          </a:p>
          <a:p>
            <a:pPr lvl="2"/>
            <a:r>
              <a:rPr lang="en-US" dirty="0"/>
              <a:t>Pellentesque habitant morbi tristique senectus et netus et malesuada fames ac turpis egestas</a:t>
            </a:r>
          </a:p>
          <a:p>
            <a:pPr lvl="2"/>
            <a:r>
              <a:rPr lang="en-US" dirty="0"/>
              <a:t>Proin pharetra nonummy pede</a:t>
            </a:r>
          </a:p>
        </p:txBody>
      </p:sp>
      <p:sp>
        <p:nvSpPr>
          <p:cNvPr id="17" name="Textplatzhalter 3">
            <a:extLst>
              <a:ext uri="{FF2B5EF4-FFF2-40B4-BE49-F238E27FC236}">
                <a16:creationId xmlns:a16="http://schemas.microsoft.com/office/drawing/2014/main" id="{A73D0348-88A7-4014-8E61-D725E8351241}"/>
              </a:ext>
            </a:extLst>
          </p:cNvPr>
          <p:cNvSpPr txBox="1">
            <a:spLocks/>
          </p:cNvSpPr>
          <p:nvPr/>
        </p:nvSpPr>
        <p:spPr bwMode="gray">
          <a:xfrm>
            <a:off x="6240932" y="1772816"/>
            <a:ext cx="2518942" cy="360111"/>
          </a:xfrm>
          <a:prstGeom prst="rect">
            <a:avLst/>
          </a:prstGeom>
        </p:spPr>
        <p:txBody>
          <a:bodyPr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03</a:t>
            </a:r>
          </a:p>
        </p:txBody>
      </p:sp>
      <p:cxnSp>
        <p:nvCxnSpPr>
          <p:cNvPr id="18" name="Gerader Verbinder 17">
            <a:extLst>
              <a:ext uri="{FF2B5EF4-FFF2-40B4-BE49-F238E27FC236}">
                <a16:creationId xmlns:a16="http://schemas.microsoft.com/office/drawing/2014/main" id="{79C62B3F-55E9-4ED4-BD25-84C3008430B1}"/>
              </a:ext>
            </a:extLst>
          </p:cNvPr>
          <p:cNvCxnSpPr>
            <a:cxnSpLocks/>
          </p:cNvCxnSpPr>
          <p:nvPr/>
        </p:nvCxnSpPr>
        <p:spPr bwMode="gray">
          <a:xfrm>
            <a:off x="6888088" y="2132927"/>
            <a:ext cx="1800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9" name="Textplatzhalter 15">
            <a:extLst>
              <a:ext uri="{FF2B5EF4-FFF2-40B4-BE49-F238E27FC236}">
                <a16:creationId xmlns:a16="http://schemas.microsoft.com/office/drawing/2014/main" id="{7B99ECBE-4944-4B48-AE3D-25B77FFA2F3B}"/>
              </a:ext>
            </a:extLst>
          </p:cNvPr>
          <p:cNvSpPr txBox="1">
            <a:spLocks/>
          </p:cNvSpPr>
          <p:nvPr/>
        </p:nvSpPr>
        <p:spPr bwMode="gray">
          <a:xfrm>
            <a:off x="9120336" y="2565320"/>
            <a:ext cx="2448272" cy="3744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Aft>
                <a:spcPts val="600"/>
              </a:spcAft>
            </a:pPr>
            <a:r>
              <a:rPr lang="en-US" dirty="0"/>
              <a:t>Lorem ipsum dolor sit amet, consectetuer </a:t>
            </a:r>
          </a:p>
          <a:p>
            <a:pPr lvl="1"/>
            <a:r>
              <a:rPr lang="en-US" dirty="0"/>
              <a:t>Maecenas porttitor congue massa. Fusce posuere, magna sed pulvinar ultricies, purus</a:t>
            </a:r>
          </a:p>
          <a:p>
            <a:pPr lvl="2"/>
            <a:r>
              <a:rPr lang="en-US" dirty="0"/>
              <a:t>Nunc viverra imperdiet enim </a:t>
            </a:r>
            <a:br>
              <a:rPr lang="en-US" dirty="0"/>
            </a:br>
            <a:r>
              <a:rPr lang="en-US" dirty="0"/>
              <a:t>Fusce est. Vivamus a tellus</a:t>
            </a:r>
          </a:p>
          <a:p>
            <a:pPr lvl="2"/>
            <a:r>
              <a:rPr lang="en-US" dirty="0"/>
              <a:t>Pellentesque habitant morbi tristique senectus et netus et malesuada fames ac turpis egestas</a:t>
            </a:r>
          </a:p>
          <a:p>
            <a:pPr lvl="2"/>
            <a:r>
              <a:rPr lang="en-US" dirty="0"/>
              <a:t>Proin pharetra nonummy pede</a:t>
            </a:r>
          </a:p>
        </p:txBody>
      </p:sp>
      <p:sp>
        <p:nvSpPr>
          <p:cNvPr id="20" name="Textplatzhalter 3">
            <a:extLst>
              <a:ext uri="{FF2B5EF4-FFF2-40B4-BE49-F238E27FC236}">
                <a16:creationId xmlns:a16="http://schemas.microsoft.com/office/drawing/2014/main" id="{B2178DC1-F0A2-4D8E-AFFD-E36100A51CDC}"/>
              </a:ext>
            </a:extLst>
          </p:cNvPr>
          <p:cNvSpPr txBox="1">
            <a:spLocks/>
          </p:cNvSpPr>
          <p:nvPr/>
        </p:nvSpPr>
        <p:spPr bwMode="gray">
          <a:xfrm>
            <a:off x="9049666" y="1772816"/>
            <a:ext cx="2518942" cy="360111"/>
          </a:xfrm>
          <a:prstGeom prst="rect">
            <a:avLst/>
          </a:prstGeom>
        </p:spPr>
        <p:txBody>
          <a:bodyPr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04</a:t>
            </a:r>
          </a:p>
        </p:txBody>
      </p:sp>
      <p:cxnSp>
        <p:nvCxnSpPr>
          <p:cNvPr id="21" name="Gerader Verbinder 20">
            <a:extLst>
              <a:ext uri="{FF2B5EF4-FFF2-40B4-BE49-F238E27FC236}">
                <a16:creationId xmlns:a16="http://schemas.microsoft.com/office/drawing/2014/main" id="{53D994A4-9ECB-421B-B4B3-44297F19C51B}"/>
              </a:ext>
            </a:extLst>
          </p:cNvPr>
          <p:cNvCxnSpPr>
            <a:cxnSpLocks/>
          </p:cNvCxnSpPr>
          <p:nvPr/>
        </p:nvCxnSpPr>
        <p:spPr bwMode="gray">
          <a:xfrm>
            <a:off x="9696822" y="2132927"/>
            <a:ext cx="1871786"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4" name="Fußzeilenplatzhalter 3">
            <a:extLst>
              <a:ext uri="{FF2B5EF4-FFF2-40B4-BE49-F238E27FC236}">
                <a16:creationId xmlns:a16="http://schemas.microsoft.com/office/drawing/2014/main" id="{90BFC7A3-A034-4035-95B0-87AA00C24D6C}"/>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33341279-E317-4BB5-B0F0-3D3D679105A7}"/>
              </a:ext>
            </a:extLst>
          </p:cNvPr>
          <p:cNvSpPr>
            <a:spLocks noGrp="1"/>
          </p:cNvSpPr>
          <p:nvPr>
            <p:ph type="sldNum" sz="quarter" idx="12"/>
          </p:nvPr>
        </p:nvSpPr>
        <p:spPr/>
        <p:txBody>
          <a:bodyPr/>
          <a:lstStyle/>
          <a:p>
            <a:fld id="{CE82B8A1-0CCE-4815-9668-383D7DE7D8B4}" type="slidenum">
              <a:rPr lang="en-US" noProof="0" smtClean="0"/>
              <a:t>31</a:t>
            </a:fld>
            <a:endParaRPr lang="en-US" noProof="0" dirty="0"/>
          </a:p>
        </p:txBody>
      </p:sp>
    </p:spTree>
    <p:extLst>
      <p:ext uri="{BB962C8B-B14F-4D97-AF65-F5344CB8AC3E}">
        <p14:creationId xmlns:p14="http://schemas.microsoft.com/office/powerpoint/2010/main" val="28883320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platzhalter 3">
            <a:extLst>
              <a:ext uri="{FF2B5EF4-FFF2-40B4-BE49-F238E27FC236}">
                <a16:creationId xmlns:a16="http://schemas.microsoft.com/office/drawing/2014/main" id="{7A14AF2F-BFC0-41AD-B75E-DC6C256124B2}"/>
              </a:ext>
            </a:extLst>
          </p:cNvPr>
          <p:cNvSpPr txBox="1">
            <a:spLocks/>
          </p:cNvSpPr>
          <p:nvPr/>
        </p:nvSpPr>
        <p:spPr bwMode="gray">
          <a:xfrm>
            <a:off x="1631814" y="1772968"/>
            <a:ext cx="2375954" cy="1368000"/>
          </a:xfrm>
          <a:prstGeom prst="rect">
            <a:avLst/>
          </a:prstGeom>
        </p:spPr>
        <p:txBody>
          <a:bodyPr wrap="squar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tx1"/>
                </a:solidFill>
              </a:rPr>
              <a:t>Lorem ipsum dolor sit amet, consectetuer adipiscing elit. Maecenas porttitor congue massa</a:t>
            </a:r>
          </a:p>
        </p:txBody>
      </p:sp>
      <p:sp>
        <p:nvSpPr>
          <p:cNvPr id="2" name="Titel 1">
            <a:extLst>
              <a:ext uri="{FF2B5EF4-FFF2-40B4-BE49-F238E27FC236}">
                <a16:creationId xmlns:a16="http://schemas.microsoft.com/office/drawing/2014/main" id="{F2A4692F-05D7-45FA-B726-16A553FA7238}"/>
              </a:ext>
            </a:extLst>
          </p:cNvPr>
          <p:cNvSpPr>
            <a:spLocks noGrp="1"/>
          </p:cNvSpPr>
          <p:nvPr>
            <p:ph type="title"/>
          </p:nvPr>
        </p:nvSpPr>
        <p:spPr bwMode="gray"/>
        <p:txBody>
          <a:bodyPr/>
          <a:lstStyle/>
          <a:p>
            <a:r>
              <a:rPr lang="en-US" dirty="0"/>
              <a:t>Enumeration with numbers</a:t>
            </a:r>
          </a:p>
        </p:txBody>
      </p:sp>
      <p:sp>
        <p:nvSpPr>
          <p:cNvPr id="11" name="Textplatzhalter 3">
            <a:extLst>
              <a:ext uri="{FF2B5EF4-FFF2-40B4-BE49-F238E27FC236}">
                <a16:creationId xmlns:a16="http://schemas.microsoft.com/office/drawing/2014/main" id="{ECC42F24-0903-45F1-B2EF-1B7AEC817C85}"/>
              </a:ext>
            </a:extLst>
          </p:cNvPr>
          <p:cNvSpPr txBox="1">
            <a:spLocks/>
          </p:cNvSpPr>
          <p:nvPr/>
        </p:nvSpPr>
        <p:spPr bwMode="gray">
          <a:xfrm>
            <a:off x="623392" y="2610232"/>
            <a:ext cx="864096"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dirty="0">
                <a:solidFill>
                  <a:schemeClr val="accent5"/>
                </a:solidFill>
              </a:rPr>
              <a:t>01</a:t>
            </a:r>
          </a:p>
        </p:txBody>
      </p:sp>
      <p:sp>
        <p:nvSpPr>
          <p:cNvPr id="12" name="Textplatzhalter 3">
            <a:extLst>
              <a:ext uri="{FF2B5EF4-FFF2-40B4-BE49-F238E27FC236}">
                <a16:creationId xmlns:a16="http://schemas.microsoft.com/office/drawing/2014/main" id="{7FB7D375-1A92-49E6-9B3C-42286B006F80}"/>
              </a:ext>
            </a:extLst>
          </p:cNvPr>
          <p:cNvSpPr txBox="1">
            <a:spLocks/>
          </p:cNvSpPr>
          <p:nvPr/>
        </p:nvSpPr>
        <p:spPr bwMode="gray">
          <a:xfrm>
            <a:off x="623392" y="4196296"/>
            <a:ext cx="86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dirty="0">
                <a:solidFill>
                  <a:schemeClr val="accent5"/>
                </a:solidFill>
              </a:rPr>
              <a:t>02</a:t>
            </a:r>
          </a:p>
        </p:txBody>
      </p:sp>
      <p:sp>
        <p:nvSpPr>
          <p:cNvPr id="13" name="Textplatzhalter 3">
            <a:extLst>
              <a:ext uri="{FF2B5EF4-FFF2-40B4-BE49-F238E27FC236}">
                <a16:creationId xmlns:a16="http://schemas.microsoft.com/office/drawing/2014/main" id="{2A606C77-63A5-4777-AA0F-070205B12C85}"/>
              </a:ext>
            </a:extLst>
          </p:cNvPr>
          <p:cNvSpPr txBox="1">
            <a:spLocks/>
          </p:cNvSpPr>
          <p:nvPr/>
        </p:nvSpPr>
        <p:spPr bwMode="gray">
          <a:xfrm>
            <a:off x="623392" y="5769320"/>
            <a:ext cx="864096"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dirty="0">
                <a:solidFill>
                  <a:schemeClr val="accent5"/>
                </a:solidFill>
              </a:rPr>
              <a:t>03</a:t>
            </a:r>
          </a:p>
        </p:txBody>
      </p:sp>
      <p:sp>
        <p:nvSpPr>
          <p:cNvPr id="22" name="Textplatzhalter 15">
            <a:extLst>
              <a:ext uri="{FF2B5EF4-FFF2-40B4-BE49-F238E27FC236}">
                <a16:creationId xmlns:a16="http://schemas.microsoft.com/office/drawing/2014/main" id="{87E54F22-33D4-4821-BA24-871AD5EB8973}"/>
              </a:ext>
            </a:extLst>
          </p:cNvPr>
          <p:cNvSpPr txBox="1">
            <a:spLocks/>
          </p:cNvSpPr>
          <p:nvPr/>
        </p:nvSpPr>
        <p:spPr bwMode="gray">
          <a:xfrm>
            <a:off x="4439816" y="1785926"/>
            <a:ext cx="7128000" cy="1368000"/>
          </a:xfrm>
          <a:prstGeom prst="rect">
            <a:avLst/>
          </a:prstGeom>
        </p:spPr>
        <p:txBody>
          <a:bodyPr lIns="0" tIns="0" rIns="0" bIns="0"/>
          <a:lstStyle>
            <a:defPPr>
              <a:defRPr lang="de-DE"/>
            </a:defPPr>
            <a:lvl1pPr indent="0">
              <a:spcBef>
                <a:spcPts val="0"/>
              </a:spcBef>
              <a:buFont typeface="Arial" panose="020B0604020202020204" pitchFamily="34" charset="0"/>
              <a:buNone/>
              <a:defRPr sz="1600">
                <a:latin typeface="+mj-lt"/>
              </a:defRPr>
            </a:lvl1pPr>
            <a:lvl2pPr marL="0" lvl="1" indent="0">
              <a:spcBef>
                <a:spcPts val="0"/>
              </a:spcBef>
              <a:buFont typeface="Arial" panose="020B0604020202020204" pitchFamily="34" charset="0"/>
              <a:buNone/>
              <a:defRPr sz="1600"/>
            </a:lvl2pPr>
            <a:lvl3pPr marL="180975" lvl="2" indent="-180975">
              <a:spcBef>
                <a:spcPts val="0"/>
              </a:spcBef>
              <a:buFont typeface="Symbol" panose="05050102010706020507" pitchFamily="18" charset="2"/>
              <a:buChar char="-"/>
              <a:defRPr sz="1600"/>
            </a:lvl3pPr>
            <a:lvl4pPr marL="361950" indent="-180975">
              <a:spcBef>
                <a:spcPts val="0"/>
              </a:spcBef>
              <a:buFont typeface="Symbol" panose="05050102010706020507" pitchFamily="18" charset="2"/>
              <a:buChar char="-"/>
              <a:defRPr sz="1600"/>
            </a:lvl4pPr>
            <a:lvl5pPr marL="542925" indent="-180975">
              <a:spcBef>
                <a:spcPts val="0"/>
              </a:spcBef>
              <a:buFont typeface="Symbol" panose="05050102010706020507" pitchFamily="18" charset="2"/>
              <a:buChar char="-"/>
              <a:defRPr sz="1600"/>
            </a:lvl5pPr>
            <a:lvl6pPr marL="714375" indent="-171450">
              <a:spcBef>
                <a:spcPts val="0"/>
              </a:spcBef>
              <a:buFont typeface="Symbol" panose="05050102010706020507" pitchFamily="18" charset="2"/>
              <a:buChar char="-"/>
              <a:defRPr sz="1600"/>
            </a:lvl6pPr>
            <a:lvl7pPr marL="714375" indent="-171450">
              <a:spcBef>
                <a:spcPts val="0"/>
              </a:spcBef>
              <a:buFont typeface="Symbol" panose="05050102010706020507" pitchFamily="18" charset="2"/>
              <a:buChar char="-"/>
              <a:defRPr sz="1600"/>
            </a:lvl7pPr>
            <a:lvl8pPr marL="714375" indent="-171450">
              <a:spcBef>
                <a:spcPts val="0"/>
              </a:spcBef>
              <a:buFont typeface="Symbol" panose="05050102010706020507" pitchFamily="18" charset="2"/>
              <a:buChar char="-"/>
              <a:defRPr sz="1600"/>
            </a:lvl8pPr>
            <a:lvl9pPr marL="714375" indent="-171450">
              <a:spcBef>
                <a:spcPts val="0"/>
              </a:spcBef>
              <a:buFont typeface="Symbol" panose="05050102010706020507" pitchFamily="18" charset="2"/>
              <a:buChar char="-"/>
              <a:defRPr sz="1600"/>
            </a:lvl9pPr>
          </a:lstStyle>
          <a:p>
            <a:pPr lvl="1"/>
            <a:r>
              <a:rPr lang="en-US" dirty="0"/>
              <a:t>Maecenas porttitor congue massa. Fusce posuere, magna sed pulvinar ultricies, purus lectus malesuada libero, sit amet commodo magna eros quis urna.</a:t>
            </a:r>
          </a:p>
          <a:p>
            <a:pPr lvl="2"/>
            <a:r>
              <a:rPr lang="en-US" dirty="0"/>
              <a:t>Nunc viverra imperdiet enim Fusce est. Vivamus a tellus</a:t>
            </a:r>
          </a:p>
          <a:p>
            <a:pPr lvl="2"/>
            <a:r>
              <a:rPr lang="en-US" dirty="0"/>
              <a:t>Pellentesque habitant morbi tristique senectus et netus et malesuada fames ac turpis</a:t>
            </a:r>
          </a:p>
          <a:p>
            <a:pPr lvl="2"/>
            <a:r>
              <a:rPr lang="en-US" dirty="0"/>
              <a:t>Proin pharetra nonummy pede</a:t>
            </a:r>
          </a:p>
        </p:txBody>
      </p:sp>
      <p:sp>
        <p:nvSpPr>
          <p:cNvPr id="14" name="Textplatzhalter 15">
            <a:extLst>
              <a:ext uri="{FF2B5EF4-FFF2-40B4-BE49-F238E27FC236}">
                <a16:creationId xmlns:a16="http://schemas.microsoft.com/office/drawing/2014/main" id="{34F3A920-ECC1-4B8F-A872-610DA5DB118A}"/>
              </a:ext>
            </a:extLst>
          </p:cNvPr>
          <p:cNvSpPr txBox="1">
            <a:spLocks/>
          </p:cNvSpPr>
          <p:nvPr/>
        </p:nvSpPr>
        <p:spPr bwMode="gray">
          <a:xfrm>
            <a:off x="4439816" y="3357144"/>
            <a:ext cx="7128000" cy="1368000"/>
          </a:xfrm>
          <a:prstGeom prst="rect">
            <a:avLst/>
          </a:prstGeom>
        </p:spPr>
        <p:txBody>
          <a:bodyPr lIns="0" tIns="0" rIns="0" bIns="0"/>
          <a:lstStyle>
            <a:defPPr>
              <a:defRPr lang="de-DE"/>
            </a:defPPr>
            <a:lvl1pPr indent="0">
              <a:spcBef>
                <a:spcPts val="0"/>
              </a:spcBef>
              <a:buFont typeface="Arial" panose="020B0604020202020204" pitchFamily="34" charset="0"/>
              <a:buNone/>
              <a:defRPr sz="1600">
                <a:latin typeface="+mj-lt"/>
              </a:defRPr>
            </a:lvl1pPr>
            <a:lvl2pPr marL="0" lvl="1" indent="0">
              <a:spcBef>
                <a:spcPts val="0"/>
              </a:spcBef>
              <a:buFont typeface="Arial" panose="020B0604020202020204" pitchFamily="34" charset="0"/>
              <a:buNone/>
              <a:defRPr sz="1600"/>
            </a:lvl2pPr>
            <a:lvl3pPr marL="180975" lvl="2" indent="-180975">
              <a:spcBef>
                <a:spcPts val="0"/>
              </a:spcBef>
              <a:buFont typeface="Symbol" panose="05050102010706020507" pitchFamily="18" charset="2"/>
              <a:buChar char="-"/>
              <a:defRPr sz="1600"/>
            </a:lvl3pPr>
            <a:lvl4pPr marL="361950" indent="-180975">
              <a:spcBef>
                <a:spcPts val="0"/>
              </a:spcBef>
              <a:buFont typeface="Symbol" panose="05050102010706020507" pitchFamily="18" charset="2"/>
              <a:buChar char="-"/>
              <a:defRPr sz="1600"/>
            </a:lvl4pPr>
            <a:lvl5pPr marL="542925" indent="-180975">
              <a:spcBef>
                <a:spcPts val="0"/>
              </a:spcBef>
              <a:buFont typeface="Symbol" panose="05050102010706020507" pitchFamily="18" charset="2"/>
              <a:buChar char="-"/>
              <a:defRPr sz="1600"/>
            </a:lvl5pPr>
            <a:lvl6pPr marL="714375" indent="-171450">
              <a:spcBef>
                <a:spcPts val="0"/>
              </a:spcBef>
              <a:buFont typeface="Symbol" panose="05050102010706020507" pitchFamily="18" charset="2"/>
              <a:buChar char="-"/>
              <a:defRPr sz="1600"/>
            </a:lvl6pPr>
            <a:lvl7pPr marL="714375" indent="-171450">
              <a:spcBef>
                <a:spcPts val="0"/>
              </a:spcBef>
              <a:buFont typeface="Symbol" panose="05050102010706020507" pitchFamily="18" charset="2"/>
              <a:buChar char="-"/>
              <a:defRPr sz="1600"/>
            </a:lvl7pPr>
            <a:lvl8pPr marL="714375" indent="-171450">
              <a:spcBef>
                <a:spcPts val="0"/>
              </a:spcBef>
              <a:buFont typeface="Symbol" panose="05050102010706020507" pitchFamily="18" charset="2"/>
              <a:buChar char="-"/>
              <a:defRPr sz="1600"/>
            </a:lvl8pPr>
            <a:lvl9pPr marL="714375" indent="-171450">
              <a:spcBef>
                <a:spcPts val="0"/>
              </a:spcBef>
              <a:buFont typeface="Symbol" panose="05050102010706020507" pitchFamily="18" charset="2"/>
              <a:buChar char="-"/>
              <a:defRPr sz="1600"/>
            </a:lvl9pPr>
          </a:lstStyle>
          <a:p>
            <a:pPr lvl="1"/>
            <a:r>
              <a:rPr lang="en-US" dirty="0"/>
              <a:t>Maecenas porttitor congue massa. Fusce posuere, magna sed pulvinar ultricies, purus lectus malesuada libero, sit amet commodo magna eros quis urna.</a:t>
            </a:r>
          </a:p>
          <a:p>
            <a:pPr lvl="2"/>
            <a:r>
              <a:rPr lang="en-US" dirty="0"/>
              <a:t>Nunc viverra imperdiet enim Fusce est. Vivamus a tellus</a:t>
            </a:r>
          </a:p>
          <a:p>
            <a:pPr lvl="2"/>
            <a:r>
              <a:rPr lang="en-US" dirty="0"/>
              <a:t>Pellentesque habitant morbi tristique senectus et netus et malesuada fames ac turpis</a:t>
            </a:r>
          </a:p>
          <a:p>
            <a:pPr lvl="2"/>
            <a:r>
              <a:rPr lang="en-US" dirty="0"/>
              <a:t>Proin pharetra nonummy pede</a:t>
            </a:r>
          </a:p>
        </p:txBody>
      </p:sp>
      <p:sp>
        <p:nvSpPr>
          <p:cNvPr id="15" name="Textplatzhalter 15">
            <a:extLst>
              <a:ext uri="{FF2B5EF4-FFF2-40B4-BE49-F238E27FC236}">
                <a16:creationId xmlns:a16="http://schemas.microsoft.com/office/drawing/2014/main" id="{F7808DE8-9872-400D-9900-0A8D60DA03AC}"/>
              </a:ext>
            </a:extLst>
          </p:cNvPr>
          <p:cNvSpPr txBox="1">
            <a:spLocks/>
          </p:cNvSpPr>
          <p:nvPr/>
        </p:nvSpPr>
        <p:spPr bwMode="gray">
          <a:xfrm>
            <a:off x="4439816" y="4941320"/>
            <a:ext cx="7128000" cy="1368000"/>
          </a:xfrm>
          <a:prstGeom prst="rect">
            <a:avLst/>
          </a:prstGeom>
        </p:spPr>
        <p:txBody>
          <a:bodyPr lIns="0" tIns="0" rIns="0" bIns="0"/>
          <a:lstStyle>
            <a:defPPr>
              <a:defRPr lang="de-DE"/>
            </a:defPPr>
            <a:lvl1pPr indent="0">
              <a:spcBef>
                <a:spcPts val="0"/>
              </a:spcBef>
              <a:buFont typeface="Arial" panose="020B0604020202020204" pitchFamily="34" charset="0"/>
              <a:buNone/>
              <a:defRPr sz="1600">
                <a:latin typeface="+mj-lt"/>
              </a:defRPr>
            </a:lvl1pPr>
            <a:lvl2pPr marL="0" lvl="1" indent="0">
              <a:spcBef>
                <a:spcPts val="0"/>
              </a:spcBef>
              <a:buFont typeface="Arial" panose="020B0604020202020204" pitchFamily="34" charset="0"/>
              <a:buNone/>
              <a:defRPr sz="1600"/>
            </a:lvl2pPr>
            <a:lvl3pPr marL="180975" lvl="2" indent="-180975">
              <a:spcBef>
                <a:spcPts val="0"/>
              </a:spcBef>
              <a:buFont typeface="Symbol" panose="05050102010706020507" pitchFamily="18" charset="2"/>
              <a:buChar char="-"/>
              <a:defRPr sz="1600"/>
            </a:lvl3pPr>
            <a:lvl4pPr marL="361950" indent="-180975">
              <a:spcBef>
                <a:spcPts val="0"/>
              </a:spcBef>
              <a:buFont typeface="Symbol" panose="05050102010706020507" pitchFamily="18" charset="2"/>
              <a:buChar char="-"/>
              <a:defRPr sz="1600"/>
            </a:lvl4pPr>
            <a:lvl5pPr marL="542925" indent="-180975">
              <a:spcBef>
                <a:spcPts val="0"/>
              </a:spcBef>
              <a:buFont typeface="Symbol" panose="05050102010706020507" pitchFamily="18" charset="2"/>
              <a:buChar char="-"/>
              <a:defRPr sz="1600"/>
            </a:lvl5pPr>
            <a:lvl6pPr marL="714375" indent="-171450">
              <a:spcBef>
                <a:spcPts val="0"/>
              </a:spcBef>
              <a:buFont typeface="Symbol" panose="05050102010706020507" pitchFamily="18" charset="2"/>
              <a:buChar char="-"/>
              <a:defRPr sz="1600"/>
            </a:lvl6pPr>
            <a:lvl7pPr marL="714375" indent="-171450">
              <a:spcBef>
                <a:spcPts val="0"/>
              </a:spcBef>
              <a:buFont typeface="Symbol" panose="05050102010706020507" pitchFamily="18" charset="2"/>
              <a:buChar char="-"/>
              <a:defRPr sz="1600"/>
            </a:lvl7pPr>
            <a:lvl8pPr marL="714375" indent="-171450">
              <a:spcBef>
                <a:spcPts val="0"/>
              </a:spcBef>
              <a:buFont typeface="Symbol" panose="05050102010706020507" pitchFamily="18" charset="2"/>
              <a:buChar char="-"/>
              <a:defRPr sz="1600"/>
            </a:lvl8pPr>
            <a:lvl9pPr marL="714375" indent="-171450">
              <a:spcBef>
                <a:spcPts val="0"/>
              </a:spcBef>
              <a:buFont typeface="Symbol" panose="05050102010706020507" pitchFamily="18" charset="2"/>
              <a:buChar char="-"/>
              <a:defRPr sz="1600"/>
            </a:lvl9pPr>
          </a:lstStyle>
          <a:p>
            <a:pPr lvl="1"/>
            <a:r>
              <a:rPr lang="en-US" dirty="0"/>
              <a:t>Maecenas porttitor congue massa. Fusce posuere, magna sed pulvinar ultricies, purus lectus malesuada libero, sit amet commodo magna eros quis urna.</a:t>
            </a:r>
          </a:p>
          <a:p>
            <a:pPr lvl="2"/>
            <a:r>
              <a:rPr lang="en-US" dirty="0"/>
              <a:t>Nunc viverra imperdiet enim Fusce est. Vivamus a tellus</a:t>
            </a:r>
          </a:p>
          <a:p>
            <a:pPr lvl="2"/>
            <a:r>
              <a:rPr lang="en-US" dirty="0"/>
              <a:t>Pellentesque habitant morbi tristique senectus et netus et malesuada fames ac turpis</a:t>
            </a:r>
          </a:p>
          <a:p>
            <a:pPr lvl="2"/>
            <a:r>
              <a:rPr lang="en-US" dirty="0"/>
              <a:t>Proin pharetra nonummy pede</a:t>
            </a:r>
          </a:p>
        </p:txBody>
      </p:sp>
      <p:sp>
        <p:nvSpPr>
          <p:cNvPr id="16" name="Textplatzhalter 3">
            <a:extLst>
              <a:ext uri="{FF2B5EF4-FFF2-40B4-BE49-F238E27FC236}">
                <a16:creationId xmlns:a16="http://schemas.microsoft.com/office/drawing/2014/main" id="{0717CCC5-7F59-4309-BBE4-C9C92F956188}"/>
              </a:ext>
            </a:extLst>
          </p:cNvPr>
          <p:cNvSpPr txBox="1">
            <a:spLocks/>
          </p:cNvSpPr>
          <p:nvPr/>
        </p:nvSpPr>
        <p:spPr bwMode="gray">
          <a:xfrm>
            <a:off x="1631814" y="3357144"/>
            <a:ext cx="2375954" cy="1368000"/>
          </a:xfrm>
          <a:prstGeom prst="rect">
            <a:avLst/>
          </a:prstGeom>
        </p:spPr>
        <p:txBody>
          <a:bodyPr wrap="squar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tx1"/>
                </a:solidFill>
              </a:rPr>
              <a:t>Lorem ipsum dolor sit amet, consectetuer adipiscing elit. Maecenas porttitor congue massa</a:t>
            </a:r>
          </a:p>
        </p:txBody>
      </p:sp>
      <p:sp>
        <p:nvSpPr>
          <p:cNvPr id="17" name="Textplatzhalter 3">
            <a:extLst>
              <a:ext uri="{FF2B5EF4-FFF2-40B4-BE49-F238E27FC236}">
                <a16:creationId xmlns:a16="http://schemas.microsoft.com/office/drawing/2014/main" id="{EA301196-9565-4A2E-A3AF-32479F6A9DB7}"/>
              </a:ext>
            </a:extLst>
          </p:cNvPr>
          <p:cNvSpPr txBox="1">
            <a:spLocks/>
          </p:cNvSpPr>
          <p:nvPr/>
        </p:nvSpPr>
        <p:spPr bwMode="gray">
          <a:xfrm>
            <a:off x="1631814" y="4941320"/>
            <a:ext cx="2375954" cy="1368000"/>
          </a:xfrm>
          <a:prstGeom prst="rect">
            <a:avLst/>
          </a:prstGeom>
        </p:spPr>
        <p:txBody>
          <a:bodyPr wrap="squar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tx1"/>
                </a:solidFill>
              </a:rPr>
              <a:t>Lorem ipsum dolor sit amet, consectetuer adipiscing elit. Maecenas porttitor congue massa</a:t>
            </a:r>
          </a:p>
        </p:txBody>
      </p:sp>
      <p:cxnSp>
        <p:nvCxnSpPr>
          <p:cNvPr id="5" name="Gerader Verbinder 4">
            <a:extLst>
              <a:ext uri="{FF2B5EF4-FFF2-40B4-BE49-F238E27FC236}">
                <a16:creationId xmlns:a16="http://schemas.microsoft.com/office/drawing/2014/main" id="{E5DB185E-8745-478A-B5B5-DD3F131CBCA5}"/>
              </a:ext>
            </a:extLst>
          </p:cNvPr>
          <p:cNvCxnSpPr>
            <a:cxnSpLocks/>
          </p:cNvCxnSpPr>
          <p:nvPr/>
        </p:nvCxnSpPr>
        <p:spPr bwMode="gray">
          <a:xfrm>
            <a:off x="1630962" y="3140968"/>
            <a:ext cx="2376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D350B30F-B450-4881-8474-C653212F3B87}"/>
              </a:ext>
            </a:extLst>
          </p:cNvPr>
          <p:cNvCxnSpPr>
            <a:cxnSpLocks/>
          </p:cNvCxnSpPr>
          <p:nvPr/>
        </p:nvCxnSpPr>
        <p:spPr bwMode="gray">
          <a:xfrm>
            <a:off x="1631504" y="4731623"/>
            <a:ext cx="2375458"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E00E226E-1D7C-4978-B559-C02C71243172}"/>
              </a:ext>
            </a:extLst>
          </p:cNvPr>
          <p:cNvCxnSpPr>
            <a:cxnSpLocks/>
          </p:cNvCxnSpPr>
          <p:nvPr/>
        </p:nvCxnSpPr>
        <p:spPr bwMode="gray">
          <a:xfrm>
            <a:off x="1631504" y="6309320"/>
            <a:ext cx="2375458"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4" name="Fußzeilenplatzhalter 3">
            <a:extLst>
              <a:ext uri="{FF2B5EF4-FFF2-40B4-BE49-F238E27FC236}">
                <a16:creationId xmlns:a16="http://schemas.microsoft.com/office/drawing/2014/main" id="{B1AF5EB0-A985-4FB4-85AF-B837A2BC4898}"/>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00A238DF-A537-4855-961E-6AEFCDFEF703}"/>
              </a:ext>
            </a:extLst>
          </p:cNvPr>
          <p:cNvSpPr>
            <a:spLocks noGrp="1"/>
          </p:cNvSpPr>
          <p:nvPr>
            <p:ph type="sldNum" sz="quarter" idx="12"/>
          </p:nvPr>
        </p:nvSpPr>
        <p:spPr/>
        <p:txBody>
          <a:bodyPr/>
          <a:lstStyle/>
          <a:p>
            <a:fld id="{CE82B8A1-0CCE-4815-9668-383D7DE7D8B4}" type="slidenum">
              <a:rPr lang="en-US" noProof="0" smtClean="0"/>
              <a:t>32</a:t>
            </a:fld>
            <a:endParaRPr lang="en-US" noProof="0" dirty="0"/>
          </a:p>
        </p:txBody>
      </p:sp>
    </p:spTree>
    <p:extLst>
      <p:ext uri="{BB962C8B-B14F-4D97-AF65-F5344CB8AC3E}">
        <p14:creationId xmlns:p14="http://schemas.microsoft.com/office/powerpoint/2010/main" val="30168154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platzhalter 3">
            <a:extLst>
              <a:ext uri="{FF2B5EF4-FFF2-40B4-BE49-F238E27FC236}">
                <a16:creationId xmlns:a16="http://schemas.microsoft.com/office/drawing/2014/main" id="{7A14AF2F-BFC0-41AD-B75E-DC6C256124B2}"/>
              </a:ext>
            </a:extLst>
          </p:cNvPr>
          <p:cNvSpPr txBox="1">
            <a:spLocks/>
          </p:cNvSpPr>
          <p:nvPr/>
        </p:nvSpPr>
        <p:spPr bwMode="gray">
          <a:xfrm>
            <a:off x="1631814" y="1773342"/>
            <a:ext cx="2375954" cy="935578"/>
          </a:xfrm>
          <a:prstGeom prst="rect">
            <a:avLst/>
          </a:prstGeom>
        </p:spPr>
        <p:txBody>
          <a:bodyPr wrap="squar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tx1"/>
                </a:solidFill>
              </a:rPr>
              <a:t>Lorem ipsum dolor sit amet, consectetuer adipiscing elit. </a:t>
            </a:r>
          </a:p>
        </p:txBody>
      </p:sp>
      <p:sp>
        <p:nvSpPr>
          <p:cNvPr id="2" name="Titel 1">
            <a:extLst>
              <a:ext uri="{FF2B5EF4-FFF2-40B4-BE49-F238E27FC236}">
                <a16:creationId xmlns:a16="http://schemas.microsoft.com/office/drawing/2014/main" id="{F2A4692F-05D7-45FA-B726-16A553FA7238}"/>
              </a:ext>
            </a:extLst>
          </p:cNvPr>
          <p:cNvSpPr>
            <a:spLocks noGrp="1"/>
          </p:cNvSpPr>
          <p:nvPr>
            <p:ph type="title"/>
          </p:nvPr>
        </p:nvSpPr>
        <p:spPr bwMode="gray"/>
        <p:txBody>
          <a:bodyPr/>
          <a:lstStyle/>
          <a:p>
            <a:r>
              <a:rPr lang="en-US" dirty="0"/>
              <a:t>Enumeration with numbers</a:t>
            </a:r>
          </a:p>
        </p:txBody>
      </p:sp>
      <p:sp>
        <p:nvSpPr>
          <p:cNvPr id="11" name="Textplatzhalter 3">
            <a:extLst>
              <a:ext uri="{FF2B5EF4-FFF2-40B4-BE49-F238E27FC236}">
                <a16:creationId xmlns:a16="http://schemas.microsoft.com/office/drawing/2014/main" id="{ECC42F24-0903-45F1-B2EF-1B7AEC817C85}"/>
              </a:ext>
            </a:extLst>
          </p:cNvPr>
          <p:cNvSpPr txBox="1">
            <a:spLocks/>
          </p:cNvSpPr>
          <p:nvPr/>
        </p:nvSpPr>
        <p:spPr bwMode="gray">
          <a:xfrm>
            <a:off x="623488" y="2168920"/>
            <a:ext cx="86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dirty="0">
                <a:solidFill>
                  <a:schemeClr val="accent5"/>
                </a:solidFill>
              </a:rPr>
              <a:t>01</a:t>
            </a:r>
          </a:p>
        </p:txBody>
      </p:sp>
      <p:sp>
        <p:nvSpPr>
          <p:cNvPr id="12" name="Textplatzhalter 3">
            <a:extLst>
              <a:ext uri="{FF2B5EF4-FFF2-40B4-BE49-F238E27FC236}">
                <a16:creationId xmlns:a16="http://schemas.microsoft.com/office/drawing/2014/main" id="{7FB7D375-1A92-49E6-9B3C-42286B006F80}"/>
              </a:ext>
            </a:extLst>
          </p:cNvPr>
          <p:cNvSpPr txBox="1">
            <a:spLocks/>
          </p:cNvSpPr>
          <p:nvPr/>
        </p:nvSpPr>
        <p:spPr bwMode="gray">
          <a:xfrm>
            <a:off x="623488" y="3368984"/>
            <a:ext cx="86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dirty="0">
                <a:solidFill>
                  <a:schemeClr val="accent5"/>
                </a:solidFill>
              </a:rPr>
              <a:t>02</a:t>
            </a:r>
          </a:p>
        </p:txBody>
      </p:sp>
      <p:sp>
        <p:nvSpPr>
          <p:cNvPr id="13" name="Textplatzhalter 3">
            <a:extLst>
              <a:ext uri="{FF2B5EF4-FFF2-40B4-BE49-F238E27FC236}">
                <a16:creationId xmlns:a16="http://schemas.microsoft.com/office/drawing/2014/main" id="{2A606C77-63A5-4777-AA0F-070205B12C85}"/>
              </a:ext>
            </a:extLst>
          </p:cNvPr>
          <p:cNvSpPr txBox="1">
            <a:spLocks/>
          </p:cNvSpPr>
          <p:nvPr/>
        </p:nvSpPr>
        <p:spPr bwMode="gray">
          <a:xfrm>
            <a:off x="623488" y="4569152"/>
            <a:ext cx="86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dirty="0">
                <a:solidFill>
                  <a:schemeClr val="accent5"/>
                </a:solidFill>
              </a:rPr>
              <a:t>03</a:t>
            </a:r>
          </a:p>
        </p:txBody>
      </p:sp>
      <p:sp>
        <p:nvSpPr>
          <p:cNvPr id="22" name="Textplatzhalter 15">
            <a:extLst>
              <a:ext uri="{FF2B5EF4-FFF2-40B4-BE49-F238E27FC236}">
                <a16:creationId xmlns:a16="http://schemas.microsoft.com/office/drawing/2014/main" id="{87E54F22-33D4-4821-BA24-871AD5EB8973}"/>
              </a:ext>
            </a:extLst>
          </p:cNvPr>
          <p:cNvSpPr txBox="1">
            <a:spLocks/>
          </p:cNvSpPr>
          <p:nvPr/>
        </p:nvSpPr>
        <p:spPr bwMode="gray">
          <a:xfrm>
            <a:off x="4439816" y="1785926"/>
            <a:ext cx="7128000" cy="936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Maecenas porttitor congue massa. Fusce posuere, magna sed pulvinar ultricies, purus lectus malesuada libero, sit amet commodo magna eros quis urna.</a:t>
            </a:r>
          </a:p>
          <a:p>
            <a:pPr lvl="2"/>
            <a:r>
              <a:rPr lang="en-US" dirty="0"/>
              <a:t>Nunc viverra imperdiet enim Fusce est. Vivamus a tellus</a:t>
            </a:r>
          </a:p>
        </p:txBody>
      </p:sp>
      <p:sp>
        <p:nvSpPr>
          <p:cNvPr id="14" name="Textplatzhalter 15">
            <a:extLst>
              <a:ext uri="{FF2B5EF4-FFF2-40B4-BE49-F238E27FC236}">
                <a16:creationId xmlns:a16="http://schemas.microsoft.com/office/drawing/2014/main" id="{34F3A920-ECC1-4B8F-A872-610DA5DB118A}"/>
              </a:ext>
            </a:extLst>
          </p:cNvPr>
          <p:cNvSpPr txBox="1">
            <a:spLocks/>
          </p:cNvSpPr>
          <p:nvPr/>
        </p:nvSpPr>
        <p:spPr bwMode="gray">
          <a:xfrm>
            <a:off x="4439816" y="2981689"/>
            <a:ext cx="7128000" cy="936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Maecenas porttitor congue massa. Fusce posuere, magna sed pulvinar ultricies, purus lectus malesuada libero, sit amet commodo magna eros quis urna.</a:t>
            </a:r>
          </a:p>
          <a:p>
            <a:pPr lvl="2"/>
            <a:r>
              <a:rPr lang="en-US" dirty="0"/>
              <a:t>Nunc viverra imperdiet enim Fusce est. Vivamus a tellus</a:t>
            </a:r>
          </a:p>
        </p:txBody>
      </p:sp>
      <p:sp>
        <p:nvSpPr>
          <p:cNvPr id="15" name="Textplatzhalter 15">
            <a:extLst>
              <a:ext uri="{FF2B5EF4-FFF2-40B4-BE49-F238E27FC236}">
                <a16:creationId xmlns:a16="http://schemas.microsoft.com/office/drawing/2014/main" id="{F7808DE8-9872-400D-9900-0A8D60DA03AC}"/>
              </a:ext>
            </a:extLst>
          </p:cNvPr>
          <p:cNvSpPr txBox="1">
            <a:spLocks/>
          </p:cNvSpPr>
          <p:nvPr/>
        </p:nvSpPr>
        <p:spPr bwMode="gray">
          <a:xfrm>
            <a:off x="4439816" y="4177452"/>
            <a:ext cx="7128000" cy="936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Maecenas porttitor congue massa. Fusce posuere, magna sed pulvinar ultricies, purus lectus malesuada libero, sit amet commodo magna eros quis urna.</a:t>
            </a:r>
          </a:p>
          <a:p>
            <a:pPr lvl="2"/>
            <a:r>
              <a:rPr lang="en-US" dirty="0"/>
              <a:t>Nunc viverra imperdiet enim Fusce est. Vivamus a tellus</a:t>
            </a:r>
          </a:p>
        </p:txBody>
      </p:sp>
      <p:cxnSp>
        <p:nvCxnSpPr>
          <p:cNvPr id="5" name="Gerader Verbinder 4">
            <a:extLst>
              <a:ext uri="{FF2B5EF4-FFF2-40B4-BE49-F238E27FC236}">
                <a16:creationId xmlns:a16="http://schemas.microsoft.com/office/drawing/2014/main" id="{E5DB185E-8745-478A-B5B5-DD3F131CBCA5}"/>
              </a:ext>
            </a:extLst>
          </p:cNvPr>
          <p:cNvCxnSpPr>
            <a:cxnSpLocks/>
          </p:cNvCxnSpPr>
          <p:nvPr/>
        </p:nvCxnSpPr>
        <p:spPr bwMode="gray">
          <a:xfrm>
            <a:off x="1631458" y="2708920"/>
            <a:ext cx="2376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platzhalter 3">
            <a:extLst>
              <a:ext uri="{FF2B5EF4-FFF2-40B4-BE49-F238E27FC236}">
                <a16:creationId xmlns:a16="http://schemas.microsoft.com/office/drawing/2014/main" id="{0717CCC5-7F59-4309-BBE4-C9C92F956188}"/>
              </a:ext>
            </a:extLst>
          </p:cNvPr>
          <p:cNvSpPr txBox="1">
            <a:spLocks/>
          </p:cNvSpPr>
          <p:nvPr/>
        </p:nvSpPr>
        <p:spPr bwMode="gray">
          <a:xfrm>
            <a:off x="1631504" y="2972880"/>
            <a:ext cx="2375954" cy="936000"/>
          </a:xfrm>
          <a:prstGeom prst="rect">
            <a:avLst/>
          </a:prstGeom>
        </p:spPr>
        <p:txBody>
          <a:bodyPr wrap="squar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tx1"/>
                </a:solidFill>
              </a:rPr>
              <a:t>Lorem ipsum dolor sit amet, consectetuer adipiscing elit. </a:t>
            </a:r>
          </a:p>
        </p:txBody>
      </p:sp>
      <p:cxnSp>
        <p:nvCxnSpPr>
          <p:cNvPr id="19" name="Gerader Verbinder 18">
            <a:extLst>
              <a:ext uri="{FF2B5EF4-FFF2-40B4-BE49-F238E27FC236}">
                <a16:creationId xmlns:a16="http://schemas.microsoft.com/office/drawing/2014/main" id="{D350B30F-B450-4881-8474-C653212F3B87}"/>
              </a:ext>
            </a:extLst>
          </p:cNvPr>
          <p:cNvCxnSpPr>
            <a:cxnSpLocks/>
          </p:cNvCxnSpPr>
          <p:nvPr/>
        </p:nvCxnSpPr>
        <p:spPr bwMode="gray">
          <a:xfrm>
            <a:off x="1632000" y="3908984"/>
            <a:ext cx="2375458"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7" name="Textplatzhalter 3">
            <a:extLst>
              <a:ext uri="{FF2B5EF4-FFF2-40B4-BE49-F238E27FC236}">
                <a16:creationId xmlns:a16="http://schemas.microsoft.com/office/drawing/2014/main" id="{EA301196-9565-4A2E-A3AF-32479F6A9DB7}"/>
              </a:ext>
            </a:extLst>
          </p:cNvPr>
          <p:cNvSpPr txBox="1">
            <a:spLocks/>
          </p:cNvSpPr>
          <p:nvPr/>
        </p:nvSpPr>
        <p:spPr bwMode="gray">
          <a:xfrm>
            <a:off x="1631814" y="4173048"/>
            <a:ext cx="2375954" cy="936000"/>
          </a:xfrm>
          <a:prstGeom prst="rect">
            <a:avLst/>
          </a:prstGeom>
        </p:spPr>
        <p:txBody>
          <a:bodyPr wrap="squar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tx1"/>
                </a:solidFill>
              </a:rPr>
              <a:t>Lorem ipsum dolor sit amet, consectetuer adipiscing elit. </a:t>
            </a:r>
          </a:p>
        </p:txBody>
      </p:sp>
      <p:cxnSp>
        <p:nvCxnSpPr>
          <p:cNvPr id="25" name="Gerader Verbinder 24">
            <a:extLst>
              <a:ext uri="{FF2B5EF4-FFF2-40B4-BE49-F238E27FC236}">
                <a16:creationId xmlns:a16="http://schemas.microsoft.com/office/drawing/2014/main" id="{E00E226E-1D7C-4978-B559-C02C71243172}"/>
              </a:ext>
            </a:extLst>
          </p:cNvPr>
          <p:cNvCxnSpPr>
            <a:cxnSpLocks/>
          </p:cNvCxnSpPr>
          <p:nvPr/>
        </p:nvCxnSpPr>
        <p:spPr bwMode="gray">
          <a:xfrm>
            <a:off x="1631504" y="5109152"/>
            <a:ext cx="2375458"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8" name="Textplatzhalter 3">
            <a:extLst>
              <a:ext uri="{FF2B5EF4-FFF2-40B4-BE49-F238E27FC236}">
                <a16:creationId xmlns:a16="http://schemas.microsoft.com/office/drawing/2014/main" id="{11961326-26F4-4427-ACD6-BC67D90A0573}"/>
              </a:ext>
            </a:extLst>
          </p:cNvPr>
          <p:cNvSpPr txBox="1">
            <a:spLocks/>
          </p:cNvSpPr>
          <p:nvPr/>
        </p:nvSpPr>
        <p:spPr bwMode="gray">
          <a:xfrm>
            <a:off x="623488" y="5769320"/>
            <a:ext cx="86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dirty="0">
                <a:solidFill>
                  <a:schemeClr val="accent5"/>
                </a:solidFill>
              </a:rPr>
              <a:t>04</a:t>
            </a:r>
          </a:p>
        </p:txBody>
      </p:sp>
      <p:sp>
        <p:nvSpPr>
          <p:cNvPr id="20" name="Textplatzhalter 15">
            <a:extLst>
              <a:ext uri="{FF2B5EF4-FFF2-40B4-BE49-F238E27FC236}">
                <a16:creationId xmlns:a16="http://schemas.microsoft.com/office/drawing/2014/main" id="{9D7B9A08-0B4C-4BB8-9C22-50833EB3013C}"/>
              </a:ext>
            </a:extLst>
          </p:cNvPr>
          <p:cNvSpPr txBox="1">
            <a:spLocks/>
          </p:cNvSpPr>
          <p:nvPr/>
        </p:nvSpPr>
        <p:spPr bwMode="gray">
          <a:xfrm>
            <a:off x="4439816" y="5373216"/>
            <a:ext cx="7128000" cy="936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Maecenas porttitor congue massa. Fusce posuere, magna sed pulvinar ultricies, purus lectus malesuada libero, sit amet commodo magna eros quis urna.</a:t>
            </a:r>
          </a:p>
          <a:p>
            <a:pPr lvl="2"/>
            <a:r>
              <a:rPr lang="en-US" dirty="0"/>
              <a:t>Nunc viverra imperdiet enim Fusce est. Vivamus a tellus</a:t>
            </a:r>
          </a:p>
        </p:txBody>
      </p:sp>
      <p:sp>
        <p:nvSpPr>
          <p:cNvPr id="23" name="Textplatzhalter 3">
            <a:extLst>
              <a:ext uri="{FF2B5EF4-FFF2-40B4-BE49-F238E27FC236}">
                <a16:creationId xmlns:a16="http://schemas.microsoft.com/office/drawing/2014/main" id="{5ACC378B-84E8-4268-9CE8-D262FA9AAE04}"/>
              </a:ext>
            </a:extLst>
          </p:cNvPr>
          <p:cNvSpPr txBox="1">
            <a:spLocks/>
          </p:cNvSpPr>
          <p:nvPr/>
        </p:nvSpPr>
        <p:spPr bwMode="gray">
          <a:xfrm>
            <a:off x="1631814" y="5373216"/>
            <a:ext cx="2375954" cy="936000"/>
          </a:xfrm>
          <a:prstGeom prst="rect">
            <a:avLst/>
          </a:prstGeom>
        </p:spPr>
        <p:txBody>
          <a:bodyPr wrap="squar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tx1"/>
                </a:solidFill>
              </a:rPr>
              <a:t>Lorem ipsum dolor sit amet, consectetuer adipiscing elit. </a:t>
            </a:r>
          </a:p>
        </p:txBody>
      </p:sp>
      <p:cxnSp>
        <p:nvCxnSpPr>
          <p:cNvPr id="24" name="Gerader Verbinder 23">
            <a:extLst>
              <a:ext uri="{FF2B5EF4-FFF2-40B4-BE49-F238E27FC236}">
                <a16:creationId xmlns:a16="http://schemas.microsoft.com/office/drawing/2014/main" id="{3BE1DF54-D49A-410C-8AE8-7C60A9CCABE7}"/>
              </a:ext>
            </a:extLst>
          </p:cNvPr>
          <p:cNvCxnSpPr>
            <a:cxnSpLocks/>
          </p:cNvCxnSpPr>
          <p:nvPr/>
        </p:nvCxnSpPr>
        <p:spPr bwMode="gray">
          <a:xfrm>
            <a:off x="1631504" y="6309320"/>
            <a:ext cx="2375458"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4" name="Fußzeilenplatzhalter 3">
            <a:extLst>
              <a:ext uri="{FF2B5EF4-FFF2-40B4-BE49-F238E27FC236}">
                <a16:creationId xmlns:a16="http://schemas.microsoft.com/office/drawing/2014/main" id="{32EB5549-E027-46FF-8070-F283F1C8007C}"/>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23211A91-F5DC-47E8-A346-34ABEEEBDF49}"/>
              </a:ext>
            </a:extLst>
          </p:cNvPr>
          <p:cNvSpPr>
            <a:spLocks noGrp="1"/>
          </p:cNvSpPr>
          <p:nvPr>
            <p:ph type="sldNum" sz="quarter" idx="12"/>
          </p:nvPr>
        </p:nvSpPr>
        <p:spPr/>
        <p:txBody>
          <a:bodyPr/>
          <a:lstStyle/>
          <a:p>
            <a:fld id="{CE82B8A1-0CCE-4815-9668-383D7DE7D8B4}" type="slidenum">
              <a:rPr lang="en-US" noProof="0" smtClean="0"/>
              <a:t>33</a:t>
            </a:fld>
            <a:endParaRPr lang="en-US" noProof="0" dirty="0"/>
          </a:p>
        </p:txBody>
      </p:sp>
    </p:spTree>
    <p:extLst>
      <p:ext uri="{BB962C8B-B14F-4D97-AF65-F5344CB8AC3E}">
        <p14:creationId xmlns:p14="http://schemas.microsoft.com/office/powerpoint/2010/main" val="30986177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B51432-B6C8-4B17-ACF9-443AA1B777A1}"/>
              </a:ext>
            </a:extLst>
          </p:cNvPr>
          <p:cNvSpPr>
            <a:spLocks noGrp="1"/>
          </p:cNvSpPr>
          <p:nvPr>
            <p:ph type="title"/>
          </p:nvPr>
        </p:nvSpPr>
        <p:spPr bwMode="gray"/>
        <p:txBody>
          <a:bodyPr/>
          <a:lstStyle/>
          <a:p>
            <a:r>
              <a:rPr lang="en-US" dirty="0"/>
              <a:t>Five step process</a:t>
            </a:r>
          </a:p>
        </p:txBody>
      </p:sp>
      <p:sp>
        <p:nvSpPr>
          <p:cNvPr id="13" name="Textplatzhalter 15">
            <a:extLst>
              <a:ext uri="{FF2B5EF4-FFF2-40B4-BE49-F238E27FC236}">
                <a16:creationId xmlns:a16="http://schemas.microsoft.com/office/drawing/2014/main" id="{9C92839F-CC24-4FDC-A987-62F24E4B2CAA}"/>
              </a:ext>
            </a:extLst>
          </p:cNvPr>
          <p:cNvSpPr txBox="1">
            <a:spLocks/>
          </p:cNvSpPr>
          <p:nvPr/>
        </p:nvSpPr>
        <p:spPr bwMode="gray">
          <a:xfrm>
            <a:off x="623392" y="4221722"/>
            <a:ext cx="1944000" cy="2087003"/>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Aft>
                <a:spcPts val="600"/>
              </a:spcAft>
            </a:pPr>
            <a:r>
              <a:rPr lang="en-US" dirty="0"/>
              <a:t>Lorem ipsum</a:t>
            </a:r>
            <a:br>
              <a:rPr lang="en-US" dirty="0"/>
            </a:br>
            <a:r>
              <a:rPr lang="en-US" dirty="0"/>
              <a:t>dolor sit amet, </a:t>
            </a:r>
          </a:p>
          <a:p>
            <a:pPr lvl="2"/>
            <a:r>
              <a:rPr lang="en-US" dirty="0"/>
              <a:t>Nunc viverra imperdiet enim </a:t>
            </a:r>
            <a:br>
              <a:rPr lang="en-US" dirty="0"/>
            </a:br>
            <a:r>
              <a:rPr lang="en-US" dirty="0"/>
              <a:t>Fusce est. Vivamus </a:t>
            </a:r>
          </a:p>
          <a:p>
            <a:pPr lvl="2"/>
            <a:r>
              <a:rPr lang="en-US" dirty="0"/>
              <a:t>Pellentesque habitant morbi</a:t>
            </a:r>
          </a:p>
        </p:txBody>
      </p:sp>
      <p:sp>
        <p:nvSpPr>
          <p:cNvPr id="14" name="Textplatzhalter 3">
            <a:extLst>
              <a:ext uri="{FF2B5EF4-FFF2-40B4-BE49-F238E27FC236}">
                <a16:creationId xmlns:a16="http://schemas.microsoft.com/office/drawing/2014/main" id="{78CCD0D9-5697-4F95-82D0-90790470A68D}"/>
              </a:ext>
            </a:extLst>
          </p:cNvPr>
          <p:cNvSpPr txBox="1">
            <a:spLocks/>
          </p:cNvSpPr>
          <p:nvPr/>
        </p:nvSpPr>
        <p:spPr bwMode="gray">
          <a:xfrm>
            <a:off x="624308" y="3501008"/>
            <a:ext cx="1943084" cy="360111"/>
          </a:xfrm>
          <a:prstGeom prst="rect">
            <a:avLst/>
          </a:prstGeom>
        </p:spPr>
        <p:txBody>
          <a:bodyPr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01</a:t>
            </a:r>
          </a:p>
        </p:txBody>
      </p:sp>
      <p:sp>
        <p:nvSpPr>
          <p:cNvPr id="17" name="Textplatzhalter 15">
            <a:extLst>
              <a:ext uri="{FF2B5EF4-FFF2-40B4-BE49-F238E27FC236}">
                <a16:creationId xmlns:a16="http://schemas.microsoft.com/office/drawing/2014/main" id="{CAF631C8-CA64-4E3E-A7D0-F67785C6C5F5}"/>
              </a:ext>
            </a:extLst>
          </p:cNvPr>
          <p:cNvSpPr txBox="1">
            <a:spLocks/>
          </p:cNvSpPr>
          <p:nvPr/>
        </p:nvSpPr>
        <p:spPr bwMode="gray">
          <a:xfrm>
            <a:off x="2855604" y="3861681"/>
            <a:ext cx="2016000" cy="2447043"/>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Aft>
                <a:spcPts val="600"/>
              </a:spcAft>
            </a:pPr>
            <a:r>
              <a:rPr lang="en-US" dirty="0"/>
              <a:t>Lorem ipsum</a:t>
            </a:r>
            <a:br>
              <a:rPr lang="en-US" dirty="0"/>
            </a:br>
            <a:r>
              <a:rPr lang="en-US" dirty="0"/>
              <a:t>dolor sit amet, </a:t>
            </a:r>
          </a:p>
          <a:p>
            <a:pPr lvl="2"/>
            <a:r>
              <a:rPr lang="en-US" dirty="0"/>
              <a:t>Nunc viverra perdiet enim Fusce est</a:t>
            </a:r>
          </a:p>
          <a:p>
            <a:pPr lvl="2"/>
            <a:r>
              <a:rPr lang="en-US" dirty="0"/>
              <a:t>Pellentesque habitant morbi</a:t>
            </a:r>
          </a:p>
          <a:p>
            <a:pPr lvl="2"/>
            <a:r>
              <a:rPr lang="en-US" dirty="0"/>
              <a:t>Nunc viverra perdiet enim Fusce est</a:t>
            </a:r>
          </a:p>
          <a:p>
            <a:pPr lvl="2"/>
            <a:r>
              <a:rPr lang="en-US" dirty="0"/>
              <a:t>Pellentesque habitant</a:t>
            </a:r>
          </a:p>
        </p:txBody>
      </p:sp>
      <p:sp>
        <p:nvSpPr>
          <p:cNvPr id="18" name="Textplatzhalter 3">
            <a:extLst>
              <a:ext uri="{FF2B5EF4-FFF2-40B4-BE49-F238E27FC236}">
                <a16:creationId xmlns:a16="http://schemas.microsoft.com/office/drawing/2014/main" id="{9B011550-2DD4-4878-B040-E3D75FE77DCD}"/>
              </a:ext>
            </a:extLst>
          </p:cNvPr>
          <p:cNvSpPr txBox="1">
            <a:spLocks/>
          </p:cNvSpPr>
          <p:nvPr/>
        </p:nvSpPr>
        <p:spPr bwMode="gray">
          <a:xfrm>
            <a:off x="2856556" y="3140897"/>
            <a:ext cx="2016000" cy="360111"/>
          </a:xfrm>
          <a:prstGeom prst="rect">
            <a:avLst/>
          </a:prstGeom>
        </p:spPr>
        <p:txBody>
          <a:bodyPr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02</a:t>
            </a:r>
          </a:p>
        </p:txBody>
      </p:sp>
      <p:sp>
        <p:nvSpPr>
          <p:cNvPr id="20" name="Textplatzhalter 15">
            <a:extLst>
              <a:ext uri="{FF2B5EF4-FFF2-40B4-BE49-F238E27FC236}">
                <a16:creationId xmlns:a16="http://schemas.microsoft.com/office/drawing/2014/main" id="{FAD8AC18-D3A5-4F91-8DD5-0F8D54BCD73D}"/>
              </a:ext>
            </a:extLst>
          </p:cNvPr>
          <p:cNvSpPr txBox="1">
            <a:spLocks/>
          </p:cNvSpPr>
          <p:nvPr/>
        </p:nvSpPr>
        <p:spPr bwMode="gray">
          <a:xfrm>
            <a:off x="5159816" y="3429703"/>
            <a:ext cx="1944000" cy="2879021"/>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Aft>
                <a:spcPts val="600"/>
              </a:spcAft>
            </a:pPr>
            <a:r>
              <a:rPr lang="en-US" dirty="0"/>
              <a:t>Lorem ipsum</a:t>
            </a:r>
            <a:br>
              <a:rPr lang="en-US" dirty="0"/>
            </a:br>
            <a:r>
              <a:rPr lang="en-US" dirty="0"/>
              <a:t>dolor sit amet, </a:t>
            </a:r>
          </a:p>
          <a:p>
            <a:pPr lvl="2"/>
            <a:r>
              <a:rPr lang="en-US" dirty="0"/>
              <a:t>Nunc viverra perdiet enim Fusce est</a:t>
            </a:r>
          </a:p>
          <a:p>
            <a:pPr lvl="2"/>
            <a:r>
              <a:rPr lang="en-US" dirty="0"/>
              <a:t>Pellentesque habitant morbi</a:t>
            </a:r>
          </a:p>
          <a:p>
            <a:pPr lvl="2"/>
            <a:r>
              <a:rPr lang="en-US" dirty="0"/>
              <a:t>Nunc viverra perdiet enim Fusce est</a:t>
            </a:r>
          </a:p>
          <a:p>
            <a:pPr lvl="2"/>
            <a:r>
              <a:rPr lang="en-US" dirty="0"/>
              <a:t>Pellentesque habitant morbi</a:t>
            </a:r>
          </a:p>
        </p:txBody>
      </p:sp>
      <p:sp>
        <p:nvSpPr>
          <p:cNvPr id="21" name="Textplatzhalter 3">
            <a:extLst>
              <a:ext uri="{FF2B5EF4-FFF2-40B4-BE49-F238E27FC236}">
                <a16:creationId xmlns:a16="http://schemas.microsoft.com/office/drawing/2014/main" id="{FCFC3ED1-8451-4B5A-BA6B-F7D6B72B69B4}"/>
              </a:ext>
            </a:extLst>
          </p:cNvPr>
          <p:cNvSpPr txBox="1">
            <a:spLocks/>
          </p:cNvSpPr>
          <p:nvPr/>
        </p:nvSpPr>
        <p:spPr bwMode="gray">
          <a:xfrm>
            <a:off x="5160964" y="2708920"/>
            <a:ext cx="1943084" cy="360111"/>
          </a:xfrm>
          <a:prstGeom prst="rect">
            <a:avLst/>
          </a:prstGeom>
        </p:spPr>
        <p:txBody>
          <a:bodyPr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03</a:t>
            </a:r>
          </a:p>
        </p:txBody>
      </p:sp>
      <p:sp>
        <p:nvSpPr>
          <p:cNvPr id="23" name="Textplatzhalter 15">
            <a:extLst>
              <a:ext uri="{FF2B5EF4-FFF2-40B4-BE49-F238E27FC236}">
                <a16:creationId xmlns:a16="http://schemas.microsoft.com/office/drawing/2014/main" id="{ADE795FE-7934-4594-866A-392C59ACD426}"/>
              </a:ext>
            </a:extLst>
          </p:cNvPr>
          <p:cNvSpPr txBox="1">
            <a:spLocks/>
          </p:cNvSpPr>
          <p:nvPr/>
        </p:nvSpPr>
        <p:spPr bwMode="gray">
          <a:xfrm>
            <a:off x="7392028" y="3069922"/>
            <a:ext cx="1944000" cy="3238803"/>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Aft>
                <a:spcPts val="600"/>
              </a:spcAft>
            </a:pPr>
            <a:r>
              <a:rPr lang="en-US" dirty="0"/>
              <a:t>Lorem ipsum</a:t>
            </a:r>
            <a:br>
              <a:rPr lang="en-US" dirty="0"/>
            </a:br>
            <a:r>
              <a:rPr lang="en-US" dirty="0"/>
              <a:t>dolor sit amet, </a:t>
            </a:r>
          </a:p>
          <a:p>
            <a:pPr lvl="2"/>
            <a:r>
              <a:rPr lang="en-US" dirty="0"/>
              <a:t>Nunc viverra perdiet enim Fusce est</a:t>
            </a:r>
          </a:p>
          <a:p>
            <a:pPr lvl="2"/>
            <a:r>
              <a:rPr lang="en-US" dirty="0"/>
              <a:t>Pellentesque habitant morbi</a:t>
            </a:r>
          </a:p>
          <a:p>
            <a:pPr lvl="2"/>
            <a:r>
              <a:rPr lang="en-US" dirty="0"/>
              <a:t>Nunc viverra perdiet enim Fusce est</a:t>
            </a:r>
          </a:p>
          <a:p>
            <a:pPr lvl="2"/>
            <a:r>
              <a:rPr lang="en-US" dirty="0"/>
              <a:t>Pellentesque habitant morbi</a:t>
            </a:r>
          </a:p>
          <a:p>
            <a:pPr lvl="2"/>
            <a:r>
              <a:rPr lang="en-US" dirty="0"/>
              <a:t>Pellentesque habitant morbi</a:t>
            </a:r>
          </a:p>
        </p:txBody>
      </p:sp>
      <p:sp>
        <p:nvSpPr>
          <p:cNvPr id="24" name="Textplatzhalter 3">
            <a:extLst>
              <a:ext uri="{FF2B5EF4-FFF2-40B4-BE49-F238E27FC236}">
                <a16:creationId xmlns:a16="http://schemas.microsoft.com/office/drawing/2014/main" id="{66106226-769C-444C-88FC-EE733BE937CF}"/>
              </a:ext>
            </a:extLst>
          </p:cNvPr>
          <p:cNvSpPr txBox="1">
            <a:spLocks/>
          </p:cNvSpPr>
          <p:nvPr/>
        </p:nvSpPr>
        <p:spPr bwMode="gray">
          <a:xfrm>
            <a:off x="7393060" y="2349139"/>
            <a:ext cx="1943084" cy="360111"/>
          </a:xfrm>
          <a:prstGeom prst="rect">
            <a:avLst/>
          </a:prstGeom>
        </p:spPr>
        <p:txBody>
          <a:bodyPr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04</a:t>
            </a:r>
          </a:p>
        </p:txBody>
      </p:sp>
      <p:sp>
        <p:nvSpPr>
          <p:cNvPr id="26" name="Textplatzhalter 15">
            <a:extLst>
              <a:ext uri="{FF2B5EF4-FFF2-40B4-BE49-F238E27FC236}">
                <a16:creationId xmlns:a16="http://schemas.microsoft.com/office/drawing/2014/main" id="{6F43F381-5CBB-4BBE-AD02-3BE996D79EE9}"/>
              </a:ext>
            </a:extLst>
          </p:cNvPr>
          <p:cNvSpPr txBox="1">
            <a:spLocks/>
          </p:cNvSpPr>
          <p:nvPr/>
        </p:nvSpPr>
        <p:spPr bwMode="gray">
          <a:xfrm>
            <a:off x="9624240" y="2637615"/>
            <a:ext cx="1944000" cy="367111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Aft>
                <a:spcPts val="600"/>
              </a:spcAft>
            </a:pPr>
            <a:r>
              <a:rPr lang="en-US" dirty="0"/>
              <a:t>Lorem ipsum</a:t>
            </a:r>
            <a:br>
              <a:rPr lang="en-US" dirty="0"/>
            </a:br>
            <a:r>
              <a:rPr lang="en-US" dirty="0"/>
              <a:t>dolor sit amet, </a:t>
            </a:r>
          </a:p>
          <a:p>
            <a:pPr lvl="2"/>
            <a:r>
              <a:rPr lang="en-US" dirty="0"/>
              <a:t>Nunc viverra perdiet enim Fusce est</a:t>
            </a:r>
          </a:p>
          <a:p>
            <a:pPr lvl="2"/>
            <a:r>
              <a:rPr lang="en-US" dirty="0"/>
              <a:t>Pellentesque habitant morbi</a:t>
            </a:r>
          </a:p>
          <a:p>
            <a:pPr lvl="2"/>
            <a:r>
              <a:rPr lang="en-US" dirty="0"/>
              <a:t>Nunc viverra perdiet enim Fusce est</a:t>
            </a:r>
          </a:p>
          <a:p>
            <a:pPr lvl="2"/>
            <a:r>
              <a:rPr lang="en-US" dirty="0"/>
              <a:t>Pellentesque habitant morbi</a:t>
            </a:r>
          </a:p>
          <a:p>
            <a:pPr lvl="2"/>
            <a:r>
              <a:rPr lang="en-US" dirty="0"/>
              <a:t>Nunc viverra perdiet enim Fusce est</a:t>
            </a:r>
          </a:p>
          <a:p>
            <a:pPr lvl="2"/>
            <a:r>
              <a:rPr lang="en-US" dirty="0"/>
              <a:t>Pellentesque habitant morbi</a:t>
            </a:r>
          </a:p>
        </p:txBody>
      </p:sp>
      <p:sp>
        <p:nvSpPr>
          <p:cNvPr id="27" name="Textplatzhalter 3">
            <a:extLst>
              <a:ext uri="{FF2B5EF4-FFF2-40B4-BE49-F238E27FC236}">
                <a16:creationId xmlns:a16="http://schemas.microsoft.com/office/drawing/2014/main" id="{D8BDC38D-FC1E-4889-AE64-C387C1394C70}"/>
              </a:ext>
            </a:extLst>
          </p:cNvPr>
          <p:cNvSpPr txBox="1">
            <a:spLocks/>
          </p:cNvSpPr>
          <p:nvPr/>
        </p:nvSpPr>
        <p:spPr bwMode="gray">
          <a:xfrm>
            <a:off x="9625156" y="1916832"/>
            <a:ext cx="1943084" cy="360111"/>
          </a:xfrm>
          <a:prstGeom prst="rect">
            <a:avLst/>
          </a:prstGeom>
        </p:spPr>
        <p:txBody>
          <a:bodyPr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05</a:t>
            </a:r>
          </a:p>
        </p:txBody>
      </p:sp>
      <p:cxnSp>
        <p:nvCxnSpPr>
          <p:cNvPr id="28" name="Gerader Verbinder 27">
            <a:extLst>
              <a:ext uri="{FF2B5EF4-FFF2-40B4-BE49-F238E27FC236}">
                <a16:creationId xmlns:a16="http://schemas.microsoft.com/office/drawing/2014/main" id="{5B1BA63C-3155-4761-AC04-38856510523E}"/>
              </a:ext>
            </a:extLst>
          </p:cNvPr>
          <p:cNvCxnSpPr>
            <a:cxnSpLocks/>
          </p:cNvCxnSpPr>
          <p:nvPr/>
        </p:nvCxnSpPr>
        <p:spPr bwMode="gray">
          <a:xfrm>
            <a:off x="10272312" y="2276943"/>
            <a:ext cx="1296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9" name="Freihandform: Form 28">
            <a:extLst>
              <a:ext uri="{FF2B5EF4-FFF2-40B4-BE49-F238E27FC236}">
                <a16:creationId xmlns:a16="http://schemas.microsoft.com/office/drawing/2014/main" id="{4A409644-66C5-4FB5-996F-F9554EB4B0A3}"/>
              </a:ext>
            </a:extLst>
          </p:cNvPr>
          <p:cNvSpPr/>
          <p:nvPr/>
        </p:nvSpPr>
        <p:spPr bwMode="gray">
          <a:xfrm>
            <a:off x="1262063" y="3619500"/>
            <a:ext cx="1547812" cy="238125"/>
          </a:xfrm>
          <a:custGeom>
            <a:avLst/>
            <a:gdLst>
              <a:gd name="connsiteX0" fmla="*/ 0 w 1547812"/>
              <a:gd name="connsiteY0" fmla="*/ 238125 h 238125"/>
              <a:gd name="connsiteX1" fmla="*/ 1309687 w 1547812"/>
              <a:gd name="connsiteY1" fmla="*/ 238125 h 238125"/>
              <a:gd name="connsiteX2" fmla="*/ 1547812 w 1547812"/>
              <a:gd name="connsiteY2" fmla="*/ 0 h 238125"/>
            </a:gdLst>
            <a:ahLst/>
            <a:cxnLst>
              <a:cxn ang="0">
                <a:pos x="connsiteX0" y="connsiteY0"/>
              </a:cxn>
              <a:cxn ang="0">
                <a:pos x="connsiteX1" y="connsiteY1"/>
              </a:cxn>
              <a:cxn ang="0">
                <a:pos x="connsiteX2" y="connsiteY2"/>
              </a:cxn>
            </a:cxnLst>
            <a:rect l="l" t="t" r="r" b="b"/>
            <a:pathLst>
              <a:path w="1547812" h="238125">
                <a:moveTo>
                  <a:pt x="0" y="238125"/>
                </a:moveTo>
                <a:lnTo>
                  <a:pt x="1309687" y="238125"/>
                </a:lnTo>
                <a:lnTo>
                  <a:pt x="1547812" y="0"/>
                </a:lnTo>
              </a:path>
            </a:pathLst>
          </a:cu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Freihandform: Form 29">
            <a:extLst>
              <a:ext uri="{FF2B5EF4-FFF2-40B4-BE49-F238E27FC236}">
                <a16:creationId xmlns:a16="http://schemas.microsoft.com/office/drawing/2014/main" id="{F4DFC6D3-3137-4562-B367-B3F3CA387CC0}"/>
              </a:ext>
            </a:extLst>
          </p:cNvPr>
          <p:cNvSpPr/>
          <p:nvPr/>
        </p:nvSpPr>
        <p:spPr bwMode="gray">
          <a:xfrm>
            <a:off x="3503712" y="3262883"/>
            <a:ext cx="1620000" cy="238125"/>
          </a:xfrm>
          <a:custGeom>
            <a:avLst/>
            <a:gdLst>
              <a:gd name="connsiteX0" fmla="*/ 0 w 1547812"/>
              <a:gd name="connsiteY0" fmla="*/ 238125 h 238125"/>
              <a:gd name="connsiteX1" fmla="*/ 1309687 w 1547812"/>
              <a:gd name="connsiteY1" fmla="*/ 238125 h 238125"/>
              <a:gd name="connsiteX2" fmla="*/ 1547812 w 1547812"/>
              <a:gd name="connsiteY2" fmla="*/ 0 h 238125"/>
            </a:gdLst>
            <a:ahLst/>
            <a:cxnLst>
              <a:cxn ang="0">
                <a:pos x="connsiteX0" y="connsiteY0"/>
              </a:cxn>
              <a:cxn ang="0">
                <a:pos x="connsiteX1" y="connsiteY1"/>
              </a:cxn>
              <a:cxn ang="0">
                <a:pos x="connsiteX2" y="connsiteY2"/>
              </a:cxn>
            </a:cxnLst>
            <a:rect l="l" t="t" r="r" b="b"/>
            <a:pathLst>
              <a:path w="1547812" h="238125">
                <a:moveTo>
                  <a:pt x="0" y="238125"/>
                </a:moveTo>
                <a:lnTo>
                  <a:pt x="1309687" y="238125"/>
                </a:lnTo>
                <a:lnTo>
                  <a:pt x="1547812" y="0"/>
                </a:lnTo>
              </a:path>
            </a:pathLst>
          </a:cu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ihandform: Form 30">
            <a:extLst>
              <a:ext uri="{FF2B5EF4-FFF2-40B4-BE49-F238E27FC236}">
                <a16:creationId xmlns:a16="http://schemas.microsoft.com/office/drawing/2014/main" id="{F1F6ED6F-0308-4411-9613-5134D75C7C81}"/>
              </a:ext>
            </a:extLst>
          </p:cNvPr>
          <p:cNvSpPr/>
          <p:nvPr/>
        </p:nvSpPr>
        <p:spPr bwMode="gray">
          <a:xfrm>
            <a:off x="5807968" y="2830835"/>
            <a:ext cx="1547812" cy="238125"/>
          </a:xfrm>
          <a:custGeom>
            <a:avLst/>
            <a:gdLst>
              <a:gd name="connsiteX0" fmla="*/ 0 w 1547812"/>
              <a:gd name="connsiteY0" fmla="*/ 238125 h 238125"/>
              <a:gd name="connsiteX1" fmla="*/ 1309687 w 1547812"/>
              <a:gd name="connsiteY1" fmla="*/ 238125 h 238125"/>
              <a:gd name="connsiteX2" fmla="*/ 1547812 w 1547812"/>
              <a:gd name="connsiteY2" fmla="*/ 0 h 238125"/>
            </a:gdLst>
            <a:ahLst/>
            <a:cxnLst>
              <a:cxn ang="0">
                <a:pos x="connsiteX0" y="connsiteY0"/>
              </a:cxn>
              <a:cxn ang="0">
                <a:pos x="connsiteX1" y="connsiteY1"/>
              </a:cxn>
              <a:cxn ang="0">
                <a:pos x="connsiteX2" y="connsiteY2"/>
              </a:cxn>
            </a:cxnLst>
            <a:rect l="l" t="t" r="r" b="b"/>
            <a:pathLst>
              <a:path w="1547812" h="238125">
                <a:moveTo>
                  <a:pt x="0" y="238125"/>
                </a:moveTo>
                <a:lnTo>
                  <a:pt x="1309687" y="238125"/>
                </a:lnTo>
                <a:lnTo>
                  <a:pt x="1547812" y="0"/>
                </a:lnTo>
              </a:path>
            </a:pathLst>
          </a:cu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Freihandform: Form 31">
            <a:extLst>
              <a:ext uri="{FF2B5EF4-FFF2-40B4-BE49-F238E27FC236}">
                <a16:creationId xmlns:a16="http://schemas.microsoft.com/office/drawing/2014/main" id="{6DB21FA0-E212-40DE-95B5-4B5F6C370497}"/>
              </a:ext>
            </a:extLst>
          </p:cNvPr>
          <p:cNvSpPr/>
          <p:nvPr/>
        </p:nvSpPr>
        <p:spPr bwMode="gray">
          <a:xfrm>
            <a:off x="8021339" y="2470795"/>
            <a:ext cx="1547812" cy="238125"/>
          </a:xfrm>
          <a:custGeom>
            <a:avLst/>
            <a:gdLst>
              <a:gd name="connsiteX0" fmla="*/ 0 w 1547812"/>
              <a:gd name="connsiteY0" fmla="*/ 238125 h 238125"/>
              <a:gd name="connsiteX1" fmla="*/ 1309687 w 1547812"/>
              <a:gd name="connsiteY1" fmla="*/ 238125 h 238125"/>
              <a:gd name="connsiteX2" fmla="*/ 1547812 w 1547812"/>
              <a:gd name="connsiteY2" fmla="*/ 0 h 238125"/>
            </a:gdLst>
            <a:ahLst/>
            <a:cxnLst>
              <a:cxn ang="0">
                <a:pos x="connsiteX0" y="connsiteY0"/>
              </a:cxn>
              <a:cxn ang="0">
                <a:pos x="connsiteX1" y="connsiteY1"/>
              </a:cxn>
              <a:cxn ang="0">
                <a:pos x="connsiteX2" y="connsiteY2"/>
              </a:cxn>
            </a:cxnLst>
            <a:rect l="l" t="t" r="r" b="b"/>
            <a:pathLst>
              <a:path w="1547812" h="238125">
                <a:moveTo>
                  <a:pt x="0" y="238125"/>
                </a:moveTo>
                <a:lnTo>
                  <a:pt x="1309687" y="238125"/>
                </a:lnTo>
                <a:lnTo>
                  <a:pt x="1547812" y="0"/>
                </a:lnTo>
              </a:path>
            </a:pathLst>
          </a:cu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Fußzeilenplatzhalter 3">
            <a:extLst>
              <a:ext uri="{FF2B5EF4-FFF2-40B4-BE49-F238E27FC236}">
                <a16:creationId xmlns:a16="http://schemas.microsoft.com/office/drawing/2014/main" id="{4E09AEBE-5ED7-4CF8-A9A3-D690EF66D632}"/>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77213FD9-9430-4F40-83F9-D1A05D8BA1B0}"/>
              </a:ext>
            </a:extLst>
          </p:cNvPr>
          <p:cNvSpPr>
            <a:spLocks noGrp="1"/>
          </p:cNvSpPr>
          <p:nvPr>
            <p:ph type="sldNum" sz="quarter" idx="12"/>
          </p:nvPr>
        </p:nvSpPr>
        <p:spPr/>
        <p:txBody>
          <a:bodyPr/>
          <a:lstStyle/>
          <a:p>
            <a:fld id="{CE82B8A1-0CCE-4815-9668-383D7DE7D8B4}" type="slidenum">
              <a:rPr lang="en-US" noProof="0" smtClean="0"/>
              <a:t>34</a:t>
            </a:fld>
            <a:endParaRPr lang="en-US" noProof="0" dirty="0"/>
          </a:p>
        </p:txBody>
      </p:sp>
    </p:spTree>
    <p:extLst>
      <p:ext uri="{BB962C8B-B14F-4D97-AF65-F5344CB8AC3E}">
        <p14:creationId xmlns:p14="http://schemas.microsoft.com/office/powerpoint/2010/main" val="19861169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A4692F-05D7-45FA-B726-16A553FA7238}"/>
              </a:ext>
            </a:extLst>
          </p:cNvPr>
          <p:cNvSpPr>
            <a:spLocks noGrp="1"/>
          </p:cNvSpPr>
          <p:nvPr>
            <p:ph type="title"/>
          </p:nvPr>
        </p:nvSpPr>
        <p:spPr bwMode="gray"/>
        <p:txBody>
          <a:bodyPr/>
          <a:lstStyle/>
          <a:p>
            <a:r>
              <a:rPr lang="en-US" dirty="0"/>
              <a:t>Enumeration with headings</a:t>
            </a:r>
          </a:p>
        </p:txBody>
      </p:sp>
      <p:sp>
        <p:nvSpPr>
          <p:cNvPr id="20" name="Textplatzhalter 15">
            <a:extLst>
              <a:ext uri="{FF2B5EF4-FFF2-40B4-BE49-F238E27FC236}">
                <a16:creationId xmlns:a16="http://schemas.microsoft.com/office/drawing/2014/main" id="{1D20A85E-71BA-4131-A8A5-443CDE49DE8F}"/>
              </a:ext>
            </a:extLst>
          </p:cNvPr>
          <p:cNvSpPr txBox="1">
            <a:spLocks/>
          </p:cNvSpPr>
          <p:nvPr/>
        </p:nvSpPr>
        <p:spPr bwMode="gray">
          <a:xfrm>
            <a:off x="623392" y="2133056"/>
            <a:ext cx="2448000" cy="1800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2"/>
            <a:r>
              <a:rPr lang="en-US" dirty="0"/>
              <a:t>Lorem ipsum dolor sit amet consectetuer adipiscing elit</a:t>
            </a:r>
          </a:p>
          <a:p>
            <a:pPr lvl="2"/>
            <a:r>
              <a:rPr lang="en-US" dirty="0"/>
              <a:t>Maecenas porttitor congue massa Fusce posuere</a:t>
            </a:r>
          </a:p>
          <a:p>
            <a:pPr lvl="2"/>
            <a:r>
              <a:rPr lang="en-US" dirty="0"/>
              <a:t>Lorem ipsum dolor sit amet consectetuer adipiscing elit</a:t>
            </a:r>
          </a:p>
        </p:txBody>
      </p:sp>
      <p:cxnSp>
        <p:nvCxnSpPr>
          <p:cNvPr id="21" name="Gerader Verbinder 20">
            <a:extLst>
              <a:ext uri="{FF2B5EF4-FFF2-40B4-BE49-F238E27FC236}">
                <a16:creationId xmlns:a16="http://schemas.microsoft.com/office/drawing/2014/main" id="{8461B2F9-1252-4701-9C01-064539F4BEA0}"/>
              </a:ext>
            </a:extLst>
          </p:cNvPr>
          <p:cNvCxnSpPr>
            <a:cxnSpLocks/>
          </p:cNvCxnSpPr>
          <p:nvPr/>
        </p:nvCxnSpPr>
        <p:spPr bwMode="gray">
          <a:xfrm>
            <a:off x="1847672" y="1988840"/>
            <a:ext cx="1224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platzhalter 3">
            <a:extLst>
              <a:ext uri="{FF2B5EF4-FFF2-40B4-BE49-F238E27FC236}">
                <a16:creationId xmlns:a16="http://schemas.microsoft.com/office/drawing/2014/main" id="{603F2AC8-4107-4D40-9727-685EE8EA8431}"/>
              </a:ext>
            </a:extLst>
          </p:cNvPr>
          <p:cNvSpPr txBox="1">
            <a:spLocks/>
          </p:cNvSpPr>
          <p:nvPr/>
        </p:nvSpPr>
        <p:spPr bwMode="gray">
          <a:xfrm>
            <a:off x="623392" y="1772816"/>
            <a:ext cx="2448421" cy="288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accent5"/>
                </a:solidFill>
              </a:rPr>
              <a:t>Lorem ipsum</a:t>
            </a:r>
          </a:p>
        </p:txBody>
      </p:sp>
      <p:sp>
        <p:nvSpPr>
          <p:cNvPr id="25" name="Textplatzhalter 15">
            <a:extLst>
              <a:ext uri="{FF2B5EF4-FFF2-40B4-BE49-F238E27FC236}">
                <a16:creationId xmlns:a16="http://schemas.microsoft.com/office/drawing/2014/main" id="{46B62321-A405-4D0B-82C3-4D839DE5ABCB}"/>
              </a:ext>
            </a:extLst>
          </p:cNvPr>
          <p:cNvSpPr txBox="1">
            <a:spLocks/>
          </p:cNvSpPr>
          <p:nvPr/>
        </p:nvSpPr>
        <p:spPr bwMode="gray">
          <a:xfrm>
            <a:off x="3503612" y="2133056"/>
            <a:ext cx="2376091" cy="1800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2"/>
            <a:r>
              <a:rPr lang="en-US" dirty="0"/>
              <a:t>Lorem ipsum dolor sit amet consectetuer adipiscing elit</a:t>
            </a:r>
          </a:p>
          <a:p>
            <a:pPr lvl="2"/>
            <a:r>
              <a:rPr lang="en-US" dirty="0"/>
              <a:t>Maecenas porttitor congue massa Fusce posuere</a:t>
            </a:r>
          </a:p>
          <a:p>
            <a:pPr lvl="2"/>
            <a:r>
              <a:rPr lang="en-US" dirty="0"/>
              <a:t>Lorem ipsum dolor sit amet consectetuer adipiscing elit</a:t>
            </a:r>
          </a:p>
        </p:txBody>
      </p:sp>
      <p:cxnSp>
        <p:nvCxnSpPr>
          <p:cNvPr id="39" name="Gerader Verbinder 38">
            <a:extLst>
              <a:ext uri="{FF2B5EF4-FFF2-40B4-BE49-F238E27FC236}">
                <a16:creationId xmlns:a16="http://schemas.microsoft.com/office/drawing/2014/main" id="{26A55402-7E3C-4455-ABA6-A30D4491753D}"/>
              </a:ext>
            </a:extLst>
          </p:cNvPr>
          <p:cNvCxnSpPr>
            <a:cxnSpLocks/>
          </p:cNvCxnSpPr>
          <p:nvPr/>
        </p:nvCxnSpPr>
        <p:spPr bwMode="gray">
          <a:xfrm>
            <a:off x="4727992" y="1988840"/>
            <a:ext cx="1152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40" name="Textplatzhalter 3">
            <a:extLst>
              <a:ext uri="{FF2B5EF4-FFF2-40B4-BE49-F238E27FC236}">
                <a16:creationId xmlns:a16="http://schemas.microsoft.com/office/drawing/2014/main" id="{F3F1A5DC-C660-462A-B244-73E8C2F71F4C}"/>
              </a:ext>
            </a:extLst>
          </p:cNvPr>
          <p:cNvSpPr txBox="1">
            <a:spLocks/>
          </p:cNvSpPr>
          <p:nvPr/>
        </p:nvSpPr>
        <p:spPr bwMode="gray">
          <a:xfrm>
            <a:off x="3503613" y="1772816"/>
            <a:ext cx="2376488" cy="288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accent5"/>
                </a:solidFill>
              </a:rPr>
              <a:t>Lorem ipsum</a:t>
            </a:r>
          </a:p>
        </p:txBody>
      </p:sp>
      <p:sp>
        <p:nvSpPr>
          <p:cNvPr id="41" name="Textplatzhalter 15">
            <a:extLst>
              <a:ext uri="{FF2B5EF4-FFF2-40B4-BE49-F238E27FC236}">
                <a16:creationId xmlns:a16="http://schemas.microsoft.com/office/drawing/2014/main" id="{82CA0AD8-645F-4F4E-9FD3-1EC8F52BB206}"/>
              </a:ext>
            </a:extLst>
          </p:cNvPr>
          <p:cNvSpPr txBox="1">
            <a:spLocks/>
          </p:cNvSpPr>
          <p:nvPr/>
        </p:nvSpPr>
        <p:spPr bwMode="gray">
          <a:xfrm>
            <a:off x="6311900" y="2133056"/>
            <a:ext cx="2376116" cy="1800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2"/>
            <a:r>
              <a:rPr lang="en-US" dirty="0"/>
              <a:t>Lorem ipsum dolor sit amet consectetuer adipiscing elit</a:t>
            </a:r>
          </a:p>
          <a:p>
            <a:pPr lvl="2"/>
            <a:r>
              <a:rPr lang="en-US" dirty="0"/>
              <a:t>Maecenas porttitor congue massa Fusce posuere</a:t>
            </a:r>
          </a:p>
          <a:p>
            <a:pPr lvl="2"/>
            <a:r>
              <a:rPr lang="en-US" dirty="0"/>
              <a:t>Lorem ipsum dolor sit amet consectetuer adipiscing elit</a:t>
            </a:r>
          </a:p>
        </p:txBody>
      </p:sp>
      <p:cxnSp>
        <p:nvCxnSpPr>
          <p:cNvPr id="42" name="Gerader Verbinder 41">
            <a:extLst>
              <a:ext uri="{FF2B5EF4-FFF2-40B4-BE49-F238E27FC236}">
                <a16:creationId xmlns:a16="http://schemas.microsoft.com/office/drawing/2014/main" id="{A1F7260E-0D79-495F-BFAC-9ED5D88E46EC}"/>
              </a:ext>
            </a:extLst>
          </p:cNvPr>
          <p:cNvCxnSpPr>
            <a:cxnSpLocks/>
          </p:cNvCxnSpPr>
          <p:nvPr/>
        </p:nvCxnSpPr>
        <p:spPr bwMode="gray">
          <a:xfrm>
            <a:off x="7536296" y="1988840"/>
            <a:ext cx="1152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43" name="Textplatzhalter 3">
            <a:extLst>
              <a:ext uri="{FF2B5EF4-FFF2-40B4-BE49-F238E27FC236}">
                <a16:creationId xmlns:a16="http://schemas.microsoft.com/office/drawing/2014/main" id="{2861D943-A8A1-4457-B37F-27003D033EC8}"/>
              </a:ext>
            </a:extLst>
          </p:cNvPr>
          <p:cNvSpPr txBox="1">
            <a:spLocks/>
          </p:cNvSpPr>
          <p:nvPr/>
        </p:nvSpPr>
        <p:spPr bwMode="gray">
          <a:xfrm>
            <a:off x="6311900" y="1772816"/>
            <a:ext cx="2376488" cy="288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accent5"/>
                </a:solidFill>
              </a:rPr>
              <a:t>Lorem ipsum</a:t>
            </a:r>
          </a:p>
        </p:txBody>
      </p:sp>
      <p:sp>
        <p:nvSpPr>
          <p:cNvPr id="44" name="Textplatzhalter 15">
            <a:extLst>
              <a:ext uri="{FF2B5EF4-FFF2-40B4-BE49-F238E27FC236}">
                <a16:creationId xmlns:a16="http://schemas.microsoft.com/office/drawing/2014/main" id="{05C37827-7510-42F0-A882-949FB5A980F5}"/>
              </a:ext>
            </a:extLst>
          </p:cNvPr>
          <p:cNvSpPr txBox="1">
            <a:spLocks/>
          </p:cNvSpPr>
          <p:nvPr/>
        </p:nvSpPr>
        <p:spPr bwMode="gray">
          <a:xfrm>
            <a:off x="9120187" y="2133056"/>
            <a:ext cx="2447925" cy="1800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2"/>
            <a:r>
              <a:rPr lang="en-US" dirty="0"/>
              <a:t>Lorem ipsum dolor sit amet consectetuer adipiscing elit</a:t>
            </a:r>
          </a:p>
          <a:p>
            <a:pPr lvl="2"/>
            <a:r>
              <a:rPr lang="en-US" dirty="0"/>
              <a:t>Maecenas porttitor congue massa Fusce posuere</a:t>
            </a:r>
          </a:p>
          <a:p>
            <a:pPr lvl="2"/>
            <a:r>
              <a:rPr lang="en-US" dirty="0"/>
              <a:t>Lorem ipsum dolor sit amet consectetuer adipiscing elit</a:t>
            </a:r>
          </a:p>
        </p:txBody>
      </p:sp>
      <p:cxnSp>
        <p:nvCxnSpPr>
          <p:cNvPr id="45" name="Gerader Verbinder 44">
            <a:extLst>
              <a:ext uri="{FF2B5EF4-FFF2-40B4-BE49-F238E27FC236}">
                <a16:creationId xmlns:a16="http://schemas.microsoft.com/office/drawing/2014/main" id="{1636DBE0-1988-4090-965B-9A91D0F68693}"/>
              </a:ext>
            </a:extLst>
          </p:cNvPr>
          <p:cNvCxnSpPr>
            <a:cxnSpLocks/>
          </p:cNvCxnSpPr>
          <p:nvPr/>
        </p:nvCxnSpPr>
        <p:spPr bwMode="gray">
          <a:xfrm>
            <a:off x="10344608" y="1988840"/>
            <a:ext cx="1224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46" name="Textplatzhalter 3">
            <a:extLst>
              <a:ext uri="{FF2B5EF4-FFF2-40B4-BE49-F238E27FC236}">
                <a16:creationId xmlns:a16="http://schemas.microsoft.com/office/drawing/2014/main" id="{CAC52C0E-E99B-4D35-A869-181F2DCD6018}"/>
              </a:ext>
            </a:extLst>
          </p:cNvPr>
          <p:cNvSpPr txBox="1">
            <a:spLocks/>
          </p:cNvSpPr>
          <p:nvPr/>
        </p:nvSpPr>
        <p:spPr bwMode="gray">
          <a:xfrm>
            <a:off x="9120616" y="1772816"/>
            <a:ext cx="2447497" cy="288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accent5"/>
                </a:solidFill>
              </a:rPr>
              <a:t>Lorem ipsum</a:t>
            </a:r>
          </a:p>
        </p:txBody>
      </p:sp>
      <p:sp>
        <p:nvSpPr>
          <p:cNvPr id="28" name="Textplatzhalter 15">
            <a:extLst>
              <a:ext uri="{FF2B5EF4-FFF2-40B4-BE49-F238E27FC236}">
                <a16:creationId xmlns:a16="http://schemas.microsoft.com/office/drawing/2014/main" id="{9B109297-D280-475A-8BE2-62CA7FBC9596}"/>
              </a:ext>
            </a:extLst>
          </p:cNvPr>
          <p:cNvSpPr txBox="1">
            <a:spLocks/>
          </p:cNvSpPr>
          <p:nvPr/>
        </p:nvSpPr>
        <p:spPr bwMode="gray">
          <a:xfrm>
            <a:off x="623392" y="4509320"/>
            <a:ext cx="2448000" cy="1800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2"/>
            <a:r>
              <a:rPr lang="en-US" dirty="0"/>
              <a:t>Lorem ipsum dolor sit amet consectetuer adipiscing elit</a:t>
            </a:r>
          </a:p>
          <a:p>
            <a:pPr lvl="2"/>
            <a:r>
              <a:rPr lang="en-US" dirty="0"/>
              <a:t>Maecenas porttitor congue massa Fusce posuere</a:t>
            </a:r>
          </a:p>
          <a:p>
            <a:pPr lvl="2"/>
            <a:r>
              <a:rPr lang="en-US" dirty="0"/>
              <a:t>Lorem ipsum dolor sit amet consectetuer adipiscing elit</a:t>
            </a:r>
          </a:p>
        </p:txBody>
      </p:sp>
      <p:cxnSp>
        <p:nvCxnSpPr>
          <p:cNvPr id="29" name="Gerader Verbinder 28">
            <a:extLst>
              <a:ext uri="{FF2B5EF4-FFF2-40B4-BE49-F238E27FC236}">
                <a16:creationId xmlns:a16="http://schemas.microsoft.com/office/drawing/2014/main" id="{EE413280-9716-4188-B105-C7571C7B6BCA}"/>
              </a:ext>
            </a:extLst>
          </p:cNvPr>
          <p:cNvCxnSpPr>
            <a:cxnSpLocks/>
          </p:cNvCxnSpPr>
          <p:nvPr/>
        </p:nvCxnSpPr>
        <p:spPr bwMode="gray">
          <a:xfrm>
            <a:off x="1847672" y="4365104"/>
            <a:ext cx="1224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30" name="Textplatzhalter 3">
            <a:extLst>
              <a:ext uri="{FF2B5EF4-FFF2-40B4-BE49-F238E27FC236}">
                <a16:creationId xmlns:a16="http://schemas.microsoft.com/office/drawing/2014/main" id="{76B88E4B-7B5E-4FCE-A2CE-F4C16C58AE76}"/>
              </a:ext>
            </a:extLst>
          </p:cNvPr>
          <p:cNvSpPr txBox="1">
            <a:spLocks/>
          </p:cNvSpPr>
          <p:nvPr/>
        </p:nvSpPr>
        <p:spPr bwMode="gray">
          <a:xfrm>
            <a:off x="623392" y="4149080"/>
            <a:ext cx="2448421" cy="288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accent5"/>
                </a:solidFill>
              </a:rPr>
              <a:t>Lorem ipsum</a:t>
            </a:r>
          </a:p>
        </p:txBody>
      </p:sp>
      <p:sp>
        <p:nvSpPr>
          <p:cNvPr id="31" name="Textplatzhalter 15">
            <a:extLst>
              <a:ext uri="{FF2B5EF4-FFF2-40B4-BE49-F238E27FC236}">
                <a16:creationId xmlns:a16="http://schemas.microsoft.com/office/drawing/2014/main" id="{B6F62971-9DB5-4719-AFB6-5B706595398F}"/>
              </a:ext>
            </a:extLst>
          </p:cNvPr>
          <p:cNvSpPr txBox="1">
            <a:spLocks/>
          </p:cNvSpPr>
          <p:nvPr/>
        </p:nvSpPr>
        <p:spPr bwMode="gray">
          <a:xfrm>
            <a:off x="3503612" y="4509320"/>
            <a:ext cx="2376091" cy="1800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2"/>
            <a:r>
              <a:rPr lang="en-US" dirty="0"/>
              <a:t>Lorem ipsum dolor sit amet consectetuer adipiscing elit</a:t>
            </a:r>
          </a:p>
          <a:p>
            <a:pPr lvl="2"/>
            <a:r>
              <a:rPr lang="en-US" dirty="0"/>
              <a:t>Maecenas porttitor congue massa Fusce posuere</a:t>
            </a:r>
          </a:p>
          <a:p>
            <a:pPr lvl="2"/>
            <a:r>
              <a:rPr lang="en-US" dirty="0"/>
              <a:t>Lorem ipsum dolor sit amet consectetuer adipiscing elit</a:t>
            </a:r>
          </a:p>
        </p:txBody>
      </p:sp>
      <p:cxnSp>
        <p:nvCxnSpPr>
          <p:cNvPr id="32" name="Gerader Verbinder 31">
            <a:extLst>
              <a:ext uri="{FF2B5EF4-FFF2-40B4-BE49-F238E27FC236}">
                <a16:creationId xmlns:a16="http://schemas.microsoft.com/office/drawing/2014/main" id="{956EE268-431F-42A8-A633-4624AE552E62}"/>
              </a:ext>
            </a:extLst>
          </p:cNvPr>
          <p:cNvCxnSpPr>
            <a:cxnSpLocks/>
          </p:cNvCxnSpPr>
          <p:nvPr/>
        </p:nvCxnSpPr>
        <p:spPr bwMode="gray">
          <a:xfrm>
            <a:off x="4727992" y="4365104"/>
            <a:ext cx="1152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33" name="Textplatzhalter 3">
            <a:extLst>
              <a:ext uri="{FF2B5EF4-FFF2-40B4-BE49-F238E27FC236}">
                <a16:creationId xmlns:a16="http://schemas.microsoft.com/office/drawing/2014/main" id="{BA3F3418-8FB7-4584-B346-D16CBB370755}"/>
              </a:ext>
            </a:extLst>
          </p:cNvPr>
          <p:cNvSpPr txBox="1">
            <a:spLocks/>
          </p:cNvSpPr>
          <p:nvPr/>
        </p:nvSpPr>
        <p:spPr bwMode="gray">
          <a:xfrm>
            <a:off x="3503613" y="4149080"/>
            <a:ext cx="2376488" cy="288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accent5"/>
                </a:solidFill>
              </a:rPr>
              <a:t>Lorem ipsum</a:t>
            </a:r>
          </a:p>
        </p:txBody>
      </p:sp>
      <p:sp>
        <p:nvSpPr>
          <p:cNvPr id="34" name="Textplatzhalter 15">
            <a:extLst>
              <a:ext uri="{FF2B5EF4-FFF2-40B4-BE49-F238E27FC236}">
                <a16:creationId xmlns:a16="http://schemas.microsoft.com/office/drawing/2014/main" id="{62CE4B5C-CC23-43A9-9834-6BD8AE97E706}"/>
              </a:ext>
            </a:extLst>
          </p:cNvPr>
          <p:cNvSpPr txBox="1">
            <a:spLocks/>
          </p:cNvSpPr>
          <p:nvPr/>
        </p:nvSpPr>
        <p:spPr bwMode="gray">
          <a:xfrm>
            <a:off x="6311900" y="4509320"/>
            <a:ext cx="2376116" cy="1800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2"/>
            <a:r>
              <a:rPr lang="en-US" dirty="0"/>
              <a:t>Lorem ipsum dolor sit amet consectetuer adipiscing elit</a:t>
            </a:r>
          </a:p>
          <a:p>
            <a:pPr lvl="2"/>
            <a:r>
              <a:rPr lang="en-US" dirty="0"/>
              <a:t>Maecenas porttitor congue massa Fusce posuere</a:t>
            </a:r>
          </a:p>
          <a:p>
            <a:pPr lvl="2"/>
            <a:r>
              <a:rPr lang="en-US" dirty="0"/>
              <a:t>Lorem ipsum dolor sit amet consectetuer adipiscing elit</a:t>
            </a:r>
          </a:p>
        </p:txBody>
      </p:sp>
      <p:cxnSp>
        <p:nvCxnSpPr>
          <p:cNvPr id="35" name="Gerader Verbinder 34">
            <a:extLst>
              <a:ext uri="{FF2B5EF4-FFF2-40B4-BE49-F238E27FC236}">
                <a16:creationId xmlns:a16="http://schemas.microsoft.com/office/drawing/2014/main" id="{5C5369B9-73D1-4009-A8D3-7198DB6D2500}"/>
              </a:ext>
            </a:extLst>
          </p:cNvPr>
          <p:cNvCxnSpPr>
            <a:cxnSpLocks/>
          </p:cNvCxnSpPr>
          <p:nvPr/>
        </p:nvCxnSpPr>
        <p:spPr bwMode="gray">
          <a:xfrm>
            <a:off x="7536296" y="4365104"/>
            <a:ext cx="1152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36" name="Textplatzhalter 3">
            <a:extLst>
              <a:ext uri="{FF2B5EF4-FFF2-40B4-BE49-F238E27FC236}">
                <a16:creationId xmlns:a16="http://schemas.microsoft.com/office/drawing/2014/main" id="{D3B1A68A-59E4-4014-B4C3-A0408844B6A7}"/>
              </a:ext>
            </a:extLst>
          </p:cNvPr>
          <p:cNvSpPr txBox="1">
            <a:spLocks/>
          </p:cNvSpPr>
          <p:nvPr/>
        </p:nvSpPr>
        <p:spPr bwMode="gray">
          <a:xfrm>
            <a:off x="6311900" y="4149080"/>
            <a:ext cx="2376488" cy="288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accent5"/>
                </a:solidFill>
              </a:rPr>
              <a:t>Lorem ipsum</a:t>
            </a:r>
          </a:p>
        </p:txBody>
      </p:sp>
      <p:sp>
        <p:nvSpPr>
          <p:cNvPr id="37" name="Textplatzhalter 15">
            <a:extLst>
              <a:ext uri="{FF2B5EF4-FFF2-40B4-BE49-F238E27FC236}">
                <a16:creationId xmlns:a16="http://schemas.microsoft.com/office/drawing/2014/main" id="{315ED731-FE6B-4726-8EAD-E9AE491E3FD3}"/>
              </a:ext>
            </a:extLst>
          </p:cNvPr>
          <p:cNvSpPr txBox="1">
            <a:spLocks/>
          </p:cNvSpPr>
          <p:nvPr/>
        </p:nvSpPr>
        <p:spPr bwMode="gray">
          <a:xfrm>
            <a:off x="9120187" y="4509320"/>
            <a:ext cx="2447925" cy="1800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2"/>
            <a:r>
              <a:rPr lang="en-US" dirty="0"/>
              <a:t>Lorem ipsum dolor sit amet consectetuer adipiscing elit</a:t>
            </a:r>
          </a:p>
          <a:p>
            <a:pPr lvl="2"/>
            <a:r>
              <a:rPr lang="en-US" dirty="0"/>
              <a:t>Maecenas porttitor congue massa Fusce posuere</a:t>
            </a:r>
          </a:p>
          <a:p>
            <a:pPr lvl="2"/>
            <a:r>
              <a:rPr lang="en-US" dirty="0"/>
              <a:t>Lorem ipsum dolor sit amet consectetuer adipiscing elit</a:t>
            </a:r>
          </a:p>
        </p:txBody>
      </p:sp>
      <p:cxnSp>
        <p:nvCxnSpPr>
          <p:cNvPr id="38" name="Gerader Verbinder 37">
            <a:extLst>
              <a:ext uri="{FF2B5EF4-FFF2-40B4-BE49-F238E27FC236}">
                <a16:creationId xmlns:a16="http://schemas.microsoft.com/office/drawing/2014/main" id="{C32E3FC4-E915-422B-83B4-9D2935B0D494}"/>
              </a:ext>
            </a:extLst>
          </p:cNvPr>
          <p:cNvCxnSpPr>
            <a:cxnSpLocks/>
          </p:cNvCxnSpPr>
          <p:nvPr/>
        </p:nvCxnSpPr>
        <p:spPr bwMode="gray">
          <a:xfrm>
            <a:off x="10344608" y="4365104"/>
            <a:ext cx="1224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59" name="Textplatzhalter 3">
            <a:extLst>
              <a:ext uri="{FF2B5EF4-FFF2-40B4-BE49-F238E27FC236}">
                <a16:creationId xmlns:a16="http://schemas.microsoft.com/office/drawing/2014/main" id="{5055AEA0-7452-4753-8B7C-4424C36A2AA8}"/>
              </a:ext>
            </a:extLst>
          </p:cNvPr>
          <p:cNvSpPr txBox="1">
            <a:spLocks/>
          </p:cNvSpPr>
          <p:nvPr/>
        </p:nvSpPr>
        <p:spPr bwMode="gray">
          <a:xfrm>
            <a:off x="9120616" y="4149080"/>
            <a:ext cx="2447497" cy="288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accent5"/>
                </a:solidFill>
              </a:rPr>
              <a:t>Lorem ipsum</a:t>
            </a:r>
          </a:p>
        </p:txBody>
      </p:sp>
      <p:sp>
        <p:nvSpPr>
          <p:cNvPr id="4" name="Fußzeilenplatzhalter 3">
            <a:extLst>
              <a:ext uri="{FF2B5EF4-FFF2-40B4-BE49-F238E27FC236}">
                <a16:creationId xmlns:a16="http://schemas.microsoft.com/office/drawing/2014/main" id="{01F4D84A-D702-45B3-9B0F-45AE2A0672C6}"/>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D4D46990-7962-4FD6-9E8A-8817F801DD31}"/>
              </a:ext>
            </a:extLst>
          </p:cNvPr>
          <p:cNvSpPr>
            <a:spLocks noGrp="1"/>
          </p:cNvSpPr>
          <p:nvPr>
            <p:ph type="sldNum" sz="quarter" idx="12"/>
          </p:nvPr>
        </p:nvSpPr>
        <p:spPr/>
        <p:txBody>
          <a:bodyPr/>
          <a:lstStyle/>
          <a:p>
            <a:fld id="{CE82B8A1-0CCE-4815-9668-383D7DE7D8B4}" type="slidenum">
              <a:rPr lang="en-US" noProof="0" smtClean="0"/>
              <a:t>35</a:t>
            </a:fld>
            <a:endParaRPr lang="en-US" noProof="0" dirty="0"/>
          </a:p>
        </p:txBody>
      </p:sp>
    </p:spTree>
    <p:extLst>
      <p:ext uri="{BB962C8B-B14F-4D97-AF65-F5344CB8AC3E}">
        <p14:creationId xmlns:p14="http://schemas.microsoft.com/office/powerpoint/2010/main" val="2909529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platzhalter 3">
            <a:extLst>
              <a:ext uri="{FF2B5EF4-FFF2-40B4-BE49-F238E27FC236}">
                <a16:creationId xmlns:a16="http://schemas.microsoft.com/office/drawing/2014/main" id="{79891948-7582-4D36-9ACD-ADBAFFB90E98}"/>
              </a:ext>
            </a:extLst>
          </p:cNvPr>
          <p:cNvSpPr txBox="1">
            <a:spLocks/>
          </p:cNvSpPr>
          <p:nvPr/>
        </p:nvSpPr>
        <p:spPr bwMode="gray">
          <a:xfrm>
            <a:off x="4440200" y="2636912"/>
            <a:ext cx="3312000" cy="288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2400" dirty="0">
                <a:solidFill>
                  <a:schemeClr val="accent5"/>
                </a:solidFill>
              </a:rPr>
              <a:t>Cons</a:t>
            </a:r>
          </a:p>
        </p:txBody>
      </p:sp>
      <p:sp>
        <p:nvSpPr>
          <p:cNvPr id="19" name="Textplatzhalter 3">
            <a:extLst>
              <a:ext uri="{FF2B5EF4-FFF2-40B4-BE49-F238E27FC236}">
                <a16:creationId xmlns:a16="http://schemas.microsoft.com/office/drawing/2014/main" id="{84046F9A-DD8F-4CEA-8868-4AC1722E4D31}"/>
              </a:ext>
            </a:extLst>
          </p:cNvPr>
          <p:cNvSpPr txBox="1">
            <a:spLocks/>
          </p:cNvSpPr>
          <p:nvPr/>
        </p:nvSpPr>
        <p:spPr bwMode="gray">
          <a:xfrm>
            <a:off x="623392" y="2644512"/>
            <a:ext cx="3384000" cy="288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2400" dirty="0">
                <a:solidFill>
                  <a:schemeClr val="accent5"/>
                </a:solidFill>
              </a:rPr>
              <a:t>Pros</a:t>
            </a:r>
          </a:p>
        </p:txBody>
      </p:sp>
      <p:sp>
        <p:nvSpPr>
          <p:cNvPr id="2" name="Titel 1">
            <a:extLst>
              <a:ext uri="{FF2B5EF4-FFF2-40B4-BE49-F238E27FC236}">
                <a16:creationId xmlns:a16="http://schemas.microsoft.com/office/drawing/2014/main" id="{83841759-4DBB-4B72-991F-740130EC9A8A}"/>
              </a:ext>
            </a:extLst>
          </p:cNvPr>
          <p:cNvSpPr>
            <a:spLocks noGrp="1"/>
          </p:cNvSpPr>
          <p:nvPr>
            <p:ph type="title"/>
          </p:nvPr>
        </p:nvSpPr>
        <p:spPr bwMode="gray"/>
        <p:txBody>
          <a:bodyPr/>
          <a:lstStyle/>
          <a:p>
            <a:r>
              <a:rPr lang="en-US" dirty="0"/>
              <a:t>Juxtaposition including conclusion</a:t>
            </a:r>
          </a:p>
        </p:txBody>
      </p:sp>
      <p:sp>
        <p:nvSpPr>
          <p:cNvPr id="4" name="Textplatzhalter 15">
            <a:extLst>
              <a:ext uri="{FF2B5EF4-FFF2-40B4-BE49-F238E27FC236}">
                <a16:creationId xmlns:a16="http://schemas.microsoft.com/office/drawing/2014/main" id="{5DC8D263-7983-4F94-BFB4-86959FFFFCD7}"/>
              </a:ext>
            </a:extLst>
          </p:cNvPr>
          <p:cNvSpPr txBox="1">
            <a:spLocks/>
          </p:cNvSpPr>
          <p:nvPr/>
        </p:nvSpPr>
        <p:spPr bwMode="gray">
          <a:xfrm>
            <a:off x="623392" y="3069320"/>
            <a:ext cx="3384000" cy="3240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Maecenas porttitor congue massa. Fusce posuere, magna sed pulvinar ultricies, purus lectus malesuada libero, sit amet commodo magna eros quis </a:t>
            </a:r>
            <a:r>
              <a:rPr lang="en-US" dirty="0" err="1"/>
              <a:t>urna</a:t>
            </a:r>
            <a:r>
              <a:rPr lang="en-US" dirty="0"/>
              <a:t>.</a:t>
            </a:r>
          </a:p>
          <a:p>
            <a:pPr lvl="2"/>
            <a:r>
              <a:rPr lang="en-US" dirty="0"/>
              <a:t>Nunc viverra imperdiet enim </a:t>
            </a:r>
            <a:br>
              <a:rPr lang="en-US" dirty="0"/>
            </a:br>
            <a:r>
              <a:rPr lang="en-US" dirty="0"/>
              <a:t>Fusce est. Vivamus a tellus</a:t>
            </a:r>
          </a:p>
          <a:p>
            <a:pPr lvl="2"/>
            <a:r>
              <a:rPr lang="en-US" dirty="0"/>
              <a:t>Pellentesque habitant morbi tristique senectus et netus et malesuada fames ac turpis egestas</a:t>
            </a:r>
          </a:p>
          <a:p>
            <a:pPr lvl="2"/>
            <a:r>
              <a:rPr lang="en-US" dirty="0"/>
              <a:t>Proin pharetra nonummy pede</a:t>
            </a:r>
          </a:p>
        </p:txBody>
      </p:sp>
      <p:sp>
        <p:nvSpPr>
          <p:cNvPr id="5" name="Textplatzhalter 15">
            <a:extLst>
              <a:ext uri="{FF2B5EF4-FFF2-40B4-BE49-F238E27FC236}">
                <a16:creationId xmlns:a16="http://schemas.microsoft.com/office/drawing/2014/main" id="{590D22F3-5291-4D62-BAF4-3904AB417411}"/>
              </a:ext>
            </a:extLst>
          </p:cNvPr>
          <p:cNvSpPr txBox="1">
            <a:spLocks/>
          </p:cNvSpPr>
          <p:nvPr/>
        </p:nvSpPr>
        <p:spPr bwMode="gray">
          <a:xfrm>
            <a:off x="4440200" y="3068825"/>
            <a:ext cx="3312000" cy="3240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Maecenas porttitor congue massa. Fusce posuere, magna sed pulvinar ultricies, purus lectus malesuada libero, sit amet commodo magna eros quis </a:t>
            </a:r>
            <a:r>
              <a:rPr lang="en-US" dirty="0" err="1"/>
              <a:t>urna</a:t>
            </a:r>
            <a:r>
              <a:rPr lang="en-US" dirty="0"/>
              <a:t>.</a:t>
            </a:r>
          </a:p>
          <a:p>
            <a:pPr lvl="2"/>
            <a:r>
              <a:rPr lang="en-US" dirty="0"/>
              <a:t>Nunc viverra imperdiet enim </a:t>
            </a:r>
            <a:br>
              <a:rPr lang="en-US" dirty="0"/>
            </a:br>
            <a:r>
              <a:rPr lang="en-US" dirty="0"/>
              <a:t>Fusce est. Vivamus a tellus</a:t>
            </a:r>
          </a:p>
          <a:p>
            <a:pPr lvl="2"/>
            <a:r>
              <a:rPr lang="en-US" dirty="0"/>
              <a:t>Pellentesque habitant morbi tristique senectus et netus et malesuada fames ac turpis egestas</a:t>
            </a:r>
          </a:p>
          <a:p>
            <a:pPr lvl="2"/>
            <a:r>
              <a:rPr lang="en-US" dirty="0"/>
              <a:t>Proin pharetra nonummy pede</a:t>
            </a:r>
          </a:p>
        </p:txBody>
      </p:sp>
      <p:sp>
        <p:nvSpPr>
          <p:cNvPr id="12" name="Textfeld 11">
            <a:extLst>
              <a:ext uri="{FF2B5EF4-FFF2-40B4-BE49-F238E27FC236}">
                <a16:creationId xmlns:a16="http://schemas.microsoft.com/office/drawing/2014/main" id="{E2DB6CD1-BD86-4FFA-9B5B-F1E1C8525348}"/>
              </a:ext>
            </a:extLst>
          </p:cNvPr>
          <p:cNvSpPr txBox="1">
            <a:spLocks/>
          </p:cNvSpPr>
          <p:nvPr/>
        </p:nvSpPr>
        <p:spPr bwMode="gray">
          <a:xfrm>
            <a:off x="8184607" y="728672"/>
            <a:ext cx="4007393" cy="4860568"/>
          </a:xfrm>
          <a:custGeom>
            <a:avLst/>
            <a:gdLst>
              <a:gd name="connsiteX0" fmla="*/ 2430284 w 4007393"/>
              <a:gd name="connsiteY0" fmla="*/ 0 h 4860568"/>
              <a:gd name="connsiteX1" fmla="*/ 3976170 w 4007393"/>
              <a:gd name="connsiteY1" fmla="*/ 554959 h 4860568"/>
              <a:gd name="connsiteX2" fmla="*/ 4007393 w 4007393"/>
              <a:gd name="connsiteY2" fmla="*/ 583336 h 4860568"/>
              <a:gd name="connsiteX3" fmla="*/ 4007393 w 4007393"/>
              <a:gd name="connsiteY3" fmla="*/ 4277233 h 4860568"/>
              <a:gd name="connsiteX4" fmla="*/ 3976170 w 4007393"/>
              <a:gd name="connsiteY4" fmla="*/ 4305610 h 4860568"/>
              <a:gd name="connsiteX5" fmla="*/ 2430284 w 4007393"/>
              <a:gd name="connsiteY5" fmla="*/ 4860568 h 4860568"/>
              <a:gd name="connsiteX6" fmla="*/ 0 w 4007393"/>
              <a:gd name="connsiteY6" fmla="*/ 2430284 h 4860568"/>
              <a:gd name="connsiteX7" fmla="*/ 2430284 w 4007393"/>
              <a:gd name="connsiteY7" fmla="*/ 0 h 4860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07393" h="4860568">
                <a:moveTo>
                  <a:pt x="2430284" y="0"/>
                </a:moveTo>
                <a:cubicBezTo>
                  <a:pt x="3017501" y="0"/>
                  <a:pt x="3556074" y="208265"/>
                  <a:pt x="3976170" y="554959"/>
                </a:cubicBezTo>
                <a:lnTo>
                  <a:pt x="4007393" y="583336"/>
                </a:lnTo>
                <a:lnTo>
                  <a:pt x="4007393" y="4277233"/>
                </a:lnTo>
                <a:lnTo>
                  <a:pt x="3976170" y="4305610"/>
                </a:lnTo>
                <a:cubicBezTo>
                  <a:pt x="3556074" y="4652304"/>
                  <a:pt x="3017501" y="4860568"/>
                  <a:pt x="2430284" y="4860568"/>
                </a:cubicBezTo>
                <a:cubicBezTo>
                  <a:pt x="1088075" y="4860568"/>
                  <a:pt x="0" y="3772493"/>
                  <a:pt x="0" y="2430284"/>
                </a:cubicBezTo>
                <a:cubicBezTo>
                  <a:pt x="0" y="1088075"/>
                  <a:pt x="1088075" y="0"/>
                  <a:pt x="2430284" y="0"/>
                </a:cubicBezTo>
                <a:close/>
              </a:path>
            </a:pathLst>
          </a:custGeom>
          <a:solidFill>
            <a:schemeClr val="bg2"/>
          </a:solidFill>
          <a:ln>
            <a:noFill/>
          </a:ln>
        </p:spPr>
        <p:txBody>
          <a:bodyPr wrap="square" lIns="576000" tIns="1620000" rIns="576000" bIns="3600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sz="2400" dirty="0">
                <a:solidFill>
                  <a:schemeClr val="accent5"/>
                </a:solidFill>
              </a:rPr>
              <a:t>Conclusion</a:t>
            </a:r>
          </a:p>
          <a:p>
            <a:pPr lvl="1"/>
            <a:r>
              <a:rPr lang="en-US" dirty="0"/>
              <a:t>Maecenas porttitor congue massa. Fusce posuere, magna sed pulvinar ultricies, purus lectus malesuada libero, sit amet commodo magna eros quis urna.</a:t>
            </a:r>
          </a:p>
        </p:txBody>
      </p:sp>
      <p:cxnSp>
        <p:nvCxnSpPr>
          <p:cNvPr id="14" name="Gerader Verbinder 13">
            <a:extLst>
              <a:ext uri="{FF2B5EF4-FFF2-40B4-BE49-F238E27FC236}">
                <a16:creationId xmlns:a16="http://schemas.microsoft.com/office/drawing/2014/main" id="{0A8E6C49-DEFB-43AC-9517-08A4FB4D3CAA}"/>
              </a:ext>
            </a:extLst>
          </p:cNvPr>
          <p:cNvCxnSpPr>
            <a:cxnSpLocks/>
          </p:cNvCxnSpPr>
          <p:nvPr/>
        </p:nvCxnSpPr>
        <p:spPr bwMode="gray">
          <a:xfrm>
            <a:off x="10380656" y="2636912"/>
            <a:ext cx="1188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29ABD78-BEA0-41C9-A05D-10521455C530}"/>
              </a:ext>
            </a:extLst>
          </p:cNvPr>
          <p:cNvCxnSpPr>
            <a:cxnSpLocks/>
          </p:cNvCxnSpPr>
          <p:nvPr/>
        </p:nvCxnSpPr>
        <p:spPr bwMode="gray">
          <a:xfrm flipH="1">
            <a:off x="1379768" y="2924944"/>
            <a:ext cx="2628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CBA240DA-7955-4EB9-94C5-53DDE24E9E8F}"/>
              </a:ext>
            </a:extLst>
          </p:cNvPr>
          <p:cNvCxnSpPr>
            <a:cxnSpLocks/>
          </p:cNvCxnSpPr>
          <p:nvPr/>
        </p:nvCxnSpPr>
        <p:spPr bwMode="gray">
          <a:xfrm>
            <a:off x="5268184" y="2924944"/>
            <a:ext cx="2484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6" name="Fußzeilenplatzhalter 5">
            <a:extLst>
              <a:ext uri="{FF2B5EF4-FFF2-40B4-BE49-F238E27FC236}">
                <a16:creationId xmlns:a16="http://schemas.microsoft.com/office/drawing/2014/main" id="{EA5F6242-B3DC-476F-9691-73B3B277B993}"/>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89A5BF0B-29A8-4312-B01D-6126BCC38318}"/>
              </a:ext>
            </a:extLst>
          </p:cNvPr>
          <p:cNvSpPr>
            <a:spLocks noGrp="1"/>
          </p:cNvSpPr>
          <p:nvPr>
            <p:ph type="sldNum" sz="quarter" idx="12"/>
          </p:nvPr>
        </p:nvSpPr>
        <p:spPr/>
        <p:txBody>
          <a:bodyPr/>
          <a:lstStyle/>
          <a:p>
            <a:fld id="{CE82B8A1-0CCE-4815-9668-383D7DE7D8B4}" type="slidenum">
              <a:rPr lang="en-US" noProof="0" smtClean="0"/>
              <a:t>36</a:t>
            </a:fld>
            <a:endParaRPr lang="en-US" noProof="0" dirty="0"/>
          </a:p>
        </p:txBody>
      </p:sp>
    </p:spTree>
    <p:extLst>
      <p:ext uri="{BB962C8B-B14F-4D97-AF65-F5344CB8AC3E}">
        <p14:creationId xmlns:p14="http://schemas.microsoft.com/office/powerpoint/2010/main" val="425817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BAA880E1-08F5-4285-AE59-6E1B15D87169}"/>
              </a:ext>
            </a:extLst>
          </p:cNvPr>
          <p:cNvSpPr>
            <a:spLocks noGrp="1"/>
          </p:cNvSpPr>
          <p:nvPr>
            <p:ph type="title"/>
          </p:nvPr>
        </p:nvSpPr>
        <p:spPr bwMode="gray"/>
        <p:txBody>
          <a:bodyPr/>
          <a:lstStyle/>
          <a:p>
            <a:r>
              <a:rPr lang="en-US" dirty="0"/>
              <a:t>Text and traffic lights with highlighting</a:t>
            </a:r>
          </a:p>
        </p:txBody>
      </p:sp>
      <p:sp>
        <p:nvSpPr>
          <p:cNvPr id="6" name="Textplatzhalter 4">
            <a:extLst>
              <a:ext uri="{FF2B5EF4-FFF2-40B4-BE49-F238E27FC236}">
                <a16:creationId xmlns:a16="http://schemas.microsoft.com/office/drawing/2014/main" id="{5902B3F1-61EE-4380-B9F1-2A22EC4C34D7}"/>
              </a:ext>
            </a:extLst>
          </p:cNvPr>
          <p:cNvSpPr txBox="1">
            <a:spLocks/>
          </p:cNvSpPr>
          <p:nvPr/>
        </p:nvSpPr>
        <p:spPr bwMode="gray">
          <a:xfrm>
            <a:off x="623392" y="3933215"/>
            <a:ext cx="2952000" cy="2375510"/>
          </a:xfrm>
          <a:prstGeom prst="rect">
            <a:avLst/>
          </a:prstGeom>
        </p:spPr>
        <p:txBody>
          <a:bodyPr vert="horz" lIns="0" tIns="0" rIns="0" bIns="0" rtlCol="0" anchor="t">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dirty="0"/>
              <a:t>Lorem ipsum dolor sit amet, consectetuer adipiscing elit </a:t>
            </a:r>
            <a:r>
              <a:rPr lang="en-US" dirty="0">
                <a:latin typeface="+mn-lt"/>
              </a:rPr>
              <a:t>Maecenas porttitor congue</a:t>
            </a:r>
          </a:p>
          <a:p>
            <a:pPr lvl="1"/>
            <a:r>
              <a:rPr lang="en-US" dirty="0"/>
              <a:t>Massa. Fusce posuere, magna sed pulvinar ultricies, purus lectus malesuada libero, sit amet commodo</a:t>
            </a:r>
          </a:p>
        </p:txBody>
      </p:sp>
      <p:sp>
        <p:nvSpPr>
          <p:cNvPr id="10" name="Rechteck: abgerundete Ecken 9">
            <a:extLst>
              <a:ext uri="{FF2B5EF4-FFF2-40B4-BE49-F238E27FC236}">
                <a16:creationId xmlns:a16="http://schemas.microsoft.com/office/drawing/2014/main" id="{70746486-97D4-4453-B8CE-160E0E7ABD00}"/>
              </a:ext>
            </a:extLst>
          </p:cNvPr>
          <p:cNvSpPr/>
          <p:nvPr/>
        </p:nvSpPr>
        <p:spPr bwMode="gray">
          <a:xfrm>
            <a:off x="623888" y="2204864"/>
            <a:ext cx="648000" cy="1440000"/>
          </a:xfrm>
          <a:prstGeom prst="roundRect">
            <a:avLst>
              <a:gd name="adj" fmla="val 24131"/>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dirty="0">
              <a:solidFill>
                <a:schemeClr val="bg1"/>
              </a:solidFill>
            </a:endParaRPr>
          </a:p>
        </p:txBody>
      </p:sp>
      <p:sp>
        <p:nvSpPr>
          <p:cNvPr id="11" name="Ellipse 10">
            <a:extLst>
              <a:ext uri="{FF2B5EF4-FFF2-40B4-BE49-F238E27FC236}">
                <a16:creationId xmlns:a16="http://schemas.microsoft.com/office/drawing/2014/main" id="{DFA9E95B-4AFF-4A4F-BF45-AAB207BC19BF}"/>
              </a:ext>
            </a:extLst>
          </p:cNvPr>
          <p:cNvSpPr/>
          <p:nvPr/>
        </p:nvSpPr>
        <p:spPr bwMode="gray">
          <a:xfrm>
            <a:off x="803888" y="2380857"/>
            <a:ext cx="288000" cy="288000"/>
          </a:xfrm>
          <a:prstGeom prst="ellipse">
            <a:avLst/>
          </a:prstGeom>
          <a:solidFill>
            <a:srgbClr val="C00000"/>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12" name="Ellipse 11">
            <a:extLst>
              <a:ext uri="{FF2B5EF4-FFF2-40B4-BE49-F238E27FC236}">
                <a16:creationId xmlns:a16="http://schemas.microsoft.com/office/drawing/2014/main" id="{4951F4D6-0620-4A91-B019-BE7095209E3A}"/>
              </a:ext>
            </a:extLst>
          </p:cNvPr>
          <p:cNvSpPr/>
          <p:nvPr/>
        </p:nvSpPr>
        <p:spPr bwMode="gray">
          <a:xfrm>
            <a:off x="803888" y="2776861"/>
            <a:ext cx="288000" cy="288000"/>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13" name="Ellipse 12">
            <a:extLst>
              <a:ext uri="{FF2B5EF4-FFF2-40B4-BE49-F238E27FC236}">
                <a16:creationId xmlns:a16="http://schemas.microsoft.com/office/drawing/2014/main" id="{7550DAA5-E0AD-4AB0-82C7-3A580BD0B809}"/>
              </a:ext>
            </a:extLst>
          </p:cNvPr>
          <p:cNvSpPr/>
          <p:nvPr/>
        </p:nvSpPr>
        <p:spPr bwMode="gray">
          <a:xfrm>
            <a:off x="803888" y="3173022"/>
            <a:ext cx="288000" cy="288000"/>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20" name="Textplatzhalter 4">
            <a:extLst>
              <a:ext uri="{FF2B5EF4-FFF2-40B4-BE49-F238E27FC236}">
                <a16:creationId xmlns:a16="http://schemas.microsoft.com/office/drawing/2014/main" id="{D1601D7C-AA4F-4B33-8940-B3E555BE1FC9}"/>
              </a:ext>
            </a:extLst>
          </p:cNvPr>
          <p:cNvSpPr txBox="1">
            <a:spLocks/>
          </p:cNvSpPr>
          <p:nvPr/>
        </p:nvSpPr>
        <p:spPr bwMode="gray">
          <a:xfrm>
            <a:off x="4620000" y="3933215"/>
            <a:ext cx="2952000" cy="2375510"/>
          </a:xfrm>
          <a:prstGeom prst="rect">
            <a:avLst/>
          </a:prstGeom>
        </p:spPr>
        <p:txBody>
          <a:bodyPr vert="horz" lIns="0" tIns="0" rIns="0" bIns="0" rtlCol="0" anchor="t">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dirty="0"/>
              <a:t>Lorem ipsum dolor sit amet, consectetuer adipiscing elit </a:t>
            </a:r>
            <a:r>
              <a:rPr lang="en-US" dirty="0">
                <a:latin typeface="+mn-lt"/>
              </a:rPr>
              <a:t>Maecenas porttitor congue</a:t>
            </a:r>
          </a:p>
          <a:p>
            <a:pPr lvl="1"/>
            <a:r>
              <a:rPr lang="en-US" dirty="0"/>
              <a:t>Massa. Fusce posuere, magna sed pulvinar ultricies, purus lectus malesuada libero, sit amet commodo</a:t>
            </a:r>
          </a:p>
        </p:txBody>
      </p:sp>
      <p:sp>
        <p:nvSpPr>
          <p:cNvPr id="22" name="Rechteck: abgerundete Ecken 21">
            <a:extLst>
              <a:ext uri="{FF2B5EF4-FFF2-40B4-BE49-F238E27FC236}">
                <a16:creationId xmlns:a16="http://schemas.microsoft.com/office/drawing/2014/main" id="{DE4CB53F-13EE-4E0B-8B78-B6CBD488E48D}"/>
              </a:ext>
            </a:extLst>
          </p:cNvPr>
          <p:cNvSpPr/>
          <p:nvPr/>
        </p:nvSpPr>
        <p:spPr bwMode="gray">
          <a:xfrm>
            <a:off x="4620496" y="2204864"/>
            <a:ext cx="648000" cy="1440000"/>
          </a:xfrm>
          <a:prstGeom prst="roundRect">
            <a:avLst>
              <a:gd name="adj" fmla="val 24131"/>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dirty="0">
              <a:solidFill>
                <a:schemeClr val="bg1"/>
              </a:solidFill>
            </a:endParaRPr>
          </a:p>
        </p:txBody>
      </p:sp>
      <p:sp>
        <p:nvSpPr>
          <p:cNvPr id="24" name="Ellipse 23">
            <a:extLst>
              <a:ext uri="{FF2B5EF4-FFF2-40B4-BE49-F238E27FC236}">
                <a16:creationId xmlns:a16="http://schemas.microsoft.com/office/drawing/2014/main" id="{00353A46-F60E-430D-BC0C-584FE231A634}"/>
              </a:ext>
            </a:extLst>
          </p:cNvPr>
          <p:cNvSpPr/>
          <p:nvPr/>
        </p:nvSpPr>
        <p:spPr bwMode="gray">
          <a:xfrm>
            <a:off x="4800496" y="2380857"/>
            <a:ext cx="288000" cy="288000"/>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25" name="Ellipse 24">
            <a:extLst>
              <a:ext uri="{FF2B5EF4-FFF2-40B4-BE49-F238E27FC236}">
                <a16:creationId xmlns:a16="http://schemas.microsoft.com/office/drawing/2014/main" id="{426E8F8D-3C72-4037-96B6-C0C741C19B97}"/>
              </a:ext>
            </a:extLst>
          </p:cNvPr>
          <p:cNvSpPr/>
          <p:nvPr/>
        </p:nvSpPr>
        <p:spPr bwMode="gray">
          <a:xfrm>
            <a:off x="4800496" y="2776861"/>
            <a:ext cx="288000" cy="288000"/>
          </a:xfrm>
          <a:prstGeom prst="ellipse">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26" name="Ellipse 25">
            <a:extLst>
              <a:ext uri="{FF2B5EF4-FFF2-40B4-BE49-F238E27FC236}">
                <a16:creationId xmlns:a16="http://schemas.microsoft.com/office/drawing/2014/main" id="{AB3E4E1B-A52F-4F09-8783-86EF9E8AB77A}"/>
              </a:ext>
            </a:extLst>
          </p:cNvPr>
          <p:cNvSpPr/>
          <p:nvPr/>
        </p:nvSpPr>
        <p:spPr bwMode="gray">
          <a:xfrm>
            <a:off x="4800496" y="3173022"/>
            <a:ext cx="288000" cy="288000"/>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28" name="Textplatzhalter 4">
            <a:extLst>
              <a:ext uri="{FF2B5EF4-FFF2-40B4-BE49-F238E27FC236}">
                <a16:creationId xmlns:a16="http://schemas.microsoft.com/office/drawing/2014/main" id="{1F1E017F-0AE5-4C5D-BE28-D7B8EF0EFB59}"/>
              </a:ext>
            </a:extLst>
          </p:cNvPr>
          <p:cNvSpPr txBox="1">
            <a:spLocks/>
          </p:cNvSpPr>
          <p:nvPr/>
        </p:nvSpPr>
        <p:spPr bwMode="gray">
          <a:xfrm>
            <a:off x="8616608" y="3933215"/>
            <a:ext cx="2952000" cy="2375510"/>
          </a:xfrm>
          <a:prstGeom prst="rect">
            <a:avLst/>
          </a:prstGeom>
        </p:spPr>
        <p:txBody>
          <a:bodyPr vert="horz" lIns="0" tIns="0" rIns="0" bIns="0" rtlCol="0" anchor="t">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dirty="0"/>
              <a:t>Lorem ipsum dolor sit amet, consectetuer adipiscing elit </a:t>
            </a:r>
            <a:r>
              <a:rPr lang="en-US" dirty="0">
                <a:latin typeface="+mn-lt"/>
              </a:rPr>
              <a:t>Maecenas porttitor congue</a:t>
            </a:r>
          </a:p>
          <a:p>
            <a:pPr lvl="1"/>
            <a:r>
              <a:rPr lang="en-US" dirty="0"/>
              <a:t>Massa. Fusce posuere, magna sed pulvinar ultricies, purus lectus malesuada libero, sit amet commodo</a:t>
            </a:r>
          </a:p>
        </p:txBody>
      </p:sp>
      <p:sp>
        <p:nvSpPr>
          <p:cNvPr id="30" name="Rechteck: abgerundete Ecken 29">
            <a:extLst>
              <a:ext uri="{FF2B5EF4-FFF2-40B4-BE49-F238E27FC236}">
                <a16:creationId xmlns:a16="http://schemas.microsoft.com/office/drawing/2014/main" id="{A34C3B39-57AC-4B47-9D6B-773B9D82B77A}"/>
              </a:ext>
            </a:extLst>
          </p:cNvPr>
          <p:cNvSpPr/>
          <p:nvPr/>
        </p:nvSpPr>
        <p:spPr bwMode="gray">
          <a:xfrm>
            <a:off x="8617104" y="2204864"/>
            <a:ext cx="648000" cy="1440000"/>
          </a:xfrm>
          <a:prstGeom prst="roundRect">
            <a:avLst>
              <a:gd name="adj" fmla="val 24131"/>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dirty="0">
              <a:solidFill>
                <a:schemeClr val="bg1"/>
              </a:solidFill>
            </a:endParaRPr>
          </a:p>
        </p:txBody>
      </p:sp>
      <p:sp>
        <p:nvSpPr>
          <p:cNvPr id="32" name="Ellipse 31">
            <a:extLst>
              <a:ext uri="{FF2B5EF4-FFF2-40B4-BE49-F238E27FC236}">
                <a16:creationId xmlns:a16="http://schemas.microsoft.com/office/drawing/2014/main" id="{41C3D7F7-CB9E-44F5-9768-69EFB61106F8}"/>
              </a:ext>
            </a:extLst>
          </p:cNvPr>
          <p:cNvSpPr/>
          <p:nvPr/>
        </p:nvSpPr>
        <p:spPr bwMode="gray">
          <a:xfrm>
            <a:off x="8797104" y="2380857"/>
            <a:ext cx="288000" cy="288000"/>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33" name="Ellipse 32">
            <a:extLst>
              <a:ext uri="{FF2B5EF4-FFF2-40B4-BE49-F238E27FC236}">
                <a16:creationId xmlns:a16="http://schemas.microsoft.com/office/drawing/2014/main" id="{996B761E-7656-40BD-9A6D-12D54945AD83}"/>
              </a:ext>
            </a:extLst>
          </p:cNvPr>
          <p:cNvSpPr/>
          <p:nvPr/>
        </p:nvSpPr>
        <p:spPr bwMode="gray">
          <a:xfrm>
            <a:off x="8797104" y="2776861"/>
            <a:ext cx="288000" cy="288000"/>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34" name="Ellipse 33">
            <a:extLst>
              <a:ext uri="{FF2B5EF4-FFF2-40B4-BE49-F238E27FC236}">
                <a16:creationId xmlns:a16="http://schemas.microsoft.com/office/drawing/2014/main" id="{3BFD02F3-50A7-4E60-A6E1-5CF669D3D64B}"/>
              </a:ext>
            </a:extLst>
          </p:cNvPr>
          <p:cNvSpPr/>
          <p:nvPr/>
        </p:nvSpPr>
        <p:spPr bwMode="gray">
          <a:xfrm>
            <a:off x="8797104" y="3173022"/>
            <a:ext cx="288000" cy="288000"/>
          </a:xfrm>
          <a:prstGeom prst="ellipse">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cxnSp>
        <p:nvCxnSpPr>
          <p:cNvPr id="47" name="Gerader Verbinder 46">
            <a:extLst>
              <a:ext uri="{FF2B5EF4-FFF2-40B4-BE49-F238E27FC236}">
                <a16:creationId xmlns:a16="http://schemas.microsoft.com/office/drawing/2014/main" id="{5E689EAA-B2C5-407D-A4F6-B7A6E693BE8F}"/>
              </a:ext>
            </a:extLst>
          </p:cNvPr>
          <p:cNvCxnSpPr>
            <a:cxnSpLocks/>
          </p:cNvCxnSpPr>
          <p:nvPr/>
        </p:nvCxnSpPr>
        <p:spPr bwMode="gray">
          <a:xfrm flipH="1">
            <a:off x="1415392" y="3644864"/>
            <a:ext cx="2160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B6F1A012-0A88-4865-8A86-DCAAEAA483C9}"/>
              </a:ext>
            </a:extLst>
          </p:cNvPr>
          <p:cNvCxnSpPr>
            <a:cxnSpLocks/>
          </p:cNvCxnSpPr>
          <p:nvPr/>
        </p:nvCxnSpPr>
        <p:spPr bwMode="gray">
          <a:xfrm flipH="1">
            <a:off x="5412000" y="3644864"/>
            <a:ext cx="2160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D0EF4A10-9D05-4CCD-A26F-5B098C831084}"/>
              </a:ext>
            </a:extLst>
          </p:cNvPr>
          <p:cNvCxnSpPr>
            <a:cxnSpLocks/>
          </p:cNvCxnSpPr>
          <p:nvPr/>
        </p:nvCxnSpPr>
        <p:spPr bwMode="gray">
          <a:xfrm flipH="1">
            <a:off x="9408608" y="3644864"/>
            <a:ext cx="2160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3" name="Fußzeilenplatzhalter 2">
            <a:extLst>
              <a:ext uri="{FF2B5EF4-FFF2-40B4-BE49-F238E27FC236}">
                <a16:creationId xmlns:a16="http://schemas.microsoft.com/office/drawing/2014/main" id="{41BEEBA1-E53C-41FD-8769-4F3F18BE6B1B}"/>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6A5788FC-808A-4A73-9209-C3EF2D876507}"/>
              </a:ext>
            </a:extLst>
          </p:cNvPr>
          <p:cNvSpPr>
            <a:spLocks noGrp="1"/>
          </p:cNvSpPr>
          <p:nvPr>
            <p:ph type="sldNum" sz="quarter" idx="12"/>
          </p:nvPr>
        </p:nvSpPr>
        <p:spPr/>
        <p:txBody>
          <a:bodyPr/>
          <a:lstStyle/>
          <a:p>
            <a:fld id="{CE82B8A1-0CCE-4815-9668-383D7DE7D8B4}" type="slidenum">
              <a:rPr lang="en-US" noProof="0" smtClean="0"/>
              <a:t>37</a:t>
            </a:fld>
            <a:endParaRPr lang="en-US" noProof="0" dirty="0"/>
          </a:p>
        </p:txBody>
      </p:sp>
    </p:spTree>
    <p:extLst>
      <p:ext uri="{BB962C8B-B14F-4D97-AF65-F5344CB8AC3E}">
        <p14:creationId xmlns:p14="http://schemas.microsoft.com/office/powerpoint/2010/main" val="6230600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BAA880E1-08F5-4285-AE59-6E1B15D87169}"/>
              </a:ext>
            </a:extLst>
          </p:cNvPr>
          <p:cNvSpPr>
            <a:spLocks noGrp="1"/>
          </p:cNvSpPr>
          <p:nvPr>
            <p:ph type="title"/>
          </p:nvPr>
        </p:nvSpPr>
        <p:spPr bwMode="gray"/>
        <p:txBody>
          <a:bodyPr/>
          <a:lstStyle/>
          <a:p>
            <a:r>
              <a:rPr lang="en-US" dirty="0"/>
              <a:t>Table and traffic lights with highlighting</a:t>
            </a:r>
          </a:p>
        </p:txBody>
      </p:sp>
      <p:graphicFrame>
        <p:nvGraphicFramePr>
          <p:cNvPr id="21" name="Inhaltsplatzhalter 6">
            <a:extLst>
              <a:ext uri="{FF2B5EF4-FFF2-40B4-BE49-F238E27FC236}">
                <a16:creationId xmlns:a16="http://schemas.microsoft.com/office/drawing/2014/main" id="{E7735FB2-FE83-4DBA-9FBA-2FE8BE8D9707}"/>
              </a:ext>
            </a:extLst>
          </p:cNvPr>
          <p:cNvGraphicFramePr>
            <a:graphicFrameLocks/>
          </p:cNvGraphicFramePr>
          <p:nvPr>
            <p:extLst>
              <p:ext uri="{D42A27DB-BD31-4B8C-83A1-F6EECF244321}">
                <p14:modId xmlns:p14="http://schemas.microsoft.com/office/powerpoint/2010/main" val="1470527540"/>
              </p:ext>
            </p:extLst>
          </p:nvPr>
        </p:nvGraphicFramePr>
        <p:xfrm>
          <a:off x="623392" y="1773238"/>
          <a:ext cx="10944718" cy="3060178"/>
        </p:xfrm>
        <a:graphic>
          <a:graphicData uri="http://schemas.openxmlformats.org/drawingml/2006/table">
            <a:tbl>
              <a:tblPr firstRow="1" firstCol="1" lastRow="1" lastCol="1">
                <a:tableStyleId>{0E3FDE45-AF77-4B5C-9715-49D594BDF05E}</a:tableStyleId>
              </a:tblPr>
              <a:tblGrid>
                <a:gridCol w="4032448">
                  <a:extLst>
                    <a:ext uri="{9D8B030D-6E8A-4147-A177-3AD203B41FA5}">
                      <a16:colId xmlns:a16="http://schemas.microsoft.com/office/drawing/2014/main" val="1532515492"/>
                    </a:ext>
                  </a:extLst>
                </a:gridCol>
                <a:gridCol w="2304090">
                  <a:extLst>
                    <a:ext uri="{9D8B030D-6E8A-4147-A177-3AD203B41FA5}">
                      <a16:colId xmlns:a16="http://schemas.microsoft.com/office/drawing/2014/main" val="1046473389"/>
                    </a:ext>
                  </a:extLst>
                </a:gridCol>
                <a:gridCol w="2304090">
                  <a:extLst>
                    <a:ext uri="{9D8B030D-6E8A-4147-A177-3AD203B41FA5}">
                      <a16:colId xmlns:a16="http://schemas.microsoft.com/office/drawing/2014/main" val="1542093804"/>
                    </a:ext>
                  </a:extLst>
                </a:gridCol>
                <a:gridCol w="2304090">
                  <a:extLst>
                    <a:ext uri="{9D8B030D-6E8A-4147-A177-3AD203B41FA5}">
                      <a16:colId xmlns:a16="http://schemas.microsoft.com/office/drawing/2014/main" val="499689590"/>
                    </a:ext>
                  </a:extLst>
                </a:gridCol>
              </a:tblGrid>
              <a:tr h="432809">
                <a:tc>
                  <a:txBody>
                    <a:bodyPr/>
                    <a:lstStyle/>
                    <a:p>
                      <a:r>
                        <a:rPr lang="en-US" sz="1400" b="0" dirty="0">
                          <a:solidFill>
                            <a:schemeClr val="accent5"/>
                          </a:solidFill>
                          <a:latin typeface="+mj-lt"/>
                        </a:rPr>
                        <a:t>Lorem ipsum</a:t>
                      </a:r>
                    </a:p>
                  </a:txBody>
                  <a:tcPr marT="90000" marB="900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400" b="0" dirty="0">
                          <a:solidFill>
                            <a:schemeClr val="accent5"/>
                          </a:solidFill>
                          <a:latin typeface="+mj-lt"/>
                        </a:rPr>
                        <a:t>Lorem ipsum</a:t>
                      </a:r>
                    </a:p>
                  </a:txBody>
                  <a:tcPr marT="90000" marB="900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400" b="0" dirty="0">
                          <a:solidFill>
                            <a:schemeClr val="accent5"/>
                          </a:solidFill>
                          <a:latin typeface="+mj-lt"/>
                        </a:rPr>
                        <a:t>Lorem ipsum</a:t>
                      </a:r>
                    </a:p>
                  </a:txBody>
                  <a:tcPr marT="90000" marB="900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400" b="0" dirty="0">
                          <a:solidFill>
                            <a:schemeClr val="accent5"/>
                          </a:solidFill>
                          <a:latin typeface="+mj-lt"/>
                        </a:rPr>
                        <a:t>Lorem ipsum</a:t>
                      </a:r>
                    </a:p>
                  </a:txBody>
                  <a:tcPr marT="90000" marB="90000" anchor="b">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64410155"/>
                  </a:ext>
                </a:extLst>
              </a:tr>
              <a:tr h="604747">
                <a:tc>
                  <a:txBody>
                    <a:bodyPr/>
                    <a:lstStyle/>
                    <a:p>
                      <a:r>
                        <a:rPr lang="es-ES" sz="1400" b="0" dirty="0">
                          <a:latin typeface="+mn-lt"/>
                        </a:rPr>
                        <a:t>Maecenas porttitor congue</a:t>
                      </a:r>
                    </a:p>
                    <a:p>
                      <a:r>
                        <a:rPr lang="es-ES" sz="1400" b="0" dirty="0">
                          <a:latin typeface="+mn-lt"/>
                        </a:rPr>
                        <a:t>Massa. Fusce posuere, magna</a:t>
                      </a:r>
                      <a:br>
                        <a:rPr lang="es-ES" sz="1400" b="0" dirty="0">
                          <a:latin typeface="+mn-lt"/>
                        </a:rPr>
                      </a:br>
                      <a:r>
                        <a:rPr lang="es-ES" sz="1400" b="0" dirty="0">
                          <a:latin typeface="+mn-lt"/>
                        </a:rPr>
                        <a:t>sed pulvinar ultricies, purus lectus </a:t>
                      </a:r>
                      <a:endParaRPr lang="en-US" sz="1400" b="0" dirty="0">
                        <a:latin typeface="+mn-lt"/>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endParaRPr lang="en-US" sz="1400" dirty="0">
                        <a:solidFill>
                          <a:schemeClr val="tx1"/>
                        </a:solidFill>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endParaRPr lang="en-US" sz="1400" dirty="0">
                        <a:solidFill>
                          <a:schemeClr val="tx1"/>
                        </a:solidFill>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endParaRPr lang="en-US" sz="1400" dirty="0">
                        <a:solidFill>
                          <a:schemeClr val="tx1"/>
                        </a:solidFill>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90007912"/>
                  </a:ext>
                </a:extLst>
              </a:tr>
              <a:tr h="6047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1E1E1E"/>
                          </a:solidFill>
                          <a:effectLst/>
                          <a:uLnTx/>
                          <a:uFillTx/>
                          <a:latin typeface="DraegerSanLig"/>
                          <a:ea typeface="+mn-ea"/>
                          <a:cs typeface="+mn-cs"/>
                        </a:rPr>
                        <a:t>Maecenas porttitor congu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1E1E1E"/>
                          </a:solidFill>
                          <a:effectLst/>
                          <a:uLnTx/>
                          <a:uFillTx/>
                          <a:latin typeface="DraegerSanLig"/>
                          <a:ea typeface="+mn-ea"/>
                          <a:cs typeface="+mn-cs"/>
                        </a:rPr>
                        <a:t>Massa. Fusce posuere, magna</a:t>
                      </a:r>
                      <a:br>
                        <a:rPr kumimoji="0" lang="es-ES" sz="1400" b="0" i="0" u="none" strike="noStrike" kern="1200" cap="none" spc="0" normalizeH="0" baseline="0" noProof="0" dirty="0">
                          <a:ln>
                            <a:noFill/>
                          </a:ln>
                          <a:solidFill>
                            <a:srgbClr val="1E1E1E"/>
                          </a:solidFill>
                          <a:effectLst/>
                          <a:uLnTx/>
                          <a:uFillTx/>
                          <a:latin typeface="DraegerSanLig"/>
                          <a:ea typeface="+mn-ea"/>
                          <a:cs typeface="+mn-cs"/>
                        </a:rPr>
                      </a:br>
                      <a:r>
                        <a:rPr kumimoji="0" lang="es-ES" sz="1400" b="0" i="0" u="none" strike="noStrike" kern="1200" cap="none" spc="0" normalizeH="0" baseline="0" noProof="0" dirty="0">
                          <a:ln>
                            <a:noFill/>
                          </a:ln>
                          <a:solidFill>
                            <a:srgbClr val="1E1E1E"/>
                          </a:solidFill>
                          <a:effectLst/>
                          <a:uLnTx/>
                          <a:uFillTx/>
                          <a:latin typeface="DraegerSanLig"/>
                          <a:ea typeface="+mn-ea"/>
                          <a:cs typeface="+mn-cs"/>
                        </a:rPr>
                        <a:t>sed pulvinar ultricies, purus lectus </a:t>
                      </a:r>
                      <a:endParaRPr kumimoji="0" lang="en-US" sz="1400" b="0" i="0" u="none" strike="noStrike" kern="1200" cap="none" spc="0" normalizeH="0" baseline="0" noProof="0" dirty="0">
                        <a:ln>
                          <a:noFill/>
                        </a:ln>
                        <a:solidFill>
                          <a:srgbClr val="1E1E1E"/>
                        </a:solidFill>
                        <a:effectLst/>
                        <a:uLnTx/>
                        <a:uFillTx/>
                        <a:latin typeface="DraegerSanLig"/>
                        <a:ea typeface="+mn-ea"/>
                        <a:cs typeface="+mn-cs"/>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endParaRPr lang="en-US" sz="1400" dirty="0">
                        <a:solidFill>
                          <a:schemeClr val="tx1"/>
                        </a:solidFill>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endParaRPr lang="en-US" sz="1400" dirty="0">
                        <a:solidFill>
                          <a:schemeClr val="tx1"/>
                        </a:solidFill>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endParaRPr lang="en-US" sz="1400" dirty="0">
                        <a:solidFill>
                          <a:schemeClr val="tx1"/>
                        </a:solidFill>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79876437"/>
                  </a:ext>
                </a:extLst>
              </a:tr>
              <a:tr h="6047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1E1E1E"/>
                          </a:solidFill>
                          <a:effectLst/>
                          <a:uLnTx/>
                          <a:uFillTx/>
                          <a:latin typeface="DraegerSanLig"/>
                          <a:ea typeface="+mn-ea"/>
                          <a:cs typeface="+mn-cs"/>
                        </a:rPr>
                        <a:t>Maecenas porttitor congu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rgbClr val="1E1E1E"/>
                          </a:solidFill>
                          <a:effectLst/>
                          <a:uLnTx/>
                          <a:uFillTx/>
                          <a:latin typeface="DraegerSanLig"/>
                          <a:ea typeface="+mn-ea"/>
                          <a:cs typeface="+mn-cs"/>
                        </a:rPr>
                        <a:t>Massa. Fusce posuere, magna</a:t>
                      </a:r>
                      <a:br>
                        <a:rPr kumimoji="0" lang="es-ES" sz="1400" b="0" i="0" u="none" strike="noStrike" kern="1200" cap="none" spc="0" normalizeH="0" baseline="0" noProof="0" dirty="0">
                          <a:ln>
                            <a:noFill/>
                          </a:ln>
                          <a:solidFill>
                            <a:srgbClr val="1E1E1E"/>
                          </a:solidFill>
                          <a:effectLst/>
                          <a:uLnTx/>
                          <a:uFillTx/>
                          <a:latin typeface="DraegerSanLig"/>
                          <a:ea typeface="+mn-ea"/>
                          <a:cs typeface="+mn-cs"/>
                        </a:rPr>
                      </a:br>
                      <a:r>
                        <a:rPr kumimoji="0" lang="es-ES" sz="1400" b="0" i="0" u="none" strike="noStrike" kern="1200" cap="none" spc="0" normalizeH="0" baseline="0" noProof="0" dirty="0">
                          <a:ln>
                            <a:noFill/>
                          </a:ln>
                          <a:solidFill>
                            <a:srgbClr val="1E1E1E"/>
                          </a:solidFill>
                          <a:effectLst/>
                          <a:uLnTx/>
                          <a:uFillTx/>
                          <a:latin typeface="DraegerSanLig"/>
                          <a:ea typeface="+mn-ea"/>
                          <a:cs typeface="+mn-cs"/>
                        </a:rPr>
                        <a:t>sed pulvinar ultricies, purus lectus </a:t>
                      </a:r>
                      <a:endParaRPr kumimoji="0" lang="en-US" sz="1400" b="0" i="0" u="none" strike="noStrike" kern="1200" cap="none" spc="0" normalizeH="0" baseline="0" noProof="0" dirty="0">
                        <a:ln>
                          <a:noFill/>
                        </a:ln>
                        <a:solidFill>
                          <a:srgbClr val="1E1E1E"/>
                        </a:solidFill>
                        <a:effectLst/>
                        <a:uLnTx/>
                        <a:uFillTx/>
                        <a:latin typeface="DraegerSanLig"/>
                        <a:ea typeface="+mn-ea"/>
                        <a:cs typeface="+mn-cs"/>
                      </a:endParaRPr>
                    </a:p>
                  </a:txBody>
                  <a:tcP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a:endParaRPr lang="en-US" sz="1400" dirty="0">
                        <a:solidFill>
                          <a:schemeClr val="tx1"/>
                        </a:solidFill>
                      </a:endParaRPr>
                    </a:p>
                  </a:txBody>
                  <a:tcP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endParaRPr lang="en-US" sz="1400" dirty="0">
                        <a:solidFill>
                          <a:schemeClr val="tx1"/>
                        </a:solidFill>
                      </a:endParaRPr>
                    </a:p>
                  </a:txBody>
                  <a:tcP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endParaRPr lang="en-US" sz="1400" dirty="0">
                        <a:solidFill>
                          <a:schemeClr val="tx1"/>
                        </a:solidFill>
                      </a:endParaRPr>
                    </a:p>
                  </a:txBody>
                  <a:tcPr>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68869702"/>
                  </a:ext>
                </a:extLst>
              </a:tr>
              <a:tr h="432809">
                <a:tc>
                  <a:txBody>
                    <a:bodyPr/>
                    <a:lstStyle/>
                    <a:p>
                      <a:r>
                        <a:rPr lang="en-US" sz="1400" b="0" dirty="0">
                          <a:solidFill>
                            <a:schemeClr val="accent1"/>
                          </a:solidFill>
                          <a:latin typeface="+mj-lt"/>
                        </a:rPr>
                        <a:t>Lorem ipsum</a:t>
                      </a:r>
                    </a:p>
                  </a:txBody>
                  <a:tcPr anchor="ct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es-ES" sz="1400" b="0" dirty="0">
                          <a:solidFill>
                            <a:schemeClr val="accent1"/>
                          </a:solidFill>
                          <a:latin typeface="+mj-lt"/>
                        </a:rPr>
                        <a:t>Fusce posuere</a:t>
                      </a:r>
                      <a:endParaRPr lang="en-US" sz="1400" b="0" dirty="0">
                        <a:solidFill>
                          <a:schemeClr val="accent1"/>
                        </a:solidFill>
                        <a:latin typeface="+mj-lt"/>
                      </a:endParaRPr>
                    </a:p>
                  </a:txBody>
                  <a:tcPr anchor="ct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chemeClr val="accent1"/>
                          </a:solidFill>
                          <a:effectLst/>
                          <a:uLnTx/>
                          <a:uFillTx/>
                          <a:latin typeface="DraegerSanBol"/>
                          <a:ea typeface="+mn-ea"/>
                          <a:cs typeface="+mn-cs"/>
                        </a:rPr>
                        <a:t>Fusce posuere</a:t>
                      </a:r>
                      <a:endParaRPr kumimoji="0" lang="en-US" sz="1400" b="0" i="0" u="none" strike="noStrike" kern="1200" cap="none" spc="0" normalizeH="0" baseline="0" noProof="0" dirty="0">
                        <a:ln>
                          <a:noFill/>
                        </a:ln>
                        <a:solidFill>
                          <a:schemeClr val="accent1"/>
                        </a:solidFill>
                        <a:effectLst/>
                        <a:uLnTx/>
                        <a:uFillTx/>
                        <a:latin typeface="DraegerSanBol"/>
                        <a:ea typeface="+mn-ea"/>
                        <a:cs typeface="+mn-cs"/>
                      </a:endParaRPr>
                    </a:p>
                  </a:txBody>
                  <a:tcPr anchor="ct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0" i="0" u="none" strike="noStrike" kern="1200" cap="none" spc="0" normalizeH="0" baseline="0" noProof="0" dirty="0">
                          <a:ln>
                            <a:noFill/>
                          </a:ln>
                          <a:solidFill>
                            <a:schemeClr val="accent1"/>
                          </a:solidFill>
                          <a:effectLst/>
                          <a:uLnTx/>
                          <a:uFillTx/>
                          <a:latin typeface="DraegerSanBol"/>
                          <a:ea typeface="+mn-ea"/>
                          <a:cs typeface="+mn-cs"/>
                        </a:rPr>
                        <a:t>Fusce posuere</a:t>
                      </a:r>
                      <a:endParaRPr kumimoji="0" lang="en-US" sz="1400" b="0" i="0" u="none" strike="noStrike" kern="1200" cap="none" spc="0" normalizeH="0" baseline="0" noProof="0" dirty="0">
                        <a:ln>
                          <a:noFill/>
                        </a:ln>
                        <a:solidFill>
                          <a:schemeClr val="accent1"/>
                        </a:solidFill>
                        <a:effectLst/>
                        <a:uLnTx/>
                        <a:uFillTx/>
                        <a:latin typeface="DraegerSanBol"/>
                        <a:ea typeface="+mn-ea"/>
                        <a:cs typeface="+mn-cs"/>
                      </a:endParaRPr>
                    </a:p>
                  </a:txBody>
                  <a:tcPr anchor="ct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54889565"/>
                  </a:ext>
                </a:extLst>
              </a:tr>
            </a:tbl>
          </a:graphicData>
        </a:graphic>
      </p:graphicFrame>
      <p:grpSp>
        <p:nvGrpSpPr>
          <p:cNvPr id="2" name="Gruppieren 1">
            <a:extLst>
              <a:ext uri="{FF2B5EF4-FFF2-40B4-BE49-F238E27FC236}">
                <a16:creationId xmlns:a16="http://schemas.microsoft.com/office/drawing/2014/main" id="{6A038B17-2DCD-4EC9-AAA9-F26334E5A270}"/>
              </a:ext>
            </a:extLst>
          </p:cNvPr>
          <p:cNvGrpSpPr>
            <a:grpSpLocks noChangeAspect="1"/>
          </p:cNvGrpSpPr>
          <p:nvPr/>
        </p:nvGrpSpPr>
        <p:grpSpPr bwMode="gray">
          <a:xfrm>
            <a:off x="623888" y="5805320"/>
            <a:ext cx="226800" cy="504000"/>
            <a:chOff x="623888" y="2204864"/>
            <a:chExt cx="648000" cy="1440000"/>
          </a:xfrm>
        </p:grpSpPr>
        <p:sp>
          <p:nvSpPr>
            <p:cNvPr id="23" name="Rechteck: abgerundete Ecken 22">
              <a:extLst>
                <a:ext uri="{FF2B5EF4-FFF2-40B4-BE49-F238E27FC236}">
                  <a16:creationId xmlns:a16="http://schemas.microsoft.com/office/drawing/2014/main" id="{026EF918-4EBE-49C6-B41F-F0C7FBA7B46B}"/>
                </a:ext>
              </a:extLst>
            </p:cNvPr>
            <p:cNvSpPr/>
            <p:nvPr/>
          </p:nvSpPr>
          <p:spPr bwMode="gray">
            <a:xfrm>
              <a:off x="623888" y="2204864"/>
              <a:ext cx="648000" cy="1440000"/>
            </a:xfrm>
            <a:prstGeom prst="roundRect">
              <a:avLst>
                <a:gd name="adj" fmla="val 24131"/>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dirty="0">
                <a:solidFill>
                  <a:schemeClr val="bg1"/>
                </a:solidFill>
              </a:endParaRPr>
            </a:p>
          </p:txBody>
        </p:sp>
        <p:sp>
          <p:nvSpPr>
            <p:cNvPr id="27" name="Ellipse 26">
              <a:extLst>
                <a:ext uri="{FF2B5EF4-FFF2-40B4-BE49-F238E27FC236}">
                  <a16:creationId xmlns:a16="http://schemas.microsoft.com/office/drawing/2014/main" id="{CDFE28F4-4EB4-46D6-A95E-43D26DB7D304}"/>
                </a:ext>
              </a:extLst>
            </p:cNvPr>
            <p:cNvSpPr/>
            <p:nvPr/>
          </p:nvSpPr>
          <p:spPr bwMode="gray">
            <a:xfrm>
              <a:off x="803888" y="2380857"/>
              <a:ext cx="288000" cy="28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29" name="Ellipse 28">
              <a:extLst>
                <a:ext uri="{FF2B5EF4-FFF2-40B4-BE49-F238E27FC236}">
                  <a16:creationId xmlns:a16="http://schemas.microsoft.com/office/drawing/2014/main" id="{1436C96C-6714-4075-A8E3-253A6305E269}"/>
                </a:ext>
              </a:extLst>
            </p:cNvPr>
            <p:cNvSpPr/>
            <p:nvPr/>
          </p:nvSpPr>
          <p:spPr bwMode="gray">
            <a:xfrm>
              <a:off x="803888" y="2776861"/>
              <a:ext cx="288000" cy="288000"/>
            </a:xfrm>
            <a:prstGeom prst="ellipse">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31" name="Ellipse 30">
              <a:extLst>
                <a:ext uri="{FF2B5EF4-FFF2-40B4-BE49-F238E27FC236}">
                  <a16:creationId xmlns:a16="http://schemas.microsoft.com/office/drawing/2014/main" id="{236BC205-24F1-4D56-A713-B4FE7265087E}"/>
                </a:ext>
              </a:extLst>
            </p:cNvPr>
            <p:cNvSpPr/>
            <p:nvPr/>
          </p:nvSpPr>
          <p:spPr bwMode="gray">
            <a:xfrm>
              <a:off x="803888" y="3173022"/>
              <a:ext cx="288000" cy="288000"/>
            </a:xfrm>
            <a:prstGeom prst="ellipse">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grpSp>
      <p:sp>
        <p:nvSpPr>
          <p:cNvPr id="35" name="Textplatzhalter 4">
            <a:extLst>
              <a:ext uri="{FF2B5EF4-FFF2-40B4-BE49-F238E27FC236}">
                <a16:creationId xmlns:a16="http://schemas.microsoft.com/office/drawing/2014/main" id="{7875F97C-D383-455B-B9AA-A23A29D2E748}"/>
              </a:ext>
            </a:extLst>
          </p:cNvPr>
          <p:cNvSpPr txBox="1">
            <a:spLocks/>
          </p:cNvSpPr>
          <p:nvPr/>
        </p:nvSpPr>
        <p:spPr bwMode="gray">
          <a:xfrm>
            <a:off x="911424" y="5805320"/>
            <a:ext cx="648072" cy="504000"/>
          </a:xfrm>
          <a:prstGeom prst="rect">
            <a:avLst/>
          </a:prstGeom>
        </p:spPr>
        <p:txBody>
          <a:bodyPr vert="horz" lIns="0" tIns="0" rIns="0" bIns="0" rtlCol="0" anchor="b">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sz="1100" dirty="0">
                <a:latin typeface="+mn-lt"/>
              </a:rPr>
              <a:t>Lorem ipsum dolor sit amet</a:t>
            </a:r>
          </a:p>
        </p:txBody>
      </p:sp>
      <p:grpSp>
        <p:nvGrpSpPr>
          <p:cNvPr id="7" name="Gruppieren 6">
            <a:extLst>
              <a:ext uri="{FF2B5EF4-FFF2-40B4-BE49-F238E27FC236}">
                <a16:creationId xmlns:a16="http://schemas.microsoft.com/office/drawing/2014/main" id="{522DECD8-789F-4FEF-9B05-979305BDD106}"/>
              </a:ext>
            </a:extLst>
          </p:cNvPr>
          <p:cNvGrpSpPr/>
          <p:nvPr/>
        </p:nvGrpSpPr>
        <p:grpSpPr bwMode="gray">
          <a:xfrm>
            <a:off x="2064048" y="5805320"/>
            <a:ext cx="226800" cy="504000"/>
            <a:chOff x="2064048" y="5805320"/>
            <a:chExt cx="226800" cy="504000"/>
          </a:xfrm>
        </p:grpSpPr>
        <p:sp>
          <p:nvSpPr>
            <p:cNvPr id="39" name="Rechteck: abgerundete Ecken 38">
              <a:extLst>
                <a:ext uri="{FF2B5EF4-FFF2-40B4-BE49-F238E27FC236}">
                  <a16:creationId xmlns:a16="http://schemas.microsoft.com/office/drawing/2014/main" id="{6FC09A81-B67A-4002-9020-E265F5197E8E}"/>
                </a:ext>
              </a:extLst>
            </p:cNvPr>
            <p:cNvSpPr/>
            <p:nvPr/>
          </p:nvSpPr>
          <p:spPr bwMode="gray">
            <a:xfrm>
              <a:off x="2064048" y="5805320"/>
              <a:ext cx="226800" cy="504000"/>
            </a:xfrm>
            <a:prstGeom prst="roundRect">
              <a:avLst>
                <a:gd name="adj" fmla="val 24131"/>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dirty="0">
                <a:solidFill>
                  <a:schemeClr val="bg1"/>
                </a:solidFill>
              </a:endParaRPr>
            </a:p>
          </p:txBody>
        </p:sp>
        <p:sp>
          <p:nvSpPr>
            <p:cNvPr id="40" name="Ellipse 39">
              <a:extLst>
                <a:ext uri="{FF2B5EF4-FFF2-40B4-BE49-F238E27FC236}">
                  <a16:creationId xmlns:a16="http://schemas.microsoft.com/office/drawing/2014/main" id="{C983CA6B-7BC2-45B0-99BF-EA386451BF33}"/>
                </a:ext>
              </a:extLst>
            </p:cNvPr>
            <p:cNvSpPr/>
            <p:nvPr/>
          </p:nvSpPr>
          <p:spPr bwMode="gray">
            <a:xfrm>
              <a:off x="2127048" y="5866918"/>
              <a:ext cx="100800" cy="100800"/>
            </a:xfrm>
            <a:prstGeom prst="ellipse">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41" name="Ellipse 40">
              <a:extLst>
                <a:ext uri="{FF2B5EF4-FFF2-40B4-BE49-F238E27FC236}">
                  <a16:creationId xmlns:a16="http://schemas.microsoft.com/office/drawing/2014/main" id="{C8C0672A-4D0E-4EBD-938C-43C070783E5D}"/>
                </a:ext>
              </a:extLst>
            </p:cNvPr>
            <p:cNvSpPr/>
            <p:nvPr/>
          </p:nvSpPr>
          <p:spPr bwMode="gray">
            <a:xfrm>
              <a:off x="2127048" y="6005519"/>
              <a:ext cx="100800" cy="100800"/>
            </a:xfrm>
            <a:prstGeom prst="ellipse">
              <a:avLst/>
            </a:prstGeom>
            <a:solidFill>
              <a:schemeClr val="accent6"/>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ctr"/>
              <a:endParaRPr lang="en-US" sz="1600" b="1" dirty="0">
                <a:solidFill>
                  <a:schemeClr val="bg1"/>
                </a:solidFill>
              </a:endParaRPr>
            </a:p>
          </p:txBody>
        </p:sp>
        <p:sp>
          <p:nvSpPr>
            <p:cNvPr id="42" name="Ellipse 41">
              <a:extLst>
                <a:ext uri="{FF2B5EF4-FFF2-40B4-BE49-F238E27FC236}">
                  <a16:creationId xmlns:a16="http://schemas.microsoft.com/office/drawing/2014/main" id="{7B370867-BF9D-4924-91BA-9F8D8BA803CD}"/>
                </a:ext>
              </a:extLst>
            </p:cNvPr>
            <p:cNvSpPr/>
            <p:nvPr/>
          </p:nvSpPr>
          <p:spPr bwMode="gray">
            <a:xfrm>
              <a:off x="2127048" y="6144175"/>
              <a:ext cx="100800" cy="100800"/>
            </a:xfrm>
            <a:prstGeom prst="ellipse">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grpSp>
      <p:sp>
        <p:nvSpPr>
          <p:cNvPr id="38" name="Textplatzhalter 4">
            <a:extLst>
              <a:ext uri="{FF2B5EF4-FFF2-40B4-BE49-F238E27FC236}">
                <a16:creationId xmlns:a16="http://schemas.microsoft.com/office/drawing/2014/main" id="{013A3E3E-D648-4A89-BED7-E7FAC8C678D6}"/>
              </a:ext>
            </a:extLst>
          </p:cNvPr>
          <p:cNvSpPr txBox="1">
            <a:spLocks/>
          </p:cNvSpPr>
          <p:nvPr/>
        </p:nvSpPr>
        <p:spPr bwMode="gray">
          <a:xfrm>
            <a:off x="2351584" y="5805320"/>
            <a:ext cx="648072" cy="504000"/>
          </a:xfrm>
          <a:prstGeom prst="rect">
            <a:avLst/>
          </a:prstGeom>
        </p:spPr>
        <p:txBody>
          <a:bodyPr vert="horz" lIns="0" tIns="0" rIns="0" bIns="0" rtlCol="0" anchor="b">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sz="1100" dirty="0">
                <a:latin typeface="+mn-lt"/>
              </a:rPr>
              <a:t>Lorem ipsum dolor sit amet</a:t>
            </a:r>
          </a:p>
        </p:txBody>
      </p:sp>
      <p:grpSp>
        <p:nvGrpSpPr>
          <p:cNvPr id="8" name="Gruppieren 7">
            <a:extLst>
              <a:ext uri="{FF2B5EF4-FFF2-40B4-BE49-F238E27FC236}">
                <a16:creationId xmlns:a16="http://schemas.microsoft.com/office/drawing/2014/main" id="{D1FD284E-B323-4E30-93CC-1EC2DCFCC4DB}"/>
              </a:ext>
            </a:extLst>
          </p:cNvPr>
          <p:cNvGrpSpPr/>
          <p:nvPr/>
        </p:nvGrpSpPr>
        <p:grpSpPr bwMode="gray">
          <a:xfrm>
            <a:off x="3504208" y="5805320"/>
            <a:ext cx="226800" cy="504000"/>
            <a:chOff x="3504208" y="5805320"/>
            <a:chExt cx="226800" cy="504000"/>
          </a:xfrm>
        </p:grpSpPr>
        <p:sp>
          <p:nvSpPr>
            <p:cNvPr id="46" name="Rechteck: abgerundete Ecken 45">
              <a:extLst>
                <a:ext uri="{FF2B5EF4-FFF2-40B4-BE49-F238E27FC236}">
                  <a16:creationId xmlns:a16="http://schemas.microsoft.com/office/drawing/2014/main" id="{F6A2C580-2BF4-4B45-BFD8-F044DDA7E078}"/>
                </a:ext>
              </a:extLst>
            </p:cNvPr>
            <p:cNvSpPr/>
            <p:nvPr/>
          </p:nvSpPr>
          <p:spPr bwMode="gray">
            <a:xfrm>
              <a:off x="3504208" y="5805320"/>
              <a:ext cx="226800" cy="504000"/>
            </a:xfrm>
            <a:prstGeom prst="roundRect">
              <a:avLst>
                <a:gd name="adj" fmla="val 24131"/>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dirty="0">
                <a:solidFill>
                  <a:schemeClr val="bg1"/>
                </a:solidFill>
              </a:endParaRPr>
            </a:p>
          </p:txBody>
        </p:sp>
        <p:sp>
          <p:nvSpPr>
            <p:cNvPr id="48" name="Ellipse 47">
              <a:extLst>
                <a:ext uri="{FF2B5EF4-FFF2-40B4-BE49-F238E27FC236}">
                  <a16:creationId xmlns:a16="http://schemas.microsoft.com/office/drawing/2014/main" id="{E6FEA0BA-4579-48C4-A4A9-971CA088944D}"/>
                </a:ext>
              </a:extLst>
            </p:cNvPr>
            <p:cNvSpPr/>
            <p:nvPr/>
          </p:nvSpPr>
          <p:spPr bwMode="gray">
            <a:xfrm>
              <a:off x="3567208" y="5866918"/>
              <a:ext cx="100800" cy="100800"/>
            </a:xfrm>
            <a:prstGeom prst="ellipse">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49" name="Ellipse 48">
              <a:extLst>
                <a:ext uri="{FF2B5EF4-FFF2-40B4-BE49-F238E27FC236}">
                  <a16:creationId xmlns:a16="http://schemas.microsoft.com/office/drawing/2014/main" id="{D3E289C8-47EE-48E9-8E98-651E078176FF}"/>
                </a:ext>
              </a:extLst>
            </p:cNvPr>
            <p:cNvSpPr/>
            <p:nvPr/>
          </p:nvSpPr>
          <p:spPr bwMode="gray">
            <a:xfrm>
              <a:off x="3567208" y="6005519"/>
              <a:ext cx="100800" cy="100800"/>
            </a:xfrm>
            <a:prstGeom prst="ellipse">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50" name="Ellipse 49">
              <a:extLst>
                <a:ext uri="{FF2B5EF4-FFF2-40B4-BE49-F238E27FC236}">
                  <a16:creationId xmlns:a16="http://schemas.microsoft.com/office/drawing/2014/main" id="{6B1F4268-D12A-47CA-8862-42AE789A1082}"/>
                </a:ext>
              </a:extLst>
            </p:cNvPr>
            <p:cNvSpPr/>
            <p:nvPr/>
          </p:nvSpPr>
          <p:spPr bwMode="gray">
            <a:xfrm>
              <a:off x="3567208" y="6144175"/>
              <a:ext cx="100800" cy="100800"/>
            </a:xfrm>
            <a:prstGeom prst="ellipse">
              <a:avLst/>
            </a:prstGeom>
            <a:solidFill>
              <a:schemeClr val="accent4"/>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ctr"/>
              <a:endParaRPr lang="en-US" sz="1600" b="1" dirty="0">
                <a:solidFill>
                  <a:schemeClr val="bg1"/>
                </a:solidFill>
              </a:endParaRPr>
            </a:p>
          </p:txBody>
        </p:sp>
      </p:grpSp>
      <p:sp>
        <p:nvSpPr>
          <p:cNvPr id="45" name="Textplatzhalter 4">
            <a:extLst>
              <a:ext uri="{FF2B5EF4-FFF2-40B4-BE49-F238E27FC236}">
                <a16:creationId xmlns:a16="http://schemas.microsoft.com/office/drawing/2014/main" id="{EF6A1193-3114-43F4-AE70-8130A6A40829}"/>
              </a:ext>
            </a:extLst>
          </p:cNvPr>
          <p:cNvSpPr txBox="1">
            <a:spLocks/>
          </p:cNvSpPr>
          <p:nvPr/>
        </p:nvSpPr>
        <p:spPr bwMode="gray">
          <a:xfrm>
            <a:off x="3791744" y="5805320"/>
            <a:ext cx="648072" cy="504000"/>
          </a:xfrm>
          <a:prstGeom prst="rect">
            <a:avLst/>
          </a:prstGeom>
        </p:spPr>
        <p:txBody>
          <a:bodyPr vert="horz" lIns="0" tIns="0" rIns="0" bIns="0" rtlCol="0" anchor="b">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sz="1100" dirty="0">
                <a:latin typeface="+mn-lt"/>
              </a:rPr>
              <a:t>Lorem ipsum dolor sit amet</a:t>
            </a:r>
          </a:p>
        </p:txBody>
      </p:sp>
      <p:grpSp>
        <p:nvGrpSpPr>
          <p:cNvPr id="52" name="Gruppieren 51">
            <a:extLst>
              <a:ext uri="{FF2B5EF4-FFF2-40B4-BE49-F238E27FC236}">
                <a16:creationId xmlns:a16="http://schemas.microsoft.com/office/drawing/2014/main" id="{DDF0489A-2CC5-4395-A64D-9AC1F23D0B6A}"/>
              </a:ext>
            </a:extLst>
          </p:cNvPr>
          <p:cNvGrpSpPr>
            <a:grpSpLocks noChangeAspect="1"/>
          </p:cNvGrpSpPr>
          <p:nvPr/>
        </p:nvGrpSpPr>
        <p:grpSpPr bwMode="gray">
          <a:xfrm>
            <a:off x="7994009" y="2265020"/>
            <a:ext cx="271756" cy="603904"/>
            <a:chOff x="623888" y="2204864"/>
            <a:chExt cx="648000" cy="1440000"/>
          </a:xfrm>
        </p:grpSpPr>
        <p:sp>
          <p:nvSpPr>
            <p:cNvPr id="54" name="Rechteck: abgerundete Ecken 53">
              <a:extLst>
                <a:ext uri="{FF2B5EF4-FFF2-40B4-BE49-F238E27FC236}">
                  <a16:creationId xmlns:a16="http://schemas.microsoft.com/office/drawing/2014/main" id="{91073319-5947-4E14-9EC6-BBDEF5259FE7}"/>
                </a:ext>
              </a:extLst>
            </p:cNvPr>
            <p:cNvSpPr/>
            <p:nvPr/>
          </p:nvSpPr>
          <p:spPr bwMode="gray">
            <a:xfrm>
              <a:off x="623888" y="2204864"/>
              <a:ext cx="648000" cy="1440000"/>
            </a:xfrm>
            <a:prstGeom prst="roundRect">
              <a:avLst>
                <a:gd name="adj" fmla="val 24131"/>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dirty="0">
                <a:solidFill>
                  <a:schemeClr val="bg1"/>
                </a:solidFill>
              </a:endParaRPr>
            </a:p>
          </p:txBody>
        </p:sp>
        <p:sp>
          <p:nvSpPr>
            <p:cNvPr id="55" name="Ellipse 54">
              <a:extLst>
                <a:ext uri="{FF2B5EF4-FFF2-40B4-BE49-F238E27FC236}">
                  <a16:creationId xmlns:a16="http://schemas.microsoft.com/office/drawing/2014/main" id="{07A12236-51D4-4D44-B4C5-455137D1328B}"/>
                </a:ext>
              </a:extLst>
            </p:cNvPr>
            <p:cNvSpPr/>
            <p:nvPr/>
          </p:nvSpPr>
          <p:spPr bwMode="gray">
            <a:xfrm>
              <a:off x="803888" y="2380857"/>
              <a:ext cx="288000" cy="28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56" name="Ellipse 55">
              <a:extLst>
                <a:ext uri="{FF2B5EF4-FFF2-40B4-BE49-F238E27FC236}">
                  <a16:creationId xmlns:a16="http://schemas.microsoft.com/office/drawing/2014/main" id="{7BDB21AB-158F-44A3-853B-207D5B0259D9}"/>
                </a:ext>
              </a:extLst>
            </p:cNvPr>
            <p:cNvSpPr/>
            <p:nvPr/>
          </p:nvSpPr>
          <p:spPr bwMode="gray">
            <a:xfrm>
              <a:off x="803888" y="2776861"/>
              <a:ext cx="288000" cy="288000"/>
            </a:xfrm>
            <a:prstGeom prst="ellipse">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57" name="Ellipse 56">
              <a:extLst>
                <a:ext uri="{FF2B5EF4-FFF2-40B4-BE49-F238E27FC236}">
                  <a16:creationId xmlns:a16="http://schemas.microsoft.com/office/drawing/2014/main" id="{DB11BB76-9ADA-421A-B177-F1EE2EB7E8AA}"/>
                </a:ext>
              </a:extLst>
            </p:cNvPr>
            <p:cNvSpPr/>
            <p:nvPr/>
          </p:nvSpPr>
          <p:spPr bwMode="gray">
            <a:xfrm>
              <a:off x="803888" y="3173022"/>
              <a:ext cx="288000" cy="288000"/>
            </a:xfrm>
            <a:prstGeom prst="ellipse">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grpSp>
      <p:grpSp>
        <p:nvGrpSpPr>
          <p:cNvPr id="58" name="Gruppieren 57">
            <a:extLst>
              <a:ext uri="{FF2B5EF4-FFF2-40B4-BE49-F238E27FC236}">
                <a16:creationId xmlns:a16="http://schemas.microsoft.com/office/drawing/2014/main" id="{74775140-EE37-4E56-AE12-AB4CC8459AC6}"/>
              </a:ext>
            </a:extLst>
          </p:cNvPr>
          <p:cNvGrpSpPr/>
          <p:nvPr/>
        </p:nvGrpSpPr>
        <p:grpSpPr bwMode="gray">
          <a:xfrm>
            <a:off x="7994009" y="2997495"/>
            <a:ext cx="271756" cy="603904"/>
            <a:chOff x="2064048" y="5805320"/>
            <a:chExt cx="226800" cy="504000"/>
          </a:xfrm>
        </p:grpSpPr>
        <p:sp>
          <p:nvSpPr>
            <p:cNvPr id="59" name="Rechteck: abgerundete Ecken 58">
              <a:extLst>
                <a:ext uri="{FF2B5EF4-FFF2-40B4-BE49-F238E27FC236}">
                  <a16:creationId xmlns:a16="http://schemas.microsoft.com/office/drawing/2014/main" id="{9011F4A2-3A34-4AD2-B3BC-DBE7428F332B}"/>
                </a:ext>
              </a:extLst>
            </p:cNvPr>
            <p:cNvSpPr/>
            <p:nvPr/>
          </p:nvSpPr>
          <p:spPr bwMode="gray">
            <a:xfrm>
              <a:off x="2064048" y="5805320"/>
              <a:ext cx="226800" cy="504000"/>
            </a:xfrm>
            <a:prstGeom prst="roundRect">
              <a:avLst>
                <a:gd name="adj" fmla="val 24131"/>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dirty="0">
                <a:solidFill>
                  <a:schemeClr val="bg1"/>
                </a:solidFill>
              </a:endParaRPr>
            </a:p>
          </p:txBody>
        </p:sp>
        <p:sp>
          <p:nvSpPr>
            <p:cNvPr id="60" name="Ellipse 59">
              <a:extLst>
                <a:ext uri="{FF2B5EF4-FFF2-40B4-BE49-F238E27FC236}">
                  <a16:creationId xmlns:a16="http://schemas.microsoft.com/office/drawing/2014/main" id="{6118A55C-ED0D-4BCB-87A8-AE7ABA5D596B}"/>
                </a:ext>
              </a:extLst>
            </p:cNvPr>
            <p:cNvSpPr/>
            <p:nvPr/>
          </p:nvSpPr>
          <p:spPr bwMode="gray">
            <a:xfrm>
              <a:off x="2127048" y="5866918"/>
              <a:ext cx="100800" cy="100800"/>
            </a:xfrm>
            <a:prstGeom prst="ellipse">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61" name="Ellipse 60">
              <a:extLst>
                <a:ext uri="{FF2B5EF4-FFF2-40B4-BE49-F238E27FC236}">
                  <a16:creationId xmlns:a16="http://schemas.microsoft.com/office/drawing/2014/main" id="{6674E412-CACC-48B9-AA65-428571E9491F}"/>
                </a:ext>
              </a:extLst>
            </p:cNvPr>
            <p:cNvSpPr/>
            <p:nvPr/>
          </p:nvSpPr>
          <p:spPr bwMode="gray">
            <a:xfrm>
              <a:off x="2127048" y="6005519"/>
              <a:ext cx="100800" cy="100800"/>
            </a:xfrm>
            <a:prstGeom prst="ellipse">
              <a:avLst/>
            </a:prstGeom>
            <a:solidFill>
              <a:schemeClr val="accent6"/>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ctr"/>
              <a:endParaRPr lang="en-US" sz="1600" b="1" dirty="0">
                <a:solidFill>
                  <a:schemeClr val="bg1"/>
                </a:solidFill>
              </a:endParaRPr>
            </a:p>
          </p:txBody>
        </p:sp>
        <p:sp>
          <p:nvSpPr>
            <p:cNvPr id="62" name="Ellipse 61">
              <a:extLst>
                <a:ext uri="{FF2B5EF4-FFF2-40B4-BE49-F238E27FC236}">
                  <a16:creationId xmlns:a16="http://schemas.microsoft.com/office/drawing/2014/main" id="{BB717D1E-0126-44CA-897C-2F0E5CD89D69}"/>
                </a:ext>
              </a:extLst>
            </p:cNvPr>
            <p:cNvSpPr/>
            <p:nvPr/>
          </p:nvSpPr>
          <p:spPr bwMode="gray">
            <a:xfrm>
              <a:off x="2127048" y="6144175"/>
              <a:ext cx="100800" cy="100800"/>
            </a:xfrm>
            <a:prstGeom prst="ellipse">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grpSp>
      <p:grpSp>
        <p:nvGrpSpPr>
          <p:cNvPr id="63" name="Gruppieren 62">
            <a:extLst>
              <a:ext uri="{FF2B5EF4-FFF2-40B4-BE49-F238E27FC236}">
                <a16:creationId xmlns:a16="http://schemas.microsoft.com/office/drawing/2014/main" id="{5C148F37-A6BF-405B-8076-E592F73E11FB}"/>
              </a:ext>
            </a:extLst>
          </p:cNvPr>
          <p:cNvGrpSpPr/>
          <p:nvPr/>
        </p:nvGrpSpPr>
        <p:grpSpPr bwMode="gray">
          <a:xfrm>
            <a:off x="7994009" y="3729971"/>
            <a:ext cx="271756" cy="603904"/>
            <a:chOff x="3504208" y="5805320"/>
            <a:chExt cx="226800" cy="504000"/>
          </a:xfrm>
        </p:grpSpPr>
        <p:sp>
          <p:nvSpPr>
            <p:cNvPr id="64" name="Rechteck: abgerundete Ecken 63">
              <a:extLst>
                <a:ext uri="{FF2B5EF4-FFF2-40B4-BE49-F238E27FC236}">
                  <a16:creationId xmlns:a16="http://schemas.microsoft.com/office/drawing/2014/main" id="{44F958C2-D2B0-435A-A202-93B9795CE1C3}"/>
                </a:ext>
              </a:extLst>
            </p:cNvPr>
            <p:cNvSpPr/>
            <p:nvPr/>
          </p:nvSpPr>
          <p:spPr bwMode="gray">
            <a:xfrm>
              <a:off x="3504208" y="5805320"/>
              <a:ext cx="226800" cy="504000"/>
            </a:xfrm>
            <a:prstGeom prst="roundRect">
              <a:avLst>
                <a:gd name="adj" fmla="val 24131"/>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dirty="0">
                <a:solidFill>
                  <a:schemeClr val="bg1"/>
                </a:solidFill>
              </a:endParaRPr>
            </a:p>
          </p:txBody>
        </p:sp>
        <p:sp>
          <p:nvSpPr>
            <p:cNvPr id="65" name="Ellipse 64">
              <a:extLst>
                <a:ext uri="{FF2B5EF4-FFF2-40B4-BE49-F238E27FC236}">
                  <a16:creationId xmlns:a16="http://schemas.microsoft.com/office/drawing/2014/main" id="{0CAAC0FE-37B8-4A11-9857-9AC7DD87298E}"/>
                </a:ext>
              </a:extLst>
            </p:cNvPr>
            <p:cNvSpPr/>
            <p:nvPr/>
          </p:nvSpPr>
          <p:spPr bwMode="gray">
            <a:xfrm>
              <a:off x="3567208" y="5866918"/>
              <a:ext cx="100800" cy="100800"/>
            </a:xfrm>
            <a:prstGeom prst="ellipse">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66" name="Ellipse 65">
              <a:extLst>
                <a:ext uri="{FF2B5EF4-FFF2-40B4-BE49-F238E27FC236}">
                  <a16:creationId xmlns:a16="http://schemas.microsoft.com/office/drawing/2014/main" id="{65D8EB10-060B-4C22-9836-138303EFA9D6}"/>
                </a:ext>
              </a:extLst>
            </p:cNvPr>
            <p:cNvSpPr/>
            <p:nvPr/>
          </p:nvSpPr>
          <p:spPr bwMode="gray">
            <a:xfrm>
              <a:off x="3567208" y="6005519"/>
              <a:ext cx="100800" cy="100800"/>
            </a:xfrm>
            <a:prstGeom prst="ellipse">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67" name="Ellipse 66">
              <a:extLst>
                <a:ext uri="{FF2B5EF4-FFF2-40B4-BE49-F238E27FC236}">
                  <a16:creationId xmlns:a16="http://schemas.microsoft.com/office/drawing/2014/main" id="{20892246-7814-4B7C-9371-BD55B3AB324C}"/>
                </a:ext>
              </a:extLst>
            </p:cNvPr>
            <p:cNvSpPr/>
            <p:nvPr/>
          </p:nvSpPr>
          <p:spPr bwMode="gray">
            <a:xfrm>
              <a:off x="3567208" y="6144175"/>
              <a:ext cx="100800" cy="100800"/>
            </a:xfrm>
            <a:prstGeom prst="ellipse">
              <a:avLst/>
            </a:prstGeom>
            <a:solidFill>
              <a:schemeClr val="accent4"/>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ctr"/>
              <a:endParaRPr lang="en-US" sz="1600" b="1" dirty="0">
                <a:solidFill>
                  <a:schemeClr val="bg1"/>
                </a:solidFill>
              </a:endParaRPr>
            </a:p>
          </p:txBody>
        </p:sp>
      </p:grpSp>
      <p:grpSp>
        <p:nvGrpSpPr>
          <p:cNvPr id="68" name="Gruppieren 67">
            <a:extLst>
              <a:ext uri="{FF2B5EF4-FFF2-40B4-BE49-F238E27FC236}">
                <a16:creationId xmlns:a16="http://schemas.microsoft.com/office/drawing/2014/main" id="{DDC39505-6CC4-4140-9CBD-B26AAAAE3EAE}"/>
              </a:ext>
            </a:extLst>
          </p:cNvPr>
          <p:cNvGrpSpPr>
            <a:grpSpLocks noChangeAspect="1"/>
          </p:cNvGrpSpPr>
          <p:nvPr/>
        </p:nvGrpSpPr>
        <p:grpSpPr bwMode="gray">
          <a:xfrm>
            <a:off x="10307790" y="2997496"/>
            <a:ext cx="271756" cy="603904"/>
            <a:chOff x="623888" y="2204864"/>
            <a:chExt cx="648000" cy="1440000"/>
          </a:xfrm>
        </p:grpSpPr>
        <p:sp>
          <p:nvSpPr>
            <p:cNvPr id="69" name="Rechteck: abgerundete Ecken 68">
              <a:extLst>
                <a:ext uri="{FF2B5EF4-FFF2-40B4-BE49-F238E27FC236}">
                  <a16:creationId xmlns:a16="http://schemas.microsoft.com/office/drawing/2014/main" id="{C45C7E4C-66E8-4186-88DA-5246CF48A830}"/>
                </a:ext>
              </a:extLst>
            </p:cNvPr>
            <p:cNvSpPr/>
            <p:nvPr/>
          </p:nvSpPr>
          <p:spPr bwMode="gray">
            <a:xfrm>
              <a:off x="623888" y="2204864"/>
              <a:ext cx="648000" cy="1440000"/>
            </a:xfrm>
            <a:prstGeom prst="roundRect">
              <a:avLst>
                <a:gd name="adj" fmla="val 24131"/>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dirty="0">
                <a:solidFill>
                  <a:schemeClr val="bg1"/>
                </a:solidFill>
              </a:endParaRPr>
            </a:p>
          </p:txBody>
        </p:sp>
        <p:sp>
          <p:nvSpPr>
            <p:cNvPr id="70" name="Ellipse 69">
              <a:extLst>
                <a:ext uri="{FF2B5EF4-FFF2-40B4-BE49-F238E27FC236}">
                  <a16:creationId xmlns:a16="http://schemas.microsoft.com/office/drawing/2014/main" id="{94997B3D-2BA0-4436-8C0A-31B86A80B19E}"/>
                </a:ext>
              </a:extLst>
            </p:cNvPr>
            <p:cNvSpPr/>
            <p:nvPr/>
          </p:nvSpPr>
          <p:spPr bwMode="gray">
            <a:xfrm>
              <a:off x="803888" y="2380857"/>
              <a:ext cx="288000" cy="288000"/>
            </a:xfrm>
            <a:prstGeom prst="ellipse">
              <a:avLst/>
            </a:prstGeom>
            <a:solidFill>
              <a:srgbClr val="C00000"/>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71" name="Ellipse 70">
              <a:extLst>
                <a:ext uri="{FF2B5EF4-FFF2-40B4-BE49-F238E27FC236}">
                  <a16:creationId xmlns:a16="http://schemas.microsoft.com/office/drawing/2014/main" id="{037ADC38-F4BC-4A2F-881E-BF92F21B6C5B}"/>
                </a:ext>
              </a:extLst>
            </p:cNvPr>
            <p:cNvSpPr/>
            <p:nvPr/>
          </p:nvSpPr>
          <p:spPr bwMode="gray">
            <a:xfrm>
              <a:off x="803888" y="2776861"/>
              <a:ext cx="288000" cy="288000"/>
            </a:xfrm>
            <a:prstGeom prst="ellipse">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72" name="Ellipse 71">
              <a:extLst>
                <a:ext uri="{FF2B5EF4-FFF2-40B4-BE49-F238E27FC236}">
                  <a16:creationId xmlns:a16="http://schemas.microsoft.com/office/drawing/2014/main" id="{88ED8C8E-92EC-4471-B716-2436144A694A}"/>
                </a:ext>
              </a:extLst>
            </p:cNvPr>
            <p:cNvSpPr/>
            <p:nvPr/>
          </p:nvSpPr>
          <p:spPr bwMode="gray">
            <a:xfrm>
              <a:off x="803888" y="3173022"/>
              <a:ext cx="288000" cy="288000"/>
            </a:xfrm>
            <a:prstGeom prst="ellipse">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grpSp>
      <p:grpSp>
        <p:nvGrpSpPr>
          <p:cNvPr id="73" name="Gruppieren 72">
            <a:extLst>
              <a:ext uri="{FF2B5EF4-FFF2-40B4-BE49-F238E27FC236}">
                <a16:creationId xmlns:a16="http://schemas.microsoft.com/office/drawing/2014/main" id="{BC776702-FA6D-4E2E-94EA-2476C73C45A8}"/>
              </a:ext>
            </a:extLst>
          </p:cNvPr>
          <p:cNvGrpSpPr/>
          <p:nvPr/>
        </p:nvGrpSpPr>
        <p:grpSpPr bwMode="gray">
          <a:xfrm>
            <a:off x="5704611" y="2265020"/>
            <a:ext cx="271756" cy="603904"/>
            <a:chOff x="3504208" y="5805320"/>
            <a:chExt cx="226800" cy="504000"/>
          </a:xfrm>
        </p:grpSpPr>
        <p:sp>
          <p:nvSpPr>
            <p:cNvPr id="74" name="Rechteck: abgerundete Ecken 73">
              <a:extLst>
                <a:ext uri="{FF2B5EF4-FFF2-40B4-BE49-F238E27FC236}">
                  <a16:creationId xmlns:a16="http://schemas.microsoft.com/office/drawing/2014/main" id="{A20B3E22-B418-4277-BFCE-9E40F28C211A}"/>
                </a:ext>
              </a:extLst>
            </p:cNvPr>
            <p:cNvSpPr/>
            <p:nvPr/>
          </p:nvSpPr>
          <p:spPr bwMode="gray">
            <a:xfrm>
              <a:off x="3504208" y="5805320"/>
              <a:ext cx="226800" cy="504000"/>
            </a:xfrm>
            <a:prstGeom prst="roundRect">
              <a:avLst>
                <a:gd name="adj" fmla="val 24131"/>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dirty="0">
                <a:solidFill>
                  <a:schemeClr val="bg1"/>
                </a:solidFill>
              </a:endParaRPr>
            </a:p>
          </p:txBody>
        </p:sp>
        <p:sp>
          <p:nvSpPr>
            <p:cNvPr id="75" name="Ellipse 74">
              <a:extLst>
                <a:ext uri="{FF2B5EF4-FFF2-40B4-BE49-F238E27FC236}">
                  <a16:creationId xmlns:a16="http://schemas.microsoft.com/office/drawing/2014/main" id="{171B0AD6-C600-42AE-8F22-4CF816171DC0}"/>
                </a:ext>
              </a:extLst>
            </p:cNvPr>
            <p:cNvSpPr/>
            <p:nvPr/>
          </p:nvSpPr>
          <p:spPr bwMode="gray">
            <a:xfrm>
              <a:off x="3567208" y="5866918"/>
              <a:ext cx="100800" cy="100800"/>
            </a:xfrm>
            <a:prstGeom prst="ellipse">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76" name="Ellipse 75">
              <a:extLst>
                <a:ext uri="{FF2B5EF4-FFF2-40B4-BE49-F238E27FC236}">
                  <a16:creationId xmlns:a16="http://schemas.microsoft.com/office/drawing/2014/main" id="{9B9E6D2D-0600-4143-8308-897225B6B07D}"/>
                </a:ext>
              </a:extLst>
            </p:cNvPr>
            <p:cNvSpPr/>
            <p:nvPr/>
          </p:nvSpPr>
          <p:spPr bwMode="gray">
            <a:xfrm>
              <a:off x="3567208" y="6005519"/>
              <a:ext cx="100800" cy="100800"/>
            </a:xfrm>
            <a:prstGeom prst="ellipse">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77" name="Ellipse 76">
              <a:extLst>
                <a:ext uri="{FF2B5EF4-FFF2-40B4-BE49-F238E27FC236}">
                  <a16:creationId xmlns:a16="http://schemas.microsoft.com/office/drawing/2014/main" id="{6E0A00B6-4B9E-4C34-AC73-3FCACDB1B377}"/>
                </a:ext>
              </a:extLst>
            </p:cNvPr>
            <p:cNvSpPr/>
            <p:nvPr/>
          </p:nvSpPr>
          <p:spPr bwMode="gray">
            <a:xfrm>
              <a:off x="3567208" y="6144175"/>
              <a:ext cx="100800" cy="100800"/>
            </a:xfrm>
            <a:prstGeom prst="ellipse">
              <a:avLst/>
            </a:prstGeom>
            <a:solidFill>
              <a:schemeClr val="accent4"/>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ctr"/>
              <a:endParaRPr lang="en-US" sz="1600" b="1" dirty="0">
                <a:solidFill>
                  <a:schemeClr val="bg1"/>
                </a:solidFill>
              </a:endParaRPr>
            </a:p>
          </p:txBody>
        </p:sp>
      </p:grpSp>
      <p:grpSp>
        <p:nvGrpSpPr>
          <p:cNvPr id="78" name="Gruppieren 77">
            <a:extLst>
              <a:ext uri="{FF2B5EF4-FFF2-40B4-BE49-F238E27FC236}">
                <a16:creationId xmlns:a16="http://schemas.microsoft.com/office/drawing/2014/main" id="{64822EFD-7157-4128-A834-EC3A1F224F8E}"/>
              </a:ext>
            </a:extLst>
          </p:cNvPr>
          <p:cNvGrpSpPr/>
          <p:nvPr/>
        </p:nvGrpSpPr>
        <p:grpSpPr bwMode="gray">
          <a:xfrm>
            <a:off x="10307790" y="3729971"/>
            <a:ext cx="271756" cy="603904"/>
            <a:chOff x="3504208" y="5805320"/>
            <a:chExt cx="226800" cy="504000"/>
          </a:xfrm>
        </p:grpSpPr>
        <p:sp>
          <p:nvSpPr>
            <p:cNvPr id="79" name="Rechteck: abgerundete Ecken 78">
              <a:extLst>
                <a:ext uri="{FF2B5EF4-FFF2-40B4-BE49-F238E27FC236}">
                  <a16:creationId xmlns:a16="http://schemas.microsoft.com/office/drawing/2014/main" id="{3A17150B-E502-4FFC-B13C-2BB6A6186A7C}"/>
                </a:ext>
              </a:extLst>
            </p:cNvPr>
            <p:cNvSpPr/>
            <p:nvPr/>
          </p:nvSpPr>
          <p:spPr bwMode="gray">
            <a:xfrm>
              <a:off x="3504208" y="5805320"/>
              <a:ext cx="226800" cy="504000"/>
            </a:xfrm>
            <a:prstGeom prst="roundRect">
              <a:avLst>
                <a:gd name="adj" fmla="val 24131"/>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dirty="0">
                <a:solidFill>
                  <a:schemeClr val="bg1"/>
                </a:solidFill>
              </a:endParaRPr>
            </a:p>
          </p:txBody>
        </p:sp>
        <p:sp>
          <p:nvSpPr>
            <p:cNvPr id="80" name="Ellipse 79">
              <a:extLst>
                <a:ext uri="{FF2B5EF4-FFF2-40B4-BE49-F238E27FC236}">
                  <a16:creationId xmlns:a16="http://schemas.microsoft.com/office/drawing/2014/main" id="{6A45D5E5-83B2-4175-8458-3D93FC1AA1DC}"/>
                </a:ext>
              </a:extLst>
            </p:cNvPr>
            <p:cNvSpPr/>
            <p:nvPr/>
          </p:nvSpPr>
          <p:spPr bwMode="gray">
            <a:xfrm>
              <a:off x="3567208" y="5866918"/>
              <a:ext cx="100800" cy="100800"/>
            </a:xfrm>
            <a:prstGeom prst="ellipse">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81" name="Ellipse 80">
              <a:extLst>
                <a:ext uri="{FF2B5EF4-FFF2-40B4-BE49-F238E27FC236}">
                  <a16:creationId xmlns:a16="http://schemas.microsoft.com/office/drawing/2014/main" id="{43459451-021C-49A1-9AA2-228905BA3365}"/>
                </a:ext>
              </a:extLst>
            </p:cNvPr>
            <p:cNvSpPr/>
            <p:nvPr/>
          </p:nvSpPr>
          <p:spPr bwMode="gray">
            <a:xfrm>
              <a:off x="3567208" y="6005519"/>
              <a:ext cx="100800" cy="100800"/>
            </a:xfrm>
            <a:prstGeom prst="ellipse">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82" name="Ellipse 81">
              <a:extLst>
                <a:ext uri="{FF2B5EF4-FFF2-40B4-BE49-F238E27FC236}">
                  <a16:creationId xmlns:a16="http://schemas.microsoft.com/office/drawing/2014/main" id="{67A8065C-69E9-4861-A940-3FBBC9393104}"/>
                </a:ext>
              </a:extLst>
            </p:cNvPr>
            <p:cNvSpPr/>
            <p:nvPr/>
          </p:nvSpPr>
          <p:spPr bwMode="gray">
            <a:xfrm>
              <a:off x="3567208" y="6144175"/>
              <a:ext cx="100800" cy="100800"/>
            </a:xfrm>
            <a:prstGeom prst="ellipse">
              <a:avLst/>
            </a:prstGeom>
            <a:solidFill>
              <a:schemeClr val="accent4"/>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ctr"/>
              <a:endParaRPr lang="en-US" sz="1600" b="1" dirty="0">
                <a:solidFill>
                  <a:schemeClr val="bg1"/>
                </a:solidFill>
              </a:endParaRPr>
            </a:p>
          </p:txBody>
        </p:sp>
      </p:grpSp>
      <p:grpSp>
        <p:nvGrpSpPr>
          <p:cNvPr id="83" name="Gruppieren 82">
            <a:extLst>
              <a:ext uri="{FF2B5EF4-FFF2-40B4-BE49-F238E27FC236}">
                <a16:creationId xmlns:a16="http://schemas.microsoft.com/office/drawing/2014/main" id="{53E86255-95CC-4CBB-A295-D4D3479FF3C7}"/>
              </a:ext>
            </a:extLst>
          </p:cNvPr>
          <p:cNvGrpSpPr/>
          <p:nvPr/>
        </p:nvGrpSpPr>
        <p:grpSpPr bwMode="gray">
          <a:xfrm>
            <a:off x="10307790" y="2265020"/>
            <a:ext cx="271756" cy="603904"/>
            <a:chOff x="2064048" y="5805320"/>
            <a:chExt cx="226800" cy="504000"/>
          </a:xfrm>
        </p:grpSpPr>
        <p:sp>
          <p:nvSpPr>
            <p:cNvPr id="84" name="Rechteck: abgerundete Ecken 83">
              <a:extLst>
                <a:ext uri="{FF2B5EF4-FFF2-40B4-BE49-F238E27FC236}">
                  <a16:creationId xmlns:a16="http://schemas.microsoft.com/office/drawing/2014/main" id="{56C64B12-6C21-4A8D-9BF9-BBBADA718657}"/>
                </a:ext>
              </a:extLst>
            </p:cNvPr>
            <p:cNvSpPr/>
            <p:nvPr/>
          </p:nvSpPr>
          <p:spPr bwMode="gray">
            <a:xfrm>
              <a:off x="2064048" y="5805320"/>
              <a:ext cx="226800" cy="504000"/>
            </a:xfrm>
            <a:prstGeom prst="roundRect">
              <a:avLst>
                <a:gd name="adj" fmla="val 24131"/>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dirty="0">
                <a:solidFill>
                  <a:schemeClr val="bg1"/>
                </a:solidFill>
              </a:endParaRPr>
            </a:p>
          </p:txBody>
        </p:sp>
        <p:sp>
          <p:nvSpPr>
            <p:cNvPr id="85" name="Ellipse 84">
              <a:extLst>
                <a:ext uri="{FF2B5EF4-FFF2-40B4-BE49-F238E27FC236}">
                  <a16:creationId xmlns:a16="http://schemas.microsoft.com/office/drawing/2014/main" id="{00D2392D-EFB6-4715-A84B-34E5CE29774E}"/>
                </a:ext>
              </a:extLst>
            </p:cNvPr>
            <p:cNvSpPr/>
            <p:nvPr/>
          </p:nvSpPr>
          <p:spPr bwMode="gray">
            <a:xfrm>
              <a:off x="2127048" y="5866918"/>
              <a:ext cx="100800" cy="100800"/>
            </a:xfrm>
            <a:prstGeom prst="ellipse">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86" name="Ellipse 85">
              <a:extLst>
                <a:ext uri="{FF2B5EF4-FFF2-40B4-BE49-F238E27FC236}">
                  <a16:creationId xmlns:a16="http://schemas.microsoft.com/office/drawing/2014/main" id="{796C2046-C6A7-4F0D-ADC2-FAC88EE11A93}"/>
                </a:ext>
              </a:extLst>
            </p:cNvPr>
            <p:cNvSpPr/>
            <p:nvPr/>
          </p:nvSpPr>
          <p:spPr bwMode="gray">
            <a:xfrm>
              <a:off x="2127048" y="6005519"/>
              <a:ext cx="100800" cy="100800"/>
            </a:xfrm>
            <a:prstGeom prst="ellipse">
              <a:avLst/>
            </a:prstGeom>
            <a:solidFill>
              <a:schemeClr val="accent6"/>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ctr"/>
              <a:endParaRPr lang="en-US" sz="1600" b="1" dirty="0">
                <a:solidFill>
                  <a:schemeClr val="bg1"/>
                </a:solidFill>
              </a:endParaRPr>
            </a:p>
          </p:txBody>
        </p:sp>
        <p:sp>
          <p:nvSpPr>
            <p:cNvPr id="87" name="Ellipse 86">
              <a:extLst>
                <a:ext uri="{FF2B5EF4-FFF2-40B4-BE49-F238E27FC236}">
                  <a16:creationId xmlns:a16="http://schemas.microsoft.com/office/drawing/2014/main" id="{2095F374-4C20-4B37-8325-4F3C60D42CEA}"/>
                </a:ext>
              </a:extLst>
            </p:cNvPr>
            <p:cNvSpPr/>
            <p:nvPr/>
          </p:nvSpPr>
          <p:spPr bwMode="gray">
            <a:xfrm>
              <a:off x="2127048" y="6144175"/>
              <a:ext cx="100800" cy="100800"/>
            </a:xfrm>
            <a:prstGeom prst="ellipse">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grpSp>
      <p:grpSp>
        <p:nvGrpSpPr>
          <p:cNvPr id="88" name="Gruppieren 87">
            <a:extLst>
              <a:ext uri="{FF2B5EF4-FFF2-40B4-BE49-F238E27FC236}">
                <a16:creationId xmlns:a16="http://schemas.microsoft.com/office/drawing/2014/main" id="{1E072CD7-305E-4567-92B1-1271B95516F8}"/>
              </a:ext>
            </a:extLst>
          </p:cNvPr>
          <p:cNvGrpSpPr/>
          <p:nvPr/>
        </p:nvGrpSpPr>
        <p:grpSpPr bwMode="gray">
          <a:xfrm>
            <a:off x="5704611" y="2997495"/>
            <a:ext cx="271756" cy="603904"/>
            <a:chOff x="2064048" y="5805320"/>
            <a:chExt cx="226800" cy="504000"/>
          </a:xfrm>
        </p:grpSpPr>
        <p:sp>
          <p:nvSpPr>
            <p:cNvPr id="89" name="Rechteck: abgerundete Ecken 88">
              <a:extLst>
                <a:ext uri="{FF2B5EF4-FFF2-40B4-BE49-F238E27FC236}">
                  <a16:creationId xmlns:a16="http://schemas.microsoft.com/office/drawing/2014/main" id="{145A0E22-A3D2-4A8F-B318-D41C99E611BC}"/>
                </a:ext>
              </a:extLst>
            </p:cNvPr>
            <p:cNvSpPr/>
            <p:nvPr/>
          </p:nvSpPr>
          <p:spPr bwMode="gray">
            <a:xfrm>
              <a:off x="2064048" y="5805320"/>
              <a:ext cx="226800" cy="504000"/>
            </a:xfrm>
            <a:prstGeom prst="roundRect">
              <a:avLst>
                <a:gd name="adj" fmla="val 24131"/>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dirty="0">
                <a:solidFill>
                  <a:schemeClr val="bg1"/>
                </a:solidFill>
              </a:endParaRPr>
            </a:p>
          </p:txBody>
        </p:sp>
        <p:sp>
          <p:nvSpPr>
            <p:cNvPr id="90" name="Ellipse 89">
              <a:extLst>
                <a:ext uri="{FF2B5EF4-FFF2-40B4-BE49-F238E27FC236}">
                  <a16:creationId xmlns:a16="http://schemas.microsoft.com/office/drawing/2014/main" id="{650766BB-7D39-4AD8-880D-B1E1B49196F2}"/>
                </a:ext>
              </a:extLst>
            </p:cNvPr>
            <p:cNvSpPr/>
            <p:nvPr/>
          </p:nvSpPr>
          <p:spPr bwMode="gray">
            <a:xfrm>
              <a:off x="2127048" y="5866918"/>
              <a:ext cx="100800" cy="100800"/>
            </a:xfrm>
            <a:prstGeom prst="ellipse">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91" name="Ellipse 90">
              <a:extLst>
                <a:ext uri="{FF2B5EF4-FFF2-40B4-BE49-F238E27FC236}">
                  <a16:creationId xmlns:a16="http://schemas.microsoft.com/office/drawing/2014/main" id="{3F567B36-E951-49D3-A6ED-8820C96283FA}"/>
                </a:ext>
              </a:extLst>
            </p:cNvPr>
            <p:cNvSpPr/>
            <p:nvPr/>
          </p:nvSpPr>
          <p:spPr bwMode="gray">
            <a:xfrm>
              <a:off x="2127048" y="6005519"/>
              <a:ext cx="100800" cy="100800"/>
            </a:xfrm>
            <a:prstGeom prst="ellipse">
              <a:avLst/>
            </a:prstGeom>
            <a:solidFill>
              <a:schemeClr val="accent6"/>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ctr"/>
              <a:endParaRPr lang="en-US" sz="1600" b="1" dirty="0">
                <a:solidFill>
                  <a:schemeClr val="bg1"/>
                </a:solidFill>
              </a:endParaRPr>
            </a:p>
          </p:txBody>
        </p:sp>
        <p:sp>
          <p:nvSpPr>
            <p:cNvPr id="92" name="Ellipse 91">
              <a:extLst>
                <a:ext uri="{FF2B5EF4-FFF2-40B4-BE49-F238E27FC236}">
                  <a16:creationId xmlns:a16="http://schemas.microsoft.com/office/drawing/2014/main" id="{67B0C8B3-A558-451D-88C8-5CD204234AED}"/>
                </a:ext>
              </a:extLst>
            </p:cNvPr>
            <p:cNvSpPr/>
            <p:nvPr/>
          </p:nvSpPr>
          <p:spPr bwMode="gray">
            <a:xfrm>
              <a:off x="2127048" y="6144175"/>
              <a:ext cx="100800" cy="100800"/>
            </a:xfrm>
            <a:prstGeom prst="ellipse">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grpSp>
      <p:grpSp>
        <p:nvGrpSpPr>
          <p:cNvPr id="93" name="Gruppieren 92">
            <a:extLst>
              <a:ext uri="{FF2B5EF4-FFF2-40B4-BE49-F238E27FC236}">
                <a16:creationId xmlns:a16="http://schemas.microsoft.com/office/drawing/2014/main" id="{FCD3A4A9-3157-486C-80E3-0B81432A2C9F}"/>
              </a:ext>
            </a:extLst>
          </p:cNvPr>
          <p:cNvGrpSpPr/>
          <p:nvPr/>
        </p:nvGrpSpPr>
        <p:grpSpPr bwMode="gray">
          <a:xfrm>
            <a:off x="5704611" y="3729971"/>
            <a:ext cx="271756" cy="603904"/>
            <a:chOff x="2064048" y="5805320"/>
            <a:chExt cx="226800" cy="504000"/>
          </a:xfrm>
        </p:grpSpPr>
        <p:sp>
          <p:nvSpPr>
            <p:cNvPr id="94" name="Rechteck: abgerundete Ecken 93">
              <a:extLst>
                <a:ext uri="{FF2B5EF4-FFF2-40B4-BE49-F238E27FC236}">
                  <a16:creationId xmlns:a16="http://schemas.microsoft.com/office/drawing/2014/main" id="{3B1B51A7-042E-4B3F-833A-A237D31941C8}"/>
                </a:ext>
              </a:extLst>
            </p:cNvPr>
            <p:cNvSpPr/>
            <p:nvPr/>
          </p:nvSpPr>
          <p:spPr bwMode="gray">
            <a:xfrm>
              <a:off x="2064048" y="5805320"/>
              <a:ext cx="226800" cy="504000"/>
            </a:xfrm>
            <a:prstGeom prst="roundRect">
              <a:avLst>
                <a:gd name="adj" fmla="val 24131"/>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dirty="0">
                <a:solidFill>
                  <a:schemeClr val="bg1"/>
                </a:solidFill>
              </a:endParaRPr>
            </a:p>
          </p:txBody>
        </p:sp>
        <p:sp>
          <p:nvSpPr>
            <p:cNvPr id="95" name="Ellipse 94">
              <a:extLst>
                <a:ext uri="{FF2B5EF4-FFF2-40B4-BE49-F238E27FC236}">
                  <a16:creationId xmlns:a16="http://schemas.microsoft.com/office/drawing/2014/main" id="{D7357037-D802-4864-836A-895521B06701}"/>
                </a:ext>
              </a:extLst>
            </p:cNvPr>
            <p:cNvSpPr/>
            <p:nvPr/>
          </p:nvSpPr>
          <p:spPr bwMode="gray">
            <a:xfrm>
              <a:off x="2127048" y="5866918"/>
              <a:ext cx="100800" cy="100800"/>
            </a:xfrm>
            <a:prstGeom prst="ellipse">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96" name="Ellipse 95">
              <a:extLst>
                <a:ext uri="{FF2B5EF4-FFF2-40B4-BE49-F238E27FC236}">
                  <a16:creationId xmlns:a16="http://schemas.microsoft.com/office/drawing/2014/main" id="{9F3A70E4-B69D-4ABD-90E0-216AA6CC7275}"/>
                </a:ext>
              </a:extLst>
            </p:cNvPr>
            <p:cNvSpPr/>
            <p:nvPr/>
          </p:nvSpPr>
          <p:spPr bwMode="gray">
            <a:xfrm>
              <a:off x="2127048" y="6005519"/>
              <a:ext cx="100800" cy="100800"/>
            </a:xfrm>
            <a:prstGeom prst="ellipse">
              <a:avLst/>
            </a:prstGeom>
            <a:solidFill>
              <a:schemeClr val="accent6"/>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ctr"/>
              <a:endParaRPr lang="en-US" sz="1600" b="1" dirty="0">
                <a:solidFill>
                  <a:schemeClr val="bg1"/>
                </a:solidFill>
              </a:endParaRPr>
            </a:p>
          </p:txBody>
        </p:sp>
        <p:sp>
          <p:nvSpPr>
            <p:cNvPr id="97" name="Ellipse 96">
              <a:extLst>
                <a:ext uri="{FF2B5EF4-FFF2-40B4-BE49-F238E27FC236}">
                  <a16:creationId xmlns:a16="http://schemas.microsoft.com/office/drawing/2014/main" id="{9E4D8959-4F6C-4B39-813E-9B7577B9C6D4}"/>
                </a:ext>
              </a:extLst>
            </p:cNvPr>
            <p:cNvSpPr/>
            <p:nvPr/>
          </p:nvSpPr>
          <p:spPr bwMode="gray">
            <a:xfrm>
              <a:off x="2127048" y="6144175"/>
              <a:ext cx="100800" cy="100800"/>
            </a:xfrm>
            <a:prstGeom prst="ellipse">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grpSp>
      <p:sp>
        <p:nvSpPr>
          <p:cNvPr id="4" name="Fußzeilenplatzhalter 3">
            <a:extLst>
              <a:ext uri="{FF2B5EF4-FFF2-40B4-BE49-F238E27FC236}">
                <a16:creationId xmlns:a16="http://schemas.microsoft.com/office/drawing/2014/main" id="{5CD783DB-5421-4580-AFD7-3E108417331C}"/>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7E8CF8B9-157A-4C6A-9996-89D2344A9742}"/>
              </a:ext>
            </a:extLst>
          </p:cNvPr>
          <p:cNvSpPr>
            <a:spLocks noGrp="1"/>
          </p:cNvSpPr>
          <p:nvPr>
            <p:ph type="sldNum" sz="quarter" idx="12"/>
          </p:nvPr>
        </p:nvSpPr>
        <p:spPr/>
        <p:txBody>
          <a:bodyPr/>
          <a:lstStyle/>
          <a:p>
            <a:fld id="{CE82B8A1-0CCE-4815-9668-383D7DE7D8B4}" type="slidenum">
              <a:rPr lang="en-US" noProof="0" smtClean="0"/>
              <a:t>38</a:t>
            </a:fld>
            <a:endParaRPr lang="en-US" noProof="0" dirty="0"/>
          </a:p>
        </p:txBody>
      </p:sp>
    </p:spTree>
    <p:extLst>
      <p:ext uri="{BB962C8B-B14F-4D97-AF65-F5344CB8AC3E}">
        <p14:creationId xmlns:p14="http://schemas.microsoft.com/office/powerpoint/2010/main" val="6241978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extfeld 35">
            <a:extLst>
              <a:ext uri="{FF2B5EF4-FFF2-40B4-BE49-F238E27FC236}">
                <a16:creationId xmlns:a16="http://schemas.microsoft.com/office/drawing/2014/main" id="{62C29B87-BAF6-4E27-9E9D-61B434FACB51}"/>
              </a:ext>
            </a:extLst>
          </p:cNvPr>
          <p:cNvSpPr txBox="1">
            <a:spLocks/>
          </p:cNvSpPr>
          <p:nvPr/>
        </p:nvSpPr>
        <p:spPr bwMode="gray">
          <a:xfrm>
            <a:off x="7572704" y="3429000"/>
            <a:ext cx="4619296" cy="3429000"/>
          </a:xfrm>
          <a:custGeom>
            <a:avLst/>
            <a:gdLst>
              <a:gd name="connsiteX0" fmla="*/ 2430000 w 4619296"/>
              <a:gd name="connsiteY0" fmla="*/ 0 h 3429000"/>
              <a:gd name="connsiteX1" fmla="*/ 4566712 w 4619296"/>
              <a:gd name="connsiteY1" fmla="*/ 1271867 h 3429000"/>
              <a:gd name="connsiteX2" fmla="*/ 4619296 w 4619296"/>
              <a:gd name="connsiteY2" fmla="*/ 1381037 h 3429000"/>
              <a:gd name="connsiteX3" fmla="*/ 4619296 w 4619296"/>
              <a:gd name="connsiteY3" fmla="*/ 3429000 h 3429000"/>
              <a:gd name="connsiteX4" fmla="*/ 216365 w 4619296"/>
              <a:gd name="connsiteY4" fmla="*/ 3429000 h 3429000"/>
              <a:gd name="connsiteX5" fmla="*/ 190962 w 4619296"/>
              <a:gd name="connsiteY5" fmla="*/ 3376261 h 3429000"/>
              <a:gd name="connsiteX6" fmla="*/ 0 w 4619296"/>
              <a:gd name="connsiteY6" fmla="*/ 2430284 h 3429000"/>
              <a:gd name="connsiteX7" fmla="*/ 2430000 w 4619296"/>
              <a:gd name="connsiteY7" fmla="*/ 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9296" h="3429000">
                <a:moveTo>
                  <a:pt x="2430000" y="0"/>
                </a:moveTo>
                <a:cubicBezTo>
                  <a:pt x="3352661" y="0"/>
                  <a:pt x="4155218" y="514286"/>
                  <a:pt x="4566712" y="1271867"/>
                </a:cubicBezTo>
                <a:lnTo>
                  <a:pt x="4619296" y="1381037"/>
                </a:lnTo>
                <a:lnTo>
                  <a:pt x="4619296" y="3429000"/>
                </a:lnTo>
                <a:lnTo>
                  <a:pt x="216365" y="3429000"/>
                </a:lnTo>
                <a:lnTo>
                  <a:pt x="190962" y="3376261"/>
                </a:lnTo>
                <a:cubicBezTo>
                  <a:pt x="67997" y="3085505"/>
                  <a:pt x="0" y="2765837"/>
                  <a:pt x="0" y="2430284"/>
                </a:cubicBezTo>
                <a:cubicBezTo>
                  <a:pt x="0" y="1088075"/>
                  <a:pt x="1087948" y="0"/>
                  <a:pt x="2430000" y="0"/>
                </a:cubicBezTo>
                <a:close/>
              </a:path>
            </a:pathLst>
          </a:custGeom>
          <a:solidFill>
            <a:schemeClr val="bg2"/>
          </a:solidFill>
          <a:ln>
            <a:noFill/>
          </a:ln>
        </p:spPr>
        <p:txBody>
          <a:bodyPr wrap="square" lIns="1296000" tIns="900000" rIns="576000" bIns="3600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sz="2400" dirty="0">
                <a:solidFill>
                  <a:schemeClr val="accent5"/>
                </a:solidFill>
              </a:rPr>
              <a:t>Conclusion</a:t>
            </a:r>
          </a:p>
          <a:p>
            <a:pPr lvl="1"/>
            <a:r>
              <a:rPr lang="en-US" dirty="0"/>
              <a:t>Maecenas porttitor congue massa. Fusce posuere, magna sed pulvinar ultricies, purus lectus malesuada libero, sit amet commodo magna eros quis urna.</a:t>
            </a:r>
          </a:p>
        </p:txBody>
      </p:sp>
      <p:cxnSp>
        <p:nvCxnSpPr>
          <p:cNvPr id="37" name="Gerader Verbinder 36">
            <a:extLst>
              <a:ext uri="{FF2B5EF4-FFF2-40B4-BE49-F238E27FC236}">
                <a16:creationId xmlns:a16="http://schemas.microsoft.com/office/drawing/2014/main" id="{EF5AEFFF-FF2E-411F-AA15-98634050A551}"/>
              </a:ext>
            </a:extLst>
          </p:cNvPr>
          <p:cNvCxnSpPr>
            <a:cxnSpLocks/>
          </p:cNvCxnSpPr>
          <p:nvPr/>
        </p:nvCxnSpPr>
        <p:spPr bwMode="gray">
          <a:xfrm>
            <a:off x="10488488" y="4617160"/>
            <a:ext cx="1080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5" name="Titel 4">
            <a:extLst>
              <a:ext uri="{FF2B5EF4-FFF2-40B4-BE49-F238E27FC236}">
                <a16:creationId xmlns:a16="http://schemas.microsoft.com/office/drawing/2014/main" id="{BAA880E1-08F5-4285-AE59-6E1B15D87169}"/>
              </a:ext>
            </a:extLst>
          </p:cNvPr>
          <p:cNvSpPr>
            <a:spLocks noGrp="1"/>
          </p:cNvSpPr>
          <p:nvPr>
            <p:ph type="title"/>
          </p:nvPr>
        </p:nvSpPr>
        <p:spPr bwMode="gray"/>
        <p:txBody>
          <a:bodyPr/>
          <a:lstStyle/>
          <a:p>
            <a:r>
              <a:rPr lang="en-US" dirty="0"/>
              <a:t>Table and traffic lights with highlighting including conclusion</a:t>
            </a:r>
          </a:p>
        </p:txBody>
      </p:sp>
      <p:sp>
        <p:nvSpPr>
          <p:cNvPr id="6" name="Textplatzhalter 4">
            <a:extLst>
              <a:ext uri="{FF2B5EF4-FFF2-40B4-BE49-F238E27FC236}">
                <a16:creationId xmlns:a16="http://schemas.microsoft.com/office/drawing/2014/main" id="{5902B3F1-61EE-4380-B9F1-2A22EC4C34D7}"/>
              </a:ext>
            </a:extLst>
          </p:cNvPr>
          <p:cNvSpPr txBox="1">
            <a:spLocks/>
          </p:cNvSpPr>
          <p:nvPr/>
        </p:nvSpPr>
        <p:spPr bwMode="gray">
          <a:xfrm>
            <a:off x="1503492" y="1772815"/>
            <a:ext cx="3096000" cy="1440000"/>
          </a:xfrm>
          <a:prstGeom prst="rect">
            <a:avLst/>
          </a:prstGeom>
        </p:spPr>
        <p:txBody>
          <a:bodyPr vert="horz" lIns="0" tIns="0" rIns="0" bIns="0" rtlCol="0" anchor="t">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dirty="0"/>
              <a:t>Lorem ipsum dolor sit amet, consectetuer adipiscing elit </a:t>
            </a:r>
            <a:r>
              <a:rPr lang="en-US" dirty="0">
                <a:latin typeface="+mn-lt"/>
              </a:rPr>
              <a:t>Maecenas porttitor congue</a:t>
            </a:r>
          </a:p>
          <a:p>
            <a:pPr lvl="1"/>
            <a:r>
              <a:rPr lang="en-US" dirty="0"/>
              <a:t>Massa. Fusce posuere, magna sed pulvinar ultricies, purus lectus malesuada libero, sit amet commodo</a:t>
            </a:r>
          </a:p>
        </p:txBody>
      </p:sp>
      <p:sp>
        <p:nvSpPr>
          <p:cNvPr id="10" name="Rechteck: abgerundete Ecken 9">
            <a:extLst>
              <a:ext uri="{FF2B5EF4-FFF2-40B4-BE49-F238E27FC236}">
                <a16:creationId xmlns:a16="http://schemas.microsoft.com/office/drawing/2014/main" id="{70746486-97D4-4453-B8CE-160E0E7ABD00}"/>
              </a:ext>
            </a:extLst>
          </p:cNvPr>
          <p:cNvSpPr/>
          <p:nvPr/>
        </p:nvSpPr>
        <p:spPr bwMode="gray">
          <a:xfrm>
            <a:off x="623888" y="1772816"/>
            <a:ext cx="648000" cy="1440000"/>
          </a:xfrm>
          <a:prstGeom prst="roundRect">
            <a:avLst>
              <a:gd name="adj" fmla="val 24131"/>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dirty="0">
              <a:solidFill>
                <a:schemeClr val="bg1"/>
              </a:solidFill>
            </a:endParaRPr>
          </a:p>
        </p:txBody>
      </p:sp>
      <p:sp>
        <p:nvSpPr>
          <p:cNvPr id="20" name="Textplatzhalter 4">
            <a:extLst>
              <a:ext uri="{FF2B5EF4-FFF2-40B4-BE49-F238E27FC236}">
                <a16:creationId xmlns:a16="http://schemas.microsoft.com/office/drawing/2014/main" id="{D1601D7C-AA4F-4B33-8940-B3E555BE1FC9}"/>
              </a:ext>
            </a:extLst>
          </p:cNvPr>
          <p:cNvSpPr txBox="1">
            <a:spLocks/>
          </p:cNvSpPr>
          <p:nvPr/>
        </p:nvSpPr>
        <p:spPr bwMode="gray">
          <a:xfrm>
            <a:off x="5968268" y="1772815"/>
            <a:ext cx="3096000" cy="1440000"/>
          </a:xfrm>
          <a:prstGeom prst="rect">
            <a:avLst/>
          </a:prstGeom>
        </p:spPr>
        <p:txBody>
          <a:bodyPr vert="horz" lIns="0" tIns="0" rIns="0" bIns="0" rtlCol="0" anchor="t">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dirty="0"/>
              <a:t>Lorem ipsum dolor sit amet, consectetuer adipiscing elit </a:t>
            </a:r>
            <a:r>
              <a:rPr lang="en-US" dirty="0">
                <a:latin typeface="+mn-lt"/>
              </a:rPr>
              <a:t>Maecenas porttitor congue</a:t>
            </a:r>
          </a:p>
          <a:p>
            <a:pPr lvl="1"/>
            <a:r>
              <a:rPr lang="en-US" dirty="0"/>
              <a:t>Massa. Fusce posuere, magna sed pulvinar ultricies, purus lectus malesuada libero, sit amet commodo</a:t>
            </a:r>
          </a:p>
        </p:txBody>
      </p:sp>
      <p:sp>
        <p:nvSpPr>
          <p:cNvPr id="22" name="Rechteck: abgerundete Ecken 21">
            <a:extLst>
              <a:ext uri="{FF2B5EF4-FFF2-40B4-BE49-F238E27FC236}">
                <a16:creationId xmlns:a16="http://schemas.microsoft.com/office/drawing/2014/main" id="{DE4CB53F-13EE-4E0B-8B78-B6CBD488E48D}"/>
              </a:ext>
            </a:extLst>
          </p:cNvPr>
          <p:cNvSpPr/>
          <p:nvPr/>
        </p:nvSpPr>
        <p:spPr bwMode="gray">
          <a:xfrm>
            <a:off x="5088664" y="1772816"/>
            <a:ext cx="648000" cy="1440000"/>
          </a:xfrm>
          <a:prstGeom prst="roundRect">
            <a:avLst>
              <a:gd name="adj" fmla="val 24131"/>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dirty="0">
              <a:solidFill>
                <a:schemeClr val="bg1"/>
              </a:solidFill>
            </a:endParaRPr>
          </a:p>
        </p:txBody>
      </p:sp>
      <p:sp>
        <p:nvSpPr>
          <p:cNvPr id="28" name="Textplatzhalter 4">
            <a:extLst>
              <a:ext uri="{FF2B5EF4-FFF2-40B4-BE49-F238E27FC236}">
                <a16:creationId xmlns:a16="http://schemas.microsoft.com/office/drawing/2014/main" id="{1F1E017F-0AE5-4C5D-BE28-D7B8EF0EFB59}"/>
              </a:ext>
            </a:extLst>
          </p:cNvPr>
          <p:cNvSpPr txBox="1">
            <a:spLocks/>
          </p:cNvSpPr>
          <p:nvPr/>
        </p:nvSpPr>
        <p:spPr bwMode="gray">
          <a:xfrm>
            <a:off x="1503492" y="3861048"/>
            <a:ext cx="3096000" cy="1440000"/>
          </a:xfrm>
          <a:prstGeom prst="rect">
            <a:avLst/>
          </a:prstGeom>
        </p:spPr>
        <p:txBody>
          <a:bodyPr vert="horz" lIns="0" tIns="0" rIns="0" bIns="0" rtlCol="0" anchor="t">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dirty="0"/>
              <a:t>Lorem ipsum dolor sit amet, consectetuer adipiscing elit </a:t>
            </a:r>
            <a:r>
              <a:rPr lang="en-US" dirty="0">
                <a:latin typeface="+mn-lt"/>
              </a:rPr>
              <a:t>Maecenas porttitor congue</a:t>
            </a:r>
          </a:p>
          <a:p>
            <a:pPr lvl="1"/>
            <a:r>
              <a:rPr lang="en-US" dirty="0"/>
              <a:t>Massa. Fusce posuere, magna sed pulvinar ultricies, purus lectus malesuada libero, sit amet commodo</a:t>
            </a:r>
          </a:p>
        </p:txBody>
      </p:sp>
      <p:sp>
        <p:nvSpPr>
          <p:cNvPr id="30" name="Rechteck: abgerundete Ecken 29">
            <a:extLst>
              <a:ext uri="{FF2B5EF4-FFF2-40B4-BE49-F238E27FC236}">
                <a16:creationId xmlns:a16="http://schemas.microsoft.com/office/drawing/2014/main" id="{A34C3B39-57AC-4B47-9D6B-773B9D82B77A}"/>
              </a:ext>
            </a:extLst>
          </p:cNvPr>
          <p:cNvSpPr/>
          <p:nvPr/>
        </p:nvSpPr>
        <p:spPr bwMode="gray">
          <a:xfrm>
            <a:off x="623888" y="3861049"/>
            <a:ext cx="648000" cy="1440000"/>
          </a:xfrm>
          <a:prstGeom prst="roundRect">
            <a:avLst>
              <a:gd name="adj" fmla="val 24131"/>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dirty="0">
              <a:solidFill>
                <a:schemeClr val="bg1"/>
              </a:solidFill>
            </a:endParaRPr>
          </a:p>
        </p:txBody>
      </p:sp>
      <p:sp>
        <p:nvSpPr>
          <p:cNvPr id="11" name="Ellipse 10">
            <a:extLst>
              <a:ext uri="{FF2B5EF4-FFF2-40B4-BE49-F238E27FC236}">
                <a16:creationId xmlns:a16="http://schemas.microsoft.com/office/drawing/2014/main" id="{DFA9E95B-4AFF-4A4F-BF45-AAB207BC19BF}"/>
              </a:ext>
            </a:extLst>
          </p:cNvPr>
          <p:cNvSpPr/>
          <p:nvPr/>
        </p:nvSpPr>
        <p:spPr bwMode="gray">
          <a:xfrm>
            <a:off x="803888" y="1948809"/>
            <a:ext cx="288000" cy="288000"/>
          </a:xfrm>
          <a:prstGeom prst="ellipse">
            <a:avLst/>
          </a:prstGeom>
          <a:solidFill>
            <a:srgbClr val="C00000"/>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12" name="Ellipse 11">
            <a:extLst>
              <a:ext uri="{FF2B5EF4-FFF2-40B4-BE49-F238E27FC236}">
                <a16:creationId xmlns:a16="http://schemas.microsoft.com/office/drawing/2014/main" id="{4951F4D6-0620-4A91-B019-BE7095209E3A}"/>
              </a:ext>
            </a:extLst>
          </p:cNvPr>
          <p:cNvSpPr/>
          <p:nvPr/>
        </p:nvSpPr>
        <p:spPr bwMode="gray">
          <a:xfrm>
            <a:off x="803888" y="2344813"/>
            <a:ext cx="288000" cy="288000"/>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13" name="Ellipse 12">
            <a:extLst>
              <a:ext uri="{FF2B5EF4-FFF2-40B4-BE49-F238E27FC236}">
                <a16:creationId xmlns:a16="http://schemas.microsoft.com/office/drawing/2014/main" id="{7550DAA5-E0AD-4AB0-82C7-3A580BD0B809}"/>
              </a:ext>
            </a:extLst>
          </p:cNvPr>
          <p:cNvSpPr/>
          <p:nvPr/>
        </p:nvSpPr>
        <p:spPr bwMode="gray">
          <a:xfrm>
            <a:off x="803888" y="2740974"/>
            <a:ext cx="288000" cy="288000"/>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24" name="Ellipse 23">
            <a:extLst>
              <a:ext uri="{FF2B5EF4-FFF2-40B4-BE49-F238E27FC236}">
                <a16:creationId xmlns:a16="http://schemas.microsoft.com/office/drawing/2014/main" id="{00353A46-F60E-430D-BC0C-584FE231A634}"/>
              </a:ext>
            </a:extLst>
          </p:cNvPr>
          <p:cNvSpPr/>
          <p:nvPr/>
        </p:nvSpPr>
        <p:spPr bwMode="gray">
          <a:xfrm>
            <a:off x="5268664" y="1948809"/>
            <a:ext cx="288000" cy="288000"/>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25" name="Ellipse 24">
            <a:extLst>
              <a:ext uri="{FF2B5EF4-FFF2-40B4-BE49-F238E27FC236}">
                <a16:creationId xmlns:a16="http://schemas.microsoft.com/office/drawing/2014/main" id="{426E8F8D-3C72-4037-96B6-C0C741C19B97}"/>
              </a:ext>
            </a:extLst>
          </p:cNvPr>
          <p:cNvSpPr/>
          <p:nvPr/>
        </p:nvSpPr>
        <p:spPr bwMode="gray">
          <a:xfrm>
            <a:off x="5268664" y="2344813"/>
            <a:ext cx="288000" cy="288000"/>
          </a:xfrm>
          <a:prstGeom prst="ellipse">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26" name="Ellipse 25">
            <a:extLst>
              <a:ext uri="{FF2B5EF4-FFF2-40B4-BE49-F238E27FC236}">
                <a16:creationId xmlns:a16="http://schemas.microsoft.com/office/drawing/2014/main" id="{AB3E4E1B-A52F-4F09-8783-86EF9E8AB77A}"/>
              </a:ext>
            </a:extLst>
          </p:cNvPr>
          <p:cNvSpPr/>
          <p:nvPr/>
        </p:nvSpPr>
        <p:spPr bwMode="gray">
          <a:xfrm>
            <a:off x="5268664" y="2740974"/>
            <a:ext cx="288000" cy="288000"/>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32" name="Ellipse 31">
            <a:extLst>
              <a:ext uri="{FF2B5EF4-FFF2-40B4-BE49-F238E27FC236}">
                <a16:creationId xmlns:a16="http://schemas.microsoft.com/office/drawing/2014/main" id="{41C3D7F7-CB9E-44F5-9768-69EFB61106F8}"/>
              </a:ext>
            </a:extLst>
          </p:cNvPr>
          <p:cNvSpPr/>
          <p:nvPr/>
        </p:nvSpPr>
        <p:spPr bwMode="gray">
          <a:xfrm>
            <a:off x="803888" y="4037042"/>
            <a:ext cx="288000" cy="288000"/>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33" name="Ellipse 32">
            <a:extLst>
              <a:ext uri="{FF2B5EF4-FFF2-40B4-BE49-F238E27FC236}">
                <a16:creationId xmlns:a16="http://schemas.microsoft.com/office/drawing/2014/main" id="{996B761E-7656-40BD-9A6D-12D54945AD83}"/>
              </a:ext>
            </a:extLst>
          </p:cNvPr>
          <p:cNvSpPr/>
          <p:nvPr/>
        </p:nvSpPr>
        <p:spPr bwMode="gray">
          <a:xfrm>
            <a:off x="803888" y="4433046"/>
            <a:ext cx="288000" cy="288000"/>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34" name="Ellipse 33">
            <a:extLst>
              <a:ext uri="{FF2B5EF4-FFF2-40B4-BE49-F238E27FC236}">
                <a16:creationId xmlns:a16="http://schemas.microsoft.com/office/drawing/2014/main" id="{3BFD02F3-50A7-4E60-A6E1-5CF669D3D64B}"/>
              </a:ext>
            </a:extLst>
          </p:cNvPr>
          <p:cNvSpPr/>
          <p:nvPr/>
        </p:nvSpPr>
        <p:spPr bwMode="gray">
          <a:xfrm>
            <a:off x="803888" y="4829207"/>
            <a:ext cx="288000" cy="288000"/>
          </a:xfrm>
          <a:prstGeom prst="ellipse">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algn="ctr"/>
            <a:endParaRPr lang="en-US" sz="1600" b="1" dirty="0">
              <a:solidFill>
                <a:schemeClr val="bg1"/>
              </a:solidFill>
            </a:endParaRPr>
          </a:p>
        </p:txBody>
      </p:sp>
      <p:sp>
        <p:nvSpPr>
          <p:cNvPr id="3" name="Fußzeilenplatzhalter 2">
            <a:extLst>
              <a:ext uri="{FF2B5EF4-FFF2-40B4-BE49-F238E27FC236}">
                <a16:creationId xmlns:a16="http://schemas.microsoft.com/office/drawing/2014/main" id="{6648C927-7B37-4772-BF3B-8985EFBB71A7}"/>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F606156B-1D9E-4DEE-84D8-A2A0D92E7C22}"/>
              </a:ext>
            </a:extLst>
          </p:cNvPr>
          <p:cNvSpPr>
            <a:spLocks noGrp="1"/>
          </p:cNvSpPr>
          <p:nvPr>
            <p:ph type="sldNum" sz="quarter" idx="12"/>
          </p:nvPr>
        </p:nvSpPr>
        <p:spPr/>
        <p:txBody>
          <a:bodyPr/>
          <a:lstStyle/>
          <a:p>
            <a:fld id="{CE82B8A1-0CCE-4815-9668-383D7DE7D8B4}" type="slidenum">
              <a:rPr lang="en-US" noProof="0" smtClean="0"/>
              <a:t>39</a:t>
            </a:fld>
            <a:endParaRPr lang="en-US" noProof="0" dirty="0"/>
          </a:p>
        </p:txBody>
      </p:sp>
    </p:spTree>
    <p:extLst>
      <p:ext uri="{BB962C8B-B14F-4D97-AF65-F5344CB8AC3E}">
        <p14:creationId xmlns:p14="http://schemas.microsoft.com/office/powerpoint/2010/main" val="38060032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Ellipse 105">
            <a:extLst>
              <a:ext uri="{FF2B5EF4-FFF2-40B4-BE49-F238E27FC236}">
                <a16:creationId xmlns:a16="http://schemas.microsoft.com/office/drawing/2014/main" id="{46819EC4-63B6-4E1A-AF46-4AA968DE8474}"/>
              </a:ext>
            </a:extLst>
          </p:cNvPr>
          <p:cNvSpPr/>
          <p:nvPr/>
        </p:nvSpPr>
        <p:spPr bwMode="gray">
          <a:xfrm>
            <a:off x="4503356" y="332656"/>
            <a:ext cx="6162910" cy="6162910"/>
          </a:xfrm>
          <a:prstGeom prst="ellips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bg1"/>
              </a:solidFill>
            </a:endParaRPr>
          </a:p>
        </p:txBody>
      </p:sp>
      <p:sp>
        <p:nvSpPr>
          <p:cNvPr id="3" name="Titel 2">
            <a:extLst>
              <a:ext uri="{FF2B5EF4-FFF2-40B4-BE49-F238E27FC236}">
                <a16:creationId xmlns:a16="http://schemas.microsoft.com/office/drawing/2014/main" id="{89E365C9-C459-444C-B263-41AF62E61472}"/>
              </a:ext>
            </a:extLst>
          </p:cNvPr>
          <p:cNvSpPr>
            <a:spLocks noGrp="1"/>
          </p:cNvSpPr>
          <p:nvPr>
            <p:ph type="title"/>
          </p:nvPr>
        </p:nvSpPr>
        <p:spPr bwMode="gray"/>
        <p:txBody>
          <a:bodyPr/>
          <a:lstStyle/>
          <a:p>
            <a:r>
              <a:rPr lang="de-DE" dirty="0"/>
              <a:t>Colour Maps</a:t>
            </a:r>
          </a:p>
        </p:txBody>
      </p:sp>
      <p:sp>
        <p:nvSpPr>
          <p:cNvPr id="4" name="Textplatzhalter 3">
            <a:extLst>
              <a:ext uri="{FF2B5EF4-FFF2-40B4-BE49-F238E27FC236}">
                <a16:creationId xmlns:a16="http://schemas.microsoft.com/office/drawing/2014/main" id="{9DA69991-D41C-412C-8F89-8634B854D21D}"/>
              </a:ext>
            </a:extLst>
          </p:cNvPr>
          <p:cNvSpPr>
            <a:spLocks noGrp="1"/>
          </p:cNvSpPr>
          <p:nvPr>
            <p:ph type="body" sz="quarter" idx="15"/>
          </p:nvPr>
        </p:nvSpPr>
        <p:spPr bwMode="gray"/>
        <p:txBody>
          <a:bodyPr/>
          <a:lstStyle/>
          <a:p>
            <a:r>
              <a:rPr lang="de-DE" dirty="0">
                <a:latin typeface="+mn-lt"/>
              </a:rPr>
              <a:t>Click </a:t>
            </a:r>
            <a:r>
              <a:rPr lang="de-DE" dirty="0" err="1">
                <a:latin typeface="+mn-lt"/>
              </a:rPr>
              <a:t>with</a:t>
            </a:r>
            <a:r>
              <a:rPr lang="de-DE" dirty="0">
                <a:latin typeface="+mn-lt"/>
              </a:rPr>
              <a:t> a </a:t>
            </a:r>
            <a:r>
              <a:rPr lang="de-DE" dirty="0" err="1">
                <a:latin typeface="+mn-lt"/>
              </a:rPr>
              <a:t>right</a:t>
            </a:r>
            <a:r>
              <a:rPr lang="de-DE" dirty="0">
                <a:latin typeface="+mn-lt"/>
              </a:rPr>
              <a:t> </a:t>
            </a:r>
            <a:r>
              <a:rPr lang="de-DE" dirty="0" err="1">
                <a:latin typeface="+mn-lt"/>
              </a:rPr>
              <a:t>mouse</a:t>
            </a:r>
            <a:r>
              <a:rPr lang="de-DE" dirty="0">
                <a:latin typeface="+mn-lt"/>
              </a:rPr>
              <a:t> </a:t>
            </a:r>
            <a:r>
              <a:rPr lang="de-DE" dirty="0" err="1">
                <a:latin typeface="+mn-lt"/>
              </a:rPr>
              <a:t>click</a:t>
            </a:r>
            <a:r>
              <a:rPr lang="de-DE" dirty="0">
                <a:latin typeface="+mn-lt"/>
              </a:rPr>
              <a:t> on a </a:t>
            </a:r>
            <a:r>
              <a:rPr lang="de-DE" dirty="0" err="1">
                <a:latin typeface="+mn-lt"/>
              </a:rPr>
              <a:t>group</a:t>
            </a:r>
            <a:r>
              <a:rPr lang="de-DE" dirty="0">
                <a:latin typeface="+mn-lt"/>
              </a:rPr>
              <a:t> and </a:t>
            </a:r>
            <a:r>
              <a:rPr lang="de-DE" dirty="0" err="1">
                <a:latin typeface="+mn-lt"/>
              </a:rPr>
              <a:t>choose</a:t>
            </a:r>
            <a:r>
              <a:rPr lang="de-DE" dirty="0">
                <a:latin typeface="+mn-lt"/>
              </a:rPr>
              <a:t> “</a:t>
            </a:r>
            <a:r>
              <a:rPr lang="de-DE" dirty="0" err="1">
                <a:latin typeface="+mn-lt"/>
              </a:rPr>
              <a:t>format</a:t>
            </a:r>
            <a:r>
              <a:rPr lang="de-DE" dirty="0">
                <a:latin typeface="+mn-lt"/>
              </a:rPr>
              <a:t> </a:t>
            </a:r>
            <a:r>
              <a:rPr lang="de-DE" dirty="0" err="1">
                <a:latin typeface="+mn-lt"/>
              </a:rPr>
              <a:t>shape</a:t>
            </a:r>
            <a:r>
              <a:rPr lang="de-DE" dirty="0">
                <a:latin typeface="+mn-lt"/>
              </a:rPr>
              <a:t>”.</a:t>
            </a:r>
          </a:p>
          <a:p>
            <a:endParaRPr lang="de-DE" dirty="0">
              <a:latin typeface="+mn-lt"/>
            </a:endParaRPr>
          </a:p>
          <a:p>
            <a:r>
              <a:rPr lang="de-DE" dirty="0">
                <a:latin typeface="+mn-lt"/>
              </a:rPr>
              <a:t>A </a:t>
            </a:r>
            <a:r>
              <a:rPr lang="de-DE" dirty="0" err="1">
                <a:latin typeface="+mn-lt"/>
              </a:rPr>
              <a:t>sidebar</a:t>
            </a:r>
            <a:r>
              <a:rPr lang="de-DE" dirty="0">
                <a:latin typeface="+mn-lt"/>
              </a:rPr>
              <a:t> </a:t>
            </a:r>
            <a:r>
              <a:rPr lang="de-DE" dirty="0" err="1">
                <a:latin typeface="+mn-lt"/>
              </a:rPr>
              <a:t>is</a:t>
            </a:r>
            <a:r>
              <a:rPr lang="de-DE" dirty="0">
                <a:latin typeface="+mn-lt"/>
              </a:rPr>
              <a:t> </a:t>
            </a:r>
            <a:r>
              <a:rPr lang="de-DE" dirty="0" err="1">
                <a:latin typeface="+mn-lt"/>
              </a:rPr>
              <a:t>opening</a:t>
            </a:r>
            <a:r>
              <a:rPr lang="de-DE" dirty="0">
                <a:latin typeface="+mn-lt"/>
              </a:rPr>
              <a:t> on </a:t>
            </a:r>
            <a:r>
              <a:rPr lang="de-DE" dirty="0" err="1">
                <a:latin typeface="+mn-lt"/>
              </a:rPr>
              <a:t>the</a:t>
            </a:r>
            <a:r>
              <a:rPr lang="de-DE" dirty="0">
                <a:latin typeface="+mn-lt"/>
              </a:rPr>
              <a:t> </a:t>
            </a:r>
            <a:r>
              <a:rPr lang="de-DE" dirty="0" err="1">
                <a:latin typeface="+mn-lt"/>
              </a:rPr>
              <a:t>right</a:t>
            </a:r>
            <a:r>
              <a:rPr lang="de-DE" dirty="0">
                <a:latin typeface="+mn-lt"/>
              </a:rPr>
              <a:t> </a:t>
            </a:r>
            <a:r>
              <a:rPr lang="de-DE" dirty="0" err="1">
                <a:latin typeface="+mn-lt"/>
              </a:rPr>
              <a:t>hand</a:t>
            </a:r>
            <a:r>
              <a:rPr lang="de-DE" dirty="0">
                <a:latin typeface="+mn-lt"/>
              </a:rPr>
              <a:t> </a:t>
            </a:r>
            <a:r>
              <a:rPr lang="de-DE" dirty="0" err="1">
                <a:latin typeface="+mn-lt"/>
              </a:rPr>
              <a:t>side</a:t>
            </a:r>
            <a:r>
              <a:rPr lang="de-DE" dirty="0">
                <a:latin typeface="+mn-lt"/>
              </a:rPr>
              <a:t>. </a:t>
            </a:r>
            <a:r>
              <a:rPr lang="de-DE" dirty="0" err="1">
                <a:latin typeface="+mn-lt"/>
              </a:rPr>
              <a:t>Choose</a:t>
            </a:r>
            <a:r>
              <a:rPr lang="de-DE" dirty="0">
                <a:latin typeface="+mn-lt"/>
              </a:rPr>
              <a:t> “</a:t>
            </a:r>
            <a:r>
              <a:rPr lang="de-DE" dirty="0" err="1">
                <a:latin typeface="+mn-lt"/>
              </a:rPr>
              <a:t>fill</a:t>
            </a:r>
            <a:r>
              <a:rPr lang="de-DE" dirty="0">
                <a:latin typeface="+mn-lt"/>
              </a:rPr>
              <a:t>” </a:t>
            </a:r>
            <a:r>
              <a:rPr lang="de-DE" dirty="0" err="1">
                <a:latin typeface="+mn-lt"/>
              </a:rPr>
              <a:t>to</a:t>
            </a:r>
            <a:r>
              <a:rPr lang="de-DE" dirty="0">
                <a:latin typeface="+mn-lt"/>
              </a:rPr>
              <a:t> </a:t>
            </a:r>
            <a:r>
              <a:rPr lang="de-DE" dirty="0" err="1">
                <a:latin typeface="+mn-lt"/>
              </a:rPr>
              <a:t>add</a:t>
            </a:r>
            <a:r>
              <a:rPr lang="de-DE" dirty="0">
                <a:latin typeface="+mn-lt"/>
              </a:rPr>
              <a:t> </a:t>
            </a:r>
            <a:r>
              <a:rPr lang="de-DE" dirty="0" err="1">
                <a:latin typeface="+mn-lt"/>
              </a:rPr>
              <a:t>your</a:t>
            </a:r>
            <a:r>
              <a:rPr lang="de-DE" dirty="0">
                <a:latin typeface="+mn-lt"/>
              </a:rPr>
              <a:t> </a:t>
            </a:r>
            <a:r>
              <a:rPr lang="de-DE" dirty="0" err="1">
                <a:latin typeface="+mn-lt"/>
              </a:rPr>
              <a:t>favourite</a:t>
            </a:r>
            <a:r>
              <a:rPr lang="de-DE" dirty="0">
                <a:latin typeface="+mn-lt"/>
              </a:rPr>
              <a:t> </a:t>
            </a:r>
            <a:r>
              <a:rPr lang="de-DE" dirty="0" err="1">
                <a:latin typeface="+mn-lt"/>
              </a:rPr>
              <a:t>colour</a:t>
            </a:r>
            <a:r>
              <a:rPr lang="de-DE" dirty="0">
                <a:latin typeface="+mn-lt"/>
              </a:rPr>
              <a:t>.</a:t>
            </a:r>
          </a:p>
        </p:txBody>
      </p:sp>
      <p:grpSp>
        <p:nvGrpSpPr>
          <p:cNvPr id="5" name="Gruppieren 4">
            <a:extLst>
              <a:ext uri="{FF2B5EF4-FFF2-40B4-BE49-F238E27FC236}">
                <a16:creationId xmlns:a16="http://schemas.microsoft.com/office/drawing/2014/main" id="{18A7CD66-B33F-4CEB-ADD6-E94B09519A81}"/>
              </a:ext>
            </a:extLst>
          </p:cNvPr>
          <p:cNvGrpSpPr>
            <a:grpSpLocks noChangeAspect="1"/>
          </p:cNvGrpSpPr>
          <p:nvPr/>
        </p:nvGrpSpPr>
        <p:grpSpPr bwMode="gray">
          <a:xfrm flipH="1">
            <a:off x="8397052" y="1638932"/>
            <a:ext cx="2883524" cy="2880000"/>
            <a:chOff x="12646025" y="1482725"/>
            <a:chExt cx="3897313" cy="3892550"/>
          </a:xfrm>
        </p:grpSpPr>
        <p:sp>
          <p:nvSpPr>
            <p:cNvPr id="6" name="AutoShape 3">
              <a:extLst>
                <a:ext uri="{FF2B5EF4-FFF2-40B4-BE49-F238E27FC236}">
                  <a16:creationId xmlns:a16="http://schemas.microsoft.com/office/drawing/2014/main" id="{D254D020-35F8-462F-A2E2-DABF0EF8D563}"/>
                </a:ext>
              </a:extLst>
            </p:cNvPr>
            <p:cNvSpPr>
              <a:spLocks noChangeAspect="1" noChangeArrowheads="1" noTextEdit="1"/>
            </p:cNvSpPr>
            <p:nvPr/>
          </p:nvSpPr>
          <p:spPr bwMode="gray">
            <a:xfrm>
              <a:off x="12649200" y="1485900"/>
              <a:ext cx="3890963"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 name="Oval 5">
              <a:extLst>
                <a:ext uri="{FF2B5EF4-FFF2-40B4-BE49-F238E27FC236}">
                  <a16:creationId xmlns:a16="http://schemas.microsoft.com/office/drawing/2014/main" id="{2CF2716B-55CC-4965-9C16-16313C5A3195}"/>
                </a:ext>
              </a:extLst>
            </p:cNvPr>
            <p:cNvSpPr>
              <a:spLocks noChangeArrowheads="1"/>
            </p:cNvSpPr>
            <p:nvPr/>
          </p:nvSpPr>
          <p:spPr bwMode="gray">
            <a:xfrm>
              <a:off x="12646025" y="1482725"/>
              <a:ext cx="3897313" cy="3892550"/>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8" name="Freeform 50">
              <a:extLst>
                <a:ext uri="{FF2B5EF4-FFF2-40B4-BE49-F238E27FC236}">
                  <a16:creationId xmlns:a16="http://schemas.microsoft.com/office/drawing/2014/main" id="{6C2B6394-D834-46F3-B644-5AA43C941090}"/>
                </a:ext>
              </a:extLst>
            </p:cNvPr>
            <p:cNvSpPr>
              <a:spLocks/>
            </p:cNvSpPr>
            <p:nvPr/>
          </p:nvSpPr>
          <p:spPr bwMode="gray">
            <a:xfrm>
              <a:off x="12761913" y="3536950"/>
              <a:ext cx="2373313" cy="1389063"/>
            </a:xfrm>
            <a:custGeom>
              <a:avLst/>
              <a:gdLst>
                <a:gd name="T0" fmla="*/ 0 w 633"/>
                <a:gd name="T1" fmla="*/ 0 h 371"/>
                <a:gd name="T2" fmla="*/ 0 w 633"/>
                <a:gd name="T3" fmla="*/ 342 h 371"/>
                <a:gd name="T4" fmla="*/ 8 w 633"/>
                <a:gd name="T5" fmla="*/ 363 h 371"/>
                <a:gd name="T6" fmla="*/ 29 w 633"/>
                <a:gd name="T7" fmla="*/ 371 h 371"/>
                <a:gd name="T8" fmla="*/ 603 w 633"/>
                <a:gd name="T9" fmla="*/ 371 h 371"/>
                <a:gd name="T10" fmla="*/ 624 w 633"/>
                <a:gd name="T11" fmla="*/ 363 h 371"/>
                <a:gd name="T12" fmla="*/ 633 w 633"/>
                <a:gd name="T13" fmla="*/ 342 h 371"/>
                <a:gd name="T14" fmla="*/ 633 w 633"/>
                <a:gd name="T15" fmla="*/ 0 h 371"/>
                <a:gd name="T16" fmla="*/ 0 w 633"/>
                <a:gd name="T17"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3" h="371">
                  <a:moveTo>
                    <a:pt x="0" y="0"/>
                  </a:moveTo>
                  <a:cubicBezTo>
                    <a:pt x="0" y="342"/>
                    <a:pt x="0" y="342"/>
                    <a:pt x="0" y="342"/>
                  </a:cubicBezTo>
                  <a:cubicBezTo>
                    <a:pt x="0" y="349"/>
                    <a:pt x="3" y="357"/>
                    <a:pt x="8" y="363"/>
                  </a:cubicBezTo>
                  <a:cubicBezTo>
                    <a:pt x="14" y="368"/>
                    <a:pt x="22" y="371"/>
                    <a:pt x="29" y="371"/>
                  </a:cubicBezTo>
                  <a:cubicBezTo>
                    <a:pt x="603" y="371"/>
                    <a:pt x="603" y="371"/>
                    <a:pt x="603" y="371"/>
                  </a:cubicBezTo>
                  <a:cubicBezTo>
                    <a:pt x="611" y="371"/>
                    <a:pt x="618" y="368"/>
                    <a:pt x="624" y="363"/>
                  </a:cubicBezTo>
                  <a:cubicBezTo>
                    <a:pt x="630" y="357"/>
                    <a:pt x="633" y="349"/>
                    <a:pt x="633" y="342"/>
                  </a:cubicBezTo>
                  <a:cubicBezTo>
                    <a:pt x="633" y="0"/>
                    <a:pt x="633" y="0"/>
                    <a:pt x="633" y="0"/>
                  </a:cubicBezTo>
                  <a:lnTo>
                    <a:pt x="0"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9" name="Freeform 51">
              <a:extLst>
                <a:ext uri="{FF2B5EF4-FFF2-40B4-BE49-F238E27FC236}">
                  <a16:creationId xmlns:a16="http://schemas.microsoft.com/office/drawing/2014/main" id="{E768786F-435C-4315-A253-F7919E7F7EB4}"/>
                </a:ext>
              </a:extLst>
            </p:cNvPr>
            <p:cNvSpPr>
              <a:spLocks/>
            </p:cNvSpPr>
            <p:nvPr/>
          </p:nvSpPr>
          <p:spPr bwMode="gray">
            <a:xfrm>
              <a:off x="13654088" y="4484688"/>
              <a:ext cx="588963" cy="355600"/>
            </a:xfrm>
            <a:custGeom>
              <a:avLst/>
              <a:gdLst>
                <a:gd name="T0" fmla="*/ 157 w 157"/>
                <a:gd name="T1" fmla="*/ 93 h 95"/>
                <a:gd name="T2" fmla="*/ 154 w 157"/>
                <a:gd name="T3" fmla="*/ 95 h 95"/>
                <a:gd name="T4" fmla="*/ 2 w 157"/>
                <a:gd name="T5" fmla="*/ 95 h 95"/>
                <a:gd name="T6" fmla="*/ 0 w 157"/>
                <a:gd name="T7" fmla="*/ 93 h 95"/>
                <a:gd name="T8" fmla="*/ 0 w 157"/>
                <a:gd name="T9" fmla="*/ 2 h 95"/>
                <a:gd name="T10" fmla="*/ 2 w 157"/>
                <a:gd name="T11" fmla="*/ 0 h 95"/>
                <a:gd name="T12" fmla="*/ 154 w 157"/>
                <a:gd name="T13" fmla="*/ 0 h 95"/>
                <a:gd name="T14" fmla="*/ 157 w 157"/>
                <a:gd name="T15" fmla="*/ 2 h 95"/>
                <a:gd name="T16" fmla="*/ 157 w 157"/>
                <a:gd name="T17" fmla="*/ 9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95">
                  <a:moveTo>
                    <a:pt x="157" y="93"/>
                  </a:moveTo>
                  <a:cubicBezTo>
                    <a:pt x="157" y="94"/>
                    <a:pt x="156" y="95"/>
                    <a:pt x="154" y="95"/>
                  </a:cubicBezTo>
                  <a:cubicBezTo>
                    <a:pt x="2" y="95"/>
                    <a:pt x="2" y="95"/>
                    <a:pt x="2" y="95"/>
                  </a:cubicBezTo>
                  <a:cubicBezTo>
                    <a:pt x="1" y="95"/>
                    <a:pt x="0" y="94"/>
                    <a:pt x="0" y="93"/>
                  </a:cubicBezTo>
                  <a:cubicBezTo>
                    <a:pt x="0" y="2"/>
                    <a:pt x="0" y="2"/>
                    <a:pt x="0" y="2"/>
                  </a:cubicBezTo>
                  <a:cubicBezTo>
                    <a:pt x="0" y="1"/>
                    <a:pt x="1" y="0"/>
                    <a:pt x="2" y="0"/>
                  </a:cubicBezTo>
                  <a:cubicBezTo>
                    <a:pt x="154" y="0"/>
                    <a:pt x="154" y="0"/>
                    <a:pt x="154" y="0"/>
                  </a:cubicBezTo>
                  <a:cubicBezTo>
                    <a:pt x="156" y="0"/>
                    <a:pt x="157" y="1"/>
                    <a:pt x="157" y="2"/>
                  </a:cubicBezTo>
                  <a:lnTo>
                    <a:pt x="157" y="9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0" name="Freeform 52">
              <a:extLst>
                <a:ext uri="{FF2B5EF4-FFF2-40B4-BE49-F238E27FC236}">
                  <a16:creationId xmlns:a16="http://schemas.microsoft.com/office/drawing/2014/main" id="{F58BE4B4-BCE8-4CFB-A06C-1A94FBABE3A8}"/>
                </a:ext>
              </a:extLst>
            </p:cNvPr>
            <p:cNvSpPr>
              <a:spLocks/>
            </p:cNvSpPr>
            <p:nvPr/>
          </p:nvSpPr>
          <p:spPr bwMode="gray">
            <a:xfrm>
              <a:off x="12900025" y="3676650"/>
              <a:ext cx="120650" cy="119063"/>
            </a:xfrm>
            <a:custGeom>
              <a:avLst/>
              <a:gdLst>
                <a:gd name="T0" fmla="*/ 32 w 32"/>
                <a:gd name="T1" fmla="*/ 30 h 32"/>
                <a:gd name="T2" fmla="*/ 31 w 32"/>
                <a:gd name="T3" fmla="*/ 32 h 32"/>
                <a:gd name="T4" fmla="*/ 2 w 32"/>
                <a:gd name="T5" fmla="*/ 32 h 32"/>
                <a:gd name="T6" fmla="*/ 0 w 32"/>
                <a:gd name="T7" fmla="*/ 30 h 32"/>
                <a:gd name="T8" fmla="*/ 0 w 32"/>
                <a:gd name="T9" fmla="*/ 2 h 32"/>
                <a:gd name="T10" fmla="*/ 2 w 32"/>
                <a:gd name="T11" fmla="*/ 0 h 32"/>
                <a:gd name="T12" fmla="*/ 31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2" y="32"/>
                    <a:pt x="31" y="32"/>
                  </a:cubicBezTo>
                  <a:cubicBezTo>
                    <a:pt x="2" y="32"/>
                    <a:pt x="2" y="32"/>
                    <a:pt x="2" y="32"/>
                  </a:cubicBezTo>
                  <a:cubicBezTo>
                    <a:pt x="1" y="32"/>
                    <a:pt x="0" y="31"/>
                    <a:pt x="0" y="30"/>
                  </a:cubicBezTo>
                  <a:cubicBezTo>
                    <a:pt x="0" y="2"/>
                    <a:pt x="0" y="2"/>
                    <a:pt x="0" y="2"/>
                  </a:cubicBezTo>
                  <a:cubicBezTo>
                    <a:pt x="0" y="1"/>
                    <a:pt x="1" y="0"/>
                    <a:pt x="2" y="0"/>
                  </a:cubicBezTo>
                  <a:cubicBezTo>
                    <a:pt x="31" y="0"/>
                    <a:pt x="31" y="0"/>
                    <a:pt x="31" y="0"/>
                  </a:cubicBezTo>
                  <a:cubicBezTo>
                    <a:pt x="32"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1" name="Freeform 53">
              <a:extLst>
                <a:ext uri="{FF2B5EF4-FFF2-40B4-BE49-F238E27FC236}">
                  <a16:creationId xmlns:a16="http://schemas.microsoft.com/office/drawing/2014/main" id="{618B50F7-0975-4310-8D9A-81A2AA8B0EE0}"/>
                </a:ext>
              </a:extLst>
            </p:cNvPr>
            <p:cNvSpPr>
              <a:spLocks/>
            </p:cNvSpPr>
            <p:nvPr/>
          </p:nvSpPr>
          <p:spPr bwMode="gray">
            <a:xfrm>
              <a:off x="13122275"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2" name="Freeform 54">
              <a:extLst>
                <a:ext uri="{FF2B5EF4-FFF2-40B4-BE49-F238E27FC236}">
                  <a16:creationId xmlns:a16="http://schemas.microsoft.com/office/drawing/2014/main" id="{3FFC6530-F6AE-4440-A727-5B8C062D744F}"/>
                </a:ext>
              </a:extLst>
            </p:cNvPr>
            <p:cNvSpPr>
              <a:spLocks/>
            </p:cNvSpPr>
            <p:nvPr/>
          </p:nvSpPr>
          <p:spPr bwMode="gray">
            <a:xfrm>
              <a:off x="13155613" y="39687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3" name="Freeform 55">
              <a:extLst>
                <a:ext uri="{FF2B5EF4-FFF2-40B4-BE49-F238E27FC236}">
                  <a16:creationId xmlns:a16="http://schemas.microsoft.com/office/drawing/2014/main" id="{8339D870-C349-4A64-80B8-4831556FBFC6}"/>
                </a:ext>
              </a:extLst>
            </p:cNvPr>
            <p:cNvSpPr>
              <a:spLocks/>
            </p:cNvSpPr>
            <p:nvPr/>
          </p:nvSpPr>
          <p:spPr bwMode="gray">
            <a:xfrm>
              <a:off x="13084175"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4" name="Freeform 56">
              <a:extLst>
                <a:ext uri="{FF2B5EF4-FFF2-40B4-BE49-F238E27FC236}">
                  <a16:creationId xmlns:a16="http://schemas.microsoft.com/office/drawing/2014/main" id="{3F9D6E25-BFAE-414E-B0A7-188ADAF99655}"/>
                </a:ext>
              </a:extLst>
            </p:cNvPr>
            <p:cNvSpPr>
              <a:spLocks/>
            </p:cNvSpPr>
            <p:nvPr/>
          </p:nvSpPr>
          <p:spPr bwMode="gray">
            <a:xfrm>
              <a:off x="12900025" y="4260850"/>
              <a:ext cx="120650" cy="133350"/>
            </a:xfrm>
            <a:custGeom>
              <a:avLst/>
              <a:gdLst>
                <a:gd name="T0" fmla="*/ 32 w 32"/>
                <a:gd name="T1" fmla="*/ 35 h 36"/>
                <a:gd name="T2" fmla="*/ 31 w 32"/>
                <a:gd name="T3" fmla="*/ 36 h 36"/>
                <a:gd name="T4" fmla="*/ 2 w 32"/>
                <a:gd name="T5" fmla="*/ 36 h 36"/>
                <a:gd name="T6" fmla="*/ 0 w 32"/>
                <a:gd name="T7" fmla="*/ 35 h 36"/>
                <a:gd name="T8" fmla="*/ 0 w 32"/>
                <a:gd name="T9" fmla="*/ 1 h 36"/>
                <a:gd name="T10" fmla="*/ 2 w 32"/>
                <a:gd name="T11" fmla="*/ 0 h 36"/>
                <a:gd name="T12" fmla="*/ 31 w 32"/>
                <a:gd name="T13" fmla="*/ 0 h 36"/>
                <a:gd name="T14" fmla="*/ 32 w 32"/>
                <a:gd name="T15" fmla="*/ 1 h 36"/>
                <a:gd name="T16" fmla="*/ 32 w 3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32" y="35"/>
                  </a:moveTo>
                  <a:cubicBezTo>
                    <a:pt x="32" y="36"/>
                    <a:pt x="32" y="36"/>
                    <a:pt x="31" y="36"/>
                  </a:cubicBezTo>
                  <a:cubicBezTo>
                    <a:pt x="2" y="36"/>
                    <a:pt x="2" y="36"/>
                    <a:pt x="2" y="36"/>
                  </a:cubicBezTo>
                  <a:cubicBezTo>
                    <a:pt x="1" y="36"/>
                    <a:pt x="0" y="36"/>
                    <a:pt x="0" y="35"/>
                  </a:cubicBezTo>
                  <a:cubicBezTo>
                    <a:pt x="0" y="1"/>
                    <a:pt x="0" y="1"/>
                    <a:pt x="0" y="1"/>
                  </a:cubicBezTo>
                  <a:cubicBezTo>
                    <a:pt x="0" y="0"/>
                    <a:pt x="1" y="0"/>
                    <a:pt x="2" y="0"/>
                  </a:cubicBezTo>
                  <a:cubicBezTo>
                    <a:pt x="31" y="0"/>
                    <a:pt x="31" y="0"/>
                    <a:pt x="31" y="0"/>
                  </a:cubicBezTo>
                  <a:cubicBezTo>
                    <a:pt x="32" y="0"/>
                    <a:pt x="32" y="0"/>
                    <a:pt x="32" y="1"/>
                  </a:cubicBezTo>
                  <a:lnTo>
                    <a:pt x="3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5" name="Freeform 57">
              <a:extLst>
                <a:ext uri="{FF2B5EF4-FFF2-40B4-BE49-F238E27FC236}">
                  <a16:creationId xmlns:a16="http://schemas.microsoft.com/office/drawing/2014/main" id="{5529374F-91C1-4460-992B-426A788303FB}"/>
                </a:ext>
              </a:extLst>
            </p:cNvPr>
            <p:cNvSpPr>
              <a:spLocks/>
            </p:cNvSpPr>
            <p:nvPr/>
          </p:nvSpPr>
          <p:spPr bwMode="gray">
            <a:xfrm>
              <a:off x="13046075" y="4260850"/>
              <a:ext cx="120650" cy="133350"/>
            </a:xfrm>
            <a:custGeom>
              <a:avLst/>
              <a:gdLst>
                <a:gd name="T0" fmla="*/ 32 w 32"/>
                <a:gd name="T1" fmla="*/ 35 h 36"/>
                <a:gd name="T2" fmla="*/ 30 w 32"/>
                <a:gd name="T3" fmla="*/ 36 h 36"/>
                <a:gd name="T4" fmla="*/ 2 w 32"/>
                <a:gd name="T5" fmla="*/ 36 h 36"/>
                <a:gd name="T6" fmla="*/ 0 w 32"/>
                <a:gd name="T7" fmla="*/ 35 h 36"/>
                <a:gd name="T8" fmla="*/ 0 w 32"/>
                <a:gd name="T9" fmla="*/ 1 h 36"/>
                <a:gd name="T10" fmla="*/ 2 w 32"/>
                <a:gd name="T11" fmla="*/ 0 h 36"/>
                <a:gd name="T12" fmla="*/ 30 w 32"/>
                <a:gd name="T13" fmla="*/ 0 h 36"/>
                <a:gd name="T14" fmla="*/ 32 w 32"/>
                <a:gd name="T15" fmla="*/ 1 h 36"/>
                <a:gd name="T16" fmla="*/ 32 w 3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32" y="35"/>
                  </a:moveTo>
                  <a:cubicBezTo>
                    <a:pt x="32" y="36"/>
                    <a:pt x="31" y="36"/>
                    <a:pt x="30" y="36"/>
                  </a:cubicBezTo>
                  <a:cubicBezTo>
                    <a:pt x="2" y="36"/>
                    <a:pt x="2" y="36"/>
                    <a:pt x="2" y="36"/>
                  </a:cubicBezTo>
                  <a:cubicBezTo>
                    <a:pt x="1" y="36"/>
                    <a:pt x="0" y="36"/>
                    <a:pt x="0" y="35"/>
                  </a:cubicBezTo>
                  <a:cubicBezTo>
                    <a:pt x="0" y="1"/>
                    <a:pt x="0" y="1"/>
                    <a:pt x="0" y="1"/>
                  </a:cubicBezTo>
                  <a:cubicBezTo>
                    <a:pt x="0" y="0"/>
                    <a:pt x="1" y="0"/>
                    <a:pt x="2" y="0"/>
                  </a:cubicBezTo>
                  <a:cubicBezTo>
                    <a:pt x="30" y="0"/>
                    <a:pt x="30" y="0"/>
                    <a:pt x="30" y="0"/>
                  </a:cubicBezTo>
                  <a:cubicBezTo>
                    <a:pt x="31" y="0"/>
                    <a:pt x="32" y="0"/>
                    <a:pt x="32" y="1"/>
                  </a:cubicBezTo>
                  <a:lnTo>
                    <a:pt x="3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6" name="Freeform 58">
              <a:extLst>
                <a:ext uri="{FF2B5EF4-FFF2-40B4-BE49-F238E27FC236}">
                  <a16:creationId xmlns:a16="http://schemas.microsoft.com/office/drawing/2014/main" id="{335BF775-E27E-4484-8A85-060366593ED2}"/>
                </a:ext>
              </a:extLst>
            </p:cNvPr>
            <p:cNvSpPr>
              <a:spLocks/>
            </p:cNvSpPr>
            <p:nvPr/>
          </p:nvSpPr>
          <p:spPr bwMode="gray">
            <a:xfrm>
              <a:off x="13192125" y="4260850"/>
              <a:ext cx="120650" cy="133350"/>
            </a:xfrm>
            <a:custGeom>
              <a:avLst/>
              <a:gdLst>
                <a:gd name="T0" fmla="*/ 32 w 32"/>
                <a:gd name="T1" fmla="*/ 35 h 36"/>
                <a:gd name="T2" fmla="*/ 30 w 32"/>
                <a:gd name="T3" fmla="*/ 36 h 36"/>
                <a:gd name="T4" fmla="*/ 2 w 32"/>
                <a:gd name="T5" fmla="*/ 36 h 36"/>
                <a:gd name="T6" fmla="*/ 0 w 32"/>
                <a:gd name="T7" fmla="*/ 35 h 36"/>
                <a:gd name="T8" fmla="*/ 0 w 32"/>
                <a:gd name="T9" fmla="*/ 1 h 36"/>
                <a:gd name="T10" fmla="*/ 2 w 32"/>
                <a:gd name="T11" fmla="*/ 0 h 36"/>
                <a:gd name="T12" fmla="*/ 30 w 32"/>
                <a:gd name="T13" fmla="*/ 0 h 36"/>
                <a:gd name="T14" fmla="*/ 32 w 32"/>
                <a:gd name="T15" fmla="*/ 1 h 36"/>
                <a:gd name="T16" fmla="*/ 32 w 3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32" y="35"/>
                  </a:moveTo>
                  <a:cubicBezTo>
                    <a:pt x="32" y="36"/>
                    <a:pt x="31" y="36"/>
                    <a:pt x="30" y="36"/>
                  </a:cubicBezTo>
                  <a:cubicBezTo>
                    <a:pt x="2" y="36"/>
                    <a:pt x="2" y="36"/>
                    <a:pt x="2" y="36"/>
                  </a:cubicBezTo>
                  <a:cubicBezTo>
                    <a:pt x="1" y="36"/>
                    <a:pt x="0" y="36"/>
                    <a:pt x="0" y="35"/>
                  </a:cubicBezTo>
                  <a:cubicBezTo>
                    <a:pt x="0" y="1"/>
                    <a:pt x="0" y="1"/>
                    <a:pt x="0" y="1"/>
                  </a:cubicBezTo>
                  <a:cubicBezTo>
                    <a:pt x="0" y="0"/>
                    <a:pt x="1" y="0"/>
                    <a:pt x="2" y="0"/>
                  </a:cubicBezTo>
                  <a:cubicBezTo>
                    <a:pt x="30" y="0"/>
                    <a:pt x="30" y="0"/>
                    <a:pt x="30" y="0"/>
                  </a:cubicBezTo>
                  <a:cubicBezTo>
                    <a:pt x="31" y="0"/>
                    <a:pt x="32" y="0"/>
                    <a:pt x="32" y="1"/>
                  </a:cubicBezTo>
                  <a:lnTo>
                    <a:pt x="3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7" name="Freeform 59">
              <a:extLst>
                <a:ext uri="{FF2B5EF4-FFF2-40B4-BE49-F238E27FC236}">
                  <a16:creationId xmlns:a16="http://schemas.microsoft.com/office/drawing/2014/main" id="{8C814B1C-27CC-4794-AFBE-61481CA5643C}"/>
                </a:ext>
              </a:extLst>
            </p:cNvPr>
            <p:cNvSpPr>
              <a:spLocks/>
            </p:cNvSpPr>
            <p:nvPr/>
          </p:nvSpPr>
          <p:spPr bwMode="gray">
            <a:xfrm>
              <a:off x="14433550" y="4260850"/>
              <a:ext cx="120650" cy="133350"/>
            </a:xfrm>
            <a:custGeom>
              <a:avLst/>
              <a:gdLst>
                <a:gd name="T0" fmla="*/ 32 w 32"/>
                <a:gd name="T1" fmla="*/ 35 h 36"/>
                <a:gd name="T2" fmla="*/ 30 w 32"/>
                <a:gd name="T3" fmla="*/ 36 h 36"/>
                <a:gd name="T4" fmla="*/ 2 w 32"/>
                <a:gd name="T5" fmla="*/ 36 h 36"/>
                <a:gd name="T6" fmla="*/ 0 w 32"/>
                <a:gd name="T7" fmla="*/ 35 h 36"/>
                <a:gd name="T8" fmla="*/ 0 w 32"/>
                <a:gd name="T9" fmla="*/ 1 h 36"/>
                <a:gd name="T10" fmla="*/ 2 w 32"/>
                <a:gd name="T11" fmla="*/ 0 h 36"/>
                <a:gd name="T12" fmla="*/ 30 w 32"/>
                <a:gd name="T13" fmla="*/ 0 h 36"/>
                <a:gd name="T14" fmla="*/ 32 w 32"/>
                <a:gd name="T15" fmla="*/ 1 h 36"/>
                <a:gd name="T16" fmla="*/ 32 w 3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32" y="35"/>
                  </a:moveTo>
                  <a:cubicBezTo>
                    <a:pt x="32" y="36"/>
                    <a:pt x="31" y="36"/>
                    <a:pt x="30" y="36"/>
                  </a:cubicBezTo>
                  <a:cubicBezTo>
                    <a:pt x="2" y="36"/>
                    <a:pt x="2" y="36"/>
                    <a:pt x="2" y="36"/>
                  </a:cubicBezTo>
                  <a:cubicBezTo>
                    <a:pt x="1" y="36"/>
                    <a:pt x="0" y="36"/>
                    <a:pt x="0" y="35"/>
                  </a:cubicBezTo>
                  <a:cubicBezTo>
                    <a:pt x="0" y="1"/>
                    <a:pt x="0" y="1"/>
                    <a:pt x="0" y="1"/>
                  </a:cubicBezTo>
                  <a:cubicBezTo>
                    <a:pt x="0" y="0"/>
                    <a:pt x="1" y="0"/>
                    <a:pt x="2" y="0"/>
                  </a:cubicBezTo>
                  <a:cubicBezTo>
                    <a:pt x="30" y="0"/>
                    <a:pt x="30" y="0"/>
                    <a:pt x="30" y="0"/>
                  </a:cubicBezTo>
                  <a:cubicBezTo>
                    <a:pt x="31" y="0"/>
                    <a:pt x="32" y="0"/>
                    <a:pt x="32" y="1"/>
                  </a:cubicBezTo>
                  <a:lnTo>
                    <a:pt x="3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8" name="Freeform 60">
              <a:extLst>
                <a:ext uri="{FF2B5EF4-FFF2-40B4-BE49-F238E27FC236}">
                  <a16:creationId xmlns:a16="http://schemas.microsoft.com/office/drawing/2014/main" id="{481EDDEB-0C3E-40C1-B044-E85F3AF070AA}"/>
                </a:ext>
              </a:extLst>
            </p:cNvPr>
            <p:cNvSpPr>
              <a:spLocks/>
            </p:cNvSpPr>
            <p:nvPr/>
          </p:nvSpPr>
          <p:spPr bwMode="gray">
            <a:xfrm>
              <a:off x="14579600" y="4327525"/>
              <a:ext cx="120650" cy="66675"/>
            </a:xfrm>
            <a:custGeom>
              <a:avLst/>
              <a:gdLst>
                <a:gd name="T0" fmla="*/ 32 w 32"/>
                <a:gd name="T1" fmla="*/ 17 h 18"/>
                <a:gd name="T2" fmla="*/ 30 w 32"/>
                <a:gd name="T3" fmla="*/ 18 h 18"/>
                <a:gd name="T4" fmla="*/ 2 w 32"/>
                <a:gd name="T5" fmla="*/ 18 h 18"/>
                <a:gd name="T6" fmla="*/ 0 w 32"/>
                <a:gd name="T7" fmla="*/ 17 h 18"/>
                <a:gd name="T8" fmla="*/ 0 w 32"/>
                <a:gd name="T9" fmla="*/ 2 h 18"/>
                <a:gd name="T10" fmla="*/ 2 w 32"/>
                <a:gd name="T11" fmla="*/ 0 h 18"/>
                <a:gd name="T12" fmla="*/ 30 w 32"/>
                <a:gd name="T13" fmla="*/ 0 h 18"/>
                <a:gd name="T14" fmla="*/ 32 w 32"/>
                <a:gd name="T15" fmla="*/ 2 h 18"/>
                <a:gd name="T16" fmla="*/ 32 w 32"/>
                <a:gd name="T17"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8">
                  <a:moveTo>
                    <a:pt x="32" y="17"/>
                  </a:moveTo>
                  <a:cubicBezTo>
                    <a:pt x="32" y="18"/>
                    <a:pt x="31" y="18"/>
                    <a:pt x="30" y="18"/>
                  </a:cubicBezTo>
                  <a:cubicBezTo>
                    <a:pt x="2" y="18"/>
                    <a:pt x="2" y="18"/>
                    <a:pt x="2" y="18"/>
                  </a:cubicBezTo>
                  <a:cubicBezTo>
                    <a:pt x="1" y="18"/>
                    <a:pt x="0" y="18"/>
                    <a:pt x="0" y="17"/>
                  </a:cubicBezTo>
                  <a:cubicBezTo>
                    <a:pt x="0" y="2"/>
                    <a:pt x="0" y="2"/>
                    <a:pt x="0" y="2"/>
                  </a:cubicBezTo>
                  <a:cubicBezTo>
                    <a:pt x="0" y="1"/>
                    <a:pt x="1" y="0"/>
                    <a:pt x="2" y="0"/>
                  </a:cubicBezTo>
                  <a:cubicBezTo>
                    <a:pt x="30" y="0"/>
                    <a:pt x="30" y="0"/>
                    <a:pt x="30" y="0"/>
                  </a:cubicBezTo>
                  <a:cubicBezTo>
                    <a:pt x="31" y="0"/>
                    <a:pt x="32" y="1"/>
                    <a:pt x="32" y="2"/>
                  </a:cubicBezTo>
                  <a:lnTo>
                    <a:pt x="32"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9" name="Freeform 61">
              <a:extLst>
                <a:ext uri="{FF2B5EF4-FFF2-40B4-BE49-F238E27FC236}">
                  <a16:creationId xmlns:a16="http://schemas.microsoft.com/office/drawing/2014/main" id="{1EDE35B3-C86C-4B63-870E-7AD15494F457}"/>
                </a:ext>
              </a:extLst>
            </p:cNvPr>
            <p:cNvSpPr>
              <a:spLocks/>
            </p:cNvSpPr>
            <p:nvPr/>
          </p:nvSpPr>
          <p:spPr bwMode="gray">
            <a:xfrm>
              <a:off x="14871700" y="4327525"/>
              <a:ext cx="120650" cy="66675"/>
            </a:xfrm>
            <a:custGeom>
              <a:avLst/>
              <a:gdLst>
                <a:gd name="T0" fmla="*/ 32 w 32"/>
                <a:gd name="T1" fmla="*/ 17 h 18"/>
                <a:gd name="T2" fmla="*/ 30 w 32"/>
                <a:gd name="T3" fmla="*/ 18 h 18"/>
                <a:gd name="T4" fmla="*/ 2 w 32"/>
                <a:gd name="T5" fmla="*/ 18 h 18"/>
                <a:gd name="T6" fmla="*/ 0 w 32"/>
                <a:gd name="T7" fmla="*/ 17 h 18"/>
                <a:gd name="T8" fmla="*/ 0 w 32"/>
                <a:gd name="T9" fmla="*/ 2 h 18"/>
                <a:gd name="T10" fmla="*/ 2 w 32"/>
                <a:gd name="T11" fmla="*/ 0 h 18"/>
                <a:gd name="T12" fmla="*/ 30 w 32"/>
                <a:gd name="T13" fmla="*/ 0 h 18"/>
                <a:gd name="T14" fmla="*/ 32 w 32"/>
                <a:gd name="T15" fmla="*/ 2 h 18"/>
                <a:gd name="T16" fmla="*/ 32 w 32"/>
                <a:gd name="T17"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8">
                  <a:moveTo>
                    <a:pt x="32" y="17"/>
                  </a:moveTo>
                  <a:cubicBezTo>
                    <a:pt x="32" y="18"/>
                    <a:pt x="31" y="18"/>
                    <a:pt x="30" y="18"/>
                  </a:cubicBezTo>
                  <a:cubicBezTo>
                    <a:pt x="2" y="18"/>
                    <a:pt x="2" y="18"/>
                    <a:pt x="2" y="18"/>
                  </a:cubicBezTo>
                  <a:cubicBezTo>
                    <a:pt x="1" y="18"/>
                    <a:pt x="0" y="18"/>
                    <a:pt x="0" y="17"/>
                  </a:cubicBezTo>
                  <a:cubicBezTo>
                    <a:pt x="0" y="2"/>
                    <a:pt x="0" y="2"/>
                    <a:pt x="0" y="2"/>
                  </a:cubicBezTo>
                  <a:cubicBezTo>
                    <a:pt x="0" y="1"/>
                    <a:pt x="1" y="0"/>
                    <a:pt x="2" y="0"/>
                  </a:cubicBezTo>
                  <a:cubicBezTo>
                    <a:pt x="30" y="0"/>
                    <a:pt x="30" y="0"/>
                    <a:pt x="30" y="0"/>
                  </a:cubicBezTo>
                  <a:cubicBezTo>
                    <a:pt x="31" y="0"/>
                    <a:pt x="32" y="1"/>
                    <a:pt x="32" y="2"/>
                  </a:cubicBezTo>
                  <a:lnTo>
                    <a:pt x="32"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0" name="Freeform 62">
              <a:extLst>
                <a:ext uri="{FF2B5EF4-FFF2-40B4-BE49-F238E27FC236}">
                  <a16:creationId xmlns:a16="http://schemas.microsoft.com/office/drawing/2014/main" id="{790F425C-0C16-4495-A251-40047DA9D03F}"/>
                </a:ext>
              </a:extLst>
            </p:cNvPr>
            <p:cNvSpPr>
              <a:spLocks/>
            </p:cNvSpPr>
            <p:nvPr/>
          </p:nvSpPr>
          <p:spPr bwMode="gray">
            <a:xfrm>
              <a:off x="13339763" y="4260850"/>
              <a:ext cx="157163" cy="133350"/>
            </a:xfrm>
            <a:custGeom>
              <a:avLst/>
              <a:gdLst>
                <a:gd name="T0" fmla="*/ 42 w 42"/>
                <a:gd name="T1" fmla="*/ 35 h 36"/>
                <a:gd name="T2" fmla="*/ 40 w 42"/>
                <a:gd name="T3" fmla="*/ 36 h 36"/>
                <a:gd name="T4" fmla="*/ 2 w 42"/>
                <a:gd name="T5" fmla="*/ 36 h 36"/>
                <a:gd name="T6" fmla="*/ 0 w 42"/>
                <a:gd name="T7" fmla="*/ 35 h 36"/>
                <a:gd name="T8" fmla="*/ 0 w 42"/>
                <a:gd name="T9" fmla="*/ 1 h 36"/>
                <a:gd name="T10" fmla="*/ 2 w 42"/>
                <a:gd name="T11" fmla="*/ 0 h 36"/>
                <a:gd name="T12" fmla="*/ 40 w 42"/>
                <a:gd name="T13" fmla="*/ 0 h 36"/>
                <a:gd name="T14" fmla="*/ 42 w 42"/>
                <a:gd name="T15" fmla="*/ 1 h 36"/>
                <a:gd name="T16" fmla="*/ 42 w 4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6">
                  <a:moveTo>
                    <a:pt x="42" y="35"/>
                  </a:moveTo>
                  <a:cubicBezTo>
                    <a:pt x="42" y="36"/>
                    <a:pt x="41" y="36"/>
                    <a:pt x="40" y="36"/>
                  </a:cubicBezTo>
                  <a:cubicBezTo>
                    <a:pt x="2" y="36"/>
                    <a:pt x="2" y="36"/>
                    <a:pt x="2" y="36"/>
                  </a:cubicBezTo>
                  <a:cubicBezTo>
                    <a:pt x="1" y="36"/>
                    <a:pt x="0" y="36"/>
                    <a:pt x="0" y="35"/>
                  </a:cubicBezTo>
                  <a:cubicBezTo>
                    <a:pt x="0" y="1"/>
                    <a:pt x="0" y="1"/>
                    <a:pt x="0" y="1"/>
                  </a:cubicBezTo>
                  <a:cubicBezTo>
                    <a:pt x="0" y="0"/>
                    <a:pt x="1" y="0"/>
                    <a:pt x="2" y="0"/>
                  </a:cubicBezTo>
                  <a:cubicBezTo>
                    <a:pt x="40" y="0"/>
                    <a:pt x="40" y="0"/>
                    <a:pt x="40" y="0"/>
                  </a:cubicBezTo>
                  <a:cubicBezTo>
                    <a:pt x="41" y="0"/>
                    <a:pt x="42" y="0"/>
                    <a:pt x="42" y="1"/>
                  </a:cubicBezTo>
                  <a:lnTo>
                    <a:pt x="4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1" name="Freeform 63">
              <a:extLst>
                <a:ext uri="{FF2B5EF4-FFF2-40B4-BE49-F238E27FC236}">
                  <a16:creationId xmlns:a16="http://schemas.microsoft.com/office/drawing/2014/main" id="{D62F17B3-E662-4074-B4B5-050298FDC681}"/>
                </a:ext>
              </a:extLst>
            </p:cNvPr>
            <p:cNvSpPr>
              <a:spLocks/>
            </p:cNvSpPr>
            <p:nvPr/>
          </p:nvSpPr>
          <p:spPr bwMode="gray">
            <a:xfrm>
              <a:off x="14249400" y="4260850"/>
              <a:ext cx="157163" cy="133350"/>
            </a:xfrm>
            <a:custGeom>
              <a:avLst/>
              <a:gdLst>
                <a:gd name="T0" fmla="*/ 42 w 42"/>
                <a:gd name="T1" fmla="*/ 35 h 36"/>
                <a:gd name="T2" fmla="*/ 41 w 42"/>
                <a:gd name="T3" fmla="*/ 36 h 36"/>
                <a:gd name="T4" fmla="*/ 2 w 42"/>
                <a:gd name="T5" fmla="*/ 36 h 36"/>
                <a:gd name="T6" fmla="*/ 0 w 42"/>
                <a:gd name="T7" fmla="*/ 35 h 36"/>
                <a:gd name="T8" fmla="*/ 0 w 42"/>
                <a:gd name="T9" fmla="*/ 1 h 36"/>
                <a:gd name="T10" fmla="*/ 2 w 42"/>
                <a:gd name="T11" fmla="*/ 0 h 36"/>
                <a:gd name="T12" fmla="*/ 41 w 42"/>
                <a:gd name="T13" fmla="*/ 0 h 36"/>
                <a:gd name="T14" fmla="*/ 42 w 42"/>
                <a:gd name="T15" fmla="*/ 1 h 36"/>
                <a:gd name="T16" fmla="*/ 42 w 4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6">
                  <a:moveTo>
                    <a:pt x="42" y="35"/>
                  </a:moveTo>
                  <a:cubicBezTo>
                    <a:pt x="42" y="36"/>
                    <a:pt x="42" y="36"/>
                    <a:pt x="41" y="36"/>
                  </a:cubicBezTo>
                  <a:cubicBezTo>
                    <a:pt x="2" y="36"/>
                    <a:pt x="2" y="36"/>
                    <a:pt x="2" y="36"/>
                  </a:cubicBezTo>
                  <a:cubicBezTo>
                    <a:pt x="1" y="36"/>
                    <a:pt x="0" y="36"/>
                    <a:pt x="0" y="35"/>
                  </a:cubicBezTo>
                  <a:cubicBezTo>
                    <a:pt x="0" y="1"/>
                    <a:pt x="0" y="1"/>
                    <a:pt x="0" y="1"/>
                  </a:cubicBezTo>
                  <a:cubicBezTo>
                    <a:pt x="0" y="0"/>
                    <a:pt x="1" y="0"/>
                    <a:pt x="2" y="0"/>
                  </a:cubicBezTo>
                  <a:cubicBezTo>
                    <a:pt x="41" y="0"/>
                    <a:pt x="41" y="0"/>
                    <a:pt x="41" y="0"/>
                  </a:cubicBezTo>
                  <a:cubicBezTo>
                    <a:pt x="42" y="0"/>
                    <a:pt x="42" y="0"/>
                    <a:pt x="42" y="1"/>
                  </a:cubicBezTo>
                  <a:lnTo>
                    <a:pt x="4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2" name="Freeform 64">
              <a:extLst>
                <a:ext uri="{FF2B5EF4-FFF2-40B4-BE49-F238E27FC236}">
                  <a16:creationId xmlns:a16="http://schemas.microsoft.com/office/drawing/2014/main" id="{810864B9-11AD-4D3A-9013-CD0C948BD999}"/>
                </a:ext>
              </a:extLst>
            </p:cNvPr>
            <p:cNvSpPr>
              <a:spLocks/>
            </p:cNvSpPr>
            <p:nvPr/>
          </p:nvSpPr>
          <p:spPr bwMode="gray">
            <a:xfrm>
              <a:off x="13522325" y="4260850"/>
              <a:ext cx="701675" cy="133350"/>
            </a:xfrm>
            <a:custGeom>
              <a:avLst/>
              <a:gdLst>
                <a:gd name="T0" fmla="*/ 187 w 187"/>
                <a:gd name="T1" fmla="*/ 35 h 36"/>
                <a:gd name="T2" fmla="*/ 185 w 187"/>
                <a:gd name="T3" fmla="*/ 36 h 36"/>
                <a:gd name="T4" fmla="*/ 2 w 187"/>
                <a:gd name="T5" fmla="*/ 36 h 36"/>
                <a:gd name="T6" fmla="*/ 0 w 187"/>
                <a:gd name="T7" fmla="*/ 35 h 36"/>
                <a:gd name="T8" fmla="*/ 0 w 187"/>
                <a:gd name="T9" fmla="*/ 1 h 36"/>
                <a:gd name="T10" fmla="*/ 2 w 187"/>
                <a:gd name="T11" fmla="*/ 0 h 36"/>
                <a:gd name="T12" fmla="*/ 185 w 187"/>
                <a:gd name="T13" fmla="*/ 0 h 36"/>
                <a:gd name="T14" fmla="*/ 187 w 187"/>
                <a:gd name="T15" fmla="*/ 1 h 36"/>
                <a:gd name="T16" fmla="*/ 187 w 187"/>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36">
                  <a:moveTo>
                    <a:pt x="187" y="35"/>
                  </a:moveTo>
                  <a:cubicBezTo>
                    <a:pt x="187" y="36"/>
                    <a:pt x="187" y="36"/>
                    <a:pt x="185" y="36"/>
                  </a:cubicBezTo>
                  <a:cubicBezTo>
                    <a:pt x="2" y="36"/>
                    <a:pt x="2" y="36"/>
                    <a:pt x="2" y="36"/>
                  </a:cubicBezTo>
                  <a:cubicBezTo>
                    <a:pt x="1" y="36"/>
                    <a:pt x="0" y="36"/>
                    <a:pt x="0" y="35"/>
                  </a:cubicBezTo>
                  <a:cubicBezTo>
                    <a:pt x="0" y="1"/>
                    <a:pt x="0" y="1"/>
                    <a:pt x="0" y="1"/>
                  </a:cubicBezTo>
                  <a:cubicBezTo>
                    <a:pt x="0" y="0"/>
                    <a:pt x="1" y="0"/>
                    <a:pt x="2" y="0"/>
                  </a:cubicBezTo>
                  <a:cubicBezTo>
                    <a:pt x="185" y="0"/>
                    <a:pt x="185" y="0"/>
                    <a:pt x="185" y="0"/>
                  </a:cubicBezTo>
                  <a:cubicBezTo>
                    <a:pt x="187" y="0"/>
                    <a:pt x="187" y="0"/>
                    <a:pt x="187" y="1"/>
                  </a:cubicBezTo>
                  <a:lnTo>
                    <a:pt x="187"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3" name="Freeform 65">
              <a:extLst>
                <a:ext uri="{FF2B5EF4-FFF2-40B4-BE49-F238E27FC236}">
                  <a16:creationId xmlns:a16="http://schemas.microsoft.com/office/drawing/2014/main" id="{8583CAC9-AE87-4190-8FC7-50BD49279173}"/>
                </a:ext>
              </a:extLst>
            </p:cNvPr>
            <p:cNvSpPr>
              <a:spLocks/>
            </p:cNvSpPr>
            <p:nvPr/>
          </p:nvSpPr>
          <p:spPr bwMode="gray">
            <a:xfrm>
              <a:off x="13230225"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4" name="Freeform 66">
              <a:extLst>
                <a:ext uri="{FF2B5EF4-FFF2-40B4-BE49-F238E27FC236}">
                  <a16:creationId xmlns:a16="http://schemas.microsoft.com/office/drawing/2014/main" id="{CD924AF1-4123-4DC7-9373-505437B05A82}"/>
                </a:ext>
              </a:extLst>
            </p:cNvPr>
            <p:cNvSpPr>
              <a:spLocks/>
            </p:cNvSpPr>
            <p:nvPr/>
          </p:nvSpPr>
          <p:spPr bwMode="gray">
            <a:xfrm>
              <a:off x="13376275"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5" name="Freeform 67">
              <a:extLst>
                <a:ext uri="{FF2B5EF4-FFF2-40B4-BE49-F238E27FC236}">
                  <a16:creationId xmlns:a16="http://schemas.microsoft.com/office/drawing/2014/main" id="{B3D30BA0-4AFB-497E-AC1E-07DBD4F4C0A8}"/>
                </a:ext>
              </a:extLst>
            </p:cNvPr>
            <p:cNvSpPr>
              <a:spLocks/>
            </p:cNvSpPr>
            <p:nvPr/>
          </p:nvSpPr>
          <p:spPr bwMode="gray">
            <a:xfrm>
              <a:off x="13522325"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6" name="Freeform 68">
              <a:extLst>
                <a:ext uri="{FF2B5EF4-FFF2-40B4-BE49-F238E27FC236}">
                  <a16:creationId xmlns:a16="http://schemas.microsoft.com/office/drawing/2014/main" id="{6CB0E714-2633-47B6-81E8-0D0587800DBF}"/>
                </a:ext>
              </a:extLst>
            </p:cNvPr>
            <p:cNvSpPr>
              <a:spLocks/>
            </p:cNvSpPr>
            <p:nvPr/>
          </p:nvSpPr>
          <p:spPr bwMode="gray">
            <a:xfrm>
              <a:off x="13668375"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7" name="Freeform 69">
              <a:extLst>
                <a:ext uri="{FF2B5EF4-FFF2-40B4-BE49-F238E27FC236}">
                  <a16:creationId xmlns:a16="http://schemas.microsoft.com/office/drawing/2014/main" id="{BA8ADB73-4401-47EF-A564-88CE74D32493}"/>
                </a:ext>
              </a:extLst>
            </p:cNvPr>
            <p:cNvSpPr>
              <a:spLocks/>
            </p:cNvSpPr>
            <p:nvPr/>
          </p:nvSpPr>
          <p:spPr bwMode="gray">
            <a:xfrm>
              <a:off x="13814425" y="4114800"/>
              <a:ext cx="120650" cy="119063"/>
            </a:xfrm>
            <a:custGeom>
              <a:avLst/>
              <a:gdLst>
                <a:gd name="T0" fmla="*/ 32 w 32"/>
                <a:gd name="T1" fmla="*/ 30 h 32"/>
                <a:gd name="T2" fmla="*/ 30 w 32"/>
                <a:gd name="T3" fmla="*/ 32 h 32"/>
                <a:gd name="T4" fmla="*/ 1 w 32"/>
                <a:gd name="T5" fmla="*/ 32 h 32"/>
                <a:gd name="T6" fmla="*/ 0 w 32"/>
                <a:gd name="T7" fmla="*/ 30 h 32"/>
                <a:gd name="T8" fmla="*/ 0 w 32"/>
                <a:gd name="T9" fmla="*/ 2 h 32"/>
                <a:gd name="T10" fmla="*/ 1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1" y="32"/>
                    <a:pt x="1" y="32"/>
                    <a:pt x="1" y="32"/>
                  </a:cubicBezTo>
                  <a:cubicBezTo>
                    <a:pt x="0" y="32"/>
                    <a:pt x="0" y="31"/>
                    <a:pt x="0" y="30"/>
                  </a:cubicBezTo>
                  <a:cubicBezTo>
                    <a:pt x="0" y="2"/>
                    <a:pt x="0" y="2"/>
                    <a:pt x="0" y="2"/>
                  </a:cubicBezTo>
                  <a:cubicBezTo>
                    <a:pt x="0" y="1"/>
                    <a:pt x="0" y="0"/>
                    <a:pt x="1"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8" name="Freeform 70">
              <a:extLst>
                <a:ext uri="{FF2B5EF4-FFF2-40B4-BE49-F238E27FC236}">
                  <a16:creationId xmlns:a16="http://schemas.microsoft.com/office/drawing/2014/main" id="{2E12D5AB-022B-454A-BBFD-557DEC43FB86}"/>
                </a:ext>
              </a:extLst>
            </p:cNvPr>
            <p:cNvSpPr>
              <a:spLocks/>
            </p:cNvSpPr>
            <p:nvPr/>
          </p:nvSpPr>
          <p:spPr bwMode="gray">
            <a:xfrm>
              <a:off x="13960475" y="4114800"/>
              <a:ext cx="117475" cy="119063"/>
            </a:xfrm>
            <a:custGeom>
              <a:avLst/>
              <a:gdLst>
                <a:gd name="T0" fmla="*/ 31 w 31"/>
                <a:gd name="T1" fmla="*/ 30 h 32"/>
                <a:gd name="T2" fmla="*/ 30 w 31"/>
                <a:gd name="T3" fmla="*/ 32 h 32"/>
                <a:gd name="T4" fmla="*/ 1 w 31"/>
                <a:gd name="T5" fmla="*/ 32 h 32"/>
                <a:gd name="T6" fmla="*/ 0 w 31"/>
                <a:gd name="T7" fmla="*/ 30 h 32"/>
                <a:gd name="T8" fmla="*/ 0 w 31"/>
                <a:gd name="T9" fmla="*/ 2 h 32"/>
                <a:gd name="T10" fmla="*/ 1 w 31"/>
                <a:gd name="T11" fmla="*/ 0 h 32"/>
                <a:gd name="T12" fmla="*/ 30 w 31"/>
                <a:gd name="T13" fmla="*/ 0 h 32"/>
                <a:gd name="T14" fmla="*/ 31 w 31"/>
                <a:gd name="T15" fmla="*/ 2 h 32"/>
                <a:gd name="T16" fmla="*/ 31 w 31"/>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31" y="30"/>
                  </a:moveTo>
                  <a:cubicBezTo>
                    <a:pt x="31" y="31"/>
                    <a:pt x="31" y="32"/>
                    <a:pt x="30" y="32"/>
                  </a:cubicBezTo>
                  <a:cubicBezTo>
                    <a:pt x="1" y="32"/>
                    <a:pt x="1" y="32"/>
                    <a:pt x="1" y="32"/>
                  </a:cubicBezTo>
                  <a:cubicBezTo>
                    <a:pt x="0" y="32"/>
                    <a:pt x="0" y="31"/>
                    <a:pt x="0" y="30"/>
                  </a:cubicBezTo>
                  <a:cubicBezTo>
                    <a:pt x="0" y="2"/>
                    <a:pt x="0" y="2"/>
                    <a:pt x="0" y="2"/>
                  </a:cubicBezTo>
                  <a:cubicBezTo>
                    <a:pt x="0" y="1"/>
                    <a:pt x="0" y="0"/>
                    <a:pt x="1" y="0"/>
                  </a:cubicBezTo>
                  <a:cubicBezTo>
                    <a:pt x="30" y="0"/>
                    <a:pt x="30" y="0"/>
                    <a:pt x="30" y="0"/>
                  </a:cubicBezTo>
                  <a:cubicBezTo>
                    <a:pt x="31" y="0"/>
                    <a:pt x="31" y="1"/>
                    <a:pt x="31" y="2"/>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9" name="Freeform 71">
              <a:extLst>
                <a:ext uri="{FF2B5EF4-FFF2-40B4-BE49-F238E27FC236}">
                  <a16:creationId xmlns:a16="http://schemas.microsoft.com/office/drawing/2014/main" id="{F83AE35E-D353-4114-92D1-2111411B950E}"/>
                </a:ext>
              </a:extLst>
            </p:cNvPr>
            <p:cNvSpPr>
              <a:spLocks/>
            </p:cNvSpPr>
            <p:nvPr/>
          </p:nvSpPr>
          <p:spPr bwMode="gray">
            <a:xfrm>
              <a:off x="14103350"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2"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2"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0" name="Freeform 72">
              <a:extLst>
                <a:ext uri="{FF2B5EF4-FFF2-40B4-BE49-F238E27FC236}">
                  <a16:creationId xmlns:a16="http://schemas.microsoft.com/office/drawing/2014/main" id="{A35FA2F2-AAB8-4E7A-A5E0-F1C1500A66F7}"/>
                </a:ext>
              </a:extLst>
            </p:cNvPr>
            <p:cNvSpPr>
              <a:spLocks/>
            </p:cNvSpPr>
            <p:nvPr/>
          </p:nvSpPr>
          <p:spPr bwMode="gray">
            <a:xfrm>
              <a:off x="14249400"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1" name="Freeform 73">
              <a:extLst>
                <a:ext uri="{FF2B5EF4-FFF2-40B4-BE49-F238E27FC236}">
                  <a16:creationId xmlns:a16="http://schemas.microsoft.com/office/drawing/2014/main" id="{148061EC-99CE-4460-9324-08E2CD735061}"/>
                </a:ext>
              </a:extLst>
            </p:cNvPr>
            <p:cNvSpPr>
              <a:spLocks/>
            </p:cNvSpPr>
            <p:nvPr/>
          </p:nvSpPr>
          <p:spPr bwMode="gray">
            <a:xfrm>
              <a:off x="14395450"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2" name="Freeform 74">
              <a:extLst>
                <a:ext uri="{FF2B5EF4-FFF2-40B4-BE49-F238E27FC236}">
                  <a16:creationId xmlns:a16="http://schemas.microsoft.com/office/drawing/2014/main" id="{1F3958EF-9995-43FB-A09C-095321615CC0}"/>
                </a:ext>
              </a:extLst>
            </p:cNvPr>
            <p:cNvSpPr>
              <a:spLocks/>
            </p:cNvSpPr>
            <p:nvPr/>
          </p:nvSpPr>
          <p:spPr bwMode="gray">
            <a:xfrm>
              <a:off x="14541500" y="41148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3" name="Freeform 75">
              <a:extLst>
                <a:ext uri="{FF2B5EF4-FFF2-40B4-BE49-F238E27FC236}">
                  <a16:creationId xmlns:a16="http://schemas.microsoft.com/office/drawing/2014/main" id="{DFEE08C7-0160-4D17-ABBC-2B9A7F545C39}"/>
                </a:ext>
              </a:extLst>
            </p:cNvPr>
            <p:cNvSpPr>
              <a:spLocks/>
            </p:cNvSpPr>
            <p:nvPr/>
          </p:nvSpPr>
          <p:spPr bwMode="gray">
            <a:xfrm>
              <a:off x="14689138" y="4114800"/>
              <a:ext cx="303213" cy="119063"/>
            </a:xfrm>
            <a:custGeom>
              <a:avLst/>
              <a:gdLst>
                <a:gd name="T0" fmla="*/ 81 w 81"/>
                <a:gd name="T1" fmla="*/ 30 h 32"/>
                <a:gd name="T2" fmla="*/ 79 w 81"/>
                <a:gd name="T3" fmla="*/ 32 h 32"/>
                <a:gd name="T4" fmla="*/ 2 w 81"/>
                <a:gd name="T5" fmla="*/ 32 h 32"/>
                <a:gd name="T6" fmla="*/ 0 w 81"/>
                <a:gd name="T7" fmla="*/ 30 h 32"/>
                <a:gd name="T8" fmla="*/ 0 w 81"/>
                <a:gd name="T9" fmla="*/ 2 h 32"/>
                <a:gd name="T10" fmla="*/ 2 w 81"/>
                <a:gd name="T11" fmla="*/ 0 h 32"/>
                <a:gd name="T12" fmla="*/ 79 w 81"/>
                <a:gd name="T13" fmla="*/ 0 h 32"/>
                <a:gd name="T14" fmla="*/ 81 w 81"/>
                <a:gd name="T15" fmla="*/ 2 h 32"/>
                <a:gd name="T16" fmla="*/ 81 w 81"/>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32">
                  <a:moveTo>
                    <a:pt x="81" y="30"/>
                  </a:moveTo>
                  <a:cubicBezTo>
                    <a:pt x="81" y="31"/>
                    <a:pt x="80" y="32"/>
                    <a:pt x="79" y="32"/>
                  </a:cubicBezTo>
                  <a:cubicBezTo>
                    <a:pt x="2" y="32"/>
                    <a:pt x="2" y="32"/>
                    <a:pt x="2" y="32"/>
                  </a:cubicBezTo>
                  <a:cubicBezTo>
                    <a:pt x="1" y="32"/>
                    <a:pt x="0" y="31"/>
                    <a:pt x="0" y="30"/>
                  </a:cubicBezTo>
                  <a:cubicBezTo>
                    <a:pt x="0" y="2"/>
                    <a:pt x="0" y="2"/>
                    <a:pt x="0" y="2"/>
                  </a:cubicBezTo>
                  <a:cubicBezTo>
                    <a:pt x="0" y="1"/>
                    <a:pt x="1" y="0"/>
                    <a:pt x="2" y="0"/>
                  </a:cubicBezTo>
                  <a:cubicBezTo>
                    <a:pt x="79" y="0"/>
                    <a:pt x="79" y="0"/>
                    <a:pt x="79" y="0"/>
                  </a:cubicBezTo>
                  <a:cubicBezTo>
                    <a:pt x="80" y="0"/>
                    <a:pt x="81" y="1"/>
                    <a:pt x="81" y="2"/>
                  </a:cubicBezTo>
                  <a:lnTo>
                    <a:pt x="8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4" name="Freeform 76">
              <a:extLst>
                <a:ext uri="{FF2B5EF4-FFF2-40B4-BE49-F238E27FC236}">
                  <a16:creationId xmlns:a16="http://schemas.microsoft.com/office/drawing/2014/main" id="{28CCF5F3-EEB9-40F3-BF6A-CE39A9EF60A2}"/>
                </a:ext>
              </a:extLst>
            </p:cNvPr>
            <p:cNvSpPr>
              <a:spLocks/>
            </p:cNvSpPr>
            <p:nvPr/>
          </p:nvSpPr>
          <p:spPr bwMode="gray">
            <a:xfrm>
              <a:off x="13301663" y="39687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5" name="Freeform 77">
              <a:extLst>
                <a:ext uri="{FF2B5EF4-FFF2-40B4-BE49-F238E27FC236}">
                  <a16:creationId xmlns:a16="http://schemas.microsoft.com/office/drawing/2014/main" id="{B700C27D-4F58-4C2D-87F1-CE769A25A560}"/>
                </a:ext>
              </a:extLst>
            </p:cNvPr>
            <p:cNvSpPr>
              <a:spLocks/>
            </p:cNvSpPr>
            <p:nvPr/>
          </p:nvSpPr>
          <p:spPr bwMode="gray">
            <a:xfrm>
              <a:off x="13447713"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6" name="Freeform 78">
              <a:extLst>
                <a:ext uri="{FF2B5EF4-FFF2-40B4-BE49-F238E27FC236}">
                  <a16:creationId xmlns:a16="http://schemas.microsoft.com/office/drawing/2014/main" id="{6EB21E40-20A4-41D7-937A-792B74D080A5}"/>
                </a:ext>
              </a:extLst>
            </p:cNvPr>
            <p:cNvSpPr>
              <a:spLocks/>
            </p:cNvSpPr>
            <p:nvPr/>
          </p:nvSpPr>
          <p:spPr bwMode="gray">
            <a:xfrm>
              <a:off x="13593763"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7" name="Freeform 79">
              <a:extLst>
                <a:ext uri="{FF2B5EF4-FFF2-40B4-BE49-F238E27FC236}">
                  <a16:creationId xmlns:a16="http://schemas.microsoft.com/office/drawing/2014/main" id="{C6843CC4-6EE4-4A46-A16F-DCD788E482AF}"/>
                </a:ext>
              </a:extLst>
            </p:cNvPr>
            <p:cNvSpPr>
              <a:spLocks/>
            </p:cNvSpPr>
            <p:nvPr/>
          </p:nvSpPr>
          <p:spPr bwMode="gray">
            <a:xfrm>
              <a:off x="13739813"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8" name="Freeform 80">
              <a:extLst>
                <a:ext uri="{FF2B5EF4-FFF2-40B4-BE49-F238E27FC236}">
                  <a16:creationId xmlns:a16="http://schemas.microsoft.com/office/drawing/2014/main" id="{3E141B15-A8EE-4C5C-953D-F96E63C8A822}"/>
                </a:ext>
              </a:extLst>
            </p:cNvPr>
            <p:cNvSpPr>
              <a:spLocks/>
            </p:cNvSpPr>
            <p:nvPr/>
          </p:nvSpPr>
          <p:spPr bwMode="gray">
            <a:xfrm>
              <a:off x="13885863"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9" name="Freeform 81">
              <a:extLst>
                <a:ext uri="{FF2B5EF4-FFF2-40B4-BE49-F238E27FC236}">
                  <a16:creationId xmlns:a16="http://schemas.microsoft.com/office/drawing/2014/main" id="{EFE2D2AB-E8AE-4229-A33B-F9D26F682C59}"/>
                </a:ext>
              </a:extLst>
            </p:cNvPr>
            <p:cNvSpPr>
              <a:spLocks/>
            </p:cNvSpPr>
            <p:nvPr/>
          </p:nvSpPr>
          <p:spPr bwMode="gray">
            <a:xfrm>
              <a:off x="14031913" y="3968750"/>
              <a:ext cx="117475" cy="119063"/>
            </a:xfrm>
            <a:custGeom>
              <a:avLst/>
              <a:gdLst>
                <a:gd name="T0" fmla="*/ 31 w 31"/>
                <a:gd name="T1" fmla="*/ 30 h 32"/>
                <a:gd name="T2" fmla="*/ 30 w 31"/>
                <a:gd name="T3" fmla="*/ 32 h 32"/>
                <a:gd name="T4" fmla="*/ 1 w 31"/>
                <a:gd name="T5" fmla="*/ 32 h 32"/>
                <a:gd name="T6" fmla="*/ 0 w 31"/>
                <a:gd name="T7" fmla="*/ 30 h 32"/>
                <a:gd name="T8" fmla="*/ 0 w 31"/>
                <a:gd name="T9" fmla="*/ 2 h 32"/>
                <a:gd name="T10" fmla="*/ 1 w 31"/>
                <a:gd name="T11" fmla="*/ 0 h 32"/>
                <a:gd name="T12" fmla="*/ 30 w 31"/>
                <a:gd name="T13" fmla="*/ 0 h 32"/>
                <a:gd name="T14" fmla="*/ 31 w 31"/>
                <a:gd name="T15" fmla="*/ 2 h 32"/>
                <a:gd name="T16" fmla="*/ 31 w 31"/>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31" y="30"/>
                  </a:moveTo>
                  <a:cubicBezTo>
                    <a:pt x="31" y="31"/>
                    <a:pt x="31" y="32"/>
                    <a:pt x="30" y="32"/>
                  </a:cubicBezTo>
                  <a:cubicBezTo>
                    <a:pt x="1" y="32"/>
                    <a:pt x="1" y="32"/>
                    <a:pt x="1" y="32"/>
                  </a:cubicBezTo>
                  <a:cubicBezTo>
                    <a:pt x="0" y="32"/>
                    <a:pt x="0" y="31"/>
                    <a:pt x="0" y="30"/>
                  </a:cubicBezTo>
                  <a:cubicBezTo>
                    <a:pt x="0" y="2"/>
                    <a:pt x="0" y="2"/>
                    <a:pt x="0" y="2"/>
                  </a:cubicBezTo>
                  <a:cubicBezTo>
                    <a:pt x="0" y="1"/>
                    <a:pt x="0" y="0"/>
                    <a:pt x="1" y="0"/>
                  </a:cubicBezTo>
                  <a:cubicBezTo>
                    <a:pt x="30" y="0"/>
                    <a:pt x="30" y="0"/>
                    <a:pt x="30" y="0"/>
                  </a:cubicBezTo>
                  <a:cubicBezTo>
                    <a:pt x="31" y="0"/>
                    <a:pt x="31" y="1"/>
                    <a:pt x="31" y="2"/>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0" name="Freeform 82">
              <a:extLst>
                <a:ext uri="{FF2B5EF4-FFF2-40B4-BE49-F238E27FC236}">
                  <a16:creationId xmlns:a16="http://schemas.microsoft.com/office/drawing/2014/main" id="{3B80D1EC-F22B-4E6F-8D7A-27008C9BEA78}"/>
                </a:ext>
              </a:extLst>
            </p:cNvPr>
            <p:cNvSpPr>
              <a:spLocks/>
            </p:cNvSpPr>
            <p:nvPr/>
          </p:nvSpPr>
          <p:spPr bwMode="gray">
            <a:xfrm>
              <a:off x="14174788" y="3968750"/>
              <a:ext cx="120650" cy="119063"/>
            </a:xfrm>
            <a:custGeom>
              <a:avLst/>
              <a:gdLst>
                <a:gd name="T0" fmla="*/ 32 w 32"/>
                <a:gd name="T1" fmla="*/ 30 h 32"/>
                <a:gd name="T2" fmla="*/ 31 w 32"/>
                <a:gd name="T3" fmla="*/ 32 h 32"/>
                <a:gd name="T4" fmla="*/ 2 w 32"/>
                <a:gd name="T5" fmla="*/ 32 h 32"/>
                <a:gd name="T6" fmla="*/ 0 w 32"/>
                <a:gd name="T7" fmla="*/ 30 h 32"/>
                <a:gd name="T8" fmla="*/ 0 w 32"/>
                <a:gd name="T9" fmla="*/ 2 h 32"/>
                <a:gd name="T10" fmla="*/ 2 w 32"/>
                <a:gd name="T11" fmla="*/ 0 h 32"/>
                <a:gd name="T12" fmla="*/ 31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2" y="32"/>
                    <a:pt x="31" y="32"/>
                  </a:cubicBezTo>
                  <a:cubicBezTo>
                    <a:pt x="2" y="32"/>
                    <a:pt x="2" y="32"/>
                    <a:pt x="2" y="32"/>
                  </a:cubicBezTo>
                  <a:cubicBezTo>
                    <a:pt x="1" y="32"/>
                    <a:pt x="0" y="31"/>
                    <a:pt x="0" y="30"/>
                  </a:cubicBezTo>
                  <a:cubicBezTo>
                    <a:pt x="0" y="2"/>
                    <a:pt x="0" y="2"/>
                    <a:pt x="0" y="2"/>
                  </a:cubicBezTo>
                  <a:cubicBezTo>
                    <a:pt x="0" y="1"/>
                    <a:pt x="1" y="0"/>
                    <a:pt x="2" y="0"/>
                  </a:cubicBezTo>
                  <a:cubicBezTo>
                    <a:pt x="31" y="0"/>
                    <a:pt x="31" y="0"/>
                    <a:pt x="31" y="0"/>
                  </a:cubicBezTo>
                  <a:cubicBezTo>
                    <a:pt x="32"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1" name="Freeform 83">
              <a:extLst>
                <a:ext uri="{FF2B5EF4-FFF2-40B4-BE49-F238E27FC236}">
                  <a16:creationId xmlns:a16="http://schemas.microsoft.com/office/drawing/2014/main" id="{D3206D15-1AF2-4996-BF52-FA920D3750C1}"/>
                </a:ext>
              </a:extLst>
            </p:cNvPr>
            <p:cNvSpPr>
              <a:spLocks/>
            </p:cNvSpPr>
            <p:nvPr/>
          </p:nvSpPr>
          <p:spPr bwMode="gray">
            <a:xfrm>
              <a:off x="14320838"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2" name="Freeform 84">
              <a:extLst>
                <a:ext uri="{FF2B5EF4-FFF2-40B4-BE49-F238E27FC236}">
                  <a16:creationId xmlns:a16="http://schemas.microsoft.com/office/drawing/2014/main" id="{79BA1A7F-B129-4800-9483-174004C4F061}"/>
                </a:ext>
              </a:extLst>
            </p:cNvPr>
            <p:cNvSpPr>
              <a:spLocks/>
            </p:cNvSpPr>
            <p:nvPr/>
          </p:nvSpPr>
          <p:spPr bwMode="gray">
            <a:xfrm>
              <a:off x="14466888"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3" name="Freeform 85">
              <a:extLst>
                <a:ext uri="{FF2B5EF4-FFF2-40B4-BE49-F238E27FC236}">
                  <a16:creationId xmlns:a16="http://schemas.microsoft.com/office/drawing/2014/main" id="{8C382ABD-7880-49A0-89B4-7822B2F78AAF}"/>
                </a:ext>
              </a:extLst>
            </p:cNvPr>
            <p:cNvSpPr>
              <a:spLocks/>
            </p:cNvSpPr>
            <p:nvPr/>
          </p:nvSpPr>
          <p:spPr bwMode="gray">
            <a:xfrm>
              <a:off x="14612938"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4" name="Freeform 86">
              <a:extLst>
                <a:ext uri="{FF2B5EF4-FFF2-40B4-BE49-F238E27FC236}">
                  <a16:creationId xmlns:a16="http://schemas.microsoft.com/office/drawing/2014/main" id="{FDDE8EBF-1C1B-4B8E-9526-BE057F25062A}"/>
                </a:ext>
              </a:extLst>
            </p:cNvPr>
            <p:cNvSpPr>
              <a:spLocks/>
            </p:cNvSpPr>
            <p:nvPr/>
          </p:nvSpPr>
          <p:spPr bwMode="gray">
            <a:xfrm>
              <a:off x="14758988" y="39687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5" name="Freeform 87">
              <a:extLst>
                <a:ext uri="{FF2B5EF4-FFF2-40B4-BE49-F238E27FC236}">
                  <a16:creationId xmlns:a16="http://schemas.microsoft.com/office/drawing/2014/main" id="{327AC8EB-81AE-4A60-8E64-D3265BE3B11B}"/>
                </a:ext>
              </a:extLst>
            </p:cNvPr>
            <p:cNvSpPr>
              <a:spLocks/>
            </p:cNvSpPr>
            <p:nvPr/>
          </p:nvSpPr>
          <p:spPr bwMode="gray">
            <a:xfrm>
              <a:off x="13268325"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6" name="Freeform 88">
              <a:extLst>
                <a:ext uri="{FF2B5EF4-FFF2-40B4-BE49-F238E27FC236}">
                  <a16:creationId xmlns:a16="http://schemas.microsoft.com/office/drawing/2014/main" id="{27586CCE-AC11-49DF-8E10-400976A6A1C8}"/>
                </a:ext>
              </a:extLst>
            </p:cNvPr>
            <p:cNvSpPr>
              <a:spLocks/>
            </p:cNvSpPr>
            <p:nvPr/>
          </p:nvSpPr>
          <p:spPr bwMode="gray">
            <a:xfrm>
              <a:off x="13414375"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7" name="Freeform 89">
              <a:extLst>
                <a:ext uri="{FF2B5EF4-FFF2-40B4-BE49-F238E27FC236}">
                  <a16:creationId xmlns:a16="http://schemas.microsoft.com/office/drawing/2014/main" id="{80513BE1-1E6A-4F08-80A0-3B29AC247D5D}"/>
                </a:ext>
              </a:extLst>
            </p:cNvPr>
            <p:cNvSpPr>
              <a:spLocks/>
            </p:cNvSpPr>
            <p:nvPr/>
          </p:nvSpPr>
          <p:spPr bwMode="gray">
            <a:xfrm>
              <a:off x="13560425"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8" name="Freeform 90">
              <a:extLst>
                <a:ext uri="{FF2B5EF4-FFF2-40B4-BE49-F238E27FC236}">
                  <a16:creationId xmlns:a16="http://schemas.microsoft.com/office/drawing/2014/main" id="{5FBB76E6-17F7-49C1-8086-E969FC7AAB00}"/>
                </a:ext>
              </a:extLst>
            </p:cNvPr>
            <p:cNvSpPr>
              <a:spLocks/>
            </p:cNvSpPr>
            <p:nvPr/>
          </p:nvSpPr>
          <p:spPr bwMode="gray">
            <a:xfrm>
              <a:off x="13706475" y="3822700"/>
              <a:ext cx="115888" cy="119063"/>
            </a:xfrm>
            <a:custGeom>
              <a:avLst/>
              <a:gdLst>
                <a:gd name="T0" fmla="*/ 31 w 31"/>
                <a:gd name="T1" fmla="*/ 30 h 32"/>
                <a:gd name="T2" fmla="*/ 30 w 31"/>
                <a:gd name="T3" fmla="*/ 32 h 32"/>
                <a:gd name="T4" fmla="*/ 1 w 31"/>
                <a:gd name="T5" fmla="*/ 32 h 32"/>
                <a:gd name="T6" fmla="*/ 0 w 31"/>
                <a:gd name="T7" fmla="*/ 30 h 32"/>
                <a:gd name="T8" fmla="*/ 0 w 31"/>
                <a:gd name="T9" fmla="*/ 2 h 32"/>
                <a:gd name="T10" fmla="*/ 1 w 31"/>
                <a:gd name="T11" fmla="*/ 0 h 32"/>
                <a:gd name="T12" fmla="*/ 30 w 31"/>
                <a:gd name="T13" fmla="*/ 0 h 32"/>
                <a:gd name="T14" fmla="*/ 31 w 31"/>
                <a:gd name="T15" fmla="*/ 2 h 32"/>
                <a:gd name="T16" fmla="*/ 31 w 31"/>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31" y="30"/>
                  </a:moveTo>
                  <a:cubicBezTo>
                    <a:pt x="31" y="31"/>
                    <a:pt x="31" y="32"/>
                    <a:pt x="30" y="32"/>
                  </a:cubicBezTo>
                  <a:cubicBezTo>
                    <a:pt x="1" y="32"/>
                    <a:pt x="1" y="32"/>
                    <a:pt x="1" y="32"/>
                  </a:cubicBezTo>
                  <a:cubicBezTo>
                    <a:pt x="0" y="32"/>
                    <a:pt x="0" y="31"/>
                    <a:pt x="0" y="30"/>
                  </a:cubicBezTo>
                  <a:cubicBezTo>
                    <a:pt x="0" y="2"/>
                    <a:pt x="0" y="2"/>
                    <a:pt x="0" y="2"/>
                  </a:cubicBezTo>
                  <a:cubicBezTo>
                    <a:pt x="0" y="1"/>
                    <a:pt x="0" y="0"/>
                    <a:pt x="1" y="0"/>
                  </a:cubicBezTo>
                  <a:cubicBezTo>
                    <a:pt x="30" y="0"/>
                    <a:pt x="30" y="0"/>
                    <a:pt x="30" y="0"/>
                  </a:cubicBezTo>
                  <a:cubicBezTo>
                    <a:pt x="31" y="0"/>
                    <a:pt x="31" y="1"/>
                    <a:pt x="31" y="2"/>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9" name="Freeform 91">
              <a:extLst>
                <a:ext uri="{FF2B5EF4-FFF2-40B4-BE49-F238E27FC236}">
                  <a16:creationId xmlns:a16="http://schemas.microsoft.com/office/drawing/2014/main" id="{667FA931-3BA4-49E9-9788-9FE8F788906C}"/>
                </a:ext>
              </a:extLst>
            </p:cNvPr>
            <p:cNvSpPr>
              <a:spLocks/>
            </p:cNvSpPr>
            <p:nvPr/>
          </p:nvSpPr>
          <p:spPr bwMode="gray">
            <a:xfrm>
              <a:off x="13849350" y="3822700"/>
              <a:ext cx="119063" cy="119063"/>
            </a:xfrm>
            <a:custGeom>
              <a:avLst/>
              <a:gdLst>
                <a:gd name="T0" fmla="*/ 32 w 32"/>
                <a:gd name="T1" fmla="*/ 30 h 32"/>
                <a:gd name="T2" fmla="*/ 31 w 32"/>
                <a:gd name="T3" fmla="*/ 32 h 32"/>
                <a:gd name="T4" fmla="*/ 2 w 32"/>
                <a:gd name="T5" fmla="*/ 32 h 32"/>
                <a:gd name="T6" fmla="*/ 0 w 32"/>
                <a:gd name="T7" fmla="*/ 30 h 32"/>
                <a:gd name="T8" fmla="*/ 0 w 32"/>
                <a:gd name="T9" fmla="*/ 2 h 32"/>
                <a:gd name="T10" fmla="*/ 2 w 32"/>
                <a:gd name="T11" fmla="*/ 0 h 32"/>
                <a:gd name="T12" fmla="*/ 31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2" y="32"/>
                    <a:pt x="31" y="32"/>
                  </a:cubicBezTo>
                  <a:cubicBezTo>
                    <a:pt x="2" y="32"/>
                    <a:pt x="2" y="32"/>
                    <a:pt x="2" y="32"/>
                  </a:cubicBezTo>
                  <a:cubicBezTo>
                    <a:pt x="1" y="32"/>
                    <a:pt x="0" y="31"/>
                    <a:pt x="0" y="30"/>
                  </a:cubicBezTo>
                  <a:cubicBezTo>
                    <a:pt x="0" y="2"/>
                    <a:pt x="0" y="2"/>
                    <a:pt x="0" y="2"/>
                  </a:cubicBezTo>
                  <a:cubicBezTo>
                    <a:pt x="0" y="1"/>
                    <a:pt x="1" y="0"/>
                    <a:pt x="2" y="0"/>
                  </a:cubicBezTo>
                  <a:cubicBezTo>
                    <a:pt x="31" y="0"/>
                    <a:pt x="31" y="0"/>
                    <a:pt x="31" y="0"/>
                  </a:cubicBezTo>
                  <a:cubicBezTo>
                    <a:pt x="32"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0" name="Freeform 92">
              <a:extLst>
                <a:ext uri="{FF2B5EF4-FFF2-40B4-BE49-F238E27FC236}">
                  <a16:creationId xmlns:a16="http://schemas.microsoft.com/office/drawing/2014/main" id="{E2266EFA-C2C8-48F6-8E88-E191D27F5845}"/>
                </a:ext>
              </a:extLst>
            </p:cNvPr>
            <p:cNvSpPr>
              <a:spLocks/>
            </p:cNvSpPr>
            <p:nvPr/>
          </p:nvSpPr>
          <p:spPr bwMode="gray">
            <a:xfrm>
              <a:off x="13995400"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1" name="Freeform 93">
              <a:extLst>
                <a:ext uri="{FF2B5EF4-FFF2-40B4-BE49-F238E27FC236}">
                  <a16:creationId xmlns:a16="http://schemas.microsoft.com/office/drawing/2014/main" id="{75A19065-1A9B-4552-BA05-9D9962DE40A0}"/>
                </a:ext>
              </a:extLst>
            </p:cNvPr>
            <p:cNvSpPr>
              <a:spLocks/>
            </p:cNvSpPr>
            <p:nvPr/>
          </p:nvSpPr>
          <p:spPr bwMode="gray">
            <a:xfrm>
              <a:off x="14141450"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2" name="Freeform 94">
              <a:extLst>
                <a:ext uri="{FF2B5EF4-FFF2-40B4-BE49-F238E27FC236}">
                  <a16:creationId xmlns:a16="http://schemas.microsoft.com/office/drawing/2014/main" id="{3DDC6C2E-46BA-40BA-9A32-165AA8A924B2}"/>
                </a:ext>
              </a:extLst>
            </p:cNvPr>
            <p:cNvSpPr>
              <a:spLocks/>
            </p:cNvSpPr>
            <p:nvPr/>
          </p:nvSpPr>
          <p:spPr bwMode="gray">
            <a:xfrm>
              <a:off x="14287500" y="382270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3" name="Freeform 95">
              <a:extLst>
                <a:ext uri="{FF2B5EF4-FFF2-40B4-BE49-F238E27FC236}">
                  <a16:creationId xmlns:a16="http://schemas.microsoft.com/office/drawing/2014/main" id="{4FB56898-3639-4F3C-9C75-5F0CDEA4170D}"/>
                </a:ext>
              </a:extLst>
            </p:cNvPr>
            <p:cNvSpPr>
              <a:spLocks/>
            </p:cNvSpPr>
            <p:nvPr/>
          </p:nvSpPr>
          <p:spPr bwMode="gray">
            <a:xfrm>
              <a:off x="14433550" y="38227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4" name="Freeform 96">
              <a:extLst>
                <a:ext uri="{FF2B5EF4-FFF2-40B4-BE49-F238E27FC236}">
                  <a16:creationId xmlns:a16="http://schemas.microsoft.com/office/drawing/2014/main" id="{E0DA2617-456D-40E3-8BD4-B9F3EEB8B1FA}"/>
                </a:ext>
              </a:extLst>
            </p:cNvPr>
            <p:cNvSpPr>
              <a:spLocks/>
            </p:cNvSpPr>
            <p:nvPr/>
          </p:nvSpPr>
          <p:spPr bwMode="gray">
            <a:xfrm>
              <a:off x="14579600" y="38227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5" name="Freeform 97">
              <a:extLst>
                <a:ext uri="{FF2B5EF4-FFF2-40B4-BE49-F238E27FC236}">
                  <a16:creationId xmlns:a16="http://schemas.microsoft.com/office/drawing/2014/main" id="{923FC508-3CFA-4091-9232-B09D54B93C01}"/>
                </a:ext>
              </a:extLst>
            </p:cNvPr>
            <p:cNvSpPr>
              <a:spLocks/>
            </p:cNvSpPr>
            <p:nvPr/>
          </p:nvSpPr>
          <p:spPr bwMode="gray">
            <a:xfrm>
              <a:off x="14725650" y="382270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6" name="Freeform 98">
              <a:extLst>
                <a:ext uri="{FF2B5EF4-FFF2-40B4-BE49-F238E27FC236}">
                  <a16:creationId xmlns:a16="http://schemas.microsoft.com/office/drawing/2014/main" id="{D718FF51-9410-4B65-9431-874779A75166}"/>
                </a:ext>
              </a:extLst>
            </p:cNvPr>
            <p:cNvSpPr>
              <a:spLocks/>
            </p:cNvSpPr>
            <p:nvPr/>
          </p:nvSpPr>
          <p:spPr bwMode="gray">
            <a:xfrm>
              <a:off x="12900025" y="3822700"/>
              <a:ext cx="195263" cy="119063"/>
            </a:xfrm>
            <a:custGeom>
              <a:avLst/>
              <a:gdLst>
                <a:gd name="T0" fmla="*/ 52 w 52"/>
                <a:gd name="T1" fmla="*/ 30 h 32"/>
                <a:gd name="T2" fmla="*/ 50 w 52"/>
                <a:gd name="T3" fmla="*/ 32 h 32"/>
                <a:gd name="T4" fmla="*/ 2 w 52"/>
                <a:gd name="T5" fmla="*/ 32 h 32"/>
                <a:gd name="T6" fmla="*/ 0 w 52"/>
                <a:gd name="T7" fmla="*/ 30 h 32"/>
                <a:gd name="T8" fmla="*/ 0 w 52"/>
                <a:gd name="T9" fmla="*/ 2 h 32"/>
                <a:gd name="T10" fmla="*/ 2 w 52"/>
                <a:gd name="T11" fmla="*/ 0 h 32"/>
                <a:gd name="T12" fmla="*/ 50 w 52"/>
                <a:gd name="T13" fmla="*/ 0 h 32"/>
                <a:gd name="T14" fmla="*/ 52 w 52"/>
                <a:gd name="T15" fmla="*/ 2 h 32"/>
                <a:gd name="T16" fmla="*/ 52 w 5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32">
                  <a:moveTo>
                    <a:pt x="52" y="30"/>
                  </a:moveTo>
                  <a:cubicBezTo>
                    <a:pt x="52" y="31"/>
                    <a:pt x="51" y="32"/>
                    <a:pt x="50" y="32"/>
                  </a:cubicBezTo>
                  <a:cubicBezTo>
                    <a:pt x="2" y="32"/>
                    <a:pt x="2" y="32"/>
                    <a:pt x="2" y="32"/>
                  </a:cubicBezTo>
                  <a:cubicBezTo>
                    <a:pt x="1" y="32"/>
                    <a:pt x="0" y="31"/>
                    <a:pt x="0" y="30"/>
                  </a:cubicBezTo>
                  <a:cubicBezTo>
                    <a:pt x="0" y="2"/>
                    <a:pt x="0" y="2"/>
                    <a:pt x="0" y="2"/>
                  </a:cubicBezTo>
                  <a:cubicBezTo>
                    <a:pt x="0" y="1"/>
                    <a:pt x="1" y="0"/>
                    <a:pt x="2" y="0"/>
                  </a:cubicBezTo>
                  <a:cubicBezTo>
                    <a:pt x="50" y="0"/>
                    <a:pt x="50" y="0"/>
                    <a:pt x="50" y="0"/>
                  </a:cubicBezTo>
                  <a:cubicBezTo>
                    <a:pt x="51" y="0"/>
                    <a:pt x="52" y="1"/>
                    <a:pt x="52" y="2"/>
                  </a:cubicBezTo>
                  <a:lnTo>
                    <a:pt x="5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7" name="Freeform 99">
              <a:extLst>
                <a:ext uri="{FF2B5EF4-FFF2-40B4-BE49-F238E27FC236}">
                  <a16:creationId xmlns:a16="http://schemas.microsoft.com/office/drawing/2014/main" id="{DE8147E8-6F48-4D7C-A349-2565A9F651DE}"/>
                </a:ext>
              </a:extLst>
            </p:cNvPr>
            <p:cNvSpPr>
              <a:spLocks/>
            </p:cNvSpPr>
            <p:nvPr/>
          </p:nvSpPr>
          <p:spPr bwMode="gray">
            <a:xfrm>
              <a:off x="14797088" y="3676650"/>
              <a:ext cx="195263" cy="119063"/>
            </a:xfrm>
            <a:custGeom>
              <a:avLst/>
              <a:gdLst>
                <a:gd name="T0" fmla="*/ 52 w 52"/>
                <a:gd name="T1" fmla="*/ 30 h 32"/>
                <a:gd name="T2" fmla="*/ 50 w 52"/>
                <a:gd name="T3" fmla="*/ 32 h 32"/>
                <a:gd name="T4" fmla="*/ 2 w 52"/>
                <a:gd name="T5" fmla="*/ 32 h 32"/>
                <a:gd name="T6" fmla="*/ 0 w 52"/>
                <a:gd name="T7" fmla="*/ 30 h 32"/>
                <a:gd name="T8" fmla="*/ 0 w 52"/>
                <a:gd name="T9" fmla="*/ 2 h 32"/>
                <a:gd name="T10" fmla="*/ 2 w 52"/>
                <a:gd name="T11" fmla="*/ 0 h 32"/>
                <a:gd name="T12" fmla="*/ 50 w 52"/>
                <a:gd name="T13" fmla="*/ 0 h 32"/>
                <a:gd name="T14" fmla="*/ 52 w 52"/>
                <a:gd name="T15" fmla="*/ 2 h 32"/>
                <a:gd name="T16" fmla="*/ 52 w 5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32">
                  <a:moveTo>
                    <a:pt x="52" y="30"/>
                  </a:moveTo>
                  <a:cubicBezTo>
                    <a:pt x="52" y="31"/>
                    <a:pt x="51" y="32"/>
                    <a:pt x="50" y="32"/>
                  </a:cubicBezTo>
                  <a:cubicBezTo>
                    <a:pt x="2" y="32"/>
                    <a:pt x="2" y="32"/>
                    <a:pt x="2" y="32"/>
                  </a:cubicBezTo>
                  <a:cubicBezTo>
                    <a:pt x="1" y="32"/>
                    <a:pt x="0" y="31"/>
                    <a:pt x="0" y="30"/>
                  </a:cubicBezTo>
                  <a:cubicBezTo>
                    <a:pt x="0" y="2"/>
                    <a:pt x="0" y="2"/>
                    <a:pt x="0" y="2"/>
                  </a:cubicBezTo>
                  <a:cubicBezTo>
                    <a:pt x="0" y="1"/>
                    <a:pt x="1" y="0"/>
                    <a:pt x="2" y="0"/>
                  </a:cubicBezTo>
                  <a:cubicBezTo>
                    <a:pt x="50" y="0"/>
                    <a:pt x="50" y="0"/>
                    <a:pt x="50" y="0"/>
                  </a:cubicBezTo>
                  <a:cubicBezTo>
                    <a:pt x="51" y="0"/>
                    <a:pt x="52" y="1"/>
                    <a:pt x="52" y="2"/>
                  </a:cubicBezTo>
                  <a:lnTo>
                    <a:pt x="5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8" name="Freeform 100">
              <a:extLst>
                <a:ext uri="{FF2B5EF4-FFF2-40B4-BE49-F238E27FC236}">
                  <a16:creationId xmlns:a16="http://schemas.microsoft.com/office/drawing/2014/main" id="{6022056E-624F-436E-A883-DFC2D71B168B}"/>
                </a:ext>
              </a:extLst>
            </p:cNvPr>
            <p:cNvSpPr>
              <a:spLocks/>
            </p:cNvSpPr>
            <p:nvPr/>
          </p:nvSpPr>
          <p:spPr bwMode="gray">
            <a:xfrm>
              <a:off x="12900025" y="3968750"/>
              <a:ext cx="228600" cy="119063"/>
            </a:xfrm>
            <a:custGeom>
              <a:avLst/>
              <a:gdLst>
                <a:gd name="T0" fmla="*/ 61 w 61"/>
                <a:gd name="T1" fmla="*/ 30 h 32"/>
                <a:gd name="T2" fmla="*/ 59 w 61"/>
                <a:gd name="T3" fmla="*/ 32 h 32"/>
                <a:gd name="T4" fmla="*/ 2 w 61"/>
                <a:gd name="T5" fmla="*/ 32 h 32"/>
                <a:gd name="T6" fmla="*/ 0 w 61"/>
                <a:gd name="T7" fmla="*/ 30 h 32"/>
                <a:gd name="T8" fmla="*/ 0 w 61"/>
                <a:gd name="T9" fmla="*/ 2 h 32"/>
                <a:gd name="T10" fmla="*/ 2 w 61"/>
                <a:gd name="T11" fmla="*/ 0 h 32"/>
                <a:gd name="T12" fmla="*/ 59 w 61"/>
                <a:gd name="T13" fmla="*/ 0 h 32"/>
                <a:gd name="T14" fmla="*/ 61 w 61"/>
                <a:gd name="T15" fmla="*/ 2 h 32"/>
                <a:gd name="T16" fmla="*/ 61 w 61"/>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32">
                  <a:moveTo>
                    <a:pt x="61" y="30"/>
                  </a:moveTo>
                  <a:cubicBezTo>
                    <a:pt x="61" y="31"/>
                    <a:pt x="60" y="32"/>
                    <a:pt x="59" y="32"/>
                  </a:cubicBezTo>
                  <a:cubicBezTo>
                    <a:pt x="2" y="32"/>
                    <a:pt x="2" y="32"/>
                    <a:pt x="2" y="32"/>
                  </a:cubicBezTo>
                  <a:cubicBezTo>
                    <a:pt x="1" y="32"/>
                    <a:pt x="0" y="31"/>
                    <a:pt x="0" y="30"/>
                  </a:cubicBezTo>
                  <a:cubicBezTo>
                    <a:pt x="0" y="2"/>
                    <a:pt x="0" y="2"/>
                    <a:pt x="0" y="2"/>
                  </a:cubicBezTo>
                  <a:cubicBezTo>
                    <a:pt x="0" y="1"/>
                    <a:pt x="1" y="0"/>
                    <a:pt x="2" y="0"/>
                  </a:cubicBezTo>
                  <a:cubicBezTo>
                    <a:pt x="59" y="0"/>
                    <a:pt x="59" y="0"/>
                    <a:pt x="59" y="0"/>
                  </a:cubicBezTo>
                  <a:cubicBezTo>
                    <a:pt x="60" y="0"/>
                    <a:pt x="61" y="1"/>
                    <a:pt x="61" y="2"/>
                  </a:cubicBezTo>
                  <a:lnTo>
                    <a:pt x="6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9" name="Freeform 101">
              <a:extLst>
                <a:ext uri="{FF2B5EF4-FFF2-40B4-BE49-F238E27FC236}">
                  <a16:creationId xmlns:a16="http://schemas.microsoft.com/office/drawing/2014/main" id="{FFB0A3D5-0FFA-443E-ACBE-2AC12524C018}"/>
                </a:ext>
              </a:extLst>
            </p:cNvPr>
            <p:cNvSpPr>
              <a:spLocks/>
            </p:cNvSpPr>
            <p:nvPr/>
          </p:nvSpPr>
          <p:spPr bwMode="gray">
            <a:xfrm>
              <a:off x="12900025" y="4114800"/>
              <a:ext cx="157163" cy="119063"/>
            </a:xfrm>
            <a:custGeom>
              <a:avLst/>
              <a:gdLst>
                <a:gd name="T0" fmla="*/ 42 w 42"/>
                <a:gd name="T1" fmla="*/ 30 h 32"/>
                <a:gd name="T2" fmla="*/ 40 w 42"/>
                <a:gd name="T3" fmla="*/ 32 h 32"/>
                <a:gd name="T4" fmla="*/ 2 w 42"/>
                <a:gd name="T5" fmla="*/ 32 h 32"/>
                <a:gd name="T6" fmla="*/ 0 w 42"/>
                <a:gd name="T7" fmla="*/ 30 h 32"/>
                <a:gd name="T8" fmla="*/ 0 w 42"/>
                <a:gd name="T9" fmla="*/ 2 h 32"/>
                <a:gd name="T10" fmla="*/ 2 w 42"/>
                <a:gd name="T11" fmla="*/ 0 h 32"/>
                <a:gd name="T12" fmla="*/ 40 w 42"/>
                <a:gd name="T13" fmla="*/ 0 h 32"/>
                <a:gd name="T14" fmla="*/ 42 w 42"/>
                <a:gd name="T15" fmla="*/ 2 h 32"/>
                <a:gd name="T16" fmla="*/ 42 w 4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2">
                  <a:moveTo>
                    <a:pt x="42" y="30"/>
                  </a:moveTo>
                  <a:cubicBezTo>
                    <a:pt x="42" y="31"/>
                    <a:pt x="41" y="32"/>
                    <a:pt x="40" y="32"/>
                  </a:cubicBezTo>
                  <a:cubicBezTo>
                    <a:pt x="2" y="32"/>
                    <a:pt x="2" y="32"/>
                    <a:pt x="2" y="32"/>
                  </a:cubicBezTo>
                  <a:cubicBezTo>
                    <a:pt x="1" y="32"/>
                    <a:pt x="0" y="31"/>
                    <a:pt x="0" y="30"/>
                  </a:cubicBezTo>
                  <a:cubicBezTo>
                    <a:pt x="0" y="2"/>
                    <a:pt x="0" y="2"/>
                    <a:pt x="0" y="2"/>
                  </a:cubicBezTo>
                  <a:cubicBezTo>
                    <a:pt x="0" y="1"/>
                    <a:pt x="1" y="0"/>
                    <a:pt x="2" y="0"/>
                  </a:cubicBezTo>
                  <a:cubicBezTo>
                    <a:pt x="40" y="0"/>
                    <a:pt x="40" y="0"/>
                    <a:pt x="40" y="0"/>
                  </a:cubicBezTo>
                  <a:cubicBezTo>
                    <a:pt x="41" y="0"/>
                    <a:pt x="42" y="1"/>
                    <a:pt x="42" y="2"/>
                  </a:cubicBezTo>
                  <a:lnTo>
                    <a:pt x="4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0" name="Freeform 102">
              <a:extLst>
                <a:ext uri="{FF2B5EF4-FFF2-40B4-BE49-F238E27FC236}">
                  <a16:creationId xmlns:a16="http://schemas.microsoft.com/office/drawing/2014/main" id="{9335D344-E2A6-45C9-985A-D52AEA07A582}"/>
                </a:ext>
              </a:extLst>
            </p:cNvPr>
            <p:cNvSpPr>
              <a:spLocks/>
            </p:cNvSpPr>
            <p:nvPr/>
          </p:nvSpPr>
          <p:spPr bwMode="gray">
            <a:xfrm>
              <a:off x="13046075" y="36766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1" name="Freeform 103">
              <a:extLst>
                <a:ext uri="{FF2B5EF4-FFF2-40B4-BE49-F238E27FC236}">
                  <a16:creationId xmlns:a16="http://schemas.microsoft.com/office/drawing/2014/main" id="{A97B2B04-E035-4C73-80D7-DE3C1EC42043}"/>
                </a:ext>
              </a:extLst>
            </p:cNvPr>
            <p:cNvSpPr>
              <a:spLocks/>
            </p:cNvSpPr>
            <p:nvPr/>
          </p:nvSpPr>
          <p:spPr bwMode="gray">
            <a:xfrm>
              <a:off x="13192125" y="3676650"/>
              <a:ext cx="120650"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2" name="Freeform 104">
              <a:extLst>
                <a:ext uri="{FF2B5EF4-FFF2-40B4-BE49-F238E27FC236}">
                  <a16:creationId xmlns:a16="http://schemas.microsoft.com/office/drawing/2014/main" id="{A41BFEEB-A8AD-4B64-9E27-5378385FE595}"/>
                </a:ext>
              </a:extLst>
            </p:cNvPr>
            <p:cNvSpPr>
              <a:spLocks/>
            </p:cNvSpPr>
            <p:nvPr/>
          </p:nvSpPr>
          <p:spPr bwMode="gray">
            <a:xfrm>
              <a:off x="13339763"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3" name="Freeform 105">
              <a:extLst>
                <a:ext uri="{FF2B5EF4-FFF2-40B4-BE49-F238E27FC236}">
                  <a16:creationId xmlns:a16="http://schemas.microsoft.com/office/drawing/2014/main" id="{4FB90B29-F6BB-45A9-9289-8D591CA60609}"/>
                </a:ext>
              </a:extLst>
            </p:cNvPr>
            <p:cNvSpPr>
              <a:spLocks/>
            </p:cNvSpPr>
            <p:nvPr/>
          </p:nvSpPr>
          <p:spPr bwMode="gray">
            <a:xfrm>
              <a:off x="13485813"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4" name="Freeform 106">
              <a:extLst>
                <a:ext uri="{FF2B5EF4-FFF2-40B4-BE49-F238E27FC236}">
                  <a16:creationId xmlns:a16="http://schemas.microsoft.com/office/drawing/2014/main" id="{780AF692-186E-46F2-89B3-8A2E1B62F1B8}"/>
                </a:ext>
              </a:extLst>
            </p:cNvPr>
            <p:cNvSpPr>
              <a:spLocks/>
            </p:cNvSpPr>
            <p:nvPr/>
          </p:nvSpPr>
          <p:spPr bwMode="gray">
            <a:xfrm>
              <a:off x="13631863"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5" name="Freeform 107">
              <a:extLst>
                <a:ext uri="{FF2B5EF4-FFF2-40B4-BE49-F238E27FC236}">
                  <a16:creationId xmlns:a16="http://schemas.microsoft.com/office/drawing/2014/main" id="{D76B0641-0A55-49BE-9F0F-01C08D3AC87F}"/>
                </a:ext>
              </a:extLst>
            </p:cNvPr>
            <p:cNvSpPr>
              <a:spLocks/>
            </p:cNvSpPr>
            <p:nvPr/>
          </p:nvSpPr>
          <p:spPr bwMode="gray">
            <a:xfrm>
              <a:off x="13777913"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6" name="Freeform 108">
              <a:extLst>
                <a:ext uri="{FF2B5EF4-FFF2-40B4-BE49-F238E27FC236}">
                  <a16:creationId xmlns:a16="http://schemas.microsoft.com/office/drawing/2014/main" id="{8A2A5754-F289-41A8-B9E7-BDBD1AF394C4}"/>
                </a:ext>
              </a:extLst>
            </p:cNvPr>
            <p:cNvSpPr>
              <a:spLocks/>
            </p:cNvSpPr>
            <p:nvPr/>
          </p:nvSpPr>
          <p:spPr bwMode="gray">
            <a:xfrm>
              <a:off x="13923963"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7" name="Freeform 109">
              <a:extLst>
                <a:ext uri="{FF2B5EF4-FFF2-40B4-BE49-F238E27FC236}">
                  <a16:creationId xmlns:a16="http://schemas.microsoft.com/office/drawing/2014/main" id="{3D3A9D0E-0B0D-47F5-8A9B-3E91ACDA0326}"/>
                </a:ext>
              </a:extLst>
            </p:cNvPr>
            <p:cNvSpPr>
              <a:spLocks/>
            </p:cNvSpPr>
            <p:nvPr/>
          </p:nvSpPr>
          <p:spPr bwMode="gray">
            <a:xfrm>
              <a:off x="14070013" y="3676650"/>
              <a:ext cx="119063" cy="119063"/>
            </a:xfrm>
            <a:custGeom>
              <a:avLst/>
              <a:gdLst>
                <a:gd name="T0" fmla="*/ 32 w 32"/>
                <a:gd name="T1" fmla="*/ 30 h 32"/>
                <a:gd name="T2" fmla="*/ 30 w 32"/>
                <a:gd name="T3" fmla="*/ 32 h 32"/>
                <a:gd name="T4" fmla="*/ 1 w 32"/>
                <a:gd name="T5" fmla="*/ 32 h 32"/>
                <a:gd name="T6" fmla="*/ 0 w 32"/>
                <a:gd name="T7" fmla="*/ 30 h 32"/>
                <a:gd name="T8" fmla="*/ 0 w 32"/>
                <a:gd name="T9" fmla="*/ 2 h 32"/>
                <a:gd name="T10" fmla="*/ 1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1" y="32"/>
                    <a:pt x="1" y="32"/>
                    <a:pt x="1" y="32"/>
                  </a:cubicBezTo>
                  <a:cubicBezTo>
                    <a:pt x="0" y="32"/>
                    <a:pt x="0" y="31"/>
                    <a:pt x="0" y="30"/>
                  </a:cubicBezTo>
                  <a:cubicBezTo>
                    <a:pt x="0" y="2"/>
                    <a:pt x="0" y="2"/>
                    <a:pt x="0" y="2"/>
                  </a:cubicBezTo>
                  <a:cubicBezTo>
                    <a:pt x="0" y="1"/>
                    <a:pt x="0" y="0"/>
                    <a:pt x="1"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8" name="Freeform 110">
              <a:extLst>
                <a:ext uri="{FF2B5EF4-FFF2-40B4-BE49-F238E27FC236}">
                  <a16:creationId xmlns:a16="http://schemas.microsoft.com/office/drawing/2014/main" id="{B3C05E23-A596-45C1-9E67-E5CEDC9F88EB}"/>
                </a:ext>
              </a:extLst>
            </p:cNvPr>
            <p:cNvSpPr>
              <a:spLocks/>
            </p:cNvSpPr>
            <p:nvPr/>
          </p:nvSpPr>
          <p:spPr bwMode="gray">
            <a:xfrm>
              <a:off x="14212888" y="3676650"/>
              <a:ext cx="119063" cy="119063"/>
            </a:xfrm>
            <a:custGeom>
              <a:avLst/>
              <a:gdLst>
                <a:gd name="T0" fmla="*/ 32 w 32"/>
                <a:gd name="T1" fmla="*/ 30 h 32"/>
                <a:gd name="T2" fmla="*/ 31 w 32"/>
                <a:gd name="T3" fmla="*/ 32 h 32"/>
                <a:gd name="T4" fmla="*/ 2 w 32"/>
                <a:gd name="T5" fmla="*/ 32 h 32"/>
                <a:gd name="T6" fmla="*/ 0 w 32"/>
                <a:gd name="T7" fmla="*/ 30 h 32"/>
                <a:gd name="T8" fmla="*/ 0 w 32"/>
                <a:gd name="T9" fmla="*/ 2 h 32"/>
                <a:gd name="T10" fmla="*/ 2 w 32"/>
                <a:gd name="T11" fmla="*/ 0 h 32"/>
                <a:gd name="T12" fmla="*/ 31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2" y="32"/>
                    <a:pt x="31" y="32"/>
                  </a:cubicBezTo>
                  <a:cubicBezTo>
                    <a:pt x="2" y="32"/>
                    <a:pt x="2" y="32"/>
                    <a:pt x="2" y="32"/>
                  </a:cubicBezTo>
                  <a:cubicBezTo>
                    <a:pt x="1" y="32"/>
                    <a:pt x="0" y="31"/>
                    <a:pt x="0" y="30"/>
                  </a:cubicBezTo>
                  <a:cubicBezTo>
                    <a:pt x="0" y="2"/>
                    <a:pt x="0" y="2"/>
                    <a:pt x="0" y="2"/>
                  </a:cubicBezTo>
                  <a:cubicBezTo>
                    <a:pt x="0" y="1"/>
                    <a:pt x="1" y="0"/>
                    <a:pt x="2" y="0"/>
                  </a:cubicBezTo>
                  <a:cubicBezTo>
                    <a:pt x="31" y="0"/>
                    <a:pt x="31" y="0"/>
                    <a:pt x="31" y="0"/>
                  </a:cubicBezTo>
                  <a:cubicBezTo>
                    <a:pt x="32"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9" name="Freeform 111">
              <a:extLst>
                <a:ext uri="{FF2B5EF4-FFF2-40B4-BE49-F238E27FC236}">
                  <a16:creationId xmlns:a16="http://schemas.microsoft.com/office/drawing/2014/main" id="{B3F30FA3-6880-4F1B-A460-0CF41DB1016F}"/>
                </a:ext>
              </a:extLst>
            </p:cNvPr>
            <p:cNvSpPr>
              <a:spLocks/>
            </p:cNvSpPr>
            <p:nvPr/>
          </p:nvSpPr>
          <p:spPr bwMode="gray">
            <a:xfrm>
              <a:off x="14358938"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0" name="Freeform 112">
              <a:extLst>
                <a:ext uri="{FF2B5EF4-FFF2-40B4-BE49-F238E27FC236}">
                  <a16:creationId xmlns:a16="http://schemas.microsoft.com/office/drawing/2014/main" id="{665EA1A0-4F72-4B59-9AD9-E9892E3365F9}"/>
                </a:ext>
              </a:extLst>
            </p:cNvPr>
            <p:cNvSpPr>
              <a:spLocks/>
            </p:cNvSpPr>
            <p:nvPr/>
          </p:nvSpPr>
          <p:spPr bwMode="gray">
            <a:xfrm>
              <a:off x="14504988"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1" name="Freeform 113">
              <a:extLst>
                <a:ext uri="{FF2B5EF4-FFF2-40B4-BE49-F238E27FC236}">
                  <a16:creationId xmlns:a16="http://schemas.microsoft.com/office/drawing/2014/main" id="{9C1B4526-BE96-41A3-A760-395CD190A0EF}"/>
                </a:ext>
              </a:extLst>
            </p:cNvPr>
            <p:cNvSpPr>
              <a:spLocks/>
            </p:cNvSpPr>
            <p:nvPr/>
          </p:nvSpPr>
          <p:spPr bwMode="gray">
            <a:xfrm>
              <a:off x="14651038" y="3676650"/>
              <a:ext cx="119063" cy="119063"/>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2" name="Freeform 114">
              <a:extLst>
                <a:ext uri="{FF2B5EF4-FFF2-40B4-BE49-F238E27FC236}">
                  <a16:creationId xmlns:a16="http://schemas.microsoft.com/office/drawing/2014/main" id="{447C4E42-23EC-4CF4-A743-C5382156286A}"/>
                </a:ext>
              </a:extLst>
            </p:cNvPr>
            <p:cNvSpPr>
              <a:spLocks/>
            </p:cNvSpPr>
            <p:nvPr/>
          </p:nvSpPr>
          <p:spPr bwMode="gray">
            <a:xfrm>
              <a:off x="14725650" y="4330700"/>
              <a:ext cx="120650" cy="63500"/>
            </a:xfrm>
            <a:custGeom>
              <a:avLst/>
              <a:gdLst>
                <a:gd name="T0" fmla="*/ 0 w 32"/>
                <a:gd name="T1" fmla="*/ 0 h 17"/>
                <a:gd name="T2" fmla="*/ 0 w 32"/>
                <a:gd name="T3" fmla="*/ 16 h 17"/>
                <a:gd name="T4" fmla="*/ 1 w 32"/>
                <a:gd name="T5" fmla="*/ 17 h 17"/>
                <a:gd name="T6" fmla="*/ 2 w 32"/>
                <a:gd name="T7" fmla="*/ 17 h 17"/>
                <a:gd name="T8" fmla="*/ 30 w 32"/>
                <a:gd name="T9" fmla="*/ 17 h 17"/>
                <a:gd name="T10" fmla="*/ 31 w 32"/>
                <a:gd name="T11" fmla="*/ 17 h 17"/>
                <a:gd name="T12" fmla="*/ 32 w 32"/>
                <a:gd name="T13" fmla="*/ 16 h 17"/>
                <a:gd name="T14" fmla="*/ 32 w 32"/>
                <a:gd name="T15" fmla="*/ 0 h 17"/>
                <a:gd name="T16" fmla="*/ 0 w 32"/>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7">
                  <a:moveTo>
                    <a:pt x="0" y="0"/>
                  </a:moveTo>
                  <a:cubicBezTo>
                    <a:pt x="0" y="16"/>
                    <a:pt x="0" y="16"/>
                    <a:pt x="0" y="16"/>
                  </a:cubicBezTo>
                  <a:cubicBezTo>
                    <a:pt x="0" y="16"/>
                    <a:pt x="0" y="17"/>
                    <a:pt x="1" y="17"/>
                  </a:cubicBezTo>
                  <a:cubicBezTo>
                    <a:pt x="1" y="17"/>
                    <a:pt x="1" y="17"/>
                    <a:pt x="2" y="17"/>
                  </a:cubicBezTo>
                  <a:cubicBezTo>
                    <a:pt x="30" y="17"/>
                    <a:pt x="30" y="17"/>
                    <a:pt x="30" y="17"/>
                  </a:cubicBezTo>
                  <a:cubicBezTo>
                    <a:pt x="31" y="17"/>
                    <a:pt x="31" y="17"/>
                    <a:pt x="31" y="17"/>
                  </a:cubicBezTo>
                  <a:cubicBezTo>
                    <a:pt x="32" y="17"/>
                    <a:pt x="32" y="16"/>
                    <a:pt x="32" y="16"/>
                  </a:cubicBezTo>
                  <a:cubicBezTo>
                    <a:pt x="32" y="0"/>
                    <a:pt x="32" y="0"/>
                    <a:pt x="32"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3" name="Freeform 115">
              <a:extLst>
                <a:ext uri="{FF2B5EF4-FFF2-40B4-BE49-F238E27FC236}">
                  <a16:creationId xmlns:a16="http://schemas.microsoft.com/office/drawing/2014/main" id="{16B37800-8289-46FA-9FA5-CB3C0ABE491D}"/>
                </a:ext>
              </a:extLst>
            </p:cNvPr>
            <p:cNvSpPr>
              <a:spLocks/>
            </p:cNvSpPr>
            <p:nvPr/>
          </p:nvSpPr>
          <p:spPr bwMode="gray">
            <a:xfrm>
              <a:off x="14725650" y="4260850"/>
              <a:ext cx="120650" cy="63500"/>
            </a:xfrm>
            <a:custGeom>
              <a:avLst/>
              <a:gdLst>
                <a:gd name="T0" fmla="*/ 32 w 32"/>
                <a:gd name="T1" fmla="*/ 17 h 17"/>
                <a:gd name="T2" fmla="*/ 32 w 32"/>
                <a:gd name="T3" fmla="*/ 1 h 17"/>
                <a:gd name="T4" fmla="*/ 31 w 32"/>
                <a:gd name="T5" fmla="*/ 0 h 17"/>
                <a:gd name="T6" fmla="*/ 30 w 32"/>
                <a:gd name="T7" fmla="*/ 0 h 17"/>
                <a:gd name="T8" fmla="*/ 2 w 32"/>
                <a:gd name="T9" fmla="*/ 0 h 17"/>
                <a:gd name="T10" fmla="*/ 1 w 32"/>
                <a:gd name="T11" fmla="*/ 0 h 17"/>
                <a:gd name="T12" fmla="*/ 0 w 32"/>
                <a:gd name="T13" fmla="*/ 1 h 17"/>
                <a:gd name="T14" fmla="*/ 0 w 32"/>
                <a:gd name="T15" fmla="*/ 17 h 17"/>
                <a:gd name="T16" fmla="*/ 32 w 32"/>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7">
                  <a:moveTo>
                    <a:pt x="32" y="17"/>
                  </a:moveTo>
                  <a:cubicBezTo>
                    <a:pt x="32" y="1"/>
                    <a:pt x="32" y="1"/>
                    <a:pt x="32" y="1"/>
                  </a:cubicBezTo>
                  <a:cubicBezTo>
                    <a:pt x="32" y="1"/>
                    <a:pt x="32" y="0"/>
                    <a:pt x="31" y="0"/>
                  </a:cubicBezTo>
                  <a:cubicBezTo>
                    <a:pt x="31" y="0"/>
                    <a:pt x="31" y="0"/>
                    <a:pt x="30" y="0"/>
                  </a:cubicBezTo>
                  <a:cubicBezTo>
                    <a:pt x="2" y="0"/>
                    <a:pt x="2" y="0"/>
                    <a:pt x="2" y="0"/>
                  </a:cubicBezTo>
                  <a:cubicBezTo>
                    <a:pt x="1" y="0"/>
                    <a:pt x="1" y="0"/>
                    <a:pt x="1" y="0"/>
                  </a:cubicBezTo>
                  <a:cubicBezTo>
                    <a:pt x="0" y="0"/>
                    <a:pt x="0" y="1"/>
                    <a:pt x="0" y="1"/>
                  </a:cubicBezTo>
                  <a:cubicBezTo>
                    <a:pt x="0" y="17"/>
                    <a:pt x="0" y="17"/>
                    <a:pt x="0" y="17"/>
                  </a:cubicBezTo>
                  <a:lnTo>
                    <a:pt x="32"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4" name="Freeform 116">
              <a:extLst>
                <a:ext uri="{FF2B5EF4-FFF2-40B4-BE49-F238E27FC236}">
                  <a16:creationId xmlns:a16="http://schemas.microsoft.com/office/drawing/2014/main" id="{B8713076-ED46-4F95-BD91-020CA933934B}"/>
                </a:ext>
              </a:extLst>
            </p:cNvPr>
            <p:cNvSpPr>
              <a:spLocks/>
            </p:cNvSpPr>
            <p:nvPr/>
          </p:nvSpPr>
          <p:spPr bwMode="gray">
            <a:xfrm>
              <a:off x="14871700" y="3822700"/>
              <a:ext cx="120650" cy="265113"/>
            </a:xfrm>
            <a:custGeom>
              <a:avLst/>
              <a:gdLst>
                <a:gd name="T0" fmla="*/ 2 w 32"/>
                <a:gd name="T1" fmla="*/ 0 h 71"/>
                <a:gd name="T2" fmla="*/ 1 w 32"/>
                <a:gd name="T3" fmla="*/ 0 h 71"/>
                <a:gd name="T4" fmla="*/ 0 w 32"/>
                <a:gd name="T5" fmla="*/ 2 h 71"/>
                <a:gd name="T6" fmla="*/ 0 w 32"/>
                <a:gd name="T7" fmla="*/ 30 h 71"/>
                <a:gd name="T8" fmla="*/ 1 w 32"/>
                <a:gd name="T9" fmla="*/ 31 h 71"/>
                <a:gd name="T10" fmla="*/ 2 w 32"/>
                <a:gd name="T11" fmla="*/ 32 h 71"/>
                <a:gd name="T12" fmla="*/ 9 w 32"/>
                <a:gd name="T13" fmla="*/ 32 h 71"/>
                <a:gd name="T14" fmla="*/ 9 w 32"/>
                <a:gd name="T15" fmla="*/ 69 h 71"/>
                <a:gd name="T16" fmla="*/ 10 w 32"/>
                <a:gd name="T17" fmla="*/ 70 h 71"/>
                <a:gd name="T18" fmla="*/ 11 w 32"/>
                <a:gd name="T19" fmla="*/ 71 h 71"/>
                <a:gd name="T20" fmla="*/ 30 w 32"/>
                <a:gd name="T21" fmla="*/ 71 h 71"/>
                <a:gd name="T22" fmla="*/ 31 w 32"/>
                <a:gd name="T23" fmla="*/ 70 h 71"/>
                <a:gd name="T24" fmla="*/ 32 w 32"/>
                <a:gd name="T25" fmla="*/ 69 h 71"/>
                <a:gd name="T26" fmla="*/ 32 w 32"/>
                <a:gd name="T27" fmla="*/ 2 h 71"/>
                <a:gd name="T28" fmla="*/ 31 w 32"/>
                <a:gd name="T29" fmla="*/ 0 h 71"/>
                <a:gd name="T30" fmla="*/ 30 w 32"/>
                <a:gd name="T31" fmla="*/ 0 h 71"/>
                <a:gd name="T32" fmla="*/ 2 w 32"/>
                <a:gd name="T3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1">
                  <a:moveTo>
                    <a:pt x="2" y="0"/>
                  </a:moveTo>
                  <a:cubicBezTo>
                    <a:pt x="1" y="0"/>
                    <a:pt x="1" y="0"/>
                    <a:pt x="1" y="0"/>
                  </a:cubicBezTo>
                  <a:cubicBezTo>
                    <a:pt x="0" y="1"/>
                    <a:pt x="0" y="1"/>
                    <a:pt x="0" y="2"/>
                  </a:cubicBezTo>
                  <a:cubicBezTo>
                    <a:pt x="0" y="30"/>
                    <a:pt x="0" y="30"/>
                    <a:pt x="0" y="30"/>
                  </a:cubicBezTo>
                  <a:cubicBezTo>
                    <a:pt x="0" y="30"/>
                    <a:pt x="0" y="31"/>
                    <a:pt x="1" y="31"/>
                  </a:cubicBezTo>
                  <a:cubicBezTo>
                    <a:pt x="1" y="32"/>
                    <a:pt x="1" y="32"/>
                    <a:pt x="2" y="32"/>
                  </a:cubicBezTo>
                  <a:cubicBezTo>
                    <a:pt x="9" y="32"/>
                    <a:pt x="9" y="32"/>
                    <a:pt x="9" y="32"/>
                  </a:cubicBezTo>
                  <a:cubicBezTo>
                    <a:pt x="9" y="69"/>
                    <a:pt x="9" y="69"/>
                    <a:pt x="9" y="69"/>
                  </a:cubicBezTo>
                  <a:cubicBezTo>
                    <a:pt x="9" y="69"/>
                    <a:pt x="9" y="70"/>
                    <a:pt x="10" y="70"/>
                  </a:cubicBezTo>
                  <a:cubicBezTo>
                    <a:pt x="10" y="71"/>
                    <a:pt x="11" y="71"/>
                    <a:pt x="11" y="71"/>
                  </a:cubicBezTo>
                  <a:cubicBezTo>
                    <a:pt x="30" y="71"/>
                    <a:pt x="30" y="71"/>
                    <a:pt x="30" y="71"/>
                  </a:cubicBezTo>
                  <a:cubicBezTo>
                    <a:pt x="31" y="71"/>
                    <a:pt x="31" y="71"/>
                    <a:pt x="31" y="70"/>
                  </a:cubicBezTo>
                  <a:cubicBezTo>
                    <a:pt x="32" y="70"/>
                    <a:pt x="32" y="69"/>
                    <a:pt x="32" y="69"/>
                  </a:cubicBezTo>
                  <a:cubicBezTo>
                    <a:pt x="32" y="2"/>
                    <a:pt x="32" y="2"/>
                    <a:pt x="32" y="2"/>
                  </a:cubicBezTo>
                  <a:cubicBezTo>
                    <a:pt x="32" y="1"/>
                    <a:pt x="32" y="1"/>
                    <a:pt x="31" y="0"/>
                  </a:cubicBezTo>
                  <a:cubicBezTo>
                    <a:pt x="31" y="0"/>
                    <a:pt x="31" y="0"/>
                    <a:pt x="30"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5" name="Freeform 117">
              <a:extLst>
                <a:ext uri="{FF2B5EF4-FFF2-40B4-BE49-F238E27FC236}">
                  <a16:creationId xmlns:a16="http://schemas.microsoft.com/office/drawing/2014/main" id="{B7A5366F-5A52-4D99-A493-17DC11D3E0AA}"/>
                </a:ext>
              </a:extLst>
            </p:cNvPr>
            <p:cNvSpPr>
              <a:spLocks/>
            </p:cNvSpPr>
            <p:nvPr/>
          </p:nvSpPr>
          <p:spPr bwMode="gray">
            <a:xfrm>
              <a:off x="12761913" y="2147888"/>
              <a:ext cx="2373313" cy="1389063"/>
            </a:xfrm>
            <a:custGeom>
              <a:avLst/>
              <a:gdLst>
                <a:gd name="T0" fmla="*/ 29 w 633"/>
                <a:gd name="T1" fmla="*/ 0 h 371"/>
                <a:gd name="T2" fmla="*/ 8 w 633"/>
                <a:gd name="T3" fmla="*/ 9 h 371"/>
                <a:gd name="T4" fmla="*/ 0 w 633"/>
                <a:gd name="T5" fmla="*/ 30 h 371"/>
                <a:gd name="T6" fmla="*/ 0 w 633"/>
                <a:gd name="T7" fmla="*/ 371 h 371"/>
                <a:gd name="T8" fmla="*/ 633 w 633"/>
                <a:gd name="T9" fmla="*/ 371 h 371"/>
                <a:gd name="T10" fmla="*/ 633 w 633"/>
                <a:gd name="T11" fmla="*/ 30 h 371"/>
                <a:gd name="T12" fmla="*/ 624 w 633"/>
                <a:gd name="T13" fmla="*/ 9 h 371"/>
                <a:gd name="T14" fmla="*/ 603 w 633"/>
                <a:gd name="T15" fmla="*/ 0 h 371"/>
                <a:gd name="T16" fmla="*/ 29 w 633"/>
                <a:gd name="T17"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3" h="371">
                  <a:moveTo>
                    <a:pt x="29" y="0"/>
                  </a:moveTo>
                  <a:cubicBezTo>
                    <a:pt x="22" y="0"/>
                    <a:pt x="14" y="3"/>
                    <a:pt x="8" y="9"/>
                  </a:cubicBezTo>
                  <a:cubicBezTo>
                    <a:pt x="3" y="14"/>
                    <a:pt x="0" y="22"/>
                    <a:pt x="0" y="30"/>
                  </a:cubicBezTo>
                  <a:cubicBezTo>
                    <a:pt x="0" y="371"/>
                    <a:pt x="0" y="371"/>
                    <a:pt x="0" y="371"/>
                  </a:cubicBezTo>
                  <a:cubicBezTo>
                    <a:pt x="633" y="371"/>
                    <a:pt x="633" y="371"/>
                    <a:pt x="633" y="371"/>
                  </a:cubicBezTo>
                  <a:cubicBezTo>
                    <a:pt x="633" y="30"/>
                    <a:pt x="633" y="30"/>
                    <a:pt x="633" y="30"/>
                  </a:cubicBezTo>
                  <a:cubicBezTo>
                    <a:pt x="633" y="22"/>
                    <a:pt x="630" y="14"/>
                    <a:pt x="624" y="9"/>
                  </a:cubicBezTo>
                  <a:cubicBezTo>
                    <a:pt x="618" y="3"/>
                    <a:pt x="611" y="0"/>
                    <a:pt x="603" y="0"/>
                  </a:cubicBezTo>
                  <a:lnTo>
                    <a:pt x="29"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76" name="Oval 118">
              <a:extLst>
                <a:ext uri="{FF2B5EF4-FFF2-40B4-BE49-F238E27FC236}">
                  <a16:creationId xmlns:a16="http://schemas.microsoft.com/office/drawing/2014/main" id="{61B6299C-8BB0-4E93-9617-71DFAFB4D195}"/>
                </a:ext>
              </a:extLst>
            </p:cNvPr>
            <p:cNvSpPr>
              <a:spLocks noChangeArrowheads="1"/>
            </p:cNvSpPr>
            <p:nvPr/>
          </p:nvSpPr>
          <p:spPr bwMode="gray">
            <a:xfrm>
              <a:off x="13919200" y="2182813"/>
              <a:ext cx="53975" cy="52388"/>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77" name="Rectangle 120">
              <a:extLst>
                <a:ext uri="{FF2B5EF4-FFF2-40B4-BE49-F238E27FC236}">
                  <a16:creationId xmlns:a16="http://schemas.microsoft.com/office/drawing/2014/main" id="{0DF62EF2-390A-4764-B91F-2F551C538FB6}"/>
                </a:ext>
              </a:extLst>
            </p:cNvPr>
            <p:cNvSpPr>
              <a:spLocks noChangeArrowheads="1"/>
            </p:cNvSpPr>
            <p:nvPr/>
          </p:nvSpPr>
          <p:spPr bwMode="gray">
            <a:xfrm>
              <a:off x="14912975" y="3489325"/>
              <a:ext cx="157163" cy="96838"/>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78" name="Rectangle 121">
              <a:extLst>
                <a:ext uri="{FF2B5EF4-FFF2-40B4-BE49-F238E27FC236}">
                  <a16:creationId xmlns:a16="http://schemas.microsoft.com/office/drawing/2014/main" id="{197591E5-FC3F-4C83-B003-BFC98E573975}"/>
                </a:ext>
              </a:extLst>
            </p:cNvPr>
            <p:cNvSpPr>
              <a:spLocks noChangeArrowheads="1"/>
            </p:cNvSpPr>
            <p:nvPr/>
          </p:nvSpPr>
          <p:spPr bwMode="gray">
            <a:xfrm>
              <a:off x="14912975" y="3536950"/>
              <a:ext cx="157163" cy="4921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79" name="Rectangle 122">
              <a:extLst>
                <a:ext uri="{FF2B5EF4-FFF2-40B4-BE49-F238E27FC236}">
                  <a16:creationId xmlns:a16="http://schemas.microsoft.com/office/drawing/2014/main" id="{5423C0AC-D4B5-4D78-B42B-1F701576BE13}"/>
                </a:ext>
              </a:extLst>
            </p:cNvPr>
            <p:cNvSpPr>
              <a:spLocks noChangeArrowheads="1"/>
            </p:cNvSpPr>
            <p:nvPr/>
          </p:nvSpPr>
          <p:spPr bwMode="gray">
            <a:xfrm>
              <a:off x="12825413" y="3489325"/>
              <a:ext cx="153988" cy="96838"/>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80" name="Rectangle 123">
              <a:extLst>
                <a:ext uri="{FF2B5EF4-FFF2-40B4-BE49-F238E27FC236}">
                  <a16:creationId xmlns:a16="http://schemas.microsoft.com/office/drawing/2014/main" id="{E6A442FA-F435-480B-8982-0C75A2C4B98B}"/>
                </a:ext>
              </a:extLst>
            </p:cNvPr>
            <p:cNvSpPr>
              <a:spLocks noChangeArrowheads="1"/>
            </p:cNvSpPr>
            <p:nvPr/>
          </p:nvSpPr>
          <p:spPr bwMode="gray">
            <a:xfrm>
              <a:off x="12825413" y="3536950"/>
              <a:ext cx="153988" cy="4921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81" name="Oval 172">
              <a:extLst>
                <a:ext uri="{FF2B5EF4-FFF2-40B4-BE49-F238E27FC236}">
                  <a16:creationId xmlns:a16="http://schemas.microsoft.com/office/drawing/2014/main" id="{2FA9B448-5CC8-42E3-AD17-570E38845959}"/>
                </a:ext>
              </a:extLst>
            </p:cNvPr>
            <p:cNvSpPr>
              <a:spLocks noChangeArrowheads="1"/>
            </p:cNvSpPr>
            <p:nvPr/>
          </p:nvSpPr>
          <p:spPr bwMode="gray">
            <a:xfrm>
              <a:off x="15374938" y="3197225"/>
              <a:ext cx="876300" cy="8715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2" name="Freeform 173">
              <a:extLst>
                <a:ext uri="{FF2B5EF4-FFF2-40B4-BE49-F238E27FC236}">
                  <a16:creationId xmlns:a16="http://schemas.microsoft.com/office/drawing/2014/main" id="{3329F425-F407-438C-BD00-EA5919BB21F7}"/>
                </a:ext>
              </a:extLst>
            </p:cNvPr>
            <p:cNvSpPr>
              <a:spLocks/>
            </p:cNvSpPr>
            <p:nvPr/>
          </p:nvSpPr>
          <p:spPr bwMode="gray">
            <a:xfrm>
              <a:off x="15873413" y="3694113"/>
              <a:ext cx="546100" cy="385763"/>
            </a:xfrm>
            <a:custGeom>
              <a:avLst/>
              <a:gdLst>
                <a:gd name="T0" fmla="*/ 99 w 146"/>
                <a:gd name="T1" fmla="*/ 0 h 103"/>
                <a:gd name="T2" fmla="*/ 0 w 146"/>
                <a:gd name="T3" fmla="*/ 99 h 103"/>
                <a:gd name="T4" fmla="*/ 25 w 146"/>
                <a:gd name="T5" fmla="*/ 103 h 103"/>
                <a:gd name="T6" fmla="*/ 96 w 146"/>
                <a:gd name="T7" fmla="*/ 57 h 103"/>
                <a:gd name="T8" fmla="*/ 107 w 146"/>
                <a:gd name="T9" fmla="*/ 59 h 103"/>
                <a:gd name="T10" fmla="*/ 107 w 146"/>
                <a:gd name="T11" fmla="*/ 59 h 103"/>
                <a:gd name="T12" fmla="*/ 129 w 146"/>
                <a:gd name="T13" fmla="*/ 66 h 103"/>
                <a:gd name="T14" fmla="*/ 133 w 146"/>
                <a:gd name="T15" fmla="*/ 66 h 103"/>
                <a:gd name="T16" fmla="*/ 139 w 146"/>
                <a:gd name="T17" fmla="*/ 64 h 103"/>
                <a:gd name="T18" fmla="*/ 145 w 146"/>
                <a:gd name="T19" fmla="*/ 57 h 103"/>
                <a:gd name="T20" fmla="*/ 144 w 146"/>
                <a:gd name="T21" fmla="*/ 47 h 103"/>
                <a:gd name="T22" fmla="*/ 140 w 146"/>
                <a:gd name="T23" fmla="*/ 43 h 103"/>
                <a:gd name="T24" fmla="*/ 138 w 146"/>
                <a:gd name="T25" fmla="*/ 41 h 103"/>
                <a:gd name="T26" fmla="*/ 136 w 146"/>
                <a:gd name="T27" fmla="*/ 39 h 103"/>
                <a:gd name="T28" fmla="*/ 134 w 146"/>
                <a:gd name="T29" fmla="*/ 37 h 103"/>
                <a:gd name="T30" fmla="*/ 131 w 146"/>
                <a:gd name="T31" fmla="*/ 35 h 103"/>
                <a:gd name="T32" fmla="*/ 129 w 146"/>
                <a:gd name="T33" fmla="*/ 32 h 103"/>
                <a:gd name="T34" fmla="*/ 127 w 146"/>
                <a:gd name="T35" fmla="*/ 30 h 103"/>
                <a:gd name="T36" fmla="*/ 125 w 146"/>
                <a:gd name="T37" fmla="*/ 28 h 103"/>
                <a:gd name="T38" fmla="*/ 123 w 146"/>
                <a:gd name="T39" fmla="*/ 26 h 103"/>
                <a:gd name="T40" fmla="*/ 120 w 146"/>
                <a:gd name="T41" fmla="*/ 24 h 103"/>
                <a:gd name="T42" fmla="*/ 118 w 146"/>
                <a:gd name="T43" fmla="*/ 21 h 103"/>
                <a:gd name="T44" fmla="*/ 116 w 146"/>
                <a:gd name="T45" fmla="*/ 19 h 103"/>
                <a:gd name="T46" fmla="*/ 114 w 146"/>
                <a:gd name="T47" fmla="*/ 17 h 103"/>
                <a:gd name="T48" fmla="*/ 112 w 146"/>
                <a:gd name="T49" fmla="*/ 15 h 103"/>
                <a:gd name="T50" fmla="*/ 109 w 146"/>
                <a:gd name="T51" fmla="*/ 13 h 103"/>
                <a:gd name="T52" fmla="*/ 107 w 146"/>
                <a:gd name="T53" fmla="*/ 10 h 103"/>
                <a:gd name="T54" fmla="*/ 105 w 146"/>
                <a:gd name="T55" fmla="*/ 8 h 103"/>
                <a:gd name="T56" fmla="*/ 103 w 146"/>
                <a:gd name="T57" fmla="*/ 6 h 103"/>
                <a:gd name="T58" fmla="*/ 101 w 146"/>
                <a:gd name="T59" fmla="*/ 4 h 103"/>
                <a:gd name="T60" fmla="*/ 99 w 146"/>
                <a:gd name="T6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6" h="103">
                  <a:moveTo>
                    <a:pt x="99" y="0"/>
                  </a:moveTo>
                  <a:cubicBezTo>
                    <a:pt x="92" y="51"/>
                    <a:pt x="52" y="92"/>
                    <a:pt x="0" y="99"/>
                  </a:cubicBezTo>
                  <a:cubicBezTo>
                    <a:pt x="8" y="101"/>
                    <a:pt x="16" y="103"/>
                    <a:pt x="25" y="103"/>
                  </a:cubicBezTo>
                  <a:cubicBezTo>
                    <a:pt x="56" y="103"/>
                    <a:pt x="84" y="84"/>
                    <a:pt x="96" y="57"/>
                  </a:cubicBezTo>
                  <a:cubicBezTo>
                    <a:pt x="107" y="59"/>
                    <a:pt x="107" y="59"/>
                    <a:pt x="107" y="59"/>
                  </a:cubicBezTo>
                  <a:cubicBezTo>
                    <a:pt x="107" y="59"/>
                    <a:pt x="107" y="59"/>
                    <a:pt x="107" y="59"/>
                  </a:cubicBezTo>
                  <a:cubicBezTo>
                    <a:pt x="129" y="66"/>
                    <a:pt x="129" y="66"/>
                    <a:pt x="129" y="66"/>
                  </a:cubicBezTo>
                  <a:cubicBezTo>
                    <a:pt x="130" y="66"/>
                    <a:pt x="132" y="66"/>
                    <a:pt x="133" y="66"/>
                  </a:cubicBezTo>
                  <a:cubicBezTo>
                    <a:pt x="135" y="66"/>
                    <a:pt x="137" y="66"/>
                    <a:pt x="139" y="64"/>
                  </a:cubicBezTo>
                  <a:cubicBezTo>
                    <a:pt x="142" y="63"/>
                    <a:pt x="144" y="60"/>
                    <a:pt x="145" y="57"/>
                  </a:cubicBezTo>
                  <a:cubicBezTo>
                    <a:pt x="146" y="54"/>
                    <a:pt x="145" y="50"/>
                    <a:pt x="144" y="47"/>
                  </a:cubicBezTo>
                  <a:cubicBezTo>
                    <a:pt x="143" y="46"/>
                    <a:pt x="142" y="44"/>
                    <a:pt x="140" y="43"/>
                  </a:cubicBezTo>
                  <a:cubicBezTo>
                    <a:pt x="140" y="43"/>
                    <a:pt x="139" y="42"/>
                    <a:pt x="138" y="41"/>
                  </a:cubicBezTo>
                  <a:cubicBezTo>
                    <a:pt x="137" y="40"/>
                    <a:pt x="137" y="40"/>
                    <a:pt x="136" y="39"/>
                  </a:cubicBezTo>
                  <a:cubicBezTo>
                    <a:pt x="135" y="38"/>
                    <a:pt x="135" y="37"/>
                    <a:pt x="134" y="37"/>
                  </a:cubicBezTo>
                  <a:cubicBezTo>
                    <a:pt x="133" y="36"/>
                    <a:pt x="132" y="35"/>
                    <a:pt x="131" y="35"/>
                  </a:cubicBezTo>
                  <a:cubicBezTo>
                    <a:pt x="131" y="34"/>
                    <a:pt x="130" y="33"/>
                    <a:pt x="129" y="32"/>
                  </a:cubicBezTo>
                  <a:cubicBezTo>
                    <a:pt x="129" y="32"/>
                    <a:pt x="128" y="31"/>
                    <a:pt x="127" y="30"/>
                  </a:cubicBezTo>
                  <a:cubicBezTo>
                    <a:pt x="126" y="29"/>
                    <a:pt x="126" y="29"/>
                    <a:pt x="125" y="28"/>
                  </a:cubicBezTo>
                  <a:cubicBezTo>
                    <a:pt x="124" y="27"/>
                    <a:pt x="123" y="26"/>
                    <a:pt x="123" y="26"/>
                  </a:cubicBezTo>
                  <a:cubicBezTo>
                    <a:pt x="122" y="25"/>
                    <a:pt x="121" y="24"/>
                    <a:pt x="120" y="24"/>
                  </a:cubicBezTo>
                  <a:cubicBezTo>
                    <a:pt x="120" y="23"/>
                    <a:pt x="119" y="22"/>
                    <a:pt x="118" y="21"/>
                  </a:cubicBezTo>
                  <a:cubicBezTo>
                    <a:pt x="118" y="21"/>
                    <a:pt x="117" y="20"/>
                    <a:pt x="116" y="19"/>
                  </a:cubicBezTo>
                  <a:cubicBezTo>
                    <a:pt x="115" y="18"/>
                    <a:pt x="115" y="18"/>
                    <a:pt x="114" y="17"/>
                  </a:cubicBezTo>
                  <a:cubicBezTo>
                    <a:pt x="113" y="16"/>
                    <a:pt x="112" y="15"/>
                    <a:pt x="112" y="15"/>
                  </a:cubicBezTo>
                  <a:cubicBezTo>
                    <a:pt x="111" y="14"/>
                    <a:pt x="110" y="13"/>
                    <a:pt x="109" y="13"/>
                  </a:cubicBezTo>
                  <a:cubicBezTo>
                    <a:pt x="109" y="12"/>
                    <a:pt x="108" y="11"/>
                    <a:pt x="107" y="10"/>
                  </a:cubicBezTo>
                  <a:cubicBezTo>
                    <a:pt x="107" y="9"/>
                    <a:pt x="106" y="9"/>
                    <a:pt x="105" y="8"/>
                  </a:cubicBezTo>
                  <a:cubicBezTo>
                    <a:pt x="104" y="7"/>
                    <a:pt x="104" y="7"/>
                    <a:pt x="103" y="6"/>
                  </a:cubicBezTo>
                  <a:cubicBezTo>
                    <a:pt x="102" y="5"/>
                    <a:pt x="101" y="4"/>
                    <a:pt x="101" y="4"/>
                  </a:cubicBezTo>
                  <a:cubicBezTo>
                    <a:pt x="100" y="2"/>
                    <a:pt x="100" y="1"/>
                    <a:pt x="99" y="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83" name="Freeform 174">
              <a:extLst>
                <a:ext uri="{FF2B5EF4-FFF2-40B4-BE49-F238E27FC236}">
                  <a16:creationId xmlns:a16="http://schemas.microsoft.com/office/drawing/2014/main" id="{A4868B16-0968-4709-80E1-9D31DC5C6251}"/>
                </a:ext>
              </a:extLst>
            </p:cNvPr>
            <p:cNvSpPr>
              <a:spLocks/>
            </p:cNvSpPr>
            <p:nvPr/>
          </p:nvSpPr>
          <p:spPr bwMode="gray">
            <a:xfrm>
              <a:off x="15516225" y="3338513"/>
              <a:ext cx="727075" cy="727075"/>
            </a:xfrm>
            <a:custGeom>
              <a:avLst/>
              <a:gdLst>
                <a:gd name="T0" fmla="*/ 79 w 194"/>
                <a:gd name="T1" fmla="*/ 0 h 194"/>
                <a:gd name="T2" fmla="*/ 0 w 194"/>
                <a:gd name="T3" fmla="*/ 78 h 194"/>
                <a:gd name="T4" fmla="*/ 24 w 194"/>
                <a:gd name="T5" fmla="*/ 135 h 194"/>
                <a:gd name="T6" fmla="*/ 63 w 194"/>
                <a:gd name="T7" fmla="*/ 174 h 194"/>
                <a:gd name="T8" fmla="*/ 95 w 194"/>
                <a:gd name="T9" fmla="*/ 194 h 194"/>
                <a:gd name="T10" fmla="*/ 194 w 194"/>
                <a:gd name="T11" fmla="*/ 95 h 194"/>
                <a:gd name="T12" fmla="*/ 174 w 194"/>
                <a:gd name="T13" fmla="*/ 62 h 194"/>
                <a:gd name="T14" fmla="*/ 136 w 194"/>
                <a:gd name="T15" fmla="*/ 24 h 194"/>
                <a:gd name="T16" fmla="*/ 79 w 194"/>
                <a:gd name="T17"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194">
                  <a:moveTo>
                    <a:pt x="79" y="0"/>
                  </a:moveTo>
                  <a:cubicBezTo>
                    <a:pt x="35" y="0"/>
                    <a:pt x="0" y="35"/>
                    <a:pt x="0" y="78"/>
                  </a:cubicBezTo>
                  <a:cubicBezTo>
                    <a:pt x="0" y="101"/>
                    <a:pt x="9" y="121"/>
                    <a:pt x="24" y="135"/>
                  </a:cubicBezTo>
                  <a:cubicBezTo>
                    <a:pt x="25" y="136"/>
                    <a:pt x="62" y="173"/>
                    <a:pt x="63" y="174"/>
                  </a:cubicBezTo>
                  <a:cubicBezTo>
                    <a:pt x="72" y="183"/>
                    <a:pt x="83" y="190"/>
                    <a:pt x="95" y="194"/>
                  </a:cubicBezTo>
                  <a:cubicBezTo>
                    <a:pt x="147" y="187"/>
                    <a:pt x="187" y="146"/>
                    <a:pt x="194" y="95"/>
                  </a:cubicBezTo>
                  <a:cubicBezTo>
                    <a:pt x="190" y="82"/>
                    <a:pt x="183" y="71"/>
                    <a:pt x="174" y="62"/>
                  </a:cubicBezTo>
                  <a:cubicBezTo>
                    <a:pt x="173" y="61"/>
                    <a:pt x="136" y="25"/>
                    <a:pt x="136" y="24"/>
                  </a:cubicBezTo>
                  <a:cubicBezTo>
                    <a:pt x="121" y="9"/>
                    <a:pt x="101" y="0"/>
                    <a:pt x="79" y="0"/>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84" name="Freeform 175">
              <a:extLst>
                <a:ext uri="{FF2B5EF4-FFF2-40B4-BE49-F238E27FC236}">
                  <a16:creationId xmlns:a16="http://schemas.microsoft.com/office/drawing/2014/main" id="{3D6FF942-03DD-4F5A-AE7A-85C4AF7B102E}"/>
                </a:ext>
              </a:extLst>
            </p:cNvPr>
            <p:cNvSpPr>
              <a:spLocks/>
            </p:cNvSpPr>
            <p:nvPr/>
          </p:nvSpPr>
          <p:spPr bwMode="gray">
            <a:xfrm>
              <a:off x="16067088" y="3660775"/>
              <a:ext cx="200025" cy="131763"/>
            </a:xfrm>
            <a:custGeom>
              <a:avLst/>
              <a:gdLst>
                <a:gd name="T0" fmla="*/ 52 w 53"/>
                <a:gd name="T1" fmla="*/ 25 h 35"/>
                <a:gd name="T2" fmla="*/ 46 w 53"/>
                <a:gd name="T3" fmla="*/ 33 h 35"/>
                <a:gd name="T4" fmla="*/ 37 w 53"/>
                <a:gd name="T5" fmla="*/ 34 h 35"/>
                <a:gd name="T6" fmla="*/ 0 w 53"/>
                <a:gd name="T7" fmla="*/ 24 h 35"/>
                <a:gd name="T8" fmla="*/ 7 w 53"/>
                <a:gd name="T9" fmla="*/ 0 h 35"/>
                <a:gd name="T10" fmla="*/ 43 w 53"/>
                <a:gd name="T11" fmla="*/ 10 h 35"/>
                <a:gd name="T12" fmla="*/ 51 w 53"/>
                <a:gd name="T13" fmla="*/ 16 h 35"/>
                <a:gd name="T14" fmla="*/ 52 w 53"/>
                <a:gd name="T15" fmla="*/ 2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35">
                  <a:moveTo>
                    <a:pt x="52" y="25"/>
                  </a:moveTo>
                  <a:cubicBezTo>
                    <a:pt x="51" y="28"/>
                    <a:pt x="49" y="31"/>
                    <a:pt x="46" y="33"/>
                  </a:cubicBezTo>
                  <a:cubicBezTo>
                    <a:pt x="43" y="35"/>
                    <a:pt x="40" y="35"/>
                    <a:pt x="37" y="34"/>
                  </a:cubicBezTo>
                  <a:cubicBezTo>
                    <a:pt x="0" y="24"/>
                    <a:pt x="0" y="24"/>
                    <a:pt x="0" y="24"/>
                  </a:cubicBezTo>
                  <a:cubicBezTo>
                    <a:pt x="7" y="0"/>
                    <a:pt x="7" y="0"/>
                    <a:pt x="7" y="0"/>
                  </a:cubicBezTo>
                  <a:cubicBezTo>
                    <a:pt x="43" y="10"/>
                    <a:pt x="43" y="10"/>
                    <a:pt x="43" y="10"/>
                  </a:cubicBezTo>
                  <a:cubicBezTo>
                    <a:pt x="47" y="11"/>
                    <a:pt x="49" y="13"/>
                    <a:pt x="51" y="16"/>
                  </a:cubicBezTo>
                  <a:cubicBezTo>
                    <a:pt x="53" y="19"/>
                    <a:pt x="53" y="22"/>
                    <a:pt x="52"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5" name="Freeform 176">
              <a:extLst>
                <a:ext uri="{FF2B5EF4-FFF2-40B4-BE49-F238E27FC236}">
                  <a16:creationId xmlns:a16="http://schemas.microsoft.com/office/drawing/2014/main" id="{7915B877-C47B-4D20-9AC2-2656D522300D}"/>
                </a:ext>
              </a:extLst>
            </p:cNvPr>
            <p:cNvSpPr>
              <a:spLocks/>
            </p:cNvSpPr>
            <p:nvPr/>
          </p:nvSpPr>
          <p:spPr bwMode="gray">
            <a:xfrm>
              <a:off x="16067088" y="3660775"/>
              <a:ext cx="79375" cy="104775"/>
            </a:xfrm>
            <a:custGeom>
              <a:avLst/>
              <a:gdLst>
                <a:gd name="T0" fmla="*/ 7 w 21"/>
                <a:gd name="T1" fmla="*/ 0 h 28"/>
                <a:gd name="T2" fmla="*/ 0 w 21"/>
                <a:gd name="T3" fmla="*/ 24 h 28"/>
                <a:gd name="T4" fmla="*/ 14 w 21"/>
                <a:gd name="T5" fmla="*/ 28 h 28"/>
                <a:gd name="T6" fmla="*/ 21 w 21"/>
                <a:gd name="T7" fmla="*/ 4 h 28"/>
                <a:gd name="T8" fmla="*/ 7 w 21"/>
                <a:gd name="T9" fmla="*/ 0 h 28"/>
              </a:gdLst>
              <a:ahLst/>
              <a:cxnLst>
                <a:cxn ang="0">
                  <a:pos x="T0" y="T1"/>
                </a:cxn>
                <a:cxn ang="0">
                  <a:pos x="T2" y="T3"/>
                </a:cxn>
                <a:cxn ang="0">
                  <a:pos x="T4" y="T5"/>
                </a:cxn>
                <a:cxn ang="0">
                  <a:pos x="T6" y="T7"/>
                </a:cxn>
                <a:cxn ang="0">
                  <a:pos x="T8" y="T9"/>
                </a:cxn>
              </a:cxnLst>
              <a:rect l="0" t="0" r="r" b="b"/>
              <a:pathLst>
                <a:path w="21" h="28">
                  <a:moveTo>
                    <a:pt x="7" y="0"/>
                  </a:moveTo>
                  <a:cubicBezTo>
                    <a:pt x="0" y="24"/>
                    <a:pt x="0" y="24"/>
                    <a:pt x="0" y="24"/>
                  </a:cubicBezTo>
                  <a:cubicBezTo>
                    <a:pt x="14" y="28"/>
                    <a:pt x="14" y="28"/>
                    <a:pt x="14" y="28"/>
                  </a:cubicBezTo>
                  <a:cubicBezTo>
                    <a:pt x="17" y="20"/>
                    <a:pt x="19" y="12"/>
                    <a:pt x="21" y="4"/>
                  </a:cubicBezTo>
                  <a:lnTo>
                    <a:pt x="7"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86" name="Oval 177">
              <a:extLst>
                <a:ext uri="{FF2B5EF4-FFF2-40B4-BE49-F238E27FC236}">
                  <a16:creationId xmlns:a16="http://schemas.microsoft.com/office/drawing/2014/main" id="{28B04B52-C72B-4C30-A5D2-88FDD7DC2AB3}"/>
                </a:ext>
              </a:extLst>
            </p:cNvPr>
            <p:cNvSpPr>
              <a:spLocks noChangeArrowheads="1"/>
            </p:cNvSpPr>
            <p:nvPr/>
          </p:nvSpPr>
          <p:spPr bwMode="gray">
            <a:xfrm>
              <a:off x="15516225" y="3338513"/>
              <a:ext cx="592138" cy="5889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87" name="Oval 178">
              <a:extLst>
                <a:ext uri="{FF2B5EF4-FFF2-40B4-BE49-F238E27FC236}">
                  <a16:creationId xmlns:a16="http://schemas.microsoft.com/office/drawing/2014/main" id="{A8DD6676-80CE-4843-883D-E25576F7382C}"/>
                </a:ext>
              </a:extLst>
            </p:cNvPr>
            <p:cNvSpPr>
              <a:spLocks noChangeArrowheads="1"/>
            </p:cNvSpPr>
            <p:nvPr/>
          </p:nvSpPr>
          <p:spPr bwMode="gray">
            <a:xfrm>
              <a:off x="15565438" y="3384550"/>
              <a:ext cx="495300" cy="496888"/>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88" name="Freeform 179">
              <a:extLst>
                <a:ext uri="{FF2B5EF4-FFF2-40B4-BE49-F238E27FC236}">
                  <a16:creationId xmlns:a16="http://schemas.microsoft.com/office/drawing/2014/main" id="{2E286AE7-30A0-4803-8BC1-B9F29B6DE306}"/>
                </a:ext>
              </a:extLst>
            </p:cNvPr>
            <p:cNvSpPr>
              <a:spLocks/>
            </p:cNvSpPr>
            <p:nvPr/>
          </p:nvSpPr>
          <p:spPr bwMode="gray">
            <a:xfrm>
              <a:off x="15565438" y="3384550"/>
              <a:ext cx="454025" cy="455613"/>
            </a:xfrm>
            <a:custGeom>
              <a:avLst/>
              <a:gdLst>
                <a:gd name="T0" fmla="*/ 19 w 121"/>
                <a:gd name="T1" fmla="*/ 85 h 122"/>
                <a:gd name="T2" fmla="*/ 85 w 121"/>
                <a:gd name="T3" fmla="*/ 19 h 122"/>
                <a:gd name="T4" fmla="*/ 121 w 121"/>
                <a:gd name="T5" fmla="*/ 30 h 122"/>
                <a:gd name="T6" fmla="*/ 66 w 121"/>
                <a:gd name="T7" fmla="*/ 0 h 122"/>
                <a:gd name="T8" fmla="*/ 0 w 121"/>
                <a:gd name="T9" fmla="*/ 66 h 122"/>
                <a:gd name="T10" fmla="*/ 30 w 121"/>
                <a:gd name="T11" fmla="*/ 122 h 122"/>
                <a:gd name="T12" fmla="*/ 19 w 121"/>
                <a:gd name="T13" fmla="*/ 85 h 122"/>
              </a:gdLst>
              <a:ahLst/>
              <a:cxnLst>
                <a:cxn ang="0">
                  <a:pos x="T0" y="T1"/>
                </a:cxn>
                <a:cxn ang="0">
                  <a:pos x="T2" y="T3"/>
                </a:cxn>
                <a:cxn ang="0">
                  <a:pos x="T4" y="T5"/>
                </a:cxn>
                <a:cxn ang="0">
                  <a:pos x="T6" y="T7"/>
                </a:cxn>
                <a:cxn ang="0">
                  <a:pos x="T8" y="T9"/>
                </a:cxn>
                <a:cxn ang="0">
                  <a:pos x="T10" y="T11"/>
                </a:cxn>
                <a:cxn ang="0">
                  <a:pos x="T12" y="T13"/>
                </a:cxn>
              </a:cxnLst>
              <a:rect l="0" t="0" r="r" b="b"/>
              <a:pathLst>
                <a:path w="121" h="122">
                  <a:moveTo>
                    <a:pt x="19" y="85"/>
                  </a:moveTo>
                  <a:cubicBezTo>
                    <a:pt x="19" y="49"/>
                    <a:pt x="48" y="19"/>
                    <a:pt x="85" y="19"/>
                  </a:cubicBezTo>
                  <a:cubicBezTo>
                    <a:pt x="98" y="19"/>
                    <a:pt x="111" y="23"/>
                    <a:pt x="121" y="30"/>
                  </a:cubicBezTo>
                  <a:cubicBezTo>
                    <a:pt x="109" y="12"/>
                    <a:pt x="89" y="0"/>
                    <a:pt x="66" y="0"/>
                  </a:cubicBezTo>
                  <a:cubicBezTo>
                    <a:pt x="29" y="0"/>
                    <a:pt x="0" y="30"/>
                    <a:pt x="0" y="66"/>
                  </a:cubicBezTo>
                  <a:cubicBezTo>
                    <a:pt x="0" y="90"/>
                    <a:pt x="12" y="110"/>
                    <a:pt x="30" y="122"/>
                  </a:cubicBezTo>
                  <a:cubicBezTo>
                    <a:pt x="23" y="111"/>
                    <a:pt x="19" y="99"/>
                    <a:pt x="19" y="8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89" name="Freeform 180">
              <a:extLst>
                <a:ext uri="{FF2B5EF4-FFF2-40B4-BE49-F238E27FC236}">
                  <a16:creationId xmlns:a16="http://schemas.microsoft.com/office/drawing/2014/main" id="{72381461-813D-4155-8788-13077018E311}"/>
                </a:ext>
              </a:extLst>
            </p:cNvPr>
            <p:cNvSpPr>
              <a:spLocks/>
            </p:cNvSpPr>
            <p:nvPr/>
          </p:nvSpPr>
          <p:spPr bwMode="gray">
            <a:xfrm>
              <a:off x="15340013" y="4454525"/>
              <a:ext cx="461963" cy="820738"/>
            </a:xfrm>
            <a:custGeom>
              <a:avLst/>
              <a:gdLst>
                <a:gd name="T0" fmla="*/ 123 w 123"/>
                <a:gd name="T1" fmla="*/ 174 h 219"/>
                <a:gd name="T2" fmla="*/ 78 w 123"/>
                <a:gd name="T3" fmla="*/ 219 h 219"/>
                <a:gd name="T4" fmla="*/ 45 w 123"/>
                <a:gd name="T5" fmla="*/ 219 h 219"/>
                <a:gd name="T6" fmla="*/ 0 w 123"/>
                <a:gd name="T7" fmla="*/ 174 h 219"/>
                <a:gd name="T8" fmla="*/ 0 w 123"/>
                <a:gd name="T9" fmla="*/ 45 h 219"/>
                <a:gd name="T10" fmla="*/ 45 w 123"/>
                <a:gd name="T11" fmla="*/ 0 h 219"/>
                <a:gd name="T12" fmla="*/ 78 w 123"/>
                <a:gd name="T13" fmla="*/ 0 h 219"/>
                <a:gd name="T14" fmla="*/ 123 w 123"/>
                <a:gd name="T15" fmla="*/ 45 h 219"/>
                <a:gd name="T16" fmla="*/ 123 w 123"/>
                <a:gd name="T17" fmla="*/ 17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219">
                  <a:moveTo>
                    <a:pt x="123" y="174"/>
                  </a:moveTo>
                  <a:cubicBezTo>
                    <a:pt x="123" y="198"/>
                    <a:pt x="102" y="219"/>
                    <a:pt x="78" y="219"/>
                  </a:cubicBezTo>
                  <a:cubicBezTo>
                    <a:pt x="45" y="219"/>
                    <a:pt x="45" y="219"/>
                    <a:pt x="45" y="219"/>
                  </a:cubicBezTo>
                  <a:cubicBezTo>
                    <a:pt x="20" y="219"/>
                    <a:pt x="0" y="198"/>
                    <a:pt x="0" y="174"/>
                  </a:cubicBezTo>
                  <a:cubicBezTo>
                    <a:pt x="0" y="45"/>
                    <a:pt x="0" y="45"/>
                    <a:pt x="0" y="45"/>
                  </a:cubicBezTo>
                  <a:cubicBezTo>
                    <a:pt x="0" y="20"/>
                    <a:pt x="20" y="0"/>
                    <a:pt x="45" y="0"/>
                  </a:cubicBezTo>
                  <a:cubicBezTo>
                    <a:pt x="78" y="0"/>
                    <a:pt x="78" y="0"/>
                    <a:pt x="78" y="0"/>
                  </a:cubicBezTo>
                  <a:cubicBezTo>
                    <a:pt x="102" y="0"/>
                    <a:pt x="123" y="20"/>
                    <a:pt x="123" y="45"/>
                  </a:cubicBezTo>
                  <a:lnTo>
                    <a:pt x="123" y="1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0" name="Freeform 181">
              <a:extLst>
                <a:ext uri="{FF2B5EF4-FFF2-40B4-BE49-F238E27FC236}">
                  <a16:creationId xmlns:a16="http://schemas.microsoft.com/office/drawing/2014/main" id="{6B146E4C-1714-4765-8134-0769584A2AE6}"/>
                </a:ext>
              </a:extLst>
            </p:cNvPr>
            <p:cNvSpPr>
              <a:spLocks/>
            </p:cNvSpPr>
            <p:nvPr/>
          </p:nvSpPr>
          <p:spPr bwMode="gray">
            <a:xfrm>
              <a:off x="15344775" y="4481513"/>
              <a:ext cx="457200" cy="793750"/>
            </a:xfrm>
            <a:custGeom>
              <a:avLst/>
              <a:gdLst>
                <a:gd name="T0" fmla="*/ 101 w 122"/>
                <a:gd name="T1" fmla="*/ 0 h 212"/>
                <a:gd name="T2" fmla="*/ 102 w 122"/>
                <a:gd name="T3" fmla="*/ 8 h 212"/>
                <a:gd name="T4" fmla="*/ 102 w 122"/>
                <a:gd name="T5" fmla="*/ 106 h 212"/>
                <a:gd name="T6" fmla="*/ 79 w 122"/>
                <a:gd name="T7" fmla="*/ 159 h 212"/>
                <a:gd name="T8" fmla="*/ 26 w 122"/>
                <a:gd name="T9" fmla="*/ 182 h 212"/>
                <a:gd name="T10" fmla="*/ 24 w 122"/>
                <a:gd name="T11" fmla="*/ 182 h 212"/>
                <a:gd name="T12" fmla="*/ 0 w 122"/>
                <a:gd name="T13" fmla="*/ 174 h 212"/>
                <a:gd name="T14" fmla="*/ 44 w 122"/>
                <a:gd name="T15" fmla="*/ 212 h 212"/>
                <a:gd name="T16" fmla="*/ 77 w 122"/>
                <a:gd name="T17" fmla="*/ 212 h 212"/>
                <a:gd name="T18" fmla="*/ 122 w 122"/>
                <a:gd name="T19" fmla="*/ 167 h 212"/>
                <a:gd name="T20" fmla="*/ 122 w 122"/>
                <a:gd name="T21" fmla="*/ 38 h 212"/>
                <a:gd name="T22" fmla="*/ 101 w 122"/>
                <a:gd name="T23"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 h="212">
                  <a:moveTo>
                    <a:pt x="101" y="0"/>
                  </a:moveTo>
                  <a:cubicBezTo>
                    <a:pt x="101" y="3"/>
                    <a:pt x="102" y="5"/>
                    <a:pt x="102" y="8"/>
                  </a:cubicBezTo>
                  <a:cubicBezTo>
                    <a:pt x="102" y="106"/>
                    <a:pt x="102" y="106"/>
                    <a:pt x="102" y="106"/>
                  </a:cubicBezTo>
                  <a:cubicBezTo>
                    <a:pt x="102" y="125"/>
                    <a:pt x="94" y="144"/>
                    <a:pt x="79" y="159"/>
                  </a:cubicBezTo>
                  <a:cubicBezTo>
                    <a:pt x="64" y="174"/>
                    <a:pt x="45" y="182"/>
                    <a:pt x="26" y="182"/>
                  </a:cubicBezTo>
                  <a:cubicBezTo>
                    <a:pt x="24" y="182"/>
                    <a:pt x="24" y="182"/>
                    <a:pt x="24" y="182"/>
                  </a:cubicBezTo>
                  <a:cubicBezTo>
                    <a:pt x="15" y="182"/>
                    <a:pt x="7" y="179"/>
                    <a:pt x="0" y="174"/>
                  </a:cubicBezTo>
                  <a:cubicBezTo>
                    <a:pt x="3" y="195"/>
                    <a:pt x="22" y="212"/>
                    <a:pt x="44" y="212"/>
                  </a:cubicBezTo>
                  <a:cubicBezTo>
                    <a:pt x="77" y="212"/>
                    <a:pt x="77" y="212"/>
                    <a:pt x="77" y="212"/>
                  </a:cubicBezTo>
                  <a:cubicBezTo>
                    <a:pt x="101" y="212"/>
                    <a:pt x="122" y="191"/>
                    <a:pt x="122" y="167"/>
                  </a:cubicBezTo>
                  <a:cubicBezTo>
                    <a:pt x="122" y="38"/>
                    <a:pt x="122" y="38"/>
                    <a:pt x="122" y="38"/>
                  </a:cubicBezTo>
                  <a:cubicBezTo>
                    <a:pt x="122" y="22"/>
                    <a:pt x="113" y="8"/>
                    <a:pt x="101" y="0"/>
                  </a:cubicBezTo>
                  <a:close/>
                </a:path>
              </a:pathLst>
            </a:custGeom>
            <a:solidFill>
              <a:srgbClr val="E6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91" name="Oval 182">
              <a:extLst>
                <a:ext uri="{FF2B5EF4-FFF2-40B4-BE49-F238E27FC236}">
                  <a16:creationId xmlns:a16="http://schemas.microsoft.com/office/drawing/2014/main" id="{878AE553-7CC3-4E16-AE24-1C7162B474B2}"/>
                </a:ext>
              </a:extLst>
            </p:cNvPr>
            <p:cNvSpPr>
              <a:spLocks noChangeArrowheads="1"/>
            </p:cNvSpPr>
            <p:nvPr/>
          </p:nvSpPr>
          <p:spPr bwMode="gray">
            <a:xfrm>
              <a:off x="15532100" y="4592638"/>
              <a:ext cx="74613" cy="76200"/>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de-DE" dirty="0"/>
            </a:p>
          </p:txBody>
        </p:sp>
      </p:grpSp>
      <p:sp>
        <p:nvSpPr>
          <p:cNvPr id="92" name="Bogen 91">
            <a:extLst>
              <a:ext uri="{FF2B5EF4-FFF2-40B4-BE49-F238E27FC236}">
                <a16:creationId xmlns:a16="http://schemas.microsoft.com/office/drawing/2014/main" id="{6AE1C896-5C8F-447D-A431-4F2598839B82}"/>
              </a:ext>
            </a:extLst>
          </p:cNvPr>
          <p:cNvSpPr/>
          <p:nvPr/>
        </p:nvSpPr>
        <p:spPr bwMode="gray">
          <a:xfrm>
            <a:off x="6164803" y="918693"/>
            <a:ext cx="4320479" cy="4320479"/>
          </a:xfrm>
          <a:prstGeom prst="arc">
            <a:avLst>
              <a:gd name="adj1" fmla="val 10391916"/>
              <a:gd name="adj2" fmla="val 19911664"/>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5" name="Bogen 94">
            <a:extLst>
              <a:ext uri="{FF2B5EF4-FFF2-40B4-BE49-F238E27FC236}">
                <a16:creationId xmlns:a16="http://schemas.microsoft.com/office/drawing/2014/main" id="{A9E8C620-7F20-4DC1-868E-163922DED317}"/>
              </a:ext>
            </a:extLst>
          </p:cNvPr>
          <p:cNvSpPr/>
          <p:nvPr/>
        </p:nvSpPr>
        <p:spPr bwMode="gray">
          <a:xfrm>
            <a:off x="6166333" y="918692"/>
            <a:ext cx="4320479" cy="4320479"/>
          </a:xfrm>
          <a:prstGeom prst="arc">
            <a:avLst>
              <a:gd name="adj1" fmla="val 2006487"/>
              <a:gd name="adj2" fmla="val 7543714"/>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3" name="Fußzeilenplatzhalter 92">
            <a:extLst>
              <a:ext uri="{FF2B5EF4-FFF2-40B4-BE49-F238E27FC236}">
                <a16:creationId xmlns:a16="http://schemas.microsoft.com/office/drawing/2014/main" id="{5BFD1681-F567-4282-847C-4228273C5C6A}"/>
              </a:ext>
            </a:extLst>
          </p:cNvPr>
          <p:cNvSpPr>
            <a:spLocks noGrp="1"/>
          </p:cNvSpPr>
          <p:nvPr>
            <p:ph type="ftr" sz="quarter" idx="16"/>
          </p:nvPr>
        </p:nvSpPr>
        <p:spPr bwMode="gray"/>
        <p:txBody>
          <a:bodyPr/>
          <a:lstStyle/>
          <a:p>
            <a:r>
              <a:rPr lang="en-US"/>
              <a:t>Footnote: Please insert appropriate company</a:t>
            </a:r>
            <a:endParaRPr lang="de-DE" dirty="0"/>
          </a:p>
        </p:txBody>
      </p:sp>
      <p:grpSp>
        <p:nvGrpSpPr>
          <p:cNvPr id="112" name="Gruppieren 111">
            <a:extLst>
              <a:ext uri="{FF2B5EF4-FFF2-40B4-BE49-F238E27FC236}">
                <a16:creationId xmlns:a16="http://schemas.microsoft.com/office/drawing/2014/main" id="{68EAC340-893A-436E-89AB-87A71AAE67D0}"/>
              </a:ext>
            </a:extLst>
          </p:cNvPr>
          <p:cNvGrpSpPr/>
          <p:nvPr/>
        </p:nvGrpSpPr>
        <p:grpSpPr>
          <a:xfrm>
            <a:off x="9530040" y="2214563"/>
            <a:ext cx="1577946" cy="853324"/>
            <a:chOff x="-7130204" y="1672849"/>
            <a:chExt cx="12192000" cy="6593211"/>
          </a:xfrm>
        </p:grpSpPr>
        <p:pic>
          <p:nvPicPr>
            <p:cNvPr id="109" name="Grafik 108">
              <a:extLst>
                <a:ext uri="{FF2B5EF4-FFF2-40B4-BE49-F238E27FC236}">
                  <a16:creationId xmlns:a16="http://schemas.microsoft.com/office/drawing/2014/main" id="{3087812F-CF1F-4FB9-97CE-F0F4BCA47F0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450"/>
            <a:stretch/>
          </p:blipFill>
          <p:spPr>
            <a:xfrm>
              <a:off x="-7130204" y="1672849"/>
              <a:ext cx="12192000" cy="6593211"/>
            </a:xfrm>
            <a:prstGeom prst="rect">
              <a:avLst/>
            </a:prstGeom>
          </p:spPr>
        </p:pic>
        <p:sp>
          <p:nvSpPr>
            <p:cNvPr id="110" name="Rechteck 109">
              <a:extLst>
                <a:ext uri="{FF2B5EF4-FFF2-40B4-BE49-F238E27FC236}">
                  <a16:creationId xmlns:a16="http://schemas.microsoft.com/office/drawing/2014/main" id="{24A84127-9795-4DED-B1C0-5223AC072F7D}"/>
                </a:ext>
              </a:extLst>
            </p:cNvPr>
            <p:cNvSpPr/>
            <p:nvPr/>
          </p:nvSpPr>
          <p:spPr>
            <a:xfrm>
              <a:off x="2536004" y="1700808"/>
              <a:ext cx="1183732" cy="177998"/>
            </a:xfrm>
            <a:prstGeom prst="rect">
              <a:avLst/>
            </a:prstGeom>
            <a:solidFill>
              <a:srgbClr val="B747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dirty="0" err="1">
                <a:solidFill>
                  <a:schemeClr val="bg1"/>
                </a:solidFill>
              </a:endParaRPr>
            </a:p>
          </p:txBody>
        </p:sp>
        <p:sp>
          <p:nvSpPr>
            <p:cNvPr id="113" name="Rechteck 112">
              <a:extLst>
                <a:ext uri="{FF2B5EF4-FFF2-40B4-BE49-F238E27FC236}">
                  <a16:creationId xmlns:a16="http://schemas.microsoft.com/office/drawing/2014/main" id="{3E7561CC-BC99-488B-A158-11C6937CD0F8}"/>
                </a:ext>
              </a:extLst>
            </p:cNvPr>
            <p:cNvSpPr/>
            <p:nvPr/>
          </p:nvSpPr>
          <p:spPr>
            <a:xfrm>
              <a:off x="-1540696" y="1700808"/>
              <a:ext cx="1183732" cy="177998"/>
            </a:xfrm>
            <a:prstGeom prst="rect">
              <a:avLst/>
            </a:prstGeom>
            <a:solidFill>
              <a:srgbClr val="B747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dirty="0" err="1">
                <a:solidFill>
                  <a:schemeClr val="bg1"/>
                </a:solidFill>
              </a:endParaRPr>
            </a:p>
          </p:txBody>
        </p:sp>
      </p:grpSp>
      <p:grpSp>
        <p:nvGrpSpPr>
          <p:cNvPr id="99" name="Gruppieren 98">
            <a:extLst>
              <a:ext uri="{FF2B5EF4-FFF2-40B4-BE49-F238E27FC236}">
                <a16:creationId xmlns:a16="http://schemas.microsoft.com/office/drawing/2014/main" id="{2EA0824F-4D38-4B5C-8D4B-B3F2255A071B}"/>
              </a:ext>
            </a:extLst>
          </p:cNvPr>
          <p:cNvGrpSpPr/>
          <p:nvPr/>
        </p:nvGrpSpPr>
        <p:grpSpPr>
          <a:xfrm>
            <a:off x="5683541" y="2195512"/>
            <a:ext cx="2213066" cy="3309937"/>
            <a:chOff x="5683541" y="2195512"/>
            <a:chExt cx="2213066" cy="3309937"/>
          </a:xfrm>
        </p:grpSpPr>
        <p:sp>
          <p:nvSpPr>
            <p:cNvPr id="185" name="Sprechblase: rechteckig 184">
              <a:extLst>
                <a:ext uri="{FF2B5EF4-FFF2-40B4-BE49-F238E27FC236}">
                  <a16:creationId xmlns:a16="http://schemas.microsoft.com/office/drawing/2014/main" id="{2B6CAA6D-AC8B-496F-8D7A-4E1B77889DAB}"/>
                </a:ext>
              </a:extLst>
            </p:cNvPr>
            <p:cNvSpPr/>
            <p:nvPr/>
          </p:nvSpPr>
          <p:spPr>
            <a:xfrm>
              <a:off x="5683541" y="2195512"/>
              <a:ext cx="2213066" cy="3309937"/>
            </a:xfrm>
            <a:prstGeom prst="wedgeRectCallout">
              <a:avLst>
                <a:gd name="adj1" fmla="val 63627"/>
                <a:gd name="adj2" fmla="val -23021"/>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dirty="0" err="1">
                <a:solidFill>
                  <a:schemeClr val="bg1"/>
                </a:solidFill>
              </a:endParaRPr>
            </a:p>
          </p:txBody>
        </p:sp>
        <p:grpSp>
          <p:nvGrpSpPr>
            <p:cNvPr id="98" name="Gruppieren 97">
              <a:extLst>
                <a:ext uri="{FF2B5EF4-FFF2-40B4-BE49-F238E27FC236}">
                  <a16:creationId xmlns:a16="http://schemas.microsoft.com/office/drawing/2014/main" id="{F365CB68-2725-470C-AE6E-4FBFF323AB67}"/>
                </a:ext>
              </a:extLst>
            </p:cNvPr>
            <p:cNvGrpSpPr/>
            <p:nvPr/>
          </p:nvGrpSpPr>
          <p:grpSpPr>
            <a:xfrm>
              <a:off x="5767705" y="2286746"/>
              <a:ext cx="2038034" cy="3129876"/>
              <a:chOff x="5767705" y="2286746"/>
              <a:chExt cx="2038034" cy="3129876"/>
            </a:xfrm>
          </p:grpSpPr>
          <p:pic>
            <p:nvPicPr>
              <p:cNvPr id="96" name="Grafik 95">
                <a:extLst>
                  <a:ext uri="{FF2B5EF4-FFF2-40B4-BE49-F238E27FC236}">
                    <a16:creationId xmlns:a16="http://schemas.microsoft.com/office/drawing/2014/main" id="{8E263997-19B8-4D43-99C5-E445CE87CF2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67705" y="2286746"/>
                <a:ext cx="1628459" cy="3129876"/>
              </a:xfrm>
              <a:prstGeom prst="rect">
                <a:avLst/>
              </a:prstGeom>
            </p:spPr>
          </p:pic>
          <p:pic>
            <p:nvPicPr>
              <p:cNvPr id="107" name="Grafik 106">
                <a:extLst>
                  <a:ext uri="{FF2B5EF4-FFF2-40B4-BE49-F238E27FC236}">
                    <a16:creationId xmlns:a16="http://schemas.microsoft.com/office/drawing/2014/main" id="{8C607E81-1336-4266-95DB-DF7B0968433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57594" r="-1"/>
              <a:stretch/>
            </p:blipFill>
            <p:spPr>
              <a:xfrm>
                <a:off x="7115174" y="2286746"/>
                <a:ext cx="690565" cy="3129876"/>
              </a:xfrm>
              <a:prstGeom prst="rect">
                <a:avLst/>
              </a:prstGeom>
            </p:spPr>
          </p:pic>
          <p:sp>
            <p:nvSpPr>
              <p:cNvPr id="97" name="Rechteck 96">
                <a:extLst>
                  <a:ext uri="{FF2B5EF4-FFF2-40B4-BE49-F238E27FC236}">
                    <a16:creationId xmlns:a16="http://schemas.microsoft.com/office/drawing/2014/main" id="{E99F9957-9787-44C5-A8EE-406B0C294F7C}"/>
                  </a:ext>
                </a:extLst>
              </p:cNvPr>
              <p:cNvSpPr/>
              <p:nvPr/>
            </p:nvSpPr>
            <p:spPr>
              <a:xfrm>
                <a:off x="7032104" y="3347905"/>
                <a:ext cx="171106" cy="1161215"/>
              </a:xfrm>
              <a:prstGeom prst="rect">
                <a:avLst/>
              </a:prstGeom>
              <a:solidFill>
                <a:srgbClr val="E6E6E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sz="1600" dirty="0" err="1">
                  <a:solidFill>
                    <a:schemeClr val="bg1"/>
                  </a:solidFill>
                </a:endParaRPr>
              </a:p>
            </p:txBody>
          </p:sp>
        </p:grpSp>
        <p:sp>
          <p:nvSpPr>
            <p:cNvPr id="187" name="Rechteck 186">
              <a:extLst>
                <a:ext uri="{FF2B5EF4-FFF2-40B4-BE49-F238E27FC236}">
                  <a16:creationId xmlns:a16="http://schemas.microsoft.com/office/drawing/2014/main" id="{9A375755-0FAF-4940-84C2-762C3D7F80ED}"/>
                </a:ext>
              </a:extLst>
            </p:cNvPr>
            <p:cNvSpPr/>
            <p:nvPr/>
          </p:nvSpPr>
          <p:spPr bwMode="gray">
            <a:xfrm>
              <a:off x="7460456" y="4167484"/>
              <a:ext cx="288132" cy="323554"/>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grpSp>
      <p:sp>
        <p:nvSpPr>
          <p:cNvPr id="2" name="Foliennummernplatzhalter 1">
            <a:extLst>
              <a:ext uri="{FF2B5EF4-FFF2-40B4-BE49-F238E27FC236}">
                <a16:creationId xmlns:a16="http://schemas.microsoft.com/office/drawing/2014/main" id="{11C21A27-6E10-45F5-94AD-71BBCDB9992E}"/>
              </a:ext>
            </a:extLst>
          </p:cNvPr>
          <p:cNvSpPr>
            <a:spLocks noGrp="1"/>
          </p:cNvSpPr>
          <p:nvPr>
            <p:ph type="sldNum" sz="quarter" idx="12"/>
          </p:nvPr>
        </p:nvSpPr>
        <p:spPr/>
        <p:txBody>
          <a:bodyPr/>
          <a:lstStyle/>
          <a:p>
            <a:fld id="{CE82B8A1-0CCE-4815-9668-383D7DE7D8B4}" type="slidenum">
              <a:rPr lang="en-US" noProof="0" smtClean="0"/>
              <a:pPr/>
              <a:t>4</a:t>
            </a:fld>
            <a:endParaRPr lang="en-US" noProof="0" dirty="0"/>
          </a:p>
        </p:txBody>
      </p:sp>
    </p:spTree>
    <p:extLst>
      <p:ext uri="{BB962C8B-B14F-4D97-AF65-F5344CB8AC3E}">
        <p14:creationId xmlns:p14="http://schemas.microsoft.com/office/powerpoint/2010/main" val="31732266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Freeform 57">
            <a:extLst>
              <a:ext uri="{FF2B5EF4-FFF2-40B4-BE49-F238E27FC236}">
                <a16:creationId xmlns:a16="http://schemas.microsoft.com/office/drawing/2014/main" id="{5F1D9455-1AB8-42A7-BA77-456120A29186}"/>
              </a:ext>
            </a:extLst>
          </p:cNvPr>
          <p:cNvSpPr>
            <a:spLocks noChangeAspect="1"/>
          </p:cNvSpPr>
          <p:nvPr/>
        </p:nvSpPr>
        <p:spPr bwMode="gray">
          <a:xfrm>
            <a:off x="6744072" y="4790802"/>
            <a:ext cx="488234" cy="482605"/>
          </a:xfrm>
          <a:custGeom>
            <a:avLst/>
            <a:gdLst>
              <a:gd name="T0" fmla="*/ 2485 w 516"/>
              <a:gd name="T1" fmla="*/ 2775 h 510"/>
              <a:gd name="T2" fmla="*/ 2376 w 516"/>
              <a:gd name="T3" fmla="*/ 3068 h 510"/>
              <a:gd name="T4" fmla="*/ 2085 w 516"/>
              <a:gd name="T5" fmla="*/ 2977 h 510"/>
              <a:gd name="T6" fmla="*/ 1941 w 516"/>
              <a:gd name="T7" fmla="*/ 3210 h 510"/>
              <a:gd name="T8" fmla="*/ 1638 w 516"/>
              <a:gd name="T9" fmla="*/ 3045 h 510"/>
              <a:gd name="T10" fmla="*/ 1377 w 516"/>
              <a:gd name="T11" fmla="*/ 3217 h 510"/>
              <a:gd name="T12" fmla="*/ 1183 w 516"/>
              <a:gd name="T13" fmla="*/ 2977 h 510"/>
              <a:gd name="T14" fmla="*/ 937 w 516"/>
              <a:gd name="T15" fmla="*/ 3084 h 510"/>
              <a:gd name="T16" fmla="*/ 849 w 516"/>
              <a:gd name="T17" fmla="*/ 2820 h 510"/>
              <a:gd name="T18" fmla="*/ 721 w 516"/>
              <a:gd name="T19" fmla="*/ 2731 h 510"/>
              <a:gd name="T20" fmla="*/ 438 w 516"/>
              <a:gd name="T21" fmla="*/ 2725 h 510"/>
              <a:gd name="T22" fmla="*/ 418 w 516"/>
              <a:gd name="T23" fmla="*/ 2389 h 510"/>
              <a:gd name="T24" fmla="*/ 148 w 516"/>
              <a:gd name="T25" fmla="*/ 2308 h 510"/>
              <a:gd name="T26" fmla="*/ 246 w 516"/>
              <a:gd name="T27" fmla="*/ 2025 h 510"/>
              <a:gd name="T28" fmla="*/ 0 w 516"/>
              <a:gd name="T29" fmla="*/ 1816 h 510"/>
              <a:gd name="T30" fmla="*/ 189 w 516"/>
              <a:gd name="T31" fmla="*/ 1535 h 510"/>
              <a:gd name="T32" fmla="*/ 20 w 516"/>
              <a:gd name="T33" fmla="*/ 1309 h 510"/>
              <a:gd name="T34" fmla="*/ 266 w 516"/>
              <a:gd name="T35" fmla="*/ 1132 h 510"/>
              <a:gd name="T36" fmla="*/ 170 w 516"/>
              <a:gd name="T37" fmla="*/ 873 h 510"/>
              <a:gd name="T38" fmla="*/ 462 w 516"/>
              <a:gd name="T39" fmla="*/ 773 h 510"/>
              <a:gd name="T40" fmla="*/ 438 w 516"/>
              <a:gd name="T41" fmla="*/ 507 h 510"/>
              <a:gd name="T42" fmla="*/ 721 w 516"/>
              <a:gd name="T43" fmla="*/ 499 h 510"/>
              <a:gd name="T44" fmla="*/ 841 w 516"/>
              <a:gd name="T45" fmla="*/ 189 h 510"/>
              <a:gd name="T46" fmla="*/ 1111 w 516"/>
              <a:gd name="T47" fmla="*/ 274 h 510"/>
              <a:gd name="T48" fmla="*/ 1257 w 516"/>
              <a:gd name="T49" fmla="*/ 229 h 510"/>
              <a:gd name="T50" fmla="*/ 1555 w 516"/>
              <a:gd name="T51" fmla="*/ 185 h 510"/>
              <a:gd name="T52" fmla="*/ 1840 w 516"/>
              <a:gd name="T53" fmla="*/ 0 h 510"/>
              <a:gd name="T54" fmla="*/ 2010 w 516"/>
              <a:gd name="T55" fmla="*/ 229 h 510"/>
              <a:gd name="T56" fmla="*/ 2154 w 516"/>
              <a:gd name="T57" fmla="*/ 274 h 510"/>
              <a:gd name="T58" fmla="*/ 2428 w 516"/>
              <a:gd name="T59" fmla="*/ 189 h 510"/>
              <a:gd name="T60" fmla="*/ 2516 w 516"/>
              <a:gd name="T61" fmla="*/ 475 h 510"/>
              <a:gd name="T62" fmla="*/ 2794 w 516"/>
              <a:gd name="T63" fmla="*/ 468 h 510"/>
              <a:gd name="T64" fmla="*/ 2807 w 516"/>
              <a:gd name="T65" fmla="*/ 773 h 510"/>
              <a:gd name="T66" fmla="*/ 3097 w 516"/>
              <a:gd name="T67" fmla="*/ 873 h 510"/>
              <a:gd name="T68" fmla="*/ 3015 w 516"/>
              <a:gd name="T69" fmla="*/ 1169 h 510"/>
              <a:gd name="T70" fmla="*/ 3247 w 516"/>
              <a:gd name="T71" fmla="*/ 1309 h 510"/>
              <a:gd name="T72" fmla="*/ 3084 w 516"/>
              <a:gd name="T73" fmla="*/ 1614 h 510"/>
              <a:gd name="T74" fmla="*/ 3254 w 516"/>
              <a:gd name="T75" fmla="*/ 1864 h 510"/>
              <a:gd name="T76" fmla="*/ 3015 w 516"/>
              <a:gd name="T77" fmla="*/ 2062 h 510"/>
              <a:gd name="T78" fmla="*/ 3121 w 516"/>
              <a:gd name="T79" fmla="*/ 2308 h 510"/>
              <a:gd name="T80" fmla="*/ 2851 w 516"/>
              <a:gd name="T81" fmla="*/ 2389 h 510"/>
              <a:gd name="T82" fmla="*/ 2762 w 516"/>
              <a:gd name="T83" fmla="*/ 2517 h 510"/>
              <a:gd name="T84" fmla="*/ 2755 w 516"/>
              <a:gd name="T85" fmla="*/ 2799 h 51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16" h="510">
                <a:moveTo>
                  <a:pt x="436" y="443"/>
                </a:moveTo>
                <a:lnTo>
                  <a:pt x="403" y="432"/>
                </a:lnTo>
                <a:lnTo>
                  <a:pt x="393" y="439"/>
                </a:lnTo>
                <a:lnTo>
                  <a:pt x="384" y="446"/>
                </a:lnTo>
                <a:lnTo>
                  <a:pt x="384" y="480"/>
                </a:lnTo>
                <a:lnTo>
                  <a:pt x="376" y="485"/>
                </a:lnTo>
                <a:lnTo>
                  <a:pt x="369" y="488"/>
                </a:lnTo>
                <a:lnTo>
                  <a:pt x="341" y="467"/>
                </a:lnTo>
                <a:lnTo>
                  <a:pt x="330" y="471"/>
                </a:lnTo>
                <a:lnTo>
                  <a:pt x="324" y="473"/>
                </a:lnTo>
                <a:lnTo>
                  <a:pt x="318" y="475"/>
                </a:lnTo>
                <a:lnTo>
                  <a:pt x="307" y="508"/>
                </a:lnTo>
                <a:lnTo>
                  <a:pt x="291" y="510"/>
                </a:lnTo>
                <a:lnTo>
                  <a:pt x="271" y="482"/>
                </a:lnTo>
                <a:lnTo>
                  <a:pt x="259" y="482"/>
                </a:lnTo>
                <a:lnTo>
                  <a:pt x="246" y="482"/>
                </a:lnTo>
                <a:lnTo>
                  <a:pt x="226" y="510"/>
                </a:lnTo>
                <a:lnTo>
                  <a:pt x="218" y="509"/>
                </a:lnTo>
                <a:lnTo>
                  <a:pt x="210" y="508"/>
                </a:lnTo>
                <a:lnTo>
                  <a:pt x="199" y="475"/>
                </a:lnTo>
                <a:lnTo>
                  <a:pt x="187" y="471"/>
                </a:lnTo>
                <a:lnTo>
                  <a:pt x="181" y="470"/>
                </a:lnTo>
                <a:lnTo>
                  <a:pt x="176" y="467"/>
                </a:lnTo>
                <a:lnTo>
                  <a:pt x="148" y="488"/>
                </a:lnTo>
                <a:lnTo>
                  <a:pt x="141" y="485"/>
                </a:lnTo>
                <a:lnTo>
                  <a:pt x="133" y="480"/>
                </a:lnTo>
                <a:lnTo>
                  <a:pt x="134" y="446"/>
                </a:lnTo>
                <a:lnTo>
                  <a:pt x="124" y="439"/>
                </a:lnTo>
                <a:lnTo>
                  <a:pt x="119" y="435"/>
                </a:lnTo>
                <a:lnTo>
                  <a:pt x="114" y="432"/>
                </a:lnTo>
                <a:lnTo>
                  <a:pt x="81" y="443"/>
                </a:lnTo>
                <a:lnTo>
                  <a:pt x="75" y="437"/>
                </a:lnTo>
                <a:lnTo>
                  <a:pt x="69" y="431"/>
                </a:lnTo>
                <a:lnTo>
                  <a:pt x="80" y="398"/>
                </a:lnTo>
                <a:lnTo>
                  <a:pt x="73" y="389"/>
                </a:lnTo>
                <a:lnTo>
                  <a:pt x="66" y="378"/>
                </a:lnTo>
                <a:lnTo>
                  <a:pt x="31" y="379"/>
                </a:lnTo>
                <a:lnTo>
                  <a:pt x="27" y="372"/>
                </a:lnTo>
                <a:lnTo>
                  <a:pt x="23" y="365"/>
                </a:lnTo>
                <a:lnTo>
                  <a:pt x="44" y="337"/>
                </a:lnTo>
                <a:lnTo>
                  <a:pt x="40" y="326"/>
                </a:lnTo>
                <a:lnTo>
                  <a:pt x="39" y="320"/>
                </a:lnTo>
                <a:lnTo>
                  <a:pt x="37" y="314"/>
                </a:lnTo>
                <a:lnTo>
                  <a:pt x="3" y="303"/>
                </a:lnTo>
                <a:lnTo>
                  <a:pt x="0" y="287"/>
                </a:lnTo>
                <a:lnTo>
                  <a:pt x="30" y="267"/>
                </a:lnTo>
                <a:lnTo>
                  <a:pt x="29" y="255"/>
                </a:lnTo>
                <a:lnTo>
                  <a:pt x="30" y="243"/>
                </a:lnTo>
                <a:lnTo>
                  <a:pt x="0" y="224"/>
                </a:lnTo>
                <a:lnTo>
                  <a:pt x="1" y="215"/>
                </a:lnTo>
                <a:lnTo>
                  <a:pt x="3" y="207"/>
                </a:lnTo>
                <a:lnTo>
                  <a:pt x="37" y="197"/>
                </a:lnTo>
                <a:lnTo>
                  <a:pt x="40" y="185"/>
                </a:lnTo>
                <a:lnTo>
                  <a:pt x="42" y="179"/>
                </a:lnTo>
                <a:lnTo>
                  <a:pt x="44" y="173"/>
                </a:lnTo>
                <a:lnTo>
                  <a:pt x="23" y="146"/>
                </a:lnTo>
                <a:lnTo>
                  <a:pt x="27" y="138"/>
                </a:lnTo>
                <a:lnTo>
                  <a:pt x="31" y="132"/>
                </a:lnTo>
                <a:lnTo>
                  <a:pt x="66" y="132"/>
                </a:lnTo>
                <a:lnTo>
                  <a:pt x="73" y="122"/>
                </a:lnTo>
                <a:lnTo>
                  <a:pt x="76" y="117"/>
                </a:lnTo>
                <a:lnTo>
                  <a:pt x="80" y="113"/>
                </a:lnTo>
                <a:lnTo>
                  <a:pt x="69" y="80"/>
                </a:lnTo>
                <a:lnTo>
                  <a:pt x="75" y="74"/>
                </a:lnTo>
                <a:lnTo>
                  <a:pt x="81" y="68"/>
                </a:lnTo>
                <a:lnTo>
                  <a:pt x="114" y="79"/>
                </a:lnTo>
                <a:lnTo>
                  <a:pt x="124" y="72"/>
                </a:lnTo>
                <a:lnTo>
                  <a:pt x="134" y="65"/>
                </a:lnTo>
                <a:lnTo>
                  <a:pt x="133" y="30"/>
                </a:lnTo>
                <a:lnTo>
                  <a:pt x="141" y="26"/>
                </a:lnTo>
                <a:lnTo>
                  <a:pt x="148" y="23"/>
                </a:lnTo>
                <a:lnTo>
                  <a:pt x="176" y="43"/>
                </a:lnTo>
                <a:lnTo>
                  <a:pt x="187" y="39"/>
                </a:lnTo>
                <a:lnTo>
                  <a:pt x="193" y="37"/>
                </a:lnTo>
                <a:lnTo>
                  <a:pt x="199" y="36"/>
                </a:lnTo>
                <a:lnTo>
                  <a:pt x="210" y="3"/>
                </a:lnTo>
                <a:lnTo>
                  <a:pt x="226" y="0"/>
                </a:lnTo>
                <a:lnTo>
                  <a:pt x="246" y="29"/>
                </a:lnTo>
                <a:lnTo>
                  <a:pt x="259" y="28"/>
                </a:lnTo>
                <a:lnTo>
                  <a:pt x="271" y="29"/>
                </a:lnTo>
                <a:lnTo>
                  <a:pt x="291" y="0"/>
                </a:lnTo>
                <a:lnTo>
                  <a:pt x="299" y="1"/>
                </a:lnTo>
                <a:lnTo>
                  <a:pt x="307" y="3"/>
                </a:lnTo>
                <a:lnTo>
                  <a:pt x="318" y="36"/>
                </a:lnTo>
                <a:lnTo>
                  <a:pt x="330" y="39"/>
                </a:lnTo>
                <a:lnTo>
                  <a:pt x="335" y="41"/>
                </a:lnTo>
                <a:lnTo>
                  <a:pt x="341" y="43"/>
                </a:lnTo>
                <a:lnTo>
                  <a:pt x="369" y="23"/>
                </a:lnTo>
                <a:lnTo>
                  <a:pt x="376" y="26"/>
                </a:lnTo>
                <a:lnTo>
                  <a:pt x="384" y="30"/>
                </a:lnTo>
                <a:lnTo>
                  <a:pt x="384" y="65"/>
                </a:lnTo>
                <a:lnTo>
                  <a:pt x="393" y="72"/>
                </a:lnTo>
                <a:lnTo>
                  <a:pt x="398" y="75"/>
                </a:lnTo>
                <a:lnTo>
                  <a:pt x="403" y="79"/>
                </a:lnTo>
                <a:lnTo>
                  <a:pt x="436" y="68"/>
                </a:lnTo>
                <a:lnTo>
                  <a:pt x="442" y="74"/>
                </a:lnTo>
                <a:lnTo>
                  <a:pt x="448" y="80"/>
                </a:lnTo>
                <a:lnTo>
                  <a:pt x="437" y="113"/>
                </a:lnTo>
                <a:lnTo>
                  <a:pt x="444" y="122"/>
                </a:lnTo>
                <a:lnTo>
                  <a:pt x="451" y="132"/>
                </a:lnTo>
                <a:lnTo>
                  <a:pt x="486" y="132"/>
                </a:lnTo>
                <a:lnTo>
                  <a:pt x="490" y="138"/>
                </a:lnTo>
                <a:lnTo>
                  <a:pt x="494" y="146"/>
                </a:lnTo>
                <a:lnTo>
                  <a:pt x="473" y="173"/>
                </a:lnTo>
                <a:lnTo>
                  <a:pt x="477" y="185"/>
                </a:lnTo>
                <a:lnTo>
                  <a:pt x="479" y="191"/>
                </a:lnTo>
                <a:lnTo>
                  <a:pt x="480" y="197"/>
                </a:lnTo>
                <a:lnTo>
                  <a:pt x="514" y="207"/>
                </a:lnTo>
                <a:lnTo>
                  <a:pt x="516" y="224"/>
                </a:lnTo>
                <a:lnTo>
                  <a:pt x="487" y="243"/>
                </a:lnTo>
                <a:lnTo>
                  <a:pt x="488" y="255"/>
                </a:lnTo>
                <a:lnTo>
                  <a:pt x="487" y="267"/>
                </a:lnTo>
                <a:lnTo>
                  <a:pt x="516" y="287"/>
                </a:lnTo>
                <a:lnTo>
                  <a:pt x="515" y="295"/>
                </a:lnTo>
                <a:lnTo>
                  <a:pt x="514" y="303"/>
                </a:lnTo>
                <a:lnTo>
                  <a:pt x="480" y="314"/>
                </a:lnTo>
                <a:lnTo>
                  <a:pt x="477" y="326"/>
                </a:lnTo>
                <a:lnTo>
                  <a:pt x="475" y="331"/>
                </a:lnTo>
                <a:lnTo>
                  <a:pt x="473" y="337"/>
                </a:lnTo>
                <a:lnTo>
                  <a:pt x="494" y="365"/>
                </a:lnTo>
                <a:lnTo>
                  <a:pt x="490" y="372"/>
                </a:lnTo>
                <a:lnTo>
                  <a:pt x="486" y="379"/>
                </a:lnTo>
                <a:lnTo>
                  <a:pt x="451" y="378"/>
                </a:lnTo>
                <a:lnTo>
                  <a:pt x="444" y="389"/>
                </a:lnTo>
                <a:lnTo>
                  <a:pt x="441" y="393"/>
                </a:lnTo>
                <a:lnTo>
                  <a:pt x="437" y="398"/>
                </a:lnTo>
                <a:lnTo>
                  <a:pt x="448" y="431"/>
                </a:lnTo>
                <a:lnTo>
                  <a:pt x="442" y="437"/>
                </a:lnTo>
                <a:lnTo>
                  <a:pt x="436" y="443"/>
                </a:lnTo>
                <a:close/>
              </a:path>
            </a:pathLst>
          </a:custGeom>
          <a:solidFill>
            <a:schemeClr val="bg2"/>
          </a:solidFill>
          <a:ln w="9525">
            <a:noFill/>
            <a:round/>
            <a:headEnd/>
            <a:tailEnd/>
          </a:ln>
        </p:spPr>
        <p:txBody>
          <a:bodyPr/>
          <a:lstStyle/>
          <a:p>
            <a:endParaRPr lang="en-US" dirty="0">
              <a:solidFill>
                <a:srgbClr val="000000"/>
              </a:solidFill>
            </a:endParaRPr>
          </a:p>
        </p:txBody>
      </p:sp>
      <p:sp>
        <p:nvSpPr>
          <p:cNvPr id="78" name="Freeform 57">
            <a:extLst>
              <a:ext uri="{FF2B5EF4-FFF2-40B4-BE49-F238E27FC236}">
                <a16:creationId xmlns:a16="http://schemas.microsoft.com/office/drawing/2014/main" id="{77FDC477-71C4-4B60-8173-93D83FEBF91F}"/>
              </a:ext>
            </a:extLst>
          </p:cNvPr>
          <p:cNvSpPr>
            <a:spLocks noChangeAspect="1"/>
          </p:cNvSpPr>
          <p:nvPr/>
        </p:nvSpPr>
        <p:spPr bwMode="gray">
          <a:xfrm>
            <a:off x="5329978" y="4915924"/>
            <a:ext cx="766022" cy="757190"/>
          </a:xfrm>
          <a:custGeom>
            <a:avLst/>
            <a:gdLst>
              <a:gd name="T0" fmla="*/ 2485 w 516"/>
              <a:gd name="T1" fmla="*/ 2775 h 510"/>
              <a:gd name="T2" fmla="*/ 2376 w 516"/>
              <a:gd name="T3" fmla="*/ 3068 h 510"/>
              <a:gd name="T4" fmla="*/ 2085 w 516"/>
              <a:gd name="T5" fmla="*/ 2977 h 510"/>
              <a:gd name="T6" fmla="*/ 1941 w 516"/>
              <a:gd name="T7" fmla="*/ 3210 h 510"/>
              <a:gd name="T8" fmla="*/ 1638 w 516"/>
              <a:gd name="T9" fmla="*/ 3045 h 510"/>
              <a:gd name="T10" fmla="*/ 1377 w 516"/>
              <a:gd name="T11" fmla="*/ 3217 h 510"/>
              <a:gd name="T12" fmla="*/ 1183 w 516"/>
              <a:gd name="T13" fmla="*/ 2977 h 510"/>
              <a:gd name="T14" fmla="*/ 937 w 516"/>
              <a:gd name="T15" fmla="*/ 3084 h 510"/>
              <a:gd name="T16" fmla="*/ 849 w 516"/>
              <a:gd name="T17" fmla="*/ 2820 h 510"/>
              <a:gd name="T18" fmla="*/ 721 w 516"/>
              <a:gd name="T19" fmla="*/ 2731 h 510"/>
              <a:gd name="T20" fmla="*/ 438 w 516"/>
              <a:gd name="T21" fmla="*/ 2725 h 510"/>
              <a:gd name="T22" fmla="*/ 418 w 516"/>
              <a:gd name="T23" fmla="*/ 2389 h 510"/>
              <a:gd name="T24" fmla="*/ 148 w 516"/>
              <a:gd name="T25" fmla="*/ 2308 h 510"/>
              <a:gd name="T26" fmla="*/ 246 w 516"/>
              <a:gd name="T27" fmla="*/ 2025 h 510"/>
              <a:gd name="T28" fmla="*/ 0 w 516"/>
              <a:gd name="T29" fmla="*/ 1816 h 510"/>
              <a:gd name="T30" fmla="*/ 189 w 516"/>
              <a:gd name="T31" fmla="*/ 1535 h 510"/>
              <a:gd name="T32" fmla="*/ 20 w 516"/>
              <a:gd name="T33" fmla="*/ 1309 h 510"/>
              <a:gd name="T34" fmla="*/ 266 w 516"/>
              <a:gd name="T35" fmla="*/ 1132 h 510"/>
              <a:gd name="T36" fmla="*/ 170 w 516"/>
              <a:gd name="T37" fmla="*/ 873 h 510"/>
              <a:gd name="T38" fmla="*/ 462 w 516"/>
              <a:gd name="T39" fmla="*/ 773 h 510"/>
              <a:gd name="T40" fmla="*/ 438 w 516"/>
              <a:gd name="T41" fmla="*/ 507 h 510"/>
              <a:gd name="T42" fmla="*/ 721 w 516"/>
              <a:gd name="T43" fmla="*/ 499 h 510"/>
              <a:gd name="T44" fmla="*/ 841 w 516"/>
              <a:gd name="T45" fmla="*/ 189 h 510"/>
              <a:gd name="T46" fmla="*/ 1111 w 516"/>
              <a:gd name="T47" fmla="*/ 274 h 510"/>
              <a:gd name="T48" fmla="*/ 1257 w 516"/>
              <a:gd name="T49" fmla="*/ 229 h 510"/>
              <a:gd name="T50" fmla="*/ 1555 w 516"/>
              <a:gd name="T51" fmla="*/ 185 h 510"/>
              <a:gd name="T52" fmla="*/ 1840 w 516"/>
              <a:gd name="T53" fmla="*/ 0 h 510"/>
              <a:gd name="T54" fmla="*/ 2010 w 516"/>
              <a:gd name="T55" fmla="*/ 229 h 510"/>
              <a:gd name="T56" fmla="*/ 2154 w 516"/>
              <a:gd name="T57" fmla="*/ 274 h 510"/>
              <a:gd name="T58" fmla="*/ 2428 w 516"/>
              <a:gd name="T59" fmla="*/ 189 h 510"/>
              <a:gd name="T60" fmla="*/ 2516 w 516"/>
              <a:gd name="T61" fmla="*/ 475 h 510"/>
              <a:gd name="T62" fmla="*/ 2794 w 516"/>
              <a:gd name="T63" fmla="*/ 468 h 510"/>
              <a:gd name="T64" fmla="*/ 2807 w 516"/>
              <a:gd name="T65" fmla="*/ 773 h 510"/>
              <a:gd name="T66" fmla="*/ 3097 w 516"/>
              <a:gd name="T67" fmla="*/ 873 h 510"/>
              <a:gd name="T68" fmla="*/ 3015 w 516"/>
              <a:gd name="T69" fmla="*/ 1169 h 510"/>
              <a:gd name="T70" fmla="*/ 3247 w 516"/>
              <a:gd name="T71" fmla="*/ 1309 h 510"/>
              <a:gd name="T72" fmla="*/ 3084 w 516"/>
              <a:gd name="T73" fmla="*/ 1614 h 510"/>
              <a:gd name="T74" fmla="*/ 3254 w 516"/>
              <a:gd name="T75" fmla="*/ 1864 h 510"/>
              <a:gd name="T76" fmla="*/ 3015 w 516"/>
              <a:gd name="T77" fmla="*/ 2062 h 510"/>
              <a:gd name="T78" fmla="*/ 3121 w 516"/>
              <a:gd name="T79" fmla="*/ 2308 h 510"/>
              <a:gd name="T80" fmla="*/ 2851 w 516"/>
              <a:gd name="T81" fmla="*/ 2389 h 510"/>
              <a:gd name="T82" fmla="*/ 2762 w 516"/>
              <a:gd name="T83" fmla="*/ 2517 h 510"/>
              <a:gd name="T84" fmla="*/ 2755 w 516"/>
              <a:gd name="T85" fmla="*/ 2799 h 51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16" h="510">
                <a:moveTo>
                  <a:pt x="436" y="443"/>
                </a:moveTo>
                <a:lnTo>
                  <a:pt x="403" y="432"/>
                </a:lnTo>
                <a:lnTo>
                  <a:pt x="393" y="439"/>
                </a:lnTo>
                <a:lnTo>
                  <a:pt x="384" y="446"/>
                </a:lnTo>
                <a:lnTo>
                  <a:pt x="384" y="480"/>
                </a:lnTo>
                <a:lnTo>
                  <a:pt x="376" y="485"/>
                </a:lnTo>
                <a:lnTo>
                  <a:pt x="369" y="488"/>
                </a:lnTo>
                <a:lnTo>
                  <a:pt x="341" y="467"/>
                </a:lnTo>
                <a:lnTo>
                  <a:pt x="330" y="471"/>
                </a:lnTo>
                <a:lnTo>
                  <a:pt x="324" y="473"/>
                </a:lnTo>
                <a:lnTo>
                  <a:pt x="318" y="475"/>
                </a:lnTo>
                <a:lnTo>
                  <a:pt x="307" y="508"/>
                </a:lnTo>
                <a:lnTo>
                  <a:pt x="291" y="510"/>
                </a:lnTo>
                <a:lnTo>
                  <a:pt x="271" y="482"/>
                </a:lnTo>
                <a:lnTo>
                  <a:pt x="259" y="482"/>
                </a:lnTo>
                <a:lnTo>
                  <a:pt x="246" y="482"/>
                </a:lnTo>
                <a:lnTo>
                  <a:pt x="226" y="510"/>
                </a:lnTo>
                <a:lnTo>
                  <a:pt x="218" y="509"/>
                </a:lnTo>
                <a:lnTo>
                  <a:pt x="210" y="508"/>
                </a:lnTo>
                <a:lnTo>
                  <a:pt x="199" y="475"/>
                </a:lnTo>
                <a:lnTo>
                  <a:pt x="187" y="471"/>
                </a:lnTo>
                <a:lnTo>
                  <a:pt x="181" y="470"/>
                </a:lnTo>
                <a:lnTo>
                  <a:pt x="176" y="467"/>
                </a:lnTo>
                <a:lnTo>
                  <a:pt x="148" y="488"/>
                </a:lnTo>
                <a:lnTo>
                  <a:pt x="141" y="485"/>
                </a:lnTo>
                <a:lnTo>
                  <a:pt x="133" y="480"/>
                </a:lnTo>
                <a:lnTo>
                  <a:pt x="134" y="446"/>
                </a:lnTo>
                <a:lnTo>
                  <a:pt x="124" y="439"/>
                </a:lnTo>
                <a:lnTo>
                  <a:pt x="119" y="435"/>
                </a:lnTo>
                <a:lnTo>
                  <a:pt x="114" y="432"/>
                </a:lnTo>
                <a:lnTo>
                  <a:pt x="81" y="443"/>
                </a:lnTo>
                <a:lnTo>
                  <a:pt x="75" y="437"/>
                </a:lnTo>
                <a:lnTo>
                  <a:pt x="69" y="431"/>
                </a:lnTo>
                <a:lnTo>
                  <a:pt x="80" y="398"/>
                </a:lnTo>
                <a:lnTo>
                  <a:pt x="73" y="389"/>
                </a:lnTo>
                <a:lnTo>
                  <a:pt x="66" y="378"/>
                </a:lnTo>
                <a:lnTo>
                  <a:pt x="31" y="379"/>
                </a:lnTo>
                <a:lnTo>
                  <a:pt x="27" y="372"/>
                </a:lnTo>
                <a:lnTo>
                  <a:pt x="23" y="365"/>
                </a:lnTo>
                <a:lnTo>
                  <a:pt x="44" y="337"/>
                </a:lnTo>
                <a:lnTo>
                  <a:pt x="40" y="326"/>
                </a:lnTo>
                <a:lnTo>
                  <a:pt x="39" y="320"/>
                </a:lnTo>
                <a:lnTo>
                  <a:pt x="37" y="314"/>
                </a:lnTo>
                <a:lnTo>
                  <a:pt x="3" y="303"/>
                </a:lnTo>
                <a:lnTo>
                  <a:pt x="0" y="287"/>
                </a:lnTo>
                <a:lnTo>
                  <a:pt x="30" y="267"/>
                </a:lnTo>
                <a:lnTo>
                  <a:pt x="29" y="255"/>
                </a:lnTo>
                <a:lnTo>
                  <a:pt x="30" y="243"/>
                </a:lnTo>
                <a:lnTo>
                  <a:pt x="0" y="224"/>
                </a:lnTo>
                <a:lnTo>
                  <a:pt x="1" y="215"/>
                </a:lnTo>
                <a:lnTo>
                  <a:pt x="3" y="207"/>
                </a:lnTo>
                <a:lnTo>
                  <a:pt x="37" y="197"/>
                </a:lnTo>
                <a:lnTo>
                  <a:pt x="40" y="185"/>
                </a:lnTo>
                <a:lnTo>
                  <a:pt x="42" y="179"/>
                </a:lnTo>
                <a:lnTo>
                  <a:pt x="44" y="173"/>
                </a:lnTo>
                <a:lnTo>
                  <a:pt x="23" y="146"/>
                </a:lnTo>
                <a:lnTo>
                  <a:pt x="27" y="138"/>
                </a:lnTo>
                <a:lnTo>
                  <a:pt x="31" y="132"/>
                </a:lnTo>
                <a:lnTo>
                  <a:pt x="66" y="132"/>
                </a:lnTo>
                <a:lnTo>
                  <a:pt x="73" y="122"/>
                </a:lnTo>
                <a:lnTo>
                  <a:pt x="76" y="117"/>
                </a:lnTo>
                <a:lnTo>
                  <a:pt x="80" y="113"/>
                </a:lnTo>
                <a:lnTo>
                  <a:pt x="69" y="80"/>
                </a:lnTo>
                <a:lnTo>
                  <a:pt x="75" y="74"/>
                </a:lnTo>
                <a:lnTo>
                  <a:pt x="81" y="68"/>
                </a:lnTo>
                <a:lnTo>
                  <a:pt x="114" y="79"/>
                </a:lnTo>
                <a:lnTo>
                  <a:pt x="124" y="72"/>
                </a:lnTo>
                <a:lnTo>
                  <a:pt x="134" y="65"/>
                </a:lnTo>
                <a:lnTo>
                  <a:pt x="133" y="30"/>
                </a:lnTo>
                <a:lnTo>
                  <a:pt x="141" y="26"/>
                </a:lnTo>
                <a:lnTo>
                  <a:pt x="148" y="23"/>
                </a:lnTo>
                <a:lnTo>
                  <a:pt x="176" y="43"/>
                </a:lnTo>
                <a:lnTo>
                  <a:pt x="187" y="39"/>
                </a:lnTo>
                <a:lnTo>
                  <a:pt x="193" y="37"/>
                </a:lnTo>
                <a:lnTo>
                  <a:pt x="199" y="36"/>
                </a:lnTo>
                <a:lnTo>
                  <a:pt x="210" y="3"/>
                </a:lnTo>
                <a:lnTo>
                  <a:pt x="226" y="0"/>
                </a:lnTo>
                <a:lnTo>
                  <a:pt x="246" y="29"/>
                </a:lnTo>
                <a:lnTo>
                  <a:pt x="259" y="28"/>
                </a:lnTo>
                <a:lnTo>
                  <a:pt x="271" y="29"/>
                </a:lnTo>
                <a:lnTo>
                  <a:pt x="291" y="0"/>
                </a:lnTo>
                <a:lnTo>
                  <a:pt x="299" y="1"/>
                </a:lnTo>
                <a:lnTo>
                  <a:pt x="307" y="3"/>
                </a:lnTo>
                <a:lnTo>
                  <a:pt x="318" y="36"/>
                </a:lnTo>
                <a:lnTo>
                  <a:pt x="330" y="39"/>
                </a:lnTo>
                <a:lnTo>
                  <a:pt x="335" y="41"/>
                </a:lnTo>
                <a:lnTo>
                  <a:pt x="341" y="43"/>
                </a:lnTo>
                <a:lnTo>
                  <a:pt x="369" y="23"/>
                </a:lnTo>
                <a:lnTo>
                  <a:pt x="376" y="26"/>
                </a:lnTo>
                <a:lnTo>
                  <a:pt x="384" y="30"/>
                </a:lnTo>
                <a:lnTo>
                  <a:pt x="384" y="65"/>
                </a:lnTo>
                <a:lnTo>
                  <a:pt x="393" y="72"/>
                </a:lnTo>
                <a:lnTo>
                  <a:pt x="398" y="75"/>
                </a:lnTo>
                <a:lnTo>
                  <a:pt x="403" y="79"/>
                </a:lnTo>
                <a:lnTo>
                  <a:pt x="436" y="68"/>
                </a:lnTo>
                <a:lnTo>
                  <a:pt x="442" y="74"/>
                </a:lnTo>
                <a:lnTo>
                  <a:pt x="448" y="80"/>
                </a:lnTo>
                <a:lnTo>
                  <a:pt x="437" y="113"/>
                </a:lnTo>
                <a:lnTo>
                  <a:pt x="444" y="122"/>
                </a:lnTo>
                <a:lnTo>
                  <a:pt x="451" y="132"/>
                </a:lnTo>
                <a:lnTo>
                  <a:pt x="486" y="132"/>
                </a:lnTo>
                <a:lnTo>
                  <a:pt x="490" y="138"/>
                </a:lnTo>
                <a:lnTo>
                  <a:pt x="494" y="146"/>
                </a:lnTo>
                <a:lnTo>
                  <a:pt x="473" y="173"/>
                </a:lnTo>
                <a:lnTo>
                  <a:pt x="477" y="185"/>
                </a:lnTo>
                <a:lnTo>
                  <a:pt x="479" y="191"/>
                </a:lnTo>
                <a:lnTo>
                  <a:pt x="480" y="197"/>
                </a:lnTo>
                <a:lnTo>
                  <a:pt x="514" y="207"/>
                </a:lnTo>
                <a:lnTo>
                  <a:pt x="516" y="224"/>
                </a:lnTo>
                <a:lnTo>
                  <a:pt x="487" y="243"/>
                </a:lnTo>
                <a:lnTo>
                  <a:pt x="488" y="255"/>
                </a:lnTo>
                <a:lnTo>
                  <a:pt x="487" y="267"/>
                </a:lnTo>
                <a:lnTo>
                  <a:pt x="516" y="287"/>
                </a:lnTo>
                <a:lnTo>
                  <a:pt x="515" y="295"/>
                </a:lnTo>
                <a:lnTo>
                  <a:pt x="514" y="303"/>
                </a:lnTo>
                <a:lnTo>
                  <a:pt x="480" y="314"/>
                </a:lnTo>
                <a:lnTo>
                  <a:pt x="477" y="326"/>
                </a:lnTo>
                <a:lnTo>
                  <a:pt x="475" y="331"/>
                </a:lnTo>
                <a:lnTo>
                  <a:pt x="473" y="337"/>
                </a:lnTo>
                <a:lnTo>
                  <a:pt x="494" y="365"/>
                </a:lnTo>
                <a:lnTo>
                  <a:pt x="490" y="372"/>
                </a:lnTo>
                <a:lnTo>
                  <a:pt x="486" y="379"/>
                </a:lnTo>
                <a:lnTo>
                  <a:pt x="451" y="378"/>
                </a:lnTo>
                <a:lnTo>
                  <a:pt x="444" y="389"/>
                </a:lnTo>
                <a:lnTo>
                  <a:pt x="441" y="393"/>
                </a:lnTo>
                <a:lnTo>
                  <a:pt x="437" y="398"/>
                </a:lnTo>
                <a:lnTo>
                  <a:pt x="448" y="431"/>
                </a:lnTo>
                <a:lnTo>
                  <a:pt x="442" y="437"/>
                </a:lnTo>
                <a:lnTo>
                  <a:pt x="436" y="443"/>
                </a:lnTo>
                <a:close/>
              </a:path>
            </a:pathLst>
          </a:custGeom>
          <a:solidFill>
            <a:schemeClr val="bg2"/>
          </a:solidFill>
          <a:ln w="9525">
            <a:noFill/>
            <a:round/>
            <a:headEnd/>
            <a:tailEnd/>
          </a:ln>
        </p:spPr>
        <p:txBody>
          <a:bodyPr/>
          <a:lstStyle/>
          <a:p>
            <a:endParaRPr lang="en-US" dirty="0">
              <a:solidFill>
                <a:srgbClr val="000000"/>
              </a:solidFill>
            </a:endParaRPr>
          </a:p>
        </p:txBody>
      </p:sp>
      <p:sp>
        <p:nvSpPr>
          <p:cNvPr id="69" name="Freeform 57">
            <a:extLst>
              <a:ext uri="{FF2B5EF4-FFF2-40B4-BE49-F238E27FC236}">
                <a16:creationId xmlns:a16="http://schemas.microsoft.com/office/drawing/2014/main" id="{4D35F886-68CA-49E6-9523-FC5562807205}"/>
              </a:ext>
            </a:extLst>
          </p:cNvPr>
          <p:cNvSpPr>
            <a:spLocks noChangeAspect="1"/>
          </p:cNvSpPr>
          <p:nvPr/>
        </p:nvSpPr>
        <p:spPr bwMode="gray">
          <a:xfrm>
            <a:off x="6484005" y="3156496"/>
            <a:ext cx="806147" cy="796852"/>
          </a:xfrm>
          <a:custGeom>
            <a:avLst/>
            <a:gdLst>
              <a:gd name="T0" fmla="*/ 2485 w 516"/>
              <a:gd name="T1" fmla="*/ 2775 h 510"/>
              <a:gd name="T2" fmla="*/ 2376 w 516"/>
              <a:gd name="T3" fmla="*/ 3068 h 510"/>
              <a:gd name="T4" fmla="*/ 2085 w 516"/>
              <a:gd name="T5" fmla="*/ 2977 h 510"/>
              <a:gd name="T6" fmla="*/ 1941 w 516"/>
              <a:gd name="T7" fmla="*/ 3210 h 510"/>
              <a:gd name="T8" fmla="*/ 1638 w 516"/>
              <a:gd name="T9" fmla="*/ 3045 h 510"/>
              <a:gd name="T10" fmla="*/ 1377 w 516"/>
              <a:gd name="T11" fmla="*/ 3217 h 510"/>
              <a:gd name="T12" fmla="*/ 1183 w 516"/>
              <a:gd name="T13" fmla="*/ 2977 h 510"/>
              <a:gd name="T14" fmla="*/ 937 w 516"/>
              <a:gd name="T15" fmla="*/ 3084 h 510"/>
              <a:gd name="T16" fmla="*/ 849 w 516"/>
              <a:gd name="T17" fmla="*/ 2820 h 510"/>
              <a:gd name="T18" fmla="*/ 721 w 516"/>
              <a:gd name="T19" fmla="*/ 2731 h 510"/>
              <a:gd name="T20" fmla="*/ 438 w 516"/>
              <a:gd name="T21" fmla="*/ 2725 h 510"/>
              <a:gd name="T22" fmla="*/ 418 w 516"/>
              <a:gd name="T23" fmla="*/ 2389 h 510"/>
              <a:gd name="T24" fmla="*/ 148 w 516"/>
              <a:gd name="T25" fmla="*/ 2308 h 510"/>
              <a:gd name="T26" fmla="*/ 246 w 516"/>
              <a:gd name="T27" fmla="*/ 2025 h 510"/>
              <a:gd name="T28" fmla="*/ 0 w 516"/>
              <a:gd name="T29" fmla="*/ 1816 h 510"/>
              <a:gd name="T30" fmla="*/ 189 w 516"/>
              <a:gd name="T31" fmla="*/ 1535 h 510"/>
              <a:gd name="T32" fmla="*/ 20 w 516"/>
              <a:gd name="T33" fmla="*/ 1309 h 510"/>
              <a:gd name="T34" fmla="*/ 266 w 516"/>
              <a:gd name="T35" fmla="*/ 1132 h 510"/>
              <a:gd name="T36" fmla="*/ 170 w 516"/>
              <a:gd name="T37" fmla="*/ 873 h 510"/>
              <a:gd name="T38" fmla="*/ 462 w 516"/>
              <a:gd name="T39" fmla="*/ 773 h 510"/>
              <a:gd name="T40" fmla="*/ 438 w 516"/>
              <a:gd name="T41" fmla="*/ 507 h 510"/>
              <a:gd name="T42" fmla="*/ 721 w 516"/>
              <a:gd name="T43" fmla="*/ 499 h 510"/>
              <a:gd name="T44" fmla="*/ 841 w 516"/>
              <a:gd name="T45" fmla="*/ 189 h 510"/>
              <a:gd name="T46" fmla="*/ 1111 w 516"/>
              <a:gd name="T47" fmla="*/ 274 h 510"/>
              <a:gd name="T48" fmla="*/ 1257 w 516"/>
              <a:gd name="T49" fmla="*/ 229 h 510"/>
              <a:gd name="T50" fmla="*/ 1555 w 516"/>
              <a:gd name="T51" fmla="*/ 185 h 510"/>
              <a:gd name="T52" fmla="*/ 1840 w 516"/>
              <a:gd name="T53" fmla="*/ 0 h 510"/>
              <a:gd name="T54" fmla="*/ 2010 w 516"/>
              <a:gd name="T55" fmla="*/ 229 h 510"/>
              <a:gd name="T56" fmla="*/ 2154 w 516"/>
              <a:gd name="T57" fmla="*/ 274 h 510"/>
              <a:gd name="T58" fmla="*/ 2428 w 516"/>
              <a:gd name="T59" fmla="*/ 189 h 510"/>
              <a:gd name="T60" fmla="*/ 2516 w 516"/>
              <a:gd name="T61" fmla="*/ 475 h 510"/>
              <a:gd name="T62" fmla="*/ 2794 w 516"/>
              <a:gd name="T63" fmla="*/ 468 h 510"/>
              <a:gd name="T64" fmla="*/ 2807 w 516"/>
              <a:gd name="T65" fmla="*/ 773 h 510"/>
              <a:gd name="T66" fmla="*/ 3097 w 516"/>
              <a:gd name="T67" fmla="*/ 873 h 510"/>
              <a:gd name="T68" fmla="*/ 3015 w 516"/>
              <a:gd name="T69" fmla="*/ 1169 h 510"/>
              <a:gd name="T70" fmla="*/ 3247 w 516"/>
              <a:gd name="T71" fmla="*/ 1309 h 510"/>
              <a:gd name="T72" fmla="*/ 3084 w 516"/>
              <a:gd name="T73" fmla="*/ 1614 h 510"/>
              <a:gd name="T74" fmla="*/ 3254 w 516"/>
              <a:gd name="T75" fmla="*/ 1864 h 510"/>
              <a:gd name="T76" fmla="*/ 3015 w 516"/>
              <a:gd name="T77" fmla="*/ 2062 h 510"/>
              <a:gd name="T78" fmla="*/ 3121 w 516"/>
              <a:gd name="T79" fmla="*/ 2308 h 510"/>
              <a:gd name="T80" fmla="*/ 2851 w 516"/>
              <a:gd name="T81" fmla="*/ 2389 h 510"/>
              <a:gd name="T82" fmla="*/ 2762 w 516"/>
              <a:gd name="T83" fmla="*/ 2517 h 510"/>
              <a:gd name="T84" fmla="*/ 2755 w 516"/>
              <a:gd name="T85" fmla="*/ 2799 h 51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16" h="510">
                <a:moveTo>
                  <a:pt x="436" y="443"/>
                </a:moveTo>
                <a:lnTo>
                  <a:pt x="403" y="432"/>
                </a:lnTo>
                <a:lnTo>
                  <a:pt x="393" y="439"/>
                </a:lnTo>
                <a:lnTo>
                  <a:pt x="384" y="446"/>
                </a:lnTo>
                <a:lnTo>
                  <a:pt x="384" y="480"/>
                </a:lnTo>
                <a:lnTo>
                  <a:pt x="376" y="485"/>
                </a:lnTo>
                <a:lnTo>
                  <a:pt x="369" y="488"/>
                </a:lnTo>
                <a:lnTo>
                  <a:pt x="341" y="467"/>
                </a:lnTo>
                <a:lnTo>
                  <a:pt x="330" y="471"/>
                </a:lnTo>
                <a:lnTo>
                  <a:pt x="324" y="473"/>
                </a:lnTo>
                <a:lnTo>
                  <a:pt x="318" y="475"/>
                </a:lnTo>
                <a:lnTo>
                  <a:pt x="307" y="508"/>
                </a:lnTo>
                <a:lnTo>
                  <a:pt x="291" y="510"/>
                </a:lnTo>
                <a:lnTo>
                  <a:pt x="271" y="482"/>
                </a:lnTo>
                <a:lnTo>
                  <a:pt x="259" y="482"/>
                </a:lnTo>
                <a:lnTo>
                  <a:pt x="246" y="482"/>
                </a:lnTo>
                <a:lnTo>
                  <a:pt x="226" y="510"/>
                </a:lnTo>
                <a:lnTo>
                  <a:pt x="218" y="509"/>
                </a:lnTo>
                <a:lnTo>
                  <a:pt x="210" y="508"/>
                </a:lnTo>
                <a:lnTo>
                  <a:pt x="199" y="475"/>
                </a:lnTo>
                <a:lnTo>
                  <a:pt x="187" y="471"/>
                </a:lnTo>
                <a:lnTo>
                  <a:pt x="181" y="470"/>
                </a:lnTo>
                <a:lnTo>
                  <a:pt x="176" y="467"/>
                </a:lnTo>
                <a:lnTo>
                  <a:pt x="148" y="488"/>
                </a:lnTo>
                <a:lnTo>
                  <a:pt x="141" y="485"/>
                </a:lnTo>
                <a:lnTo>
                  <a:pt x="133" y="480"/>
                </a:lnTo>
                <a:lnTo>
                  <a:pt x="134" y="446"/>
                </a:lnTo>
                <a:lnTo>
                  <a:pt x="124" y="439"/>
                </a:lnTo>
                <a:lnTo>
                  <a:pt x="119" y="435"/>
                </a:lnTo>
                <a:lnTo>
                  <a:pt x="114" y="432"/>
                </a:lnTo>
                <a:lnTo>
                  <a:pt x="81" y="443"/>
                </a:lnTo>
                <a:lnTo>
                  <a:pt x="75" y="437"/>
                </a:lnTo>
                <a:lnTo>
                  <a:pt x="69" y="431"/>
                </a:lnTo>
                <a:lnTo>
                  <a:pt x="80" y="398"/>
                </a:lnTo>
                <a:lnTo>
                  <a:pt x="73" y="389"/>
                </a:lnTo>
                <a:lnTo>
                  <a:pt x="66" y="378"/>
                </a:lnTo>
                <a:lnTo>
                  <a:pt x="31" y="379"/>
                </a:lnTo>
                <a:lnTo>
                  <a:pt x="27" y="372"/>
                </a:lnTo>
                <a:lnTo>
                  <a:pt x="23" y="365"/>
                </a:lnTo>
                <a:lnTo>
                  <a:pt x="44" y="337"/>
                </a:lnTo>
                <a:lnTo>
                  <a:pt x="40" y="326"/>
                </a:lnTo>
                <a:lnTo>
                  <a:pt x="39" y="320"/>
                </a:lnTo>
                <a:lnTo>
                  <a:pt x="37" y="314"/>
                </a:lnTo>
                <a:lnTo>
                  <a:pt x="3" y="303"/>
                </a:lnTo>
                <a:lnTo>
                  <a:pt x="0" y="287"/>
                </a:lnTo>
                <a:lnTo>
                  <a:pt x="30" y="267"/>
                </a:lnTo>
                <a:lnTo>
                  <a:pt x="29" y="255"/>
                </a:lnTo>
                <a:lnTo>
                  <a:pt x="30" y="243"/>
                </a:lnTo>
                <a:lnTo>
                  <a:pt x="0" y="224"/>
                </a:lnTo>
                <a:lnTo>
                  <a:pt x="1" y="215"/>
                </a:lnTo>
                <a:lnTo>
                  <a:pt x="3" y="207"/>
                </a:lnTo>
                <a:lnTo>
                  <a:pt x="37" y="197"/>
                </a:lnTo>
                <a:lnTo>
                  <a:pt x="40" y="185"/>
                </a:lnTo>
                <a:lnTo>
                  <a:pt x="42" y="179"/>
                </a:lnTo>
                <a:lnTo>
                  <a:pt x="44" y="173"/>
                </a:lnTo>
                <a:lnTo>
                  <a:pt x="23" y="146"/>
                </a:lnTo>
                <a:lnTo>
                  <a:pt x="27" y="138"/>
                </a:lnTo>
                <a:lnTo>
                  <a:pt x="31" y="132"/>
                </a:lnTo>
                <a:lnTo>
                  <a:pt x="66" y="132"/>
                </a:lnTo>
                <a:lnTo>
                  <a:pt x="73" y="122"/>
                </a:lnTo>
                <a:lnTo>
                  <a:pt x="76" y="117"/>
                </a:lnTo>
                <a:lnTo>
                  <a:pt x="80" y="113"/>
                </a:lnTo>
                <a:lnTo>
                  <a:pt x="69" y="80"/>
                </a:lnTo>
                <a:lnTo>
                  <a:pt x="75" y="74"/>
                </a:lnTo>
                <a:lnTo>
                  <a:pt x="81" y="68"/>
                </a:lnTo>
                <a:lnTo>
                  <a:pt x="114" y="79"/>
                </a:lnTo>
                <a:lnTo>
                  <a:pt x="124" y="72"/>
                </a:lnTo>
                <a:lnTo>
                  <a:pt x="134" y="65"/>
                </a:lnTo>
                <a:lnTo>
                  <a:pt x="133" y="30"/>
                </a:lnTo>
                <a:lnTo>
                  <a:pt x="141" y="26"/>
                </a:lnTo>
                <a:lnTo>
                  <a:pt x="148" y="23"/>
                </a:lnTo>
                <a:lnTo>
                  <a:pt x="176" y="43"/>
                </a:lnTo>
                <a:lnTo>
                  <a:pt x="187" y="39"/>
                </a:lnTo>
                <a:lnTo>
                  <a:pt x="193" y="37"/>
                </a:lnTo>
                <a:lnTo>
                  <a:pt x="199" y="36"/>
                </a:lnTo>
                <a:lnTo>
                  <a:pt x="210" y="3"/>
                </a:lnTo>
                <a:lnTo>
                  <a:pt x="226" y="0"/>
                </a:lnTo>
                <a:lnTo>
                  <a:pt x="246" y="29"/>
                </a:lnTo>
                <a:lnTo>
                  <a:pt x="259" y="28"/>
                </a:lnTo>
                <a:lnTo>
                  <a:pt x="271" y="29"/>
                </a:lnTo>
                <a:lnTo>
                  <a:pt x="291" y="0"/>
                </a:lnTo>
                <a:lnTo>
                  <a:pt x="299" y="1"/>
                </a:lnTo>
                <a:lnTo>
                  <a:pt x="307" y="3"/>
                </a:lnTo>
                <a:lnTo>
                  <a:pt x="318" y="36"/>
                </a:lnTo>
                <a:lnTo>
                  <a:pt x="330" y="39"/>
                </a:lnTo>
                <a:lnTo>
                  <a:pt x="335" y="41"/>
                </a:lnTo>
                <a:lnTo>
                  <a:pt x="341" y="43"/>
                </a:lnTo>
                <a:lnTo>
                  <a:pt x="369" y="23"/>
                </a:lnTo>
                <a:lnTo>
                  <a:pt x="376" y="26"/>
                </a:lnTo>
                <a:lnTo>
                  <a:pt x="384" y="30"/>
                </a:lnTo>
                <a:lnTo>
                  <a:pt x="384" y="65"/>
                </a:lnTo>
                <a:lnTo>
                  <a:pt x="393" y="72"/>
                </a:lnTo>
                <a:lnTo>
                  <a:pt x="398" y="75"/>
                </a:lnTo>
                <a:lnTo>
                  <a:pt x="403" y="79"/>
                </a:lnTo>
                <a:lnTo>
                  <a:pt x="436" y="68"/>
                </a:lnTo>
                <a:lnTo>
                  <a:pt x="442" y="74"/>
                </a:lnTo>
                <a:lnTo>
                  <a:pt x="448" y="80"/>
                </a:lnTo>
                <a:lnTo>
                  <a:pt x="437" y="113"/>
                </a:lnTo>
                <a:lnTo>
                  <a:pt x="444" y="122"/>
                </a:lnTo>
                <a:lnTo>
                  <a:pt x="451" y="132"/>
                </a:lnTo>
                <a:lnTo>
                  <a:pt x="486" y="132"/>
                </a:lnTo>
                <a:lnTo>
                  <a:pt x="490" y="138"/>
                </a:lnTo>
                <a:lnTo>
                  <a:pt x="494" y="146"/>
                </a:lnTo>
                <a:lnTo>
                  <a:pt x="473" y="173"/>
                </a:lnTo>
                <a:lnTo>
                  <a:pt x="477" y="185"/>
                </a:lnTo>
                <a:lnTo>
                  <a:pt x="479" y="191"/>
                </a:lnTo>
                <a:lnTo>
                  <a:pt x="480" y="197"/>
                </a:lnTo>
                <a:lnTo>
                  <a:pt x="514" y="207"/>
                </a:lnTo>
                <a:lnTo>
                  <a:pt x="516" y="224"/>
                </a:lnTo>
                <a:lnTo>
                  <a:pt x="487" y="243"/>
                </a:lnTo>
                <a:lnTo>
                  <a:pt x="488" y="255"/>
                </a:lnTo>
                <a:lnTo>
                  <a:pt x="487" y="267"/>
                </a:lnTo>
                <a:lnTo>
                  <a:pt x="516" y="287"/>
                </a:lnTo>
                <a:lnTo>
                  <a:pt x="515" y="295"/>
                </a:lnTo>
                <a:lnTo>
                  <a:pt x="514" y="303"/>
                </a:lnTo>
                <a:lnTo>
                  <a:pt x="480" y="314"/>
                </a:lnTo>
                <a:lnTo>
                  <a:pt x="477" y="326"/>
                </a:lnTo>
                <a:lnTo>
                  <a:pt x="475" y="331"/>
                </a:lnTo>
                <a:lnTo>
                  <a:pt x="473" y="337"/>
                </a:lnTo>
                <a:lnTo>
                  <a:pt x="494" y="365"/>
                </a:lnTo>
                <a:lnTo>
                  <a:pt x="490" y="372"/>
                </a:lnTo>
                <a:lnTo>
                  <a:pt x="486" y="379"/>
                </a:lnTo>
                <a:lnTo>
                  <a:pt x="451" y="378"/>
                </a:lnTo>
                <a:lnTo>
                  <a:pt x="444" y="389"/>
                </a:lnTo>
                <a:lnTo>
                  <a:pt x="441" y="393"/>
                </a:lnTo>
                <a:lnTo>
                  <a:pt x="437" y="398"/>
                </a:lnTo>
                <a:lnTo>
                  <a:pt x="448" y="431"/>
                </a:lnTo>
                <a:lnTo>
                  <a:pt x="442" y="437"/>
                </a:lnTo>
                <a:lnTo>
                  <a:pt x="436" y="443"/>
                </a:lnTo>
                <a:close/>
              </a:path>
            </a:pathLst>
          </a:custGeom>
          <a:solidFill>
            <a:schemeClr val="bg2"/>
          </a:solidFill>
          <a:ln w="9525">
            <a:noFill/>
            <a:round/>
            <a:headEnd/>
            <a:tailEnd/>
          </a:ln>
        </p:spPr>
        <p:txBody>
          <a:bodyPr/>
          <a:lstStyle/>
          <a:p>
            <a:endParaRPr lang="en-US" dirty="0">
              <a:solidFill>
                <a:srgbClr val="000000"/>
              </a:solidFill>
            </a:endParaRPr>
          </a:p>
        </p:txBody>
      </p:sp>
      <p:sp>
        <p:nvSpPr>
          <p:cNvPr id="79" name="Freeform 57">
            <a:extLst>
              <a:ext uri="{FF2B5EF4-FFF2-40B4-BE49-F238E27FC236}">
                <a16:creationId xmlns:a16="http://schemas.microsoft.com/office/drawing/2014/main" id="{4F36250C-06DC-4D4B-85B1-D2E61C2F34E2}"/>
              </a:ext>
            </a:extLst>
          </p:cNvPr>
          <p:cNvSpPr>
            <a:spLocks noChangeAspect="1"/>
          </p:cNvSpPr>
          <p:nvPr/>
        </p:nvSpPr>
        <p:spPr bwMode="gray">
          <a:xfrm>
            <a:off x="4520693" y="2175786"/>
            <a:ext cx="1391663" cy="1375617"/>
          </a:xfrm>
          <a:custGeom>
            <a:avLst/>
            <a:gdLst>
              <a:gd name="T0" fmla="*/ 2485 w 516"/>
              <a:gd name="T1" fmla="*/ 2775 h 510"/>
              <a:gd name="T2" fmla="*/ 2376 w 516"/>
              <a:gd name="T3" fmla="*/ 3068 h 510"/>
              <a:gd name="T4" fmla="*/ 2085 w 516"/>
              <a:gd name="T5" fmla="*/ 2977 h 510"/>
              <a:gd name="T6" fmla="*/ 1941 w 516"/>
              <a:gd name="T7" fmla="*/ 3210 h 510"/>
              <a:gd name="T8" fmla="*/ 1638 w 516"/>
              <a:gd name="T9" fmla="*/ 3045 h 510"/>
              <a:gd name="T10" fmla="*/ 1377 w 516"/>
              <a:gd name="T11" fmla="*/ 3217 h 510"/>
              <a:gd name="T12" fmla="*/ 1183 w 516"/>
              <a:gd name="T13" fmla="*/ 2977 h 510"/>
              <a:gd name="T14" fmla="*/ 937 w 516"/>
              <a:gd name="T15" fmla="*/ 3084 h 510"/>
              <a:gd name="T16" fmla="*/ 849 w 516"/>
              <a:gd name="T17" fmla="*/ 2820 h 510"/>
              <a:gd name="T18" fmla="*/ 721 w 516"/>
              <a:gd name="T19" fmla="*/ 2731 h 510"/>
              <a:gd name="T20" fmla="*/ 438 w 516"/>
              <a:gd name="T21" fmla="*/ 2725 h 510"/>
              <a:gd name="T22" fmla="*/ 418 w 516"/>
              <a:gd name="T23" fmla="*/ 2389 h 510"/>
              <a:gd name="T24" fmla="*/ 148 w 516"/>
              <a:gd name="T25" fmla="*/ 2308 h 510"/>
              <a:gd name="T26" fmla="*/ 246 w 516"/>
              <a:gd name="T27" fmla="*/ 2025 h 510"/>
              <a:gd name="T28" fmla="*/ 0 w 516"/>
              <a:gd name="T29" fmla="*/ 1816 h 510"/>
              <a:gd name="T30" fmla="*/ 189 w 516"/>
              <a:gd name="T31" fmla="*/ 1535 h 510"/>
              <a:gd name="T32" fmla="*/ 20 w 516"/>
              <a:gd name="T33" fmla="*/ 1309 h 510"/>
              <a:gd name="T34" fmla="*/ 266 w 516"/>
              <a:gd name="T35" fmla="*/ 1132 h 510"/>
              <a:gd name="T36" fmla="*/ 170 w 516"/>
              <a:gd name="T37" fmla="*/ 873 h 510"/>
              <a:gd name="T38" fmla="*/ 462 w 516"/>
              <a:gd name="T39" fmla="*/ 773 h 510"/>
              <a:gd name="T40" fmla="*/ 438 w 516"/>
              <a:gd name="T41" fmla="*/ 507 h 510"/>
              <a:gd name="T42" fmla="*/ 721 w 516"/>
              <a:gd name="T43" fmla="*/ 499 h 510"/>
              <a:gd name="T44" fmla="*/ 841 w 516"/>
              <a:gd name="T45" fmla="*/ 189 h 510"/>
              <a:gd name="T46" fmla="*/ 1111 w 516"/>
              <a:gd name="T47" fmla="*/ 274 h 510"/>
              <a:gd name="T48" fmla="*/ 1257 w 516"/>
              <a:gd name="T49" fmla="*/ 229 h 510"/>
              <a:gd name="T50" fmla="*/ 1555 w 516"/>
              <a:gd name="T51" fmla="*/ 185 h 510"/>
              <a:gd name="T52" fmla="*/ 1840 w 516"/>
              <a:gd name="T53" fmla="*/ 0 h 510"/>
              <a:gd name="T54" fmla="*/ 2010 w 516"/>
              <a:gd name="T55" fmla="*/ 229 h 510"/>
              <a:gd name="T56" fmla="*/ 2154 w 516"/>
              <a:gd name="T57" fmla="*/ 274 h 510"/>
              <a:gd name="T58" fmla="*/ 2428 w 516"/>
              <a:gd name="T59" fmla="*/ 189 h 510"/>
              <a:gd name="T60" fmla="*/ 2516 w 516"/>
              <a:gd name="T61" fmla="*/ 475 h 510"/>
              <a:gd name="T62" fmla="*/ 2794 w 516"/>
              <a:gd name="T63" fmla="*/ 468 h 510"/>
              <a:gd name="T64" fmla="*/ 2807 w 516"/>
              <a:gd name="T65" fmla="*/ 773 h 510"/>
              <a:gd name="T66" fmla="*/ 3097 w 516"/>
              <a:gd name="T67" fmla="*/ 873 h 510"/>
              <a:gd name="T68" fmla="*/ 3015 w 516"/>
              <a:gd name="T69" fmla="*/ 1169 h 510"/>
              <a:gd name="T70" fmla="*/ 3247 w 516"/>
              <a:gd name="T71" fmla="*/ 1309 h 510"/>
              <a:gd name="T72" fmla="*/ 3084 w 516"/>
              <a:gd name="T73" fmla="*/ 1614 h 510"/>
              <a:gd name="T74" fmla="*/ 3254 w 516"/>
              <a:gd name="T75" fmla="*/ 1864 h 510"/>
              <a:gd name="T76" fmla="*/ 3015 w 516"/>
              <a:gd name="T77" fmla="*/ 2062 h 510"/>
              <a:gd name="T78" fmla="*/ 3121 w 516"/>
              <a:gd name="T79" fmla="*/ 2308 h 510"/>
              <a:gd name="T80" fmla="*/ 2851 w 516"/>
              <a:gd name="T81" fmla="*/ 2389 h 510"/>
              <a:gd name="T82" fmla="*/ 2762 w 516"/>
              <a:gd name="T83" fmla="*/ 2517 h 510"/>
              <a:gd name="T84" fmla="*/ 2755 w 516"/>
              <a:gd name="T85" fmla="*/ 2799 h 51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16" h="510">
                <a:moveTo>
                  <a:pt x="436" y="443"/>
                </a:moveTo>
                <a:lnTo>
                  <a:pt x="403" y="432"/>
                </a:lnTo>
                <a:lnTo>
                  <a:pt x="393" y="439"/>
                </a:lnTo>
                <a:lnTo>
                  <a:pt x="384" y="446"/>
                </a:lnTo>
                <a:lnTo>
                  <a:pt x="384" y="480"/>
                </a:lnTo>
                <a:lnTo>
                  <a:pt x="376" y="485"/>
                </a:lnTo>
                <a:lnTo>
                  <a:pt x="369" y="488"/>
                </a:lnTo>
                <a:lnTo>
                  <a:pt x="341" y="467"/>
                </a:lnTo>
                <a:lnTo>
                  <a:pt x="330" y="471"/>
                </a:lnTo>
                <a:lnTo>
                  <a:pt x="324" y="473"/>
                </a:lnTo>
                <a:lnTo>
                  <a:pt x="318" y="475"/>
                </a:lnTo>
                <a:lnTo>
                  <a:pt x="307" y="508"/>
                </a:lnTo>
                <a:lnTo>
                  <a:pt x="291" y="510"/>
                </a:lnTo>
                <a:lnTo>
                  <a:pt x="271" y="482"/>
                </a:lnTo>
                <a:lnTo>
                  <a:pt x="259" y="482"/>
                </a:lnTo>
                <a:lnTo>
                  <a:pt x="246" y="482"/>
                </a:lnTo>
                <a:lnTo>
                  <a:pt x="226" y="510"/>
                </a:lnTo>
                <a:lnTo>
                  <a:pt x="218" y="509"/>
                </a:lnTo>
                <a:lnTo>
                  <a:pt x="210" y="508"/>
                </a:lnTo>
                <a:lnTo>
                  <a:pt x="199" y="475"/>
                </a:lnTo>
                <a:lnTo>
                  <a:pt x="187" y="471"/>
                </a:lnTo>
                <a:lnTo>
                  <a:pt x="181" y="470"/>
                </a:lnTo>
                <a:lnTo>
                  <a:pt x="176" y="467"/>
                </a:lnTo>
                <a:lnTo>
                  <a:pt x="148" y="488"/>
                </a:lnTo>
                <a:lnTo>
                  <a:pt x="141" y="485"/>
                </a:lnTo>
                <a:lnTo>
                  <a:pt x="133" y="480"/>
                </a:lnTo>
                <a:lnTo>
                  <a:pt x="134" y="446"/>
                </a:lnTo>
                <a:lnTo>
                  <a:pt x="124" y="439"/>
                </a:lnTo>
                <a:lnTo>
                  <a:pt x="119" y="435"/>
                </a:lnTo>
                <a:lnTo>
                  <a:pt x="114" y="432"/>
                </a:lnTo>
                <a:lnTo>
                  <a:pt x="81" y="443"/>
                </a:lnTo>
                <a:lnTo>
                  <a:pt x="75" y="437"/>
                </a:lnTo>
                <a:lnTo>
                  <a:pt x="69" y="431"/>
                </a:lnTo>
                <a:lnTo>
                  <a:pt x="80" y="398"/>
                </a:lnTo>
                <a:lnTo>
                  <a:pt x="73" y="389"/>
                </a:lnTo>
                <a:lnTo>
                  <a:pt x="66" y="378"/>
                </a:lnTo>
                <a:lnTo>
                  <a:pt x="31" y="379"/>
                </a:lnTo>
                <a:lnTo>
                  <a:pt x="27" y="372"/>
                </a:lnTo>
                <a:lnTo>
                  <a:pt x="23" y="365"/>
                </a:lnTo>
                <a:lnTo>
                  <a:pt x="44" y="337"/>
                </a:lnTo>
                <a:lnTo>
                  <a:pt x="40" y="326"/>
                </a:lnTo>
                <a:lnTo>
                  <a:pt x="39" y="320"/>
                </a:lnTo>
                <a:lnTo>
                  <a:pt x="37" y="314"/>
                </a:lnTo>
                <a:lnTo>
                  <a:pt x="3" y="303"/>
                </a:lnTo>
                <a:lnTo>
                  <a:pt x="0" y="287"/>
                </a:lnTo>
                <a:lnTo>
                  <a:pt x="30" y="267"/>
                </a:lnTo>
                <a:lnTo>
                  <a:pt x="29" y="255"/>
                </a:lnTo>
                <a:lnTo>
                  <a:pt x="30" y="243"/>
                </a:lnTo>
                <a:lnTo>
                  <a:pt x="0" y="224"/>
                </a:lnTo>
                <a:lnTo>
                  <a:pt x="1" y="215"/>
                </a:lnTo>
                <a:lnTo>
                  <a:pt x="3" y="207"/>
                </a:lnTo>
                <a:lnTo>
                  <a:pt x="37" y="197"/>
                </a:lnTo>
                <a:lnTo>
                  <a:pt x="40" y="185"/>
                </a:lnTo>
                <a:lnTo>
                  <a:pt x="42" y="179"/>
                </a:lnTo>
                <a:lnTo>
                  <a:pt x="44" y="173"/>
                </a:lnTo>
                <a:lnTo>
                  <a:pt x="23" y="146"/>
                </a:lnTo>
                <a:lnTo>
                  <a:pt x="27" y="138"/>
                </a:lnTo>
                <a:lnTo>
                  <a:pt x="31" y="132"/>
                </a:lnTo>
                <a:lnTo>
                  <a:pt x="66" y="132"/>
                </a:lnTo>
                <a:lnTo>
                  <a:pt x="73" y="122"/>
                </a:lnTo>
                <a:lnTo>
                  <a:pt x="76" y="117"/>
                </a:lnTo>
                <a:lnTo>
                  <a:pt x="80" y="113"/>
                </a:lnTo>
                <a:lnTo>
                  <a:pt x="69" y="80"/>
                </a:lnTo>
                <a:lnTo>
                  <a:pt x="75" y="74"/>
                </a:lnTo>
                <a:lnTo>
                  <a:pt x="81" y="68"/>
                </a:lnTo>
                <a:lnTo>
                  <a:pt x="114" y="79"/>
                </a:lnTo>
                <a:lnTo>
                  <a:pt x="124" y="72"/>
                </a:lnTo>
                <a:lnTo>
                  <a:pt x="134" y="65"/>
                </a:lnTo>
                <a:lnTo>
                  <a:pt x="133" y="30"/>
                </a:lnTo>
                <a:lnTo>
                  <a:pt x="141" y="26"/>
                </a:lnTo>
                <a:lnTo>
                  <a:pt x="148" y="23"/>
                </a:lnTo>
                <a:lnTo>
                  <a:pt x="176" y="43"/>
                </a:lnTo>
                <a:lnTo>
                  <a:pt x="187" y="39"/>
                </a:lnTo>
                <a:lnTo>
                  <a:pt x="193" y="37"/>
                </a:lnTo>
                <a:lnTo>
                  <a:pt x="199" y="36"/>
                </a:lnTo>
                <a:lnTo>
                  <a:pt x="210" y="3"/>
                </a:lnTo>
                <a:lnTo>
                  <a:pt x="226" y="0"/>
                </a:lnTo>
                <a:lnTo>
                  <a:pt x="246" y="29"/>
                </a:lnTo>
                <a:lnTo>
                  <a:pt x="259" y="28"/>
                </a:lnTo>
                <a:lnTo>
                  <a:pt x="271" y="29"/>
                </a:lnTo>
                <a:lnTo>
                  <a:pt x="291" y="0"/>
                </a:lnTo>
                <a:lnTo>
                  <a:pt x="299" y="1"/>
                </a:lnTo>
                <a:lnTo>
                  <a:pt x="307" y="3"/>
                </a:lnTo>
                <a:lnTo>
                  <a:pt x="318" y="36"/>
                </a:lnTo>
                <a:lnTo>
                  <a:pt x="330" y="39"/>
                </a:lnTo>
                <a:lnTo>
                  <a:pt x="335" y="41"/>
                </a:lnTo>
                <a:lnTo>
                  <a:pt x="341" y="43"/>
                </a:lnTo>
                <a:lnTo>
                  <a:pt x="369" y="23"/>
                </a:lnTo>
                <a:lnTo>
                  <a:pt x="376" y="26"/>
                </a:lnTo>
                <a:lnTo>
                  <a:pt x="384" y="30"/>
                </a:lnTo>
                <a:lnTo>
                  <a:pt x="384" y="65"/>
                </a:lnTo>
                <a:lnTo>
                  <a:pt x="393" y="72"/>
                </a:lnTo>
                <a:lnTo>
                  <a:pt x="398" y="75"/>
                </a:lnTo>
                <a:lnTo>
                  <a:pt x="403" y="79"/>
                </a:lnTo>
                <a:lnTo>
                  <a:pt x="436" y="68"/>
                </a:lnTo>
                <a:lnTo>
                  <a:pt x="442" y="74"/>
                </a:lnTo>
                <a:lnTo>
                  <a:pt x="448" y="80"/>
                </a:lnTo>
                <a:lnTo>
                  <a:pt x="437" y="113"/>
                </a:lnTo>
                <a:lnTo>
                  <a:pt x="444" y="122"/>
                </a:lnTo>
                <a:lnTo>
                  <a:pt x="451" y="132"/>
                </a:lnTo>
                <a:lnTo>
                  <a:pt x="486" y="132"/>
                </a:lnTo>
                <a:lnTo>
                  <a:pt x="490" y="138"/>
                </a:lnTo>
                <a:lnTo>
                  <a:pt x="494" y="146"/>
                </a:lnTo>
                <a:lnTo>
                  <a:pt x="473" y="173"/>
                </a:lnTo>
                <a:lnTo>
                  <a:pt x="477" y="185"/>
                </a:lnTo>
                <a:lnTo>
                  <a:pt x="479" y="191"/>
                </a:lnTo>
                <a:lnTo>
                  <a:pt x="480" y="197"/>
                </a:lnTo>
                <a:lnTo>
                  <a:pt x="514" y="207"/>
                </a:lnTo>
                <a:lnTo>
                  <a:pt x="516" y="224"/>
                </a:lnTo>
                <a:lnTo>
                  <a:pt x="487" y="243"/>
                </a:lnTo>
                <a:lnTo>
                  <a:pt x="488" y="255"/>
                </a:lnTo>
                <a:lnTo>
                  <a:pt x="487" y="267"/>
                </a:lnTo>
                <a:lnTo>
                  <a:pt x="516" y="287"/>
                </a:lnTo>
                <a:lnTo>
                  <a:pt x="515" y="295"/>
                </a:lnTo>
                <a:lnTo>
                  <a:pt x="514" y="303"/>
                </a:lnTo>
                <a:lnTo>
                  <a:pt x="480" y="314"/>
                </a:lnTo>
                <a:lnTo>
                  <a:pt x="477" y="326"/>
                </a:lnTo>
                <a:lnTo>
                  <a:pt x="475" y="331"/>
                </a:lnTo>
                <a:lnTo>
                  <a:pt x="473" y="337"/>
                </a:lnTo>
                <a:lnTo>
                  <a:pt x="494" y="365"/>
                </a:lnTo>
                <a:lnTo>
                  <a:pt x="490" y="372"/>
                </a:lnTo>
                <a:lnTo>
                  <a:pt x="486" y="379"/>
                </a:lnTo>
                <a:lnTo>
                  <a:pt x="451" y="378"/>
                </a:lnTo>
                <a:lnTo>
                  <a:pt x="444" y="389"/>
                </a:lnTo>
                <a:lnTo>
                  <a:pt x="441" y="393"/>
                </a:lnTo>
                <a:lnTo>
                  <a:pt x="437" y="398"/>
                </a:lnTo>
                <a:lnTo>
                  <a:pt x="448" y="431"/>
                </a:lnTo>
                <a:lnTo>
                  <a:pt x="442" y="437"/>
                </a:lnTo>
                <a:lnTo>
                  <a:pt x="436" y="443"/>
                </a:lnTo>
                <a:close/>
              </a:path>
            </a:pathLst>
          </a:custGeom>
          <a:solidFill>
            <a:schemeClr val="bg2"/>
          </a:solidFill>
          <a:ln w="9525">
            <a:noFill/>
            <a:round/>
            <a:headEnd/>
            <a:tailEnd/>
          </a:ln>
        </p:spPr>
        <p:txBody>
          <a:bodyPr/>
          <a:lstStyle/>
          <a:p>
            <a:endParaRPr lang="en-US" dirty="0">
              <a:solidFill>
                <a:srgbClr val="000000"/>
              </a:solidFill>
            </a:endParaRPr>
          </a:p>
        </p:txBody>
      </p:sp>
      <p:sp>
        <p:nvSpPr>
          <p:cNvPr id="80" name="Freeform 57">
            <a:extLst>
              <a:ext uri="{FF2B5EF4-FFF2-40B4-BE49-F238E27FC236}">
                <a16:creationId xmlns:a16="http://schemas.microsoft.com/office/drawing/2014/main" id="{B17024AF-57A8-483F-9B9A-690B7379FC18}"/>
              </a:ext>
            </a:extLst>
          </p:cNvPr>
          <p:cNvSpPr>
            <a:spLocks noChangeAspect="1"/>
          </p:cNvSpPr>
          <p:nvPr/>
        </p:nvSpPr>
        <p:spPr bwMode="gray">
          <a:xfrm>
            <a:off x="5041286" y="3105666"/>
            <a:ext cx="2126204" cy="2101686"/>
          </a:xfrm>
          <a:custGeom>
            <a:avLst/>
            <a:gdLst>
              <a:gd name="T0" fmla="*/ 2485 w 516"/>
              <a:gd name="T1" fmla="*/ 2775 h 510"/>
              <a:gd name="T2" fmla="*/ 2376 w 516"/>
              <a:gd name="T3" fmla="*/ 3068 h 510"/>
              <a:gd name="T4" fmla="*/ 2085 w 516"/>
              <a:gd name="T5" fmla="*/ 2977 h 510"/>
              <a:gd name="T6" fmla="*/ 1941 w 516"/>
              <a:gd name="T7" fmla="*/ 3210 h 510"/>
              <a:gd name="T8" fmla="*/ 1638 w 516"/>
              <a:gd name="T9" fmla="*/ 3045 h 510"/>
              <a:gd name="T10" fmla="*/ 1377 w 516"/>
              <a:gd name="T11" fmla="*/ 3217 h 510"/>
              <a:gd name="T12" fmla="*/ 1183 w 516"/>
              <a:gd name="T13" fmla="*/ 2977 h 510"/>
              <a:gd name="T14" fmla="*/ 937 w 516"/>
              <a:gd name="T15" fmla="*/ 3084 h 510"/>
              <a:gd name="T16" fmla="*/ 849 w 516"/>
              <a:gd name="T17" fmla="*/ 2820 h 510"/>
              <a:gd name="T18" fmla="*/ 721 w 516"/>
              <a:gd name="T19" fmla="*/ 2731 h 510"/>
              <a:gd name="T20" fmla="*/ 438 w 516"/>
              <a:gd name="T21" fmla="*/ 2725 h 510"/>
              <a:gd name="T22" fmla="*/ 418 w 516"/>
              <a:gd name="T23" fmla="*/ 2389 h 510"/>
              <a:gd name="T24" fmla="*/ 148 w 516"/>
              <a:gd name="T25" fmla="*/ 2308 h 510"/>
              <a:gd name="T26" fmla="*/ 246 w 516"/>
              <a:gd name="T27" fmla="*/ 2025 h 510"/>
              <a:gd name="T28" fmla="*/ 0 w 516"/>
              <a:gd name="T29" fmla="*/ 1816 h 510"/>
              <a:gd name="T30" fmla="*/ 189 w 516"/>
              <a:gd name="T31" fmla="*/ 1535 h 510"/>
              <a:gd name="T32" fmla="*/ 20 w 516"/>
              <a:gd name="T33" fmla="*/ 1309 h 510"/>
              <a:gd name="T34" fmla="*/ 266 w 516"/>
              <a:gd name="T35" fmla="*/ 1132 h 510"/>
              <a:gd name="T36" fmla="*/ 170 w 516"/>
              <a:gd name="T37" fmla="*/ 873 h 510"/>
              <a:gd name="T38" fmla="*/ 462 w 516"/>
              <a:gd name="T39" fmla="*/ 773 h 510"/>
              <a:gd name="T40" fmla="*/ 438 w 516"/>
              <a:gd name="T41" fmla="*/ 507 h 510"/>
              <a:gd name="T42" fmla="*/ 721 w 516"/>
              <a:gd name="T43" fmla="*/ 499 h 510"/>
              <a:gd name="T44" fmla="*/ 841 w 516"/>
              <a:gd name="T45" fmla="*/ 189 h 510"/>
              <a:gd name="T46" fmla="*/ 1111 w 516"/>
              <a:gd name="T47" fmla="*/ 274 h 510"/>
              <a:gd name="T48" fmla="*/ 1257 w 516"/>
              <a:gd name="T49" fmla="*/ 229 h 510"/>
              <a:gd name="T50" fmla="*/ 1555 w 516"/>
              <a:gd name="T51" fmla="*/ 185 h 510"/>
              <a:gd name="T52" fmla="*/ 1840 w 516"/>
              <a:gd name="T53" fmla="*/ 0 h 510"/>
              <a:gd name="T54" fmla="*/ 2010 w 516"/>
              <a:gd name="T55" fmla="*/ 229 h 510"/>
              <a:gd name="T56" fmla="*/ 2154 w 516"/>
              <a:gd name="T57" fmla="*/ 274 h 510"/>
              <a:gd name="T58" fmla="*/ 2428 w 516"/>
              <a:gd name="T59" fmla="*/ 189 h 510"/>
              <a:gd name="T60" fmla="*/ 2516 w 516"/>
              <a:gd name="T61" fmla="*/ 475 h 510"/>
              <a:gd name="T62" fmla="*/ 2794 w 516"/>
              <a:gd name="T63" fmla="*/ 468 h 510"/>
              <a:gd name="T64" fmla="*/ 2807 w 516"/>
              <a:gd name="T65" fmla="*/ 773 h 510"/>
              <a:gd name="T66" fmla="*/ 3097 w 516"/>
              <a:gd name="T67" fmla="*/ 873 h 510"/>
              <a:gd name="T68" fmla="*/ 3015 w 516"/>
              <a:gd name="T69" fmla="*/ 1169 h 510"/>
              <a:gd name="T70" fmla="*/ 3247 w 516"/>
              <a:gd name="T71" fmla="*/ 1309 h 510"/>
              <a:gd name="T72" fmla="*/ 3084 w 516"/>
              <a:gd name="T73" fmla="*/ 1614 h 510"/>
              <a:gd name="T74" fmla="*/ 3254 w 516"/>
              <a:gd name="T75" fmla="*/ 1864 h 510"/>
              <a:gd name="T76" fmla="*/ 3015 w 516"/>
              <a:gd name="T77" fmla="*/ 2062 h 510"/>
              <a:gd name="T78" fmla="*/ 3121 w 516"/>
              <a:gd name="T79" fmla="*/ 2308 h 510"/>
              <a:gd name="T80" fmla="*/ 2851 w 516"/>
              <a:gd name="T81" fmla="*/ 2389 h 510"/>
              <a:gd name="T82" fmla="*/ 2762 w 516"/>
              <a:gd name="T83" fmla="*/ 2517 h 510"/>
              <a:gd name="T84" fmla="*/ 2755 w 516"/>
              <a:gd name="T85" fmla="*/ 2799 h 51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16" h="510">
                <a:moveTo>
                  <a:pt x="436" y="443"/>
                </a:moveTo>
                <a:lnTo>
                  <a:pt x="403" y="432"/>
                </a:lnTo>
                <a:lnTo>
                  <a:pt x="393" y="439"/>
                </a:lnTo>
                <a:lnTo>
                  <a:pt x="384" y="446"/>
                </a:lnTo>
                <a:lnTo>
                  <a:pt x="384" y="480"/>
                </a:lnTo>
                <a:lnTo>
                  <a:pt x="376" y="485"/>
                </a:lnTo>
                <a:lnTo>
                  <a:pt x="369" y="488"/>
                </a:lnTo>
                <a:lnTo>
                  <a:pt x="341" y="467"/>
                </a:lnTo>
                <a:lnTo>
                  <a:pt x="330" y="471"/>
                </a:lnTo>
                <a:lnTo>
                  <a:pt x="324" y="473"/>
                </a:lnTo>
                <a:lnTo>
                  <a:pt x="318" y="475"/>
                </a:lnTo>
                <a:lnTo>
                  <a:pt x="307" y="508"/>
                </a:lnTo>
                <a:lnTo>
                  <a:pt x="291" y="510"/>
                </a:lnTo>
                <a:lnTo>
                  <a:pt x="271" y="482"/>
                </a:lnTo>
                <a:lnTo>
                  <a:pt x="259" y="482"/>
                </a:lnTo>
                <a:lnTo>
                  <a:pt x="246" y="482"/>
                </a:lnTo>
                <a:lnTo>
                  <a:pt x="226" y="510"/>
                </a:lnTo>
                <a:lnTo>
                  <a:pt x="218" y="509"/>
                </a:lnTo>
                <a:lnTo>
                  <a:pt x="210" y="508"/>
                </a:lnTo>
                <a:lnTo>
                  <a:pt x="199" y="475"/>
                </a:lnTo>
                <a:lnTo>
                  <a:pt x="187" y="471"/>
                </a:lnTo>
                <a:lnTo>
                  <a:pt x="181" y="470"/>
                </a:lnTo>
                <a:lnTo>
                  <a:pt x="176" y="467"/>
                </a:lnTo>
                <a:lnTo>
                  <a:pt x="148" y="488"/>
                </a:lnTo>
                <a:lnTo>
                  <a:pt x="141" y="485"/>
                </a:lnTo>
                <a:lnTo>
                  <a:pt x="133" y="480"/>
                </a:lnTo>
                <a:lnTo>
                  <a:pt x="134" y="446"/>
                </a:lnTo>
                <a:lnTo>
                  <a:pt x="124" y="439"/>
                </a:lnTo>
                <a:lnTo>
                  <a:pt x="119" y="435"/>
                </a:lnTo>
                <a:lnTo>
                  <a:pt x="114" y="432"/>
                </a:lnTo>
                <a:lnTo>
                  <a:pt x="81" y="443"/>
                </a:lnTo>
                <a:lnTo>
                  <a:pt x="75" y="437"/>
                </a:lnTo>
                <a:lnTo>
                  <a:pt x="69" y="431"/>
                </a:lnTo>
                <a:lnTo>
                  <a:pt x="80" y="398"/>
                </a:lnTo>
                <a:lnTo>
                  <a:pt x="73" y="389"/>
                </a:lnTo>
                <a:lnTo>
                  <a:pt x="66" y="378"/>
                </a:lnTo>
                <a:lnTo>
                  <a:pt x="31" y="379"/>
                </a:lnTo>
                <a:lnTo>
                  <a:pt x="27" y="372"/>
                </a:lnTo>
                <a:lnTo>
                  <a:pt x="23" y="365"/>
                </a:lnTo>
                <a:lnTo>
                  <a:pt x="44" y="337"/>
                </a:lnTo>
                <a:lnTo>
                  <a:pt x="40" y="326"/>
                </a:lnTo>
                <a:lnTo>
                  <a:pt x="39" y="320"/>
                </a:lnTo>
                <a:lnTo>
                  <a:pt x="37" y="314"/>
                </a:lnTo>
                <a:lnTo>
                  <a:pt x="3" y="303"/>
                </a:lnTo>
                <a:lnTo>
                  <a:pt x="0" y="287"/>
                </a:lnTo>
                <a:lnTo>
                  <a:pt x="30" y="267"/>
                </a:lnTo>
                <a:lnTo>
                  <a:pt x="29" y="255"/>
                </a:lnTo>
                <a:lnTo>
                  <a:pt x="30" y="243"/>
                </a:lnTo>
                <a:lnTo>
                  <a:pt x="0" y="224"/>
                </a:lnTo>
                <a:lnTo>
                  <a:pt x="1" y="215"/>
                </a:lnTo>
                <a:lnTo>
                  <a:pt x="3" y="207"/>
                </a:lnTo>
                <a:lnTo>
                  <a:pt x="37" y="197"/>
                </a:lnTo>
                <a:lnTo>
                  <a:pt x="40" y="185"/>
                </a:lnTo>
                <a:lnTo>
                  <a:pt x="42" y="179"/>
                </a:lnTo>
                <a:lnTo>
                  <a:pt x="44" y="173"/>
                </a:lnTo>
                <a:lnTo>
                  <a:pt x="23" y="146"/>
                </a:lnTo>
                <a:lnTo>
                  <a:pt x="27" y="138"/>
                </a:lnTo>
                <a:lnTo>
                  <a:pt x="31" y="132"/>
                </a:lnTo>
                <a:lnTo>
                  <a:pt x="66" y="132"/>
                </a:lnTo>
                <a:lnTo>
                  <a:pt x="73" y="122"/>
                </a:lnTo>
                <a:lnTo>
                  <a:pt x="76" y="117"/>
                </a:lnTo>
                <a:lnTo>
                  <a:pt x="80" y="113"/>
                </a:lnTo>
                <a:lnTo>
                  <a:pt x="69" y="80"/>
                </a:lnTo>
                <a:lnTo>
                  <a:pt x="75" y="74"/>
                </a:lnTo>
                <a:lnTo>
                  <a:pt x="81" y="68"/>
                </a:lnTo>
                <a:lnTo>
                  <a:pt x="114" y="79"/>
                </a:lnTo>
                <a:lnTo>
                  <a:pt x="124" y="72"/>
                </a:lnTo>
                <a:lnTo>
                  <a:pt x="134" y="65"/>
                </a:lnTo>
                <a:lnTo>
                  <a:pt x="133" y="30"/>
                </a:lnTo>
                <a:lnTo>
                  <a:pt x="141" y="26"/>
                </a:lnTo>
                <a:lnTo>
                  <a:pt x="148" y="23"/>
                </a:lnTo>
                <a:lnTo>
                  <a:pt x="176" y="43"/>
                </a:lnTo>
                <a:lnTo>
                  <a:pt x="187" y="39"/>
                </a:lnTo>
                <a:lnTo>
                  <a:pt x="193" y="37"/>
                </a:lnTo>
                <a:lnTo>
                  <a:pt x="199" y="36"/>
                </a:lnTo>
                <a:lnTo>
                  <a:pt x="210" y="3"/>
                </a:lnTo>
                <a:lnTo>
                  <a:pt x="226" y="0"/>
                </a:lnTo>
                <a:lnTo>
                  <a:pt x="246" y="29"/>
                </a:lnTo>
                <a:lnTo>
                  <a:pt x="259" y="28"/>
                </a:lnTo>
                <a:lnTo>
                  <a:pt x="271" y="29"/>
                </a:lnTo>
                <a:lnTo>
                  <a:pt x="291" y="0"/>
                </a:lnTo>
                <a:lnTo>
                  <a:pt x="299" y="1"/>
                </a:lnTo>
                <a:lnTo>
                  <a:pt x="307" y="3"/>
                </a:lnTo>
                <a:lnTo>
                  <a:pt x="318" y="36"/>
                </a:lnTo>
                <a:lnTo>
                  <a:pt x="330" y="39"/>
                </a:lnTo>
                <a:lnTo>
                  <a:pt x="335" y="41"/>
                </a:lnTo>
                <a:lnTo>
                  <a:pt x="341" y="43"/>
                </a:lnTo>
                <a:lnTo>
                  <a:pt x="369" y="23"/>
                </a:lnTo>
                <a:lnTo>
                  <a:pt x="376" y="26"/>
                </a:lnTo>
                <a:lnTo>
                  <a:pt x="384" y="30"/>
                </a:lnTo>
                <a:lnTo>
                  <a:pt x="384" y="65"/>
                </a:lnTo>
                <a:lnTo>
                  <a:pt x="393" y="72"/>
                </a:lnTo>
                <a:lnTo>
                  <a:pt x="398" y="75"/>
                </a:lnTo>
                <a:lnTo>
                  <a:pt x="403" y="79"/>
                </a:lnTo>
                <a:lnTo>
                  <a:pt x="436" y="68"/>
                </a:lnTo>
                <a:lnTo>
                  <a:pt x="442" y="74"/>
                </a:lnTo>
                <a:lnTo>
                  <a:pt x="448" y="80"/>
                </a:lnTo>
                <a:lnTo>
                  <a:pt x="437" y="113"/>
                </a:lnTo>
                <a:lnTo>
                  <a:pt x="444" y="122"/>
                </a:lnTo>
                <a:lnTo>
                  <a:pt x="451" y="132"/>
                </a:lnTo>
                <a:lnTo>
                  <a:pt x="486" y="132"/>
                </a:lnTo>
                <a:lnTo>
                  <a:pt x="490" y="138"/>
                </a:lnTo>
                <a:lnTo>
                  <a:pt x="494" y="146"/>
                </a:lnTo>
                <a:lnTo>
                  <a:pt x="473" y="173"/>
                </a:lnTo>
                <a:lnTo>
                  <a:pt x="477" y="185"/>
                </a:lnTo>
                <a:lnTo>
                  <a:pt x="479" y="191"/>
                </a:lnTo>
                <a:lnTo>
                  <a:pt x="480" y="197"/>
                </a:lnTo>
                <a:lnTo>
                  <a:pt x="514" y="207"/>
                </a:lnTo>
                <a:lnTo>
                  <a:pt x="516" y="224"/>
                </a:lnTo>
                <a:lnTo>
                  <a:pt x="487" y="243"/>
                </a:lnTo>
                <a:lnTo>
                  <a:pt x="488" y="255"/>
                </a:lnTo>
                <a:lnTo>
                  <a:pt x="487" y="267"/>
                </a:lnTo>
                <a:lnTo>
                  <a:pt x="516" y="287"/>
                </a:lnTo>
                <a:lnTo>
                  <a:pt x="515" y="295"/>
                </a:lnTo>
                <a:lnTo>
                  <a:pt x="514" y="303"/>
                </a:lnTo>
                <a:lnTo>
                  <a:pt x="480" y="314"/>
                </a:lnTo>
                <a:lnTo>
                  <a:pt x="477" y="326"/>
                </a:lnTo>
                <a:lnTo>
                  <a:pt x="475" y="331"/>
                </a:lnTo>
                <a:lnTo>
                  <a:pt x="473" y="337"/>
                </a:lnTo>
                <a:lnTo>
                  <a:pt x="494" y="365"/>
                </a:lnTo>
                <a:lnTo>
                  <a:pt x="490" y="372"/>
                </a:lnTo>
                <a:lnTo>
                  <a:pt x="486" y="379"/>
                </a:lnTo>
                <a:lnTo>
                  <a:pt x="451" y="378"/>
                </a:lnTo>
                <a:lnTo>
                  <a:pt x="444" y="389"/>
                </a:lnTo>
                <a:lnTo>
                  <a:pt x="441" y="393"/>
                </a:lnTo>
                <a:lnTo>
                  <a:pt x="437" y="398"/>
                </a:lnTo>
                <a:lnTo>
                  <a:pt x="448" y="431"/>
                </a:lnTo>
                <a:lnTo>
                  <a:pt x="442" y="437"/>
                </a:lnTo>
                <a:lnTo>
                  <a:pt x="436" y="443"/>
                </a:lnTo>
                <a:close/>
              </a:path>
            </a:pathLst>
          </a:custGeom>
          <a:solidFill>
            <a:schemeClr val="bg1"/>
          </a:solidFill>
          <a:ln w="9525">
            <a:noFill/>
            <a:round/>
            <a:headEnd/>
            <a:tailEnd/>
          </a:ln>
        </p:spPr>
        <p:txBody>
          <a:bodyPr/>
          <a:lstStyle/>
          <a:p>
            <a:endParaRPr lang="en-US" dirty="0">
              <a:solidFill>
                <a:srgbClr val="000000"/>
              </a:solidFill>
            </a:endParaRPr>
          </a:p>
        </p:txBody>
      </p:sp>
      <p:sp>
        <p:nvSpPr>
          <p:cNvPr id="67" name="Freeform 57">
            <a:extLst>
              <a:ext uri="{FF2B5EF4-FFF2-40B4-BE49-F238E27FC236}">
                <a16:creationId xmlns:a16="http://schemas.microsoft.com/office/drawing/2014/main" id="{4575BC55-596D-43CF-8440-309545B4FE72}"/>
              </a:ext>
            </a:extLst>
          </p:cNvPr>
          <p:cNvSpPr>
            <a:spLocks noChangeAspect="1"/>
          </p:cNvSpPr>
          <p:nvPr/>
        </p:nvSpPr>
        <p:spPr bwMode="gray">
          <a:xfrm>
            <a:off x="7118717" y="2788487"/>
            <a:ext cx="611845" cy="604791"/>
          </a:xfrm>
          <a:custGeom>
            <a:avLst/>
            <a:gdLst>
              <a:gd name="T0" fmla="*/ 2485 w 516"/>
              <a:gd name="T1" fmla="*/ 2775 h 510"/>
              <a:gd name="T2" fmla="*/ 2376 w 516"/>
              <a:gd name="T3" fmla="*/ 3068 h 510"/>
              <a:gd name="T4" fmla="*/ 2085 w 516"/>
              <a:gd name="T5" fmla="*/ 2977 h 510"/>
              <a:gd name="T6" fmla="*/ 1941 w 516"/>
              <a:gd name="T7" fmla="*/ 3210 h 510"/>
              <a:gd name="T8" fmla="*/ 1638 w 516"/>
              <a:gd name="T9" fmla="*/ 3045 h 510"/>
              <a:gd name="T10" fmla="*/ 1377 w 516"/>
              <a:gd name="T11" fmla="*/ 3217 h 510"/>
              <a:gd name="T12" fmla="*/ 1183 w 516"/>
              <a:gd name="T13" fmla="*/ 2977 h 510"/>
              <a:gd name="T14" fmla="*/ 937 w 516"/>
              <a:gd name="T15" fmla="*/ 3084 h 510"/>
              <a:gd name="T16" fmla="*/ 849 w 516"/>
              <a:gd name="T17" fmla="*/ 2820 h 510"/>
              <a:gd name="T18" fmla="*/ 721 w 516"/>
              <a:gd name="T19" fmla="*/ 2731 h 510"/>
              <a:gd name="T20" fmla="*/ 438 w 516"/>
              <a:gd name="T21" fmla="*/ 2725 h 510"/>
              <a:gd name="T22" fmla="*/ 418 w 516"/>
              <a:gd name="T23" fmla="*/ 2389 h 510"/>
              <a:gd name="T24" fmla="*/ 148 w 516"/>
              <a:gd name="T25" fmla="*/ 2308 h 510"/>
              <a:gd name="T26" fmla="*/ 246 w 516"/>
              <a:gd name="T27" fmla="*/ 2025 h 510"/>
              <a:gd name="T28" fmla="*/ 0 w 516"/>
              <a:gd name="T29" fmla="*/ 1816 h 510"/>
              <a:gd name="T30" fmla="*/ 189 w 516"/>
              <a:gd name="T31" fmla="*/ 1535 h 510"/>
              <a:gd name="T32" fmla="*/ 20 w 516"/>
              <a:gd name="T33" fmla="*/ 1309 h 510"/>
              <a:gd name="T34" fmla="*/ 266 w 516"/>
              <a:gd name="T35" fmla="*/ 1132 h 510"/>
              <a:gd name="T36" fmla="*/ 170 w 516"/>
              <a:gd name="T37" fmla="*/ 873 h 510"/>
              <a:gd name="T38" fmla="*/ 462 w 516"/>
              <a:gd name="T39" fmla="*/ 773 h 510"/>
              <a:gd name="T40" fmla="*/ 438 w 516"/>
              <a:gd name="T41" fmla="*/ 507 h 510"/>
              <a:gd name="T42" fmla="*/ 721 w 516"/>
              <a:gd name="T43" fmla="*/ 499 h 510"/>
              <a:gd name="T44" fmla="*/ 841 w 516"/>
              <a:gd name="T45" fmla="*/ 189 h 510"/>
              <a:gd name="T46" fmla="*/ 1111 w 516"/>
              <a:gd name="T47" fmla="*/ 274 h 510"/>
              <a:gd name="T48" fmla="*/ 1257 w 516"/>
              <a:gd name="T49" fmla="*/ 229 h 510"/>
              <a:gd name="T50" fmla="*/ 1555 w 516"/>
              <a:gd name="T51" fmla="*/ 185 h 510"/>
              <a:gd name="T52" fmla="*/ 1840 w 516"/>
              <a:gd name="T53" fmla="*/ 0 h 510"/>
              <a:gd name="T54" fmla="*/ 2010 w 516"/>
              <a:gd name="T55" fmla="*/ 229 h 510"/>
              <a:gd name="T56" fmla="*/ 2154 w 516"/>
              <a:gd name="T57" fmla="*/ 274 h 510"/>
              <a:gd name="T58" fmla="*/ 2428 w 516"/>
              <a:gd name="T59" fmla="*/ 189 h 510"/>
              <a:gd name="T60" fmla="*/ 2516 w 516"/>
              <a:gd name="T61" fmla="*/ 475 h 510"/>
              <a:gd name="T62" fmla="*/ 2794 w 516"/>
              <a:gd name="T63" fmla="*/ 468 h 510"/>
              <a:gd name="T64" fmla="*/ 2807 w 516"/>
              <a:gd name="T65" fmla="*/ 773 h 510"/>
              <a:gd name="T66" fmla="*/ 3097 w 516"/>
              <a:gd name="T67" fmla="*/ 873 h 510"/>
              <a:gd name="T68" fmla="*/ 3015 w 516"/>
              <a:gd name="T69" fmla="*/ 1169 h 510"/>
              <a:gd name="T70" fmla="*/ 3247 w 516"/>
              <a:gd name="T71" fmla="*/ 1309 h 510"/>
              <a:gd name="T72" fmla="*/ 3084 w 516"/>
              <a:gd name="T73" fmla="*/ 1614 h 510"/>
              <a:gd name="T74" fmla="*/ 3254 w 516"/>
              <a:gd name="T75" fmla="*/ 1864 h 510"/>
              <a:gd name="T76" fmla="*/ 3015 w 516"/>
              <a:gd name="T77" fmla="*/ 2062 h 510"/>
              <a:gd name="T78" fmla="*/ 3121 w 516"/>
              <a:gd name="T79" fmla="*/ 2308 h 510"/>
              <a:gd name="T80" fmla="*/ 2851 w 516"/>
              <a:gd name="T81" fmla="*/ 2389 h 510"/>
              <a:gd name="T82" fmla="*/ 2762 w 516"/>
              <a:gd name="T83" fmla="*/ 2517 h 510"/>
              <a:gd name="T84" fmla="*/ 2755 w 516"/>
              <a:gd name="T85" fmla="*/ 2799 h 51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16" h="510">
                <a:moveTo>
                  <a:pt x="436" y="443"/>
                </a:moveTo>
                <a:lnTo>
                  <a:pt x="403" y="432"/>
                </a:lnTo>
                <a:lnTo>
                  <a:pt x="393" y="439"/>
                </a:lnTo>
                <a:lnTo>
                  <a:pt x="384" y="446"/>
                </a:lnTo>
                <a:lnTo>
                  <a:pt x="384" y="480"/>
                </a:lnTo>
                <a:lnTo>
                  <a:pt x="376" y="485"/>
                </a:lnTo>
                <a:lnTo>
                  <a:pt x="369" y="488"/>
                </a:lnTo>
                <a:lnTo>
                  <a:pt x="341" y="467"/>
                </a:lnTo>
                <a:lnTo>
                  <a:pt x="330" y="471"/>
                </a:lnTo>
                <a:lnTo>
                  <a:pt x="324" y="473"/>
                </a:lnTo>
                <a:lnTo>
                  <a:pt x="318" y="475"/>
                </a:lnTo>
                <a:lnTo>
                  <a:pt x="307" y="508"/>
                </a:lnTo>
                <a:lnTo>
                  <a:pt x="291" y="510"/>
                </a:lnTo>
                <a:lnTo>
                  <a:pt x="271" y="482"/>
                </a:lnTo>
                <a:lnTo>
                  <a:pt x="259" y="482"/>
                </a:lnTo>
                <a:lnTo>
                  <a:pt x="246" y="482"/>
                </a:lnTo>
                <a:lnTo>
                  <a:pt x="226" y="510"/>
                </a:lnTo>
                <a:lnTo>
                  <a:pt x="218" y="509"/>
                </a:lnTo>
                <a:lnTo>
                  <a:pt x="210" y="508"/>
                </a:lnTo>
                <a:lnTo>
                  <a:pt x="199" y="475"/>
                </a:lnTo>
                <a:lnTo>
                  <a:pt x="187" y="471"/>
                </a:lnTo>
                <a:lnTo>
                  <a:pt x="181" y="470"/>
                </a:lnTo>
                <a:lnTo>
                  <a:pt x="176" y="467"/>
                </a:lnTo>
                <a:lnTo>
                  <a:pt x="148" y="488"/>
                </a:lnTo>
                <a:lnTo>
                  <a:pt x="141" y="485"/>
                </a:lnTo>
                <a:lnTo>
                  <a:pt x="133" y="480"/>
                </a:lnTo>
                <a:lnTo>
                  <a:pt x="134" y="446"/>
                </a:lnTo>
                <a:lnTo>
                  <a:pt x="124" y="439"/>
                </a:lnTo>
                <a:lnTo>
                  <a:pt x="119" y="435"/>
                </a:lnTo>
                <a:lnTo>
                  <a:pt x="114" y="432"/>
                </a:lnTo>
                <a:lnTo>
                  <a:pt x="81" y="443"/>
                </a:lnTo>
                <a:lnTo>
                  <a:pt x="75" y="437"/>
                </a:lnTo>
                <a:lnTo>
                  <a:pt x="69" y="431"/>
                </a:lnTo>
                <a:lnTo>
                  <a:pt x="80" y="398"/>
                </a:lnTo>
                <a:lnTo>
                  <a:pt x="73" y="389"/>
                </a:lnTo>
                <a:lnTo>
                  <a:pt x="66" y="378"/>
                </a:lnTo>
                <a:lnTo>
                  <a:pt x="31" y="379"/>
                </a:lnTo>
                <a:lnTo>
                  <a:pt x="27" y="372"/>
                </a:lnTo>
                <a:lnTo>
                  <a:pt x="23" y="365"/>
                </a:lnTo>
                <a:lnTo>
                  <a:pt x="44" y="337"/>
                </a:lnTo>
                <a:lnTo>
                  <a:pt x="40" y="326"/>
                </a:lnTo>
                <a:lnTo>
                  <a:pt x="39" y="320"/>
                </a:lnTo>
                <a:lnTo>
                  <a:pt x="37" y="314"/>
                </a:lnTo>
                <a:lnTo>
                  <a:pt x="3" y="303"/>
                </a:lnTo>
                <a:lnTo>
                  <a:pt x="0" y="287"/>
                </a:lnTo>
                <a:lnTo>
                  <a:pt x="30" y="267"/>
                </a:lnTo>
                <a:lnTo>
                  <a:pt x="29" y="255"/>
                </a:lnTo>
                <a:lnTo>
                  <a:pt x="30" y="243"/>
                </a:lnTo>
                <a:lnTo>
                  <a:pt x="0" y="224"/>
                </a:lnTo>
                <a:lnTo>
                  <a:pt x="1" y="215"/>
                </a:lnTo>
                <a:lnTo>
                  <a:pt x="3" y="207"/>
                </a:lnTo>
                <a:lnTo>
                  <a:pt x="37" y="197"/>
                </a:lnTo>
                <a:lnTo>
                  <a:pt x="40" y="185"/>
                </a:lnTo>
                <a:lnTo>
                  <a:pt x="42" y="179"/>
                </a:lnTo>
                <a:lnTo>
                  <a:pt x="44" y="173"/>
                </a:lnTo>
                <a:lnTo>
                  <a:pt x="23" y="146"/>
                </a:lnTo>
                <a:lnTo>
                  <a:pt x="27" y="138"/>
                </a:lnTo>
                <a:lnTo>
                  <a:pt x="31" y="132"/>
                </a:lnTo>
                <a:lnTo>
                  <a:pt x="66" y="132"/>
                </a:lnTo>
                <a:lnTo>
                  <a:pt x="73" y="122"/>
                </a:lnTo>
                <a:lnTo>
                  <a:pt x="76" y="117"/>
                </a:lnTo>
                <a:lnTo>
                  <a:pt x="80" y="113"/>
                </a:lnTo>
                <a:lnTo>
                  <a:pt x="69" y="80"/>
                </a:lnTo>
                <a:lnTo>
                  <a:pt x="75" y="74"/>
                </a:lnTo>
                <a:lnTo>
                  <a:pt x="81" y="68"/>
                </a:lnTo>
                <a:lnTo>
                  <a:pt x="114" y="79"/>
                </a:lnTo>
                <a:lnTo>
                  <a:pt x="124" y="72"/>
                </a:lnTo>
                <a:lnTo>
                  <a:pt x="134" y="65"/>
                </a:lnTo>
                <a:lnTo>
                  <a:pt x="133" y="30"/>
                </a:lnTo>
                <a:lnTo>
                  <a:pt x="141" y="26"/>
                </a:lnTo>
                <a:lnTo>
                  <a:pt x="148" y="23"/>
                </a:lnTo>
                <a:lnTo>
                  <a:pt x="176" y="43"/>
                </a:lnTo>
                <a:lnTo>
                  <a:pt x="187" y="39"/>
                </a:lnTo>
                <a:lnTo>
                  <a:pt x="193" y="37"/>
                </a:lnTo>
                <a:lnTo>
                  <a:pt x="199" y="36"/>
                </a:lnTo>
                <a:lnTo>
                  <a:pt x="210" y="3"/>
                </a:lnTo>
                <a:lnTo>
                  <a:pt x="226" y="0"/>
                </a:lnTo>
                <a:lnTo>
                  <a:pt x="246" y="29"/>
                </a:lnTo>
                <a:lnTo>
                  <a:pt x="259" y="28"/>
                </a:lnTo>
                <a:lnTo>
                  <a:pt x="271" y="29"/>
                </a:lnTo>
                <a:lnTo>
                  <a:pt x="291" y="0"/>
                </a:lnTo>
                <a:lnTo>
                  <a:pt x="299" y="1"/>
                </a:lnTo>
                <a:lnTo>
                  <a:pt x="307" y="3"/>
                </a:lnTo>
                <a:lnTo>
                  <a:pt x="318" y="36"/>
                </a:lnTo>
                <a:lnTo>
                  <a:pt x="330" y="39"/>
                </a:lnTo>
                <a:lnTo>
                  <a:pt x="335" y="41"/>
                </a:lnTo>
                <a:lnTo>
                  <a:pt x="341" y="43"/>
                </a:lnTo>
                <a:lnTo>
                  <a:pt x="369" y="23"/>
                </a:lnTo>
                <a:lnTo>
                  <a:pt x="376" y="26"/>
                </a:lnTo>
                <a:lnTo>
                  <a:pt x="384" y="30"/>
                </a:lnTo>
                <a:lnTo>
                  <a:pt x="384" y="65"/>
                </a:lnTo>
                <a:lnTo>
                  <a:pt x="393" y="72"/>
                </a:lnTo>
                <a:lnTo>
                  <a:pt x="398" y="75"/>
                </a:lnTo>
                <a:lnTo>
                  <a:pt x="403" y="79"/>
                </a:lnTo>
                <a:lnTo>
                  <a:pt x="436" y="68"/>
                </a:lnTo>
                <a:lnTo>
                  <a:pt x="442" y="74"/>
                </a:lnTo>
                <a:lnTo>
                  <a:pt x="448" y="80"/>
                </a:lnTo>
                <a:lnTo>
                  <a:pt x="437" y="113"/>
                </a:lnTo>
                <a:lnTo>
                  <a:pt x="444" y="122"/>
                </a:lnTo>
                <a:lnTo>
                  <a:pt x="451" y="132"/>
                </a:lnTo>
                <a:lnTo>
                  <a:pt x="486" y="132"/>
                </a:lnTo>
                <a:lnTo>
                  <a:pt x="490" y="138"/>
                </a:lnTo>
                <a:lnTo>
                  <a:pt x="494" y="146"/>
                </a:lnTo>
                <a:lnTo>
                  <a:pt x="473" y="173"/>
                </a:lnTo>
                <a:lnTo>
                  <a:pt x="477" y="185"/>
                </a:lnTo>
                <a:lnTo>
                  <a:pt x="479" y="191"/>
                </a:lnTo>
                <a:lnTo>
                  <a:pt x="480" y="197"/>
                </a:lnTo>
                <a:lnTo>
                  <a:pt x="514" y="207"/>
                </a:lnTo>
                <a:lnTo>
                  <a:pt x="516" y="224"/>
                </a:lnTo>
                <a:lnTo>
                  <a:pt x="487" y="243"/>
                </a:lnTo>
                <a:lnTo>
                  <a:pt x="488" y="255"/>
                </a:lnTo>
                <a:lnTo>
                  <a:pt x="487" y="267"/>
                </a:lnTo>
                <a:lnTo>
                  <a:pt x="516" y="287"/>
                </a:lnTo>
                <a:lnTo>
                  <a:pt x="515" y="295"/>
                </a:lnTo>
                <a:lnTo>
                  <a:pt x="514" y="303"/>
                </a:lnTo>
                <a:lnTo>
                  <a:pt x="480" y="314"/>
                </a:lnTo>
                <a:lnTo>
                  <a:pt x="477" y="326"/>
                </a:lnTo>
                <a:lnTo>
                  <a:pt x="475" y="331"/>
                </a:lnTo>
                <a:lnTo>
                  <a:pt x="473" y="337"/>
                </a:lnTo>
                <a:lnTo>
                  <a:pt x="494" y="365"/>
                </a:lnTo>
                <a:lnTo>
                  <a:pt x="490" y="372"/>
                </a:lnTo>
                <a:lnTo>
                  <a:pt x="486" y="379"/>
                </a:lnTo>
                <a:lnTo>
                  <a:pt x="451" y="378"/>
                </a:lnTo>
                <a:lnTo>
                  <a:pt x="444" y="389"/>
                </a:lnTo>
                <a:lnTo>
                  <a:pt x="441" y="393"/>
                </a:lnTo>
                <a:lnTo>
                  <a:pt x="437" y="398"/>
                </a:lnTo>
                <a:lnTo>
                  <a:pt x="448" y="431"/>
                </a:lnTo>
                <a:lnTo>
                  <a:pt x="442" y="437"/>
                </a:lnTo>
                <a:lnTo>
                  <a:pt x="436" y="443"/>
                </a:lnTo>
                <a:close/>
              </a:path>
            </a:pathLst>
          </a:custGeom>
          <a:solidFill>
            <a:schemeClr val="bg2"/>
          </a:solidFill>
          <a:ln w="9525">
            <a:noFill/>
            <a:round/>
            <a:headEnd/>
            <a:tailEnd/>
          </a:ln>
        </p:spPr>
        <p:txBody>
          <a:bodyPr/>
          <a:lstStyle/>
          <a:p>
            <a:endParaRPr lang="en-US" dirty="0">
              <a:solidFill>
                <a:srgbClr val="000000"/>
              </a:solidFill>
            </a:endParaRPr>
          </a:p>
        </p:txBody>
      </p:sp>
      <p:sp>
        <p:nvSpPr>
          <p:cNvPr id="2" name="Titel 1">
            <a:extLst>
              <a:ext uri="{FF2B5EF4-FFF2-40B4-BE49-F238E27FC236}">
                <a16:creationId xmlns:a16="http://schemas.microsoft.com/office/drawing/2014/main" id="{CC3A4F13-A087-4C33-A832-100ACDBE534A}"/>
              </a:ext>
            </a:extLst>
          </p:cNvPr>
          <p:cNvSpPr>
            <a:spLocks noGrp="1"/>
          </p:cNvSpPr>
          <p:nvPr>
            <p:ph type="title"/>
          </p:nvPr>
        </p:nvSpPr>
        <p:spPr bwMode="gray"/>
        <p:txBody>
          <a:bodyPr/>
          <a:lstStyle/>
          <a:p>
            <a:r>
              <a:rPr lang="en-US" dirty="0"/>
              <a:t>Driving force</a:t>
            </a:r>
          </a:p>
        </p:txBody>
      </p:sp>
      <p:sp>
        <p:nvSpPr>
          <p:cNvPr id="30" name="Freihandform: Form 29">
            <a:extLst>
              <a:ext uri="{FF2B5EF4-FFF2-40B4-BE49-F238E27FC236}">
                <a16:creationId xmlns:a16="http://schemas.microsoft.com/office/drawing/2014/main" id="{9CE74BBC-E7D6-42E4-8896-744129EEAD96}"/>
              </a:ext>
            </a:extLst>
          </p:cNvPr>
          <p:cNvSpPr/>
          <p:nvPr/>
        </p:nvSpPr>
        <p:spPr bwMode="gray">
          <a:xfrm>
            <a:off x="5299075" y="3114650"/>
            <a:ext cx="860425" cy="542925"/>
          </a:xfrm>
          <a:custGeom>
            <a:avLst/>
            <a:gdLst>
              <a:gd name="connsiteX0" fmla="*/ 0 w 860425"/>
              <a:gd name="connsiteY0" fmla="*/ 555625 h 555625"/>
              <a:gd name="connsiteX1" fmla="*/ 63500 w 860425"/>
              <a:gd name="connsiteY1" fmla="*/ 473075 h 555625"/>
              <a:gd name="connsiteX2" fmla="*/ 19050 w 860425"/>
              <a:gd name="connsiteY2" fmla="*/ 339725 h 555625"/>
              <a:gd name="connsiteX3" fmla="*/ 66675 w 860425"/>
              <a:gd name="connsiteY3" fmla="*/ 292100 h 555625"/>
              <a:gd name="connsiteX4" fmla="*/ 209550 w 860425"/>
              <a:gd name="connsiteY4" fmla="*/ 336550 h 555625"/>
              <a:gd name="connsiteX5" fmla="*/ 292100 w 860425"/>
              <a:gd name="connsiteY5" fmla="*/ 276225 h 555625"/>
              <a:gd name="connsiteX6" fmla="*/ 292100 w 860425"/>
              <a:gd name="connsiteY6" fmla="*/ 127000 h 555625"/>
              <a:gd name="connsiteX7" fmla="*/ 352425 w 860425"/>
              <a:gd name="connsiteY7" fmla="*/ 101600 h 555625"/>
              <a:gd name="connsiteX8" fmla="*/ 466725 w 860425"/>
              <a:gd name="connsiteY8" fmla="*/ 180975 h 555625"/>
              <a:gd name="connsiteX9" fmla="*/ 565150 w 860425"/>
              <a:gd name="connsiteY9" fmla="*/ 152400 h 555625"/>
              <a:gd name="connsiteX10" fmla="*/ 609600 w 860425"/>
              <a:gd name="connsiteY10" fmla="*/ 15875 h 555625"/>
              <a:gd name="connsiteX11" fmla="*/ 669925 w 860425"/>
              <a:gd name="connsiteY11" fmla="*/ 0 h 555625"/>
              <a:gd name="connsiteX12" fmla="*/ 758825 w 860425"/>
              <a:gd name="connsiteY12" fmla="*/ 127000 h 555625"/>
              <a:gd name="connsiteX13" fmla="*/ 860425 w 860425"/>
              <a:gd name="connsiteY13" fmla="*/ 127000 h 555625"/>
              <a:gd name="connsiteX0" fmla="*/ 0 w 860425"/>
              <a:gd name="connsiteY0" fmla="*/ 542925 h 542925"/>
              <a:gd name="connsiteX1" fmla="*/ 63500 w 860425"/>
              <a:gd name="connsiteY1" fmla="*/ 460375 h 542925"/>
              <a:gd name="connsiteX2" fmla="*/ 19050 w 860425"/>
              <a:gd name="connsiteY2" fmla="*/ 327025 h 542925"/>
              <a:gd name="connsiteX3" fmla="*/ 66675 w 860425"/>
              <a:gd name="connsiteY3" fmla="*/ 279400 h 542925"/>
              <a:gd name="connsiteX4" fmla="*/ 209550 w 860425"/>
              <a:gd name="connsiteY4" fmla="*/ 323850 h 542925"/>
              <a:gd name="connsiteX5" fmla="*/ 292100 w 860425"/>
              <a:gd name="connsiteY5" fmla="*/ 263525 h 542925"/>
              <a:gd name="connsiteX6" fmla="*/ 292100 w 860425"/>
              <a:gd name="connsiteY6" fmla="*/ 114300 h 542925"/>
              <a:gd name="connsiteX7" fmla="*/ 352425 w 860425"/>
              <a:gd name="connsiteY7" fmla="*/ 88900 h 542925"/>
              <a:gd name="connsiteX8" fmla="*/ 466725 w 860425"/>
              <a:gd name="connsiteY8" fmla="*/ 168275 h 542925"/>
              <a:gd name="connsiteX9" fmla="*/ 565150 w 860425"/>
              <a:gd name="connsiteY9" fmla="*/ 139700 h 542925"/>
              <a:gd name="connsiteX10" fmla="*/ 609600 w 860425"/>
              <a:gd name="connsiteY10" fmla="*/ 3175 h 542925"/>
              <a:gd name="connsiteX11" fmla="*/ 679450 w 860425"/>
              <a:gd name="connsiteY11" fmla="*/ 0 h 542925"/>
              <a:gd name="connsiteX12" fmla="*/ 758825 w 860425"/>
              <a:gd name="connsiteY12" fmla="*/ 114300 h 542925"/>
              <a:gd name="connsiteX13" fmla="*/ 860425 w 860425"/>
              <a:gd name="connsiteY13" fmla="*/ 114300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0425" h="542925">
                <a:moveTo>
                  <a:pt x="0" y="542925"/>
                </a:moveTo>
                <a:lnTo>
                  <a:pt x="63500" y="460375"/>
                </a:lnTo>
                <a:lnTo>
                  <a:pt x="19050" y="327025"/>
                </a:lnTo>
                <a:lnTo>
                  <a:pt x="66675" y="279400"/>
                </a:lnTo>
                <a:lnTo>
                  <a:pt x="209550" y="323850"/>
                </a:lnTo>
                <a:lnTo>
                  <a:pt x="292100" y="263525"/>
                </a:lnTo>
                <a:lnTo>
                  <a:pt x="292100" y="114300"/>
                </a:lnTo>
                <a:lnTo>
                  <a:pt x="352425" y="88900"/>
                </a:lnTo>
                <a:lnTo>
                  <a:pt x="466725" y="168275"/>
                </a:lnTo>
                <a:lnTo>
                  <a:pt x="565150" y="139700"/>
                </a:lnTo>
                <a:lnTo>
                  <a:pt x="609600" y="3175"/>
                </a:lnTo>
                <a:lnTo>
                  <a:pt x="679450" y="0"/>
                </a:lnTo>
                <a:lnTo>
                  <a:pt x="758825" y="114300"/>
                </a:lnTo>
                <a:lnTo>
                  <a:pt x="860425" y="11430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ihandform: Form 30">
            <a:extLst>
              <a:ext uri="{FF2B5EF4-FFF2-40B4-BE49-F238E27FC236}">
                <a16:creationId xmlns:a16="http://schemas.microsoft.com/office/drawing/2014/main" id="{787DCAB0-1406-4283-AFB8-AAF3A35571A3}"/>
              </a:ext>
            </a:extLst>
          </p:cNvPr>
          <p:cNvSpPr/>
          <p:nvPr/>
        </p:nvSpPr>
        <p:spPr bwMode="gray">
          <a:xfrm>
            <a:off x="6346825" y="3206725"/>
            <a:ext cx="552450" cy="438150"/>
          </a:xfrm>
          <a:custGeom>
            <a:avLst/>
            <a:gdLst>
              <a:gd name="connsiteX0" fmla="*/ 0 w 552450"/>
              <a:gd name="connsiteY0" fmla="*/ 41275 h 431800"/>
              <a:gd name="connsiteX1" fmla="*/ 101600 w 552450"/>
              <a:gd name="connsiteY1" fmla="*/ 69850 h 431800"/>
              <a:gd name="connsiteX2" fmla="*/ 222250 w 552450"/>
              <a:gd name="connsiteY2" fmla="*/ 0 h 431800"/>
              <a:gd name="connsiteX3" fmla="*/ 279400 w 552450"/>
              <a:gd name="connsiteY3" fmla="*/ 15875 h 431800"/>
              <a:gd name="connsiteX4" fmla="*/ 288925 w 552450"/>
              <a:gd name="connsiteY4" fmla="*/ 177800 h 431800"/>
              <a:gd name="connsiteX5" fmla="*/ 361950 w 552450"/>
              <a:gd name="connsiteY5" fmla="*/ 222250 h 431800"/>
              <a:gd name="connsiteX6" fmla="*/ 492125 w 552450"/>
              <a:gd name="connsiteY6" fmla="*/ 177800 h 431800"/>
              <a:gd name="connsiteX7" fmla="*/ 546100 w 552450"/>
              <a:gd name="connsiteY7" fmla="*/ 212725 h 431800"/>
              <a:gd name="connsiteX8" fmla="*/ 501650 w 552450"/>
              <a:gd name="connsiteY8" fmla="*/ 361950 h 431800"/>
              <a:gd name="connsiteX9" fmla="*/ 552450 w 552450"/>
              <a:gd name="connsiteY9" fmla="*/ 431800 h 431800"/>
              <a:gd name="connsiteX0" fmla="*/ 0 w 552450"/>
              <a:gd name="connsiteY0" fmla="*/ 41275 h 431800"/>
              <a:gd name="connsiteX1" fmla="*/ 101600 w 552450"/>
              <a:gd name="connsiteY1" fmla="*/ 69850 h 431800"/>
              <a:gd name="connsiteX2" fmla="*/ 222250 w 552450"/>
              <a:gd name="connsiteY2" fmla="*/ 0 h 431800"/>
              <a:gd name="connsiteX3" fmla="*/ 279400 w 552450"/>
              <a:gd name="connsiteY3" fmla="*/ 15875 h 431800"/>
              <a:gd name="connsiteX4" fmla="*/ 288925 w 552450"/>
              <a:gd name="connsiteY4" fmla="*/ 177800 h 431800"/>
              <a:gd name="connsiteX5" fmla="*/ 361950 w 552450"/>
              <a:gd name="connsiteY5" fmla="*/ 222250 h 431800"/>
              <a:gd name="connsiteX6" fmla="*/ 492125 w 552450"/>
              <a:gd name="connsiteY6" fmla="*/ 177800 h 431800"/>
              <a:gd name="connsiteX7" fmla="*/ 549275 w 552450"/>
              <a:gd name="connsiteY7" fmla="*/ 225425 h 431800"/>
              <a:gd name="connsiteX8" fmla="*/ 501650 w 552450"/>
              <a:gd name="connsiteY8" fmla="*/ 361950 h 431800"/>
              <a:gd name="connsiteX9" fmla="*/ 552450 w 552450"/>
              <a:gd name="connsiteY9" fmla="*/ 431800 h 431800"/>
              <a:gd name="connsiteX0" fmla="*/ 0 w 552450"/>
              <a:gd name="connsiteY0" fmla="*/ 47625 h 438150"/>
              <a:gd name="connsiteX1" fmla="*/ 101600 w 552450"/>
              <a:gd name="connsiteY1" fmla="*/ 76200 h 438150"/>
              <a:gd name="connsiteX2" fmla="*/ 222250 w 552450"/>
              <a:gd name="connsiteY2" fmla="*/ 0 h 438150"/>
              <a:gd name="connsiteX3" fmla="*/ 279400 w 552450"/>
              <a:gd name="connsiteY3" fmla="*/ 22225 h 438150"/>
              <a:gd name="connsiteX4" fmla="*/ 288925 w 552450"/>
              <a:gd name="connsiteY4" fmla="*/ 184150 h 438150"/>
              <a:gd name="connsiteX5" fmla="*/ 361950 w 552450"/>
              <a:gd name="connsiteY5" fmla="*/ 228600 h 438150"/>
              <a:gd name="connsiteX6" fmla="*/ 492125 w 552450"/>
              <a:gd name="connsiteY6" fmla="*/ 184150 h 438150"/>
              <a:gd name="connsiteX7" fmla="*/ 549275 w 552450"/>
              <a:gd name="connsiteY7" fmla="*/ 231775 h 438150"/>
              <a:gd name="connsiteX8" fmla="*/ 501650 w 552450"/>
              <a:gd name="connsiteY8" fmla="*/ 368300 h 438150"/>
              <a:gd name="connsiteX9" fmla="*/ 552450 w 552450"/>
              <a:gd name="connsiteY9" fmla="*/ 438150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450" h="438150">
                <a:moveTo>
                  <a:pt x="0" y="47625"/>
                </a:moveTo>
                <a:lnTo>
                  <a:pt x="101600" y="76200"/>
                </a:lnTo>
                <a:lnTo>
                  <a:pt x="222250" y="0"/>
                </a:lnTo>
                <a:lnTo>
                  <a:pt x="279400" y="22225"/>
                </a:lnTo>
                <a:lnTo>
                  <a:pt x="288925" y="184150"/>
                </a:lnTo>
                <a:lnTo>
                  <a:pt x="361950" y="228600"/>
                </a:lnTo>
                <a:lnTo>
                  <a:pt x="492125" y="184150"/>
                </a:lnTo>
                <a:lnTo>
                  <a:pt x="549275" y="231775"/>
                </a:lnTo>
                <a:lnTo>
                  <a:pt x="501650" y="368300"/>
                </a:lnTo>
                <a:lnTo>
                  <a:pt x="552450" y="43815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Freihandform: Form 31">
            <a:extLst>
              <a:ext uri="{FF2B5EF4-FFF2-40B4-BE49-F238E27FC236}">
                <a16:creationId xmlns:a16="http://schemas.microsoft.com/office/drawing/2014/main" id="{C1F65453-E6CB-4224-9FA5-5972A1A3F314}"/>
              </a:ext>
            </a:extLst>
          </p:cNvPr>
          <p:cNvSpPr/>
          <p:nvPr/>
        </p:nvSpPr>
        <p:spPr bwMode="gray">
          <a:xfrm>
            <a:off x="6997700" y="3829025"/>
            <a:ext cx="184150" cy="669925"/>
          </a:xfrm>
          <a:custGeom>
            <a:avLst/>
            <a:gdLst>
              <a:gd name="connsiteX0" fmla="*/ 0 w 184150"/>
              <a:gd name="connsiteY0" fmla="*/ 0 h 669925"/>
              <a:gd name="connsiteX1" fmla="*/ 31750 w 184150"/>
              <a:gd name="connsiteY1" fmla="*/ 101600 h 669925"/>
              <a:gd name="connsiteX2" fmla="*/ 174625 w 184150"/>
              <a:gd name="connsiteY2" fmla="*/ 139700 h 669925"/>
              <a:gd name="connsiteX3" fmla="*/ 184150 w 184150"/>
              <a:gd name="connsiteY3" fmla="*/ 212725 h 669925"/>
              <a:gd name="connsiteX4" fmla="*/ 63500 w 184150"/>
              <a:gd name="connsiteY4" fmla="*/ 292100 h 669925"/>
              <a:gd name="connsiteX5" fmla="*/ 57150 w 184150"/>
              <a:gd name="connsiteY5" fmla="*/ 387350 h 669925"/>
              <a:gd name="connsiteX6" fmla="*/ 174625 w 184150"/>
              <a:gd name="connsiteY6" fmla="*/ 469900 h 669925"/>
              <a:gd name="connsiteX7" fmla="*/ 171450 w 184150"/>
              <a:gd name="connsiteY7" fmla="*/ 542925 h 669925"/>
              <a:gd name="connsiteX8" fmla="*/ 25400 w 184150"/>
              <a:gd name="connsiteY8" fmla="*/ 584200 h 669925"/>
              <a:gd name="connsiteX9" fmla="*/ 3175 w 184150"/>
              <a:gd name="connsiteY9" fmla="*/ 669925 h 66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150" h="669925">
                <a:moveTo>
                  <a:pt x="0" y="0"/>
                </a:moveTo>
                <a:lnTo>
                  <a:pt x="31750" y="101600"/>
                </a:lnTo>
                <a:lnTo>
                  <a:pt x="174625" y="139700"/>
                </a:lnTo>
                <a:lnTo>
                  <a:pt x="184150" y="212725"/>
                </a:lnTo>
                <a:lnTo>
                  <a:pt x="63500" y="292100"/>
                </a:lnTo>
                <a:lnTo>
                  <a:pt x="57150" y="387350"/>
                </a:lnTo>
                <a:lnTo>
                  <a:pt x="174625" y="469900"/>
                </a:lnTo>
                <a:lnTo>
                  <a:pt x="171450" y="542925"/>
                </a:lnTo>
                <a:lnTo>
                  <a:pt x="25400" y="584200"/>
                </a:lnTo>
                <a:lnTo>
                  <a:pt x="3175" y="669925"/>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ihandform: Form 32">
            <a:extLst>
              <a:ext uri="{FF2B5EF4-FFF2-40B4-BE49-F238E27FC236}">
                <a16:creationId xmlns:a16="http://schemas.microsoft.com/office/drawing/2014/main" id="{11B4D9E5-1BEE-48F3-BEEA-687715C20FB2}"/>
              </a:ext>
            </a:extLst>
          </p:cNvPr>
          <p:cNvSpPr/>
          <p:nvPr/>
        </p:nvSpPr>
        <p:spPr bwMode="gray">
          <a:xfrm>
            <a:off x="6353175" y="4676750"/>
            <a:ext cx="558800" cy="450850"/>
          </a:xfrm>
          <a:custGeom>
            <a:avLst/>
            <a:gdLst>
              <a:gd name="connsiteX0" fmla="*/ 558800 w 558800"/>
              <a:gd name="connsiteY0" fmla="*/ 0 h 450850"/>
              <a:gd name="connsiteX1" fmla="*/ 495300 w 558800"/>
              <a:gd name="connsiteY1" fmla="*/ 82550 h 450850"/>
              <a:gd name="connsiteX2" fmla="*/ 533400 w 558800"/>
              <a:gd name="connsiteY2" fmla="*/ 222250 h 450850"/>
              <a:gd name="connsiteX3" fmla="*/ 492125 w 558800"/>
              <a:gd name="connsiteY3" fmla="*/ 266700 h 450850"/>
              <a:gd name="connsiteX4" fmla="*/ 355600 w 558800"/>
              <a:gd name="connsiteY4" fmla="*/ 231775 h 450850"/>
              <a:gd name="connsiteX5" fmla="*/ 276225 w 558800"/>
              <a:gd name="connsiteY5" fmla="*/ 276225 h 450850"/>
              <a:gd name="connsiteX6" fmla="*/ 273050 w 558800"/>
              <a:gd name="connsiteY6" fmla="*/ 428625 h 450850"/>
              <a:gd name="connsiteX7" fmla="*/ 215900 w 558800"/>
              <a:gd name="connsiteY7" fmla="*/ 450850 h 450850"/>
              <a:gd name="connsiteX8" fmla="*/ 98425 w 558800"/>
              <a:gd name="connsiteY8" fmla="*/ 371475 h 450850"/>
              <a:gd name="connsiteX9" fmla="*/ 0 w 558800"/>
              <a:gd name="connsiteY9" fmla="*/ 409575 h 450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8800" h="450850">
                <a:moveTo>
                  <a:pt x="558800" y="0"/>
                </a:moveTo>
                <a:lnTo>
                  <a:pt x="495300" y="82550"/>
                </a:lnTo>
                <a:lnTo>
                  <a:pt x="533400" y="222250"/>
                </a:lnTo>
                <a:lnTo>
                  <a:pt x="492125" y="266700"/>
                </a:lnTo>
                <a:lnTo>
                  <a:pt x="355600" y="231775"/>
                </a:lnTo>
                <a:lnTo>
                  <a:pt x="276225" y="276225"/>
                </a:lnTo>
                <a:cubicBezTo>
                  <a:pt x="275167" y="327025"/>
                  <a:pt x="274108" y="377825"/>
                  <a:pt x="273050" y="428625"/>
                </a:cubicBezTo>
                <a:lnTo>
                  <a:pt x="215900" y="450850"/>
                </a:lnTo>
                <a:lnTo>
                  <a:pt x="98425" y="371475"/>
                </a:lnTo>
                <a:lnTo>
                  <a:pt x="0" y="409575"/>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Freihandform: Form 33">
            <a:extLst>
              <a:ext uri="{FF2B5EF4-FFF2-40B4-BE49-F238E27FC236}">
                <a16:creationId xmlns:a16="http://schemas.microsoft.com/office/drawing/2014/main" id="{3B806748-62CB-4BA0-9E26-27BD17663CBF}"/>
              </a:ext>
            </a:extLst>
          </p:cNvPr>
          <p:cNvSpPr/>
          <p:nvPr/>
        </p:nvSpPr>
        <p:spPr bwMode="gray">
          <a:xfrm>
            <a:off x="5311775" y="4683100"/>
            <a:ext cx="841375" cy="546100"/>
          </a:xfrm>
          <a:custGeom>
            <a:avLst/>
            <a:gdLst>
              <a:gd name="connsiteX0" fmla="*/ 841375 w 841375"/>
              <a:gd name="connsiteY0" fmla="*/ 428625 h 546100"/>
              <a:gd name="connsiteX1" fmla="*/ 742950 w 841375"/>
              <a:gd name="connsiteY1" fmla="*/ 428625 h 546100"/>
              <a:gd name="connsiteX2" fmla="*/ 660400 w 841375"/>
              <a:gd name="connsiteY2" fmla="*/ 546100 h 546100"/>
              <a:gd name="connsiteX3" fmla="*/ 587375 w 841375"/>
              <a:gd name="connsiteY3" fmla="*/ 533400 h 546100"/>
              <a:gd name="connsiteX4" fmla="*/ 549275 w 841375"/>
              <a:gd name="connsiteY4" fmla="*/ 396875 h 546100"/>
              <a:gd name="connsiteX5" fmla="*/ 450850 w 841375"/>
              <a:gd name="connsiteY5" fmla="*/ 365125 h 546100"/>
              <a:gd name="connsiteX6" fmla="*/ 333375 w 841375"/>
              <a:gd name="connsiteY6" fmla="*/ 457200 h 546100"/>
              <a:gd name="connsiteX7" fmla="*/ 269875 w 841375"/>
              <a:gd name="connsiteY7" fmla="*/ 425450 h 546100"/>
              <a:gd name="connsiteX8" fmla="*/ 269875 w 841375"/>
              <a:gd name="connsiteY8" fmla="*/ 276225 h 546100"/>
              <a:gd name="connsiteX9" fmla="*/ 200025 w 841375"/>
              <a:gd name="connsiteY9" fmla="*/ 225425 h 546100"/>
              <a:gd name="connsiteX10" fmla="*/ 57150 w 841375"/>
              <a:gd name="connsiteY10" fmla="*/ 263525 h 546100"/>
              <a:gd name="connsiteX11" fmla="*/ 9525 w 841375"/>
              <a:gd name="connsiteY11" fmla="*/ 219075 h 546100"/>
              <a:gd name="connsiteX12" fmla="*/ 53975 w 841375"/>
              <a:gd name="connsiteY12" fmla="*/ 76200 h 546100"/>
              <a:gd name="connsiteX13" fmla="*/ 0 w 841375"/>
              <a:gd name="connsiteY13" fmla="*/ 0 h 54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1375" h="546100">
                <a:moveTo>
                  <a:pt x="841375" y="428625"/>
                </a:moveTo>
                <a:lnTo>
                  <a:pt x="742950" y="428625"/>
                </a:lnTo>
                <a:lnTo>
                  <a:pt x="660400" y="546100"/>
                </a:lnTo>
                <a:lnTo>
                  <a:pt x="587375" y="533400"/>
                </a:lnTo>
                <a:lnTo>
                  <a:pt x="549275" y="396875"/>
                </a:lnTo>
                <a:lnTo>
                  <a:pt x="450850" y="365125"/>
                </a:lnTo>
                <a:lnTo>
                  <a:pt x="333375" y="457200"/>
                </a:lnTo>
                <a:lnTo>
                  <a:pt x="269875" y="425450"/>
                </a:lnTo>
                <a:lnTo>
                  <a:pt x="269875" y="276225"/>
                </a:lnTo>
                <a:lnTo>
                  <a:pt x="200025" y="225425"/>
                </a:lnTo>
                <a:lnTo>
                  <a:pt x="57150" y="263525"/>
                </a:lnTo>
                <a:lnTo>
                  <a:pt x="9525" y="219075"/>
                </a:lnTo>
                <a:lnTo>
                  <a:pt x="53975" y="76200"/>
                </a:lnTo>
                <a:lnTo>
                  <a:pt x="0"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Freihandform: Form 34">
            <a:extLst>
              <a:ext uri="{FF2B5EF4-FFF2-40B4-BE49-F238E27FC236}">
                <a16:creationId xmlns:a16="http://schemas.microsoft.com/office/drawing/2014/main" id="{5CA0AFAD-654D-44F4-9FA8-3CE543943067}"/>
              </a:ext>
            </a:extLst>
          </p:cNvPr>
          <p:cNvSpPr/>
          <p:nvPr/>
        </p:nvSpPr>
        <p:spPr bwMode="gray">
          <a:xfrm>
            <a:off x="5032375" y="3822675"/>
            <a:ext cx="184150" cy="682625"/>
          </a:xfrm>
          <a:custGeom>
            <a:avLst/>
            <a:gdLst>
              <a:gd name="connsiteX0" fmla="*/ 184150 w 184150"/>
              <a:gd name="connsiteY0" fmla="*/ 682625 h 682625"/>
              <a:gd name="connsiteX1" fmla="*/ 152400 w 184150"/>
              <a:gd name="connsiteY1" fmla="*/ 587375 h 682625"/>
              <a:gd name="connsiteX2" fmla="*/ 12700 w 184150"/>
              <a:gd name="connsiteY2" fmla="*/ 549275 h 682625"/>
              <a:gd name="connsiteX3" fmla="*/ 0 w 184150"/>
              <a:gd name="connsiteY3" fmla="*/ 476250 h 682625"/>
              <a:gd name="connsiteX4" fmla="*/ 123825 w 184150"/>
              <a:gd name="connsiteY4" fmla="*/ 396875 h 682625"/>
              <a:gd name="connsiteX5" fmla="*/ 120650 w 184150"/>
              <a:gd name="connsiteY5" fmla="*/ 292100 h 682625"/>
              <a:gd name="connsiteX6" fmla="*/ 3175 w 184150"/>
              <a:gd name="connsiteY6" fmla="*/ 219075 h 682625"/>
              <a:gd name="connsiteX7" fmla="*/ 12700 w 184150"/>
              <a:gd name="connsiteY7" fmla="*/ 146050 h 682625"/>
              <a:gd name="connsiteX8" fmla="*/ 155575 w 184150"/>
              <a:gd name="connsiteY8" fmla="*/ 111125 h 682625"/>
              <a:gd name="connsiteX9" fmla="*/ 180975 w 184150"/>
              <a:gd name="connsiteY9" fmla="*/ 0 h 68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150" h="682625">
                <a:moveTo>
                  <a:pt x="184150" y="682625"/>
                </a:moveTo>
                <a:lnTo>
                  <a:pt x="152400" y="587375"/>
                </a:lnTo>
                <a:lnTo>
                  <a:pt x="12700" y="549275"/>
                </a:lnTo>
                <a:lnTo>
                  <a:pt x="0" y="476250"/>
                </a:lnTo>
                <a:lnTo>
                  <a:pt x="123825" y="396875"/>
                </a:lnTo>
                <a:cubicBezTo>
                  <a:pt x="122767" y="361950"/>
                  <a:pt x="121708" y="327025"/>
                  <a:pt x="120650" y="292100"/>
                </a:cubicBezTo>
                <a:lnTo>
                  <a:pt x="3175" y="219075"/>
                </a:lnTo>
                <a:lnTo>
                  <a:pt x="12700" y="146050"/>
                </a:lnTo>
                <a:lnTo>
                  <a:pt x="155575" y="111125"/>
                </a:lnTo>
                <a:lnTo>
                  <a:pt x="180975" y="0"/>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platzhalter 3">
            <a:extLst>
              <a:ext uri="{FF2B5EF4-FFF2-40B4-BE49-F238E27FC236}">
                <a16:creationId xmlns:a16="http://schemas.microsoft.com/office/drawing/2014/main" id="{1B86F99D-DFDB-4728-9839-B2B69948F93B}"/>
              </a:ext>
            </a:extLst>
          </p:cNvPr>
          <p:cNvSpPr txBox="1">
            <a:spLocks/>
          </p:cNvSpPr>
          <p:nvPr/>
        </p:nvSpPr>
        <p:spPr bwMode="gray">
          <a:xfrm>
            <a:off x="5206380" y="3274493"/>
            <a:ext cx="1800324" cy="180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sz="1800" dirty="0"/>
              <a:t>Lorem ipsum</a:t>
            </a:r>
            <a:br>
              <a:rPr lang="en-US" sz="1800" dirty="0"/>
            </a:br>
            <a:r>
              <a:rPr lang="en-US" sz="1800" dirty="0"/>
              <a:t>dolor sit amet,</a:t>
            </a:r>
            <a:br>
              <a:rPr lang="en-US" sz="1800" dirty="0"/>
            </a:br>
            <a:r>
              <a:rPr lang="en-US" sz="1800" dirty="0"/>
              <a:t>consectetuer</a:t>
            </a:r>
          </a:p>
        </p:txBody>
      </p:sp>
      <p:grpSp>
        <p:nvGrpSpPr>
          <p:cNvPr id="64" name="Gruppieren 63">
            <a:extLst>
              <a:ext uri="{FF2B5EF4-FFF2-40B4-BE49-F238E27FC236}">
                <a16:creationId xmlns:a16="http://schemas.microsoft.com/office/drawing/2014/main" id="{A538DD3A-78DB-4C3D-8ADE-2231EEF8D3E4}"/>
              </a:ext>
            </a:extLst>
          </p:cNvPr>
          <p:cNvGrpSpPr/>
          <p:nvPr/>
        </p:nvGrpSpPr>
        <p:grpSpPr bwMode="gray">
          <a:xfrm>
            <a:off x="7533877" y="1787972"/>
            <a:ext cx="1586459" cy="1497012"/>
            <a:chOff x="8129812" y="1989001"/>
            <a:chExt cx="1586459" cy="1497012"/>
          </a:xfrm>
        </p:grpSpPr>
        <p:sp>
          <p:nvSpPr>
            <p:cNvPr id="22" name="Freeform 53">
              <a:extLst>
                <a:ext uri="{FF2B5EF4-FFF2-40B4-BE49-F238E27FC236}">
                  <a16:creationId xmlns:a16="http://schemas.microsoft.com/office/drawing/2014/main" id="{C0BAC6C6-EC75-4142-B06D-D6296549C34B}"/>
                </a:ext>
              </a:extLst>
            </p:cNvPr>
            <p:cNvSpPr>
              <a:spLocks noChangeAspect="1"/>
            </p:cNvSpPr>
            <p:nvPr/>
          </p:nvSpPr>
          <p:spPr bwMode="gray">
            <a:xfrm>
              <a:off x="8201796" y="1989001"/>
              <a:ext cx="1514475" cy="1497012"/>
            </a:xfrm>
            <a:custGeom>
              <a:avLst/>
              <a:gdLst>
                <a:gd name="T0" fmla="*/ 2485 w 516"/>
                <a:gd name="T1" fmla="*/ 2775 h 510"/>
                <a:gd name="T2" fmla="*/ 2376 w 516"/>
                <a:gd name="T3" fmla="*/ 3068 h 510"/>
                <a:gd name="T4" fmla="*/ 2085 w 516"/>
                <a:gd name="T5" fmla="*/ 2977 h 510"/>
                <a:gd name="T6" fmla="*/ 1941 w 516"/>
                <a:gd name="T7" fmla="*/ 3210 h 510"/>
                <a:gd name="T8" fmla="*/ 1638 w 516"/>
                <a:gd name="T9" fmla="*/ 3045 h 510"/>
                <a:gd name="T10" fmla="*/ 1377 w 516"/>
                <a:gd name="T11" fmla="*/ 3217 h 510"/>
                <a:gd name="T12" fmla="*/ 1183 w 516"/>
                <a:gd name="T13" fmla="*/ 2977 h 510"/>
                <a:gd name="T14" fmla="*/ 937 w 516"/>
                <a:gd name="T15" fmla="*/ 3084 h 510"/>
                <a:gd name="T16" fmla="*/ 849 w 516"/>
                <a:gd name="T17" fmla="*/ 2820 h 510"/>
                <a:gd name="T18" fmla="*/ 721 w 516"/>
                <a:gd name="T19" fmla="*/ 2731 h 510"/>
                <a:gd name="T20" fmla="*/ 438 w 516"/>
                <a:gd name="T21" fmla="*/ 2725 h 510"/>
                <a:gd name="T22" fmla="*/ 418 w 516"/>
                <a:gd name="T23" fmla="*/ 2389 h 510"/>
                <a:gd name="T24" fmla="*/ 148 w 516"/>
                <a:gd name="T25" fmla="*/ 2308 h 510"/>
                <a:gd name="T26" fmla="*/ 246 w 516"/>
                <a:gd name="T27" fmla="*/ 2025 h 510"/>
                <a:gd name="T28" fmla="*/ 0 w 516"/>
                <a:gd name="T29" fmla="*/ 1816 h 510"/>
                <a:gd name="T30" fmla="*/ 189 w 516"/>
                <a:gd name="T31" fmla="*/ 1535 h 510"/>
                <a:gd name="T32" fmla="*/ 20 w 516"/>
                <a:gd name="T33" fmla="*/ 1309 h 510"/>
                <a:gd name="T34" fmla="*/ 266 w 516"/>
                <a:gd name="T35" fmla="*/ 1132 h 510"/>
                <a:gd name="T36" fmla="*/ 170 w 516"/>
                <a:gd name="T37" fmla="*/ 873 h 510"/>
                <a:gd name="T38" fmla="*/ 462 w 516"/>
                <a:gd name="T39" fmla="*/ 773 h 510"/>
                <a:gd name="T40" fmla="*/ 438 w 516"/>
                <a:gd name="T41" fmla="*/ 507 h 510"/>
                <a:gd name="T42" fmla="*/ 721 w 516"/>
                <a:gd name="T43" fmla="*/ 499 h 510"/>
                <a:gd name="T44" fmla="*/ 841 w 516"/>
                <a:gd name="T45" fmla="*/ 189 h 510"/>
                <a:gd name="T46" fmla="*/ 1111 w 516"/>
                <a:gd name="T47" fmla="*/ 274 h 510"/>
                <a:gd name="T48" fmla="*/ 1257 w 516"/>
                <a:gd name="T49" fmla="*/ 229 h 510"/>
                <a:gd name="T50" fmla="*/ 1555 w 516"/>
                <a:gd name="T51" fmla="*/ 185 h 510"/>
                <a:gd name="T52" fmla="*/ 1840 w 516"/>
                <a:gd name="T53" fmla="*/ 0 h 510"/>
                <a:gd name="T54" fmla="*/ 2010 w 516"/>
                <a:gd name="T55" fmla="*/ 229 h 510"/>
                <a:gd name="T56" fmla="*/ 2154 w 516"/>
                <a:gd name="T57" fmla="*/ 274 h 510"/>
                <a:gd name="T58" fmla="*/ 2428 w 516"/>
                <a:gd name="T59" fmla="*/ 189 h 510"/>
                <a:gd name="T60" fmla="*/ 2516 w 516"/>
                <a:gd name="T61" fmla="*/ 475 h 510"/>
                <a:gd name="T62" fmla="*/ 2794 w 516"/>
                <a:gd name="T63" fmla="*/ 468 h 510"/>
                <a:gd name="T64" fmla="*/ 2807 w 516"/>
                <a:gd name="T65" fmla="*/ 773 h 510"/>
                <a:gd name="T66" fmla="*/ 3097 w 516"/>
                <a:gd name="T67" fmla="*/ 873 h 510"/>
                <a:gd name="T68" fmla="*/ 3015 w 516"/>
                <a:gd name="T69" fmla="*/ 1169 h 510"/>
                <a:gd name="T70" fmla="*/ 3247 w 516"/>
                <a:gd name="T71" fmla="*/ 1309 h 510"/>
                <a:gd name="T72" fmla="*/ 3084 w 516"/>
                <a:gd name="T73" fmla="*/ 1614 h 510"/>
                <a:gd name="T74" fmla="*/ 3254 w 516"/>
                <a:gd name="T75" fmla="*/ 1864 h 510"/>
                <a:gd name="T76" fmla="*/ 3015 w 516"/>
                <a:gd name="T77" fmla="*/ 2062 h 510"/>
                <a:gd name="T78" fmla="*/ 3121 w 516"/>
                <a:gd name="T79" fmla="*/ 2308 h 510"/>
                <a:gd name="T80" fmla="*/ 2851 w 516"/>
                <a:gd name="T81" fmla="*/ 2389 h 510"/>
                <a:gd name="T82" fmla="*/ 2762 w 516"/>
                <a:gd name="T83" fmla="*/ 2517 h 510"/>
                <a:gd name="T84" fmla="*/ 2755 w 516"/>
                <a:gd name="T85" fmla="*/ 2799 h 51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connsiteX0" fmla="*/ 1415 w 10000"/>
                <a:gd name="connsiteY0" fmla="*/ 2392 h 10000"/>
                <a:gd name="connsiteX1" fmla="*/ 1473 w 10000"/>
                <a:gd name="connsiteY1" fmla="*/ 2294 h 10000"/>
                <a:gd name="connsiteX2" fmla="*/ 1550 w 10000"/>
                <a:gd name="connsiteY2" fmla="*/ 2216 h 10000"/>
                <a:gd name="connsiteX3" fmla="*/ 1337 w 10000"/>
                <a:gd name="connsiteY3" fmla="*/ 1569 h 10000"/>
                <a:gd name="connsiteX4" fmla="*/ 1453 w 10000"/>
                <a:gd name="connsiteY4" fmla="*/ 1451 h 10000"/>
                <a:gd name="connsiteX5" fmla="*/ 1570 w 10000"/>
                <a:gd name="connsiteY5" fmla="*/ 1333 h 10000"/>
                <a:gd name="connsiteX6" fmla="*/ 2209 w 10000"/>
                <a:gd name="connsiteY6" fmla="*/ 1549 h 10000"/>
                <a:gd name="connsiteX7" fmla="*/ 2403 w 10000"/>
                <a:gd name="connsiteY7" fmla="*/ 1412 h 10000"/>
                <a:gd name="connsiteX8" fmla="*/ 2597 w 10000"/>
                <a:gd name="connsiteY8" fmla="*/ 1275 h 10000"/>
                <a:gd name="connsiteX9" fmla="*/ 2578 w 10000"/>
                <a:gd name="connsiteY9" fmla="*/ 588 h 10000"/>
                <a:gd name="connsiteX10" fmla="*/ 2733 w 10000"/>
                <a:gd name="connsiteY10" fmla="*/ 510 h 10000"/>
                <a:gd name="connsiteX11" fmla="*/ 2868 w 10000"/>
                <a:gd name="connsiteY11" fmla="*/ 451 h 10000"/>
                <a:gd name="connsiteX12" fmla="*/ 3411 w 10000"/>
                <a:gd name="connsiteY12" fmla="*/ 843 h 10000"/>
                <a:gd name="connsiteX13" fmla="*/ 3624 w 10000"/>
                <a:gd name="connsiteY13" fmla="*/ 765 h 10000"/>
                <a:gd name="connsiteX14" fmla="*/ 3740 w 10000"/>
                <a:gd name="connsiteY14" fmla="*/ 725 h 10000"/>
                <a:gd name="connsiteX15" fmla="*/ 3857 w 10000"/>
                <a:gd name="connsiteY15" fmla="*/ 706 h 10000"/>
                <a:gd name="connsiteX16" fmla="*/ 4070 w 10000"/>
                <a:gd name="connsiteY16" fmla="*/ 59 h 10000"/>
                <a:gd name="connsiteX17" fmla="*/ 4380 w 10000"/>
                <a:gd name="connsiteY17" fmla="*/ 0 h 10000"/>
                <a:gd name="connsiteX18" fmla="*/ 4767 w 10000"/>
                <a:gd name="connsiteY18" fmla="*/ 569 h 10000"/>
                <a:gd name="connsiteX19" fmla="*/ 5019 w 10000"/>
                <a:gd name="connsiteY19" fmla="*/ 549 h 10000"/>
                <a:gd name="connsiteX20" fmla="*/ 5252 w 10000"/>
                <a:gd name="connsiteY20" fmla="*/ 569 h 10000"/>
                <a:gd name="connsiteX21" fmla="*/ 5640 w 10000"/>
                <a:gd name="connsiteY21" fmla="*/ 0 h 10000"/>
                <a:gd name="connsiteX22" fmla="*/ 5795 w 10000"/>
                <a:gd name="connsiteY22" fmla="*/ 20 h 10000"/>
                <a:gd name="connsiteX23" fmla="*/ 5950 w 10000"/>
                <a:gd name="connsiteY23" fmla="*/ 59 h 10000"/>
                <a:gd name="connsiteX24" fmla="*/ 6163 w 10000"/>
                <a:gd name="connsiteY24" fmla="*/ 706 h 10000"/>
                <a:gd name="connsiteX25" fmla="*/ 6395 w 10000"/>
                <a:gd name="connsiteY25" fmla="*/ 765 h 10000"/>
                <a:gd name="connsiteX26" fmla="*/ 6492 w 10000"/>
                <a:gd name="connsiteY26" fmla="*/ 804 h 10000"/>
                <a:gd name="connsiteX27" fmla="*/ 6609 w 10000"/>
                <a:gd name="connsiteY27" fmla="*/ 843 h 10000"/>
                <a:gd name="connsiteX28" fmla="*/ 7151 w 10000"/>
                <a:gd name="connsiteY28" fmla="*/ 451 h 10000"/>
                <a:gd name="connsiteX29" fmla="*/ 7287 w 10000"/>
                <a:gd name="connsiteY29" fmla="*/ 510 h 10000"/>
                <a:gd name="connsiteX30" fmla="*/ 7442 w 10000"/>
                <a:gd name="connsiteY30" fmla="*/ 588 h 10000"/>
                <a:gd name="connsiteX31" fmla="*/ 7442 w 10000"/>
                <a:gd name="connsiteY31" fmla="*/ 1275 h 10000"/>
                <a:gd name="connsiteX32" fmla="*/ 7616 w 10000"/>
                <a:gd name="connsiteY32" fmla="*/ 1412 h 10000"/>
                <a:gd name="connsiteX33" fmla="*/ 7713 w 10000"/>
                <a:gd name="connsiteY33" fmla="*/ 1471 h 10000"/>
                <a:gd name="connsiteX34" fmla="*/ 7810 w 10000"/>
                <a:gd name="connsiteY34" fmla="*/ 1549 h 10000"/>
                <a:gd name="connsiteX35" fmla="*/ 8450 w 10000"/>
                <a:gd name="connsiteY35" fmla="*/ 1333 h 10000"/>
                <a:gd name="connsiteX36" fmla="*/ 8566 w 10000"/>
                <a:gd name="connsiteY36" fmla="*/ 1451 h 10000"/>
                <a:gd name="connsiteX37" fmla="*/ 8682 w 10000"/>
                <a:gd name="connsiteY37" fmla="*/ 1569 h 10000"/>
                <a:gd name="connsiteX38" fmla="*/ 8469 w 10000"/>
                <a:gd name="connsiteY38" fmla="*/ 2216 h 10000"/>
                <a:gd name="connsiteX39" fmla="*/ 8605 w 10000"/>
                <a:gd name="connsiteY39" fmla="*/ 2392 h 10000"/>
                <a:gd name="connsiteX40" fmla="*/ 8740 w 10000"/>
                <a:gd name="connsiteY40" fmla="*/ 2588 h 10000"/>
                <a:gd name="connsiteX41" fmla="*/ 9419 w 10000"/>
                <a:gd name="connsiteY41" fmla="*/ 2588 h 10000"/>
                <a:gd name="connsiteX42" fmla="*/ 9496 w 10000"/>
                <a:gd name="connsiteY42" fmla="*/ 2706 h 10000"/>
                <a:gd name="connsiteX43" fmla="*/ 9574 w 10000"/>
                <a:gd name="connsiteY43" fmla="*/ 2863 h 10000"/>
                <a:gd name="connsiteX44" fmla="*/ 9167 w 10000"/>
                <a:gd name="connsiteY44" fmla="*/ 3392 h 10000"/>
                <a:gd name="connsiteX45" fmla="*/ 9244 w 10000"/>
                <a:gd name="connsiteY45" fmla="*/ 3627 h 10000"/>
                <a:gd name="connsiteX46" fmla="*/ 9283 w 10000"/>
                <a:gd name="connsiteY46" fmla="*/ 3745 h 10000"/>
                <a:gd name="connsiteX47" fmla="*/ 9302 w 10000"/>
                <a:gd name="connsiteY47" fmla="*/ 3863 h 10000"/>
                <a:gd name="connsiteX48" fmla="*/ 9961 w 10000"/>
                <a:gd name="connsiteY48" fmla="*/ 4059 h 10000"/>
                <a:gd name="connsiteX49" fmla="*/ 10000 w 10000"/>
                <a:gd name="connsiteY49" fmla="*/ 4392 h 10000"/>
                <a:gd name="connsiteX50" fmla="*/ 9438 w 10000"/>
                <a:gd name="connsiteY50" fmla="*/ 4765 h 10000"/>
                <a:gd name="connsiteX51" fmla="*/ 9457 w 10000"/>
                <a:gd name="connsiteY51" fmla="*/ 5000 h 10000"/>
                <a:gd name="connsiteX52" fmla="*/ 9438 w 10000"/>
                <a:gd name="connsiteY52" fmla="*/ 5235 h 10000"/>
                <a:gd name="connsiteX53" fmla="*/ 10000 w 10000"/>
                <a:gd name="connsiteY53" fmla="*/ 5627 h 10000"/>
                <a:gd name="connsiteX54" fmla="*/ 9981 w 10000"/>
                <a:gd name="connsiteY54" fmla="*/ 5784 h 10000"/>
                <a:gd name="connsiteX55" fmla="*/ 9961 w 10000"/>
                <a:gd name="connsiteY55" fmla="*/ 5941 h 10000"/>
                <a:gd name="connsiteX56" fmla="*/ 9302 w 10000"/>
                <a:gd name="connsiteY56" fmla="*/ 6157 h 10000"/>
                <a:gd name="connsiteX57" fmla="*/ 9244 w 10000"/>
                <a:gd name="connsiteY57" fmla="*/ 6392 h 10000"/>
                <a:gd name="connsiteX58" fmla="*/ 9205 w 10000"/>
                <a:gd name="connsiteY58" fmla="*/ 6490 h 10000"/>
                <a:gd name="connsiteX59" fmla="*/ 9167 w 10000"/>
                <a:gd name="connsiteY59" fmla="*/ 6608 h 10000"/>
                <a:gd name="connsiteX60" fmla="*/ 9574 w 10000"/>
                <a:gd name="connsiteY60" fmla="*/ 7157 h 10000"/>
                <a:gd name="connsiteX61" fmla="*/ 9496 w 10000"/>
                <a:gd name="connsiteY61" fmla="*/ 7294 h 10000"/>
                <a:gd name="connsiteX62" fmla="*/ 9419 w 10000"/>
                <a:gd name="connsiteY62" fmla="*/ 7431 h 10000"/>
                <a:gd name="connsiteX63" fmla="*/ 8740 w 10000"/>
                <a:gd name="connsiteY63" fmla="*/ 7412 h 10000"/>
                <a:gd name="connsiteX64" fmla="*/ 8605 w 10000"/>
                <a:gd name="connsiteY64" fmla="*/ 7627 h 10000"/>
                <a:gd name="connsiteX65" fmla="*/ 8547 w 10000"/>
                <a:gd name="connsiteY65" fmla="*/ 7706 h 10000"/>
                <a:gd name="connsiteX66" fmla="*/ 8469 w 10000"/>
                <a:gd name="connsiteY66" fmla="*/ 7804 h 10000"/>
                <a:gd name="connsiteX67" fmla="*/ 8682 w 10000"/>
                <a:gd name="connsiteY67" fmla="*/ 8451 h 10000"/>
                <a:gd name="connsiteX68" fmla="*/ 8566 w 10000"/>
                <a:gd name="connsiteY68" fmla="*/ 8569 h 10000"/>
                <a:gd name="connsiteX69" fmla="*/ 8450 w 10000"/>
                <a:gd name="connsiteY69" fmla="*/ 8686 h 10000"/>
                <a:gd name="connsiteX70" fmla="*/ 7810 w 10000"/>
                <a:gd name="connsiteY70" fmla="*/ 8471 h 10000"/>
                <a:gd name="connsiteX71" fmla="*/ 7616 w 10000"/>
                <a:gd name="connsiteY71" fmla="*/ 8608 h 10000"/>
                <a:gd name="connsiteX72" fmla="*/ 7442 w 10000"/>
                <a:gd name="connsiteY72" fmla="*/ 8745 h 10000"/>
                <a:gd name="connsiteX73" fmla="*/ 7442 w 10000"/>
                <a:gd name="connsiteY73" fmla="*/ 9412 h 10000"/>
                <a:gd name="connsiteX74" fmla="*/ 7287 w 10000"/>
                <a:gd name="connsiteY74" fmla="*/ 9510 h 10000"/>
                <a:gd name="connsiteX75" fmla="*/ 7151 w 10000"/>
                <a:gd name="connsiteY75" fmla="*/ 9569 h 10000"/>
                <a:gd name="connsiteX76" fmla="*/ 6609 w 10000"/>
                <a:gd name="connsiteY76" fmla="*/ 9157 h 10000"/>
                <a:gd name="connsiteX77" fmla="*/ 6395 w 10000"/>
                <a:gd name="connsiteY77" fmla="*/ 9235 h 10000"/>
                <a:gd name="connsiteX78" fmla="*/ 6279 w 10000"/>
                <a:gd name="connsiteY78" fmla="*/ 9275 h 10000"/>
                <a:gd name="connsiteX79" fmla="*/ 6163 w 10000"/>
                <a:gd name="connsiteY79" fmla="*/ 9314 h 10000"/>
                <a:gd name="connsiteX80" fmla="*/ 5950 w 10000"/>
                <a:gd name="connsiteY80" fmla="*/ 9961 h 10000"/>
                <a:gd name="connsiteX81" fmla="*/ 5640 w 10000"/>
                <a:gd name="connsiteY81" fmla="*/ 10000 h 10000"/>
                <a:gd name="connsiteX82" fmla="*/ 5252 w 10000"/>
                <a:gd name="connsiteY82" fmla="*/ 9451 h 10000"/>
                <a:gd name="connsiteX83" fmla="*/ 5019 w 10000"/>
                <a:gd name="connsiteY83" fmla="*/ 9451 h 10000"/>
                <a:gd name="connsiteX84" fmla="*/ 4767 w 10000"/>
                <a:gd name="connsiteY84" fmla="*/ 9451 h 10000"/>
                <a:gd name="connsiteX85" fmla="*/ 4380 w 10000"/>
                <a:gd name="connsiteY85" fmla="*/ 10000 h 10000"/>
                <a:gd name="connsiteX86" fmla="*/ 4225 w 10000"/>
                <a:gd name="connsiteY86" fmla="*/ 9980 h 10000"/>
                <a:gd name="connsiteX87" fmla="*/ 4070 w 10000"/>
                <a:gd name="connsiteY87" fmla="*/ 9961 h 10000"/>
                <a:gd name="connsiteX88" fmla="*/ 3857 w 10000"/>
                <a:gd name="connsiteY88" fmla="*/ 9314 h 10000"/>
                <a:gd name="connsiteX89" fmla="*/ 3624 w 10000"/>
                <a:gd name="connsiteY89" fmla="*/ 9235 h 10000"/>
                <a:gd name="connsiteX90" fmla="*/ 3508 w 10000"/>
                <a:gd name="connsiteY90" fmla="*/ 9216 h 10000"/>
                <a:gd name="connsiteX91" fmla="*/ 3411 w 10000"/>
                <a:gd name="connsiteY91" fmla="*/ 9157 h 10000"/>
                <a:gd name="connsiteX92" fmla="*/ 2868 w 10000"/>
                <a:gd name="connsiteY92" fmla="*/ 9569 h 10000"/>
                <a:gd name="connsiteX93" fmla="*/ 2733 w 10000"/>
                <a:gd name="connsiteY93" fmla="*/ 9510 h 10000"/>
                <a:gd name="connsiteX94" fmla="*/ 2578 w 10000"/>
                <a:gd name="connsiteY94" fmla="*/ 9412 h 10000"/>
                <a:gd name="connsiteX95" fmla="*/ 2597 w 10000"/>
                <a:gd name="connsiteY95" fmla="*/ 8745 h 10000"/>
                <a:gd name="connsiteX96" fmla="*/ 2403 w 10000"/>
                <a:gd name="connsiteY96" fmla="*/ 8608 h 10000"/>
                <a:gd name="connsiteX97" fmla="*/ 2306 w 10000"/>
                <a:gd name="connsiteY97" fmla="*/ 8529 h 10000"/>
                <a:gd name="connsiteX98" fmla="*/ 2209 w 10000"/>
                <a:gd name="connsiteY98" fmla="*/ 8471 h 10000"/>
                <a:gd name="connsiteX99" fmla="*/ 1570 w 10000"/>
                <a:gd name="connsiteY99" fmla="*/ 8686 h 10000"/>
                <a:gd name="connsiteX100" fmla="*/ 1453 w 10000"/>
                <a:gd name="connsiteY100" fmla="*/ 8569 h 10000"/>
                <a:gd name="connsiteX101" fmla="*/ 1337 w 10000"/>
                <a:gd name="connsiteY101" fmla="*/ 8451 h 10000"/>
                <a:gd name="connsiteX102" fmla="*/ 1550 w 10000"/>
                <a:gd name="connsiteY102" fmla="*/ 7804 h 10000"/>
                <a:gd name="connsiteX103" fmla="*/ 1415 w 10000"/>
                <a:gd name="connsiteY103" fmla="*/ 7627 h 10000"/>
                <a:gd name="connsiteX104" fmla="*/ 1279 w 10000"/>
                <a:gd name="connsiteY104" fmla="*/ 7412 h 10000"/>
                <a:gd name="connsiteX105" fmla="*/ 601 w 10000"/>
                <a:gd name="connsiteY105" fmla="*/ 7431 h 10000"/>
                <a:gd name="connsiteX106" fmla="*/ 523 w 10000"/>
                <a:gd name="connsiteY106" fmla="*/ 7294 h 10000"/>
                <a:gd name="connsiteX107" fmla="*/ 446 w 10000"/>
                <a:gd name="connsiteY107" fmla="*/ 7157 h 10000"/>
                <a:gd name="connsiteX108" fmla="*/ 853 w 10000"/>
                <a:gd name="connsiteY108" fmla="*/ 6608 h 10000"/>
                <a:gd name="connsiteX109" fmla="*/ 775 w 10000"/>
                <a:gd name="connsiteY109" fmla="*/ 6392 h 10000"/>
                <a:gd name="connsiteX110" fmla="*/ 756 w 10000"/>
                <a:gd name="connsiteY110" fmla="*/ 6275 h 10000"/>
                <a:gd name="connsiteX111" fmla="*/ 717 w 10000"/>
                <a:gd name="connsiteY111" fmla="*/ 6157 h 10000"/>
                <a:gd name="connsiteX112" fmla="*/ 58 w 10000"/>
                <a:gd name="connsiteY112" fmla="*/ 5941 h 10000"/>
                <a:gd name="connsiteX113" fmla="*/ 0 w 10000"/>
                <a:gd name="connsiteY113" fmla="*/ 5627 h 10000"/>
                <a:gd name="connsiteX114" fmla="*/ 581 w 10000"/>
                <a:gd name="connsiteY114" fmla="*/ 5235 h 10000"/>
                <a:gd name="connsiteX115" fmla="*/ 562 w 10000"/>
                <a:gd name="connsiteY115" fmla="*/ 5000 h 10000"/>
                <a:gd name="connsiteX116" fmla="*/ 581 w 10000"/>
                <a:gd name="connsiteY116" fmla="*/ 4765 h 10000"/>
                <a:gd name="connsiteX117" fmla="*/ 0 w 10000"/>
                <a:gd name="connsiteY117" fmla="*/ 4392 h 10000"/>
                <a:gd name="connsiteX118" fmla="*/ 19 w 10000"/>
                <a:gd name="connsiteY118" fmla="*/ 4216 h 10000"/>
                <a:gd name="connsiteX119" fmla="*/ 58 w 10000"/>
                <a:gd name="connsiteY119" fmla="*/ 4059 h 10000"/>
                <a:gd name="connsiteX120" fmla="*/ 717 w 10000"/>
                <a:gd name="connsiteY120" fmla="*/ 3863 h 10000"/>
                <a:gd name="connsiteX121" fmla="*/ 775 w 10000"/>
                <a:gd name="connsiteY121" fmla="*/ 3627 h 10000"/>
                <a:gd name="connsiteX122" fmla="*/ 814 w 10000"/>
                <a:gd name="connsiteY122" fmla="*/ 3510 h 10000"/>
                <a:gd name="connsiteX123" fmla="*/ 853 w 10000"/>
                <a:gd name="connsiteY123" fmla="*/ 3392 h 10000"/>
                <a:gd name="connsiteX124" fmla="*/ 446 w 10000"/>
                <a:gd name="connsiteY124" fmla="*/ 2863 h 10000"/>
                <a:gd name="connsiteX125" fmla="*/ 523 w 10000"/>
                <a:gd name="connsiteY125" fmla="*/ 2706 h 10000"/>
                <a:gd name="connsiteX126" fmla="*/ 601 w 10000"/>
                <a:gd name="connsiteY126" fmla="*/ 2588 h 10000"/>
                <a:gd name="connsiteX127" fmla="*/ 1279 w 10000"/>
                <a:gd name="connsiteY127" fmla="*/ 2588 h 10000"/>
                <a:gd name="connsiteX128" fmla="*/ 2019 w 10000"/>
                <a:gd name="connsiteY128" fmla="*/ 3003 h 10000"/>
                <a:gd name="connsiteX0" fmla="*/ 1415 w 10000"/>
                <a:gd name="connsiteY0" fmla="*/ 2392 h 10000"/>
                <a:gd name="connsiteX1" fmla="*/ 1473 w 10000"/>
                <a:gd name="connsiteY1" fmla="*/ 2294 h 10000"/>
                <a:gd name="connsiteX2" fmla="*/ 1550 w 10000"/>
                <a:gd name="connsiteY2" fmla="*/ 2216 h 10000"/>
                <a:gd name="connsiteX3" fmla="*/ 1337 w 10000"/>
                <a:gd name="connsiteY3" fmla="*/ 1569 h 10000"/>
                <a:gd name="connsiteX4" fmla="*/ 1453 w 10000"/>
                <a:gd name="connsiteY4" fmla="*/ 1451 h 10000"/>
                <a:gd name="connsiteX5" fmla="*/ 1570 w 10000"/>
                <a:gd name="connsiteY5" fmla="*/ 1333 h 10000"/>
                <a:gd name="connsiteX6" fmla="*/ 2209 w 10000"/>
                <a:gd name="connsiteY6" fmla="*/ 1549 h 10000"/>
                <a:gd name="connsiteX7" fmla="*/ 2403 w 10000"/>
                <a:gd name="connsiteY7" fmla="*/ 1412 h 10000"/>
                <a:gd name="connsiteX8" fmla="*/ 2597 w 10000"/>
                <a:gd name="connsiteY8" fmla="*/ 1275 h 10000"/>
                <a:gd name="connsiteX9" fmla="*/ 2578 w 10000"/>
                <a:gd name="connsiteY9" fmla="*/ 588 h 10000"/>
                <a:gd name="connsiteX10" fmla="*/ 2733 w 10000"/>
                <a:gd name="connsiteY10" fmla="*/ 510 h 10000"/>
                <a:gd name="connsiteX11" fmla="*/ 2868 w 10000"/>
                <a:gd name="connsiteY11" fmla="*/ 451 h 10000"/>
                <a:gd name="connsiteX12" fmla="*/ 3411 w 10000"/>
                <a:gd name="connsiteY12" fmla="*/ 843 h 10000"/>
                <a:gd name="connsiteX13" fmla="*/ 3624 w 10000"/>
                <a:gd name="connsiteY13" fmla="*/ 765 h 10000"/>
                <a:gd name="connsiteX14" fmla="*/ 3740 w 10000"/>
                <a:gd name="connsiteY14" fmla="*/ 725 h 10000"/>
                <a:gd name="connsiteX15" fmla="*/ 3857 w 10000"/>
                <a:gd name="connsiteY15" fmla="*/ 706 h 10000"/>
                <a:gd name="connsiteX16" fmla="*/ 4070 w 10000"/>
                <a:gd name="connsiteY16" fmla="*/ 59 h 10000"/>
                <a:gd name="connsiteX17" fmla="*/ 4380 w 10000"/>
                <a:gd name="connsiteY17" fmla="*/ 0 h 10000"/>
                <a:gd name="connsiteX18" fmla="*/ 4767 w 10000"/>
                <a:gd name="connsiteY18" fmla="*/ 569 h 10000"/>
                <a:gd name="connsiteX19" fmla="*/ 5019 w 10000"/>
                <a:gd name="connsiteY19" fmla="*/ 549 h 10000"/>
                <a:gd name="connsiteX20" fmla="*/ 5252 w 10000"/>
                <a:gd name="connsiteY20" fmla="*/ 569 h 10000"/>
                <a:gd name="connsiteX21" fmla="*/ 5640 w 10000"/>
                <a:gd name="connsiteY21" fmla="*/ 0 h 10000"/>
                <a:gd name="connsiteX22" fmla="*/ 5795 w 10000"/>
                <a:gd name="connsiteY22" fmla="*/ 20 h 10000"/>
                <a:gd name="connsiteX23" fmla="*/ 5950 w 10000"/>
                <a:gd name="connsiteY23" fmla="*/ 59 h 10000"/>
                <a:gd name="connsiteX24" fmla="*/ 6163 w 10000"/>
                <a:gd name="connsiteY24" fmla="*/ 706 h 10000"/>
                <a:gd name="connsiteX25" fmla="*/ 6395 w 10000"/>
                <a:gd name="connsiteY25" fmla="*/ 765 h 10000"/>
                <a:gd name="connsiteX26" fmla="*/ 6492 w 10000"/>
                <a:gd name="connsiteY26" fmla="*/ 804 h 10000"/>
                <a:gd name="connsiteX27" fmla="*/ 6609 w 10000"/>
                <a:gd name="connsiteY27" fmla="*/ 843 h 10000"/>
                <a:gd name="connsiteX28" fmla="*/ 7151 w 10000"/>
                <a:gd name="connsiteY28" fmla="*/ 451 h 10000"/>
                <a:gd name="connsiteX29" fmla="*/ 7287 w 10000"/>
                <a:gd name="connsiteY29" fmla="*/ 510 h 10000"/>
                <a:gd name="connsiteX30" fmla="*/ 7442 w 10000"/>
                <a:gd name="connsiteY30" fmla="*/ 588 h 10000"/>
                <a:gd name="connsiteX31" fmla="*/ 7442 w 10000"/>
                <a:gd name="connsiteY31" fmla="*/ 1275 h 10000"/>
                <a:gd name="connsiteX32" fmla="*/ 7616 w 10000"/>
                <a:gd name="connsiteY32" fmla="*/ 1412 h 10000"/>
                <a:gd name="connsiteX33" fmla="*/ 7713 w 10000"/>
                <a:gd name="connsiteY33" fmla="*/ 1471 h 10000"/>
                <a:gd name="connsiteX34" fmla="*/ 7810 w 10000"/>
                <a:gd name="connsiteY34" fmla="*/ 1549 h 10000"/>
                <a:gd name="connsiteX35" fmla="*/ 8450 w 10000"/>
                <a:gd name="connsiteY35" fmla="*/ 1333 h 10000"/>
                <a:gd name="connsiteX36" fmla="*/ 8566 w 10000"/>
                <a:gd name="connsiteY36" fmla="*/ 1451 h 10000"/>
                <a:gd name="connsiteX37" fmla="*/ 8682 w 10000"/>
                <a:gd name="connsiteY37" fmla="*/ 1569 h 10000"/>
                <a:gd name="connsiteX38" fmla="*/ 8469 w 10000"/>
                <a:gd name="connsiteY38" fmla="*/ 2216 h 10000"/>
                <a:gd name="connsiteX39" fmla="*/ 8605 w 10000"/>
                <a:gd name="connsiteY39" fmla="*/ 2392 h 10000"/>
                <a:gd name="connsiteX40" fmla="*/ 8740 w 10000"/>
                <a:gd name="connsiteY40" fmla="*/ 2588 h 10000"/>
                <a:gd name="connsiteX41" fmla="*/ 9419 w 10000"/>
                <a:gd name="connsiteY41" fmla="*/ 2588 h 10000"/>
                <a:gd name="connsiteX42" fmla="*/ 9496 w 10000"/>
                <a:gd name="connsiteY42" fmla="*/ 2706 h 10000"/>
                <a:gd name="connsiteX43" fmla="*/ 9574 w 10000"/>
                <a:gd name="connsiteY43" fmla="*/ 2863 h 10000"/>
                <a:gd name="connsiteX44" fmla="*/ 9167 w 10000"/>
                <a:gd name="connsiteY44" fmla="*/ 3392 h 10000"/>
                <a:gd name="connsiteX45" fmla="*/ 9244 w 10000"/>
                <a:gd name="connsiteY45" fmla="*/ 3627 h 10000"/>
                <a:gd name="connsiteX46" fmla="*/ 9283 w 10000"/>
                <a:gd name="connsiteY46" fmla="*/ 3745 h 10000"/>
                <a:gd name="connsiteX47" fmla="*/ 9302 w 10000"/>
                <a:gd name="connsiteY47" fmla="*/ 3863 h 10000"/>
                <a:gd name="connsiteX48" fmla="*/ 9961 w 10000"/>
                <a:gd name="connsiteY48" fmla="*/ 4059 h 10000"/>
                <a:gd name="connsiteX49" fmla="*/ 10000 w 10000"/>
                <a:gd name="connsiteY49" fmla="*/ 4392 h 10000"/>
                <a:gd name="connsiteX50" fmla="*/ 9438 w 10000"/>
                <a:gd name="connsiteY50" fmla="*/ 4765 h 10000"/>
                <a:gd name="connsiteX51" fmla="*/ 9457 w 10000"/>
                <a:gd name="connsiteY51" fmla="*/ 5000 h 10000"/>
                <a:gd name="connsiteX52" fmla="*/ 9438 w 10000"/>
                <a:gd name="connsiteY52" fmla="*/ 5235 h 10000"/>
                <a:gd name="connsiteX53" fmla="*/ 10000 w 10000"/>
                <a:gd name="connsiteY53" fmla="*/ 5627 h 10000"/>
                <a:gd name="connsiteX54" fmla="*/ 9981 w 10000"/>
                <a:gd name="connsiteY54" fmla="*/ 5784 h 10000"/>
                <a:gd name="connsiteX55" fmla="*/ 9961 w 10000"/>
                <a:gd name="connsiteY55" fmla="*/ 5941 h 10000"/>
                <a:gd name="connsiteX56" fmla="*/ 9302 w 10000"/>
                <a:gd name="connsiteY56" fmla="*/ 6157 h 10000"/>
                <a:gd name="connsiteX57" fmla="*/ 9244 w 10000"/>
                <a:gd name="connsiteY57" fmla="*/ 6392 h 10000"/>
                <a:gd name="connsiteX58" fmla="*/ 9205 w 10000"/>
                <a:gd name="connsiteY58" fmla="*/ 6490 h 10000"/>
                <a:gd name="connsiteX59" fmla="*/ 9167 w 10000"/>
                <a:gd name="connsiteY59" fmla="*/ 6608 h 10000"/>
                <a:gd name="connsiteX60" fmla="*/ 9574 w 10000"/>
                <a:gd name="connsiteY60" fmla="*/ 7157 h 10000"/>
                <a:gd name="connsiteX61" fmla="*/ 9496 w 10000"/>
                <a:gd name="connsiteY61" fmla="*/ 7294 h 10000"/>
                <a:gd name="connsiteX62" fmla="*/ 9419 w 10000"/>
                <a:gd name="connsiteY62" fmla="*/ 7431 h 10000"/>
                <a:gd name="connsiteX63" fmla="*/ 8740 w 10000"/>
                <a:gd name="connsiteY63" fmla="*/ 7412 h 10000"/>
                <a:gd name="connsiteX64" fmla="*/ 8605 w 10000"/>
                <a:gd name="connsiteY64" fmla="*/ 7627 h 10000"/>
                <a:gd name="connsiteX65" fmla="*/ 8547 w 10000"/>
                <a:gd name="connsiteY65" fmla="*/ 7706 h 10000"/>
                <a:gd name="connsiteX66" fmla="*/ 8469 w 10000"/>
                <a:gd name="connsiteY66" fmla="*/ 7804 h 10000"/>
                <a:gd name="connsiteX67" fmla="*/ 8682 w 10000"/>
                <a:gd name="connsiteY67" fmla="*/ 8451 h 10000"/>
                <a:gd name="connsiteX68" fmla="*/ 8566 w 10000"/>
                <a:gd name="connsiteY68" fmla="*/ 8569 h 10000"/>
                <a:gd name="connsiteX69" fmla="*/ 8450 w 10000"/>
                <a:gd name="connsiteY69" fmla="*/ 8686 h 10000"/>
                <a:gd name="connsiteX70" fmla="*/ 7810 w 10000"/>
                <a:gd name="connsiteY70" fmla="*/ 8471 h 10000"/>
                <a:gd name="connsiteX71" fmla="*/ 7616 w 10000"/>
                <a:gd name="connsiteY71" fmla="*/ 8608 h 10000"/>
                <a:gd name="connsiteX72" fmla="*/ 7442 w 10000"/>
                <a:gd name="connsiteY72" fmla="*/ 8745 h 10000"/>
                <a:gd name="connsiteX73" fmla="*/ 7442 w 10000"/>
                <a:gd name="connsiteY73" fmla="*/ 9412 h 10000"/>
                <a:gd name="connsiteX74" fmla="*/ 7287 w 10000"/>
                <a:gd name="connsiteY74" fmla="*/ 9510 h 10000"/>
                <a:gd name="connsiteX75" fmla="*/ 7151 w 10000"/>
                <a:gd name="connsiteY75" fmla="*/ 9569 h 10000"/>
                <a:gd name="connsiteX76" fmla="*/ 6609 w 10000"/>
                <a:gd name="connsiteY76" fmla="*/ 9157 h 10000"/>
                <a:gd name="connsiteX77" fmla="*/ 6395 w 10000"/>
                <a:gd name="connsiteY77" fmla="*/ 9235 h 10000"/>
                <a:gd name="connsiteX78" fmla="*/ 6279 w 10000"/>
                <a:gd name="connsiteY78" fmla="*/ 9275 h 10000"/>
                <a:gd name="connsiteX79" fmla="*/ 6163 w 10000"/>
                <a:gd name="connsiteY79" fmla="*/ 9314 h 10000"/>
                <a:gd name="connsiteX80" fmla="*/ 5950 w 10000"/>
                <a:gd name="connsiteY80" fmla="*/ 9961 h 10000"/>
                <a:gd name="connsiteX81" fmla="*/ 5640 w 10000"/>
                <a:gd name="connsiteY81" fmla="*/ 10000 h 10000"/>
                <a:gd name="connsiteX82" fmla="*/ 5252 w 10000"/>
                <a:gd name="connsiteY82" fmla="*/ 9451 h 10000"/>
                <a:gd name="connsiteX83" fmla="*/ 5019 w 10000"/>
                <a:gd name="connsiteY83" fmla="*/ 9451 h 10000"/>
                <a:gd name="connsiteX84" fmla="*/ 4767 w 10000"/>
                <a:gd name="connsiteY84" fmla="*/ 9451 h 10000"/>
                <a:gd name="connsiteX85" fmla="*/ 4380 w 10000"/>
                <a:gd name="connsiteY85" fmla="*/ 10000 h 10000"/>
                <a:gd name="connsiteX86" fmla="*/ 4225 w 10000"/>
                <a:gd name="connsiteY86" fmla="*/ 9980 h 10000"/>
                <a:gd name="connsiteX87" fmla="*/ 4070 w 10000"/>
                <a:gd name="connsiteY87" fmla="*/ 9961 h 10000"/>
                <a:gd name="connsiteX88" fmla="*/ 3857 w 10000"/>
                <a:gd name="connsiteY88" fmla="*/ 9314 h 10000"/>
                <a:gd name="connsiteX89" fmla="*/ 3624 w 10000"/>
                <a:gd name="connsiteY89" fmla="*/ 9235 h 10000"/>
                <a:gd name="connsiteX90" fmla="*/ 3508 w 10000"/>
                <a:gd name="connsiteY90" fmla="*/ 9216 h 10000"/>
                <a:gd name="connsiteX91" fmla="*/ 3411 w 10000"/>
                <a:gd name="connsiteY91" fmla="*/ 9157 h 10000"/>
                <a:gd name="connsiteX92" fmla="*/ 2868 w 10000"/>
                <a:gd name="connsiteY92" fmla="*/ 9569 h 10000"/>
                <a:gd name="connsiteX93" fmla="*/ 2733 w 10000"/>
                <a:gd name="connsiteY93" fmla="*/ 9510 h 10000"/>
                <a:gd name="connsiteX94" fmla="*/ 2578 w 10000"/>
                <a:gd name="connsiteY94" fmla="*/ 9412 h 10000"/>
                <a:gd name="connsiteX95" fmla="*/ 2597 w 10000"/>
                <a:gd name="connsiteY95" fmla="*/ 8745 h 10000"/>
                <a:gd name="connsiteX96" fmla="*/ 2403 w 10000"/>
                <a:gd name="connsiteY96" fmla="*/ 8608 h 10000"/>
                <a:gd name="connsiteX97" fmla="*/ 2306 w 10000"/>
                <a:gd name="connsiteY97" fmla="*/ 8529 h 10000"/>
                <a:gd name="connsiteX98" fmla="*/ 2209 w 10000"/>
                <a:gd name="connsiteY98" fmla="*/ 8471 h 10000"/>
                <a:gd name="connsiteX99" fmla="*/ 1570 w 10000"/>
                <a:gd name="connsiteY99" fmla="*/ 8686 h 10000"/>
                <a:gd name="connsiteX100" fmla="*/ 1453 w 10000"/>
                <a:gd name="connsiteY100" fmla="*/ 8569 h 10000"/>
                <a:gd name="connsiteX101" fmla="*/ 1337 w 10000"/>
                <a:gd name="connsiteY101" fmla="*/ 8451 h 10000"/>
                <a:gd name="connsiteX102" fmla="*/ 1550 w 10000"/>
                <a:gd name="connsiteY102" fmla="*/ 7804 h 10000"/>
                <a:gd name="connsiteX103" fmla="*/ 1415 w 10000"/>
                <a:gd name="connsiteY103" fmla="*/ 7627 h 10000"/>
                <a:gd name="connsiteX104" fmla="*/ 1279 w 10000"/>
                <a:gd name="connsiteY104" fmla="*/ 7412 h 10000"/>
                <a:gd name="connsiteX105" fmla="*/ 601 w 10000"/>
                <a:gd name="connsiteY105" fmla="*/ 7431 h 10000"/>
                <a:gd name="connsiteX106" fmla="*/ 523 w 10000"/>
                <a:gd name="connsiteY106" fmla="*/ 7294 h 10000"/>
                <a:gd name="connsiteX107" fmla="*/ 446 w 10000"/>
                <a:gd name="connsiteY107" fmla="*/ 7157 h 10000"/>
                <a:gd name="connsiteX108" fmla="*/ 853 w 10000"/>
                <a:gd name="connsiteY108" fmla="*/ 6608 h 10000"/>
                <a:gd name="connsiteX109" fmla="*/ 775 w 10000"/>
                <a:gd name="connsiteY109" fmla="*/ 6392 h 10000"/>
                <a:gd name="connsiteX110" fmla="*/ 756 w 10000"/>
                <a:gd name="connsiteY110" fmla="*/ 6275 h 10000"/>
                <a:gd name="connsiteX111" fmla="*/ 717 w 10000"/>
                <a:gd name="connsiteY111" fmla="*/ 6157 h 10000"/>
                <a:gd name="connsiteX112" fmla="*/ 58 w 10000"/>
                <a:gd name="connsiteY112" fmla="*/ 5941 h 10000"/>
                <a:gd name="connsiteX113" fmla="*/ 0 w 10000"/>
                <a:gd name="connsiteY113" fmla="*/ 5627 h 10000"/>
                <a:gd name="connsiteX114" fmla="*/ 581 w 10000"/>
                <a:gd name="connsiteY114" fmla="*/ 5235 h 10000"/>
                <a:gd name="connsiteX115" fmla="*/ 562 w 10000"/>
                <a:gd name="connsiteY115" fmla="*/ 5000 h 10000"/>
                <a:gd name="connsiteX116" fmla="*/ 581 w 10000"/>
                <a:gd name="connsiteY116" fmla="*/ 4765 h 10000"/>
                <a:gd name="connsiteX117" fmla="*/ 0 w 10000"/>
                <a:gd name="connsiteY117" fmla="*/ 4392 h 10000"/>
                <a:gd name="connsiteX118" fmla="*/ 19 w 10000"/>
                <a:gd name="connsiteY118" fmla="*/ 4216 h 10000"/>
                <a:gd name="connsiteX119" fmla="*/ 58 w 10000"/>
                <a:gd name="connsiteY119" fmla="*/ 4059 h 10000"/>
                <a:gd name="connsiteX120" fmla="*/ 717 w 10000"/>
                <a:gd name="connsiteY120" fmla="*/ 3863 h 10000"/>
                <a:gd name="connsiteX121" fmla="*/ 775 w 10000"/>
                <a:gd name="connsiteY121" fmla="*/ 3627 h 10000"/>
                <a:gd name="connsiteX122" fmla="*/ 814 w 10000"/>
                <a:gd name="connsiteY122" fmla="*/ 3510 h 10000"/>
                <a:gd name="connsiteX123" fmla="*/ 853 w 10000"/>
                <a:gd name="connsiteY123" fmla="*/ 3392 h 10000"/>
                <a:gd name="connsiteX124" fmla="*/ 446 w 10000"/>
                <a:gd name="connsiteY124" fmla="*/ 2863 h 10000"/>
                <a:gd name="connsiteX125" fmla="*/ 523 w 10000"/>
                <a:gd name="connsiteY125" fmla="*/ 2706 h 10000"/>
                <a:gd name="connsiteX126" fmla="*/ 601 w 10000"/>
                <a:gd name="connsiteY126" fmla="*/ 2588 h 10000"/>
                <a:gd name="connsiteX127" fmla="*/ 1279 w 10000"/>
                <a:gd name="connsiteY127" fmla="*/ 2588 h 10000"/>
                <a:gd name="connsiteX0" fmla="*/ 1415 w 10000"/>
                <a:gd name="connsiteY0" fmla="*/ 2392 h 10000"/>
                <a:gd name="connsiteX1" fmla="*/ 1473 w 10000"/>
                <a:gd name="connsiteY1" fmla="*/ 2294 h 10000"/>
                <a:gd name="connsiteX2" fmla="*/ 1337 w 10000"/>
                <a:gd name="connsiteY2" fmla="*/ 1569 h 10000"/>
                <a:gd name="connsiteX3" fmla="*/ 1453 w 10000"/>
                <a:gd name="connsiteY3" fmla="*/ 1451 h 10000"/>
                <a:gd name="connsiteX4" fmla="*/ 1570 w 10000"/>
                <a:gd name="connsiteY4" fmla="*/ 1333 h 10000"/>
                <a:gd name="connsiteX5" fmla="*/ 2209 w 10000"/>
                <a:gd name="connsiteY5" fmla="*/ 1549 h 10000"/>
                <a:gd name="connsiteX6" fmla="*/ 2403 w 10000"/>
                <a:gd name="connsiteY6" fmla="*/ 1412 h 10000"/>
                <a:gd name="connsiteX7" fmla="*/ 2597 w 10000"/>
                <a:gd name="connsiteY7" fmla="*/ 1275 h 10000"/>
                <a:gd name="connsiteX8" fmla="*/ 2578 w 10000"/>
                <a:gd name="connsiteY8" fmla="*/ 588 h 10000"/>
                <a:gd name="connsiteX9" fmla="*/ 2733 w 10000"/>
                <a:gd name="connsiteY9" fmla="*/ 510 h 10000"/>
                <a:gd name="connsiteX10" fmla="*/ 2868 w 10000"/>
                <a:gd name="connsiteY10" fmla="*/ 451 h 10000"/>
                <a:gd name="connsiteX11" fmla="*/ 3411 w 10000"/>
                <a:gd name="connsiteY11" fmla="*/ 843 h 10000"/>
                <a:gd name="connsiteX12" fmla="*/ 3624 w 10000"/>
                <a:gd name="connsiteY12" fmla="*/ 765 h 10000"/>
                <a:gd name="connsiteX13" fmla="*/ 3740 w 10000"/>
                <a:gd name="connsiteY13" fmla="*/ 725 h 10000"/>
                <a:gd name="connsiteX14" fmla="*/ 3857 w 10000"/>
                <a:gd name="connsiteY14" fmla="*/ 706 h 10000"/>
                <a:gd name="connsiteX15" fmla="*/ 4070 w 10000"/>
                <a:gd name="connsiteY15" fmla="*/ 59 h 10000"/>
                <a:gd name="connsiteX16" fmla="*/ 4380 w 10000"/>
                <a:gd name="connsiteY16" fmla="*/ 0 h 10000"/>
                <a:gd name="connsiteX17" fmla="*/ 4767 w 10000"/>
                <a:gd name="connsiteY17" fmla="*/ 569 h 10000"/>
                <a:gd name="connsiteX18" fmla="*/ 5019 w 10000"/>
                <a:gd name="connsiteY18" fmla="*/ 549 h 10000"/>
                <a:gd name="connsiteX19" fmla="*/ 5252 w 10000"/>
                <a:gd name="connsiteY19" fmla="*/ 569 h 10000"/>
                <a:gd name="connsiteX20" fmla="*/ 5640 w 10000"/>
                <a:gd name="connsiteY20" fmla="*/ 0 h 10000"/>
                <a:gd name="connsiteX21" fmla="*/ 5795 w 10000"/>
                <a:gd name="connsiteY21" fmla="*/ 20 h 10000"/>
                <a:gd name="connsiteX22" fmla="*/ 5950 w 10000"/>
                <a:gd name="connsiteY22" fmla="*/ 59 h 10000"/>
                <a:gd name="connsiteX23" fmla="*/ 6163 w 10000"/>
                <a:gd name="connsiteY23" fmla="*/ 706 h 10000"/>
                <a:gd name="connsiteX24" fmla="*/ 6395 w 10000"/>
                <a:gd name="connsiteY24" fmla="*/ 765 h 10000"/>
                <a:gd name="connsiteX25" fmla="*/ 6492 w 10000"/>
                <a:gd name="connsiteY25" fmla="*/ 804 h 10000"/>
                <a:gd name="connsiteX26" fmla="*/ 6609 w 10000"/>
                <a:gd name="connsiteY26" fmla="*/ 843 h 10000"/>
                <a:gd name="connsiteX27" fmla="*/ 7151 w 10000"/>
                <a:gd name="connsiteY27" fmla="*/ 451 h 10000"/>
                <a:gd name="connsiteX28" fmla="*/ 7287 w 10000"/>
                <a:gd name="connsiteY28" fmla="*/ 510 h 10000"/>
                <a:gd name="connsiteX29" fmla="*/ 7442 w 10000"/>
                <a:gd name="connsiteY29" fmla="*/ 588 h 10000"/>
                <a:gd name="connsiteX30" fmla="*/ 7442 w 10000"/>
                <a:gd name="connsiteY30" fmla="*/ 1275 h 10000"/>
                <a:gd name="connsiteX31" fmla="*/ 7616 w 10000"/>
                <a:gd name="connsiteY31" fmla="*/ 1412 h 10000"/>
                <a:gd name="connsiteX32" fmla="*/ 7713 w 10000"/>
                <a:gd name="connsiteY32" fmla="*/ 1471 h 10000"/>
                <a:gd name="connsiteX33" fmla="*/ 7810 w 10000"/>
                <a:gd name="connsiteY33" fmla="*/ 1549 h 10000"/>
                <a:gd name="connsiteX34" fmla="*/ 8450 w 10000"/>
                <a:gd name="connsiteY34" fmla="*/ 1333 h 10000"/>
                <a:gd name="connsiteX35" fmla="*/ 8566 w 10000"/>
                <a:gd name="connsiteY35" fmla="*/ 1451 h 10000"/>
                <a:gd name="connsiteX36" fmla="*/ 8682 w 10000"/>
                <a:gd name="connsiteY36" fmla="*/ 1569 h 10000"/>
                <a:gd name="connsiteX37" fmla="*/ 8469 w 10000"/>
                <a:gd name="connsiteY37" fmla="*/ 2216 h 10000"/>
                <a:gd name="connsiteX38" fmla="*/ 8605 w 10000"/>
                <a:gd name="connsiteY38" fmla="*/ 2392 h 10000"/>
                <a:gd name="connsiteX39" fmla="*/ 8740 w 10000"/>
                <a:gd name="connsiteY39" fmla="*/ 2588 h 10000"/>
                <a:gd name="connsiteX40" fmla="*/ 9419 w 10000"/>
                <a:gd name="connsiteY40" fmla="*/ 2588 h 10000"/>
                <a:gd name="connsiteX41" fmla="*/ 9496 w 10000"/>
                <a:gd name="connsiteY41" fmla="*/ 2706 h 10000"/>
                <a:gd name="connsiteX42" fmla="*/ 9574 w 10000"/>
                <a:gd name="connsiteY42" fmla="*/ 2863 h 10000"/>
                <a:gd name="connsiteX43" fmla="*/ 9167 w 10000"/>
                <a:gd name="connsiteY43" fmla="*/ 3392 h 10000"/>
                <a:gd name="connsiteX44" fmla="*/ 9244 w 10000"/>
                <a:gd name="connsiteY44" fmla="*/ 3627 h 10000"/>
                <a:gd name="connsiteX45" fmla="*/ 9283 w 10000"/>
                <a:gd name="connsiteY45" fmla="*/ 3745 h 10000"/>
                <a:gd name="connsiteX46" fmla="*/ 9302 w 10000"/>
                <a:gd name="connsiteY46" fmla="*/ 3863 h 10000"/>
                <a:gd name="connsiteX47" fmla="*/ 9961 w 10000"/>
                <a:gd name="connsiteY47" fmla="*/ 4059 h 10000"/>
                <a:gd name="connsiteX48" fmla="*/ 10000 w 10000"/>
                <a:gd name="connsiteY48" fmla="*/ 4392 h 10000"/>
                <a:gd name="connsiteX49" fmla="*/ 9438 w 10000"/>
                <a:gd name="connsiteY49" fmla="*/ 4765 h 10000"/>
                <a:gd name="connsiteX50" fmla="*/ 9457 w 10000"/>
                <a:gd name="connsiteY50" fmla="*/ 5000 h 10000"/>
                <a:gd name="connsiteX51" fmla="*/ 9438 w 10000"/>
                <a:gd name="connsiteY51" fmla="*/ 5235 h 10000"/>
                <a:gd name="connsiteX52" fmla="*/ 10000 w 10000"/>
                <a:gd name="connsiteY52" fmla="*/ 5627 h 10000"/>
                <a:gd name="connsiteX53" fmla="*/ 9981 w 10000"/>
                <a:gd name="connsiteY53" fmla="*/ 5784 h 10000"/>
                <a:gd name="connsiteX54" fmla="*/ 9961 w 10000"/>
                <a:gd name="connsiteY54" fmla="*/ 5941 h 10000"/>
                <a:gd name="connsiteX55" fmla="*/ 9302 w 10000"/>
                <a:gd name="connsiteY55" fmla="*/ 6157 h 10000"/>
                <a:gd name="connsiteX56" fmla="*/ 9244 w 10000"/>
                <a:gd name="connsiteY56" fmla="*/ 6392 h 10000"/>
                <a:gd name="connsiteX57" fmla="*/ 9205 w 10000"/>
                <a:gd name="connsiteY57" fmla="*/ 6490 h 10000"/>
                <a:gd name="connsiteX58" fmla="*/ 9167 w 10000"/>
                <a:gd name="connsiteY58" fmla="*/ 6608 h 10000"/>
                <a:gd name="connsiteX59" fmla="*/ 9574 w 10000"/>
                <a:gd name="connsiteY59" fmla="*/ 7157 h 10000"/>
                <a:gd name="connsiteX60" fmla="*/ 9496 w 10000"/>
                <a:gd name="connsiteY60" fmla="*/ 7294 h 10000"/>
                <a:gd name="connsiteX61" fmla="*/ 9419 w 10000"/>
                <a:gd name="connsiteY61" fmla="*/ 7431 h 10000"/>
                <a:gd name="connsiteX62" fmla="*/ 8740 w 10000"/>
                <a:gd name="connsiteY62" fmla="*/ 7412 h 10000"/>
                <a:gd name="connsiteX63" fmla="*/ 8605 w 10000"/>
                <a:gd name="connsiteY63" fmla="*/ 7627 h 10000"/>
                <a:gd name="connsiteX64" fmla="*/ 8547 w 10000"/>
                <a:gd name="connsiteY64" fmla="*/ 7706 h 10000"/>
                <a:gd name="connsiteX65" fmla="*/ 8469 w 10000"/>
                <a:gd name="connsiteY65" fmla="*/ 7804 h 10000"/>
                <a:gd name="connsiteX66" fmla="*/ 8682 w 10000"/>
                <a:gd name="connsiteY66" fmla="*/ 8451 h 10000"/>
                <a:gd name="connsiteX67" fmla="*/ 8566 w 10000"/>
                <a:gd name="connsiteY67" fmla="*/ 8569 h 10000"/>
                <a:gd name="connsiteX68" fmla="*/ 8450 w 10000"/>
                <a:gd name="connsiteY68" fmla="*/ 8686 h 10000"/>
                <a:gd name="connsiteX69" fmla="*/ 7810 w 10000"/>
                <a:gd name="connsiteY69" fmla="*/ 8471 h 10000"/>
                <a:gd name="connsiteX70" fmla="*/ 7616 w 10000"/>
                <a:gd name="connsiteY70" fmla="*/ 8608 h 10000"/>
                <a:gd name="connsiteX71" fmla="*/ 7442 w 10000"/>
                <a:gd name="connsiteY71" fmla="*/ 8745 h 10000"/>
                <a:gd name="connsiteX72" fmla="*/ 7442 w 10000"/>
                <a:gd name="connsiteY72" fmla="*/ 9412 h 10000"/>
                <a:gd name="connsiteX73" fmla="*/ 7287 w 10000"/>
                <a:gd name="connsiteY73" fmla="*/ 9510 h 10000"/>
                <a:gd name="connsiteX74" fmla="*/ 7151 w 10000"/>
                <a:gd name="connsiteY74" fmla="*/ 9569 h 10000"/>
                <a:gd name="connsiteX75" fmla="*/ 6609 w 10000"/>
                <a:gd name="connsiteY75" fmla="*/ 9157 h 10000"/>
                <a:gd name="connsiteX76" fmla="*/ 6395 w 10000"/>
                <a:gd name="connsiteY76" fmla="*/ 9235 h 10000"/>
                <a:gd name="connsiteX77" fmla="*/ 6279 w 10000"/>
                <a:gd name="connsiteY77" fmla="*/ 9275 h 10000"/>
                <a:gd name="connsiteX78" fmla="*/ 6163 w 10000"/>
                <a:gd name="connsiteY78" fmla="*/ 9314 h 10000"/>
                <a:gd name="connsiteX79" fmla="*/ 5950 w 10000"/>
                <a:gd name="connsiteY79" fmla="*/ 9961 h 10000"/>
                <a:gd name="connsiteX80" fmla="*/ 5640 w 10000"/>
                <a:gd name="connsiteY80" fmla="*/ 10000 h 10000"/>
                <a:gd name="connsiteX81" fmla="*/ 5252 w 10000"/>
                <a:gd name="connsiteY81" fmla="*/ 9451 h 10000"/>
                <a:gd name="connsiteX82" fmla="*/ 5019 w 10000"/>
                <a:gd name="connsiteY82" fmla="*/ 9451 h 10000"/>
                <a:gd name="connsiteX83" fmla="*/ 4767 w 10000"/>
                <a:gd name="connsiteY83" fmla="*/ 9451 h 10000"/>
                <a:gd name="connsiteX84" fmla="*/ 4380 w 10000"/>
                <a:gd name="connsiteY84" fmla="*/ 10000 h 10000"/>
                <a:gd name="connsiteX85" fmla="*/ 4225 w 10000"/>
                <a:gd name="connsiteY85" fmla="*/ 9980 h 10000"/>
                <a:gd name="connsiteX86" fmla="*/ 4070 w 10000"/>
                <a:gd name="connsiteY86" fmla="*/ 9961 h 10000"/>
                <a:gd name="connsiteX87" fmla="*/ 3857 w 10000"/>
                <a:gd name="connsiteY87" fmla="*/ 9314 h 10000"/>
                <a:gd name="connsiteX88" fmla="*/ 3624 w 10000"/>
                <a:gd name="connsiteY88" fmla="*/ 9235 h 10000"/>
                <a:gd name="connsiteX89" fmla="*/ 3508 w 10000"/>
                <a:gd name="connsiteY89" fmla="*/ 9216 h 10000"/>
                <a:gd name="connsiteX90" fmla="*/ 3411 w 10000"/>
                <a:gd name="connsiteY90" fmla="*/ 9157 h 10000"/>
                <a:gd name="connsiteX91" fmla="*/ 2868 w 10000"/>
                <a:gd name="connsiteY91" fmla="*/ 9569 h 10000"/>
                <a:gd name="connsiteX92" fmla="*/ 2733 w 10000"/>
                <a:gd name="connsiteY92" fmla="*/ 9510 h 10000"/>
                <a:gd name="connsiteX93" fmla="*/ 2578 w 10000"/>
                <a:gd name="connsiteY93" fmla="*/ 9412 h 10000"/>
                <a:gd name="connsiteX94" fmla="*/ 2597 w 10000"/>
                <a:gd name="connsiteY94" fmla="*/ 8745 h 10000"/>
                <a:gd name="connsiteX95" fmla="*/ 2403 w 10000"/>
                <a:gd name="connsiteY95" fmla="*/ 8608 h 10000"/>
                <a:gd name="connsiteX96" fmla="*/ 2306 w 10000"/>
                <a:gd name="connsiteY96" fmla="*/ 8529 h 10000"/>
                <a:gd name="connsiteX97" fmla="*/ 2209 w 10000"/>
                <a:gd name="connsiteY97" fmla="*/ 8471 h 10000"/>
                <a:gd name="connsiteX98" fmla="*/ 1570 w 10000"/>
                <a:gd name="connsiteY98" fmla="*/ 8686 h 10000"/>
                <a:gd name="connsiteX99" fmla="*/ 1453 w 10000"/>
                <a:gd name="connsiteY99" fmla="*/ 8569 h 10000"/>
                <a:gd name="connsiteX100" fmla="*/ 1337 w 10000"/>
                <a:gd name="connsiteY100" fmla="*/ 8451 h 10000"/>
                <a:gd name="connsiteX101" fmla="*/ 1550 w 10000"/>
                <a:gd name="connsiteY101" fmla="*/ 7804 h 10000"/>
                <a:gd name="connsiteX102" fmla="*/ 1415 w 10000"/>
                <a:gd name="connsiteY102" fmla="*/ 7627 h 10000"/>
                <a:gd name="connsiteX103" fmla="*/ 1279 w 10000"/>
                <a:gd name="connsiteY103" fmla="*/ 7412 h 10000"/>
                <a:gd name="connsiteX104" fmla="*/ 601 w 10000"/>
                <a:gd name="connsiteY104" fmla="*/ 7431 h 10000"/>
                <a:gd name="connsiteX105" fmla="*/ 523 w 10000"/>
                <a:gd name="connsiteY105" fmla="*/ 7294 h 10000"/>
                <a:gd name="connsiteX106" fmla="*/ 446 w 10000"/>
                <a:gd name="connsiteY106" fmla="*/ 7157 h 10000"/>
                <a:gd name="connsiteX107" fmla="*/ 853 w 10000"/>
                <a:gd name="connsiteY107" fmla="*/ 6608 h 10000"/>
                <a:gd name="connsiteX108" fmla="*/ 775 w 10000"/>
                <a:gd name="connsiteY108" fmla="*/ 6392 h 10000"/>
                <a:gd name="connsiteX109" fmla="*/ 756 w 10000"/>
                <a:gd name="connsiteY109" fmla="*/ 6275 h 10000"/>
                <a:gd name="connsiteX110" fmla="*/ 717 w 10000"/>
                <a:gd name="connsiteY110" fmla="*/ 6157 h 10000"/>
                <a:gd name="connsiteX111" fmla="*/ 58 w 10000"/>
                <a:gd name="connsiteY111" fmla="*/ 5941 h 10000"/>
                <a:gd name="connsiteX112" fmla="*/ 0 w 10000"/>
                <a:gd name="connsiteY112" fmla="*/ 5627 h 10000"/>
                <a:gd name="connsiteX113" fmla="*/ 581 w 10000"/>
                <a:gd name="connsiteY113" fmla="*/ 5235 h 10000"/>
                <a:gd name="connsiteX114" fmla="*/ 562 w 10000"/>
                <a:gd name="connsiteY114" fmla="*/ 5000 h 10000"/>
                <a:gd name="connsiteX115" fmla="*/ 581 w 10000"/>
                <a:gd name="connsiteY115" fmla="*/ 4765 h 10000"/>
                <a:gd name="connsiteX116" fmla="*/ 0 w 10000"/>
                <a:gd name="connsiteY116" fmla="*/ 4392 h 10000"/>
                <a:gd name="connsiteX117" fmla="*/ 19 w 10000"/>
                <a:gd name="connsiteY117" fmla="*/ 4216 h 10000"/>
                <a:gd name="connsiteX118" fmla="*/ 58 w 10000"/>
                <a:gd name="connsiteY118" fmla="*/ 4059 h 10000"/>
                <a:gd name="connsiteX119" fmla="*/ 717 w 10000"/>
                <a:gd name="connsiteY119" fmla="*/ 3863 h 10000"/>
                <a:gd name="connsiteX120" fmla="*/ 775 w 10000"/>
                <a:gd name="connsiteY120" fmla="*/ 3627 h 10000"/>
                <a:gd name="connsiteX121" fmla="*/ 814 w 10000"/>
                <a:gd name="connsiteY121" fmla="*/ 3510 h 10000"/>
                <a:gd name="connsiteX122" fmla="*/ 853 w 10000"/>
                <a:gd name="connsiteY122" fmla="*/ 3392 h 10000"/>
                <a:gd name="connsiteX123" fmla="*/ 446 w 10000"/>
                <a:gd name="connsiteY123" fmla="*/ 2863 h 10000"/>
                <a:gd name="connsiteX124" fmla="*/ 523 w 10000"/>
                <a:gd name="connsiteY124" fmla="*/ 2706 h 10000"/>
                <a:gd name="connsiteX125" fmla="*/ 601 w 10000"/>
                <a:gd name="connsiteY125" fmla="*/ 2588 h 10000"/>
                <a:gd name="connsiteX126" fmla="*/ 1279 w 10000"/>
                <a:gd name="connsiteY126" fmla="*/ 2588 h 10000"/>
                <a:gd name="connsiteX0" fmla="*/ 1415 w 10000"/>
                <a:gd name="connsiteY0" fmla="*/ 2392 h 10000"/>
                <a:gd name="connsiteX1" fmla="*/ 1337 w 10000"/>
                <a:gd name="connsiteY1" fmla="*/ 1569 h 10000"/>
                <a:gd name="connsiteX2" fmla="*/ 1453 w 10000"/>
                <a:gd name="connsiteY2" fmla="*/ 1451 h 10000"/>
                <a:gd name="connsiteX3" fmla="*/ 1570 w 10000"/>
                <a:gd name="connsiteY3" fmla="*/ 1333 h 10000"/>
                <a:gd name="connsiteX4" fmla="*/ 2209 w 10000"/>
                <a:gd name="connsiteY4" fmla="*/ 1549 h 10000"/>
                <a:gd name="connsiteX5" fmla="*/ 2403 w 10000"/>
                <a:gd name="connsiteY5" fmla="*/ 1412 h 10000"/>
                <a:gd name="connsiteX6" fmla="*/ 2597 w 10000"/>
                <a:gd name="connsiteY6" fmla="*/ 1275 h 10000"/>
                <a:gd name="connsiteX7" fmla="*/ 2578 w 10000"/>
                <a:gd name="connsiteY7" fmla="*/ 588 h 10000"/>
                <a:gd name="connsiteX8" fmla="*/ 2733 w 10000"/>
                <a:gd name="connsiteY8" fmla="*/ 510 h 10000"/>
                <a:gd name="connsiteX9" fmla="*/ 2868 w 10000"/>
                <a:gd name="connsiteY9" fmla="*/ 451 h 10000"/>
                <a:gd name="connsiteX10" fmla="*/ 3411 w 10000"/>
                <a:gd name="connsiteY10" fmla="*/ 843 h 10000"/>
                <a:gd name="connsiteX11" fmla="*/ 3624 w 10000"/>
                <a:gd name="connsiteY11" fmla="*/ 765 h 10000"/>
                <a:gd name="connsiteX12" fmla="*/ 3740 w 10000"/>
                <a:gd name="connsiteY12" fmla="*/ 725 h 10000"/>
                <a:gd name="connsiteX13" fmla="*/ 3857 w 10000"/>
                <a:gd name="connsiteY13" fmla="*/ 706 h 10000"/>
                <a:gd name="connsiteX14" fmla="*/ 4070 w 10000"/>
                <a:gd name="connsiteY14" fmla="*/ 59 h 10000"/>
                <a:gd name="connsiteX15" fmla="*/ 4380 w 10000"/>
                <a:gd name="connsiteY15" fmla="*/ 0 h 10000"/>
                <a:gd name="connsiteX16" fmla="*/ 4767 w 10000"/>
                <a:gd name="connsiteY16" fmla="*/ 569 h 10000"/>
                <a:gd name="connsiteX17" fmla="*/ 5019 w 10000"/>
                <a:gd name="connsiteY17" fmla="*/ 549 h 10000"/>
                <a:gd name="connsiteX18" fmla="*/ 5252 w 10000"/>
                <a:gd name="connsiteY18" fmla="*/ 569 h 10000"/>
                <a:gd name="connsiteX19" fmla="*/ 5640 w 10000"/>
                <a:gd name="connsiteY19" fmla="*/ 0 h 10000"/>
                <a:gd name="connsiteX20" fmla="*/ 5795 w 10000"/>
                <a:gd name="connsiteY20" fmla="*/ 20 h 10000"/>
                <a:gd name="connsiteX21" fmla="*/ 5950 w 10000"/>
                <a:gd name="connsiteY21" fmla="*/ 59 h 10000"/>
                <a:gd name="connsiteX22" fmla="*/ 6163 w 10000"/>
                <a:gd name="connsiteY22" fmla="*/ 706 h 10000"/>
                <a:gd name="connsiteX23" fmla="*/ 6395 w 10000"/>
                <a:gd name="connsiteY23" fmla="*/ 765 h 10000"/>
                <a:gd name="connsiteX24" fmla="*/ 6492 w 10000"/>
                <a:gd name="connsiteY24" fmla="*/ 804 h 10000"/>
                <a:gd name="connsiteX25" fmla="*/ 6609 w 10000"/>
                <a:gd name="connsiteY25" fmla="*/ 843 h 10000"/>
                <a:gd name="connsiteX26" fmla="*/ 7151 w 10000"/>
                <a:gd name="connsiteY26" fmla="*/ 451 h 10000"/>
                <a:gd name="connsiteX27" fmla="*/ 7287 w 10000"/>
                <a:gd name="connsiteY27" fmla="*/ 510 h 10000"/>
                <a:gd name="connsiteX28" fmla="*/ 7442 w 10000"/>
                <a:gd name="connsiteY28" fmla="*/ 588 h 10000"/>
                <a:gd name="connsiteX29" fmla="*/ 7442 w 10000"/>
                <a:gd name="connsiteY29" fmla="*/ 1275 h 10000"/>
                <a:gd name="connsiteX30" fmla="*/ 7616 w 10000"/>
                <a:gd name="connsiteY30" fmla="*/ 1412 h 10000"/>
                <a:gd name="connsiteX31" fmla="*/ 7713 w 10000"/>
                <a:gd name="connsiteY31" fmla="*/ 1471 h 10000"/>
                <a:gd name="connsiteX32" fmla="*/ 7810 w 10000"/>
                <a:gd name="connsiteY32" fmla="*/ 1549 h 10000"/>
                <a:gd name="connsiteX33" fmla="*/ 8450 w 10000"/>
                <a:gd name="connsiteY33" fmla="*/ 1333 h 10000"/>
                <a:gd name="connsiteX34" fmla="*/ 8566 w 10000"/>
                <a:gd name="connsiteY34" fmla="*/ 1451 h 10000"/>
                <a:gd name="connsiteX35" fmla="*/ 8682 w 10000"/>
                <a:gd name="connsiteY35" fmla="*/ 1569 h 10000"/>
                <a:gd name="connsiteX36" fmla="*/ 8469 w 10000"/>
                <a:gd name="connsiteY36" fmla="*/ 2216 h 10000"/>
                <a:gd name="connsiteX37" fmla="*/ 8605 w 10000"/>
                <a:gd name="connsiteY37" fmla="*/ 2392 h 10000"/>
                <a:gd name="connsiteX38" fmla="*/ 8740 w 10000"/>
                <a:gd name="connsiteY38" fmla="*/ 2588 h 10000"/>
                <a:gd name="connsiteX39" fmla="*/ 9419 w 10000"/>
                <a:gd name="connsiteY39" fmla="*/ 2588 h 10000"/>
                <a:gd name="connsiteX40" fmla="*/ 9496 w 10000"/>
                <a:gd name="connsiteY40" fmla="*/ 2706 h 10000"/>
                <a:gd name="connsiteX41" fmla="*/ 9574 w 10000"/>
                <a:gd name="connsiteY41" fmla="*/ 2863 h 10000"/>
                <a:gd name="connsiteX42" fmla="*/ 9167 w 10000"/>
                <a:gd name="connsiteY42" fmla="*/ 3392 h 10000"/>
                <a:gd name="connsiteX43" fmla="*/ 9244 w 10000"/>
                <a:gd name="connsiteY43" fmla="*/ 3627 h 10000"/>
                <a:gd name="connsiteX44" fmla="*/ 9283 w 10000"/>
                <a:gd name="connsiteY44" fmla="*/ 3745 h 10000"/>
                <a:gd name="connsiteX45" fmla="*/ 9302 w 10000"/>
                <a:gd name="connsiteY45" fmla="*/ 3863 h 10000"/>
                <a:gd name="connsiteX46" fmla="*/ 9961 w 10000"/>
                <a:gd name="connsiteY46" fmla="*/ 4059 h 10000"/>
                <a:gd name="connsiteX47" fmla="*/ 10000 w 10000"/>
                <a:gd name="connsiteY47" fmla="*/ 4392 h 10000"/>
                <a:gd name="connsiteX48" fmla="*/ 9438 w 10000"/>
                <a:gd name="connsiteY48" fmla="*/ 4765 h 10000"/>
                <a:gd name="connsiteX49" fmla="*/ 9457 w 10000"/>
                <a:gd name="connsiteY49" fmla="*/ 5000 h 10000"/>
                <a:gd name="connsiteX50" fmla="*/ 9438 w 10000"/>
                <a:gd name="connsiteY50" fmla="*/ 5235 h 10000"/>
                <a:gd name="connsiteX51" fmla="*/ 10000 w 10000"/>
                <a:gd name="connsiteY51" fmla="*/ 5627 h 10000"/>
                <a:gd name="connsiteX52" fmla="*/ 9981 w 10000"/>
                <a:gd name="connsiteY52" fmla="*/ 5784 h 10000"/>
                <a:gd name="connsiteX53" fmla="*/ 9961 w 10000"/>
                <a:gd name="connsiteY53" fmla="*/ 5941 h 10000"/>
                <a:gd name="connsiteX54" fmla="*/ 9302 w 10000"/>
                <a:gd name="connsiteY54" fmla="*/ 6157 h 10000"/>
                <a:gd name="connsiteX55" fmla="*/ 9244 w 10000"/>
                <a:gd name="connsiteY55" fmla="*/ 6392 h 10000"/>
                <a:gd name="connsiteX56" fmla="*/ 9205 w 10000"/>
                <a:gd name="connsiteY56" fmla="*/ 6490 h 10000"/>
                <a:gd name="connsiteX57" fmla="*/ 9167 w 10000"/>
                <a:gd name="connsiteY57" fmla="*/ 6608 h 10000"/>
                <a:gd name="connsiteX58" fmla="*/ 9574 w 10000"/>
                <a:gd name="connsiteY58" fmla="*/ 7157 h 10000"/>
                <a:gd name="connsiteX59" fmla="*/ 9496 w 10000"/>
                <a:gd name="connsiteY59" fmla="*/ 7294 h 10000"/>
                <a:gd name="connsiteX60" fmla="*/ 9419 w 10000"/>
                <a:gd name="connsiteY60" fmla="*/ 7431 h 10000"/>
                <a:gd name="connsiteX61" fmla="*/ 8740 w 10000"/>
                <a:gd name="connsiteY61" fmla="*/ 7412 h 10000"/>
                <a:gd name="connsiteX62" fmla="*/ 8605 w 10000"/>
                <a:gd name="connsiteY62" fmla="*/ 7627 h 10000"/>
                <a:gd name="connsiteX63" fmla="*/ 8547 w 10000"/>
                <a:gd name="connsiteY63" fmla="*/ 7706 h 10000"/>
                <a:gd name="connsiteX64" fmla="*/ 8469 w 10000"/>
                <a:gd name="connsiteY64" fmla="*/ 7804 h 10000"/>
                <a:gd name="connsiteX65" fmla="*/ 8682 w 10000"/>
                <a:gd name="connsiteY65" fmla="*/ 8451 h 10000"/>
                <a:gd name="connsiteX66" fmla="*/ 8566 w 10000"/>
                <a:gd name="connsiteY66" fmla="*/ 8569 h 10000"/>
                <a:gd name="connsiteX67" fmla="*/ 8450 w 10000"/>
                <a:gd name="connsiteY67" fmla="*/ 8686 h 10000"/>
                <a:gd name="connsiteX68" fmla="*/ 7810 w 10000"/>
                <a:gd name="connsiteY68" fmla="*/ 8471 h 10000"/>
                <a:gd name="connsiteX69" fmla="*/ 7616 w 10000"/>
                <a:gd name="connsiteY69" fmla="*/ 8608 h 10000"/>
                <a:gd name="connsiteX70" fmla="*/ 7442 w 10000"/>
                <a:gd name="connsiteY70" fmla="*/ 8745 h 10000"/>
                <a:gd name="connsiteX71" fmla="*/ 7442 w 10000"/>
                <a:gd name="connsiteY71" fmla="*/ 9412 h 10000"/>
                <a:gd name="connsiteX72" fmla="*/ 7287 w 10000"/>
                <a:gd name="connsiteY72" fmla="*/ 9510 h 10000"/>
                <a:gd name="connsiteX73" fmla="*/ 7151 w 10000"/>
                <a:gd name="connsiteY73" fmla="*/ 9569 h 10000"/>
                <a:gd name="connsiteX74" fmla="*/ 6609 w 10000"/>
                <a:gd name="connsiteY74" fmla="*/ 9157 h 10000"/>
                <a:gd name="connsiteX75" fmla="*/ 6395 w 10000"/>
                <a:gd name="connsiteY75" fmla="*/ 9235 h 10000"/>
                <a:gd name="connsiteX76" fmla="*/ 6279 w 10000"/>
                <a:gd name="connsiteY76" fmla="*/ 9275 h 10000"/>
                <a:gd name="connsiteX77" fmla="*/ 6163 w 10000"/>
                <a:gd name="connsiteY77" fmla="*/ 9314 h 10000"/>
                <a:gd name="connsiteX78" fmla="*/ 5950 w 10000"/>
                <a:gd name="connsiteY78" fmla="*/ 9961 h 10000"/>
                <a:gd name="connsiteX79" fmla="*/ 5640 w 10000"/>
                <a:gd name="connsiteY79" fmla="*/ 10000 h 10000"/>
                <a:gd name="connsiteX80" fmla="*/ 5252 w 10000"/>
                <a:gd name="connsiteY80" fmla="*/ 9451 h 10000"/>
                <a:gd name="connsiteX81" fmla="*/ 5019 w 10000"/>
                <a:gd name="connsiteY81" fmla="*/ 9451 h 10000"/>
                <a:gd name="connsiteX82" fmla="*/ 4767 w 10000"/>
                <a:gd name="connsiteY82" fmla="*/ 9451 h 10000"/>
                <a:gd name="connsiteX83" fmla="*/ 4380 w 10000"/>
                <a:gd name="connsiteY83" fmla="*/ 10000 h 10000"/>
                <a:gd name="connsiteX84" fmla="*/ 4225 w 10000"/>
                <a:gd name="connsiteY84" fmla="*/ 9980 h 10000"/>
                <a:gd name="connsiteX85" fmla="*/ 4070 w 10000"/>
                <a:gd name="connsiteY85" fmla="*/ 9961 h 10000"/>
                <a:gd name="connsiteX86" fmla="*/ 3857 w 10000"/>
                <a:gd name="connsiteY86" fmla="*/ 9314 h 10000"/>
                <a:gd name="connsiteX87" fmla="*/ 3624 w 10000"/>
                <a:gd name="connsiteY87" fmla="*/ 9235 h 10000"/>
                <a:gd name="connsiteX88" fmla="*/ 3508 w 10000"/>
                <a:gd name="connsiteY88" fmla="*/ 9216 h 10000"/>
                <a:gd name="connsiteX89" fmla="*/ 3411 w 10000"/>
                <a:gd name="connsiteY89" fmla="*/ 9157 h 10000"/>
                <a:gd name="connsiteX90" fmla="*/ 2868 w 10000"/>
                <a:gd name="connsiteY90" fmla="*/ 9569 h 10000"/>
                <a:gd name="connsiteX91" fmla="*/ 2733 w 10000"/>
                <a:gd name="connsiteY91" fmla="*/ 9510 h 10000"/>
                <a:gd name="connsiteX92" fmla="*/ 2578 w 10000"/>
                <a:gd name="connsiteY92" fmla="*/ 9412 h 10000"/>
                <a:gd name="connsiteX93" fmla="*/ 2597 w 10000"/>
                <a:gd name="connsiteY93" fmla="*/ 8745 h 10000"/>
                <a:gd name="connsiteX94" fmla="*/ 2403 w 10000"/>
                <a:gd name="connsiteY94" fmla="*/ 8608 h 10000"/>
                <a:gd name="connsiteX95" fmla="*/ 2306 w 10000"/>
                <a:gd name="connsiteY95" fmla="*/ 8529 h 10000"/>
                <a:gd name="connsiteX96" fmla="*/ 2209 w 10000"/>
                <a:gd name="connsiteY96" fmla="*/ 8471 h 10000"/>
                <a:gd name="connsiteX97" fmla="*/ 1570 w 10000"/>
                <a:gd name="connsiteY97" fmla="*/ 8686 h 10000"/>
                <a:gd name="connsiteX98" fmla="*/ 1453 w 10000"/>
                <a:gd name="connsiteY98" fmla="*/ 8569 h 10000"/>
                <a:gd name="connsiteX99" fmla="*/ 1337 w 10000"/>
                <a:gd name="connsiteY99" fmla="*/ 8451 h 10000"/>
                <a:gd name="connsiteX100" fmla="*/ 1550 w 10000"/>
                <a:gd name="connsiteY100" fmla="*/ 7804 h 10000"/>
                <a:gd name="connsiteX101" fmla="*/ 1415 w 10000"/>
                <a:gd name="connsiteY101" fmla="*/ 7627 h 10000"/>
                <a:gd name="connsiteX102" fmla="*/ 1279 w 10000"/>
                <a:gd name="connsiteY102" fmla="*/ 7412 h 10000"/>
                <a:gd name="connsiteX103" fmla="*/ 601 w 10000"/>
                <a:gd name="connsiteY103" fmla="*/ 7431 h 10000"/>
                <a:gd name="connsiteX104" fmla="*/ 523 w 10000"/>
                <a:gd name="connsiteY104" fmla="*/ 7294 h 10000"/>
                <a:gd name="connsiteX105" fmla="*/ 446 w 10000"/>
                <a:gd name="connsiteY105" fmla="*/ 7157 h 10000"/>
                <a:gd name="connsiteX106" fmla="*/ 853 w 10000"/>
                <a:gd name="connsiteY106" fmla="*/ 6608 h 10000"/>
                <a:gd name="connsiteX107" fmla="*/ 775 w 10000"/>
                <a:gd name="connsiteY107" fmla="*/ 6392 h 10000"/>
                <a:gd name="connsiteX108" fmla="*/ 756 w 10000"/>
                <a:gd name="connsiteY108" fmla="*/ 6275 h 10000"/>
                <a:gd name="connsiteX109" fmla="*/ 717 w 10000"/>
                <a:gd name="connsiteY109" fmla="*/ 6157 h 10000"/>
                <a:gd name="connsiteX110" fmla="*/ 58 w 10000"/>
                <a:gd name="connsiteY110" fmla="*/ 5941 h 10000"/>
                <a:gd name="connsiteX111" fmla="*/ 0 w 10000"/>
                <a:gd name="connsiteY111" fmla="*/ 5627 h 10000"/>
                <a:gd name="connsiteX112" fmla="*/ 581 w 10000"/>
                <a:gd name="connsiteY112" fmla="*/ 5235 h 10000"/>
                <a:gd name="connsiteX113" fmla="*/ 562 w 10000"/>
                <a:gd name="connsiteY113" fmla="*/ 5000 h 10000"/>
                <a:gd name="connsiteX114" fmla="*/ 581 w 10000"/>
                <a:gd name="connsiteY114" fmla="*/ 4765 h 10000"/>
                <a:gd name="connsiteX115" fmla="*/ 0 w 10000"/>
                <a:gd name="connsiteY115" fmla="*/ 4392 h 10000"/>
                <a:gd name="connsiteX116" fmla="*/ 19 w 10000"/>
                <a:gd name="connsiteY116" fmla="*/ 4216 h 10000"/>
                <a:gd name="connsiteX117" fmla="*/ 58 w 10000"/>
                <a:gd name="connsiteY117" fmla="*/ 4059 h 10000"/>
                <a:gd name="connsiteX118" fmla="*/ 717 w 10000"/>
                <a:gd name="connsiteY118" fmla="*/ 3863 h 10000"/>
                <a:gd name="connsiteX119" fmla="*/ 775 w 10000"/>
                <a:gd name="connsiteY119" fmla="*/ 3627 h 10000"/>
                <a:gd name="connsiteX120" fmla="*/ 814 w 10000"/>
                <a:gd name="connsiteY120" fmla="*/ 3510 h 10000"/>
                <a:gd name="connsiteX121" fmla="*/ 853 w 10000"/>
                <a:gd name="connsiteY121" fmla="*/ 3392 h 10000"/>
                <a:gd name="connsiteX122" fmla="*/ 446 w 10000"/>
                <a:gd name="connsiteY122" fmla="*/ 2863 h 10000"/>
                <a:gd name="connsiteX123" fmla="*/ 523 w 10000"/>
                <a:gd name="connsiteY123" fmla="*/ 2706 h 10000"/>
                <a:gd name="connsiteX124" fmla="*/ 601 w 10000"/>
                <a:gd name="connsiteY124" fmla="*/ 2588 h 10000"/>
                <a:gd name="connsiteX125" fmla="*/ 1279 w 10000"/>
                <a:gd name="connsiteY125" fmla="*/ 2588 h 10000"/>
                <a:gd name="connsiteX0" fmla="*/ 1415 w 10000"/>
                <a:gd name="connsiteY0" fmla="*/ 2392 h 10000"/>
                <a:gd name="connsiteX1" fmla="*/ 1337 w 10000"/>
                <a:gd name="connsiteY1" fmla="*/ 1569 h 10000"/>
                <a:gd name="connsiteX2" fmla="*/ 1570 w 10000"/>
                <a:gd name="connsiteY2" fmla="*/ 1333 h 10000"/>
                <a:gd name="connsiteX3" fmla="*/ 2209 w 10000"/>
                <a:gd name="connsiteY3" fmla="*/ 1549 h 10000"/>
                <a:gd name="connsiteX4" fmla="*/ 2403 w 10000"/>
                <a:gd name="connsiteY4" fmla="*/ 1412 h 10000"/>
                <a:gd name="connsiteX5" fmla="*/ 2597 w 10000"/>
                <a:gd name="connsiteY5" fmla="*/ 1275 h 10000"/>
                <a:gd name="connsiteX6" fmla="*/ 2578 w 10000"/>
                <a:gd name="connsiteY6" fmla="*/ 588 h 10000"/>
                <a:gd name="connsiteX7" fmla="*/ 2733 w 10000"/>
                <a:gd name="connsiteY7" fmla="*/ 510 h 10000"/>
                <a:gd name="connsiteX8" fmla="*/ 2868 w 10000"/>
                <a:gd name="connsiteY8" fmla="*/ 451 h 10000"/>
                <a:gd name="connsiteX9" fmla="*/ 3411 w 10000"/>
                <a:gd name="connsiteY9" fmla="*/ 843 h 10000"/>
                <a:gd name="connsiteX10" fmla="*/ 3624 w 10000"/>
                <a:gd name="connsiteY10" fmla="*/ 765 h 10000"/>
                <a:gd name="connsiteX11" fmla="*/ 3740 w 10000"/>
                <a:gd name="connsiteY11" fmla="*/ 725 h 10000"/>
                <a:gd name="connsiteX12" fmla="*/ 3857 w 10000"/>
                <a:gd name="connsiteY12" fmla="*/ 706 h 10000"/>
                <a:gd name="connsiteX13" fmla="*/ 4070 w 10000"/>
                <a:gd name="connsiteY13" fmla="*/ 59 h 10000"/>
                <a:gd name="connsiteX14" fmla="*/ 4380 w 10000"/>
                <a:gd name="connsiteY14" fmla="*/ 0 h 10000"/>
                <a:gd name="connsiteX15" fmla="*/ 4767 w 10000"/>
                <a:gd name="connsiteY15" fmla="*/ 569 h 10000"/>
                <a:gd name="connsiteX16" fmla="*/ 5019 w 10000"/>
                <a:gd name="connsiteY16" fmla="*/ 549 h 10000"/>
                <a:gd name="connsiteX17" fmla="*/ 5252 w 10000"/>
                <a:gd name="connsiteY17" fmla="*/ 569 h 10000"/>
                <a:gd name="connsiteX18" fmla="*/ 5640 w 10000"/>
                <a:gd name="connsiteY18" fmla="*/ 0 h 10000"/>
                <a:gd name="connsiteX19" fmla="*/ 5795 w 10000"/>
                <a:gd name="connsiteY19" fmla="*/ 20 h 10000"/>
                <a:gd name="connsiteX20" fmla="*/ 5950 w 10000"/>
                <a:gd name="connsiteY20" fmla="*/ 59 h 10000"/>
                <a:gd name="connsiteX21" fmla="*/ 6163 w 10000"/>
                <a:gd name="connsiteY21" fmla="*/ 706 h 10000"/>
                <a:gd name="connsiteX22" fmla="*/ 6395 w 10000"/>
                <a:gd name="connsiteY22" fmla="*/ 765 h 10000"/>
                <a:gd name="connsiteX23" fmla="*/ 6492 w 10000"/>
                <a:gd name="connsiteY23" fmla="*/ 804 h 10000"/>
                <a:gd name="connsiteX24" fmla="*/ 6609 w 10000"/>
                <a:gd name="connsiteY24" fmla="*/ 843 h 10000"/>
                <a:gd name="connsiteX25" fmla="*/ 7151 w 10000"/>
                <a:gd name="connsiteY25" fmla="*/ 451 h 10000"/>
                <a:gd name="connsiteX26" fmla="*/ 7287 w 10000"/>
                <a:gd name="connsiteY26" fmla="*/ 510 h 10000"/>
                <a:gd name="connsiteX27" fmla="*/ 7442 w 10000"/>
                <a:gd name="connsiteY27" fmla="*/ 588 h 10000"/>
                <a:gd name="connsiteX28" fmla="*/ 7442 w 10000"/>
                <a:gd name="connsiteY28" fmla="*/ 1275 h 10000"/>
                <a:gd name="connsiteX29" fmla="*/ 7616 w 10000"/>
                <a:gd name="connsiteY29" fmla="*/ 1412 h 10000"/>
                <a:gd name="connsiteX30" fmla="*/ 7713 w 10000"/>
                <a:gd name="connsiteY30" fmla="*/ 1471 h 10000"/>
                <a:gd name="connsiteX31" fmla="*/ 7810 w 10000"/>
                <a:gd name="connsiteY31" fmla="*/ 1549 h 10000"/>
                <a:gd name="connsiteX32" fmla="*/ 8450 w 10000"/>
                <a:gd name="connsiteY32" fmla="*/ 1333 h 10000"/>
                <a:gd name="connsiteX33" fmla="*/ 8566 w 10000"/>
                <a:gd name="connsiteY33" fmla="*/ 1451 h 10000"/>
                <a:gd name="connsiteX34" fmla="*/ 8682 w 10000"/>
                <a:gd name="connsiteY34" fmla="*/ 1569 h 10000"/>
                <a:gd name="connsiteX35" fmla="*/ 8469 w 10000"/>
                <a:gd name="connsiteY35" fmla="*/ 2216 h 10000"/>
                <a:gd name="connsiteX36" fmla="*/ 8605 w 10000"/>
                <a:gd name="connsiteY36" fmla="*/ 2392 h 10000"/>
                <a:gd name="connsiteX37" fmla="*/ 8740 w 10000"/>
                <a:gd name="connsiteY37" fmla="*/ 2588 h 10000"/>
                <a:gd name="connsiteX38" fmla="*/ 9419 w 10000"/>
                <a:gd name="connsiteY38" fmla="*/ 2588 h 10000"/>
                <a:gd name="connsiteX39" fmla="*/ 9496 w 10000"/>
                <a:gd name="connsiteY39" fmla="*/ 2706 h 10000"/>
                <a:gd name="connsiteX40" fmla="*/ 9574 w 10000"/>
                <a:gd name="connsiteY40" fmla="*/ 2863 h 10000"/>
                <a:gd name="connsiteX41" fmla="*/ 9167 w 10000"/>
                <a:gd name="connsiteY41" fmla="*/ 3392 h 10000"/>
                <a:gd name="connsiteX42" fmla="*/ 9244 w 10000"/>
                <a:gd name="connsiteY42" fmla="*/ 3627 h 10000"/>
                <a:gd name="connsiteX43" fmla="*/ 9283 w 10000"/>
                <a:gd name="connsiteY43" fmla="*/ 3745 h 10000"/>
                <a:gd name="connsiteX44" fmla="*/ 9302 w 10000"/>
                <a:gd name="connsiteY44" fmla="*/ 3863 h 10000"/>
                <a:gd name="connsiteX45" fmla="*/ 9961 w 10000"/>
                <a:gd name="connsiteY45" fmla="*/ 4059 h 10000"/>
                <a:gd name="connsiteX46" fmla="*/ 10000 w 10000"/>
                <a:gd name="connsiteY46" fmla="*/ 4392 h 10000"/>
                <a:gd name="connsiteX47" fmla="*/ 9438 w 10000"/>
                <a:gd name="connsiteY47" fmla="*/ 4765 h 10000"/>
                <a:gd name="connsiteX48" fmla="*/ 9457 w 10000"/>
                <a:gd name="connsiteY48" fmla="*/ 5000 h 10000"/>
                <a:gd name="connsiteX49" fmla="*/ 9438 w 10000"/>
                <a:gd name="connsiteY49" fmla="*/ 5235 h 10000"/>
                <a:gd name="connsiteX50" fmla="*/ 10000 w 10000"/>
                <a:gd name="connsiteY50" fmla="*/ 5627 h 10000"/>
                <a:gd name="connsiteX51" fmla="*/ 9981 w 10000"/>
                <a:gd name="connsiteY51" fmla="*/ 5784 h 10000"/>
                <a:gd name="connsiteX52" fmla="*/ 9961 w 10000"/>
                <a:gd name="connsiteY52" fmla="*/ 5941 h 10000"/>
                <a:gd name="connsiteX53" fmla="*/ 9302 w 10000"/>
                <a:gd name="connsiteY53" fmla="*/ 6157 h 10000"/>
                <a:gd name="connsiteX54" fmla="*/ 9244 w 10000"/>
                <a:gd name="connsiteY54" fmla="*/ 6392 h 10000"/>
                <a:gd name="connsiteX55" fmla="*/ 9205 w 10000"/>
                <a:gd name="connsiteY55" fmla="*/ 6490 h 10000"/>
                <a:gd name="connsiteX56" fmla="*/ 9167 w 10000"/>
                <a:gd name="connsiteY56" fmla="*/ 6608 h 10000"/>
                <a:gd name="connsiteX57" fmla="*/ 9574 w 10000"/>
                <a:gd name="connsiteY57" fmla="*/ 7157 h 10000"/>
                <a:gd name="connsiteX58" fmla="*/ 9496 w 10000"/>
                <a:gd name="connsiteY58" fmla="*/ 7294 h 10000"/>
                <a:gd name="connsiteX59" fmla="*/ 9419 w 10000"/>
                <a:gd name="connsiteY59" fmla="*/ 7431 h 10000"/>
                <a:gd name="connsiteX60" fmla="*/ 8740 w 10000"/>
                <a:gd name="connsiteY60" fmla="*/ 7412 h 10000"/>
                <a:gd name="connsiteX61" fmla="*/ 8605 w 10000"/>
                <a:gd name="connsiteY61" fmla="*/ 7627 h 10000"/>
                <a:gd name="connsiteX62" fmla="*/ 8547 w 10000"/>
                <a:gd name="connsiteY62" fmla="*/ 7706 h 10000"/>
                <a:gd name="connsiteX63" fmla="*/ 8469 w 10000"/>
                <a:gd name="connsiteY63" fmla="*/ 7804 h 10000"/>
                <a:gd name="connsiteX64" fmla="*/ 8682 w 10000"/>
                <a:gd name="connsiteY64" fmla="*/ 8451 h 10000"/>
                <a:gd name="connsiteX65" fmla="*/ 8566 w 10000"/>
                <a:gd name="connsiteY65" fmla="*/ 8569 h 10000"/>
                <a:gd name="connsiteX66" fmla="*/ 8450 w 10000"/>
                <a:gd name="connsiteY66" fmla="*/ 8686 h 10000"/>
                <a:gd name="connsiteX67" fmla="*/ 7810 w 10000"/>
                <a:gd name="connsiteY67" fmla="*/ 8471 h 10000"/>
                <a:gd name="connsiteX68" fmla="*/ 7616 w 10000"/>
                <a:gd name="connsiteY68" fmla="*/ 8608 h 10000"/>
                <a:gd name="connsiteX69" fmla="*/ 7442 w 10000"/>
                <a:gd name="connsiteY69" fmla="*/ 8745 h 10000"/>
                <a:gd name="connsiteX70" fmla="*/ 7442 w 10000"/>
                <a:gd name="connsiteY70" fmla="*/ 9412 h 10000"/>
                <a:gd name="connsiteX71" fmla="*/ 7287 w 10000"/>
                <a:gd name="connsiteY71" fmla="*/ 9510 h 10000"/>
                <a:gd name="connsiteX72" fmla="*/ 7151 w 10000"/>
                <a:gd name="connsiteY72" fmla="*/ 9569 h 10000"/>
                <a:gd name="connsiteX73" fmla="*/ 6609 w 10000"/>
                <a:gd name="connsiteY73" fmla="*/ 9157 h 10000"/>
                <a:gd name="connsiteX74" fmla="*/ 6395 w 10000"/>
                <a:gd name="connsiteY74" fmla="*/ 9235 h 10000"/>
                <a:gd name="connsiteX75" fmla="*/ 6279 w 10000"/>
                <a:gd name="connsiteY75" fmla="*/ 9275 h 10000"/>
                <a:gd name="connsiteX76" fmla="*/ 6163 w 10000"/>
                <a:gd name="connsiteY76" fmla="*/ 9314 h 10000"/>
                <a:gd name="connsiteX77" fmla="*/ 5950 w 10000"/>
                <a:gd name="connsiteY77" fmla="*/ 9961 h 10000"/>
                <a:gd name="connsiteX78" fmla="*/ 5640 w 10000"/>
                <a:gd name="connsiteY78" fmla="*/ 10000 h 10000"/>
                <a:gd name="connsiteX79" fmla="*/ 5252 w 10000"/>
                <a:gd name="connsiteY79" fmla="*/ 9451 h 10000"/>
                <a:gd name="connsiteX80" fmla="*/ 5019 w 10000"/>
                <a:gd name="connsiteY80" fmla="*/ 9451 h 10000"/>
                <a:gd name="connsiteX81" fmla="*/ 4767 w 10000"/>
                <a:gd name="connsiteY81" fmla="*/ 9451 h 10000"/>
                <a:gd name="connsiteX82" fmla="*/ 4380 w 10000"/>
                <a:gd name="connsiteY82" fmla="*/ 10000 h 10000"/>
                <a:gd name="connsiteX83" fmla="*/ 4225 w 10000"/>
                <a:gd name="connsiteY83" fmla="*/ 9980 h 10000"/>
                <a:gd name="connsiteX84" fmla="*/ 4070 w 10000"/>
                <a:gd name="connsiteY84" fmla="*/ 9961 h 10000"/>
                <a:gd name="connsiteX85" fmla="*/ 3857 w 10000"/>
                <a:gd name="connsiteY85" fmla="*/ 9314 h 10000"/>
                <a:gd name="connsiteX86" fmla="*/ 3624 w 10000"/>
                <a:gd name="connsiteY86" fmla="*/ 9235 h 10000"/>
                <a:gd name="connsiteX87" fmla="*/ 3508 w 10000"/>
                <a:gd name="connsiteY87" fmla="*/ 9216 h 10000"/>
                <a:gd name="connsiteX88" fmla="*/ 3411 w 10000"/>
                <a:gd name="connsiteY88" fmla="*/ 9157 h 10000"/>
                <a:gd name="connsiteX89" fmla="*/ 2868 w 10000"/>
                <a:gd name="connsiteY89" fmla="*/ 9569 h 10000"/>
                <a:gd name="connsiteX90" fmla="*/ 2733 w 10000"/>
                <a:gd name="connsiteY90" fmla="*/ 9510 h 10000"/>
                <a:gd name="connsiteX91" fmla="*/ 2578 w 10000"/>
                <a:gd name="connsiteY91" fmla="*/ 9412 h 10000"/>
                <a:gd name="connsiteX92" fmla="*/ 2597 w 10000"/>
                <a:gd name="connsiteY92" fmla="*/ 8745 h 10000"/>
                <a:gd name="connsiteX93" fmla="*/ 2403 w 10000"/>
                <a:gd name="connsiteY93" fmla="*/ 8608 h 10000"/>
                <a:gd name="connsiteX94" fmla="*/ 2306 w 10000"/>
                <a:gd name="connsiteY94" fmla="*/ 8529 h 10000"/>
                <a:gd name="connsiteX95" fmla="*/ 2209 w 10000"/>
                <a:gd name="connsiteY95" fmla="*/ 8471 h 10000"/>
                <a:gd name="connsiteX96" fmla="*/ 1570 w 10000"/>
                <a:gd name="connsiteY96" fmla="*/ 8686 h 10000"/>
                <a:gd name="connsiteX97" fmla="*/ 1453 w 10000"/>
                <a:gd name="connsiteY97" fmla="*/ 8569 h 10000"/>
                <a:gd name="connsiteX98" fmla="*/ 1337 w 10000"/>
                <a:gd name="connsiteY98" fmla="*/ 8451 h 10000"/>
                <a:gd name="connsiteX99" fmla="*/ 1550 w 10000"/>
                <a:gd name="connsiteY99" fmla="*/ 7804 h 10000"/>
                <a:gd name="connsiteX100" fmla="*/ 1415 w 10000"/>
                <a:gd name="connsiteY100" fmla="*/ 7627 h 10000"/>
                <a:gd name="connsiteX101" fmla="*/ 1279 w 10000"/>
                <a:gd name="connsiteY101" fmla="*/ 7412 h 10000"/>
                <a:gd name="connsiteX102" fmla="*/ 601 w 10000"/>
                <a:gd name="connsiteY102" fmla="*/ 7431 h 10000"/>
                <a:gd name="connsiteX103" fmla="*/ 523 w 10000"/>
                <a:gd name="connsiteY103" fmla="*/ 7294 h 10000"/>
                <a:gd name="connsiteX104" fmla="*/ 446 w 10000"/>
                <a:gd name="connsiteY104" fmla="*/ 7157 h 10000"/>
                <a:gd name="connsiteX105" fmla="*/ 853 w 10000"/>
                <a:gd name="connsiteY105" fmla="*/ 6608 h 10000"/>
                <a:gd name="connsiteX106" fmla="*/ 775 w 10000"/>
                <a:gd name="connsiteY106" fmla="*/ 6392 h 10000"/>
                <a:gd name="connsiteX107" fmla="*/ 756 w 10000"/>
                <a:gd name="connsiteY107" fmla="*/ 6275 h 10000"/>
                <a:gd name="connsiteX108" fmla="*/ 717 w 10000"/>
                <a:gd name="connsiteY108" fmla="*/ 6157 h 10000"/>
                <a:gd name="connsiteX109" fmla="*/ 58 w 10000"/>
                <a:gd name="connsiteY109" fmla="*/ 5941 h 10000"/>
                <a:gd name="connsiteX110" fmla="*/ 0 w 10000"/>
                <a:gd name="connsiteY110" fmla="*/ 5627 h 10000"/>
                <a:gd name="connsiteX111" fmla="*/ 581 w 10000"/>
                <a:gd name="connsiteY111" fmla="*/ 5235 h 10000"/>
                <a:gd name="connsiteX112" fmla="*/ 562 w 10000"/>
                <a:gd name="connsiteY112" fmla="*/ 5000 h 10000"/>
                <a:gd name="connsiteX113" fmla="*/ 581 w 10000"/>
                <a:gd name="connsiteY113" fmla="*/ 4765 h 10000"/>
                <a:gd name="connsiteX114" fmla="*/ 0 w 10000"/>
                <a:gd name="connsiteY114" fmla="*/ 4392 h 10000"/>
                <a:gd name="connsiteX115" fmla="*/ 19 w 10000"/>
                <a:gd name="connsiteY115" fmla="*/ 4216 h 10000"/>
                <a:gd name="connsiteX116" fmla="*/ 58 w 10000"/>
                <a:gd name="connsiteY116" fmla="*/ 4059 h 10000"/>
                <a:gd name="connsiteX117" fmla="*/ 717 w 10000"/>
                <a:gd name="connsiteY117" fmla="*/ 3863 h 10000"/>
                <a:gd name="connsiteX118" fmla="*/ 775 w 10000"/>
                <a:gd name="connsiteY118" fmla="*/ 3627 h 10000"/>
                <a:gd name="connsiteX119" fmla="*/ 814 w 10000"/>
                <a:gd name="connsiteY119" fmla="*/ 3510 h 10000"/>
                <a:gd name="connsiteX120" fmla="*/ 853 w 10000"/>
                <a:gd name="connsiteY120" fmla="*/ 3392 h 10000"/>
                <a:gd name="connsiteX121" fmla="*/ 446 w 10000"/>
                <a:gd name="connsiteY121" fmla="*/ 2863 h 10000"/>
                <a:gd name="connsiteX122" fmla="*/ 523 w 10000"/>
                <a:gd name="connsiteY122" fmla="*/ 2706 h 10000"/>
                <a:gd name="connsiteX123" fmla="*/ 601 w 10000"/>
                <a:gd name="connsiteY123" fmla="*/ 2588 h 10000"/>
                <a:gd name="connsiteX124" fmla="*/ 1279 w 10000"/>
                <a:gd name="connsiteY124" fmla="*/ 2588 h 10000"/>
                <a:gd name="connsiteX0" fmla="*/ 1337 w 10000"/>
                <a:gd name="connsiteY0" fmla="*/ 1569 h 10000"/>
                <a:gd name="connsiteX1" fmla="*/ 1570 w 10000"/>
                <a:gd name="connsiteY1" fmla="*/ 1333 h 10000"/>
                <a:gd name="connsiteX2" fmla="*/ 2209 w 10000"/>
                <a:gd name="connsiteY2" fmla="*/ 1549 h 10000"/>
                <a:gd name="connsiteX3" fmla="*/ 2403 w 10000"/>
                <a:gd name="connsiteY3" fmla="*/ 1412 h 10000"/>
                <a:gd name="connsiteX4" fmla="*/ 2597 w 10000"/>
                <a:gd name="connsiteY4" fmla="*/ 1275 h 10000"/>
                <a:gd name="connsiteX5" fmla="*/ 2578 w 10000"/>
                <a:gd name="connsiteY5" fmla="*/ 588 h 10000"/>
                <a:gd name="connsiteX6" fmla="*/ 2733 w 10000"/>
                <a:gd name="connsiteY6" fmla="*/ 510 h 10000"/>
                <a:gd name="connsiteX7" fmla="*/ 2868 w 10000"/>
                <a:gd name="connsiteY7" fmla="*/ 451 h 10000"/>
                <a:gd name="connsiteX8" fmla="*/ 3411 w 10000"/>
                <a:gd name="connsiteY8" fmla="*/ 843 h 10000"/>
                <a:gd name="connsiteX9" fmla="*/ 3624 w 10000"/>
                <a:gd name="connsiteY9" fmla="*/ 765 h 10000"/>
                <a:gd name="connsiteX10" fmla="*/ 3740 w 10000"/>
                <a:gd name="connsiteY10" fmla="*/ 725 h 10000"/>
                <a:gd name="connsiteX11" fmla="*/ 3857 w 10000"/>
                <a:gd name="connsiteY11" fmla="*/ 706 h 10000"/>
                <a:gd name="connsiteX12" fmla="*/ 4070 w 10000"/>
                <a:gd name="connsiteY12" fmla="*/ 59 h 10000"/>
                <a:gd name="connsiteX13" fmla="*/ 4380 w 10000"/>
                <a:gd name="connsiteY13" fmla="*/ 0 h 10000"/>
                <a:gd name="connsiteX14" fmla="*/ 4767 w 10000"/>
                <a:gd name="connsiteY14" fmla="*/ 569 h 10000"/>
                <a:gd name="connsiteX15" fmla="*/ 5019 w 10000"/>
                <a:gd name="connsiteY15" fmla="*/ 549 h 10000"/>
                <a:gd name="connsiteX16" fmla="*/ 5252 w 10000"/>
                <a:gd name="connsiteY16" fmla="*/ 569 h 10000"/>
                <a:gd name="connsiteX17" fmla="*/ 5640 w 10000"/>
                <a:gd name="connsiteY17" fmla="*/ 0 h 10000"/>
                <a:gd name="connsiteX18" fmla="*/ 5795 w 10000"/>
                <a:gd name="connsiteY18" fmla="*/ 20 h 10000"/>
                <a:gd name="connsiteX19" fmla="*/ 5950 w 10000"/>
                <a:gd name="connsiteY19" fmla="*/ 59 h 10000"/>
                <a:gd name="connsiteX20" fmla="*/ 6163 w 10000"/>
                <a:gd name="connsiteY20" fmla="*/ 706 h 10000"/>
                <a:gd name="connsiteX21" fmla="*/ 6395 w 10000"/>
                <a:gd name="connsiteY21" fmla="*/ 765 h 10000"/>
                <a:gd name="connsiteX22" fmla="*/ 6492 w 10000"/>
                <a:gd name="connsiteY22" fmla="*/ 804 h 10000"/>
                <a:gd name="connsiteX23" fmla="*/ 6609 w 10000"/>
                <a:gd name="connsiteY23" fmla="*/ 843 h 10000"/>
                <a:gd name="connsiteX24" fmla="*/ 7151 w 10000"/>
                <a:gd name="connsiteY24" fmla="*/ 451 h 10000"/>
                <a:gd name="connsiteX25" fmla="*/ 7287 w 10000"/>
                <a:gd name="connsiteY25" fmla="*/ 510 h 10000"/>
                <a:gd name="connsiteX26" fmla="*/ 7442 w 10000"/>
                <a:gd name="connsiteY26" fmla="*/ 588 h 10000"/>
                <a:gd name="connsiteX27" fmla="*/ 7442 w 10000"/>
                <a:gd name="connsiteY27" fmla="*/ 1275 h 10000"/>
                <a:gd name="connsiteX28" fmla="*/ 7616 w 10000"/>
                <a:gd name="connsiteY28" fmla="*/ 1412 h 10000"/>
                <a:gd name="connsiteX29" fmla="*/ 7713 w 10000"/>
                <a:gd name="connsiteY29" fmla="*/ 1471 h 10000"/>
                <a:gd name="connsiteX30" fmla="*/ 7810 w 10000"/>
                <a:gd name="connsiteY30" fmla="*/ 1549 h 10000"/>
                <a:gd name="connsiteX31" fmla="*/ 8450 w 10000"/>
                <a:gd name="connsiteY31" fmla="*/ 1333 h 10000"/>
                <a:gd name="connsiteX32" fmla="*/ 8566 w 10000"/>
                <a:gd name="connsiteY32" fmla="*/ 1451 h 10000"/>
                <a:gd name="connsiteX33" fmla="*/ 8682 w 10000"/>
                <a:gd name="connsiteY33" fmla="*/ 1569 h 10000"/>
                <a:gd name="connsiteX34" fmla="*/ 8469 w 10000"/>
                <a:gd name="connsiteY34" fmla="*/ 2216 h 10000"/>
                <a:gd name="connsiteX35" fmla="*/ 8605 w 10000"/>
                <a:gd name="connsiteY35" fmla="*/ 2392 h 10000"/>
                <a:gd name="connsiteX36" fmla="*/ 8740 w 10000"/>
                <a:gd name="connsiteY36" fmla="*/ 2588 h 10000"/>
                <a:gd name="connsiteX37" fmla="*/ 9419 w 10000"/>
                <a:gd name="connsiteY37" fmla="*/ 2588 h 10000"/>
                <a:gd name="connsiteX38" fmla="*/ 9496 w 10000"/>
                <a:gd name="connsiteY38" fmla="*/ 2706 h 10000"/>
                <a:gd name="connsiteX39" fmla="*/ 9574 w 10000"/>
                <a:gd name="connsiteY39" fmla="*/ 2863 h 10000"/>
                <a:gd name="connsiteX40" fmla="*/ 9167 w 10000"/>
                <a:gd name="connsiteY40" fmla="*/ 3392 h 10000"/>
                <a:gd name="connsiteX41" fmla="*/ 9244 w 10000"/>
                <a:gd name="connsiteY41" fmla="*/ 3627 h 10000"/>
                <a:gd name="connsiteX42" fmla="*/ 9283 w 10000"/>
                <a:gd name="connsiteY42" fmla="*/ 3745 h 10000"/>
                <a:gd name="connsiteX43" fmla="*/ 9302 w 10000"/>
                <a:gd name="connsiteY43" fmla="*/ 3863 h 10000"/>
                <a:gd name="connsiteX44" fmla="*/ 9961 w 10000"/>
                <a:gd name="connsiteY44" fmla="*/ 4059 h 10000"/>
                <a:gd name="connsiteX45" fmla="*/ 10000 w 10000"/>
                <a:gd name="connsiteY45" fmla="*/ 4392 h 10000"/>
                <a:gd name="connsiteX46" fmla="*/ 9438 w 10000"/>
                <a:gd name="connsiteY46" fmla="*/ 4765 h 10000"/>
                <a:gd name="connsiteX47" fmla="*/ 9457 w 10000"/>
                <a:gd name="connsiteY47" fmla="*/ 5000 h 10000"/>
                <a:gd name="connsiteX48" fmla="*/ 9438 w 10000"/>
                <a:gd name="connsiteY48" fmla="*/ 5235 h 10000"/>
                <a:gd name="connsiteX49" fmla="*/ 10000 w 10000"/>
                <a:gd name="connsiteY49" fmla="*/ 5627 h 10000"/>
                <a:gd name="connsiteX50" fmla="*/ 9981 w 10000"/>
                <a:gd name="connsiteY50" fmla="*/ 5784 h 10000"/>
                <a:gd name="connsiteX51" fmla="*/ 9961 w 10000"/>
                <a:gd name="connsiteY51" fmla="*/ 5941 h 10000"/>
                <a:gd name="connsiteX52" fmla="*/ 9302 w 10000"/>
                <a:gd name="connsiteY52" fmla="*/ 6157 h 10000"/>
                <a:gd name="connsiteX53" fmla="*/ 9244 w 10000"/>
                <a:gd name="connsiteY53" fmla="*/ 6392 h 10000"/>
                <a:gd name="connsiteX54" fmla="*/ 9205 w 10000"/>
                <a:gd name="connsiteY54" fmla="*/ 6490 h 10000"/>
                <a:gd name="connsiteX55" fmla="*/ 9167 w 10000"/>
                <a:gd name="connsiteY55" fmla="*/ 6608 h 10000"/>
                <a:gd name="connsiteX56" fmla="*/ 9574 w 10000"/>
                <a:gd name="connsiteY56" fmla="*/ 7157 h 10000"/>
                <a:gd name="connsiteX57" fmla="*/ 9496 w 10000"/>
                <a:gd name="connsiteY57" fmla="*/ 7294 h 10000"/>
                <a:gd name="connsiteX58" fmla="*/ 9419 w 10000"/>
                <a:gd name="connsiteY58" fmla="*/ 7431 h 10000"/>
                <a:gd name="connsiteX59" fmla="*/ 8740 w 10000"/>
                <a:gd name="connsiteY59" fmla="*/ 7412 h 10000"/>
                <a:gd name="connsiteX60" fmla="*/ 8605 w 10000"/>
                <a:gd name="connsiteY60" fmla="*/ 7627 h 10000"/>
                <a:gd name="connsiteX61" fmla="*/ 8547 w 10000"/>
                <a:gd name="connsiteY61" fmla="*/ 7706 h 10000"/>
                <a:gd name="connsiteX62" fmla="*/ 8469 w 10000"/>
                <a:gd name="connsiteY62" fmla="*/ 7804 h 10000"/>
                <a:gd name="connsiteX63" fmla="*/ 8682 w 10000"/>
                <a:gd name="connsiteY63" fmla="*/ 8451 h 10000"/>
                <a:gd name="connsiteX64" fmla="*/ 8566 w 10000"/>
                <a:gd name="connsiteY64" fmla="*/ 8569 h 10000"/>
                <a:gd name="connsiteX65" fmla="*/ 8450 w 10000"/>
                <a:gd name="connsiteY65" fmla="*/ 8686 h 10000"/>
                <a:gd name="connsiteX66" fmla="*/ 7810 w 10000"/>
                <a:gd name="connsiteY66" fmla="*/ 8471 h 10000"/>
                <a:gd name="connsiteX67" fmla="*/ 7616 w 10000"/>
                <a:gd name="connsiteY67" fmla="*/ 8608 h 10000"/>
                <a:gd name="connsiteX68" fmla="*/ 7442 w 10000"/>
                <a:gd name="connsiteY68" fmla="*/ 8745 h 10000"/>
                <a:gd name="connsiteX69" fmla="*/ 7442 w 10000"/>
                <a:gd name="connsiteY69" fmla="*/ 9412 h 10000"/>
                <a:gd name="connsiteX70" fmla="*/ 7287 w 10000"/>
                <a:gd name="connsiteY70" fmla="*/ 9510 h 10000"/>
                <a:gd name="connsiteX71" fmla="*/ 7151 w 10000"/>
                <a:gd name="connsiteY71" fmla="*/ 9569 h 10000"/>
                <a:gd name="connsiteX72" fmla="*/ 6609 w 10000"/>
                <a:gd name="connsiteY72" fmla="*/ 9157 h 10000"/>
                <a:gd name="connsiteX73" fmla="*/ 6395 w 10000"/>
                <a:gd name="connsiteY73" fmla="*/ 9235 h 10000"/>
                <a:gd name="connsiteX74" fmla="*/ 6279 w 10000"/>
                <a:gd name="connsiteY74" fmla="*/ 9275 h 10000"/>
                <a:gd name="connsiteX75" fmla="*/ 6163 w 10000"/>
                <a:gd name="connsiteY75" fmla="*/ 9314 h 10000"/>
                <a:gd name="connsiteX76" fmla="*/ 5950 w 10000"/>
                <a:gd name="connsiteY76" fmla="*/ 9961 h 10000"/>
                <a:gd name="connsiteX77" fmla="*/ 5640 w 10000"/>
                <a:gd name="connsiteY77" fmla="*/ 10000 h 10000"/>
                <a:gd name="connsiteX78" fmla="*/ 5252 w 10000"/>
                <a:gd name="connsiteY78" fmla="*/ 9451 h 10000"/>
                <a:gd name="connsiteX79" fmla="*/ 5019 w 10000"/>
                <a:gd name="connsiteY79" fmla="*/ 9451 h 10000"/>
                <a:gd name="connsiteX80" fmla="*/ 4767 w 10000"/>
                <a:gd name="connsiteY80" fmla="*/ 9451 h 10000"/>
                <a:gd name="connsiteX81" fmla="*/ 4380 w 10000"/>
                <a:gd name="connsiteY81" fmla="*/ 10000 h 10000"/>
                <a:gd name="connsiteX82" fmla="*/ 4225 w 10000"/>
                <a:gd name="connsiteY82" fmla="*/ 9980 h 10000"/>
                <a:gd name="connsiteX83" fmla="*/ 4070 w 10000"/>
                <a:gd name="connsiteY83" fmla="*/ 9961 h 10000"/>
                <a:gd name="connsiteX84" fmla="*/ 3857 w 10000"/>
                <a:gd name="connsiteY84" fmla="*/ 9314 h 10000"/>
                <a:gd name="connsiteX85" fmla="*/ 3624 w 10000"/>
                <a:gd name="connsiteY85" fmla="*/ 9235 h 10000"/>
                <a:gd name="connsiteX86" fmla="*/ 3508 w 10000"/>
                <a:gd name="connsiteY86" fmla="*/ 9216 h 10000"/>
                <a:gd name="connsiteX87" fmla="*/ 3411 w 10000"/>
                <a:gd name="connsiteY87" fmla="*/ 9157 h 10000"/>
                <a:gd name="connsiteX88" fmla="*/ 2868 w 10000"/>
                <a:gd name="connsiteY88" fmla="*/ 9569 h 10000"/>
                <a:gd name="connsiteX89" fmla="*/ 2733 w 10000"/>
                <a:gd name="connsiteY89" fmla="*/ 9510 h 10000"/>
                <a:gd name="connsiteX90" fmla="*/ 2578 w 10000"/>
                <a:gd name="connsiteY90" fmla="*/ 9412 h 10000"/>
                <a:gd name="connsiteX91" fmla="*/ 2597 w 10000"/>
                <a:gd name="connsiteY91" fmla="*/ 8745 h 10000"/>
                <a:gd name="connsiteX92" fmla="*/ 2403 w 10000"/>
                <a:gd name="connsiteY92" fmla="*/ 8608 h 10000"/>
                <a:gd name="connsiteX93" fmla="*/ 2306 w 10000"/>
                <a:gd name="connsiteY93" fmla="*/ 8529 h 10000"/>
                <a:gd name="connsiteX94" fmla="*/ 2209 w 10000"/>
                <a:gd name="connsiteY94" fmla="*/ 8471 h 10000"/>
                <a:gd name="connsiteX95" fmla="*/ 1570 w 10000"/>
                <a:gd name="connsiteY95" fmla="*/ 8686 h 10000"/>
                <a:gd name="connsiteX96" fmla="*/ 1453 w 10000"/>
                <a:gd name="connsiteY96" fmla="*/ 8569 h 10000"/>
                <a:gd name="connsiteX97" fmla="*/ 1337 w 10000"/>
                <a:gd name="connsiteY97" fmla="*/ 8451 h 10000"/>
                <a:gd name="connsiteX98" fmla="*/ 1550 w 10000"/>
                <a:gd name="connsiteY98" fmla="*/ 7804 h 10000"/>
                <a:gd name="connsiteX99" fmla="*/ 1415 w 10000"/>
                <a:gd name="connsiteY99" fmla="*/ 7627 h 10000"/>
                <a:gd name="connsiteX100" fmla="*/ 1279 w 10000"/>
                <a:gd name="connsiteY100" fmla="*/ 7412 h 10000"/>
                <a:gd name="connsiteX101" fmla="*/ 601 w 10000"/>
                <a:gd name="connsiteY101" fmla="*/ 7431 h 10000"/>
                <a:gd name="connsiteX102" fmla="*/ 523 w 10000"/>
                <a:gd name="connsiteY102" fmla="*/ 7294 h 10000"/>
                <a:gd name="connsiteX103" fmla="*/ 446 w 10000"/>
                <a:gd name="connsiteY103" fmla="*/ 7157 h 10000"/>
                <a:gd name="connsiteX104" fmla="*/ 853 w 10000"/>
                <a:gd name="connsiteY104" fmla="*/ 6608 h 10000"/>
                <a:gd name="connsiteX105" fmla="*/ 775 w 10000"/>
                <a:gd name="connsiteY105" fmla="*/ 6392 h 10000"/>
                <a:gd name="connsiteX106" fmla="*/ 756 w 10000"/>
                <a:gd name="connsiteY106" fmla="*/ 6275 h 10000"/>
                <a:gd name="connsiteX107" fmla="*/ 717 w 10000"/>
                <a:gd name="connsiteY107" fmla="*/ 6157 h 10000"/>
                <a:gd name="connsiteX108" fmla="*/ 58 w 10000"/>
                <a:gd name="connsiteY108" fmla="*/ 5941 h 10000"/>
                <a:gd name="connsiteX109" fmla="*/ 0 w 10000"/>
                <a:gd name="connsiteY109" fmla="*/ 5627 h 10000"/>
                <a:gd name="connsiteX110" fmla="*/ 581 w 10000"/>
                <a:gd name="connsiteY110" fmla="*/ 5235 h 10000"/>
                <a:gd name="connsiteX111" fmla="*/ 562 w 10000"/>
                <a:gd name="connsiteY111" fmla="*/ 5000 h 10000"/>
                <a:gd name="connsiteX112" fmla="*/ 581 w 10000"/>
                <a:gd name="connsiteY112" fmla="*/ 4765 h 10000"/>
                <a:gd name="connsiteX113" fmla="*/ 0 w 10000"/>
                <a:gd name="connsiteY113" fmla="*/ 4392 h 10000"/>
                <a:gd name="connsiteX114" fmla="*/ 19 w 10000"/>
                <a:gd name="connsiteY114" fmla="*/ 4216 h 10000"/>
                <a:gd name="connsiteX115" fmla="*/ 58 w 10000"/>
                <a:gd name="connsiteY115" fmla="*/ 4059 h 10000"/>
                <a:gd name="connsiteX116" fmla="*/ 717 w 10000"/>
                <a:gd name="connsiteY116" fmla="*/ 3863 h 10000"/>
                <a:gd name="connsiteX117" fmla="*/ 775 w 10000"/>
                <a:gd name="connsiteY117" fmla="*/ 3627 h 10000"/>
                <a:gd name="connsiteX118" fmla="*/ 814 w 10000"/>
                <a:gd name="connsiteY118" fmla="*/ 3510 h 10000"/>
                <a:gd name="connsiteX119" fmla="*/ 853 w 10000"/>
                <a:gd name="connsiteY119" fmla="*/ 3392 h 10000"/>
                <a:gd name="connsiteX120" fmla="*/ 446 w 10000"/>
                <a:gd name="connsiteY120" fmla="*/ 2863 h 10000"/>
                <a:gd name="connsiteX121" fmla="*/ 523 w 10000"/>
                <a:gd name="connsiteY121" fmla="*/ 2706 h 10000"/>
                <a:gd name="connsiteX122" fmla="*/ 601 w 10000"/>
                <a:gd name="connsiteY122" fmla="*/ 2588 h 10000"/>
                <a:gd name="connsiteX123" fmla="*/ 1279 w 10000"/>
                <a:gd name="connsiteY123" fmla="*/ 2588 h 10000"/>
                <a:gd name="connsiteX0" fmla="*/ 1570 w 10000"/>
                <a:gd name="connsiteY0" fmla="*/ 1333 h 10000"/>
                <a:gd name="connsiteX1" fmla="*/ 2209 w 10000"/>
                <a:gd name="connsiteY1" fmla="*/ 1549 h 10000"/>
                <a:gd name="connsiteX2" fmla="*/ 2403 w 10000"/>
                <a:gd name="connsiteY2" fmla="*/ 1412 h 10000"/>
                <a:gd name="connsiteX3" fmla="*/ 2597 w 10000"/>
                <a:gd name="connsiteY3" fmla="*/ 1275 h 10000"/>
                <a:gd name="connsiteX4" fmla="*/ 2578 w 10000"/>
                <a:gd name="connsiteY4" fmla="*/ 588 h 10000"/>
                <a:gd name="connsiteX5" fmla="*/ 2733 w 10000"/>
                <a:gd name="connsiteY5" fmla="*/ 510 h 10000"/>
                <a:gd name="connsiteX6" fmla="*/ 2868 w 10000"/>
                <a:gd name="connsiteY6" fmla="*/ 451 h 10000"/>
                <a:gd name="connsiteX7" fmla="*/ 3411 w 10000"/>
                <a:gd name="connsiteY7" fmla="*/ 843 h 10000"/>
                <a:gd name="connsiteX8" fmla="*/ 3624 w 10000"/>
                <a:gd name="connsiteY8" fmla="*/ 765 h 10000"/>
                <a:gd name="connsiteX9" fmla="*/ 3740 w 10000"/>
                <a:gd name="connsiteY9" fmla="*/ 725 h 10000"/>
                <a:gd name="connsiteX10" fmla="*/ 3857 w 10000"/>
                <a:gd name="connsiteY10" fmla="*/ 706 h 10000"/>
                <a:gd name="connsiteX11" fmla="*/ 4070 w 10000"/>
                <a:gd name="connsiteY11" fmla="*/ 59 h 10000"/>
                <a:gd name="connsiteX12" fmla="*/ 4380 w 10000"/>
                <a:gd name="connsiteY12" fmla="*/ 0 h 10000"/>
                <a:gd name="connsiteX13" fmla="*/ 4767 w 10000"/>
                <a:gd name="connsiteY13" fmla="*/ 569 h 10000"/>
                <a:gd name="connsiteX14" fmla="*/ 5019 w 10000"/>
                <a:gd name="connsiteY14" fmla="*/ 549 h 10000"/>
                <a:gd name="connsiteX15" fmla="*/ 5252 w 10000"/>
                <a:gd name="connsiteY15" fmla="*/ 569 h 10000"/>
                <a:gd name="connsiteX16" fmla="*/ 5640 w 10000"/>
                <a:gd name="connsiteY16" fmla="*/ 0 h 10000"/>
                <a:gd name="connsiteX17" fmla="*/ 5795 w 10000"/>
                <a:gd name="connsiteY17" fmla="*/ 20 h 10000"/>
                <a:gd name="connsiteX18" fmla="*/ 5950 w 10000"/>
                <a:gd name="connsiteY18" fmla="*/ 59 h 10000"/>
                <a:gd name="connsiteX19" fmla="*/ 6163 w 10000"/>
                <a:gd name="connsiteY19" fmla="*/ 706 h 10000"/>
                <a:gd name="connsiteX20" fmla="*/ 6395 w 10000"/>
                <a:gd name="connsiteY20" fmla="*/ 765 h 10000"/>
                <a:gd name="connsiteX21" fmla="*/ 6492 w 10000"/>
                <a:gd name="connsiteY21" fmla="*/ 804 h 10000"/>
                <a:gd name="connsiteX22" fmla="*/ 6609 w 10000"/>
                <a:gd name="connsiteY22" fmla="*/ 843 h 10000"/>
                <a:gd name="connsiteX23" fmla="*/ 7151 w 10000"/>
                <a:gd name="connsiteY23" fmla="*/ 451 h 10000"/>
                <a:gd name="connsiteX24" fmla="*/ 7287 w 10000"/>
                <a:gd name="connsiteY24" fmla="*/ 510 h 10000"/>
                <a:gd name="connsiteX25" fmla="*/ 7442 w 10000"/>
                <a:gd name="connsiteY25" fmla="*/ 588 h 10000"/>
                <a:gd name="connsiteX26" fmla="*/ 7442 w 10000"/>
                <a:gd name="connsiteY26" fmla="*/ 1275 h 10000"/>
                <a:gd name="connsiteX27" fmla="*/ 7616 w 10000"/>
                <a:gd name="connsiteY27" fmla="*/ 1412 h 10000"/>
                <a:gd name="connsiteX28" fmla="*/ 7713 w 10000"/>
                <a:gd name="connsiteY28" fmla="*/ 1471 h 10000"/>
                <a:gd name="connsiteX29" fmla="*/ 7810 w 10000"/>
                <a:gd name="connsiteY29" fmla="*/ 1549 h 10000"/>
                <a:gd name="connsiteX30" fmla="*/ 8450 w 10000"/>
                <a:gd name="connsiteY30" fmla="*/ 1333 h 10000"/>
                <a:gd name="connsiteX31" fmla="*/ 8566 w 10000"/>
                <a:gd name="connsiteY31" fmla="*/ 1451 h 10000"/>
                <a:gd name="connsiteX32" fmla="*/ 8682 w 10000"/>
                <a:gd name="connsiteY32" fmla="*/ 1569 h 10000"/>
                <a:gd name="connsiteX33" fmla="*/ 8469 w 10000"/>
                <a:gd name="connsiteY33" fmla="*/ 2216 h 10000"/>
                <a:gd name="connsiteX34" fmla="*/ 8605 w 10000"/>
                <a:gd name="connsiteY34" fmla="*/ 2392 h 10000"/>
                <a:gd name="connsiteX35" fmla="*/ 8740 w 10000"/>
                <a:gd name="connsiteY35" fmla="*/ 2588 h 10000"/>
                <a:gd name="connsiteX36" fmla="*/ 9419 w 10000"/>
                <a:gd name="connsiteY36" fmla="*/ 2588 h 10000"/>
                <a:gd name="connsiteX37" fmla="*/ 9496 w 10000"/>
                <a:gd name="connsiteY37" fmla="*/ 2706 h 10000"/>
                <a:gd name="connsiteX38" fmla="*/ 9574 w 10000"/>
                <a:gd name="connsiteY38" fmla="*/ 2863 h 10000"/>
                <a:gd name="connsiteX39" fmla="*/ 9167 w 10000"/>
                <a:gd name="connsiteY39" fmla="*/ 3392 h 10000"/>
                <a:gd name="connsiteX40" fmla="*/ 9244 w 10000"/>
                <a:gd name="connsiteY40" fmla="*/ 3627 h 10000"/>
                <a:gd name="connsiteX41" fmla="*/ 9283 w 10000"/>
                <a:gd name="connsiteY41" fmla="*/ 3745 h 10000"/>
                <a:gd name="connsiteX42" fmla="*/ 9302 w 10000"/>
                <a:gd name="connsiteY42" fmla="*/ 3863 h 10000"/>
                <a:gd name="connsiteX43" fmla="*/ 9961 w 10000"/>
                <a:gd name="connsiteY43" fmla="*/ 4059 h 10000"/>
                <a:gd name="connsiteX44" fmla="*/ 10000 w 10000"/>
                <a:gd name="connsiteY44" fmla="*/ 4392 h 10000"/>
                <a:gd name="connsiteX45" fmla="*/ 9438 w 10000"/>
                <a:gd name="connsiteY45" fmla="*/ 4765 h 10000"/>
                <a:gd name="connsiteX46" fmla="*/ 9457 w 10000"/>
                <a:gd name="connsiteY46" fmla="*/ 5000 h 10000"/>
                <a:gd name="connsiteX47" fmla="*/ 9438 w 10000"/>
                <a:gd name="connsiteY47" fmla="*/ 5235 h 10000"/>
                <a:gd name="connsiteX48" fmla="*/ 10000 w 10000"/>
                <a:gd name="connsiteY48" fmla="*/ 5627 h 10000"/>
                <a:gd name="connsiteX49" fmla="*/ 9981 w 10000"/>
                <a:gd name="connsiteY49" fmla="*/ 5784 h 10000"/>
                <a:gd name="connsiteX50" fmla="*/ 9961 w 10000"/>
                <a:gd name="connsiteY50" fmla="*/ 5941 h 10000"/>
                <a:gd name="connsiteX51" fmla="*/ 9302 w 10000"/>
                <a:gd name="connsiteY51" fmla="*/ 6157 h 10000"/>
                <a:gd name="connsiteX52" fmla="*/ 9244 w 10000"/>
                <a:gd name="connsiteY52" fmla="*/ 6392 h 10000"/>
                <a:gd name="connsiteX53" fmla="*/ 9205 w 10000"/>
                <a:gd name="connsiteY53" fmla="*/ 6490 h 10000"/>
                <a:gd name="connsiteX54" fmla="*/ 9167 w 10000"/>
                <a:gd name="connsiteY54" fmla="*/ 6608 h 10000"/>
                <a:gd name="connsiteX55" fmla="*/ 9574 w 10000"/>
                <a:gd name="connsiteY55" fmla="*/ 7157 h 10000"/>
                <a:gd name="connsiteX56" fmla="*/ 9496 w 10000"/>
                <a:gd name="connsiteY56" fmla="*/ 7294 h 10000"/>
                <a:gd name="connsiteX57" fmla="*/ 9419 w 10000"/>
                <a:gd name="connsiteY57" fmla="*/ 7431 h 10000"/>
                <a:gd name="connsiteX58" fmla="*/ 8740 w 10000"/>
                <a:gd name="connsiteY58" fmla="*/ 7412 h 10000"/>
                <a:gd name="connsiteX59" fmla="*/ 8605 w 10000"/>
                <a:gd name="connsiteY59" fmla="*/ 7627 h 10000"/>
                <a:gd name="connsiteX60" fmla="*/ 8547 w 10000"/>
                <a:gd name="connsiteY60" fmla="*/ 7706 h 10000"/>
                <a:gd name="connsiteX61" fmla="*/ 8469 w 10000"/>
                <a:gd name="connsiteY61" fmla="*/ 7804 h 10000"/>
                <a:gd name="connsiteX62" fmla="*/ 8682 w 10000"/>
                <a:gd name="connsiteY62" fmla="*/ 8451 h 10000"/>
                <a:gd name="connsiteX63" fmla="*/ 8566 w 10000"/>
                <a:gd name="connsiteY63" fmla="*/ 8569 h 10000"/>
                <a:gd name="connsiteX64" fmla="*/ 8450 w 10000"/>
                <a:gd name="connsiteY64" fmla="*/ 8686 h 10000"/>
                <a:gd name="connsiteX65" fmla="*/ 7810 w 10000"/>
                <a:gd name="connsiteY65" fmla="*/ 8471 h 10000"/>
                <a:gd name="connsiteX66" fmla="*/ 7616 w 10000"/>
                <a:gd name="connsiteY66" fmla="*/ 8608 h 10000"/>
                <a:gd name="connsiteX67" fmla="*/ 7442 w 10000"/>
                <a:gd name="connsiteY67" fmla="*/ 8745 h 10000"/>
                <a:gd name="connsiteX68" fmla="*/ 7442 w 10000"/>
                <a:gd name="connsiteY68" fmla="*/ 9412 h 10000"/>
                <a:gd name="connsiteX69" fmla="*/ 7287 w 10000"/>
                <a:gd name="connsiteY69" fmla="*/ 9510 h 10000"/>
                <a:gd name="connsiteX70" fmla="*/ 7151 w 10000"/>
                <a:gd name="connsiteY70" fmla="*/ 9569 h 10000"/>
                <a:gd name="connsiteX71" fmla="*/ 6609 w 10000"/>
                <a:gd name="connsiteY71" fmla="*/ 9157 h 10000"/>
                <a:gd name="connsiteX72" fmla="*/ 6395 w 10000"/>
                <a:gd name="connsiteY72" fmla="*/ 9235 h 10000"/>
                <a:gd name="connsiteX73" fmla="*/ 6279 w 10000"/>
                <a:gd name="connsiteY73" fmla="*/ 9275 h 10000"/>
                <a:gd name="connsiteX74" fmla="*/ 6163 w 10000"/>
                <a:gd name="connsiteY74" fmla="*/ 9314 h 10000"/>
                <a:gd name="connsiteX75" fmla="*/ 5950 w 10000"/>
                <a:gd name="connsiteY75" fmla="*/ 9961 h 10000"/>
                <a:gd name="connsiteX76" fmla="*/ 5640 w 10000"/>
                <a:gd name="connsiteY76" fmla="*/ 10000 h 10000"/>
                <a:gd name="connsiteX77" fmla="*/ 5252 w 10000"/>
                <a:gd name="connsiteY77" fmla="*/ 9451 h 10000"/>
                <a:gd name="connsiteX78" fmla="*/ 5019 w 10000"/>
                <a:gd name="connsiteY78" fmla="*/ 9451 h 10000"/>
                <a:gd name="connsiteX79" fmla="*/ 4767 w 10000"/>
                <a:gd name="connsiteY79" fmla="*/ 9451 h 10000"/>
                <a:gd name="connsiteX80" fmla="*/ 4380 w 10000"/>
                <a:gd name="connsiteY80" fmla="*/ 10000 h 10000"/>
                <a:gd name="connsiteX81" fmla="*/ 4225 w 10000"/>
                <a:gd name="connsiteY81" fmla="*/ 9980 h 10000"/>
                <a:gd name="connsiteX82" fmla="*/ 4070 w 10000"/>
                <a:gd name="connsiteY82" fmla="*/ 9961 h 10000"/>
                <a:gd name="connsiteX83" fmla="*/ 3857 w 10000"/>
                <a:gd name="connsiteY83" fmla="*/ 9314 h 10000"/>
                <a:gd name="connsiteX84" fmla="*/ 3624 w 10000"/>
                <a:gd name="connsiteY84" fmla="*/ 9235 h 10000"/>
                <a:gd name="connsiteX85" fmla="*/ 3508 w 10000"/>
                <a:gd name="connsiteY85" fmla="*/ 9216 h 10000"/>
                <a:gd name="connsiteX86" fmla="*/ 3411 w 10000"/>
                <a:gd name="connsiteY86" fmla="*/ 9157 h 10000"/>
                <a:gd name="connsiteX87" fmla="*/ 2868 w 10000"/>
                <a:gd name="connsiteY87" fmla="*/ 9569 h 10000"/>
                <a:gd name="connsiteX88" fmla="*/ 2733 w 10000"/>
                <a:gd name="connsiteY88" fmla="*/ 9510 h 10000"/>
                <a:gd name="connsiteX89" fmla="*/ 2578 w 10000"/>
                <a:gd name="connsiteY89" fmla="*/ 9412 h 10000"/>
                <a:gd name="connsiteX90" fmla="*/ 2597 w 10000"/>
                <a:gd name="connsiteY90" fmla="*/ 8745 h 10000"/>
                <a:gd name="connsiteX91" fmla="*/ 2403 w 10000"/>
                <a:gd name="connsiteY91" fmla="*/ 8608 h 10000"/>
                <a:gd name="connsiteX92" fmla="*/ 2306 w 10000"/>
                <a:gd name="connsiteY92" fmla="*/ 8529 h 10000"/>
                <a:gd name="connsiteX93" fmla="*/ 2209 w 10000"/>
                <a:gd name="connsiteY93" fmla="*/ 8471 h 10000"/>
                <a:gd name="connsiteX94" fmla="*/ 1570 w 10000"/>
                <a:gd name="connsiteY94" fmla="*/ 8686 h 10000"/>
                <a:gd name="connsiteX95" fmla="*/ 1453 w 10000"/>
                <a:gd name="connsiteY95" fmla="*/ 8569 h 10000"/>
                <a:gd name="connsiteX96" fmla="*/ 1337 w 10000"/>
                <a:gd name="connsiteY96" fmla="*/ 8451 h 10000"/>
                <a:gd name="connsiteX97" fmla="*/ 1550 w 10000"/>
                <a:gd name="connsiteY97" fmla="*/ 7804 h 10000"/>
                <a:gd name="connsiteX98" fmla="*/ 1415 w 10000"/>
                <a:gd name="connsiteY98" fmla="*/ 7627 h 10000"/>
                <a:gd name="connsiteX99" fmla="*/ 1279 w 10000"/>
                <a:gd name="connsiteY99" fmla="*/ 7412 h 10000"/>
                <a:gd name="connsiteX100" fmla="*/ 601 w 10000"/>
                <a:gd name="connsiteY100" fmla="*/ 7431 h 10000"/>
                <a:gd name="connsiteX101" fmla="*/ 523 w 10000"/>
                <a:gd name="connsiteY101" fmla="*/ 7294 h 10000"/>
                <a:gd name="connsiteX102" fmla="*/ 446 w 10000"/>
                <a:gd name="connsiteY102" fmla="*/ 7157 h 10000"/>
                <a:gd name="connsiteX103" fmla="*/ 853 w 10000"/>
                <a:gd name="connsiteY103" fmla="*/ 6608 h 10000"/>
                <a:gd name="connsiteX104" fmla="*/ 775 w 10000"/>
                <a:gd name="connsiteY104" fmla="*/ 6392 h 10000"/>
                <a:gd name="connsiteX105" fmla="*/ 756 w 10000"/>
                <a:gd name="connsiteY105" fmla="*/ 6275 h 10000"/>
                <a:gd name="connsiteX106" fmla="*/ 717 w 10000"/>
                <a:gd name="connsiteY106" fmla="*/ 6157 h 10000"/>
                <a:gd name="connsiteX107" fmla="*/ 58 w 10000"/>
                <a:gd name="connsiteY107" fmla="*/ 5941 h 10000"/>
                <a:gd name="connsiteX108" fmla="*/ 0 w 10000"/>
                <a:gd name="connsiteY108" fmla="*/ 5627 h 10000"/>
                <a:gd name="connsiteX109" fmla="*/ 581 w 10000"/>
                <a:gd name="connsiteY109" fmla="*/ 5235 h 10000"/>
                <a:gd name="connsiteX110" fmla="*/ 562 w 10000"/>
                <a:gd name="connsiteY110" fmla="*/ 5000 h 10000"/>
                <a:gd name="connsiteX111" fmla="*/ 581 w 10000"/>
                <a:gd name="connsiteY111" fmla="*/ 4765 h 10000"/>
                <a:gd name="connsiteX112" fmla="*/ 0 w 10000"/>
                <a:gd name="connsiteY112" fmla="*/ 4392 h 10000"/>
                <a:gd name="connsiteX113" fmla="*/ 19 w 10000"/>
                <a:gd name="connsiteY113" fmla="*/ 4216 h 10000"/>
                <a:gd name="connsiteX114" fmla="*/ 58 w 10000"/>
                <a:gd name="connsiteY114" fmla="*/ 4059 h 10000"/>
                <a:gd name="connsiteX115" fmla="*/ 717 w 10000"/>
                <a:gd name="connsiteY115" fmla="*/ 3863 h 10000"/>
                <a:gd name="connsiteX116" fmla="*/ 775 w 10000"/>
                <a:gd name="connsiteY116" fmla="*/ 3627 h 10000"/>
                <a:gd name="connsiteX117" fmla="*/ 814 w 10000"/>
                <a:gd name="connsiteY117" fmla="*/ 3510 h 10000"/>
                <a:gd name="connsiteX118" fmla="*/ 853 w 10000"/>
                <a:gd name="connsiteY118" fmla="*/ 3392 h 10000"/>
                <a:gd name="connsiteX119" fmla="*/ 446 w 10000"/>
                <a:gd name="connsiteY119" fmla="*/ 2863 h 10000"/>
                <a:gd name="connsiteX120" fmla="*/ 523 w 10000"/>
                <a:gd name="connsiteY120" fmla="*/ 2706 h 10000"/>
                <a:gd name="connsiteX121" fmla="*/ 601 w 10000"/>
                <a:gd name="connsiteY121" fmla="*/ 2588 h 10000"/>
                <a:gd name="connsiteX122" fmla="*/ 1279 w 10000"/>
                <a:gd name="connsiteY122" fmla="*/ 2588 h 10000"/>
                <a:gd name="connsiteX0" fmla="*/ 2209 w 10000"/>
                <a:gd name="connsiteY0" fmla="*/ 1549 h 10000"/>
                <a:gd name="connsiteX1" fmla="*/ 2403 w 10000"/>
                <a:gd name="connsiteY1" fmla="*/ 1412 h 10000"/>
                <a:gd name="connsiteX2" fmla="*/ 2597 w 10000"/>
                <a:gd name="connsiteY2" fmla="*/ 1275 h 10000"/>
                <a:gd name="connsiteX3" fmla="*/ 2578 w 10000"/>
                <a:gd name="connsiteY3" fmla="*/ 588 h 10000"/>
                <a:gd name="connsiteX4" fmla="*/ 2733 w 10000"/>
                <a:gd name="connsiteY4" fmla="*/ 510 h 10000"/>
                <a:gd name="connsiteX5" fmla="*/ 2868 w 10000"/>
                <a:gd name="connsiteY5" fmla="*/ 451 h 10000"/>
                <a:gd name="connsiteX6" fmla="*/ 3411 w 10000"/>
                <a:gd name="connsiteY6" fmla="*/ 843 h 10000"/>
                <a:gd name="connsiteX7" fmla="*/ 3624 w 10000"/>
                <a:gd name="connsiteY7" fmla="*/ 765 h 10000"/>
                <a:gd name="connsiteX8" fmla="*/ 3740 w 10000"/>
                <a:gd name="connsiteY8" fmla="*/ 725 h 10000"/>
                <a:gd name="connsiteX9" fmla="*/ 3857 w 10000"/>
                <a:gd name="connsiteY9" fmla="*/ 706 h 10000"/>
                <a:gd name="connsiteX10" fmla="*/ 4070 w 10000"/>
                <a:gd name="connsiteY10" fmla="*/ 59 h 10000"/>
                <a:gd name="connsiteX11" fmla="*/ 4380 w 10000"/>
                <a:gd name="connsiteY11" fmla="*/ 0 h 10000"/>
                <a:gd name="connsiteX12" fmla="*/ 4767 w 10000"/>
                <a:gd name="connsiteY12" fmla="*/ 569 h 10000"/>
                <a:gd name="connsiteX13" fmla="*/ 5019 w 10000"/>
                <a:gd name="connsiteY13" fmla="*/ 549 h 10000"/>
                <a:gd name="connsiteX14" fmla="*/ 5252 w 10000"/>
                <a:gd name="connsiteY14" fmla="*/ 569 h 10000"/>
                <a:gd name="connsiteX15" fmla="*/ 5640 w 10000"/>
                <a:gd name="connsiteY15" fmla="*/ 0 h 10000"/>
                <a:gd name="connsiteX16" fmla="*/ 5795 w 10000"/>
                <a:gd name="connsiteY16" fmla="*/ 20 h 10000"/>
                <a:gd name="connsiteX17" fmla="*/ 5950 w 10000"/>
                <a:gd name="connsiteY17" fmla="*/ 59 h 10000"/>
                <a:gd name="connsiteX18" fmla="*/ 6163 w 10000"/>
                <a:gd name="connsiteY18" fmla="*/ 706 h 10000"/>
                <a:gd name="connsiteX19" fmla="*/ 6395 w 10000"/>
                <a:gd name="connsiteY19" fmla="*/ 765 h 10000"/>
                <a:gd name="connsiteX20" fmla="*/ 6492 w 10000"/>
                <a:gd name="connsiteY20" fmla="*/ 804 h 10000"/>
                <a:gd name="connsiteX21" fmla="*/ 6609 w 10000"/>
                <a:gd name="connsiteY21" fmla="*/ 843 h 10000"/>
                <a:gd name="connsiteX22" fmla="*/ 7151 w 10000"/>
                <a:gd name="connsiteY22" fmla="*/ 451 h 10000"/>
                <a:gd name="connsiteX23" fmla="*/ 7287 w 10000"/>
                <a:gd name="connsiteY23" fmla="*/ 510 h 10000"/>
                <a:gd name="connsiteX24" fmla="*/ 7442 w 10000"/>
                <a:gd name="connsiteY24" fmla="*/ 588 h 10000"/>
                <a:gd name="connsiteX25" fmla="*/ 7442 w 10000"/>
                <a:gd name="connsiteY25" fmla="*/ 1275 h 10000"/>
                <a:gd name="connsiteX26" fmla="*/ 7616 w 10000"/>
                <a:gd name="connsiteY26" fmla="*/ 1412 h 10000"/>
                <a:gd name="connsiteX27" fmla="*/ 7713 w 10000"/>
                <a:gd name="connsiteY27" fmla="*/ 1471 h 10000"/>
                <a:gd name="connsiteX28" fmla="*/ 7810 w 10000"/>
                <a:gd name="connsiteY28" fmla="*/ 1549 h 10000"/>
                <a:gd name="connsiteX29" fmla="*/ 8450 w 10000"/>
                <a:gd name="connsiteY29" fmla="*/ 1333 h 10000"/>
                <a:gd name="connsiteX30" fmla="*/ 8566 w 10000"/>
                <a:gd name="connsiteY30" fmla="*/ 1451 h 10000"/>
                <a:gd name="connsiteX31" fmla="*/ 8682 w 10000"/>
                <a:gd name="connsiteY31" fmla="*/ 1569 h 10000"/>
                <a:gd name="connsiteX32" fmla="*/ 8469 w 10000"/>
                <a:gd name="connsiteY32" fmla="*/ 2216 h 10000"/>
                <a:gd name="connsiteX33" fmla="*/ 8605 w 10000"/>
                <a:gd name="connsiteY33" fmla="*/ 2392 h 10000"/>
                <a:gd name="connsiteX34" fmla="*/ 8740 w 10000"/>
                <a:gd name="connsiteY34" fmla="*/ 2588 h 10000"/>
                <a:gd name="connsiteX35" fmla="*/ 9419 w 10000"/>
                <a:gd name="connsiteY35" fmla="*/ 2588 h 10000"/>
                <a:gd name="connsiteX36" fmla="*/ 9496 w 10000"/>
                <a:gd name="connsiteY36" fmla="*/ 2706 h 10000"/>
                <a:gd name="connsiteX37" fmla="*/ 9574 w 10000"/>
                <a:gd name="connsiteY37" fmla="*/ 2863 h 10000"/>
                <a:gd name="connsiteX38" fmla="*/ 9167 w 10000"/>
                <a:gd name="connsiteY38" fmla="*/ 3392 h 10000"/>
                <a:gd name="connsiteX39" fmla="*/ 9244 w 10000"/>
                <a:gd name="connsiteY39" fmla="*/ 3627 h 10000"/>
                <a:gd name="connsiteX40" fmla="*/ 9283 w 10000"/>
                <a:gd name="connsiteY40" fmla="*/ 3745 h 10000"/>
                <a:gd name="connsiteX41" fmla="*/ 9302 w 10000"/>
                <a:gd name="connsiteY41" fmla="*/ 3863 h 10000"/>
                <a:gd name="connsiteX42" fmla="*/ 9961 w 10000"/>
                <a:gd name="connsiteY42" fmla="*/ 4059 h 10000"/>
                <a:gd name="connsiteX43" fmla="*/ 10000 w 10000"/>
                <a:gd name="connsiteY43" fmla="*/ 4392 h 10000"/>
                <a:gd name="connsiteX44" fmla="*/ 9438 w 10000"/>
                <a:gd name="connsiteY44" fmla="*/ 4765 h 10000"/>
                <a:gd name="connsiteX45" fmla="*/ 9457 w 10000"/>
                <a:gd name="connsiteY45" fmla="*/ 5000 h 10000"/>
                <a:gd name="connsiteX46" fmla="*/ 9438 w 10000"/>
                <a:gd name="connsiteY46" fmla="*/ 5235 h 10000"/>
                <a:gd name="connsiteX47" fmla="*/ 10000 w 10000"/>
                <a:gd name="connsiteY47" fmla="*/ 5627 h 10000"/>
                <a:gd name="connsiteX48" fmla="*/ 9981 w 10000"/>
                <a:gd name="connsiteY48" fmla="*/ 5784 h 10000"/>
                <a:gd name="connsiteX49" fmla="*/ 9961 w 10000"/>
                <a:gd name="connsiteY49" fmla="*/ 5941 h 10000"/>
                <a:gd name="connsiteX50" fmla="*/ 9302 w 10000"/>
                <a:gd name="connsiteY50" fmla="*/ 6157 h 10000"/>
                <a:gd name="connsiteX51" fmla="*/ 9244 w 10000"/>
                <a:gd name="connsiteY51" fmla="*/ 6392 h 10000"/>
                <a:gd name="connsiteX52" fmla="*/ 9205 w 10000"/>
                <a:gd name="connsiteY52" fmla="*/ 6490 h 10000"/>
                <a:gd name="connsiteX53" fmla="*/ 9167 w 10000"/>
                <a:gd name="connsiteY53" fmla="*/ 6608 h 10000"/>
                <a:gd name="connsiteX54" fmla="*/ 9574 w 10000"/>
                <a:gd name="connsiteY54" fmla="*/ 7157 h 10000"/>
                <a:gd name="connsiteX55" fmla="*/ 9496 w 10000"/>
                <a:gd name="connsiteY55" fmla="*/ 7294 h 10000"/>
                <a:gd name="connsiteX56" fmla="*/ 9419 w 10000"/>
                <a:gd name="connsiteY56" fmla="*/ 7431 h 10000"/>
                <a:gd name="connsiteX57" fmla="*/ 8740 w 10000"/>
                <a:gd name="connsiteY57" fmla="*/ 7412 h 10000"/>
                <a:gd name="connsiteX58" fmla="*/ 8605 w 10000"/>
                <a:gd name="connsiteY58" fmla="*/ 7627 h 10000"/>
                <a:gd name="connsiteX59" fmla="*/ 8547 w 10000"/>
                <a:gd name="connsiteY59" fmla="*/ 7706 h 10000"/>
                <a:gd name="connsiteX60" fmla="*/ 8469 w 10000"/>
                <a:gd name="connsiteY60" fmla="*/ 7804 h 10000"/>
                <a:gd name="connsiteX61" fmla="*/ 8682 w 10000"/>
                <a:gd name="connsiteY61" fmla="*/ 8451 h 10000"/>
                <a:gd name="connsiteX62" fmla="*/ 8566 w 10000"/>
                <a:gd name="connsiteY62" fmla="*/ 8569 h 10000"/>
                <a:gd name="connsiteX63" fmla="*/ 8450 w 10000"/>
                <a:gd name="connsiteY63" fmla="*/ 8686 h 10000"/>
                <a:gd name="connsiteX64" fmla="*/ 7810 w 10000"/>
                <a:gd name="connsiteY64" fmla="*/ 8471 h 10000"/>
                <a:gd name="connsiteX65" fmla="*/ 7616 w 10000"/>
                <a:gd name="connsiteY65" fmla="*/ 8608 h 10000"/>
                <a:gd name="connsiteX66" fmla="*/ 7442 w 10000"/>
                <a:gd name="connsiteY66" fmla="*/ 8745 h 10000"/>
                <a:gd name="connsiteX67" fmla="*/ 7442 w 10000"/>
                <a:gd name="connsiteY67" fmla="*/ 9412 h 10000"/>
                <a:gd name="connsiteX68" fmla="*/ 7287 w 10000"/>
                <a:gd name="connsiteY68" fmla="*/ 9510 h 10000"/>
                <a:gd name="connsiteX69" fmla="*/ 7151 w 10000"/>
                <a:gd name="connsiteY69" fmla="*/ 9569 h 10000"/>
                <a:gd name="connsiteX70" fmla="*/ 6609 w 10000"/>
                <a:gd name="connsiteY70" fmla="*/ 9157 h 10000"/>
                <a:gd name="connsiteX71" fmla="*/ 6395 w 10000"/>
                <a:gd name="connsiteY71" fmla="*/ 9235 h 10000"/>
                <a:gd name="connsiteX72" fmla="*/ 6279 w 10000"/>
                <a:gd name="connsiteY72" fmla="*/ 9275 h 10000"/>
                <a:gd name="connsiteX73" fmla="*/ 6163 w 10000"/>
                <a:gd name="connsiteY73" fmla="*/ 9314 h 10000"/>
                <a:gd name="connsiteX74" fmla="*/ 5950 w 10000"/>
                <a:gd name="connsiteY74" fmla="*/ 9961 h 10000"/>
                <a:gd name="connsiteX75" fmla="*/ 5640 w 10000"/>
                <a:gd name="connsiteY75" fmla="*/ 10000 h 10000"/>
                <a:gd name="connsiteX76" fmla="*/ 5252 w 10000"/>
                <a:gd name="connsiteY76" fmla="*/ 9451 h 10000"/>
                <a:gd name="connsiteX77" fmla="*/ 5019 w 10000"/>
                <a:gd name="connsiteY77" fmla="*/ 9451 h 10000"/>
                <a:gd name="connsiteX78" fmla="*/ 4767 w 10000"/>
                <a:gd name="connsiteY78" fmla="*/ 9451 h 10000"/>
                <a:gd name="connsiteX79" fmla="*/ 4380 w 10000"/>
                <a:gd name="connsiteY79" fmla="*/ 10000 h 10000"/>
                <a:gd name="connsiteX80" fmla="*/ 4225 w 10000"/>
                <a:gd name="connsiteY80" fmla="*/ 9980 h 10000"/>
                <a:gd name="connsiteX81" fmla="*/ 4070 w 10000"/>
                <a:gd name="connsiteY81" fmla="*/ 9961 h 10000"/>
                <a:gd name="connsiteX82" fmla="*/ 3857 w 10000"/>
                <a:gd name="connsiteY82" fmla="*/ 9314 h 10000"/>
                <a:gd name="connsiteX83" fmla="*/ 3624 w 10000"/>
                <a:gd name="connsiteY83" fmla="*/ 9235 h 10000"/>
                <a:gd name="connsiteX84" fmla="*/ 3508 w 10000"/>
                <a:gd name="connsiteY84" fmla="*/ 9216 h 10000"/>
                <a:gd name="connsiteX85" fmla="*/ 3411 w 10000"/>
                <a:gd name="connsiteY85" fmla="*/ 9157 h 10000"/>
                <a:gd name="connsiteX86" fmla="*/ 2868 w 10000"/>
                <a:gd name="connsiteY86" fmla="*/ 9569 h 10000"/>
                <a:gd name="connsiteX87" fmla="*/ 2733 w 10000"/>
                <a:gd name="connsiteY87" fmla="*/ 9510 h 10000"/>
                <a:gd name="connsiteX88" fmla="*/ 2578 w 10000"/>
                <a:gd name="connsiteY88" fmla="*/ 9412 h 10000"/>
                <a:gd name="connsiteX89" fmla="*/ 2597 w 10000"/>
                <a:gd name="connsiteY89" fmla="*/ 8745 h 10000"/>
                <a:gd name="connsiteX90" fmla="*/ 2403 w 10000"/>
                <a:gd name="connsiteY90" fmla="*/ 8608 h 10000"/>
                <a:gd name="connsiteX91" fmla="*/ 2306 w 10000"/>
                <a:gd name="connsiteY91" fmla="*/ 8529 h 10000"/>
                <a:gd name="connsiteX92" fmla="*/ 2209 w 10000"/>
                <a:gd name="connsiteY92" fmla="*/ 8471 h 10000"/>
                <a:gd name="connsiteX93" fmla="*/ 1570 w 10000"/>
                <a:gd name="connsiteY93" fmla="*/ 8686 h 10000"/>
                <a:gd name="connsiteX94" fmla="*/ 1453 w 10000"/>
                <a:gd name="connsiteY94" fmla="*/ 8569 h 10000"/>
                <a:gd name="connsiteX95" fmla="*/ 1337 w 10000"/>
                <a:gd name="connsiteY95" fmla="*/ 8451 h 10000"/>
                <a:gd name="connsiteX96" fmla="*/ 1550 w 10000"/>
                <a:gd name="connsiteY96" fmla="*/ 7804 h 10000"/>
                <a:gd name="connsiteX97" fmla="*/ 1415 w 10000"/>
                <a:gd name="connsiteY97" fmla="*/ 7627 h 10000"/>
                <a:gd name="connsiteX98" fmla="*/ 1279 w 10000"/>
                <a:gd name="connsiteY98" fmla="*/ 7412 h 10000"/>
                <a:gd name="connsiteX99" fmla="*/ 601 w 10000"/>
                <a:gd name="connsiteY99" fmla="*/ 7431 h 10000"/>
                <a:gd name="connsiteX100" fmla="*/ 523 w 10000"/>
                <a:gd name="connsiteY100" fmla="*/ 7294 h 10000"/>
                <a:gd name="connsiteX101" fmla="*/ 446 w 10000"/>
                <a:gd name="connsiteY101" fmla="*/ 7157 h 10000"/>
                <a:gd name="connsiteX102" fmla="*/ 853 w 10000"/>
                <a:gd name="connsiteY102" fmla="*/ 6608 h 10000"/>
                <a:gd name="connsiteX103" fmla="*/ 775 w 10000"/>
                <a:gd name="connsiteY103" fmla="*/ 6392 h 10000"/>
                <a:gd name="connsiteX104" fmla="*/ 756 w 10000"/>
                <a:gd name="connsiteY104" fmla="*/ 6275 h 10000"/>
                <a:gd name="connsiteX105" fmla="*/ 717 w 10000"/>
                <a:gd name="connsiteY105" fmla="*/ 6157 h 10000"/>
                <a:gd name="connsiteX106" fmla="*/ 58 w 10000"/>
                <a:gd name="connsiteY106" fmla="*/ 5941 h 10000"/>
                <a:gd name="connsiteX107" fmla="*/ 0 w 10000"/>
                <a:gd name="connsiteY107" fmla="*/ 5627 h 10000"/>
                <a:gd name="connsiteX108" fmla="*/ 581 w 10000"/>
                <a:gd name="connsiteY108" fmla="*/ 5235 h 10000"/>
                <a:gd name="connsiteX109" fmla="*/ 562 w 10000"/>
                <a:gd name="connsiteY109" fmla="*/ 5000 h 10000"/>
                <a:gd name="connsiteX110" fmla="*/ 581 w 10000"/>
                <a:gd name="connsiteY110" fmla="*/ 4765 h 10000"/>
                <a:gd name="connsiteX111" fmla="*/ 0 w 10000"/>
                <a:gd name="connsiteY111" fmla="*/ 4392 h 10000"/>
                <a:gd name="connsiteX112" fmla="*/ 19 w 10000"/>
                <a:gd name="connsiteY112" fmla="*/ 4216 h 10000"/>
                <a:gd name="connsiteX113" fmla="*/ 58 w 10000"/>
                <a:gd name="connsiteY113" fmla="*/ 4059 h 10000"/>
                <a:gd name="connsiteX114" fmla="*/ 717 w 10000"/>
                <a:gd name="connsiteY114" fmla="*/ 3863 h 10000"/>
                <a:gd name="connsiteX115" fmla="*/ 775 w 10000"/>
                <a:gd name="connsiteY115" fmla="*/ 3627 h 10000"/>
                <a:gd name="connsiteX116" fmla="*/ 814 w 10000"/>
                <a:gd name="connsiteY116" fmla="*/ 3510 h 10000"/>
                <a:gd name="connsiteX117" fmla="*/ 853 w 10000"/>
                <a:gd name="connsiteY117" fmla="*/ 3392 h 10000"/>
                <a:gd name="connsiteX118" fmla="*/ 446 w 10000"/>
                <a:gd name="connsiteY118" fmla="*/ 2863 h 10000"/>
                <a:gd name="connsiteX119" fmla="*/ 523 w 10000"/>
                <a:gd name="connsiteY119" fmla="*/ 2706 h 10000"/>
                <a:gd name="connsiteX120" fmla="*/ 601 w 10000"/>
                <a:gd name="connsiteY120" fmla="*/ 2588 h 10000"/>
                <a:gd name="connsiteX121" fmla="*/ 1279 w 10000"/>
                <a:gd name="connsiteY121" fmla="*/ 2588 h 10000"/>
                <a:gd name="connsiteX0" fmla="*/ 2209 w 10000"/>
                <a:gd name="connsiteY0" fmla="*/ 1549 h 10000"/>
                <a:gd name="connsiteX1" fmla="*/ 2597 w 10000"/>
                <a:gd name="connsiteY1" fmla="*/ 1275 h 10000"/>
                <a:gd name="connsiteX2" fmla="*/ 2578 w 10000"/>
                <a:gd name="connsiteY2" fmla="*/ 588 h 10000"/>
                <a:gd name="connsiteX3" fmla="*/ 2733 w 10000"/>
                <a:gd name="connsiteY3" fmla="*/ 510 h 10000"/>
                <a:gd name="connsiteX4" fmla="*/ 2868 w 10000"/>
                <a:gd name="connsiteY4" fmla="*/ 451 h 10000"/>
                <a:gd name="connsiteX5" fmla="*/ 3411 w 10000"/>
                <a:gd name="connsiteY5" fmla="*/ 843 h 10000"/>
                <a:gd name="connsiteX6" fmla="*/ 3624 w 10000"/>
                <a:gd name="connsiteY6" fmla="*/ 765 h 10000"/>
                <a:gd name="connsiteX7" fmla="*/ 3740 w 10000"/>
                <a:gd name="connsiteY7" fmla="*/ 725 h 10000"/>
                <a:gd name="connsiteX8" fmla="*/ 3857 w 10000"/>
                <a:gd name="connsiteY8" fmla="*/ 706 h 10000"/>
                <a:gd name="connsiteX9" fmla="*/ 4070 w 10000"/>
                <a:gd name="connsiteY9" fmla="*/ 59 h 10000"/>
                <a:gd name="connsiteX10" fmla="*/ 4380 w 10000"/>
                <a:gd name="connsiteY10" fmla="*/ 0 h 10000"/>
                <a:gd name="connsiteX11" fmla="*/ 4767 w 10000"/>
                <a:gd name="connsiteY11" fmla="*/ 569 h 10000"/>
                <a:gd name="connsiteX12" fmla="*/ 5019 w 10000"/>
                <a:gd name="connsiteY12" fmla="*/ 549 h 10000"/>
                <a:gd name="connsiteX13" fmla="*/ 5252 w 10000"/>
                <a:gd name="connsiteY13" fmla="*/ 569 h 10000"/>
                <a:gd name="connsiteX14" fmla="*/ 5640 w 10000"/>
                <a:gd name="connsiteY14" fmla="*/ 0 h 10000"/>
                <a:gd name="connsiteX15" fmla="*/ 5795 w 10000"/>
                <a:gd name="connsiteY15" fmla="*/ 20 h 10000"/>
                <a:gd name="connsiteX16" fmla="*/ 5950 w 10000"/>
                <a:gd name="connsiteY16" fmla="*/ 59 h 10000"/>
                <a:gd name="connsiteX17" fmla="*/ 6163 w 10000"/>
                <a:gd name="connsiteY17" fmla="*/ 706 h 10000"/>
                <a:gd name="connsiteX18" fmla="*/ 6395 w 10000"/>
                <a:gd name="connsiteY18" fmla="*/ 765 h 10000"/>
                <a:gd name="connsiteX19" fmla="*/ 6492 w 10000"/>
                <a:gd name="connsiteY19" fmla="*/ 804 h 10000"/>
                <a:gd name="connsiteX20" fmla="*/ 6609 w 10000"/>
                <a:gd name="connsiteY20" fmla="*/ 843 h 10000"/>
                <a:gd name="connsiteX21" fmla="*/ 7151 w 10000"/>
                <a:gd name="connsiteY21" fmla="*/ 451 h 10000"/>
                <a:gd name="connsiteX22" fmla="*/ 7287 w 10000"/>
                <a:gd name="connsiteY22" fmla="*/ 510 h 10000"/>
                <a:gd name="connsiteX23" fmla="*/ 7442 w 10000"/>
                <a:gd name="connsiteY23" fmla="*/ 588 h 10000"/>
                <a:gd name="connsiteX24" fmla="*/ 7442 w 10000"/>
                <a:gd name="connsiteY24" fmla="*/ 1275 h 10000"/>
                <a:gd name="connsiteX25" fmla="*/ 7616 w 10000"/>
                <a:gd name="connsiteY25" fmla="*/ 1412 h 10000"/>
                <a:gd name="connsiteX26" fmla="*/ 7713 w 10000"/>
                <a:gd name="connsiteY26" fmla="*/ 1471 h 10000"/>
                <a:gd name="connsiteX27" fmla="*/ 7810 w 10000"/>
                <a:gd name="connsiteY27" fmla="*/ 1549 h 10000"/>
                <a:gd name="connsiteX28" fmla="*/ 8450 w 10000"/>
                <a:gd name="connsiteY28" fmla="*/ 1333 h 10000"/>
                <a:gd name="connsiteX29" fmla="*/ 8566 w 10000"/>
                <a:gd name="connsiteY29" fmla="*/ 1451 h 10000"/>
                <a:gd name="connsiteX30" fmla="*/ 8682 w 10000"/>
                <a:gd name="connsiteY30" fmla="*/ 1569 h 10000"/>
                <a:gd name="connsiteX31" fmla="*/ 8469 w 10000"/>
                <a:gd name="connsiteY31" fmla="*/ 2216 h 10000"/>
                <a:gd name="connsiteX32" fmla="*/ 8605 w 10000"/>
                <a:gd name="connsiteY32" fmla="*/ 2392 h 10000"/>
                <a:gd name="connsiteX33" fmla="*/ 8740 w 10000"/>
                <a:gd name="connsiteY33" fmla="*/ 2588 h 10000"/>
                <a:gd name="connsiteX34" fmla="*/ 9419 w 10000"/>
                <a:gd name="connsiteY34" fmla="*/ 2588 h 10000"/>
                <a:gd name="connsiteX35" fmla="*/ 9496 w 10000"/>
                <a:gd name="connsiteY35" fmla="*/ 2706 h 10000"/>
                <a:gd name="connsiteX36" fmla="*/ 9574 w 10000"/>
                <a:gd name="connsiteY36" fmla="*/ 2863 h 10000"/>
                <a:gd name="connsiteX37" fmla="*/ 9167 w 10000"/>
                <a:gd name="connsiteY37" fmla="*/ 3392 h 10000"/>
                <a:gd name="connsiteX38" fmla="*/ 9244 w 10000"/>
                <a:gd name="connsiteY38" fmla="*/ 3627 h 10000"/>
                <a:gd name="connsiteX39" fmla="*/ 9283 w 10000"/>
                <a:gd name="connsiteY39" fmla="*/ 3745 h 10000"/>
                <a:gd name="connsiteX40" fmla="*/ 9302 w 10000"/>
                <a:gd name="connsiteY40" fmla="*/ 3863 h 10000"/>
                <a:gd name="connsiteX41" fmla="*/ 9961 w 10000"/>
                <a:gd name="connsiteY41" fmla="*/ 4059 h 10000"/>
                <a:gd name="connsiteX42" fmla="*/ 10000 w 10000"/>
                <a:gd name="connsiteY42" fmla="*/ 4392 h 10000"/>
                <a:gd name="connsiteX43" fmla="*/ 9438 w 10000"/>
                <a:gd name="connsiteY43" fmla="*/ 4765 h 10000"/>
                <a:gd name="connsiteX44" fmla="*/ 9457 w 10000"/>
                <a:gd name="connsiteY44" fmla="*/ 5000 h 10000"/>
                <a:gd name="connsiteX45" fmla="*/ 9438 w 10000"/>
                <a:gd name="connsiteY45" fmla="*/ 5235 h 10000"/>
                <a:gd name="connsiteX46" fmla="*/ 10000 w 10000"/>
                <a:gd name="connsiteY46" fmla="*/ 5627 h 10000"/>
                <a:gd name="connsiteX47" fmla="*/ 9981 w 10000"/>
                <a:gd name="connsiteY47" fmla="*/ 5784 h 10000"/>
                <a:gd name="connsiteX48" fmla="*/ 9961 w 10000"/>
                <a:gd name="connsiteY48" fmla="*/ 5941 h 10000"/>
                <a:gd name="connsiteX49" fmla="*/ 9302 w 10000"/>
                <a:gd name="connsiteY49" fmla="*/ 6157 h 10000"/>
                <a:gd name="connsiteX50" fmla="*/ 9244 w 10000"/>
                <a:gd name="connsiteY50" fmla="*/ 6392 h 10000"/>
                <a:gd name="connsiteX51" fmla="*/ 9205 w 10000"/>
                <a:gd name="connsiteY51" fmla="*/ 6490 h 10000"/>
                <a:gd name="connsiteX52" fmla="*/ 9167 w 10000"/>
                <a:gd name="connsiteY52" fmla="*/ 6608 h 10000"/>
                <a:gd name="connsiteX53" fmla="*/ 9574 w 10000"/>
                <a:gd name="connsiteY53" fmla="*/ 7157 h 10000"/>
                <a:gd name="connsiteX54" fmla="*/ 9496 w 10000"/>
                <a:gd name="connsiteY54" fmla="*/ 7294 h 10000"/>
                <a:gd name="connsiteX55" fmla="*/ 9419 w 10000"/>
                <a:gd name="connsiteY55" fmla="*/ 7431 h 10000"/>
                <a:gd name="connsiteX56" fmla="*/ 8740 w 10000"/>
                <a:gd name="connsiteY56" fmla="*/ 7412 h 10000"/>
                <a:gd name="connsiteX57" fmla="*/ 8605 w 10000"/>
                <a:gd name="connsiteY57" fmla="*/ 7627 h 10000"/>
                <a:gd name="connsiteX58" fmla="*/ 8547 w 10000"/>
                <a:gd name="connsiteY58" fmla="*/ 7706 h 10000"/>
                <a:gd name="connsiteX59" fmla="*/ 8469 w 10000"/>
                <a:gd name="connsiteY59" fmla="*/ 7804 h 10000"/>
                <a:gd name="connsiteX60" fmla="*/ 8682 w 10000"/>
                <a:gd name="connsiteY60" fmla="*/ 8451 h 10000"/>
                <a:gd name="connsiteX61" fmla="*/ 8566 w 10000"/>
                <a:gd name="connsiteY61" fmla="*/ 8569 h 10000"/>
                <a:gd name="connsiteX62" fmla="*/ 8450 w 10000"/>
                <a:gd name="connsiteY62" fmla="*/ 8686 h 10000"/>
                <a:gd name="connsiteX63" fmla="*/ 7810 w 10000"/>
                <a:gd name="connsiteY63" fmla="*/ 8471 h 10000"/>
                <a:gd name="connsiteX64" fmla="*/ 7616 w 10000"/>
                <a:gd name="connsiteY64" fmla="*/ 8608 h 10000"/>
                <a:gd name="connsiteX65" fmla="*/ 7442 w 10000"/>
                <a:gd name="connsiteY65" fmla="*/ 8745 h 10000"/>
                <a:gd name="connsiteX66" fmla="*/ 7442 w 10000"/>
                <a:gd name="connsiteY66" fmla="*/ 9412 h 10000"/>
                <a:gd name="connsiteX67" fmla="*/ 7287 w 10000"/>
                <a:gd name="connsiteY67" fmla="*/ 9510 h 10000"/>
                <a:gd name="connsiteX68" fmla="*/ 7151 w 10000"/>
                <a:gd name="connsiteY68" fmla="*/ 9569 h 10000"/>
                <a:gd name="connsiteX69" fmla="*/ 6609 w 10000"/>
                <a:gd name="connsiteY69" fmla="*/ 9157 h 10000"/>
                <a:gd name="connsiteX70" fmla="*/ 6395 w 10000"/>
                <a:gd name="connsiteY70" fmla="*/ 9235 h 10000"/>
                <a:gd name="connsiteX71" fmla="*/ 6279 w 10000"/>
                <a:gd name="connsiteY71" fmla="*/ 9275 h 10000"/>
                <a:gd name="connsiteX72" fmla="*/ 6163 w 10000"/>
                <a:gd name="connsiteY72" fmla="*/ 9314 h 10000"/>
                <a:gd name="connsiteX73" fmla="*/ 5950 w 10000"/>
                <a:gd name="connsiteY73" fmla="*/ 9961 h 10000"/>
                <a:gd name="connsiteX74" fmla="*/ 5640 w 10000"/>
                <a:gd name="connsiteY74" fmla="*/ 10000 h 10000"/>
                <a:gd name="connsiteX75" fmla="*/ 5252 w 10000"/>
                <a:gd name="connsiteY75" fmla="*/ 9451 h 10000"/>
                <a:gd name="connsiteX76" fmla="*/ 5019 w 10000"/>
                <a:gd name="connsiteY76" fmla="*/ 9451 h 10000"/>
                <a:gd name="connsiteX77" fmla="*/ 4767 w 10000"/>
                <a:gd name="connsiteY77" fmla="*/ 9451 h 10000"/>
                <a:gd name="connsiteX78" fmla="*/ 4380 w 10000"/>
                <a:gd name="connsiteY78" fmla="*/ 10000 h 10000"/>
                <a:gd name="connsiteX79" fmla="*/ 4225 w 10000"/>
                <a:gd name="connsiteY79" fmla="*/ 9980 h 10000"/>
                <a:gd name="connsiteX80" fmla="*/ 4070 w 10000"/>
                <a:gd name="connsiteY80" fmla="*/ 9961 h 10000"/>
                <a:gd name="connsiteX81" fmla="*/ 3857 w 10000"/>
                <a:gd name="connsiteY81" fmla="*/ 9314 h 10000"/>
                <a:gd name="connsiteX82" fmla="*/ 3624 w 10000"/>
                <a:gd name="connsiteY82" fmla="*/ 9235 h 10000"/>
                <a:gd name="connsiteX83" fmla="*/ 3508 w 10000"/>
                <a:gd name="connsiteY83" fmla="*/ 9216 h 10000"/>
                <a:gd name="connsiteX84" fmla="*/ 3411 w 10000"/>
                <a:gd name="connsiteY84" fmla="*/ 9157 h 10000"/>
                <a:gd name="connsiteX85" fmla="*/ 2868 w 10000"/>
                <a:gd name="connsiteY85" fmla="*/ 9569 h 10000"/>
                <a:gd name="connsiteX86" fmla="*/ 2733 w 10000"/>
                <a:gd name="connsiteY86" fmla="*/ 9510 h 10000"/>
                <a:gd name="connsiteX87" fmla="*/ 2578 w 10000"/>
                <a:gd name="connsiteY87" fmla="*/ 9412 h 10000"/>
                <a:gd name="connsiteX88" fmla="*/ 2597 w 10000"/>
                <a:gd name="connsiteY88" fmla="*/ 8745 h 10000"/>
                <a:gd name="connsiteX89" fmla="*/ 2403 w 10000"/>
                <a:gd name="connsiteY89" fmla="*/ 8608 h 10000"/>
                <a:gd name="connsiteX90" fmla="*/ 2306 w 10000"/>
                <a:gd name="connsiteY90" fmla="*/ 8529 h 10000"/>
                <a:gd name="connsiteX91" fmla="*/ 2209 w 10000"/>
                <a:gd name="connsiteY91" fmla="*/ 8471 h 10000"/>
                <a:gd name="connsiteX92" fmla="*/ 1570 w 10000"/>
                <a:gd name="connsiteY92" fmla="*/ 8686 h 10000"/>
                <a:gd name="connsiteX93" fmla="*/ 1453 w 10000"/>
                <a:gd name="connsiteY93" fmla="*/ 8569 h 10000"/>
                <a:gd name="connsiteX94" fmla="*/ 1337 w 10000"/>
                <a:gd name="connsiteY94" fmla="*/ 8451 h 10000"/>
                <a:gd name="connsiteX95" fmla="*/ 1550 w 10000"/>
                <a:gd name="connsiteY95" fmla="*/ 7804 h 10000"/>
                <a:gd name="connsiteX96" fmla="*/ 1415 w 10000"/>
                <a:gd name="connsiteY96" fmla="*/ 7627 h 10000"/>
                <a:gd name="connsiteX97" fmla="*/ 1279 w 10000"/>
                <a:gd name="connsiteY97" fmla="*/ 7412 h 10000"/>
                <a:gd name="connsiteX98" fmla="*/ 601 w 10000"/>
                <a:gd name="connsiteY98" fmla="*/ 7431 h 10000"/>
                <a:gd name="connsiteX99" fmla="*/ 523 w 10000"/>
                <a:gd name="connsiteY99" fmla="*/ 7294 h 10000"/>
                <a:gd name="connsiteX100" fmla="*/ 446 w 10000"/>
                <a:gd name="connsiteY100" fmla="*/ 7157 h 10000"/>
                <a:gd name="connsiteX101" fmla="*/ 853 w 10000"/>
                <a:gd name="connsiteY101" fmla="*/ 6608 h 10000"/>
                <a:gd name="connsiteX102" fmla="*/ 775 w 10000"/>
                <a:gd name="connsiteY102" fmla="*/ 6392 h 10000"/>
                <a:gd name="connsiteX103" fmla="*/ 756 w 10000"/>
                <a:gd name="connsiteY103" fmla="*/ 6275 h 10000"/>
                <a:gd name="connsiteX104" fmla="*/ 717 w 10000"/>
                <a:gd name="connsiteY104" fmla="*/ 6157 h 10000"/>
                <a:gd name="connsiteX105" fmla="*/ 58 w 10000"/>
                <a:gd name="connsiteY105" fmla="*/ 5941 h 10000"/>
                <a:gd name="connsiteX106" fmla="*/ 0 w 10000"/>
                <a:gd name="connsiteY106" fmla="*/ 5627 h 10000"/>
                <a:gd name="connsiteX107" fmla="*/ 581 w 10000"/>
                <a:gd name="connsiteY107" fmla="*/ 5235 h 10000"/>
                <a:gd name="connsiteX108" fmla="*/ 562 w 10000"/>
                <a:gd name="connsiteY108" fmla="*/ 5000 h 10000"/>
                <a:gd name="connsiteX109" fmla="*/ 581 w 10000"/>
                <a:gd name="connsiteY109" fmla="*/ 4765 h 10000"/>
                <a:gd name="connsiteX110" fmla="*/ 0 w 10000"/>
                <a:gd name="connsiteY110" fmla="*/ 4392 h 10000"/>
                <a:gd name="connsiteX111" fmla="*/ 19 w 10000"/>
                <a:gd name="connsiteY111" fmla="*/ 4216 h 10000"/>
                <a:gd name="connsiteX112" fmla="*/ 58 w 10000"/>
                <a:gd name="connsiteY112" fmla="*/ 4059 h 10000"/>
                <a:gd name="connsiteX113" fmla="*/ 717 w 10000"/>
                <a:gd name="connsiteY113" fmla="*/ 3863 h 10000"/>
                <a:gd name="connsiteX114" fmla="*/ 775 w 10000"/>
                <a:gd name="connsiteY114" fmla="*/ 3627 h 10000"/>
                <a:gd name="connsiteX115" fmla="*/ 814 w 10000"/>
                <a:gd name="connsiteY115" fmla="*/ 3510 h 10000"/>
                <a:gd name="connsiteX116" fmla="*/ 853 w 10000"/>
                <a:gd name="connsiteY116" fmla="*/ 3392 h 10000"/>
                <a:gd name="connsiteX117" fmla="*/ 446 w 10000"/>
                <a:gd name="connsiteY117" fmla="*/ 2863 h 10000"/>
                <a:gd name="connsiteX118" fmla="*/ 523 w 10000"/>
                <a:gd name="connsiteY118" fmla="*/ 2706 h 10000"/>
                <a:gd name="connsiteX119" fmla="*/ 601 w 10000"/>
                <a:gd name="connsiteY119" fmla="*/ 2588 h 10000"/>
                <a:gd name="connsiteX120" fmla="*/ 1279 w 10000"/>
                <a:gd name="connsiteY120" fmla="*/ 2588 h 10000"/>
                <a:gd name="connsiteX0" fmla="*/ 2597 w 10000"/>
                <a:gd name="connsiteY0" fmla="*/ 1275 h 10000"/>
                <a:gd name="connsiteX1" fmla="*/ 2578 w 10000"/>
                <a:gd name="connsiteY1" fmla="*/ 588 h 10000"/>
                <a:gd name="connsiteX2" fmla="*/ 2733 w 10000"/>
                <a:gd name="connsiteY2" fmla="*/ 510 h 10000"/>
                <a:gd name="connsiteX3" fmla="*/ 2868 w 10000"/>
                <a:gd name="connsiteY3" fmla="*/ 451 h 10000"/>
                <a:gd name="connsiteX4" fmla="*/ 3411 w 10000"/>
                <a:gd name="connsiteY4" fmla="*/ 843 h 10000"/>
                <a:gd name="connsiteX5" fmla="*/ 3624 w 10000"/>
                <a:gd name="connsiteY5" fmla="*/ 765 h 10000"/>
                <a:gd name="connsiteX6" fmla="*/ 3740 w 10000"/>
                <a:gd name="connsiteY6" fmla="*/ 725 h 10000"/>
                <a:gd name="connsiteX7" fmla="*/ 3857 w 10000"/>
                <a:gd name="connsiteY7" fmla="*/ 706 h 10000"/>
                <a:gd name="connsiteX8" fmla="*/ 4070 w 10000"/>
                <a:gd name="connsiteY8" fmla="*/ 59 h 10000"/>
                <a:gd name="connsiteX9" fmla="*/ 4380 w 10000"/>
                <a:gd name="connsiteY9" fmla="*/ 0 h 10000"/>
                <a:gd name="connsiteX10" fmla="*/ 4767 w 10000"/>
                <a:gd name="connsiteY10" fmla="*/ 569 h 10000"/>
                <a:gd name="connsiteX11" fmla="*/ 5019 w 10000"/>
                <a:gd name="connsiteY11" fmla="*/ 549 h 10000"/>
                <a:gd name="connsiteX12" fmla="*/ 5252 w 10000"/>
                <a:gd name="connsiteY12" fmla="*/ 569 h 10000"/>
                <a:gd name="connsiteX13" fmla="*/ 5640 w 10000"/>
                <a:gd name="connsiteY13" fmla="*/ 0 h 10000"/>
                <a:gd name="connsiteX14" fmla="*/ 5795 w 10000"/>
                <a:gd name="connsiteY14" fmla="*/ 20 h 10000"/>
                <a:gd name="connsiteX15" fmla="*/ 5950 w 10000"/>
                <a:gd name="connsiteY15" fmla="*/ 59 h 10000"/>
                <a:gd name="connsiteX16" fmla="*/ 6163 w 10000"/>
                <a:gd name="connsiteY16" fmla="*/ 706 h 10000"/>
                <a:gd name="connsiteX17" fmla="*/ 6395 w 10000"/>
                <a:gd name="connsiteY17" fmla="*/ 765 h 10000"/>
                <a:gd name="connsiteX18" fmla="*/ 6492 w 10000"/>
                <a:gd name="connsiteY18" fmla="*/ 804 h 10000"/>
                <a:gd name="connsiteX19" fmla="*/ 6609 w 10000"/>
                <a:gd name="connsiteY19" fmla="*/ 843 h 10000"/>
                <a:gd name="connsiteX20" fmla="*/ 7151 w 10000"/>
                <a:gd name="connsiteY20" fmla="*/ 451 h 10000"/>
                <a:gd name="connsiteX21" fmla="*/ 7287 w 10000"/>
                <a:gd name="connsiteY21" fmla="*/ 510 h 10000"/>
                <a:gd name="connsiteX22" fmla="*/ 7442 w 10000"/>
                <a:gd name="connsiteY22" fmla="*/ 588 h 10000"/>
                <a:gd name="connsiteX23" fmla="*/ 7442 w 10000"/>
                <a:gd name="connsiteY23" fmla="*/ 1275 h 10000"/>
                <a:gd name="connsiteX24" fmla="*/ 7616 w 10000"/>
                <a:gd name="connsiteY24" fmla="*/ 1412 h 10000"/>
                <a:gd name="connsiteX25" fmla="*/ 7713 w 10000"/>
                <a:gd name="connsiteY25" fmla="*/ 1471 h 10000"/>
                <a:gd name="connsiteX26" fmla="*/ 7810 w 10000"/>
                <a:gd name="connsiteY26" fmla="*/ 1549 h 10000"/>
                <a:gd name="connsiteX27" fmla="*/ 8450 w 10000"/>
                <a:gd name="connsiteY27" fmla="*/ 1333 h 10000"/>
                <a:gd name="connsiteX28" fmla="*/ 8566 w 10000"/>
                <a:gd name="connsiteY28" fmla="*/ 1451 h 10000"/>
                <a:gd name="connsiteX29" fmla="*/ 8682 w 10000"/>
                <a:gd name="connsiteY29" fmla="*/ 1569 h 10000"/>
                <a:gd name="connsiteX30" fmla="*/ 8469 w 10000"/>
                <a:gd name="connsiteY30" fmla="*/ 2216 h 10000"/>
                <a:gd name="connsiteX31" fmla="*/ 8605 w 10000"/>
                <a:gd name="connsiteY31" fmla="*/ 2392 h 10000"/>
                <a:gd name="connsiteX32" fmla="*/ 8740 w 10000"/>
                <a:gd name="connsiteY32" fmla="*/ 2588 h 10000"/>
                <a:gd name="connsiteX33" fmla="*/ 9419 w 10000"/>
                <a:gd name="connsiteY33" fmla="*/ 2588 h 10000"/>
                <a:gd name="connsiteX34" fmla="*/ 9496 w 10000"/>
                <a:gd name="connsiteY34" fmla="*/ 2706 h 10000"/>
                <a:gd name="connsiteX35" fmla="*/ 9574 w 10000"/>
                <a:gd name="connsiteY35" fmla="*/ 2863 h 10000"/>
                <a:gd name="connsiteX36" fmla="*/ 9167 w 10000"/>
                <a:gd name="connsiteY36" fmla="*/ 3392 h 10000"/>
                <a:gd name="connsiteX37" fmla="*/ 9244 w 10000"/>
                <a:gd name="connsiteY37" fmla="*/ 3627 h 10000"/>
                <a:gd name="connsiteX38" fmla="*/ 9283 w 10000"/>
                <a:gd name="connsiteY38" fmla="*/ 3745 h 10000"/>
                <a:gd name="connsiteX39" fmla="*/ 9302 w 10000"/>
                <a:gd name="connsiteY39" fmla="*/ 3863 h 10000"/>
                <a:gd name="connsiteX40" fmla="*/ 9961 w 10000"/>
                <a:gd name="connsiteY40" fmla="*/ 4059 h 10000"/>
                <a:gd name="connsiteX41" fmla="*/ 10000 w 10000"/>
                <a:gd name="connsiteY41" fmla="*/ 4392 h 10000"/>
                <a:gd name="connsiteX42" fmla="*/ 9438 w 10000"/>
                <a:gd name="connsiteY42" fmla="*/ 4765 h 10000"/>
                <a:gd name="connsiteX43" fmla="*/ 9457 w 10000"/>
                <a:gd name="connsiteY43" fmla="*/ 5000 h 10000"/>
                <a:gd name="connsiteX44" fmla="*/ 9438 w 10000"/>
                <a:gd name="connsiteY44" fmla="*/ 5235 h 10000"/>
                <a:gd name="connsiteX45" fmla="*/ 10000 w 10000"/>
                <a:gd name="connsiteY45" fmla="*/ 5627 h 10000"/>
                <a:gd name="connsiteX46" fmla="*/ 9981 w 10000"/>
                <a:gd name="connsiteY46" fmla="*/ 5784 h 10000"/>
                <a:gd name="connsiteX47" fmla="*/ 9961 w 10000"/>
                <a:gd name="connsiteY47" fmla="*/ 5941 h 10000"/>
                <a:gd name="connsiteX48" fmla="*/ 9302 w 10000"/>
                <a:gd name="connsiteY48" fmla="*/ 6157 h 10000"/>
                <a:gd name="connsiteX49" fmla="*/ 9244 w 10000"/>
                <a:gd name="connsiteY49" fmla="*/ 6392 h 10000"/>
                <a:gd name="connsiteX50" fmla="*/ 9205 w 10000"/>
                <a:gd name="connsiteY50" fmla="*/ 6490 h 10000"/>
                <a:gd name="connsiteX51" fmla="*/ 9167 w 10000"/>
                <a:gd name="connsiteY51" fmla="*/ 6608 h 10000"/>
                <a:gd name="connsiteX52" fmla="*/ 9574 w 10000"/>
                <a:gd name="connsiteY52" fmla="*/ 7157 h 10000"/>
                <a:gd name="connsiteX53" fmla="*/ 9496 w 10000"/>
                <a:gd name="connsiteY53" fmla="*/ 7294 h 10000"/>
                <a:gd name="connsiteX54" fmla="*/ 9419 w 10000"/>
                <a:gd name="connsiteY54" fmla="*/ 7431 h 10000"/>
                <a:gd name="connsiteX55" fmla="*/ 8740 w 10000"/>
                <a:gd name="connsiteY55" fmla="*/ 7412 h 10000"/>
                <a:gd name="connsiteX56" fmla="*/ 8605 w 10000"/>
                <a:gd name="connsiteY56" fmla="*/ 7627 h 10000"/>
                <a:gd name="connsiteX57" fmla="*/ 8547 w 10000"/>
                <a:gd name="connsiteY57" fmla="*/ 7706 h 10000"/>
                <a:gd name="connsiteX58" fmla="*/ 8469 w 10000"/>
                <a:gd name="connsiteY58" fmla="*/ 7804 h 10000"/>
                <a:gd name="connsiteX59" fmla="*/ 8682 w 10000"/>
                <a:gd name="connsiteY59" fmla="*/ 8451 h 10000"/>
                <a:gd name="connsiteX60" fmla="*/ 8566 w 10000"/>
                <a:gd name="connsiteY60" fmla="*/ 8569 h 10000"/>
                <a:gd name="connsiteX61" fmla="*/ 8450 w 10000"/>
                <a:gd name="connsiteY61" fmla="*/ 8686 h 10000"/>
                <a:gd name="connsiteX62" fmla="*/ 7810 w 10000"/>
                <a:gd name="connsiteY62" fmla="*/ 8471 h 10000"/>
                <a:gd name="connsiteX63" fmla="*/ 7616 w 10000"/>
                <a:gd name="connsiteY63" fmla="*/ 8608 h 10000"/>
                <a:gd name="connsiteX64" fmla="*/ 7442 w 10000"/>
                <a:gd name="connsiteY64" fmla="*/ 8745 h 10000"/>
                <a:gd name="connsiteX65" fmla="*/ 7442 w 10000"/>
                <a:gd name="connsiteY65" fmla="*/ 9412 h 10000"/>
                <a:gd name="connsiteX66" fmla="*/ 7287 w 10000"/>
                <a:gd name="connsiteY66" fmla="*/ 9510 h 10000"/>
                <a:gd name="connsiteX67" fmla="*/ 7151 w 10000"/>
                <a:gd name="connsiteY67" fmla="*/ 9569 h 10000"/>
                <a:gd name="connsiteX68" fmla="*/ 6609 w 10000"/>
                <a:gd name="connsiteY68" fmla="*/ 9157 h 10000"/>
                <a:gd name="connsiteX69" fmla="*/ 6395 w 10000"/>
                <a:gd name="connsiteY69" fmla="*/ 9235 h 10000"/>
                <a:gd name="connsiteX70" fmla="*/ 6279 w 10000"/>
                <a:gd name="connsiteY70" fmla="*/ 9275 h 10000"/>
                <a:gd name="connsiteX71" fmla="*/ 6163 w 10000"/>
                <a:gd name="connsiteY71" fmla="*/ 9314 h 10000"/>
                <a:gd name="connsiteX72" fmla="*/ 5950 w 10000"/>
                <a:gd name="connsiteY72" fmla="*/ 9961 h 10000"/>
                <a:gd name="connsiteX73" fmla="*/ 5640 w 10000"/>
                <a:gd name="connsiteY73" fmla="*/ 10000 h 10000"/>
                <a:gd name="connsiteX74" fmla="*/ 5252 w 10000"/>
                <a:gd name="connsiteY74" fmla="*/ 9451 h 10000"/>
                <a:gd name="connsiteX75" fmla="*/ 5019 w 10000"/>
                <a:gd name="connsiteY75" fmla="*/ 9451 h 10000"/>
                <a:gd name="connsiteX76" fmla="*/ 4767 w 10000"/>
                <a:gd name="connsiteY76" fmla="*/ 9451 h 10000"/>
                <a:gd name="connsiteX77" fmla="*/ 4380 w 10000"/>
                <a:gd name="connsiteY77" fmla="*/ 10000 h 10000"/>
                <a:gd name="connsiteX78" fmla="*/ 4225 w 10000"/>
                <a:gd name="connsiteY78" fmla="*/ 9980 h 10000"/>
                <a:gd name="connsiteX79" fmla="*/ 4070 w 10000"/>
                <a:gd name="connsiteY79" fmla="*/ 9961 h 10000"/>
                <a:gd name="connsiteX80" fmla="*/ 3857 w 10000"/>
                <a:gd name="connsiteY80" fmla="*/ 9314 h 10000"/>
                <a:gd name="connsiteX81" fmla="*/ 3624 w 10000"/>
                <a:gd name="connsiteY81" fmla="*/ 9235 h 10000"/>
                <a:gd name="connsiteX82" fmla="*/ 3508 w 10000"/>
                <a:gd name="connsiteY82" fmla="*/ 9216 h 10000"/>
                <a:gd name="connsiteX83" fmla="*/ 3411 w 10000"/>
                <a:gd name="connsiteY83" fmla="*/ 9157 h 10000"/>
                <a:gd name="connsiteX84" fmla="*/ 2868 w 10000"/>
                <a:gd name="connsiteY84" fmla="*/ 9569 h 10000"/>
                <a:gd name="connsiteX85" fmla="*/ 2733 w 10000"/>
                <a:gd name="connsiteY85" fmla="*/ 9510 h 10000"/>
                <a:gd name="connsiteX86" fmla="*/ 2578 w 10000"/>
                <a:gd name="connsiteY86" fmla="*/ 9412 h 10000"/>
                <a:gd name="connsiteX87" fmla="*/ 2597 w 10000"/>
                <a:gd name="connsiteY87" fmla="*/ 8745 h 10000"/>
                <a:gd name="connsiteX88" fmla="*/ 2403 w 10000"/>
                <a:gd name="connsiteY88" fmla="*/ 8608 h 10000"/>
                <a:gd name="connsiteX89" fmla="*/ 2306 w 10000"/>
                <a:gd name="connsiteY89" fmla="*/ 8529 h 10000"/>
                <a:gd name="connsiteX90" fmla="*/ 2209 w 10000"/>
                <a:gd name="connsiteY90" fmla="*/ 8471 h 10000"/>
                <a:gd name="connsiteX91" fmla="*/ 1570 w 10000"/>
                <a:gd name="connsiteY91" fmla="*/ 8686 h 10000"/>
                <a:gd name="connsiteX92" fmla="*/ 1453 w 10000"/>
                <a:gd name="connsiteY92" fmla="*/ 8569 h 10000"/>
                <a:gd name="connsiteX93" fmla="*/ 1337 w 10000"/>
                <a:gd name="connsiteY93" fmla="*/ 8451 h 10000"/>
                <a:gd name="connsiteX94" fmla="*/ 1550 w 10000"/>
                <a:gd name="connsiteY94" fmla="*/ 7804 h 10000"/>
                <a:gd name="connsiteX95" fmla="*/ 1415 w 10000"/>
                <a:gd name="connsiteY95" fmla="*/ 7627 h 10000"/>
                <a:gd name="connsiteX96" fmla="*/ 1279 w 10000"/>
                <a:gd name="connsiteY96" fmla="*/ 7412 h 10000"/>
                <a:gd name="connsiteX97" fmla="*/ 601 w 10000"/>
                <a:gd name="connsiteY97" fmla="*/ 7431 h 10000"/>
                <a:gd name="connsiteX98" fmla="*/ 523 w 10000"/>
                <a:gd name="connsiteY98" fmla="*/ 7294 h 10000"/>
                <a:gd name="connsiteX99" fmla="*/ 446 w 10000"/>
                <a:gd name="connsiteY99" fmla="*/ 7157 h 10000"/>
                <a:gd name="connsiteX100" fmla="*/ 853 w 10000"/>
                <a:gd name="connsiteY100" fmla="*/ 6608 h 10000"/>
                <a:gd name="connsiteX101" fmla="*/ 775 w 10000"/>
                <a:gd name="connsiteY101" fmla="*/ 6392 h 10000"/>
                <a:gd name="connsiteX102" fmla="*/ 756 w 10000"/>
                <a:gd name="connsiteY102" fmla="*/ 6275 h 10000"/>
                <a:gd name="connsiteX103" fmla="*/ 717 w 10000"/>
                <a:gd name="connsiteY103" fmla="*/ 6157 h 10000"/>
                <a:gd name="connsiteX104" fmla="*/ 58 w 10000"/>
                <a:gd name="connsiteY104" fmla="*/ 5941 h 10000"/>
                <a:gd name="connsiteX105" fmla="*/ 0 w 10000"/>
                <a:gd name="connsiteY105" fmla="*/ 5627 h 10000"/>
                <a:gd name="connsiteX106" fmla="*/ 581 w 10000"/>
                <a:gd name="connsiteY106" fmla="*/ 5235 h 10000"/>
                <a:gd name="connsiteX107" fmla="*/ 562 w 10000"/>
                <a:gd name="connsiteY107" fmla="*/ 5000 h 10000"/>
                <a:gd name="connsiteX108" fmla="*/ 581 w 10000"/>
                <a:gd name="connsiteY108" fmla="*/ 4765 h 10000"/>
                <a:gd name="connsiteX109" fmla="*/ 0 w 10000"/>
                <a:gd name="connsiteY109" fmla="*/ 4392 h 10000"/>
                <a:gd name="connsiteX110" fmla="*/ 19 w 10000"/>
                <a:gd name="connsiteY110" fmla="*/ 4216 h 10000"/>
                <a:gd name="connsiteX111" fmla="*/ 58 w 10000"/>
                <a:gd name="connsiteY111" fmla="*/ 4059 h 10000"/>
                <a:gd name="connsiteX112" fmla="*/ 717 w 10000"/>
                <a:gd name="connsiteY112" fmla="*/ 3863 h 10000"/>
                <a:gd name="connsiteX113" fmla="*/ 775 w 10000"/>
                <a:gd name="connsiteY113" fmla="*/ 3627 h 10000"/>
                <a:gd name="connsiteX114" fmla="*/ 814 w 10000"/>
                <a:gd name="connsiteY114" fmla="*/ 3510 h 10000"/>
                <a:gd name="connsiteX115" fmla="*/ 853 w 10000"/>
                <a:gd name="connsiteY115" fmla="*/ 3392 h 10000"/>
                <a:gd name="connsiteX116" fmla="*/ 446 w 10000"/>
                <a:gd name="connsiteY116" fmla="*/ 2863 h 10000"/>
                <a:gd name="connsiteX117" fmla="*/ 523 w 10000"/>
                <a:gd name="connsiteY117" fmla="*/ 2706 h 10000"/>
                <a:gd name="connsiteX118" fmla="*/ 601 w 10000"/>
                <a:gd name="connsiteY118" fmla="*/ 2588 h 10000"/>
                <a:gd name="connsiteX119" fmla="*/ 1279 w 10000"/>
                <a:gd name="connsiteY119" fmla="*/ 2588 h 10000"/>
                <a:gd name="connsiteX0" fmla="*/ 2578 w 10000"/>
                <a:gd name="connsiteY0" fmla="*/ 588 h 10000"/>
                <a:gd name="connsiteX1" fmla="*/ 2733 w 10000"/>
                <a:gd name="connsiteY1" fmla="*/ 510 h 10000"/>
                <a:gd name="connsiteX2" fmla="*/ 2868 w 10000"/>
                <a:gd name="connsiteY2" fmla="*/ 451 h 10000"/>
                <a:gd name="connsiteX3" fmla="*/ 3411 w 10000"/>
                <a:gd name="connsiteY3" fmla="*/ 843 h 10000"/>
                <a:gd name="connsiteX4" fmla="*/ 3624 w 10000"/>
                <a:gd name="connsiteY4" fmla="*/ 765 h 10000"/>
                <a:gd name="connsiteX5" fmla="*/ 3740 w 10000"/>
                <a:gd name="connsiteY5" fmla="*/ 725 h 10000"/>
                <a:gd name="connsiteX6" fmla="*/ 3857 w 10000"/>
                <a:gd name="connsiteY6" fmla="*/ 706 h 10000"/>
                <a:gd name="connsiteX7" fmla="*/ 4070 w 10000"/>
                <a:gd name="connsiteY7" fmla="*/ 59 h 10000"/>
                <a:gd name="connsiteX8" fmla="*/ 4380 w 10000"/>
                <a:gd name="connsiteY8" fmla="*/ 0 h 10000"/>
                <a:gd name="connsiteX9" fmla="*/ 4767 w 10000"/>
                <a:gd name="connsiteY9" fmla="*/ 569 h 10000"/>
                <a:gd name="connsiteX10" fmla="*/ 5019 w 10000"/>
                <a:gd name="connsiteY10" fmla="*/ 549 h 10000"/>
                <a:gd name="connsiteX11" fmla="*/ 5252 w 10000"/>
                <a:gd name="connsiteY11" fmla="*/ 569 h 10000"/>
                <a:gd name="connsiteX12" fmla="*/ 5640 w 10000"/>
                <a:gd name="connsiteY12" fmla="*/ 0 h 10000"/>
                <a:gd name="connsiteX13" fmla="*/ 5795 w 10000"/>
                <a:gd name="connsiteY13" fmla="*/ 20 h 10000"/>
                <a:gd name="connsiteX14" fmla="*/ 5950 w 10000"/>
                <a:gd name="connsiteY14" fmla="*/ 59 h 10000"/>
                <a:gd name="connsiteX15" fmla="*/ 6163 w 10000"/>
                <a:gd name="connsiteY15" fmla="*/ 706 h 10000"/>
                <a:gd name="connsiteX16" fmla="*/ 6395 w 10000"/>
                <a:gd name="connsiteY16" fmla="*/ 765 h 10000"/>
                <a:gd name="connsiteX17" fmla="*/ 6492 w 10000"/>
                <a:gd name="connsiteY17" fmla="*/ 804 h 10000"/>
                <a:gd name="connsiteX18" fmla="*/ 6609 w 10000"/>
                <a:gd name="connsiteY18" fmla="*/ 843 h 10000"/>
                <a:gd name="connsiteX19" fmla="*/ 7151 w 10000"/>
                <a:gd name="connsiteY19" fmla="*/ 451 h 10000"/>
                <a:gd name="connsiteX20" fmla="*/ 7287 w 10000"/>
                <a:gd name="connsiteY20" fmla="*/ 510 h 10000"/>
                <a:gd name="connsiteX21" fmla="*/ 7442 w 10000"/>
                <a:gd name="connsiteY21" fmla="*/ 588 h 10000"/>
                <a:gd name="connsiteX22" fmla="*/ 7442 w 10000"/>
                <a:gd name="connsiteY22" fmla="*/ 1275 h 10000"/>
                <a:gd name="connsiteX23" fmla="*/ 7616 w 10000"/>
                <a:gd name="connsiteY23" fmla="*/ 1412 h 10000"/>
                <a:gd name="connsiteX24" fmla="*/ 7713 w 10000"/>
                <a:gd name="connsiteY24" fmla="*/ 1471 h 10000"/>
                <a:gd name="connsiteX25" fmla="*/ 7810 w 10000"/>
                <a:gd name="connsiteY25" fmla="*/ 1549 h 10000"/>
                <a:gd name="connsiteX26" fmla="*/ 8450 w 10000"/>
                <a:gd name="connsiteY26" fmla="*/ 1333 h 10000"/>
                <a:gd name="connsiteX27" fmla="*/ 8566 w 10000"/>
                <a:gd name="connsiteY27" fmla="*/ 1451 h 10000"/>
                <a:gd name="connsiteX28" fmla="*/ 8682 w 10000"/>
                <a:gd name="connsiteY28" fmla="*/ 1569 h 10000"/>
                <a:gd name="connsiteX29" fmla="*/ 8469 w 10000"/>
                <a:gd name="connsiteY29" fmla="*/ 2216 h 10000"/>
                <a:gd name="connsiteX30" fmla="*/ 8605 w 10000"/>
                <a:gd name="connsiteY30" fmla="*/ 2392 h 10000"/>
                <a:gd name="connsiteX31" fmla="*/ 8740 w 10000"/>
                <a:gd name="connsiteY31" fmla="*/ 2588 h 10000"/>
                <a:gd name="connsiteX32" fmla="*/ 9419 w 10000"/>
                <a:gd name="connsiteY32" fmla="*/ 2588 h 10000"/>
                <a:gd name="connsiteX33" fmla="*/ 9496 w 10000"/>
                <a:gd name="connsiteY33" fmla="*/ 2706 h 10000"/>
                <a:gd name="connsiteX34" fmla="*/ 9574 w 10000"/>
                <a:gd name="connsiteY34" fmla="*/ 2863 h 10000"/>
                <a:gd name="connsiteX35" fmla="*/ 9167 w 10000"/>
                <a:gd name="connsiteY35" fmla="*/ 3392 h 10000"/>
                <a:gd name="connsiteX36" fmla="*/ 9244 w 10000"/>
                <a:gd name="connsiteY36" fmla="*/ 3627 h 10000"/>
                <a:gd name="connsiteX37" fmla="*/ 9283 w 10000"/>
                <a:gd name="connsiteY37" fmla="*/ 3745 h 10000"/>
                <a:gd name="connsiteX38" fmla="*/ 9302 w 10000"/>
                <a:gd name="connsiteY38" fmla="*/ 3863 h 10000"/>
                <a:gd name="connsiteX39" fmla="*/ 9961 w 10000"/>
                <a:gd name="connsiteY39" fmla="*/ 4059 h 10000"/>
                <a:gd name="connsiteX40" fmla="*/ 10000 w 10000"/>
                <a:gd name="connsiteY40" fmla="*/ 4392 h 10000"/>
                <a:gd name="connsiteX41" fmla="*/ 9438 w 10000"/>
                <a:gd name="connsiteY41" fmla="*/ 4765 h 10000"/>
                <a:gd name="connsiteX42" fmla="*/ 9457 w 10000"/>
                <a:gd name="connsiteY42" fmla="*/ 5000 h 10000"/>
                <a:gd name="connsiteX43" fmla="*/ 9438 w 10000"/>
                <a:gd name="connsiteY43" fmla="*/ 5235 h 10000"/>
                <a:gd name="connsiteX44" fmla="*/ 10000 w 10000"/>
                <a:gd name="connsiteY44" fmla="*/ 5627 h 10000"/>
                <a:gd name="connsiteX45" fmla="*/ 9981 w 10000"/>
                <a:gd name="connsiteY45" fmla="*/ 5784 h 10000"/>
                <a:gd name="connsiteX46" fmla="*/ 9961 w 10000"/>
                <a:gd name="connsiteY46" fmla="*/ 5941 h 10000"/>
                <a:gd name="connsiteX47" fmla="*/ 9302 w 10000"/>
                <a:gd name="connsiteY47" fmla="*/ 6157 h 10000"/>
                <a:gd name="connsiteX48" fmla="*/ 9244 w 10000"/>
                <a:gd name="connsiteY48" fmla="*/ 6392 h 10000"/>
                <a:gd name="connsiteX49" fmla="*/ 9205 w 10000"/>
                <a:gd name="connsiteY49" fmla="*/ 6490 h 10000"/>
                <a:gd name="connsiteX50" fmla="*/ 9167 w 10000"/>
                <a:gd name="connsiteY50" fmla="*/ 6608 h 10000"/>
                <a:gd name="connsiteX51" fmla="*/ 9574 w 10000"/>
                <a:gd name="connsiteY51" fmla="*/ 7157 h 10000"/>
                <a:gd name="connsiteX52" fmla="*/ 9496 w 10000"/>
                <a:gd name="connsiteY52" fmla="*/ 7294 h 10000"/>
                <a:gd name="connsiteX53" fmla="*/ 9419 w 10000"/>
                <a:gd name="connsiteY53" fmla="*/ 7431 h 10000"/>
                <a:gd name="connsiteX54" fmla="*/ 8740 w 10000"/>
                <a:gd name="connsiteY54" fmla="*/ 7412 h 10000"/>
                <a:gd name="connsiteX55" fmla="*/ 8605 w 10000"/>
                <a:gd name="connsiteY55" fmla="*/ 7627 h 10000"/>
                <a:gd name="connsiteX56" fmla="*/ 8547 w 10000"/>
                <a:gd name="connsiteY56" fmla="*/ 7706 h 10000"/>
                <a:gd name="connsiteX57" fmla="*/ 8469 w 10000"/>
                <a:gd name="connsiteY57" fmla="*/ 7804 h 10000"/>
                <a:gd name="connsiteX58" fmla="*/ 8682 w 10000"/>
                <a:gd name="connsiteY58" fmla="*/ 8451 h 10000"/>
                <a:gd name="connsiteX59" fmla="*/ 8566 w 10000"/>
                <a:gd name="connsiteY59" fmla="*/ 8569 h 10000"/>
                <a:gd name="connsiteX60" fmla="*/ 8450 w 10000"/>
                <a:gd name="connsiteY60" fmla="*/ 8686 h 10000"/>
                <a:gd name="connsiteX61" fmla="*/ 7810 w 10000"/>
                <a:gd name="connsiteY61" fmla="*/ 8471 h 10000"/>
                <a:gd name="connsiteX62" fmla="*/ 7616 w 10000"/>
                <a:gd name="connsiteY62" fmla="*/ 8608 h 10000"/>
                <a:gd name="connsiteX63" fmla="*/ 7442 w 10000"/>
                <a:gd name="connsiteY63" fmla="*/ 8745 h 10000"/>
                <a:gd name="connsiteX64" fmla="*/ 7442 w 10000"/>
                <a:gd name="connsiteY64" fmla="*/ 9412 h 10000"/>
                <a:gd name="connsiteX65" fmla="*/ 7287 w 10000"/>
                <a:gd name="connsiteY65" fmla="*/ 9510 h 10000"/>
                <a:gd name="connsiteX66" fmla="*/ 7151 w 10000"/>
                <a:gd name="connsiteY66" fmla="*/ 9569 h 10000"/>
                <a:gd name="connsiteX67" fmla="*/ 6609 w 10000"/>
                <a:gd name="connsiteY67" fmla="*/ 9157 h 10000"/>
                <a:gd name="connsiteX68" fmla="*/ 6395 w 10000"/>
                <a:gd name="connsiteY68" fmla="*/ 9235 h 10000"/>
                <a:gd name="connsiteX69" fmla="*/ 6279 w 10000"/>
                <a:gd name="connsiteY69" fmla="*/ 9275 h 10000"/>
                <a:gd name="connsiteX70" fmla="*/ 6163 w 10000"/>
                <a:gd name="connsiteY70" fmla="*/ 9314 h 10000"/>
                <a:gd name="connsiteX71" fmla="*/ 5950 w 10000"/>
                <a:gd name="connsiteY71" fmla="*/ 9961 h 10000"/>
                <a:gd name="connsiteX72" fmla="*/ 5640 w 10000"/>
                <a:gd name="connsiteY72" fmla="*/ 10000 h 10000"/>
                <a:gd name="connsiteX73" fmla="*/ 5252 w 10000"/>
                <a:gd name="connsiteY73" fmla="*/ 9451 h 10000"/>
                <a:gd name="connsiteX74" fmla="*/ 5019 w 10000"/>
                <a:gd name="connsiteY74" fmla="*/ 9451 h 10000"/>
                <a:gd name="connsiteX75" fmla="*/ 4767 w 10000"/>
                <a:gd name="connsiteY75" fmla="*/ 9451 h 10000"/>
                <a:gd name="connsiteX76" fmla="*/ 4380 w 10000"/>
                <a:gd name="connsiteY76" fmla="*/ 10000 h 10000"/>
                <a:gd name="connsiteX77" fmla="*/ 4225 w 10000"/>
                <a:gd name="connsiteY77" fmla="*/ 9980 h 10000"/>
                <a:gd name="connsiteX78" fmla="*/ 4070 w 10000"/>
                <a:gd name="connsiteY78" fmla="*/ 9961 h 10000"/>
                <a:gd name="connsiteX79" fmla="*/ 3857 w 10000"/>
                <a:gd name="connsiteY79" fmla="*/ 9314 h 10000"/>
                <a:gd name="connsiteX80" fmla="*/ 3624 w 10000"/>
                <a:gd name="connsiteY80" fmla="*/ 9235 h 10000"/>
                <a:gd name="connsiteX81" fmla="*/ 3508 w 10000"/>
                <a:gd name="connsiteY81" fmla="*/ 9216 h 10000"/>
                <a:gd name="connsiteX82" fmla="*/ 3411 w 10000"/>
                <a:gd name="connsiteY82" fmla="*/ 9157 h 10000"/>
                <a:gd name="connsiteX83" fmla="*/ 2868 w 10000"/>
                <a:gd name="connsiteY83" fmla="*/ 9569 h 10000"/>
                <a:gd name="connsiteX84" fmla="*/ 2733 w 10000"/>
                <a:gd name="connsiteY84" fmla="*/ 9510 h 10000"/>
                <a:gd name="connsiteX85" fmla="*/ 2578 w 10000"/>
                <a:gd name="connsiteY85" fmla="*/ 9412 h 10000"/>
                <a:gd name="connsiteX86" fmla="*/ 2597 w 10000"/>
                <a:gd name="connsiteY86" fmla="*/ 8745 h 10000"/>
                <a:gd name="connsiteX87" fmla="*/ 2403 w 10000"/>
                <a:gd name="connsiteY87" fmla="*/ 8608 h 10000"/>
                <a:gd name="connsiteX88" fmla="*/ 2306 w 10000"/>
                <a:gd name="connsiteY88" fmla="*/ 8529 h 10000"/>
                <a:gd name="connsiteX89" fmla="*/ 2209 w 10000"/>
                <a:gd name="connsiteY89" fmla="*/ 8471 h 10000"/>
                <a:gd name="connsiteX90" fmla="*/ 1570 w 10000"/>
                <a:gd name="connsiteY90" fmla="*/ 8686 h 10000"/>
                <a:gd name="connsiteX91" fmla="*/ 1453 w 10000"/>
                <a:gd name="connsiteY91" fmla="*/ 8569 h 10000"/>
                <a:gd name="connsiteX92" fmla="*/ 1337 w 10000"/>
                <a:gd name="connsiteY92" fmla="*/ 8451 h 10000"/>
                <a:gd name="connsiteX93" fmla="*/ 1550 w 10000"/>
                <a:gd name="connsiteY93" fmla="*/ 7804 h 10000"/>
                <a:gd name="connsiteX94" fmla="*/ 1415 w 10000"/>
                <a:gd name="connsiteY94" fmla="*/ 7627 h 10000"/>
                <a:gd name="connsiteX95" fmla="*/ 1279 w 10000"/>
                <a:gd name="connsiteY95" fmla="*/ 7412 h 10000"/>
                <a:gd name="connsiteX96" fmla="*/ 601 w 10000"/>
                <a:gd name="connsiteY96" fmla="*/ 7431 h 10000"/>
                <a:gd name="connsiteX97" fmla="*/ 523 w 10000"/>
                <a:gd name="connsiteY97" fmla="*/ 7294 h 10000"/>
                <a:gd name="connsiteX98" fmla="*/ 446 w 10000"/>
                <a:gd name="connsiteY98" fmla="*/ 7157 h 10000"/>
                <a:gd name="connsiteX99" fmla="*/ 853 w 10000"/>
                <a:gd name="connsiteY99" fmla="*/ 6608 h 10000"/>
                <a:gd name="connsiteX100" fmla="*/ 775 w 10000"/>
                <a:gd name="connsiteY100" fmla="*/ 6392 h 10000"/>
                <a:gd name="connsiteX101" fmla="*/ 756 w 10000"/>
                <a:gd name="connsiteY101" fmla="*/ 6275 h 10000"/>
                <a:gd name="connsiteX102" fmla="*/ 717 w 10000"/>
                <a:gd name="connsiteY102" fmla="*/ 6157 h 10000"/>
                <a:gd name="connsiteX103" fmla="*/ 58 w 10000"/>
                <a:gd name="connsiteY103" fmla="*/ 5941 h 10000"/>
                <a:gd name="connsiteX104" fmla="*/ 0 w 10000"/>
                <a:gd name="connsiteY104" fmla="*/ 5627 h 10000"/>
                <a:gd name="connsiteX105" fmla="*/ 581 w 10000"/>
                <a:gd name="connsiteY105" fmla="*/ 5235 h 10000"/>
                <a:gd name="connsiteX106" fmla="*/ 562 w 10000"/>
                <a:gd name="connsiteY106" fmla="*/ 5000 h 10000"/>
                <a:gd name="connsiteX107" fmla="*/ 581 w 10000"/>
                <a:gd name="connsiteY107" fmla="*/ 4765 h 10000"/>
                <a:gd name="connsiteX108" fmla="*/ 0 w 10000"/>
                <a:gd name="connsiteY108" fmla="*/ 4392 h 10000"/>
                <a:gd name="connsiteX109" fmla="*/ 19 w 10000"/>
                <a:gd name="connsiteY109" fmla="*/ 4216 h 10000"/>
                <a:gd name="connsiteX110" fmla="*/ 58 w 10000"/>
                <a:gd name="connsiteY110" fmla="*/ 4059 h 10000"/>
                <a:gd name="connsiteX111" fmla="*/ 717 w 10000"/>
                <a:gd name="connsiteY111" fmla="*/ 3863 h 10000"/>
                <a:gd name="connsiteX112" fmla="*/ 775 w 10000"/>
                <a:gd name="connsiteY112" fmla="*/ 3627 h 10000"/>
                <a:gd name="connsiteX113" fmla="*/ 814 w 10000"/>
                <a:gd name="connsiteY113" fmla="*/ 3510 h 10000"/>
                <a:gd name="connsiteX114" fmla="*/ 853 w 10000"/>
                <a:gd name="connsiteY114" fmla="*/ 3392 h 10000"/>
                <a:gd name="connsiteX115" fmla="*/ 446 w 10000"/>
                <a:gd name="connsiteY115" fmla="*/ 2863 h 10000"/>
                <a:gd name="connsiteX116" fmla="*/ 523 w 10000"/>
                <a:gd name="connsiteY116" fmla="*/ 2706 h 10000"/>
                <a:gd name="connsiteX117" fmla="*/ 601 w 10000"/>
                <a:gd name="connsiteY117" fmla="*/ 2588 h 10000"/>
                <a:gd name="connsiteX118" fmla="*/ 1279 w 10000"/>
                <a:gd name="connsiteY118" fmla="*/ 2588 h 10000"/>
                <a:gd name="connsiteX0" fmla="*/ 2578 w 10000"/>
                <a:gd name="connsiteY0" fmla="*/ 588 h 10000"/>
                <a:gd name="connsiteX1" fmla="*/ 2868 w 10000"/>
                <a:gd name="connsiteY1" fmla="*/ 451 h 10000"/>
                <a:gd name="connsiteX2" fmla="*/ 3411 w 10000"/>
                <a:gd name="connsiteY2" fmla="*/ 843 h 10000"/>
                <a:gd name="connsiteX3" fmla="*/ 3624 w 10000"/>
                <a:gd name="connsiteY3" fmla="*/ 765 h 10000"/>
                <a:gd name="connsiteX4" fmla="*/ 3740 w 10000"/>
                <a:gd name="connsiteY4" fmla="*/ 725 h 10000"/>
                <a:gd name="connsiteX5" fmla="*/ 3857 w 10000"/>
                <a:gd name="connsiteY5" fmla="*/ 706 h 10000"/>
                <a:gd name="connsiteX6" fmla="*/ 4070 w 10000"/>
                <a:gd name="connsiteY6" fmla="*/ 59 h 10000"/>
                <a:gd name="connsiteX7" fmla="*/ 4380 w 10000"/>
                <a:gd name="connsiteY7" fmla="*/ 0 h 10000"/>
                <a:gd name="connsiteX8" fmla="*/ 4767 w 10000"/>
                <a:gd name="connsiteY8" fmla="*/ 569 h 10000"/>
                <a:gd name="connsiteX9" fmla="*/ 5019 w 10000"/>
                <a:gd name="connsiteY9" fmla="*/ 549 h 10000"/>
                <a:gd name="connsiteX10" fmla="*/ 5252 w 10000"/>
                <a:gd name="connsiteY10" fmla="*/ 569 h 10000"/>
                <a:gd name="connsiteX11" fmla="*/ 5640 w 10000"/>
                <a:gd name="connsiteY11" fmla="*/ 0 h 10000"/>
                <a:gd name="connsiteX12" fmla="*/ 5795 w 10000"/>
                <a:gd name="connsiteY12" fmla="*/ 20 h 10000"/>
                <a:gd name="connsiteX13" fmla="*/ 5950 w 10000"/>
                <a:gd name="connsiteY13" fmla="*/ 59 h 10000"/>
                <a:gd name="connsiteX14" fmla="*/ 6163 w 10000"/>
                <a:gd name="connsiteY14" fmla="*/ 706 h 10000"/>
                <a:gd name="connsiteX15" fmla="*/ 6395 w 10000"/>
                <a:gd name="connsiteY15" fmla="*/ 765 h 10000"/>
                <a:gd name="connsiteX16" fmla="*/ 6492 w 10000"/>
                <a:gd name="connsiteY16" fmla="*/ 804 h 10000"/>
                <a:gd name="connsiteX17" fmla="*/ 6609 w 10000"/>
                <a:gd name="connsiteY17" fmla="*/ 843 h 10000"/>
                <a:gd name="connsiteX18" fmla="*/ 7151 w 10000"/>
                <a:gd name="connsiteY18" fmla="*/ 451 h 10000"/>
                <a:gd name="connsiteX19" fmla="*/ 7287 w 10000"/>
                <a:gd name="connsiteY19" fmla="*/ 510 h 10000"/>
                <a:gd name="connsiteX20" fmla="*/ 7442 w 10000"/>
                <a:gd name="connsiteY20" fmla="*/ 588 h 10000"/>
                <a:gd name="connsiteX21" fmla="*/ 7442 w 10000"/>
                <a:gd name="connsiteY21" fmla="*/ 1275 h 10000"/>
                <a:gd name="connsiteX22" fmla="*/ 7616 w 10000"/>
                <a:gd name="connsiteY22" fmla="*/ 1412 h 10000"/>
                <a:gd name="connsiteX23" fmla="*/ 7713 w 10000"/>
                <a:gd name="connsiteY23" fmla="*/ 1471 h 10000"/>
                <a:gd name="connsiteX24" fmla="*/ 7810 w 10000"/>
                <a:gd name="connsiteY24" fmla="*/ 1549 h 10000"/>
                <a:gd name="connsiteX25" fmla="*/ 8450 w 10000"/>
                <a:gd name="connsiteY25" fmla="*/ 1333 h 10000"/>
                <a:gd name="connsiteX26" fmla="*/ 8566 w 10000"/>
                <a:gd name="connsiteY26" fmla="*/ 1451 h 10000"/>
                <a:gd name="connsiteX27" fmla="*/ 8682 w 10000"/>
                <a:gd name="connsiteY27" fmla="*/ 1569 h 10000"/>
                <a:gd name="connsiteX28" fmla="*/ 8469 w 10000"/>
                <a:gd name="connsiteY28" fmla="*/ 2216 h 10000"/>
                <a:gd name="connsiteX29" fmla="*/ 8605 w 10000"/>
                <a:gd name="connsiteY29" fmla="*/ 2392 h 10000"/>
                <a:gd name="connsiteX30" fmla="*/ 8740 w 10000"/>
                <a:gd name="connsiteY30" fmla="*/ 2588 h 10000"/>
                <a:gd name="connsiteX31" fmla="*/ 9419 w 10000"/>
                <a:gd name="connsiteY31" fmla="*/ 2588 h 10000"/>
                <a:gd name="connsiteX32" fmla="*/ 9496 w 10000"/>
                <a:gd name="connsiteY32" fmla="*/ 2706 h 10000"/>
                <a:gd name="connsiteX33" fmla="*/ 9574 w 10000"/>
                <a:gd name="connsiteY33" fmla="*/ 2863 h 10000"/>
                <a:gd name="connsiteX34" fmla="*/ 9167 w 10000"/>
                <a:gd name="connsiteY34" fmla="*/ 3392 h 10000"/>
                <a:gd name="connsiteX35" fmla="*/ 9244 w 10000"/>
                <a:gd name="connsiteY35" fmla="*/ 3627 h 10000"/>
                <a:gd name="connsiteX36" fmla="*/ 9283 w 10000"/>
                <a:gd name="connsiteY36" fmla="*/ 3745 h 10000"/>
                <a:gd name="connsiteX37" fmla="*/ 9302 w 10000"/>
                <a:gd name="connsiteY37" fmla="*/ 3863 h 10000"/>
                <a:gd name="connsiteX38" fmla="*/ 9961 w 10000"/>
                <a:gd name="connsiteY38" fmla="*/ 4059 h 10000"/>
                <a:gd name="connsiteX39" fmla="*/ 10000 w 10000"/>
                <a:gd name="connsiteY39" fmla="*/ 4392 h 10000"/>
                <a:gd name="connsiteX40" fmla="*/ 9438 w 10000"/>
                <a:gd name="connsiteY40" fmla="*/ 4765 h 10000"/>
                <a:gd name="connsiteX41" fmla="*/ 9457 w 10000"/>
                <a:gd name="connsiteY41" fmla="*/ 5000 h 10000"/>
                <a:gd name="connsiteX42" fmla="*/ 9438 w 10000"/>
                <a:gd name="connsiteY42" fmla="*/ 5235 h 10000"/>
                <a:gd name="connsiteX43" fmla="*/ 10000 w 10000"/>
                <a:gd name="connsiteY43" fmla="*/ 5627 h 10000"/>
                <a:gd name="connsiteX44" fmla="*/ 9981 w 10000"/>
                <a:gd name="connsiteY44" fmla="*/ 5784 h 10000"/>
                <a:gd name="connsiteX45" fmla="*/ 9961 w 10000"/>
                <a:gd name="connsiteY45" fmla="*/ 5941 h 10000"/>
                <a:gd name="connsiteX46" fmla="*/ 9302 w 10000"/>
                <a:gd name="connsiteY46" fmla="*/ 6157 h 10000"/>
                <a:gd name="connsiteX47" fmla="*/ 9244 w 10000"/>
                <a:gd name="connsiteY47" fmla="*/ 6392 h 10000"/>
                <a:gd name="connsiteX48" fmla="*/ 9205 w 10000"/>
                <a:gd name="connsiteY48" fmla="*/ 6490 h 10000"/>
                <a:gd name="connsiteX49" fmla="*/ 9167 w 10000"/>
                <a:gd name="connsiteY49" fmla="*/ 6608 h 10000"/>
                <a:gd name="connsiteX50" fmla="*/ 9574 w 10000"/>
                <a:gd name="connsiteY50" fmla="*/ 7157 h 10000"/>
                <a:gd name="connsiteX51" fmla="*/ 9496 w 10000"/>
                <a:gd name="connsiteY51" fmla="*/ 7294 h 10000"/>
                <a:gd name="connsiteX52" fmla="*/ 9419 w 10000"/>
                <a:gd name="connsiteY52" fmla="*/ 7431 h 10000"/>
                <a:gd name="connsiteX53" fmla="*/ 8740 w 10000"/>
                <a:gd name="connsiteY53" fmla="*/ 7412 h 10000"/>
                <a:gd name="connsiteX54" fmla="*/ 8605 w 10000"/>
                <a:gd name="connsiteY54" fmla="*/ 7627 h 10000"/>
                <a:gd name="connsiteX55" fmla="*/ 8547 w 10000"/>
                <a:gd name="connsiteY55" fmla="*/ 7706 h 10000"/>
                <a:gd name="connsiteX56" fmla="*/ 8469 w 10000"/>
                <a:gd name="connsiteY56" fmla="*/ 7804 h 10000"/>
                <a:gd name="connsiteX57" fmla="*/ 8682 w 10000"/>
                <a:gd name="connsiteY57" fmla="*/ 8451 h 10000"/>
                <a:gd name="connsiteX58" fmla="*/ 8566 w 10000"/>
                <a:gd name="connsiteY58" fmla="*/ 8569 h 10000"/>
                <a:gd name="connsiteX59" fmla="*/ 8450 w 10000"/>
                <a:gd name="connsiteY59" fmla="*/ 8686 h 10000"/>
                <a:gd name="connsiteX60" fmla="*/ 7810 w 10000"/>
                <a:gd name="connsiteY60" fmla="*/ 8471 h 10000"/>
                <a:gd name="connsiteX61" fmla="*/ 7616 w 10000"/>
                <a:gd name="connsiteY61" fmla="*/ 8608 h 10000"/>
                <a:gd name="connsiteX62" fmla="*/ 7442 w 10000"/>
                <a:gd name="connsiteY62" fmla="*/ 8745 h 10000"/>
                <a:gd name="connsiteX63" fmla="*/ 7442 w 10000"/>
                <a:gd name="connsiteY63" fmla="*/ 9412 h 10000"/>
                <a:gd name="connsiteX64" fmla="*/ 7287 w 10000"/>
                <a:gd name="connsiteY64" fmla="*/ 9510 h 10000"/>
                <a:gd name="connsiteX65" fmla="*/ 7151 w 10000"/>
                <a:gd name="connsiteY65" fmla="*/ 9569 h 10000"/>
                <a:gd name="connsiteX66" fmla="*/ 6609 w 10000"/>
                <a:gd name="connsiteY66" fmla="*/ 9157 h 10000"/>
                <a:gd name="connsiteX67" fmla="*/ 6395 w 10000"/>
                <a:gd name="connsiteY67" fmla="*/ 9235 h 10000"/>
                <a:gd name="connsiteX68" fmla="*/ 6279 w 10000"/>
                <a:gd name="connsiteY68" fmla="*/ 9275 h 10000"/>
                <a:gd name="connsiteX69" fmla="*/ 6163 w 10000"/>
                <a:gd name="connsiteY69" fmla="*/ 9314 h 10000"/>
                <a:gd name="connsiteX70" fmla="*/ 5950 w 10000"/>
                <a:gd name="connsiteY70" fmla="*/ 9961 h 10000"/>
                <a:gd name="connsiteX71" fmla="*/ 5640 w 10000"/>
                <a:gd name="connsiteY71" fmla="*/ 10000 h 10000"/>
                <a:gd name="connsiteX72" fmla="*/ 5252 w 10000"/>
                <a:gd name="connsiteY72" fmla="*/ 9451 h 10000"/>
                <a:gd name="connsiteX73" fmla="*/ 5019 w 10000"/>
                <a:gd name="connsiteY73" fmla="*/ 9451 h 10000"/>
                <a:gd name="connsiteX74" fmla="*/ 4767 w 10000"/>
                <a:gd name="connsiteY74" fmla="*/ 9451 h 10000"/>
                <a:gd name="connsiteX75" fmla="*/ 4380 w 10000"/>
                <a:gd name="connsiteY75" fmla="*/ 10000 h 10000"/>
                <a:gd name="connsiteX76" fmla="*/ 4225 w 10000"/>
                <a:gd name="connsiteY76" fmla="*/ 9980 h 10000"/>
                <a:gd name="connsiteX77" fmla="*/ 4070 w 10000"/>
                <a:gd name="connsiteY77" fmla="*/ 9961 h 10000"/>
                <a:gd name="connsiteX78" fmla="*/ 3857 w 10000"/>
                <a:gd name="connsiteY78" fmla="*/ 9314 h 10000"/>
                <a:gd name="connsiteX79" fmla="*/ 3624 w 10000"/>
                <a:gd name="connsiteY79" fmla="*/ 9235 h 10000"/>
                <a:gd name="connsiteX80" fmla="*/ 3508 w 10000"/>
                <a:gd name="connsiteY80" fmla="*/ 9216 h 10000"/>
                <a:gd name="connsiteX81" fmla="*/ 3411 w 10000"/>
                <a:gd name="connsiteY81" fmla="*/ 9157 h 10000"/>
                <a:gd name="connsiteX82" fmla="*/ 2868 w 10000"/>
                <a:gd name="connsiteY82" fmla="*/ 9569 h 10000"/>
                <a:gd name="connsiteX83" fmla="*/ 2733 w 10000"/>
                <a:gd name="connsiteY83" fmla="*/ 9510 h 10000"/>
                <a:gd name="connsiteX84" fmla="*/ 2578 w 10000"/>
                <a:gd name="connsiteY84" fmla="*/ 9412 h 10000"/>
                <a:gd name="connsiteX85" fmla="*/ 2597 w 10000"/>
                <a:gd name="connsiteY85" fmla="*/ 8745 h 10000"/>
                <a:gd name="connsiteX86" fmla="*/ 2403 w 10000"/>
                <a:gd name="connsiteY86" fmla="*/ 8608 h 10000"/>
                <a:gd name="connsiteX87" fmla="*/ 2306 w 10000"/>
                <a:gd name="connsiteY87" fmla="*/ 8529 h 10000"/>
                <a:gd name="connsiteX88" fmla="*/ 2209 w 10000"/>
                <a:gd name="connsiteY88" fmla="*/ 8471 h 10000"/>
                <a:gd name="connsiteX89" fmla="*/ 1570 w 10000"/>
                <a:gd name="connsiteY89" fmla="*/ 8686 h 10000"/>
                <a:gd name="connsiteX90" fmla="*/ 1453 w 10000"/>
                <a:gd name="connsiteY90" fmla="*/ 8569 h 10000"/>
                <a:gd name="connsiteX91" fmla="*/ 1337 w 10000"/>
                <a:gd name="connsiteY91" fmla="*/ 8451 h 10000"/>
                <a:gd name="connsiteX92" fmla="*/ 1550 w 10000"/>
                <a:gd name="connsiteY92" fmla="*/ 7804 h 10000"/>
                <a:gd name="connsiteX93" fmla="*/ 1415 w 10000"/>
                <a:gd name="connsiteY93" fmla="*/ 7627 h 10000"/>
                <a:gd name="connsiteX94" fmla="*/ 1279 w 10000"/>
                <a:gd name="connsiteY94" fmla="*/ 7412 h 10000"/>
                <a:gd name="connsiteX95" fmla="*/ 601 w 10000"/>
                <a:gd name="connsiteY95" fmla="*/ 7431 h 10000"/>
                <a:gd name="connsiteX96" fmla="*/ 523 w 10000"/>
                <a:gd name="connsiteY96" fmla="*/ 7294 h 10000"/>
                <a:gd name="connsiteX97" fmla="*/ 446 w 10000"/>
                <a:gd name="connsiteY97" fmla="*/ 7157 h 10000"/>
                <a:gd name="connsiteX98" fmla="*/ 853 w 10000"/>
                <a:gd name="connsiteY98" fmla="*/ 6608 h 10000"/>
                <a:gd name="connsiteX99" fmla="*/ 775 w 10000"/>
                <a:gd name="connsiteY99" fmla="*/ 6392 h 10000"/>
                <a:gd name="connsiteX100" fmla="*/ 756 w 10000"/>
                <a:gd name="connsiteY100" fmla="*/ 6275 h 10000"/>
                <a:gd name="connsiteX101" fmla="*/ 717 w 10000"/>
                <a:gd name="connsiteY101" fmla="*/ 6157 h 10000"/>
                <a:gd name="connsiteX102" fmla="*/ 58 w 10000"/>
                <a:gd name="connsiteY102" fmla="*/ 5941 h 10000"/>
                <a:gd name="connsiteX103" fmla="*/ 0 w 10000"/>
                <a:gd name="connsiteY103" fmla="*/ 5627 h 10000"/>
                <a:gd name="connsiteX104" fmla="*/ 581 w 10000"/>
                <a:gd name="connsiteY104" fmla="*/ 5235 h 10000"/>
                <a:gd name="connsiteX105" fmla="*/ 562 w 10000"/>
                <a:gd name="connsiteY105" fmla="*/ 5000 h 10000"/>
                <a:gd name="connsiteX106" fmla="*/ 581 w 10000"/>
                <a:gd name="connsiteY106" fmla="*/ 4765 h 10000"/>
                <a:gd name="connsiteX107" fmla="*/ 0 w 10000"/>
                <a:gd name="connsiteY107" fmla="*/ 4392 h 10000"/>
                <a:gd name="connsiteX108" fmla="*/ 19 w 10000"/>
                <a:gd name="connsiteY108" fmla="*/ 4216 h 10000"/>
                <a:gd name="connsiteX109" fmla="*/ 58 w 10000"/>
                <a:gd name="connsiteY109" fmla="*/ 4059 h 10000"/>
                <a:gd name="connsiteX110" fmla="*/ 717 w 10000"/>
                <a:gd name="connsiteY110" fmla="*/ 3863 h 10000"/>
                <a:gd name="connsiteX111" fmla="*/ 775 w 10000"/>
                <a:gd name="connsiteY111" fmla="*/ 3627 h 10000"/>
                <a:gd name="connsiteX112" fmla="*/ 814 w 10000"/>
                <a:gd name="connsiteY112" fmla="*/ 3510 h 10000"/>
                <a:gd name="connsiteX113" fmla="*/ 853 w 10000"/>
                <a:gd name="connsiteY113" fmla="*/ 3392 h 10000"/>
                <a:gd name="connsiteX114" fmla="*/ 446 w 10000"/>
                <a:gd name="connsiteY114" fmla="*/ 2863 h 10000"/>
                <a:gd name="connsiteX115" fmla="*/ 523 w 10000"/>
                <a:gd name="connsiteY115" fmla="*/ 2706 h 10000"/>
                <a:gd name="connsiteX116" fmla="*/ 601 w 10000"/>
                <a:gd name="connsiteY116" fmla="*/ 2588 h 10000"/>
                <a:gd name="connsiteX117" fmla="*/ 1279 w 10000"/>
                <a:gd name="connsiteY117" fmla="*/ 2588 h 10000"/>
                <a:gd name="connsiteX0" fmla="*/ 2578 w 10000"/>
                <a:gd name="connsiteY0" fmla="*/ 588 h 10000"/>
                <a:gd name="connsiteX1" fmla="*/ 3411 w 10000"/>
                <a:gd name="connsiteY1" fmla="*/ 843 h 10000"/>
                <a:gd name="connsiteX2" fmla="*/ 3624 w 10000"/>
                <a:gd name="connsiteY2" fmla="*/ 765 h 10000"/>
                <a:gd name="connsiteX3" fmla="*/ 3740 w 10000"/>
                <a:gd name="connsiteY3" fmla="*/ 725 h 10000"/>
                <a:gd name="connsiteX4" fmla="*/ 3857 w 10000"/>
                <a:gd name="connsiteY4" fmla="*/ 706 h 10000"/>
                <a:gd name="connsiteX5" fmla="*/ 4070 w 10000"/>
                <a:gd name="connsiteY5" fmla="*/ 59 h 10000"/>
                <a:gd name="connsiteX6" fmla="*/ 4380 w 10000"/>
                <a:gd name="connsiteY6" fmla="*/ 0 h 10000"/>
                <a:gd name="connsiteX7" fmla="*/ 4767 w 10000"/>
                <a:gd name="connsiteY7" fmla="*/ 569 h 10000"/>
                <a:gd name="connsiteX8" fmla="*/ 5019 w 10000"/>
                <a:gd name="connsiteY8" fmla="*/ 549 h 10000"/>
                <a:gd name="connsiteX9" fmla="*/ 5252 w 10000"/>
                <a:gd name="connsiteY9" fmla="*/ 569 h 10000"/>
                <a:gd name="connsiteX10" fmla="*/ 5640 w 10000"/>
                <a:gd name="connsiteY10" fmla="*/ 0 h 10000"/>
                <a:gd name="connsiteX11" fmla="*/ 5795 w 10000"/>
                <a:gd name="connsiteY11" fmla="*/ 20 h 10000"/>
                <a:gd name="connsiteX12" fmla="*/ 5950 w 10000"/>
                <a:gd name="connsiteY12" fmla="*/ 59 h 10000"/>
                <a:gd name="connsiteX13" fmla="*/ 6163 w 10000"/>
                <a:gd name="connsiteY13" fmla="*/ 706 h 10000"/>
                <a:gd name="connsiteX14" fmla="*/ 6395 w 10000"/>
                <a:gd name="connsiteY14" fmla="*/ 765 h 10000"/>
                <a:gd name="connsiteX15" fmla="*/ 6492 w 10000"/>
                <a:gd name="connsiteY15" fmla="*/ 804 h 10000"/>
                <a:gd name="connsiteX16" fmla="*/ 6609 w 10000"/>
                <a:gd name="connsiteY16" fmla="*/ 843 h 10000"/>
                <a:gd name="connsiteX17" fmla="*/ 7151 w 10000"/>
                <a:gd name="connsiteY17" fmla="*/ 451 h 10000"/>
                <a:gd name="connsiteX18" fmla="*/ 7287 w 10000"/>
                <a:gd name="connsiteY18" fmla="*/ 510 h 10000"/>
                <a:gd name="connsiteX19" fmla="*/ 7442 w 10000"/>
                <a:gd name="connsiteY19" fmla="*/ 588 h 10000"/>
                <a:gd name="connsiteX20" fmla="*/ 7442 w 10000"/>
                <a:gd name="connsiteY20" fmla="*/ 1275 h 10000"/>
                <a:gd name="connsiteX21" fmla="*/ 7616 w 10000"/>
                <a:gd name="connsiteY21" fmla="*/ 1412 h 10000"/>
                <a:gd name="connsiteX22" fmla="*/ 7713 w 10000"/>
                <a:gd name="connsiteY22" fmla="*/ 1471 h 10000"/>
                <a:gd name="connsiteX23" fmla="*/ 7810 w 10000"/>
                <a:gd name="connsiteY23" fmla="*/ 1549 h 10000"/>
                <a:gd name="connsiteX24" fmla="*/ 8450 w 10000"/>
                <a:gd name="connsiteY24" fmla="*/ 1333 h 10000"/>
                <a:gd name="connsiteX25" fmla="*/ 8566 w 10000"/>
                <a:gd name="connsiteY25" fmla="*/ 1451 h 10000"/>
                <a:gd name="connsiteX26" fmla="*/ 8682 w 10000"/>
                <a:gd name="connsiteY26" fmla="*/ 1569 h 10000"/>
                <a:gd name="connsiteX27" fmla="*/ 8469 w 10000"/>
                <a:gd name="connsiteY27" fmla="*/ 2216 h 10000"/>
                <a:gd name="connsiteX28" fmla="*/ 8605 w 10000"/>
                <a:gd name="connsiteY28" fmla="*/ 2392 h 10000"/>
                <a:gd name="connsiteX29" fmla="*/ 8740 w 10000"/>
                <a:gd name="connsiteY29" fmla="*/ 2588 h 10000"/>
                <a:gd name="connsiteX30" fmla="*/ 9419 w 10000"/>
                <a:gd name="connsiteY30" fmla="*/ 2588 h 10000"/>
                <a:gd name="connsiteX31" fmla="*/ 9496 w 10000"/>
                <a:gd name="connsiteY31" fmla="*/ 2706 h 10000"/>
                <a:gd name="connsiteX32" fmla="*/ 9574 w 10000"/>
                <a:gd name="connsiteY32" fmla="*/ 2863 h 10000"/>
                <a:gd name="connsiteX33" fmla="*/ 9167 w 10000"/>
                <a:gd name="connsiteY33" fmla="*/ 3392 h 10000"/>
                <a:gd name="connsiteX34" fmla="*/ 9244 w 10000"/>
                <a:gd name="connsiteY34" fmla="*/ 3627 h 10000"/>
                <a:gd name="connsiteX35" fmla="*/ 9283 w 10000"/>
                <a:gd name="connsiteY35" fmla="*/ 3745 h 10000"/>
                <a:gd name="connsiteX36" fmla="*/ 9302 w 10000"/>
                <a:gd name="connsiteY36" fmla="*/ 3863 h 10000"/>
                <a:gd name="connsiteX37" fmla="*/ 9961 w 10000"/>
                <a:gd name="connsiteY37" fmla="*/ 4059 h 10000"/>
                <a:gd name="connsiteX38" fmla="*/ 10000 w 10000"/>
                <a:gd name="connsiteY38" fmla="*/ 4392 h 10000"/>
                <a:gd name="connsiteX39" fmla="*/ 9438 w 10000"/>
                <a:gd name="connsiteY39" fmla="*/ 4765 h 10000"/>
                <a:gd name="connsiteX40" fmla="*/ 9457 w 10000"/>
                <a:gd name="connsiteY40" fmla="*/ 5000 h 10000"/>
                <a:gd name="connsiteX41" fmla="*/ 9438 w 10000"/>
                <a:gd name="connsiteY41" fmla="*/ 5235 h 10000"/>
                <a:gd name="connsiteX42" fmla="*/ 10000 w 10000"/>
                <a:gd name="connsiteY42" fmla="*/ 5627 h 10000"/>
                <a:gd name="connsiteX43" fmla="*/ 9981 w 10000"/>
                <a:gd name="connsiteY43" fmla="*/ 5784 h 10000"/>
                <a:gd name="connsiteX44" fmla="*/ 9961 w 10000"/>
                <a:gd name="connsiteY44" fmla="*/ 5941 h 10000"/>
                <a:gd name="connsiteX45" fmla="*/ 9302 w 10000"/>
                <a:gd name="connsiteY45" fmla="*/ 6157 h 10000"/>
                <a:gd name="connsiteX46" fmla="*/ 9244 w 10000"/>
                <a:gd name="connsiteY46" fmla="*/ 6392 h 10000"/>
                <a:gd name="connsiteX47" fmla="*/ 9205 w 10000"/>
                <a:gd name="connsiteY47" fmla="*/ 6490 h 10000"/>
                <a:gd name="connsiteX48" fmla="*/ 9167 w 10000"/>
                <a:gd name="connsiteY48" fmla="*/ 6608 h 10000"/>
                <a:gd name="connsiteX49" fmla="*/ 9574 w 10000"/>
                <a:gd name="connsiteY49" fmla="*/ 7157 h 10000"/>
                <a:gd name="connsiteX50" fmla="*/ 9496 w 10000"/>
                <a:gd name="connsiteY50" fmla="*/ 7294 h 10000"/>
                <a:gd name="connsiteX51" fmla="*/ 9419 w 10000"/>
                <a:gd name="connsiteY51" fmla="*/ 7431 h 10000"/>
                <a:gd name="connsiteX52" fmla="*/ 8740 w 10000"/>
                <a:gd name="connsiteY52" fmla="*/ 7412 h 10000"/>
                <a:gd name="connsiteX53" fmla="*/ 8605 w 10000"/>
                <a:gd name="connsiteY53" fmla="*/ 7627 h 10000"/>
                <a:gd name="connsiteX54" fmla="*/ 8547 w 10000"/>
                <a:gd name="connsiteY54" fmla="*/ 7706 h 10000"/>
                <a:gd name="connsiteX55" fmla="*/ 8469 w 10000"/>
                <a:gd name="connsiteY55" fmla="*/ 7804 h 10000"/>
                <a:gd name="connsiteX56" fmla="*/ 8682 w 10000"/>
                <a:gd name="connsiteY56" fmla="*/ 8451 h 10000"/>
                <a:gd name="connsiteX57" fmla="*/ 8566 w 10000"/>
                <a:gd name="connsiteY57" fmla="*/ 8569 h 10000"/>
                <a:gd name="connsiteX58" fmla="*/ 8450 w 10000"/>
                <a:gd name="connsiteY58" fmla="*/ 8686 h 10000"/>
                <a:gd name="connsiteX59" fmla="*/ 7810 w 10000"/>
                <a:gd name="connsiteY59" fmla="*/ 8471 h 10000"/>
                <a:gd name="connsiteX60" fmla="*/ 7616 w 10000"/>
                <a:gd name="connsiteY60" fmla="*/ 8608 h 10000"/>
                <a:gd name="connsiteX61" fmla="*/ 7442 w 10000"/>
                <a:gd name="connsiteY61" fmla="*/ 8745 h 10000"/>
                <a:gd name="connsiteX62" fmla="*/ 7442 w 10000"/>
                <a:gd name="connsiteY62" fmla="*/ 9412 h 10000"/>
                <a:gd name="connsiteX63" fmla="*/ 7287 w 10000"/>
                <a:gd name="connsiteY63" fmla="*/ 9510 h 10000"/>
                <a:gd name="connsiteX64" fmla="*/ 7151 w 10000"/>
                <a:gd name="connsiteY64" fmla="*/ 9569 h 10000"/>
                <a:gd name="connsiteX65" fmla="*/ 6609 w 10000"/>
                <a:gd name="connsiteY65" fmla="*/ 9157 h 10000"/>
                <a:gd name="connsiteX66" fmla="*/ 6395 w 10000"/>
                <a:gd name="connsiteY66" fmla="*/ 9235 h 10000"/>
                <a:gd name="connsiteX67" fmla="*/ 6279 w 10000"/>
                <a:gd name="connsiteY67" fmla="*/ 9275 h 10000"/>
                <a:gd name="connsiteX68" fmla="*/ 6163 w 10000"/>
                <a:gd name="connsiteY68" fmla="*/ 9314 h 10000"/>
                <a:gd name="connsiteX69" fmla="*/ 5950 w 10000"/>
                <a:gd name="connsiteY69" fmla="*/ 9961 h 10000"/>
                <a:gd name="connsiteX70" fmla="*/ 5640 w 10000"/>
                <a:gd name="connsiteY70" fmla="*/ 10000 h 10000"/>
                <a:gd name="connsiteX71" fmla="*/ 5252 w 10000"/>
                <a:gd name="connsiteY71" fmla="*/ 9451 h 10000"/>
                <a:gd name="connsiteX72" fmla="*/ 5019 w 10000"/>
                <a:gd name="connsiteY72" fmla="*/ 9451 h 10000"/>
                <a:gd name="connsiteX73" fmla="*/ 4767 w 10000"/>
                <a:gd name="connsiteY73" fmla="*/ 9451 h 10000"/>
                <a:gd name="connsiteX74" fmla="*/ 4380 w 10000"/>
                <a:gd name="connsiteY74" fmla="*/ 10000 h 10000"/>
                <a:gd name="connsiteX75" fmla="*/ 4225 w 10000"/>
                <a:gd name="connsiteY75" fmla="*/ 9980 h 10000"/>
                <a:gd name="connsiteX76" fmla="*/ 4070 w 10000"/>
                <a:gd name="connsiteY76" fmla="*/ 9961 h 10000"/>
                <a:gd name="connsiteX77" fmla="*/ 3857 w 10000"/>
                <a:gd name="connsiteY77" fmla="*/ 9314 h 10000"/>
                <a:gd name="connsiteX78" fmla="*/ 3624 w 10000"/>
                <a:gd name="connsiteY78" fmla="*/ 9235 h 10000"/>
                <a:gd name="connsiteX79" fmla="*/ 3508 w 10000"/>
                <a:gd name="connsiteY79" fmla="*/ 9216 h 10000"/>
                <a:gd name="connsiteX80" fmla="*/ 3411 w 10000"/>
                <a:gd name="connsiteY80" fmla="*/ 9157 h 10000"/>
                <a:gd name="connsiteX81" fmla="*/ 2868 w 10000"/>
                <a:gd name="connsiteY81" fmla="*/ 9569 h 10000"/>
                <a:gd name="connsiteX82" fmla="*/ 2733 w 10000"/>
                <a:gd name="connsiteY82" fmla="*/ 9510 h 10000"/>
                <a:gd name="connsiteX83" fmla="*/ 2578 w 10000"/>
                <a:gd name="connsiteY83" fmla="*/ 9412 h 10000"/>
                <a:gd name="connsiteX84" fmla="*/ 2597 w 10000"/>
                <a:gd name="connsiteY84" fmla="*/ 8745 h 10000"/>
                <a:gd name="connsiteX85" fmla="*/ 2403 w 10000"/>
                <a:gd name="connsiteY85" fmla="*/ 8608 h 10000"/>
                <a:gd name="connsiteX86" fmla="*/ 2306 w 10000"/>
                <a:gd name="connsiteY86" fmla="*/ 8529 h 10000"/>
                <a:gd name="connsiteX87" fmla="*/ 2209 w 10000"/>
                <a:gd name="connsiteY87" fmla="*/ 8471 h 10000"/>
                <a:gd name="connsiteX88" fmla="*/ 1570 w 10000"/>
                <a:gd name="connsiteY88" fmla="*/ 8686 h 10000"/>
                <a:gd name="connsiteX89" fmla="*/ 1453 w 10000"/>
                <a:gd name="connsiteY89" fmla="*/ 8569 h 10000"/>
                <a:gd name="connsiteX90" fmla="*/ 1337 w 10000"/>
                <a:gd name="connsiteY90" fmla="*/ 8451 h 10000"/>
                <a:gd name="connsiteX91" fmla="*/ 1550 w 10000"/>
                <a:gd name="connsiteY91" fmla="*/ 7804 h 10000"/>
                <a:gd name="connsiteX92" fmla="*/ 1415 w 10000"/>
                <a:gd name="connsiteY92" fmla="*/ 7627 h 10000"/>
                <a:gd name="connsiteX93" fmla="*/ 1279 w 10000"/>
                <a:gd name="connsiteY93" fmla="*/ 7412 h 10000"/>
                <a:gd name="connsiteX94" fmla="*/ 601 w 10000"/>
                <a:gd name="connsiteY94" fmla="*/ 7431 h 10000"/>
                <a:gd name="connsiteX95" fmla="*/ 523 w 10000"/>
                <a:gd name="connsiteY95" fmla="*/ 7294 h 10000"/>
                <a:gd name="connsiteX96" fmla="*/ 446 w 10000"/>
                <a:gd name="connsiteY96" fmla="*/ 7157 h 10000"/>
                <a:gd name="connsiteX97" fmla="*/ 853 w 10000"/>
                <a:gd name="connsiteY97" fmla="*/ 6608 h 10000"/>
                <a:gd name="connsiteX98" fmla="*/ 775 w 10000"/>
                <a:gd name="connsiteY98" fmla="*/ 6392 h 10000"/>
                <a:gd name="connsiteX99" fmla="*/ 756 w 10000"/>
                <a:gd name="connsiteY99" fmla="*/ 6275 h 10000"/>
                <a:gd name="connsiteX100" fmla="*/ 717 w 10000"/>
                <a:gd name="connsiteY100" fmla="*/ 6157 h 10000"/>
                <a:gd name="connsiteX101" fmla="*/ 58 w 10000"/>
                <a:gd name="connsiteY101" fmla="*/ 5941 h 10000"/>
                <a:gd name="connsiteX102" fmla="*/ 0 w 10000"/>
                <a:gd name="connsiteY102" fmla="*/ 5627 h 10000"/>
                <a:gd name="connsiteX103" fmla="*/ 581 w 10000"/>
                <a:gd name="connsiteY103" fmla="*/ 5235 h 10000"/>
                <a:gd name="connsiteX104" fmla="*/ 562 w 10000"/>
                <a:gd name="connsiteY104" fmla="*/ 5000 h 10000"/>
                <a:gd name="connsiteX105" fmla="*/ 581 w 10000"/>
                <a:gd name="connsiteY105" fmla="*/ 4765 h 10000"/>
                <a:gd name="connsiteX106" fmla="*/ 0 w 10000"/>
                <a:gd name="connsiteY106" fmla="*/ 4392 h 10000"/>
                <a:gd name="connsiteX107" fmla="*/ 19 w 10000"/>
                <a:gd name="connsiteY107" fmla="*/ 4216 h 10000"/>
                <a:gd name="connsiteX108" fmla="*/ 58 w 10000"/>
                <a:gd name="connsiteY108" fmla="*/ 4059 h 10000"/>
                <a:gd name="connsiteX109" fmla="*/ 717 w 10000"/>
                <a:gd name="connsiteY109" fmla="*/ 3863 h 10000"/>
                <a:gd name="connsiteX110" fmla="*/ 775 w 10000"/>
                <a:gd name="connsiteY110" fmla="*/ 3627 h 10000"/>
                <a:gd name="connsiteX111" fmla="*/ 814 w 10000"/>
                <a:gd name="connsiteY111" fmla="*/ 3510 h 10000"/>
                <a:gd name="connsiteX112" fmla="*/ 853 w 10000"/>
                <a:gd name="connsiteY112" fmla="*/ 3392 h 10000"/>
                <a:gd name="connsiteX113" fmla="*/ 446 w 10000"/>
                <a:gd name="connsiteY113" fmla="*/ 2863 h 10000"/>
                <a:gd name="connsiteX114" fmla="*/ 523 w 10000"/>
                <a:gd name="connsiteY114" fmla="*/ 2706 h 10000"/>
                <a:gd name="connsiteX115" fmla="*/ 601 w 10000"/>
                <a:gd name="connsiteY115" fmla="*/ 2588 h 10000"/>
                <a:gd name="connsiteX116" fmla="*/ 1279 w 10000"/>
                <a:gd name="connsiteY116" fmla="*/ 2588 h 10000"/>
                <a:gd name="connsiteX0" fmla="*/ 3411 w 10000"/>
                <a:gd name="connsiteY0" fmla="*/ 843 h 10000"/>
                <a:gd name="connsiteX1" fmla="*/ 3624 w 10000"/>
                <a:gd name="connsiteY1" fmla="*/ 765 h 10000"/>
                <a:gd name="connsiteX2" fmla="*/ 3740 w 10000"/>
                <a:gd name="connsiteY2" fmla="*/ 725 h 10000"/>
                <a:gd name="connsiteX3" fmla="*/ 3857 w 10000"/>
                <a:gd name="connsiteY3" fmla="*/ 706 h 10000"/>
                <a:gd name="connsiteX4" fmla="*/ 4070 w 10000"/>
                <a:gd name="connsiteY4" fmla="*/ 59 h 10000"/>
                <a:gd name="connsiteX5" fmla="*/ 4380 w 10000"/>
                <a:gd name="connsiteY5" fmla="*/ 0 h 10000"/>
                <a:gd name="connsiteX6" fmla="*/ 4767 w 10000"/>
                <a:gd name="connsiteY6" fmla="*/ 569 h 10000"/>
                <a:gd name="connsiteX7" fmla="*/ 5019 w 10000"/>
                <a:gd name="connsiteY7" fmla="*/ 549 h 10000"/>
                <a:gd name="connsiteX8" fmla="*/ 5252 w 10000"/>
                <a:gd name="connsiteY8" fmla="*/ 569 h 10000"/>
                <a:gd name="connsiteX9" fmla="*/ 5640 w 10000"/>
                <a:gd name="connsiteY9" fmla="*/ 0 h 10000"/>
                <a:gd name="connsiteX10" fmla="*/ 5795 w 10000"/>
                <a:gd name="connsiteY10" fmla="*/ 20 h 10000"/>
                <a:gd name="connsiteX11" fmla="*/ 5950 w 10000"/>
                <a:gd name="connsiteY11" fmla="*/ 59 h 10000"/>
                <a:gd name="connsiteX12" fmla="*/ 6163 w 10000"/>
                <a:gd name="connsiteY12" fmla="*/ 706 h 10000"/>
                <a:gd name="connsiteX13" fmla="*/ 6395 w 10000"/>
                <a:gd name="connsiteY13" fmla="*/ 765 h 10000"/>
                <a:gd name="connsiteX14" fmla="*/ 6492 w 10000"/>
                <a:gd name="connsiteY14" fmla="*/ 804 h 10000"/>
                <a:gd name="connsiteX15" fmla="*/ 6609 w 10000"/>
                <a:gd name="connsiteY15" fmla="*/ 843 h 10000"/>
                <a:gd name="connsiteX16" fmla="*/ 7151 w 10000"/>
                <a:gd name="connsiteY16" fmla="*/ 451 h 10000"/>
                <a:gd name="connsiteX17" fmla="*/ 7287 w 10000"/>
                <a:gd name="connsiteY17" fmla="*/ 510 h 10000"/>
                <a:gd name="connsiteX18" fmla="*/ 7442 w 10000"/>
                <a:gd name="connsiteY18" fmla="*/ 588 h 10000"/>
                <a:gd name="connsiteX19" fmla="*/ 7442 w 10000"/>
                <a:gd name="connsiteY19" fmla="*/ 1275 h 10000"/>
                <a:gd name="connsiteX20" fmla="*/ 7616 w 10000"/>
                <a:gd name="connsiteY20" fmla="*/ 1412 h 10000"/>
                <a:gd name="connsiteX21" fmla="*/ 7713 w 10000"/>
                <a:gd name="connsiteY21" fmla="*/ 1471 h 10000"/>
                <a:gd name="connsiteX22" fmla="*/ 7810 w 10000"/>
                <a:gd name="connsiteY22" fmla="*/ 1549 h 10000"/>
                <a:gd name="connsiteX23" fmla="*/ 8450 w 10000"/>
                <a:gd name="connsiteY23" fmla="*/ 1333 h 10000"/>
                <a:gd name="connsiteX24" fmla="*/ 8566 w 10000"/>
                <a:gd name="connsiteY24" fmla="*/ 1451 h 10000"/>
                <a:gd name="connsiteX25" fmla="*/ 8682 w 10000"/>
                <a:gd name="connsiteY25" fmla="*/ 1569 h 10000"/>
                <a:gd name="connsiteX26" fmla="*/ 8469 w 10000"/>
                <a:gd name="connsiteY26" fmla="*/ 2216 h 10000"/>
                <a:gd name="connsiteX27" fmla="*/ 8605 w 10000"/>
                <a:gd name="connsiteY27" fmla="*/ 2392 h 10000"/>
                <a:gd name="connsiteX28" fmla="*/ 8740 w 10000"/>
                <a:gd name="connsiteY28" fmla="*/ 2588 h 10000"/>
                <a:gd name="connsiteX29" fmla="*/ 9419 w 10000"/>
                <a:gd name="connsiteY29" fmla="*/ 2588 h 10000"/>
                <a:gd name="connsiteX30" fmla="*/ 9496 w 10000"/>
                <a:gd name="connsiteY30" fmla="*/ 2706 h 10000"/>
                <a:gd name="connsiteX31" fmla="*/ 9574 w 10000"/>
                <a:gd name="connsiteY31" fmla="*/ 2863 h 10000"/>
                <a:gd name="connsiteX32" fmla="*/ 9167 w 10000"/>
                <a:gd name="connsiteY32" fmla="*/ 3392 h 10000"/>
                <a:gd name="connsiteX33" fmla="*/ 9244 w 10000"/>
                <a:gd name="connsiteY33" fmla="*/ 3627 h 10000"/>
                <a:gd name="connsiteX34" fmla="*/ 9283 w 10000"/>
                <a:gd name="connsiteY34" fmla="*/ 3745 h 10000"/>
                <a:gd name="connsiteX35" fmla="*/ 9302 w 10000"/>
                <a:gd name="connsiteY35" fmla="*/ 3863 h 10000"/>
                <a:gd name="connsiteX36" fmla="*/ 9961 w 10000"/>
                <a:gd name="connsiteY36" fmla="*/ 4059 h 10000"/>
                <a:gd name="connsiteX37" fmla="*/ 10000 w 10000"/>
                <a:gd name="connsiteY37" fmla="*/ 4392 h 10000"/>
                <a:gd name="connsiteX38" fmla="*/ 9438 w 10000"/>
                <a:gd name="connsiteY38" fmla="*/ 4765 h 10000"/>
                <a:gd name="connsiteX39" fmla="*/ 9457 w 10000"/>
                <a:gd name="connsiteY39" fmla="*/ 5000 h 10000"/>
                <a:gd name="connsiteX40" fmla="*/ 9438 w 10000"/>
                <a:gd name="connsiteY40" fmla="*/ 5235 h 10000"/>
                <a:gd name="connsiteX41" fmla="*/ 10000 w 10000"/>
                <a:gd name="connsiteY41" fmla="*/ 5627 h 10000"/>
                <a:gd name="connsiteX42" fmla="*/ 9981 w 10000"/>
                <a:gd name="connsiteY42" fmla="*/ 5784 h 10000"/>
                <a:gd name="connsiteX43" fmla="*/ 9961 w 10000"/>
                <a:gd name="connsiteY43" fmla="*/ 5941 h 10000"/>
                <a:gd name="connsiteX44" fmla="*/ 9302 w 10000"/>
                <a:gd name="connsiteY44" fmla="*/ 6157 h 10000"/>
                <a:gd name="connsiteX45" fmla="*/ 9244 w 10000"/>
                <a:gd name="connsiteY45" fmla="*/ 6392 h 10000"/>
                <a:gd name="connsiteX46" fmla="*/ 9205 w 10000"/>
                <a:gd name="connsiteY46" fmla="*/ 6490 h 10000"/>
                <a:gd name="connsiteX47" fmla="*/ 9167 w 10000"/>
                <a:gd name="connsiteY47" fmla="*/ 6608 h 10000"/>
                <a:gd name="connsiteX48" fmla="*/ 9574 w 10000"/>
                <a:gd name="connsiteY48" fmla="*/ 7157 h 10000"/>
                <a:gd name="connsiteX49" fmla="*/ 9496 w 10000"/>
                <a:gd name="connsiteY49" fmla="*/ 7294 h 10000"/>
                <a:gd name="connsiteX50" fmla="*/ 9419 w 10000"/>
                <a:gd name="connsiteY50" fmla="*/ 7431 h 10000"/>
                <a:gd name="connsiteX51" fmla="*/ 8740 w 10000"/>
                <a:gd name="connsiteY51" fmla="*/ 7412 h 10000"/>
                <a:gd name="connsiteX52" fmla="*/ 8605 w 10000"/>
                <a:gd name="connsiteY52" fmla="*/ 7627 h 10000"/>
                <a:gd name="connsiteX53" fmla="*/ 8547 w 10000"/>
                <a:gd name="connsiteY53" fmla="*/ 7706 h 10000"/>
                <a:gd name="connsiteX54" fmla="*/ 8469 w 10000"/>
                <a:gd name="connsiteY54" fmla="*/ 7804 h 10000"/>
                <a:gd name="connsiteX55" fmla="*/ 8682 w 10000"/>
                <a:gd name="connsiteY55" fmla="*/ 8451 h 10000"/>
                <a:gd name="connsiteX56" fmla="*/ 8566 w 10000"/>
                <a:gd name="connsiteY56" fmla="*/ 8569 h 10000"/>
                <a:gd name="connsiteX57" fmla="*/ 8450 w 10000"/>
                <a:gd name="connsiteY57" fmla="*/ 8686 h 10000"/>
                <a:gd name="connsiteX58" fmla="*/ 7810 w 10000"/>
                <a:gd name="connsiteY58" fmla="*/ 8471 h 10000"/>
                <a:gd name="connsiteX59" fmla="*/ 7616 w 10000"/>
                <a:gd name="connsiteY59" fmla="*/ 8608 h 10000"/>
                <a:gd name="connsiteX60" fmla="*/ 7442 w 10000"/>
                <a:gd name="connsiteY60" fmla="*/ 8745 h 10000"/>
                <a:gd name="connsiteX61" fmla="*/ 7442 w 10000"/>
                <a:gd name="connsiteY61" fmla="*/ 9412 h 10000"/>
                <a:gd name="connsiteX62" fmla="*/ 7287 w 10000"/>
                <a:gd name="connsiteY62" fmla="*/ 9510 h 10000"/>
                <a:gd name="connsiteX63" fmla="*/ 7151 w 10000"/>
                <a:gd name="connsiteY63" fmla="*/ 9569 h 10000"/>
                <a:gd name="connsiteX64" fmla="*/ 6609 w 10000"/>
                <a:gd name="connsiteY64" fmla="*/ 9157 h 10000"/>
                <a:gd name="connsiteX65" fmla="*/ 6395 w 10000"/>
                <a:gd name="connsiteY65" fmla="*/ 9235 h 10000"/>
                <a:gd name="connsiteX66" fmla="*/ 6279 w 10000"/>
                <a:gd name="connsiteY66" fmla="*/ 9275 h 10000"/>
                <a:gd name="connsiteX67" fmla="*/ 6163 w 10000"/>
                <a:gd name="connsiteY67" fmla="*/ 9314 h 10000"/>
                <a:gd name="connsiteX68" fmla="*/ 5950 w 10000"/>
                <a:gd name="connsiteY68" fmla="*/ 9961 h 10000"/>
                <a:gd name="connsiteX69" fmla="*/ 5640 w 10000"/>
                <a:gd name="connsiteY69" fmla="*/ 10000 h 10000"/>
                <a:gd name="connsiteX70" fmla="*/ 5252 w 10000"/>
                <a:gd name="connsiteY70" fmla="*/ 9451 h 10000"/>
                <a:gd name="connsiteX71" fmla="*/ 5019 w 10000"/>
                <a:gd name="connsiteY71" fmla="*/ 9451 h 10000"/>
                <a:gd name="connsiteX72" fmla="*/ 4767 w 10000"/>
                <a:gd name="connsiteY72" fmla="*/ 9451 h 10000"/>
                <a:gd name="connsiteX73" fmla="*/ 4380 w 10000"/>
                <a:gd name="connsiteY73" fmla="*/ 10000 h 10000"/>
                <a:gd name="connsiteX74" fmla="*/ 4225 w 10000"/>
                <a:gd name="connsiteY74" fmla="*/ 9980 h 10000"/>
                <a:gd name="connsiteX75" fmla="*/ 4070 w 10000"/>
                <a:gd name="connsiteY75" fmla="*/ 9961 h 10000"/>
                <a:gd name="connsiteX76" fmla="*/ 3857 w 10000"/>
                <a:gd name="connsiteY76" fmla="*/ 9314 h 10000"/>
                <a:gd name="connsiteX77" fmla="*/ 3624 w 10000"/>
                <a:gd name="connsiteY77" fmla="*/ 9235 h 10000"/>
                <a:gd name="connsiteX78" fmla="*/ 3508 w 10000"/>
                <a:gd name="connsiteY78" fmla="*/ 9216 h 10000"/>
                <a:gd name="connsiteX79" fmla="*/ 3411 w 10000"/>
                <a:gd name="connsiteY79" fmla="*/ 9157 h 10000"/>
                <a:gd name="connsiteX80" fmla="*/ 2868 w 10000"/>
                <a:gd name="connsiteY80" fmla="*/ 9569 h 10000"/>
                <a:gd name="connsiteX81" fmla="*/ 2733 w 10000"/>
                <a:gd name="connsiteY81" fmla="*/ 9510 h 10000"/>
                <a:gd name="connsiteX82" fmla="*/ 2578 w 10000"/>
                <a:gd name="connsiteY82" fmla="*/ 9412 h 10000"/>
                <a:gd name="connsiteX83" fmla="*/ 2597 w 10000"/>
                <a:gd name="connsiteY83" fmla="*/ 8745 h 10000"/>
                <a:gd name="connsiteX84" fmla="*/ 2403 w 10000"/>
                <a:gd name="connsiteY84" fmla="*/ 8608 h 10000"/>
                <a:gd name="connsiteX85" fmla="*/ 2306 w 10000"/>
                <a:gd name="connsiteY85" fmla="*/ 8529 h 10000"/>
                <a:gd name="connsiteX86" fmla="*/ 2209 w 10000"/>
                <a:gd name="connsiteY86" fmla="*/ 8471 h 10000"/>
                <a:gd name="connsiteX87" fmla="*/ 1570 w 10000"/>
                <a:gd name="connsiteY87" fmla="*/ 8686 h 10000"/>
                <a:gd name="connsiteX88" fmla="*/ 1453 w 10000"/>
                <a:gd name="connsiteY88" fmla="*/ 8569 h 10000"/>
                <a:gd name="connsiteX89" fmla="*/ 1337 w 10000"/>
                <a:gd name="connsiteY89" fmla="*/ 8451 h 10000"/>
                <a:gd name="connsiteX90" fmla="*/ 1550 w 10000"/>
                <a:gd name="connsiteY90" fmla="*/ 7804 h 10000"/>
                <a:gd name="connsiteX91" fmla="*/ 1415 w 10000"/>
                <a:gd name="connsiteY91" fmla="*/ 7627 h 10000"/>
                <a:gd name="connsiteX92" fmla="*/ 1279 w 10000"/>
                <a:gd name="connsiteY92" fmla="*/ 7412 h 10000"/>
                <a:gd name="connsiteX93" fmla="*/ 601 w 10000"/>
                <a:gd name="connsiteY93" fmla="*/ 7431 h 10000"/>
                <a:gd name="connsiteX94" fmla="*/ 523 w 10000"/>
                <a:gd name="connsiteY94" fmla="*/ 7294 h 10000"/>
                <a:gd name="connsiteX95" fmla="*/ 446 w 10000"/>
                <a:gd name="connsiteY95" fmla="*/ 7157 h 10000"/>
                <a:gd name="connsiteX96" fmla="*/ 853 w 10000"/>
                <a:gd name="connsiteY96" fmla="*/ 6608 h 10000"/>
                <a:gd name="connsiteX97" fmla="*/ 775 w 10000"/>
                <a:gd name="connsiteY97" fmla="*/ 6392 h 10000"/>
                <a:gd name="connsiteX98" fmla="*/ 756 w 10000"/>
                <a:gd name="connsiteY98" fmla="*/ 6275 h 10000"/>
                <a:gd name="connsiteX99" fmla="*/ 717 w 10000"/>
                <a:gd name="connsiteY99" fmla="*/ 6157 h 10000"/>
                <a:gd name="connsiteX100" fmla="*/ 58 w 10000"/>
                <a:gd name="connsiteY100" fmla="*/ 5941 h 10000"/>
                <a:gd name="connsiteX101" fmla="*/ 0 w 10000"/>
                <a:gd name="connsiteY101" fmla="*/ 5627 h 10000"/>
                <a:gd name="connsiteX102" fmla="*/ 581 w 10000"/>
                <a:gd name="connsiteY102" fmla="*/ 5235 h 10000"/>
                <a:gd name="connsiteX103" fmla="*/ 562 w 10000"/>
                <a:gd name="connsiteY103" fmla="*/ 5000 h 10000"/>
                <a:gd name="connsiteX104" fmla="*/ 581 w 10000"/>
                <a:gd name="connsiteY104" fmla="*/ 4765 h 10000"/>
                <a:gd name="connsiteX105" fmla="*/ 0 w 10000"/>
                <a:gd name="connsiteY105" fmla="*/ 4392 h 10000"/>
                <a:gd name="connsiteX106" fmla="*/ 19 w 10000"/>
                <a:gd name="connsiteY106" fmla="*/ 4216 h 10000"/>
                <a:gd name="connsiteX107" fmla="*/ 58 w 10000"/>
                <a:gd name="connsiteY107" fmla="*/ 4059 h 10000"/>
                <a:gd name="connsiteX108" fmla="*/ 717 w 10000"/>
                <a:gd name="connsiteY108" fmla="*/ 3863 h 10000"/>
                <a:gd name="connsiteX109" fmla="*/ 775 w 10000"/>
                <a:gd name="connsiteY109" fmla="*/ 3627 h 10000"/>
                <a:gd name="connsiteX110" fmla="*/ 814 w 10000"/>
                <a:gd name="connsiteY110" fmla="*/ 3510 h 10000"/>
                <a:gd name="connsiteX111" fmla="*/ 853 w 10000"/>
                <a:gd name="connsiteY111" fmla="*/ 3392 h 10000"/>
                <a:gd name="connsiteX112" fmla="*/ 446 w 10000"/>
                <a:gd name="connsiteY112" fmla="*/ 2863 h 10000"/>
                <a:gd name="connsiteX113" fmla="*/ 523 w 10000"/>
                <a:gd name="connsiteY113" fmla="*/ 2706 h 10000"/>
                <a:gd name="connsiteX114" fmla="*/ 601 w 10000"/>
                <a:gd name="connsiteY114" fmla="*/ 2588 h 10000"/>
                <a:gd name="connsiteX115" fmla="*/ 1279 w 10000"/>
                <a:gd name="connsiteY115" fmla="*/ 2588 h 10000"/>
                <a:gd name="connsiteX0" fmla="*/ 3411 w 10000"/>
                <a:gd name="connsiteY0" fmla="*/ 843 h 10000"/>
                <a:gd name="connsiteX1" fmla="*/ 3740 w 10000"/>
                <a:gd name="connsiteY1" fmla="*/ 725 h 10000"/>
                <a:gd name="connsiteX2" fmla="*/ 3857 w 10000"/>
                <a:gd name="connsiteY2" fmla="*/ 706 h 10000"/>
                <a:gd name="connsiteX3" fmla="*/ 4070 w 10000"/>
                <a:gd name="connsiteY3" fmla="*/ 59 h 10000"/>
                <a:gd name="connsiteX4" fmla="*/ 4380 w 10000"/>
                <a:gd name="connsiteY4" fmla="*/ 0 h 10000"/>
                <a:gd name="connsiteX5" fmla="*/ 4767 w 10000"/>
                <a:gd name="connsiteY5" fmla="*/ 569 h 10000"/>
                <a:gd name="connsiteX6" fmla="*/ 5019 w 10000"/>
                <a:gd name="connsiteY6" fmla="*/ 549 h 10000"/>
                <a:gd name="connsiteX7" fmla="*/ 5252 w 10000"/>
                <a:gd name="connsiteY7" fmla="*/ 569 h 10000"/>
                <a:gd name="connsiteX8" fmla="*/ 5640 w 10000"/>
                <a:gd name="connsiteY8" fmla="*/ 0 h 10000"/>
                <a:gd name="connsiteX9" fmla="*/ 5795 w 10000"/>
                <a:gd name="connsiteY9" fmla="*/ 20 h 10000"/>
                <a:gd name="connsiteX10" fmla="*/ 5950 w 10000"/>
                <a:gd name="connsiteY10" fmla="*/ 59 h 10000"/>
                <a:gd name="connsiteX11" fmla="*/ 6163 w 10000"/>
                <a:gd name="connsiteY11" fmla="*/ 706 h 10000"/>
                <a:gd name="connsiteX12" fmla="*/ 6395 w 10000"/>
                <a:gd name="connsiteY12" fmla="*/ 765 h 10000"/>
                <a:gd name="connsiteX13" fmla="*/ 6492 w 10000"/>
                <a:gd name="connsiteY13" fmla="*/ 804 h 10000"/>
                <a:gd name="connsiteX14" fmla="*/ 6609 w 10000"/>
                <a:gd name="connsiteY14" fmla="*/ 843 h 10000"/>
                <a:gd name="connsiteX15" fmla="*/ 7151 w 10000"/>
                <a:gd name="connsiteY15" fmla="*/ 451 h 10000"/>
                <a:gd name="connsiteX16" fmla="*/ 7287 w 10000"/>
                <a:gd name="connsiteY16" fmla="*/ 510 h 10000"/>
                <a:gd name="connsiteX17" fmla="*/ 7442 w 10000"/>
                <a:gd name="connsiteY17" fmla="*/ 588 h 10000"/>
                <a:gd name="connsiteX18" fmla="*/ 7442 w 10000"/>
                <a:gd name="connsiteY18" fmla="*/ 1275 h 10000"/>
                <a:gd name="connsiteX19" fmla="*/ 7616 w 10000"/>
                <a:gd name="connsiteY19" fmla="*/ 1412 h 10000"/>
                <a:gd name="connsiteX20" fmla="*/ 7713 w 10000"/>
                <a:gd name="connsiteY20" fmla="*/ 1471 h 10000"/>
                <a:gd name="connsiteX21" fmla="*/ 7810 w 10000"/>
                <a:gd name="connsiteY21" fmla="*/ 1549 h 10000"/>
                <a:gd name="connsiteX22" fmla="*/ 8450 w 10000"/>
                <a:gd name="connsiteY22" fmla="*/ 1333 h 10000"/>
                <a:gd name="connsiteX23" fmla="*/ 8566 w 10000"/>
                <a:gd name="connsiteY23" fmla="*/ 1451 h 10000"/>
                <a:gd name="connsiteX24" fmla="*/ 8682 w 10000"/>
                <a:gd name="connsiteY24" fmla="*/ 1569 h 10000"/>
                <a:gd name="connsiteX25" fmla="*/ 8469 w 10000"/>
                <a:gd name="connsiteY25" fmla="*/ 2216 h 10000"/>
                <a:gd name="connsiteX26" fmla="*/ 8605 w 10000"/>
                <a:gd name="connsiteY26" fmla="*/ 2392 h 10000"/>
                <a:gd name="connsiteX27" fmla="*/ 8740 w 10000"/>
                <a:gd name="connsiteY27" fmla="*/ 2588 h 10000"/>
                <a:gd name="connsiteX28" fmla="*/ 9419 w 10000"/>
                <a:gd name="connsiteY28" fmla="*/ 2588 h 10000"/>
                <a:gd name="connsiteX29" fmla="*/ 9496 w 10000"/>
                <a:gd name="connsiteY29" fmla="*/ 2706 h 10000"/>
                <a:gd name="connsiteX30" fmla="*/ 9574 w 10000"/>
                <a:gd name="connsiteY30" fmla="*/ 2863 h 10000"/>
                <a:gd name="connsiteX31" fmla="*/ 9167 w 10000"/>
                <a:gd name="connsiteY31" fmla="*/ 3392 h 10000"/>
                <a:gd name="connsiteX32" fmla="*/ 9244 w 10000"/>
                <a:gd name="connsiteY32" fmla="*/ 3627 h 10000"/>
                <a:gd name="connsiteX33" fmla="*/ 9283 w 10000"/>
                <a:gd name="connsiteY33" fmla="*/ 3745 h 10000"/>
                <a:gd name="connsiteX34" fmla="*/ 9302 w 10000"/>
                <a:gd name="connsiteY34" fmla="*/ 3863 h 10000"/>
                <a:gd name="connsiteX35" fmla="*/ 9961 w 10000"/>
                <a:gd name="connsiteY35" fmla="*/ 4059 h 10000"/>
                <a:gd name="connsiteX36" fmla="*/ 10000 w 10000"/>
                <a:gd name="connsiteY36" fmla="*/ 4392 h 10000"/>
                <a:gd name="connsiteX37" fmla="*/ 9438 w 10000"/>
                <a:gd name="connsiteY37" fmla="*/ 4765 h 10000"/>
                <a:gd name="connsiteX38" fmla="*/ 9457 w 10000"/>
                <a:gd name="connsiteY38" fmla="*/ 5000 h 10000"/>
                <a:gd name="connsiteX39" fmla="*/ 9438 w 10000"/>
                <a:gd name="connsiteY39" fmla="*/ 5235 h 10000"/>
                <a:gd name="connsiteX40" fmla="*/ 10000 w 10000"/>
                <a:gd name="connsiteY40" fmla="*/ 5627 h 10000"/>
                <a:gd name="connsiteX41" fmla="*/ 9981 w 10000"/>
                <a:gd name="connsiteY41" fmla="*/ 5784 h 10000"/>
                <a:gd name="connsiteX42" fmla="*/ 9961 w 10000"/>
                <a:gd name="connsiteY42" fmla="*/ 5941 h 10000"/>
                <a:gd name="connsiteX43" fmla="*/ 9302 w 10000"/>
                <a:gd name="connsiteY43" fmla="*/ 6157 h 10000"/>
                <a:gd name="connsiteX44" fmla="*/ 9244 w 10000"/>
                <a:gd name="connsiteY44" fmla="*/ 6392 h 10000"/>
                <a:gd name="connsiteX45" fmla="*/ 9205 w 10000"/>
                <a:gd name="connsiteY45" fmla="*/ 6490 h 10000"/>
                <a:gd name="connsiteX46" fmla="*/ 9167 w 10000"/>
                <a:gd name="connsiteY46" fmla="*/ 6608 h 10000"/>
                <a:gd name="connsiteX47" fmla="*/ 9574 w 10000"/>
                <a:gd name="connsiteY47" fmla="*/ 7157 h 10000"/>
                <a:gd name="connsiteX48" fmla="*/ 9496 w 10000"/>
                <a:gd name="connsiteY48" fmla="*/ 7294 h 10000"/>
                <a:gd name="connsiteX49" fmla="*/ 9419 w 10000"/>
                <a:gd name="connsiteY49" fmla="*/ 7431 h 10000"/>
                <a:gd name="connsiteX50" fmla="*/ 8740 w 10000"/>
                <a:gd name="connsiteY50" fmla="*/ 7412 h 10000"/>
                <a:gd name="connsiteX51" fmla="*/ 8605 w 10000"/>
                <a:gd name="connsiteY51" fmla="*/ 7627 h 10000"/>
                <a:gd name="connsiteX52" fmla="*/ 8547 w 10000"/>
                <a:gd name="connsiteY52" fmla="*/ 7706 h 10000"/>
                <a:gd name="connsiteX53" fmla="*/ 8469 w 10000"/>
                <a:gd name="connsiteY53" fmla="*/ 7804 h 10000"/>
                <a:gd name="connsiteX54" fmla="*/ 8682 w 10000"/>
                <a:gd name="connsiteY54" fmla="*/ 8451 h 10000"/>
                <a:gd name="connsiteX55" fmla="*/ 8566 w 10000"/>
                <a:gd name="connsiteY55" fmla="*/ 8569 h 10000"/>
                <a:gd name="connsiteX56" fmla="*/ 8450 w 10000"/>
                <a:gd name="connsiteY56" fmla="*/ 8686 h 10000"/>
                <a:gd name="connsiteX57" fmla="*/ 7810 w 10000"/>
                <a:gd name="connsiteY57" fmla="*/ 8471 h 10000"/>
                <a:gd name="connsiteX58" fmla="*/ 7616 w 10000"/>
                <a:gd name="connsiteY58" fmla="*/ 8608 h 10000"/>
                <a:gd name="connsiteX59" fmla="*/ 7442 w 10000"/>
                <a:gd name="connsiteY59" fmla="*/ 8745 h 10000"/>
                <a:gd name="connsiteX60" fmla="*/ 7442 w 10000"/>
                <a:gd name="connsiteY60" fmla="*/ 9412 h 10000"/>
                <a:gd name="connsiteX61" fmla="*/ 7287 w 10000"/>
                <a:gd name="connsiteY61" fmla="*/ 9510 h 10000"/>
                <a:gd name="connsiteX62" fmla="*/ 7151 w 10000"/>
                <a:gd name="connsiteY62" fmla="*/ 9569 h 10000"/>
                <a:gd name="connsiteX63" fmla="*/ 6609 w 10000"/>
                <a:gd name="connsiteY63" fmla="*/ 9157 h 10000"/>
                <a:gd name="connsiteX64" fmla="*/ 6395 w 10000"/>
                <a:gd name="connsiteY64" fmla="*/ 9235 h 10000"/>
                <a:gd name="connsiteX65" fmla="*/ 6279 w 10000"/>
                <a:gd name="connsiteY65" fmla="*/ 9275 h 10000"/>
                <a:gd name="connsiteX66" fmla="*/ 6163 w 10000"/>
                <a:gd name="connsiteY66" fmla="*/ 9314 h 10000"/>
                <a:gd name="connsiteX67" fmla="*/ 5950 w 10000"/>
                <a:gd name="connsiteY67" fmla="*/ 9961 h 10000"/>
                <a:gd name="connsiteX68" fmla="*/ 5640 w 10000"/>
                <a:gd name="connsiteY68" fmla="*/ 10000 h 10000"/>
                <a:gd name="connsiteX69" fmla="*/ 5252 w 10000"/>
                <a:gd name="connsiteY69" fmla="*/ 9451 h 10000"/>
                <a:gd name="connsiteX70" fmla="*/ 5019 w 10000"/>
                <a:gd name="connsiteY70" fmla="*/ 9451 h 10000"/>
                <a:gd name="connsiteX71" fmla="*/ 4767 w 10000"/>
                <a:gd name="connsiteY71" fmla="*/ 9451 h 10000"/>
                <a:gd name="connsiteX72" fmla="*/ 4380 w 10000"/>
                <a:gd name="connsiteY72" fmla="*/ 10000 h 10000"/>
                <a:gd name="connsiteX73" fmla="*/ 4225 w 10000"/>
                <a:gd name="connsiteY73" fmla="*/ 9980 h 10000"/>
                <a:gd name="connsiteX74" fmla="*/ 4070 w 10000"/>
                <a:gd name="connsiteY74" fmla="*/ 9961 h 10000"/>
                <a:gd name="connsiteX75" fmla="*/ 3857 w 10000"/>
                <a:gd name="connsiteY75" fmla="*/ 9314 h 10000"/>
                <a:gd name="connsiteX76" fmla="*/ 3624 w 10000"/>
                <a:gd name="connsiteY76" fmla="*/ 9235 h 10000"/>
                <a:gd name="connsiteX77" fmla="*/ 3508 w 10000"/>
                <a:gd name="connsiteY77" fmla="*/ 9216 h 10000"/>
                <a:gd name="connsiteX78" fmla="*/ 3411 w 10000"/>
                <a:gd name="connsiteY78" fmla="*/ 9157 h 10000"/>
                <a:gd name="connsiteX79" fmla="*/ 2868 w 10000"/>
                <a:gd name="connsiteY79" fmla="*/ 9569 h 10000"/>
                <a:gd name="connsiteX80" fmla="*/ 2733 w 10000"/>
                <a:gd name="connsiteY80" fmla="*/ 9510 h 10000"/>
                <a:gd name="connsiteX81" fmla="*/ 2578 w 10000"/>
                <a:gd name="connsiteY81" fmla="*/ 9412 h 10000"/>
                <a:gd name="connsiteX82" fmla="*/ 2597 w 10000"/>
                <a:gd name="connsiteY82" fmla="*/ 8745 h 10000"/>
                <a:gd name="connsiteX83" fmla="*/ 2403 w 10000"/>
                <a:gd name="connsiteY83" fmla="*/ 8608 h 10000"/>
                <a:gd name="connsiteX84" fmla="*/ 2306 w 10000"/>
                <a:gd name="connsiteY84" fmla="*/ 8529 h 10000"/>
                <a:gd name="connsiteX85" fmla="*/ 2209 w 10000"/>
                <a:gd name="connsiteY85" fmla="*/ 8471 h 10000"/>
                <a:gd name="connsiteX86" fmla="*/ 1570 w 10000"/>
                <a:gd name="connsiteY86" fmla="*/ 8686 h 10000"/>
                <a:gd name="connsiteX87" fmla="*/ 1453 w 10000"/>
                <a:gd name="connsiteY87" fmla="*/ 8569 h 10000"/>
                <a:gd name="connsiteX88" fmla="*/ 1337 w 10000"/>
                <a:gd name="connsiteY88" fmla="*/ 8451 h 10000"/>
                <a:gd name="connsiteX89" fmla="*/ 1550 w 10000"/>
                <a:gd name="connsiteY89" fmla="*/ 7804 h 10000"/>
                <a:gd name="connsiteX90" fmla="*/ 1415 w 10000"/>
                <a:gd name="connsiteY90" fmla="*/ 7627 h 10000"/>
                <a:gd name="connsiteX91" fmla="*/ 1279 w 10000"/>
                <a:gd name="connsiteY91" fmla="*/ 7412 h 10000"/>
                <a:gd name="connsiteX92" fmla="*/ 601 w 10000"/>
                <a:gd name="connsiteY92" fmla="*/ 7431 h 10000"/>
                <a:gd name="connsiteX93" fmla="*/ 523 w 10000"/>
                <a:gd name="connsiteY93" fmla="*/ 7294 h 10000"/>
                <a:gd name="connsiteX94" fmla="*/ 446 w 10000"/>
                <a:gd name="connsiteY94" fmla="*/ 7157 h 10000"/>
                <a:gd name="connsiteX95" fmla="*/ 853 w 10000"/>
                <a:gd name="connsiteY95" fmla="*/ 6608 h 10000"/>
                <a:gd name="connsiteX96" fmla="*/ 775 w 10000"/>
                <a:gd name="connsiteY96" fmla="*/ 6392 h 10000"/>
                <a:gd name="connsiteX97" fmla="*/ 756 w 10000"/>
                <a:gd name="connsiteY97" fmla="*/ 6275 h 10000"/>
                <a:gd name="connsiteX98" fmla="*/ 717 w 10000"/>
                <a:gd name="connsiteY98" fmla="*/ 6157 h 10000"/>
                <a:gd name="connsiteX99" fmla="*/ 58 w 10000"/>
                <a:gd name="connsiteY99" fmla="*/ 5941 h 10000"/>
                <a:gd name="connsiteX100" fmla="*/ 0 w 10000"/>
                <a:gd name="connsiteY100" fmla="*/ 5627 h 10000"/>
                <a:gd name="connsiteX101" fmla="*/ 581 w 10000"/>
                <a:gd name="connsiteY101" fmla="*/ 5235 h 10000"/>
                <a:gd name="connsiteX102" fmla="*/ 562 w 10000"/>
                <a:gd name="connsiteY102" fmla="*/ 5000 h 10000"/>
                <a:gd name="connsiteX103" fmla="*/ 581 w 10000"/>
                <a:gd name="connsiteY103" fmla="*/ 4765 h 10000"/>
                <a:gd name="connsiteX104" fmla="*/ 0 w 10000"/>
                <a:gd name="connsiteY104" fmla="*/ 4392 h 10000"/>
                <a:gd name="connsiteX105" fmla="*/ 19 w 10000"/>
                <a:gd name="connsiteY105" fmla="*/ 4216 h 10000"/>
                <a:gd name="connsiteX106" fmla="*/ 58 w 10000"/>
                <a:gd name="connsiteY106" fmla="*/ 4059 h 10000"/>
                <a:gd name="connsiteX107" fmla="*/ 717 w 10000"/>
                <a:gd name="connsiteY107" fmla="*/ 3863 h 10000"/>
                <a:gd name="connsiteX108" fmla="*/ 775 w 10000"/>
                <a:gd name="connsiteY108" fmla="*/ 3627 h 10000"/>
                <a:gd name="connsiteX109" fmla="*/ 814 w 10000"/>
                <a:gd name="connsiteY109" fmla="*/ 3510 h 10000"/>
                <a:gd name="connsiteX110" fmla="*/ 853 w 10000"/>
                <a:gd name="connsiteY110" fmla="*/ 3392 h 10000"/>
                <a:gd name="connsiteX111" fmla="*/ 446 w 10000"/>
                <a:gd name="connsiteY111" fmla="*/ 2863 h 10000"/>
                <a:gd name="connsiteX112" fmla="*/ 523 w 10000"/>
                <a:gd name="connsiteY112" fmla="*/ 2706 h 10000"/>
                <a:gd name="connsiteX113" fmla="*/ 601 w 10000"/>
                <a:gd name="connsiteY113" fmla="*/ 2588 h 10000"/>
                <a:gd name="connsiteX114" fmla="*/ 1279 w 10000"/>
                <a:gd name="connsiteY114" fmla="*/ 2588 h 10000"/>
                <a:gd name="connsiteX0" fmla="*/ 3740 w 10000"/>
                <a:gd name="connsiteY0" fmla="*/ 725 h 10000"/>
                <a:gd name="connsiteX1" fmla="*/ 3857 w 10000"/>
                <a:gd name="connsiteY1" fmla="*/ 706 h 10000"/>
                <a:gd name="connsiteX2" fmla="*/ 4070 w 10000"/>
                <a:gd name="connsiteY2" fmla="*/ 59 h 10000"/>
                <a:gd name="connsiteX3" fmla="*/ 4380 w 10000"/>
                <a:gd name="connsiteY3" fmla="*/ 0 h 10000"/>
                <a:gd name="connsiteX4" fmla="*/ 4767 w 10000"/>
                <a:gd name="connsiteY4" fmla="*/ 569 h 10000"/>
                <a:gd name="connsiteX5" fmla="*/ 5019 w 10000"/>
                <a:gd name="connsiteY5" fmla="*/ 549 h 10000"/>
                <a:gd name="connsiteX6" fmla="*/ 5252 w 10000"/>
                <a:gd name="connsiteY6" fmla="*/ 569 h 10000"/>
                <a:gd name="connsiteX7" fmla="*/ 5640 w 10000"/>
                <a:gd name="connsiteY7" fmla="*/ 0 h 10000"/>
                <a:gd name="connsiteX8" fmla="*/ 5795 w 10000"/>
                <a:gd name="connsiteY8" fmla="*/ 20 h 10000"/>
                <a:gd name="connsiteX9" fmla="*/ 5950 w 10000"/>
                <a:gd name="connsiteY9" fmla="*/ 59 h 10000"/>
                <a:gd name="connsiteX10" fmla="*/ 6163 w 10000"/>
                <a:gd name="connsiteY10" fmla="*/ 706 h 10000"/>
                <a:gd name="connsiteX11" fmla="*/ 6395 w 10000"/>
                <a:gd name="connsiteY11" fmla="*/ 765 h 10000"/>
                <a:gd name="connsiteX12" fmla="*/ 6492 w 10000"/>
                <a:gd name="connsiteY12" fmla="*/ 804 h 10000"/>
                <a:gd name="connsiteX13" fmla="*/ 6609 w 10000"/>
                <a:gd name="connsiteY13" fmla="*/ 843 h 10000"/>
                <a:gd name="connsiteX14" fmla="*/ 7151 w 10000"/>
                <a:gd name="connsiteY14" fmla="*/ 451 h 10000"/>
                <a:gd name="connsiteX15" fmla="*/ 7287 w 10000"/>
                <a:gd name="connsiteY15" fmla="*/ 510 h 10000"/>
                <a:gd name="connsiteX16" fmla="*/ 7442 w 10000"/>
                <a:gd name="connsiteY16" fmla="*/ 588 h 10000"/>
                <a:gd name="connsiteX17" fmla="*/ 7442 w 10000"/>
                <a:gd name="connsiteY17" fmla="*/ 1275 h 10000"/>
                <a:gd name="connsiteX18" fmla="*/ 7616 w 10000"/>
                <a:gd name="connsiteY18" fmla="*/ 1412 h 10000"/>
                <a:gd name="connsiteX19" fmla="*/ 7713 w 10000"/>
                <a:gd name="connsiteY19" fmla="*/ 1471 h 10000"/>
                <a:gd name="connsiteX20" fmla="*/ 7810 w 10000"/>
                <a:gd name="connsiteY20" fmla="*/ 1549 h 10000"/>
                <a:gd name="connsiteX21" fmla="*/ 8450 w 10000"/>
                <a:gd name="connsiteY21" fmla="*/ 1333 h 10000"/>
                <a:gd name="connsiteX22" fmla="*/ 8566 w 10000"/>
                <a:gd name="connsiteY22" fmla="*/ 1451 h 10000"/>
                <a:gd name="connsiteX23" fmla="*/ 8682 w 10000"/>
                <a:gd name="connsiteY23" fmla="*/ 1569 h 10000"/>
                <a:gd name="connsiteX24" fmla="*/ 8469 w 10000"/>
                <a:gd name="connsiteY24" fmla="*/ 2216 h 10000"/>
                <a:gd name="connsiteX25" fmla="*/ 8605 w 10000"/>
                <a:gd name="connsiteY25" fmla="*/ 2392 h 10000"/>
                <a:gd name="connsiteX26" fmla="*/ 8740 w 10000"/>
                <a:gd name="connsiteY26" fmla="*/ 2588 h 10000"/>
                <a:gd name="connsiteX27" fmla="*/ 9419 w 10000"/>
                <a:gd name="connsiteY27" fmla="*/ 2588 h 10000"/>
                <a:gd name="connsiteX28" fmla="*/ 9496 w 10000"/>
                <a:gd name="connsiteY28" fmla="*/ 2706 h 10000"/>
                <a:gd name="connsiteX29" fmla="*/ 9574 w 10000"/>
                <a:gd name="connsiteY29" fmla="*/ 2863 h 10000"/>
                <a:gd name="connsiteX30" fmla="*/ 9167 w 10000"/>
                <a:gd name="connsiteY30" fmla="*/ 3392 h 10000"/>
                <a:gd name="connsiteX31" fmla="*/ 9244 w 10000"/>
                <a:gd name="connsiteY31" fmla="*/ 3627 h 10000"/>
                <a:gd name="connsiteX32" fmla="*/ 9283 w 10000"/>
                <a:gd name="connsiteY32" fmla="*/ 3745 h 10000"/>
                <a:gd name="connsiteX33" fmla="*/ 9302 w 10000"/>
                <a:gd name="connsiteY33" fmla="*/ 3863 h 10000"/>
                <a:gd name="connsiteX34" fmla="*/ 9961 w 10000"/>
                <a:gd name="connsiteY34" fmla="*/ 4059 h 10000"/>
                <a:gd name="connsiteX35" fmla="*/ 10000 w 10000"/>
                <a:gd name="connsiteY35" fmla="*/ 4392 h 10000"/>
                <a:gd name="connsiteX36" fmla="*/ 9438 w 10000"/>
                <a:gd name="connsiteY36" fmla="*/ 4765 h 10000"/>
                <a:gd name="connsiteX37" fmla="*/ 9457 w 10000"/>
                <a:gd name="connsiteY37" fmla="*/ 5000 h 10000"/>
                <a:gd name="connsiteX38" fmla="*/ 9438 w 10000"/>
                <a:gd name="connsiteY38" fmla="*/ 5235 h 10000"/>
                <a:gd name="connsiteX39" fmla="*/ 10000 w 10000"/>
                <a:gd name="connsiteY39" fmla="*/ 5627 h 10000"/>
                <a:gd name="connsiteX40" fmla="*/ 9981 w 10000"/>
                <a:gd name="connsiteY40" fmla="*/ 5784 h 10000"/>
                <a:gd name="connsiteX41" fmla="*/ 9961 w 10000"/>
                <a:gd name="connsiteY41" fmla="*/ 5941 h 10000"/>
                <a:gd name="connsiteX42" fmla="*/ 9302 w 10000"/>
                <a:gd name="connsiteY42" fmla="*/ 6157 h 10000"/>
                <a:gd name="connsiteX43" fmla="*/ 9244 w 10000"/>
                <a:gd name="connsiteY43" fmla="*/ 6392 h 10000"/>
                <a:gd name="connsiteX44" fmla="*/ 9205 w 10000"/>
                <a:gd name="connsiteY44" fmla="*/ 6490 h 10000"/>
                <a:gd name="connsiteX45" fmla="*/ 9167 w 10000"/>
                <a:gd name="connsiteY45" fmla="*/ 6608 h 10000"/>
                <a:gd name="connsiteX46" fmla="*/ 9574 w 10000"/>
                <a:gd name="connsiteY46" fmla="*/ 7157 h 10000"/>
                <a:gd name="connsiteX47" fmla="*/ 9496 w 10000"/>
                <a:gd name="connsiteY47" fmla="*/ 7294 h 10000"/>
                <a:gd name="connsiteX48" fmla="*/ 9419 w 10000"/>
                <a:gd name="connsiteY48" fmla="*/ 7431 h 10000"/>
                <a:gd name="connsiteX49" fmla="*/ 8740 w 10000"/>
                <a:gd name="connsiteY49" fmla="*/ 7412 h 10000"/>
                <a:gd name="connsiteX50" fmla="*/ 8605 w 10000"/>
                <a:gd name="connsiteY50" fmla="*/ 7627 h 10000"/>
                <a:gd name="connsiteX51" fmla="*/ 8547 w 10000"/>
                <a:gd name="connsiteY51" fmla="*/ 7706 h 10000"/>
                <a:gd name="connsiteX52" fmla="*/ 8469 w 10000"/>
                <a:gd name="connsiteY52" fmla="*/ 7804 h 10000"/>
                <a:gd name="connsiteX53" fmla="*/ 8682 w 10000"/>
                <a:gd name="connsiteY53" fmla="*/ 8451 h 10000"/>
                <a:gd name="connsiteX54" fmla="*/ 8566 w 10000"/>
                <a:gd name="connsiteY54" fmla="*/ 8569 h 10000"/>
                <a:gd name="connsiteX55" fmla="*/ 8450 w 10000"/>
                <a:gd name="connsiteY55" fmla="*/ 8686 h 10000"/>
                <a:gd name="connsiteX56" fmla="*/ 7810 w 10000"/>
                <a:gd name="connsiteY56" fmla="*/ 8471 h 10000"/>
                <a:gd name="connsiteX57" fmla="*/ 7616 w 10000"/>
                <a:gd name="connsiteY57" fmla="*/ 8608 h 10000"/>
                <a:gd name="connsiteX58" fmla="*/ 7442 w 10000"/>
                <a:gd name="connsiteY58" fmla="*/ 8745 h 10000"/>
                <a:gd name="connsiteX59" fmla="*/ 7442 w 10000"/>
                <a:gd name="connsiteY59" fmla="*/ 9412 h 10000"/>
                <a:gd name="connsiteX60" fmla="*/ 7287 w 10000"/>
                <a:gd name="connsiteY60" fmla="*/ 9510 h 10000"/>
                <a:gd name="connsiteX61" fmla="*/ 7151 w 10000"/>
                <a:gd name="connsiteY61" fmla="*/ 9569 h 10000"/>
                <a:gd name="connsiteX62" fmla="*/ 6609 w 10000"/>
                <a:gd name="connsiteY62" fmla="*/ 9157 h 10000"/>
                <a:gd name="connsiteX63" fmla="*/ 6395 w 10000"/>
                <a:gd name="connsiteY63" fmla="*/ 9235 h 10000"/>
                <a:gd name="connsiteX64" fmla="*/ 6279 w 10000"/>
                <a:gd name="connsiteY64" fmla="*/ 9275 h 10000"/>
                <a:gd name="connsiteX65" fmla="*/ 6163 w 10000"/>
                <a:gd name="connsiteY65" fmla="*/ 9314 h 10000"/>
                <a:gd name="connsiteX66" fmla="*/ 5950 w 10000"/>
                <a:gd name="connsiteY66" fmla="*/ 9961 h 10000"/>
                <a:gd name="connsiteX67" fmla="*/ 5640 w 10000"/>
                <a:gd name="connsiteY67" fmla="*/ 10000 h 10000"/>
                <a:gd name="connsiteX68" fmla="*/ 5252 w 10000"/>
                <a:gd name="connsiteY68" fmla="*/ 9451 h 10000"/>
                <a:gd name="connsiteX69" fmla="*/ 5019 w 10000"/>
                <a:gd name="connsiteY69" fmla="*/ 9451 h 10000"/>
                <a:gd name="connsiteX70" fmla="*/ 4767 w 10000"/>
                <a:gd name="connsiteY70" fmla="*/ 9451 h 10000"/>
                <a:gd name="connsiteX71" fmla="*/ 4380 w 10000"/>
                <a:gd name="connsiteY71" fmla="*/ 10000 h 10000"/>
                <a:gd name="connsiteX72" fmla="*/ 4225 w 10000"/>
                <a:gd name="connsiteY72" fmla="*/ 9980 h 10000"/>
                <a:gd name="connsiteX73" fmla="*/ 4070 w 10000"/>
                <a:gd name="connsiteY73" fmla="*/ 9961 h 10000"/>
                <a:gd name="connsiteX74" fmla="*/ 3857 w 10000"/>
                <a:gd name="connsiteY74" fmla="*/ 9314 h 10000"/>
                <a:gd name="connsiteX75" fmla="*/ 3624 w 10000"/>
                <a:gd name="connsiteY75" fmla="*/ 9235 h 10000"/>
                <a:gd name="connsiteX76" fmla="*/ 3508 w 10000"/>
                <a:gd name="connsiteY76" fmla="*/ 9216 h 10000"/>
                <a:gd name="connsiteX77" fmla="*/ 3411 w 10000"/>
                <a:gd name="connsiteY77" fmla="*/ 9157 h 10000"/>
                <a:gd name="connsiteX78" fmla="*/ 2868 w 10000"/>
                <a:gd name="connsiteY78" fmla="*/ 9569 h 10000"/>
                <a:gd name="connsiteX79" fmla="*/ 2733 w 10000"/>
                <a:gd name="connsiteY79" fmla="*/ 9510 h 10000"/>
                <a:gd name="connsiteX80" fmla="*/ 2578 w 10000"/>
                <a:gd name="connsiteY80" fmla="*/ 9412 h 10000"/>
                <a:gd name="connsiteX81" fmla="*/ 2597 w 10000"/>
                <a:gd name="connsiteY81" fmla="*/ 8745 h 10000"/>
                <a:gd name="connsiteX82" fmla="*/ 2403 w 10000"/>
                <a:gd name="connsiteY82" fmla="*/ 8608 h 10000"/>
                <a:gd name="connsiteX83" fmla="*/ 2306 w 10000"/>
                <a:gd name="connsiteY83" fmla="*/ 8529 h 10000"/>
                <a:gd name="connsiteX84" fmla="*/ 2209 w 10000"/>
                <a:gd name="connsiteY84" fmla="*/ 8471 h 10000"/>
                <a:gd name="connsiteX85" fmla="*/ 1570 w 10000"/>
                <a:gd name="connsiteY85" fmla="*/ 8686 h 10000"/>
                <a:gd name="connsiteX86" fmla="*/ 1453 w 10000"/>
                <a:gd name="connsiteY86" fmla="*/ 8569 h 10000"/>
                <a:gd name="connsiteX87" fmla="*/ 1337 w 10000"/>
                <a:gd name="connsiteY87" fmla="*/ 8451 h 10000"/>
                <a:gd name="connsiteX88" fmla="*/ 1550 w 10000"/>
                <a:gd name="connsiteY88" fmla="*/ 7804 h 10000"/>
                <a:gd name="connsiteX89" fmla="*/ 1415 w 10000"/>
                <a:gd name="connsiteY89" fmla="*/ 7627 h 10000"/>
                <a:gd name="connsiteX90" fmla="*/ 1279 w 10000"/>
                <a:gd name="connsiteY90" fmla="*/ 7412 h 10000"/>
                <a:gd name="connsiteX91" fmla="*/ 601 w 10000"/>
                <a:gd name="connsiteY91" fmla="*/ 7431 h 10000"/>
                <a:gd name="connsiteX92" fmla="*/ 523 w 10000"/>
                <a:gd name="connsiteY92" fmla="*/ 7294 h 10000"/>
                <a:gd name="connsiteX93" fmla="*/ 446 w 10000"/>
                <a:gd name="connsiteY93" fmla="*/ 7157 h 10000"/>
                <a:gd name="connsiteX94" fmla="*/ 853 w 10000"/>
                <a:gd name="connsiteY94" fmla="*/ 6608 h 10000"/>
                <a:gd name="connsiteX95" fmla="*/ 775 w 10000"/>
                <a:gd name="connsiteY95" fmla="*/ 6392 h 10000"/>
                <a:gd name="connsiteX96" fmla="*/ 756 w 10000"/>
                <a:gd name="connsiteY96" fmla="*/ 6275 h 10000"/>
                <a:gd name="connsiteX97" fmla="*/ 717 w 10000"/>
                <a:gd name="connsiteY97" fmla="*/ 6157 h 10000"/>
                <a:gd name="connsiteX98" fmla="*/ 58 w 10000"/>
                <a:gd name="connsiteY98" fmla="*/ 5941 h 10000"/>
                <a:gd name="connsiteX99" fmla="*/ 0 w 10000"/>
                <a:gd name="connsiteY99" fmla="*/ 5627 h 10000"/>
                <a:gd name="connsiteX100" fmla="*/ 581 w 10000"/>
                <a:gd name="connsiteY100" fmla="*/ 5235 h 10000"/>
                <a:gd name="connsiteX101" fmla="*/ 562 w 10000"/>
                <a:gd name="connsiteY101" fmla="*/ 5000 h 10000"/>
                <a:gd name="connsiteX102" fmla="*/ 581 w 10000"/>
                <a:gd name="connsiteY102" fmla="*/ 4765 h 10000"/>
                <a:gd name="connsiteX103" fmla="*/ 0 w 10000"/>
                <a:gd name="connsiteY103" fmla="*/ 4392 h 10000"/>
                <a:gd name="connsiteX104" fmla="*/ 19 w 10000"/>
                <a:gd name="connsiteY104" fmla="*/ 4216 h 10000"/>
                <a:gd name="connsiteX105" fmla="*/ 58 w 10000"/>
                <a:gd name="connsiteY105" fmla="*/ 4059 h 10000"/>
                <a:gd name="connsiteX106" fmla="*/ 717 w 10000"/>
                <a:gd name="connsiteY106" fmla="*/ 3863 h 10000"/>
                <a:gd name="connsiteX107" fmla="*/ 775 w 10000"/>
                <a:gd name="connsiteY107" fmla="*/ 3627 h 10000"/>
                <a:gd name="connsiteX108" fmla="*/ 814 w 10000"/>
                <a:gd name="connsiteY108" fmla="*/ 3510 h 10000"/>
                <a:gd name="connsiteX109" fmla="*/ 853 w 10000"/>
                <a:gd name="connsiteY109" fmla="*/ 3392 h 10000"/>
                <a:gd name="connsiteX110" fmla="*/ 446 w 10000"/>
                <a:gd name="connsiteY110" fmla="*/ 2863 h 10000"/>
                <a:gd name="connsiteX111" fmla="*/ 523 w 10000"/>
                <a:gd name="connsiteY111" fmla="*/ 2706 h 10000"/>
                <a:gd name="connsiteX112" fmla="*/ 601 w 10000"/>
                <a:gd name="connsiteY112" fmla="*/ 2588 h 10000"/>
                <a:gd name="connsiteX113" fmla="*/ 1279 w 10000"/>
                <a:gd name="connsiteY113" fmla="*/ 2588 h 10000"/>
                <a:gd name="connsiteX0" fmla="*/ 3740 w 10000"/>
                <a:gd name="connsiteY0" fmla="*/ 725 h 10000"/>
                <a:gd name="connsiteX1" fmla="*/ 4070 w 10000"/>
                <a:gd name="connsiteY1" fmla="*/ 59 h 10000"/>
                <a:gd name="connsiteX2" fmla="*/ 4380 w 10000"/>
                <a:gd name="connsiteY2" fmla="*/ 0 h 10000"/>
                <a:gd name="connsiteX3" fmla="*/ 4767 w 10000"/>
                <a:gd name="connsiteY3" fmla="*/ 569 h 10000"/>
                <a:gd name="connsiteX4" fmla="*/ 5019 w 10000"/>
                <a:gd name="connsiteY4" fmla="*/ 549 h 10000"/>
                <a:gd name="connsiteX5" fmla="*/ 5252 w 10000"/>
                <a:gd name="connsiteY5" fmla="*/ 569 h 10000"/>
                <a:gd name="connsiteX6" fmla="*/ 5640 w 10000"/>
                <a:gd name="connsiteY6" fmla="*/ 0 h 10000"/>
                <a:gd name="connsiteX7" fmla="*/ 5795 w 10000"/>
                <a:gd name="connsiteY7" fmla="*/ 20 h 10000"/>
                <a:gd name="connsiteX8" fmla="*/ 5950 w 10000"/>
                <a:gd name="connsiteY8" fmla="*/ 59 h 10000"/>
                <a:gd name="connsiteX9" fmla="*/ 6163 w 10000"/>
                <a:gd name="connsiteY9" fmla="*/ 706 h 10000"/>
                <a:gd name="connsiteX10" fmla="*/ 6395 w 10000"/>
                <a:gd name="connsiteY10" fmla="*/ 765 h 10000"/>
                <a:gd name="connsiteX11" fmla="*/ 6492 w 10000"/>
                <a:gd name="connsiteY11" fmla="*/ 804 h 10000"/>
                <a:gd name="connsiteX12" fmla="*/ 6609 w 10000"/>
                <a:gd name="connsiteY12" fmla="*/ 843 h 10000"/>
                <a:gd name="connsiteX13" fmla="*/ 7151 w 10000"/>
                <a:gd name="connsiteY13" fmla="*/ 451 h 10000"/>
                <a:gd name="connsiteX14" fmla="*/ 7287 w 10000"/>
                <a:gd name="connsiteY14" fmla="*/ 510 h 10000"/>
                <a:gd name="connsiteX15" fmla="*/ 7442 w 10000"/>
                <a:gd name="connsiteY15" fmla="*/ 588 h 10000"/>
                <a:gd name="connsiteX16" fmla="*/ 7442 w 10000"/>
                <a:gd name="connsiteY16" fmla="*/ 1275 h 10000"/>
                <a:gd name="connsiteX17" fmla="*/ 7616 w 10000"/>
                <a:gd name="connsiteY17" fmla="*/ 1412 h 10000"/>
                <a:gd name="connsiteX18" fmla="*/ 7713 w 10000"/>
                <a:gd name="connsiteY18" fmla="*/ 1471 h 10000"/>
                <a:gd name="connsiteX19" fmla="*/ 7810 w 10000"/>
                <a:gd name="connsiteY19" fmla="*/ 1549 h 10000"/>
                <a:gd name="connsiteX20" fmla="*/ 8450 w 10000"/>
                <a:gd name="connsiteY20" fmla="*/ 1333 h 10000"/>
                <a:gd name="connsiteX21" fmla="*/ 8566 w 10000"/>
                <a:gd name="connsiteY21" fmla="*/ 1451 h 10000"/>
                <a:gd name="connsiteX22" fmla="*/ 8682 w 10000"/>
                <a:gd name="connsiteY22" fmla="*/ 1569 h 10000"/>
                <a:gd name="connsiteX23" fmla="*/ 8469 w 10000"/>
                <a:gd name="connsiteY23" fmla="*/ 2216 h 10000"/>
                <a:gd name="connsiteX24" fmla="*/ 8605 w 10000"/>
                <a:gd name="connsiteY24" fmla="*/ 2392 h 10000"/>
                <a:gd name="connsiteX25" fmla="*/ 8740 w 10000"/>
                <a:gd name="connsiteY25" fmla="*/ 2588 h 10000"/>
                <a:gd name="connsiteX26" fmla="*/ 9419 w 10000"/>
                <a:gd name="connsiteY26" fmla="*/ 2588 h 10000"/>
                <a:gd name="connsiteX27" fmla="*/ 9496 w 10000"/>
                <a:gd name="connsiteY27" fmla="*/ 2706 h 10000"/>
                <a:gd name="connsiteX28" fmla="*/ 9574 w 10000"/>
                <a:gd name="connsiteY28" fmla="*/ 2863 h 10000"/>
                <a:gd name="connsiteX29" fmla="*/ 9167 w 10000"/>
                <a:gd name="connsiteY29" fmla="*/ 3392 h 10000"/>
                <a:gd name="connsiteX30" fmla="*/ 9244 w 10000"/>
                <a:gd name="connsiteY30" fmla="*/ 3627 h 10000"/>
                <a:gd name="connsiteX31" fmla="*/ 9283 w 10000"/>
                <a:gd name="connsiteY31" fmla="*/ 3745 h 10000"/>
                <a:gd name="connsiteX32" fmla="*/ 9302 w 10000"/>
                <a:gd name="connsiteY32" fmla="*/ 3863 h 10000"/>
                <a:gd name="connsiteX33" fmla="*/ 9961 w 10000"/>
                <a:gd name="connsiteY33" fmla="*/ 4059 h 10000"/>
                <a:gd name="connsiteX34" fmla="*/ 10000 w 10000"/>
                <a:gd name="connsiteY34" fmla="*/ 4392 h 10000"/>
                <a:gd name="connsiteX35" fmla="*/ 9438 w 10000"/>
                <a:gd name="connsiteY35" fmla="*/ 4765 h 10000"/>
                <a:gd name="connsiteX36" fmla="*/ 9457 w 10000"/>
                <a:gd name="connsiteY36" fmla="*/ 5000 h 10000"/>
                <a:gd name="connsiteX37" fmla="*/ 9438 w 10000"/>
                <a:gd name="connsiteY37" fmla="*/ 5235 h 10000"/>
                <a:gd name="connsiteX38" fmla="*/ 10000 w 10000"/>
                <a:gd name="connsiteY38" fmla="*/ 5627 h 10000"/>
                <a:gd name="connsiteX39" fmla="*/ 9981 w 10000"/>
                <a:gd name="connsiteY39" fmla="*/ 5784 h 10000"/>
                <a:gd name="connsiteX40" fmla="*/ 9961 w 10000"/>
                <a:gd name="connsiteY40" fmla="*/ 5941 h 10000"/>
                <a:gd name="connsiteX41" fmla="*/ 9302 w 10000"/>
                <a:gd name="connsiteY41" fmla="*/ 6157 h 10000"/>
                <a:gd name="connsiteX42" fmla="*/ 9244 w 10000"/>
                <a:gd name="connsiteY42" fmla="*/ 6392 h 10000"/>
                <a:gd name="connsiteX43" fmla="*/ 9205 w 10000"/>
                <a:gd name="connsiteY43" fmla="*/ 6490 h 10000"/>
                <a:gd name="connsiteX44" fmla="*/ 9167 w 10000"/>
                <a:gd name="connsiteY44" fmla="*/ 6608 h 10000"/>
                <a:gd name="connsiteX45" fmla="*/ 9574 w 10000"/>
                <a:gd name="connsiteY45" fmla="*/ 7157 h 10000"/>
                <a:gd name="connsiteX46" fmla="*/ 9496 w 10000"/>
                <a:gd name="connsiteY46" fmla="*/ 7294 h 10000"/>
                <a:gd name="connsiteX47" fmla="*/ 9419 w 10000"/>
                <a:gd name="connsiteY47" fmla="*/ 7431 h 10000"/>
                <a:gd name="connsiteX48" fmla="*/ 8740 w 10000"/>
                <a:gd name="connsiteY48" fmla="*/ 7412 h 10000"/>
                <a:gd name="connsiteX49" fmla="*/ 8605 w 10000"/>
                <a:gd name="connsiteY49" fmla="*/ 7627 h 10000"/>
                <a:gd name="connsiteX50" fmla="*/ 8547 w 10000"/>
                <a:gd name="connsiteY50" fmla="*/ 7706 h 10000"/>
                <a:gd name="connsiteX51" fmla="*/ 8469 w 10000"/>
                <a:gd name="connsiteY51" fmla="*/ 7804 h 10000"/>
                <a:gd name="connsiteX52" fmla="*/ 8682 w 10000"/>
                <a:gd name="connsiteY52" fmla="*/ 8451 h 10000"/>
                <a:gd name="connsiteX53" fmla="*/ 8566 w 10000"/>
                <a:gd name="connsiteY53" fmla="*/ 8569 h 10000"/>
                <a:gd name="connsiteX54" fmla="*/ 8450 w 10000"/>
                <a:gd name="connsiteY54" fmla="*/ 8686 h 10000"/>
                <a:gd name="connsiteX55" fmla="*/ 7810 w 10000"/>
                <a:gd name="connsiteY55" fmla="*/ 8471 h 10000"/>
                <a:gd name="connsiteX56" fmla="*/ 7616 w 10000"/>
                <a:gd name="connsiteY56" fmla="*/ 8608 h 10000"/>
                <a:gd name="connsiteX57" fmla="*/ 7442 w 10000"/>
                <a:gd name="connsiteY57" fmla="*/ 8745 h 10000"/>
                <a:gd name="connsiteX58" fmla="*/ 7442 w 10000"/>
                <a:gd name="connsiteY58" fmla="*/ 9412 h 10000"/>
                <a:gd name="connsiteX59" fmla="*/ 7287 w 10000"/>
                <a:gd name="connsiteY59" fmla="*/ 9510 h 10000"/>
                <a:gd name="connsiteX60" fmla="*/ 7151 w 10000"/>
                <a:gd name="connsiteY60" fmla="*/ 9569 h 10000"/>
                <a:gd name="connsiteX61" fmla="*/ 6609 w 10000"/>
                <a:gd name="connsiteY61" fmla="*/ 9157 h 10000"/>
                <a:gd name="connsiteX62" fmla="*/ 6395 w 10000"/>
                <a:gd name="connsiteY62" fmla="*/ 9235 h 10000"/>
                <a:gd name="connsiteX63" fmla="*/ 6279 w 10000"/>
                <a:gd name="connsiteY63" fmla="*/ 9275 h 10000"/>
                <a:gd name="connsiteX64" fmla="*/ 6163 w 10000"/>
                <a:gd name="connsiteY64" fmla="*/ 9314 h 10000"/>
                <a:gd name="connsiteX65" fmla="*/ 5950 w 10000"/>
                <a:gd name="connsiteY65" fmla="*/ 9961 h 10000"/>
                <a:gd name="connsiteX66" fmla="*/ 5640 w 10000"/>
                <a:gd name="connsiteY66" fmla="*/ 10000 h 10000"/>
                <a:gd name="connsiteX67" fmla="*/ 5252 w 10000"/>
                <a:gd name="connsiteY67" fmla="*/ 9451 h 10000"/>
                <a:gd name="connsiteX68" fmla="*/ 5019 w 10000"/>
                <a:gd name="connsiteY68" fmla="*/ 9451 h 10000"/>
                <a:gd name="connsiteX69" fmla="*/ 4767 w 10000"/>
                <a:gd name="connsiteY69" fmla="*/ 9451 h 10000"/>
                <a:gd name="connsiteX70" fmla="*/ 4380 w 10000"/>
                <a:gd name="connsiteY70" fmla="*/ 10000 h 10000"/>
                <a:gd name="connsiteX71" fmla="*/ 4225 w 10000"/>
                <a:gd name="connsiteY71" fmla="*/ 9980 h 10000"/>
                <a:gd name="connsiteX72" fmla="*/ 4070 w 10000"/>
                <a:gd name="connsiteY72" fmla="*/ 9961 h 10000"/>
                <a:gd name="connsiteX73" fmla="*/ 3857 w 10000"/>
                <a:gd name="connsiteY73" fmla="*/ 9314 h 10000"/>
                <a:gd name="connsiteX74" fmla="*/ 3624 w 10000"/>
                <a:gd name="connsiteY74" fmla="*/ 9235 h 10000"/>
                <a:gd name="connsiteX75" fmla="*/ 3508 w 10000"/>
                <a:gd name="connsiteY75" fmla="*/ 9216 h 10000"/>
                <a:gd name="connsiteX76" fmla="*/ 3411 w 10000"/>
                <a:gd name="connsiteY76" fmla="*/ 9157 h 10000"/>
                <a:gd name="connsiteX77" fmla="*/ 2868 w 10000"/>
                <a:gd name="connsiteY77" fmla="*/ 9569 h 10000"/>
                <a:gd name="connsiteX78" fmla="*/ 2733 w 10000"/>
                <a:gd name="connsiteY78" fmla="*/ 9510 h 10000"/>
                <a:gd name="connsiteX79" fmla="*/ 2578 w 10000"/>
                <a:gd name="connsiteY79" fmla="*/ 9412 h 10000"/>
                <a:gd name="connsiteX80" fmla="*/ 2597 w 10000"/>
                <a:gd name="connsiteY80" fmla="*/ 8745 h 10000"/>
                <a:gd name="connsiteX81" fmla="*/ 2403 w 10000"/>
                <a:gd name="connsiteY81" fmla="*/ 8608 h 10000"/>
                <a:gd name="connsiteX82" fmla="*/ 2306 w 10000"/>
                <a:gd name="connsiteY82" fmla="*/ 8529 h 10000"/>
                <a:gd name="connsiteX83" fmla="*/ 2209 w 10000"/>
                <a:gd name="connsiteY83" fmla="*/ 8471 h 10000"/>
                <a:gd name="connsiteX84" fmla="*/ 1570 w 10000"/>
                <a:gd name="connsiteY84" fmla="*/ 8686 h 10000"/>
                <a:gd name="connsiteX85" fmla="*/ 1453 w 10000"/>
                <a:gd name="connsiteY85" fmla="*/ 8569 h 10000"/>
                <a:gd name="connsiteX86" fmla="*/ 1337 w 10000"/>
                <a:gd name="connsiteY86" fmla="*/ 8451 h 10000"/>
                <a:gd name="connsiteX87" fmla="*/ 1550 w 10000"/>
                <a:gd name="connsiteY87" fmla="*/ 7804 h 10000"/>
                <a:gd name="connsiteX88" fmla="*/ 1415 w 10000"/>
                <a:gd name="connsiteY88" fmla="*/ 7627 h 10000"/>
                <a:gd name="connsiteX89" fmla="*/ 1279 w 10000"/>
                <a:gd name="connsiteY89" fmla="*/ 7412 h 10000"/>
                <a:gd name="connsiteX90" fmla="*/ 601 w 10000"/>
                <a:gd name="connsiteY90" fmla="*/ 7431 h 10000"/>
                <a:gd name="connsiteX91" fmla="*/ 523 w 10000"/>
                <a:gd name="connsiteY91" fmla="*/ 7294 h 10000"/>
                <a:gd name="connsiteX92" fmla="*/ 446 w 10000"/>
                <a:gd name="connsiteY92" fmla="*/ 7157 h 10000"/>
                <a:gd name="connsiteX93" fmla="*/ 853 w 10000"/>
                <a:gd name="connsiteY93" fmla="*/ 6608 h 10000"/>
                <a:gd name="connsiteX94" fmla="*/ 775 w 10000"/>
                <a:gd name="connsiteY94" fmla="*/ 6392 h 10000"/>
                <a:gd name="connsiteX95" fmla="*/ 756 w 10000"/>
                <a:gd name="connsiteY95" fmla="*/ 6275 h 10000"/>
                <a:gd name="connsiteX96" fmla="*/ 717 w 10000"/>
                <a:gd name="connsiteY96" fmla="*/ 6157 h 10000"/>
                <a:gd name="connsiteX97" fmla="*/ 58 w 10000"/>
                <a:gd name="connsiteY97" fmla="*/ 5941 h 10000"/>
                <a:gd name="connsiteX98" fmla="*/ 0 w 10000"/>
                <a:gd name="connsiteY98" fmla="*/ 5627 h 10000"/>
                <a:gd name="connsiteX99" fmla="*/ 581 w 10000"/>
                <a:gd name="connsiteY99" fmla="*/ 5235 h 10000"/>
                <a:gd name="connsiteX100" fmla="*/ 562 w 10000"/>
                <a:gd name="connsiteY100" fmla="*/ 5000 h 10000"/>
                <a:gd name="connsiteX101" fmla="*/ 581 w 10000"/>
                <a:gd name="connsiteY101" fmla="*/ 4765 h 10000"/>
                <a:gd name="connsiteX102" fmla="*/ 0 w 10000"/>
                <a:gd name="connsiteY102" fmla="*/ 4392 h 10000"/>
                <a:gd name="connsiteX103" fmla="*/ 19 w 10000"/>
                <a:gd name="connsiteY103" fmla="*/ 4216 h 10000"/>
                <a:gd name="connsiteX104" fmla="*/ 58 w 10000"/>
                <a:gd name="connsiteY104" fmla="*/ 4059 h 10000"/>
                <a:gd name="connsiteX105" fmla="*/ 717 w 10000"/>
                <a:gd name="connsiteY105" fmla="*/ 3863 h 10000"/>
                <a:gd name="connsiteX106" fmla="*/ 775 w 10000"/>
                <a:gd name="connsiteY106" fmla="*/ 3627 h 10000"/>
                <a:gd name="connsiteX107" fmla="*/ 814 w 10000"/>
                <a:gd name="connsiteY107" fmla="*/ 3510 h 10000"/>
                <a:gd name="connsiteX108" fmla="*/ 853 w 10000"/>
                <a:gd name="connsiteY108" fmla="*/ 3392 h 10000"/>
                <a:gd name="connsiteX109" fmla="*/ 446 w 10000"/>
                <a:gd name="connsiteY109" fmla="*/ 2863 h 10000"/>
                <a:gd name="connsiteX110" fmla="*/ 523 w 10000"/>
                <a:gd name="connsiteY110" fmla="*/ 2706 h 10000"/>
                <a:gd name="connsiteX111" fmla="*/ 601 w 10000"/>
                <a:gd name="connsiteY111" fmla="*/ 2588 h 10000"/>
                <a:gd name="connsiteX112" fmla="*/ 1279 w 10000"/>
                <a:gd name="connsiteY112" fmla="*/ 2588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108" fmla="*/ 446 w 10000"/>
                <a:gd name="connsiteY108" fmla="*/ 2863 h 10000"/>
                <a:gd name="connsiteX109" fmla="*/ 523 w 10000"/>
                <a:gd name="connsiteY109" fmla="*/ 2706 h 10000"/>
                <a:gd name="connsiteX110" fmla="*/ 601 w 10000"/>
                <a:gd name="connsiteY110" fmla="*/ 2588 h 10000"/>
                <a:gd name="connsiteX111" fmla="*/ 1279 w 10000"/>
                <a:gd name="connsiteY111" fmla="*/ 2588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108" fmla="*/ 446 w 10000"/>
                <a:gd name="connsiteY108" fmla="*/ 2863 h 10000"/>
                <a:gd name="connsiteX109" fmla="*/ 523 w 10000"/>
                <a:gd name="connsiteY109" fmla="*/ 2706 h 10000"/>
                <a:gd name="connsiteX110" fmla="*/ 601 w 10000"/>
                <a:gd name="connsiteY110" fmla="*/ 2588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108" fmla="*/ 446 w 10000"/>
                <a:gd name="connsiteY108" fmla="*/ 2863 h 10000"/>
                <a:gd name="connsiteX109" fmla="*/ 523 w 10000"/>
                <a:gd name="connsiteY109" fmla="*/ 2706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108" fmla="*/ 446 w 10000"/>
                <a:gd name="connsiteY108" fmla="*/ 2863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0000" h="10000">
                  <a:moveTo>
                    <a:pt x="4070" y="59"/>
                  </a:moveTo>
                  <a:lnTo>
                    <a:pt x="4380" y="0"/>
                  </a:lnTo>
                  <a:lnTo>
                    <a:pt x="4767" y="569"/>
                  </a:lnTo>
                  <a:lnTo>
                    <a:pt x="5019" y="549"/>
                  </a:lnTo>
                  <a:lnTo>
                    <a:pt x="5252" y="569"/>
                  </a:lnTo>
                  <a:lnTo>
                    <a:pt x="5640" y="0"/>
                  </a:lnTo>
                  <a:lnTo>
                    <a:pt x="5795" y="20"/>
                  </a:lnTo>
                  <a:lnTo>
                    <a:pt x="5950" y="59"/>
                  </a:lnTo>
                  <a:lnTo>
                    <a:pt x="6163" y="706"/>
                  </a:lnTo>
                  <a:lnTo>
                    <a:pt x="6395" y="765"/>
                  </a:lnTo>
                  <a:lnTo>
                    <a:pt x="6492" y="804"/>
                  </a:lnTo>
                  <a:lnTo>
                    <a:pt x="6609" y="843"/>
                  </a:lnTo>
                  <a:lnTo>
                    <a:pt x="7151" y="451"/>
                  </a:lnTo>
                  <a:cubicBezTo>
                    <a:pt x="7196" y="471"/>
                    <a:pt x="7242" y="490"/>
                    <a:pt x="7287" y="510"/>
                  </a:cubicBezTo>
                  <a:lnTo>
                    <a:pt x="7442" y="588"/>
                  </a:lnTo>
                  <a:lnTo>
                    <a:pt x="7442" y="1275"/>
                  </a:lnTo>
                  <a:lnTo>
                    <a:pt x="7616" y="1412"/>
                  </a:lnTo>
                  <a:cubicBezTo>
                    <a:pt x="7648" y="1432"/>
                    <a:pt x="7681" y="1451"/>
                    <a:pt x="7713" y="1471"/>
                  </a:cubicBezTo>
                  <a:lnTo>
                    <a:pt x="7810" y="1549"/>
                  </a:lnTo>
                  <a:lnTo>
                    <a:pt x="8450" y="1333"/>
                  </a:lnTo>
                  <a:cubicBezTo>
                    <a:pt x="8489" y="1372"/>
                    <a:pt x="8527" y="1412"/>
                    <a:pt x="8566" y="1451"/>
                  </a:cubicBezTo>
                  <a:cubicBezTo>
                    <a:pt x="8605" y="1490"/>
                    <a:pt x="8643" y="1530"/>
                    <a:pt x="8682" y="1569"/>
                  </a:cubicBezTo>
                  <a:lnTo>
                    <a:pt x="8469" y="2216"/>
                  </a:lnTo>
                  <a:cubicBezTo>
                    <a:pt x="8514" y="2275"/>
                    <a:pt x="8560" y="2333"/>
                    <a:pt x="8605" y="2392"/>
                  </a:cubicBezTo>
                  <a:lnTo>
                    <a:pt x="8740" y="2588"/>
                  </a:lnTo>
                  <a:lnTo>
                    <a:pt x="9419" y="2588"/>
                  </a:lnTo>
                  <a:cubicBezTo>
                    <a:pt x="9445" y="2627"/>
                    <a:pt x="9470" y="2667"/>
                    <a:pt x="9496" y="2706"/>
                  </a:cubicBezTo>
                  <a:cubicBezTo>
                    <a:pt x="9522" y="2758"/>
                    <a:pt x="9548" y="2811"/>
                    <a:pt x="9574" y="2863"/>
                  </a:cubicBezTo>
                  <a:lnTo>
                    <a:pt x="9167" y="3392"/>
                  </a:lnTo>
                  <a:cubicBezTo>
                    <a:pt x="9193" y="3470"/>
                    <a:pt x="9218" y="3549"/>
                    <a:pt x="9244" y="3627"/>
                  </a:cubicBezTo>
                  <a:cubicBezTo>
                    <a:pt x="9257" y="3666"/>
                    <a:pt x="9270" y="3706"/>
                    <a:pt x="9283" y="3745"/>
                  </a:cubicBezTo>
                  <a:cubicBezTo>
                    <a:pt x="9289" y="3784"/>
                    <a:pt x="9296" y="3824"/>
                    <a:pt x="9302" y="3863"/>
                  </a:cubicBezTo>
                  <a:lnTo>
                    <a:pt x="9961" y="4059"/>
                  </a:lnTo>
                  <a:lnTo>
                    <a:pt x="10000" y="4392"/>
                  </a:lnTo>
                  <a:lnTo>
                    <a:pt x="9438" y="4765"/>
                  </a:lnTo>
                  <a:cubicBezTo>
                    <a:pt x="9444" y="4843"/>
                    <a:pt x="9451" y="4922"/>
                    <a:pt x="9457" y="5000"/>
                  </a:cubicBezTo>
                  <a:cubicBezTo>
                    <a:pt x="9451" y="5078"/>
                    <a:pt x="9444" y="5157"/>
                    <a:pt x="9438" y="5235"/>
                  </a:cubicBezTo>
                  <a:lnTo>
                    <a:pt x="10000" y="5627"/>
                  </a:lnTo>
                  <a:cubicBezTo>
                    <a:pt x="9994" y="5679"/>
                    <a:pt x="9987" y="5732"/>
                    <a:pt x="9981" y="5784"/>
                  </a:cubicBezTo>
                  <a:cubicBezTo>
                    <a:pt x="9974" y="5836"/>
                    <a:pt x="9968" y="5889"/>
                    <a:pt x="9961" y="5941"/>
                  </a:cubicBezTo>
                  <a:lnTo>
                    <a:pt x="9302" y="6157"/>
                  </a:lnTo>
                  <a:cubicBezTo>
                    <a:pt x="9283" y="6235"/>
                    <a:pt x="9263" y="6314"/>
                    <a:pt x="9244" y="6392"/>
                  </a:cubicBezTo>
                  <a:cubicBezTo>
                    <a:pt x="9231" y="6425"/>
                    <a:pt x="9218" y="6457"/>
                    <a:pt x="9205" y="6490"/>
                  </a:cubicBezTo>
                  <a:cubicBezTo>
                    <a:pt x="9192" y="6529"/>
                    <a:pt x="9180" y="6569"/>
                    <a:pt x="9167" y="6608"/>
                  </a:cubicBezTo>
                  <a:lnTo>
                    <a:pt x="9574" y="7157"/>
                  </a:lnTo>
                  <a:cubicBezTo>
                    <a:pt x="9548" y="7203"/>
                    <a:pt x="9522" y="7248"/>
                    <a:pt x="9496" y="7294"/>
                  </a:cubicBezTo>
                  <a:lnTo>
                    <a:pt x="9419" y="7431"/>
                  </a:lnTo>
                  <a:lnTo>
                    <a:pt x="8740" y="7412"/>
                  </a:lnTo>
                  <a:lnTo>
                    <a:pt x="8605" y="7627"/>
                  </a:lnTo>
                  <a:lnTo>
                    <a:pt x="8547" y="7706"/>
                  </a:lnTo>
                  <a:cubicBezTo>
                    <a:pt x="8521" y="7739"/>
                    <a:pt x="8495" y="7771"/>
                    <a:pt x="8469" y="7804"/>
                  </a:cubicBezTo>
                  <a:lnTo>
                    <a:pt x="8682" y="8451"/>
                  </a:lnTo>
                  <a:cubicBezTo>
                    <a:pt x="8643" y="8490"/>
                    <a:pt x="8605" y="8530"/>
                    <a:pt x="8566" y="8569"/>
                  </a:cubicBezTo>
                  <a:lnTo>
                    <a:pt x="8450" y="8686"/>
                  </a:lnTo>
                  <a:lnTo>
                    <a:pt x="7810" y="8471"/>
                  </a:lnTo>
                  <a:lnTo>
                    <a:pt x="7616" y="8608"/>
                  </a:lnTo>
                  <a:lnTo>
                    <a:pt x="7442" y="8745"/>
                  </a:lnTo>
                  <a:lnTo>
                    <a:pt x="7442" y="9412"/>
                  </a:lnTo>
                  <a:lnTo>
                    <a:pt x="7287" y="9510"/>
                  </a:lnTo>
                  <a:cubicBezTo>
                    <a:pt x="7242" y="9530"/>
                    <a:pt x="7196" y="9549"/>
                    <a:pt x="7151" y="9569"/>
                  </a:cubicBezTo>
                  <a:lnTo>
                    <a:pt x="6609" y="9157"/>
                  </a:lnTo>
                  <a:lnTo>
                    <a:pt x="6395" y="9235"/>
                  </a:lnTo>
                  <a:cubicBezTo>
                    <a:pt x="6356" y="9248"/>
                    <a:pt x="6318" y="9262"/>
                    <a:pt x="6279" y="9275"/>
                  </a:cubicBezTo>
                  <a:lnTo>
                    <a:pt x="6163" y="9314"/>
                  </a:lnTo>
                  <a:lnTo>
                    <a:pt x="5950" y="9961"/>
                  </a:lnTo>
                  <a:lnTo>
                    <a:pt x="5640" y="10000"/>
                  </a:lnTo>
                  <a:lnTo>
                    <a:pt x="5252" y="9451"/>
                  </a:lnTo>
                  <a:lnTo>
                    <a:pt x="5019" y="9451"/>
                  </a:lnTo>
                  <a:lnTo>
                    <a:pt x="4767" y="9451"/>
                  </a:lnTo>
                  <a:lnTo>
                    <a:pt x="4380" y="10000"/>
                  </a:lnTo>
                  <a:lnTo>
                    <a:pt x="4225" y="9980"/>
                  </a:lnTo>
                  <a:lnTo>
                    <a:pt x="4070" y="9961"/>
                  </a:lnTo>
                  <a:lnTo>
                    <a:pt x="3857" y="9314"/>
                  </a:lnTo>
                  <a:lnTo>
                    <a:pt x="3624" y="9235"/>
                  </a:lnTo>
                  <a:lnTo>
                    <a:pt x="3508" y="9216"/>
                  </a:lnTo>
                  <a:cubicBezTo>
                    <a:pt x="3476" y="9196"/>
                    <a:pt x="3443" y="9177"/>
                    <a:pt x="3411" y="9157"/>
                  </a:cubicBezTo>
                  <a:lnTo>
                    <a:pt x="2868" y="9569"/>
                  </a:lnTo>
                  <a:lnTo>
                    <a:pt x="2733" y="9510"/>
                  </a:lnTo>
                  <a:lnTo>
                    <a:pt x="2578" y="9412"/>
                  </a:lnTo>
                  <a:cubicBezTo>
                    <a:pt x="2584" y="9190"/>
                    <a:pt x="2591" y="8967"/>
                    <a:pt x="2597" y="8745"/>
                  </a:cubicBezTo>
                  <a:lnTo>
                    <a:pt x="2403" y="8608"/>
                  </a:lnTo>
                  <a:lnTo>
                    <a:pt x="2306" y="8529"/>
                  </a:lnTo>
                  <a:lnTo>
                    <a:pt x="2209" y="8471"/>
                  </a:lnTo>
                  <a:lnTo>
                    <a:pt x="1570" y="8686"/>
                  </a:lnTo>
                  <a:lnTo>
                    <a:pt x="1453" y="8569"/>
                  </a:lnTo>
                  <a:cubicBezTo>
                    <a:pt x="1414" y="8530"/>
                    <a:pt x="1376" y="8490"/>
                    <a:pt x="1337" y="8451"/>
                  </a:cubicBezTo>
                  <a:lnTo>
                    <a:pt x="1550" y="7804"/>
                  </a:lnTo>
                  <a:lnTo>
                    <a:pt x="1415" y="7627"/>
                  </a:lnTo>
                  <a:cubicBezTo>
                    <a:pt x="1370" y="7555"/>
                    <a:pt x="1324" y="7484"/>
                    <a:pt x="1279" y="7412"/>
                  </a:cubicBezTo>
                  <a:lnTo>
                    <a:pt x="601" y="7431"/>
                  </a:lnTo>
                  <a:cubicBezTo>
                    <a:pt x="575" y="7385"/>
                    <a:pt x="549" y="7340"/>
                    <a:pt x="523" y="7294"/>
                  </a:cubicBezTo>
                  <a:lnTo>
                    <a:pt x="446" y="7157"/>
                  </a:lnTo>
                  <a:lnTo>
                    <a:pt x="853" y="6608"/>
                  </a:lnTo>
                  <a:lnTo>
                    <a:pt x="775" y="6392"/>
                  </a:lnTo>
                  <a:cubicBezTo>
                    <a:pt x="769" y="6353"/>
                    <a:pt x="762" y="6314"/>
                    <a:pt x="756" y="6275"/>
                  </a:cubicBezTo>
                  <a:cubicBezTo>
                    <a:pt x="743" y="6236"/>
                    <a:pt x="730" y="6196"/>
                    <a:pt x="717" y="6157"/>
                  </a:cubicBezTo>
                  <a:lnTo>
                    <a:pt x="58" y="5941"/>
                  </a:lnTo>
                  <a:cubicBezTo>
                    <a:pt x="39" y="5836"/>
                    <a:pt x="19" y="5732"/>
                    <a:pt x="0" y="5627"/>
                  </a:cubicBezTo>
                  <a:lnTo>
                    <a:pt x="581" y="5235"/>
                  </a:lnTo>
                  <a:cubicBezTo>
                    <a:pt x="575" y="5157"/>
                    <a:pt x="568" y="5078"/>
                    <a:pt x="562" y="5000"/>
                  </a:cubicBezTo>
                  <a:cubicBezTo>
                    <a:pt x="568" y="4922"/>
                    <a:pt x="575" y="4843"/>
                    <a:pt x="581" y="4765"/>
                  </a:cubicBezTo>
                  <a:lnTo>
                    <a:pt x="0" y="4392"/>
                  </a:lnTo>
                  <a:cubicBezTo>
                    <a:pt x="6" y="4333"/>
                    <a:pt x="13" y="4275"/>
                    <a:pt x="19" y="4216"/>
                  </a:cubicBezTo>
                  <a:cubicBezTo>
                    <a:pt x="32" y="4164"/>
                    <a:pt x="45" y="4111"/>
                    <a:pt x="58" y="4059"/>
                  </a:cubicBezTo>
                  <a:lnTo>
                    <a:pt x="717" y="3863"/>
                  </a:lnTo>
                </a:path>
              </a:pathLst>
            </a:custGeom>
            <a:noFill/>
            <a:ln w="9525">
              <a:solidFill>
                <a:schemeClr val="accent5"/>
              </a:solidFill>
              <a:round/>
              <a:headEnd/>
              <a:tailEnd/>
            </a:ln>
          </p:spPr>
          <p:txBody>
            <a:bodyPr/>
            <a:lstStyle/>
            <a:p>
              <a:endParaRPr lang="en-US" dirty="0">
                <a:solidFill>
                  <a:srgbClr val="000000"/>
                </a:solidFill>
              </a:endParaRPr>
            </a:p>
          </p:txBody>
        </p:sp>
        <p:sp>
          <p:nvSpPr>
            <p:cNvPr id="37" name="Textplatzhalter 3">
              <a:extLst>
                <a:ext uri="{FF2B5EF4-FFF2-40B4-BE49-F238E27FC236}">
                  <a16:creationId xmlns:a16="http://schemas.microsoft.com/office/drawing/2014/main" id="{D5F36CCD-C91E-4B1B-A9DA-1CAA5C89441D}"/>
                </a:ext>
              </a:extLst>
            </p:cNvPr>
            <p:cNvSpPr txBox="1">
              <a:spLocks/>
            </p:cNvSpPr>
            <p:nvPr/>
          </p:nvSpPr>
          <p:spPr bwMode="gray">
            <a:xfrm>
              <a:off x="8129812" y="2066789"/>
              <a:ext cx="504056" cy="271511"/>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sz="3000" dirty="0">
                  <a:solidFill>
                    <a:schemeClr val="accent5"/>
                  </a:solidFill>
                </a:rPr>
                <a:t>01</a:t>
              </a:r>
            </a:p>
          </p:txBody>
        </p:sp>
        <p:sp>
          <p:nvSpPr>
            <p:cNvPr id="38" name="Textplatzhalter 3">
              <a:extLst>
                <a:ext uri="{FF2B5EF4-FFF2-40B4-BE49-F238E27FC236}">
                  <a16:creationId xmlns:a16="http://schemas.microsoft.com/office/drawing/2014/main" id="{21645DA5-1092-4CE5-9F19-F4C66F13D329}"/>
                </a:ext>
              </a:extLst>
            </p:cNvPr>
            <p:cNvSpPr txBox="1">
              <a:spLocks/>
            </p:cNvSpPr>
            <p:nvPr/>
          </p:nvSpPr>
          <p:spPr bwMode="gray">
            <a:xfrm>
              <a:off x="8311033" y="2066789"/>
              <a:ext cx="1296000" cy="1296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sz="1600" dirty="0">
                  <a:solidFill>
                    <a:schemeClr val="tx1"/>
                  </a:solidFill>
                </a:rPr>
                <a:t>Lorem</a:t>
              </a:r>
              <a:br>
                <a:rPr lang="en-US" sz="1600" dirty="0">
                  <a:solidFill>
                    <a:schemeClr val="tx1"/>
                  </a:solidFill>
                </a:rPr>
              </a:br>
              <a:r>
                <a:rPr lang="en-US" sz="1600" dirty="0">
                  <a:solidFill>
                    <a:schemeClr val="tx1"/>
                  </a:solidFill>
                </a:rPr>
                <a:t>ipsum dolor</a:t>
              </a:r>
              <a:br>
                <a:rPr lang="en-US" sz="1600" dirty="0">
                  <a:solidFill>
                    <a:schemeClr val="tx1"/>
                  </a:solidFill>
                </a:rPr>
              </a:br>
              <a:r>
                <a:rPr lang="en-US" sz="1600" dirty="0">
                  <a:solidFill>
                    <a:schemeClr val="tx1"/>
                  </a:solidFill>
                </a:rPr>
                <a:t>sit amet</a:t>
              </a:r>
            </a:p>
          </p:txBody>
        </p:sp>
      </p:grpSp>
      <p:grpSp>
        <p:nvGrpSpPr>
          <p:cNvPr id="59" name="Gruppieren 58">
            <a:extLst>
              <a:ext uri="{FF2B5EF4-FFF2-40B4-BE49-F238E27FC236}">
                <a16:creationId xmlns:a16="http://schemas.microsoft.com/office/drawing/2014/main" id="{8EBAEB95-DE0E-4F56-8952-6381FA34F303}"/>
              </a:ext>
            </a:extLst>
          </p:cNvPr>
          <p:cNvGrpSpPr/>
          <p:nvPr/>
        </p:nvGrpSpPr>
        <p:grpSpPr bwMode="gray">
          <a:xfrm>
            <a:off x="7138320" y="3269151"/>
            <a:ext cx="1586459" cy="1497012"/>
            <a:chOff x="7138320" y="3127553"/>
            <a:chExt cx="1586459" cy="1497012"/>
          </a:xfrm>
        </p:grpSpPr>
        <p:sp>
          <p:nvSpPr>
            <p:cNvPr id="40" name="Freeform 53">
              <a:extLst>
                <a:ext uri="{FF2B5EF4-FFF2-40B4-BE49-F238E27FC236}">
                  <a16:creationId xmlns:a16="http://schemas.microsoft.com/office/drawing/2014/main" id="{24CFBE3D-5A7C-4C25-A46B-4928ADB7DD16}"/>
                </a:ext>
              </a:extLst>
            </p:cNvPr>
            <p:cNvSpPr>
              <a:spLocks noChangeAspect="1"/>
            </p:cNvSpPr>
            <p:nvPr/>
          </p:nvSpPr>
          <p:spPr bwMode="gray">
            <a:xfrm flipV="1">
              <a:off x="7210304" y="3127553"/>
              <a:ext cx="1514475" cy="1497012"/>
            </a:xfrm>
            <a:custGeom>
              <a:avLst/>
              <a:gdLst>
                <a:gd name="T0" fmla="*/ 2485 w 516"/>
                <a:gd name="T1" fmla="*/ 2775 h 510"/>
                <a:gd name="T2" fmla="*/ 2376 w 516"/>
                <a:gd name="T3" fmla="*/ 3068 h 510"/>
                <a:gd name="T4" fmla="*/ 2085 w 516"/>
                <a:gd name="T5" fmla="*/ 2977 h 510"/>
                <a:gd name="T6" fmla="*/ 1941 w 516"/>
                <a:gd name="T7" fmla="*/ 3210 h 510"/>
                <a:gd name="T8" fmla="*/ 1638 w 516"/>
                <a:gd name="T9" fmla="*/ 3045 h 510"/>
                <a:gd name="T10" fmla="*/ 1377 w 516"/>
                <a:gd name="T11" fmla="*/ 3217 h 510"/>
                <a:gd name="T12" fmla="*/ 1183 w 516"/>
                <a:gd name="T13" fmla="*/ 2977 h 510"/>
                <a:gd name="T14" fmla="*/ 937 w 516"/>
                <a:gd name="T15" fmla="*/ 3084 h 510"/>
                <a:gd name="T16" fmla="*/ 849 w 516"/>
                <a:gd name="T17" fmla="*/ 2820 h 510"/>
                <a:gd name="T18" fmla="*/ 721 w 516"/>
                <a:gd name="T19" fmla="*/ 2731 h 510"/>
                <a:gd name="T20" fmla="*/ 438 w 516"/>
                <a:gd name="T21" fmla="*/ 2725 h 510"/>
                <a:gd name="T22" fmla="*/ 418 w 516"/>
                <a:gd name="T23" fmla="*/ 2389 h 510"/>
                <a:gd name="T24" fmla="*/ 148 w 516"/>
                <a:gd name="T25" fmla="*/ 2308 h 510"/>
                <a:gd name="T26" fmla="*/ 246 w 516"/>
                <a:gd name="T27" fmla="*/ 2025 h 510"/>
                <a:gd name="T28" fmla="*/ 0 w 516"/>
                <a:gd name="T29" fmla="*/ 1816 h 510"/>
                <a:gd name="T30" fmla="*/ 189 w 516"/>
                <a:gd name="T31" fmla="*/ 1535 h 510"/>
                <a:gd name="T32" fmla="*/ 20 w 516"/>
                <a:gd name="T33" fmla="*/ 1309 h 510"/>
                <a:gd name="T34" fmla="*/ 266 w 516"/>
                <a:gd name="T35" fmla="*/ 1132 h 510"/>
                <a:gd name="T36" fmla="*/ 170 w 516"/>
                <a:gd name="T37" fmla="*/ 873 h 510"/>
                <a:gd name="T38" fmla="*/ 462 w 516"/>
                <a:gd name="T39" fmla="*/ 773 h 510"/>
                <a:gd name="T40" fmla="*/ 438 w 516"/>
                <a:gd name="T41" fmla="*/ 507 h 510"/>
                <a:gd name="T42" fmla="*/ 721 w 516"/>
                <a:gd name="T43" fmla="*/ 499 h 510"/>
                <a:gd name="T44" fmla="*/ 841 w 516"/>
                <a:gd name="T45" fmla="*/ 189 h 510"/>
                <a:gd name="T46" fmla="*/ 1111 w 516"/>
                <a:gd name="T47" fmla="*/ 274 h 510"/>
                <a:gd name="T48" fmla="*/ 1257 w 516"/>
                <a:gd name="T49" fmla="*/ 229 h 510"/>
                <a:gd name="T50" fmla="*/ 1555 w 516"/>
                <a:gd name="T51" fmla="*/ 185 h 510"/>
                <a:gd name="T52" fmla="*/ 1840 w 516"/>
                <a:gd name="T53" fmla="*/ 0 h 510"/>
                <a:gd name="T54" fmla="*/ 2010 w 516"/>
                <a:gd name="T55" fmla="*/ 229 h 510"/>
                <a:gd name="T56" fmla="*/ 2154 w 516"/>
                <a:gd name="T57" fmla="*/ 274 h 510"/>
                <a:gd name="T58" fmla="*/ 2428 w 516"/>
                <a:gd name="T59" fmla="*/ 189 h 510"/>
                <a:gd name="T60" fmla="*/ 2516 w 516"/>
                <a:gd name="T61" fmla="*/ 475 h 510"/>
                <a:gd name="T62" fmla="*/ 2794 w 516"/>
                <a:gd name="T63" fmla="*/ 468 h 510"/>
                <a:gd name="T64" fmla="*/ 2807 w 516"/>
                <a:gd name="T65" fmla="*/ 773 h 510"/>
                <a:gd name="T66" fmla="*/ 3097 w 516"/>
                <a:gd name="T67" fmla="*/ 873 h 510"/>
                <a:gd name="T68" fmla="*/ 3015 w 516"/>
                <a:gd name="T69" fmla="*/ 1169 h 510"/>
                <a:gd name="T70" fmla="*/ 3247 w 516"/>
                <a:gd name="T71" fmla="*/ 1309 h 510"/>
                <a:gd name="T72" fmla="*/ 3084 w 516"/>
                <a:gd name="T73" fmla="*/ 1614 h 510"/>
                <a:gd name="T74" fmla="*/ 3254 w 516"/>
                <a:gd name="T75" fmla="*/ 1864 h 510"/>
                <a:gd name="T76" fmla="*/ 3015 w 516"/>
                <a:gd name="T77" fmla="*/ 2062 h 510"/>
                <a:gd name="T78" fmla="*/ 3121 w 516"/>
                <a:gd name="T79" fmla="*/ 2308 h 510"/>
                <a:gd name="T80" fmla="*/ 2851 w 516"/>
                <a:gd name="T81" fmla="*/ 2389 h 510"/>
                <a:gd name="T82" fmla="*/ 2762 w 516"/>
                <a:gd name="T83" fmla="*/ 2517 h 510"/>
                <a:gd name="T84" fmla="*/ 2755 w 516"/>
                <a:gd name="T85" fmla="*/ 2799 h 51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connsiteX0" fmla="*/ 1415 w 10000"/>
                <a:gd name="connsiteY0" fmla="*/ 2392 h 10000"/>
                <a:gd name="connsiteX1" fmla="*/ 1473 w 10000"/>
                <a:gd name="connsiteY1" fmla="*/ 2294 h 10000"/>
                <a:gd name="connsiteX2" fmla="*/ 1550 w 10000"/>
                <a:gd name="connsiteY2" fmla="*/ 2216 h 10000"/>
                <a:gd name="connsiteX3" fmla="*/ 1337 w 10000"/>
                <a:gd name="connsiteY3" fmla="*/ 1569 h 10000"/>
                <a:gd name="connsiteX4" fmla="*/ 1453 w 10000"/>
                <a:gd name="connsiteY4" fmla="*/ 1451 h 10000"/>
                <a:gd name="connsiteX5" fmla="*/ 1570 w 10000"/>
                <a:gd name="connsiteY5" fmla="*/ 1333 h 10000"/>
                <a:gd name="connsiteX6" fmla="*/ 2209 w 10000"/>
                <a:gd name="connsiteY6" fmla="*/ 1549 h 10000"/>
                <a:gd name="connsiteX7" fmla="*/ 2403 w 10000"/>
                <a:gd name="connsiteY7" fmla="*/ 1412 h 10000"/>
                <a:gd name="connsiteX8" fmla="*/ 2597 w 10000"/>
                <a:gd name="connsiteY8" fmla="*/ 1275 h 10000"/>
                <a:gd name="connsiteX9" fmla="*/ 2578 w 10000"/>
                <a:gd name="connsiteY9" fmla="*/ 588 h 10000"/>
                <a:gd name="connsiteX10" fmla="*/ 2733 w 10000"/>
                <a:gd name="connsiteY10" fmla="*/ 510 h 10000"/>
                <a:gd name="connsiteX11" fmla="*/ 2868 w 10000"/>
                <a:gd name="connsiteY11" fmla="*/ 451 h 10000"/>
                <a:gd name="connsiteX12" fmla="*/ 3411 w 10000"/>
                <a:gd name="connsiteY12" fmla="*/ 843 h 10000"/>
                <a:gd name="connsiteX13" fmla="*/ 3624 w 10000"/>
                <a:gd name="connsiteY13" fmla="*/ 765 h 10000"/>
                <a:gd name="connsiteX14" fmla="*/ 3740 w 10000"/>
                <a:gd name="connsiteY14" fmla="*/ 725 h 10000"/>
                <a:gd name="connsiteX15" fmla="*/ 3857 w 10000"/>
                <a:gd name="connsiteY15" fmla="*/ 706 h 10000"/>
                <a:gd name="connsiteX16" fmla="*/ 4070 w 10000"/>
                <a:gd name="connsiteY16" fmla="*/ 59 h 10000"/>
                <a:gd name="connsiteX17" fmla="*/ 4380 w 10000"/>
                <a:gd name="connsiteY17" fmla="*/ 0 h 10000"/>
                <a:gd name="connsiteX18" fmla="*/ 4767 w 10000"/>
                <a:gd name="connsiteY18" fmla="*/ 569 h 10000"/>
                <a:gd name="connsiteX19" fmla="*/ 5019 w 10000"/>
                <a:gd name="connsiteY19" fmla="*/ 549 h 10000"/>
                <a:gd name="connsiteX20" fmla="*/ 5252 w 10000"/>
                <a:gd name="connsiteY20" fmla="*/ 569 h 10000"/>
                <a:gd name="connsiteX21" fmla="*/ 5640 w 10000"/>
                <a:gd name="connsiteY21" fmla="*/ 0 h 10000"/>
                <a:gd name="connsiteX22" fmla="*/ 5795 w 10000"/>
                <a:gd name="connsiteY22" fmla="*/ 20 h 10000"/>
                <a:gd name="connsiteX23" fmla="*/ 5950 w 10000"/>
                <a:gd name="connsiteY23" fmla="*/ 59 h 10000"/>
                <a:gd name="connsiteX24" fmla="*/ 6163 w 10000"/>
                <a:gd name="connsiteY24" fmla="*/ 706 h 10000"/>
                <a:gd name="connsiteX25" fmla="*/ 6395 w 10000"/>
                <a:gd name="connsiteY25" fmla="*/ 765 h 10000"/>
                <a:gd name="connsiteX26" fmla="*/ 6492 w 10000"/>
                <a:gd name="connsiteY26" fmla="*/ 804 h 10000"/>
                <a:gd name="connsiteX27" fmla="*/ 6609 w 10000"/>
                <a:gd name="connsiteY27" fmla="*/ 843 h 10000"/>
                <a:gd name="connsiteX28" fmla="*/ 7151 w 10000"/>
                <a:gd name="connsiteY28" fmla="*/ 451 h 10000"/>
                <a:gd name="connsiteX29" fmla="*/ 7287 w 10000"/>
                <a:gd name="connsiteY29" fmla="*/ 510 h 10000"/>
                <a:gd name="connsiteX30" fmla="*/ 7442 w 10000"/>
                <a:gd name="connsiteY30" fmla="*/ 588 h 10000"/>
                <a:gd name="connsiteX31" fmla="*/ 7442 w 10000"/>
                <a:gd name="connsiteY31" fmla="*/ 1275 h 10000"/>
                <a:gd name="connsiteX32" fmla="*/ 7616 w 10000"/>
                <a:gd name="connsiteY32" fmla="*/ 1412 h 10000"/>
                <a:gd name="connsiteX33" fmla="*/ 7713 w 10000"/>
                <a:gd name="connsiteY33" fmla="*/ 1471 h 10000"/>
                <a:gd name="connsiteX34" fmla="*/ 7810 w 10000"/>
                <a:gd name="connsiteY34" fmla="*/ 1549 h 10000"/>
                <a:gd name="connsiteX35" fmla="*/ 8450 w 10000"/>
                <a:gd name="connsiteY35" fmla="*/ 1333 h 10000"/>
                <a:gd name="connsiteX36" fmla="*/ 8566 w 10000"/>
                <a:gd name="connsiteY36" fmla="*/ 1451 h 10000"/>
                <a:gd name="connsiteX37" fmla="*/ 8682 w 10000"/>
                <a:gd name="connsiteY37" fmla="*/ 1569 h 10000"/>
                <a:gd name="connsiteX38" fmla="*/ 8469 w 10000"/>
                <a:gd name="connsiteY38" fmla="*/ 2216 h 10000"/>
                <a:gd name="connsiteX39" fmla="*/ 8605 w 10000"/>
                <a:gd name="connsiteY39" fmla="*/ 2392 h 10000"/>
                <a:gd name="connsiteX40" fmla="*/ 8740 w 10000"/>
                <a:gd name="connsiteY40" fmla="*/ 2588 h 10000"/>
                <a:gd name="connsiteX41" fmla="*/ 9419 w 10000"/>
                <a:gd name="connsiteY41" fmla="*/ 2588 h 10000"/>
                <a:gd name="connsiteX42" fmla="*/ 9496 w 10000"/>
                <a:gd name="connsiteY42" fmla="*/ 2706 h 10000"/>
                <a:gd name="connsiteX43" fmla="*/ 9574 w 10000"/>
                <a:gd name="connsiteY43" fmla="*/ 2863 h 10000"/>
                <a:gd name="connsiteX44" fmla="*/ 9167 w 10000"/>
                <a:gd name="connsiteY44" fmla="*/ 3392 h 10000"/>
                <a:gd name="connsiteX45" fmla="*/ 9244 w 10000"/>
                <a:gd name="connsiteY45" fmla="*/ 3627 h 10000"/>
                <a:gd name="connsiteX46" fmla="*/ 9283 w 10000"/>
                <a:gd name="connsiteY46" fmla="*/ 3745 h 10000"/>
                <a:gd name="connsiteX47" fmla="*/ 9302 w 10000"/>
                <a:gd name="connsiteY47" fmla="*/ 3863 h 10000"/>
                <a:gd name="connsiteX48" fmla="*/ 9961 w 10000"/>
                <a:gd name="connsiteY48" fmla="*/ 4059 h 10000"/>
                <a:gd name="connsiteX49" fmla="*/ 10000 w 10000"/>
                <a:gd name="connsiteY49" fmla="*/ 4392 h 10000"/>
                <a:gd name="connsiteX50" fmla="*/ 9438 w 10000"/>
                <a:gd name="connsiteY50" fmla="*/ 4765 h 10000"/>
                <a:gd name="connsiteX51" fmla="*/ 9457 w 10000"/>
                <a:gd name="connsiteY51" fmla="*/ 5000 h 10000"/>
                <a:gd name="connsiteX52" fmla="*/ 9438 w 10000"/>
                <a:gd name="connsiteY52" fmla="*/ 5235 h 10000"/>
                <a:gd name="connsiteX53" fmla="*/ 10000 w 10000"/>
                <a:gd name="connsiteY53" fmla="*/ 5627 h 10000"/>
                <a:gd name="connsiteX54" fmla="*/ 9981 w 10000"/>
                <a:gd name="connsiteY54" fmla="*/ 5784 h 10000"/>
                <a:gd name="connsiteX55" fmla="*/ 9961 w 10000"/>
                <a:gd name="connsiteY55" fmla="*/ 5941 h 10000"/>
                <a:gd name="connsiteX56" fmla="*/ 9302 w 10000"/>
                <a:gd name="connsiteY56" fmla="*/ 6157 h 10000"/>
                <a:gd name="connsiteX57" fmla="*/ 9244 w 10000"/>
                <a:gd name="connsiteY57" fmla="*/ 6392 h 10000"/>
                <a:gd name="connsiteX58" fmla="*/ 9205 w 10000"/>
                <a:gd name="connsiteY58" fmla="*/ 6490 h 10000"/>
                <a:gd name="connsiteX59" fmla="*/ 9167 w 10000"/>
                <a:gd name="connsiteY59" fmla="*/ 6608 h 10000"/>
                <a:gd name="connsiteX60" fmla="*/ 9574 w 10000"/>
                <a:gd name="connsiteY60" fmla="*/ 7157 h 10000"/>
                <a:gd name="connsiteX61" fmla="*/ 9496 w 10000"/>
                <a:gd name="connsiteY61" fmla="*/ 7294 h 10000"/>
                <a:gd name="connsiteX62" fmla="*/ 9419 w 10000"/>
                <a:gd name="connsiteY62" fmla="*/ 7431 h 10000"/>
                <a:gd name="connsiteX63" fmla="*/ 8740 w 10000"/>
                <a:gd name="connsiteY63" fmla="*/ 7412 h 10000"/>
                <a:gd name="connsiteX64" fmla="*/ 8605 w 10000"/>
                <a:gd name="connsiteY64" fmla="*/ 7627 h 10000"/>
                <a:gd name="connsiteX65" fmla="*/ 8547 w 10000"/>
                <a:gd name="connsiteY65" fmla="*/ 7706 h 10000"/>
                <a:gd name="connsiteX66" fmla="*/ 8469 w 10000"/>
                <a:gd name="connsiteY66" fmla="*/ 7804 h 10000"/>
                <a:gd name="connsiteX67" fmla="*/ 8682 w 10000"/>
                <a:gd name="connsiteY67" fmla="*/ 8451 h 10000"/>
                <a:gd name="connsiteX68" fmla="*/ 8566 w 10000"/>
                <a:gd name="connsiteY68" fmla="*/ 8569 h 10000"/>
                <a:gd name="connsiteX69" fmla="*/ 8450 w 10000"/>
                <a:gd name="connsiteY69" fmla="*/ 8686 h 10000"/>
                <a:gd name="connsiteX70" fmla="*/ 7810 w 10000"/>
                <a:gd name="connsiteY70" fmla="*/ 8471 h 10000"/>
                <a:gd name="connsiteX71" fmla="*/ 7616 w 10000"/>
                <a:gd name="connsiteY71" fmla="*/ 8608 h 10000"/>
                <a:gd name="connsiteX72" fmla="*/ 7442 w 10000"/>
                <a:gd name="connsiteY72" fmla="*/ 8745 h 10000"/>
                <a:gd name="connsiteX73" fmla="*/ 7442 w 10000"/>
                <a:gd name="connsiteY73" fmla="*/ 9412 h 10000"/>
                <a:gd name="connsiteX74" fmla="*/ 7287 w 10000"/>
                <a:gd name="connsiteY74" fmla="*/ 9510 h 10000"/>
                <a:gd name="connsiteX75" fmla="*/ 7151 w 10000"/>
                <a:gd name="connsiteY75" fmla="*/ 9569 h 10000"/>
                <a:gd name="connsiteX76" fmla="*/ 6609 w 10000"/>
                <a:gd name="connsiteY76" fmla="*/ 9157 h 10000"/>
                <a:gd name="connsiteX77" fmla="*/ 6395 w 10000"/>
                <a:gd name="connsiteY77" fmla="*/ 9235 h 10000"/>
                <a:gd name="connsiteX78" fmla="*/ 6279 w 10000"/>
                <a:gd name="connsiteY78" fmla="*/ 9275 h 10000"/>
                <a:gd name="connsiteX79" fmla="*/ 6163 w 10000"/>
                <a:gd name="connsiteY79" fmla="*/ 9314 h 10000"/>
                <a:gd name="connsiteX80" fmla="*/ 5950 w 10000"/>
                <a:gd name="connsiteY80" fmla="*/ 9961 h 10000"/>
                <a:gd name="connsiteX81" fmla="*/ 5640 w 10000"/>
                <a:gd name="connsiteY81" fmla="*/ 10000 h 10000"/>
                <a:gd name="connsiteX82" fmla="*/ 5252 w 10000"/>
                <a:gd name="connsiteY82" fmla="*/ 9451 h 10000"/>
                <a:gd name="connsiteX83" fmla="*/ 5019 w 10000"/>
                <a:gd name="connsiteY83" fmla="*/ 9451 h 10000"/>
                <a:gd name="connsiteX84" fmla="*/ 4767 w 10000"/>
                <a:gd name="connsiteY84" fmla="*/ 9451 h 10000"/>
                <a:gd name="connsiteX85" fmla="*/ 4380 w 10000"/>
                <a:gd name="connsiteY85" fmla="*/ 10000 h 10000"/>
                <a:gd name="connsiteX86" fmla="*/ 4225 w 10000"/>
                <a:gd name="connsiteY86" fmla="*/ 9980 h 10000"/>
                <a:gd name="connsiteX87" fmla="*/ 4070 w 10000"/>
                <a:gd name="connsiteY87" fmla="*/ 9961 h 10000"/>
                <a:gd name="connsiteX88" fmla="*/ 3857 w 10000"/>
                <a:gd name="connsiteY88" fmla="*/ 9314 h 10000"/>
                <a:gd name="connsiteX89" fmla="*/ 3624 w 10000"/>
                <a:gd name="connsiteY89" fmla="*/ 9235 h 10000"/>
                <a:gd name="connsiteX90" fmla="*/ 3508 w 10000"/>
                <a:gd name="connsiteY90" fmla="*/ 9216 h 10000"/>
                <a:gd name="connsiteX91" fmla="*/ 3411 w 10000"/>
                <a:gd name="connsiteY91" fmla="*/ 9157 h 10000"/>
                <a:gd name="connsiteX92" fmla="*/ 2868 w 10000"/>
                <a:gd name="connsiteY92" fmla="*/ 9569 h 10000"/>
                <a:gd name="connsiteX93" fmla="*/ 2733 w 10000"/>
                <a:gd name="connsiteY93" fmla="*/ 9510 h 10000"/>
                <a:gd name="connsiteX94" fmla="*/ 2578 w 10000"/>
                <a:gd name="connsiteY94" fmla="*/ 9412 h 10000"/>
                <a:gd name="connsiteX95" fmla="*/ 2597 w 10000"/>
                <a:gd name="connsiteY95" fmla="*/ 8745 h 10000"/>
                <a:gd name="connsiteX96" fmla="*/ 2403 w 10000"/>
                <a:gd name="connsiteY96" fmla="*/ 8608 h 10000"/>
                <a:gd name="connsiteX97" fmla="*/ 2306 w 10000"/>
                <a:gd name="connsiteY97" fmla="*/ 8529 h 10000"/>
                <a:gd name="connsiteX98" fmla="*/ 2209 w 10000"/>
                <a:gd name="connsiteY98" fmla="*/ 8471 h 10000"/>
                <a:gd name="connsiteX99" fmla="*/ 1570 w 10000"/>
                <a:gd name="connsiteY99" fmla="*/ 8686 h 10000"/>
                <a:gd name="connsiteX100" fmla="*/ 1453 w 10000"/>
                <a:gd name="connsiteY100" fmla="*/ 8569 h 10000"/>
                <a:gd name="connsiteX101" fmla="*/ 1337 w 10000"/>
                <a:gd name="connsiteY101" fmla="*/ 8451 h 10000"/>
                <a:gd name="connsiteX102" fmla="*/ 1550 w 10000"/>
                <a:gd name="connsiteY102" fmla="*/ 7804 h 10000"/>
                <a:gd name="connsiteX103" fmla="*/ 1415 w 10000"/>
                <a:gd name="connsiteY103" fmla="*/ 7627 h 10000"/>
                <a:gd name="connsiteX104" fmla="*/ 1279 w 10000"/>
                <a:gd name="connsiteY104" fmla="*/ 7412 h 10000"/>
                <a:gd name="connsiteX105" fmla="*/ 601 w 10000"/>
                <a:gd name="connsiteY105" fmla="*/ 7431 h 10000"/>
                <a:gd name="connsiteX106" fmla="*/ 523 w 10000"/>
                <a:gd name="connsiteY106" fmla="*/ 7294 h 10000"/>
                <a:gd name="connsiteX107" fmla="*/ 446 w 10000"/>
                <a:gd name="connsiteY107" fmla="*/ 7157 h 10000"/>
                <a:gd name="connsiteX108" fmla="*/ 853 w 10000"/>
                <a:gd name="connsiteY108" fmla="*/ 6608 h 10000"/>
                <a:gd name="connsiteX109" fmla="*/ 775 w 10000"/>
                <a:gd name="connsiteY109" fmla="*/ 6392 h 10000"/>
                <a:gd name="connsiteX110" fmla="*/ 756 w 10000"/>
                <a:gd name="connsiteY110" fmla="*/ 6275 h 10000"/>
                <a:gd name="connsiteX111" fmla="*/ 717 w 10000"/>
                <a:gd name="connsiteY111" fmla="*/ 6157 h 10000"/>
                <a:gd name="connsiteX112" fmla="*/ 58 w 10000"/>
                <a:gd name="connsiteY112" fmla="*/ 5941 h 10000"/>
                <a:gd name="connsiteX113" fmla="*/ 0 w 10000"/>
                <a:gd name="connsiteY113" fmla="*/ 5627 h 10000"/>
                <a:gd name="connsiteX114" fmla="*/ 581 w 10000"/>
                <a:gd name="connsiteY114" fmla="*/ 5235 h 10000"/>
                <a:gd name="connsiteX115" fmla="*/ 562 w 10000"/>
                <a:gd name="connsiteY115" fmla="*/ 5000 h 10000"/>
                <a:gd name="connsiteX116" fmla="*/ 581 w 10000"/>
                <a:gd name="connsiteY116" fmla="*/ 4765 h 10000"/>
                <a:gd name="connsiteX117" fmla="*/ 0 w 10000"/>
                <a:gd name="connsiteY117" fmla="*/ 4392 h 10000"/>
                <a:gd name="connsiteX118" fmla="*/ 19 w 10000"/>
                <a:gd name="connsiteY118" fmla="*/ 4216 h 10000"/>
                <a:gd name="connsiteX119" fmla="*/ 58 w 10000"/>
                <a:gd name="connsiteY119" fmla="*/ 4059 h 10000"/>
                <a:gd name="connsiteX120" fmla="*/ 717 w 10000"/>
                <a:gd name="connsiteY120" fmla="*/ 3863 h 10000"/>
                <a:gd name="connsiteX121" fmla="*/ 775 w 10000"/>
                <a:gd name="connsiteY121" fmla="*/ 3627 h 10000"/>
                <a:gd name="connsiteX122" fmla="*/ 814 w 10000"/>
                <a:gd name="connsiteY122" fmla="*/ 3510 h 10000"/>
                <a:gd name="connsiteX123" fmla="*/ 853 w 10000"/>
                <a:gd name="connsiteY123" fmla="*/ 3392 h 10000"/>
                <a:gd name="connsiteX124" fmla="*/ 446 w 10000"/>
                <a:gd name="connsiteY124" fmla="*/ 2863 h 10000"/>
                <a:gd name="connsiteX125" fmla="*/ 523 w 10000"/>
                <a:gd name="connsiteY125" fmla="*/ 2706 h 10000"/>
                <a:gd name="connsiteX126" fmla="*/ 601 w 10000"/>
                <a:gd name="connsiteY126" fmla="*/ 2588 h 10000"/>
                <a:gd name="connsiteX127" fmla="*/ 1279 w 10000"/>
                <a:gd name="connsiteY127" fmla="*/ 2588 h 10000"/>
                <a:gd name="connsiteX128" fmla="*/ 2019 w 10000"/>
                <a:gd name="connsiteY128" fmla="*/ 3003 h 10000"/>
                <a:gd name="connsiteX0" fmla="*/ 1415 w 10000"/>
                <a:gd name="connsiteY0" fmla="*/ 2392 h 10000"/>
                <a:gd name="connsiteX1" fmla="*/ 1473 w 10000"/>
                <a:gd name="connsiteY1" fmla="*/ 2294 h 10000"/>
                <a:gd name="connsiteX2" fmla="*/ 1550 w 10000"/>
                <a:gd name="connsiteY2" fmla="*/ 2216 h 10000"/>
                <a:gd name="connsiteX3" fmla="*/ 1337 w 10000"/>
                <a:gd name="connsiteY3" fmla="*/ 1569 h 10000"/>
                <a:gd name="connsiteX4" fmla="*/ 1453 w 10000"/>
                <a:gd name="connsiteY4" fmla="*/ 1451 h 10000"/>
                <a:gd name="connsiteX5" fmla="*/ 1570 w 10000"/>
                <a:gd name="connsiteY5" fmla="*/ 1333 h 10000"/>
                <a:gd name="connsiteX6" fmla="*/ 2209 w 10000"/>
                <a:gd name="connsiteY6" fmla="*/ 1549 h 10000"/>
                <a:gd name="connsiteX7" fmla="*/ 2403 w 10000"/>
                <a:gd name="connsiteY7" fmla="*/ 1412 h 10000"/>
                <a:gd name="connsiteX8" fmla="*/ 2597 w 10000"/>
                <a:gd name="connsiteY8" fmla="*/ 1275 h 10000"/>
                <a:gd name="connsiteX9" fmla="*/ 2578 w 10000"/>
                <a:gd name="connsiteY9" fmla="*/ 588 h 10000"/>
                <a:gd name="connsiteX10" fmla="*/ 2733 w 10000"/>
                <a:gd name="connsiteY10" fmla="*/ 510 h 10000"/>
                <a:gd name="connsiteX11" fmla="*/ 2868 w 10000"/>
                <a:gd name="connsiteY11" fmla="*/ 451 h 10000"/>
                <a:gd name="connsiteX12" fmla="*/ 3411 w 10000"/>
                <a:gd name="connsiteY12" fmla="*/ 843 h 10000"/>
                <a:gd name="connsiteX13" fmla="*/ 3624 w 10000"/>
                <a:gd name="connsiteY13" fmla="*/ 765 h 10000"/>
                <a:gd name="connsiteX14" fmla="*/ 3740 w 10000"/>
                <a:gd name="connsiteY14" fmla="*/ 725 h 10000"/>
                <a:gd name="connsiteX15" fmla="*/ 3857 w 10000"/>
                <a:gd name="connsiteY15" fmla="*/ 706 h 10000"/>
                <a:gd name="connsiteX16" fmla="*/ 4070 w 10000"/>
                <a:gd name="connsiteY16" fmla="*/ 59 h 10000"/>
                <a:gd name="connsiteX17" fmla="*/ 4380 w 10000"/>
                <a:gd name="connsiteY17" fmla="*/ 0 h 10000"/>
                <a:gd name="connsiteX18" fmla="*/ 4767 w 10000"/>
                <a:gd name="connsiteY18" fmla="*/ 569 h 10000"/>
                <a:gd name="connsiteX19" fmla="*/ 5019 w 10000"/>
                <a:gd name="connsiteY19" fmla="*/ 549 h 10000"/>
                <a:gd name="connsiteX20" fmla="*/ 5252 w 10000"/>
                <a:gd name="connsiteY20" fmla="*/ 569 h 10000"/>
                <a:gd name="connsiteX21" fmla="*/ 5640 w 10000"/>
                <a:gd name="connsiteY21" fmla="*/ 0 h 10000"/>
                <a:gd name="connsiteX22" fmla="*/ 5795 w 10000"/>
                <a:gd name="connsiteY22" fmla="*/ 20 h 10000"/>
                <a:gd name="connsiteX23" fmla="*/ 5950 w 10000"/>
                <a:gd name="connsiteY23" fmla="*/ 59 h 10000"/>
                <a:gd name="connsiteX24" fmla="*/ 6163 w 10000"/>
                <a:gd name="connsiteY24" fmla="*/ 706 h 10000"/>
                <a:gd name="connsiteX25" fmla="*/ 6395 w 10000"/>
                <a:gd name="connsiteY25" fmla="*/ 765 h 10000"/>
                <a:gd name="connsiteX26" fmla="*/ 6492 w 10000"/>
                <a:gd name="connsiteY26" fmla="*/ 804 h 10000"/>
                <a:gd name="connsiteX27" fmla="*/ 6609 w 10000"/>
                <a:gd name="connsiteY27" fmla="*/ 843 h 10000"/>
                <a:gd name="connsiteX28" fmla="*/ 7151 w 10000"/>
                <a:gd name="connsiteY28" fmla="*/ 451 h 10000"/>
                <a:gd name="connsiteX29" fmla="*/ 7287 w 10000"/>
                <a:gd name="connsiteY29" fmla="*/ 510 h 10000"/>
                <a:gd name="connsiteX30" fmla="*/ 7442 w 10000"/>
                <a:gd name="connsiteY30" fmla="*/ 588 h 10000"/>
                <a:gd name="connsiteX31" fmla="*/ 7442 w 10000"/>
                <a:gd name="connsiteY31" fmla="*/ 1275 h 10000"/>
                <a:gd name="connsiteX32" fmla="*/ 7616 w 10000"/>
                <a:gd name="connsiteY32" fmla="*/ 1412 h 10000"/>
                <a:gd name="connsiteX33" fmla="*/ 7713 w 10000"/>
                <a:gd name="connsiteY33" fmla="*/ 1471 h 10000"/>
                <a:gd name="connsiteX34" fmla="*/ 7810 w 10000"/>
                <a:gd name="connsiteY34" fmla="*/ 1549 h 10000"/>
                <a:gd name="connsiteX35" fmla="*/ 8450 w 10000"/>
                <a:gd name="connsiteY35" fmla="*/ 1333 h 10000"/>
                <a:gd name="connsiteX36" fmla="*/ 8566 w 10000"/>
                <a:gd name="connsiteY36" fmla="*/ 1451 h 10000"/>
                <a:gd name="connsiteX37" fmla="*/ 8682 w 10000"/>
                <a:gd name="connsiteY37" fmla="*/ 1569 h 10000"/>
                <a:gd name="connsiteX38" fmla="*/ 8469 w 10000"/>
                <a:gd name="connsiteY38" fmla="*/ 2216 h 10000"/>
                <a:gd name="connsiteX39" fmla="*/ 8605 w 10000"/>
                <a:gd name="connsiteY39" fmla="*/ 2392 h 10000"/>
                <a:gd name="connsiteX40" fmla="*/ 8740 w 10000"/>
                <a:gd name="connsiteY40" fmla="*/ 2588 h 10000"/>
                <a:gd name="connsiteX41" fmla="*/ 9419 w 10000"/>
                <a:gd name="connsiteY41" fmla="*/ 2588 h 10000"/>
                <a:gd name="connsiteX42" fmla="*/ 9496 w 10000"/>
                <a:gd name="connsiteY42" fmla="*/ 2706 h 10000"/>
                <a:gd name="connsiteX43" fmla="*/ 9574 w 10000"/>
                <a:gd name="connsiteY43" fmla="*/ 2863 h 10000"/>
                <a:gd name="connsiteX44" fmla="*/ 9167 w 10000"/>
                <a:gd name="connsiteY44" fmla="*/ 3392 h 10000"/>
                <a:gd name="connsiteX45" fmla="*/ 9244 w 10000"/>
                <a:gd name="connsiteY45" fmla="*/ 3627 h 10000"/>
                <a:gd name="connsiteX46" fmla="*/ 9283 w 10000"/>
                <a:gd name="connsiteY46" fmla="*/ 3745 h 10000"/>
                <a:gd name="connsiteX47" fmla="*/ 9302 w 10000"/>
                <a:gd name="connsiteY47" fmla="*/ 3863 h 10000"/>
                <a:gd name="connsiteX48" fmla="*/ 9961 w 10000"/>
                <a:gd name="connsiteY48" fmla="*/ 4059 h 10000"/>
                <a:gd name="connsiteX49" fmla="*/ 10000 w 10000"/>
                <a:gd name="connsiteY49" fmla="*/ 4392 h 10000"/>
                <a:gd name="connsiteX50" fmla="*/ 9438 w 10000"/>
                <a:gd name="connsiteY50" fmla="*/ 4765 h 10000"/>
                <a:gd name="connsiteX51" fmla="*/ 9457 w 10000"/>
                <a:gd name="connsiteY51" fmla="*/ 5000 h 10000"/>
                <a:gd name="connsiteX52" fmla="*/ 9438 w 10000"/>
                <a:gd name="connsiteY52" fmla="*/ 5235 h 10000"/>
                <a:gd name="connsiteX53" fmla="*/ 10000 w 10000"/>
                <a:gd name="connsiteY53" fmla="*/ 5627 h 10000"/>
                <a:gd name="connsiteX54" fmla="*/ 9981 w 10000"/>
                <a:gd name="connsiteY54" fmla="*/ 5784 h 10000"/>
                <a:gd name="connsiteX55" fmla="*/ 9961 w 10000"/>
                <a:gd name="connsiteY55" fmla="*/ 5941 h 10000"/>
                <a:gd name="connsiteX56" fmla="*/ 9302 w 10000"/>
                <a:gd name="connsiteY56" fmla="*/ 6157 h 10000"/>
                <a:gd name="connsiteX57" fmla="*/ 9244 w 10000"/>
                <a:gd name="connsiteY57" fmla="*/ 6392 h 10000"/>
                <a:gd name="connsiteX58" fmla="*/ 9205 w 10000"/>
                <a:gd name="connsiteY58" fmla="*/ 6490 h 10000"/>
                <a:gd name="connsiteX59" fmla="*/ 9167 w 10000"/>
                <a:gd name="connsiteY59" fmla="*/ 6608 h 10000"/>
                <a:gd name="connsiteX60" fmla="*/ 9574 w 10000"/>
                <a:gd name="connsiteY60" fmla="*/ 7157 h 10000"/>
                <a:gd name="connsiteX61" fmla="*/ 9496 w 10000"/>
                <a:gd name="connsiteY61" fmla="*/ 7294 h 10000"/>
                <a:gd name="connsiteX62" fmla="*/ 9419 w 10000"/>
                <a:gd name="connsiteY62" fmla="*/ 7431 h 10000"/>
                <a:gd name="connsiteX63" fmla="*/ 8740 w 10000"/>
                <a:gd name="connsiteY63" fmla="*/ 7412 h 10000"/>
                <a:gd name="connsiteX64" fmla="*/ 8605 w 10000"/>
                <a:gd name="connsiteY64" fmla="*/ 7627 h 10000"/>
                <a:gd name="connsiteX65" fmla="*/ 8547 w 10000"/>
                <a:gd name="connsiteY65" fmla="*/ 7706 h 10000"/>
                <a:gd name="connsiteX66" fmla="*/ 8469 w 10000"/>
                <a:gd name="connsiteY66" fmla="*/ 7804 h 10000"/>
                <a:gd name="connsiteX67" fmla="*/ 8682 w 10000"/>
                <a:gd name="connsiteY67" fmla="*/ 8451 h 10000"/>
                <a:gd name="connsiteX68" fmla="*/ 8566 w 10000"/>
                <a:gd name="connsiteY68" fmla="*/ 8569 h 10000"/>
                <a:gd name="connsiteX69" fmla="*/ 8450 w 10000"/>
                <a:gd name="connsiteY69" fmla="*/ 8686 h 10000"/>
                <a:gd name="connsiteX70" fmla="*/ 7810 w 10000"/>
                <a:gd name="connsiteY70" fmla="*/ 8471 h 10000"/>
                <a:gd name="connsiteX71" fmla="*/ 7616 w 10000"/>
                <a:gd name="connsiteY71" fmla="*/ 8608 h 10000"/>
                <a:gd name="connsiteX72" fmla="*/ 7442 w 10000"/>
                <a:gd name="connsiteY72" fmla="*/ 8745 h 10000"/>
                <a:gd name="connsiteX73" fmla="*/ 7442 w 10000"/>
                <a:gd name="connsiteY73" fmla="*/ 9412 h 10000"/>
                <a:gd name="connsiteX74" fmla="*/ 7287 w 10000"/>
                <a:gd name="connsiteY74" fmla="*/ 9510 h 10000"/>
                <a:gd name="connsiteX75" fmla="*/ 7151 w 10000"/>
                <a:gd name="connsiteY75" fmla="*/ 9569 h 10000"/>
                <a:gd name="connsiteX76" fmla="*/ 6609 w 10000"/>
                <a:gd name="connsiteY76" fmla="*/ 9157 h 10000"/>
                <a:gd name="connsiteX77" fmla="*/ 6395 w 10000"/>
                <a:gd name="connsiteY77" fmla="*/ 9235 h 10000"/>
                <a:gd name="connsiteX78" fmla="*/ 6279 w 10000"/>
                <a:gd name="connsiteY78" fmla="*/ 9275 h 10000"/>
                <a:gd name="connsiteX79" fmla="*/ 6163 w 10000"/>
                <a:gd name="connsiteY79" fmla="*/ 9314 h 10000"/>
                <a:gd name="connsiteX80" fmla="*/ 5950 w 10000"/>
                <a:gd name="connsiteY80" fmla="*/ 9961 h 10000"/>
                <a:gd name="connsiteX81" fmla="*/ 5640 w 10000"/>
                <a:gd name="connsiteY81" fmla="*/ 10000 h 10000"/>
                <a:gd name="connsiteX82" fmla="*/ 5252 w 10000"/>
                <a:gd name="connsiteY82" fmla="*/ 9451 h 10000"/>
                <a:gd name="connsiteX83" fmla="*/ 5019 w 10000"/>
                <a:gd name="connsiteY83" fmla="*/ 9451 h 10000"/>
                <a:gd name="connsiteX84" fmla="*/ 4767 w 10000"/>
                <a:gd name="connsiteY84" fmla="*/ 9451 h 10000"/>
                <a:gd name="connsiteX85" fmla="*/ 4380 w 10000"/>
                <a:gd name="connsiteY85" fmla="*/ 10000 h 10000"/>
                <a:gd name="connsiteX86" fmla="*/ 4225 w 10000"/>
                <a:gd name="connsiteY86" fmla="*/ 9980 h 10000"/>
                <a:gd name="connsiteX87" fmla="*/ 4070 w 10000"/>
                <a:gd name="connsiteY87" fmla="*/ 9961 h 10000"/>
                <a:gd name="connsiteX88" fmla="*/ 3857 w 10000"/>
                <a:gd name="connsiteY88" fmla="*/ 9314 h 10000"/>
                <a:gd name="connsiteX89" fmla="*/ 3624 w 10000"/>
                <a:gd name="connsiteY89" fmla="*/ 9235 h 10000"/>
                <a:gd name="connsiteX90" fmla="*/ 3508 w 10000"/>
                <a:gd name="connsiteY90" fmla="*/ 9216 h 10000"/>
                <a:gd name="connsiteX91" fmla="*/ 3411 w 10000"/>
                <a:gd name="connsiteY91" fmla="*/ 9157 h 10000"/>
                <a:gd name="connsiteX92" fmla="*/ 2868 w 10000"/>
                <a:gd name="connsiteY92" fmla="*/ 9569 h 10000"/>
                <a:gd name="connsiteX93" fmla="*/ 2733 w 10000"/>
                <a:gd name="connsiteY93" fmla="*/ 9510 h 10000"/>
                <a:gd name="connsiteX94" fmla="*/ 2578 w 10000"/>
                <a:gd name="connsiteY94" fmla="*/ 9412 h 10000"/>
                <a:gd name="connsiteX95" fmla="*/ 2597 w 10000"/>
                <a:gd name="connsiteY95" fmla="*/ 8745 h 10000"/>
                <a:gd name="connsiteX96" fmla="*/ 2403 w 10000"/>
                <a:gd name="connsiteY96" fmla="*/ 8608 h 10000"/>
                <a:gd name="connsiteX97" fmla="*/ 2306 w 10000"/>
                <a:gd name="connsiteY97" fmla="*/ 8529 h 10000"/>
                <a:gd name="connsiteX98" fmla="*/ 2209 w 10000"/>
                <a:gd name="connsiteY98" fmla="*/ 8471 h 10000"/>
                <a:gd name="connsiteX99" fmla="*/ 1570 w 10000"/>
                <a:gd name="connsiteY99" fmla="*/ 8686 h 10000"/>
                <a:gd name="connsiteX100" fmla="*/ 1453 w 10000"/>
                <a:gd name="connsiteY100" fmla="*/ 8569 h 10000"/>
                <a:gd name="connsiteX101" fmla="*/ 1337 w 10000"/>
                <a:gd name="connsiteY101" fmla="*/ 8451 h 10000"/>
                <a:gd name="connsiteX102" fmla="*/ 1550 w 10000"/>
                <a:gd name="connsiteY102" fmla="*/ 7804 h 10000"/>
                <a:gd name="connsiteX103" fmla="*/ 1415 w 10000"/>
                <a:gd name="connsiteY103" fmla="*/ 7627 h 10000"/>
                <a:gd name="connsiteX104" fmla="*/ 1279 w 10000"/>
                <a:gd name="connsiteY104" fmla="*/ 7412 h 10000"/>
                <a:gd name="connsiteX105" fmla="*/ 601 w 10000"/>
                <a:gd name="connsiteY105" fmla="*/ 7431 h 10000"/>
                <a:gd name="connsiteX106" fmla="*/ 523 w 10000"/>
                <a:gd name="connsiteY106" fmla="*/ 7294 h 10000"/>
                <a:gd name="connsiteX107" fmla="*/ 446 w 10000"/>
                <a:gd name="connsiteY107" fmla="*/ 7157 h 10000"/>
                <a:gd name="connsiteX108" fmla="*/ 853 w 10000"/>
                <a:gd name="connsiteY108" fmla="*/ 6608 h 10000"/>
                <a:gd name="connsiteX109" fmla="*/ 775 w 10000"/>
                <a:gd name="connsiteY109" fmla="*/ 6392 h 10000"/>
                <a:gd name="connsiteX110" fmla="*/ 756 w 10000"/>
                <a:gd name="connsiteY110" fmla="*/ 6275 h 10000"/>
                <a:gd name="connsiteX111" fmla="*/ 717 w 10000"/>
                <a:gd name="connsiteY111" fmla="*/ 6157 h 10000"/>
                <a:gd name="connsiteX112" fmla="*/ 58 w 10000"/>
                <a:gd name="connsiteY112" fmla="*/ 5941 h 10000"/>
                <a:gd name="connsiteX113" fmla="*/ 0 w 10000"/>
                <a:gd name="connsiteY113" fmla="*/ 5627 h 10000"/>
                <a:gd name="connsiteX114" fmla="*/ 581 w 10000"/>
                <a:gd name="connsiteY114" fmla="*/ 5235 h 10000"/>
                <a:gd name="connsiteX115" fmla="*/ 562 w 10000"/>
                <a:gd name="connsiteY115" fmla="*/ 5000 h 10000"/>
                <a:gd name="connsiteX116" fmla="*/ 581 w 10000"/>
                <a:gd name="connsiteY116" fmla="*/ 4765 h 10000"/>
                <a:gd name="connsiteX117" fmla="*/ 0 w 10000"/>
                <a:gd name="connsiteY117" fmla="*/ 4392 h 10000"/>
                <a:gd name="connsiteX118" fmla="*/ 19 w 10000"/>
                <a:gd name="connsiteY118" fmla="*/ 4216 h 10000"/>
                <a:gd name="connsiteX119" fmla="*/ 58 w 10000"/>
                <a:gd name="connsiteY119" fmla="*/ 4059 h 10000"/>
                <a:gd name="connsiteX120" fmla="*/ 717 w 10000"/>
                <a:gd name="connsiteY120" fmla="*/ 3863 h 10000"/>
                <a:gd name="connsiteX121" fmla="*/ 775 w 10000"/>
                <a:gd name="connsiteY121" fmla="*/ 3627 h 10000"/>
                <a:gd name="connsiteX122" fmla="*/ 814 w 10000"/>
                <a:gd name="connsiteY122" fmla="*/ 3510 h 10000"/>
                <a:gd name="connsiteX123" fmla="*/ 853 w 10000"/>
                <a:gd name="connsiteY123" fmla="*/ 3392 h 10000"/>
                <a:gd name="connsiteX124" fmla="*/ 446 w 10000"/>
                <a:gd name="connsiteY124" fmla="*/ 2863 h 10000"/>
                <a:gd name="connsiteX125" fmla="*/ 523 w 10000"/>
                <a:gd name="connsiteY125" fmla="*/ 2706 h 10000"/>
                <a:gd name="connsiteX126" fmla="*/ 601 w 10000"/>
                <a:gd name="connsiteY126" fmla="*/ 2588 h 10000"/>
                <a:gd name="connsiteX127" fmla="*/ 1279 w 10000"/>
                <a:gd name="connsiteY127" fmla="*/ 2588 h 10000"/>
                <a:gd name="connsiteX0" fmla="*/ 1415 w 10000"/>
                <a:gd name="connsiteY0" fmla="*/ 2392 h 10000"/>
                <a:gd name="connsiteX1" fmla="*/ 1473 w 10000"/>
                <a:gd name="connsiteY1" fmla="*/ 2294 h 10000"/>
                <a:gd name="connsiteX2" fmla="*/ 1337 w 10000"/>
                <a:gd name="connsiteY2" fmla="*/ 1569 h 10000"/>
                <a:gd name="connsiteX3" fmla="*/ 1453 w 10000"/>
                <a:gd name="connsiteY3" fmla="*/ 1451 h 10000"/>
                <a:gd name="connsiteX4" fmla="*/ 1570 w 10000"/>
                <a:gd name="connsiteY4" fmla="*/ 1333 h 10000"/>
                <a:gd name="connsiteX5" fmla="*/ 2209 w 10000"/>
                <a:gd name="connsiteY5" fmla="*/ 1549 h 10000"/>
                <a:gd name="connsiteX6" fmla="*/ 2403 w 10000"/>
                <a:gd name="connsiteY6" fmla="*/ 1412 h 10000"/>
                <a:gd name="connsiteX7" fmla="*/ 2597 w 10000"/>
                <a:gd name="connsiteY7" fmla="*/ 1275 h 10000"/>
                <a:gd name="connsiteX8" fmla="*/ 2578 w 10000"/>
                <a:gd name="connsiteY8" fmla="*/ 588 h 10000"/>
                <a:gd name="connsiteX9" fmla="*/ 2733 w 10000"/>
                <a:gd name="connsiteY9" fmla="*/ 510 h 10000"/>
                <a:gd name="connsiteX10" fmla="*/ 2868 w 10000"/>
                <a:gd name="connsiteY10" fmla="*/ 451 h 10000"/>
                <a:gd name="connsiteX11" fmla="*/ 3411 w 10000"/>
                <a:gd name="connsiteY11" fmla="*/ 843 h 10000"/>
                <a:gd name="connsiteX12" fmla="*/ 3624 w 10000"/>
                <a:gd name="connsiteY12" fmla="*/ 765 h 10000"/>
                <a:gd name="connsiteX13" fmla="*/ 3740 w 10000"/>
                <a:gd name="connsiteY13" fmla="*/ 725 h 10000"/>
                <a:gd name="connsiteX14" fmla="*/ 3857 w 10000"/>
                <a:gd name="connsiteY14" fmla="*/ 706 h 10000"/>
                <a:gd name="connsiteX15" fmla="*/ 4070 w 10000"/>
                <a:gd name="connsiteY15" fmla="*/ 59 h 10000"/>
                <a:gd name="connsiteX16" fmla="*/ 4380 w 10000"/>
                <a:gd name="connsiteY16" fmla="*/ 0 h 10000"/>
                <a:gd name="connsiteX17" fmla="*/ 4767 w 10000"/>
                <a:gd name="connsiteY17" fmla="*/ 569 h 10000"/>
                <a:gd name="connsiteX18" fmla="*/ 5019 w 10000"/>
                <a:gd name="connsiteY18" fmla="*/ 549 h 10000"/>
                <a:gd name="connsiteX19" fmla="*/ 5252 w 10000"/>
                <a:gd name="connsiteY19" fmla="*/ 569 h 10000"/>
                <a:gd name="connsiteX20" fmla="*/ 5640 w 10000"/>
                <a:gd name="connsiteY20" fmla="*/ 0 h 10000"/>
                <a:gd name="connsiteX21" fmla="*/ 5795 w 10000"/>
                <a:gd name="connsiteY21" fmla="*/ 20 h 10000"/>
                <a:gd name="connsiteX22" fmla="*/ 5950 w 10000"/>
                <a:gd name="connsiteY22" fmla="*/ 59 h 10000"/>
                <a:gd name="connsiteX23" fmla="*/ 6163 w 10000"/>
                <a:gd name="connsiteY23" fmla="*/ 706 h 10000"/>
                <a:gd name="connsiteX24" fmla="*/ 6395 w 10000"/>
                <a:gd name="connsiteY24" fmla="*/ 765 h 10000"/>
                <a:gd name="connsiteX25" fmla="*/ 6492 w 10000"/>
                <a:gd name="connsiteY25" fmla="*/ 804 h 10000"/>
                <a:gd name="connsiteX26" fmla="*/ 6609 w 10000"/>
                <a:gd name="connsiteY26" fmla="*/ 843 h 10000"/>
                <a:gd name="connsiteX27" fmla="*/ 7151 w 10000"/>
                <a:gd name="connsiteY27" fmla="*/ 451 h 10000"/>
                <a:gd name="connsiteX28" fmla="*/ 7287 w 10000"/>
                <a:gd name="connsiteY28" fmla="*/ 510 h 10000"/>
                <a:gd name="connsiteX29" fmla="*/ 7442 w 10000"/>
                <a:gd name="connsiteY29" fmla="*/ 588 h 10000"/>
                <a:gd name="connsiteX30" fmla="*/ 7442 w 10000"/>
                <a:gd name="connsiteY30" fmla="*/ 1275 h 10000"/>
                <a:gd name="connsiteX31" fmla="*/ 7616 w 10000"/>
                <a:gd name="connsiteY31" fmla="*/ 1412 h 10000"/>
                <a:gd name="connsiteX32" fmla="*/ 7713 w 10000"/>
                <a:gd name="connsiteY32" fmla="*/ 1471 h 10000"/>
                <a:gd name="connsiteX33" fmla="*/ 7810 w 10000"/>
                <a:gd name="connsiteY33" fmla="*/ 1549 h 10000"/>
                <a:gd name="connsiteX34" fmla="*/ 8450 w 10000"/>
                <a:gd name="connsiteY34" fmla="*/ 1333 h 10000"/>
                <a:gd name="connsiteX35" fmla="*/ 8566 w 10000"/>
                <a:gd name="connsiteY35" fmla="*/ 1451 h 10000"/>
                <a:gd name="connsiteX36" fmla="*/ 8682 w 10000"/>
                <a:gd name="connsiteY36" fmla="*/ 1569 h 10000"/>
                <a:gd name="connsiteX37" fmla="*/ 8469 w 10000"/>
                <a:gd name="connsiteY37" fmla="*/ 2216 h 10000"/>
                <a:gd name="connsiteX38" fmla="*/ 8605 w 10000"/>
                <a:gd name="connsiteY38" fmla="*/ 2392 h 10000"/>
                <a:gd name="connsiteX39" fmla="*/ 8740 w 10000"/>
                <a:gd name="connsiteY39" fmla="*/ 2588 h 10000"/>
                <a:gd name="connsiteX40" fmla="*/ 9419 w 10000"/>
                <a:gd name="connsiteY40" fmla="*/ 2588 h 10000"/>
                <a:gd name="connsiteX41" fmla="*/ 9496 w 10000"/>
                <a:gd name="connsiteY41" fmla="*/ 2706 h 10000"/>
                <a:gd name="connsiteX42" fmla="*/ 9574 w 10000"/>
                <a:gd name="connsiteY42" fmla="*/ 2863 h 10000"/>
                <a:gd name="connsiteX43" fmla="*/ 9167 w 10000"/>
                <a:gd name="connsiteY43" fmla="*/ 3392 h 10000"/>
                <a:gd name="connsiteX44" fmla="*/ 9244 w 10000"/>
                <a:gd name="connsiteY44" fmla="*/ 3627 h 10000"/>
                <a:gd name="connsiteX45" fmla="*/ 9283 w 10000"/>
                <a:gd name="connsiteY45" fmla="*/ 3745 h 10000"/>
                <a:gd name="connsiteX46" fmla="*/ 9302 w 10000"/>
                <a:gd name="connsiteY46" fmla="*/ 3863 h 10000"/>
                <a:gd name="connsiteX47" fmla="*/ 9961 w 10000"/>
                <a:gd name="connsiteY47" fmla="*/ 4059 h 10000"/>
                <a:gd name="connsiteX48" fmla="*/ 10000 w 10000"/>
                <a:gd name="connsiteY48" fmla="*/ 4392 h 10000"/>
                <a:gd name="connsiteX49" fmla="*/ 9438 w 10000"/>
                <a:gd name="connsiteY49" fmla="*/ 4765 h 10000"/>
                <a:gd name="connsiteX50" fmla="*/ 9457 w 10000"/>
                <a:gd name="connsiteY50" fmla="*/ 5000 h 10000"/>
                <a:gd name="connsiteX51" fmla="*/ 9438 w 10000"/>
                <a:gd name="connsiteY51" fmla="*/ 5235 h 10000"/>
                <a:gd name="connsiteX52" fmla="*/ 10000 w 10000"/>
                <a:gd name="connsiteY52" fmla="*/ 5627 h 10000"/>
                <a:gd name="connsiteX53" fmla="*/ 9981 w 10000"/>
                <a:gd name="connsiteY53" fmla="*/ 5784 h 10000"/>
                <a:gd name="connsiteX54" fmla="*/ 9961 w 10000"/>
                <a:gd name="connsiteY54" fmla="*/ 5941 h 10000"/>
                <a:gd name="connsiteX55" fmla="*/ 9302 w 10000"/>
                <a:gd name="connsiteY55" fmla="*/ 6157 h 10000"/>
                <a:gd name="connsiteX56" fmla="*/ 9244 w 10000"/>
                <a:gd name="connsiteY56" fmla="*/ 6392 h 10000"/>
                <a:gd name="connsiteX57" fmla="*/ 9205 w 10000"/>
                <a:gd name="connsiteY57" fmla="*/ 6490 h 10000"/>
                <a:gd name="connsiteX58" fmla="*/ 9167 w 10000"/>
                <a:gd name="connsiteY58" fmla="*/ 6608 h 10000"/>
                <a:gd name="connsiteX59" fmla="*/ 9574 w 10000"/>
                <a:gd name="connsiteY59" fmla="*/ 7157 h 10000"/>
                <a:gd name="connsiteX60" fmla="*/ 9496 w 10000"/>
                <a:gd name="connsiteY60" fmla="*/ 7294 h 10000"/>
                <a:gd name="connsiteX61" fmla="*/ 9419 w 10000"/>
                <a:gd name="connsiteY61" fmla="*/ 7431 h 10000"/>
                <a:gd name="connsiteX62" fmla="*/ 8740 w 10000"/>
                <a:gd name="connsiteY62" fmla="*/ 7412 h 10000"/>
                <a:gd name="connsiteX63" fmla="*/ 8605 w 10000"/>
                <a:gd name="connsiteY63" fmla="*/ 7627 h 10000"/>
                <a:gd name="connsiteX64" fmla="*/ 8547 w 10000"/>
                <a:gd name="connsiteY64" fmla="*/ 7706 h 10000"/>
                <a:gd name="connsiteX65" fmla="*/ 8469 w 10000"/>
                <a:gd name="connsiteY65" fmla="*/ 7804 h 10000"/>
                <a:gd name="connsiteX66" fmla="*/ 8682 w 10000"/>
                <a:gd name="connsiteY66" fmla="*/ 8451 h 10000"/>
                <a:gd name="connsiteX67" fmla="*/ 8566 w 10000"/>
                <a:gd name="connsiteY67" fmla="*/ 8569 h 10000"/>
                <a:gd name="connsiteX68" fmla="*/ 8450 w 10000"/>
                <a:gd name="connsiteY68" fmla="*/ 8686 h 10000"/>
                <a:gd name="connsiteX69" fmla="*/ 7810 w 10000"/>
                <a:gd name="connsiteY69" fmla="*/ 8471 h 10000"/>
                <a:gd name="connsiteX70" fmla="*/ 7616 w 10000"/>
                <a:gd name="connsiteY70" fmla="*/ 8608 h 10000"/>
                <a:gd name="connsiteX71" fmla="*/ 7442 w 10000"/>
                <a:gd name="connsiteY71" fmla="*/ 8745 h 10000"/>
                <a:gd name="connsiteX72" fmla="*/ 7442 w 10000"/>
                <a:gd name="connsiteY72" fmla="*/ 9412 h 10000"/>
                <a:gd name="connsiteX73" fmla="*/ 7287 w 10000"/>
                <a:gd name="connsiteY73" fmla="*/ 9510 h 10000"/>
                <a:gd name="connsiteX74" fmla="*/ 7151 w 10000"/>
                <a:gd name="connsiteY74" fmla="*/ 9569 h 10000"/>
                <a:gd name="connsiteX75" fmla="*/ 6609 w 10000"/>
                <a:gd name="connsiteY75" fmla="*/ 9157 h 10000"/>
                <a:gd name="connsiteX76" fmla="*/ 6395 w 10000"/>
                <a:gd name="connsiteY76" fmla="*/ 9235 h 10000"/>
                <a:gd name="connsiteX77" fmla="*/ 6279 w 10000"/>
                <a:gd name="connsiteY77" fmla="*/ 9275 h 10000"/>
                <a:gd name="connsiteX78" fmla="*/ 6163 w 10000"/>
                <a:gd name="connsiteY78" fmla="*/ 9314 h 10000"/>
                <a:gd name="connsiteX79" fmla="*/ 5950 w 10000"/>
                <a:gd name="connsiteY79" fmla="*/ 9961 h 10000"/>
                <a:gd name="connsiteX80" fmla="*/ 5640 w 10000"/>
                <a:gd name="connsiteY80" fmla="*/ 10000 h 10000"/>
                <a:gd name="connsiteX81" fmla="*/ 5252 w 10000"/>
                <a:gd name="connsiteY81" fmla="*/ 9451 h 10000"/>
                <a:gd name="connsiteX82" fmla="*/ 5019 w 10000"/>
                <a:gd name="connsiteY82" fmla="*/ 9451 h 10000"/>
                <a:gd name="connsiteX83" fmla="*/ 4767 w 10000"/>
                <a:gd name="connsiteY83" fmla="*/ 9451 h 10000"/>
                <a:gd name="connsiteX84" fmla="*/ 4380 w 10000"/>
                <a:gd name="connsiteY84" fmla="*/ 10000 h 10000"/>
                <a:gd name="connsiteX85" fmla="*/ 4225 w 10000"/>
                <a:gd name="connsiteY85" fmla="*/ 9980 h 10000"/>
                <a:gd name="connsiteX86" fmla="*/ 4070 w 10000"/>
                <a:gd name="connsiteY86" fmla="*/ 9961 h 10000"/>
                <a:gd name="connsiteX87" fmla="*/ 3857 w 10000"/>
                <a:gd name="connsiteY87" fmla="*/ 9314 h 10000"/>
                <a:gd name="connsiteX88" fmla="*/ 3624 w 10000"/>
                <a:gd name="connsiteY88" fmla="*/ 9235 h 10000"/>
                <a:gd name="connsiteX89" fmla="*/ 3508 w 10000"/>
                <a:gd name="connsiteY89" fmla="*/ 9216 h 10000"/>
                <a:gd name="connsiteX90" fmla="*/ 3411 w 10000"/>
                <a:gd name="connsiteY90" fmla="*/ 9157 h 10000"/>
                <a:gd name="connsiteX91" fmla="*/ 2868 w 10000"/>
                <a:gd name="connsiteY91" fmla="*/ 9569 h 10000"/>
                <a:gd name="connsiteX92" fmla="*/ 2733 w 10000"/>
                <a:gd name="connsiteY92" fmla="*/ 9510 h 10000"/>
                <a:gd name="connsiteX93" fmla="*/ 2578 w 10000"/>
                <a:gd name="connsiteY93" fmla="*/ 9412 h 10000"/>
                <a:gd name="connsiteX94" fmla="*/ 2597 w 10000"/>
                <a:gd name="connsiteY94" fmla="*/ 8745 h 10000"/>
                <a:gd name="connsiteX95" fmla="*/ 2403 w 10000"/>
                <a:gd name="connsiteY95" fmla="*/ 8608 h 10000"/>
                <a:gd name="connsiteX96" fmla="*/ 2306 w 10000"/>
                <a:gd name="connsiteY96" fmla="*/ 8529 h 10000"/>
                <a:gd name="connsiteX97" fmla="*/ 2209 w 10000"/>
                <a:gd name="connsiteY97" fmla="*/ 8471 h 10000"/>
                <a:gd name="connsiteX98" fmla="*/ 1570 w 10000"/>
                <a:gd name="connsiteY98" fmla="*/ 8686 h 10000"/>
                <a:gd name="connsiteX99" fmla="*/ 1453 w 10000"/>
                <a:gd name="connsiteY99" fmla="*/ 8569 h 10000"/>
                <a:gd name="connsiteX100" fmla="*/ 1337 w 10000"/>
                <a:gd name="connsiteY100" fmla="*/ 8451 h 10000"/>
                <a:gd name="connsiteX101" fmla="*/ 1550 w 10000"/>
                <a:gd name="connsiteY101" fmla="*/ 7804 h 10000"/>
                <a:gd name="connsiteX102" fmla="*/ 1415 w 10000"/>
                <a:gd name="connsiteY102" fmla="*/ 7627 h 10000"/>
                <a:gd name="connsiteX103" fmla="*/ 1279 w 10000"/>
                <a:gd name="connsiteY103" fmla="*/ 7412 h 10000"/>
                <a:gd name="connsiteX104" fmla="*/ 601 w 10000"/>
                <a:gd name="connsiteY104" fmla="*/ 7431 h 10000"/>
                <a:gd name="connsiteX105" fmla="*/ 523 w 10000"/>
                <a:gd name="connsiteY105" fmla="*/ 7294 h 10000"/>
                <a:gd name="connsiteX106" fmla="*/ 446 w 10000"/>
                <a:gd name="connsiteY106" fmla="*/ 7157 h 10000"/>
                <a:gd name="connsiteX107" fmla="*/ 853 w 10000"/>
                <a:gd name="connsiteY107" fmla="*/ 6608 h 10000"/>
                <a:gd name="connsiteX108" fmla="*/ 775 w 10000"/>
                <a:gd name="connsiteY108" fmla="*/ 6392 h 10000"/>
                <a:gd name="connsiteX109" fmla="*/ 756 w 10000"/>
                <a:gd name="connsiteY109" fmla="*/ 6275 h 10000"/>
                <a:gd name="connsiteX110" fmla="*/ 717 w 10000"/>
                <a:gd name="connsiteY110" fmla="*/ 6157 h 10000"/>
                <a:gd name="connsiteX111" fmla="*/ 58 w 10000"/>
                <a:gd name="connsiteY111" fmla="*/ 5941 h 10000"/>
                <a:gd name="connsiteX112" fmla="*/ 0 w 10000"/>
                <a:gd name="connsiteY112" fmla="*/ 5627 h 10000"/>
                <a:gd name="connsiteX113" fmla="*/ 581 w 10000"/>
                <a:gd name="connsiteY113" fmla="*/ 5235 h 10000"/>
                <a:gd name="connsiteX114" fmla="*/ 562 w 10000"/>
                <a:gd name="connsiteY114" fmla="*/ 5000 h 10000"/>
                <a:gd name="connsiteX115" fmla="*/ 581 w 10000"/>
                <a:gd name="connsiteY115" fmla="*/ 4765 h 10000"/>
                <a:gd name="connsiteX116" fmla="*/ 0 w 10000"/>
                <a:gd name="connsiteY116" fmla="*/ 4392 h 10000"/>
                <a:gd name="connsiteX117" fmla="*/ 19 w 10000"/>
                <a:gd name="connsiteY117" fmla="*/ 4216 h 10000"/>
                <a:gd name="connsiteX118" fmla="*/ 58 w 10000"/>
                <a:gd name="connsiteY118" fmla="*/ 4059 h 10000"/>
                <a:gd name="connsiteX119" fmla="*/ 717 w 10000"/>
                <a:gd name="connsiteY119" fmla="*/ 3863 h 10000"/>
                <a:gd name="connsiteX120" fmla="*/ 775 w 10000"/>
                <a:gd name="connsiteY120" fmla="*/ 3627 h 10000"/>
                <a:gd name="connsiteX121" fmla="*/ 814 w 10000"/>
                <a:gd name="connsiteY121" fmla="*/ 3510 h 10000"/>
                <a:gd name="connsiteX122" fmla="*/ 853 w 10000"/>
                <a:gd name="connsiteY122" fmla="*/ 3392 h 10000"/>
                <a:gd name="connsiteX123" fmla="*/ 446 w 10000"/>
                <a:gd name="connsiteY123" fmla="*/ 2863 h 10000"/>
                <a:gd name="connsiteX124" fmla="*/ 523 w 10000"/>
                <a:gd name="connsiteY124" fmla="*/ 2706 h 10000"/>
                <a:gd name="connsiteX125" fmla="*/ 601 w 10000"/>
                <a:gd name="connsiteY125" fmla="*/ 2588 h 10000"/>
                <a:gd name="connsiteX126" fmla="*/ 1279 w 10000"/>
                <a:gd name="connsiteY126" fmla="*/ 2588 h 10000"/>
                <a:gd name="connsiteX0" fmla="*/ 1415 w 10000"/>
                <a:gd name="connsiteY0" fmla="*/ 2392 h 10000"/>
                <a:gd name="connsiteX1" fmla="*/ 1337 w 10000"/>
                <a:gd name="connsiteY1" fmla="*/ 1569 h 10000"/>
                <a:gd name="connsiteX2" fmla="*/ 1453 w 10000"/>
                <a:gd name="connsiteY2" fmla="*/ 1451 h 10000"/>
                <a:gd name="connsiteX3" fmla="*/ 1570 w 10000"/>
                <a:gd name="connsiteY3" fmla="*/ 1333 h 10000"/>
                <a:gd name="connsiteX4" fmla="*/ 2209 w 10000"/>
                <a:gd name="connsiteY4" fmla="*/ 1549 h 10000"/>
                <a:gd name="connsiteX5" fmla="*/ 2403 w 10000"/>
                <a:gd name="connsiteY5" fmla="*/ 1412 h 10000"/>
                <a:gd name="connsiteX6" fmla="*/ 2597 w 10000"/>
                <a:gd name="connsiteY6" fmla="*/ 1275 h 10000"/>
                <a:gd name="connsiteX7" fmla="*/ 2578 w 10000"/>
                <a:gd name="connsiteY7" fmla="*/ 588 h 10000"/>
                <a:gd name="connsiteX8" fmla="*/ 2733 w 10000"/>
                <a:gd name="connsiteY8" fmla="*/ 510 h 10000"/>
                <a:gd name="connsiteX9" fmla="*/ 2868 w 10000"/>
                <a:gd name="connsiteY9" fmla="*/ 451 h 10000"/>
                <a:gd name="connsiteX10" fmla="*/ 3411 w 10000"/>
                <a:gd name="connsiteY10" fmla="*/ 843 h 10000"/>
                <a:gd name="connsiteX11" fmla="*/ 3624 w 10000"/>
                <a:gd name="connsiteY11" fmla="*/ 765 h 10000"/>
                <a:gd name="connsiteX12" fmla="*/ 3740 w 10000"/>
                <a:gd name="connsiteY12" fmla="*/ 725 h 10000"/>
                <a:gd name="connsiteX13" fmla="*/ 3857 w 10000"/>
                <a:gd name="connsiteY13" fmla="*/ 706 h 10000"/>
                <a:gd name="connsiteX14" fmla="*/ 4070 w 10000"/>
                <a:gd name="connsiteY14" fmla="*/ 59 h 10000"/>
                <a:gd name="connsiteX15" fmla="*/ 4380 w 10000"/>
                <a:gd name="connsiteY15" fmla="*/ 0 h 10000"/>
                <a:gd name="connsiteX16" fmla="*/ 4767 w 10000"/>
                <a:gd name="connsiteY16" fmla="*/ 569 h 10000"/>
                <a:gd name="connsiteX17" fmla="*/ 5019 w 10000"/>
                <a:gd name="connsiteY17" fmla="*/ 549 h 10000"/>
                <a:gd name="connsiteX18" fmla="*/ 5252 w 10000"/>
                <a:gd name="connsiteY18" fmla="*/ 569 h 10000"/>
                <a:gd name="connsiteX19" fmla="*/ 5640 w 10000"/>
                <a:gd name="connsiteY19" fmla="*/ 0 h 10000"/>
                <a:gd name="connsiteX20" fmla="*/ 5795 w 10000"/>
                <a:gd name="connsiteY20" fmla="*/ 20 h 10000"/>
                <a:gd name="connsiteX21" fmla="*/ 5950 w 10000"/>
                <a:gd name="connsiteY21" fmla="*/ 59 h 10000"/>
                <a:gd name="connsiteX22" fmla="*/ 6163 w 10000"/>
                <a:gd name="connsiteY22" fmla="*/ 706 h 10000"/>
                <a:gd name="connsiteX23" fmla="*/ 6395 w 10000"/>
                <a:gd name="connsiteY23" fmla="*/ 765 h 10000"/>
                <a:gd name="connsiteX24" fmla="*/ 6492 w 10000"/>
                <a:gd name="connsiteY24" fmla="*/ 804 h 10000"/>
                <a:gd name="connsiteX25" fmla="*/ 6609 w 10000"/>
                <a:gd name="connsiteY25" fmla="*/ 843 h 10000"/>
                <a:gd name="connsiteX26" fmla="*/ 7151 w 10000"/>
                <a:gd name="connsiteY26" fmla="*/ 451 h 10000"/>
                <a:gd name="connsiteX27" fmla="*/ 7287 w 10000"/>
                <a:gd name="connsiteY27" fmla="*/ 510 h 10000"/>
                <a:gd name="connsiteX28" fmla="*/ 7442 w 10000"/>
                <a:gd name="connsiteY28" fmla="*/ 588 h 10000"/>
                <a:gd name="connsiteX29" fmla="*/ 7442 w 10000"/>
                <a:gd name="connsiteY29" fmla="*/ 1275 h 10000"/>
                <a:gd name="connsiteX30" fmla="*/ 7616 w 10000"/>
                <a:gd name="connsiteY30" fmla="*/ 1412 h 10000"/>
                <a:gd name="connsiteX31" fmla="*/ 7713 w 10000"/>
                <a:gd name="connsiteY31" fmla="*/ 1471 h 10000"/>
                <a:gd name="connsiteX32" fmla="*/ 7810 w 10000"/>
                <a:gd name="connsiteY32" fmla="*/ 1549 h 10000"/>
                <a:gd name="connsiteX33" fmla="*/ 8450 w 10000"/>
                <a:gd name="connsiteY33" fmla="*/ 1333 h 10000"/>
                <a:gd name="connsiteX34" fmla="*/ 8566 w 10000"/>
                <a:gd name="connsiteY34" fmla="*/ 1451 h 10000"/>
                <a:gd name="connsiteX35" fmla="*/ 8682 w 10000"/>
                <a:gd name="connsiteY35" fmla="*/ 1569 h 10000"/>
                <a:gd name="connsiteX36" fmla="*/ 8469 w 10000"/>
                <a:gd name="connsiteY36" fmla="*/ 2216 h 10000"/>
                <a:gd name="connsiteX37" fmla="*/ 8605 w 10000"/>
                <a:gd name="connsiteY37" fmla="*/ 2392 h 10000"/>
                <a:gd name="connsiteX38" fmla="*/ 8740 w 10000"/>
                <a:gd name="connsiteY38" fmla="*/ 2588 h 10000"/>
                <a:gd name="connsiteX39" fmla="*/ 9419 w 10000"/>
                <a:gd name="connsiteY39" fmla="*/ 2588 h 10000"/>
                <a:gd name="connsiteX40" fmla="*/ 9496 w 10000"/>
                <a:gd name="connsiteY40" fmla="*/ 2706 h 10000"/>
                <a:gd name="connsiteX41" fmla="*/ 9574 w 10000"/>
                <a:gd name="connsiteY41" fmla="*/ 2863 h 10000"/>
                <a:gd name="connsiteX42" fmla="*/ 9167 w 10000"/>
                <a:gd name="connsiteY42" fmla="*/ 3392 h 10000"/>
                <a:gd name="connsiteX43" fmla="*/ 9244 w 10000"/>
                <a:gd name="connsiteY43" fmla="*/ 3627 h 10000"/>
                <a:gd name="connsiteX44" fmla="*/ 9283 w 10000"/>
                <a:gd name="connsiteY44" fmla="*/ 3745 h 10000"/>
                <a:gd name="connsiteX45" fmla="*/ 9302 w 10000"/>
                <a:gd name="connsiteY45" fmla="*/ 3863 h 10000"/>
                <a:gd name="connsiteX46" fmla="*/ 9961 w 10000"/>
                <a:gd name="connsiteY46" fmla="*/ 4059 h 10000"/>
                <a:gd name="connsiteX47" fmla="*/ 10000 w 10000"/>
                <a:gd name="connsiteY47" fmla="*/ 4392 h 10000"/>
                <a:gd name="connsiteX48" fmla="*/ 9438 w 10000"/>
                <a:gd name="connsiteY48" fmla="*/ 4765 h 10000"/>
                <a:gd name="connsiteX49" fmla="*/ 9457 w 10000"/>
                <a:gd name="connsiteY49" fmla="*/ 5000 h 10000"/>
                <a:gd name="connsiteX50" fmla="*/ 9438 w 10000"/>
                <a:gd name="connsiteY50" fmla="*/ 5235 h 10000"/>
                <a:gd name="connsiteX51" fmla="*/ 10000 w 10000"/>
                <a:gd name="connsiteY51" fmla="*/ 5627 h 10000"/>
                <a:gd name="connsiteX52" fmla="*/ 9981 w 10000"/>
                <a:gd name="connsiteY52" fmla="*/ 5784 h 10000"/>
                <a:gd name="connsiteX53" fmla="*/ 9961 w 10000"/>
                <a:gd name="connsiteY53" fmla="*/ 5941 h 10000"/>
                <a:gd name="connsiteX54" fmla="*/ 9302 w 10000"/>
                <a:gd name="connsiteY54" fmla="*/ 6157 h 10000"/>
                <a:gd name="connsiteX55" fmla="*/ 9244 w 10000"/>
                <a:gd name="connsiteY55" fmla="*/ 6392 h 10000"/>
                <a:gd name="connsiteX56" fmla="*/ 9205 w 10000"/>
                <a:gd name="connsiteY56" fmla="*/ 6490 h 10000"/>
                <a:gd name="connsiteX57" fmla="*/ 9167 w 10000"/>
                <a:gd name="connsiteY57" fmla="*/ 6608 h 10000"/>
                <a:gd name="connsiteX58" fmla="*/ 9574 w 10000"/>
                <a:gd name="connsiteY58" fmla="*/ 7157 h 10000"/>
                <a:gd name="connsiteX59" fmla="*/ 9496 w 10000"/>
                <a:gd name="connsiteY59" fmla="*/ 7294 h 10000"/>
                <a:gd name="connsiteX60" fmla="*/ 9419 w 10000"/>
                <a:gd name="connsiteY60" fmla="*/ 7431 h 10000"/>
                <a:gd name="connsiteX61" fmla="*/ 8740 w 10000"/>
                <a:gd name="connsiteY61" fmla="*/ 7412 h 10000"/>
                <a:gd name="connsiteX62" fmla="*/ 8605 w 10000"/>
                <a:gd name="connsiteY62" fmla="*/ 7627 h 10000"/>
                <a:gd name="connsiteX63" fmla="*/ 8547 w 10000"/>
                <a:gd name="connsiteY63" fmla="*/ 7706 h 10000"/>
                <a:gd name="connsiteX64" fmla="*/ 8469 w 10000"/>
                <a:gd name="connsiteY64" fmla="*/ 7804 h 10000"/>
                <a:gd name="connsiteX65" fmla="*/ 8682 w 10000"/>
                <a:gd name="connsiteY65" fmla="*/ 8451 h 10000"/>
                <a:gd name="connsiteX66" fmla="*/ 8566 w 10000"/>
                <a:gd name="connsiteY66" fmla="*/ 8569 h 10000"/>
                <a:gd name="connsiteX67" fmla="*/ 8450 w 10000"/>
                <a:gd name="connsiteY67" fmla="*/ 8686 h 10000"/>
                <a:gd name="connsiteX68" fmla="*/ 7810 w 10000"/>
                <a:gd name="connsiteY68" fmla="*/ 8471 h 10000"/>
                <a:gd name="connsiteX69" fmla="*/ 7616 w 10000"/>
                <a:gd name="connsiteY69" fmla="*/ 8608 h 10000"/>
                <a:gd name="connsiteX70" fmla="*/ 7442 w 10000"/>
                <a:gd name="connsiteY70" fmla="*/ 8745 h 10000"/>
                <a:gd name="connsiteX71" fmla="*/ 7442 w 10000"/>
                <a:gd name="connsiteY71" fmla="*/ 9412 h 10000"/>
                <a:gd name="connsiteX72" fmla="*/ 7287 w 10000"/>
                <a:gd name="connsiteY72" fmla="*/ 9510 h 10000"/>
                <a:gd name="connsiteX73" fmla="*/ 7151 w 10000"/>
                <a:gd name="connsiteY73" fmla="*/ 9569 h 10000"/>
                <a:gd name="connsiteX74" fmla="*/ 6609 w 10000"/>
                <a:gd name="connsiteY74" fmla="*/ 9157 h 10000"/>
                <a:gd name="connsiteX75" fmla="*/ 6395 w 10000"/>
                <a:gd name="connsiteY75" fmla="*/ 9235 h 10000"/>
                <a:gd name="connsiteX76" fmla="*/ 6279 w 10000"/>
                <a:gd name="connsiteY76" fmla="*/ 9275 h 10000"/>
                <a:gd name="connsiteX77" fmla="*/ 6163 w 10000"/>
                <a:gd name="connsiteY77" fmla="*/ 9314 h 10000"/>
                <a:gd name="connsiteX78" fmla="*/ 5950 w 10000"/>
                <a:gd name="connsiteY78" fmla="*/ 9961 h 10000"/>
                <a:gd name="connsiteX79" fmla="*/ 5640 w 10000"/>
                <a:gd name="connsiteY79" fmla="*/ 10000 h 10000"/>
                <a:gd name="connsiteX80" fmla="*/ 5252 w 10000"/>
                <a:gd name="connsiteY80" fmla="*/ 9451 h 10000"/>
                <a:gd name="connsiteX81" fmla="*/ 5019 w 10000"/>
                <a:gd name="connsiteY81" fmla="*/ 9451 h 10000"/>
                <a:gd name="connsiteX82" fmla="*/ 4767 w 10000"/>
                <a:gd name="connsiteY82" fmla="*/ 9451 h 10000"/>
                <a:gd name="connsiteX83" fmla="*/ 4380 w 10000"/>
                <a:gd name="connsiteY83" fmla="*/ 10000 h 10000"/>
                <a:gd name="connsiteX84" fmla="*/ 4225 w 10000"/>
                <a:gd name="connsiteY84" fmla="*/ 9980 h 10000"/>
                <a:gd name="connsiteX85" fmla="*/ 4070 w 10000"/>
                <a:gd name="connsiteY85" fmla="*/ 9961 h 10000"/>
                <a:gd name="connsiteX86" fmla="*/ 3857 w 10000"/>
                <a:gd name="connsiteY86" fmla="*/ 9314 h 10000"/>
                <a:gd name="connsiteX87" fmla="*/ 3624 w 10000"/>
                <a:gd name="connsiteY87" fmla="*/ 9235 h 10000"/>
                <a:gd name="connsiteX88" fmla="*/ 3508 w 10000"/>
                <a:gd name="connsiteY88" fmla="*/ 9216 h 10000"/>
                <a:gd name="connsiteX89" fmla="*/ 3411 w 10000"/>
                <a:gd name="connsiteY89" fmla="*/ 9157 h 10000"/>
                <a:gd name="connsiteX90" fmla="*/ 2868 w 10000"/>
                <a:gd name="connsiteY90" fmla="*/ 9569 h 10000"/>
                <a:gd name="connsiteX91" fmla="*/ 2733 w 10000"/>
                <a:gd name="connsiteY91" fmla="*/ 9510 h 10000"/>
                <a:gd name="connsiteX92" fmla="*/ 2578 w 10000"/>
                <a:gd name="connsiteY92" fmla="*/ 9412 h 10000"/>
                <a:gd name="connsiteX93" fmla="*/ 2597 w 10000"/>
                <a:gd name="connsiteY93" fmla="*/ 8745 h 10000"/>
                <a:gd name="connsiteX94" fmla="*/ 2403 w 10000"/>
                <a:gd name="connsiteY94" fmla="*/ 8608 h 10000"/>
                <a:gd name="connsiteX95" fmla="*/ 2306 w 10000"/>
                <a:gd name="connsiteY95" fmla="*/ 8529 h 10000"/>
                <a:gd name="connsiteX96" fmla="*/ 2209 w 10000"/>
                <a:gd name="connsiteY96" fmla="*/ 8471 h 10000"/>
                <a:gd name="connsiteX97" fmla="*/ 1570 w 10000"/>
                <a:gd name="connsiteY97" fmla="*/ 8686 h 10000"/>
                <a:gd name="connsiteX98" fmla="*/ 1453 w 10000"/>
                <a:gd name="connsiteY98" fmla="*/ 8569 h 10000"/>
                <a:gd name="connsiteX99" fmla="*/ 1337 w 10000"/>
                <a:gd name="connsiteY99" fmla="*/ 8451 h 10000"/>
                <a:gd name="connsiteX100" fmla="*/ 1550 w 10000"/>
                <a:gd name="connsiteY100" fmla="*/ 7804 h 10000"/>
                <a:gd name="connsiteX101" fmla="*/ 1415 w 10000"/>
                <a:gd name="connsiteY101" fmla="*/ 7627 h 10000"/>
                <a:gd name="connsiteX102" fmla="*/ 1279 w 10000"/>
                <a:gd name="connsiteY102" fmla="*/ 7412 h 10000"/>
                <a:gd name="connsiteX103" fmla="*/ 601 w 10000"/>
                <a:gd name="connsiteY103" fmla="*/ 7431 h 10000"/>
                <a:gd name="connsiteX104" fmla="*/ 523 w 10000"/>
                <a:gd name="connsiteY104" fmla="*/ 7294 h 10000"/>
                <a:gd name="connsiteX105" fmla="*/ 446 w 10000"/>
                <a:gd name="connsiteY105" fmla="*/ 7157 h 10000"/>
                <a:gd name="connsiteX106" fmla="*/ 853 w 10000"/>
                <a:gd name="connsiteY106" fmla="*/ 6608 h 10000"/>
                <a:gd name="connsiteX107" fmla="*/ 775 w 10000"/>
                <a:gd name="connsiteY107" fmla="*/ 6392 h 10000"/>
                <a:gd name="connsiteX108" fmla="*/ 756 w 10000"/>
                <a:gd name="connsiteY108" fmla="*/ 6275 h 10000"/>
                <a:gd name="connsiteX109" fmla="*/ 717 w 10000"/>
                <a:gd name="connsiteY109" fmla="*/ 6157 h 10000"/>
                <a:gd name="connsiteX110" fmla="*/ 58 w 10000"/>
                <a:gd name="connsiteY110" fmla="*/ 5941 h 10000"/>
                <a:gd name="connsiteX111" fmla="*/ 0 w 10000"/>
                <a:gd name="connsiteY111" fmla="*/ 5627 h 10000"/>
                <a:gd name="connsiteX112" fmla="*/ 581 w 10000"/>
                <a:gd name="connsiteY112" fmla="*/ 5235 h 10000"/>
                <a:gd name="connsiteX113" fmla="*/ 562 w 10000"/>
                <a:gd name="connsiteY113" fmla="*/ 5000 h 10000"/>
                <a:gd name="connsiteX114" fmla="*/ 581 w 10000"/>
                <a:gd name="connsiteY114" fmla="*/ 4765 h 10000"/>
                <a:gd name="connsiteX115" fmla="*/ 0 w 10000"/>
                <a:gd name="connsiteY115" fmla="*/ 4392 h 10000"/>
                <a:gd name="connsiteX116" fmla="*/ 19 w 10000"/>
                <a:gd name="connsiteY116" fmla="*/ 4216 h 10000"/>
                <a:gd name="connsiteX117" fmla="*/ 58 w 10000"/>
                <a:gd name="connsiteY117" fmla="*/ 4059 h 10000"/>
                <a:gd name="connsiteX118" fmla="*/ 717 w 10000"/>
                <a:gd name="connsiteY118" fmla="*/ 3863 h 10000"/>
                <a:gd name="connsiteX119" fmla="*/ 775 w 10000"/>
                <a:gd name="connsiteY119" fmla="*/ 3627 h 10000"/>
                <a:gd name="connsiteX120" fmla="*/ 814 w 10000"/>
                <a:gd name="connsiteY120" fmla="*/ 3510 h 10000"/>
                <a:gd name="connsiteX121" fmla="*/ 853 w 10000"/>
                <a:gd name="connsiteY121" fmla="*/ 3392 h 10000"/>
                <a:gd name="connsiteX122" fmla="*/ 446 w 10000"/>
                <a:gd name="connsiteY122" fmla="*/ 2863 h 10000"/>
                <a:gd name="connsiteX123" fmla="*/ 523 w 10000"/>
                <a:gd name="connsiteY123" fmla="*/ 2706 h 10000"/>
                <a:gd name="connsiteX124" fmla="*/ 601 w 10000"/>
                <a:gd name="connsiteY124" fmla="*/ 2588 h 10000"/>
                <a:gd name="connsiteX125" fmla="*/ 1279 w 10000"/>
                <a:gd name="connsiteY125" fmla="*/ 2588 h 10000"/>
                <a:gd name="connsiteX0" fmla="*/ 1415 w 10000"/>
                <a:gd name="connsiteY0" fmla="*/ 2392 h 10000"/>
                <a:gd name="connsiteX1" fmla="*/ 1337 w 10000"/>
                <a:gd name="connsiteY1" fmla="*/ 1569 h 10000"/>
                <a:gd name="connsiteX2" fmla="*/ 1570 w 10000"/>
                <a:gd name="connsiteY2" fmla="*/ 1333 h 10000"/>
                <a:gd name="connsiteX3" fmla="*/ 2209 w 10000"/>
                <a:gd name="connsiteY3" fmla="*/ 1549 h 10000"/>
                <a:gd name="connsiteX4" fmla="*/ 2403 w 10000"/>
                <a:gd name="connsiteY4" fmla="*/ 1412 h 10000"/>
                <a:gd name="connsiteX5" fmla="*/ 2597 w 10000"/>
                <a:gd name="connsiteY5" fmla="*/ 1275 h 10000"/>
                <a:gd name="connsiteX6" fmla="*/ 2578 w 10000"/>
                <a:gd name="connsiteY6" fmla="*/ 588 h 10000"/>
                <a:gd name="connsiteX7" fmla="*/ 2733 w 10000"/>
                <a:gd name="connsiteY7" fmla="*/ 510 h 10000"/>
                <a:gd name="connsiteX8" fmla="*/ 2868 w 10000"/>
                <a:gd name="connsiteY8" fmla="*/ 451 h 10000"/>
                <a:gd name="connsiteX9" fmla="*/ 3411 w 10000"/>
                <a:gd name="connsiteY9" fmla="*/ 843 h 10000"/>
                <a:gd name="connsiteX10" fmla="*/ 3624 w 10000"/>
                <a:gd name="connsiteY10" fmla="*/ 765 h 10000"/>
                <a:gd name="connsiteX11" fmla="*/ 3740 w 10000"/>
                <a:gd name="connsiteY11" fmla="*/ 725 h 10000"/>
                <a:gd name="connsiteX12" fmla="*/ 3857 w 10000"/>
                <a:gd name="connsiteY12" fmla="*/ 706 h 10000"/>
                <a:gd name="connsiteX13" fmla="*/ 4070 w 10000"/>
                <a:gd name="connsiteY13" fmla="*/ 59 h 10000"/>
                <a:gd name="connsiteX14" fmla="*/ 4380 w 10000"/>
                <a:gd name="connsiteY14" fmla="*/ 0 h 10000"/>
                <a:gd name="connsiteX15" fmla="*/ 4767 w 10000"/>
                <a:gd name="connsiteY15" fmla="*/ 569 h 10000"/>
                <a:gd name="connsiteX16" fmla="*/ 5019 w 10000"/>
                <a:gd name="connsiteY16" fmla="*/ 549 h 10000"/>
                <a:gd name="connsiteX17" fmla="*/ 5252 w 10000"/>
                <a:gd name="connsiteY17" fmla="*/ 569 h 10000"/>
                <a:gd name="connsiteX18" fmla="*/ 5640 w 10000"/>
                <a:gd name="connsiteY18" fmla="*/ 0 h 10000"/>
                <a:gd name="connsiteX19" fmla="*/ 5795 w 10000"/>
                <a:gd name="connsiteY19" fmla="*/ 20 h 10000"/>
                <a:gd name="connsiteX20" fmla="*/ 5950 w 10000"/>
                <a:gd name="connsiteY20" fmla="*/ 59 h 10000"/>
                <a:gd name="connsiteX21" fmla="*/ 6163 w 10000"/>
                <a:gd name="connsiteY21" fmla="*/ 706 h 10000"/>
                <a:gd name="connsiteX22" fmla="*/ 6395 w 10000"/>
                <a:gd name="connsiteY22" fmla="*/ 765 h 10000"/>
                <a:gd name="connsiteX23" fmla="*/ 6492 w 10000"/>
                <a:gd name="connsiteY23" fmla="*/ 804 h 10000"/>
                <a:gd name="connsiteX24" fmla="*/ 6609 w 10000"/>
                <a:gd name="connsiteY24" fmla="*/ 843 h 10000"/>
                <a:gd name="connsiteX25" fmla="*/ 7151 w 10000"/>
                <a:gd name="connsiteY25" fmla="*/ 451 h 10000"/>
                <a:gd name="connsiteX26" fmla="*/ 7287 w 10000"/>
                <a:gd name="connsiteY26" fmla="*/ 510 h 10000"/>
                <a:gd name="connsiteX27" fmla="*/ 7442 w 10000"/>
                <a:gd name="connsiteY27" fmla="*/ 588 h 10000"/>
                <a:gd name="connsiteX28" fmla="*/ 7442 w 10000"/>
                <a:gd name="connsiteY28" fmla="*/ 1275 h 10000"/>
                <a:gd name="connsiteX29" fmla="*/ 7616 w 10000"/>
                <a:gd name="connsiteY29" fmla="*/ 1412 h 10000"/>
                <a:gd name="connsiteX30" fmla="*/ 7713 w 10000"/>
                <a:gd name="connsiteY30" fmla="*/ 1471 h 10000"/>
                <a:gd name="connsiteX31" fmla="*/ 7810 w 10000"/>
                <a:gd name="connsiteY31" fmla="*/ 1549 h 10000"/>
                <a:gd name="connsiteX32" fmla="*/ 8450 w 10000"/>
                <a:gd name="connsiteY32" fmla="*/ 1333 h 10000"/>
                <a:gd name="connsiteX33" fmla="*/ 8566 w 10000"/>
                <a:gd name="connsiteY33" fmla="*/ 1451 h 10000"/>
                <a:gd name="connsiteX34" fmla="*/ 8682 w 10000"/>
                <a:gd name="connsiteY34" fmla="*/ 1569 h 10000"/>
                <a:gd name="connsiteX35" fmla="*/ 8469 w 10000"/>
                <a:gd name="connsiteY35" fmla="*/ 2216 h 10000"/>
                <a:gd name="connsiteX36" fmla="*/ 8605 w 10000"/>
                <a:gd name="connsiteY36" fmla="*/ 2392 h 10000"/>
                <a:gd name="connsiteX37" fmla="*/ 8740 w 10000"/>
                <a:gd name="connsiteY37" fmla="*/ 2588 h 10000"/>
                <a:gd name="connsiteX38" fmla="*/ 9419 w 10000"/>
                <a:gd name="connsiteY38" fmla="*/ 2588 h 10000"/>
                <a:gd name="connsiteX39" fmla="*/ 9496 w 10000"/>
                <a:gd name="connsiteY39" fmla="*/ 2706 h 10000"/>
                <a:gd name="connsiteX40" fmla="*/ 9574 w 10000"/>
                <a:gd name="connsiteY40" fmla="*/ 2863 h 10000"/>
                <a:gd name="connsiteX41" fmla="*/ 9167 w 10000"/>
                <a:gd name="connsiteY41" fmla="*/ 3392 h 10000"/>
                <a:gd name="connsiteX42" fmla="*/ 9244 w 10000"/>
                <a:gd name="connsiteY42" fmla="*/ 3627 h 10000"/>
                <a:gd name="connsiteX43" fmla="*/ 9283 w 10000"/>
                <a:gd name="connsiteY43" fmla="*/ 3745 h 10000"/>
                <a:gd name="connsiteX44" fmla="*/ 9302 w 10000"/>
                <a:gd name="connsiteY44" fmla="*/ 3863 h 10000"/>
                <a:gd name="connsiteX45" fmla="*/ 9961 w 10000"/>
                <a:gd name="connsiteY45" fmla="*/ 4059 h 10000"/>
                <a:gd name="connsiteX46" fmla="*/ 10000 w 10000"/>
                <a:gd name="connsiteY46" fmla="*/ 4392 h 10000"/>
                <a:gd name="connsiteX47" fmla="*/ 9438 w 10000"/>
                <a:gd name="connsiteY47" fmla="*/ 4765 h 10000"/>
                <a:gd name="connsiteX48" fmla="*/ 9457 w 10000"/>
                <a:gd name="connsiteY48" fmla="*/ 5000 h 10000"/>
                <a:gd name="connsiteX49" fmla="*/ 9438 w 10000"/>
                <a:gd name="connsiteY49" fmla="*/ 5235 h 10000"/>
                <a:gd name="connsiteX50" fmla="*/ 10000 w 10000"/>
                <a:gd name="connsiteY50" fmla="*/ 5627 h 10000"/>
                <a:gd name="connsiteX51" fmla="*/ 9981 w 10000"/>
                <a:gd name="connsiteY51" fmla="*/ 5784 h 10000"/>
                <a:gd name="connsiteX52" fmla="*/ 9961 w 10000"/>
                <a:gd name="connsiteY52" fmla="*/ 5941 h 10000"/>
                <a:gd name="connsiteX53" fmla="*/ 9302 w 10000"/>
                <a:gd name="connsiteY53" fmla="*/ 6157 h 10000"/>
                <a:gd name="connsiteX54" fmla="*/ 9244 w 10000"/>
                <a:gd name="connsiteY54" fmla="*/ 6392 h 10000"/>
                <a:gd name="connsiteX55" fmla="*/ 9205 w 10000"/>
                <a:gd name="connsiteY55" fmla="*/ 6490 h 10000"/>
                <a:gd name="connsiteX56" fmla="*/ 9167 w 10000"/>
                <a:gd name="connsiteY56" fmla="*/ 6608 h 10000"/>
                <a:gd name="connsiteX57" fmla="*/ 9574 w 10000"/>
                <a:gd name="connsiteY57" fmla="*/ 7157 h 10000"/>
                <a:gd name="connsiteX58" fmla="*/ 9496 w 10000"/>
                <a:gd name="connsiteY58" fmla="*/ 7294 h 10000"/>
                <a:gd name="connsiteX59" fmla="*/ 9419 w 10000"/>
                <a:gd name="connsiteY59" fmla="*/ 7431 h 10000"/>
                <a:gd name="connsiteX60" fmla="*/ 8740 w 10000"/>
                <a:gd name="connsiteY60" fmla="*/ 7412 h 10000"/>
                <a:gd name="connsiteX61" fmla="*/ 8605 w 10000"/>
                <a:gd name="connsiteY61" fmla="*/ 7627 h 10000"/>
                <a:gd name="connsiteX62" fmla="*/ 8547 w 10000"/>
                <a:gd name="connsiteY62" fmla="*/ 7706 h 10000"/>
                <a:gd name="connsiteX63" fmla="*/ 8469 w 10000"/>
                <a:gd name="connsiteY63" fmla="*/ 7804 h 10000"/>
                <a:gd name="connsiteX64" fmla="*/ 8682 w 10000"/>
                <a:gd name="connsiteY64" fmla="*/ 8451 h 10000"/>
                <a:gd name="connsiteX65" fmla="*/ 8566 w 10000"/>
                <a:gd name="connsiteY65" fmla="*/ 8569 h 10000"/>
                <a:gd name="connsiteX66" fmla="*/ 8450 w 10000"/>
                <a:gd name="connsiteY66" fmla="*/ 8686 h 10000"/>
                <a:gd name="connsiteX67" fmla="*/ 7810 w 10000"/>
                <a:gd name="connsiteY67" fmla="*/ 8471 h 10000"/>
                <a:gd name="connsiteX68" fmla="*/ 7616 w 10000"/>
                <a:gd name="connsiteY68" fmla="*/ 8608 h 10000"/>
                <a:gd name="connsiteX69" fmla="*/ 7442 w 10000"/>
                <a:gd name="connsiteY69" fmla="*/ 8745 h 10000"/>
                <a:gd name="connsiteX70" fmla="*/ 7442 w 10000"/>
                <a:gd name="connsiteY70" fmla="*/ 9412 h 10000"/>
                <a:gd name="connsiteX71" fmla="*/ 7287 w 10000"/>
                <a:gd name="connsiteY71" fmla="*/ 9510 h 10000"/>
                <a:gd name="connsiteX72" fmla="*/ 7151 w 10000"/>
                <a:gd name="connsiteY72" fmla="*/ 9569 h 10000"/>
                <a:gd name="connsiteX73" fmla="*/ 6609 w 10000"/>
                <a:gd name="connsiteY73" fmla="*/ 9157 h 10000"/>
                <a:gd name="connsiteX74" fmla="*/ 6395 w 10000"/>
                <a:gd name="connsiteY74" fmla="*/ 9235 h 10000"/>
                <a:gd name="connsiteX75" fmla="*/ 6279 w 10000"/>
                <a:gd name="connsiteY75" fmla="*/ 9275 h 10000"/>
                <a:gd name="connsiteX76" fmla="*/ 6163 w 10000"/>
                <a:gd name="connsiteY76" fmla="*/ 9314 h 10000"/>
                <a:gd name="connsiteX77" fmla="*/ 5950 w 10000"/>
                <a:gd name="connsiteY77" fmla="*/ 9961 h 10000"/>
                <a:gd name="connsiteX78" fmla="*/ 5640 w 10000"/>
                <a:gd name="connsiteY78" fmla="*/ 10000 h 10000"/>
                <a:gd name="connsiteX79" fmla="*/ 5252 w 10000"/>
                <a:gd name="connsiteY79" fmla="*/ 9451 h 10000"/>
                <a:gd name="connsiteX80" fmla="*/ 5019 w 10000"/>
                <a:gd name="connsiteY80" fmla="*/ 9451 h 10000"/>
                <a:gd name="connsiteX81" fmla="*/ 4767 w 10000"/>
                <a:gd name="connsiteY81" fmla="*/ 9451 h 10000"/>
                <a:gd name="connsiteX82" fmla="*/ 4380 w 10000"/>
                <a:gd name="connsiteY82" fmla="*/ 10000 h 10000"/>
                <a:gd name="connsiteX83" fmla="*/ 4225 w 10000"/>
                <a:gd name="connsiteY83" fmla="*/ 9980 h 10000"/>
                <a:gd name="connsiteX84" fmla="*/ 4070 w 10000"/>
                <a:gd name="connsiteY84" fmla="*/ 9961 h 10000"/>
                <a:gd name="connsiteX85" fmla="*/ 3857 w 10000"/>
                <a:gd name="connsiteY85" fmla="*/ 9314 h 10000"/>
                <a:gd name="connsiteX86" fmla="*/ 3624 w 10000"/>
                <a:gd name="connsiteY86" fmla="*/ 9235 h 10000"/>
                <a:gd name="connsiteX87" fmla="*/ 3508 w 10000"/>
                <a:gd name="connsiteY87" fmla="*/ 9216 h 10000"/>
                <a:gd name="connsiteX88" fmla="*/ 3411 w 10000"/>
                <a:gd name="connsiteY88" fmla="*/ 9157 h 10000"/>
                <a:gd name="connsiteX89" fmla="*/ 2868 w 10000"/>
                <a:gd name="connsiteY89" fmla="*/ 9569 h 10000"/>
                <a:gd name="connsiteX90" fmla="*/ 2733 w 10000"/>
                <a:gd name="connsiteY90" fmla="*/ 9510 h 10000"/>
                <a:gd name="connsiteX91" fmla="*/ 2578 w 10000"/>
                <a:gd name="connsiteY91" fmla="*/ 9412 h 10000"/>
                <a:gd name="connsiteX92" fmla="*/ 2597 w 10000"/>
                <a:gd name="connsiteY92" fmla="*/ 8745 h 10000"/>
                <a:gd name="connsiteX93" fmla="*/ 2403 w 10000"/>
                <a:gd name="connsiteY93" fmla="*/ 8608 h 10000"/>
                <a:gd name="connsiteX94" fmla="*/ 2306 w 10000"/>
                <a:gd name="connsiteY94" fmla="*/ 8529 h 10000"/>
                <a:gd name="connsiteX95" fmla="*/ 2209 w 10000"/>
                <a:gd name="connsiteY95" fmla="*/ 8471 h 10000"/>
                <a:gd name="connsiteX96" fmla="*/ 1570 w 10000"/>
                <a:gd name="connsiteY96" fmla="*/ 8686 h 10000"/>
                <a:gd name="connsiteX97" fmla="*/ 1453 w 10000"/>
                <a:gd name="connsiteY97" fmla="*/ 8569 h 10000"/>
                <a:gd name="connsiteX98" fmla="*/ 1337 w 10000"/>
                <a:gd name="connsiteY98" fmla="*/ 8451 h 10000"/>
                <a:gd name="connsiteX99" fmla="*/ 1550 w 10000"/>
                <a:gd name="connsiteY99" fmla="*/ 7804 h 10000"/>
                <a:gd name="connsiteX100" fmla="*/ 1415 w 10000"/>
                <a:gd name="connsiteY100" fmla="*/ 7627 h 10000"/>
                <a:gd name="connsiteX101" fmla="*/ 1279 w 10000"/>
                <a:gd name="connsiteY101" fmla="*/ 7412 h 10000"/>
                <a:gd name="connsiteX102" fmla="*/ 601 w 10000"/>
                <a:gd name="connsiteY102" fmla="*/ 7431 h 10000"/>
                <a:gd name="connsiteX103" fmla="*/ 523 w 10000"/>
                <a:gd name="connsiteY103" fmla="*/ 7294 h 10000"/>
                <a:gd name="connsiteX104" fmla="*/ 446 w 10000"/>
                <a:gd name="connsiteY104" fmla="*/ 7157 h 10000"/>
                <a:gd name="connsiteX105" fmla="*/ 853 w 10000"/>
                <a:gd name="connsiteY105" fmla="*/ 6608 h 10000"/>
                <a:gd name="connsiteX106" fmla="*/ 775 w 10000"/>
                <a:gd name="connsiteY106" fmla="*/ 6392 h 10000"/>
                <a:gd name="connsiteX107" fmla="*/ 756 w 10000"/>
                <a:gd name="connsiteY107" fmla="*/ 6275 h 10000"/>
                <a:gd name="connsiteX108" fmla="*/ 717 w 10000"/>
                <a:gd name="connsiteY108" fmla="*/ 6157 h 10000"/>
                <a:gd name="connsiteX109" fmla="*/ 58 w 10000"/>
                <a:gd name="connsiteY109" fmla="*/ 5941 h 10000"/>
                <a:gd name="connsiteX110" fmla="*/ 0 w 10000"/>
                <a:gd name="connsiteY110" fmla="*/ 5627 h 10000"/>
                <a:gd name="connsiteX111" fmla="*/ 581 w 10000"/>
                <a:gd name="connsiteY111" fmla="*/ 5235 h 10000"/>
                <a:gd name="connsiteX112" fmla="*/ 562 w 10000"/>
                <a:gd name="connsiteY112" fmla="*/ 5000 h 10000"/>
                <a:gd name="connsiteX113" fmla="*/ 581 w 10000"/>
                <a:gd name="connsiteY113" fmla="*/ 4765 h 10000"/>
                <a:gd name="connsiteX114" fmla="*/ 0 w 10000"/>
                <a:gd name="connsiteY114" fmla="*/ 4392 h 10000"/>
                <a:gd name="connsiteX115" fmla="*/ 19 w 10000"/>
                <a:gd name="connsiteY115" fmla="*/ 4216 h 10000"/>
                <a:gd name="connsiteX116" fmla="*/ 58 w 10000"/>
                <a:gd name="connsiteY116" fmla="*/ 4059 h 10000"/>
                <a:gd name="connsiteX117" fmla="*/ 717 w 10000"/>
                <a:gd name="connsiteY117" fmla="*/ 3863 h 10000"/>
                <a:gd name="connsiteX118" fmla="*/ 775 w 10000"/>
                <a:gd name="connsiteY118" fmla="*/ 3627 h 10000"/>
                <a:gd name="connsiteX119" fmla="*/ 814 w 10000"/>
                <a:gd name="connsiteY119" fmla="*/ 3510 h 10000"/>
                <a:gd name="connsiteX120" fmla="*/ 853 w 10000"/>
                <a:gd name="connsiteY120" fmla="*/ 3392 h 10000"/>
                <a:gd name="connsiteX121" fmla="*/ 446 w 10000"/>
                <a:gd name="connsiteY121" fmla="*/ 2863 h 10000"/>
                <a:gd name="connsiteX122" fmla="*/ 523 w 10000"/>
                <a:gd name="connsiteY122" fmla="*/ 2706 h 10000"/>
                <a:gd name="connsiteX123" fmla="*/ 601 w 10000"/>
                <a:gd name="connsiteY123" fmla="*/ 2588 h 10000"/>
                <a:gd name="connsiteX124" fmla="*/ 1279 w 10000"/>
                <a:gd name="connsiteY124" fmla="*/ 2588 h 10000"/>
                <a:gd name="connsiteX0" fmla="*/ 1337 w 10000"/>
                <a:gd name="connsiteY0" fmla="*/ 1569 h 10000"/>
                <a:gd name="connsiteX1" fmla="*/ 1570 w 10000"/>
                <a:gd name="connsiteY1" fmla="*/ 1333 h 10000"/>
                <a:gd name="connsiteX2" fmla="*/ 2209 w 10000"/>
                <a:gd name="connsiteY2" fmla="*/ 1549 h 10000"/>
                <a:gd name="connsiteX3" fmla="*/ 2403 w 10000"/>
                <a:gd name="connsiteY3" fmla="*/ 1412 h 10000"/>
                <a:gd name="connsiteX4" fmla="*/ 2597 w 10000"/>
                <a:gd name="connsiteY4" fmla="*/ 1275 h 10000"/>
                <a:gd name="connsiteX5" fmla="*/ 2578 w 10000"/>
                <a:gd name="connsiteY5" fmla="*/ 588 h 10000"/>
                <a:gd name="connsiteX6" fmla="*/ 2733 w 10000"/>
                <a:gd name="connsiteY6" fmla="*/ 510 h 10000"/>
                <a:gd name="connsiteX7" fmla="*/ 2868 w 10000"/>
                <a:gd name="connsiteY7" fmla="*/ 451 h 10000"/>
                <a:gd name="connsiteX8" fmla="*/ 3411 w 10000"/>
                <a:gd name="connsiteY8" fmla="*/ 843 h 10000"/>
                <a:gd name="connsiteX9" fmla="*/ 3624 w 10000"/>
                <a:gd name="connsiteY9" fmla="*/ 765 h 10000"/>
                <a:gd name="connsiteX10" fmla="*/ 3740 w 10000"/>
                <a:gd name="connsiteY10" fmla="*/ 725 h 10000"/>
                <a:gd name="connsiteX11" fmla="*/ 3857 w 10000"/>
                <a:gd name="connsiteY11" fmla="*/ 706 h 10000"/>
                <a:gd name="connsiteX12" fmla="*/ 4070 w 10000"/>
                <a:gd name="connsiteY12" fmla="*/ 59 h 10000"/>
                <a:gd name="connsiteX13" fmla="*/ 4380 w 10000"/>
                <a:gd name="connsiteY13" fmla="*/ 0 h 10000"/>
                <a:gd name="connsiteX14" fmla="*/ 4767 w 10000"/>
                <a:gd name="connsiteY14" fmla="*/ 569 h 10000"/>
                <a:gd name="connsiteX15" fmla="*/ 5019 w 10000"/>
                <a:gd name="connsiteY15" fmla="*/ 549 h 10000"/>
                <a:gd name="connsiteX16" fmla="*/ 5252 w 10000"/>
                <a:gd name="connsiteY16" fmla="*/ 569 h 10000"/>
                <a:gd name="connsiteX17" fmla="*/ 5640 w 10000"/>
                <a:gd name="connsiteY17" fmla="*/ 0 h 10000"/>
                <a:gd name="connsiteX18" fmla="*/ 5795 w 10000"/>
                <a:gd name="connsiteY18" fmla="*/ 20 h 10000"/>
                <a:gd name="connsiteX19" fmla="*/ 5950 w 10000"/>
                <a:gd name="connsiteY19" fmla="*/ 59 h 10000"/>
                <a:gd name="connsiteX20" fmla="*/ 6163 w 10000"/>
                <a:gd name="connsiteY20" fmla="*/ 706 h 10000"/>
                <a:gd name="connsiteX21" fmla="*/ 6395 w 10000"/>
                <a:gd name="connsiteY21" fmla="*/ 765 h 10000"/>
                <a:gd name="connsiteX22" fmla="*/ 6492 w 10000"/>
                <a:gd name="connsiteY22" fmla="*/ 804 h 10000"/>
                <a:gd name="connsiteX23" fmla="*/ 6609 w 10000"/>
                <a:gd name="connsiteY23" fmla="*/ 843 h 10000"/>
                <a:gd name="connsiteX24" fmla="*/ 7151 w 10000"/>
                <a:gd name="connsiteY24" fmla="*/ 451 h 10000"/>
                <a:gd name="connsiteX25" fmla="*/ 7287 w 10000"/>
                <a:gd name="connsiteY25" fmla="*/ 510 h 10000"/>
                <a:gd name="connsiteX26" fmla="*/ 7442 w 10000"/>
                <a:gd name="connsiteY26" fmla="*/ 588 h 10000"/>
                <a:gd name="connsiteX27" fmla="*/ 7442 w 10000"/>
                <a:gd name="connsiteY27" fmla="*/ 1275 h 10000"/>
                <a:gd name="connsiteX28" fmla="*/ 7616 w 10000"/>
                <a:gd name="connsiteY28" fmla="*/ 1412 h 10000"/>
                <a:gd name="connsiteX29" fmla="*/ 7713 w 10000"/>
                <a:gd name="connsiteY29" fmla="*/ 1471 h 10000"/>
                <a:gd name="connsiteX30" fmla="*/ 7810 w 10000"/>
                <a:gd name="connsiteY30" fmla="*/ 1549 h 10000"/>
                <a:gd name="connsiteX31" fmla="*/ 8450 w 10000"/>
                <a:gd name="connsiteY31" fmla="*/ 1333 h 10000"/>
                <a:gd name="connsiteX32" fmla="*/ 8566 w 10000"/>
                <a:gd name="connsiteY32" fmla="*/ 1451 h 10000"/>
                <a:gd name="connsiteX33" fmla="*/ 8682 w 10000"/>
                <a:gd name="connsiteY33" fmla="*/ 1569 h 10000"/>
                <a:gd name="connsiteX34" fmla="*/ 8469 w 10000"/>
                <a:gd name="connsiteY34" fmla="*/ 2216 h 10000"/>
                <a:gd name="connsiteX35" fmla="*/ 8605 w 10000"/>
                <a:gd name="connsiteY35" fmla="*/ 2392 h 10000"/>
                <a:gd name="connsiteX36" fmla="*/ 8740 w 10000"/>
                <a:gd name="connsiteY36" fmla="*/ 2588 h 10000"/>
                <a:gd name="connsiteX37" fmla="*/ 9419 w 10000"/>
                <a:gd name="connsiteY37" fmla="*/ 2588 h 10000"/>
                <a:gd name="connsiteX38" fmla="*/ 9496 w 10000"/>
                <a:gd name="connsiteY38" fmla="*/ 2706 h 10000"/>
                <a:gd name="connsiteX39" fmla="*/ 9574 w 10000"/>
                <a:gd name="connsiteY39" fmla="*/ 2863 h 10000"/>
                <a:gd name="connsiteX40" fmla="*/ 9167 w 10000"/>
                <a:gd name="connsiteY40" fmla="*/ 3392 h 10000"/>
                <a:gd name="connsiteX41" fmla="*/ 9244 w 10000"/>
                <a:gd name="connsiteY41" fmla="*/ 3627 h 10000"/>
                <a:gd name="connsiteX42" fmla="*/ 9283 w 10000"/>
                <a:gd name="connsiteY42" fmla="*/ 3745 h 10000"/>
                <a:gd name="connsiteX43" fmla="*/ 9302 w 10000"/>
                <a:gd name="connsiteY43" fmla="*/ 3863 h 10000"/>
                <a:gd name="connsiteX44" fmla="*/ 9961 w 10000"/>
                <a:gd name="connsiteY44" fmla="*/ 4059 h 10000"/>
                <a:gd name="connsiteX45" fmla="*/ 10000 w 10000"/>
                <a:gd name="connsiteY45" fmla="*/ 4392 h 10000"/>
                <a:gd name="connsiteX46" fmla="*/ 9438 w 10000"/>
                <a:gd name="connsiteY46" fmla="*/ 4765 h 10000"/>
                <a:gd name="connsiteX47" fmla="*/ 9457 w 10000"/>
                <a:gd name="connsiteY47" fmla="*/ 5000 h 10000"/>
                <a:gd name="connsiteX48" fmla="*/ 9438 w 10000"/>
                <a:gd name="connsiteY48" fmla="*/ 5235 h 10000"/>
                <a:gd name="connsiteX49" fmla="*/ 10000 w 10000"/>
                <a:gd name="connsiteY49" fmla="*/ 5627 h 10000"/>
                <a:gd name="connsiteX50" fmla="*/ 9981 w 10000"/>
                <a:gd name="connsiteY50" fmla="*/ 5784 h 10000"/>
                <a:gd name="connsiteX51" fmla="*/ 9961 w 10000"/>
                <a:gd name="connsiteY51" fmla="*/ 5941 h 10000"/>
                <a:gd name="connsiteX52" fmla="*/ 9302 w 10000"/>
                <a:gd name="connsiteY52" fmla="*/ 6157 h 10000"/>
                <a:gd name="connsiteX53" fmla="*/ 9244 w 10000"/>
                <a:gd name="connsiteY53" fmla="*/ 6392 h 10000"/>
                <a:gd name="connsiteX54" fmla="*/ 9205 w 10000"/>
                <a:gd name="connsiteY54" fmla="*/ 6490 h 10000"/>
                <a:gd name="connsiteX55" fmla="*/ 9167 w 10000"/>
                <a:gd name="connsiteY55" fmla="*/ 6608 h 10000"/>
                <a:gd name="connsiteX56" fmla="*/ 9574 w 10000"/>
                <a:gd name="connsiteY56" fmla="*/ 7157 h 10000"/>
                <a:gd name="connsiteX57" fmla="*/ 9496 w 10000"/>
                <a:gd name="connsiteY57" fmla="*/ 7294 h 10000"/>
                <a:gd name="connsiteX58" fmla="*/ 9419 w 10000"/>
                <a:gd name="connsiteY58" fmla="*/ 7431 h 10000"/>
                <a:gd name="connsiteX59" fmla="*/ 8740 w 10000"/>
                <a:gd name="connsiteY59" fmla="*/ 7412 h 10000"/>
                <a:gd name="connsiteX60" fmla="*/ 8605 w 10000"/>
                <a:gd name="connsiteY60" fmla="*/ 7627 h 10000"/>
                <a:gd name="connsiteX61" fmla="*/ 8547 w 10000"/>
                <a:gd name="connsiteY61" fmla="*/ 7706 h 10000"/>
                <a:gd name="connsiteX62" fmla="*/ 8469 w 10000"/>
                <a:gd name="connsiteY62" fmla="*/ 7804 h 10000"/>
                <a:gd name="connsiteX63" fmla="*/ 8682 w 10000"/>
                <a:gd name="connsiteY63" fmla="*/ 8451 h 10000"/>
                <a:gd name="connsiteX64" fmla="*/ 8566 w 10000"/>
                <a:gd name="connsiteY64" fmla="*/ 8569 h 10000"/>
                <a:gd name="connsiteX65" fmla="*/ 8450 w 10000"/>
                <a:gd name="connsiteY65" fmla="*/ 8686 h 10000"/>
                <a:gd name="connsiteX66" fmla="*/ 7810 w 10000"/>
                <a:gd name="connsiteY66" fmla="*/ 8471 h 10000"/>
                <a:gd name="connsiteX67" fmla="*/ 7616 w 10000"/>
                <a:gd name="connsiteY67" fmla="*/ 8608 h 10000"/>
                <a:gd name="connsiteX68" fmla="*/ 7442 w 10000"/>
                <a:gd name="connsiteY68" fmla="*/ 8745 h 10000"/>
                <a:gd name="connsiteX69" fmla="*/ 7442 w 10000"/>
                <a:gd name="connsiteY69" fmla="*/ 9412 h 10000"/>
                <a:gd name="connsiteX70" fmla="*/ 7287 w 10000"/>
                <a:gd name="connsiteY70" fmla="*/ 9510 h 10000"/>
                <a:gd name="connsiteX71" fmla="*/ 7151 w 10000"/>
                <a:gd name="connsiteY71" fmla="*/ 9569 h 10000"/>
                <a:gd name="connsiteX72" fmla="*/ 6609 w 10000"/>
                <a:gd name="connsiteY72" fmla="*/ 9157 h 10000"/>
                <a:gd name="connsiteX73" fmla="*/ 6395 w 10000"/>
                <a:gd name="connsiteY73" fmla="*/ 9235 h 10000"/>
                <a:gd name="connsiteX74" fmla="*/ 6279 w 10000"/>
                <a:gd name="connsiteY74" fmla="*/ 9275 h 10000"/>
                <a:gd name="connsiteX75" fmla="*/ 6163 w 10000"/>
                <a:gd name="connsiteY75" fmla="*/ 9314 h 10000"/>
                <a:gd name="connsiteX76" fmla="*/ 5950 w 10000"/>
                <a:gd name="connsiteY76" fmla="*/ 9961 h 10000"/>
                <a:gd name="connsiteX77" fmla="*/ 5640 w 10000"/>
                <a:gd name="connsiteY77" fmla="*/ 10000 h 10000"/>
                <a:gd name="connsiteX78" fmla="*/ 5252 w 10000"/>
                <a:gd name="connsiteY78" fmla="*/ 9451 h 10000"/>
                <a:gd name="connsiteX79" fmla="*/ 5019 w 10000"/>
                <a:gd name="connsiteY79" fmla="*/ 9451 h 10000"/>
                <a:gd name="connsiteX80" fmla="*/ 4767 w 10000"/>
                <a:gd name="connsiteY80" fmla="*/ 9451 h 10000"/>
                <a:gd name="connsiteX81" fmla="*/ 4380 w 10000"/>
                <a:gd name="connsiteY81" fmla="*/ 10000 h 10000"/>
                <a:gd name="connsiteX82" fmla="*/ 4225 w 10000"/>
                <a:gd name="connsiteY82" fmla="*/ 9980 h 10000"/>
                <a:gd name="connsiteX83" fmla="*/ 4070 w 10000"/>
                <a:gd name="connsiteY83" fmla="*/ 9961 h 10000"/>
                <a:gd name="connsiteX84" fmla="*/ 3857 w 10000"/>
                <a:gd name="connsiteY84" fmla="*/ 9314 h 10000"/>
                <a:gd name="connsiteX85" fmla="*/ 3624 w 10000"/>
                <a:gd name="connsiteY85" fmla="*/ 9235 h 10000"/>
                <a:gd name="connsiteX86" fmla="*/ 3508 w 10000"/>
                <a:gd name="connsiteY86" fmla="*/ 9216 h 10000"/>
                <a:gd name="connsiteX87" fmla="*/ 3411 w 10000"/>
                <a:gd name="connsiteY87" fmla="*/ 9157 h 10000"/>
                <a:gd name="connsiteX88" fmla="*/ 2868 w 10000"/>
                <a:gd name="connsiteY88" fmla="*/ 9569 h 10000"/>
                <a:gd name="connsiteX89" fmla="*/ 2733 w 10000"/>
                <a:gd name="connsiteY89" fmla="*/ 9510 h 10000"/>
                <a:gd name="connsiteX90" fmla="*/ 2578 w 10000"/>
                <a:gd name="connsiteY90" fmla="*/ 9412 h 10000"/>
                <a:gd name="connsiteX91" fmla="*/ 2597 w 10000"/>
                <a:gd name="connsiteY91" fmla="*/ 8745 h 10000"/>
                <a:gd name="connsiteX92" fmla="*/ 2403 w 10000"/>
                <a:gd name="connsiteY92" fmla="*/ 8608 h 10000"/>
                <a:gd name="connsiteX93" fmla="*/ 2306 w 10000"/>
                <a:gd name="connsiteY93" fmla="*/ 8529 h 10000"/>
                <a:gd name="connsiteX94" fmla="*/ 2209 w 10000"/>
                <a:gd name="connsiteY94" fmla="*/ 8471 h 10000"/>
                <a:gd name="connsiteX95" fmla="*/ 1570 w 10000"/>
                <a:gd name="connsiteY95" fmla="*/ 8686 h 10000"/>
                <a:gd name="connsiteX96" fmla="*/ 1453 w 10000"/>
                <a:gd name="connsiteY96" fmla="*/ 8569 h 10000"/>
                <a:gd name="connsiteX97" fmla="*/ 1337 w 10000"/>
                <a:gd name="connsiteY97" fmla="*/ 8451 h 10000"/>
                <a:gd name="connsiteX98" fmla="*/ 1550 w 10000"/>
                <a:gd name="connsiteY98" fmla="*/ 7804 h 10000"/>
                <a:gd name="connsiteX99" fmla="*/ 1415 w 10000"/>
                <a:gd name="connsiteY99" fmla="*/ 7627 h 10000"/>
                <a:gd name="connsiteX100" fmla="*/ 1279 w 10000"/>
                <a:gd name="connsiteY100" fmla="*/ 7412 h 10000"/>
                <a:gd name="connsiteX101" fmla="*/ 601 w 10000"/>
                <a:gd name="connsiteY101" fmla="*/ 7431 h 10000"/>
                <a:gd name="connsiteX102" fmla="*/ 523 w 10000"/>
                <a:gd name="connsiteY102" fmla="*/ 7294 h 10000"/>
                <a:gd name="connsiteX103" fmla="*/ 446 w 10000"/>
                <a:gd name="connsiteY103" fmla="*/ 7157 h 10000"/>
                <a:gd name="connsiteX104" fmla="*/ 853 w 10000"/>
                <a:gd name="connsiteY104" fmla="*/ 6608 h 10000"/>
                <a:gd name="connsiteX105" fmla="*/ 775 w 10000"/>
                <a:gd name="connsiteY105" fmla="*/ 6392 h 10000"/>
                <a:gd name="connsiteX106" fmla="*/ 756 w 10000"/>
                <a:gd name="connsiteY106" fmla="*/ 6275 h 10000"/>
                <a:gd name="connsiteX107" fmla="*/ 717 w 10000"/>
                <a:gd name="connsiteY107" fmla="*/ 6157 h 10000"/>
                <a:gd name="connsiteX108" fmla="*/ 58 w 10000"/>
                <a:gd name="connsiteY108" fmla="*/ 5941 h 10000"/>
                <a:gd name="connsiteX109" fmla="*/ 0 w 10000"/>
                <a:gd name="connsiteY109" fmla="*/ 5627 h 10000"/>
                <a:gd name="connsiteX110" fmla="*/ 581 w 10000"/>
                <a:gd name="connsiteY110" fmla="*/ 5235 h 10000"/>
                <a:gd name="connsiteX111" fmla="*/ 562 w 10000"/>
                <a:gd name="connsiteY111" fmla="*/ 5000 h 10000"/>
                <a:gd name="connsiteX112" fmla="*/ 581 w 10000"/>
                <a:gd name="connsiteY112" fmla="*/ 4765 h 10000"/>
                <a:gd name="connsiteX113" fmla="*/ 0 w 10000"/>
                <a:gd name="connsiteY113" fmla="*/ 4392 h 10000"/>
                <a:gd name="connsiteX114" fmla="*/ 19 w 10000"/>
                <a:gd name="connsiteY114" fmla="*/ 4216 h 10000"/>
                <a:gd name="connsiteX115" fmla="*/ 58 w 10000"/>
                <a:gd name="connsiteY115" fmla="*/ 4059 h 10000"/>
                <a:gd name="connsiteX116" fmla="*/ 717 w 10000"/>
                <a:gd name="connsiteY116" fmla="*/ 3863 h 10000"/>
                <a:gd name="connsiteX117" fmla="*/ 775 w 10000"/>
                <a:gd name="connsiteY117" fmla="*/ 3627 h 10000"/>
                <a:gd name="connsiteX118" fmla="*/ 814 w 10000"/>
                <a:gd name="connsiteY118" fmla="*/ 3510 h 10000"/>
                <a:gd name="connsiteX119" fmla="*/ 853 w 10000"/>
                <a:gd name="connsiteY119" fmla="*/ 3392 h 10000"/>
                <a:gd name="connsiteX120" fmla="*/ 446 w 10000"/>
                <a:gd name="connsiteY120" fmla="*/ 2863 h 10000"/>
                <a:gd name="connsiteX121" fmla="*/ 523 w 10000"/>
                <a:gd name="connsiteY121" fmla="*/ 2706 h 10000"/>
                <a:gd name="connsiteX122" fmla="*/ 601 w 10000"/>
                <a:gd name="connsiteY122" fmla="*/ 2588 h 10000"/>
                <a:gd name="connsiteX123" fmla="*/ 1279 w 10000"/>
                <a:gd name="connsiteY123" fmla="*/ 2588 h 10000"/>
                <a:gd name="connsiteX0" fmla="*/ 1570 w 10000"/>
                <a:gd name="connsiteY0" fmla="*/ 1333 h 10000"/>
                <a:gd name="connsiteX1" fmla="*/ 2209 w 10000"/>
                <a:gd name="connsiteY1" fmla="*/ 1549 h 10000"/>
                <a:gd name="connsiteX2" fmla="*/ 2403 w 10000"/>
                <a:gd name="connsiteY2" fmla="*/ 1412 h 10000"/>
                <a:gd name="connsiteX3" fmla="*/ 2597 w 10000"/>
                <a:gd name="connsiteY3" fmla="*/ 1275 h 10000"/>
                <a:gd name="connsiteX4" fmla="*/ 2578 w 10000"/>
                <a:gd name="connsiteY4" fmla="*/ 588 h 10000"/>
                <a:gd name="connsiteX5" fmla="*/ 2733 w 10000"/>
                <a:gd name="connsiteY5" fmla="*/ 510 h 10000"/>
                <a:gd name="connsiteX6" fmla="*/ 2868 w 10000"/>
                <a:gd name="connsiteY6" fmla="*/ 451 h 10000"/>
                <a:gd name="connsiteX7" fmla="*/ 3411 w 10000"/>
                <a:gd name="connsiteY7" fmla="*/ 843 h 10000"/>
                <a:gd name="connsiteX8" fmla="*/ 3624 w 10000"/>
                <a:gd name="connsiteY8" fmla="*/ 765 h 10000"/>
                <a:gd name="connsiteX9" fmla="*/ 3740 w 10000"/>
                <a:gd name="connsiteY9" fmla="*/ 725 h 10000"/>
                <a:gd name="connsiteX10" fmla="*/ 3857 w 10000"/>
                <a:gd name="connsiteY10" fmla="*/ 706 h 10000"/>
                <a:gd name="connsiteX11" fmla="*/ 4070 w 10000"/>
                <a:gd name="connsiteY11" fmla="*/ 59 h 10000"/>
                <a:gd name="connsiteX12" fmla="*/ 4380 w 10000"/>
                <a:gd name="connsiteY12" fmla="*/ 0 h 10000"/>
                <a:gd name="connsiteX13" fmla="*/ 4767 w 10000"/>
                <a:gd name="connsiteY13" fmla="*/ 569 h 10000"/>
                <a:gd name="connsiteX14" fmla="*/ 5019 w 10000"/>
                <a:gd name="connsiteY14" fmla="*/ 549 h 10000"/>
                <a:gd name="connsiteX15" fmla="*/ 5252 w 10000"/>
                <a:gd name="connsiteY15" fmla="*/ 569 h 10000"/>
                <a:gd name="connsiteX16" fmla="*/ 5640 w 10000"/>
                <a:gd name="connsiteY16" fmla="*/ 0 h 10000"/>
                <a:gd name="connsiteX17" fmla="*/ 5795 w 10000"/>
                <a:gd name="connsiteY17" fmla="*/ 20 h 10000"/>
                <a:gd name="connsiteX18" fmla="*/ 5950 w 10000"/>
                <a:gd name="connsiteY18" fmla="*/ 59 h 10000"/>
                <a:gd name="connsiteX19" fmla="*/ 6163 w 10000"/>
                <a:gd name="connsiteY19" fmla="*/ 706 h 10000"/>
                <a:gd name="connsiteX20" fmla="*/ 6395 w 10000"/>
                <a:gd name="connsiteY20" fmla="*/ 765 h 10000"/>
                <a:gd name="connsiteX21" fmla="*/ 6492 w 10000"/>
                <a:gd name="connsiteY21" fmla="*/ 804 h 10000"/>
                <a:gd name="connsiteX22" fmla="*/ 6609 w 10000"/>
                <a:gd name="connsiteY22" fmla="*/ 843 h 10000"/>
                <a:gd name="connsiteX23" fmla="*/ 7151 w 10000"/>
                <a:gd name="connsiteY23" fmla="*/ 451 h 10000"/>
                <a:gd name="connsiteX24" fmla="*/ 7287 w 10000"/>
                <a:gd name="connsiteY24" fmla="*/ 510 h 10000"/>
                <a:gd name="connsiteX25" fmla="*/ 7442 w 10000"/>
                <a:gd name="connsiteY25" fmla="*/ 588 h 10000"/>
                <a:gd name="connsiteX26" fmla="*/ 7442 w 10000"/>
                <a:gd name="connsiteY26" fmla="*/ 1275 h 10000"/>
                <a:gd name="connsiteX27" fmla="*/ 7616 w 10000"/>
                <a:gd name="connsiteY27" fmla="*/ 1412 h 10000"/>
                <a:gd name="connsiteX28" fmla="*/ 7713 w 10000"/>
                <a:gd name="connsiteY28" fmla="*/ 1471 h 10000"/>
                <a:gd name="connsiteX29" fmla="*/ 7810 w 10000"/>
                <a:gd name="connsiteY29" fmla="*/ 1549 h 10000"/>
                <a:gd name="connsiteX30" fmla="*/ 8450 w 10000"/>
                <a:gd name="connsiteY30" fmla="*/ 1333 h 10000"/>
                <a:gd name="connsiteX31" fmla="*/ 8566 w 10000"/>
                <a:gd name="connsiteY31" fmla="*/ 1451 h 10000"/>
                <a:gd name="connsiteX32" fmla="*/ 8682 w 10000"/>
                <a:gd name="connsiteY32" fmla="*/ 1569 h 10000"/>
                <a:gd name="connsiteX33" fmla="*/ 8469 w 10000"/>
                <a:gd name="connsiteY33" fmla="*/ 2216 h 10000"/>
                <a:gd name="connsiteX34" fmla="*/ 8605 w 10000"/>
                <a:gd name="connsiteY34" fmla="*/ 2392 h 10000"/>
                <a:gd name="connsiteX35" fmla="*/ 8740 w 10000"/>
                <a:gd name="connsiteY35" fmla="*/ 2588 h 10000"/>
                <a:gd name="connsiteX36" fmla="*/ 9419 w 10000"/>
                <a:gd name="connsiteY36" fmla="*/ 2588 h 10000"/>
                <a:gd name="connsiteX37" fmla="*/ 9496 w 10000"/>
                <a:gd name="connsiteY37" fmla="*/ 2706 h 10000"/>
                <a:gd name="connsiteX38" fmla="*/ 9574 w 10000"/>
                <a:gd name="connsiteY38" fmla="*/ 2863 h 10000"/>
                <a:gd name="connsiteX39" fmla="*/ 9167 w 10000"/>
                <a:gd name="connsiteY39" fmla="*/ 3392 h 10000"/>
                <a:gd name="connsiteX40" fmla="*/ 9244 w 10000"/>
                <a:gd name="connsiteY40" fmla="*/ 3627 h 10000"/>
                <a:gd name="connsiteX41" fmla="*/ 9283 w 10000"/>
                <a:gd name="connsiteY41" fmla="*/ 3745 h 10000"/>
                <a:gd name="connsiteX42" fmla="*/ 9302 w 10000"/>
                <a:gd name="connsiteY42" fmla="*/ 3863 h 10000"/>
                <a:gd name="connsiteX43" fmla="*/ 9961 w 10000"/>
                <a:gd name="connsiteY43" fmla="*/ 4059 h 10000"/>
                <a:gd name="connsiteX44" fmla="*/ 10000 w 10000"/>
                <a:gd name="connsiteY44" fmla="*/ 4392 h 10000"/>
                <a:gd name="connsiteX45" fmla="*/ 9438 w 10000"/>
                <a:gd name="connsiteY45" fmla="*/ 4765 h 10000"/>
                <a:gd name="connsiteX46" fmla="*/ 9457 w 10000"/>
                <a:gd name="connsiteY46" fmla="*/ 5000 h 10000"/>
                <a:gd name="connsiteX47" fmla="*/ 9438 w 10000"/>
                <a:gd name="connsiteY47" fmla="*/ 5235 h 10000"/>
                <a:gd name="connsiteX48" fmla="*/ 10000 w 10000"/>
                <a:gd name="connsiteY48" fmla="*/ 5627 h 10000"/>
                <a:gd name="connsiteX49" fmla="*/ 9981 w 10000"/>
                <a:gd name="connsiteY49" fmla="*/ 5784 h 10000"/>
                <a:gd name="connsiteX50" fmla="*/ 9961 w 10000"/>
                <a:gd name="connsiteY50" fmla="*/ 5941 h 10000"/>
                <a:gd name="connsiteX51" fmla="*/ 9302 w 10000"/>
                <a:gd name="connsiteY51" fmla="*/ 6157 h 10000"/>
                <a:gd name="connsiteX52" fmla="*/ 9244 w 10000"/>
                <a:gd name="connsiteY52" fmla="*/ 6392 h 10000"/>
                <a:gd name="connsiteX53" fmla="*/ 9205 w 10000"/>
                <a:gd name="connsiteY53" fmla="*/ 6490 h 10000"/>
                <a:gd name="connsiteX54" fmla="*/ 9167 w 10000"/>
                <a:gd name="connsiteY54" fmla="*/ 6608 h 10000"/>
                <a:gd name="connsiteX55" fmla="*/ 9574 w 10000"/>
                <a:gd name="connsiteY55" fmla="*/ 7157 h 10000"/>
                <a:gd name="connsiteX56" fmla="*/ 9496 w 10000"/>
                <a:gd name="connsiteY56" fmla="*/ 7294 h 10000"/>
                <a:gd name="connsiteX57" fmla="*/ 9419 w 10000"/>
                <a:gd name="connsiteY57" fmla="*/ 7431 h 10000"/>
                <a:gd name="connsiteX58" fmla="*/ 8740 w 10000"/>
                <a:gd name="connsiteY58" fmla="*/ 7412 h 10000"/>
                <a:gd name="connsiteX59" fmla="*/ 8605 w 10000"/>
                <a:gd name="connsiteY59" fmla="*/ 7627 h 10000"/>
                <a:gd name="connsiteX60" fmla="*/ 8547 w 10000"/>
                <a:gd name="connsiteY60" fmla="*/ 7706 h 10000"/>
                <a:gd name="connsiteX61" fmla="*/ 8469 w 10000"/>
                <a:gd name="connsiteY61" fmla="*/ 7804 h 10000"/>
                <a:gd name="connsiteX62" fmla="*/ 8682 w 10000"/>
                <a:gd name="connsiteY62" fmla="*/ 8451 h 10000"/>
                <a:gd name="connsiteX63" fmla="*/ 8566 w 10000"/>
                <a:gd name="connsiteY63" fmla="*/ 8569 h 10000"/>
                <a:gd name="connsiteX64" fmla="*/ 8450 w 10000"/>
                <a:gd name="connsiteY64" fmla="*/ 8686 h 10000"/>
                <a:gd name="connsiteX65" fmla="*/ 7810 w 10000"/>
                <a:gd name="connsiteY65" fmla="*/ 8471 h 10000"/>
                <a:gd name="connsiteX66" fmla="*/ 7616 w 10000"/>
                <a:gd name="connsiteY66" fmla="*/ 8608 h 10000"/>
                <a:gd name="connsiteX67" fmla="*/ 7442 w 10000"/>
                <a:gd name="connsiteY67" fmla="*/ 8745 h 10000"/>
                <a:gd name="connsiteX68" fmla="*/ 7442 w 10000"/>
                <a:gd name="connsiteY68" fmla="*/ 9412 h 10000"/>
                <a:gd name="connsiteX69" fmla="*/ 7287 w 10000"/>
                <a:gd name="connsiteY69" fmla="*/ 9510 h 10000"/>
                <a:gd name="connsiteX70" fmla="*/ 7151 w 10000"/>
                <a:gd name="connsiteY70" fmla="*/ 9569 h 10000"/>
                <a:gd name="connsiteX71" fmla="*/ 6609 w 10000"/>
                <a:gd name="connsiteY71" fmla="*/ 9157 h 10000"/>
                <a:gd name="connsiteX72" fmla="*/ 6395 w 10000"/>
                <a:gd name="connsiteY72" fmla="*/ 9235 h 10000"/>
                <a:gd name="connsiteX73" fmla="*/ 6279 w 10000"/>
                <a:gd name="connsiteY73" fmla="*/ 9275 h 10000"/>
                <a:gd name="connsiteX74" fmla="*/ 6163 w 10000"/>
                <a:gd name="connsiteY74" fmla="*/ 9314 h 10000"/>
                <a:gd name="connsiteX75" fmla="*/ 5950 w 10000"/>
                <a:gd name="connsiteY75" fmla="*/ 9961 h 10000"/>
                <a:gd name="connsiteX76" fmla="*/ 5640 w 10000"/>
                <a:gd name="connsiteY76" fmla="*/ 10000 h 10000"/>
                <a:gd name="connsiteX77" fmla="*/ 5252 w 10000"/>
                <a:gd name="connsiteY77" fmla="*/ 9451 h 10000"/>
                <a:gd name="connsiteX78" fmla="*/ 5019 w 10000"/>
                <a:gd name="connsiteY78" fmla="*/ 9451 h 10000"/>
                <a:gd name="connsiteX79" fmla="*/ 4767 w 10000"/>
                <a:gd name="connsiteY79" fmla="*/ 9451 h 10000"/>
                <a:gd name="connsiteX80" fmla="*/ 4380 w 10000"/>
                <a:gd name="connsiteY80" fmla="*/ 10000 h 10000"/>
                <a:gd name="connsiteX81" fmla="*/ 4225 w 10000"/>
                <a:gd name="connsiteY81" fmla="*/ 9980 h 10000"/>
                <a:gd name="connsiteX82" fmla="*/ 4070 w 10000"/>
                <a:gd name="connsiteY82" fmla="*/ 9961 h 10000"/>
                <a:gd name="connsiteX83" fmla="*/ 3857 w 10000"/>
                <a:gd name="connsiteY83" fmla="*/ 9314 h 10000"/>
                <a:gd name="connsiteX84" fmla="*/ 3624 w 10000"/>
                <a:gd name="connsiteY84" fmla="*/ 9235 h 10000"/>
                <a:gd name="connsiteX85" fmla="*/ 3508 w 10000"/>
                <a:gd name="connsiteY85" fmla="*/ 9216 h 10000"/>
                <a:gd name="connsiteX86" fmla="*/ 3411 w 10000"/>
                <a:gd name="connsiteY86" fmla="*/ 9157 h 10000"/>
                <a:gd name="connsiteX87" fmla="*/ 2868 w 10000"/>
                <a:gd name="connsiteY87" fmla="*/ 9569 h 10000"/>
                <a:gd name="connsiteX88" fmla="*/ 2733 w 10000"/>
                <a:gd name="connsiteY88" fmla="*/ 9510 h 10000"/>
                <a:gd name="connsiteX89" fmla="*/ 2578 w 10000"/>
                <a:gd name="connsiteY89" fmla="*/ 9412 h 10000"/>
                <a:gd name="connsiteX90" fmla="*/ 2597 w 10000"/>
                <a:gd name="connsiteY90" fmla="*/ 8745 h 10000"/>
                <a:gd name="connsiteX91" fmla="*/ 2403 w 10000"/>
                <a:gd name="connsiteY91" fmla="*/ 8608 h 10000"/>
                <a:gd name="connsiteX92" fmla="*/ 2306 w 10000"/>
                <a:gd name="connsiteY92" fmla="*/ 8529 h 10000"/>
                <a:gd name="connsiteX93" fmla="*/ 2209 w 10000"/>
                <a:gd name="connsiteY93" fmla="*/ 8471 h 10000"/>
                <a:gd name="connsiteX94" fmla="*/ 1570 w 10000"/>
                <a:gd name="connsiteY94" fmla="*/ 8686 h 10000"/>
                <a:gd name="connsiteX95" fmla="*/ 1453 w 10000"/>
                <a:gd name="connsiteY95" fmla="*/ 8569 h 10000"/>
                <a:gd name="connsiteX96" fmla="*/ 1337 w 10000"/>
                <a:gd name="connsiteY96" fmla="*/ 8451 h 10000"/>
                <a:gd name="connsiteX97" fmla="*/ 1550 w 10000"/>
                <a:gd name="connsiteY97" fmla="*/ 7804 h 10000"/>
                <a:gd name="connsiteX98" fmla="*/ 1415 w 10000"/>
                <a:gd name="connsiteY98" fmla="*/ 7627 h 10000"/>
                <a:gd name="connsiteX99" fmla="*/ 1279 w 10000"/>
                <a:gd name="connsiteY99" fmla="*/ 7412 h 10000"/>
                <a:gd name="connsiteX100" fmla="*/ 601 w 10000"/>
                <a:gd name="connsiteY100" fmla="*/ 7431 h 10000"/>
                <a:gd name="connsiteX101" fmla="*/ 523 w 10000"/>
                <a:gd name="connsiteY101" fmla="*/ 7294 h 10000"/>
                <a:gd name="connsiteX102" fmla="*/ 446 w 10000"/>
                <a:gd name="connsiteY102" fmla="*/ 7157 h 10000"/>
                <a:gd name="connsiteX103" fmla="*/ 853 w 10000"/>
                <a:gd name="connsiteY103" fmla="*/ 6608 h 10000"/>
                <a:gd name="connsiteX104" fmla="*/ 775 w 10000"/>
                <a:gd name="connsiteY104" fmla="*/ 6392 h 10000"/>
                <a:gd name="connsiteX105" fmla="*/ 756 w 10000"/>
                <a:gd name="connsiteY105" fmla="*/ 6275 h 10000"/>
                <a:gd name="connsiteX106" fmla="*/ 717 w 10000"/>
                <a:gd name="connsiteY106" fmla="*/ 6157 h 10000"/>
                <a:gd name="connsiteX107" fmla="*/ 58 w 10000"/>
                <a:gd name="connsiteY107" fmla="*/ 5941 h 10000"/>
                <a:gd name="connsiteX108" fmla="*/ 0 w 10000"/>
                <a:gd name="connsiteY108" fmla="*/ 5627 h 10000"/>
                <a:gd name="connsiteX109" fmla="*/ 581 w 10000"/>
                <a:gd name="connsiteY109" fmla="*/ 5235 h 10000"/>
                <a:gd name="connsiteX110" fmla="*/ 562 w 10000"/>
                <a:gd name="connsiteY110" fmla="*/ 5000 h 10000"/>
                <a:gd name="connsiteX111" fmla="*/ 581 w 10000"/>
                <a:gd name="connsiteY111" fmla="*/ 4765 h 10000"/>
                <a:gd name="connsiteX112" fmla="*/ 0 w 10000"/>
                <a:gd name="connsiteY112" fmla="*/ 4392 h 10000"/>
                <a:gd name="connsiteX113" fmla="*/ 19 w 10000"/>
                <a:gd name="connsiteY113" fmla="*/ 4216 h 10000"/>
                <a:gd name="connsiteX114" fmla="*/ 58 w 10000"/>
                <a:gd name="connsiteY114" fmla="*/ 4059 h 10000"/>
                <a:gd name="connsiteX115" fmla="*/ 717 w 10000"/>
                <a:gd name="connsiteY115" fmla="*/ 3863 h 10000"/>
                <a:gd name="connsiteX116" fmla="*/ 775 w 10000"/>
                <a:gd name="connsiteY116" fmla="*/ 3627 h 10000"/>
                <a:gd name="connsiteX117" fmla="*/ 814 w 10000"/>
                <a:gd name="connsiteY117" fmla="*/ 3510 h 10000"/>
                <a:gd name="connsiteX118" fmla="*/ 853 w 10000"/>
                <a:gd name="connsiteY118" fmla="*/ 3392 h 10000"/>
                <a:gd name="connsiteX119" fmla="*/ 446 w 10000"/>
                <a:gd name="connsiteY119" fmla="*/ 2863 h 10000"/>
                <a:gd name="connsiteX120" fmla="*/ 523 w 10000"/>
                <a:gd name="connsiteY120" fmla="*/ 2706 h 10000"/>
                <a:gd name="connsiteX121" fmla="*/ 601 w 10000"/>
                <a:gd name="connsiteY121" fmla="*/ 2588 h 10000"/>
                <a:gd name="connsiteX122" fmla="*/ 1279 w 10000"/>
                <a:gd name="connsiteY122" fmla="*/ 2588 h 10000"/>
                <a:gd name="connsiteX0" fmla="*/ 2209 w 10000"/>
                <a:gd name="connsiteY0" fmla="*/ 1549 h 10000"/>
                <a:gd name="connsiteX1" fmla="*/ 2403 w 10000"/>
                <a:gd name="connsiteY1" fmla="*/ 1412 h 10000"/>
                <a:gd name="connsiteX2" fmla="*/ 2597 w 10000"/>
                <a:gd name="connsiteY2" fmla="*/ 1275 h 10000"/>
                <a:gd name="connsiteX3" fmla="*/ 2578 w 10000"/>
                <a:gd name="connsiteY3" fmla="*/ 588 h 10000"/>
                <a:gd name="connsiteX4" fmla="*/ 2733 w 10000"/>
                <a:gd name="connsiteY4" fmla="*/ 510 h 10000"/>
                <a:gd name="connsiteX5" fmla="*/ 2868 w 10000"/>
                <a:gd name="connsiteY5" fmla="*/ 451 h 10000"/>
                <a:gd name="connsiteX6" fmla="*/ 3411 w 10000"/>
                <a:gd name="connsiteY6" fmla="*/ 843 h 10000"/>
                <a:gd name="connsiteX7" fmla="*/ 3624 w 10000"/>
                <a:gd name="connsiteY7" fmla="*/ 765 h 10000"/>
                <a:gd name="connsiteX8" fmla="*/ 3740 w 10000"/>
                <a:gd name="connsiteY8" fmla="*/ 725 h 10000"/>
                <a:gd name="connsiteX9" fmla="*/ 3857 w 10000"/>
                <a:gd name="connsiteY9" fmla="*/ 706 h 10000"/>
                <a:gd name="connsiteX10" fmla="*/ 4070 w 10000"/>
                <a:gd name="connsiteY10" fmla="*/ 59 h 10000"/>
                <a:gd name="connsiteX11" fmla="*/ 4380 w 10000"/>
                <a:gd name="connsiteY11" fmla="*/ 0 h 10000"/>
                <a:gd name="connsiteX12" fmla="*/ 4767 w 10000"/>
                <a:gd name="connsiteY12" fmla="*/ 569 h 10000"/>
                <a:gd name="connsiteX13" fmla="*/ 5019 w 10000"/>
                <a:gd name="connsiteY13" fmla="*/ 549 h 10000"/>
                <a:gd name="connsiteX14" fmla="*/ 5252 w 10000"/>
                <a:gd name="connsiteY14" fmla="*/ 569 h 10000"/>
                <a:gd name="connsiteX15" fmla="*/ 5640 w 10000"/>
                <a:gd name="connsiteY15" fmla="*/ 0 h 10000"/>
                <a:gd name="connsiteX16" fmla="*/ 5795 w 10000"/>
                <a:gd name="connsiteY16" fmla="*/ 20 h 10000"/>
                <a:gd name="connsiteX17" fmla="*/ 5950 w 10000"/>
                <a:gd name="connsiteY17" fmla="*/ 59 h 10000"/>
                <a:gd name="connsiteX18" fmla="*/ 6163 w 10000"/>
                <a:gd name="connsiteY18" fmla="*/ 706 h 10000"/>
                <a:gd name="connsiteX19" fmla="*/ 6395 w 10000"/>
                <a:gd name="connsiteY19" fmla="*/ 765 h 10000"/>
                <a:gd name="connsiteX20" fmla="*/ 6492 w 10000"/>
                <a:gd name="connsiteY20" fmla="*/ 804 h 10000"/>
                <a:gd name="connsiteX21" fmla="*/ 6609 w 10000"/>
                <a:gd name="connsiteY21" fmla="*/ 843 h 10000"/>
                <a:gd name="connsiteX22" fmla="*/ 7151 w 10000"/>
                <a:gd name="connsiteY22" fmla="*/ 451 h 10000"/>
                <a:gd name="connsiteX23" fmla="*/ 7287 w 10000"/>
                <a:gd name="connsiteY23" fmla="*/ 510 h 10000"/>
                <a:gd name="connsiteX24" fmla="*/ 7442 w 10000"/>
                <a:gd name="connsiteY24" fmla="*/ 588 h 10000"/>
                <a:gd name="connsiteX25" fmla="*/ 7442 w 10000"/>
                <a:gd name="connsiteY25" fmla="*/ 1275 h 10000"/>
                <a:gd name="connsiteX26" fmla="*/ 7616 w 10000"/>
                <a:gd name="connsiteY26" fmla="*/ 1412 h 10000"/>
                <a:gd name="connsiteX27" fmla="*/ 7713 w 10000"/>
                <a:gd name="connsiteY27" fmla="*/ 1471 h 10000"/>
                <a:gd name="connsiteX28" fmla="*/ 7810 w 10000"/>
                <a:gd name="connsiteY28" fmla="*/ 1549 h 10000"/>
                <a:gd name="connsiteX29" fmla="*/ 8450 w 10000"/>
                <a:gd name="connsiteY29" fmla="*/ 1333 h 10000"/>
                <a:gd name="connsiteX30" fmla="*/ 8566 w 10000"/>
                <a:gd name="connsiteY30" fmla="*/ 1451 h 10000"/>
                <a:gd name="connsiteX31" fmla="*/ 8682 w 10000"/>
                <a:gd name="connsiteY31" fmla="*/ 1569 h 10000"/>
                <a:gd name="connsiteX32" fmla="*/ 8469 w 10000"/>
                <a:gd name="connsiteY32" fmla="*/ 2216 h 10000"/>
                <a:gd name="connsiteX33" fmla="*/ 8605 w 10000"/>
                <a:gd name="connsiteY33" fmla="*/ 2392 h 10000"/>
                <a:gd name="connsiteX34" fmla="*/ 8740 w 10000"/>
                <a:gd name="connsiteY34" fmla="*/ 2588 h 10000"/>
                <a:gd name="connsiteX35" fmla="*/ 9419 w 10000"/>
                <a:gd name="connsiteY35" fmla="*/ 2588 h 10000"/>
                <a:gd name="connsiteX36" fmla="*/ 9496 w 10000"/>
                <a:gd name="connsiteY36" fmla="*/ 2706 h 10000"/>
                <a:gd name="connsiteX37" fmla="*/ 9574 w 10000"/>
                <a:gd name="connsiteY37" fmla="*/ 2863 h 10000"/>
                <a:gd name="connsiteX38" fmla="*/ 9167 w 10000"/>
                <a:gd name="connsiteY38" fmla="*/ 3392 h 10000"/>
                <a:gd name="connsiteX39" fmla="*/ 9244 w 10000"/>
                <a:gd name="connsiteY39" fmla="*/ 3627 h 10000"/>
                <a:gd name="connsiteX40" fmla="*/ 9283 w 10000"/>
                <a:gd name="connsiteY40" fmla="*/ 3745 h 10000"/>
                <a:gd name="connsiteX41" fmla="*/ 9302 w 10000"/>
                <a:gd name="connsiteY41" fmla="*/ 3863 h 10000"/>
                <a:gd name="connsiteX42" fmla="*/ 9961 w 10000"/>
                <a:gd name="connsiteY42" fmla="*/ 4059 h 10000"/>
                <a:gd name="connsiteX43" fmla="*/ 10000 w 10000"/>
                <a:gd name="connsiteY43" fmla="*/ 4392 h 10000"/>
                <a:gd name="connsiteX44" fmla="*/ 9438 w 10000"/>
                <a:gd name="connsiteY44" fmla="*/ 4765 h 10000"/>
                <a:gd name="connsiteX45" fmla="*/ 9457 w 10000"/>
                <a:gd name="connsiteY45" fmla="*/ 5000 h 10000"/>
                <a:gd name="connsiteX46" fmla="*/ 9438 w 10000"/>
                <a:gd name="connsiteY46" fmla="*/ 5235 h 10000"/>
                <a:gd name="connsiteX47" fmla="*/ 10000 w 10000"/>
                <a:gd name="connsiteY47" fmla="*/ 5627 h 10000"/>
                <a:gd name="connsiteX48" fmla="*/ 9981 w 10000"/>
                <a:gd name="connsiteY48" fmla="*/ 5784 h 10000"/>
                <a:gd name="connsiteX49" fmla="*/ 9961 w 10000"/>
                <a:gd name="connsiteY49" fmla="*/ 5941 h 10000"/>
                <a:gd name="connsiteX50" fmla="*/ 9302 w 10000"/>
                <a:gd name="connsiteY50" fmla="*/ 6157 h 10000"/>
                <a:gd name="connsiteX51" fmla="*/ 9244 w 10000"/>
                <a:gd name="connsiteY51" fmla="*/ 6392 h 10000"/>
                <a:gd name="connsiteX52" fmla="*/ 9205 w 10000"/>
                <a:gd name="connsiteY52" fmla="*/ 6490 h 10000"/>
                <a:gd name="connsiteX53" fmla="*/ 9167 w 10000"/>
                <a:gd name="connsiteY53" fmla="*/ 6608 h 10000"/>
                <a:gd name="connsiteX54" fmla="*/ 9574 w 10000"/>
                <a:gd name="connsiteY54" fmla="*/ 7157 h 10000"/>
                <a:gd name="connsiteX55" fmla="*/ 9496 w 10000"/>
                <a:gd name="connsiteY55" fmla="*/ 7294 h 10000"/>
                <a:gd name="connsiteX56" fmla="*/ 9419 w 10000"/>
                <a:gd name="connsiteY56" fmla="*/ 7431 h 10000"/>
                <a:gd name="connsiteX57" fmla="*/ 8740 w 10000"/>
                <a:gd name="connsiteY57" fmla="*/ 7412 h 10000"/>
                <a:gd name="connsiteX58" fmla="*/ 8605 w 10000"/>
                <a:gd name="connsiteY58" fmla="*/ 7627 h 10000"/>
                <a:gd name="connsiteX59" fmla="*/ 8547 w 10000"/>
                <a:gd name="connsiteY59" fmla="*/ 7706 h 10000"/>
                <a:gd name="connsiteX60" fmla="*/ 8469 w 10000"/>
                <a:gd name="connsiteY60" fmla="*/ 7804 h 10000"/>
                <a:gd name="connsiteX61" fmla="*/ 8682 w 10000"/>
                <a:gd name="connsiteY61" fmla="*/ 8451 h 10000"/>
                <a:gd name="connsiteX62" fmla="*/ 8566 w 10000"/>
                <a:gd name="connsiteY62" fmla="*/ 8569 h 10000"/>
                <a:gd name="connsiteX63" fmla="*/ 8450 w 10000"/>
                <a:gd name="connsiteY63" fmla="*/ 8686 h 10000"/>
                <a:gd name="connsiteX64" fmla="*/ 7810 w 10000"/>
                <a:gd name="connsiteY64" fmla="*/ 8471 h 10000"/>
                <a:gd name="connsiteX65" fmla="*/ 7616 w 10000"/>
                <a:gd name="connsiteY65" fmla="*/ 8608 h 10000"/>
                <a:gd name="connsiteX66" fmla="*/ 7442 w 10000"/>
                <a:gd name="connsiteY66" fmla="*/ 8745 h 10000"/>
                <a:gd name="connsiteX67" fmla="*/ 7442 w 10000"/>
                <a:gd name="connsiteY67" fmla="*/ 9412 h 10000"/>
                <a:gd name="connsiteX68" fmla="*/ 7287 w 10000"/>
                <a:gd name="connsiteY68" fmla="*/ 9510 h 10000"/>
                <a:gd name="connsiteX69" fmla="*/ 7151 w 10000"/>
                <a:gd name="connsiteY69" fmla="*/ 9569 h 10000"/>
                <a:gd name="connsiteX70" fmla="*/ 6609 w 10000"/>
                <a:gd name="connsiteY70" fmla="*/ 9157 h 10000"/>
                <a:gd name="connsiteX71" fmla="*/ 6395 w 10000"/>
                <a:gd name="connsiteY71" fmla="*/ 9235 h 10000"/>
                <a:gd name="connsiteX72" fmla="*/ 6279 w 10000"/>
                <a:gd name="connsiteY72" fmla="*/ 9275 h 10000"/>
                <a:gd name="connsiteX73" fmla="*/ 6163 w 10000"/>
                <a:gd name="connsiteY73" fmla="*/ 9314 h 10000"/>
                <a:gd name="connsiteX74" fmla="*/ 5950 w 10000"/>
                <a:gd name="connsiteY74" fmla="*/ 9961 h 10000"/>
                <a:gd name="connsiteX75" fmla="*/ 5640 w 10000"/>
                <a:gd name="connsiteY75" fmla="*/ 10000 h 10000"/>
                <a:gd name="connsiteX76" fmla="*/ 5252 w 10000"/>
                <a:gd name="connsiteY76" fmla="*/ 9451 h 10000"/>
                <a:gd name="connsiteX77" fmla="*/ 5019 w 10000"/>
                <a:gd name="connsiteY77" fmla="*/ 9451 h 10000"/>
                <a:gd name="connsiteX78" fmla="*/ 4767 w 10000"/>
                <a:gd name="connsiteY78" fmla="*/ 9451 h 10000"/>
                <a:gd name="connsiteX79" fmla="*/ 4380 w 10000"/>
                <a:gd name="connsiteY79" fmla="*/ 10000 h 10000"/>
                <a:gd name="connsiteX80" fmla="*/ 4225 w 10000"/>
                <a:gd name="connsiteY80" fmla="*/ 9980 h 10000"/>
                <a:gd name="connsiteX81" fmla="*/ 4070 w 10000"/>
                <a:gd name="connsiteY81" fmla="*/ 9961 h 10000"/>
                <a:gd name="connsiteX82" fmla="*/ 3857 w 10000"/>
                <a:gd name="connsiteY82" fmla="*/ 9314 h 10000"/>
                <a:gd name="connsiteX83" fmla="*/ 3624 w 10000"/>
                <a:gd name="connsiteY83" fmla="*/ 9235 h 10000"/>
                <a:gd name="connsiteX84" fmla="*/ 3508 w 10000"/>
                <a:gd name="connsiteY84" fmla="*/ 9216 h 10000"/>
                <a:gd name="connsiteX85" fmla="*/ 3411 w 10000"/>
                <a:gd name="connsiteY85" fmla="*/ 9157 h 10000"/>
                <a:gd name="connsiteX86" fmla="*/ 2868 w 10000"/>
                <a:gd name="connsiteY86" fmla="*/ 9569 h 10000"/>
                <a:gd name="connsiteX87" fmla="*/ 2733 w 10000"/>
                <a:gd name="connsiteY87" fmla="*/ 9510 h 10000"/>
                <a:gd name="connsiteX88" fmla="*/ 2578 w 10000"/>
                <a:gd name="connsiteY88" fmla="*/ 9412 h 10000"/>
                <a:gd name="connsiteX89" fmla="*/ 2597 w 10000"/>
                <a:gd name="connsiteY89" fmla="*/ 8745 h 10000"/>
                <a:gd name="connsiteX90" fmla="*/ 2403 w 10000"/>
                <a:gd name="connsiteY90" fmla="*/ 8608 h 10000"/>
                <a:gd name="connsiteX91" fmla="*/ 2306 w 10000"/>
                <a:gd name="connsiteY91" fmla="*/ 8529 h 10000"/>
                <a:gd name="connsiteX92" fmla="*/ 2209 w 10000"/>
                <a:gd name="connsiteY92" fmla="*/ 8471 h 10000"/>
                <a:gd name="connsiteX93" fmla="*/ 1570 w 10000"/>
                <a:gd name="connsiteY93" fmla="*/ 8686 h 10000"/>
                <a:gd name="connsiteX94" fmla="*/ 1453 w 10000"/>
                <a:gd name="connsiteY94" fmla="*/ 8569 h 10000"/>
                <a:gd name="connsiteX95" fmla="*/ 1337 w 10000"/>
                <a:gd name="connsiteY95" fmla="*/ 8451 h 10000"/>
                <a:gd name="connsiteX96" fmla="*/ 1550 w 10000"/>
                <a:gd name="connsiteY96" fmla="*/ 7804 h 10000"/>
                <a:gd name="connsiteX97" fmla="*/ 1415 w 10000"/>
                <a:gd name="connsiteY97" fmla="*/ 7627 h 10000"/>
                <a:gd name="connsiteX98" fmla="*/ 1279 w 10000"/>
                <a:gd name="connsiteY98" fmla="*/ 7412 h 10000"/>
                <a:gd name="connsiteX99" fmla="*/ 601 w 10000"/>
                <a:gd name="connsiteY99" fmla="*/ 7431 h 10000"/>
                <a:gd name="connsiteX100" fmla="*/ 523 w 10000"/>
                <a:gd name="connsiteY100" fmla="*/ 7294 h 10000"/>
                <a:gd name="connsiteX101" fmla="*/ 446 w 10000"/>
                <a:gd name="connsiteY101" fmla="*/ 7157 h 10000"/>
                <a:gd name="connsiteX102" fmla="*/ 853 w 10000"/>
                <a:gd name="connsiteY102" fmla="*/ 6608 h 10000"/>
                <a:gd name="connsiteX103" fmla="*/ 775 w 10000"/>
                <a:gd name="connsiteY103" fmla="*/ 6392 h 10000"/>
                <a:gd name="connsiteX104" fmla="*/ 756 w 10000"/>
                <a:gd name="connsiteY104" fmla="*/ 6275 h 10000"/>
                <a:gd name="connsiteX105" fmla="*/ 717 w 10000"/>
                <a:gd name="connsiteY105" fmla="*/ 6157 h 10000"/>
                <a:gd name="connsiteX106" fmla="*/ 58 w 10000"/>
                <a:gd name="connsiteY106" fmla="*/ 5941 h 10000"/>
                <a:gd name="connsiteX107" fmla="*/ 0 w 10000"/>
                <a:gd name="connsiteY107" fmla="*/ 5627 h 10000"/>
                <a:gd name="connsiteX108" fmla="*/ 581 w 10000"/>
                <a:gd name="connsiteY108" fmla="*/ 5235 h 10000"/>
                <a:gd name="connsiteX109" fmla="*/ 562 w 10000"/>
                <a:gd name="connsiteY109" fmla="*/ 5000 h 10000"/>
                <a:gd name="connsiteX110" fmla="*/ 581 w 10000"/>
                <a:gd name="connsiteY110" fmla="*/ 4765 h 10000"/>
                <a:gd name="connsiteX111" fmla="*/ 0 w 10000"/>
                <a:gd name="connsiteY111" fmla="*/ 4392 h 10000"/>
                <a:gd name="connsiteX112" fmla="*/ 19 w 10000"/>
                <a:gd name="connsiteY112" fmla="*/ 4216 h 10000"/>
                <a:gd name="connsiteX113" fmla="*/ 58 w 10000"/>
                <a:gd name="connsiteY113" fmla="*/ 4059 h 10000"/>
                <a:gd name="connsiteX114" fmla="*/ 717 w 10000"/>
                <a:gd name="connsiteY114" fmla="*/ 3863 h 10000"/>
                <a:gd name="connsiteX115" fmla="*/ 775 w 10000"/>
                <a:gd name="connsiteY115" fmla="*/ 3627 h 10000"/>
                <a:gd name="connsiteX116" fmla="*/ 814 w 10000"/>
                <a:gd name="connsiteY116" fmla="*/ 3510 h 10000"/>
                <a:gd name="connsiteX117" fmla="*/ 853 w 10000"/>
                <a:gd name="connsiteY117" fmla="*/ 3392 h 10000"/>
                <a:gd name="connsiteX118" fmla="*/ 446 w 10000"/>
                <a:gd name="connsiteY118" fmla="*/ 2863 h 10000"/>
                <a:gd name="connsiteX119" fmla="*/ 523 w 10000"/>
                <a:gd name="connsiteY119" fmla="*/ 2706 h 10000"/>
                <a:gd name="connsiteX120" fmla="*/ 601 w 10000"/>
                <a:gd name="connsiteY120" fmla="*/ 2588 h 10000"/>
                <a:gd name="connsiteX121" fmla="*/ 1279 w 10000"/>
                <a:gd name="connsiteY121" fmla="*/ 2588 h 10000"/>
                <a:gd name="connsiteX0" fmla="*/ 2209 w 10000"/>
                <a:gd name="connsiteY0" fmla="*/ 1549 h 10000"/>
                <a:gd name="connsiteX1" fmla="*/ 2597 w 10000"/>
                <a:gd name="connsiteY1" fmla="*/ 1275 h 10000"/>
                <a:gd name="connsiteX2" fmla="*/ 2578 w 10000"/>
                <a:gd name="connsiteY2" fmla="*/ 588 h 10000"/>
                <a:gd name="connsiteX3" fmla="*/ 2733 w 10000"/>
                <a:gd name="connsiteY3" fmla="*/ 510 h 10000"/>
                <a:gd name="connsiteX4" fmla="*/ 2868 w 10000"/>
                <a:gd name="connsiteY4" fmla="*/ 451 h 10000"/>
                <a:gd name="connsiteX5" fmla="*/ 3411 w 10000"/>
                <a:gd name="connsiteY5" fmla="*/ 843 h 10000"/>
                <a:gd name="connsiteX6" fmla="*/ 3624 w 10000"/>
                <a:gd name="connsiteY6" fmla="*/ 765 h 10000"/>
                <a:gd name="connsiteX7" fmla="*/ 3740 w 10000"/>
                <a:gd name="connsiteY7" fmla="*/ 725 h 10000"/>
                <a:gd name="connsiteX8" fmla="*/ 3857 w 10000"/>
                <a:gd name="connsiteY8" fmla="*/ 706 h 10000"/>
                <a:gd name="connsiteX9" fmla="*/ 4070 w 10000"/>
                <a:gd name="connsiteY9" fmla="*/ 59 h 10000"/>
                <a:gd name="connsiteX10" fmla="*/ 4380 w 10000"/>
                <a:gd name="connsiteY10" fmla="*/ 0 h 10000"/>
                <a:gd name="connsiteX11" fmla="*/ 4767 w 10000"/>
                <a:gd name="connsiteY11" fmla="*/ 569 h 10000"/>
                <a:gd name="connsiteX12" fmla="*/ 5019 w 10000"/>
                <a:gd name="connsiteY12" fmla="*/ 549 h 10000"/>
                <a:gd name="connsiteX13" fmla="*/ 5252 w 10000"/>
                <a:gd name="connsiteY13" fmla="*/ 569 h 10000"/>
                <a:gd name="connsiteX14" fmla="*/ 5640 w 10000"/>
                <a:gd name="connsiteY14" fmla="*/ 0 h 10000"/>
                <a:gd name="connsiteX15" fmla="*/ 5795 w 10000"/>
                <a:gd name="connsiteY15" fmla="*/ 20 h 10000"/>
                <a:gd name="connsiteX16" fmla="*/ 5950 w 10000"/>
                <a:gd name="connsiteY16" fmla="*/ 59 h 10000"/>
                <a:gd name="connsiteX17" fmla="*/ 6163 w 10000"/>
                <a:gd name="connsiteY17" fmla="*/ 706 h 10000"/>
                <a:gd name="connsiteX18" fmla="*/ 6395 w 10000"/>
                <a:gd name="connsiteY18" fmla="*/ 765 h 10000"/>
                <a:gd name="connsiteX19" fmla="*/ 6492 w 10000"/>
                <a:gd name="connsiteY19" fmla="*/ 804 h 10000"/>
                <a:gd name="connsiteX20" fmla="*/ 6609 w 10000"/>
                <a:gd name="connsiteY20" fmla="*/ 843 h 10000"/>
                <a:gd name="connsiteX21" fmla="*/ 7151 w 10000"/>
                <a:gd name="connsiteY21" fmla="*/ 451 h 10000"/>
                <a:gd name="connsiteX22" fmla="*/ 7287 w 10000"/>
                <a:gd name="connsiteY22" fmla="*/ 510 h 10000"/>
                <a:gd name="connsiteX23" fmla="*/ 7442 w 10000"/>
                <a:gd name="connsiteY23" fmla="*/ 588 h 10000"/>
                <a:gd name="connsiteX24" fmla="*/ 7442 w 10000"/>
                <a:gd name="connsiteY24" fmla="*/ 1275 h 10000"/>
                <a:gd name="connsiteX25" fmla="*/ 7616 w 10000"/>
                <a:gd name="connsiteY25" fmla="*/ 1412 h 10000"/>
                <a:gd name="connsiteX26" fmla="*/ 7713 w 10000"/>
                <a:gd name="connsiteY26" fmla="*/ 1471 h 10000"/>
                <a:gd name="connsiteX27" fmla="*/ 7810 w 10000"/>
                <a:gd name="connsiteY27" fmla="*/ 1549 h 10000"/>
                <a:gd name="connsiteX28" fmla="*/ 8450 w 10000"/>
                <a:gd name="connsiteY28" fmla="*/ 1333 h 10000"/>
                <a:gd name="connsiteX29" fmla="*/ 8566 w 10000"/>
                <a:gd name="connsiteY29" fmla="*/ 1451 h 10000"/>
                <a:gd name="connsiteX30" fmla="*/ 8682 w 10000"/>
                <a:gd name="connsiteY30" fmla="*/ 1569 h 10000"/>
                <a:gd name="connsiteX31" fmla="*/ 8469 w 10000"/>
                <a:gd name="connsiteY31" fmla="*/ 2216 h 10000"/>
                <a:gd name="connsiteX32" fmla="*/ 8605 w 10000"/>
                <a:gd name="connsiteY32" fmla="*/ 2392 h 10000"/>
                <a:gd name="connsiteX33" fmla="*/ 8740 w 10000"/>
                <a:gd name="connsiteY33" fmla="*/ 2588 h 10000"/>
                <a:gd name="connsiteX34" fmla="*/ 9419 w 10000"/>
                <a:gd name="connsiteY34" fmla="*/ 2588 h 10000"/>
                <a:gd name="connsiteX35" fmla="*/ 9496 w 10000"/>
                <a:gd name="connsiteY35" fmla="*/ 2706 h 10000"/>
                <a:gd name="connsiteX36" fmla="*/ 9574 w 10000"/>
                <a:gd name="connsiteY36" fmla="*/ 2863 h 10000"/>
                <a:gd name="connsiteX37" fmla="*/ 9167 w 10000"/>
                <a:gd name="connsiteY37" fmla="*/ 3392 h 10000"/>
                <a:gd name="connsiteX38" fmla="*/ 9244 w 10000"/>
                <a:gd name="connsiteY38" fmla="*/ 3627 h 10000"/>
                <a:gd name="connsiteX39" fmla="*/ 9283 w 10000"/>
                <a:gd name="connsiteY39" fmla="*/ 3745 h 10000"/>
                <a:gd name="connsiteX40" fmla="*/ 9302 w 10000"/>
                <a:gd name="connsiteY40" fmla="*/ 3863 h 10000"/>
                <a:gd name="connsiteX41" fmla="*/ 9961 w 10000"/>
                <a:gd name="connsiteY41" fmla="*/ 4059 h 10000"/>
                <a:gd name="connsiteX42" fmla="*/ 10000 w 10000"/>
                <a:gd name="connsiteY42" fmla="*/ 4392 h 10000"/>
                <a:gd name="connsiteX43" fmla="*/ 9438 w 10000"/>
                <a:gd name="connsiteY43" fmla="*/ 4765 h 10000"/>
                <a:gd name="connsiteX44" fmla="*/ 9457 w 10000"/>
                <a:gd name="connsiteY44" fmla="*/ 5000 h 10000"/>
                <a:gd name="connsiteX45" fmla="*/ 9438 w 10000"/>
                <a:gd name="connsiteY45" fmla="*/ 5235 h 10000"/>
                <a:gd name="connsiteX46" fmla="*/ 10000 w 10000"/>
                <a:gd name="connsiteY46" fmla="*/ 5627 h 10000"/>
                <a:gd name="connsiteX47" fmla="*/ 9981 w 10000"/>
                <a:gd name="connsiteY47" fmla="*/ 5784 h 10000"/>
                <a:gd name="connsiteX48" fmla="*/ 9961 w 10000"/>
                <a:gd name="connsiteY48" fmla="*/ 5941 h 10000"/>
                <a:gd name="connsiteX49" fmla="*/ 9302 w 10000"/>
                <a:gd name="connsiteY49" fmla="*/ 6157 h 10000"/>
                <a:gd name="connsiteX50" fmla="*/ 9244 w 10000"/>
                <a:gd name="connsiteY50" fmla="*/ 6392 h 10000"/>
                <a:gd name="connsiteX51" fmla="*/ 9205 w 10000"/>
                <a:gd name="connsiteY51" fmla="*/ 6490 h 10000"/>
                <a:gd name="connsiteX52" fmla="*/ 9167 w 10000"/>
                <a:gd name="connsiteY52" fmla="*/ 6608 h 10000"/>
                <a:gd name="connsiteX53" fmla="*/ 9574 w 10000"/>
                <a:gd name="connsiteY53" fmla="*/ 7157 h 10000"/>
                <a:gd name="connsiteX54" fmla="*/ 9496 w 10000"/>
                <a:gd name="connsiteY54" fmla="*/ 7294 h 10000"/>
                <a:gd name="connsiteX55" fmla="*/ 9419 w 10000"/>
                <a:gd name="connsiteY55" fmla="*/ 7431 h 10000"/>
                <a:gd name="connsiteX56" fmla="*/ 8740 w 10000"/>
                <a:gd name="connsiteY56" fmla="*/ 7412 h 10000"/>
                <a:gd name="connsiteX57" fmla="*/ 8605 w 10000"/>
                <a:gd name="connsiteY57" fmla="*/ 7627 h 10000"/>
                <a:gd name="connsiteX58" fmla="*/ 8547 w 10000"/>
                <a:gd name="connsiteY58" fmla="*/ 7706 h 10000"/>
                <a:gd name="connsiteX59" fmla="*/ 8469 w 10000"/>
                <a:gd name="connsiteY59" fmla="*/ 7804 h 10000"/>
                <a:gd name="connsiteX60" fmla="*/ 8682 w 10000"/>
                <a:gd name="connsiteY60" fmla="*/ 8451 h 10000"/>
                <a:gd name="connsiteX61" fmla="*/ 8566 w 10000"/>
                <a:gd name="connsiteY61" fmla="*/ 8569 h 10000"/>
                <a:gd name="connsiteX62" fmla="*/ 8450 w 10000"/>
                <a:gd name="connsiteY62" fmla="*/ 8686 h 10000"/>
                <a:gd name="connsiteX63" fmla="*/ 7810 w 10000"/>
                <a:gd name="connsiteY63" fmla="*/ 8471 h 10000"/>
                <a:gd name="connsiteX64" fmla="*/ 7616 w 10000"/>
                <a:gd name="connsiteY64" fmla="*/ 8608 h 10000"/>
                <a:gd name="connsiteX65" fmla="*/ 7442 w 10000"/>
                <a:gd name="connsiteY65" fmla="*/ 8745 h 10000"/>
                <a:gd name="connsiteX66" fmla="*/ 7442 w 10000"/>
                <a:gd name="connsiteY66" fmla="*/ 9412 h 10000"/>
                <a:gd name="connsiteX67" fmla="*/ 7287 w 10000"/>
                <a:gd name="connsiteY67" fmla="*/ 9510 h 10000"/>
                <a:gd name="connsiteX68" fmla="*/ 7151 w 10000"/>
                <a:gd name="connsiteY68" fmla="*/ 9569 h 10000"/>
                <a:gd name="connsiteX69" fmla="*/ 6609 w 10000"/>
                <a:gd name="connsiteY69" fmla="*/ 9157 h 10000"/>
                <a:gd name="connsiteX70" fmla="*/ 6395 w 10000"/>
                <a:gd name="connsiteY70" fmla="*/ 9235 h 10000"/>
                <a:gd name="connsiteX71" fmla="*/ 6279 w 10000"/>
                <a:gd name="connsiteY71" fmla="*/ 9275 h 10000"/>
                <a:gd name="connsiteX72" fmla="*/ 6163 w 10000"/>
                <a:gd name="connsiteY72" fmla="*/ 9314 h 10000"/>
                <a:gd name="connsiteX73" fmla="*/ 5950 w 10000"/>
                <a:gd name="connsiteY73" fmla="*/ 9961 h 10000"/>
                <a:gd name="connsiteX74" fmla="*/ 5640 w 10000"/>
                <a:gd name="connsiteY74" fmla="*/ 10000 h 10000"/>
                <a:gd name="connsiteX75" fmla="*/ 5252 w 10000"/>
                <a:gd name="connsiteY75" fmla="*/ 9451 h 10000"/>
                <a:gd name="connsiteX76" fmla="*/ 5019 w 10000"/>
                <a:gd name="connsiteY76" fmla="*/ 9451 h 10000"/>
                <a:gd name="connsiteX77" fmla="*/ 4767 w 10000"/>
                <a:gd name="connsiteY77" fmla="*/ 9451 h 10000"/>
                <a:gd name="connsiteX78" fmla="*/ 4380 w 10000"/>
                <a:gd name="connsiteY78" fmla="*/ 10000 h 10000"/>
                <a:gd name="connsiteX79" fmla="*/ 4225 w 10000"/>
                <a:gd name="connsiteY79" fmla="*/ 9980 h 10000"/>
                <a:gd name="connsiteX80" fmla="*/ 4070 w 10000"/>
                <a:gd name="connsiteY80" fmla="*/ 9961 h 10000"/>
                <a:gd name="connsiteX81" fmla="*/ 3857 w 10000"/>
                <a:gd name="connsiteY81" fmla="*/ 9314 h 10000"/>
                <a:gd name="connsiteX82" fmla="*/ 3624 w 10000"/>
                <a:gd name="connsiteY82" fmla="*/ 9235 h 10000"/>
                <a:gd name="connsiteX83" fmla="*/ 3508 w 10000"/>
                <a:gd name="connsiteY83" fmla="*/ 9216 h 10000"/>
                <a:gd name="connsiteX84" fmla="*/ 3411 w 10000"/>
                <a:gd name="connsiteY84" fmla="*/ 9157 h 10000"/>
                <a:gd name="connsiteX85" fmla="*/ 2868 w 10000"/>
                <a:gd name="connsiteY85" fmla="*/ 9569 h 10000"/>
                <a:gd name="connsiteX86" fmla="*/ 2733 w 10000"/>
                <a:gd name="connsiteY86" fmla="*/ 9510 h 10000"/>
                <a:gd name="connsiteX87" fmla="*/ 2578 w 10000"/>
                <a:gd name="connsiteY87" fmla="*/ 9412 h 10000"/>
                <a:gd name="connsiteX88" fmla="*/ 2597 w 10000"/>
                <a:gd name="connsiteY88" fmla="*/ 8745 h 10000"/>
                <a:gd name="connsiteX89" fmla="*/ 2403 w 10000"/>
                <a:gd name="connsiteY89" fmla="*/ 8608 h 10000"/>
                <a:gd name="connsiteX90" fmla="*/ 2306 w 10000"/>
                <a:gd name="connsiteY90" fmla="*/ 8529 h 10000"/>
                <a:gd name="connsiteX91" fmla="*/ 2209 w 10000"/>
                <a:gd name="connsiteY91" fmla="*/ 8471 h 10000"/>
                <a:gd name="connsiteX92" fmla="*/ 1570 w 10000"/>
                <a:gd name="connsiteY92" fmla="*/ 8686 h 10000"/>
                <a:gd name="connsiteX93" fmla="*/ 1453 w 10000"/>
                <a:gd name="connsiteY93" fmla="*/ 8569 h 10000"/>
                <a:gd name="connsiteX94" fmla="*/ 1337 w 10000"/>
                <a:gd name="connsiteY94" fmla="*/ 8451 h 10000"/>
                <a:gd name="connsiteX95" fmla="*/ 1550 w 10000"/>
                <a:gd name="connsiteY95" fmla="*/ 7804 h 10000"/>
                <a:gd name="connsiteX96" fmla="*/ 1415 w 10000"/>
                <a:gd name="connsiteY96" fmla="*/ 7627 h 10000"/>
                <a:gd name="connsiteX97" fmla="*/ 1279 w 10000"/>
                <a:gd name="connsiteY97" fmla="*/ 7412 h 10000"/>
                <a:gd name="connsiteX98" fmla="*/ 601 w 10000"/>
                <a:gd name="connsiteY98" fmla="*/ 7431 h 10000"/>
                <a:gd name="connsiteX99" fmla="*/ 523 w 10000"/>
                <a:gd name="connsiteY99" fmla="*/ 7294 h 10000"/>
                <a:gd name="connsiteX100" fmla="*/ 446 w 10000"/>
                <a:gd name="connsiteY100" fmla="*/ 7157 h 10000"/>
                <a:gd name="connsiteX101" fmla="*/ 853 w 10000"/>
                <a:gd name="connsiteY101" fmla="*/ 6608 h 10000"/>
                <a:gd name="connsiteX102" fmla="*/ 775 w 10000"/>
                <a:gd name="connsiteY102" fmla="*/ 6392 h 10000"/>
                <a:gd name="connsiteX103" fmla="*/ 756 w 10000"/>
                <a:gd name="connsiteY103" fmla="*/ 6275 h 10000"/>
                <a:gd name="connsiteX104" fmla="*/ 717 w 10000"/>
                <a:gd name="connsiteY104" fmla="*/ 6157 h 10000"/>
                <a:gd name="connsiteX105" fmla="*/ 58 w 10000"/>
                <a:gd name="connsiteY105" fmla="*/ 5941 h 10000"/>
                <a:gd name="connsiteX106" fmla="*/ 0 w 10000"/>
                <a:gd name="connsiteY106" fmla="*/ 5627 h 10000"/>
                <a:gd name="connsiteX107" fmla="*/ 581 w 10000"/>
                <a:gd name="connsiteY107" fmla="*/ 5235 h 10000"/>
                <a:gd name="connsiteX108" fmla="*/ 562 w 10000"/>
                <a:gd name="connsiteY108" fmla="*/ 5000 h 10000"/>
                <a:gd name="connsiteX109" fmla="*/ 581 w 10000"/>
                <a:gd name="connsiteY109" fmla="*/ 4765 h 10000"/>
                <a:gd name="connsiteX110" fmla="*/ 0 w 10000"/>
                <a:gd name="connsiteY110" fmla="*/ 4392 h 10000"/>
                <a:gd name="connsiteX111" fmla="*/ 19 w 10000"/>
                <a:gd name="connsiteY111" fmla="*/ 4216 h 10000"/>
                <a:gd name="connsiteX112" fmla="*/ 58 w 10000"/>
                <a:gd name="connsiteY112" fmla="*/ 4059 h 10000"/>
                <a:gd name="connsiteX113" fmla="*/ 717 w 10000"/>
                <a:gd name="connsiteY113" fmla="*/ 3863 h 10000"/>
                <a:gd name="connsiteX114" fmla="*/ 775 w 10000"/>
                <a:gd name="connsiteY114" fmla="*/ 3627 h 10000"/>
                <a:gd name="connsiteX115" fmla="*/ 814 w 10000"/>
                <a:gd name="connsiteY115" fmla="*/ 3510 h 10000"/>
                <a:gd name="connsiteX116" fmla="*/ 853 w 10000"/>
                <a:gd name="connsiteY116" fmla="*/ 3392 h 10000"/>
                <a:gd name="connsiteX117" fmla="*/ 446 w 10000"/>
                <a:gd name="connsiteY117" fmla="*/ 2863 h 10000"/>
                <a:gd name="connsiteX118" fmla="*/ 523 w 10000"/>
                <a:gd name="connsiteY118" fmla="*/ 2706 h 10000"/>
                <a:gd name="connsiteX119" fmla="*/ 601 w 10000"/>
                <a:gd name="connsiteY119" fmla="*/ 2588 h 10000"/>
                <a:gd name="connsiteX120" fmla="*/ 1279 w 10000"/>
                <a:gd name="connsiteY120" fmla="*/ 2588 h 10000"/>
                <a:gd name="connsiteX0" fmla="*/ 2597 w 10000"/>
                <a:gd name="connsiteY0" fmla="*/ 1275 h 10000"/>
                <a:gd name="connsiteX1" fmla="*/ 2578 w 10000"/>
                <a:gd name="connsiteY1" fmla="*/ 588 h 10000"/>
                <a:gd name="connsiteX2" fmla="*/ 2733 w 10000"/>
                <a:gd name="connsiteY2" fmla="*/ 510 h 10000"/>
                <a:gd name="connsiteX3" fmla="*/ 2868 w 10000"/>
                <a:gd name="connsiteY3" fmla="*/ 451 h 10000"/>
                <a:gd name="connsiteX4" fmla="*/ 3411 w 10000"/>
                <a:gd name="connsiteY4" fmla="*/ 843 h 10000"/>
                <a:gd name="connsiteX5" fmla="*/ 3624 w 10000"/>
                <a:gd name="connsiteY5" fmla="*/ 765 h 10000"/>
                <a:gd name="connsiteX6" fmla="*/ 3740 w 10000"/>
                <a:gd name="connsiteY6" fmla="*/ 725 h 10000"/>
                <a:gd name="connsiteX7" fmla="*/ 3857 w 10000"/>
                <a:gd name="connsiteY7" fmla="*/ 706 h 10000"/>
                <a:gd name="connsiteX8" fmla="*/ 4070 w 10000"/>
                <a:gd name="connsiteY8" fmla="*/ 59 h 10000"/>
                <a:gd name="connsiteX9" fmla="*/ 4380 w 10000"/>
                <a:gd name="connsiteY9" fmla="*/ 0 h 10000"/>
                <a:gd name="connsiteX10" fmla="*/ 4767 w 10000"/>
                <a:gd name="connsiteY10" fmla="*/ 569 h 10000"/>
                <a:gd name="connsiteX11" fmla="*/ 5019 w 10000"/>
                <a:gd name="connsiteY11" fmla="*/ 549 h 10000"/>
                <a:gd name="connsiteX12" fmla="*/ 5252 w 10000"/>
                <a:gd name="connsiteY12" fmla="*/ 569 h 10000"/>
                <a:gd name="connsiteX13" fmla="*/ 5640 w 10000"/>
                <a:gd name="connsiteY13" fmla="*/ 0 h 10000"/>
                <a:gd name="connsiteX14" fmla="*/ 5795 w 10000"/>
                <a:gd name="connsiteY14" fmla="*/ 20 h 10000"/>
                <a:gd name="connsiteX15" fmla="*/ 5950 w 10000"/>
                <a:gd name="connsiteY15" fmla="*/ 59 h 10000"/>
                <a:gd name="connsiteX16" fmla="*/ 6163 w 10000"/>
                <a:gd name="connsiteY16" fmla="*/ 706 h 10000"/>
                <a:gd name="connsiteX17" fmla="*/ 6395 w 10000"/>
                <a:gd name="connsiteY17" fmla="*/ 765 h 10000"/>
                <a:gd name="connsiteX18" fmla="*/ 6492 w 10000"/>
                <a:gd name="connsiteY18" fmla="*/ 804 h 10000"/>
                <a:gd name="connsiteX19" fmla="*/ 6609 w 10000"/>
                <a:gd name="connsiteY19" fmla="*/ 843 h 10000"/>
                <a:gd name="connsiteX20" fmla="*/ 7151 w 10000"/>
                <a:gd name="connsiteY20" fmla="*/ 451 h 10000"/>
                <a:gd name="connsiteX21" fmla="*/ 7287 w 10000"/>
                <a:gd name="connsiteY21" fmla="*/ 510 h 10000"/>
                <a:gd name="connsiteX22" fmla="*/ 7442 w 10000"/>
                <a:gd name="connsiteY22" fmla="*/ 588 h 10000"/>
                <a:gd name="connsiteX23" fmla="*/ 7442 w 10000"/>
                <a:gd name="connsiteY23" fmla="*/ 1275 h 10000"/>
                <a:gd name="connsiteX24" fmla="*/ 7616 w 10000"/>
                <a:gd name="connsiteY24" fmla="*/ 1412 h 10000"/>
                <a:gd name="connsiteX25" fmla="*/ 7713 w 10000"/>
                <a:gd name="connsiteY25" fmla="*/ 1471 h 10000"/>
                <a:gd name="connsiteX26" fmla="*/ 7810 w 10000"/>
                <a:gd name="connsiteY26" fmla="*/ 1549 h 10000"/>
                <a:gd name="connsiteX27" fmla="*/ 8450 w 10000"/>
                <a:gd name="connsiteY27" fmla="*/ 1333 h 10000"/>
                <a:gd name="connsiteX28" fmla="*/ 8566 w 10000"/>
                <a:gd name="connsiteY28" fmla="*/ 1451 h 10000"/>
                <a:gd name="connsiteX29" fmla="*/ 8682 w 10000"/>
                <a:gd name="connsiteY29" fmla="*/ 1569 h 10000"/>
                <a:gd name="connsiteX30" fmla="*/ 8469 w 10000"/>
                <a:gd name="connsiteY30" fmla="*/ 2216 h 10000"/>
                <a:gd name="connsiteX31" fmla="*/ 8605 w 10000"/>
                <a:gd name="connsiteY31" fmla="*/ 2392 h 10000"/>
                <a:gd name="connsiteX32" fmla="*/ 8740 w 10000"/>
                <a:gd name="connsiteY32" fmla="*/ 2588 h 10000"/>
                <a:gd name="connsiteX33" fmla="*/ 9419 w 10000"/>
                <a:gd name="connsiteY33" fmla="*/ 2588 h 10000"/>
                <a:gd name="connsiteX34" fmla="*/ 9496 w 10000"/>
                <a:gd name="connsiteY34" fmla="*/ 2706 h 10000"/>
                <a:gd name="connsiteX35" fmla="*/ 9574 w 10000"/>
                <a:gd name="connsiteY35" fmla="*/ 2863 h 10000"/>
                <a:gd name="connsiteX36" fmla="*/ 9167 w 10000"/>
                <a:gd name="connsiteY36" fmla="*/ 3392 h 10000"/>
                <a:gd name="connsiteX37" fmla="*/ 9244 w 10000"/>
                <a:gd name="connsiteY37" fmla="*/ 3627 h 10000"/>
                <a:gd name="connsiteX38" fmla="*/ 9283 w 10000"/>
                <a:gd name="connsiteY38" fmla="*/ 3745 h 10000"/>
                <a:gd name="connsiteX39" fmla="*/ 9302 w 10000"/>
                <a:gd name="connsiteY39" fmla="*/ 3863 h 10000"/>
                <a:gd name="connsiteX40" fmla="*/ 9961 w 10000"/>
                <a:gd name="connsiteY40" fmla="*/ 4059 h 10000"/>
                <a:gd name="connsiteX41" fmla="*/ 10000 w 10000"/>
                <a:gd name="connsiteY41" fmla="*/ 4392 h 10000"/>
                <a:gd name="connsiteX42" fmla="*/ 9438 w 10000"/>
                <a:gd name="connsiteY42" fmla="*/ 4765 h 10000"/>
                <a:gd name="connsiteX43" fmla="*/ 9457 w 10000"/>
                <a:gd name="connsiteY43" fmla="*/ 5000 h 10000"/>
                <a:gd name="connsiteX44" fmla="*/ 9438 w 10000"/>
                <a:gd name="connsiteY44" fmla="*/ 5235 h 10000"/>
                <a:gd name="connsiteX45" fmla="*/ 10000 w 10000"/>
                <a:gd name="connsiteY45" fmla="*/ 5627 h 10000"/>
                <a:gd name="connsiteX46" fmla="*/ 9981 w 10000"/>
                <a:gd name="connsiteY46" fmla="*/ 5784 h 10000"/>
                <a:gd name="connsiteX47" fmla="*/ 9961 w 10000"/>
                <a:gd name="connsiteY47" fmla="*/ 5941 h 10000"/>
                <a:gd name="connsiteX48" fmla="*/ 9302 w 10000"/>
                <a:gd name="connsiteY48" fmla="*/ 6157 h 10000"/>
                <a:gd name="connsiteX49" fmla="*/ 9244 w 10000"/>
                <a:gd name="connsiteY49" fmla="*/ 6392 h 10000"/>
                <a:gd name="connsiteX50" fmla="*/ 9205 w 10000"/>
                <a:gd name="connsiteY50" fmla="*/ 6490 h 10000"/>
                <a:gd name="connsiteX51" fmla="*/ 9167 w 10000"/>
                <a:gd name="connsiteY51" fmla="*/ 6608 h 10000"/>
                <a:gd name="connsiteX52" fmla="*/ 9574 w 10000"/>
                <a:gd name="connsiteY52" fmla="*/ 7157 h 10000"/>
                <a:gd name="connsiteX53" fmla="*/ 9496 w 10000"/>
                <a:gd name="connsiteY53" fmla="*/ 7294 h 10000"/>
                <a:gd name="connsiteX54" fmla="*/ 9419 w 10000"/>
                <a:gd name="connsiteY54" fmla="*/ 7431 h 10000"/>
                <a:gd name="connsiteX55" fmla="*/ 8740 w 10000"/>
                <a:gd name="connsiteY55" fmla="*/ 7412 h 10000"/>
                <a:gd name="connsiteX56" fmla="*/ 8605 w 10000"/>
                <a:gd name="connsiteY56" fmla="*/ 7627 h 10000"/>
                <a:gd name="connsiteX57" fmla="*/ 8547 w 10000"/>
                <a:gd name="connsiteY57" fmla="*/ 7706 h 10000"/>
                <a:gd name="connsiteX58" fmla="*/ 8469 w 10000"/>
                <a:gd name="connsiteY58" fmla="*/ 7804 h 10000"/>
                <a:gd name="connsiteX59" fmla="*/ 8682 w 10000"/>
                <a:gd name="connsiteY59" fmla="*/ 8451 h 10000"/>
                <a:gd name="connsiteX60" fmla="*/ 8566 w 10000"/>
                <a:gd name="connsiteY60" fmla="*/ 8569 h 10000"/>
                <a:gd name="connsiteX61" fmla="*/ 8450 w 10000"/>
                <a:gd name="connsiteY61" fmla="*/ 8686 h 10000"/>
                <a:gd name="connsiteX62" fmla="*/ 7810 w 10000"/>
                <a:gd name="connsiteY62" fmla="*/ 8471 h 10000"/>
                <a:gd name="connsiteX63" fmla="*/ 7616 w 10000"/>
                <a:gd name="connsiteY63" fmla="*/ 8608 h 10000"/>
                <a:gd name="connsiteX64" fmla="*/ 7442 w 10000"/>
                <a:gd name="connsiteY64" fmla="*/ 8745 h 10000"/>
                <a:gd name="connsiteX65" fmla="*/ 7442 w 10000"/>
                <a:gd name="connsiteY65" fmla="*/ 9412 h 10000"/>
                <a:gd name="connsiteX66" fmla="*/ 7287 w 10000"/>
                <a:gd name="connsiteY66" fmla="*/ 9510 h 10000"/>
                <a:gd name="connsiteX67" fmla="*/ 7151 w 10000"/>
                <a:gd name="connsiteY67" fmla="*/ 9569 h 10000"/>
                <a:gd name="connsiteX68" fmla="*/ 6609 w 10000"/>
                <a:gd name="connsiteY68" fmla="*/ 9157 h 10000"/>
                <a:gd name="connsiteX69" fmla="*/ 6395 w 10000"/>
                <a:gd name="connsiteY69" fmla="*/ 9235 h 10000"/>
                <a:gd name="connsiteX70" fmla="*/ 6279 w 10000"/>
                <a:gd name="connsiteY70" fmla="*/ 9275 h 10000"/>
                <a:gd name="connsiteX71" fmla="*/ 6163 w 10000"/>
                <a:gd name="connsiteY71" fmla="*/ 9314 h 10000"/>
                <a:gd name="connsiteX72" fmla="*/ 5950 w 10000"/>
                <a:gd name="connsiteY72" fmla="*/ 9961 h 10000"/>
                <a:gd name="connsiteX73" fmla="*/ 5640 w 10000"/>
                <a:gd name="connsiteY73" fmla="*/ 10000 h 10000"/>
                <a:gd name="connsiteX74" fmla="*/ 5252 w 10000"/>
                <a:gd name="connsiteY74" fmla="*/ 9451 h 10000"/>
                <a:gd name="connsiteX75" fmla="*/ 5019 w 10000"/>
                <a:gd name="connsiteY75" fmla="*/ 9451 h 10000"/>
                <a:gd name="connsiteX76" fmla="*/ 4767 w 10000"/>
                <a:gd name="connsiteY76" fmla="*/ 9451 h 10000"/>
                <a:gd name="connsiteX77" fmla="*/ 4380 w 10000"/>
                <a:gd name="connsiteY77" fmla="*/ 10000 h 10000"/>
                <a:gd name="connsiteX78" fmla="*/ 4225 w 10000"/>
                <a:gd name="connsiteY78" fmla="*/ 9980 h 10000"/>
                <a:gd name="connsiteX79" fmla="*/ 4070 w 10000"/>
                <a:gd name="connsiteY79" fmla="*/ 9961 h 10000"/>
                <a:gd name="connsiteX80" fmla="*/ 3857 w 10000"/>
                <a:gd name="connsiteY80" fmla="*/ 9314 h 10000"/>
                <a:gd name="connsiteX81" fmla="*/ 3624 w 10000"/>
                <a:gd name="connsiteY81" fmla="*/ 9235 h 10000"/>
                <a:gd name="connsiteX82" fmla="*/ 3508 w 10000"/>
                <a:gd name="connsiteY82" fmla="*/ 9216 h 10000"/>
                <a:gd name="connsiteX83" fmla="*/ 3411 w 10000"/>
                <a:gd name="connsiteY83" fmla="*/ 9157 h 10000"/>
                <a:gd name="connsiteX84" fmla="*/ 2868 w 10000"/>
                <a:gd name="connsiteY84" fmla="*/ 9569 h 10000"/>
                <a:gd name="connsiteX85" fmla="*/ 2733 w 10000"/>
                <a:gd name="connsiteY85" fmla="*/ 9510 h 10000"/>
                <a:gd name="connsiteX86" fmla="*/ 2578 w 10000"/>
                <a:gd name="connsiteY86" fmla="*/ 9412 h 10000"/>
                <a:gd name="connsiteX87" fmla="*/ 2597 w 10000"/>
                <a:gd name="connsiteY87" fmla="*/ 8745 h 10000"/>
                <a:gd name="connsiteX88" fmla="*/ 2403 w 10000"/>
                <a:gd name="connsiteY88" fmla="*/ 8608 h 10000"/>
                <a:gd name="connsiteX89" fmla="*/ 2306 w 10000"/>
                <a:gd name="connsiteY89" fmla="*/ 8529 h 10000"/>
                <a:gd name="connsiteX90" fmla="*/ 2209 w 10000"/>
                <a:gd name="connsiteY90" fmla="*/ 8471 h 10000"/>
                <a:gd name="connsiteX91" fmla="*/ 1570 w 10000"/>
                <a:gd name="connsiteY91" fmla="*/ 8686 h 10000"/>
                <a:gd name="connsiteX92" fmla="*/ 1453 w 10000"/>
                <a:gd name="connsiteY92" fmla="*/ 8569 h 10000"/>
                <a:gd name="connsiteX93" fmla="*/ 1337 w 10000"/>
                <a:gd name="connsiteY93" fmla="*/ 8451 h 10000"/>
                <a:gd name="connsiteX94" fmla="*/ 1550 w 10000"/>
                <a:gd name="connsiteY94" fmla="*/ 7804 h 10000"/>
                <a:gd name="connsiteX95" fmla="*/ 1415 w 10000"/>
                <a:gd name="connsiteY95" fmla="*/ 7627 h 10000"/>
                <a:gd name="connsiteX96" fmla="*/ 1279 w 10000"/>
                <a:gd name="connsiteY96" fmla="*/ 7412 h 10000"/>
                <a:gd name="connsiteX97" fmla="*/ 601 w 10000"/>
                <a:gd name="connsiteY97" fmla="*/ 7431 h 10000"/>
                <a:gd name="connsiteX98" fmla="*/ 523 w 10000"/>
                <a:gd name="connsiteY98" fmla="*/ 7294 h 10000"/>
                <a:gd name="connsiteX99" fmla="*/ 446 w 10000"/>
                <a:gd name="connsiteY99" fmla="*/ 7157 h 10000"/>
                <a:gd name="connsiteX100" fmla="*/ 853 w 10000"/>
                <a:gd name="connsiteY100" fmla="*/ 6608 h 10000"/>
                <a:gd name="connsiteX101" fmla="*/ 775 w 10000"/>
                <a:gd name="connsiteY101" fmla="*/ 6392 h 10000"/>
                <a:gd name="connsiteX102" fmla="*/ 756 w 10000"/>
                <a:gd name="connsiteY102" fmla="*/ 6275 h 10000"/>
                <a:gd name="connsiteX103" fmla="*/ 717 w 10000"/>
                <a:gd name="connsiteY103" fmla="*/ 6157 h 10000"/>
                <a:gd name="connsiteX104" fmla="*/ 58 w 10000"/>
                <a:gd name="connsiteY104" fmla="*/ 5941 h 10000"/>
                <a:gd name="connsiteX105" fmla="*/ 0 w 10000"/>
                <a:gd name="connsiteY105" fmla="*/ 5627 h 10000"/>
                <a:gd name="connsiteX106" fmla="*/ 581 w 10000"/>
                <a:gd name="connsiteY106" fmla="*/ 5235 h 10000"/>
                <a:gd name="connsiteX107" fmla="*/ 562 w 10000"/>
                <a:gd name="connsiteY107" fmla="*/ 5000 h 10000"/>
                <a:gd name="connsiteX108" fmla="*/ 581 w 10000"/>
                <a:gd name="connsiteY108" fmla="*/ 4765 h 10000"/>
                <a:gd name="connsiteX109" fmla="*/ 0 w 10000"/>
                <a:gd name="connsiteY109" fmla="*/ 4392 h 10000"/>
                <a:gd name="connsiteX110" fmla="*/ 19 w 10000"/>
                <a:gd name="connsiteY110" fmla="*/ 4216 h 10000"/>
                <a:gd name="connsiteX111" fmla="*/ 58 w 10000"/>
                <a:gd name="connsiteY111" fmla="*/ 4059 h 10000"/>
                <a:gd name="connsiteX112" fmla="*/ 717 w 10000"/>
                <a:gd name="connsiteY112" fmla="*/ 3863 h 10000"/>
                <a:gd name="connsiteX113" fmla="*/ 775 w 10000"/>
                <a:gd name="connsiteY113" fmla="*/ 3627 h 10000"/>
                <a:gd name="connsiteX114" fmla="*/ 814 w 10000"/>
                <a:gd name="connsiteY114" fmla="*/ 3510 h 10000"/>
                <a:gd name="connsiteX115" fmla="*/ 853 w 10000"/>
                <a:gd name="connsiteY115" fmla="*/ 3392 h 10000"/>
                <a:gd name="connsiteX116" fmla="*/ 446 w 10000"/>
                <a:gd name="connsiteY116" fmla="*/ 2863 h 10000"/>
                <a:gd name="connsiteX117" fmla="*/ 523 w 10000"/>
                <a:gd name="connsiteY117" fmla="*/ 2706 h 10000"/>
                <a:gd name="connsiteX118" fmla="*/ 601 w 10000"/>
                <a:gd name="connsiteY118" fmla="*/ 2588 h 10000"/>
                <a:gd name="connsiteX119" fmla="*/ 1279 w 10000"/>
                <a:gd name="connsiteY119" fmla="*/ 2588 h 10000"/>
                <a:gd name="connsiteX0" fmla="*/ 2578 w 10000"/>
                <a:gd name="connsiteY0" fmla="*/ 588 h 10000"/>
                <a:gd name="connsiteX1" fmla="*/ 2733 w 10000"/>
                <a:gd name="connsiteY1" fmla="*/ 510 h 10000"/>
                <a:gd name="connsiteX2" fmla="*/ 2868 w 10000"/>
                <a:gd name="connsiteY2" fmla="*/ 451 h 10000"/>
                <a:gd name="connsiteX3" fmla="*/ 3411 w 10000"/>
                <a:gd name="connsiteY3" fmla="*/ 843 h 10000"/>
                <a:gd name="connsiteX4" fmla="*/ 3624 w 10000"/>
                <a:gd name="connsiteY4" fmla="*/ 765 h 10000"/>
                <a:gd name="connsiteX5" fmla="*/ 3740 w 10000"/>
                <a:gd name="connsiteY5" fmla="*/ 725 h 10000"/>
                <a:gd name="connsiteX6" fmla="*/ 3857 w 10000"/>
                <a:gd name="connsiteY6" fmla="*/ 706 h 10000"/>
                <a:gd name="connsiteX7" fmla="*/ 4070 w 10000"/>
                <a:gd name="connsiteY7" fmla="*/ 59 h 10000"/>
                <a:gd name="connsiteX8" fmla="*/ 4380 w 10000"/>
                <a:gd name="connsiteY8" fmla="*/ 0 h 10000"/>
                <a:gd name="connsiteX9" fmla="*/ 4767 w 10000"/>
                <a:gd name="connsiteY9" fmla="*/ 569 h 10000"/>
                <a:gd name="connsiteX10" fmla="*/ 5019 w 10000"/>
                <a:gd name="connsiteY10" fmla="*/ 549 h 10000"/>
                <a:gd name="connsiteX11" fmla="*/ 5252 w 10000"/>
                <a:gd name="connsiteY11" fmla="*/ 569 h 10000"/>
                <a:gd name="connsiteX12" fmla="*/ 5640 w 10000"/>
                <a:gd name="connsiteY12" fmla="*/ 0 h 10000"/>
                <a:gd name="connsiteX13" fmla="*/ 5795 w 10000"/>
                <a:gd name="connsiteY13" fmla="*/ 20 h 10000"/>
                <a:gd name="connsiteX14" fmla="*/ 5950 w 10000"/>
                <a:gd name="connsiteY14" fmla="*/ 59 h 10000"/>
                <a:gd name="connsiteX15" fmla="*/ 6163 w 10000"/>
                <a:gd name="connsiteY15" fmla="*/ 706 h 10000"/>
                <a:gd name="connsiteX16" fmla="*/ 6395 w 10000"/>
                <a:gd name="connsiteY16" fmla="*/ 765 h 10000"/>
                <a:gd name="connsiteX17" fmla="*/ 6492 w 10000"/>
                <a:gd name="connsiteY17" fmla="*/ 804 h 10000"/>
                <a:gd name="connsiteX18" fmla="*/ 6609 w 10000"/>
                <a:gd name="connsiteY18" fmla="*/ 843 h 10000"/>
                <a:gd name="connsiteX19" fmla="*/ 7151 w 10000"/>
                <a:gd name="connsiteY19" fmla="*/ 451 h 10000"/>
                <a:gd name="connsiteX20" fmla="*/ 7287 w 10000"/>
                <a:gd name="connsiteY20" fmla="*/ 510 h 10000"/>
                <a:gd name="connsiteX21" fmla="*/ 7442 w 10000"/>
                <a:gd name="connsiteY21" fmla="*/ 588 h 10000"/>
                <a:gd name="connsiteX22" fmla="*/ 7442 w 10000"/>
                <a:gd name="connsiteY22" fmla="*/ 1275 h 10000"/>
                <a:gd name="connsiteX23" fmla="*/ 7616 w 10000"/>
                <a:gd name="connsiteY23" fmla="*/ 1412 h 10000"/>
                <a:gd name="connsiteX24" fmla="*/ 7713 w 10000"/>
                <a:gd name="connsiteY24" fmla="*/ 1471 h 10000"/>
                <a:gd name="connsiteX25" fmla="*/ 7810 w 10000"/>
                <a:gd name="connsiteY25" fmla="*/ 1549 h 10000"/>
                <a:gd name="connsiteX26" fmla="*/ 8450 w 10000"/>
                <a:gd name="connsiteY26" fmla="*/ 1333 h 10000"/>
                <a:gd name="connsiteX27" fmla="*/ 8566 w 10000"/>
                <a:gd name="connsiteY27" fmla="*/ 1451 h 10000"/>
                <a:gd name="connsiteX28" fmla="*/ 8682 w 10000"/>
                <a:gd name="connsiteY28" fmla="*/ 1569 h 10000"/>
                <a:gd name="connsiteX29" fmla="*/ 8469 w 10000"/>
                <a:gd name="connsiteY29" fmla="*/ 2216 h 10000"/>
                <a:gd name="connsiteX30" fmla="*/ 8605 w 10000"/>
                <a:gd name="connsiteY30" fmla="*/ 2392 h 10000"/>
                <a:gd name="connsiteX31" fmla="*/ 8740 w 10000"/>
                <a:gd name="connsiteY31" fmla="*/ 2588 h 10000"/>
                <a:gd name="connsiteX32" fmla="*/ 9419 w 10000"/>
                <a:gd name="connsiteY32" fmla="*/ 2588 h 10000"/>
                <a:gd name="connsiteX33" fmla="*/ 9496 w 10000"/>
                <a:gd name="connsiteY33" fmla="*/ 2706 h 10000"/>
                <a:gd name="connsiteX34" fmla="*/ 9574 w 10000"/>
                <a:gd name="connsiteY34" fmla="*/ 2863 h 10000"/>
                <a:gd name="connsiteX35" fmla="*/ 9167 w 10000"/>
                <a:gd name="connsiteY35" fmla="*/ 3392 h 10000"/>
                <a:gd name="connsiteX36" fmla="*/ 9244 w 10000"/>
                <a:gd name="connsiteY36" fmla="*/ 3627 h 10000"/>
                <a:gd name="connsiteX37" fmla="*/ 9283 w 10000"/>
                <a:gd name="connsiteY37" fmla="*/ 3745 h 10000"/>
                <a:gd name="connsiteX38" fmla="*/ 9302 w 10000"/>
                <a:gd name="connsiteY38" fmla="*/ 3863 h 10000"/>
                <a:gd name="connsiteX39" fmla="*/ 9961 w 10000"/>
                <a:gd name="connsiteY39" fmla="*/ 4059 h 10000"/>
                <a:gd name="connsiteX40" fmla="*/ 10000 w 10000"/>
                <a:gd name="connsiteY40" fmla="*/ 4392 h 10000"/>
                <a:gd name="connsiteX41" fmla="*/ 9438 w 10000"/>
                <a:gd name="connsiteY41" fmla="*/ 4765 h 10000"/>
                <a:gd name="connsiteX42" fmla="*/ 9457 w 10000"/>
                <a:gd name="connsiteY42" fmla="*/ 5000 h 10000"/>
                <a:gd name="connsiteX43" fmla="*/ 9438 w 10000"/>
                <a:gd name="connsiteY43" fmla="*/ 5235 h 10000"/>
                <a:gd name="connsiteX44" fmla="*/ 10000 w 10000"/>
                <a:gd name="connsiteY44" fmla="*/ 5627 h 10000"/>
                <a:gd name="connsiteX45" fmla="*/ 9981 w 10000"/>
                <a:gd name="connsiteY45" fmla="*/ 5784 h 10000"/>
                <a:gd name="connsiteX46" fmla="*/ 9961 w 10000"/>
                <a:gd name="connsiteY46" fmla="*/ 5941 h 10000"/>
                <a:gd name="connsiteX47" fmla="*/ 9302 w 10000"/>
                <a:gd name="connsiteY47" fmla="*/ 6157 h 10000"/>
                <a:gd name="connsiteX48" fmla="*/ 9244 w 10000"/>
                <a:gd name="connsiteY48" fmla="*/ 6392 h 10000"/>
                <a:gd name="connsiteX49" fmla="*/ 9205 w 10000"/>
                <a:gd name="connsiteY49" fmla="*/ 6490 h 10000"/>
                <a:gd name="connsiteX50" fmla="*/ 9167 w 10000"/>
                <a:gd name="connsiteY50" fmla="*/ 6608 h 10000"/>
                <a:gd name="connsiteX51" fmla="*/ 9574 w 10000"/>
                <a:gd name="connsiteY51" fmla="*/ 7157 h 10000"/>
                <a:gd name="connsiteX52" fmla="*/ 9496 w 10000"/>
                <a:gd name="connsiteY52" fmla="*/ 7294 h 10000"/>
                <a:gd name="connsiteX53" fmla="*/ 9419 w 10000"/>
                <a:gd name="connsiteY53" fmla="*/ 7431 h 10000"/>
                <a:gd name="connsiteX54" fmla="*/ 8740 w 10000"/>
                <a:gd name="connsiteY54" fmla="*/ 7412 h 10000"/>
                <a:gd name="connsiteX55" fmla="*/ 8605 w 10000"/>
                <a:gd name="connsiteY55" fmla="*/ 7627 h 10000"/>
                <a:gd name="connsiteX56" fmla="*/ 8547 w 10000"/>
                <a:gd name="connsiteY56" fmla="*/ 7706 h 10000"/>
                <a:gd name="connsiteX57" fmla="*/ 8469 w 10000"/>
                <a:gd name="connsiteY57" fmla="*/ 7804 h 10000"/>
                <a:gd name="connsiteX58" fmla="*/ 8682 w 10000"/>
                <a:gd name="connsiteY58" fmla="*/ 8451 h 10000"/>
                <a:gd name="connsiteX59" fmla="*/ 8566 w 10000"/>
                <a:gd name="connsiteY59" fmla="*/ 8569 h 10000"/>
                <a:gd name="connsiteX60" fmla="*/ 8450 w 10000"/>
                <a:gd name="connsiteY60" fmla="*/ 8686 h 10000"/>
                <a:gd name="connsiteX61" fmla="*/ 7810 w 10000"/>
                <a:gd name="connsiteY61" fmla="*/ 8471 h 10000"/>
                <a:gd name="connsiteX62" fmla="*/ 7616 w 10000"/>
                <a:gd name="connsiteY62" fmla="*/ 8608 h 10000"/>
                <a:gd name="connsiteX63" fmla="*/ 7442 w 10000"/>
                <a:gd name="connsiteY63" fmla="*/ 8745 h 10000"/>
                <a:gd name="connsiteX64" fmla="*/ 7442 w 10000"/>
                <a:gd name="connsiteY64" fmla="*/ 9412 h 10000"/>
                <a:gd name="connsiteX65" fmla="*/ 7287 w 10000"/>
                <a:gd name="connsiteY65" fmla="*/ 9510 h 10000"/>
                <a:gd name="connsiteX66" fmla="*/ 7151 w 10000"/>
                <a:gd name="connsiteY66" fmla="*/ 9569 h 10000"/>
                <a:gd name="connsiteX67" fmla="*/ 6609 w 10000"/>
                <a:gd name="connsiteY67" fmla="*/ 9157 h 10000"/>
                <a:gd name="connsiteX68" fmla="*/ 6395 w 10000"/>
                <a:gd name="connsiteY68" fmla="*/ 9235 h 10000"/>
                <a:gd name="connsiteX69" fmla="*/ 6279 w 10000"/>
                <a:gd name="connsiteY69" fmla="*/ 9275 h 10000"/>
                <a:gd name="connsiteX70" fmla="*/ 6163 w 10000"/>
                <a:gd name="connsiteY70" fmla="*/ 9314 h 10000"/>
                <a:gd name="connsiteX71" fmla="*/ 5950 w 10000"/>
                <a:gd name="connsiteY71" fmla="*/ 9961 h 10000"/>
                <a:gd name="connsiteX72" fmla="*/ 5640 w 10000"/>
                <a:gd name="connsiteY72" fmla="*/ 10000 h 10000"/>
                <a:gd name="connsiteX73" fmla="*/ 5252 w 10000"/>
                <a:gd name="connsiteY73" fmla="*/ 9451 h 10000"/>
                <a:gd name="connsiteX74" fmla="*/ 5019 w 10000"/>
                <a:gd name="connsiteY74" fmla="*/ 9451 h 10000"/>
                <a:gd name="connsiteX75" fmla="*/ 4767 w 10000"/>
                <a:gd name="connsiteY75" fmla="*/ 9451 h 10000"/>
                <a:gd name="connsiteX76" fmla="*/ 4380 w 10000"/>
                <a:gd name="connsiteY76" fmla="*/ 10000 h 10000"/>
                <a:gd name="connsiteX77" fmla="*/ 4225 w 10000"/>
                <a:gd name="connsiteY77" fmla="*/ 9980 h 10000"/>
                <a:gd name="connsiteX78" fmla="*/ 4070 w 10000"/>
                <a:gd name="connsiteY78" fmla="*/ 9961 h 10000"/>
                <a:gd name="connsiteX79" fmla="*/ 3857 w 10000"/>
                <a:gd name="connsiteY79" fmla="*/ 9314 h 10000"/>
                <a:gd name="connsiteX80" fmla="*/ 3624 w 10000"/>
                <a:gd name="connsiteY80" fmla="*/ 9235 h 10000"/>
                <a:gd name="connsiteX81" fmla="*/ 3508 w 10000"/>
                <a:gd name="connsiteY81" fmla="*/ 9216 h 10000"/>
                <a:gd name="connsiteX82" fmla="*/ 3411 w 10000"/>
                <a:gd name="connsiteY82" fmla="*/ 9157 h 10000"/>
                <a:gd name="connsiteX83" fmla="*/ 2868 w 10000"/>
                <a:gd name="connsiteY83" fmla="*/ 9569 h 10000"/>
                <a:gd name="connsiteX84" fmla="*/ 2733 w 10000"/>
                <a:gd name="connsiteY84" fmla="*/ 9510 h 10000"/>
                <a:gd name="connsiteX85" fmla="*/ 2578 w 10000"/>
                <a:gd name="connsiteY85" fmla="*/ 9412 h 10000"/>
                <a:gd name="connsiteX86" fmla="*/ 2597 w 10000"/>
                <a:gd name="connsiteY86" fmla="*/ 8745 h 10000"/>
                <a:gd name="connsiteX87" fmla="*/ 2403 w 10000"/>
                <a:gd name="connsiteY87" fmla="*/ 8608 h 10000"/>
                <a:gd name="connsiteX88" fmla="*/ 2306 w 10000"/>
                <a:gd name="connsiteY88" fmla="*/ 8529 h 10000"/>
                <a:gd name="connsiteX89" fmla="*/ 2209 w 10000"/>
                <a:gd name="connsiteY89" fmla="*/ 8471 h 10000"/>
                <a:gd name="connsiteX90" fmla="*/ 1570 w 10000"/>
                <a:gd name="connsiteY90" fmla="*/ 8686 h 10000"/>
                <a:gd name="connsiteX91" fmla="*/ 1453 w 10000"/>
                <a:gd name="connsiteY91" fmla="*/ 8569 h 10000"/>
                <a:gd name="connsiteX92" fmla="*/ 1337 w 10000"/>
                <a:gd name="connsiteY92" fmla="*/ 8451 h 10000"/>
                <a:gd name="connsiteX93" fmla="*/ 1550 w 10000"/>
                <a:gd name="connsiteY93" fmla="*/ 7804 h 10000"/>
                <a:gd name="connsiteX94" fmla="*/ 1415 w 10000"/>
                <a:gd name="connsiteY94" fmla="*/ 7627 h 10000"/>
                <a:gd name="connsiteX95" fmla="*/ 1279 w 10000"/>
                <a:gd name="connsiteY95" fmla="*/ 7412 h 10000"/>
                <a:gd name="connsiteX96" fmla="*/ 601 w 10000"/>
                <a:gd name="connsiteY96" fmla="*/ 7431 h 10000"/>
                <a:gd name="connsiteX97" fmla="*/ 523 w 10000"/>
                <a:gd name="connsiteY97" fmla="*/ 7294 h 10000"/>
                <a:gd name="connsiteX98" fmla="*/ 446 w 10000"/>
                <a:gd name="connsiteY98" fmla="*/ 7157 h 10000"/>
                <a:gd name="connsiteX99" fmla="*/ 853 w 10000"/>
                <a:gd name="connsiteY99" fmla="*/ 6608 h 10000"/>
                <a:gd name="connsiteX100" fmla="*/ 775 w 10000"/>
                <a:gd name="connsiteY100" fmla="*/ 6392 h 10000"/>
                <a:gd name="connsiteX101" fmla="*/ 756 w 10000"/>
                <a:gd name="connsiteY101" fmla="*/ 6275 h 10000"/>
                <a:gd name="connsiteX102" fmla="*/ 717 w 10000"/>
                <a:gd name="connsiteY102" fmla="*/ 6157 h 10000"/>
                <a:gd name="connsiteX103" fmla="*/ 58 w 10000"/>
                <a:gd name="connsiteY103" fmla="*/ 5941 h 10000"/>
                <a:gd name="connsiteX104" fmla="*/ 0 w 10000"/>
                <a:gd name="connsiteY104" fmla="*/ 5627 h 10000"/>
                <a:gd name="connsiteX105" fmla="*/ 581 w 10000"/>
                <a:gd name="connsiteY105" fmla="*/ 5235 h 10000"/>
                <a:gd name="connsiteX106" fmla="*/ 562 w 10000"/>
                <a:gd name="connsiteY106" fmla="*/ 5000 h 10000"/>
                <a:gd name="connsiteX107" fmla="*/ 581 w 10000"/>
                <a:gd name="connsiteY107" fmla="*/ 4765 h 10000"/>
                <a:gd name="connsiteX108" fmla="*/ 0 w 10000"/>
                <a:gd name="connsiteY108" fmla="*/ 4392 h 10000"/>
                <a:gd name="connsiteX109" fmla="*/ 19 w 10000"/>
                <a:gd name="connsiteY109" fmla="*/ 4216 h 10000"/>
                <a:gd name="connsiteX110" fmla="*/ 58 w 10000"/>
                <a:gd name="connsiteY110" fmla="*/ 4059 h 10000"/>
                <a:gd name="connsiteX111" fmla="*/ 717 w 10000"/>
                <a:gd name="connsiteY111" fmla="*/ 3863 h 10000"/>
                <a:gd name="connsiteX112" fmla="*/ 775 w 10000"/>
                <a:gd name="connsiteY112" fmla="*/ 3627 h 10000"/>
                <a:gd name="connsiteX113" fmla="*/ 814 w 10000"/>
                <a:gd name="connsiteY113" fmla="*/ 3510 h 10000"/>
                <a:gd name="connsiteX114" fmla="*/ 853 w 10000"/>
                <a:gd name="connsiteY114" fmla="*/ 3392 h 10000"/>
                <a:gd name="connsiteX115" fmla="*/ 446 w 10000"/>
                <a:gd name="connsiteY115" fmla="*/ 2863 h 10000"/>
                <a:gd name="connsiteX116" fmla="*/ 523 w 10000"/>
                <a:gd name="connsiteY116" fmla="*/ 2706 h 10000"/>
                <a:gd name="connsiteX117" fmla="*/ 601 w 10000"/>
                <a:gd name="connsiteY117" fmla="*/ 2588 h 10000"/>
                <a:gd name="connsiteX118" fmla="*/ 1279 w 10000"/>
                <a:gd name="connsiteY118" fmla="*/ 2588 h 10000"/>
                <a:gd name="connsiteX0" fmla="*/ 2578 w 10000"/>
                <a:gd name="connsiteY0" fmla="*/ 588 h 10000"/>
                <a:gd name="connsiteX1" fmla="*/ 2868 w 10000"/>
                <a:gd name="connsiteY1" fmla="*/ 451 h 10000"/>
                <a:gd name="connsiteX2" fmla="*/ 3411 w 10000"/>
                <a:gd name="connsiteY2" fmla="*/ 843 h 10000"/>
                <a:gd name="connsiteX3" fmla="*/ 3624 w 10000"/>
                <a:gd name="connsiteY3" fmla="*/ 765 h 10000"/>
                <a:gd name="connsiteX4" fmla="*/ 3740 w 10000"/>
                <a:gd name="connsiteY4" fmla="*/ 725 h 10000"/>
                <a:gd name="connsiteX5" fmla="*/ 3857 w 10000"/>
                <a:gd name="connsiteY5" fmla="*/ 706 h 10000"/>
                <a:gd name="connsiteX6" fmla="*/ 4070 w 10000"/>
                <a:gd name="connsiteY6" fmla="*/ 59 h 10000"/>
                <a:gd name="connsiteX7" fmla="*/ 4380 w 10000"/>
                <a:gd name="connsiteY7" fmla="*/ 0 h 10000"/>
                <a:gd name="connsiteX8" fmla="*/ 4767 w 10000"/>
                <a:gd name="connsiteY8" fmla="*/ 569 h 10000"/>
                <a:gd name="connsiteX9" fmla="*/ 5019 w 10000"/>
                <a:gd name="connsiteY9" fmla="*/ 549 h 10000"/>
                <a:gd name="connsiteX10" fmla="*/ 5252 w 10000"/>
                <a:gd name="connsiteY10" fmla="*/ 569 h 10000"/>
                <a:gd name="connsiteX11" fmla="*/ 5640 w 10000"/>
                <a:gd name="connsiteY11" fmla="*/ 0 h 10000"/>
                <a:gd name="connsiteX12" fmla="*/ 5795 w 10000"/>
                <a:gd name="connsiteY12" fmla="*/ 20 h 10000"/>
                <a:gd name="connsiteX13" fmla="*/ 5950 w 10000"/>
                <a:gd name="connsiteY13" fmla="*/ 59 h 10000"/>
                <a:gd name="connsiteX14" fmla="*/ 6163 w 10000"/>
                <a:gd name="connsiteY14" fmla="*/ 706 h 10000"/>
                <a:gd name="connsiteX15" fmla="*/ 6395 w 10000"/>
                <a:gd name="connsiteY15" fmla="*/ 765 h 10000"/>
                <a:gd name="connsiteX16" fmla="*/ 6492 w 10000"/>
                <a:gd name="connsiteY16" fmla="*/ 804 h 10000"/>
                <a:gd name="connsiteX17" fmla="*/ 6609 w 10000"/>
                <a:gd name="connsiteY17" fmla="*/ 843 h 10000"/>
                <a:gd name="connsiteX18" fmla="*/ 7151 w 10000"/>
                <a:gd name="connsiteY18" fmla="*/ 451 h 10000"/>
                <a:gd name="connsiteX19" fmla="*/ 7287 w 10000"/>
                <a:gd name="connsiteY19" fmla="*/ 510 h 10000"/>
                <a:gd name="connsiteX20" fmla="*/ 7442 w 10000"/>
                <a:gd name="connsiteY20" fmla="*/ 588 h 10000"/>
                <a:gd name="connsiteX21" fmla="*/ 7442 w 10000"/>
                <a:gd name="connsiteY21" fmla="*/ 1275 h 10000"/>
                <a:gd name="connsiteX22" fmla="*/ 7616 w 10000"/>
                <a:gd name="connsiteY22" fmla="*/ 1412 h 10000"/>
                <a:gd name="connsiteX23" fmla="*/ 7713 w 10000"/>
                <a:gd name="connsiteY23" fmla="*/ 1471 h 10000"/>
                <a:gd name="connsiteX24" fmla="*/ 7810 w 10000"/>
                <a:gd name="connsiteY24" fmla="*/ 1549 h 10000"/>
                <a:gd name="connsiteX25" fmla="*/ 8450 w 10000"/>
                <a:gd name="connsiteY25" fmla="*/ 1333 h 10000"/>
                <a:gd name="connsiteX26" fmla="*/ 8566 w 10000"/>
                <a:gd name="connsiteY26" fmla="*/ 1451 h 10000"/>
                <a:gd name="connsiteX27" fmla="*/ 8682 w 10000"/>
                <a:gd name="connsiteY27" fmla="*/ 1569 h 10000"/>
                <a:gd name="connsiteX28" fmla="*/ 8469 w 10000"/>
                <a:gd name="connsiteY28" fmla="*/ 2216 h 10000"/>
                <a:gd name="connsiteX29" fmla="*/ 8605 w 10000"/>
                <a:gd name="connsiteY29" fmla="*/ 2392 h 10000"/>
                <a:gd name="connsiteX30" fmla="*/ 8740 w 10000"/>
                <a:gd name="connsiteY30" fmla="*/ 2588 h 10000"/>
                <a:gd name="connsiteX31" fmla="*/ 9419 w 10000"/>
                <a:gd name="connsiteY31" fmla="*/ 2588 h 10000"/>
                <a:gd name="connsiteX32" fmla="*/ 9496 w 10000"/>
                <a:gd name="connsiteY32" fmla="*/ 2706 h 10000"/>
                <a:gd name="connsiteX33" fmla="*/ 9574 w 10000"/>
                <a:gd name="connsiteY33" fmla="*/ 2863 h 10000"/>
                <a:gd name="connsiteX34" fmla="*/ 9167 w 10000"/>
                <a:gd name="connsiteY34" fmla="*/ 3392 h 10000"/>
                <a:gd name="connsiteX35" fmla="*/ 9244 w 10000"/>
                <a:gd name="connsiteY35" fmla="*/ 3627 h 10000"/>
                <a:gd name="connsiteX36" fmla="*/ 9283 w 10000"/>
                <a:gd name="connsiteY36" fmla="*/ 3745 h 10000"/>
                <a:gd name="connsiteX37" fmla="*/ 9302 w 10000"/>
                <a:gd name="connsiteY37" fmla="*/ 3863 h 10000"/>
                <a:gd name="connsiteX38" fmla="*/ 9961 w 10000"/>
                <a:gd name="connsiteY38" fmla="*/ 4059 h 10000"/>
                <a:gd name="connsiteX39" fmla="*/ 10000 w 10000"/>
                <a:gd name="connsiteY39" fmla="*/ 4392 h 10000"/>
                <a:gd name="connsiteX40" fmla="*/ 9438 w 10000"/>
                <a:gd name="connsiteY40" fmla="*/ 4765 h 10000"/>
                <a:gd name="connsiteX41" fmla="*/ 9457 w 10000"/>
                <a:gd name="connsiteY41" fmla="*/ 5000 h 10000"/>
                <a:gd name="connsiteX42" fmla="*/ 9438 w 10000"/>
                <a:gd name="connsiteY42" fmla="*/ 5235 h 10000"/>
                <a:gd name="connsiteX43" fmla="*/ 10000 w 10000"/>
                <a:gd name="connsiteY43" fmla="*/ 5627 h 10000"/>
                <a:gd name="connsiteX44" fmla="*/ 9981 w 10000"/>
                <a:gd name="connsiteY44" fmla="*/ 5784 h 10000"/>
                <a:gd name="connsiteX45" fmla="*/ 9961 w 10000"/>
                <a:gd name="connsiteY45" fmla="*/ 5941 h 10000"/>
                <a:gd name="connsiteX46" fmla="*/ 9302 w 10000"/>
                <a:gd name="connsiteY46" fmla="*/ 6157 h 10000"/>
                <a:gd name="connsiteX47" fmla="*/ 9244 w 10000"/>
                <a:gd name="connsiteY47" fmla="*/ 6392 h 10000"/>
                <a:gd name="connsiteX48" fmla="*/ 9205 w 10000"/>
                <a:gd name="connsiteY48" fmla="*/ 6490 h 10000"/>
                <a:gd name="connsiteX49" fmla="*/ 9167 w 10000"/>
                <a:gd name="connsiteY49" fmla="*/ 6608 h 10000"/>
                <a:gd name="connsiteX50" fmla="*/ 9574 w 10000"/>
                <a:gd name="connsiteY50" fmla="*/ 7157 h 10000"/>
                <a:gd name="connsiteX51" fmla="*/ 9496 w 10000"/>
                <a:gd name="connsiteY51" fmla="*/ 7294 h 10000"/>
                <a:gd name="connsiteX52" fmla="*/ 9419 w 10000"/>
                <a:gd name="connsiteY52" fmla="*/ 7431 h 10000"/>
                <a:gd name="connsiteX53" fmla="*/ 8740 w 10000"/>
                <a:gd name="connsiteY53" fmla="*/ 7412 h 10000"/>
                <a:gd name="connsiteX54" fmla="*/ 8605 w 10000"/>
                <a:gd name="connsiteY54" fmla="*/ 7627 h 10000"/>
                <a:gd name="connsiteX55" fmla="*/ 8547 w 10000"/>
                <a:gd name="connsiteY55" fmla="*/ 7706 h 10000"/>
                <a:gd name="connsiteX56" fmla="*/ 8469 w 10000"/>
                <a:gd name="connsiteY56" fmla="*/ 7804 h 10000"/>
                <a:gd name="connsiteX57" fmla="*/ 8682 w 10000"/>
                <a:gd name="connsiteY57" fmla="*/ 8451 h 10000"/>
                <a:gd name="connsiteX58" fmla="*/ 8566 w 10000"/>
                <a:gd name="connsiteY58" fmla="*/ 8569 h 10000"/>
                <a:gd name="connsiteX59" fmla="*/ 8450 w 10000"/>
                <a:gd name="connsiteY59" fmla="*/ 8686 h 10000"/>
                <a:gd name="connsiteX60" fmla="*/ 7810 w 10000"/>
                <a:gd name="connsiteY60" fmla="*/ 8471 h 10000"/>
                <a:gd name="connsiteX61" fmla="*/ 7616 w 10000"/>
                <a:gd name="connsiteY61" fmla="*/ 8608 h 10000"/>
                <a:gd name="connsiteX62" fmla="*/ 7442 w 10000"/>
                <a:gd name="connsiteY62" fmla="*/ 8745 h 10000"/>
                <a:gd name="connsiteX63" fmla="*/ 7442 w 10000"/>
                <a:gd name="connsiteY63" fmla="*/ 9412 h 10000"/>
                <a:gd name="connsiteX64" fmla="*/ 7287 w 10000"/>
                <a:gd name="connsiteY64" fmla="*/ 9510 h 10000"/>
                <a:gd name="connsiteX65" fmla="*/ 7151 w 10000"/>
                <a:gd name="connsiteY65" fmla="*/ 9569 h 10000"/>
                <a:gd name="connsiteX66" fmla="*/ 6609 w 10000"/>
                <a:gd name="connsiteY66" fmla="*/ 9157 h 10000"/>
                <a:gd name="connsiteX67" fmla="*/ 6395 w 10000"/>
                <a:gd name="connsiteY67" fmla="*/ 9235 h 10000"/>
                <a:gd name="connsiteX68" fmla="*/ 6279 w 10000"/>
                <a:gd name="connsiteY68" fmla="*/ 9275 h 10000"/>
                <a:gd name="connsiteX69" fmla="*/ 6163 w 10000"/>
                <a:gd name="connsiteY69" fmla="*/ 9314 h 10000"/>
                <a:gd name="connsiteX70" fmla="*/ 5950 w 10000"/>
                <a:gd name="connsiteY70" fmla="*/ 9961 h 10000"/>
                <a:gd name="connsiteX71" fmla="*/ 5640 w 10000"/>
                <a:gd name="connsiteY71" fmla="*/ 10000 h 10000"/>
                <a:gd name="connsiteX72" fmla="*/ 5252 w 10000"/>
                <a:gd name="connsiteY72" fmla="*/ 9451 h 10000"/>
                <a:gd name="connsiteX73" fmla="*/ 5019 w 10000"/>
                <a:gd name="connsiteY73" fmla="*/ 9451 h 10000"/>
                <a:gd name="connsiteX74" fmla="*/ 4767 w 10000"/>
                <a:gd name="connsiteY74" fmla="*/ 9451 h 10000"/>
                <a:gd name="connsiteX75" fmla="*/ 4380 w 10000"/>
                <a:gd name="connsiteY75" fmla="*/ 10000 h 10000"/>
                <a:gd name="connsiteX76" fmla="*/ 4225 w 10000"/>
                <a:gd name="connsiteY76" fmla="*/ 9980 h 10000"/>
                <a:gd name="connsiteX77" fmla="*/ 4070 w 10000"/>
                <a:gd name="connsiteY77" fmla="*/ 9961 h 10000"/>
                <a:gd name="connsiteX78" fmla="*/ 3857 w 10000"/>
                <a:gd name="connsiteY78" fmla="*/ 9314 h 10000"/>
                <a:gd name="connsiteX79" fmla="*/ 3624 w 10000"/>
                <a:gd name="connsiteY79" fmla="*/ 9235 h 10000"/>
                <a:gd name="connsiteX80" fmla="*/ 3508 w 10000"/>
                <a:gd name="connsiteY80" fmla="*/ 9216 h 10000"/>
                <a:gd name="connsiteX81" fmla="*/ 3411 w 10000"/>
                <a:gd name="connsiteY81" fmla="*/ 9157 h 10000"/>
                <a:gd name="connsiteX82" fmla="*/ 2868 w 10000"/>
                <a:gd name="connsiteY82" fmla="*/ 9569 h 10000"/>
                <a:gd name="connsiteX83" fmla="*/ 2733 w 10000"/>
                <a:gd name="connsiteY83" fmla="*/ 9510 h 10000"/>
                <a:gd name="connsiteX84" fmla="*/ 2578 w 10000"/>
                <a:gd name="connsiteY84" fmla="*/ 9412 h 10000"/>
                <a:gd name="connsiteX85" fmla="*/ 2597 w 10000"/>
                <a:gd name="connsiteY85" fmla="*/ 8745 h 10000"/>
                <a:gd name="connsiteX86" fmla="*/ 2403 w 10000"/>
                <a:gd name="connsiteY86" fmla="*/ 8608 h 10000"/>
                <a:gd name="connsiteX87" fmla="*/ 2306 w 10000"/>
                <a:gd name="connsiteY87" fmla="*/ 8529 h 10000"/>
                <a:gd name="connsiteX88" fmla="*/ 2209 w 10000"/>
                <a:gd name="connsiteY88" fmla="*/ 8471 h 10000"/>
                <a:gd name="connsiteX89" fmla="*/ 1570 w 10000"/>
                <a:gd name="connsiteY89" fmla="*/ 8686 h 10000"/>
                <a:gd name="connsiteX90" fmla="*/ 1453 w 10000"/>
                <a:gd name="connsiteY90" fmla="*/ 8569 h 10000"/>
                <a:gd name="connsiteX91" fmla="*/ 1337 w 10000"/>
                <a:gd name="connsiteY91" fmla="*/ 8451 h 10000"/>
                <a:gd name="connsiteX92" fmla="*/ 1550 w 10000"/>
                <a:gd name="connsiteY92" fmla="*/ 7804 h 10000"/>
                <a:gd name="connsiteX93" fmla="*/ 1415 w 10000"/>
                <a:gd name="connsiteY93" fmla="*/ 7627 h 10000"/>
                <a:gd name="connsiteX94" fmla="*/ 1279 w 10000"/>
                <a:gd name="connsiteY94" fmla="*/ 7412 h 10000"/>
                <a:gd name="connsiteX95" fmla="*/ 601 w 10000"/>
                <a:gd name="connsiteY95" fmla="*/ 7431 h 10000"/>
                <a:gd name="connsiteX96" fmla="*/ 523 w 10000"/>
                <a:gd name="connsiteY96" fmla="*/ 7294 h 10000"/>
                <a:gd name="connsiteX97" fmla="*/ 446 w 10000"/>
                <a:gd name="connsiteY97" fmla="*/ 7157 h 10000"/>
                <a:gd name="connsiteX98" fmla="*/ 853 w 10000"/>
                <a:gd name="connsiteY98" fmla="*/ 6608 h 10000"/>
                <a:gd name="connsiteX99" fmla="*/ 775 w 10000"/>
                <a:gd name="connsiteY99" fmla="*/ 6392 h 10000"/>
                <a:gd name="connsiteX100" fmla="*/ 756 w 10000"/>
                <a:gd name="connsiteY100" fmla="*/ 6275 h 10000"/>
                <a:gd name="connsiteX101" fmla="*/ 717 w 10000"/>
                <a:gd name="connsiteY101" fmla="*/ 6157 h 10000"/>
                <a:gd name="connsiteX102" fmla="*/ 58 w 10000"/>
                <a:gd name="connsiteY102" fmla="*/ 5941 h 10000"/>
                <a:gd name="connsiteX103" fmla="*/ 0 w 10000"/>
                <a:gd name="connsiteY103" fmla="*/ 5627 h 10000"/>
                <a:gd name="connsiteX104" fmla="*/ 581 w 10000"/>
                <a:gd name="connsiteY104" fmla="*/ 5235 h 10000"/>
                <a:gd name="connsiteX105" fmla="*/ 562 w 10000"/>
                <a:gd name="connsiteY105" fmla="*/ 5000 h 10000"/>
                <a:gd name="connsiteX106" fmla="*/ 581 w 10000"/>
                <a:gd name="connsiteY106" fmla="*/ 4765 h 10000"/>
                <a:gd name="connsiteX107" fmla="*/ 0 w 10000"/>
                <a:gd name="connsiteY107" fmla="*/ 4392 h 10000"/>
                <a:gd name="connsiteX108" fmla="*/ 19 w 10000"/>
                <a:gd name="connsiteY108" fmla="*/ 4216 h 10000"/>
                <a:gd name="connsiteX109" fmla="*/ 58 w 10000"/>
                <a:gd name="connsiteY109" fmla="*/ 4059 h 10000"/>
                <a:gd name="connsiteX110" fmla="*/ 717 w 10000"/>
                <a:gd name="connsiteY110" fmla="*/ 3863 h 10000"/>
                <a:gd name="connsiteX111" fmla="*/ 775 w 10000"/>
                <a:gd name="connsiteY111" fmla="*/ 3627 h 10000"/>
                <a:gd name="connsiteX112" fmla="*/ 814 w 10000"/>
                <a:gd name="connsiteY112" fmla="*/ 3510 h 10000"/>
                <a:gd name="connsiteX113" fmla="*/ 853 w 10000"/>
                <a:gd name="connsiteY113" fmla="*/ 3392 h 10000"/>
                <a:gd name="connsiteX114" fmla="*/ 446 w 10000"/>
                <a:gd name="connsiteY114" fmla="*/ 2863 h 10000"/>
                <a:gd name="connsiteX115" fmla="*/ 523 w 10000"/>
                <a:gd name="connsiteY115" fmla="*/ 2706 h 10000"/>
                <a:gd name="connsiteX116" fmla="*/ 601 w 10000"/>
                <a:gd name="connsiteY116" fmla="*/ 2588 h 10000"/>
                <a:gd name="connsiteX117" fmla="*/ 1279 w 10000"/>
                <a:gd name="connsiteY117" fmla="*/ 2588 h 10000"/>
                <a:gd name="connsiteX0" fmla="*/ 2578 w 10000"/>
                <a:gd name="connsiteY0" fmla="*/ 588 h 10000"/>
                <a:gd name="connsiteX1" fmla="*/ 3411 w 10000"/>
                <a:gd name="connsiteY1" fmla="*/ 843 h 10000"/>
                <a:gd name="connsiteX2" fmla="*/ 3624 w 10000"/>
                <a:gd name="connsiteY2" fmla="*/ 765 h 10000"/>
                <a:gd name="connsiteX3" fmla="*/ 3740 w 10000"/>
                <a:gd name="connsiteY3" fmla="*/ 725 h 10000"/>
                <a:gd name="connsiteX4" fmla="*/ 3857 w 10000"/>
                <a:gd name="connsiteY4" fmla="*/ 706 h 10000"/>
                <a:gd name="connsiteX5" fmla="*/ 4070 w 10000"/>
                <a:gd name="connsiteY5" fmla="*/ 59 h 10000"/>
                <a:gd name="connsiteX6" fmla="*/ 4380 w 10000"/>
                <a:gd name="connsiteY6" fmla="*/ 0 h 10000"/>
                <a:gd name="connsiteX7" fmla="*/ 4767 w 10000"/>
                <a:gd name="connsiteY7" fmla="*/ 569 h 10000"/>
                <a:gd name="connsiteX8" fmla="*/ 5019 w 10000"/>
                <a:gd name="connsiteY8" fmla="*/ 549 h 10000"/>
                <a:gd name="connsiteX9" fmla="*/ 5252 w 10000"/>
                <a:gd name="connsiteY9" fmla="*/ 569 h 10000"/>
                <a:gd name="connsiteX10" fmla="*/ 5640 w 10000"/>
                <a:gd name="connsiteY10" fmla="*/ 0 h 10000"/>
                <a:gd name="connsiteX11" fmla="*/ 5795 w 10000"/>
                <a:gd name="connsiteY11" fmla="*/ 20 h 10000"/>
                <a:gd name="connsiteX12" fmla="*/ 5950 w 10000"/>
                <a:gd name="connsiteY12" fmla="*/ 59 h 10000"/>
                <a:gd name="connsiteX13" fmla="*/ 6163 w 10000"/>
                <a:gd name="connsiteY13" fmla="*/ 706 h 10000"/>
                <a:gd name="connsiteX14" fmla="*/ 6395 w 10000"/>
                <a:gd name="connsiteY14" fmla="*/ 765 h 10000"/>
                <a:gd name="connsiteX15" fmla="*/ 6492 w 10000"/>
                <a:gd name="connsiteY15" fmla="*/ 804 h 10000"/>
                <a:gd name="connsiteX16" fmla="*/ 6609 w 10000"/>
                <a:gd name="connsiteY16" fmla="*/ 843 h 10000"/>
                <a:gd name="connsiteX17" fmla="*/ 7151 w 10000"/>
                <a:gd name="connsiteY17" fmla="*/ 451 h 10000"/>
                <a:gd name="connsiteX18" fmla="*/ 7287 w 10000"/>
                <a:gd name="connsiteY18" fmla="*/ 510 h 10000"/>
                <a:gd name="connsiteX19" fmla="*/ 7442 w 10000"/>
                <a:gd name="connsiteY19" fmla="*/ 588 h 10000"/>
                <a:gd name="connsiteX20" fmla="*/ 7442 w 10000"/>
                <a:gd name="connsiteY20" fmla="*/ 1275 h 10000"/>
                <a:gd name="connsiteX21" fmla="*/ 7616 w 10000"/>
                <a:gd name="connsiteY21" fmla="*/ 1412 h 10000"/>
                <a:gd name="connsiteX22" fmla="*/ 7713 w 10000"/>
                <a:gd name="connsiteY22" fmla="*/ 1471 h 10000"/>
                <a:gd name="connsiteX23" fmla="*/ 7810 w 10000"/>
                <a:gd name="connsiteY23" fmla="*/ 1549 h 10000"/>
                <a:gd name="connsiteX24" fmla="*/ 8450 w 10000"/>
                <a:gd name="connsiteY24" fmla="*/ 1333 h 10000"/>
                <a:gd name="connsiteX25" fmla="*/ 8566 w 10000"/>
                <a:gd name="connsiteY25" fmla="*/ 1451 h 10000"/>
                <a:gd name="connsiteX26" fmla="*/ 8682 w 10000"/>
                <a:gd name="connsiteY26" fmla="*/ 1569 h 10000"/>
                <a:gd name="connsiteX27" fmla="*/ 8469 w 10000"/>
                <a:gd name="connsiteY27" fmla="*/ 2216 h 10000"/>
                <a:gd name="connsiteX28" fmla="*/ 8605 w 10000"/>
                <a:gd name="connsiteY28" fmla="*/ 2392 h 10000"/>
                <a:gd name="connsiteX29" fmla="*/ 8740 w 10000"/>
                <a:gd name="connsiteY29" fmla="*/ 2588 h 10000"/>
                <a:gd name="connsiteX30" fmla="*/ 9419 w 10000"/>
                <a:gd name="connsiteY30" fmla="*/ 2588 h 10000"/>
                <a:gd name="connsiteX31" fmla="*/ 9496 w 10000"/>
                <a:gd name="connsiteY31" fmla="*/ 2706 h 10000"/>
                <a:gd name="connsiteX32" fmla="*/ 9574 w 10000"/>
                <a:gd name="connsiteY32" fmla="*/ 2863 h 10000"/>
                <a:gd name="connsiteX33" fmla="*/ 9167 w 10000"/>
                <a:gd name="connsiteY33" fmla="*/ 3392 h 10000"/>
                <a:gd name="connsiteX34" fmla="*/ 9244 w 10000"/>
                <a:gd name="connsiteY34" fmla="*/ 3627 h 10000"/>
                <a:gd name="connsiteX35" fmla="*/ 9283 w 10000"/>
                <a:gd name="connsiteY35" fmla="*/ 3745 h 10000"/>
                <a:gd name="connsiteX36" fmla="*/ 9302 w 10000"/>
                <a:gd name="connsiteY36" fmla="*/ 3863 h 10000"/>
                <a:gd name="connsiteX37" fmla="*/ 9961 w 10000"/>
                <a:gd name="connsiteY37" fmla="*/ 4059 h 10000"/>
                <a:gd name="connsiteX38" fmla="*/ 10000 w 10000"/>
                <a:gd name="connsiteY38" fmla="*/ 4392 h 10000"/>
                <a:gd name="connsiteX39" fmla="*/ 9438 w 10000"/>
                <a:gd name="connsiteY39" fmla="*/ 4765 h 10000"/>
                <a:gd name="connsiteX40" fmla="*/ 9457 w 10000"/>
                <a:gd name="connsiteY40" fmla="*/ 5000 h 10000"/>
                <a:gd name="connsiteX41" fmla="*/ 9438 w 10000"/>
                <a:gd name="connsiteY41" fmla="*/ 5235 h 10000"/>
                <a:gd name="connsiteX42" fmla="*/ 10000 w 10000"/>
                <a:gd name="connsiteY42" fmla="*/ 5627 h 10000"/>
                <a:gd name="connsiteX43" fmla="*/ 9981 w 10000"/>
                <a:gd name="connsiteY43" fmla="*/ 5784 h 10000"/>
                <a:gd name="connsiteX44" fmla="*/ 9961 w 10000"/>
                <a:gd name="connsiteY44" fmla="*/ 5941 h 10000"/>
                <a:gd name="connsiteX45" fmla="*/ 9302 w 10000"/>
                <a:gd name="connsiteY45" fmla="*/ 6157 h 10000"/>
                <a:gd name="connsiteX46" fmla="*/ 9244 w 10000"/>
                <a:gd name="connsiteY46" fmla="*/ 6392 h 10000"/>
                <a:gd name="connsiteX47" fmla="*/ 9205 w 10000"/>
                <a:gd name="connsiteY47" fmla="*/ 6490 h 10000"/>
                <a:gd name="connsiteX48" fmla="*/ 9167 w 10000"/>
                <a:gd name="connsiteY48" fmla="*/ 6608 h 10000"/>
                <a:gd name="connsiteX49" fmla="*/ 9574 w 10000"/>
                <a:gd name="connsiteY49" fmla="*/ 7157 h 10000"/>
                <a:gd name="connsiteX50" fmla="*/ 9496 w 10000"/>
                <a:gd name="connsiteY50" fmla="*/ 7294 h 10000"/>
                <a:gd name="connsiteX51" fmla="*/ 9419 w 10000"/>
                <a:gd name="connsiteY51" fmla="*/ 7431 h 10000"/>
                <a:gd name="connsiteX52" fmla="*/ 8740 w 10000"/>
                <a:gd name="connsiteY52" fmla="*/ 7412 h 10000"/>
                <a:gd name="connsiteX53" fmla="*/ 8605 w 10000"/>
                <a:gd name="connsiteY53" fmla="*/ 7627 h 10000"/>
                <a:gd name="connsiteX54" fmla="*/ 8547 w 10000"/>
                <a:gd name="connsiteY54" fmla="*/ 7706 h 10000"/>
                <a:gd name="connsiteX55" fmla="*/ 8469 w 10000"/>
                <a:gd name="connsiteY55" fmla="*/ 7804 h 10000"/>
                <a:gd name="connsiteX56" fmla="*/ 8682 w 10000"/>
                <a:gd name="connsiteY56" fmla="*/ 8451 h 10000"/>
                <a:gd name="connsiteX57" fmla="*/ 8566 w 10000"/>
                <a:gd name="connsiteY57" fmla="*/ 8569 h 10000"/>
                <a:gd name="connsiteX58" fmla="*/ 8450 w 10000"/>
                <a:gd name="connsiteY58" fmla="*/ 8686 h 10000"/>
                <a:gd name="connsiteX59" fmla="*/ 7810 w 10000"/>
                <a:gd name="connsiteY59" fmla="*/ 8471 h 10000"/>
                <a:gd name="connsiteX60" fmla="*/ 7616 w 10000"/>
                <a:gd name="connsiteY60" fmla="*/ 8608 h 10000"/>
                <a:gd name="connsiteX61" fmla="*/ 7442 w 10000"/>
                <a:gd name="connsiteY61" fmla="*/ 8745 h 10000"/>
                <a:gd name="connsiteX62" fmla="*/ 7442 w 10000"/>
                <a:gd name="connsiteY62" fmla="*/ 9412 h 10000"/>
                <a:gd name="connsiteX63" fmla="*/ 7287 w 10000"/>
                <a:gd name="connsiteY63" fmla="*/ 9510 h 10000"/>
                <a:gd name="connsiteX64" fmla="*/ 7151 w 10000"/>
                <a:gd name="connsiteY64" fmla="*/ 9569 h 10000"/>
                <a:gd name="connsiteX65" fmla="*/ 6609 w 10000"/>
                <a:gd name="connsiteY65" fmla="*/ 9157 h 10000"/>
                <a:gd name="connsiteX66" fmla="*/ 6395 w 10000"/>
                <a:gd name="connsiteY66" fmla="*/ 9235 h 10000"/>
                <a:gd name="connsiteX67" fmla="*/ 6279 w 10000"/>
                <a:gd name="connsiteY67" fmla="*/ 9275 h 10000"/>
                <a:gd name="connsiteX68" fmla="*/ 6163 w 10000"/>
                <a:gd name="connsiteY68" fmla="*/ 9314 h 10000"/>
                <a:gd name="connsiteX69" fmla="*/ 5950 w 10000"/>
                <a:gd name="connsiteY69" fmla="*/ 9961 h 10000"/>
                <a:gd name="connsiteX70" fmla="*/ 5640 w 10000"/>
                <a:gd name="connsiteY70" fmla="*/ 10000 h 10000"/>
                <a:gd name="connsiteX71" fmla="*/ 5252 w 10000"/>
                <a:gd name="connsiteY71" fmla="*/ 9451 h 10000"/>
                <a:gd name="connsiteX72" fmla="*/ 5019 w 10000"/>
                <a:gd name="connsiteY72" fmla="*/ 9451 h 10000"/>
                <a:gd name="connsiteX73" fmla="*/ 4767 w 10000"/>
                <a:gd name="connsiteY73" fmla="*/ 9451 h 10000"/>
                <a:gd name="connsiteX74" fmla="*/ 4380 w 10000"/>
                <a:gd name="connsiteY74" fmla="*/ 10000 h 10000"/>
                <a:gd name="connsiteX75" fmla="*/ 4225 w 10000"/>
                <a:gd name="connsiteY75" fmla="*/ 9980 h 10000"/>
                <a:gd name="connsiteX76" fmla="*/ 4070 w 10000"/>
                <a:gd name="connsiteY76" fmla="*/ 9961 h 10000"/>
                <a:gd name="connsiteX77" fmla="*/ 3857 w 10000"/>
                <a:gd name="connsiteY77" fmla="*/ 9314 h 10000"/>
                <a:gd name="connsiteX78" fmla="*/ 3624 w 10000"/>
                <a:gd name="connsiteY78" fmla="*/ 9235 h 10000"/>
                <a:gd name="connsiteX79" fmla="*/ 3508 w 10000"/>
                <a:gd name="connsiteY79" fmla="*/ 9216 h 10000"/>
                <a:gd name="connsiteX80" fmla="*/ 3411 w 10000"/>
                <a:gd name="connsiteY80" fmla="*/ 9157 h 10000"/>
                <a:gd name="connsiteX81" fmla="*/ 2868 w 10000"/>
                <a:gd name="connsiteY81" fmla="*/ 9569 h 10000"/>
                <a:gd name="connsiteX82" fmla="*/ 2733 w 10000"/>
                <a:gd name="connsiteY82" fmla="*/ 9510 h 10000"/>
                <a:gd name="connsiteX83" fmla="*/ 2578 w 10000"/>
                <a:gd name="connsiteY83" fmla="*/ 9412 h 10000"/>
                <a:gd name="connsiteX84" fmla="*/ 2597 w 10000"/>
                <a:gd name="connsiteY84" fmla="*/ 8745 h 10000"/>
                <a:gd name="connsiteX85" fmla="*/ 2403 w 10000"/>
                <a:gd name="connsiteY85" fmla="*/ 8608 h 10000"/>
                <a:gd name="connsiteX86" fmla="*/ 2306 w 10000"/>
                <a:gd name="connsiteY86" fmla="*/ 8529 h 10000"/>
                <a:gd name="connsiteX87" fmla="*/ 2209 w 10000"/>
                <a:gd name="connsiteY87" fmla="*/ 8471 h 10000"/>
                <a:gd name="connsiteX88" fmla="*/ 1570 w 10000"/>
                <a:gd name="connsiteY88" fmla="*/ 8686 h 10000"/>
                <a:gd name="connsiteX89" fmla="*/ 1453 w 10000"/>
                <a:gd name="connsiteY89" fmla="*/ 8569 h 10000"/>
                <a:gd name="connsiteX90" fmla="*/ 1337 w 10000"/>
                <a:gd name="connsiteY90" fmla="*/ 8451 h 10000"/>
                <a:gd name="connsiteX91" fmla="*/ 1550 w 10000"/>
                <a:gd name="connsiteY91" fmla="*/ 7804 h 10000"/>
                <a:gd name="connsiteX92" fmla="*/ 1415 w 10000"/>
                <a:gd name="connsiteY92" fmla="*/ 7627 h 10000"/>
                <a:gd name="connsiteX93" fmla="*/ 1279 w 10000"/>
                <a:gd name="connsiteY93" fmla="*/ 7412 h 10000"/>
                <a:gd name="connsiteX94" fmla="*/ 601 w 10000"/>
                <a:gd name="connsiteY94" fmla="*/ 7431 h 10000"/>
                <a:gd name="connsiteX95" fmla="*/ 523 w 10000"/>
                <a:gd name="connsiteY95" fmla="*/ 7294 h 10000"/>
                <a:gd name="connsiteX96" fmla="*/ 446 w 10000"/>
                <a:gd name="connsiteY96" fmla="*/ 7157 h 10000"/>
                <a:gd name="connsiteX97" fmla="*/ 853 w 10000"/>
                <a:gd name="connsiteY97" fmla="*/ 6608 h 10000"/>
                <a:gd name="connsiteX98" fmla="*/ 775 w 10000"/>
                <a:gd name="connsiteY98" fmla="*/ 6392 h 10000"/>
                <a:gd name="connsiteX99" fmla="*/ 756 w 10000"/>
                <a:gd name="connsiteY99" fmla="*/ 6275 h 10000"/>
                <a:gd name="connsiteX100" fmla="*/ 717 w 10000"/>
                <a:gd name="connsiteY100" fmla="*/ 6157 h 10000"/>
                <a:gd name="connsiteX101" fmla="*/ 58 w 10000"/>
                <a:gd name="connsiteY101" fmla="*/ 5941 h 10000"/>
                <a:gd name="connsiteX102" fmla="*/ 0 w 10000"/>
                <a:gd name="connsiteY102" fmla="*/ 5627 h 10000"/>
                <a:gd name="connsiteX103" fmla="*/ 581 w 10000"/>
                <a:gd name="connsiteY103" fmla="*/ 5235 h 10000"/>
                <a:gd name="connsiteX104" fmla="*/ 562 w 10000"/>
                <a:gd name="connsiteY104" fmla="*/ 5000 h 10000"/>
                <a:gd name="connsiteX105" fmla="*/ 581 w 10000"/>
                <a:gd name="connsiteY105" fmla="*/ 4765 h 10000"/>
                <a:gd name="connsiteX106" fmla="*/ 0 w 10000"/>
                <a:gd name="connsiteY106" fmla="*/ 4392 h 10000"/>
                <a:gd name="connsiteX107" fmla="*/ 19 w 10000"/>
                <a:gd name="connsiteY107" fmla="*/ 4216 h 10000"/>
                <a:gd name="connsiteX108" fmla="*/ 58 w 10000"/>
                <a:gd name="connsiteY108" fmla="*/ 4059 h 10000"/>
                <a:gd name="connsiteX109" fmla="*/ 717 w 10000"/>
                <a:gd name="connsiteY109" fmla="*/ 3863 h 10000"/>
                <a:gd name="connsiteX110" fmla="*/ 775 w 10000"/>
                <a:gd name="connsiteY110" fmla="*/ 3627 h 10000"/>
                <a:gd name="connsiteX111" fmla="*/ 814 w 10000"/>
                <a:gd name="connsiteY111" fmla="*/ 3510 h 10000"/>
                <a:gd name="connsiteX112" fmla="*/ 853 w 10000"/>
                <a:gd name="connsiteY112" fmla="*/ 3392 h 10000"/>
                <a:gd name="connsiteX113" fmla="*/ 446 w 10000"/>
                <a:gd name="connsiteY113" fmla="*/ 2863 h 10000"/>
                <a:gd name="connsiteX114" fmla="*/ 523 w 10000"/>
                <a:gd name="connsiteY114" fmla="*/ 2706 h 10000"/>
                <a:gd name="connsiteX115" fmla="*/ 601 w 10000"/>
                <a:gd name="connsiteY115" fmla="*/ 2588 h 10000"/>
                <a:gd name="connsiteX116" fmla="*/ 1279 w 10000"/>
                <a:gd name="connsiteY116" fmla="*/ 2588 h 10000"/>
                <a:gd name="connsiteX0" fmla="*/ 3411 w 10000"/>
                <a:gd name="connsiteY0" fmla="*/ 843 h 10000"/>
                <a:gd name="connsiteX1" fmla="*/ 3624 w 10000"/>
                <a:gd name="connsiteY1" fmla="*/ 765 h 10000"/>
                <a:gd name="connsiteX2" fmla="*/ 3740 w 10000"/>
                <a:gd name="connsiteY2" fmla="*/ 725 h 10000"/>
                <a:gd name="connsiteX3" fmla="*/ 3857 w 10000"/>
                <a:gd name="connsiteY3" fmla="*/ 706 h 10000"/>
                <a:gd name="connsiteX4" fmla="*/ 4070 w 10000"/>
                <a:gd name="connsiteY4" fmla="*/ 59 h 10000"/>
                <a:gd name="connsiteX5" fmla="*/ 4380 w 10000"/>
                <a:gd name="connsiteY5" fmla="*/ 0 h 10000"/>
                <a:gd name="connsiteX6" fmla="*/ 4767 w 10000"/>
                <a:gd name="connsiteY6" fmla="*/ 569 h 10000"/>
                <a:gd name="connsiteX7" fmla="*/ 5019 w 10000"/>
                <a:gd name="connsiteY7" fmla="*/ 549 h 10000"/>
                <a:gd name="connsiteX8" fmla="*/ 5252 w 10000"/>
                <a:gd name="connsiteY8" fmla="*/ 569 h 10000"/>
                <a:gd name="connsiteX9" fmla="*/ 5640 w 10000"/>
                <a:gd name="connsiteY9" fmla="*/ 0 h 10000"/>
                <a:gd name="connsiteX10" fmla="*/ 5795 w 10000"/>
                <a:gd name="connsiteY10" fmla="*/ 20 h 10000"/>
                <a:gd name="connsiteX11" fmla="*/ 5950 w 10000"/>
                <a:gd name="connsiteY11" fmla="*/ 59 h 10000"/>
                <a:gd name="connsiteX12" fmla="*/ 6163 w 10000"/>
                <a:gd name="connsiteY12" fmla="*/ 706 h 10000"/>
                <a:gd name="connsiteX13" fmla="*/ 6395 w 10000"/>
                <a:gd name="connsiteY13" fmla="*/ 765 h 10000"/>
                <a:gd name="connsiteX14" fmla="*/ 6492 w 10000"/>
                <a:gd name="connsiteY14" fmla="*/ 804 h 10000"/>
                <a:gd name="connsiteX15" fmla="*/ 6609 w 10000"/>
                <a:gd name="connsiteY15" fmla="*/ 843 h 10000"/>
                <a:gd name="connsiteX16" fmla="*/ 7151 w 10000"/>
                <a:gd name="connsiteY16" fmla="*/ 451 h 10000"/>
                <a:gd name="connsiteX17" fmla="*/ 7287 w 10000"/>
                <a:gd name="connsiteY17" fmla="*/ 510 h 10000"/>
                <a:gd name="connsiteX18" fmla="*/ 7442 w 10000"/>
                <a:gd name="connsiteY18" fmla="*/ 588 h 10000"/>
                <a:gd name="connsiteX19" fmla="*/ 7442 w 10000"/>
                <a:gd name="connsiteY19" fmla="*/ 1275 h 10000"/>
                <a:gd name="connsiteX20" fmla="*/ 7616 w 10000"/>
                <a:gd name="connsiteY20" fmla="*/ 1412 h 10000"/>
                <a:gd name="connsiteX21" fmla="*/ 7713 w 10000"/>
                <a:gd name="connsiteY21" fmla="*/ 1471 h 10000"/>
                <a:gd name="connsiteX22" fmla="*/ 7810 w 10000"/>
                <a:gd name="connsiteY22" fmla="*/ 1549 h 10000"/>
                <a:gd name="connsiteX23" fmla="*/ 8450 w 10000"/>
                <a:gd name="connsiteY23" fmla="*/ 1333 h 10000"/>
                <a:gd name="connsiteX24" fmla="*/ 8566 w 10000"/>
                <a:gd name="connsiteY24" fmla="*/ 1451 h 10000"/>
                <a:gd name="connsiteX25" fmla="*/ 8682 w 10000"/>
                <a:gd name="connsiteY25" fmla="*/ 1569 h 10000"/>
                <a:gd name="connsiteX26" fmla="*/ 8469 w 10000"/>
                <a:gd name="connsiteY26" fmla="*/ 2216 h 10000"/>
                <a:gd name="connsiteX27" fmla="*/ 8605 w 10000"/>
                <a:gd name="connsiteY27" fmla="*/ 2392 h 10000"/>
                <a:gd name="connsiteX28" fmla="*/ 8740 w 10000"/>
                <a:gd name="connsiteY28" fmla="*/ 2588 h 10000"/>
                <a:gd name="connsiteX29" fmla="*/ 9419 w 10000"/>
                <a:gd name="connsiteY29" fmla="*/ 2588 h 10000"/>
                <a:gd name="connsiteX30" fmla="*/ 9496 w 10000"/>
                <a:gd name="connsiteY30" fmla="*/ 2706 h 10000"/>
                <a:gd name="connsiteX31" fmla="*/ 9574 w 10000"/>
                <a:gd name="connsiteY31" fmla="*/ 2863 h 10000"/>
                <a:gd name="connsiteX32" fmla="*/ 9167 w 10000"/>
                <a:gd name="connsiteY32" fmla="*/ 3392 h 10000"/>
                <a:gd name="connsiteX33" fmla="*/ 9244 w 10000"/>
                <a:gd name="connsiteY33" fmla="*/ 3627 h 10000"/>
                <a:gd name="connsiteX34" fmla="*/ 9283 w 10000"/>
                <a:gd name="connsiteY34" fmla="*/ 3745 h 10000"/>
                <a:gd name="connsiteX35" fmla="*/ 9302 w 10000"/>
                <a:gd name="connsiteY35" fmla="*/ 3863 h 10000"/>
                <a:gd name="connsiteX36" fmla="*/ 9961 w 10000"/>
                <a:gd name="connsiteY36" fmla="*/ 4059 h 10000"/>
                <a:gd name="connsiteX37" fmla="*/ 10000 w 10000"/>
                <a:gd name="connsiteY37" fmla="*/ 4392 h 10000"/>
                <a:gd name="connsiteX38" fmla="*/ 9438 w 10000"/>
                <a:gd name="connsiteY38" fmla="*/ 4765 h 10000"/>
                <a:gd name="connsiteX39" fmla="*/ 9457 w 10000"/>
                <a:gd name="connsiteY39" fmla="*/ 5000 h 10000"/>
                <a:gd name="connsiteX40" fmla="*/ 9438 w 10000"/>
                <a:gd name="connsiteY40" fmla="*/ 5235 h 10000"/>
                <a:gd name="connsiteX41" fmla="*/ 10000 w 10000"/>
                <a:gd name="connsiteY41" fmla="*/ 5627 h 10000"/>
                <a:gd name="connsiteX42" fmla="*/ 9981 w 10000"/>
                <a:gd name="connsiteY42" fmla="*/ 5784 h 10000"/>
                <a:gd name="connsiteX43" fmla="*/ 9961 w 10000"/>
                <a:gd name="connsiteY43" fmla="*/ 5941 h 10000"/>
                <a:gd name="connsiteX44" fmla="*/ 9302 w 10000"/>
                <a:gd name="connsiteY44" fmla="*/ 6157 h 10000"/>
                <a:gd name="connsiteX45" fmla="*/ 9244 w 10000"/>
                <a:gd name="connsiteY45" fmla="*/ 6392 h 10000"/>
                <a:gd name="connsiteX46" fmla="*/ 9205 w 10000"/>
                <a:gd name="connsiteY46" fmla="*/ 6490 h 10000"/>
                <a:gd name="connsiteX47" fmla="*/ 9167 w 10000"/>
                <a:gd name="connsiteY47" fmla="*/ 6608 h 10000"/>
                <a:gd name="connsiteX48" fmla="*/ 9574 w 10000"/>
                <a:gd name="connsiteY48" fmla="*/ 7157 h 10000"/>
                <a:gd name="connsiteX49" fmla="*/ 9496 w 10000"/>
                <a:gd name="connsiteY49" fmla="*/ 7294 h 10000"/>
                <a:gd name="connsiteX50" fmla="*/ 9419 w 10000"/>
                <a:gd name="connsiteY50" fmla="*/ 7431 h 10000"/>
                <a:gd name="connsiteX51" fmla="*/ 8740 w 10000"/>
                <a:gd name="connsiteY51" fmla="*/ 7412 h 10000"/>
                <a:gd name="connsiteX52" fmla="*/ 8605 w 10000"/>
                <a:gd name="connsiteY52" fmla="*/ 7627 h 10000"/>
                <a:gd name="connsiteX53" fmla="*/ 8547 w 10000"/>
                <a:gd name="connsiteY53" fmla="*/ 7706 h 10000"/>
                <a:gd name="connsiteX54" fmla="*/ 8469 w 10000"/>
                <a:gd name="connsiteY54" fmla="*/ 7804 h 10000"/>
                <a:gd name="connsiteX55" fmla="*/ 8682 w 10000"/>
                <a:gd name="connsiteY55" fmla="*/ 8451 h 10000"/>
                <a:gd name="connsiteX56" fmla="*/ 8566 w 10000"/>
                <a:gd name="connsiteY56" fmla="*/ 8569 h 10000"/>
                <a:gd name="connsiteX57" fmla="*/ 8450 w 10000"/>
                <a:gd name="connsiteY57" fmla="*/ 8686 h 10000"/>
                <a:gd name="connsiteX58" fmla="*/ 7810 w 10000"/>
                <a:gd name="connsiteY58" fmla="*/ 8471 h 10000"/>
                <a:gd name="connsiteX59" fmla="*/ 7616 w 10000"/>
                <a:gd name="connsiteY59" fmla="*/ 8608 h 10000"/>
                <a:gd name="connsiteX60" fmla="*/ 7442 w 10000"/>
                <a:gd name="connsiteY60" fmla="*/ 8745 h 10000"/>
                <a:gd name="connsiteX61" fmla="*/ 7442 w 10000"/>
                <a:gd name="connsiteY61" fmla="*/ 9412 h 10000"/>
                <a:gd name="connsiteX62" fmla="*/ 7287 w 10000"/>
                <a:gd name="connsiteY62" fmla="*/ 9510 h 10000"/>
                <a:gd name="connsiteX63" fmla="*/ 7151 w 10000"/>
                <a:gd name="connsiteY63" fmla="*/ 9569 h 10000"/>
                <a:gd name="connsiteX64" fmla="*/ 6609 w 10000"/>
                <a:gd name="connsiteY64" fmla="*/ 9157 h 10000"/>
                <a:gd name="connsiteX65" fmla="*/ 6395 w 10000"/>
                <a:gd name="connsiteY65" fmla="*/ 9235 h 10000"/>
                <a:gd name="connsiteX66" fmla="*/ 6279 w 10000"/>
                <a:gd name="connsiteY66" fmla="*/ 9275 h 10000"/>
                <a:gd name="connsiteX67" fmla="*/ 6163 w 10000"/>
                <a:gd name="connsiteY67" fmla="*/ 9314 h 10000"/>
                <a:gd name="connsiteX68" fmla="*/ 5950 w 10000"/>
                <a:gd name="connsiteY68" fmla="*/ 9961 h 10000"/>
                <a:gd name="connsiteX69" fmla="*/ 5640 w 10000"/>
                <a:gd name="connsiteY69" fmla="*/ 10000 h 10000"/>
                <a:gd name="connsiteX70" fmla="*/ 5252 w 10000"/>
                <a:gd name="connsiteY70" fmla="*/ 9451 h 10000"/>
                <a:gd name="connsiteX71" fmla="*/ 5019 w 10000"/>
                <a:gd name="connsiteY71" fmla="*/ 9451 h 10000"/>
                <a:gd name="connsiteX72" fmla="*/ 4767 w 10000"/>
                <a:gd name="connsiteY72" fmla="*/ 9451 h 10000"/>
                <a:gd name="connsiteX73" fmla="*/ 4380 w 10000"/>
                <a:gd name="connsiteY73" fmla="*/ 10000 h 10000"/>
                <a:gd name="connsiteX74" fmla="*/ 4225 w 10000"/>
                <a:gd name="connsiteY74" fmla="*/ 9980 h 10000"/>
                <a:gd name="connsiteX75" fmla="*/ 4070 w 10000"/>
                <a:gd name="connsiteY75" fmla="*/ 9961 h 10000"/>
                <a:gd name="connsiteX76" fmla="*/ 3857 w 10000"/>
                <a:gd name="connsiteY76" fmla="*/ 9314 h 10000"/>
                <a:gd name="connsiteX77" fmla="*/ 3624 w 10000"/>
                <a:gd name="connsiteY77" fmla="*/ 9235 h 10000"/>
                <a:gd name="connsiteX78" fmla="*/ 3508 w 10000"/>
                <a:gd name="connsiteY78" fmla="*/ 9216 h 10000"/>
                <a:gd name="connsiteX79" fmla="*/ 3411 w 10000"/>
                <a:gd name="connsiteY79" fmla="*/ 9157 h 10000"/>
                <a:gd name="connsiteX80" fmla="*/ 2868 w 10000"/>
                <a:gd name="connsiteY80" fmla="*/ 9569 h 10000"/>
                <a:gd name="connsiteX81" fmla="*/ 2733 w 10000"/>
                <a:gd name="connsiteY81" fmla="*/ 9510 h 10000"/>
                <a:gd name="connsiteX82" fmla="*/ 2578 w 10000"/>
                <a:gd name="connsiteY82" fmla="*/ 9412 h 10000"/>
                <a:gd name="connsiteX83" fmla="*/ 2597 w 10000"/>
                <a:gd name="connsiteY83" fmla="*/ 8745 h 10000"/>
                <a:gd name="connsiteX84" fmla="*/ 2403 w 10000"/>
                <a:gd name="connsiteY84" fmla="*/ 8608 h 10000"/>
                <a:gd name="connsiteX85" fmla="*/ 2306 w 10000"/>
                <a:gd name="connsiteY85" fmla="*/ 8529 h 10000"/>
                <a:gd name="connsiteX86" fmla="*/ 2209 w 10000"/>
                <a:gd name="connsiteY86" fmla="*/ 8471 h 10000"/>
                <a:gd name="connsiteX87" fmla="*/ 1570 w 10000"/>
                <a:gd name="connsiteY87" fmla="*/ 8686 h 10000"/>
                <a:gd name="connsiteX88" fmla="*/ 1453 w 10000"/>
                <a:gd name="connsiteY88" fmla="*/ 8569 h 10000"/>
                <a:gd name="connsiteX89" fmla="*/ 1337 w 10000"/>
                <a:gd name="connsiteY89" fmla="*/ 8451 h 10000"/>
                <a:gd name="connsiteX90" fmla="*/ 1550 w 10000"/>
                <a:gd name="connsiteY90" fmla="*/ 7804 h 10000"/>
                <a:gd name="connsiteX91" fmla="*/ 1415 w 10000"/>
                <a:gd name="connsiteY91" fmla="*/ 7627 h 10000"/>
                <a:gd name="connsiteX92" fmla="*/ 1279 w 10000"/>
                <a:gd name="connsiteY92" fmla="*/ 7412 h 10000"/>
                <a:gd name="connsiteX93" fmla="*/ 601 w 10000"/>
                <a:gd name="connsiteY93" fmla="*/ 7431 h 10000"/>
                <a:gd name="connsiteX94" fmla="*/ 523 w 10000"/>
                <a:gd name="connsiteY94" fmla="*/ 7294 h 10000"/>
                <a:gd name="connsiteX95" fmla="*/ 446 w 10000"/>
                <a:gd name="connsiteY95" fmla="*/ 7157 h 10000"/>
                <a:gd name="connsiteX96" fmla="*/ 853 w 10000"/>
                <a:gd name="connsiteY96" fmla="*/ 6608 h 10000"/>
                <a:gd name="connsiteX97" fmla="*/ 775 w 10000"/>
                <a:gd name="connsiteY97" fmla="*/ 6392 h 10000"/>
                <a:gd name="connsiteX98" fmla="*/ 756 w 10000"/>
                <a:gd name="connsiteY98" fmla="*/ 6275 h 10000"/>
                <a:gd name="connsiteX99" fmla="*/ 717 w 10000"/>
                <a:gd name="connsiteY99" fmla="*/ 6157 h 10000"/>
                <a:gd name="connsiteX100" fmla="*/ 58 w 10000"/>
                <a:gd name="connsiteY100" fmla="*/ 5941 h 10000"/>
                <a:gd name="connsiteX101" fmla="*/ 0 w 10000"/>
                <a:gd name="connsiteY101" fmla="*/ 5627 h 10000"/>
                <a:gd name="connsiteX102" fmla="*/ 581 w 10000"/>
                <a:gd name="connsiteY102" fmla="*/ 5235 h 10000"/>
                <a:gd name="connsiteX103" fmla="*/ 562 w 10000"/>
                <a:gd name="connsiteY103" fmla="*/ 5000 h 10000"/>
                <a:gd name="connsiteX104" fmla="*/ 581 w 10000"/>
                <a:gd name="connsiteY104" fmla="*/ 4765 h 10000"/>
                <a:gd name="connsiteX105" fmla="*/ 0 w 10000"/>
                <a:gd name="connsiteY105" fmla="*/ 4392 h 10000"/>
                <a:gd name="connsiteX106" fmla="*/ 19 w 10000"/>
                <a:gd name="connsiteY106" fmla="*/ 4216 h 10000"/>
                <a:gd name="connsiteX107" fmla="*/ 58 w 10000"/>
                <a:gd name="connsiteY107" fmla="*/ 4059 h 10000"/>
                <a:gd name="connsiteX108" fmla="*/ 717 w 10000"/>
                <a:gd name="connsiteY108" fmla="*/ 3863 h 10000"/>
                <a:gd name="connsiteX109" fmla="*/ 775 w 10000"/>
                <a:gd name="connsiteY109" fmla="*/ 3627 h 10000"/>
                <a:gd name="connsiteX110" fmla="*/ 814 w 10000"/>
                <a:gd name="connsiteY110" fmla="*/ 3510 h 10000"/>
                <a:gd name="connsiteX111" fmla="*/ 853 w 10000"/>
                <a:gd name="connsiteY111" fmla="*/ 3392 h 10000"/>
                <a:gd name="connsiteX112" fmla="*/ 446 w 10000"/>
                <a:gd name="connsiteY112" fmla="*/ 2863 h 10000"/>
                <a:gd name="connsiteX113" fmla="*/ 523 w 10000"/>
                <a:gd name="connsiteY113" fmla="*/ 2706 h 10000"/>
                <a:gd name="connsiteX114" fmla="*/ 601 w 10000"/>
                <a:gd name="connsiteY114" fmla="*/ 2588 h 10000"/>
                <a:gd name="connsiteX115" fmla="*/ 1279 w 10000"/>
                <a:gd name="connsiteY115" fmla="*/ 2588 h 10000"/>
                <a:gd name="connsiteX0" fmla="*/ 3411 w 10000"/>
                <a:gd name="connsiteY0" fmla="*/ 843 h 10000"/>
                <a:gd name="connsiteX1" fmla="*/ 3740 w 10000"/>
                <a:gd name="connsiteY1" fmla="*/ 725 h 10000"/>
                <a:gd name="connsiteX2" fmla="*/ 3857 w 10000"/>
                <a:gd name="connsiteY2" fmla="*/ 706 h 10000"/>
                <a:gd name="connsiteX3" fmla="*/ 4070 w 10000"/>
                <a:gd name="connsiteY3" fmla="*/ 59 h 10000"/>
                <a:gd name="connsiteX4" fmla="*/ 4380 w 10000"/>
                <a:gd name="connsiteY4" fmla="*/ 0 h 10000"/>
                <a:gd name="connsiteX5" fmla="*/ 4767 w 10000"/>
                <a:gd name="connsiteY5" fmla="*/ 569 h 10000"/>
                <a:gd name="connsiteX6" fmla="*/ 5019 w 10000"/>
                <a:gd name="connsiteY6" fmla="*/ 549 h 10000"/>
                <a:gd name="connsiteX7" fmla="*/ 5252 w 10000"/>
                <a:gd name="connsiteY7" fmla="*/ 569 h 10000"/>
                <a:gd name="connsiteX8" fmla="*/ 5640 w 10000"/>
                <a:gd name="connsiteY8" fmla="*/ 0 h 10000"/>
                <a:gd name="connsiteX9" fmla="*/ 5795 w 10000"/>
                <a:gd name="connsiteY9" fmla="*/ 20 h 10000"/>
                <a:gd name="connsiteX10" fmla="*/ 5950 w 10000"/>
                <a:gd name="connsiteY10" fmla="*/ 59 h 10000"/>
                <a:gd name="connsiteX11" fmla="*/ 6163 w 10000"/>
                <a:gd name="connsiteY11" fmla="*/ 706 h 10000"/>
                <a:gd name="connsiteX12" fmla="*/ 6395 w 10000"/>
                <a:gd name="connsiteY12" fmla="*/ 765 h 10000"/>
                <a:gd name="connsiteX13" fmla="*/ 6492 w 10000"/>
                <a:gd name="connsiteY13" fmla="*/ 804 h 10000"/>
                <a:gd name="connsiteX14" fmla="*/ 6609 w 10000"/>
                <a:gd name="connsiteY14" fmla="*/ 843 h 10000"/>
                <a:gd name="connsiteX15" fmla="*/ 7151 w 10000"/>
                <a:gd name="connsiteY15" fmla="*/ 451 h 10000"/>
                <a:gd name="connsiteX16" fmla="*/ 7287 w 10000"/>
                <a:gd name="connsiteY16" fmla="*/ 510 h 10000"/>
                <a:gd name="connsiteX17" fmla="*/ 7442 w 10000"/>
                <a:gd name="connsiteY17" fmla="*/ 588 h 10000"/>
                <a:gd name="connsiteX18" fmla="*/ 7442 w 10000"/>
                <a:gd name="connsiteY18" fmla="*/ 1275 h 10000"/>
                <a:gd name="connsiteX19" fmla="*/ 7616 w 10000"/>
                <a:gd name="connsiteY19" fmla="*/ 1412 h 10000"/>
                <a:gd name="connsiteX20" fmla="*/ 7713 w 10000"/>
                <a:gd name="connsiteY20" fmla="*/ 1471 h 10000"/>
                <a:gd name="connsiteX21" fmla="*/ 7810 w 10000"/>
                <a:gd name="connsiteY21" fmla="*/ 1549 h 10000"/>
                <a:gd name="connsiteX22" fmla="*/ 8450 w 10000"/>
                <a:gd name="connsiteY22" fmla="*/ 1333 h 10000"/>
                <a:gd name="connsiteX23" fmla="*/ 8566 w 10000"/>
                <a:gd name="connsiteY23" fmla="*/ 1451 h 10000"/>
                <a:gd name="connsiteX24" fmla="*/ 8682 w 10000"/>
                <a:gd name="connsiteY24" fmla="*/ 1569 h 10000"/>
                <a:gd name="connsiteX25" fmla="*/ 8469 w 10000"/>
                <a:gd name="connsiteY25" fmla="*/ 2216 h 10000"/>
                <a:gd name="connsiteX26" fmla="*/ 8605 w 10000"/>
                <a:gd name="connsiteY26" fmla="*/ 2392 h 10000"/>
                <a:gd name="connsiteX27" fmla="*/ 8740 w 10000"/>
                <a:gd name="connsiteY27" fmla="*/ 2588 h 10000"/>
                <a:gd name="connsiteX28" fmla="*/ 9419 w 10000"/>
                <a:gd name="connsiteY28" fmla="*/ 2588 h 10000"/>
                <a:gd name="connsiteX29" fmla="*/ 9496 w 10000"/>
                <a:gd name="connsiteY29" fmla="*/ 2706 h 10000"/>
                <a:gd name="connsiteX30" fmla="*/ 9574 w 10000"/>
                <a:gd name="connsiteY30" fmla="*/ 2863 h 10000"/>
                <a:gd name="connsiteX31" fmla="*/ 9167 w 10000"/>
                <a:gd name="connsiteY31" fmla="*/ 3392 h 10000"/>
                <a:gd name="connsiteX32" fmla="*/ 9244 w 10000"/>
                <a:gd name="connsiteY32" fmla="*/ 3627 h 10000"/>
                <a:gd name="connsiteX33" fmla="*/ 9283 w 10000"/>
                <a:gd name="connsiteY33" fmla="*/ 3745 h 10000"/>
                <a:gd name="connsiteX34" fmla="*/ 9302 w 10000"/>
                <a:gd name="connsiteY34" fmla="*/ 3863 h 10000"/>
                <a:gd name="connsiteX35" fmla="*/ 9961 w 10000"/>
                <a:gd name="connsiteY35" fmla="*/ 4059 h 10000"/>
                <a:gd name="connsiteX36" fmla="*/ 10000 w 10000"/>
                <a:gd name="connsiteY36" fmla="*/ 4392 h 10000"/>
                <a:gd name="connsiteX37" fmla="*/ 9438 w 10000"/>
                <a:gd name="connsiteY37" fmla="*/ 4765 h 10000"/>
                <a:gd name="connsiteX38" fmla="*/ 9457 w 10000"/>
                <a:gd name="connsiteY38" fmla="*/ 5000 h 10000"/>
                <a:gd name="connsiteX39" fmla="*/ 9438 w 10000"/>
                <a:gd name="connsiteY39" fmla="*/ 5235 h 10000"/>
                <a:gd name="connsiteX40" fmla="*/ 10000 w 10000"/>
                <a:gd name="connsiteY40" fmla="*/ 5627 h 10000"/>
                <a:gd name="connsiteX41" fmla="*/ 9981 w 10000"/>
                <a:gd name="connsiteY41" fmla="*/ 5784 h 10000"/>
                <a:gd name="connsiteX42" fmla="*/ 9961 w 10000"/>
                <a:gd name="connsiteY42" fmla="*/ 5941 h 10000"/>
                <a:gd name="connsiteX43" fmla="*/ 9302 w 10000"/>
                <a:gd name="connsiteY43" fmla="*/ 6157 h 10000"/>
                <a:gd name="connsiteX44" fmla="*/ 9244 w 10000"/>
                <a:gd name="connsiteY44" fmla="*/ 6392 h 10000"/>
                <a:gd name="connsiteX45" fmla="*/ 9205 w 10000"/>
                <a:gd name="connsiteY45" fmla="*/ 6490 h 10000"/>
                <a:gd name="connsiteX46" fmla="*/ 9167 w 10000"/>
                <a:gd name="connsiteY46" fmla="*/ 6608 h 10000"/>
                <a:gd name="connsiteX47" fmla="*/ 9574 w 10000"/>
                <a:gd name="connsiteY47" fmla="*/ 7157 h 10000"/>
                <a:gd name="connsiteX48" fmla="*/ 9496 w 10000"/>
                <a:gd name="connsiteY48" fmla="*/ 7294 h 10000"/>
                <a:gd name="connsiteX49" fmla="*/ 9419 w 10000"/>
                <a:gd name="connsiteY49" fmla="*/ 7431 h 10000"/>
                <a:gd name="connsiteX50" fmla="*/ 8740 w 10000"/>
                <a:gd name="connsiteY50" fmla="*/ 7412 h 10000"/>
                <a:gd name="connsiteX51" fmla="*/ 8605 w 10000"/>
                <a:gd name="connsiteY51" fmla="*/ 7627 h 10000"/>
                <a:gd name="connsiteX52" fmla="*/ 8547 w 10000"/>
                <a:gd name="connsiteY52" fmla="*/ 7706 h 10000"/>
                <a:gd name="connsiteX53" fmla="*/ 8469 w 10000"/>
                <a:gd name="connsiteY53" fmla="*/ 7804 h 10000"/>
                <a:gd name="connsiteX54" fmla="*/ 8682 w 10000"/>
                <a:gd name="connsiteY54" fmla="*/ 8451 h 10000"/>
                <a:gd name="connsiteX55" fmla="*/ 8566 w 10000"/>
                <a:gd name="connsiteY55" fmla="*/ 8569 h 10000"/>
                <a:gd name="connsiteX56" fmla="*/ 8450 w 10000"/>
                <a:gd name="connsiteY56" fmla="*/ 8686 h 10000"/>
                <a:gd name="connsiteX57" fmla="*/ 7810 w 10000"/>
                <a:gd name="connsiteY57" fmla="*/ 8471 h 10000"/>
                <a:gd name="connsiteX58" fmla="*/ 7616 w 10000"/>
                <a:gd name="connsiteY58" fmla="*/ 8608 h 10000"/>
                <a:gd name="connsiteX59" fmla="*/ 7442 w 10000"/>
                <a:gd name="connsiteY59" fmla="*/ 8745 h 10000"/>
                <a:gd name="connsiteX60" fmla="*/ 7442 w 10000"/>
                <a:gd name="connsiteY60" fmla="*/ 9412 h 10000"/>
                <a:gd name="connsiteX61" fmla="*/ 7287 w 10000"/>
                <a:gd name="connsiteY61" fmla="*/ 9510 h 10000"/>
                <a:gd name="connsiteX62" fmla="*/ 7151 w 10000"/>
                <a:gd name="connsiteY62" fmla="*/ 9569 h 10000"/>
                <a:gd name="connsiteX63" fmla="*/ 6609 w 10000"/>
                <a:gd name="connsiteY63" fmla="*/ 9157 h 10000"/>
                <a:gd name="connsiteX64" fmla="*/ 6395 w 10000"/>
                <a:gd name="connsiteY64" fmla="*/ 9235 h 10000"/>
                <a:gd name="connsiteX65" fmla="*/ 6279 w 10000"/>
                <a:gd name="connsiteY65" fmla="*/ 9275 h 10000"/>
                <a:gd name="connsiteX66" fmla="*/ 6163 w 10000"/>
                <a:gd name="connsiteY66" fmla="*/ 9314 h 10000"/>
                <a:gd name="connsiteX67" fmla="*/ 5950 w 10000"/>
                <a:gd name="connsiteY67" fmla="*/ 9961 h 10000"/>
                <a:gd name="connsiteX68" fmla="*/ 5640 w 10000"/>
                <a:gd name="connsiteY68" fmla="*/ 10000 h 10000"/>
                <a:gd name="connsiteX69" fmla="*/ 5252 w 10000"/>
                <a:gd name="connsiteY69" fmla="*/ 9451 h 10000"/>
                <a:gd name="connsiteX70" fmla="*/ 5019 w 10000"/>
                <a:gd name="connsiteY70" fmla="*/ 9451 h 10000"/>
                <a:gd name="connsiteX71" fmla="*/ 4767 w 10000"/>
                <a:gd name="connsiteY71" fmla="*/ 9451 h 10000"/>
                <a:gd name="connsiteX72" fmla="*/ 4380 w 10000"/>
                <a:gd name="connsiteY72" fmla="*/ 10000 h 10000"/>
                <a:gd name="connsiteX73" fmla="*/ 4225 w 10000"/>
                <a:gd name="connsiteY73" fmla="*/ 9980 h 10000"/>
                <a:gd name="connsiteX74" fmla="*/ 4070 w 10000"/>
                <a:gd name="connsiteY74" fmla="*/ 9961 h 10000"/>
                <a:gd name="connsiteX75" fmla="*/ 3857 w 10000"/>
                <a:gd name="connsiteY75" fmla="*/ 9314 h 10000"/>
                <a:gd name="connsiteX76" fmla="*/ 3624 w 10000"/>
                <a:gd name="connsiteY76" fmla="*/ 9235 h 10000"/>
                <a:gd name="connsiteX77" fmla="*/ 3508 w 10000"/>
                <a:gd name="connsiteY77" fmla="*/ 9216 h 10000"/>
                <a:gd name="connsiteX78" fmla="*/ 3411 w 10000"/>
                <a:gd name="connsiteY78" fmla="*/ 9157 h 10000"/>
                <a:gd name="connsiteX79" fmla="*/ 2868 w 10000"/>
                <a:gd name="connsiteY79" fmla="*/ 9569 h 10000"/>
                <a:gd name="connsiteX80" fmla="*/ 2733 w 10000"/>
                <a:gd name="connsiteY80" fmla="*/ 9510 h 10000"/>
                <a:gd name="connsiteX81" fmla="*/ 2578 w 10000"/>
                <a:gd name="connsiteY81" fmla="*/ 9412 h 10000"/>
                <a:gd name="connsiteX82" fmla="*/ 2597 w 10000"/>
                <a:gd name="connsiteY82" fmla="*/ 8745 h 10000"/>
                <a:gd name="connsiteX83" fmla="*/ 2403 w 10000"/>
                <a:gd name="connsiteY83" fmla="*/ 8608 h 10000"/>
                <a:gd name="connsiteX84" fmla="*/ 2306 w 10000"/>
                <a:gd name="connsiteY84" fmla="*/ 8529 h 10000"/>
                <a:gd name="connsiteX85" fmla="*/ 2209 w 10000"/>
                <a:gd name="connsiteY85" fmla="*/ 8471 h 10000"/>
                <a:gd name="connsiteX86" fmla="*/ 1570 w 10000"/>
                <a:gd name="connsiteY86" fmla="*/ 8686 h 10000"/>
                <a:gd name="connsiteX87" fmla="*/ 1453 w 10000"/>
                <a:gd name="connsiteY87" fmla="*/ 8569 h 10000"/>
                <a:gd name="connsiteX88" fmla="*/ 1337 w 10000"/>
                <a:gd name="connsiteY88" fmla="*/ 8451 h 10000"/>
                <a:gd name="connsiteX89" fmla="*/ 1550 w 10000"/>
                <a:gd name="connsiteY89" fmla="*/ 7804 h 10000"/>
                <a:gd name="connsiteX90" fmla="*/ 1415 w 10000"/>
                <a:gd name="connsiteY90" fmla="*/ 7627 h 10000"/>
                <a:gd name="connsiteX91" fmla="*/ 1279 w 10000"/>
                <a:gd name="connsiteY91" fmla="*/ 7412 h 10000"/>
                <a:gd name="connsiteX92" fmla="*/ 601 w 10000"/>
                <a:gd name="connsiteY92" fmla="*/ 7431 h 10000"/>
                <a:gd name="connsiteX93" fmla="*/ 523 w 10000"/>
                <a:gd name="connsiteY93" fmla="*/ 7294 h 10000"/>
                <a:gd name="connsiteX94" fmla="*/ 446 w 10000"/>
                <a:gd name="connsiteY94" fmla="*/ 7157 h 10000"/>
                <a:gd name="connsiteX95" fmla="*/ 853 w 10000"/>
                <a:gd name="connsiteY95" fmla="*/ 6608 h 10000"/>
                <a:gd name="connsiteX96" fmla="*/ 775 w 10000"/>
                <a:gd name="connsiteY96" fmla="*/ 6392 h 10000"/>
                <a:gd name="connsiteX97" fmla="*/ 756 w 10000"/>
                <a:gd name="connsiteY97" fmla="*/ 6275 h 10000"/>
                <a:gd name="connsiteX98" fmla="*/ 717 w 10000"/>
                <a:gd name="connsiteY98" fmla="*/ 6157 h 10000"/>
                <a:gd name="connsiteX99" fmla="*/ 58 w 10000"/>
                <a:gd name="connsiteY99" fmla="*/ 5941 h 10000"/>
                <a:gd name="connsiteX100" fmla="*/ 0 w 10000"/>
                <a:gd name="connsiteY100" fmla="*/ 5627 h 10000"/>
                <a:gd name="connsiteX101" fmla="*/ 581 w 10000"/>
                <a:gd name="connsiteY101" fmla="*/ 5235 h 10000"/>
                <a:gd name="connsiteX102" fmla="*/ 562 w 10000"/>
                <a:gd name="connsiteY102" fmla="*/ 5000 h 10000"/>
                <a:gd name="connsiteX103" fmla="*/ 581 w 10000"/>
                <a:gd name="connsiteY103" fmla="*/ 4765 h 10000"/>
                <a:gd name="connsiteX104" fmla="*/ 0 w 10000"/>
                <a:gd name="connsiteY104" fmla="*/ 4392 h 10000"/>
                <a:gd name="connsiteX105" fmla="*/ 19 w 10000"/>
                <a:gd name="connsiteY105" fmla="*/ 4216 h 10000"/>
                <a:gd name="connsiteX106" fmla="*/ 58 w 10000"/>
                <a:gd name="connsiteY106" fmla="*/ 4059 h 10000"/>
                <a:gd name="connsiteX107" fmla="*/ 717 w 10000"/>
                <a:gd name="connsiteY107" fmla="*/ 3863 h 10000"/>
                <a:gd name="connsiteX108" fmla="*/ 775 w 10000"/>
                <a:gd name="connsiteY108" fmla="*/ 3627 h 10000"/>
                <a:gd name="connsiteX109" fmla="*/ 814 w 10000"/>
                <a:gd name="connsiteY109" fmla="*/ 3510 h 10000"/>
                <a:gd name="connsiteX110" fmla="*/ 853 w 10000"/>
                <a:gd name="connsiteY110" fmla="*/ 3392 h 10000"/>
                <a:gd name="connsiteX111" fmla="*/ 446 w 10000"/>
                <a:gd name="connsiteY111" fmla="*/ 2863 h 10000"/>
                <a:gd name="connsiteX112" fmla="*/ 523 w 10000"/>
                <a:gd name="connsiteY112" fmla="*/ 2706 h 10000"/>
                <a:gd name="connsiteX113" fmla="*/ 601 w 10000"/>
                <a:gd name="connsiteY113" fmla="*/ 2588 h 10000"/>
                <a:gd name="connsiteX114" fmla="*/ 1279 w 10000"/>
                <a:gd name="connsiteY114" fmla="*/ 2588 h 10000"/>
                <a:gd name="connsiteX0" fmla="*/ 3740 w 10000"/>
                <a:gd name="connsiteY0" fmla="*/ 725 h 10000"/>
                <a:gd name="connsiteX1" fmla="*/ 3857 w 10000"/>
                <a:gd name="connsiteY1" fmla="*/ 706 h 10000"/>
                <a:gd name="connsiteX2" fmla="*/ 4070 w 10000"/>
                <a:gd name="connsiteY2" fmla="*/ 59 h 10000"/>
                <a:gd name="connsiteX3" fmla="*/ 4380 w 10000"/>
                <a:gd name="connsiteY3" fmla="*/ 0 h 10000"/>
                <a:gd name="connsiteX4" fmla="*/ 4767 w 10000"/>
                <a:gd name="connsiteY4" fmla="*/ 569 h 10000"/>
                <a:gd name="connsiteX5" fmla="*/ 5019 w 10000"/>
                <a:gd name="connsiteY5" fmla="*/ 549 h 10000"/>
                <a:gd name="connsiteX6" fmla="*/ 5252 w 10000"/>
                <a:gd name="connsiteY6" fmla="*/ 569 h 10000"/>
                <a:gd name="connsiteX7" fmla="*/ 5640 w 10000"/>
                <a:gd name="connsiteY7" fmla="*/ 0 h 10000"/>
                <a:gd name="connsiteX8" fmla="*/ 5795 w 10000"/>
                <a:gd name="connsiteY8" fmla="*/ 20 h 10000"/>
                <a:gd name="connsiteX9" fmla="*/ 5950 w 10000"/>
                <a:gd name="connsiteY9" fmla="*/ 59 h 10000"/>
                <a:gd name="connsiteX10" fmla="*/ 6163 w 10000"/>
                <a:gd name="connsiteY10" fmla="*/ 706 h 10000"/>
                <a:gd name="connsiteX11" fmla="*/ 6395 w 10000"/>
                <a:gd name="connsiteY11" fmla="*/ 765 h 10000"/>
                <a:gd name="connsiteX12" fmla="*/ 6492 w 10000"/>
                <a:gd name="connsiteY12" fmla="*/ 804 h 10000"/>
                <a:gd name="connsiteX13" fmla="*/ 6609 w 10000"/>
                <a:gd name="connsiteY13" fmla="*/ 843 h 10000"/>
                <a:gd name="connsiteX14" fmla="*/ 7151 w 10000"/>
                <a:gd name="connsiteY14" fmla="*/ 451 h 10000"/>
                <a:gd name="connsiteX15" fmla="*/ 7287 w 10000"/>
                <a:gd name="connsiteY15" fmla="*/ 510 h 10000"/>
                <a:gd name="connsiteX16" fmla="*/ 7442 w 10000"/>
                <a:gd name="connsiteY16" fmla="*/ 588 h 10000"/>
                <a:gd name="connsiteX17" fmla="*/ 7442 w 10000"/>
                <a:gd name="connsiteY17" fmla="*/ 1275 h 10000"/>
                <a:gd name="connsiteX18" fmla="*/ 7616 w 10000"/>
                <a:gd name="connsiteY18" fmla="*/ 1412 h 10000"/>
                <a:gd name="connsiteX19" fmla="*/ 7713 w 10000"/>
                <a:gd name="connsiteY19" fmla="*/ 1471 h 10000"/>
                <a:gd name="connsiteX20" fmla="*/ 7810 w 10000"/>
                <a:gd name="connsiteY20" fmla="*/ 1549 h 10000"/>
                <a:gd name="connsiteX21" fmla="*/ 8450 w 10000"/>
                <a:gd name="connsiteY21" fmla="*/ 1333 h 10000"/>
                <a:gd name="connsiteX22" fmla="*/ 8566 w 10000"/>
                <a:gd name="connsiteY22" fmla="*/ 1451 h 10000"/>
                <a:gd name="connsiteX23" fmla="*/ 8682 w 10000"/>
                <a:gd name="connsiteY23" fmla="*/ 1569 h 10000"/>
                <a:gd name="connsiteX24" fmla="*/ 8469 w 10000"/>
                <a:gd name="connsiteY24" fmla="*/ 2216 h 10000"/>
                <a:gd name="connsiteX25" fmla="*/ 8605 w 10000"/>
                <a:gd name="connsiteY25" fmla="*/ 2392 h 10000"/>
                <a:gd name="connsiteX26" fmla="*/ 8740 w 10000"/>
                <a:gd name="connsiteY26" fmla="*/ 2588 h 10000"/>
                <a:gd name="connsiteX27" fmla="*/ 9419 w 10000"/>
                <a:gd name="connsiteY27" fmla="*/ 2588 h 10000"/>
                <a:gd name="connsiteX28" fmla="*/ 9496 w 10000"/>
                <a:gd name="connsiteY28" fmla="*/ 2706 h 10000"/>
                <a:gd name="connsiteX29" fmla="*/ 9574 w 10000"/>
                <a:gd name="connsiteY29" fmla="*/ 2863 h 10000"/>
                <a:gd name="connsiteX30" fmla="*/ 9167 w 10000"/>
                <a:gd name="connsiteY30" fmla="*/ 3392 h 10000"/>
                <a:gd name="connsiteX31" fmla="*/ 9244 w 10000"/>
                <a:gd name="connsiteY31" fmla="*/ 3627 h 10000"/>
                <a:gd name="connsiteX32" fmla="*/ 9283 w 10000"/>
                <a:gd name="connsiteY32" fmla="*/ 3745 h 10000"/>
                <a:gd name="connsiteX33" fmla="*/ 9302 w 10000"/>
                <a:gd name="connsiteY33" fmla="*/ 3863 h 10000"/>
                <a:gd name="connsiteX34" fmla="*/ 9961 w 10000"/>
                <a:gd name="connsiteY34" fmla="*/ 4059 h 10000"/>
                <a:gd name="connsiteX35" fmla="*/ 10000 w 10000"/>
                <a:gd name="connsiteY35" fmla="*/ 4392 h 10000"/>
                <a:gd name="connsiteX36" fmla="*/ 9438 w 10000"/>
                <a:gd name="connsiteY36" fmla="*/ 4765 h 10000"/>
                <a:gd name="connsiteX37" fmla="*/ 9457 w 10000"/>
                <a:gd name="connsiteY37" fmla="*/ 5000 h 10000"/>
                <a:gd name="connsiteX38" fmla="*/ 9438 w 10000"/>
                <a:gd name="connsiteY38" fmla="*/ 5235 h 10000"/>
                <a:gd name="connsiteX39" fmla="*/ 10000 w 10000"/>
                <a:gd name="connsiteY39" fmla="*/ 5627 h 10000"/>
                <a:gd name="connsiteX40" fmla="*/ 9981 w 10000"/>
                <a:gd name="connsiteY40" fmla="*/ 5784 h 10000"/>
                <a:gd name="connsiteX41" fmla="*/ 9961 w 10000"/>
                <a:gd name="connsiteY41" fmla="*/ 5941 h 10000"/>
                <a:gd name="connsiteX42" fmla="*/ 9302 w 10000"/>
                <a:gd name="connsiteY42" fmla="*/ 6157 h 10000"/>
                <a:gd name="connsiteX43" fmla="*/ 9244 w 10000"/>
                <a:gd name="connsiteY43" fmla="*/ 6392 h 10000"/>
                <a:gd name="connsiteX44" fmla="*/ 9205 w 10000"/>
                <a:gd name="connsiteY44" fmla="*/ 6490 h 10000"/>
                <a:gd name="connsiteX45" fmla="*/ 9167 w 10000"/>
                <a:gd name="connsiteY45" fmla="*/ 6608 h 10000"/>
                <a:gd name="connsiteX46" fmla="*/ 9574 w 10000"/>
                <a:gd name="connsiteY46" fmla="*/ 7157 h 10000"/>
                <a:gd name="connsiteX47" fmla="*/ 9496 w 10000"/>
                <a:gd name="connsiteY47" fmla="*/ 7294 h 10000"/>
                <a:gd name="connsiteX48" fmla="*/ 9419 w 10000"/>
                <a:gd name="connsiteY48" fmla="*/ 7431 h 10000"/>
                <a:gd name="connsiteX49" fmla="*/ 8740 w 10000"/>
                <a:gd name="connsiteY49" fmla="*/ 7412 h 10000"/>
                <a:gd name="connsiteX50" fmla="*/ 8605 w 10000"/>
                <a:gd name="connsiteY50" fmla="*/ 7627 h 10000"/>
                <a:gd name="connsiteX51" fmla="*/ 8547 w 10000"/>
                <a:gd name="connsiteY51" fmla="*/ 7706 h 10000"/>
                <a:gd name="connsiteX52" fmla="*/ 8469 w 10000"/>
                <a:gd name="connsiteY52" fmla="*/ 7804 h 10000"/>
                <a:gd name="connsiteX53" fmla="*/ 8682 w 10000"/>
                <a:gd name="connsiteY53" fmla="*/ 8451 h 10000"/>
                <a:gd name="connsiteX54" fmla="*/ 8566 w 10000"/>
                <a:gd name="connsiteY54" fmla="*/ 8569 h 10000"/>
                <a:gd name="connsiteX55" fmla="*/ 8450 w 10000"/>
                <a:gd name="connsiteY55" fmla="*/ 8686 h 10000"/>
                <a:gd name="connsiteX56" fmla="*/ 7810 w 10000"/>
                <a:gd name="connsiteY56" fmla="*/ 8471 h 10000"/>
                <a:gd name="connsiteX57" fmla="*/ 7616 w 10000"/>
                <a:gd name="connsiteY57" fmla="*/ 8608 h 10000"/>
                <a:gd name="connsiteX58" fmla="*/ 7442 w 10000"/>
                <a:gd name="connsiteY58" fmla="*/ 8745 h 10000"/>
                <a:gd name="connsiteX59" fmla="*/ 7442 w 10000"/>
                <a:gd name="connsiteY59" fmla="*/ 9412 h 10000"/>
                <a:gd name="connsiteX60" fmla="*/ 7287 w 10000"/>
                <a:gd name="connsiteY60" fmla="*/ 9510 h 10000"/>
                <a:gd name="connsiteX61" fmla="*/ 7151 w 10000"/>
                <a:gd name="connsiteY61" fmla="*/ 9569 h 10000"/>
                <a:gd name="connsiteX62" fmla="*/ 6609 w 10000"/>
                <a:gd name="connsiteY62" fmla="*/ 9157 h 10000"/>
                <a:gd name="connsiteX63" fmla="*/ 6395 w 10000"/>
                <a:gd name="connsiteY63" fmla="*/ 9235 h 10000"/>
                <a:gd name="connsiteX64" fmla="*/ 6279 w 10000"/>
                <a:gd name="connsiteY64" fmla="*/ 9275 h 10000"/>
                <a:gd name="connsiteX65" fmla="*/ 6163 w 10000"/>
                <a:gd name="connsiteY65" fmla="*/ 9314 h 10000"/>
                <a:gd name="connsiteX66" fmla="*/ 5950 w 10000"/>
                <a:gd name="connsiteY66" fmla="*/ 9961 h 10000"/>
                <a:gd name="connsiteX67" fmla="*/ 5640 w 10000"/>
                <a:gd name="connsiteY67" fmla="*/ 10000 h 10000"/>
                <a:gd name="connsiteX68" fmla="*/ 5252 w 10000"/>
                <a:gd name="connsiteY68" fmla="*/ 9451 h 10000"/>
                <a:gd name="connsiteX69" fmla="*/ 5019 w 10000"/>
                <a:gd name="connsiteY69" fmla="*/ 9451 h 10000"/>
                <a:gd name="connsiteX70" fmla="*/ 4767 w 10000"/>
                <a:gd name="connsiteY70" fmla="*/ 9451 h 10000"/>
                <a:gd name="connsiteX71" fmla="*/ 4380 w 10000"/>
                <a:gd name="connsiteY71" fmla="*/ 10000 h 10000"/>
                <a:gd name="connsiteX72" fmla="*/ 4225 w 10000"/>
                <a:gd name="connsiteY72" fmla="*/ 9980 h 10000"/>
                <a:gd name="connsiteX73" fmla="*/ 4070 w 10000"/>
                <a:gd name="connsiteY73" fmla="*/ 9961 h 10000"/>
                <a:gd name="connsiteX74" fmla="*/ 3857 w 10000"/>
                <a:gd name="connsiteY74" fmla="*/ 9314 h 10000"/>
                <a:gd name="connsiteX75" fmla="*/ 3624 w 10000"/>
                <a:gd name="connsiteY75" fmla="*/ 9235 h 10000"/>
                <a:gd name="connsiteX76" fmla="*/ 3508 w 10000"/>
                <a:gd name="connsiteY76" fmla="*/ 9216 h 10000"/>
                <a:gd name="connsiteX77" fmla="*/ 3411 w 10000"/>
                <a:gd name="connsiteY77" fmla="*/ 9157 h 10000"/>
                <a:gd name="connsiteX78" fmla="*/ 2868 w 10000"/>
                <a:gd name="connsiteY78" fmla="*/ 9569 h 10000"/>
                <a:gd name="connsiteX79" fmla="*/ 2733 w 10000"/>
                <a:gd name="connsiteY79" fmla="*/ 9510 h 10000"/>
                <a:gd name="connsiteX80" fmla="*/ 2578 w 10000"/>
                <a:gd name="connsiteY80" fmla="*/ 9412 h 10000"/>
                <a:gd name="connsiteX81" fmla="*/ 2597 w 10000"/>
                <a:gd name="connsiteY81" fmla="*/ 8745 h 10000"/>
                <a:gd name="connsiteX82" fmla="*/ 2403 w 10000"/>
                <a:gd name="connsiteY82" fmla="*/ 8608 h 10000"/>
                <a:gd name="connsiteX83" fmla="*/ 2306 w 10000"/>
                <a:gd name="connsiteY83" fmla="*/ 8529 h 10000"/>
                <a:gd name="connsiteX84" fmla="*/ 2209 w 10000"/>
                <a:gd name="connsiteY84" fmla="*/ 8471 h 10000"/>
                <a:gd name="connsiteX85" fmla="*/ 1570 w 10000"/>
                <a:gd name="connsiteY85" fmla="*/ 8686 h 10000"/>
                <a:gd name="connsiteX86" fmla="*/ 1453 w 10000"/>
                <a:gd name="connsiteY86" fmla="*/ 8569 h 10000"/>
                <a:gd name="connsiteX87" fmla="*/ 1337 w 10000"/>
                <a:gd name="connsiteY87" fmla="*/ 8451 h 10000"/>
                <a:gd name="connsiteX88" fmla="*/ 1550 w 10000"/>
                <a:gd name="connsiteY88" fmla="*/ 7804 h 10000"/>
                <a:gd name="connsiteX89" fmla="*/ 1415 w 10000"/>
                <a:gd name="connsiteY89" fmla="*/ 7627 h 10000"/>
                <a:gd name="connsiteX90" fmla="*/ 1279 w 10000"/>
                <a:gd name="connsiteY90" fmla="*/ 7412 h 10000"/>
                <a:gd name="connsiteX91" fmla="*/ 601 w 10000"/>
                <a:gd name="connsiteY91" fmla="*/ 7431 h 10000"/>
                <a:gd name="connsiteX92" fmla="*/ 523 w 10000"/>
                <a:gd name="connsiteY92" fmla="*/ 7294 h 10000"/>
                <a:gd name="connsiteX93" fmla="*/ 446 w 10000"/>
                <a:gd name="connsiteY93" fmla="*/ 7157 h 10000"/>
                <a:gd name="connsiteX94" fmla="*/ 853 w 10000"/>
                <a:gd name="connsiteY94" fmla="*/ 6608 h 10000"/>
                <a:gd name="connsiteX95" fmla="*/ 775 w 10000"/>
                <a:gd name="connsiteY95" fmla="*/ 6392 h 10000"/>
                <a:gd name="connsiteX96" fmla="*/ 756 w 10000"/>
                <a:gd name="connsiteY96" fmla="*/ 6275 h 10000"/>
                <a:gd name="connsiteX97" fmla="*/ 717 w 10000"/>
                <a:gd name="connsiteY97" fmla="*/ 6157 h 10000"/>
                <a:gd name="connsiteX98" fmla="*/ 58 w 10000"/>
                <a:gd name="connsiteY98" fmla="*/ 5941 h 10000"/>
                <a:gd name="connsiteX99" fmla="*/ 0 w 10000"/>
                <a:gd name="connsiteY99" fmla="*/ 5627 h 10000"/>
                <a:gd name="connsiteX100" fmla="*/ 581 w 10000"/>
                <a:gd name="connsiteY100" fmla="*/ 5235 h 10000"/>
                <a:gd name="connsiteX101" fmla="*/ 562 w 10000"/>
                <a:gd name="connsiteY101" fmla="*/ 5000 h 10000"/>
                <a:gd name="connsiteX102" fmla="*/ 581 w 10000"/>
                <a:gd name="connsiteY102" fmla="*/ 4765 h 10000"/>
                <a:gd name="connsiteX103" fmla="*/ 0 w 10000"/>
                <a:gd name="connsiteY103" fmla="*/ 4392 h 10000"/>
                <a:gd name="connsiteX104" fmla="*/ 19 w 10000"/>
                <a:gd name="connsiteY104" fmla="*/ 4216 h 10000"/>
                <a:gd name="connsiteX105" fmla="*/ 58 w 10000"/>
                <a:gd name="connsiteY105" fmla="*/ 4059 h 10000"/>
                <a:gd name="connsiteX106" fmla="*/ 717 w 10000"/>
                <a:gd name="connsiteY106" fmla="*/ 3863 h 10000"/>
                <a:gd name="connsiteX107" fmla="*/ 775 w 10000"/>
                <a:gd name="connsiteY107" fmla="*/ 3627 h 10000"/>
                <a:gd name="connsiteX108" fmla="*/ 814 w 10000"/>
                <a:gd name="connsiteY108" fmla="*/ 3510 h 10000"/>
                <a:gd name="connsiteX109" fmla="*/ 853 w 10000"/>
                <a:gd name="connsiteY109" fmla="*/ 3392 h 10000"/>
                <a:gd name="connsiteX110" fmla="*/ 446 w 10000"/>
                <a:gd name="connsiteY110" fmla="*/ 2863 h 10000"/>
                <a:gd name="connsiteX111" fmla="*/ 523 w 10000"/>
                <a:gd name="connsiteY111" fmla="*/ 2706 h 10000"/>
                <a:gd name="connsiteX112" fmla="*/ 601 w 10000"/>
                <a:gd name="connsiteY112" fmla="*/ 2588 h 10000"/>
                <a:gd name="connsiteX113" fmla="*/ 1279 w 10000"/>
                <a:gd name="connsiteY113" fmla="*/ 2588 h 10000"/>
                <a:gd name="connsiteX0" fmla="*/ 3740 w 10000"/>
                <a:gd name="connsiteY0" fmla="*/ 725 h 10000"/>
                <a:gd name="connsiteX1" fmla="*/ 4070 w 10000"/>
                <a:gd name="connsiteY1" fmla="*/ 59 h 10000"/>
                <a:gd name="connsiteX2" fmla="*/ 4380 w 10000"/>
                <a:gd name="connsiteY2" fmla="*/ 0 h 10000"/>
                <a:gd name="connsiteX3" fmla="*/ 4767 w 10000"/>
                <a:gd name="connsiteY3" fmla="*/ 569 h 10000"/>
                <a:gd name="connsiteX4" fmla="*/ 5019 w 10000"/>
                <a:gd name="connsiteY4" fmla="*/ 549 h 10000"/>
                <a:gd name="connsiteX5" fmla="*/ 5252 w 10000"/>
                <a:gd name="connsiteY5" fmla="*/ 569 h 10000"/>
                <a:gd name="connsiteX6" fmla="*/ 5640 w 10000"/>
                <a:gd name="connsiteY6" fmla="*/ 0 h 10000"/>
                <a:gd name="connsiteX7" fmla="*/ 5795 w 10000"/>
                <a:gd name="connsiteY7" fmla="*/ 20 h 10000"/>
                <a:gd name="connsiteX8" fmla="*/ 5950 w 10000"/>
                <a:gd name="connsiteY8" fmla="*/ 59 h 10000"/>
                <a:gd name="connsiteX9" fmla="*/ 6163 w 10000"/>
                <a:gd name="connsiteY9" fmla="*/ 706 h 10000"/>
                <a:gd name="connsiteX10" fmla="*/ 6395 w 10000"/>
                <a:gd name="connsiteY10" fmla="*/ 765 h 10000"/>
                <a:gd name="connsiteX11" fmla="*/ 6492 w 10000"/>
                <a:gd name="connsiteY11" fmla="*/ 804 h 10000"/>
                <a:gd name="connsiteX12" fmla="*/ 6609 w 10000"/>
                <a:gd name="connsiteY12" fmla="*/ 843 h 10000"/>
                <a:gd name="connsiteX13" fmla="*/ 7151 w 10000"/>
                <a:gd name="connsiteY13" fmla="*/ 451 h 10000"/>
                <a:gd name="connsiteX14" fmla="*/ 7287 w 10000"/>
                <a:gd name="connsiteY14" fmla="*/ 510 h 10000"/>
                <a:gd name="connsiteX15" fmla="*/ 7442 w 10000"/>
                <a:gd name="connsiteY15" fmla="*/ 588 h 10000"/>
                <a:gd name="connsiteX16" fmla="*/ 7442 w 10000"/>
                <a:gd name="connsiteY16" fmla="*/ 1275 h 10000"/>
                <a:gd name="connsiteX17" fmla="*/ 7616 w 10000"/>
                <a:gd name="connsiteY17" fmla="*/ 1412 h 10000"/>
                <a:gd name="connsiteX18" fmla="*/ 7713 w 10000"/>
                <a:gd name="connsiteY18" fmla="*/ 1471 h 10000"/>
                <a:gd name="connsiteX19" fmla="*/ 7810 w 10000"/>
                <a:gd name="connsiteY19" fmla="*/ 1549 h 10000"/>
                <a:gd name="connsiteX20" fmla="*/ 8450 w 10000"/>
                <a:gd name="connsiteY20" fmla="*/ 1333 h 10000"/>
                <a:gd name="connsiteX21" fmla="*/ 8566 w 10000"/>
                <a:gd name="connsiteY21" fmla="*/ 1451 h 10000"/>
                <a:gd name="connsiteX22" fmla="*/ 8682 w 10000"/>
                <a:gd name="connsiteY22" fmla="*/ 1569 h 10000"/>
                <a:gd name="connsiteX23" fmla="*/ 8469 w 10000"/>
                <a:gd name="connsiteY23" fmla="*/ 2216 h 10000"/>
                <a:gd name="connsiteX24" fmla="*/ 8605 w 10000"/>
                <a:gd name="connsiteY24" fmla="*/ 2392 h 10000"/>
                <a:gd name="connsiteX25" fmla="*/ 8740 w 10000"/>
                <a:gd name="connsiteY25" fmla="*/ 2588 h 10000"/>
                <a:gd name="connsiteX26" fmla="*/ 9419 w 10000"/>
                <a:gd name="connsiteY26" fmla="*/ 2588 h 10000"/>
                <a:gd name="connsiteX27" fmla="*/ 9496 w 10000"/>
                <a:gd name="connsiteY27" fmla="*/ 2706 h 10000"/>
                <a:gd name="connsiteX28" fmla="*/ 9574 w 10000"/>
                <a:gd name="connsiteY28" fmla="*/ 2863 h 10000"/>
                <a:gd name="connsiteX29" fmla="*/ 9167 w 10000"/>
                <a:gd name="connsiteY29" fmla="*/ 3392 h 10000"/>
                <a:gd name="connsiteX30" fmla="*/ 9244 w 10000"/>
                <a:gd name="connsiteY30" fmla="*/ 3627 h 10000"/>
                <a:gd name="connsiteX31" fmla="*/ 9283 w 10000"/>
                <a:gd name="connsiteY31" fmla="*/ 3745 h 10000"/>
                <a:gd name="connsiteX32" fmla="*/ 9302 w 10000"/>
                <a:gd name="connsiteY32" fmla="*/ 3863 h 10000"/>
                <a:gd name="connsiteX33" fmla="*/ 9961 w 10000"/>
                <a:gd name="connsiteY33" fmla="*/ 4059 h 10000"/>
                <a:gd name="connsiteX34" fmla="*/ 10000 w 10000"/>
                <a:gd name="connsiteY34" fmla="*/ 4392 h 10000"/>
                <a:gd name="connsiteX35" fmla="*/ 9438 w 10000"/>
                <a:gd name="connsiteY35" fmla="*/ 4765 h 10000"/>
                <a:gd name="connsiteX36" fmla="*/ 9457 w 10000"/>
                <a:gd name="connsiteY36" fmla="*/ 5000 h 10000"/>
                <a:gd name="connsiteX37" fmla="*/ 9438 w 10000"/>
                <a:gd name="connsiteY37" fmla="*/ 5235 h 10000"/>
                <a:gd name="connsiteX38" fmla="*/ 10000 w 10000"/>
                <a:gd name="connsiteY38" fmla="*/ 5627 h 10000"/>
                <a:gd name="connsiteX39" fmla="*/ 9981 w 10000"/>
                <a:gd name="connsiteY39" fmla="*/ 5784 h 10000"/>
                <a:gd name="connsiteX40" fmla="*/ 9961 w 10000"/>
                <a:gd name="connsiteY40" fmla="*/ 5941 h 10000"/>
                <a:gd name="connsiteX41" fmla="*/ 9302 w 10000"/>
                <a:gd name="connsiteY41" fmla="*/ 6157 h 10000"/>
                <a:gd name="connsiteX42" fmla="*/ 9244 w 10000"/>
                <a:gd name="connsiteY42" fmla="*/ 6392 h 10000"/>
                <a:gd name="connsiteX43" fmla="*/ 9205 w 10000"/>
                <a:gd name="connsiteY43" fmla="*/ 6490 h 10000"/>
                <a:gd name="connsiteX44" fmla="*/ 9167 w 10000"/>
                <a:gd name="connsiteY44" fmla="*/ 6608 h 10000"/>
                <a:gd name="connsiteX45" fmla="*/ 9574 w 10000"/>
                <a:gd name="connsiteY45" fmla="*/ 7157 h 10000"/>
                <a:gd name="connsiteX46" fmla="*/ 9496 w 10000"/>
                <a:gd name="connsiteY46" fmla="*/ 7294 h 10000"/>
                <a:gd name="connsiteX47" fmla="*/ 9419 w 10000"/>
                <a:gd name="connsiteY47" fmla="*/ 7431 h 10000"/>
                <a:gd name="connsiteX48" fmla="*/ 8740 w 10000"/>
                <a:gd name="connsiteY48" fmla="*/ 7412 h 10000"/>
                <a:gd name="connsiteX49" fmla="*/ 8605 w 10000"/>
                <a:gd name="connsiteY49" fmla="*/ 7627 h 10000"/>
                <a:gd name="connsiteX50" fmla="*/ 8547 w 10000"/>
                <a:gd name="connsiteY50" fmla="*/ 7706 h 10000"/>
                <a:gd name="connsiteX51" fmla="*/ 8469 w 10000"/>
                <a:gd name="connsiteY51" fmla="*/ 7804 h 10000"/>
                <a:gd name="connsiteX52" fmla="*/ 8682 w 10000"/>
                <a:gd name="connsiteY52" fmla="*/ 8451 h 10000"/>
                <a:gd name="connsiteX53" fmla="*/ 8566 w 10000"/>
                <a:gd name="connsiteY53" fmla="*/ 8569 h 10000"/>
                <a:gd name="connsiteX54" fmla="*/ 8450 w 10000"/>
                <a:gd name="connsiteY54" fmla="*/ 8686 h 10000"/>
                <a:gd name="connsiteX55" fmla="*/ 7810 w 10000"/>
                <a:gd name="connsiteY55" fmla="*/ 8471 h 10000"/>
                <a:gd name="connsiteX56" fmla="*/ 7616 w 10000"/>
                <a:gd name="connsiteY56" fmla="*/ 8608 h 10000"/>
                <a:gd name="connsiteX57" fmla="*/ 7442 w 10000"/>
                <a:gd name="connsiteY57" fmla="*/ 8745 h 10000"/>
                <a:gd name="connsiteX58" fmla="*/ 7442 w 10000"/>
                <a:gd name="connsiteY58" fmla="*/ 9412 h 10000"/>
                <a:gd name="connsiteX59" fmla="*/ 7287 w 10000"/>
                <a:gd name="connsiteY59" fmla="*/ 9510 h 10000"/>
                <a:gd name="connsiteX60" fmla="*/ 7151 w 10000"/>
                <a:gd name="connsiteY60" fmla="*/ 9569 h 10000"/>
                <a:gd name="connsiteX61" fmla="*/ 6609 w 10000"/>
                <a:gd name="connsiteY61" fmla="*/ 9157 h 10000"/>
                <a:gd name="connsiteX62" fmla="*/ 6395 w 10000"/>
                <a:gd name="connsiteY62" fmla="*/ 9235 h 10000"/>
                <a:gd name="connsiteX63" fmla="*/ 6279 w 10000"/>
                <a:gd name="connsiteY63" fmla="*/ 9275 h 10000"/>
                <a:gd name="connsiteX64" fmla="*/ 6163 w 10000"/>
                <a:gd name="connsiteY64" fmla="*/ 9314 h 10000"/>
                <a:gd name="connsiteX65" fmla="*/ 5950 w 10000"/>
                <a:gd name="connsiteY65" fmla="*/ 9961 h 10000"/>
                <a:gd name="connsiteX66" fmla="*/ 5640 w 10000"/>
                <a:gd name="connsiteY66" fmla="*/ 10000 h 10000"/>
                <a:gd name="connsiteX67" fmla="*/ 5252 w 10000"/>
                <a:gd name="connsiteY67" fmla="*/ 9451 h 10000"/>
                <a:gd name="connsiteX68" fmla="*/ 5019 w 10000"/>
                <a:gd name="connsiteY68" fmla="*/ 9451 h 10000"/>
                <a:gd name="connsiteX69" fmla="*/ 4767 w 10000"/>
                <a:gd name="connsiteY69" fmla="*/ 9451 h 10000"/>
                <a:gd name="connsiteX70" fmla="*/ 4380 w 10000"/>
                <a:gd name="connsiteY70" fmla="*/ 10000 h 10000"/>
                <a:gd name="connsiteX71" fmla="*/ 4225 w 10000"/>
                <a:gd name="connsiteY71" fmla="*/ 9980 h 10000"/>
                <a:gd name="connsiteX72" fmla="*/ 4070 w 10000"/>
                <a:gd name="connsiteY72" fmla="*/ 9961 h 10000"/>
                <a:gd name="connsiteX73" fmla="*/ 3857 w 10000"/>
                <a:gd name="connsiteY73" fmla="*/ 9314 h 10000"/>
                <a:gd name="connsiteX74" fmla="*/ 3624 w 10000"/>
                <a:gd name="connsiteY74" fmla="*/ 9235 h 10000"/>
                <a:gd name="connsiteX75" fmla="*/ 3508 w 10000"/>
                <a:gd name="connsiteY75" fmla="*/ 9216 h 10000"/>
                <a:gd name="connsiteX76" fmla="*/ 3411 w 10000"/>
                <a:gd name="connsiteY76" fmla="*/ 9157 h 10000"/>
                <a:gd name="connsiteX77" fmla="*/ 2868 w 10000"/>
                <a:gd name="connsiteY77" fmla="*/ 9569 h 10000"/>
                <a:gd name="connsiteX78" fmla="*/ 2733 w 10000"/>
                <a:gd name="connsiteY78" fmla="*/ 9510 h 10000"/>
                <a:gd name="connsiteX79" fmla="*/ 2578 w 10000"/>
                <a:gd name="connsiteY79" fmla="*/ 9412 h 10000"/>
                <a:gd name="connsiteX80" fmla="*/ 2597 w 10000"/>
                <a:gd name="connsiteY80" fmla="*/ 8745 h 10000"/>
                <a:gd name="connsiteX81" fmla="*/ 2403 w 10000"/>
                <a:gd name="connsiteY81" fmla="*/ 8608 h 10000"/>
                <a:gd name="connsiteX82" fmla="*/ 2306 w 10000"/>
                <a:gd name="connsiteY82" fmla="*/ 8529 h 10000"/>
                <a:gd name="connsiteX83" fmla="*/ 2209 w 10000"/>
                <a:gd name="connsiteY83" fmla="*/ 8471 h 10000"/>
                <a:gd name="connsiteX84" fmla="*/ 1570 w 10000"/>
                <a:gd name="connsiteY84" fmla="*/ 8686 h 10000"/>
                <a:gd name="connsiteX85" fmla="*/ 1453 w 10000"/>
                <a:gd name="connsiteY85" fmla="*/ 8569 h 10000"/>
                <a:gd name="connsiteX86" fmla="*/ 1337 w 10000"/>
                <a:gd name="connsiteY86" fmla="*/ 8451 h 10000"/>
                <a:gd name="connsiteX87" fmla="*/ 1550 w 10000"/>
                <a:gd name="connsiteY87" fmla="*/ 7804 h 10000"/>
                <a:gd name="connsiteX88" fmla="*/ 1415 w 10000"/>
                <a:gd name="connsiteY88" fmla="*/ 7627 h 10000"/>
                <a:gd name="connsiteX89" fmla="*/ 1279 w 10000"/>
                <a:gd name="connsiteY89" fmla="*/ 7412 h 10000"/>
                <a:gd name="connsiteX90" fmla="*/ 601 w 10000"/>
                <a:gd name="connsiteY90" fmla="*/ 7431 h 10000"/>
                <a:gd name="connsiteX91" fmla="*/ 523 w 10000"/>
                <a:gd name="connsiteY91" fmla="*/ 7294 h 10000"/>
                <a:gd name="connsiteX92" fmla="*/ 446 w 10000"/>
                <a:gd name="connsiteY92" fmla="*/ 7157 h 10000"/>
                <a:gd name="connsiteX93" fmla="*/ 853 w 10000"/>
                <a:gd name="connsiteY93" fmla="*/ 6608 h 10000"/>
                <a:gd name="connsiteX94" fmla="*/ 775 w 10000"/>
                <a:gd name="connsiteY94" fmla="*/ 6392 h 10000"/>
                <a:gd name="connsiteX95" fmla="*/ 756 w 10000"/>
                <a:gd name="connsiteY95" fmla="*/ 6275 h 10000"/>
                <a:gd name="connsiteX96" fmla="*/ 717 w 10000"/>
                <a:gd name="connsiteY96" fmla="*/ 6157 h 10000"/>
                <a:gd name="connsiteX97" fmla="*/ 58 w 10000"/>
                <a:gd name="connsiteY97" fmla="*/ 5941 h 10000"/>
                <a:gd name="connsiteX98" fmla="*/ 0 w 10000"/>
                <a:gd name="connsiteY98" fmla="*/ 5627 h 10000"/>
                <a:gd name="connsiteX99" fmla="*/ 581 w 10000"/>
                <a:gd name="connsiteY99" fmla="*/ 5235 h 10000"/>
                <a:gd name="connsiteX100" fmla="*/ 562 w 10000"/>
                <a:gd name="connsiteY100" fmla="*/ 5000 h 10000"/>
                <a:gd name="connsiteX101" fmla="*/ 581 w 10000"/>
                <a:gd name="connsiteY101" fmla="*/ 4765 h 10000"/>
                <a:gd name="connsiteX102" fmla="*/ 0 w 10000"/>
                <a:gd name="connsiteY102" fmla="*/ 4392 h 10000"/>
                <a:gd name="connsiteX103" fmla="*/ 19 w 10000"/>
                <a:gd name="connsiteY103" fmla="*/ 4216 h 10000"/>
                <a:gd name="connsiteX104" fmla="*/ 58 w 10000"/>
                <a:gd name="connsiteY104" fmla="*/ 4059 h 10000"/>
                <a:gd name="connsiteX105" fmla="*/ 717 w 10000"/>
                <a:gd name="connsiteY105" fmla="*/ 3863 h 10000"/>
                <a:gd name="connsiteX106" fmla="*/ 775 w 10000"/>
                <a:gd name="connsiteY106" fmla="*/ 3627 h 10000"/>
                <a:gd name="connsiteX107" fmla="*/ 814 w 10000"/>
                <a:gd name="connsiteY107" fmla="*/ 3510 h 10000"/>
                <a:gd name="connsiteX108" fmla="*/ 853 w 10000"/>
                <a:gd name="connsiteY108" fmla="*/ 3392 h 10000"/>
                <a:gd name="connsiteX109" fmla="*/ 446 w 10000"/>
                <a:gd name="connsiteY109" fmla="*/ 2863 h 10000"/>
                <a:gd name="connsiteX110" fmla="*/ 523 w 10000"/>
                <a:gd name="connsiteY110" fmla="*/ 2706 h 10000"/>
                <a:gd name="connsiteX111" fmla="*/ 601 w 10000"/>
                <a:gd name="connsiteY111" fmla="*/ 2588 h 10000"/>
                <a:gd name="connsiteX112" fmla="*/ 1279 w 10000"/>
                <a:gd name="connsiteY112" fmla="*/ 2588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108" fmla="*/ 446 w 10000"/>
                <a:gd name="connsiteY108" fmla="*/ 2863 h 10000"/>
                <a:gd name="connsiteX109" fmla="*/ 523 w 10000"/>
                <a:gd name="connsiteY109" fmla="*/ 2706 h 10000"/>
                <a:gd name="connsiteX110" fmla="*/ 601 w 10000"/>
                <a:gd name="connsiteY110" fmla="*/ 2588 h 10000"/>
                <a:gd name="connsiteX111" fmla="*/ 1279 w 10000"/>
                <a:gd name="connsiteY111" fmla="*/ 2588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108" fmla="*/ 446 w 10000"/>
                <a:gd name="connsiteY108" fmla="*/ 2863 h 10000"/>
                <a:gd name="connsiteX109" fmla="*/ 523 w 10000"/>
                <a:gd name="connsiteY109" fmla="*/ 2706 h 10000"/>
                <a:gd name="connsiteX110" fmla="*/ 601 w 10000"/>
                <a:gd name="connsiteY110" fmla="*/ 2588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108" fmla="*/ 446 w 10000"/>
                <a:gd name="connsiteY108" fmla="*/ 2863 h 10000"/>
                <a:gd name="connsiteX109" fmla="*/ 523 w 10000"/>
                <a:gd name="connsiteY109" fmla="*/ 2706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108" fmla="*/ 446 w 10000"/>
                <a:gd name="connsiteY108" fmla="*/ 2863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0000" h="10000">
                  <a:moveTo>
                    <a:pt x="4070" y="59"/>
                  </a:moveTo>
                  <a:lnTo>
                    <a:pt x="4380" y="0"/>
                  </a:lnTo>
                  <a:lnTo>
                    <a:pt x="4767" y="569"/>
                  </a:lnTo>
                  <a:lnTo>
                    <a:pt x="5019" y="549"/>
                  </a:lnTo>
                  <a:lnTo>
                    <a:pt x="5252" y="569"/>
                  </a:lnTo>
                  <a:lnTo>
                    <a:pt x="5640" y="0"/>
                  </a:lnTo>
                  <a:lnTo>
                    <a:pt x="5795" y="20"/>
                  </a:lnTo>
                  <a:lnTo>
                    <a:pt x="5950" y="59"/>
                  </a:lnTo>
                  <a:lnTo>
                    <a:pt x="6163" y="706"/>
                  </a:lnTo>
                  <a:lnTo>
                    <a:pt x="6395" y="765"/>
                  </a:lnTo>
                  <a:lnTo>
                    <a:pt x="6492" y="804"/>
                  </a:lnTo>
                  <a:lnTo>
                    <a:pt x="6609" y="843"/>
                  </a:lnTo>
                  <a:lnTo>
                    <a:pt x="7151" y="451"/>
                  </a:lnTo>
                  <a:cubicBezTo>
                    <a:pt x="7196" y="471"/>
                    <a:pt x="7242" y="490"/>
                    <a:pt x="7287" y="510"/>
                  </a:cubicBezTo>
                  <a:lnTo>
                    <a:pt x="7442" y="588"/>
                  </a:lnTo>
                  <a:lnTo>
                    <a:pt x="7442" y="1275"/>
                  </a:lnTo>
                  <a:lnTo>
                    <a:pt x="7616" y="1412"/>
                  </a:lnTo>
                  <a:cubicBezTo>
                    <a:pt x="7648" y="1432"/>
                    <a:pt x="7681" y="1451"/>
                    <a:pt x="7713" y="1471"/>
                  </a:cubicBezTo>
                  <a:lnTo>
                    <a:pt x="7810" y="1549"/>
                  </a:lnTo>
                  <a:lnTo>
                    <a:pt x="8450" y="1333"/>
                  </a:lnTo>
                  <a:cubicBezTo>
                    <a:pt x="8489" y="1372"/>
                    <a:pt x="8527" y="1412"/>
                    <a:pt x="8566" y="1451"/>
                  </a:cubicBezTo>
                  <a:cubicBezTo>
                    <a:pt x="8605" y="1490"/>
                    <a:pt x="8643" y="1530"/>
                    <a:pt x="8682" y="1569"/>
                  </a:cubicBezTo>
                  <a:lnTo>
                    <a:pt x="8469" y="2216"/>
                  </a:lnTo>
                  <a:cubicBezTo>
                    <a:pt x="8514" y="2275"/>
                    <a:pt x="8560" y="2333"/>
                    <a:pt x="8605" y="2392"/>
                  </a:cubicBezTo>
                  <a:lnTo>
                    <a:pt x="8740" y="2588"/>
                  </a:lnTo>
                  <a:lnTo>
                    <a:pt x="9419" y="2588"/>
                  </a:lnTo>
                  <a:cubicBezTo>
                    <a:pt x="9445" y="2627"/>
                    <a:pt x="9470" y="2667"/>
                    <a:pt x="9496" y="2706"/>
                  </a:cubicBezTo>
                  <a:cubicBezTo>
                    <a:pt x="9522" y="2758"/>
                    <a:pt x="9548" y="2811"/>
                    <a:pt x="9574" y="2863"/>
                  </a:cubicBezTo>
                  <a:lnTo>
                    <a:pt x="9167" y="3392"/>
                  </a:lnTo>
                  <a:cubicBezTo>
                    <a:pt x="9193" y="3470"/>
                    <a:pt x="9218" y="3549"/>
                    <a:pt x="9244" y="3627"/>
                  </a:cubicBezTo>
                  <a:cubicBezTo>
                    <a:pt x="9257" y="3666"/>
                    <a:pt x="9270" y="3706"/>
                    <a:pt x="9283" y="3745"/>
                  </a:cubicBezTo>
                  <a:cubicBezTo>
                    <a:pt x="9289" y="3784"/>
                    <a:pt x="9296" y="3824"/>
                    <a:pt x="9302" y="3863"/>
                  </a:cubicBezTo>
                  <a:lnTo>
                    <a:pt x="9961" y="4059"/>
                  </a:lnTo>
                  <a:lnTo>
                    <a:pt x="10000" y="4392"/>
                  </a:lnTo>
                  <a:lnTo>
                    <a:pt x="9438" y="4765"/>
                  </a:lnTo>
                  <a:cubicBezTo>
                    <a:pt x="9444" y="4843"/>
                    <a:pt x="9451" y="4922"/>
                    <a:pt x="9457" y="5000"/>
                  </a:cubicBezTo>
                  <a:cubicBezTo>
                    <a:pt x="9451" y="5078"/>
                    <a:pt x="9444" y="5157"/>
                    <a:pt x="9438" y="5235"/>
                  </a:cubicBezTo>
                  <a:lnTo>
                    <a:pt x="10000" y="5627"/>
                  </a:lnTo>
                  <a:cubicBezTo>
                    <a:pt x="9994" y="5679"/>
                    <a:pt x="9987" y="5732"/>
                    <a:pt x="9981" y="5784"/>
                  </a:cubicBezTo>
                  <a:cubicBezTo>
                    <a:pt x="9974" y="5836"/>
                    <a:pt x="9968" y="5889"/>
                    <a:pt x="9961" y="5941"/>
                  </a:cubicBezTo>
                  <a:lnTo>
                    <a:pt x="9302" y="6157"/>
                  </a:lnTo>
                  <a:cubicBezTo>
                    <a:pt x="9283" y="6235"/>
                    <a:pt x="9263" y="6314"/>
                    <a:pt x="9244" y="6392"/>
                  </a:cubicBezTo>
                  <a:cubicBezTo>
                    <a:pt x="9231" y="6425"/>
                    <a:pt x="9218" y="6457"/>
                    <a:pt x="9205" y="6490"/>
                  </a:cubicBezTo>
                  <a:cubicBezTo>
                    <a:pt x="9192" y="6529"/>
                    <a:pt x="9180" y="6569"/>
                    <a:pt x="9167" y="6608"/>
                  </a:cubicBezTo>
                  <a:lnTo>
                    <a:pt x="9574" y="7157"/>
                  </a:lnTo>
                  <a:cubicBezTo>
                    <a:pt x="9548" y="7203"/>
                    <a:pt x="9522" y="7248"/>
                    <a:pt x="9496" y="7294"/>
                  </a:cubicBezTo>
                  <a:lnTo>
                    <a:pt x="9419" y="7431"/>
                  </a:lnTo>
                  <a:lnTo>
                    <a:pt x="8740" y="7412"/>
                  </a:lnTo>
                  <a:lnTo>
                    <a:pt x="8605" y="7627"/>
                  </a:lnTo>
                  <a:lnTo>
                    <a:pt x="8547" y="7706"/>
                  </a:lnTo>
                  <a:cubicBezTo>
                    <a:pt x="8521" y="7739"/>
                    <a:pt x="8495" y="7771"/>
                    <a:pt x="8469" y="7804"/>
                  </a:cubicBezTo>
                  <a:lnTo>
                    <a:pt x="8682" y="8451"/>
                  </a:lnTo>
                  <a:cubicBezTo>
                    <a:pt x="8643" y="8490"/>
                    <a:pt x="8605" y="8530"/>
                    <a:pt x="8566" y="8569"/>
                  </a:cubicBezTo>
                  <a:lnTo>
                    <a:pt x="8450" y="8686"/>
                  </a:lnTo>
                  <a:lnTo>
                    <a:pt x="7810" y="8471"/>
                  </a:lnTo>
                  <a:lnTo>
                    <a:pt x="7616" y="8608"/>
                  </a:lnTo>
                  <a:lnTo>
                    <a:pt x="7442" y="8745"/>
                  </a:lnTo>
                  <a:lnTo>
                    <a:pt x="7442" y="9412"/>
                  </a:lnTo>
                  <a:lnTo>
                    <a:pt x="7287" y="9510"/>
                  </a:lnTo>
                  <a:cubicBezTo>
                    <a:pt x="7242" y="9530"/>
                    <a:pt x="7196" y="9549"/>
                    <a:pt x="7151" y="9569"/>
                  </a:cubicBezTo>
                  <a:lnTo>
                    <a:pt x="6609" y="9157"/>
                  </a:lnTo>
                  <a:lnTo>
                    <a:pt x="6395" y="9235"/>
                  </a:lnTo>
                  <a:cubicBezTo>
                    <a:pt x="6356" y="9248"/>
                    <a:pt x="6318" y="9262"/>
                    <a:pt x="6279" y="9275"/>
                  </a:cubicBezTo>
                  <a:lnTo>
                    <a:pt x="6163" y="9314"/>
                  </a:lnTo>
                  <a:lnTo>
                    <a:pt x="5950" y="9961"/>
                  </a:lnTo>
                  <a:lnTo>
                    <a:pt x="5640" y="10000"/>
                  </a:lnTo>
                  <a:lnTo>
                    <a:pt x="5252" y="9451"/>
                  </a:lnTo>
                  <a:lnTo>
                    <a:pt x="5019" y="9451"/>
                  </a:lnTo>
                  <a:lnTo>
                    <a:pt x="4767" y="9451"/>
                  </a:lnTo>
                  <a:lnTo>
                    <a:pt x="4380" y="10000"/>
                  </a:lnTo>
                  <a:lnTo>
                    <a:pt x="4225" y="9980"/>
                  </a:lnTo>
                  <a:lnTo>
                    <a:pt x="4070" y="9961"/>
                  </a:lnTo>
                  <a:lnTo>
                    <a:pt x="3857" y="9314"/>
                  </a:lnTo>
                  <a:lnTo>
                    <a:pt x="3624" y="9235"/>
                  </a:lnTo>
                  <a:lnTo>
                    <a:pt x="3508" y="9216"/>
                  </a:lnTo>
                  <a:cubicBezTo>
                    <a:pt x="3476" y="9196"/>
                    <a:pt x="3443" y="9177"/>
                    <a:pt x="3411" y="9157"/>
                  </a:cubicBezTo>
                  <a:lnTo>
                    <a:pt x="2868" y="9569"/>
                  </a:lnTo>
                  <a:lnTo>
                    <a:pt x="2733" y="9510"/>
                  </a:lnTo>
                  <a:lnTo>
                    <a:pt x="2578" y="9412"/>
                  </a:lnTo>
                  <a:cubicBezTo>
                    <a:pt x="2584" y="9190"/>
                    <a:pt x="2591" y="8967"/>
                    <a:pt x="2597" y="8745"/>
                  </a:cubicBezTo>
                  <a:lnTo>
                    <a:pt x="2403" y="8608"/>
                  </a:lnTo>
                  <a:lnTo>
                    <a:pt x="2306" y="8529"/>
                  </a:lnTo>
                  <a:lnTo>
                    <a:pt x="2209" y="8471"/>
                  </a:lnTo>
                  <a:lnTo>
                    <a:pt x="1570" y="8686"/>
                  </a:lnTo>
                  <a:lnTo>
                    <a:pt x="1453" y="8569"/>
                  </a:lnTo>
                  <a:cubicBezTo>
                    <a:pt x="1414" y="8530"/>
                    <a:pt x="1376" y="8490"/>
                    <a:pt x="1337" y="8451"/>
                  </a:cubicBezTo>
                  <a:lnTo>
                    <a:pt x="1550" y="7804"/>
                  </a:lnTo>
                  <a:lnTo>
                    <a:pt x="1415" y="7627"/>
                  </a:lnTo>
                  <a:cubicBezTo>
                    <a:pt x="1370" y="7555"/>
                    <a:pt x="1324" y="7484"/>
                    <a:pt x="1279" y="7412"/>
                  </a:cubicBezTo>
                  <a:lnTo>
                    <a:pt x="601" y="7431"/>
                  </a:lnTo>
                  <a:cubicBezTo>
                    <a:pt x="575" y="7385"/>
                    <a:pt x="549" y="7340"/>
                    <a:pt x="523" y="7294"/>
                  </a:cubicBezTo>
                  <a:lnTo>
                    <a:pt x="446" y="7157"/>
                  </a:lnTo>
                  <a:lnTo>
                    <a:pt x="853" y="6608"/>
                  </a:lnTo>
                  <a:lnTo>
                    <a:pt x="775" y="6392"/>
                  </a:lnTo>
                  <a:cubicBezTo>
                    <a:pt x="769" y="6353"/>
                    <a:pt x="762" y="6314"/>
                    <a:pt x="756" y="6275"/>
                  </a:cubicBezTo>
                  <a:cubicBezTo>
                    <a:pt x="743" y="6236"/>
                    <a:pt x="730" y="6196"/>
                    <a:pt x="717" y="6157"/>
                  </a:cubicBezTo>
                  <a:lnTo>
                    <a:pt x="58" y="5941"/>
                  </a:lnTo>
                  <a:cubicBezTo>
                    <a:pt x="39" y="5836"/>
                    <a:pt x="19" y="5732"/>
                    <a:pt x="0" y="5627"/>
                  </a:cubicBezTo>
                  <a:lnTo>
                    <a:pt x="581" y="5235"/>
                  </a:lnTo>
                  <a:cubicBezTo>
                    <a:pt x="575" y="5157"/>
                    <a:pt x="568" y="5078"/>
                    <a:pt x="562" y="5000"/>
                  </a:cubicBezTo>
                  <a:cubicBezTo>
                    <a:pt x="568" y="4922"/>
                    <a:pt x="575" y="4843"/>
                    <a:pt x="581" y="4765"/>
                  </a:cubicBezTo>
                  <a:lnTo>
                    <a:pt x="0" y="4392"/>
                  </a:lnTo>
                  <a:cubicBezTo>
                    <a:pt x="6" y="4333"/>
                    <a:pt x="13" y="4275"/>
                    <a:pt x="19" y="4216"/>
                  </a:cubicBezTo>
                  <a:cubicBezTo>
                    <a:pt x="32" y="4164"/>
                    <a:pt x="45" y="4111"/>
                    <a:pt x="58" y="4059"/>
                  </a:cubicBezTo>
                  <a:lnTo>
                    <a:pt x="717" y="3863"/>
                  </a:lnTo>
                </a:path>
              </a:pathLst>
            </a:custGeom>
            <a:noFill/>
            <a:ln w="9525">
              <a:solidFill>
                <a:schemeClr val="accent5"/>
              </a:solidFill>
              <a:round/>
              <a:headEnd/>
              <a:tailEnd/>
            </a:ln>
          </p:spPr>
          <p:txBody>
            <a:bodyPr/>
            <a:lstStyle/>
            <a:p>
              <a:endParaRPr lang="en-US" dirty="0">
                <a:solidFill>
                  <a:srgbClr val="000000"/>
                </a:solidFill>
              </a:endParaRPr>
            </a:p>
          </p:txBody>
        </p:sp>
        <p:sp>
          <p:nvSpPr>
            <p:cNvPr id="41" name="Textplatzhalter 3">
              <a:extLst>
                <a:ext uri="{FF2B5EF4-FFF2-40B4-BE49-F238E27FC236}">
                  <a16:creationId xmlns:a16="http://schemas.microsoft.com/office/drawing/2014/main" id="{B5017DF3-E2C2-44B4-A4E0-8112FB17D74C}"/>
                </a:ext>
              </a:extLst>
            </p:cNvPr>
            <p:cNvSpPr txBox="1">
              <a:spLocks/>
            </p:cNvSpPr>
            <p:nvPr/>
          </p:nvSpPr>
          <p:spPr bwMode="gray">
            <a:xfrm>
              <a:off x="7138320" y="4244129"/>
              <a:ext cx="504056" cy="271511"/>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sz="3000" dirty="0">
                  <a:solidFill>
                    <a:schemeClr val="accent5"/>
                  </a:solidFill>
                </a:rPr>
                <a:t>02</a:t>
              </a:r>
            </a:p>
          </p:txBody>
        </p:sp>
        <p:sp>
          <p:nvSpPr>
            <p:cNvPr id="42" name="Textplatzhalter 3">
              <a:extLst>
                <a:ext uri="{FF2B5EF4-FFF2-40B4-BE49-F238E27FC236}">
                  <a16:creationId xmlns:a16="http://schemas.microsoft.com/office/drawing/2014/main" id="{F869908E-7597-473A-8EDE-82AF83F93953}"/>
                </a:ext>
              </a:extLst>
            </p:cNvPr>
            <p:cNvSpPr txBox="1">
              <a:spLocks/>
            </p:cNvSpPr>
            <p:nvPr/>
          </p:nvSpPr>
          <p:spPr bwMode="gray">
            <a:xfrm>
              <a:off x="7319541" y="3205341"/>
              <a:ext cx="1296000" cy="1296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sz="1600" dirty="0">
                  <a:solidFill>
                    <a:schemeClr val="tx1"/>
                  </a:solidFill>
                </a:rPr>
                <a:t>Lorem</a:t>
              </a:r>
              <a:br>
                <a:rPr lang="en-US" sz="1600" dirty="0">
                  <a:solidFill>
                    <a:schemeClr val="tx1"/>
                  </a:solidFill>
                </a:rPr>
              </a:br>
              <a:r>
                <a:rPr lang="en-US" sz="1600" dirty="0">
                  <a:solidFill>
                    <a:schemeClr val="tx1"/>
                  </a:solidFill>
                </a:rPr>
                <a:t>ipsum dolor</a:t>
              </a:r>
              <a:br>
                <a:rPr lang="en-US" sz="1600" dirty="0">
                  <a:solidFill>
                    <a:schemeClr val="tx1"/>
                  </a:solidFill>
                </a:rPr>
              </a:br>
              <a:r>
                <a:rPr lang="en-US" sz="1600" dirty="0">
                  <a:solidFill>
                    <a:schemeClr val="tx1"/>
                  </a:solidFill>
                </a:rPr>
                <a:t>sit amet</a:t>
              </a:r>
            </a:p>
          </p:txBody>
        </p:sp>
      </p:grpSp>
      <p:grpSp>
        <p:nvGrpSpPr>
          <p:cNvPr id="60" name="Gruppieren 59">
            <a:extLst>
              <a:ext uri="{FF2B5EF4-FFF2-40B4-BE49-F238E27FC236}">
                <a16:creationId xmlns:a16="http://schemas.microsoft.com/office/drawing/2014/main" id="{EB5CA04E-17BB-411A-8F5D-33E13935C0C2}"/>
              </a:ext>
            </a:extLst>
          </p:cNvPr>
          <p:cNvGrpSpPr/>
          <p:nvPr/>
        </p:nvGrpSpPr>
        <p:grpSpPr bwMode="gray">
          <a:xfrm>
            <a:off x="7622218" y="4740300"/>
            <a:ext cx="1582404" cy="1497012"/>
            <a:chOff x="6312000" y="4884316"/>
            <a:chExt cx="1582404" cy="1497012"/>
          </a:xfrm>
        </p:grpSpPr>
        <p:sp>
          <p:nvSpPr>
            <p:cNvPr id="46" name="Freeform 53">
              <a:extLst>
                <a:ext uri="{FF2B5EF4-FFF2-40B4-BE49-F238E27FC236}">
                  <a16:creationId xmlns:a16="http://schemas.microsoft.com/office/drawing/2014/main" id="{76C69CE1-3AAC-4303-90DA-4A99C3B3F631}"/>
                </a:ext>
              </a:extLst>
            </p:cNvPr>
            <p:cNvSpPr>
              <a:spLocks noChangeAspect="1"/>
            </p:cNvSpPr>
            <p:nvPr/>
          </p:nvSpPr>
          <p:spPr bwMode="gray">
            <a:xfrm flipH="1">
              <a:off x="6312000" y="4884316"/>
              <a:ext cx="1514475" cy="1497012"/>
            </a:xfrm>
            <a:custGeom>
              <a:avLst/>
              <a:gdLst>
                <a:gd name="T0" fmla="*/ 2485 w 516"/>
                <a:gd name="T1" fmla="*/ 2775 h 510"/>
                <a:gd name="T2" fmla="*/ 2376 w 516"/>
                <a:gd name="T3" fmla="*/ 3068 h 510"/>
                <a:gd name="T4" fmla="*/ 2085 w 516"/>
                <a:gd name="T5" fmla="*/ 2977 h 510"/>
                <a:gd name="T6" fmla="*/ 1941 w 516"/>
                <a:gd name="T7" fmla="*/ 3210 h 510"/>
                <a:gd name="T8" fmla="*/ 1638 w 516"/>
                <a:gd name="T9" fmla="*/ 3045 h 510"/>
                <a:gd name="T10" fmla="*/ 1377 w 516"/>
                <a:gd name="T11" fmla="*/ 3217 h 510"/>
                <a:gd name="T12" fmla="*/ 1183 w 516"/>
                <a:gd name="T13" fmla="*/ 2977 h 510"/>
                <a:gd name="T14" fmla="*/ 937 w 516"/>
                <a:gd name="T15" fmla="*/ 3084 h 510"/>
                <a:gd name="T16" fmla="*/ 849 w 516"/>
                <a:gd name="T17" fmla="*/ 2820 h 510"/>
                <a:gd name="T18" fmla="*/ 721 w 516"/>
                <a:gd name="T19" fmla="*/ 2731 h 510"/>
                <a:gd name="T20" fmla="*/ 438 w 516"/>
                <a:gd name="T21" fmla="*/ 2725 h 510"/>
                <a:gd name="T22" fmla="*/ 418 w 516"/>
                <a:gd name="T23" fmla="*/ 2389 h 510"/>
                <a:gd name="T24" fmla="*/ 148 w 516"/>
                <a:gd name="T25" fmla="*/ 2308 h 510"/>
                <a:gd name="T26" fmla="*/ 246 w 516"/>
                <a:gd name="T27" fmla="*/ 2025 h 510"/>
                <a:gd name="T28" fmla="*/ 0 w 516"/>
                <a:gd name="T29" fmla="*/ 1816 h 510"/>
                <a:gd name="T30" fmla="*/ 189 w 516"/>
                <a:gd name="T31" fmla="*/ 1535 h 510"/>
                <a:gd name="T32" fmla="*/ 20 w 516"/>
                <a:gd name="T33" fmla="*/ 1309 h 510"/>
                <a:gd name="T34" fmla="*/ 266 w 516"/>
                <a:gd name="T35" fmla="*/ 1132 h 510"/>
                <a:gd name="T36" fmla="*/ 170 w 516"/>
                <a:gd name="T37" fmla="*/ 873 h 510"/>
                <a:gd name="T38" fmla="*/ 462 w 516"/>
                <a:gd name="T39" fmla="*/ 773 h 510"/>
                <a:gd name="T40" fmla="*/ 438 w 516"/>
                <a:gd name="T41" fmla="*/ 507 h 510"/>
                <a:gd name="T42" fmla="*/ 721 w 516"/>
                <a:gd name="T43" fmla="*/ 499 h 510"/>
                <a:gd name="T44" fmla="*/ 841 w 516"/>
                <a:gd name="T45" fmla="*/ 189 h 510"/>
                <a:gd name="T46" fmla="*/ 1111 w 516"/>
                <a:gd name="T47" fmla="*/ 274 h 510"/>
                <a:gd name="T48" fmla="*/ 1257 w 516"/>
                <a:gd name="T49" fmla="*/ 229 h 510"/>
                <a:gd name="T50" fmla="*/ 1555 w 516"/>
                <a:gd name="T51" fmla="*/ 185 h 510"/>
                <a:gd name="T52" fmla="*/ 1840 w 516"/>
                <a:gd name="T53" fmla="*/ 0 h 510"/>
                <a:gd name="T54" fmla="*/ 2010 w 516"/>
                <a:gd name="T55" fmla="*/ 229 h 510"/>
                <a:gd name="T56" fmla="*/ 2154 w 516"/>
                <a:gd name="T57" fmla="*/ 274 h 510"/>
                <a:gd name="T58" fmla="*/ 2428 w 516"/>
                <a:gd name="T59" fmla="*/ 189 h 510"/>
                <a:gd name="T60" fmla="*/ 2516 w 516"/>
                <a:gd name="T61" fmla="*/ 475 h 510"/>
                <a:gd name="T62" fmla="*/ 2794 w 516"/>
                <a:gd name="T63" fmla="*/ 468 h 510"/>
                <a:gd name="T64" fmla="*/ 2807 w 516"/>
                <a:gd name="T65" fmla="*/ 773 h 510"/>
                <a:gd name="T66" fmla="*/ 3097 w 516"/>
                <a:gd name="T67" fmla="*/ 873 h 510"/>
                <a:gd name="T68" fmla="*/ 3015 w 516"/>
                <a:gd name="T69" fmla="*/ 1169 h 510"/>
                <a:gd name="T70" fmla="*/ 3247 w 516"/>
                <a:gd name="T71" fmla="*/ 1309 h 510"/>
                <a:gd name="T72" fmla="*/ 3084 w 516"/>
                <a:gd name="T73" fmla="*/ 1614 h 510"/>
                <a:gd name="T74" fmla="*/ 3254 w 516"/>
                <a:gd name="T75" fmla="*/ 1864 h 510"/>
                <a:gd name="T76" fmla="*/ 3015 w 516"/>
                <a:gd name="T77" fmla="*/ 2062 h 510"/>
                <a:gd name="T78" fmla="*/ 3121 w 516"/>
                <a:gd name="T79" fmla="*/ 2308 h 510"/>
                <a:gd name="T80" fmla="*/ 2851 w 516"/>
                <a:gd name="T81" fmla="*/ 2389 h 510"/>
                <a:gd name="T82" fmla="*/ 2762 w 516"/>
                <a:gd name="T83" fmla="*/ 2517 h 510"/>
                <a:gd name="T84" fmla="*/ 2755 w 516"/>
                <a:gd name="T85" fmla="*/ 2799 h 51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connsiteX0" fmla="*/ 1415 w 10000"/>
                <a:gd name="connsiteY0" fmla="*/ 2392 h 10000"/>
                <a:gd name="connsiteX1" fmla="*/ 1473 w 10000"/>
                <a:gd name="connsiteY1" fmla="*/ 2294 h 10000"/>
                <a:gd name="connsiteX2" fmla="*/ 1550 w 10000"/>
                <a:gd name="connsiteY2" fmla="*/ 2216 h 10000"/>
                <a:gd name="connsiteX3" fmla="*/ 1337 w 10000"/>
                <a:gd name="connsiteY3" fmla="*/ 1569 h 10000"/>
                <a:gd name="connsiteX4" fmla="*/ 1453 w 10000"/>
                <a:gd name="connsiteY4" fmla="*/ 1451 h 10000"/>
                <a:gd name="connsiteX5" fmla="*/ 1570 w 10000"/>
                <a:gd name="connsiteY5" fmla="*/ 1333 h 10000"/>
                <a:gd name="connsiteX6" fmla="*/ 2209 w 10000"/>
                <a:gd name="connsiteY6" fmla="*/ 1549 h 10000"/>
                <a:gd name="connsiteX7" fmla="*/ 2403 w 10000"/>
                <a:gd name="connsiteY7" fmla="*/ 1412 h 10000"/>
                <a:gd name="connsiteX8" fmla="*/ 2597 w 10000"/>
                <a:gd name="connsiteY8" fmla="*/ 1275 h 10000"/>
                <a:gd name="connsiteX9" fmla="*/ 2578 w 10000"/>
                <a:gd name="connsiteY9" fmla="*/ 588 h 10000"/>
                <a:gd name="connsiteX10" fmla="*/ 2733 w 10000"/>
                <a:gd name="connsiteY10" fmla="*/ 510 h 10000"/>
                <a:gd name="connsiteX11" fmla="*/ 2868 w 10000"/>
                <a:gd name="connsiteY11" fmla="*/ 451 h 10000"/>
                <a:gd name="connsiteX12" fmla="*/ 3411 w 10000"/>
                <a:gd name="connsiteY12" fmla="*/ 843 h 10000"/>
                <a:gd name="connsiteX13" fmla="*/ 3624 w 10000"/>
                <a:gd name="connsiteY13" fmla="*/ 765 h 10000"/>
                <a:gd name="connsiteX14" fmla="*/ 3740 w 10000"/>
                <a:gd name="connsiteY14" fmla="*/ 725 h 10000"/>
                <a:gd name="connsiteX15" fmla="*/ 3857 w 10000"/>
                <a:gd name="connsiteY15" fmla="*/ 706 h 10000"/>
                <a:gd name="connsiteX16" fmla="*/ 4070 w 10000"/>
                <a:gd name="connsiteY16" fmla="*/ 59 h 10000"/>
                <a:gd name="connsiteX17" fmla="*/ 4380 w 10000"/>
                <a:gd name="connsiteY17" fmla="*/ 0 h 10000"/>
                <a:gd name="connsiteX18" fmla="*/ 4767 w 10000"/>
                <a:gd name="connsiteY18" fmla="*/ 569 h 10000"/>
                <a:gd name="connsiteX19" fmla="*/ 5019 w 10000"/>
                <a:gd name="connsiteY19" fmla="*/ 549 h 10000"/>
                <a:gd name="connsiteX20" fmla="*/ 5252 w 10000"/>
                <a:gd name="connsiteY20" fmla="*/ 569 h 10000"/>
                <a:gd name="connsiteX21" fmla="*/ 5640 w 10000"/>
                <a:gd name="connsiteY21" fmla="*/ 0 h 10000"/>
                <a:gd name="connsiteX22" fmla="*/ 5795 w 10000"/>
                <a:gd name="connsiteY22" fmla="*/ 20 h 10000"/>
                <a:gd name="connsiteX23" fmla="*/ 5950 w 10000"/>
                <a:gd name="connsiteY23" fmla="*/ 59 h 10000"/>
                <a:gd name="connsiteX24" fmla="*/ 6163 w 10000"/>
                <a:gd name="connsiteY24" fmla="*/ 706 h 10000"/>
                <a:gd name="connsiteX25" fmla="*/ 6395 w 10000"/>
                <a:gd name="connsiteY25" fmla="*/ 765 h 10000"/>
                <a:gd name="connsiteX26" fmla="*/ 6492 w 10000"/>
                <a:gd name="connsiteY26" fmla="*/ 804 h 10000"/>
                <a:gd name="connsiteX27" fmla="*/ 6609 w 10000"/>
                <a:gd name="connsiteY27" fmla="*/ 843 h 10000"/>
                <a:gd name="connsiteX28" fmla="*/ 7151 w 10000"/>
                <a:gd name="connsiteY28" fmla="*/ 451 h 10000"/>
                <a:gd name="connsiteX29" fmla="*/ 7287 w 10000"/>
                <a:gd name="connsiteY29" fmla="*/ 510 h 10000"/>
                <a:gd name="connsiteX30" fmla="*/ 7442 w 10000"/>
                <a:gd name="connsiteY30" fmla="*/ 588 h 10000"/>
                <a:gd name="connsiteX31" fmla="*/ 7442 w 10000"/>
                <a:gd name="connsiteY31" fmla="*/ 1275 h 10000"/>
                <a:gd name="connsiteX32" fmla="*/ 7616 w 10000"/>
                <a:gd name="connsiteY32" fmla="*/ 1412 h 10000"/>
                <a:gd name="connsiteX33" fmla="*/ 7713 w 10000"/>
                <a:gd name="connsiteY33" fmla="*/ 1471 h 10000"/>
                <a:gd name="connsiteX34" fmla="*/ 7810 w 10000"/>
                <a:gd name="connsiteY34" fmla="*/ 1549 h 10000"/>
                <a:gd name="connsiteX35" fmla="*/ 8450 w 10000"/>
                <a:gd name="connsiteY35" fmla="*/ 1333 h 10000"/>
                <a:gd name="connsiteX36" fmla="*/ 8566 w 10000"/>
                <a:gd name="connsiteY36" fmla="*/ 1451 h 10000"/>
                <a:gd name="connsiteX37" fmla="*/ 8682 w 10000"/>
                <a:gd name="connsiteY37" fmla="*/ 1569 h 10000"/>
                <a:gd name="connsiteX38" fmla="*/ 8469 w 10000"/>
                <a:gd name="connsiteY38" fmla="*/ 2216 h 10000"/>
                <a:gd name="connsiteX39" fmla="*/ 8605 w 10000"/>
                <a:gd name="connsiteY39" fmla="*/ 2392 h 10000"/>
                <a:gd name="connsiteX40" fmla="*/ 8740 w 10000"/>
                <a:gd name="connsiteY40" fmla="*/ 2588 h 10000"/>
                <a:gd name="connsiteX41" fmla="*/ 9419 w 10000"/>
                <a:gd name="connsiteY41" fmla="*/ 2588 h 10000"/>
                <a:gd name="connsiteX42" fmla="*/ 9496 w 10000"/>
                <a:gd name="connsiteY42" fmla="*/ 2706 h 10000"/>
                <a:gd name="connsiteX43" fmla="*/ 9574 w 10000"/>
                <a:gd name="connsiteY43" fmla="*/ 2863 h 10000"/>
                <a:gd name="connsiteX44" fmla="*/ 9167 w 10000"/>
                <a:gd name="connsiteY44" fmla="*/ 3392 h 10000"/>
                <a:gd name="connsiteX45" fmla="*/ 9244 w 10000"/>
                <a:gd name="connsiteY45" fmla="*/ 3627 h 10000"/>
                <a:gd name="connsiteX46" fmla="*/ 9283 w 10000"/>
                <a:gd name="connsiteY46" fmla="*/ 3745 h 10000"/>
                <a:gd name="connsiteX47" fmla="*/ 9302 w 10000"/>
                <a:gd name="connsiteY47" fmla="*/ 3863 h 10000"/>
                <a:gd name="connsiteX48" fmla="*/ 9961 w 10000"/>
                <a:gd name="connsiteY48" fmla="*/ 4059 h 10000"/>
                <a:gd name="connsiteX49" fmla="*/ 10000 w 10000"/>
                <a:gd name="connsiteY49" fmla="*/ 4392 h 10000"/>
                <a:gd name="connsiteX50" fmla="*/ 9438 w 10000"/>
                <a:gd name="connsiteY50" fmla="*/ 4765 h 10000"/>
                <a:gd name="connsiteX51" fmla="*/ 9457 w 10000"/>
                <a:gd name="connsiteY51" fmla="*/ 5000 h 10000"/>
                <a:gd name="connsiteX52" fmla="*/ 9438 w 10000"/>
                <a:gd name="connsiteY52" fmla="*/ 5235 h 10000"/>
                <a:gd name="connsiteX53" fmla="*/ 10000 w 10000"/>
                <a:gd name="connsiteY53" fmla="*/ 5627 h 10000"/>
                <a:gd name="connsiteX54" fmla="*/ 9981 w 10000"/>
                <a:gd name="connsiteY54" fmla="*/ 5784 h 10000"/>
                <a:gd name="connsiteX55" fmla="*/ 9961 w 10000"/>
                <a:gd name="connsiteY55" fmla="*/ 5941 h 10000"/>
                <a:gd name="connsiteX56" fmla="*/ 9302 w 10000"/>
                <a:gd name="connsiteY56" fmla="*/ 6157 h 10000"/>
                <a:gd name="connsiteX57" fmla="*/ 9244 w 10000"/>
                <a:gd name="connsiteY57" fmla="*/ 6392 h 10000"/>
                <a:gd name="connsiteX58" fmla="*/ 9205 w 10000"/>
                <a:gd name="connsiteY58" fmla="*/ 6490 h 10000"/>
                <a:gd name="connsiteX59" fmla="*/ 9167 w 10000"/>
                <a:gd name="connsiteY59" fmla="*/ 6608 h 10000"/>
                <a:gd name="connsiteX60" fmla="*/ 9574 w 10000"/>
                <a:gd name="connsiteY60" fmla="*/ 7157 h 10000"/>
                <a:gd name="connsiteX61" fmla="*/ 9496 w 10000"/>
                <a:gd name="connsiteY61" fmla="*/ 7294 h 10000"/>
                <a:gd name="connsiteX62" fmla="*/ 9419 w 10000"/>
                <a:gd name="connsiteY62" fmla="*/ 7431 h 10000"/>
                <a:gd name="connsiteX63" fmla="*/ 8740 w 10000"/>
                <a:gd name="connsiteY63" fmla="*/ 7412 h 10000"/>
                <a:gd name="connsiteX64" fmla="*/ 8605 w 10000"/>
                <a:gd name="connsiteY64" fmla="*/ 7627 h 10000"/>
                <a:gd name="connsiteX65" fmla="*/ 8547 w 10000"/>
                <a:gd name="connsiteY65" fmla="*/ 7706 h 10000"/>
                <a:gd name="connsiteX66" fmla="*/ 8469 w 10000"/>
                <a:gd name="connsiteY66" fmla="*/ 7804 h 10000"/>
                <a:gd name="connsiteX67" fmla="*/ 8682 w 10000"/>
                <a:gd name="connsiteY67" fmla="*/ 8451 h 10000"/>
                <a:gd name="connsiteX68" fmla="*/ 8566 w 10000"/>
                <a:gd name="connsiteY68" fmla="*/ 8569 h 10000"/>
                <a:gd name="connsiteX69" fmla="*/ 8450 w 10000"/>
                <a:gd name="connsiteY69" fmla="*/ 8686 h 10000"/>
                <a:gd name="connsiteX70" fmla="*/ 7810 w 10000"/>
                <a:gd name="connsiteY70" fmla="*/ 8471 h 10000"/>
                <a:gd name="connsiteX71" fmla="*/ 7616 w 10000"/>
                <a:gd name="connsiteY71" fmla="*/ 8608 h 10000"/>
                <a:gd name="connsiteX72" fmla="*/ 7442 w 10000"/>
                <a:gd name="connsiteY72" fmla="*/ 8745 h 10000"/>
                <a:gd name="connsiteX73" fmla="*/ 7442 w 10000"/>
                <a:gd name="connsiteY73" fmla="*/ 9412 h 10000"/>
                <a:gd name="connsiteX74" fmla="*/ 7287 w 10000"/>
                <a:gd name="connsiteY74" fmla="*/ 9510 h 10000"/>
                <a:gd name="connsiteX75" fmla="*/ 7151 w 10000"/>
                <a:gd name="connsiteY75" fmla="*/ 9569 h 10000"/>
                <a:gd name="connsiteX76" fmla="*/ 6609 w 10000"/>
                <a:gd name="connsiteY76" fmla="*/ 9157 h 10000"/>
                <a:gd name="connsiteX77" fmla="*/ 6395 w 10000"/>
                <a:gd name="connsiteY77" fmla="*/ 9235 h 10000"/>
                <a:gd name="connsiteX78" fmla="*/ 6279 w 10000"/>
                <a:gd name="connsiteY78" fmla="*/ 9275 h 10000"/>
                <a:gd name="connsiteX79" fmla="*/ 6163 w 10000"/>
                <a:gd name="connsiteY79" fmla="*/ 9314 h 10000"/>
                <a:gd name="connsiteX80" fmla="*/ 5950 w 10000"/>
                <a:gd name="connsiteY80" fmla="*/ 9961 h 10000"/>
                <a:gd name="connsiteX81" fmla="*/ 5640 w 10000"/>
                <a:gd name="connsiteY81" fmla="*/ 10000 h 10000"/>
                <a:gd name="connsiteX82" fmla="*/ 5252 w 10000"/>
                <a:gd name="connsiteY82" fmla="*/ 9451 h 10000"/>
                <a:gd name="connsiteX83" fmla="*/ 5019 w 10000"/>
                <a:gd name="connsiteY83" fmla="*/ 9451 h 10000"/>
                <a:gd name="connsiteX84" fmla="*/ 4767 w 10000"/>
                <a:gd name="connsiteY84" fmla="*/ 9451 h 10000"/>
                <a:gd name="connsiteX85" fmla="*/ 4380 w 10000"/>
                <a:gd name="connsiteY85" fmla="*/ 10000 h 10000"/>
                <a:gd name="connsiteX86" fmla="*/ 4225 w 10000"/>
                <a:gd name="connsiteY86" fmla="*/ 9980 h 10000"/>
                <a:gd name="connsiteX87" fmla="*/ 4070 w 10000"/>
                <a:gd name="connsiteY87" fmla="*/ 9961 h 10000"/>
                <a:gd name="connsiteX88" fmla="*/ 3857 w 10000"/>
                <a:gd name="connsiteY88" fmla="*/ 9314 h 10000"/>
                <a:gd name="connsiteX89" fmla="*/ 3624 w 10000"/>
                <a:gd name="connsiteY89" fmla="*/ 9235 h 10000"/>
                <a:gd name="connsiteX90" fmla="*/ 3508 w 10000"/>
                <a:gd name="connsiteY90" fmla="*/ 9216 h 10000"/>
                <a:gd name="connsiteX91" fmla="*/ 3411 w 10000"/>
                <a:gd name="connsiteY91" fmla="*/ 9157 h 10000"/>
                <a:gd name="connsiteX92" fmla="*/ 2868 w 10000"/>
                <a:gd name="connsiteY92" fmla="*/ 9569 h 10000"/>
                <a:gd name="connsiteX93" fmla="*/ 2733 w 10000"/>
                <a:gd name="connsiteY93" fmla="*/ 9510 h 10000"/>
                <a:gd name="connsiteX94" fmla="*/ 2578 w 10000"/>
                <a:gd name="connsiteY94" fmla="*/ 9412 h 10000"/>
                <a:gd name="connsiteX95" fmla="*/ 2597 w 10000"/>
                <a:gd name="connsiteY95" fmla="*/ 8745 h 10000"/>
                <a:gd name="connsiteX96" fmla="*/ 2403 w 10000"/>
                <a:gd name="connsiteY96" fmla="*/ 8608 h 10000"/>
                <a:gd name="connsiteX97" fmla="*/ 2306 w 10000"/>
                <a:gd name="connsiteY97" fmla="*/ 8529 h 10000"/>
                <a:gd name="connsiteX98" fmla="*/ 2209 w 10000"/>
                <a:gd name="connsiteY98" fmla="*/ 8471 h 10000"/>
                <a:gd name="connsiteX99" fmla="*/ 1570 w 10000"/>
                <a:gd name="connsiteY99" fmla="*/ 8686 h 10000"/>
                <a:gd name="connsiteX100" fmla="*/ 1453 w 10000"/>
                <a:gd name="connsiteY100" fmla="*/ 8569 h 10000"/>
                <a:gd name="connsiteX101" fmla="*/ 1337 w 10000"/>
                <a:gd name="connsiteY101" fmla="*/ 8451 h 10000"/>
                <a:gd name="connsiteX102" fmla="*/ 1550 w 10000"/>
                <a:gd name="connsiteY102" fmla="*/ 7804 h 10000"/>
                <a:gd name="connsiteX103" fmla="*/ 1415 w 10000"/>
                <a:gd name="connsiteY103" fmla="*/ 7627 h 10000"/>
                <a:gd name="connsiteX104" fmla="*/ 1279 w 10000"/>
                <a:gd name="connsiteY104" fmla="*/ 7412 h 10000"/>
                <a:gd name="connsiteX105" fmla="*/ 601 w 10000"/>
                <a:gd name="connsiteY105" fmla="*/ 7431 h 10000"/>
                <a:gd name="connsiteX106" fmla="*/ 523 w 10000"/>
                <a:gd name="connsiteY106" fmla="*/ 7294 h 10000"/>
                <a:gd name="connsiteX107" fmla="*/ 446 w 10000"/>
                <a:gd name="connsiteY107" fmla="*/ 7157 h 10000"/>
                <a:gd name="connsiteX108" fmla="*/ 853 w 10000"/>
                <a:gd name="connsiteY108" fmla="*/ 6608 h 10000"/>
                <a:gd name="connsiteX109" fmla="*/ 775 w 10000"/>
                <a:gd name="connsiteY109" fmla="*/ 6392 h 10000"/>
                <a:gd name="connsiteX110" fmla="*/ 756 w 10000"/>
                <a:gd name="connsiteY110" fmla="*/ 6275 h 10000"/>
                <a:gd name="connsiteX111" fmla="*/ 717 w 10000"/>
                <a:gd name="connsiteY111" fmla="*/ 6157 h 10000"/>
                <a:gd name="connsiteX112" fmla="*/ 58 w 10000"/>
                <a:gd name="connsiteY112" fmla="*/ 5941 h 10000"/>
                <a:gd name="connsiteX113" fmla="*/ 0 w 10000"/>
                <a:gd name="connsiteY113" fmla="*/ 5627 h 10000"/>
                <a:gd name="connsiteX114" fmla="*/ 581 w 10000"/>
                <a:gd name="connsiteY114" fmla="*/ 5235 h 10000"/>
                <a:gd name="connsiteX115" fmla="*/ 562 w 10000"/>
                <a:gd name="connsiteY115" fmla="*/ 5000 h 10000"/>
                <a:gd name="connsiteX116" fmla="*/ 581 w 10000"/>
                <a:gd name="connsiteY116" fmla="*/ 4765 h 10000"/>
                <a:gd name="connsiteX117" fmla="*/ 0 w 10000"/>
                <a:gd name="connsiteY117" fmla="*/ 4392 h 10000"/>
                <a:gd name="connsiteX118" fmla="*/ 19 w 10000"/>
                <a:gd name="connsiteY118" fmla="*/ 4216 h 10000"/>
                <a:gd name="connsiteX119" fmla="*/ 58 w 10000"/>
                <a:gd name="connsiteY119" fmla="*/ 4059 h 10000"/>
                <a:gd name="connsiteX120" fmla="*/ 717 w 10000"/>
                <a:gd name="connsiteY120" fmla="*/ 3863 h 10000"/>
                <a:gd name="connsiteX121" fmla="*/ 775 w 10000"/>
                <a:gd name="connsiteY121" fmla="*/ 3627 h 10000"/>
                <a:gd name="connsiteX122" fmla="*/ 814 w 10000"/>
                <a:gd name="connsiteY122" fmla="*/ 3510 h 10000"/>
                <a:gd name="connsiteX123" fmla="*/ 853 w 10000"/>
                <a:gd name="connsiteY123" fmla="*/ 3392 h 10000"/>
                <a:gd name="connsiteX124" fmla="*/ 446 w 10000"/>
                <a:gd name="connsiteY124" fmla="*/ 2863 h 10000"/>
                <a:gd name="connsiteX125" fmla="*/ 523 w 10000"/>
                <a:gd name="connsiteY125" fmla="*/ 2706 h 10000"/>
                <a:gd name="connsiteX126" fmla="*/ 601 w 10000"/>
                <a:gd name="connsiteY126" fmla="*/ 2588 h 10000"/>
                <a:gd name="connsiteX127" fmla="*/ 1279 w 10000"/>
                <a:gd name="connsiteY127" fmla="*/ 2588 h 10000"/>
                <a:gd name="connsiteX128" fmla="*/ 2019 w 10000"/>
                <a:gd name="connsiteY128" fmla="*/ 3003 h 10000"/>
                <a:gd name="connsiteX0" fmla="*/ 1415 w 10000"/>
                <a:gd name="connsiteY0" fmla="*/ 2392 h 10000"/>
                <a:gd name="connsiteX1" fmla="*/ 1473 w 10000"/>
                <a:gd name="connsiteY1" fmla="*/ 2294 h 10000"/>
                <a:gd name="connsiteX2" fmla="*/ 1550 w 10000"/>
                <a:gd name="connsiteY2" fmla="*/ 2216 h 10000"/>
                <a:gd name="connsiteX3" fmla="*/ 1337 w 10000"/>
                <a:gd name="connsiteY3" fmla="*/ 1569 h 10000"/>
                <a:gd name="connsiteX4" fmla="*/ 1453 w 10000"/>
                <a:gd name="connsiteY4" fmla="*/ 1451 h 10000"/>
                <a:gd name="connsiteX5" fmla="*/ 1570 w 10000"/>
                <a:gd name="connsiteY5" fmla="*/ 1333 h 10000"/>
                <a:gd name="connsiteX6" fmla="*/ 2209 w 10000"/>
                <a:gd name="connsiteY6" fmla="*/ 1549 h 10000"/>
                <a:gd name="connsiteX7" fmla="*/ 2403 w 10000"/>
                <a:gd name="connsiteY7" fmla="*/ 1412 h 10000"/>
                <a:gd name="connsiteX8" fmla="*/ 2597 w 10000"/>
                <a:gd name="connsiteY8" fmla="*/ 1275 h 10000"/>
                <a:gd name="connsiteX9" fmla="*/ 2578 w 10000"/>
                <a:gd name="connsiteY9" fmla="*/ 588 h 10000"/>
                <a:gd name="connsiteX10" fmla="*/ 2733 w 10000"/>
                <a:gd name="connsiteY10" fmla="*/ 510 h 10000"/>
                <a:gd name="connsiteX11" fmla="*/ 2868 w 10000"/>
                <a:gd name="connsiteY11" fmla="*/ 451 h 10000"/>
                <a:gd name="connsiteX12" fmla="*/ 3411 w 10000"/>
                <a:gd name="connsiteY12" fmla="*/ 843 h 10000"/>
                <a:gd name="connsiteX13" fmla="*/ 3624 w 10000"/>
                <a:gd name="connsiteY13" fmla="*/ 765 h 10000"/>
                <a:gd name="connsiteX14" fmla="*/ 3740 w 10000"/>
                <a:gd name="connsiteY14" fmla="*/ 725 h 10000"/>
                <a:gd name="connsiteX15" fmla="*/ 3857 w 10000"/>
                <a:gd name="connsiteY15" fmla="*/ 706 h 10000"/>
                <a:gd name="connsiteX16" fmla="*/ 4070 w 10000"/>
                <a:gd name="connsiteY16" fmla="*/ 59 h 10000"/>
                <a:gd name="connsiteX17" fmla="*/ 4380 w 10000"/>
                <a:gd name="connsiteY17" fmla="*/ 0 h 10000"/>
                <a:gd name="connsiteX18" fmla="*/ 4767 w 10000"/>
                <a:gd name="connsiteY18" fmla="*/ 569 h 10000"/>
                <a:gd name="connsiteX19" fmla="*/ 5019 w 10000"/>
                <a:gd name="connsiteY19" fmla="*/ 549 h 10000"/>
                <a:gd name="connsiteX20" fmla="*/ 5252 w 10000"/>
                <a:gd name="connsiteY20" fmla="*/ 569 h 10000"/>
                <a:gd name="connsiteX21" fmla="*/ 5640 w 10000"/>
                <a:gd name="connsiteY21" fmla="*/ 0 h 10000"/>
                <a:gd name="connsiteX22" fmla="*/ 5795 w 10000"/>
                <a:gd name="connsiteY22" fmla="*/ 20 h 10000"/>
                <a:gd name="connsiteX23" fmla="*/ 5950 w 10000"/>
                <a:gd name="connsiteY23" fmla="*/ 59 h 10000"/>
                <a:gd name="connsiteX24" fmla="*/ 6163 w 10000"/>
                <a:gd name="connsiteY24" fmla="*/ 706 h 10000"/>
                <a:gd name="connsiteX25" fmla="*/ 6395 w 10000"/>
                <a:gd name="connsiteY25" fmla="*/ 765 h 10000"/>
                <a:gd name="connsiteX26" fmla="*/ 6492 w 10000"/>
                <a:gd name="connsiteY26" fmla="*/ 804 h 10000"/>
                <a:gd name="connsiteX27" fmla="*/ 6609 w 10000"/>
                <a:gd name="connsiteY27" fmla="*/ 843 h 10000"/>
                <a:gd name="connsiteX28" fmla="*/ 7151 w 10000"/>
                <a:gd name="connsiteY28" fmla="*/ 451 h 10000"/>
                <a:gd name="connsiteX29" fmla="*/ 7287 w 10000"/>
                <a:gd name="connsiteY29" fmla="*/ 510 h 10000"/>
                <a:gd name="connsiteX30" fmla="*/ 7442 w 10000"/>
                <a:gd name="connsiteY30" fmla="*/ 588 h 10000"/>
                <a:gd name="connsiteX31" fmla="*/ 7442 w 10000"/>
                <a:gd name="connsiteY31" fmla="*/ 1275 h 10000"/>
                <a:gd name="connsiteX32" fmla="*/ 7616 w 10000"/>
                <a:gd name="connsiteY32" fmla="*/ 1412 h 10000"/>
                <a:gd name="connsiteX33" fmla="*/ 7713 w 10000"/>
                <a:gd name="connsiteY33" fmla="*/ 1471 h 10000"/>
                <a:gd name="connsiteX34" fmla="*/ 7810 w 10000"/>
                <a:gd name="connsiteY34" fmla="*/ 1549 h 10000"/>
                <a:gd name="connsiteX35" fmla="*/ 8450 w 10000"/>
                <a:gd name="connsiteY35" fmla="*/ 1333 h 10000"/>
                <a:gd name="connsiteX36" fmla="*/ 8566 w 10000"/>
                <a:gd name="connsiteY36" fmla="*/ 1451 h 10000"/>
                <a:gd name="connsiteX37" fmla="*/ 8682 w 10000"/>
                <a:gd name="connsiteY37" fmla="*/ 1569 h 10000"/>
                <a:gd name="connsiteX38" fmla="*/ 8469 w 10000"/>
                <a:gd name="connsiteY38" fmla="*/ 2216 h 10000"/>
                <a:gd name="connsiteX39" fmla="*/ 8605 w 10000"/>
                <a:gd name="connsiteY39" fmla="*/ 2392 h 10000"/>
                <a:gd name="connsiteX40" fmla="*/ 8740 w 10000"/>
                <a:gd name="connsiteY40" fmla="*/ 2588 h 10000"/>
                <a:gd name="connsiteX41" fmla="*/ 9419 w 10000"/>
                <a:gd name="connsiteY41" fmla="*/ 2588 h 10000"/>
                <a:gd name="connsiteX42" fmla="*/ 9496 w 10000"/>
                <a:gd name="connsiteY42" fmla="*/ 2706 h 10000"/>
                <a:gd name="connsiteX43" fmla="*/ 9574 w 10000"/>
                <a:gd name="connsiteY43" fmla="*/ 2863 h 10000"/>
                <a:gd name="connsiteX44" fmla="*/ 9167 w 10000"/>
                <a:gd name="connsiteY44" fmla="*/ 3392 h 10000"/>
                <a:gd name="connsiteX45" fmla="*/ 9244 w 10000"/>
                <a:gd name="connsiteY45" fmla="*/ 3627 h 10000"/>
                <a:gd name="connsiteX46" fmla="*/ 9283 w 10000"/>
                <a:gd name="connsiteY46" fmla="*/ 3745 h 10000"/>
                <a:gd name="connsiteX47" fmla="*/ 9302 w 10000"/>
                <a:gd name="connsiteY47" fmla="*/ 3863 h 10000"/>
                <a:gd name="connsiteX48" fmla="*/ 9961 w 10000"/>
                <a:gd name="connsiteY48" fmla="*/ 4059 h 10000"/>
                <a:gd name="connsiteX49" fmla="*/ 10000 w 10000"/>
                <a:gd name="connsiteY49" fmla="*/ 4392 h 10000"/>
                <a:gd name="connsiteX50" fmla="*/ 9438 w 10000"/>
                <a:gd name="connsiteY50" fmla="*/ 4765 h 10000"/>
                <a:gd name="connsiteX51" fmla="*/ 9457 w 10000"/>
                <a:gd name="connsiteY51" fmla="*/ 5000 h 10000"/>
                <a:gd name="connsiteX52" fmla="*/ 9438 w 10000"/>
                <a:gd name="connsiteY52" fmla="*/ 5235 h 10000"/>
                <a:gd name="connsiteX53" fmla="*/ 10000 w 10000"/>
                <a:gd name="connsiteY53" fmla="*/ 5627 h 10000"/>
                <a:gd name="connsiteX54" fmla="*/ 9981 w 10000"/>
                <a:gd name="connsiteY54" fmla="*/ 5784 h 10000"/>
                <a:gd name="connsiteX55" fmla="*/ 9961 w 10000"/>
                <a:gd name="connsiteY55" fmla="*/ 5941 h 10000"/>
                <a:gd name="connsiteX56" fmla="*/ 9302 w 10000"/>
                <a:gd name="connsiteY56" fmla="*/ 6157 h 10000"/>
                <a:gd name="connsiteX57" fmla="*/ 9244 w 10000"/>
                <a:gd name="connsiteY57" fmla="*/ 6392 h 10000"/>
                <a:gd name="connsiteX58" fmla="*/ 9205 w 10000"/>
                <a:gd name="connsiteY58" fmla="*/ 6490 h 10000"/>
                <a:gd name="connsiteX59" fmla="*/ 9167 w 10000"/>
                <a:gd name="connsiteY59" fmla="*/ 6608 h 10000"/>
                <a:gd name="connsiteX60" fmla="*/ 9574 w 10000"/>
                <a:gd name="connsiteY60" fmla="*/ 7157 h 10000"/>
                <a:gd name="connsiteX61" fmla="*/ 9496 w 10000"/>
                <a:gd name="connsiteY61" fmla="*/ 7294 h 10000"/>
                <a:gd name="connsiteX62" fmla="*/ 9419 w 10000"/>
                <a:gd name="connsiteY62" fmla="*/ 7431 h 10000"/>
                <a:gd name="connsiteX63" fmla="*/ 8740 w 10000"/>
                <a:gd name="connsiteY63" fmla="*/ 7412 h 10000"/>
                <a:gd name="connsiteX64" fmla="*/ 8605 w 10000"/>
                <a:gd name="connsiteY64" fmla="*/ 7627 h 10000"/>
                <a:gd name="connsiteX65" fmla="*/ 8547 w 10000"/>
                <a:gd name="connsiteY65" fmla="*/ 7706 h 10000"/>
                <a:gd name="connsiteX66" fmla="*/ 8469 w 10000"/>
                <a:gd name="connsiteY66" fmla="*/ 7804 h 10000"/>
                <a:gd name="connsiteX67" fmla="*/ 8682 w 10000"/>
                <a:gd name="connsiteY67" fmla="*/ 8451 h 10000"/>
                <a:gd name="connsiteX68" fmla="*/ 8566 w 10000"/>
                <a:gd name="connsiteY68" fmla="*/ 8569 h 10000"/>
                <a:gd name="connsiteX69" fmla="*/ 8450 w 10000"/>
                <a:gd name="connsiteY69" fmla="*/ 8686 h 10000"/>
                <a:gd name="connsiteX70" fmla="*/ 7810 w 10000"/>
                <a:gd name="connsiteY70" fmla="*/ 8471 h 10000"/>
                <a:gd name="connsiteX71" fmla="*/ 7616 w 10000"/>
                <a:gd name="connsiteY71" fmla="*/ 8608 h 10000"/>
                <a:gd name="connsiteX72" fmla="*/ 7442 w 10000"/>
                <a:gd name="connsiteY72" fmla="*/ 8745 h 10000"/>
                <a:gd name="connsiteX73" fmla="*/ 7442 w 10000"/>
                <a:gd name="connsiteY73" fmla="*/ 9412 h 10000"/>
                <a:gd name="connsiteX74" fmla="*/ 7287 w 10000"/>
                <a:gd name="connsiteY74" fmla="*/ 9510 h 10000"/>
                <a:gd name="connsiteX75" fmla="*/ 7151 w 10000"/>
                <a:gd name="connsiteY75" fmla="*/ 9569 h 10000"/>
                <a:gd name="connsiteX76" fmla="*/ 6609 w 10000"/>
                <a:gd name="connsiteY76" fmla="*/ 9157 h 10000"/>
                <a:gd name="connsiteX77" fmla="*/ 6395 w 10000"/>
                <a:gd name="connsiteY77" fmla="*/ 9235 h 10000"/>
                <a:gd name="connsiteX78" fmla="*/ 6279 w 10000"/>
                <a:gd name="connsiteY78" fmla="*/ 9275 h 10000"/>
                <a:gd name="connsiteX79" fmla="*/ 6163 w 10000"/>
                <a:gd name="connsiteY79" fmla="*/ 9314 h 10000"/>
                <a:gd name="connsiteX80" fmla="*/ 5950 w 10000"/>
                <a:gd name="connsiteY80" fmla="*/ 9961 h 10000"/>
                <a:gd name="connsiteX81" fmla="*/ 5640 w 10000"/>
                <a:gd name="connsiteY81" fmla="*/ 10000 h 10000"/>
                <a:gd name="connsiteX82" fmla="*/ 5252 w 10000"/>
                <a:gd name="connsiteY82" fmla="*/ 9451 h 10000"/>
                <a:gd name="connsiteX83" fmla="*/ 5019 w 10000"/>
                <a:gd name="connsiteY83" fmla="*/ 9451 h 10000"/>
                <a:gd name="connsiteX84" fmla="*/ 4767 w 10000"/>
                <a:gd name="connsiteY84" fmla="*/ 9451 h 10000"/>
                <a:gd name="connsiteX85" fmla="*/ 4380 w 10000"/>
                <a:gd name="connsiteY85" fmla="*/ 10000 h 10000"/>
                <a:gd name="connsiteX86" fmla="*/ 4225 w 10000"/>
                <a:gd name="connsiteY86" fmla="*/ 9980 h 10000"/>
                <a:gd name="connsiteX87" fmla="*/ 4070 w 10000"/>
                <a:gd name="connsiteY87" fmla="*/ 9961 h 10000"/>
                <a:gd name="connsiteX88" fmla="*/ 3857 w 10000"/>
                <a:gd name="connsiteY88" fmla="*/ 9314 h 10000"/>
                <a:gd name="connsiteX89" fmla="*/ 3624 w 10000"/>
                <a:gd name="connsiteY89" fmla="*/ 9235 h 10000"/>
                <a:gd name="connsiteX90" fmla="*/ 3508 w 10000"/>
                <a:gd name="connsiteY90" fmla="*/ 9216 h 10000"/>
                <a:gd name="connsiteX91" fmla="*/ 3411 w 10000"/>
                <a:gd name="connsiteY91" fmla="*/ 9157 h 10000"/>
                <a:gd name="connsiteX92" fmla="*/ 2868 w 10000"/>
                <a:gd name="connsiteY92" fmla="*/ 9569 h 10000"/>
                <a:gd name="connsiteX93" fmla="*/ 2733 w 10000"/>
                <a:gd name="connsiteY93" fmla="*/ 9510 h 10000"/>
                <a:gd name="connsiteX94" fmla="*/ 2578 w 10000"/>
                <a:gd name="connsiteY94" fmla="*/ 9412 h 10000"/>
                <a:gd name="connsiteX95" fmla="*/ 2597 w 10000"/>
                <a:gd name="connsiteY95" fmla="*/ 8745 h 10000"/>
                <a:gd name="connsiteX96" fmla="*/ 2403 w 10000"/>
                <a:gd name="connsiteY96" fmla="*/ 8608 h 10000"/>
                <a:gd name="connsiteX97" fmla="*/ 2306 w 10000"/>
                <a:gd name="connsiteY97" fmla="*/ 8529 h 10000"/>
                <a:gd name="connsiteX98" fmla="*/ 2209 w 10000"/>
                <a:gd name="connsiteY98" fmla="*/ 8471 h 10000"/>
                <a:gd name="connsiteX99" fmla="*/ 1570 w 10000"/>
                <a:gd name="connsiteY99" fmla="*/ 8686 h 10000"/>
                <a:gd name="connsiteX100" fmla="*/ 1453 w 10000"/>
                <a:gd name="connsiteY100" fmla="*/ 8569 h 10000"/>
                <a:gd name="connsiteX101" fmla="*/ 1337 w 10000"/>
                <a:gd name="connsiteY101" fmla="*/ 8451 h 10000"/>
                <a:gd name="connsiteX102" fmla="*/ 1550 w 10000"/>
                <a:gd name="connsiteY102" fmla="*/ 7804 h 10000"/>
                <a:gd name="connsiteX103" fmla="*/ 1415 w 10000"/>
                <a:gd name="connsiteY103" fmla="*/ 7627 h 10000"/>
                <a:gd name="connsiteX104" fmla="*/ 1279 w 10000"/>
                <a:gd name="connsiteY104" fmla="*/ 7412 h 10000"/>
                <a:gd name="connsiteX105" fmla="*/ 601 w 10000"/>
                <a:gd name="connsiteY105" fmla="*/ 7431 h 10000"/>
                <a:gd name="connsiteX106" fmla="*/ 523 w 10000"/>
                <a:gd name="connsiteY106" fmla="*/ 7294 h 10000"/>
                <a:gd name="connsiteX107" fmla="*/ 446 w 10000"/>
                <a:gd name="connsiteY107" fmla="*/ 7157 h 10000"/>
                <a:gd name="connsiteX108" fmla="*/ 853 w 10000"/>
                <a:gd name="connsiteY108" fmla="*/ 6608 h 10000"/>
                <a:gd name="connsiteX109" fmla="*/ 775 w 10000"/>
                <a:gd name="connsiteY109" fmla="*/ 6392 h 10000"/>
                <a:gd name="connsiteX110" fmla="*/ 756 w 10000"/>
                <a:gd name="connsiteY110" fmla="*/ 6275 h 10000"/>
                <a:gd name="connsiteX111" fmla="*/ 717 w 10000"/>
                <a:gd name="connsiteY111" fmla="*/ 6157 h 10000"/>
                <a:gd name="connsiteX112" fmla="*/ 58 w 10000"/>
                <a:gd name="connsiteY112" fmla="*/ 5941 h 10000"/>
                <a:gd name="connsiteX113" fmla="*/ 0 w 10000"/>
                <a:gd name="connsiteY113" fmla="*/ 5627 h 10000"/>
                <a:gd name="connsiteX114" fmla="*/ 581 w 10000"/>
                <a:gd name="connsiteY114" fmla="*/ 5235 h 10000"/>
                <a:gd name="connsiteX115" fmla="*/ 562 w 10000"/>
                <a:gd name="connsiteY115" fmla="*/ 5000 h 10000"/>
                <a:gd name="connsiteX116" fmla="*/ 581 w 10000"/>
                <a:gd name="connsiteY116" fmla="*/ 4765 h 10000"/>
                <a:gd name="connsiteX117" fmla="*/ 0 w 10000"/>
                <a:gd name="connsiteY117" fmla="*/ 4392 h 10000"/>
                <a:gd name="connsiteX118" fmla="*/ 19 w 10000"/>
                <a:gd name="connsiteY118" fmla="*/ 4216 h 10000"/>
                <a:gd name="connsiteX119" fmla="*/ 58 w 10000"/>
                <a:gd name="connsiteY119" fmla="*/ 4059 h 10000"/>
                <a:gd name="connsiteX120" fmla="*/ 717 w 10000"/>
                <a:gd name="connsiteY120" fmla="*/ 3863 h 10000"/>
                <a:gd name="connsiteX121" fmla="*/ 775 w 10000"/>
                <a:gd name="connsiteY121" fmla="*/ 3627 h 10000"/>
                <a:gd name="connsiteX122" fmla="*/ 814 w 10000"/>
                <a:gd name="connsiteY122" fmla="*/ 3510 h 10000"/>
                <a:gd name="connsiteX123" fmla="*/ 853 w 10000"/>
                <a:gd name="connsiteY123" fmla="*/ 3392 h 10000"/>
                <a:gd name="connsiteX124" fmla="*/ 446 w 10000"/>
                <a:gd name="connsiteY124" fmla="*/ 2863 h 10000"/>
                <a:gd name="connsiteX125" fmla="*/ 523 w 10000"/>
                <a:gd name="connsiteY125" fmla="*/ 2706 h 10000"/>
                <a:gd name="connsiteX126" fmla="*/ 601 w 10000"/>
                <a:gd name="connsiteY126" fmla="*/ 2588 h 10000"/>
                <a:gd name="connsiteX127" fmla="*/ 1279 w 10000"/>
                <a:gd name="connsiteY127" fmla="*/ 2588 h 10000"/>
                <a:gd name="connsiteX0" fmla="*/ 1415 w 10000"/>
                <a:gd name="connsiteY0" fmla="*/ 2392 h 10000"/>
                <a:gd name="connsiteX1" fmla="*/ 1473 w 10000"/>
                <a:gd name="connsiteY1" fmla="*/ 2294 h 10000"/>
                <a:gd name="connsiteX2" fmla="*/ 1337 w 10000"/>
                <a:gd name="connsiteY2" fmla="*/ 1569 h 10000"/>
                <a:gd name="connsiteX3" fmla="*/ 1453 w 10000"/>
                <a:gd name="connsiteY3" fmla="*/ 1451 h 10000"/>
                <a:gd name="connsiteX4" fmla="*/ 1570 w 10000"/>
                <a:gd name="connsiteY4" fmla="*/ 1333 h 10000"/>
                <a:gd name="connsiteX5" fmla="*/ 2209 w 10000"/>
                <a:gd name="connsiteY5" fmla="*/ 1549 h 10000"/>
                <a:gd name="connsiteX6" fmla="*/ 2403 w 10000"/>
                <a:gd name="connsiteY6" fmla="*/ 1412 h 10000"/>
                <a:gd name="connsiteX7" fmla="*/ 2597 w 10000"/>
                <a:gd name="connsiteY7" fmla="*/ 1275 h 10000"/>
                <a:gd name="connsiteX8" fmla="*/ 2578 w 10000"/>
                <a:gd name="connsiteY8" fmla="*/ 588 h 10000"/>
                <a:gd name="connsiteX9" fmla="*/ 2733 w 10000"/>
                <a:gd name="connsiteY9" fmla="*/ 510 h 10000"/>
                <a:gd name="connsiteX10" fmla="*/ 2868 w 10000"/>
                <a:gd name="connsiteY10" fmla="*/ 451 h 10000"/>
                <a:gd name="connsiteX11" fmla="*/ 3411 w 10000"/>
                <a:gd name="connsiteY11" fmla="*/ 843 h 10000"/>
                <a:gd name="connsiteX12" fmla="*/ 3624 w 10000"/>
                <a:gd name="connsiteY12" fmla="*/ 765 h 10000"/>
                <a:gd name="connsiteX13" fmla="*/ 3740 w 10000"/>
                <a:gd name="connsiteY13" fmla="*/ 725 h 10000"/>
                <a:gd name="connsiteX14" fmla="*/ 3857 w 10000"/>
                <a:gd name="connsiteY14" fmla="*/ 706 h 10000"/>
                <a:gd name="connsiteX15" fmla="*/ 4070 w 10000"/>
                <a:gd name="connsiteY15" fmla="*/ 59 h 10000"/>
                <a:gd name="connsiteX16" fmla="*/ 4380 w 10000"/>
                <a:gd name="connsiteY16" fmla="*/ 0 h 10000"/>
                <a:gd name="connsiteX17" fmla="*/ 4767 w 10000"/>
                <a:gd name="connsiteY17" fmla="*/ 569 h 10000"/>
                <a:gd name="connsiteX18" fmla="*/ 5019 w 10000"/>
                <a:gd name="connsiteY18" fmla="*/ 549 h 10000"/>
                <a:gd name="connsiteX19" fmla="*/ 5252 w 10000"/>
                <a:gd name="connsiteY19" fmla="*/ 569 h 10000"/>
                <a:gd name="connsiteX20" fmla="*/ 5640 w 10000"/>
                <a:gd name="connsiteY20" fmla="*/ 0 h 10000"/>
                <a:gd name="connsiteX21" fmla="*/ 5795 w 10000"/>
                <a:gd name="connsiteY21" fmla="*/ 20 h 10000"/>
                <a:gd name="connsiteX22" fmla="*/ 5950 w 10000"/>
                <a:gd name="connsiteY22" fmla="*/ 59 h 10000"/>
                <a:gd name="connsiteX23" fmla="*/ 6163 w 10000"/>
                <a:gd name="connsiteY23" fmla="*/ 706 h 10000"/>
                <a:gd name="connsiteX24" fmla="*/ 6395 w 10000"/>
                <a:gd name="connsiteY24" fmla="*/ 765 h 10000"/>
                <a:gd name="connsiteX25" fmla="*/ 6492 w 10000"/>
                <a:gd name="connsiteY25" fmla="*/ 804 h 10000"/>
                <a:gd name="connsiteX26" fmla="*/ 6609 w 10000"/>
                <a:gd name="connsiteY26" fmla="*/ 843 h 10000"/>
                <a:gd name="connsiteX27" fmla="*/ 7151 w 10000"/>
                <a:gd name="connsiteY27" fmla="*/ 451 h 10000"/>
                <a:gd name="connsiteX28" fmla="*/ 7287 w 10000"/>
                <a:gd name="connsiteY28" fmla="*/ 510 h 10000"/>
                <a:gd name="connsiteX29" fmla="*/ 7442 w 10000"/>
                <a:gd name="connsiteY29" fmla="*/ 588 h 10000"/>
                <a:gd name="connsiteX30" fmla="*/ 7442 w 10000"/>
                <a:gd name="connsiteY30" fmla="*/ 1275 h 10000"/>
                <a:gd name="connsiteX31" fmla="*/ 7616 w 10000"/>
                <a:gd name="connsiteY31" fmla="*/ 1412 h 10000"/>
                <a:gd name="connsiteX32" fmla="*/ 7713 w 10000"/>
                <a:gd name="connsiteY32" fmla="*/ 1471 h 10000"/>
                <a:gd name="connsiteX33" fmla="*/ 7810 w 10000"/>
                <a:gd name="connsiteY33" fmla="*/ 1549 h 10000"/>
                <a:gd name="connsiteX34" fmla="*/ 8450 w 10000"/>
                <a:gd name="connsiteY34" fmla="*/ 1333 h 10000"/>
                <a:gd name="connsiteX35" fmla="*/ 8566 w 10000"/>
                <a:gd name="connsiteY35" fmla="*/ 1451 h 10000"/>
                <a:gd name="connsiteX36" fmla="*/ 8682 w 10000"/>
                <a:gd name="connsiteY36" fmla="*/ 1569 h 10000"/>
                <a:gd name="connsiteX37" fmla="*/ 8469 w 10000"/>
                <a:gd name="connsiteY37" fmla="*/ 2216 h 10000"/>
                <a:gd name="connsiteX38" fmla="*/ 8605 w 10000"/>
                <a:gd name="connsiteY38" fmla="*/ 2392 h 10000"/>
                <a:gd name="connsiteX39" fmla="*/ 8740 w 10000"/>
                <a:gd name="connsiteY39" fmla="*/ 2588 h 10000"/>
                <a:gd name="connsiteX40" fmla="*/ 9419 w 10000"/>
                <a:gd name="connsiteY40" fmla="*/ 2588 h 10000"/>
                <a:gd name="connsiteX41" fmla="*/ 9496 w 10000"/>
                <a:gd name="connsiteY41" fmla="*/ 2706 h 10000"/>
                <a:gd name="connsiteX42" fmla="*/ 9574 w 10000"/>
                <a:gd name="connsiteY42" fmla="*/ 2863 h 10000"/>
                <a:gd name="connsiteX43" fmla="*/ 9167 w 10000"/>
                <a:gd name="connsiteY43" fmla="*/ 3392 h 10000"/>
                <a:gd name="connsiteX44" fmla="*/ 9244 w 10000"/>
                <a:gd name="connsiteY44" fmla="*/ 3627 h 10000"/>
                <a:gd name="connsiteX45" fmla="*/ 9283 w 10000"/>
                <a:gd name="connsiteY45" fmla="*/ 3745 h 10000"/>
                <a:gd name="connsiteX46" fmla="*/ 9302 w 10000"/>
                <a:gd name="connsiteY46" fmla="*/ 3863 h 10000"/>
                <a:gd name="connsiteX47" fmla="*/ 9961 w 10000"/>
                <a:gd name="connsiteY47" fmla="*/ 4059 h 10000"/>
                <a:gd name="connsiteX48" fmla="*/ 10000 w 10000"/>
                <a:gd name="connsiteY48" fmla="*/ 4392 h 10000"/>
                <a:gd name="connsiteX49" fmla="*/ 9438 w 10000"/>
                <a:gd name="connsiteY49" fmla="*/ 4765 h 10000"/>
                <a:gd name="connsiteX50" fmla="*/ 9457 w 10000"/>
                <a:gd name="connsiteY50" fmla="*/ 5000 h 10000"/>
                <a:gd name="connsiteX51" fmla="*/ 9438 w 10000"/>
                <a:gd name="connsiteY51" fmla="*/ 5235 h 10000"/>
                <a:gd name="connsiteX52" fmla="*/ 10000 w 10000"/>
                <a:gd name="connsiteY52" fmla="*/ 5627 h 10000"/>
                <a:gd name="connsiteX53" fmla="*/ 9981 w 10000"/>
                <a:gd name="connsiteY53" fmla="*/ 5784 h 10000"/>
                <a:gd name="connsiteX54" fmla="*/ 9961 w 10000"/>
                <a:gd name="connsiteY54" fmla="*/ 5941 h 10000"/>
                <a:gd name="connsiteX55" fmla="*/ 9302 w 10000"/>
                <a:gd name="connsiteY55" fmla="*/ 6157 h 10000"/>
                <a:gd name="connsiteX56" fmla="*/ 9244 w 10000"/>
                <a:gd name="connsiteY56" fmla="*/ 6392 h 10000"/>
                <a:gd name="connsiteX57" fmla="*/ 9205 w 10000"/>
                <a:gd name="connsiteY57" fmla="*/ 6490 h 10000"/>
                <a:gd name="connsiteX58" fmla="*/ 9167 w 10000"/>
                <a:gd name="connsiteY58" fmla="*/ 6608 h 10000"/>
                <a:gd name="connsiteX59" fmla="*/ 9574 w 10000"/>
                <a:gd name="connsiteY59" fmla="*/ 7157 h 10000"/>
                <a:gd name="connsiteX60" fmla="*/ 9496 w 10000"/>
                <a:gd name="connsiteY60" fmla="*/ 7294 h 10000"/>
                <a:gd name="connsiteX61" fmla="*/ 9419 w 10000"/>
                <a:gd name="connsiteY61" fmla="*/ 7431 h 10000"/>
                <a:gd name="connsiteX62" fmla="*/ 8740 w 10000"/>
                <a:gd name="connsiteY62" fmla="*/ 7412 h 10000"/>
                <a:gd name="connsiteX63" fmla="*/ 8605 w 10000"/>
                <a:gd name="connsiteY63" fmla="*/ 7627 h 10000"/>
                <a:gd name="connsiteX64" fmla="*/ 8547 w 10000"/>
                <a:gd name="connsiteY64" fmla="*/ 7706 h 10000"/>
                <a:gd name="connsiteX65" fmla="*/ 8469 w 10000"/>
                <a:gd name="connsiteY65" fmla="*/ 7804 h 10000"/>
                <a:gd name="connsiteX66" fmla="*/ 8682 w 10000"/>
                <a:gd name="connsiteY66" fmla="*/ 8451 h 10000"/>
                <a:gd name="connsiteX67" fmla="*/ 8566 w 10000"/>
                <a:gd name="connsiteY67" fmla="*/ 8569 h 10000"/>
                <a:gd name="connsiteX68" fmla="*/ 8450 w 10000"/>
                <a:gd name="connsiteY68" fmla="*/ 8686 h 10000"/>
                <a:gd name="connsiteX69" fmla="*/ 7810 w 10000"/>
                <a:gd name="connsiteY69" fmla="*/ 8471 h 10000"/>
                <a:gd name="connsiteX70" fmla="*/ 7616 w 10000"/>
                <a:gd name="connsiteY70" fmla="*/ 8608 h 10000"/>
                <a:gd name="connsiteX71" fmla="*/ 7442 w 10000"/>
                <a:gd name="connsiteY71" fmla="*/ 8745 h 10000"/>
                <a:gd name="connsiteX72" fmla="*/ 7442 w 10000"/>
                <a:gd name="connsiteY72" fmla="*/ 9412 h 10000"/>
                <a:gd name="connsiteX73" fmla="*/ 7287 w 10000"/>
                <a:gd name="connsiteY73" fmla="*/ 9510 h 10000"/>
                <a:gd name="connsiteX74" fmla="*/ 7151 w 10000"/>
                <a:gd name="connsiteY74" fmla="*/ 9569 h 10000"/>
                <a:gd name="connsiteX75" fmla="*/ 6609 w 10000"/>
                <a:gd name="connsiteY75" fmla="*/ 9157 h 10000"/>
                <a:gd name="connsiteX76" fmla="*/ 6395 w 10000"/>
                <a:gd name="connsiteY76" fmla="*/ 9235 h 10000"/>
                <a:gd name="connsiteX77" fmla="*/ 6279 w 10000"/>
                <a:gd name="connsiteY77" fmla="*/ 9275 h 10000"/>
                <a:gd name="connsiteX78" fmla="*/ 6163 w 10000"/>
                <a:gd name="connsiteY78" fmla="*/ 9314 h 10000"/>
                <a:gd name="connsiteX79" fmla="*/ 5950 w 10000"/>
                <a:gd name="connsiteY79" fmla="*/ 9961 h 10000"/>
                <a:gd name="connsiteX80" fmla="*/ 5640 w 10000"/>
                <a:gd name="connsiteY80" fmla="*/ 10000 h 10000"/>
                <a:gd name="connsiteX81" fmla="*/ 5252 w 10000"/>
                <a:gd name="connsiteY81" fmla="*/ 9451 h 10000"/>
                <a:gd name="connsiteX82" fmla="*/ 5019 w 10000"/>
                <a:gd name="connsiteY82" fmla="*/ 9451 h 10000"/>
                <a:gd name="connsiteX83" fmla="*/ 4767 w 10000"/>
                <a:gd name="connsiteY83" fmla="*/ 9451 h 10000"/>
                <a:gd name="connsiteX84" fmla="*/ 4380 w 10000"/>
                <a:gd name="connsiteY84" fmla="*/ 10000 h 10000"/>
                <a:gd name="connsiteX85" fmla="*/ 4225 w 10000"/>
                <a:gd name="connsiteY85" fmla="*/ 9980 h 10000"/>
                <a:gd name="connsiteX86" fmla="*/ 4070 w 10000"/>
                <a:gd name="connsiteY86" fmla="*/ 9961 h 10000"/>
                <a:gd name="connsiteX87" fmla="*/ 3857 w 10000"/>
                <a:gd name="connsiteY87" fmla="*/ 9314 h 10000"/>
                <a:gd name="connsiteX88" fmla="*/ 3624 w 10000"/>
                <a:gd name="connsiteY88" fmla="*/ 9235 h 10000"/>
                <a:gd name="connsiteX89" fmla="*/ 3508 w 10000"/>
                <a:gd name="connsiteY89" fmla="*/ 9216 h 10000"/>
                <a:gd name="connsiteX90" fmla="*/ 3411 w 10000"/>
                <a:gd name="connsiteY90" fmla="*/ 9157 h 10000"/>
                <a:gd name="connsiteX91" fmla="*/ 2868 w 10000"/>
                <a:gd name="connsiteY91" fmla="*/ 9569 h 10000"/>
                <a:gd name="connsiteX92" fmla="*/ 2733 w 10000"/>
                <a:gd name="connsiteY92" fmla="*/ 9510 h 10000"/>
                <a:gd name="connsiteX93" fmla="*/ 2578 w 10000"/>
                <a:gd name="connsiteY93" fmla="*/ 9412 h 10000"/>
                <a:gd name="connsiteX94" fmla="*/ 2597 w 10000"/>
                <a:gd name="connsiteY94" fmla="*/ 8745 h 10000"/>
                <a:gd name="connsiteX95" fmla="*/ 2403 w 10000"/>
                <a:gd name="connsiteY95" fmla="*/ 8608 h 10000"/>
                <a:gd name="connsiteX96" fmla="*/ 2306 w 10000"/>
                <a:gd name="connsiteY96" fmla="*/ 8529 h 10000"/>
                <a:gd name="connsiteX97" fmla="*/ 2209 w 10000"/>
                <a:gd name="connsiteY97" fmla="*/ 8471 h 10000"/>
                <a:gd name="connsiteX98" fmla="*/ 1570 w 10000"/>
                <a:gd name="connsiteY98" fmla="*/ 8686 h 10000"/>
                <a:gd name="connsiteX99" fmla="*/ 1453 w 10000"/>
                <a:gd name="connsiteY99" fmla="*/ 8569 h 10000"/>
                <a:gd name="connsiteX100" fmla="*/ 1337 w 10000"/>
                <a:gd name="connsiteY100" fmla="*/ 8451 h 10000"/>
                <a:gd name="connsiteX101" fmla="*/ 1550 w 10000"/>
                <a:gd name="connsiteY101" fmla="*/ 7804 h 10000"/>
                <a:gd name="connsiteX102" fmla="*/ 1415 w 10000"/>
                <a:gd name="connsiteY102" fmla="*/ 7627 h 10000"/>
                <a:gd name="connsiteX103" fmla="*/ 1279 w 10000"/>
                <a:gd name="connsiteY103" fmla="*/ 7412 h 10000"/>
                <a:gd name="connsiteX104" fmla="*/ 601 w 10000"/>
                <a:gd name="connsiteY104" fmla="*/ 7431 h 10000"/>
                <a:gd name="connsiteX105" fmla="*/ 523 w 10000"/>
                <a:gd name="connsiteY105" fmla="*/ 7294 h 10000"/>
                <a:gd name="connsiteX106" fmla="*/ 446 w 10000"/>
                <a:gd name="connsiteY106" fmla="*/ 7157 h 10000"/>
                <a:gd name="connsiteX107" fmla="*/ 853 w 10000"/>
                <a:gd name="connsiteY107" fmla="*/ 6608 h 10000"/>
                <a:gd name="connsiteX108" fmla="*/ 775 w 10000"/>
                <a:gd name="connsiteY108" fmla="*/ 6392 h 10000"/>
                <a:gd name="connsiteX109" fmla="*/ 756 w 10000"/>
                <a:gd name="connsiteY109" fmla="*/ 6275 h 10000"/>
                <a:gd name="connsiteX110" fmla="*/ 717 w 10000"/>
                <a:gd name="connsiteY110" fmla="*/ 6157 h 10000"/>
                <a:gd name="connsiteX111" fmla="*/ 58 w 10000"/>
                <a:gd name="connsiteY111" fmla="*/ 5941 h 10000"/>
                <a:gd name="connsiteX112" fmla="*/ 0 w 10000"/>
                <a:gd name="connsiteY112" fmla="*/ 5627 h 10000"/>
                <a:gd name="connsiteX113" fmla="*/ 581 w 10000"/>
                <a:gd name="connsiteY113" fmla="*/ 5235 h 10000"/>
                <a:gd name="connsiteX114" fmla="*/ 562 w 10000"/>
                <a:gd name="connsiteY114" fmla="*/ 5000 h 10000"/>
                <a:gd name="connsiteX115" fmla="*/ 581 w 10000"/>
                <a:gd name="connsiteY115" fmla="*/ 4765 h 10000"/>
                <a:gd name="connsiteX116" fmla="*/ 0 w 10000"/>
                <a:gd name="connsiteY116" fmla="*/ 4392 h 10000"/>
                <a:gd name="connsiteX117" fmla="*/ 19 w 10000"/>
                <a:gd name="connsiteY117" fmla="*/ 4216 h 10000"/>
                <a:gd name="connsiteX118" fmla="*/ 58 w 10000"/>
                <a:gd name="connsiteY118" fmla="*/ 4059 h 10000"/>
                <a:gd name="connsiteX119" fmla="*/ 717 w 10000"/>
                <a:gd name="connsiteY119" fmla="*/ 3863 h 10000"/>
                <a:gd name="connsiteX120" fmla="*/ 775 w 10000"/>
                <a:gd name="connsiteY120" fmla="*/ 3627 h 10000"/>
                <a:gd name="connsiteX121" fmla="*/ 814 w 10000"/>
                <a:gd name="connsiteY121" fmla="*/ 3510 h 10000"/>
                <a:gd name="connsiteX122" fmla="*/ 853 w 10000"/>
                <a:gd name="connsiteY122" fmla="*/ 3392 h 10000"/>
                <a:gd name="connsiteX123" fmla="*/ 446 w 10000"/>
                <a:gd name="connsiteY123" fmla="*/ 2863 h 10000"/>
                <a:gd name="connsiteX124" fmla="*/ 523 w 10000"/>
                <a:gd name="connsiteY124" fmla="*/ 2706 h 10000"/>
                <a:gd name="connsiteX125" fmla="*/ 601 w 10000"/>
                <a:gd name="connsiteY125" fmla="*/ 2588 h 10000"/>
                <a:gd name="connsiteX126" fmla="*/ 1279 w 10000"/>
                <a:gd name="connsiteY126" fmla="*/ 2588 h 10000"/>
                <a:gd name="connsiteX0" fmla="*/ 1415 w 10000"/>
                <a:gd name="connsiteY0" fmla="*/ 2392 h 10000"/>
                <a:gd name="connsiteX1" fmla="*/ 1337 w 10000"/>
                <a:gd name="connsiteY1" fmla="*/ 1569 h 10000"/>
                <a:gd name="connsiteX2" fmla="*/ 1453 w 10000"/>
                <a:gd name="connsiteY2" fmla="*/ 1451 h 10000"/>
                <a:gd name="connsiteX3" fmla="*/ 1570 w 10000"/>
                <a:gd name="connsiteY3" fmla="*/ 1333 h 10000"/>
                <a:gd name="connsiteX4" fmla="*/ 2209 w 10000"/>
                <a:gd name="connsiteY4" fmla="*/ 1549 h 10000"/>
                <a:gd name="connsiteX5" fmla="*/ 2403 w 10000"/>
                <a:gd name="connsiteY5" fmla="*/ 1412 h 10000"/>
                <a:gd name="connsiteX6" fmla="*/ 2597 w 10000"/>
                <a:gd name="connsiteY6" fmla="*/ 1275 h 10000"/>
                <a:gd name="connsiteX7" fmla="*/ 2578 w 10000"/>
                <a:gd name="connsiteY7" fmla="*/ 588 h 10000"/>
                <a:gd name="connsiteX8" fmla="*/ 2733 w 10000"/>
                <a:gd name="connsiteY8" fmla="*/ 510 h 10000"/>
                <a:gd name="connsiteX9" fmla="*/ 2868 w 10000"/>
                <a:gd name="connsiteY9" fmla="*/ 451 h 10000"/>
                <a:gd name="connsiteX10" fmla="*/ 3411 w 10000"/>
                <a:gd name="connsiteY10" fmla="*/ 843 h 10000"/>
                <a:gd name="connsiteX11" fmla="*/ 3624 w 10000"/>
                <a:gd name="connsiteY11" fmla="*/ 765 h 10000"/>
                <a:gd name="connsiteX12" fmla="*/ 3740 w 10000"/>
                <a:gd name="connsiteY12" fmla="*/ 725 h 10000"/>
                <a:gd name="connsiteX13" fmla="*/ 3857 w 10000"/>
                <a:gd name="connsiteY13" fmla="*/ 706 h 10000"/>
                <a:gd name="connsiteX14" fmla="*/ 4070 w 10000"/>
                <a:gd name="connsiteY14" fmla="*/ 59 h 10000"/>
                <a:gd name="connsiteX15" fmla="*/ 4380 w 10000"/>
                <a:gd name="connsiteY15" fmla="*/ 0 h 10000"/>
                <a:gd name="connsiteX16" fmla="*/ 4767 w 10000"/>
                <a:gd name="connsiteY16" fmla="*/ 569 h 10000"/>
                <a:gd name="connsiteX17" fmla="*/ 5019 w 10000"/>
                <a:gd name="connsiteY17" fmla="*/ 549 h 10000"/>
                <a:gd name="connsiteX18" fmla="*/ 5252 w 10000"/>
                <a:gd name="connsiteY18" fmla="*/ 569 h 10000"/>
                <a:gd name="connsiteX19" fmla="*/ 5640 w 10000"/>
                <a:gd name="connsiteY19" fmla="*/ 0 h 10000"/>
                <a:gd name="connsiteX20" fmla="*/ 5795 w 10000"/>
                <a:gd name="connsiteY20" fmla="*/ 20 h 10000"/>
                <a:gd name="connsiteX21" fmla="*/ 5950 w 10000"/>
                <a:gd name="connsiteY21" fmla="*/ 59 h 10000"/>
                <a:gd name="connsiteX22" fmla="*/ 6163 w 10000"/>
                <a:gd name="connsiteY22" fmla="*/ 706 h 10000"/>
                <a:gd name="connsiteX23" fmla="*/ 6395 w 10000"/>
                <a:gd name="connsiteY23" fmla="*/ 765 h 10000"/>
                <a:gd name="connsiteX24" fmla="*/ 6492 w 10000"/>
                <a:gd name="connsiteY24" fmla="*/ 804 h 10000"/>
                <a:gd name="connsiteX25" fmla="*/ 6609 w 10000"/>
                <a:gd name="connsiteY25" fmla="*/ 843 h 10000"/>
                <a:gd name="connsiteX26" fmla="*/ 7151 w 10000"/>
                <a:gd name="connsiteY26" fmla="*/ 451 h 10000"/>
                <a:gd name="connsiteX27" fmla="*/ 7287 w 10000"/>
                <a:gd name="connsiteY27" fmla="*/ 510 h 10000"/>
                <a:gd name="connsiteX28" fmla="*/ 7442 w 10000"/>
                <a:gd name="connsiteY28" fmla="*/ 588 h 10000"/>
                <a:gd name="connsiteX29" fmla="*/ 7442 w 10000"/>
                <a:gd name="connsiteY29" fmla="*/ 1275 h 10000"/>
                <a:gd name="connsiteX30" fmla="*/ 7616 w 10000"/>
                <a:gd name="connsiteY30" fmla="*/ 1412 h 10000"/>
                <a:gd name="connsiteX31" fmla="*/ 7713 w 10000"/>
                <a:gd name="connsiteY31" fmla="*/ 1471 h 10000"/>
                <a:gd name="connsiteX32" fmla="*/ 7810 w 10000"/>
                <a:gd name="connsiteY32" fmla="*/ 1549 h 10000"/>
                <a:gd name="connsiteX33" fmla="*/ 8450 w 10000"/>
                <a:gd name="connsiteY33" fmla="*/ 1333 h 10000"/>
                <a:gd name="connsiteX34" fmla="*/ 8566 w 10000"/>
                <a:gd name="connsiteY34" fmla="*/ 1451 h 10000"/>
                <a:gd name="connsiteX35" fmla="*/ 8682 w 10000"/>
                <a:gd name="connsiteY35" fmla="*/ 1569 h 10000"/>
                <a:gd name="connsiteX36" fmla="*/ 8469 w 10000"/>
                <a:gd name="connsiteY36" fmla="*/ 2216 h 10000"/>
                <a:gd name="connsiteX37" fmla="*/ 8605 w 10000"/>
                <a:gd name="connsiteY37" fmla="*/ 2392 h 10000"/>
                <a:gd name="connsiteX38" fmla="*/ 8740 w 10000"/>
                <a:gd name="connsiteY38" fmla="*/ 2588 h 10000"/>
                <a:gd name="connsiteX39" fmla="*/ 9419 w 10000"/>
                <a:gd name="connsiteY39" fmla="*/ 2588 h 10000"/>
                <a:gd name="connsiteX40" fmla="*/ 9496 w 10000"/>
                <a:gd name="connsiteY40" fmla="*/ 2706 h 10000"/>
                <a:gd name="connsiteX41" fmla="*/ 9574 w 10000"/>
                <a:gd name="connsiteY41" fmla="*/ 2863 h 10000"/>
                <a:gd name="connsiteX42" fmla="*/ 9167 w 10000"/>
                <a:gd name="connsiteY42" fmla="*/ 3392 h 10000"/>
                <a:gd name="connsiteX43" fmla="*/ 9244 w 10000"/>
                <a:gd name="connsiteY43" fmla="*/ 3627 h 10000"/>
                <a:gd name="connsiteX44" fmla="*/ 9283 w 10000"/>
                <a:gd name="connsiteY44" fmla="*/ 3745 h 10000"/>
                <a:gd name="connsiteX45" fmla="*/ 9302 w 10000"/>
                <a:gd name="connsiteY45" fmla="*/ 3863 h 10000"/>
                <a:gd name="connsiteX46" fmla="*/ 9961 w 10000"/>
                <a:gd name="connsiteY46" fmla="*/ 4059 h 10000"/>
                <a:gd name="connsiteX47" fmla="*/ 10000 w 10000"/>
                <a:gd name="connsiteY47" fmla="*/ 4392 h 10000"/>
                <a:gd name="connsiteX48" fmla="*/ 9438 w 10000"/>
                <a:gd name="connsiteY48" fmla="*/ 4765 h 10000"/>
                <a:gd name="connsiteX49" fmla="*/ 9457 w 10000"/>
                <a:gd name="connsiteY49" fmla="*/ 5000 h 10000"/>
                <a:gd name="connsiteX50" fmla="*/ 9438 w 10000"/>
                <a:gd name="connsiteY50" fmla="*/ 5235 h 10000"/>
                <a:gd name="connsiteX51" fmla="*/ 10000 w 10000"/>
                <a:gd name="connsiteY51" fmla="*/ 5627 h 10000"/>
                <a:gd name="connsiteX52" fmla="*/ 9981 w 10000"/>
                <a:gd name="connsiteY52" fmla="*/ 5784 h 10000"/>
                <a:gd name="connsiteX53" fmla="*/ 9961 w 10000"/>
                <a:gd name="connsiteY53" fmla="*/ 5941 h 10000"/>
                <a:gd name="connsiteX54" fmla="*/ 9302 w 10000"/>
                <a:gd name="connsiteY54" fmla="*/ 6157 h 10000"/>
                <a:gd name="connsiteX55" fmla="*/ 9244 w 10000"/>
                <a:gd name="connsiteY55" fmla="*/ 6392 h 10000"/>
                <a:gd name="connsiteX56" fmla="*/ 9205 w 10000"/>
                <a:gd name="connsiteY56" fmla="*/ 6490 h 10000"/>
                <a:gd name="connsiteX57" fmla="*/ 9167 w 10000"/>
                <a:gd name="connsiteY57" fmla="*/ 6608 h 10000"/>
                <a:gd name="connsiteX58" fmla="*/ 9574 w 10000"/>
                <a:gd name="connsiteY58" fmla="*/ 7157 h 10000"/>
                <a:gd name="connsiteX59" fmla="*/ 9496 w 10000"/>
                <a:gd name="connsiteY59" fmla="*/ 7294 h 10000"/>
                <a:gd name="connsiteX60" fmla="*/ 9419 w 10000"/>
                <a:gd name="connsiteY60" fmla="*/ 7431 h 10000"/>
                <a:gd name="connsiteX61" fmla="*/ 8740 w 10000"/>
                <a:gd name="connsiteY61" fmla="*/ 7412 h 10000"/>
                <a:gd name="connsiteX62" fmla="*/ 8605 w 10000"/>
                <a:gd name="connsiteY62" fmla="*/ 7627 h 10000"/>
                <a:gd name="connsiteX63" fmla="*/ 8547 w 10000"/>
                <a:gd name="connsiteY63" fmla="*/ 7706 h 10000"/>
                <a:gd name="connsiteX64" fmla="*/ 8469 w 10000"/>
                <a:gd name="connsiteY64" fmla="*/ 7804 h 10000"/>
                <a:gd name="connsiteX65" fmla="*/ 8682 w 10000"/>
                <a:gd name="connsiteY65" fmla="*/ 8451 h 10000"/>
                <a:gd name="connsiteX66" fmla="*/ 8566 w 10000"/>
                <a:gd name="connsiteY66" fmla="*/ 8569 h 10000"/>
                <a:gd name="connsiteX67" fmla="*/ 8450 w 10000"/>
                <a:gd name="connsiteY67" fmla="*/ 8686 h 10000"/>
                <a:gd name="connsiteX68" fmla="*/ 7810 w 10000"/>
                <a:gd name="connsiteY68" fmla="*/ 8471 h 10000"/>
                <a:gd name="connsiteX69" fmla="*/ 7616 w 10000"/>
                <a:gd name="connsiteY69" fmla="*/ 8608 h 10000"/>
                <a:gd name="connsiteX70" fmla="*/ 7442 w 10000"/>
                <a:gd name="connsiteY70" fmla="*/ 8745 h 10000"/>
                <a:gd name="connsiteX71" fmla="*/ 7442 w 10000"/>
                <a:gd name="connsiteY71" fmla="*/ 9412 h 10000"/>
                <a:gd name="connsiteX72" fmla="*/ 7287 w 10000"/>
                <a:gd name="connsiteY72" fmla="*/ 9510 h 10000"/>
                <a:gd name="connsiteX73" fmla="*/ 7151 w 10000"/>
                <a:gd name="connsiteY73" fmla="*/ 9569 h 10000"/>
                <a:gd name="connsiteX74" fmla="*/ 6609 w 10000"/>
                <a:gd name="connsiteY74" fmla="*/ 9157 h 10000"/>
                <a:gd name="connsiteX75" fmla="*/ 6395 w 10000"/>
                <a:gd name="connsiteY75" fmla="*/ 9235 h 10000"/>
                <a:gd name="connsiteX76" fmla="*/ 6279 w 10000"/>
                <a:gd name="connsiteY76" fmla="*/ 9275 h 10000"/>
                <a:gd name="connsiteX77" fmla="*/ 6163 w 10000"/>
                <a:gd name="connsiteY77" fmla="*/ 9314 h 10000"/>
                <a:gd name="connsiteX78" fmla="*/ 5950 w 10000"/>
                <a:gd name="connsiteY78" fmla="*/ 9961 h 10000"/>
                <a:gd name="connsiteX79" fmla="*/ 5640 w 10000"/>
                <a:gd name="connsiteY79" fmla="*/ 10000 h 10000"/>
                <a:gd name="connsiteX80" fmla="*/ 5252 w 10000"/>
                <a:gd name="connsiteY80" fmla="*/ 9451 h 10000"/>
                <a:gd name="connsiteX81" fmla="*/ 5019 w 10000"/>
                <a:gd name="connsiteY81" fmla="*/ 9451 h 10000"/>
                <a:gd name="connsiteX82" fmla="*/ 4767 w 10000"/>
                <a:gd name="connsiteY82" fmla="*/ 9451 h 10000"/>
                <a:gd name="connsiteX83" fmla="*/ 4380 w 10000"/>
                <a:gd name="connsiteY83" fmla="*/ 10000 h 10000"/>
                <a:gd name="connsiteX84" fmla="*/ 4225 w 10000"/>
                <a:gd name="connsiteY84" fmla="*/ 9980 h 10000"/>
                <a:gd name="connsiteX85" fmla="*/ 4070 w 10000"/>
                <a:gd name="connsiteY85" fmla="*/ 9961 h 10000"/>
                <a:gd name="connsiteX86" fmla="*/ 3857 w 10000"/>
                <a:gd name="connsiteY86" fmla="*/ 9314 h 10000"/>
                <a:gd name="connsiteX87" fmla="*/ 3624 w 10000"/>
                <a:gd name="connsiteY87" fmla="*/ 9235 h 10000"/>
                <a:gd name="connsiteX88" fmla="*/ 3508 w 10000"/>
                <a:gd name="connsiteY88" fmla="*/ 9216 h 10000"/>
                <a:gd name="connsiteX89" fmla="*/ 3411 w 10000"/>
                <a:gd name="connsiteY89" fmla="*/ 9157 h 10000"/>
                <a:gd name="connsiteX90" fmla="*/ 2868 w 10000"/>
                <a:gd name="connsiteY90" fmla="*/ 9569 h 10000"/>
                <a:gd name="connsiteX91" fmla="*/ 2733 w 10000"/>
                <a:gd name="connsiteY91" fmla="*/ 9510 h 10000"/>
                <a:gd name="connsiteX92" fmla="*/ 2578 w 10000"/>
                <a:gd name="connsiteY92" fmla="*/ 9412 h 10000"/>
                <a:gd name="connsiteX93" fmla="*/ 2597 w 10000"/>
                <a:gd name="connsiteY93" fmla="*/ 8745 h 10000"/>
                <a:gd name="connsiteX94" fmla="*/ 2403 w 10000"/>
                <a:gd name="connsiteY94" fmla="*/ 8608 h 10000"/>
                <a:gd name="connsiteX95" fmla="*/ 2306 w 10000"/>
                <a:gd name="connsiteY95" fmla="*/ 8529 h 10000"/>
                <a:gd name="connsiteX96" fmla="*/ 2209 w 10000"/>
                <a:gd name="connsiteY96" fmla="*/ 8471 h 10000"/>
                <a:gd name="connsiteX97" fmla="*/ 1570 w 10000"/>
                <a:gd name="connsiteY97" fmla="*/ 8686 h 10000"/>
                <a:gd name="connsiteX98" fmla="*/ 1453 w 10000"/>
                <a:gd name="connsiteY98" fmla="*/ 8569 h 10000"/>
                <a:gd name="connsiteX99" fmla="*/ 1337 w 10000"/>
                <a:gd name="connsiteY99" fmla="*/ 8451 h 10000"/>
                <a:gd name="connsiteX100" fmla="*/ 1550 w 10000"/>
                <a:gd name="connsiteY100" fmla="*/ 7804 h 10000"/>
                <a:gd name="connsiteX101" fmla="*/ 1415 w 10000"/>
                <a:gd name="connsiteY101" fmla="*/ 7627 h 10000"/>
                <a:gd name="connsiteX102" fmla="*/ 1279 w 10000"/>
                <a:gd name="connsiteY102" fmla="*/ 7412 h 10000"/>
                <a:gd name="connsiteX103" fmla="*/ 601 w 10000"/>
                <a:gd name="connsiteY103" fmla="*/ 7431 h 10000"/>
                <a:gd name="connsiteX104" fmla="*/ 523 w 10000"/>
                <a:gd name="connsiteY104" fmla="*/ 7294 h 10000"/>
                <a:gd name="connsiteX105" fmla="*/ 446 w 10000"/>
                <a:gd name="connsiteY105" fmla="*/ 7157 h 10000"/>
                <a:gd name="connsiteX106" fmla="*/ 853 w 10000"/>
                <a:gd name="connsiteY106" fmla="*/ 6608 h 10000"/>
                <a:gd name="connsiteX107" fmla="*/ 775 w 10000"/>
                <a:gd name="connsiteY107" fmla="*/ 6392 h 10000"/>
                <a:gd name="connsiteX108" fmla="*/ 756 w 10000"/>
                <a:gd name="connsiteY108" fmla="*/ 6275 h 10000"/>
                <a:gd name="connsiteX109" fmla="*/ 717 w 10000"/>
                <a:gd name="connsiteY109" fmla="*/ 6157 h 10000"/>
                <a:gd name="connsiteX110" fmla="*/ 58 w 10000"/>
                <a:gd name="connsiteY110" fmla="*/ 5941 h 10000"/>
                <a:gd name="connsiteX111" fmla="*/ 0 w 10000"/>
                <a:gd name="connsiteY111" fmla="*/ 5627 h 10000"/>
                <a:gd name="connsiteX112" fmla="*/ 581 w 10000"/>
                <a:gd name="connsiteY112" fmla="*/ 5235 h 10000"/>
                <a:gd name="connsiteX113" fmla="*/ 562 w 10000"/>
                <a:gd name="connsiteY113" fmla="*/ 5000 h 10000"/>
                <a:gd name="connsiteX114" fmla="*/ 581 w 10000"/>
                <a:gd name="connsiteY114" fmla="*/ 4765 h 10000"/>
                <a:gd name="connsiteX115" fmla="*/ 0 w 10000"/>
                <a:gd name="connsiteY115" fmla="*/ 4392 h 10000"/>
                <a:gd name="connsiteX116" fmla="*/ 19 w 10000"/>
                <a:gd name="connsiteY116" fmla="*/ 4216 h 10000"/>
                <a:gd name="connsiteX117" fmla="*/ 58 w 10000"/>
                <a:gd name="connsiteY117" fmla="*/ 4059 h 10000"/>
                <a:gd name="connsiteX118" fmla="*/ 717 w 10000"/>
                <a:gd name="connsiteY118" fmla="*/ 3863 h 10000"/>
                <a:gd name="connsiteX119" fmla="*/ 775 w 10000"/>
                <a:gd name="connsiteY119" fmla="*/ 3627 h 10000"/>
                <a:gd name="connsiteX120" fmla="*/ 814 w 10000"/>
                <a:gd name="connsiteY120" fmla="*/ 3510 h 10000"/>
                <a:gd name="connsiteX121" fmla="*/ 853 w 10000"/>
                <a:gd name="connsiteY121" fmla="*/ 3392 h 10000"/>
                <a:gd name="connsiteX122" fmla="*/ 446 w 10000"/>
                <a:gd name="connsiteY122" fmla="*/ 2863 h 10000"/>
                <a:gd name="connsiteX123" fmla="*/ 523 w 10000"/>
                <a:gd name="connsiteY123" fmla="*/ 2706 h 10000"/>
                <a:gd name="connsiteX124" fmla="*/ 601 w 10000"/>
                <a:gd name="connsiteY124" fmla="*/ 2588 h 10000"/>
                <a:gd name="connsiteX125" fmla="*/ 1279 w 10000"/>
                <a:gd name="connsiteY125" fmla="*/ 2588 h 10000"/>
                <a:gd name="connsiteX0" fmla="*/ 1415 w 10000"/>
                <a:gd name="connsiteY0" fmla="*/ 2392 h 10000"/>
                <a:gd name="connsiteX1" fmla="*/ 1337 w 10000"/>
                <a:gd name="connsiteY1" fmla="*/ 1569 h 10000"/>
                <a:gd name="connsiteX2" fmla="*/ 1570 w 10000"/>
                <a:gd name="connsiteY2" fmla="*/ 1333 h 10000"/>
                <a:gd name="connsiteX3" fmla="*/ 2209 w 10000"/>
                <a:gd name="connsiteY3" fmla="*/ 1549 h 10000"/>
                <a:gd name="connsiteX4" fmla="*/ 2403 w 10000"/>
                <a:gd name="connsiteY4" fmla="*/ 1412 h 10000"/>
                <a:gd name="connsiteX5" fmla="*/ 2597 w 10000"/>
                <a:gd name="connsiteY5" fmla="*/ 1275 h 10000"/>
                <a:gd name="connsiteX6" fmla="*/ 2578 w 10000"/>
                <a:gd name="connsiteY6" fmla="*/ 588 h 10000"/>
                <a:gd name="connsiteX7" fmla="*/ 2733 w 10000"/>
                <a:gd name="connsiteY7" fmla="*/ 510 h 10000"/>
                <a:gd name="connsiteX8" fmla="*/ 2868 w 10000"/>
                <a:gd name="connsiteY8" fmla="*/ 451 h 10000"/>
                <a:gd name="connsiteX9" fmla="*/ 3411 w 10000"/>
                <a:gd name="connsiteY9" fmla="*/ 843 h 10000"/>
                <a:gd name="connsiteX10" fmla="*/ 3624 w 10000"/>
                <a:gd name="connsiteY10" fmla="*/ 765 h 10000"/>
                <a:gd name="connsiteX11" fmla="*/ 3740 w 10000"/>
                <a:gd name="connsiteY11" fmla="*/ 725 h 10000"/>
                <a:gd name="connsiteX12" fmla="*/ 3857 w 10000"/>
                <a:gd name="connsiteY12" fmla="*/ 706 h 10000"/>
                <a:gd name="connsiteX13" fmla="*/ 4070 w 10000"/>
                <a:gd name="connsiteY13" fmla="*/ 59 h 10000"/>
                <a:gd name="connsiteX14" fmla="*/ 4380 w 10000"/>
                <a:gd name="connsiteY14" fmla="*/ 0 h 10000"/>
                <a:gd name="connsiteX15" fmla="*/ 4767 w 10000"/>
                <a:gd name="connsiteY15" fmla="*/ 569 h 10000"/>
                <a:gd name="connsiteX16" fmla="*/ 5019 w 10000"/>
                <a:gd name="connsiteY16" fmla="*/ 549 h 10000"/>
                <a:gd name="connsiteX17" fmla="*/ 5252 w 10000"/>
                <a:gd name="connsiteY17" fmla="*/ 569 h 10000"/>
                <a:gd name="connsiteX18" fmla="*/ 5640 w 10000"/>
                <a:gd name="connsiteY18" fmla="*/ 0 h 10000"/>
                <a:gd name="connsiteX19" fmla="*/ 5795 w 10000"/>
                <a:gd name="connsiteY19" fmla="*/ 20 h 10000"/>
                <a:gd name="connsiteX20" fmla="*/ 5950 w 10000"/>
                <a:gd name="connsiteY20" fmla="*/ 59 h 10000"/>
                <a:gd name="connsiteX21" fmla="*/ 6163 w 10000"/>
                <a:gd name="connsiteY21" fmla="*/ 706 h 10000"/>
                <a:gd name="connsiteX22" fmla="*/ 6395 w 10000"/>
                <a:gd name="connsiteY22" fmla="*/ 765 h 10000"/>
                <a:gd name="connsiteX23" fmla="*/ 6492 w 10000"/>
                <a:gd name="connsiteY23" fmla="*/ 804 h 10000"/>
                <a:gd name="connsiteX24" fmla="*/ 6609 w 10000"/>
                <a:gd name="connsiteY24" fmla="*/ 843 h 10000"/>
                <a:gd name="connsiteX25" fmla="*/ 7151 w 10000"/>
                <a:gd name="connsiteY25" fmla="*/ 451 h 10000"/>
                <a:gd name="connsiteX26" fmla="*/ 7287 w 10000"/>
                <a:gd name="connsiteY26" fmla="*/ 510 h 10000"/>
                <a:gd name="connsiteX27" fmla="*/ 7442 w 10000"/>
                <a:gd name="connsiteY27" fmla="*/ 588 h 10000"/>
                <a:gd name="connsiteX28" fmla="*/ 7442 w 10000"/>
                <a:gd name="connsiteY28" fmla="*/ 1275 h 10000"/>
                <a:gd name="connsiteX29" fmla="*/ 7616 w 10000"/>
                <a:gd name="connsiteY29" fmla="*/ 1412 h 10000"/>
                <a:gd name="connsiteX30" fmla="*/ 7713 w 10000"/>
                <a:gd name="connsiteY30" fmla="*/ 1471 h 10000"/>
                <a:gd name="connsiteX31" fmla="*/ 7810 w 10000"/>
                <a:gd name="connsiteY31" fmla="*/ 1549 h 10000"/>
                <a:gd name="connsiteX32" fmla="*/ 8450 w 10000"/>
                <a:gd name="connsiteY32" fmla="*/ 1333 h 10000"/>
                <a:gd name="connsiteX33" fmla="*/ 8566 w 10000"/>
                <a:gd name="connsiteY33" fmla="*/ 1451 h 10000"/>
                <a:gd name="connsiteX34" fmla="*/ 8682 w 10000"/>
                <a:gd name="connsiteY34" fmla="*/ 1569 h 10000"/>
                <a:gd name="connsiteX35" fmla="*/ 8469 w 10000"/>
                <a:gd name="connsiteY35" fmla="*/ 2216 h 10000"/>
                <a:gd name="connsiteX36" fmla="*/ 8605 w 10000"/>
                <a:gd name="connsiteY36" fmla="*/ 2392 h 10000"/>
                <a:gd name="connsiteX37" fmla="*/ 8740 w 10000"/>
                <a:gd name="connsiteY37" fmla="*/ 2588 h 10000"/>
                <a:gd name="connsiteX38" fmla="*/ 9419 w 10000"/>
                <a:gd name="connsiteY38" fmla="*/ 2588 h 10000"/>
                <a:gd name="connsiteX39" fmla="*/ 9496 w 10000"/>
                <a:gd name="connsiteY39" fmla="*/ 2706 h 10000"/>
                <a:gd name="connsiteX40" fmla="*/ 9574 w 10000"/>
                <a:gd name="connsiteY40" fmla="*/ 2863 h 10000"/>
                <a:gd name="connsiteX41" fmla="*/ 9167 w 10000"/>
                <a:gd name="connsiteY41" fmla="*/ 3392 h 10000"/>
                <a:gd name="connsiteX42" fmla="*/ 9244 w 10000"/>
                <a:gd name="connsiteY42" fmla="*/ 3627 h 10000"/>
                <a:gd name="connsiteX43" fmla="*/ 9283 w 10000"/>
                <a:gd name="connsiteY43" fmla="*/ 3745 h 10000"/>
                <a:gd name="connsiteX44" fmla="*/ 9302 w 10000"/>
                <a:gd name="connsiteY44" fmla="*/ 3863 h 10000"/>
                <a:gd name="connsiteX45" fmla="*/ 9961 w 10000"/>
                <a:gd name="connsiteY45" fmla="*/ 4059 h 10000"/>
                <a:gd name="connsiteX46" fmla="*/ 10000 w 10000"/>
                <a:gd name="connsiteY46" fmla="*/ 4392 h 10000"/>
                <a:gd name="connsiteX47" fmla="*/ 9438 w 10000"/>
                <a:gd name="connsiteY47" fmla="*/ 4765 h 10000"/>
                <a:gd name="connsiteX48" fmla="*/ 9457 w 10000"/>
                <a:gd name="connsiteY48" fmla="*/ 5000 h 10000"/>
                <a:gd name="connsiteX49" fmla="*/ 9438 w 10000"/>
                <a:gd name="connsiteY49" fmla="*/ 5235 h 10000"/>
                <a:gd name="connsiteX50" fmla="*/ 10000 w 10000"/>
                <a:gd name="connsiteY50" fmla="*/ 5627 h 10000"/>
                <a:gd name="connsiteX51" fmla="*/ 9981 w 10000"/>
                <a:gd name="connsiteY51" fmla="*/ 5784 h 10000"/>
                <a:gd name="connsiteX52" fmla="*/ 9961 w 10000"/>
                <a:gd name="connsiteY52" fmla="*/ 5941 h 10000"/>
                <a:gd name="connsiteX53" fmla="*/ 9302 w 10000"/>
                <a:gd name="connsiteY53" fmla="*/ 6157 h 10000"/>
                <a:gd name="connsiteX54" fmla="*/ 9244 w 10000"/>
                <a:gd name="connsiteY54" fmla="*/ 6392 h 10000"/>
                <a:gd name="connsiteX55" fmla="*/ 9205 w 10000"/>
                <a:gd name="connsiteY55" fmla="*/ 6490 h 10000"/>
                <a:gd name="connsiteX56" fmla="*/ 9167 w 10000"/>
                <a:gd name="connsiteY56" fmla="*/ 6608 h 10000"/>
                <a:gd name="connsiteX57" fmla="*/ 9574 w 10000"/>
                <a:gd name="connsiteY57" fmla="*/ 7157 h 10000"/>
                <a:gd name="connsiteX58" fmla="*/ 9496 w 10000"/>
                <a:gd name="connsiteY58" fmla="*/ 7294 h 10000"/>
                <a:gd name="connsiteX59" fmla="*/ 9419 w 10000"/>
                <a:gd name="connsiteY59" fmla="*/ 7431 h 10000"/>
                <a:gd name="connsiteX60" fmla="*/ 8740 w 10000"/>
                <a:gd name="connsiteY60" fmla="*/ 7412 h 10000"/>
                <a:gd name="connsiteX61" fmla="*/ 8605 w 10000"/>
                <a:gd name="connsiteY61" fmla="*/ 7627 h 10000"/>
                <a:gd name="connsiteX62" fmla="*/ 8547 w 10000"/>
                <a:gd name="connsiteY62" fmla="*/ 7706 h 10000"/>
                <a:gd name="connsiteX63" fmla="*/ 8469 w 10000"/>
                <a:gd name="connsiteY63" fmla="*/ 7804 h 10000"/>
                <a:gd name="connsiteX64" fmla="*/ 8682 w 10000"/>
                <a:gd name="connsiteY64" fmla="*/ 8451 h 10000"/>
                <a:gd name="connsiteX65" fmla="*/ 8566 w 10000"/>
                <a:gd name="connsiteY65" fmla="*/ 8569 h 10000"/>
                <a:gd name="connsiteX66" fmla="*/ 8450 w 10000"/>
                <a:gd name="connsiteY66" fmla="*/ 8686 h 10000"/>
                <a:gd name="connsiteX67" fmla="*/ 7810 w 10000"/>
                <a:gd name="connsiteY67" fmla="*/ 8471 h 10000"/>
                <a:gd name="connsiteX68" fmla="*/ 7616 w 10000"/>
                <a:gd name="connsiteY68" fmla="*/ 8608 h 10000"/>
                <a:gd name="connsiteX69" fmla="*/ 7442 w 10000"/>
                <a:gd name="connsiteY69" fmla="*/ 8745 h 10000"/>
                <a:gd name="connsiteX70" fmla="*/ 7442 w 10000"/>
                <a:gd name="connsiteY70" fmla="*/ 9412 h 10000"/>
                <a:gd name="connsiteX71" fmla="*/ 7287 w 10000"/>
                <a:gd name="connsiteY71" fmla="*/ 9510 h 10000"/>
                <a:gd name="connsiteX72" fmla="*/ 7151 w 10000"/>
                <a:gd name="connsiteY72" fmla="*/ 9569 h 10000"/>
                <a:gd name="connsiteX73" fmla="*/ 6609 w 10000"/>
                <a:gd name="connsiteY73" fmla="*/ 9157 h 10000"/>
                <a:gd name="connsiteX74" fmla="*/ 6395 w 10000"/>
                <a:gd name="connsiteY74" fmla="*/ 9235 h 10000"/>
                <a:gd name="connsiteX75" fmla="*/ 6279 w 10000"/>
                <a:gd name="connsiteY75" fmla="*/ 9275 h 10000"/>
                <a:gd name="connsiteX76" fmla="*/ 6163 w 10000"/>
                <a:gd name="connsiteY76" fmla="*/ 9314 h 10000"/>
                <a:gd name="connsiteX77" fmla="*/ 5950 w 10000"/>
                <a:gd name="connsiteY77" fmla="*/ 9961 h 10000"/>
                <a:gd name="connsiteX78" fmla="*/ 5640 w 10000"/>
                <a:gd name="connsiteY78" fmla="*/ 10000 h 10000"/>
                <a:gd name="connsiteX79" fmla="*/ 5252 w 10000"/>
                <a:gd name="connsiteY79" fmla="*/ 9451 h 10000"/>
                <a:gd name="connsiteX80" fmla="*/ 5019 w 10000"/>
                <a:gd name="connsiteY80" fmla="*/ 9451 h 10000"/>
                <a:gd name="connsiteX81" fmla="*/ 4767 w 10000"/>
                <a:gd name="connsiteY81" fmla="*/ 9451 h 10000"/>
                <a:gd name="connsiteX82" fmla="*/ 4380 w 10000"/>
                <a:gd name="connsiteY82" fmla="*/ 10000 h 10000"/>
                <a:gd name="connsiteX83" fmla="*/ 4225 w 10000"/>
                <a:gd name="connsiteY83" fmla="*/ 9980 h 10000"/>
                <a:gd name="connsiteX84" fmla="*/ 4070 w 10000"/>
                <a:gd name="connsiteY84" fmla="*/ 9961 h 10000"/>
                <a:gd name="connsiteX85" fmla="*/ 3857 w 10000"/>
                <a:gd name="connsiteY85" fmla="*/ 9314 h 10000"/>
                <a:gd name="connsiteX86" fmla="*/ 3624 w 10000"/>
                <a:gd name="connsiteY86" fmla="*/ 9235 h 10000"/>
                <a:gd name="connsiteX87" fmla="*/ 3508 w 10000"/>
                <a:gd name="connsiteY87" fmla="*/ 9216 h 10000"/>
                <a:gd name="connsiteX88" fmla="*/ 3411 w 10000"/>
                <a:gd name="connsiteY88" fmla="*/ 9157 h 10000"/>
                <a:gd name="connsiteX89" fmla="*/ 2868 w 10000"/>
                <a:gd name="connsiteY89" fmla="*/ 9569 h 10000"/>
                <a:gd name="connsiteX90" fmla="*/ 2733 w 10000"/>
                <a:gd name="connsiteY90" fmla="*/ 9510 h 10000"/>
                <a:gd name="connsiteX91" fmla="*/ 2578 w 10000"/>
                <a:gd name="connsiteY91" fmla="*/ 9412 h 10000"/>
                <a:gd name="connsiteX92" fmla="*/ 2597 w 10000"/>
                <a:gd name="connsiteY92" fmla="*/ 8745 h 10000"/>
                <a:gd name="connsiteX93" fmla="*/ 2403 w 10000"/>
                <a:gd name="connsiteY93" fmla="*/ 8608 h 10000"/>
                <a:gd name="connsiteX94" fmla="*/ 2306 w 10000"/>
                <a:gd name="connsiteY94" fmla="*/ 8529 h 10000"/>
                <a:gd name="connsiteX95" fmla="*/ 2209 w 10000"/>
                <a:gd name="connsiteY95" fmla="*/ 8471 h 10000"/>
                <a:gd name="connsiteX96" fmla="*/ 1570 w 10000"/>
                <a:gd name="connsiteY96" fmla="*/ 8686 h 10000"/>
                <a:gd name="connsiteX97" fmla="*/ 1453 w 10000"/>
                <a:gd name="connsiteY97" fmla="*/ 8569 h 10000"/>
                <a:gd name="connsiteX98" fmla="*/ 1337 w 10000"/>
                <a:gd name="connsiteY98" fmla="*/ 8451 h 10000"/>
                <a:gd name="connsiteX99" fmla="*/ 1550 w 10000"/>
                <a:gd name="connsiteY99" fmla="*/ 7804 h 10000"/>
                <a:gd name="connsiteX100" fmla="*/ 1415 w 10000"/>
                <a:gd name="connsiteY100" fmla="*/ 7627 h 10000"/>
                <a:gd name="connsiteX101" fmla="*/ 1279 w 10000"/>
                <a:gd name="connsiteY101" fmla="*/ 7412 h 10000"/>
                <a:gd name="connsiteX102" fmla="*/ 601 w 10000"/>
                <a:gd name="connsiteY102" fmla="*/ 7431 h 10000"/>
                <a:gd name="connsiteX103" fmla="*/ 523 w 10000"/>
                <a:gd name="connsiteY103" fmla="*/ 7294 h 10000"/>
                <a:gd name="connsiteX104" fmla="*/ 446 w 10000"/>
                <a:gd name="connsiteY104" fmla="*/ 7157 h 10000"/>
                <a:gd name="connsiteX105" fmla="*/ 853 w 10000"/>
                <a:gd name="connsiteY105" fmla="*/ 6608 h 10000"/>
                <a:gd name="connsiteX106" fmla="*/ 775 w 10000"/>
                <a:gd name="connsiteY106" fmla="*/ 6392 h 10000"/>
                <a:gd name="connsiteX107" fmla="*/ 756 w 10000"/>
                <a:gd name="connsiteY107" fmla="*/ 6275 h 10000"/>
                <a:gd name="connsiteX108" fmla="*/ 717 w 10000"/>
                <a:gd name="connsiteY108" fmla="*/ 6157 h 10000"/>
                <a:gd name="connsiteX109" fmla="*/ 58 w 10000"/>
                <a:gd name="connsiteY109" fmla="*/ 5941 h 10000"/>
                <a:gd name="connsiteX110" fmla="*/ 0 w 10000"/>
                <a:gd name="connsiteY110" fmla="*/ 5627 h 10000"/>
                <a:gd name="connsiteX111" fmla="*/ 581 w 10000"/>
                <a:gd name="connsiteY111" fmla="*/ 5235 h 10000"/>
                <a:gd name="connsiteX112" fmla="*/ 562 w 10000"/>
                <a:gd name="connsiteY112" fmla="*/ 5000 h 10000"/>
                <a:gd name="connsiteX113" fmla="*/ 581 w 10000"/>
                <a:gd name="connsiteY113" fmla="*/ 4765 h 10000"/>
                <a:gd name="connsiteX114" fmla="*/ 0 w 10000"/>
                <a:gd name="connsiteY114" fmla="*/ 4392 h 10000"/>
                <a:gd name="connsiteX115" fmla="*/ 19 w 10000"/>
                <a:gd name="connsiteY115" fmla="*/ 4216 h 10000"/>
                <a:gd name="connsiteX116" fmla="*/ 58 w 10000"/>
                <a:gd name="connsiteY116" fmla="*/ 4059 h 10000"/>
                <a:gd name="connsiteX117" fmla="*/ 717 w 10000"/>
                <a:gd name="connsiteY117" fmla="*/ 3863 h 10000"/>
                <a:gd name="connsiteX118" fmla="*/ 775 w 10000"/>
                <a:gd name="connsiteY118" fmla="*/ 3627 h 10000"/>
                <a:gd name="connsiteX119" fmla="*/ 814 w 10000"/>
                <a:gd name="connsiteY119" fmla="*/ 3510 h 10000"/>
                <a:gd name="connsiteX120" fmla="*/ 853 w 10000"/>
                <a:gd name="connsiteY120" fmla="*/ 3392 h 10000"/>
                <a:gd name="connsiteX121" fmla="*/ 446 w 10000"/>
                <a:gd name="connsiteY121" fmla="*/ 2863 h 10000"/>
                <a:gd name="connsiteX122" fmla="*/ 523 w 10000"/>
                <a:gd name="connsiteY122" fmla="*/ 2706 h 10000"/>
                <a:gd name="connsiteX123" fmla="*/ 601 w 10000"/>
                <a:gd name="connsiteY123" fmla="*/ 2588 h 10000"/>
                <a:gd name="connsiteX124" fmla="*/ 1279 w 10000"/>
                <a:gd name="connsiteY124" fmla="*/ 2588 h 10000"/>
                <a:gd name="connsiteX0" fmla="*/ 1337 w 10000"/>
                <a:gd name="connsiteY0" fmla="*/ 1569 h 10000"/>
                <a:gd name="connsiteX1" fmla="*/ 1570 w 10000"/>
                <a:gd name="connsiteY1" fmla="*/ 1333 h 10000"/>
                <a:gd name="connsiteX2" fmla="*/ 2209 w 10000"/>
                <a:gd name="connsiteY2" fmla="*/ 1549 h 10000"/>
                <a:gd name="connsiteX3" fmla="*/ 2403 w 10000"/>
                <a:gd name="connsiteY3" fmla="*/ 1412 h 10000"/>
                <a:gd name="connsiteX4" fmla="*/ 2597 w 10000"/>
                <a:gd name="connsiteY4" fmla="*/ 1275 h 10000"/>
                <a:gd name="connsiteX5" fmla="*/ 2578 w 10000"/>
                <a:gd name="connsiteY5" fmla="*/ 588 h 10000"/>
                <a:gd name="connsiteX6" fmla="*/ 2733 w 10000"/>
                <a:gd name="connsiteY6" fmla="*/ 510 h 10000"/>
                <a:gd name="connsiteX7" fmla="*/ 2868 w 10000"/>
                <a:gd name="connsiteY7" fmla="*/ 451 h 10000"/>
                <a:gd name="connsiteX8" fmla="*/ 3411 w 10000"/>
                <a:gd name="connsiteY8" fmla="*/ 843 h 10000"/>
                <a:gd name="connsiteX9" fmla="*/ 3624 w 10000"/>
                <a:gd name="connsiteY9" fmla="*/ 765 h 10000"/>
                <a:gd name="connsiteX10" fmla="*/ 3740 w 10000"/>
                <a:gd name="connsiteY10" fmla="*/ 725 h 10000"/>
                <a:gd name="connsiteX11" fmla="*/ 3857 w 10000"/>
                <a:gd name="connsiteY11" fmla="*/ 706 h 10000"/>
                <a:gd name="connsiteX12" fmla="*/ 4070 w 10000"/>
                <a:gd name="connsiteY12" fmla="*/ 59 h 10000"/>
                <a:gd name="connsiteX13" fmla="*/ 4380 w 10000"/>
                <a:gd name="connsiteY13" fmla="*/ 0 h 10000"/>
                <a:gd name="connsiteX14" fmla="*/ 4767 w 10000"/>
                <a:gd name="connsiteY14" fmla="*/ 569 h 10000"/>
                <a:gd name="connsiteX15" fmla="*/ 5019 w 10000"/>
                <a:gd name="connsiteY15" fmla="*/ 549 h 10000"/>
                <a:gd name="connsiteX16" fmla="*/ 5252 w 10000"/>
                <a:gd name="connsiteY16" fmla="*/ 569 h 10000"/>
                <a:gd name="connsiteX17" fmla="*/ 5640 w 10000"/>
                <a:gd name="connsiteY17" fmla="*/ 0 h 10000"/>
                <a:gd name="connsiteX18" fmla="*/ 5795 w 10000"/>
                <a:gd name="connsiteY18" fmla="*/ 20 h 10000"/>
                <a:gd name="connsiteX19" fmla="*/ 5950 w 10000"/>
                <a:gd name="connsiteY19" fmla="*/ 59 h 10000"/>
                <a:gd name="connsiteX20" fmla="*/ 6163 w 10000"/>
                <a:gd name="connsiteY20" fmla="*/ 706 h 10000"/>
                <a:gd name="connsiteX21" fmla="*/ 6395 w 10000"/>
                <a:gd name="connsiteY21" fmla="*/ 765 h 10000"/>
                <a:gd name="connsiteX22" fmla="*/ 6492 w 10000"/>
                <a:gd name="connsiteY22" fmla="*/ 804 h 10000"/>
                <a:gd name="connsiteX23" fmla="*/ 6609 w 10000"/>
                <a:gd name="connsiteY23" fmla="*/ 843 h 10000"/>
                <a:gd name="connsiteX24" fmla="*/ 7151 w 10000"/>
                <a:gd name="connsiteY24" fmla="*/ 451 h 10000"/>
                <a:gd name="connsiteX25" fmla="*/ 7287 w 10000"/>
                <a:gd name="connsiteY25" fmla="*/ 510 h 10000"/>
                <a:gd name="connsiteX26" fmla="*/ 7442 w 10000"/>
                <a:gd name="connsiteY26" fmla="*/ 588 h 10000"/>
                <a:gd name="connsiteX27" fmla="*/ 7442 w 10000"/>
                <a:gd name="connsiteY27" fmla="*/ 1275 h 10000"/>
                <a:gd name="connsiteX28" fmla="*/ 7616 w 10000"/>
                <a:gd name="connsiteY28" fmla="*/ 1412 h 10000"/>
                <a:gd name="connsiteX29" fmla="*/ 7713 w 10000"/>
                <a:gd name="connsiteY29" fmla="*/ 1471 h 10000"/>
                <a:gd name="connsiteX30" fmla="*/ 7810 w 10000"/>
                <a:gd name="connsiteY30" fmla="*/ 1549 h 10000"/>
                <a:gd name="connsiteX31" fmla="*/ 8450 w 10000"/>
                <a:gd name="connsiteY31" fmla="*/ 1333 h 10000"/>
                <a:gd name="connsiteX32" fmla="*/ 8566 w 10000"/>
                <a:gd name="connsiteY32" fmla="*/ 1451 h 10000"/>
                <a:gd name="connsiteX33" fmla="*/ 8682 w 10000"/>
                <a:gd name="connsiteY33" fmla="*/ 1569 h 10000"/>
                <a:gd name="connsiteX34" fmla="*/ 8469 w 10000"/>
                <a:gd name="connsiteY34" fmla="*/ 2216 h 10000"/>
                <a:gd name="connsiteX35" fmla="*/ 8605 w 10000"/>
                <a:gd name="connsiteY35" fmla="*/ 2392 h 10000"/>
                <a:gd name="connsiteX36" fmla="*/ 8740 w 10000"/>
                <a:gd name="connsiteY36" fmla="*/ 2588 h 10000"/>
                <a:gd name="connsiteX37" fmla="*/ 9419 w 10000"/>
                <a:gd name="connsiteY37" fmla="*/ 2588 h 10000"/>
                <a:gd name="connsiteX38" fmla="*/ 9496 w 10000"/>
                <a:gd name="connsiteY38" fmla="*/ 2706 h 10000"/>
                <a:gd name="connsiteX39" fmla="*/ 9574 w 10000"/>
                <a:gd name="connsiteY39" fmla="*/ 2863 h 10000"/>
                <a:gd name="connsiteX40" fmla="*/ 9167 w 10000"/>
                <a:gd name="connsiteY40" fmla="*/ 3392 h 10000"/>
                <a:gd name="connsiteX41" fmla="*/ 9244 w 10000"/>
                <a:gd name="connsiteY41" fmla="*/ 3627 h 10000"/>
                <a:gd name="connsiteX42" fmla="*/ 9283 w 10000"/>
                <a:gd name="connsiteY42" fmla="*/ 3745 h 10000"/>
                <a:gd name="connsiteX43" fmla="*/ 9302 w 10000"/>
                <a:gd name="connsiteY43" fmla="*/ 3863 h 10000"/>
                <a:gd name="connsiteX44" fmla="*/ 9961 w 10000"/>
                <a:gd name="connsiteY44" fmla="*/ 4059 h 10000"/>
                <a:gd name="connsiteX45" fmla="*/ 10000 w 10000"/>
                <a:gd name="connsiteY45" fmla="*/ 4392 h 10000"/>
                <a:gd name="connsiteX46" fmla="*/ 9438 w 10000"/>
                <a:gd name="connsiteY46" fmla="*/ 4765 h 10000"/>
                <a:gd name="connsiteX47" fmla="*/ 9457 w 10000"/>
                <a:gd name="connsiteY47" fmla="*/ 5000 h 10000"/>
                <a:gd name="connsiteX48" fmla="*/ 9438 w 10000"/>
                <a:gd name="connsiteY48" fmla="*/ 5235 h 10000"/>
                <a:gd name="connsiteX49" fmla="*/ 10000 w 10000"/>
                <a:gd name="connsiteY49" fmla="*/ 5627 h 10000"/>
                <a:gd name="connsiteX50" fmla="*/ 9981 w 10000"/>
                <a:gd name="connsiteY50" fmla="*/ 5784 h 10000"/>
                <a:gd name="connsiteX51" fmla="*/ 9961 w 10000"/>
                <a:gd name="connsiteY51" fmla="*/ 5941 h 10000"/>
                <a:gd name="connsiteX52" fmla="*/ 9302 w 10000"/>
                <a:gd name="connsiteY52" fmla="*/ 6157 h 10000"/>
                <a:gd name="connsiteX53" fmla="*/ 9244 w 10000"/>
                <a:gd name="connsiteY53" fmla="*/ 6392 h 10000"/>
                <a:gd name="connsiteX54" fmla="*/ 9205 w 10000"/>
                <a:gd name="connsiteY54" fmla="*/ 6490 h 10000"/>
                <a:gd name="connsiteX55" fmla="*/ 9167 w 10000"/>
                <a:gd name="connsiteY55" fmla="*/ 6608 h 10000"/>
                <a:gd name="connsiteX56" fmla="*/ 9574 w 10000"/>
                <a:gd name="connsiteY56" fmla="*/ 7157 h 10000"/>
                <a:gd name="connsiteX57" fmla="*/ 9496 w 10000"/>
                <a:gd name="connsiteY57" fmla="*/ 7294 h 10000"/>
                <a:gd name="connsiteX58" fmla="*/ 9419 w 10000"/>
                <a:gd name="connsiteY58" fmla="*/ 7431 h 10000"/>
                <a:gd name="connsiteX59" fmla="*/ 8740 w 10000"/>
                <a:gd name="connsiteY59" fmla="*/ 7412 h 10000"/>
                <a:gd name="connsiteX60" fmla="*/ 8605 w 10000"/>
                <a:gd name="connsiteY60" fmla="*/ 7627 h 10000"/>
                <a:gd name="connsiteX61" fmla="*/ 8547 w 10000"/>
                <a:gd name="connsiteY61" fmla="*/ 7706 h 10000"/>
                <a:gd name="connsiteX62" fmla="*/ 8469 w 10000"/>
                <a:gd name="connsiteY62" fmla="*/ 7804 h 10000"/>
                <a:gd name="connsiteX63" fmla="*/ 8682 w 10000"/>
                <a:gd name="connsiteY63" fmla="*/ 8451 h 10000"/>
                <a:gd name="connsiteX64" fmla="*/ 8566 w 10000"/>
                <a:gd name="connsiteY64" fmla="*/ 8569 h 10000"/>
                <a:gd name="connsiteX65" fmla="*/ 8450 w 10000"/>
                <a:gd name="connsiteY65" fmla="*/ 8686 h 10000"/>
                <a:gd name="connsiteX66" fmla="*/ 7810 w 10000"/>
                <a:gd name="connsiteY66" fmla="*/ 8471 h 10000"/>
                <a:gd name="connsiteX67" fmla="*/ 7616 w 10000"/>
                <a:gd name="connsiteY67" fmla="*/ 8608 h 10000"/>
                <a:gd name="connsiteX68" fmla="*/ 7442 w 10000"/>
                <a:gd name="connsiteY68" fmla="*/ 8745 h 10000"/>
                <a:gd name="connsiteX69" fmla="*/ 7442 w 10000"/>
                <a:gd name="connsiteY69" fmla="*/ 9412 h 10000"/>
                <a:gd name="connsiteX70" fmla="*/ 7287 w 10000"/>
                <a:gd name="connsiteY70" fmla="*/ 9510 h 10000"/>
                <a:gd name="connsiteX71" fmla="*/ 7151 w 10000"/>
                <a:gd name="connsiteY71" fmla="*/ 9569 h 10000"/>
                <a:gd name="connsiteX72" fmla="*/ 6609 w 10000"/>
                <a:gd name="connsiteY72" fmla="*/ 9157 h 10000"/>
                <a:gd name="connsiteX73" fmla="*/ 6395 w 10000"/>
                <a:gd name="connsiteY73" fmla="*/ 9235 h 10000"/>
                <a:gd name="connsiteX74" fmla="*/ 6279 w 10000"/>
                <a:gd name="connsiteY74" fmla="*/ 9275 h 10000"/>
                <a:gd name="connsiteX75" fmla="*/ 6163 w 10000"/>
                <a:gd name="connsiteY75" fmla="*/ 9314 h 10000"/>
                <a:gd name="connsiteX76" fmla="*/ 5950 w 10000"/>
                <a:gd name="connsiteY76" fmla="*/ 9961 h 10000"/>
                <a:gd name="connsiteX77" fmla="*/ 5640 w 10000"/>
                <a:gd name="connsiteY77" fmla="*/ 10000 h 10000"/>
                <a:gd name="connsiteX78" fmla="*/ 5252 w 10000"/>
                <a:gd name="connsiteY78" fmla="*/ 9451 h 10000"/>
                <a:gd name="connsiteX79" fmla="*/ 5019 w 10000"/>
                <a:gd name="connsiteY79" fmla="*/ 9451 h 10000"/>
                <a:gd name="connsiteX80" fmla="*/ 4767 w 10000"/>
                <a:gd name="connsiteY80" fmla="*/ 9451 h 10000"/>
                <a:gd name="connsiteX81" fmla="*/ 4380 w 10000"/>
                <a:gd name="connsiteY81" fmla="*/ 10000 h 10000"/>
                <a:gd name="connsiteX82" fmla="*/ 4225 w 10000"/>
                <a:gd name="connsiteY82" fmla="*/ 9980 h 10000"/>
                <a:gd name="connsiteX83" fmla="*/ 4070 w 10000"/>
                <a:gd name="connsiteY83" fmla="*/ 9961 h 10000"/>
                <a:gd name="connsiteX84" fmla="*/ 3857 w 10000"/>
                <a:gd name="connsiteY84" fmla="*/ 9314 h 10000"/>
                <a:gd name="connsiteX85" fmla="*/ 3624 w 10000"/>
                <a:gd name="connsiteY85" fmla="*/ 9235 h 10000"/>
                <a:gd name="connsiteX86" fmla="*/ 3508 w 10000"/>
                <a:gd name="connsiteY86" fmla="*/ 9216 h 10000"/>
                <a:gd name="connsiteX87" fmla="*/ 3411 w 10000"/>
                <a:gd name="connsiteY87" fmla="*/ 9157 h 10000"/>
                <a:gd name="connsiteX88" fmla="*/ 2868 w 10000"/>
                <a:gd name="connsiteY88" fmla="*/ 9569 h 10000"/>
                <a:gd name="connsiteX89" fmla="*/ 2733 w 10000"/>
                <a:gd name="connsiteY89" fmla="*/ 9510 h 10000"/>
                <a:gd name="connsiteX90" fmla="*/ 2578 w 10000"/>
                <a:gd name="connsiteY90" fmla="*/ 9412 h 10000"/>
                <a:gd name="connsiteX91" fmla="*/ 2597 w 10000"/>
                <a:gd name="connsiteY91" fmla="*/ 8745 h 10000"/>
                <a:gd name="connsiteX92" fmla="*/ 2403 w 10000"/>
                <a:gd name="connsiteY92" fmla="*/ 8608 h 10000"/>
                <a:gd name="connsiteX93" fmla="*/ 2306 w 10000"/>
                <a:gd name="connsiteY93" fmla="*/ 8529 h 10000"/>
                <a:gd name="connsiteX94" fmla="*/ 2209 w 10000"/>
                <a:gd name="connsiteY94" fmla="*/ 8471 h 10000"/>
                <a:gd name="connsiteX95" fmla="*/ 1570 w 10000"/>
                <a:gd name="connsiteY95" fmla="*/ 8686 h 10000"/>
                <a:gd name="connsiteX96" fmla="*/ 1453 w 10000"/>
                <a:gd name="connsiteY96" fmla="*/ 8569 h 10000"/>
                <a:gd name="connsiteX97" fmla="*/ 1337 w 10000"/>
                <a:gd name="connsiteY97" fmla="*/ 8451 h 10000"/>
                <a:gd name="connsiteX98" fmla="*/ 1550 w 10000"/>
                <a:gd name="connsiteY98" fmla="*/ 7804 h 10000"/>
                <a:gd name="connsiteX99" fmla="*/ 1415 w 10000"/>
                <a:gd name="connsiteY99" fmla="*/ 7627 h 10000"/>
                <a:gd name="connsiteX100" fmla="*/ 1279 w 10000"/>
                <a:gd name="connsiteY100" fmla="*/ 7412 h 10000"/>
                <a:gd name="connsiteX101" fmla="*/ 601 w 10000"/>
                <a:gd name="connsiteY101" fmla="*/ 7431 h 10000"/>
                <a:gd name="connsiteX102" fmla="*/ 523 w 10000"/>
                <a:gd name="connsiteY102" fmla="*/ 7294 h 10000"/>
                <a:gd name="connsiteX103" fmla="*/ 446 w 10000"/>
                <a:gd name="connsiteY103" fmla="*/ 7157 h 10000"/>
                <a:gd name="connsiteX104" fmla="*/ 853 w 10000"/>
                <a:gd name="connsiteY104" fmla="*/ 6608 h 10000"/>
                <a:gd name="connsiteX105" fmla="*/ 775 w 10000"/>
                <a:gd name="connsiteY105" fmla="*/ 6392 h 10000"/>
                <a:gd name="connsiteX106" fmla="*/ 756 w 10000"/>
                <a:gd name="connsiteY106" fmla="*/ 6275 h 10000"/>
                <a:gd name="connsiteX107" fmla="*/ 717 w 10000"/>
                <a:gd name="connsiteY107" fmla="*/ 6157 h 10000"/>
                <a:gd name="connsiteX108" fmla="*/ 58 w 10000"/>
                <a:gd name="connsiteY108" fmla="*/ 5941 h 10000"/>
                <a:gd name="connsiteX109" fmla="*/ 0 w 10000"/>
                <a:gd name="connsiteY109" fmla="*/ 5627 h 10000"/>
                <a:gd name="connsiteX110" fmla="*/ 581 w 10000"/>
                <a:gd name="connsiteY110" fmla="*/ 5235 h 10000"/>
                <a:gd name="connsiteX111" fmla="*/ 562 w 10000"/>
                <a:gd name="connsiteY111" fmla="*/ 5000 h 10000"/>
                <a:gd name="connsiteX112" fmla="*/ 581 w 10000"/>
                <a:gd name="connsiteY112" fmla="*/ 4765 h 10000"/>
                <a:gd name="connsiteX113" fmla="*/ 0 w 10000"/>
                <a:gd name="connsiteY113" fmla="*/ 4392 h 10000"/>
                <a:gd name="connsiteX114" fmla="*/ 19 w 10000"/>
                <a:gd name="connsiteY114" fmla="*/ 4216 h 10000"/>
                <a:gd name="connsiteX115" fmla="*/ 58 w 10000"/>
                <a:gd name="connsiteY115" fmla="*/ 4059 h 10000"/>
                <a:gd name="connsiteX116" fmla="*/ 717 w 10000"/>
                <a:gd name="connsiteY116" fmla="*/ 3863 h 10000"/>
                <a:gd name="connsiteX117" fmla="*/ 775 w 10000"/>
                <a:gd name="connsiteY117" fmla="*/ 3627 h 10000"/>
                <a:gd name="connsiteX118" fmla="*/ 814 w 10000"/>
                <a:gd name="connsiteY118" fmla="*/ 3510 h 10000"/>
                <a:gd name="connsiteX119" fmla="*/ 853 w 10000"/>
                <a:gd name="connsiteY119" fmla="*/ 3392 h 10000"/>
                <a:gd name="connsiteX120" fmla="*/ 446 w 10000"/>
                <a:gd name="connsiteY120" fmla="*/ 2863 h 10000"/>
                <a:gd name="connsiteX121" fmla="*/ 523 w 10000"/>
                <a:gd name="connsiteY121" fmla="*/ 2706 h 10000"/>
                <a:gd name="connsiteX122" fmla="*/ 601 w 10000"/>
                <a:gd name="connsiteY122" fmla="*/ 2588 h 10000"/>
                <a:gd name="connsiteX123" fmla="*/ 1279 w 10000"/>
                <a:gd name="connsiteY123" fmla="*/ 2588 h 10000"/>
                <a:gd name="connsiteX0" fmla="*/ 1570 w 10000"/>
                <a:gd name="connsiteY0" fmla="*/ 1333 h 10000"/>
                <a:gd name="connsiteX1" fmla="*/ 2209 w 10000"/>
                <a:gd name="connsiteY1" fmla="*/ 1549 h 10000"/>
                <a:gd name="connsiteX2" fmla="*/ 2403 w 10000"/>
                <a:gd name="connsiteY2" fmla="*/ 1412 h 10000"/>
                <a:gd name="connsiteX3" fmla="*/ 2597 w 10000"/>
                <a:gd name="connsiteY3" fmla="*/ 1275 h 10000"/>
                <a:gd name="connsiteX4" fmla="*/ 2578 w 10000"/>
                <a:gd name="connsiteY4" fmla="*/ 588 h 10000"/>
                <a:gd name="connsiteX5" fmla="*/ 2733 w 10000"/>
                <a:gd name="connsiteY5" fmla="*/ 510 h 10000"/>
                <a:gd name="connsiteX6" fmla="*/ 2868 w 10000"/>
                <a:gd name="connsiteY6" fmla="*/ 451 h 10000"/>
                <a:gd name="connsiteX7" fmla="*/ 3411 w 10000"/>
                <a:gd name="connsiteY7" fmla="*/ 843 h 10000"/>
                <a:gd name="connsiteX8" fmla="*/ 3624 w 10000"/>
                <a:gd name="connsiteY8" fmla="*/ 765 h 10000"/>
                <a:gd name="connsiteX9" fmla="*/ 3740 w 10000"/>
                <a:gd name="connsiteY9" fmla="*/ 725 h 10000"/>
                <a:gd name="connsiteX10" fmla="*/ 3857 w 10000"/>
                <a:gd name="connsiteY10" fmla="*/ 706 h 10000"/>
                <a:gd name="connsiteX11" fmla="*/ 4070 w 10000"/>
                <a:gd name="connsiteY11" fmla="*/ 59 h 10000"/>
                <a:gd name="connsiteX12" fmla="*/ 4380 w 10000"/>
                <a:gd name="connsiteY12" fmla="*/ 0 h 10000"/>
                <a:gd name="connsiteX13" fmla="*/ 4767 w 10000"/>
                <a:gd name="connsiteY13" fmla="*/ 569 h 10000"/>
                <a:gd name="connsiteX14" fmla="*/ 5019 w 10000"/>
                <a:gd name="connsiteY14" fmla="*/ 549 h 10000"/>
                <a:gd name="connsiteX15" fmla="*/ 5252 w 10000"/>
                <a:gd name="connsiteY15" fmla="*/ 569 h 10000"/>
                <a:gd name="connsiteX16" fmla="*/ 5640 w 10000"/>
                <a:gd name="connsiteY16" fmla="*/ 0 h 10000"/>
                <a:gd name="connsiteX17" fmla="*/ 5795 w 10000"/>
                <a:gd name="connsiteY17" fmla="*/ 20 h 10000"/>
                <a:gd name="connsiteX18" fmla="*/ 5950 w 10000"/>
                <a:gd name="connsiteY18" fmla="*/ 59 h 10000"/>
                <a:gd name="connsiteX19" fmla="*/ 6163 w 10000"/>
                <a:gd name="connsiteY19" fmla="*/ 706 h 10000"/>
                <a:gd name="connsiteX20" fmla="*/ 6395 w 10000"/>
                <a:gd name="connsiteY20" fmla="*/ 765 h 10000"/>
                <a:gd name="connsiteX21" fmla="*/ 6492 w 10000"/>
                <a:gd name="connsiteY21" fmla="*/ 804 h 10000"/>
                <a:gd name="connsiteX22" fmla="*/ 6609 w 10000"/>
                <a:gd name="connsiteY22" fmla="*/ 843 h 10000"/>
                <a:gd name="connsiteX23" fmla="*/ 7151 w 10000"/>
                <a:gd name="connsiteY23" fmla="*/ 451 h 10000"/>
                <a:gd name="connsiteX24" fmla="*/ 7287 w 10000"/>
                <a:gd name="connsiteY24" fmla="*/ 510 h 10000"/>
                <a:gd name="connsiteX25" fmla="*/ 7442 w 10000"/>
                <a:gd name="connsiteY25" fmla="*/ 588 h 10000"/>
                <a:gd name="connsiteX26" fmla="*/ 7442 w 10000"/>
                <a:gd name="connsiteY26" fmla="*/ 1275 h 10000"/>
                <a:gd name="connsiteX27" fmla="*/ 7616 w 10000"/>
                <a:gd name="connsiteY27" fmla="*/ 1412 h 10000"/>
                <a:gd name="connsiteX28" fmla="*/ 7713 w 10000"/>
                <a:gd name="connsiteY28" fmla="*/ 1471 h 10000"/>
                <a:gd name="connsiteX29" fmla="*/ 7810 w 10000"/>
                <a:gd name="connsiteY29" fmla="*/ 1549 h 10000"/>
                <a:gd name="connsiteX30" fmla="*/ 8450 w 10000"/>
                <a:gd name="connsiteY30" fmla="*/ 1333 h 10000"/>
                <a:gd name="connsiteX31" fmla="*/ 8566 w 10000"/>
                <a:gd name="connsiteY31" fmla="*/ 1451 h 10000"/>
                <a:gd name="connsiteX32" fmla="*/ 8682 w 10000"/>
                <a:gd name="connsiteY32" fmla="*/ 1569 h 10000"/>
                <a:gd name="connsiteX33" fmla="*/ 8469 w 10000"/>
                <a:gd name="connsiteY33" fmla="*/ 2216 h 10000"/>
                <a:gd name="connsiteX34" fmla="*/ 8605 w 10000"/>
                <a:gd name="connsiteY34" fmla="*/ 2392 h 10000"/>
                <a:gd name="connsiteX35" fmla="*/ 8740 w 10000"/>
                <a:gd name="connsiteY35" fmla="*/ 2588 h 10000"/>
                <a:gd name="connsiteX36" fmla="*/ 9419 w 10000"/>
                <a:gd name="connsiteY36" fmla="*/ 2588 h 10000"/>
                <a:gd name="connsiteX37" fmla="*/ 9496 w 10000"/>
                <a:gd name="connsiteY37" fmla="*/ 2706 h 10000"/>
                <a:gd name="connsiteX38" fmla="*/ 9574 w 10000"/>
                <a:gd name="connsiteY38" fmla="*/ 2863 h 10000"/>
                <a:gd name="connsiteX39" fmla="*/ 9167 w 10000"/>
                <a:gd name="connsiteY39" fmla="*/ 3392 h 10000"/>
                <a:gd name="connsiteX40" fmla="*/ 9244 w 10000"/>
                <a:gd name="connsiteY40" fmla="*/ 3627 h 10000"/>
                <a:gd name="connsiteX41" fmla="*/ 9283 w 10000"/>
                <a:gd name="connsiteY41" fmla="*/ 3745 h 10000"/>
                <a:gd name="connsiteX42" fmla="*/ 9302 w 10000"/>
                <a:gd name="connsiteY42" fmla="*/ 3863 h 10000"/>
                <a:gd name="connsiteX43" fmla="*/ 9961 w 10000"/>
                <a:gd name="connsiteY43" fmla="*/ 4059 h 10000"/>
                <a:gd name="connsiteX44" fmla="*/ 10000 w 10000"/>
                <a:gd name="connsiteY44" fmla="*/ 4392 h 10000"/>
                <a:gd name="connsiteX45" fmla="*/ 9438 w 10000"/>
                <a:gd name="connsiteY45" fmla="*/ 4765 h 10000"/>
                <a:gd name="connsiteX46" fmla="*/ 9457 w 10000"/>
                <a:gd name="connsiteY46" fmla="*/ 5000 h 10000"/>
                <a:gd name="connsiteX47" fmla="*/ 9438 w 10000"/>
                <a:gd name="connsiteY47" fmla="*/ 5235 h 10000"/>
                <a:gd name="connsiteX48" fmla="*/ 10000 w 10000"/>
                <a:gd name="connsiteY48" fmla="*/ 5627 h 10000"/>
                <a:gd name="connsiteX49" fmla="*/ 9981 w 10000"/>
                <a:gd name="connsiteY49" fmla="*/ 5784 h 10000"/>
                <a:gd name="connsiteX50" fmla="*/ 9961 w 10000"/>
                <a:gd name="connsiteY50" fmla="*/ 5941 h 10000"/>
                <a:gd name="connsiteX51" fmla="*/ 9302 w 10000"/>
                <a:gd name="connsiteY51" fmla="*/ 6157 h 10000"/>
                <a:gd name="connsiteX52" fmla="*/ 9244 w 10000"/>
                <a:gd name="connsiteY52" fmla="*/ 6392 h 10000"/>
                <a:gd name="connsiteX53" fmla="*/ 9205 w 10000"/>
                <a:gd name="connsiteY53" fmla="*/ 6490 h 10000"/>
                <a:gd name="connsiteX54" fmla="*/ 9167 w 10000"/>
                <a:gd name="connsiteY54" fmla="*/ 6608 h 10000"/>
                <a:gd name="connsiteX55" fmla="*/ 9574 w 10000"/>
                <a:gd name="connsiteY55" fmla="*/ 7157 h 10000"/>
                <a:gd name="connsiteX56" fmla="*/ 9496 w 10000"/>
                <a:gd name="connsiteY56" fmla="*/ 7294 h 10000"/>
                <a:gd name="connsiteX57" fmla="*/ 9419 w 10000"/>
                <a:gd name="connsiteY57" fmla="*/ 7431 h 10000"/>
                <a:gd name="connsiteX58" fmla="*/ 8740 w 10000"/>
                <a:gd name="connsiteY58" fmla="*/ 7412 h 10000"/>
                <a:gd name="connsiteX59" fmla="*/ 8605 w 10000"/>
                <a:gd name="connsiteY59" fmla="*/ 7627 h 10000"/>
                <a:gd name="connsiteX60" fmla="*/ 8547 w 10000"/>
                <a:gd name="connsiteY60" fmla="*/ 7706 h 10000"/>
                <a:gd name="connsiteX61" fmla="*/ 8469 w 10000"/>
                <a:gd name="connsiteY61" fmla="*/ 7804 h 10000"/>
                <a:gd name="connsiteX62" fmla="*/ 8682 w 10000"/>
                <a:gd name="connsiteY62" fmla="*/ 8451 h 10000"/>
                <a:gd name="connsiteX63" fmla="*/ 8566 w 10000"/>
                <a:gd name="connsiteY63" fmla="*/ 8569 h 10000"/>
                <a:gd name="connsiteX64" fmla="*/ 8450 w 10000"/>
                <a:gd name="connsiteY64" fmla="*/ 8686 h 10000"/>
                <a:gd name="connsiteX65" fmla="*/ 7810 w 10000"/>
                <a:gd name="connsiteY65" fmla="*/ 8471 h 10000"/>
                <a:gd name="connsiteX66" fmla="*/ 7616 w 10000"/>
                <a:gd name="connsiteY66" fmla="*/ 8608 h 10000"/>
                <a:gd name="connsiteX67" fmla="*/ 7442 w 10000"/>
                <a:gd name="connsiteY67" fmla="*/ 8745 h 10000"/>
                <a:gd name="connsiteX68" fmla="*/ 7442 w 10000"/>
                <a:gd name="connsiteY68" fmla="*/ 9412 h 10000"/>
                <a:gd name="connsiteX69" fmla="*/ 7287 w 10000"/>
                <a:gd name="connsiteY69" fmla="*/ 9510 h 10000"/>
                <a:gd name="connsiteX70" fmla="*/ 7151 w 10000"/>
                <a:gd name="connsiteY70" fmla="*/ 9569 h 10000"/>
                <a:gd name="connsiteX71" fmla="*/ 6609 w 10000"/>
                <a:gd name="connsiteY71" fmla="*/ 9157 h 10000"/>
                <a:gd name="connsiteX72" fmla="*/ 6395 w 10000"/>
                <a:gd name="connsiteY72" fmla="*/ 9235 h 10000"/>
                <a:gd name="connsiteX73" fmla="*/ 6279 w 10000"/>
                <a:gd name="connsiteY73" fmla="*/ 9275 h 10000"/>
                <a:gd name="connsiteX74" fmla="*/ 6163 w 10000"/>
                <a:gd name="connsiteY74" fmla="*/ 9314 h 10000"/>
                <a:gd name="connsiteX75" fmla="*/ 5950 w 10000"/>
                <a:gd name="connsiteY75" fmla="*/ 9961 h 10000"/>
                <a:gd name="connsiteX76" fmla="*/ 5640 w 10000"/>
                <a:gd name="connsiteY76" fmla="*/ 10000 h 10000"/>
                <a:gd name="connsiteX77" fmla="*/ 5252 w 10000"/>
                <a:gd name="connsiteY77" fmla="*/ 9451 h 10000"/>
                <a:gd name="connsiteX78" fmla="*/ 5019 w 10000"/>
                <a:gd name="connsiteY78" fmla="*/ 9451 h 10000"/>
                <a:gd name="connsiteX79" fmla="*/ 4767 w 10000"/>
                <a:gd name="connsiteY79" fmla="*/ 9451 h 10000"/>
                <a:gd name="connsiteX80" fmla="*/ 4380 w 10000"/>
                <a:gd name="connsiteY80" fmla="*/ 10000 h 10000"/>
                <a:gd name="connsiteX81" fmla="*/ 4225 w 10000"/>
                <a:gd name="connsiteY81" fmla="*/ 9980 h 10000"/>
                <a:gd name="connsiteX82" fmla="*/ 4070 w 10000"/>
                <a:gd name="connsiteY82" fmla="*/ 9961 h 10000"/>
                <a:gd name="connsiteX83" fmla="*/ 3857 w 10000"/>
                <a:gd name="connsiteY83" fmla="*/ 9314 h 10000"/>
                <a:gd name="connsiteX84" fmla="*/ 3624 w 10000"/>
                <a:gd name="connsiteY84" fmla="*/ 9235 h 10000"/>
                <a:gd name="connsiteX85" fmla="*/ 3508 w 10000"/>
                <a:gd name="connsiteY85" fmla="*/ 9216 h 10000"/>
                <a:gd name="connsiteX86" fmla="*/ 3411 w 10000"/>
                <a:gd name="connsiteY86" fmla="*/ 9157 h 10000"/>
                <a:gd name="connsiteX87" fmla="*/ 2868 w 10000"/>
                <a:gd name="connsiteY87" fmla="*/ 9569 h 10000"/>
                <a:gd name="connsiteX88" fmla="*/ 2733 w 10000"/>
                <a:gd name="connsiteY88" fmla="*/ 9510 h 10000"/>
                <a:gd name="connsiteX89" fmla="*/ 2578 w 10000"/>
                <a:gd name="connsiteY89" fmla="*/ 9412 h 10000"/>
                <a:gd name="connsiteX90" fmla="*/ 2597 w 10000"/>
                <a:gd name="connsiteY90" fmla="*/ 8745 h 10000"/>
                <a:gd name="connsiteX91" fmla="*/ 2403 w 10000"/>
                <a:gd name="connsiteY91" fmla="*/ 8608 h 10000"/>
                <a:gd name="connsiteX92" fmla="*/ 2306 w 10000"/>
                <a:gd name="connsiteY92" fmla="*/ 8529 h 10000"/>
                <a:gd name="connsiteX93" fmla="*/ 2209 w 10000"/>
                <a:gd name="connsiteY93" fmla="*/ 8471 h 10000"/>
                <a:gd name="connsiteX94" fmla="*/ 1570 w 10000"/>
                <a:gd name="connsiteY94" fmla="*/ 8686 h 10000"/>
                <a:gd name="connsiteX95" fmla="*/ 1453 w 10000"/>
                <a:gd name="connsiteY95" fmla="*/ 8569 h 10000"/>
                <a:gd name="connsiteX96" fmla="*/ 1337 w 10000"/>
                <a:gd name="connsiteY96" fmla="*/ 8451 h 10000"/>
                <a:gd name="connsiteX97" fmla="*/ 1550 w 10000"/>
                <a:gd name="connsiteY97" fmla="*/ 7804 h 10000"/>
                <a:gd name="connsiteX98" fmla="*/ 1415 w 10000"/>
                <a:gd name="connsiteY98" fmla="*/ 7627 h 10000"/>
                <a:gd name="connsiteX99" fmla="*/ 1279 w 10000"/>
                <a:gd name="connsiteY99" fmla="*/ 7412 h 10000"/>
                <a:gd name="connsiteX100" fmla="*/ 601 w 10000"/>
                <a:gd name="connsiteY100" fmla="*/ 7431 h 10000"/>
                <a:gd name="connsiteX101" fmla="*/ 523 w 10000"/>
                <a:gd name="connsiteY101" fmla="*/ 7294 h 10000"/>
                <a:gd name="connsiteX102" fmla="*/ 446 w 10000"/>
                <a:gd name="connsiteY102" fmla="*/ 7157 h 10000"/>
                <a:gd name="connsiteX103" fmla="*/ 853 w 10000"/>
                <a:gd name="connsiteY103" fmla="*/ 6608 h 10000"/>
                <a:gd name="connsiteX104" fmla="*/ 775 w 10000"/>
                <a:gd name="connsiteY104" fmla="*/ 6392 h 10000"/>
                <a:gd name="connsiteX105" fmla="*/ 756 w 10000"/>
                <a:gd name="connsiteY105" fmla="*/ 6275 h 10000"/>
                <a:gd name="connsiteX106" fmla="*/ 717 w 10000"/>
                <a:gd name="connsiteY106" fmla="*/ 6157 h 10000"/>
                <a:gd name="connsiteX107" fmla="*/ 58 w 10000"/>
                <a:gd name="connsiteY107" fmla="*/ 5941 h 10000"/>
                <a:gd name="connsiteX108" fmla="*/ 0 w 10000"/>
                <a:gd name="connsiteY108" fmla="*/ 5627 h 10000"/>
                <a:gd name="connsiteX109" fmla="*/ 581 w 10000"/>
                <a:gd name="connsiteY109" fmla="*/ 5235 h 10000"/>
                <a:gd name="connsiteX110" fmla="*/ 562 w 10000"/>
                <a:gd name="connsiteY110" fmla="*/ 5000 h 10000"/>
                <a:gd name="connsiteX111" fmla="*/ 581 w 10000"/>
                <a:gd name="connsiteY111" fmla="*/ 4765 h 10000"/>
                <a:gd name="connsiteX112" fmla="*/ 0 w 10000"/>
                <a:gd name="connsiteY112" fmla="*/ 4392 h 10000"/>
                <a:gd name="connsiteX113" fmla="*/ 19 w 10000"/>
                <a:gd name="connsiteY113" fmla="*/ 4216 h 10000"/>
                <a:gd name="connsiteX114" fmla="*/ 58 w 10000"/>
                <a:gd name="connsiteY114" fmla="*/ 4059 h 10000"/>
                <a:gd name="connsiteX115" fmla="*/ 717 w 10000"/>
                <a:gd name="connsiteY115" fmla="*/ 3863 h 10000"/>
                <a:gd name="connsiteX116" fmla="*/ 775 w 10000"/>
                <a:gd name="connsiteY116" fmla="*/ 3627 h 10000"/>
                <a:gd name="connsiteX117" fmla="*/ 814 w 10000"/>
                <a:gd name="connsiteY117" fmla="*/ 3510 h 10000"/>
                <a:gd name="connsiteX118" fmla="*/ 853 w 10000"/>
                <a:gd name="connsiteY118" fmla="*/ 3392 h 10000"/>
                <a:gd name="connsiteX119" fmla="*/ 446 w 10000"/>
                <a:gd name="connsiteY119" fmla="*/ 2863 h 10000"/>
                <a:gd name="connsiteX120" fmla="*/ 523 w 10000"/>
                <a:gd name="connsiteY120" fmla="*/ 2706 h 10000"/>
                <a:gd name="connsiteX121" fmla="*/ 601 w 10000"/>
                <a:gd name="connsiteY121" fmla="*/ 2588 h 10000"/>
                <a:gd name="connsiteX122" fmla="*/ 1279 w 10000"/>
                <a:gd name="connsiteY122" fmla="*/ 2588 h 10000"/>
                <a:gd name="connsiteX0" fmla="*/ 2209 w 10000"/>
                <a:gd name="connsiteY0" fmla="*/ 1549 h 10000"/>
                <a:gd name="connsiteX1" fmla="*/ 2403 w 10000"/>
                <a:gd name="connsiteY1" fmla="*/ 1412 h 10000"/>
                <a:gd name="connsiteX2" fmla="*/ 2597 w 10000"/>
                <a:gd name="connsiteY2" fmla="*/ 1275 h 10000"/>
                <a:gd name="connsiteX3" fmla="*/ 2578 w 10000"/>
                <a:gd name="connsiteY3" fmla="*/ 588 h 10000"/>
                <a:gd name="connsiteX4" fmla="*/ 2733 w 10000"/>
                <a:gd name="connsiteY4" fmla="*/ 510 h 10000"/>
                <a:gd name="connsiteX5" fmla="*/ 2868 w 10000"/>
                <a:gd name="connsiteY5" fmla="*/ 451 h 10000"/>
                <a:gd name="connsiteX6" fmla="*/ 3411 w 10000"/>
                <a:gd name="connsiteY6" fmla="*/ 843 h 10000"/>
                <a:gd name="connsiteX7" fmla="*/ 3624 w 10000"/>
                <a:gd name="connsiteY7" fmla="*/ 765 h 10000"/>
                <a:gd name="connsiteX8" fmla="*/ 3740 w 10000"/>
                <a:gd name="connsiteY8" fmla="*/ 725 h 10000"/>
                <a:gd name="connsiteX9" fmla="*/ 3857 w 10000"/>
                <a:gd name="connsiteY9" fmla="*/ 706 h 10000"/>
                <a:gd name="connsiteX10" fmla="*/ 4070 w 10000"/>
                <a:gd name="connsiteY10" fmla="*/ 59 h 10000"/>
                <a:gd name="connsiteX11" fmla="*/ 4380 w 10000"/>
                <a:gd name="connsiteY11" fmla="*/ 0 h 10000"/>
                <a:gd name="connsiteX12" fmla="*/ 4767 w 10000"/>
                <a:gd name="connsiteY12" fmla="*/ 569 h 10000"/>
                <a:gd name="connsiteX13" fmla="*/ 5019 w 10000"/>
                <a:gd name="connsiteY13" fmla="*/ 549 h 10000"/>
                <a:gd name="connsiteX14" fmla="*/ 5252 w 10000"/>
                <a:gd name="connsiteY14" fmla="*/ 569 h 10000"/>
                <a:gd name="connsiteX15" fmla="*/ 5640 w 10000"/>
                <a:gd name="connsiteY15" fmla="*/ 0 h 10000"/>
                <a:gd name="connsiteX16" fmla="*/ 5795 w 10000"/>
                <a:gd name="connsiteY16" fmla="*/ 20 h 10000"/>
                <a:gd name="connsiteX17" fmla="*/ 5950 w 10000"/>
                <a:gd name="connsiteY17" fmla="*/ 59 h 10000"/>
                <a:gd name="connsiteX18" fmla="*/ 6163 w 10000"/>
                <a:gd name="connsiteY18" fmla="*/ 706 h 10000"/>
                <a:gd name="connsiteX19" fmla="*/ 6395 w 10000"/>
                <a:gd name="connsiteY19" fmla="*/ 765 h 10000"/>
                <a:gd name="connsiteX20" fmla="*/ 6492 w 10000"/>
                <a:gd name="connsiteY20" fmla="*/ 804 h 10000"/>
                <a:gd name="connsiteX21" fmla="*/ 6609 w 10000"/>
                <a:gd name="connsiteY21" fmla="*/ 843 h 10000"/>
                <a:gd name="connsiteX22" fmla="*/ 7151 w 10000"/>
                <a:gd name="connsiteY22" fmla="*/ 451 h 10000"/>
                <a:gd name="connsiteX23" fmla="*/ 7287 w 10000"/>
                <a:gd name="connsiteY23" fmla="*/ 510 h 10000"/>
                <a:gd name="connsiteX24" fmla="*/ 7442 w 10000"/>
                <a:gd name="connsiteY24" fmla="*/ 588 h 10000"/>
                <a:gd name="connsiteX25" fmla="*/ 7442 w 10000"/>
                <a:gd name="connsiteY25" fmla="*/ 1275 h 10000"/>
                <a:gd name="connsiteX26" fmla="*/ 7616 w 10000"/>
                <a:gd name="connsiteY26" fmla="*/ 1412 h 10000"/>
                <a:gd name="connsiteX27" fmla="*/ 7713 w 10000"/>
                <a:gd name="connsiteY27" fmla="*/ 1471 h 10000"/>
                <a:gd name="connsiteX28" fmla="*/ 7810 w 10000"/>
                <a:gd name="connsiteY28" fmla="*/ 1549 h 10000"/>
                <a:gd name="connsiteX29" fmla="*/ 8450 w 10000"/>
                <a:gd name="connsiteY29" fmla="*/ 1333 h 10000"/>
                <a:gd name="connsiteX30" fmla="*/ 8566 w 10000"/>
                <a:gd name="connsiteY30" fmla="*/ 1451 h 10000"/>
                <a:gd name="connsiteX31" fmla="*/ 8682 w 10000"/>
                <a:gd name="connsiteY31" fmla="*/ 1569 h 10000"/>
                <a:gd name="connsiteX32" fmla="*/ 8469 w 10000"/>
                <a:gd name="connsiteY32" fmla="*/ 2216 h 10000"/>
                <a:gd name="connsiteX33" fmla="*/ 8605 w 10000"/>
                <a:gd name="connsiteY33" fmla="*/ 2392 h 10000"/>
                <a:gd name="connsiteX34" fmla="*/ 8740 w 10000"/>
                <a:gd name="connsiteY34" fmla="*/ 2588 h 10000"/>
                <a:gd name="connsiteX35" fmla="*/ 9419 w 10000"/>
                <a:gd name="connsiteY35" fmla="*/ 2588 h 10000"/>
                <a:gd name="connsiteX36" fmla="*/ 9496 w 10000"/>
                <a:gd name="connsiteY36" fmla="*/ 2706 h 10000"/>
                <a:gd name="connsiteX37" fmla="*/ 9574 w 10000"/>
                <a:gd name="connsiteY37" fmla="*/ 2863 h 10000"/>
                <a:gd name="connsiteX38" fmla="*/ 9167 w 10000"/>
                <a:gd name="connsiteY38" fmla="*/ 3392 h 10000"/>
                <a:gd name="connsiteX39" fmla="*/ 9244 w 10000"/>
                <a:gd name="connsiteY39" fmla="*/ 3627 h 10000"/>
                <a:gd name="connsiteX40" fmla="*/ 9283 w 10000"/>
                <a:gd name="connsiteY40" fmla="*/ 3745 h 10000"/>
                <a:gd name="connsiteX41" fmla="*/ 9302 w 10000"/>
                <a:gd name="connsiteY41" fmla="*/ 3863 h 10000"/>
                <a:gd name="connsiteX42" fmla="*/ 9961 w 10000"/>
                <a:gd name="connsiteY42" fmla="*/ 4059 h 10000"/>
                <a:gd name="connsiteX43" fmla="*/ 10000 w 10000"/>
                <a:gd name="connsiteY43" fmla="*/ 4392 h 10000"/>
                <a:gd name="connsiteX44" fmla="*/ 9438 w 10000"/>
                <a:gd name="connsiteY44" fmla="*/ 4765 h 10000"/>
                <a:gd name="connsiteX45" fmla="*/ 9457 w 10000"/>
                <a:gd name="connsiteY45" fmla="*/ 5000 h 10000"/>
                <a:gd name="connsiteX46" fmla="*/ 9438 w 10000"/>
                <a:gd name="connsiteY46" fmla="*/ 5235 h 10000"/>
                <a:gd name="connsiteX47" fmla="*/ 10000 w 10000"/>
                <a:gd name="connsiteY47" fmla="*/ 5627 h 10000"/>
                <a:gd name="connsiteX48" fmla="*/ 9981 w 10000"/>
                <a:gd name="connsiteY48" fmla="*/ 5784 h 10000"/>
                <a:gd name="connsiteX49" fmla="*/ 9961 w 10000"/>
                <a:gd name="connsiteY49" fmla="*/ 5941 h 10000"/>
                <a:gd name="connsiteX50" fmla="*/ 9302 w 10000"/>
                <a:gd name="connsiteY50" fmla="*/ 6157 h 10000"/>
                <a:gd name="connsiteX51" fmla="*/ 9244 w 10000"/>
                <a:gd name="connsiteY51" fmla="*/ 6392 h 10000"/>
                <a:gd name="connsiteX52" fmla="*/ 9205 w 10000"/>
                <a:gd name="connsiteY52" fmla="*/ 6490 h 10000"/>
                <a:gd name="connsiteX53" fmla="*/ 9167 w 10000"/>
                <a:gd name="connsiteY53" fmla="*/ 6608 h 10000"/>
                <a:gd name="connsiteX54" fmla="*/ 9574 w 10000"/>
                <a:gd name="connsiteY54" fmla="*/ 7157 h 10000"/>
                <a:gd name="connsiteX55" fmla="*/ 9496 w 10000"/>
                <a:gd name="connsiteY55" fmla="*/ 7294 h 10000"/>
                <a:gd name="connsiteX56" fmla="*/ 9419 w 10000"/>
                <a:gd name="connsiteY56" fmla="*/ 7431 h 10000"/>
                <a:gd name="connsiteX57" fmla="*/ 8740 w 10000"/>
                <a:gd name="connsiteY57" fmla="*/ 7412 h 10000"/>
                <a:gd name="connsiteX58" fmla="*/ 8605 w 10000"/>
                <a:gd name="connsiteY58" fmla="*/ 7627 h 10000"/>
                <a:gd name="connsiteX59" fmla="*/ 8547 w 10000"/>
                <a:gd name="connsiteY59" fmla="*/ 7706 h 10000"/>
                <a:gd name="connsiteX60" fmla="*/ 8469 w 10000"/>
                <a:gd name="connsiteY60" fmla="*/ 7804 h 10000"/>
                <a:gd name="connsiteX61" fmla="*/ 8682 w 10000"/>
                <a:gd name="connsiteY61" fmla="*/ 8451 h 10000"/>
                <a:gd name="connsiteX62" fmla="*/ 8566 w 10000"/>
                <a:gd name="connsiteY62" fmla="*/ 8569 h 10000"/>
                <a:gd name="connsiteX63" fmla="*/ 8450 w 10000"/>
                <a:gd name="connsiteY63" fmla="*/ 8686 h 10000"/>
                <a:gd name="connsiteX64" fmla="*/ 7810 w 10000"/>
                <a:gd name="connsiteY64" fmla="*/ 8471 h 10000"/>
                <a:gd name="connsiteX65" fmla="*/ 7616 w 10000"/>
                <a:gd name="connsiteY65" fmla="*/ 8608 h 10000"/>
                <a:gd name="connsiteX66" fmla="*/ 7442 w 10000"/>
                <a:gd name="connsiteY66" fmla="*/ 8745 h 10000"/>
                <a:gd name="connsiteX67" fmla="*/ 7442 w 10000"/>
                <a:gd name="connsiteY67" fmla="*/ 9412 h 10000"/>
                <a:gd name="connsiteX68" fmla="*/ 7287 w 10000"/>
                <a:gd name="connsiteY68" fmla="*/ 9510 h 10000"/>
                <a:gd name="connsiteX69" fmla="*/ 7151 w 10000"/>
                <a:gd name="connsiteY69" fmla="*/ 9569 h 10000"/>
                <a:gd name="connsiteX70" fmla="*/ 6609 w 10000"/>
                <a:gd name="connsiteY70" fmla="*/ 9157 h 10000"/>
                <a:gd name="connsiteX71" fmla="*/ 6395 w 10000"/>
                <a:gd name="connsiteY71" fmla="*/ 9235 h 10000"/>
                <a:gd name="connsiteX72" fmla="*/ 6279 w 10000"/>
                <a:gd name="connsiteY72" fmla="*/ 9275 h 10000"/>
                <a:gd name="connsiteX73" fmla="*/ 6163 w 10000"/>
                <a:gd name="connsiteY73" fmla="*/ 9314 h 10000"/>
                <a:gd name="connsiteX74" fmla="*/ 5950 w 10000"/>
                <a:gd name="connsiteY74" fmla="*/ 9961 h 10000"/>
                <a:gd name="connsiteX75" fmla="*/ 5640 w 10000"/>
                <a:gd name="connsiteY75" fmla="*/ 10000 h 10000"/>
                <a:gd name="connsiteX76" fmla="*/ 5252 w 10000"/>
                <a:gd name="connsiteY76" fmla="*/ 9451 h 10000"/>
                <a:gd name="connsiteX77" fmla="*/ 5019 w 10000"/>
                <a:gd name="connsiteY77" fmla="*/ 9451 h 10000"/>
                <a:gd name="connsiteX78" fmla="*/ 4767 w 10000"/>
                <a:gd name="connsiteY78" fmla="*/ 9451 h 10000"/>
                <a:gd name="connsiteX79" fmla="*/ 4380 w 10000"/>
                <a:gd name="connsiteY79" fmla="*/ 10000 h 10000"/>
                <a:gd name="connsiteX80" fmla="*/ 4225 w 10000"/>
                <a:gd name="connsiteY80" fmla="*/ 9980 h 10000"/>
                <a:gd name="connsiteX81" fmla="*/ 4070 w 10000"/>
                <a:gd name="connsiteY81" fmla="*/ 9961 h 10000"/>
                <a:gd name="connsiteX82" fmla="*/ 3857 w 10000"/>
                <a:gd name="connsiteY82" fmla="*/ 9314 h 10000"/>
                <a:gd name="connsiteX83" fmla="*/ 3624 w 10000"/>
                <a:gd name="connsiteY83" fmla="*/ 9235 h 10000"/>
                <a:gd name="connsiteX84" fmla="*/ 3508 w 10000"/>
                <a:gd name="connsiteY84" fmla="*/ 9216 h 10000"/>
                <a:gd name="connsiteX85" fmla="*/ 3411 w 10000"/>
                <a:gd name="connsiteY85" fmla="*/ 9157 h 10000"/>
                <a:gd name="connsiteX86" fmla="*/ 2868 w 10000"/>
                <a:gd name="connsiteY86" fmla="*/ 9569 h 10000"/>
                <a:gd name="connsiteX87" fmla="*/ 2733 w 10000"/>
                <a:gd name="connsiteY87" fmla="*/ 9510 h 10000"/>
                <a:gd name="connsiteX88" fmla="*/ 2578 w 10000"/>
                <a:gd name="connsiteY88" fmla="*/ 9412 h 10000"/>
                <a:gd name="connsiteX89" fmla="*/ 2597 w 10000"/>
                <a:gd name="connsiteY89" fmla="*/ 8745 h 10000"/>
                <a:gd name="connsiteX90" fmla="*/ 2403 w 10000"/>
                <a:gd name="connsiteY90" fmla="*/ 8608 h 10000"/>
                <a:gd name="connsiteX91" fmla="*/ 2306 w 10000"/>
                <a:gd name="connsiteY91" fmla="*/ 8529 h 10000"/>
                <a:gd name="connsiteX92" fmla="*/ 2209 w 10000"/>
                <a:gd name="connsiteY92" fmla="*/ 8471 h 10000"/>
                <a:gd name="connsiteX93" fmla="*/ 1570 w 10000"/>
                <a:gd name="connsiteY93" fmla="*/ 8686 h 10000"/>
                <a:gd name="connsiteX94" fmla="*/ 1453 w 10000"/>
                <a:gd name="connsiteY94" fmla="*/ 8569 h 10000"/>
                <a:gd name="connsiteX95" fmla="*/ 1337 w 10000"/>
                <a:gd name="connsiteY95" fmla="*/ 8451 h 10000"/>
                <a:gd name="connsiteX96" fmla="*/ 1550 w 10000"/>
                <a:gd name="connsiteY96" fmla="*/ 7804 h 10000"/>
                <a:gd name="connsiteX97" fmla="*/ 1415 w 10000"/>
                <a:gd name="connsiteY97" fmla="*/ 7627 h 10000"/>
                <a:gd name="connsiteX98" fmla="*/ 1279 w 10000"/>
                <a:gd name="connsiteY98" fmla="*/ 7412 h 10000"/>
                <a:gd name="connsiteX99" fmla="*/ 601 w 10000"/>
                <a:gd name="connsiteY99" fmla="*/ 7431 h 10000"/>
                <a:gd name="connsiteX100" fmla="*/ 523 w 10000"/>
                <a:gd name="connsiteY100" fmla="*/ 7294 h 10000"/>
                <a:gd name="connsiteX101" fmla="*/ 446 w 10000"/>
                <a:gd name="connsiteY101" fmla="*/ 7157 h 10000"/>
                <a:gd name="connsiteX102" fmla="*/ 853 w 10000"/>
                <a:gd name="connsiteY102" fmla="*/ 6608 h 10000"/>
                <a:gd name="connsiteX103" fmla="*/ 775 w 10000"/>
                <a:gd name="connsiteY103" fmla="*/ 6392 h 10000"/>
                <a:gd name="connsiteX104" fmla="*/ 756 w 10000"/>
                <a:gd name="connsiteY104" fmla="*/ 6275 h 10000"/>
                <a:gd name="connsiteX105" fmla="*/ 717 w 10000"/>
                <a:gd name="connsiteY105" fmla="*/ 6157 h 10000"/>
                <a:gd name="connsiteX106" fmla="*/ 58 w 10000"/>
                <a:gd name="connsiteY106" fmla="*/ 5941 h 10000"/>
                <a:gd name="connsiteX107" fmla="*/ 0 w 10000"/>
                <a:gd name="connsiteY107" fmla="*/ 5627 h 10000"/>
                <a:gd name="connsiteX108" fmla="*/ 581 w 10000"/>
                <a:gd name="connsiteY108" fmla="*/ 5235 h 10000"/>
                <a:gd name="connsiteX109" fmla="*/ 562 w 10000"/>
                <a:gd name="connsiteY109" fmla="*/ 5000 h 10000"/>
                <a:gd name="connsiteX110" fmla="*/ 581 w 10000"/>
                <a:gd name="connsiteY110" fmla="*/ 4765 h 10000"/>
                <a:gd name="connsiteX111" fmla="*/ 0 w 10000"/>
                <a:gd name="connsiteY111" fmla="*/ 4392 h 10000"/>
                <a:gd name="connsiteX112" fmla="*/ 19 w 10000"/>
                <a:gd name="connsiteY112" fmla="*/ 4216 h 10000"/>
                <a:gd name="connsiteX113" fmla="*/ 58 w 10000"/>
                <a:gd name="connsiteY113" fmla="*/ 4059 h 10000"/>
                <a:gd name="connsiteX114" fmla="*/ 717 w 10000"/>
                <a:gd name="connsiteY114" fmla="*/ 3863 h 10000"/>
                <a:gd name="connsiteX115" fmla="*/ 775 w 10000"/>
                <a:gd name="connsiteY115" fmla="*/ 3627 h 10000"/>
                <a:gd name="connsiteX116" fmla="*/ 814 w 10000"/>
                <a:gd name="connsiteY116" fmla="*/ 3510 h 10000"/>
                <a:gd name="connsiteX117" fmla="*/ 853 w 10000"/>
                <a:gd name="connsiteY117" fmla="*/ 3392 h 10000"/>
                <a:gd name="connsiteX118" fmla="*/ 446 w 10000"/>
                <a:gd name="connsiteY118" fmla="*/ 2863 h 10000"/>
                <a:gd name="connsiteX119" fmla="*/ 523 w 10000"/>
                <a:gd name="connsiteY119" fmla="*/ 2706 h 10000"/>
                <a:gd name="connsiteX120" fmla="*/ 601 w 10000"/>
                <a:gd name="connsiteY120" fmla="*/ 2588 h 10000"/>
                <a:gd name="connsiteX121" fmla="*/ 1279 w 10000"/>
                <a:gd name="connsiteY121" fmla="*/ 2588 h 10000"/>
                <a:gd name="connsiteX0" fmla="*/ 2209 w 10000"/>
                <a:gd name="connsiteY0" fmla="*/ 1549 h 10000"/>
                <a:gd name="connsiteX1" fmla="*/ 2597 w 10000"/>
                <a:gd name="connsiteY1" fmla="*/ 1275 h 10000"/>
                <a:gd name="connsiteX2" fmla="*/ 2578 w 10000"/>
                <a:gd name="connsiteY2" fmla="*/ 588 h 10000"/>
                <a:gd name="connsiteX3" fmla="*/ 2733 w 10000"/>
                <a:gd name="connsiteY3" fmla="*/ 510 h 10000"/>
                <a:gd name="connsiteX4" fmla="*/ 2868 w 10000"/>
                <a:gd name="connsiteY4" fmla="*/ 451 h 10000"/>
                <a:gd name="connsiteX5" fmla="*/ 3411 w 10000"/>
                <a:gd name="connsiteY5" fmla="*/ 843 h 10000"/>
                <a:gd name="connsiteX6" fmla="*/ 3624 w 10000"/>
                <a:gd name="connsiteY6" fmla="*/ 765 h 10000"/>
                <a:gd name="connsiteX7" fmla="*/ 3740 w 10000"/>
                <a:gd name="connsiteY7" fmla="*/ 725 h 10000"/>
                <a:gd name="connsiteX8" fmla="*/ 3857 w 10000"/>
                <a:gd name="connsiteY8" fmla="*/ 706 h 10000"/>
                <a:gd name="connsiteX9" fmla="*/ 4070 w 10000"/>
                <a:gd name="connsiteY9" fmla="*/ 59 h 10000"/>
                <a:gd name="connsiteX10" fmla="*/ 4380 w 10000"/>
                <a:gd name="connsiteY10" fmla="*/ 0 h 10000"/>
                <a:gd name="connsiteX11" fmla="*/ 4767 w 10000"/>
                <a:gd name="connsiteY11" fmla="*/ 569 h 10000"/>
                <a:gd name="connsiteX12" fmla="*/ 5019 w 10000"/>
                <a:gd name="connsiteY12" fmla="*/ 549 h 10000"/>
                <a:gd name="connsiteX13" fmla="*/ 5252 w 10000"/>
                <a:gd name="connsiteY13" fmla="*/ 569 h 10000"/>
                <a:gd name="connsiteX14" fmla="*/ 5640 w 10000"/>
                <a:gd name="connsiteY14" fmla="*/ 0 h 10000"/>
                <a:gd name="connsiteX15" fmla="*/ 5795 w 10000"/>
                <a:gd name="connsiteY15" fmla="*/ 20 h 10000"/>
                <a:gd name="connsiteX16" fmla="*/ 5950 w 10000"/>
                <a:gd name="connsiteY16" fmla="*/ 59 h 10000"/>
                <a:gd name="connsiteX17" fmla="*/ 6163 w 10000"/>
                <a:gd name="connsiteY17" fmla="*/ 706 h 10000"/>
                <a:gd name="connsiteX18" fmla="*/ 6395 w 10000"/>
                <a:gd name="connsiteY18" fmla="*/ 765 h 10000"/>
                <a:gd name="connsiteX19" fmla="*/ 6492 w 10000"/>
                <a:gd name="connsiteY19" fmla="*/ 804 h 10000"/>
                <a:gd name="connsiteX20" fmla="*/ 6609 w 10000"/>
                <a:gd name="connsiteY20" fmla="*/ 843 h 10000"/>
                <a:gd name="connsiteX21" fmla="*/ 7151 w 10000"/>
                <a:gd name="connsiteY21" fmla="*/ 451 h 10000"/>
                <a:gd name="connsiteX22" fmla="*/ 7287 w 10000"/>
                <a:gd name="connsiteY22" fmla="*/ 510 h 10000"/>
                <a:gd name="connsiteX23" fmla="*/ 7442 w 10000"/>
                <a:gd name="connsiteY23" fmla="*/ 588 h 10000"/>
                <a:gd name="connsiteX24" fmla="*/ 7442 w 10000"/>
                <a:gd name="connsiteY24" fmla="*/ 1275 h 10000"/>
                <a:gd name="connsiteX25" fmla="*/ 7616 w 10000"/>
                <a:gd name="connsiteY25" fmla="*/ 1412 h 10000"/>
                <a:gd name="connsiteX26" fmla="*/ 7713 w 10000"/>
                <a:gd name="connsiteY26" fmla="*/ 1471 h 10000"/>
                <a:gd name="connsiteX27" fmla="*/ 7810 w 10000"/>
                <a:gd name="connsiteY27" fmla="*/ 1549 h 10000"/>
                <a:gd name="connsiteX28" fmla="*/ 8450 w 10000"/>
                <a:gd name="connsiteY28" fmla="*/ 1333 h 10000"/>
                <a:gd name="connsiteX29" fmla="*/ 8566 w 10000"/>
                <a:gd name="connsiteY29" fmla="*/ 1451 h 10000"/>
                <a:gd name="connsiteX30" fmla="*/ 8682 w 10000"/>
                <a:gd name="connsiteY30" fmla="*/ 1569 h 10000"/>
                <a:gd name="connsiteX31" fmla="*/ 8469 w 10000"/>
                <a:gd name="connsiteY31" fmla="*/ 2216 h 10000"/>
                <a:gd name="connsiteX32" fmla="*/ 8605 w 10000"/>
                <a:gd name="connsiteY32" fmla="*/ 2392 h 10000"/>
                <a:gd name="connsiteX33" fmla="*/ 8740 w 10000"/>
                <a:gd name="connsiteY33" fmla="*/ 2588 h 10000"/>
                <a:gd name="connsiteX34" fmla="*/ 9419 w 10000"/>
                <a:gd name="connsiteY34" fmla="*/ 2588 h 10000"/>
                <a:gd name="connsiteX35" fmla="*/ 9496 w 10000"/>
                <a:gd name="connsiteY35" fmla="*/ 2706 h 10000"/>
                <a:gd name="connsiteX36" fmla="*/ 9574 w 10000"/>
                <a:gd name="connsiteY36" fmla="*/ 2863 h 10000"/>
                <a:gd name="connsiteX37" fmla="*/ 9167 w 10000"/>
                <a:gd name="connsiteY37" fmla="*/ 3392 h 10000"/>
                <a:gd name="connsiteX38" fmla="*/ 9244 w 10000"/>
                <a:gd name="connsiteY38" fmla="*/ 3627 h 10000"/>
                <a:gd name="connsiteX39" fmla="*/ 9283 w 10000"/>
                <a:gd name="connsiteY39" fmla="*/ 3745 h 10000"/>
                <a:gd name="connsiteX40" fmla="*/ 9302 w 10000"/>
                <a:gd name="connsiteY40" fmla="*/ 3863 h 10000"/>
                <a:gd name="connsiteX41" fmla="*/ 9961 w 10000"/>
                <a:gd name="connsiteY41" fmla="*/ 4059 h 10000"/>
                <a:gd name="connsiteX42" fmla="*/ 10000 w 10000"/>
                <a:gd name="connsiteY42" fmla="*/ 4392 h 10000"/>
                <a:gd name="connsiteX43" fmla="*/ 9438 w 10000"/>
                <a:gd name="connsiteY43" fmla="*/ 4765 h 10000"/>
                <a:gd name="connsiteX44" fmla="*/ 9457 w 10000"/>
                <a:gd name="connsiteY44" fmla="*/ 5000 h 10000"/>
                <a:gd name="connsiteX45" fmla="*/ 9438 w 10000"/>
                <a:gd name="connsiteY45" fmla="*/ 5235 h 10000"/>
                <a:gd name="connsiteX46" fmla="*/ 10000 w 10000"/>
                <a:gd name="connsiteY46" fmla="*/ 5627 h 10000"/>
                <a:gd name="connsiteX47" fmla="*/ 9981 w 10000"/>
                <a:gd name="connsiteY47" fmla="*/ 5784 h 10000"/>
                <a:gd name="connsiteX48" fmla="*/ 9961 w 10000"/>
                <a:gd name="connsiteY48" fmla="*/ 5941 h 10000"/>
                <a:gd name="connsiteX49" fmla="*/ 9302 w 10000"/>
                <a:gd name="connsiteY49" fmla="*/ 6157 h 10000"/>
                <a:gd name="connsiteX50" fmla="*/ 9244 w 10000"/>
                <a:gd name="connsiteY50" fmla="*/ 6392 h 10000"/>
                <a:gd name="connsiteX51" fmla="*/ 9205 w 10000"/>
                <a:gd name="connsiteY51" fmla="*/ 6490 h 10000"/>
                <a:gd name="connsiteX52" fmla="*/ 9167 w 10000"/>
                <a:gd name="connsiteY52" fmla="*/ 6608 h 10000"/>
                <a:gd name="connsiteX53" fmla="*/ 9574 w 10000"/>
                <a:gd name="connsiteY53" fmla="*/ 7157 h 10000"/>
                <a:gd name="connsiteX54" fmla="*/ 9496 w 10000"/>
                <a:gd name="connsiteY54" fmla="*/ 7294 h 10000"/>
                <a:gd name="connsiteX55" fmla="*/ 9419 w 10000"/>
                <a:gd name="connsiteY55" fmla="*/ 7431 h 10000"/>
                <a:gd name="connsiteX56" fmla="*/ 8740 w 10000"/>
                <a:gd name="connsiteY56" fmla="*/ 7412 h 10000"/>
                <a:gd name="connsiteX57" fmla="*/ 8605 w 10000"/>
                <a:gd name="connsiteY57" fmla="*/ 7627 h 10000"/>
                <a:gd name="connsiteX58" fmla="*/ 8547 w 10000"/>
                <a:gd name="connsiteY58" fmla="*/ 7706 h 10000"/>
                <a:gd name="connsiteX59" fmla="*/ 8469 w 10000"/>
                <a:gd name="connsiteY59" fmla="*/ 7804 h 10000"/>
                <a:gd name="connsiteX60" fmla="*/ 8682 w 10000"/>
                <a:gd name="connsiteY60" fmla="*/ 8451 h 10000"/>
                <a:gd name="connsiteX61" fmla="*/ 8566 w 10000"/>
                <a:gd name="connsiteY61" fmla="*/ 8569 h 10000"/>
                <a:gd name="connsiteX62" fmla="*/ 8450 w 10000"/>
                <a:gd name="connsiteY62" fmla="*/ 8686 h 10000"/>
                <a:gd name="connsiteX63" fmla="*/ 7810 w 10000"/>
                <a:gd name="connsiteY63" fmla="*/ 8471 h 10000"/>
                <a:gd name="connsiteX64" fmla="*/ 7616 w 10000"/>
                <a:gd name="connsiteY64" fmla="*/ 8608 h 10000"/>
                <a:gd name="connsiteX65" fmla="*/ 7442 w 10000"/>
                <a:gd name="connsiteY65" fmla="*/ 8745 h 10000"/>
                <a:gd name="connsiteX66" fmla="*/ 7442 w 10000"/>
                <a:gd name="connsiteY66" fmla="*/ 9412 h 10000"/>
                <a:gd name="connsiteX67" fmla="*/ 7287 w 10000"/>
                <a:gd name="connsiteY67" fmla="*/ 9510 h 10000"/>
                <a:gd name="connsiteX68" fmla="*/ 7151 w 10000"/>
                <a:gd name="connsiteY68" fmla="*/ 9569 h 10000"/>
                <a:gd name="connsiteX69" fmla="*/ 6609 w 10000"/>
                <a:gd name="connsiteY69" fmla="*/ 9157 h 10000"/>
                <a:gd name="connsiteX70" fmla="*/ 6395 w 10000"/>
                <a:gd name="connsiteY70" fmla="*/ 9235 h 10000"/>
                <a:gd name="connsiteX71" fmla="*/ 6279 w 10000"/>
                <a:gd name="connsiteY71" fmla="*/ 9275 h 10000"/>
                <a:gd name="connsiteX72" fmla="*/ 6163 w 10000"/>
                <a:gd name="connsiteY72" fmla="*/ 9314 h 10000"/>
                <a:gd name="connsiteX73" fmla="*/ 5950 w 10000"/>
                <a:gd name="connsiteY73" fmla="*/ 9961 h 10000"/>
                <a:gd name="connsiteX74" fmla="*/ 5640 w 10000"/>
                <a:gd name="connsiteY74" fmla="*/ 10000 h 10000"/>
                <a:gd name="connsiteX75" fmla="*/ 5252 w 10000"/>
                <a:gd name="connsiteY75" fmla="*/ 9451 h 10000"/>
                <a:gd name="connsiteX76" fmla="*/ 5019 w 10000"/>
                <a:gd name="connsiteY76" fmla="*/ 9451 h 10000"/>
                <a:gd name="connsiteX77" fmla="*/ 4767 w 10000"/>
                <a:gd name="connsiteY77" fmla="*/ 9451 h 10000"/>
                <a:gd name="connsiteX78" fmla="*/ 4380 w 10000"/>
                <a:gd name="connsiteY78" fmla="*/ 10000 h 10000"/>
                <a:gd name="connsiteX79" fmla="*/ 4225 w 10000"/>
                <a:gd name="connsiteY79" fmla="*/ 9980 h 10000"/>
                <a:gd name="connsiteX80" fmla="*/ 4070 w 10000"/>
                <a:gd name="connsiteY80" fmla="*/ 9961 h 10000"/>
                <a:gd name="connsiteX81" fmla="*/ 3857 w 10000"/>
                <a:gd name="connsiteY81" fmla="*/ 9314 h 10000"/>
                <a:gd name="connsiteX82" fmla="*/ 3624 w 10000"/>
                <a:gd name="connsiteY82" fmla="*/ 9235 h 10000"/>
                <a:gd name="connsiteX83" fmla="*/ 3508 w 10000"/>
                <a:gd name="connsiteY83" fmla="*/ 9216 h 10000"/>
                <a:gd name="connsiteX84" fmla="*/ 3411 w 10000"/>
                <a:gd name="connsiteY84" fmla="*/ 9157 h 10000"/>
                <a:gd name="connsiteX85" fmla="*/ 2868 w 10000"/>
                <a:gd name="connsiteY85" fmla="*/ 9569 h 10000"/>
                <a:gd name="connsiteX86" fmla="*/ 2733 w 10000"/>
                <a:gd name="connsiteY86" fmla="*/ 9510 h 10000"/>
                <a:gd name="connsiteX87" fmla="*/ 2578 w 10000"/>
                <a:gd name="connsiteY87" fmla="*/ 9412 h 10000"/>
                <a:gd name="connsiteX88" fmla="*/ 2597 w 10000"/>
                <a:gd name="connsiteY88" fmla="*/ 8745 h 10000"/>
                <a:gd name="connsiteX89" fmla="*/ 2403 w 10000"/>
                <a:gd name="connsiteY89" fmla="*/ 8608 h 10000"/>
                <a:gd name="connsiteX90" fmla="*/ 2306 w 10000"/>
                <a:gd name="connsiteY90" fmla="*/ 8529 h 10000"/>
                <a:gd name="connsiteX91" fmla="*/ 2209 w 10000"/>
                <a:gd name="connsiteY91" fmla="*/ 8471 h 10000"/>
                <a:gd name="connsiteX92" fmla="*/ 1570 w 10000"/>
                <a:gd name="connsiteY92" fmla="*/ 8686 h 10000"/>
                <a:gd name="connsiteX93" fmla="*/ 1453 w 10000"/>
                <a:gd name="connsiteY93" fmla="*/ 8569 h 10000"/>
                <a:gd name="connsiteX94" fmla="*/ 1337 w 10000"/>
                <a:gd name="connsiteY94" fmla="*/ 8451 h 10000"/>
                <a:gd name="connsiteX95" fmla="*/ 1550 w 10000"/>
                <a:gd name="connsiteY95" fmla="*/ 7804 h 10000"/>
                <a:gd name="connsiteX96" fmla="*/ 1415 w 10000"/>
                <a:gd name="connsiteY96" fmla="*/ 7627 h 10000"/>
                <a:gd name="connsiteX97" fmla="*/ 1279 w 10000"/>
                <a:gd name="connsiteY97" fmla="*/ 7412 h 10000"/>
                <a:gd name="connsiteX98" fmla="*/ 601 w 10000"/>
                <a:gd name="connsiteY98" fmla="*/ 7431 h 10000"/>
                <a:gd name="connsiteX99" fmla="*/ 523 w 10000"/>
                <a:gd name="connsiteY99" fmla="*/ 7294 h 10000"/>
                <a:gd name="connsiteX100" fmla="*/ 446 w 10000"/>
                <a:gd name="connsiteY100" fmla="*/ 7157 h 10000"/>
                <a:gd name="connsiteX101" fmla="*/ 853 w 10000"/>
                <a:gd name="connsiteY101" fmla="*/ 6608 h 10000"/>
                <a:gd name="connsiteX102" fmla="*/ 775 w 10000"/>
                <a:gd name="connsiteY102" fmla="*/ 6392 h 10000"/>
                <a:gd name="connsiteX103" fmla="*/ 756 w 10000"/>
                <a:gd name="connsiteY103" fmla="*/ 6275 h 10000"/>
                <a:gd name="connsiteX104" fmla="*/ 717 w 10000"/>
                <a:gd name="connsiteY104" fmla="*/ 6157 h 10000"/>
                <a:gd name="connsiteX105" fmla="*/ 58 w 10000"/>
                <a:gd name="connsiteY105" fmla="*/ 5941 h 10000"/>
                <a:gd name="connsiteX106" fmla="*/ 0 w 10000"/>
                <a:gd name="connsiteY106" fmla="*/ 5627 h 10000"/>
                <a:gd name="connsiteX107" fmla="*/ 581 w 10000"/>
                <a:gd name="connsiteY107" fmla="*/ 5235 h 10000"/>
                <a:gd name="connsiteX108" fmla="*/ 562 w 10000"/>
                <a:gd name="connsiteY108" fmla="*/ 5000 h 10000"/>
                <a:gd name="connsiteX109" fmla="*/ 581 w 10000"/>
                <a:gd name="connsiteY109" fmla="*/ 4765 h 10000"/>
                <a:gd name="connsiteX110" fmla="*/ 0 w 10000"/>
                <a:gd name="connsiteY110" fmla="*/ 4392 h 10000"/>
                <a:gd name="connsiteX111" fmla="*/ 19 w 10000"/>
                <a:gd name="connsiteY111" fmla="*/ 4216 h 10000"/>
                <a:gd name="connsiteX112" fmla="*/ 58 w 10000"/>
                <a:gd name="connsiteY112" fmla="*/ 4059 h 10000"/>
                <a:gd name="connsiteX113" fmla="*/ 717 w 10000"/>
                <a:gd name="connsiteY113" fmla="*/ 3863 h 10000"/>
                <a:gd name="connsiteX114" fmla="*/ 775 w 10000"/>
                <a:gd name="connsiteY114" fmla="*/ 3627 h 10000"/>
                <a:gd name="connsiteX115" fmla="*/ 814 w 10000"/>
                <a:gd name="connsiteY115" fmla="*/ 3510 h 10000"/>
                <a:gd name="connsiteX116" fmla="*/ 853 w 10000"/>
                <a:gd name="connsiteY116" fmla="*/ 3392 h 10000"/>
                <a:gd name="connsiteX117" fmla="*/ 446 w 10000"/>
                <a:gd name="connsiteY117" fmla="*/ 2863 h 10000"/>
                <a:gd name="connsiteX118" fmla="*/ 523 w 10000"/>
                <a:gd name="connsiteY118" fmla="*/ 2706 h 10000"/>
                <a:gd name="connsiteX119" fmla="*/ 601 w 10000"/>
                <a:gd name="connsiteY119" fmla="*/ 2588 h 10000"/>
                <a:gd name="connsiteX120" fmla="*/ 1279 w 10000"/>
                <a:gd name="connsiteY120" fmla="*/ 2588 h 10000"/>
                <a:gd name="connsiteX0" fmla="*/ 2597 w 10000"/>
                <a:gd name="connsiteY0" fmla="*/ 1275 h 10000"/>
                <a:gd name="connsiteX1" fmla="*/ 2578 w 10000"/>
                <a:gd name="connsiteY1" fmla="*/ 588 h 10000"/>
                <a:gd name="connsiteX2" fmla="*/ 2733 w 10000"/>
                <a:gd name="connsiteY2" fmla="*/ 510 h 10000"/>
                <a:gd name="connsiteX3" fmla="*/ 2868 w 10000"/>
                <a:gd name="connsiteY3" fmla="*/ 451 h 10000"/>
                <a:gd name="connsiteX4" fmla="*/ 3411 w 10000"/>
                <a:gd name="connsiteY4" fmla="*/ 843 h 10000"/>
                <a:gd name="connsiteX5" fmla="*/ 3624 w 10000"/>
                <a:gd name="connsiteY5" fmla="*/ 765 h 10000"/>
                <a:gd name="connsiteX6" fmla="*/ 3740 w 10000"/>
                <a:gd name="connsiteY6" fmla="*/ 725 h 10000"/>
                <a:gd name="connsiteX7" fmla="*/ 3857 w 10000"/>
                <a:gd name="connsiteY7" fmla="*/ 706 h 10000"/>
                <a:gd name="connsiteX8" fmla="*/ 4070 w 10000"/>
                <a:gd name="connsiteY8" fmla="*/ 59 h 10000"/>
                <a:gd name="connsiteX9" fmla="*/ 4380 w 10000"/>
                <a:gd name="connsiteY9" fmla="*/ 0 h 10000"/>
                <a:gd name="connsiteX10" fmla="*/ 4767 w 10000"/>
                <a:gd name="connsiteY10" fmla="*/ 569 h 10000"/>
                <a:gd name="connsiteX11" fmla="*/ 5019 w 10000"/>
                <a:gd name="connsiteY11" fmla="*/ 549 h 10000"/>
                <a:gd name="connsiteX12" fmla="*/ 5252 w 10000"/>
                <a:gd name="connsiteY12" fmla="*/ 569 h 10000"/>
                <a:gd name="connsiteX13" fmla="*/ 5640 w 10000"/>
                <a:gd name="connsiteY13" fmla="*/ 0 h 10000"/>
                <a:gd name="connsiteX14" fmla="*/ 5795 w 10000"/>
                <a:gd name="connsiteY14" fmla="*/ 20 h 10000"/>
                <a:gd name="connsiteX15" fmla="*/ 5950 w 10000"/>
                <a:gd name="connsiteY15" fmla="*/ 59 h 10000"/>
                <a:gd name="connsiteX16" fmla="*/ 6163 w 10000"/>
                <a:gd name="connsiteY16" fmla="*/ 706 h 10000"/>
                <a:gd name="connsiteX17" fmla="*/ 6395 w 10000"/>
                <a:gd name="connsiteY17" fmla="*/ 765 h 10000"/>
                <a:gd name="connsiteX18" fmla="*/ 6492 w 10000"/>
                <a:gd name="connsiteY18" fmla="*/ 804 h 10000"/>
                <a:gd name="connsiteX19" fmla="*/ 6609 w 10000"/>
                <a:gd name="connsiteY19" fmla="*/ 843 h 10000"/>
                <a:gd name="connsiteX20" fmla="*/ 7151 w 10000"/>
                <a:gd name="connsiteY20" fmla="*/ 451 h 10000"/>
                <a:gd name="connsiteX21" fmla="*/ 7287 w 10000"/>
                <a:gd name="connsiteY21" fmla="*/ 510 h 10000"/>
                <a:gd name="connsiteX22" fmla="*/ 7442 w 10000"/>
                <a:gd name="connsiteY22" fmla="*/ 588 h 10000"/>
                <a:gd name="connsiteX23" fmla="*/ 7442 w 10000"/>
                <a:gd name="connsiteY23" fmla="*/ 1275 h 10000"/>
                <a:gd name="connsiteX24" fmla="*/ 7616 w 10000"/>
                <a:gd name="connsiteY24" fmla="*/ 1412 h 10000"/>
                <a:gd name="connsiteX25" fmla="*/ 7713 w 10000"/>
                <a:gd name="connsiteY25" fmla="*/ 1471 h 10000"/>
                <a:gd name="connsiteX26" fmla="*/ 7810 w 10000"/>
                <a:gd name="connsiteY26" fmla="*/ 1549 h 10000"/>
                <a:gd name="connsiteX27" fmla="*/ 8450 w 10000"/>
                <a:gd name="connsiteY27" fmla="*/ 1333 h 10000"/>
                <a:gd name="connsiteX28" fmla="*/ 8566 w 10000"/>
                <a:gd name="connsiteY28" fmla="*/ 1451 h 10000"/>
                <a:gd name="connsiteX29" fmla="*/ 8682 w 10000"/>
                <a:gd name="connsiteY29" fmla="*/ 1569 h 10000"/>
                <a:gd name="connsiteX30" fmla="*/ 8469 w 10000"/>
                <a:gd name="connsiteY30" fmla="*/ 2216 h 10000"/>
                <a:gd name="connsiteX31" fmla="*/ 8605 w 10000"/>
                <a:gd name="connsiteY31" fmla="*/ 2392 h 10000"/>
                <a:gd name="connsiteX32" fmla="*/ 8740 w 10000"/>
                <a:gd name="connsiteY32" fmla="*/ 2588 h 10000"/>
                <a:gd name="connsiteX33" fmla="*/ 9419 w 10000"/>
                <a:gd name="connsiteY33" fmla="*/ 2588 h 10000"/>
                <a:gd name="connsiteX34" fmla="*/ 9496 w 10000"/>
                <a:gd name="connsiteY34" fmla="*/ 2706 h 10000"/>
                <a:gd name="connsiteX35" fmla="*/ 9574 w 10000"/>
                <a:gd name="connsiteY35" fmla="*/ 2863 h 10000"/>
                <a:gd name="connsiteX36" fmla="*/ 9167 w 10000"/>
                <a:gd name="connsiteY36" fmla="*/ 3392 h 10000"/>
                <a:gd name="connsiteX37" fmla="*/ 9244 w 10000"/>
                <a:gd name="connsiteY37" fmla="*/ 3627 h 10000"/>
                <a:gd name="connsiteX38" fmla="*/ 9283 w 10000"/>
                <a:gd name="connsiteY38" fmla="*/ 3745 h 10000"/>
                <a:gd name="connsiteX39" fmla="*/ 9302 w 10000"/>
                <a:gd name="connsiteY39" fmla="*/ 3863 h 10000"/>
                <a:gd name="connsiteX40" fmla="*/ 9961 w 10000"/>
                <a:gd name="connsiteY40" fmla="*/ 4059 h 10000"/>
                <a:gd name="connsiteX41" fmla="*/ 10000 w 10000"/>
                <a:gd name="connsiteY41" fmla="*/ 4392 h 10000"/>
                <a:gd name="connsiteX42" fmla="*/ 9438 w 10000"/>
                <a:gd name="connsiteY42" fmla="*/ 4765 h 10000"/>
                <a:gd name="connsiteX43" fmla="*/ 9457 w 10000"/>
                <a:gd name="connsiteY43" fmla="*/ 5000 h 10000"/>
                <a:gd name="connsiteX44" fmla="*/ 9438 w 10000"/>
                <a:gd name="connsiteY44" fmla="*/ 5235 h 10000"/>
                <a:gd name="connsiteX45" fmla="*/ 10000 w 10000"/>
                <a:gd name="connsiteY45" fmla="*/ 5627 h 10000"/>
                <a:gd name="connsiteX46" fmla="*/ 9981 w 10000"/>
                <a:gd name="connsiteY46" fmla="*/ 5784 h 10000"/>
                <a:gd name="connsiteX47" fmla="*/ 9961 w 10000"/>
                <a:gd name="connsiteY47" fmla="*/ 5941 h 10000"/>
                <a:gd name="connsiteX48" fmla="*/ 9302 w 10000"/>
                <a:gd name="connsiteY48" fmla="*/ 6157 h 10000"/>
                <a:gd name="connsiteX49" fmla="*/ 9244 w 10000"/>
                <a:gd name="connsiteY49" fmla="*/ 6392 h 10000"/>
                <a:gd name="connsiteX50" fmla="*/ 9205 w 10000"/>
                <a:gd name="connsiteY50" fmla="*/ 6490 h 10000"/>
                <a:gd name="connsiteX51" fmla="*/ 9167 w 10000"/>
                <a:gd name="connsiteY51" fmla="*/ 6608 h 10000"/>
                <a:gd name="connsiteX52" fmla="*/ 9574 w 10000"/>
                <a:gd name="connsiteY52" fmla="*/ 7157 h 10000"/>
                <a:gd name="connsiteX53" fmla="*/ 9496 w 10000"/>
                <a:gd name="connsiteY53" fmla="*/ 7294 h 10000"/>
                <a:gd name="connsiteX54" fmla="*/ 9419 w 10000"/>
                <a:gd name="connsiteY54" fmla="*/ 7431 h 10000"/>
                <a:gd name="connsiteX55" fmla="*/ 8740 w 10000"/>
                <a:gd name="connsiteY55" fmla="*/ 7412 h 10000"/>
                <a:gd name="connsiteX56" fmla="*/ 8605 w 10000"/>
                <a:gd name="connsiteY56" fmla="*/ 7627 h 10000"/>
                <a:gd name="connsiteX57" fmla="*/ 8547 w 10000"/>
                <a:gd name="connsiteY57" fmla="*/ 7706 h 10000"/>
                <a:gd name="connsiteX58" fmla="*/ 8469 w 10000"/>
                <a:gd name="connsiteY58" fmla="*/ 7804 h 10000"/>
                <a:gd name="connsiteX59" fmla="*/ 8682 w 10000"/>
                <a:gd name="connsiteY59" fmla="*/ 8451 h 10000"/>
                <a:gd name="connsiteX60" fmla="*/ 8566 w 10000"/>
                <a:gd name="connsiteY60" fmla="*/ 8569 h 10000"/>
                <a:gd name="connsiteX61" fmla="*/ 8450 w 10000"/>
                <a:gd name="connsiteY61" fmla="*/ 8686 h 10000"/>
                <a:gd name="connsiteX62" fmla="*/ 7810 w 10000"/>
                <a:gd name="connsiteY62" fmla="*/ 8471 h 10000"/>
                <a:gd name="connsiteX63" fmla="*/ 7616 w 10000"/>
                <a:gd name="connsiteY63" fmla="*/ 8608 h 10000"/>
                <a:gd name="connsiteX64" fmla="*/ 7442 w 10000"/>
                <a:gd name="connsiteY64" fmla="*/ 8745 h 10000"/>
                <a:gd name="connsiteX65" fmla="*/ 7442 w 10000"/>
                <a:gd name="connsiteY65" fmla="*/ 9412 h 10000"/>
                <a:gd name="connsiteX66" fmla="*/ 7287 w 10000"/>
                <a:gd name="connsiteY66" fmla="*/ 9510 h 10000"/>
                <a:gd name="connsiteX67" fmla="*/ 7151 w 10000"/>
                <a:gd name="connsiteY67" fmla="*/ 9569 h 10000"/>
                <a:gd name="connsiteX68" fmla="*/ 6609 w 10000"/>
                <a:gd name="connsiteY68" fmla="*/ 9157 h 10000"/>
                <a:gd name="connsiteX69" fmla="*/ 6395 w 10000"/>
                <a:gd name="connsiteY69" fmla="*/ 9235 h 10000"/>
                <a:gd name="connsiteX70" fmla="*/ 6279 w 10000"/>
                <a:gd name="connsiteY70" fmla="*/ 9275 h 10000"/>
                <a:gd name="connsiteX71" fmla="*/ 6163 w 10000"/>
                <a:gd name="connsiteY71" fmla="*/ 9314 h 10000"/>
                <a:gd name="connsiteX72" fmla="*/ 5950 w 10000"/>
                <a:gd name="connsiteY72" fmla="*/ 9961 h 10000"/>
                <a:gd name="connsiteX73" fmla="*/ 5640 w 10000"/>
                <a:gd name="connsiteY73" fmla="*/ 10000 h 10000"/>
                <a:gd name="connsiteX74" fmla="*/ 5252 w 10000"/>
                <a:gd name="connsiteY74" fmla="*/ 9451 h 10000"/>
                <a:gd name="connsiteX75" fmla="*/ 5019 w 10000"/>
                <a:gd name="connsiteY75" fmla="*/ 9451 h 10000"/>
                <a:gd name="connsiteX76" fmla="*/ 4767 w 10000"/>
                <a:gd name="connsiteY76" fmla="*/ 9451 h 10000"/>
                <a:gd name="connsiteX77" fmla="*/ 4380 w 10000"/>
                <a:gd name="connsiteY77" fmla="*/ 10000 h 10000"/>
                <a:gd name="connsiteX78" fmla="*/ 4225 w 10000"/>
                <a:gd name="connsiteY78" fmla="*/ 9980 h 10000"/>
                <a:gd name="connsiteX79" fmla="*/ 4070 w 10000"/>
                <a:gd name="connsiteY79" fmla="*/ 9961 h 10000"/>
                <a:gd name="connsiteX80" fmla="*/ 3857 w 10000"/>
                <a:gd name="connsiteY80" fmla="*/ 9314 h 10000"/>
                <a:gd name="connsiteX81" fmla="*/ 3624 w 10000"/>
                <a:gd name="connsiteY81" fmla="*/ 9235 h 10000"/>
                <a:gd name="connsiteX82" fmla="*/ 3508 w 10000"/>
                <a:gd name="connsiteY82" fmla="*/ 9216 h 10000"/>
                <a:gd name="connsiteX83" fmla="*/ 3411 w 10000"/>
                <a:gd name="connsiteY83" fmla="*/ 9157 h 10000"/>
                <a:gd name="connsiteX84" fmla="*/ 2868 w 10000"/>
                <a:gd name="connsiteY84" fmla="*/ 9569 h 10000"/>
                <a:gd name="connsiteX85" fmla="*/ 2733 w 10000"/>
                <a:gd name="connsiteY85" fmla="*/ 9510 h 10000"/>
                <a:gd name="connsiteX86" fmla="*/ 2578 w 10000"/>
                <a:gd name="connsiteY86" fmla="*/ 9412 h 10000"/>
                <a:gd name="connsiteX87" fmla="*/ 2597 w 10000"/>
                <a:gd name="connsiteY87" fmla="*/ 8745 h 10000"/>
                <a:gd name="connsiteX88" fmla="*/ 2403 w 10000"/>
                <a:gd name="connsiteY88" fmla="*/ 8608 h 10000"/>
                <a:gd name="connsiteX89" fmla="*/ 2306 w 10000"/>
                <a:gd name="connsiteY89" fmla="*/ 8529 h 10000"/>
                <a:gd name="connsiteX90" fmla="*/ 2209 w 10000"/>
                <a:gd name="connsiteY90" fmla="*/ 8471 h 10000"/>
                <a:gd name="connsiteX91" fmla="*/ 1570 w 10000"/>
                <a:gd name="connsiteY91" fmla="*/ 8686 h 10000"/>
                <a:gd name="connsiteX92" fmla="*/ 1453 w 10000"/>
                <a:gd name="connsiteY92" fmla="*/ 8569 h 10000"/>
                <a:gd name="connsiteX93" fmla="*/ 1337 w 10000"/>
                <a:gd name="connsiteY93" fmla="*/ 8451 h 10000"/>
                <a:gd name="connsiteX94" fmla="*/ 1550 w 10000"/>
                <a:gd name="connsiteY94" fmla="*/ 7804 h 10000"/>
                <a:gd name="connsiteX95" fmla="*/ 1415 w 10000"/>
                <a:gd name="connsiteY95" fmla="*/ 7627 h 10000"/>
                <a:gd name="connsiteX96" fmla="*/ 1279 w 10000"/>
                <a:gd name="connsiteY96" fmla="*/ 7412 h 10000"/>
                <a:gd name="connsiteX97" fmla="*/ 601 w 10000"/>
                <a:gd name="connsiteY97" fmla="*/ 7431 h 10000"/>
                <a:gd name="connsiteX98" fmla="*/ 523 w 10000"/>
                <a:gd name="connsiteY98" fmla="*/ 7294 h 10000"/>
                <a:gd name="connsiteX99" fmla="*/ 446 w 10000"/>
                <a:gd name="connsiteY99" fmla="*/ 7157 h 10000"/>
                <a:gd name="connsiteX100" fmla="*/ 853 w 10000"/>
                <a:gd name="connsiteY100" fmla="*/ 6608 h 10000"/>
                <a:gd name="connsiteX101" fmla="*/ 775 w 10000"/>
                <a:gd name="connsiteY101" fmla="*/ 6392 h 10000"/>
                <a:gd name="connsiteX102" fmla="*/ 756 w 10000"/>
                <a:gd name="connsiteY102" fmla="*/ 6275 h 10000"/>
                <a:gd name="connsiteX103" fmla="*/ 717 w 10000"/>
                <a:gd name="connsiteY103" fmla="*/ 6157 h 10000"/>
                <a:gd name="connsiteX104" fmla="*/ 58 w 10000"/>
                <a:gd name="connsiteY104" fmla="*/ 5941 h 10000"/>
                <a:gd name="connsiteX105" fmla="*/ 0 w 10000"/>
                <a:gd name="connsiteY105" fmla="*/ 5627 h 10000"/>
                <a:gd name="connsiteX106" fmla="*/ 581 w 10000"/>
                <a:gd name="connsiteY106" fmla="*/ 5235 h 10000"/>
                <a:gd name="connsiteX107" fmla="*/ 562 w 10000"/>
                <a:gd name="connsiteY107" fmla="*/ 5000 h 10000"/>
                <a:gd name="connsiteX108" fmla="*/ 581 w 10000"/>
                <a:gd name="connsiteY108" fmla="*/ 4765 h 10000"/>
                <a:gd name="connsiteX109" fmla="*/ 0 w 10000"/>
                <a:gd name="connsiteY109" fmla="*/ 4392 h 10000"/>
                <a:gd name="connsiteX110" fmla="*/ 19 w 10000"/>
                <a:gd name="connsiteY110" fmla="*/ 4216 h 10000"/>
                <a:gd name="connsiteX111" fmla="*/ 58 w 10000"/>
                <a:gd name="connsiteY111" fmla="*/ 4059 h 10000"/>
                <a:gd name="connsiteX112" fmla="*/ 717 w 10000"/>
                <a:gd name="connsiteY112" fmla="*/ 3863 h 10000"/>
                <a:gd name="connsiteX113" fmla="*/ 775 w 10000"/>
                <a:gd name="connsiteY113" fmla="*/ 3627 h 10000"/>
                <a:gd name="connsiteX114" fmla="*/ 814 w 10000"/>
                <a:gd name="connsiteY114" fmla="*/ 3510 h 10000"/>
                <a:gd name="connsiteX115" fmla="*/ 853 w 10000"/>
                <a:gd name="connsiteY115" fmla="*/ 3392 h 10000"/>
                <a:gd name="connsiteX116" fmla="*/ 446 w 10000"/>
                <a:gd name="connsiteY116" fmla="*/ 2863 h 10000"/>
                <a:gd name="connsiteX117" fmla="*/ 523 w 10000"/>
                <a:gd name="connsiteY117" fmla="*/ 2706 h 10000"/>
                <a:gd name="connsiteX118" fmla="*/ 601 w 10000"/>
                <a:gd name="connsiteY118" fmla="*/ 2588 h 10000"/>
                <a:gd name="connsiteX119" fmla="*/ 1279 w 10000"/>
                <a:gd name="connsiteY119" fmla="*/ 2588 h 10000"/>
                <a:gd name="connsiteX0" fmla="*/ 2578 w 10000"/>
                <a:gd name="connsiteY0" fmla="*/ 588 h 10000"/>
                <a:gd name="connsiteX1" fmla="*/ 2733 w 10000"/>
                <a:gd name="connsiteY1" fmla="*/ 510 h 10000"/>
                <a:gd name="connsiteX2" fmla="*/ 2868 w 10000"/>
                <a:gd name="connsiteY2" fmla="*/ 451 h 10000"/>
                <a:gd name="connsiteX3" fmla="*/ 3411 w 10000"/>
                <a:gd name="connsiteY3" fmla="*/ 843 h 10000"/>
                <a:gd name="connsiteX4" fmla="*/ 3624 w 10000"/>
                <a:gd name="connsiteY4" fmla="*/ 765 h 10000"/>
                <a:gd name="connsiteX5" fmla="*/ 3740 w 10000"/>
                <a:gd name="connsiteY5" fmla="*/ 725 h 10000"/>
                <a:gd name="connsiteX6" fmla="*/ 3857 w 10000"/>
                <a:gd name="connsiteY6" fmla="*/ 706 h 10000"/>
                <a:gd name="connsiteX7" fmla="*/ 4070 w 10000"/>
                <a:gd name="connsiteY7" fmla="*/ 59 h 10000"/>
                <a:gd name="connsiteX8" fmla="*/ 4380 w 10000"/>
                <a:gd name="connsiteY8" fmla="*/ 0 h 10000"/>
                <a:gd name="connsiteX9" fmla="*/ 4767 w 10000"/>
                <a:gd name="connsiteY9" fmla="*/ 569 h 10000"/>
                <a:gd name="connsiteX10" fmla="*/ 5019 w 10000"/>
                <a:gd name="connsiteY10" fmla="*/ 549 h 10000"/>
                <a:gd name="connsiteX11" fmla="*/ 5252 w 10000"/>
                <a:gd name="connsiteY11" fmla="*/ 569 h 10000"/>
                <a:gd name="connsiteX12" fmla="*/ 5640 w 10000"/>
                <a:gd name="connsiteY12" fmla="*/ 0 h 10000"/>
                <a:gd name="connsiteX13" fmla="*/ 5795 w 10000"/>
                <a:gd name="connsiteY13" fmla="*/ 20 h 10000"/>
                <a:gd name="connsiteX14" fmla="*/ 5950 w 10000"/>
                <a:gd name="connsiteY14" fmla="*/ 59 h 10000"/>
                <a:gd name="connsiteX15" fmla="*/ 6163 w 10000"/>
                <a:gd name="connsiteY15" fmla="*/ 706 h 10000"/>
                <a:gd name="connsiteX16" fmla="*/ 6395 w 10000"/>
                <a:gd name="connsiteY16" fmla="*/ 765 h 10000"/>
                <a:gd name="connsiteX17" fmla="*/ 6492 w 10000"/>
                <a:gd name="connsiteY17" fmla="*/ 804 h 10000"/>
                <a:gd name="connsiteX18" fmla="*/ 6609 w 10000"/>
                <a:gd name="connsiteY18" fmla="*/ 843 h 10000"/>
                <a:gd name="connsiteX19" fmla="*/ 7151 w 10000"/>
                <a:gd name="connsiteY19" fmla="*/ 451 h 10000"/>
                <a:gd name="connsiteX20" fmla="*/ 7287 w 10000"/>
                <a:gd name="connsiteY20" fmla="*/ 510 h 10000"/>
                <a:gd name="connsiteX21" fmla="*/ 7442 w 10000"/>
                <a:gd name="connsiteY21" fmla="*/ 588 h 10000"/>
                <a:gd name="connsiteX22" fmla="*/ 7442 w 10000"/>
                <a:gd name="connsiteY22" fmla="*/ 1275 h 10000"/>
                <a:gd name="connsiteX23" fmla="*/ 7616 w 10000"/>
                <a:gd name="connsiteY23" fmla="*/ 1412 h 10000"/>
                <a:gd name="connsiteX24" fmla="*/ 7713 w 10000"/>
                <a:gd name="connsiteY24" fmla="*/ 1471 h 10000"/>
                <a:gd name="connsiteX25" fmla="*/ 7810 w 10000"/>
                <a:gd name="connsiteY25" fmla="*/ 1549 h 10000"/>
                <a:gd name="connsiteX26" fmla="*/ 8450 w 10000"/>
                <a:gd name="connsiteY26" fmla="*/ 1333 h 10000"/>
                <a:gd name="connsiteX27" fmla="*/ 8566 w 10000"/>
                <a:gd name="connsiteY27" fmla="*/ 1451 h 10000"/>
                <a:gd name="connsiteX28" fmla="*/ 8682 w 10000"/>
                <a:gd name="connsiteY28" fmla="*/ 1569 h 10000"/>
                <a:gd name="connsiteX29" fmla="*/ 8469 w 10000"/>
                <a:gd name="connsiteY29" fmla="*/ 2216 h 10000"/>
                <a:gd name="connsiteX30" fmla="*/ 8605 w 10000"/>
                <a:gd name="connsiteY30" fmla="*/ 2392 h 10000"/>
                <a:gd name="connsiteX31" fmla="*/ 8740 w 10000"/>
                <a:gd name="connsiteY31" fmla="*/ 2588 h 10000"/>
                <a:gd name="connsiteX32" fmla="*/ 9419 w 10000"/>
                <a:gd name="connsiteY32" fmla="*/ 2588 h 10000"/>
                <a:gd name="connsiteX33" fmla="*/ 9496 w 10000"/>
                <a:gd name="connsiteY33" fmla="*/ 2706 h 10000"/>
                <a:gd name="connsiteX34" fmla="*/ 9574 w 10000"/>
                <a:gd name="connsiteY34" fmla="*/ 2863 h 10000"/>
                <a:gd name="connsiteX35" fmla="*/ 9167 w 10000"/>
                <a:gd name="connsiteY35" fmla="*/ 3392 h 10000"/>
                <a:gd name="connsiteX36" fmla="*/ 9244 w 10000"/>
                <a:gd name="connsiteY36" fmla="*/ 3627 h 10000"/>
                <a:gd name="connsiteX37" fmla="*/ 9283 w 10000"/>
                <a:gd name="connsiteY37" fmla="*/ 3745 h 10000"/>
                <a:gd name="connsiteX38" fmla="*/ 9302 w 10000"/>
                <a:gd name="connsiteY38" fmla="*/ 3863 h 10000"/>
                <a:gd name="connsiteX39" fmla="*/ 9961 w 10000"/>
                <a:gd name="connsiteY39" fmla="*/ 4059 h 10000"/>
                <a:gd name="connsiteX40" fmla="*/ 10000 w 10000"/>
                <a:gd name="connsiteY40" fmla="*/ 4392 h 10000"/>
                <a:gd name="connsiteX41" fmla="*/ 9438 w 10000"/>
                <a:gd name="connsiteY41" fmla="*/ 4765 h 10000"/>
                <a:gd name="connsiteX42" fmla="*/ 9457 w 10000"/>
                <a:gd name="connsiteY42" fmla="*/ 5000 h 10000"/>
                <a:gd name="connsiteX43" fmla="*/ 9438 w 10000"/>
                <a:gd name="connsiteY43" fmla="*/ 5235 h 10000"/>
                <a:gd name="connsiteX44" fmla="*/ 10000 w 10000"/>
                <a:gd name="connsiteY44" fmla="*/ 5627 h 10000"/>
                <a:gd name="connsiteX45" fmla="*/ 9981 w 10000"/>
                <a:gd name="connsiteY45" fmla="*/ 5784 h 10000"/>
                <a:gd name="connsiteX46" fmla="*/ 9961 w 10000"/>
                <a:gd name="connsiteY46" fmla="*/ 5941 h 10000"/>
                <a:gd name="connsiteX47" fmla="*/ 9302 w 10000"/>
                <a:gd name="connsiteY47" fmla="*/ 6157 h 10000"/>
                <a:gd name="connsiteX48" fmla="*/ 9244 w 10000"/>
                <a:gd name="connsiteY48" fmla="*/ 6392 h 10000"/>
                <a:gd name="connsiteX49" fmla="*/ 9205 w 10000"/>
                <a:gd name="connsiteY49" fmla="*/ 6490 h 10000"/>
                <a:gd name="connsiteX50" fmla="*/ 9167 w 10000"/>
                <a:gd name="connsiteY50" fmla="*/ 6608 h 10000"/>
                <a:gd name="connsiteX51" fmla="*/ 9574 w 10000"/>
                <a:gd name="connsiteY51" fmla="*/ 7157 h 10000"/>
                <a:gd name="connsiteX52" fmla="*/ 9496 w 10000"/>
                <a:gd name="connsiteY52" fmla="*/ 7294 h 10000"/>
                <a:gd name="connsiteX53" fmla="*/ 9419 w 10000"/>
                <a:gd name="connsiteY53" fmla="*/ 7431 h 10000"/>
                <a:gd name="connsiteX54" fmla="*/ 8740 w 10000"/>
                <a:gd name="connsiteY54" fmla="*/ 7412 h 10000"/>
                <a:gd name="connsiteX55" fmla="*/ 8605 w 10000"/>
                <a:gd name="connsiteY55" fmla="*/ 7627 h 10000"/>
                <a:gd name="connsiteX56" fmla="*/ 8547 w 10000"/>
                <a:gd name="connsiteY56" fmla="*/ 7706 h 10000"/>
                <a:gd name="connsiteX57" fmla="*/ 8469 w 10000"/>
                <a:gd name="connsiteY57" fmla="*/ 7804 h 10000"/>
                <a:gd name="connsiteX58" fmla="*/ 8682 w 10000"/>
                <a:gd name="connsiteY58" fmla="*/ 8451 h 10000"/>
                <a:gd name="connsiteX59" fmla="*/ 8566 w 10000"/>
                <a:gd name="connsiteY59" fmla="*/ 8569 h 10000"/>
                <a:gd name="connsiteX60" fmla="*/ 8450 w 10000"/>
                <a:gd name="connsiteY60" fmla="*/ 8686 h 10000"/>
                <a:gd name="connsiteX61" fmla="*/ 7810 w 10000"/>
                <a:gd name="connsiteY61" fmla="*/ 8471 h 10000"/>
                <a:gd name="connsiteX62" fmla="*/ 7616 w 10000"/>
                <a:gd name="connsiteY62" fmla="*/ 8608 h 10000"/>
                <a:gd name="connsiteX63" fmla="*/ 7442 w 10000"/>
                <a:gd name="connsiteY63" fmla="*/ 8745 h 10000"/>
                <a:gd name="connsiteX64" fmla="*/ 7442 w 10000"/>
                <a:gd name="connsiteY64" fmla="*/ 9412 h 10000"/>
                <a:gd name="connsiteX65" fmla="*/ 7287 w 10000"/>
                <a:gd name="connsiteY65" fmla="*/ 9510 h 10000"/>
                <a:gd name="connsiteX66" fmla="*/ 7151 w 10000"/>
                <a:gd name="connsiteY66" fmla="*/ 9569 h 10000"/>
                <a:gd name="connsiteX67" fmla="*/ 6609 w 10000"/>
                <a:gd name="connsiteY67" fmla="*/ 9157 h 10000"/>
                <a:gd name="connsiteX68" fmla="*/ 6395 w 10000"/>
                <a:gd name="connsiteY68" fmla="*/ 9235 h 10000"/>
                <a:gd name="connsiteX69" fmla="*/ 6279 w 10000"/>
                <a:gd name="connsiteY69" fmla="*/ 9275 h 10000"/>
                <a:gd name="connsiteX70" fmla="*/ 6163 w 10000"/>
                <a:gd name="connsiteY70" fmla="*/ 9314 h 10000"/>
                <a:gd name="connsiteX71" fmla="*/ 5950 w 10000"/>
                <a:gd name="connsiteY71" fmla="*/ 9961 h 10000"/>
                <a:gd name="connsiteX72" fmla="*/ 5640 w 10000"/>
                <a:gd name="connsiteY72" fmla="*/ 10000 h 10000"/>
                <a:gd name="connsiteX73" fmla="*/ 5252 w 10000"/>
                <a:gd name="connsiteY73" fmla="*/ 9451 h 10000"/>
                <a:gd name="connsiteX74" fmla="*/ 5019 w 10000"/>
                <a:gd name="connsiteY74" fmla="*/ 9451 h 10000"/>
                <a:gd name="connsiteX75" fmla="*/ 4767 w 10000"/>
                <a:gd name="connsiteY75" fmla="*/ 9451 h 10000"/>
                <a:gd name="connsiteX76" fmla="*/ 4380 w 10000"/>
                <a:gd name="connsiteY76" fmla="*/ 10000 h 10000"/>
                <a:gd name="connsiteX77" fmla="*/ 4225 w 10000"/>
                <a:gd name="connsiteY77" fmla="*/ 9980 h 10000"/>
                <a:gd name="connsiteX78" fmla="*/ 4070 w 10000"/>
                <a:gd name="connsiteY78" fmla="*/ 9961 h 10000"/>
                <a:gd name="connsiteX79" fmla="*/ 3857 w 10000"/>
                <a:gd name="connsiteY79" fmla="*/ 9314 h 10000"/>
                <a:gd name="connsiteX80" fmla="*/ 3624 w 10000"/>
                <a:gd name="connsiteY80" fmla="*/ 9235 h 10000"/>
                <a:gd name="connsiteX81" fmla="*/ 3508 w 10000"/>
                <a:gd name="connsiteY81" fmla="*/ 9216 h 10000"/>
                <a:gd name="connsiteX82" fmla="*/ 3411 w 10000"/>
                <a:gd name="connsiteY82" fmla="*/ 9157 h 10000"/>
                <a:gd name="connsiteX83" fmla="*/ 2868 w 10000"/>
                <a:gd name="connsiteY83" fmla="*/ 9569 h 10000"/>
                <a:gd name="connsiteX84" fmla="*/ 2733 w 10000"/>
                <a:gd name="connsiteY84" fmla="*/ 9510 h 10000"/>
                <a:gd name="connsiteX85" fmla="*/ 2578 w 10000"/>
                <a:gd name="connsiteY85" fmla="*/ 9412 h 10000"/>
                <a:gd name="connsiteX86" fmla="*/ 2597 w 10000"/>
                <a:gd name="connsiteY86" fmla="*/ 8745 h 10000"/>
                <a:gd name="connsiteX87" fmla="*/ 2403 w 10000"/>
                <a:gd name="connsiteY87" fmla="*/ 8608 h 10000"/>
                <a:gd name="connsiteX88" fmla="*/ 2306 w 10000"/>
                <a:gd name="connsiteY88" fmla="*/ 8529 h 10000"/>
                <a:gd name="connsiteX89" fmla="*/ 2209 w 10000"/>
                <a:gd name="connsiteY89" fmla="*/ 8471 h 10000"/>
                <a:gd name="connsiteX90" fmla="*/ 1570 w 10000"/>
                <a:gd name="connsiteY90" fmla="*/ 8686 h 10000"/>
                <a:gd name="connsiteX91" fmla="*/ 1453 w 10000"/>
                <a:gd name="connsiteY91" fmla="*/ 8569 h 10000"/>
                <a:gd name="connsiteX92" fmla="*/ 1337 w 10000"/>
                <a:gd name="connsiteY92" fmla="*/ 8451 h 10000"/>
                <a:gd name="connsiteX93" fmla="*/ 1550 w 10000"/>
                <a:gd name="connsiteY93" fmla="*/ 7804 h 10000"/>
                <a:gd name="connsiteX94" fmla="*/ 1415 w 10000"/>
                <a:gd name="connsiteY94" fmla="*/ 7627 h 10000"/>
                <a:gd name="connsiteX95" fmla="*/ 1279 w 10000"/>
                <a:gd name="connsiteY95" fmla="*/ 7412 h 10000"/>
                <a:gd name="connsiteX96" fmla="*/ 601 w 10000"/>
                <a:gd name="connsiteY96" fmla="*/ 7431 h 10000"/>
                <a:gd name="connsiteX97" fmla="*/ 523 w 10000"/>
                <a:gd name="connsiteY97" fmla="*/ 7294 h 10000"/>
                <a:gd name="connsiteX98" fmla="*/ 446 w 10000"/>
                <a:gd name="connsiteY98" fmla="*/ 7157 h 10000"/>
                <a:gd name="connsiteX99" fmla="*/ 853 w 10000"/>
                <a:gd name="connsiteY99" fmla="*/ 6608 h 10000"/>
                <a:gd name="connsiteX100" fmla="*/ 775 w 10000"/>
                <a:gd name="connsiteY100" fmla="*/ 6392 h 10000"/>
                <a:gd name="connsiteX101" fmla="*/ 756 w 10000"/>
                <a:gd name="connsiteY101" fmla="*/ 6275 h 10000"/>
                <a:gd name="connsiteX102" fmla="*/ 717 w 10000"/>
                <a:gd name="connsiteY102" fmla="*/ 6157 h 10000"/>
                <a:gd name="connsiteX103" fmla="*/ 58 w 10000"/>
                <a:gd name="connsiteY103" fmla="*/ 5941 h 10000"/>
                <a:gd name="connsiteX104" fmla="*/ 0 w 10000"/>
                <a:gd name="connsiteY104" fmla="*/ 5627 h 10000"/>
                <a:gd name="connsiteX105" fmla="*/ 581 w 10000"/>
                <a:gd name="connsiteY105" fmla="*/ 5235 h 10000"/>
                <a:gd name="connsiteX106" fmla="*/ 562 w 10000"/>
                <a:gd name="connsiteY106" fmla="*/ 5000 h 10000"/>
                <a:gd name="connsiteX107" fmla="*/ 581 w 10000"/>
                <a:gd name="connsiteY107" fmla="*/ 4765 h 10000"/>
                <a:gd name="connsiteX108" fmla="*/ 0 w 10000"/>
                <a:gd name="connsiteY108" fmla="*/ 4392 h 10000"/>
                <a:gd name="connsiteX109" fmla="*/ 19 w 10000"/>
                <a:gd name="connsiteY109" fmla="*/ 4216 h 10000"/>
                <a:gd name="connsiteX110" fmla="*/ 58 w 10000"/>
                <a:gd name="connsiteY110" fmla="*/ 4059 h 10000"/>
                <a:gd name="connsiteX111" fmla="*/ 717 w 10000"/>
                <a:gd name="connsiteY111" fmla="*/ 3863 h 10000"/>
                <a:gd name="connsiteX112" fmla="*/ 775 w 10000"/>
                <a:gd name="connsiteY112" fmla="*/ 3627 h 10000"/>
                <a:gd name="connsiteX113" fmla="*/ 814 w 10000"/>
                <a:gd name="connsiteY113" fmla="*/ 3510 h 10000"/>
                <a:gd name="connsiteX114" fmla="*/ 853 w 10000"/>
                <a:gd name="connsiteY114" fmla="*/ 3392 h 10000"/>
                <a:gd name="connsiteX115" fmla="*/ 446 w 10000"/>
                <a:gd name="connsiteY115" fmla="*/ 2863 h 10000"/>
                <a:gd name="connsiteX116" fmla="*/ 523 w 10000"/>
                <a:gd name="connsiteY116" fmla="*/ 2706 h 10000"/>
                <a:gd name="connsiteX117" fmla="*/ 601 w 10000"/>
                <a:gd name="connsiteY117" fmla="*/ 2588 h 10000"/>
                <a:gd name="connsiteX118" fmla="*/ 1279 w 10000"/>
                <a:gd name="connsiteY118" fmla="*/ 2588 h 10000"/>
                <a:gd name="connsiteX0" fmla="*/ 2578 w 10000"/>
                <a:gd name="connsiteY0" fmla="*/ 588 h 10000"/>
                <a:gd name="connsiteX1" fmla="*/ 2868 w 10000"/>
                <a:gd name="connsiteY1" fmla="*/ 451 h 10000"/>
                <a:gd name="connsiteX2" fmla="*/ 3411 w 10000"/>
                <a:gd name="connsiteY2" fmla="*/ 843 h 10000"/>
                <a:gd name="connsiteX3" fmla="*/ 3624 w 10000"/>
                <a:gd name="connsiteY3" fmla="*/ 765 h 10000"/>
                <a:gd name="connsiteX4" fmla="*/ 3740 w 10000"/>
                <a:gd name="connsiteY4" fmla="*/ 725 h 10000"/>
                <a:gd name="connsiteX5" fmla="*/ 3857 w 10000"/>
                <a:gd name="connsiteY5" fmla="*/ 706 h 10000"/>
                <a:gd name="connsiteX6" fmla="*/ 4070 w 10000"/>
                <a:gd name="connsiteY6" fmla="*/ 59 h 10000"/>
                <a:gd name="connsiteX7" fmla="*/ 4380 w 10000"/>
                <a:gd name="connsiteY7" fmla="*/ 0 h 10000"/>
                <a:gd name="connsiteX8" fmla="*/ 4767 w 10000"/>
                <a:gd name="connsiteY8" fmla="*/ 569 h 10000"/>
                <a:gd name="connsiteX9" fmla="*/ 5019 w 10000"/>
                <a:gd name="connsiteY9" fmla="*/ 549 h 10000"/>
                <a:gd name="connsiteX10" fmla="*/ 5252 w 10000"/>
                <a:gd name="connsiteY10" fmla="*/ 569 h 10000"/>
                <a:gd name="connsiteX11" fmla="*/ 5640 w 10000"/>
                <a:gd name="connsiteY11" fmla="*/ 0 h 10000"/>
                <a:gd name="connsiteX12" fmla="*/ 5795 w 10000"/>
                <a:gd name="connsiteY12" fmla="*/ 20 h 10000"/>
                <a:gd name="connsiteX13" fmla="*/ 5950 w 10000"/>
                <a:gd name="connsiteY13" fmla="*/ 59 h 10000"/>
                <a:gd name="connsiteX14" fmla="*/ 6163 w 10000"/>
                <a:gd name="connsiteY14" fmla="*/ 706 h 10000"/>
                <a:gd name="connsiteX15" fmla="*/ 6395 w 10000"/>
                <a:gd name="connsiteY15" fmla="*/ 765 h 10000"/>
                <a:gd name="connsiteX16" fmla="*/ 6492 w 10000"/>
                <a:gd name="connsiteY16" fmla="*/ 804 h 10000"/>
                <a:gd name="connsiteX17" fmla="*/ 6609 w 10000"/>
                <a:gd name="connsiteY17" fmla="*/ 843 h 10000"/>
                <a:gd name="connsiteX18" fmla="*/ 7151 w 10000"/>
                <a:gd name="connsiteY18" fmla="*/ 451 h 10000"/>
                <a:gd name="connsiteX19" fmla="*/ 7287 w 10000"/>
                <a:gd name="connsiteY19" fmla="*/ 510 h 10000"/>
                <a:gd name="connsiteX20" fmla="*/ 7442 w 10000"/>
                <a:gd name="connsiteY20" fmla="*/ 588 h 10000"/>
                <a:gd name="connsiteX21" fmla="*/ 7442 w 10000"/>
                <a:gd name="connsiteY21" fmla="*/ 1275 h 10000"/>
                <a:gd name="connsiteX22" fmla="*/ 7616 w 10000"/>
                <a:gd name="connsiteY22" fmla="*/ 1412 h 10000"/>
                <a:gd name="connsiteX23" fmla="*/ 7713 w 10000"/>
                <a:gd name="connsiteY23" fmla="*/ 1471 h 10000"/>
                <a:gd name="connsiteX24" fmla="*/ 7810 w 10000"/>
                <a:gd name="connsiteY24" fmla="*/ 1549 h 10000"/>
                <a:gd name="connsiteX25" fmla="*/ 8450 w 10000"/>
                <a:gd name="connsiteY25" fmla="*/ 1333 h 10000"/>
                <a:gd name="connsiteX26" fmla="*/ 8566 w 10000"/>
                <a:gd name="connsiteY26" fmla="*/ 1451 h 10000"/>
                <a:gd name="connsiteX27" fmla="*/ 8682 w 10000"/>
                <a:gd name="connsiteY27" fmla="*/ 1569 h 10000"/>
                <a:gd name="connsiteX28" fmla="*/ 8469 w 10000"/>
                <a:gd name="connsiteY28" fmla="*/ 2216 h 10000"/>
                <a:gd name="connsiteX29" fmla="*/ 8605 w 10000"/>
                <a:gd name="connsiteY29" fmla="*/ 2392 h 10000"/>
                <a:gd name="connsiteX30" fmla="*/ 8740 w 10000"/>
                <a:gd name="connsiteY30" fmla="*/ 2588 h 10000"/>
                <a:gd name="connsiteX31" fmla="*/ 9419 w 10000"/>
                <a:gd name="connsiteY31" fmla="*/ 2588 h 10000"/>
                <a:gd name="connsiteX32" fmla="*/ 9496 w 10000"/>
                <a:gd name="connsiteY32" fmla="*/ 2706 h 10000"/>
                <a:gd name="connsiteX33" fmla="*/ 9574 w 10000"/>
                <a:gd name="connsiteY33" fmla="*/ 2863 h 10000"/>
                <a:gd name="connsiteX34" fmla="*/ 9167 w 10000"/>
                <a:gd name="connsiteY34" fmla="*/ 3392 h 10000"/>
                <a:gd name="connsiteX35" fmla="*/ 9244 w 10000"/>
                <a:gd name="connsiteY35" fmla="*/ 3627 h 10000"/>
                <a:gd name="connsiteX36" fmla="*/ 9283 w 10000"/>
                <a:gd name="connsiteY36" fmla="*/ 3745 h 10000"/>
                <a:gd name="connsiteX37" fmla="*/ 9302 w 10000"/>
                <a:gd name="connsiteY37" fmla="*/ 3863 h 10000"/>
                <a:gd name="connsiteX38" fmla="*/ 9961 w 10000"/>
                <a:gd name="connsiteY38" fmla="*/ 4059 h 10000"/>
                <a:gd name="connsiteX39" fmla="*/ 10000 w 10000"/>
                <a:gd name="connsiteY39" fmla="*/ 4392 h 10000"/>
                <a:gd name="connsiteX40" fmla="*/ 9438 w 10000"/>
                <a:gd name="connsiteY40" fmla="*/ 4765 h 10000"/>
                <a:gd name="connsiteX41" fmla="*/ 9457 w 10000"/>
                <a:gd name="connsiteY41" fmla="*/ 5000 h 10000"/>
                <a:gd name="connsiteX42" fmla="*/ 9438 w 10000"/>
                <a:gd name="connsiteY42" fmla="*/ 5235 h 10000"/>
                <a:gd name="connsiteX43" fmla="*/ 10000 w 10000"/>
                <a:gd name="connsiteY43" fmla="*/ 5627 h 10000"/>
                <a:gd name="connsiteX44" fmla="*/ 9981 w 10000"/>
                <a:gd name="connsiteY44" fmla="*/ 5784 h 10000"/>
                <a:gd name="connsiteX45" fmla="*/ 9961 w 10000"/>
                <a:gd name="connsiteY45" fmla="*/ 5941 h 10000"/>
                <a:gd name="connsiteX46" fmla="*/ 9302 w 10000"/>
                <a:gd name="connsiteY46" fmla="*/ 6157 h 10000"/>
                <a:gd name="connsiteX47" fmla="*/ 9244 w 10000"/>
                <a:gd name="connsiteY47" fmla="*/ 6392 h 10000"/>
                <a:gd name="connsiteX48" fmla="*/ 9205 w 10000"/>
                <a:gd name="connsiteY48" fmla="*/ 6490 h 10000"/>
                <a:gd name="connsiteX49" fmla="*/ 9167 w 10000"/>
                <a:gd name="connsiteY49" fmla="*/ 6608 h 10000"/>
                <a:gd name="connsiteX50" fmla="*/ 9574 w 10000"/>
                <a:gd name="connsiteY50" fmla="*/ 7157 h 10000"/>
                <a:gd name="connsiteX51" fmla="*/ 9496 w 10000"/>
                <a:gd name="connsiteY51" fmla="*/ 7294 h 10000"/>
                <a:gd name="connsiteX52" fmla="*/ 9419 w 10000"/>
                <a:gd name="connsiteY52" fmla="*/ 7431 h 10000"/>
                <a:gd name="connsiteX53" fmla="*/ 8740 w 10000"/>
                <a:gd name="connsiteY53" fmla="*/ 7412 h 10000"/>
                <a:gd name="connsiteX54" fmla="*/ 8605 w 10000"/>
                <a:gd name="connsiteY54" fmla="*/ 7627 h 10000"/>
                <a:gd name="connsiteX55" fmla="*/ 8547 w 10000"/>
                <a:gd name="connsiteY55" fmla="*/ 7706 h 10000"/>
                <a:gd name="connsiteX56" fmla="*/ 8469 w 10000"/>
                <a:gd name="connsiteY56" fmla="*/ 7804 h 10000"/>
                <a:gd name="connsiteX57" fmla="*/ 8682 w 10000"/>
                <a:gd name="connsiteY57" fmla="*/ 8451 h 10000"/>
                <a:gd name="connsiteX58" fmla="*/ 8566 w 10000"/>
                <a:gd name="connsiteY58" fmla="*/ 8569 h 10000"/>
                <a:gd name="connsiteX59" fmla="*/ 8450 w 10000"/>
                <a:gd name="connsiteY59" fmla="*/ 8686 h 10000"/>
                <a:gd name="connsiteX60" fmla="*/ 7810 w 10000"/>
                <a:gd name="connsiteY60" fmla="*/ 8471 h 10000"/>
                <a:gd name="connsiteX61" fmla="*/ 7616 w 10000"/>
                <a:gd name="connsiteY61" fmla="*/ 8608 h 10000"/>
                <a:gd name="connsiteX62" fmla="*/ 7442 w 10000"/>
                <a:gd name="connsiteY62" fmla="*/ 8745 h 10000"/>
                <a:gd name="connsiteX63" fmla="*/ 7442 w 10000"/>
                <a:gd name="connsiteY63" fmla="*/ 9412 h 10000"/>
                <a:gd name="connsiteX64" fmla="*/ 7287 w 10000"/>
                <a:gd name="connsiteY64" fmla="*/ 9510 h 10000"/>
                <a:gd name="connsiteX65" fmla="*/ 7151 w 10000"/>
                <a:gd name="connsiteY65" fmla="*/ 9569 h 10000"/>
                <a:gd name="connsiteX66" fmla="*/ 6609 w 10000"/>
                <a:gd name="connsiteY66" fmla="*/ 9157 h 10000"/>
                <a:gd name="connsiteX67" fmla="*/ 6395 w 10000"/>
                <a:gd name="connsiteY67" fmla="*/ 9235 h 10000"/>
                <a:gd name="connsiteX68" fmla="*/ 6279 w 10000"/>
                <a:gd name="connsiteY68" fmla="*/ 9275 h 10000"/>
                <a:gd name="connsiteX69" fmla="*/ 6163 w 10000"/>
                <a:gd name="connsiteY69" fmla="*/ 9314 h 10000"/>
                <a:gd name="connsiteX70" fmla="*/ 5950 w 10000"/>
                <a:gd name="connsiteY70" fmla="*/ 9961 h 10000"/>
                <a:gd name="connsiteX71" fmla="*/ 5640 w 10000"/>
                <a:gd name="connsiteY71" fmla="*/ 10000 h 10000"/>
                <a:gd name="connsiteX72" fmla="*/ 5252 w 10000"/>
                <a:gd name="connsiteY72" fmla="*/ 9451 h 10000"/>
                <a:gd name="connsiteX73" fmla="*/ 5019 w 10000"/>
                <a:gd name="connsiteY73" fmla="*/ 9451 h 10000"/>
                <a:gd name="connsiteX74" fmla="*/ 4767 w 10000"/>
                <a:gd name="connsiteY74" fmla="*/ 9451 h 10000"/>
                <a:gd name="connsiteX75" fmla="*/ 4380 w 10000"/>
                <a:gd name="connsiteY75" fmla="*/ 10000 h 10000"/>
                <a:gd name="connsiteX76" fmla="*/ 4225 w 10000"/>
                <a:gd name="connsiteY76" fmla="*/ 9980 h 10000"/>
                <a:gd name="connsiteX77" fmla="*/ 4070 w 10000"/>
                <a:gd name="connsiteY77" fmla="*/ 9961 h 10000"/>
                <a:gd name="connsiteX78" fmla="*/ 3857 w 10000"/>
                <a:gd name="connsiteY78" fmla="*/ 9314 h 10000"/>
                <a:gd name="connsiteX79" fmla="*/ 3624 w 10000"/>
                <a:gd name="connsiteY79" fmla="*/ 9235 h 10000"/>
                <a:gd name="connsiteX80" fmla="*/ 3508 w 10000"/>
                <a:gd name="connsiteY80" fmla="*/ 9216 h 10000"/>
                <a:gd name="connsiteX81" fmla="*/ 3411 w 10000"/>
                <a:gd name="connsiteY81" fmla="*/ 9157 h 10000"/>
                <a:gd name="connsiteX82" fmla="*/ 2868 w 10000"/>
                <a:gd name="connsiteY82" fmla="*/ 9569 h 10000"/>
                <a:gd name="connsiteX83" fmla="*/ 2733 w 10000"/>
                <a:gd name="connsiteY83" fmla="*/ 9510 h 10000"/>
                <a:gd name="connsiteX84" fmla="*/ 2578 w 10000"/>
                <a:gd name="connsiteY84" fmla="*/ 9412 h 10000"/>
                <a:gd name="connsiteX85" fmla="*/ 2597 w 10000"/>
                <a:gd name="connsiteY85" fmla="*/ 8745 h 10000"/>
                <a:gd name="connsiteX86" fmla="*/ 2403 w 10000"/>
                <a:gd name="connsiteY86" fmla="*/ 8608 h 10000"/>
                <a:gd name="connsiteX87" fmla="*/ 2306 w 10000"/>
                <a:gd name="connsiteY87" fmla="*/ 8529 h 10000"/>
                <a:gd name="connsiteX88" fmla="*/ 2209 w 10000"/>
                <a:gd name="connsiteY88" fmla="*/ 8471 h 10000"/>
                <a:gd name="connsiteX89" fmla="*/ 1570 w 10000"/>
                <a:gd name="connsiteY89" fmla="*/ 8686 h 10000"/>
                <a:gd name="connsiteX90" fmla="*/ 1453 w 10000"/>
                <a:gd name="connsiteY90" fmla="*/ 8569 h 10000"/>
                <a:gd name="connsiteX91" fmla="*/ 1337 w 10000"/>
                <a:gd name="connsiteY91" fmla="*/ 8451 h 10000"/>
                <a:gd name="connsiteX92" fmla="*/ 1550 w 10000"/>
                <a:gd name="connsiteY92" fmla="*/ 7804 h 10000"/>
                <a:gd name="connsiteX93" fmla="*/ 1415 w 10000"/>
                <a:gd name="connsiteY93" fmla="*/ 7627 h 10000"/>
                <a:gd name="connsiteX94" fmla="*/ 1279 w 10000"/>
                <a:gd name="connsiteY94" fmla="*/ 7412 h 10000"/>
                <a:gd name="connsiteX95" fmla="*/ 601 w 10000"/>
                <a:gd name="connsiteY95" fmla="*/ 7431 h 10000"/>
                <a:gd name="connsiteX96" fmla="*/ 523 w 10000"/>
                <a:gd name="connsiteY96" fmla="*/ 7294 h 10000"/>
                <a:gd name="connsiteX97" fmla="*/ 446 w 10000"/>
                <a:gd name="connsiteY97" fmla="*/ 7157 h 10000"/>
                <a:gd name="connsiteX98" fmla="*/ 853 w 10000"/>
                <a:gd name="connsiteY98" fmla="*/ 6608 h 10000"/>
                <a:gd name="connsiteX99" fmla="*/ 775 w 10000"/>
                <a:gd name="connsiteY99" fmla="*/ 6392 h 10000"/>
                <a:gd name="connsiteX100" fmla="*/ 756 w 10000"/>
                <a:gd name="connsiteY100" fmla="*/ 6275 h 10000"/>
                <a:gd name="connsiteX101" fmla="*/ 717 w 10000"/>
                <a:gd name="connsiteY101" fmla="*/ 6157 h 10000"/>
                <a:gd name="connsiteX102" fmla="*/ 58 w 10000"/>
                <a:gd name="connsiteY102" fmla="*/ 5941 h 10000"/>
                <a:gd name="connsiteX103" fmla="*/ 0 w 10000"/>
                <a:gd name="connsiteY103" fmla="*/ 5627 h 10000"/>
                <a:gd name="connsiteX104" fmla="*/ 581 w 10000"/>
                <a:gd name="connsiteY104" fmla="*/ 5235 h 10000"/>
                <a:gd name="connsiteX105" fmla="*/ 562 w 10000"/>
                <a:gd name="connsiteY105" fmla="*/ 5000 h 10000"/>
                <a:gd name="connsiteX106" fmla="*/ 581 w 10000"/>
                <a:gd name="connsiteY106" fmla="*/ 4765 h 10000"/>
                <a:gd name="connsiteX107" fmla="*/ 0 w 10000"/>
                <a:gd name="connsiteY107" fmla="*/ 4392 h 10000"/>
                <a:gd name="connsiteX108" fmla="*/ 19 w 10000"/>
                <a:gd name="connsiteY108" fmla="*/ 4216 h 10000"/>
                <a:gd name="connsiteX109" fmla="*/ 58 w 10000"/>
                <a:gd name="connsiteY109" fmla="*/ 4059 h 10000"/>
                <a:gd name="connsiteX110" fmla="*/ 717 w 10000"/>
                <a:gd name="connsiteY110" fmla="*/ 3863 h 10000"/>
                <a:gd name="connsiteX111" fmla="*/ 775 w 10000"/>
                <a:gd name="connsiteY111" fmla="*/ 3627 h 10000"/>
                <a:gd name="connsiteX112" fmla="*/ 814 w 10000"/>
                <a:gd name="connsiteY112" fmla="*/ 3510 h 10000"/>
                <a:gd name="connsiteX113" fmla="*/ 853 w 10000"/>
                <a:gd name="connsiteY113" fmla="*/ 3392 h 10000"/>
                <a:gd name="connsiteX114" fmla="*/ 446 w 10000"/>
                <a:gd name="connsiteY114" fmla="*/ 2863 h 10000"/>
                <a:gd name="connsiteX115" fmla="*/ 523 w 10000"/>
                <a:gd name="connsiteY115" fmla="*/ 2706 h 10000"/>
                <a:gd name="connsiteX116" fmla="*/ 601 w 10000"/>
                <a:gd name="connsiteY116" fmla="*/ 2588 h 10000"/>
                <a:gd name="connsiteX117" fmla="*/ 1279 w 10000"/>
                <a:gd name="connsiteY117" fmla="*/ 2588 h 10000"/>
                <a:gd name="connsiteX0" fmla="*/ 2578 w 10000"/>
                <a:gd name="connsiteY0" fmla="*/ 588 h 10000"/>
                <a:gd name="connsiteX1" fmla="*/ 3411 w 10000"/>
                <a:gd name="connsiteY1" fmla="*/ 843 h 10000"/>
                <a:gd name="connsiteX2" fmla="*/ 3624 w 10000"/>
                <a:gd name="connsiteY2" fmla="*/ 765 h 10000"/>
                <a:gd name="connsiteX3" fmla="*/ 3740 w 10000"/>
                <a:gd name="connsiteY3" fmla="*/ 725 h 10000"/>
                <a:gd name="connsiteX4" fmla="*/ 3857 w 10000"/>
                <a:gd name="connsiteY4" fmla="*/ 706 h 10000"/>
                <a:gd name="connsiteX5" fmla="*/ 4070 w 10000"/>
                <a:gd name="connsiteY5" fmla="*/ 59 h 10000"/>
                <a:gd name="connsiteX6" fmla="*/ 4380 w 10000"/>
                <a:gd name="connsiteY6" fmla="*/ 0 h 10000"/>
                <a:gd name="connsiteX7" fmla="*/ 4767 w 10000"/>
                <a:gd name="connsiteY7" fmla="*/ 569 h 10000"/>
                <a:gd name="connsiteX8" fmla="*/ 5019 w 10000"/>
                <a:gd name="connsiteY8" fmla="*/ 549 h 10000"/>
                <a:gd name="connsiteX9" fmla="*/ 5252 w 10000"/>
                <a:gd name="connsiteY9" fmla="*/ 569 h 10000"/>
                <a:gd name="connsiteX10" fmla="*/ 5640 w 10000"/>
                <a:gd name="connsiteY10" fmla="*/ 0 h 10000"/>
                <a:gd name="connsiteX11" fmla="*/ 5795 w 10000"/>
                <a:gd name="connsiteY11" fmla="*/ 20 h 10000"/>
                <a:gd name="connsiteX12" fmla="*/ 5950 w 10000"/>
                <a:gd name="connsiteY12" fmla="*/ 59 h 10000"/>
                <a:gd name="connsiteX13" fmla="*/ 6163 w 10000"/>
                <a:gd name="connsiteY13" fmla="*/ 706 h 10000"/>
                <a:gd name="connsiteX14" fmla="*/ 6395 w 10000"/>
                <a:gd name="connsiteY14" fmla="*/ 765 h 10000"/>
                <a:gd name="connsiteX15" fmla="*/ 6492 w 10000"/>
                <a:gd name="connsiteY15" fmla="*/ 804 h 10000"/>
                <a:gd name="connsiteX16" fmla="*/ 6609 w 10000"/>
                <a:gd name="connsiteY16" fmla="*/ 843 h 10000"/>
                <a:gd name="connsiteX17" fmla="*/ 7151 w 10000"/>
                <a:gd name="connsiteY17" fmla="*/ 451 h 10000"/>
                <a:gd name="connsiteX18" fmla="*/ 7287 w 10000"/>
                <a:gd name="connsiteY18" fmla="*/ 510 h 10000"/>
                <a:gd name="connsiteX19" fmla="*/ 7442 w 10000"/>
                <a:gd name="connsiteY19" fmla="*/ 588 h 10000"/>
                <a:gd name="connsiteX20" fmla="*/ 7442 w 10000"/>
                <a:gd name="connsiteY20" fmla="*/ 1275 h 10000"/>
                <a:gd name="connsiteX21" fmla="*/ 7616 w 10000"/>
                <a:gd name="connsiteY21" fmla="*/ 1412 h 10000"/>
                <a:gd name="connsiteX22" fmla="*/ 7713 w 10000"/>
                <a:gd name="connsiteY22" fmla="*/ 1471 h 10000"/>
                <a:gd name="connsiteX23" fmla="*/ 7810 w 10000"/>
                <a:gd name="connsiteY23" fmla="*/ 1549 h 10000"/>
                <a:gd name="connsiteX24" fmla="*/ 8450 w 10000"/>
                <a:gd name="connsiteY24" fmla="*/ 1333 h 10000"/>
                <a:gd name="connsiteX25" fmla="*/ 8566 w 10000"/>
                <a:gd name="connsiteY25" fmla="*/ 1451 h 10000"/>
                <a:gd name="connsiteX26" fmla="*/ 8682 w 10000"/>
                <a:gd name="connsiteY26" fmla="*/ 1569 h 10000"/>
                <a:gd name="connsiteX27" fmla="*/ 8469 w 10000"/>
                <a:gd name="connsiteY27" fmla="*/ 2216 h 10000"/>
                <a:gd name="connsiteX28" fmla="*/ 8605 w 10000"/>
                <a:gd name="connsiteY28" fmla="*/ 2392 h 10000"/>
                <a:gd name="connsiteX29" fmla="*/ 8740 w 10000"/>
                <a:gd name="connsiteY29" fmla="*/ 2588 h 10000"/>
                <a:gd name="connsiteX30" fmla="*/ 9419 w 10000"/>
                <a:gd name="connsiteY30" fmla="*/ 2588 h 10000"/>
                <a:gd name="connsiteX31" fmla="*/ 9496 w 10000"/>
                <a:gd name="connsiteY31" fmla="*/ 2706 h 10000"/>
                <a:gd name="connsiteX32" fmla="*/ 9574 w 10000"/>
                <a:gd name="connsiteY32" fmla="*/ 2863 h 10000"/>
                <a:gd name="connsiteX33" fmla="*/ 9167 w 10000"/>
                <a:gd name="connsiteY33" fmla="*/ 3392 h 10000"/>
                <a:gd name="connsiteX34" fmla="*/ 9244 w 10000"/>
                <a:gd name="connsiteY34" fmla="*/ 3627 h 10000"/>
                <a:gd name="connsiteX35" fmla="*/ 9283 w 10000"/>
                <a:gd name="connsiteY35" fmla="*/ 3745 h 10000"/>
                <a:gd name="connsiteX36" fmla="*/ 9302 w 10000"/>
                <a:gd name="connsiteY36" fmla="*/ 3863 h 10000"/>
                <a:gd name="connsiteX37" fmla="*/ 9961 w 10000"/>
                <a:gd name="connsiteY37" fmla="*/ 4059 h 10000"/>
                <a:gd name="connsiteX38" fmla="*/ 10000 w 10000"/>
                <a:gd name="connsiteY38" fmla="*/ 4392 h 10000"/>
                <a:gd name="connsiteX39" fmla="*/ 9438 w 10000"/>
                <a:gd name="connsiteY39" fmla="*/ 4765 h 10000"/>
                <a:gd name="connsiteX40" fmla="*/ 9457 w 10000"/>
                <a:gd name="connsiteY40" fmla="*/ 5000 h 10000"/>
                <a:gd name="connsiteX41" fmla="*/ 9438 w 10000"/>
                <a:gd name="connsiteY41" fmla="*/ 5235 h 10000"/>
                <a:gd name="connsiteX42" fmla="*/ 10000 w 10000"/>
                <a:gd name="connsiteY42" fmla="*/ 5627 h 10000"/>
                <a:gd name="connsiteX43" fmla="*/ 9981 w 10000"/>
                <a:gd name="connsiteY43" fmla="*/ 5784 h 10000"/>
                <a:gd name="connsiteX44" fmla="*/ 9961 w 10000"/>
                <a:gd name="connsiteY44" fmla="*/ 5941 h 10000"/>
                <a:gd name="connsiteX45" fmla="*/ 9302 w 10000"/>
                <a:gd name="connsiteY45" fmla="*/ 6157 h 10000"/>
                <a:gd name="connsiteX46" fmla="*/ 9244 w 10000"/>
                <a:gd name="connsiteY46" fmla="*/ 6392 h 10000"/>
                <a:gd name="connsiteX47" fmla="*/ 9205 w 10000"/>
                <a:gd name="connsiteY47" fmla="*/ 6490 h 10000"/>
                <a:gd name="connsiteX48" fmla="*/ 9167 w 10000"/>
                <a:gd name="connsiteY48" fmla="*/ 6608 h 10000"/>
                <a:gd name="connsiteX49" fmla="*/ 9574 w 10000"/>
                <a:gd name="connsiteY49" fmla="*/ 7157 h 10000"/>
                <a:gd name="connsiteX50" fmla="*/ 9496 w 10000"/>
                <a:gd name="connsiteY50" fmla="*/ 7294 h 10000"/>
                <a:gd name="connsiteX51" fmla="*/ 9419 w 10000"/>
                <a:gd name="connsiteY51" fmla="*/ 7431 h 10000"/>
                <a:gd name="connsiteX52" fmla="*/ 8740 w 10000"/>
                <a:gd name="connsiteY52" fmla="*/ 7412 h 10000"/>
                <a:gd name="connsiteX53" fmla="*/ 8605 w 10000"/>
                <a:gd name="connsiteY53" fmla="*/ 7627 h 10000"/>
                <a:gd name="connsiteX54" fmla="*/ 8547 w 10000"/>
                <a:gd name="connsiteY54" fmla="*/ 7706 h 10000"/>
                <a:gd name="connsiteX55" fmla="*/ 8469 w 10000"/>
                <a:gd name="connsiteY55" fmla="*/ 7804 h 10000"/>
                <a:gd name="connsiteX56" fmla="*/ 8682 w 10000"/>
                <a:gd name="connsiteY56" fmla="*/ 8451 h 10000"/>
                <a:gd name="connsiteX57" fmla="*/ 8566 w 10000"/>
                <a:gd name="connsiteY57" fmla="*/ 8569 h 10000"/>
                <a:gd name="connsiteX58" fmla="*/ 8450 w 10000"/>
                <a:gd name="connsiteY58" fmla="*/ 8686 h 10000"/>
                <a:gd name="connsiteX59" fmla="*/ 7810 w 10000"/>
                <a:gd name="connsiteY59" fmla="*/ 8471 h 10000"/>
                <a:gd name="connsiteX60" fmla="*/ 7616 w 10000"/>
                <a:gd name="connsiteY60" fmla="*/ 8608 h 10000"/>
                <a:gd name="connsiteX61" fmla="*/ 7442 w 10000"/>
                <a:gd name="connsiteY61" fmla="*/ 8745 h 10000"/>
                <a:gd name="connsiteX62" fmla="*/ 7442 w 10000"/>
                <a:gd name="connsiteY62" fmla="*/ 9412 h 10000"/>
                <a:gd name="connsiteX63" fmla="*/ 7287 w 10000"/>
                <a:gd name="connsiteY63" fmla="*/ 9510 h 10000"/>
                <a:gd name="connsiteX64" fmla="*/ 7151 w 10000"/>
                <a:gd name="connsiteY64" fmla="*/ 9569 h 10000"/>
                <a:gd name="connsiteX65" fmla="*/ 6609 w 10000"/>
                <a:gd name="connsiteY65" fmla="*/ 9157 h 10000"/>
                <a:gd name="connsiteX66" fmla="*/ 6395 w 10000"/>
                <a:gd name="connsiteY66" fmla="*/ 9235 h 10000"/>
                <a:gd name="connsiteX67" fmla="*/ 6279 w 10000"/>
                <a:gd name="connsiteY67" fmla="*/ 9275 h 10000"/>
                <a:gd name="connsiteX68" fmla="*/ 6163 w 10000"/>
                <a:gd name="connsiteY68" fmla="*/ 9314 h 10000"/>
                <a:gd name="connsiteX69" fmla="*/ 5950 w 10000"/>
                <a:gd name="connsiteY69" fmla="*/ 9961 h 10000"/>
                <a:gd name="connsiteX70" fmla="*/ 5640 w 10000"/>
                <a:gd name="connsiteY70" fmla="*/ 10000 h 10000"/>
                <a:gd name="connsiteX71" fmla="*/ 5252 w 10000"/>
                <a:gd name="connsiteY71" fmla="*/ 9451 h 10000"/>
                <a:gd name="connsiteX72" fmla="*/ 5019 w 10000"/>
                <a:gd name="connsiteY72" fmla="*/ 9451 h 10000"/>
                <a:gd name="connsiteX73" fmla="*/ 4767 w 10000"/>
                <a:gd name="connsiteY73" fmla="*/ 9451 h 10000"/>
                <a:gd name="connsiteX74" fmla="*/ 4380 w 10000"/>
                <a:gd name="connsiteY74" fmla="*/ 10000 h 10000"/>
                <a:gd name="connsiteX75" fmla="*/ 4225 w 10000"/>
                <a:gd name="connsiteY75" fmla="*/ 9980 h 10000"/>
                <a:gd name="connsiteX76" fmla="*/ 4070 w 10000"/>
                <a:gd name="connsiteY76" fmla="*/ 9961 h 10000"/>
                <a:gd name="connsiteX77" fmla="*/ 3857 w 10000"/>
                <a:gd name="connsiteY77" fmla="*/ 9314 h 10000"/>
                <a:gd name="connsiteX78" fmla="*/ 3624 w 10000"/>
                <a:gd name="connsiteY78" fmla="*/ 9235 h 10000"/>
                <a:gd name="connsiteX79" fmla="*/ 3508 w 10000"/>
                <a:gd name="connsiteY79" fmla="*/ 9216 h 10000"/>
                <a:gd name="connsiteX80" fmla="*/ 3411 w 10000"/>
                <a:gd name="connsiteY80" fmla="*/ 9157 h 10000"/>
                <a:gd name="connsiteX81" fmla="*/ 2868 w 10000"/>
                <a:gd name="connsiteY81" fmla="*/ 9569 h 10000"/>
                <a:gd name="connsiteX82" fmla="*/ 2733 w 10000"/>
                <a:gd name="connsiteY82" fmla="*/ 9510 h 10000"/>
                <a:gd name="connsiteX83" fmla="*/ 2578 w 10000"/>
                <a:gd name="connsiteY83" fmla="*/ 9412 h 10000"/>
                <a:gd name="connsiteX84" fmla="*/ 2597 w 10000"/>
                <a:gd name="connsiteY84" fmla="*/ 8745 h 10000"/>
                <a:gd name="connsiteX85" fmla="*/ 2403 w 10000"/>
                <a:gd name="connsiteY85" fmla="*/ 8608 h 10000"/>
                <a:gd name="connsiteX86" fmla="*/ 2306 w 10000"/>
                <a:gd name="connsiteY86" fmla="*/ 8529 h 10000"/>
                <a:gd name="connsiteX87" fmla="*/ 2209 w 10000"/>
                <a:gd name="connsiteY87" fmla="*/ 8471 h 10000"/>
                <a:gd name="connsiteX88" fmla="*/ 1570 w 10000"/>
                <a:gd name="connsiteY88" fmla="*/ 8686 h 10000"/>
                <a:gd name="connsiteX89" fmla="*/ 1453 w 10000"/>
                <a:gd name="connsiteY89" fmla="*/ 8569 h 10000"/>
                <a:gd name="connsiteX90" fmla="*/ 1337 w 10000"/>
                <a:gd name="connsiteY90" fmla="*/ 8451 h 10000"/>
                <a:gd name="connsiteX91" fmla="*/ 1550 w 10000"/>
                <a:gd name="connsiteY91" fmla="*/ 7804 h 10000"/>
                <a:gd name="connsiteX92" fmla="*/ 1415 w 10000"/>
                <a:gd name="connsiteY92" fmla="*/ 7627 h 10000"/>
                <a:gd name="connsiteX93" fmla="*/ 1279 w 10000"/>
                <a:gd name="connsiteY93" fmla="*/ 7412 h 10000"/>
                <a:gd name="connsiteX94" fmla="*/ 601 w 10000"/>
                <a:gd name="connsiteY94" fmla="*/ 7431 h 10000"/>
                <a:gd name="connsiteX95" fmla="*/ 523 w 10000"/>
                <a:gd name="connsiteY95" fmla="*/ 7294 h 10000"/>
                <a:gd name="connsiteX96" fmla="*/ 446 w 10000"/>
                <a:gd name="connsiteY96" fmla="*/ 7157 h 10000"/>
                <a:gd name="connsiteX97" fmla="*/ 853 w 10000"/>
                <a:gd name="connsiteY97" fmla="*/ 6608 h 10000"/>
                <a:gd name="connsiteX98" fmla="*/ 775 w 10000"/>
                <a:gd name="connsiteY98" fmla="*/ 6392 h 10000"/>
                <a:gd name="connsiteX99" fmla="*/ 756 w 10000"/>
                <a:gd name="connsiteY99" fmla="*/ 6275 h 10000"/>
                <a:gd name="connsiteX100" fmla="*/ 717 w 10000"/>
                <a:gd name="connsiteY100" fmla="*/ 6157 h 10000"/>
                <a:gd name="connsiteX101" fmla="*/ 58 w 10000"/>
                <a:gd name="connsiteY101" fmla="*/ 5941 h 10000"/>
                <a:gd name="connsiteX102" fmla="*/ 0 w 10000"/>
                <a:gd name="connsiteY102" fmla="*/ 5627 h 10000"/>
                <a:gd name="connsiteX103" fmla="*/ 581 w 10000"/>
                <a:gd name="connsiteY103" fmla="*/ 5235 h 10000"/>
                <a:gd name="connsiteX104" fmla="*/ 562 w 10000"/>
                <a:gd name="connsiteY104" fmla="*/ 5000 h 10000"/>
                <a:gd name="connsiteX105" fmla="*/ 581 w 10000"/>
                <a:gd name="connsiteY105" fmla="*/ 4765 h 10000"/>
                <a:gd name="connsiteX106" fmla="*/ 0 w 10000"/>
                <a:gd name="connsiteY106" fmla="*/ 4392 h 10000"/>
                <a:gd name="connsiteX107" fmla="*/ 19 w 10000"/>
                <a:gd name="connsiteY107" fmla="*/ 4216 h 10000"/>
                <a:gd name="connsiteX108" fmla="*/ 58 w 10000"/>
                <a:gd name="connsiteY108" fmla="*/ 4059 h 10000"/>
                <a:gd name="connsiteX109" fmla="*/ 717 w 10000"/>
                <a:gd name="connsiteY109" fmla="*/ 3863 h 10000"/>
                <a:gd name="connsiteX110" fmla="*/ 775 w 10000"/>
                <a:gd name="connsiteY110" fmla="*/ 3627 h 10000"/>
                <a:gd name="connsiteX111" fmla="*/ 814 w 10000"/>
                <a:gd name="connsiteY111" fmla="*/ 3510 h 10000"/>
                <a:gd name="connsiteX112" fmla="*/ 853 w 10000"/>
                <a:gd name="connsiteY112" fmla="*/ 3392 h 10000"/>
                <a:gd name="connsiteX113" fmla="*/ 446 w 10000"/>
                <a:gd name="connsiteY113" fmla="*/ 2863 h 10000"/>
                <a:gd name="connsiteX114" fmla="*/ 523 w 10000"/>
                <a:gd name="connsiteY114" fmla="*/ 2706 h 10000"/>
                <a:gd name="connsiteX115" fmla="*/ 601 w 10000"/>
                <a:gd name="connsiteY115" fmla="*/ 2588 h 10000"/>
                <a:gd name="connsiteX116" fmla="*/ 1279 w 10000"/>
                <a:gd name="connsiteY116" fmla="*/ 2588 h 10000"/>
                <a:gd name="connsiteX0" fmla="*/ 3411 w 10000"/>
                <a:gd name="connsiteY0" fmla="*/ 843 h 10000"/>
                <a:gd name="connsiteX1" fmla="*/ 3624 w 10000"/>
                <a:gd name="connsiteY1" fmla="*/ 765 h 10000"/>
                <a:gd name="connsiteX2" fmla="*/ 3740 w 10000"/>
                <a:gd name="connsiteY2" fmla="*/ 725 h 10000"/>
                <a:gd name="connsiteX3" fmla="*/ 3857 w 10000"/>
                <a:gd name="connsiteY3" fmla="*/ 706 h 10000"/>
                <a:gd name="connsiteX4" fmla="*/ 4070 w 10000"/>
                <a:gd name="connsiteY4" fmla="*/ 59 h 10000"/>
                <a:gd name="connsiteX5" fmla="*/ 4380 w 10000"/>
                <a:gd name="connsiteY5" fmla="*/ 0 h 10000"/>
                <a:gd name="connsiteX6" fmla="*/ 4767 w 10000"/>
                <a:gd name="connsiteY6" fmla="*/ 569 h 10000"/>
                <a:gd name="connsiteX7" fmla="*/ 5019 w 10000"/>
                <a:gd name="connsiteY7" fmla="*/ 549 h 10000"/>
                <a:gd name="connsiteX8" fmla="*/ 5252 w 10000"/>
                <a:gd name="connsiteY8" fmla="*/ 569 h 10000"/>
                <a:gd name="connsiteX9" fmla="*/ 5640 w 10000"/>
                <a:gd name="connsiteY9" fmla="*/ 0 h 10000"/>
                <a:gd name="connsiteX10" fmla="*/ 5795 w 10000"/>
                <a:gd name="connsiteY10" fmla="*/ 20 h 10000"/>
                <a:gd name="connsiteX11" fmla="*/ 5950 w 10000"/>
                <a:gd name="connsiteY11" fmla="*/ 59 h 10000"/>
                <a:gd name="connsiteX12" fmla="*/ 6163 w 10000"/>
                <a:gd name="connsiteY12" fmla="*/ 706 h 10000"/>
                <a:gd name="connsiteX13" fmla="*/ 6395 w 10000"/>
                <a:gd name="connsiteY13" fmla="*/ 765 h 10000"/>
                <a:gd name="connsiteX14" fmla="*/ 6492 w 10000"/>
                <a:gd name="connsiteY14" fmla="*/ 804 h 10000"/>
                <a:gd name="connsiteX15" fmla="*/ 6609 w 10000"/>
                <a:gd name="connsiteY15" fmla="*/ 843 h 10000"/>
                <a:gd name="connsiteX16" fmla="*/ 7151 w 10000"/>
                <a:gd name="connsiteY16" fmla="*/ 451 h 10000"/>
                <a:gd name="connsiteX17" fmla="*/ 7287 w 10000"/>
                <a:gd name="connsiteY17" fmla="*/ 510 h 10000"/>
                <a:gd name="connsiteX18" fmla="*/ 7442 w 10000"/>
                <a:gd name="connsiteY18" fmla="*/ 588 h 10000"/>
                <a:gd name="connsiteX19" fmla="*/ 7442 w 10000"/>
                <a:gd name="connsiteY19" fmla="*/ 1275 h 10000"/>
                <a:gd name="connsiteX20" fmla="*/ 7616 w 10000"/>
                <a:gd name="connsiteY20" fmla="*/ 1412 h 10000"/>
                <a:gd name="connsiteX21" fmla="*/ 7713 w 10000"/>
                <a:gd name="connsiteY21" fmla="*/ 1471 h 10000"/>
                <a:gd name="connsiteX22" fmla="*/ 7810 w 10000"/>
                <a:gd name="connsiteY22" fmla="*/ 1549 h 10000"/>
                <a:gd name="connsiteX23" fmla="*/ 8450 w 10000"/>
                <a:gd name="connsiteY23" fmla="*/ 1333 h 10000"/>
                <a:gd name="connsiteX24" fmla="*/ 8566 w 10000"/>
                <a:gd name="connsiteY24" fmla="*/ 1451 h 10000"/>
                <a:gd name="connsiteX25" fmla="*/ 8682 w 10000"/>
                <a:gd name="connsiteY25" fmla="*/ 1569 h 10000"/>
                <a:gd name="connsiteX26" fmla="*/ 8469 w 10000"/>
                <a:gd name="connsiteY26" fmla="*/ 2216 h 10000"/>
                <a:gd name="connsiteX27" fmla="*/ 8605 w 10000"/>
                <a:gd name="connsiteY27" fmla="*/ 2392 h 10000"/>
                <a:gd name="connsiteX28" fmla="*/ 8740 w 10000"/>
                <a:gd name="connsiteY28" fmla="*/ 2588 h 10000"/>
                <a:gd name="connsiteX29" fmla="*/ 9419 w 10000"/>
                <a:gd name="connsiteY29" fmla="*/ 2588 h 10000"/>
                <a:gd name="connsiteX30" fmla="*/ 9496 w 10000"/>
                <a:gd name="connsiteY30" fmla="*/ 2706 h 10000"/>
                <a:gd name="connsiteX31" fmla="*/ 9574 w 10000"/>
                <a:gd name="connsiteY31" fmla="*/ 2863 h 10000"/>
                <a:gd name="connsiteX32" fmla="*/ 9167 w 10000"/>
                <a:gd name="connsiteY32" fmla="*/ 3392 h 10000"/>
                <a:gd name="connsiteX33" fmla="*/ 9244 w 10000"/>
                <a:gd name="connsiteY33" fmla="*/ 3627 h 10000"/>
                <a:gd name="connsiteX34" fmla="*/ 9283 w 10000"/>
                <a:gd name="connsiteY34" fmla="*/ 3745 h 10000"/>
                <a:gd name="connsiteX35" fmla="*/ 9302 w 10000"/>
                <a:gd name="connsiteY35" fmla="*/ 3863 h 10000"/>
                <a:gd name="connsiteX36" fmla="*/ 9961 w 10000"/>
                <a:gd name="connsiteY36" fmla="*/ 4059 h 10000"/>
                <a:gd name="connsiteX37" fmla="*/ 10000 w 10000"/>
                <a:gd name="connsiteY37" fmla="*/ 4392 h 10000"/>
                <a:gd name="connsiteX38" fmla="*/ 9438 w 10000"/>
                <a:gd name="connsiteY38" fmla="*/ 4765 h 10000"/>
                <a:gd name="connsiteX39" fmla="*/ 9457 w 10000"/>
                <a:gd name="connsiteY39" fmla="*/ 5000 h 10000"/>
                <a:gd name="connsiteX40" fmla="*/ 9438 w 10000"/>
                <a:gd name="connsiteY40" fmla="*/ 5235 h 10000"/>
                <a:gd name="connsiteX41" fmla="*/ 10000 w 10000"/>
                <a:gd name="connsiteY41" fmla="*/ 5627 h 10000"/>
                <a:gd name="connsiteX42" fmla="*/ 9981 w 10000"/>
                <a:gd name="connsiteY42" fmla="*/ 5784 h 10000"/>
                <a:gd name="connsiteX43" fmla="*/ 9961 w 10000"/>
                <a:gd name="connsiteY43" fmla="*/ 5941 h 10000"/>
                <a:gd name="connsiteX44" fmla="*/ 9302 w 10000"/>
                <a:gd name="connsiteY44" fmla="*/ 6157 h 10000"/>
                <a:gd name="connsiteX45" fmla="*/ 9244 w 10000"/>
                <a:gd name="connsiteY45" fmla="*/ 6392 h 10000"/>
                <a:gd name="connsiteX46" fmla="*/ 9205 w 10000"/>
                <a:gd name="connsiteY46" fmla="*/ 6490 h 10000"/>
                <a:gd name="connsiteX47" fmla="*/ 9167 w 10000"/>
                <a:gd name="connsiteY47" fmla="*/ 6608 h 10000"/>
                <a:gd name="connsiteX48" fmla="*/ 9574 w 10000"/>
                <a:gd name="connsiteY48" fmla="*/ 7157 h 10000"/>
                <a:gd name="connsiteX49" fmla="*/ 9496 w 10000"/>
                <a:gd name="connsiteY49" fmla="*/ 7294 h 10000"/>
                <a:gd name="connsiteX50" fmla="*/ 9419 w 10000"/>
                <a:gd name="connsiteY50" fmla="*/ 7431 h 10000"/>
                <a:gd name="connsiteX51" fmla="*/ 8740 w 10000"/>
                <a:gd name="connsiteY51" fmla="*/ 7412 h 10000"/>
                <a:gd name="connsiteX52" fmla="*/ 8605 w 10000"/>
                <a:gd name="connsiteY52" fmla="*/ 7627 h 10000"/>
                <a:gd name="connsiteX53" fmla="*/ 8547 w 10000"/>
                <a:gd name="connsiteY53" fmla="*/ 7706 h 10000"/>
                <a:gd name="connsiteX54" fmla="*/ 8469 w 10000"/>
                <a:gd name="connsiteY54" fmla="*/ 7804 h 10000"/>
                <a:gd name="connsiteX55" fmla="*/ 8682 w 10000"/>
                <a:gd name="connsiteY55" fmla="*/ 8451 h 10000"/>
                <a:gd name="connsiteX56" fmla="*/ 8566 w 10000"/>
                <a:gd name="connsiteY56" fmla="*/ 8569 h 10000"/>
                <a:gd name="connsiteX57" fmla="*/ 8450 w 10000"/>
                <a:gd name="connsiteY57" fmla="*/ 8686 h 10000"/>
                <a:gd name="connsiteX58" fmla="*/ 7810 w 10000"/>
                <a:gd name="connsiteY58" fmla="*/ 8471 h 10000"/>
                <a:gd name="connsiteX59" fmla="*/ 7616 w 10000"/>
                <a:gd name="connsiteY59" fmla="*/ 8608 h 10000"/>
                <a:gd name="connsiteX60" fmla="*/ 7442 w 10000"/>
                <a:gd name="connsiteY60" fmla="*/ 8745 h 10000"/>
                <a:gd name="connsiteX61" fmla="*/ 7442 w 10000"/>
                <a:gd name="connsiteY61" fmla="*/ 9412 h 10000"/>
                <a:gd name="connsiteX62" fmla="*/ 7287 w 10000"/>
                <a:gd name="connsiteY62" fmla="*/ 9510 h 10000"/>
                <a:gd name="connsiteX63" fmla="*/ 7151 w 10000"/>
                <a:gd name="connsiteY63" fmla="*/ 9569 h 10000"/>
                <a:gd name="connsiteX64" fmla="*/ 6609 w 10000"/>
                <a:gd name="connsiteY64" fmla="*/ 9157 h 10000"/>
                <a:gd name="connsiteX65" fmla="*/ 6395 w 10000"/>
                <a:gd name="connsiteY65" fmla="*/ 9235 h 10000"/>
                <a:gd name="connsiteX66" fmla="*/ 6279 w 10000"/>
                <a:gd name="connsiteY66" fmla="*/ 9275 h 10000"/>
                <a:gd name="connsiteX67" fmla="*/ 6163 w 10000"/>
                <a:gd name="connsiteY67" fmla="*/ 9314 h 10000"/>
                <a:gd name="connsiteX68" fmla="*/ 5950 w 10000"/>
                <a:gd name="connsiteY68" fmla="*/ 9961 h 10000"/>
                <a:gd name="connsiteX69" fmla="*/ 5640 w 10000"/>
                <a:gd name="connsiteY69" fmla="*/ 10000 h 10000"/>
                <a:gd name="connsiteX70" fmla="*/ 5252 w 10000"/>
                <a:gd name="connsiteY70" fmla="*/ 9451 h 10000"/>
                <a:gd name="connsiteX71" fmla="*/ 5019 w 10000"/>
                <a:gd name="connsiteY71" fmla="*/ 9451 h 10000"/>
                <a:gd name="connsiteX72" fmla="*/ 4767 w 10000"/>
                <a:gd name="connsiteY72" fmla="*/ 9451 h 10000"/>
                <a:gd name="connsiteX73" fmla="*/ 4380 w 10000"/>
                <a:gd name="connsiteY73" fmla="*/ 10000 h 10000"/>
                <a:gd name="connsiteX74" fmla="*/ 4225 w 10000"/>
                <a:gd name="connsiteY74" fmla="*/ 9980 h 10000"/>
                <a:gd name="connsiteX75" fmla="*/ 4070 w 10000"/>
                <a:gd name="connsiteY75" fmla="*/ 9961 h 10000"/>
                <a:gd name="connsiteX76" fmla="*/ 3857 w 10000"/>
                <a:gd name="connsiteY76" fmla="*/ 9314 h 10000"/>
                <a:gd name="connsiteX77" fmla="*/ 3624 w 10000"/>
                <a:gd name="connsiteY77" fmla="*/ 9235 h 10000"/>
                <a:gd name="connsiteX78" fmla="*/ 3508 w 10000"/>
                <a:gd name="connsiteY78" fmla="*/ 9216 h 10000"/>
                <a:gd name="connsiteX79" fmla="*/ 3411 w 10000"/>
                <a:gd name="connsiteY79" fmla="*/ 9157 h 10000"/>
                <a:gd name="connsiteX80" fmla="*/ 2868 w 10000"/>
                <a:gd name="connsiteY80" fmla="*/ 9569 h 10000"/>
                <a:gd name="connsiteX81" fmla="*/ 2733 w 10000"/>
                <a:gd name="connsiteY81" fmla="*/ 9510 h 10000"/>
                <a:gd name="connsiteX82" fmla="*/ 2578 w 10000"/>
                <a:gd name="connsiteY82" fmla="*/ 9412 h 10000"/>
                <a:gd name="connsiteX83" fmla="*/ 2597 w 10000"/>
                <a:gd name="connsiteY83" fmla="*/ 8745 h 10000"/>
                <a:gd name="connsiteX84" fmla="*/ 2403 w 10000"/>
                <a:gd name="connsiteY84" fmla="*/ 8608 h 10000"/>
                <a:gd name="connsiteX85" fmla="*/ 2306 w 10000"/>
                <a:gd name="connsiteY85" fmla="*/ 8529 h 10000"/>
                <a:gd name="connsiteX86" fmla="*/ 2209 w 10000"/>
                <a:gd name="connsiteY86" fmla="*/ 8471 h 10000"/>
                <a:gd name="connsiteX87" fmla="*/ 1570 w 10000"/>
                <a:gd name="connsiteY87" fmla="*/ 8686 h 10000"/>
                <a:gd name="connsiteX88" fmla="*/ 1453 w 10000"/>
                <a:gd name="connsiteY88" fmla="*/ 8569 h 10000"/>
                <a:gd name="connsiteX89" fmla="*/ 1337 w 10000"/>
                <a:gd name="connsiteY89" fmla="*/ 8451 h 10000"/>
                <a:gd name="connsiteX90" fmla="*/ 1550 w 10000"/>
                <a:gd name="connsiteY90" fmla="*/ 7804 h 10000"/>
                <a:gd name="connsiteX91" fmla="*/ 1415 w 10000"/>
                <a:gd name="connsiteY91" fmla="*/ 7627 h 10000"/>
                <a:gd name="connsiteX92" fmla="*/ 1279 w 10000"/>
                <a:gd name="connsiteY92" fmla="*/ 7412 h 10000"/>
                <a:gd name="connsiteX93" fmla="*/ 601 w 10000"/>
                <a:gd name="connsiteY93" fmla="*/ 7431 h 10000"/>
                <a:gd name="connsiteX94" fmla="*/ 523 w 10000"/>
                <a:gd name="connsiteY94" fmla="*/ 7294 h 10000"/>
                <a:gd name="connsiteX95" fmla="*/ 446 w 10000"/>
                <a:gd name="connsiteY95" fmla="*/ 7157 h 10000"/>
                <a:gd name="connsiteX96" fmla="*/ 853 w 10000"/>
                <a:gd name="connsiteY96" fmla="*/ 6608 h 10000"/>
                <a:gd name="connsiteX97" fmla="*/ 775 w 10000"/>
                <a:gd name="connsiteY97" fmla="*/ 6392 h 10000"/>
                <a:gd name="connsiteX98" fmla="*/ 756 w 10000"/>
                <a:gd name="connsiteY98" fmla="*/ 6275 h 10000"/>
                <a:gd name="connsiteX99" fmla="*/ 717 w 10000"/>
                <a:gd name="connsiteY99" fmla="*/ 6157 h 10000"/>
                <a:gd name="connsiteX100" fmla="*/ 58 w 10000"/>
                <a:gd name="connsiteY100" fmla="*/ 5941 h 10000"/>
                <a:gd name="connsiteX101" fmla="*/ 0 w 10000"/>
                <a:gd name="connsiteY101" fmla="*/ 5627 h 10000"/>
                <a:gd name="connsiteX102" fmla="*/ 581 w 10000"/>
                <a:gd name="connsiteY102" fmla="*/ 5235 h 10000"/>
                <a:gd name="connsiteX103" fmla="*/ 562 w 10000"/>
                <a:gd name="connsiteY103" fmla="*/ 5000 h 10000"/>
                <a:gd name="connsiteX104" fmla="*/ 581 w 10000"/>
                <a:gd name="connsiteY104" fmla="*/ 4765 h 10000"/>
                <a:gd name="connsiteX105" fmla="*/ 0 w 10000"/>
                <a:gd name="connsiteY105" fmla="*/ 4392 h 10000"/>
                <a:gd name="connsiteX106" fmla="*/ 19 w 10000"/>
                <a:gd name="connsiteY106" fmla="*/ 4216 h 10000"/>
                <a:gd name="connsiteX107" fmla="*/ 58 w 10000"/>
                <a:gd name="connsiteY107" fmla="*/ 4059 h 10000"/>
                <a:gd name="connsiteX108" fmla="*/ 717 w 10000"/>
                <a:gd name="connsiteY108" fmla="*/ 3863 h 10000"/>
                <a:gd name="connsiteX109" fmla="*/ 775 w 10000"/>
                <a:gd name="connsiteY109" fmla="*/ 3627 h 10000"/>
                <a:gd name="connsiteX110" fmla="*/ 814 w 10000"/>
                <a:gd name="connsiteY110" fmla="*/ 3510 h 10000"/>
                <a:gd name="connsiteX111" fmla="*/ 853 w 10000"/>
                <a:gd name="connsiteY111" fmla="*/ 3392 h 10000"/>
                <a:gd name="connsiteX112" fmla="*/ 446 w 10000"/>
                <a:gd name="connsiteY112" fmla="*/ 2863 h 10000"/>
                <a:gd name="connsiteX113" fmla="*/ 523 w 10000"/>
                <a:gd name="connsiteY113" fmla="*/ 2706 h 10000"/>
                <a:gd name="connsiteX114" fmla="*/ 601 w 10000"/>
                <a:gd name="connsiteY114" fmla="*/ 2588 h 10000"/>
                <a:gd name="connsiteX115" fmla="*/ 1279 w 10000"/>
                <a:gd name="connsiteY115" fmla="*/ 2588 h 10000"/>
                <a:gd name="connsiteX0" fmla="*/ 3411 w 10000"/>
                <a:gd name="connsiteY0" fmla="*/ 843 h 10000"/>
                <a:gd name="connsiteX1" fmla="*/ 3740 w 10000"/>
                <a:gd name="connsiteY1" fmla="*/ 725 h 10000"/>
                <a:gd name="connsiteX2" fmla="*/ 3857 w 10000"/>
                <a:gd name="connsiteY2" fmla="*/ 706 h 10000"/>
                <a:gd name="connsiteX3" fmla="*/ 4070 w 10000"/>
                <a:gd name="connsiteY3" fmla="*/ 59 h 10000"/>
                <a:gd name="connsiteX4" fmla="*/ 4380 w 10000"/>
                <a:gd name="connsiteY4" fmla="*/ 0 h 10000"/>
                <a:gd name="connsiteX5" fmla="*/ 4767 w 10000"/>
                <a:gd name="connsiteY5" fmla="*/ 569 h 10000"/>
                <a:gd name="connsiteX6" fmla="*/ 5019 w 10000"/>
                <a:gd name="connsiteY6" fmla="*/ 549 h 10000"/>
                <a:gd name="connsiteX7" fmla="*/ 5252 w 10000"/>
                <a:gd name="connsiteY7" fmla="*/ 569 h 10000"/>
                <a:gd name="connsiteX8" fmla="*/ 5640 w 10000"/>
                <a:gd name="connsiteY8" fmla="*/ 0 h 10000"/>
                <a:gd name="connsiteX9" fmla="*/ 5795 w 10000"/>
                <a:gd name="connsiteY9" fmla="*/ 20 h 10000"/>
                <a:gd name="connsiteX10" fmla="*/ 5950 w 10000"/>
                <a:gd name="connsiteY10" fmla="*/ 59 h 10000"/>
                <a:gd name="connsiteX11" fmla="*/ 6163 w 10000"/>
                <a:gd name="connsiteY11" fmla="*/ 706 h 10000"/>
                <a:gd name="connsiteX12" fmla="*/ 6395 w 10000"/>
                <a:gd name="connsiteY12" fmla="*/ 765 h 10000"/>
                <a:gd name="connsiteX13" fmla="*/ 6492 w 10000"/>
                <a:gd name="connsiteY13" fmla="*/ 804 h 10000"/>
                <a:gd name="connsiteX14" fmla="*/ 6609 w 10000"/>
                <a:gd name="connsiteY14" fmla="*/ 843 h 10000"/>
                <a:gd name="connsiteX15" fmla="*/ 7151 w 10000"/>
                <a:gd name="connsiteY15" fmla="*/ 451 h 10000"/>
                <a:gd name="connsiteX16" fmla="*/ 7287 w 10000"/>
                <a:gd name="connsiteY16" fmla="*/ 510 h 10000"/>
                <a:gd name="connsiteX17" fmla="*/ 7442 w 10000"/>
                <a:gd name="connsiteY17" fmla="*/ 588 h 10000"/>
                <a:gd name="connsiteX18" fmla="*/ 7442 w 10000"/>
                <a:gd name="connsiteY18" fmla="*/ 1275 h 10000"/>
                <a:gd name="connsiteX19" fmla="*/ 7616 w 10000"/>
                <a:gd name="connsiteY19" fmla="*/ 1412 h 10000"/>
                <a:gd name="connsiteX20" fmla="*/ 7713 w 10000"/>
                <a:gd name="connsiteY20" fmla="*/ 1471 h 10000"/>
                <a:gd name="connsiteX21" fmla="*/ 7810 w 10000"/>
                <a:gd name="connsiteY21" fmla="*/ 1549 h 10000"/>
                <a:gd name="connsiteX22" fmla="*/ 8450 w 10000"/>
                <a:gd name="connsiteY22" fmla="*/ 1333 h 10000"/>
                <a:gd name="connsiteX23" fmla="*/ 8566 w 10000"/>
                <a:gd name="connsiteY23" fmla="*/ 1451 h 10000"/>
                <a:gd name="connsiteX24" fmla="*/ 8682 w 10000"/>
                <a:gd name="connsiteY24" fmla="*/ 1569 h 10000"/>
                <a:gd name="connsiteX25" fmla="*/ 8469 w 10000"/>
                <a:gd name="connsiteY25" fmla="*/ 2216 h 10000"/>
                <a:gd name="connsiteX26" fmla="*/ 8605 w 10000"/>
                <a:gd name="connsiteY26" fmla="*/ 2392 h 10000"/>
                <a:gd name="connsiteX27" fmla="*/ 8740 w 10000"/>
                <a:gd name="connsiteY27" fmla="*/ 2588 h 10000"/>
                <a:gd name="connsiteX28" fmla="*/ 9419 w 10000"/>
                <a:gd name="connsiteY28" fmla="*/ 2588 h 10000"/>
                <a:gd name="connsiteX29" fmla="*/ 9496 w 10000"/>
                <a:gd name="connsiteY29" fmla="*/ 2706 h 10000"/>
                <a:gd name="connsiteX30" fmla="*/ 9574 w 10000"/>
                <a:gd name="connsiteY30" fmla="*/ 2863 h 10000"/>
                <a:gd name="connsiteX31" fmla="*/ 9167 w 10000"/>
                <a:gd name="connsiteY31" fmla="*/ 3392 h 10000"/>
                <a:gd name="connsiteX32" fmla="*/ 9244 w 10000"/>
                <a:gd name="connsiteY32" fmla="*/ 3627 h 10000"/>
                <a:gd name="connsiteX33" fmla="*/ 9283 w 10000"/>
                <a:gd name="connsiteY33" fmla="*/ 3745 h 10000"/>
                <a:gd name="connsiteX34" fmla="*/ 9302 w 10000"/>
                <a:gd name="connsiteY34" fmla="*/ 3863 h 10000"/>
                <a:gd name="connsiteX35" fmla="*/ 9961 w 10000"/>
                <a:gd name="connsiteY35" fmla="*/ 4059 h 10000"/>
                <a:gd name="connsiteX36" fmla="*/ 10000 w 10000"/>
                <a:gd name="connsiteY36" fmla="*/ 4392 h 10000"/>
                <a:gd name="connsiteX37" fmla="*/ 9438 w 10000"/>
                <a:gd name="connsiteY37" fmla="*/ 4765 h 10000"/>
                <a:gd name="connsiteX38" fmla="*/ 9457 w 10000"/>
                <a:gd name="connsiteY38" fmla="*/ 5000 h 10000"/>
                <a:gd name="connsiteX39" fmla="*/ 9438 w 10000"/>
                <a:gd name="connsiteY39" fmla="*/ 5235 h 10000"/>
                <a:gd name="connsiteX40" fmla="*/ 10000 w 10000"/>
                <a:gd name="connsiteY40" fmla="*/ 5627 h 10000"/>
                <a:gd name="connsiteX41" fmla="*/ 9981 w 10000"/>
                <a:gd name="connsiteY41" fmla="*/ 5784 h 10000"/>
                <a:gd name="connsiteX42" fmla="*/ 9961 w 10000"/>
                <a:gd name="connsiteY42" fmla="*/ 5941 h 10000"/>
                <a:gd name="connsiteX43" fmla="*/ 9302 w 10000"/>
                <a:gd name="connsiteY43" fmla="*/ 6157 h 10000"/>
                <a:gd name="connsiteX44" fmla="*/ 9244 w 10000"/>
                <a:gd name="connsiteY44" fmla="*/ 6392 h 10000"/>
                <a:gd name="connsiteX45" fmla="*/ 9205 w 10000"/>
                <a:gd name="connsiteY45" fmla="*/ 6490 h 10000"/>
                <a:gd name="connsiteX46" fmla="*/ 9167 w 10000"/>
                <a:gd name="connsiteY46" fmla="*/ 6608 h 10000"/>
                <a:gd name="connsiteX47" fmla="*/ 9574 w 10000"/>
                <a:gd name="connsiteY47" fmla="*/ 7157 h 10000"/>
                <a:gd name="connsiteX48" fmla="*/ 9496 w 10000"/>
                <a:gd name="connsiteY48" fmla="*/ 7294 h 10000"/>
                <a:gd name="connsiteX49" fmla="*/ 9419 w 10000"/>
                <a:gd name="connsiteY49" fmla="*/ 7431 h 10000"/>
                <a:gd name="connsiteX50" fmla="*/ 8740 w 10000"/>
                <a:gd name="connsiteY50" fmla="*/ 7412 h 10000"/>
                <a:gd name="connsiteX51" fmla="*/ 8605 w 10000"/>
                <a:gd name="connsiteY51" fmla="*/ 7627 h 10000"/>
                <a:gd name="connsiteX52" fmla="*/ 8547 w 10000"/>
                <a:gd name="connsiteY52" fmla="*/ 7706 h 10000"/>
                <a:gd name="connsiteX53" fmla="*/ 8469 w 10000"/>
                <a:gd name="connsiteY53" fmla="*/ 7804 h 10000"/>
                <a:gd name="connsiteX54" fmla="*/ 8682 w 10000"/>
                <a:gd name="connsiteY54" fmla="*/ 8451 h 10000"/>
                <a:gd name="connsiteX55" fmla="*/ 8566 w 10000"/>
                <a:gd name="connsiteY55" fmla="*/ 8569 h 10000"/>
                <a:gd name="connsiteX56" fmla="*/ 8450 w 10000"/>
                <a:gd name="connsiteY56" fmla="*/ 8686 h 10000"/>
                <a:gd name="connsiteX57" fmla="*/ 7810 w 10000"/>
                <a:gd name="connsiteY57" fmla="*/ 8471 h 10000"/>
                <a:gd name="connsiteX58" fmla="*/ 7616 w 10000"/>
                <a:gd name="connsiteY58" fmla="*/ 8608 h 10000"/>
                <a:gd name="connsiteX59" fmla="*/ 7442 w 10000"/>
                <a:gd name="connsiteY59" fmla="*/ 8745 h 10000"/>
                <a:gd name="connsiteX60" fmla="*/ 7442 w 10000"/>
                <a:gd name="connsiteY60" fmla="*/ 9412 h 10000"/>
                <a:gd name="connsiteX61" fmla="*/ 7287 w 10000"/>
                <a:gd name="connsiteY61" fmla="*/ 9510 h 10000"/>
                <a:gd name="connsiteX62" fmla="*/ 7151 w 10000"/>
                <a:gd name="connsiteY62" fmla="*/ 9569 h 10000"/>
                <a:gd name="connsiteX63" fmla="*/ 6609 w 10000"/>
                <a:gd name="connsiteY63" fmla="*/ 9157 h 10000"/>
                <a:gd name="connsiteX64" fmla="*/ 6395 w 10000"/>
                <a:gd name="connsiteY64" fmla="*/ 9235 h 10000"/>
                <a:gd name="connsiteX65" fmla="*/ 6279 w 10000"/>
                <a:gd name="connsiteY65" fmla="*/ 9275 h 10000"/>
                <a:gd name="connsiteX66" fmla="*/ 6163 w 10000"/>
                <a:gd name="connsiteY66" fmla="*/ 9314 h 10000"/>
                <a:gd name="connsiteX67" fmla="*/ 5950 w 10000"/>
                <a:gd name="connsiteY67" fmla="*/ 9961 h 10000"/>
                <a:gd name="connsiteX68" fmla="*/ 5640 w 10000"/>
                <a:gd name="connsiteY68" fmla="*/ 10000 h 10000"/>
                <a:gd name="connsiteX69" fmla="*/ 5252 w 10000"/>
                <a:gd name="connsiteY69" fmla="*/ 9451 h 10000"/>
                <a:gd name="connsiteX70" fmla="*/ 5019 w 10000"/>
                <a:gd name="connsiteY70" fmla="*/ 9451 h 10000"/>
                <a:gd name="connsiteX71" fmla="*/ 4767 w 10000"/>
                <a:gd name="connsiteY71" fmla="*/ 9451 h 10000"/>
                <a:gd name="connsiteX72" fmla="*/ 4380 w 10000"/>
                <a:gd name="connsiteY72" fmla="*/ 10000 h 10000"/>
                <a:gd name="connsiteX73" fmla="*/ 4225 w 10000"/>
                <a:gd name="connsiteY73" fmla="*/ 9980 h 10000"/>
                <a:gd name="connsiteX74" fmla="*/ 4070 w 10000"/>
                <a:gd name="connsiteY74" fmla="*/ 9961 h 10000"/>
                <a:gd name="connsiteX75" fmla="*/ 3857 w 10000"/>
                <a:gd name="connsiteY75" fmla="*/ 9314 h 10000"/>
                <a:gd name="connsiteX76" fmla="*/ 3624 w 10000"/>
                <a:gd name="connsiteY76" fmla="*/ 9235 h 10000"/>
                <a:gd name="connsiteX77" fmla="*/ 3508 w 10000"/>
                <a:gd name="connsiteY77" fmla="*/ 9216 h 10000"/>
                <a:gd name="connsiteX78" fmla="*/ 3411 w 10000"/>
                <a:gd name="connsiteY78" fmla="*/ 9157 h 10000"/>
                <a:gd name="connsiteX79" fmla="*/ 2868 w 10000"/>
                <a:gd name="connsiteY79" fmla="*/ 9569 h 10000"/>
                <a:gd name="connsiteX80" fmla="*/ 2733 w 10000"/>
                <a:gd name="connsiteY80" fmla="*/ 9510 h 10000"/>
                <a:gd name="connsiteX81" fmla="*/ 2578 w 10000"/>
                <a:gd name="connsiteY81" fmla="*/ 9412 h 10000"/>
                <a:gd name="connsiteX82" fmla="*/ 2597 w 10000"/>
                <a:gd name="connsiteY82" fmla="*/ 8745 h 10000"/>
                <a:gd name="connsiteX83" fmla="*/ 2403 w 10000"/>
                <a:gd name="connsiteY83" fmla="*/ 8608 h 10000"/>
                <a:gd name="connsiteX84" fmla="*/ 2306 w 10000"/>
                <a:gd name="connsiteY84" fmla="*/ 8529 h 10000"/>
                <a:gd name="connsiteX85" fmla="*/ 2209 w 10000"/>
                <a:gd name="connsiteY85" fmla="*/ 8471 h 10000"/>
                <a:gd name="connsiteX86" fmla="*/ 1570 w 10000"/>
                <a:gd name="connsiteY86" fmla="*/ 8686 h 10000"/>
                <a:gd name="connsiteX87" fmla="*/ 1453 w 10000"/>
                <a:gd name="connsiteY87" fmla="*/ 8569 h 10000"/>
                <a:gd name="connsiteX88" fmla="*/ 1337 w 10000"/>
                <a:gd name="connsiteY88" fmla="*/ 8451 h 10000"/>
                <a:gd name="connsiteX89" fmla="*/ 1550 w 10000"/>
                <a:gd name="connsiteY89" fmla="*/ 7804 h 10000"/>
                <a:gd name="connsiteX90" fmla="*/ 1415 w 10000"/>
                <a:gd name="connsiteY90" fmla="*/ 7627 h 10000"/>
                <a:gd name="connsiteX91" fmla="*/ 1279 w 10000"/>
                <a:gd name="connsiteY91" fmla="*/ 7412 h 10000"/>
                <a:gd name="connsiteX92" fmla="*/ 601 w 10000"/>
                <a:gd name="connsiteY92" fmla="*/ 7431 h 10000"/>
                <a:gd name="connsiteX93" fmla="*/ 523 w 10000"/>
                <a:gd name="connsiteY93" fmla="*/ 7294 h 10000"/>
                <a:gd name="connsiteX94" fmla="*/ 446 w 10000"/>
                <a:gd name="connsiteY94" fmla="*/ 7157 h 10000"/>
                <a:gd name="connsiteX95" fmla="*/ 853 w 10000"/>
                <a:gd name="connsiteY95" fmla="*/ 6608 h 10000"/>
                <a:gd name="connsiteX96" fmla="*/ 775 w 10000"/>
                <a:gd name="connsiteY96" fmla="*/ 6392 h 10000"/>
                <a:gd name="connsiteX97" fmla="*/ 756 w 10000"/>
                <a:gd name="connsiteY97" fmla="*/ 6275 h 10000"/>
                <a:gd name="connsiteX98" fmla="*/ 717 w 10000"/>
                <a:gd name="connsiteY98" fmla="*/ 6157 h 10000"/>
                <a:gd name="connsiteX99" fmla="*/ 58 w 10000"/>
                <a:gd name="connsiteY99" fmla="*/ 5941 h 10000"/>
                <a:gd name="connsiteX100" fmla="*/ 0 w 10000"/>
                <a:gd name="connsiteY100" fmla="*/ 5627 h 10000"/>
                <a:gd name="connsiteX101" fmla="*/ 581 w 10000"/>
                <a:gd name="connsiteY101" fmla="*/ 5235 h 10000"/>
                <a:gd name="connsiteX102" fmla="*/ 562 w 10000"/>
                <a:gd name="connsiteY102" fmla="*/ 5000 h 10000"/>
                <a:gd name="connsiteX103" fmla="*/ 581 w 10000"/>
                <a:gd name="connsiteY103" fmla="*/ 4765 h 10000"/>
                <a:gd name="connsiteX104" fmla="*/ 0 w 10000"/>
                <a:gd name="connsiteY104" fmla="*/ 4392 h 10000"/>
                <a:gd name="connsiteX105" fmla="*/ 19 w 10000"/>
                <a:gd name="connsiteY105" fmla="*/ 4216 h 10000"/>
                <a:gd name="connsiteX106" fmla="*/ 58 w 10000"/>
                <a:gd name="connsiteY106" fmla="*/ 4059 h 10000"/>
                <a:gd name="connsiteX107" fmla="*/ 717 w 10000"/>
                <a:gd name="connsiteY107" fmla="*/ 3863 h 10000"/>
                <a:gd name="connsiteX108" fmla="*/ 775 w 10000"/>
                <a:gd name="connsiteY108" fmla="*/ 3627 h 10000"/>
                <a:gd name="connsiteX109" fmla="*/ 814 w 10000"/>
                <a:gd name="connsiteY109" fmla="*/ 3510 h 10000"/>
                <a:gd name="connsiteX110" fmla="*/ 853 w 10000"/>
                <a:gd name="connsiteY110" fmla="*/ 3392 h 10000"/>
                <a:gd name="connsiteX111" fmla="*/ 446 w 10000"/>
                <a:gd name="connsiteY111" fmla="*/ 2863 h 10000"/>
                <a:gd name="connsiteX112" fmla="*/ 523 w 10000"/>
                <a:gd name="connsiteY112" fmla="*/ 2706 h 10000"/>
                <a:gd name="connsiteX113" fmla="*/ 601 w 10000"/>
                <a:gd name="connsiteY113" fmla="*/ 2588 h 10000"/>
                <a:gd name="connsiteX114" fmla="*/ 1279 w 10000"/>
                <a:gd name="connsiteY114" fmla="*/ 2588 h 10000"/>
                <a:gd name="connsiteX0" fmla="*/ 3740 w 10000"/>
                <a:gd name="connsiteY0" fmla="*/ 725 h 10000"/>
                <a:gd name="connsiteX1" fmla="*/ 3857 w 10000"/>
                <a:gd name="connsiteY1" fmla="*/ 706 h 10000"/>
                <a:gd name="connsiteX2" fmla="*/ 4070 w 10000"/>
                <a:gd name="connsiteY2" fmla="*/ 59 h 10000"/>
                <a:gd name="connsiteX3" fmla="*/ 4380 w 10000"/>
                <a:gd name="connsiteY3" fmla="*/ 0 h 10000"/>
                <a:gd name="connsiteX4" fmla="*/ 4767 w 10000"/>
                <a:gd name="connsiteY4" fmla="*/ 569 h 10000"/>
                <a:gd name="connsiteX5" fmla="*/ 5019 w 10000"/>
                <a:gd name="connsiteY5" fmla="*/ 549 h 10000"/>
                <a:gd name="connsiteX6" fmla="*/ 5252 w 10000"/>
                <a:gd name="connsiteY6" fmla="*/ 569 h 10000"/>
                <a:gd name="connsiteX7" fmla="*/ 5640 w 10000"/>
                <a:gd name="connsiteY7" fmla="*/ 0 h 10000"/>
                <a:gd name="connsiteX8" fmla="*/ 5795 w 10000"/>
                <a:gd name="connsiteY8" fmla="*/ 20 h 10000"/>
                <a:gd name="connsiteX9" fmla="*/ 5950 w 10000"/>
                <a:gd name="connsiteY9" fmla="*/ 59 h 10000"/>
                <a:gd name="connsiteX10" fmla="*/ 6163 w 10000"/>
                <a:gd name="connsiteY10" fmla="*/ 706 h 10000"/>
                <a:gd name="connsiteX11" fmla="*/ 6395 w 10000"/>
                <a:gd name="connsiteY11" fmla="*/ 765 h 10000"/>
                <a:gd name="connsiteX12" fmla="*/ 6492 w 10000"/>
                <a:gd name="connsiteY12" fmla="*/ 804 h 10000"/>
                <a:gd name="connsiteX13" fmla="*/ 6609 w 10000"/>
                <a:gd name="connsiteY13" fmla="*/ 843 h 10000"/>
                <a:gd name="connsiteX14" fmla="*/ 7151 w 10000"/>
                <a:gd name="connsiteY14" fmla="*/ 451 h 10000"/>
                <a:gd name="connsiteX15" fmla="*/ 7287 w 10000"/>
                <a:gd name="connsiteY15" fmla="*/ 510 h 10000"/>
                <a:gd name="connsiteX16" fmla="*/ 7442 w 10000"/>
                <a:gd name="connsiteY16" fmla="*/ 588 h 10000"/>
                <a:gd name="connsiteX17" fmla="*/ 7442 w 10000"/>
                <a:gd name="connsiteY17" fmla="*/ 1275 h 10000"/>
                <a:gd name="connsiteX18" fmla="*/ 7616 w 10000"/>
                <a:gd name="connsiteY18" fmla="*/ 1412 h 10000"/>
                <a:gd name="connsiteX19" fmla="*/ 7713 w 10000"/>
                <a:gd name="connsiteY19" fmla="*/ 1471 h 10000"/>
                <a:gd name="connsiteX20" fmla="*/ 7810 w 10000"/>
                <a:gd name="connsiteY20" fmla="*/ 1549 h 10000"/>
                <a:gd name="connsiteX21" fmla="*/ 8450 w 10000"/>
                <a:gd name="connsiteY21" fmla="*/ 1333 h 10000"/>
                <a:gd name="connsiteX22" fmla="*/ 8566 w 10000"/>
                <a:gd name="connsiteY22" fmla="*/ 1451 h 10000"/>
                <a:gd name="connsiteX23" fmla="*/ 8682 w 10000"/>
                <a:gd name="connsiteY23" fmla="*/ 1569 h 10000"/>
                <a:gd name="connsiteX24" fmla="*/ 8469 w 10000"/>
                <a:gd name="connsiteY24" fmla="*/ 2216 h 10000"/>
                <a:gd name="connsiteX25" fmla="*/ 8605 w 10000"/>
                <a:gd name="connsiteY25" fmla="*/ 2392 h 10000"/>
                <a:gd name="connsiteX26" fmla="*/ 8740 w 10000"/>
                <a:gd name="connsiteY26" fmla="*/ 2588 h 10000"/>
                <a:gd name="connsiteX27" fmla="*/ 9419 w 10000"/>
                <a:gd name="connsiteY27" fmla="*/ 2588 h 10000"/>
                <a:gd name="connsiteX28" fmla="*/ 9496 w 10000"/>
                <a:gd name="connsiteY28" fmla="*/ 2706 h 10000"/>
                <a:gd name="connsiteX29" fmla="*/ 9574 w 10000"/>
                <a:gd name="connsiteY29" fmla="*/ 2863 h 10000"/>
                <a:gd name="connsiteX30" fmla="*/ 9167 w 10000"/>
                <a:gd name="connsiteY30" fmla="*/ 3392 h 10000"/>
                <a:gd name="connsiteX31" fmla="*/ 9244 w 10000"/>
                <a:gd name="connsiteY31" fmla="*/ 3627 h 10000"/>
                <a:gd name="connsiteX32" fmla="*/ 9283 w 10000"/>
                <a:gd name="connsiteY32" fmla="*/ 3745 h 10000"/>
                <a:gd name="connsiteX33" fmla="*/ 9302 w 10000"/>
                <a:gd name="connsiteY33" fmla="*/ 3863 h 10000"/>
                <a:gd name="connsiteX34" fmla="*/ 9961 w 10000"/>
                <a:gd name="connsiteY34" fmla="*/ 4059 h 10000"/>
                <a:gd name="connsiteX35" fmla="*/ 10000 w 10000"/>
                <a:gd name="connsiteY35" fmla="*/ 4392 h 10000"/>
                <a:gd name="connsiteX36" fmla="*/ 9438 w 10000"/>
                <a:gd name="connsiteY36" fmla="*/ 4765 h 10000"/>
                <a:gd name="connsiteX37" fmla="*/ 9457 w 10000"/>
                <a:gd name="connsiteY37" fmla="*/ 5000 h 10000"/>
                <a:gd name="connsiteX38" fmla="*/ 9438 w 10000"/>
                <a:gd name="connsiteY38" fmla="*/ 5235 h 10000"/>
                <a:gd name="connsiteX39" fmla="*/ 10000 w 10000"/>
                <a:gd name="connsiteY39" fmla="*/ 5627 h 10000"/>
                <a:gd name="connsiteX40" fmla="*/ 9981 w 10000"/>
                <a:gd name="connsiteY40" fmla="*/ 5784 h 10000"/>
                <a:gd name="connsiteX41" fmla="*/ 9961 w 10000"/>
                <a:gd name="connsiteY41" fmla="*/ 5941 h 10000"/>
                <a:gd name="connsiteX42" fmla="*/ 9302 w 10000"/>
                <a:gd name="connsiteY42" fmla="*/ 6157 h 10000"/>
                <a:gd name="connsiteX43" fmla="*/ 9244 w 10000"/>
                <a:gd name="connsiteY43" fmla="*/ 6392 h 10000"/>
                <a:gd name="connsiteX44" fmla="*/ 9205 w 10000"/>
                <a:gd name="connsiteY44" fmla="*/ 6490 h 10000"/>
                <a:gd name="connsiteX45" fmla="*/ 9167 w 10000"/>
                <a:gd name="connsiteY45" fmla="*/ 6608 h 10000"/>
                <a:gd name="connsiteX46" fmla="*/ 9574 w 10000"/>
                <a:gd name="connsiteY46" fmla="*/ 7157 h 10000"/>
                <a:gd name="connsiteX47" fmla="*/ 9496 w 10000"/>
                <a:gd name="connsiteY47" fmla="*/ 7294 h 10000"/>
                <a:gd name="connsiteX48" fmla="*/ 9419 w 10000"/>
                <a:gd name="connsiteY48" fmla="*/ 7431 h 10000"/>
                <a:gd name="connsiteX49" fmla="*/ 8740 w 10000"/>
                <a:gd name="connsiteY49" fmla="*/ 7412 h 10000"/>
                <a:gd name="connsiteX50" fmla="*/ 8605 w 10000"/>
                <a:gd name="connsiteY50" fmla="*/ 7627 h 10000"/>
                <a:gd name="connsiteX51" fmla="*/ 8547 w 10000"/>
                <a:gd name="connsiteY51" fmla="*/ 7706 h 10000"/>
                <a:gd name="connsiteX52" fmla="*/ 8469 w 10000"/>
                <a:gd name="connsiteY52" fmla="*/ 7804 h 10000"/>
                <a:gd name="connsiteX53" fmla="*/ 8682 w 10000"/>
                <a:gd name="connsiteY53" fmla="*/ 8451 h 10000"/>
                <a:gd name="connsiteX54" fmla="*/ 8566 w 10000"/>
                <a:gd name="connsiteY54" fmla="*/ 8569 h 10000"/>
                <a:gd name="connsiteX55" fmla="*/ 8450 w 10000"/>
                <a:gd name="connsiteY55" fmla="*/ 8686 h 10000"/>
                <a:gd name="connsiteX56" fmla="*/ 7810 w 10000"/>
                <a:gd name="connsiteY56" fmla="*/ 8471 h 10000"/>
                <a:gd name="connsiteX57" fmla="*/ 7616 w 10000"/>
                <a:gd name="connsiteY57" fmla="*/ 8608 h 10000"/>
                <a:gd name="connsiteX58" fmla="*/ 7442 w 10000"/>
                <a:gd name="connsiteY58" fmla="*/ 8745 h 10000"/>
                <a:gd name="connsiteX59" fmla="*/ 7442 w 10000"/>
                <a:gd name="connsiteY59" fmla="*/ 9412 h 10000"/>
                <a:gd name="connsiteX60" fmla="*/ 7287 w 10000"/>
                <a:gd name="connsiteY60" fmla="*/ 9510 h 10000"/>
                <a:gd name="connsiteX61" fmla="*/ 7151 w 10000"/>
                <a:gd name="connsiteY61" fmla="*/ 9569 h 10000"/>
                <a:gd name="connsiteX62" fmla="*/ 6609 w 10000"/>
                <a:gd name="connsiteY62" fmla="*/ 9157 h 10000"/>
                <a:gd name="connsiteX63" fmla="*/ 6395 w 10000"/>
                <a:gd name="connsiteY63" fmla="*/ 9235 h 10000"/>
                <a:gd name="connsiteX64" fmla="*/ 6279 w 10000"/>
                <a:gd name="connsiteY64" fmla="*/ 9275 h 10000"/>
                <a:gd name="connsiteX65" fmla="*/ 6163 w 10000"/>
                <a:gd name="connsiteY65" fmla="*/ 9314 h 10000"/>
                <a:gd name="connsiteX66" fmla="*/ 5950 w 10000"/>
                <a:gd name="connsiteY66" fmla="*/ 9961 h 10000"/>
                <a:gd name="connsiteX67" fmla="*/ 5640 w 10000"/>
                <a:gd name="connsiteY67" fmla="*/ 10000 h 10000"/>
                <a:gd name="connsiteX68" fmla="*/ 5252 w 10000"/>
                <a:gd name="connsiteY68" fmla="*/ 9451 h 10000"/>
                <a:gd name="connsiteX69" fmla="*/ 5019 w 10000"/>
                <a:gd name="connsiteY69" fmla="*/ 9451 h 10000"/>
                <a:gd name="connsiteX70" fmla="*/ 4767 w 10000"/>
                <a:gd name="connsiteY70" fmla="*/ 9451 h 10000"/>
                <a:gd name="connsiteX71" fmla="*/ 4380 w 10000"/>
                <a:gd name="connsiteY71" fmla="*/ 10000 h 10000"/>
                <a:gd name="connsiteX72" fmla="*/ 4225 w 10000"/>
                <a:gd name="connsiteY72" fmla="*/ 9980 h 10000"/>
                <a:gd name="connsiteX73" fmla="*/ 4070 w 10000"/>
                <a:gd name="connsiteY73" fmla="*/ 9961 h 10000"/>
                <a:gd name="connsiteX74" fmla="*/ 3857 w 10000"/>
                <a:gd name="connsiteY74" fmla="*/ 9314 h 10000"/>
                <a:gd name="connsiteX75" fmla="*/ 3624 w 10000"/>
                <a:gd name="connsiteY75" fmla="*/ 9235 h 10000"/>
                <a:gd name="connsiteX76" fmla="*/ 3508 w 10000"/>
                <a:gd name="connsiteY76" fmla="*/ 9216 h 10000"/>
                <a:gd name="connsiteX77" fmla="*/ 3411 w 10000"/>
                <a:gd name="connsiteY77" fmla="*/ 9157 h 10000"/>
                <a:gd name="connsiteX78" fmla="*/ 2868 w 10000"/>
                <a:gd name="connsiteY78" fmla="*/ 9569 h 10000"/>
                <a:gd name="connsiteX79" fmla="*/ 2733 w 10000"/>
                <a:gd name="connsiteY79" fmla="*/ 9510 h 10000"/>
                <a:gd name="connsiteX80" fmla="*/ 2578 w 10000"/>
                <a:gd name="connsiteY80" fmla="*/ 9412 h 10000"/>
                <a:gd name="connsiteX81" fmla="*/ 2597 w 10000"/>
                <a:gd name="connsiteY81" fmla="*/ 8745 h 10000"/>
                <a:gd name="connsiteX82" fmla="*/ 2403 w 10000"/>
                <a:gd name="connsiteY82" fmla="*/ 8608 h 10000"/>
                <a:gd name="connsiteX83" fmla="*/ 2306 w 10000"/>
                <a:gd name="connsiteY83" fmla="*/ 8529 h 10000"/>
                <a:gd name="connsiteX84" fmla="*/ 2209 w 10000"/>
                <a:gd name="connsiteY84" fmla="*/ 8471 h 10000"/>
                <a:gd name="connsiteX85" fmla="*/ 1570 w 10000"/>
                <a:gd name="connsiteY85" fmla="*/ 8686 h 10000"/>
                <a:gd name="connsiteX86" fmla="*/ 1453 w 10000"/>
                <a:gd name="connsiteY86" fmla="*/ 8569 h 10000"/>
                <a:gd name="connsiteX87" fmla="*/ 1337 w 10000"/>
                <a:gd name="connsiteY87" fmla="*/ 8451 h 10000"/>
                <a:gd name="connsiteX88" fmla="*/ 1550 w 10000"/>
                <a:gd name="connsiteY88" fmla="*/ 7804 h 10000"/>
                <a:gd name="connsiteX89" fmla="*/ 1415 w 10000"/>
                <a:gd name="connsiteY89" fmla="*/ 7627 h 10000"/>
                <a:gd name="connsiteX90" fmla="*/ 1279 w 10000"/>
                <a:gd name="connsiteY90" fmla="*/ 7412 h 10000"/>
                <a:gd name="connsiteX91" fmla="*/ 601 w 10000"/>
                <a:gd name="connsiteY91" fmla="*/ 7431 h 10000"/>
                <a:gd name="connsiteX92" fmla="*/ 523 w 10000"/>
                <a:gd name="connsiteY92" fmla="*/ 7294 h 10000"/>
                <a:gd name="connsiteX93" fmla="*/ 446 w 10000"/>
                <a:gd name="connsiteY93" fmla="*/ 7157 h 10000"/>
                <a:gd name="connsiteX94" fmla="*/ 853 w 10000"/>
                <a:gd name="connsiteY94" fmla="*/ 6608 h 10000"/>
                <a:gd name="connsiteX95" fmla="*/ 775 w 10000"/>
                <a:gd name="connsiteY95" fmla="*/ 6392 h 10000"/>
                <a:gd name="connsiteX96" fmla="*/ 756 w 10000"/>
                <a:gd name="connsiteY96" fmla="*/ 6275 h 10000"/>
                <a:gd name="connsiteX97" fmla="*/ 717 w 10000"/>
                <a:gd name="connsiteY97" fmla="*/ 6157 h 10000"/>
                <a:gd name="connsiteX98" fmla="*/ 58 w 10000"/>
                <a:gd name="connsiteY98" fmla="*/ 5941 h 10000"/>
                <a:gd name="connsiteX99" fmla="*/ 0 w 10000"/>
                <a:gd name="connsiteY99" fmla="*/ 5627 h 10000"/>
                <a:gd name="connsiteX100" fmla="*/ 581 w 10000"/>
                <a:gd name="connsiteY100" fmla="*/ 5235 h 10000"/>
                <a:gd name="connsiteX101" fmla="*/ 562 w 10000"/>
                <a:gd name="connsiteY101" fmla="*/ 5000 h 10000"/>
                <a:gd name="connsiteX102" fmla="*/ 581 w 10000"/>
                <a:gd name="connsiteY102" fmla="*/ 4765 h 10000"/>
                <a:gd name="connsiteX103" fmla="*/ 0 w 10000"/>
                <a:gd name="connsiteY103" fmla="*/ 4392 h 10000"/>
                <a:gd name="connsiteX104" fmla="*/ 19 w 10000"/>
                <a:gd name="connsiteY104" fmla="*/ 4216 h 10000"/>
                <a:gd name="connsiteX105" fmla="*/ 58 w 10000"/>
                <a:gd name="connsiteY105" fmla="*/ 4059 h 10000"/>
                <a:gd name="connsiteX106" fmla="*/ 717 w 10000"/>
                <a:gd name="connsiteY106" fmla="*/ 3863 h 10000"/>
                <a:gd name="connsiteX107" fmla="*/ 775 w 10000"/>
                <a:gd name="connsiteY107" fmla="*/ 3627 h 10000"/>
                <a:gd name="connsiteX108" fmla="*/ 814 w 10000"/>
                <a:gd name="connsiteY108" fmla="*/ 3510 h 10000"/>
                <a:gd name="connsiteX109" fmla="*/ 853 w 10000"/>
                <a:gd name="connsiteY109" fmla="*/ 3392 h 10000"/>
                <a:gd name="connsiteX110" fmla="*/ 446 w 10000"/>
                <a:gd name="connsiteY110" fmla="*/ 2863 h 10000"/>
                <a:gd name="connsiteX111" fmla="*/ 523 w 10000"/>
                <a:gd name="connsiteY111" fmla="*/ 2706 h 10000"/>
                <a:gd name="connsiteX112" fmla="*/ 601 w 10000"/>
                <a:gd name="connsiteY112" fmla="*/ 2588 h 10000"/>
                <a:gd name="connsiteX113" fmla="*/ 1279 w 10000"/>
                <a:gd name="connsiteY113" fmla="*/ 2588 h 10000"/>
                <a:gd name="connsiteX0" fmla="*/ 3740 w 10000"/>
                <a:gd name="connsiteY0" fmla="*/ 725 h 10000"/>
                <a:gd name="connsiteX1" fmla="*/ 4070 w 10000"/>
                <a:gd name="connsiteY1" fmla="*/ 59 h 10000"/>
                <a:gd name="connsiteX2" fmla="*/ 4380 w 10000"/>
                <a:gd name="connsiteY2" fmla="*/ 0 h 10000"/>
                <a:gd name="connsiteX3" fmla="*/ 4767 w 10000"/>
                <a:gd name="connsiteY3" fmla="*/ 569 h 10000"/>
                <a:gd name="connsiteX4" fmla="*/ 5019 w 10000"/>
                <a:gd name="connsiteY4" fmla="*/ 549 h 10000"/>
                <a:gd name="connsiteX5" fmla="*/ 5252 w 10000"/>
                <a:gd name="connsiteY5" fmla="*/ 569 h 10000"/>
                <a:gd name="connsiteX6" fmla="*/ 5640 w 10000"/>
                <a:gd name="connsiteY6" fmla="*/ 0 h 10000"/>
                <a:gd name="connsiteX7" fmla="*/ 5795 w 10000"/>
                <a:gd name="connsiteY7" fmla="*/ 20 h 10000"/>
                <a:gd name="connsiteX8" fmla="*/ 5950 w 10000"/>
                <a:gd name="connsiteY8" fmla="*/ 59 h 10000"/>
                <a:gd name="connsiteX9" fmla="*/ 6163 w 10000"/>
                <a:gd name="connsiteY9" fmla="*/ 706 h 10000"/>
                <a:gd name="connsiteX10" fmla="*/ 6395 w 10000"/>
                <a:gd name="connsiteY10" fmla="*/ 765 h 10000"/>
                <a:gd name="connsiteX11" fmla="*/ 6492 w 10000"/>
                <a:gd name="connsiteY11" fmla="*/ 804 h 10000"/>
                <a:gd name="connsiteX12" fmla="*/ 6609 w 10000"/>
                <a:gd name="connsiteY12" fmla="*/ 843 h 10000"/>
                <a:gd name="connsiteX13" fmla="*/ 7151 w 10000"/>
                <a:gd name="connsiteY13" fmla="*/ 451 h 10000"/>
                <a:gd name="connsiteX14" fmla="*/ 7287 w 10000"/>
                <a:gd name="connsiteY14" fmla="*/ 510 h 10000"/>
                <a:gd name="connsiteX15" fmla="*/ 7442 w 10000"/>
                <a:gd name="connsiteY15" fmla="*/ 588 h 10000"/>
                <a:gd name="connsiteX16" fmla="*/ 7442 w 10000"/>
                <a:gd name="connsiteY16" fmla="*/ 1275 h 10000"/>
                <a:gd name="connsiteX17" fmla="*/ 7616 w 10000"/>
                <a:gd name="connsiteY17" fmla="*/ 1412 h 10000"/>
                <a:gd name="connsiteX18" fmla="*/ 7713 w 10000"/>
                <a:gd name="connsiteY18" fmla="*/ 1471 h 10000"/>
                <a:gd name="connsiteX19" fmla="*/ 7810 w 10000"/>
                <a:gd name="connsiteY19" fmla="*/ 1549 h 10000"/>
                <a:gd name="connsiteX20" fmla="*/ 8450 w 10000"/>
                <a:gd name="connsiteY20" fmla="*/ 1333 h 10000"/>
                <a:gd name="connsiteX21" fmla="*/ 8566 w 10000"/>
                <a:gd name="connsiteY21" fmla="*/ 1451 h 10000"/>
                <a:gd name="connsiteX22" fmla="*/ 8682 w 10000"/>
                <a:gd name="connsiteY22" fmla="*/ 1569 h 10000"/>
                <a:gd name="connsiteX23" fmla="*/ 8469 w 10000"/>
                <a:gd name="connsiteY23" fmla="*/ 2216 h 10000"/>
                <a:gd name="connsiteX24" fmla="*/ 8605 w 10000"/>
                <a:gd name="connsiteY24" fmla="*/ 2392 h 10000"/>
                <a:gd name="connsiteX25" fmla="*/ 8740 w 10000"/>
                <a:gd name="connsiteY25" fmla="*/ 2588 h 10000"/>
                <a:gd name="connsiteX26" fmla="*/ 9419 w 10000"/>
                <a:gd name="connsiteY26" fmla="*/ 2588 h 10000"/>
                <a:gd name="connsiteX27" fmla="*/ 9496 w 10000"/>
                <a:gd name="connsiteY27" fmla="*/ 2706 h 10000"/>
                <a:gd name="connsiteX28" fmla="*/ 9574 w 10000"/>
                <a:gd name="connsiteY28" fmla="*/ 2863 h 10000"/>
                <a:gd name="connsiteX29" fmla="*/ 9167 w 10000"/>
                <a:gd name="connsiteY29" fmla="*/ 3392 h 10000"/>
                <a:gd name="connsiteX30" fmla="*/ 9244 w 10000"/>
                <a:gd name="connsiteY30" fmla="*/ 3627 h 10000"/>
                <a:gd name="connsiteX31" fmla="*/ 9283 w 10000"/>
                <a:gd name="connsiteY31" fmla="*/ 3745 h 10000"/>
                <a:gd name="connsiteX32" fmla="*/ 9302 w 10000"/>
                <a:gd name="connsiteY32" fmla="*/ 3863 h 10000"/>
                <a:gd name="connsiteX33" fmla="*/ 9961 w 10000"/>
                <a:gd name="connsiteY33" fmla="*/ 4059 h 10000"/>
                <a:gd name="connsiteX34" fmla="*/ 10000 w 10000"/>
                <a:gd name="connsiteY34" fmla="*/ 4392 h 10000"/>
                <a:gd name="connsiteX35" fmla="*/ 9438 w 10000"/>
                <a:gd name="connsiteY35" fmla="*/ 4765 h 10000"/>
                <a:gd name="connsiteX36" fmla="*/ 9457 w 10000"/>
                <a:gd name="connsiteY36" fmla="*/ 5000 h 10000"/>
                <a:gd name="connsiteX37" fmla="*/ 9438 w 10000"/>
                <a:gd name="connsiteY37" fmla="*/ 5235 h 10000"/>
                <a:gd name="connsiteX38" fmla="*/ 10000 w 10000"/>
                <a:gd name="connsiteY38" fmla="*/ 5627 h 10000"/>
                <a:gd name="connsiteX39" fmla="*/ 9981 w 10000"/>
                <a:gd name="connsiteY39" fmla="*/ 5784 h 10000"/>
                <a:gd name="connsiteX40" fmla="*/ 9961 w 10000"/>
                <a:gd name="connsiteY40" fmla="*/ 5941 h 10000"/>
                <a:gd name="connsiteX41" fmla="*/ 9302 w 10000"/>
                <a:gd name="connsiteY41" fmla="*/ 6157 h 10000"/>
                <a:gd name="connsiteX42" fmla="*/ 9244 w 10000"/>
                <a:gd name="connsiteY42" fmla="*/ 6392 h 10000"/>
                <a:gd name="connsiteX43" fmla="*/ 9205 w 10000"/>
                <a:gd name="connsiteY43" fmla="*/ 6490 h 10000"/>
                <a:gd name="connsiteX44" fmla="*/ 9167 w 10000"/>
                <a:gd name="connsiteY44" fmla="*/ 6608 h 10000"/>
                <a:gd name="connsiteX45" fmla="*/ 9574 w 10000"/>
                <a:gd name="connsiteY45" fmla="*/ 7157 h 10000"/>
                <a:gd name="connsiteX46" fmla="*/ 9496 w 10000"/>
                <a:gd name="connsiteY46" fmla="*/ 7294 h 10000"/>
                <a:gd name="connsiteX47" fmla="*/ 9419 w 10000"/>
                <a:gd name="connsiteY47" fmla="*/ 7431 h 10000"/>
                <a:gd name="connsiteX48" fmla="*/ 8740 w 10000"/>
                <a:gd name="connsiteY48" fmla="*/ 7412 h 10000"/>
                <a:gd name="connsiteX49" fmla="*/ 8605 w 10000"/>
                <a:gd name="connsiteY49" fmla="*/ 7627 h 10000"/>
                <a:gd name="connsiteX50" fmla="*/ 8547 w 10000"/>
                <a:gd name="connsiteY50" fmla="*/ 7706 h 10000"/>
                <a:gd name="connsiteX51" fmla="*/ 8469 w 10000"/>
                <a:gd name="connsiteY51" fmla="*/ 7804 h 10000"/>
                <a:gd name="connsiteX52" fmla="*/ 8682 w 10000"/>
                <a:gd name="connsiteY52" fmla="*/ 8451 h 10000"/>
                <a:gd name="connsiteX53" fmla="*/ 8566 w 10000"/>
                <a:gd name="connsiteY53" fmla="*/ 8569 h 10000"/>
                <a:gd name="connsiteX54" fmla="*/ 8450 w 10000"/>
                <a:gd name="connsiteY54" fmla="*/ 8686 h 10000"/>
                <a:gd name="connsiteX55" fmla="*/ 7810 w 10000"/>
                <a:gd name="connsiteY55" fmla="*/ 8471 h 10000"/>
                <a:gd name="connsiteX56" fmla="*/ 7616 w 10000"/>
                <a:gd name="connsiteY56" fmla="*/ 8608 h 10000"/>
                <a:gd name="connsiteX57" fmla="*/ 7442 w 10000"/>
                <a:gd name="connsiteY57" fmla="*/ 8745 h 10000"/>
                <a:gd name="connsiteX58" fmla="*/ 7442 w 10000"/>
                <a:gd name="connsiteY58" fmla="*/ 9412 h 10000"/>
                <a:gd name="connsiteX59" fmla="*/ 7287 w 10000"/>
                <a:gd name="connsiteY59" fmla="*/ 9510 h 10000"/>
                <a:gd name="connsiteX60" fmla="*/ 7151 w 10000"/>
                <a:gd name="connsiteY60" fmla="*/ 9569 h 10000"/>
                <a:gd name="connsiteX61" fmla="*/ 6609 w 10000"/>
                <a:gd name="connsiteY61" fmla="*/ 9157 h 10000"/>
                <a:gd name="connsiteX62" fmla="*/ 6395 w 10000"/>
                <a:gd name="connsiteY62" fmla="*/ 9235 h 10000"/>
                <a:gd name="connsiteX63" fmla="*/ 6279 w 10000"/>
                <a:gd name="connsiteY63" fmla="*/ 9275 h 10000"/>
                <a:gd name="connsiteX64" fmla="*/ 6163 w 10000"/>
                <a:gd name="connsiteY64" fmla="*/ 9314 h 10000"/>
                <a:gd name="connsiteX65" fmla="*/ 5950 w 10000"/>
                <a:gd name="connsiteY65" fmla="*/ 9961 h 10000"/>
                <a:gd name="connsiteX66" fmla="*/ 5640 w 10000"/>
                <a:gd name="connsiteY66" fmla="*/ 10000 h 10000"/>
                <a:gd name="connsiteX67" fmla="*/ 5252 w 10000"/>
                <a:gd name="connsiteY67" fmla="*/ 9451 h 10000"/>
                <a:gd name="connsiteX68" fmla="*/ 5019 w 10000"/>
                <a:gd name="connsiteY68" fmla="*/ 9451 h 10000"/>
                <a:gd name="connsiteX69" fmla="*/ 4767 w 10000"/>
                <a:gd name="connsiteY69" fmla="*/ 9451 h 10000"/>
                <a:gd name="connsiteX70" fmla="*/ 4380 w 10000"/>
                <a:gd name="connsiteY70" fmla="*/ 10000 h 10000"/>
                <a:gd name="connsiteX71" fmla="*/ 4225 w 10000"/>
                <a:gd name="connsiteY71" fmla="*/ 9980 h 10000"/>
                <a:gd name="connsiteX72" fmla="*/ 4070 w 10000"/>
                <a:gd name="connsiteY72" fmla="*/ 9961 h 10000"/>
                <a:gd name="connsiteX73" fmla="*/ 3857 w 10000"/>
                <a:gd name="connsiteY73" fmla="*/ 9314 h 10000"/>
                <a:gd name="connsiteX74" fmla="*/ 3624 w 10000"/>
                <a:gd name="connsiteY74" fmla="*/ 9235 h 10000"/>
                <a:gd name="connsiteX75" fmla="*/ 3508 w 10000"/>
                <a:gd name="connsiteY75" fmla="*/ 9216 h 10000"/>
                <a:gd name="connsiteX76" fmla="*/ 3411 w 10000"/>
                <a:gd name="connsiteY76" fmla="*/ 9157 h 10000"/>
                <a:gd name="connsiteX77" fmla="*/ 2868 w 10000"/>
                <a:gd name="connsiteY77" fmla="*/ 9569 h 10000"/>
                <a:gd name="connsiteX78" fmla="*/ 2733 w 10000"/>
                <a:gd name="connsiteY78" fmla="*/ 9510 h 10000"/>
                <a:gd name="connsiteX79" fmla="*/ 2578 w 10000"/>
                <a:gd name="connsiteY79" fmla="*/ 9412 h 10000"/>
                <a:gd name="connsiteX80" fmla="*/ 2597 w 10000"/>
                <a:gd name="connsiteY80" fmla="*/ 8745 h 10000"/>
                <a:gd name="connsiteX81" fmla="*/ 2403 w 10000"/>
                <a:gd name="connsiteY81" fmla="*/ 8608 h 10000"/>
                <a:gd name="connsiteX82" fmla="*/ 2306 w 10000"/>
                <a:gd name="connsiteY82" fmla="*/ 8529 h 10000"/>
                <a:gd name="connsiteX83" fmla="*/ 2209 w 10000"/>
                <a:gd name="connsiteY83" fmla="*/ 8471 h 10000"/>
                <a:gd name="connsiteX84" fmla="*/ 1570 w 10000"/>
                <a:gd name="connsiteY84" fmla="*/ 8686 h 10000"/>
                <a:gd name="connsiteX85" fmla="*/ 1453 w 10000"/>
                <a:gd name="connsiteY85" fmla="*/ 8569 h 10000"/>
                <a:gd name="connsiteX86" fmla="*/ 1337 w 10000"/>
                <a:gd name="connsiteY86" fmla="*/ 8451 h 10000"/>
                <a:gd name="connsiteX87" fmla="*/ 1550 w 10000"/>
                <a:gd name="connsiteY87" fmla="*/ 7804 h 10000"/>
                <a:gd name="connsiteX88" fmla="*/ 1415 w 10000"/>
                <a:gd name="connsiteY88" fmla="*/ 7627 h 10000"/>
                <a:gd name="connsiteX89" fmla="*/ 1279 w 10000"/>
                <a:gd name="connsiteY89" fmla="*/ 7412 h 10000"/>
                <a:gd name="connsiteX90" fmla="*/ 601 w 10000"/>
                <a:gd name="connsiteY90" fmla="*/ 7431 h 10000"/>
                <a:gd name="connsiteX91" fmla="*/ 523 w 10000"/>
                <a:gd name="connsiteY91" fmla="*/ 7294 h 10000"/>
                <a:gd name="connsiteX92" fmla="*/ 446 w 10000"/>
                <a:gd name="connsiteY92" fmla="*/ 7157 h 10000"/>
                <a:gd name="connsiteX93" fmla="*/ 853 w 10000"/>
                <a:gd name="connsiteY93" fmla="*/ 6608 h 10000"/>
                <a:gd name="connsiteX94" fmla="*/ 775 w 10000"/>
                <a:gd name="connsiteY94" fmla="*/ 6392 h 10000"/>
                <a:gd name="connsiteX95" fmla="*/ 756 w 10000"/>
                <a:gd name="connsiteY95" fmla="*/ 6275 h 10000"/>
                <a:gd name="connsiteX96" fmla="*/ 717 w 10000"/>
                <a:gd name="connsiteY96" fmla="*/ 6157 h 10000"/>
                <a:gd name="connsiteX97" fmla="*/ 58 w 10000"/>
                <a:gd name="connsiteY97" fmla="*/ 5941 h 10000"/>
                <a:gd name="connsiteX98" fmla="*/ 0 w 10000"/>
                <a:gd name="connsiteY98" fmla="*/ 5627 h 10000"/>
                <a:gd name="connsiteX99" fmla="*/ 581 w 10000"/>
                <a:gd name="connsiteY99" fmla="*/ 5235 h 10000"/>
                <a:gd name="connsiteX100" fmla="*/ 562 w 10000"/>
                <a:gd name="connsiteY100" fmla="*/ 5000 h 10000"/>
                <a:gd name="connsiteX101" fmla="*/ 581 w 10000"/>
                <a:gd name="connsiteY101" fmla="*/ 4765 h 10000"/>
                <a:gd name="connsiteX102" fmla="*/ 0 w 10000"/>
                <a:gd name="connsiteY102" fmla="*/ 4392 h 10000"/>
                <a:gd name="connsiteX103" fmla="*/ 19 w 10000"/>
                <a:gd name="connsiteY103" fmla="*/ 4216 h 10000"/>
                <a:gd name="connsiteX104" fmla="*/ 58 w 10000"/>
                <a:gd name="connsiteY104" fmla="*/ 4059 h 10000"/>
                <a:gd name="connsiteX105" fmla="*/ 717 w 10000"/>
                <a:gd name="connsiteY105" fmla="*/ 3863 h 10000"/>
                <a:gd name="connsiteX106" fmla="*/ 775 w 10000"/>
                <a:gd name="connsiteY106" fmla="*/ 3627 h 10000"/>
                <a:gd name="connsiteX107" fmla="*/ 814 w 10000"/>
                <a:gd name="connsiteY107" fmla="*/ 3510 h 10000"/>
                <a:gd name="connsiteX108" fmla="*/ 853 w 10000"/>
                <a:gd name="connsiteY108" fmla="*/ 3392 h 10000"/>
                <a:gd name="connsiteX109" fmla="*/ 446 w 10000"/>
                <a:gd name="connsiteY109" fmla="*/ 2863 h 10000"/>
                <a:gd name="connsiteX110" fmla="*/ 523 w 10000"/>
                <a:gd name="connsiteY110" fmla="*/ 2706 h 10000"/>
                <a:gd name="connsiteX111" fmla="*/ 601 w 10000"/>
                <a:gd name="connsiteY111" fmla="*/ 2588 h 10000"/>
                <a:gd name="connsiteX112" fmla="*/ 1279 w 10000"/>
                <a:gd name="connsiteY112" fmla="*/ 2588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108" fmla="*/ 446 w 10000"/>
                <a:gd name="connsiteY108" fmla="*/ 2863 h 10000"/>
                <a:gd name="connsiteX109" fmla="*/ 523 w 10000"/>
                <a:gd name="connsiteY109" fmla="*/ 2706 h 10000"/>
                <a:gd name="connsiteX110" fmla="*/ 601 w 10000"/>
                <a:gd name="connsiteY110" fmla="*/ 2588 h 10000"/>
                <a:gd name="connsiteX111" fmla="*/ 1279 w 10000"/>
                <a:gd name="connsiteY111" fmla="*/ 2588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108" fmla="*/ 446 w 10000"/>
                <a:gd name="connsiteY108" fmla="*/ 2863 h 10000"/>
                <a:gd name="connsiteX109" fmla="*/ 523 w 10000"/>
                <a:gd name="connsiteY109" fmla="*/ 2706 h 10000"/>
                <a:gd name="connsiteX110" fmla="*/ 601 w 10000"/>
                <a:gd name="connsiteY110" fmla="*/ 2588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108" fmla="*/ 446 w 10000"/>
                <a:gd name="connsiteY108" fmla="*/ 2863 h 10000"/>
                <a:gd name="connsiteX109" fmla="*/ 523 w 10000"/>
                <a:gd name="connsiteY109" fmla="*/ 2706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108" fmla="*/ 446 w 10000"/>
                <a:gd name="connsiteY108" fmla="*/ 2863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0000" h="10000">
                  <a:moveTo>
                    <a:pt x="4070" y="59"/>
                  </a:moveTo>
                  <a:lnTo>
                    <a:pt x="4380" y="0"/>
                  </a:lnTo>
                  <a:lnTo>
                    <a:pt x="4767" y="569"/>
                  </a:lnTo>
                  <a:lnTo>
                    <a:pt x="5019" y="549"/>
                  </a:lnTo>
                  <a:lnTo>
                    <a:pt x="5252" y="569"/>
                  </a:lnTo>
                  <a:lnTo>
                    <a:pt x="5640" y="0"/>
                  </a:lnTo>
                  <a:lnTo>
                    <a:pt x="5795" y="20"/>
                  </a:lnTo>
                  <a:lnTo>
                    <a:pt x="5950" y="59"/>
                  </a:lnTo>
                  <a:lnTo>
                    <a:pt x="6163" y="706"/>
                  </a:lnTo>
                  <a:lnTo>
                    <a:pt x="6395" y="765"/>
                  </a:lnTo>
                  <a:lnTo>
                    <a:pt x="6492" y="804"/>
                  </a:lnTo>
                  <a:lnTo>
                    <a:pt x="6609" y="843"/>
                  </a:lnTo>
                  <a:lnTo>
                    <a:pt x="7151" y="451"/>
                  </a:lnTo>
                  <a:cubicBezTo>
                    <a:pt x="7196" y="471"/>
                    <a:pt x="7242" y="490"/>
                    <a:pt x="7287" y="510"/>
                  </a:cubicBezTo>
                  <a:lnTo>
                    <a:pt x="7442" y="588"/>
                  </a:lnTo>
                  <a:lnTo>
                    <a:pt x="7442" y="1275"/>
                  </a:lnTo>
                  <a:lnTo>
                    <a:pt x="7616" y="1412"/>
                  </a:lnTo>
                  <a:cubicBezTo>
                    <a:pt x="7648" y="1432"/>
                    <a:pt x="7681" y="1451"/>
                    <a:pt x="7713" y="1471"/>
                  </a:cubicBezTo>
                  <a:lnTo>
                    <a:pt x="7810" y="1549"/>
                  </a:lnTo>
                  <a:lnTo>
                    <a:pt x="8450" y="1333"/>
                  </a:lnTo>
                  <a:cubicBezTo>
                    <a:pt x="8489" y="1372"/>
                    <a:pt x="8527" y="1412"/>
                    <a:pt x="8566" y="1451"/>
                  </a:cubicBezTo>
                  <a:cubicBezTo>
                    <a:pt x="8605" y="1490"/>
                    <a:pt x="8643" y="1530"/>
                    <a:pt x="8682" y="1569"/>
                  </a:cubicBezTo>
                  <a:lnTo>
                    <a:pt x="8469" y="2216"/>
                  </a:lnTo>
                  <a:cubicBezTo>
                    <a:pt x="8514" y="2275"/>
                    <a:pt x="8560" y="2333"/>
                    <a:pt x="8605" y="2392"/>
                  </a:cubicBezTo>
                  <a:lnTo>
                    <a:pt x="8740" y="2588"/>
                  </a:lnTo>
                  <a:lnTo>
                    <a:pt x="9419" y="2588"/>
                  </a:lnTo>
                  <a:cubicBezTo>
                    <a:pt x="9445" y="2627"/>
                    <a:pt x="9470" y="2667"/>
                    <a:pt x="9496" y="2706"/>
                  </a:cubicBezTo>
                  <a:cubicBezTo>
                    <a:pt x="9522" y="2758"/>
                    <a:pt x="9548" y="2811"/>
                    <a:pt x="9574" y="2863"/>
                  </a:cubicBezTo>
                  <a:lnTo>
                    <a:pt x="9167" y="3392"/>
                  </a:lnTo>
                  <a:cubicBezTo>
                    <a:pt x="9193" y="3470"/>
                    <a:pt x="9218" y="3549"/>
                    <a:pt x="9244" y="3627"/>
                  </a:cubicBezTo>
                  <a:cubicBezTo>
                    <a:pt x="9257" y="3666"/>
                    <a:pt x="9270" y="3706"/>
                    <a:pt x="9283" y="3745"/>
                  </a:cubicBezTo>
                  <a:cubicBezTo>
                    <a:pt x="9289" y="3784"/>
                    <a:pt x="9296" y="3824"/>
                    <a:pt x="9302" y="3863"/>
                  </a:cubicBezTo>
                  <a:lnTo>
                    <a:pt x="9961" y="4059"/>
                  </a:lnTo>
                  <a:lnTo>
                    <a:pt x="10000" y="4392"/>
                  </a:lnTo>
                  <a:lnTo>
                    <a:pt x="9438" y="4765"/>
                  </a:lnTo>
                  <a:cubicBezTo>
                    <a:pt x="9444" y="4843"/>
                    <a:pt x="9451" y="4922"/>
                    <a:pt x="9457" y="5000"/>
                  </a:cubicBezTo>
                  <a:cubicBezTo>
                    <a:pt x="9451" y="5078"/>
                    <a:pt x="9444" y="5157"/>
                    <a:pt x="9438" y="5235"/>
                  </a:cubicBezTo>
                  <a:lnTo>
                    <a:pt x="10000" y="5627"/>
                  </a:lnTo>
                  <a:cubicBezTo>
                    <a:pt x="9994" y="5679"/>
                    <a:pt x="9987" y="5732"/>
                    <a:pt x="9981" y="5784"/>
                  </a:cubicBezTo>
                  <a:cubicBezTo>
                    <a:pt x="9974" y="5836"/>
                    <a:pt x="9968" y="5889"/>
                    <a:pt x="9961" y="5941"/>
                  </a:cubicBezTo>
                  <a:lnTo>
                    <a:pt x="9302" y="6157"/>
                  </a:lnTo>
                  <a:cubicBezTo>
                    <a:pt x="9283" y="6235"/>
                    <a:pt x="9263" y="6314"/>
                    <a:pt x="9244" y="6392"/>
                  </a:cubicBezTo>
                  <a:cubicBezTo>
                    <a:pt x="9231" y="6425"/>
                    <a:pt x="9218" y="6457"/>
                    <a:pt x="9205" y="6490"/>
                  </a:cubicBezTo>
                  <a:cubicBezTo>
                    <a:pt x="9192" y="6529"/>
                    <a:pt x="9180" y="6569"/>
                    <a:pt x="9167" y="6608"/>
                  </a:cubicBezTo>
                  <a:lnTo>
                    <a:pt x="9574" y="7157"/>
                  </a:lnTo>
                  <a:cubicBezTo>
                    <a:pt x="9548" y="7203"/>
                    <a:pt x="9522" y="7248"/>
                    <a:pt x="9496" y="7294"/>
                  </a:cubicBezTo>
                  <a:lnTo>
                    <a:pt x="9419" y="7431"/>
                  </a:lnTo>
                  <a:lnTo>
                    <a:pt x="8740" y="7412"/>
                  </a:lnTo>
                  <a:lnTo>
                    <a:pt x="8605" y="7627"/>
                  </a:lnTo>
                  <a:lnTo>
                    <a:pt x="8547" y="7706"/>
                  </a:lnTo>
                  <a:cubicBezTo>
                    <a:pt x="8521" y="7739"/>
                    <a:pt x="8495" y="7771"/>
                    <a:pt x="8469" y="7804"/>
                  </a:cubicBezTo>
                  <a:lnTo>
                    <a:pt x="8682" y="8451"/>
                  </a:lnTo>
                  <a:cubicBezTo>
                    <a:pt x="8643" y="8490"/>
                    <a:pt x="8605" y="8530"/>
                    <a:pt x="8566" y="8569"/>
                  </a:cubicBezTo>
                  <a:lnTo>
                    <a:pt x="8450" y="8686"/>
                  </a:lnTo>
                  <a:lnTo>
                    <a:pt x="7810" y="8471"/>
                  </a:lnTo>
                  <a:lnTo>
                    <a:pt x="7616" y="8608"/>
                  </a:lnTo>
                  <a:lnTo>
                    <a:pt x="7442" y="8745"/>
                  </a:lnTo>
                  <a:lnTo>
                    <a:pt x="7442" y="9412"/>
                  </a:lnTo>
                  <a:lnTo>
                    <a:pt x="7287" y="9510"/>
                  </a:lnTo>
                  <a:cubicBezTo>
                    <a:pt x="7242" y="9530"/>
                    <a:pt x="7196" y="9549"/>
                    <a:pt x="7151" y="9569"/>
                  </a:cubicBezTo>
                  <a:lnTo>
                    <a:pt x="6609" y="9157"/>
                  </a:lnTo>
                  <a:lnTo>
                    <a:pt x="6395" y="9235"/>
                  </a:lnTo>
                  <a:cubicBezTo>
                    <a:pt x="6356" y="9248"/>
                    <a:pt x="6318" y="9262"/>
                    <a:pt x="6279" y="9275"/>
                  </a:cubicBezTo>
                  <a:lnTo>
                    <a:pt x="6163" y="9314"/>
                  </a:lnTo>
                  <a:lnTo>
                    <a:pt x="5950" y="9961"/>
                  </a:lnTo>
                  <a:lnTo>
                    <a:pt x="5640" y="10000"/>
                  </a:lnTo>
                  <a:lnTo>
                    <a:pt x="5252" y="9451"/>
                  </a:lnTo>
                  <a:lnTo>
                    <a:pt x="5019" y="9451"/>
                  </a:lnTo>
                  <a:lnTo>
                    <a:pt x="4767" y="9451"/>
                  </a:lnTo>
                  <a:lnTo>
                    <a:pt x="4380" y="10000"/>
                  </a:lnTo>
                  <a:lnTo>
                    <a:pt x="4225" y="9980"/>
                  </a:lnTo>
                  <a:lnTo>
                    <a:pt x="4070" y="9961"/>
                  </a:lnTo>
                  <a:lnTo>
                    <a:pt x="3857" y="9314"/>
                  </a:lnTo>
                  <a:lnTo>
                    <a:pt x="3624" y="9235"/>
                  </a:lnTo>
                  <a:lnTo>
                    <a:pt x="3508" y="9216"/>
                  </a:lnTo>
                  <a:cubicBezTo>
                    <a:pt x="3476" y="9196"/>
                    <a:pt x="3443" y="9177"/>
                    <a:pt x="3411" y="9157"/>
                  </a:cubicBezTo>
                  <a:lnTo>
                    <a:pt x="2868" y="9569"/>
                  </a:lnTo>
                  <a:lnTo>
                    <a:pt x="2733" y="9510"/>
                  </a:lnTo>
                  <a:lnTo>
                    <a:pt x="2578" y="9412"/>
                  </a:lnTo>
                  <a:cubicBezTo>
                    <a:pt x="2584" y="9190"/>
                    <a:pt x="2591" y="8967"/>
                    <a:pt x="2597" y="8745"/>
                  </a:cubicBezTo>
                  <a:lnTo>
                    <a:pt x="2403" y="8608"/>
                  </a:lnTo>
                  <a:lnTo>
                    <a:pt x="2306" y="8529"/>
                  </a:lnTo>
                  <a:lnTo>
                    <a:pt x="2209" y="8471"/>
                  </a:lnTo>
                  <a:lnTo>
                    <a:pt x="1570" y="8686"/>
                  </a:lnTo>
                  <a:lnTo>
                    <a:pt x="1453" y="8569"/>
                  </a:lnTo>
                  <a:cubicBezTo>
                    <a:pt x="1414" y="8530"/>
                    <a:pt x="1376" y="8490"/>
                    <a:pt x="1337" y="8451"/>
                  </a:cubicBezTo>
                  <a:lnTo>
                    <a:pt x="1550" y="7804"/>
                  </a:lnTo>
                  <a:lnTo>
                    <a:pt x="1415" y="7627"/>
                  </a:lnTo>
                  <a:cubicBezTo>
                    <a:pt x="1370" y="7555"/>
                    <a:pt x="1324" y="7484"/>
                    <a:pt x="1279" y="7412"/>
                  </a:cubicBezTo>
                  <a:lnTo>
                    <a:pt x="601" y="7431"/>
                  </a:lnTo>
                  <a:cubicBezTo>
                    <a:pt x="575" y="7385"/>
                    <a:pt x="549" y="7340"/>
                    <a:pt x="523" y="7294"/>
                  </a:cubicBezTo>
                  <a:lnTo>
                    <a:pt x="446" y="7157"/>
                  </a:lnTo>
                  <a:lnTo>
                    <a:pt x="853" y="6608"/>
                  </a:lnTo>
                  <a:lnTo>
                    <a:pt x="775" y="6392"/>
                  </a:lnTo>
                  <a:cubicBezTo>
                    <a:pt x="769" y="6353"/>
                    <a:pt x="762" y="6314"/>
                    <a:pt x="756" y="6275"/>
                  </a:cubicBezTo>
                  <a:cubicBezTo>
                    <a:pt x="743" y="6236"/>
                    <a:pt x="730" y="6196"/>
                    <a:pt x="717" y="6157"/>
                  </a:cubicBezTo>
                  <a:lnTo>
                    <a:pt x="58" y="5941"/>
                  </a:lnTo>
                  <a:cubicBezTo>
                    <a:pt x="39" y="5836"/>
                    <a:pt x="19" y="5732"/>
                    <a:pt x="0" y="5627"/>
                  </a:cubicBezTo>
                  <a:lnTo>
                    <a:pt x="581" y="5235"/>
                  </a:lnTo>
                  <a:cubicBezTo>
                    <a:pt x="575" y="5157"/>
                    <a:pt x="568" y="5078"/>
                    <a:pt x="562" y="5000"/>
                  </a:cubicBezTo>
                  <a:cubicBezTo>
                    <a:pt x="568" y="4922"/>
                    <a:pt x="575" y="4843"/>
                    <a:pt x="581" y="4765"/>
                  </a:cubicBezTo>
                  <a:lnTo>
                    <a:pt x="0" y="4392"/>
                  </a:lnTo>
                  <a:cubicBezTo>
                    <a:pt x="6" y="4333"/>
                    <a:pt x="13" y="4275"/>
                    <a:pt x="19" y="4216"/>
                  </a:cubicBezTo>
                  <a:cubicBezTo>
                    <a:pt x="32" y="4164"/>
                    <a:pt x="45" y="4111"/>
                    <a:pt x="58" y="4059"/>
                  </a:cubicBezTo>
                  <a:lnTo>
                    <a:pt x="717" y="3863"/>
                  </a:lnTo>
                </a:path>
              </a:pathLst>
            </a:custGeom>
            <a:noFill/>
            <a:ln w="9525">
              <a:solidFill>
                <a:schemeClr val="accent5"/>
              </a:solidFill>
              <a:round/>
              <a:headEnd/>
              <a:tailEnd/>
            </a:ln>
          </p:spPr>
          <p:txBody>
            <a:bodyPr/>
            <a:lstStyle/>
            <a:p>
              <a:endParaRPr lang="en-US" dirty="0">
                <a:solidFill>
                  <a:srgbClr val="000000"/>
                </a:solidFill>
              </a:endParaRPr>
            </a:p>
          </p:txBody>
        </p:sp>
        <p:sp>
          <p:nvSpPr>
            <p:cNvPr id="47" name="Textplatzhalter 3">
              <a:extLst>
                <a:ext uri="{FF2B5EF4-FFF2-40B4-BE49-F238E27FC236}">
                  <a16:creationId xmlns:a16="http://schemas.microsoft.com/office/drawing/2014/main" id="{3E3AC690-F9F3-4E37-8DF2-D354704030C8}"/>
                </a:ext>
              </a:extLst>
            </p:cNvPr>
            <p:cNvSpPr txBox="1">
              <a:spLocks/>
            </p:cNvSpPr>
            <p:nvPr/>
          </p:nvSpPr>
          <p:spPr bwMode="gray">
            <a:xfrm>
              <a:off x="7390348" y="4962104"/>
              <a:ext cx="504056" cy="271511"/>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sz="3000" dirty="0">
                  <a:solidFill>
                    <a:schemeClr val="accent5"/>
                  </a:solidFill>
                </a:rPr>
                <a:t>03</a:t>
              </a:r>
            </a:p>
          </p:txBody>
        </p:sp>
        <p:sp>
          <p:nvSpPr>
            <p:cNvPr id="48" name="Textplatzhalter 3">
              <a:extLst>
                <a:ext uri="{FF2B5EF4-FFF2-40B4-BE49-F238E27FC236}">
                  <a16:creationId xmlns:a16="http://schemas.microsoft.com/office/drawing/2014/main" id="{79E58295-71E2-40BB-8EB4-3D0C81DE0030}"/>
                </a:ext>
              </a:extLst>
            </p:cNvPr>
            <p:cNvSpPr txBox="1">
              <a:spLocks/>
            </p:cNvSpPr>
            <p:nvPr/>
          </p:nvSpPr>
          <p:spPr bwMode="gray">
            <a:xfrm>
              <a:off x="6421237" y="4962104"/>
              <a:ext cx="1296000" cy="1296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sz="1600" dirty="0">
                  <a:solidFill>
                    <a:schemeClr val="tx1"/>
                  </a:solidFill>
                </a:rPr>
                <a:t>Lorem</a:t>
              </a:r>
              <a:br>
                <a:rPr lang="en-US" sz="1600" dirty="0">
                  <a:solidFill>
                    <a:schemeClr val="tx1"/>
                  </a:solidFill>
                </a:rPr>
              </a:br>
              <a:r>
                <a:rPr lang="en-US" sz="1600" dirty="0">
                  <a:solidFill>
                    <a:schemeClr val="tx1"/>
                  </a:solidFill>
                </a:rPr>
                <a:t>ipsum dolor</a:t>
              </a:r>
              <a:br>
                <a:rPr lang="en-US" sz="1600" dirty="0">
                  <a:solidFill>
                    <a:schemeClr val="tx1"/>
                  </a:solidFill>
                </a:rPr>
              </a:br>
              <a:r>
                <a:rPr lang="en-US" sz="1600" dirty="0">
                  <a:solidFill>
                    <a:schemeClr val="tx1"/>
                  </a:solidFill>
                </a:rPr>
                <a:t>sit amet</a:t>
              </a:r>
            </a:p>
          </p:txBody>
        </p:sp>
      </p:grpSp>
      <p:grpSp>
        <p:nvGrpSpPr>
          <p:cNvPr id="63" name="Gruppieren 62">
            <a:extLst>
              <a:ext uri="{FF2B5EF4-FFF2-40B4-BE49-F238E27FC236}">
                <a16:creationId xmlns:a16="http://schemas.microsoft.com/office/drawing/2014/main" id="{16409B24-6409-488A-B535-C37A90D3EC3E}"/>
              </a:ext>
            </a:extLst>
          </p:cNvPr>
          <p:cNvGrpSpPr/>
          <p:nvPr/>
        </p:nvGrpSpPr>
        <p:grpSpPr bwMode="gray">
          <a:xfrm>
            <a:off x="3069381" y="1772816"/>
            <a:ext cx="1586459" cy="1497012"/>
            <a:chOff x="4330008" y="1700808"/>
            <a:chExt cx="1586459" cy="1497012"/>
          </a:xfrm>
        </p:grpSpPr>
        <p:sp>
          <p:nvSpPr>
            <p:cNvPr id="49" name="Freeform 53">
              <a:extLst>
                <a:ext uri="{FF2B5EF4-FFF2-40B4-BE49-F238E27FC236}">
                  <a16:creationId xmlns:a16="http://schemas.microsoft.com/office/drawing/2014/main" id="{3DAA0E5D-50FD-4035-83CE-3BBC095C6C96}"/>
                </a:ext>
              </a:extLst>
            </p:cNvPr>
            <p:cNvSpPr>
              <a:spLocks noChangeAspect="1"/>
            </p:cNvSpPr>
            <p:nvPr/>
          </p:nvSpPr>
          <p:spPr bwMode="gray">
            <a:xfrm flipH="1">
              <a:off x="4330008" y="1700808"/>
              <a:ext cx="1514475" cy="1497012"/>
            </a:xfrm>
            <a:custGeom>
              <a:avLst/>
              <a:gdLst>
                <a:gd name="T0" fmla="*/ 2485 w 516"/>
                <a:gd name="T1" fmla="*/ 2775 h 510"/>
                <a:gd name="T2" fmla="*/ 2376 w 516"/>
                <a:gd name="T3" fmla="*/ 3068 h 510"/>
                <a:gd name="T4" fmla="*/ 2085 w 516"/>
                <a:gd name="T5" fmla="*/ 2977 h 510"/>
                <a:gd name="T6" fmla="*/ 1941 w 516"/>
                <a:gd name="T7" fmla="*/ 3210 h 510"/>
                <a:gd name="T8" fmla="*/ 1638 w 516"/>
                <a:gd name="T9" fmla="*/ 3045 h 510"/>
                <a:gd name="T10" fmla="*/ 1377 w 516"/>
                <a:gd name="T11" fmla="*/ 3217 h 510"/>
                <a:gd name="T12" fmla="*/ 1183 w 516"/>
                <a:gd name="T13" fmla="*/ 2977 h 510"/>
                <a:gd name="T14" fmla="*/ 937 w 516"/>
                <a:gd name="T15" fmla="*/ 3084 h 510"/>
                <a:gd name="T16" fmla="*/ 849 w 516"/>
                <a:gd name="T17" fmla="*/ 2820 h 510"/>
                <a:gd name="T18" fmla="*/ 721 w 516"/>
                <a:gd name="T19" fmla="*/ 2731 h 510"/>
                <a:gd name="T20" fmla="*/ 438 w 516"/>
                <a:gd name="T21" fmla="*/ 2725 h 510"/>
                <a:gd name="T22" fmla="*/ 418 w 516"/>
                <a:gd name="T23" fmla="*/ 2389 h 510"/>
                <a:gd name="T24" fmla="*/ 148 w 516"/>
                <a:gd name="T25" fmla="*/ 2308 h 510"/>
                <a:gd name="T26" fmla="*/ 246 w 516"/>
                <a:gd name="T27" fmla="*/ 2025 h 510"/>
                <a:gd name="T28" fmla="*/ 0 w 516"/>
                <a:gd name="T29" fmla="*/ 1816 h 510"/>
                <a:gd name="T30" fmla="*/ 189 w 516"/>
                <a:gd name="T31" fmla="*/ 1535 h 510"/>
                <a:gd name="T32" fmla="*/ 20 w 516"/>
                <a:gd name="T33" fmla="*/ 1309 h 510"/>
                <a:gd name="T34" fmla="*/ 266 w 516"/>
                <a:gd name="T35" fmla="*/ 1132 h 510"/>
                <a:gd name="T36" fmla="*/ 170 w 516"/>
                <a:gd name="T37" fmla="*/ 873 h 510"/>
                <a:gd name="T38" fmla="*/ 462 w 516"/>
                <a:gd name="T39" fmla="*/ 773 h 510"/>
                <a:gd name="T40" fmla="*/ 438 w 516"/>
                <a:gd name="T41" fmla="*/ 507 h 510"/>
                <a:gd name="T42" fmla="*/ 721 w 516"/>
                <a:gd name="T43" fmla="*/ 499 h 510"/>
                <a:gd name="T44" fmla="*/ 841 w 516"/>
                <a:gd name="T45" fmla="*/ 189 h 510"/>
                <a:gd name="T46" fmla="*/ 1111 w 516"/>
                <a:gd name="T47" fmla="*/ 274 h 510"/>
                <a:gd name="T48" fmla="*/ 1257 w 516"/>
                <a:gd name="T49" fmla="*/ 229 h 510"/>
                <a:gd name="T50" fmla="*/ 1555 w 516"/>
                <a:gd name="T51" fmla="*/ 185 h 510"/>
                <a:gd name="T52" fmla="*/ 1840 w 516"/>
                <a:gd name="T53" fmla="*/ 0 h 510"/>
                <a:gd name="T54" fmla="*/ 2010 w 516"/>
                <a:gd name="T55" fmla="*/ 229 h 510"/>
                <a:gd name="T56" fmla="*/ 2154 w 516"/>
                <a:gd name="T57" fmla="*/ 274 h 510"/>
                <a:gd name="T58" fmla="*/ 2428 w 516"/>
                <a:gd name="T59" fmla="*/ 189 h 510"/>
                <a:gd name="T60" fmla="*/ 2516 w 516"/>
                <a:gd name="T61" fmla="*/ 475 h 510"/>
                <a:gd name="T62" fmla="*/ 2794 w 516"/>
                <a:gd name="T63" fmla="*/ 468 h 510"/>
                <a:gd name="T64" fmla="*/ 2807 w 516"/>
                <a:gd name="T65" fmla="*/ 773 h 510"/>
                <a:gd name="T66" fmla="*/ 3097 w 516"/>
                <a:gd name="T67" fmla="*/ 873 h 510"/>
                <a:gd name="T68" fmla="*/ 3015 w 516"/>
                <a:gd name="T69" fmla="*/ 1169 h 510"/>
                <a:gd name="T70" fmla="*/ 3247 w 516"/>
                <a:gd name="T71" fmla="*/ 1309 h 510"/>
                <a:gd name="T72" fmla="*/ 3084 w 516"/>
                <a:gd name="T73" fmla="*/ 1614 h 510"/>
                <a:gd name="T74" fmla="*/ 3254 w 516"/>
                <a:gd name="T75" fmla="*/ 1864 h 510"/>
                <a:gd name="T76" fmla="*/ 3015 w 516"/>
                <a:gd name="T77" fmla="*/ 2062 h 510"/>
                <a:gd name="T78" fmla="*/ 3121 w 516"/>
                <a:gd name="T79" fmla="*/ 2308 h 510"/>
                <a:gd name="T80" fmla="*/ 2851 w 516"/>
                <a:gd name="T81" fmla="*/ 2389 h 510"/>
                <a:gd name="T82" fmla="*/ 2762 w 516"/>
                <a:gd name="T83" fmla="*/ 2517 h 510"/>
                <a:gd name="T84" fmla="*/ 2755 w 516"/>
                <a:gd name="T85" fmla="*/ 2799 h 51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connsiteX0" fmla="*/ 1415 w 10000"/>
                <a:gd name="connsiteY0" fmla="*/ 2392 h 10000"/>
                <a:gd name="connsiteX1" fmla="*/ 1473 w 10000"/>
                <a:gd name="connsiteY1" fmla="*/ 2294 h 10000"/>
                <a:gd name="connsiteX2" fmla="*/ 1550 w 10000"/>
                <a:gd name="connsiteY2" fmla="*/ 2216 h 10000"/>
                <a:gd name="connsiteX3" fmla="*/ 1337 w 10000"/>
                <a:gd name="connsiteY3" fmla="*/ 1569 h 10000"/>
                <a:gd name="connsiteX4" fmla="*/ 1453 w 10000"/>
                <a:gd name="connsiteY4" fmla="*/ 1451 h 10000"/>
                <a:gd name="connsiteX5" fmla="*/ 1570 w 10000"/>
                <a:gd name="connsiteY5" fmla="*/ 1333 h 10000"/>
                <a:gd name="connsiteX6" fmla="*/ 2209 w 10000"/>
                <a:gd name="connsiteY6" fmla="*/ 1549 h 10000"/>
                <a:gd name="connsiteX7" fmla="*/ 2403 w 10000"/>
                <a:gd name="connsiteY7" fmla="*/ 1412 h 10000"/>
                <a:gd name="connsiteX8" fmla="*/ 2597 w 10000"/>
                <a:gd name="connsiteY8" fmla="*/ 1275 h 10000"/>
                <a:gd name="connsiteX9" fmla="*/ 2578 w 10000"/>
                <a:gd name="connsiteY9" fmla="*/ 588 h 10000"/>
                <a:gd name="connsiteX10" fmla="*/ 2733 w 10000"/>
                <a:gd name="connsiteY10" fmla="*/ 510 h 10000"/>
                <a:gd name="connsiteX11" fmla="*/ 2868 w 10000"/>
                <a:gd name="connsiteY11" fmla="*/ 451 h 10000"/>
                <a:gd name="connsiteX12" fmla="*/ 3411 w 10000"/>
                <a:gd name="connsiteY12" fmla="*/ 843 h 10000"/>
                <a:gd name="connsiteX13" fmla="*/ 3624 w 10000"/>
                <a:gd name="connsiteY13" fmla="*/ 765 h 10000"/>
                <a:gd name="connsiteX14" fmla="*/ 3740 w 10000"/>
                <a:gd name="connsiteY14" fmla="*/ 725 h 10000"/>
                <a:gd name="connsiteX15" fmla="*/ 3857 w 10000"/>
                <a:gd name="connsiteY15" fmla="*/ 706 h 10000"/>
                <a:gd name="connsiteX16" fmla="*/ 4070 w 10000"/>
                <a:gd name="connsiteY16" fmla="*/ 59 h 10000"/>
                <a:gd name="connsiteX17" fmla="*/ 4380 w 10000"/>
                <a:gd name="connsiteY17" fmla="*/ 0 h 10000"/>
                <a:gd name="connsiteX18" fmla="*/ 4767 w 10000"/>
                <a:gd name="connsiteY18" fmla="*/ 569 h 10000"/>
                <a:gd name="connsiteX19" fmla="*/ 5019 w 10000"/>
                <a:gd name="connsiteY19" fmla="*/ 549 h 10000"/>
                <a:gd name="connsiteX20" fmla="*/ 5252 w 10000"/>
                <a:gd name="connsiteY20" fmla="*/ 569 h 10000"/>
                <a:gd name="connsiteX21" fmla="*/ 5640 w 10000"/>
                <a:gd name="connsiteY21" fmla="*/ 0 h 10000"/>
                <a:gd name="connsiteX22" fmla="*/ 5795 w 10000"/>
                <a:gd name="connsiteY22" fmla="*/ 20 h 10000"/>
                <a:gd name="connsiteX23" fmla="*/ 5950 w 10000"/>
                <a:gd name="connsiteY23" fmla="*/ 59 h 10000"/>
                <a:gd name="connsiteX24" fmla="*/ 6163 w 10000"/>
                <a:gd name="connsiteY24" fmla="*/ 706 h 10000"/>
                <a:gd name="connsiteX25" fmla="*/ 6395 w 10000"/>
                <a:gd name="connsiteY25" fmla="*/ 765 h 10000"/>
                <a:gd name="connsiteX26" fmla="*/ 6492 w 10000"/>
                <a:gd name="connsiteY26" fmla="*/ 804 h 10000"/>
                <a:gd name="connsiteX27" fmla="*/ 6609 w 10000"/>
                <a:gd name="connsiteY27" fmla="*/ 843 h 10000"/>
                <a:gd name="connsiteX28" fmla="*/ 7151 w 10000"/>
                <a:gd name="connsiteY28" fmla="*/ 451 h 10000"/>
                <a:gd name="connsiteX29" fmla="*/ 7287 w 10000"/>
                <a:gd name="connsiteY29" fmla="*/ 510 h 10000"/>
                <a:gd name="connsiteX30" fmla="*/ 7442 w 10000"/>
                <a:gd name="connsiteY30" fmla="*/ 588 h 10000"/>
                <a:gd name="connsiteX31" fmla="*/ 7442 w 10000"/>
                <a:gd name="connsiteY31" fmla="*/ 1275 h 10000"/>
                <a:gd name="connsiteX32" fmla="*/ 7616 w 10000"/>
                <a:gd name="connsiteY32" fmla="*/ 1412 h 10000"/>
                <a:gd name="connsiteX33" fmla="*/ 7713 w 10000"/>
                <a:gd name="connsiteY33" fmla="*/ 1471 h 10000"/>
                <a:gd name="connsiteX34" fmla="*/ 7810 w 10000"/>
                <a:gd name="connsiteY34" fmla="*/ 1549 h 10000"/>
                <a:gd name="connsiteX35" fmla="*/ 8450 w 10000"/>
                <a:gd name="connsiteY35" fmla="*/ 1333 h 10000"/>
                <a:gd name="connsiteX36" fmla="*/ 8566 w 10000"/>
                <a:gd name="connsiteY36" fmla="*/ 1451 h 10000"/>
                <a:gd name="connsiteX37" fmla="*/ 8682 w 10000"/>
                <a:gd name="connsiteY37" fmla="*/ 1569 h 10000"/>
                <a:gd name="connsiteX38" fmla="*/ 8469 w 10000"/>
                <a:gd name="connsiteY38" fmla="*/ 2216 h 10000"/>
                <a:gd name="connsiteX39" fmla="*/ 8605 w 10000"/>
                <a:gd name="connsiteY39" fmla="*/ 2392 h 10000"/>
                <a:gd name="connsiteX40" fmla="*/ 8740 w 10000"/>
                <a:gd name="connsiteY40" fmla="*/ 2588 h 10000"/>
                <a:gd name="connsiteX41" fmla="*/ 9419 w 10000"/>
                <a:gd name="connsiteY41" fmla="*/ 2588 h 10000"/>
                <a:gd name="connsiteX42" fmla="*/ 9496 w 10000"/>
                <a:gd name="connsiteY42" fmla="*/ 2706 h 10000"/>
                <a:gd name="connsiteX43" fmla="*/ 9574 w 10000"/>
                <a:gd name="connsiteY43" fmla="*/ 2863 h 10000"/>
                <a:gd name="connsiteX44" fmla="*/ 9167 w 10000"/>
                <a:gd name="connsiteY44" fmla="*/ 3392 h 10000"/>
                <a:gd name="connsiteX45" fmla="*/ 9244 w 10000"/>
                <a:gd name="connsiteY45" fmla="*/ 3627 h 10000"/>
                <a:gd name="connsiteX46" fmla="*/ 9283 w 10000"/>
                <a:gd name="connsiteY46" fmla="*/ 3745 h 10000"/>
                <a:gd name="connsiteX47" fmla="*/ 9302 w 10000"/>
                <a:gd name="connsiteY47" fmla="*/ 3863 h 10000"/>
                <a:gd name="connsiteX48" fmla="*/ 9961 w 10000"/>
                <a:gd name="connsiteY48" fmla="*/ 4059 h 10000"/>
                <a:gd name="connsiteX49" fmla="*/ 10000 w 10000"/>
                <a:gd name="connsiteY49" fmla="*/ 4392 h 10000"/>
                <a:gd name="connsiteX50" fmla="*/ 9438 w 10000"/>
                <a:gd name="connsiteY50" fmla="*/ 4765 h 10000"/>
                <a:gd name="connsiteX51" fmla="*/ 9457 w 10000"/>
                <a:gd name="connsiteY51" fmla="*/ 5000 h 10000"/>
                <a:gd name="connsiteX52" fmla="*/ 9438 w 10000"/>
                <a:gd name="connsiteY52" fmla="*/ 5235 h 10000"/>
                <a:gd name="connsiteX53" fmla="*/ 10000 w 10000"/>
                <a:gd name="connsiteY53" fmla="*/ 5627 h 10000"/>
                <a:gd name="connsiteX54" fmla="*/ 9981 w 10000"/>
                <a:gd name="connsiteY54" fmla="*/ 5784 h 10000"/>
                <a:gd name="connsiteX55" fmla="*/ 9961 w 10000"/>
                <a:gd name="connsiteY55" fmla="*/ 5941 h 10000"/>
                <a:gd name="connsiteX56" fmla="*/ 9302 w 10000"/>
                <a:gd name="connsiteY56" fmla="*/ 6157 h 10000"/>
                <a:gd name="connsiteX57" fmla="*/ 9244 w 10000"/>
                <a:gd name="connsiteY57" fmla="*/ 6392 h 10000"/>
                <a:gd name="connsiteX58" fmla="*/ 9205 w 10000"/>
                <a:gd name="connsiteY58" fmla="*/ 6490 h 10000"/>
                <a:gd name="connsiteX59" fmla="*/ 9167 w 10000"/>
                <a:gd name="connsiteY59" fmla="*/ 6608 h 10000"/>
                <a:gd name="connsiteX60" fmla="*/ 9574 w 10000"/>
                <a:gd name="connsiteY60" fmla="*/ 7157 h 10000"/>
                <a:gd name="connsiteX61" fmla="*/ 9496 w 10000"/>
                <a:gd name="connsiteY61" fmla="*/ 7294 h 10000"/>
                <a:gd name="connsiteX62" fmla="*/ 9419 w 10000"/>
                <a:gd name="connsiteY62" fmla="*/ 7431 h 10000"/>
                <a:gd name="connsiteX63" fmla="*/ 8740 w 10000"/>
                <a:gd name="connsiteY63" fmla="*/ 7412 h 10000"/>
                <a:gd name="connsiteX64" fmla="*/ 8605 w 10000"/>
                <a:gd name="connsiteY64" fmla="*/ 7627 h 10000"/>
                <a:gd name="connsiteX65" fmla="*/ 8547 w 10000"/>
                <a:gd name="connsiteY65" fmla="*/ 7706 h 10000"/>
                <a:gd name="connsiteX66" fmla="*/ 8469 w 10000"/>
                <a:gd name="connsiteY66" fmla="*/ 7804 h 10000"/>
                <a:gd name="connsiteX67" fmla="*/ 8682 w 10000"/>
                <a:gd name="connsiteY67" fmla="*/ 8451 h 10000"/>
                <a:gd name="connsiteX68" fmla="*/ 8566 w 10000"/>
                <a:gd name="connsiteY68" fmla="*/ 8569 h 10000"/>
                <a:gd name="connsiteX69" fmla="*/ 8450 w 10000"/>
                <a:gd name="connsiteY69" fmla="*/ 8686 h 10000"/>
                <a:gd name="connsiteX70" fmla="*/ 7810 w 10000"/>
                <a:gd name="connsiteY70" fmla="*/ 8471 h 10000"/>
                <a:gd name="connsiteX71" fmla="*/ 7616 w 10000"/>
                <a:gd name="connsiteY71" fmla="*/ 8608 h 10000"/>
                <a:gd name="connsiteX72" fmla="*/ 7442 w 10000"/>
                <a:gd name="connsiteY72" fmla="*/ 8745 h 10000"/>
                <a:gd name="connsiteX73" fmla="*/ 7442 w 10000"/>
                <a:gd name="connsiteY73" fmla="*/ 9412 h 10000"/>
                <a:gd name="connsiteX74" fmla="*/ 7287 w 10000"/>
                <a:gd name="connsiteY74" fmla="*/ 9510 h 10000"/>
                <a:gd name="connsiteX75" fmla="*/ 7151 w 10000"/>
                <a:gd name="connsiteY75" fmla="*/ 9569 h 10000"/>
                <a:gd name="connsiteX76" fmla="*/ 6609 w 10000"/>
                <a:gd name="connsiteY76" fmla="*/ 9157 h 10000"/>
                <a:gd name="connsiteX77" fmla="*/ 6395 w 10000"/>
                <a:gd name="connsiteY77" fmla="*/ 9235 h 10000"/>
                <a:gd name="connsiteX78" fmla="*/ 6279 w 10000"/>
                <a:gd name="connsiteY78" fmla="*/ 9275 h 10000"/>
                <a:gd name="connsiteX79" fmla="*/ 6163 w 10000"/>
                <a:gd name="connsiteY79" fmla="*/ 9314 h 10000"/>
                <a:gd name="connsiteX80" fmla="*/ 5950 w 10000"/>
                <a:gd name="connsiteY80" fmla="*/ 9961 h 10000"/>
                <a:gd name="connsiteX81" fmla="*/ 5640 w 10000"/>
                <a:gd name="connsiteY81" fmla="*/ 10000 h 10000"/>
                <a:gd name="connsiteX82" fmla="*/ 5252 w 10000"/>
                <a:gd name="connsiteY82" fmla="*/ 9451 h 10000"/>
                <a:gd name="connsiteX83" fmla="*/ 5019 w 10000"/>
                <a:gd name="connsiteY83" fmla="*/ 9451 h 10000"/>
                <a:gd name="connsiteX84" fmla="*/ 4767 w 10000"/>
                <a:gd name="connsiteY84" fmla="*/ 9451 h 10000"/>
                <a:gd name="connsiteX85" fmla="*/ 4380 w 10000"/>
                <a:gd name="connsiteY85" fmla="*/ 10000 h 10000"/>
                <a:gd name="connsiteX86" fmla="*/ 4225 w 10000"/>
                <a:gd name="connsiteY86" fmla="*/ 9980 h 10000"/>
                <a:gd name="connsiteX87" fmla="*/ 4070 w 10000"/>
                <a:gd name="connsiteY87" fmla="*/ 9961 h 10000"/>
                <a:gd name="connsiteX88" fmla="*/ 3857 w 10000"/>
                <a:gd name="connsiteY88" fmla="*/ 9314 h 10000"/>
                <a:gd name="connsiteX89" fmla="*/ 3624 w 10000"/>
                <a:gd name="connsiteY89" fmla="*/ 9235 h 10000"/>
                <a:gd name="connsiteX90" fmla="*/ 3508 w 10000"/>
                <a:gd name="connsiteY90" fmla="*/ 9216 h 10000"/>
                <a:gd name="connsiteX91" fmla="*/ 3411 w 10000"/>
                <a:gd name="connsiteY91" fmla="*/ 9157 h 10000"/>
                <a:gd name="connsiteX92" fmla="*/ 2868 w 10000"/>
                <a:gd name="connsiteY92" fmla="*/ 9569 h 10000"/>
                <a:gd name="connsiteX93" fmla="*/ 2733 w 10000"/>
                <a:gd name="connsiteY93" fmla="*/ 9510 h 10000"/>
                <a:gd name="connsiteX94" fmla="*/ 2578 w 10000"/>
                <a:gd name="connsiteY94" fmla="*/ 9412 h 10000"/>
                <a:gd name="connsiteX95" fmla="*/ 2597 w 10000"/>
                <a:gd name="connsiteY95" fmla="*/ 8745 h 10000"/>
                <a:gd name="connsiteX96" fmla="*/ 2403 w 10000"/>
                <a:gd name="connsiteY96" fmla="*/ 8608 h 10000"/>
                <a:gd name="connsiteX97" fmla="*/ 2306 w 10000"/>
                <a:gd name="connsiteY97" fmla="*/ 8529 h 10000"/>
                <a:gd name="connsiteX98" fmla="*/ 2209 w 10000"/>
                <a:gd name="connsiteY98" fmla="*/ 8471 h 10000"/>
                <a:gd name="connsiteX99" fmla="*/ 1570 w 10000"/>
                <a:gd name="connsiteY99" fmla="*/ 8686 h 10000"/>
                <a:gd name="connsiteX100" fmla="*/ 1453 w 10000"/>
                <a:gd name="connsiteY100" fmla="*/ 8569 h 10000"/>
                <a:gd name="connsiteX101" fmla="*/ 1337 w 10000"/>
                <a:gd name="connsiteY101" fmla="*/ 8451 h 10000"/>
                <a:gd name="connsiteX102" fmla="*/ 1550 w 10000"/>
                <a:gd name="connsiteY102" fmla="*/ 7804 h 10000"/>
                <a:gd name="connsiteX103" fmla="*/ 1415 w 10000"/>
                <a:gd name="connsiteY103" fmla="*/ 7627 h 10000"/>
                <a:gd name="connsiteX104" fmla="*/ 1279 w 10000"/>
                <a:gd name="connsiteY104" fmla="*/ 7412 h 10000"/>
                <a:gd name="connsiteX105" fmla="*/ 601 w 10000"/>
                <a:gd name="connsiteY105" fmla="*/ 7431 h 10000"/>
                <a:gd name="connsiteX106" fmla="*/ 523 w 10000"/>
                <a:gd name="connsiteY106" fmla="*/ 7294 h 10000"/>
                <a:gd name="connsiteX107" fmla="*/ 446 w 10000"/>
                <a:gd name="connsiteY107" fmla="*/ 7157 h 10000"/>
                <a:gd name="connsiteX108" fmla="*/ 853 w 10000"/>
                <a:gd name="connsiteY108" fmla="*/ 6608 h 10000"/>
                <a:gd name="connsiteX109" fmla="*/ 775 w 10000"/>
                <a:gd name="connsiteY109" fmla="*/ 6392 h 10000"/>
                <a:gd name="connsiteX110" fmla="*/ 756 w 10000"/>
                <a:gd name="connsiteY110" fmla="*/ 6275 h 10000"/>
                <a:gd name="connsiteX111" fmla="*/ 717 w 10000"/>
                <a:gd name="connsiteY111" fmla="*/ 6157 h 10000"/>
                <a:gd name="connsiteX112" fmla="*/ 58 w 10000"/>
                <a:gd name="connsiteY112" fmla="*/ 5941 h 10000"/>
                <a:gd name="connsiteX113" fmla="*/ 0 w 10000"/>
                <a:gd name="connsiteY113" fmla="*/ 5627 h 10000"/>
                <a:gd name="connsiteX114" fmla="*/ 581 w 10000"/>
                <a:gd name="connsiteY114" fmla="*/ 5235 h 10000"/>
                <a:gd name="connsiteX115" fmla="*/ 562 w 10000"/>
                <a:gd name="connsiteY115" fmla="*/ 5000 h 10000"/>
                <a:gd name="connsiteX116" fmla="*/ 581 w 10000"/>
                <a:gd name="connsiteY116" fmla="*/ 4765 h 10000"/>
                <a:gd name="connsiteX117" fmla="*/ 0 w 10000"/>
                <a:gd name="connsiteY117" fmla="*/ 4392 h 10000"/>
                <a:gd name="connsiteX118" fmla="*/ 19 w 10000"/>
                <a:gd name="connsiteY118" fmla="*/ 4216 h 10000"/>
                <a:gd name="connsiteX119" fmla="*/ 58 w 10000"/>
                <a:gd name="connsiteY119" fmla="*/ 4059 h 10000"/>
                <a:gd name="connsiteX120" fmla="*/ 717 w 10000"/>
                <a:gd name="connsiteY120" fmla="*/ 3863 h 10000"/>
                <a:gd name="connsiteX121" fmla="*/ 775 w 10000"/>
                <a:gd name="connsiteY121" fmla="*/ 3627 h 10000"/>
                <a:gd name="connsiteX122" fmla="*/ 814 w 10000"/>
                <a:gd name="connsiteY122" fmla="*/ 3510 h 10000"/>
                <a:gd name="connsiteX123" fmla="*/ 853 w 10000"/>
                <a:gd name="connsiteY123" fmla="*/ 3392 h 10000"/>
                <a:gd name="connsiteX124" fmla="*/ 446 w 10000"/>
                <a:gd name="connsiteY124" fmla="*/ 2863 h 10000"/>
                <a:gd name="connsiteX125" fmla="*/ 523 w 10000"/>
                <a:gd name="connsiteY125" fmla="*/ 2706 h 10000"/>
                <a:gd name="connsiteX126" fmla="*/ 601 w 10000"/>
                <a:gd name="connsiteY126" fmla="*/ 2588 h 10000"/>
                <a:gd name="connsiteX127" fmla="*/ 1279 w 10000"/>
                <a:gd name="connsiteY127" fmla="*/ 2588 h 10000"/>
                <a:gd name="connsiteX128" fmla="*/ 2019 w 10000"/>
                <a:gd name="connsiteY128" fmla="*/ 3003 h 10000"/>
                <a:gd name="connsiteX0" fmla="*/ 1415 w 10000"/>
                <a:gd name="connsiteY0" fmla="*/ 2392 h 10000"/>
                <a:gd name="connsiteX1" fmla="*/ 1473 w 10000"/>
                <a:gd name="connsiteY1" fmla="*/ 2294 h 10000"/>
                <a:gd name="connsiteX2" fmla="*/ 1550 w 10000"/>
                <a:gd name="connsiteY2" fmla="*/ 2216 h 10000"/>
                <a:gd name="connsiteX3" fmla="*/ 1337 w 10000"/>
                <a:gd name="connsiteY3" fmla="*/ 1569 h 10000"/>
                <a:gd name="connsiteX4" fmla="*/ 1453 w 10000"/>
                <a:gd name="connsiteY4" fmla="*/ 1451 h 10000"/>
                <a:gd name="connsiteX5" fmla="*/ 1570 w 10000"/>
                <a:gd name="connsiteY5" fmla="*/ 1333 h 10000"/>
                <a:gd name="connsiteX6" fmla="*/ 2209 w 10000"/>
                <a:gd name="connsiteY6" fmla="*/ 1549 h 10000"/>
                <a:gd name="connsiteX7" fmla="*/ 2403 w 10000"/>
                <a:gd name="connsiteY7" fmla="*/ 1412 h 10000"/>
                <a:gd name="connsiteX8" fmla="*/ 2597 w 10000"/>
                <a:gd name="connsiteY8" fmla="*/ 1275 h 10000"/>
                <a:gd name="connsiteX9" fmla="*/ 2578 w 10000"/>
                <a:gd name="connsiteY9" fmla="*/ 588 h 10000"/>
                <a:gd name="connsiteX10" fmla="*/ 2733 w 10000"/>
                <a:gd name="connsiteY10" fmla="*/ 510 h 10000"/>
                <a:gd name="connsiteX11" fmla="*/ 2868 w 10000"/>
                <a:gd name="connsiteY11" fmla="*/ 451 h 10000"/>
                <a:gd name="connsiteX12" fmla="*/ 3411 w 10000"/>
                <a:gd name="connsiteY12" fmla="*/ 843 h 10000"/>
                <a:gd name="connsiteX13" fmla="*/ 3624 w 10000"/>
                <a:gd name="connsiteY13" fmla="*/ 765 h 10000"/>
                <a:gd name="connsiteX14" fmla="*/ 3740 w 10000"/>
                <a:gd name="connsiteY14" fmla="*/ 725 h 10000"/>
                <a:gd name="connsiteX15" fmla="*/ 3857 w 10000"/>
                <a:gd name="connsiteY15" fmla="*/ 706 h 10000"/>
                <a:gd name="connsiteX16" fmla="*/ 4070 w 10000"/>
                <a:gd name="connsiteY16" fmla="*/ 59 h 10000"/>
                <a:gd name="connsiteX17" fmla="*/ 4380 w 10000"/>
                <a:gd name="connsiteY17" fmla="*/ 0 h 10000"/>
                <a:gd name="connsiteX18" fmla="*/ 4767 w 10000"/>
                <a:gd name="connsiteY18" fmla="*/ 569 h 10000"/>
                <a:gd name="connsiteX19" fmla="*/ 5019 w 10000"/>
                <a:gd name="connsiteY19" fmla="*/ 549 h 10000"/>
                <a:gd name="connsiteX20" fmla="*/ 5252 w 10000"/>
                <a:gd name="connsiteY20" fmla="*/ 569 h 10000"/>
                <a:gd name="connsiteX21" fmla="*/ 5640 w 10000"/>
                <a:gd name="connsiteY21" fmla="*/ 0 h 10000"/>
                <a:gd name="connsiteX22" fmla="*/ 5795 w 10000"/>
                <a:gd name="connsiteY22" fmla="*/ 20 h 10000"/>
                <a:gd name="connsiteX23" fmla="*/ 5950 w 10000"/>
                <a:gd name="connsiteY23" fmla="*/ 59 h 10000"/>
                <a:gd name="connsiteX24" fmla="*/ 6163 w 10000"/>
                <a:gd name="connsiteY24" fmla="*/ 706 h 10000"/>
                <a:gd name="connsiteX25" fmla="*/ 6395 w 10000"/>
                <a:gd name="connsiteY25" fmla="*/ 765 h 10000"/>
                <a:gd name="connsiteX26" fmla="*/ 6492 w 10000"/>
                <a:gd name="connsiteY26" fmla="*/ 804 h 10000"/>
                <a:gd name="connsiteX27" fmla="*/ 6609 w 10000"/>
                <a:gd name="connsiteY27" fmla="*/ 843 h 10000"/>
                <a:gd name="connsiteX28" fmla="*/ 7151 w 10000"/>
                <a:gd name="connsiteY28" fmla="*/ 451 h 10000"/>
                <a:gd name="connsiteX29" fmla="*/ 7287 w 10000"/>
                <a:gd name="connsiteY29" fmla="*/ 510 h 10000"/>
                <a:gd name="connsiteX30" fmla="*/ 7442 w 10000"/>
                <a:gd name="connsiteY30" fmla="*/ 588 h 10000"/>
                <a:gd name="connsiteX31" fmla="*/ 7442 w 10000"/>
                <a:gd name="connsiteY31" fmla="*/ 1275 h 10000"/>
                <a:gd name="connsiteX32" fmla="*/ 7616 w 10000"/>
                <a:gd name="connsiteY32" fmla="*/ 1412 h 10000"/>
                <a:gd name="connsiteX33" fmla="*/ 7713 w 10000"/>
                <a:gd name="connsiteY33" fmla="*/ 1471 h 10000"/>
                <a:gd name="connsiteX34" fmla="*/ 7810 w 10000"/>
                <a:gd name="connsiteY34" fmla="*/ 1549 h 10000"/>
                <a:gd name="connsiteX35" fmla="*/ 8450 w 10000"/>
                <a:gd name="connsiteY35" fmla="*/ 1333 h 10000"/>
                <a:gd name="connsiteX36" fmla="*/ 8566 w 10000"/>
                <a:gd name="connsiteY36" fmla="*/ 1451 h 10000"/>
                <a:gd name="connsiteX37" fmla="*/ 8682 w 10000"/>
                <a:gd name="connsiteY37" fmla="*/ 1569 h 10000"/>
                <a:gd name="connsiteX38" fmla="*/ 8469 w 10000"/>
                <a:gd name="connsiteY38" fmla="*/ 2216 h 10000"/>
                <a:gd name="connsiteX39" fmla="*/ 8605 w 10000"/>
                <a:gd name="connsiteY39" fmla="*/ 2392 h 10000"/>
                <a:gd name="connsiteX40" fmla="*/ 8740 w 10000"/>
                <a:gd name="connsiteY40" fmla="*/ 2588 h 10000"/>
                <a:gd name="connsiteX41" fmla="*/ 9419 w 10000"/>
                <a:gd name="connsiteY41" fmla="*/ 2588 h 10000"/>
                <a:gd name="connsiteX42" fmla="*/ 9496 w 10000"/>
                <a:gd name="connsiteY42" fmla="*/ 2706 h 10000"/>
                <a:gd name="connsiteX43" fmla="*/ 9574 w 10000"/>
                <a:gd name="connsiteY43" fmla="*/ 2863 h 10000"/>
                <a:gd name="connsiteX44" fmla="*/ 9167 w 10000"/>
                <a:gd name="connsiteY44" fmla="*/ 3392 h 10000"/>
                <a:gd name="connsiteX45" fmla="*/ 9244 w 10000"/>
                <a:gd name="connsiteY45" fmla="*/ 3627 h 10000"/>
                <a:gd name="connsiteX46" fmla="*/ 9283 w 10000"/>
                <a:gd name="connsiteY46" fmla="*/ 3745 h 10000"/>
                <a:gd name="connsiteX47" fmla="*/ 9302 w 10000"/>
                <a:gd name="connsiteY47" fmla="*/ 3863 h 10000"/>
                <a:gd name="connsiteX48" fmla="*/ 9961 w 10000"/>
                <a:gd name="connsiteY48" fmla="*/ 4059 h 10000"/>
                <a:gd name="connsiteX49" fmla="*/ 10000 w 10000"/>
                <a:gd name="connsiteY49" fmla="*/ 4392 h 10000"/>
                <a:gd name="connsiteX50" fmla="*/ 9438 w 10000"/>
                <a:gd name="connsiteY50" fmla="*/ 4765 h 10000"/>
                <a:gd name="connsiteX51" fmla="*/ 9457 w 10000"/>
                <a:gd name="connsiteY51" fmla="*/ 5000 h 10000"/>
                <a:gd name="connsiteX52" fmla="*/ 9438 w 10000"/>
                <a:gd name="connsiteY52" fmla="*/ 5235 h 10000"/>
                <a:gd name="connsiteX53" fmla="*/ 10000 w 10000"/>
                <a:gd name="connsiteY53" fmla="*/ 5627 h 10000"/>
                <a:gd name="connsiteX54" fmla="*/ 9981 w 10000"/>
                <a:gd name="connsiteY54" fmla="*/ 5784 h 10000"/>
                <a:gd name="connsiteX55" fmla="*/ 9961 w 10000"/>
                <a:gd name="connsiteY55" fmla="*/ 5941 h 10000"/>
                <a:gd name="connsiteX56" fmla="*/ 9302 w 10000"/>
                <a:gd name="connsiteY56" fmla="*/ 6157 h 10000"/>
                <a:gd name="connsiteX57" fmla="*/ 9244 w 10000"/>
                <a:gd name="connsiteY57" fmla="*/ 6392 h 10000"/>
                <a:gd name="connsiteX58" fmla="*/ 9205 w 10000"/>
                <a:gd name="connsiteY58" fmla="*/ 6490 h 10000"/>
                <a:gd name="connsiteX59" fmla="*/ 9167 w 10000"/>
                <a:gd name="connsiteY59" fmla="*/ 6608 h 10000"/>
                <a:gd name="connsiteX60" fmla="*/ 9574 w 10000"/>
                <a:gd name="connsiteY60" fmla="*/ 7157 h 10000"/>
                <a:gd name="connsiteX61" fmla="*/ 9496 w 10000"/>
                <a:gd name="connsiteY61" fmla="*/ 7294 h 10000"/>
                <a:gd name="connsiteX62" fmla="*/ 9419 w 10000"/>
                <a:gd name="connsiteY62" fmla="*/ 7431 h 10000"/>
                <a:gd name="connsiteX63" fmla="*/ 8740 w 10000"/>
                <a:gd name="connsiteY63" fmla="*/ 7412 h 10000"/>
                <a:gd name="connsiteX64" fmla="*/ 8605 w 10000"/>
                <a:gd name="connsiteY64" fmla="*/ 7627 h 10000"/>
                <a:gd name="connsiteX65" fmla="*/ 8547 w 10000"/>
                <a:gd name="connsiteY65" fmla="*/ 7706 h 10000"/>
                <a:gd name="connsiteX66" fmla="*/ 8469 w 10000"/>
                <a:gd name="connsiteY66" fmla="*/ 7804 h 10000"/>
                <a:gd name="connsiteX67" fmla="*/ 8682 w 10000"/>
                <a:gd name="connsiteY67" fmla="*/ 8451 h 10000"/>
                <a:gd name="connsiteX68" fmla="*/ 8566 w 10000"/>
                <a:gd name="connsiteY68" fmla="*/ 8569 h 10000"/>
                <a:gd name="connsiteX69" fmla="*/ 8450 w 10000"/>
                <a:gd name="connsiteY69" fmla="*/ 8686 h 10000"/>
                <a:gd name="connsiteX70" fmla="*/ 7810 w 10000"/>
                <a:gd name="connsiteY70" fmla="*/ 8471 h 10000"/>
                <a:gd name="connsiteX71" fmla="*/ 7616 w 10000"/>
                <a:gd name="connsiteY71" fmla="*/ 8608 h 10000"/>
                <a:gd name="connsiteX72" fmla="*/ 7442 w 10000"/>
                <a:gd name="connsiteY72" fmla="*/ 8745 h 10000"/>
                <a:gd name="connsiteX73" fmla="*/ 7442 w 10000"/>
                <a:gd name="connsiteY73" fmla="*/ 9412 h 10000"/>
                <a:gd name="connsiteX74" fmla="*/ 7287 w 10000"/>
                <a:gd name="connsiteY74" fmla="*/ 9510 h 10000"/>
                <a:gd name="connsiteX75" fmla="*/ 7151 w 10000"/>
                <a:gd name="connsiteY75" fmla="*/ 9569 h 10000"/>
                <a:gd name="connsiteX76" fmla="*/ 6609 w 10000"/>
                <a:gd name="connsiteY76" fmla="*/ 9157 h 10000"/>
                <a:gd name="connsiteX77" fmla="*/ 6395 w 10000"/>
                <a:gd name="connsiteY77" fmla="*/ 9235 h 10000"/>
                <a:gd name="connsiteX78" fmla="*/ 6279 w 10000"/>
                <a:gd name="connsiteY78" fmla="*/ 9275 h 10000"/>
                <a:gd name="connsiteX79" fmla="*/ 6163 w 10000"/>
                <a:gd name="connsiteY79" fmla="*/ 9314 h 10000"/>
                <a:gd name="connsiteX80" fmla="*/ 5950 w 10000"/>
                <a:gd name="connsiteY80" fmla="*/ 9961 h 10000"/>
                <a:gd name="connsiteX81" fmla="*/ 5640 w 10000"/>
                <a:gd name="connsiteY81" fmla="*/ 10000 h 10000"/>
                <a:gd name="connsiteX82" fmla="*/ 5252 w 10000"/>
                <a:gd name="connsiteY82" fmla="*/ 9451 h 10000"/>
                <a:gd name="connsiteX83" fmla="*/ 5019 w 10000"/>
                <a:gd name="connsiteY83" fmla="*/ 9451 h 10000"/>
                <a:gd name="connsiteX84" fmla="*/ 4767 w 10000"/>
                <a:gd name="connsiteY84" fmla="*/ 9451 h 10000"/>
                <a:gd name="connsiteX85" fmla="*/ 4380 w 10000"/>
                <a:gd name="connsiteY85" fmla="*/ 10000 h 10000"/>
                <a:gd name="connsiteX86" fmla="*/ 4225 w 10000"/>
                <a:gd name="connsiteY86" fmla="*/ 9980 h 10000"/>
                <a:gd name="connsiteX87" fmla="*/ 4070 w 10000"/>
                <a:gd name="connsiteY87" fmla="*/ 9961 h 10000"/>
                <a:gd name="connsiteX88" fmla="*/ 3857 w 10000"/>
                <a:gd name="connsiteY88" fmla="*/ 9314 h 10000"/>
                <a:gd name="connsiteX89" fmla="*/ 3624 w 10000"/>
                <a:gd name="connsiteY89" fmla="*/ 9235 h 10000"/>
                <a:gd name="connsiteX90" fmla="*/ 3508 w 10000"/>
                <a:gd name="connsiteY90" fmla="*/ 9216 h 10000"/>
                <a:gd name="connsiteX91" fmla="*/ 3411 w 10000"/>
                <a:gd name="connsiteY91" fmla="*/ 9157 h 10000"/>
                <a:gd name="connsiteX92" fmla="*/ 2868 w 10000"/>
                <a:gd name="connsiteY92" fmla="*/ 9569 h 10000"/>
                <a:gd name="connsiteX93" fmla="*/ 2733 w 10000"/>
                <a:gd name="connsiteY93" fmla="*/ 9510 h 10000"/>
                <a:gd name="connsiteX94" fmla="*/ 2578 w 10000"/>
                <a:gd name="connsiteY94" fmla="*/ 9412 h 10000"/>
                <a:gd name="connsiteX95" fmla="*/ 2597 w 10000"/>
                <a:gd name="connsiteY95" fmla="*/ 8745 h 10000"/>
                <a:gd name="connsiteX96" fmla="*/ 2403 w 10000"/>
                <a:gd name="connsiteY96" fmla="*/ 8608 h 10000"/>
                <a:gd name="connsiteX97" fmla="*/ 2306 w 10000"/>
                <a:gd name="connsiteY97" fmla="*/ 8529 h 10000"/>
                <a:gd name="connsiteX98" fmla="*/ 2209 w 10000"/>
                <a:gd name="connsiteY98" fmla="*/ 8471 h 10000"/>
                <a:gd name="connsiteX99" fmla="*/ 1570 w 10000"/>
                <a:gd name="connsiteY99" fmla="*/ 8686 h 10000"/>
                <a:gd name="connsiteX100" fmla="*/ 1453 w 10000"/>
                <a:gd name="connsiteY100" fmla="*/ 8569 h 10000"/>
                <a:gd name="connsiteX101" fmla="*/ 1337 w 10000"/>
                <a:gd name="connsiteY101" fmla="*/ 8451 h 10000"/>
                <a:gd name="connsiteX102" fmla="*/ 1550 w 10000"/>
                <a:gd name="connsiteY102" fmla="*/ 7804 h 10000"/>
                <a:gd name="connsiteX103" fmla="*/ 1415 w 10000"/>
                <a:gd name="connsiteY103" fmla="*/ 7627 h 10000"/>
                <a:gd name="connsiteX104" fmla="*/ 1279 w 10000"/>
                <a:gd name="connsiteY104" fmla="*/ 7412 h 10000"/>
                <a:gd name="connsiteX105" fmla="*/ 601 w 10000"/>
                <a:gd name="connsiteY105" fmla="*/ 7431 h 10000"/>
                <a:gd name="connsiteX106" fmla="*/ 523 w 10000"/>
                <a:gd name="connsiteY106" fmla="*/ 7294 h 10000"/>
                <a:gd name="connsiteX107" fmla="*/ 446 w 10000"/>
                <a:gd name="connsiteY107" fmla="*/ 7157 h 10000"/>
                <a:gd name="connsiteX108" fmla="*/ 853 w 10000"/>
                <a:gd name="connsiteY108" fmla="*/ 6608 h 10000"/>
                <a:gd name="connsiteX109" fmla="*/ 775 w 10000"/>
                <a:gd name="connsiteY109" fmla="*/ 6392 h 10000"/>
                <a:gd name="connsiteX110" fmla="*/ 756 w 10000"/>
                <a:gd name="connsiteY110" fmla="*/ 6275 h 10000"/>
                <a:gd name="connsiteX111" fmla="*/ 717 w 10000"/>
                <a:gd name="connsiteY111" fmla="*/ 6157 h 10000"/>
                <a:gd name="connsiteX112" fmla="*/ 58 w 10000"/>
                <a:gd name="connsiteY112" fmla="*/ 5941 h 10000"/>
                <a:gd name="connsiteX113" fmla="*/ 0 w 10000"/>
                <a:gd name="connsiteY113" fmla="*/ 5627 h 10000"/>
                <a:gd name="connsiteX114" fmla="*/ 581 w 10000"/>
                <a:gd name="connsiteY114" fmla="*/ 5235 h 10000"/>
                <a:gd name="connsiteX115" fmla="*/ 562 w 10000"/>
                <a:gd name="connsiteY115" fmla="*/ 5000 h 10000"/>
                <a:gd name="connsiteX116" fmla="*/ 581 w 10000"/>
                <a:gd name="connsiteY116" fmla="*/ 4765 h 10000"/>
                <a:gd name="connsiteX117" fmla="*/ 0 w 10000"/>
                <a:gd name="connsiteY117" fmla="*/ 4392 h 10000"/>
                <a:gd name="connsiteX118" fmla="*/ 19 w 10000"/>
                <a:gd name="connsiteY118" fmla="*/ 4216 h 10000"/>
                <a:gd name="connsiteX119" fmla="*/ 58 w 10000"/>
                <a:gd name="connsiteY119" fmla="*/ 4059 h 10000"/>
                <a:gd name="connsiteX120" fmla="*/ 717 w 10000"/>
                <a:gd name="connsiteY120" fmla="*/ 3863 h 10000"/>
                <a:gd name="connsiteX121" fmla="*/ 775 w 10000"/>
                <a:gd name="connsiteY121" fmla="*/ 3627 h 10000"/>
                <a:gd name="connsiteX122" fmla="*/ 814 w 10000"/>
                <a:gd name="connsiteY122" fmla="*/ 3510 h 10000"/>
                <a:gd name="connsiteX123" fmla="*/ 853 w 10000"/>
                <a:gd name="connsiteY123" fmla="*/ 3392 h 10000"/>
                <a:gd name="connsiteX124" fmla="*/ 446 w 10000"/>
                <a:gd name="connsiteY124" fmla="*/ 2863 h 10000"/>
                <a:gd name="connsiteX125" fmla="*/ 523 w 10000"/>
                <a:gd name="connsiteY125" fmla="*/ 2706 h 10000"/>
                <a:gd name="connsiteX126" fmla="*/ 601 w 10000"/>
                <a:gd name="connsiteY126" fmla="*/ 2588 h 10000"/>
                <a:gd name="connsiteX127" fmla="*/ 1279 w 10000"/>
                <a:gd name="connsiteY127" fmla="*/ 2588 h 10000"/>
                <a:gd name="connsiteX0" fmla="*/ 1415 w 10000"/>
                <a:gd name="connsiteY0" fmla="*/ 2392 h 10000"/>
                <a:gd name="connsiteX1" fmla="*/ 1473 w 10000"/>
                <a:gd name="connsiteY1" fmla="*/ 2294 h 10000"/>
                <a:gd name="connsiteX2" fmla="*/ 1337 w 10000"/>
                <a:gd name="connsiteY2" fmla="*/ 1569 h 10000"/>
                <a:gd name="connsiteX3" fmla="*/ 1453 w 10000"/>
                <a:gd name="connsiteY3" fmla="*/ 1451 h 10000"/>
                <a:gd name="connsiteX4" fmla="*/ 1570 w 10000"/>
                <a:gd name="connsiteY4" fmla="*/ 1333 h 10000"/>
                <a:gd name="connsiteX5" fmla="*/ 2209 w 10000"/>
                <a:gd name="connsiteY5" fmla="*/ 1549 h 10000"/>
                <a:gd name="connsiteX6" fmla="*/ 2403 w 10000"/>
                <a:gd name="connsiteY6" fmla="*/ 1412 h 10000"/>
                <a:gd name="connsiteX7" fmla="*/ 2597 w 10000"/>
                <a:gd name="connsiteY7" fmla="*/ 1275 h 10000"/>
                <a:gd name="connsiteX8" fmla="*/ 2578 w 10000"/>
                <a:gd name="connsiteY8" fmla="*/ 588 h 10000"/>
                <a:gd name="connsiteX9" fmla="*/ 2733 w 10000"/>
                <a:gd name="connsiteY9" fmla="*/ 510 h 10000"/>
                <a:gd name="connsiteX10" fmla="*/ 2868 w 10000"/>
                <a:gd name="connsiteY10" fmla="*/ 451 h 10000"/>
                <a:gd name="connsiteX11" fmla="*/ 3411 w 10000"/>
                <a:gd name="connsiteY11" fmla="*/ 843 h 10000"/>
                <a:gd name="connsiteX12" fmla="*/ 3624 w 10000"/>
                <a:gd name="connsiteY12" fmla="*/ 765 h 10000"/>
                <a:gd name="connsiteX13" fmla="*/ 3740 w 10000"/>
                <a:gd name="connsiteY13" fmla="*/ 725 h 10000"/>
                <a:gd name="connsiteX14" fmla="*/ 3857 w 10000"/>
                <a:gd name="connsiteY14" fmla="*/ 706 h 10000"/>
                <a:gd name="connsiteX15" fmla="*/ 4070 w 10000"/>
                <a:gd name="connsiteY15" fmla="*/ 59 h 10000"/>
                <a:gd name="connsiteX16" fmla="*/ 4380 w 10000"/>
                <a:gd name="connsiteY16" fmla="*/ 0 h 10000"/>
                <a:gd name="connsiteX17" fmla="*/ 4767 w 10000"/>
                <a:gd name="connsiteY17" fmla="*/ 569 h 10000"/>
                <a:gd name="connsiteX18" fmla="*/ 5019 w 10000"/>
                <a:gd name="connsiteY18" fmla="*/ 549 h 10000"/>
                <a:gd name="connsiteX19" fmla="*/ 5252 w 10000"/>
                <a:gd name="connsiteY19" fmla="*/ 569 h 10000"/>
                <a:gd name="connsiteX20" fmla="*/ 5640 w 10000"/>
                <a:gd name="connsiteY20" fmla="*/ 0 h 10000"/>
                <a:gd name="connsiteX21" fmla="*/ 5795 w 10000"/>
                <a:gd name="connsiteY21" fmla="*/ 20 h 10000"/>
                <a:gd name="connsiteX22" fmla="*/ 5950 w 10000"/>
                <a:gd name="connsiteY22" fmla="*/ 59 h 10000"/>
                <a:gd name="connsiteX23" fmla="*/ 6163 w 10000"/>
                <a:gd name="connsiteY23" fmla="*/ 706 h 10000"/>
                <a:gd name="connsiteX24" fmla="*/ 6395 w 10000"/>
                <a:gd name="connsiteY24" fmla="*/ 765 h 10000"/>
                <a:gd name="connsiteX25" fmla="*/ 6492 w 10000"/>
                <a:gd name="connsiteY25" fmla="*/ 804 h 10000"/>
                <a:gd name="connsiteX26" fmla="*/ 6609 w 10000"/>
                <a:gd name="connsiteY26" fmla="*/ 843 h 10000"/>
                <a:gd name="connsiteX27" fmla="*/ 7151 w 10000"/>
                <a:gd name="connsiteY27" fmla="*/ 451 h 10000"/>
                <a:gd name="connsiteX28" fmla="*/ 7287 w 10000"/>
                <a:gd name="connsiteY28" fmla="*/ 510 h 10000"/>
                <a:gd name="connsiteX29" fmla="*/ 7442 w 10000"/>
                <a:gd name="connsiteY29" fmla="*/ 588 h 10000"/>
                <a:gd name="connsiteX30" fmla="*/ 7442 w 10000"/>
                <a:gd name="connsiteY30" fmla="*/ 1275 h 10000"/>
                <a:gd name="connsiteX31" fmla="*/ 7616 w 10000"/>
                <a:gd name="connsiteY31" fmla="*/ 1412 h 10000"/>
                <a:gd name="connsiteX32" fmla="*/ 7713 w 10000"/>
                <a:gd name="connsiteY32" fmla="*/ 1471 h 10000"/>
                <a:gd name="connsiteX33" fmla="*/ 7810 w 10000"/>
                <a:gd name="connsiteY33" fmla="*/ 1549 h 10000"/>
                <a:gd name="connsiteX34" fmla="*/ 8450 w 10000"/>
                <a:gd name="connsiteY34" fmla="*/ 1333 h 10000"/>
                <a:gd name="connsiteX35" fmla="*/ 8566 w 10000"/>
                <a:gd name="connsiteY35" fmla="*/ 1451 h 10000"/>
                <a:gd name="connsiteX36" fmla="*/ 8682 w 10000"/>
                <a:gd name="connsiteY36" fmla="*/ 1569 h 10000"/>
                <a:gd name="connsiteX37" fmla="*/ 8469 w 10000"/>
                <a:gd name="connsiteY37" fmla="*/ 2216 h 10000"/>
                <a:gd name="connsiteX38" fmla="*/ 8605 w 10000"/>
                <a:gd name="connsiteY38" fmla="*/ 2392 h 10000"/>
                <a:gd name="connsiteX39" fmla="*/ 8740 w 10000"/>
                <a:gd name="connsiteY39" fmla="*/ 2588 h 10000"/>
                <a:gd name="connsiteX40" fmla="*/ 9419 w 10000"/>
                <a:gd name="connsiteY40" fmla="*/ 2588 h 10000"/>
                <a:gd name="connsiteX41" fmla="*/ 9496 w 10000"/>
                <a:gd name="connsiteY41" fmla="*/ 2706 h 10000"/>
                <a:gd name="connsiteX42" fmla="*/ 9574 w 10000"/>
                <a:gd name="connsiteY42" fmla="*/ 2863 h 10000"/>
                <a:gd name="connsiteX43" fmla="*/ 9167 w 10000"/>
                <a:gd name="connsiteY43" fmla="*/ 3392 h 10000"/>
                <a:gd name="connsiteX44" fmla="*/ 9244 w 10000"/>
                <a:gd name="connsiteY44" fmla="*/ 3627 h 10000"/>
                <a:gd name="connsiteX45" fmla="*/ 9283 w 10000"/>
                <a:gd name="connsiteY45" fmla="*/ 3745 h 10000"/>
                <a:gd name="connsiteX46" fmla="*/ 9302 w 10000"/>
                <a:gd name="connsiteY46" fmla="*/ 3863 h 10000"/>
                <a:gd name="connsiteX47" fmla="*/ 9961 w 10000"/>
                <a:gd name="connsiteY47" fmla="*/ 4059 h 10000"/>
                <a:gd name="connsiteX48" fmla="*/ 10000 w 10000"/>
                <a:gd name="connsiteY48" fmla="*/ 4392 h 10000"/>
                <a:gd name="connsiteX49" fmla="*/ 9438 w 10000"/>
                <a:gd name="connsiteY49" fmla="*/ 4765 h 10000"/>
                <a:gd name="connsiteX50" fmla="*/ 9457 w 10000"/>
                <a:gd name="connsiteY50" fmla="*/ 5000 h 10000"/>
                <a:gd name="connsiteX51" fmla="*/ 9438 w 10000"/>
                <a:gd name="connsiteY51" fmla="*/ 5235 h 10000"/>
                <a:gd name="connsiteX52" fmla="*/ 10000 w 10000"/>
                <a:gd name="connsiteY52" fmla="*/ 5627 h 10000"/>
                <a:gd name="connsiteX53" fmla="*/ 9981 w 10000"/>
                <a:gd name="connsiteY53" fmla="*/ 5784 h 10000"/>
                <a:gd name="connsiteX54" fmla="*/ 9961 w 10000"/>
                <a:gd name="connsiteY54" fmla="*/ 5941 h 10000"/>
                <a:gd name="connsiteX55" fmla="*/ 9302 w 10000"/>
                <a:gd name="connsiteY55" fmla="*/ 6157 h 10000"/>
                <a:gd name="connsiteX56" fmla="*/ 9244 w 10000"/>
                <a:gd name="connsiteY56" fmla="*/ 6392 h 10000"/>
                <a:gd name="connsiteX57" fmla="*/ 9205 w 10000"/>
                <a:gd name="connsiteY57" fmla="*/ 6490 h 10000"/>
                <a:gd name="connsiteX58" fmla="*/ 9167 w 10000"/>
                <a:gd name="connsiteY58" fmla="*/ 6608 h 10000"/>
                <a:gd name="connsiteX59" fmla="*/ 9574 w 10000"/>
                <a:gd name="connsiteY59" fmla="*/ 7157 h 10000"/>
                <a:gd name="connsiteX60" fmla="*/ 9496 w 10000"/>
                <a:gd name="connsiteY60" fmla="*/ 7294 h 10000"/>
                <a:gd name="connsiteX61" fmla="*/ 9419 w 10000"/>
                <a:gd name="connsiteY61" fmla="*/ 7431 h 10000"/>
                <a:gd name="connsiteX62" fmla="*/ 8740 w 10000"/>
                <a:gd name="connsiteY62" fmla="*/ 7412 h 10000"/>
                <a:gd name="connsiteX63" fmla="*/ 8605 w 10000"/>
                <a:gd name="connsiteY63" fmla="*/ 7627 h 10000"/>
                <a:gd name="connsiteX64" fmla="*/ 8547 w 10000"/>
                <a:gd name="connsiteY64" fmla="*/ 7706 h 10000"/>
                <a:gd name="connsiteX65" fmla="*/ 8469 w 10000"/>
                <a:gd name="connsiteY65" fmla="*/ 7804 h 10000"/>
                <a:gd name="connsiteX66" fmla="*/ 8682 w 10000"/>
                <a:gd name="connsiteY66" fmla="*/ 8451 h 10000"/>
                <a:gd name="connsiteX67" fmla="*/ 8566 w 10000"/>
                <a:gd name="connsiteY67" fmla="*/ 8569 h 10000"/>
                <a:gd name="connsiteX68" fmla="*/ 8450 w 10000"/>
                <a:gd name="connsiteY68" fmla="*/ 8686 h 10000"/>
                <a:gd name="connsiteX69" fmla="*/ 7810 w 10000"/>
                <a:gd name="connsiteY69" fmla="*/ 8471 h 10000"/>
                <a:gd name="connsiteX70" fmla="*/ 7616 w 10000"/>
                <a:gd name="connsiteY70" fmla="*/ 8608 h 10000"/>
                <a:gd name="connsiteX71" fmla="*/ 7442 w 10000"/>
                <a:gd name="connsiteY71" fmla="*/ 8745 h 10000"/>
                <a:gd name="connsiteX72" fmla="*/ 7442 w 10000"/>
                <a:gd name="connsiteY72" fmla="*/ 9412 h 10000"/>
                <a:gd name="connsiteX73" fmla="*/ 7287 w 10000"/>
                <a:gd name="connsiteY73" fmla="*/ 9510 h 10000"/>
                <a:gd name="connsiteX74" fmla="*/ 7151 w 10000"/>
                <a:gd name="connsiteY74" fmla="*/ 9569 h 10000"/>
                <a:gd name="connsiteX75" fmla="*/ 6609 w 10000"/>
                <a:gd name="connsiteY75" fmla="*/ 9157 h 10000"/>
                <a:gd name="connsiteX76" fmla="*/ 6395 w 10000"/>
                <a:gd name="connsiteY76" fmla="*/ 9235 h 10000"/>
                <a:gd name="connsiteX77" fmla="*/ 6279 w 10000"/>
                <a:gd name="connsiteY77" fmla="*/ 9275 h 10000"/>
                <a:gd name="connsiteX78" fmla="*/ 6163 w 10000"/>
                <a:gd name="connsiteY78" fmla="*/ 9314 h 10000"/>
                <a:gd name="connsiteX79" fmla="*/ 5950 w 10000"/>
                <a:gd name="connsiteY79" fmla="*/ 9961 h 10000"/>
                <a:gd name="connsiteX80" fmla="*/ 5640 w 10000"/>
                <a:gd name="connsiteY80" fmla="*/ 10000 h 10000"/>
                <a:gd name="connsiteX81" fmla="*/ 5252 w 10000"/>
                <a:gd name="connsiteY81" fmla="*/ 9451 h 10000"/>
                <a:gd name="connsiteX82" fmla="*/ 5019 w 10000"/>
                <a:gd name="connsiteY82" fmla="*/ 9451 h 10000"/>
                <a:gd name="connsiteX83" fmla="*/ 4767 w 10000"/>
                <a:gd name="connsiteY83" fmla="*/ 9451 h 10000"/>
                <a:gd name="connsiteX84" fmla="*/ 4380 w 10000"/>
                <a:gd name="connsiteY84" fmla="*/ 10000 h 10000"/>
                <a:gd name="connsiteX85" fmla="*/ 4225 w 10000"/>
                <a:gd name="connsiteY85" fmla="*/ 9980 h 10000"/>
                <a:gd name="connsiteX86" fmla="*/ 4070 w 10000"/>
                <a:gd name="connsiteY86" fmla="*/ 9961 h 10000"/>
                <a:gd name="connsiteX87" fmla="*/ 3857 w 10000"/>
                <a:gd name="connsiteY87" fmla="*/ 9314 h 10000"/>
                <a:gd name="connsiteX88" fmla="*/ 3624 w 10000"/>
                <a:gd name="connsiteY88" fmla="*/ 9235 h 10000"/>
                <a:gd name="connsiteX89" fmla="*/ 3508 w 10000"/>
                <a:gd name="connsiteY89" fmla="*/ 9216 h 10000"/>
                <a:gd name="connsiteX90" fmla="*/ 3411 w 10000"/>
                <a:gd name="connsiteY90" fmla="*/ 9157 h 10000"/>
                <a:gd name="connsiteX91" fmla="*/ 2868 w 10000"/>
                <a:gd name="connsiteY91" fmla="*/ 9569 h 10000"/>
                <a:gd name="connsiteX92" fmla="*/ 2733 w 10000"/>
                <a:gd name="connsiteY92" fmla="*/ 9510 h 10000"/>
                <a:gd name="connsiteX93" fmla="*/ 2578 w 10000"/>
                <a:gd name="connsiteY93" fmla="*/ 9412 h 10000"/>
                <a:gd name="connsiteX94" fmla="*/ 2597 w 10000"/>
                <a:gd name="connsiteY94" fmla="*/ 8745 h 10000"/>
                <a:gd name="connsiteX95" fmla="*/ 2403 w 10000"/>
                <a:gd name="connsiteY95" fmla="*/ 8608 h 10000"/>
                <a:gd name="connsiteX96" fmla="*/ 2306 w 10000"/>
                <a:gd name="connsiteY96" fmla="*/ 8529 h 10000"/>
                <a:gd name="connsiteX97" fmla="*/ 2209 w 10000"/>
                <a:gd name="connsiteY97" fmla="*/ 8471 h 10000"/>
                <a:gd name="connsiteX98" fmla="*/ 1570 w 10000"/>
                <a:gd name="connsiteY98" fmla="*/ 8686 h 10000"/>
                <a:gd name="connsiteX99" fmla="*/ 1453 w 10000"/>
                <a:gd name="connsiteY99" fmla="*/ 8569 h 10000"/>
                <a:gd name="connsiteX100" fmla="*/ 1337 w 10000"/>
                <a:gd name="connsiteY100" fmla="*/ 8451 h 10000"/>
                <a:gd name="connsiteX101" fmla="*/ 1550 w 10000"/>
                <a:gd name="connsiteY101" fmla="*/ 7804 h 10000"/>
                <a:gd name="connsiteX102" fmla="*/ 1415 w 10000"/>
                <a:gd name="connsiteY102" fmla="*/ 7627 h 10000"/>
                <a:gd name="connsiteX103" fmla="*/ 1279 w 10000"/>
                <a:gd name="connsiteY103" fmla="*/ 7412 h 10000"/>
                <a:gd name="connsiteX104" fmla="*/ 601 w 10000"/>
                <a:gd name="connsiteY104" fmla="*/ 7431 h 10000"/>
                <a:gd name="connsiteX105" fmla="*/ 523 w 10000"/>
                <a:gd name="connsiteY105" fmla="*/ 7294 h 10000"/>
                <a:gd name="connsiteX106" fmla="*/ 446 w 10000"/>
                <a:gd name="connsiteY106" fmla="*/ 7157 h 10000"/>
                <a:gd name="connsiteX107" fmla="*/ 853 w 10000"/>
                <a:gd name="connsiteY107" fmla="*/ 6608 h 10000"/>
                <a:gd name="connsiteX108" fmla="*/ 775 w 10000"/>
                <a:gd name="connsiteY108" fmla="*/ 6392 h 10000"/>
                <a:gd name="connsiteX109" fmla="*/ 756 w 10000"/>
                <a:gd name="connsiteY109" fmla="*/ 6275 h 10000"/>
                <a:gd name="connsiteX110" fmla="*/ 717 w 10000"/>
                <a:gd name="connsiteY110" fmla="*/ 6157 h 10000"/>
                <a:gd name="connsiteX111" fmla="*/ 58 w 10000"/>
                <a:gd name="connsiteY111" fmla="*/ 5941 h 10000"/>
                <a:gd name="connsiteX112" fmla="*/ 0 w 10000"/>
                <a:gd name="connsiteY112" fmla="*/ 5627 h 10000"/>
                <a:gd name="connsiteX113" fmla="*/ 581 w 10000"/>
                <a:gd name="connsiteY113" fmla="*/ 5235 h 10000"/>
                <a:gd name="connsiteX114" fmla="*/ 562 w 10000"/>
                <a:gd name="connsiteY114" fmla="*/ 5000 h 10000"/>
                <a:gd name="connsiteX115" fmla="*/ 581 w 10000"/>
                <a:gd name="connsiteY115" fmla="*/ 4765 h 10000"/>
                <a:gd name="connsiteX116" fmla="*/ 0 w 10000"/>
                <a:gd name="connsiteY116" fmla="*/ 4392 h 10000"/>
                <a:gd name="connsiteX117" fmla="*/ 19 w 10000"/>
                <a:gd name="connsiteY117" fmla="*/ 4216 h 10000"/>
                <a:gd name="connsiteX118" fmla="*/ 58 w 10000"/>
                <a:gd name="connsiteY118" fmla="*/ 4059 h 10000"/>
                <a:gd name="connsiteX119" fmla="*/ 717 w 10000"/>
                <a:gd name="connsiteY119" fmla="*/ 3863 h 10000"/>
                <a:gd name="connsiteX120" fmla="*/ 775 w 10000"/>
                <a:gd name="connsiteY120" fmla="*/ 3627 h 10000"/>
                <a:gd name="connsiteX121" fmla="*/ 814 w 10000"/>
                <a:gd name="connsiteY121" fmla="*/ 3510 h 10000"/>
                <a:gd name="connsiteX122" fmla="*/ 853 w 10000"/>
                <a:gd name="connsiteY122" fmla="*/ 3392 h 10000"/>
                <a:gd name="connsiteX123" fmla="*/ 446 w 10000"/>
                <a:gd name="connsiteY123" fmla="*/ 2863 h 10000"/>
                <a:gd name="connsiteX124" fmla="*/ 523 w 10000"/>
                <a:gd name="connsiteY124" fmla="*/ 2706 h 10000"/>
                <a:gd name="connsiteX125" fmla="*/ 601 w 10000"/>
                <a:gd name="connsiteY125" fmla="*/ 2588 h 10000"/>
                <a:gd name="connsiteX126" fmla="*/ 1279 w 10000"/>
                <a:gd name="connsiteY126" fmla="*/ 2588 h 10000"/>
                <a:gd name="connsiteX0" fmla="*/ 1415 w 10000"/>
                <a:gd name="connsiteY0" fmla="*/ 2392 h 10000"/>
                <a:gd name="connsiteX1" fmla="*/ 1337 w 10000"/>
                <a:gd name="connsiteY1" fmla="*/ 1569 h 10000"/>
                <a:gd name="connsiteX2" fmla="*/ 1453 w 10000"/>
                <a:gd name="connsiteY2" fmla="*/ 1451 h 10000"/>
                <a:gd name="connsiteX3" fmla="*/ 1570 w 10000"/>
                <a:gd name="connsiteY3" fmla="*/ 1333 h 10000"/>
                <a:gd name="connsiteX4" fmla="*/ 2209 w 10000"/>
                <a:gd name="connsiteY4" fmla="*/ 1549 h 10000"/>
                <a:gd name="connsiteX5" fmla="*/ 2403 w 10000"/>
                <a:gd name="connsiteY5" fmla="*/ 1412 h 10000"/>
                <a:gd name="connsiteX6" fmla="*/ 2597 w 10000"/>
                <a:gd name="connsiteY6" fmla="*/ 1275 h 10000"/>
                <a:gd name="connsiteX7" fmla="*/ 2578 w 10000"/>
                <a:gd name="connsiteY7" fmla="*/ 588 h 10000"/>
                <a:gd name="connsiteX8" fmla="*/ 2733 w 10000"/>
                <a:gd name="connsiteY8" fmla="*/ 510 h 10000"/>
                <a:gd name="connsiteX9" fmla="*/ 2868 w 10000"/>
                <a:gd name="connsiteY9" fmla="*/ 451 h 10000"/>
                <a:gd name="connsiteX10" fmla="*/ 3411 w 10000"/>
                <a:gd name="connsiteY10" fmla="*/ 843 h 10000"/>
                <a:gd name="connsiteX11" fmla="*/ 3624 w 10000"/>
                <a:gd name="connsiteY11" fmla="*/ 765 h 10000"/>
                <a:gd name="connsiteX12" fmla="*/ 3740 w 10000"/>
                <a:gd name="connsiteY12" fmla="*/ 725 h 10000"/>
                <a:gd name="connsiteX13" fmla="*/ 3857 w 10000"/>
                <a:gd name="connsiteY13" fmla="*/ 706 h 10000"/>
                <a:gd name="connsiteX14" fmla="*/ 4070 w 10000"/>
                <a:gd name="connsiteY14" fmla="*/ 59 h 10000"/>
                <a:gd name="connsiteX15" fmla="*/ 4380 w 10000"/>
                <a:gd name="connsiteY15" fmla="*/ 0 h 10000"/>
                <a:gd name="connsiteX16" fmla="*/ 4767 w 10000"/>
                <a:gd name="connsiteY16" fmla="*/ 569 h 10000"/>
                <a:gd name="connsiteX17" fmla="*/ 5019 w 10000"/>
                <a:gd name="connsiteY17" fmla="*/ 549 h 10000"/>
                <a:gd name="connsiteX18" fmla="*/ 5252 w 10000"/>
                <a:gd name="connsiteY18" fmla="*/ 569 h 10000"/>
                <a:gd name="connsiteX19" fmla="*/ 5640 w 10000"/>
                <a:gd name="connsiteY19" fmla="*/ 0 h 10000"/>
                <a:gd name="connsiteX20" fmla="*/ 5795 w 10000"/>
                <a:gd name="connsiteY20" fmla="*/ 20 h 10000"/>
                <a:gd name="connsiteX21" fmla="*/ 5950 w 10000"/>
                <a:gd name="connsiteY21" fmla="*/ 59 h 10000"/>
                <a:gd name="connsiteX22" fmla="*/ 6163 w 10000"/>
                <a:gd name="connsiteY22" fmla="*/ 706 h 10000"/>
                <a:gd name="connsiteX23" fmla="*/ 6395 w 10000"/>
                <a:gd name="connsiteY23" fmla="*/ 765 h 10000"/>
                <a:gd name="connsiteX24" fmla="*/ 6492 w 10000"/>
                <a:gd name="connsiteY24" fmla="*/ 804 h 10000"/>
                <a:gd name="connsiteX25" fmla="*/ 6609 w 10000"/>
                <a:gd name="connsiteY25" fmla="*/ 843 h 10000"/>
                <a:gd name="connsiteX26" fmla="*/ 7151 w 10000"/>
                <a:gd name="connsiteY26" fmla="*/ 451 h 10000"/>
                <a:gd name="connsiteX27" fmla="*/ 7287 w 10000"/>
                <a:gd name="connsiteY27" fmla="*/ 510 h 10000"/>
                <a:gd name="connsiteX28" fmla="*/ 7442 w 10000"/>
                <a:gd name="connsiteY28" fmla="*/ 588 h 10000"/>
                <a:gd name="connsiteX29" fmla="*/ 7442 w 10000"/>
                <a:gd name="connsiteY29" fmla="*/ 1275 h 10000"/>
                <a:gd name="connsiteX30" fmla="*/ 7616 w 10000"/>
                <a:gd name="connsiteY30" fmla="*/ 1412 h 10000"/>
                <a:gd name="connsiteX31" fmla="*/ 7713 w 10000"/>
                <a:gd name="connsiteY31" fmla="*/ 1471 h 10000"/>
                <a:gd name="connsiteX32" fmla="*/ 7810 w 10000"/>
                <a:gd name="connsiteY32" fmla="*/ 1549 h 10000"/>
                <a:gd name="connsiteX33" fmla="*/ 8450 w 10000"/>
                <a:gd name="connsiteY33" fmla="*/ 1333 h 10000"/>
                <a:gd name="connsiteX34" fmla="*/ 8566 w 10000"/>
                <a:gd name="connsiteY34" fmla="*/ 1451 h 10000"/>
                <a:gd name="connsiteX35" fmla="*/ 8682 w 10000"/>
                <a:gd name="connsiteY35" fmla="*/ 1569 h 10000"/>
                <a:gd name="connsiteX36" fmla="*/ 8469 w 10000"/>
                <a:gd name="connsiteY36" fmla="*/ 2216 h 10000"/>
                <a:gd name="connsiteX37" fmla="*/ 8605 w 10000"/>
                <a:gd name="connsiteY37" fmla="*/ 2392 h 10000"/>
                <a:gd name="connsiteX38" fmla="*/ 8740 w 10000"/>
                <a:gd name="connsiteY38" fmla="*/ 2588 h 10000"/>
                <a:gd name="connsiteX39" fmla="*/ 9419 w 10000"/>
                <a:gd name="connsiteY39" fmla="*/ 2588 h 10000"/>
                <a:gd name="connsiteX40" fmla="*/ 9496 w 10000"/>
                <a:gd name="connsiteY40" fmla="*/ 2706 h 10000"/>
                <a:gd name="connsiteX41" fmla="*/ 9574 w 10000"/>
                <a:gd name="connsiteY41" fmla="*/ 2863 h 10000"/>
                <a:gd name="connsiteX42" fmla="*/ 9167 w 10000"/>
                <a:gd name="connsiteY42" fmla="*/ 3392 h 10000"/>
                <a:gd name="connsiteX43" fmla="*/ 9244 w 10000"/>
                <a:gd name="connsiteY43" fmla="*/ 3627 h 10000"/>
                <a:gd name="connsiteX44" fmla="*/ 9283 w 10000"/>
                <a:gd name="connsiteY44" fmla="*/ 3745 h 10000"/>
                <a:gd name="connsiteX45" fmla="*/ 9302 w 10000"/>
                <a:gd name="connsiteY45" fmla="*/ 3863 h 10000"/>
                <a:gd name="connsiteX46" fmla="*/ 9961 w 10000"/>
                <a:gd name="connsiteY46" fmla="*/ 4059 h 10000"/>
                <a:gd name="connsiteX47" fmla="*/ 10000 w 10000"/>
                <a:gd name="connsiteY47" fmla="*/ 4392 h 10000"/>
                <a:gd name="connsiteX48" fmla="*/ 9438 w 10000"/>
                <a:gd name="connsiteY48" fmla="*/ 4765 h 10000"/>
                <a:gd name="connsiteX49" fmla="*/ 9457 w 10000"/>
                <a:gd name="connsiteY49" fmla="*/ 5000 h 10000"/>
                <a:gd name="connsiteX50" fmla="*/ 9438 w 10000"/>
                <a:gd name="connsiteY50" fmla="*/ 5235 h 10000"/>
                <a:gd name="connsiteX51" fmla="*/ 10000 w 10000"/>
                <a:gd name="connsiteY51" fmla="*/ 5627 h 10000"/>
                <a:gd name="connsiteX52" fmla="*/ 9981 w 10000"/>
                <a:gd name="connsiteY52" fmla="*/ 5784 h 10000"/>
                <a:gd name="connsiteX53" fmla="*/ 9961 w 10000"/>
                <a:gd name="connsiteY53" fmla="*/ 5941 h 10000"/>
                <a:gd name="connsiteX54" fmla="*/ 9302 w 10000"/>
                <a:gd name="connsiteY54" fmla="*/ 6157 h 10000"/>
                <a:gd name="connsiteX55" fmla="*/ 9244 w 10000"/>
                <a:gd name="connsiteY55" fmla="*/ 6392 h 10000"/>
                <a:gd name="connsiteX56" fmla="*/ 9205 w 10000"/>
                <a:gd name="connsiteY56" fmla="*/ 6490 h 10000"/>
                <a:gd name="connsiteX57" fmla="*/ 9167 w 10000"/>
                <a:gd name="connsiteY57" fmla="*/ 6608 h 10000"/>
                <a:gd name="connsiteX58" fmla="*/ 9574 w 10000"/>
                <a:gd name="connsiteY58" fmla="*/ 7157 h 10000"/>
                <a:gd name="connsiteX59" fmla="*/ 9496 w 10000"/>
                <a:gd name="connsiteY59" fmla="*/ 7294 h 10000"/>
                <a:gd name="connsiteX60" fmla="*/ 9419 w 10000"/>
                <a:gd name="connsiteY60" fmla="*/ 7431 h 10000"/>
                <a:gd name="connsiteX61" fmla="*/ 8740 w 10000"/>
                <a:gd name="connsiteY61" fmla="*/ 7412 h 10000"/>
                <a:gd name="connsiteX62" fmla="*/ 8605 w 10000"/>
                <a:gd name="connsiteY62" fmla="*/ 7627 h 10000"/>
                <a:gd name="connsiteX63" fmla="*/ 8547 w 10000"/>
                <a:gd name="connsiteY63" fmla="*/ 7706 h 10000"/>
                <a:gd name="connsiteX64" fmla="*/ 8469 w 10000"/>
                <a:gd name="connsiteY64" fmla="*/ 7804 h 10000"/>
                <a:gd name="connsiteX65" fmla="*/ 8682 w 10000"/>
                <a:gd name="connsiteY65" fmla="*/ 8451 h 10000"/>
                <a:gd name="connsiteX66" fmla="*/ 8566 w 10000"/>
                <a:gd name="connsiteY66" fmla="*/ 8569 h 10000"/>
                <a:gd name="connsiteX67" fmla="*/ 8450 w 10000"/>
                <a:gd name="connsiteY67" fmla="*/ 8686 h 10000"/>
                <a:gd name="connsiteX68" fmla="*/ 7810 w 10000"/>
                <a:gd name="connsiteY68" fmla="*/ 8471 h 10000"/>
                <a:gd name="connsiteX69" fmla="*/ 7616 w 10000"/>
                <a:gd name="connsiteY69" fmla="*/ 8608 h 10000"/>
                <a:gd name="connsiteX70" fmla="*/ 7442 w 10000"/>
                <a:gd name="connsiteY70" fmla="*/ 8745 h 10000"/>
                <a:gd name="connsiteX71" fmla="*/ 7442 w 10000"/>
                <a:gd name="connsiteY71" fmla="*/ 9412 h 10000"/>
                <a:gd name="connsiteX72" fmla="*/ 7287 w 10000"/>
                <a:gd name="connsiteY72" fmla="*/ 9510 h 10000"/>
                <a:gd name="connsiteX73" fmla="*/ 7151 w 10000"/>
                <a:gd name="connsiteY73" fmla="*/ 9569 h 10000"/>
                <a:gd name="connsiteX74" fmla="*/ 6609 w 10000"/>
                <a:gd name="connsiteY74" fmla="*/ 9157 h 10000"/>
                <a:gd name="connsiteX75" fmla="*/ 6395 w 10000"/>
                <a:gd name="connsiteY75" fmla="*/ 9235 h 10000"/>
                <a:gd name="connsiteX76" fmla="*/ 6279 w 10000"/>
                <a:gd name="connsiteY76" fmla="*/ 9275 h 10000"/>
                <a:gd name="connsiteX77" fmla="*/ 6163 w 10000"/>
                <a:gd name="connsiteY77" fmla="*/ 9314 h 10000"/>
                <a:gd name="connsiteX78" fmla="*/ 5950 w 10000"/>
                <a:gd name="connsiteY78" fmla="*/ 9961 h 10000"/>
                <a:gd name="connsiteX79" fmla="*/ 5640 w 10000"/>
                <a:gd name="connsiteY79" fmla="*/ 10000 h 10000"/>
                <a:gd name="connsiteX80" fmla="*/ 5252 w 10000"/>
                <a:gd name="connsiteY80" fmla="*/ 9451 h 10000"/>
                <a:gd name="connsiteX81" fmla="*/ 5019 w 10000"/>
                <a:gd name="connsiteY81" fmla="*/ 9451 h 10000"/>
                <a:gd name="connsiteX82" fmla="*/ 4767 w 10000"/>
                <a:gd name="connsiteY82" fmla="*/ 9451 h 10000"/>
                <a:gd name="connsiteX83" fmla="*/ 4380 w 10000"/>
                <a:gd name="connsiteY83" fmla="*/ 10000 h 10000"/>
                <a:gd name="connsiteX84" fmla="*/ 4225 w 10000"/>
                <a:gd name="connsiteY84" fmla="*/ 9980 h 10000"/>
                <a:gd name="connsiteX85" fmla="*/ 4070 w 10000"/>
                <a:gd name="connsiteY85" fmla="*/ 9961 h 10000"/>
                <a:gd name="connsiteX86" fmla="*/ 3857 w 10000"/>
                <a:gd name="connsiteY86" fmla="*/ 9314 h 10000"/>
                <a:gd name="connsiteX87" fmla="*/ 3624 w 10000"/>
                <a:gd name="connsiteY87" fmla="*/ 9235 h 10000"/>
                <a:gd name="connsiteX88" fmla="*/ 3508 w 10000"/>
                <a:gd name="connsiteY88" fmla="*/ 9216 h 10000"/>
                <a:gd name="connsiteX89" fmla="*/ 3411 w 10000"/>
                <a:gd name="connsiteY89" fmla="*/ 9157 h 10000"/>
                <a:gd name="connsiteX90" fmla="*/ 2868 w 10000"/>
                <a:gd name="connsiteY90" fmla="*/ 9569 h 10000"/>
                <a:gd name="connsiteX91" fmla="*/ 2733 w 10000"/>
                <a:gd name="connsiteY91" fmla="*/ 9510 h 10000"/>
                <a:gd name="connsiteX92" fmla="*/ 2578 w 10000"/>
                <a:gd name="connsiteY92" fmla="*/ 9412 h 10000"/>
                <a:gd name="connsiteX93" fmla="*/ 2597 w 10000"/>
                <a:gd name="connsiteY93" fmla="*/ 8745 h 10000"/>
                <a:gd name="connsiteX94" fmla="*/ 2403 w 10000"/>
                <a:gd name="connsiteY94" fmla="*/ 8608 h 10000"/>
                <a:gd name="connsiteX95" fmla="*/ 2306 w 10000"/>
                <a:gd name="connsiteY95" fmla="*/ 8529 h 10000"/>
                <a:gd name="connsiteX96" fmla="*/ 2209 w 10000"/>
                <a:gd name="connsiteY96" fmla="*/ 8471 h 10000"/>
                <a:gd name="connsiteX97" fmla="*/ 1570 w 10000"/>
                <a:gd name="connsiteY97" fmla="*/ 8686 h 10000"/>
                <a:gd name="connsiteX98" fmla="*/ 1453 w 10000"/>
                <a:gd name="connsiteY98" fmla="*/ 8569 h 10000"/>
                <a:gd name="connsiteX99" fmla="*/ 1337 w 10000"/>
                <a:gd name="connsiteY99" fmla="*/ 8451 h 10000"/>
                <a:gd name="connsiteX100" fmla="*/ 1550 w 10000"/>
                <a:gd name="connsiteY100" fmla="*/ 7804 h 10000"/>
                <a:gd name="connsiteX101" fmla="*/ 1415 w 10000"/>
                <a:gd name="connsiteY101" fmla="*/ 7627 h 10000"/>
                <a:gd name="connsiteX102" fmla="*/ 1279 w 10000"/>
                <a:gd name="connsiteY102" fmla="*/ 7412 h 10000"/>
                <a:gd name="connsiteX103" fmla="*/ 601 w 10000"/>
                <a:gd name="connsiteY103" fmla="*/ 7431 h 10000"/>
                <a:gd name="connsiteX104" fmla="*/ 523 w 10000"/>
                <a:gd name="connsiteY104" fmla="*/ 7294 h 10000"/>
                <a:gd name="connsiteX105" fmla="*/ 446 w 10000"/>
                <a:gd name="connsiteY105" fmla="*/ 7157 h 10000"/>
                <a:gd name="connsiteX106" fmla="*/ 853 w 10000"/>
                <a:gd name="connsiteY106" fmla="*/ 6608 h 10000"/>
                <a:gd name="connsiteX107" fmla="*/ 775 w 10000"/>
                <a:gd name="connsiteY107" fmla="*/ 6392 h 10000"/>
                <a:gd name="connsiteX108" fmla="*/ 756 w 10000"/>
                <a:gd name="connsiteY108" fmla="*/ 6275 h 10000"/>
                <a:gd name="connsiteX109" fmla="*/ 717 w 10000"/>
                <a:gd name="connsiteY109" fmla="*/ 6157 h 10000"/>
                <a:gd name="connsiteX110" fmla="*/ 58 w 10000"/>
                <a:gd name="connsiteY110" fmla="*/ 5941 h 10000"/>
                <a:gd name="connsiteX111" fmla="*/ 0 w 10000"/>
                <a:gd name="connsiteY111" fmla="*/ 5627 h 10000"/>
                <a:gd name="connsiteX112" fmla="*/ 581 w 10000"/>
                <a:gd name="connsiteY112" fmla="*/ 5235 h 10000"/>
                <a:gd name="connsiteX113" fmla="*/ 562 w 10000"/>
                <a:gd name="connsiteY113" fmla="*/ 5000 h 10000"/>
                <a:gd name="connsiteX114" fmla="*/ 581 w 10000"/>
                <a:gd name="connsiteY114" fmla="*/ 4765 h 10000"/>
                <a:gd name="connsiteX115" fmla="*/ 0 w 10000"/>
                <a:gd name="connsiteY115" fmla="*/ 4392 h 10000"/>
                <a:gd name="connsiteX116" fmla="*/ 19 w 10000"/>
                <a:gd name="connsiteY116" fmla="*/ 4216 h 10000"/>
                <a:gd name="connsiteX117" fmla="*/ 58 w 10000"/>
                <a:gd name="connsiteY117" fmla="*/ 4059 h 10000"/>
                <a:gd name="connsiteX118" fmla="*/ 717 w 10000"/>
                <a:gd name="connsiteY118" fmla="*/ 3863 h 10000"/>
                <a:gd name="connsiteX119" fmla="*/ 775 w 10000"/>
                <a:gd name="connsiteY119" fmla="*/ 3627 h 10000"/>
                <a:gd name="connsiteX120" fmla="*/ 814 w 10000"/>
                <a:gd name="connsiteY120" fmla="*/ 3510 h 10000"/>
                <a:gd name="connsiteX121" fmla="*/ 853 w 10000"/>
                <a:gd name="connsiteY121" fmla="*/ 3392 h 10000"/>
                <a:gd name="connsiteX122" fmla="*/ 446 w 10000"/>
                <a:gd name="connsiteY122" fmla="*/ 2863 h 10000"/>
                <a:gd name="connsiteX123" fmla="*/ 523 w 10000"/>
                <a:gd name="connsiteY123" fmla="*/ 2706 h 10000"/>
                <a:gd name="connsiteX124" fmla="*/ 601 w 10000"/>
                <a:gd name="connsiteY124" fmla="*/ 2588 h 10000"/>
                <a:gd name="connsiteX125" fmla="*/ 1279 w 10000"/>
                <a:gd name="connsiteY125" fmla="*/ 2588 h 10000"/>
                <a:gd name="connsiteX0" fmla="*/ 1415 w 10000"/>
                <a:gd name="connsiteY0" fmla="*/ 2392 h 10000"/>
                <a:gd name="connsiteX1" fmla="*/ 1337 w 10000"/>
                <a:gd name="connsiteY1" fmla="*/ 1569 h 10000"/>
                <a:gd name="connsiteX2" fmla="*/ 1570 w 10000"/>
                <a:gd name="connsiteY2" fmla="*/ 1333 h 10000"/>
                <a:gd name="connsiteX3" fmla="*/ 2209 w 10000"/>
                <a:gd name="connsiteY3" fmla="*/ 1549 h 10000"/>
                <a:gd name="connsiteX4" fmla="*/ 2403 w 10000"/>
                <a:gd name="connsiteY4" fmla="*/ 1412 h 10000"/>
                <a:gd name="connsiteX5" fmla="*/ 2597 w 10000"/>
                <a:gd name="connsiteY5" fmla="*/ 1275 h 10000"/>
                <a:gd name="connsiteX6" fmla="*/ 2578 w 10000"/>
                <a:gd name="connsiteY6" fmla="*/ 588 h 10000"/>
                <a:gd name="connsiteX7" fmla="*/ 2733 w 10000"/>
                <a:gd name="connsiteY7" fmla="*/ 510 h 10000"/>
                <a:gd name="connsiteX8" fmla="*/ 2868 w 10000"/>
                <a:gd name="connsiteY8" fmla="*/ 451 h 10000"/>
                <a:gd name="connsiteX9" fmla="*/ 3411 w 10000"/>
                <a:gd name="connsiteY9" fmla="*/ 843 h 10000"/>
                <a:gd name="connsiteX10" fmla="*/ 3624 w 10000"/>
                <a:gd name="connsiteY10" fmla="*/ 765 h 10000"/>
                <a:gd name="connsiteX11" fmla="*/ 3740 w 10000"/>
                <a:gd name="connsiteY11" fmla="*/ 725 h 10000"/>
                <a:gd name="connsiteX12" fmla="*/ 3857 w 10000"/>
                <a:gd name="connsiteY12" fmla="*/ 706 h 10000"/>
                <a:gd name="connsiteX13" fmla="*/ 4070 w 10000"/>
                <a:gd name="connsiteY13" fmla="*/ 59 h 10000"/>
                <a:gd name="connsiteX14" fmla="*/ 4380 w 10000"/>
                <a:gd name="connsiteY14" fmla="*/ 0 h 10000"/>
                <a:gd name="connsiteX15" fmla="*/ 4767 w 10000"/>
                <a:gd name="connsiteY15" fmla="*/ 569 h 10000"/>
                <a:gd name="connsiteX16" fmla="*/ 5019 w 10000"/>
                <a:gd name="connsiteY16" fmla="*/ 549 h 10000"/>
                <a:gd name="connsiteX17" fmla="*/ 5252 w 10000"/>
                <a:gd name="connsiteY17" fmla="*/ 569 h 10000"/>
                <a:gd name="connsiteX18" fmla="*/ 5640 w 10000"/>
                <a:gd name="connsiteY18" fmla="*/ 0 h 10000"/>
                <a:gd name="connsiteX19" fmla="*/ 5795 w 10000"/>
                <a:gd name="connsiteY19" fmla="*/ 20 h 10000"/>
                <a:gd name="connsiteX20" fmla="*/ 5950 w 10000"/>
                <a:gd name="connsiteY20" fmla="*/ 59 h 10000"/>
                <a:gd name="connsiteX21" fmla="*/ 6163 w 10000"/>
                <a:gd name="connsiteY21" fmla="*/ 706 h 10000"/>
                <a:gd name="connsiteX22" fmla="*/ 6395 w 10000"/>
                <a:gd name="connsiteY22" fmla="*/ 765 h 10000"/>
                <a:gd name="connsiteX23" fmla="*/ 6492 w 10000"/>
                <a:gd name="connsiteY23" fmla="*/ 804 h 10000"/>
                <a:gd name="connsiteX24" fmla="*/ 6609 w 10000"/>
                <a:gd name="connsiteY24" fmla="*/ 843 h 10000"/>
                <a:gd name="connsiteX25" fmla="*/ 7151 w 10000"/>
                <a:gd name="connsiteY25" fmla="*/ 451 h 10000"/>
                <a:gd name="connsiteX26" fmla="*/ 7287 w 10000"/>
                <a:gd name="connsiteY26" fmla="*/ 510 h 10000"/>
                <a:gd name="connsiteX27" fmla="*/ 7442 w 10000"/>
                <a:gd name="connsiteY27" fmla="*/ 588 h 10000"/>
                <a:gd name="connsiteX28" fmla="*/ 7442 w 10000"/>
                <a:gd name="connsiteY28" fmla="*/ 1275 h 10000"/>
                <a:gd name="connsiteX29" fmla="*/ 7616 w 10000"/>
                <a:gd name="connsiteY29" fmla="*/ 1412 h 10000"/>
                <a:gd name="connsiteX30" fmla="*/ 7713 w 10000"/>
                <a:gd name="connsiteY30" fmla="*/ 1471 h 10000"/>
                <a:gd name="connsiteX31" fmla="*/ 7810 w 10000"/>
                <a:gd name="connsiteY31" fmla="*/ 1549 h 10000"/>
                <a:gd name="connsiteX32" fmla="*/ 8450 w 10000"/>
                <a:gd name="connsiteY32" fmla="*/ 1333 h 10000"/>
                <a:gd name="connsiteX33" fmla="*/ 8566 w 10000"/>
                <a:gd name="connsiteY33" fmla="*/ 1451 h 10000"/>
                <a:gd name="connsiteX34" fmla="*/ 8682 w 10000"/>
                <a:gd name="connsiteY34" fmla="*/ 1569 h 10000"/>
                <a:gd name="connsiteX35" fmla="*/ 8469 w 10000"/>
                <a:gd name="connsiteY35" fmla="*/ 2216 h 10000"/>
                <a:gd name="connsiteX36" fmla="*/ 8605 w 10000"/>
                <a:gd name="connsiteY36" fmla="*/ 2392 h 10000"/>
                <a:gd name="connsiteX37" fmla="*/ 8740 w 10000"/>
                <a:gd name="connsiteY37" fmla="*/ 2588 h 10000"/>
                <a:gd name="connsiteX38" fmla="*/ 9419 w 10000"/>
                <a:gd name="connsiteY38" fmla="*/ 2588 h 10000"/>
                <a:gd name="connsiteX39" fmla="*/ 9496 w 10000"/>
                <a:gd name="connsiteY39" fmla="*/ 2706 h 10000"/>
                <a:gd name="connsiteX40" fmla="*/ 9574 w 10000"/>
                <a:gd name="connsiteY40" fmla="*/ 2863 h 10000"/>
                <a:gd name="connsiteX41" fmla="*/ 9167 w 10000"/>
                <a:gd name="connsiteY41" fmla="*/ 3392 h 10000"/>
                <a:gd name="connsiteX42" fmla="*/ 9244 w 10000"/>
                <a:gd name="connsiteY42" fmla="*/ 3627 h 10000"/>
                <a:gd name="connsiteX43" fmla="*/ 9283 w 10000"/>
                <a:gd name="connsiteY43" fmla="*/ 3745 h 10000"/>
                <a:gd name="connsiteX44" fmla="*/ 9302 w 10000"/>
                <a:gd name="connsiteY44" fmla="*/ 3863 h 10000"/>
                <a:gd name="connsiteX45" fmla="*/ 9961 w 10000"/>
                <a:gd name="connsiteY45" fmla="*/ 4059 h 10000"/>
                <a:gd name="connsiteX46" fmla="*/ 10000 w 10000"/>
                <a:gd name="connsiteY46" fmla="*/ 4392 h 10000"/>
                <a:gd name="connsiteX47" fmla="*/ 9438 w 10000"/>
                <a:gd name="connsiteY47" fmla="*/ 4765 h 10000"/>
                <a:gd name="connsiteX48" fmla="*/ 9457 w 10000"/>
                <a:gd name="connsiteY48" fmla="*/ 5000 h 10000"/>
                <a:gd name="connsiteX49" fmla="*/ 9438 w 10000"/>
                <a:gd name="connsiteY49" fmla="*/ 5235 h 10000"/>
                <a:gd name="connsiteX50" fmla="*/ 10000 w 10000"/>
                <a:gd name="connsiteY50" fmla="*/ 5627 h 10000"/>
                <a:gd name="connsiteX51" fmla="*/ 9981 w 10000"/>
                <a:gd name="connsiteY51" fmla="*/ 5784 h 10000"/>
                <a:gd name="connsiteX52" fmla="*/ 9961 w 10000"/>
                <a:gd name="connsiteY52" fmla="*/ 5941 h 10000"/>
                <a:gd name="connsiteX53" fmla="*/ 9302 w 10000"/>
                <a:gd name="connsiteY53" fmla="*/ 6157 h 10000"/>
                <a:gd name="connsiteX54" fmla="*/ 9244 w 10000"/>
                <a:gd name="connsiteY54" fmla="*/ 6392 h 10000"/>
                <a:gd name="connsiteX55" fmla="*/ 9205 w 10000"/>
                <a:gd name="connsiteY55" fmla="*/ 6490 h 10000"/>
                <a:gd name="connsiteX56" fmla="*/ 9167 w 10000"/>
                <a:gd name="connsiteY56" fmla="*/ 6608 h 10000"/>
                <a:gd name="connsiteX57" fmla="*/ 9574 w 10000"/>
                <a:gd name="connsiteY57" fmla="*/ 7157 h 10000"/>
                <a:gd name="connsiteX58" fmla="*/ 9496 w 10000"/>
                <a:gd name="connsiteY58" fmla="*/ 7294 h 10000"/>
                <a:gd name="connsiteX59" fmla="*/ 9419 w 10000"/>
                <a:gd name="connsiteY59" fmla="*/ 7431 h 10000"/>
                <a:gd name="connsiteX60" fmla="*/ 8740 w 10000"/>
                <a:gd name="connsiteY60" fmla="*/ 7412 h 10000"/>
                <a:gd name="connsiteX61" fmla="*/ 8605 w 10000"/>
                <a:gd name="connsiteY61" fmla="*/ 7627 h 10000"/>
                <a:gd name="connsiteX62" fmla="*/ 8547 w 10000"/>
                <a:gd name="connsiteY62" fmla="*/ 7706 h 10000"/>
                <a:gd name="connsiteX63" fmla="*/ 8469 w 10000"/>
                <a:gd name="connsiteY63" fmla="*/ 7804 h 10000"/>
                <a:gd name="connsiteX64" fmla="*/ 8682 w 10000"/>
                <a:gd name="connsiteY64" fmla="*/ 8451 h 10000"/>
                <a:gd name="connsiteX65" fmla="*/ 8566 w 10000"/>
                <a:gd name="connsiteY65" fmla="*/ 8569 h 10000"/>
                <a:gd name="connsiteX66" fmla="*/ 8450 w 10000"/>
                <a:gd name="connsiteY66" fmla="*/ 8686 h 10000"/>
                <a:gd name="connsiteX67" fmla="*/ 7810 w 10000"/>
                <a:gd name="connsiteY67" fmla="*/ 8471 h 10000"/>
                <a:gd name="connsiteX68" fmla="*/ 7616 w 10000"/>
                <a:gd name="connsiteY68" fmla="*/ 8608 h 10000"/>
                <a:gd name="connsiteX69" fmla="*/ 7442 w 10000"/>
                <a:gd name="connsiteY69" fmla="*/ 8745 h 10000"/>
                <a:gd name="connsiteX70" fmla="*/ 7442 w 10000"/>
                <a:gd name="connsiteY70" fmla="*/ 9412 h 10000"/>
                <a:gd name="connsiteX71" fmla="*/ 7287 w 10000"/>
                <a:gd name="connsiteY71" fmla="*/ 9510 h 10000"/>
                <a:gd name="connsiteX72" fmla="*/ 7151 w 10000"/>
                <a:gd name="connsiteY72" fmla="*/ 9569 h 10000"/>
                <a:gd name="connsiteX73" fmla="*/ 6609 w 10000"/>
                <a:gd name="connsiteY73" fmla="*/ 9157 h 10000"/>
                <a:gd name="connsiteX74" fmla="*/ 6395 w 10000"/>
                <a:gd name="connsiteY74" fmla="*/ 9235 h 10000"/>
                <a:gd name="connsiteX75" fmla="*/ 6279 w 10000"/>
                <a:gd name="connsiteY75" fmla="*/ 9275 h 10000"/>
                <a:gd name="connsiteX76" fmla="*/ 6163 w 10000"/>
                <a:gd name="connsiteY76" fmla="*/ 9314 h 10000"/>
                <a:gd name="connsiteX77" fmla="*/ 5950 w 10000"/>
                <a:gd name="connsiteY77" fmla="*/ 9961 h 10000"/>
                <a:gd name="connsiteX78" fmla="*/ 5640 w 10000"/>
                <a:gd name="connsiteY78" fmla="*/ 10000 h 10000"/>
                <a:gd name="connsiteX79" fmla="*/ 5252 w 10000"/>
                <a:gd name="connsiteY79" fmla="*/ 9451 h 10000"/>
                <a:gd name="connsiteX80" fmla="*/ 5019 w 10000"/>
                <a:gd name="connsiteY80" fmla="*/ 9451 h 10000"/>
                <a:gd name="connsiteX81" fmla="*/ 4767 w 10000"/>
                <a:gd name="connsiteY81" fmla="*/ 9451 h 10000"/>
                <a:gd name="connsiteX82" fmla="*/ 4380 w 10000"/>
                <a:gd name="connsiteY82" fmla="*/ 10000 h 10000"/>
                <a:gd name="connsiteX83" fmla="*/ 4225 w 10000"/>
                <a:gd name="connsiteY83" fmla="*/ 9980 h 10000"/>
                <a:gd name="connsiteX84" fmla="*/ 4070 w 10000"/>
                <a:gd name="connsiteY84" fmla="*/ 9961 h 10000"/>
                <a:gd name="connsiteX85" fmla="*/ 3857 w 10000"/>
                <a:gd name="connsiteY85" fmla="*/ 9314 h 10000"/>
                <a:gd name="connsiteX86" fmla="*/ 3624 w 10000"/>
                <a:gd name="connsiteY86" fmla="*/ 9235 h 10000"/>
                <a:gd name="connsiteX87" fmla="*/ 3508 w 10000"/>
                <a:gd name="connsiteY87" fmla="*/ 9216 h 10000"/>
                <a:gd name="connsiteX88" fmla="*/ 3411 w 10000"/>
                <a:gd name="connsiteY88" fmla="*/ 9157 h 10000"/>
                <a:gd name="connsiteX89" fmla="*/ 2868 w 10000"/>
                <a:gd name="connsiteY89" fmla="*/ 9569 h 10000"/>
                <a:gd name="connsiteX90" fmla="*/ 2733 w 10000"/>
                <a:gd name="connsiteY90" fmla="*/ 9510 h 10000"/>
                <a:gd name="connsiteX91" fmla="*/ 2578 w 10000"/>
                <a:gd name="connsiteY91" fmla="*/ 9412 h 10000"/>
                <a:gd name="connsiteX92" fmla="*/ 2597 w 10000"/>
                <a:gd name="connsiteY92" fmla="*/ 8745 h 10000"/>
                <a:gd name="connsiteX93" fmla="*/ 2403 w 10000"/>
                <a:gd name="connsiteY93" fmla="*/ 8608 h 10000"/>
                <a:gd name="connsiteX94" fmla="*/ 2306 w 10000"/>
                <a:gd name="connsiteY94" fmla="*/ 8529 h 10000"/>
                <a:gd name="connsiteX95" fmla="*/ 2209 w 10000"/>
                <a:gd name="connsiteY95" fmla="*/ 8471 h 10000"/>
                <a:gd name="connsiteX96" fmla="*/ 1570 w 10000"/>
                <a:gd name="connsiteY96" fmla="*/ 8686 h 10000"/>
                <a:gd name="connsiteX97" fmla="*/ 1453 w 10000"/>
                <a:gd name="connsiteY97" fmla="*/ 8569 h 10000"/>
                <a:gd name="connsiteX98" fmla="*/ 1337 w 10000"/>
                <a:gd name="connsiteY98" fmla="*/ 8451 h 10000"/>
                <a:gd name="connsiteX99" fmla="*/ 1550 w 10000"/>
                <a:gd name="connsiteY99" fmla="*/ 7804 h 10000"/>
                <a:gd name="connsiteX100" fmla="*/ 1415 w 10000"/>
                <a:gd name="connsiteY100" fmla="*/ 7627 h 10000"/>
                <a:gd name="connsiteX101" fmla="*/ 1279 w 10000"/>
                <a:gd name="connsiteY101" fmla="*/ 7412 h 10000"/>
                <a:gd name="connsiteX102" fmla="*/ 601 w 10000"/>
                <a:gd name="connsiteY102" fmla="*/ 7431 h 10000"/>
                <a:gd name="connsiteX103" fmla="*/ 523 w 10000"/>
                <a:gd name="connsiteY103" fmla="*/ 7294 h 10000"/>
                <a:gd name="connsiteX104" fmla="*/ 446 w 10000"/>
                <a:gd name="connsiteY104" fmla="*/ 7157 h 10000"/>
                <a:gd name="connsiteX105" fmla="*/ 853 w 10000"/>
                <a:gd name="connsiteY105" fmla="*/ 6608 h 10000"/>
                <a:gd name="connsiteX106" fmla="*/ 775 w 10000"/>
                <a:gd name="connsiteY106" fmla="*/ 6392 h 10000"/>
                <a:gd name="connsiteX107" fmla="*/ 756 w 10000"/>
                <a:gd name="connsiteY107" fmla="*/ 6275 h 10000"/>
                <a:gd name="connsiteX108" fmla="*/ 717 w 10000"/>
                <a:gd name="connsiteY108" fmla="*/ 6157 h 10000"/>
                <a:gd name="connsiteX109" fmla="*/ 58 w 10000"/>
                <a:gd name="connsiteY109" fmla="*/ 5941 h 10000"/>
                <a:gd name="connsiteX110" fmla="*/ 0 w 10000"/>
                <a:gd name="connsiteY110" fmla="*/ 5627 h 10000"/>
                <a:gd name="connsiteX111" fmla="*/ 581 w 10000"/>
                <a:gd name="connsiteY111" fmla="*/ 5235 h 10000"/>
                <a:gd name="connsiteX112" fmla="*/ 562 w 10000"/>
                <a:gd name="connsiteY112" fmla="*/ 5000 h 10000"/>
                <a:gd name="connsiteX113" fmla="*/ 581 w 10000"/>
                <a:gd name="connsiteY113" fmla="*/ 4765 h 10000"/>
                <a:gd name="connsiteX114" fmla="*/ 0 w 10000"/>
                <a:gd name="connsiteY114" fmla="*/ 4392 h 10000"/>
                <a:gd name="connsiteX115" fmla="*/ 19 w 10000"/>
                <a:gd name="connsiteY115" fmla="*/ 4216 h 10000"/>
                <a:gd name="connsiteX116" fmla="*/ 58 w 10000"/>
                <a:gd name="connsiteY116" fmla="*/ 4059 h 10000"/>
                <a:gd name="connsiteX117" fmla="*/ 717 w 10000"/>
                <a:gd name="connsiteY117" fmla="*/ 3863 h 10000"/>
                <a:gd name="connsiteX118" fmla="*/ 775 w 10000"/>
                <a:gd name="connsiteY118" fmla="*/ 3627 h 10000"/>
                <a:gd name="connsiteX119" fmla="*/ 814 w 10000"/>
                <a:gd name="connsiteY119" fmla="*/ 3510 h 10000"/>
                <a:gd name="connsiteX120" fmla="*/ 853 w 10000"/>
                <a:gd name="connsiteY120" fmla="*/ 3392 h 10000"/>
                <a:gd name="connsiteX121" fmla="*/ 446 w 10000"/>
                <a:gd name="connsiteY121" fmla="*/ 2863 h 10000"/>
                <a:gd name="connsiteX122" fmla="*/ 523 w 10000"/>
                <a:gd name="connsiteY122" fmla="*/ 2706 h 10000"/>
                <a:gd name="connsiteX123" fmla="*/ 601 w 10000"/>
                <a:gd name="connsiteY123" fmla="*/ 2588 h 10000"/>
                <a:gd name="connsiteX124" fmla="*/ 1279 w 10000"/>
                <a:gd name="connsiteY124" fmla="*/ 2588 h 10000"/>
                <a:gd name="connsiteX0" fmla="*/ 1337 w 10000"/>
                <a:gd name="connsiteY0" fmla="*/ 1569 h 10000"/>
                <a:gd name="connsiteX1" fmla="*/ 1570 w 10000"/>
                <a:gd name="connsiteY1" fmla="*/ 1333 h 10000"/>
                <a:gd name="connsiteX2" fmla="*/ 2209 w 10000"/>
                <a:gd name="connsiteY2" fmla="*/ 1549 h 10000"/>
                <a:gd name="connsiteX3" fmla="*/ 2403 w 10000"/>
                <a:gd name="connsiteY3" fmla="*/ 1412 h 10000"/>
                <a:gd name="connsiteX4" fmla="*/ 2597 w 10000"/>
                <a:gd name="connsiteY4" fmla="*/ 1275 h 10000"/>
                <a:gd name="connsiteX5" fmla="*/ 2578 w 10000"/>
                <a:gd name="connsiteY5" fmla="*/ 588 h 10000"/>
                <a:gd name="connsiteX6" fmla="*/ 2733 w 10000"/>
                <a:gd name="connsiteY6" fmla="*/ 510 h 10000"/>
                <a:gd name="connsiteX7" fmla="*/ 2868 w 10000"/>
                <a:gd name="connsiteY7" fmla="*/ 451 h 10000"/>
                <a:gd name="connsiteX8" fmla="*/ 3411 w 10000"/>
                <a:gd name="connsiteY8" fmla="*/ 843 h 10000"/>
                <a:gd name="connsiteX9" fmla="*/ 3624 w 10000"/>
                <a:gd name="connsiteY9" fmla="*/ 765 h 10000"/>
                <a:gd name="connsiteX10" fmla="*/ 3740 w 10000"/>
                <a:gd name="connsiteY10" fmla="*/ 725 h 10000"/>
                <a:gd name="connsiteX11" fmla="*/ 3857 w 10000"/>
                <a:gd name="connsiteY11" fmla="*/ 706 h 10000"/>
                <a:gd name="connsiteX12" fmla="*/ 4070 w 10000"/>
                <a:gd name="connsiteY12" fmla="*/ 59 h 10000"/>
                <a:gd name="connsiteX13" fmla="*/ 4380 w 10000"/>
                <a:gd name="connsiteY13" fmla="*/ 0 h 10000"/>
                <a:gd name="connsiteX14" fmla="*/ 4767 w 10000"/>
                <a:gd name="connsiteY14" fmla="*/ 569 h 10000"/>
                <a:gd name="connsiteX15" fmla="*/ 5019 w 10000"/>
                <a:gd name="connsiteY15" fmla="*/ 549 h 10000"/>
                <a:gd name="connsiteX16" fmla="*/ 5252 w 10000"/>
                <a:gd name="connsiteY16" fmla="*/ 569 h 10000"/>
                <a:gd name="connsiteX17" fmla="*/ 5640 w 10000"/>
                <a:gd name="connsiteY17" fmla="*/ 0 h 10000"/>
                <a:gd name="connsiteX18" fmla="*/ 5795 w 10000"/>
                <a:gd name="connsiteY18" fmla="*/ 20 h 10000"/>
                <a:gd name="connsiteX19" fmla="*/ 5950 w 10000"/>
                <a:gd name="connsiteY19" fmla="*/ 59 h 10000"/>
                <a:gd name="connsiteX20" fmla="*/ 6163 w 10000"/>
                <a:gd name="connsiteY20" fmla="*/ 706 h 10000"/>
                <a:gd name="connsiteX21" fmla="*/ 6395 w 10000"/>
                <a:gd name="connsiteY21" fmla="*/ 765 h 10000"/>
                <a:gd name="connsiteX22" fmla="*/ 6492 w 10000"/>
                <a:gd name="connsiteY22" fmla="*/ 804 h 10000"/>
                <a:gd name="connsiteX23" fmla="*/ 6609 w 10000"/>
                <a:gd name="connsiteY23" fmla="*/ 843 h 10000"/>
                <a:gd name="connsiteX24" fmla="*/ 7151 w 10000"/>
                <a:gd name="connsiteY24" fmla="*/ 451 h 10000"/>
                <a:gd name="connsiteX25" fmla="*/ 7287 w 10000"/>
                <a:gd name="connsiteY25" fmla="*/ 510 h 10000"/>
                <a:gd name="connsiteX26" fmla="*/ 7442 w 10000"/>
                <a:gd name="connsiteY26" fmla="*/ 588 h 10000"/>
                <a:gd name="connsiteX27" fmla="*/ 7442 w 10000"/>
                <a:gd name="connsiteY27" fmla="*/ 1275 h 10000"/>
                <a:gd name="connsiteX28" fmla="*/ 7616 w 10000"/>
                <a:gd name="connsiteY28" fmla="*/ 1412 h 10000"/>
                <a:gd name="connsiteX29" fmla="*/ 7713 w 10000"/>
                <a:gd name="connsiteY29" fmla="*/ 1471 h 10000"/>
                <a:gd name="connsiteX30" fmla="*/ 7810 w 10000"/>
                <a:gd name="connsiteY30" fmla="*/ 1549 h 10000"/>
                <a:gd name="connsiteX31" fmla="*/ 8450 w 10000"/>
                <a:gd name="connsiteY31" fmla="*/ 1333 h 10000"/>
                <a:gd name="connsiteX32" fmla="*/ 8566 w 10000"/>
                <a:gd name="connsiteY32" fmla="*/ 1451 h 10000"/>
                <a:gd name="connsiteX33" fmla="*/ 8682 w 10000"/>
                <a:gd name="connsiteY33" fmla="*/ 1569 h 10000"/>
                <a:gd name="connsiteX34" fmla="*/ 8469 w 10000"/>
                <a:gd name="connsiteY34" fmla="*/ 2216 h 10000"/>
                <a:gd name="connsiteX35" fmla="*/ 8605 w 10000"/>
                <a:gd name="connsiteY35" fmla="*/ 2392 h 10000"/>
                <a:gd name="connsiteX36" fmla="*/ 8740 w 10000"/>
                <a:gd name="connsiteY36" fmla="*/ 2588 h 10000"/>
                <a:gd name="connsiteX37" fmla="*/ 9419 w 10000"/>
                <a:gd name="connsiteY37" fmla="*/ 2588 h 10000"/>
                <a:gd name="connsiteX38" fmla="*/ 9496 w 10000"/>
                <a:gd name="connsiteY38" fmla="*/ 2706 h 10000"/>
                <a:gd name="connsiteX39" fmla="*/ 9574 w 10000"/>
                <a:gd name="connsiteY39" fmla="*/ 2863 h 10000"/>
                <a:gd name="connsiteX40" fmla="*/ 9167 w 10000"/>
                <a:gd name="connsiteY40" fmla="*/ 3392 h 10000"/>
                <a:gd name="connsiteX41" fmla="*/ 9244 w 10000"/>
                <a:gd name="connsiteY41" fmla="*/ 3627 h 10000"/>
                <a:gd name="connsiteX42" fmla="*/ 9283 w 10000"/>
                <a:gd name="connsiteY42" fmla="*/ 3745 h 10000"/>
                <a:gd name="connsiteX43" fmla="*/ 9302 w 10000"/>
                <a:gd name="connsiteY43" fmla="*/ 3863 h 10000"/>
                <a:gd name="connsiteX44" fmla="*/ 9961 w 10000"/>
                <a:gd name="connsiteY44" fmla="*/ 4059 h 10000"/>
                <a:gd name="connsiteX45" fmla="*/ 10000 w 10000"/>
                <a:gd name="connsiteY45" fmla="*/ 4392 h 10000"/>
                <a:gd name="connsiteX46" fmla="*/ 9438 w 10000"/>
                <a:gd name="connsiteY46" fmla="*/ 4765 h 10000"/>
                <a:gd name="connsiteX47" fmla="*/ 9457 w 10000"/>
                <a:gd name="connsiteY47" fmla="*/ 5000 h 10000"/>
                <a:gd name="connsiteX48" fmla="*/ 9438 w 10000"/>
                <a:gd name="connsiteY48" fmla="*/ 5235 h 10000"/>
                <a:gd name="connsiteX49" fmla="*/ 10000 w 10000"/>
                <a:gd name="connsiteY49" fmla="*/ 5627 h 10000"/>
                <a:gd name="connsiteX50" fmla="*/ 9981 w 10000"/>
                <a:gd name="connsiteY50" fmla="*/ 5784 h 10000"/>
                <a:gd name="connsiteX51" fmla="*/ 9961 w 10000"/>
                <a:gd name="connsiteY51" fmla="*/ 5941 h 10000"/>
                <a:gd name="connsiteX52" fmla="*/ 9302 w 10000"/>
                <a:gd name="connsiteY52" fmla="*/ 6157 h 10000"/>
                <a:gd name="connsiteX53" fmla="*/ 9244 w 10000"/>
                <a:gd name="connsiteY53" fmla="*/ 6392 h 10000"/>
                <a:gd name="connsiteX54" fmla="*/ 9205 w 10000"/>
                <a:gd name="connsiteY54" fmla="*/ 6490 h 10000"/>
                <a:gd name="connsiteX55" fmla="*/ 9167 w 10000"/>
                <a:gd name="connsiteY55" fmla="*/ 6608 h 10000"/>
                <a:gd name="connsiteX56" fmla="*/ 9574 w 10000"/>
                <a:gd name="connsiteY56" fmla="*/ 7157 h 10000"/>
                <a:gd name="connsiteX57" fmla="*/ 9496 w 10000"/>
                <a:gd name="connsiteY57" fmla="*/ 7294 h 10000"/>
                <a:gd name="connsiteX58" fmla="*/ 9419 w 10000"/>
                <a:gd name="connsiteY58" fmla="*/ 7431 h 10000"/>
                <a:gd name="connsiteX59" fmla="*/ 8740 w 10000"/>
                <a:gd name="connsiteY59" fmla="*/ 7412 h 10000"/>
                <a:gd name="connsiteX60" fmla="*/ 8605 w 10000"/>
                <a:gd name="connsiteY60" fmla="*/ 7627 h 10000"/>
                <a:gd name="connsiteX61" fmla="*/ 8547 w 10000"/>
                <a:gd name="connsiteY61" fmla="*/ 7706 h 10000"/>
                <a:gd name="connsiteX62" fmla="*/ 8469 w 10000"/>
                <a:gd name="connsiteY62" fmla="*/ 7804 h 10000"/>
                <a:gd name="connsiteX63" fmla="*/ 8682 w 10000"/>
                <a:gd name="connsiteY63" fmla="*/ 8451 h 10000"/>
                <a:gd name="connsiteX64" fmla="*/ 8566 w 10000"/>
                <a:gd name="connsiteY64" fmla="*/ 8569 h 10000"/>
                <a:gd name="connsiteX65" fmla="*/ 8450 w 10000"/>
                <a:gd name="connsiteY65" fmla="*/ 8686 h 10000"/>
                <a:gd name="connsiteX66" fmla="*/ 7810 w 10000"/>
                <a:gd name="connsiteY66" fmla="*/ 8471 h 10000"/>
                <a:gd name="connsiteX67" fmla="*/ 7616 w 10000"/>
                <a:gd name="connsiteY67" fmla="*/ 8608 h 10000"/>
                <a:gd name="connsiteX68" fmla="*/ 7442 w 10000"/>
                <a:gd name="connsiteY68" fmla="*/ 8745 h 10000"/>
                <a:gd name="connsiteX69" fmla="*/ 7442 w 10000"/>
                <a:gd name="connsiteY69" fmla="*/ 9412 h 10000"/>
                <a:gd name="connsiteX70" fmla="*/ 7287 w 10000"/>
                <a:gd name="connsiteY70" fmla="*/ 9510 h 10000"/>
                <a:gd name="connsiteX71" fmla="*/ 7151 w 10000"/>
                <a:gd name="connsiteY71" fmla="*/ 9569 h 10000"/>
                <a:gd name="connsiteX72" fmla="*/ 6609 w 10000"/>
                <a:gd name="connsiteY72" fmla="*/ 9157 h 10000"/>
                <a:gd name="connsiteX73" fmla="*/ 6395 w 10000"/>
                <a:gd name="connsiteY73" fmla="*/ 9235 h 10000"/>
                <a:gd name="connsiteX74" fmla="*/ 6279 w 10000"/>
                <a:gd name="connsiteY74" fmla="*/ 9275 h 10000"/>
                <a:gd name="connsiteX75" fmla="*/ 6163 w 10000"/>
                <a:gd name="connsiteY75" fmla="*/ 9314 h 10000"/>
                <a:gd name="connsiteX76" fmla="*/ 5950 w 10000"/>
                <a:gd name="connsiteY76" fmla="*/ 9961 h 10000"/>
                <a:gd name="connsiteX77" fmla="*/ 5640 w 10000"/>
                <a:gd name="connsiteY77" fmla="*/ 10000 h 10000"/>
                <a:gd name="connsiteX78" fmla="*/ 5252 w 10000"/>
                <a:gd name="connsiteY78" fmla="*/ 9451 h 10000"/>
                <a:gd name="connsiteX79" fmla="*/ 5019 w 10000"/>
                <a:gd name="connsiteY79" fmla="*/ 9451 h 10000"/>
                <a:gd name="connsiteX80" fmla="*/ 4767 w 10000"/>
                <a:gd name="connsiteY80" fmla="*/ 9451 h 10000"/>
                <a:gd name="connsiteX81" fmla="*/ 4380 w 10000"/>
                <a:gd name="connsiteY81" fmla="*/ 10000 h 10000"/>
                <a:gd name="connsiteX82" fmla="*/ 4225 w 10000"/>
                <a:gd name="connsiteY82" fmla="*/ 9980 h 10000"/>
                <a:gd name="connsiteX83" fmla="*/ 4070 w 10000"/>
                <a:gd name="connsiteY83" fmla="*/ 9961 h 10000"/>
                <a:gd name="connsiteX84" fmla="*/ 3857 w 10000"/>
                <a:gd name="connsiteY84" fmla="*/ 9314 h 10000"/>
                <a:gd name="connsiteX85" fmla="*/ 3624 w 10000"/>
                <a:gd name="connsiteY85" fmla="*/ 9235 h 10000"/>
                <a:gd name="connsiteX86" fmla="*/ 3508 w 10000"/>
                <a:gd name="connsiteY86" fmla="*/ 9216 h 10000"/>
                <a:gd name="connsiteX87" fmla="*/ 3411 w 10000"/>
                <a:gd name="connsiteY87" fmla="*/ 9157 h 10000"/>
                <a:gd name="connsiteX88" fmla="*/ 2868 w 10000"/>
                <a:gd name="connsiteY88" fmla="*/ 9569 h 10000"/>
                <a:gd name="connsiteX89" fmla="*/ 2733 w 10000"/>
                <a:gd name="connsiteY89" fmla="*/ 9510 h 10000"/>
                <a:gd name="connsiteX90" fmla="*/ 2578 w 10000"/>
                <a:gd name="connsiteY90" fmla="*/ 9412 h 10000"/>
                <a:gd name="connsiteX91" fmla="*/ 2597 w 10000"/>
                <a:gd name="connsiteY91" fmla="*/ 8745 h 10000"/>
                <a:gd name="connsiteX92" fmla="*/ 2403 w 10000"/>
                <a:gd name="connsiteY92" fmla="*/ 8608 h 10000"/>
                <a:gd name="connsiteX93" fmla="*/ 2306 w 10000"/>
                <a:gd name="connsiteY93" fmla="*/ 8529 h 10000"/>
                <a:gd name="connsiteX94" fmla="*/ 2209 w 10000"/>
                <a:gd name="connsiteY94" fmla="*/ 8471 h 10000"/>
                <a:gd name="connsiteX95" fmla="*/ 1570 w 10000"/>
                <a:gd name="connsiteY95" fmla="*/ 8686 h 10000"/>
                <a:gd name="connsiteX96" fmla="*/ 1453 w 10000"/>
                <a:gd name="connsiteY96" fmla="*/ 8569 h 10000"/>
                <a:gd name="connsiteX97" fmla="*/ 1337 w 10000"/>
                <a:gd name="connsiteY97" fmla="*/ 8451 h 10000"/>
                <a:gd name="connsiteX98" fmla="*/ 1550 w 10000"/>
                <a:gd name="connsiteY98" fmla="*/ 7804 h 10000"/>
                <a:gd name="connsiteX99" fmla="*/ 1415 w 10000"/>
                <a:gd name="connsiteY99" fmla="*/ 7627 h 10000"/>
                <a:gd name="connsiteX100" fmla="*/ 1279 w 10000"/>
                <a:gd name="connsiteY100" fmla="*/ 7412 h 10000"/>
                <a:gd name="connsiteX101" fmla="*/ 601 w 10000"/>
                <a:gd name="connsiteY101" fmla="*/ 7431 h 10000"/>
                <a:gd name="connsiteX102" fmla="*/ 523 w 10000"/>
                <a:gd name="connsiteY102" fmla="*/ 7294 h 10000"/>
                <a:gd name="connsiteX103" fmla="*/ 446 w 10000"/>
                <a:gd name="connsiteY103" fmla="*/ 7157 h 10000"/>
                <a:gd name="connsiteX104" fmla="*/ 853 w 10000"/>
                <a:gd name="connsiteY104" fmla="*/ 6608 h 10000"/>
                <a:gd name="connsiteX105" fmla="*/ 775 w 10000"/>
                <a:gd name="connsiteY105" fmla="*/ 6392 h 10000"/>
                <a:gd name="connsiteX106" fmla="*/ 756 w 10000"/>
                <a:gd name="connsiteY106" fmla="*/ 6275 h 10000"/>
                <a:gd name="connsiteX107" fmla="*/ 717 w 10000"/>
                <a:gd name="connsiteY107" fmla="*/ 6157 h 10000"/>
                <a:gd name="connsiteX108" fmla="*/ 58 w 10000"/>
                <a:gd name="connsiteY108" fmla="*/ 5941 h 10000"/>
                <a:gd name="connsiteX109" fmla="*/ 0 w 10000"/>
                <a:gd name="connsiteY109" fmla="*/ 5627 h 10000"/>
                <a:gd name="connsiteX110" fmla="*/ 581 w 10000"/>
                <a:gd name="connsiteY110" fmla="*/ 5235 h 10000"/>
                <a:gd name="connsiteX111" fmla="*/ 562 w 10000"/>
                <a:gd name="connsiteY111" fmla="*/ 5000 h 10000"/>
                <a:gd name="connsiteX112" fmla="*/ 581 w 10000"/>
                <a:gd name="connsiteY112" fmla="*/ 4765 h 10000"/>
                <a:gd name="connsiteX113" fmla="*/ 0 w 10000"/>
                <a:gd name="connsiteY113" fmla="*/ 4392 h 10000"/>
                <a:gd name="connsiteX114" fmla="*/ 19 w 10000"/>
                <a:gd name="connsiteY114" fmla="*/ 4216 h 10000"/>
                <a:gd name="connsiteX115" fmla="*/ 58 w 10000"/>
                <a:gd name="connsiteY115" fmla="*/ 4059 h 10000"/>
                <a:gd name="connsiteX116" fmla="*/ 717 w 10000"/>
                <a:gd name="connsiteY116" fmla="*/ 3863 h 10000"/>
                <a:gd name="connsiteX117" fmla="*/ 775 w 10000"/>
                <a:gd name="connsiteY117" fmla="*/ 3627 h 10000"/>
                <a:gd name="connsiteX118" fmla="*/ 814 w 10000"/>
                <a:gd name="connsiteY118" fmla="*/ 3510 h 10000"/>
                <a:gd name="connsiteX119" fmla="*/ 853 w 10000"/>
                <a:gd name="connsiteY119" fmla="*/ 3392 h 10000"/>
                <a:gd name="connsiteX120" fmla="*/ 446 w 10000"/>
                <a:gd name="connsiteY120" fmla="*/ 2863 h 10000"/>
                <a:gd name="connsiteX121" fmla="*/ 523 w 10000"/>
                <a:gd name="connsiteY121" fmla="*/ 2706 h 10000"/>
                <a:gd name="connsiteX122" fmla="*/ 601 w 10000"/>
                <a:gd name="connsiteY122" fmla="*/ 2588 h 10000"/>
                <a:gd name="connsiteX123" fmla="*/ 1279 w 10000"/>
                <a:gd name="connsiteY123" fmla="*/ 2588 h 10000"/>
                <a:gd name="connsiteX0" fmla="*/ 1570 w 10000"/>
                <a:gd name="connsiteY0" fmla="*/ 1333 h 10000"/>
                <a:gd name="connsiteX1" fmla="*/ 2209 w 10000"/>
                <a:gd name="connsiteY1" fmla="*/ 1549 h 10000"/>
                <a:gd name="connsiteX2" fmla="*/ 2403 w 10000"/>
                <a:gd name="connsiteY2" fmla="*/ 1412 h 10000"/>
                <a:gd name="connsiteX3" fmla="*/ 2597 w 10000"/>
                <a:gd name="connsiteY3" fmla="*/ 1275 h 10000"/>
                <a:gd name="connsiteX4" fmla="*/ 2578 w 10000"/>
                <a:gd name="connsiteY4" fmla="*/ 588 h 10000"/>
                <a:gd name="connsiteX5" fmla="*/ 2733 w 10000"/>
                <a:gd name="connsiteY5" fmla="*/ 510 h 10000"/>
                <a:gd name="connsiteX6" fmla="*/ 2868 w 10000"/>
                <a:gd name="connsiteY6" fmla="*/ 451 h 10000"/>
                <a:gd name="connsiteX7" fmla="*/ 3411 w 10000"/>
                <a:gd name="connsiteY7" fmla="*/ 843 h 10000"/>
                <a:gd name="connsiteX8" fmla="*/ 3624 w 10000"/>
                <a:gd name="connsiteY8" fmla="*/ 765 h 10000"/>
                <a:gd name="connsiteX9" fmla="*/ 3740 w 10000"/>
                <a:gd name="connsiteY9" fmla="*/ 725 h 10000"/>
                <a:gd name="connsiteX10" fmla="*/ 3857 w 10000"/>
                <a:gd name="connsiteY10" fmla="*/ 706 h 10000"/>
                <a:gd name="connsiteX11" fmla="*/ 4070 w 10000"/>
                <a:gd name="connsiteY11" fmla="*/ 59 h 10000"/>
                <a:gd name="connsiteX12" fmla="*/ 4380 w 10000"/>
                <a:gd name="connsiteY12" fmla="*/ 0 h 10000"/>
                <a:gd name="connsiteX13" fmla="*/ 4767 w 10000"/>
                <a:gd name="connsiteY13" fmla="*/ 569 h 10000"/>
                <a:gd name="connsiteX14" fmla="*/ 5019 w 10000"/>
                <a:gd name="connsiteY14" fmla="*/ 549 h 10000"/>
                <a:gd name="connsiteX15" fmla="*/ 5252 w 10000"/>
                <a:gd name="connsiteY15" fmla="*/ 569 h 10000"/>
                <a:gd name="connsiteX16" fmla="*/ 5640 w 10000"/>
                <a:gd name="connsiteY16" fmla="*/ 0 h 10000"/>
                <a:gd name="connsiteX17" fmla="*/ 5795 w 10000"/>
                <a:gd name="connsiteY17" fmla="*/ 20 h 10000"/>
                <a:gd name="connsiteX18" fmla="*/ 5950 w 10000"/>
                <a:gd name="connsiteY18" fmla="*/ 59 h 10000"/>
                <a:gd name="connsiteX19" fmla="*/ 6163 w 10000"/>
                <a:gd name="connsiteY19" fmla="*/ 706 h 10000"/>
                <a:gd name="connsiteX20" fmla="*/ 6395 w 10000"/>
                <a:gd name="connsiteY20" fmla="*/ 765 h 10000"/>
                <a:gd name="connsiteX21" fmla="*/ 6492 w 10000"/>
                <a:gd name="connsiteY21" fmla="*/ 804 h 10000"/>
                <a:gd name="connsiteX22" fmla="*/ 6609 w 10000"/>
                <a:gd name="connsiteY22" fmla="*/ 843 h 10000"/>
                <a:gd name="connsiteX23" fmla="*/ 7151 w 10000"/>
                <a:gd name="connsiteY23" fmla="*/ 451 h 10000"/>
                <a:gd name="connsiteX24" fmla="*/ 7287 w 10000"/>
                <a:gd name="connsiteY24" fmla="*/ 510 h 10000"/>
                <a:gd name="connsiteX25" fmla="*/ 7442 w 10000"/>
                <a:gd name="connsiteY25" fmla="*/ 588 h 10000"/>
                <a:gd name="connsiteX26" fmla="*/ 7442 w 10000"/>
                <a:gd name="connsiteY26" fmla="*/ 1275 h 10000"/>
                <a:gd name="connsiteX27" fmla="*/ 7616 w 10000"/>
                <a:gd name="connsiteY27" fmla="*/ 1412 h 10000"/>
                <a:gd name="connsiteX28" fmla="*/ 7713 w 10000"/>
                <a:gd name="connsiteY28" fmla="*/ 1471 h 10000"/>
                <a:gd name="connsiteX29" fmla="*/ 7810 w 10000"/>
                <a:gd name="connsiteY29" fmla="*/ 1549 h 10000"/>
                <a:gd name="connsiteX30" fmla="*/ 8450 w 10000"/>
                <a:gd name="connsiteY30" fmla="*/ 1333 h 10000"/>
                <a:gd name="connsiteX31" fmla="*/ 8566 w 10000"/>
                <a:gd name="connsiteY31" fmla="*/ 1451 h 10000"/>
                <a:gd name="connsiteX32" fmla="*/ 8682 w 10000"/>
                <a:gd name="connsiteY32" fmla="*/ 1569 h 10000"/>
                <a:gd name="connsiteX33" fmla="*/ 8469 w 10000"/>
                <a:gd name="connsiteY33" fmla="*/ 2216 h 10000"/>
                <a:gd name="connsiteX34" fmla="*/ 8605 w 10000"/>
                <a:gd name="connsiteY34" fmla="*/ 2392 h 10000"/>
                <a:gd name="connsiteX35" fmla="*/ 8740 w 10000"/>
                <a:gd name="connsiteY35" fmla="*/ 2588 h 10000"/>
                <a:gd name="connsiteX36" fmla="*/ 9419 w 10000"/>
                <a:gd name="connsiteY36" fmla="*/ 2588 h 10000"/>
                <a:gd name="connsiteX37" fmla="*/ 9496 w 10000"/>
                <a:gd name="connsiteY37" fmla="*/ 2706 h 10000"/>
                <a:gd name="connsiteX38" fmla="*/ 9574 w 10000"/>
                <a:gd name="connsiteY38" fmla="*/ 2863 h 10000"/>
                <a:gd name="connsiteX39" fmla="*/ 9167 w 10000"/>
                <a:gd name="connsiteY39" fmla="*/ 3392 h 10000"/>
                <a:gd name="connsiteX40" fmla="*/ 9244 w 10000"/>
                <a:gd name="connsiteY40" fmla="*/ 3627 h 10000"/>
                <a:gd name="connsiteX41" fmla="*/ 9283 w 10000"/>
                <a:gd name="connsiteY41" fmla="*/ 3745 h 10000"/>
                <a:gd name="connsiteX42" fmla="*/ 9302 w 10000"/>
                <a:gd name="connsiteY42" fmla="*/ 3863 h 10000"/>
                <a:gd name="connsiteX43" fmla="*/ 9961 w 10000"/>
                <a:gd name="connsiteY43" fmla="*/ 4059 h 10000"/>
                <a:gd name="connsiteX44" fmla="*/ 10000 w 10000"/>
                <a:gd name="connsiteY44" fmla="*/ 4392 h 10000"/>
                <a:gd name="connsiteX45" fmla="*/ 9438 w 10000"/>
                <a:gd name="connsiteY45" fmla="*/ 4765 h 10000"/>
                <a:gd name="connsiteX46" fmla="*/ 9457 w 10000"/>
                <a:gd name="connsiteY46" fmla="*/ 5000 h 10000"/>
                <a:gd name="connsiteX47" fmla="*/ 9438 w 10000"/>
                <a:gd name="connsiteY47" fmla="*/ 5235 h 10000"/>
                <a:gd name="connsiteX48" fmla="*/ 10000 w 10000"/>
                <a:gd name="connsiteY48" fmla="*/ 5627 h 10000"/>
                <a:gd name="connsiteX49" fmla="*/ 9981 w 10000"/>
                <a:gd name="connsiteY49" fmla="*/ 5784 h 10000"/>
                <a:gd name="connsiteX50" fmla="*/ 9961 w 10000"/>
                <a:gd name="connsiteY50" fmla="*/ 5941 h 10000"/>
                <a:gd name="connsiteX51" fmla="*/ 9302 w 10000"/>
                <a:gd name="connsiteY51" fmla="*/ 6157 h 10000"/>
                <a:gd name="connsiteX52" fmla="*/ 9244 w 10000"/>
                <a:gd name="connsiteY52" fmla="*/ 6392 h 10000"/>
                <a:gd name="connsiteX53" fmla="*/ 9205 w 10000"/>
                <a:gd name="connsiteY53" fmla="*/ 6490 h 10000"/>
                <a:gd name="connsiteX54" fmla="*/ 9167 w 10000"/>
                <a:gd name="connsiteY54" fmla="*/ 6608 h 10000"/>
                <a:gd name="connsiteX55" fmla="*/ 9574 w 10000"/>
                <a:gd name="connsiteY55" fmla="*/ 7157 h 10000"/>
                <a:gd name="connsiteX56" fmla="*/ 9496 w 10000"/>
                <a:gd name="connsiteY56" fmla="*/ 7294 h 10000"/>
                <a:gd name="connsiteX57" fmla="*/ 9419 w 10000"/>
                <a:gd name="connsiteY57" fmla="*/ 7431 h 10000"/>
                <a:gd name="connsiteX58" fmla="*/ 8740 w 10000"/>
                <a:gd name="connsiteY58" fmla="*/ 7412 h 10000"/>
                <a:gd name="connsiteX59" fmla="*/ 8605 w 10000"/>
                <a:gd name="connsiteY59" fmla="*/ 7627 h 10000"/>
                <a:gd name="connsiteX60" fmla="*/ 8547 w 10000"/>
                <a:gd name="connsiteY60" fmla="*/ 7706 h 10000"/>
                <a:gd name="connsiteX61" fmla="*/ 8469 w 10000"/>
                <a:gd name="connsiteY61" fmla="*/ 7804 h 10000"/>
                <a:gd name="connsiteX62" fmla="*/ 8682 w 10000"/>
                <a:gd name="connsiteY62" fmla="*/ 8451 h 10000"/>
                <a:gd name="connsiteX63" fmla="*/ 8566 w 10000"/>
                <a:gd name="connsiteY63" fmla="*/ 8569 h 10000"/>
                <a:gd name="connsiteX64" fmla="*/ 8450 w 10000"/>
                <a:gd name="connsiteY64" fmla="*/ 8686 h 10000"/>
                <a:gd name="connsiteX65" fmla="*/ 7810 w 10000"/>
                <a:gd name="connsiteY65" fmla="*/ 8471 h 10000"/>
                <a:gd name="connsiteX66" fmla="*/ 7616 w 10000"/>
                <a:gd name="connsiteY66" fmla="*/ 8608 h 10000"/>
                <a:gd name="connsiteX67" fmla="*/ 7442 w 10000"/>
                <a:gd name="connsiteY67" fmla="*/ 8745 h 10000"/>
                <a:gd name="connsiteX68" fmla="*/ 7442 w 10000"/>
                <a:gd name="connsiteY68" fmla="*/ 9412 h 10000"/>
                <a:gd name="connsiteX69" fmla="*/ 7287 w 10000"/>
                <a:gd name="connsiteY69" fmla="*/ 9510 h 10000"/>
                <a:gd name="connsiteX70" fmla="*/ 7151 w 10000"/>
                <a:gd name="connsiteY70" fmla="*/ 9569 h 10000"/>
                <a:gd name="connsiteX71" fmla="*/ 6609 w 10000"/>
                <a:gd name="connsiteY71" fmla="*/ 9157 h 10000"/>
                <a:gd name="connsiteX72" fmla="*/ 6395 w 10000"/>
                <a:gd name="connsiteY72" fmla="*/ 9235 h 10000"/>
                <a:gd name="connsiteX73" fmla="*/ 6279 w 10000"/>
                <a:gd name="connsiteY73" fmla="*/ 9275 h 10000"/>
                <a:gd name="connsiteX74" fmla="*/ 6163 w 10000"/>
                <a:gd name="connsiteY74" fmla="*/ 9314 h 10000"/>
                <a:gd name="connsiteX75" fmla="*/ 5950 w 10000"/>
                <a:gd name="connsiteY75" fmla="*/ 9961 h 10000"/>
                <a:gd name="connsiteX76" fmla="*/ 5640 w 10000"/>
                <a:gd name="connsiteY76" fmla="*/ 10000 h 10000"/>
                <a:gd name="connsiteX77" fmla="*/ 5252 w 10000"/>
                <a:gd name="connsiteY77" fmla="*/ 9451 h 10000"/>
                <a:gd name="connsiteX78" fmla="*/ 5019 w 10000"/>
                <a:gd name="connsiteY78" fmla="*/ 9451 h 10000"/>
                <a:gd name="connsiteX79" fmla="*/ 4767 w 10000"/>
                <a:gd name="connsiteY79" fmla="*/ 9451 h 10000"/>
                <a:gd name="connsiteX80" fmla="*/ 4380 w 10000"/>
                <a:gd name="connsiteY80" fmla="*/ 10000 h 10000"/>
                <a:gd name="connsiteX81" fmla="*/ 4225 w 10000"/>
                <a:gd name="connsiteY81" fmla="*/ 9980 h 10000"/>
                <a:gd name="connsiteX82" fmla="*/ 4070 w 10000"/>
                <a:gd name="connsiteY82" fmla="*/ 9961 h 10000"/>
                <a:gd name="connsiteX83" fmla="*/ 3857 w 10000"/>
                <a:gd name="connsiteY83" fmla="*/ 9314 h 10000"/>
                <a:gd name="connsiteX84" fmla="*/ 3624 w 10000"/>
                <a:gd name="connsiteY84" fmla="*/ 9235 h 10000"/>
                <a:gd name="connsiteX85" fmla="*/ 3508 w 10000"/>
                <a:gd name="connsiteY85" fmla="*/ 9216 h 10000"/>
                <a:gd name="connsiteX86" fmla="*/ 3411 w 10000"/>
                <a:gd name="connsiteY86" fmla="*/ 9157 h 10000"/>
                <a:gd name="connsiteX87" fmla="*/ 2868 w 10000"/>
                <a:gd name="connsiteY87" fmla="*/ 9569 h 10000"/>
                <a:gd name="connsiteX88" fmla="*/ 2733 w 10000"/>
                <a:gd name="connsiteY88" fmla="*/ 9510 h 10000"/>
                <a:gd name="connsiteX89" fmla="*/ 2578 w 10000"/>
                <a:gd name="connsiteY89" fmla="*/ 9412 h 10000"/>
                <a:gd name="connsiteX90" fmla="*/ 2597 w 10000"/>
                <a:gd name="connsiteY90" fmla="*/ 8745 h 10000"/>
                <a:gd name="connsiteX91" fmla="*/ 2403 w 10000"/>
                <a:gd name="connsiteY91" fmla="*/ 8608 h 10000"/>
                <a:gd name="connsiteX92" fmla="*/ 2306 w 10000"/>
                <a:gd name="connsiteY92" fmla="*/ 8529 h 10000"/>
                <a:gd name="connsiteX93" fmla="*/ 2209 w 10000"/>
                <a:gd name="connsiteY93" fmla="*/ 8471 h 10000"/>
                <a:gd name="connsiteX94" fmla="*/ 1570 w 10000"/>
                <a:gd name="connsiteY94" fmla="*/ 8686 h 10000"/>
                <a:gd name="connsiteX95" fmla="*/ 1453 w 10000"/>
                <a:gd name="connsiteY95" fmla="*/ 8569 h 10000"/>
                <a:gd name="connsiteX96" fmla="*/ 1337 w 10000"/>
                <a:gd name="connsiteY96" fmla="*/ 8451 h 10000"/>
                <a:gd name="connsiteX97" fmla="*/ 1550 w 10000"/>
                <a:gd name="connsiteY97" fmla="*/ 7804 h 10000"/>
                <a:gd name="connsiteX98" fmla="*/ 1415 w 10000"/>
                <a:gd name="connsiteY98" fmla="*/ 7627 h 10000"/>
                <a:gd name="connsiteX99" fmla="*/ 1279 w 10000"/>
                <a:gd name="connsiteY99" fmla="*/ 7412 h 10000"/>
                <a:gd name="connsiteX100" fmla="*/ 601 w 10000"/>
                <a:gd name="connsiteY100" fmla="*/ 7431 h 10000"/>
                <a:gd name="connsiteX101" fmla="*/ 523 w 10000"/>
                <a:gd name="connsiteY101" fmla="*/ 7294 h 10000"/>
                <a:gd name="connsiteX102" fmla="*/ 446 w 10000"/>
                <a:gd name="connsiteY102" fmla="*/ 7157 h 10000"/>
                <a:gd name="connsiteX103" fmla="*/ 853 w 10000"/>
                <a:gd name="connsiteY103" fmla="*/ 6608 h 10000"/>
                <a:gd name="connsiteX104" fmla="*/ 775 w 10000"/>
                <a:gd name="connsiteY104" fmla="*/ 6392 h 10000"/>
                <a:gd name="connsiteX105" fmla="*/ 756 w 10000"/>
                <a:gd name="connsiteY105" fmla="*/ 6275 h 10000"/>
                <a:gd name="connsiteX106" fmla="*/ 717 w 10000"/>
                <a:gd name="connsiteY106" fmla="*/ 6157 h 10000"/>
                <a:gd name="connsiteX107" fmla="*/ 58 w 10000"/>
                <a:gd name="connsiteY107" fmla="*/ 5941 h 10000"/>
                <a:gd name="connsiteX108" fmla="*/ 0 w 10000"/>
                <a:gd name="connsiteY108" fmla="*/ 5627 h 10000"/>
                <a:gd name="connsiteX109" fmla="*/ 581 w 10000"/>
                <a:gd name="connsiteY109" fmla="*/ 5235 h 10000"/>
                <a:gd name="connsiteX110" fmla="*/ 562 w 10000"/>
                <a:gd name="connsiteY110" fmla="*/ 5000 h 10000"/>
                <a:gd name="connsiteX111" fmla="*/ 581 w 10000"/>
                <a:gd name="connsiteY111" fmla="*/ 4765 h 10000"/>
                <a:gd name="connsiteX112" fmla="*/ 0 w 10000"/>
                <a:gd name="connsiteY112" fmla="*/ 4392 h 10000"/>
                <a:gd name="connsiteX113" fmla="*/ 19 w 10000"/>
                <a:gd name="connsiteY113" fmla="*/ 4216 h 10000"/>
                <a:gd name="connsiteX114" fmla="*/ 58 w 10000"/>
                <a:gd name="connsiteY114" fmla="*/ 4059 h 10000"/>
                <a:gd name="connsiteX115" fmla="*/ 717 w 10000"/>
                <a:gd name="connsiteY115" fmla="*/ 3863 h 10000"/>
                <a:gd name="connsiteX116" fmla="*/ 775 w 10000"/>
                <a:gd name="connsiteY116" fmla="*/ 3627 h 10000"/>
                <a:gd name="connsiteX117" fmla="*/ 814 w 10000"/>
                <a:gd name="connsiteY117" fmla="*/ 3510 h 10000"/>
                <a:gd name="connsiteX118" fmla="*/ 853 w 10000"/>
                <a:gd name="connsiteY118" fmla="*/ 3392 h 10000"/>
                <a:gd name="connsiteX119" fmla="*/ 446 w 10000"/>
                <a:gd name="connsiteY119" fmla="*/ 2863 h 10000"/>
                <a:gd name="connsiteX120" fmla="*/ 523 w 10000"/>
                <a:gd name="connsiteY120" fmla="*/ 2706 h 10000"/>
                <a:gd name="connsiteX121" fmla="*/ 601 w 10000"/>
                <a:gd name="connsiteY121" fmla="*/ 2588 h 10000"/>
                <a:gd name="connsiteX122" fmla="*/ 1279 w 10000"/>
                <a:gd name="connsiteY122" fmla="*/ 2588 h 10000"/>
                <a:gd name="connsiteX0" fmla="*/ 2209 w 10000"/>
                <a:gd name="connsiteY0" fmla="*/ 1549 h 10000"/>
                <a:gd name="connsiteX1" fmla="*/ 2403 w 10000"/>
                <a:gd name="connsiteY1" fmla="*/ 1412 h 10000"/>
                <a:gd name="connsiteX2" fmla="*/ 2597 w 10000"/>
                <a:gd name="connsiteY2" fmla="*/ 1275 h 10000"/>
                <a:gd name="connsiteX3" fmla="*/ 2578 w 10000"/>
                <a:gd name="connsiteY3" fmla="*/ 588 h 10000"/>
                <a:gd name="connsiteX4" fmla="*/ 2733 w 10000"/>
                <a:gd name="connsiteY4" fmla="*/ 510 h 10000"/>
                <a:gd name="connsiteX5" fmla="*/ 2868 w 10000"/>
                <a:gd name="connsiteY5" fmla="*/ 451 h 10000"/>
                <a:gd name="connsiteX6" fmla="*/ 3411 w 10000"/>
                <a:gd name="connsiteY6" fmla="*/ 843 h 10000"/>
                <a:gd name="connsiteX7" fmla="*/ 3624 w 10000"/>
                <a:gd name="connsiteY7" fmla="*/ 765 h 10000"/>
                <a:gd name="connsiteX8" fmla="*/ 3740 w 10000"/>
                <a:gd name="connsiteY8" fmla="*/ 725 h 10000"/>
                <a:gd name="connsiteX9" fmla="*/ 3857 w 10000"/>
                <a:gd name="connsiteY9" fmla="*/ 706 h 10000"/>
                <a:gd name="connsiteX10" fmla="*/ 4070 w 10000"/>
                <a:gd name="connsiteY10" fmla="*/ 59 h 10000"/>
                <a:gd name="connsiteX11" fmla="*/ 4380 w 10000"/>
                <a:gd name="connsiteY11" fmla="*/ 0 h 10000"/>
                <a:gd name="connsiteX12" fmla="*/ 4767 w 10000"/>
                <a:gd name="connsiteY12" fmla="*/ 569 h 10000"/>
                <a:gd name="connsiteX13" fmla="*/ 5019 w 10000"/>
                <a:gd name="connsiteY13" fmla="*/ 549 h 10000"/>
                <a:gd name="connsiteX14" fmla="*/ 5252 w 10000"/>
                <a:gd name="connsiteY14" fmla="*/ 569 h 10000"/>
                <a:gd name="connsiteX15" fmla="*/ 5640 w 10000"/>
                <a:gd name="connsiteY15" fmla="*/ 0 h 10000"/>
                <a:gd name="connsiteX16" fmla="*/ 5795 w 10000"/>
                <a:gd name="connsiteY16" fmla="*/ 20 h 10000"/>
                <a:gd name="connsiteX17" fmla="*/ 5950 w 10000"/>
                <a:gd name="connsiteY17" fmla="*/ 59 h 10000"/>
                <a:gd name="connsiteX18" fmla="*/ 6163 w 10000"/>
                <a:gd name="connsiteY18" fmla="*/ 706 h 10000"/>
                <a:gd name="connsiteX19" fmla="*/ 6395 w 10000"/>
                <a:gd name="connsiteY19" fmla="*/ 765 h 10000"/>
                <a:gd name="connsiteX20" fmla="*/ 6492 w 10000"/>
                <a:gd name="connsiteY20" fmla="*/ 804 h 10000"/>
                <a:gd name="connsiteX21" fmla="*/ 6609 w 10000"/>
                <a:gd name="connsiteY21" fmla="*/ 843 h 10000"/>
                <a:gd name="connsiteX22" fmla="*/ 7151 w 10000"/>
                <a:gd name="connsiteY22" fmla="*/ 451 h 10000"/>
                <a:gd name="connsiteX23" fmla="*/ 7287 w 10000"/>
                <a:gd name="connsiteY23" fmla="*/ 510 h 10000"/>
                <a:gd name="connsiteX24" fmla="*/ 7442 w 10000"/>
                <a:gd name="connsiteY24" fmla="*/ 588 h 10000"/>
                <a:gd name="connsiteX25" fmla="*/ 7442 w 10000"/>
                <a:gd name="connsiteY25" fmla="*/ 1275 h 10000"/>
                <a:gd name="connsiteX26" fmla="*/ 7616 w 10000"/>
                <a:gd name="connsiteY26" fmla="*/ 1412 h 10000"/>
                <a:gd name="connsiteX27" fmla="*/ 7713 w 10000"/>
                <a:gd name="connsiteY27" fmla="*/ 1471 h 10000"/>
                <a:gd name="connsiteX28" fmla="*/ 7810 w 10000"/>
                <a:gd name="connsiteY28" fmla="*/ 1549 h 10000"/>
                <a:gd name="connsiteX29" fmla="*/ 8450 w 10000"/>
                <a:gd name="connsiteY29" fmla="*/ 1333 h 10000"/>
                <a:gd name="connsiteX30" fmla="*/ 8566 w 10000"/>
                <a:gd name="connsiteY30" fmla="*/ 1451 h 10000"/>
                <a:gd name="connsiteX31" fmla="*/ 8682 w 10000"/>
                <a:gd name="connsiteY31" fmla="*/ 1569 h 10000"/>
                <a:gd name="connsiteX32" fmla="*/ 8469 w 10000"/>
                <a:gd name="connsiteY32" fmla="*/ 2216 h 10000"/>
                <a:gd name="connsiteX33" fmla="*/ 8605 w 10000"/>
                <a:gd name="connsiteY33" fmla="*/ 2392 h 10000"/>
                <a:gd name="connsiteX34" fmla="*/ 8740 w 10000"/>
                <a:gd name="connsiteY34" fmla="*/ 2588 h 10000"/>
                <a:gd name="connsiteX35" fmla="*/ 9419 w 10000"/>
                <a:gd name="connsiteY35" fmla="*/ 2588 h 10000"/>
                <a:gd name="connsiteX36" fmla="*/ 9496 w 10000"/>
                <a:gd name="connsiteY36" fmla="*/ 2706 h 10000"/>
                <a:gd name="connsiteX37" fmla="*/ 9574 w 10000"/>
                <a:gd name="connsiteY37" fmla="*/ 2863 h 10000"/>
                <a:gd name="connsiteX38" fmla="*/ 9167 w 10000"/>
                <a:gd name="connsiteY38" fmla="*/ 3392 h 10000"/>
                <a:gd name="connsiteX39" fmla="*/ 9244 w 10000"/>
                <a:gd name="connsiteY39" fmla="*/ 3627 h 10000"/>
                <a:gd name="connsiteX40" fmla="*/ 9283 w 10000"/>
                <a:gd name="connsiteY40" fmla="*/ 3745 h 10000"/>
                <a:gd name="connsiteX41" fmla="*/ 9302 w 10000"/>
                <a:gd name="connsiteY41" fmla="*/ 3863 h 10000"/>
                <a:gd name="connsiteX42" fmla="*/ 9961 w 10000"/>
                <a:gd name="connsiteY42" fmla="*/ 4059 h 10000"/>
                <a:gd name="connsiteX43" fmla="*/ 10000 w 10000"/>
                <a:gd name="connsiteY43" fmla="*/ 4392 h 10000"/>
                <a:gd name="connsiteX44" fmla="*/ 9438 w 10000"/>
                <a:gd name="connsiteY44" fmla="*/ 4765 h 10000"/>
                <a:gd name="connsiteX45" fmla="*/ 9457 w 10000"/>
                <a:gd name="connsiteY45" fmla="*/ 5000 h 10000"/>
                <a:gd name="connsiteX46" fmla="*/ 9438 w 10000"/>
                <a:gd name="connsiteY46" fmla="*/ 5235 h 10000"/>
                <a:gd name="connsiteX47" fmla="*/ 10000 w 10000"/>
                <a:gd name="connsiteY47" fmla="*/ 5627 h 10000"/>
                <a:gd name="connsiteX48" fmla="*/ 9981 w 10000"/>
                <a:gd name="connsiteY48" fmla="*/ 5784 h 10000"/>
                <a:gd name="connsiteX49" fmla="*/ 9961 w 10000"/>
                <a:gd name="connsiteY49" fmla="*/ 5941 h 10000"/>
                <a:gd name="connsiteX50" fmla="*/ 9302 w 10000"/>
                <a:gd name="connsiteY50" fmla="*/ 6157 h 10000"/>
                <a:gd name="connsiteX51" fmla="*/ 9244 w 10000"/>
                <a:gd name="connsiteY51" fmla="*/ 6392 h 10000"/>
                <a:gd name="connsiteX52" fmla="*/ 9205 w 10000"/>
                <a:gd name="connsiteY52" fmla="*/ 6490 h 10000"/>
                <a:gd name="connsiteX53" fmla="*/ 9167 w 10000"/>
                <a:gd name="connsiteY53" fmla="*/ 6608 h 10000"/>
                <a:gd name="connsiteX54" fmla="*/ 9574 w 10000"/>
                <a:gd name="connsiteY54" fmla="*/ 7157 h 10000"/>
                <a:gd name="connsiteX55" fmla="*/ 9496 w 10000"/>
                <a:gd name="connsiteY55" fmla="*/ 7294 h 10000"/>
                <a:gd name="connsiteX56" fmla="*/ 9419 w 10000"/>
                <a:gd name="connsiteY56" fmla="*/ 7431 h 10000"/>
                <a:gd name="connsiteX57" fmla="*/ 8740 w 10000"/>
                <a:gd name="connsiteY57" fmla="*/ 7412 h 10000"/>
                <a:gd name="connsiteX58" fmla="*/ 8605 w 10000"/>
                <a:gd name="connsiteY58" fmla="*/ 7627 h 10000"/>
                <a:gd name="connsiteX59" fmla="*/ 8547 w 10000"/>
                <a:gd name="connsiteY59" fmla="*/ 7706 h 10000"/>
                <a:gd name="connsiteX60" fmla="*/ 8469 w 10000"/>
                <a:gd name="connsiteY60" fmla="*/ 7804 h 10000"/>
                <a:gd name="connsiteX61" fmla="*/ 8682 w 10000"/>
                <a:gd name="connsiteY61" fmla="*/ 8451 h 10000"/>
                <a:gd name="connsiteX62" fmla="*/ 8566 w 10000"/>
                <a:gd name="connsiteY62" fmla="*/ 8569 h 10000"/>
                <a:gd name="connsiteX63" fmla="*/ 8450 w 10000"/>
                <a:gd name="connsiteY63" fmla="*/ 8686 h 10000"/>
                <a:gd name="connsiteX64" fmla="*/ 7810 w 10000"/>
                <a:gd name="connsiteY64" fmla="*/ 8471 h 10000"/>
                <a:gd name="connsiteX65" fmla="*/ 7616 w 10000"/>
                <a:gd name="connsiteY65" fmla="*/ 8608 h 10000"/>
                <a:gd name="connsiteX66" fmla="*/ 7442 w 10000"/>
                <a:gd name="connsiteY66" fmla="*/ 8745 h 10000"/>
                <a:gd name="connsiteX67" fmla="*/ 7442 w 10000"/>
                <a:gd name="connsiteY67" fmla="*/ 9412 h 10000"/>
                <a:gd name="connsiteX68" fmla="*/ 7287 w 10000"/>
                <a:gd name="connsiteY68" fmla="*/ 9510 h 10000"/>
                <a:gd name="connsiteX69" fmla="*/ 7151 w 10000"/>
                <a:gd name="connsiteY69" fmla="*/ 9569 h 10000"/>
                <a:gd name="connsiteX70" fmla="*/ 6609 w 10000"/>
                <a:gd name="connsiteY70" fmla="*/ 9157 h 10000"/>
                <a:gd name="connsiteX71" fmla="*/ 6395 w 10000"/>
                <a:gd name="connsiteY71" fmla="*/ 9235 h 10000"/>
                <a:gd name="connsiteX72" fmla="*/ 6279 w 10000"/>
                <a:gd name="connsiteY72" fmla="*/ 9275 h 10000"/>
                <a:gd name="connsiteX73" fmla="*/ 6163 w 10000"/>
                <a:gd name="connsiteY73" fmla="*/ 9314 h 10000"/>
                <a:gd name="connsiteX74" fmla="*/ 5950 w 10000"/>
                <a:gd name="connsiteY74" fmla="*/ 9961 h 10000"/>
                <a:gd name="connsiteX75" fmla="*/ 5640 w 10000"/>
                <a:gd name="connsiteY75" fmla="*/ 10000 h 10000"/>
                <a:gd name="connsiteX76" fmla="*/ 5252 w 10000"/>
                <a:gd name="connsiteY76" fmla="*/ 9451 h 10000"/>
                <a:gd name="connsiteX77" fmla="*/ 5019 w 10000"/>
                <a:gd name="connsiteY77" fmla="*/ 9451 h 10000"/>
                <a:gd name="connsiteX78" fmla="*/ 4767 w 10000"/>
                <a:gd name="connsiteY78" fmla="*/ 9451 h 10000"/>
                <a:gd name="connsiteX79" fmla="*/ 4380 w 10000"/>
                <a:gd name="connsiteY79" fmla="*/ 10000 h 10000"/>
                <a:gd name="connsiteX80" fmla="*/ 4225 w 10000"/>
                <a:gd name="connsiteY80" fmla="*/ 9980 h 10000"/>
                <a:gd name="connsiteX81" fmla="*/ 4070 w 10000"/>
                <a:gd name="connsiteY81" fmla="*/ 9961 h 10000"/>
                <a:gd name="connsiteX82" fmla="*/ 3857 w 10000"/>
                <a:gd name="connsiteY82" fmla="*/ 9314 h 10000"/>
                <a:gd name="connsiteX83" fmla="*/ 3624 w 10000"/>
                <a:gd name="connsiteY83" fmla="*/ 9235 h 10000"/>
                <a:gd name="connsiteX84" fmla="*/ 3508 w 10000"/>
                <a:gd name="connsiteY84" fmla="*/ 9216 h 10000"/>
                <a:gd name="connsiteX85" fmla="*/ 3411 w 10000"/>
                <a:gd name="connsiteY85" fmla="*/ 9157 h 10000"/>
                <a:gd name="connsiteX86" fmla="*/ 2868 w 10000"/>
                <a:gd name="connsiteY86" fmla="*/ 9569 h 10000"/>
                <a:gd name="connsiteX87" fmla="*/ 2733 w 10000"/>
                <a:gd name="connsiteY87" fmla="*/ 9510 h 10000"/>
                <a:gd name="connsiteX88" fmla="*/ 2578 w 10000"/>
                <a:gd name="connsiteY88" fmla="*/ 9412 h 10000"/>
                <a:gd name="connsiteX89" fmla="*/ 2597 w 10000"/>
                <a:gd name="connsiteY89" fmla="*/ 8745 h 10000"/>
                <a:gd name="connsiteX90" fmla="*/ 2403 w 10000"/>
                <a:gd name="connsiteY90" fmla="*/ 8608 h 10000"/>
                <a:gd name="connsiteX91" fmla="*/ 2306 w 10000"/>
                <a:gd name="connsiteY91" fmla="*/ 8529 h 10000"/>
                <a:gd name="connsiteX92" fmla="*/ 2209 w 10000"/>
                <a:gd name="connsiteY92" fmla="*/ 8471 h 10000"/>
                <a:gd name="connsiteX93" fmla="*/ 1570 w 10000"/>
                <a:gd name="connsiteY93" fmla="*/ 8686 h 10000"/>
                <a:gd name="connsiteX94" fmla="*/ 1453 w 10000"/>
                <a:gd name="connsiteY94" fmla="*/ 8569 h 10000"/>
                <a:gd name="connsiteX95" fmla="*/ 1337 w 10000"/>
                <a:gd name="connsiteY95" fmla="*/ 8451 h 10000"/>
                <a:gd name="connsiteX96" fmla="*/ 1550 w 10000"/>
                <a:gd name="connsiteY96" fmla="*/ 7804 h 10000"/>
                <a:gd name="connsiteX97" fmla="*/ 1415 w 10000"/>
                <a:gd name="connsiteY97" fmla="*/ 7627 h 10000"/>
                <a:gd name="connsiteX98" fmla="*/ 1279 w 10000"/>
                <a:gd name="connsiteY98" fmla="*/ 7412 h 10000"/>
                <a:gd name="connsiteX99" fmla="*/ 601 w 10000"/>
                <a:gd name="connsiteY99" fmla="*/ 7431 h 10000"/>
                <a:gd name="connsiteX100" fmla="*/ 523 w 10000"/>
                <a:gd name="connsiteY100" fmla="*/ 7294 h 10000"/>
                <a:gd name="connsiteX101" fmla="*/ 446 w 10000"/>
                <a:gd name="connsiteY101" fmla="*/ 7157 h 10000"/>
                <a:gd name="connsiteX102" fmla="*/ 853 w 10000"/>
                <a:gd name="connsiteY102" fmla="*/ 6608 h 10000"/>
                <a:gd name="connsiteX103" fmla="*/ 775 w 10000"/>
                <a:gd name="connsiteY103" fmla="*/ 6392 h 10000"/>
                <a:gd name="connsiteX104" fmla="*/ 756 w 10000"/>
                <a:gd name="connsiteY104" fmla="*/ 6275 h 10000"/>
                <a:gd name="connsiteX105" fmla="*/ 717 w 10000"/>
                <a:gd name="connsiteY105" fmla="*/ 6157 h 10000"/>
                <a:gd name="connsiteX106" fmla="*/ 58 w 10000"/>
                <a:gd name="connsiteY106" fmla="*/ 5941 h 10000"/>
                <a:gd name="connsiteX107" fmla="*/ 0 w 10000"/>
                <a:gd name="connsiteY107" fmla="*/ 5627 h 10000"/>
                <a:gd name="connsiteX108" fmla="*/ 581 w 10000"/>
                <a:gd name="connsiteY108" fmla="*/ 5235 h 10000"/>
                <a:gd name="connsiteX109" fmla="*/ 562 w 10000"/>
                <a:gd name="connsiteY109" fmla="*/ 5000 h 10000"/>
                <a:gd name="connsiteX110" fmla="*/ 581 w 10000"/>
                <a:gd name="connsiteY110" fmla="*/ 4765 h 10000"/>
                <a:gd name="connsiteX111" fmla="*/ 0 w 10000"/>
                <a:gd name="connsiteY111" fmla="*/ 4392 h 10000"/>
                <a:gd name="connsiteX112" fmla="*/ 19 w 10000"/>
                <a:gd name="connsiteY112" fmla="*/ 4216 h 10000"/>
                <a:gd name="connsiteX113" fmla="*/ 58 w 10000"/>
                <a:gd name="connsiteY113" fmla="*/ 4059 h 10000"/>
                <a:gd name="connsiteX114" fmla="*/ 717 w 10000"/>
                <a:gd name="connsiteY114" fmla="*/ 3863 h 10000"/>
                <a:gd name="connsiteX115" fmla="*/ 775 w 10000"/>
                <a:gd name="connsiteY115" fmla="*/ 3627 h 10000"/>
                <a:gd name="connsiteX116" fmla="*/ 814 w 10000"/>
                <a:gd name="connsiteY116" fmla="*/ 3510 h 10000"/>
                <a:gd name="connsiteX117" fmla="*/ 853 w 10000"/>
                <a:gd name="connsiteY117" fmla="*/ 3392 h 10000"/>
                <a:gd name="connsiteX118" fmla="*/ 446 w 10000"/>
                <a:gd name="connsiteY118" fmla="*/ 2863 h 10000"/>
                <a:gd name="connsiteX119" fmla="*/ 523 w 10000"/>
                <a:gd name="connsiteY119" fmla="*/ 2706 h 10000"/>
                <a:gd name="connsiteX120" fmla="*/ 601 w 10000"/>
                <a:gd name="connsiteY120" fmla="*/ 2588 h 10000"/>
                <a:gd name="connsiteX121" fmla="*/ 1279 w 10000"/>
                <a:gd name="connsiteY121" fmla="*/ 2588 h 10000"/>
                <a:gd name="connsiteX0" fmla="*/ 2209 w 10000"/>
                <a:gd name="connsiteY0" fmla="*/ 1549 h 10000"/>
                <a:gd name="connsiteX1" fmla="*/ 2597 w 10000"/>
                <a:gd name="connsiteY1" fmla="*/ 1275 h 10000"/>
                <a:gd name="connsiteX2" fmla="*/ 2578 w 10000"/>
                <a:gd name="connsiteY2" fmla="*/ 588 h 10000"/>
                <a:gd name="connsiteX3" fmla="*/ 2733 w 10000"/>
                <a:gd name="connsiteY3" fmla="*/ 510 h 10000"/>
                <a:gd name="connsiteX4" fmla="*/ 2868 w 10000"/>
                <a:gd name="connsiteY4" fmla="*/ 451 h 10000"/>
                <a:gd name="connsiteX5" fmla="*/ 3411 w 10000"/>
                <a:gd name="connsiteY5" fmla="*/ 843 h 10000"/>
                <a:gd name="connsiteX6" fmla="*/ 3624 w 10000"/>
                <a:gd name="connsiteY6" fmla="*/ 765 h 10000"/>
                <a:gd name="connsiteX7" fmla="*/ 3740 w 10000"/>
                <a:gd name="connsiteY7" fmla="*/ 725 h 10000"/>
                <a:gd name="connsiteX8" fmla="*/ 3857 w 10000"/>
                <a:gd name="connsiteY8" fmla="*/ 706 h 10000"/>
                <a:gd name="connsiteX9" fmla="*/ 4070 w 10000"/>
                <a:gd name="connsiteY9" fmla="*/ 59 h 10000"/>
                <a:gd name="connsiteX10" fmla="*/ 4380 w 10000"/>
                <a:gd name="connsiteY10" fmla="*/ 0 h 10000"/>
                <a:gd name="connsiteX11" fmla="*/ 4767 w 10000"/>
                <a:gd name="connsiteY11" fmla="*/ 569 h 10000"/>
                <a:gd name="connsiteX12" fmla="*/ 5019 w 10000"/>
                <a:gd name="connsiteY12" fmla="*/ 549 h 10000"/>
                <a:gd name="connsiteX13" fmla="*/ 5252 w 10000"/>
                <a:gd name="connsiteY13" fmla="*/ 569 h 10000"/>
                <a:gd name="connsiteX14" fmla="*/ 5640 w 10000"/>
                <a:gd name="connsiteY14" fmla="*/ 0 h 10000"/>
                <a:gd name="connsiteX15" fmla="*/ 5795 w 10000"/>
                <a:gd name="connsiteY15" fmla="*/ 20 h 10000"/>
                <a:gd name="connsiteX16" fmla="*/ 5950 w 10000"/>
                <a:gd name="connsiteY16" fmla="*/ 59 h 10000"/>
                <a:gd name="connsiteX17" fmla="*/ 6163 w 10000"/>
                <a:gd name="connsiteY17" fmla="*/ 706 h 10000"/>
                <a:gd name="connsiteX18" fmla="*/ 6395 w 10000"/>
                <a:gd name="connsiteY18" fmla="*/ 765 h 10000"/>
                <a:gd name="connsiteX19" fmla="*/ 6492 w 10000"/>
                <a:gd name="connsiteY19" fmla="*/ 804 h 10000"/>
                <a:gd name="connsiteX20" fmla="*/ 6609 w 10000"/>
                <a:gd name="connsiteY20" fmla="*/ 843 h 10000"/>
                <a:gd name="connsiteX21" fmla="*/ 7151 w 10000"/>
                <a:gd name="connsiteY21" fmla="*/ 451 h 10000"/>
                <a:gd name="connsiteX22" fmla="*/ 7287 w 10000"/>
                <a:gd name="connsiteY22" fmla="*/ 510 h 10000"/>
                <a:gd name="connsiteX23" fmla="*/ 7442 w 10000"/>
                <a:gd name="connsiteY23" fmla="*/ 588 h 10000"/>
                <a:gd name="connsiteX24" fmla="*/ 7442 w 10000"/>
                <a:gd name="connsiteY24" fmla="*/ 1275 h 10000"/>
                <a:gd name="connsiteX25" fmla="*/ 7616 w 10000"/>
                <a:gd name="connsiteY25" fmla="*/ 1412 h 10000"/>
                <a:gd name="connsiteX26" fmla="*/ 7713 w 10000"/>
                <a:gd name="connsiteY26" fmla="*/ 1471 h 10000"/>
                <a:gd name="connsiteX27" fmla="*/ 7810 w 10000"/>
                <a:gd name="connsiteY27" fmla="*/ 1549 h 10000"/>
                <a:gd name="connsiteX28" fmla="*/ 8450 w 10000"/>
                <a:gd name="connsiteY28" fmla="*/ 1333 h 10000"/>
                <a:gd name="connsiteX29" fmla="*/ 8566 w 10000"/>
                <a:gd name="connsiteY29" fmla="*/ 1451 h 10000"/>
                <a:gd name="connsiteX30" fmla="*/ 8682 w 10000"/>
                <a:gd name="connsiteY30" fmla="*/ 1569 h 10000"/>
                <a:gd name="connsiteX31" fmla="*/ 8469 w 10000"/>
                <a:gd name="connsiteY31" fmla="*/ 2216 h 10000"/>
                <a:gd name="connsiteX32" fmla="*/ 8605 w 10000"/>
                <a:gd name="connsiteY32" fmla="*/ 2392 h 10000"/>
                <a:gd name="connsiteX33" fmla="*/ 8740 w 10000"/>
                <a:gd name="connsiteY33" fmla="*/ 2588 h 10000"/>
                <a:gd name="connsiteX34" fmla="*/ 9419 w 10000"/>
                <a:gd name="connsiteY34" fmla="*/ 2588 h 10000"/>
                <a:gd name="connsiteX35" fmla="*/ 9496 w 10000"/>
                <a:gd name="connsiteY35" fmla="*/ 2706 h 10000"/>
                <a:gd name="connsiteX36" fmla="*/ 9574 w 10000"/>
                <a:gd name="connsiteY36" fmla="*/ 2863 h 10000"/>
                <a:gd name="connsiteX37" fmla="*/ 9167 w 10000"/>
                <a:gd name="connsiteY37" fmla="*/ 3392 h 10000"/>
                <a:gd name="connsiteX38" fmla="*/ 9244 w 10000"/>
                <a:gd name="connsiteY38" fmla="*/ 3627 h 10000"/>
                <a:gd name="connsiteX39" fmla="*/ 9283 w 10000"/>
                <a:gd name="connsiteY39" fmla="*/ 3745 h 10000"/>
                <a:gd name="connsiteX40" fmla="*/ 9302 w 10000"/>
                <a:gd name="connsiteY40" fmla="*/ 3863 h 10000"/>
                <a:gd name="connsiteX41" fmla="*/ 9961 w 10000"/>
                <a:gd name="connsiteY41" fmla="*/ 4059 h 10000"/>
                <a:gd name="connsiteX42" fmla="*/ 10000 w 10000"/>
                <a:gd name="connsiteY42" fmla="*/ 4392 h 10000"/>
                <a:gd name="connsiteX43" fmla="*/ 9438 w 10000"/>
                <a:gd name="connsiteY43" fmla="*/ 4765 h 10000"/>
                <a:gd name="connsiteX44" fmla="*/ 9457 w 10000"/>
                <a:gd name="connsiteY44" fmla="*/ 5000 h 10000"/>
                <a:gd name="connsiteX45" fmla="*/ 9438 w 10000"/>
                <a:gd name="connsiteY45" fmla="*/ 5235 h 10000"/>
                <a:gd name="connsiteX46" fmla="*/ 10000 w 10000"/>
                <a:gd name="connsiteY46" fmla="*/ 5627 h 10000"/>
                <a:gd name="connsiteX47" fmla="*/ 9981 w 10000"/>
                <a:gd name="connsiteY47" fmla="*/ 5784 h 10000"/>
                <a:gd name="connsiteX48" fmla="*/ 9961 w 10000"/>
                <a:gd name="connsiteY48" fmla="*/ 5941 h 10000"/>
                <a:gd name="connsiteX49" fmla="*/ 9302 w 10000"/>
                <a:gd name="connsiteY49" fmla="*/ 6157 h 10000"/>
                <a:gd name="connsiteX50" fmla="*/ 9244 w 10000"/>
                <a:gd name="connsiteY50" fmla="*/ 6392 h 10000"/>
                <a:gd name="connsiteX51" fmla="*/ 9205 w 10000"/>
                <a:gd name="connsiteY51" fmla="*/ 6490 h 10000"/>
                <a:gd name="connsiteX52" fmla="*/ 9167 w 10000"/>
                <a:gd name="connsiteY52" fmla="*/ 6608 h 10000"/>
                <a:gd name="connsiteX53" fmla="*/ 9574 w 10000"/>
                <a:gd name="connsiteY53" fmla="*/ 7157 h 10000"/>
                <a:gd name="connsiteX54" fmla="*/ 9496 w 10000"/>
                <a:gd name="connsiteY54" fmla="*/ 7294 h 10000"/>
                <a:gd name="connsiteX55" fmla="*/ 9419 w 10000"/>
                <a:gd name="connsiteY55" fmla="*/ 7431 h 10000"/>
                <a:gd name="connsiteX56" fmla="*/ 8740 w 10000"/>
                <a:gd name="connsiteY56" fmla="*/ 7412 h 10000"/>
                <a:gd name="connsiteX57" fmla="*/ 8605 w 10000"/>
                <a:gd name="connsiteY57" fmla="*/ 7627 h 10000"/>
                <a:gd name="connsiteX58" fmla="*/ 8547 w 10000"/>
                <a:gd name="connsiteY58" fmla="*/ 7706 h 10000"/>
                <a:gd name="connsiteX59" fmla="*/ 8469 w 10000"/>
                <a:gd name="connsiteY59" fmla="*/ 7804 h 10000"/>
                <a:gd name="connsiteX60" fmla="*/ 8682 w 10000"/>
                <a:gd name="connsiteY60" fmla="*/ 8451 h 10000"/>
                <a:gd name="connsiteX61" fmla="*/ 8566 w 10000"/>
                <a:gd name="connsiteY61" fmla="*/ 8569 h 10000"/>
                <a:gd name="connsiteX62" fmla="*/ 8450 w 10000"/>
                <a:gd name="connsiteY62" fmla="*/ 8686 h 10000"/>
                <a:gd name="connsiteX63" fmla="*/ 7810 w 10000"/>
                <a:gd name="connsiteY63" fmla="*/ 8471 h 10000"/>
                <a:gd name="connsiteX64" fmla="*/ 7616 w 10000"/>
                <a:gd name="connsiteY64" fmla="*/ 8608 h 10000"/>
                <a:gd name="connsiteX65" fmla="*/ 7442 w 10000"/>
                <a:gd name="connsiteY65" fmla="*/ 8745 h 10000"/>
                <a:gd name="connsiteX66" fmla="*/ 7442 w 10000"/>
                <a:gd name="connsiteY66" fmla="*/ 9412 h 10000"/>
                <a:gd name="connsiteX67" fmla="*/ 7287 w 10000"/>
                <a:gd name="connsiteY67" fmla="*/ 9510 h 10000"/>
                <a:gd name="connsiteX68" fmla="*/ 7151 w 10000"/>
                <a:gd name="connsiteY68" fmla="*/ 9569 h 10000"/>
                <a:gd name="connsiteX69" fmla="*/ 6609 w 10000"/>
                <a:gd name="connsiteY69" fmla="*/ 9157 h 10000"/>
                <a:gd name="connsiteX70" fmla="*/ 6395 w 10000"/>
                <a:gd name="connsiteY70" fmla="*/ 9235 h 10000"/>
                <a:gd name="connsiteX71" fmla="*/ 6279 w 10000"/>
                <a:gd name="connsiteY71" fmla="*/ 9275 h 10000"/>
                <a:gd name="connsiteX72" fmla="*/ 6163 w 10000"/>
                <a:gd name="connsiteY72" fmla="*/ 9314 h 10000"/>
                <a:gd name="connsiteX73" fmla="*/ 5950 w 10000"/>
                <a:gd name="connsiteY73" fmla="*/ 9961 h 10000"/>
                <a:gd name="connsiteX74" fmla="*/ 5640 w 10000"/>
                <a:gd name="connsiteY74" fmla="*/ 10000 h 10000"/>
                <a:gd name="connsiteX75" fmla="*/ 5252 w 10000"/>
                <a:gd name="connsiteY75" fmla="*/ 9451 h 10000"/>
                <a:gd name="connsiteX76" fmla="*/ 5019 w 10000"/>
                <a:gd name="connsiteY76" fmla="*/ 9451 h 10000"/>
                <a:gd name="connsiteX77" fmla="*/ 4767 w 10000"/>
                <a:gd name="connsiteY77" fmla="*/ 9451 h 10000"/>
                <a:gd name="connsiteX78" fmla="*/ 4380 w 10000"/>
                <a:gd name="connsiteY78" fmla="*/ 10000 h 10000"/>
                <a:gd name="connsiteX79" fmla="*/ 4225 w 10000"/>
                <a:gd name="connsiteY79" fmla="*/ 9980 h 10000"/>
                <a:gd name="connsiteX80" fmla="*/ 4070 w 10000"/>
                <a:gd name="connsiteY80" fmla="*/ 9961 h 10000"/>
                <a:gd name="connsiteX81" fmla="*/ 3857 w 10000"/>
                <a:gd name="connsiteY81" fmla="*/ 9314 h 10000"/>
                <a:gd name="connsiteX82" fmla="*/ 3624 w 10000"/>
                <a:gd name="connsiteY82" fmla="*/ 9235 h 10000"/>
                <a:gd name="connsiteX83" fmla="*/ 3508 w 10000"/>
                <a:gd name="connsiteY83" fmla="*/ 9216 h 10000"/>
                <a:gd name="connsiteX84" fmla="*/ 3411 w 10000"/>
                <a:gd name="connsiteY84" fmla="*/ 9157 h 10000"/>
                <a:gd name="connsiteX85" fmla="*/ 2868 w 10000"/>
                <a:gd name="connsiteY85" fmla="*/ 9569 h 10000"/>
                <a:gd name="connsiteX86" fmla="*/ 2733 w 10000"/>
                <a:gd name="connsiteY86" fmla="*/ 9510 h 10000"/>
                <a:gd name="connsiteX87" fmla="*/ 2578 w 10000"/>
                <a:gd name="connsiteY87" fmla="*/ 9412 h 10000"/>
                <a:gd name="connsiteX88" fmla="*/ 2597 w 10000"/>
                <a:gd name="connsiteY88" fmla="*/ 8745 h 10000"/>
                <a:gd name="connsiteX89" fmla="*/ 2403 w 10000"/>
                <a:gd name="connsiteY89" fmla="*/ 8608 h 10000"/>
                <a:gd name="connsiteX90" fmla="*/ 2306 w 10000"/>
                <a:gd name="connsiteY90" fmla="*/ 8529 h 10000"/>
                <a:gd name="connsiteX91" fmla="*/ 2209 w 10000"/>
                <a:gd name="connsiteY91" fmla="*/ 8471 h 10000"/>
                <a:gd name="connsiteX92" fmla="*/ 1570 w 10000"/>
                <a:gd name="connsiteY92" fmla="*/ 8686 h 10000"/>
                <a:gd name="connsiteX93" fmla="*/ 1453 w 10000"/>
                <a:gd name="connsiteY93" fmla="*/ 8569 h 10000"/>
                <a:gd name="connsiteX94" fmla="*/ 1337 w 10000"/>
                <a:gd name="connsiteY94" fmla="*/ 8451 h 10000"/>
                <a:gd name="connsiteX95" fmla="*/ 1550 w 10000"/>
                <a:gd name="connsiteY95" fmla="*/ 7804 h 10000"/>
                <a:gd name="connsiteX96" fmla="*/ 1415 w 10000"/>
                <a:gd name="connsiteY96" fmla="*/ 7627 h 10000"/>
                <a:gd name="connsiteX97" fmla="*/ 1279 w 10000"/>
                <a:gd name="connsiteY97" fmla="*/ 7412 h 10000"/>
                <a:gd name="connsiteX98" fmla="*/ 601 w 10000"/>
                <a:gd name="connsiteY98" fmla="*/ 7431 h 10000"/>
                <a:gd name="connsiteX99" fmla="*/ 523 w 10000"/>
                <a:gd name="connsiteY99" fmla="*/ 7294 h 10000"/>
                <a:gd name="connsiteX100" fmla="*/ 446 w 10000"/>
                <a:gd name="connsiteY100" fmla="*/ 7157 h 10000"/>
                <a:gd name="connsiteX101" fmla="*/ 853 w 10000"/>
                <a:gd name="connsiteY101" fmla="*/ 6608 h 10000"/>
                <a:gd name="connsiteX102" fmla="*/ 775 w 10000"/>
                <a:gd name="connsiteY102" fmla="*/ 6392 h 10000"/>
                <a:gd name="connsiteX103" fmla="*/ 756 w 10000"/>
                <a:gd name="connsiteY103" fmla="*/ 6275 h 10000"/>
                <a:gd name="connsiteX104" fmla="*/ 717 w 10000"/>
                <a:gd name="connsiteY104" fmla="*/ 6157 h 10000"/>
                <a:gd name="connsiteX105" fmla="*/ 58 w 10000"/>
                <a:gd name="connsiteY105" fmla="*/ 5941 h 10000"/>
                <a:gd name="connsiteX106" fmla="*/ 0 w 10000"/>
                <a:gd name="connsiteY106" fmla="*/ 5627 h 10000"/>
                <a:gd name="connsiteX107" fmla="*/ 581 w 10000"/>
                <a:gd name="connsiteY107" fmla="*/ 5235 h 10000"/>
                <a:gd name="connsiteX108" fmla="*/ 562 w 10000"/>
                <a:gd name="connsiteY108" fmla="*/ 5000 h 10000"/>
                <a:gd name="connsiteX109" fmla="*/ 581 w 10000"/>
                <a:gd name="connsiteY109" fmla="*/ 4765 h 10000"/>
                <a:gd name="connsiteX110" fmla="*/ 0 w 10000"/>
                <a:gd name="connsiteY110" fmla="*/ 4392 h 10000"/>
                <a:gd name="connsiteX111" fmla="*/ 19 w 10000"/>
                <a:gd name="connsiteY111" fmla="*/ 4216 h 10000"/>
                <a:gd name="connsiteX112" fmla="*/ 58 w 10000"/>
                <a:gd name="connsiteY112" fmla="*/ 4059 h 10000"/>
                <a:gd name="connsiteX113" fmla="*/ 717 w 10000"/>
                <a:gd name="connsiteY113" fmla="*/ 3863 h 10000"/>
                <a:gd name="connsiteX114" fmla="*/ 775 w 10000"/>
                <a:gd name="connsiteY114" fmla="*/ 3627 h 10000"/>
                <a:gd name="connsiteX115" fmla="*/ 814 w 10000"/>
                <a:gd name="connsiteY115" fmla="*/ 3510 h 10000"/>
                <a:gd name="connsiteX116" fmla="*/ 853 w 10000"/>
                <a:gd name="connsiteY116" fmla="*/ 3392 h 10000"/>
                <a:gd name="connsiteX117" fmla="*/ 446 w 10000"/>
                <a:gd name="connsiteY117" fmla="*/ 2863 h 10000"/>
                <a:gd name="connsiteX118" fmla="*/ 523 w 10000"/>
                <a:gd name="connsiteY118" fmla="*/ 2706 h 10000"/>
                <a:gd name="connsiteX119" fmla="*/ 601 w 10000"/>
                <a:gd name="connsiteY119" fmla="*/ 2588 h 10000"/>
                <a:gd name="connsiteX120" fmla="*/ 1279 w 10000"/>
                <a:gd name="connsiteY120" fmla="*/ 2588 h 10000"/>
                <a:gd name="connsiteX0" fmla="*/ 2597 w 10000"/>
                <a:gd name="connsiteY0" fmla="*/ 1275 h 10000"/>
                <a:gd name="connsiteX1" fmla="*/ 2578 w 10000"/>
                <a:gd name="connsiteY1" fmla="*/ 588 h 10000"/>
                <a:gd name="connsiteX2" fmla="*/ 2733 w 10000"/>
                <a:gd name="connsiteY2" fmla="*/ 510 h 10000"/>
                <a:gd name="connsiteX3" fmla="*/ 2868 w 10000"/>
                <a:gd name="connsiteY3" fmla="*/ 451 h 10000"/>
                <a:gd name="connsiteX4" fmla="*/ 3411 w 10000"/>
                <a:gd name="connsiteY4" fmla="*/ 843 h 10000"/>
                <a:gd name="connsiteX5" fmla="*/ 3624 w 10000"/>
                <a:gd name="connsiteY5" fmla="*/ 765 h 10000"/>
                <a:gd name="connsiteX6" fmla="*/ 3740 w 10000"/>
                <a:gd name="connsiteY6" fmla="*/ 725 h 10000"/>
                <a:gd name="connsiteX7" fmla="*/ 3857 w 10000"/>
                <a:gd name="connsiteY7" fmla="*/ 706 h 10000"/>
                <a:gd name="connsiteX8" fmla="*/ 4070 w 10000"/>
                <a:gd name="connsiteY8" fmla="*/ 59 h 10000"/>
                <a:gd name="connsiteX9" fmla="*/ 4380 w 10000"/>
                <a:gd name="connsiteY9" fmla="*/ 0 h 10000"/>
                <a:gd name="connsiteX10" fmla="*/ 4767 w 10000"/>
                <a:gd name="connsiteY10" fmla="*/ 569 h 10000"/>
                <a:gd name="connsiteX11" fmla="*/ 5019 w 10000"/>
                <a:gd name="connsiteY11" fmla="*/ 549 h 10000"/>
                <a:gd name="connsiteX12" fmla="*/ 5252 w 10000"/>
                <a:gd name="connsiteY12" fmla="*/ 569 h 10000"/>
                <a:gd name="connsiteX13" fmla="*/ 5640 w 10000"/>
                <a:gd name="connsiteY13" fmla="*/ 0 h 10000"/>
                <a:gd name="connsiteX14" fmla="*/ 5795 w 10000"/>
                <a:gd name="connsiteY14" fmla="*/ 20 h 10000"/>
                <a:gd name="connsiteX15" fmla="*/ 5950 w 10000"/>
                <a:gd name="connsiteY15" fmla="*/ 59 h 10000"/>
                <a:gd name="connsiteX16" fmla="*/ 6163 w 10000"/>
                <a:gd name="connsiteY16" fmla="*/ 706 h 10000"/>
                <a:gd name="connsiteX17" fmla="*/ 6395 w 10000"/>
                <a:gd name="connsiteY17" fmla="*/ 765 h 10000"/>
                <a:gd name="connsiteX18" fmla="*/ 6492 w 10000"/>
                <a:gd name="connsiteY18" fmla="*/ 804 h 10000"/>
                <a:gd name="connsiteX19" fmla="*/ 6609 w 10000"/>
                <a:gd name="connsiteY19" fmla="*/ 843 h 10000"/>
                <a:gd name="connsiteX20" fmla="*/ 7151 w 10000"/>
                <a:gd name="connsiteY20" fmla="*/ 451 h 10000"/>
                <a:gd name="connsiteX21" fmla="*/ 7287 w 10000"/>
                <a:gd name="connsiteY21" fmla="*/ 510 h 10000"/>
                <a:gd name="connsiteX22" fmla="*/ 7442 w 10000"/>
                <a:gd name="connsiteY22" fmla="*/ 588 h 10000"/>
                <a:gd name="connsiteX23" fmla="*/ 7442 w 10000"/>
                <a:gd name="connsiteY23" fmla="*/ 1275 h 10000"/>
                <a:gd name="connsiteX24" fmla="*/ 7616 w 10000"/>
                <a:gd name="connsiteY24" fmla="*/ 1412 h 10000"/>
                <a:gd name="connsiteX25" fmla="*/ 7713 w 10000"/>
                <a:gd name="connsiteY25" fmla="*/ 1471 h 10000"/>
                <a:gd name="connsiteX26" fmla="*/ 7810 w 10000"/>
                <a:gd name="connsiteY26" fmla="*/ 1549 h 10000"/>
                <a:gd name="connsiteX27" fmla="*/ 8450 w 10000"/>
                <a:gd name="connsiteY27" fmla="*/ 1333 h 10000"/>
                <a:gd name="connsiteX28" fmla="*/ 8566 w 10000"/>
                <a:gd name="connsiteY28" fmla="*/ 1451 h 10000"/>
                <a:gd name="connsiteX29" fmla="*/ 8682 w 10000"/>
                <a:gd name="connsiteY29" fmla="*/ 1569 h 10000"/>
                <a:gd name="connsiteX30" fmla="*/ 8469 w 10000"/>
                <a:gd name="connsiteY30" fmla="*/ 2216 h 10000"/>
                <a:gd name="connsiteX31" fmla="*/ 8605 w 10000"/>
                <a:gd name="connsiteY31" fmla="*/ 2392 h 10000"/>
                <a:gd name="connsiteX32" fmla="*/ 8740 w 10000"/>
                <a:gd name="connsiteY32" fmla="*/ 2588 h 10000"/>
                <a:gd name="connsiteX33" fmla="*/ 9419 w 10000"/>
                <a:gd name="connsiteY33" fmla="*/ 2588 h 10000"/>
                <a:gd name="connsiteX34" fmla="*/ 9496 w 10000"/>
                <a:gd name="connsiteY34" fmla="*/ 2706 h 10000"/>
                <a:gd name="connsiteX35" fmla="*/ 9574 w 10000"/>
                <a:gd name="connsiteY35" fmla="*/ 2863 h 10000"/>
                <a:gd name="connsiteX36" fmla="*/ 9167 w 10000"/>
                <a:gd name="connsiteY36" fmla="*/ 3392 h 10000"/>
                <a:gd name="connsiteX37" fmla="*/ 9244 w 10000"/>
                <a:gd name="connsiteY37" fmla="*/ 3627 h 10000"/>
                <a:gd name="connsiteX38" fmla="*/ 9283 w 10000"/>
                <a:gd name="connsiteY38" fmla="*/ 3745 h 10000"/>
                <a:gd name="connsiteX39" fmla="*/ 9302 w 10000"/>
                <a:gd name="connsiteY39" fmla="*/ 3863 h 10000"/>
                <a:gd name="connsiteX40" fmla="*/ 9961 w 10000"/>
                <a:gd name="connsiteY40" fmla="*/ 4059 h 10000"/>
                <a:gd name="connsiteX41" fmla="*/ 10000 w 10000"/>
                <a:gd name="connsiteY41" fmla="*/ 4392 h 10000"/>
                <a:gd name="connsiteX42" fmla="*/ 9438 w 10000"/>
                <a:gd name="connsiteY42" fmla="*/ 4765 h 10000"/>
                <a:gd name="connsiteX43" fmla="*/ 9457 w 10000"/>
                <a:gd name="connsiteY43" fmla="*/ 5000 h 10000"/>
                <a:gd name="connsiteX44" fmla="*/ 9438 w 10000"/>
                <a:gd name="connsiteY44" fmla="*/ 5235 h 10000"/>
                <a:gd name="connsiteX45" fmla="*/ 10000 w 10000"/>
                <a:gd name="connsiteY45" fmla="*/ 5627 h 10000"/>
                <a:gd name="connsiteX46" fmla="*/ 9981 w 10000"/>
                <a:gd name="connsiteY46" fmla="*/ 5784 h 10000"/>
                <a:gd name="connsiteX47" fmla="*/ 9961 w 10000"/>
                <a:gd name="connsiteY47" fmla="*/ 5941 h 10000"/>
                <a:gd name="connsiteX48" fmla="*/ 9302 w 10000"/>
                <a:gd name="connsiteY48" fmla="*/ 6157 h 10000"/>
                <a:gd name="connsiteX49" fmla="*/ 9244 w 10000"/>
                <a:gd name="connsiteY49" fmla="*/ 6392 h 10000"/>
                <a:gd name="connsiteX50" fmla="*/ 9205 w 10000"/>
                <a:gd name="connsiteY50" fmla="*/ 6490 h 10000"/>
                <a:gd name="connsiteX51" fmla="*/ 9167 w 10000"/>
                <a:gd name="connsiteY51" fmla="*/ 6608 h 10000"/>
                <a:gd name="connsiteX52" fmla="*/ 9574 w 10000"/>
                <a:gd name="connsiteY52" fmla="*/ 7157 h 10000"/>
                <a:gd name="connsiteX53" fmla="*/ 9496 w 10000"/>
                <a:gd name="connsiteY53" fmla="*/ 7294 h 10000"/>
                <a:gd name="connsiteX54" fmla="*/ 9419 w 10000"/>
                <a:gd name="connsiteY54" fmla="*/ 7431 h 10000"/>
                <a:gd name="connsiteX55" fmla="*/ 8740 w 10000"/>
                <a:gd name="connsiteY55" fmla="*/ 7412 h 10000"/>
                <a:gd name="connsiteX56" fmla="*/ 8605 w 10000"/>
                <a:gd name="connsiteY56" fmla="*/ 7627 h 10000"/>
                <a:gd name="connsiteX57" fmla="*/ 8547 w 10000"/>
                <a:gd name="connsiteY57" fmla="*/ 7706 h 10000"/>
                <a:gd name="connsiteX58" fmla="*/ 8469 w 10000"/>
                <a:gd name="connsiteY58" fmla="*/ 7804 h 10000"/>
                <a:gd name="connsiteX59" fmla="*/ 8682 w 10000"/>
                <a:gd name="connsiteY59" fmla="*/ 8451 h 10000"/>
                <a:gd name="connsiteX60" fmla="*/ 8566 w 10000"/>
                <a:gd name="connsiteY60" fmla="*/ 8569 h 10000"/>
                <a:gd name="connsiteX61" fmla="*/ 8450 w 10000"/>
                <a:gd name="connsiteY61" fmla="*/ 8686 h 10000"/>
                <a:gd name="connsiteX62" fmla="*/ 7810 w 10000"/>
                <a:gd name="connsiteY62" fmla="*/ 8471 h 10000"/>
                <a:gd name="connsiteX63" fmla="*/ 7616 w 10000"/>
                <a:gd name="connsiteY63" fmla="*/ 8608 h 10000"/>
                <a:gd name="connsiteX64" fmla="*/ 7442 w 10000"/>
                <a:gd name="connsiteY64" fmla="*/ 8745 h 10000"/>
                <a:gd name="connsiteX65" fmla="*/ 7442 w 10000"/>
                <a:gd name="connsiteY65" fmla="*/ 9412 h 10000"/>
                <a:gd name="connsiteX66" fmla="*/ 7287 w 10000"/>
                <a:gd name="connsiteY66" fmla="*/ 9510 h 10000"/>
                <a:gd name="connsiteX67" fmla="*/ 7151 w 10000"/>
                <a:gd name="connsiteY67" fmla="*/ 9569 h 10000"/>
                <a:gd name="connsiteX68" fmla="*/ 6609 w 10000"/>
                <a:gd name="connsiteY68" fmla="*/ 9157 h 10000"/>
                <a:gd name="connsiteX69" fmla="*/ 6395 w 10000"/>
                <a:gd name="connsiteY69" fmla="*/ 9235 h 10000"/>
                <a:gd name="connsiteX70" fmla="*/ 6279 w 10000"/>
                <a:gd name="connsiteY70" fmla="*/ 9275 h 10000"/>
                <a:gd name="connsiteX71" fmla="*/ 6163 w 10000"/>
                <a:gd name="connsiteY71" fmla="*/ 9314 h 10000"/>
                <a:gd name="connsiteX72" fmla="*/ 5950 w 10000"/>
                <a:gd name="connsiteY72" fmla="*/ 9961 h 10000"/>
                <a:gd name="connsiteX73" fmla="*/ 5640 w 10000"/>
                <a:gd name="connsiteY73" fmla="*/ 10000 h 10000"/>
                <a:gd name="connsiteX74" fmla="*/ 5252 w 10000"/>
                <a:gd name="connsiteY74" fmla="*/ 9451 h 10000"/>
                <a:gd name="connsiteX75" fmla="*/ 5019 w 10000"/>
                <a:gd name="connsiteY75" fmla="*/ 9451 h 10000"/>
                <a:gd name="connsiteX76" fmla="*/ 4767 w 10000"/>
                <a:gd name="connsiteY76" fmla="*/ 9451 h 10000"/>
                <a:gd name="connsiteX77" fmla="*/ 4380 w 10000"/>
                <a:gd name="connsiteY77" fmla="*/ 10000 h 10000"/>
                <a:gd name="connsiteX78" fmla="*/ 4225 w 10000"/>
                <a:gd name="connsiteY78" fmla="*/ 9980 h 10000"/>
                <a:gd name="connsiteX79" fmla="*/ 4070 w 10000"/>
                <a:gd name="connsiteY79" fmla="*/ 9961 h 10000"/>
                <a:gd name="connsiteX80" fmla="*/ 3857 w 10000"/>
                <a:gd name="connsiteY80" fmla="*/ 9314 h 10000"/>
                <a:gd name="connsiteX81" fmla="*/ 3624 w 10000"/>
                <a:gd name="connsiteY81" fmla="*/ 9235 h 10000"/>
                <a:gd name="connsiteX82" fmla="*/ 3508 w 10000"/>
                <a:gd name="connsiteY82" fmla="*/ 9216 h 10000"/>
                <a:gd name="connsiteX83" fmla="*/ 3411 w 10000"/>
                <a:gd name="connsiteY83" fmla="*/ 9157 h 10000"/>
                <a:gd name="connsiteX84" fmla="*/ 2868 w 10000"/>
                <a:gd name="connsiteY84" fmla="*/ 9569 h 10000"/>
                <a:gd name="connsiteX85" fmla="*/ 2733 w 10000"/>
                <a:gd name="connsiteY85" fmla="*/ 9510 h 10000"/>
                <a:gd name="connsiteX86" fmla="*/ 2578 w 10000"/>
                <a:gd name="connsiteY86" fmla="*/ 9412 h 10000"/>
                <a:gd name="connsiteX87" fmla="*/ 2597 w 10000"/>
                <a:gd name="connsiteY87" fmla="*/ 8745 h 10000"/>
                <a:gd name="connsiteX88" fmla="*/ 2403 w 10000"/>
                <a:gd name="connsiteY88" fmla="*/ 8608 h 10000"/>
                <a:gd name="connsiteX89" fmla="*/ 2306 w 10000"/>
                <a:gd name="connsiteY89" fmla="*/ 8529 h 10000"/>
                <a:gd name="connsiteX90" fmla="*/ 2209 w 10000"/>
                <a:gd name="connsiteY90" fmla="*/ 8471 h 10000"/>
                <a:gd name="connsiteX91" fmla="*/ 1570 w 10000"/>
                <a:gd name="connsiteY91" fmla="*/ 8686 h 10000"/>
                <a:gd name="connsiteX92" fmla="*/ 1453 w 10000"/>
                <a:gd name="connsiteY92" fmla="*/ 8569 h 10000"/>
                <a:gd name="connsiteX93" fmla="*/ 1337 w 10000"/>
                <a:gd name="connsiteY93" fmla="*/ 8451 h 10000"/>
                <a:gd name="connsiteX94" fmla="*/ 1550 w 10000"/>
                <a:gd name="connsiteY94" fmla="*/ 7804 h 10000"/>
                <a:gd name="connsiteX95" fmla="*/ 1415 w 10000"/>
                <a:gd name="connsiteY95" fmla="*/ 7627 h 10000"/>
                <a:gd name="connsiteX96" fmla="*/ 1279 w 10000"/>
                <a:gd name="connsiteY96" fmla="*/ 7412 h 10000"/>
                <a:gd name="connsiteX97" fmla="*/ 601 w 10000"/>
                <a:gd name="connsiteY97" fmla="*/ 7431 h 10000"/>
                <a:gd name="connsiteX98" fmla="*/ 523 w 10000"/>
                <a:gd name="connsiteY98" fmla="*/ 7294 h 10000"/>
                <a:gd name="connsiteX99" fmla="*/ 446 w 10000"/>
                <a:gd name="connsiteY99" fmla="*/ 7157 h 10000"/>
                <a:gd name="connsiteX100" fmla="*/ 853 w 10000"/>
                <a:gd name="connsiteY100" fmla="*/ 6608 h 10000"/>
                <a:gd name="connsiteX101" fmla="*/ 775 w 10000"/>
                <a:gd name="connsiteY101" fmla="*/ 6392 h 10000"/>
                <a:gd name="connsiteX102" fmla="*/ 756 w 10000"/>
                <a:gd name="connsiteY102" fmla="*/ 6275 h 10000"/>
                <a:gd name="connsiteX103" fmla="*/ 717 w 10000"/>
                <a:gd name="connsiteY103" fmla="*/ 6157 h 10000"/>
                <a:gd name="connsiteX104" fmla="*/ 58 w 10000"/>
                <a:gd name="connsiteY104" fmla="*/ 5941 h 10000"/>
                <a:gd name="connsiteX105" fmla="*/ 0 w 10000"/>
                <a:gd name="connsiteY105" fmla="*/ 5627 h 10000"/>
                <a:gd name="connsiteX106" fmla="*/ 581 w 10000"/>
                <a:gd name="connsiteY106" fmla="*/ 5235 h 10000"/>
                <a:gd name="connsiteX107" fmla="*/ 562 w 10000"/>
                <a:gd name="connsiteY107" fmla="*/ 5000 h 10000"/>
                <a:gd name="connsiteX108" fmla="*/ 581 w 10000"/>
                <a:gd name="connsiteY108" fmla="*/ 4765 h 10000"/>
                <a:gd name="connsiteX109" fmla="*/ 0 w 10000"/>
                <a:gd name="connsiteY109" fmla="*/ 4392 h 10000"/>
                <a:gd name="connsiteX110" fmla="*/ 19 w 10000"/>
                <a:gd name="connsiteY110" fmla="*/ 4216 h 10000"/>
                <a:gd name="connsiteX111" fmla="*/ 58 w 10000"/>
                <a:gd name="connsiteY111" fmla="*/ 4059 h 10000"/>
                <a:gd name="connsiteX112" fmla="*/ 717 w 10000"/>
                <a:gd name="connsiteY112" fmla="*/ 3863 h 10000"/>
                <a:gd name="connsiteX113" fmla="*/ 775 w 10000"/>
                <a:gd name="connsiteY113" fmla="*/ 3627 h 10000"/>
                <a:gd name="connsiteX114" fmla="*/ 814 w 10000"/>
                <a:gd name="connsiteY114" fmla="*/ 3510 h 10000"/>
                <a:gd name="connsiteX115" fmla="*/ 853 w 10000"/>
                <a:gd name="connsiteY115" fmla="*/ 3392 h 10000"/>
                <a:gd name="connsiteX116" fmla="*/ 446 w 10000"/>
                <a:gd name="connsiteY116" fmla="*/ 2863 h 10000"/>
                <a:gd name="connsiteX117" fmla="*/ 523 w 10000"/>
                <a:gd name="connsiteY117" fmla="*/ 2706 h 10000"/>
                <a:gd name="connsiteX118" fmla="*/ 601 w 10000"/>
                <a:gd name="connsiteY118" fmla="*/ 2588 h 10000"/>
                <a:gd name="connsiteX119" fmla="*/ 1279 w 10000"/>
                <a:gd name="connsiteY119" fmla="*/ 2588 h 10000"/>
                <a:gd name="connsiteX0" fmla="*/ 2578 w 10000"/>
                <a:gd name="connsiteY0" fmla="*/ 588 h 10000"/>
                <a:gd name="connsiteX1" fmla="*/ 2733 w 10000"/>
                <a:gd name="connsiteY1" fmla="*/ 510 h 10000"/>
                <a:gd name="connsiteX2" fmla="*/ 2868 w 10000"/>
                <a:gd name="connsiteY2" fmla="*/ 451 h 10000"/>
                <a:gd name="connsiteX3" fmla="*/ 3411 w 10000"/>
                <a:gd name="connsiteY3" fmla="*/ 843 h 10000"/>
                <a:gd name="connsiteX4" fmla="*/ 3624 w 10000"/>
                <a:gd name="connsiteY4" fmla="*/ 765 h 10000"/>
                <a:gd name="connsiteX5" fmla="*/ 3740 w 10000"/>
                <a:gd name="connsiteY5" fmla="*/ 725 h 10000"/>
                <a:gd name="connsiteX6" fmla="*/ 3857 w 10000"/>
                <a:gd name="connsiteY6" fmla="*/ 706 h 10000"/>
                <a:gd name="connsiteX7" fmla="*/ 4070 w 10000"/>
                <a:gd name="connsiteY7" fmla="*/ 59 h 10000"/>
                <a:gd name="connsiteX8" fmla="*/ 4380 w 10000"/>
                <a:gd name="connsiteY8" fmla="*/ 0 h 10000"/>
                <a:gd name="connsiteX9" fmla="*/ 4767 w 10000"/>
                <a:gd name="connsiteY9" fmla="*/ 569 h 10000"/>
                <a:gd name="connsiteX10" fmla="*/ 5019 w 10000"/>
                <a:gd name="connsiteY10" fmla="*/ 549 h 10000"/>
                <a:gd name="connsiteX11" fmla="*/ 5252 w 10000"/>
                <a:gd name="connsiteY11" fmla="*/ 569 h 10000"/>
                <a:gd name="connsiteX12" fmla="*/ 5640 w 10000"/>
                <a:gd name="connsiteY12" fmla="*/ 0 h 10000"/>
                <a:gd name="connsiteX13" fmla="*/ 5795 w 10000"/>
                <a:gd name="connsiteY13" fmla="*/ 20 h 10000"/>
                <a:gd name="connsiteX14" fmla="*/ 5950 w 10000"/>
                <a:gd name="connsiteY14" fmla="*/ 59 h 10000"/>
                <a:gd name="connsiteX15" fmla="*/ 6163 w 10000"/>
                <a:gd name="connsiteY15" fmla="*/ 706 h 10000"/>
                <a:gd name="connsiteX16" fmla="*/ 6395 w 10000"/>
                <a:gd name="connsiteY16" fmla="*/ 765 h 10000"/>
                <a:gd name="connsiteX17" fmla="*/ 6492 w 10000"/>
                <a:gd name="connsiteY17" fmla="*/ 804 h 10000"/>
                <a:gd name="connsiteX18" fmla="*/ 6609 w 10000"/>
                <a:gd name="connsiteY18" fmla="*/ 843 h 10000"/>
                <a:gd name="connsiteX19" fmla="*/ 7151 w 10000"/>
                <a:gd name="connsiteY19" fmla="*/ 451 h 10000"/>
                <a:gd name="connsiteX20" fmla="*/ 7287 w 10000"/>
                <a:gd name="connsiteY20" fmla="*/ 510 h 10000"/>
                <a:gd name="connsiteX21" fmla="*/ 7442 w 10000"/>
                <a:gd name="connsiteY21" fmla="*/ 588 h 10000"/>
                <a:gd name="connsiteX22" fmla="*/ 7442 w 10000"/>
                <a:gd name="connsiteY22" fmla="*/ 1275 h 10000"/>
                <a:gd name="connsiteX23" fmla="*/ 7616 w 10000"/>
                <a:gd name="connsiteY23" fmla="*/ 1412 h 10000"/>
                <a:gd name="connsiteX24" fmla="*/ 7713 w 10000"/>
                <a:gd name="connsiteY24" fmla="*/ 1471 h 10000"/>
                <a:gd name="connsiteX25" fmla="*/ 7810 w 10000"/>
                <a:gd name="connsiteY25" fmla="*/ 1549 h 10000"/>
                <a:gd name="connsiteX26" fmla="*/ 8450 w 10000"/>
                <a:gd name="connsiteY26" fmla="*/ 1333 h 10000"/>
                <a:gd name="connsiteX27" fmla="*/ 8566 w 10000"/>
                <a:gd name="connsiteY27" fmla="*/ 1451 h 10000"/>
                <a:gd name="connsiteX28" fmla="*/ 8682 w 10000"/>
                <a:gd name="connsiteY28" fmla="*/ 1569 h 10000"/>
                <a:gd name="connsiteX29" fmla="*/ 8469 w 10000"/>
                <a:gd name="connsiteY29" fmla="*/ 2216 h 10000"/>
                <a:gd name="connsiteX30" fmla="*/ 8605 w 10000"/>
                <a:gd name="connsiteY30" fmla="*/ 2392 h 10000"/>
                <a:gd name="connsiteX31" fmla="*/ 8740 w 10000"/>
                <a:gd name="connsiteY31" fmla="*/ 2588 h 10000"/>
                <a:gd name="connsiteX32" fmla="*/ 9419 w 10000"/>
                <a:gd name="connsiteY32" fmla="*/ 2588 h 10000"/>
                <a:gd name="connsiteX33" fmla="*/ 9496 w 10000"/>
                <a:gd name="connsiteY33" fmla="*/ 2706 h 10000"/>
                <a:gd name="connsiteX34" fmla="*/ 9574 w 10000"/>
                <a:gd name="connsiteY34" fmla="*/ 2863 h 10000"/>
                <a:gd name="connsiteX35" fmla="*/ 9167 w 10000"/>
                <a:gd name="connsiteY35" fmla="*/ 3392 h 10000"/>
                <a:gd name="connsiteX36" fmla="*/ 9244 w 10000"/>
                <a:gd name="connsiteY36" fmla="*/ 3627 h 10000"/>
                <a:gd name="connsiteX37" fmla="*/ 9283 w 10000"/>
                <a:gd name="connsiteY37" fmla="*/ 3745 h 10000"/>
                <a:gd name="connsiteX38" fmla="*/ 9302 w 10000"/>
                <a:gd name="connsiteY38" fmla="*/ 3863 h 10000"/>
                <a:gd name="connsiteX39" fmla="*/ 9961 w 10000"/>
                <a:gd name="connsiteY39" fmla="*/ 4059 h 10000"/>
                <a:gd name="connsiteX40" fmla="*/ 10000 w 10000"/>
                <a:gd name="connsiteY40" fmla="*/ 4392 h 10000"/>
                <a:gd name="connsiteX41" fmla="*/ 9438 w 10000"/>
                <a:gd name="connsiteY41" fmla="*/ 4765 h 10000"/>
                <a:gd name="connsiteX42" fmla="*/ 9457 w 10000"/>
                <a:gd name="connsiteY42" fmla="*/ 5000 h 10000"/>
                <a:gd name="connsiteX43" fmla="*/ 9438 w 10000"/>
                <a:gd name="connsiteY43" fmla="*/ 5235 h 10000"/>
                <a:gd name="connsiteX44" fmla="*/ 10000 w 10000"/>
                <a:gd name="connsiteY44" fmla="*/ 5627 h 10000"/>
                <a:gd name="connsiteX45" fmla="*/ 9981 w 10000"/>
                <a:gd name="connsiteY45" fmla="*/ 5784 h 10000"/>
                <a:gd name="connsiteX46" fmla="*/ 9961 w 10000"/>
                <a:gd name="connsiteY46" fmla="*/ 5941 h 10000"/>
                <a:gd name="connsiteX47" fmla="*/ 9302 w 10000"/>
                <a:gd name="connsiteY47" fmla="*/ 6157 h 10000"/>
                <a:gd name="connsiteX48" fmla="*/ 9244 w 10000"/>
                <a:gd name="connsiteY48" fmla="*/ 6392 h 10000"/>
                <a:gd name="connsiteX49" fmla="*/ 9205 w 10000"/>
                <a:gd name="connsiteY49" fmla="*/ 6490 h 10000"/>
                <a:gd name="connsiteX50" fmla="*/ 9167 w 10000"/>
                <a:gd name="connsiteY50" fmla="*/ 6608 h 10000"/>
                <a:gd name="connsiteX51" fmla="*/ 9574 w 10000"/>
                <a:gd name="connsiteY51" fmla="*/ 7157 h 10000"/>
                <a:gd name="connsiteX52" fmla="*/ 9496 w 10000"/>
                <a:gd name="connsiteY52" fmla="*/ 7294 h 10000"/>
                <a:gd name="connsiteX53" fmla="*/ 9419 w 10000"/>
                <a:gd name="connsiteY53" fmla="*/ 7431 h 10000"/>
                <a:gd name="connsiteX54" fmla="*/ 8740 w 10000"/>
                <a:gd name="connsiteY54" fmla="*/ 7412 h 10000"/>
                <a:gd name="connsiteX55" fmla="*/ 8605 w 10000"/>
                <a:gd name="connsiteY55" fmla="*/ 7627 h 10000"/>
                <a:gd name="connsiteX56" fmla="*/ 8547 w 10000"/>
                <a:gd name="connsiteY56" fmla="*/ 7706 h 10000"/>
                <a:gd name="connsiteX57" fmla="*/ 8469 w 10000"/>
                <a:gd name="connsiteY57" fmla="*/ 7804 h 10000"/>
                <a:gd name="connsiteX58" fmla="*/ 8682 w 10000"/>
                <a:gd name="connsiteY58" fmla="*/ 8451 h 10000"/>
                <a:gd name="connsiteX59" fmla="*/ 8566 w 10000"/>
                <a:gd name="connsiteY59" fmla="*/ 8569 h 10000"/>
                <a:gd name="connsiteX60" fmla="*/ 8450 w 10000"/>
                <a:gd name="connsiteY60" fmla="*/ 8686 h 10000"/>
                <a:gd name="connsiteX61" fmla="*/ 7810 w 10000"/>
                <a:gd name="connsiteY61" fmla="*/ 8471 h 10000"/>
                <a:gd name="connsiteX62" fmla="*/ 7616 w 10000"/>
                <a:gd name="connsiteY62" fmla="*/ 8608 h 10000"/>
                <a:gd name="connsiteX63" fmla="*/ 7442 w 10000"/>
                <a:gd name="connsiteY63" fmla="*/ 8745 h 10000"/>
                <a:gd name="connsiteX64" fmla="*/ 7442 w 10000"/>
                <a:gd name="connsiteY64" fmla="*/ 9412 h 10000"/>
                <a:gd name="connsiteX65" fmla="*/ 7287 w 10000"/>
                <a:gd name="connsiteY65" fmla="*/ 9510 h 10000"/>
                <a:gd name="connsiteX66" fmla="*/ 7151 w 10000"/>
                <a:gd name="connsiteY66" fmla="*/ 9569 h 10000"/>
                <a:gd name="connsiteX67" fmla="*/ 6609 w 10000"/>
                <a:gd name="connsiteY67" fmla="*/ 9157 h 10000"/>
                <a:gd name="connsiteX68" fmla="*/ 6395 w 10000"/>
                <a:gd name="connsiteY68" fmla="*/ 9235 h 10000"/>
                <a:gd name="connsiteX69" fmla="*/ 6279 w 10000"/>
                <a:gd name="connsiteY69" fmla="*/ 9275 h 10000"/>
                <a:gd name="connsiteX70" fmla="*/ 6163 w 10000"/>
                <a:gd name="connsiteY70" fmla="*/ 9314 h 10000"/>
                <a:gd name="connsiteX71" fmla="*/ 5950 w 10000"/>
                <a:gd name="connsiteY71" fmla="*/ 9961 h 10000"/>
                <a:gd name="connsiteX72" fmla="*/ 5640 w 10000"/>
                <a:gd name="connsiteY72" fmla="*/ 10000 h 10000"/>
                <a:gd name="connsiteX73" fmla="*/ 5252 w 10000"/>
                <a:gd name="connsiteY73" fmla="*/ 9451 h 10000"/>
                <a:gd name="connsiteX74" fmla="*/ 5019 w 10000"/>
                <a:gd name="connsiteY74" fmla="*/ 9451 h 10000"/>
                <a:gd name="connsiteX75" fmla="*/ 4767 w 10000"/>
                <a:gd name="connsiteY75" fmla="*/ 9451 h 10000"/>
                <a:gd name="connsiteX76" fmla="*/ 4380 w 10000"/>
                <a:gd name="connsiteY76" fmla="*/ 10000 h 10000"/>
                <a:gd name="connsiteX77" fmla="*/ 4225 w 10000"/>
                <a:gd name="connsiteY77" fmla="*/ 9980 h 10000"/>
                <a:gd name="connsiteX78" fmla="*/ 4070 w 10000"/>
                <a:gd name="connsiteY78" fmla="*/ 9961 h 10000"/>
                <a:gd name="connsiteX79" fmla="*/ 3857 w 10000"/>
                <a:gd name="connsiteY79" fmla="*/ 9314 h 10000"/>
                <a:gd name="connsiteX80" fmla="*/ 3624 w 10000"/>
                <a:gd name="connsiteY80" fmla="*/ 9235 h 10000"/>
                <a:gd name="connsiteX81" fmla="*/ 3508 w 10000"/>
                <a:gd name="connsiteY81" fmla="*/ 9216 h 10000"/>
                <a:gd name="connsiteX82" fmla="*/ 3411 w 10000"/>
                <a:gd name="connsiteY82" fmla="*/ 9157 h 10000"/>
                <a:gd name="connsiteX83" fmla="*/ 2868 w 10000"/>
                <a:gd name="connsiteY83" fmla="*/ 9569 h 10000"/>
                <a:gd name="connsiteX84" fmla="*/ 2733 w 10000"/>
                <a:gd name="connsiteY84" fmla="*/ 9510 h 10000"/>
                <a:gd name="connsiteX85" fmla="*/ 2578 w 10000"/>
                <a:gd name="connsiteY85" fmla="*/ 9412 h 10000"/>
                <a:gd name="connsiteX86" fmla="*/ 2597 w 10000"/>
                <a:gd name="connsiteY86" fmla="*/ 8745 h 10000"/>
                <a:gd name="connsiteX87" fmla="*/ 2403 w 10000"/>
                <a:gd name="connsiteY87" fmla="*/ 8608 h 10000"/>
                <a:gd name="connsiteX88" fmla="*/ 2306 w 10000"/>
                <a:gd name="connsiteY88" fmla="*/ 8529 h 10000"/>
                <a:gd name="connsiteX89" fmla="*/ 2209 w 10000"/>
                <a:gd name="connsiteY89" fmla="*/ 8471 h 10000"/>
                <a:gd name="connsiteX90" fmla="*/ 1570 w 10000"/>
                <a:gd name="connsiteY90" fmla="*/ 8686 h 10000"/>
                <a:gd name="connsiteX91" fmla="*/ 1453 w 10000"/>
                <a:gd name="connsiteY91" fmla="*/ 8569 h 10000"/>
                <a:gd name="connsiteX92" fmla="*/ 1337 w 10000"/>
                <a:gd name="connsiteY92" fmla="*/ 8451 h 10000"/>
                <a:gd name="connsiteX93" fmla="*/ 1550 w 10000"/>
                <a:gd name="connsiteY93" fmla="*/ 7804 h 10000"/>
                <a:gd name="connsiteX94" fmla="*/ 1415 w 10000"/>
                <a:gd name="connsiteY94" fmla="*/ 7627 h 10000"/>
                <a:gd name="connsiteX95" fmla="*/ 1279 w 10000"/>
                <a:gd name="connsiteY95" fmla="*/ 7412 h 10000"/>
                <a:gd name="connsiteX96" fmla="*/ 601 w 10000"/>
                <a:gd name="connsiteY96" fmla="*/ 7431 h 10000"/>
                <a:gd name="connsiteX97" fmla="*/ 523 w 10000"/>
                <a:gd name="connsiteY97" fmla="*/ 7294 h 10000"/>
                <a:gd name="connsiteX98" fmla="*/ 446 w 10000"/>
                <a:gd name="connsiteY98" fmla="*/ 7157 h 10000"/>
                <a:gd name="connsiteX99" fmla="*/ 853 w 10000"/>
                <a:gd name="connsiteY99" fmla="*/ 6608 h 10000"/>
                <a:gd name="connsiteX100" fmla="*/ 775 w 10000"/>
                <a:gd name="connsiteY100" fmla="*/ 6392 h 10000"/>
                <a:gd name="connsiteX101" fmla="*/ 756 w 10000"/>
                <a:gd name="connsiteY101" fmla="*/ 6275 h 10000"/>
                <a:gd name="connsiteX102" fmla="*/ 717 w 10000"/>
                <a:gd name="connsiteY102" fmla="*/ 6157 h 10000"/>
                <a:gd name="connsiteX103" fmla="*/ 58 w 10000"/>
                <a:gd name="connsiteY103" fmla="*/ 5941 h 10000"/>
                <a:gd name="connsiteX104" fmla="*/ 0 w 10000"/>
                <a:gd name="connsiteY104" fmla="*/ 5627 h 10000"/>
                <a:gd name="connsiteX105" fmla="*/ 581 w 10000"/>
                <a:gd name="connsiteY105" fmla="*/ 5235 h 10000"/>
                <a:gd name="connsiteX106" fmla="*/ 562 w 10000"/>
                <a:gd name="connsiteY106" fmla="*/ 5000 h 10000"/>
                <a:gd name="connsiteX107" fmla="*/ 581 w 10000"/>
                <a:gd name="connsiteY107" fmla="*/ 4765 h 10000"/>
                <a:gd name="connsiteX108" fmla="*/ 0 w 10000"/>
                <a:gd name="connsiteY108" fmla="*/ 4392 h 10000"/>
                <a:gd name="connsiteX109" fmla="*/ 19 w 10000"/>
                <a:gd name="connsiteY109" fmla="*/ 4216 h 10000"/>
                <a:gd name="connsiteX110" fmla="*/ 58 w 10000"/>
                <a:gd name="connsiteY110" fmla="*/ 4059 h 10000"/>
                <a:gd name="connsiteX111" fmla="*/ 717 w 10000"/>
                <a:gd name="connsiteY111" fmla="*/ 3863 h 10000"/>
                <a:gd name="connsiteX112" fmla="*/ 775 w 10000"/>
                <a:gd name="connsiteY112" fmla="*/ 3627 h 10000"/>
                <a:gd name="connsiteX113" fmla="*/ 814 w 10000"/>
                <a:gd name="connsiteY113" fmla="*/ 3510 h 10000"/>
                <a:gd name="connsiteX114" fmla="*/ 853 w 10000"/>
                <a:gd name="connsiteY114" fmla="*/ 3392 h 10000"/>
                <a:gd name="connsiteX115" fmla="*/ 446 w 10000"/>
                <a:gd name="connsiteY115" fmla="*/ 2863 h 10000"/>
                <a:gd name="connsiteX116" fmla="*/ 523 w 10000"/>
                <a:gd name="connsiteY116" fmla="*/ 2706 h 10000"/>
                <a:gd name="connsiteX117" fmla="*/ 601 w 10000"/>
                <a:gd name="connsiteY117" fmla="*/ 2588 h 10000"/>
                <a:gd name="connsiteX118" fmla="*/ 1279 w 10000"/>
                <a:gd name="connsiteY118" fmla="*/ 2588 h 10000"/>
                <a:gd name="connsiteX0" fmla="*/ 2578 w 10000"/>
                <a:gd name="connsiteY0" fmla="*/ 588 h 10000"/>
                <a:gd name="connsiteX1" fmla="*/ 2868 w 10000"/>
                <a:gd name="connsiteY1" fmla="*/ 451 h 10000"/>
                <a:gd name="connsiteX2" fmla="*/ 3411 w 10000"/>
                <a:gd name="connsiteY2" fmla="*/ 843 h 10000"/>
                <a:gd name="connsiteX3" fmla="*/ 3624 w 10000"/>
                <a:gd name="connsiteY3" fmla="*/ 765 h 10000"/>
                <a:gd name="connsiteX4" fmla="*/ 3740 w 10000"/>
                <a:gd name="connsiteY4" fmla="*/ 725 h 10000"/>
                <a:gd name="connsiteX5" fmla="*/ 3857 w 10000"/>
                <a:gd name="connsiteY5" fmla="*/ 706 h 10000"/>
                <a:gd name="connsiteX6" fmla="*/ 4070 w 10000"/>
                <a:gd name="connsiteY6" fmla="*/ 59 h 10000"/>
                <a:gd name="connsiteX7" fmla="*/ 4380 w 10000"/>
                <a:gd name="connsiteY7" fmla="*/ 0 h 10000"/>
                <a:gd name="connsiteX8" fmla="*/ 4767 w 10000"/>
                <a:gd name="connsiteY8" fmla="*/ 569 h 10000"/>
                <a:gd name="connsiteX9" fmla="*/ 5019 w 10000"/>
                <a:gd name="connsiteY9" fmla="*/ 549 h 10000"/>
                <a:gd name="connsiteX10" fmla="*/ 5252 w 10000"/>
                <a:gd name="connsiteY10" fmla="*/ 569 h 10000"/>
                <a:gd name="connsiteX11" fmla="*/ 5640 w 10000"/>
                <a:gd name="connsiteY11" fmla="*/ 0 h 10000"/>
                <a:gd name="connsiteX12" fmla="*/ 5795 w 10000"/>
                <a:gd name="connsiteY12" fmla="*/ 20 h 10000"/>
                <a:gd name="connsiteX13" fmla="*/ 5950 w 10000"/>
                <a:gd name="connsiteY13" fmla="*/ 59 h 10000"/>
                <a:gd name="connsiteX14" fmla="*/ 6163 w 10000"/>
                <a:gd name="connsiteY14" fmla="*/ 706 h 10000"/>
                <a:gd name="connsiteX15" fmla="*/ 6395 w 10000"/>
                <a:gd name="connsiteY15" fmla="*/ 765 h 10000"/>
                <a:gd name="connsiteX16" fmla="*/ 6492 w 10000"/>
                <a:gd name="connsiteY16" fmla="*/ 804 h 10000"/>
                <a:gd name="connsiteX17" fmla="*/ 6609 w 10000"/>
                <a:gd name="connsiteY17" fmla="*/ 843 h 10000"/>
                <a:gd name="connsiteX18" fmla="*/ 7151 w 10000"/>
                <a:gd name="connsiteY18" fmla="*/ 451 h 10000"/>
                <a:gd name="connsiteX19" fmla="*/ 7287 w 10000"/>
                <a:gd name="connsiteY19" fmla="*/ 510 h 10000"/>
                <a:gd name="connsiteX20" fmla="*/ 7442 w 10000"/>
                <a:gd name="connsiteY20" fmla="*/ 588 h 10000"/>
                <a:gd name="connsiteX21" fmla="*/ 7442 w 10000"/>
                <a:gd name="connsiteY21" fmla="*/ 1275 h 10000"/>
                <a:gd name="connsiteX22" fmla="*/ 7616 w 10000"/>
                <a:gd name="connsiteY22" fmla="*/ 1412 h 10000"/>
                <a:gd name="connsiteX23" fmla="*/ 7713 w 10000"/>
                <a:gd name="connsiteY23" fmla="*/ 1471 h 10000"/>
                <a:gd name="connsiteX24" fmla="*/ 7810 w 10000"/>
                <a:gd name="connsiteY24" fmla="*/ 1549 h 10000"/>
                <a:gd name="connsiteX25" fmla="*/ 8450 w 10000"/>
                <a:gd name="connsiteY25" fmla="*/ 1333 h 10000"/>
                <a:gd name="connsiteX26" fmla="*/ 8566 w 10000"/>
                <a:gd name="connsiteY26" fmla="*/ 1451 h 10000"/>
                <a:gd name="connsiteX27" fmla="*/ 8682 w 10000"/>
                <a:gd name="connsiteY27" fmla="*/ 1569 h 10000"/>
                <a:gd name="connsiteX28" fmla="*/ 8469 w 10000"/>
                <a:gd name="connsiteY28" fmla="*/ 2216 h 10000"/>
                <a:gd name="connsiteX29" fmla="*/ 8605 w 10000"/>
                <a:gd name="connsiteY29" fmla="*/ 2392 h 10000"/>
                <a:gd name="connsiteX30" fmla="*/ 8740 w 10000"/>
                <a:gd name="connsiteY30" fmla="*/ 2588 h 10000"/>
                <a:gd name="connsiteX31" fmla="*/ 9419 w 10000"/>
                <a:gd name="connsiteY31" fmla="*/ 2588 h 10000"/>
                <a:gd name="connsiteX32" fmla="*/ 9496 w 10000"/>
                <a:gd name="connsiteY32" fmla="*/ 2706 h 10000"/>
                <a:gd name="connsiteX33" fmla="*/ 9574 w 10000"/>
                <a:gd name="connsiteY33" fmla="*/ 2863 h 10000"/>
                <a:gd name="connsiteX34" fmla="*/ 9167 w 10000"/>
                <a:gd name="connsiteY34" fmla="*/ 3392 h 10000"/>
                <a:gd name="connsiteX35" fmla="*/ 9244 w 10000"/>
                <a:gd name="connsiteY35" fmla="*/ 3627 h 10000"/>
                <a:gd name="connsiteX36" fmla="*/ 9283 w 10000"/>
                <a:gd name="connsiteY36" fmla="*/ 3745 h 10000"/>
                <a:gd name="connsiteX37" fmla="*/ 9302 w 10000"/>
                <a:gd name="connsiteY37" fmla="*/ 3863 h 10000"/>
                <a:gd name="connsiteX38" fmla="*/ 9961 w 10000"/>
                <a:gd name="connsiteY38" fmla="*/ 4059 h 10000"/>
                <a:gd name="connsiteX39" fmla="*/ 10000 w 10000"/>
                <a:gd name="connsiteY39" fmla="*/ 4392 h 10000"/>
                <a:gd name="connsiteX40" fmla="*/ 9438 w 10000"/>
                <a:gd name="connsiteY40" fmla="*/ 4765 h 10000"/>
                <a:gd name="connsiteX41" fmla="*/ 9457 w 10000"/>
                <a:gd name="connsiteY41" fmla="*/ 5000 h 10000"/>
                <a:gd name="connsiteX42" fmla="*/ 9438 w 10000"/>
                <a:gd name="connsiteY42" fmla="*/ 5235 h 10000"/>
                <a:gd name="connsiteX43" fmla="*/ 10000 w 10000"/>
                <a:gd name="connsiteY43" fmla="*/ 5627 h 10000"/>
                <a:gd name="connsiteX44" fmla="*/ 9981 w 10000"/>
                <a:gd name="connsiteY44" fmla="*/ 5784 h 10000"/>
                <a:gd name="connsiteX45" fmla="*/ 9961 w 10000"/>
                <a:gd name="connsiteY45" fmla="*/ 5941 h 10000"/>
                <a:gd name="connsiteX46" fmla="*/ 9302 w 10000"/>
                <a:gd name="connsiteY46" fmla="*/ 6157 h 10000"/>
                <a:gd name="connsiteX47" fmla="*/ 9244 w 10000"/>
                <a:gd name="connsiteY47" fmla="*/ 6392 h 10000"/>
                <a:gd name="connsiteX48" fmla="*/ 9205 w 10000"/>
                <a:gd name="connsiteY48" fmla="*/ 6490 h 10000"/>
                <a:gd name="connsiteX49" fmla="*/ 9167 w 10000"/>
                <a:gd name="connsiteY49" fmla="*/ 6608 h 10000"/>
                <a:gd name="connsiteX50" fmla="*/ 9574 w 10000"/>
                <a:gd name="connsiteY50" fmla="*/ 7157 h 10000"/>
                <a:gd name="connsiteX51" fmla="*/ 9496 w 10000"/>
                <a:gd name="connsiteY51" fmla="*/ 7294 h 10000"/>
                <a:gd name="connsiteX52" fmla="*/ 9419 w 10000"/>
                <a:gd name="connsiteY52" fmla="*/ 7431 h 10000"/>
                <a:gd name="connsiteX53" fmla="*/ 8740 w 10000"/>
                <a:gd name="connsiteY53" fmla="*/ 7412 h 10000"/>
                <a:gd name="connsiteX54" fmla="*/ 8605 w 10000"/>
                <a:gd name="connsiteY54" fmla="*/ 7627 h 10000"/>
                <a:gd name="connsiteX55" fmla="*/ 8547 w 10000"/>
                <a:gd name="connsiteY55" fmla="*/ 7706 h 10000"/>
                <a:gd name="connsiteX56" fmla="*/ 8469 w 10000"/>
                <a:gd name="connsiteY56" fmla="*/ 7804 h 10000"/>
                <a:gd name="connsiteX57" fmla="*/ 8682 w 10000"/>
                <a:gd name="connsiteY57" fmla="*/ 8451 h 10000"/>
                <a:gd name="connsiteX58" fmla="*/ 8566 w 10000"/>
                <a:gd name="connsiteY58" fmla="*/ 8569 h 10000"/>
                <a:gd name="connsiteX59" fmla="*/ 8450 w 10000"/>
                <a:gd name="connsiteY59" fmla="*/ 8686 h 10000"/>
                <a:gd name="connsiteX60" fmla="*/ 7810 w 10000"/>
                <a:gd name="connsiteY60" fmla="*/ 8471 h 10000"/>
                <a:gd name="connsiteX61" fmla="*/ 7616 w 10000"/>
                <a:gd name="connsiteY61" fmla="*/ 8608 h 10000"/>
                <a:gd name="connsiteX62" fmla="*/ 7442 w 10000"/>
                <a:gd name="connsiteY62" fmla="*/ 8745 h 10000"/>
                <a:gd name="connsiteX63" fmla="*/ 7442 w 10000"/>
                <a:gd name="connsiteY63" fmla="*/ 9412 h 10000"/>
                <a:gd name="connsiteX64" fmla="*/ 7287 w 10000"/>
                <a:gd name="connsiteY64" fmla="*/ 9510 h 10000"/>
                <a:gd name="connsiteX65" fmla="*/ 7151 w 10000"/>
                <a:gd name="connsiteY65" fmla="*/ 9569 h 10000"/>
                <a:gd name="connsiteX66" fmla="*/ 6609 w 10000"/>
                <a:gd name="connsiteY66" fmla="*/ 9157 h 10000"/>
                <a:gd name="connsiteX67" fmla="*/ 6395 w 10000"/>
                <a:gd name="connsiteY67" fmla="*/ 9235 h 10000"/>
                <a:gd name="connsiteX68" fmla="*/ 6279 w 10000"/>
                <a:gd name="connsiteY68" fmla="*/ 9275 h 10000"/>
                <a:gd name="connsiteX69" fmla="*/ 6163 w 10000"/>
                <a:gd name="connsiteY69" fmla="*/ 9314 h 10000"/>
                <a:gd name="connsiteX70" fmla="*/ 5950 w 10000"/>
                <a:gd name="connsiteY70" fmla="*/ 9961 h 10000"/>
                <a:gd name="connsiteX71" fmla="*/ 5640 w 10000"/>
                <a:gd name="connsiteY71" fmla="*/ 10000 h 10000"/>
                <a:gd name="connsiteX72" fmla="*/ 5252 w 10000"/>
                <a:gd name="connsiteY72" fmla="*/ 9451 h 10000"/>
                <a:gd name="connsiteX73" fmla="*/ 5019 w 10000"/>
                <a:gd name="connsiteY73" fmla="*/ 9451 h 10000"/>
                <a:gd name="connsiteX74" fmla="*/ 4767 w 10000"/>
                <a:gd name="connsiteY74" fmla="*/ 9451 h 10000"/>
                <a:gd name="connsiteX75" fmla="*/ 4380 w 10000"/>
                <a:gd name="connsiteY75" fmla="*/ 10000 h 10000"/>
                <a:gd name="connsiteX76" fmla="*/ 4225 w 10000"/>
                <a:gd name="connsiteY76" fmla="*/ 9980 h 10000"/>
                <a:gd name="connsiteX77" fmla="*/ 4070 w 10000"/>
                <a:gd name="connsiteY77" fmla="*/ 9961 h 10000"/>
                <a:gd name="connsiteX78" fmla="*/ 3857 w 10000"/>
                <a:gd name="connsiteY78" fmla="*/ 9314 h 10000"/>
                <a:gd name="connsiteX79" fmla="*/ 3624 w 10000"/>
                <a:gd name="connsiteY79" fmla="*/ 9235 h 10000"/>
                <a:gd name="connsiteX80" fmla="*/ 3508 w 10000"/>
                <a:gd name="connsiteY80" fmla="*/ 9216 h 10000"/>
                <a:gd name="connsiteX81" fmla="*/ 3411 w 10000"/>
                <a:gd name="connsiteY81" fmla="*/ 9157 h 10000"/>
                <a:gd name="connsiteX82" fmla="*/ 2868 w 10000"/>
                <a:gd name="connsiteY82" fmla="*/ 9569 h 10000"/>
                <a:gd name="connsiteX83" fmla="*/ 2733 w 10000"/>
                <a:gd name="connsiteY83" fmla="*/ 9510 h 10000"/>
                <a:gd name="connsiteX84" fmla="*/ 2578 w 10000"/>
                <a:gd name="connsiteY84" fmla="*/ 9412 h 10000"/>
                <a:gd name="connsiteX85" fmla="*/ 2597 w 10000"/>
                <a:gd name="connsiteY85" fmla="*/ 8745 h 10000"/>
                <a:gd name="connsiteX86" fmla="*/ 2403 w 10000"/>
                <a:gd name="connsiteY86" fmla="*/ 8608 h 10000"/>
                <a:gd name="connsiteX87" fmla="*/ 2306 w 10000"/>
                <a:gd name="connsiteY87" fmla="*/ 8529 h 10000"/>
                <a:gd name="connsiteX88" fmla="*/ 2209 w 10000"/>
                <a:gd name="connsiteY88" fmla="*/ 8471 h 10000"/>
                <a:gd name="connsiteX89" fmla="*/ 1570 w 10000"/>
                <a:gd name="connsiteY89" fmla="*/ 8686 h 10000"/>
                <a:gd name="connsiteX90" fmla="*/ 1453 w 10000"/>
                <a:gd name="connsiteY90" fmla="*/ 8569 h 10000"/>
                <a:gd name="connsiteX91" fmla="*/ 1337 w 10000"/>
                <a:gd name="connsiteY91" fmla="*/ 8451 h 10000"/>
                <a:gd name="connsiteX92" fmla="*/ 1550 w 10000"/>
                <a:gd name="connsiteY92" fmla="*/ 7804 h 10000"/>
                <a:gd name="connsiteX93" fmla="*/ 1415 w 10000"/>
                <a:gd name="connsiteY93" fmla="*/ 7627 h 10000"/>
                <a:gd name="connsiteX94" fmla="*/ 1279 w 10000"/>
                <a:gd name="connsiteY94" fmla="*/ 7412 h 10000"/>
                <a:gd name="connsiteX95" fmla="*/ 601 w 10000"/>
                <a:gd name="connsiteY95" fmla="*/ 7431 h 10000"/>
                <a:gd name="connsiteX96" fmla="*/ 523 w 10000"/>
                <a:gd name="connsiteY96" fmla="*/ 7294 h 10000"/>
                <a:gd name="connsiteX97" fmla="*/ 446 w 10000"/>
                <a:gd name="connsiteY97" fmla="*/ 7157 h 10000"/>
                <a:gd name="connsiteX98" fmla="*/ 853 w 10000"/>
                <a:gd name="connsiteY98" fmla="*/ 6608 h 10000"/>
                <a:gd name="connsiteX99" fmla="*/ 775 w 10000"/>
                <a:gd name="connsiteY99" fmla="*/ 6392 h 10000"/>
                <a:gd name="connsiteX100" fmla="*/ 756 w 10000"/>
                <a:gd name="connsiteY100" fmla="*/ 6275 h 10000"/>
                <a:gd name="connsiteX101" fmla="*/ 717 w 10000"/>
                <a:gd name="connsiteY101" fmla="*/ 6157 h 10000"/>
                <a:gd name="connsiteX102" fmla="*/ 58 w 10000"/>
                <a:gd name="connsiteY102" fmla="*/ 5941 h 10000"/>
                <a:gd name="connsiteX103" fmla="*/ 0 w 10000"/>
                <a:gd name="connsiteY103" fmla="*/ 5627 h 10000"/>
                <a:gd name="connsiteX104" fmla="*/ 581 w 10000"/>
                <a:gd name="connsiteY104" fmla="*/ 5235 h 10000"/>
                <a:gd name="connsiteX105" fmla="*/ 562 w 10000"/>
                <a:gd name="connsiteY105" fmla="*/ 5000 h 10000"/>
                <a:gd name="connsiteX106" fmla="*/ 581 w 10000"/>
                <a:gd name="connsiteY106" fmla="*/ 4765 h 10000"/>
                <a:gd name="connsiteX107" fmla="*/ 0 w 10000"/>
                <a:gd name="connsiteY107" fmla="*/ 4392 h 10000"/>
                <a:gd name="connsiteX108" fmla="*/ 19 w 10000"/>
                <a:gd name="connsiteY108" fmla="*/ 4216 h 10000"/>
                <a:gd name="connsiteX109" fmla="*/ 58 w 10000"/>
                <a:gd name="connsiteY109" fmla="*/ 4059 h 10000"/>
                <a:gd name="connsiteX110" fmla="*/ 717 w 10000"/>
                <a:gd name="connsiteY110" fmla="*/ 3863 h 10000"/>
                <a:gd name="connsiteX111" fmla="*/ 775 w 10000"/>
                <a:gd name="connsiteY111" fmla="*/ 3627 h 10000"/>
                <a:gd name="connsiteX112" fmla="*/ 814 w 10000"/>
                <a:gd name="connsiteY112" fmla="*/ 3510 h 10000"/>
                <a:gd name="connsiteX113" fmla="*/ 853 w 10000"/>
                <a:gd name="connsiteY113" fmla="*/ 3392 h 10000"/>
                <a:gd name="connsiteX114" fmla="*/ 446 w 10000"/>
                <a:gd name="connsiteY114" fmla="*/ 2863 h 10000"/>
                <a:gd name="connsiteX115" fmla="*/ 523 w 10000"/>
                <a:gd name="connsiteY115" fmla="*/ 2706 h 10000"/>
                <a:gd name="connsiteX116" fmla="*/ 601 w 10000"/>
                <a:gd name="connsiteY116" fmla="*/ 2588 h 10000"/>
                <a:gd name="connsiteX117" fmla="*/ 1279 w 10000"/>
                <a:gd name="connsiteY117" fmla="*/ 2588 h 10000"/>
                <a:gd name="connsiteX0" fmla="*/ 2578 w 10000"/>
                <a:gd name="connsiteY0" fmla="*/ 588 h 10000"/>
                <a:gd name="connsiteX1" fmla="*/ 3411 w 10000"/>
                <a:gd name="connsiteY1" fmla="*/ 843 h 10000"/>
                <a:gd name="connsiteX2" fmla="*/ 3624 w 10000"/>
                <a:gd name="connsiteY2" fmla="*/ 765 h 10000"/>
                <a:gd name="connsiteX3" fmla="*/ 3740 w 10000"/>
                <a:gd name="connsiteY3" fmla="*/ 725 h 10000"/>
                <a:gd name="connsiteX4" fmla="*/ 3857 w 10000"/>
                <a:gd name="connsiteY4" fmla="*/ 706 h 10000"/>
                <a:gd name="connsiteX5" fmla="*/ 4070 w 10000"/>
                <a:gd name="connsiteY5" fmla="*/ 59 h 10000"/>
                <a:gd name="connsiteX6" fmla="*/ 4380 w 10000"/>
                <a:gd name="connsiteY6" fmla="*/ 0 h 10000"/>
                <a:gd name="connsiteX7" fmla="*/ 4767 w 10000"/>
                <a:gd name="connsiteY7" fmla="*/ 569 h 10000"/>
                <a:gd name="connsiteX8" fmla="*/ 5019 w 10000"/>
                <a:gd name="connsiteY8" fmla="*/ 549 h 10000"/>
                <a:gd name="connsiteX9" fmla="*/ 5252 w 10000"/>
                <a:gd name="connsiteY9" fmla="*/ 569 h 10000"/>
                <a:gd name="connsiteX10" fmla="*/ 5640 w 10000"/>
                <a:gd name="connsiteY10" fmla="*/ 0 h 10000"/>
                <a:gd name="connsiteX11" fmla="*/ 5795 w 10000"/>
                <a:gd name="connsiteY11" fmla="*/ 20 h 10000"/>
                <a:gd name="connsiteX12" fmla="*/ 5950 w 10000"/>
                <a:gd name="connsiteY12" fmla="*/ 59 h 10000"/>
                <a:gd name="connsiteX13" fmla="*/ 6163 w 10000"/>
                <a:gd name="connsiteY13" fmla="*/ 706 h 10000"/>
                <a:gd name="connsiteX14" fmla="*/ 6395 w 10000"/>
                <a:gd name="connsiteY14" fmla="*/ 765 h 10000"/>
                <a:gd name="connsiteX15" fmla="*/ 6492 w 10000"/>
                <a:gd name="connsiteY15" fmla="*/ 804 h 10000"/>
                <a:gd name="connsiteX16" fmla="*/ 6609 w 10000"/>
                <a:gd name="connsiteY16" fmla="*/ 843 h 10000"/>
                <a:gd name="connsiteX17" fmla="*/ 7151 w 10000"/>
                <a:gd name="connsiteY17" fmla="*/ 451 h 10000"/>
                <a:gd name="connsiteX18" fmla="*/ 7287 w 10000"/>
                <a:gd name="connsiteY18" fmla="*/ 510 h 10000"/>
                <a:gd name="connsiteX19" fmla="*/ 7442 w 10000"/>
                <a:gd name="connsiteY19" fmla="*/ 588 h 10000"/>
                <a:gd name="connsiteX20" fmla="*/ 7442 w 10000"/>
                <a:gd name="connsiteY20" fmla="*/ 1275 h 10000"/>
                <a:gd name="connsiteX21" fmla="*/ 7616 w 10000"/>
                <a:gd name="connsiteY21" fmla="*/ 1412 h 10000"/>
                <a:gd name="connsiteX22" fmla="*/ 7713 w 10000"/>
                <a:gd name="connsiteY22" fmla="*/ 1471 h 10000"/>
                <a:gd name="connsiteX23" fmla="*/ 7810 w 10000"/>
                <a:gd name="connsiteY23" fmla="*/ 1549 h 10000"/>
                <a:gd name="connsiteX24" fmla="*/ 8450 w 10000"/>
                <a:gd name="connsiteY24" fmla="*/ 1333 h 10000"/>
                <a:gd name="connsiteX25" fmla="*/ 8566 w 10000"/>
                <a:gd name="connsiteY25" fmla="*/ 1451 h 10000"/>
                <a:gd name="connsiteX26" fmla="*/ 8682 w 10000"/>
                <a:gd name="connsiteY26" fmla="*/ 1569 h 10000"/>
                <a:gd name="connsiteX27" fmla="*/ 8469 w 10000"/>
                <a:gd name="connsiteY27" fmla="*/ 2216 h 10000"/>
                <a:gd name="connsiteX28" fmla="*/ 8605 w 10000"/>
                <a:gd name="connsiteY28" fmla="*/ 2392 h 10000"/>
                <a:gd name="connsiteX29" fmla="*/ 8740 w 10000"/>
                <a:gd name="connsiteY29" fmla="*/ 2588 h 10000"/>
                <a:gd name="connsiteX30" fmla="*/ 9419 w 10000"/>
                <a:gd name="connsiteY30" fmla="*/ 2588 h 10000"/>
                <a:gd name="connsiteX31" fmla="*/ 9496 w 10000"/>
                <a:gd name="connsiteY31" fmla="*/ 2706 h 10000"/>
                <a:gd name="connsiteX32" fmla="*/ 9574 w 10000"/>
                <a:gd name="connsiteY32" fmla="*/ 2863 h 10000"/>
                <a:gd name="connsiteX33" fmla="*/ 9167 w 10000"/>
                <a:gd name="connsiteY33" fmla="*/ 3392 h 10000"/>
                <a:gd name="connsiteX34" fmla="*/ 9244 w 10000"/>
                <a:gd name="connsiteY34" fmla="*/ 3627 h 10000"/>
                <a:gd name="connsiteX35" fmla="*/ 9283 w 10000"/>
                <a:gd name="connsiteY35" fmla="*/ 3745 h 10000"/>
                <a:gd name="connsiteX36" fmla="*/ 9302 w 10000"/>
                <a:gd name="connsiteY36" fmla="*/ 3863 h 10000"/>
                <a:gd name="connsiteX37" fmla="*/ 9961 w 10000"/>
                <a:gd name="connsiteY37" fmla="*/ 4059 h 10000"/>
                <a:gd name="connsiteX38" fmla="*/ 10000 w 10000"/>
                <a:gd name="connsiteY38" fmla="*/ 4392 h 10000"/>
                <a:gd name="connsiteX39" fmla="*/ 9438 w 10000"/>
                <a:gd name="connsiteY39" fmla="*/ 4765 h 10000"/>
                <a:gd name="connsiteX40" fmla="*/ 9457 w 10000"/>
                <a:gd name="connsiteY40" fmla="*/ 5000 h 10000"/>
                <a:gd name="connsiteX41" fmla="*/ 9438 w 10000"/>
                <a:gd name="connsiteY41" fmla="*/ 5235 h 10000"/>
                <a:gd name="connsiteX42" fmla="*/ 10000 w 10000"/>
                <a:gd name="connsiteY42" fmla="*/ 5627 h 10000"/>
                <a:gd name="connsiteX43" fmla="*/ 9981 w 10000"/>
                <a:gd name="connsiteY43" fmla="*/ 5784 h 10000"/>
                <a:gd name="connsiteX44" fmla="*/ 9961 w 10000"/>
                <a:gd name="connsiteY44" fmla="*/ 5941 h 10000"/>
                <a:gd name="connsiteX45" fmla="*/ 9302 w 10000"/>
                <a:gd name="connsiteY45" fmla="*/ 6157 h 10000"/>
                <a:gd name="connsiteX46" fmla="*/ 9244 w 10000"/>
                <a:gd name="connsiteY46" fmla="*/ 6392 h 10000"/>
                <a:gd name="connsiteX47" fmla="*/ 9205 w 10000"/>
                <a:gd name="connsiteY47" fmla="*/ 6490 h 10000"/>
                <a:gd name="connsiteX48" fmla="*/ 9167 w 10000"/>
                <a:gd name="connsiteY48" fmla="*/ 6608 h 10000"/>
                <a:gd name="connsiteX49" fmla="*/ 9574 w 10000"/>
                <a:gd name="connsiteY49" fmla="*/ 7157 h 10000"/>
                <a:gd name="connsiteX50" fmla="*/ 9496 w 10000"/>
                <a:gd name="connsiteY50" fmla="*/ 7294 h 10000"/>
                <a:gd name="connsiteX51" fmla="*/ 9419 w 10000"/>
                <a:gd name="connsiteY51" fmla="*/ 7431 h 10000"/>
                <a:gd name="connsiteX52" fmla="*/ 8740 w 10000"/>
                <a:gd name="connsiteY52" fmla="*/ 7412 h 10000"/>
                <a:gd name="connsiteX53" fmla="*/ 8605 w 10000"/>
                <a:gd name="connsiteY53" fmla="*/ 7627 h 10000"/>
                <a:gd name="connsiteX54" fmla="*/ 8547 w 10000"/>
                <a:gd name="connsiteY54" fmla="*/ 7706 h 10000"/>
                <a:gd name="connsiteX55" fmla="*/ 8469 w 10000"/>
                <a:gd name="connsiteY55" fmla="*/ 7804 h 10000"/>
                <a:gd name="connsiteX56" fmla="*/ 8682 w 10000"/>
                <a:gd name="connsiteY56" fmla="*/ 8451 h 10000"/>
                <a:gd name="connsiteX57" fmla="*/ 8566 w 10000"/>
                <a:gd name="connsiteY57" fmla="*/ 8569 h 10000"/>
                <a:gd name="connsiteX58" fmla="*/ 8450 w 10000"/>
                <a:gd name="connsiteY58" fmla="*/ 8686 h 10000"/>
                <a:gd name="connsiteX59" fmla="*/ 7810 w 10000"/>
                <a:gd name="connsiteY59" fmla="*/ 8471 h 10000"/>
                <a:gd name="connsiteX60" fmla="*/ 7616 w 10000"/>
                <a:gd name="connsiteY60" fmla="*/ 8608 h 10000"/>
                <a:gd name="connsiteX61" fmla="*/ 7442 w 10000"/>
                <a:gd name="connsiteY61" fmla="*/ 8745 h 10000"/>
                <a:gd name="connsiteX62" fmla="*/ 7442 w 10000"/>
                <a:gd name="connsiteY62" fmla="*/ 9412 h 10000"/>
                <a:gd name="connsiteX63" fmla="*/ 7287 w 10000"/>
                <a:gd name="connsiteY63" fmla="*/ 9510 h 10000"/>
                <a:gd name="connsiteX64" fmla="*/ 7151 w 10000"/>
                <a:gd name="connsiteY64" fmla="*/ 9569 h 10000"/>
                <a:gd name="connsiteX65" fmla="*/ 6609 w 10000"/>
                <a:gd name="connsiteY65" fmla="*/ 9157 h 10000"/>
                <a:gd name="connsiteX66" fmla="*/ 6395 w 10000"/>
                <a:gd name="connsiteY66" fmla="*/ 9235 h 10000"/>
                <a:gd name="connsiteX67" fmla="*/ 6279 w 10000"/>
                <a:gd name="connsiteY67" fmla="*/ 9275 h 10000"/>
                <a:gd name="connsiteX68" fmla="*/ 6163 w 10000"/>
                <a:gd name="connsiteY68" fmla="*/ 9314 h 10000"/>
                <a:gd name="connsiteX69" fmla="*/ 5950 w 10000"/>
                <a:gd name="connsiteY69" fmla="*/ 9961 h 10000"/>
                <a:gd name="connsiteX70" fmla="*/ 5640 w 10000"/>
                <a:gd name="connsiteY70" fmla="*/ 10000 h 10000"/>
                <a:gd name="connsiteX71" fmla="*/ 5252 w 10000"/>
                <a:gd name="connsiteY71" fmla="*/ 9451 h 10000"/>
                <a:gd name="connsiteX72" fmla="*/ 5019 w 10000"/>
                <a:gd name="connsiteY72" fmla="*/ 9451 h 10000"/>
                <a:gd name="connsiteX73" fmla="*/ 4767 w 10000"/>
                <a:gd name="connsiteY73" fmla="*/ 9451 h 10000"/>
                <a:gd name="connsiteX74" fmla="*/ 4380 w 10000"/>
                <a:gd name="connsiteY74" fmla="*/ 10000 h 10000"/>
                <a:gd name="connsiteX75" fmla="*/ 4225 w 10000"/>
                <a:gd name="connsiteY75" fmla="*/ 9980 h 10000"/>
                <a:gd name="connsiteX76" fmla="*/ 4070 w 10000"/>
                <a:gd name="connsiteY76" fmla="*/ 9961 h 10000"/>
                <a:gd name="connsiteX77" fmla="*/ 3857 w 10000"/>
                <a:gd name="connsiteY77" fmla="*/ 9314 h 10000"/>
                <a:gd name="connsiteX78" fmla="*/ 3624 w 10000"/>
                <a:gd name="connsiteY78" fmla="*/ 9235 h 10000"/>
                <a:gd name="connsiteX79" fmla="*/ 3508 w 10000"/>
                <a:gd name="connsiteY79" fmla="*/ 9216 h 10000"/>
                <a:gd name="connsiteX80" fmla="*/ 3411 w 10000"/>
                <a:gd name="connsiteY80" fmla="*/ 9157 h 10000"/>
                <a:gd name="connsiteX81" fmla="*/ 2868 w 10000"/>
                <a:gd name="connsiteY81" fmla="*/ 9569 h 10000"/>
                <a:gd name="connsiteX82" fmla="*/ 2733 w 10000"/>
                <a:gd name="connsiteY82" fmla="*/ 9510 h 10000"/>
                <a:gd name="connsiteX83" fmla="*/ 2578 w 10000"/>
                <a:gd name="connsiteY83" fmla="*/ 9412 h 10000"/>
                <a:gd name="connsiteX84" fmla="*/ 2597 w 10000"/>
                <a:gd name="connsiteY84" fmla="*/ 8745 h 10000"/>
                <a:gd name="connsiteX85" fmla="*/ 2403 w 10000"/>
                <a:gd name="connsiteY85" fmla="*/ 8608 h 10000"/>
                <a:gd name="connsiteX86" fmla="*/ 2306 w 10000"/>
                <a:gd name="connsiteY86" fmla="*/ 8529 h 10000"/>
                <a:gd name="connsiteX87" fmla="*/ 2209 w 10000"/>
                <a:gd name="connsiteY87" fmla="*/ 8471 h 10000"/>
                <a:gd name="connsiteX88" fmla="*/ 1570 w 10000"/>
                <a:gd name="connsiteY88" fmla="*/ 8686 h 10000"/>
                <a:gd name="connsiteX89" fmla="*/ 1453 w 10000"/>
                <a:gd name="connsiteY89" fmla="*/ 8569 h 10000"/>
                <a:gd name="connsiteX90" fmla="*/ 1337 w 10000"/>
                <a:gd name="connsiteY90" fmla="*/ 8451 h 10000"/>
                <a:gd name="connsiteX91" fmla="*/ 1550 w 10000"/>
                <a:gd name="connsiteY91" fmla="*/ 7804 h 10000"/>
                <a:gd name="connsiteX92" fmla="*/ 1415 w 10000"/>
                <a:gd name="connsiteY92" fmla="*/ 7627 h 10000"/>
                <a:gd name="connsiteX93" fmla="*/ 1279 w 10000"/>
                <a:gd name="connsiteY93" fmla="*/ 7412 h 10000"/>
                <a:gd name="connsiteX94" fmla="*/ 601 w 10000"/>
                <a:gd name="connsiteY94" fmla="*/ 7431 h 10000"/>
                <a:gd name="connsiteX95" fmla="*/ 523 w 10000"/>
                <a:gd name="connsiteY95" fmla="*/ 7294 h 10000"/>
                <a:gd name="connsiteX96" fmla="*/ 446 w 10000"/>
                <a:gd name="connsiteY96" fmla="*/ 7157 h 10000"/>
                <a:gd name="connsiteX97" fmla="*/ 853 w 10000"/>
                <a:gd name="connsiteY97" fmla="*/ 6608 h 10000"/>
                <a:gd name="connsiteX98" fmla="*/ 775 w 10000"/>
                <a:gd name="connsiteY98" fmla="*/ 6392 h 10000"/>
                <a:gd name="connsiteX99" fmla="*/ 756 w 10000"/>
                <a:gd name="connsiteY99" fmla="*/ 6275 h 10000"/>
                <a:gd name="connsiteX100" fmla="*/ 717 w 10000"/>
                <a:gd name="connsiteY100" fmla="*/ 6157 h 10000"/>
                <a:gd name="connsiteX101" fmla="*/ 58 w 10000"/>
                <a:gd name="connsiteY101" fmla="*/ 5941 h 10000"/>
                <a:gd name="connsiteX102" fmla="*/ 0 w 10000"/>
                <a:gd name="connsiteY102" fmla="*/ 5627 h 10000"/>
                <a:gd name="connsiteX103" fmla="*/ 581 w 10000"/>
                <a:gd name="connsiteY103" fmla="*/ 5235 h 10000"/>
                <a:gd name="connsiteX104" fmla="*/ 562 w 10000"/>
                <a:gd name="connsiteY104" fmla="*/ 5000 h 10000"/>
                <a:gd name="connsiteX105" fmla="*/ 581 w 10000"/>
                <a:gd name="connsiteY105" fmla="*/ 4765 h 10000"/>
                <a:gd name="connsiteX106" fmla="*/ 0 w 10000"/>
                <a:gd name="connsiteY106" fmla="*/ 4392 h 10000"/>
                <a:gd name="connsiteX107" fmla="*/ 19 w 10000"/>
                <a:gd name="connsiteY107" fmla="*/ 4216 h 10000"/>
                <a:gd name="connsiteX108" fmla="*/ 58 w 10000"/>
                <a:gd name="connsiteY108" fmla="*/ 4059 h 10000"/>
                <a:gd name="connsiteX109" fmla="*/ 717 w 10000"/>
                <a:gd name="connsiteY109" fmla="*/ 3863 h 10000"/>
                <a:gd name="connsiteX110" fmla="*/ 775 w 10000"/>
                <a:gd name="connsiteY110" fmla="*/ 3627 h 10000"/>
                <a:gd name="connsiteX111" fmla="*/ 814 w 10000"/>
                <a:gd name="connsiteY111" fmla="*/ 3510 h 10000"/>
                <a:gd name="connsiteX112" fmla="*/ 853 w 10000"/>
                <a:gd name="connsiteY112" fmla="*/ 3392 h 10000"/>
                <a:gd name="connsiteX113" fmla="*/ 446 w 10000"/>
                <a:gd name="connsiteY113" fmla="*/ 2863 h 10000"/>
                <a:gd name="connsiteX114" fmla="*/ 523 w 10000"/>
                <a:gd name="connsiteY114" fmla="*/ 2706 h 10000"/>
                <a:gd name="connsiteX115" fmla="*/ 601 w 10000"/>
                <a:gd name="connsiteY115" fmla="*/ 2588 h 10000"/>
                <a:gd name="connsiteX116" fmla="*/ 1279 w 10000"/>
                <a:gd name="connsiteY116" fmla="*/ 2588 h 10000"/>
                <a:gd name="connsiteX0" fmla="*/ 3411 w 10000"/>
                <a:gd name="connsiteY0" fmla="*/ 843 h 10000"/>
                <a:gd name="connsiteX1" fmla="*/ 3624 w 10000"/>
                <a:gd name="connsiteY1" fmla="*/ 765 h 10000"/>
                <a:gd name="connsiteX2" fmla="*/ 3740 w 10000"/>
                <a:gd name="connsiteY2" fmla="*/ 725 h 10000"/>
                <a:gd name="connsiteX3" fmla="*/ 3857 w 10000"/>
                <a:gd name="connsiteY3" fmla="*/ 706 h 10000"/>
                <a:gd name="connsiteX4" fmla="*/ 4070 w 10000"/>
                <a:gd name="connsiteY4" fmla="*/ 59 h 10000"/>
                <a:gd name="connsiteX5" fmla="*/ 4380 w 10000"/>
                <a:gd name="connsiteY5" fmla="*/ 0 h 10000"/>
                <a:gd name="connsiteX6" fmla="*/ 4767 w 10000"/>
                <a:gd name="connsiteY6" fmla="*/ 569 h 10000"/>
                <a:gd name="connsiteX7" fmla="*/ 5019 w 10000"/>
                <a:gd name="connsiteY7" fmla="*/ 549 h 10000"/>
                <a:gd name="connsiteX8" fmla="*/ 5252 w 10000"/>
                <a:gd name="connsiteY8" fmla="*/ 569 h 10000"/>
                <a:gd name="connsiteX9" fmla="*/ 5640 w 10000"/>
                <a:gd name="connsiteY9" fmla="*/ 0 h 10000"/>
                <a:gd name="connsiteX10" fmla="*/ 5795 w 10000"/>
                <a:gd name="connsiteY10" fmla="*/ 20 h 10000"/>
                <a:gd name="connsiteX11" fmla="*/ 5950 w 10000"/>
                <a:gd name="connsiteY11" fmla="*/ 59 h 10000"/>
                <a:gd name="connsiteX12" fmla="*/ 6163 w 10000"/>
                <a:gd name="connsiteY12" fmla="*/ 706 h 10000"/>
                <a:gd name="connsiteX13" fmla="*/ 6395 w 10000"/>
                <a:gd name="connsiteY13" fmla="*/ 765 h 10000"/>
                <a:gd name="connsiteX14" fmla="*/ 6492 w 10000"/>
                <a:gd name="connsiteY14" fmla="*/ 804 h 10000"/>
                <a:gd name="connsiteX15" fmla="*/ 6609 w 10000"/>
                <a:gd name="connsiteY15" fmla="*/ 843 h 10000"/>
                <a:gd name="connsiteX16" fmla="*/ 7151 w 10000"/>
                <a:gd name="connsiteY16" fmla="*/ 451 h 10000"/>
                <a:gd name="connsiteX17" fmla="*/ 7287 w 10000"/>
                <a:gd name="connsiteY17" fmla="*/ 510 h 10000"/>
                <a:gd name="connsiteX18" fmla="*/ 7442 w 10000"/>
                <a:gd name="connsiteY18" fmla="*/ 588 h 10000"/>
                <a:gd name="connsiteX19" fmla="*/ 7442 w 10000"/>
                <a:gd name="connsiteY19" fmla="*/ 1275 h 10000"/>
                <a:gd name="connsiteX20" fmla="*/ 7616 w 10000"/>
                <a:gd name="connsiteY20" fmla="*/ 1412 h 10000"/>
                <a:gd name="connsiteX21" fmla="*/ 7713 w 10000"/>
                <a:gd name="connsiteY21" fmla="*/ 1471 h 10000"/>
                <a:gd name="connsiteX22" fmla="*/ 7810 w 10000"/>
                <a:gd name="connsiteY22" fmla="*/ 1549 h 10000"/>
                <a:gd name="connsiteX23" fmla="*/ 8450 w 10000"/>
                <a:gd name="connsiteY23" fmla="*/ 1333 h 10000"/>
                <a:gd name="connsiteX24" fmla="*/ 8566 w 10000"/>
                <a:gd name="connsiteY24" fmla="*/ 1451 h 10000"/>
                <a:gd name="connsiteX25" fmla="*/ 8682 w 10000"/>
                <a:gd name="connsiteY25" fmla="*/ 1569 h 10000"/>
                <a:gd name="connsiteX26" fmla="*/ 8469 w 10000"/>
                <a:gd name="connsiteY26" fmla="*/ 2216 h 10000"/>
                <a:gd name="connsiteX27" fmla="*/ 8605 w 10000"/>
                <a:gd name="connsiteY27" fmla="*/ 2392 h 10000"/>
                <a:gd name="connsiteX28" fmla="*/ 8740 w 10000"/>
                <a:gd name="connsiteY28" fmla="*/ 2588 h 10000"/>
                <a:gd name="connsiteX29" fmla="*/ 9419 w 10000"/>
                <a:gd name="connsiteY29" fmla="*/ 2588 h 10000"/>
                <a:gd name="connsiteX30" fmla="*/ 9496 w 10000"/>
                <a:gd name="connsiteY30" fmla="*/ 2706 h 10000"/>
                <a:gd name="connsiteX31" fmla="*/ 9574 w 10000"/>
                <a:gd name="connsiteY31" fmla="*/ 2863 h 10000"/>
                <a:gd name="connsiteX32" fmla="*/ 9167 w 10000"/>
                <a:gd name="connsiteY32" fmla="*/ 3392 h 10000"/>
                <a:gd name="connsiteX33" fmla="*/ 9244 w 10000"/>
                <a:gd name="connsiteY33" fmla="*/ 3627 h 10000"/>
                <a:gd name="connsiteX34" fmla="*/ 9283 w 10000"/>
                <a:gd name="connsiteY34" fmla="*/ 3745 h 10000"/>
                <a:gd name="connsiteX35" fmla="*/ 9302 w 10000"/>
                <a:gd name="connsiteY35" fmla="*/ 3863 h 10000"/>
                <a:gd name="connsiteX36" fmla="*/ 9961 w 10000"/>
                <a:gd name="connsiteY36" fmla="*/ 4059 h 10000"/>
                <a:gd name="connsiteX37" fmla="*/ 10000 w 10000"/>
                <a:gd name="connsiteY37" fmla="*/ 4392 h 10000"/>
                <a:gd name="connsiteX38" fmla="*/ 9438 w 10000"/>
                <a:gd name="connsiteY38" fmla="*/ 4765 h 10000"/>
                <a:gd name="connsiteX39" fmla="*/ 9457 w 10000"/>
                <a:gd name="connsiteY39" fmla="*/ 5000 h 10000"/>
                <a:gd name="connsiteX40" fmla="*/ 9438 w 10000"/>
                <a:gd name="connsiteY40" fmla="*/ 5235 h 10000"/>
                <a:gd name="connsiteX41" fmla="*/ 10000 w 10000"/>
                <a:gd name="connsiteY41" fmla="*/ 5627 h 10000"/>
                <a:gd name="connsiteX42" fmla="*/ 9981 w 10000"/>
                <a:gd name="connsiteY42" fmla="*/ 5784 h 10000"/>
                <a:gd name="connsiteX43" fmla="*/ 9961 w 10000"/>
                <a:gd name="connsiteY43" fmla="*/ 5941 h 10000"/>
                <a:gd name="connsiteX44" fmla="*/ 9302 w 10000"/>
                <a:gd name="connsiteY44" fmla="*/ 6157 h 10000"/>
                <a:gd name="connsiteX45" fmla="*/ 9244 w 10000"/>
                <a:gd name="connsiteY45" fmla="*/ 6392 h 10000"/>
                <a:gd name="connsiteX46" fmla="*/ 9205 w 10000"/>
                <a:gd name="connsiteY46" fmla="*/ 6490 h 10000"/>
                <a:gd name="connsiteX47" fmla="*/ 9167 w 10000"/>
                <a:gd name="connsiteY47" fmla="*/ 6608 h 10000"/>
                <a:gd name="connsiteX48" fmla="*/ 9574 w 10000"/>
                <a:gd name="connsiteY48" fmla="*/ 7157 h 10000"/>
                <a:gd name="connsiteX49" fmla="*/ 9496 w 10000"/>
                <a:gd name="connsiteY49" fmla="*/ 7294 h 10000"/>
                <a:gd name="connsiteX50" fmla="*/ 9419 w 10000"/>
                <a:gd name="connsiteY50" fmla="*/ 7431 h 10000"/>
                <a:gd name="connsiteX51" fmla="*/ 8740 w 10000"/>
                <a:gd name="connsiteY51" fmla="*/ 7412 h 10000"/>
                <a:gd name="connsiteX52" fmla="*/ 8605 w 10000"/>
                <a:gd name="connsiteY52" fmla="*/ 7627 h 10000"/>
                <a:gd name="connsiteX53" fmla="*/ 8547 w 10000"/>
                <a:gd name="connsiteY53" fmla="*/ 7706 h 10000"/>
                <a:gd name="connsiteX54" fmla="*/ 8469 w 10000"/>
                <a:gd name="connsiteY54" fmla="*/ 7804 h 10000"/>
                <a:gd name="connsiteX55" fmla="*/ 8682 w 10000"/>
                <a:gd name="connsiteY55" fmla="*/ 8451 h 10000"/>
                <a:gd name="connsiteX56" fmla="*/ 8566 w 10000"/>
                <a:gd name="connsiteY56" fmla="*/ 8569 h 10000"/>
                <a:gd name="connsiteX57" fmla="*/ 8450 w 10000"/>
                <a:gd name="connsiteY57" fmla="*/ 8686 h 10000"/>
                <a:gd name="connsiteX58" fmla="*/ 7810 w 10000"/>
                <a:gd name="connsiteY58" fmla="*/ 8471 h 10000"/>
                <a:gd name="connsiteX59" fmla="*/ 7616 w 10000"/>
                <a:gd name="connsiteY59" fmla="*/ 8608 h 10000"/>
                <a:gd name="connsiteX60" fmla="*/ 7442 w 10000"/>
                <a:gd name="connsiteY60" fmla="*/ 8745 h 10000"/>
                <a:gd name="connsiteX61" fmla="*/ 7442 w 10000"/>
                <a:gd name="connsiteY61" fmla="*/ 9412 h 10000"/>
                <a:gd name="connsiteX62" fmla="*/ 7287 w 10000"/>
                <a:gd name="connsiteY62" fmla="*/ 9510 h 10000"/>
                <a:gd name="connsiteX63" fmla="*/ 7151 w 10000"/>
                <a:gd name="connsiteY63" fmla="*/ 9569 h 10000"/>
                <a:gd name="connsiteX64" fmla="*/ 6609 w 10000"/>
                <a:gd name="connsiteY64" fmla="*/ 9157 h 10000"/>
                <a:gd name="connsiteX65" fmla="*/ 6395 w 10000"/>
                <a:gd name="connsiteY65" fmla="*/ 9235 h 10000"/>
                <a:gd name="connsiteX66" fmla="*/ 6279 w 10000"/>
                <a:gd name="connsiteY66" fmla="*/ 9275 h 10000"/>
                <a:gd name="connsiteX67" fmla="*/ 6163 w 10000"/>
                <a:gd name="connsiteY67" fmla="*/ 9314 h 10000"/>
                <a:gd name="connsiteX68" fmla="*/ 5950 w 10000"/>
                <a:gd name="connsiteY68" fmla="*/ 9961 h 10000"/>
                <a:gd name="connsiteX69" fmla="*/ 5640 w 10000"/>
                <a:gd name="connsiteY69" fmla="*/ 10000 h 10000"/>
                <a:gd name="connsiteX70" fmla="*/ 5252 w 10000"/>
                <a:gd name="connsiteY70" fmla="*/ 9451 h 10000"/>
                <a:gd name="connsiteX71" fmla="*/ 5019 w 10000"/>
                <a:gd name="connsiteY71" fmla="*/ 9451 h 10000"/>
                <a:gd name="connsiteX72" fmla="*/ 4767 w 10000"/>
                <a:gd name="connsiteY72" fmla="*/ 9451 h 10000"/>
                <a:gd name="connsiteX73" fmla="*/ 4380 w 10000"/>
                <a:gd name="connsiteY73" fmla="*/ 10000 h 10000"/>
                <a:gd name="connsiteX74" fmla="*/ 4225 w 10000"/>
                <a:gd name="connsiteY74" fmla="*/ 9980 h 10000"/>
                <a:gd name="connsiteX75" fmla="*/ 4070 w 10000"/>
                <a:gd name="connsiteY75" fmla="*/ 9961 h 10000"/>
                <a:gd name="connsiteX76" fmla="*/ 3857 w 10000"/>
                <a:gd name="connsiteY76" fmla="*/ 9314 h 10000"/>
                <a:gd name="connsiteX77" fmla="*/ 3624 w 10000"/>
                <a:gd name="connsiteY77" fmla="*/ 9235 h 10000"/>
                <a:gd name="connsiteX78" fmla="*/ 3508 w 10000"/>
                <a:gd name="connsiteY78" fmla="*/ 9216 h 10000"/>
                <a:gd name="connsiteX79" fmla="*/ 3411 w 10000"/>
                <a:gd name="connsiteY79" fmla="*/ 9157 h 10000"/>
                <a:gd name="connsiteX80" fmla="*/ 2868 w 10000"/>
                <a:gd name="connsiteY80" fmla="*/ 9569 h 10000"/>
                <a:gd name="connsiteX81" fmla="*/ 2733 w 10000"/>
                <a:gd name="connsiteY81" fmla="*/ 9510 h 10000"/>
                <a:gd name="connsiteX82" fmla="*/ 2578 w 10000"/>
                <a:gd name="connsiteY82" fmla="*/ 9412 h 10000"/>
                <a:gd name="connsiteX83" fmla="*/ 2597 w 10000"/>
                <a:gd name="connsiteY83" fmla="*/ 8745 h 10000"/>
                <a:gd name="connsiteX84" fmla="*/ 2403 w 10000"/>
                <a:gd name="connsiteY84" fmla="*/ 8608 h 10000"/>
                <a:gd name="connsiteX85" fmla="*/ 2306 w 10000"/>
                <a:gd name="connsiteY85" fmla="*/ 8529 h 10000"/>
                <a:gd name="connsiteX86" fmla="*/ 2209 w 10000"/>
                <a:gd name="connsiteY86" fmla="*/ 8471 h 10000"/>
                <a:gd name="connsiteX87" fmla="*/ 1570 w 10000"/>
                <a:gd name="connsiteY87" fmla="*/ 8686 h 10000"/>
                <a:gd name="connsiteX88" fmla="*/ 1453 w 10000"/>
                <a:gd name="connsiteY88" fmla="*/ 8569 h 10000"/>
                <a:gd name="connsiteX89" fmla="*/ 1337 w 10000"/>
                <a:gd name="connsiteY89" fmla="*/ 8451 h 10000"/>
                <a:gd name="connsiteX90" fmla="*/ 1550 w 10000"/>
                <a:gd name="connsiteY90" fmla="*/ 7804 h 10000"/>
                <a:gd name="connsiteX91" fmla="*/ 1415 w 10000"/>
                <a:gd name="connsiteY91" fmla="*/ 7627 h 10000"/>
                <a:gd name="connsiteX92" fmla="*/ 1279 w 10000"/>
                <a:gd name="connsiteY92" fmla="*/ 7412 h 10000"/>
                <a:gd name="connsiteX93" fmla="*/ 601 w 10000"/>
                <a:gd name="connsiteY93" fmla="*/ 7431 h 10000"/>
                <a:gd name="connsiteX94" fmla="*/ 523 w 10000"/>
                <a:gd name="connsiteY94" fmla="*/ 7294 h 10000"/>
                <a:gd name="connsiteX95" fmla="*/ 446 w 10000"/>
                <a:gd name="connsiteY95" fmla="*/ 7157 h 10000"/>
                <a:gd name="connsiteX96" fmla="*/ 853 w 10000"/>
                <a:gd name="connsiteY96" fmla="*/ 6608 h 10000"/>
                <a:gd name="connsiteX97" fmla="*/ 775 w 10000"/>
                <a:gd name="connsiteY97" fmla="*/ 6392 h 10000"/>
                <a:gd name="connsiteX98" fmla="*/ 756 w 10000"/>
                <a:gd name="connsiteY98" fmla="*/ 6275 h 10000"/>
                <a:gd name="connsiteX99" fmla="*/ 717 w 10000"/>
                <a:gd name="connsiteY99" fmla="*/ 6157 h 10000"/>
                <a:gd name="connsiteX100" fmla="*/ 58 w 10000"/>
                <a:gd name="connsiteY100" fmla="*/ 5941 h 10000"/>
                <a:gd name="connsiteX101" fmla="*/ 0 w 10000"/>
                <a:gd name="connsiteY101" fmla="*/ 5627 h 10000"/>
                <a:gd name="connsiteX102" fmla="*/ 581 w 10000"/>
                <a:gd name="connsiteY102" fmla="*/ 5235 h 10000"/>
                <a:gd name="connsiteX103" fmla="*/ 562 w 10000"/>
                <a:gd name="connsiteY103" fmla="*/ 5000 h 10000"/>
                <a:gd name="connsiteX104" fmla="*/ 581 w 10000"/>
                <a:gd name="connsiteY104" fmla="*/ 4765 h 10000"/>
                <a:gd name="connsiteX105" fmla="*/ 0 w 10000"/>
                <a:gd name="connsiteY105" fmla="*/ 4392 h 10000"/>
                <a:gd name="connsiteX106" fmla="*/ 19 w 10000"/>
                <a:gd name="connsiteY106" fmla="*/ 4216 h 10000"/>
                <a:gd name="connsiteX107" fmla="*/ 58 w 10000"/>
                <a:gd name="connsiteY107" fmla="*/ 4059 h 10000"/>
                <a:gd name="connsiteX108" fmla="*/ 717 w 10000"/>
                <a:gd name="connsiteY108" fmla="*/ 3863 h 10000"/>
                <a:gd name="connsiteX109" fmla="*/ 775 w 10000"/>
                <a:gd name="connsiteY109" fmla="*/ 3627 h 10000"/>
                <a:gd name="connsiteX110" fmla="*/ 814 w 10000"/>
                <a:gd name="connsiteY110" fmla="*/ 3510 h 10000"/>
                <a:gd name="connsiteX111" fmla="*/ 853 w 10000"/>
                <a:gd name="connsiteY111" fmla="*/ 3392 h 10000"/>
                <a:gd name="connsiteX112" fmla="*/ 446 w 10000"/>
                <a:gd name="connsiteY112" fmla="*/ 2863 h 10000"/>
                <a:gd name="connsiteX113" fmla="*/ 523 w 10000"/>
                <a:gd name="connsiteY113" fmla="*/ 2706 h 10000"/>
                <a:gd name="connsiteX114" fmla="*/ 601 w 10000"/>
                <a:gd name="connsiteY114" fmla="*/ 2588 h 10000"/>
                <a:gd name="connsiteX115" fmla="*/ 1279 w 10000"/>
                <a:gd name="connsiteY115" fmla="*/ 2588 h 10000"/>
                <a:gd name="connsiteX0" fmla="*/ 3411 w 10000"/>
                <a:gd name="connsiteY0" fmla="*/ 843 h 10000"/>
                <a:gd name="connsiteX1" fmla="*/ 3740 w 10000"/>
                <a:gd name="connsiteY1" fmla="*/ 725 h 10000"/>
                <a:gd name="connsiteX2" fmla="*/ 3857 w 10000"/>
                <a:gd name="connsiteY2" fmla="*/ 706 h 10000"/>
                <a:gd name="connsiteX3" fmla="*/ 4070 w 10000"/>
                <a:gd name="connsiteY3" fmla="*/ 59 h 10000"/>
                <a:gd name="connsiteX4" fmla="*/ 4380 w 10000"/>
                <a:gd name="connsiteY4" fmla="*/ 0 h 10000"/>
                <a:gd name="connsiteX5" fmla="*/ 4767 w 10000"/>
                <a:gd name="connsiteY5" fmla="*/ 569 h 10000"/>
                <a:gd name="connsiteX6" fmla="*/ 5019 w 10000"/>
                <a:gd name="connsiteY6" fmla="*/ 549 h 10000"/>
                <a:gd name="connsiteX7" fmla="*/ 5252 w 10000"/>
                <a:gd name="connsiteY7" fmla="*/ 569 h 10000"/>
                <a:gd name="connsiteX8" fmla="*/ 5640 w 10000"/>
                <a:gd name="connsiteY8" fmla="*/ 0 h 10000"/>
                <a:gd name="connsiteX9" fmla="*/ 5795 w 10000"/>
                <a:gd name="connsiteY9" fmla="*/ 20 h 10000"/>
                <a:gd name="connsiteX10" fmla="*/ 5950 w 10000"/>
                <a:gd name="connsiteY10" fmla="*/ 59 h 10000"/>
                <a:gd name="connsiteX11" fmla="*/ 6163 w 10000"/>
                <a:gd name="connsiteY11" fmla="*/ 706 h 10000"/>
                <a:gd name="connsiteX12" fmla="*/ 6395 w 10000"/>
                <a:gd name="connsiteY12" fmla="*/ 765 h 10000"/>
                <a:gd name="connsiteX13" fmla="*/ 6492 w 10000"/>
                <a:gd name="connsiteY13" fmla="*/ 804 h 10000"/>
                <a:gd name="connsiteX14" fmla="*/ 6609 w 10000"/>
                <a:gd name="connsiteY14" fmla="*/ 843 h 10000"/>
                <a:gd name="connsiteX15" fmla="*/ 7151 w 10000"/>
                <a:gd name="connsiteY15" fmla="*/ 451 h 10000"/>
                <a:gd name="connsiteX16" fmla="*/ 7287 w 10000"/>
                <a:gd name="connsiteY16" fmla="*/ 510 h 10000"/>
                <a:gd name="connsiteX17" fmla="*/ 7442 w 10000"/>
                <a:gd name="connsiteY17" fmla="*/ 588 h 10000"/>
                <a:gd name="connsiteX18" fmla="*/ 7442 w 10000"/>
                <a:gd name="connsiteY18" fmla="*/ 1275 h 10000"/>
                <a:gd name="connsiteX19" fmla="*/ 7616 w 10000"/>
                <a:gd name="connsiteY19" fmla="*/ 1412 h 10000"/>
                <a:gd name="connsiteX20" fmla="*/ 7713 w 10000"/>
                <a:gd name="connsiteY20" fmla="*/ 1471 h 10000"/>
                <a:gd name="connsiteX21" fmla="*/ 7810 w 10000"/>
                <a:gd name="connsiteY21" fmla="*/ 1549 h 10000"/>
                <a:gd name="connsiteX22" fmla="*/ 8450 w 10000"/>
                <a:gd name="connsiteY22" fmla="*/ 1333 h 10000"/>
                <a:gd name="connsiteX23" fmla="*/ 8566 w 10000"/>
                <a:gd name="connsiteY23" fmla="*/ 1451 h 10000"/>
                <a:gd name="connsiteX24" fmla="*/ 8682 w 10000"/>
                <a:gd name="connsiteY24" fmla="*/ 1569 h 10000"/>
                <a:gd name="connsiteX25" fmla="*/ 8469 w 10000"/>
                <a:gd name="connsiteY25" fmla="*/ 2216 h 10000"/>
                <a:gd name="connsiteX26" fmla="*/ 8605 w 10000"/>
                <a:gd name="connsiteY26" fmla="*/ 2392 h 10000"/>
                <a:gd name="connsiteX27" fmla="*/ 8740 w 10000"/>
                <a:gd name="connsiteY27" fmla="*/ 2588 h 10000"/>
                <a:gd name="connsiteX28" fmla="*/ 9419 w 10000"/>
                <a:gd name="connsiteY28" fmla="*/ 2588 h 10000"/>
                <a:gd name="connsiteX29" fmla="*/ 9496 w 10000"/>
                <a:gd name="connsiteY29" fmla="*/ 2706 h 10000"/>
                <a:gd name="connsiteX30" fmla="*/ 9574 w 10000"/>
                <a:gd name="connsiteY30" fmla="*/ 2863 h 10000"/>
                <a:gd name="connsiteX31" fmla="*/ 9167 w 10000"/>
                <a:gd name="connsiteY31" fmla="*/ 3392 h 10000"/>
                <a:gd name="connsiteX32" fmla="*/ 9244 w 10000"/>
                <a:gd name="connsiteY32" fmla="*/ 3627 h 10000"/>
                <a:gd name="connsiteX33" fmla="*/ 9283 w 10000"/>
                <a:gd name="connsiteY33" fmla="*/ 3745 h 10000"/>
                <a:gd name="connsiteX34" fmla="*/ 9302 w 10000"/>
                <a:gd name="connsiteY34" fmla="*/ 3863 h 10000"/>
                <a:gd name="connsiteX35" fmla="*/ 9961 w 10000"/>
                <a:gd name="connsiteY35" fmla="*/ 4059 h 10000"/>
                <a:gd name="connsiteX36" fmla="*/ 10000 w 10000"/>
                <a:gd name="connsiteY36" fmla="*/ 4392 h 10000"/>
                <a:gd name="connsiteX37" fmla="*/ 9438 w 10000"/>
                <a:gd name="connsiteY37" fmla="*/ 4765 h 10000"/>
                <a:gd name="connsiteX38" fmla="*/ 9457 w 10000"/>
                <a:gd name="connsiteY38" fmla="*/ 5000 h 10000"/>
                <a:gd name="connsiteX39" fmla="*/ 9438 w 10000"/>
                <a:gd name="connsiteY39" fmla="*/ 5235 h 10000"/>
                <a:gd name="connsiteX40" fmla="*/ 10000 w 10000"/>
                <a:gd name="connsiteY40" fmla="*/ 5627 h 10000"/>
                <a:gd name="connsiteX41" fmla="*/ 9981 w 10000"/>
                <a:gd name="connsiteY41" fmla="*/ 5784 h 10000"/>
                <a:gd name="connsiteX42" fmla="*/ 9961 w 10000"/>
                <a:gd name="connsiteY42" fmla="*/ 5941 h 10000"/>
                <a:gd name="connsiteX43" fmla="*/ 9302 w 10000"/>
                <a:gd name="connsiteY43" fmla="*/ 6157 h 10000"/>
                <a:gd name="connsiteX44" fmla="*/ 9244 w 10000"/>
                <a:gd name="connsiteY44" fmla="*/ 6392 h 10000"/>
                <a:gd name="connsiteX45" fmla="*/ 9205 w 10000"/>
                <a:gd name="connsiteY45" fmla="*/ 6490 h 10000"/>
                <a:gd name="connsiteX46" fmla="*/ 9167 w 10000"/>
                <a:gd name="connsiteY46" fmla="*/ 6608 h 10000"/>
                <a:gd name="connsiteX47" fmla="*/ 9574 w 10000"/>
                <a:gd name="connsiteY47" fmla="*/ 7157 h 10000"/>
                <a:gd name="connsiteX48" fmla="*/ 9496 w 10000"/>
                <a:gd name="connsiteY48" fmla="*/ 7294 h 10000"/>
                <a:gd name="connsiteX49" fmla="*/ 9419 w 10000"/>
                <a:gd name="connsiteY49" fmla="*/ 7431 h 10000"/>
                <a:gd name="connsiteX50" fmla="*/ 8740 w 10000"/>
                <a:gd name="connsiteY50" fmla="*/ 7412 h 10000"/>
                <a:gd name="connsiteX51" fmla="*/ 8605 w 10000"/>
                <a:gd name="connsiteY51" fmla="*/ 7627 h 10000"/>
                <a:gd name="connsiteX52" fmla="*/ 8547 w 10000"/>
                <a:gd name="connsiteY52" fmla="*/ 7706 h 10000"/>
                <a:gd name="connsiteX53" fmla="*/ 8469 w 10000"/>
                <a:gd name="connsiteY53" fmla="*/ 7804 h 10000"/>
                <a:gd name="connsiteX54" fmla="*/ 8682 w 10000"/>
                <a:gd name="connsiteY54" fmla="*/ 8451 h 10000"/>
                <a:gd name="connsiteX55" fmla="*/ 8566 w 10000"/>
                <a:gd name="connsiteY55" fmla="*/ 8569 h 10000"/>
                <a:gd name="connsiteX56" fmla="*/ 8450 w 10000"/>
                <a:gd name="connsiteY56" fmla="*/ 8686 h 10000"/>
                <a:gd name="connsiteX57" fmla="*/ 7810 w 10000"/>
                <a:gd name="connsiteY57" fmla="*/ 8471 h 10000"/>
                <a:gd name="connsiteX58" fmla="*/ 7616 w 10000"/>
                <a:gd name="connsiteY58" fmla="*/ 8608 h 10000"/>
                <a:gd name="connsiteX59" fmla="*/ 7442 w 10000"/>
                <a:gd name="connsiteY59" fmla="*/ 8745 h 10000"/>
                <a:gd name="connsiteX60" fmla="*/ 7442 w 10000"/>
                <a:gd name="connsiteY60" fmla="*/ 9412 h 10000"/>
                <a:gd name="connsiteX61" fmla="*/ 7287 w 10000"/>
                <a:gd name="connsiteY61" fmla="*/ 9510 h 10000"/>
                <a:gd name="connsiteX62" fmla="*/ 7151 w 10000"/>
                <a:gd name="connsiteY62" fmla="*/ 9569 h 10000"/>
                <a:gd name="connsiteX63" fmla="*/ 6609 w 10000"/>
                <a:gd name="connsiteY63" fmla="*/ 9157 h 10000"/>
                <a:gd name="connsiteX64" fmla="*/ 6395 w 10000"/>
                <a:gd name="connsiteY64" fmla="*/ 9235 h 10000"/>
                <a:gd name="connsiteX65" fmla="*/ 6279 w 10000"/>
                <a:gd name="connsiteY65" fmla="*/ 9275 h 10000"/>
                <a:gd name="connsiteX66" fmla="*/ 6163 w 10000"/>
                <a:gd name="connsiteY66" fmla="*/ 9314 h 10000"/>
                <a:gd name="connsiteX67" fmla="*/ 5950 w 10000"/>
                <a:gd name="connsiteY67" fmla="*/ 9961 h 10000"/>
                <a:gd name="connsiteX68" fmla="*/ 5640 w 10000"/>
                <a:gd name="connsiteY68" fmla="*/ 10000 h 10000"/>
                <a:gd name="connsiteX69" fmla="*/ 5252 w 10000"/>
                <a:gd name="connsiteY69" fmla="*/ 9451 h 10000"/>
                <a:gd name="connsiteX70" fmla="*/ 5019 w 10000"/>
                <a:gd name="connsiteY70" fmla="*/ 9451 h 10000"/>
                <a:gd name="connsiteX71" fmla="*/ 4767 w 10000"/>
                <a:gd name="connsiteY71" fmla="*/ 9451 h 10000"/>
                <a:gd name="connsiteX72" fmla="*/ 4380 w 10000"/>
                <a:gd name="connsiteY72" fmla="*/ 10000 h 10000"/>
                <a:gd name="connsiteX73" fmla="*/ 4225 w 10000"/>
                <a:gd name="connsiteY73" fmla="*/ 9980 h 10000"/>
                <a:gd name="connsiteX74" fmla="*/ 4070 w 10000"/>
                <a:gd name="connsiteY74" fmla="*/ 9961 h 10000"/>
                <a:gd name="connsiteX75" fmla="*/ 3857 w 10000"/>
                <a:gd name="connsiteY75" fmla="*/ 9314 h 10000"/>
                <a:gd name="connsiteX76" fmla="*/ 3624 w 10000"/>
                <a:gd name="connsiteY76" fmla="*/ 9235 h 10000"/>
                <a:gd name="connsiteX77" fmla="*/ 3508 w 10000"/>
                <a:gd name="connsiteY77" fmla="*/ 9216 h 10000"/>
                <a:gd name="connsiteX78" fmla="*/ 3411 w 10000"/>
                <a:gd name="connsiteY78" fmla="*/ 9157 h 10000"/>
                <a:gd name="connsiteX79" fmla="*/ 2868 w 10000"/>
                <a:gd name="connsiteY79" fmla="*/ 9569 h 10000"/>
                <a:gd name="connsiteX80" fmla="*/ 2733 w 10000"/>
                <a:gd name="connsiteY80" fmla="*/ 9510 h 10000"/>
                <a:gd name="connsiteX81" fmla="*/ 2578 w 10000"/>
                <a:gd name="connsiteY81" fmla="*/ 9412 h 10000"/>
                <a:gd name="connsiteX82" fmla="*/ 2597 w 10000"/>
                <a:gd name="connsiteY82" fmla="*/ 8745 h 10000"/>
                <a:gd name="connsiteX83" fmla="*/ 2403 w 10000"/>
                <a:gd name="connsiteY83" fmla="*/ 8608 h 10000"/>
                <a:gd name="connsiteX84" fmla="*/ 2306 w 10000"/>
                <a:gd name="connsiteY84" fmla="*/ 8529 h 10000"/>
                <a:gd name="connsiteX85" fmla="*/ 2209 w 10000"/>
                <a:gd name="connsiteY85" fmla="*/ 8471 h 10000"/>
                <a:gd name="connsiteX86" fmla="*/ 1570 w 10000"/>
                <a:gd name="connsiteY86" fmla="*/ 8686 h 10000"/>
                <a:gd name="connsiteX87" fmla="*/ 1453 w 10000"/>
                <a:gd name="connsiteY87" fmla="*/ 8569 h 10000"/>
                <a:gd name="connsiteX88" fmla="*/ 1337 w 10000"/>
                <a:gd name="connsiteY88" fmla="*/ 8451 h 10000"/>
                <a:gd name="connsiteX89" fmla="*/ 1550 w 10000"/>
                <a:gd name="connsiteY89" fmla="*/ 7804 h 10000"/>
                <a:gd name="connsiteX90" fmla="*/ 1415 w 10000"/>
                <a:gd name="connsiteY90" fmla="*/ 7627 h 10000"/>
                <a:gd name="connsiteX91" fmla="*/ 1279 w 10000"/>
                <a:gd name="connsiteY91" fmla="*/ 7412 h 10000"/>
                <a:gd name="connsiteX92" fmla="*/ 601 w 10000"/>
                <a:gd name="connsiteY92" fmla="*/ 7431 h 10000"/>
                <a:gd name="connsiteX93" fmla="*/ 523 w 10000"/>
                <a:gd name="connsiteY93" fmla="*/ 7294 h 10000"/>
                <a:gd name="connsiteX94" fmla="*/ 446 w 10000"/>
                <a:gd name="connsiteY94" fmla="*/ 7157 h 10000"/>
                <a:gd name="connsiteX95" fmla="*/ 853 w 10000"/>
                <a:gd name="connsiteY95" fmla="*/ 6608 h 10000"/>
                <a:gd name="connsiteX96" fmla="*/ 775 w 10000"/>
                <a:gd name="connsiteY96" fmla="*/ 6392 h 10000"/>
                <a:gd name="connsiteX97" fmla="*/ 756 w 10000"/>
                <a:gd name="connsiteY97" fmla="*/ 6275 h 10000"/>
                <a:gd name="connsiteX98" fmla="*/ 717 w 10000"/>
                <a:gd name="connsiteY98" fmla="*/ 6157 h 10000"/>
                <a:gd name="connsiteX99" fmla="*/ 58 w 10000"/>
                <a:gd name="connsiteY99" fmla="*/ 5941 h 10000"/>
                <a:gd name="connsiteX100" fmla="*/ 0 w 10000"/>
                <a:gd name="connsiteY100" fmla="*/ 5627 h 10000"/>
                <a:gd name="connsiteX101" fmla="*/ 581 w 10000"/>
                <a:gd name="connsiteY101" fmla="*/ 5235 h 10000"/>
                <a:gd name="connsiteX102" fmla="*/ 562 w 10000"/>
                <a:gd name="connsiteY102" fmla="*/ 5000 h 10000"/>
                <a:gd name="connsiteX103" fmla="*/ 581 w 10000"/>
                <a:gd name="connsiteY103" fmla="*/ 4765 h 10000"/>
                <a:gd name="connsiteX104" fmla="*/ 0 w 10000"/>
                <a:gd name="connsiteY104" fmla="*/ 4392 h 10000"/>
                <a:gd name="connsiteX105" fmla="*/ 19 w 10000"/>
                <a:gd name="connsiteY105" fmla="*/ 4216 h 10000"/>
                <a:gd name="connsiteX106" fmla="*/ 58 w 10000"/>
                <a:gd name="connsiteY106" fmla="*/ 4059 h 10000"/>
                <a:gd name="connsiteX107" fmla="*/ 717 w 10000"/>
                <a:gd name="connsiteY107" fmla="*/ 3863 h 10000"/>
                <a:gd name="connsiteX108" fmla="*/ 775 w 10000"/>
                <a:gd name="connsiteY108" fmla="*/ 3627 h 10000"/>
                <a:gd name="connsiteX109" fmla="*/ 814 w 10000"/>
                <a:gd name="connsiteY109" fmla="*/ 3510 h 10000"/>
                <a:gd name="connsiteX110" fmla="*/ 853 w 10000"/>
                <a:gd name="connsiteY110" fmla="*/ 3392 h 10000"/>
                <a:gd name="connsiteX111" fmla="*/ 446 w 10000"/>
                <a:gd name="connsiteY111" fmla="*/ 2863 h 10000"/>
                <a:gd name="connsiteX112" fmla="*/ 523 w 10000"/>
                <a:gd name="connsiteY112" fmla="*/ 2706 h 10000"/>
                <a:gd name="connsiteX113" fmla="*/ 601 w 10000"/>
                <a:gd name="connsiteY113" fmla="*/ 2588 h 10000"/>
                <a:gd name="connsiteX114" fmla="*/ 1279 w 10000"/>
                <a:gd name="connsiteY114" fmla="*/ 2588 h 10000"/>
                <a:gd name="connsiteX0" fmla="*/ 3740 w 10000"/>
                <a:gd name="connsiteY0" fmla="*/ 725 h 10000"/>
                <a:gd name="connsiteX1" fmla="*/ 3857 w 10000"/>
                <a:gd name="connsiteY1" fmla="*/ 706 h 10000"/>
                <a:gd name="connsiteX2" fmla="*/ 4070 w 10000"/>
                <a:gd name="connsiteY2" fmla="*/ 59 h 10000"/>
                <a:gd name="connsiteX3" fmla="*/ 4380 w 10000"/>
                <a:gd name="connsiteY3" fmla="*/ 0 h 10000"/>
                <a:gd name="connsiteX4" fmla="*/ 4767 w 10000"/>
                <a:gd name="connsiteY4" fmla="*/ 569 h 10000"/>
                <a:gd name="connsiteX5" fmla="*/ 5019 w 10000"/>
                <a:gd name="connsiteY5" fmla="*/ 549 h 10000"/>
                <a:gd name="connsiteX6" fmla="*/ 5252 w 10000"/>
                <a:gd name="connsiteY6" fmla="*/ 569 h 10000"/>
                <a:gd name="connsiteX7" fmla="*/ 5640 w 10000"/>
                <a:gd name="connsiteY7" fmla="*/ 0 h 10000"/>
                <a:gd name="connsiteX8" fmla="*/ 5795 w 10000"/>
                <a:gd name="connsiteY8" fmla="*/ 20 h 10000"/>
                <a:gd name="connsiteX9" fmla="*/ 5950 w 10000"/>
                <a:gd name="connsiteY9" fmla="*/ 59 h 10000"/>
                <a:gd name="connsiteX10" fmla="*/ 6163 w 10000"/>
                <a:gd name="connsiteY10" fmla="*/ 706 h 10000"/>
                <a:gd name="connsiteX11" fmla="*/ 6395 w 10000"/>
                <a:gd name="connsiteY11" fmla="*/ 765 h 10000"/>
                <a:gd name="connsiteX12" fmla="*/ 6492 w 10000"/>
                <a:gd name="connsiteY12" fmla="*/ 804 h 10000"/>
                <a:gd name="connsiteX13" fmla="*/ 6609 w 10000"/>
                <a:gd name="connsiteY13" fmla="*/ 843 h 10000"/>
                <a:gd name="connsiteX14" fmla="*/ 7151 w 10000"/>
                <a:gd name="connsiteY14" fmla="*/ 451 h 10000"/>
                <a:gd name="connsiteX15" fmla="*/ 7287 w 10000"/>
                <a:gd name="connsiteY15" fmla="*/ 510 h 10000"/>
                <a:gd name="connsiteX16" fmla="*/ 7442 w 10000"/>
                <a:gd name="connsiteY16" fmla="*/ 588 h 10000"/>
                <a:gd name="connsiteX17" fmla="*/ 7442 w 10000"/>
                <a:gd name="connsiteY17" fmla="*/ 1275 h 10000"/>
                <a:gd name="connsiteX18" fmla="*/ 7616 w 10000"/>
                <a:gd name="connsiteY18" fmla="*/ 1412 h 10000"/>
                <a:gd name="connsiteX19" fmla="*/ 7713 w 10000"/>
                <a:gd name="connsiteY19" fmla="*/ 1471 h 10000"/>
                <a:gd name="connsiteX20" fmla="*/ 7810 w 10000"/>
                <a:gd name="connsiteY20" fmla="*/ 1549 h 10000"/>
                <a:gd name="connsiteX21" fmla="*/ 8450 w 10000"/>
                <a:gd name="connsiteY21" fmla="*/ 1333 h 10000"/>
                <a:gd name="connsiteX22" fmla="*/ 8566 w 10000"/>
                <a:gd name="connsiteY22" fmla="*/ 1451 h 10000"/>
                <a:gd name="connsiteX23" fmla="*/ 8682 w 10000"/>
                <a:gd name="connsiteY23" fmla="*/ 1569 h 10000"/>
                <a:gd name="connsiteX24" fmla="*/ 8469 w 10000"/>
                <a:gd name="connsiteY24" fmla="*/ 2216 h 10000"/>
                <a:gd name="connsiteX25" fmla="*/ 8605 w 10000"/>
                <a:gd name="connsiteY25" fmla="*/ 2392 h 10000"/>
                <a:gd name="connsiteX26" fmla="*/ 8740 w 10000"/>
                <a:gd name="connsiteY26" fmla="*/ 2588 h 10000"/>
                <a:gd name="connsiteX27" fmla="*/ 9419 w 10000"/>
                <a:gd name="connsiteY27" fmla="*/ 2588 h 10000"/>
                <a:gd name="connsiteX28" fmla="*/ 9496 w 10000"/>
                <a:gd name="connsiteY28" fmla="*/ 2706 h 10000"/>
                <a:gd name="connsiteX29" fmla="*/ 9574 w 10000"/>
                <a:gd name="connsiteY29" fmla="*/ 2863 h 10000"/>
                <a:gd name="connsiteX30" fmla="*/ 9167 w 10000"/>
                <a:gd name="connsiteY30" fmla="*/ 3392 h 10000"/>
                <a:gd name="connsiteX31" fmla="*/ 9244 w 10000"/>
                <a:gd name="connsiteY31" fmla="*/ 3627 h 10000"/>
                <a:gd name="connsiteX32" fmla="*/ 9283 w 10000"/>
                <a:gd name="connsiteY32" fmla="*/ 3745 h 10000"/>
                <a:gd name="connsiteX33" fmla="*/ 9302 w 10000"/>
                <a:gd name="connsiteY33" fmla="*/ 3863 h 10000"/>
                <a:gd name="connsiteX34" fmla="*/ 9961 w 10000"/>
                <a:gd name="connsiteY34" fmla="*/ 4059 h 10000"/>
                <a:gd name="connsiteX35" fmla="*/ 10000 w 10000"/>
                <a:gd name="connsiteY35" fmla="*/ 4392 h 10000"/>
                <a:gd name="connsiteX36" fmla="*/ 9438 w 10000"/>
                <a:gd name="connsiteY36" fmla="*/ 4765 h 10000"/>
                <a:gd name="connsiteX37" fmla="*/ 9457 w 10000"/>
                <a:gd name="connsiteY37" fmla="*/ 5000 h 10000"/>
                <a:gd name="connsiteX38" fmla="*/ 9438 w 10000"/>
                <a:gd name="connsiteY38" fmla="*/ 5235 h 10000"/>
                <a:gd name="connsiteX39" fmla="*/ 10000 w 10000"/>
                <a:gd name="connsiteY39" fmla="*/ 5627 h 10000"/>
                <a:gd name="connsiteX40" fmla="*/ 9981 w 10000"/>
                <a:gd name="connsiteY40" fmla="*/ 5784 h 10000"/>
                <a:gd name="connsiteX41" fmla="*/ 9961 w 10000"/>
                <a:gd name="connsiteY41" fmla="*/ 5941 h 10000"/>
                <a:gd name="connsiteX42" fmla="*/ 9302 w 10000"/>
                <a:gd name="connsiteY42" fmla="*/ 6157 h 10000"/>
                <a:gd name="connsiteX43" fmla="*/ 9244 w 10000"/>
                <a:gd name="connsiteY43" fmla="*/ 6392 h 10000"/>
                <a:gd name="connsiteX44" fmla="*/ 9205 w 10000"/>
                <a:gd name="connsiteY44" fmla="*/ 6490 h 10000"/>
                <a:gd name="connsiteX45" fmla="*/ 9167 w 10000"/>
                <a:gd name="connsiteY45" fmla="*/ 6608 h 10000"/>
                <a:gd name="connsiteX46" fmla="*/ 9574 w 10000"/>
                <a:gd name="connsiteY46" fmla="*/ 7157 h 10000"/>
                <a:gd name="connsiteX47" fmla="*/ 9496 w 10000"/>
                <a:gd name="connsiteY47" fmla="*/ 7294 h 10000"/>
                <a:gd name="connsiteX48" fmla="*/ 9419 w 10000"/>
                <a:gd name="connsiteY48" fmla="*/ 7431 h 10000"/>
                <a:gd name="connsiteX49" fmla="*/ 8740 w 10000"/>
                <a:gd name="connsiteY49" fmla="*/ 7412 h 10000"/>
                <a:gd name="connsiteX50" fmla="*/ 8605 w 10000"/>
                <a:gd name="connsiteY50" fmla="*/ 7627 h 10000"/>
                <a:gd name="connsiteX51" fmla="*/ 8547 w 10000"/>
                <a:gd name="connsiteY51" fmla="*/ 7706 h 10000"/>
                <a:gd name="connsiteX52" fmla="*/ 8469 w 10000"/>
                <a:gd name="connsiteY52" fmla="*/ 7804 h 10000"/>
                <a:gd name="connsiteX53" fmla="*/ 8682 w 10000"/>
                <a:gd name="connsiteY53" fmla="*/ 8451 h 10000"/>
                <a:gd name="connsiteX54" fmla="*/ 8566 w 10000"/>
                <a:gd name="connsiteY54" fmla="*/ 8569 h 10000"/>
                <a:gd name="connsiteX55" fmla="*/ 8450 w 10000"/>
                <a:gd name="connsiteY55" fmla="*/ 8686 h 10000"/>
                <a:gd name="connsiteX56" fmla="*/ 7810 w 10000"/>
                <a:gd name="connsiteY56" fmla="*/ 8471 h 10000"/>
                <a:gd name="connsiteX57" fmla="*/ 7616 w 10000"/>
                <a:gd name="connsiteY57" fmla="*/ 8608 h 10000"/>
                <a:gd name="connsiteX58" fmla="*/ 7442 w 10000"/>
                <a:gd name="connsiteY58" fmla="*/ 8745 h 10000"/>
                <a:gd name="connsiteX59" fmla="*/ 7442 w 10000"/>
                <a:gd name="connsiteY59" fmla="*/ 9412 h 10000"/>
                <a:gd name="connsiteX60" fmla="*/ 7287 w 10000"/>
                <a:gd name="connsiteY60" fmla="*/ 9510 h 10000"/>
                <a:gd name="connsiteX61" fmla="*/ 7151 w 10000"/>
                <a:gd name="connsiteY61" fmla="*/ 9569 h 10000"/>
                <a:gd name="connsiteX62" fmla="*/ 6609 w 10000"/>
                <a:gd name="connsiteY62" fmla="*/ 9157 h 10000"/>
                <a:gd name="connsiteX63" fmla="*/ 6395 w 10000"/>
                <a:gd name="connsiteY63" fmla="*/ 9235 h 10000"/>
                <a:gd name="connsiteX64" fmla="*/ 6279 w 10000"/>
                <a:gd name="connsiteY64" fmla="*/ 9275 h 10000"/>
                <a:gd name="connsiteX65" fmla="*/ 6163 w 10000"/>
                <a:gd name="connsiteY65" fmla="*/ 9314 h 10000"/>
                <a:gd name="connsiteX66" fmla="*/ 5950 w 10000"/>
                <a:gd name="connsiteY66" fmla="*/ 9961 h 10000"/>
                <a:gd name="connsiteX67" fmla="*/ 5640 w 10000"/>
                <a:gd name="connsiteY67" fmla="*/ 10000 h 10000"/>
                <a:gd name="connsiteX68" fmla="*/ 5252 w 10000"/>
                <a:gd name="connsiteY68" fmla="*/ 9451 h 10000"/>
                <a:gd name="connsiteX69" fmla="*/ 5019 w 10000"/>
                <a:gd name="connsiteY69" fmla="*/ 9451 h 10000"/>
                <a:gd name="connsiteX70" fmla="*/ 4767 w 10000"/>
                <a:gd name="connsiteY70" fmla="*/ 9451 h 10000"/>
                <a:gd name="connsiteX71" fmla="*/ 4380 w 10000"/>
                <a:gd name="connsiteY71" fmla="*/ 10000 h 10000"/>
                <a:gd name="connsiteX72" fmla="*/ 4225 w 10000"/>
                <a:gd name="connsiteY72" fmla="*/ 9980 h 10000"/>
                <a:gd name="connsiteX73" fmla="*/ 4070 w 10000"/>
                <a:gd name="connsiteY73" fmla="*/ 9961 h 10000"/>
                <a:gd name="connsiteX74" fmla="*/ 3857 w 10000"/>
                <a:gd name="connsiteY74" fmla="*/ 9314 h 10000"/>
                <a:gd name="connsiteX75" fmla="*/ 3624 w 10000"/>
                <a:gd name="connsiteY75" fmla="*/ 9235 h 10000"/>
                <a:gd name="connsiteX76" fmla="*/ 3508 w 10000"/>
                <a:gd name="connsiteY76" fmla="*/ 9216 h 10000"/>
                <a:gd name="connsiteX77" fmla="*/ 3411 w 10000"/>
                <a:gd name="connsiteY77" fmla="*/ 9157 h 10000"/>
                <a:gd name="connsiteX78" fmla="*/ 2868 w 10000"/>
                <a:gd name="connsiteY78" fmla="*/ 9569 h 10000"/>
                <a:gd name="connsiteX79" fmla="*/ 2733 w 10000"/>
                <a:gd name="connsiteY79" fmla="*/ 9510 h 10000"/>
                <a:gd name="connsiteX80" fmla="*/ 2578 w 10000"/>
                <a:gd name="connsiteY80" fmla="*/ 9412 h 10000"/>
                <a:gd name="connsiteX81" fmla="*/ 2597 w 10000"/>
                <a:gd name="connsiteY81" fmla="*/ 8745 h 10000"/>
                <a:gd name="connsiteX82" fmla="*/ 2403 w 10000"/>
                <a:gd name="connsiteY82" fmla="*/ 8608 h 10000"/>
                <a:gd name="connsiteX83" fmla="*/ 2306 w 10000"/>
                <a:gd name="connsiteY83" fmla="*/ 8529 h 10000"/>
                <a:gd name="connsiteX84" fmla="*/ 2209 w 10000"/>
                <a:gd name="connsiteY84" fmla="*/ 8471 h 10000"/>
                <a:gd name="connsiteX85" fmla="*/ 1570 w 10000"/>
                <a:gd name="connsiteY85" fmla="*/ 8686 h 10000"/>
                <a:gd name="connsiteX86" fmla="*/ 1453 w 10000"/>
                <a:gd name="connsiteY86" fmla="*/ 8569 h 10000"/>
                <a:gd name="connsiteX87" fmla="*/ 1337 w 10000"/>
                <a:gd name="connsiteY87" fmla="*/ 8451 h 10000"/>
                <a:gd name="connsiteX88" fmla="*/ 1550 w 10000"/>
                <a:gd name="connsiteY88" fmla="*/ 7804 h 10000"/>
                <a:gd name="connsiteX89" fmla="*/ 1415 w 10000"/>
                <a:gd name="connsiteY89" fmla="*/ 7627 h 10000"/>
                <a:gd name="connsiteX90" fmla="*/ 1279 w 10000"/>
                <a:gd name="connsiteY90" fmla="*/ 7412 h 10000"/>
                <a:gd name="connsiteX91" fmla="*/ 601 w 10000"/>
                <a:gd name="connsiteY91" fmla="*/ 7431 h 10000"/>
                <a:gd name="connsiteX92" fmla="*/ 523 w 10000"/>
                <a:gd name="connsiteY92" fmla="*/ 7294 h 10000"/>
                <a:gd name="connsiteX93" fmla="*/ 446 w 10000"/>
                <a:gd name="connsiteY93" fmla="*/ 7157 h 10000"/>
                <a:gd name="connsiteX94" fmla="*/ 853 w 10000"/>
                <a:gd name="connsiteY94" fmla="*/ 6608 h 10000"/>
                <a:gd name="connsiteX95" fmla="*/ 775 w 10000"/>
                <a:gd name="connsiteY95" fmla="*/ 6392 h 10000"/>
                <a:gd name="connsiteX96" fmla="*/ 756 w 10000"/>
                <a:gd name="connsiteY96" fmla="*/ 6275 h 10000"/>
                <a:gd name="connsiteX97" fmla="*/ 717 w 10000"/>
                <a:gd name="connsiteY97" fmla="*/ 6157 h 10000"/>
                <a:gd name="connsiteX98" fmla="*/ 58 w 10000"/>
                <a:gd name="connsiteY98" fmla="*/ 5941 h 10000"/>
                <a:gd name="connsiteX99" fmla="*/ 0 w 10000"/>
                <a:gd name="connsiteY99" fmla="*/ 5627 h 10000"/>
                <a:gd name="connsiteX100" fmla="*/ 581 w 10000"/>
                <a:gd name="connsiteY100" fmla="*/ 5235 h 10000"/>
                <a:gd name="connsiteX101" fmla="*/ 562 w 10000"/>
                <a:gd name="connsiteY101" fmla="*/ 5000 h 10000"/>
                <a:gd name="connsiteX102" fmla="*/ 581 w 10000"/>
                <a:gd name="connsiteY102" fmla="*/ 4765 h 10000"/>
                <a:gd name="connsiteX103" fmla="*/ 0 w 10000"/>
                <a:gd name="connsiteY103" fmla="*/ 4392 h 10000"/>
                <a:gd name="connsiteX104" fmla="*/ 19 w 10000"/>
                <a:gd name="connsiteY104" fmla="*/ 4216 h 10000"/>
                <a:gd name="connsiteX105" fmla="*/ 58 w 10000"/>
                <a:gd name="connsiteY105" fmla="*/ 4059 h 10000"/>
                <a:gd name="connsiteX106" fmla="*/ 717 w 10000"/>
                <a:gd name="connsiteY106" fmla="*/ 3863 h 10000"/>
                <a:gd name="connsiteX107" fmla="*/ 775 w 10000"/>
                <a:gd name="connsiteY107" fmla="*/ 3627 h 10000"/>
                <a:gd name="connsiteX108" fmla="*/ 814 w 10000"/>
                <a:gd name="connsiteY108" fmla="*/ 3510 h 10000"/>
                <a:gd name="connsiteX109" fmla="*/ 853 w 10000"/>
                <a:gd name="connsiteY109" fmla="*/ 3392 h 10000"/>
                <a:gd name="connsiteX110" fmla="*/ 446 w 10000"/>
                <a:gd name="connsiteY110" fmla="*/ 2863 h 10000"/>
                <a:gd name="connsiteX111" fmla="*/ 523 w 10000"/>
                <a:gd name="connsiteY111" fmla="*/ 2706 h 10000"/>
                <a:gd name="connsiteX112" fmla="*/ 601 w 10000"/>
                <a:gd name="connsiteY112" fmla="*/ 2588 h 10000"/>
                <a:gd name="connsiteX113" fmla="*/ 1279 w 10000"/>
                <a:gd name="connsiteY113" fmla="*/ 2588 h 10000"/>
                <a:gd name="connsiteX0" fmla="*/ 3740 w 10000"/>
                <a:gd name="connsiteY0" fmla="*/ 725 h 10000"/>
                <a:gd name="connsiteX1" fmla="*/ 4070 w 10000"/>
                <a:gd name="connsiteY1" fmla="*/ 59 h 10000"/>
                <a:gd name="connsiteX2" fmla="*/ 4380 w 10000"/>
                <a:gd name="connsiteY2" fmla="*/ 0 h 10000"/>
                <a:gd name="connsiteX3" fmla="*/ 4767 w 10000"/>
                <a:gd name="connsiteY3" fmla="*/ 569 h 10000"/>
                <a:gd name="connsiteX4" fmla="*/ 5019 w 10000"/>
                <a:gd name="connsiteY4" fmla="*/ 549 h 10000"/>
                <a:gd name="connsiteX5" fmla="*/ 5252 w 10000"/>
                <a:gd name="connsiteY5" fmla="*/ 569 h 10000"/>
                <a:gd name="connsiteX6" fmla="*/ 5640 w 10000"/>
                <a:gd name="connsiteY6" fmla="*/ 0 h 10000"/>
                <a:gd name="connsiteX7" fmla="*/ 5795 w 10000"/>
                <a:gd name="connsiteY7" fmla="*/ 20 h 10000"/>
                <a:gd name="connsiteX8" fmla="*/ 5950 w 10000"/>
                <a:gd name="connsiteY8" fmla="*/ 59 h 10000"/>
                <a:gd name="connsiteX9" fmla="*/ 6163 w 10000"/>
                <a:gd name="connsiteY9" fmla="*/ 706 h 10000"/>
                <a:gd name="connsiteX10" fmla="*/ 6395 w 10000"/>
                <a:gd name="connsiteY10" fmla="*/ 765 h 10000"/>
                <a:gd name="connsiteX11" fmla="*/ 6492 w 10000"/>
                <a:gd name="connsiteY11" fmla="*/ 804 h 10000"/>
                <a:gd name="connsiteX12" fmla="*/ 6609 w 10000"/>
                <a:gd name="connsiteY12" fmla="*/ 843 h 10000"/>
                <a:gd name="connsiteX13" fmla="*/ 7151 w 10000"/>
                <a:gd name="connsiteY13" fmla="*/ 451 h 10000"/>
                <a:gd name="connsiteX14" fmla="*/ 7287 w 10000"/>
                <a:gd name="connsiteY14" fmla="*/ 510 h 10000"/>
                <a:gd name="connsiteX15" fmla="*/ 7442 w 10000"/>
                <a:gd name="connsiteY15" fmla="*/ 588 h 10000"/>
                <a:gd name="connsiteX16" fmla="*/ 7442 w 10000"/>
                <a:gd name="connsiteY16" fmla="*/ 1275 h 10000"/>
                <a:gd name="connsiteX17" fmla="*/ 7616 w 10000"/>
                <a:gd name="connsiteY17" fmla="*/ 1412 h 10000"/>
                <a:gd name="connsiteX18" fmla="*/ 7713 w 10000"/>
                <a:gd name="connsiteY18" fmla="*/ 1471 h 10000"/>
                <a:gd name="connsiteX19" fmla="*/ 7810 w 10000"/>
                <a:gd name="connsiteY19" fmla="*/ 1549 h 10000"/>
                <a:gd name="connsiteX20" fmla="*/ 8450 w 10000"/>
                <a:gd name="connsiteY20" fmla="*/ 1333 h 10000"/>
                <a:gd name="connsiteX21" fmla="*/ 8566 w 10000"/>
                <a:gd name="connsiteY21" fmla="*/ 1451 h 10000"/>
                <a:gd name="connsiteX22" fmla="*/ 8682 w 10000"/>
                <a:gd name="connsiteY22" fmla="*/ 1569 h 10000"/>
                <a:gd name="connsiteX23" fmla="*/ 8469 w 10000"/>
                <a:gd name="connsiteY23" fmla="*/ 2216 h 10000"/>
                <a:gd name="connsiteX24" fmla="*/ 8605 w 10000"/>
                <a:gd name="connsiteY24" fmla="*/ 2392 h 10000"/>
                <a:gd name="connsiteX25" fmla="*/ 8740 w 10000"/>
                <a:gd name="connsiteY25" fmla="*/ 2588 h 10000"/>
                <a:gd name="connsiteX26" fmla="*/ 9419 w 10000"/>
                <a:gd name="connsiteY26" fmla="*/ 2588 h 10000"/>
                <a:gd name="connsiteX27" fmla="*/ 9496 w 10000"/>
                <a:gd name="connsiteY27" fmla="*/ 2706 h 10000"/>
                <a:gd name="connsiteX28" fmla="*/ 9574 w 10000"/>
                <a:gd name="connsiteY28" fmla="*/ 2863 h 10000"/>
                <a:gd name="connsiteX29" fmla="*/ 9167 w 10000"/>
                <a:gd name="connsiteY29" fmla="*/ 3392 h 10000"/>
                <a:gd name="connsiteX30" fmla="*/ 9244 w 10000"/>
                <a:gd name="connsiteY30" fmla="*/ 3627 h 10000"/>
                <a:gd name="connsiteX31" fmla="*/ 9283 w 10000"/>
                <a:gd name="connsiteY31" fmla="*/ 3745 h 10000"/>
                <a:gd name="connsiteX32" fmla="*/ 9302 w 10000"/>
                <a:gd name="connsiteY32" fmla="*/ 3863 h 10000"/>
                <a:gd name="connsiteX33" fmla="*/ 9961 w 10000"/>
                <a:gd name="connsiteY33" fmla="*/ 4059 h 10000"/>
                <a:gd name="connsiteX34" fmla="*/ 10000 w 10000"/>
                <a:gd name="connsiteY34" fmla="*/ 4392 h 10000"/>
                <a:gd name="connsiteX35" fmla="*/ 9438 w 10000"/>
                <a:gd name="connsiteY35" fmla="*/ 4765 h 10000"/>
                <a:gd name="connsiteX36" fmla="*/ 9457 w 10000"/>
                <a:gd name="connsiteY36" fmla="*/ 5000 h 10000"/>
                <a:gd name="connsiteX37" fmla="*/ 9438 w 10000"/>
                <a:gd name="connsiteY37" fmla="*/ 5235 h 10000"/>
                <a:gd name="connsiteX38" fmla="*/ 10000 w 10000"/>
                <a:gd name="connsiteY38" fmla="*/ 5627 h 10000"/>
                <a:gd name="connsiteX39" fmla="*/ 9981 w 10000"/>
                <a:gd name="connsiteY39" fmla="*/ 5784 h 10000"/>
                <a:gd name="connsiteX40" fmla="*/ 9961 w 10000"/>
                <a:gd name="connsiteY40" fmla="*/ 5941 h 10000"/>
                <a:gd name="connsiteX41" fmla="*/ 9302 w 10000"/>
                <a:gd name="connsiteY41" fmla="*/ 6157 h 10000"/>
                <a:gd name="connsiteX42" fmla="*/ 9244 w 10000"/>
                <a:gd name="connsiteY42" fmla="*/ 6392 h 10000"/>
                <a:gd name="connsiteX43" fmla="*/ 9205 w 10000"/>
                <a:gd name="connsiteY43" fmla="*/ 6490 h 10000"/>
                <a:gd name="connsiteX44" fmla="*/ 9167 w 10000"/>
                <a:gd name="connsiteY44" fmla="*/ 6608 h 10000"/>
                <a:gd name="connsiteX45" fmla="*/ 9574 w 10000"/>
                <a:gd name="connsiteY45" fmla="*/ 7157 h 10000"/>
                <a:gd name="connsiteX46" fmla="*/ 9496 w 10000"/>
                <a:gd name="connsiteY46" fmla="*/ 7294 h 10000"/>
                <a:gd name="connsiteX47" fmla="*/ 9419 w 10000"/>
                <a:gd name="connsiteY47" fmla="*/ 7431 h 10000"/>
                <a:gd name="connsiteX48" fmla="*/ 8740 w 10000"/>
                <a:gd name="connsiteY48" fmla="*/ 7412 h 10000"/>
                <a:gd name="connsiteX49" fmla="*/ 8605 w 10000"/>
                <a:gd name="connsiteY49" fmla="*/ 7627 h 10000"/>
                <a:gd name="connsiteX50" fmla="*/ 8547 w 10000"/>
                <a:gd name="connsiteY50" fmla="*/ 7706 h 10000"/>
                <a:gd name="connsiteX51" fmla="*/ 8469 w 10000"/>
                <a:gd name="connsiteY51" fmla="*/ 7804 h 10000"/>
                <a:gd name="connsiteX52" fmla="*/ 8682 w 10000"/>
                <a:gd name="connsiteY52" fmla="*/ 8451 h 10000"/>
                <a:gd name="connsiteX53" fmla="*/ 8566 w 10000"/>
                <a:gd name="connsiteY53" fmla="*/ 8569 h 10000"/>
                <a:gd name="connsiteX54" fmla="*/ 8450 w 10000"/>
                <a:gd name="connsiteY54" fmla="*/ 8686 h 10000"/>
                <a:gd name="connsiteX55" fmla="*/ 7810 w 10000"/>
                <a:gd name="connsiteY55" fmla="*/ 8471 h 10000"/>
                <a:gd name="connsiteX56" fmla="*/ 7616 w 10000"/>
                <a:gd name="connsiteY56" fmla="*/ 8608 h 10000"/>
                <a:gd name="connsiteX57" fmla="*/ 7442 w 10000"/>
                <a:gd name="connsiteY57" fmla="*/ 8745 h 10000"/>
                <a:gd name="connsiteX58" fmla="*/ 7442 w 10000"/>
                <a:gd name="connsiteY58" fmla="*/ 9412 h 10000"/>
                <a:gd name="connsiteX59" fmla="*/ 7287 w 10000"/>
                <a:gd name="connsiteY59" fmla="*/ 9510 h 10000"/>
                <a:gd name="connsiteX60" fmla="*/ 7151 w 10000"/>
                <a:gd name="connsiteY60" fmla="*/ 9569 h 10000"/>
                <a:gd name="connsiteX61" fmla="*/ 6609 w 10000"/>
                <a:gd name="connsiteY61" fmla="*/ 9157 h 10000"/>
                <a:gd name="connsiteX62" fmla="*/ 6395 w 10000"/>
                <a:gd name="connsiteY62" fmla="*/ 9235 h 10000"/>
                <a:gd name="connsiteX63" fmla="*/ 6279 w 10000"/>
                <a:gd name="connsiteY63" fmla="*/ 9275 h 10000"/>
                <a:gd name="connsiteX64" fmla="*/ 6163 w 10000"/>
                <a:gd name="connsiteY64" fmla="*/ 9314 h 10000"/>
                <a:gd name="connsiteX65" fmla="*/ 5950 w 10000"/>
                <a:gd name="connsiteY65" fmla="*/ 9961 h 10000"/>
                <a:gd name="connsiteX66" fmla="*/ 5640 w 10000"/>
                <a:gd name="connsiteY66" fmla="*/ 10000 h 10000"/>
                <a:gd name="connsiteX67" fmla="*/ 5252 w 10000"/>
                <a:gd name="connsiteY67" fmla="*/ 9451 h 10000"/>
                <a:gd name="connsiteX68" fmla="*/ 5019 w 10000"/>
                <a:gd name="connsiteY68" fmla="*/ 9451 h 10000"/>
                <a:gd name="connsiteX69" fmla="*/ 4767 w 10000"/>
                <a:gd name="connsiteY69" fmla="*/ 9451 h 10000"/>
                <a:gd name="connsiteX70" fmla="*/ 4380 w 10000"/>
                <a:gd name="connsiteY70" fmla="*/ 10000 h 10000"/>
                <a:gd name="connsiteX71" fmla="*/ 4225 w 10000"/>
                <a:gd name="connsiteY71" fmla="*/ 9980 h 10000"/>
                <a:gd name="connsiteX72" fmla="*/ 4070 w 10000"/>
                <a:gd name="connsiteY72" fmla="*/ 9961 h 10000"/>
                <a:gd name="connsiteX73" fmla="*/ 3857 w 10000"/>
                <a:gd name="connsiteY73" fmla="*/ 9314 h 10000"/>
                <a:gd name="connsiteX74" fmla="*/ 3624 w 10000"/>
                <a:gd name="connsiteY74" fmla="*/ 9235 h 10000"/>
                <a:gd name="connsiteX75" fmla="*/ 3508 w 10000"/>
                <a:gd name="connsiteY75" fmla="*/ 9216 h 10000"/>
                <a:gd name="connsiteX76" fmla="*/ 3411 w 10000"/>
                <a:gd name="connsiteY76" fmla="*/ 9157 h 10000"/>
                <a:gd name="connsiteX77" fmla="*/ 2868 w 10000"/>
                <a:gd name="connsiteY77" fmla="*/ 9569 h 10000"/>
                <a:gd name="connsiteX78" fmla="*/ 2733 w 10000"/>
                <a:gd name="connsiteY78" fmla="*/ 9510 h 10000"/>
                <a:gd name="connsiteX79" fmla="*/ 2578 w 10000"/>
                <a:gd name="connsiteY79" fmla="*/ 9412 h 10000"/>
                <a:gd name="connsiteX80" fmla="*/ 2597 w 10000"/>
                <a:gd name="connsiteY80" fmla="*/ 8745 h 10000"/>
                <a:gd name="connsiteX81" fmla="*/ 2403 w 10000"/>
                <a:gd name="connsiteY81" fmla="*/ 8608 h 10000"/>
                <a:gd name="connsiteX82" fmla="*/ 2306 w 10000"/>
                <a:gd name="connsiteY82" fmla="*/ 8529 h 10000"/>
                <a:gd name="connsiteX83" fmla="*/ 2209 w 10000"/>
                <a:gd name="connsiteY83" fmla="*/ 8471 h 10000"/>
                <a:gd name="connsiteX84" fmla="*/ 1570 w 10000"/>
                <a:gd name="connsiteY84" fmla="*/ 8686 h 10000"/>
                <a:gd name="connsiteX85" fmla="*/ 1453 w 10000"/>
                <a:gd name="connsiteY85" fmla="*/ 8569 h 10000"/>
                <a:gd name="connsiteX86" fmla="*/ 1337 w 10000"/>
                <a:gd name="connsiteY86" fmla="*/ 8451 h 10000"/>
                <a:gd name="connsiteX87" fmla="*/ 1550 w 10000"/>
                <a:gd name="connsiteY87" fmla="*/ 7804 h 10000"/>
                <a:gd name="connsiteX88" fmla="*/ 1415 w 10000"/>
                <a:gd name="connsiteY88" fmla="*/ 7627 h 10000"/>
                <a:gd name="connsiteX89" fmla="*/ 1279 w 10000"/>
                <a:gd name="connsiteY89" fmla="*/ 7412 h 10000"/>
                <a:gd name="connsiteX90" fmla="*/ 601 w 10000"/>
                <a:gd name="connsiteY90" fmla="*/ 7431 h 10000"/>
                <a:gd name="connsiteX91" fmla="*/ 523 w 10000"/>
                <a:gd name="connsiteY91" fmla="*/ 7294 h 10000"/>
                <a:gd name="connsiteX92" fmla="*/ 446 w 10000"/>
                <a:gd name="connsiteY92" fmla="*/ 7157 h 10000"/>
                <a:gd name="connsiteX93" fmla="*/ 853 w 10000"/>
                <a:gd name="connsiteY93" fmla="*/ 6608 h 10000"/>
                <a:gd name="connsiteX94" fmla="*/ 775 w 10000"/>
                <a:gd name="connsiteY94" fmla="*/ 6392 h 10000"/>
                <a:gd name="connsiteX95" fmla="*/ 756 w 10000"/>
                <a:gd name="connsiteY95" fmla="*/ 6275 h 10000"/>
                <a:gd name="connsiteX96" fmla="*/ 717 w 10000"/>
                <a:gd name="connsiteY96" fmla="*/ 6157 h 10000"/>
                <a:gd name="connsiteX97" fmla="*/ 58 w 10000"/>
                <a:gd name="connsiteY97" fmla="*/ 5941 h 10000"/>
                <a:gd name="connsiteX98" fmla="*/ 0 w 10000"/>
                <a:gd name="connsiteY98" fmla="*/ 5627 h 10000"/>
                <a:gd name="connsiteX99" fmla="*/ 581 w 10000"/>
                <a:gd name="connsiteY99" fmla="*/ 5235 h 10000"/>
                <a:gd name="connsiteX100" fmla="*/ 562 w 10000"/>
                <a:gd name="connsiteY100" fmla="*/ 5000 h 10000"/>
                <a:gd name="connsiteX101" fmla="*/ 581 w 10000"/>
                <a:gd name="connsiteY101" fmla="*/ 4765 h 10000"/>
                <a:gd name="connsiteX102" fmla="*/ 0 w 10000"/>
                <a:gd name="connsiteY102" fmla="*/ 4392 h 10000"/>
                <a:gd name="connsiteX103" fmla="*/ 19 w 10000"/>
                <a:gd name="connsiteY103" fmla="*/ 4216 h 10000"/>
                <a:gd name="connsiteX104" fmla="*/ 58 w 10000"/>
                <a:gd name="connsiteY104" fmla="*/ 4059 h 10000"/>
                <a:gd name="connsiteX105" fmla="*/ 717 w 10000"/>
                <a:gd name="connsiteY105" fmla="*/ 3863 h 10000"/>
                <a:gd name="connsiteX106" fmla="*/ 775 w 10000"/>
                <a:gd name="connsiteY106" fmla="*/ 3627 h 10000"/>
                <a:gd name="connsiteX107" fmla="*/ 814 w 10000"/>
                <a:gd name="connsiteY107" fmla="*/ 3510 h 10000"/>
                <a:gd name="connsiteX108" fmla="*/ 853 w 10000"/>
                <a:gd name="connsiteY108" fmla="*/ 3392 h 10000"/>
                <a:gd name="connsiteX109" fmla="*/ 446 w 10000"/>
                <a:gd name="connsiteY109" fmla="*/ 2863 h 10000"/>
                <a:gd name="connsiteX110" fmla="*/ 523 w 10000"/>
                <a:gd name="connsiteY110" fmla="*/ 2706 h 10000"/>
                <a:gd name="connsiteX111" fmla="*/ 601 w 10000"/>
                <a:gd name="connsiteY111" fmla="*/ 2588 h 10000"/>
                <a:gd name="connsiteX112" fmla="*/ 1279 w 10000"/>
                <a:gd name="connsiteY112" fmla="*/ 2588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108" fmla="*/ 446 w 10000"/>
                <a:gd name="connsiteY108" fmla="*/ 2863 h 10000"/>
                <a:gd name="connsiteX109" fmla="*/ 523 w 10000"/>
                <a:gd name="connsiteY109" fmla="*/ 2706 h 10000"/>
                <a:gd name="connsiteX110" fmla="*/ 601 w 10000"/>
                <a:gd name="connsiteY110" fmla="*/ 2588 h 10000"/>
                <a:gd name="connsiteX111" fmla="*/ 1279 w 10000"/>
                <a:gd name="connsiteY111" fmla="*/ 2588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108" fmla="*/ 446 w 10000"/>
                <a:gd name="connsiteY108" fmla="*/ 2863 h 10000"/>
                <a:gd name="connsiteX109" fmla="*/ 523 w 10000"/>
                <a:gd name="connsiteY109" fmla="*/ 2706 h 10000"/>
                <a:gd name="connsiteX110" fmla="*/ 601 w 10000"/>
                <a:gd name="connsiteY110" fmla="*/ 2588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108" fmla="*/ 446 w 10000"/>
                <a:gd name="connsiteY108" fmla="*/ 2863 h 10000"/>
                <a:gd name="connsiteX109" fmla="*/ 523 w 10000"/>
                <a:gd name="connsiteY109" fmla="*/ 2706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108" fmla="*/ 446 w 10000"/>
                <a:gd name="connsiteY108" fmla="*/ 2863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0000" h="10000">
                  <a:moveTo>
                    <a:pt x="4070" y="59"/>
                  </a:moveTo>
                  <a:lnTo>
                    <a:pt x="4380" y="0"/>
                  </a:lnTo>
                  <a:lnTo>
                    <a:pt x="4767" y="569"/>
                  </a:lnTo>
                  <a:lnTo>
                    <a:pt x="5019" y="549"/>
                  </a:lnTo>
                  <a:lnTo>
                    <a:pt x="5252" y="569"/>
                  </a:lnTo>
                  <a:lnTo>
                    <a:pt x="5640" y="0"/>
                  </a:lnTo>
                  <a:lnTo>
                    <a:pt x="5795" y="20"/>
                  </a:lnTo>
                  <a:lnTo>
                    <a:pt x="5950" y="59"/>
                  </a:lnTo>
                  <a:lnTo>
                    <a:pt x="6163" y="706"/>
                  </a:lnTo>
                  <a:lnTo>
                    <a:pt x="6395" y="765"/>
                  </a:lnTo>
                  <a:lnTo>
                    <a:pt x="6492" y="804"/>
                  </a:lnTo>
                  <a:lnTo>
                    <a:pt x="6609" y="843"/>
                  </a:lnTo>
                  <a:lnTo>
                    <a:pt x="7151" y="451"/>
                  </a:lnTo>
                  <a:cubicBezTo>
                    <a:pt x="7196" y="471"/>
                    <a:pt x="7242" y="490"/>
                    <a:pt x="7287" y="510"/>
                  </a:cubicBezTo>
                  <a:lnTo>
                    <a:pt x="7442" y="588"/>
                  </a:lnTo>
                  <a:lnTo>
                    <a:pt x="7442" y="1275"/>
                  </a:lnTo>
                  <a:lnTo>
                    <a:pt x="7616" y="1412"/>
                  </a:lnTo>
                  <a:cubicBezTo>
                    <a:pt x="7648" y="1432"/>
                    <a:pt x="7681" y="1451"/>
                    <a:pt x="7713" y="1471"/>
                  </a:cubicBezTo>
                  <a:lnTo>
                    <a:pt x="7810" y="1549"/>
                  </a:lnTo>
                  <a:lnTo>
                    <a:pt x="8450" y="1333"/>
                  </a:lnTo>
                  <a:cubicBezTo>
                    <a:pt x="8489" y="1372"/>
                    <a:pt x="8527" y="1412"/>
                    <a:pt x="8566" y="1451"/>
                  </a:cubicBezTo>
                  <a:cubicBezTo>
                    <a:pt x="8605" y="1490"/>
                    <a:pt x="8643" y="1530"/>
                    <a:pt x="8682" y="1569"/>
                  </a:cubicBezTo>
                  <a:lnTo>
                    <a:pt x="8469" y="2216"/>
                  </a:lnTo>
                  <a:cubicBezTo>
                    <a:pt x="8514" y="2275"/>
                    <a:pt x="8560" y="2333"/>
                    <a:pt x="8605" y="2392"/>
                  </a:cubicBezTo>
                  <a:lnTo>
                    <a:pt x="8740" y="2588"/>
                  </a:lnTo>
                  <a:lnTo>
                    <a:pt x="9419" y="2588"/>
                  </a:lnTo>
                  <a:cubicBezTo>
                    <a:pt x="9445" y="2627"/>
                    <a:pt x="9470" y="2667"/>
                    <a:pt x="9496" y="2706"/>
                  </a:cubicBezTo>
                  <a:cubicBezTo>
                    <a:pt x="9522" y="2758"/>
                    <a:pt x="9548" y="2811"/>
                    <a:pt x="9574" y="2863"/>
                  </a:cubicBezTo>
                  <a:lnTo>
                    <a:pt x="9167" y="3392"/>
                  </a:lnTo>
                  <a:cubicBezTo>
                    <a:pt x="9193" y="3470"/>
                    <a:pt x="9218" y="3549"/>
                    <a:pt x="9244" y="3627"/>
                  </a:cubicBezTo>
                  <a:cubicBezTo>
                    <a:pt x="9257" y="3666"/>
                    <a:pt x="9270" y="3706"/>
                    <a:pt x="9283" y="3745"/>
                  </a:cubicBezTo>
                  <a:cubicBezTo>
                    <a:pt x="9289" y="3784"/>
                    <a:pt x="9296" y="3824"/>
                    <a:pt x="9302" y="3863"/>
                  </a:cubicBezTo>
                  <a:lnTo>
                    <a:pt x="9961" y="4059"/>
                  </a:lnTo>
                  <a:lnTo>
                    <a:pt x="10000" y="4392"/>
                  </a:lnTo>
                  <a:lnTo>
                    <a:pt x="9438" y="4765"/>
                  </a:lnTo>
                  <a:cubicBezTo>
                    <a:pt x="9444" y="4843"/>
                    <a:pt x="9451" y="4922"/>
                    <a:pt x="9457" y="5000"/>
                  </a:cubicBezTo>
                  <a:cubicBezTo>
                    <a:pt x="9451" y="5078"/>
                    <a:pt x="9444" y="5157"/>
                    <a:pt x="9438" y="5235"/>
                  </a:cubicBezTo>
                  <a:lnTo>
                    <a:pt x="10000" y="5627"/>
                  </a:lnTo>
                  <a:cubicBezTo>
                    <a:pt x="9994" y="5679"/>
                    <a:pt x="9987" y="5732"/>
                    <a:pt x="9981" y="5784"/>
                  </a:cubicBezTo>
                  <a:cubicBezTo>
                    <a:pt x="9974" y="5836"/>
                    <a:pt x="9968" y="5889"/>
                    <a:pt x="9961" y="5941"/>
                  </a:cubicBezTo>
                  <a:lnTo>
                    <a:pt x="9302" y="6157"/>
                  </a:lnTo>
                  <a:cubicBezTo>
                    <a:pt x="9283" y="6235"/>
                    <a:pt x="9263" y="6314"/>
                    <a:pt x="9244" y="6392"/>
                  </a:cubicBezTo>
                  <a:cubicBezTo>
                    <a:pt x="9231" y="6425"/>
                    <a:pt x="9218" y="6457"/>
                    <a:pt x="9205" y="6490"/>
                  </a:cubicBezTo>
                  <a:cubicBezTo>
                    <a:pt x="9192" y="6529"/>
                    <a:pt x="9180" y="6569"/>
                    <a:pt x="9167" y="6608"/>
                  </a:cubicBezTo>
                  <a:lnTo>
                    <a:pt x="9574" y="7157"/>
                  </a:lnTo>
                  <a:cubicBezTo>
                    <a:pt x="9548" y="7203"/>
                    <a:pt x="9522" y="7248"/>
                    <a:pt x="9496" y="7294"/>
                  </a:cubicBezTo>
                  <a:lnTo>
                    <a:pt x="9419" y="7431"/>
                  </a:lnTo>
                  <a:lnTo>
                    <a:pt x="8740" y="7412"/>
                  </a:lnTo>
                  <a:lnTo>
                    <a:pt x="8605" y="7627"/>
                  </a:lnTo>
                  <a:lnTo>
                    <a:pt x="8547" y="7706"/>
                  </a:lnTo>
                  <a:cubicBezTo>
                    <a:pt x="8521" y="7739"/>
                    <a:pt x="8495" y="7771"/>
                    <a:pt x="8469" y="7804"/>
                  </a:cubicBezTo>
                  <a:lnTo>
                    <a:pt x="8682" y="8451"/>
                  </a:lnTo>
                  <a:cubicBezTo>
                    <a:pt x="8643" y="8490"/>
                    <a:pt x="8605" y="8530"/>
                    <a:pt x="8566" y="8569"/>
                  </a:cubicBezTo>
                  <a:lnTo>
                    <a:pt x="8450" y="8686"/>
                  </a:lnTo>
                  <a:lnTo>
                    <a:pt x="7810" y="8471"/>
                  </a:lnTo>
                  <a:lnTo>
                    <a:pt x="7616" y="8608"/>
                  </a:lnTo>
                  <a:lnTo>
                    <a:pt x="7442" y="8745"/>
                  </a:lnTo>
                  <a:lnTo>
                    <a:pt x="7442" y="9412"/>
                  </a:lnTo>
                  <a:lnTo>
                    <a:pt x="7287" y="9510"/>
                  </a:lnTo>
                  <a:cubicBezTo>
                    <a:pt x="7242" y="9530"/>
                    <a:pt x="7196" y="9549"/>
                    <a:pt x="7151" y="9569"/>
                  </a:cubicBezTo>
                  <a:lnTo>
                    <a:pt x="6609" y="9157"/>
                  </a:lnTo>
                  <a:lnTo>
                    <a:pt x="6395" y="9235"/>
                  </a:lnTo>
                  <a:cubicBezTo>
                    <a:pt x="6356" y="9248"/>
                    <a:pt x="6318" y="9262"/>
                    <a:pt x="6279" y="9275"/>
                  </a:cubicBezTo>
                  <a:lnTo>
                    <a:pt x="6163" y="9314"/>
                  </a:lnTo>
                  <a:lnTo>
                    <a:pt x="5950" y="9961"/>
                  </a:lnTo>
                  <a:lnTo>
                    <a:pt x="5640" y="10000"/>
                  </a:lnTo>
                  <a:lnTo>
                    <a:pt x="5252" y="9451"/>
                  </a:lnTo>
                  <a:lnTo>
                    <a:pt x="5019" y="9451"/>
                  </a:lnTo>
                  <a:lnTo>
                    <a:pt x="4767" y="9451"/>
                  </a:lnTo>
                  <a:lnTo>
                    <a:pt x="4380" y="10000"/>
                  </a:lnTo>
                  <a:lnTo>
                    <a:pt x="4225" y="9980"/>
                  </a:lnTo>
                  <a:lnTo>
                    <a:pt x="4070" y="9961"/>
                  </a:lnTo>
                  <a:lnTo>
                    <a:pt x="3857" y="9314"/>
                  </a:lnTo>
                  <a:lnTo>
                    <a:pt x="3624" y="9235"/>
                  </a:lnTo>
                  <a:lnTo>
                    <a:pt x="3508" y="9216"/>
                  </a:lnTo>
                  <a:cubicBezTo>
                    <a:pt x="3476" y="9196"/>
                    <a:pt x="3443" y="9177"/>
                    <a:pt x="3411" y="9157"/>
                  </a:cubicBezTo>
                  <a:lnTo>
                    <a:pt x="2868" y="9569"/>
                  </a:lnTo>
                  <a:lnTo>
                    <a:pt x="2733" y="9510"/>
                  </a:lnTo>
                  <a:lnTo>
                    <a:pt x="2578" y="9412"/>
                  </a:lnTo>
                  <a:cubicBezTo>
                    <a:pt x="2584" y="9190"/>
                    <a:pt x="2591" y="8967"/>
                    <a:pt x="2597" y="8745"/>
                  </a:cubicBezTo>
                  <a:lnTo>
                    <a:pt x="2403" y="8608"/>
                  </a:lnTo>
                  <a:lnTo>
                    <a:pt x="2306" y="8529"/>
                  </a:lnTo>
                  <a:lnTo>
                    <a:pt x="2209" y="8471"/>
                  </a:lnTo>
                  <a:lnTo>
                    <a:pt x="1570" y="8686"/>
                  </a:lnTo>
                  <a:lnTo>
                    <a:pt x="1453" y="8569"/>
                  </a:lnTo>
                  <a:cubicBezTo>
                    <a:pt x="1414" y="8530"/>
                    <a:pt x="1376" y="8490"/>
                    <a:pt x="1337" y="8451"/>
                  </a:cubicBezTo>
                  <a:lnTo>
                    <a:pt x="1550" y="7804"/>
                  </a:lnTo>
                  <a:lnTo>
                    <a:pt x="1415" y="7627"/>
                  </a:lnTo>
                  <a:cubicBezTo>
                    <a:pt x="1370" y="7555"/>
                    <a:pt x="1324" y="7484"/>
                    <a:pt x="1279" y="7412"/>
                  </a:cubicBezTo>
                  <a:lnTo>
                    <a:pt x="601" y="7431"/>
                  </a:lnTo>
                  <a:cubicBezTo>
                    <a:pt x="575" y="7385"/>
                    <a:pt x="549" y="7340"/>
                    <a:pt x="523" y="7294"/>
                  </a:cubicBezTo>
                  <a:lnTo>
                    <a:pt x="446" y="7157"/>
                  </a:lnTo>
                  <a:lnTo>
                    <a:pt x="853" y="6608"/>
                  </a:lnTo>
                  <a:lnTo>
                    <a:pt x="775" y="6392"/>
                  </a:lnTo>
                  <a:cubicBezTo>
                    <a:pt x="769" y="6353"/>
                    <a:pt x="762" y="6314"/>
                    <a:pt x="756" y="6275"/>
                  </a:cubicBezTo>
                  <a:cubicBezTo>
                    <a:pt x="743" y="6236"/>
                    <a:pt x="730" y="6196"/>
                    <a:pt x="717" y="6157"/>
                  </a:cubicBezTo>
                  <a:lnTo>
                    <a:pt x="58" y="5941"/>
                  </a:lnTo>
                  <a:cubicBezTo>
                    <a:pt x="39" y="5836"/>
                    <a:pt x="19" y="5732"/>
                    <a:pt x="0" y="5627"/>
                  </a:cubicBezTo>
                  <a:lnTo>
                    <a:pt x="581" y="5235"/>
                  </a:lnTo>
                  <a:cubicBezTo>
                    <a:pt x="575" y="5157"/>
                    <a:pt x="568" y="5078"/>
                    <a:pt x="562" y="5000"/>
                  </a:cubicBezTo>
                  <a:cubicBezTo>
                    <a:pt x="568" y="4922"/>
                    <a:pt x="575" y="4843"/>
                    <a:pt x="581" y="4765"/>
                  </a:cubicBezTo>
                  <a:lnTo>
                    <a:pt x="0" y="4392"/>
                  </a:lnTo>
                  <a:cubicBezTo>
                    <a:pt x="6" y="4333"/>
                    <a:pt x="13" y="4275"/>
                    <a:pt x="19" y="4216"/>
                  </a:cubicBezTo>
                  <a:cubicBezTo>
                    <a:pt x="32" y="4164"/>
                    <a:pt x="45" y="4111"/>
                    <a:pt x="58" y="4059"/>
                  </a:cubicBezTo>
                  <a:lnTo>
                    <a:pt x="717" y="3863"/>
                  </a:lnTo>
                </a:path>
              </a:pathLst>
            </a:custGeom>
            <a:noFill/>
            <a:ln w="9525">
              <a:solidFill>
                <a:schemeClr val="accent5"/>
              </a:solidFill>
              <a:round/>
              <a:headEnd/>
              <a:tailEnd/>
            </a:ln>
          </p:spPr>
          <p:txBody>
            <a:bodyPr/>
            <a:lstStyle/>
            <a:p>
              <a:endParaRPr lang="en-US" dirty="0">
                <a:solidFill>
                  <a:srgbClr val="000000"/>
                </a:solidFill>
              </a:endParaRPr>
            </a:p>
          </p:txBody>
        </p:sp>
        <p:sp>
          <p:nvSpPr>
            <p:cNvPr id="50" name="Textplatzhalter 3">
              <a:extLst>
                <a:ext uri="{FF2B5EF4-FFF2-40B4-BE49-F238E27FC236}">
                  <a16:creationId xmlns:a16="http://schemas.microsoft.com/office/drawing/2014/main" id="{51D2CC77-2C95-45B7-8806-01F36BC8141E}"/>
                </a:ext>
              </a:extLst>
            </p:cNvPr>
            <p:cNvSpPr txBox="1">
              <a:spLocks/>
            </p:cNvSpPr>
            <p:nvPr/>
          </p:nvSpPr>
          <p:spPr bwMode="gray">
            <a:xfrm flipH="1">
              <a:off x="5412411" y="1778596"/>
              <a:ext cx="504056" cy="271511"/>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sz="3000" dirty="0">
                  <a:solidFill>
                    <a:schemeClr val="accent5"/>
                  </a:solidFill>
                </a:rPr>
                <a:t>06</a:t>
              </a:r>
            </a:p>
          </p:txBody>
        </p:sp>
        <p:sp>
          <p:nvSpPr>
            <p:cNvPr id="51" name="Textplatzhalter 3">
              <a:extLst>
                <a:ext uri="{FF2B5EF4-FFF2-40B4-BE49-F238E27FC236}">
                  <a16:creationId xmlns:a16="http://schemas.microsoft.com/office/drawing/2014/main" id="{3D32F543-041F-4A67-AA83-8AA754157A18}"/>
                </a:ext>
              </a:extLst>
            </p:cNvPr>
            <p:cNvSpPr txBox="1">
              <a:spLocks/>
            </p:cNvSpPr>
            <p:nvPr/>
          </p:nvSpPr>
          <p:spPr bwMode="gray">
            <a:xfrm flipH="1">
              <a:off x="4439246" y="1778596"/>
              <a:ext cx="1296000" cy="1296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sz="1600" dirty="0">
                  <a:solidFill>
                    <a:schemeClr val="tx1"/>
                  </a:solidFill>
                </a:rPr>
                <a:t>Lorem</a:t>
              </a:r>
              <a:br>
                <a:rPr lang="en-US" sz="1600" dirty="0">
                  <a:solidFill>
                    <a:schemeClr val="tx1"/>
                  </a:solidFill>
                </a:rPr>
              </a:br>
              <a:r>
                <a:rPr lang="en-US" sz="1600" dirty="0">
                  <a:solidFill>
                    <a:schemeClr val="tx1"/>
                  </a:solidFill>
                </a:rPr>
                <a:t>ipsum dolor</a:t>
              </a:r>
              <a:br>
                <a:rPr lang="en-US" sz="1600" dirty="0">
                  <a:solidFill>
                    <a:schemeClr val="tx1"/>
                  </a:solidFill>
                </a:rPr>
              </a:br>
              <a:r>
                <a:rPr lang="en-US" sz="1600" dirty="0">
                  <a:solidFill>
                    <a:schemeClr val="tx1"/>
                  </a:solidFill>
                </a:rPr>
                <a:t>sit amet</a:t>
              </a:r>
            </a:p>
          </p:txBody>
        </p:sp>
      </p:grpSp>
      <p:grpSp>
        <p:nvGrpSpPr>
          <p:cNvPr id="62" name="Gruppieren 61">
            <a:extLst>
              <a:ext uri="{FF2B5EF4-FFF2-40B4-BE49-F238E27FC236}">
                <a16:creationId xmlns:a16="http://schemas.microsoft.com/office/drawing/2014/main" id="{6FA01B5C-41AA-4F02-8B0E-11B7E6A2AD6E}"/>
              </a:ext>
            </a:extLst>
          </p:cNvPr>
          <p:cNvGrpSpPr/>
          <p:nvPr/>
        </p:nvGrpSpPr>
        <p:grpSpPr bwMode="gray">
          <a:xfrm>
            <a:off x="3431704" y="3269151"/>
            <a:ext cx="1586459" cy="1497012"/>
            <a:chOff x="3431704" y="3133333"/>
            <a:chExt cx="1586459" cy="1497012"/>
          </a:xfrm>
        </p:grpSpPr>
        <p:sp>
          <p:nvSpPr>
            <p:cNvPr id="52" name="Freeform 53">
              <a:extLst>
                <a:ext uri="{FF2B5EF4-FFF2-40B4-BE49-F238E27FC236}">
                  <a16:creationId xmlns:a16="http://schemas.microsoft.com/office/drawing/2014/main" id="{3966E439-30F7-45DF-A692-F40C754F36B5}"/>
                </a:ext>
              </a:extLst>
            </p:cNvPr>
            <p:cNvSpPr>
              <a:spLocks noChangeAspect="1"/>
            </p:cNvSpPr>
            <p:nvPr/>
          </p:nvSpPr>
          <p:spPr bwMode="gray">
            <a:xfrm flipH="1" flipV="1">
              <a:off x="3431704" y="3133333"/>
              <a:ext cx="1514475" cy="1497012"/>
            </a:xfrm>
            <a:custGeom>
              <a:avLst/>
              <a:gdLst>
                <a:gd name="T0" fmla="*/ 2485 w 516"/>
                <a:gd name="T1" fmla="*/ 2775 h 510"/>
                <a:gd name="T2" fmla="*/ 2376 w 516"/>
                <a:gd name="T3" fmla="*/ 3068 h 510"/>
                <a:gd name="T4" fmla="*/ 2085 w 516"/>
                <a:gd name="T5" fmla="*/ 2977 h 510"/>
                <a:gd name="T6" fmla="*/ 1941 w 516"/>
                <a:gd name="T7" fmla="*/ 3210 h 510"/>
                <a:gd name="T8" fmla="*/ 1638 w 516"/>
                <a:gd name="T9" fmla="*/ 3045 h 510"/>
                <a:gd name="T10" fmla="*/ 1377 w 516"/>
                <a:gd name="T11" fmla="*/ 3217 h 510"/>
                <a:gd name="T12" fmla="*/ 1183 w 516"/>
                <a:gd name="T13" fmla="*/ 2977 h 510"/>
                <a:gd name="T14" fmla="*/ 937 w 516"/>
                <a:gd name="T15" fmla="*/ 3084 h 510"/>
                <a:gd name="T16" fmla="*/ 849 w 516"/>
                <a:gd name="T17" fmla="*/ 2820 h 510"/>
                <a:gd name="T18" fmla="*/ 721 w 516"/>
                <a:gd name="T19" fmla="*/ 2731 h 510"/>
                <a:gd name="T20" fmla="*/ 438 w 516"/>
                <a:gd name="T21" fmla="*/ 2725 h 510"/>
                <a:gd name="T22" fmla="*/ 418 w 516"/>
                <a:gd name="T23" fmla="*/ 2389 h 510"/>
                <a:gd name="T24" fmla="*/ 148 w 516"/>
                <a:gd name="T25" fmla="*/ 2308 h 510"/>
                <a:gd name="T26" fmla="*/ 246 w 516"/>
                <a:gd name="T27" fmla="*/ 2025 h 510"/>
                <a:gd name="T28" fmla="*/ 0 w 516"/>
                <a:gd name="T29" fmla="*/ 1816 h 510"/>
                <a:gd name="T30" fmla="*/ 189 w 516"/>
                <a:gd name="T31" fmla="*/ 1535 h 510"/>
                <a:gd name="T32" fmla="*/ 20 w 516"/>
                <a:gd name="T33" fmla="*/ 1309 h 510"/>
                <a:gd name="T34" fmla="*/ 266 w 516"/>
                <a:gd name="T35" fmla="*/ 1132 h 510"/>
                <a:gd name="T36" fmla="*/ 170 w 516"/>
                <a:gd name="T37" fmla="*/ 873 h 510"/>
                <a:gd name="T38" fmla="*/ 462 w 516"/>
                <a:gd name="T39" fmla="*/ 773 h 510"/>
                <a:gd name="T40" fmla="*/ 438 w 516"/>
                <a:gd name="T41" fmla="*/ 507 h 510"/>
                <a:gd name="T42" fmla="*/ 721 w 516"/>
                <a:gd name="T43" fmla="*/ 499 h 510"/>
                <a:gd name="T44" fmla="*/ 841 w 516"/>
                <a:gd name="T45" fmla="*/ 189 h 510"/>
                <a:gd name="T46" fmla="*/ 1111 w 516"/>
                <a:gd name="T47" fmla="*/ 274 h 510"/>
                <a:gd name="T48" fmla="*/ 1257 w 516"/>
                <a:gd name="T49" fmla="*/ 229 h 510"/>
                <a:gd name="T50" fmla="*/ 1555 w 516"/>
                <a:gd name="T51" fmla="*/ 185 h 510"/>
                <a:gd name="T52" fmla="*/ 1840 w 516"/>
                <a:gd name="T53" fmla="*/ 0 h 510"/>
                <a:gd name="T54" fmla="*/ 2010 w 516"/>
                <a:gd name="T55" fmla="*/ 229 h 510"/>
                <a:gd name="T56" fmla="*/ 2154 w 516"/>
                <a:gd name="T57" fmla="*/ 274 h 510"/>
                <a:gd name="T58" fmla="*/ 2428 w 516"/>
                <a:gd name="T59" fmla="*/ 189 h 510"/>
                <a:gd name="T60" fmla="*/ 2516 w 516"/>
                <a:gd name="T61" fmla="*/ 475 h 510"/>
                <a:gd name="T62" fmla="*/ 2794 w 516"/>
                <a:gd name="T63" fmla="*/ 468 h 510"/>
                <a:gd name="T64" fmla="*/ 2807 w 516"/>
                <a:gd name="T65" fmla="*/ 773 h 510"/>
                <a:gd name="T66" fmla="*/ 3097 w 516"/>
                <a:gd name="T67" fmla="*/ 873 h 510"/>
                <a:gd name="T68" fmla="*/ 3015 w 516"/>
                <a:gd name="T69" fmla="*/ 1169 h 510"/>
                <a:gd name="T70" fmla="*/ 3247 w 516"/>
                <a:gd name="T71" fmla="*/ 1309 h 510"/>
                <a:gd name="T72" fmla="*/ 3084 w 516"/>
                <a:gd name="T73" fmla="*/ 1614 h 510"/>
                <a:gd name="T74" fmla="*/ 3254 w 516"/>
                <a:gd name="T75" fmla="*/ 1864 h 510"/>
                <a:gd name="T76" fmla="*/ 3015 w 516"/>
                <a:gd name="T77" fmla="*/ 2062 h 510"/>
                <a:gd name="T78" fmla="*/ 3121 w 516"/>
                <a:gd name="T79" fmla="*/ 2308 h 510"/>
                <a:gd name="T80" fmla="*/ 2851 w 516"/>
                <a:gd name="T81" fmla="*/ 2389 h 510"/>
                <a:gd name="T82" fmla="*/ 2762 w 516"/>
                <a:gd name="T83" fmla="*/ 2517 h 510"/>
                <a:gd name="T84" fmla="*/ 2755 w 516"/>
                <a:gd name="T85" fmla="*/ 2799 h 51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connsiteX0" fmla="*/ 1415 w 10000"/>
                <a:gd name="connsiteY0" fmla="*/ 2392 h 10000"/>
                <a:gd name="connsiteX1" fmla="*/ 1473 w 10000"/>
                <a:gd name="connsiteY1" fmla="*/ 2294 h 10000"/>
                <a:gd name="connsiteX2" fmla="*/ 1550 w 10000"/>
                <a:gd name="connsiteY2" fmla="*/ 2216 h 10000"/>
                <a:gd name="connsiteX3" fmla="*/ 1337 w 10000"/>
                <a:gd name="connsiteY3" fmla="*/ 1569 h 10000"/>
                <a:gd name="connsiteX4" fmla="*/ 1453 w 10000"/>
                <a:gd name="connsiteY4" fmla="*/ 1451 h 10000"/>
                <a:gd name="connsiteX5" fmla="*/ 1570 w 10000"/>
                <a:gd name="connsiteY5" fmla="*/ 1333 h 10000"/>
                <a:gd name="connsiteX6" fmla="*/ 2209 w 10000"/>
                <a:gd name="connsiteY6" fmla="*/ 1549 h 10000"/>
                <a:gd name="connsiteX7" fmla="*/ 2403 w 10000"/>
                <a:gd name="connsiteY7" fmla="*/ 1412 h 10000"/>
                <a:gd name="connsiteX8" fmla="*/ 2597 w 10000"/>
                <a:gd name="connsiteY8" fmla="*/ 1275 h 10000"/>
                <a:gd name="connsiteX9" fmla="*/ 2578 w 10000"/>
                <a:gd name="connsiteY9" fmla="*/ 588 h 10000"/>
                <a:gd name="connsiteX10" fmla="*/ 2733 w 10000"/>
                <a:gd name="connsiteY10" fmla="*/ 510 h 10000"/>
                <a:gd name="connsiteX11" fmla="*/ 2868 w 10000"/>
                <a:gd name="connsiteY11" fmla="*/ 451 h 10000"/>
                <a:gd name="connsiteX12" fmla="*/ 3411 w 10000"/>
                <a:gd name="connsiteY12" fmla="*/ 843 h 10000"/>
                <a:gd name="connsiteX13" fmla="*/ 3624 w 10000"/>
                <a:gd name="connsiteY13" fmla="*/ 765 h 10000"/>
                <a:gd name="connsiteX14" fmla="*/ 3740 w 10000"/>
                <a:gd name="connsiteY14" fmla="*/ 725 h 10000"/>
                <a:gd name="connsiteX15" fmla="*/ 3857 w 10000"/>
                <a:gd name="connsiteY15" fmla="*/ 706 h 10000"/>
                <a:gd name="connsiteX16" fmla="*/ 4070 w 10000"/>
                <a:gd name="connsiteY16" fmla="*/ 59 h 10000"/>
                <a:gd name="connsiteX17" fmla="*/ 4380 w 10000"/>
                <a:gd name="connsiteY17" fmla="*/ 0 h 10000"/>
                <a:gd name="connsiteX18" fmla="*/ 4767 w 10000"/>
                <a:gd name="connsiteY18" fmla="*/ 569 h 10000"/>
                <a:gd name="connsiteX19" fmla="*/ 5019 w 10000"/>
                <a:gd name="connsiteY19" fmla="*/ 549 h 10000"/>
                <a:gd name="connsiteX20" fmla="*/ 5252 w 10000"/>
                <a:gd name="connsiteY20" fmla="*/ 569 h 10000"/>
                <a:gd name="connsiteX21" fmla="*/ 5640 w 10000"/>
                <a:gd name="connsiteY21" fmla="*/ 0 h 10000"/>
                <a:gd name="connsiteX22" fmla="*/ 5795 w 10000"/>
                <a:gd name="connsiteY22" fmla="*/ 20 h 10000"/>
                <a:gd name="connsiteX23" fmla="*/ 5950 w 10000"/>
                <a:gd name="connsiteY23" fmla="*/ 59 h 10000"/>
                <a:gd name="connsiteX24" fmla="*/ 6163 w 10000"/>
                <a:gd name="connsiteY24" fmla="*/ 706 h 10000"/>
                <a:gd name="connsiteX25" fmla="*/ 6395 w 10000"/>
                <a:gd name="connsiteY25" fmla="*/ 765 h 10000"/>
                <a:gd name="connsiteX26" fmla="*/ 6492 w 10000"/>
                <a:gd name="connsiteY26" fmla="*/ 804 h 10000"/>
                <a:gd name="connsiteX27" fmla="*/ 6609 w 10000"/>
                <a:gd name="connsiteY27" fmla="*/ 843 h 10000"/>
                <a:gd name="connsiteX28" fmla="*/ 7151 w 10000"/>
                <a:gd name="connsiteY28" fmla="*/ 451 h 10000"/>
                <a:gd name="connsiteX29" fmla="*/ 7287 w 10000"/>
                <a:gd name="connsiteY29" fmla="*/ 510 h 10000"/>
                <a:gd name="connsiteX30" fmla="*/ 7442 w 10000"/>
                <a:gd name="connsiteY30" fmla="*/ 588 h 10000"/>
                <a:gd name="connsiteX31" fmla="*/ 7442 w 10000"/>
                <a:gd name="connsiteY31" fmla="*/ 1275 h 10000"/>
                <a:gd name="connsiteX32" fmla="*/ 7616 w 10000"/>
                <a:gd name="connsiteY32" fmla="*/ 1412 h 10000"/>
                <a:gd name="connsiteX33" fmla="*/ 7713 w 10000"/>
                <a:gd name="connsiteY33" fmla="*/ 1471 h 10000"/>
                <a:gd name="connsiteX34" fmla="*/ 7810 w 10000"/>
                <a:gd name="connsiteY34" fmla="*/ 1549 h 10000"/>
                <a:gd name="connsiteX35" fmla="*/ 8450 w 10000"/>
                <a:gd name="connsiteY35" fmla="*/ 1333 h 10000"/>
                <a:gd name="connsiteX36" fmla="*/ 8566 w 10000"/>
                <a:gd name="connsiteY36" fmla="*/ 1451 h 10000"/>
                <a:gd name="connsiteX37" fmla="*/ 8682 w 10000"/>
                <a:gd name="connsiteY37" fmla="*/ 1569 h 10000"/>
                <a:gd name="connsiteX38" fmla="*/ 8469 w 10000"/>
                <a:gd name="connsiteY38" fmla="*/ 2216 h 10000"/>
                <a:gd name="connsiteX39" fmla="*/ 8605 w 10000"/>
                <a:gd name="connsiteY39" fmla="*/ 2392 h 10000"/>
                <a:gd name="connsiteX40" fmla="*/ 8740 w 10000"/>
                <a:gd name="connsiteY40" fmla="*/ 2588 h 10000"/>
                <a:gd name="connsiteX41" fmla="*/ 9419 w 10000"/>
                <a:gd name="connsiteY41" fmla="*/ 2588 h 10000"/>
                <a:gd name="connsiteX42" fmla="*/ 9496 w 10000"/>
                <a:gd name="connsiteY42" fmla="*/ 2706 h 10000"/>
                <a:gd name="connsiteX43" fmla="*/ 9574 w 10000"/>
                <a:gd name="connsiteY43" fmla="*/ 2863 h 10000"/>
                <a:gd name="connsiteX44" fmla="*/ 9167 w 10000"/>
                <a:gd name="connsiteY44" fmla="*/ 3392 h 10000"/>
                <a:gd name="connsiteX45" fmla="*/ 9244 w 10000"/>
                <a:gd name="connsiteY45" fmla="*/ 3627 h 10000"/>
                <a:gd name="connsiteX46" fmla="*/ 9283 w 10000"/>
                <a:gd name="connsiteY46" fmla="*/ 3745 h 10000"/>
                <a:gd name="connsiteX47" fmla="*/ 9302 w 10000"/>
                <a:gd name="connsiteY47" fmla="*/ 3863 h 10000"/>
                <a:gd name="connsiteX48" fmla="*/ 9961 w 10000"/>
                <a:gd name="connsiteY48" fmla="*/ 4059 h 10000"/>
                <a:gd name="connsiteX49" fmla="*/ 10000 w 10000"/>
                <a:gd name="connsiteY49" fmla="*/ 4392 h 10000"/>
                <a:gd name="connsiteX50" fmla="*/ 9438 w 10000"/>
                <a:gd name="connsiteY50" fmla="*/ 4765 h 10000"/>
                <a:gd name="connsiteX51" fmla="*/ 9457 w 10000"/>
                <a:gd name="connsiteY51" fmla="*/ 5000 h 10000"/>
                <a:gd name="connsiteX52" fmla="*/ 9438 w 10000"/>
                <a:gd name="connsiteY52" fmla="*/ 5235 h 10000"/>
                <a:gd name="connsiteX53" fmla="*/ 10000 w 10000"/>
                <a:gd name="connsiteY53" fmla="*/ 5627 h 10000"/>
                <a:gd name="connsiteX54" fmla="*/ 9981 w 10000"/>
                <a:gd name="connsiteY54" fmla="*/ 5784 h 10000"/>
                <a:gd name="connsiteX55" fmla="*/ 9961 w 10000"/>
                <a:gd name="connsiteY55" fmla="*/ 5941 h 10000"/>
                <a:gd name="connsiteX56" fmla="*/ 9302 w 10000"/>
                <a:gd name="connsiteY56" fmla="*/ 6157 h 10000"/>
                <a:gd name="connsiteX57" fmla="*/ 9244 w 10000"/>
                <a:gd name="connsiteY57" fmla="*/ 6392 h 10000"/>
                <a:gd name="connsiteX58" fmla="*/ 9205 w 10000"/>
                <a:gd name="connsiteY58" fmla="*/ 6490 h 10000"/>
                <a:gd name="connsiteX59" fmla="*/ 9167 w 10000"/>
                <a:gd name="connsiteY59" fmla="*/ 6608 h 10000"/>
                <a:gd name="connsiteX60" fmla="*/ 9574 w 10000"/>
                <a:gd name="connsiteY60" fmla="*/ 7157 h 10000"/>
                <a:gd name="connsiteX61" fmla="*/ 9496 w 10000"/>
                <a:gd name="connsiteY61" fmla="*/ 7294 h 10000"/>
                <a:gd name="connsiteX62" fmla="*/ 9419 w 10000"/>
                <a:gd name="connsiteY62" fmla="*/ 7431 h 10000"/>
                <a:gd name="connsiteX63" fmla="*/ 8740 w 10000"/>
                <a:gd name="connsiteY63" fmla="*/ 7412 h 10000"/>
                <a:gd name="connsiteX64" fmla="*/ 8605 w 10000"/>
                <a:gd name="connsiteY64" fmla="*/ 7627 h 10000"/>
                <a:gd name="connsiteX65" fmla="*/ 8547 w 10000"/>
                <a:gd name="connsiteY65" fmla="*/ 7706 h 10000"/>
                <a:gd name="connsiteX66" fmla="*/ 8469 w 10000"/>
                <a:gd name="connsiteY66" fmla="*/ 7804 h 10000"/>
                <a:gd name="connsiteX67" fmla="*/ 8682 w 10000"/>
                <a:gd name="connsiteY67" fmla="*/ 8451 h 10000"/>
                <a:gd name="connsiteX68" fmla="*/ 8566 w 10000"/>
                <a:gd name="connsiteY68" fmla="*/ 8569 h 10000"/>
                <a:gd name="connsiteX69" fmla="*/ 8450 w 10000"/>
                <a:gd name="connsiteY69" fmla="*/ 8686 h 10000"/>
                <a:gd name="connsiteX70" fmla="*/ 7810 w 10000"/>
                <a:gd name="connsiteY70" fmla="*/ 8471 h 10000"/>
                <a:gd name="connsiteX71" fmla="*/ 7616 w 10000"/>
                <a:gd name="connsiteY71" fmla="*/ 8608 h 10000"/>
                <a:gd name="connsiteX72" fmla="*/ 7442 w 10000"/>
                <a:gd name="connsiteY72" fmla="*/ 8745 h 10000"/>
                <a:gd name="connsiteX73" fmla="*/ 7442 w 10000"/>
                <a:gd name="connsiteY73" fmla="*/ 9412 h 10000"/>
                <a:gd name="connsiteX74" fmla="*/ 7287 w 10000"/>
                <a:gd name="connsiteY74" fmla="*/ 9510 h 10000"/>
                <a:gd name="connsiteX75" fmla="*/ 7151 w 10000"/>
                <a:gd name="connsiteY75" fmla="*/ 9569 h 10000"/>
                <a:gd name="connsiteX76" fmla="*/ 6609 w 10000"/>
                <a:gd name="connsiteY76" fmla="*/ 9157 h 10000"/>
                <a:gd name="connsiteX77" fmla="*/ 6395 w 10000"/>
                <a:gd name="connsiteY77" fmla="*/ 9235 h 10000"/>
                <a:gd name="connsiteX78" fmla="*/ 6279 w 10000"/>
                <a:gd name="connsiteY78" fmla="*/ 9275 h 10000"/>
                <a:gd name="connsiteX79" fmla="*/ 6163 w 10000"/>
                <a:gd name="connsiteY79" fmla="*/ 9314 h 10000"/>
                <a:gd name="connsiteX80" fmla="*/ 5950 w 10000"/>
                <a:gd name="connsiteY80" fmla="*/ 9961 h 10000"/>
                <a:gd name="connsiteX81" fmla="*/ 5640 w 10000"/>
                <a:gd name="connsiteY81" fmla="*/ 10000 h 10000"/>
                <a:gd name="connsiteX82" fmla="*/ 5252 w 10000"/>
                <a:gd name="connsiteY82" fmla="*/ 9451 h 10000"/>
                <a:gd name="connsiteX83" fmla="*/ 5019 w 10000"/>
                <a:gd name="connsiteY83" fmla="*/ 9451 h 10000"/>
                <a:gd name="connsiteX84" fmla="*/ 4767 w 10000"/>
                <a:gd name="connsiteY84" fmla="*/ 9451 h 10000"/>
                <a:gd name="connsiteX85" fmla="*/ 4380 w 10000"/>
                <a:gd name="connsiteY85" fmla="*/ 10000 h 10000"/>
                <a:gd name="connsiteX86" fmla="*/ 4225 w 10000"/>
                <a:gd name="connsiteY86" fmla="*/ 9980 h 10000"/>
                <a:gd name="connsiteX87" fmla="*/ 4070 w 10000"/>
                <a:gd name="connsiteY87" fmla="*/ 9961 h 10000"/>
                <a:gd name="connsiteX88" fmla="*/ 3857 w 10000"/>
                <a:gd name="connsiteY88" fmla="*/ 9314 h 10000"/>
                <a:gd name="connsiteX89" fmla="*/ 3624 w 10000"/>
                <a:gd name="connsiteY89" fmla="*/ 9235 h 10000"/>
                <a:gd name="connsiteX90" fmla="*/ 3508 w 10000"/>
                <a:gd name="connsiteY90" fmla="*/ 9216 h 10000"/>
                <a:gd name="connsiteX91" fmla="*/ 3411 w 10000"/>
                <a:gd name="connsiteY91" fmla="*/ 9157 h 10000"/>
                <a:gd name="connsiteX92" fmla="*/ 2868 w 10000"/>
                <a:gd name="connsiteY92" fmla="*/ 9569 h 10000"/>
                <a:gd name="connsiteX93" fmla="*/ 2733 w 10000"/>
                <a:gd name="connsiteY93" fmla="*/ 9510 h 10000"/>
                <a:gd name="connsiteX94" fmla="*/ 2578 w 10000"/>
                <a:gd name="connsiteY94" fmla="*/ 9412 h 10000"/>
                <a:gd name="connsiteX95" fmla="*/ 2597 w 10000"/>
                <a:gd name="connsiteY95" fmla="*/ 8745 h 10000"/>
                <a:gd name="connsiteX96" fmla="*/ 2403 w 10000"/>
                <a:gd name="connsiteY96" fmla="*/ 8608 h 10000"/>
                <a:gd name="connsiteX97" fmla="*/ 2306 w 10000"/>
                <a:gd name="connsiteY97" fmla="*/ 8529 h 10000"/>
                <a:gd name="connsiteX98" fmla="*/ 2209 w 10000"/>
                <a:gd name="connsiteY98" fmla="*/ 8471 h 10000"/>
                <a:gd name="connsiteX99" fmla="*/ 1570 w 10000"/>
                <a:gd name="connsiteY99" fmla="*/ 8686 h 10000"/>
                <a:gd name="connsiteX100" fmla="*/ 1453 w 10000"/>
                <a:gd name="connsiteY100" fmla="*/ 8569 h 10000"/>
                <a:gd name="connsiteX101" fmla="*/ 1337 w 10000"/>
                <a:gd name="connsiteY101" fmla="*/ 8451 h 10000"/>
                <a:gd name="connsiteX102" fmla="*/ 1550 w 10000"/>
                <a:gd name="connsiteY102" fmla="*/ 7804 h 10000"/>
                <a:gd name="connsiteX103" fmla="*/ 1415 w 10000"/>
                <a:gd name="connsiteY103" fmla="*/ 7627 h 10000"/>
                <a:gd name="connsiteX104" fmla="*/ 1279 w 10000"/>
                <a:gd name="connsiteY104" fmla="*/ 7412 h 10000"/>
                <a:gd name="connsiteX105" fmla="*/ 601 w 10000"/>
                <a:gd name="connsiteY105" fmla="*/ 7431 h 10000"/>
                <a:gd name="connsiteX106" fmla="*/ 523 w 10000"/>
                <a:gd name="connsiteY106" fmla="*/ 7294 h 10000"/>
                <a:gd name="connsiteX107" fmla="*/ 446 w 10000"/>
                <a:gd name="connsiteY107" fmla="*/ 7157 h 10000"/>
                <a:gd name="connsiteX108" fmla="*/ 853 w 10000"/>
                <a:gd name="connsiteY108" fmla="*/ 6608 h 10000"/>
                <a:gd name="connsiteX109" fmla="*/ 775 w 10000"/>
                <a:gd name="connsiteY109" fmla="*/ 6392 h 10000"/>
                <a:gd name="connsiteX110" fmla="*/ 756 w 10000"/>
                <a:gd name="connsiteY110" fmla="*/ 6275 h 10000"/>
                <a:gd name="connsiteX111" fmla="*/ 717 w 10000"/>
                <a:gd name="connsiteY111" fmla="*/ 6157 h 10000"/>
                <a:gd name="connsiteX112" fmla="*/ 58 w 10000"/>
                <a:gd name="connsiteY112" fmla="*/ 5941 h 10000"/>
                <a:gd name="connsiteX113" fmla="*/ 0 w 10000"/>
                <a:gd name="connsiteY113" fmla="*/ 5627 h 10000"/>
                <a:gd name="connsiteX114" fmla="*/ 581 w 10000"/>
                <a:gd name="connsiteY114" fmla="*/ 5235 h 10000"/>
                <a:gd name="connsiteX115" fmla="*/ 562 w 10000"/>
                <a:gd name="connsiteY115" fmla="*/ 5000 h 10000"/>
                <a:gd name="connsiteX116" fmla="*/ 581 w 10000"/>
                <a:gd name="connsiteY116" fmla="*/ 4765 h 10000"/>
                <a:gd name="connsiteX117" fmla="*/ 0 w 10000"/>
                <a:gd name="connsiteY117" fmla="*/ 4392 h 10000"/>
                <a:gd name="connsiteX118" fmla="*/ 19 w 10000"/>
                <a:gd name="connsiteY118" fmla="*/ 4216 h 10000"/>
                <a:gd name="connsiteX119" fmla="*/ 58 w 10000"/>
                <a:gd name="connsiteY119" fmla="*/ 4059 h 10000"/>
                <a:gd name="connsiteX120" fmla="*/ 717 w 10000"/>
                <a:gd name="connsiteY120" fmla="*/ 3863 h 10000"/>
                <a:gd name="connsiteX121" fmla="*/ 775 w 10000"/>
                <a:gd name="connsiteY121" fmla="*/ 3627 h 10000"/>
                <a:gd name="connsiteX122" fmla="*/ 814 w 10000"/>
                <a:gd name="connsiteY122" fmla="*/ 3510 h 10000"/>
                <a:gd name="connsiteX123" fmla="*/ 853 w 10000"/>
                <a:gd name="connsiteY123" fmla="*/ 3392 h 10000"/>
                <a:gd name="connsiteX124" fmla="*/ 446 w 10000"/>
                <a:gd name="connsiteY124" fmla="*/ 2863 h 10000"/>
                <a:gd name="connsiteX125" fmla="*/ 523 w 10000"/>
                <a:gd name="connsiteY125" fmla="*/ 2706 h 10000"/>
                <a:gd name="connsiteX126" fmla="*/ 601 w 10000"/>
                <a:gd name="connsiteY126" fmla="*/ 2588 h 10000"/>
                <a:gd name="connsiteX127" fmla="*/ 1279 w 10000"/>
                <a:gd name="connsiteY127" fmla="*/ 2588 h 10000"/>
                <a:gd name="connsiteX128" fmla="*/ 2019 w 10000"/>
                <a:gd name="connsiteY128" fmla="*/ 3003 h 10000"/>
                <a:gd name="connsiteX0" fmla="*/ 1415 w 10000"/>
                <a:gd name="connsiteY0" fmla="*/ 2392 h 10000"/>
                <a:gd name="connsiteX1" fmla="*/ 1473 w 10000"/>
                <a:gd name="connsiteY1" fmla="*/ 2294 h 10000"/>
                <a:gd name="connsiteX2" fmla="*/ 1550 w 10000"/>
                <a:gd name="connsiteY2" fmla="*/ 2216 h 10000"/>
                <a:gd name="connsiteX3" fmla="*/ 1337 w 10000"/>
                <a:gd name="connsiteY3" fmla="*/ 1569 h 10000"/>
                <a:gd name="connsiteX4" fmla="*/ 1453 w 10000"/>
                <a:gd name="connsiteY4" fmla="*/ 1451 h 10000"/>
                <a:gd name="connsiteX5" fmla="*/ 1570 w 10000"/>
                <a:gd name="connsiteY5" fmla="*/ 1333 h 10000"/>
                <a:gd name="connsiteX6" fmla="*/ 2209 w 10000"/>
                <a:gd name="connsiteY6" fmla="*/ 1549 h 10000"/>
                <a:gd name="connsiteX7" fmla="*/ 2403 w 10000"/>
                <a:gd name="connsiteY7" fmla="*/ 1412 h 10000"/>
                <a:gd name="connsiteX8" fmla="*/ 2597 w 10000"/>
                <a:gd name="connsiteY8" fmla="*/ 1275 h 10000"/>
                <a:gd name="connsiteX9" fmla="*/ 2578 w 10000"/>
                <a:gd name="connsiteY9" fmla="*/ 588 h 10000"/>
                <a:gd name="connsiteX10" fmla="*/ 2733 w 10000"/>
                <a:gd name="connsiteY10" fmla="*/ 510 h 10000"/>
                <a:gd name="connsiteX11" fmla="*/ 2868 w 10000"/>
                <a:gd name="connsiteY11" fmla="*/ 451 h 10000"/>
                <a:gd name="connsiteX12" fmla="*/ 3411 w 10000"/>
                <a:gd name="connsiteY12" fmla="*/ 843 h 10000"/>
                <a:gd name="connsiteX13" fmla="*/ 3624 w 10000"/>
                <a:gd name="connsiteY13" fmla="*/ 765 h 10000"/>
                <a:gd name="connsiteX14" fmla="*/ 3740 w 10000"/>
                <a:gd name="connsiteY14" fmla="*/ 725 h 10000"/>
                <a:gd name="connsiteX15" fmla="*/ 3857 w 10000"/>
                <a:gd name="connsiteY15" fmla="*/ 706 h 10000"/>
                <a:gd name="connsiteX16" fmla="*/ 4070 w 10000"/>
                <a:gd name="connsiteY16" fmla="*/ 59 h 10000"/>
                <a:gd name="connsiteX17" fmla="*/ 4380 w 10000"/>
                <a:gd name="connsiteY17" fmla="*/ 0 h 10000"/>
                <a:gd name="connsiteX18" fmla="*/ 4767 w 10000"/>
                <a:gd name="connsiteY18" fmla="*/ 569 h 10000"/>
                <a:gd name="connsiteX19" fmla="*/ 5019 w 10000"/>
                <a:gd name="connsiteY19" fmla="*/ 549 h 10000"/>
                <a:gd name="connsiteX20" fmla="*/ 5252 w 10000"/>
                <a:gd name="connsiteY20" fmla="*/ 569 h 10000"/>
                <a:gd name="connsiteX21" fmla="*/ 5640 w 10000"/>
                <a:gd name="connsiteY21" fmla="*/ 0 h 10000"/>
                <a:gd name="connsiteX22" fmla="*/ 5795 w 10000"/>
                <a:gd name="connsiteY22" fmla="*/ 20 h 10000"/>
                <a:gd name="connsiteX23" fmla="*/ 5950 w 10000"/>
                <a:gd name="connsiteY23" fmla="*/ 59 h 10000"/>
                <a:gd name="connsiteX24" fmla="*/ 6163 w 10000"/>
                <a:gd name="connsiteY24" fmla="*/ 706 h 10000"/>
                <a:gd name="connsiteX25" fmla="*/ 6395 w 10000"/>
                <a:gd name="connsiteY25" fmla="*/ 765 h 10000"/>
                <a:gd name="connsiteX26" fmla="*/ 6492 w 10000"/>
                <a:gd name="connsiteY26" fmla="*/ 804 h 10000"/>
                <a:gd name="connsiteX27" fmla="*/ 6609 w 10000"/>
                <a:gd name="connsiteY27" fmla="*/ 843 h 10000"/>
                <a:gd name="connsiteX28" fmla="*/ 7151 w 10000"/>
                <a:gd name="connsiteY28" fmla="*/ 451 h 10000"/>
                <a:gd name="connsiteX29" fmla="*/ 7287 w 10000"/>
                <a:gd name="connsiteY29" fmla="*/ 510 h 10000"/>
                <a:gd name="connsiteX30" fmla="*/ 7442 w 10000"/>
                <a:gd name="connsiteY30" fmla="*/ 588 h 10000"/>
                <a:gd name="connsiteX31" fmla="*/ 7442 w 10000"/>
                <a:gd name="connsiteY31" fmla="*/ 1275 h 10000"/>
                <a:gd name="connsiteX32" fmla="*/ 7616 w 10000"/>
                <a:gd name="connsiteY32" fmla="*/ 1412 h 10000"/>
                <a:gd name="connsiteX33" fmla="*/ 7713 w 10000"/>
                <a:gd name="connsiteY33" fmla="*/ 1471 h 10000"/>
                <a:gd name="connsiteX34" fmla="*/ 7810 w 10000"/>
                <a:gd name="connsiteY34" fmla="*/ 1549 h 10000"/>
                <a:gd name="connsiteX35" fmla="*/ 8450 w 10000"/>
                <a:gd name="connsiteY35" fmla="*/ 1333 h 10000"/>
                <a:gd name="connsiteX36" fmla="*/ 8566 w 10000"/>
                <a:gd name="connsiteY36" fmla="*/ 1451 h 10000"/>
                <a:gd name="connsiteX37" fmla="*/ 8682 w 10000"/>
                <a:gd name="connsiteY37" fmla="*/ 1569 h 10000"/>
                <a:gd name="connsiteX38" fmla="*/ 8469 w 10000"/>
                <a:gd name="connsiteY38" fmla="*/ 2216 h 10000"/>
                <a:gd name="connsiteX39" fmla="*/ 8605 w 10000"/>
                <a:gd name="connsiteY39" fmla="*/ 2392 h 10000"/>
                <a:gd name="connsiteX40" fmla="*/ 8740 w 10000"/>
                <a:gd name="connsiteY40" fmla="*/ 2588 h 10000"/>
                <a:gd name="connsiteX41" fmla="*/ 9419 w 10000"/>
                <a:gd name="connsiteY41" fmla="*/ 2588 h 10000"/>
                <a:gd name="connsiteX42" fmla="*/ 9496 w 10000"/>
                <a:gd name="connsiteY42" fmla="*/ 2706 h 10000"/>
                <a:gd name="connsiteX43" fmla="*/ 9574 w 10000"/>
                <a:gd name="connsiteY43" fmla="*/ 2863 h 10000"/>
                <a:gd name="connsiteX44" fmla="*/ 9167 w 10000"/>
                <a:gd name="connsiteY44" fmla="*/ 3392 h 10000"/>
                <a:gd name="connsiteX45" fmla="*/ 9244 w 10000"/>
                <a:gd name="connsiteY45" fmla="*/ 3627 h 10000"/>
                <a:gd name="connsiteX46" fmla="*/ 9283 w 10000"/>
                <a:gd name="connsiteY46" fmla="*/ 3745 h 10000"/>
                <a:gd name="connsiteX47" fmla="*/ 9302 w 10000"/>
                <a:gd name="connsiteY47" fmla="*/ 3863 h 10000"/>
                <a:gd name="connsiteX48" fmla="*/ 9961 w 10000"/>
                <a:gd name="connsiteY48" fmla="*/ 4059 h 10000"/>
                <a:gd name="connsiteX49" fmla="*/ 10000 w 10000"/>
                <a:gd name="connsiteY49" fmla="*/ 4392 h 10000"/>
                <a:gd name="connsiteX50" fmla="*/ 9438 w 10000"/>
                <a:gd name="connsiteY50" fmla="*/ 4765 h 10000"/>
                <a:gd name="connsiteX51" fmla="*/ 9457 w 10000"/>
                <a:gd name="connsiteY51" fmla="*/ 5000 h 10000"/>
                <a:gd name="connsiteX52" fmla="*/ 9438 w 10000"/>
                <a:gd name="connsiteY52" fmla="*/ 5235 h 10000"/>
                <a:gd name="connsiteX53" fmla="*/ 10000 w 10000"/>
                <a:gd name="connsiteY53" fmla="*/ 5627 h 10000"/>
                <a:gd name="connsiteX54" fmla="*/ 9981 w 10000"/>
                <a:gd name="connsiteY54" fmla="*/ 5784 h 10000"/>
                <a:gd name="connsiteX55" fmla="*/ 9961 w 10000"/>
                <a:gd name="connsiteY55" fmla="*/ 5941 h 10000"/>
                <a:gd name="connsiteX56" fmla="*/ 9302 w 10000"/>
                <a:gd name="connsiteY56" fmla="*/ 6157 h 10000"/>
                <a:gd name="connsiteX57" fmla="*/ 9244 w 10000"/>
                <a:gd name="connsiteY57" fmla="*/ 6392 h 10000"/>
                <a:gd name="connsiteX58" fmla="*/ 9205 w 10000"/>
                <a:gd name="connsiteY58" fmla="*/ 6490 h 10000"/>
                <a:gd name="connsiteX59" fmla="*/ 9167 w 10000"/>
                <a:gd name="connsiteY59" fmla="*/ 6608 h 10000"/>
                <a:gd name="connsiteX60" fmla="*/ 9574 w 10000"/>
                <a:gd name="connsiteY60" fmla="*/ 7157 h 10000"/>
                <a:gd name="connsiteX61" fmla="*/ 9496 w 10000"/>
                <a:gd name="connsiteY61" fmla="*/ 7294 h 10000"/>
                <a:gd name="connsiteX62" fmla="*/ 9419 w 10000"/>
                <a:gd name="connsiteY62" fmla="*/ 7431 h 10000"/>
                <a:gd name="connsiteX63" fmla="*/ 8740 w 10000"/>
                <a:gd name="connsiteY63" fmla="*/ 7412 h 10000"/>
                <a:gd name="connsiteX64" fmla="*/ 8605 w 10000"/>
                <a:gd name="connsiteY64" fmla="*/ 7627 h 10000"/>
                <a:gd name="connsiteX65" fmla="*/ 8547 w 10000"/>
                <a:gd name="connsiteY65" fmla="*/ 7706 h 10000"/>
                <a:gd name="connsiteX66" fmla="*/ 8469 w 10000"/>
                <a:gd name="connsiteY66" fmla="*/ 7804 h 10000"/>
                <a:gd name="connsiteX67" fmla="*/ 8682 w 10000"/>
                <a:gd name="connsiteY67" fmla="*/ 8451 h 10000"/>
                <a:gd name="connsiteX68" fmla="*/ 8566 w 10000"/>
                <a:gd name="connsiteY68" fmla="*/ 8569 h 10000"/>
                <a:gd name="connsiteX69" fmla="*/ 8450 w 10000"/>
                <a:gd name="connsiteY69" fmla="*/ 8686 h 10000"/>
                <a:gd name="connsiteX70" fmla="*/ 7810 w 10000"/>
                <a:gd name="connsiteY70" fmla="*/ 8471 h 10000"/>
                <a:gd name="connsiteX71" fmla="*/ 7616 w 10000"/>
                <a:gd name="connsiteY71" fmla="*/ 8608 h 10000"/>
                <a:gd name="connsiteX72" fmla="*/ 7442 w 10000"/>
                <a:gd name="connsiteY72" fmla="*/ 8745 h 10000"/>
                <a:gd name="connsiteX73" fmla="*/ 7442 w 10000"/>
                <a:gd name="connsiteY73" fmla="*/ 9412 h 10000"/>
                <a:gd name="connsiteX74" fmla="*/ 7287 w 10000"/>
                <a:gd name="connsiteY74" fmla="*/ 9510 h 10000"/>
                <a:gd name="connsiteX75" fmla="*/ 7151 w 10000"/>
                <a:gd name="connsiteY75" fmla="*/ 9569 h 10000"/>
                <a:gd name="connsiteX76" fmla="*/ 6609 w 10000"/>
                <a:gd name="connsiteY76" fmla="*/ 9157 h 10000"/>
                <a:gd name="connsiteX77" fmla="*/ 6395 w 10000"/>
                <a:gd name="connsiteY77" fmla="*/ 9235 h 10000"/>
                <a:gd name="connsiteX78" fmla="*/ 6279 w 10000"/>
                <a:gd name="connsiteY78" fmla="*/ 9275 h 10000"/>
                <a:gd name="connsiteX79" fmla="*/ 6163 w 10000"/>
                <a:gd name="connsiteY79" fmla="*/ 9314 h 10000"/>
                <a:gd name="connsiteX80" fmla="*/ 5950 w 10000"/>
                <a:gd name="connsiteY80" fmla="*/ 9961 h 10000"/>
                <a:gd name="connsiteX81" fmla="*/ 5640 w 10000"/>
                <a:gd name="connsiteY81" fmla="*/ 10000 h 10000"/>
                <a:gd name="connsiteX82" fmla="*/ 5252 w 10000"/>
                <a:gd name="connsiteY82" fmla="*/ 9451 h 10000"/>
                <a:gd name="connsiteX83" fmla="*/ 5019 w 10000"/>
                <a:gd name="connsiteY83" fmla="*/ 9451 h 10000"/>
                <a:gd name="connsiteX84" fmla="*/ 4767 w 10000"/>
                <a:gd name="connsiteY84" fmla="*/ 9451 h 10000"/>
                <a:gd name="connsiteX85" fmla="*/ 4380 w 10000"/>
                <a:gd name="connsiteY85" fmla="*/ 10000 h 10000"/>
                <a:gd name="connsiteX86" fmla="*/ 4225 w 10000"/>
                <a:gd name="connsiteY86" fmla="*/ 9980 h 10000"/>
                <a:gd name="connsiteX87" fmla="*/ 4070 w 10000"/>
                <a:gd name="connsiteY87" fmla="*/ 9961 h 10000"/>
                <a:gd name="connsiteX88" fmla="*/ 3857 w 10000"/>
                <a:gd name="connsiteY88" fmla="*/ 9314 h 10000"/>
                <a:gd name="connsiteX89" fmla="*/ 3624 w 10000"/>
                <a:gd name="connsiteY89" fmla="*/ 9235 h 10000"/>
                <a:gd name="connsiteX90" fmla="*/ 3508 w 10000"/>
                <a:gd name="connsiteY90" fmla="*/ 9216 h 10000"/>
                <a:gd name="connsiteX91" fmla="*/ 3411 w 10000"/>
                <a:gd name="connsiteY91" fmla="*/ 9157 h 10000"/>
                <a:gd name="connsiteX92" fmla="*/ 2868 w 10000"/>
                <a:gd name="connsiteY92" fmla="*/ 9569 h 10000"/>
                <a:gd name="connsiteX93" fmla="*/ 2733 w 10000"/>
                <a:gd name="connsiteY93" fmla="*/ 9510 h 10000"/>
                <a:gd name="connsiteX94" fmla="*/ 2578 w 10000"/>
                <a:gd name="connsiteY94" fmla="*/ 9412 h 10000"/>
                <a:gd name="connsiteX95" fmla="*/ 2597 w 10000"/>
                <a:gd name="connsiteY95" fmla="*/ 8745 h 10000"/>
                <a:gd name="connsiteX96" fmla="*/ 2403 w 10000"/>
                <a:gd name="connsiteY96" fmla="*/ 8608 h 10000"/>
                <a:gd name="connsiteX97" fmla="*/ 2306 w 10000"/>
                <a:gd name="connsiteY97" fmla="*/ 8529 h 10000"/>
                <a:gd name="connsiteX98" fmla="*/ 2209 w 10000"/>
                <a:gd name="connsiteY98" fmla="*/ 8471 h 10000"/>
                <a:gd name="connsiteX99" fmla="*/ 1570 w 10000"/>
                <a:gd name="connsiteY99" fmla="*/ 8686 h 10000"/>
                <a:gd name="connsiteX100" fmla="*/ 1453 w 10000"/>
                <a:gd name="connsiteY100" fmla="*/ 8569 h 10000"/>
                <a:gd name="connsiteX101" fmla="*/ 1337 w 10000"/>
                <a:gd name="connsiteY101" fmla="*/ 8451 h 10000"/>
                <a:gd name="connsiteX102" fmla="*/ 1550 w 10000"/>
                <a:gd name="connsiteY102" fmla="*/ 7804 h 10000"/>
                <a:gd name="connsiteX103" fmla="*/ 1415 w 10000"/>
                <a:gd name="connsiteY103" fmla="*/ 7627 h 10000"/>
                <a:gd name="connsiteX104" fmla="*/ 1279 w 10000"/>
                <a:gd name="connsiteY104" fmla="*/ 7412 h 10000"/>
                <a:gd name="connsiteX105" fmla="*/ 601 w 10000"/>
                <a:gd name="connsiteY105" fmla="*/ 7431 h 10000"/>
                <a:gd name="connsiteX106" fmla="*/ 523 w 10000"/>
                <a:gd name="connsiteY106" fmla="*/ 7294 h 10000"/>
                <a:gd name="connsiteX107" fmla="*/ 446 w 10000"/>
                <a:gd name="connsiteY107" fmla="*/ 7157 h 10000"/>
                <a:gd name="connsiteX108" fmla="*/ 853 w 10000"/>
                <a:gd name="connsiteY108" fmla="*/ 6608 h 10000"/>
                <a:gd name="connsiteX109" fmla="*/ 775 w 10000"/>
                <a:gd name="connsiteY109" fmla="*/ 6392 h 10000"/>
                <a:gd name="connsiteX110" fmla="*/ 756 w 10000"/>
                <a:gd name="connsiteY110" fmla="*/ 6275 h 10000"/>
                <a:gd name="connsiteX111" fmla="*/ 717 w 10000"/>
                <a:gd name="connsiteY111" fmla="*/ 6157 h 10000"/>
                <a:gd name="connsiteX112" fmla="*/ 58 w 10000"/>
                <a:gd name="connsiteY112" fmla="*/ 5941 h 10000"/>
                <a:gd name="connsiteX113" fmla="*/ 0 w 10000"/>
                <a:gd name="connsiteY113" fmla="*/ 5627 h 10000"/>
                <a:gd name="connsiteX114" fmla="*/ 581 w 10000"/>
                <a:gd name="connsiteY114" fmla="*/ 5235 h 10000"/>
                <a:gd name="connsiteX115" fmla="*/ 562 w 10000"/>
                <a:gd name="connsiteY115" fmla="*/ 5000 h 10000"/>
                <a:gd name="connsiteX116" fmla="*/ 581 w 10000"/>
                <a:gd name="connsiteY116" fmla="*/ 4765 h 10000"/>
                <a:gd name="connsiteX117" fmla="*/ 0 w 10000"/>
                <a:gd name="connsiteY117" fmla="*/ 4392 h 10000"/>
                <a:gd name="connsiteX118" fmla="*/ 19 w 10000"/>
                <a:gd name="connsiteY118" fmla="*/ 4216 h 10000"/>
                <a:gd name="connsiteX119" fmla="*/ 58 w 10000"/>
                <a:gd name="connsiteY119" fmla="*/ 4059 h 10000"/>
                <a:gd name="connsiteX120" fmla="*/ 717 w 10000"/>
                <a:gd name="connsiteY120" fmla="*/ 3863 h 10000"/>
                <a:gd name="connsiteX121" fmla="*/ 775 w 10000"/>
                <a:gd name="connsiteY121" fmla="*/ 3627 h 10000"/>
                <a:gd name="connsiteX122" fmla="*/ 814 w 10000"/>
                <a:gd name="connsiteY122" fmla="*/ 3510 h 10000"/>
                <a:gd name="connsiteX123" fmla="*/ 853 w 10000"/>
                <a:gd name="connsiteY123" fmla="*/ 3392 h 10000"/>
                <a:gd name="connsiteX124" fmla="*/ 446 w 10000"/>
                <a:gd name="connsiteY124" fmla="*/ 2863 h 10000"/>
                <a:gd name="connsiteX125" fmla="*/ 523 w 10000"/>
                <a:gd name="connsiteY125" fmla="*/ 2706 h 10000"/>
                <a:gd name="connsiteX126" fmla="*/ 601 w 10000"/>
                <a:gd name="connsiteY126" fmla="*/ 2588 h 10000"/>
                <a:gd name="connsiteX127" fmla="*/ 1279 w 10000"/>
                <a:gd name="connsiteY127" fmla="*/ 2588 h 10000"/>
                <a:gd name="connsiteX0" fmla="*/ 1415 w 10000"/>
                <a:gd name="connsiteY0" fmla="*/ 2392 h 10000"/>
                <a:gd name="connsiteX1" fmla="*/ 1473 w 10000"/>
                <a:gd name="connsiteY1" fmla="*/ 2294 h 10000"/>
                <a:gd name="connsiteX2" fmla="*/ 1337 w 10000"/>
                <a:gd name="connsiteY2" fmla="*/ 1569 h 10000"/>
                <a:gd name="connsiteX3" fmla="*/ 1453 w 10000"/>
                <a:gd name="connsiteY3" fmla="*/ 1451 h 10000"/>
                <a:gd name="connsiteX4" fmla="*/ 1570 w 10000"/>
                <a:gd name="connsiteY4" fmla="*/ 1333 h 10000"/>
                <a:gd name="connsiteX5" fmla="*/ 2209 w 10000"/>
                <a:gd name="connsiteY5" fmla="*/ 1549 h 10000"/>
                <a:gd name="connsiteX6" fmla="*/ 2403 w 10000"/>
                <a:gd name="connsiteY6" fmla="*/ 1412 h 10000"/>
                <a:gd name="connsiteX7" fmla="*/ 2597 w 10000"/>
                <a:gd name="connsiteY7" fmla="*/ 1275 h 10000"/>
                <a:gd name="connsiteX8" fmla="*/ 2578 w 10000"/>
                <a:gd name="connsiteY8" fmla="*/ 588 h 10000"/>
                <a:gd name="connsiteX9" fmla="*/ 2733 w 10000"/>
                <a:gd name="connsiteY9" fmla="*/ 510 h 10000"/>
                <a:gd name="connsiteX10" fmla="*/ 2868 w 10000"/>
                <a:gd name="connsiteY10" fmla="*/ 451 h 10000"/>
                <a:gd name="connsiteX11" fmla="*/ 3411 w 10000"/>
                <a:gd name="connsiteY11" fmla="*/ 843 h 10000"/>
                <a:gd name="connsiteX12" fmla="*/ 3624 w 10000"/>
                <a:gd name="connsiteY12" fmla="*/ 765 h 10000"/>
                <a:gd name="connsiteX13" fmla="*/ 3740 w 10000"/>
                <a:gd name="connsiteY13" fmla="*/ 725 h 10000"/>
                <a:gd name="connsiteX14" fmla="*/ 3857 w 10000"/>
                <a:gd name="connsiteY14" fmla="*/ 706 h 10000"/>
                <a:gd name="connsiteX15" fmla="*/ 4070 w 10000"/>
                <a:gd name="connsiteY15" fmla="*/ 59 h 10000"/>
                <a:gd name="connsiteX16" fmla="*/ 4380 w 10000"/>
                <a:gd name="connsiteY16" fmla="*/ 0 h 10000"/>
                <a:gd name="connsiteX17" fmla="*/ 4767 w 10000"/>
                <a:gd name="connsiteY17" fmla="*/ 569 h 10000"/>
                <a:gd name="connsiteX18" fmla="*/ 5019 w 10000"/>
                <a:gd name="connsiteY18" fmla="*/ 549 h 10000"/>
                <a:gd name="connsiteX19" fmla="*/ 5252 w 10000"/>
                <a:gd name="connsiteY19" fmla="*/ 569 h 10000"/>
                <a:gd name="connsiteX20" fmla="*/ 5640 w 10000"/>
                <a:gd name="connsiteY20" fmla="*/ 0 h 10000"/>
                <a:gd name="connsiteX21" fmla="*/ 5795 w 10000"/>
                <a:gd name="connsiteY21" fmla="*/ 20 h 10000"/>
                <a:gd name="connsiteX22" fmla="*/ 5950 w 10000"/>
                <a:gd name="connsiteY22" fmla="*/ 59 h 10000"/>
                <a:gd name="connsiteX23" fmla="*/ 6163 w 10000"/>
                <a:gd name="connsiteY23" fmla="*/ 706 h 10000"/>
                <a:gd name="connsiteX24" fmla="*/ 6395 w 10000"/>
                <a:gd name="connsiteY24" fmla="*/ 765 h 10000"/>
                <a:gd name="connsiteX25" fmla="*/ 6492 w 10000"/>
                <a:gd name="connsiteY25" fmla="*/ 804 h 10000"/>
                <a:gd name="connsiteX26" fmla="*/ 6609 w 10000"/>
                <a:gd name="connsiteY26" fmla="*/ 843 h 10000"/>
                <a:gd name="connsiteX27" fmla="*/ 7151 w 10000"/>
                <a:gd name="connsiteY27" fmla="*/ 451 h 10000"/>
                <a:gd name="connsiteX28" fmla="*/ 7287 w 10000"/>
                <a:gd name="connsiteY28" fmla="*/ 510 h 10000"/>
                <a:gd name="connsiteX29" fmla="*/ 7442 w 10000"/>
                <a:gd name="connsiteY29" fmla="*/ 588 h 10000"/>
                <a:gd name="connsiteX30" fmla="*/ 7442 w 10000"/>
                <a:gd name="connsiteY30" fmla="*/ 1275 h 10000"/>
                <a:gd name="connsiteX31" fmla="*/ 7616 w 10000"/>
                <a:gd name="connsiteY31" fmla="*/ 1412 h 10000"/>
                <a:gd name="connsiteX32" fmla="*/ 7713 w 10000"/>
                <a:gd name="connsiteY32" fmla="*/ 1471 h 10000"/>
                <a:gd name="connsiteX33" fmla="*/ 7810 w 10000"/>
                <a:gd name="connsiteY33" fmla="*/ 1549 h 10000"/>
                <a:gd name="connsiteX34" fmla="*/ 8450 w 10000"/>
                <a:gd name="connsiteY34" fmla="*/ 1333 h 10000"/>
                <a:gd name="connsiteX35" fmla="*/ 8566 w 10000"/>
                <a:gd name="connsiteY35" fmla="*/ 1451 h 10000"/>
                <a:gd name="connsiteX36" fmla="*/ 8682 w 10000"/>
                <a:gd name="connsiteY36" fmla="*/ 1569 h 10000"/>
                <a:gd name="connsiteX37" fmla="*/ 8469 w 10000"/>
                <a:gd name="connsiteY37" fmla="*/ 2216 h 10000"/>
                <a:gd name="connsiteX38" fmla="*/ 8605 w 10000"/>
                <a:gd name="connsiteY38" fmla="*/ 2392 h 10000"/>
                <a:gd name="connsiteX39" fmla="*/ 8740 w 10000"/>
                <a:gd name="connsiteY39" fmla="*/ 2588 h 10000"/>
                <a:gd name="connsiteX40" fmla="*/ 9419 w 10000"/>
                <a:gd name="connsiteY40" fmla="*/ 2588 h 10000"/>
                <a:gd name="connsiteX41" fmla="*/ 9496 w 10000"/>
                <a:gd name="connsiteY41" fmla="*/ 2706 h 10000"/>
                <a:gd name="connsiteX42" fmla="*/ 9574 w 10000"/>
                <a:gd name="connsiteY42" fmla="*/ 2863 h 10000"/>
                <a:gd name="connsiteX43" fmla="*/ 9167 w 10000"/>
                <a:gd name="connsiteY43" fmla="*/ 3392 h 10000"/>
                <a:gd name="connsiteX44" fmla="*/ 9244 w 10000"/>
                <a:gd name="connsiteY44" fmla="*/ 3627 h 10000"/>
                <a:gd name="connsiteX45" fmla="*/ 9283 w 10000"/>
                <a:gd name="connsiteY45" fmla="*/ 3745 h 10000"/>
                <a:gd name="connsiteX46" fmla="*/ 9302 w 10000"/>
                <a:gd name="connsiteY46" fmla="*/ 3863 h 10000"/>
                <a:gd name="connsiteX47" fmla="*/ 9961 w 10000"/>
                <a:gd name="connsiteY47" fmla="*/ 4059 h 10000"/>
                <a:gd name="connsiteX48" fmla="*/ 10000 w 10000"/>
                <a:gd name="connsiteY48" fmla="*/ 4392 h 10000"/>
                <a:gd name="connsiteX49" fmla="*/ 9438 w 10000"/>
                <a:gd name="connsiteY49" fmla="*/ 4765 h 10000"/>
                <a:gd name="connsiteX50" fmla="*/ 9457 w 10000"/>
                <a:gd name="connsiteY50" fmla="*/ 5000 h 10000"/>
                <a:gd name="connsiteX51" fmla="*/ 9438 w 10000"/>
                <a:gd name="connsiteY51" fmla="*/ 5235 h 10000"/>
                <a:gd name="connsiteX52" fmla="*/ 10000 w 10000"/>
                <a:gd name="connsiteY52" fmla="*/ 5627 h 10000"/>
                <a:gd name="connsiteX53" fmla="*/ 9981 w 10000"/>
                <a:gd name="connsiteY53" fmla="*/ 5784 h 10000"/>
                <a:gd name="connsiteX54" fmla="*/ 9961 w 10000"/>
                <a:gd name="connsiteY54" fmla="*/ 5941 h 10000"/>
                <a:gd name="connsiteX55" fmla="*/ 9302 w 10000"/>
                <a:gd name="connsiteY55" fmla="*/ 6157 h 10000"/>
                <a:gd name="connsiteX56" fmla="*/ 9244 w 10000"/>
                <a:gd name="connsiteY56" fmla="*/ 6392 h 10000"/>
                <a:gd name="connsiteX57" fmla="*/ 9205 w 10000"/>
                <a:gd name="connsiteY57" fmla="*/ 6490 h 10000"/>
                <a:gd name="connsiteX58" fmla="*/ 9167 w 10000"/>
                <a:gd name="connsiteY58" fmla="*/ 6608 h 10000"/>
                <a:gd name="connsiteX59" fmla="*/ 9574 w 10000"/>
                <a:gd name="connsiteY59" fmla="*/ 7157 h 10000"/>
                <a:gd name="connsiteX60" fmla="*/ 9496 w 10000"/>
                <a:gd name="connsiteY60" fmla="*/ 7294 h 10000"/>
                <a:gd name="connsiteX61" fmla="*/ 9419 w 10000"/>
                <a:gd name="connsiteY61" fmla="*/ 7431 h 10000"/>
                <a:gd name="connsiteX62" fmla="*/ 8740 w 10000"/>
                <a:gd name="connsiteY62" fmla="*/ 7412 h 10000"/>
                <a:gd name="connsiteX63" fmla="*/ 8605 w 10000"/>
                <a:gd name="connsiteY63" fmla="*/ 7627 h 10000"/>
                <a:gd name="connsiteX64" fmla="*/ 8547 w 10000"/>
                <a:gd name="connsiteY64" fmla="*/ 7706 h 10000"/>
                <a:gd name="connsiteX65" fmla="*/ 8469 w 10000"/>
                <a:gd name="connsiteY65" fmla="*/ 7804 h 10000"/>
                <a:gd name="connsiteX66" fmla="*/ 8682 w 10000"/>
                <a:gd name="connsiteY66" fmla="*/ 8451 h 10000"/>
                <a:gd name="connsiteX67" fmla="*/ 8566 w 10000"/>
                <a:gd name="connsiteY67" fmla="*/ 8569 h 10000"/>
                <a:gd name="connsiteX68" fmla="*/ 8450 w 10000"/>
                <a:gd name="connsiteY68" fmla="*/ 8686 h 10000"/>
                <a:gd name="connsiteX69" fmla="*/ 7810 w 10000"/>
                <a:gd name="connsiteY69" fmla="*/ 8471 h 10000"/>
                <a:gd name="connsiteX70" fmla="*/ 7616 w 10000"/>
                <a:gd name="connsiteY70" fmla="*/ 8608 h 10000"/>
                <a:gd name="connsiteX71" fmla="*/ 7442 w 10000"/>
                <a:gd name="connsiteY71" fmla="*/ 8745 h 10000"/>
                <a:gd name="connsiteX72" fmla="*/ 7442 w 10000"/>
                <a:gd name="connsiteY72" fmla="*/ 9412 h 10000"/>
                <a:gd name="connsiteX73" fmla="*/ 7287 w 10000"/>
                <a:gd name="connsiteY73" fmla="*/ 9510 h 10000"/>
                <a:gd name="connsiteX74" fmla="*/ 7151 w 10000"/>
                <a:gd name="connsiteY74" fmla="*/ 9569 h 10000"/>
                <a:gd name="connsiteX75" fmla="*/ 6609 w 10000"/>
                <a:gd name="connsiteY75" fmla="*/ 9157 h 10000"/>
                <a:gd name="connsiteX76" fmla="*/ 6395 w 10000"/>
                <a:gd name="connsiteY76" fmla="*/ 9235 h 10000"/>
                <a:gd name="connsiteX77" fmla="*/ 6279 w 10000"/>
                <a:gd name="connsiteY77" fmla="*/ 9275 h 10000"/>
                <a:gd name="connsiteX78" fmla="*/ 6163 w 10000"/>
                <a:gd name="connsiteY78" fmla="*/ 9314 h 10000"/>
                <a:gd name="connsiteX79" fmla="*/ 5950 w 10000"/>
                <a:gd name="connsiteY79" fmla="*/ 9961 h 10000"/>
                <a:gd name="connsiteX80" fmla="*/ 5640 w 10000"/>
                <a:gd name="connsiteY80" fmla="*/ 10000 h 10000"/>
                <a:gd name="connsiteX81" fmla="*/ 5252 w 10000"/>
                <a:gd name="connsiteY81" fmla="*/ 9451 h 10000"/>
                <a:gd name="connsiteX82" fmla="*/ 5019 w 10000"/>
                <a:gd name="connsiteY82" fmla="*/ 9451 h 10000"/>
                <a:gd name="connsiteX83" fmla="*/ 4767 w 10000"/>
                <a:gd name="connsiteY83" fmla="*/ 9451 h 10000"/>
                <a:gd name="connsiteX84" fmla="*/ 4380 w 10000"/>
                <a:gd name="connsiteY84" fmla="*/ 10000 h 10000"/>
                <a:gd name="connsiteX85" fmla="*/ 4225 w 10000"/>
                <a:gd name="connsiteY85" fmla="*/ 9980 h 10000"/>
                <a:gd name="connsiteX86" fmla="*/ 4070 w 10000"/>
                <a:gd name="connsiteY86" fmla="*/ 9961 h 10000"/>
                <a:gd name="connsiteX87" fmla="*/ 3857 w 10000"/>
                <a:gd name="connsiteY87" fmla="*/ 9314 h 10000"/>
                <a:gd name="connsiteX88" fmla="*/ 3624 w 10000"/>
                <a:gd name="connsiteY88" fmla="*/ 9235 h 10000"/>
                <a:gd name="connsiteX89" fmla="*/ 3508 w 10000"/>
                <a:gd name="connsiteY89" fmla="*/ 9216 h 10000"/>
                <a:gd name="connsiteX90" fmla="*/ 3411 w 10000"/>
                <a:gd name="connsiteY90" fmla="*/ 9157 h 10000"/>
                <a:gd name="connsiteX91" fmla="*/ 2868 w 10000"/>
                <a:gd name="connsiteY91" fmla="*/ 9569 h 10000"/>
                <a:gd name="connsiteX92" fmla="*/ 2733 w 10000"/>
                <a:gd name="connsiteY92" fmla="*/ 9510 h 10000"/>
                <a:gd name="connsiteX93" fmla="*/ 2578 w 10000"/>
                <a:gd name="connsiteY93" fmla="*/ 9412 h 10000"/>
                <a:gd name="connsiteX94" fmla="*/ 2597 w 10000"/>
                <a:gd name="connsiteY94" fmla="*/ 8745 h 10000"/>
                <a:gd name="connsiteX95" fmla="*/ 2403 w 10000"/>
                <a:gd name="connsiteY95" fmla="*/ 8608 h 10000"/>
                <a:gd name="connsiteX96" fmla="*/ 2306 w 10000"/>
                <a:gd name="connsiteY96" fmla="*/ 8529 h 10000"/>
                <a:gd name="connsiteX97" fmla="*/ 2209 w 10000"/>
                <a:gd name="connsiteY97" fmla="*/ 8471 h 10000"/>
                <a:gd name="connsiteX98" fmla="*/ 1570 w 10000"/>
                <a:gd name="connsiteY98" fmla="*/ 8686 h 10000"/>
                <a:gd name="connsiteX99" fmla="*/ 1453 w 10000"/>
                <a:gd name="connsiteY99" fmla="*/ 8569 h 10000"/>
                <a:gd name="connsiteX100" fmla="*/ 1337 w 10000"/>
                <a:gd name="connsiteY100" fmla="*/ 8451 h 10000"/>
                <a:gd name="connsiteX101" fmla="*/ 1550 w 10000"/>
                <a:gd name="connsiteY101" fmla="*/ 7804 h 10000"/>
                <a:gd name="connsiteX102" fmla="*/ 1415 w 10000"/>
                <a:gd name="connsiteY102" fmla="*/ 7627 h 10000"/>
                <a:gd name="connsiteX103" fmla="*/ 1279 w 10000"/>
                <a:gd name="connsiteY103" fmla="*/ 7412 h 10000"/>
                <a:gd name="connsiteX104" fmla="*/ 601 w 10000"/>
                <a:gd name="connsiteY104" fmla="*/ 7431 h 10000"/>
                <a:gd name="connsiteX105" fmla="*/ 523 w 10000"/>
                <a:gd name="connsiteY105" fmla="*/ 7294 h 10000"/>
                <a:gd name="connsiteX106" fmla="*/ 446 w 10000"/>
                <a:gd name="connsiteY106" fmla="*/ 7157 h 10000"/>
                <a:gd name="connsiteX107" fmla="*/ 853 w 10000"/>
                <a:gd name="connsiteY107" fmla="*/ 6608 h 10000"/>
                <a:gd name="connsiteX108" fmla="*/ 775 w 10000"/>
                <a:gd name="connsiteY108" fmla="*/ 6392 h 10000"/>
                <a:gd name="connsiteX109" fmla="*/ 756 w 10000"/>
                <a:gd name="connsiteY109" fmla="*/ 6275 h 10000"/>
                <a:gd name="connsiteX110" fmla="*/ 717 w 10000"/>
                <a:gd name="connsiteY110" fmla="*/ 6157 h 10000"/>
                <a:gd name="connsiteX111" fmla="*/ 58 w 10000"/>
                <a:gd name="connsiteY111" fmla="*/ 5941 h 10000"/>
                <a:gd name="connsiteX112" fmla="*/ 0 w 10000"/>
                <a:gd name="connsiteY112" fmla="*/ 5627 h 10000"/>
                <a:gd name="connsiteX113" fmla="*/ 581 w 10000"/>
                <a:gd name="connsiteY113" fmla="*/ 5235 h 10000"/>
                <a:gd name="connsiteX114" fmla="*/ 562 w 10000"/>
                <a:gd name="connsiteY114" fmla="*/ 5000 h 10000"/>
                <a:gd name="connsiteX115" fmla="*/ 581 w 10000"/>
                <a:gd name="connsiteY115" fmla="*/ 4765 h 10000"/>
                <a:gd name="connsiteX116" fmla="*/ 0 w 10000"/>
                <a:gd name="connsiteY116" fmla="*/ 4392 h 10000"/>
                <a:gd name="connsiteX117" fmla="*/ 19 w 10000"/>
                <a:gd name="connsiteY117" fmla="*/ 4216 h 10000"/>
                <a:gd name="connsiteX118" fmla="*/ 58 w 10000"/>
                <a:gd name="connsiteY118" fmla="*/ 4059 h 10000"/>
                <a:gd name="connsiteX119" fmla="*/ 717 w 10000"/>
                <a:gd name="connsiteY119" fmla="*/ 3863 h 10000"/>
                <a:gd name="connsiteX120" fmla="*/ 775 w 10000"/>
                <a:gd name="connsiteY120" fmla="*/ 3627 h 10000"/>
                <a:gd name="connsiteX121" fmla="*/ 814 w 10000"/>
                <a:gd name="connsiteY121" fmla="*/ 3510 h 10000"/>
                <a:gd name="connsiteX122" fmla="*/ 853 w 10000"/>
                <a:gd name="connsiteY122" fmla="*/ 3392 h 10000"/>
                <a:gd name="connsiteX123" fmla="*/ 446 w 10000"/>
                <a:gd name="connsiteY123" fmla="*/ 2863 h 10000"/>
                <a:gd name="connsiteX124" fmla="*/ 523 w 10000"/>
                <a:gd name="connsiteY124" fmla="*/ 2706 h 10000"/>
                <a:gd name="connsiteX125" fmla="*/ 601 w 10000"/>
                <a:gd name="connsiteY125" fmla="*/ 2588 h 10000"/>
                <a:gd name="connsiteX126" fmla="*/ 1279 w 10000"/>
                <a:gd name="connsiteY126" fmla="*/ 2588 h 10000"/>
                <a:gd name="connsiteX0" fmla="*/ 1415 w 10000"/>
                <a:gd name="connsiteY0" fmla="*/ 2392 h 10000"/>
                <a:gd name="connsiteX1" fmla="*/ 1337 w 10000"/>
                <a:gd name="connsiteY1" fmla="*/ 1569 h 10000"/>
                <a:gd name="connsiteX2" fmla="*/ 1453 w 10000"/>
                <a:gd name="connsiteY2" fmla="*/ 1451 h 10000"/>
                <a:gd name="connsiteX3" fmla="*/ 1570 w 10000"/>
                <a:gd name="connsiteY3" fmla="*/ 1333 h 10000"/>
                <a:gd name="connsiteX4" fmla="*/ 2209 w 10000"/>
                <a:gd name="connsiteY4" fmla="*/ 1549 h 10000"/>
                <a:gd name="connsiteX5" fmla="*/ 2403 w 10000"/>
                <a:gd name="connsiteY5" fmla="*/ 1412 h 10000"/>
                <a:gd name="connsiteX6" fmla="*/ 2597 w 10000"/>
                <a:gd name="connsiteY6" fmla="*/ 1275 h 10000"/>
                <a:gd name="connsiteX7" fmla="*/ 2578 w 10000"/>
                <a:gd name="connsiteY7" fmla="*/ 588 h 10000"/>
                <a:gd name="connsiteX8" fmla="*/ 2733 w 10000"/>
                <a:gd name="connsiteY8" fmla="*/ 510 h 10000"/>
                <a:gd name="connsiteX9" fmla="*/ 2868 w 10000"/>
                <a:gd name="connsiteY9" fmla="*/ 451 h 10000"/>
                <a:gd name="connsiteX10" fmla="*/ 3411 w 10000"/>
                <a:gd name="connsiteY10" fmla="*/ 843 h 10000"/>
                <a:gd name="connsiteX11" fmla="*/ 3624 w 10000"/>
                <a:gd name="connsiteY11" fmla="*/ 765 h 10000"/>
                <a:gd name="connsiteX12" fmla="*/ 3740 w 10000"/>
                <a:gd name="connsiteY12" fmla="*/ 725 h 10000"/>
                <a:gd name="connsiteX13" fmla="*/ 3857 w 10000"/>
                <a:gd name="connsiteY13" fmla="*/ 706 h 10000"/>
                <a:gd name="connsiteX14" fmla="*/ 4070 w 10000"/>
                <a:gd name="connsiteY14" fmla="*/ 59 h 10000"/>
                <a:gd name="connsiteX15" fmla="*/ 4380 w 10000"/>
                <a:gd name="connsiteY15" fmla="*/ 0 h 10000"/>
                <a:gd name="connsiteX16" fmla="*/ 4767 w 10000"/>
                <a:gd name="connsiteY16" fmla="*/ 569 h 10000"/>
                <a:gd name="connsiteX17" fmla="*/ 5019 w 10000"/>
                <a:gd name="connsiteY17" fmla="*/ 549 h 10000"/>
                <a:gd name="connsiteX18" fmla="*/ 5252 w 10000"/>
                <a:gd name="connsiteY18" fmla="*/ 569 h 10000"/>
                <a:gd name="connsiteX19" fmla="*/ 5640 w 10000"/>
                <a:gd name="connsiteY19" fmla="*/ 0 h 10000"/>
                <a:gd name="connsiteX20" fmla="*/ 5795 w 10000"/>
                <a:gd name="connsiteY20" fmla="*/ 20 h 10000"/>
                <a:gd name="connsiteX21" fmla="*/ 5950 w 10000"/>
                <a:gd name="connsiteY21" fmla="*/ 59 h 10000"/>
                <a:gd name="connsiteX22" fmla="*/ 6163 w 10000"/>
                <a:gd name="connsiteY22" fmla="*/ 706 h 10000"/>
                <a:gd name="connsiteX23" fmla="*/ 6395 w 10000"/>
                <a:gd name="connsiteY23" fmla="*/ 765 h 10000"/>
                <a:gd name="connsiteX24" fmla="*/ 6492 w 10000"/>
                <a:gd name="connsiteY24" fmla="*/ 804 h 10000"/>
                <a:gd name="connsiteX25" fmla="*/ 6609 w 10000"/>
                <a:gd name="connsiteY25" fmla="*/ 843 h 10000"/>
                <a:gd name="connsiteX26" fmla="*/ 7151 w 10000"/>
                <a:gd name="connsiteY26" fmla="*/ 451 h 10000"/>
                <a:gd name="connsiteX27" fmla="*/ 7287 w 10000"/>
                <a:gd name="connsiteY27" fmla="*/ 510 h 10000"/>
                <a:gd name="connsiteX28" fmla="*/ 7442 w 10000"/>
                <a:gd name="connsiteY28" fmla="*/ 588 h 10000"/>
                <a:gd name="connsiteX29" fmla="*/ 7442 w 10000"/>
                <a:gd name="connsiteY29" fmla="*/ 1275 h 10000"/>
                <a:gd name="connsiteX30" fmla="*/ 7616 w 10000"/>
                <a:gd name="connsiteY30" fmla="*/ 1412 h 10000"/>
                <a:gd name="connsiteX31" fmla="*/ 7713 w 10000"/>
                <a:gd name="connsiteY31" fmla="*/ 1471 h 10000"/>
                <a:gd name="connsiteX32" fmla="*/ 7810 w 10000"/>
                <a:gd name="connsiteY32" fmla="*/ 1549 h 10000"/>
                <a:gd name="connsiteX33" fmla="*/ 8450 w 10000"/>
                <a:gd name="connsiteY33" fmla="*/ 1333 h 10000"/>
                <a:gd name="connsiteX34" fmla="*/ 8566 w 10000"/>
                <a:gd name="connsiteY34" fmla="*/ 1451 h 10000"/>
                <a:gd name="connsiteX35" fmla="*/ 8682 w 10000"/>
                <a:gd name="connsiteY35" fmla="*/ 1569 h 10000"/>
                <a:gd name="connsiteX36" fmla="*/ 8469 w 10000"/>
                <a:gd name="connsiteY36" fmla="*/ 2216 h 10000"/>
                <a:gd name="connsiteX37" fmla="*/ 8605 w 10000"/>
                <a:gd name="connsiteY37" fmla="*/ 2392 h 10000"/>
                <a:gd name="connsiteX38" fmla="*/ 8740 w 10000"/>
                <a:gd name="connsiteY38" fmla="*/ 2588 h 10000"/>
                <a:gd name="connsiteX39" fmla="*/ 9419 w 10000"/>
                <a:gd name="connsiteY39" fmla="*/ 2588 h 10000"/>
                <a:gd name="connsiteX40" fmla="*/ 9496 w 10000"/>
                <a:gd name="connsiteY40" fmla="*/ 2706 h 10000"/>
                <a:gd name="connsiteX41" fmla="*/ 9574 w 10000"/>
                <a:gd name="connsiteY41" fmla="*/ 2863 h 10000"/>
                <a:gd name="connsiteX42" fmla="*/ 9167 w 10000"/>
                <a:gd name="connsiteY42" fmla="*/ 3392 h 10000"/>
                <a:gd name="connsiteX43" fmla="*/ 9244 w 10000"/>
                <a:gd name="connsiteY43" fmla="*/ 3627 h 10000"/>
                <a:gd name="connsiteX44" fmla="*/ 9283 w 10000"/>
                <a:gd name="connsiteY44" fmla="*/ 3745 h 10000"/>
                <a:gd name="connsiteX45" fmla="*/ 9302 w 10000"/>
                <a:gd name="connsiteY45" fmla="*/ 3863 h 10000"/>
                <a:gd name="connsiteX46" fmla="*/ 9961 w 10000"/>
                <a:gd name="connsiteY46" fmla="*/ 4059 h 10000"/>
                <a:gd name="connsiteX47" fmla="*/ 10000 w 10000"/>
                <a:gd name="connsiteY47" fmla="*/ 4392 h 10000"/>
                <a:gd name="connsiteX48" fmla="*/ 9438 w 10000"/>
                <a:gd name="connsiteY48" fmla="*/ 4765 h 10000"/>
                <a:gd name="connsiteX49" fmla="*/ 9457 w 10000"/>
                <a:gd name="connsiteY49" fmla="*/ 5000 h 10000"/>
                <a:gd name="connsiteX50" fmla="*/ 9438 w 10000"/>
                <a:gd name="connsiteY50" fmla="*/ 5235 h 10000"/>
                <a:gd name="connsiteX51" fmla="*/ 10000 w 10000"/>
                <a:gd name="connsiteY51" fmla="*/ 5627 h 10000"/>
                <a:gd name="connsiteX52" fmla="*/ 9981 w 10000"/>
                <a:gd name="connsiteY52" fmla="*/ 5784 h 10000"/>
                <a:gd name="connsiteX53" fmla="*/ 9961 w 10000"/>
                <a:gd name="connsiteY53" fmla="*/ 5941 h 10000"/>
                <a:gd name="connsiteX54" fmla="*/ 9302 w 10000"/>
                <a:gd name="connsiteY54" fmla="*/ 6157 h 10000"/>
                <a:gd name="connsiteX55" fmla="*/ 9244 w 10000"/>
                <a:gd name="connsiteY55" fmla="*/ 6392 h 10000"/>
                <a:gd name="connsiteX56" fmla="*/ 9205 w 10000"/>
                <a:gd name="connsiteY56" fmla="*/ 6490 h 10000"/>
                <a:gd name="connsiteX57" fmla="*/ 9167 w 10000"/>
                <a:gd name="connsiteY57" fmla="*/ 6608 h 10000"/>
                <a:gd name="connsiteX58" fmla="*/ 9574 w 10000"/>
                <a:gd name="connsiteY58" fmla="*/ 7157 h 10000"/>
                <a:gd name="connsiteX59" fmla="*/ 9496 w 10000"/>
                <a:gd name="connsiteY59" fmla="*/ 7294 h 10000"/>
                <a:gd name="connsiteX60" fmla="*/ 9419 w 10000"/>
                <a:gd name="connsiteY60" fmla="*/ 7431 h 10000"/>
                <a:gd name="connsiteX61" fmla="*/ 8740 w 10000"/>
                <a:gd name="connsiteY61" fmla="*/ 7412 h 10000"/>
                <a:gd name="connsiteX62" fmla="*/ 8605 w 10000"/>
                <a:gd name="connsiteY62" fmla="*/ 7627 h 10000"/>
                <a:gd name="connsiteX63" fmla="*/ 8547 w 10000"/>
                <a:gd name="connsiteY63" fmla="*/ 7706 h 10000"/>
                <a:gd name="connsiteX64" fmla="*/ 8469 w 10000"/>
                <a:gd name="connsiteY64" fmla="*/ 7804 h 10000"/>
                <a:gd name="connsiteX65" fmla="*/ 8682 w 10000"/>
                <a:gd name="connsiteY65" fmla="*/ 8451 h 10000"/>
                <a:gd name="connsiteX66" fmla="*/ 8566 w 10000"/>
                <a:gd name="connsiteY66" fmla="*/ 8569 h 10000"/>
                <a:gd name="connsiteX67" fmla="*/ 8450 w 10000"/>
                <a:gd name="connsiteY67" fmla="*/ 8686 h 10000"/>
                <a:gd name="connsiteX68" fmla="*/ 7810 w 10000"/>
                <a:gd name="connsiteY68" fmla="*/ 8471 h 10000"/>
                <a:gd name="connsiteX69" fmla="*/ 7616 w 10000"/>
                <a:gd name="connsiteY69" fmla="*/ 8608 h 10000"/>
                <a:gd name="connsiteX70" fmla="*/ 7442 w 10000"/>
                <a:gd name="connsiteY70" fmla="*/ 8745 h 10000"/>
                <a:gd name="connsiteX71" fmla="*/ 7442 w 10000"/>
                <a:gd name="connsiteY71" fmla="*/ 9412 h 10000"/>
                <a:gd name="connsiteX72" fmla="*/ 7287 w 10000"/>
                <a:gd name="connsiteY72" fmla="*/ 9510 h 10000"/>
                <a:gd name="connsiteX73" fmla="*/ 7151 w 10000"/>
                <a:gd name="connsiteY73" fmla="*/ 9569 h 10000"/>
                <a:gd name="connsiteX74" fmla="*/ 6609 w 10000"/>
                <a:gd name="connsiteY74" fmla="*/ 9157 h 10000"/>
                <a:gd name="connsiteX75" fmla="*/ 6395 w 10000"/>
                <a:gd name="connsiteY75" fmla="*/ 9235 h 10000"/>
                <a:gd name="connsiteX76" fmla="*/ 6279 w 10000"/>
                <a:gd name="connsiteY76" fmla="*/ 9275 h 10000"/>
                <a:gd name="connsiteX77" fmla="*/ 6163 w 10000"/>
                <a:gd name="connsiteY77" fmla="*/ 9314 h 10000"/>
                <a:gd name="connsiteX78" fmla="*/ 5950 w 10000"/>
                <a:gd name="connsiteY78" fmla="*/ 9961 h 10000"/>
                <a:gd name="connsiteX79" fmla="*/ 5640 w 10000"/>
                <a:gd name="connsiteY79" fmla="*/ 10000 h 10000"/>
                <a:gd name="connsiteX80" fmla="*/ 5252 w 10000"/>
                <a:gd name="connsiteY80" fmla="*/ 9451 h 10000"/>
                <a:gd name="connsiteX81" fmla="*/ 5019 w 10000"/>
                <a:gd name="connsiteY81" fmla="*/ 9451 h 10000"/>
                <a:gd name="connsiteX82" fmla="*/ 4767 w 10000"/>
                <a:gd name="connsiteY82" fmla="*/ 9451 h 10000"/>
                <a:gd name="connsiteX83" fmla="*/ 4380 w 10000"/>
                <a:gd name="connsiteY83" fmla="*/ 10000 h 10000"/>
                <a:gd name="connsiteX84" fmla="*/ 4225 w 10000"/>
                <a:gd name="connsiteY84" fmla="*/ 9980 h 10000"/>
                <a:gd name="connsiteX85" fmla="*/ 4070 w 10000"/>
                <a:gd name="connsiteY85" fmla="*/ 9961 h 10000"/>
                <a:gd name="connsiteX86" fmla="*/ 3857 w 10000"/>
                <a:gd name="connsiteY86" fmla="*/ 9314 h 10000"/>
                <a:gd name="connsiteX87" fmla="*/ 3624 w 10000"/>
                <a:gd name="connsiteY87" fmla="*/ 9235 h 10000"/>
                <a:gd name="connsiteX88" fmla="*/ 3508 w 10000"/>
                <a:gd name="connsiteY88" fmla="*/ 9216 h 10000"/>
                <a:gd name="connsiteX89" fmla="*/ 3411 w 10000"/>
                <a:gd name="connsiteY89" fmla="*/ 9157 h 10000"/>
                <a:gd name="connsiteX90" fmla="*/ 2868 w 10000"/>
                <a:gd name="connsiteY90" fmla="*/ 9569 h 10000"/>
                <a:gd name="connsiteX91" fmla="*/ 2733 w 10000"/>
                <a:gd name="connsiteY91" fmla="*/ 9510 h 10000"/>
                <a:gd name="connsiteX92" fmla="*/ 2578 w 10000"/>
                <a:gd name="connsiteY92" fmla="*/ 9412 h 10000"/>
                <a:gd name="connsiteX93" fmla="*/ 2597 w 10000"/>
                <a:gd name="connsiteY93" fmla="*/ 8745 h 10000"/>
                <a:gd name="connsiteX94" fmla="*/ 2403 w 10000"/>
                <a:gd name="connsiteY94" fmla="*/ 8608 h 10000"/>
                <a:gd name="connsiteX95" fmla="*/ 2306 w 10000"/>
                <a:gd name="connsiteY95" fmla="*/ 8529 h 10000"/>
                <a:gd name="connsiteX96" fmla="*/ 2209 w 10000"/>
                <a:gd name="connsiteY96" fmla="*/ 8471 h 10000"/>
                <a:gd name="connsiteX97" fmla="*/ 1570 w 10000"/>
                <a:gd name="connsiteY97" fmla="*/ 8686 h 10000"/>
                <a:gd name="connsiteX98" fmla="*/ 1453 w 10000"/>
                <a:gd name="connsiteY98" fmla="*/ 8569 h 10000"/>
                <a:gd name="connsiteX99" fmla="*/ 1337 w 10000"/>
                <a:gd name="connsiteY99" fmla="*/ 8451 h 10000"/>
                <a:gd name="connsiteX100" fmla="*/ 1550 w 10000"/>
                <a:gd name="connsiteY100" fmla="*/ 7804 h 10000"/>
                <a:gd name="connsiteX101" fmla="*/ 1415 w 10000"/>
                <a:gd name="connsiteY101" fmla="*/ 7627 h 10000"/>
                <a:gd name="connsiteX102" fmla="*/ 1279 w 10000"/>
                <a:gd name="connsiteY102" fmla="*/ 7412 h 10000"/>
                <a:gd name="connsiteX103" fmla="*/ 601 w 10000"/>
                <a:gd name="connsiteY103" fmla="*/ 7431 h 10000"/>
                <a:gd name="connsiteX104" fmla="*/ 523 w 10000"/>
                <a:gd name="connsiteY104" fmla="*/ 7294 h 10000"/>
                <a:gd name="connsiteX105" fmla="*/ 446 w 10000"/>
                <a:gd name="connsiteY105" fmla="*/ 7157 h 10000"/>
                <a:gd name="connsiteX106" fmla="*/ 853 w 10000"/>
                <a:gd name="connsiteY106" fmla="*/ 6608 h 10000"/>
                <a:gd name="connsiteX107" fmla="*/ 775 w 10000"/>
                <a:gd name="connsiteY107" fmla="*/ 6392 h 10000"/>
                <a:gd name="connsiteX108" fmla="*/ 756 w 10000"/>
                <a:gd name="connsiteY108" fmla="*/ 6275 h 10000"/>
                <a:gd name="connsiteX109" fmla="*/ 717 w 10000"/>
                <a:gd name="connsiteY109" fmla="*/ 6157 h 10000"/>
                <a:gd name="connsiteX110" fmla="*/ 58 w 10000"/>
                <a:gd name="connsiteY110" fmla="*/ 5941 h 10000"/>
                <a:gd name="connsiteX111" fmla="*/ 0 w 10000"/>
                <a:gd name="connsiteY111" fmla="*/ 5627 h 10000"/>
                <a:gd name="connsiteX112" fmla="*/ 581 w 10000"/>
                <a:gd name="connsiteY112" fmla="*/ 5235 h 10000"/>
                <a:gd name="connsiteX113" fmla="*/ 562 w 10000"/>
                <a:gd name="connsiteY113" fmla="*/ 5000 h 10000"/>
                <a:gd name="connsiteX114" fmla="*/ 581 w 10000"/>
                <a:gd name="connsiteY114" fmla="*/ 4765 h 10000"/>
                <a:gd name="connsiteX115" fmla="*/ 0 w 10000"/>
                <a:gd name="connsiteY115" fmla="*/ 4392 h 10000"/>
                <a:gd name="connsiteX116" fmla="*/ 19 w 10000"/>
                <a:gd name="connsiteY116" fmla="*/ 4216 h 10000"/>
                <a:gd name="connsiteX117" fmla="*/ 58 w 10000"/>
                <a:gd name="connsiteY117" fmla="*/ 4059 h 10000"/>
                <a:gd name="connsiteX118" fmla="*/ 717 w 10000"/>
                <a:gd name="connsiteY118" fmla="*/ 3863 h 10000"/>
                <a:gd name="connsiteX119" fmla="*/ 775 w 10000"/>
                <a:gd name="connsiteY119" fmla="*/ 3627 h 10000"/>
                <a:gd name="connsiteX120" fmla="*/ 814 w 10000"/>
                <a:gd name="connsiteY120" fmla="*/ 3510 h 10000"/>
                <a:gd name="connsiteX121" fmla="*/ 853 w 10000"/>
                <a:gd name="connsiteY121" fmla="*/ 3392 h 10000"/>
                <a:gd name="connsiteX122" fmla="*/ 446 w 10000"/>
                <a:gd name="connsiteY122" fmla="*/ 2863 h 10000"/>
                <a:gd name="connsiteX123" fmla="*/ 523 w 10000"/>
                <a:gd name="connsiteY123" fmla="*/ 2706 h 10000"/>
                <a:gd name="connsiteX124" fmla="*/ 601 w 10000"/>
                <a:gd name="connsiteY124" fmla="*/ 2588 h 10000"/>
                <a:gd name="connsiteX125" fmla="*/ 1279 w 10000"/>
                <a:gd name="connsiteY125" fmla="*/ 2588 h 10000"/>
                <a:gd name="connsiteX0" fmla="*/ 1415 w 10000"/>
                <a:gd name="connsiteY0" fmla="*/ 2392 h 10000"/>
                <a:gd name="connsiteX1" fmla="*/ 1337 w 10000"/>
                <a:gd name="connsiteY1" fmla="*/ 1569 h 10000"/>
                <a:gd name="connsiteX2" fmla="*/ 1570 w 10000"/>
                <a:gd name="connsiteY2" fmla="*/ 1333 h 10000"/>
                <a:gd name="connsiteX3" fmla="*/ 2209 w 10000"/>
                <a:gd name="connsiteY3" fmla="*/ 1549 h 10000"/>
                <a:gd name="connsiteX4" fmla="*/ 2403 w 10000"/>
                <a:gd name="connsiteY4" fmla="*/ 1412 h 10000"/>
                <a:gd name="connsiteX5" fmla="*/ 2597 w 10000"/>
                <a:gd name="connsiteY5" fmla="*/ 1275 h 10000"/>
                <a:gd name="connsiteX6" fmla="*/ 2578 w 10000"/>
                <a:gd name="connsiteY6" fmla="*/ 588 h 10000"/>
                <a:gd name="connsiteX7" fmla="*/ 2733 w 10000"/>
                <a:gd name="connsiteY7" fmla="*/ 510 h 10000"/>
                <a:gd name="connsiteX8" fmla="*/ 2868 w 10000"/>
                <a:gd name="connsiteY8" fmla="*/ 451 h 10000"/>
                <a:gd name="connsiteX9" fmla="*/ 3411 w 10000"/>
                <a:gd name="connsiteY9" fmla="*/ 843 h 10000"/>
                <a:gd name="connsiteX10" fmla="*/ 3624 w 10000"/>
                <a:gd name="connsiteY10" fmla="*/ 765 h 10000"/>
                <a:gd name="connsiteX11" fmla="*/ 3740 w 10000"/>
                <a:gd name="connsiteY11" fmla="*/ 725 h 10000"/>
                <a:gd name="connsiteX12" fmla="*/ 3857 w 10000"/>
                <a:gd name="connsiteY12" fmla="*/ 706 h 10000"/>
                <a:gd name="connsiteX13" fmla="*/ 4070 w 10000"/>
                <a:gd name="connsiteY13" fmla="*/ 59 h 10000"/>
                <a:gd name="connsiteX14" fmla="*/ 4380 w 10000"/>
                <a:gd name="connsiteY14" fmla="*/ 0 h 10000"/>
                <a:gd name="connsiteX15" fmla="*/ 4767 w 10000"/>
                <a:gd name="connsiteY15" fmla="*/ 569 h 10000"/>
                <a:gd name="connsiteX16" fmla="*/ 5019 w 10000"/>
                <a:gd name="connsiteY16" fmla="*/ 549 h 10000"/>
                <a:gd name="connsiteX17" fmla="*/ 5252 w 10000"/>
                <a:gd name="connsiteY17" fmla="*/ 569 h 10000"/>
                <a:gd name="connsiteX18" fmla="*/ 5640 w 10000"/>
                <a:gd name="connsiteY18" fmla="*/ 0 h 10000"/>
                <a:gd name="connsiteX19" fmla="*/ 5795 w 10000"/>
                <a:gd name="connsiteY19" fmla="*/ 20 h 10000"/>
                <a:gd name="connsiteX20" fmla="*/ 5950 w 10000"/>
                <a:gd name="connsiteY20" fmla="*/ 59 h 10000"/>
                <a:gd name="connsiteX21" fmla="*/ 6163 w 10000"/>
                <a:gd name="connsiteY21" fmla="*/ 706 h 10000"/>
                <a:gd name="connsiteX22" fmla="*/ 6395 w 10000"/>
                <a:gd name="connsiteY22" fmla="*/ 765 h 10000"/>
                <a:gd name="connsiteX23" fmla="*/ 6492 w 10000"/>
                <a:gd name="connsiteY23" fmla="*/ 804 h 10000"/>
                <a:gd name="connsiteX24" fmla="*/ 6609 w 10000"/>
                <a:gd name="connsiteY24" fmla="*/ 843 h 10000"/>
                <a:gd name="connsiteX25" fmla="*/ 7151 w 10000"/>
                <a:gd name="connsiteY25" fmla="*/ 451 h 10000"/>
                <a:gd name="connsiteX26" fmla="*/ 7287 w 10000"/>
                <a:gd name="connsiteY26" fmla="*/ 510 h 10000"/>
                <a:gd name="connsiteX27" fmla="*/ 7442 w 10000"/>
                <a:gd name="connsiteY27" fmla="*/ 588 h 10000"/>
                <a:gd name="connsiteX28" fmla="*/ 7442 w 10000"/>
                <a:gd name="connsiteY28" fmla="*/ 1275 h 10000"/>
                <a:gd name="connsiteX29" fmla="*/ 7616 w 10000"/>
                <a:gd name="connsiteY29" fmla="*/ 1412 h 10000"/>
                <a:gd name="connsiteX30" fmla="*/ 7713 w 10000"/>
                <a:gd name="connsiteY30" fmla="*/ 1471 h 10000"/>
                <a:gd name="connsiteX31" fmla="*/ 7810 w 10000"/>
                <a:gd name="connsiteY31" fmla="*/ 1549 h 10000"/>
                <a:gd name="connsiteX32" fmla="*/ 8450 w 10000"/>
                <a:gd name="connsiteY32" fmla="*/ 1333 h 10000"/>
                <a:gd name="connsiteX33" fmla="*/ 8566 w 10000"/>
                <a:gd name="connsiteY33" fmla="*/ 1451 h 10000"/>
                <a:gd name="connsiteX34" fmla="*/ 8682 w 10000"/>
                <a:gd name="connsiteY34" fmla="*/ 1569 h 10000"/>
                <a:gd name="connsiteX35" fmla="*/ 8469 w 10000"/>
                <a:gd name="connsiteY35" fmla="*/ 2216 h 10000"/>
                <a:gd name="connsiteX36" fmla="*/ 8605 w 10000"/>
                <a:gd name="connsiteY36" fmla="*/ 2392 h 10000"/>
                <a:gd name="connsiteX37" fmla="*/ 8740 w 10000"/>
                <a:gd name="connsiteY37" fmla="*/ 2588 h 10000"/>
                <a:gd name="connsiteX38" fmla="*/ 9419 w 10000"/>
                <a:gd name="connsiteY38" fmla="*/ 2588 h 10000"/>
                <a:gd name="connsiteX39" fmla="*/ 9496 w 10000"/>
                <a:gd name="connsiteY39" fmla="*/ 2706 h 10000"/>
                <a:gd name="connsiteX40" fmla="*/ 9574 w 10000"/>
                <a:gd name="connsiteY40" fmla="*/ 2863 h 10000"/>
                <a:gd name="connsiteX41" fmla="*/ 9167 w 10000"/>
                <a:gd name="connsiteY41" fmla="*/ 3392 h 10000"/>
                <a:gd name="connsiteX42" fmla="*/ 9244 w 10000"/>
                <a:gd name="connsiteY42" fmla="*/ 3627 h 10000"/>
                <a:gd name="connsiteX43" fmla="*/ 9283 w 10000"/>
                <a:gd name="connsiteY43" fmla="*/ 3745 h 10000"/>
                <a:gd name="connsiteX44" fmla="*/ 9302 w 10000"/>
                <a:gd name="connsiteY44" fmla="*/ 3863 h 10000"/>
                <a:gd name="connsiteX45" fmla="*/ 9961 w 10000"/>
                <a:gd name="connsiteY45" fmla="*/ 4059 h 10000"/>
                <a:gd name="connsiteX46" fmla="*/ 10000 w 10000"/>
                <a:gd name="connsiteY46" fmla="*/ 4392 h 10000"/>
                <a:gd name="connsiteX47" fmla="*/ 9438 w 10000"/>
                <a:gd name="connsiteY47" fmla="*/ 4765 h 10000"/>
                <a:gd name="connsiteX48" fmla="*/ 9457 w 10000"/>
                <a:gd name="connsiteY48" fmla="*/ 5000 h 10000"/>
                <a:gd name="connsiteX49" fmla="*/ 9438 w 10000"/>
                <a:gd name="connsiteY49" fmla="*/ 5235 h 10000"/>
                <a:gd name="connsiteX50" fmla="*/ 10000 w 10000"/>
                <a:gd name="connsiteY50" fmla="*/ 5627 h 10000"/>
                <a:gd name="connsiteX51" fmla="*/ 9981 w 10000"/>
                <a:gd name="connsiteY51" fmla="*/ 5784 h 10000"/>
                <a:gd name="connsiteX52" fmla="*/ 9961 w 10000"/>
                <a:gd name="connsiteY52" fmla="*/ 5941 h 10000"/>
                <a:gd name="connsiteX53" fmla="*/ 9302 w 10000"/>
                <a:gd name="connsiteY53" fmla="*/ 6157 h 10000"/>
                <a:gd name="connsiteX54" fmla="*/ 9244 w 10000"/>
                <a:gd name="connsiteY54" fmla="*/ 6392 h 10000"/>
                <a:gd name="connsiteX55" fmla="*/ 9205 w 10000"/>
                <a:gd name="connsiteY55" fmla="*/ 6490 h 10000"/>
                <a:gd name="connsiteX56" fmla="*/ 9167 w 10000"/>
                <a:gd name="connsiteY56" fmla="*/ 6608 h 10000"/>
                <a:gd name="connsiteX57" fmla="*/ 9574 w 10000"/>
                <a:gd name="connsiteY57" fmla="*/ 7157 h 10000"/>
                <a:gd name="connsiteX58" fmla="*/ 9496 w 10000"/>
                <a:gd name="connsiteY58" fmla="*/ 7294 h 10000"/>
                <a:gd name="connsiteX59" fmla="*/ 9419 w 10000"/>
                <a:gd name="connsiteY59" fmla="*/ 7431 h 10000"/>
                <a:gd name="connsiteX60" fmla="*/ 8740 w 10000"/>
                <a:gd name="connsiteY60" fmla="*/ 7412 h 10000"/>
                <a:gd name="connsiteX61" fmla="*/ 8605 w 10000"/>
                <a:gd name="connsiteY61" fmla="*/ 7627 h 10000"/>
                <a:gd name="connsiteX62" fmla="*/ 8547 w 10000"/>
                <a:gd name="connsiteY62" fmla="*/ 7706 h 10000"/>
                <a:gd name="connsiteX63" fmla="*/ 8469 w 10000"/>
                <a:gd name="connsiteY63" fmla="*/ 7804 h 10000"/>
                <a:gd name="connsiteX64" fmla="*/ 8682 w 10000"/>
                <a:gd name="connsiteY64" fmla="*/ 8451 h 10000"/>
                <a:gd name="connsiteX65" fmla="*/ 8566 w 10000"/>
                <a:gd name="connsiteY65" fmla="*/ 8569 h 10000"/>
                <a:gd name="connsiteX66" fmla="*/ 8450 w 10000"/>
                <a:gd name="connsiteY66" fmla="*/ 8686 h 10000"/>
                <a:gd name="connsiteX67" fmla="*/ 7810 w 10000"/>
                <a:gd name="connsiteY67" fmla="*/ 8471 h 10000"/>
                <a:gd name="connsiteX68" fmla="*/ 7616 w 10000"/>
                <a:gd name="connsiteY68" fmla="*/ 8608 h 10000"/>
                <a:gd name="connsiteX69" fmla="*/ 7442 w 10000"/>
                <a:gd name="connsiteY69" fmla="*/ 8745 h 10000"/>
                <a:gd name="connsiteX70" fmla="*/ 7442 w 10000"/>
                <a:gd name="connsiteY70" fmla="*/ 9412 h 10000"/>
                <a:gd name="connsiteX71" fmla="*/ 7287 w 10000"/>
                <a:gd name="connsiteY71" fmla="*/ 9510 h 10000"/>
                <a:gd name="connsiteX72" fmla="*/ 7151 w 10000"/>
                <a:gd name="connsiteY72" fmla="*/ 9569 h 10000"/>
                <a:gd name="connsiteX73" fmla="*/ 6609 w 10000"/>
                <a:gd name="connsiteY73" fmla="*/ 9157 h 10000"/>
                <a:gd name="connsiteX74" fmla="*/ 6395 w 10000"/>
                <a:gd name="connsiteY74" fmla="*/ 9235 h 10000"/>
                <a:gd name="connsiteX75" fmla="*/ 6279 w 10000"/>
                <a:gd name="connsiteY75" fmla="*/ 9275 h 10000"/>
                <a:gd name="connsiteX76" fmla="*/ 6163 w 10000"/>
                <a:gd name="connsiteY76" fmla="*/ 9314 h 10000"/>
                <a:gd name="connsiteX77" fmla="*/ 5950 w 10000"/>
                <a:gd name="connsiteY77" fmla="*/ 9961 h 10000"/>
                <a:gd name="connsiteX78" fmla="*/ 5640 w 10000"/>
                <a:gd name="connsiteY78" fmla="*/ 10000 h 10000"/>
                <a:gd name="connsiteX79" fmla="*/ 5252 w 10000"/>
                <a:gd name="connsiteY79" fmla="*/ 9451 h 10000"/>
                <a:gd name="connsiteX80" fmla="*/ 5019 w 10000"/>
                <a:gd name="connsiteY80" fmla="*/ 9451 h 10000"/>
                <a:gd name="connsiteX81" fmla="*/ 4767 w 10000"/>
                <a:gd name="connsiteY81" fmla="*/ 9451 h 10000"/>
                <a:gd name="connsiteX82" fmla="*/ 4380 w 10000"/>
                <a:gd name="connsiteY82" fmla="*/ 10000 h 10000"/>
                <a:gd name="connsiteX83" fmla="*/ 4225 w 10000"/>
                <a:gd name="connsiteY83" fmla="*/ 9980 h 10000"/>
                <a:gd name="connsiteX84" fmla="*/ 4070 w 10000"/>
                <a:gd name="connsiteY84" fmla="*/ 9961 h 10000"/>
                <a:gd name="connsiteX85" fmla="*/ 3857 w 10000"/>
                <a:gd name="connsiteY85" fmla="*/ 9314 h 10000"/>
                <a:gd name="connsiteX86" fmla="*/ 3624 w 10000"/>
                <a:gd name="connsiteY86" fmla="*/ 9235 h 10000"/>
                <a:gd name="connsiteX87" fmla="*/ 3508 w 10000"/>
                <a:gd name="connsiteY87" fmla="*/ 9216 h 10000"/>
                <a:gd name="connsiteX88" fmla="*/ 3411 w 10000"/>
                <a:gd name="connsiteY88" fmla="*/ 9157 h 10000"/>
                <a:gd name="connsiteX89" fmla="*/ 2868 w 10000"/>
                <a:gd name="connsiteY89" fmla="*/ 9569 h 10000"/>
                <a:gd name="connsiteX90" fmla="*/ 2733 w 10000"/>
                <a:gd name="connsiteY90" fmla="*/ 9510 h 10000"/>
                <a:gd name="connsiteX91" fmla="*/ 2578 w 10000"/>
                <a:gd name="connsiteY91" fmla="*/ 9412 h 10000"/>
                <a:gd name="connsiteX92" fmla="*/ 2597 w 10000"/>
                <a:gd name="connsiteY92" fmla="*/ 8745 h 10000"/>
                <a:gd name="connsiteX93" fmla="*/ 2403 w 10000"/>
                <a:gd name="connsiteY93" fmla="*/ 8608 h 10000"/>
                <a:gd name="connsiteX94" fmla="*/ 2306 w 10000"/>
                <a:gd name="connsiteY94" fmla="*/ 8529 h 10000"/>
                <a:gd name="connsiteX95" fmla="*/ 2209 w 10000"/>
                <a:gd name="connsiteY95" fmla="*/ 8471 h 10000"/>
                <a:gd name="connsiteX96" fmla="*/ 1570 w 10000"/>
                <a:gd name="connsiteY96" fmla="*/ 8686 h 10000"/>
                <a:gd name="connsiteX97" fmla="*/ 1453 w 10000"/>
                <a:gd name="connsiteY97" fmla="*/ 8569 h 10000"/>
                <a:gd name="connsiteX98" fmla="*/ 1337 w 10000"/>
                <a:gd name="connsiteY98" fmla="*/ 8451 h 10000"/>
                <a:gd name="connsiteX99" fmla="*/ 1550 w 10000"/>
                <a:gd name="connsiteY99" fmla="*/ 7804 h 10000"/>
                <a:gd name="connsiteX100" fmla="*/ 1415 w 10000"/>
                <a:gd name="connsiteY100" fmla="*/ 7627 h 10000"/>
                <a:gd name="connsiteX101" fmla="*/ 1279 w 10000"/>
                <a:gd name="connsiteY101" fmla="*/ 7412 h 10000"/>
                <a:gd name="connsiteX102" fmla="*/ 601 w 10000"/>
                <a:gd name="connsiteY102" fmla="*/ 7431 h 10000"/>
                <a:gd name="connsiteX103" fmla="*/ 523 w 10000"/>
                <a:gd name="connsiteY103" fmla="*/ 7294 h 10000"/>
                <a:gd name="connsiteX104" fmla="*/ 446 w 10000"/>
                <a:gd name="connsiteY104" fmla="*/ 7157 h 10000"/>
                <a:gd name="connsiteX105" fmla="*/ 853 w 10000"/>
                <a:gd name="connsiteY105" fmla="*/ 6608 h 10000"/>
                <a:gd name="connsiteX106" fmla="*/ 775 w 10000"/>
                <a:gd name="connsiteY106" fmla="*/ 6392 h 10000"/>
                <a:gd name="connsiteX107" fmla="*/ 756 w 10000"/>
                <a:gd name="connsiteY107" fmla="*/ 6275 h 10000"/>
                <a:gd name="connsiteX108" fmla="*/ 717 w 10000"/>
                <a:gd name="connsiteY108" fmla="*/ 6157 h 10000"/>
                <a:gd name="connsiteX109" fmla="*/ 58 w 10000"/>
                <a:gd name="connsiteY109" fmla="*/ 5941 h 10000"/>
                <a:gd name="connsiteX110" fmla="*/ 0 w 10000"/>
                <a:gd name="connsiteY110" fmla="*/ 5627 h 10000"/>
                <a:gd name="connsiteX111" fmla="*/ 581 w 10000"/>
                <a:gd name="connsiteY111" fmla="*/ 5235 h 10000"/>
                <a:gd name="connsiteX112" fmla="*/ 562 w 10000"/>
                <a:gd name="connsiteY112" fmla="*/ 5000 h 10000"/>
                <a:gd name="connsiteX113" fmla="*/ 581 w 10000"/>
                <a:gd name="connsiteY113" fmla="*/ 4765 h 10000"/>
                <a:gd name="connsiteX114" fmla="*/ 0 w 10000"/>
                <a:gd name="connsiteY114" fmla="*/ 4392 h 10000"/>
                <a:gd name="connsiteX115" fmla="*/ 19 w 10000"/>
                <a:gd name="connsiteY115" fmla="*/ 4216 h 10000"/>
                <a:gd name="connsiteX116" fmla="*/ 58 w 10000"/>
                <a:gd name="connsiteY116" fmla="*/ 4059 h 10000"/>
                <a:gd name="connsiteX117" fmla="*/ 717 w 10000"/>
                <a:gd name="connsiteY117" fmla="*/ 3863 h 10000"/>
                <a:gd name="connsiteX118" fmla="*/ 775 w 10000"/>
                <a:gd name="connsiteY118" fmla="*/ 3627 h 10000"/>
                <a:gd name="connsiteX119" fmla="*/ 814 w 10000"/>
                <a:gd name="connsiteY119" fmla="*/ 3510 h 10000"/>
                <a:gd name="connsiteX120" fmla="*/ 853 w 10000"/>
                <a:gd name="connsiteY120" fmla="*/ 3392 h 10000"/>
                <a:gd name="connsiteX121" fmla="*/ 446 w 10000"/>
                <a:gd name="connsiteY121" fmla="*/ 2863 h 10000"/>
                <a:gd name="connsiteX122" fmla="*/ 523 w 10000"/>
                <a:gd name="connsiteY122" fmla="*/ 2706 h 10000"/>
                <a:gd name="connsiteX123" fmla="*/ 601 w 10000"/>
                <a:gd name="connsiteY123" fmla="*/ 2588 h 10000"/>
                <a:gd name="connsiteX124" fmla="*/ 1279 w 10000"/>
                <a:gd name="connsiteY124" fmla="*/ 2588 h 10000"/>
                <a:gd name="connsiteX0" fmla="*/ 1337 w 10000"/>
                <a:gd name="connsiteY0" fmla="*/ 1569 h 10000"/>
                <a:gd name="connsiteX1" fmla="*/ 1570 w 10000"/>
                <a:gd name="connsiteY1" fmla="*/ 1333 h 10000"/>
                <a:gd name="connsiteX2" fmla="*/ 2209 w 10000"/>
                <a:gd name="connsiteY2" fmla="*/ 1549 h 10000"/>
                <a:gd name="connsiteX3" fmla="*/ 2403 w 10000"/>
                <a:gd name="connsiteY3" fmla="*/ 1412 h 10000"/>
                <a:gd name="connsiteX4" fmla="*/ 2597 w 10000"/>
                <a:gd name="connsiteY4" fmla="*/ 1275 h 10000"/>
                <a:gd name="connsiteX5" fmla="*/ 2578 w 10000"/>
                <a:gd name="connsiteY5" fmla="*/ 588 h 10000"/>
                <a:gd name="connsiteX6" fmla="*/ 2733 w 10000"/>
                <a:gd name="connsiteY6" fmla="*/ 510 h 10000"/>
                <a:gd name="connsiteX7" fmla="*/ 2868 w 10000"/>
                <a:gd name="connsiteY7" fmla="*/ 451 h 10000"/>
                <a:gd name="connsiteX8" fmla="*/ 3411 w 10000"/>
                <a:gd name="connsiteY8" fmla="*/ 843 h 10000"/>
                <a:gd name="connsiteX9" fmla="*/ 3624 w 10000"/>
                <a:gd name="connsiteY9" fmla="*/ 765 h 10000"/>
                <a:gd name="connsiteX10" fmla="*/ 3740 w 10000"/>
                <a:gd name="connsiteY10" fmla="*/ 725 h 10000"/>
                <a:gd name="connsiteX11" fmla="*/ 3857 w 10000"/>
                <a:gd name="connsiteY11" fmla="*/ 706 h 10000"/>
                <a:gd name="connsiteX12" fmla="*/ 4070 w 10000"/>
                <a:gd name="connsiteY12" fmla="*/ 59 h 10000"/>
                <a:gd name="connsiteX13" fmla="*/ 4380 w 10000"/>
                <a:gd name="connsiteY13" fmla="*/ 0 h 10000"/>
                <a:gd name="connsiteX14" fmla="*/ 4767 w 10000"/>
                <a:gd name="connsiteY14" fmla="*/ 569 h 10000"/>
                <a:gd name="connsiteX15" fmla="*/ 5019 w 10000"/>
                <a:gd name="connsiteY15" fmla="*/ 549 h 10000"/>
                <a:gd name="connsiteX16" fmla="*/ 5252 w 10000"/>
                <a:gd name="connsiteY16" fmla="*/ 569 h 10000"/>
                <a:gd name="connsiteX17" fmla="*/ 5640 w 10000"/>
                <a:gd name="connsiteY17" fmla="*/ 0 h 10000"/>
                <a:gd name="connsiteX18" fmla="*/ 5795 w 10000"/>
                <a:gd name="connsiteY18" fmla="*/ 20 h 10000"/>
                <a:gd name="connsiteX19" fmla="*/ 5950 w 10000"/>
                <a:gd name="connsiteY19" fmla="*/ 59 h 10000"/>
                <a:gd name="connsiteX20" fmla="*/ 6163 w 10000"/>
                <a:gd name="connsiteY20" fmla="*/ 706 h 10000"/>
                <a:gd name="connsiteX21" fmla="*/ 6395 w 10000"/>
                <a:gd name="connsiteY21" fmla="*/ 765 h 10000"/>
                <a:gd name="connsiteX22" fmla="*/ 6492 w 10000"/>
                <a:gd name="connsiteY22" fmla="*/ 804 h 10000"/>
                <a:gd name="connsiteX23" fmla="*/ 6609 w 10000"/>
                <a:gd name="connsiteY23" fmla="*/ 843 h 10000"/>
                <a:gd name="connsiteX24" fmla="*/ 7151 w 10000"/>
                <a:gd name="connsiteY24" fmla="*/ 451 h 10000"/>
                <a:gd name="connsiteX25" fmla="*/ 7287 w 10000"/>
                <a:gd name="connsiteY25" fmla="*/ 510 h 10000"/>
                <a:gd name="connsiteX26" fmla="*/ 7442 w 10000"/>
                <a:gd name="connsiteY26" fmla="*/ 588 h 10000"/>
                <a:gd name="connsiteX27" fmla="*/ 7442 w 10000"/>
                <a:gd name="connsiteY27" fmla="*/ 1275 h 10000"/>
                <a:gd name="connsiteX28" fmla="*/ 7616 w 10000"/>
                <a:gd name="connsiteY28" fmla="*/ 1412 h 10000"/>
                <a:gd name="connsiteX29" fmla="*/ 7713 w 10000"/>
                <a:gd name="connsiteY29" fmla="*/ 1471 h 10000"/>
                <a:gd name="connsiteX30" fmla="*/ 7810 w 10000"/>
                <a:gd name="connsiteY30" fmla="*/ 1549 h 10000"/>
                <a:gd name="connsiteX31" fmla="*/ 8450 w 10000"/>
                <a:gd name="connsiteY31" fmla="*/ 1333 h 10000"/>
                <a:gd name="connsiteX32" fmla="*/ 8566 w 10000"/>
                <a:gd name="connsiteY32" fmla="*/ 1451 h 10000"/>
                <a:gd name="connsiteX33" fmla="*/ 8682 w 10000"/>
                <a:gd name="connsiteY33" fmla="*/ 1569 h 10000"/>
                <a:gd name="connsiteX34" fmla="*/ 8469 w 10000"/>
                <a:gd name="connsiteY34" fmla="*/ 2216 h 10000"/>
                <a:gd name="connsiteX35" fmla="*/ 8605 w 10000"/>
                <a:gd name="connsiteY35" fmla="*/ 2392 h 10000"/>
                <a:gd name="connsiteX36" fmla="*/ 8740 w 10000"/>
                <a:gd name="connsiteY36" fmla="*/ 2588 h 10000"/>
                <a:gd name="connsiteX37" fmla="*/ 9419 w 10000"/>
                <a:gd name="connsiteY37" fmla="*/ 2588 h 10000"/>
                <a:gd name="connsiteX38" fmla="*/ 9496 w 10000"/>
                <a:gd name="connsiteY38" fmla="*/ 2706 h 10000"/>
                <a:gd name="connsiteX39" fmla="*/ 9574 w 10000"/>
                <a:gd name="connsiteY39" fmla="*/ 2863 h 10000"/>
                <a:gd name="connsiteX40" fmla="*/ 9167 w 10000"/>
                <a:gd name="connsiteY40" fmla="*/ 3392 h 10000"/>
                <a:gd name="connsiteX41" fmla="*/ 9244 w 10000"/>
                <a:gd name="connsiteY41" fmla="*/ 3627 h 10000"/>
                <a:gd name="connsiteX42" fmla="*/ 9283 w 10000"/>
                <a:gd name="connsiteY42" fmla="*/ 3745 h 10000"/>
                <a:gd name="connsiteX43" fmla="*/ 9302 w 10000"/>
                <a:gd name="connsiteY43" fmla="*/ 3863 h 10000"/>
                <a:gd name="connsiteX44" fmla="*/ 9961 w 10000"/>
                <a:gd name="connsiteY44" fmla="*/ 4059 h 10000"/>
                <a:gd name="connsiteX45" fmla="*/ 10000 w 10000"/>
                <a:gd name="connsiteY45" fmla="*/ 4392 h 10000"/>
                <a:gd name="connsiteX46" fmla="*/ 9438 w 10000"/>
                <a:gd name="connsiteY46" fmla="*/ 4765 h 10000"/>
                <a:gd name="connsiteX47" fmla="*/ 9457 w 10000"/>
                <a:gd name="connsiteY47" fmla="*/ 5000 h 10000"/>
                <a:gd name="connsiteX48" fmla="*/ 9438 w 10000"/>
                <a:gd name="connsiteY48" fmla="*/ 5235 h 10000"/>
                <a:gd name="connsiteX49" fmla="*/ 10000 w 10000"/>
                <a:gd name="connsiteY49" fmla="*/ 5627 h 10000"/>
                <a:gd name="connsiteX50" fmla="*/ 9981 w 10000"/>
                <a:gd name="connsiteY50" fmla="*/ 5784 h 10000"/>
                <a:gd name="connsiteX51" fmla="*/ 9961 w 10000"/>
                <a:gd name="connsiteY51" fmla="*/ 5941 h 10000"/>
                <a:gd name="connsiteX52" fmla="*/ 9302 w 10000"/>
                <a:gd name="connsiteY52" fmla="*/ 6157 h 10000"/>
                <a:gd name="connsiteX53" fmla="*/ 9244 w 10000"/>
                <a:gd name="connsiteY53" fmla="*/ 6392 h 10000"/>
                <a:gd name="connsiteX54" fmla="*/ 9205 w 10000"/>
                <a:gd name="connsiteY54" fmla="*/ 6490 h 10000"/>
                <a:gd name="connsiteX55" fmla="*/ 9167 w 10000"/>
                <a:gd name="connsiteY55" fmla="*/ 6608 h 10000"/>
                <a:gd name="connsiteX56" fmla="*/ 9574 w 10000"/>
                <a:gd name="connsiteY56" fmla="*/ 7157 h 10000"/>
                <a:gd name="connsiteX57" fmla="*/ 9496 w 10000"/>
                <a:gd name="connsiteY57" fmla="*/ 7294 h 10000"/>
                <a:gd name="connsiteX58" fmla="*/ 9419 w 10000"/>
                <a:gd name="connsiteY58" fmla="*/ 7431 h 10000"/>
                <a:gd name="connsiteX59" fmla="*/ 8740 w 10000"/>
                <a:gd name="connsiteY59" fmla="*/ 7412 h 10000"/>
                <a:gd name="connsiteX60" fmla="*/ 8605 w 10000"/>
                <a:gd name="connsiteY60" fmla="*/ 7627 h 10000"/>
                <a:gd name="connsiteX61" fmla="*/ 8547 w 10000"/>
                <a:gd name="connsiteY61" fmla="*/ 7706 h 10000"/>
                <a:gd name="connsiteX62" fmla="*/ 8469 w 10000"/>
                <a:gd name="connsiteY62" fmla="*/ 7804 h 10000"/>
                <a:gd name="connsiteX63" fmla="*/ 8682 w 10000"/>
                <a:gd name="connsiteY63" fmla="*/ 8451 h 10000"/>
                <a:gd name="connsiteX64" fmla="*/ 8566 w 10000"/>
                <a:gd name="connsiteY64" fmla="*/ 8569 h 10000"/>
                <a:gd name="connsiteX65" fmla="*/ 8450 w 10000"/>
                <a:gd name="connsiteY65" fmla="*/ 8686 h 10000"/>
                <a:gd name="connsiteX66" fmla="*/ 7810 w 10000"/>
                <a:gd name="connsiteY66" fmla="*/ 8471 h 10000"/>
                <a:gd name="connsiteX67" fmla="*/ 7616 w 10000"/>
                <a:gd name="connsiteY67" fmla="*/ 8608 h 10000"/>
                <a:gd name="connsiteX68" fmla="*/ 7442 w 10000"/>
                <a:gd name="connsiteY68" fmla="*/ 8745 h 10000"/>
                <a:gd name="connsiteX69" fmla="*/ 7442 w 10000"/>
                <a:gd name="connsiteY69" fmla="*/ 9412 h 10000"/>
                <a:gd name="connsiteX70" fmla="*/ 7287 w 10000"/>
                <a:gd name="connsiteY70" fmla="*/ 9510 h 10000"/>
                <a:gd name="connsiteX71" fmla="*/ 7151 w 10000"/>
                <a:gd name="connsiteY71" fmla="*/ 9569 h 10000"/>
                <a:gd name="connsiteX72" fmla="*/ 6609 w 10000"/>
                <a:gd name="connsiteY72" fmla="*/ 9157 h 10000"/>
                <a:gd name="connsiteX73" fmla="*/ 6395 w 10000"/>
                <a:gd name="connsiteY73" fmla="*/ 9235 h 10000"/>
                <a:gd name="connsiteX74" fmla="*/ 6279 w 10000"/>
                <a:gd name="connsiteY74" fmla="*/ 9275 h 10000"/>
                <a:gd name="connsiteX75" fmla="*/ 6163 w 10000"/>
                <a:gd name="connsiteY75" fmla="*/ 9314 h 10000"/>
                <a:gd name="connsiteX76" fmla="*/ 5950 w 10000"/>
                <a:gd name="connsiteY76" fmla="*/ 9961 h 10000"/>
                <a:gd name="connsiteX77" fmla="*/ 5640 w 10000"/>
                <a:gd name="connsiteY77" fmla="*/ 10000 h 10000"/>
                <a:gd name="connsiteX78" fmla="*/ 5252 w 10000"/>
                <a:gd name="connsiteY78" fmla="*/ 9451 h 10000"/>
                <a:gd name="connsiteX79" fmla="*/ 5019 w 10000"/>
                <a:gd name="connsiteY79" fmla="*/ 9451 h 10000"/>
                <a:gd name="connsiteX80" fmla="*/ 4767 w 10000"/>
                <a:gd name="connsiteY80" fmla="*/ 9451 h 10000"/>
                <a:gd name="connsiteX81" fmla="*/ 4380 w 10000"/>
                <a:gd name="connsiteY81" fmla="*/ 10000 h 10000"/>
                <a:gd name="connsiteX82" fmla="*/ 4225 w 10000"/>
                <a:gd name="connsiteY82" fmla="*/ 9980 h 10000"/>
                <a:gd name="connsiteX83" fmla="*/ 4070 w 10000"/>
                <a:gd name="connsiteY83" fmla="*/ 9961 h 10000"/>
                <a:gd name="connsiteX84" fmla="*/ 3857 w 10000"/>
                <a:gd name="connsiteY84" fmla="*/ 9314 h 10000"/>
                <a:gd name="connsiteX85" fmla="*/ 3624 w 10000"/>
                <a:gd name="connsiteY85" fmla="*/ 9235 h 10000"/>
                <a:gd name="connsiteX86" fmla="*/ 3508 w 10000"/>
                <a:gd name="connsiteY86" fmla="*/ 9216 h 10000"/>
                <a:gd name="connsiteX87" fmla="*/ 3411 w 10000"/>
                <a:gd name="connsiteY87" fmla="*/ 9157 h 10000"/>
                <a:gd name="connsiteX88" fmla="*/ 2868 w 10000"/>
                <a:gd name="connsiteY88" fmla="*/ 9569 h 10000"/>
                <a:gd name="connsiteX89" fmla="*/ 2733 w 10000"/>
                <a:gd name="connsiteY89" fmla="*/ 9510 h 10000"/>
                <a:gd name="connsiteX90" fmla="*/ 2578 w 10000"/>
                <a:gd name="connsiteY90" fmla="*/ 9412 h 10000"/>
                <a:gd name="connsiteX91" fmla="*/ 2597 w 10000"/>
                <a:gd name="connsiteY91" fmla="*/ 8745 h 10000"/>
                <a:gd name="connsiteX92" fmla="*/ 2403 w 10000"/>
                <a:gd name="connsiteY92" fmla="*/ 8608 h 10000"/>
                <a:gd name="connsiteX93" fmla="*/ 2306 w 10000"/>
                <a:gd name="connsiteY93" fmla="*/ 8529 h 10000"/>
                <a:gd name="connsiteX94" fmla="*/ 2209 w 10000"/>
                <a:gd name="connsiteY94" fmla="*/ 8471 h 10000"/>
                <a:gd name="connsiteX95" fmla="*/ 1570 w 10000"/>
                <a:gd name="connsiteY95" fmla="*/ 8686 h 10000"/>
                <a:gd name="connsiteX96" fmla="*/ 1453 w 10000"/>
                <a:gd name="connsiteY96" fmla="*/ 8569 h 10000"/>
                <a:gd name="connsiteX97" fmla="*/ 1337 w 10000"/>
                <a:gd name="connsiteY97" fmla="*/ 8451 h 10000"/>
                <a:gd name="connsiteX98" fmla="*/ 1550 w 10000"/>
                <a:gd name="connsiteY98" fmla="*/ 7804 h 10000"/>
                <a:gd name="connsiteX99" fmla="*/ 1415 w 10000"/>
                <a:gd name="connsiteY99" fmla="*/ 7627 h 10000"/>
                <a:gd name="connsiteX100" fmla="*/ 1279 w 10000"/>
                <a:gd name="connsiteY100" fmla="*/ 7412 h 10000"/>
                <a:gd name="connsiteX101" fmla="*/ 601 w 10000"/>
                <a:gd name="connsiteY101" fmla="*/ 7431 h 10000"/>
                <a:gd name="connsiteX102" fmla="*/ 523 w 10000"/>
                <a:gd name="connsiteY102" fmla="*/ 7294 h 10000"/>
                <a:gd name="connsiteX103" fmla="*/ 446 w 10000"/>
                <a:gd name="connsiteY103" fmla="*/ 7157 h 10000"/>
                <a:gd name="connsiteX104" fmla="*/ 853 w 10000"/>
                <a:gd name="connsiteY104" fmla="*/ 6608 h 10000"/>
                <a:gd name="connsiteX105" fmla="*/ 775 w 10000"/>
                <a:gd name="connsiteY105" fmla="*/ 6392 h 10000"/>
                <a:gd name="connsiteX106" fmla="*/ 756 w 10000"/>
                <a:gd name="connsiteY106" fmla="*/ 6275 h 10000"/>
                <a:gd name="connsiteX107" fmla="*/ 717 w 10000"/>
                <a:gd name="connsiteY107" fmla="*/ 6157 h 10000"/>
                <a:gd name="connsiteX108" fmla="*/ 58 w 10000"/>
                <a:gd name="connsiteY108" fmla="*/ 5941 h 10000"/>
                <a:gd name="connsiteX109" fmla="*/ 0 w 10000"/>
                <a:gd name="connsiteY109" fmla="*/ 5627 h 10000"/>
                <a:gd name="connsiteX110" fmla="*/ 581 w 10000"/>
                <a:gd name="connsiteY110" fmla="*/ 5235 h 10000"/>
                <a:gd name="connsiteX111" fmla="*/ 562 w 10000"/>
                <a:gd name="connsiteY111" fmla="*/ 5000 h 10000"/>
                <a:gd name="connsiteX112" fmla="*/ 581 w 10000"/>
                <a:gd name="connsiteY112" fmla="*/ 4765 h 10000"/>
                <a:gd name="connsiteX113" fmla="*/ 0 w 10000"/>
                <a:gd name="connsiteY113" fmla="*/ 4392 h 10000"/>
                <a:gd name="connsiteX114" fmla="*/ 19 w 10000"/>
                <a:gd name="connsiteY114" fmla="*/ 4216 h 10000"/>
                <a:gd name="connsiteX115" fmla="*/ 58 w 10000"/>
                <a:gd name="connsiteY115" fmla="*/ 4059 h 10000"/>
                <a:gd name="connsiteX116" fmla="*/ 717 w 10000"/>
                <a:gd name="connsiteY116" fmla="*/ 3863 h 10000"/>
                <a:gd name="connsiteX117" fmla="*/ 775 w 10000"/>
                <a:gd name="connsiteY117" fmla="*/ 3627 h 10000"/>
                <a:gd name="connsiteX118" fmla="*/ 814 w 10000"/>
                <a:gd name="connsiteY118" fmla="*/ 3510 h 10000"/>
                <a:gd name="connsiteX119" fmla="*/ 853 w 10000"/>
                <a:gd name="connsiteY119" fmla="*/ 3392 h 10000"/>
                <a:gd name="connsiteX120" fmla="*/ 446 w 10000"/>
                <a:gd name="connsiteY120" fmla="*/ 2863 h 10000"/>
                <a:gd name="connsiteX121" fmla="*/ 523 w 10000"/>
                <a:gd name="connsiteY121" fmla="*/ 2706 h 10000"/>
                <a:gd name="connsiteX122" fmla="*/ 601 w 10000"/>
                <a:gd name="connsiteY122" fmla="*/ 2588 h 10000"/>
                <a:gd name="connsiteX123" fmla="*/ 1279 w 10000"/>
                <a:gd name="connsiteY123" fmla="*/ 2588 h 10000"/>
                <a:gd name="connsiteX0" fmla="*/ 1570 w 10000"/>
                <a:gd name="connsiteY0" fmla="*/ 1333 h 10000"/>
                <a:gd name="connsiteX1" fmla="*/ 2209 w 10000"/>
                <a:gd name="connsiteY1" fmla="*/ 1549 h 10000"/>
                <a:gd name="connsiteX2" fmla="*/ 2403 w 10000"/>
                <a:gd name="connsiteY2" fmla="*/ 1412 h 10000"/>
                <a:gd name="connsiteX3" fmla="*/ 2597 w 10000"/>
                <a:gd name="connsiteY3" fmla="*/ 1275 h 10000"/>
                <a:gd name="connsiteX4" fmla="*/ 2578 w 10000"/>
                <a:gd name="connsiteY4" fmla="*/ 588 h 10000"/>
                <a:gd name="connsiteX5" fmla="*/ 2733 w 10000"/>
                <a:gd name="connsiteY5" fmla="*/ 510 h 10000"/>
                <a:gd name="connsiteX6" fmla="*/ 2868 w 10000"/>
                <a:gd name="connsiteY6" fmla="*/ 451 h 10000"/>
                <a:gd name="connsiteX7" fmla="*/ 3411 w 10000"/>
                <a:gd name="connsiteY7" fmla="*/ 843 h 10000"/>
                <a:gd name="connsiteX8" fmla="*/ 3624 w 10000"/>
                <a:gd name="connsiteY8" fmla="*/ 765 h 10000"/>
                <a:gd name="connsiteX9" fmla="*/ 3740 w 10000"/>
                <a:gd name="connsiteY9" fmla="*/ 725 h 10000"/>
                <a:gd name="connsiteX10" fmla="*/ 3857 w 10000"/>
                <a:gd name="connsiteY10" fmla="*/ 706 h 10000"/>
                <a:gd name="connsiteX11" fmla="*/ 4070 w 10000"/>
                <a:gd name="connsiteY11" fmla="*/ 59 h 10000"/>
                <a:gd name="connsiteX12" fmla="*/ 4380 w 10000"/>
                <a:gd name="connsiteY12" fmla="*/ 0 h 10000"/>
                <a:gd name="connsiteX13" fmla="*/ 4767 w 10000"/>
                <a:gd name="connsiteY13" fmla="*/ 569 h 10000"/>
                <a:gd name="connsiteX14" fmla="*/ 5019 w 10000"/>
                <a:gd name="connsiteY14" fmla="*/ 549 h 10000"/>
                <a:gd name="connsiteX15" fmla="*/ 5252 w 10000"/>
                <a:gd name="connsiteY15" fmla="*/ 569 h 10000"/>
                <a:gd name="connsiteX16" fmla="*/ 5640 w 10000"/>
                <a:gd name="connsiteY16" fmla="*/ 0 h 10000"/>
                <a:gd name="connsiteX17" fmla="*/ 5795 w 10000"/>
                <a:gd name="connsiteY17" fmla="*/ 20 h 10000"/>
                <a:gd name="connsiteX18" fmla="*/ 5950 w 10000"/>
                <a:gd name="connsiteY18" fmla="*/ 59 h 10000"/>
                <a:gd name="connsiteX19" fmla="*/ 6163 w 10000"/>
                <a:gd name="connsiteY19" fmla="*/ 706 h 10000"/>
                <a:gd name="connsiteX20" fmla="*/ 6395 w 10000"/>
                <a:gd name="connsiteY20" fmla="*/ 765 h 10000"/>
                <a:gd name="connsiteX21" fmla="*/ 6492 w 10000"/>
                <a:gd name="connsiteY21" fmla="*/ 804 h 10000"/>
                <a:gd name="connsiteX22" fmla="*/ 6609 w 10000"/>
                <a:gd name="connsiteY22" fmla="*/ 843 h 10000"/>
                <a:gd name="connsiteX23" fmla="*/ 7151 w 10000"/>
                <a:gd name="connsiteY23" fmla="*/ 451 h 10000"/>
                <a:gd name="connsiteX24" fmla="*/ 7287 w 10000"/>
                <a:gd name="connsiteY24" fmla="*/ 510 h 10000"/>
                <a:gd name="connsiteX25" fmla="*/ 7442 w 10000"/>
                <a:gd name="connsiteY25" fmla="*/ 588 h 10000"/>
                <a:gd name="connsiteX26" fmla="*/ 7442 w 10000"/>
                <a:gd name="connsiteY26" fmla="*/ 1275 h 10000"/>
                <a:gd name="connsiteX27" fmla="*/ 7616 w 10000"/>
                <a:gd name="connsiteY27" fmla="*/ 1412 h 10000"/>
                <a:gd name="connsiteX28" fmla="*/ 7713 w 10000"/>
                <a:gd name="connsiteY28" fmla="*/ 1471 h 10000"/>
                <a:gd name="connsiteX29" fmla="*/ 7810 w 10000"/>
                <a:gd name="connsiteY29" fmla="*/ 1549 h 10000"/>
                <a:gd name="connsiteX30" fmla="*/ 8450 w 10000"/>
                <a:gd name="connsiteY30" fmla="*/ 1333 h 10000"/>
                <a:gd name="connsiteX31" fmla="*/ 8566 w 10000"/>
                <a:gd name="connsiteY31" fmla="*/ 1451 h 10000"/>
                <a:gd name="connsiteX32" fmla="*/ 8682 w 10000"/>
                <a:gd name="connsiteY32" fmla="*/ 1569 h 10000"/>
                <a:gd name="connsiteX33" fmla="*/ 8469 w 10000"/>
                <a:gd name="connsiteY33" fmla="*/ 2216 h 10000"/>
                <a:gd name="connsiteX34" fmla="*/ 8605 w 10000"/>
                <a:gd name="connsiteY34" fmla="*/ 2392 h 10000"/>
                <a:gd name="connsiteX35" fmla="*/ 8740 w 10000"/>
                <a:gd name="connsiteY35" fmla="*/ 2588 h 10000"/>
                <a:gd name="connsiteX36" fmla="*/ 9419 w 10000"/>
                <a:gd name="connsiteY36" fmla="*/ 2588 h 10000"/>
                <a:gd name="connsiteX37" fmla="*/ 9496 w 10000"/>
                <a:gd name="connsiteY37" fmla="*/ 2706 h 10000"/>
                <a:gd name="connsiteX38" fmla="*/ 9574 w 10000"/>
                <a:gd name="connsiteY38" fmla="*/ 2863 h 10000"/>
                <a:gd name="connsiteX39" fmla="*/ 9167 w 10000"/>
                <a:gd name="connsiteY39" fmla="*/ 3392 h 10000"/>
                <a:gd name="connsiteX40" fmla="*/ 9244 w 10000"/>
                <a:gd name="connsiteY40" fmla="*/ 3627 h 10000"/>
                <a:gd name="connsiteX41" fmla="*/ 9283 w 10000"/>
                <a:gd name="connsiteY41" fmla="*/ 3745 h 10000"/>
                <a:gd name="connsiteX42" fmla="*/ 9302 w 10000"/>
                <a:gd name="connsiteY42" fmla="*/ 3863 h 10000"/>
                <a:gd name="connsiteX43" fmla="*/ 9961 w 10000"/>
                <a:gd name="connsiteY43" fmla="*/ 4059 h 10000"/>
                <a:gd name="connsiteX44" fmla="*/ 10000 w 10000"/>
                <a:gd name="connsiteY44" fmla="*/ 4392 h 10000"/>
                <a:gd name="connsiteX45" fmla="*/ 9438 w 10000"/>
                <a:gd name="connsiteY45" fmla="*/ 4765 h 10000"/>
                <a:gd name="connsiteX46" fmla="*/ 9457 w 10000"/>
                <a:gd name="connsiteY46" fmla="*/ 5000 h 10000"/>
                <a:gd name="connsiteX47" fmla="*/ 9438 w 10000"/>
                <a:gd name="connsiteY47" fmla="*/ 5235 h 10000"/>
                <a:gd name="connsiteX48" fmla="*/ 10000 w 10000"/>
                <a:gd name="connsiteY48" fmla="*/ 5627 h 10000"/>
                <a:gd name="connsiteX49" fmla="*/ 9981 w 10000"/>
                <a:gd name="connsiteY49" fmla="*/ 5784 h 10000"/>
                <a:gd name="connsiteX50" fmla="*/ 9961 w 10000"/>
                <a:gd name="connsiteY50" fmla="*/ 5941 h 10000"/>
                <a:gd name="connsiteX51" fmla="*/ 9302 w 10000"/>
                <a:gd name="connsiteY51" fmla="*/ 6157 h 10000"/>
                <a:gd name="connsiteX52" fmla="*/ 9244 w 10000"/>
                <a:gd name="connsiteY52" fmla="*/ 6392 h 10000"/>
                <a:gd name="connsiteX53" fmla="*/ 9205 w 10000"/>
                <a:gd name="connsiteY53" fmla="*/ 6490 h 10000"/>
                <a:gd name="connsiteX54" fmla="*/ 9167 w 10000"/>
                <a:gd name="connsiteY54" fmla="*/ 6608 h 10000"/>
                <a:gd name="connsiteX55" fmla="*/ 9574 w 10000"/>
                <a:gd name="connsiteY55" fmla="*/ 7157 h 10000"/>
                <a:gd name="connsiteX56" fmla="*/ 9496 w 10000"/>
                <a:gd name="connsiteY56" fmla="*/ 7294 h 10000"/>
                <a:gd name="connsiteX57" fmla="*/ 9419 w 10000"/>
                <a:gd name="connsiteY57" fmla="*/ 7431 h 10000"/>
                <a:gd name="connsiteX58" fmla="*/ 8740 w 10000"/>
                <a:gd name="connsiteY58" fmla="*/ 7412 h 10000"/>
                <a:gd name="connsiteX59" fmla="*/ 8605 w 10000"/>
                <a:gd name="connsiteY59" fmla="*/ 7627 h 10000"/>
                <a:gd name="connsiteX60" fmla="*/ 8547 w 10000"/>
                <a:gd name="connsiteY60" fmla="*/ 7706 h 10000"/>
                <a:gd name="connsiteX61" fmla="*/ 8469 w 10000"/>
                <a:gd name="connsiteY61" fmla="*/ 7804 h 10000"/>
                <a:gd name="connsiteX62" fmla="*/ 8682 w 10000"/>
                <a:gd name="connsiteY62" fmla="*/ 8451 h 10000"/>
                <a:gd name="connsiteX63" fmla="*/ 8566 w 10000"/>
                <a:gd name="connsiteY63" fmla="*/ 8569 h 10000"/>
                <a:gd name="connsiteX64" fmla="*/ 8450 w 10000"/>
                <a:gd name="connsiteY64" fmla="*/ 8686 h 10000"/>
                <a:gd name="connsiteX65" fmla="*/ 7810 w 10000"/>
                <a:gd name="connsiteY65" fmla="*/ 8471 h 10000"/>
                <a:gd name="connsiteX66" fmla="*/ 7616 w 10000"/>
                <a:gd name="connsiteY66" fmla="*/ 8608 h 10000"/>
                <a:gd name="connsiteX67" fmla="*/ 7442 w 10000"/>
                <a:gd name="connsiteY67" fmla="*/ 8745 h 10000"/>
                <a:gd name="connsiteX68" fmla="*/ 7442 w 10000"/>
                <a:gd name="connsiteY68" fmla="*/ 9412 h 10000"/>
                <a:gd name="connsiteX69" fmla="*/ 7287 w 10000"/>
                <a:gd name="connsiteY69" fmla="*/ 9510 h 10000"/>
                <a:gd name="connsiteX70" fmla="*/ 7151 w 10000"/>
                <a:gd name="connsiteY70" fmla="*/ 9569 h 10000"/>
                <a:gd name="connsiteX71" fmla="*/ 6609 w 10000"/>
                <a:gd name="connsiteY71" fmla="*/ 9157 h 10000"/>
                <a:gd name="connsiteX72" fmla="*/ 6395 w 10000"/>
                <a:gd name="connsiteY72" fmla="*/ 9235 h 10000"/>
                <a:gd name="connsiteX73" fmla="*/ 6279 w 10000"/>
                <a:gd name="connsiteY73" fmla="*/ 9275 h 10000"/>
                <a:gd name="connsiteX74" fmla="*/ 6163 w 10000"/>
                <a:gd name="connsiteY74" fmla="*/ 9314 h 10000"/>
                <a:gd name="connsiteX75" fmla="*/ 5950 w 10000"/>
                <a:gd name="connsiteY75" fmla="*/ 9961 h 10000"/>
                <a:gd name="connsiteX76" fmla="*/ 5640 w 10000"/>
                <a:gd name="connsiteY76" fmla="*/ 10000 h 10000"/>
                <a:gd name="connsiteX77" fmla="*/ 5252 w 10000"/>
                <a:gd name="connsiteY77" fmla="*/ 9451 h 10000"/>
                <a:gd name="connsiteX78" fmla="*/ 5019 w 10000"/>
                <a:gd name="connsiteY78" fmla="*/ 9451 h 10000"/>
                <a:gd name="connsiteX79" fmla="*/ 4767 w 10000"/>
                <a:gd name="connsiteY79" fmla="*/ 9451 h 10000"/>
                <a:gd name="connsiteX80" fmla="*/ 4380 w 10000"/>
                <a:gd name="connsiteY80" fmla="*/ 10000 h 10000"/>
                <a:gd name="connsiteX81" fmla="*/ 4225 w 10000"/>
                <a:gd name="connsiteY81" fmla="*/ 9980 h 10000"/>
                <a:gd name="connsiteX82" fmla="*/ 4070 w 10000"/>
                <a:gd name="connsiteY82" fmla="*/ 9961 h 10000"/>
                <a:gd name="connsiteX83" fmla="*/ 3857 w 10000"/>
                <a:gd name="connsiteY83" fmla="*/ 9314 h 10000"/>
                <a:gd name="connsiteX84" fmla="*/ 3624 w 10000"/>
                <a:gd name="connsiteY84" fmla="*/ 9235 h 10000"/>
                <a:gd name="connsiteX85" fmla="*/ 3508 w 10000"/>
                <a:gd name="connsiteY85" fmla="*/ 9216 h 10000"/>
                <a:gd name="connsiteX86" fmla="*/ 3411 w 10000"/>
                <a:gd name="connsiteY86" fmla="*/ 9157 h 10000"/>
                <a:gd name="connsiteX87" fmla="*/ 2868 w 10000"/>
                <a:gd name="connsiteY87" fmla="*/ 9569 h 10000"/>
                <a:gd name="connsiteX88" fmla="*/ 2733 w 10000"/>
                <a:gd name="connsiteY88" fmla="*/ 9510 h 10000"/>
                <a:gd name="connsiteX89" fmla="*/ 2578 w 10000"/>
                <a:gd name="connsiteY89" fmla="*/ 9412 h 10000"/>
                <a:gd name="connsiteX90" fmla="*/ 2597 w 10000"/>
                <a:gd name="connsiteY90" fmla="*/ 8745 h 10000"/>
                <a:gd name="connsiteX91" fmla="*/ 2403 w 10000"/>
                <a:gd name="connsiteY91" fmla="*/ 8608 h 10000"/>
                <a:gd name="connsiteX92" fmla="*/ 2306 w 10000"/>
                <a:gd name="connsiteY92" fmla="*/ 8529 h 10000"/>
                <a:gd name="connsiteX93" fmla="*/ 2209 w 10000"/>
                <a:gd name="connsiteY93" fmla="*/ 8471 h 10000"/>
                <a:gd name="connsiteX94" fmla="*/ 1570 w 10000"/>
                <a:gd name="connsiteY94" fmla="*/ 8686 h 10000"/>
                <a:gd name="connsiteX95" fmla="*/ 1453 w 10000"/>
                <a:gd name="connsiteY95" fmla="*/ 8569 h 10000"/>
                <a:gd name="connsiteX96" fmla="*/ 1337 w 10000"/>
                <a:gd name="connsiteY96" fmla="*/ 8451 h 10000"/>
                <a:gd name="connsiteX97" fmla="*/ 1550 w 10000"/>
                <a:gd name="connsiteY97" fmla="*/ 7804 h 10000"/>
                <a:gd name="connsiteX98" fmla="*/ 1415 w 10000"/>
                <a:gd name="connsiteY98" fmla="*/ 7627 h 10000"/>
                <a:gd name="connsiteX99" fmla="*/ 1279 w 10000"/>
                <a:gd name="connsiteY99" fmla="*/ 7412 h 10000"/>
                <a:gd name="connsiteX100" fmla="*/ 601 w 10000"/>
                <a:gd name="connsiteY100" fmla="*/ 7431 h 10000"/>
                <a:gd name="connsiteX101" fmla="*/ 523 w 10000"/>
                <a:gd name="connsiteY101" fmla="*/ 7294 h 10000"/>
                <a:gd name="connsiteX102" fmla="*/ 446 w 10000"/>
                <a:gd name="connsiteY102" fmla="*/ 7157 h 10000"/>
                <a:gd name="connsiteX103" fmla="*/ 853 w 10000"/>
                <a:gd name="connsiteY103" fmla="*/ 6608 h 10000"/>
                <a:gd name="connsiteX104" fmla="*/ 775 w 10000"/>
                <a:gd name="connsiteY104" fmla="*/ 6392 h 10000"/>
                <a:gd name="connsiteX105" fmla="*/ 756 w 10000"/>
                <a:gd name="connsiteY105" fmla="*/ 6275 h 10000"/>
                <a:gd name="connsiteX106" fmla="*/ 717 w 10000"/>
                <a:gd name="connsiteY106" fmla="*/ 6157 h 10000"/>
                <a:gd name="connsiteX107" fmla="*/ 58 w 10000"/>
                <a:gd name="connsiteY107" fmla="*/ 5941 h 10000"/>
                <a:gd name="connsiteX108" fmla="*/ 0 w 10000"/>
                <a:gd name="connsiteY108" fmla="*/ 5627 h 10000"/>
                <a:gd name="connsiteX109" fmla="*/ 581 w 10000"/>
                <a:gd name="connsiteY109" fmla="*/ 5235 h 10000"/>
                <a:gd name="connsiteX110" fmla="*/ 562 w 10000"/>
                <a:gd name="connsiteY110" fmla="*/ 5000 h 10000"/>
                <a:gd name="connsiteX111" fmla="*/ 581 w 10000"/>
                <a:gd name="connsiteY111" fmla="*/ 4765 h 10000"/>
                <a:gd name="connsiteX112" fmla="*/ 0 w 10000"/>
                <a:gd name="connsiteY112" fmla="*/ 4392 h 10000"/>
                <a:gd name="connsiteX113" fmla="*/ 19 w 10000"/>
                <a:gd name="connsiteY113" fmla="*/ 4216 h 10000"/>
                <a:gd name="connsiteX114" fmla="*/ 58 w 10000"/>
                <a:gd name="connsiteY114" fmla="*/ 4059 h 10000"/>
                <a:gd name="connsiteX115" fmla="*/ 717 w 10000"/>
                <a:gd name="connsiteY115" fmla="*/ 3863 h 10000"/>
                <a:gd name="connsiteX116" fmla="*/ 775 w 10000"/>
                <a:gd name="connsiteY116" fmla="*/ 3627 h 10000"/>
                <a:gd name="connsiteX117" fmla="*/ 814 w 10000"/>
                <a:gd name="connsiteY117" fmla="*/ 3510 h 10000"/>
                <a:gd name="connsiteX118" fmla="*/ 853 w 10000"/>
                <a:gd name="connsiteY118" fmla="*/ 3392 h 10000"/>
                <a:gd name="connsiteX119" fmla="*/ 446 w 10000"/>
                <a:gd name="connsiteY119" fmla="*/ 2863 h 10000"/>
                <a:gd name="connsiteX120" fmla="*/ 523 w 10000"/>
                <a:gd name="connsiteY120" fmla="*/ 2706 h 10000"/>
                <a:gd name="connsiteX121" fmla="*/ 601 w 10000"/>
                <a:gd name="connsiteY121" fmla="*/ 2588 h 10000"/>
                <a:gd name="connsiteX122" fmla="*/ 1279 w 10000"/>
                <a:gd name="connsiteY122" fmla="*/ 2588 h 10000"/>
                <a:gd name="connsiteX0" fmla="*/ 2209 w 10000"/>
                <a:gd name="connsiteY0" fmla="*/ 1549 h 10000"/>
                <a:gd name="connsiteX1" fmla="*/ 2403 w 10000"/>
                <a:gd name="connsiteY1" fmla="*/ 1412 h 10000"/>
                <a:gd name="connsiteX2" fmla="*/ 2597 w 10000"/>
                <a:gd name="connsiteY2" fmla="*/ 1275 h 10000"/>
                <a:gd name="connsiteX3" fmla="*/ 2578 w 10000"/>
                <a:gd name="connsiteY3" fmla="*/ 588 h 10000"/>
                <a:gd name="connsiteX4" fmla="*/ 2733 w 10000"/>
                <a:gd name="connsiteY4" fmla="*/ 510 h 10000"/>
                <a:gd name="connsiteX5" fmla="*/ 2868 w 10000"/>
                <a:gd name="connsiteY5" fmla="*/ 451 h 10000"/>
                <a:gd name="connsiteX6" fmla="*/ 3411 w 10000"/>
                <a:gd name="connsiteY6" fmla="*/ 843 h 10000"/>
                <a:gd name="connsiteX7" fmla="*/ 3624 w 10000"/>
                <a:gd name="connsiteY7" fmla="*/ 765 h 10000"/>
                <a:gd name="connsiteX8" fmla="*/ 3740 w 10000"/>
                <a:gd name="connsiteY8" fmla="*/ 725 h 10000"/>
                <a:gd name="connsiteX9" fmla="*/ 3857 w 10000"/>
                <a:gd name="connsiteY9" fmla="*/ 706 h 10000"/>
                <a:gd name="connsiteX10" fmla="*/ 4070 w 10000"/>
                <a:gd name="connsiteY10" fmla="*/ 59 h 10000"/>
                <a:gd name="connsiteX11" fmla="*/ 4380 w 10000"/>
                <a:gd name="connsiteY11" fmla="*/ 0 h 10000"/>
                <a:gd name="connsiteX12" fmla="*/ 4767 w 10000"/>
                <a:gd name="connsiteY12" fmla="*/ 569 h 10000"/>
                <a:gd name="connsiteX13" fmla="*/ 5019 w 10000"/>
                <a:gd name="connsiteY13" fmla="*/ 549 h 10000"/>
                <a:gd name="connsiteX14" fmla="*/ 5252 w 10000"/>
                <a:gd name="connsiteY14" fmla="*/ 569 h 10000"/>
                <a:gd name="connsiteX15" fmla="*/ 5640 w 10000"/>
                <a:gd name="connsiteY15" fmla="*/ 0 h 10000"/>
                <a:gd name="connsiteX16" fmla="*/ 5795 w 10000"/>
                <a:gd name="connsiteY16" fmla="*/ 20 h 10000"/>
                <a:gd name="connsiteX17" fmla="*/ 5950 w 10000"/>
                <a:gd name="connsiteY17" fmla="*/ 59 h 10000"/>
                <a:gd name="connsiteX18" fmla="*/ 6163 w 10000"/>
                <a:gd name="connsiteY18" fmla="*/ 706 h 10000"/>
                <a:gd name="connsiteX19" fmla="*/ 6395 w 10000"/>
                <a:gd name="connsiteY19" fmla="*/ 765 h 10000"/>
                <a:gd name="connsiteX20" fmla="*/ 6492 w 10000"/>
                <a:gd name="connsiteY20" fmla="*/ 804 h 10000"/>
                <a:gd name="connsiteX21" fmla="*/ 6609 w 10000"/>
                <a:gd name="connsiteY21" fmla="*/ 843 h 10000"/>
                <a:gd name="connsiteX22" fmla="*/ 7151 w 10000"/>
                <a:gd name="connsiteY22" fmla="*/ 451 h 10000"/>
                <a:gd name="connsiteX23" fmla="*/ 7287 w 10000"/>
                <a:gd name="connsiteY23" fmla="*/ 510 h 10000"/>
                <a:gd name="connsiteX24" fmla="*/ 7442 w 10000"/>
                <a:gd name="connsiteY24" fmla="*/ 588 h 10000"/>
                <a:gd name="connsiteX25" fmla="*/ 7442 w 10000"/>
                <a:gd name="connsiteY25" fmla="*/ 1275 h 10000"/>
                <a:gd name="connsiteX26" fmla="*/ 7616 w 10000"/>
                <a:gd name="connsiteY26" fmla="*/ 1412 h 10000"/>
                <a:gd name="connsiteX27" fmla="*/ 7713 w 10000"/>
                <a:gd name="connsiteY27" fmla="*/ 1471 h 10000"/>
                <a:gd name="connsiteX28" fmla="*/ 7810 w 10000"/>
                <a:gd name="connsiteY28" fmla="*/ 1549 h 10000"/>
                <a:gd name="connsiteX29" fmla="*/ 8450 w 10000"/>
                <a:gd name="connsiteY29" fmla="*/ 1333 h 10000"/>
                <a:gd name="connsiteX30" fmla="*/ 8566 w 10000"/>
                <a:gd name="connsiteY30" fmla="*/ 1451 h 10000"/>
                <a:gd name="connsiteX31" fmla="*/ 8682 w 10000"/>
                <a:gd name="connsiteY31" fmla="*/ 1569 h 10000"/>
                <a:gd name="connsiteX32" fmla="*/ 8469 w 10000"/>
                <a:gd name="connsiteY32" fmla="*/ 2216 h 10000"/>
                <a:gd name="connsiteX33" fmla="*/ 8605 w 10000"/>
                <a:gd name="connsiteY33" fmla="*/ 2392 h 10000"/>
                <a:gd name="connsiteX34" fmla="*/ 8740 w 10000"/>
                <a:gd name="connsiteY34" fmla="*/ 2588 h 10000"/>
                <a:gd name="connsiteX35" fmla="*/ 9419 w 10000"/>
                <a:gd name="connsiteY35" fmla="*/ 2588 h 10000"/>
                <a:gd name="connsiteX36" fmla="*/ 9496 w 10000"/>
                <a:gd name="connsiteY36" fmla="*/ 2706 h 10000"/>
                <a:gd name="connsiteX37" fmla="*/ 9574 w 10000"/>
                <a:gd name="connsiteY37" fmla="*/ 2863 h 10000"/>
                <a:gd name="connsiteX38" fmla="*/ 9167 w 10000"/>
                <a:gd name="connsiteY38" fmla="*/ 3392 h 10000"/>
                <a:gd name="connsiteX39" fmla="*/ 9244 w 10000"/>
                <a:gd name="connsiteY39" fmla="*/ 3627 h 10000"/>
                <a:gd name="connsiteX40" fmla="*/ 9283 w 10000"/>
                <a:gd name="connsiteY40" fmla="*/ 3745 h 10000"/>
                <a:gd name="connsiteX41" fmla="*/ 9302 w 10000"/>
                <a:gd name="connsiteY41" fmla="*/ 3863 h 10000"/>
                <a:gd name="connsiteX42" fmla="*/ 9961 w 10000"/>
                <a:gd name="connsiteY42" fmla="*/ 4059 h 10000"/>
                <a:gd name="connsiteX43" fmla="*/ 10000 w 10000"/>
                <a:gd name="connsiteY43" fmla="*/ 4392 h 10000"/>
                <a:gd name="connsiteX44" fmla="*/ 9438 w 10000"/>
                <a:gd name="connsiteY44" fmla="*/ 4765 h 10000"/>
                <a:gd name="connsiteX45" fmla="*/ 9457 w 10000"/>
                <a:gd name="connsiteY45" fmla="*/ 5000 h 10000"/>
                <a:gd name="connsiteX46" fmla="*/ 9438 w 10000"/>
                <a:gd name="connsiteY46" fmla="*/ 5235 h 10000"/>
                <a:gd name="connsiteX47" fmla="*/ 10000 w 10000"/>
                <a:gd name="connsiteY47" fmla="*/ 5627 h 10000"/>
                <a:gd name="connsiteX48" fmla="*/ 9981 w 10000"/>
                <a:gd name="connsiteY48" fmla="*/ 5784 h 10000"/>
                <a:gd name="connsiteX49" fmla="*/ 9961 w 10000"/>
                <a:gd name="connsiteY49" fmla="*/ 5941 h 10000"/>
                <a:gd name="connsiteX50" fmla="*/ 9302 w 10000"/>
                <a:gd name="connsiteY50" fmla="*/ 6157 h 10000"/>
                <a:gd name="connsiteX51" fmla="*/ 9244 w 10000"/>
                <a:gd name="connsiteY51" fmla="*/ 6392 h 10000"/>
                <a:gd name="connsiteX52" fmla="*/ 9205 w 10000"/>
                <a:gd name="connsiteY52" fmla="*/ 6490 h 10000"/>
                <a:gd name="connsiteX53" fmla="*/ 9167 w 10000"/>
                <a:gd name="connsiteY53" fmla="*/ 6608 h 10000"/>
                <a:gd name="connsiteX54" fmla="*/ 9574 w 10000"/>
                <a:gd name="connsiteY54" fmla="*/ 7157 h 10000"/>
                <a:gd name="connsiteX55" fmla="*/ 9496 w 10000"/>
                <a:gd name="connsiteY55" fmla="*/ 7294 h 10000"/>
                <a:gd name="connsiteX56" fmla="*/ 9419 w 10000"/>
                <a:gd name="connsiteY56" fmla="*/ 7431 h 10000"/>
                <a:gd name="connsiteX57" fmla="*/ 8740 w 10000"/>
                <a:gd name="connsiteY57" fmla="*/ 7412 h 10000"/>
                <a:gd name="connsiteX58" fmla="*/ 8605 w 10000"/>
                <a:gd name="connsiteY58" fmla="*/ 7627 h 10000"/>
                <a:gd name="connsiteX59" fmla="*/ 8547 w 10000"/>
                <a:gd name="connsiteY59" fmla="*/ 7706 h 10000"/>
                <a:gd name="connsiteX60" fmla="*/ 8469 w 10000"/>
                <a:gd name="connsiteY60" fmla="*/ 7804 h 10000"/>
                <a:gd name="connsiteX61" fmla="*/ 8682 w 10000"/>
                <a:gd name="connsiteY61" fmla="*/ 8451 h 10000"/>
                <a:gd name="connsiteX62" fmla="*/ 8566 w 10000"/>
                <a:gd name="connsiteY62" fmla="*/ 8569 h 10000"/>
                <a:gd name="connsiteX63" fmla="*/ 8450 w 10000"/>
                <a:gd name="connsiteY63" fmla="*/ 8686 h 10000"/>
                <a:gd name="connsiteX64" fmla="*/ 7810 w 10000"/>
                <a:gd name="connsiteY64" fmla="*/ 8471 h 10000"/>
                <a:gd name="connsiteX65" fmla="*/ 7616 w 10000"/>
                <a:gd name="connsiteY65" fmla="*/ 8608 h 10000"/>
                <a:gd name="connsiteX66" fmla="*/ 7442 w 10000"/>
                <a:gd name="connsiteY66" fmla="*/ 8745 h 10000"/>
                <a:gd name="connsiteX67" fmla="*/ 7442 w 10000"/>
                <a:gd name="connsiteY67" fmla="*/ 9412 h 10000"/>
                <a:gd name="connsiteX68" fmla="*/ 7287 w 10000"/>
                <a:gd name="connsiteY68" fmla="*/ 9510 h 10000"/>
                <a:gd name="connsiteX69" fmla="*/ 7151 w 10000"/>
                <a:gd name="connsiteY69" fmla="*/ 9569 h 10000"/>
                <a:gd name="connsiteX70" fmla="*/ 6609 w 10000"/>
                <a:gd name="connsiteY70" fmla="*/ 9157 h 10000"/>
                <a:gd name="connsiteX71" fmla="*/ 6395 w 10000"/>
                <a:gd name="connsiteY71" fmla="*/ 9235 h 10000"/>
                <a:gd name="connsiteX72" fmla="*/ 6279 w 10000"/>
                <a:gd name="connsiteY72" fmla="*/ 9275 h 10000"/>
                <a:gd name="connsiteX73" fmla="*/ 6163 w 10000"/>
                <a:gd name="connsiteY73" fmla="*/ 9314 h 10000"/>
                <a:gd name="connsiteX74" fmla="*/ 5950 w 10000"/>
                <a:gd name="connsiteY74" fmla="*/ 9961 h 10000"/>
                <a:gd name="connsiteX75" fmla="*/ 5640 w 10000"/>
                <a:gd name="connsiteY75" fmla="*/ 10000 h 10000"/>
                <a:gd name="connsiteX76" fmla="*/ 5252 w 10000"/>
                <a:gd name="connsiteY76" fmla="*/ 9451 h 10000"/>
                <a:gd name="connsiteX77" fmla="*/ 5019 w 10000"/>
                <a:gd name="connsiteY77" fmla="*/ 9451 h 10000"/>
                <a:gd name="connsiteX78" fmla="*/ 4767 w 10000"/>
                <a:gd name="connsiteY78" fmla="*/ 9451 h 10000"/>
                <a:gd name="connsiteX79" fmla="*/ 4380 w 10000"/>
                <a:gd name="connsiteY79" fmla="*/ 10000 h 10000"/>
                <a:gd name="connsiteX80" fmla="*/ 4225 w 10000"/>
                <a:gd name="connsiteY80" fmla="*/ 9980 h 10000"/>
                <a:gd name="connsiteX81" fmla="*/ 4070 w 10000"/>
                <a:gd name="connsiteY81" fmla="*/ 9961 h 10000"/>
                <a:gd name="connsiteX82" fmla="*/ 3857 w 10000"/>
                <a:gd name="connsiteY82" fmla="*/ 9314 h 10000"/>
                <a:gd name="connsiteX83" fmla="*/ 3624 w 10000"/>
                <a:gd name="connsiteY83" fmla="*/ 9235 h 10000"/>
                <a:gd name="connsiteX84" fmla="*/ 3508 w 10000"/>
                <a:gd name="connsiteY84" fmla="*/ 9216 h 10000"/>
                <a:gd name="connsiteX85" fmla="*/ 3411 w 10000"/>
                <a:gd name="connsiteY85" fmla="*/ 9157 h 10000"/>
                <a:gd name="connsiteX86" fmla="*/ 2868 w 10000"/>
                <a:gd name="connsiteY86" fmla="*/ 9569 h 10000"/>
                <a:gd name="connsiteX87" fmla="*/ 2733 w 10000"/>
                <a:gd name="connsiteY87" fmla="*/ 9510 h 10000"/>
                <a:gd name="connsiteX88" fmla="*/ 2578 w 10000"/>
                <a:gd name="connsiteY88" fmla="*/ 9412 h 10000"/>
                <a:gd name="connsiteX89" fmla="*/ 2597 w 10000"/>
                <a:gd name="connsiteY89" fmla="*/ 8745 h 10000"/>
                <a:gd name="connsiteX90" fmla="*/ 2403 w 10000"/>
                <a:gd name="connsiteY90" fmla="*/ 8608 h 10000"/>
                <a:gd name="connsiteX91" fmla="*/ 2306 w 10000"/>
                <a:gd name="connsiteY91" fmla="*/ 8529 h 10000"/>
                <a:gd name="connsiteX92" fmla="*/ 2209 w 10000"/>
                <a:gd name="connsiteY92" fmla="*/ 8471 h 10000"/>
                <a:gd name="connsiteX93" fmla="*/ 1570 w 10000"/>
                <a:gd name="connsiteY93" fmla="*/ 8686 h 10000"/>
                <a:gd name="connsiteX94" fmla="*/ 1453 w 10000"/>
                <a:gd name="connsiteY94" fmla="*/ 8569 h 10000"/>
                <a:gd name="connsiteX95" fmla="*/ 1337 w 10000"/>
                <a:gd name="connsiteY95" fmla="*/ 8451 h 10000"/>
                <a:gd name="connsiteX96" fmla="*/ 1550 w 10000"/>
                <a:gd name="connsiteY96" fmla="*/ 7804 h 10000"/>
                <a:gd name="connsiteX97" fmla="*/ 1415 w 10000"/>
                <a:gd name="connsiteY97" fmla="*/ 7627 h 10000"/>
                <a:gd name="connsiteX98" fmla="*/ 1279 w 10000"/>
                <a:gd name="connsiteY98" fmla="*/ 7412 h 10000"/>
                <a:gd name="connsiteX99" fmla="*/ 601 w 10000"/>
                <a:gd name="connsiteY99" fmla="*/ 7431 h 10000"/>
                <a:gd name="connsiteX100" fmla="*/ 523 w 10000"/>
                <a:gd name="connsiteY100" fmla="*/ 7294 h 10000"/>
                <a:gd name="connsiteX101" fmla="*/ 446 w 10000"/>
                <a:gd name="connsiteY101" fmla="*/ 7157 h 10000"/>
                <a:gd name="connsiteX102" fmla="*/ 853 w 10000"/>
                <a:gd name="connsiteY102" fmla="*/ 6608 h 10000"/>
                <a:gd name="connsiteX103" fmla="*/ 775 w 10000"/>
                <a:gd name="connsiteY103" fmla="*/ 6392 h 10000"/>
                <a:gd name="connsiteX104" fmla="*/ 756 w 10000"/>
                <a:gd name="connsiteY104" fmla="*/ 6275 h 10000"/>
                <a:gd name="connsiteX105" fmla="*/ 717 w 10000"/>
                <a:gd name="connsiteY105" fmla="*/ 6157 h 10000"/>
                <a:gd name="connsiteX106" fmla="*/ 58 w 10000"/>
                <a:gd name="connsiteY106" fmla="*/ 5941 h 10000"/>
                <a:gd name="connsiteX107" fmla="*/ 0 w 10000"/>
                <a:gd name="connsiteY107" fmla="*/ 5627 h 10000"/>
                <a:gd name="connsiteX108" fmla="*/ 581 w 10000"/>
                <a:gd name="connsiteY108" fmla="*/ 5235 h 10000"/>
                <a:gd name="connsiteX109" fmla="*/ 562 w 10000"/>
                <a:gd name="connsiteY109" fmla="*/ 5000 h 10000"/>
                <a:gd name="connsiteX110" fmla="*/ 581 w 10000"/>
                <a:gd name="connsiteY110" fmla="*/ 4765 h 10000"/>
                <a:gd name="connsiteX111" fmla="*/ 0 w 10000"/>
                <a:gd name="connsiteY111" fmla="*/ 4392 h 10000"/>
                <a:gd name="connsiteX112" fmla="*/ 19 w 10000"/>
                <a:gd name="connsiteY112" fmla="*/ 4216 h 10000"/>
                <a:gd name="connsiteX113" fmla="*/ 58 w 10000"/>
                <a:gd name="connsiteY113" fmla="*/ 4059 h 10000"/>
                <a:gd name="connsiteX114" fmla="*/ 717 w 10000"/>
                <a:gd name="connsiteY114" fmla="*/ 3863 h 10000"/>
                <a:gd name="connsiteX115" fmla="*/ 775 w 10000"/>
                <a:gd name="connsiteY115" fmla="*/ 3627 h 10000"/>
                <a:gd name="connsiteX116" fmla="*/ 814 w 10000"/>
                <a:gd name="connsiteY116" fmla="*/ 3510 h 10000"/>
                <a:gd name="connsiteX117" fmla="*/ 853 w 10000"/>
                <a:gd name="connsiteY117" fmla="*/ 3392 h 10000"/>
                <a:gd name="connsiteX118" fmla="*/ 446 w 10000"/>
                <a:gd name="connsiteY118" fmla="*/ 2863 h 10000"/>
                <a:gd name="connsiteX119" fmla="*/ 523 w 10000"/>
                <a:gd name="connsiteY119" fmla="*/ 2706 h 10000"/>
                <a:gd name="connsiteX120" fmla="*/ 601 w 10000"/>
                <a:gd name="connsiteY120" fmla="*/ 2588 h 10000"/>
                <a:gd name="connsiteX121" fmla="*/ 1279 w 10000"/>
                <a:gd name="connsiteY121" fmla="*/ 2588 h 10000"/>
                <a:gd name="connsiteX0" fmla="*/ 2209 w 10000"/>
                <a:gd name="connsiteY0" fmla="*/ 1549 h 10000"/>
                <a:gd name="connsiteX1" fmla="*/ 2597 w 10000"/>
                <a:gd name="connsiteY1" fmla="*/ 1275 h 10000"/>
                <a:gd name="connsiteX2" fmla="*/ 2578 w 10000"/>
                <a:gd name="connsiteY2" fmla="*/ 588 h 10000"/>
                <a:gd name="connsiteX3" fmla="*/ 2733 w 10000"/>
                <a:gd name="connsiteY3" fmla="*/ 510 h 10000"/>
                <a:gd name="connsiteX4" fmla="*/ 2868 w 10000"/>
                <a:gd name="connsiteY4" fmla="*/ 451 h 10000"/>
                <a:gd name="connsiteX5" fmla="*/ 3411 w 10000"/>
                <a:gd name="connsiteY5" fmla="*/ 843 h 10000"/>
                <a:gd name="connsiteX6" fmla="*/ 3624 w 10000"/>
                <a:gd name="connsiteY6" fmla="*/ 765 h 10000"/>
                <a:gd name="connsiteX7" fmla="*/ 3740 w 10000"/>
                <a:gd name="connsiteY7" fmla="*/ 725 h 10000"/>
                <a:gd name="connsiteX8" fmla="*/ 3857 w 10000"/>
                <a:gd name="connsiteY8" fmla="*/ 706 h 10000"/>
                <a:gd name="connsiteX9" fmla="*/ 4070 w 10000"/>
                <a:gd name="connsiteY9" fmla="*/ 59 h 10000"/>
                <a:gd name="connsiteX10" fmla="*/ 4380 w 10000"/>
                <a:gd name="connsiteY10" fmla="*/ 0 h 10000"/>
                <a:gd name="connsiteX11" fmla="*/ 4767 w 10000"/>
                <a:gd name="connsiteY11" fmla="*/ 569 h 10000"/>
                <a:gd name="connsiteX12" fmla="*/ 5019 w 10000"/>
                <a:gd name="connsiteY12" fmla="*/ 549 h 10000"/>
                <a:gd name="connsiteX13" fmla="*/ 5252 w 10000"/>
                <a:gd name="connsiteY13" fmla="*/ 569 h 10000"/>
                <a:gd name="connsiteX14" fmla="*/ 5640 w 10000"/>
                <a:gd name="connsiteY14" fmla="*/ 0 h 10000"/>
                <a:gd name="connsiteX15" fmla="*/ 5795 w 10000"/>
                <a:gd name="connsiteY15" fmla="*/ 20 h 10000"/>
                <a:gd name="connsiteX16" fmla="*/ 5950 w 10000"/>
                <a:gd name="connsiteY16" fmla="*/ 59 h 10000"/>
                <a:gd name="connsiteX17" fmla="*/ 6163 w 10000"/>
                <a:gd name="connsiteY17" fmla="*/ 706 h 10000"/>
                <a:gd name="connsiteX18" fmla="*/ 6395 w 10000"/>
                <a:gd name="connsiteY18" fmla="*/ 765 h 10000"/>
                <a:gd name="connsiteX19" fmla="*/ 6492 w 10000"/>
                <a:gd name="connsiteY19" fmla="*/ 804 h 10000"/>
                <a:gd name="connsiteX20" fmla="*/ 6609 w 10000"/>
                <a:gd name="connsiteY20" fmla="*/ 843 h 10000"/>
                <a:gd name="connsiteX21" fmla="*/ 7151 w 10000"/>
                <a:gd name="connsiteY21" fmla="*/ 451 h 10000"/>
                <a:gd name="connsiteX22" fmla="*/ 7287 w 10000"/>
                <a:gd name="connsiteY22" fmla="*/ 510 h 10000"/>
                <a:gd name="connsiteX23" fmla="*/ 7442 w 10000"/>
                <a:gd name="connsiteY23" fmla="*/ 588 h 10000"/>
                <a:gd name="connsiteX24" fmla="*/ 7442 w 10000"/>
                <a:gd name="connsiteY24" fmla="*/ 1275 h 10000"/>
                <a:gd name="connsiteX25" fmla="*/ 7616 w 10000"/>
                <a:gd name="connsiteY25" fmla="*/ 1412 h 10000"/>
                <a:gd name="connsiteX26" fmla="*/ 7713 w 10000"/>
                <a:gd name="connsiteY26" fmla="*/ 1471 h 10000"/>
                <a:gd name="connsiteX27" fmla="*/ 7810 w 10000"/>
                <a:gd name="connsiteY27" fmla="*/ 1549 h 10000"/>
                <a:gd name="connsiteX28" fmla="*/ 8450 w 10000"/>
                <a:gd name="connsiteY28" fmla="*/ 1333 h 10000"/>
                <a:gd name="connsiteX29" fmla="*/ 8566 w 10000"/>
                <a:gd name="connsiteY29" fmla="*/ 1451 h 10000"/>
                <a:gd name="connsiteX30" fmla="*/ 8682 w 10000"/>
                <a:gd name="connsiteY30" fmla="*/ 1569 h 10000"/>
                <a:gd name="connsiteX31" fmla="*/ 8469 w 10000"/>
                <a:gd name="connsiteY31" fmla="*/ 2216 h 10000"/>
                <a:gd name="connsiteX32" fmla="*/ 8605 w 10000"/>
                <a:gd name="connsiteY32" fmla="*/ 2392 h 10000"/>
                <a:gd name="connsiteX33" fmla="*/ 8740 w 10000"/>
                <a:gd name="connsiteY33" fmla="*/ 2588 h 10000"/>
                <a:gd name="connsiteX34" fmla="*/ 9419 w 10000"/>
                <a:gd name="connsiteY34" fmla="*/ 2588 h 10000"/>
                <a:gd name="connsiteX35" fmla="*/ 9496 w 10000"/>
                <a:gd name="connsiteY35" fmla="*/ 2706 h 10000"/>
                <a:gd name="connsiteX36" fmla="*/ 9574 w 10000"/>
                <a:gd name="connsiteY36" fmla="*/ 2863 h 10000"/>
                <a:gd name="connsiteX37" fmla="*/ 9167 w 10000"/>
                <a:gd name="connsiteY37" fmla="*/ 3392 h 10000"/>
                <a:gd name="connsiteX38" fmla="*/ 9244 w 10000"/>
                <a:gd name="connsiteY38" fmla="*/ 3627 h 10000"/>
                <a:gd name="connsiteX39" fmla="*/ 9283 w 10000"/>
                <a:gd name="connsiteY39" fmla="*/ 3745 h 10000"/>
                <a:gd name="connsiteX40" fmla="*/ 9302 w 10000"/>
                <a:gd name="connsiteY40" fmla="*/ 3863 h 10000"/>
                <a:gd name="connsiteX41" fmla="*/ 9961 w 10000"/>
                <a:gd name="connsiteY41" fmla="*/ 4059 h 10000"/>
                <a:gd name="connsiteX42" fmla="*/ 10000 w 10000"/>
                <a:gd name="connsiteY42" fmla="*/ 4392 h 10000"/>
                <a:gd name="connsiteX43" fmla="*/ 9438 w 10000"/>
                <a:gd name="connsiteY43" fmla="*/ 4765 h 10000"/>
                <a:gd name="connsiteX44" fmla="*/ 9457 w 10000"/>
                <a:gd name="connsiteY44" fmla="*/ 5000 h 10000"/>
                <a:gd name="connsiteX45" fmla="*/ 9438 w 10000"/>
                <a:gd name="connsiteY45" fmla="*/ 5235 h 10000"/>
                <a:gd name="connsiteX46" fmla="*/ 10000 w 10000"/>
                <a:gd name="connsiteY46" fmla="*/ 5627 h 10000"/>
                <a:gd name="connsiteX47" fmla="*/ 9981 w 10000"/>
                <a:gd name="connsiteY47" fmla="*/ 5784 h 10000"/>
                <a:gd name="connsiteX48" fmla="*/ 9961 w 10000"/>
                <a:gd name="connsiteY48" fmla="*/ 5941 h 10000"/>
                <a:gd name="connsiteX49" fmla="*/ 9302 w 10000"/>
                <a:gd name="connsiteY49" fmla="*/ 6157 h 10000"/>
                <a:gd name="connsiteX50" fmla="*/ 9244 w 10000"/>
                <a:gd name="connsiteY50" fmla="*/ 6392 h 10000"/>
                <a:gd name="connsiteX51" fmla="*/ 9205 w 10000"/>
                <a:gd name="connsiteY51" fmla="*/ 6490 h 10000"/>
                <a:gd name="connsiteX52" fmla="*/ 9167 w 10000"/>
                <a:gd name="connsiteY52" fmla="*/ 6608 h 10000"/>
                <a:gd name="connsiteX53" fmla="*/ 9574 w 10000"/>
                <a:gd name="connsiteY53" fmla="*/ 7157 h 10000"/>
                <a:gd name="connsiteX54" fmla="*/ 9496 w 10000"/>
                <a:gd name="connsiteY54" fmla="*/ 7294 h 10000"/>
                <a:gd name="connsiteX55" fmla="*/ 9419 w 10000"/>
                <a:gd name="connsiteY55" fmla="*/ 7431 h 10000"/>
                <a:gd name="connsiteX56" fmla="*/ 8740 w 10000"/>
                <a:gd name="connsiteY56" fmla="*/ 7412 h 10000"/>
                <a:gd name="connsiteX57" fmla="*/ 8605 w 10000"/>
                <a:gd name="connsiteY57" fmla="*/ 7627 h 10000"/>
                <a:gd name="connsiteX58" fmla="*/ 8547 w 10000"/>
                <a:gd name="connsiteY58" fmla="*/ 7706 h 10000"/>
                <a:gd name="connsiteX59" fmla="*/ 8469 w 10000"/>
                <a:gd name="connsiteY59" fmla="*/ 7804 h 10000"/>
                <a:gd name="connsiteX60" fmla="*/ 8682 w 10000"/>
                <a:gd name="connsiteY60" fmla="*/ 8451 h 10000"/>
                <a:gd name="connsiteX61" fmla="*/ 8566 w 10000"/>
                <a:gd name="connsiteY61" fmla="*/ 8569 h 10000"/>
                <a:gd name="connsiteX62" fmla="*/ 8450 w 10000"/>
                <a:gd name="connsiteY62" fmla="*/ 8686 h 10000"/>
                <a:gd name="connsiteX63" fmla="*/ 7810 w 10000"/>
                <a:gd name="connsiteY63" fmla="*/ 8471 h 10000"/>
                <a:gd name="connsiteX64" fmla="*/ 7616 w 10000"/>
                <a:gd name="connsiteY64" fmla="*/ 8608 h 10000"/>
                <a:gd name="connsiteX65" fmla="*/ 7442 w 10000"/>
                <a:gd name="connsiteY65" fmla="*/ 8745 h 10000"/>
                <a:gd name="connsiteX66" fmla="*/ 7442 w 10000"/>
                <a:gd name="connsiteY66" fmla="*/ 9412 h 10000"/>
                <a:gd name="connsiteX67" fmla="*/ 7287 w 10000"/>
                <a:gd name="connsiteY67" fmla="*/ 9510 h 10000"/>
                <a:gd name="connsiteX68" fmla="*/ 7151 w 10000"/>
                <a:gd name="connsiteY68" fmla="*/ 9569 h 10000"/>
                <a:gd name="connsiteX69" fmla="*/ 6609 w 10000"/>
                <a:gd name="connsiteY69" fmla="*/ 9157 h 10000"/>
                <a:gd name="connsiteX70" fmla="*/ 6395 w 10000"/>
                <a:gd name="connsiteY70" fmla="*/ 9235 h 10000"/>
                <a:gd name="connsiteX71" fmla="*/ 6279 w 10000"/>
                <a:gd name="connsiteY71" fmla="*/ 9275 h 10000"/>
                <a:gd name="connsiteX72" fmla="*/ 6163 w 10000"/>
                <a:gd name="connsiteY72" fmla="*/ 9314 h 10000"/>
                <a:gd name="connsiteX73" fmla="*/ 5950 w 10000"/>
                <a:gd name="connsiteY73" fmla="*/ 9961 h 10000"/>
                <a:gd name="connsiteX74" fmla="*/ 5640 w 10000"/>
                <a:gd name="connsiteY74" fmla="*/ 10000 h 10000"/>
                <a:gd name="connsiteX75" fmla="*/ 5252 w 10000"/>
                <a:gd name="connsiteY75" fmla="*/ 9451 h 10000"/>
                <a:gd name="connsiteX76" fmla="*/ 5019 w 10000"/>
                <a:gd name="connsiteY76" fmla="*/ 9451 h 10000"/>
                <a:gd name="connsiteX77" fmla="*/ 4767 w 10000"/>
                <a:gd name="connsiteY77" fmla="*/ 9451 h 10000"/>
                <a:gd name="connsiteX78" fmla="*/ 4380 w 10000"/>
                <a:gd name="connsiteY78" fmla="*/ 10000 h 10000"/>
                <a:gd name="connsiteX79" fmla="*/ 4225 w 10000"/>
                <a:gd name="connsiteY79" fmla="*/ 9980 h 10000"/>
                <a:gd name="connsiteX80" fmla="*/ 4070 w 10000"/>
                <a:gd name="connsiteY80" fmla="*/ 9961 h 10000"/>
                <a:gd name="connsiteX81" fmla="*/ 3857 w 10000"/>
                <a:gd name="connsiteY81" fmla="*/ 9314 h 10000"/>
                <a:gd name="connsiteX82" fmla="*/ 3624 w 10000"/>
                <a:gd name="connsiteY82" fmla="*/ 9235 h 10000"/>
                <a:gd name="connsiteX83" fmla="*/ 3508 w 10000"/>
                <a:gd name="connsiteY83" fmla="*/ 9216 h 10000"/>
                <a:gd name="connsiteX84" fmla="*/ 3411 w 10000"/>
                <a:gd name="connsiteY84" fmla="*/ 9157 h 10000"/>
                <a:gd name="connsiteX85" fmla="*/ 2868 w 10000"/>
                <a:gd name="connsiteY85" fmla="*/ 9569 h 10000"/>
                <a:gd name="connsiteX86" fmla="*/ 2733 w 10000"/>
                <a:gd name="connsiteY86" fmla="*/ 9510 h 10000"/>
                <a:gd name="connsiteX87" fmla="*/ 2578 w 10000"/>
                <a:gd name="connsiteY87" fmla="*/ 9412 h 10000"/>
                <a:gd name="connsiteX88" fmla="*/ 2597 w 10000"/>
                <a:gd name="connsiteY88" fmla="*/ 8745 h 10000"/>
                <a:gd name="connsiteX89" fmla="*/ 2403 w 10000"/>
                <a:gd name="connsiteY89" fmla="*/ 8608 h 10000"/>
                <a:gd name="connsiteX90" fmla="*/ 2306 w 10000"/>
                <a:gd name="connsiteY90" fmla="*/ 8529 h 10000"/>
                <a:gd name="connsiteX91" fmla="*/ 2209 w 10000"/>
                <a:gd name="connsiteY91" fmla="*/ 8471 h 10000"/>
                <a:gd name="connsiteX92" fmla="*/ 1570 w 10000"/>
                <a:gd name="connsiteY92" fmla="*/ 8686 h 10000"/>
                <a:gd name="connsiteX93" fmla="*/ 1453 w 10000"/>
                <a:gd name="connsiteY93" fmla="*/ 8569 h 10000"/>
                <a:gd name="connsiteX94" fmla="*/ 1337 w 10000"/>
                <a:gd name="connsiteY94" fmla="*/ 8451 h 10000"/>
                <a:gd name="connsiteX95" fmla="*/ 1550 w 10000"/>
                <a:gd name="connsiteY95" fmla="*/ 7804 h 10000"/>
                <a:gd name="connsiteX96" fmla="*/ 1415 w 10000"/>
                <a:gd name="connsiteY96" fmla="*/ 7627 h 10000"/>
                <a:gd name="connsiteX97" fmla="*/ 1279 w 10000"/>
                <a:gd name="connsiteY97" fmla="*/ 7412 h 10000"/>
                <a:gd name="connsiteX98" fmla="*/ 601 w 10000"/>
                <a:gd name="connsiteY98" fmla="*/ 7431 h 10000"/>
                <a:gd name="connsiteX99" fmla="*/ 523 w 10000"/>
                <a:gd name="connsiteY99" fmla="*/ 7294 h 10000"/>
                <a:gd name="connsiteX100" fmla="*/ 446 w 10000"/>
                <a:gd name="connsiteY100" fmla="*/ 7157 h 10000"/>
                <a:gd name="connsiteX101" fmla="*/ 853 w 10000"/>
                <a:gd name="connsiteY101" fmla="*/ 6608 h 10000"/>
                <a:gd name="connsiteX102" fmla="*/ 775 w 10000"/>
                <a:gd name="connsiteY102" fmla="*/ 6392 h 10000"/>
                <a:gd name="connsiteX103" fmla="*/ 756 w 10000"/>
                <a:gd name="connsiteY103" fmla="*/ 6275 h 10000"/>
                <a:gd name="connsiteX104" fmla="*/ 717 w 10000"/>
                <a:gd name="connsiteY104" fmla="*/ 6157 h 10000"/>
                <a:gd name="connsiteX105" fmla="*/ 58 w 10000"/>
                <a:gd name="connsiteY105" fmla="*/ 5941 h 10000"/>
                <a:gd name="connsiteX106" fmla="*/ 0 w 10000"/>
                <a:gd name="connsiteY106" fmla="*/ 5627 h 10000"/>
                <a:gd name="connsiteX107" fmla="*/ 581 w 10000"/>
                <a:gd name="connsiteY107" fmla="*/ 5235 h 10000"/>
                <a:gd name="connsiteX108" fmla="*/ 562 w 10000"/>
                <a:gd name="connsiteY108" fmla="*/ 5000 h 10000"/>
                <a:gd name="connsiteX109" fmla="*/ 581 w 10000"/>
                <a:gd name="connsiteY109" fmla="*/ 4765 h 10000"/>
                <a:gd name="connsiteX110" fmla="*/ 0 w 10000"/>
                <a:gd name="connsiteY110" fmla="*/ 4392 h 10000"/>
                <a:gd name="connsiteX111" fmla="*/ 19 w 10000"/>
                <a:gd name="connsiteY111" fmla="*/ 4216 h 10000"/>
                <a:gd name="connsiteX112" fmla="*/ 58 w 10000"/>
                <a:gd name="connsiteY112" fmla="*/ 4059 h 10000"/>
                <a:gd name="connsiteX113" fmla="*/ 717 w 10000"/>
                <a:gd name="connsiteY113" fmla="*/ 3863 h 10000"/>
                <a:gd name="connsiteX114" fmla="*/ 775 w 10000"/>
                <a:gd name="connsiteY114" fmla="*/ 3627 h 10000"/>
                <a:gd name="connsiteX115" fmla="*/ 814 w 10000"/>
                <a:gd name="connsiteY115" fmla="*/ 3510 h 10000"/>
                <a:gd name="connsiteX116" fmla="*/ 853 w 10000"/>
                <a:gd name="connsiteY116" fmla="*/ 3392 h 10000"/>
                <a:gd name="connsiteX117" fmla="*/ 446 w 10000"/>
                <a:gd name="connsiteY117" fmla="*/ 2863 h 10000"/>
                <a:gd name="connsiteX118" fmla="*/ 523 w 10000"/>
                <a:gd name="connsiteY118" fmla="*/ 2706 h 10000"/>
                <a:gd name="connsiteX119" fmla="*/ 601 w 10000"/>
                <a:gd name="connsiteY119" fmla="*/ 2588 h 10000"/>
                <a:gd name="connsiteX120" fmla="*/ 1279 w 10000"/>
                <a:gd name="connsiteY120" fmla="*/ 2588 h 10000"/>
                <a:gd name="connsiteX0" fmla="*/ 2597 w 10000"/>
                <a:gd name="connsiteY0" fmla="*/ 1275 h 10000"/>
                <a:gd name="connsiteX1" fmla="*/ 2578 w 10000"/>
                <a:gd name="connsiteY1" fmla="*/ 588 h 10000"/>
                <a:gd name="connsiteX2" fmla="*/ 2733 w 10000"/>
                <a:gd name="connsiteY2" fmla="*/ 510 h 10000"/>
                <a:gd name="connsiteX3" fmla="*/ 2868 w 10000"/>
                <a:gd name="connsiteY3" fmla="*/ 451 h 10000"/>
                <a:gd name="connsiteX4" fmla="*/ 3411 w 10000"/>
                <a:gd name="connsiteY4" fmla="*/ 843 h 10000"/>
                <a:gd name="connsiteX5" fmla="*/ 3624 w 10000"/>
                <a:gd name="connsiteY5" fmla="*/ 765 h 10000"/>
                <a:gd name="connsiteX6" fmla="*/ 3740 w 10000"/>
                <a:gd name="connsiteY6" fmla="*/ 725 h 10000"/>
                <a:gd name="connsiteX7" fmla="*/ 3857 w 10000"/>
                <a:gd name="connsiteY7" fmla="*/ 706 h 10000"/>
                <a:gd name="connsiteX8" fmla="*/ 4070 w 10000"/>
                <a:gd name="connsiteY8" fmla="*/ 59 h 10000"/>
                <a:gd name="connsiteX9" fmla="*/ 4380 w 10000"/>
                <a:gd name="connsiteY9" fmla="*/ 0 h 10000"/>
                <a:gd name="connsiteX10" fmla="*/ 4767 w 10000"/>
                <a:gd name="connsiteY10" fmla="*/ 569 h 10000"/>
                <a:gd name="connsiteX11" fmla="*/ 5019 w 10000"/>
                <a:gd name="connsiteY11" fmla="*/ 549 h 10000"/>
                <a:gd name="connsiteX12" fmla="*/ 5252 w 10000"/>
                <a:gd name="connsiteY12" fmla="*/ 569 h 10000"/>
                <a:gd name="connsiteX13" fmla="*/ 5640 w 10000"/>
                <a:gd name="connsiteY13" fmla="*/ 0 h 10000"/>
                <a:gd name="connsiteX14" fmla="*/ 5795 w 10000"/>
                <a:gd name="connsiteY14" fmla="*/ 20 h 10000"/>
                <a:gd name="connsiteX15" fmla="*/ 5950 w 10000"/>
                <a:gd name="connsiteY15" fmla="*/ 59 h 10000"/>
                <a:gd name="connsiteX16" fmla="*/ 6163 w 10000"/>
                <a:gd name="connsiteY16" fmla="*/ 706 h 10000"/>
                <a:gd name="connsiteX17" fmla="*/ 6395 w 10000"/>
                <a:gd name="connsiteY17" fmla="*/ 765 h 10000"/>
                <a:gd name="connsiteX18" fmla="*/ 6492 w 10000"/>
                <a:gd name="connsiteY18" fmla="*/ 804 h 10000"/>
                <a:gd name="connsiteX19" fmla="*/ 6609 w 10000"/>
                <a:gd name="connsiteY19" fmla="*/ 843 h 10000"/>
                <a:gd name="connsiteX20" fmla="*/ 7151 w 10000"/>
                <a:gd name="connsiteY20" fmla="*/ 451 h 10000"/>
                <a:gd name="connsiteX21" fmla="*/ 7287 w 10000"/>
                <a:gd name="connsiteY21" fmla="*/ 510 h 10000"/>
                <a:gd name="connsiteX22" fmla="*/ 7442 w 10000"/>
                <a:gd name="connsiteY22" fmla="*/ 588 h 10000"/>
                <a:gd name="connsiteX23" fmla="*/ 7442 w 10000"/>
                <a:gd name="connsiteY23" fmla="*/ 1275 h 10000"/>
                <a:gd name="connsiteX24" fmla="*/ 7616 w 10000"/>
                <a:gd name="connsiteY24" fmla="*/ 1412 h 10000"/>
                <a:gd name="connsiteX25" fmla="*/ 7713 w 10000"/>
                <a:gd name="connsiteY25" fmla="*/ 1471 h 10000"/>
                <a:gd name="connsiteX26" fmla="*/ 7810 w 10000"/>
                <a:gd name="connsiteY26" fmla="*/ 1549 h 10000"/>
                <a:gd name="connsiteX27" fmla="*/ 8450 w 10000"/>
                <a:gd name="connsiteY27" fmla="*/ 1333 h 10000"/>
                <a:gd name="connsiteX28" fmla="*/ 8566 w 10000"/>
                <a:gd name="connsiteY28" fmla="*/ 1451 h 10000"/>
                <a:gd name="connsiteX29" fmla="*/ 8682 w 10000"/>
                <a:gd name="connsiteY29" fmla="*/ 1569 h 10000"/>
                <a:gd name="connsiteX30" fmla="*/ 8469 w 10000"/>
                <a:gd name="connsiteY30" fmla="*/ 2216 h 10000"/>
                <a:gd name="connsiteX31" fmla="*/ 8605 w 10000"/>
                <a:gd name="connsiteY31" fmla="*/ 2392 h 10000"/>
                <a:gd name="connsiteX32" fmla="*/ 8740 w 10000"/>
                <a:gd name="connsiteY32" fmla="*/ 2588 h 10000"/>
                <a:gd name="connsiteX33" fmla="*/ 9419 w 10000"/>
                <a:gd name="connsiteY33" fmla="*/ 2588 h 10000"/>
                <a:gd name="connsiteX34" fmla="*/ 9496 w 10000"/>
                <a:gd name="connsiteY34" fmla="*/ 2706 h 10000"/>
                <a:gd name="connsiteX35" fmla="*/ 9574 w 10000"/>
                <a:gd name="connsiteY35" fmla="*/ 2863 h 10000"/>
                <a:gd name="connsiteX36" fmla="*/ 9167 w 10000"/>
                <a:gd name="connsiteY36" fmla="*/ 3392 h 10000"/>
                <a:gd name="connsiteX37" fmla="*/ 9244 w 10000"/>
                <a:gd name="connsiteY37" fmla="*/ 3627 h 10000"/>
                <a:gd name="connsiteX38" fmla="*/ 9283 w 10000"/>
                <a:gd name="connsiteY38" fmla="*/ 3745 h 10000"/>
                <a:gd name="connsiteX39" fmla="*/ 9302 w 10000"/>
                <a:gd name="connsiteY39" fmla="*/ 3863 h 10000"/>
                <a:gd name="connsiteX40" fmla="*/ 9961 w 10000"/>
                <a:gd name="connsiteY40" fmla="*/ 4059 h 10000"/>
                <a:gd name="connsiteX41" fmla="*/ 10000 w 10000"/>
                <a:gd name="connsiteY41" fmla="*/ 4392 h 10000"/>
                <a:gd name="connsiteX42" fmla="*/ 9438 w 10000"/>
                <a:gd name="connsiteY42" fmla="*/ 4765 h 10000"/>
                <a:gd name="connsiteX43" fmla="*/ 9457 w 10000"/>
                <a:gd name="connsiteY43" fmla="*/ 5000 h 10000"/>
                <a:gd name="connsiteX44" fmla="*/ 9438 w 10000"/>
                <a:gd name="connsiteY44" fmla="*/ 5235 h 10000"/>
                <a:gd name="connsiteX45" fmla="*/ 10000 w 10000"/>
                <a:gd name="connsiteY45" fmla="*/ 5627 h 10000"/>
                <a:gd name="connsiteX46" fmla="*/ 9981 w 10000"/>
                <a:gd name="connsiteY46" fmla="*/ 5784 h 10000"/>
                <a:gd name="connsiteX47" fmla="*/ 9961 w 10000"/>
                <a:gd name="connsiteY47" fmla="*/ 5941 h 10000"/>
                <a:gd name="connsiteX48" fmla="*/ 9302 w 10000"/>
                <a:gd name="connsiteY48" fmla="*/ 6157 h 10000"/>
                <a:gd name="connsiteX49" fmla="*/ 9244 w 10000"/>
                <a:gd name="connsiteY49" fmla="*/ 6392 h 10000"/>
                <a:gd name="connsiteX50" fmla="*/ 9205 w 10000"/>
                <a:gd name="connsiteY50" fmla="*/ 6490 h 10000"/>
                <a:gd name="connsiteX51" fmla="*/ 9167 w 10000"/>
                <a:gd name="connsiteY51" fmla="*/ 6608 h 10000"/>
                <a:gd name="connsiteX52" fmla="*/ 9574 w 10000"/>
                <a:gd name="connsiteY52" fmla="*/ 7157 h 10000"/>
                <a:gd name="connsiteX53" fmla="*/ 9496 w 10000"/>
                <a:gd name="connsiteY53" fmla="*/ 7294 h 10000"/>
                <a:gd name="connsiteX54" fmla="*/ 9419 w 10000"/>
                <a:gd name="connsiteY54" fmla="*/ 7431 h 10000"/>
                <a:gd name="connsiteX55" fmla="*/ 8740 w 10000"/>
                <a:gd name="connsiteY55" fmla="*/ 7412 h 10000"/>
                <a:gd name="connsiteX56" fmla="*/ 8605 w 10000"/>
                <a:gd name="connsiteY56" fmla="*/ 7627 h 10000"/>
                <a:gd name="connsiteX57" fmla="*/ 8547 w 10000"/>
                <a:gd name="connsiteY57" fmla="*/ 7706 h 10000"/>
                <a:gd name="connsiteX58" fmla="*/ 8469 w 10000"/>
                <a:gd name="connsiteY58" fmla="*/ 7804 h 10000"/>
                <a:gd name="connsiteX59" fmla="*/ 8682 w 10000"/>
                <a:gd name="connsiteY59" fmla="*/ 8451 h 10000"/>
                <a:gd name="connsiteX60" fmla="*/ 8566 w 10000"/>
                <a:gd name="connsiteY60" fmla="*/ 8569 h 10000"/>
                <a:gd name="connsiteX61" fmla="*/ 8450 w 10000"/>
                <a:gd name="connsiteY61" fmla="*/ 8686 h 10000"/>
                <a:gd name="connsiteX62" fmla="*/ 7810 w 10000"/>
                <a:gd name="connsiteY62" fmla="*/ 8471 h 10000"/>
                <a:gd name="connsiteX63" fmla="*/ 7616 w 10000"/>
                <a:gd name="connsiteY63" fmla="*/ 8608 h 10000"/>
                <a:gd name="connsiteX64" fmla="*/ 7442 w 10000"/>
                <a:gd name="connsiteY64" fmla="*/ 8745 h 10000"/>
                <a:gd name="connsiteX65" fmla="*/ 7442 w 10000"/>
                <a:gd name="connsiteY65" fmla="*/ 9412 h 10000"/>
                <a:gd name="connsiteX66" fmla="*/ 7287 w 10000"/>
                <a:gd name="connsiteY66" fmla="*/ 9510 h 10000"/>
                <a:gd name="connsiteX67" fmla="*/ 7151 w 10000"/>
                <a:gd name="connsiteY67" fmla="*/ 9569 h 10000"/>
                <a:gd name="connsiteX68" fmla="*/ 6609 w 10000"/>
                <a:gd name="connsiteY68" fmla="*/ 9157 h 10000"/>
                <a:gd name="connsiteX69" fmla="*/ 6395 w 10000"/>
                <a:gd name="connsiteY69" fmla="*/ 9235 h 10000"/>
                <a:gd name="connsiteX70" fmla="*/ 6279 w 10000"/>
                <a:gd name="connsiteY70" fmla="*/ 9275 h 10000"/>
                <a:gd name="connsiteX71" fmla="*/ 6163 w 10000"/>
                <a:gd name="connsiteY71" fmla="*/ 9314 h 10000"/>
                <a:gd name="connsiteX72" fmla="*/ 5950 w 10000"/>
                <a:gd name="connsiteY72" fmla="*/ 9961 h 10000"/>
                <a:gd name="connsiteX73" fmla="*/ 5640 w 10000"/>
                <a:gd name="connsiteY73" fmla="*/ 10000 h 10000"/>
                <a:gd name="connsiteX74" fmla="*/ 5252 w 10000"/>
                <a:gd name="connsiteY74" fmla="*/ 9451 h 10000"/>
                <a:gd name="connsiteX75" fmla="*/ 5019 w 10000"/>
                <a:gd name="connsiteY75" fmla="*/ 9451 h 10000"/>
                <a:gd name="connsiteX76" fmla="*/ 4767 w 10000"/>
                <a:gd name="connsiteY76" fmla="*/ 9451 h 10000"/>
                <a:gd name="connsiteX77" fmla="*/ 4380 w 10000"/>
                <a:gd name="connsiteY77" fmla="*/ 10000 h 10000"/>
                <a:gd name="connsiteX78" fmla="*/ 4225 w 10000"/>
                <a:gd name="connsiteY78" fmla="*/ 9980 h 10000"/>
                <a:gd name="connsiteX79" fmla="*/ 4070 w 10000"/>
                <a:gd name="connsiteY79" fmla="*/ 9961 h 10000"/>
                <a:gd name="connsiteX80" fmla="*/ 3857 w 10000"/>
                <a:gd name="connsiteY80" fmla="*/ 9314 h 10000"/>
                <a:gd name="connsiteX81" fmla="*/ 3624 w 10000"/>
                <a:gd name="connsiteY81" fmla="*/ 9235 h 10000"/>
                <a:gd name="connsiteX82" fmla="*/ 3508 w 10000"/>
                <a:gd name="connsiteY82" fmla="*/ 9216 h 10000"/>
                <a:gd name="connsiteX83" fmla="*/ 3411 w 10000"/>
                <a:gd name="connsiteY83" fmla="*/ 9157 h 10000"/>
                <a:gd name="connsiteX84" fmla="*/ 2868 w 10000"/>
                <a:gd name="connsiteY84" fmla="*/ 9569 h 10000"/>
                <a:gd name="connsiteX85" fmla="*/ 2733 w 10000"/>
                <a:gd name="connsiteY85" fmla="*/ 9510 h 10000"/>
                <a:gd name="connsiteX86" fmla="*/ 2578 w 10000"/>
                <a:gd name="connsiteY86" fmla="*/ 9412 h 10000"/>
                <a:gd name="connsiteX87" fmla="*/ 2597 w 10000"/>
                <a:gd name="connsiteY87" fmla="*/ 8745 h 10000"/>
                <a:gd name="connsiteX88" fmla="*/ 2403 w 10000"/>
                <a:gd name="connsiteY88" fmla="*/ 8608 h 10000"/>
                <a:gd name="connsiteX89" fmla="*/ 2306 w 10000"/>
                <a:gd name="connsiteY89" fmla="*/ 8529 h 10000"/>
                <a:gd name="connsiteX90" fmla="*/ 2209 w 10000"/>
                <a:gd name="connsiteY90" fmla="*/ 8471 h 10000"/>
                <a:gd name="connsiteX91" fmla="*/ 1570 w 10000"/>
                <a:gd name="connsiteY91" fmla="*/ 8686 h 10000"/>
                <a:gd name="connsiteX92" fmla="*/ 1453 w 10000"/>
                <a:gd name="connsiteY92" fmla="*/ 8569 h 10000"/>
                <a:gd name="connsiteX93" fmla="*/ 1337 w 10000"/>
                <a:gd name="connsiteY93" fmla="*/ 8451 h 10000"/>
                <a:gd name="connsiteX94" fmla="*/ 1550 w 10000"/>
                <a:gd name="connsiteY94" fmla="*/ 7804 h 10000"/>
                <a:gd name="connsiteX95" fmla="*/ 1415 w 10000"/>
                <a:gd name="connsiteY95" fmla="*/ 7627 h 10000"/>
                <a:gd name="connsiteX96" fmla="*/ 1279 w 10000"/>
                <a:gd name="connsiteY96" fmla="*/ 7412 h 10000"/>
                <a:gd name="connsiteX97" fmla="*/ 601 w 10000"/>
                <a:gd name="connsiteY97" fmla="*/ 7431 h 10000"/>
                <a:gd name="connsiteX98" fmla="*/ 523 w 10000"/>
                <a:gd name="connsiteY98" fmla="*/ 7294 h 10000"/>
                <a:gd name="connsiteX99" fmla="*/ 446 w 10000"/>
                <a:gd name="connsiteY99" fmla="*/ 7157 h 10000"/>
                <a:gd name="connsiteX100" fmla="*/ 853 w 10000"/>
                <a:gd name="connsiteY100" fmla="*/ 6608 h 10000"/>
                <a:gd name="connsiteX101" fmla="*/ 775 w 10000"/>
                <a:gd name="connsiteY101" fmla="*/ 6392 h 10000"/>
                <a:gd name="connsiteX102" fmla="*/ 756 w 10000"/>
                <a:gd name="connsiteY102" fmla="*/ 6275 h 10000"/>
                <a:gd name="connsiteX103" fmla="*/ 717 w 10000"/>
                <a:gd name="connsiteY103" fmla="*/ 6157 h 10000"/>
                <a:gd name="connsiteX104" fmla="*/ 58 w 10000"/>
                <a:gd name="connsiteY104" fmla="*/ 5941 h 10000"/>
                <a:gd name="connsiteX105" fmla="*/ 0 w 10000"/>
                <a:gd name="connsiteY105" fmla="*/ 5627 h 10000"/>
                <a:gd name="connsiteX106" fmla="*/ 581 w 10000"/>
                <a:gd name="connsiteY106" fmla="*/ 5235 h 10000"/>
                <a:gd name="connsiteX107" fmla="*/ 562 w 10000"/>
                <a:gd name="connsiteY107" fmla="*/ 5000 h 10000"/>
                <a:gd name="connsiteX108" fmla="*/ 581 w 10000"/>
                <a:gd name="connsiteY108" fmla="*/ 4765 h 10000"/>
                <a:gd name="connsiteX109" fmla="*/ 0 w 10000"/>
                <a:gd name="connsiteY109" fmla="*/ 4392 h 10000"/>
                <a:gd name="connsiteX110" fmla="*/ 19 w 10000"/>
                <a:gd name="connsiteY110" fmla="*/ 4216 h 10000"/>
                <a:gd name="connsiteX111" fmla="*/ 58 w 10000"/>
                <a:gd name="connsiteY111" fmla="*/ 4059 h 10000"/>
                <a:gd name="connsiteX112" fmla="*/ 717 w 10000"/>
                <a:gd name="connsiteY112" fmla="*/ 3863 h 10000"/>
                <a:gd name="connsiteX113" fmla="*/ 775 w 10000"/>
                <a:gd name="connsiteY113" fmla="*/ 3627 h 10000"/>
                <a:gd name="connsiteX114" fmla="*/ 814 w 10000"/>
                <a:gd name="connsiteY114" fmla="*/ 3510 h 10000"/>
                <a:gd name="connsiteX115" fmla="*/ 853 w 10000"/>
                <a:gd name="connsiteY115" fmla="*/ 3392 h 10000"/>
                <a:gd name="connsiteX116" fmla="*/ 446 w 10000"/>
                <a:gd name="connsiteY116" fmla="*/ 2863 h 10000"/>
                <a:gd name="connsiteX117" fmla="*/ 523 w 10000"/>
                <a:gd name="connsiteY117" fmla="*/ 2706 h 10000"/>
                <a:gd name="connsiteX118" fmla="*/ 601 w 10000"/>
                <a:gd name="connsiteY118" fmla="*/ 2588 h 10000"/>
                <a:gd name="connsiteX119" fmla="*/ 1279 w 10000"/>
                <a:gd name="connsiteY119" fmla="*/ 2588 h 10000"/>
                <a:gd name="connsiteX0" fmla="*/ 2578 w 10000"/>
                <a:gd name="connsiteY0" fmla="*/ 588 h 10000"/>
                <a:gd name="connsiteX1" fmla="*/ 2733 w 10000"/>
                <a:gd name="connsiteY1" fmla="*/ 510 h 10000"/>
                <a:gd name="connsiteX2" fmla="*/ 2868 w 10000"/>
                <a:gd name="connsiteY2" fmla="*/ 451 h 10000"/>
                <a:gd name="connsiteX3" fmla="*/ 3411 w 10000"/>
                <a:gd name="connsiteY3" fmla="*/ 843 h 10000"/>
                <a:gd name="connsiteX4" fmla="*/ 3624 w 10000"/>
                <a:gd name="connsiteY4" fmla="*/ 765 h 10000"/>
                <a:gd name="connsiteX5" fmla="*/ 3740 w 10000"/>
                <a:gd name="connsiteY5" fmla="*/ 725 h 10000"/>
                <a:gd name="connsiteX6" fmla="*/ 3857 w 10000"/>
                <a:gd name="connsiteY6" fmla="*/ 706 h 10000"/>
                <a:gd name="connsiteX7" fmla="*/ 4070 w 10000"/>
                <a:gd name="connsiteY7" fmla="*/ 59 h 10000"/>
                <a:gd name="connsiteX8" fmla="*/ 4380 w 10000"/>
                <a:gd name="connsiteY8" fmla="*/ 0 h 10000"/>
                <a:gd name="connsiteX9" fmla="*/ 4767 w 10000"/>
                <a:gd name="connsiteY9" fmla="*/ 569 h 10000"/>
                <a:gd name="connsiteX10" fmla="*/ 5019 w 10000"/>
                <a:gd name="connsiteY10" fmla="*/ 549 h 10000"/>
                <a:gd name="connsiteX11" fmla="*/ 5252 w 10000"/>
                <a:gd name="connsiteY11" fmla="*/ 569 h 10000"/>
                <a:gd name="connsiteX12" fmla="*/ 5640 w 10000"/>
                <a:gd name="connsiteY12" fmla="*/ 0 h 10000"/>
                <a:gd name="connsiteX13" fmla="*/ 5795 w 10000"/>
                <a:gd name="connsiteY13" fmla="*/ 20 h 10000"/>
                <a:gd name="connsiteX14" fmla="*/ 5950 w 10000"/>
                <a:gd name="connsiteY14" fmla="*/ 59 h 10000"/>
                <a:gd name="connsiteX15" fmla="*/ 6163 w 10000"/>
                <a:gd name="connsiteY15" fmla="*/ 706 h 10000"/>
                <a:gd name="connsiteX16" fmla="*/ 6395 w 10000"/>
                <a:gd name="connsiteY16" fmla="*/ 765 h 10000"/>
                <a:gd name="connsiteX17" fmla="*/ 6492 w 10000"/>
                <a:gd name="connsiteY17" fmla="*/ 804 h 10000"/>
                <a:gd name="connsiteX18" fmla="*/ 6609 w 10000"/>
                <a:gd name="connsiteY18" fmla="*/ 843 h 10000"/>
                <a:gd name="connsiteX19" fmla="*/ 7151 w 10000"/>
                <a:gd name="connsiteY19" fmla="*/ 451 h 10000"/>
                <a:gd name="connsiteX20" fmla="*/ 7287 w 10000"/>
                <a:gd name="connsiteY20" fmla="*/ 510 h 10000"/>
                <a:gd name="connsiteX21" fmla="*/ 7442 w 10000"/>
                <a:gd name="connsiteY21" fmla="*/ 588 h 10000"/>
                <a:gd name="connsiteX22" fmla="*/ 7442 w 10000"/>
                <a:gd name="connsiteY22" fmla="*/ 1275 h 10000"/>
                <a:gd name="connsiteX23" fmla="*/ 7616 w 10000"/>
                <a:gd name="connsiteY23" fmla="*/ 1412 h 10000"/>
                <a:gd name="connsiteX24" fmla="*/ 7713 w 10000"/>
                <a:gd name="connsiteY24" fmla="*/ 1471 h 10000"/>
                <a:gd name="connsiteX25" fmla="*/ 7810 w 10000"/>
                <a:gd name="connsiteY25" fmla="*/ 1549 h 10000"/>
                <a:gd name="connsiteX26" fmla="*/ 8450 w 10000"/>
                <a:gd name="connsiteY26" fmla="*/ 1333 h 10000"/>
                <a:gd name="connsiteX27" fmla="*/ 8566 w 10000"/>
                <a:gd name="connsiteY27" fmla="*/ 1451 h 10000"/>
                <a:gd name="connsiteX28" fmla="*/ 8682 w 10000"/>
                <a:gd name="connsiteY28" fmla="*/ 1569 h 10000"/>
                <a:gd name="connsiteX29" fmla="*/ 8469 w 10000"/>
                <a:gd name="connsiteY29" fmla="*/ 2216 h 10000"/>
                <a:gd name="connsiteX30" fmla="*/ 8605 w 10000"/>
                <a:gd name="connsiteY30" fmla="*/ 2392 h 10000"/>
                <a:gd name="connsiteX31" fmla="*/ 8740 w 10000"/>
                <a:gd name="connsiteY31" fmla="*/ 2588 h 10000"/>
                <a:gd name="connsiteX32" fmla="*/ 9419 w 10000"/>
                <a:gd name="connsiteY32" fmla="*/ 2588 h 10000"/>
                <a:gd name="connsiteX33" fmla="*/ 9496 w 10000"/>
                <a:gd name="connsiteY33" fmla="*/ 2706 h 10000"/>
                <a:gd name="connsiteX34" fmla="*/ 9574 w 10000"/>
                <a:gd name="connsiteY34" fmla="*/ 2863 h 10000"/>
                <a:gd name="connsiteX35" fmla="*/ 9167 w 10000"/>
                <a:gd name="connsiteY35" fmla="*/ 3392 h 10000"/>
                <a:gd name="connsiteX36" fmla="*/ 9244 w 10000"/>
                <a:gd name="connsiteY36" fmla="*/ 3627 h 10000"/>
                <a:gd name="connsiteX37" fmla="*/ 9283 w 10000"/>
                <a:gd name="connsiteY37" fmla="*/ 3745 h 10000"/>
                <a:gd name="connsiteX38" fmla="*/ 9302 w 10000"/>
                <a:gd name="connsiteY38" fmla="*/ 3863 h 10000"/>
                <a:gd name="connsiteX39" fmla="*/ 9961 w 10000"/>
                <a:gd name="connsiteY39" fmla="*/ 4059 h 10000"/>
                <a:gd name="connsiteX40" fmla="*/ 10000 w 10000"/>
                <a:gd name="connsiteY40" fmla="*/ 4392 h 10000"/>
                <a:gd name="connsiteX41" fmla="*/ 9438 w 10000"/>
                <a:gd name="connsiteY41" fmla="*/ 4765 h 10000"/>
                <a:gd name="connsiteX42" fmla="*/ 9457 w 10000"/>
                <a:gd name="connsiteY42" fmla="*/ 5000 h 10000"/>
                <a:gd name="connsiteX43" fmla="*/ 9438 w 10000"/>
                <a:gd name="connsiteY43" fmla="*/ 5235 h 10000"/>
                <a:gd name="connsiteX44" fmla="*/ 10000 w 10000"/>
                <a:gd name="connsiteY44" fmla="*/ 5627 h 10000"/>
                <a:gd name="connsiteX45" fmla="*/ 9981 w 10000"/>
                <a:gd name="connsiteY45" fmla="*/ 5784 h 10000"/>
                <a:gd name="connsiteX46" fmla="*/ 9961 w 10000"/>
                <a:gd name="connsiteY46" fmla="*/ 5941 h 10000"/>
                <a:gd name="connsiteX47" fmla="*/ 9302 w 10000"/>
                <a:gd name="connsiteY47" fmla="*/ 6157 h 10000"/>
                <a:gd name="connsiteX48" fmla="*/ 9244 w 10000"/>
                <a:gd name="connsiteY48" fmla="*/ 6392 h 10000"/>
                <a:gd name="connsiteX49" fmla="*/ 9205 w 10000"/>
                <a:gd name="connsiteY49" fmla="*/ 6490 h 10000"/>
                <a:gd name="connsiteX50" fmla="*/ 9167 w 10000"/>
                <a:gd name="connsiteY50" fmla="*/ 6608 h 10000"/>
                <a:gd name="connsiteX51" fmla="*/ 9574 w 10000"/>
                <a:gd name="connsiteY51" fmla="*/ 7157 h 10000"/>
                <a:gd name="connsiteX52" fmla="*/ 9496 w 10000"/>
                <a:gd name="connsiteY52" fmla="*/ 7294 h 10000"/>
                <a:gd name="connsiteX53" fmla="*/ 9419 w 10000"/>
                <a:gd name="connsiteY53" fmla="*/ 7431 h 10000"/>
                <a:gd name="connsiteX54" fmla="*/ 8740 w 10000"/>
                <a:gd name="connsiteY54" fmla="*/ 7412 h 10000"/>
                <a:gd name="connsiteX55" fmla="*/ 8605 w 10000"/>
                <a:gd name="connsiteY55" fmla="*/ 7627 h 10000"/>
                <a:gd name="connsiteX56" fmla="*/ 8547 w 10000"/>
                <a:gd name="connsiteY56" fmla="*/ 7706 h 10000"/>
                <a:gd name="connsiteX57" fmla="*/ 8469 w 10000"/>
                <a:gd name="connsiteY57" fmla="*/ 7804 h 10000"/>
                <a:gd name="connsiteX58" fmla="*/ 8682 w 10000"/>
                <a:gd name="connsiteY58" fmla="*/ 8451 h 10000"/>
                <a:gd name="connsiteX59" fmla="*/ 8566 w 10000"/>
                <a:gd name="connsiteY59" fmla="*/ 8569 h 10000"/>
                <a:gd name="connsiteX60" fmla="*/ 8450 w 10000"/>
                <a:gd name="connsiteY60" fmla="*/ 8686 h 10000"/>
                <a:gd name="connsiteX61" fmla="*/ 7810 w 10000"/>
                <a:gd name="connsiteY61" fmla="*/ 8471 h 10000"/>
                <a:gd name="connsiteX62" fmla="*/ 7616 w 10000"/>
                <a:gd name="connsiteY62" fmla="*/ 8608 h 10000"/>
                <a:gd name="connsiteX63" fmla="*/ 7442 w 10000"/>
                <a:gd name="connsiteY63" fmla="*/ 8745 h 10000"/>
                <a:gd name="connsiteX64" fmla="*/ 7442 w 10000"/>
                <a:gd name="connsiteY64" fmla="*/ 9412 h 10000"/>
                <a:gd name="connsiteX65" fmla="*/ 7287 w 10000"/>
                <a:gd name="connsiteY65" fmla="*/ 9510 h 10000"/>
                <a:gd name="connsiteX66" fmla="*/ 7151 w 10000"/>
                <a:gd name="connsiteY66" fmla="*/ 9569 h 10000"/>
                <a:gd name="connsiteX67" fmla="*/ 6609 w 10000"/>
                <a:gd name="connsiteY67" fmla="*/ 9157 h 10000"/>
                <a:gd name="connsiteX68" fmla="*/ 6395 w 10000"/>
                <a:gd name="connsiteY68" fmla="*/ 9235 h 10000"/>
                <a:gd name="connsiteX69" fmla="*/ 6279 w 10000"/>
                <a:gd name="connsiteY69" fmla="*/ 9275 h 10000"/>
                <a:gd name="connsiteX70" fmla="*/ 6163 w 10000"/>
                <a:gd name="connsiteY70" fmla="*/ 9314 h 10000"/>
                <a:gd name="connsiteX71" fmla="*/ 5950 w 10000"/>
                <a:gd name="connsiteY71" fmla="*/ 9961 h 10000"/>
                <a:gd name="connsiteX72" fmla="*/ 5640 w 10000"/>
                <a:gd name="connsiteY72" fmla="*/ 10000 h 10000"/>
                <a:gd name="connsiteX73" fmla="*/ 5252 w 10000"/>
                <a:gd name="connsiteY73" fmla="*/ 9451 h 10000"/>
                <a:gd name="connsiteX74" fmla="*/ 5019 w 10000"/>
                <a:gd name="connsiteY74" fmla="*/ 9451 h 10000"/>
                <a:gd name="connsiteX75" fmla="*/ 4767 w 10000"/>
                <a:gd name="connsiteY75" fmla="*/ 9451 h 10000"/>
                <a:gd name="connsiteX76" fmla="*/ 4380 w 10000"/>
                <a:gd name="connsiteY76" fmla="*/ 10000 h 10000"/>
                <a:gd name="connsiteX77" fmla="*/ 4225 w 10000"/>
                <a:gd name="connsiteY77" fmla="*/ 9980 h 10000"/>
                <a:gd name="connsiteX78" fmla="*/ 4070 w 10000"/>
                <a:gd name="connsiteY78" fmla="*/ 9961 h 10000"/>
                <a:gd name="connsiteX79" fmla="*/ 3857 w 10000"/>
                <a:gd name="connsiteY79" fmla="*/ 9314 h 10000"/>
                <a:gd name="connsiteX80" fmla="*/ 3624 w 10000"/>
                <a:gd name="connsiteY80" fmla="*/ 9235 h 10000"/>
                <a:gd name="connsiteX81" fmla="*/ 3508 w 10000"/>
                <a:gd name="connsiteY81" fmla="*/ 9216 h 10000"/>
                <a:gd name="connsiteX82" fmla="*/ 3411 w 10000"/>
                <a:gd name="connsiteY82" fmla="*/ 9157 h 10000"/>
                <a:gd name="connsiteX83" fmla="*/ 2868 w 10000"/>
                <a:gd name="connsiteY83" fmla="*/ 9569 h 10000"/>
                <a:gd name="connsiteX84" fmla="*/ 2733 w 10000"/>
                <a:gd name="connsiteY84" fmla="*/ 9510 h 10000"/>
                <a:gd name="connsiteX85" fmla="*/ 2578 w 10000"/>
                <a:gd name="connsiteY85" fmla="*/ 9412 h 10000"/>
                <a:gd name="connsiteX86" fmla="*/ 2597 w 10000"/>
                <a:gd name="connsiteY86" fmla="*/ 8745 h 10000"/>
                <a:gd name="connsiteX87" fmla="*/ 2403 w 10000"/>
                <a:gd name="connsiteY87" fmla="*/ 8608 h 10000"/>
                <a:gd name="connsiteX88" fmla="*/ 2306 w 10000"/>
                <a:gd name="connsiteY88" fmla="*/ 8529 h 10000"/>
                <a:gd name="connsiteX89" fmla="*/ 2209 w 10000"/>
                <a:gd name="connsiteY89" fmla="*/ 8471 h 10000"/>
                <a:gd name="connsiteX90" fmla="*/ 1570 w 10000"/>
                <a:gd name="connsiteY90" fmla="*/ 8686 h 10000"/>
                <a:gd name="connsiteX91" fmla="*/ 1453 w 10000"/>
                <a:gd name="connsiteY91" fmla="*/ 8569 h 10000"/>
                <a:gd name="connsiteX92" fmla="*/ 1337 w 10000"/>
                <a:gd name="connsiteY92" fmla="*/ 8451 h 10000"/>
                <a:gd name="connsiteX93" fmla="*/ 1550 w 10000"/>
                <a:gd name="connsiteY93" fmla="*/ 7804 h 10000"/>
                <a:gd name="connsiteX94" fmla="*/ 1415 w 10000"/>
                <a:gd name="connsiteY94" fmla="*/ 7627 h 10000"/>
                <a:gd name="connsiteX95" fmla="*/ 1279 w 10000"/>
                <a:gd name="connsiteY95" fmla="*/ 7412 h 10000"/>
                <a:gd name="connsiteX96" fmla="*/ 601 w 10000"/>
                <a:gd name="connsiteY96" fmla="*/ 7431 h 10000"/>
                <a:gd name="connsiteX97" fmla="*/ 523 w 10000"/>
                <a:gd name="connsiteY97" fmla="*/ 7294 h 10000"/>
                <a:gd name="connsiteX98" fmla="*/ 446 w 10000"/>
                <a:gd name="connsiteY98" fmla="*/ 7157 h 10000"/>
                <a:gd name="connsiteX99" fmla="*/ 853 w 10000"/>
                <a:gd name="connsiteY99" fmla="*/ 6608 h 10000"/>
                <a:gd name="connsiteX100" fmla="*/ 775 w 10000"/>
                <a:gd name="connsiteY100" fmla="*/ 6392 h 10000"/>
                <a:gd name="connsiteX101" fmla="*/ 756 w 10000"/>
                <a:gd name="connsiteY101" fmla="*/ 6275 h 10000"/>
                <a:gd name="connsiteX102" fmla="*/ 717 w 10000"/>
                <a:gd name="connsiteY102" fmla="*/ 6157 h 10000"/>
                <a:gd name="connsiteX103" fmla="*/ 58 w 10000"/>
                <a:gd name="connsiteY103" fmla="*/ 5941 h 10000"/>
                <a:gd name="connsiteX104" fmla="*/ 0 w 10000"/>
                <a:gd name="connsiteY104" fmla="*/ 5627 h 10000"/>
                <a:gd name="connsiteX105" fmla="*/ 581 w 10000"/>
                <a:gd name="connsiteY105" fmla="*/ 5235 h 10000"/>
                <a:gd name="connsiteX106" fmla="*/ 562 w 10000"/>
                <a:gd name="connsiteY106" fmla="*/ 5000 h 10000"/>
                <a:gd name="connsiteX107" fmla="*/ 581 w 10000"/>
                <a:gd name="connsiteY107" fmla="*/ 4765 h 10000"/>
                <a:gd name="connsiteX108" fmla="*/ 0 w 10000"/>
                <a:gd name="connsiteY108" fmla="*/ 4392 h 10000"/>
                <a:gd name="connsiteX109" fmla="*/ 19 w 10000"/>
                <a:gd name="connsiteY109" fmla="*/ 4216 h 10000"/>
                <a:gd name="connsiteX110" fmla="*/ 58 w 10000"/>
                <a:gd name="connsiteY110" fmla="*/ 4059 h 10000"/>
                <a:gd name="connsiteX111" fmla="*/ 717 w 10000"/>
                <a:gd name="connsiteY111" fmla="*/ 3863 h 10000"/>
                <a:gd name="connsiteX112" fmla="*/ 775 w 10000"/>
                <a:gd name="connsiteY112" fmla="*/ 3627 h 10000"/>
                <a:gd name="connsiteX113" fmla="*/ 814 w 10000"/>
                <a:gd name="connsiteY113" fmla="*/ 3510 h 10000"/>
                <a:gd name="connsiteX114" fmla="*/ 853 w 10000"/>
                <a:gd name="connsiteY114" fmla="*/ 3392 h 10000"/>
                <a:gd name="connsiteX115" fmla="*/ 446 w 10000"/>
                <a:gd name="connsiteY115" fmla="*/ 2863 h 10000"/>
                <a:gd name="connsiteX116" fmla="*/ 523 w 10000"/>
                <a:gd name="connsiteY116" fmla="*/ 2706 h 10000"/>
                <a:gd name="connsiteX117" fmla="*/ 601 w 10000"/>
                <a:gd name="connsiteY117" fmla="*/ 2588 h 10000"/>
                <a:gd name="connsiteX118" fmla="*/ 1279 w 10000"/>
                <a:gd name="connsiteY118" fmla="*/ 2588 h 10000"/>
                <a:gd name="connsiteX0" fmla="*/ 2578 w 10000"/>
                <a:gd name="connsiteY0" fmla="*/ 588 h 10000"/>
                <a:gd name="connsiteX1" fmla="*/ 2868 w 10000"/>
                <a:gd name="connsiteY1" fmla="*/ 451 h 10000"/>
                <a:gd name="connsiteX2" fmla="*/ 3411 w 10000"/>
                <a:gd name="connsiteY2" fmla="*/ 843 h 10000"/>
                <a:gd name="connsiteX3" fmla="*/ 3624 w 10000"/>
                <a:gd name="connsiteY3" fmla="*/ 765 h 10000"/>
                <a:gd name="connsiteX4" fmla="*/ 3740 w 10000"/>
                <a:gd name="connsiteY4" fmla="*/ 725 h 10000"/>
                <a:gd name="connsiteX5" fmla="*/ 3857 w 10000"/>
                <a:gd name="connsiteY5" fmla="*/ 706 h 10000"/>
                <a:gd name="connsiteX6" fmla="*/ 4070 w 10000"/>
                <a:gd name="connsiteY6" fmla="*/ 59 h 10000"/>
                <a:gd name="connsiteX7" fmla="*/ 4380 w 10000"/>
                <a:gd name="connsiteY7" fmla="*/ 0 h 10000"/>
                <a:gd name="connsiteX8" fmla="*/ 4767 w 10000"/>
                <a:gd name="connsiteY8" fmla="*/ 569 h 10000"/>
                <a:gd name="connsiteX9" fmla="*/ 5019 w 10000"/>
                <a:gd name="connsiteY9" fmla="*/ 549 h 10000"/>
                <a:gd name="connsiteX10" fmla="*/ 5252 w 10000"/>
                <a:gd name="connsiteY10" fmla="*/ 569 h 10000"/>
                <a:gd name="connsiteX11" fmla="*/ 5640 w 10000"/>
                <a:gd name="connsiteY11" fmla="*/ 0 h 10000"/>
                <a:gd name="connsiteX12" fmla="*/ 5795 w 10000"/>
                <a:gd name="connsiteY12" fmla="*/ 20 h 10000"/>
                <a:gd name="connsiteX13" fmla="*/ 5950 w 10000"/>
                <a:gd name="connsiteY13" fmla="*/ 59 h 10000"/>
                <a:gd name="connsiteX14" fmla="*/ 6163 w 10000"/>
                <a:gd name="connsiteY14" fmla="*/ 706 h 10000"/>
                <a:gd name="connsiteX15" fmla="*/ 6395 w 10000"/>
                <a:gd name="connsiteY15" fmla="*/ 765 h 10000"/>
                <a:gd name="connsiteX16" fmla="*/ 6492 w 10000"/>
                <a:gd name="connsiteY16" fmla="*/ 804 h 10000"/>
                <a:gd name="connsiteX17" fmla="*/ 6609 w 10000"/>
                <a:gd name="connsiteY17" fmla="*/ 843 h 10000"/>
                <a:gd name="connsiteX18" fmla="*/ 7151 w 10000"/>
                <a:gd name="connsiteY18" fmla="*/ 451 h 10000"/>
                <a:gd name="connsiteX19" fmla="*/ 7287 w 10000"/>
                <a:gd name="connsiteY19" fmla="*/ 510 h 10000"/>
                <a:gd name="connsiteX20" fmla="*/ 7442 w 10000"/>
                <a:gd name="connsiteY20" fmla="*/ 588 h 10000"/>
                <a:gd name="connsiteX21" fmla="*/ 7442 w 10000"/>
                <a:gd name="connsiteY21" fmla="*/ 1275 h 10000"/>
                <a:gd name="connsiteX22" fmla="*/ 7616 w 10000"/>
                <a:gd name="connsiteY22" fmla="*/ 1412 h 10000"/>
                <a:gd name="connsiteX23" fmla="*/ 7713 w 10000"/>
                <a:gd name="connsiteY23" fmla="*/ 1471 h 10000"/>
                <a:gd name="connsiteX24" fmla="*/ 7810 w 10000"/>
                <a:gd name="connsiteY24" fmla="*/ 1549 h 10000"/>
                <a:gd name="connsiteX25" fmla="*/ 8450 w 10000"/>
                <a:gd name="connsiteY25" fmla="*/ 1333 h 10000"/>
                <a:gd name="connsiteX26" fmla="*/ 8566 w 10000"/>
                <a:gd name="connsiteY26" fmla="*/ 1451 h 10000"/>
                <a:gd name="connsiteX27" fmla="*/ 8682 w 10000"/>
                <a:gd name="connsiteY27" fmla="*/ 1569 h 10000"/>
                <a:gd name="connsiteX28" fmla="*/ 8469 w 10000"/>
                <a:gd name="connsiteY28" fmla="*/ 2216 h 10000"/>
                <a:gd name="connsiteX29" fmla="*/ 8605 w 10000"/>
                <a:gd name="connsiteY29" fmla="*/ 2392 h 10000"/>
                <a:gd name="connsiteX30" fmla="*/ 8740 w 10000"/>
                <a:gd name="connsiteY30" fmla="*/ 2588 h 10000"/>
                <a:gd name="connsiteX31" fmla="*/ 9419 w 10000"/>
                <a:gd name="connsiteY31" fmla="*/ 2588 h 10000"/>
                <a:gd name="connsiteX32" fmla="*/ 9496 w 10000"/>
                <a:gd name="connsiteY32" fmla="*/ 2706 h 10000"/>
                <a:gd name="connsiteX33" fmla="*/ 9574 w 10000"/>
                <a:gd name="connsiteY33" fmla="*/ 2863 h 10000"/>
                <a:gd name="connsiteX34" fmla="*/ 9167 w 10000"/>
                <a:gd name="connsiteY34" fmla="*/ 3392 h 10000"/>
                <a:gd name="connsiteX35" fmla="*/ 9244 w 10000"/>
                <a:gd name="connsiteY35" fmla="*/ 3627 h 10000"/>
                <a:gd name="connsiteX36" fmla="*/ 9283 w 10000"/>
                <a:gd name="connsiteY36" fmla="*/ 3745 h 10000"/>
                <a:gd name="connsiteX37" fmla="*/ 9302 w 10000"/>
                <a:gd name="connsiteY37" fmla="*/ 3863 h 10000"/>
                <a:gd name="connsiteX38" fmla="*/ 9961 w 10000"/>
                <a:gd name="connsiteY38" fmla="*/ 4059 h 10000"/>
                <a:gd name="connsiteX39" fmla="*/ 10000 w 10000"/>
                <a:gd name="connsiteY39" fmla="*/ 4392 h 10000"/>
                <a:gd name="connsiteX40" fmla="*/ 9438 w 10000"/>
                <a:gd name="connsiteY40" fmla="*/ 4765 h 10000"/>
                <a:gd name="connsiteX41" fmla="*/ 9457 w 10000"/>
                <a:gd name="connsiteY41" fmla="*/ 5000 h 10000"/>
                <a:gd name="connsiteX42" fmla="*/ 9438 w 10000"/>
                <a:gd name="connsiteY42" fmla="*/ 5235 h 10000"/>
                <a:gd name="connsiteX43" fmla="*/ 10000 w 10000"/>
                <a:gd name="connsiteY43" fmla="*/ 5627 h 10000"/>
                <a:gd name="connsiteX44" fmla="*/ 9981 w 10000"/>
                <a:gd name="connsiteY44" fmla="*/ 5784 h 10000"/>
                <a:gd name="connsiteX45" fmla="*/ 9961 w 10000"/>
                <a:gd name="connsiteY45" fmla="*/ 5941 h 10000"/>
                <a:gd name="connsiteX46" fmla="*/ 9302 w 10000"/>
                <a:gd name="connsiteY46" fmla="*/ 6157 h 10000"/>
                <a:gd name="connsiteX47" fmla="*/ 9244 w 10000"/>
                <a:gd name="connsiteY47" fmla="*/ 6392 h 10000"/>
                <a:gd name="connsiteX48" fmla="*/ 9205 w 10000"/>
                <a:gd name="connsiteY48" fmla="*/ 6490 h 10000"/>
                <a:gd name="connsiteX49" fmla="*/ 9167 w 10000"/>
                <a:gd name="connsiteY49" fmla="*/ 6608 h 10000"/>
                <a:gd name="connsiteX50" fmla="*/ 9574 w 10000"/>
                <a:gd name="connsiteY50" fmla="*/ 7157 h 10000"/>
                <a:gd name="connsiteX51" fmla="*/ 9496 w 10000"/>
                <a:gd name="connsiteY51" fmla="*/ 7294 h 10000"/>
                <a:gd name="connsiteX52" fmla="*/ 9419 w 10000"/>
                <a:gd name="connsiteY52" fmla="*/ 7431 h 10000"/>
                <a:gd name="connsiteX53" fmla="*/ 8740 w 10000"/>
                <a:gd name="connsiteY53" fmla="*/ 7412 h 10000"/>
                <a:gd name="connsiteX54" fmla="*/ 8605 w 10000"/>
                <a:gd name="connsiteY54" fmla="*/ 7627 h 10000"/>
                <a:gd name="connsiteX55" fmla="*/ 8547 w 10000"/>
                <a:gd name="connsiteY55" fmla="*/ 7706 h 10000"/>
                <a:gd name="connsiteX56" fmla="*/ 8469 w 10000"/>
                <a:gd name="connsiteY56" fmla="*/ 7804 h 10000"/>
                <a:gd name="connsiteX57" fmla="*/ 8682 w 10000"/>
                <a:gd name="connsiteY57" fmla="*/ 8451 h 10000"/>
                <a:gd name="connsiteX58" fmla="*/ 8566 w 10000"/>
                <a:gd name="connsiteY58" fmla="*/ 8569 h 10000"/>
                <a:gd name="connsiteX59" fmla="*/ 8450 w 10000"/>
                <a:gd name="connsiteY59" fmla="*/ 8686 h 10000"/>
                <a:gd name="connsiteX60" fmla="*/ 7810 w 10000"/>
                <a:gd name="connsiteY60" fmla="*/ 8471 h 10000"/>
                <a:gd name="connsiteX61" fmla="*/ 7616 w 10000"/>
                <a:gd name="connsiteY61" fmla="*/ 8608 h 10000"/>
                <a:gd name="connsiteX62" fmla="*/ 7442 w 10000"/>
                <a:gd name="connsiteY62" fmla="*/ 8745 h 10000"/>
                <a:gd name="connsiteX63" fmla="*/ 7442 w 10000"/>
                <a:gd name="connsiteY63" fmla="*/ 9412 h 10000"/>
                <a:gd name="connsiteX64" fmla="*/ 7287 w 10000"/>
                <a:gd name="connsiteY64" fmla="*/ 9510 h 10000"/>
                <a:gd name="connsiteX65" fmla="*/ 7151 w 10000"/>
                <a:gd name="connsiteY65" fmla="*/ 9569 h 10000"/>
                <a:gd name="connsiteX66" fmla="*/ 6609 w 10000"/>
                <a:gd name="connsiteY66" fmla="*/ 9157 h 10000"/>
                <a:gd name="connsiteX67" fmla="*/ 6395 w 10000"/>
                <a:gd name="connsiteY67" fmla="*/ 9235 h 10000"/>
                <a:gd name="connsiteX68" fmla="*/ 6279 w 10000"/>
                <a:gd name="connsiteY68" fmla="*/ 9275 h 10000"/>
                <a:gd name="connsiteX69" fmla="*/ 6163 w 10000"/>
                <a:gd name="connsiteY69" fmla="*/ 9314 h 10000"/>
                <a:gd name="connsiteX70" fmla="*/ 5950 w 10000"/>
                <a:gd name="connsiteY70" fmla="*/ 9961 h 10000"/>
                <a:gd name="connsiteX71" fmla="*/ 5640 w 10000"/>
                <a:gd name="connsiteY71" fmla="*/ 10000 h 10000"/>
                <a:gd name="connsiteX72" fmla="*/ 5252 w 10000"/>
                <a:gd name="connsiteY72" fmla="*/ 9451 h 10000"/>
                <a:gd name="connsiteX73" fmla="*/ 5019 w 10000"/>
                <a:gd name="connsiteY73" fmla="*/ 9451 h 10000"/>
                <a:gd name="connsiteX74" fmla="*/ 4767 w 10000"/>
                <a:gd name="connsiteY74" fmla="*/ 9451 h 10000"/>
                <a:gd name="connsiteX75" fmla="*/ 4380 w 10000"/>
                <a:gd name="connsiteY75" fmla="*/ 10000 h 10000"/>
                <a:gd name="connsiteX76" fmla="*/ 4225 w 10000"/>
                <a:gd name="connsiteY76" fmla="*/ 9980 h 10000"/>
                <a:gd name="connsiteX77" fmla="*/ 4070 w 10000"/>
                <a:gd name="connsiteY77" fmla="*/ 9961 h 10000"/>
                <a:gd name="connsiteX78" fmla="*/ 3857 w 10000"/>
                <a:gd name="connsiteY78" fmla="*/ 9314 h 10000"/>
                <a:gd name="connsiteX79" fmla="*/ 3624 w 10000"/>
                <a:gd name="connsiteY79" fmla="*/ 9235 h 10000"/>
                <a:gd name="connsiteX80" fmla="*/ 3508 w 10000"/>
                <a:gd name="connsiteY80" fmla="*/ 9216 h 10000"/>
                <a:gd name="connsiteX81" fmla="*/ 3411 w 10000"/>
                <a:gd name="connsiteY81" fmla="*/ 9157 h 10000"/>
                <a:gd name="connsiteX82" fmla="*/ 2868 w 10000"/>
                <a:gd name="connsiteY82" fmla="*/ 9569 h 10000"/>
                <a:gd name="connsiteX83" fmla="*/ 2733 w 10000"/>
                <a:gd name="connsiteY83" fmla="*/ 9510 h 10000"/>
                <a:gd name="connsiteX84" fmla="*/ 2578 w 10000"/>
                <a:gd name="connsiteY84" fmla="*/ 9412 h 10000"/>
                <a:gd name="connsiteX85" fmla="*/ 2597 w 10000"/>
                <a:gd name="connsiteY85" fmla="*/ 8745 h 10000"/>
                <a:gd name="connsiteX86" fmla="*/ 2403 w 10000"/>
                <a:gd name="connsiteY86" fmla="*/ 8608 h 10000"/>
                <a:gd name="connsiteX87" fmla="*/ 2306 w 10000"/>
                <a:gd name="connsiteY87" fmla="*/ 8529 h 10000"/>
                <a:gd name="connsiteX88" fmla="*/ 2209 w 10000"/>
                <a:gd name="connsiteY88" fmla="*/ 8471 h 10000"/>
                <a:gd name="connsiteX89" fmla="*/ 1570 w 10000"/>
                <a:gd name="connsiteY89" fmla="*/ 8686 h 10000"/>
                <a:gd name="connsiteX90" fmla="*/ 1453 w 10000"/>
                <a:gd name="connsiteY90" fmla="*/ 8569 h 10000"/>
                <a:gd name="connsiteX91" fmla="*/ 1337 w 10000"/>
                <a:gd name="connsiteY91" fmla="*/ 8451 h 10000"/>
                <a:gd name="connsiteX92" fmla="*/ 1550 w 10000"/>
                <a:gd name="connsiteY92" fmla="*/ 7804 h 10000"/>
                <a:gd name="connsiteX93" fmla="*/ 1415 w 10000"/>
                <a:gd name="connsiteY93" fmla="*/ 7627 h 10000"/>
                <a:gd name="connsiteX94" fmla="*/ 1279 w 10000"/>
                <a:gd name="connsiteY94" fmla="*/ 7412 h 10000"/>
                <a:gd name="connsiteX95" fmla="*/ 601 w 10000"/>
                <a:gd name="connsiteY95" fmla="*/ 7431 h 10000"/>
                <a:gd name="connsiteX96" fmla="*/ 523 w 10000"/>
                <a:gd name="connsiteY96" fmla="*/ 7294 h 10000"/>
                <a:gd name="connsiteX97" fmla="*/ 446 w 10000"/>
                <a:gd name="connsiteY97" fmla="*/ 7157 h 10000"/>
                <a:gd name="connsiteX98" fmla="*/ 853 w 10000"/>
                <a:gd name="connsiteY98" fmla="*/ 6608 h 10000"/>
                <a:gd name="connsiteX99" fmla="*/ 775 w 10000"/>
                <a:gd name="connsiteY99" fmla="*/ 6392 h 10000"/>
                <a:gd name="connsiteX100" fmla="*/ 756 w 10000"/>
                <a:gd name="connsiteY100" fmla="*/ 6275 h 10000"/>
                <a:gd name="connsiteX101" fmla="*/ 717 w 10000"/>
                <a:gd name="connsiteY101" fmla="*/ 6157 h 10000"/>
                <a:gd name="connsiteX102" fmla="*/ 58 w 10000"/>
                <a:gd name="connsiteY102" fmla="*/ 5941 h 10000"/>
                <a:gd name="connsiteX103" fmla="*/ 0 w 10000"/>
                <a:gd name="connsiteY103" fmla="*/ 5627 h 10000"/>
                <a:gd name="connsiteX104" fmla="*/ 581 w 10000"/>
                <a:gd name="connsiteY104" fmla="*/ 5235 h 10000"/>
                <a:gd name="connsiteX105" fmla="*/ 562 w 10000"/>
                <a:gd name="connsiteY105" fmla="*/ 5000 h 10000"/>
                <a:gd name="connsiteX106" fmla="*/ 581 w 10000"/>
                <a:gd name="connsiteY106" fmla="*/ 4765 h 10000"/>
                <a:gd name="connsiteX107" fmla="*/ 0 w 10000"/>
                <a:gd name="connsiteY107" fmla="*/ 4392 h 10000"/>
                <a:gd name="connsiteX108" fmla="*/ 19 w 10000"/>
                <a:gd name="connsiteY108" fmla="*/ 4216 h 10000"/>
                <a:gd name="connsiteX109" fmla="*/ 58 w 10000"/>
                <a:gd name="connsiteY109" fmla="*/ 4059 h 10000"/>
                <a:gd name="connsiteX110" fmla="*/ 717 w 10000"/>
                <a:gd name="connsiteY110" fmla="*/ 3863 h 10000"/>
                <a:gd name="connsiteX111" fmla="*/ 775 w 10000"/>
                <a:gd name="connsiteY111" fmla="*/ 3627 h 10000"/>
                <a:gd name="connsiteX112" fmla="*/ 814 w 10000"/>
                <a:gd name="connsiteY112" fmla="*/ 3510 h 10000"/>
                <a:gd name="connsiteX113" fmla="*/ 853 w 10000"/>
                <a:gd name="connsiteY113" fmla="*/ 3392 h 10000"/>
                <a:gd name="connsiteX114" fmla="*/ 446 w 10000"/>
                <a:gd name="connsiteY114" fmla="*/ 2863 h 10000"/>
                <a:gd name="connsiteX115" fmla="*/ 523 w 10000"/>
                <a:gd name="connsiteY115" fmla="*/ 2706 h 10000"/>
                <a:gd name="connsiteX116" fmla="*/ 601 w 10000"/>
                <a:gd name="connsiteY116" fmla="*/ 2588 h 10000"/>
                <a:gd name="connsiteX117" fmla="*/ 1279 w 10000"/>
                <a:gd name="connsiteY117" fmla="*/ 2588 h 10000"/>
                <a:gd name="connsiteX0" fmla="*/ 2578 w 10000"/>
                <a:gd name="connsiteY0" fmla="*/ 588 h 10000"/>
                <a:gd name="connsiteX1" fmla="*/ 3411 w 10000"/>
                <a:gd name="connsiteY1" fmla="*/ 843 h 10000"/>
                <a:gd name="connsiteX2" fmla="*/ 3624 w 10000"/>
                <a:gd name="connsiteY2" fmla="*/ 765 h 10000"/>
                <a:gd name="connsiteX3" fmla="*/ 3740 w 10000"/>
                <a:gd name="connsiteY3" fmla="*/ 725 h 10000"/>
                <a:gd name="connsiteX4" fmla="*/ 3857 w 10000"/>
                <a:gd name="connsiteY4" fmla="*/ 706 h 10000"/>
                <a:gd name="connsiteX5" fmla="*/ 4070 w 10000"/>
                <a:gd name="connsiteY5" fmla="*/ 59 h 10000"/>
                <a:gd name="connsiteX6" fmla="*/ 4380 w 10000"/>
                <a:gd name="connsiteY6" fmla="*/ 0 h 10000"/>
                <a:gd name="connsiteX7" fmla="*/ 4767 w 10000"/>
                <a:gd name="connsiteY7" fmla="*/ 569 h 10000"/>
                <a:gd name="connsiteX8" fmla="*/ 5019 w 10000"/>
                <a:gd name="connsiteY8" fmla="*/ 549 h 10000"/>
                <a:gd name="connsiteX9" fmla="*/ 5252 w 10000"/>
                <a:gd name="connsiteY9" fmla="*/ 569 h 10000"/>
                <a:gd name="connsiteX10" fmla="*/ 5640 w 10000"/>
                <a:gd name="connsiteY10" fmla="*/ 0 h 10000"/>
                <a:gd name="connsiteX11" fmla="*/ 5795 w 10000"/>
                <a:gd name="connsiteY11" fmla="*/ 20 h 10000"/>
                <a:gd name="connsiteX12" fmla="*/ 5950 w 10000"/>
                <a:gd name="connsiteY12" fmla="*/ 59 h 10000"/>
                <a:gd name="connsiteX13" fmla="*/ 6163 w 10000"/>
                <a:gd name="connsiteY13" fmla="*/ 706 h 10000"/>
                <a:gd name="connsiteX14" fmla="*/ 6395 w 10000"/>
                <a:gd name="connsiteY14" fmla="*/ 765 h 10000"/>
                <a:gd name="connsiteX15" fmla="*/ 6492 w 10000"/>
                <a:gd name="connsiteY15" fmla="*/ 804 h 10000"/>
                <a:gd name="connsiteX16" fmla="*/ 6609 w 10000"/>
                <a:gd name="connsiteY16" fmla="*/ 843 h 10000"/>
                <a:gd name="connsiteX17" fmla="*/ 7151 w 10000"/>
                <a:gd name="connsiteY17" fmla="*/ 451 h 10000"/>
                <a:gd name="connsiteX18" fmla="*/ 7287 w 10000"/>
                <a:gd name="connsiteY18" fmla="*/ 510 h 10000"/>
                <a:gd name="connsiteX19" fmla="*/ 7442 w 10000"/>
                <a:gd name="connsiteY19" fmla="*/ 588 h 10000"/>
                <a:gd name="connsiteX20" fmla="*/ 7442 w 10000"/>
                <a:gd name="connsiteY20" fmla="*/ 1275 h 10000"/>
                <a:gd name="connsiteX21" fmla="*/ 7616 w 10000"/>
                <a:gd name="connsiteY21" fmla="*/ 1412 h 10000"/>
                <a:gd name="connsiteX22" fmla="*/ 7713 w 10000"/>
                <a:gd name="connsiteY22" fmla="*/ 1471 h 10000"/>
                <a:gd name="connsiteX23" fmla="*/ 7810 w 10000"/>
                <a:gd name="connsiteY23" fmla="*/ 1549 h 10000"/>
                <a:gd name="connsiteX24" fmla="*/ 8450 w 10000"/>
                <a:gd name="connsiteY24" fmla="*/ 1333 h 10000"/>
                <a:gd name="connsiteX25" fmla="*/ 8566 w 10000"/>
                <a:gd name="connsiteY25" fmla="*/ 1451 h 10000"/>
                <a:gd name="connsiteX26" fmla="*/ 8682 w 10000"/>
                <a:gd name="connsiteY26" fmla="*/ 1569 h 10000"/>
                <a:gd name="connsiteX27" fmla="*/ 8469 w 10000"/>
                <a:gd name="connsiteY27" fmla="*/ 2216 h 10000"/>
                <a:gd name="connsiteX28" fmla="*/ 8605 w 10000"/>
                <a:gd name="connsiteY28" fmla="*/ 2392 h 10000"/>
                <a:gd name="connsiteX29" fmla="*/ 8740 w 10000"/>
                <a:gd name="connsiteY29" fmla="*/ 2588 h 10000"/>
                <a:gd name="connsiteX30" fmla="*/ 9419 w 10000"/>
                <a:gd name="connsiteY30" fmla="*/ 2588 h 10000"/>
                <a:gd name="connsiteX31" fmla="*/ 9496 w 10000"/>
                <a:gd name="connsiteY31" fmla="*/ 2706 h 10000"/>
                <a:gd name="connsiteX32" fmla="*/ 9574 w 10000"/>
                <a:gd name="connsiteY32" fmla="*/ 2863 h 10000"/>
                <a:gd name="connsiteX33" fmla="*/ 9167 w 10000"/>
                <a:gd name="connsiteY33" fmla="*/ 3392 h 10000"/>
                <a:gd name="connsiteX34" fmla="*/ 9244 w 10000"/>
                <a:gd name="connsiteY34" fmla="*/ 3627 h 10000"/>
                <a:gd name="connsiteX35" fmla="*/ 9283 w 10000"/>
                <a:gd name="connsiteY35" fmla="*/ 3745 h 10000"/>
                <a:gd name="connsiteX36" fmla="*/ 9302 w 10000"/>
                <a:gd name="connsiteY36" fmla="*/ 3863 h 10000"/>
                <a:gd name="connsiteX37" fmla="*/ 9961 w 10000"/>
                <a:gd name="connsiteY37" fmla="*/ 4059 h 10000"/>
                <a:gd name="connsiteX38" fmla="*/ 10000 w 10000"/>
                <a:gd name="connsiteY38" fmla="*/ 4392 h 10000"/>
                <a:gd name="connsiteX39" fmla="*/ 9438 w 10000"/>
                <a:gd name="connsiteY39" fmla="*/ 4765 h 10000"/>
                <a:gd name="connsiteX40" fmla="*/ 9457 w 10000"/>
                <a:gd name="connsiteY40" fmla="*/ 5000 h 10000"/>
                <a:gd name="connsiteX41" fmla="*/ 9438 w 10000"/>
                <a:gd name="connsiteY41" fmla="*/ 5235 h 10000"/>
                <a:gd name="connsiteX42" fmla="*/ 10000 w 10000"/>
                <a:gd name="connsiteY42" fmla="*/ 5627 h 10000"/>
                <a:gd name="connsiteX43" fmla="*/ 9981 w 10000"/>
                <a:gd name="connsiteY43" fmla="*/ 5784 h 10000"/>
                <a:gd name="connsiteX44" fmla="*/ 9961 w 10000"/>
                <a:gd name="connsiteY44" fmla="*/ 5941 h 10000"/>
                <a:gd name="connsiteX45" fmla="*/ 9302 w 10000"/>
                <a:gd name="connsiteY45" fmla="*/ 6157 h 10000"/>
                <a:gd name="connsiteX46" fmla="*/ 9244 w 10000"/>
                <a:gd name="connsiteY46" fmla="*/ 6392 h 10000"/>
                <a:gd name="connsiteX47" fmla="*/ 9205 w 10000"/>
                <a:gd name="connsiteY47" fmla="*/ 6490 h 10000"/>
                <a:gd name="connsiteX48" fmla="*/ 9167 w 10000"/>
                <a:gd name="connsiteY48" fmla="*/ 6608 h 10000"/>
                <a:gd name="connsiteX49" fmla="*/ 9574 w 10000"/>
                <a:gd name="connsiteY49" fmla="*/ 7157 h 10000"/>
                <a:gd name="connsiteX50" fmla="*/ 9496 w 10000"/>
                <a:gd name="connsiteY50" fmla="*/ 7294 h 10000"/>
                <a:gd name="connsiteX51" fmla="*/ 9419 w 10000"/>
                <a:gd name="connsiteY51" fmla="*/ 7431 h 10000"/>
                <a:gd name="connsiteX52" fmla="*/ 8740 w 10000"/>
                <a:gd name="connsiteY52" fmla="*/ 7412 h 10000"/>
                <a:gd name="connsiteX53" fmla="*/ 8605 w 10000"/>
                <a:gd name="connsiteY53" fmla="*/ 7627 h 10000"/>
                <a:gd name="connsiteX54" fmla="*/ 8547 w 10000"/>
                <a:gd name="connsiteY54" fmla="*/ 7706 h 10000"/>
                <a:gd name="connsiteX55" fmla="*/ 8469 w 10000"/>
                <a:gd name="connsiteY55" fmla="*/ 7804 h 10000"/>
                <a:gd name="connsiteX56" fmla="*/ 8682 w 10000"/>
                <a:gd name="connsiteY56" fmla="*/ 8451 h 10000"/>
                <a:gd name="connsiteX57" fmla="*/ 8566 w 10000"/>
                <a:gd name="connsiteY57" fmla="*/ 8569 h 10000"/>
                <a:gd name="connsiteX58" fmla="*/ 8450 w 10000"/>
                <a:gd name="connsiteY58" fmla="*/ 8686 h 10000"/>
                <a:gd name="connsiteX59" fmla="*/ 7810 w 10000"/>
                <a:gd name="connsiteY59" fmla="*/ 8471 h 10000"/>
                <a:gd name="connsiteX60" fmla="*/ 7616 w 10000"/>
                <a:gd name="connsiteY60" fmla="*/ 8608 h 10000"/>
                <a:gd name="connsiteX61" fmla="*/ 7442 w 10000"/>
                <a:gd name="connsiteY61" fmla="*/ 8745 h 10000"/>
                <a:gd name="connsiteX62" fmla="*/ 7442 w 10000"/>
                <a:gd name="connsiteY62" fmla="*/ 9412 h 10000"/>
                <a:gd name="connsiteX63" fmla="*/ 7287 w 10000"/>
                <a:gd name="connsiteY63" fmla="*/ 9510 h 10000"/>
                <a:gd name="connsiteX64" fmla="*/ 7151 w 10000"/>
                <a:gd name="connsiteY64" fmla="*/ 9569 h 10000"/>
                <a:gd name="connsiteX65" fmla="*/ 6609 w 10000"/>
                <a:gd name="connsiteY65" fmla="*/ 9157 h 10000"/>
                <a:gd name="connsiteX66" fmla="*/ 6395 w 10000"/>
                <a:gd name="connsiteY66" fmla="*/ 9235 h 10000"/>
                <a:gd name="connsiteX67" fmla="*/ 6279 w 10000"/>
                <a:gd name="connsiteY67" fmla="*/ 9275 h 10000"/>
                <a:gd name="connsiteX68" fmla="*/ 6163 w 10000"/>
                <a:gd name="connsiteY68" fmla="*/ 9314 h 10000"/>
                <a:gd name="connsiteX69" fmla="*/ 5950 w 10000"/>
                <a:gd name="connsiteY69" fmla="*/ 9961 h 10000"/>
                <a:gd name="connsiteX70" fmla="*/ 5640 w 10000"/>
                <a:gd name="connsiteY70" fmla="*/ 10000 h 10000"/>
                <a:gd name="connsiteX71" fmla="*/ 5252 w 10000"/>
                <a:gd name="connsiteY71" fmla="*/ 9451 h 10000"/>
                <a:gd name="connsiteX72" fmla="*/ 5019 w 10000"/>
                <a:gd name="connsiteY72" fmla="*/ 9451 h 10000"/>
                <a:gd name="connsiteX73" fmla="*/ 4767 w 10000"/>
                <a:gd name="connsiteY73" fmla="*/ 9451 h 10000"/>
                <a:gd name="connsiteX74" fmla="*/ 4380 w 10000"/>
                <a:gd name="connsiteY74" fmla="*/ 10000 h 10000"/>
                <a:gd name="connsiteX75" fmla="*/ 4225 w 10000"/>
                <a:gd name="connsiteY75" fmla="*/ 9980 h 10000"/>
                <a:gd name="connsiteX76" fmla="*/ 4070 w 10000"/>
                <a:gd name="connsiteY76" fmla="*/ 9961 h 10000"/>
                <a:gd name="connsiteX77" fmla="*/ 3857 w 10000"/>
                <a:gd name="connsiteY77" fmla="*/ 9314 h 10000"/>
                <a:gd name="connsiteX78" fmla="*/ 3624 w 10000"/>
                <a:gd name="connsiteY78" fmla="*/ 9235 h 10000"/>
                <a:gd name="connsiteX79" fmla="*/ 3508 w 10000"/>
                <a:gd name="connsiteY79" fmla="*/ 9216 h 10000"/>
                <a:gd name="connsiteX80" fmla="*/ 3411 w 10000"/>
                <a:gd name="connsiteY80" fmla="*/ 9157 h 10000"/>
                <a:gd name="connsiteX81" fmla="*/ 2868 w 10000"/>
                <a:gd name="connsiteY81" fmla="*/ 9569 h 10000"/>
                <a:gd name="connsiteX82" fmla="*/ 2733 w 10000"/>
                <a:gd name="connsiteY82" fmla="*/ 9510 h 10000"/>
                <a:gd name="connsiteX83" fmla="*/ 2578 w 10000"/>
                <a:gd name="connsiteY83" fmla="*/ 9412 h 10000"/>
                <a:gd name="connsiteX84" fmla="*/ 2597 w 10000"/>
                <a:gd name="connsiteY84" fmla="*/ 8745 h 10000"/>
                <a:gd name="connsiteX85" fmla="*/ 2403 w 10000"/>
                <a:gd name="connsiteY85" fmla="*/ 8608 h 10000"/>
                <a:gd name="connsiteX86" fmla="*/ 2306 w 10000"/>
                <a:gd name="connsiteY86" fmla="*/ 8529 h 10000"/>
                <a:gd name="connsiteX87" fmla="*/ 2209 w 10000"/>
                <a:gd name="connsiteY87" fmla="*/ 8471 h 10000"/>
                <a:gd name="connsiteX88" fmla="*/ 1570 w 10000"/>
                <a:gd name="connsiteY88" fmla="*/ 8686 h 10000"/>
                <a:gd name="connsiteX89" fmla="*/ 1453 w 10000"/>
                <a:gd name="connsiteY89" fmla="*/ 8569 h 10000"/>
                <a:gd name="connsiteX90" fmla="*/ 1337 w 10000"/>
                <a:gd name="connsiteY90" fmla="*/ 8451 h 10000"/>
                <a:gd name="connsiteX91" fmla="*/ 1550 w 10000"/>
                <a:gd name="connsiteY91" fmla="*/ 7804 h 10000"/>
                <a:gd name="connsiteX92" fmla="*/ 1415 w 10000"/>
                <a:gd name="connsiteY92" fmla="*/ 7627 h 10000"/>
                <a:gd name="connsiteX93" fmla="*/ 1279 w 10000"/>
                <a:gd name="connsiteY93" fmla="*/ 7412 h 10000"/>
                <a:gd name="connsiteX94" fmla="*/ 601 w 10000"/>
                <a:gd name="connsiteY94" fmla="*/ 7431 h 10000"/>
                <a:gd name="connsiteX95" fmla="*/ 523 w 10000"/>
                <a:gd name="connsiteY95" fmla="*/ 7294 h 10000"/>
                <a:gd name="connsiteX96" fmla="*/ 446 w 10000"/>
                <a:gd name="connsiteY96" fmla="*/ 7157 h 10000"/>
                <a:gd name="connsiteX97" fmla="*/ 853 w 10000"/>
                <a:gd name="connsiteY97" fmla="*/ 6608 h 10000"/>
                <a:gd name="connsiteX98" fmla="*/ 775 w 10000"/>
                <a:gd name="connsiteY98" fmla="*/ 6392 h 10000"/>
                <a:gd name="connsiteX99" fmla="*/ 756 w 10000"/>
                <a:gd name="connsiteY99" fmla="*/ 6275 h 10000"/>
                <a:gd name="connsiteX100" fmla="*/ 717 w 10000"/>
                <a:gd name="connsiteY100" fmla="*/ 6157 h 10000"/>
                <a:gd name="connsiteX101" fmla="*/ 58 w 10000"/>
                <a:gd name="connsiteY101" fmla="*/ 5941 h 10000"/>
                <a:gd name="connsiteX102" fmla="*/ 0 w 10000"/>
                <a:gd name="connsiteY102" fmla="*/ 5627 h 10000"/>
                <a:gd name="connsiteX103" fmla="*/ 581 w 10000"/>
                <a:gd name="connsiteY103" fmla="*/ 5235 h 10000"/>
                <a:gd name="connsiteX104" fmla="*/ 562 w 10000"/>
                <a:gd name="connsiteY104" fmla="*/ 5000 h 10000"/>
                <a:gd name="connsiteX105" fmla="*/ 581 w 10000"/>
                <a:gd name="connsiteY105" fmla="*/ 4765 h 10000"/>
                <a:gd name="connsiteX106" fmla="*/ 0 w 10000"/>
                <a:gd name="connsiteY106" fmla="*/ 4392 h 10000"/>
                <a:gd name="connsiteX107" fmla="*/ 19 w 10000"/>
                <a:gd name="connsiteY107" fmla="*/ 4216 h 10000"/>
                <a:gd name="connsiteX108" fmla="*/ 58 w 10000"/>
                <a:gd name="connsiteY108" fmla="*/ 4059 h 10000"/>
                <a:gd name="connsiteX109" fmla="*/ 717 w 10000"/>
                <a:gd name="connsiteY109" fmla="*/ 3863 h 10000"/>
                <a:gd name="connsiteX110" fmla="*/ 775 w 10000"/>
                <a:gd name="connsiteY110" fmla="*/ 3627 h 10000"/>
                <a:gd name="connsiteX111" fmla="*/ 814 w 10000"/>
                <a:gd name="connsiteY111" fmla="*/ 3510 h 10000"/>
                <a:gd name="connsiteX112" fmla="*/ 853 w 10000"/>
                <a:gd name="connsiteY112" fmla="*/ 3392 h 10000"/>
                <a:gd name="connsiteX113" fmla="*/ 446 w 10000"/>
                <a:gd name="connsiteY113" fmla="*/ 2863 h 10000"/>
                <a:gd name="connsiteX114" fmla="*/ 523 w 10000"/>
                <a:gd name="connsiteY114" fmla="*/ 2706 h 10000"/>
                <a:gd name="connsiteX115" fmla="*/ 601 w 10000"/>
                <a:gd name="connsiteY115" fmla="*/ 2588 h 10000"/>
                <a:gd name="connsiteX116" fmla="*/ 1279 w 10000"/>
                <a:gd name="connsiteY116" fmla="*/ 2588 h 10000"/>
                <a:gd name="connsiteX0" fmla="*/ 3411 w 10000"/>
                <a:gd name="connsiteY0" fmla="*/ 843 h 10000"/>
                <a:gd name="connsiteX1" fmla="*/ 3624 w 10000"/>
                <a:gd name="connsiteY1" fmla="*/ 765 h 10000"/>
                <a:gd name="connsiteX2" fmla="*/ 3740 w 10000"/>
                <a:gd name="connsiteY2" fmla="*/ 725 h 10000"/>
                <a:gd name="connsiteX3" fmla="*/ 3857 w 10000"/>
                <a:gd name="connsiteY3" fmla="*/ 706 h 10000"/>
                <a:gd name="connsiteX4" fmla="*/ 4070 w 10000"/>
                <a:gd name="connsiteY4" fmla="*/ 59 h 10000"/>
                <a:gd name="connsiteX5" fmla="*/ 4380 w 10000"/>
                <a:gd name="connsiteY5" fmla="*/ 0 h 10000"/>
                <a:gd name="connsiteX6" fmla="*/ 4767 w 10000"/>
                <a:gd name="connsiteY6" fmla="*/ 569 h 10000"/>
                <a:gd name="connsiteX7" fmla="*/ 5019 w 10000"/>
                <a:gd name="connsiteY7" fmla="*/ 549 h 10000"/>
                <a:gd name="connsiteX8" fmla="*/ 5252 w 10000"/>
                <a:gd name="connsiteY8" fmla="*/ 569 h 10000"/>
                <a:gd name="connsiteX9" fmla="*/ 5640 w 10000"/>
                <a:gd name="connsiteY9" fmla="*/ 0 h 10000"/>
                <a:gd name="connsiteX10" fmla="*/ 5795 w 10000"/>
                <a:gd name="connsiteY10" fmla="*/ 20 h 10000"/>
                <a:gd name="connsiteX11" fmla="*/ 5950 w 10000"/>
                <a:gd name="connsiteY11" fmla="*/ 59 h 10000"/>
                <a:gd name="connsiteX12" fmla="*/ 6163 w 10000"/>
                <a:gd name="connsiteY12" fmla="*/ 706 h 10000"/>
                <a:gd name="connsiteX13" fmla="*/ 6395 w 10000"/>
                <a:gd name="connsiteY13" fmla="*/ 765 h 10000"/>
                <a:gd name="connsiteX14" fmla="*/ 6492 w 10000"/>
                <a:gd name="connsiteY14" fmla="*/ 804 h 10000"/>
                <a:gd name="connsiteX15" fmla="*/ 6609 w 10000"/>
                <a:gd name="connsiteY15" fmla="*/ 843 h 10000"/>
                <a:gd name="connsiteX16" fmla="*/ 7151 w 10000"/>
                <a:gd name="connsiteY16" fmla="*/ 451 h 10000"/>
                <a:gd name="connsiteX17" fmla="*/ 7287 w 10000"/>
                <a:gd name="connsiteY17" fmla="*/ 510 h 10000"/>
                <a:gd name="connsiteX18" fmla="*/ 7442 w 10000"/>
                <a:gd name="connsiteY18" fmla="*/ 588 h 10000"/>
                <a:gd name="connsiteX19" fmla="*/ 7442 w 10000"/>
                <a:gd name="connsiteY19" fmla="*/ 1275 h 10000"/>
                <a:gd name="connsiteX20" fmla="*/ 7616 w 10000"/>
                <a:gd name="connsiteY20" fmla="*/ 1412 h 10000"/>
                <a:gd name="connsiteX21" fmla="*/ 7713 w 10000"/>
                <a:gd name="connsiteY21" fmla="*/ 1471 h 10000"/>
                <a:gd name="connsiteX22" fmla="*/ 7810 w 10000"/>
                <a:gd name="connsiteY22" fmla="*/ 1549 h 10000"/>
                <a:gd name="connsiteX23" fmla="*/ 8450 w 10000"/>
                <a:gd name="connsiteY23" fmla="*/ 1333 h 10000"/>
                <a:gd name="connsiteX24" fmla="*/ 8566 w 10000"/>
                <a:gd name="connsiteY24" fmla="*/ 1451 h 10000"/>
                <a:gd name="connsiteX25" fmla="*/ 8682 w 10000"/>
                <a:gd name="connsiteY25" fmla="*/ 1569 h 10000"/>
                <a:gd name="connsiteX26" fmla="*/ 8469 w 10000"/>
                <a:gd name="connsiteY26" fmla="*/ 2216 h 10000"/>
                <a:gd name="connsiteX27" fmla="*/ 8605 w 10000"/>
                <a:gd name="connsiteY27" fmla="*/ 2392 h 10000"/>
                <a:gd name="connsiteX28" fmla="*/ 8740 w 10000"/>
                <a:gd name="connsiteY28" fmla="*/ 2588 h 10000"/>
                <a:gd name="connsiteX29" fmla="*/ 9419 w 10000"/>
                <a:gd name="connsiteY29" fmla="*/ 2588 h 10000"/>
                <a:gd name="connsiteX30" fmla="*/ 9496 w 10000"/>
                <a:gd name="connsiteY30" fmla="*/ 2706 h 10000"/>
                <a:gd name="connsiteX31" fmla="*/ 9574 w 10000"/>
                <a:gd name="connsiteY31" fmla="*/ 2863 h 10000"/>
                <a:gd name="connsiteX32" fmla="*/ 9167 w 10000"/>
                <a:gd name="connsiteY32" fmla="*/ 3392 h 10000"/>
                <a:gd name="connsiteX33" fmla="*/ 9244 w 10000"/>
                <a:gd name="connsiteY33" fmla="*/ 3627 h 10000"/>
                <a:gd name="connsiteX34" fmla="*/ 9283 w 10000"/>
                <a:gd name="connsiteY34" fmla="*/ 3745 h 10000"/>
                <a:gd name="connsiteX35" fmla="*/ 9302 w 10000"/>
                <a:gd name="connsiteY35" fmla="*/ 3863 h 10000"/>
                <a:gd name="connsiteX36" fmla="*/ 9961 w 10000"/>
                <a:gd name="connsiteY36" fmla="*/ 4059 h 10000"/>
                <a:gd name="connsiteX37" fmla="*/ 10000 w 10000"/>
                <a:gd name="connsiteY37" fmla="*/ 4392 h 10000"/>
                <a:gd name="connsiteX38" fmla="*/ 9438 w 10000"/>
                <a:gd name="connsiteY38" fmla="*/ 4765 h 10000"/>
                <a:gd name="connsiteX39" fmla="*/ 9457 w 10000"/>
                <a:gd name="connsiteY39" fmla="*/ 5000 h 10000"/>
                <a:gd name="connsiteX40" fmla="*/ 9438 w 10000"/>
                <a:gd name="connsiteY40" fmla="*/ 5235 h 10000"/>
                <a:gd name="connsiteX41" fmla="*/ 10000 w 10000"/>
                <a:gd name="connsiteY41" fmla="*/ 5627 h 10000"/>
                <a:gd name="connsiteX42" fmla="*/ 9981 w 10000"/>
                <a:gd name="connsiteY42" fmla="*/ 5784 h 10000"/>
                <a:gd name="connsiteX43" fmla="*/ 9961 w 10000"/>
                <a:gd name="connsiteY43" fmla="*/ 5941 h 10000"/>
                <a:gd name="connsiteX44" fmla="*/ 9302 w 10000"/>
                <a:gd name="connsiteY44" fmla="*/ 6157 h 10000"/>
                <a:gd name="connsiteX45" fmla="*/ 9244 w 10000"/>
                <a:gd name="connsiteY45" fmla="*/ 6392 h 10000"/>
                <a:gd name="connsiteX46" fmla="*/ 9205 w 10000"/>
                <a:gd name="connsiteY46" fmla="*/ 6490 h 10000"/>
                <a:gd name="connsiteX47" fmla="*/ 9167 w 10000"/>
                <a:gd name="connsiteY47" fmla="*/ 6608 h 10000"/>
                <a:gd name="connsiteX48" fmla="*/ 9574 w 10000"/>
                <a:gd name="connsiteY48" fmla="*/ 7157 h 10000"/>
                <a:gd name="connsiteX49" fmla="*/ 9496 w 10000"/>
                <a:gd name="connsiteY49" fmla="*/ 7294 h 10000"/>
                <a:gd name="connsiteX50" fmla="*/ 9419 w 10000"/>
                <a:gd name="connsiteY50" fmla="*/ 7431 h 10000"/>
                <a:gd name="connsiteX51" fmla="*/ 8740 w 10000"/>
                <a:gd name="connsiteY51" fmla="*/ 7412 h 10000"/>
                <a:gd name="connsiteX52" fmla="*/ 8605 w 10000"/>
                <a:gd name="connsiteY52" fmla="*/ 7627 h 10000"/>
                <a:gd name="connsiteX53" fmla="*/ 8547 w 10000"/>
                <a:gd name="connsiteY53" fmla="*/ 7706 h 10000"/>
                <a:gd name="connsiteX54" fmla="*/ 8469 w 10000"/>
                <a:gd name="connsiteY54" fmla="*/ 7804 h 10000"/>
                <a:gd name="connsiteX55" fmla="*/ 8682 w 10000"/>
                <a:gd name="connsiteY55" fmla="*/ 8451 h 10000"/>
                <a:gd name="connsiteX56" fmla="*/ 8566 w 10000"/>
                <a:gd name="connsiteY56" fmla="*/ 8569 h 10000"/>
                <a:gd name="connsiteX57" fmla="*/ 8450 w 10000"/>
                <a:gd name="connsiteY57" fmla="*/ 8686 h 10000"/>
                <a:gd name="connsiteX58" fmla="*/ 7810 w 10000"/>
                <a:gd name="connsiteY58" fmla="*/ 8471 h 10000"/>
                <a:gd name="connsiteX59" fmla="*/ 7616 w 10000"/>
                <a:gd name="connsiteY59" fmla="*/ 8608 h 10000"/>
                <a:gd name="connsiteX60" fmla="*/ 7442 w 10000"/>
                <a:gd name="connsiteY60" fmla="*/ 8745 h 10000"/>
                <a:gd name="connsiteX61" fmla="*/ 7442 w 10000"/>
                <a:gd name="connsiteY61" fmla="*/ 9412 h 10000"/>
                <a:gd name="connsiteX62" fmla="*/ 7287 w 10000"/>
                <a:gd name="connsiteY62" fmla="*/ 9510 h 10000"/>
                <a:gd name="connsiteX63" fmla="*/ 7151 w 10000"/>
                <a:gd name="connsiteY63" fmla="*/ 9569 h 10000"/>
                <a:gd name="connsiteX64" fmla="*/ 6609 w 10000"/>
                <a:gd name="connsiteY64" fmla="*/ 9157 h 10000"/>
                <a:gd name="connsiteX65" fmla="*/ 6395 w 10000"/>
                <a:gd name="connsiteY65" fmla="*/ 9235 h 10000"/>
                <a:gd name="connsiteX66" fmla="*/ 6279 w 10000"/>
                <a:gd name="connsiteY66" fmla="*/ 9275 h 10000"/>
                <a:gd name="connsiteX67" fmla="*/ 6163 w 10000"/>
                <a:gd name="connsiteY67" fmla="*/ 9314 h 10000"/>
                <a:gd name="connsiteX68" fmla="*/ 5950 w 10000"/>
                <a:gd name="connsiteY68" fmla="*/ 9961 h 10000"/>
                <a:gd name="connsiteX69" fmla="*/ 5640 w 10000"/>
                <a:gd name="connsiteY69" fmla="*/ 10000 h 10000"/>
                <a:gd name="connsiteX70" fmla="*/ 5252 w 10000"/>
                <a:gd name="connsiteY70" fmla="*/ 9451 h 10000"/>
                <a:gd name="connsiteX71" fmla="*/ 5019 w 10000"/>
                <a:gd name="connsiteY71" fmla="*/ 9451 h 10000"/>
                <a:gd name="connsiteX72" fmla="*/ 4767 w 10000"/>
                <a:gd name="connsiteY72" fmla="*/ 9451 h 10000"/>
                <a:gd name="connsiteX73" fmla="*/ 4380 w 10000"/>
                <a:gd name="connsiteY73" fmla="*/ 10000 h 10000"/>
                <a:gd name="connsiteX74" fmla="*/ 4225 w 10000"/>
                <a:gd name="connsiteY74" fmla="*/ 9980 h 10000"/>
                <a:gd name="connsiteX75" fmla="*/ 4070 w 10000"/>
                <a:gd name="connsiteY75" fmla="*/ 9961 h 10000"/>
                <a:gd name="connsiteX76" fmla="*/ 3857 w 10000"/>
                <a:gd name="connsiteY76" fmla="*/ 9314 h 10000"/>
                <a:gd name="connsiteX77" fmla="*/ 3624 w 10000"/>
                <a:gd name="connsiteY77" fmla="*/ 9235 h 10000"/>
                <a:gd name="connsiteX78" fmla="*/ 3508 w 10000"/>
                <a:gd name="connsiteY78" fmla="*/ 9216 h 10000"/>
                <a:gd name="connsiteX79" fmla="*/ 3411 w 10000"/>
                <a:gd name="connsiteY79" fmla="*/ 9157 h 10000"/>
                <a:gd name="connsiteX80" fmla="*/ 2868 w 10000"/>
                <a:gd name="connsiteY80" fmla="*/ 9569 h 10000"/>
                <a:gd name="connsiteX81" fmla="*/ 2733 w 10000"/>
                <a:gd name="connsiteY81" fmla="*/ 9510 h 10000"/>
                <a:gd name="connsiteX82" fmla="*/ 2578 w 10000"/>
                <a:gd name="connsiteY82" fmla="*/ 9412 h 10000"/>
                <a:gd name="connsiteX83" fmla="*/ 2597 w 10000"/>
                <a:gd name="connsiteY83" fmla="*/ 8745 h 10000"/>
                <a:gd name="connsiteX84" fmla="*/ 2403 w 10000"/>
                <a:gd name="connsiteY84" fmla="*/ 8608 h 10000"/>
                <a:gd name="connsiteX85" fmla="*/ 2306 w 10000"/>
                <a:gd name="connsiteY85" fmla="*/ 8529 h 10000"/>
                <a:gd name="connsiteX86" fmla="*/ 2209 w 10000"/>
                <a:gd name="connsiteY86" fmla="*/ 8471 h 10000"/>
                <a:gd name="connsiteX87" fmla="*/ 1570 w 10000"/>
                <a:gd name="connsiteY87" fmla="*/ 8686 h 10000"/>
                <a:gd name="connsiteX88" fmla="*/ 1453 w 10000"/>
                <a:gd name="connsiteY88" fmla="*/ 8569 h 10000"/>
                <a:gd name="connsiteX89" fmla="*/ 1337 w 10000"/>
                <a:gd name="connsiteY89" fmla="*/ 8451 h 10000"/>
                <a:gd name="connsiteX90" fmla="*/ 1550 w 10000"/>
                <a:gd name="connsiteY90" fmla="*/ 7804 h 10000"/>
                <a:gd name="connsiteX91" fmla="*/ 1415 w 10000"/>
                <a:gd name="connsiteY91" fmla="*/ 7627 h 10000"/>
                <a:gd name="connsiteX92" fmla="*/ 1279 w 10000"/>
                <a:gd name="connsiteY92" fmla="*/ 7412 h 10000"/>
                <a:gd name="connsiteX93" fmla="*/ 601 w 10000"/>
                <a:gd name="connsiteY93" fmla="*/ 7431 h 10000"/>
                <a:gd name="connsiteX94" fmla="*/ 523 w 10000"/>
                <a:gd name="connsiteY94" fmla="*/ 7294 h 10000"/>
                <a:gd name="connsiteX95" fmla="*/ 446 w 10000"/>
                <a:gd name="connsiteY95" fmla="*/ 7157 h 10000"/>
                <a:gd name="connsiteX96" fmla="*/ 853 w 10000"/>
                <a:gd name="connsiteY96" fmla="*/ 6608 h 10000"/>
                <a:gd name="connsiteX97" fmla="*/ 775 w 10000"/>
                <a:gd name="connsiteY97" fmla="*/ 6392 h 10000"/>
                <a:gd name="connsiteX98" fmla="*/ 756 w 10000"/>
                <a:gd name="connsiteY98" fmla="*/ 6275 h 10000"/>
                <a:gd name="connsiteX99" fmla="*/ 717 w 10000"/>
                <a:gd name="connsiteY99" fmla="*/ 6157 h 10000"/>
                <a:gd name="connsiteX100" fmla="*/ 58 w 10000"/>
                <a:gd name="connsiteY100" fmla="*/ 5941 h 10000"/>
                <a:gd name="connsiteX101" fmla="*/ 0 w 10000"/>
                <a:gd name="connsiteY101" fmla="*/ 5627 h 10000"/>
                <a:gd name="connsiteX102" fmla="*/ 581 w 10000"/>
                <a:gd name="connsiteY102" fmla="*/ 5235 h 10000"/>
                <a:gd name="connsiteX103" fmla="*/ 562 w 10000"/>
                <a:gd name="connsiteY103" fmla="*/ 5000 h 10000"/>
                <a:gd name="connsiteX104" fmla="*/ 581 w 10000"/>
                <a:gd name="connsiteY104" fmla="*/ 4765 h 10000"/>
                <a:gd name="connsiteX105" fmla="*/ 0 w 10000"/>
                <a:gd name="connsiteY105" fmla="*/ 4392 h 10000"/>
                <a:gd name="connsiteX106" fmla="*/ 19 w 10000"/>
                <a:gd name="connsiteY106" fmla="*/ 4216 h 10000"/>
                <a:gd name="connsiteX107" fmla="*/ 58 w 10000"/>
                <a:gd name="connsiteY107" fmla="*/ 4059 h 10000"/>
                <a:gd name="connsiteX108" fmla="*/ 717 w 10000"/>
                <a:gd name="connsiteY108" fmla="*/ 3863 h 10000"/>
                <a:gd name="connsiteX109" fmla="*/ 775 w 10000"/>
                <a:gd name="connsiteY109" fmla="*/ 3627 h 10000"/>
                <a:gd name="connsiteX110" fmla="*/ 814 w 10000"/>
                <a:gd name="connsiteY110" fmla="*/ 3510 h 10000"/>
                <a:gd name="connsiteX111" fmla="*/ 853 w 10000"/>
                <a:gd name="connsiteY111" fmla="*/ 3392 h 10000"/>
                <a:gd name="connsiteX112" fmla="*/ 446 w 10000"/>
                <a:gd name="connsiteY112" fmla="*/ 2863 h 10000"/>
                <a:gd name="connsiteX113" fmla="*/ 523 w 10000"/>
                <a:gd name="connsiteY113" fmla="*/ 2706 h 10000"/>
                <a:gd name="connsiteX114" fmla="*/ 601 w 10000"/>
                <a:gd name="connsiteY114" fmla="*/ 2588 h 10000"/>
                <a:gd name="connsiteX115" fmla="*/ 1279 w 10000"/>
                <a:gd name="connsiteY115" fmla="*/ 2588 h 10000"/>
                <a:gd name="connsiteX0" fmla="*/ 3411 w 10000"/>
                <a:gd name="connsiteY0" fmla="*/ 843 h 10000"/>
                <a:gd name="connsiteX1" fmla="*/ 3740 w 10000"/>
                <a:gd name="connsiteY1" fmla="*/ 725 h 10000"/>
                <a:gd name="connsiteX2" fmla="*/ 3857 w 10000"/>
                <a:gd name="connsiteY2" fmla="*/ 706 h 10000"/>
                <a:gd name="connsiteX3" fmla="*/ 4070 w 10000"/>
                <a:gd name="connsiteY3" fmla="*/ 59 h 10000"/>
                <a:gd name="connsiteX4" fmla="*/ 4380 w 10000"/>
                <a:gd name="connsiteY4" fmla="*/ 0 h 10000"/>
                <a:gd name="connsiteX5" fmla="*/ 4767 w 10000"/>
                <a:gd name="connsiteY5" fmla="*/ 569 h 10000"/>
                <a:gd name="connsiteX6" fmla="*/ 5019 w 10000"/>
                <a:gd name="connsiteY6" fmla="*/ 549 h 10000"/>
                <a:gd name="connsiteX7" fmla="*/ 5252 w 10000"/>
                <a:gd name="connsiteY7" fmla="*/ 569 h 10000"/>
                <a:gd name="connsiteX8" fmla="*/ 5640 w 10000"/>
                <a:gd name="connsiteY8" fmla="*/ 0 h 10000"/>
                <a:gd name="connsiteX9" fmla="*/ 5795 w 10000"/>
                <a:gd name="connsiteY9" fmla="*/ 20 h 10000"/>
                <a:gd name="connsiteX10" fmla="*/ 5950 w 10000"/>
                <a:gd name="connsiteY10" fmla="*/ 59 h 10000"/>
                <a:gd name="connsiteX11" fmla="*/ 6163 w 10000"/>
                <a:gd name="connsiteY11" fmla="*/ 706 h 10000"/>
                <a:gd name="connsiteX12" fmla="*/ 6395 w 10000"/>
                <a:gd name="connsiteY12" fmla="*/ 765 h 10000"/>
                <a:gd name="connsiteX13" fmla="*/ 6492 w 10000"/>
                <a:gd name="connsiteY13" fmla="*/ 804 h 10000"/>
                <a:gd name="connsiteX14" fmla="*/ 6609 w 10000"/>
                <a:gd name="connsiteY14" fmla="*/ 843 h 10000"/>
                <a:gd name="connsiteX15" fmla="*/ 7151 w 10000"/>
                <a:gd name="connsiteY15" fmla="*/ 451 h 10000"/>
                <a:gd name="connsiteX16" fmla="*/ 7287 w 10000"/>
                <a:gd name="connsiteY16" fmla="*/ 510 h 10000"/>
                <a:gd name="connsiteX17" fmla="*/ 7442 w 10000"/>
                <a:gd name="connsiteY17" fmla="*/ 588 h 10000"/>
                <a:gd name="connsiteX18" fmla="*/ 7442 w 10000"/>
                <a:gd name="connsiteY18" fmla="*/ 1275 h 10000"/>
                <a:gd name="connsiteX19" fmla="*/ 7616 w 10000"/>
                <a:gd name="connsiteY19" fmla="*/ 1412 h 10000"/>
                <a:gd name="connsiteX20" fmla="*/ 7713 w 10000"/>
                <a:gd name="connsiteY20" fmla="*/ 1471 h 10000"/>
                <a:gd name="connsiteX21" fmla="*/ 7810 w 10000"/>
                <a:gd name="connsiteY21" fmla="*/ 1549 h 10000"/>
                <a:gd name="connsiteX22" fmla="*/ 8450 w 10000"/>
                <a:gd name="connsiteY22" fmla="*/ 1333 h 10000"/>
                <a:gd name="connsiteX23" fmla="*/ 8566 w 10000"/>
                <a:gd name="connsiteY23" fmla="*/ 1451 h 10000"/>
                <a:gd name="connsiteX24" fmla="*/ 8682 w 10000"/>
                <a:gd name="connsiteY24" fmla="*/ 1569 h 10000"/>
                <a:gd name="connsiteX25" fmla="*/ 8469 w 10000"/>
                <a:gd name="connsiteY25" fmla="*/ 2216 h 10000"/>
                <a:gd name="connsiteX26" fmla="*/ 8605 w 10000"/>
                <a:gd name="connsiteY26" fmla="*/ 2392 h 10000"/>
                <a:gd name="connsiteX27" fmla="*/ 8740 w 10000"/>
                <a:gd name="connsiteY27" fmla="*/ 2588 h 10000"/>
                <a:gd name="connsiteX28" fmla="*/ 9419 w 10000"/>
                <a:gd name="connsiteY28" fmla="*/ 2588 h 10000"/>
                <a:gd name="connsiteX29" fmla="*/ 9496 w 10000"/>
                <a:gd name="connsiteY29" fmla="*/ 2706 h 10000"/>
                <a:gd name="connsiteX30" fmla="*/ 9574 w 10000"/>
                <a:gd name="connsiteY30" fmla="*/ 2863 h 10000"/>
                <a:gd name="connsiteX31" fmla="*/ 9167 w 10000"/>
                <a:gd name="connsiteY31" fmla="*/ 3392 h 10000"/>
                <a:gd name="connsiteX32" fmla="*/ 9244 w 10000"/>
                <a:gd name="connsiteY32" fmla="*/ 3627 h 10000"/>
                <a:gd name="connsiteX33" fmla="*/ 9283 w 10000"/>
                <a:gd name="connsiteY33" fmla="*/ 3745 h 10000"/>
                <a:gd name="connsiteX34" fmla="*/ 9302 w 10000"/>
                <a:gd name="connsiteY34" fmla="*/ 3863 h 10000"/>
                <a:gd name="connsiteX35" fmla="*/ 9961 w 10000"/>
                <a:gd name="connsiteY35" fmla="*/ 4059 h 10000"/>
                <a:gd name="connsiteX36" fmla="*/ 10000 w 10000"/>
                <a:gd name="connsiteY36" fmla="*/ 4392 h 10000"/>
                <a:gd name="connsiteX37" fmla="*/ 9438 w 10000"/>
                <a:gd name="connsiteY37" fmla="*/ 4765 h 10000"/>
                <a:gd name="connsiteX38" fmla="*/ 9457 w 10000"/>
                <a:gd name="connsiteY38" fmla="*/ 5000 h 10000"/>
                <a:gd name="connsiteX39" fmla="*/ 9438 w 10000"/>
                <a:gd name="connsiteY39" fmla="*/ 5235 h 10000"/>
                <a:gd name="connsiteX40" fmla="*/ 10000 w 10000"/>
                <a:gd name="connsiteY40" fmla="*/ 5627 h 10000"/>
                <a:gd name="connsiteX41" fmla="*/ 9981 w 10000"/>
                <a:gd name="connsiteY41" fmla="*/ 5784 h 10000"/>
                <a:gd name="connsiteX42" fmla="*/ 9961 w 10000"/>
                <a:gd name="connsiteY42" fmla="*/ 5941 h 10000"/>
                <a:gd name="connsiteX43" fmla="*/ 9302 w 10000"/>
                <a:gd name="connsiteY43" fmla="*/ 6157 h 10000"/>
                <a:gd name="connsiteX44" fmla="*/ 9244 w 10000"/>
                <a:gd name="connsiteY44" fmla="*/ 6392 h 10000"/>
                <a:gd name="connsiteX45" fmla="*/ 9205 w 10000"/>
                <a:gd name="connsiteY45" fmla="*/ 6490 h 10000"/>
                <a:gd name="connsiteX46" fmla="*/ 9167 w 10000"/>
                <a:gd name="connsiteY46" fmla="*/ 6608 h 10000"/>
                <a:gd name="connsiteX47" fmla="*/ 9574 w 10000"/>
                <a:gd name="connsiteY47" fmla="*/ 7157 h 10000"/>
                <a:gd name="connsiteX48" fmla="*/ 9496 w 10000"/>
                <a:gd name="connsiteY48" fmla="*/ 7294 h 10000"/>
                <a:gd name="connsiteX49" fmla="*/ 9419 w 10000"/>
                <a:gd name="connsiteY49" fmla="*/ 7431 h 10000"/>
                <a:gd name="connsiteX50" fmla="*/ 8740 w 10000"/>
                <a:gd name="connsiteY50" fmla="*/ 7412 h 10000"/>
                <a:gd name="connsiteX51" fmla="*/ 8605 w 10000"/>
                <a:gd name="connsiteY51" fmla="*/ 7627 h 10000"/>
                <a:gd name="connsiteX52" fmla="*/ 8547 w 10000"/>
                <a:gd name="connsiteY52" fmla="*/ 7706 h 10000"/>
                <a:gd name="connsiteX53" fmla="*/ 8469 w 10000"/>
                <a:gd name="connsiteY53" fmla="*/ 7804 h 10000"/>
                <a:gd name="connsiteX54" fmla="*/ 8682 w 10000"/>
                <a:gd name="connsiteY54" fmla="*/ 8451 h 10000"/>
                <a:gd name="connsiteX55" fmla="*/ 8566 w 10000"/>
                <a:gd name="connsiteY55" fmla="*/ 8569 h 10000"/>
                <a:gd name="connsiteX56" fmla="*/ 8450 w 10000"/>
                <a:gd name="connsiteY56" fmla="*/ 8686 h 10000"/>
                <a:gd name="connsiteX57" fmla="*/ 7810 w 10000"/>
                <a:gd name="connsiteY57" fmla="*/ 8471 h 10000"/>
                <a:gd name="connsiteX58" fmla="*/ 7616 w 10000"/>
                <a:gd name="connsiteY58" fmla="*/ 8608 h 10000"/>
                <a:gd name="connsiteX59" fmla="*/ 7442 w 10000"/>
                <a:gd name="connsiteY59" fmla="*/ 8745 h 10000"/>
                <a:gd name="connsiteX60" fmla="*/ 7442 w 10000"/>
                <a:gd name="connsiteY60" fmla="*/ 9412 h 10000"/>
                <a:gd name="connsiteX61" fmla="*/ 7287 w 10000"/>
                <a:gd name="connsiteY61" fmla="*/ 9510 h 10000"/>
                <a:gd name="connsiteX62" fmla="*/ 7151 w 10000"/>
                <a:gd name="connsiteY62" fmla="*/ 9569 h 10000"/>
                <a:gd name="connsiteX63" fmla="*/ 6609 w 10000"/>
                <a:gd name="connsiteY63" fmla="*/ 9157 h 10000"/>
                <a:gd name="connsiteX64" fmla="*/ 6395 w 10000"/>
                <a:gd name="connsiteY64" fmla="*/ 9235 h 10000"/>
                <a:gd name="connsiteX65" fmla="*/ 6279 w 10000"/>
                <a:gd name="connsiteY65" fmla="*/ 9275 h 10000"/>
                <a:gd name="connsiteX66" fmla="*/ 6163 w 10000"/>
                <a:gd name="connsiteY66" fmla="*/ 9314 h 10000"/>
                <a:gd name="connsiteX67" fmla="*/ 5950 w 10000"/>
                <a:gd name="connsiteY67" fmla="*/ 9961 h 10000"/>
                <a:gd name="connsiteX68" fmla="*/ 5640 w 10000"/>
                <a:gd name="connsiteY68" fmla="*/ 10000 h 10000"/>
                <a:gd name="connsiteX69" fmla="*/ 5252 w 10000"/>
                <a:gd name="connsiteY69" fmla="*/ 9451 h 10000"/>
                <a:gd name="connsiteX70" fmla="*/ 5019 w 10000"/>
                <a:gd name="connsiteY70" fmla="*/ 9451 h 10000"/>
                <a:gd name="connsiteX71" fmla="*/ 4767 w 10000"/>
                <a:gd name="connsiteY71" fmla="*/ 9451 h 10000"/>
                <a:gd name="connsiteX72" fmla="*/ 4380 w 10000"/>
                <a:gd name="connsiteY72" fmla="*/ 10000 h 10000"/>
                <a:gd name="connsiteX73" fmla="*/ 4225 w 10000"/>
                <a:gd name="connsiteY73" fmla="*/ 9980 h 10000"/>
                <a:gd name="connsiteX74" fmla="*/ 4070 w 10000"/>
                <a:gd name="connsiteY74" fmla="*/ 9961 h 10000"/>
                <a:gd name="connsiteX75" fmla="*/ 3857 w 10000"/>
                <a:gd name="connsiteY75" fmla="*/ 9314 h 10000"/>
                <a:gd name="connsiteX76" fmla="*/ 3624 w 10000"/>
                <a:gd name="connsiteY76" fmla="*/ 9235 h 10000"/>
                <a:gd name="connsiteX77" fmla="*/ 3508 w 10000"/>
                <a:gd name="connsiteY77" fmla="*/ 9216 h 10000"/>
                <a:gd name="connsiteX78" fmla="*/ 3411 w 10000"/>
                <a:gd name="connsiteY78" fmla="*/ 9157 h 10000"/>
                <a:gd name="connsiteX79" fmla="*/ 2868 w 10000"/>
                <a:gd name="connsiteY79" fmla="*/ 9569 h 10000"/>
                <a:gd name="connsiteX80" fmla="*/ 2733 w 10000"/>
                <a:gd name="connsiteY80" fmla="*/ 9510 h 10000"/>
                <a:gd name="connsiteX81" fmla="*/ 2578 w 10000"/>
                <a:gd name="connsiteY81" fmla="*/ 9412 h 10000"/>
                <a:gd name="connsiteX82" fmla="*/ 2597 w 10000"/>
                <a:gd name="connsiteY82" fmla="*/ 8745 h 10000"/>
                <a:gd name="connsiteX83" fmla="*/ 2403 w 10000"/>
                <a:gd name="connsiteY83" fmla="*/ 8608 h 10000"/>
                <a:gd name="connsiteX84" fmla="*/ 2306 w 10000"/>
                <a:gd name="connsiteY84" fmla="*/ 8529 h 10000"/>
                <a:gd name="connsiteX85" fmla="*/ 2209 w 10000"/>
                <a:gd name="connsiteY85" fmla="*/ 8471 h 10000"/>
                <a:gd name="connsiteX86" fmla="*/ 1570 w 10000"/>
                <a:gd name="connsiteY86" fmla="*/ 8686 h 10000"/>
                <a:gd name="connsiteX87" fmla="*/ 1453 w 10000"/>
                <a:gd name="connsiteY87" fmla="*/ 8569 h 10000"/>
                <a:gd name="connsiteX88" fmla="*/ 1337 w 10000"/>
                <a:gd name="connsiteY88" fmla="*/ 8451 h 10000"/>
                <a:gd name="connsiteX89" fmla="*/ 1550 w 10000"/>
                <a:gd name="connsiteY89" fmla="*/ 7804 h 10000"/>
                <a:gd name="connsiteX90" fmla="*/ 1415 w 10000"/>
                <a:gd name="connsiteY90" fmla="*/ 7627 h 10000"/>
                <a:gd name="connsiteX91" fmla="*/ 1279 w 10000"/>
                <a:gd name="connsiteY91" fmla="*/ 7412 h 10000"/>
                <a:gd name="connsiteX92" fmla="*/ 601 w 10000"/>
                <a:gd name="connsiteY92" fmla="*/ 7431 h 10000"/>
                <a:gd name="connsiteX93" fmla="*/ 523 w 10000"/>
                <a:gd name="connsiteY93" fmla="*/ 7294 h 10000"/>
                <a:gd name="connsiteX94" fmla="*/ 446 w 10000"/>
                <a:gd name="connsiteY94" fmla="*/ 7157 h 10000"/>
                <a:gd name="connsiteX95" fmla="*/ 853 w 10000"/>
                <a:gd name="connsiteY95" fmla="*/ 6608 h 10000"/>
                <a:gd name="connsiteX96" fmla="*/ 775 w 10000"/>
                <a:gd name="connsiteY96" fmla="*/ 6392 h 10000"/>
                <a:gd name="connsiteX97" fmla="*/ 756 w 10000"/>
                <a:gd name="connsiteY97" fmla="*/ 6275 h 10000"/>
                <a:gd name="connsiteX98" fmla="*/ 717 w 10000"/>
                <a:gd name="connsiteY98" fmla="*/ 6157 h 10000"/>
                <a:gd name="connsiteX99" fmla="*/ 58 w 10000"/>
                <a:gd name="connsiteY99" fmla="*/ 5941 h 10000"/>
                <a:gd name="connsiteX100" fmla="*/ 0 w 10000"/>
                <a:gd name="connsiteY100" fmla="*/ 5627 h 10000"/>
                <a:gd name="connsiteX101" fmla="*/ 581 w 10000"/>
                <a:gd name="connsiteY101" fmla="*/ 5235 h 10000"/>
                <a:gd name="connsiteX102" fmla="*/ 562 w 10000"/>
                <a:gd name="connsiteY102" fmla="*/ 5000 h 10000"/>
                <a:gd name="connsiteX103" fmla="*/ 581 w 10000"/>
                <a:gd name="connsiteY103" fmla="*/ 4765 h 10000"/>
                <a:gd name="connsiteX104" fmla="*/ 0 w 10000"/>
                <a:gd name="connsiteY104" fmla="*/ 4392 h 10000"/>
                <a:gd name="connsiteX105" fmla="*/ 19 w 10000"/>
                <a:gd name="connsiteY105" fmla="*/ 4216 h 10000"/>
                <a:gd name="connsiteX106" fmla="*/ 58 w 10000"/>
                <a:gd name="connsiteY106" fmla="*/ 4059 h 10000"/>
                <a:gd name="connsiteX107" fmla="*/ 717 w 10000"/>
                <a:gd name="connsiteY107" fmla="*/ 3863 h 10000"/>
                <a:gd name="connsiteX108" fmla="*/ 775 w 10000"/>
                <a:gd name="connsiteY108" fmla="*/ 3627 h 10000"/>
                <a:gd name="connsiteX109" fmla="*/ 814 w 10000"/>
                <a:gd name="connsiteY109" fmla="*/ 3510 h 10000"/>
                <a:gd name="connsiteX110" fmla="*/ 853 w 10000"/>
                <a:gd name="connsiteY110" fmla="*/ 3392 h 10000"/>
                <a:gd name="connsiteX111" fmla="*/ 446 w 10000"/>
                <a:gd name="connsiteY111" fmla="*/ 2863 h 10000"/>
                <a:gd name="connsiteX112" fmla="*/ 523 w 10000"/>
                <a:gd name="connsiteY112" fmla="*/ 2706 h 10000"/>
                <a:gd name="connsiteX113" fmla="*/ 601 w 10000"/>
                <a:gd name="connsiteY113" fmla="*/ 2588 h 10000"/>
                <a:gd name="connsiteX114" fmla="*/ 1279 w 10000"/>
                <a:gd name="connsiteY114" fmla="*/ 2588 h 10000"/>
                <a:gd name="connsiteX0" fmla="*/ 3740 w 10000"/>
                <a:gd name="connsiteY0" fmla="*/ 725 h 10000"/>
                <a:gd name="connsiteX1" fmla="*/ 3857 w 10000"/>
                <a:gd name="connsiteY1" fmla="*/ 706 h 10000"/>
                <a:gd name="connsiteX2" fmla="*/ 4070 w 10000"/>
                <a:gd name="connsiteY2" fmla="*/ 59 h 10000"/>
                <a:gd name="connsiteX3" fmla="*/ 4380 w 10000"/>
                <a:gd name="connsiteY3" fmla="*/ 0 h 10000"/>
                <a:gd name="connsiteX4" fmla="*/ 4767 w 10000"/>
                <a:gd name="connsiteY4" fmla="*/ 569 h 10000"/>
                <a:gd name="connsiteX5" fmla="*/ 5019 w 10000"/>
                <a:gd name="connsiteY5" fmla="*/ 549 h 10000"/>
                <a:gd name="connsiteX6" fmla="*/ 5252 w 10000"/>
                <a:gd name="connsiteY6" fmla="*/ 569 h 10000"/>
                <a:gd name="connsiteX7" fmla="*/ 5640 w 10000"/>
                <a:gd name="connsiteY7" fmla="*/ 0 h 10000"/>
                <a:gd name="connsiteX8" fmla="*/ 5795 w 10000"/>
                <a:gd name="connsiteY8" fmla="*/ 20 h 10000"/>
                <a:gd name="connsiteX9" fmla="*/ 5950 w 10000"/>
                <a:gd name="connsiteY9" fmla="*/ 59 h 10000"/>
                <a:gd name="connsiteX10" fmla="*/ 6163 w 10000"/>
                <a:gd name="connsiteY10" fmla="*/ 706 h 10000"/>
                <a:gd name="connsiteX11" fmla="*/ 6395 w 10000"/>
                <a:gd name="connsiteY11" fmla="*/ 765 h 10000"/>
                <a:gd name="connsiteX12" fmla="*/ 6492 w 10000"/>
                <a:gd name="connsiteY12" fmla="*/ 804 h 10000"/>
                <a:gd name="connsiteX13" fmla="*/ 6609 w 10000"/>
                <a:gd name="connsiteY13" fmla="*/ 843 h 10000"/>
                <a:gd name="connsiteX14" fmla="*/ 7151 w 10000"/>
                <a:gd name="connsiteY14" fmla="*/ 451 h 10000"/>
                <a:gd name="connsiteX15" fmla="*/ 7287 w 10000"/>
                <a:gd name="connsiteY15" fmla="*/ 510 h 10000"/>
                <a:gd name="connsiteX16" fmla="*/ 7442 w 10000"/>
                <a:gd name="connsiteY16" fmla="*/ 588 h 10000"/>
                <a:gd name="connsiteX17" fmla="*/ 7442 w 10000"/>
                <a:gd name="connsiteY17" fmla="*/ 1275 h 10000"/>
                <a:gd name="connsiteX18" fmla="*/ 7616 w 10000"/>
                <a:gd name="connsiteY18" fmla="*/ 1412 h 10000"/>
                <a:gd name="connsiteX19" fmla="*/ 7713 w 10000"/>
                <a:gd name="connsiteY19" fmla="*/ 1471 h 10000"/>
                <a:gd name="connsiteX20" fmla="*/ 7810 w 10000"/>
                <a:gd name="connsiteY20" fmla="*/ 1549 h 10000"/>
                <a:gd name="connsiteX21" fmla="*/ 8450 w 10000"/>
                <a:gd name="connsiteY21" fmla="*/ 1333 h 10000"/>
                <a:gd name="connsiteX22" fmla="*/ 8566 w 10000"/>
                <a:gd name="connsiteY22" fmla="*/ 1451 h 10000"/>
                <a:gd name="connsiteX23" fmla="*/ 8682 w 10000"/>
                <a:gd name="connsiteY23" fmla="*/ 1569 h 10000"/>
                <a:gd name="connsiteX24" fmla="*/ 8469 w 10000"/>
                <a:gd name="connsiteY24" fmla="*/ 2216 h 10000"/>
                <a:gd name="connsiteX25" fmla="*/ 8605 w 10000"/>
                <a:gd name="connsiteY25" fmla="*/ 2392 h 10000"/>
                <a:gd name="connsiteX26" fmla="*/ 8740 w 10000"/>
                <a:gd name="connsiteY26" fmla="*/ 2588 h 10000"/>
                <a:gd name="connsiteX27" fmla="*/ 9419 w 10000"/>
                <a:gd name="connsiteY27" fmla="*/ 2588 h 10000"/>
                <a:gd name="connsiteX28" fmla="*/ 9496 w 10000"/>
                <a:gd name="connsiteY28" fmla="*/ 2706 h 10000"/>
                <a:gd name="connsiteX29" fmla="*/ 9574 w 10000"/>
                <a:gd name="connsiteY29" fmla="*/ 2863 h 10000"/>
                <a:gd name="connsiteX30" fmla="*/ 9167 w 10000"/>
                <a:gd name="connsiteY30" fmla="*/ 3392 h 10000"/>
                <a:gd name="connsiteX31" fmla="*/ 9244 w 10000"/>
                <a:gd name="connsiteY31" fmla="*/ 3627 h 10000"/>
                <a:gd name="connsiteX32" fmla="*/ 9283 w 10000"/>
                <a:gd name="connsiteY32" fmla="*/ 3745 h 10000"/>
                <a:gd name="connsiteX33" fmla="*/ 9302 w 10000"/>
                <a:gd name="connsiteY33" fmla="*/ 3863 h 10000"/>
                <a:gd name="connsiteX34" fmla="*/ 9961 w 10000"/>
                <a:gd name="connsiteY34" fmla="*/ 4059 h 10000"/>
                <a:gd name="connsiteX35" fmla="*/ 10000 w 10000"/>
                <a:gd name="connsiteY35" fmla="*/ 4392 h 10000"/>
                <a:gd name="connsiteX36" fmla="*/ 9438 w 10000"/>
                <a:gd name="connsiteY36" fmla="*/ 4765 h 10000"/>
                <a:gd name="connsiteX37" fmla="*/ 9457 w 10000"/>
                <a:gd name="connsiteY37" fmla="*/ 5000 h 10000"/>
                <a:gd name="connsiteX38" fmla="*/ 9438 w 10000"/>
                <a:gd name="connsiteY38" fmla="*/ 5235 h 10000"/>
                <a:gd name="connsiteX39" fmla="*/ 10000 w 10000"/>
                <a:gd name="connsiteY39" fmla="*/ 5627 h 10000"/>
                <a:gd name="connsiteX40" fmla="*/ 9981 w 10000"/>
                <a:gd name="connsiteY40" fmla="*/ 5784 h 10000"/>
                <a:gd name="connsiteX41" fmla="*/ 9961 w 10000"/>
                <a:gd name="connsiteY41" fmla="*/ 5941 h 10000"/>
                <a:gd name="connsiteX42" fmla="*/ 9302 w 10000"/>
                <a:gd name="connsiteY42" fmla="*/ 6157 h 10000"/>
                <a:gd name="connsiteX43" fmla="*/ 9244 w 10000"/>
                <a:gd name="connsiteY43" fmla="*/ 6392 h 10000"/>
                <a:gd name="connsiteX44" fmla="*/ 9205 w 10000"/>
                <a:gd name="connsiteY44" fmla="*/ 6490 h 10000"/>
                <a:gd name="connsiteX45" fmla="*/ 9167 w 10000"/>
                <a:gd name="connsiteY45" fmla="*/ 6608 h 10000"/>
                <a:gd name="connsiteX46" fmla="*/ 9574 w 10000"/>
                <a:gd name="connsiteY46" fmla="*/ 7157 h 10000"/>
                <a:gd name="connsiteX47" fmla="*/ 9496 w 10000"/>
                <a:gd name="connsiteY47" fmla="*/ 7294 h 10000"/>
                <a:gd name="connsiteX48" fmla="*/ 9419 w 10000"/>
                <a:gd name="connsiteY48" fmla="*/ 7431 h 10000"/>
                <a:gd name="connsiteX49" fmla="*/ 8740 w 10000"/>
                <a:gd name="connsiteY49" fmla="*/ 7412 h 10000"/>
                <a:gd name="connsiteX50" fmla="*/ 8605 w 10000"/>
                <a:gd name="connsiteY50" fmla="*/ 7627 h 10000"/>
                <a:gd name="connsiteX51" fmla="*/ 8547 w 10000"/>
                <a:gd name="connsiteY51" fmla="*/ 7706 h 10000"/>
                <a:gd name="connsiteX52" fmla="*/ 8469 w 10000"/>
                <a:gd name="connsiteY52" fmla="*/ 7804 h 10000"/>
                <a:gd name="connsiteX53" fmla="*/ 8682 w 10000"/>
                <a:gd name="connsiteY53" fmla="*/ 8451 h 10000"/>
                <a:gd name="connsiteX54" fmla="*/ 8566 w 10000"/>
                <a:gd name="connsiteY54" fmla="*/ 8569 h 10000"/>
                <a:gd name="connsiteX55" fmla="*/ 8450 w 10000"/>
                <a:gd name="connsiteY55" fmla="*/ 8686 h 10000"/>
                <a:gd name="connsiteX56" fmla="*/ 7810 w 10000"/>
                <a:gd name="connsiteY56" fmla="*/ 8471 h 10000"/>
                <a:gd name="connsiteX57" fmla="*/ 7616 w 10000"/>
                <a:gd name="connsiteY57" fmla="*/ 8608 h 10000"/>
                <a:gd name="connsiteX58" fmla="*/ 7442 w 10000"/>
                <a:gd name="connsiteY58" fmla="*/ 8745 h 10000"/>
                <a:gd name="connsiteX59" fmla="*/ 7442 w 10000"/>
                <a:gd name="connsiteY59" fmla="*/ 9412 h 10000"/>
                <a:gd name="connsiteX60" fmla="*/ 7287 w 10000"/>
                <a:gd name="connsiteY60" fmla="*/ 9510 h 10000"/>
                <a:gd name="connsiteX61" fmla="*/ 7151 w 10000"/>
                <a:gd name="connsiteY61" fmla="*/ 9569 h 10000"/>
                <a:gd name="connsiteX62" fmla="*/ 6609 w 10000"/>
                <a:gd name="connsiteY62" fmla="*/ 9157 h 10000"/>
                <a:gd name="connsiteX63" fmla="*/ 6395 w 10000"/>
                <a:gd name="connsiteY63" fmla="*/ 9235 h 10000"/>
                <a:gd name="connsiteX64" fmla="*/ 6279 w 10000"/>
                <a:gd name="connsiteY64" fmla="*/ 9275 h 10000"/>
                <a:gd name="connsiteX65" fmla="*/ 6163 w 10000"/>
                <a:gd name="connsiteY65" fmla="*/ 9314 h 10000"/>
                <a:gd name="connsiteX66" fmla="*/ 5950 w 10000"/>
                <a:gd name="connsiteY66" fmla="*/ 9961 h 10000"/>
                <a:gd name="connsiteX67" fmla="*/ 5640 w 10000"/>
                <a:gd name="connsiteY67" fmla="*/ 10000 h 10000"/>
                <a:gd name="connsiteX68" fmla="*/ 5252 w 10000"/>
                <a:gd name="connsiteY68" fmla="*/ 9451 h 10000"/>
                <a:gd name="connsiteX69" fmla="*/ 5019 w 10000"/>
                <a:gd name="connsiteY69" fmla="*/ 9451 h 10000"/>
                <a:gd name="connsiteX70" fmla="*/ 4767 w 10000"/>
                <a:gd name="connsiteY70" fmla="*/ 9451 h 10000"/>
                <a:gd name="connsiteX71" fmla="*/ 4380 w 10000"/>
                <a:gd name="connsiteY71" fmla="*/ 10000 h 10000"/>
                <a:gd name="connsiteX72" fmla="*/ 4225 w 10000"/>
                <a:gd name="connsiteY72" fmla="*/ 9980 h 10000"/>
                <a:gd name="connsiteX73" fmla="*/ 4070 w 10000"/>
                <a:gd name="connsiteY73" fmla="*/ 9961 h 10000"/>
                <a:gd name="connsiteX74" fmla="*/ 3857 w 10000"/>
                <a:gd name="connsiteY74" fmla="*/ 9314 h 10000"/>
                <a:gd name="connsiteX75" fmla="*/ 3624 w 10000"/>
                <a:gd name="connsiteY75" fmla="*/ 9235 h 10000"/>
                <a:gd name="connsiteX76" fmla="*/ 3508 w 10000"/>
                <a:gd name="connsiteY76" fmla="*/ 9216 h 10000"/>
                <a:gd name="connsiteX77" fmla="*/ 3411 w 10000"/>
                <a:gd name="connsiteY77" fmla="*/ 9157 h 10000"/>
                <a:gd name="connsiteX78" fmla="*/ 2868 w 10000"/>
                <a:gd name="connsiteY78" fmla="*/ 9569 h 10000"/>
                <a:gd name="connsiteX79" fmla="*/ 2733 w 10000"/>
                <a:gd name="connsiteY79" fmla="*/ 9510 h 10000"/>
                <a:gd name="connsiteX80" fmla="*/ 2578 w 10000"/>
                <a:gd name="connsiteY80" fmla="*/ 9412 h 10000"/>
                <a:gd name="connsiteX81" fmla="*/ 2597 w 10000"/>
                <a:gd name="connsiteY81" fmla="*/ 8745 h 10000"/>
                <a:gd name="connsiteX82" fmla="*/ 2403 w 10000"/>
                <a:gd name="connsiteY82" fmla="*/ 8608 h 10000"/>
                <a:gd name="connsiteX83" fmla="*/ 2306 w 10000"/>
                <a:gd name="connsiteY83" fmla="*/ 8529 h 10000"/>
                <a:gd name="connsiteX84" fmla="*/ 2209 w 10000"/>
                <a:gd name="connsiteY84" fmla="*/ 8471 h 10000"/>
                <a:gd name="connsiteX85" fmla="*/ 1570 w 10000"/>
                <a:gd name="connsiteY85" fmla="*/ 8686 h 10000"/>
                <a:gd name="connsiteX86" fmla="*/ 1453 w 10000"/>
                <a:gd name="connsiteY86" fmla="*/ 8569 h 10000"/>
                <a:gd name="connsiteX87" fmla="*/ 1337 w 10000"/>
                <a:gd name="connsiteY87" fmla="*/ 8451 h 10000"/>
                <a:gd name="connsiteX88" fmla="*/ 1550 w 10000"/>
                <a:gd name="connsiteY88" fmla="*/ 7804 h 10000"/>
                <a:gd name="connsiteX89" fmla="*/ 1415 w 10000"/>
                <a:gd name="connsiteY89" fmla="*/ 7627 h 10000"/>
                <a:gd name="connsiteX90" fmla="*/ 1279 w 10000"/>
                <a:gd name="connsiteY90" fmla="*/ 7412 h 10000"/>
                <a:gd name="connsiteX91" fmla="*/ 601 w 10000"/>
                <a:gd name="connsiteY91" fmla="*/ 7431 h 10000"/>
                <a:gd name="connsiteX92" fmla="*/ 523 w 10000"/>
                <a:gd name="connsiteY92" fmla="*/ 7294 h 10000"/>
                <a:gd name="connsiteX93" fmla="*/ 446 w 10000"/>
                <a:gd name="connsiteY93" fmla="*/ 7157 h 10000"/>
                <a:gd name="connsiteX94" fmla="*/ 853 w 10000"/>
                <a:gd name="connsiteY94" fmla="*/ 6608 h 10000"/>
                <a:gd name="connsiteX95" fmla="*/ 775 w 10000"/>
                <a:gd name="connsiteY95" fmla="*/ 6392 h 10000"/>
                <a:gd name="connsiteX96" fmla="*/ 756 w 10000"/>
                <a:gd name="connsiteY96" fmla="*/ 6275 h 10000"/>
                <a:gd name="connsiteX97" fmla="*/ 717 w 10000"/>
                <a:gd name="connsiteY97" fmla="*/ 6157 h 10000"/>
                <a:gd name="connsiteX98" fmla="*/ 58 w 10000"/>
                <a:gd name="connsiteY98" fmla="*/ 5941 h 10000"/>
                <a:gd name="connsiteX99" fmla="*/ 0 w 10000"/>
                <a:gd name="connsiteY99" fmla="*/ 5627 h 10000"/>
                <a:gd name="connsiteX100" fmla="*/ 581 w 10000"/>
                <a:gd name="connsiteY100" fmla="*/ 5235 h 10000"/>
                <a:gd name="connsiteX101" fmla="*/ 562 w 10000"/>
                <a:gd name="connsiteY101" fmla="*/ 5000 h 10000"/>
                <a:gd name="connsiteX102" fmla="*/ 581 w 10000"/>
                <a:gd name="connsiteY102" fmla="*/ 4765 h 10000"/>
                <a:gd name="connsiteX103" fmla="*/ 0 w 10000"/>
                <a:gd name="connsiteY103" fmla="*/ 4392 h 10000"/>
                <a:gd name="connsiteX104" fmla="*/ 19 w 10000"/>
                <a:gd name="connsiteY104" fmla="*/ 4216 h 10000"/>
                <a:gd name="connsiteX105" fmla="*/ 58 w 10000"/>
                <a:gd name="connsiteY105" fmla="*/ 4059 h 10000"/>
                <a:gd name="connsiteX106" fmla="*/ 717 w 10000"/>
                <a:gd name="connsiteY106" fmla="*/ 3863 h 10000"/>
                <a:gd name="connsiteX107" fmla="*/ 775 w 10000"/>
                <a:gd name="connsiteY107" fmla="*/ 3627 h 10000"/>
                <a:gd name="connsiteX108" fmla="*/ 814 w 10000"/>
                <a:gd name="connsiteY108" fmla="*/ 3510 h 10000"/>
                <a:gd name="connsiteX109" fmla="*/ 853 w 10000"/>
                <a:gd name="connsiteY109" fmla="*/ 3392 h 10000"/>
                <a:gd name="connsiteX110" fmla="*/ 446 w 10000"/>
                <a:gd name="connsiteY110" fmla="*/ 2863 h 10000"/>
                <a:gd name="connsiteX111" fmla="*/ 523 w 10000"/>
                <a:gd name="connsiteY111" fmla="*/ 2706 h 10000"/>
                <a:gd name="connsiteX112" fmla="*/ 601 w 10000"/>
                <a:gd name="connsiteY112" fmla="*/ 2588 h 10000"/>
                <a:gd name="connsiteX113" fmla="*/ 1279 w 10000"/>
                <a:gd name="connsiteY113" fmla="*/ 2588 h 10000"/>
                <a:gd name="connsiteX0" fmla="*/ 3740 w 10000"/>
                <a:gd name="connsiteY0" fmla="*/ 725 h 10000"/>
                <a:gd name="connsiteX1" fmla="*/ 4070 w 10000"/>
                <a:gd name="connsiteY1" fmla="*/ 59 h 10000"/>
                <a:gd name="connsiteX2" fmla="*/ 4380 w 10000"/>
                <a:gd name="connsiteY2" fmla="*/ 0 h 10000"/>
                <a:gd name="connsiteX3" fmla="*/ 4767 w 10000"/>
                <a:gd name="connsiteY3" fmla="*/ 569 h 10000"/>
                <a:gd name="connsiteX4" fmla="*/ 5019 w 10000"/>
                <a:gd name="connsiteY4" fmla="*/ 549 h 10000"/>
                <a:gd name="connsiteX5" fmla="*/ 5252 w 10000"/>
                <a:gd name="connsiteY5" fmla="*/ 569 h 10000"/>
                <a:gd name="connsiteX6" fmla="*/ 5640 w 10000"/>
                <a:gd name="connsiteY6" fmla="*/ 0 h 10000"/>
                <a:gd name="connsiteX7" fmla="*/ 5795 w 10000"/>
                <a:gd name="connsiteY7" fmla="*/ 20 h 10000"/>
                <a:gd name="connsiteX8" fmla="*/ 5950 w 10000"/>
                <a:gd name="connsiteY8" fmla="*/ 59 h 10000"/>
                <a:gd name="connsiteX9" fmla="*/ 6163 w 10000"/>
                <a:gd name="connsiteY9" fmla="*/ 706 h 10000"/>
                <a:gd name="connsiteX10" fmla="*/ 6395 w 10000"/>
                <a:gd name="connsiteY10" fmla="*/ 765 h 10000"/>
                <a:gd name="connsiteX11" fmla="*/ 6492 w 10000"/>
                <a:gd name="connsiteY11" fmla="*/ 804 h 10000"/>
                <a:gd name="connsiteX12" fmla="*/ 6609 w 10000"/>
                <a:gd name="connsiteY12" fmla="*/ 843 h 10000"/>
                <a:gd name="connsiteX13" fmla="*/ 7151 w 10000"/>
                <a:gd name="connsiteY13" fmla="*/ 451 h 10000"/>
                <a:gd name="connsiteX14" fmla="*/ 7287 w 10000"/>
                <a:gd name="connsiteY14" fmla="*/ 510 h 10000"/>
                <a:gd name="connsiteX15" fmla="*/ 7442 w 10000"/>
                <a:gd name="connsiteY15" fmla="*/ 588 h 10000"/>
                <a:gd name="connsiteX16" fmla="*/ 7442 w 10000"/>
                <a:gd name="connsiteY16" fmla="*/ 1275 h 10000"/>
                <a:gd name="connsiteX17" fmla="*/ 7616 w 10000"/>
                <a:gd name="connsiteY17" fmla="*/ 1412 h 10000"/>
                <a:gd name="connsiteX18" fmla="*/ 7713 w 10000"/>
                <a:gd name="connsiteY18" fmla="*/ 1471 h 10000"/>
                <a:gd name="connsiteX19" fmla="*/ 7810 w 10000"/>
                <a:gd name="connsiteY19" fmla="*/ 1549 h 10000"/>
                <a:gd name="connsiteX20" fmla="*/ 8450 w 10000"/>
                <a:gd name="connsiteY20" fmla="*/ 1333 h 10000"/>
                <a:gd name="connsiteX21" fmla="*/ 8566 w 10000"/>
                <a:gd name="connsiteY21" fmla="*/ 1451 h 10000"/>
                <a:gd name="connsiteX22" fmla="*/ 8682 w 10000"/>
                <a:gd name="connsiteY22" fmla="*/ 1569 h 10000"/>
                <a:gd name="connsiteX23" fmla="*/ 8469 w 10000"/>
                <a:gd name="connsiteY23" fmla="*/ 2216 h 10000"/>
                <a:gd name="connsiteX24" fmla="*/ 8605 w 10000"/>
                <a:gd name="connsiteY24" fmla="*/ 2392 h 10000"/>
                <a:gd name="connsiteX25" fmla="*/ 8740 w 10000"/>
                <a:gd name="connsiteY25" fmla="*/ 2588 h 10000"/>
                <a:gd name="connsiteX26" fmla="*/ 9419 w 10000"/>
                <a:gd name="connsiteY26" fmla="*/ 2588 h 10000"/>
                <a:gd name="connsiteX27" fmla="*/ 9496 w 10000"/>
                <a:gd name="connsiteY27" fmla="*/ 2706 h 10000"/>
                <a:gd name="connsiteX28" fmla="*/ 9574 w 10000"/>
                <a:gd name="connsiteY28" fmla="*/ 2863 h 10000"/>
                <a:gd name="connsiteX29" fmla="*/ 9167 w 10000"/>
                <a:gd name="connsiteY29" fmla="*/ 3392 h 10000"/>
                <a:gd name="connsiteX30" fmla="*/ 9244 w 10000"/>
                <a:gd name="connsiteY30" fmla="*/ 3627 h 10000"/>
                <a:gd name="connsiteX31" fmla="*/ 9283 w 10000"/>
                <a:gd name="connsiteY31" fmla="*/ 3745 h 10000"/>
                <a:gd name="connsiteX32" fmla="*/ 9302 w 10000"/>
                <a:gd name="connsiteY32" fmla="*/ 3863 h 10000"/>
                <a:gd name="connsiteX33" fmla="*/ 9961 w 10000"/>
                <a:gd name="connsiteY33" fmla="*/ 4059 h 10000"/>
                <a:gd name="connsiteX34" fmla="*/ 10000 w 10000"/>
                <a:gd name="connsiteY34" fmla="*/ 4392 h 10000"/>
                <a:gd name="connsiteX35" fmla="*/ 9438 w 10000"/>
                <a:gd name="connsiteY35" fmla="*/ 4765 h 10000"/>
                <a:gd name="connsiteX36" fmla="*/ 9457 w 10000"/>
                <a:gd name="connsiteY36" fmla="*/ 5000 h 10000"/>
                <a:gd name="connsiteX37" fmla="*/ 9438 w 10000"/>
                <a:gd name="connsiteY37" fmla="*/ 5235 h 10000"/>
                <a:gd name="connsiteX38" fmla="*/ 10000 w 10000"/>
                <a:gd name="connsiteY38" fmla="*/ 5627 h 10000"/>
                <a:gd name="connsiteX39" fmla="*/ 9981 w 10000"/>
                <a:gd name="connsiteY39" fmla="*/ 5784 h 10000"/>
                <a:gd name="connsiteX40" fmla="*/ 9961 w 10000"/>
                <a:gd name="connsiteY40" fmla="*/ 5941 h 10000"/>
                <a:gd name="connsiteX41" fmla="*/ 9302 w 10000"/>
                <a:gd name="connsiteY41" fmla="*/ 6157 h 10000"/>
                <a:gd name="connsiteX42" fmla="*/ 9244 w 10000"/>
                <a:gd name="connsiteY42" fmla="*/ 6392 h 10000"/>
                <a:gd name="connsiteX43" fmla="*/ 9205 w 10000"/>
                <a:gd name="connsiteY43" fmla="*/ 6490 h 10000"/>
                <a:gd name="connsiteX44" fmla="*/ 9167 w 10000"/>
                <a:gd name="connsiteY44" fmla="*/ 6608 h 10000"/>
                <a:gd name="connsiteX45" fmla="*/ 9574 w 10000"/>
                <a:gd name="connsiteY45" fmla="*/ 7157 h 10000"/>
                <a:gd name="connsiteX46" fmla="*/ 9496 w 10000"/>
                <a:gd name="connsiteY46" fmla="*/ 7294 h 10000"/>
                <a:gd name="connsiteX47" fmla="*/ 9419 w 10000"/>
                <a:gd name="connsiteY47" fmla="*/ 7431 h 10000"/>
                <a:gd name="connsiteX48" fmla="*/ 8740 w 10000"/>
                <a:gd name="connsiteY48" fmla="*/ 7412 h 10000"/>
                <a:gd name="connsiteX49" fmla="*/ 8605 w 10000"/>
                <a:gd name="connsiteY49" fmla="*/ 7627 h 10000"/>
                <a:gd name="connsiteX50" fmla="*/ 8547 w 10000"/>
                <a:gd name="connsiteY50" fmla="*/ 7706 h 10000"/>
                <a:gd name="connsiteX51" fmla="*/ 8469 w 10000"/>
                <a:gd name="connsiteY51" fmla="*/ 7804 h 10000"/>
                <a:gd name="connsiteX52" fmla="*/ 8682 w 10000"/>
                <a:gd name="connsiteY52" fmla="*/ 8451 h 10000"/>
                <a:gd name="connsiteX53" fmla="*/ 8566 w 10000"/>
                <a:gd name="connsiteY53" fmla="*/ 8569 h 10000"/>
                <a:gd name="connsiteX54" fmla="*/ 8450 w 10000"/>
                <a:gd name="connsiteY54" fmla="*/ 8686 h 10000"/>
                <a:gd name="connsiteX55" fmla="*/ 7810 w 10000"/>
                <a:gd name="connsiteY55" fmla="*/ 8471 h 10000"/>
                <a:gd name="connsiteX56" fmla="*/ 7616 w 10000"/>
                <a:gd name="connsiteY56" fmla="*/ 8608 h 10000"/>
                <a:gd name="connsiteX57" fmla="*/ 7442 w 10000"/>
                <a:gd name="connsiteY57" fmla="*/ 8745 h 10000"/>
                <a:gd name="connsiteX58" fmla="*/ 7442 w 10000"/>
                <a:gd name="connsiteY58" fmla="*/ 9412 h 10000"/>
                <a:gd name="connsiteX59" fmla="*/ 7287 w 10000"/>
                <a:gd name="connsiteY59" fmla="*/ 9510 h 10000"/>
                <a:gd name="connsiteX60" fmla="*/ 7151 w 10000"/>
                <a:gd name="connsiteY60" fmla="*/ 9569 h 10000"/>
                <a:gd name="connsiteX61" fmla="*/ 6609 w 10000"/>
                <a:gd name="connsiteY61" fmla="*/ 9157 h 10000"/>
                <a:gd name="connsiteX62" fmla="*/ 6395 w 10000"/>
                <a:gd name="connsiteY62" fmla="*/ 9235 h 10000"/>
                <a:gd name="connsiteX63" fmla="*/ 6279 w 10000"/>
                <a:gd name="connsiteY63" fmla="*/ 9275 h 10000"/>
                <a:gd name="connsiteX64" fmla="*/ 6163 w 10000"/>
                <a:gd name="connsiteY64" fmla="*/ 9314 h 10000"/>
                <a:gd name="connsiteX65" fmla="*/ 5950 w 10000"/>
                <a:gd name="connsiteY65" fmla="*/ 9961 h 10000"/>
                <a:gd name="connsiteX66" fmla="*/ 5640 w 10000"/>
                <a:gd name="connsiteY66" fmla="*/ 10000 h 10000"/>
                <a:gd name="connsiteX67" fmla="*/ 5252 w 10000"/>
                <a:gd name="connsiteY67" fmla="*/ 9451 h 10000"/>
                <a:gd name="connsiteX68" fmla="*/ 5019 w 10000"/>
                <a:gd name="connsiteY68" fmla="*/ 9451 h 10000"/>
                <a:gd name="connsiteX69" fmla="*/ 4767 w 10000"/>
                <a:gd name="connsiteY69" fmla="*/ 9451 h 10000"/>
                <a:gd name="connsiteX70" fmla="*/ 4380 w 10000"/>
                <a:gd name="connsiteY70" fmla="*/ 10000 h 10000"/>
                <a:gd name="connsiteX71" fmla="*/ 4225 w 10000"/>
                <a:gd name="connsiteY71" fmla="*/ 9980 h 10000"/>
                <a:gd name="connsiteX72" fmla="*/ 4070 w 10000"/>
                <a:gd name="connsiteY72" fmla="*/ 9961 h 10000"/>
                <a:gd name="connsiteX73" fmla="*/ 3857 w 10000"/>
                <a:gd name="connsiteY73" fmla="*/ 9314 h 10000"/>
                <a:gd name="connsiteX74" fmla="*/ 3624 w 10000"/>
                <a:gd name="connsiteY74" fmla="*/ 9235 h 10000"/>
                <a:gd name="connsiteX75" fmla="*/ 3508 w 10000"/>
                <a:gd name="connsiteY75" fmla="*/ 9216 h 10000"/>
                <a:gd name="connsiteX76" fmla="*/ 3411 w 10000"/>
                <a:gd name="connsiteY76" fmla="*/ 9157 h 10000"/>
                <a:gd name="connsiteX77" fmla="*/ 2868 w 10000"/>
                <a:gd name="connsiteY77" fmla="*/ 9569 h 10000"/>
                <a:gd name="connsiteX78" fmla="*/ 2733 w 10000"/>
                <a:gd name="connsiteY78" fmla="*/ 9510 h 10000"/>
                <a:gd name="connsiteX79" fmla="*/ 2578 w 10000"/>
                <a:gd name="connsiteY79" fmla="*/ 9412 h 10000"/>
                <a:gd name="connsiteX80" fmla="*/ 2597 w 10000"/>
                <a:gd name="connsiteY80" fmla="*/ 8745 h 10000"/>
                <a:gd name="connsiteX81" fmla="*/ 2403 w 10000"/>
                <a:gd name="connsiteY81" fmla="*/ 8608 h 10000"/>
                <a:gd name="connsiteX82" fmla="*/ 2306 w 10000"/>
                <a:gd name="connsiteY82" fmla="*/ 8529 h 10000"/>
                <a:gd name="connsiteX83" fmla="*/ 2209 w 10000"/>
                <a:gd name="connsiteY83" fmla="*/ 8471 h 10000"/>
                <a:gd name="connsiteX84" fmla="*/ 1570 w 10000"/>
                <a:gd name="connsiteY84" fmla="*/ 8686 h 10000"/>
                <a:gd name="connsiteX85" fmla="*/ 1453 w 10000"/>
                <a:gd name="connsiteY85" fmla="*/ 8569 h 10000"/>
                <a:gd name="connsiteX86" fmla="*/ 1337 w 10000"/>
                <a:gd name="connsiteY86" fmla="*/ 8451 h 10000"/>
                <a:gd name="connsiteX87" fmla="*/ 1550 w 10000"/>
                <a:gd name="connsiteY87" fmla="*/ 7804 h 10000"/>
                <a:gd name="connsiteX88" fmla="*/ 1415 w 10000"/>
                <a:gd name="connsiteY88" fmla="*/ 7627 h 10000"/>
                <a:gd name="connsiteX89" fmla="*/ 1279 w 10000"/>
                <a:gd name="connsiteY89" fmla="*/ 7412 h 10000"/>
                <a:gd name="connsiteX90" fmla="*/ 601 w 10000"/>
                <a:gd name="connsiteY90" fmla="*/ 7431 h 10000"/>
                <a:gd name="connsiteX91" fmla="*/ 523 w 10000"/>
                <a:gd name="connsiteY91" fmla="*/ 7294 h 10000"/>
                <a:gd name="connsiteX92" fmla="*/ 446 w 10000"/>
                <a:gd name="connsiteY92" fmla="*/ 7157 h 10000"/>
                <a:gd name="connsiteX93" fmla="*/ 853 w 10000"/>
                <a:gd name="connsiteY93" fmla="*/ 6608 h 10000"/>
                <a:gd name="connsiteX94" fmla="*/ 775 w 10000"/>
                <a:gd name="connsiteY94" fmla="*/ 6392 h 10000"/>
                <a:gd name="connsiteX95" fmla="*/ 756 w 10000"/>
                <a:gd name="connsiteY95" fmla="*/ 6275 h 10000"/>
                <a:gd name="connsiteX96" fmla="*/ 717 w 10000"/>
                <a:gd name="connsiteY96" fmla="*/ 6157 h 10000"/>
                <a:gd name="connsiteX97" fmla="*/ 58 w 10000"/>
                <a:gd name="connsiteY97" fmla="*/ 5941 h 10000"/>
                <a:gd name="connsiteX98" fmla="*/ 0 w 10000"/>
                <a:gd name="connsiteY98" fmla="*/ 5627 h 10000"/>
                <a:gd name="connsiteX99" fmla="*/ 581 w 10000"/>
                <a:gd name="connsiteY99" fmla="*/ 5235 h 10000"/>
                <a:gd name="connsiteX100" fmla="*/ 562 w 10000"/>
                <a:gd name="connsiteY100" fmla="*/ 5000 h 10000"/>
                <a:gd name="connsiteX101" fmla="*/ 581 w 10000"/>
                <a:gd name="connsiteY101" fmla="*/ 4765 h 10000"/>
                <a:gd name="connsiteX102" fmla="*/ 0 w 10000"/>
                <a:gd name="connsiteY102" fmla="*/ 4392 h 10000"/>
                <a:gd name="connsiteX103" fmla="*/ 19 w 10000"/>
                <a:gd name="connsiteY103" fmla="*/ 4216 h 10000"/>
                <a:gd name="connsiteX104" fmla="*/ 58 w 10000"/>
                <a:gd name="connsiteY104" fmla="*/ 4059 h 10000"/>
                <a:gd name="connsiteX105" fmla="*/ 717 w 10000"/>
                <a:gd name="connsiteY105" fmla="*/ 3863 h 10000"/>
                <a:gd name="connsiteX106" fmla="*/ 775 w 10000"/>
                <a:gd name="connsiteY106" fmla="*/ 3627 h 10000"/>
                <a:gd name="connsiteX107" fmla="*/ 814 w 10000"/>
                <a:gd name="connsiteY107" fmla="*/ 3510 h 10000"/>
                <a:gd name="connsiteX108" fmla="*/ 853 w 10000"/>
                <a:gd name="connsiteY108" fmla="*/ 3392 h 10000"/>
                <a:gd name="connsiteX109" fmla="*/ 446 w 10000"/>
                <a:gd name="connsiteY109" fmla="*/ 2863 h 10000"/>
                <a:gd name="connsiteX110" fmla="*/ 523 w 10000"/>
                <a:gd name="connsiteY110" fmla="*/ 2706 h 10000"/>
                <a:gd name="connsiteX111" fmla="*/ 601 w 10000"/>
                <a:gd name="connsiteY111" fmla="*/ 2588 h 10000"/>
                <a:gd name="connsiteX112" fmla="*/ 1279 w 10000"/>
                <a:gd name="connsiteY112" fmla="*/ 2588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108" fmla="*/ 446 w 10000"/>
                <a:gd name="connsiteY108" fmla="*/ 2863 h 10000"/>
                <a:gd name="connsiteX109" fmla="*/ 523 w 10000"/>
                <a:gd name="connsiteY109" fmla="*/ 2706 h 10000"/>
                <a:gd name="connsiteX110" fmla="*/ 601 w 10000"/>
                <a:gd name="connsiteY110" fmla="*/ 2588 h 10000"/>
                <a:gd name="connsiteX111" fmla="*/ 1279 w 10000"/>
                <a:gd name="connsiteY111" fmla="*/ 2588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108" fmla="*/ 446 w 10000"/>
                <a:gd name="connsiteY108" fmla="*/ 2863 h 10000"/>
                <a:gd name="connsiteX109" fmla="*/ 523 w 10000"/>
                <a:gd name="connsiteY109" fmla="*/ 2706 h 10000"/>
                <a:gd name="connsiteX110" fmla="*/ 601 w 10000"/>
                <a:gd name="connsiteY110" fmla="*/ 2588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108" fmla="*/ 446 w 10000"/>
                <a:gd name="connsiteY108" fmla="*/ 2863 h 10000"/>
                <a:gd name="connsiteX109" fmla="*/ 523 w 10000"/>
                <a:gd name="connsiteY109" fmla="*/ 2706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108" fmla="*/ 446 w 10000"/>
                <a:gd name="connsiteY108" fmla="*/ 2863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0000" h="10000">
                  <a:moveTo>
                    <a:pt x="4070" y="59"/>
                  </a:moveTo>
                  <a:lnTo>
                    <a:pt x="4380" y="0"/>
                  </a:lnTo>
                  <a:lnTo>
                    <a:pt x="4767" y="569"/>
                  </a:lnTo>
                  <a:lnTo>
                    <a:pt x="5019" y="549"/>
                  </a:lnTo>
                  <a:lnTo>
                    <a:pt x="5252" y="569"/>
                  </a:lnTo>
                  <a:lnTo>
                    <a:pt x="5640" y="0"/>
                  </a:lnTo>
                  <a:lnTo>
                    <a:pt x="5795" y="20"/>
                  </a:lnTo>
                  <a:lnTo>
                    <a:pt x="5950" y="59"/>
                  </a:lnTo>
                  <a:lnTo>
                    <a:pt x="6163" y="706"/>
                  </a:lnTo>
                  <a:lnTo>
                    <a:pt x="6395" y="765"/>
                  </a:lnTo>
                  <a:lnTo>
                    <a:pt x="6492" y="804"/>
                  </a:lnTo>
                  <a:lnTo>
                    <a:pt x="6609" y="843"/>
                  </a:lnTo>
                  <a:lnTo>
                    <a:pt x="7151" y="451"/>
                  </a:lnTo>
                  <a:cubicBezTo>
                    <a:pt x="7196" y="471"/>
                    <a:pt x="7242" y="490"/>
                    <a:pt x="7287" y="510"/>
                  </a:cubicBezTo>
                  <a:lnTo>
                    <a:pt x="7442" y="588"/>
                  </a:lnTo>
                  <a:lnTo>
                    <a:pt x="7442" y="1275"/>
                  </a:lnTo>
                  <a:lnTo>
                    <a:pt x="7616" y="1412"/>
                  </a:lnTo>
                  <a:cubicBezTo>
                    <a:pt x="7648" y="1432"/>
                    <a:pt x="7681" y="1451"/>
                    <a:pt x="7713" y="1471"/>
                  </a:cubicBezTo>
                  <a:lnTo>
                    <a:pt x="7810" y="1549"/>
                  </a:lnTo>
                  <a:lnTo>
                    <a:pt x="8450" y="1333"/>
                  </a:lnTo>
                  <a:cubicBezTo>
                    <a:pt x="8489" y="1372"/>
                    <a:pt x="8527" y="1412"/>
                    <a:pt x="8566" y="1451"/>
                  </a:cubicBezTo>
                  <a:cubicBezTo>
                    <a:pt x="8605" y="1490"/>
                    <a:pt x="8643" y="1530"/>
                    <a:pt x="8682" y="1569"/>
                  </a:cubicBezTo>
                  <a:lnTo>
                    <a:pt x="8469" y="2216"/>
                  </a:lnTo>
                  <a:cubicBezTo>
                    <a:pt x="8514" y="2275"/>
                    <a:pt x="8560" y="2333"/>
                    <a:pt x="8605" y="2392"/>
                  </a:cubicBezTo>
                  <a:lnTo>
                    <a:pt x="8740" y="2588"/>
                  </a:lnTo>
                  <a:lnTo>
                    <a:pt x="9419" y="2588"/>
                  </a:lnTo>
                  <a:cubicBezTo>
                    <a:pt x="9445" y="2627"/>
                    <a:pt x="9470" y="2667"/>
                    <a:pt x="9496" y="2706"/>
                  </a:cubicBezTo>
                  <a:cubicBezTo>
                    <a:pt x="9522" y="2758"/>
                    <a:pt x="9548" y="2811"/>
                    <a:pt x="9574" y="2863"/>
                  </a:cubicBezTo>
                  <a:lnTo>
                    <a:pt x="9167" y="3392"/>
                  </a:lnTo>
                  <a:cubicBezTo>
                    <a:pt x="9193" y="3470"/>
                    <a:pt x="9218" y="3549"/>
                    <a:pt x="9244" y="3627"/>
                  </a:cubicBezTo>
                  <a:cubicBezTo>
                    <a:pt x="9257" y="3666"/>
                    <a:pt x="9270" y="3706"/>
                    <a:pt x="9283" y="3745"/>
                  </a:cubicBezTo>
                  <a:cubicBezTo>
                    <a:pt x="9289" y="3784"/>
                    <a:pt x="9296" y="3824"/>
                    <a:pt x="9302" y="3863"/>
                  </a:cubicBezTo>
                  <a:lnTo>
                    <a:pt x="9961" y="4059"/>
                  </a:lnTo>
                  <a:lnTo>
                    <a:pt x="10000" y="4392"/>
                  </a:lnTo>
                  <a:lnTo>
                    <a:pt x="9438" y="4765"/>
                  </a:lnTo>
                  <a:cubicBezTo>
                    <a:pt x="9444" y="4843"/>
                    <a:pt x="9451" y="4922"/>
                    <a:pt x="9457" y="5000"/>
                  </a:cubicBezTo>
                  <a:cubicBezTo>
                    <a:pt x="9451" y="5078"/>
                    <a:pt x="9444" y="5157"/>
                    <a:pt x="9438" y="5235"/>
                  </a:cubicBezTo>
                  <a:lnTo>
                    <a:pt x="10000" y="5627"/>
                  </a:lnTo>
                  <a:cubicBezTo>
                    <a:pt x="9994" y="5679"/>
                    <a:pt x="9987" y="5732"/>
                    <a:pt x="9981" y="5784"/>
                  </a:cubicBezTo>
                  <a:cubicBezTo>
                    <a:pt x="9974" y="5836"/>
                    <a:pt x="9968" y="5889"/>
                    <a:pt x="9961" y="5941"/>
                  </a:cubicBezTo>
                  <a:lnTo>
                    <a:pt x="9302" y="6157"/>
                  </a:lnTo>
                  <a:cubicBezTo>
                    <a:pt x="9283" y="6235"/>
                    <a:pt x="9263" y="6314"/>
                    <a:pt x="9244" y="6392"/>
                  </a:cubicBezTo>
                  <a:cubicBezTo>
                    <a:pt x="9231" y="6425"/>
                    <a:pt x="9218" y="6457"/>
                    <a:pt x="9205" y="6490"/>
                  </a:cubicBezTo>
                  <a:cubicBezTo>
                    <a:pt x="9192" y="6529"/>
                    <a:pt x="9180" y="6569"/>
                    <a:pt x="9167" y="6608"/>
                  </a:cubicBezTo>
                  <a:lnTo>
                    <a:pt x="9574" y="7157"/>
                  </a:lnTo>
                  <a:cubicBezTo>
                    <a:pt x="9548" y="7203"/>
                    <a:pt x="9522" y="7248"/>
                    <a:pt x="9496" y="7294"/>
                  </a:cubicBezTo>
                  <a:lnTo>
                    <a:pt x="9419" y="7431"/>
                  </a:lnTo>
                  <a:lnTo>
                    <a:pt x="8740" y="7412"/>
                  </a:lnTo>
                  <a:lnTo>
                    <a:pt x="8605" y="7627"/>
                  </a:lnTo>
                  <a:lnTo>
                    <a:pt x="8547" y="7706"/>
                  </a:lnTo>
                  <a:cubicBezTo>
                    <a:pt x="8521" y="7739"/>
                    <a:pt x="8495" y="7771"/>
                    <a:pt x="8469" y="7804"/>
                  </a:cubicBezTo>
                  <a:lnTo>
                    <a:pt x="8682" y="8451"/>
                  </a:lnTo>
                  <a:cubicBezTo>
                    <a:pt x="8643" y="8490"/>
                    <a:pt x="8605" y="8530"/>
                    <a:pt x="8566" y="8569"/>
                  </a:cubicBezTo>
                  <a:lnTo>
                    <a:pt x="8450" y="8686"/>
                  </a:lnTo>
                  <a:lnTo>
                    <a:pt x="7810" y="8471"/>
                  </a:lnTo>
                  <a:lnTo>
                    <a:pt x="7616" y="8608"/>
                  </a:lnTo>
                  <a:lnTo>
                    <a:pt x="7442" y="8745"/>
                  </a:lnTo>
                  <a:lnTo>
                    <a:pt x="7442" y="9412"/>
                  </a:lnTo>
                  <a:lnTo>
                    <a:pt x="7287" y="9510"/>
                  </a:lnTo>
                  <a:cubicBezTo>
                    <a:pt x="7242" y="9530"/>
                    <a:pt x="7196" y="9549"/>
                    <a:pt x="7151" y="9569"/>
                  </a:cubicBezTo>
                  <a:lnTo>
                    <a:pt x="6609" y="9157"/>
                  </a:lnTo>
                  <a:lnTo>
                    <a:pt x="6395" y="9235"/>
                  </a:lnTo>
                  <a:cubicBezTo>
                    <a:pt x="6356" y="9248"/>
                    <a:pt x="6318" y="9262"/>
                    <a:pt x="6279" y="9275"/>
                  </a:cubicBezTo>
                  <a:lnTo>
                    <a:pt x="6163" y="9314"/>
                  </a:lnTo>
                  <a:lnTo>
                    <a:pt x="5950" y="9961"/>
                  </a:lnTo>
                  <a:lnTo>
                    <a:pt x="5640" y="10000"/>
                  </a:lnTo>
                  <a:lnTo>
                    <a:pt x="5252" y="9451"/>
                  </a:lnTo>
                  <a:lnTo>
                    <a:pt x="5019" y="9451"/>
                  </a:lnTo>
                  <a:lnTo>
                    <a:pt x="4767" y="9451"/>
                  </a:lnTo>
                  <a:lnTo>
                    <a:pt x="4380" y="10000"/>
                  </a:lnTo>
                  <a:lnTo>
                    <a:pt x="4225" y="9980"/>
                  </a:lnTo>
                  <a:lnTo>
                    <a:pt x="4070" y="9961"/>
                  </a:lnTo>
                  <a:lnTo>
                    <a:pt x="3857" y="9314"/>
                  </a:lnTo>
                  <a:lnTo>
                    <a:pt x="3624" y="9235"/>
                  </a:lnTo>
                  <a:lnTo>
                    <a:pt x="3508" y="9216"/>
                  </a:lnTo>
                  <a:cubicBezTo>
                    <a:pt x="3476" y="9196"/>
                    <a:pt x="3443" y="9177"/>
                    <a:pt x="3411" y="9157"/>
                  </a:cubicBezTo>
                  <a:lnTo>
                    <a:pt x="2868" y="9569"/>
                  </a:lnTo>
                  <a:lnTo>
                    <a:pt x="2733" y="9510"/>
                  </a:lnTo>
                  <a:lnTo>
                    <a:pt x="2578" y="9412"/>
                  </a:lnTo>
                  <a:cubicBezTo>
                    <a:pt x="2584" y="9190"/>
                    <a:pt x="2591" y="8967"/>
                    <a:pt x="2597" y="8745"/>
                  </a:cubicBezTo>
                  <a:lnTo>
                    <a:pt x="2403" y="8608"/>
                  </a:lnTo>
                  <a:lnTo>
                    <a:pt x="2306" y="8529"/>
                  </a:lnTo>
                  <a:lnTo>
                    <a:pt x="2209" y="8471"/>
                  </a:lnTo>
                  <a:lnTo>
                    <a:pt x="1570" y="8686"/>
                  </a:lnTo>
                  <a:lnTo>
                    <a:pt x="1453" y="8569"/>
                  </a:lnTo>
                  <a:cubicBezTo>
                    <a:pt x="1414" y="8530"/>
                    <a:pt x="1376" y="8490"/>
                    <a:pt x="1337" y="8451"/>
                  </a:cubicBezTo>
                  <a:lnTo>
                    <a:pt x="1550" y="7804"/>
                  </a:lnTo>
                  <a:lnTo>
                    <a:pt x="1415" y="7627"/>
                  </a:lnTo>
                  <a:cubicBezTo>
                    <a:pt x="1370" y="7555"/>
                    <a:pt x="1324" y="7484"/>
                    <a:pt x="1279" y="7412"/>
                  </a:cubicBezTo>
                  <a:lnTo>
                    <a:pt x="601" y="7431"/>
                  </a:lnTo>
                  <a:cubicBezTo>
                    <a:pt x="575" y="7385"/>
                    <a:pt x="549" y="7340"/>
                    <a:pt x="523" y="7294"/>
                  </a:cubicBezTo>
                  <a:lnTo>
                    <a:pt x="446" y="7157"/>
                  </a:lnTo>
                  <a:lnTo>
                    <a:pt x="853" y="6608"/>
                  </a:lnTo>
                  <a:lnTo>
                    <a:pt x="775" y="6392"/>
                  </a:lnTo>
                  <a:cubicBezTo>
                    <a:pt x="769" y="6353"/>
                    <a:pt x="762" y="6314"/>
                    <a:pt x="756" y="6275"/>
                  </a:cubicBezTo>
                  <a:cubicBezTo>
                    <a:pt x="743" y="6236"/>
                    <a:pt x="730" y="6196"/>
                    <a:pt x="717" y="6157"/>
                  </a:cubicBezTo>
                  <a:lnTo>
                    <a:pt x="58" y="5941"/>
                  </a:lnTo>
                  <a:cubicBezTo>
                    <a:pt x="39" y="5836"/>
                    <a:pt x="19" y="5732"/>
                    <a:pt x="0" y="5627"/>
                  </a:cubicBezTo>
                  <a:lnTo>
                    <a:pt x="581" y="5235"/>
                  </a:lnTo>
                  <a:cubicBezTo>
                    <a:pt x="575" y="5157"/>
                    <a:pt x="568" y="5078"/>
                    <a:pt x="562" y="5000"/>
                  </a:cubicBezTo>
                  <a:cubicBezTo>
                    <a:pt x="568" y="4922"/>
                    <a:pt x="575" y="4843"/>
                    <a:pt x="581" y="4765"/>
                  </a:cubicBezTo>
                  <a:lnTo>
                    <a:pt x="0" y="4392"/>
                  </a:lnTo>
                  <a:cubicBezTo>
                    <a:pt x="6" y="4333"/>
                    <a:pt x="13" y="4275"/>
                    <a:pt x="19" y="4216"/>
                  </a:cubicBezTo>
                  <a:cubicBezTo>
                    <a:pt x="32" y="4164"/>
                    <a:pt x="45" y="4111"/>
                    <a:pt x="58" y="4059"/>
                  </a:cubicBezTo>
                  <a:lnTo>
                    <a:pt x="717" y="3863"/>
                  </a:lnTo>
                </a:path>
              </a:pathLst>
            </a:custGeom>
            <a:noFill/>
            <a:ln w="9525">
              <a:solidFill>
                <a:schemeClr val="accent5"/>
              </a:solidFill>
              <a:round/>
              <a:headEnd/>
              <a:tailEnd/>
            </a:ln>
          </p:spPr>
          <p:txBody>
            <a:bodyPr/>
            <a:lstStyle/>
            <a:p>
              <a:endParaRPr lang="en-US" dirty="0">
                <a:solidFill>
                  <a:srgbClr val="000000"/>
                </a:solidFill>
              </a:endParaRPr>
            </a:p>
          </p:txBody>
        </p:sp>
        <p:sp>
          <p:nvSpPr>
            <p:cNvPr id="53" name="Textplatzhalter 3">
              <a:extLst>
                <a:ext uri="{FF2B5EF4-FFF2-40B4-BE49-F238E27FC236}">
                  <a16:creationId xmlns:a16="http://schemas.microsoft.com/office/drawing/2014/main" id="{4873C1A5-A27B-4F16-B5B8-6F07CAFC2071}"/>
                </a:ext>
              </a:extLst>
            </p:cNvPr>
            <p:cNvSpPr txBox="1">
              <a:spLocks/>
            </p:cNvSpPr>
            <p:nvPr/>
          </p:nvSpPr>
          <p:spPr bwMode="gray">
            <a:xfrm flipH="1">
              <a:off x="4514107" y="4249909"/>
              <a:ext cx="504056" cy="271511"/>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sz="3000" dirty="0">
                  <a:solidFill>
                    <a:schemeClr val="accent5"/>
                  </a:solidFill>
                </a:rPr>
                <a:t>05</a:t>
              </a:r>
            </a:p>
          </p:txBody>
        </p:sp>
        <p:sp>
          <p:nvSpPr>
            <p:cNvPr id="54" name="Textplatzhalter 3">
              <a:extLst>
                <a:ext uri="{FF2B5EF4-FFF2-40B4-BE49-F238E27FC236}">
                  <a16:creationId xmlns:a16="http://schemas.microsoft.com/office/drawing/2014/main" id="{6A18FEF6-D42A-4A1A-B0EE-F69D63CBB53F}"/>
                </a:ext>
              </a:extLst>
            </p:cNvPr>
            <p:cNvSpPr txBox="1">
              <a:spLocks/>
            </p:cNvSpPr>
            <p:nvPr/>
          </p:nvSpPr>
          <p:spPr bwMode="gray">
            <a:xfrm flipH="1">
              <a:off x="3540942" y="3211121"/>
              <a:ext cx="1296000" cy="1296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sz="1600" dirty="0">
                  <a:solidFill>
                    <a:schemeClr val="tx1"/>
                  </a:solidFill>
                </a:rPr>
                <a:t>Lorem</a:t>
              </a:r>
              <a:br>
                <a:rPr lang="en-US" sz="1600" dirty="0">
                  <a:solidFill>
                    <a:schemeClr val="tx1"/>
                  </a:solidFill>
                </a:rPr>
              </a:br>
              <a:r>
                <a:rPr lang="en-US" sz="1600" dirty="0">
                  <a:solidFill>
                    <a:schemeClr val="tx1"/>
                  </a:solidFill>
                </a:rPr>
                <a:t>ipsum dolor</a:t>
              </a:r>
              <a:br>
                <a:rPr lang="en-US" sz="1600" dirty="0">
                  <a:solidFill>
                    <a:schemeClr val="tx1"/>
                  </a:solidFill>
                </a:rPr>
              </a:br>
              <a:r>
                <a:rPr lang="en-US" sz="1600" dirty="0">
                  <a:solidFill>
                    <a:schemeClr val="tx1"/>
                  </a:solidFill>
                </a:rPr>
                <a:t>sit amet</a:t>
              </a:r>
            </a:p>
          </p:txBody>
        </p:sp>
      </p:grpSp>
      <p:grpSp>
        <p:nvGrpSpPr>
          <p:cNvPr id="61" name="Gruppieren 60">
            <a:extLst>
              <a:ext uri="{FF2B5EF4-FFF2-40B4-BE49-F238E27FC236}">
                <a16:creationId xmlns:a16="http://schemas.microsoft.com/office/drawing/2014/main" id="{4B81A294-F8BF-4E70-9383-30665D03C456}"/>
              </a:ext>
            </a:extLst>
          </p:cNvPr>
          <p:cNvGrpSpPr/>
          <p:nvPr/>
        </p:nvGrpSpPr>
        <p:grpSpPr bwMode="gray">
          <a:xfrm>
            <a:off x="3001428" y="4740300"/>
            <a:ext cx="1582404" cy="1497012"/>
            <a:chOff x="4262079" y="4890096"/>
            <a:chExt cx="1582404" cy="1497012"/>
          </a:xfrm>
        </p:grpSpPr>
        <p:sp>
          <p:nvSpPr>
            <p:cNvPr id="55" name="Freeform 53">
              <a:extLst>
                <a:ext uri="{FF2B5EF4-FFF2-40B4-BE49-F238E27FC236}">
                  <a16:creationId xmlns:a16="http://schemas.microsoft.com/office/drawing/2014/main" id="{1A745AAC-B42C-4DDF-8718-D22B71381267}"/>
                </a:ext>
              </a:extLst>
            </p:cNvPr>
            <p:cNvSpPr>
              <a:spLocks noChangeAspect="1"/>
            </p:cNvSpPr>
            <p:nvPr/>
          </p:nvSpPr>
          <p:spPr bwMode="gray">
            <a:xfrm>
              <a:off x="4330008" y="4890096"/>
              <a:ext cx="1514475" cy="1497012"/>
            </a:xfrm>
            <a:custGeom>
              <a:avLst/>
              <a:gdLst>
                <a:gd name="T0" fmla="*/ 2485 w 516"/>
                <a:gd name="T1" fmla="*/ 2775 h 510"/>
                <a:gd name="T2" fmla="*/ 2376 w 516"/>
                <a:gd name="T3" fmla="*/ 3068 h 510"/>
                <a:gd name="T4" fmla="*/ 2085 w 516"/>
                <a:gd name="T5" fmla="*/ 2977 h 510"/>
                <a:gd name="T6" fmla="*/ 1941 w 516"/>
                <a:gd name="T7" fmla="*/ 3210 h 510"/>
                <a:gd name="T8" fmla="*/ 1638 w 516"/>
                <a:gd name="T9" fmla="*/ 3045 h 510"/>
                <a:gd name="T10" fmla="*/ 1377 w 516"/>
                <a:gd name="T11" fmla="*/ 3217 h 510"/>
                <a:gd name="T12" fmla="*/ 1183 w 516"/>
                <a:gd name="T13" fmla="*/ 2977 h 510"/>
                <a:gd name="T14" fmla="*/ 937 w 516"/>
                <a:gd name="T15" fmla="*/ 3084 h 510"/>
                <a:gd name="T16" fmla="*/ 849 w 516"/>
                <a:gd name="T17" fmla="*/ 2820 h 510"/>
                <a:gd name="T18" fmla="*/ 721 w 516"/>
                <a:gd name="T19" fmla="*/ 2731 h 510"/>
                <a:gd name="T20" fmla="*/ 438 w 516"/>
                <a:gd name="T21" fmla="*/ 2725 h 510"/>
                <a:gd name="T22" fmla="*/ 418 w 516"/>
                <a:gd name="T23" fmla="*/ 2389 h 510"/>
                <a:gd name="T24" fmla="*/ 148 w 516"/>
                <a:gd name="T25" fmla="*/ 2308 h 510"/>
                <a:gd name="T26" fmla="*/ 246 w 516"/>
                <a:gd name="T27" fmla="*/ 2025 h 510"/>
                <a:gd name="T28" fmla="*/ 0 w 516"/>
                <a:gd name="T29" fmla="*/ 1816 h 510"/>
                <a:gd name="T30" fmla="*/ 189 w 516"/>
                <a:gd name="T31" fmla="*/ 1535 h 510"/>
                <a:gd name="T32" fmla="*/ 20 w 516"/>
                <a:gd name="T33" fmla="*/ 1309 h 510"/>
                <a:gd name="T34" fmla="*/ 266 w 516"/>
                <a:gd name="T35" fmla="*/ 1132 h 510"/>
                <a:gd name="T36" fmla="*/ 170 w 516"/>
                <a:gd name="T37" fmla="*/ 873 h 510"/>
                <a:gd name="T38" fmla="*/ 462 w 516"/>
                <a:gd name="T39" fmla="*/ 773 h 510"/>
                <a:gd name="T40" fmla="*/ 438 w 516"/>
                <a:gd name="T41" fmla="*/ 507 h 510"/>
                <a:gd name="T42" fmla="*/ 721 w 516"/>
                <a:gd name="T43" fmla="*/ 499 h 510"/>
                <a:gd name="T44" fmla="*/ 841 w 516"/>
                <a:gd name="T45" fmla="*/ 189 h 510"/>
                <a:gd name="T46" fmla="*/ 1111 w 516"/>
                <a:gd name="T47" fmla="*/ 274 h 510"/>
                <a:gd name="T48" fmla="*/ 1257 w 516"/>
                <a:gd name="T49" fmla="*/ 229 h 510"/>
                <a:gd name="T50" fmla="*/ 1555 w 516"/>
                <a:gd name="T51" fmla="*/ 185 h 510"/>
                <a:gd name="T52" fmla="*/ 1840 w 516"/>
                <a:gd name="T53" fmla="*/ 0 h 510"/>
                <a:gd name="T54" fmla="*/ 2010 w 516"/>
                <a:gd name="T55" fmla="*/ 229 h 510"/>
                <a:gd name="T56" fmla="*/ 2154 w 516"/>
                <a:gd name="T57" fmla="*/ 274 h 510"/>
                <a:gd name="T58" fmla="*/ 2428 w 516"/>
                <a:gd name="T59" fmla="*/ 189 h 510"/>
                <a:gd name="T60" fmla="*/ 2516 w 516"/>
                <a:gd name="T61" fmla="*/ 475 h 510"/>
                <a:gd name="T62" fmla="*/ 2794 w 516"/>
                <a:gd name="T63" fmla="*/ 468 h 510"/>
                <a:gd name="T64" fmla="*/ 2807 w 516"/>
                <a:gd name="T65" fmla="*/ 773 h 510"/>
                <a:gd name="T66" fmla="*/ 3097 w 516"/>
                <a:gd name="T67" fmla="*/ 873 h 510"/>
                <a:gd name="T68" fmla="*/ 3015 w 516"/>
                <a:gd name="T69" fmla="*/ 1169 h 510"/>
                <a:gd name="T70" fmla="*/ 3247 w 516"/>
                <a:gd name="T71" fmla="*/ 1309 h 510"/>
                <a:gd name="T72" fmla="*/ 3084 w 516"/>
                <a:gd name="T73" fmla="*/ 1614 h 510"/>
                <a:gd name="T74" fmla="*/ 3254 w 516"/>
                <a:gd name="T75" fmla="*/ 1864 h 510"/>
                <a:gd name="T76" fmla="*/ 3015 w 516"/>
                <a:gd name="T77" fmla="*/ 2062 h 510"/>
                <a:gd name="T78" fmla="*/ 3121 w 516"/>
                <a:gd name="T79" fmla="*/ 2308 h 510"/>
                <a:gd name="T80" fmla="*/ 2851 w 516"/>
                <a:gd name="T81" fmla="*/ 2389 h 510"/>
                <a:gd name="T82" fmla="*/ 2762 w 516"/>
                <a:gd name="T83" fmla="*/ 2517 h 510"/>
                <a:gd name="T84" fmla="*/ 2755 w 516"/>
                <a:gd name="T85" fmla="*/ 2799 h 51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connsiteX0" fmla="*/ 1415 w 10000"/>
                <a:gd name="connsiteY0" fmla="*/ 2392 h 10000"/>
                <a:gd name="connsiteX1" fmla="*/ 1473 w 10000"/>
                <a:gd name="connsiteY1" fmla="*/ 2294 h 10000"/>
                <a:gd name="connsiteX2" fmla="*/ 1550 w 10000"/>
                <a:gd name="connsiteY2" fmla="*/ 2216 h 10000"/>
                <a:gd name="connsiteX3" fmla="*/ 1337 w 10000"/>
                <a:gd name="connsiteY3" fmla="*/ 1569 h 10000"/>
                <a:gd name="connsiteX4" fmla="*/ 1453 w 10000"/>
                <a:gd name="connsiteY4" fmla="*/ 1451 h 10000"/>
                <a:gd name="connsiteX5" fmla="*/ 1570 w 10000"/>
                <a:gd name="connsiteY5" fmla="*/ 1333 h 10000"/>
                <a:gd name="connsiteX6" fmla="*/ 2209 w 10000"/>
                <a:gd name="connsiteY6" fmla="*/ 1549 h 10000"/>
                <a:gd name="connsiteX7" fmla="*/ 2403 w 10000"/>
                <a:gd name="connsiteY7" fmla="*/ 1412 h 10000"/>
                <a:gd name="connsiteX8" fmla="*/ 2597 w 10000"/>
                <a:gd name="connsiteY8" fmla="*/ 1275 h 10000"/>
                <a:gd name="connsiteX9" fmla="*/ 2578 w 10000"/>
                <a:gd name="connsiteY9" fmla="*/ 588 h 10000"/>
                <a:gd name="connsiteX10" fmla="*/ 2733 w 10000"/>
                <a:gd name="connsiteY10" fmla="*/ 510 h 10000"/>
                <a:gd name="connsiteX11" fmla="*/ 2868 w 10000"/>
                <a:gd name="connsiteY11" fmla="*/ 451 h 10000"/>
                <a:gd name="connsiteX12" fmla="*/ 3411 w 10000"/>
                <a:gd name="connsiteY12" fmla="*/ 843 h 10000"/>
                <a:gd name="connsiteX13" fmla="*/ 3624 w 10000"/>
                <a:gd name="connsiteY13" fmla="*/ 765 h 10000"/>
                <a:gd name="connsiteX14" fmla="*/ 3740 w 10000"/>
                <a:gd name="connsiteY14" fmla="*/ 725 h 10000"/>
                <a:gd name="connsiteX15" fmla="*/ 3857 w 10000"/>
                <a:gd name="connsiteY15" fmla="*/ 706 h 10000"/>
                <a:gd name="connsiteX16" fmla="*/ 4070 w 10000"/>
                <a:gd name="connsiteY16" fmla="*/ 59 h 10000"/>
                <a:gd name="connsiteX17" fmla="*/ 4380 w 10000"/>
                <a:gd name="connsiteY17" fmla="*/ 0 h 10000"/>
                <a:gd name="connsiteX18" fmla="*/ 4767 w 10000"/>
                <a:gd name="connsiteY18" fmla="*/ 569 h 10000"/>
                <a:gd name="connsiteX19" fmla="*/ 5019 w 10000"/>
                <a:gd name="connsiteY19" fmla="*/ 549 h 10000"/>
                <a:gd name="connsiteX20" fmla="*/ 5252 w 10000"/>
                <a:gd name="connsiteY20" fmla="*/ 569 h 10000"/>
                <a:gd name="connsiteX21" fmla="*/ 5640 w 10000"/>
                <a:gd name="connsiteY21" fmla="*/ 0 h 10000"/>
                <a:gd name="connsiteX22" fmla="*/ 5795 w 10000"/>
                <a:gd name="connsiteY22" fmla="*/ 20 h 10000"/>
                <a:gd name="connsiteX23" fmla="*/ 5950 w 10000"/>
                <a:gd name="connsiteY23" fmla="*/ 59 h 10000"/>
                <a:gd name="connsiteX24" fmla="*/ 6163 w 10000"/>
                <a:gd name="connsiteY24" fmla="*/ 706 h 10000"/>
                <a:gd name="connsiteX25" fmla="*/ 6395 w 10000"/>
                <a:gd name="connsiteY25" fmla="*/ 765 h 10000"/>
                <a:gd name="connsiteX26" fmla="*/ 6492 w 10000"/>
                <a:gd name="connsiteY26" fmla="*/ 804 h 10000"/>
                <a:gd name="connsiteX27" fmla="*/ 6609 w 10000"/>
                <a:gd name="connsiteY27" fmla="*/ 843 h 10000"/>
                <a:gd name="connsiteX28" fmla="*/ 7151 w 10000"/>
                <a:gd name="connsiteY28" fmla="*/ 451 h 10000"/>
                <a:gd name="connsiteX29" fmla="*/ 7287 w 10000"/>
                <a:gd name="connsiteY29" fmla="*/ 510 h 10000"/>
                <a:gd name="connsiteX30" fmla="*/ 7442 w 10000"/>
                <a:gd name="connsiteY30" fmla="*/ 588 h 10000"/>
                <a:gd name="connsiteX31" fmla="*/ 7442 w 10000"/>
                <a:gd name="connsiteY31" fmla="*/ 1275 h 10000"/>
                <a:gd name="connsiteX32" fmla="*/ 7616 w 10000"/>
                <a:gd name="connsiteY32" fmla="*/ 1412 h 10000"/>
                <a:gd name="connsiteX33" fmla="*/ 7713 w 10000"/>
                <a:gd name="connsiteY33" fmla="*/ 1471 h 10000"/>
                <a:gd name="connsiteX34" fmla="*/ 7810 w 10000"/>
                <a:gd name="connsiteY34" fmla="*/ 1549 h 10000"/>
                <a:gd name="connsiteX35" fmla="*/ 8450 w 10000"/>
                <a:gd name="connsiteY35" fmla="*/ 1333 h 10000"/>
                <a:gd name="connsiteX36" fmla="*/ 8566 w 10000"/>
                <a:gd name="connsiteY36" fmla="*/ 1451 h 10000"/>
                <a:gd name="connsiteX37" fmla="*/ 8682 w 10000"/>
                <a:gd name="connsiteY37" fmla="*/ 1569 h 10000"/>
                <a:gd name="connsiteX38" fmla="*/ 8469 w 10000"/>
                <a:gd name="connsiteY38" fmla="*/ 2216 h 10000"/>
                <a:gd name="connsiteX39" fmla="*/ 8605 w 10000"/>
                <a:gd name="connsiteY39" fmla="*/ 2392 h 10000"/>
                <a:gd name="connsiteX40" fmla="*/ 8740 w 10000"/>
                <a:gd name="connsiteY40" fmla="*/ 2588 h 10000"/>
                <a:gd name="connsiteX41" fmla="*/ 9419 w 10000"/>
                <a:gd name="connsiteY41" fmla="*/ 2588 h 10000"/>
                <a:gd name="connsiteX42" fmla="*/ 9496 w 10000"/>
                <a:gd name="connsiteY42" fmla="*/ 2706 h 10000"/>
                <a:gd name="connsiteX43" fmla="*/ 9574 w 10000"/>
                <a:gd name="connsiteY43" fmla="*/ 2863 h 10000"/>
                <a:gd name="connsiteX44" fmla="*/ 9167 w 10000"/>
                <a:gd name="connsiteY44" fmla="*/ 3392 h 10000"/>
                <a:gd name="connsiteX45" fmla="*/ 9244 w 10000"/>
                <a:gd name="connsiteY45" fmla="*/ 3627 h 10000"/>
                <a:gd name="connsiteX46" fmla="*/ 9283 w 10000"/>
                <a:gd name="connsiteY46" fmla="*/ 3745 h 10000"/>
                <a:gd name="connsiteX47" fmla="*/ 9302 w 10000"/>
                <a:gd name="connsiteY47" fmla="*/ 3863 h 10000"/>
                <a:gd name="connsiteX48" fmla="*/ 9961 w 10000"/>
                <a:gd name="connsiteY48" fmla="*/ 4059 h 10000"/>
                <a:gd name="connsiteX49" fmla="*/ 10000 w 10000"/>
                <a:gd name="connsiteY49" fmla="*/ 4392 h 10000"/>
                <a:gd name="connsiteX50" fmla="*/ 9438 w 10000"/>
                <a:gd name="connsiteY50" fmla="*/ 4765 h 10000"/>
                <a:gd name="connsiteX51" fmla="*/ 9457 w 10000"/>
                <a:gd name="connsiteY51" fmla="*/ 5000 h 10000"/>
                <a:gd name="connsiteX52" fmla="*/ 9438 w 10000"/>
                <a:gd name="connsiteY52" fmla="*/ 5235 h 10000"/>
                <a:gd name="connsiteX53" fmla="*/ 10000 w 10000"/>
                <a:gd name="connsiteY53" fmla="*/ 5627 h 10000"/>
                <a:gd name="connsiteX54" fmla="*/ 9981 w 10000"/>
                <a:gd name="connsiteY54" fmla="*/ 5784 h 10000"/>
                <a:gd name="connsiteX55" fmla="*/ 9961 w 10000"/>
                <a:gd name="connsiteY55" fmla="*/ 5941 h 10000"/>
                <a:gd name="connsiteX56" fmla="*/ 9302 w 10000"/>
                <a:gd name="connsiteY56" fmla="*/ 6157 h 10000"/>
                <a:gd name="connsiteX57" fmla="*/ 9244 w 10000"/>
                <a:gd name="connsiteY57" fmla="*/ 6392 h 10000"/>
                <a:gd name="connsiteX58" fmla="*/ 9205 w 10000"/>
                <a:gd name="connsiteY58" fmla="*/ 6490 h 10000"/>
                <a:gd name="connsiteX59" fmla="*/ 9167 w 10000"/>
                <a:gd name="connsiteY59" fmla="*/ 6608 h 10000"/>
                <a:gd name="connsiteX60" fmla="*/ 9574 w 10000"/>
                <a:gd name="connsiteY60" fmla="*/ 7157 h 10000"/>
                <a:gd name="connsiteX61" fmla="*/ 9496 w 10000"/>
                <a:gd name="connsiteY61" fmla="*/ 7294 h 10000"/>
                <a:gd name="connsiteX62" fmla="*/ 9419 w 10000"/>
                <a:gd name="connsiteY62" fmla="*/ 7431 h 10000"/>
                <a:gd name="connsiteX63" fmla="*/ 8740 w 10000"/>
                <a:gd name="connsiteY63" fmla="*/ 7412 h 10000"/>
                <a:gd name="connsiteX64" fmla="*/ 8605 w 10000"/>
                <a:gd name="connsiteY64" fmla="*/ 7627 h 10000"/>
                <a:gd name="connsiteX65" fmla="*/ 8547 w 10000"/>
                <a:gd name="connsiteY65" fmla="*/ 7706 h 10000"/>
                <a:gd name="connsiteX66" fmla="*/ 8469 w 10000"/>
                <a:gd name="connsiteY66" fmla="*/ 7804 h 10000"/>
                <a:gd name="connsiteX67" fmla="*/ 8682 w 10000"/>
                <a:gd name="connsiteY67" fmla="*/ 8451 h 10000"/>
                <a:gd name="connsiteX68" fmla="*/ 8566 w 10000"/>
                <a:gd name="connsiteY68" fmla="*/ 8569 h 10000"/>
                <a:gd name="connsiteX69" fmla="*/ 8450 w 10000"/>
                <a:gd name="connsiteY69" fmla="*/ 8686 h 10000"/>
                <a:gd name="connsiteX70" fmla="*/ 7810 w 10000"/>
                <a:gd name="connsiteY70" fmla="*/ 8471 h 10000"/>
                <a:gd name="connsiteX71" fmla="*/ 7616 w 10000"/>
                <a:gd name="connsiteY71" fmla="*/ 8608 h 10000"/>
                <a:gd name="connsiteX72" fmla="*/ 7442 w 10000"/>
                <a:gd name="connsiteY72" fmla="*/ 8745 h 10000"/>
                <a:gd name="connsiteX73" fmla="*/ 7442 w 10000"/>
                <a:gd name="connsiteY73" fmla="*/ 9412 h 10000"/>
                <a:gd name="connsiteX74" fmla="*/ 7287 w 10000"/>
                <a:gd name="connsiteY74" fmla="*/ 9510 h 10000"/>
                <a:gd name="connsiteX75" fmla="*/ 7151 w 10000"/>
                <a:gd name="connsiteY75" fmla="*/ 9569 h 10000"/>
                <a:gd name="connsiteX76" fmla="*/ 6609 w 10000"/>
                <a:gd name="connsiteY76" fmla="*/ 9157 h 10000"/>
                <a:gd name="connsiteX77" fmla="*/ 6395 w 10000"/>
                <a:gd name="connsiteY77" fmla="*/ 9235 h 10000"/>
                <a:gd name="connsiteX78" fmla="*/ 6279 w 10000"/>
                <a:gd name="connsiteY78" fmla="*/ 9275 h 10000"/>
                <a:gd name="connsiteX79" fmla="*/ 6163 w 10000"/>
                <a:gd name="connsiteY79" fmla="*/ 9314 h 10000"/>
                <a:gd name="connsiteX80" fmla="*/ 5950 w 10000"/>
                <a:gd name="connsiteY80" fmla="*/ 9961 h 10000"/>
                <a:gd name="connsiteX81" fmla="*/ 5640 w 10000"/>
                <a:gd name="connsiteY81" fmla="*/ 10000 h 10000"/>
                <a:gd name="connsiteX82" fmla="*/ 5252 w 10000"/>
                <a:gd name="connsiteY82" fmla="*/ 9451 h 10000"/>
                <a:gd name="connsiteX83" fmla="*/ 5019 w 10000"/>
                <a:gd name="connsiteY83" fmla="*/ 9451 h 10000"/>
                <a:gd name="connsiteX84" fmla="*/ 4767 w 10000"/>
                <a:gd name="connsiteY84" fmla="*/ 9451 h 10000"/>
                <a:gd name="connsiteX85" fmla="*/ 4380 w 10000"/>
                <a:gd name="connsiteY85" fmla="*/ 10000 h 10000"/>
                <a:gd name="connsiteX86" fmla="*/ 4225 w 10000"/>
                <a:gd name="connsiteY86" fmla="*/ 9980 h 10000"/>
                <a:gd name="connsiteX87" fmla="*/ 4070 w 10000"/>
                <a:gd name="connsiteY87" fmla="*/ 9961 h 10000"/>
                <a:gd name="connsiteX88" fmla="*/ 3857 w 10000"/>
                <a:gd name="connsiteY88" fmla="*/ 9314 h 10000"/>
                <a:gd name="connsiteX89" fmla="*/ 3624 w 10000"/>
                <a:gd name="connsiteY89" fmla="*/ 9235 h 10000"/>
                <a:gd name="connsiteX90" fmla="*/ 3508 w 10000"/>
                <a:gd name="connsiteY90" fmla="*/ 9216 h 10000"/>
                <a:gd name="connsiteX91" fmla="*/ 3411 w 10000"/>
                <a:gd name="connsiteY91" fmla="*/ 9157 h 10000"/>
                <a:gd name="connsiteX92" fmla="*/ 2868 w 10000"/>
                <a:gd name="connsiteY92" fmla="*/ 9569 h 10000"/>
                <a:gd name="connsiteX93" fmla="*/ 2733 w 10000"/>
                <a:gd name="connsiteY93" fmla="*/ 9510 h 10000"/>
                <a:gd name="connsiteX94" fmla="*/ 2578 w 10000"/>
                <a:gd name="connsiteY94" fmla="*/ 9412 h 10000"/>
                <a:gd name="connsiteX95" fmla="*/ 2597 w 10000"/>
                <a:gd name="connsiteY95" fmla="*/ 8745 h 10000"/>
                <a:gd name="connsiteX96" fmla="*/ 2403 w 10000"/>
                <a:gd name="connsiteY96" fmla="*/ 8608 h 10000"/>
                <a:gd name="connsiteX97" fmla="*/ 2306 w 10000"/>
                <a:gd name="connsiteY97" fmla="*/ 8529 h 10000"/>
                <a:gd name="connsiteX98" fmla="*/ 2209 w 10000"/>
                <a:gd name="connsiteY98" fmla="*/ 8471 h 10000"/>
                <a:gd name="connsiteX99" fmla="*/ 1570 w 10000"/>
                <a:gd name="connsiteY99" fmla="*/ 8686 h 10000"/>
                <a:gd name="connsiteX100" fmla="*/ 1453 w 10000"/>
                <a:gd name="connsiteY100" fmla="*/ 8569 h 10000"/>
                <a:gd name="connsiteX101" fmla="*/ 1337 w 10000"/>
                <a:gd name="connsiteY101" fmla="*/ 8451 h 10000"/>
                <a:gd name="connsiteX102" fmla="*/ 1550 w 10000"/>
                <a:gd name="connsiteY102" fmla="*/ 7804 h 10000"/>
                <a:gd name="connsiteX103" fmla="*/ 1415 w 10000"/>
                <a:gd name="connsiteY103" fmla="*/ 7627 h 10000"/>
                <a:gd name="connsiteX104" fmla="*/ 1279 w 10000"/>
                <a:gd name="connsiteY104" fmla="*/ 7412 h 10000"/>
                <a:gd name="connsiteX105" fmla="*/ 601 w 10000"/>
                <a:gd name="connsiteY105" fmla="*/ 7431 h 10000"/>
                <a:gd name="connsiteX106" fmla="*/ 523 w 10000"/>
                <a:gd name="connsiteY106" fmla="*/ 7294 h 10000"/>
                <a:gd name="connsiteX107" fmla="*/ 446 w 10000"/>
                <a:gd name="connsiteY107" fmla="*/ 7157 h 10000"/>
                <a:gd name="connsiteX108" fmla="*/ 853 w 10000"/>
                <a:gd name="connsiteY108" fmla="*/ 6608 h 10000"/>
                <a:gd name="connsiteX109" fmla="*/ 775 w 10000"/>
                <a:gd name="connsiteY109" fmla="*/ 6392 h 10000"/>
                <a:gd name="connsiteX110" fmla="*/ 756 w 10000"/>
                <a:gd name="connsiteY110" fmla="*/ 6275 h 10000"/>
                <a:gd name="connsiteX111" fmla="*/ 717 w 10000"/>
                <a:gd name="connsiteY111" fmla="*/ 6157 h 10000"/>
                <a:gd name="connsiteX112" fmla="*/ 58 w 10000"/>
                <a:gd name="connsiteY112" fmla="*/ 5941 h 10000"/>
                <a:gd name="connsiteX113" fmla="*/ 0 w 10000"/>
                <a:gd name="connsiteY113" fmla="*/ 5627 h 10000"/>
                <a:gd name="connsiteX114" fmla="*/ 581 w 10000"/>
                <a:gd name="connsiteY114" fmla="*/ 5235 h 10000"/>
                <a:gd name="connsiteX115" fmla="*/ 562 w 10000"/>
                <a:gd name="connsiteY115" fmla="*/ 5000 h 10000"/>
                <a:gd name="connsiteX116" fmla="*/ 581 w 10000"/>
                <a:gd name="connsiteY116" fmla="*/ 4765 h 10000"/>
                <a:gd name="connsiteX117" fmla="*/ 0 w 10000"/>
                <a:gd name="connsiteY117" fmla="*/ 4392 h 10000"/>
                <a:gd name="connsiteX118" fmla="*/ 19 w 10000"/>
                <a:gd name="connsiteY118" fmla="*/ 4216 h 10000"/>
                <a:gd name="connsiteX119" fmla="*/ 58 w 10000"/>
                <a:gd name="connsiteY119" fmla="*/ 4059 h 10000"/>
                <a:gd name="connsiteX120" fmla="*/ 717 w 10000"/>
                <a:gd name="connsiteY120" fmla="*/ 3863 h 10000"/>
                <a:gd name="connsiteX121" fmla="*/ 775 w 10000"/>
                <a:gd name="connsiteY121" fmla="*/ 3627 h 10000"/>
                <a:gd name="connsiteX122" fmla="*/ 814 w 10000"/>
                <a:gd name="connsiteY122" fmla="*/ 3510 h 10000"/>
                <a:gd name="connsiteX123" fmla="*/ 853 w 10000"/>
                <a:gd name="connsiteY123" fmla="*/ 3392 h 10000"/>
                <a:gd name="connsiteX124" fmla="*/ 446 w 10000"/>
                <a:gd name="connsiteY124" fmla="*/ 2863 h 10000"/>
                <a:gd name="connsiteX125" fmla="*/ 523 w 10000"/>
                <a:gd name="connsiteY125" fmla="*/ 2706 h 10000"/>
                <a:gd name="connsiteX126" fmla="*/ 601 w 10000"/>
                <a:gd name="connsiteY126" fmla="*/ 2588 h 10000"/>
                <a:gd name="connsiteX127" fmla="*/ 1279 w 10000"/>
                <a:gd name="connsiteY127" fmla="*/ 2588 h 10000"/>
                <a:gd name="connsiteX128" fmla="*/ 2019 w 10000"/>
                <a:gd name="connsiteY128" fmla="*/ 3003 h 10000"/>
                <a:gd name="connsiteX0" fmla="*/ 1415 w 10000"/>
                <a:gd name="connsiteY0" fmla="*/ 2392 h 10000"/>
                <a:gd name="connsiteX1" fmla="*/ 1473 w 10000"/>
                <a:gd name="connsiteY1" fmla="*/ 2294 h 10000"/>
                <a:gd name="connsiteX2" fmla="*/ 1550 w 10000"/>
                <a:gd name="connsiteY2" fmla="*/ 2216 h 10000"/>
                <a:gd name="connsiteX3" fmla="*/ 1337 w 10000"/>
                <a:gd name="connsiteY3" fmla="*/ 1569 h 10000"/>
                <a:gd name="connsiteX4" fmla="*/ 1453 w 10000"/>
                <a:gd name="connsiteY4" fmla="*/ 1451 h 10000"/>
                <a:gd name="connsiteX5" fmla="*/ 1570 w 10000"/>
                <a:gd name="connsiteY5" fmla="*/ 1333 h 10000"/>
                <a:gd name="connsiteX6" fmla="*/ 2209 w 10000"/>
                <a:gd name="connsiteY6" fmla="*/ 1549 h 10000"/>
                <a:gd name="connsiteX7" fmla="*/ 2403 w 10000"/>
                <a:gd name="connsiteY7" fmla="*/ 1412 h 10000"/>
                <a:gd name="connsiteX8" fmla="*/ 2597 w 10000"/>
                <a:gd name="connsiteY8" fmla="*/ 1275 h 10000"/>
                <a:gd name="connsiteX9" fmla="*/ 2578 w 10000"/>
                <a:gd name="connsiteY9" fmla="*/ 588 h 10000"/>
                <a:gd name="connsiteX10" fmla="*/ 2733 w 10000"/>
                <a:gd name="connsiteY10" fmla="*/ 510 h 10000"/>
                <a:gd name="connsiteX11" fmla="*/ 2868 w 10000"/>
                <a:gd name="connsiteY11" fmla="*/ 451 h 10000"/>
                <a:gd name="connsiteX12" fmla="*/ 3411 w 10000"/>
                <a:gd name="connsiteY12" fmla="*/ 843 h 10000"/>
                <a:gd name="connsiteX13" fmla="*/ 3624 w 10000"/>
                <a:gd name="connsiteY13" fmla="*/ 765 h 10000"/>
                <a:gd name="connsiteX14" fmla="*/ 3740 w 10000"/>
                <a:gd name="connsiteY14" fmla="*/ 725 h 10000"/>
                <a:gd name="connsiteX15" fmla="*/ 3857 w 10000"/>
                <a:gd name="connsiteY15" fmla="*/ 706 h 10000"/>
                <a:gd name="connsiteX16" fmla="*/ 4070 w 10000"/>
                <a:gd name="connsiteY16" fmla="*/ 59 h 10000"/>
                <a:gd name="connsiteX17" fmla="*/ 4380 w 10000"/>
                <a:gd name="connsiteY17" fmla="*/ 0 h 10000"/>
                <a:gd name="connsiteX18" fmla="*/ 4767 w 10000"/>
                <a:gd name="connsiteY18" fmla="*/ 569 h 10000"/>
                <a:gd name="connsiteX19" fmla="*/ 5019 w 10000"/>
                <a:gd name="connsiteY19" fmla="*/ 549 h 10000"/>
                <a:gd name="connsiteX20" fmla="*/ 5252 w 10000"/>
                <a:gd name="connsiteY20" fmla="*/ 569 h 10000"/>
                <a:gd name="connsiteX21" fmla="*/ 5640 w 10000"/>
                <a:gd name="connsiteY21" fmla="*/ 0 h 10000"/>
                <a:gd name="connsiteX22" fmla="*/ 5795 w 10000"/>
                <a:gd name="connsiteY22" fmla="*/ 20 h 10000"/>
                <a:gd name="connsiteX23" fmla="*/ 5950 w 10000"/>
                <a:gd name="connsiteY23" fmla="*/ 59 h 10000"/>
                <a:gd name="connsiteX24" fmla="*/ 6163 w 10000"/>
                <a:gd name="connsiteY24" fmla="*/ 706 h 10000"/>
                <a:gd name="connsiteX25" fmla="*/ 6395 w 10000"/>
                <a:gd name="connsiteY25" fmla="*/ 765 h 10000"/>
                <a:gd name="connsiteX26" fmla="*/ 6492 w 10000"/>
                <a:gd name="connsiteY26" fmla="*/ 804 h 10000"/>
                <a:gd name="connsiteX27" fmla="*/ 6609 w 10000"/>
                <a:gd name="connsiteY27" fmla="*/ 843 h 10000"/>
                <a:gd name="connsiteX28" fmla="*/ 7151 w 10000"/>
                <a:gd name="connsiteY28" fmla="*/ 451 h 10000"/>
                <a:gd name="connsiteX29" fmla="*/ 7287 w 10000"/>
                <a:gd name="connsiteY29" fmla="*/ 510 h 10000"/>
                <a:gd name="connsiteX30" fmla="*/ 7442 w 10000"/>
                <a:gd name="connsiteY30" fmla="*/ 588 h 10000"/>
                <a:gd name="connsiteX31" fmla="*/ 7442 w 10000"/>
                <a:gd name="connsiteY31" fmla="*/ 1275 h 10000"/>
                <a:gd name="connsiteX32" fmla="*/ 7616 w 10000"/>
                <a:gd name="connsiteY32" fmla="*/ 1412 h 10000"/>
                <a:gd name="connsiteX33" fmla="*/ 7713 w 10000"/>
                <a:gd name="connsiteY33" fmla="*/ 1471 h 10000"/>
                <a:gd name="connsiteX34" fmla="*/ 7810 w 10000"/>
                <a:gd name="connsiteY34" fmla="*/ 1549 h 10000"/>
                <a:gd name="connsiteX35" fmla="*/ 8450 w 10000"/>
                <a:gd name="connsiteY35" fmla="*/ 1333 h 10000"/>
                <a:gd name="connsiteX36" fmla="*/ 8566 w 10000"/>
                <a:gd name="connsiteY36" fmla="*/ 1451 h 10000"/>
                <a:gd name="connsiteX37" fmla="*/ 8682 w 10000"/>
                <a:gd name="connsiteY37" fmla="*/ 1569 h 10000"/>
                <a:gd name="connsiteX38" fmla="*/ 8469 w 10000"/>
                <a:gd name="connsiteY38" fmla="*/ 2216 h 10000"/>
                <a:gd name="connsiteX39" fmla="*/ 8605 w 10000"/>
                <a:gd name="connsiteY39" fmla="*/ 2392 h 10000"/>
                <a:gd name="connsiteX40" fmla="*/ 8740 w 10000"/>
                <a:gd name="connsiteY40" fmla="*/ 2588 h 10000"/>
                <a:gd name="connsiteX41" fmla="*/ 9419 w 10000"/>
                <a:gd name="connsiteY41" fmla="*/ 2588 h 10000"/>
                <a:gd name="connsiteX42" fmla="*/ 9496 w 10000"/>
                <a:gd name="connsiteY42" fmla="*/ 2706 h 10000"/>
                <a:gd name="connsiteX43" fmla="*/ 9574 w 10000"/>
                <a:gd name="connsiteY43" fmla="*/ 2863 h 10000"/>
                <a:gd name="connsiteX44" fmla="*/ 9167 w 10000"/>
                <a:gd name="connsiteY44" fmla="*/ 3392 h 10000"/>
                <a:gd name="connsiteX45" fmla="*/ 9244 w 10000"/>
                <a:gd name="connsiteY45" fmla="*/ 3627 h 10000"/>
                <a:gd name="connsiteX46" fmla="*/ 9283 w 10000"/>
                <a:gd name="connsiteY46" fmla="*/ 3745 h 10000"/>
                <a:gd name="connsiteX47" fmla="*/ 9302 w 10000"/>
                <a:gd name="connsiteY47" fmla="*/ 3863 h 10000"/>
                <a:gd name="connsiteX48" fmla="*/ 9961 w 10000"/>
                <a:gd name="connsiteY48" fmla="*/ 4059 h 10000"/>
                <a:gd name="connsiteX49" fmla="*/ 10000 w 10000"/>
                <a:gd name="connsiteY49" fmla="*/ 4392 h 10000"/>
                <a:gd name="connsiteX50" fmla="*/ 9438 w 10000"/>
                <a:gd name="connsiteY50" fmla="*/ 4765 h 10000"/>
                <a:gd name="connsiteX51" fmla="*/ 9457 w 10000"/>
                <a:gd name="connsiteY51" fmla="*/ 5000 h 10000"/>
                <a:gd name="connsiteX52" fmla="*/ 9438 w 10000"/>
                <a:gd name="connsiteY52" fmla="*/ 5235 h 10000"/>
                <a:gd name="connsiteX53" fmla="*/ 10000 w 10000"/>
                <a:gd name="connsiteY53" fmla="*/ 5627 h 10000"/>
                <a:gd name="connsiteX54" fmla="*/ 9981 w 10000"/>
                <a:gd name="connsiteY54" fmla="*/ 5784 h 10000"/>
                <a:gd name="connsiteX55" fmla="*/ 9961 w 10000"/>
                <a:gd name="connsiteY55" fmla="*/ 5941 h 10000"/>
                <a:gd name="connsiteX56" fmla="*/ 9302 w 10000"/>
                <a:gd name="connsiteY56" fmla="*/ 6157 h 10000"/>
                <a:gd name="connsiteX57" fmla="*/ 9244 w 10000"/>
                <a:gd name="connsiteY57" fmla="*/ 6392 h 10000"/>
                <a:gd name="connsiteX58" fmla="*/ 9205 w 10000"/>
                <a:gd name="connsiteY58" fmla="*/ 6490 h 10000"/>
                <a:gd name="connsiteX59" fmla="*/ 9167 w 10000"/>
                <a:gd name="connsiteY59" fmla="*/ 6608 h 10000"/>
                <a:gd name="connsiteX60" fmla="*/ 9574 w 10000"/>
                <a:gd name="connsiteY60" fmla="*/ 7157 h 10000"/>
                <a:gd name="connsiteX61" fmla="*/ 9496 w 10000"/>
                <a:gd name="connsiteY61" fmla="*/ 7294 h 10000"/>
                <a:gd name="connsiteX62" fmla="*/ 9419 w 10000"/>
                <a:gd name="connsiteY62" fmla="*/ 7431 h 10000"/>
                <a:gd name="connsiteX63" fmla="*/ 8740 w 10000"/>
                <a:gd name="connsiteY63" fmla="*/ 7412 h 10000"/>
                <a:gd name="connsiteX64" fmla="*/ 8605 w 10000"/>
                <a:gd name="connsiteY64" fmla="*/ 7627 h 10000"/>
                <a:gd name="connsiteX65" fmla="*/ 8547 w 10000"/>
                <a:gd name="connsiteY65" fmla="*/ 7706 h 10000"/>
                <a:gd name="connsiteX66" fmla="*/ 8469 w 10000"/>
                <a:gd name="connsiteY66" fmla="*/ 7804 h 10000"/>
                <a:gd name="connsiteX67" fmla="*/ 8682 w 10000"/>
                <a:gd name="connsiteY67" fmla="*/ 8451 h 10000"/>
                <a:gd name="connsiteX68" fmla="*/ 8566 w 10000"/>
                <a:gd name="connsiteY68" fmla="*/ 8569 h 10000"/>
                <a:gd name="connsiteX69" fmla="*/ 8450 w 10000"/>
                <a:gd name="connsiteY69" fmla="*/ 8686 h 10000"/>
                <a:gd name="connsiteX70" fmla="*/ 7810 w 10000"/>
                <a:gd name="connsiteY70" fmla="*/ 8471 h 10000"/>
                <a:gd name="connsiteX71" fmla="*/ 7616 w 10000"/>
                <a:gd name="connsiteY71" fmla="*/ 8608 h 10000"/>
                <a:gd name="connsiteX72" fmla="*/ 7442 w 10000"/>
                <a:gd name="connsiteY72" fmla="*/ 8745 h 10000"/>
                <a:gd name="connsiteX73" fmla="*/ 7442 w 10000"/>
                <a:gd name="connsiteY73" fmla="*/ 9412 h 10000"/>
                <a:gd name="connsiteX74" fmla="*/ 7287 w 10000"/>
                <a:gd name="connsiteY74" fmla="*/ 9510 h 10000"/>
                <a:gd name="connsiteX75" fmla="*/ 7151 w 10000"/>
                <a:gd name="connsiteY75" fmla="*/ 9569 h 10000"/>
                <a:gd name="connsiteX76" fmla="*/ 6609 w 10000"/>
                <a:gd name="connsiteY76" fmla="*/ 9157 h 10000"/>
                <a:gd name="connsiteX77" fmla="*/ 6395 w 10000"/>
                <a:gd name="connsiteY77" fmla="*/ 9235 h 10000"/>
                <a:gd name="connsiteX78" fmla="*/ 6279 w 10000"/>
                <a:gd name="connsiteY78" fmla="*/ 9275 h 10000"/>
                <a:gd name="connsiteX79" fmla="*/ 6163 w 10000"/>
                <a:gd name="connsiteY79" fmla="*/ 9314 h 10000"/>
                <a:gd name="connsiteX80" fmla="*/ 5950 w 10000"/>
                <a:gd name="connsiteY80" fmla="*/ 9961 h 10000"/>
                <a:gd name="connsiteX81" fmla="*/ 5640 w 10000"/>
                <a:gd name="connsiteY81" fmla="*/ 10000 h 10000"/>
                <a:gd name="connsiteX82" fmla="*/ 5252 w 10000"/>
                <a:gd name="connsiteY82" fmla="*/ 9451 h 10000"/>
                <a:gd name="connsiteX83" fmla="*/ 5019 w 10000"/>
                <a:gd name="connsiteY83" fmla="*/ 9451 h 10000"/>
                <a:gd name="connsiteX84" fmla="*/ 4767 w 10000"/>
                <a:gd name="connsiteY84" fmla="*/ 9451 h 10000"/>
                <a:gd name="connsiteX85" fmla="*/ 4380 w 10000"/>
                <a:gd name="connsiteY85" fmla="*/ 10000 h 10000"/>
                <a:gd name="connsiteX86" fmla="*/ 4225 w 10000"/>
                <a:gd name="connsiteY86" fmla="*/ 9980 h 10000"/>
                <a:gd name="connsiteX87" fmla="*/ 4070 w 10000"/>
                <a:gd name="connsiteY87" fmla="*/ 9961 h 10000"/>
                <a:gd name="connsiteX88" fmla="*/ 3857 w 10000"/>
                <a:gd name="connsiteY88" fmla="*/ 9314 h 10000"/>
                <a:gd name="connsiteX89" fmla="*/ 3624 w 10000"/>
                <a:gd name="connsiteY89" fmla="*/ 9235 h 10000"/>
                <a:gd name="connsiteX90" fmla="*/ 3508 w 10000"/>
                <a:gd name="connsiteY90" fmla="*/ 9216 h 10000"/>
                <a:gd name="connsiteX91" fmla="*/ 3411 w 10000"/>
                <a:gd name="connsiteY91" fmla="*/ 9157 h 10000"/>
                <a:gd name="connsiteX92" fmla="*/ 2868 w 10000"/>
                <a:gd name="connsiteY92" fmla="*/ 9569 h 10000"/>
                <a:gd name="connsiteX93" fmla="*/ 2733 w 10000"/>
                <a:gd name="connsiteY93" fmla="*/ 9510 h 10000"/>
                <a:gd name="connsiteX94" fmla="*/ 2578 w 10000"/>
                <a:gd name="connsiteY94" fmla="*/ 9412 h 10000"/>
                <a:gd name="connsiteX95" fmla="*/ 2597 w 10000"/>
                <a:gd name="connsiteY95" fmla="*/ 8745 h 10000"/>
                <a:gd name="connsiteX96" fmla="*/ 2403 w 10000"/>
                <a:gd name="connsiteY96" fmla="*/ 8608 h 10000"/>
                <a:gd name="connsiteX97" fmla="*/ 2306 w 10000"/>
                <a:gd name="connsiteY97" fmla="*/ 8529 h 10000"/>
                <a:gd name="connsiteX98" fmla="*/ 2209 w 10000"/>
                <a:gd name="connsiteY98" fmla="*/ 8471 h 10000"/>
                <a:gd name="connsiteX99" fmla="*/ 1570 w 10000"/>
                <a:gd name="connsiteY99" fmla="*/ 8686 h 10000"/>
                <a:gd name="connsiteX100" fmla="*/ 1453 w 10000"/>
                <a:gd name="connsiteY100" fmla="*/ 8569 h 10000"/>
                <a:gd name="connsiteX101" fmla="*/ 1337 w 10000"/>
                <a:gd name="connsiteY101" fmla="*/ 8451 h 10000"/>
                <a:gd name="connsiteX102" fmla="*/ 1550 w 10000"/>
                <a:gd name="connsiteY102" fmla="*/ 7804 h 10000"/>
                <a:gd name="connsiteX103" fmla="*/ 1415 w 10000"/>
                <a:gd name="connsiteY103" fmla="*/ 7627 h 10000"/>
                <a:gd name="connsiteX104" fmla="*/ 1279 w 10000"/>
                <a:gd name="connsiteY104" fmla="*/ 7412 h 10000"/>
                <a:gd name="connsiteX105" fmla="*/ 601 w 10000"/>
                <a:gd name="connsiteY105" fmla="*/ 7431 h 10000"/>
                <a:gd name="connsiteX106" fmla="*/ 523 w 10000"/>
                <a:gd name="connsiteY106" fmla="*/ 7294 h 10000"/>
                <a:gd name="connsiteX107" fmla="*/ 446 w 10000"/>
                <a:gd name="connsiteY107" fmla="*/ 7157 h 10000"/>
                <a:gd name="connsiteX108" fmla="*/ 853 w 10000"/>
                <a:gd name="connsiteY108" fmla="*/ 6608 h 10000"/>
                <a:gd name="connsiteX109" fmla="*/ 775 w 10000"/>
                <a:gd name="connsiteY109" fmla="*/ 6392 h 10000"/>
                <a:gd name="connsiteX110" fmla="*/ 756 w 10000"/>
                <a:gd name="connsiteY110" fmla="*/ 6275 h 10000"/>
                <a:gd name="connsiteX111" fmla="*/ 717 w 10000"/>
                <a:gd name="connsiteY111" fmla="*/ 6157 h 10000"/>
                <a:gd name="connsiteX112" fmla="*/ 58 w 10000"/>
                <a:gd name="connsiteY112" fmla="*/ 5941 h 10000"/>
                <a:gd name="connsiteX113" fmla="*/ 0 w 10000"/>
                <a:gd name="connsiteY113" fmla="*/ 5627 h 10000"/>
                <a:gd name="connsiteX114" fmla="*/ 581 w 10000"/>
                <a:gd name="connsiteY114" fmla="*/ 5235 h 10000"/>
                <a:gd name="connsiteX115" fmla="*/ 562 w 10000"/>
                <a:gd name="connsiteY115" fmla="*/ 5000 h 10000"/>
                <a:gd name="connsiteX116" fmla="*/ 581 w 10000"/>
                <a:gd name="connsiteY116" fmla="*/ 4765 h 10000"/>
                <a:gd name="connsiteX117" fmla="*/ 0 w 10000"/>
                <a:gd name="connsiteY117" fmla="*/ 4392 h 10000"/>
                <a:gd name="connsiteX118" fmla="*/ 19 w 10000"/>
                <a:gd name="connsiteY118" fmla="*/ 4216 h 10000"/>
                <a:gd name="connsiteX119" fmla="*/ 58 w 10000"/>
                <a:gd name="connsiteY119" fmla="*/ 4059 h 10000"/>
                <a:gd name="connsiteX120" fmla="*/ 717 w 10000"/>
                <a:gd name="connsiteY120" fmla="*/ 3863 h 10000"/>
                <a:gd name="connsiteX121" fmla="*/ 775 w 10000"/>
                <a:gd name="connsiteY121" fmla="*/ 3627 h 10000"/>
                <a:gd name="connsiteX122" fmla="*/ 814 w 10000"/>
                <a:gd name="connsiteY122" fmla="*/ 3510 h 10000"/>
                <a:gd name="connsiteX123" fmla="*/ 853 w 10000"/>
                <a:gd name="connsiteY123" fmla="*/ 3392 h 10000"/>
                <a:gd name="connsiteX124" fmla="*/ 446 w 10000"/>
                <a:gd name="connsiteY124" fmla="*/ 2863 h 10000"/>
                <a:gd name="connsiteX125" fmla="*/ 523 w 10000"/>
                <a:gd name="connsiteY125" fmla="*/ 2706 h 10000"/>
                <a:gd name="connsiteX126" fmla="*/ 601 w 10000"/>
                <a:gd name="connsiteY126" fmla="*/ 2588 h 10000"/>
                <a:gd name="connsiteX127" fmla="*/ 1279 w 10000"/>
                <a:gd name="connsiteY127" fmla="*/ 2588 h 10000"/>
                <a:gd name="connsiteX0" fmla="*/ 1415 w 10000"/>
                <a:gd name="connsiteY0" fmla="*/ 2392 h 10000"/>
                <a:gd name="connsiteX1" fmla="*/ 1473 w 10000"/>
                <a:gd name="connsiteY1" fmla="*/ 2294 h 10000"/>
                <a:gd name="connsiteX2" fmla="*/ 1337 w 10000"/>
                <a:gd name="connsiteY2" fmla="*/ 1569 h 10000"/>
                <a:gd name="connsiteX3" fmla="*/ 1453 w 10000"/>
                <a:gd name="connsiteY3" fmla="*/ 1451 h 10000"/>
                <a:gd name="connsiteX4" fmla="*/ 1570 w 10000"/>
                <a:gd name="connsiteY4" fmla="*/ 1333 h 10000"/>
                <a:gd name="connsiteX5" fmla="*/ 2209 w 10000"/>
                <a:gd name="connsiteY5" fmla="*/ 1549 h 10000"/>
                <a:gd name="connsiteX6" fmla="*/ 2403 w 10000"/>
                <a:gd name="connsiteY6" fmla="*/ 1412 h 10000"/>
                <a:gd name="connsiteX7" fmla="*/ 2597 w 10000"/>
                <a:gd name="connsiteY7" fmla="*/ 1275 h 10000"/>
                <a:gd name="connsiteX8" fmla="*/ 2578 w 10000"/>
                <a:gd name="connsiteY8" fmla="*/ 588 h 10000"/>
                <a:gd name="connsiteX9" fmla="*/ 2733 w 10000"/>
                <a:gd name="connsiteY9" fmla="*/ 510 h 10000"/>
                <a:gd name="connsiteX10" fmla="*/ 2868 w 10000"/>
                <a:gd name="connsiteY10" fmla="*/ 451 h 10000"/>
                <a:gd name="connsiteX11" fmla="*/ 3411 w 10000"/>
                <a:gd name="connsiteY11" fmla="*/ 843 h 10000"/>
                <a:gd name="connsiteX12" fmla="*/ 3624 w 10000"/>
                <a:gd name="connsiteY12" fmla="*/ 765 h 10000"/>
                <a:gd name="connsiteX13" fmla="*/ 3740 w 10000"/>
                <a:gd name="connsiteY13" fmla="*/ 725 h 10000"/>
                <a:gd name="connsiteX14" fmla="*/ 3857 w 10000"/>
                <a:gd name="connsiteY14" fmla="*/ 706 h 10000"/>
                <a:gd name="connsiteX15" fmla="*/ 4070 w 10000"/>
                <a:gd name="connsiteY15" fmla="*/ 59 h 10000"/>
                <a:gd name="connsiteX16" fmla="*/ 4380 w 10000"/>
                <a:gd name="connsiteY16" fmla="*/ 0 h 10000"/>
                <a:gd name="connsiteX17" fmla="*/ 4767 w 10000"/>
                <a:gd name="connsiteY17" fmla="*/ 569 h 10000"/>
                <a:gd name="connsiteX18" fmla="*/ 5019 w 10000"/>
                <a:gd name="connsiteY18" fmla="*/ 549 h 10000"/>
                <a:gd name="connsiteX19" fmla="*/ 5252 w 10000"/>
                <a:gd name="connsiteY19" fmla="*/ 569 h 10000"/>
                <a:gd name="connsiteX20" fmla="*/ 5640 w 10000"/>
                <a:gd name="connsiteY20" fmla="*/ 0 h 10000"/>
                <a:gd name="connsiteX21" fmla="*/ 5795 w 10000"/>
                <a:gd name="connsiteY21" fmla="*/ 20 h 10000"/>
                <a:gd name="connsiteX22" fmla="*/ 5950 w 10000"/>
                <a:gd name="connsiteY22" fmla="*/ 59 h 10000"/>
                <a:gd name="connsiteX23" fmla="*/ 6163 w 10000"/>
                <a:gd name="connsiteY23" fmla="*/ 706 h 10000"/>
                <a:gd name="connsiteX24" fmla="*/ 6395 w 10000"/>
                <a:gd name="connsiteY24" fmla="*/ 765 h 10000"/>
                <a:gd name="connsiteX25" fmla="*/ 6492 w 10000"/>
                <a:gd name="connsiteY25" fmla="*/ 804 h 10000"/>
                <a:gd name="connsiteX26" fmla="*/ 6609 w 10000"/>
                <a:gd name="connsiteY26" fmla="*/ 843 h 10000"/>
                <a:gd name="connsiteX27" fmla="*/ 7151 w 10000"/>
                <a:gd name="connsiteY27" fmla="*/ 451 h 10000"/>
                <a:gd name="connsiteX28" fmla="*/ 7287 w 10000"/>
                <a:gd name="connsiteY28" fmla="*/ 510 h 10000"/>
                <a:gd name="connsiteX29" fmla="*/ 7442 w 10000"/>
                <a:gd name="connsiteY29" fmla="*/ 588 h 10000"/>
                <a:gd name="connsiteX30" fmla="*/ 7442 w 10000"/>
                <a:gd name="connsiteY30" fmla="*/ 1275 h 10000"/>
                <a:gd name="connsiteX31" fmla="*/ 7616 w 10000"/>
                <a:gd name="connsiteY31" fmla="*/ 1412 h 10000"/>
                <a:gd name="connsiteX32" fmla="*/ 7713 w 10000"/>
                <a:gd name="connsiteY32" fmla="*/ 1471 h 10000"/>
                <a:gd name="connsiteX33" fmla="*/ 7810 w 10000"/>
                <a:gd name="connsiteY33" fmla="*/ 1549 h 10000"/>
                <a:gd name="connsiteX34" fmla="*/ 8450 w 10000"/>
                <a:gd name="connsiteY34" fmla="*/ 1333 h 10000"/>
                <a:gd name="connsiteX35" fmla="*/ 8566 w 10000"/>
                <a:gd name="connsiteY35" fmla="*/ 1451 h 10000"/>
                <a:gd name="connsiteX36" fmla="*/ 8682 w 10000"/>
                <a:gd name="connsiteY36" fmla="*/ 1569 h 10000"/>
                <a:gd name="connsiteX37" fmla="*/ 8469 w 10000"/>
                <a:gd name="connsiteY37" fmla="*/ 2216 h 10000"/>
                <a:gd name="connsiteX38" fmla="*/ 8605 w 10000"/>
                <a:gd name="connsiteY38" fmla="*/ 2392 h 10000"/>
                <a:gd name="connsiteX39" fmla="*/ 8740 w 10000"/>
                <a:gd name="connsiteY39" fmla="*/ 2588 h 10000"/>
                <a:gd name="connsiteX40" fmla="*/ 9419 w 10000"/>
                <a:gd name="connsiteY40" fmla="*/ 2588 h 10000"/>
                <a:gd name="connsiteX41" fmla="*/ 9496 w 10000"/>
                <a:gd name="connsiteY41" fmla="*/ 2706 h 10000"/>
                <a:gd name="connsiteX42" fmla="*/ 9574 w 10000"/>
                <a:gd name="connsiteY42" fmla="*/ 2863 h 10000"/>
                <a:gd name="connsiteX43" fmla="*/ 9167 w 10000"/>
                <a:gd name="connsiteY43" fmla="*/ 3392 h 10000"/>
                <a:gd name="connsiteX44" fmla="*/ 9244 w 10000"/>
                <a:gd name="connsiteY44" fmla="*/ 3627 h 10000"/>
                <a:gd name="connsiteX45" fmla="*/ 9283 w 10000"/>
                <a:gd name="connsiteY45" fmla="*/ 3745 h 10000"/>
                <a:gd name="connsiteX46" fmla="*/ 9302 w 10000"/>
                <a:gd name="connsiteY46" fmla="*/ 3863 h 10000"/>
                <a:gd name="connsiteX47" fmla="*/ 9961 w 10000"/>
                <a:gd name="connsiteY47" fmla="*/ 4059 h 10000"/>
                <a:gd name="connsiteX48" fmla="*/ 10000 w 10000"/>
                <a:gd name="connsiteY48" fmla="*/ 4392 h 10000"/>
                <a:gd name="connsiteX49" fmla="*/ 9438 w 10000"/>
                <a:gd name="connsiteY49" fmla="*/ 4765 h 10000"/>
                <a:gd name="connsiteX50" fmla="*/ 9457 w 10000"/>
                <a:gd name="connsiteY50" fmla="*/ 5000 h 10000"/>
                <a:gd name="connsiteX51" fmla="*/ 9438 w 10000"/>
                <a:gd name="connsiteY51" fmla="*/ 5235 h 10000"/>
                <a:gd name="connsiteX52" fmla="*/ 10000 w 10000"/>
                <a:gd name="connsiteY52" fmla="*/ 5627 h 10000"/>
                <a:gd name="connsiteX53" fmla="*/ 9981 w 10000"/>
                <a:gd name="connsiteY53" fmla="*/ 5784 h 10000"/>
                <a:gd name="connsiteX54" fmla="*/ 9961 w 10000"/>
                <a:gd name="connsiteY54" fmla="*/ 5941 h 10000"/>
                <a:gd name="connsiteX55" fmla="*/ 9302 w 10000"/>
                <a:gd name="connsiteY55" fmla="*/ 6157 h 10000"/>
                <a:gd name="connsiteX56" fmla="*/ 9244 w 10000"/>
                <a:gd name="connsiteY56" fmla="*/ 6392 h 10000"/>
                <a:gd name="connsiteX57" fmla="*/ 9205 w 10000"/>
                <a:gd name="connsiteY57" fmla="*/ 6490 h 10000"/>
                <a:gd name="connsiteX58" fmla="*/ 9167 w 10000"/>
                <a:gd name="connsiteY58" fmla="*/ 6608 h 10000"/>
                <a:gd name="connsiteX59" fmla="*/ 9574 w 10000"/>
                <a:gd name="connsiteY59" fmla="*/ 7157 h 10000"/>
                <a:gd name="connsiteX60" fmla="*/ 9496 w 10000"/>
                <a:gd name="connsiteY60" fmla="*/ 7294 h 10000"/>
                <a:gd name="connsiteX61" fmla="*/ 9419 w 10000"/>
                <a:gd name="connsiteY61" fmla="*/ 7431 h 10000"/>
                <a:gd name="connsiteX62" fmla="*/ 8740 w 10000"/>
                <a:gd name="connsiteY62" fmla="*/ 7412 h 10000"/>
                <a:gd name="connsiteX63" fmla="*/ 8605 w 10000"/>
                <a:gd name="connsiteY63" fmla="*/ 7627 h 10000"/>
                <a:gd name="connsiteX64" fmla="*/ 8547 w 10000"/>
                <a:gd name="connsiteY64" fmla="*/ 7706 h 10000"/>
                <a:gd name="connsiteX65" fmla="*/ 8469 w 10000"/>
                <a:gd name="connsiteY65" fmla="*/ 7804 h 10000"/>
                <a:gd name="connsiteX66" fmla="*/ 8682 w 10000"/>
                <a:gd name="connsiteY66" fmla="*/ 8451 h 10000"/>
                <a:gd name="connsiteX67" fmla="*/ 8566 w 10000"/>
                <a:gd name="connsiteY67" fmla="*/ 8569 h 10000"/>
                <a:gd name="connsiteX68" fmla="*/ 8450 w 10000"/>
                <a:gd name="connsiteY68" fmla="*/ 8686 h 10000"/>
                <a:gd name="connsiteX69" fmla="*/ 7810 w 10000"/>
                <a:gd name="connsiteY69" fmla="*/ 8471 h 10000"/>
                <a:gd name="connsiteX70" fmla="*/ 7616 w 10000"/>
                <a:gd name="connsiteY70" fmla="*/ 8608 h 10000"/>
                <a:gd name="connsiteX71" fmla="*/ 7442 w 10000"/>
                <a:gd name="connsiteY71" fmla="*/ 8745 h 10000"/>
                <a:gd name="connsiteX72" fmla="*/ 7442 w 10000"/>
                <a:gd name="connsiteY72" fmla="*/ 9412 h 10000"/>
                <a:gd name="connsiteX73" fmla="*/ 7287 w 10000"/>
                <a:gd name="connsiteY73" fmla="*/ 9510 h 10000"/>
                <a:gd name="connsiteX74" fmla="*/ 7151 w 10000"/>
                <a:gd name="connsiteY74" fmla="*/ 9569 h 10000"/>
                <a:gd name="connsiteX75" fmla="*/ 6609 w 10000"/>
                <a:gd name="connsiteY75" fmla="*/ 9157 h 10000"/>
                <a:gd name="connsiteX76" fmla="*/ 6395 w 10000"/>
                <a:gd name="connsiteY76" fmla="*/ 9235 h 10000"/>
                <a:gd name="connsiteX77" fmla="*/ 6279 w 10000"/>
                <a:gd name="connsiteY77" fmla="*/ 9275 h 10000"/>
                <a:gd name="connsiteX78" fmla="*/ 6163 w 10000"/>
                <a:gd name="connsiteY78" fmla="*/ 9314 h 10000"/>
                <a:gd name="connsiteX79" fmla="*/ 5950 w 10000"/>
                <a:gd name="connsiteY79" fmla="*/ 9961 h 10000"/>
                <a:gd name="connsiteX80" fmla="*/ 5640 w 10000"/>
                <a:gd name="connsiteY80" fmla="*/ 10000 h 10000"/>
                <a:gd name="connsiteX81" fmla="*/ 5252 w 10000"/>
                <a:gd name="connsiteY81" fmla="*/ 9451 h 10000"/>
                <a:gd name="connsiteX82" fmla="*/ 5019 w 10000"/>
                <a:gd name="connsiteY82" fmla="*/ 9451 h 10000"/>
                <a:gd name="connsiteX83" fmla="*/ 4767 w 10000"/>
                <a:gd name="connsiteY83" fmla="*/ 9451 h 10000"/>
                <a:gd name="connsiteX84" fmla="*/ 4380 w 10000"/>
                <a:gd name="connsiteY84" fmla="*/ 10000 h 10000"/>
                <a:gd name="connsiteX85" fmla="*/ 4225 w 10000"/>
                <a:gd name="connsiteY85" fmla="*/ 9980 h 10000"/>
                <a:gd name="connsiteX86" fmla="*/ 4070 w 10000"/>
                <a:gd name="connsiteY86" fmla="*/ 9961 h 10000"/>
                <a:gd name="connsiteX87" fmla="*/ 3857 w 10000"/>
                <a:gd name="connsiteY87" fmla="*/ 9314 h 10000"/>
                <a:gd name="connsiteX88" fmla="*/ 3624 w 10000"/>
                <a:gd name="connsiteY88" fmla="*/ 9235 h 10000"/>
                <a:gd name="connsiteX89" fmla="*/ 3508 w 10000"/>
                <a:gd name="connsiteY89" fmla="*/ 9216 h 10000"/>
                <a:gd name="connsiteX90" fmla="*/ 3411 w 10000"/>
                <a:gd name="connsiteY90" fmla="*/ 9157 h 10000"/>
                <a:gd name="connsiteX91" fmla="*/ 2868 w 10000"/>
                <a:gd name="connsiteY91" fmla="*/ 9569 h 10000"/>
                <a:gd name="connsiteX92" fmla="*/ 2733 w 10000"/>
                <a:gd name="connsiteY92" fmla="*/ 9510 h 10000"/>
                <a:gd name="connsiteX93" fmla="*/ 2578 w 10000"/>
                <a:gd name="connsiteY93" fmla="*/ 9412 h 10000"/>
                <a:gd name="connsiteX94" fmla="*/ 2597 w 10000"/>
                <a:gd name="connsiteY94" fmla="*/ 8745 h 10000"/>
                <a:gd name="connsiteX95" fmla="*/ 2403 w 10000"/>
                <a:gd name="connsiteY95" fmla="*/ 8608 h 10000"/>
                <a:gd name="connsiteX96" fmla="*/ 2306 w 10000"/>
                <a:gd name="connsiteY96" fmla="*/ 8529 h 10000"/>
                <a:gd name="connsiteX97" fmla="*/ 2209 w 10000"/>
                <a:gd name="connsiteY97" fmla="*/ 8471 h 10000"/>
                <a:gd name="connsiteX98" fmla="*/ 1570 w 10000"/>
                <a:gd name="connsiteY98" fmla="*/ 8686 h 10000"/>
                <a:gd name="connsiteX99" fmla="*/ 1453 w 10000"/>
                <a:gd name="connsiteY99" fmla="*/ 8569 h 10000"/>
                <a:gd name="connsiteX100" fmla="*/ 1337 w 10000"/>
                <a:gd name="connsiteY100" fmla="*/ 8451 h 10000"/>
                <a:gd name="connsiteX101" fmla="*/ 1550 w 10000"/>
                <a:gd name="connsiteY101" fmla="*/ 7804 h 10000"/>
                <a:gd name="connsiteX102" fmla="*/ 1415 w 10000"/>
                <a:gd name="connsiteY102" fmla="*/ 7627 h 10000"/>
                <a:gd name="connsiteX103" fmla="*/ 1279 w 10000"/>
                <a:gd name="connsiteY103" fmla="*/ 7412 h 10000"/>
                <a:gd name="connsiteX104" fmla="*/ 601 w 10000"/>
                <a:gd name="connsiteY104" fmla="*/ 7431 h 10000"/>
                <a:gd name="connsiteX105" fmla="*/ 523 w 10000"/>
                <a:gd name="connsiteY105" fmla="*/ 7294 h 10000"/>
                <a:gd name="connsiteX106" fmla="*/ 446 w 10000"/>
                <a:gd name="connsiteY106" fmla="*/ 7157 h 10000"/>
                <a:gd name="connsiteX107" fmla="*/ 853 w 10000"/>
                <a:gd name="connsiteY107" fmla="*/ 6608 h 10000"/>
                <a:gd name="connsiteX108" fmla="*/ 775 w 10000"/>
                <a:gd name="connsiteY108" fmla="*/ 6392 h 10000"/>
                <a:gd name="connsiteX109" fmla="*/ 756 w 10000"/>
                <a:gd name="connsiteY109" fmla="*/ 6275 h 10000"/>
                <a:gd name="connsiteX110" fmla="*/ 717 w 10000"/>
                <a:gd name="connsiteY110" fmla="*/ 6157 h 10000"/>
                <a:gd name="connsiteX111" fmla="*/ 58 w 10000"/>
                <a:gd name="connsiteY111" fmla="*/ 5941 h 10000"/>
                <a:gd name="connsiteX112" fmla="*/ 0 w 10000"/>
                <a:gd name="connsiteY112" fmla="*/ 5627 h 10000"/>
                <a:gd name="connsiteX113" fmla="*/ 581 w 10000"/>
                <a:gd name="connsiteY113" fmla="*/ 5235 h 10000"/>
                <a:gd name="connsiteX114" fmla="*/ 562 w 10000"/>
                <a:gd name="connsiteY114" fmla="*/ 5000 h 10000"/>
                <a:gd name="connsiteX115" fmla="*/ 581 w 10000"/>
                <a:gd name="connsiteY115" fmla="*/ 4765 h 10000"/>
                <a:gd name="connsiteX116" fmla="*/ 0 w 10000"/>
                <a:gd name="connsiteY116" fmla="*/ 4392 h 10000"/>
                <a:gd name="connsiteX117" fmla="*/ 19 w 10000"/>
                <a:gd name="connsiteY117" fmla="*/ 4216 h 10000"/>
                <a:gd name="connsiteX118" fmla="*/ 58 w 10000"/>
                <a:gd name="connsiteY118" fmla="*/ 4059 h 10000"/>
                <a:gd name="connsiteX119" fmla="*/ 717 w 10000"/>
                <a:gd name="connsiteY119" fmla="*/ 3863 h 10000"/>
                <a:gd name="connsiteX120" fmla="*/ 775 w 10000"/>
                <a:gd name="connsiteY120" fmla="*/ 3627 h 10000"/>
                <a:gd name="connsiteX121" fmla="*/ 814 w 10000"/>
                <a:gd name="connsiteY121" fmla="*/ 3510 h 10000"/>
                <a:gd name="connsiteX122" fmla="*/ 853 w 10000"/>
                <a:gd name="connsiteY122" fmla="*/ 3392 h 10000"/>
                <a:gd name="connsiteX123" fmla="*/ 446 w 10000"/>
                <a:gd name="connsiteY123" fmla="*/ 2863 h 10000"/>
                <a:gd name="connsiteX124" fmla="*/ 523 w 10000"/>
                <a:gd name="connsiteY124" fmla="*/ 2706 h 10000"/>
                <a:gd name="connsiteX125" fmla="*/ 601 w 10000"/>
                <a:gd name="connsiteY125" fmla="*/ 2588 h 10000"/>
                <a:gd name="connsiteX126" fmla="*/ 1279 w 10000"/>
                <a:gd name="connsiteY126" fmla="*/ 2588 h 10000"/>
                <a:gd name="connsiteX0" fmla="*/ 1415 w 10000"/>
                <a:gd name="connsiteY0" fmla="*/ 2392 h 10000"/>
                <a:gd name="connsiteX1" fmla="*/ 1337 w 10000"/>
                <a:gd name="connsiteY1" fmla="*/ 1569 h 10000"/>
                <a:gd name="connsiteX2" fmla="*/ 1453 w 10000"/>
                <a:gd name="connsiteY2" fmla="*/ 1451 h 10000"/>
                <a:gd name="connsiteX3" fmla="*/ 1570 w 10000"/>
                <a:gd name="connsiteY3" fmla="*/ 1333 h 10000"/>
                <a:gd name="connsiteX4" fmla="*/ 2209 w 10000"/>
                <a:gd name="connsiteY4" fmla="*/ 1549 h 10000"/>
                <a:gd name="connsiteX5" fmla="*/ 2403 w 10000"/>
                <a:gd name="connsiteY5" fmla="*/ 1412 h 10000"/>
                <a:gd name="connsiteX6" fmla="*/ 2597 w 10000"/>
                <a:gd name="connsiteY6" fmla="*/ 1275 h 10000"/>
                <a:gd name="connsiteX7" fmla="*/ 2578 w 10000"/>
                <a:gd name="connsiteY7" fmla="*/ 588 h 10000"/>
                <a:gd name="connsiteX8" fmla="*/ 2733 w 10000"/>
                <a:gd name="connsiteY8" fmla="*/ 510 h 10000"/>
                <a:gd name="connsiteX9" fmla="*/ 2868 w 10000"/>
                <a:gd name="connsiteY9" fmla="*/ 451 h 10000"/>
                <a:gd name="connsiteX10" fmla="*/ 3411 w 10000"/>
                <a:gd name="connsiteY10" fmla="*/ 843 h 10000"/>
                <a:gd name="connsiteX11" fmla="*/ 3624 w 10000"/>
                <a:gd name="connsiteY11" fmla="*/ 765 h 10000"/>
                <a:gd name="connsiteX12" fmla="*/ 3740 w 10000"/>
                <a:gd name="connsiteY12" fmla="*/ 725 h 10000"/>
                <a:gd name="connsiteX13" fmla="*/ 3857 w 10000"/>
                <a:gd name="connsiteY13" fmla="*/ 706 h 10000"/>
                <a:gd name="connsiteX14" fmla="*/ 4070 w 10000"/>
                <a:gd name="connsiteY14" fmla="*/ 59 h 10000"/>
                <a:gd name="connsiteX15" fmla="*/ 4380 w 10000"/>
                <a:gd name="connsiteY15" fmla="*/ 0 h 10000"/>
                <a:gd name="connsiteX16" fmla="*/ 4767 w 10000"/>
                <a:gd name="connsiteY16" fmla="*/ 569 h 10000"/>
                <a:gd name="connsiteX17" fmla="*/ 5019 w 10000"/>
                <a:gd name="connsiteY17" fmla="*/ 549 h 10000"/>
                <a:gd name="connsiteX18" fmla="*/ 5252 w 10000"/>
                <a:gd name="connsiteY18" fmla="*/ 569 h 10000"/>
                <a:gd name="connsiteX19" fmla="*/ 5640 w 10000"/>
                <a:gd name="connsiteY19" fmla="*/ 0 h 10000"/>
                <a:gd name="connsiteX20" fmla="*/ 5795 w 10000"/>
                <a:gd name="connsiteY20" fmla="*/ 20 h 10000"/>
                <a:gd name="connsiteX21" fmla="*/ 5950 w 10000"/>
                <a:gd name="connsiteY21" fmla="*/ 59 h 10000"/>
                <a:gd name="connsiteX22" fmla="*/ 6163 w 10000"/>
                <a:gd name="connsiteY22" fmla="*/ 706 h 10000"/>
                <a:gd name="connsiteX23" fmla="*/ 6395 w 10000"/>
                <a:gd name="connsiteY23" fmla="*/ 765 h 10000"/>
                <a:gd name="connsiteX24" fmla="*/ 6492 w 10000"/>
                <a:gd name="connsiteY24" fmla="*/ 804 h 10000"/>
                <a:gd name="connsiteX25" fmla="*/ 6609 w 10000"/>
                <a:gd name="connsiteY25" fmla="*/ 843 h 10000"/>
                <a:gd name="connsiteX26" fmla="*/ 7151 w 10000"/>
                <a:gd name="connsiteY26" fmla="*/ 451 h 10000"/>
                <a:gd name="connsiteX27" fmla="*/ 7287 w 10000"/>
                <a:gd name="connsiteY27" fmla="*/ 510 h 10000"/>
                <a:gd name="connsiteX28" fmla="*/ 7442 w 10000"/>
                <a:gd name="connsiteY28" fmla="*/ 588 h 10000"/>
                <a:gd name="connsiteX29" fmla="*/ 7442 w 10000"/>
                <a:gd name="connsiteY29" fmla="*/ 1275 h 10000"/>
                <a:gd name="connsiteX30" fmla="*/ 7616 w 10000"/>
                <a:gd name="connsiteY30" fmla="*/ 1412 h 10000"/>
                <a:gd name="connsiteX31" fmla="*/ 7713 w 10000"/>
                <a:gd name="connsiteY31" fmla="*/ 1471 h 10000"/>
                <a:gd name="connsiteX32" fmla="*/ 7810 w 10000"/>
                <a:gd name="connsiteY32" fmla="*/ 1549 h 10000"/>
                <a:gd name="connsiteX33" fmla="*/ 8450 w 10000"/>
                <a:gd name="connsiteY33" fmla="*/ 1333 h 10000"/>
                <a:gd name="connsiteX34" fmla="*/ 8566 w 10000"/>
                <a:gd name="connsiteY34" fmla="*/ 1451 h 10000"/>
                <a:gd name="connsiteX35" fmla="*/ 8682 w 10000"/>
                <a:gd name="connsiteY35" fmla="*/ 1569 h 10000"/>
                <a:gd name="connsiteX36" fmla="*/ 8469 w 10000"/>
                <a:gd name="connsiteY36" fmla="*/ 2216 h 10000"/>
                <a:gd name="connsiteX37" fmla="*/ 8605 w 10000"/>
                <a:gd name="connsiteY37" fmla="*/ 2392 h 10000"/>
                <a:gd name="connsiteX38" fmla="*/ 8740 w 10000"/>
                <a:gd name="connsiteY38" fmla="*/ 2588 h 10000"/>
                <a:gd name="connsiteX39" fmla="*/ 9419 w 10000"/>
                <a:gd name="connsiteY39" fmla="*/ 2588 h 10000"/>
                <a:gd name="connsiteX40" fmla="*/ 9496 w 10000"/>
                <a:gd name="connsiteY40" fmla="*/ 2706 h 10000"/>
                <a:gd name="connsiteX41" fmla="*/ 9574 w 10000"/>
                <a:gd name="connsiteY41" fmla="*/ 2863 h 10000"/>
                <a:gd name="connsiteX42" fmla="*/ 9167 w 10000"/>
                <a:gd name="connsiteY42" fmla="*/ 3392 h 10000"/>
                <a:gd name="connsiteX43" fmla="*/ 9244 w 10000"/>
                <a:gd name="connsiteY43" fmla="*/ 3627 h 10000"/>
                <a:gd name="connsiteX44" fmla="*/ 9283 w 10000"/>
                <a:gd name="connsiteY44" fmla="*/ 3745 h 10000"/>
                <a:gd name="connsiteX45" fmla="*/ 9302 w 10000"/>
                <a:gd name="connsiteY45" fmla="*/ 3863 h 10000"/>
                <a:gd name="connsiteX46" fmla="*/ 9961 w 10000"/>
                <a:gd name="connsiteY46" fmla="*/ 4059 h 10000"/>
                <a:gd name="connsiteX47" fmla="*/ 10000 w 10000"/>
                <a:gd name="connsiteY47" fmla="*/ 4392 h 10000"/>
                <a:gd name="connsiteX48" fmla="*/ 9438 w 10000"/>
                <a:gd name="connsiteY48" fmla="*/ 4765 h 10000"/>
                <a:gd name="connsiteX49" fmla="*/ 9457 w 10000"/>
                <a:gd name="connsiteY49" fmla="*/ 5000 h 10000"/>
                <a:gd name="connsiteX50" fmla="*/ 9438 w 10000"/>
                <a:gd name="connsiteY50" fmla="*/ 5235 h 10000"/>
                <a:gd name="connsiteX51" fmla="*/ 10000 w 10000"/>
                <a:gd name="connsiteY51" fmla="*/ 5627 h 10000"/>
                <a:gd name="connsiteX52" fmla="*/ 9981 w 10000"/>
                <a:gd name="connsiteY52" fmla="*/ 5784 h 10000"/>
                <a:gd name="connsiteX53" fmla="*/ 9961 w 10000"/>
                <a:gd name="connsiteY53" fmla="*/ 5941 h 10000"/>
                <a:gd name="connsiteX54" fmla="*/ 9302 w 10000"/>
                <a:gd name="connsiteY54" fmla="*/ 6157 h 10000"/>
                <a:gd name="connsiteX55" fmla="*/ 9244 w 10000"/>
                <a:gd name="connsiteY55" fmla="*/ 6392 h 10000"/>
                <a:gd name="connsiteX56" fmla="*/ 9205 w 10000"/>
                <a:gd name="connsiteY56" fmla="*/ 6490 h 10000"/>
                <a:gd name="connsiteX57" fmla="*/ 9167 w 10000"/>
                <a:gd name="connsiteY57" fmla="*/ 6608 h 10000"/>
                <a:gd name="connsiteX58" fmla="*/ 9574 w 10000"/>
                <a:gd name="connsiteY58" fmla="*/ 7157 h 10000"/>
                <a:gd name="connsiteX59" fmla="*/ 9496 w 10000"/>
                <a:gd name="connsiteY59" fmla="*/ 7294 h 10000"/>
                <a:gd name="connsiteX60" fmla="*/ 9419 w 10000"/>
                <a:gd name="connsiteY60" fmla="*/ 7431 h 10000"/>
                <a:gd name="connsiteX61" fmla="*/ 8740 w 10000"/>
                <a:gd name="connsiteY61" fmla="*/ 7412 h 10000"/>
                <a:gd name="connsiteX62" fmla="*/ 8605 w 10000"/>
                <a:gd name="connsiteY62" fmla="*/ 7627 h 10000"/>
                <a:gd name="connsiteX63" fmla="*/ 8547 w 10000"/>
                <a:gd name="connsiteY63" fmla="*/ 7706 h 10000"/>
                <a:gd name="connsiteX64" fmla="*/ 8469 w 10000"/>
                <a:gd name="connsiteY64" fmla="*/ 7804 h 10000"/>
                <a:gd name="connsiteX65" fmla="*/ 8682 w 10000"/>
                <a:gd name="connsiteY65" fmla="*/ 8451 h 10000"/>
                <a:gd name="connsiteX66" fmla="*/ 8566 w 10000"/>
                <a:gd name="connsiteY66" fmla="*/ 8569 h 10000"/>
                <a:gd name="connsiteX67" fmla="*/ 8450 w 10000"/>
                <a:gd name="connsiteY67" fmla="*/ 8686 h 10000"/>
                <a:gd name="connsiteX68" fmla="*/ 7810 w 10000"/>
                <a:gd name="connsiteY68" fmla="*/ 8471 h 10000"/>
                <a:gd name="connsiteX69" fmla="*/ 7616 w 10000"/>
                <a:gd name="connsiteY69" fmla="*/ 8608 h 10000"/>
                <a:gd name="connsiteX70" fmla="*/ 7442 w 10000"/>
                <a:gd name="connsiteY70" fmla="*/ 8745 h 10000"/>
                <a:gd name="connsiteX71" fmla="*/ 7442 w 10000"/>
                <a:gd name="connsiteY71" fmla="*/ 9412 h 10000"/>
                <a:gd name="connsiteX72" fmla="*/ 7287 w 10000"/>
                <a:gd name="connsiteY72" fmla="*/ 9510 h 10000"/>
                <a:gd name="connsiteX73" fmla="*/ 7151 w 10000"/>
                <a:gd name="connsiteY73" fmla="*/ 9569 h 10000"/>
                <a:gd name="connsiteX74" fmla="*/ 6609 w 10000"/>
                <a:gd name="connsiteY74" fmla="*/ 9157 h 10000"/>
                <a:gd name="connsiteX75" fmla="*/ 6395 w 10000"/>
                <a:gd name="connsiteY75" fmla="*/ 9235 h 10000"/>
                <a:gd name="connsiteX76" fmla="*/ 6279 w 10000"/>
                <a:gd name="connsiteY76" fmla="*/ 9275 h 10000"/>
                <a:gd name="connsiteX77" fmla="*/ 6163 w 10000"/>
                <a:gd name="connsiteY77" fmla="*/ 9314 h 10000"/>
                <a:gd name="connsiteX78" fmla="*/ 5950 w 10000"/>
                <a:gd name="connsiteY78" fmla="*/ 9961 h 10000"/>
                <a:gd name="connsiteX79" fmla="*/ 5640 w 10000"/>
                <a:gd name="connsiteY79" fmla="*/ 10000 h 10000"/>
                <a:gd name="connsiteX80" fmla="*/ 5252 w 10000"/>
                <a:gd name="connsiteY80" fmla="*/ 9451 h 10000"/>
                <a:gd name="connsiteX81" fmla="*/ 5019 w 10000"/>
                <a:gd name="connsiteY81" fmla="*/ 9451 h 10000"/>
                <a:gd name="connsiteX82" fmla="*/ 4767 w 10000"/>
                <a:gd name="connsiteY82" fmla="*/ 9451 h 10000"/>
                <a:gd name="connsiteX83" fmla="*/ 4380 w 10000"/>
                <a:gd name="connsiteY83" fmla="*/ 10000 h 10000"/>
                <a:gd name="connsiteX84" fmla="*/ 4225 w 10000"/>
                <a:gd name="connsiteY84" fmla="*/ 9980 h 10000"/>
                <a:gd name="connsiteX85" fmla="*/ 4070 w 10000"/>
                <a:gd name="connsiteY85" fmla="*/ 9961 h 10000"/>
                <a:gd name="connsiteX86" fmla="*/ 3857 w 10000"/>
                <a:gd name="connsiteY86" fmla="*/ 9314 h 10000"/>
                <a:gd name="connsiteX87" fmla="*/ 3624 w 10000"/>
                <a:gd name="connsiteY87" fmla="*/ 9235 h 10000"/>
                <a:gd name="connsiteX88" fmla="*/ 3508 w 10000"/>
                <a:gd name="connsiteY88" fmla="*/ 9216 h 10000"/>
                <a:gd name="connsiteX89" fmla="*/ 3411 w 10000"/>
                <a:gd name="connsiteY89" fmla="*/ 9157 h 10000"/>
                <a:gd name="connsiteX90" fmla="*/ 2868 w 10000"/>
                <a:gd name="connsiteY90" fmla="*/ 9569 h 10000"/>
                <a:gd name="connsiteX91" fmla="*/ 2733 w 10000"/>
                <a:gd name="connsiteY91" fmla="*/ 9510 h 10000"/>
                <a:gd name="connsiteX92" fmla="*/ 2578 w 10000"/>
                <a:gd name="connsiteY92" fmla="*/ 9412 h 10000"/>
                <a:gd name="connsiteX93" fmla="*/ 2597 w 10000"/>
                <a:gd name="connsiteY93" fmla="*/ 8745 h 10000"/>
                <a:gd name="connsiteX94" fmla="*/ 2403 w 10000"/>
                <a:gd name="connsiteY94" fmla="*/ 8608 h 10000"/>
                <a:gd name="connsiteX95" fmla="*/ 2306 w 10000"/>
                <a:gd name="connsiteY95" fmla="*/ 8529 h 10000"/>
                <a:gd name="connsiteX96" fmla="*/ 2209 w 10000"/>
                <a:gd name="connsiteY96" fmla="*/ 8471 h 10000"/>
                <a:gd name="connsiteX97" fmla="*/ 1570 w 10000"/>
                <a:gd name="connsiteY97" fmla="*/ 8686 h 10000"/>
                <a:gd name="connsiteX98" fmla="*/ 1453 w 10000"/>
                <a:gd name="connsiteY98" fmla="*/ 8569 h 10000"/>
                <a:gd name="connsiteX99" fmla="*/ 1337 w 10000"/>
                <a:gd name="connsiteY99" fmla="*/ 8451 h 10000"/>
                <a:gd name="connsiteX100" fmla="*/ 1550 w 10000"/>
                <a:gd name="connsiteY100" fmla="*/ 7804 h 10000"/>
                <a:gd name="connsiteX101" fmla="*/ 1415 w 10000"/>
                <a:gd name="connsiteY101" fmla="*/ 7627 h 10000"/>
                <a:gd name="connsiteX102" fmla="*/ 1279 w 10000"/>
                <a:gd name="connsiteY102" fmla="*/ 7412 h 10000"/>
                <a:gd name="connsiteX103" fmla="*/ 601 w 10000"/>
                <a:gd name="connsiteY103" fmla="*/ 7431 h 10000"/>
                <a:gd name="connsiteX104" fmla="*/ 523 w 10000"/>
                <a:gd name="connsiteY104" fmla="*/ 7294 h 10000"/>
                <a:gd name="connsiteX105" fmla="*/ 446 w 10000"/>
                <a:gd name="connsiteY105" fmla="*/ 7157 h 10000"/>
                <a:gd name="connsiteX106" fmla="*/ 853 w 10000"/>
                <a:gd name="connsiteY106" fmla="*/ 6608 h 10000"/>
                <a:gd name="connsiteX107" fmla="*/ 775 w 10000"/>
                <a:gd name="connsiteY107" fmla="*/ 6392 h 10000"/>
                <a:gd name="connsiteX108" fmla="*/ 756 w 10000"/>
                <a:gd name="connsiteY108" fmla="*/ 6275 h 10000"/>
                <a:gd name="connsiteX109" fmla="*/ 717 w 10000"/>
                <a:gd name="connsiteY109" fmla="*/ 6157 h 10000"/>
                <a:gd name="connsiteX110" fmla="*/ 58 w 10000"/>
                <a:gd name="connsiteY110" fmla="*/ 5941 h 10000"/>
                <a:gd name="connsiteX111" fmla="*/ 0 w 10000"/>
                <a:gd name="connsiteY111" fmla="*/ 5627 h 10000"/>
                <a:gd name="connsiteX112" fmla="*/ 581 w 10000"/>
                <a:gd name="connsiteY112" fmla="*/ 5235 h 10000"/>
                <a:gd name="connsiteX113" fmla="*/ 562 w 10000"/>
                <a:gd name="connsiteY113" fmla="*/ 5000 h 10000"/>
                <a:gd name="connsiteX114" fmla="*/ 581 w 10000"/>
                <a:gd name="connsiteY114" fmla="*/ 4765 h 10000"/>
                <a:gd name="connsiteX115" fmla="*/ 0 w 10000"/>
                <a:gd name="connsiteY115" fmla="*/ 4392 h 10000"/>
                <a:gd name="connsiteX116" fmla="*/ 19 w 10000"/>
                <a:gd name="connsiteY116" fmla="*/ 4216 h 10000"/>
                <a:gd name="connsiteX117" fmla="*/ 58 w 10000"/>
                <a:gd name="connsiteY117" fmla="*/ 4059 h 10000"/>
                <a:gd name="connsiteX118" fmla="*/ 717 w 10000"/>
                <a:gd name="connsiteY118" fmla="*/ 3863 h 10000"/>
                <a:gd name="connsiteX119" fmla="*/ 775 w 10000"/>
                <a:gd name="connsiteY119" fmla="*/ 3627 h 10000"/>
                <a:gd name="connsiteX120" fmla="*/ 814 w 10000"/>
                <a:gd name="connsiteY120" fmla="*/ 3510 h 10000"/>
                <a:gd name="connsiteX121" fmla="*/ 853 w 10000"/>
                <a:gd name="connsiteY121" fmla="*/ 3392 h 10000"/>
                <a:gd name="connsiteX122" fmla="*/ 446 w 10000"/>
                <a:gd name="connsiteY122" fmla="*/ 2863 h 10000"/>
                <a:gd name="connsiteX123" fmla="*/ 523 w 10000"/>
                <a:gd name="connsiteY123" fmla="*/ 2706 h 10000"/>
                <a:gd name="connsiteX124" fmla="*/ 601 w 10000"/>
                <a:gd name="connsiteY124" fmla="*/ 2588 h 10000"/>
                <a:gd name="connsiteX125" fmla="*/ 1279 w 10000"/>
                <a:gd name="connsiteY125" fmla="*/ 2588 h 10000"/>
                <a:gd name="connsiteX0" fmla="*/ 1415 w 10000"/>
                <a:gd name="connsiteY0" fmla="*/ 2392 h 10000"/>
                <a:gd name="connsiteX1" fmla="*/ 1337 w 10000"/>
                <a:gd name="connsiteY1" fmla="*/ 1569 h 10000"/>
                <a:gd name="connsiteX2" fmla="*/ 1570 w 10000"/>
                <a:gd name="connsiteY2" fmla="*/ 1333 h 10000"/>
                <a:gd name="connsiteX3" fmla="*/ 2209 w 10000"/>
                <a:gd name="connsiteY3" fmla="*/ 1549 h 10000"/>
                <a:gd name="connsiteX4" fmla="*/ 2403 w 10000"/>
                <a:gd name="connsiteY4" fmla="*/ 1412 h 10000"/>
                <a:gd name="connsiteX5" fmla="*/ 2597 w 10000"/>
                <a:gd name="connsiteY5" fmla="*/ 1275 h 10000"/>
                <a:gd name="connsiteX6" fmla="*/ 2578 w 10000"/>
                <a:gd name="connsiteY6" fmla="*/ 588 h 10000"/>
                <a:gd name="connsiteX7" fmla="*/ 2733 w 10000"/>
                <a:gd name="connsiteY7" fmla="*/ 510 h 10000"/>
                <a:gd name="connsiteX8" fmla="*/ 2868 w 10000"/>
                <a:gd name="connsiteY8" fmla="*/ 451 h 10000"/>
                <a:gd name="connsiteX9" fmla="*/ 3411 w 10000"/>
                <a:gd name="connsiteY9" fmla="*/ 843 h 10000"/>
                <a:gd name="connsiteX10" fmla="*/ 3624 w 10000"/>
                <a:gd name="connsiteY10" fmla="*/ 765 h 10000"/>
                <a:gd name="connsiteX11" fmla="*/ 3740 w 10000"/>
                <a:gd name="connsiteY11" fmla="*/ 725 h 10000"/>
                <a:gd name="connsiteX12" fmla="*/ 3857 w 10000"/>
                <a:gd name="connsiteY12" fmla="*/ 706 h 10000"/>
                <a:gd name="connsiteX13" fmla="*/ 4070 w 10000"/>
                <a:gd name="connsiteY13" fmla="*/ 59 h 10000"/>
                <a:gd name="connsiteX14" fmla="*/ 4380 w 10000"/>
                <a:gd name="connsiteY14" fmla="*/ 0 h 10000"/>
                <a:gd name="connsiteX15" fmla="*/ 4767 w 10000"/>
                <a:gd name="connsiteY15" fmla="*/ 569 h 10000"/>
                <a:gd name="connsiteX16" fmla="*/ 5019 w 10000"/>
                <a:gd name="connsiteY16" fmla="*/ 549 h 10000"/>
                <a:gd name="connsiteX17" fmla="*/ 5252 w 10000"/>
                <a:gd name="connsiteY17" fmla="*/ 569 h 10000"/>
                <a:gd name="connsiteX18" fmla="*/ 5640 w 10000"/>
                <a:gd name="connsiteY18" fmla="*/ 0 h 10000"/>
                <a:gd name="connsiteX19" fmla="*/ 5795 w 10000"/>
                <a:gd name="connsiteY19" fmla="*/ 20 h 10000"/>
                <a:gd name="connsiteX20" fmla="*/ 5950 w 10000"/>
                <a:gd name="connsiteY20" fmla="*/ 59 h 10000"/>
                <a:gd name="connsiteX21" fmla="*/ 6163 w 10000"/>
                <a:gd name="connsiteY21" fmla="*/ 706 h 10000"/>
                <a:gd name="connsiteX22" fmla="*/ 6395 w 10000"/>
                <a:gd name="connsiteY22" fmla="*/ 765 h 10000"/>
                <a:gd name="connsiteX23" fmla="*/ 6492 w 10000"/>
                <a:gd name="connsiteY23" fmla="*/ 804 h 10000"/>
                <a:gd name="connsiteX24" fmla="*/ 6609 w 10000"/>
                <a:gd name="connsiteY24" fmla="*/ 843 h 10000"/>
                <a:gd name="connsiteX25" fmla="*/ 7151 w 10000"/>
                <a:gd name="connsiteY25" fmla="*/ 451 h 10000"/>
                <a:gd name="connsiteX26" fmla="*/ 7287 w 10000"/>
                <a:gd name="connsiteY26" fmla="*/ 510 h 10000"/>
                <a:gd name="connsiteX27" fmla="*/ 7442 w 10000"/>
                <a:gd name="connsiteY27" fmla="*/ 588 h 10000"/>
                <a:gd name="connsiteX28" fmla="*/ 7442 w 10000"/>
                <a:gd name="connsiteY28" fmla="*/ 1275 h 10000"/>
                <a:gd name="connsiteX29" fmla="*/ 7616 w 10000"/>
                <a:gd name="connsiteY29" fmla="*/ 1412 h 10000"/>
                <a:gd name="connsiteX30" fmla="*/ 7713 w 10000"/>
                <a:gd name="connsiteY30" fmla="*/ 1471 h 10000"/>
                <a:gd name="connsiteX31" fmla="*/ 7810 w 10000"/>
                <a:gd name="connsiteY31" fmla="*/ 1549 h 10000"/>
                <a:gd name="connsiteX32" fmla="*/ 8450 w 10000"/>
                <a:gd name="connsiteY32" fmla="*/ 1333 h 10000"/>
                <a:gd name="connsiteX33" fmla="*/ 8566 w 10000"/>
                <a:gd name="connsiteY33" fmla="*/ 1451 h 10000"/>
                <a:gd name="connsiteX34" fmla="*/ 8682 w 10000"/>
                <a:gd name="connsiteY34" fmla="*/ 1569 h 10000"/>
                <a:gd name="connsiteX35" fmla="*/ 8469 w 10000"/>
                <a:gd name="connsiteY35" fmla="*/ 2216 h 10000"/>
                <a:gd name="connsiteX36" fmla="*/ 8605 w 10000"/>
                <a:gd name="connsiteY36" fmla="*/ 2392 h 10000"/>
                <a:gd name="connsiteX37" fmla="*/ 8740 w 10000"/>
                <a:gd name="connsiteY37" fmla="*/ 2588 h 10000"/>
                <a:gd name="connsiteX38" fmla="*/ 9419 w 10000"/>
                <a:gd name="connsiteY38" fmla="*/ 2588 h 10000"/>
                <a:gd name="connsiteX39" fmla="*/ 9496 w 10000"/>
                <a:gd name="connsiteY39" fmla="*/ 2706 h 10000"/>
                <a:gd name="connsiteX40" fmla="*/ 9574 w 10000"/>
                <a:gd name="connsiteY40" fmla="*/ 2863 h 10000"/>
                <a:gd name="connsiteX41" fmla="*/ 9167 w 10000"/>
                <a:gd name="connsiteY41" fmla="*/ 3392 h 10000"/>
                <a:gd name="connsiteX42" fmla="*/ 9244 w 10000"/>
                <a:gd name="connsiteY42" fmla="*/ 3627 h 10000"/>
                <a:gd name="connsiteX43" fmla="*/ 9283 w 10000"/>
                <a:gd name="connsiteY43" fmla="*/ 3745 h 10000"/>
                <a:gd name="connsiteX44" fmla="*/ 9302 w 10000"/>
                <a:gd name="connsiteY44" fmla="*/ 3863 h 10000"/>
                <a:gd name="connsiteX45" fmla="*/ 9961 w 10000"/>
                <a:gd name="connsiteY45" fmla="*/ 4059 h 10000"/>
                <a:gd name="connsiteX46" fmla="*/ 10000 w 10000"/>
                <a:gd name="connsiteY46" fmla="*/ 4392 h 10000"/>
                <a:gd name="connsiteX47" fmla="*/ 9438 w 10000"/>
                <a:gd name="connsiteY47" fmla="*/ 4765 h 10000"/>
                <a:gd name="connsiteX48" fmla="*/ 9457 w 10000"/>
                <a:gd name="connsiteY48" fmla="*/ 5000 h 10000"/>
                <a:gd name="connsiteX49" fmla="*/ 9438 w 10000"/>
                <a:gd name="connsiteY49" fmla="*/ 5235 h 10000"/>
                <a:gd name="connsiteX50" fmla="*/ 10000 w 10000"/>
                <a:gd name="connsiteY50" fmla="*/ 5627 h 10000"/>
                <a:gd name="connsiteX51" fmla="*/ 9981 w 10000"/>
                <a:gd name="connsiteY51" fmla="*/ 5784 h 10000"/>
                <a:gd name="connsiteX52" fmla="*/ 9961 w 10000"/>
                <a:gd name="connsiteY52" fmla="*/ 5941 h 10000"/>
                <a:gd name="connsiteX53" fmla="*/ 9302 w 10000"/>
                <a:gd name="connsiteY53" fmla="*/ 6157 h 10000"/>
                <a:gd name="connsiteX54" fmla="*/ 9244 w 10000"/>
                <a:gd name="connsiteY54" fmla="*/ 6392 h 10000"/>
                <a:gd name="connsiteX55" fmla="*/ 9205 w 10000"/>
                <a:gd name="connsiteY55" fmla="*/ 6490 h 10000"/>
                <a:gd name="connsiteX56" fmla="*/ 9167 w 10000"/>
                <a:gd name="connsiteY56" fmla="*/ 6608 h 10000"/>
                <a:gd name="connsiteX57" fmla="*/ 9574 w 10000"/>
                <a:gd name="connsiteY57" fmla="*/ 7157 h 10000"/>
                <a:gd name="connsiteX58" fmla="*/ 9496 w 10000"/>
                <a:gd name="connsiteY58" fmla="*/ 7294 h 10000"/>
                <a:gd name="connsiteX59" fmla="*/ 9419 w 10000"/>
                <a:gd name="connsiteY59" fmla="*/ 7431 h 10000"/>
                <a:gd name="connsiteX60" fmla="*/ 8740 w 10000"/>
                <a:gd name="connsiteY60" fmla="*/ 7412 h 10000"/>
                <a:gd name="connsiteX61" fmla="*/ 8605 w 10000"/>
                <a:gd name="connsiteY61" fmla="*/ 7627 h 10000"/>
                <a:gd name="connsiteX62" fmla="*/ 8547 w 10000"/>
                <a:gd name="connsiteY62" fmla="*/ 7706 h 10000"/>
                <a:gd name="connsiteX63" fmla="*/ 8469 w 10000"/>
                <a:gd name="connsiteY63" fmla="*/ 7804 h 10000"/>
                <a:gd name="connsiteX64" fmla="*/ 8682 w 10000"/>
                <a:gd name="connsiteY64" fmla="*/ 8451 h 10000"/>
                <a:gd name="connsiteX65" fmla="*/ 8566 w 10000"/>
                <a:gd name="connsiteY65" fmla="*/ 8569 h 10000"/>
                <a:gd name="connsiteX66" fmla="*/ 8450 w 10000"/>
                <a:gd name="connsiteY66" fmla="*/ 8686 h 10000"/>
                <a:gd name="connsiteX67" fmla="*/ 7810 w 10000"/>
                <a:gd name="connsiteY67" fmla="*/ 8471 h 10000"/>
                <a:gd name="connsiteX68" fmla="*/ 7616 w 10000"/>
                <a:gd name="connsiteY68" fmla="*/ 8608 h 10000"/>
                <a:gd name="connsiteX69" fmla="*/ 7442 w 10000"/>
                <a:gd name="connsiteY69" fmla="*/ 8745 h 10000"/>
                <a:gd name="connsiteX70" fmla="*/ 7442 w 10000"/>
                <a:gd name="connsiteY70" fmla="*/ 9412 h 10000"/>
                <a:gd name="connsiteX71" fmla="*/ 7287 w 10000"/>
                <a:gd name="connsiteY71" fmla="*/ 9510 h 10000"/>
                <a:gd name="connsiteX72" fmla="*/ 7151 w 10000"/>
                <a:gd name="connsiteY72" fmla="*/ 9569 h 10000"/>
                <a:gd name="connsiteX73" fmla="*/ 6609 w 10000"/>
                <a:gd name="connsiteY73" fmla="*/ 9157 h 10000"/>
                <a:gd name="connsiteX74" fmla="*/ 6395 w 10000"/>
                <a:gd name="connsiteY74" fmla="*/ 9235 h 10000"/>
                <a:gd name="connsiteX75" fmla="*/ 6279 w 10000"/>
                <a:gd name="connsiteY75" fmla="*/ 9275 h 10000"/>
                <a:gd name="connsiteX76" fmla="*/ 6163 w 10000"/>
                <a:gd name="connsiteY76" fmla="*/ 9314 h 10000"/>
                <a:gd name="connsiteX77" fmla="*/ 5950 w 10000"/>
                <a:gd name="connsiteY77" fmla="*/ 9961 h 10000"/>
                <a:gd name="connsiteX78" fmla="*/ 5640 w 10000"/>
                <a:gd name="connsiteY78" fmla="*/ 10000 h 10000"/>
                <a:gd name="connsiteX79" fmla="*/ 5252 w 10000"/>
                <a:gd name="connsiteY79" fmla="*/ 9451 h 10000"/>
                <a:gd name="connsiteX80" fmla="*/ 5019 w 10000"/>
                <a:gd name="connsiteY80" fmla="*/ 9451 h 10000"/>
                <a:gd name="connsiteX81" fmla="*/ 4767 w 10000"/>
                <a:gd name="connsiteY81" fmla="*/ 9451 h 10000"/>
                <a:gd name="connsiteX82" fmla="*/ 4380 w 10000"/>
                <a:gd name="connsiteY82" fmla="*/ 10000 h 10000"/>
                <a:gd name="connsiteX83" fmla="*/ 4225 w 10000"/>
                <a:gd name="connsiteY83" fmla="*/ 9980 h 10000"/>
                <a:gd name="connsiteX84" fmla="*/ 4070 w 10000"/>
                <a:gd name="connsiteY84" fmla="*/ 9961 h 10000"/>
                <a:gd name="connsiteX85" fmla="*/ 3857 w 10000"/>
                <a:gd name="connsiteY85" fmla="*/ 9314 h 10000"/>
                <a:gd name="connsiteX86" fmla="*/ 3624 w 10000"/>
                <a:gd name="connsiteY86" fmla="*/ 9235 h 10000"/>
                <a:gd name="connsiteX87" fmla="*/ 3508 w 10000"/>
                <a:gd name="connsiteY87" fmla="*/ 9216 h 10000"/>
                <a:gd name="connsiteX88" fmla="*/ 3411 w 10000"/>
                <a:gd name="connsiteY88" fmla="*/ 9157 h 10000"/>
                <a:gd name="connsiteX89" fmla="*/ 2868 w 10000"/>
                <a:gd name="connsiteY89" fmla="*/ 9569 h 10000"/>
                <a:gd name="connsiteX90" fmla="*/ 2733 w 10000"/>
                <a:gd name="connsiteY90" fmla="*/ 9510 h 10000"/>
                <a:gd name="connsiteX91" fmla="*/ 2578 w 10000"/>
                <a:gd name="connsiteY91" fmla="*/ 9412 h 10000"/>
                <a:gd name="connsiteX92" fmla="*/ 2597 w 10000"/>
                <a:gd name="connsiteY92" fmla="*/ 8745 h 10000"/>
                <a:gd name="connsiteX93" fmla="*/ 2403 w 10000"/>
                <a:gd name="connsiteY93" fmla="*/ 8608 h 10000"/>
                <a:gd name="connsiteX94" fmla="*/ 2306 w 10000"/>
                <a:gd name="connsiteY94" fmla="*/ 8529 h 10000"/>
                <a:gd name="connsiteX95" fmla="*/ 2209 w 10000"/>
                <a:gd name="connsiteY95" fmla="*/ 8471 h 10000"/>
                <a:gd name="connsiteX96" fmla="*/ 1570 w 10000"/>
                <a:gd name="connsiteY96" fmla="*/ 8686 h 10000"/>
                <a:gd name="connsiteX97" fmla="*/ 1453 w 10000"/>
                <a:gd name="connsiteY97" fmla="*/ 8569 h 10000"/>
                <a:gd name="connsiteX98" fmla="*/ 1337 w 10000"/>
                <a:gd name="connsiteY98" fmla="*/ 8451 h 10000"/>
                <a:gd name="connsiteX99" fmla="*/ 1550 w 10000"/>
                <a:gd name="connsiteY99" fmla="*/ 7804 h 10000"/>
                <a:gd name="connsiteX100" fmla="*/ 1415 w 10000"/>
                <a:gd name="connsiteY100" fmla="*/ 7627 h 10000"/>
                <a:gd name="connsiteX101" fmla="*/ 1279 w 10000"/>
                <a:gd name="connsiteY101" fmla="*/ 7412 h 10000"/>
                <a:gd name="connsiteX102" fmla="*/ 601 w 10000"/>
                <a:gd name="connsiteY102" fmla="*/ 7431 h 10000"/>
                <a:gd name="connsiteX103" fmla="*/ 523 w 10000"/>
                <a:gd name="connsiteY103" fmla="*/ 7294 h 10000"/>
                <a:gd name="connsiteX104" fmla="*/ 446 w 10000"/>
                <a:gd name="connsiteY104" fmla="*/ 7157 h 10000"/>
                <a:gd name="connsiteX105" fmla="*/ 853 w 10000"/>
                <a:gd name="connsiteY105" fmla="*/ 6608 h 10000"/>
                <a:gd name="connsiteX106" fmla="*/ 775 w 10000"/>
                <a:gd name="connsiteY106" fmla="*/ 6392 h 10000"/>
                <a:gd name="connsiteX107" fmla="*/ 756 w 10000"/>
                <a:gd name="connsiteY107" fmla="*/ 6275 h 10000"/>
                <a:gd name="connsiteX108" fmla="*/ 717 w 10000"/>
                <a:gd name="connsiteY108" fmla="*/ 6157 h 10000"/>
                <a:gd name="connsiteX109" fmla="*/ 58 w 10000"/>
                <a:gd name="connsiteY109" fmla="*/ 5941 h 10000"/>
                <a:gd name="connsiteX110" fmla="*/ 0 w 10000"/>
                <a:gd name="connsiteY110" fmla="*/ 5627 h 10000"/>
                <a:gd name="connsiteX111" fmla="*/ 581 w 10000"/>
                <a:gd name="connsiteY111" fmla="*/ 5235 h 10000"/>
                <a:gd name="connsiteX112" fmla="*/ 562 w 10000"/>
                <a:gd name="connsiteY112" fmla="*/ 5000 h 10000"/>
                <a:gd name="connsiteX113" fmla="*/ 581 w 10000"/>
                <a:gd name="connsiteY113" fmla="*/ 4765 h 10000"/>
                <a:gd name="connsiteX114" fmla="*/ 0 w 10000"/>
                <a:gd name="connsiteY114" fmla="*/ 4392 h 10000"/>
                <a:gd name="connsiteX115" fmla="*/ 19 w 10000"/>
                <a:gd name="connsiteY115" fmla="*/ 4216 h 10000"/>
                <a:gd name="connsiteX116" fmla="*/ 58 w 10000"/>
                <a:gd name="connsiteY116" fmla="*/ 4059 h 10000"/>
                <a:gd name="connsiteX117" fmla="*/ 717 w 10000"/>
                <a:gd name="connsiteY117" fmla="*/ 3863 h 10000"/>
                <a:gd name="connsiteX118" fmla="*/ 775 w 10000"/>
                <a:gd name="connsiteY118" fmla="*/ 3627 h 10000"/>
                <a:gd name="connsiteX119" fmla="*/ 814 w 10000"/>
                <a:gd name="connsiteY119" fmla="*/ 3510 h 10000"/>
                <a:gd name="connsiteX120" fmla="*/ 853 w 10000"/>
                <a:gd name="connsiteY120" fmla="*/ 3392 h 10000"/>
                <a:gd name="connsiteX121" fmla="*/ 446 w 10000"/>
                <a:gd name="connsiteY121" fmla="*/ 2863 h 10000"/>
                <a:gd name="connsiteX122" fmla="*/ 523 w 10000"/>
                <a:gd name="connsiteY122" fmla="*/ 2706 h 10000"/>
                <a:gd name="connsiteX123" fmla="*/ 601 w 10000"/>
                <a:gd name="connsiteY123" fmla="*/ 2588 h 10000"/>
                <a:gd name="connsiteX124" fmla="*/ 1279 w 10000"/>
                <a:gd name="connsiteY124" fmla="*/ 2588 h 10000"/>
                <a:gd name="connsiteX0" fmla="*/ 1337 w 10000"/>
                <a:gd name="connsiteY0" fmla="*/ 1569 h 10000"/>
                <a:gd name="connsiteX1" fmla="*/ 1570 w 10000"/>
                <a:gd name="connsiteY1" fmla="*/ 1333 h 10000"/>
                <a:gd name="connsiteX2" fmla="*/ 2209 w 10000"/>
                <a:gd name="connsiteY2" fmla="*/ 1549 h 10000"/>
                <a:gd name="connsiteX3" fmla="*/ 2403 w 10000"/>
                <a:gd name="connsiteY3" fmla="*/ 1412 h 10000"/>
                <a:gd name="connsiteX4" fmla="*/ 2597 w 10000"/>
                <a:gd name="connsiteY4" fmla="*/ 1275 h 10000"/>
                <a:gd name="connsiteX5" fmla="*/ 2578 w 10000"/>
                <a:gd name="connsiteY5" fmla="*/ 588 h 10000"/>
                <a:gd name="connsiteX6" fmla="*/ 2733 w 10000"/>
                <a:gd name="connsiteY6" fmla="*/ 510 h 10000"/>
                <a:gd name="connsiteX7" fmla="*/ 2868 w 10000"/>
                <a:gd name="connsiteY7" fmla="*/ 451 h 10000"/>
                <a:gd name="connsiteX8" fmla="*/ 3411 w 10000"/>
                <a:gd name="connsiteY8" fmla="*/ 843 h 10000"/>
                <a:gd name="connsiteX9" fmla="*/ 3624 w 10000"/>
                <a:gd name="connsiteY9" fmla="*/ 765 h 10000"/>
                <a:gd name="connsiteX10" fmla="*/ 3740 w 10000"/>
                <a:gd name="connsiteY10" fmla="*/ 725 h 10000"/>
                <a:gd name="connsiteX11" fmla="*/ 3857 w 10000"/>
                <a:gd name="connsiteY11" fmla="*/ 706 h 10000"/>
                <a:gd name="connsiteX12" fmla="*/ 4070 w 10000"/>
                <a:gd name="connsiteY12" fmla="*/ 59 h 10000"/>
                <a:gd name="connsiteX13" fmla="*/ 4380 w 10000"/>
                <a:gd name="connsiteY13" fmla="*/ 0 h 10000"/>
                <a:gd name="connsiteX14" fmla="*/ 4767 w 10000"/>
                <a:gd name="connsiteY14" fmla="*/ 569 h 10000"/>
                <a:gd name="connsiteX15" fmla="*/ 5019 w 10000"/>
                <a:gd name="connsiteY15" fmla="*/ 549 h 10000"/>
                <a:gd name="connsiteX16" fmla="*/ 5252 w 10000"/>
                <a:gd name="connsiteY16" fmla="*/ 569 h 10000"/>
                <a:gd name="connsiteX17" fmla="*/ 5640 w 10000"/>
                <a:gd name="connsiteY17" fmla="*/ 0 h 10000"/>
                <a:gd name="connsiteX18" fmla="*/ 5795 w 10000"/>
                <a:gd name="connsiteY18" fmla="*/ 20 h 10000"/>
                <a:gd name="connsiteX19" fmla="*/ 5950 w 10000"/>
                <a:gd name="connsiteY19" fmla="*/ 59 h 10000"/>
                <a:gd name="connsiteX20" fmla="*/ 6163 w 10000"/>
                <a:gd name="connsiteY20" fmla="*/ 706 h 10000"/>
                <a:gd name="connsiteX21" fmla="*/ 6395 w 10000"/>
                <a:gd name="connsiteY21" fmla="*/ 765 h 10000"/>
                <a:gd name="connsiteX22" fmla="*/ 6492 w 10000"/>
                <a:gd name="connsiteY22" fmla="*/ 804 h 10000"/>
                <a:gd name="connsiteX23" fmla="*/ 6609 w 10000"/>
                <a:gd name="connsiteY23" fmla="*/ 843 h 10000"/>
                <a:gd name="connsiteX24" fmla="*/ 7151 w 10000"/>
                <a:gd name="connsiteY24" fmla="*/ 451 h 10000"/>
                <a:gd name="connsiteX25" fmla="*/ 7287 w 10000"/>
                <a:gd name="connsiteY25" fmla="*/ 510 h 10000"/>
                <a:gd name="connsiteX26" fmla="*/ 7442 w 10000"/>
                <a:gd name="connsiteY26" fmla="*/ 588 h 10000"/>
                <a:gd name="connsiteX27" fmla="*/ 7442 w 10000"/>
                <a:gd name="connsiteY27" fmla="*/ 1275 h 10000"/>
                <a:gd name="connsiteX28" fmla="*/ 7616 w 10000"/>
                <a:gd name="connsiteY28" fmla="*/ 1412 h 10000"/>
                <a:gd name="connsiteX29" fmla="*/ 7713 w 10000"/>
                <a:gd name="connsiteY29" fmla="*/ 1471 h 10000"/>
                <a:gd name="connsiteX30" fmla="*/ 7810 w 10000"/>
                <a:gd name="connsiteY30" fmla="*/ 1549 h 10000"/>
                <a:gd name="connsiteX31" fmla="*/ 8450 w 10000"/>
                <a:gd name="connsiteY31" fmla="*/ 1333 h 10000"/>
                <a:gd name="connsiteX32" fmla="*/ 8566 w 10000"/>
                <a:gd name="connsiteY32" fmla="*/ 1451 h 10000"/>
                <a:gd name="connsiteX33" fmla="*/ 8682 w 10000"/>
                <a:gd name="connsiteY33" fmla="*/ 1569 h 10000"/>
                <a:gd name="connsiteX34" fmla="*/ 8469 w 10000"/>
                <a:gd name="connsiteY34" fmla="*/ 2216 h 10000"/>
                <a:gd name="connsiteX35" fmla="*/ 8605 w 10000"/>
                <a:gd name="connsiteY35" fmla="*/ 2392 h 10000"/>
                <a:gd name="connsiteX36" fmla="*/ 8740 w 10000"/>
                <a:gd name="connsiteY36" fmla="*/ 2588 h 10000"/>
                <a:gd name="connsiteX37" fmla="*/ 9419 w 10000"/>
                <a:gd name="connsiteY37" fmla="*/ 2588 h 10000"/>
                <a:gd name="connsiteX38" fmla="*/ 9496 w 10000"/>
                <a:gd name="connsiteY38" fmla="*/ 2706 h 10000"/>
                <a:gd name="connsiteX39" fmla="*/ 9574 w 10000"/>
                <a:gd name="connsiteY39" fmla="*/ 2863 h 10000"/>
                <a:gd name="connsiteX40" fmla="*/ 9167 w 10000"/>
                <a:gd name="connsiteY40" fmla="*/ 3392 h 10000"/>
                <a:gd name="connsiteX41" fmla="*/ 9244 w 10000"/>
                <a:gd name="connsiteY41" fmla="*/ 3627 h 10000"/>
                <a:gd name="connsiteX42" fmla="*/ 9283 w 10000"/>
                <a:gd name="connsiteY42" fmla="*/ 3745 h 10000"/>
                <a:gd name="connsiteX43" fmla="*/ 9302 w 10000"/>
                <a:gd name="connsiteY43" fmla="*/ 3863 h 10000"/>
                <a:gd name="connsiteX44" fmla="*/ 9961 w 10000"/>
                <a:gd name="connsiteY44" fmla="*/ 4059 h 10000"/>
                <a:gd name="connsiteX45" fmla="*/ 10000 w 10000"/>
                <a:gd name="connsiteY45" fmla="*/ 4392 h 10000"/>
                <a:gd name="connsiteX46" fmla="*/ 9438 w 10000"/>
                <a:gd name="connsiteY46" fmla="*/ 4765 h 10000"/>
                <a:gd name="connsiteX47" fmla="*/ 9457 w 10000"/>
                <a:gd name="connsiteY47" fmla="*/ 5000 h 10000"/>
                <a:gd name="connsiteX48" fmla="*/ 9438 w 10000"/>
                <a:gd name="connsiteY48" fmla="*/ 5235 h 10000"/>
                <a:gd name="connsiteX49" fmla="*/ 10000 w 10000"/>
                <a:gd name="connsiteY49" fmla="*/ 5627 h 10000"/>
                <a:gd name="connsiteX50" fmla="*/ 9981 w 10000"/>
                <a:gd name="connsiteY50" fmla="*/ 5784 h 10000"/>
                <a:gd name="connsiteX51" fmla="*/ 9961 w 10000"/>
                <a:gd name="connsiteY51" fmla="*/ 5941 h 10000"/>
                <a:gd name="connsiteX52" fmla="*/ 9302 w 10000"/>
                <a:gd name="connsiteY52" fmla="*/ 6157 h 10000"/>
                <a:gd name="connsiteX53" fmla="*/ 9244 w 10000"/>
                <a:gd name="connsiteY53" fmla="*/ 6392 h 10000"/>
                <a:gd name="connsiteX54" fmla="*/ 9205 w 10000"/>
                <a:gd name="connsiteY54" fmla="*/ 6490 h 10000"/>
                <a:gd name="connsiteX55" fmla="*/ 9167 w 10000"/>
                <a:gd name="connsiteY55" fmla="*/ 6608 h 10000"/>
                <a:gd name="connsiteX56" fmla="*/ 9574 w 10000"/>
                <a:gd name="connsiteY56" fmla="*/ 7157 h 10000"/>
                <a:gd name="connsiteX57" fmla="*/ 9496 w 10000"/>
                <a:gd name="connsiteY57" fmla="*/ 7294 h 10000"/>
                <a:gd name="connsiteX58" fmla="*/ 9419 w 10000"/>
                <a:gd name="connsiteY58" fmla="*/ 7431 h 10000"/>
                <a:gd name="connsiteX59" fmla="*/ 8740 w 10000"/>
                <a:gd name="connsiteY59" fmla="*/ 7412 h 10000"/>
                <a:gd name="connsiteX60" fmla="*/ 8605 w 10000"/>
                <a:gd name="connsiteY60" fmla="*/ 7627 h 10000"/>
                <a:gd name="connsiteX61" fmla="*/ 8547 w 10000"/>
                <a:gd name="connsiteY61" fmla="*/ 7706 h 10000"/>
                <a:gd name="connsiteX62" fmla="*/ 8469 w 10000"/>
                <a:gd name="connsiteY62" fmla="*/ 7804 h 10000"/>
                <a:gd name="connsiteX63" fmla="*/ 8682 w 10000"/>
                <a:gd name="connsiteY63" fmla="*/ 8451 h 10000"/>
                <a:gd name="connsiteX64" fmla="*/ 8566 w 10000"/>
                <a:gd name="connsiteY64" fmla="*/ 8569 h 10000"/>
                <a:gd name="connsiteX65" fmla="*/ 8450 w 10000"/>
                <a:gd name="connsiteY65" fmla="*/ 8686 h 10000"/>
                <a:gd name="connsiteX66" fmla="*/ 7810 w 10000"/>
                <a:gd name="connsiteY66" fmla="*/ 8471 h 10000"/>
                <a:gd name="connsiteX67" fmla="*/ 7616 w 10000"/>
                <a:gd name="connsiteY67" fmla="*/ 8608 h 10000"/>
                <a:gd name="connsiteX68" fmla="*/ 7442 w 10000"/>
                <a:gd name="connsiteY68" fmla="*/ 8745 h 10000"/>
                <a:gd name="connsiteX69" fmla="*/ 7442 w 10000"/>
                <a:gd name="connsiteY69" fmla="*/ 9412 h 10000"/>
                <a:gd name="connsiteX70" fmla="*/ 7287 w 10000"/>
                <a:gd name="connsiteY70" fmla="*/ 9510 h 10000"/>
                <a:gd name="connsiteX71" fmla="*/ 7151 w 10000"/>
                <a:gd name="connsiteY71" fmla="*/ 9569 h 10000"/>
                <a:gd name="connsiteX72" fmla="*/ 6609 w 10000"/>
                <a:gd name="connsiteY72" fmla="*/ 9157 h 10000"/>
                <a:gd name="connsiteX73" fmla="*/ 6395 w 10000"/>
                <a:gd name="connsiteY73" fmla="*/ 9235 h 10000"/>
                <a:gd name="connsiteX74" fmla="*/ 6279 w 10000"/>
                <a:gd name="connsiteY74" fmla="*/ 9275 h 10000"/>
                <a:gd name="connsiteX75" fmla="*/ 6163 w 10000"/>
                <a:gd name="connsiteY75" fmla="*/ 9314 h 10000"/>
                <a:gd name="connsiteX76" fmla="*/ 5950 w 10000"/>
                <a:gd name="connsiteY76" fmla="*/ 9961 h 10000"/>
                <a:gd name="connsiteX77" fmla="*/ 5640 w 10000"/>
                <a:gd name="connsiteY77" fmla="*/ 10000 h 10000"/>
                <a:gd name="connsiteX78" fmla="*/ 5252 w 10000"/>
                <a:gd name="connsiteY78" fmla="*/ 9451 h 10000"/>
                <a:gd name="connsiteX79" fmla="*/ 5019 w 10000"/>
                <a:gd name="connsiteY79" fmla="*/ 9451 h 10000"/>
                <a:gd name="connsiteX80" fmla="*/ 4767 w 10000"/>
                <a:gd name="connsiteY80" fmla="*/ 9451 h 10000"/>
                <a:gd name="connsiteX81" fmla="*/ 4380 w 10000"/>
                <a:gd name="connsiteY81" fmla="*/ 10000 h 10000"/>
                <a:gd name="connsiteX82" fmla="*/ 4225 w 10000"/>
                <a:gd name="connsiteY82" fmla="*/ 9980 h 10000"/>
                <a:gd name="connsiteX83" fmla="*/ 4070 w 10000"/>
                <a:gd name="connsiteY83" fmla="*/ 9961 h 10000"/>
                <a:gd name="connsiteX84" fmla="*/ 3857 w 10000"/>
                <a:gd name="connsiteY84" fmla="*/ 9314 h 10000"/>
                <a:gd name="connsiteX85" fmla="*/ 3624 w 10000"/>
                <a:gd name="connsiteY85" fmla="*/ 9235 h 10000"/>
                <a:gd name="connsiteX86" fmla="*/ 3508 w 10000"/>
                <a:gd name="connsiteY86" fmla="*/ 9216 h 10000"/>
                <a:gd name="connsiteX87" fmla="*/ 3411 w 10000"/>
                <a:gd name="connsiteY87" fmla="*/ 9157 h 10000"/>
                <a:gd name="connsiteX88" fmla="*/ 2868 w 10000"/>
                <a:gd name="connsiteY88" fmla="*/ 9569 h 10000"/>
                <a:gd name="connsiteX89" fmla="*/ 2733 w 10000"/>
                <a:gd name="connsiteY89" fmla="*/ 9510 h 10000"/>
                <a:gd name="connsiteX90" fmla="*/ 2578 w 10000"/>
                <a:gd name="connsiteY90" fmla="*/ 9412 h 10000"/>
                <a:gd name="connsiteX91" fmla="*/ 2597 w 10000"/>
                <a:gd name="connsiteY91" fmla="*/ 8745 h 10000"/>
                <a:gd name="connsiteX92" fmla="*/ 2403 w 10000"/>
                <a:gd name="connsiteY92" fmla="*/ 8608 h 10000"/>
                <a:gd name="connsiteX93" fmla="*/ 2306 w 10000"/>
                <a:gd name="connsiteY93" fmla="*/ 8529 h 10000"/>
                <a:gd name="connsiteX94" fmla="*/ 2209 w 10000"/>
                <a:gd name="connsiteY94" fmla="*/ 8471 h 10000"/>
                <a:gd name="connsiteX95" fmla="*/ 1570 w 10000"/>
                <a:gd name="connsiteY95" fmla="*/ 8686 h 10000"/>
                <a:gd name="connsiteX96" fmla="*/ 1453 w 10000"/>
                <a:gd name="connsiteY96" fmla="*/ 8569 h 10000"/>
                <a:gd name="connsiteX97" fmla="*/ 1337 w 10000"/>
                <a:gd name="connsiteY97" fmla="*/ 8451 h 10000"/>
                <a:gd name="connsiteX98" fmla="*/ 1550 w 10000"/>
                <a:gd name="connsiteY98" fmla="*/ 7804 h 10000"/>
                <a:gd name="connsiteX99" fmla="*/ 1415 w 10000"/>
                <a:gd name="connsiteY99" fmla="*/ 7627 h 10000"/>
                <a:gd name="connsiteX100" fmla="*/ 1279 w 10000"/>
                <a:gd name="connsiteY100" fmla="*/ 7412 h 10000"/>
                <a:gd name="connsiteX101" fmla="*/ 601 w 10000"/>
                <a:gd name="connsiteY101" fmla="*/ 7431 h 10000"/>
                <a:gd name="connsiteX102" fmla="*/ 523 w 10000"/>
                <a:gd name="connsiteY102" fmla="*/ 7294 h 10000"/>
                <a:gd name="connsiteX103" fmla="*/ 446 w 10000"/>
                <a:gd name="connsiteY103" fmla="*/ 7157 h 10000"/>
                <a:gd name="connsiteX104" fmla="*/ 853 w 10000"/>
                <a:gd name="connsiteY104" fmla="*/ 6608 h 10000"/>
                <a:gd name="connsiteX105" fmla="*/ 775 w 10000"/>
                <a:gd name="connsiteY105" fmla="*/ 6392 h 10000"/>
                <a:gd name="connsiteX106" fmla="*/ 756 w 10000"/>
                <a:gd name="connsiteY106" fmla="*/ 6275 h 10000"/>
                <a:gd name="connsiteX107" fmla="*/ 717 w 10000"/>
                <a:gd name="connsiteY107" fmla="*/ 6157 h 10000"/>
                <a:gd name="connsiteX108" fmla="*/ 58 w 10000"/>
                <a:gd name="connsiteY108" fmla="*/ 5941 h 10000"/>
                <a:gd name="connsiteX109" fmla="*/ 0 w 10000"/>
                <a:gd name="connsiteY109" fmla="*/ 5627 h 10000"/>
                <a:gd name="connsiteX110" fmla="*/ 581 w 10000"/>
                <a:gd name="connsiteY110" fmla="*/ 5235 h 10000"/>
                <a:gd name="connsiteX111" fmla="*/ 562 w 10000"/>
                <a:gd name="connsiteY111" fmla="*/ 5000 h 10000"/>
                <a:gd name="connsiteX112" fmla="*/ 581 w 10000"/>
                <a:gd name="connsiteY112" fmla="*/ 4765 h 10000"/>
                <a:gd name="connsiteX113" fmla="*/ 0 w 10000"/>
                <a:gd name="connsiteY113" fmla="*/ 4392 h 10000"/>
                <a:gd name="connsiteX114" fmla="*/ 19 w 10000"/>
                <a:gd name="connsiteY114" fmla="*/ 4216 h 10000"/>
                <a:gd name="connsiteX115" fmla="*/ 58 w 10000"/>
                <a:gd name="connsiteY115" fmla="*/ 4059 h 10000"/>
                <a:gd name="connsiteX116" fmla="*/ 717 w 10000"/>
                <a:gd name="connsiteY116" fmla="*/ 3863 h 10000"/>
                <a:gd name="connsiteX117" fmla="*/ 775 w 10000"/>
                <a:gd name="connsiteY117" fmla="*/ 3627 h 10000"/>
                <a:gd name="connsiteX118" fmla="*/ 814 w 10000"/>
                <a:gd name="connsiteY118" fmla="*/ 3510 h 10000"/>
                <a:gd name="connsiteX119" fmla="*/ 853 w 10000"/>
                <a:gd name="connsiteY119" fmla="*/ 3392 h 10000"/>
                <a:gd name="connsiteX120" fmla="*/ 446 w 10000"/>
                <a:gd name="connsiteY120" fmla="*/ 2863 h 10000"/>
                <a:gd name="connsiteX121" fmla="*/ 523 w 10000"/>
                <a:gd name="connsiteY121" fmla="*/ 2706 h 10000"/>
                <a:gd name="connsiteX122" fmla="*/ 601 w 10000"/>
                <a:gd name="connsiteY122" fmla="*/ 2588 h 10000"/>
                <a:gd name="connsiteX123" fmla="*/ 1279 w 10000"/>
                <a:gd name="connsiteY123" fmla="*/ 2588 h 10000"/>
                <a:gd name="connsiteX0" fmla="*/ 1570 w 10000"/>
                <a:gd name="connsiteY0" fmla="*/ 1333 h 10000"/>
                <a:gd name="connsiteX1" fmla="*/ 2209 w 10000"/>
                <a:gd name="connsiteY1" fmla="*/ 1549 h 10000"/>
                <a:gd name="connsiteX2" fmla="*/ 2403 w 10000"/>
                <a:gd name="connsiteY2" fmla="*/ 1412 h 10000"/>
                <a:gd name="connsiteX3" fmla="*/ 2597 w 10000"/>
                <a:gd name="connsiteY3" fmla="*/ 1275 h 10000"/>
                <a:gd name="connsiteX4" fmla="*/ 2578 w 10000"/>
                <a:gd name="connsiteY4" fmla="*/ 588 h 10000"/>
                <a:gd name="connsiteX5" fmla="*/ 2733 w 10000"/>
                <a:gd name="connsiteY5" fmla="*/ 510 h 10000"/>
                <a:gd name="connsiteX6" fmla="*/ 2868 w 10000"/>
                <a:gd name="connsiteY6" fmla="*/ 451 h 10000"/>
                <a:gd name="connsiteX7" fmla="*/ 3411 w 10000"/>
                <a:gd name="connsiteY7" fmla="*/ 843 h 10000"/>
                <a:gd name="connsiteX8" fmla="*/ 3624 w 10000"/>
                <a:gd name="connsiteY8" fmla="*/ 765 h 10000"/>
                <a:gd name="connsiteX9" fmla="*/ 3740 w 10000"/>
                <a:gd name="connsiteY9" fmla="*/ 725 h 10000"/>
                <a:gd name="connsiteX10" fmla="*/ 3857 w 10000"/>
                <a:gd name="connsiteY10" fmla="*/ 706 h 10000"/>
                <a:gd name="connsiteX11" fmla="*/ 4070 w 10000"/>
                <a:gd name="connsiteY11" fmla="*/ 59 h 10000"/>
                <a:gd name="connsiteX12" fmla="*/ 4380 w 10000"/>
                <a:gd name="connsiteY12" fmla="*/ 0 h 10000"/>
                <a:gd name="connsiteX13" fmla="*/ 4767 w 10000"/>
                <a:gd name="connsiteY13" fmla="*/ 569 h 10000"/>
                <a:gd name="connsiteX14" fmla="*/ 5019 w 10000"/>
                <a:gd name="connsiteY14" fmla="*/ 549 h 10000"/>
                <a:gd name="connsiteX15" fmla="*/ 5252 w 10000"/>
                <a:gd name="connsiteY15" fmla="*/ 569 h 10000"/>
                <a:gd name="connsiteX16" fmla="*/ 5640 w 10000"/>
                <a:gd name="connsiteY16" fmla="*/ 0 h 10000"/>
                <a:gd name="connsiteX17" fmla="*/ 5795 w 10000"/>
                <a:gd name="connsiteY17" fmla="*/ 20 h 10000"/>
                <a:gd name="connsiteX18" fmla="*/ 5950 w 10000"/>
                <a:gd name="connsiteY18" fmla="*/ 59 h 10000"/>
                <a:gd name="connsiteX19" fmla="*/ 6163 w 10000"/>
                <a:gd name="connsiteY19" fmla="*/ 706 h 10000"/>
                <a:gd name="connsiteX20" fmla="*/ 6395 w 10000"/>
                <a:gd name="connsiteY20" fmla="*/ 765 h 10000"/>
                <a:gd name="connsiteX21" fmla="*/ 6492 w 10000"/>
                <a:gd name="connsiteY21" fmla="*/ 804 h 10000"/>
                <a:gd name="connsiteX22" fmla="*/ 6609 w 10000"/>
                <a:gd name="connsiteY22" fmla="*/ 843 h 10000"/>
                <a:gd name="connsiteX23" fmla="*/ 7151 w 10000"/>
                <a:gd name="connsiteY23" fmla="*/ 451 h 10000"/>
                <a:gd name="connsiteX24" fmla="*/ 7287 w 10000"/>
                <a:gd name="connsiteY24" fmla="*/ 510 h 10000"/>
                <a:gd name="connsiteX25" fmla="*/ 7442 w 10000"/>
                <a:gd name="connsiteY25" fmla="*/ 588 h 10000"/>
                <a:gd name="connsiteX26" fmla="*/ 7442 w 10000"/>
                <a:gd name="connsiteY26" fmla="*/ 1275 h 10000"/>
                <a:gd name="connsiteX27" fmla="*/ 7616 w 10000"/>
                <a:gd name="connsiteY27" fmla="*/ 1412 h 10000"/>
                <a:gd name="connsiteX28" fmla="*/ 7713 w 10000"/>
                <a:gd name="connsiteY28" fmla="*/ 1471 h 10000"/>
                <a:gd name="connsiteX29" fmla="*/ 7810 w 10000"/>
                <a:gd name="connsiteY29" fmla="*/ 1549 h 10000"/>
                <a:gd name="connsiteX30" fmla="*/ 8450 w 10000"/>
                <a:gd name="connsiteY30" fmla="*/ 1333 h 10000"/>
                <a:gd name="connsiteX31" fmla="*/ 8566 w 10000"/>
                <a:gd name="connsiteY31" fmla="*/ 1451 h 10000"/>
                <a:gd name="connsiteX32" fmla="*/ 8682 w 10000"/>
                <a:gd name="connsiteY32" fmla="*/ 1569 h 10000"/>
                <a:gd name="connsiteX33" fmla="*/ 8469 w 10000"/>
                <a:gd name="connsiteY33" fmla="*/ 2216 h 10000"/>
                <a:gd name="connsiteX34" fmla="*/ 8605 w 10000"/>
                <a:gd name="connsiteY34" fmla="*/ 2392 h 10000"/>
                <a:gd name="connsiteX35" fmla="*/ 8740 w 10000"/>
                <a:gd name="connsiteY35" fmla="*/ 2588 h 10000"/>
                <a:gd name="connsiteX36" fmla="*/ 9419 w 10000"/>
                <a:gd name="connsiteY36" fmla="*/ 2588 h 10000"/>
                <a:gd name="connsiteX37" fmla="*/ 9496 w 10000"/>
                <a:gd name="connsiteY37" fmla="*/ 2706 h 10000"/>
                <a:gd name="connsiteX38" fmla="*/ 9574 w 10000"/>
                <a:gd name="connsiteY38" fmla="*/ 2863 h 10000"/>
                <a:gd name="connsiteX39" fmla="*/ 9167 w 10000"/>
                <a:gd name="connsiteY39" fmla="*/ 3392 h 10000"/>
                <a:gd name="connsiteX40" fmla="*/ 9244 w 10000"/>
                <a:gd name="connsiteY40" fmla="*/ 3627 h 10000"/>
                <a:gd name="connsiteX41" fmla="*/ 9283 w 10000"/>
                <a:gd name="connsiteY41" fmla="*/ 3745 h 10000"/>
                <a:gd name="connsiteX42" fmla="*/ 9302 w 10000"/>
                <a:gd name="connsiteY42" fmla="*/ 3863 h 10000"/>
                <a:gd name="connsiteX43" fmla="*/ 9961 w 10000"/>
                <a:gd name="connsiteY43" fmla="*/ 4059 h 10000"/>
                <a:gd name="connsiteX44" fmla="*/ 10000 w 10000"/>
                <a:gd name="connsiteY44" fmla="*/ 4392 h 10000"/>
                <a:gd name="connsiteX45" fmla="*/ 9438 w 10000"/>
                <a:gd name="connsiteY45" fmla="*/ 4765 h 10000"/>
                <a:gd name="connsiteX46" fmla="*/ 9457 w 10000"/>
                <a:gd name="connsiteY46" fmla="*/ 5000 h 10000"/>
                <a:gd name="connsiteX47" fmla="*/ 9438 w 10000"/>
                <a:gd name="connsiteY47" fmla="*/ 5235 h 10000"/>
                <a:gd name="connsiteX48" fmla="*/ 10000 w 10000"/>
                <a:gd name="connsiteY48" fmla="*/ 5627 h 10000"/>
                <a:gd name="connsiteX49" fmla="*/ 9981 w 10000"/>
                <a:gd name="connsiteY49" fmla="*/ 5784 h 10000"/>
                <a:gd name="connsiteX50" fmla="*/ 9961 w 10000"/>
                <a:gd name="connsiteY50" fmla="*/ 5941 h 10000"/>
                <a:gd name="connsiteX51" fmla="*/ 9302 w 10000"/>
                <a:gd name="connsiteY51" fmla="*/ 6157 h 10000"/>
                <a:gd name="connsiteX52" fmla="*/ 9244 w 10000"/>
                <a:gd name="connsiteY52" fmla="*/ 6392 h 10000"/>
                <a:gd name="connsiteX53" fmla="*/ 9205 w 10000"/>
                <a:gd name="connsiteY53" fmla="*/ 6490 h 10000"/>
                <a:gd name="connsiteX54" fmla="*/ 9167 w 10000"/>
                <a:gd name="connsiteY54" fmla="*/ 6608 h 10000"/>
                <a:gd name="connsiteX55" fmla="*/ 9574 w 10000"/>
                <a:gd name="connsiteY55" fmla="*/ 7157 h 10000"/>
                <a:gd name="connsiteX56" fmla="*/ 9496 w 10000"/>
                <a:gd name="connsiteY56" fmla="*/ 7294 h 10000"/>
                <a:gd name="connsiteX57" fmla="*/ 9419 w 10000"/>
                <a:gd name="connsiteY57" fmla="*/ 7431 h 10000"/>
                <a:gd name="connsiteX58" fmla="*/ 8740 w 10000"/>
                <a:gd name="connsiteY58" fmla="*/ 7412 h 10000"/>
                <a:gd name="connsiteX59" fmla="*/ 8605 w 10000"/>
                <a:gd name="connsiteY59" fmla="*/ 7627 h 10000"/>
                <a:gd name="connsiteX60" fmla="*/ 8547 w 10000"/>
                <a:gd name="connsiteY60" fmla="*/ 7706 h 10000"/>
                <a:gd name="connsiteX61" fmla="*/ 8469 w 10000"/>
                <a:gd name="connsiteY61" fmla="*/ 7804 h 10000"/>
                <a:gd name="connsiteX62" fmla="*/ 8682 w 10000"/>
                <a:gd name="connsiteY62" fmla="*/ 8451 h 10000"/>
                <a:gd name="connsiteX63" fmla="*/ 8566 w 10000"/>
                <a:gd name="connsiteY63" fmla="*/ 8569 h 10000"/>
                <a:gd name="connsiteX64" fmla="*/ 8450 w 10000"/>
                <a:gd name="connsiteY64" fmla="*/ 8686 h 10000"/>
                <a:gd name="connsiteX65" fmla="*/ 7810 w 10000"/>
                <a:gd name="connsiteY65" fmla="*/ 8471 h 10000"/>
                <a:gd name="connsiteX66" fmla="*/ 7616 w 10000"/>
                <a:gd name="connsiteY66" fmla="*/ 8608 h 10000"/>
                <a:gd name="connsiteX67" fmla="*/ 7442 w 10000"/>
                <a:gd name="connsiteY67" fmla="*/ 8745 h 10000"/>
                <a:gd name="connsiteX68" fmla="*/ 7442 w 10000"/>
                <a:gd name="connsiteY68" fmla="*/ 9412 h 10000"/>
                <a:gd name="connsiteX69" fmla="*/ 7287 w 10000"/>
                <a:gd name="connsiteY69" fmla="*/ 9510 h 10000"/>
                <a:gd name="connsiteX70" fmla="*/ 7151 w 10000"/>
                <a:gd name="connsiteY70" fmla="*/ 9569 h 10000"/>
                <a:gd name="connsiteX71" fmla="*/ 6609 w 10000"/>
                <a:gd name="connsiteY71" fmla="*/ 9157 h 10000"/>
                <a:gd name="connsiteX72" fmla="*/ 6395 w 10000"/>
                <a:gd name="connsiteY72" fmla="*/ 9235 h 10000"/>
                <a:gd name="connsiteX73" fmla="*/ 6279 w 10000"/>
                <a:gd name="connsiteY73" fmla="*/ 9275 h 10000"/>
                <a:gd name="connsiteX74" fmla="*/ 6163 w 10000"/>
                <a:gd name="connsiteY74" fmla="*/ 9314 h 10000"/>
                <a:gd name="connsiteX75" fmla="*/ 5950 w 10000"/>
                <a:gd name="connsiteY75" fmla="*/ 9961 h 10000"/>
                <a:gd name="connsiteX76" fmla="*/ 5640 w 10000"/>
                <a:gd name="connsiteY76" fmla="*/ 10000 h 10000"/>
                <a:gd name="connsiteX77" fmla="*/ 5252 w 10000"/>
                <a:gd name="connsiteY77" fmla="*/ 9451 h 10000"/>
                <a:gd name="connsiteX78" fmla="*/ 5019 w 10000"/>
                <a:gd name="connsiteY78" fmla="*/ 9451 h 10000"/>
                <a:gd name="connsiteX79" fmla="*/ 4767 w 10000"/>
                <a:gd name="connsiteY79" fmla="*/ 9451 h 10000"/>
                <a:gd name="connsiteX80" fmla="*/ 4380 w 10000"/>
                <a:gd name="connsiteY80" fmla="*/ 10000 h 10000"/>
                <a:gd name="connsiteX81" fmla="*/ 4225 w 10000"/>
                <a:gd name="connsiteY81" fmla="*/ 9980 h 10000"/>
                <a:gd name="connsiteX82" fmla="*/ 4070 w 10000"/>
                <a:gd name="connsiteY82" fmla="*/ 9961 h 10000"/>
                <a:gd name="connsiteX83" fmla="*/ 3857 w 10000"/>
                <a:gd name="connsiteY83" fmla="*/ 9314 h 10000"/>
                <a:gd name="connsiteX84" fmla="*/ 3624 w 10000"/>
                <a:gd name="connsiteY84" fmla="*/ 9235 h 10000"/>
                <a:gd name="connsiteX85" fmla="*/ 3508 w 10000"/>
                <a:gd name="connsiteY85" fmla="*/ 9216 h 10000"/>
                <a:gd name="connsiteX86" fmla="*/ 3411 w 10000"/>
                <a:gd name="connsiteY86" fmla="*/ 9157 h 10000"/>
                <a:gd name="connsiteX87" fmla="*/ 2868 w 10000"/>
                <a:gd name="connsiteY87" fmla="*/ 9569 h 10000"/>
                <a:gd name="connsiteX88" fmla="*/ 2733 w 10000"/>
                <a:gd name="connsiteY88" fmla="*/ 9510 h 10000"/>
                <a:gd name="connsiteX89" fmla="*/ 2578 w 10000"/>
                <a:gd name="connsiteY89" fmla="*/ 9412 h 10000"/>
                <a:gd name="connsiteX90" fmla="*/ 2597 w 10000"/>
                <a:gd name="connsiteY90" fmla="*/ 8745 h 10000"/>
                <a:gd name="connsiteX91" fmla="*/ 2403 w 10000"/>
                <a:gd name="connsiteY91" fmla="*/ 8608 h 10000"/>
                <a:gd name="connsiteX92" fmla="*/ 2306 w 10000"/>
                <a:gd name="connsiteY92" fmla="*/ 8529 h 10000"/>
                <a:gd name="connsiteX93" fmla="*/ 2209 w 10000"/>
                <a:gd name="connsiteY93" fmla="*/ 8471 h 10000"/>
                <a:gd name="connsiteX94" fmla="*/ 1570 w 10000"/>
                <a:gd name="connsiteY94" fmla="*/ 8686 h 10000"/>
                <a:gd name="connsiteX95" fmla="*/ 1453 w 10000"/>
                <a:gd name="connsiteY95" fmla="*/ 8569 h 10000"/>
                <a:gd name="connsiteX96" fmla="*/ 1337 w 10000"/>
                <a:gd name="connsiteY96" fmla="*/ 8451 h 10000"/>
                <a:gd name="connsiteX97" fmla="*/ 1550 w 10000"/>
                <a:gd name="connsiteY97" fmla="*/ 7804 h 10000"/>
                <a:gd name="connsiteX98" fmla="*/ 1415 w 10000"/>
                <a:gd name="connsiteY98" fmla="*/ 7627 h 10000"/>
                <a:gd name="connsiteX99" fmla="*/ 1279 w 10000"/>
                <a:gd name="connsiteY99" fmla="*/ 7412 h 10000"/>
                <a:gd name="connsiteX100" fmla="*/ 601 w 10000"/>
                <a:gd name="connsiteY100" fmla="*/ 7431 h 10000"/>
                <a:gd name="connsiteX101" fmla="*/ 523 w 10000"/>
                <a:gd name="connsiteY101" fmla="*/ 7294 h 10000"/>
                <a:gd name="connsiteX102" fmla="*/ 446 w 10000"/>
                <a:gd name="connsiteY102" fmla="*/ 7157 h 10000"/>
                <a:gd name="connsiteX103" fmla="*/ 853 w 10000"/>
                <a:gd name="connsiteY103" fmla="*/ 6608 h 10000"/>
                <a:gd name="connsiteX104" fmla="*/ 775 w 10000"/>
                <a:gd name="connsiteY104" fmla="*/ 6392 h 10000"/>
                <a:gd name="connsiteX105" fmla="*/ 756 w 10000"/>
                <a:gd name="connsiteY105" fmla="*/ 6275 h 10000"/>
                <a:gd name="connsiteX106" fmla="*/ 717 w 10000"/>
                <a:gd name="connsiteY106" fmla="*/ 6157 h 10000"/>
                <a:gd name="connsiteX107" fmla="*/ 58 w 10000"/>
                <a:gd name="connsiteY107" fmla="*/ 5941 h 10000"/>
                <a:gd name="connsiteX108" fmla="*/ 0 w 10000"/>
                <a:gd name="connsiteY108" fmla="*/ 5627 h 10000"/>
                <a:gd name="connsiteX109" fmla="*/ 581 w 10000"/>
                <a:gd name="connsiteY109" fmla="*/ 5235 h 10000"/>
                <a:gd name="connsiteX110" fmla="*/ 562 w 10000"/>
                <a:gd name="connsiteY110" fmla="*/ 5000 h 10000"/>
                <a:gd name="connsiteX111" fmla="*/ 581 w 10000"/>
                <a:gd name="connsiteY111" fmla="*/ 4765 h 10000"/>
                <a:gd name="connsiteX112" fmla="*/ 0 w 10000"/>
                <a:gd name="connsiteY112" fmla="*/ 4392 h 10000"/>
                <a:gd name="connsiteX113" fmla="*/ 19 w 10000"/>
                <a:gd name="connsiteY113" fmla="*/ 4216 h 10000"/>
                <a:gd name="connsiteX114" fmla="*/ 58 w 10000"/>
                <a:gd name="connsiteY114" fmla="*/ 4059 h 10000"/>
                <a:gd name="connsiteX115" fmla="*/ 717 w 10000"/>
                <a:gd name="connsiteY115" fmla="*/ 3863 h 10000"/>
                <a:gd name="connsiteX116" fmla="*/ 775 w 10000"/>
                <a:gd name="connsiteY116" fmla="*/ 3627 h 10000"/>
                <a:gd name="connsiteX117" fmla="*/ 814 w 10000"/>
                <a:gd name="connsiteY117" fmla="*/ 3510 h 10000"/>
                <a:gd name="connsiteX118" fmla="*/ 853 w 10000"/>
                <a:gd name="connsiteY118" fmla="*/ 3392 h 10000"/>
                <a:gd name="connsiteX119" fmla="*/ 446 w 10000"/>
                <a:gd name="connsiteY119" fmla="*/ 2863 h 10000"/>
                <a:gd name="connsiteX120" fmla="*/ 523 w 10000"/>
                <a:gd name="connsiteY120" fmla="*/ 2706 h 10000"/>
                <a:gd name="connsiteX121" fmla="*/ 601 w 10000"/>
                <a:gd name="connsiteY121" fmla="*/ 2588 h 10000"/>
                <a:gd name="connsiteX122" fmla="*/ 1279 w 10000"/>
                <a:gd name="connsiteY122" fmla="*/ 2588 h 10000"/>
                <a:gd name="connsiteX0" fmla="*/ 2209 w 10000"/>
                <a:gd name="connsiteY0" fmla="*/ 1549 h 10000"/>
                <a:gd name="connsiteX1" fmla="*/ 2403 w 10000"/>
                <a:gd name="connsiteY1" fmla="*/ 1412 h 10000"/>
                <a:gd name="connsiteX2" fmla="*/ 2597 w 10000"/>
                <a:gd name="connsiteY2" fmla="*/ 1275 h 10000"/>
                <a:gd name="connsiteX3" fmla="*/ 2578 w 10000"/>
                <a:gd name="connsiteY3" fmla="*/ 588 h 10000"/>
                <a:gd name="connsiteX4" fmla="*/ 2733 w 10000"/>
                <a:gd name="connsiteY4" fmla="*/ 510 h 10000"/>
                <a:gd name="connsiteX5" fmla="*/ 2868 w 10000"/>
                <a:gd name="connsiteY5" fmla="*/ 451 h 10000"/>
                <a:gd name="connsiteX6" fmla="*/ 3411 w 10000"/>
                <a:gd name="connsiteY6" fmla="*/ 843 h 10000"/>
                <a:gd name="connsiteX7" fmla="*/ 3624 w 10000"/>
                <a:gd name="connsiteY7" fmla="*/ 765 h 10000"/>
                <a:gd name="connsiteX8" fmla="*/ 3740 w 10000"/>
                <a:gd name="connsiteY8" fmla="*/ 725 h 10000"/>
                <a:gd name="connsiteX9" fmla="*/ 3857 w 10000"/>
                <a:gd name="connsiteY9" fmla="*/ 706 h 10000"/>
                <a:gd name="connsiteX10" fmla="*/ 4070 w 10000"/>
                <a:gd name="connsiteY10" fmla="*/ 59 h 10000"/>
                <a:gd name="connsiteX11" fmla="*/ 4380 w 10000"/>
                <a:gd name="connsiteY11" fmla="*/ 0 h 10000"/>
                <a:gd name="connsiteX12" fmla="*/ 4767 w 10000"/>
                <a:gd name="connsiteY12" fmla="*/ 569 h 10000"/>
                <a:gd name="connsiteX13" fmla="*/ 5019 w 10000"/>
                <a:gd name="connsiteY13" fmla="*/ 549 h 10000"/>
                <a:gd name="connsiteX14" fmla="*/ 5252 w 10000"/>
                <a:gd name="connsiteY14" fmla="*/ 569 h 10000"/>
                <a:gd name="connsiteX15" fmla="*/ 5640 w 10000"/>
                <a:gd name="connsiteY15" fmla="*/ 0 h 10000"/>
                <a:gd name="connsiteX16" fmla="*/ 5795 w 10000"/>
                <a:gd name="connsiteY16" fmla="*/ 20 h 10000"/>
                <a:gd name="connsiteX17" fmla="*/ 5950 w 10000"/>
                <a:gd name="connsiteY17" fmla="*/ 59 h 10000"/>
                <a:gd name="connsiteX18" fmla="*/ 6163 w 10000"/>
                <a:gd name="connsiteY18" fmla="*/ 706 h 10000"/>
                <a:gd name="connsiteX19" fmla="*/ 6395 w 10000"/>
                <a:gd name="connsiteY19" fmla="*/ 765 h 10000"/>
                <a:gd name="connsiteX20" fmla="*/ 6492 w 10000"/>
                <a:gd name="connsiteY20" fmla="*/ 804 h 10000"/>
                <a:gd name="connsiteX21" fmla="*/ 6609 w 10000"/>
                <a:gd name="connsiteY21" fmla="*/ 843 h 10000"/>
                <a:gd name="connsiteX22" fmla="*/ 7151 w 10000"/>
                <a:gd name="connsiteY22" fmla="*/ 451 h 10000"/>
                <a:gd name="connsiteX23" fmla="*/ 7287 w 10000"/>
                <a:gd name="connsiteY23" fmla="*/ 510 h 10000"/>
                <a:gd name="connsiteX24" fmla="*/ 7442 w 10000"/>
                <a:gd name="connsiteY24" fmla="*/ 588 h 10000"/>
                <a:gd name="connsiteX25" fmla="*/ 7442 w 10000"/>
                <a:gd name="connsiteY25" fmla="*/ 1275 h 10000"/>
                <a:gd name="connsiteX26" fmla="*/ 7616 w 10000"/>
                <a:gd name="connsiteY26" fmla="*/ 1412 h 10000"/>
                <a:gd name="connsiteX27" fmla="*/ 7713 w 10000"/>
                <a:gd name="connsiteY27" fmla="*/ 1471 h 10000"/>
                <a:gd name="connsiteX28" fmla="*/ 7810 w 10000"/>
                <a:gd name="connsiteY28" fmla="*/ 1549 h 10000"/>
                <a:gd name="connsiteX29" fmla="*/ 8450 w 10000"/>
                <a:gd name="connsiteY29" fmla="*/ 1333 h 10000"/>
                <a:gd name="connsiteX30" fmla="*/ 8566 w 10000"/>
                <a:gd name="connsiteY30" fmla="*/ 1451 h 10000"/>
                <a:gd name="connsiteX31" fmla="*/ 8682 w 10000"/>
                <a:gd name="connsiteY31" fmla="*/ 1569 h 10000"/>
                <a:gd name="connsiteX32" fmla="*/ 8469 w 10000"/>
                <a:gd name="connsiteY32" fmla="*/ 2216 h 10000"/>
                <a:gd name="connsiteX33" fmla="*/ 8605 w 10000"/>
                <a:gd name="connsiteY33" fmla="*/ 2392 h 10000"/>
                <a:gd name="connsiteX34" fmla="*/ 8740 w 10000"/>
                <a:gd name="connsiteY34" fmla="*/ 2588 h 10000"/>
                <a:gd name="connsiteX35" fmla="*/ 9419 w 10000"/>
                <a:gd name="connsiteY35" fmla="*/ 2588 h 10000"/>
                <a:gd name="connsiteX36" fmla="*/ 9496 w 10000"/>
                <a:gd name="connsiteY36" fmla="*/ 2706 h 10000"/>
                <a:gd name="connsiteX37" fmla="*/ 9574 w 10000"/>
                <a:gd name="connsiteY37" fmla="*/ 2863 h 10000"/>
                <a:gd name="connsiteX38" fmla="*/ 9167 w 10000"/>
                <a:gd name="connsiteY38" fmla="*/ 3392 h 10000"/>
                <a:gd name="connsiteX39" fmla="*/ 9244 w 10000"/>
                <a:gd name="connsiteY39" fmla="*/ 3627 h 10000"/>
                <a:gd name="connsiteX40" fmla="*/ 9283 w 10000"/>
                <a:gd name="connsiteY40" fmla="*/ 3745 h 10000"/>
                <a:gd name="connsiteX41" fmla="*/ 9302 w 10000"/>
                <a:gd name="connsiteY41" fmla="*/ 3863 h 10000"/>
                <a:gd name="connsiteX42" fmla="*/ 9961 w 10000"/>
                <a:gd name="connsiteY42" fmla="*/ 4059 h 10000"/>
                <a:gd name="connsiteX43" fmla="*/ 10000 w 10000"/>
                <a:gd name="connsiteY43" fmla="*/ 4392 h 10000"/>
                <a:gd name="connsiteX44" fmla="*/ 9438 w 10000"/>
                <a:gd name="connsiteY44" fmla="*/ 4765 h 10000"/>
                <a:gd name="connsiteX45" fmla="*/ 9457 w 10000"/>
                <a:gd name="connsiteY45" fmla="*/ 5000 h 10000"/>
                <a:gd name="connsiteX46" fmla="*/ 9438 w 10000"/>
                <a:gd name="connsiteY46" fmla="*/ 5235 h 10000"/>
                <a:gd name="connsiteX47" fmla="*/ 10000 w 10000"/>
                <a:gd name="connsiteY47" fmla="*/ 5627 h 10000"/>
                <a:gd name="connsiteX48" fmla="*/ 9981 w 10000"/>
                <a:gd name="connsiteY48" fmla="*/ 5784 h 10000"/>
                <a:gd name="connsiteX49" fmla="*/ 9961 w 10000"/>
                <a:gd name="connsiteY49" fmla="*/ 5941 h 10000"/>
                <a:gd name="connsiteX50" fmla="*/ 9302 w 10000"/>
                <a:gd name="connsiteY50" fmla="*/ 6157 h 10000"/>
                <a:gd name="connsiteX51" fmla="*/ 9244 w 10000"/>
                <a:gd name="connsiteY51" fmla="*/ 6392 h 10000"/>
                <a:gd name="connsiteX52" fmla="*/ 9205 w 10000"/>
                <a:gd name="connsiteY52" fmla="*/ 6490 h 10000"/>
                <a:gd name="connsiteX53" fmla="*/ 9167 w 10000"/>
                <a:gd name="connsiteY53" fmla="*/ 6608 h 10000"/>
                <a:gd name="connsiteX54" fmla="*/ 9574 w 10000"/>
                <a:gd name="connsiteY54" fmla="*/ 7157 h 10000"/>
                <a:gd name="connsiteX55" fmla="*/ 9496 w 10000"/>
                <a:gd name="connsiteY55" fmla="*/ 7294 h 10000"/>
                <a:gd name="connsiteX56" fmla="*/ 9419 w 10000"/>
                <a:gd name="connsiteY56" fmla="*/ 7431 h 10000"/>
                <a:gd name="connsiteX57" fmla="*/ 8740 w 10000"/>
                <a:gd name="connsiteY57" fmla="*/ 7412 h 10000"/>
                <a:gd name="connsiteX58" fmla="*/ 8605 w 10000"/>
                <a:gd name="connsiteY58" fmla="*/ 7627 h 10000"/>
                <a:gd name="connsiteX59" fmla="*/ 8547 w 10000"/>
                <a:gd name="connsiteY59" fmla="*/ 7706 h 10000"/>
                <a:gd name="connsiteX60" fmla="*/ 8469 w 10000"/>
                <a:gd name="connsiteY60" fmla="*/ 7804 h 10000"/>
                <a:gd name="connsiteX61" fmla="*/ 8682 w 10000"/>
                <a:gd name="connsiteY61" fmla="*/ 8451 h 10000"/>
                <a:gd name="connsiteX62" fmla="*/ 8566 w 10000"/>
                <a:gd name="connsiteY62" fmla="*/ 8569 h 10000"/>
                <a:gd name="connsiteX63" fmla="*/ 8450 w 10000"/>
                <a:gd name="connsiteY63" fmla="*/ 8686 h 10000"/>
                <a:gd name="connsiteX64" fmla="*/ 7810 w 10000"/>
                <a:gd name="connsiteY64" fmla="*/ 8471 h 10000"/>
                <a:gd name="connsiteX65" fmla="*/ 7616 w 10000"/>
                <a:gd name="connsiteY65" fmla="*/ 8608 h 10000"/>
                <a:gd name="connsiteX66" fmla="*/ 7442 w 10000"/>
                <a:gd name="connsiteY66" fmla="*/ 8745 h 10000"/>
                <a:gd name="connsiteX67" fmla="*/ 7442 w 10000"/>
                <a:gd name="connsiteY67" fmla="*/ 9412 h 10000"/>
                <a:gd name="connsiteX68" fmla="*/ 7287 w 10000"/>
                <a:gd name="connsiteY68" fmla="*/ 9510 h 10000"/>
                <a:gd name="connsiteX69" fmla="*/ 7151 w 10000"/>
                <a:gd name="connsiteY69" fmla="*/ 9569 h 10000"/>
                <a:gd name="connsiteX70" fmla="*/ 6609 w 10000"/>
                <a:gd name="connsiteY70" fmla="*/ 9157 h 10000"/>
                <a:gd name="connsiteX71" fmla="*/ 6395 w 10000"/>
                <a:gd name="connsiteY71" fmla="*/ 9235 h 10000"/>
                <a:gd name="connsiteX72" fmla="*/ 6279 w 10000"/>
                <a:gd name="connsiteY72" fmla="*/ 9275 h 10000"/>
                <a:gd name="connsiteX73" fmla="*/ 6163 w 10000"/>
                <a:gd name="connsiteY73" fmla="*/ 9314 h 10000"/>
                <a:gd name="connsiteX74" fmla="*/ 5950 w 10000"/>
                <a:gd name="connsiteY74" fmla="*/ 9961 h 10000"/>
                <a:gd name="connsiteX75" fmla="*/ 5640 w 10000"/>
                <a:gd name="connsiteY75" fmla="*/ 10000 h 10000"/>
                <a:gd name="connsiteX76" fmla="*/ 5252 w 10000"/>
                <a:gd name="connsiteY76" fmla="*/ 9451 h 10000"/>
                <a:gd name="connsiteX77" fmla="*/ 5019 w 10000"/>
                <a:gd name="connsiteY77" fmla="*/ 9451 h 10000"/>
                <a:gd name="connsiteX78" fmla="*/ 4767 w 10000"/>
                <a:gd name="connsiteY78" fmla="*/ 9451 h 10000"/>
                <a:gd name="connsiteX79" fmla="*/ 4380 w 10000"/>
                <a:gd name="connsiteY79" fmla="*/ 10000 h 10000"/>
                <a:gd name="connsiteX80" fmla="*/ 4225 w 10000"/>
                <a:gd name="connsiteY80" fmla="*/ 9980 h 10000"/>
                <a:gd name="connsiteX81" fmla="*/ 4070 w 10000"/>
                <a:gd name="connsiteY81" fmla="*/ 9961 h 10000"/>
                <a:gd name="connsiteX82" fmla="*/ 3857 w 10000"/>
                <a:gd name="connsiteY82" fmla="*/ 9314 h 10000"/>
                <a:gd name="connsiteX83" fmla="*/ 3624 w 10000"/>
                <a:gd name="connsiteY83" fmla="*/ 9235 h 10000"/>
                <a:gd name="connsiteX84" fmla="*/ 3508 w 10000"/>
                <a:gd name="connsiteY84" fmla="*/ 9216 h 10000"/>
                <a:gd name="connsiteX85" fmla="*/ 3411 w 10000"/>
                <a:gd name="connsiteY85" fmla="*/ 9157 h 10000"/>
                <a:gd name="connsiteX86" fmla="*/ 2868 w 10000"/>
                <a:gd name="connsiteY86" fmla="*/ 9569 h 10000"/>
                <a:gd name="connsiteX87" fmla="*/ 2733 w 10000"/>
                <a:gd name="connsiteY87" fmla="*/ 9510 h 10000"/>
                <a:gd name="connsiteX88" fmla="*/ 2578 w 10000"/>
                <a:gd name="connsiteY88" fmla="*/ 9412 h 10000"/>
                <a:gd name="connsiteX89" fmla="*/ 2597 w 10000"/>
                <a:gd name="connsiteY89" fmla="*/ 8745 h 10000"/>
                <a:gd name="connsiteX90" fmla="*/ 2403 w 10000"/>
                <a:gd name="connsiteY90" fmla="*/ 8608 h 10000"/>
                <a:gd name="connsiteX91" fmla="*/ 2306 w 10000"/>
                <a:gd name="connsiteY91" fmla="*/ 8529 h 10000"/>
                <a:gd name="connsiteX92" fmla="*/ 2209 w 10000"/>
                <a:gd name="connsiteY92" fmla="*/ 8471 h 10000"/>
                <a:gd name="connsiteX93" fmla="*/ 1570 w 10000"/>
                <a:gd name="connsiteY93" fmla="*/ 8686 h 10000"/>
                <a:gd name="connsiteX94" fmla="*/ 1453 w 10000"/>
                <a:gd name="connsiteY94" fmla="*/ 8569 h 10000"/>
                <a:gd name="connsiteX95" fmla="*/ 1337 w 10000"/>
                <a:gd name="connsiteY95" fmla="*/ 8451 h 10000"/>
                <a:gd name="connsiteX96" fmla="*/ 1550 w 10000"/>
                <a:gd name="connsiteY96" fmla="*/ 7804 h 10000"/>
                <a:gd name="connsiteX97" fmla="*/ 1415 w 10000"/>
                <a:gd name="connsiteY97" fmla="*/ 7627 h 10000"/>
                <a:gd name="connsiteX98" fmla="*/ 1279 w 10000"/>
                <a:gd name="connsiteY98" fmla="*/ 7412 h 10000"/>
                <a:gd name="connsiteX99" fmla="*/ 601 w 10000"/>
                <a:gd name="connsiteY99" fmla="*/ 7431 h 10000"/>
                <a:gd name="connsiteX100" fmla="*/ 523 w 10000"/>
                <a:gd name="connsiteY100" fmla="*/ 7294 h 10000"/>
                <a:gd name="connsiteX101" fmla="*/ 446 w 10000"/>
                <a:gd name="connsiteY101" fmla="*/ 7157 h 10000"/>
                <a:gd name="connsiteX102" fmla="*/ 853 w 10000"/>
                <a:gd name="connsiteY102" fmla="*/ 6608 h 10000"/>
                <a:gd name="connsiteX103" fmla="*/ 775 w 10000"/>
                <a:gd name="connsiteY103" fmla="*/ 6392 h 10000"/>
                <a:gd name="connsiteX104" fmla="*/ 756 w 10000"/>
                <a:gd name="connsiteY104" fmla="*/ 6275 h 10000"/>
                <a:gd name="connsiteX105" fmla="*/ 717 w 10000"/>
                <a:gd name="connsiteY105" fmla="*/ 6157 h 10000"/>
                <a:gd name="connsiteX106" fmla="*/ 58 w 10000"/>
                <a:gd name="connsiteY106" fmla="*/ 5941 h 10000"/>
                <a:gd name="connsiteX107" fmla="*/ 0 w 10000"/>
                <a:gd name="connsiteY107" fmla="*/ 5627 h 10000"/>
                <a:gd name="connsiteX108" fmla="*/ 581 w 10000"/>
                <a:gd name="connsiteY108" fmla="*/ 5235 h 10000"/>
                <a:gd name="connsiteX109" fmla="*/ 562 w 10000"/>
                <a:gd name="connsiteY109" fmla="*/ 5000 h 10000"/>
                <a:gd name="connsiteX110" fmla="*/ 581 w 10000"/>
                <a:gd name="connsiteY110" fmla="*/ 4765 h 10000"/>
                <a:gd name="connsiteX111" fmla="*/ 0 w 10000"/>
                <a:gd name="connsiteY111" fmla="*/ 4392 h 10000"/>
                <a:gd name="connsiteX112" fmla="*/ 19 w 10000"/>
                <a:gd name="connsiteY112" fmla="*/ 4216 h 10000"/>
                <a:gd name="connsiteX113" fmla="*/ 58 w 10000"/>
                <a:gd name="connsiteY113" fmla="*/ 4059 h 10000"/>
                <a:gd name="connsiteX114" fmla="*/ 717 w 10000"/>
                <a:gd name="connsiteY114" fmla="*/ 3863 h 10000"/>
                <a:gd name="connsiteX115" fmla="*/ 775 w 10000"/>
                <a:gd name="connsiteY115" fmla="*/ 3627 h 10000"/>
                <a:gd name="connsiteX116" fmla="*/ 814 w 10000"/>
                <a:gd name="connsiteY116" fmla="*/ 3510 h 10000"/>
                <a:gd name="connsiteX117" fmla="*/ 853 w 10000"/>
                <a:gd name="connsiteY117" fmla="*/ 3392 h 10000"/>
                <a:gd name="connsiteX118" fmla="*/ 446 w 10000"/>
                <a:gd name="connsiteY118" fmla="*/ 2863 h 10000"/>
                <a:gd name="connsiteX119" fmla="*/ 523 w 10000"/>
                <a:gd name="connsiteY119" fmla="*/ 2706 h 10000"/>
                <a:gd name="connsiteX120" fmla="*/ 601 w 10000"/>
                <a:gd name="connsiteY120" fmla="*/ 2588 h 10000"/>
                <a:gd name="connsiteX121" fmla="*/ 1279 w 10000"/>
                <a:gd name="connsiteY121" fmla="*/ 2588 h 10000"/>
                <a:gd name="connsiteX0" fmla="*/ 2209 w 10000"/>
                <a:gd name="connsiteY0" fmla="*/ 1549 h 10000"/>
                <a:gd name="connsiteX1" fmla="*/ 2597 w 10000"/>
                <a:gd name="connsiteY1" fmla="*/ 1275 h 10000"/>
                <a:gd name="connsiteX2" fmla="*/ 2578 w 10000"/>
                <a:gd name="connsiteY2" fmla="*/ 588 h 10000"/>
                <a:gd name="connsiteX3" fmla="*/ 2733 w 10000"/>
                <a:gd name="connsiteY3" fmla="*/ 510 h 10000"/>
                <a:gd name="connsiteX4" fmla="*/ 2868 w 10000"/>
                <a:gd name="connsiteY4" fmla="*/ 451 h 10000"/>
                <a:gd name="connsiteX5" fmla="*/ 3411 w 10000"/>
                <a:gd name="connsiteY5" fmla="*/ 843 h 10000"/>
                <a:gd name="connsiteX6" fmla="*/ 3624 w 10000"/>
                <a:gd name="connsiteY6" fmla="*/ 765 h 10000"/>
                <a:gd name="connsiteX7" fmla="*/ 3740 w 10000"/>
                <a:gd name="connsiteY7" fmla="*/ 725 h 10000"/>
                <a:gd name="connsiteX8" fmla="*/ 3857 w 10000"/>
                <a:gd name="connsiteY8" fmla="*/ 706 h 10000"/>
                <a:gd name="connsiteX9" fmla="*/ 4070 w 10000"/>
                <a:gd name="connsiteY9" fmla="*/ 59 h 10000"/>
                <a:gd name="connsiteX10" fmla="*/ 4380 w 10000"/>
                <a:gd name="connsiteY10" fmla="*/ 0 h 10000"/>
                <a:gd name="connsiteX11" fmla="*/ 4767 w 10000"/>
                <a:gd name="connsiteY11" fmla="*/ 569 h 10000"/>
                <a:gd name="connsiteX12" fmla="*/ 5019 w 10000"/>
                <a:gd name="connsiteY12" fmla="*/ 549 h 10000"/>
                <a:gd name="connsiteX13" fmla="*/ 5252 w 10000"/>
                <a:gd name="connsiteY13" fmla="*/ 569 h 10000"/>
                <a:gd name="connsiteX14" fmla="*/ 5640 w 10000"/>
                <a:gd name="connsiteY14" fmla="*/ 0 h 10000"/>
                <a:gd name="connsiteX15" fmla="*/ 5795 w 10000"/>
                <a:gd name="connsiteY15" fmla="*/ 20 h 10000"/>
                <a:gd name="connsiteX16" fmla="*/ 5950 w 10000"/>
                <a:gd name="connsiteY16" fmla="*/ 59 h 10000"/>
                <a:gd name="connsiteX17" fmla="*/ 6163 w 10000"/>
                <a:gd name="connsiteY17" fmla="*/ 706 h 10000"/>
                <a:gd name="connsiteX18" fmla="*/ 6395 w 10000"/>
                <a:gd name="connsiteY18" fmla="*/ 765 h 10000"/>
                <a:gd name="connsiteX19" fmla="*/ 6492 w 10000"/>
                <a:gd name="connsiteY19" fmla="*/ 804 h 10000"/>
                <a:gd name="connsiteX20" fmla="*/ 6609 w 10000"/>
                <a:gd name="connsiteY20" fmla="*/ 843 h 10000"/>
                <a:gd name="connsiteX21" fmla="*/ 7151 w 10000"/>
                <a:gd name="connsiteY21" fmla="*/ 451 h 10000"/>
                <a:gd name="connsiteX22" fmla="*/ 7287 w 10000"/>
                <a:gd name="connsiteY22" fmla="*/ 510 h 10000"/>
                <a:gd name="connsiteX23" fmla="*/ 7442 w 10000"/>
                <a:gd name="connsiteY23" fmla="*/ 588 h 10000"/>
                <a:gd name="connsiteX24" fmla="*/ 7442 w 10000"/>
                <a:gd name="connsiteY24" fmla="*/ 1275 h 10000"/>
                <a:gd name="connsiteX25" fmla="*/ 7616 w 10000"/>
                <a:gd name="connsiteY25" fmla="*/ 1412 h 10000"/>
                <a:gd name="connsiteX26" fmla="*/ 7713 w 10000"/>
                <a:gd name="connsiteY26" fmla="*/ 1471 h 10000"/>
                <a:gd name="connsiteX27" fmla="*/ 7810 w 10000"/>
                <a:gd name="connsiteY27" fmla="*/ 1549 h 10000"/>
                <a:gd name="connsiteX28" fmla="*/ 8450 w 10000"/>
                <a:gd name="connsiteY28" fmla="*/ 1333 h 10000"/>
                <a:gd name="connsiteX29" fmla="*/ 8566 w 10000"/>
                <a:gd name="connsiteY29" fmla="*/ 1451 h 10000"/>
                <a:gd name="connsiteX30" fmla="*/ 8682 w 10000"/>
                <a:gd name="connsiteY30" fmla="*/ 1569 h 10000"/>
                <a:gd name="connsiteX31" fmla="*/ 8469 w 10000"/>
                <a:gd name="connsiteY31" fmla="*/ 2216 h 10000"/>
                <a:gd name="connsiteX32" fmla="*/ 8605 w 10000"/>
                <a:gd name="connsiteY32" fmla="*/ 2392 h 10000"/>
                <a:gd name="connsiteX33" fmla="*/ 8740 w 10000"/>
                <a:gd name="connsiteY33" fmla="*/ 2588 h 10000"/>
                <a:gd name="connsiteX34" fmla="*/ 9419 w 10000"/>
                <a:gd name="connsiteY34" fmla="*/ 2588 h 10000"/>
                <a:gd name="connsiteX35" fmla="*/ 9496 w 10000"/>
                <a:gd name="connsiteY35" fmla="*/ 2706 h 10000"/>
                <a:gd name="connsiteX36" fmla="*/ 9574 w 10000"/>
                <a:gd name="connsiteY36" fmla="*/ 2863 h 10000"/>
                <a:gd name="connsiteX37" fmla="*/ 9167 w 10000"/>
                <a:gd name="connsiteY37" fmla="*/ 3392 h 10000"/>
                <a:gd name="connsiteX38" fmla="*/ 9244 w 10000"/>
                <a:gd name="connsiteY38" fmla="*/ 3627 h 10000"/>
                <a:gd name="connsiteX39" fmla="*/ 9283 w 10000"/>
                <a:gd name="connsiteY39" fmla="*/ 3745 h 10000"/>
                <a:gd name="connsiteX40" fmla="*/ 9302 w 10000"/>
                <a:gd name="connsiteY40" fmla="*/ 3863 h 10000"/>
                <a:gd name="connsiteX41" fmla="*/ 9961 w 10000"/>
                <a:gd name="connsiteY41" fmla="*/ 4059 h 10000"/>
                <a:gd name="connsiteX42" fmla="*/ 10000 w 10000"/>
                <a:gd name="connsiteY42" fmla="*/ 4392 h 10000"/>
                <a:gd name="connsiteX43" fmla="*/ 9438 w 10000"/>
                <a:gd name="connsiteY43" fmla="*/ 4765 h 10000"/>
                <a:gd name="connsiteX44" fmla="*/ 9457 w 10000"/>
                <a:gd name="connsiteY44" fmla="*/ 5000 h 10000"/>
                <a:gd name="connsiteX45" fmla="*/ 9438 w 10000"/>
                <a:gd name="connsiteY45" fmla="*/ 5235 h 10000"/>
                <a:gd name="connsiteX46" fmla="*/ 10000 w 10000"/>
                <a:gd name="connsiteY46" fmla="*/ 5627 h 10000"/>
                <a:gd name="connsiteX47" fmla="*/ 9981 w 10000"/>
                <a:gd name="connsiteY47" fmla="*/ 5784 h 10000"/>
                <a:gd name="connsiteX48" fmla="*/ 9961 w 10000"/>
                <a:gd name="connsiteY48" fmla="*/ 5941 h 10000"/>
                <a:gd name="connsiteX49" fmla="*/ 9302 w 10000"/>
                <a:gd name="connsiteY49" fmla="*/ 6157 h 10000"/>
                <a:gd name="connsiteX50" fmla="*/ 9244 w 10000"/>
                <a:gd name="connsiteY50" fmla="*/ 6392 h 10000"/>
                <a:gd name="connsiteX51" fmla="*/ 9205 w 10000"/>
                <a:gd name="connsiteY51" fmla="*/ 6490 h 10000"/>
                <a:gd name="connsiteX52" fmla="*/ 9167 w 10000"/>
                <a:gd name="connsiteY52" fmla="*/ 6608 h 10000"/>
                <a:gd name="connsiteX53" fmla="*/ 9574 w 10000"/>
                <a:gd name="connsiteY53" fmla="*/ 7157 h 10000"/>
                <a:gd name="connsiteX54" fmla="*/ 9496 w 10000"/>
                <a:gd name="connsiteY54" fmla="*/ 7294 h 10000"/>
                <a:gd name="connsiteX55" fmla="*/ 9419 w 10000"/>
                <a:gd name="connsiteY55" fmla="*/ 7431 h 10000"/>
                <a:gd name="connsiteX56" fmla="*/ 8740 w 10000"/>
                <a:gd name="connsiteY56" fmla="*/ 7412 h 10000"/>
                <a:gd name="connsiteX57" fmla="*/ 8605 w 10000"/>
                <a:gd name="connsiteY57" fmla="*/ 7627 h 10000"/>
                <a:gd name="connsiteX58" fmla="*/ 8547 w 10000"/>
                <a:gd name="connsiteY58" fmla="*/ 7706 h 10000"/>
                <a:gd name="connsiteX59" fmla="*/ 8469 w 10000"/>
                <a:gd name="connsiteY59" fmla="*/ 7804 h 10000"/>
                <a:gd name="connsiteX60" fmla="*/ 8682 w 10000"/>
                <a:gd name="connsiteY60" fmla="*/ 8451 h 10000"/>
                <a:gd name="connsiteX61" fmla="*/ 8566 w 10000"/>
                <a:gd name="connsiteY61" fmla="*/ 8569 h 10000"/>
                <a:gd name="connsiteX62" fmla="*/ 8450 w 10000"/>
                <a:gd name="connsiteY62" fmla="*/ 8686 h 10000"/>
                <a:gd name="connsiteX63" fmla="*/ 7810 w 10000"/>
                <a:gd name="connsiteY63" fmla="*/ 8471 h 10000"/>
                <a:gd name="connsiteX64" fmla="*/ 7616 w 10000"/>
                <a:gd name="connsiteY64" fmla="*/ 8608 h 10000"/>
                <a:gd name="connsiteX65" fmla="*/ 7442 w 10000"/>
                <a:gd name="connsiteY65" fmla="*/ 8745 h 10000"/>
                <a:gd name="connsiteX66" fmla="*/ 7442 w 10000"/>
                <a:gd name="connsiteY66" fmla="*/ 9412 h 10000"/>
                <a:gd name="connsiteX67" fmla="*/ 7287 w 10000"/>
                <a:gd name="connsiteY67" fmla="*/ 9510 h 10000"/>
                <a:gd name="connsiteX68" fmla="*/ 7151 w 10000"/>
                <a:gd name="connsiteY68" fmla="*/ 9569 h 10000"/>
                <a:gd name="connsiteX69" fmla="*/ 6609 w 10000"/>
                <a:gd name="connsiteY69" fmla="*/ 9157 h 10000"/>
                <a:gd name="connsiteX70" fmla="*/ 6395 w 10000"/>
                <a:gd name="connsiteY70" fmla="*/ 9235 h 10000"/>
                <a:gd name="connsiteX71" fmla="*/ 6279 w 10000"/>
                <a:gd name="connsiteY71" fmla="*/ 9275 h 10000"/>
                <a:gd name="connsiteX72" fmla="*/ 6163 w 10000"/>
                <a:gd name="connsiteY72" fmla="*/ 9314 h 10000"/>
                <a:gd name="connsiteX73" fmla="*/ 5950 w 10000"/>
                <a:gd name="connsiteY73" fmla="*/ 9961 h 10000"/>
                <a:gd name="connsiteX74" fmla="*/ 5640 w 10000"/>
                <a:gd name="connsiteY74" fmla="*/ 10000 h 10000"/>
                <a:gd name="connsiteX75" fmla="*/ 5252 w 10000"/>
                <a:gd name="connsiteY75" fmla="*/ 9451 h 10000"/>
                <a:gd name="connsiteX76" fmla="*/ 5019 w 10000"/>
                <a:gd name="connsiteY76" fmla="*/ 9451 h 10000"/>
                <a:gd name="connsiteX77" fmla="*/ 4767 w 10000"/>
                <a:gd name="connsiteY77" fmla="*/ 9451 h 10000"/>
                <a:gd name="connsiteX78" fmla="*/ 4380 w 10000"/>
                <a:gd name="connsiteY78" fmla="*/ 10000 h 10000"/>
                <a:gd name="connsiteX79" fmla="*/ 4225 w 10000"/>
                <a:gd name="connsiteY79" fmla="*/ 9980 h 10000"/>
                <a:gd name="connsiteX80" fmla="*/ 4070 w 10000"/>
                <a:gd name="connsiteY80" fmla="*/ 9961 h 10000"/>
                <a:gd name="connsiteX81" fmla="*/ 3857 w 10000"/>
                <a:gd name="connsiteY81" fmla="*/ 9314 h 10000"/>
                <a:gd name="connsiteX82" fmla="*/ 3624 w 10000"/>
                <a:gd name="connsiteY82" fmla="*/ 9235 h 10000"/>
                <a:gd name="connsiteX83" fmla="*/ 3508 w 10000"/>
                <a:gd name="connsiteY83" fmla="*/ 9216 h 10000"/>
                <a:gd name="connsiteX84" fmla="*/ 3411 w 10000"/>
                <a:gd name="connsiteY84" fmla="*/ 9157 h 10000"/>
                <a:gd name="connsiteX85" fmla="*/ 2868 w 10000"/>
                <a:gd name="connsiteY85" fmla="*/ 9569 h 10000"/>
                <a:gd name="connsiteX86" fmla="*/ 2733 w 10000"/>
                <a:gd name="connsiteY86" fmla="*/ 9510 h 10000"/>
                <a:gd name="connsiteX87" fmla="*/ 2578 w 10000"/>
                <a:gd name="connsiteY87" fmla="*/ 9412 h 10000"/>
                <a:gd name="connsiteX88" fmla="*/ 2597 w 10000"/>
                <a:gd name="connsiteY88" fmla="*/ 8745 h 10000"/>
                <a:gd name="connsiteX89" fmla="*/ 2403 w 10000"/>
                <a:gd name="connsiteY89" fmla="*/ 8608 h 10000"/>
                <a:gd name="connsiteX90" fmla="*/ 2306 w 10000"/>
                <a:gd name="connsiteY90" fmla="*/ 8529 h 10000"/>
                <a:gd name="connsiteX91" fmla="*/ 2209 w 10000"/>
                <a:gd name="connsiteY91" fmla="*/ 8471 h 10000"/>
                <a:gd name="connsiteX92" fmla="*/ 1570 w 10000"/>
                <a:gd name="connsiteY92" fmla="*/ 8686 h 10000"/>
                <a:gd name="connsiteX93" fmla="*/ 1453 w 10000"/>
                <a:gd name="connsiteY93" fmla="*/ 8569 h 10000"/>
                <a:gd name="connsiteX94" fmla="*/ 1337 w 10000"/>
                <a:gd name="connsiteY94" fmla="*/ 8451 h 10000"/>
                <a:gd name="connsiteX95" fmla="*/ 1550 w 10000"/>
                <a:gd name="connsiteY95" fmla="*/ 7804 h 10000"/>
                <a:gd name="connsiteX96" fmla="*/ 1415 w 10000"/>
                <a:gd name="connsiteY96" fmla="*/ 7627 h 10000"/>
                <a:gd name="connsiteX97" fmla="*/ 1279 w 10000"/>
                <a:gd name="connsiteY97" fmla="*/ 7412 h 10000"/>
                <a:gd name="connsiteX98" fmla="*/ 601 w 10000"/>
                <a:gd name="connsiteY98" fmla="*/ 7431 h 10000"/>
                <a:gd name="connsiteX99" fmla="*/ 523 w 10000"/>
                <a:gd name="connsiteY99" fmla="*/ 7294 h 10000"/>
                <a:gd name="connsiteX100" fmla="*/ 446 w 10000"/>
                <a:gd name="connsiteY100" fmla="*/ 7157 h 10000"/>
                <a:gd name="connsiteX101" fmla="*/ 853 w 10000"/>
                <a:gd name="connsiteY101" fmla="*/ 6608 h 10000"/>
                <a:gd name="connsiteX102" fmla="*/ 775 w 10000"/>
                <a:gd name="connsiteY102" fmla="*/ 6392 h 10000"/>
                <a:gd name="connsiteX103" fmla="*/ 756 w 10000"/>
                <a:gd name="connsiteY103" fmla="*/ 6275 h 10000"/>
                <a:gd name="connsiteX104" fmla="*/ 717 w 10000"/>
                <a:gd name="connsiteY104" fmla="*/ 6157 h 10000"/>
                <a:gd name="connsiteX105" fmla="*/ 58 w 10000"/>
                <a:gd name="connsiteY105" fmla="*/ 5941 h 10000"/>
                <a:gd name="connsiteX106" fmla="*/ 0 w 10000"/>
                <a:gd name="connsiteY106" fmla="*/ 5627 h 10000"/>
                <a:gd name="connsiteX107" fmla="*/ 581 w 10000"/>
                <a:gd name="connsiteY107" fmla="*/ 5235 h 10000"/>
                <a:gd name="connsiteX108" fmla="*/ 562 w 10000"/>
                <a:gd name="connsiteY108" fmla="*/ 5000 h 10000"/>
                <a:gd name="connsiteX109" fmla="*/ 581 w 10000"/>
                <a:gd name="connsiteY109" fmla="*/ 4765 h 10000"/>
                <a:gd name="connsiteX110" fmla="*/ 0 w 10000"/>
                <a:gd name="connsiteY110" fmla="*/ 4392 h 10000"/>
                <a:gd name="connsiteX111" fmla="*/ 19 w 10000"/>
                <a:gd name="connsiteY111" fmla="*/ 4216 h 10000"/>
                <a:gd name="connsiteX112" fmla="*/ 58 w 10000"/>
                <a:gd name="connsiteY112" fmla="*/ 4059 h 10000"/>
                <a:gd name="connsiteX113" fmla="*/ 717 w 10000"/>
                <a:gd name="connsiteY113" fmla="*/ 3863 h 10000"/>
                <a:gd name="connsiteX114" fmla="*/ 775 w 10000"/>
                <a:gd name="connsiteY114" fmla="*/ 3627 h 10000"/>
                <a:gd name="connsiteX115" fmla="*/ 814 w 10000"/>
                <a:gd name="connsiteY115" fmla="*/ 3510 h 10000"/>
                <a:gd name="connsiteX116" fmla="*/ 853 w 10000"/>
                <a:gd name="connsiteY116" fmla="*/ 3392 h 10000"/>
                <a:gd name="connsiteX117" fmla="*/ 446 w 10000"/>
                <a:gd name="connsiteY117" fmla="*/ 2863 h 10000"/>
                <a:gd name="connsiteX118" fmla="*/ 523 w 10000"/>
                <a:gd name="connsiteY118" fmla="*/ 2706 h 10000"/>
                <a:gd name="connsiteX119" fmla="*/ 601 w 10000"/>
                <a:gd name="connsiteY119" fmla="*/ 2588 h 10000"/>
                <a:gd name="connsiteX120" fmla="*/ 1279 w 10000"/>
                <a:gd name="connsiteY120" fmla="*/ 2588 h 10000"/>
                <a:gd name="connsiteX0" fmla="*/ 2597 w 10000"/>
                <a:gd name="connsiteY0" fmla="*/ 1275 h 10000"/>
                <a:gd name="connsiteX1" fmla="*/ 2578 w 10000"/>
                <a:gd name="connsiteY1" fmla="*/ 588 h 10000"/>
                <a:gd name="connsiteX2" fmla="*/ 2733 w 10000"/>
                <a:gd name="connsiteY2" fmla="*/ 510 h 10000"/>
                <a:gd name="connsiteX3" fmla="*/ 2868 w 10000"/>
                <a:gd name="connsiteY3" fmla="*/ 451 h 10000"/>
                <a:gd name="connsiteX4" fmla="*/ 3411 w 10000"/>
                <a:gd name="connsiteY4" fmla="*/ 843 h 10000"/>
                <a:gd name="connsiteX5" fmla="*/ 3624 w 10000"/>
                <a:gd name="connsiteY5" fmla="*/ 765 h 10000"/>
                <a:gd name="connsiteX6" fmla="*/ 3740 w 10000"/>
                <a:gd name="connsiteY6" fmla="*/ 725 h 10000"/>
                <a:gd name="connsiteX7" fmla="*/ 3857 w 10000"/>
                <a:gd name="connsiteY7" fmla="*/ 706 h 10000"/>
                <a:gd name="connsiteX8" fmla="*/ 4070 w 10000"/>
                <a:gd name="connsiteY8" fmla="*/ 59 h 10000"/>
                <a:gd name="connsiteX9" fmla="*/ 4380 w 10000"/>
                <a:gd name="connsiteY9" fmla="*/ 0 h 10000"/>
                <a:gd name="connsiteX10" fmla="*/ 4767 w 10000"/>
                <a:gd name="connsiteY10" fmla="*/ 569 h 10000"/>
                <a:gd name="connsiteX11" fmla="*/ 5019 w 10000"/>
                <a:gd name="connsiteY11" fmla="*/ 549 h 10000"/>
                <a:gd name="connsiteX12" fmla="*/ 5252 w 10000"/>
                <a:gd name="connsiteY12" fmla="*/ 569 h 10000"/>
                <a:gd name="connsiteX13" fmla="*/ 5640 w 10000"/>
                <a:gd name="connsiteY13" fmla="*/ 0 h 10000"/>
                <a:gd name="connsiteX14" fmla="*/ 5795 w 10000"/>
                <a:gd name="connsiteY14" fmla="*/ 20 h 10000"/>
                <a:gd name="connsiteX15" fmla="*/ 5950 w 10000"/>
                <a:gd name="connsiteY15" fmla="*/ 59 h 10000"/>
                <a:gd name="connsiteX16" fmla="*/ 6163 w 10000"/>
                <a:gd name="connsiteY16" fmla="*/ 706 h 10000"/>
                <a:gd name="connsiteX17" fmla="*/ 6395 w 10000"/>
                <a:gd name="connsiteY17" fmla="*/ 765 h 10000"/>
                <a:gd name="connsiteX18" fmla="*/ 6492 w 10000"/>
                <a:gd name="connsiteY18" fmla="*/ 804 h 10000"/>
                <a:gd name="connsiteX19" fmla="*/ 6609 w 10000"/>
                <a:gd name="connsiteY19" fmla="*/ 843 h 10000"/>
                <a:gd name="connsiteX20" fmla="*/ 7151 w 10000"/>
                <a:gd name="connsiteY20" fmla="*/ 451 h 10000"/>
                <a:gd name="connsiteX21" fmla="*/ 7287 w 10000"/>
                <a:gd name="connsiteY21" fmla="*/ 510 h 10000"/>
                <a:gd name="connsiteX22" fmla="*/ 7442 w 10000"/>
                <a:gd name="connsiteY22" fmla="*/ 588 h 10000"/>
                <a:gd name="connsiteX23" fmla="*/ 7442 w 10000"/>
                <a:gd name="connsiteY23" fmla="*/ 1275 h 10000"/>
                <a:gd name="connsiteX24" fmla="*/ 7616 w 10000"/>
                <a:gd name="connsiteY24" fmla="*/ 1412 h 10000"/>
                <a:gd name="connsiteX25" fmla="*/ 7713 w 10000"/>
                <a:gd name="connsiteY25" fmla="*/ 1471 h 10000"/>
                <a:gd name="connsiteX26" fmla="*/ 7810 w 10000"/>
                <a:gd name="connsiteY26" fmla="*/ 1549 h 10000"/>
                <a:gd name="connsiteX27" fmla="*/ 8450 w 10000"/>
                <a:gd name="connsiteY27" fmla="*/ 1333 h 10000"/>
                <a:gd name="connsiteX28" fmla="*/ 8566 w 10000"/>
                <a:gd name="connsiteY28" fmla="*/ 1451 h 10000"/>
                <a:gd name="connsiteX29" fmla="*/ 8682 w 10000"/>
                <a:gd name="connsiteY29" fmla="*/ 1569 h 10000"/>
                <a:gd name="connsiteX30" fmla="*/ 8469 w 10000"/>
                <a:gd name="connsiteY30" fmla="*/ 2216 h 10000"/>
                <a:gd name="connsiteX31" fmla="*/ 8605 w 10000"/>
                <a:gd name="connsiteY31" fmla="*/ 2392 h 10000"/>
                <a:gd name="connsiteX32" fmla="*/ 8740 w 10000"/>
                <a:gd name="connsiteY32" fmla="*/ 2588 h 10000"/>
                <a:gd name="connsiteX33" fmla="*/ 9419 w 10000"/>
                <a:gd name="connsiteY33" fmla="*/ 2588 h 10000"/>
                <a:gd name="connsiteX34" fmla="*/ 9496 w 10000"/>
                <a:gd name="connsiteY34" fmla="*/ 2706 h 10000"/>
                <a:gd name="connsiteX35" fmla="*/ 9574 w 10000"/>
                <a:gd name="connsiteY35" fmla="*/ 2863 h 10000"/>
                <a:gd name="connsiteX36" fmla="*/ 9167 w 10000"/>
                <a:gd name="connsiteY36" fmla="*/ 3392 h 10000"/>
                <a:gd name="connsiteX37" fmla="*/ 9244 w 10000"/>
                <a:gd name="connsiteY37" fmla="*/ 3627 h 10000"/>
                <a:gd name="connsiteX38" fmla="*/ 9283 w 10000"/>
                <a:gd name="connsiteY38" fmla="*/ 3745 h 10000"/>
                <a:gd name="connsiteX39" fmla="*/ 9302 w 10000"/>
                <a:gd name="connsiteY39" fmla="*/ 3863 h 10000"/>
                <a:gd name="connsiteX40" fmla="*/ 9961 w 10000"/>
                <a:gd name="connsiteY40" fmla="*/ 4059 h 10000"/>
                <a:gd name="connsiteX41" fmla="*/ 10000 w 10000"/>
                <a:gd name="connsiteY41" fmla="*/ 4392 h 10000"/>
                <a:gd name="connsiteX42" fmla="*/ 9438 w 10000"/>
                <a:gd name="connsiteY42" fmla="*/ 4765 h 10000"/>
                <a:gd name="connsiteX43" fmla="*/ 9457 w 10000"/>
                <a:gd name="connsiteY43" fmla="*/ 5000 h 10000"/>
                <a:gd name="connsiteX44" fmla="*/ 9438 w 10000"/>
                <a:gd name="connsiteY44" fmla="*/ 5235 h 10000"/>
                <a:gd name="connsiteX45" fmla="*/ 10000 w 10000"/>
                <a:gd name="connsiteY45" fmla="*/ 5627 h 10000"/>
                <a:gd name="connsiteX46" fmla="*/ 9981 w 10000"/>
                <a:gd name="connsiteY46" fmla="*/ 5784 h 10000"/>
                <a:gd name="connsiteX47" fmla="*/ 9961 w 10000"/>
                <a:gd name="connsiteY47" fmla="*/ 5941 h 10000"/>
                <a:gd name="connsiteX48" fmla="*/ 9302 w 10000"/>
                <a:gd name="connsiteY48" fmla="*/ 6157 h 10000"/>
                <a:gd name="connsiteX49" fmla="*/ 9244 w 10000"/>
                <a:gd name="connsiteY49" fmla="*/ 6392 h 10000"/>
                <a:gd name="connsiteX50" fmla="*/ 9205 w 10000"/>
                <a:gd name="connsiteY50" fmla="*/ 6490 h 10000"/>
                <a:gd name="connsiteX51" fmla="*/ 9167 w 10000"/>
                <a:gd name="connsiteY51" fmla="*/ 6608 h 10000"/>
                <a:gd name="connsiteX52" fmla="*/ 9574 w 10000"/>
                <a:gd name="connsiteY52" fmla="*/ 7157 h 10000"/>
                <a:gd name="connsiteX53" fmla="*/ 9496 w 10000"/>
                <a:gd name="connsiteY53" fmla="*/ 7294 h 10000"/>
                <a:gd name="connsiteX54" fmla="*/ 9419 w 10000"/>
                <a:gd name="connsiteY54" fmla="*/ 7431 h 10000"/>
                <a:gd name="connsiteX55" fmla="*/ 8740 w 10000"/>
                <a:gd name="connsiteY55" fmla="*/ 7412 h 10000"/>
                <a:gd name="connsiteX56" fmla="*/ 8605 w 10000"/>
                <a:gd name="connsiteY56" fmla="*/ 7627 h 10000"/>
                <a:gd name="connsiteX57" fmla="*/ 8547 w 10000"/>
                <a:gd name="connsiteY57" fmla="*/ 7706 h 10000"/>
                <a:gd name="connsiteX58" fmla="*/ 8469 w 10000"/>
                <a:gd name="connsiteY58" fmla="*/ 7804 h 10000"/>
                <a:gd name="connsiteX59" fmla="*/ 8682 w 10000"/>
                <a:gd name="connsiteY59" fmla="*/ 8451 h 10000"/>
                <a:gd name="connsiteX60" fmla="*/ 8566 w 10000"/>
                <a:gd name="connsiteY60" fmla="*/ 8569 h 10000"/>
                <a:gd name="connsiteX61" fmla="*/ 8450 w 10000"/>
                <a:gd name="connsiteY61" fmla="*/ 8686 h 10000"/>
                <a:gd name="connsiteX62" fmla="*/ 7810 w 10000"/>
                <a:gd name="connsiteY62" fmla="*/ 8471 h 10000"/>
                <a:gd name="connsiteX63" fmla="*/ 7616 w 10000"/>
                <a:gd name="connsiteY63" fmla="*/ 8608 h 10000"/>
                <a:gd name="connsiteX64" fmla="*/ 7442 w 10000"/>
                <a:gd name="connsiteY64" fmla="*/ 8745 h 10000"/>
                <a:gd name="connsiteX65" fmla="*/ 7442 w 10000"/>
                <a:gd name="connsiteY65" fmla="*/ 9412 h 10000"/>
                <a:gd name="connsiteX66" fmla="*/ 7287 w 10000"/>
                <a:gd name="connsiteY66" fmla="*/ 9510 h 10000"/>
                <a:gd name="connsiteX67" fmla="*/ 7151 w 10000"/>
                <a:gd name="connsiteY67" fmla="*/ 9569 h 10000"/>
                <a:gd name="connsiteX68" fmla="*/ 6609 w 10000"/>
                <a:gd name="connsiteY68" fmla="*/ 9157 h 10000"/>
                <a:gd name="connsiteX69" fmla="*/ 6395 w 10000"/>
                <a:gd name="connsiteY69" fmla="*/ 9235 h 10000"/>
                <a:gd name="connsiteX70" fmla="*/ 6279 w 10000"/>
                <a:gd name="connsiteY70" fmla="*/ 9275 h 10000"/>
                <a:gd name="connsiteX71" fmla="*/ 6163 w 10000"/>
                <a:gd name="connsiteY71" fmla="*/ 9314 h 10000"/>
                <a:gd name="connsiteX72" fmla="*/ 5950 w 10000"/>
                <a:gd name="connsiteY72" fmla="*/ 9961 h 10000"/>
                <a:gd name="connsiteX73" fmla="*/ 5640 w 10000"/>
                <a:gd name="connsiteY73" fmla="*/ 10000 h 10000"/>
                <a:gd name="connsiteX74" fmla="*/ 5252 w 10000"/>
                <a:gd name="connsiteY74" fmla="*/ 9451 h 10000"/>
                <a:gd name="connsiteX75" fmla="*/ 5019 w 10000"/>
                <a:gd name="connsiteY75" fmla="*/ 9451 h 10000"/>
                <a:gd name="connsiteX76" fmla="*/ 4767 w 10000"/>
                <a:gd name="connsiteY76" fmla="*/ 9451 h 10000"/>
                <a:gd name="connsiteX77" fmla="*/ 4380 w 10000"/>
                <a:gd name="connsiteY77" fmla="*/ 10000 h 10000"/>
                <a:gd name="connsiteX78" fmla="*/ 4225 w 10000"/>
                <a:gd name="connsiteY78" fmla="*/ 9980 h 10000"/>
                <a:gd name="connsiteX79" fmla="*/ 4070 w 10000"/>
                <a:gd name="connsiteY79" fmla="*/ 9961 h 10000"/>
                <a:gd name="connsiteX80" fmla="*/ 3857 w 10000"/>
                <a:gd name="connsiteY80" fmla="*/ 9314 h 10000"/>
                <a:gd name="connsiteX81" fmla="*/ 3624 w 10000"/>
                <a:gd name="connsiteY81" fmla="*/ 9235 h 10000"/>
                <a:gd name="connsiteX82" fmla="*/ 3508 w 10000"/>
                <a:gd name="connsiteY82" fmla="*/ 9216 h 10000"/>
                <a:gd name="connsiteX83" fmla="*/ 3411 w 10000"/>
                <a:gd name="connsiteY83" fmla="*/ 9157 h 10000"/>
                <a:gd name="connsiteX84" fmla="*/ 2868 w 10000"/>
                <a:gd name="connsiteY84" fmla="*/ 9569 h 10000"/>
                <a:gd name="connsiteX85" fmla="*/ 2733 w 10000"/>
                <a:gd name="connsiteY85" fmla="*/ 9510 h 10000"/>
                <a:gd name="connsiteX86" fmla="*/ 2578 w 10000"/>
                <a:gd name="connsiteY86" fmla="*/ 9412 h 10000"/>
                <a:gd name="connsiteX87" fmla="*/ 2597 w 10000"/>
                <a:gd name="connsiteY87" fmla="*/ 8745 h 10000"/>
                <a:gd name="connsiteX88" fmla="*/ 2403 w 10000"/>
                <a:gd name="connsiteY88" fmla="*/ 8608 h 10000"/>
                <a:gd name="connsiteX89" fmla="*/ 2306 w 10000"/>
                <a:gd name="connsiteY89" fmla="*/ 8529 h 10000"/>
                <a:gd name="connsiteX90" fmla="*/ 2209 w 10000"/>
                <a:gd name="connsiteY90" fmla="*/ 8471 h 10000"/>
                <a:gd name="connsiteX91" fmla="*/ 1570 w 10000"/>
                <a:gd name="connsiteY91" fmla="*/ 8686 h 10000"/>
                <a:gd name="connsiteX92" fmla="*/ 1453 w 10000"/>
                <a:gd name="connsiteY92" fmla="*/ 8569 h 10000"/>
                <a:gd name="connsiteX93" fmla="*/ 1337 w 10000"/>
                <a:gd name="connsiteY93" fmla="*/ 8451 h 10000"/>
                <a:gd name="connsiteX94" fmla="*/ 1550 w 10000"/>
                <a:gd name="connsiteY94" fmla="*/ 7804 h 10000"/>
                <a:gd name="connsiteX95" fmla="*/ 1415 w 10000"/>
                <a:gd name="connsiteY95" fmla="*/ 7627 h 10000"/>
                <a:gd name="connsiteX96" fmla="*/ 1279 w 10000"/>
                <a:gd name="connsiteY96" fmla="*/ 7412 h 10000"/>
                <a:gd name="connsiteX97" fmla="*/ 601 w 10000"/>
                <a:gd name="connsiteY97" fmla="*/ 7431 h 10000"/>
                <a:gd name="connsiteX98" fmla="*/ 523 w 10000"/>
                <a:gd name="connsiteY98" fmla="*/ 7294 h 10000"/>
                <a:gd name="connsiteX99" fmla="*/ 446 w 10000"/>
                <a:gd name="connsiteY99" fmla="*/ 7157 h 10000"/>
                <a:gd name="connsiteX100" fmla="*/ 853 w 10000"/>
                <a:gd name="connsiteY100" fmla="*/ 6608 h 10000"/>
                <a:gd name="connsiteX101" fmla="*/ 775 w 10000"/>
                <a:gd name="connsiteY101" fmla="*/ 6392 h 10000"/>
                <a:gd name="connsiteX102" fmla="*/ 756 w 10000"/>
                <a:gd name="connsiteY102" fmla="*/ 6275 h 10000"/>
                <a:gd name="connsiteX103" fmla="*/ 717 w 10000"/>
                <a:gd name="connsiteY103" fmla="*/ 6157 h 10000"/>
                <a:gd name="connsiteX104" fmla="*/ 58 w 10000"/>
                <a:gd name="connsiteY104" fmla="*/ 5941 h 10000"/>
                <a:gd name="connsiteX105" fmla="*/ 0 w 10000"/>
                <a:gd name="connsiteY105" fmla="*/ 5627 h 10000"/>
                <a:gd name="connsiteX106" fmla="*/ 581 w 10000"/>
                <a:gd name="connsiteY106" fmla="*/ 5235 h 10000"/>
                <a:gd name="connsiteX107" fmla="*/ 562 w 10000"/>
                <a:gd name="connsiteY107" fmla="*/ 5000 h 10000"/>
                <a:gd name="connsiteX108" fmla="*/ 581 w 10000"/>
                <a:gd name="connsiteY108" fmla="*/ 4765 h 10000"/>
                <a:gd name="connsiteX109" fmla="*/ 0 w 10000"/>
                <a:gd name="connsiteY109" fmla="*/ 4392 h 10000"/>
                <a:gd name="connsiteX110" fmla="*/ 19 w 10000"/>
                <a:gd name="connsiteY110" fmla="*/ 4216 h 10000"/>
                <a:gd name="connsiteX111" fmla="*/ 58 w 10000"/>
                <a:gd name="connsiteY111" fmla="*/ 4059 h 10000"/>
                <a:gd name="connsiteX112" fmla="*/ 717 w 10000"/>
                <a:gd name="connsiteY112" fmla="*/ 3863 h 10000"/>
                <a:gd name="connsiteX113" fmla="*/ 775 w 10000"/>
                <a:gd name="connsiteY113" fmla="*/ 3627 h 10000"/>
                <a:gd name="connsiteX114" fmla="*/ 814 w 10000"/>
                <a:gd name="connsiteY114" fmla="*/ 3510 h 10000"/>
                <a:gd name="connsiteX115" fmla="*/ 853 w 10000"/>
                <a:gd name="connsiteY115" fmla="*/ 3392 h 10000"/>
                <a:gd name="connsiteX116" fmla="*/ 446 w 10000"/>
                <a:gd name="connsiteY116" fmla="*/ 2863 h 10000"/>
                <a:gd name="connsiteX117" fmla="*/ 523 w 10000"/>
                <a:gd name="connsiteY117" fmla="*/ 2706 h 10000"/>
                <a:gd name="connsiteX118" fmla="*/ 601 w 10000"/>
                <a:gd name="connsiteY118" fmla="*/ 2588 h 10000"/>
                <a:gd name="connsiteX119" fmla="*/ 1279 w 10000"/>
                <a:gd name="connsiteY119" fmla="*/ 2588 h 10000"/>
                <a:gd name="connsiteX0" fmla="*/ 2578 w 10000"/>
                <a:gd name="connsiteY0" fmla="*/ 588 h 10000"/>
                <a:gd name="connsiteX1" fmla="*/ 2733 w 10000"/>
                <a:gd name="connsiteY1" fmla="*/ 510 h 10000"/>
                <a:gd name="connsiteX2" fmla="*/ 2868 w 10000"/>
                <a:gd name="connsiteY2" fmla="*/ 451 h 10000"/>
                <a:gd name="connsiteX3" fmla="*/ 3411 w 10000"/>
                <a:gd name="connsiteY3" fmla="*/ 843 h 10000"/>
                <a:gd name="connsiteX4" fmla="*/ 3624 w 10000"/>
                <a:gd name="connsiteY4" fmla="*/ 765 h 10000"/>
                <a:gd name="connsiteX5" fmla="*/ 3740 w 10000"/>
                <a:gd name="connsiteY5" fmla="*/ 725 h 10000"/>
                <a:gd name="connsiteX6" fmla="*/ 3857 w 10000"/>
                <a:gd name="connsiteY6" fmla="*/ 706 h 10000"/>
                <a:gd name="connsiteX7" fmla="*/ 4070 w 10000"/>
                <a:gd name="connsiteY7" fmla="*/ 59 h 10000"/>
                <a:gd name="connsiteX8" fmla="*/ 4380 w 10000"/>
                <a:gd name="connsiteY8" fmla="*/ 0 h 10000"/>
                <a:gd name="connsiteX9" fmla="*/ 4767 w 10000"/>
                <a:gd name="connsiteY9" fmla="*/ 569 h 10000"/>
                <a:gd name="connsiteX10" fmla="*/ 5019 w 10000"/>
                <a:gd name="connsiteY10" fmla="*/ 549 h 10000"/>
                <a:gd name="connsiteX11" fmla="*/ 5252 w 10000"/>
                <a:gd name="connsiteY11" fmla="*/ 569 h 10000"/>
                <a:gd name="connsiteX12" fmla="*/ 5640 w 10000"/>
                <a:gd name="connsiteY12" fmla="*/ 0 h 10000"/>
                <a:gd name="connsiteX13" fmla="*/ 5795 w 10000"/>
                <a:gd name="connsiteY13" fmla="*/ 20 h 10000"/>
                <a:gd name="connsiteX14" fmla="*/ 5950 w 10000"/>
                <a:gd name="connsiteY14" fmla="*/ 59 h 10000"/>
                <a:gd name="connsiteX15" fmla="*/ 6163 w 10000"/>
                <a:gd name="connsiteY15" fmla="*/ 706 h 10000"/>
                <a:gd name="connsiteX16" fmla="*/ 6395 w 10000"/>
                <a:gd name="connsiteY16" fmla="*/ 765 h 10000"/>
                <a:gd name="connsiteX17" fmla="*/ 6492 w 10000"/>
                <a:gd name="connsiteY17" fmla="*/ 804 h 10000"/>
                <a:gd name="connsiteX18" fmla="*/ 6609 w 10000"/>
                <a:gd name="connsiteY18" fmla="*/ 843 h 10000"/>
                <a:gd name="connsiteX19" fmla="*/ 7151 w 10000"/>
                <a:gd name="connsiteY19" fmla="*/ 451 h 10000"/>
                <a:gd name="connsiteX20" fmla="*/ 7287 w 10000"/>
                <a:gd name="connsiteY20" fmla="*/ 510 h 10000"/>
                <a:gd name="connsiteX21" fmla="*/ 7442 w 10000"/>
                <a:gd name="connsiteY21" fmla="*/ 588 h 10000"/>
                <a:gd name="connsiteX22" fmla="*/ 7442 w 10000"/>
                <a:gd name="connsiteY22" fmla="*/ 1275 h 10000"/>
                <a:gd name="connsiteX23" fmla="*/ 7616 w 10000"/>
                <a:gd name="connsiteY23" fmla="*/ 1412 h 10000"/>
                <a:gd name="connsiteX24" fmla="*/ 7713 w 10000"/>
                <a:gd name="connsiteY24" fmla="*/ 1471 h 10000"/>
                <a:gd name="connsiteX25" fmla="*/ 7810 w 10000"/>
                <a:gd name="connsiteY25" fmla="*/ 1549 h 10000"/>
                <a:gd name="connsiteX26" fmla="*/ 8450 w 10000"/>
                <a:gd name="connsiteY26" fmla="*/ 1333 h 10000"/>
                <a:gd name="connsiteX27" fmla="*/ 8566 w 10000"/>
                <a:gd name="connsiteY27" fmla="*/ 1451 h 10000"/>
                <a:gd name="connsiteX28" fmla="*/ 8682 w 10000"/>
                <a:gd name="connsiteY28" fmla="*/ 1569 h 10000"/>
                <a:gd name="connsiteX29" fmla="*/ 8469 w 10000"/>
                <a:gd name="connsiteY29" fmla="*/ 2216 h 10000"/>
                <a:gd name="connsiteX30" fmla="*/ 8605 w 10000"/>
                <a:gd name="connsiteY30" fmla="*/ 2392 h 10000"/>
                <a:gd name="connsiteX31" fmla="*/ 8740 w 10000"/>
                <a:gd name="connsiteY31" fmla="*/ 2588 h 10000"/>
                <a:gd name="connsiteX32" fmla="*/ 9419 w 10000"/>
                <a:gd name="connsiteY32" fmla="*/ 2588 h 10000"/>
                <a:gd name="connsiteX33" fmla="*/ 9496 w 10000"/>
                <a:gd name="connsiteY33" fmla="*/ 2706 h 10000"/>
                <a:gd name="connsiteX34" fmla="*/ 9574 w 10000"/>
                <a:gd name="connsiteY34" fmla="*/ 2863 h 10000"/>
                <a:gd name="connsiteX35" fmla="*/ 9167 w 10000"/>
                <a:gd name="connsiteY35" fmla="*/ 3392 h 10000"/>
                <a:gd name="connsiteX36" fmla="*/ 9244 w 10000"/>
                <a:gd name="connsiteY36" fmla="*/ 3627 h 10000"/>
                <a:gd name="connsiteX37" fmla="*/ 9283 w 10000"/>
                <a:gd name="connsiteY37" fmla="*/ 3745 h 10000"/>
                <a:gd name="connsiteX38" fmla="*/ 9302 w 10000"/>
                <a:gd name="connsiteY38" fmla="*/ 3863 h 10000"/>
                <a:gd name="connsiteX39" fmla="*/ 9961 w 10000"/>
                <a:gd name="connsiteY39" fmla="*/ 4059 h 10000"/>
                <a:gd name="connsiteX40" fmla="*/ 10000 w 10000"/>
                <a:gd name="connsiteY40" fmla="*/ 4392 h 10000"/>
                <a:gd name="connsiteX41" fmla="*/ 9438 w 10000"/>
                <a:gd name="connsiteY41" fmla="*/ 4765 h 10000"/>
                <a:gd name="connsiteX42" fmla="*/ 9457 w 10000"/>
                <a:gd name="connsiteY42" fmla="*/ 5000 h 10000"/>
                <a:gd name="connsiteX43" fmla="*/ 9438 w 10000"/>
                <a:gd name="connsiteY43" fmla="*/ 5235 h 10000"/>
                <a:gd name="connsiteX44" fmla="*/ 10000 w 10000"/>
                <a:gd name="connsiteY44" fmla="*/ 5627 h 10000"/>
                <a:gd name="connsiteX45" fmla="*/ 9981 w 10000"/>
                <a:gd name="connsiteY45" fmla="*/ 5784 h 10000"/>
                <a:gd name="connsiteX46" fmla="*/ 9961 w 10000"/>
                <a:gd name="connsiteY46" fmla="*/ 5941 h 10000"/>
                <a:gd name="connsiteX47" fmla="*/ 9302 w 10000"/>
                <a:gd name="connsiteY47" fmla="*/ 6157 h 10000"/>
                <a:gd name="connsiteX48" fmla="*/ 9244 w 10000"/>
                <a:gd name="connsiteY48" fmla="*/ 6392 h 10000"/>
                <a:gd name="connsiteX49" fmla="*/ 9205 w 10000"/>
                <a:gd name="connsiteY49" fmla="*/ 6490 h 10000"/>
                <a:gd name="connsiteX50" fmla="*/ 9167 w 10000"/>
                <a:gd name="connsiteY50" fmla="*/ 6608 h 10000"/>
                <a:gd name="connsiteX51" fmla="*/ 9574 w 10000"/>
                <a:gd name="connsiteY51" fmla="*/ 7157 h 10000"/>
                <a:gd name="connsiteX52" fmla="*/ 9496 w 10000"/>
                <a:gd name="connsiteY52" fmla="*/ 7294 h 10000"/>
                <a:gd name="connsiteX53" fmla="*/ 9419 w 10000"/>
                <a:gd name="connsiteY53" fmla="*/ 7431 h 10000"/>
                <a:gd name="connsiteX54" fmla="*/ 8740 w 10000"/>
                <a:gd name="connsiteY54" fmla="*/ 7412 h 10000"/>
                <a:gd name="connsiteX55" fmla="*/ 8605 w 10000"/>
                <a:gd name="connsiteY55" fmla="*/ 7627 h 10000"/>
                <a:gd name="connsiteX56" fmla="*/ 8547 w 10000"/>
                <a:gd name="connsiteY56" fmla="*/ 7706 h 10000"/>
                <a:gd name="connsiteX57" fmla="*/ 8469 w 10000"/>
                <a:gd name="connsiteY57" fmla="*/ 7804 h 10000"/>
                <a:gd name="connsiteX58" fmla="*/ 8682 w 10000"/>
                <a:gd name="connsiteY58" fmla="*/ 8451 h 10000"/>
                <a:gd name="connsiteX59" fmla="*/ 8566 w 10000"/>
                <a:gd name="connsiteY59" fmla="*/ 8569 h 10000"/>
                <a:gd name="connsiteX60" fmla="*/ 8450 w 10000"/>
                <a:gd name="connsiteY60" fmla="*/ 8686 h 10000"/>
                <a:gd name="connsiteX61" fmla="*/ 7810 w 10000"/>
                <a:gd name="connsiteY61" fmla="*/ 8471 h 10000"/>
                <a:gd name="connsiteX62" fmla="*/ 7616 w 10000"/>
                <a:gd name="connsiteY62" fmla="*/ 8608 h 10000"/>
                <a:gd name="connsiteX63" fmla="*/ 7442 w 10000"/>
                <a:gd name="connsiteY63" fmla="*/ 8745 h 10000"/>
                <a:gd name="connsiteX64" fmla="*/ 7442 w 10000"/>
                <a:gd name="connsiteY64" fmla="*/ 9412 h 10000"/>
                <a:gd name="connsiteX65" fmla="*/ 7287 w 10000"/>
                <a:gd name="connsiteY65" fmla="*/ 9510 h 10000"/>
                <a:gd name="connsiteX66" fmla="*/ 7151 w 10000"/>
                <a:gd name="connsiteY66" fmla="*/ 9569 h 10000"/>
                <a:gd name="connsiteX67" fmla="*/ 6609 w 10000"/>
                <a:gd name="connsiteY67" fmla="*/ 9157 h 10000"/>
                <a:gd name="connsiteX68" fmla="*/ 6395 w 10000"/>
                <a:gd name="connsiteY68" fmla="*/ 9235 h 10000"/>
                <a:gd name="connsiteX69" fmla="*/ 6279 w 10000"/>
                <a:gd name="connsiteY69" fmla="*/ 9275 h 10000"/>
                <a:gd name="connsiteX70" fmla="*/ 6163 w 10000"/>
                <a:gd name="connsiteY70" fmla="*/ 9314 h 10000"/>
                <a:gd name="connsiteX71" fmla="*/ 5950 w 10000"/>
                <a:gd name="connsiteY71" fmla="*/ 9961 h 10000"/>
                <a:gd name="connsiteX72" fmla="*/ 5640 w 10000"/>
                <a:gd name="connsiteY72" fmla="*/ 10000 h 10000"/>
                <a:gd name="connsiteX73" fmla="*/ 5252 w 10000"/>
                <a:gd name="connsiteY73" fmla="*/ 9451 h 10000"/>
                <a:gd name="connsiteX74" fmla="*/ 5019 w 10000"/>
                <a:gd name="connsiteY74" fmla="*/ 9451 h 10000"/>
                <a:gd name="connsiteX75" fmla="*/ 4767 w 10000"/>
                <a:gd name="connsiteY75" fmla="*/ 9451 h 10000"/>
                <a:gd name="connsiteX76" fmla="*/ 4380 w 10000"/>
                <a:gd name="connsiteY76" fmla="*/ 10000 h 10000"/>
                <a:gd name="connsiteX77" fmla="*/ 4225 w 10000"/>
                <a:gd name="connsiteY77" fmla="*/ 9980 h 10000"/>
                <a:gd name="connsiteX78" fmla="*/ 4070 w 10000"/>
                <a:gd name="connsiteY78" fmla="*/ 9961 h 10000"/>
                <a:gd name="connsiteX79" fmla="*/ 3857 w 10000"/>
                <a:gd name="connsiteY79" fmla="*/ 9314 h 10000"/>
                <a:gd name="connsiteX80" fmla="*/ 3624 w 10000"/>
                <a:gd name="connsiteY80" fmla="*/ 9235 h 10000"/>
                <a:gd name="connsiteX81" fmla="*/ 3508 w 10000"/>
                <a:gd name="connsiteY81" fmla="*/ 9216 h 10000"/>
                <a:gd name="connsiteX82" fmla="*/ 3411 w 10000"/>
                <a:gd name="connsiteY82" fmla="*/ 9157 h 10000"/>
                <a:gd name="connsiteX83" fmla="*/ 2868 w 10000"/>
                <a:gd name="connsiteY83" fmla="*/ 9569 h 10000"/>
                <a:gd name="connsiteX84" fmla="*/ 2733 w 10000"/>
                <a:gd name="connsiteY84" fmla="*/ 9510 h 10000"/>
                <a:gd name="connsiteX85" fmla="*/ 2578 w 10000"/>
                <a:gd name="connsiteY85" fmla="*/ 9412 h 10000"/>
                <a:gd name="connsiteX86" fmla="*/ 2597 w 10000"/>
                <a:gd name="connsiteY86" fmla="*/ 8745 h 10000"/>
                <a:gd name="connsiteX87" fmla="*/ 2403 w 10000"/>
                <a:gd name="connsiteY87" fmla="*/ 8608 h 10000"/>
                <a:gd name="connsiteX88" fmla="*/ 2306 w 10000"/>
                <a:gd name="connsiteY88" fmla="*/ 8529 h 10000"/>
                <a:gd name="connsiteX89" fmla="*/ 2209 w 10000"/>
                <a:gd name="connsiteY89" fmla="*/ 8471 h 10000"/>
                <a:gd name="connsiteX90" fmla="*/ 1570 w 10000"/>
                <a:gd name="connsiteY90" fmla="*/ 8686 h 10000"/>
                <a:gd name="connsiteX91" fmla="*/ 1453 w 10000"/>
                <a:gd name="connsiteY91" fmla="*/ 8569 h 10000"/>
                <a:gd name="connsiteX92" fmla="*/ 1337 w 10000"/>
                <a:gd name="connsiteY92" fmla="*/ 8451 h 10000"/>
                <a:gd name="connsiteX93" fmla="*/ 1550 w 10000"/>
                <a:gd name="connsiteY93" fmla="*/ 7804 h 10000"/>
                <a:gd name="connsiteX94" fmla="*/ 1415 w 10000"/>
                <a:gd name="connsiteY94" fmla="*/ 7627 h 10000"/>
                <a:gd name="connsiteX95" fmla="*/ 1279 w 10000"/>
                <a:gd name="connsiteY95" fmla="*/ 7412 h 10000"/>
                <a:gd name="connsiteX96" fmla="*/ 601 w 10000"/>
                <a:gd name="connsiteY96" fmla="*/ 7431 h 10000"/>
                <a:gd name="connsiteX97" fmla="*/ 523 w 10000"/>
                <a:gd name="connsiteY97" fmla="*/ 7294 h 10000"/>
                <a:gd name="connsiteX98" fmla="*/ 446 w 10000"/>
                <a:gd name="connsiteY98" fmla="*/ 7157 h 10000"/>
                <a:gd name="connsiteX99" fmla="*/ 853 w 10000"/>
                <a:gd name="connsiteY99" fmla="*/ 6608 h 10000"/>
                <a:gd name="connsiteX100" fmla="*/ 775 w 10000"/>
                <a:gd name="connsiteY100" fmla="*/ 6392 h 10000"/>
                <a:gd name="connsiteX101" fmla="*/ 756 w 10000"/>
                <a:gd name="connsiteY101" fmla="*/ 6275 h 10000"/>
                <a:gd name="connsiteX102" fmla="*/ 717 w 10000"/>
                <a:gd name="connsiteY102" fmla="*/ 6157 h 10000"/>
                <a:gd name="connsiteX103" fmla="*/ 58 w 10000"/>
                <a:gd name="connsiteY103" fmla="*/ 5941 h 10000"/>
                <a:gd name="connsiteX104" fmla="*/ 0 w 10000"/>
                <a:gd name="connsiteY104" fmla="*/ 5627 h 10000"/>
                <a:gd name="connsiteX105" fmla="*/ 581 w 10000"/>
                <a:gd name="connsiteY105" fmla="*/ 5235 h 10000"/>
                <a:gd name="connsiteX106" fmla="*/ 562 w 10000"/>
                <a:gd name="connsiteY106" fmla="*/ 5000 h 10000"/>
                <a:gd name="connsiteX107" fmla="*/ 581 w 10000"/>
                <a:gd name="connsiteY107" fmla="*/ 4765 h 10000"/>
                <a:gd name="connsiteX108" fmla="*/ 0 w 10000"/>
                <a:gd name="connsiteY108" fmla="*/ 4392 h 10000"/>
                <a:gd name="connsiteX109" fmla="*/ 19 w 10000"/>
                <a:gd name="connsiteY109" fmla="*/ 4216 h 10000"/>
                <a:gd name="connsiteX110" fmla="*/ 58 w 10000"/>
                <a:gd name="connsiteY110" fmla="*/ 4059 h 10000"/>
                <a:gd name="connsiteX111" fmla="*/ 717 w 10000"/>
                <a:gd name="connsiteY111" fmla="*/ 3863 h 10000"/>
                <a:gd name="connsiteX112" fmla="*/ 775 w 10000"/>
                <a:gd name="connsiteY112" fmla="*/ 3627 h 10000"/>
                <a:gd name="connsiteX113" fmla="*/ 814 w 10000"/>
                <a:gd name="connsiteY113" fmla="*/ 3510 h 10000"/>
                <a:gd name="connsiteX114" fmla="*/ 853 w 10000"/>
                <a:gd name="connsiteY114" fmla="*/ 3392 h 10000"/>
                <a:gd name="connsiteX115" fmla="*/ 446 w 10000"/>
                <a:gd name="connsiteY115" fmla="*/ 2863 h 10000"/>
                <a:gd name="connsiteX116" fmla="*/ 523 w 10000"/>
                <a:gd name="connsiteY116" fmla="*/ 2706 h 10000"/>
                <a:gd name="connsiteX117" fmla="*/ 601 w 10000"/>
                <a:gd name="connsiteY117" fmla="*/ 2588 h 10000"/>
                <a:gd name="connsiteX118" fmla="*/ 1279 w 10000"/>
                <a:gd name="connsiteY118" fmla="*/ 2588 h 10000"/>
                <a:gd name="connsiteX0" fmla="*/ 2578 w 10000"/>
                <a:gd name="connsiteY0" fmla="*/ 588 h 10000"/>
                <a:gd name="connsiteX1" fmla="*/ 2868 w 10000"/>
                <a:gd name="connsiteY1" fmla="*/ 451 h 10000"/>
                <a:gd name="connsiteX2" fmla="*/ 3411 w 10000"/>
                <a:gd name="connsiteY2" fmla="*/ 843 h 10000"/>
                <a:gd name="connsiteX3" fmla="*/ 3624 w 10000"/>
                <a:gd name="connsiteY3" fmla="*/ 765 h 10000"/>
                <a:gd name="connsiteX4" fmla="*/ 3740 w 10000"/>
                <a:gd name="connsiteY4" fmla="*/ 725 h 10000"/>
                <a:gd name="connsiteX5" fmla="*/ 3857 w 10000"/>
                <a:gd name="connsiteY5" fmla="*/ 706 h 10000"/>
                <a:gd name="connsiteX6" fmla="*/ 4070 w 10000"/>
                <a:gd name="connsiteY6" fmla="*/ 59 h 10000"/>
                <a:gd name="connsiteX7" fmla="*/ 4380 w 10000"/>
                <a:gd name="connsiteY7" fmla="*/ 0 h 10000"/>
                <a:gd name="connsiteX8" fmla="*/ 4767 w 10000"/>
                <a:gd name="connsiteY8" fmla="*/ 569 h 10000"/>
                <a:gd name="connsiteX9" fmla="*/ 5019 w 10000"/>
                <a:gd name="connsiteY9" fmla="*/ 549 h 10000"/>
                <a:gd name="connsiteX10" fmla="*/ 5252 w 10000"/>
                <a:gd name="connsiteY10" fmla="*/ 569 h 10000"/>
                <a:gd name="connsiteX11" fmla="*/ 5640 w 10000"/>
                <a:gd name="connsiteY11" fmla="*/ 0 h 10000"/>
                <a:gd name="connsiteX12" fmla="*/ 5795 w 10000"/>
                <a:gd name="connsiteY12" fmla="*/ 20 h 10000"/>
                <a:gd name="connsiteX13" fmla="*/ 5950 w 10000"/>
                <a:gd name="connsiteY13" fmla="*/ 59 h 10000"/>
                <a:gd name="connsiteX14" fmla="*/ 6163 w 10000"/>
                <a:gd name="connsiteY14" fmla="*/ 706 h 10000"/>
                <a:gd name="connsiteX15" fmla="*/ 6395 w 10000"/>
                <a:gd name="connsiteY15" fmla="*/ 765 h 10000"/>
                <a:gd name="connsiteX16" fmla="*/ 6492 w 10000"/>
                <a:gd name="connsiteY16" fmla="*/ 804 h 10000"/>
                <a:gd name="connsiteX17" fmla="*/ 6609 w 10000"/>
                <a:gd name="connsiteY17" fmla="*/ 843 h 10000"/>
                <a:gd name="connsiteX18" fmla="*/ 7151 w 10000"/>
                <a:gd name="connsiteY18" fmla="*/ 451 h 10000"/>
                <a:gd name="connsiteX19" fmla="*/ 7287 w 10000"/>
                <a:gd name="connsiteY19" fmla="*/ 510 h 10000"/>
                <a:gd name="connsiteX20" fmla="*/ 7442 w 10000"/>
                <a:gd name="connsiteY20" fmla="*/ 588 h 10000"/>
                <a:gd name="connsiteX21" fmla="*/ 7442 w 10000"/>
                <a:gd name="connsiteY21" fmla="*/ 1275 h 10000"/>
                <a:gd name="connsiteX22" fmla="*/ 7616 w 10000"/>
                <a:gd name="connsiteY22" fmla="*/ 1412 h 10000"/>
                <a:gd name="connsiteX23" fmla="*/ 7713 w 10000"/>
                <a:gd name="connsiteY23" fmla="*/ 1471 h 10000"/>
                <a:gd name="connsiteX24" fmla="*/ 7810 w 10000"/>
                <a:gd name="connsiteY24" fmla="*/ 1549 h 10000"/>
                <a:gd name="connsiteX25" fmla="*/ 8450 w 10000"/>
                <a:gd name="connsiteY25" fmla="*/ 1333 h 10000"/>
                <a:gd name="connsiteX26" fmla="*/ 8566 w 10000"/>
                <a:gd name="connsiteY26" fmla="*/ 1451 h 10000"/>
                <a:gd name="connsiteX27" fmla="*/ 8682 w 10000"/>
                <a:gd name="connsiteY27" fmla="*/ 1569 h 10000"/>
                <a:gd name="connsiteX28" fmla="*/ 8469 w 10000"/>
                <a:gd name="connsiteY28" fmla="*/ 2216 h 10000"/>
                <a:gd name="connsiteX29" fmla="*/ 8605 w 10000"/>
                <a:gd name="connsiteY29" fmla="*/ 2392 h 10000"/>
                <a:gd name="connsiteX30" fmla="*/ 8740 w 10000"/>
                <a:gd name="connsiteY30" fmla="*/ 2588 h 10000"/>
                <a:gd name="connsiteX31" fmla="*/ 9419 w 10000"/>
                <a:gd name="connsiteY31" fmla="*/ 2588 h 10000"/>
                <a:gd name="connsiteX32" fmla="*/ 9496 w 10000"/>
                <a:gd name="connsiteY32" fmla="*/ 2706 h 10000"/>
                <a:gd name="connsiteX33" fmla="*/ 9574 w 10000"/>
                <a:gd name="connsiteY33" fmla="*/ 2863 h 10000"/>
                <a:gd name="connsiteX34" fmla="*/ 9167 w 10000"/>
                <a:gd name="connsiteY34" fmla="*/ 3392 h 10000"/>
                <a:gd name="connsiteX35" fmla="*/ 9244 w 10000"/>
                <a:gd name="connsiteY35" fmla="*/ 3627 h 10000"/>
                <a:gd name="connsiteX36" fmla="*/ 9283 w 10000"/>
                <a:gd name="connsiteY36" fmla="*/ 3745 h 10000"/>
                <a:gd name="connsiteX37" fmla="*/ 9302 w 10000"/>
                <a:gd name="connsiteY37" fmla="*/ 3863 h 10000"/>
                <a:gd name="connsiteX38" fmla="*/ 9961 w 10000"/>
                <a:gd name="connsiteY38" fmla="*/ 4059 h 10000"/>
                <a:gd name="connsiteX39" fmla="*/ 10000 w 10000"/>
                <a:gd name="connsiteY39" fmla="*/ 4392 h 10000"/>
                <a:gd name="connsiteX40" fmla="*/ 9438 w 10000"/>
                <a:gd name="connsiteY40" fmla="*/ 4765 h 10000"/>
                <a:gd name="connsiteX41" fmla="*/ 9457 w 10000"/>
                <a:gd name="connsiteY41" fmla="*/ 5000 h 10000"/>
                <a:gd name="connsiteX42" fmla="*/ 9438 w 10000"/>
                <a:gd name="connsiteY42" fmla="*/ 5235 h 10000"/>
                <a:gd name="connsiteX43" fmla="*/ 10000 w 10000"/>
                <a:gd name="connsiteY43" fmla="*/ 5627 h 10000"/>
                <a:gd name="connsiteX44" fmla="*/ 9981 w 10000"/>
                <a:gd name="connsiteY44" fmla="*/ 5784 h 10000"/>
                <a:gd name="connsiteX45" fmla="*/ 9961 w 10000"/>
                <a:gd name="connsiteY45" fmla="*/ 5941 h 10000"/>
                <a:gd name="connsiteX46" fmla="*/ 9302 w 10000"/>
                <a:gd name="connsiteY46" fmla="*/ 6157 h 10000"/>
                <a:gd name="connsiteX47" fmla="*/ 9244 w 10000"/>
                <a:gd name="connsiteY47" fmla="*/ 6392 h 10000"/>
                <a:gd name="connsiteX48" fmla="*/ 9205 w 10000"/>
                <a:gd name="connsiteY48" fmla="*/ 6490 h 10000"/>
                <a:gd name="connsiteX49" fmla="*/ 9167 w 10000"/>
                <a:gd name="connsiteY49" fmla="*/ 6608 h 10000"/>
                <a:gd name="connsiteX50" fmla="*/ 9574 w 10000"/>
                <a:gd name="connsiteY50" fmla="*/ 7157 h 10000"/>
                <a:gd name="connsiteX51" fmla="*/ 9496 w 10000"/>
                <a:gd name="connsiteY51" fmla="*/ 7294 h 10000"/>
                <a:gd name="connsiteX52" fmla="*/ 9419 w 10000"/>
                <a:gd name="connsiteY52" fmla="*/ 7431 h 10000"/>
                <a:gd name="connsiteX53" fmla="*/ 8740 w 10000"/>
                <a:gd name="connsiteY53" fmla="*/ 7412 h 10000"/>
                <a:gd name="connsiteX54" fmla="*/ 8605 w 10000"/>
                <a:gd name="connsiteY54" fmla="*/ 7627 h 10000"/>
                <a:gd name="connsiteX55" fmla="*/ 8547 w 10000"/>
                <a:gd name="connsiteY55" fmla="*/ 7706 h 10000"/>
                <a:gd name="connsiteX56" fmla="*/ 8469 w 10000"/>
                <a:gd name="connsiteY56" fmla="*/ 7804 h 10000"/>
                <a:gd name="connsiteX57" fmla="*/ 8682 w 10000"/>
                <a:gd name="connsiteY57" fmla="*/ 8451 h 10000"/>
                <a:gd name="connsiteX58" fmla="*/ 8566 w 10000"/>
                <a:gd name="connsiteY58" fmla="*/ 8569 h 10000"/>
                <a:gd name="connsiteX59" fmla="*/ 8450 w 10000"/>
                <a:gd name="connsiteY59" fmla="*/ 8686 h 10000"/>
                <a:gd name="connsiteX60" fmla="*/ 7810 w 10000"/>
                <a:gd name="connsiteY60" fmla="*/ 8471 h 10000"/>
                <a:gd name="connsiteX61" fmla="*/ 7616 w 10000"/>
                <a:gd name="connsiteY61" fmla="*/ 8608 h 10000"/>
                <a:gd name="connsiteX62" fmla="*/ 7442 w 10000"/>
                <a:gd name="connsiteY62" fmla="*/ 8745 h 10000"/>
                <a:gd name="connsiteX63" fmla="*/ 7442 w 10000"/>
                <a:gd name="connsiteY63" fmla="*/ 9412 h 10000"/>
                <a:gd name="connsiteX64" fmla="*/ 7287 w 10000"/>
                <a:gd name="connsiteY64" fmla="*/ 9510 h 10000"/>
                <a:gd name="connsiteX65" fmla="*/ 7151 w 10000"/>
                <a:gd name="connsiteY65" fmla="*/ 9569 h 10000"/>
                <a:gd name="connsiteX66" fmla="*/ 6609 w 10000"/>
                <a:gd name="connsiteY66" fmla="*/ 9157 h 10000"/>
                <a:gd name="connsiteX67" fmla="*/ 6395 w 10000"/>
                <a:gd name="connsiteY67" fmla="*/ 9235 h 10000"/>
                <a:gd name="connsiteX68" fmla="*/ 6279 w 10000"/>
                <a:gd name="connsiteY68" fmla="*/ 9275 h 10000"/>
                <a:gd name="connsiteX69" fmla="*/ 6163 w 10000"/>
                <a:gd name="connsiteY69" fmla="*/ 9314 h 10000"/>
                <a:gd name="connsiteX70" fmla="*/ 5950 w 10000"/>
                <a:gd name="connsiteY70" fmla="*/ 9961 h 10000"/>
                <a:gd name="connsiteX71" fmla="*/ 5640 w 10000"/>
                <a:gd name="connsiteY71" fmla="*/ 10000 h 10000"/>
                <a:gd name="connsiteX72" fmla="*/ 5252 w 10000"/>
                <a:gd name="connsiteY72" fmla="*/ 9451 h 10000"/>
                <a:gd name="connsiteX73" fmla="*/ 5019 w 10000"/>
                <a:gd name="connsiteY73" fmla="*/ 9451 h 10000"/>
                <a:gd name="connsiteX74" fmla="*/ 4767 w 10000"/>
                <a:gd name="connsiteY74" fmla="*/ 9451 h 10000"/>
                <a:gd name="connsiteX75" fmla="*/ 4380 w 10000"/>
                <a:gd name="connsiteY75" fmla="*/ 10000 h 10000"/>
                <a:gd name="connsiteX76" fmla="*/ 4225 w 10000"/>
                <a:gd name="connsiteY76" fmla="*/ 9980 h 10000"/>
                <a:gd name="connsiteX77" fmla="*/ 4070 w 10000"/>
                <a:gd name="connsiteY77" fmla="*/ 9961 h 10000"/>
                <a:gd name="connsiteX78" fmla="*/ 3857 w 10000"/>
                <a:gd name="connsiteY78" fmla="*/ 9314 h 10000"/>
                <a:gd name="connsiteX79" fmla="*/ 3624 w 10000"/>
                <a:gd name="connsiteY79" fmla="*/ 9235 h 10000"/>
                <a:gd name="connsiteX80" fmla="*/ 3508 w 10000"/>
                <a:gd name="connsiteY80" fmla="*/ 9216 h 10000"/>
                <a:gd name="connsiteX81" fmla="*/ 3411 w 10000"/>
                <a:gd name="connsiteY81" fmla="*/ 9157 h 10000"/>
                <a:gd name="connsiteX82" fmla="*/ 2868 w 10000"/>
                <a:gd name="connsiteY82" fmla="*/ 9569 h 10000"/>
                <a:gd name="connsiteX83" fmla="*/ 2733 w 10000"/>
                <a:gd name="connsiteY83" fmla="*/ 9510 h 10000"/>
                <a:gd name="connsiteX84" fmla="*/ 2578 w 10000"/>
                <a:gd name="connsiteY84" fmla="*/ 9412 h 10000"/>
                <a:gd name="connsiteX85" fmla="*/ 2597 w 10000"/>
                <a:gd name="connsiteY85" fmla="*/ 8745 h 10000"/>
                <a:gd name="connsiteX86" fmla="*/ 2403 w 10000"/>
                <a:gd name="connsiteY86" fmla="*/ 8608 h 10000"/>
                <a:gd name="connsiteX87" fmla="*/ 2306 w 10000"/>
                <a:gd name="connsiteY87" fmla="*/ 8529 h 10000"/>
                <a:gd name="connsiteX88" fmla="*/ 2209 w 10000"/>
                <a:gd name="connsiteY88" fmla="*/ 8471 h 10000"/>
                <a:gd name="connsiteX89" fmla="*/ 1570 w 10000"/>
                <a:gd name="connsiteY89" fmla="*/ 8686 h 10000"/>
                <a:gd name="connsiteX90" fmla="*/ 1453 w 10000"/>
                <a:gd name="connsiteY90" fmla="*/ 8569 h 10000"/>
                <a:gd name="connsiteX91" fmla="*/ 1337 w 10000"/>
                <a:gd name="connsiteY91" fmla="*/ 8451 h 10000"/>
                <a:gd name="connsiteX92" fmla="*/ 1550 w 10000"/>
                <a:gd name="connsiteY92" fmla="*/ 7804 h 10000"/>
                <a:gd name="connsiteX93" fmla="*/ 1415 w 10000"/>
                <a:gd name="connsiteY93" fmla="*/ 7627 h 10000"/>
                <a:gd name="connsiteX94" fmla="*/ 1279 w 10000"/>
                <a:gd name="connsiteY94" fmla="*/ 7412 h 10000"/>
                <a:gd name="connsiteX95" fmla="*/ 601 w 10000"/>
                <a:gd name="connsiteY95" fmla="*/ 7431 h 10000"/>
                <a:gd name="connsiteX96" fmla="*/ 523 w 10000"/>
                <a:gd name="connsiteY96" fmla="*/ 7294 h 10000"/>
                <a:gd name="connsiteX97" fmla="*/ 446 w 10000"/>
                <a:gd name="connsiteY97" fmla="*/ 7157 h 10000"/>
                <a:gd name="connsiteX98" fmla="*/ 853 w 10000"/>
                <a:gd name="connsiteY98" fmla="*/ 6608 h 10000"/>
                <a:gd name="connsiteX99" fmla="*/ 775 w 10000"/>
                <a:gd name="connsiteY99" fmla="*/ 6392 h 10000"/>
                <a:gd name="connsiteX100" fmla="*/ 756 w 10000"/>
                <a:gd name="connsiteY100" fmla="*/ 6275 h 10000"/>
                <a:gd name="connsiteX101" fmla="*/ 717 w 10000"/>
                <a:gd name="connsiteY101" fmla="*/ 6157 h 10000"/>
                <a:gd name="connsiteX102" fmla="*/ 58 w 10000"/>
                <a:gd name="connsiteY102" fmla="*/ 5941 h 10000"/>
                <a:gd name="connsiteX103" fmla="*/ 0 w 10000"/>
                <a:gd name="connsiteY103" fmla="*/ 5627 h 10000"/>
                <a:gd name="connsiteX104" fmla="*/ 581 w 10000"/>
                <a:gd name="connsiteY104" fmla="*/ 5235 h 10000"/>
                <a:gd name="connsiteX105" fmla="*/ 562 w 10000"/>
                <a:gd name="connsiteY105" fmla="*/ 5000 h 10000"/>
                <a:gd name="connsiteX106" fmla="*/ 581 w 10000"/>
                <a:gd name="connsiteY106" fmla="*/ 4765 h 10000"/>
                <a:gd name="connsiteX107" fmla="*/ 0 w 10000"/>
                <a:gd name="connsiteY107" fmla="*/ 4392 h 10000"/>
                <a:gd name="connsiteX108" fmla="*/ 19 w 10000"/>
                <a:gd name="connsiteY108" fmla="*/ 4216 h 10000"/>
                <a:gd name="connsiteX109" fmla="*/ 58 w 10000"/>
                <a:gd name="connsiteY109" fmla="*/ 4059 h 10000"/>
                <a:gd name="connsiteX110" fmla="*/ 717 w 10000"/>
                <a:gd name="connsiteY110" fmla="*/ 3863 h 10000"/>
                <a:gd name="connsiteX111" fmla="*/ 775 w 10000"/>
                <a:gd name="connsiteY111" fmla="*/ 3627 h 10000"/>
                <a:gd name="connsiteX112" fmla="*/ 814 w 10000"/>
                <a:gd name="connsiteY112" fmla="*/ 3510 h 10000"/>
                <a:gd name="connsiteX113" fmla="*/ 853 w 10000"/>
                <a:gd name="connsiteY113" fmla="*/ 3392 h 10000"/>
                <a:gd name="connsiteX114" fmla="*/ 446 w 10000"/>
                <a:gd name="connsiteY114" fmla="*/ 2863 h 10000"/>
                <a:gd name="connsiteX115" fmla="*/ 523 w 10000"/>
                <a:gd name="connsiteY115" fmla="*/ 2706 h 10000"/>
                <a:gd name="connsiteX116" fmla="*/ 601 w 10000"/>
                <a:gd name="connsiteY116" fmla="*/ 2588 h 10000"/>
                <a:gd name="connsiteX117" fmla="*/ 1279 w 10000"/>
                <a:gd name="connsiteY117" fmla="*/ 2588 h 10000"/>
                <a:gd name="connsiteX0" fmla="*/ 2578 w 10000"/>
                <a:gd name="connsiteY0" fmla="*/ 588 h 10000"/>
                <a:gd name="connsiteX1" fmla="*/ 3411 w 10000"/>
                <a:gd name="connsiteY1" fmla="*/ 843 h 10000"/>
                <a:gd name="connsiteX2" fmla="*/ 3624 w 10000"/>
                <a:gd name="connsiteY2" fmla="*/ 765 h 10000"/>
                <a:gd name="connsiteX3" fmla="*/ 3740 w 10000"/>
                <a:gd name="connsiteY3" fmla="*/ 725 h 10000"/>
                <a:gd name="connsiteX4" fmla="*/ 3857 w 10000"/>
                <a:gd name="connsiteY4" fmla="*/ 706 h 10000"/>
                <a:gd name="connsiteX5" fmla="*/ 4070 w 10000"/>
                <a:gd name="connsiteY5" fmla="*/ 59 h 10000"/>
                <a:gd name="connsiteX6" fmla="*/ 4380 w 10000"/>
                <a:gd name="connsiteY6" fmla="*/ 0 h 10000"/>
                <a:gd name="connsiteX7" fmla="*/ 4767 w 10000"/>
                <a:gd name="connsiteY7" fmla="*/ 569 h 10000"/>
                <a:gd name="connsiteX8" fmla="*/ 5019 w 10000"/>
                <a:gd name="connsiteY8" fmla="*/ 549 h 10000"/>
                <a:gd name="connsiteX9" fmla="*/ 5252 w 10000"/>
                <a:gd name="connsiteY9" fmla="*/ 569 h 10000"/>
                <a:gd name="connsiteX10" fmla="*/ 5640 w 10000"/>
                <a:gd name="connsiteY10" fmla="*/ 0 h 10000"/>
                <a:gd name="connsiteX11" fmla="*/ 5795 w 10000"/>
                <a:gd name="connsiteY11" fmla="*/ 20 h 10000"/>
                <a:gd name="connsiteX12" fmla="*/ 5950 w 10000"/>
                <a:gd name="connsiteY12" fmla="*/ 59 h 10000"/>
                <a:gd name="connsiteX13" fmla="*/ 6163 w 10000"/>
                <a:gd name="connsiteY13" fmla="*/ 706 h 10000"/>
                <a:gd name="connsiteX14" fmla="*/ 6395 w 10000"/>
                <a:gd name="connsiteY14" fmla="*/ 765 h 10000"/>
                <a:gd name="connsiteX15" fmla="*/ 6492 w 10000"/>
                <a:gd name="connsiteY15" fmla="*/ 804 h 10000"/>
                <a:gd name="connsiteX16" fmla="*/ 6609 w 10000"/>
                <a:gd name="connsiteY16" fmla="*/ 843 h 10000"/>
                <a:gd name="connsiteX17" fmla="*/ 7151 w 10000"/>
                <a:gd name="connsiteY17" fmla="*/ 451 h 10000"/>
                <a:gd name="connsiteX18" fmla="*/ 7287 w 10000"/>
                <a:gd name="connsiteY18" fmla="*/ 510 h 10000"/>
                <a:gd name="connsiteX19" fmla="*/ 7442 w 10000"/>
                <a:gd name="connsiteY19" fmla="*/ 588 h 10000"/>
                <a:gd name="connsiteX20" fmla="*/ 7442 w 10000"/>
                <a:gd name="connsiteY20" fmla="*/ 1275 h 10000"/>
                <a:gd name="connsiteX21" fmla="*/ 7616 w 10000"/>
                <a:gd name="connsiteY21" fmla="*/ 1412 h 10000"/>
                <a:gd name="connsiteX22" fmla="*/ 7713 w 10000"/>
                <a:gd name="connsiteY22" fmla="*/ 1471 h 10000"/>
                <a:gd name="connsiteX23" fmla="*/ 7810 w 10000"/>
                <a:gd name="connsiteY23" fmla="*/ 1549 h 10000"/>
                <a:gd name="connsiteX24" fmla="*/ 8450 w 10000"/>
                <a:gd name="connsiteY24" fmla="*/ 1333 h 10000"/>
                <a:gd name="connsiteX25" fmla="*/ 8566 w 10000"/>
                <a:gd name="connsiteY25" fmla="*/ 1451 h 10000"/>
                <a:gd name="connsiteX26" fmla="*/ 8682 w 10000"/>
                <a:gd name="connsiteY26" fmla="*/ 1569 h 10000"/>
                <a:gd name="connsiteX27" fmla="*/ 8469 w 10000"/>
                <a:gd name="connsiteY27" fmla="*/ 2216 h 10000"/>
                <a:gd name="connsiteX28" fmla="*/ 8605 w 10000"/>
                <a:gd name="connsiteY28" fmla="*/ 2392 h 10000"/>
                <a:gd name="connsiteX29" fmla="*/ 8740 w 10000"/>
                <a:gd name="connsiteY29" fmla="*/ 2588 h 10000"/>
                <a:gd name="connsiteX30" fmla="*/ 9419 w 10000"/>
                <a:gd name="connsiteY30" fmla="*/ 2588 h 10000"/>
                <a:gd name="connsiteX31" fmla="*/ 9496 w 10000"/>
                <a:gd name="connsiteY31" fmla="*/ 2706 h 10000"/>
                <a:gd name="connsiteX32" fmla="*/ 9574 w 10000"/>
                <a:gd name="connsiteY32" fmla="*/ 2863 h 10000"/>
                <a:gd name="connsiteX33" fmla="*/ 9167 w 10000"/>
                <a:gd name="connsiteY33" fmla="*/ 3392 h 10000"/>
                <a:gd name="connsiteX34" fmla="*/ 9244 w 10000"/>
                <a:gd name="connsiteY34" fmla="*/ 3627 h 10000"/>
                <a:gd name="connsiteX35" fmla="*/ 9283 w 10000"/>
                <a:gd name="connsiteY35" fmla="*/ 3745 h 10000"/>
                <a:gd name="connsiteX36" fmla="*/ 9302 w 10000"/>
                <a:gd name="connsiteY36" fmla="*/ 3863 h 10000"/>
                <a:gd name="connsiteX37" fmla="*/ 9961 w 10000"/>
                <a:gd name="connsiteY37" fmla="*/ 4059 h 10000"/>
                <a:gd name="connsiteX38" fmla="*/ 10000 w 10000"/>
                <a:gd name="connsiteY38" fmla="*/ 4392 h 10000"/>
                <a:gd name="connsiteX39" fmla="*/ 9438 w 10000"/>
                <a:gd name="connsiteY39" fmla="*/ 4765 h 10000"/>
                <a:gd name="connsiteX40" fmla="*/ 9457 w 10000"/>
                <a:gd name="connsiteY40" fmla="*/ 5000 h 10000"/>
                <a:gd name="connsiteX41" fmla="*/ 9438 w 10000"/>
                <a:gd name="connsiteY41" fmla="*/ 5235 h 10000"/>
                <a:gd name="connsiteX42" fmla="*/ 10000 w 10000"/>
                <a:gd name="connsiteY42" fmla="*/ 5627 h 10000"/>
                <a:gd name="connsiteX43" fmla="*/ 9981 w 10000"/>
                <a:gd name="connsiteY43" fmla="*/ 5784 h 10000"/>
                <a:gd name="connsiteX44" fmla="*/ 9961 w 10000"/>
                <a:gd name="connsiteY44" fmla="*/ 5941 h 10000"/>
                <a:gd name="connsiteX45" fmla="*/ 9302 w 10000"/>
                <a:gd name="connsiteY45" fmla="*/ 6157 h 10000"/>
                <a:gd name="connsiteX46" fmla="*/ 9244 w 10000"/>
                <a:gd name="connsiteY46" fmla="*/ 6392 h 10000"/>
                <a:gd name="connsiteX47" fmla="*/ 9205 w 10000"/>
                <a:gd name="connsiteY47" fmla="*/ 6490 h 10000"/>
                <a:gd name="connsiteX48" fmla="*/ 9167 w 10000"/>
                <a:gd name="connsiteY48" fmla="*/ 6608 h 10000"/>
                <a:gd name="connsiteX49" fmla="*/ 9574 w 10000"/>
                <a:gd name="connsiteY49" fmla="*/ 7157 h 10000"/>
                <a:gd name="connsiteX50" fmla="*/ 9496 w 10000"/>
                <a:gd name="connsiteY50" fmla="*/ 7294 h 10000"/>
                <a:gd name="connsiteX51" fmla="*/ 9419 w 10000"/>
                <a:gd name="connsiteY51" fmla="*/ 7431 h 10000"/>
                <a:gd name="connsiteX52" fmla="*/ 8740 w 10000"/>
                <a:gd name="connsiteY52" fmla="*/ 7412 h 10000"/>
                <a:gd name="connsiteX53" fmla="*/ 8605 w 10000"/>
                <a:gd name="connsiteY53" fmla="*/ 7627 h 10000"/>
                <a:gd name="connsiteX54" fmla="*/ 8547 w 10000"/>
                <a:gd name="connsiteY54" fmla="*/ 7706 h 10000"/>
                <a:gd name="connsiteX55" fmla="*/ 8469 w 10000"/>
                <a:gd name="connsiteY55" fmla="*/ 7804 h 10000"/>
                <a:gd name="connsiteX56" fmla="*/ 8682 w 10000"/>
                <a:gd name="connsiteY56" fmla="*/ 8451 h 10000"/>
                <a:gd name="connsiteX57" fmla="*/ 8566 w 10000"/>
                <a:gd name="connsiteY57" fmla="*/ 8569 h 10000"/>
                <a:gd name="connsiteX58" fmla="*/ 8450 w 10000"/>
                <a:gd name="connsiteY58" fmla="*/ 8686 h 10000"/>
                <a:gd name="connsiteX59" fmla="*/ 7810 w 10000"/>
                <a:gd name="connsiteY59" fmla="*/ 8471 h 10000"/>
                <a:gd name="connsiteX60" fmla="*/ 7616 w 10000"/>
                <a:gd name="connsiteY60" fmla="*/ 8608 h 10000"/>
                <a:gd name="connsiteX61" fmla="*/ 7442 w 10000"/>
                <a:gd name="connsiteY61" fmla="*/ 8745 h 10000"/>
                <a:gd name="connsiteX62" fmla="*/ 7442 w 10000"/>
                <a:gd name="connsiteY62" fmla="*/ 9412 h 10000"/>
                <a:gd name="connsiteX63" fmla="*/ 7287 w 10000"/>
                <a:gd name="connsiteY63" fmla="*/ 9510 h 10000"/>
                <a:gd name="connsiteX64" fmla="*/ 7151 w 10000"/>
                <a:gd name="connsiteY64" fmla="*/ 9569 h 10000"/>
                <a:gd name="connsiteX65" fmla="*/ 6609 w 10000"/>
                <a:gd name="connsiteY65" fmla="*/ 9157 h 10000"/>
                <a:gd name="connsiteX66" fmla="*/ 6395 w 10000"/>
                <a:gd name="connsiteY66" fmla="*/ 9235 h 10000"/>
                <a:gd name="connsiteX67" fmla="*/ 6279 w 10000"/>
                <a:gd name="connsiteY67" fmla="*/ 9275 h 10000"/>
                <a:gd name="connsiteX68" fmla="*/ 6163 w 10000"/>
                <a:gd name="connsiteY68" fmla="*/ 9314 h 10000"/>
                <a:gd name="connsiteX69" fmla="*/ 5950 w 10000"/>
                <a:gd name="connsiteY69" fmla="*/ 9961 h 10000"/>
                <a:gd name="connsiteX70" fmla="*/ 5640 w 10000"/>
                <a:gd name="connsiteY70" fmla="*/ 10000 h 10000"/>
                <a:gd name="connsiteX71" fmla="*/ 5252 w 10000"/>
                <a:gd name="connsiteY71" fmla="*/ 9451 h 10000"/>
                <a:gd name="connsiteX72" fmla="*/ 5019 w 10000"/>
                <a:gd name="connsiteY72" fmla="*/ 9451 h 10000"/>
                <a:gd name="connsiteX73" fmla="*/ 4767 w 10000"/>
                <a:gd name="connsiteY73" fmla="*/ 9451 h 10000"/>
                <a:gd name="connsiteX74" fmla="*/ 4380 w 10000"/>
                <a:gd name="connsiteY74" fmla="*/ 10000 h 10000"/>
                <a:gd name="connsiteX75" fmla="*/ 4225 w 10000"/>
                <a:gd name="connsiteY75" fmla="*/ 9980 h 10000"/>
                <a:gd name="connsiteX76" fmla="*/ 4070 w 10000"/>
                <a:gd name="connsiteY76" fmla="*/ 9961 h 10000"/>
                <a:gd name="connsiteX77" fmla="*/ 3857 w 10000"/>
                <a:gd name="connsiteY77" fmla="*/ 9314 h 10000"/>
                <a:gd name="connsiteX78" fmla="*/ 3624 w 10000"/>
                <a:gd name="connsiteY78" fmla="*/ 9235 h 10000"/>
                <a:gd name="connsiteX79" fmla="*/ 3508 w 10000"/>
                <a:gd name="connsiteY79" fmla="*/ 9216 h 10000"/>
                <a:gd name="connsiteX80" fmla="*/ 3411 w 10000"/>
                <a:gd name="connsiteY80" fmla="*/ 9157 h 10000"/>
                <a:gd name="connsiteX81" fmla="*/ 2868 w 10000"/>
                <a:gd name="connsiteY81" fmla="*/ 9569 h 10000"/>
                <a:gd name="connsiteX82" fmla="*/ 2733 w 10000"/>
                <a:gd name="connsiteY82" fmla="*/ 9510 h 10000"/>
                <a:gd name="connsiteX83" fmla="*/ 2578 w 10000"/>
                <a:gd name="connsiteY83" fmla="*/ 9412 h 10000"/>
                <a:gd name="connsiteX84" fmla="*/ 2597 w 10000"/>
                <a:gd name="connsiteY84" fmla="*/ 8745 h 10000"/>
                <a:gd name="connsiteX85" fmla="*/ 2403 w 10000"/>
                <a:gd name="connsiteY85" fmla="*/ 8608 h 10000"/>
                <a:gd name="connsiteX86" fmla="*/ 2306 w 10000"/>
                <a:gd name="connsiteY86" fmla="*/ 8529 h 10000"/>
                <a:gd name="connsiteX87" fmla="*/ 2209 w 10000"/>
                <a:gd name="connsiteY87" fmla="*/ 8471 h 10000"/>
                <a:gd name="connsiteX88" fmla="*/ 1570 w 10000"/>
                <a:gd name="connsiteY88" fmla="*/ 8686 h 10000"/>
                <a:gd name="connsiteX89" fmla="*/ 1453 w 10000"/>
                <a:gd name="connsiteY89" fmla="*/ 8569 h 10000"/>
                <a:gd name="connsiteX90" fmla="*/ 1337 w 10000"/>
                <a:gd name="connsiteY90" fmla="*/ 8451 h 10000"/>
                <a:gd name="connsiteX91" fmla="*/ 1550 w 10000"/>
                <a:gd name="connsiteY91" fmla="*/ 7804 h 10000"/>
                <a:gd name="connsiteX92" fmla="*/ 1415 w 10000"/>
                <a:gd name="connsiteY92" fmla="*/ 7627 h 10000"/>
                <a:gd name="connsiteX93" fmla="*/ 1279 w 10000"/>
                <a:gd name="connsiteY93" fmla="*/ 7412 h 10000"/>
                <a:gd name="connsiteX94" fmla="*/ 601 w 10000"/>
                <a:gd name="connsiteY94" fmla="*/ 7431 h 10000"/>
                <a:gd name="connsiteX95" fmla="*/ 523 w 10000"/>
                <a:gd name="connsiteY95" fmla="*/ 7294 h 10000"/>
                <a:gd name="connsiteX96" fmla="*/ 446 w 10000"/>
                <a:gd name="connsiteY96" fmla="*/ 7157 h 10000"/>
                <a:gd name="connsiteX97" fmla="*/ 853 w 10000"/>
                <a:gd name="connsiteY97" fmla="*/ 6608 h 10000"/>
                <a:gd name="connsiteX98" fmla="*/ 775 w 10000"/>
                <a:gd name="connsiteY98" fmla="*/ 6392 h 10000"/>
                <a:gd name="connsiteX99" fmla="*/ 756 w 10000"/>
                <a:gd name="connsiteY99" fmla="*/ 6275 h 10000"/>
                <a:gd name="connsiteX100" fmla="*/ 717 w 10000"/>
                <a:gd name="connsiteY100" fmla="*/ 6157 h 10000"/>
                <a:gd name="connsiteX101" fmla="*/ 58 w 10000"/>
                <a:gd name="connsiteY101" fmla="*/ 5941 h 10000"/>
                <a:gd name="connsiteX102" fmla="*/ 0 w 10000"/>
                <a:gd name="connsiteY102" fmla="*/ 5627 h 10000"/>
                <a:gd name="connsiteX103" fmla="*/ 581 w 10000"/>
                <a:gd name="connsiteY103" fmla="*/ 5235 h 10000"/>
                <a:gd name="connsiteX104" fmla="*/ 562 w 10000"/>
                <a:gd name="connsiteY104" fmla="*/ 5000 h 10000"/>
                <a:gd name="connsiteX105" fmla="*/ 581 w 10000"/>
                <a:gd name="connsiteY105" fmla="*/ 4765 h 10000"/>
                <a:gd name="connsiteX106" fmla="*/ 0 w 10000"/>
                <a:gd name="connsiteY106" fmla="*/ 4392 h 10000"/>
                <a:gd name="connsiteX107" fmla="*/ 19 w 10000"/>
                <a:gd name="connsiteY107" fmla="*/ 4216 h 10000"/>
                <a:gd name="connsiteX108" fmla="*/ 58 w 10000"/>
                <a:gd name="connsiteY108" fmla="*/ 4059 h 10000"/>
                <a:gd name="connsiteX109" fmla="*/ 717 w 10000"/>
                <a:gd name="connsiteY109" fmla="*/ 3863 h 10000"/>
                <a:gd name="connsiteX110" fmla="*/ 775 w 10000"/>
                <a:gd name="connsiteY110" fmla="*/ 3627 h 10000"/>
                <a:gd name="connsiteX111" fmla="*/ 814 w 10000"/>
                <a:gd name="connsiteY111" fmla="*/ 3510 h 10000"/>
                <a:gd name="connsiteX112" fmla="*/ 853 w 10000"/>
                <a:gd name="connsiteY112" fmla="*/ 3392 h 10000"/>
                <a:gd name="connsiteX113" fmla="*/ 446 w 10000"/>
                <a:gd name="connsiteY113" fmla="*/ 2863 h 10000"/>
                <a:gd name="connsiteX114" fmla="*/ 523 w 10000"/>
                <a:gd name="connsiteY114" fmla="*/ 2706 h 10000"/>
                <a:gd name="connsiteX115" fmla="*/ 601 w 10000"/>
                <a:gd name="connsiteY115" fmla="*/ 2588 h 10000"/>
                <a:gd name="connsiteX116" fmla="*/ 1279 w 10000"/>
                <a:gd name="connsiteY116" fmla="*/ 2588 h 10000"/>
                <a:gd name="connsiteX0" fmla="*/ 3411 w 10000"/>
                <a:gd name="connsiteY0" fmla="*/ 843 h 10000"/>
                <a:gd name="connsiteX1" fmla="*/ 3624 w 10000"/>
                <a:gd name="connsiteY1" fmla="*/ 765 h 10000"/>
                <a:gd name="connsiteX2" fmla="*/ 3740 w 10000"/>
                <a:gd name="connsiteY2" fmla="*/ 725 h 10000"/>
                <a:gd name="connsiteX3" fmla="*/ 3857 w 10000"/>
                <a:gd name="connsiteY3" fmla="*/ 706 h 10000"/>
                <a:gd name="connsiteX4" fmla="*/ 4070 w 10000"/>
                <a:gd name="connsiteY4" fmla="*/ 59 h 10000"/>
                <a:gd name="connsiteX5" fmla="*/ 4380 w 10000"/>
                <a:gd name="connsiteY5" fmla="*/ 0 h 10000"/>
                <a:gd name="connsiteX6" fmla="*/ 4767 w 10000"/>
                <a:gd name="connsiteY6" fmla="*/ 569 h 10000"/>
                <a:gd name="connsiteX7" fmla="*/ 5019 w 10000"/>
                <a:gd name="connsiteY7" fmla="*/ 549 h 10000"/>
                <a:gd name="connsiteX8" fmla="*/ 5252 w 10000"/>
                <a:gd name="connsiteY8" fmla="*/ 569 h 10000"/>
                <a:gd name="connsiteX9" fmla="*/ 5640 w 10000"/>
                <a:gd name="connsiteY9" fmla="*/ 0 h 10000"/>
                <a:gd name="connsiteX10" fmla="*/ 5795 w 10000"/>
                <a:gd name="connsiteY10" fmla="*/ 20 h 10000"/>
                <a:gd name="connsiteX11" fmla="*/ 5950 w 10000"/>
                <a:gd name="connsiteY11" fmla="*/ 59 h 10000"/>
                <a:gd name="connsiteX12" fmla="*/ 6163 w 10000"/>
                <a:gd name="connsiteY12" fmla="*/ 706 h 10000"/>
                <a:gd name="connsiteX13" fmla="*/ 6395 w 10000"/>
                <a:gd name="connsiteY13" fmla="*/ 765 h 10000"/>
                <a:gd name="connsiteX14" fmla="*/ 6492 w 10000"/>
                <a:gd name="connsiteY14" fmla="*/ 804 h 10000"/>
                <a:gd name="connsiteX15" fmla="*/ 6609 w 10000"/>
                <a:gd name="connsiteY15" fmla="*/ 843 h 10000"/>
                <a:gd name="connsiteX16" fmla="*/ 7151 w 10000"/>
                <a:gd name="connsiteY16" fmla="*/ 451 h 10000"/>
                <a:gd name="connsiteX17" fmla="*/ 7287 w 10000"/>
                <a:gd name="connsiteY17" fmla="*/ 510 h 10000"/>
                <a:gd name="connsiteX18" fmla="*/ 7442 w 10000"/>
                <a:gd name="connsiteY18" fmla="*/ 588 h 10000"/>
                <a:gd name="connsiteX19" fmla="*/ 7442 w 10000"/>
                <a:gd name="connsiteY19" fmla="*/ 1275 h 10000"/>
                <a:gd name="connsiteX20" fmla="*/ 7616 w 10000"/>
                <a:gd name="connsiteY20" fmla="*/ 1412 h 10000"/>
                <a:gd name="connsiteX21" fmla="*/ 7713 w 10000"/>
                <a:gd name="connsiteY21" fmla="*/ 1471 h 10000"/>
                <a:gd name="connsiteX22" fmla="*/ 7810 w 10000"/>
                <a:gd name="connsiteY22" fmla="*/ 1549 h 10000"/>
                <a:gd name="connsiteX23" fmla="*/ 8450 w 10000"/>
                <a:gd name="connsiteY23" fmla="*/ 1333 h 10000"/>
                <a:gd name="connsiteX24" fmla="*/ 8566 w 10000"/>
                <a:gd name="connsiteY24" fmla="*/ 1451 h 10000"/>
                <a:gd name="connsiteX25" fmla="*/ 8682 w 10000"/>
                <a:gd name="connsiteY25" fmla="*/ 1569 h 10000"/>
                <a:gd name="connsiteX26" fmla="*/ 8469 w 10000"/>
                <a:gd name="connsiteY26" fmla="*/ 2216 h 10000"/>
                <a:gd name="connsiteX27" fmla="*/ 8605 w 10000"/>
                <a:gd name="connsiteY27" fmla="*/ 2392 h 10000"/>
                <a:gd name="connsiteX28" fmla="*/ 8740 w 10000"/>
                <a:gd name="connsiteY28" fmla="*/ 2588 h 10000"/>
                <a:gd name="connsiteX29" fmla="*/ 9419 w 10000"/>
                <a:gd name="connsiteY29" fmla="*/ 2588 h 10000"/>
                <a:gd name="connsiteX30" fmla="*/ 9496 w 10000"/>
                <a:gd name="connsiteY30" fmla="*/ 2706 h 10000"/>
                <a:gd name="connsiteX31" fmla="*/ 9574 w 10000"/>
                <a:gd name="connsiteY31" fmla="*/ 2863 h 10000"/>
                <a:gd name="connsiteX32" fmla="*/ 9167 w 10000"/>
                <a:gd name="connsiteY32" fmla="*/ 3392 h 10000"/>
                <a:gd name="connsiteX33" fmla="*/ 9244 w 10000"/>
                <a:gd name="connsiteY33" fmla="*/ 3627 h 10000"/>
                <a:gd name="connsiteX34" fmla="*/ 9283 w 10000"/>
                <a:gd name="connsiteY34" fmla="*/ 3745 h 10000"/>
                <a:gd name="connsiteX35" fmla="*/ 9302 w 10000"/>
                <a:gd name="connsiteY35" fmla="*/ 3863 h 10000"/>
                <a:gd name="connsiteX36" fmla="*/ 9961 w 10000"/>
                <a:gd name="connsiteY36" fmla="*/ 4059 h 10000"/>
                <a:gd name="connsiteX37" fmla="*/ 10000 w 10000"/>
                <a:gd name="connsiteY37" fmla="*/ 4392 h 10000"/>
                <a:gd name="connsiteX38" fmla="*/ 9438 w 10000"/>
                <a:gd name="connsiteY38" fmla="*/ 4765 h 10000"/>
                <a:gd name="connsiteX39" fmla="*/ 9457 w 10000"/>
                <a:gd name="connsiteY39" fmla="*/ 5000 h 10000"/>
                <a:gd name="connsiteX40" fmla="*/ 9438 w 10000"/>
                <a:gd name="connsiteY40" fmla="*/ 5235 h 10000"/>
                <a:gd name="connsiteX41" fmla="*/ 10000 w 10000"/>
                <a:gd name="connsiteY41" fmla="*/ 5627 h 10000"/>
                <a:gd name="connsiteX42" fmla="*/ 9981 w 10000"/>
                <a:gd name="connsiteY42" fmla="*/ 5784 h 10000"/>
                <a:gd name="connsiteX43" fmla="*/ 9961 w 10000"/>
                <a:gd name="connsiteY43" fmla="*/ 5941 h 10000"/>
                <a:gd name="connsiteX44" fmla="*/ 9302 w 10000"/>
                <a:gd name="connsiteY44" fmla="*/ 6157 h 10000"/>
                <a:gd name="connsiteX45" fmla="*/ 9244 w 10000"/>
                <a:gd name="connsiteY45" fmla="*/ 6392 h 10000"/>
                <a:gd name="connsiteX46" fmla="*/ 9205 w 10000"/>
                <a:gd name="connsiteY46" fmla="*/ 6490 h 10000"/>
                <a:gd name="connsiteX47" fmla="*/ 9167 w 10000"/>
                <a:gd name="connsiteY47" fmla="*/ 6608 h 10000"/>
                <a:gd name="connsiteX48" fmla="*/ 9574 w 10000"/>
                <a:gd name="connsiteY48" fmla="*/ 7157 h 10000"/>
                <a:gd name="connsiteX49" fmla="*/ 9496 w 10000"/>
                <a:gd name="connsiteY49" fmla="*/ 7294 h 10000"/>
                <a:gd name="connsiteX50" fmla="*/ 9419 w 10000"/>
                <a:gd name="connsiteY50" fmla="*/ 7431 h 10000"/>
                <a:gd name="connsiteX51" fmla="*/ 8740 w 10000"/>
                <a:gd name="connsiteY51" fmla="*/ 7412 h 10000"/>
                <a:gd name="connsiteX52" fmla="*/ 8605 w 10000"/>
                <a:gd name="connsiteY52" fmla="*/ 7627 h 10000"/>
                <a:gd name="connsiteX53" fmla="*/ 8547 w 10000"/>
                <a:gd name="connsiteY53" fmla="*/ 7706 h 10000"/>
                <a:gd name="connsiteX54" fmla="*/ 8469 w 10000"/>
                <a:gd name="connsiteY54" fmla="*/ 7804 h 10000"/>
                <a:gd name="connsiteX55" fmla="*/ 8682 w 10000"/>
                <a:gd name="connsiteY55" fmla="*/ 8451 h 10000"/>
                <a:gd name="connsiteX56" fmla="*/ 8566 w 10000"/>
                <a:gd name="connsiteY56" fmla="*/ 8569 h 10000"/>
                <a:gd name="connsiteX57" fmla="*/ 8450 w 10000"/>
                <a:gd name="connsiteY57" fmla="*/ 8686 h 10000"/>
                <a:gd name="connsiteX58" fmla="*/ 7810 w 10000"/>
                <a:gd name="connsiteY58" fmla="*/ 8471 h 10000"/>
                <a:gd name="connsiteX59" fmla="*/ 7616 w 10000"/>
                <a:gd name="connsiteY59" fmla="*/ 8608 h 10000"/>
                <a:gd name="connsiteX60" fmla="*/ 7442 w 10000"/>
                <a:gd name="connsiteY60" fmla="*/ 8745 h 10000"/>
                <a:gd name="connsiteX61" fmla="*/ 7442 w 10000"/>
                <a:gd name="connsiteY61" fmla="*/ 9412 h 10000"/>
                <a:gd name="connsiteX62" fmla="*/ 7287 w 10000"/>
                <a:gd name="connsiteY62" fmla="*/ 9510 h 10000"/>
                <a:gd name="connsiteX63" fmla="*/ 7151 w 10000"/>
                <a:gd name="connsiteY63" fmla="*/ 9569 h 10000"/>
                <a:gd name="connsiteX64" fmla="*/ 6609 w 10000"/>
                <a:gd name="connsiteY64" fmla="*/ 9157 h 10000"/>
                <a:gd name="connsiteX65" fmla="*/ 6395 w 10000"/>
                <a:gd name="connsiteY65" fmla="*/ 9235 h 10000"/>
                <a:gd name="connsiteX66" fmla="*/ 6279 w 10000"/>
                <a:gd name="connsiteY66" fmla="*/ 9275 h 10000"/>
                <a:gd name="connsiteX67" fmla="*/ 6163 w 10000"/>
                <a:gd name="connsiteY67" fmla="*/ 9314 h 10000"/>
                <a:gd name="connsiteX68" fmla="*/ 5950 w 10000"/>
                <a:gd name="connsiteY68" fmla="*/ 9961 h 10000"/>
                <a:gd name="connsiteX69" fmla="*/ 5640 w 10000"/>
                <a:gd name="connsiteY69" fmla="*/ 10000 h 10000"/>
                <a:gd name="connsiteX70" fmla="*/ 5252 w 10000"/>
                <a:gd name="connsiteY70" fmla="*/ 9451 h 10000"/>
                <a:gd name="connsiteX71" fmla="*/ 5019 w 10000"/>
                <a:gd name="connsiteY71" fmla="*/ 9451 h 10000"/>
                <a:gd name="connsiteX72" fmla="*/ 4767 w 10000"/>
                <a:gd name="connsiteY72" fmla="*/ 9451 h 10000"/>
                <a:gd name="connsiteX73" fmla="*/ 4380 w 10000"/>
                <a:gd name="connsiteY73" fmla="*/ 10000 h 10000"/>
                <a:gd name="connsiteX74" fmla="*/ 4225 w 10000"/>
                <a:gd name="connsiteY74" fmla="*/ 9980 h 10000"/>
                <a:gd name="connsiteX75" fmla="*/ 4070 w 10000"/>
                <a:gd name="connsiteY75" fmla="*/ 9961 h 10000"/>
                <a:gd name="connsiteX76" fmla="*/ 3857 w 10000"/>
                <a:gd name="connsiteY76" fmla="*/ 9314 h 10000"/>
                <a:gd name="connsiteX77" fmla="*/ 3624 w 10000"/>
                <a:gd name="connsiteY77" fmla="*/ 9235 h 10000"/>
                <a:gd name="connsiteX78" fmla="*/ 3508 w 10000"/>
                <a:gd name="connsiteY78" fmla="*/ 9216 h 10000"/>
                <a:gd name="connsiteX79" fmla="*/ 3411 w 10000"/>
                <a:gd name="connsiteY79" fmla="*/ 9157 h 10000"/>
                <a:gd name="connsiteX80" fmla="*/ 2868 w 10000"/>
                <a:gd name="connsiteY80" fmla="*/ 9569 h 10000"/>
                <a:gd name="connsiteX81" fmla="*/ 2733 w 10000"/>
                <a:gd name="connsiteY81" fmla="*/ 9510 h 10000"/>
                <a:gd name="connsiteX82" fmla="*/ 2578 w 10000"/>
                <a:gd name="connsiteY82" fmla="*/ 9412 h 10000"/>
                <a:gd name="connsiteX83" fmla="*/ 2597 w 10000"/>
                <a:gd name="connsiteY83" fmla="*/ 8745 h 10000"/>
                <a:gd name="connsiteX84" fmla="*/ 2403 w 10000"/>
                <a:gd name="connsiteY84" fmla="*/ 8608 h 10000"/>
                <a:gd name="connsiteX85" fmla="*/ 2306 w 10000"/>
                <a:gd name="connsiteY85" fmla="*/ 8529 h 10000"/>
                <a:gd name="connsiteX86" fmla="*/ 2209 w 10000"/>
                <a:gd name="connsiteY86" fmla="*/ 8471 h 10000"/>
                <a:gd name="connsiteX87" fmla="*/ 1570 w 10000"/>
                <a:gd name="connsiteY87" fmla="*/ 8686 h 10000"/>
                <a:gd name="connsiteX88" fmla="*/ 1453 w 10000"/>
                <a:gd name="connsiteY88" fmla="*/ 8569 h 10000"/>
                <a:gd name="connsiteX89" fmla="*/ 1337 w 10000"/>
                <a:gd name="connsiteY89" fmla="*/ 8451 h 10000"/>
                <a:gd name="connsiteX90" fmla="*/ 1550 w 10000"/>
                <a:gd name="connsiteY90" fmla="*/ 7804 h 10000"/>
                <a:gd name="connsiteX91" fmla="*/ 1415 w 10000"/>
                <a:gd name="connsiteY91" fmla="*/ 7627 h 10000"/>
                <a:gd name="connsiteX92" fmla="*/ 1279 w 10000"/>
                <a:gd name="connsiteY92" fmla="*/ 7412 h 10000"/>
                <a:gd name="connsiteX93" fmla="*/ 601 w 10000"/>
                <a:gd name="connsiteY93" fmla="*/ 7431 h 10000"/>
                <a:gd name="connsiteX94" fmla="*/ 523 w 10000"/>
                <a:gd name="connsiteY94" fmla="*/ 7294 h 10000"/>
                <a:gd name="connsiteX95" fmla="*/ 446 w 10000"/>
                <a:gd name="connsiteY95" fmla="*/ 7157 h 10000"/>
                <a:gd name="connsiteX96" fmla="*/ 853 w 10000"/>
                <a:gd name="connsiteY96" fmla="*/ 6608 h 10000"/>
                <a:gd name="connsiteX97" fmla="*/ 775 w 10000"/>
                <a:gd name="connsiteY97" fmla="*/ 6392 h 10000"/>
                <a:gd name="connsiteX98" fmla="*/ 756 w 10000"/>
                <a:gd name="connsiteY98" fmla="*/ 6275 h 10000"/>
                <a:gd name="connsiteX99" fmla="*/ 717 w 10000"/>
                <a:gd name="connsiteY99" fmla="*/ 6157 h 10000"/>
                <a:gd name="connsiteX100" fmla="*/ 58 w 10000"/>
                <a:gd name="connsiteY100" fmla="*/ 5941 h 10000"/>
                <a:gd name="connsiteX101" fmla="*/ 0 w 10000"/>
                <a:gd name="connsiteY101" fmla="*/ 5627 h 10000"/>
                <a:gd name="connsiteX102" fmla="*/ 581 w 10000"/>
                <a:gd name="connsiteY102" fmla="*/ 5235 h 10000"/>
                <a:gd name="connsiteX103" fmla="*/ 562 w 10000"/>
                <a:gd name="connsiteY103" fmla="*/ 5000 h 10000"/>
                <a:gd name="connsiteX104" fmla="*/ 581 w 10000"/>
                <a:gd name="connsiteY104" fmla="*/ 4765 h 10000"/>
                <a:gd name="connsiteX105" fmla="*/ 0 w 10000"/>
                <a:gd name="connsiteY105" fmla="*/ 4392 h 10000"/>
                <a:gd name="connsiteX106" fmla="*/ 19 w 10000"/>
                <a:gd name="connsiteY106" fmla="*/ 4216 h 10000"/>
                <a:gd name="connsiteX107" fmla="*/ 58 w 10000"/>
                <a:gd name="connsiteY107" fmla="*/ 4059 h 10000"/>
                <a:gd name="connsiteX108" fmla="*/ 717 w 10000"/>
                <a:gd name="connsiteY108" fmla="*/ 3863 h 10000"/>
                <a:gd name="connsiteX109" fmla="*/ 775 w 10000"/>
                <a:gd name="connsiteY109" fmla="*/ 3627 h 10000"/>
                <a:gd name="connsiteX110" fmla="*/ 814 w 10000"/>
                <a:gd name="connsiteY110" fmla="*/ 3510 h 10000"/>
                <a:gd name="connsiteX111" fmla="*/ 853 w 10000"/>
                <a:gd name="connsiteY111" fmla="*/ 3392 h 10000"/>
                <a:gd name="connsiteX112" fmla="*/ 446 w 10000"/>
                <a:gd name="connsiteY112" fmla="*/ 2863 h 10000"/>
                <a:gd name="connsiteX113" fmla="*/ 523 w 10000"/>
                <a:gd name="connsiteY113" fmla="*/ 2706 h 10000"/>
                <a:gd name="connsiteX114" fmla="*/ 601 w 10000"/>
                <a:gd name="connsiteY114" fmla="*/ 2588 h 10000"/>
                <a:gd name="connsiteX115" fmla="*/ 1279 w 10000"/>
                <a:gd name="connsiteY115" fmla="*/ 2588 h 10000"/>
                <a:gd name="connsiteX0" fmla="*/ 3411 w 10000"/>
                <a:gd name="connsiteY0" fmla="*/ 843 h 10000"/>
                <a:gd name="connsiteX1" fmla="*/ 3740 w 10000"/>
                <a:gd name="connsiteY1" fmla="*/ 725 h 10000"/>
                <a:gd name="connsiteX2" fmla="*/ 3857 w 10000"/>
                <a:gd name="connsiteY2" fmla="*/ 706 h 10000"/>
                <a:gd name="connsiteX3" fmla="*/ 4070 w 10000"/>
                <a:gd name="connsiteY3" fmla="*/ 59 h 10000"/>
                <a:gd name="connsiteX4" fmla="*/ 4380 w 10000"/>
                <a:gd name="connsiteY4" fmla="*/ 0 h 10000"/>
                <a:gd name="connsiteX5" fmla="*/ 4767 w 10000"/>
                <a:gd name="connsiteY5" fmla="*/ 569 h 10000"/>
                <a:gd name="connsiteX6" fmla="*/ 5019 w 10000"/>
                <a:gd name="connsiteY6" fmla="*/ 549 h 10000"/>
                <a:gd name="connsiteX7" fmla="*/ 5252 w 10000"/>
                <a:gd name="connsiteY7" fmla="*/ 569 h 10000"/>
                <a:gd name="connsiteX8" fmla="*/ 5640 w 10000"/>
                <a:gd name="connsiteY8" fmla="*/ 0 h 10000"/>
                <a:gd name="connsiteX9" fmla="*/ 5795 w 10000"/>
                <a:gd name="connsiteY9" fmla="*/ 20 h 10000"/>
                <a:gd name="connsiteX10" fmla="*/ 5950 w 10000"/>
                <a:gd name="connsiteY10" fmla="*/ 59 h 10000"/>
                <a:gd name="connsiteX11" fmla="*/ 6163 w 10000"/>
                <a:gd name="connsiteY11" fmla="*/ 706 h 10000"/>
                <a:gd name="connsiteX12" fmla="*/ 6395 w 10000"/>
                <a:gd name="connsiteY12" fmla="*/ 765 h 10000"/>
                <a:gd name="connsiteX13" fmla="*/ 6492 w 10000"/>
                <a:gd name="connsiteY13" fmla="*/ 804 h 10000"/>
                <a:gd name="connsiteX14" fmla="*/ 6609 w 10000"/>
                <a:gd name="connsiteY14" fmla="*/ 843 h 10000"/>
                <a:gd name="connsiteX15" fmla="*/ 7151 w 10000"/>
                <a:gd name="connsiteY15" fmla="*/ 451 h 10000"/>
                <a:gd name="connsiteX16" fmla="*/ 7287 w 10000"/>
                <a:gd name="connsiteY16" fmla="*/ 510 h 10000"/>
                <a:gd name="connsiteX17" fmla="*/ 7442 w 10000"/>
                <a:gd name="connsiteY17" fmla="*/ 588 h 10000"/>
                <a:gd name="connsiteX18" fmla="*/ 7442 w 10000"/>
                <a:gd name="connsiteY18" fmla="*/ 1275 h 10000"/>
                <a:gd name="connsiteX19" fmla="*/ 7616 w 10000"/>
                <a:gd name="connsiteY19" fmla="*/ 1412 h 10000"/>
                <a:gd name="connsiteX20" fmla="*/ 7713 w 10000"/>
                <a:gd name="connsiteY20" fmla="*/ 1471 h 10000"/>
                <a:gd name="connsiteX21" fmla="*/ 7810 w 10000"/>
                <a:gd name="connsiteY21" fmla="*/ 1549 h 10000"/>
                <a:gd name="connsiteX22" fmla="*/ 8450 w 10000"/>
                <a:gd name="connsiteY22" fmla="*/ 1333 h 10000"/>
                <a:gd name="connsiteX23" fmla="*/ 8566 w 10000"/>
                <a:gd name="connsiteY23" fmla="*/ 1451 h 10000"/>
                <a:gd name="connsiteX24" fmla="*/ 8682 w 10000"/>
                <a:gd name="connsiteY24" fmla="*/ 1569 h 10000"/>
                <a:gd name="connsiteX25" fmla="*/ 8469 w 10000"/>
                <a:gd name="connsiteY25" fmla="*/ 2216 h 10000"/>
                <a:gd name="connsiteX26" fmla="*/ 8605 w 10000"/>
                <a:gd name="connsiteY26" fmla="*/ 2392 h 10000"/>
                <a:gd name="connsiteX27" fmla="*/ 8740 w 10000"/>
                <a:gd name="connsiteY27" fmla="*/ 2588 h 10000"/>
                <a:gd name="connsiteX28" fmla="*/ 9419 w 10000"/>
                <a:gd name="connsiteY28" fmla="*/ 2588 h 10000"/>
                <a:gd name="connsiteX29" fmla="*/ 9496 w 10000"/>
                <a:gd name="connsiteY29" fmla="*/ 2706 h 10000"/>
                <a:gd name="connsiteX30" fmla="*/ 9574 w 10000"/>
                <a:gd name="connsiteY30" fmla="*/ 2863 h 10000"/>
                <a:gd name="connsiteX31" fmla="*/ 9167 w 10000"/>
                <a:gd name="connsiteY31" fmla="*/ 3392 h 10000"/>
                <a:gd name="connsiteX32" fmla="*/ 9244 w 10000"/>
                <a:gd name="connsiteY32" fmla="*/ 3627 h 10000"/>
                <a:gd name="connsiteX33" fmla="*/ 9283 w 10000"/>
                <a:gd name="connsiteY33" fmla="*/ 3745 h 10000"/>
                <a:gd name="connsiteX34" fmla="*/ 9302 w 10000"/>
                <a:gd name="connsiteY34" fmla="*/ 3863 h 10000"/>
                <a:gd name="connsiteX35" fmla="*/ 9961 w 10000"/>
                <a:gd name="connsiteY35" fmla="*/ 4059 h 10000"/>
                <a:gd name="connsiteX36" fmla="*/ 10000 w 10000"/>
                <a:gd name="connsiteY36" fmla="*/ 4392 h 10000"/>
                <a:gd name="connsiteX37" fmla="*/ 9438 w 10000"/>
                <a:gd name="connsiteY37" fmla="*/ 4765 h 10000"/>
                <a:gd name="connsiteX38" fmla="*/ 9457 w 10000"/>
                <a:gd name="connsiteY38" fmla="*/ 5000 h 10000"/>
                <a:gd name="connsiteX39" fmla="*/ 9438 w 10000"/>
                <a:gd name="connsiteY39" fmla="*/ 5235 h 10000"/>
                <a:gd name="connsiteX40" fmla="*/ 10000 w 10000"/>
                <a:gd name="connsiteY40" fmla="*/ 5627 h 10000"/>
                <a:gd name="connsiteX41" fmla="*/ 9981 w 10000"/>
                <a:gd name="connsiteY41" fmla="*/ 5784 h 10000"/>
                <a:gd name="connsiteX42" fmla="*/ 9961 w 10000"/>
                <a:gd name="connsiteY42" fmla="*/ 5941 h 10000"/>
                <a:gd name="connsiteX43" fmla="*/ 9302 w 10000"/>
                <a:gd name="connsiteY43" fmla="*/ 6157 h 10000"/>
                <a:gd name="connsiteX44" fmla="*/ 9244 w 10000"/>
                <a:gd name="connsiteY44" fmla="*/ 6392 h 10000"/>
                <a:gd name="connsiteX45" fmla="*/ 9205 w 10000"/>
                <a:gd name="connsiteY45" fmla="*/ 6490 h 10000"/>
                <a:gd name="connsiteX46" fmla="*/ 9167 w 10000"/>
                <a:gd name="connsiteY46" fmla="*/ 6608 h 10000"/>
                <a:gd name="connsiteX47" fmla="*/ 9574 w 10000"/>
                <a:gd name="connsiteY47" fmla="*/ 7157 h 10000"/>
                <a:gd name="connsiteX48" fmla="*/ 9496 w 10000"/>
                <a:gd name="connsiteY48" fmla="*/ 7294 h 10000"/>
                <a:gd name="connsiteX49" fmla="*/ 9419 w 10000"/>
                <a:gd name="connsiteY49" fmla="*/ 7431 h 10000"/>
                <a:gd name="connsiteX50" fmla="*/ 8740 w 10000"/>
                <a:gd name="connsiteY50" fmla="*/ 7412 h 10000"/>
                <a:gd name="connsiteX51" fmla="*/ 8605 w 10000"/>
                <a:gd name="connsiteY51" fmla="*/ 7627 h 10000"/>
                <a:gd name="connsiteX52" fmla="*/ 8547 w 10000"/>
                <a:gd name="connsiteY52" fmla="*/ 7706 h 10000"/>
                <a:gd name="connsiteX53" fmla="*/ 8469 w 10000"/>
                <a:gd name="connsiteY53" fmla="*/ 7804 h 10000"/>
                <a:gd name="connsiteX54" fmla="*/ 8682 w 10000"/>
                <a:gd name="connsiteY54" fmla="*/ 8451 h 10000"/>
                <a:gd name="connsiteX55" fmla="*/ 8566 w 10000"/>
                <a:gd name="connsiteY55" fmla="*/ 8569 h 10000"/>
                <a:gd name="connsiteX56" fmla="*/ 8450 w 10000"/>
                <a:gd name="connsiteY56" fmla="*/ 8686 h 10000"/>
                <a:gd name="connsiteX57" fmla="*/ 7810 w 10000"/>
                <a:gd name="connsiteY57" fmla="*/ 8471 h 10000"/>
                <a:gd name="connsiteX58" fmla="*/ 7616 w 10000"/>
                <a:gd name="connsiteY58" fmla="*/ 8608 h 10000"/>
                <a:gd name="connsiteX59" fmla="*/ 7442 w 10000"/>
                <a:gd name="connsiteY59" fmla="*/ 8745 h 10000"/>
                <a:gd name="connsiteX60" fmla="*/ 7442 w 10000"/>
                <a:gd name="connsiteY60" fmla="*/ 9412 h 10000"/>
                <a:gd name="connsiteX61" fmla="*/ 7287 w 10000"/>
                <a:gd name="connsiteY61" fmla="*/ 9510 h 10000"/>
                <a:gd name="connsiteX62" fmla="*/ 7151 w 10000"/>
                <a:gd name="connsiteY62" fmla="*/ 9569 h 10000"/>
                <a:gd name="connsiteX63" fmla="*/ 6609 w 10000"/>
                <a:gd name="connsiteY63" fmla="*/ 9157 h 10000"/>
                <a:gd name="connsiteX64" fmla="*/ 6395 w 10000"/>
                <a:gd name="connsiteY64" fmla="*/ 9235 h 10000"/>
                <a:gd name="connsiteX65" fmla="*/ 6279 w 10000"/>
                <a:gd name="connsiteY65" fmla="*/ 9275 h 10000"/>
                <a:gd name="connsiteX66" fmla="*/ 6163 w 10000"/>
                <a:gd name="connsiteY66" fmla="*/ 9314 h 10000"/>
                <a:gd name="connsiteX67" fmla="*/ 5950 w 10000"/>
                <a:gd name="connsiteY67" fmla="*/ 9961 h 10000"/>
                <a:gd name="connsiteX68" fmla="*/ 5640 w 10000"/>
                <a:gd name="connsiteY68" fmla="*/ 10000 h 10000"/>
                <a:gd name="connsiteX69" fmla="*/ 5252 w 10000"/>
                <a:gd name="connsiteY69" fmla="*/ 9451 h 10000"/>
                <a:gd name="connsiteX70" fmla="*/ 5019 w 10000"/>
                <a:gd name="connsiteY70" fmla="*/ 9451 h 10000"/>
                <a:gd name="connsiteX71" fmla="*/ 4767 w 10000"/>
                <a:gd name="connsiteY71" fmla="*/ 9451 h 10000"/>
                <a:gd name="connsiteX72" fmla="*/ 4380 w 10000"/>
                <a:gd name="connsiteY72" fmla="*/ 10000 h 10000"/>
                <a:gd name="connsiteX73" fmla="*/ 4225 w 10000"/>
                <a:gd name="connsiteY73" fmla="*/ 9980 h 10000"/>
                <a:gd name="connsiteX74" fmla="*/ 4070 w 10000"/>
                <a:gd name="connsiteY74" fmla="*/ 9961 h 10000"/>
                <a:gd name="connsiteX75" fmla="*/ 3857 w 10000"/>
                <a:gd name="connsiteY75" fmla="*/ 9314 h 10000"/>
                <a:gd name="connsiteX76" fmla="*/ 3624 w 10000"/>
                <a:gd name="connsiteY76" fmla="*/ 9235 h 10000"/>
                <a:gd name="connsiteX77" fmla="*/ 3508 w 10000"/>
                <a:gd name="connsiteY77" fmla="*/ 9216 h 10000"/>
                <a:gd name="connsiteX78" fmla="*/ 3411 w 10000"/>
                <a:gd name="connsiteY78" fmla="*/ 9157 h 10000"/>
                <a:gd name="connsiteX79" fmla="*/ 2868 w 10000"/>
                <a:gd name="connsiteY79" fmla="*/ 9569 h 10000"/>
                <a:gd name="connsiteX80" fmla="*/ 2733 w 10000"/>
                <a:gd name="connsiteY80" fmla="*/ 9510 h 10000"/>
                <a:gd name="connsiteX81" fmla="*/ 2578 w 10000"/>
                <a:gd name="connsiteY81" fmla="*/ 9412 h 10000"/>
                <a:gd name="connsiteX82" fmla="*/ 2597 w 10000"/>
                <a:gd name="connsiteY82" fmla="*/ 8745 h 10000"/>
                <a:gd name="connsiteX83" fmla="*/ 2403 w 10000"/>
                <a:gd name="connsiteY83" fmla="*/ 8608 h 10000"/>
                <a:gd name="connsiteX84" fmla="*/ 2306 w 10000"/>
                <a:gd name="connsiteY84" fmla="*/ 8529 h 10000"/>
                <a:gd name="connsiteX85" fmla="*/ 2209 w 10000"/>
                <a:gd name="connsiteY85" fmla="*/ 8471 h 10000"/>
                <a:gd name="connsiteX86" fmla="*/ 1570 w 10000"/>
                <a:gd name="connsiteY86" fmla="*/ 8686 h 10000"/>
                <a:gd name="connsiteX87" fmla="*/ 1453 w 10000"/>
                <a:gd name="connsiteY87" fmla="*/ 8569 h 10000"/>
                <a:gd name="connsiteX88" fmla="*/ 1337 w 10000"/>
                <a:gd name="connsiteY88" fmla="*/ 8451 h 10000"/>
                <a:gd name="connsiteX89" fmla="*/ 1550 w 10000"/>
                <a:gd name="connsiteY89" fmla="*/ 7804 h 10000"/>
                <a:gd name="connsiteX90" fmla="*/ 1415 w 10000"/>
                <a:gd name="connsiteY90" fmla="*/ 7627 h 10000"/>
                <a:gd name="connsiteX91" fmla="*/ 1279 w 10000"/>
                <a:gd name="connsiteY91" fmla="*/ 7412 h 10000"/>
                <a:gd name="connsiteX92" fmla="*/ 601 w 10000"/>
                <a:gd name="connsiteY92" fmla="*/ 7431 h 10000"/>
                <a:gd name="connsiteX93" fmla="*/ 523 w 10000"/>
                <a:gd name="connsiteY93" fmla="*/ 7294 h 10000"/>
                <a:gd name="connsiteX94" fmla="*/ 446 w 10000"/>
                <a:gd name="connsiteY94" fmla="*/ 7157 h 10000"/>
                <a:gd name="connsiteX95" fmla="*/ 853 w 10000"/>
                <a:gd name="connsiteY95" fmla="*/ 6608 h 10000"/>
                <a:gd name="connsiteX96" fmla="*/ 775 w 10000"/>
                <a:gd name="connsiteY96" fmla="*/ 6392 h 10000"/>
                <a:gd name="connsiteX97" fmla="*/ 756 w 10000"/>
                <a:gd name="connsiteY97" fmla="*/ 6275 h 10000"/>
                <a:gd name="connsiteX98" fmla="*/ 717 w 10000"/>
                <a:gd name="connsiteY98" fmla="*/ 6157 h 10000"/>
                <a:gd name="connsiteX99" fmla="*/ 58 w 10000"/>
                <a:gd name="connsiteY99" fmla="*/ 5941 h 10000"/>
                <a:gd name="connsiteX100" fmla="*/ 0 w 10000"/>
                <a:gd name="connsiteY100" fmla="*/ 5627 h 10000"/>
                <a:gd name="connsiteX101" fmla="*/ 581 w 10000"/>
                <a:gd name="connsiteY101" fmla="*/ 5235 h 10000"/>
                <a:gd name="connsiteX102" fmla="*/ 562 w 10000"/>
                <a:gd name="connsiteY102" fmla="*/ 5000 h 10000"/>
                <a:gd name="connsiteX103" fmla="*/ 581 w 10000"/>
                <a:gd name="connsiteY103" fmla="*/ 4765 h 10000"/>
                <a:gd name="connsiteX104" fmla="*/ 0 w 10000"/>
                <a:gd name="connsiteY104" fmla="*/ 4392 h 10000"/>
                <a:gd name="connsiteX105" fmla="*/ 19 w 10000"/>
                <a:gd name="connsiteY105" fmla="*/ 4216 h 10000"/>
                <a:gd name="connsiteX106" fmla="*/ 58 w 10000"/>
                <a:gd name="connsiteY106" fmla="*/ 4059 h 10000"/>
                <a:gd name="connsiteX107" fmla="*/ 717 w 10000"/>
                <a:gd name="connsiteY107" fmla="*/ 3863 h 10000"/>
                <a:gd name="connsiteX108" fmla="*/ 775 w 10000"/>
                <a:gd name="connsiteY108" fmla="*/ 3627 h 10000"/>
                <a:gd name="connsiteX109" fmla="*/ 814 w 10000"/>
                <a:gd name="connsiteY109" fmla="*/ 3510 h 10000"/>
                <a:gd name="connsiteX110" fmla="*/ 853 w 10000"/>
                <a:gd name="connsiteY110" fmla="*/ 3392 h 10000"/>
                <a:gd name="connsiteX111" fmla="*/ 446 w 10000"/>
                <a:gd name="connsiteY111" fmla="*/ 2863 h 10000"/>
                <a:gd name="connsiteX112" fmla="*/ 523 w 10000"/>
                <a:gd name="connsiteY112" fmla="*/ 2706 h 10000"/>
                <a:gd name="connsiteX113" fmla="*/ 601 w 10000"/>
                <a:gd name="connsiteY113" fmla="*/ 2588 h 10000"/>
                <a:gd name="connsiteX114" fmla="*/ 1279 w 10000"/>
                <a:gd name="connsiteY114" fmla="*/ 2588 h 10000"/>
                <a:gd name="connsiteX0" fmla="*/ 3740 w 10000"/>
                <a:gd name="connsiteY0" fmla="*/ 725 h 10000"/>
                <a:gd name="connsiteX1" fmla="*/ 3857 w 10000"/>
                <a:gd name="connsiteY1" fmla="*/ 706 h 10000"/>
                <a:gd name="connsiteX2" fmla="*/ 4070 w 10000"/>
                <a:gd name="connsiteY2" fmla="*/ 59 h 10000"/>
                <a:gd name="connsiteX3" fmla="*/ 4380 w 10000"/>
                <a:gd name="connsiteY3" fmla="*/ 0 h 10000"/>
                <a:gd name="connsiteX4" fmla="*/ 4767 w 10000"/>
                <a:gd name="connsiteY4" fmla="*/ 569 h 10000"/>
                <a:gd name="connsiteX5" fmla="*/ 5019 w 10000"/>
                <a:gd name="connsiteY5" fmla="*/ 549 h 10000"/>
                <a:gd name="connsiteX6" fmla="*/ 5252 w 10000"/>
                <a:gd name="connsiteY6" fmla="*/ 569 h 10000"/>
                <a:gd name="connsiteX7" fmla="*/ 5640 w 10000"/>
                <a:gd name="connsiteY7" fmla="*/ 0 h 10000"/>
                <a:gd name="connsiteX8" fmla="*/ 5795 w 10000"/>
                <a:gd name="connsiteY8" fmla="*/ 20 h 10000"/>
                <a:gd name="connsiteX9" fmla="*/ 5950 w 10000"/>
                <a:gd name="connsiteY9" fmla="*/ 59 h 10000"/>
                <a:gd name="connsiteX10" fmla="*/ 6163 w 10000"/>
                <a:gd name="connsiteY10" fmla="*/ 706 h 10000"/>
                <a:gd name="connsiteX11" fmla="*/ 6395 w 10000"/>
                <a:gd name="connsiteY11" fmla="*/ 765 h 10000"/>
                <a:gd name="connsiteX12" fmla="*/ 6492 w 10000"/>
                <a:gd name="connsiteY12" fmla="*/ 804 h 10000"/>
                <a:gd name="connsiteX13" fmla="*/ 6609 w 10000"/>
                <a:gd name="connsiteY13" fmla="*/ 843 h 10000"/>
                <a:gd name="connsiteX14" fmla="*/ 7151 w 10000"/>
                <a:gd name="connsiteY14" fmla="*/ 451 h 10000"/>
                <a:gd name="connsiteX15" fmla="*/ 7287 w 10000"/>
                <a:gd name="connsiteY15" fmla="*/ 510 h 10000"/>
                <a:gd name="connsiteX16" fmla="*/ 7442 w 10000"/>
                <a:gd name="connsiteY16" fmla="*/ 588 h 10000"/>
                <a:gd name="connsiteX17" fmla="*/ 7442 w 10000"/>
                <a:gd name="connsiteY17" fmla="*/ 1275 h 10000"/>
                <a:gd name="connsiteX18" fmla="*/ 7616 w 10000"/>
                <a:gd name="connsiteY18" fmla="*/ 1412 h 10000"/>
                <a:gd name="connsiteX19" fmla="*/ 7713 w 10000"/>
                <a:gd name="connsiteY19" fmla="*/ 1471 h 10000"/>
                <a:gd name="connsiteX20" fmla="*/ 7810 w 10000"/>
                <a:gd name="connsiteY20" fmla="*/ 1549 h 10000"/>
                <a:gd name="connsiteX21" fmla="*/ 8450 w 10000"/>
                <a:gd name="connsiteY21" fmla="*/ 1333 h 10000"/>
                <a:gd name="connsiteX22" fmla="*/ 8566 w 10000"/>
                <a:gd name="connsiteY22" fmla="*/ 1451 h 10000"/>
                <a:gd name="connsiteX23" fmla="*/ 8682 w 10000"/>
                <a:gd name="connsiteY23" fmla="*/ 1569 h 10000"/>
                <a:gd name="connsiteX24" fmla="*/ 8469 w 10000"/>
                <a:gd name="connsiteY24" fmla="*/ 2216 h 10000"/>
                <a:gd name="connsiteX25" fmla="*/ 8605 w 10000"/>
                <a:gd name="connsiteY25" fmla="*/ 2392 h 10000"/>
                <a:gd name="connsiteX26" fmla="*/ 8740 w 10000"/>
                <a:gd name="connsiteY26" fmla="*/ 2588 h 10000"/>
                <a:gd name="connsiteX27" fmla="*/ 9419 w 10000"/>
                <a:gd name="connsiteY27" fmla="*/ 2588 h 10000"/>
                <a:gd name="connsiteX28" fmla="*/ 9496 w 10000"/>
                <a:gd name="connsiteY28" fmla="*/ 2706 h 10000"/>
                <a:gd name="connsiteX29" fmla="*/ 9574 w 10000"/>
                <a:gd name="connsiteY29" fmla="*/ 2863 h 10000"/>
                <a:gd name="connsiteX30" fmla="*/ 9167 w 10000"/>
                <a:gd name="connsiteY30" fmla="*/ 3392 h 10000"/>
                <a:gd name="connsiteX31" fmla="*/ 9244 w 10000"/>
                <a:gd name="connsiteY31" fmla="*/ 3627 h 10000"/>
                <a:gd name="connsiteX32" fmla="*/ 9283 w 10000"/>
                <a:gd name="connsiteY32" fmla="*/ 3745 h 10000"/>
                <a:gd name="connsiteX33" fmla="*/ 9302 w 10000"/>
                <a:gd name="connsiteY33" fmla="*/ 3863 h 10000"/>
                <a:gd name="connsiteX34" fmla="*/ 9961 w 10000"/>
                <a:gd name="connsiteY34" fmla="*/ 4059 h 10000"/>
                <a:gd name="connsiteX35" fmla="*/ 10000 w 10000"/>
                <a:gd name="connsiteY35" fmla="*/ 4392 h 10000"/>
                <a:gd name="connsiteX36" fmla="*/ 9438 w 10000"/>
                <a:gd name="connsiteY36" fmla="*/ 4765 h 10000"/>
                <a:gd name="connsiteX37" fmla="*/ 9457 w 10000"/>
                <a:gd name="connsiteY37" fmla="*/ 5000 h 10000"/>
                <a:gd name="connsiteX38" fmla="*/ 9438 w 10000"/>
                <a:gd name="connsiteY38" fmla="*/ 5235 h 10000"/>
                <a:gd name="connsiteX39" fmla="*/ 10000 w 10000"/>
                <a:gd name="connsiteY39" fmla="*/ 5627 h 10000"/>
                <a:gd name="connsiteX40" fmla="*/ 9981 w 10000"/>
                <a:gd name="connsiteY40" fmla="*/ 5784 h 10000"/>
                <a:gd name="connsiteX41" fmla="*/ 9961 w 10000"/>
                <a:gd name="connsiteY41" fmla="*/ 5941 h 10000"/>
                <a:gd name="connsiteX42" fmla="*/ 9302 w 10000"/>
                <a:gd name="connsiteY42" fmla="*/ 6157 h 10000"/>
                <a:gd name="connsiteX43" fmla="*/ 9244 w 10000"/>
                <a:gd name="connsiteY43" fmla="*/ 6392 h 10000"/>
                <a:gd name="connsiteX44" fmla="*/ 9205 w 10000"/>
                <a:gd name="connsiteY44" fmla="*/ 6490 h 10000"/>
                <a:gd name="connsiteX45" fmla="*/ 9167 w 10000"/>
                <a:gd name="connsiteY45" fmla="*/ 6608 h 10000"/>
                <a:gd name="connsiteX46" fmla="*/ 9574 w 10000"/>
                <a:gd name="connsiteY46" fmla="*/ 7157 h 10000"/>
                <a:gd name="connsiteX47" fmla="*/ 9496 w 10000"/>
                <a:gd name="connsiteY47" fmla="*/ 7294 h 10000"/>
                <a:gd name="connsiteX48" fmla="*/ 9419 w 10000"/>
                <a:gd name="connsiteY48" fmla="*/ 7431 h 10000"/>
                <a:gd name="connsiteX49" fmla="*/ 8740 w 10000"/>
                <a:gd name="connsiteY49" fmla="*/ 7412 h 10000"/>
                <a:gd name="connsiteX50" fmla="*/ 8605 w 10000"/>
                <a:gd name="connsiteY50" fmla="*/ 7627 h 10000"/>
                <a:gd name="connsiteX51" fmla="*/ 8547 w 10000"/>
                <a:gd name="connsiteY51" fmla="*/ 7706 h 10000"/>
                <a:gd name="connsiteX52" fmla="*/ 8469 w 10000"/>
                <a:gd name="connsiteY52" fmla="*/ 7804 h 10000"/>
                <a:gd name="connsiteX53" fmla="*/ 8682 w 10000"/>
                <a:gd name="connsiteY53" fmla="*/ 8451 h 10000"/>
                <a:gd name="connsiteX54" fmla="*/ 8566 w 10000"/>
                <a:gd name="connsiteY54" fmla="*/ 8569 h 10000"/>
                <a:gd name="connsiteX55" fmla="*/ 8450 w 10000"/>
                <a:gd name="connsiteY55" fmla="*/ 8686 h 10000"/>
                <a:gd name="connsiteX56" fmla="*/ 7810 w 10000"/>
                <a:gd name="connsiteY56" fmla="*/ 8471 h 10000"/>
                <a:gd name="connsiteX57" fmla="*/ 7616 w 10000"/>
                <a:gd name="connsiteY57" fmla="*/ 8608 h 10000"/>
                <a:gd name="connsiteX58" fmla="*/ 7442 w 10000"/>
                <a:gd name="connsiteY58" fmla="*/ 8745 h 10000"/>
                <a:gd name="connsiteX59" fmla="*/ 7442 w 10000"/>
                <a:gd name="connsiteY59" fmla="*/ 9412 h 10000"/>
                <a:gd name="connsiteX60" fmla="*/ 7287 w 10000"/>
                <a:gd name="connsiteY60" fmla="*/ 9510 h 10000"/>
                <a:gd name="connsiteX61" fmla="*/ 7151 w 10000"/>
                <a:gd name="connsiteY61" fmla="*/ 9569 h 10000"/>
                <a:gd name="connsiteX62" fmla="*/ 6609 w 10000"/>
                <a:gd name="connsiteY62" fmla="*/ 9157 h 10000"/>
                <a:gd name="connsiteX63" fmla="*/ 6395 w 10000"/>
                <a:gd name="connsiteY63" fmla="*/ 9235 h 10000"/>
                <a:gd name="connsiteX64" fmla="*/ 6279 w 10000"/>
                <a:gd name="connsiteY64" fmla="*/ 9275 h 10000"/>
                <a:gd name="connsiteX65" fmla="*/ 6163 w 10000"/>
                <a:gd name="connsiteY65" fmla="*/ 9314 h 10000"/>
                <a:gd name="connsiteX66" fmla="*/ 5950 w 10000"/>
                <a:gd name="connsiteY66" fmla="*/ 9961 h 10000"/>
                <a:gd name="connsiteX67" fmla="*/ 5640 w 10000"/>
                <a:gd name="connsiteY67" fmla="*/ 10000 h 10000"/>
                <a:gd name="connsiteX68" fmla="*/ 5252 w 10000"/>
                <a:gd name="connsiteY68" fmla="*/ 9451 h 10000"/>
                <a:gd name="connsiteX69" fmla="*/ 5019 w 10000"/>
                <a:gd name="connsiteY69" fmla="*/ 9451 h 10000"/>
                <a:gd name="connsiteX70" fmla="*/ 4767 w 10000"/>
                <a:gd name="connsiteY70" fmla="*/ 9451 h 10000"/>
                <a:gd name="connsiteX71" fmla="*/ 4380 w 10000"/>
                <a:gd name="connsiteY71" fmla="*/ 10000 h 10000"/>
                <a:gd name="connsiteX72" fmla="*/ 4225 w 10000"/>
                <a:gd name="connsiteY72" fmla="*/ 9980 h 10000"/>
                <a:gd name="connsiteX73" fmla="*/ 4070 w 10000"/>
                <a:gd name="connsiteY73" fmla="*/ 9961 h 10000"/>
                <a:gd name="connsiteX74" fmla="*/ 3857 w 10000"/>
                <a:gd name="connsiteY74" fmla="*/ 9314 h 10000"/>
                <a:gd name="connsiteX75" fmla="*/ 3624 w 10000"/>
                <a:gd name="connsiteY75" fmla="*/ 9235 h 10000"/>
                <a:gd name="connsiteX76" fmla="*/ 3508 w 10000"/>
                <a:gd name="connsiteY76" fmla="*/ 9216 h 10000"/>
                <a:gd name="connsiteX77" fmla="*/ 3411 w 10000"/>
                <a:gd name="connsiteY77" fmla="*/ 9157 h 10000"/>
                <a:gd name="connsiteX78" fmla="*/ 2868 w 10000"/>
                <a:gd name="connsiteY78" fmla="*/ 9569 h 10000"/>
                <a:gd name="connsiteX79" fmla="*/ 2733 w 10000"/>
                <a:gd name="connsiteY79" fmla="*/ 9510 h 10000"/>
                <a:gd name="connsiteX80" fmla="*/ 2578 w 10000"/>
                <a:gd name="connsiteY80" fmla="*/ 9412 h 10000"/>
                <a:gd name="connsiteX81" fmla="*/ 2597 w 10000"/>
                <a:gd name="connsiteY81" fmla="*/ 8745 h 10000"/>
                <a:gd name="connsiteX82" fmla="*/ 2403 w 10000"/>
                <a:gd name="connsiteY82" fmla="*/ 8608 h 10000"/>
                <a:gd name="connsiteX83" fmla="*/ 2306 w 10000"/>
                <a:gd name="connsiteY83" fmla="*/ 8529 h 10000"/>
                <a:gd name="connsiteX84" fmla="*/ 2209 w 10000"/>
                <a:gd name="connsiteY84" fmla="*/ 8471 h 10000"/>
                <a:gd name="connsiteX85" fmla="*/ 1570 w 10000"/>
                <a:gd name="connsiteY85" fmla="*/ 8686 h 10000"/>
                <a:gd name="connsiteX86" fmla="*/ 1453 w 10000"/>
                <a:gd name="connsiteY86" fmla="*/ 8569 h 10000"/>
                <a:gd name="connsiteX87" fmla="*/ 1337 w 10000"/>
                <a:gd name="connsiteY87" fmla="*/ 8451 h 10000"/>
                <a:gd name="connsiteX88" fmla="*/ 1550 w 10000"/>
                <a:gd name="connsiteY88" fmla="*/ 7804 h 10000"/>
                <a:gd name="connsiteX89" fmla="*/ 1415 w 10000"/>
                <a:gd name="connsiteY89" fmla="*/ 7627 h 10000"/>
                <a:gd name="connsiteX90" fmla="*/ 1279 w 10000"/>
                <a:gd name="connsiteY90" fmla="*/ 7412 h 10000"/>
                <a:gd name="connsiteX91" fmla="*/ 601 w 10000"/>
                <a:gd name="connsiteY91" fmla="*/ 7431 h 10000"/>
                <a:gd name="connsiteX92" fmla="*/ 523 w 10000"/>
                <a:gd name="connsiteY92" fmla="*/ 7294 h 10000"/>
                <a:gd name="connsiteX93" fmla="*/ 446 w 10000"/>
                <a:gd name="connsiteY93" fmla="*/ 7157 h 10000"/>
                <a:gd name="connsiteX94" fmla="*/ 853 w 10000"/>
                <a:gd name="connsiteY94" fmla="*/ 6608 h 10000"/>
                <a:gd name="connsiteX95" fmla="*/ 775 w 10000"/>
                <a:gd name="connsiteY95" fmla="*/ 6392 h 10000"/>
                <a:gd name="connsiteX96" fmla="*/ 756 w 10000"/>
                <a:gd name="connsiteY96" fmla="*/ 6275 h 10000"/>
                <a:gd name="connsiteX97" fmla="*/ 717 w 10000"/>
                <a:gd name="connsiteY97" fmla="*/ 6157 h 10000"/>
                <a:gd name="connsiteX98" fmla="*/ 58 w 10000"/>
                <a:gd name="connsiteY98" fmla="*/ 5941 h 10000"/>
                <a:gd name="connsiteX99" fmla="*/ 0 w 10000"/>
                <a:gd name="connsiteY99" fmla="*/ 5627 h 10000"/>
                <a:gd name="connsiteX100" fmla="*/ 581 w 10000"/>
                <a:gd name="connsiteY100" fmla="*/ 5235 h 10000"/>
                <a:gd name="connsiteX101" fmla="*/ 562 w 10000"/>
                <a:gd name="connsiteY101" fmla="*/ 5000 h 10000"/>
                <a:gd name="connsiteX102" fmla="*/ 581 w 10000"/>
                <a:gd name="connsiteY102" fmla="*/ 4765 h 10000"/>
                <a:gd name="connsiteX103" fmla="*/ 0 w 10000"/>
                <a:gd name="connsiteY103" fmla="*/ 4392 h 10000"/>
                <a:gd name="connsiteX104" fmla="*/ 19 w 10000"/>
                <a:gd name="connsiteY104" fmla="*/ 4216 h 10000"/>
                <a:gd name="connsiteX105" fmla="*/ 58 w 10000"/>
                <a:gd name="connsiteY105" fmla="*/ 4059 h 10000"/>
                <a:gd name="connsiteX106" fmla="*/ 717 w 10000"/>
                <a:gd name="connsiteY106" fmla="*/ 3863 h 10000"/>
                <a:gd name="connsiteX107" fmla="*/ 775 w 10000"/>
                <a:gd name="connsiteY107" fmla="*/ 3627 h 10000"/>
                <a:gd name="connsiteX108" fmla="*/ 814 w 10000"/>
                <a:gd name="connsiteY108" fmla="*/ 3510 h 10000"/>
                <a:gd name="connsiteX109" fmla="*/ 853 w 10000"/>
                <a:gd name="connsiteY109" fmla="*/ 3392 h 10000"/>
                <a:gd name="connsiteX110" fmla="*/ 446 w 10000"/>
                <a:gd name="connsiteY110" fmla="*/ 2863 h 10000"/>
                <a:gd name="connsiteX111" fmla="*/ 523 w 10000"/>
                <a:gd name="connsiteY111" fmla="*/ 2706 h 10000"/>
                <a:gd name="connsiteX112" fmla="*/ 601 w 10000"/>
                <a:gd name="connsiteY112" fmla="*/ 2588 h 10000"/>
                <a:gd name="connsiteX113" fmla="*/ 1279 w 10000"/>
                <a:gd name="connsiteY113" fmla="*/ 2588 h 10000"/>
                <a:gd name="connsiteX0" fmla="*/ 3740 w 10000"/>
                <a:gd name="connsiteY0" fmla="*/ 725 h 10000"/>
                <a:gd name="connsiteX1" fmla="*/ 4070 w 10000"/>
                <a:gd name="connsiteY1" fmla="*/ 59 h 10000"/>
                <a:gd name="connsiteX2" fmla="*/ 4380 w 10000"/>
                <a:gd name="connsiteY2" fmla="*/ 0 h 10000"/>
                <a:gd name="connsiteX3" fmla="*/ 4767 w 10000"/>
                <a:gd name="connsiteY3" fmla="*/ 569 h 10000"/>
                <a:gd name="connsiteX4" fmla="*/ 5019 w 10000"/>
                <a:gd name="connsiteY4" fmla="*/ 549 h 10000"/>
                <a:gd name="connsiteX5" fmla="*/ 5252 w 10000"/>
                <a:gd name="connsiteY5" fmla="*/ 569 h 10000"/>
                <a:gd name="connsiteX6" fmla="*/ 5640 w 10000"/>
                <a:gd name="connsiteY6" fmla="*/ 0 h 10000"/>
                <a:gd name="connsiteX7" fmla="*/ 5795 w 10000"/>
                <a:gd name="connsiteY7" fmla="*/ 20 h 10000"/>
                <a:gd name="connsiteX8" fmla="*/ 5950 w 10000"/>
                <a:gd name="connsiteY8" fmla="*/ 59 h 10000"/>
                <a:gd name="connsiteX9" fmla="*/ 6163 w 10000"/>
                <a:gd name="connsiteY9" fmla="*/ 706 h 10000"/>
                <a:gd name="connsiteX10" fmla="*/ 6395 w 10000"/>
                <a:gd name="connsiteY10" fmla="*/ 765 h 10000"/>
                <a:gd name="connsiteX11" fmla="*/ 6492 w 10000"/>
                <a:gd name="connsiteY11" fmla="*/ 804 h 10000"/>
                <a:gd name="connsiteX12" fmla="*/ 6609 w 10000"/>
                <a:gd name="connsiteY12" fmla="*/ 843 h 10000"/>
                <a:gd name="connsiteX13" fmla="*/ 7151 w 10000"/>
                <a:gd name="connsiteY13" fmla="*/ 451 h 10000"/>
                <a:gd name="connsiteX14" fmla="*/ 7287 w 10000"/>
                <a:gd name="connsiteY14" fmla="*/ 510 h 10000"/>
                <a:gd name="connsiteX15" fmla="*/ 7442 w 10000"/>
                <a:gd name="connsiteY15" fmla="*/ 588 h 10000"/>
                <a:gd name="connsiteX16" fmla="*/ 7442 w 10000"/>
                <a:gd name="connsiteY16" fmla="*/ 1275 h 10000"/>
                <a:gd name="connsiteX17" fmla="*/ 7616 w 10000"/>
                <a:gd name="connsiteY17" fmla="*/ 1412 h 10000"/>
                <a:gd name="connsiteX18" fmla="*/ 7713 w 10000"/>
                <a:gd name="connsiteY18" fmla="*/ 1471 h 10000"/>
                <a:gd name="connsiteX19" fmla="*/ 7810 w 10000"/>
                <a:gd name="connsiteY19" fmla="*/ 1549 h 10000"/>
                <a:gd name="connsiteX20" fmla="*/ 8450 w 10000"/>
                <a:gd name="connsiteY20" fmla="*/ 1333 h 10000"/>
                <a:gd name="connsiteX21" fmla="*/ 8566 w 10000"/>
                <a:gd name="connsiteY21" fmla="*/ 1451 h 10000"/>
                <a:gd name="connsiteX22" fmla="*/ 8682 w 10000"/>
                <a:gd name="connsiteY22" fmla="*/ 1569 h 10000"/>
                <a:gd name="connsiteX23" fmla="*/ 8469 w 10000"/>
                <a:gd name="connsiteY23" fmla="*/ 2216 h 10000"/>
                <a:gd name="connsiteX24" fmla="*/ 8605 w 10000"/>
                <a:gd name="connsiteY24" fmla="*/ 2392 h 10000"/>
                <a:gd name="connsiteX25" fmla="*/ 8740 w 10000"/>
                <a:gd name="connsiteY25" fmla="*/ 2588 h 10000"/>
                <a:gd name="connsiteX26" fmla="*/ 9419 w 10000"/>
                <a:gd name="connsiteY26" fmla="*/ 2588 h 10000"/>
                <a:gd name="connsiteX27" fmla="*/ 9496 w 10000"/>
                <a:gd name="connsiteY27" fmla="*/ 2706 h 10000"/>
                <a:gd name="connsiteX28" fmla="*/ 9574 w 10000"/>
                <a:gd name="connsiteY28" fmla="*/ 2863 h 10000"/>
                <a:gd name="connsiteX29" fmla="*/ 9167 w 10000"/>
                <a:gd name="connsiteY29" fmla="*/ 3392 h 10000"/>
                <a:gd name="connsiteX30" fmla="*/ 9244 w 10000"/>
                <a:gd name="connsiteY30" fmla="*/ 3627 h 10000"/>
                <a:gd name="connsiteX31" fmla="*/ 9283 w 10000"/>
                <a:gd name="connsiteY31" fmla="*/ 3745 h 10000"/>
                <a:gd name="connsiteX32" fmla="*/ 9302 w 10000"/>
                <a:gd name="connsiteY32" fmla="*/ 3863 h 10000"/>
                <a:gd name="connsiteX33" fmla="*/ 9961 w 10000"/>
                <a:gd name="connsiteY33" fmla="*/ 4059 h 10000"/>
                <a:gd name="connsiteX34" fmla="*/ 10000 w 10000"/>
                <a:gd name="connsiteY34" fmla="*/ 4392 h 10000"/>
                <a:gd name="connsiteX35" fmla="*/ 9438 w 10000"/>
                <a:gd name="connsiteY35" fmla="*/ 4765 h 10000"/>
                <a:gd name="connsiteX36" fmla="*/ 9457 w 10000"/>
                <a:gd name="connsiteY36" fmla="*/ 5000 h 10000"/>
                <a:gd name="connsiteX37" fmla="*/ 9438 w 10000"/>
                <a:gd name="connsiteY37" fmla="*/ 5235 h 10000"/>
                <a:gd name="connsiteX38" fmla="*/ 10000 w 10000"/>
                <a:gd name="connsiteY38" fmla="*/ 5627 h 10000"/>
                <a:gd name="connsiteX39" fmla="*/ 9981 w 10000"/>
                <a:gd name="connsiteY39" fmla="*/ 5784 h 10000"/>
                <a:gd name="connsiteX40" fmla="*/ 9961 w 10000"/>
                <a:gd name="connsiteY40" fmla="*/ 5941 h 10000"/>
                <a:gd name="connsiteX41" fmla="*/ 9302 w 10000"/>
                <a:gd name="connsiteY41" fmla="*/ 6157 h 10000"/>
                <a:gd name="connsiteX42" fmla="*/ 9244 w 10000"/>
                <a:gd name="connsiteY42" fmla="*/ 6392 h 10000"/>
                <a:gd name="connsiteX43" fmla="*/ 9205 w 10000"/>
                <a:gd name="connsiteY43" fmla="*/ 6490 h 10000"/>
                <a:gd name="connsiteX44" fmla="*/ 9167 w 10000"/>
                <a:gd name="connsiteY44" fmla="*/ 6608 h 10000"/>
                <a:gd name="connsiteX45" fmla="*/ 9574 w 10000"/>
                <a:gd name="connsiteY45" fmla="*/ 7157 h 10000"/>
                <a:gd name="connsiteX46" fmla="*/ 9496 w 10000"/>
                <a:gd name="connsiteY46" fmla="*/ 7294 h 10000"/>
                <a:gd name="connsiteX47" fmla="*/ 9419 w 10000"/>
                <a:gd name="connsiteY47" fmla="*/ 7431 h 10000"/>
                <a:gd name="connsiteX48" fmla="*/ 8740 w 10000"/>
                <a:gd name="connsiteY48" fmla="*/ 7412 h 10000"/>
                <a:gd name="connsiteX49" fmla="*/ 8605 w 10000"/>
                <a:gd name="connsiteY49" fmla="*/ 7627 h 10000"/>
                <a:gd name="connsiteX50" fmla="*/ 8547 w 10000"/>
                <a:gd name="connsiteY50" fmla="*/ 7706 h 10000"/>
                <a:gd name="connsiteX51" fmla="*/ 8469 w 10000"/>
                <a:gd name="connsiteY51" fmla="*/ 7804 h 10000"/>
                <a:gd name="connsiteX52" fmla="*/ 8682 w 10000"/>
                <a:gd name="connsiteY52" fmla="*/ 8451 h 10000"/>
                <a:gd name="connsiteX53" fmla="*/ 8566 w 10000"/>
                <a:gd name="connsiteY53" fmla="*/ 8569 h 10000"/>
                <a:gd name="connsiteX54" fmla="*/ 8450 w 10000"/>
                <a:gd name="connsiteY54" fmla="*/ 8686 h 10000"/>
                <a:gd name="connsiteX55" fmla="*/ 7810 w 10000"/>
                <a:gd name="connsiteY55" fmla="*/ 8471 h 10000"/>
                <a:gd name="connsiteX56" fmla="*/ 7616 w 10000"/>
                <a:gd name="connsiteY56" fmla="*/ 8608 h 10000"/>
                <a:gd name="connsiteX57" fmla="*/ 7442 w 10000"/>
                <a:gd name="connsiteY57" fmla="*/ 8745 h 10000"/>
                <a:gd name="connsiteX58" fmla="*/ 7442 w 10000"/>
                <a:gd name="connsiteY58" fmla="*/ 9412 h 10000"/>
                <a:gd name="connsiteX59" fmla="*/ 7287 w 10000"/>
                <a:gd name="connsiteY59" fmla="*/ 9510 h 10000"/>
                <a:gd name="connsiteX60" fmla="*/ 7151 w 10000"/>
                <a:gd name="connsiteY60" fmla="*/ 9569 h 10000"/>
                <a:gd name="connsiteX61" fmla="*/ 6609 w 10000"/>
                <a:gd name="connsiteY61" fmla="*/ 9157 h 10000"/>
                <a:gd name="connsiteX62" fmla="*/ 6395 w 10000"/>
                <a:gd name="connsiteY62" fmla="*/ 9235 h 10000"/>
                <a:gd name="connsiteX63" fmla="*/ 6279 w 10000"/>
                <a:gd name="connsiteY63" fmla="*/ 9275 h 10000"/>
                <a:gd name="connsiteX64" fmla="*/ 6163 w 10000"/>
                <a:gd name="connsiteY64" fmla="*/ 9314 h 10000"/>
                <a:gd name="connsiteX65" fmla="*/ 5950 w 10000"/>
                <a:gd name="connsiteY65" fmla="*/ 9961 h 10000"/>
                <a:gd name="connsiteX66" fmla="*/ 5640 w 10000"/>
                <a:gd name="connsiteY66" fmla="*/ 10000 h 10000"/>
                <a:gd name="connsiteX67" fmla="*/ 5252 w 10000"/>
                <a:gd name="connsiteY67" fmla="*/ 9451 h 10000"/>
                <a:gd name="connsiteX68" fmla="*/ 5019 w 10000"/>
                <a:gd name="connsiteY68" fmla="*/ 9451 h 10000"/>
                <a:gd name="connsiteX69" fmla="*/ 4767 w 10000"/>
                <a:gd name="connsiteY69" fmla="*/ 9451 h 10000"/>
                <a:gd name="connsiteX70" fmla="*/ 4380 w 10000"/>
                <a:gd name="connsiteY70" fmla="*/ 10000 h 10000"/>
                <a:gd name="connsiteX71" fmla="*/ 4225 w 10000"/>
                <a:gd name="connsiteY71" fmla="*/ 9980 h 10000"/>
                <a:gd name="connsiteX72" fmla="*/ 4070 w 10000"/>
                <a:gd name="connsiteY72" fmla="*/ 9961 h 10000"/>
                <a:gd name="connsiteX73" fmla="*/ 3857 w 10000"/>
                <a:gd name="connsiteY73" fmla="*/ 9314 h 10000"/>
                <a:gd name="connsiteX74" fmla="*/ 3624 w 10000"/>
                <a:gd name="connsiteY74" fmla="*/ 9235 h 10000"/>
                <a:gd name="connsiteX75" fmla="*/ 3508 w 10000"/>
                <a:gd name="connsiteY75" fmla="*/ 9216 h 10000"/>
                <a:gd name="connsiteX76" fmla="*/ 3411 w 10000"/>
                <a:gd name="connsiteY76" fmla="*/ 9157 h 10000"/>
                <a:gd name="connsiteX77" fmla="*/ 2868 w 10000"/>
                <a:gd name="connsiteY77" fmla="*/ 9569 h 10000"/>
                <a:gd name="connsiteX78" fmla="*/ 2733 w 10000"/>
                <a:gd name="connsiteY78" fmla="*/ 9510 h 10000"/>
                <a:gd name="connsiteX79" fmla="*/ 2578 w 10000"/>
                <a:gd name="connsiteY79" fmla="*/ 9412 h 10000"/>
                <a:gd name="connsiteX80" fmla="*/ 2597 w 10000"/>
                <a:gd name="connsiteY80" fmla="*/ 8745 h 10000"/>
                <a:gd name="connsiteX81" fmla="*/ 2403 w 10000"/>
                <a:gd name="connsiteY81" fmla="*/ 8608 h 10000"/>
                <a:gd name="connsiteX82" fmla="*/ 2306 w 10000"/>
                <a:gd name="connsiteY82" fmla="*/ 8529 h 10000"/>
                <a:gd name="connsiteX83" fmla="*/ 2209 w 10000"/>
                <a:gd name="connsiteY83" fmla="*/ 8471 h 10000"/>
                <a:gd name="connsiteX84" fmla="*/ 1570 w 10000"/>
                <a:gd name="connsiteY84" fmla="*/ 8686 h 10000"/>
                <a:gd name="connsiteX85" fmla="*/ 1453 w 10000"/>
                <a:gd name="connsiteY85" fmla="*/ 8569 h 10000"/>
                <a:gd name="connsiteX86" fmla="*/ 1337 w 10000"/>
                <a:gd name="connsiteY86" fmla="*/ 8451 h 10000"/>
                <a:gd name="connsiteX87" fmla="*/ 1550 w 10000"/>
                <a:gd name="connsiteY87" fmla="*/ 7804 h 10000"/>
                <a:gd name="connsiteX88" fmla="*/ 1415 w 10000"/>
                <a:gd name="connsiteY88" fmla="*/ 7627 h 10000"/>
                <a:gd name="connsiteX89" fmla="*/ 1279 w 10000"/>
                <a:gd name="connsiteY89" fmla="*/ 7412 h 10000"/>
                <a:gd name="connsiteX90" fmla="*/ 601 w 10000"/>
                <a:gd name="connsiteY90" fmla="*/ 7431 h 10000"/>
                <a:gd name="connsiteX91" fmla="*/ 523 w 10000"/>
                <a:gd name="connsiteY91" fmla="*/ 7294 h 10000"/>
                <a:gd name="connsiteX92" fmla="*/ 446 w 10000"/>
                <a:gd name="connsiteY92" fmla="*/ 7157 h 10000"/>
                <a:gd name="connsiteX93" fmla="*/ 853 w 10000"/>
                <a:gd name="connsiteY93" fmla="*/ 6608 h 10000"/>
                <a:gd name="connsiteX94" fmla="*/ 775 w 10000"/>
                <a:gd name="connsiteY94" fmla="*/ 6392 h 10000"/>
                <a:gd name="connsiteX95" fmla="*/ 756 w 10000"/>
                <a:gd name="connsiteY95" fmla="*/ 6275 h 10000"/>
                <a:gd name="connsiteX96" fmla="*/ 717 w 10000"/>
                <a:gd name="connsiteY96" fmla="*/ 6157 h 10000"/>
                <a:gd name="connsiteX97" fmla="*/ 58 w 10000"/>
                <a:gd name="connsiteY97" fmla="*/ 5941 h 10000"/>
                <a:gd name="connsiteX98" fmla="*/ 0 w 10000"/>
                <a:gd name="connsiteY98" fmla="*/ 5627 h 10000"/>
                <a:gd name="connsiteX99" fmla="*/ 581 w 10000"/>
                <a:gd name="connsiteY99" fmla="*/ 5235 h 10000"/>
                <a:gd name="connsiteX100" fmla="*/ 562 w 10000"/>
                <a:gd name="connsiteY100" fmla="*/ 5000 h 10000"/>
                <a:gd name="connsiteX101" fmla="*/ 581 w 10000"/>
                <a:gd name="connsiteY101" fmla="*/ 4765 h 10000"/>
                <a:gd name="connsiteX102" fmla="*/ 0 w 10000"/>
                <a:gd name="connsiteY102" fmla="*/ 4392 h 10000"/>
                <a:gd name="connsiteX103" fmla="*/ 19 w 10000"/>
                <a:gd name="connsiteY103" fmla="*/ 4216 h 10000"/>
                <a:gd name="connsiteX104" fmla="*/ 58 w 10000"/>
                <a:gd name="connsiteY104" fmla="*/ 4059 h 10000"/>
                <a:gd name="connsiteX105" fmla="*/ 717 w 10000"/>
                <a:gd name="connsiteY105" fmla="*/ 3863 h 10000"/>
                <a:gd name="connsiteX106" fmla="*/ 775 w 10000"/>
                <a:gd name="connsiteY106" fmla="*/ 3627 h 10000"/>
                <a:gd name="connsiteX107" fmla="*/ 814 w 10000"/>
                <a:gd name="connsiteY107" fmla="*/ 3510 h 10000"/>
                <a:gd name="connsiteX108" fmla="*/ 853 w 10000"/>
                <a:gd name="connsiteY108" fmla="*/ 3392 h 10000"/>
                <a:gd name="connsiteX109" fmla="*/ 446 w 10000"/>
                <a:gd name="connsiteY109" fmla="*/ 2863 h 10000"/>
                <a:gd name="connsiteX110" fmla="*/ 523 w 10000"/>
                <a:gd name="connsiteY110" fmla="*/ 2706 h 10000"/>
                <a:gd name="connsiteX111" fmla="*/ 601 w 10000"/>
                <a:gd name="connsiteY111" fmla="*/ 2588 h 10000"/>
                <a:gd name="connsiteX112" fmla="*/ 1279 w 10000"/>
                <a:gd name="connsiteY112" fmla="*/ 2588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108" fmla="*/ 446 w 10000"/>
                <a:gd name="connsiteY108" fmla="*/ 2863 h 10000"/>
                <a:gd name="connsiteX109" fmla="*/ 523 w 10000"/>
                <a:gd name="connsiteY109" fmla="*/ 2706 h 10000"/>
                <a:gd name="connsiteX110" fmla="*/ 601 w 10000"/>
                <a:gd name="connsiteY110" fmla="*/ 2588 h 10000"/>
                <a:gd name="connsiteX111" fmla="*/ 1279 w 10000"/>
                <a:gd name="connsiteY111" fmla="*/ 2588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108" fmla="*/ 446 w 10000"/>
                <a:gd name="connsiteY108" fmla="*/ 2863 h 10000"/>
                <a:gd name="connsiteX109" fmla="*/ 523 w 10000"/>
                <a:gd name="connsiteY109" fmla="*/ 2706 h 10000"/>
                <a:gd name="connsiteX110" fmla="*/ 601 w 10000"/>
                <a:gd name="connsiteY110" fmla="*/ 2588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108" fmla="*/ 446 w 10000"/>
                <a:gd name="connsiteY108" fmla="*/ 2863 h 10000"/>
                <a:gd name="connsiteX109" fmla="*/ 523 w 10000"/>
                <a:gd name="connsiteY109" fmla="*/ 2706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108" fmla="*/ 446 w 10000"/>
                <a:gd name="connsiteY108" fmla="*/ 2863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107" fmla="*/ 853 w 10000"/>
                <a:gd name="connsiteY107" fmla="*/ 3392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106" fmla="*/ 814 w 10000"/>
                <a:gd name="connsiteY106" fmla="*/ 3510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 name="connsiteX105" fmla="*/ 775 w 10000"/>
                <a:gd name="connsiteY105" fmla="*/ 3627 h 10000"/>
                <a:gd name="connsiteX0" fmla="*/ 4070 w 10000"/>
                <a:gd name="connsiteY0" fmla="*/ 59 h 10000"/>
                <a:gd name="connsiteX1" fmla="*/ 4380 w 10000"/>
                <a:gd name="connsiteY1" fmla="*/ 0 h 10000"/>
                <a:gd name="connsiteX2" fmla="*/ 4767 w 10000"/>
                <a:gd name="connsiteY2" fmla="*/ 569 h 10000"/>
                <a:gd name="connsiteX3" fmla="*/ 5019 w 10000"/>
                <a:gd name="connsiteY3" fmla="*/ 549 h 10000"/>
                <a:gd name="connsiteX4" fmla="*/ 5252 w 10000"/>
                <a:gd name="connsiteY4" fmla="*/ 569 h 10000"/>
                <a:gd name="connsiteX5" fmla="*/ 5640 w 10000"/>
                <a:gd name="connsiteY5" fmla="*/ 0 h 10000"/>
                <a:gd name="connsiteX6" fmla="*/ 5795 w 10000"/>
                <a:gd name="connsiteY6" fmla="*/ 20 h 10000"/>
                <a:gd name="connsiteX7" fmla="*/ 5950 w 10000"/>
                <a:gd name="connsiteY7" fmla="*/ 59 h 10000"/>
                <a:gd name="connsiteX8" fmla="*/ 6163 w 10000"/>
                <a:gd name="connsiteY8" fmla="*/ 706 h 10000"/>
                <a:gd name="connsiteX9" fmla="*/ 6395 w 10000"/>
                <a:gd name="connsiteY9" fmla="*/ 765 h 10000"/>
                <a:gd name="connsiteX10" fmla="*/ 6492 w 10000"/>
                <a:gd name="connsiteY10" fmla="*/ 804 h 10000"/>
                <a:gd name="connsiteX11" fmla="*/ 6609 w 10000"/>
                <a:gd name="connsiteY11" fmla="*/ 843 h 10000"/>
                <a:gd name="connsiteX12" fmla="*/ 7151 w 10000"/>
                <a:gd name="connsiteY12" fmla="*/ 451 h 10000"/>
                <a:gd name="connsiteX13" fmla="*/ 7287 w 10000"/>
                <a:gd name="connsiteY13" fmla="*/ 510 h 10000"/>
                <a:gd name="connsiteX14" fmla="*/ 7442 w 10000"/>
                <a:gd name="connsiteY14" fmla="*/ 588 h 10000"/>
                <a:gd name="connsiteX15" fmla="*/ 7442 w 10000"/>
                <a:gd name="connsiteY15" fmla="*/ 1275 h 10000"/>
                <a:gd name="connsiteX16" fmla="*/ 7616 w 10000"/>
                <a:gd name="connsiteY16" fmla="*/ 1412 h 10000"/>
                <a:gd name="connsiteX17" fmla="*/ 7713 w 10000"/>
                <a:gd name="connsiteY17" fmla="*/ 1471 h 10000"/>
                <a:gd name="connsiteX18" fmla="*/ 7810 w 10000"/>
                <a:gd name="connsiteY18" fmla="*/ 1549 h 10000"/>
                <a:gd name="connsiteX19" fmla="*/ 8450 w 10000"/>
                <a:gd name="connsiteY19" fmla="*/ 1333 h 10000"/>
                <a:gd name="connsiteX20" fmla="*/ 8566 w 10000"/>
                <a:gd name="connsiteY20" fmla="*/ 1451 h 10000"/>
                <a:gd name="connsiteX21" fmla="*/ 8682 w 10000"/>
                <a:gd name="connsiteY21" fmla="*/ 1569 h 10000"/>
                <a:gd name="connsiteX22" fmla="*/ 8469 w 10000"/>
                <a:gd name="connsiteY22" fmla="*/ 2216 h 10000"/>
                <a:gd name="connsiteX23" fmla="*/ 8605 w 10000"/>
                <a:gd name="connsiteY23" fmla="*/ 2392 h 10000"/>
                <a:gd name="connsiteX24" fmla="*/ 8740 w 10000"/>
                <a:gd name="connsiteY24" fmla="*/ 2588 h 10000"/>
                <a:gd name="connsiteX25" fmla="*/ 9419 w 10000"/>
                <a:gd name="connsiteY25" fmla="*/ 2588 h 10000"/>
                <a:gd name="connsiteX26" fmla="*/ 9496 w 10000"/>
                <a:gd name="connsiteY26" fmla="*/ 2706 h 10000"/>
                <a:gd name="connsiteX27" fmla="*/ 9574 w 10000"/>
                <a:gd name="connsiteY27" fmla="*/ 2863 h 10000"/>
                <a:gd name="connsiteX28" fmla="*/ 9167 w 10000"/>
                <a:gd name="connsiteY28" fmla="*/ 3392 h 10000"/>
                <a:gd name="connsiteX29" fmla="*/ 9244 w 10000"/>
                <a:gd name="connsiteY29" fmla="*/ 3627 h 10000"/>
                <a:gd name="connsiteX30" fmla="*/ 9283 w 10000"/>
                <a:gd name="connsiteY30" fmla="*/ 3745 h 10000"/>
                <a:gd name="connsiteX31" fmla="*/ 9302 w 10000"/>
                <a:gd name="connsiteY31" fmla="*/ 3863 h 10000"/>
                <a:gd name="connsiteX32" fmla="*/ 9961 w 10000"/>
                <a:gd name="connsiteY32" fmla="*/ 4059 h 10000"/>
                <a:gd name="connsiteX33" fmla="*/ 10000 w 10000"/>
                <a:gd name="connsiteY33" fmla="*/ 4392 h 10000"/>
                <a:gd name="connsiteX34" fmla="*/ 9438 w 10000"/>
                <a:gd name="connsiteY34" fmla="*/ 4765 h 10000"/>
                <a:gd name="connsiteX35" fmla="*/ 9457 w 10000"/>
                <a:gd name="connsiteY35" fmla="*/ 5000 h 10000"/>
                <a:gd name="connsiteX36" fmla="*/ 9438 w 10000"/>
                <a:gd name="connsiteY36" fmla="*/ 5235 h 10000"/>
                <a:gd name="connsiteX37" fmla="*/ 10000 w 10000"/>
                <a:gd name="connsiteY37" fmla="*/ 5627 h 10000"/>
                <a:gd name="connsiteX38" fmla="*/ 9981 w 10000"/>
                <a:gd name="connsiteY38" fmla="*/ 5784 h 10000"/>
                <a:gd name="connsiteX39" fmla="*/ 9961 w 10000"/>
                <a:gd name="connsiteY39" fmla="*/ 5941 h 10000"/>
                <a:gd name="connsiteX40" fmla="*/ 9302 w 10000"/>
                <a:gd name="connsiteY40" fmla="*/ 6157 h 10000"/>
                <a:gd name="connsiteX41" fmla="*/ 9244 w 10000"/>
                <a:gd name="connsiteY41" fmla="*/ 6392 h 10000"/>
                <a:gd name="connsiteX42" fmla="*/ 9205 w 10000"/>
                <a:gd name="connsiteY42" fmla="*/ 6490 h 10000"/>
                <a:gd name="connsiteX43" fmla="*/ 9167 w 10000"/>
                <a:gd name="connsiteY43" fmla="*/ 6608 h 10000"/>
                <a:gd name="connsiteX44" fmla="*/ 9574 w 10000"/>
                <a:gd name="connsiteY44" fmla="*/ 7157 h 10000"/>
                <a:gd name="connsiteX45" fmla="*/ 9496 w 10000"/>
                <a:gd name="connsiteY45" fmla="*/ 7294 h 10000"/>
                <a:gd name="connsiteX46" fmla="*/ 9419 w 10000"/>
                <a:gd name="connsiteY46" fmla="*/ 7431 h 10000"/>
                <a:gd name="connsiteX47" fmla="*/ 8740 w 10000"/>
                <a:gd name="connsiteY47" fmla="*/ 7412 h 10000"/>
                <a:gd name="connsiteX48" fmla="*/ 8605 w 10000"/>
                <a:gd name="connsiteY48" fmla="*/ 7627 h 10000"/>
                <a:gd name="connsiteX49" fmla="*/ 8547 w 10000"/>
                <a:gd name="connsiteY49" fmla="*/ 7706 h 10000"/>
                <a:gd name="connsiteX50" fmla="*/ 8469 w 10000"/>
                <a:gd name="connsiteY50" fmla="*/ 7804 h 10000"/>
                <a:gd name="connsiteX51" fmla="*/ 8682 w 10000"/>
                <a:gd name="connsiteY51" fmla="*/ 8451 h 10000"/>
                <a:gd name="connsiteX52" fmla="*/ 8566 w 10000"/>
                <a:gd name="connsiteY52" fmla="*/ 8569 h 10000"/>
                <a:gd name="connsiteX53" fmla="*/ 8450 w 10000"/>
                <a:gd name="connsiteY53" fmla="*/ 8686 h 10000"/>
                <a:gd name="connsiteX54" fmla="*/ 7810 w 10000"/>
                <a:gd name="connsiteY54" fmla="*/ 8471 h 10000"/>
                <a:gd name="connsiteX55" fmla="*/ 7616 w 10000"/>
                <a:gd name="connsiteY55" fmla="*/ 8608 h 10000"/>
                <a:gd name="connsiteX56" fmla="*/ 7442 w 10000"/>
                <a:gd name="connsiteY56" fmla="*/ 8745 h 10000"/>
                <a:gd name="connsiteX57" fmla="*/ 7442 w 10000"/>
                <a:gd name="connsiteY57" fmla="*/ 9412 h 10000"/>
                <a:gd name="connsiteX58" fmla="*/ 7287 w 10000"/>
                <a:gd name="connsiteY58" fmla="*/ 9510 h 10000"/>
                <a:gd name="connsiteX59" fmla="*/ 7151 w 10000"/>
                <a:gd name="connsiteY59" fmla="*/ 9569 h 10000"/>
                <a:gd name="connsiteX60" fmla="*/ 6609 w 10000"/>
                <a:gd name="connsiteY60" fmla="*/ 9157 h 10000"/>
                <a:gd name="connsiteX61" fmla="*/ 6395 w 10000"/>
                <a:gd name="connsiteY61" fmla="*/ 9235 h 10000"/>
                <a:gd name="connsiteX62" fmla="*/ 6279 w 10000"/>
                <a:gd name="connsiteY62" fmla="*/ 9275 h 10000"/>
                <a:gd name="connsiteX63" fmla="*/ 6163 w 10000"/>
                <a:gd name="connsiteY63" fmla="*/ 9314 h 10000"/>
                <a:gd name="connsiteX64" fmla="*/ 5950 w 10000"/>
                <a:gd name="connsiteY64" fmla="*/ 9961 h 10000"/>
                <a:gd name="connsiteX65" fmla="*/ 5640 w 10000"/>
                <a:gd name="connsiteY65" fmla="*/ 10000 h 10000"/>
                <a:gd name="connsiteX66" fmla="*/ 5252 w 10000"/>
                <a:gd name="connsiteY66" fmla="*/ 9451 h 10000"/>
                <a:gd name="connsiteX67" fmla="*/ 5019 w 10000"/>
                <a:gd name="connsiteY67" fmla="*/ 9451 h 10000"/>
                <a:gd name="connsiteX68" fmla="*/ 4767 w 10000"/>
                <a:gd name="connsiteY68" fmla="*/ 9451 h 10000"/>
                <a:gd name="connsiteX69" fmla="*/ 4380 w 10000"/>
                <a:gd name="connsiteY69" fmla="*/ 10000 h 10000"/>
                <a:gd name="connsiteX70" fmla="*/ 4225 w 10000"/>
                <a:gd name="connsiteY70" fmla="*/ 9980 h 10000"/>
                <a:gd name="connsiteX71" fmla="*/ 4070 w 10000"/>
                <a:gd name="connsiteY71" fmla="*/ 9961 h 10000"/>
                <a:gd name="connsiteX72" fmla="*/ 3857 w 10000"/>
                <a:gd name="connsiteY72" fmla="*/ 9314 h 10000"/>
                <a:gd name="connsiteX73" fmla="*/ 3624 w 10000"/>
                <a:gd name="connsiteY73" fmla="*/ 9235 h 10000"/>
                <a:gd name="connsiteX74" fmla="*/ 3508 w 10000"/>
                <a:gd name="connsiteY74" fmla="*/ 9216 h 10000"/>
                <a:gd name="connsiteX75" fmla="*/ 3411 w 10000"/>
                <a:gd name="connsiteY75" fmla="*/ 9157 h 10000"/>
                <a:gd name="connsiteX76" fmla="*/ 2868 w 10000"/>
                <a:gd name="connsiteY76" fmla="*/ 9569 h 10000"/>
                <a:gd name="connsiteX77" fmla="*/ 2733 w 10000"/>
                <a:gd name="connsiteY77" fmla="*/ 9510 h 10000"/>
                <a:gd name="connsiteX78" fmla="*/ 2578 w 10000"/>
                <a:gd name="connsiteY78" fmla="*/ 9412 h 10000"/>
                <a:gd name="connsiteX79" fmla="*/ 2597 w 10000"/>
                <a:gd name="connsiteY79" fmla="*/ 8745 h 10000"/>
                <a:gd name="connsiteX80" fmla="*/ 2403 w 10000"/>
                <a:gd name="connsiteY80" fmla="*/ 8608 h 10000"/>
                <a:gd name="connsiteX81" fmla="*/ 2306 w 10000"/>
                <a:gd name="connsiteY81" fmla="*/ 8529 h 10000"/>
                <a:gd name="connsiteX82" fmla="*/ 2209 w 10000"/>
                <a:gd name="connsiteY82" fmla="*/ 8471 h 10000"/>
                <a:gd name="connsiteX83" fmla="*/ 1570 w 10000"/>
                <a:gd name="connsiteY83" fmla="*/ 8686 h 10000"/>
                <a:gd name="connsiteX84" fmla="*/ 1453 w 10000"/>
                <a:gd name="connsiteY84" fmla="*/ 8569 h 10000"/>
                <a:gd name="connsiteX85" fmla="*/ 1337 w 10000"/>
                <a:gd name="connsiteY85" fmla="*/ 8451 h 10000"/>
                <a:gd name="connsiteX86" fmla="*/ 1550 w 10000"/>
                <a:gd name="connsiteY86" fmla="*/ 7804 h 10000"/>
                <a:gd name="connsiteX87" fmla="*/ 1415 w 10000"/>
                <a:gd name="connsiteY87" fmla="*/ 7627 h 10000"/>
                <a:gd name="connsiteX88" fmla="*/ 1279 w 10000"/>
                <a:gd name="connsiteY88" fmla="*/ 7412 h 10000"/>
                <a:gd name="connsiteX89" fmla="*/ 601 w 10000"/>
                <a:gd name="connsiteY89" fmla="*/ 7431 h 10000"/>
                <a:gd name="connsiteX90" fmla="*/ 523 w 10000"/>
                <a:gd name="connsiteY90" fmla="*/ 7294 h 10000"/>
                <a:gd name="connsiteX91" fmla="*/ 446 w 10000"/>
                <a:gd name="connsiteY91" fmla="*/ 7157 h 10000"/>
                <a:gd name="connsiteX92" fmla="*/ 853 w 10000"/>
                <a:gd name="connsiteY92" fmla="*/ 6608 h 10000"/>
                <a:gd name="connsiteX93" fmla="*/ 775 w 10000"/>
                <a:gd name="connsiteY93" fmla="*/ 6392 h 10000"/>
                <a:gd name="connsiteX94" fmla="*/ 756 w 10000"/>
                <a:gd name="connsiteY94" fmla="*/ 6275 h 10000"/>
                <a:gd name="connsiteX95" fmla="*/ 717 w 10000"/>
                <a:gd name="connsiteY95" fmla="*/ 6157 h 10000"/>
                <a:gd name="connsiteX96" fmla="*/ 58 w 10000"/>
                <a:gd name="connsiteY96" fmla="*/ 5941 h 10000"/>
                <a:gd name="connsiteX97" fmla="*/ 0 w 10000"/>
                <a:gd name="connsiteY97" fmla="*/ 5627 h 10000"/>
                <a:gd name="connsiteX98" fmla="*/ 581 w 10000"/>
                <a:gd name="connsiteY98" fmla="*/ 5235 h 10000"/>
                <a:gd name="connsiteX99" fmla="*/ 562 w 10000"/>
                <a:gd name="connsiteY99" fmla="*/ 5000 h 10000"/>
                <a:gd name="connsiteX100" fmla="*/ 581 w 10000"/>
                <a:gd name="connsiteY100" fmla="*/ 4765 h 10000"/>
                <a:gd name="connsiteX101" fmla="*/ 0 w 10000"/>
                <a:gd name="connsiteY101" fmla="*/ 4392 h 10000"/>
                <a:gd name="connsiteX102" fmla="*/ 19 w 10000"/>
                <a:gd name="connsiteY102" fmla="*/ 4216 h 10000"/>
                <a:gd name="connsiteX103" fmla="*/ 58 w 10000"/>
                <a:gd name="connsiteY103" fmla="*/ 4059 h 10000"/>
                <a:gd name="connsiteX104" fmla="*/ 717 w 10000"/>
                <a:gd name="connsiteY104" fmla="*/ 38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0000" h="10000">
                  <a:moveTo>
                    <a:pt x="4070" y="59"/>
                  </a:moveTo>
                  <a:lnTo>
                    <a:pt x="4380" y="0"/>
                  </a:lnTo>
                  <a:lnTo>
                    <a:pt x="4767" y="569"/>
                  </a:lnTo>
                  <a:lnTo>
                    <a:pt x="5019" y="549"/>
                  </a:lnTo>
                  <a:lnTo>
                    <a:pt x="5252" y="569"/>
                  </a:lnTo>
                  <a:lnTo>
                    <a:pt x="5640" y="0"/>
                  </a:lnTo>
                  <a:lnTo>
                    <a:pt x="5795" y="20"/>
                  </a:lnTo>
                  <a:lnTo>
                    <a:pt x="5950" y="59"/>
                  </a:lnTo>
                  <a:lnTo>
                    <a:pt x="6163" y="706"/>
                  </a:lnTo>
                  <a:lnTo>
                    <a:pt x="6395" y="765"/>
                  </a:lnTo>
                  <a:lnTo>
                    <a:pt x="6492" y="804"/>
                  </a:lnTo>
                  <a:lnTo>
                    <a:pt x="6609" y="843"/>
                  </a:lnTo>
                  <a:lnTo>
                    <a:pt x="7151" y="451"/>
                  </a:lnTo>
                  <a:cubicBezTo>
                    <a:pt x="7196" y="471"/>
                    <a:pt x="7242" y="490"/>
                    <a:pt x="7287" y="510"/>
                  </a:cubicBezTo>
                  <a:lnTo>
                    <a:pt x="7442" y="588"/>
                  </a:lnTo>
                  <a:lnTo>
                    <a:pt x="7442" y="1275"/>
                  </a:lnTo>
                  <a:lnTo>
                    <a:pt x="7616" y="1412"/>
                  </a:lnTo>
                  <a:cubicBezTo>
                    <a:pt x="7648" y="1432"/>
                    <a:pt x="7681" y="1451"/>
                    <a:pt x="7713" y="1471"/>
                  </a:cubicBezTo>
                  <a:lnTo>
                    <a:pt x="7810" y="1549"/>
                  </a:lnTo>
                  <a:lnTo>
                    <a:pt x="8450" y="1333"/>
                  </a:lnTo>
                  <a:cubicBezTo>
                    <a:pt x="8489" y="1372"/>
                    <a:pt x="8527" y="1412"/>
                    <a:pt x="8566" y="1451"/>
                  </a:cubicBezTo>
                  <a:cubicBezTo>
                    <a:pt x="8605" y="1490"/>
                    <a:pt x="8643" y="1530"/>
                    <a:pt x="8682" y="1569"/>
                  </a:cubicBezTo>
                  <a:lnTo>
                    <a:pt x="8469" y="2216"/>
                  </a:lnTo>
                  <a:cubicBezTo>
                    <a:pt x="8514" y="2275"/>
                    <a:pt x="8560" y="2333"/>
                    <a:pt x="8605" y="2392"/>
                  </a:cubicBezTo>
                  <a:lnTo>
                    <a:pt x="8740" y="2588"/>
                  </a:lnTo>
                  <a:lnTo>
                    <a:pt x="9419" y="2588"/>
                  </a:lnTo>
                  <a:cubicBezTo>
                    <a:pt x="9445" y="2627"/>
                    <a:pt x="9470" y="2667"/>
                    <a:pt x="9496" y="2706"/>
                  </a:cubicBezTo>
                  <a:cubicBezTo>
                    <a:pt x="9522" y="2758"/>
                    <a:pt x="9548" y="2811"/>
                    <a:pt x="9574" y="2863"/>
                  </a:cubicBezTo>
                  <a:lnTo>
                    <a:pt x="9167" y="3392"/>
                  </a:lnTo>
                  <a:cubicBezTo>
                    <a:pt x="9193" y="3470"/>
                    <a:pt x="9218" y="3549"/>
                    <a:pt x="9244" y="3627"/>
                  </a:cubicBezTo>
                  <a:cubicBezTo>
                    <a:pt x="9257" y="3666"/>
                    <a:pt x="9270" y="3706"/>
                    <a:pt x="9283" y="3745"/>
                  </a:cubicBezTo>
                  <a:cubicBezTo>
                    <a:pt x="9289" y="3784"/>
                    <a:pt x="9296" y="3824"/>
                    <a:pt x="9302" y="3863"/>
                  </a:cubicBezTo>
                  <a:lnTo>
                    <a:pt x="9961" y="4059"/>
                  </a:lnTo>
                  <a:lnTo>
                    <a:pt x="10000" y="4392"/>
                  </a:lnTo>
                  <a:lnTo>
                    <a:pt x="9438" y="4765"/>
                  </a:lnTo>
                  <a:cubicBezTo>
                    <a:pt x="9444" y="4843"/>
                    <a:pt x="9451" y="4922"/>
                    <a:pt x="9457" y="5000"/>
                  </a:cubicBezTo>
                  <a:cubicBezTo>
                    <a:pt x="9451" y="5078"/>
                    <a:pt x="9444" y="5157"/>
                    <a:pt x="9438" y="5235"/>
                  </a:cubicBezTo>
                  <a:lnTo>
                    <a:pt x="10000" y="5627"/>
                  </a:lnTo>
                  <a:cubicBezTo>
                    <a:pt x="9994" y="5679"/>
                    <a:pt x="9987" y="5732"/>
                    <a:pt x="9981" y="5784"/>
                  </a:cubicBezTo>
                  <a:cubicBezTo>
                    <a:pt x="9974" y="5836"/>
                    <a:pt x="9968" y="5889"/>
                    <a:pt x="9961" y="5941"/>
                  </a:cubicBezTo>
                  <a:lnTo>
                    <a:pt x="9302" y="6157"/>
                  </a:lnTo>
                  <a:cubicBezTo>
                    <a:pt x="9283" y="6235"/>
                    <a:pt x="9263" y="6314"/>
                    <a:pt x="9244" y="6392"/>
                  </a:cubicBezTo>
                  <a:cubicBezTo>
                    <a:pt x="9231" y="6425"/>
                    <a:pt x="9218" y="6457"/>
                    <a:pt x="9205" y="6490"/>
                  </a:cubicBezTo>
                  <a:cubicBezTo>
                    <a:pt x="9192" y="6529"/>
                    <a:pt x="9180" y="6569"/>
                    <a:pt x="9167" y="6608"/>
                  </a:cubicBezTo>
                  <a:lnTo>
                    <a:pt x="9574" y="7157"/>
                  </a:lnTo>
                  <a:cubicBezTo>
                    <a:pt x="9548" y="7203"/>
                    <a:pt x="9522" y="7248"/>
                    <a:pt x="9496" y="7294"/>
                  </a:cubicBezTo>
                  <a:lnTo>
                    <a:pt x="9419" y="7431"/>
                  </a:lnTo>
                  <a:lnTo>
                    <a:pt x="8740" y="7412"/>
                  </a:lnTo>
                  <a:lnTo>
                    <a:pt x="8605" y="7627"/>
                  </a:lnTo>
                  <a:lnTo>
                    <a:pt x="8547" y="7706"/>
                  </a:lnTo>
                  <a:cubicBezTo>
                    <a:pt x="8521" y="7739"/>
                    <a:pt x="8495" y="7771"/>
                    <a:pt x="8469" y="7804"/>
                  </a:cubicBezTo>
                  <a:lnTo>
                    <a:pt x="8682" y="8451"/>
                  </a:lnTo>
                  <a:cubicBezTo>
                    <a:pt x="8643" y="8490"/>
                    <a:pt x="8605" y="8530"/>
                    <a:pt x="8566" y="8569"/>
                  </a:cubicBezTo>
                  <a:lnTo>
                    <a:pt x="8450" y="8686"/>
                  </a:lnTo>
                  <a:lnTo>
                    <a:pt x="7810" y="8471"/>
                  </a:lnTo>
                  <a:lnTo>
                    <a:pt x="7616" y="8608"/>
                  </a:lnTo>
                  <a:lnTo>
                    <a:pt x="7442" y="8745"/>
                  </a:lnTo>
                  <a:lnTo>
                    <a:pt x="7442" y="9412"/>
                  </a:lnTo>
                  <a:lnTo>
                    <a:pt x="7287" y="9510"/>
                  </a:lnTo>
                  <a:cubicBezTo>
                    <a:pt x="7242" y="9530"/>
                    <a:pt x="7196" y="9549"/>
                    <a:pt x="7151" y="9569"/>
                  </a:cubicBezTo>
                  <a:lnTo>
                    <a:pt x="6609" y="9157"/>
                  </a:lnTo>
                  <a:lnTo>
                    <a:pt x="6395" y="9235"/>
                  </a:lnTo>
                  <a:cubicBezTo>
                    <a:pt x="6356" y="9248"/>
                    <a:pt x="6318" y="9262"/>
                    <a:pt x="6279" y="9275"/>
                  </a:cubicBezTo>
                  <a:lnTo>
                    <a:pt x="6163" y="9314"/>
                  </a:lnTo>
                  <a:lnTo>
                    <a:pt x="5950" y="9961"/>
                  </a:lnTo>
                  <a:lnTo>
                    <a:pt x="5640" y="10000"/>
                  </a:lnTo>
                  <a:lnTo>
                    <a:pt x="5252" y="9451"/>
                  </a:lnTo>
                  <a:lnTo>
                    <a:pt x="5019" y="9451"/>
                  </a:lnTo>
                  <a:lnTo>
                    <a:pt x="4767" y="9451"/>
                  </a:lnTo>
                  <a:lnTo>
                    <a:pt x="4380" y="10000"/>
                  </a:lnTo>
                  <a:lnTo>
                    <a:pt x="4225" y="9980"/>
                  </a:lnTo>
                  <a:lnTo>
                    <a:pt x="4070" y="9961"/>
                  </a:lnTo>
                  <a:lnTo>
                    <a:pt x="3857" y="9314"/>
                  </a:lnTo>
                  <a:lnTo>
                    <a:pt x="3624" y="9235"/>
                  </a:lnTo>
                  <a:lnTo>
                    <a:pt x="3508" y="9216"/>
                  </a:lnTo>
                  <a:cubicBezTo>
                    <a:pt x="3476" y="9196"/>
                    <a:pt x="3443" y="9177"/>
                    <a:pt x="3411" y="9157"/>
                  </a:cubicBezTo>
                  <a:lnTo>
                    <a:pt x="2868" y="9569"/>
                  </a:lnTo>
                  <a:lnTo>
                    <a:pt x="2733" y="9510"/>
                  </a:lnTo>
                  <a:lnTo>
                    <a:pt x="2578" y="9412"/>
                  </a:lnTo>
                  <a:cubicBezTo>
                    <a:pt x="2584" y="9190"/>
                    <a:pt x="2591" y="8967"/>
                    <a:pt x="2597" y="8745"/>
                  </a:cubicBezTo>
                  <a:lnTo>
                    <a:pt x="2403" y="8608"/>
                  </a:lnTo>
                  <a:lnTo>
                    <a:pt x="2306" y="8529"/>
                  </a:lnTo>
                  <a:lnTo>
                    <a:pt x="2209" y="8471"/>
                  </a:lnTo>
                  <a:lnTo>
                    <a:pt x="1570" y="8686"/>
                  </a:lnTo>
                  <a:lnTo>
                    <a:pt x="1453" y="8569"/>
                  </a:lnTo>
                  <a:cubicBezTo>
                    <a:pt x="1414" y="8530"/>
                    <a:pt x="1376" y="8490"/>
                    <a:pt x="1337" y="8451"/>
                  </a:cubicBezTo>
                  <a:lnTo>
                    <a:pt x="1550" y="7804"/>
                  </a:lnTo>
                  <a:lnTo>
                    <a:pt x="1415" y="7627"/>
                  </a:lnTo>
                  <a:cubicBezTo>
                    <a:pt x="1370" y="7555"/>
                    <a:pt x="1324" y="7484"/>
                    <a:pt x="1279" y="7412"/>
                  </a:cubicBezTo>
                  <a:lnTo>
                    <a:pt x="601" y="7431"/>
                  </a:lnTo>
                  <a:cubicBezTo>
                    <a:pt x="575" y="7385"/>
                    <a:pt x="549" y="7340"/>
                    <a:pt x="523" y="7294"/>
                  </a:cubicBezTo>
                  <a:lnTo>
                    <a:pt x="446" y="7157"/>
                  </a:lnTo>
                  <a:lnTo>
                    <a:pt x="853" y="6608"/>
                  </a:lnTo>
                  <a:lnTo>
                    <a:pt x="775" y="6392"/>
                  </a:lnTo>
                  <a:cubicBezTo>
                    <a:pt x="769" y="6353"/>
                    <a:pt x="762" y="6314"/>
                    <a:pt x="756" y="6275"/>
                  </a:cubicBezTo>
                  <a:cubicBezTo>
                    <a:pt x="743" y="6236"/>
                    <a:pt x="730" y="6196"/>
                    <a:pt x="717" y="6157"/>
                  </a:cubicBezTo>
                  <a:lnTo>
                    <a:pt x="58" y="5941"/>
                  </a:lnTo>
                  <a:cubicBezTo>
                    <a:pt x="39" y="5836"/>
                    <a:pt x="19" y="5732"/>
                    <a:pt x="0" y="5627"/>
                  </a:cubicBezTo>
                  <a:lnTo>
                    <a:pt x="581" y="5235"/>
                  </a:lnTo>
                  <a:cubicBezTo>
                    <a:pt x="575" y="5157"/>
                    <a:pt x="568" y="5078"/>
                    <a:pt x="562" y="5000"/>
                  </a:cubicBezTo>
                  <a:cubicBezTo>
                    <a:pt x="568" y="4922"/>
                    <a:pt x="575" y="4843"/>
                    <a:pt x="581" y="4765"/>
                  </a:cubicBezTo>
                  <a:lnTo>
                    <a:pt x="0" y="4392"/>
                  </a:lnTo>
                  <a:cubicBezTo>
                    <a:pt x="6" y="4333"/>
                    <a:pt x="13" y="4275"/>
                    <a:pt x="19" y="4216"/>
                  </a:cubicBezTo>
                  <a:cubicBezTo>
                    <a:pt x="32" y="4164"/>
                    <a:pt x="45" y="4111"/>
                    <a:pt x="58" y="4059"/>
                  </a:cubicBezTo>
                  <a:lnTo>
                    <a:pt x="717" y="3863"/>
                  </a:lnTo>
                </a:path>
              </a:pathLst>
            </a:custGeom>
            <a:noFill/>
            <a:ln w="9525">
              <a:solidFill>
                <a:schemeClr val="accent5"/>
              </a:solidFill>
              <a:round/>
              <a:headEnd/>
              <a:tailEnd/>
            </a:ln>
          </p:spPr>
          <p:txBody>
            <a:bodyPr/>
            <a:lstStyle/>
            <a:p>
              <a:endParaRPr lang="en-US" dirty="0">
                <a:solidFill>
                  <a:srgbClr val="000000"/>
                </a:solidFill>
              </a:endParaRPr>
            </a:p>
          </p:txBody>
        </p:sp>
        <p:sp>
          <p:nvSpPr>
            <p:cNvPr id="56" name="Textplatzhalter 3">
              <a:extLst>
                <a:ext uri="{FF2B5EF4-FFF2-40B4-BE49-F238E27FC236}">
                  <a16:creationId xmlns:a16="http://schemas.microsoft.com/office/drawing/2014/main" id="{0E5E0677-EC34-40E5-AF29-F753E00F1A44}"/>
                </a:ext>
              </a:extLst>
            </p:cNvPr>
            <p:cNvSpPr txBox="1">
              <a:spLocks/>
            </p:cNvSpPr>
            <p:nvPr/>
          </p:nvSpPr>
          <p:spPr bwMode="gray">
            <a:xfrm flipH="1">
              <a:off x="4262079" y="4967884"/>
              <a:ext cx="504056" cy="271511"/>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sz="3000" dirty="0">
                  <a:solidFill>
                    <a:schemeClr val="accent5"/>
                  </a:solidFill>
                </a:rPr>
                <a:t>04</a:t>
              </a:r>
            </a:p>
          </p:txBody>
        </p:sp>
        <p:sp>
          <p:nvSpPr>
            <p:cNvPr id="57" name="Textplatzhalter 3">
              <a:extLst>
                <a:ext uri="{FF2B5EF4-FFF2-40B4-BE49-F238E27FC236}">
                  <a16:creationId xmlns:a16="http://schemas.microsoft.com/office/drawing/2014/main" id="{59DF3C77-7689-4557-90DE-9457F5766A36}"/>
                </a:ext>
              </a:extLst>
            </p:cNvPr>
            <p:cNvSpPr txBox="1">
              <a:spLocks/>
            </p:cNvSpPr>
            <p:nvPr/>
          </p:nvSpPr>
          <p:spPr bwMode="gray">
            <a:xfrm flipH="1">
              <a:off x="4439246" y="4967884"/>
              <a:ext cx="1296000" cy="1296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sz="1600" dirty="0">
                  <a:solidFill>
                    <a:schemeClr val="tx1"/>
                  </a:solidFill>
                </a:rPr>
                <a:t>Lorem</a:t>
              </a:r>
              <a:br>
                <a:rPr lang="en-US" sz="1600" dirty="0">
                  <a:solidFill>
                    <a:schemeClr val="tx1"/>
                  </a:solidFill>
                </a:rPr>
              </a:br>
              <a:r>
                <a:rPr lang="en-US" sz="1600" dirty="0">
                  <a:solidFill>
                    <a:schemeClr val="tx1"/>
                  </a:solidFill>
                </a:rPr>
                <a:t>ipsum dolor</a:t>
              </a:r>
              <a:br>
                <a:rPr lang="en-US" sz="1600" dirty="0">
                  <a:solidFill>
                    <a:schemeClr val="tx1"/>
                  </a:solidFill>
                </a:rPr>
              </a:br>
              <a:r>
                <a:rPr lang="en-US" sz="1600" dirty="0">
                  <a:solidFill>
                    <a:schemeClr val="tx1"/>
                  </a:solidFill>
                </a:rPr>
                <a:t>sit amet</a:t>
              </a:r>
            </a:p>
          </p:txBody>
        </p:sp>
      </p:grpSp>
      <p:sp>
        <p:nvSpPr>
          <p:cNvPr id="65" name="Textplatzhalter 15">
            <a:extLst>
              <a:ext uri="{FF2B5EF4-FFF2-40B4-BE49-F238E27FC236}">
                <a16:creationId xmlns:a16="http://schemas.microsoft.com/office/drawing/2014/main" id="{B16317A1-3495-48A1-92E2-7B70E4EB594B}"/>
              </a:ext>
            </a:extLst>
          </p:cNvPr>
          <p:cNvSpPr txBox="1">
            <a:spLocks/>
          </p:cNvSpPr>
          <p:nvPr/>
        </p:nvSpPr>
        <p:spPr bwMode="gray">
          <a:xfrm>
            <a:off x="9336840" y="1772816"/>
            <a:ext cx="2232000" cy="1438305"/>
          </a:xfrm>
          <a:prstGeom prst="rect">
            <a:avLst/>
          </a:prstGeom>
        </p:spPr>
        <p:txBody>
          <a:bodyPr lIns="0" tIns="0" rIns="0" bIns="0" anchor="ct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400" dirty="0"/>
              <a:t>Maecenas porttitor congue massa. Fusce posuere, magna sed pulvinar ultricies, purus lectus malesuada libero, sit amet commodo magna eros</a:t>
            </a:r>
          </a:p>
        </p:txBody>
      </p:sp>
      <p:sp>
        <p:nvSpPr>
          <p:cNvPr id="71" name="Freeform 57">
            <a:extLst>
              <a:ext uri="{FF2B5EF4-FFF2-40B4-BE49-F238E27FC236}">
                <a16:creationId xmlns:a16="http://schemas.microsoft.com/office/drawing/2014/main" id="{9BF4A614-37D4-4A23-A6D8-947D08C2170F}"/>
              </a:ext>
            </a:extLst>
          </p:cNvPr>
          <p:cNvSpPr>
            <a:spLocks noChangeAspect="1"/>
          </p:cNvSpPr>
          <p:nvPr/>
        </p:nvSpPr>
        <p:spPr bwMode="gray">
          <a:xfrm>
            <a:off x="6854661" y="5231255"/>
            <a:ext cx="753184" cy="744500"/>
          </a:xfrm>
          <a:custGeom>
            <a:avLst/>
            <a:gdLst>
              <a:gd name="T0" fmla="*/ 2485 w 516"/>
              <a:gd name="T1" fmla="*/ 2775 h 510"/>
              <a:gd name="T2" fmla="*/ 2376 w 516"/>
              <a:gd name="T3" fmla="*/ 3068 h 510"/>
              <a:gd name="T4" fmla="*/ 2085 w 516"/>
              <a:gd name="T5" fmla="*/ 2977 h 510"/>
              <a:gd name="T6" fmla="*/ 1941 w 516"/>
              <a:gd name="T7" fmla="*/ 3210 h 510"/>
              <a:gd name="T8" fmla="*/ 1638 w 516"/>
              <a:gd name="T9" fmla="*/ 3045 h 510"/>
              <a:gd name="T10" fmla="*/ 1377 w 516"/>
              <a:gd name="T11" fmla="*/ 3217 h 510"/>
              <a:gd name="T12" fmla="*/ 1183 w 516"/>
              <a:gd name="T13" fmla="*/ 2977 h 510"/>
              <a:gd name="T14" fmla="*/ 937 w 516"/>
              <a:gd name="T15" fmla="*/ 3084 h 510"/>
              <a:gd name="T16" fmla="*/ 849 w 516"/>
              <a:gd name="T17" fmla="*/ 2820 h 510"/>
              <a:gd name="T18" fmla="*/ 721 w 516"/>
              <a:gd name="T19" fmla="*/ 2731 h 510"/>
              <a:gd name="T20" fmla="*/ 438 w 516"/>
              <a:gd name="T21" fmla="*/ 2725 h 510"/>
              <a:gd name="T22" fmla="*/ 418 w 516"/>
              <a:gd name="T23" fmla="*/ 2389 h 510"/>
              <a:gd name="T24" fmla="*/ 148 w 516"/>
              <a:gd name="T25" fmla="*/ 2308 h 510"/>
              <a:gd name="T26" fmla="*/ 246 w 516"/>
              <a:gd name="T27" fmla="*/ 2025 h 510"/>
              <a:gd name="T28" fmla="*/ 0 w 516"/>
              <a:gd name="T29" fmla="*/ 1816 h 510"/>
              <a:gd name="T30" fmla="*/ 189 w 516"/>
              <a:gd name="T31" fmla="*/ 1535 h 510"/>
              <a:gd name="T32" fmla="*/ 20 w 516"/>
              <a:gd name="T33" fmla="*/ 1309 h 510"/>
              <a:gd name="T34" fmla="*/ 266 w 516"/>
              <a:gd name="T35" fmla="*/ 1132 h 510"/>
              <a:gd name="T36" fmla="*/ 170 w 516"/>
              <a:gd name="T37" fmla="*/ 873 h 510"/>
              <a:gd name="T38" fmla="*/ 462 w 516"/>
              <a:gd name="T39" fmla="*/ 773 h 510"/>
              <a:gd name="T40" fmla="*/ 438 w 516"/>
              <a:gd name="T41" fmla="*/ 507 h 510"/>
              <a:gd name="T42" fmla="*/ 721 w 516"/>
              <a:gd name="T43" fmla="*/ 499 h 510"/>
              <a:gd name="T44" fmla="*/ 841 w 516"/>
              <a:gd name="T45" fmla="*/ 189 h 510"/>
              <a:gd name="T46" fmla="*/ 1111 w 516"/>
              <a:gd name="T47" fmla="*/ 274 h 510"/>
              <a:gd name="T48" fmla="*/ 1257 w 516"/>
              <a:gd name="T49" fmla="*/ 229 h 510"/>
              <a:gd name="T50" fmla="*/ 1555 w 516"/>
              <a:gd name="T51" fmla="*/ 185 h 510"/>
              <a:gd name="T52" fmla="*/ 1840 w 516"/>
              <a:gd name="T53" fmla="*/ 0 h 510"/>
              <a:gd name="T54" fmla="*/ 2010 w 516"/>
              <a:gd name="T55" fmla="*/ 229 h 510"/>
              <a:gd name="T56" fmla="*/ 2154 w 516"/>
              <a:gd name="T57" fmla="*/ 274 h 510"/>
              <a:gd name="T58" fmla="*/ 2428 w 516"/>
              <a:gd name="T59" fmla="*/ 189 h 510"/>
              <a:gd name="T60" fmla="*/ 2516 w 516"/>
              <a:gd name="T61" fmla="*/ 475 h 510"/>
              <a:gd name="T62" fmla="*/ 2794 w 516"/>
              <a:gd name="T63" fmla="*/ 468 h 510"/>
              <a:gd name="T64" fmla="*/ 2807 w 516"/>
              <a:gd name="T65" fmla="*/ 773 h 510"/>
              <a:gd name="T66" fmla="*/ 3097 w 516"/>
              <a:gd name="T67" fmla="*/ 873 h 510"/>
              <a:gd name="T68" fmla="*/ 3015 w 516"/>
              <a:gd name="T69" fmla="*/ 1169 h 510"/>
              <a:gd name="T70" fmla="*/ 3247 w 516"/>
              <a:gd name="T71" fmla="*/ 1309 h 510"/>
              <a:gd name="T72" fmla="*/ 3084 w 516"/>
              <a:gd name="T73" fmla="*/ 1614 h 510"/>
              <a:gd name="T74" fmla="*/ 3254 w 516"/>
              <a:gd name="T75" fmla="*/ 1864 h 510"/>
              <a:gd name="T76" fmla="*/ 3015 w 516"/>
              <a:gd name="T77" fmla="*/ 2062 h 510"/>
              <a:gd name="T78" fmla="*/ 3121 w 516"/>
              <a:gd name="T79" fmla="*/ 2308 h 510"/>
              <a:gd name="T80" fmla="*/ 2851 w 516"/>
              <a:gd name="T81" fmla="*/ 2389 h 510"/>
              <a:gd name="T82" fmla="*/ 2762 w 516"/>
              <a:gd name="T83" fmla="*/ 2517 h 510"/>
              <a:gd name="T84" fmla="*/ 2755 w 516"/>
              <a:gd name="T85" fmla="*/ 2799 h 51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16" h="510">
                <a:moveTo>
                  <a:pt x="436" y="443"/>
                </a:moveTo>
                <a:lnTo>
                  <a:pt x="403" y="432"/>
                </a:lnTo>
                <a:lnTo>
                  <a:pt x="393" y="439"/>
                </a:lnTo>
                <a:lnTo>
                  <a:pt x="384" y="446"/>
                </a:lnTo>
                <a:lnTo>
                  <a:pt x="384" y="480"/>
                </a:lnTo>
                <a:lnTo>
                  <a:pt x="376" y="485"/>
                </a:lnTo>
                <a:lnTo>
                  <a:pt x="369" y="488"/>
                </a:lnTo>
                <a:lnTo>
                  <a:pt x="341" y="467"/>
                </a:lnTo>
                <a:lnTo>
                  <a:pt x="330" y="471"/>
                </a:lnTo>
                <a:lnTo>
                  <a:pt x="324" y="473"/>
                </a:lnTo>
                <a:lnTo>
                  <a:pt x="318" y="475"/>
                </a:lnTo>
                <a:lnTo>
                  <a:pt x="307" y="508"/>
                </a:lnTo>
                <a:lnTo>
                  <a:pt x="291" y="510"/>
                </a:lnTo>
                <a:lnTo>
                  <a:pt x="271" y="482"/>
                </a:lnTo>
                <a:lnTo>
                  <a:pt x="259" y="482"/>
                </a:lnTo>
                <a:lnTo>
                  <a:pt x="246" y="482"/>
                </a:lnTo>
                <a:lnTo>
                  <a:pt x="226" y="510"/>
                </a:lnTo>
                <a:lnTo>
                  <a:pt x="218" y="509"/>
                </a:lnTo>
                <a:lnTo>
                  <a:pt x="210" y="508"/>
                </a:lnTo>
                <a:lnTo>
                  <a:pt x="199" y="475"/>
                </a:lnTo>
                <a:lnTo>
                  <a:pt x="187" y="471"/>
                </a:lnTo>
                <a:lnTo>
                  <a:pt x="181" y="470"/>
                </a:lnTo>
                <a:lnTo>
                  <a:pt x="176" y="467"/>
                </a:lnTo>
                <a:lnTo>
                  <a:pt x="148" y="488"/>
                </a:lnTo>
                <a:lnTo>
                  <a:pt x="141" y="485"/>
                </a:lnTo>
                <a:lnTo>
                  <a:pt x="133" y="480"/>
                </a:lnTo>
                <a:lnTo>
                  <a:pt x="134" y="446"/>
                </a:lnTo>
                <a:lnTo>
                  <a:pt x="124" y="439"/>
                </a:lnTo>
                <a:lnTo>
                  <a:pt x="119" y="435"/>
                </a:lnTo>
                <a:lnTo>
                  <a:pt x="114" y="432"/>
                </a:lnTo>
                <a:lnTo>
                  <a:pt x="81" y="443"/>
                </a:lnTo>
                <a:lnTo>
                  <a:pt x="75" y="437"/>
                </a:lnTo>
                <a:lnTo>
                  <a:pt x="69" y="431"/>
                </a:lnTo>
                <a:lnTo>
                  <a:pt x="80" y="398"/>
                </a:lnTo>
                <a:lnTo>
                  <a:pt x="73" y="389"/>
                </a:lnTo>
                <a:lnTo>
                  <a:pt x="66" y="378"/>
                </a:lnTo>
                <a:lnTo>
                  <a:pt x="31" y="379"/>
                </a:lnTo>
                <a:lnTo>
                  <a:pt x="27" y="372"/>
                </a:lnTo>
                <a:lnTo>
                  <a:pt x="23" y="365"/>
                </a:lnTo>
                <a:lnTo>
                  <a:pt x="44" y="337"/>
                </a:lnTo>
                <a:lnTo>
                  <a:pt x="40" y="326"/>
                </a:lnTo>
                <a:lnTo>
                  <a:pt x="39" y="320"/>
                </a:lnTo>
                <a:lnTo>
                  <a:pt x="37" y="314"/>
                </a:lnTo>
                <a:lnTo>
                  <a:pt x="3" y="303"/>
                </a:lnTo>
                <a:lnTo>
                  <a:pt x="0" y="287"/>
                </a:lnTo>
                <a:lnTo>
                  <a:pt x="30" y="267"/>
                </a:lnTo>
                <a:lnTo>
                  <a:pt x="29" y="255"/>
                </a:lnTo>
                <a:lnTo>
                  <a:pt x="30" y="243"/>
                </a:lnTo>
                <a:lnTo>
                  <a:pt x="0" y="224"/>
                </a:lnTo>
                <a:lnTo>
                  <a:pt x="1" y="215"/>
                </a:lnTo>
                <a:lnTo>
                  <a:pt x="3" y="207"/>
                </a:lnTo>
                <a:lnTo>
                  <a:pt x="37" y="197"/>
                </a:lnTo>
                <a:lnTo>
                  <a:pt x="40" y="185"/>
                </a:lnTo>
                <a:lnTo>
                  <a:pt x="42" y="179"/>
                </a:lnTo>
                <a:lnTo>
                  <a:pt x="44" y="173"/>
                </a:lnTo>
                <a:lnTo>
                  <a:pt x="23" y="146"/>
                </a:lnTo>
                <a:lnTo>
                  <a:pt x="27" y="138"/>
                </a:lnTo>
                <a:lnTo>
                  <a:pt x="31" y="132"/>
                </a:lnTo>
                <a:lnTo>
                  <a:pt x="66" y="132"/>
                </a:lnTo>
                <a:lnTo>
                  <a:pt x="73" y="122"/>
                </a:lnTo>
                <a:lnTo>
                  <a:pt x="76" y="117"/>
                </a:lnTo>
                <a:lnTo>
                  <a:pt x="80" y="113"/>
                </a:lnTo>
                <a:lnTo>
                  <a:pt x="69" y="80"/>
                </a:lnTo>
                <a:lnTo>
                  <a:pt x="75" y="74"/>
                </a:lnTo>
                <a:lnTo>
                  <a:pt x="81" y="68"/>
                </a:lnTo>
                <a:lnTo>
                  <a:pt x="114" y="79"/>
                </a:lnTo>
                <a:lnTo>
                  <a:pt x="124" y="72"/>
                </a:lnTo>
                <a:lnTo>
                  <a:pt x="134" y="65"/>
                </a:lnTo>
                <a:lnTo>
                  <a:pt x="133" y="30"/>
                </a:lnTo>
                <a:lnTo>
                  <a:pt x="141" y="26"/>
                </a:lnTo>
                <a:lnTo>
                  <a:pt x="148" y="23"/>
                </a:lnTo>
                <a:lnTo>
                  <a:pt x="176" y="43"/>
                </a:lnTo>
                <a:lnTo>
                  <a:pt x="187" y="39"/>
                </a:lnTo>
                <a:lnTo>
                  <a:pt x="193" y="37"/>
                </a:lnTo>
                <a:lnTo>
                  <a:pt x="199" y="36"/>
                </a:lnTo>
                <a:lnTo>
                  <a:pt x="210" y="3"/>
                </a:lnTo>
                <a:lnTo>
                  <a:pt x="226" y="0"/>
                </a:lnTo>
                <a:lnTo>
                  <a:pt x="246" y="29"/>
                </a:lnTo>
                <a:lnTo>
                  <a:pt x="259" y="28"/>
                </a:lnTo>
                <a:lnTo>
                  <a:pt x="271" y="29"/>
                </a:lnTo>
                <a:lnTo>
                  <a:pt x="291" y="0"/>
                </a:lnTo>
                <a:lnTo>
                  <a:pt x="299" y="1"/>
                </a:lnTo>
                <a:lnTo>
                  <a:pt x="307" y="3"/>
                </a:lnTo>
                <a:lnTo>
                  <a:pt x="318" y="36"/>
                </a:lnTo>
                <a:lnTo>
                  <a:pt x="330" y="39"/>
                </a:lnTo>
                <a:lnTo>
                  <a:pt x="335" y="41"/>
                </a:lnTo>
                <a:lnTo>
                  <a:pt x="341" y="43"/>
                </a:lnTo>
                <a:lnTo>
                  <a:pt x="369" y="23"/>
                </a:lnTo>
                <a:lnTo>
                  <a:pt x="376" y="26"/>
                </a:lnTo>
                <a:lnTo>
                  <a:pt x="384" y="30"/>
                </a:lnTo>
                <a:lnTo>
                  <a:pt x="384" y="65"/>
                </a:lnTo>
                <a:lnTo>
                  <a:pt x="393" y="72"/>
                </a:lnTo>
                <a:lnTo>
                  <a:pt x="398" y="75"/>
                </a:lnTo>
                <a:lnTo>
                  <a:pt x="403" y="79"/>
                </a:lnTo>
                <a:lnTo>
                  <a:pt x="436" y="68"/>
                </a:lnTo>
                <a:lnTo>
                  <a:pt x="442" y="74"/>
                </a:lnTo>
                <a:lnTo>
                  <a:pt x="448" y="80"/>
                </a:lnTo>
                <a:lnTo>
                  <a:pt x="437" y="113"/>
                </a:lnTo>
                <a:lnTo>
                  <a:pt x="444" y="122"/>
                </a:lnTo>
                <a:lnTo>
                  <a:pt x="451" y="132"/>
                </a:lnTo>
                <a:lnTo>
                  <a:pt x="486" y="132"/>
                </a:lnTo>
                <a:lnTo>
                  <a:pt x="490" y="138"/>
                </a:lnTo>
                <a:lnTo>
                  <a:pt x="494" y="146"/>
                </a:lnTo>
                <a:lnTo>
                  <a:pt x="473" y="173"/>
                </a:lnTo>
                <a:lnTo>
                  <a:pt x="477" y="185"/>
                </a:lnTo>
                <a:lnTo>
                  <a:pt x="479" y="191"/>
                </a:lnTo>
                <a:lnTo>
                  <a:pt x="480" y="197"/>
                </a:lnTo>
                <a:lnTo>
                  <a:pt x="514" y="207"/>
                </a:lnTo>
                <a:lnTo>
                  <a:pt x="516" y="224"/>
                </a:lnTo>
                <a:lnTo>
                  <a:pt x="487" y="243"/>
                </a:lnTo>
                <a:lnTo>
                  <a:pt x="488" y="255"/>
                </a:lnTo>
                <a:lnTo>
                  <a:pt x="487" y="267"/>
                </a:lnTo>
                <a:lnTo>
                  <a:pt x="516" y="287"/>
                </a:lnTo>
                <a:lnTo>
                  <a:pt x="515" y="295"/>
                </a:lnTo>
                <a:lnTo>
                  <a:pt x="514" y="303"/>
                </a:lnTo>
                <a:lnTo>
                  <a:pt x="480" y="314"/>
                </a:lnTo>
                <a:lnTo>
                  <a:pt x="477" y="326"/>
                </a:lnTo>
                <a:lnTo>
                  <a:pt x="475" y="331"/>
                </a:lnTo>
                <a:lnTo>
                  <a:pt x="473" y="337"/>
                </a:lnTo>
                <a:lnTo>
                  <a:pt x="494" y="365"/>
                </a:lnTo>
                <a:lnTo>
                  <a:pt x="490" y="372"/>
                </a:lnTo>
                <a:lnTo>
                  <a:pt x="486" y="379"/>
                </a:lnTo>
                <a:lnTo>
                  <a:pt x="451" y="378"/>
                </a:lnTo>
                <a:lnTo>
                  <a:pt x="444" y="389"/>
                </a:lnTo>
                <a:lnTo>
                  <a:pt x="441" y="393"/>
                </a:lnTo>
                <a:lnTo>
                  <a:pt x="437" y="398"/>
                </a:lnTo>
                <a:lnTo>
                  <a:pt x="448" y="431"/>
                </a:lnTo>
                <a:lnTo>
                  <a:pt x="442" y="437"/>
                </a:lnTo>
                <a:lnTo>
                  <a:pt x="436" y="443"/>
                </a:lnTo>
                <a:close/>
              </a:path>
            </a:pathLst>
          </a:custGeom>
          <a:solidFill>
            <a:schemeClr val="bg2"/>
          </a:solidFill>
          <a:ln w="9525">
            <a:noFill/>
            <a:round/>
            <a:headEnd/>
            <a:tailEnd/>
          </a:ln>
        </p:spPr>
        <p:txBody>
          <a:bodyPr/>
          <a:lstStyle/>
          <a:p>
            <a:endParaRPr lang="en-US" dirty="0">
              <a:solidFill>
                <a:srgbClr val="000000"/>
              </a:solidFill>
            </a:endParaRPr>
          </a:p>
        </p:txBody>
      </p:sp>
      <p:sp>
        <p:nvSpPr>
          <p:cNvPr id="72" name="Textplatzhalter 15">
            <a:extLst>
              <a:ext uri="{FF2B5EF4-FFF2-40B4-BE49-F238E27FC236}">
                <a16:creationId xmlns:a16="http://schemas.microsoft.com/office/drawing/2014/main" id="{665F55D3-2625-46B6-9F9D-76B78F5B8844}"/>
              </a:ext>
            </a:extLst>
          </p:cNvPr>
          <p:cNvSpPr txBox="1">
            <a:spLocks/>
          </p:cNvSpPr>
          <p:nvPr/>
        </p:nvSpPr>
        <p:spPr bwMode="gray">
          <a:xfrm>
            <a:off x="8904552" y="3321916"/>
            <a:ext cx="2663576" cy="1438305"/>
          </a:xfrm>
          <a:prstGeom prst="rect">
            <a:avLst/>
          </a:prstGeom>
        </p:spPr>
        <p:txBody>
          <a:bodyPr lIns="0" tIns="0" rIns="0" bIns="0" anchor="ct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400" dirty="0"/>
              <a:t>Maecenas porttitor congue massa. Fusce posuere, magna sed pulvinar ultricies, purus lectus malesuada libero, sit amet commodo magna </a:t>
            </a:r>
          </a:p>
        </p:txBody>
      </p:sp>
      <p:sp>
        <p:nvSpPr>
          <p:cNvPr id="73" name="Textplatzhalter 15">
            <a:extLst>
              <a:ext uri="{FF2B5EF4-FFF2-40B4-BE49-F238E27FC236}">
                <a16:creationId xmlns:a16="http://schemas.microsoft.com/office/drawing/2014/main" id="{0288018A-4C5C-438C-B9BE-E7E459E1DBC1}"/>
              </a:ext>
            </a:extLst>
          </p:cNvPr>
          <p:cNvSpPr txBox="1">
            <a:spLocks/>
          </p:cNvSpPr>
          <p:nvPr/>
        </p:nvSpPr>
        <p:spPr bwMode="gray">
          <a:xfrm>
            <a:off x="9336360" y="4871015"/>
            <a:ext cx="2232000" cy="1438305"/>
          </a:xfrm>
          <a:prstGeom prst="rect">
            <a:avLst/>
          </a:prstGeom>
        </p:spPr>
        <p:txBody>
          <a:bodyPr lIns="0" tIns="0" rIns="0" bIns="0" anchor="ct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400" dirty="0"/>
              <a:t>Maecenas porttitor congue massa. Fusce posuere, magna sed pulvinar ultricies, purus lectus malesuada libero, sit amet commodo magna eros</a:t>
            </a:r>
          </a:p>
        </p:txBody>
      </p:sp>
      <p:sp>
        <p:nvSpPr>
          <p:cNvPr id="74" name="Textplatzhalter 15">
            <a:extLst>
              <a:ext uri="{FF2B5EF4-FFF2-40B4-BE49-F238E27FC236}">
                <a16:creationId xmlns:a16="http://schemas.microsoft.com/office/drawing/2014/main" id="{A265ADE2-61D6-4909-8F28-1117DCD8CEFA}"/>
              </a:ext>
            </a:extLst>
          </p:cNvPr>
          <p:cNvSpPr txBox="1">
            <a:spLocks/>
          </p:cNvSpPr>
          <p:nvPr/>
        </p:nvSpPr>
        <p:spPr bwMode="gray">
          <a:xfrm>
            <a:off x="623392" y="1772816"/>
            <a:ext cx="2232000" cy="1438305"/>
          </a:xfrm>
          <a:prstGeom prst="rect">
            <a:avLst/>
          </a:prstGeom>
        </p:spPr>
        <p:txBody>
          <a:bodyPr lIns="0" tIns="0" rIns="0" bIns="0" anchor="ct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lgn="r"/>
            <a:r>
              <a:rPr lang="en-US" sz="1400" dirty="0"/>
              <a:t>Maecenas porttitor congue massa. Fusce posuere, magna sed pulvinar ultricies, purus lectus malesuada libero, sit amet commodo magna eros</a:t>
            </a:r>
          </a:p>
        </p:txBody>
      </p:sp>
      <p:sp>
        <p:nvSpPr>
          <p:cNvPr id="75" name="Textplatzhalter 15">
            <a:extLst>
              <a:ext uri="{FF2B5EF4-FFF2-40B4-BE49-F238E27FC236}">
                <a16:creationId xmlns:a16="http://schemas.microsoft.com/office/drawing/2014/main" id="{62548CA0-4161-4C42-955E-25B16DCB7419}"/>
              </a:ext>
            </a:extLst>
          </p:cNvPr>
          <p:cNvSpPr txBox="1">
            <a:spLocks/>
          </p:cNvSpPr>
          <p:nvPr/>
        </p:nvSpPr>
        <p:spPr bwMode="gray">
          <a:xfrm>
            <a:off x="623392" y="3321916"/>
            <a:ext cx="2663576" cy="1438305"/>
          </a:xfrm>
          <a:prstGeom prst="rect">
            <a:avLst/>
          </a:prstGeom>
        </p:spPr>
        <p:txBody>
          <a:bodyPr lIns="0" tIns="0" rIns="0" bIns="0" anchor="ct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lgn="r"/>
            <a:r>
              <a:rPr lang="en-US" sz="1400" dirty="0"/>
              <a:t>Maecenas porttitor congue massa. Fusce posuere, magna sed pulvinar ultricies, purus lectus malesuada libero, sit amet commodo magna </a:t>
            </a:r>
          </a:p>
        </p:txBody>
      </p:sp>
      <p:sp>
        <p:nvSpPr>
          <p:cNvPr id="76" name="Textplatzhalter 15">
            <a:extLst>
              <a:ext uri="{FF2B5EF4-FFF2-40B4-BE49-F238E27FC236}">
                <a16:creationId xmlns:a16="http://schemas.microsoft.com/office/drawing/2014/main" id="{8CA10C31-7D61-4275-AD00-64BB3F363235}"/>
              </a:ext>
            </a:extLst>
          </p:cNvPr>
          <p:cNvSpPr txBox="1">
            <a:spLocks/>
          </p:cNvSpPr>
          <p:nvPr/>
        </p:nvSpPr>
        <p:spPr bwMode="gray">
          <a:xfrm>
            <a:off x="623392" y="4871015"/>
            <a:ext cx="2232000" cy="1438305"/>
          </a:xfrm>
          <a:prstGeom prst="rect">
            <a:avLst/>
          </a:prstGeom>
        </p:spPr>
        <p:txBody>
          <a:bodyPr lIns="0" tIns="0" rIns="0" bIns="0" anchor="ct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lgn="r"/>
            <a:r>
              <a:rPr lang="en-US" sz="1400" dirty="0"/>
              <a:t>Maecenas porttitor congue massa. Fusce posuere, magna sed pulvinar ultricies, purus lectus malesuada libero, sit amet commodo magna eros</a:t>
            </a:r>
          </a:p>
        </p:txBody>
      </p:sp>
      <p:sp>
        <p:nvSpPr>
          <p:cNvPr id="77" name="Freeform 57">
            <a:extLst>
              <a:ext uri="{FF2B5EF4-FFF2-40B4-BE49-F238E27FC236}">
                <a16:creationId xmlns:a16="http://schemas.microsoft.com/office/drawing/2014/main" id="{40D68D32-CD58-479A-9499-0CCEBD717318}"/>
              </a:ext>
            </a:extLst>
          </p:cNvPr>
          <p:cNvSpPr>
            <a:spLocks noChangeAspect="1"/>
          </p:cNvSpPr>
          <p:nvPr/>
        </p:nvSpPr>
        <p:spPr bwMode="gray">
          <a:xfrm>
            <a:off x="4559571" y="4874780"/>
            <a:ext cx="756185" cy="747466"/>
          </a:xfrm>
          <a:custGeom>
            <a:avLst/>
            <a:gdLst>
              <a:gd name="T0" fmla="*/ 2485 w 516"/>
              <a:gd name="T1" fmla="*/ 2775 h 510"/>
              <a:gd name="T2" fmla="*/ 2376 w 516"/>
              <a:gd name="T3" fmla="*/ 3068 h 510"/>
              <a:gd name="T4" fmla="*/ 2085 w 516"/>
              <a:gd name="T5" fmla="*/ 2977 h 510"/>
              <a:gd name="T6" fmla="*/ 1941 w 516"/>
              <a:gd name="T7" fmla="*/ 3210 h 510"/>
              <a:gd name="T8" fmla="*/ 1638 w 516"/>
              <a:gd name="T9" fmla="*/ 3045 h 510"/>
              <a:gd name="T10" fmla="*/ 1377 w 516"/>
              <a:gd name="T11" fmla="*/ 3217 h 510"/>
              <a:gd name="T12" fmla="*/ 1183 w 516"/>
              <a:gd name="T13" fmla="*/ 2977 h 510"/>
              <a:gd name="T14" fmla="*/ 937 w 516"/>
              <a:gd name="T15" fmla="*/ 3084 h 510"/>
              <a:gd name="T16" fmla="*/ 849 w 516"/>
              <a:gd name="T17" fmla="*/ 2820 h 510"/>
              <a:gd name="T18" fmla="*/ 721 w 516"/>
              <a:gd name="T19" fmla="*/ 2731 h 510"/>
              <a:gd name="T20" fmla="*/ 438 w 516"/>
              <a:gd name="T21" fmla="*/ 2725 h 510"/>
              <a:gd name="T22" fmla="*/ 418 w 516"/>
              <a:gd name="T23" fmla="*/ 2389 h 510"/>
              <a:gd name="T24" fmla="*/ 148 w 516"/>
              <a:gd name="T25" fmla="*/ 2308 h 510"/>
              <a:gd name="T26" fmla="*/ 246 w 516"/>
              <a:gd name="T27" fmla="*/ 2025 h 510"/>
              <a:gd name="T28" fmla="*/ 0 w 516"/>
              <a:gd name="T29" fmla="*/ 1816 h 510"/>
              <a:gd name="T30" fmla="*/ 189 w 516"/>
              <a:gd name="T31" fmla="*/ 1535 h 510"/>
              <a:gd name="T32" fmla="*/ 20 w 516"/>
              <a:gd name="T33" fmla="*/ 1309 h 510"/>
              <a:gd name="T34" fmla="*/ 266 w 516"/>
              <a:gd name="T35" fmla="*/ 1132 h 510"/>
              <a:gd name="T36" fmla="*/ 170 w 516"/>
              <a:gd name="T37" fmla="*/ 873 h 510"/>
              <a:gd name="T38" fmla="*/ 462 w 516"/>
              <a:gd name="T39" fmla="*/ 773 h 510"/>
              <a:gd name="T40" fmla="*/ 438 w 516"/>
              <a:gd name="T41" fmla="*/ 507 h 510"/>
              <a:gd name="T42" fmla="*/ 721 w 516"/>
              <a:gd name="T43" fmla="*/ 499 h 510"/>
              <a:gd name="T44" fmla="*/ 841 w 516"/>
              <a:gd name="T45" fmla="*/ 189 h 510"/>
              <a:gd name="T46" fmla="*/ 1111 w 516"/>
              <a:gd name="T47" fmla="*/ 274 h 510"/>
              <a:gd name="T48" fmla="*/ 1257 w 516"/>
              <a:gd name="T49" fmla="*/ 229 h 510"/>
              <a:gd name="T50" fmla="*/ 1555 w 516"/>
              <a:gd name="T51" fmla="*/ 185 h 510"/>
              <a:gd name="T52" fmla="*/ 1840 w 516"/>
              <a:gd name="T53" fmla="*/ 0 h 510"/>
              <a:gd name="T54" fmla="*/ 2010 w 516"/>
              <a:gd name="T55" fmla="*/ 229 h 510"/>
              <a:gd name="T56" fmla="*/ 2154 w 516"/>
              <a:gd name="T57" fmla="*/ 274 h 510"/>
              <a:gd name="T58" fmla="*/ 2428 w 516"/>
              <a:gd name="T59" fmla="*/ 189 h 510"/>
              <a:gd name="T60" fmla="*/ 2516 w 516"/>
              <a:gd name="T61" fmla="*/ 475 h 510"/>
              <a:gd name="T62" fmla="*/ 2794 w 516"/>
              <a:gd name="T63" fmla="*/ 468 h 510"/>
              <a:gd name="T64" fmla="*/ 2807 w 516"/>
              <a:gd name="T65" fmla="*/ 773 h 510"/>
              <a:gd name="T66" fmla="*/ 3097 w 516"/>
              <a:gd name="T67" fmla="*/ 873 h 510"/>
              <a:gd name="T68" fmla="*/ 3015 w 516"/>
              <a:gd name="T69" fmla="*/ 1169 h 510"/>
              <a:gd name="T70" fmla="*/ 3247 w 516"/>
              <a:gd name="T71" fmla="*/ 1309 h 510"/>
              <a:gd name="T72" fmla="*/ 3084 w 516"/>
              <a:gd name="T73" fmla="*/ 1614 h 510"/>
              <a:gd name="T74" fmla="*/ 3254 w 516"/>
              <a:gd name="T75" fmla="*/ 1864 h 510"/>
              <a:gd name="T76" fmla="*/ 3015 w 516"/>
              <a:gd name="T77" fmla="*/ 2062 h 510"/>
              <a:gd name="T78" fmla="*/ 3121 w 516"/>
              <a:gd name="T79" fmla="*/ 2308 h 510"/>
              <a:gd name="T80" fmla="*/ 2851 w 516"/>
              <a:gd name="T81" fmla="*/ 2389 h 510"/>
              <a:gd name="T82" fmla="*/ 2762 w 516"/>
              <a:gd name="T83" fmla="*/ 2517 h 510"/>
              <a:gd name="T84" fmla="*/ 2755 w 516"/>
              <a:gd name="T85" fmla="*/ 2799 h 51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16" h="510">
                <a:moveTo>
                  <a:pt x="436" y="443"/>
                </a:moveTo>
                <a:lnTo>
                  <a:pt x="403" y="432"/>
                </a:lnTo>
                <a:lnTo>
                  <a:pt x="393" y="439"/>
                </a:lnTo>
                <a:lnTo>
                  <a:pt x="384" y="446"/>
                </a:lnTo>
                <a:lnTo>
                  <a:pt x="384" y="480"/>
                </a:lnTo>
                <a:lnTo>
                  <a:pt x="376" y="485"/>
                </a:lnTo>
                <a:lnTo>
                  <a:pt x="369" y="488"/>
                </a:lnTo>
                <a:lnTo>
                  <a:pt x="341" y="467"/>
                </a:lnTo>
                <a:lnTo>
                  <a:pt x="330" y="471"/>
                </a:lnTo>
                <a:lnTo>
                  <a:pt x="324" y="473"/>
                </a:lnTo>
                <a:lnTo>
                  <a:pt x="318" y="475"/>
                </a:lnTo>
                <a:lnTo>
                  <a:pt x="307" y="508"/>
                </a:lnTo>
                <a:lnTo>
                  <a:pt x="291" y="510"/>
                </a:lnTo>
                <a:lnTo>
                  <a:pt x="271" y="482"/>
                </a:lnTo>
                <a:lnTo>
                  <a:pt x="259" y="482"/>
                </a:lnTo>
                <a:lnTo>
                  <a:pt x="246" y="482"/>
                </a:lnTo>
                <a:lnTo>
                  <a:pt x="226" y="510"/>
                </a:lnTo>
                <a:lnTo>
                  <a:pt x="218" y="509"/>
                </a:lnTo>
                <a:lnTo>
                  <a:pt x="210" y="508"/>
                </a:lnTo>
                <a:lnTo>
                  <a:pt x="199" y="475"/>
                </a:lnTo>
                <a:lnTo>
                  <a:pt x="187" y="471"/>
                </a:lnTo>
                <a:lnTo>
                  <a:pt x="181" y="470"/>
                </a:lnTo>
                <a:lnTo>
                  <a:pt x="176" y="467"/>
                </a:lnTo>
                <a:lnTo>
                  <a:pt x="148" y="488"/>
                </a:lnTo>
                <a:lnTo>
                  <a:pt x="141" y="485"/>
                </a:lnTo>
                <a:lnTo>
                  <a:pt x="133" y="480"/>
                </a:lnTo>
                <a:lnTo>
                  <a:pt x="134" y="446"/>
                </a:lnTo>
                <a:lnTo>
                  <a:pt x="124" y="439"/>
                </a:lnTo>
                <a:lnTo>
                  <a:pt x="119" y="435"/>
                </a:lnTo>
                <a:lnTo>
                  <a:pt x="114" y="432"/>
                </a:lnTo>
                <a:lnTo>
                  <a:pt x="81" y="443"/>
                </a:lnTo>
                <a:lnTo>
                  <a:pt x="75" y="437"/>
                </a:lnTo>
                <a:lnTo>
                  <a:pt x="69" y="431"/>
                </a:lnTo>
                <a:lnTo>
                  <a:pt x="80" y="398"/>
                </a:lnTo>
                <a:lnTo>
                  <a:pt x="73" y="389"/>
                </a:lnTo>
                <a:lnTo>
                  <a:pt x="66" y="378"/>
                </a:lnTo>
                <a:lnTo>
                  <a:pt x="31" y="379"/>
                </a:lnTo>
                <a:lnTo>
                  <a:pt x="27" y="372"/>
                </a:lnTo>
                <a:lnTo>
                  <a:pt x="23" y="365"/>
                </a:lnTo>
                <a:lnTo>
                  <a:pt x="44" y="337"/>
                </a:lnTo>
                <a:lnTo>
                  <a:pt x="40" y="326"/>
                </a:lnTo>
                <a:lnTo>
                  <a:pt x="39" y="320"/>
                </a:lnTo>
                <a:lnTo>
                  <a:pt x="37" y="314"/>
                </a:lnTo>
                <a:lnTo>
                  <a:pt x="3" y="303"/>
                </a:lnTo>
                <a:lnTo>
                  <a:pt x="0" y="287"/>
                </a:lnTo>
                <a:lnTo>
                  <a:pt x="30" y="267"/>
                </a:lnTo>
                <a:lnTo>
                  <a:pt x="29" y="255"/>
                </a:lnTo>
                <a:lnTo>
                  <a:pt x="30" y="243"/>
                </a:lnTo>
                <a:lnTo>
                  <a:pt x="0" y="224"/>
                </a:lnTo>
                <a:lnTo>
                  <a:pt x="1" y="215"/>
                </a:lnTo>
                <a:lnTo>
                  <a:pt x="3" y="207"/>
                </a:lnTo>
                <a:lnTo>
                  <a:pt x="37" y="197"/>
                </a:lnTo>
                <a:lnTo>
                  <a:pt x="40" y="185"/>
                </a:lnTo>
                <a:lnTo>
                  <a:pt x="42" y="179"/>
                </a:lnTo>
                <a:lnTo>
                  <a:pt x="44" y="173"/>
                </a:lnTo>
                <a:lnTo>
                  <a:pt x="23" y="146"/>
                </a:lnTo>
                <a:lnTo>
                  <a:pt x="27" y="138"/>
                </a:lnTo>
                <a:lnTo>
                  <a:pt x="31" y="132"/>
                </a:lnTo>
                <a:lnTo>
                  <a:pt x="66" y="132"/>
                </a:lnTo>
                <a:lnTo>
                  <a:pt x="73" y="122"/>
                </a:lnTo>
                <a:lnTo>
                  <a:pt x="76" y="117"/>
                </a:lnTo>
                <a:lnTo>
                  <a:pt x="80" y="113"/>
                </a:lnTo>
                <a:lnTo>
                  <a:pt x="69" y="80"/>
                </a:lnTo>
                <a:lnTo>
                  <a:pt x="75" y="74"/>
                </a:lnTo>
                <a:lnTo>
                  <a:pt x="81" y="68"/>
                </a:lnTo>
                <a:lnTo>
                  <a:pt x="114" y="79"/>
                </a:lnTo>
                <a:lnTo>
                  <a:pt x="124" y="72"/>
                </a:lnTo>
                <a:lnTo>
                  <a:pt x="134" y="65"/>
                </a:lnTo>
                <a:lnTo>
                  <a:pt x="133" y="30"/>
                </a:lnTo>
                <a:lnTo>
                  <a:pt x="141" y="26"/>
                </a:lnTo>
                <a:lnTo>
                  <a:pt x="148" y="23"/>
                </a:lnTo>
                <a:lnTo>
                  <a:pt x="176" y="43"/>
                </a:lnTo>
                <a:lnTo>
                  <a:pt x="187" y="39"/>
                </a:lnTo>
                <a:lnTo>
                  <a:pt x="193" y="37"/>
                </a:lnTo>
                <a:lnTo>
                  <a:pt x="199" y="36"/>
                </a:lnTo>
                <a:lnTo>
                  <a:pt x="210" y="3"/>
                </a:lnTo>
                <a:lnTo>
                  <a:pt x="226" y="0"/>
                </a:lnTo>
                <a:lnTo>
                  <a:pt x="246" y="29"/>
                </a:lnTo>
                <a:lnTo>
                  <a:pt x="259" y="28"/>
                </a:lnTo>
                <a:lnTo>
                  <a:pt x="271" y="29"/>
                </a:lnTo>
                <a:lnTo>
                  <a:pt x="291" y="0"/>
                </a:lnTo>
                <a:lnTo>
                  <a:pt x="299" y="1"/>
                </a:lnTo>
                <a:lnTo>
                  <a:pt x="307" y="3"/>
                </a:lnTo>
                <a:lnTo>
                  <a:pt x="318" y="36"/>
                </a:lnTo>
                <a:lnTo>
                  <a:pt x="330" y="39"/>
                </a:lnTo>
                <a:lnTo>
                  <a:pt x="335" y="41"/>
                </a:lnTo>
                <a:lnTo>
                  <a:pt x="341" y="43"/>
                </a:lnTo>
                <a:lnTo>
                  <a:pt x="369" y="23"/>
                </a:lnTo>
                <a:lnTo>
                  <a:pt x="376" y="26"/>
                </a:lnTo>
                <a:lnTo>
                  <a:pt x="384" y="30"/>
                </a:lnTo>
                <a:lnTo>
                  <a:pt x="384" y="65"/>
                </a:lnTo>
                <a:lnTo>
                  <a:pt x="393" y="72"/>
                </a:lnTo>
                <a:lnTo>
                  <a:pt x="398" y="75"/>
                </a:lnTo>
                <a:lnTo>
                  <a:pt x="403" y="79"/>
                </a:lnTo>
                <a:lnTo>
                  <a:pt x="436" y="68"/>
                </a:lnTo>
                <a:lnTo>
                  <a:pt x="442" y="74"/>
                </a:lnTo>
                <a:lnTo>
                  <a:pt x="448" y="80"/>
                </a:lnTo>
                <a:lnTo>
                  <a:pt x="437" y="113"/>
                </a:lnTo>
                <a:lnTo>
                  <a:pt x="444" y="122"/>
                </a:lnTo>
                <a:lnTo>
                  <a:pt x="451" y="132"/>
                </a:lnTo>
                <a:lnTo>
                  <a:pt x="486" y="132"/>
                </a:lnTo>
                <a:lnTo>
                  <a:pt x="490" y="138"/>
                </a:lnTo>
                <a:lnTo>
                  <a:pt x="494" y="146"/>
                </a:lnTo>
                <a:lnTo>
                  <a:pt x="473" y="173"/>
                </a:lnTo>
                <a:lnTo>
                  <a:pt x="477" y="185"/>
                </a:lnTo>
                <a:lnTo>
                  <a:pt x="479" y="191"/>
                </a:lnTo>
                <a:lnTo>
                  <a:pt x="480" y="197"/>
                </a:lnTo>
                <a:lnTo>
                  <a:pt x="514" y="207"/>
                </a:lnTo>
                <a:lnTo>
                  <a:pt x="516" y="224"/>
                </a:lnTo>
                <a:lnTo>
                  <a:pt x="487" y="243"/>
                </a:lnTo>
                <a:lnTo>
                  <a:pt x="488" y="255"/>
                </a:lnTo>
                <a:lnTo>
                  <a:pt x="487" y="267"/>
                </a:lnTo>
                <a:lnTo>
                  <a:pt x="516" y="287"/>
                </a:lnTo>
                <a:lnTo>
                  <a:pt x="515" y="295"/>
                </a:lnTo>
                <a:lnTo>
                  <a:pt x="514" y="303"/>
                </a:lnTo>
                <a:lnTo>
                  <a:pt x="480" y="314"/>
                </a:lnTo>
                <a:lnTo>
                  <a:pt x="477" y="326"/>
                </a:lnTo>
                <a:lnTo>
                  <a:pt x="475" y="331"/>
                </a:lnTo>
                <a:lnTo>
                  <a:pt x="473" y="337"/>
                </a:lnTo>
                <a:lnTo>
                  <a:pt x="494" y="365"/>
                </a:lnTo>
                <a:lnTo>
                  <a:pt x="490" y="372"/>
                </a:lnTo>
                <a:lnTo>
                  <a:pt x="486" y="379"/>
                </a:lnTo>
                <a:lnTo>
                  <a:pt x="451" y="378"/>
                </a:lnTo>
                <a:lnTo>
                  <a:pt x="444" y="389"/>
                </a:lnTo>
                <a:lnTo>
                  <a:pt x="441" y="393"/>
                </a:lnTo>
                <a:lnTo>
                  <a:pt x="437" y="398"/>
                </a:lnTo>
                <a:lnTo>
                  <a:pt x="448" y="431"/>
                </a:lnTo>
                <a:lnTo>
                  <a:pt x="442" y="437"/>
                </a:lnTo>
                <a:lnTo>
                  <a:pt x="436" y="443"/>
                </a:lnTo>
                <a:close/>
              </a:path>
            </a:pathLst>
          </a:custGeom>
          <a:solidFill>
            <a:schemeClr val="bg2"/>
          </a:solidFill>
          <a:ln w="9525">
            <a:noFill/>
            <a:round/>
            <a:headEnd/>
            <a:tailEnd/>
          </a:ln>
        </p:spPr>
        <p:txBody>
          <a:bodyPr/>
          <a:lstStyle/>
          <a:p>
            <a:endParaRPr lang="en-US" dirty="0">
              <a:solidFill>
                <a:srgbClr val="000000"/>
              </a:solidFill>
            </a:endParaRPr>
          </a:p>
        </p:txBody>
      </p:sp>
      <p:sp>
        <p:nvSpPr>
          <p:cNvPr id="4" name="Fußzeilenplatzhalter 3">
            <a:extLst>
              <a:ext uri="{FF2B5EF4-FFF2-40B4-BE49-F238E27FC236}">
                <a16:creationId xmlns:a16="http://schemas.microsoft.com/office/drawing/2014/main" id="{67461265-D918-4B27-9FFC-2BCCE4193D07}"/>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D1C3E225-8F33-47AC-8AC6-0F291C0D8D71}"/>
              </a:ext>
            </a:extLst>
          </p:cNvPr>
          <p:cNvSpPr>
            <a:spLocks noGrp="1"/>
          </p:cNvSpPr>
          <p:nvPr>
            <p:ph type="sldNum" sz="quarter" idx="12"/>
          </p:nvPr>
        </p:nvSpPr>
        <p:spPr/>
        <p:txBody>
          <a:bodyPr/>
          <a:lstStyle/>
          <a:p>
            <a:fld id="{CE82B8A1-0CCE-4815-9668-383D7DE7D8B4}" type="slidenum">
              <a:rPr lang="en-US" noProof="0" smtClean="0"/>
              <a:t>40</a:t>
            </a:fld>
            <a:endParaRPr lang="en-US" noProof="0" dirty="0"/>
          </a:p>
        </p:txBody>
      </p:sp>
    </p:spTree>
    <p:extLst>
      <p:ext uri="{BB962C8B-B14F-4D97-AF65-F5344CB8AC3E}">
        <p14:creationId xmlns:p14="http://schemas.microsoft.com/office/powerpoint/2010/main" val="27664723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decel="42000" fill="hold" grpId="0" nodeType="withEffect">
                                  <p:stCondLst>
                                    <p:cond delay="0"/>
                                  </p:stCondLst>
                                  <p:childTnLst>
                                    <p:animRot by="21600000">
                                      <p:cBhvr>
                                        <p:cTn id="6" dur="8500" fill="hold"/>
                                        <p:tgtEl>
                                          <p:spTgt spid="79"/>
                                        </p:tgtEl>
                                        <p:attrNameLst>
                                          <p:attrName>r</p:attrName>
                                        </p:attrNameLst>
                                      </p:cBhvr>
                                    </p:animRot>
                                  </p:childTnLst>
                                </p:cTn>
                              </p:par>
                              <p:par>
                                <p:cTn id="7" presetID="8" presetClass="emph" presetSubtype="0" repeatCount="indefinite" decel="42000" fill="hold" grpId="0" nodeType="withEffect">
                                  <p:stCondLst>
                                    <p:cond delay="0"/>
                                  </p:stCondLst>
                                  <p:childTnLst>
                                    <p:animRot by="21600000">
                                      <p:cBhvr>
                                        <p:cTn id="8" dur="8500" fill="hold"/>
                                        <p:tgtEl>
                                          <p:spTgt spid="67"/>
                                        </p:tgtEl>
                                        <p:attrNameLst>
                                          <p:attrName>r</p:attrName>
                                        </p:attrNameLst>
                                      </p:cBhvr>
                                    </p:animRot>
                                  </p:childTnLst>
                                </p:cTn>
                              </p:par>
                              <p:par>
                                <p:cTn id="9" presetID="8" presetClass="emph" presetSubtype="0" repeatCount="indefinite" decel="42000" fill="hold" grpId="0" nodeType="withEffect">
                                  <p:stCondLst>
                                    <p:cond delay="0"/>
                                  </p:stCondLst>
                                  <p:childTnLst>
                                    <p:animRot by="-21600000">
                                      <p:cBhvr>
                                        <p:cTn id="10" dur="8500" fill="hold"/>
                                        <p:tgtEl>
                                          <p:spTgt spid="69"/>
                                        </p:tgtEl>
                                        <p:attrNameLst>
                                          <p:attrName>r</p:attrName>
                                        </p:attrNameLst>
                                      </p:cBhvr>
                                    </p:animRot>
                                  </p:childTnLst>
                                </p:cTn>
                              </p:par>
                              <p:par>
                                <p:cTn id="11" presetID="8" presetClass="emph" presetSubtype="0" repeatCount="indefinite" decel="42000" fill="hold" grpId="0" nodeType="withEffect">
                                  <p:stCondLst>
                                    <p:cond delay="0"/>
                                  </p:stCondLst>
                                  <p:childTnLst>
                                    <p:animRot by="-21600000">
                                      <p:cBhvr>
                                        <p:cTn id="12" dur="8500" fill="hold"/>
                                        <p:tgtEl>
                                          <p:spTgt spid="70"/>
                                        </p:tgtEl>
                                        <p:attrNameLst>
                                          <p:attrName>r</p:attrName>
                                        </p:attrNameLst>
                                      </p:cBhvr>
                                    </p:animRot>
                                  </p:childTnLst>
                                </p:cTn>
                              </p:par>
                              <p:par>
                                <p:cTn id="13" presetID="8" presetClass="emph" presetSubtype="0" repeatCount="indefinite" decel="42000" fill="hold" grpId="0" nodeType="withEffect">
                                  <p:stCondLst>
                                    <p:cond delay="0"/>
                                  </p:stCondLst>
                                  <p:childTnLst>
                                    <p:animRot by="21600000">
                                      <p:cBhvr>
                                        <p:cTn id="14" dur="8500" fill="hold"/>
                                        <p:tgtEl>
                                          <p:spTgt spid="71"/>
                                        </p:tgtEl>
                                        <p:attrNameLst>
                                          <p:attrName>r</p:attrName>
                                        </p:attrNameLst>
                                      </p:cBhvr>
                                    </p:animRot>
                                  </p:childTnLst>
                                </p:cTn>
                              </p:par>
                              <p:par>
                                <p:cTn id="15" presetID="8" presetClass="emph" presetSubtype="0" repeatCount="indefinite" decel="42000" fill="hold" grpId="0" nodeType="withEffect">
                                  <p:stCondLst>
                                    <p:cond delay="0"/>
                                  </p:stCondLst>
                                  <p:childTnLst>
                                    <p:animRot by="21600000">
                                      <p:cBhvr>
                                        <p:cTn id="16" dur="8500" fill="hold"/>
                                        <p:tgtEl>
                                          <p:spTgt spid="78"/>
                                        </p:tgtEl>
                                        <p:attrNameLst>
                                          <p:attrName>r</p:attrName>
                                        </p:attrNameLst>
                                      </p:cBhvr>
                                    </p:animRot>
                                  </p:childTnLst>
                                </p:cTn>
                              </p:par>
                              <p:par>
                                <p:cTn id="17" presetID="8" presetClass="emph" presetSubtype="0" repeatCount="indefinite" decel="42000" fill="hold" grpId="0" nodeType="withEffect">
                                  <p:stCondLst>
                                    <p:cond delay="0"/>
                                  </p:stCondLst>
                                  <p:childTnLst>
                                    <p:animRot by="-21600000">
                                      <p:cBhvr>
                                        <p:cTn id="18" dur="8500" fill="hold"/>
                                        <p:tgtEl>
                                          <p:spTgt spid="7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8" grpId="0" animBg="1"/>
      <p:bldP spid="69" grpId="0" animBg="1"/>
      <p:bldP spid="79" grpId="0" animBg="1"/>
      <p:bldP spid="67" grpId="0" animBg="1"/>
      <p:bldP spid="71" grpId="0" animBg="1"/>
      <p:bldP spid="77"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176A64-A306-48D0-BFC4-4BCAD236758A}"/>
              </a:ext>
            </a:extLst>
          </p:cNvPr>
          <p:cNvSpPr>
            <a:spLocks noGrp="1"/>
          </p:cNvSpPr>
          <p:nvPr>
            <p:ph type="title"/>
          </p:nvPr>
        </p:nvSpPr>
        <p:spPr bwMode="gray"/>
        <p:txBody>
          <a:bodyPr/>
          <a:lstStyle/>
          <a:p>
            <a:r>
              <a:rPr lang="en-US" dirty="0"/>
              <a:t>SWOT Analysis</a:t>
            </a:r>
          </a:p>
        </p:txBody>
      </p:sp>
      <p:sp>
        <p:nvSpPr>
          <p:cNvPr id="18" name="Ellipse 17">
            <a:extLst>
              <a:ext uri="{FF2B5EF4-FFF2-40B4-BE49-F238E27FC236}">
                <a16:creationId xmlns:a16="http://schemas.microsoft.com/office/drawing/2014/main" id="{1F390120-4B1A-475E-AEEC-F176BBD1BC2C}"/>
              </a:ext>
            </a:extLst>
          </p:cNvPr>
          <p:cNvSpPr/>
          <p:nvPr/>
        </p:nvSpPr>
        <p:spPr bwMode="gray">
          <a:xfrm>
            <a:off x="5303912" y="3212976"/>
            <a:ext cx="720080" cy="72008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solidFill>
                  <a:schemeClr val="accent1"/>
                </a:solidFill>
                <a:latin typeface="+mj-lt"/>
              </a:rPr>
              <a:t>S</a:t>
            </a:r>
          </a:p>
        </p:txBody>
      </p:sp>
      <p:sp>
        <p:nvSpPr>
          <p:cNvPr id="20" name="Ellipse 19">
            <a:extLst>
              <a:ext uri="{FF2B5EF4-FFF2-40B4-BE49-F238E27FC236}">
                <a16:creationId xmlns:a16="http://schemas.microsoft.com/office/drawing/2014/main" id="{9FDC9C8E-46E7-4B5D-82B1-5416D19873A6}"/>
              </a:ext>
            </a:extLst>
          </p:cNvPr>
          <p:cNvSpPr/>
          <p:nvPr/>
        </p:nvSpPr>
        <p:spPr bwMode="gray">
          <a:xfrm>
            <a:off x="6168008" y="3218681"/>
            <a:ext cx="720080" cy="72008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solidFill>
                  <a:schemeClr val="accent1"/>
                </a:solidFill>
                <a:latin typeface="+mj-lt"/>
              </a:rPr>
              <a:t>W</a:t>
            </a:r>
          </a:p>
        </p:txBody>
      </p:sp>
      <p:sp>
        <p:nvSpPr>
          <p:cNvPr id="21" name="Ellipse 20">
            <a:extLst>
              <a:ext uri="{FF2B5EF4-FFF2-40B4-BE49-F238E27FC236}">
                <a16:creationId xmlns:a16="http://schemas.microsoft.com/office/drawing/2014/main" id="{DEA5FF20-8646-441D-A24E-782E1C2874D2}"/>
              </a:ext>
            </a:extLst>
          </p:cNvPr>
          <p:cNvSpPr/>
          <p:nvPr/>
        </p:nvSpPr>
        <p:spPr bwMode="gray">
          <a:xfrm>
            <a:off x="5303911" y="4080470"/>
            <a:ext cx="720080" cy="72008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solidFill>
                  <a:schemeClr val="accent1"/>
                </a:solidFill>
                <a:latin typeface="+mj-lt"/>
              </a:rPr>
              <a:t>O</a:t>
            </a:r>
          </a:p>
        </p:txBody>
      </p:sp>
      <p:sp>
        <p:nvSpPr>
          <p:cNvPr id="22" name="Ellipse 21">
            <a:extLst>
              <a:ext uri="{FF2B5EF4-FFF2-40B4-BE49-F238E27FC236}">
                <a16:creationId xmlns:a16="http://schemas.microsoft.com/office/drawing/2014/main" id="{DA3AE895-5E9E-4387-B49F-FFA2CFBA4538}"/>
              </a:ext>
            </a:extLst>
          </p:cNvPr>
          <p:cNvSpPr/>
          <p:nvPr/>
        </p:nvSpPr>
        <p:spPr bwMode="gray">
          <a:xfrm>
            <a:off x="6168008" y="4077072"/>
            <a:ext cx="720080" cy="72008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solidFill>
                  <a:schemeClr val="accent1"/>
                </a:solidFill>
                <a:latin typeface="+mj-lt"/>
              </a:rPr>
              <a:t>T</a:t>
            </a:r>
          </a:p>
        </p:txBody>
      </p:sp>
      <p:cxnSp>
        <p:nvCxnSpPr>
          <p:cNvPr id="36" name="Gerader Verbinder 35">
            <a:extLst>
              <a:ext uri="{FF2B5EF4-FFF2-40B4-BE49-F238E27FC236}">
                <a16:creationId xmlns:a16="http://schemas.microsoft.com/office/drawing/2014/main" id="{2FE9FB4F-38D6-4261-A8D0-9FD39A59D379}"/>
              </a:ext>
            </a:extLst>
          </p:cNvPr>
          <p:cNvCxnSpPr/>
          <p:nvPr/>
        </p:nvCxnSpPr>
        <p:spPr bwMode="gray">
          <a:xfrm flipH="1">
            <a:off x="623888" y="4005064"/>
            <a:ext cx="4824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40815D7C-3881-4840-9F8C-0938D788F9BE}"/>
              </a:ext>
            </a:extLst>
          </p:cNvPr>
          <p:cNvCxnSpPr/>
          <p:nvPr/>
        </p:nvCxnSpPr>
        <p:spPr bwMode="gray">
          <a:xfrm flipH="1">
            <a:off x="6744568" y="4005064"/>
            <a:ext cx="4824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B6B44DF0-D745-4646-ACB8-F3C6FA3D3008}"/>
              </a:ext>
            </a:extLst>
          </p:cNvPr>
          <p:cNvCxnSpPr/>
          <p:nvPr/>
        </p:nvCxnSpPr>
        <p:spPr bwMode="gray">
          <a:xfrm flipV="1">
            <a:off x="6096000" y="1772816"/>
            <a:ext cx="0" cy="1439738"/>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C30C2171-85AE-4905-8929-F9E2DE28F45B}"/>
              </a:ext>
            </a:extLst>
          </p:cNvPr>
          <p:cNvCxnSpPr/>
          <p:nvPr/>
        </p:nvCxnSpPr>
        <p:spPr bwMode="gray">
          <a:xfrm flipV="1">
            <a:off x="6096000" y="4869582"/>
            <a:ext cx="0" cy="1439738"/>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platzhalter 15">
            <a:extLst>
              <a:ext uri="{FF2B5EF4-FFF2-40B4-BE49-F238E27FC236}">
                <a16:creationId xmlns:a16="http://schemas.microsoft.com/office/drawing/2014/main" id="{F33F4BF6-458F-4506-BEC2-83AC241F5BF7}"/>
              </a:ext>
            </a:extLst>
          </p:cNvPr>
          <p:cNvSpPr txBox="1">
            <a:spLocks/>
          </p:cNvSpPr>
          <p:nvPr/>
        </p:nvSpPr>
        <p:spPr bwMode="gray">
          <a:xfrm>
            <a:off x="623392" y="1772816"/>
            <a:ext cx="4032000" cy="2016222"/>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2"/>
            <a:r>
              <a:rPr lang="en-US" dirty="0"/>
              <a:t>Nunc viverra imperdiet enim </a:t>
            </a:r>
            <a:br>
              <a:rPr lang="en-US" dirty="0"/>
            </a:br>
            <a:r>
              <a:rPr lang="en-US" dirty="0"/>
              <a:t>Fusce est. Vivamus a tellus</a:t>
            </a:r>
          </a:p>
          <a:p>
            <a:pPr lvl="2"/>
            <a:r>
              <a:rPr lang="en-US" dirty="0"/>
              <a:t>Pellentesque habitant morbi tristique senectus et netus et malesuada fames ac turpis egestas</a:t>
            </a:r>
          </a:p>
          <a:p>
            <a:pPr lvl="2"/>
            <a:r>
              <a:rPr lang="en-US" dirty="0"/>
              <a:t>Proin pharetra nonummy pede</a:t>
            </a:r>
          </a:p>
        </p:txBody>
      </p:sp>
      <p:sp>
        <p:nvSpPr>
          <p:cNvPr id="42" name="Textplatzhalter 15">
            <a:extLst>
              <a:ext uri="{FF2B5EF4-FFF2-40B4-BE49-F238E27FC236}">
                <a16:creationId xmlns:a16="http://schemas.microsoft.com/office/drawing/2014/main" id="{CC6B2102-DA67-44EA-B617-23B434C1C0AE}"/>
              </a:ext>
            </a:extLst>
          </p:cNvPr>
          <p:cNvSpPr txBox="1">
            <a:spLocks/>
          </p:cNvSpPr>
          <p:nvPr/>
        </p:nvSpPr>
        <p:spPr bwMode="gray">
          <a:xfrm>
            <a:off x="7536608" y="1772816"/>
            <a:ext cx="4032000" cy="2016222"/>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2"/>
            <a:r>
              <a:rPr lang="en-US" dirty="0"/>
              <a:t>Nunc viverra imperdiet enim </a:t>
            </a:r>
            <a:br>
              <a:rPr lang="en-US" dirty="0"/>
            </a:br>
            <a:r>
              <a:rPr lang="en-US" dirty="0"/>
              <a:t>Fusce est. Vivamus a tellus</a:t>
            </a:r>
          </a:p>
          <a:p>
            <a:pPr lvl="2"/>
            <a:r>
              <a:rPr lang="en-US" dirty="0"/>
              <a:t>Pellentesque habitant morbi tristique senectus et netus et malesuada fames ac turpis egestas</a:t>
            </a:r>
          </a:p>
          <a:p>
            <a:pPr lvl="2"/>
            <a:r>
              <a:rPr lang="en-US" dirty="0"/>
              <a:t>Proin pharetra nonummy pede</a:t>
            </a:r>
          </a:p>
        </p:txBody>
      </p:sp>
      <p:sp>
        <p:nvSpPr>
          <p:cNvPr id="43" name="Textplatzhalter 15">
            <a:extLst>
              <a:ext uri="{FF2B5EF4-FFF2-40B4-BE49-F238E27FC236}">
                <a16:creationId xmlns:a16="http://schemas.microsoft.com/office/drawing/2014/main" id="{CB91BB16-930D-49D9-BAA9-BDED1A11DDE4}"/>
              </a:ext>
            </a:extLst>
          </p:cNvPr>
          <p:cNvSpPr txBox="1">
            <a:spLocks/>
          </p:cNvSpPr>
          <p:nvPr/>
        </p:nvSpPr>
        <p:spPr bwMode="gray">
          <a:xfrm>
            <a:off x="623392" y="4293098"/>
            <a:ext cx="4032000" cy="2016222"/>
          </a:xfrm>
          <a:prstGeom prst="rect">
            <a:avLst/>
          </a:prstGeom>
        </p:spPr>
        <p:txBody>
          <a:bodyPr lIns="0" tIns="0" rIns="0" bIns="0" anchor="b"/>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2"/>
            <a:r>
              <a:rPr lang="en-US" dirty="0"/>
              <a:t>Nunc viverra imperdiet enim </a:t>
            </a:r>
            <a:br>
              <a:rPr lang="en-US" dirty="0"/>
            </a:br>
            <a:r>
              <a:rPr lang="en-US" dirty="0"/>
              <a:t>Fusce est. Vivamus a tellus</a:t>
            </a:r>
          </a:p>
          <a:p>
            <a:pPr lvl="2"/>
            <a:r>
              <a:rPr lang="en-US" dirty="0"/>
              <a:t>Pellentesque habitant morbi tristique senectus et netus et malesuada fames ac turpis egestas</a:t>
            </a:r>
          </a:p>
          <a:p>
            <a:pPr lvl="2"/>
            <a:r>
              <a:rPr lang="en-US" dirty="0"/>
              <a:t>Proin pharetra nonummy pede</a:t>
            </a:r>
          </a:p>
        </p:txBody>
      </p:sp>
      <p:sp>
        <p:nvSpPr>
          <p:cNvPr id="44" name="Textplatzhalter 15">
            <a:extLst>
              <a:ext uri="{FF2B5EF4-FFF2-40B4-BE49-F238E27FC236}">
                <a16:creationId xmlns:a16="http://schemas.microsoft.com/office/drawing/2014/main" id="{FB04B962-7BE9-4766-8DEB-EB6D6C4EF9F0}"/>
              </a:ext>
            </a:extLst>
          </p:cNvPr>
          <p:cNvSpPr txBox="1">
            <a:spLocks/>
          </p:cNvSpPr>
          <p:nvPr/>
        </p:nvSpPr>
        <p:spPr bwMode="gray">
          <a:xfrm>
            <a:off x="7536608" y="4293098"/>
            <a:ext cx="4032000" cy="2016222"/>
          </a:xfrm>
          <a:prstGeom prst="rect">
            <a:avLst/>
          </a:prstGeom>
        </p:spPr>
        <p:txBody>
          <a:bodyPr lIns="0" tIns="0" rIns="0" bIns="0" anchor="b"/>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2"/>
            <a:r>
              <a:rPr lang="en-US" dirty="0"/>
              <a:t>Nunc viverra imperdiet enim </a:t>
            </a:r>
            <a:br>
              <a:rPr lang="en-US" dirty="0"/>
            </a:br>
            <a:r>
              <a:rPr lang="en-US" dirty="0"/>
              <a:t>Fusce est. Vivamus a tellus</a:t>
            </a:r>
          </a:p>
          <a:p>
            <a:pPr lvl="2"/>
            <a:r>
              <a:rPr lang="en-US" dirty="0"/>
              <a:t>Pellentesque habitant morbi tristique senectus et netus et malesuada fames ac turpis egestas</a:t>
            </a:r>
          </a:p>
          <a:p>
            <a:pPr lvl="2"/>
            <a:r>
              <a:rPr lang="en-US" dirty="0"/>
              <a:t>Proin pharetra nonummy pede</a:t>
            </a:r>
          </a:p>
        </p:txBody>
      </p:sp>
      <p:sp>
        <p:nvSpPr>
          <p:cNvPr id="4" name="Fußzeilenplatzhalter 3">
            <a:extLst>
              <a:ext uri="{FF2B5EF4-FFF2-40B4-BE49-F238E27FC236}">
                <a16:creationId xmlns:a16="http://schemas.microsoft.com/office/drawing/2014/main" id="{641559E0-AA81-4846-B067-AACF343A9C3E}"/>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8ED6CBDC-8727-4B38-B34C-4656D916E67F}"/>
              </a:ext>
            </a:extLst>
          </p:cNvPr>
          <p:cNvSpPr>
            <a:spLocks noGrp="1"/>
          </p:cNvSpPr>
          <p:nvPr>
            <p:ph type="sldNum" sz="quarter" idx="12"/>
          </p:nvPr>
        </p:nvSpPr>
        <p:spPr/>
        <p:txBody>
          <a:bodyPr/>
          <a:lstStyle/>
          <a:p>
            <a:fld id="{CE82B8A1-0CCE-4815-9668-383D7DE7D8B4}" type="slidenum">
              <a:rPr lang="en-US" noProof="0" smtClean="0"/>
              <a:t>41</a:t>
            </a:fld>
            <a:endParaRPr lang="en-US" noProof="0" dirty="0"/>
          </a:p>
        </p:txBody>
      </p:sp>
    </p:spTree>
    <p:extLst>
      <p:ext uri="{BB962C8B-B14F-4D97-AF65-F5344CB8AC3E}">
        <p14:creationId xmlns:p14="http://schemas.microsoft.com/office/powerpoint/2010/main" val="175482919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6BA829-CD2C-419A-B281-657EFE85B98D}"/>
              </a:ext>
            </a:extLst>
          </p:cNvPr>
          <p:cNvSpPr>
            <a:spLocks noGrp="1"/>
          </p:cNvSpPr>
          <p:nvPr>
            <p:ph type="title"/>
          </p:nvPr>
        </p:nvSpPr>
        <p:spPr bwMode="gray"/>
        <p:txBody>
          <a:bodyPr/>
          <a:lstStyle/>
          <a:p>
            <a:r>
              <a:rPr lang="en-US" dirty="0"/>
              <a:t>Five arguments with highlighting</a:t>
            </a:r>
          </a:p>
        </p:txBody>
      </p:sp>
      <p:sp>
        <p:nvSpPr>
          <p:cNvPr id="19" name="Textplatzhalter 15">
            <a:extLst>
              <a:ext uri="{FF2B5EF4-FFF2-40B4-BE49-F238E27FC236}">
                <a16:creationId xmlns:a16="http://schemas.microsoft.com/office/drawing/2014/main" id="{47E79C14-F9E5-41B5-A891-9EBCB867E4E8}"/>
              </a:ext>
            </a:extLst>
          </p:cNvPr>
          <p:cNvSpPr txBox="1">
            <a:spLocks/>
          </p:cNvSpPr>
          <p:nvPr/>
        </p:nvSpPr>
        <p:spPr bwMode="gray">
          <a:xfrm>
            <a:off x="623392" y="1772816"/>
            <a:ext cx="2448421" cy="2087637"/>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Aft>
                <a:spcPts val="600"/>
              </a:spcAft>
            </a:pPr>
            <a:r>
              <a:rPr lang="en-US" dirty="0"/>
              <a:t>Maecenas porttitor congue massa. </a:t>
            </a:r>
          </a:p>
          <a:p>
            <a:pPr lvl="2"/>
            <a:r>
              <a:rPr lang="en-US" dirty="0"/>
              <a:t>Nunc viverra imperdiet enim </a:t>
            </a:r>
            <a:br>
              <a:rPr lang="en-US" dirty="0"/>
            </a:br>
            <a:r>
              <a:rPr lang="en-US" dirty="0"/>
              <a:t>Fusce est. Vivamus a tellus</a:t>
            </a:r>
          </a:p>
          <a:p>
            <a:pPr lvl="2"/>
            <a:r>
              <a:rPr lang="en-US" dirty="0"/>
              <a:t>Pellentesque habitant morbi tristique senectus et netus et malesuada fames ac</a:t>
            </a:r>
          </a:p>
        </p:txBody>
      </p:sp>
      <p:sp>
        <p:nvSpPr>
          <p:cNvPr id="20" name="Textplatzhalter 15">
            <a:extLst>
              <a:ext uri="{FF2B5EF4-FFF2-40B4-BE49-F238E27FC236}">
                <a16:creationId xmlns:a16="http://schemas.microsoft.com/office/drawing/2014/main" id="{BD752940-5C89-4026-A11A-5838FE173DF0}"/>
              </a:ext>
            </a:extLst>
          </p:cNvPr>
          <p:cNvSpPr txBox="1">
            <a:spLocks/>
          </p:cNvSpPr>
          <p:nvPr/>
        </p:nvSpPr>
        <p:spPr bwMode="gray">
          <a:xfrm>
            <a:off x="3503613" y="1772816"/>
            <a:ext cx="2376488" cy="2087637"/>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Aft>
                <a:spcPts val="600"/>
              </a:spcAft>
            </a:pPr>
            <a:r>
              <a:rPr lang="en-US" dirty="0"/>
              <a:t>Maecenas porttitor congue massa. </a:t>
            </a:r>
          </a:p>
          <a:p>
            <a:pPr lvl="2"/>
            <a:r>
              <a:rPr lang="en-US" dirty="0"/>
              <a:t>Nunc viverra imperdiet enim </a:t>
            </a:r>
            <a:br>
              <a:rPr lang="en-US" dirty="0"/>
            </a:br>
            <a:r>
              <a:rPr lang="en-US" dirty="0"/>
              <a:t>Fusce est. Vivamus a tellus</a:t>
            </a:r>
          </a:p>
          <a:p>
            <a:pPr lvl="2"/>
            <a:r>
              <a:rPr lang="en-US" dirty="0"/>
              <a:t>Pellentesque habitant morbi tristique senectus et netus et malesuada fames ac</a:t>
            </a:r>
          </a:p>
        </p:txBody>
      </p:sp>
      <p:sp>
        <p:nvSpPr>
          <p:cNvPr id="21" name="Textplatzhalter 15">
            <a:extLst>
              <a:ext uri="{FF2B5EF4-FFF2-40B4-BE49-F238E27FC236}">
                <a16:creationId xmlns:a16="http://schemas.microsoft.com/office/drawing/2014/main" id="{8E9B6C0D-0797-4373-AFE3-F276900FCF59}"/>
              </a:ext>
            </a:extLst>
          </p:cNvPr>
          <p:cNvSpPr txBox="1">
            <a:spLocks/>
          </p:cNvSpPr>
          <p:nvPr/>
        </p:nvSpPr>
        <p:spPr bwMode="gray">
          <a:xfrm>
            <a:off x="623392" y="4221088"/>
            <a:ext cx="2448421" cy="2087637"/>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Aft>
                <a:spcPts val="600"/>
              </a:spcAft>
            </a:pPr>
            <a:r>
              <a:rPr lang="en-US" dirty="0"/>
              <a:t>Maecenas porttitor congue massa. </a:t>
            </a:r>
          </a:p>
          <a:p>
            <a:pPr lvl="2"/>
            <a:r>
              <a:rPr lang="en-US" dirty="0"/>
              <a:t>Nunc viverra imperdiet enim </a:t>
            </a:r>
            <a:br>
              <a:rPr lang="en-US" dirty="0"/>
            </a:br>
            <a:r>
              <a:rPr lang="en-US" dirty="0"/>
              <a:t>Fusce est. Vivamus a tellus</a:t>
            </a:r>
          </a:p>
          <a:p>
            <a:pPr lvl="2"/>
            <a:r>
              <a:rPr lang="en-US" dirty="0"/>
              <a:t>Pellentesque habitant morbi tristique senectus et netus et malesuada fames ac</a:t>
            </a:r>
          </a:p>
        </p:txBody>
      </p:sp>
      <p:sp>
        <p:nvSpPr>
          <p:cNvPr id="22" name="Textplatzhalter 15">
            <a:extLst>
              <a:ext uri="{FF2B5EF4-FFF2-40B4-BE49-F238E27FC236}">
                <a16:creationId xmlns:a16="http://schemas.microsoft.com/office/drawing/2014/main" id="{89BF9225-922C-4C11-9118-2F086788AE15}"/>
              </a:ext>
            </a:extLst>
          </p:cNvPr>
          <p:cNvSpPr txBox="1">
            <a:spLocks/>
          </p:cNvSpPr>
          <p:nvPr/>
        </p:nvSpPr>
        <p:spPr bwMode="gray">
          <a:xfrm>
            <a:off x="3503613" y="4221088"/>
            <a:ext cx="2376488" cy="2087637"/>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Aft>
                <a:spcPts val="600"/>
              </a:spcAft>
            </a:pPr>
            <a:r>
              <a:rPr lang="en-US" dirty="0"/>
              <a:t>Maecenas porttitor congue massa. </a:t>
            </a:r>
          </a:p>
          <a:p>
            <a:pPr lvl="2"/>
            <a:r>
              <a:rPr lang="en-US" dirty="0"/>
              <a:t>Nunc viverra imperdiet enim </a:t>
            </a:r>
            <a:br>
              <a:rPr lang="en-US" dirty="0"/>
            </a:br>
            <a:r>
              <a:rPr lang="en-US" dirty="0"/>
              <a:t>Fusce est. Vivamus a tellus</a:t>
            </a:r>
          </a:p>
          <a:p>
            <a:pPr lvl="2"/>
            <a:r>
              <a:rPr lang="en-US" dirty="0"/>
              <a:t>Pellentesque habitant morbi tristique senectus et netus et malesuada fames ac</a:t>
            </a:r>
          </a:p>
        </p:txBody>
      </p:sp>
      <p:sp>
        <p:nvSpPr>
          <p:cNvPr id="23" name="Textplatzhalter 15">
            <a:extLst>
              <a:ext uri="{FF2B5EF4-FFF2-40B4-BE49-F238E27FC236}">
                <a16:creationId xmlns:a16="http://schemas.microsoft.com/office/drawing/2014/main" id="{D17D3C15-923C-4783-84B5-5765D1062D41}"/>
              </a:ext>
            </a:extLst>
          </p:cNvPr>
          <p:cNvSpPr txBox="1">
            <a:spLocks/>
          </p:cNvSpPr>
          <p:nvPr/>
        </p:nvSpPr>
        <p:spPr bwMode="gray">
          <a:xfrm>
            <a:off x="6311900" y="1772816"/>
            <a:ext cx="2376488" cy="2087637"/>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Aft>
                <a:spcPts val="600"/>
              </a:spcAft>
            </a:pPr>
            <a:r>
              <a:rPr lang="en-US" dirty="0">
                <a:solidFill>
                  <a:schemeClr val="accent5"/>
                </a:solidFill>
              </a:rPr>
              <a:t>Maecenas porttitor congue massa. </a:t>
            </a:r>
          </a:p>
          <a:p>
            <a:pPr lvl="2">
              <a:buClr>
                <a:schemeClr val="tx1"/>
              </a:buClr>
            </a:pPr>
            <a:r>
              <a:rPr lang="en-US" dirty="0"/>
              <a:t>Nunc viverra imperdiet enim </a:t>
            </a:r>
            <a:br>
              <a:rPr lang="en-US" dirty="0"/>
            </a:br>
            <a:r>
              <a:rPr lang="en-US" dirty="0"/>
              <a:t>Fusce est. Vivamus a tellus</a:t>
            </a:r>
          </a:p>
          <a:p>
            <a:pPr lvl="2">
              <a:buClr>
                <a:schemeClr val="tx1"/>
              </a:buClr>
            </a:pPr>
            <a:r>
              <a:rPr lang="en-US" dirty="0"/>
              <a:t>Pellentesque habitant morbi tristique senectus et netus et malesuada fames ac</a:t>
            </a:r>
          </a:p>
        </p:txBody>
      </p:sp>
      <p:sp>
        <p:nvSpPr>
          <p:cNvPr id="13" name="Textfeld 12">
            <a:extLst>
              <a:ext uri="{FF2B5EF4-FFF2-40B4-BE49-F238E27FC236}">
                <a16:creationId xmlns:a16="http://schemas.microsoft.com/office/drawing/2014/main" id="{29A04539-ABDC-4D93-8F12-1C377014F234}"/>
              </a:ext>
            </a:extLst>
          </p:cNvPr>
          <p:cNvSpPr txBox="1">
            <a:spLocks/>
          </p:cNvSpPr>
          <p:nvPr/>
        </p:nvSpPr>
        <p:spPr bwMode="gray">
          <a:xfrm>
            <a:off x="7572704" y="3429000"/>
            <a:ext cx="4619296" cy="3429000"/>
          </a:xfrm>
          <a:custGeom>
            <a:avLst/>
            <a:gdLst>
              <a:gd name="connsiteX0" fmla="*/ 2430000 w 4619296"/>
              <a:gd name="connsiteY0" fmla="*/ 0 h 3429000"/>
              <a:gd name="connsiteX1" fmla="*/ 4566712 w 4619296"/>
              <a:gd name="connsiteY1" fmla="*/ 1271867 h 3429000"/>
              <a:gd name="connsiteX2" fmla="*/ 4619296 w 4619296"/>
              <a:gd name="connsiteY2" fmla="*/ 1381037 h 3429000"/>
              <a:gd name="connsiteX3" fmla="*/ 4619296 w 4619296"/>
              <a:gd name="connsiteY3" fmla="*/ 3429000 h 3429000"/>
              <a:gd name="connsiteX4" fmla="*/ 216365 w 4619296"/>
              <a:gd name="connsiteY4" fmla="*/ 3429000 h 3429000"/>
              <a:gd name="connsiteX5" fmla="*/ 190962 w 4619296"/>
              <a:gd name="connsiteY5" fmla="*/ 3376261 h 3429000"/>
              <a:gd name="connsiteX6" fmla="*/ 0 w 4619296"/>
              <a:gd name="connsiteY6" fmla="*/ 2430284 h 3429000"/>
              <a:gd name="connsiteX7" fmla="*/ 2430000 w 4619296"/>
              <a:gd name="connsiteY7" fmla="*/ 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9296" h="3429000">
                <a:moveTo>
                  <a:pt x="2430000" y="0"/>
                </a:moveTo>
                <a:cubicBezTo>
                  <a:pt x="3352661" y="0"/>
                  <a:pt x="4155218" y="514286"/>
                  <a:pt x="4566712" y="1271867"/>
                </a:cubicBezTo>
                <a:lnTo>
                  <a:pt x="4619296" y="1381037"/>
                </a:lnTo>
                <a:lnTo>
                  <a:pt x="4619296" y="3429000"/>
                </a:lnTo>
                <a:lnTo>
                  <a:pt x="216365" y="3429000"/>
                </a:lnTo>
                <a:lnTo>
                  <a:pt x="190962" y="3376261"/>
                </a:lnTo>
                <a:cubicBezTo>
                  <a:pt x="67997" y="3085505"/>
                  <a:pt x="0" y="2765837"/>
                  <a:pt x="0" y="2430284"/>
                </a:cubicBezTo>
                <a:cubicBezTo>
                  <a:pt x="0" y="1088075"/>
                  <a:pt x="1087948" y="0"/>
                  <a:pt x="2430000" y="0"/>
                </a:cubicBezTo>
                <a:close/>
              </a:path>
            </a:pathLst>
          </a:custGeom>
          <a:solidFill>
            <a:schemeClr val="bg2"/>
          </a:solidFill>
          <a:ln>
            <a:noFill/>
          </a:ln>
        </p:spPr>
        <p:txBody>
          <a:bodyPr wrap="square" lIns="1296000" tIns="900000" rIns="576000" bIns="3600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sz="2400" dirty="0">
                <a:solidFill>
                  <a:schemeClr val="accent5"/>
                </a:solidFill>
              </a:rPr>
              <a:t>Conclusion</a:t>
            </a:r>
          </a:p>
          <a:p>
            <a:pPr lvl="1"/>
            <a:r>
              <a:rPr lang="en-US" dirty="0"/>
              <a:t>Maecenas porttitor congue massa. Fusce posuere, magna sed pulvinar ultricies, purus lectus malesuada libero, sit amet commodo magna eros quis urna.</a:t>
            </a:r>
          </a:p>
        </p:txBody>
      </p:sp>
      <p:cxnSp>
        <p:nvCxnSpPr>
          <p:cNvPr id="14" name="Gerader Verbinder 13">
            <a:extLst>
              <a:ext uri="{FF2B5EF4-FFF2-40B4-BE49-F238E27FC236}">
                <a16:creationId xmlns:a16="http://schemas.microsoft.com/office/drawing/2014/main" id="{1D989F3D-5960-4602-838D-ED711E73AAD9}"/>
              </a:ext>
            </a:extLst>
          </p:cNvPr>
          <p:cNvCxnSpPr>
            <a:cxnSpLocks/>
          </p:cNvCxnSpPr>
          <p:nvPr/>
        </p:nvCxnSpPr>
        <p:spPr bwMode="gray">
          <a:xfrm>
            <a:off x="10488488" y="4617160"/>
            <a:ext cx="1080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4" name="Fußzeilenplatzhalter 3">
            <a:extLst>
              <a:ext uri="{FF2B5EF4-FFF2-40B4-BE49-F238E27FC236}">
                <a16:creationId xmlns:a16="http://schemas.microsoft.com/office/drawing/2014/main" id="{4B93ECFF-D24F-41BD-B6F1-BFD898634086}"/>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063A8E8E-D63E-43C4-95D3-CD7758419B0B}"/>
              </a:ext>
            </a:extLst>
          </p:cNvPr>
          <p:cNvSpPr>
            <a:spLocks noGrp="1"/>
          </p:cNvSpPr>
          <p:nvPr>
            <p:ph type="sldNum" sz="quarter" idx="12"/>
          </p:nvPr>
        </p:nvSpPr>
        <p:spPr/>
        <p:txBody>
          <a:bodyPr/>
          <a:lstStyle/>
          <a:p>
            <a:fld id="{CE82B8A1-0CCE-4815-9668-383D7DE7D8B4}" type="slidenum">
              <a:rPr lang="en-US" noProof="0" smtClean="0"/>
              <a:t>42</a:t>
            </a:fld>
            <a:endParaRPr lang="en-US" noProof="0" dirty="0"/>
          </a:p>
        </p:txBody>
      </p:sp>
    </p:spTree>
    <p:extLst>
      <p:ext uri="{BB962C8B-B14F-4D97-AF65-F5344CB8AC3E}">
        <p14:creationId xmlns:p14="http://schemas.microsoft.com/office/powerpoint/2010/main" val="39284451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Grafik 35">
            <a:extLst>
              <a:ext uri="{FF2B5EF4-FFF2-40B4-BE49-F238E27FC236}">
                <a16:creationId xmlns:a16="http://schemas.microsoft.com/office/drawing/2014/main" id="{55C34903-D6F0-448D-B047-DCEBA450F03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407" t="10809" r="5137" b="7237"/>
          <a:stretch/>
        </p:blipFill>
        <p:spPr bwMode="gray">
          <a:xfrm>
            <a:off x="623392" y="1772816"/>
            <a:ext cx="2448272" cy="1656184"/>
          </a:xfrm>
          <a:prstGeom prst="rect">
            <a:avLst/>
          </a:prstGeom>
        </p:spPr>
      </p:pic>
      <p:pic>
        <p:nvPicPr>
          <p:cNvPr id="35" name="Grafik 34">
            <a:extLst>
              <a:ext uri="{FF2B5EF4-FFF2-40B4-BE49-F238E27FC236}">
                <a16:creationId xmlns:a16="http://schemas.microsoft.com/office/drawing/2014/main" id="{CA0E4AB3-0F07-4C1C-A5B3-7ADB80A34C9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360" t="10809" r="7955" b="7237"/>
          <a:stretch/>
        </p:blipFill>
        <p:spPr bwMode="gray">
          <a:xfrm>
            <a:off x="3503712" y="4653136"/>
            <a:ext cx="2376388" cy="1656184"/>
          </a:xfrm>
          <a:prstGeom prst="rect">
            <a:avLst/>
          </a:prstGeom>
        </p:spPr>
      </p:pic>
      <p:sp>
        <p:nvSpPr>
          <p:cNvPr id="26" name="Textfeld 25">
            <a:extLst>
              <a:ext uri="{FF2B5EF4-FFF2-40B4-BE49-F238E27FC236}">
                <a16:creationId xmlns:a16="http://schemas.microsoft.com/office/drawing/2014/main" id="{EAEB8DBA-45B2-46AE-AFF6-C3556A722840}"/>
              </a:ext>
            </a:extLst>
          </p:cNvPr>
          <p:cNvSpPr txBox="1">
            <a:spLocks/>
          </p:cNvSpPr>
          <p:nvPr/>
        </p:nvSpPr>
        <p:spPr bwMode="gray">
          <a:xfrm>
            <a:off x="8760296" y="2132855"/>
            <a:ext cx="3431704" cy="4725145"/>
          </a:xfrm>
          <a:custGeom>
            <a:avLst/>
            <a:gdLst>
              <a:gd name="connsiteX0" fmla="*/ 2576486 w 3431704"/>
              <a:gd name="connsiteY0" fmla="*/ 0 h 4725145"/>
              <a:gd name="connsiteX1" fmla="*/ 3251187 w 3431704"/>
              <a:gd name="connsiteY1" fmla="*/ 89243 h 4725145"/>
              <a:gd name="connsiteX2" fmla="*/ 3431704 w 3431704"/>
              <a:gd name="connsiteY2" fmla="*/ 146598 h 4725145"/>
              <a:gd name="connsiteX3" fmla="*/ 3431704 w 3431704"/>
              <a:gd name="connsiteY3" fmla="*/ 4725145 h 4725145"/>
              <a:gd name="connsiteX4" fmla="*/ 1156022 w 3431704"/>
              <a:gd name="connsiteY4" fmla="*/ 4725145 h 4725145"/>
              <a:gd name="connsiteX5" fmla="*/ 1135948 w 3431704"/>
              <a:gd name="connsiteY5" fmla="*/ 4712950 h 4725145"/>
              <a:gd name="connsiteX6" fmla="*/ 0 w 3431704"/>
              <a:gd name="connsiteY6" fmla="*/ 2576487 h 4725145"/>
              <a:gd name="connsiteX7" fmla="*/ 2576486 w 3431704"/>
              <a:gd name="connsiteY7" fmla="*/ 0 h 4725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1704" h="4725145">
                <a:moveTo>
                  <a:pt x="2576486" y="0"/>
                </a:moveTo>
                <a:cubicBezTo>
                  <a:pt x="2809940" y="0"/>
                  <a:pt x="3036142" y="31049"/>
                  <a:pt x="3251187" y="89243"/>
                </a:cubicBezTo>
                <a:lnTo>
                  <a:pt x="3431704" y="146598"/>
                </a:lnTo>
                <a:lnTo>
                  <a:pt x="3431704" y="4725145"/>
                </a:lnTo>
                <a:lnTo>
                  <a:pt x="1156022" y="4725145"/>
                </a:lnTo>
                <a:lnTo>
                  <a:pt x="1135948" y="4712950"/>
                </a:lnTo>
                <a:cubicBezTo>
                  <a:pt x="450599" y="4249937"/>
                  <a:pt x="0" y="3465834"/>
                  <a:pt x="0" y="2576487"/>
                </a:cubicBezTo>
                <a:cubicBezTo>
                  <a:pt x="0" y="1153532"/>
                  <a:pt x="1153532" y="0"/>
                  <a:pt x="2576486" y="0"/>
                </a:cubicBezTo>
                <a:close/>
              </a:path>
            </a:pathLst>
          </a:custGeom>
          <a:solidFill>
            <a:schemeClr val="bg2"/>
          </a:solidFill>
          <a:ln>
            <a:noFill/>
          </a:ln>
        </p:spPr>
        <p:txBody>
          <a:bodyPr wrap="square" lIns="576000" tIns="1620000" rIns="576000" bIns="3600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sz="2400" dirty="0">
                <a:solidFill>
                  <a:schemeClr val="accent5"/>
                </a:solidFill>
              </a:rPr>
              <a:t>Conclusion</a:t>
            </a:r>
          </a:p>
          <a:p>
            <a:pPr lvl="1"/>
            <a:r>
              <a:rPr lang="en-US" dirty="0"/>
              <a:t>Maecenas porttitor congue massa. Fusce posuere, magna sed pulvinar ultricies, purus lectus malesuada libero, sit amet commodo magna eros quis urna.</a:t>
            </a:r>
          </a:p>
        </p:txBody>
      </p:sp>
      <p:cxnSp>
        <p:nvCxnSpPr>
          <p:cNvPr id="17" name="Gerader Verbinder 16">
            <a:extLst>
              <a:ext uri="{FF2B5EF4-FFF2-40B4-BE49-F238E27FC236}">
                <a16:creationId xmlns:a16="http://schemas.microsoft.com/office/drawing/2014/main" id="{0A416074-047E-4313-AC36-73165DFB4E58}"/>
              </a:ext>
            </a:extLst>
          </p:cNvPr>
          <p:cNvCxnSpPr>
            <a:cxnSpLocks/>
          </p:cNvCxnSpPr>
          <p:nvPr/>
        </p:nvCxnSpPr>
        <p:spPr bwMode="gray">
          <a:xfrm>
            <a:off x="10956608" y="4041096"/>
            <a:ext cx="612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E4A15FE2-191C-4271-8B97-ADCC44884114}"/>
              </a:ext>
            </a:extLst>
          </p:cNvPr>
          <p:cNvSpPr>
            <a:spLocks noGrp="1"/>
          </p:cNvSpPr>
          <p:nvPr>
            <p:ph type="title"/>
          </p:nvPr>
        </p:nvSpPr>
        <p:spPr bwMode="gray"/>
        <p:txBody>
          <a:bodyPr/>
          <a:lstStyle/>
          <a:p>
            <a:r>
              <a:rPr lang="en-US" dirty="0"/>
              <a:t>Three phases with photos</a:t>
            </a:r>
          </a:p>
        </p:txBody>
      </p:sp>
      <p:pic>
        <p:nvPicPr>
          <p:cNvPr id="20" name="Grafik 19">
            <a:extLst>
              <a:ext uri="{FF2B5EF4-FFF2-40B4-BE49-F238E27FC236}">
                <a16:creationId xmlns:a16="http://schemas.microsoft.com/office/drawing/2014/main" id="{BB7C940C-2D6D-4F0A-9180-8F6CACDA62D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763" t="10809" r="2790" b="7237"/>
          <a:stretch/>
        </p:blipFill>
        <p:spPr bwMode="gray">
          <a:xfrm>
            <a:off x="6312296" y="1772816"/>
            <a:ext cx="2376092" cy="1656184"/>
          </a:xfrm>
          <a:prstGeom prst="rect">
            <a:avLst/>
          </a:prstGeom>
        </p:spPr>
      </p:pic>
      <p:sp>
        <p:nvSpPr>
          <p:cNvPr id="28" name="Textplatzhalter 15">
            <a:extLst>
              <a:ext uri="{FF2B5EF4-FFF2-40B4-BE49-F238E27FC236}">
                <a16:creationId xmlns:a16="http://schemas.microsoft.com/office/drawing/2014/main" id="{E0DE2504-397A-47B9-ACEB-4F49EBBCE53D}"/>
              </a:ext>
            </a:extLst>
          </p:cNvPr>
          <p:cNvSpPr txBox="1">
            <a:spLocks/>
          </p:cNvSpPr>
          <p:nvPr/>
        </p:nvSpPr>
        <p:spPr bwMode="gray">
          <a:xfrm>
            <a:off x="623392" y="3573320"/>
            <a:ext cx="2448272" cy="2736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Aft>
                <a:spcPts val="600"/>
              </a:spcAft>
            </a:pPr>
            <a:r>
              <a:rPr lang="en-US" dirty="0"/>
              <a:t>Maecenas porttitor congue massa. </a:t>
            </a:r>
          </a:p>
          <a:p>
            <a:pPr lvl="2"/>
            <a:r>
              <a:rPr lang="en-US" dirty="0"/>
              <a:t>Nunc viverra imperdiet enim </a:t>
            </a:r>
            <a:br>
              <a:rPr lang="en-US" dirty="0"/>
            </a:br>
            <a:r>
              <a:rPr lang="en-US" dirty="0"/>
              <a:t>Fusce est. Vivamus a tellus</a:t>
            </a:r>
          </a:p>
          <a:p>
            <a:pPr lvl="2"/>
            <a:r>
              <a:rPr lang="en-US" dirty="0"/>
              <a:t>Pellentesque habitant morbi tristique senectus et netus et malesuada fames ac</a:t>
            </a:r>
          </a:p>
        </p:txBody>
      </p:sp>
      <p:sp>
        <p:nvSpPr>
          <p:cNvPr id="29" name="Textplatzhalter 15">
            <a:extLst>
              <a:ext uri="{FF2B5EF4-FFF2-40B4-BE49-F238E27FC236}">
                <a16:creationId xmlns:a16="http://schemas.microsoft.com/office/drawing/2014/main" id="{F9307A52-2F6F-4A31-8CFE-651AA92EE3E5}"/>
              </a:ext>
            </a:extLst>
          </p:cNvPr>
          <p:cNvSpPr txBox="1">
            <a:spLocks/>
          </p:cNvSpPr>
          <p:nvPr/>
        </p:nvSpPr>
        <p:spPr bwMode="gray">
          <a:xfrm>
            <a:off x="6311900" y="3573320"/>
            <a:ext cx="2376116" cy="2736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Aft>
                <a:spcPts val="600"/>
              </a:spcAft>
            </a:pPr>
            <a:r>
              <a:rPr lang="en-US" dirty="0"/>
              <a:t>Maecenas porttitor congue massa. </a:t>
            </a:r>
          </a:p>
          <a:p>
            <a:pPr lvl="2"/>
            <a:r>
              <a:rPr lang="en-US" dirty="0"/>
              <a:t>Nunc viverra imperdiet enim </a:t>
            </a:r>
            <a:br>
              <a:rPr lang="en-US" dirty="0"/>
            </a:br>
            <a:r>
              <a:rPr lang="en-US" dirty="0"/>
              <a:t>Fusce est. Vivamus a tellus</a:t>
            </a:r>
          </a:p>
          <a:p>
            <a:pPr lvl="2"/>
            <a:r>
              <a:rPr lang="en-US" dirty="0"/>
              <a:t>Pellentesque habitant morbi tristique senectus et netus et malesuada fames ac</a:t>
            </a:r>
          </a:p>
        </p:txBody>
      </p:sp>
      <p:sp>
        <p:nvSpPr>
          <p:cNvPr id="30" name="Textplatzhalter 15">
            <a:extLst>
              <a:ext uri="{FF2B5EF4-FFF2-40B4-BE49-F238E27FC236}">
                <a16:creationId xmlns:a16="http://schemas.microsoft.com/office/drawing/2014/main" id="{0A83A62C-02CB-4670-A575-05CB966E6D1D}"/>
              </a:ext>
            </a:extLst>
          </p:cNvPr>
          <p:cNvSpPr txBox="1">
            <a:spLocks/>
          </p:cNvSpPr>
          <p:nvPr/>
        </p:nvSpPr>
        <p:spPr bwMode="gray">
          <a:xfrm>
            <a:off x="3503612" y="1772816"/>
            <a:ext cx="2376091" cy="2736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Aft>
                <a:spcPts val="600"/>
              </a:spcAft>
            </a:pPr>
            <a:r>
              <a:rPr lang="en-US" dirty="0"/>
              <a:t>Maecenas porttitor congue massa. </a:t>
            </a:r>
          </a:p>
          <a:p>
            <a:pPr lvl="2"/>
            <a:r>
              <a:rPr lang="en-US" dirty="0"/>
              <a:t>Nunc viverra imperdiet enim </a:t>
            </a:r>
            <a:br>
              <a:rPr lang="en-US" dirty="0"/>
            </a:br>
            <a:r>
              <a:rPr lang="en-US" dirty="0"/>
              <a:t>Fusce est. Vivamus a tellus</a:t>
            </a:r>
          </a:p>
          <a:p>
            <a:pPr lvl="2"/>
            <a:r>
              <a:rPr lang="en-US" dirty="0"/>
              <a:t>Pellentesque habitant morbi tristique senectus et netus et malesuada fames ac</a:t>
            </a:r>
          </a:p>
        </p:txBody>
      </p:sp>
      <p:sp>
        <p:nvSpPr>
          <p:cNvPr id="31" name="Textplatzhalter 3">
            <a:extLst>
              <a:ext uri="{FF2B5EF4-FFF2-40B4-BE49-F238E27FC236}">
                <a16:creationId xmlns:a16="http://schemas.microsoft.com/office/drawing/2014/main" id="{EA9D5BE9-B5CA-45D7-8151-3A784061CA4C}"/>
              </a:ext>
            </a:extLst>
          </p:cNvPr>
          <p:cNvSpPr txBox="1">
            <a:spLocks/>
          </p:cNvSpPr>
          <p:nvPr/>
        </p:nvSpPr>
        <p:spPr bwMode="gray">
          <a:xfrm>
            <a:off x="623392" y="2780928"/>
            <a:ext cx="864096"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dirty="0">
                <a:solidFill>
                  <a:schemeClr val="accent5"/>
                </a:solidFill>
              </a:rPr>
              <a:t>01</a:t>
            </a:r>
          </a:p>
        </p:txBody>
      </p:sp>
      <p:sp>
        <p:nvSpPr>
          <p:cNvPr id="32" name="Textplatzhalter 3">
            <a:extLst>
              <a:ext uri="{FF2B5EF4-FFF2-40B4-BE49-F238E27FC236}">
                <a16:creationId xmlns:a16="http://schemas.microsoft.com/office/drawing/2014/main" id="{A4569A4D-35CD-421D-90B6-417704B84FB7}"/>
              </a:ext>
            </a:extLst>
          </p:cNvPr>
          <p:cNvSpPr txBox="1">
            <a:spLocks/>
          </p:cNvSpPr>
          <p:nvPr/>
        </p:nvSpPr>
        <p:spPr bwMode="gray">
          <a:xfrm>
            <a:off x="3575720" y="4761208"/>
            <a:ext cx="864096" cy="432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dirty="0">
                <a:solidFill>
                  <a:schemeClr val="accent5"/>
                </a:solidFill>
              </a:rPr>
              <a:t>02</a:t>
            </a:r>
          </a:p>
        </p:txBody>
      </p:sp>
      <p:sp>
        <p:nvSpPr>
          <p:cNvPr id="34" name="Textplatzhalter 3">
            <a:extLst>
              <a:ext uri="{FF2B5EF4-FFF2-40B4-BE49-F238E27FC236}">
                <a16:creationId xmlns:a16="http://schemas.microsoft.com/office/drawing/2014/main" id="{AEBA2D9B-B040-4BD2-8BA8-5FBC045D08D7}"/>
              </a:ext>
            </a:extLst>
          </p:cNvPr>
          <p:cNvSpPr txBox="1">
            <a:spLocks/>
          </p:cNvSpPr>
          <p:nvPr/>
        </p:nvSpPr>
        <p:spPr bwMode="gray">
          <a:xfrm>
            <a:off x="6384304" y="2780928"/>
            <a:ext cx="864096"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dirty="0">
                <a:solidFill>
                  <a:schemeClr val="accent5"/>
                </a:solidFill>
              </a:rPr>
              <a:t>03</a:t>
            </a:r>
          </a:p>
        </p:txBody>
      </p:sp>
      <p:sp>
        <p:nvSpPr>
          <p:cNvPr id="4" name="Fußzeilenplatzhalter 3">
            <a:extLst>
              <a:ext uri="{FF2B5EF4-FFF2-40B4-BE49-F238E27FC236}">
                <a16:creationId xmlns:a16="http://schemas.microsoft.com/office/drawing/2014/main" id="{0FB85E01-020E-4705-BEE2-C9F223480175}"/>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346BE7E8-7375-4451-AD4A-197D336D62C1}"/>
              </a:ext>
            </a:extLst>
          </p:cNvPr>
          <p:cNvSpPr>
            <a:spLocks noGrp="1"/>
          </p:cNvSpPr>
          <p:nvPr>
            <p:ph type="sldNum" sz="quarter" idx="12"/>
          </p:nvPr>
        </p:nvSpPr>
        <p:spPr/>
        <p:txBody>
          <a:bodyPr/>
          <a:lstStyle/>
          <a:p>
            <a:fld id="{CE82B8A1-0CCE-4815-9668-383D7DE7D8B4}" type="slidenum">
              <a:rPr lang="en-US" noProof="0" smtClean="0"/>
              <a:t>43</a:t>
            </a:fld>
            <a:endParaRPr lang="en-US" noProof="0" dirty="0"/>
          </a:p>
        </p:txBody>
      </p:sp>
    </p:spTree>
    <p:extLst>
      <p:ext uri="{BB962C8B-B14F-4D97-AF65-F5344CB8AC3E}">
        <p14:creationId xmlns:p14="http://schemas.microsoft.com/office/powerpoint/2010/main" val="25759111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DB085A7-9F1D-4FE5-B5DB-066A0717B997}"/>
              </a:ext>
            </a:extLst>
          </p:cNvPr>
          <p:cNvSpPr>
            <a:spLocks noGrp="1"/>
          </p:cNvSpPr>
          <p:nvPr>
            <p:ph type="title"/>
          </p:nvPr>
        </p:nvSpPr>
        <p:spPr bwMode="gray"/>
        <p:txBody>
          <a:bodyPr/>
          <a:lstStyle/>
          <a:p>
            <a:r>
              <a:rPr lang="en-US" dirty="0"/>
              <a:t>Timeline with projects</a:t>
            </a:r>
          </a:p>
        </p:txBody>
      </p:sp>
      <p:sp>
        <p:nvSpPr>
          <p:cNvPr id="6" name="Textplatzhalter 15">
            <a:extLst>
              <a:ext uri="{FF2B5EF4-FFF2-40B4-BE49-F238E27FC236}">
                <a16:creationId xmlns:a16="http://schemas.microsoft.com/office/drawing/2014/main" id="{E9015DDC-96DF-41DD-B48F-17D7DCE87FE4}"/>
              </a:ext>
            </a:extLst>
          </p:cNvPr>
          <p:cNvSpPr txBox="1">
            <a:spLocks/>
          </p:cNvSpPr>
          <p:nvPr/>
        </p:nvSpPr>
        <p:spPr bwMode="gray">
          <a:xfrm>
            <a:off x="623738" y="1772816"/>
            <a:ext cx="2447926" cy="1871612"/>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Aft>
                <a:spcPts val="600"/>
              </a:spcAft>
            </a:pPr>
            <a:r>
              <a:rPr lang="en-US" dirty="0"/>
              <a:t>Lorem ipsum dolor sit amet, consectetuer adipiscing elit.</a:t>
            </a:r>
          </a:p>
          <a:p>
            <a:pPr lvl="2"/>
            <a:r>
              <a:rPr lang="en-US" dirty="0"/>
              <a:t>Nunc viverra imperdiet enim Fusce est. Vivamus a tellus</a:t>
            </a:r>
          </a:p>
          <a:p>
            <a:pPr lvl="2"/>
            <a:r>
              <a:rPr lang="en-US" dirty="0"/>
              <a:t>Pellentesque habitant morbi tristique senectus et netus et malesuada fames ac turpis egestas</a:t>
            </a:r>
          </a:p>
          <a:p>
            <a:pPr lvl="2"/>
            <a:r>
              <a:rPr lang="en-US" dirty="0"/>
              <a:t>Proin pharetra nonummy pede</a:t>
            </a:r>
          </a:p>
        </p:txBody>
      </p:sp>
      <p:sp>
        <p:nvSpPr>
          <p:cNvPr id="4" name="Ellipse 3">
            <a:extLst>
              <a:ext uri="{FF2B5EF4-FFF2-40B4-BE49-F238E27FC236}">
                <a16:creationId xmlns:a16="http://schemas.microsoft.com/office/drawing/2014/main" id="{B3F55F05-BDFF-4C6B-A2C1-990A39CD1676}"/>
              </a:ext>
            </a:extLst>
          </p:cNvPr>
          <p:cNvSpPr/>
          <p:nvPr/>
        </p:nvSpPr>
        <p:spPr bwMode="gray">
          <a:xfrm>
            <a:off x="3215680" y="5949280"/>
            <a:ext cx="144016" cy="144016"/>
          </a:xfrm>
          <a:prstGeom prst="ellips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r>
              <a:rPr lang="en-US" dirty="0">
                <a:solidFill>
                  <a:schemeClr val="accent5"/>
                </a:solidFill>
              </a:rPr>
              <a:t>Lorem ipsum</a:t>
            </a:r>
            <a:br>
              <a:rPr lang="en-US" dirty="0">
                <a:solidFill>
                  <a:schemeClr val="accent5"/>
                </a:solidFill>
              </a:rPr>
            </a:br>
            <a:r>
              <a:rPr lang="en-US" dirty="0">
                <a:solidFill>
                  <a:schemeClr val="accent5"/>
                </a:solidFill>
              </a:rPr>
              <a:t>dolor sit amet</a:t>
            </a:r>
          </a:p>
        </p:txBody>
      </p:sp>
      <p:sp>
        <p:nvSpPr>
          <p:cNvPr id="46" name="Ellipse 45">
            <a:extLst>
              <a:ext uri="{FF2B5EF4-FFF2-40B4-BE49-F238E27FC236}">
                <a16:creationId xmlns:a16="http://schemas.microsoft.com/office/drawing/2014/main" id="{15EEACAF-7D47-48CE-AFF3-A53B6C78E946}"/>
              </a:ext>
            </a:extLst>
          </p:cNvPr>
          <p:cNvSpPr/>
          <p:nvPr/>
        </p:nvSpPr>
        <p:spPr bwMode="gray">
          <a:xfrm>
            <a:off x="3431704"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47" name="Ellipse 46">
            <a:extLst>
              <a:ext uri="{FF2B5EF4-FFF2-40B4-BE49-F238E27FC236}">
                <a16:creationId xmlns:a16="http://schemas.microsoft.com/office/drawing/2014/main" id="{D66FC371-1CB4-4899-B540-2E7FC49BC564}"/>
              </a:ext>
            </a:extLst>
          </p:cNvPr>
          <p:cNvSpPr/>
          <p:nvPr/>
        </p:nvSpPr>
        <p:spPr bwMode="gray">
          <a:xfrm>
            <a:off x="2999656"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48" name="Ellipse 47">
            <a:extLst>
              <a:ext uri="{FF2B5EF4-FFF2-40B4-BE49-F238E27FC236}">
                <a16:creationId xmlns:a16="http://schemas.microsoft.com/office/drawing/2014/main" id="{FD124E35-3BF0-49D6-B0F1-29CFAC3D4044}"/>
              </a:ext>
            </a:extLst>
          </p:cNvPr>
          <p:cNvSpPr/>
          <p:nvPr/>
        </p:nvSpPr>
        <p:spPr bwMode="gray">
          <a:xfrm>
            <a:off x="2783632"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49" name="Ellipse 48">
            <a:extLst>
              <a:ext uri="{FF2B5EF4-FFF2-40B4-BE49-F238E27FC236}">
                <a16:creationId xmlns:a16="http://schemas.microsoft.com/office/drawing/2014/main" id="{7E2A44FF-5256-4891-80FE-3BE0A917BBC9}"/>
              </a:ext>
            </a:extLst>
          </p:cNvPr>
          <p:cNvSpPr/>
          <p:nvPr/>
        </p:nvSpPr>
        <p:spPr bwMode="gray">
          <a:xfrm>
            <a:off x="2567608"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50" name="Ellipse 49">
            <a:extLst>
              <a:ext uri="{FF2B5EF4-FFF2-40B4-BE49-F238E27FC236}">
                <a16:creationId xmlns:a16="http://schemas.microsoft.com/office/drawing/2014/main" id="{C445F88D-363F-41B6-B4F4-3878A271B0BF}"/>
              </a:ext>
            </a:extLst>
          </p:cNvPr>
          <p:cNvSpPr/>
          <p:nvPr/>
        </p:nvSpPr>
        <p:spPr bwMode="gray">
          <a:xfrm>
            <a:off x="2351584"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51" name="Ellipse 50">
            <a:extLst>
              <a:ext uri="{FF2B5EF4-FFF2-40B4-BE49-F238E27FC236}">
                <a16:creationId xmlns:a16="http://schemas.microsoft.com/office/drawing/2014/main" id="{DBDF0EB0-5E5C-49F9-B982-3858BD8A6DD0}"/>
              </a:ext>
            </a:extLst>
          </p:cNvPr>
          <p:cNvSpPr/>
          <p:nvPr/>
        </p:nvSpPr>
        <p:spPr bwMode="gray">
          <a:xfrm>
            <a:off x="2135560"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52" name="Ellipse 51">
            <a:extLst>
              <a:ext uri="{FF2B5EF4-FFF2-40B4-BE49-F238E27FC236}">
                <a16:creationId xmlns:a16="http://schemas.microsoft.com/office/drawing/2014/main" id="{5AA6B595-DABD-484A-BCD0-2EC9DCA6F0BF}"/>
              </a:ext>
            </a:extLst>
          </p:cNvPr>
          <p:cNvSpPr/>
          <p:nvPr/>
        </p:nvSpPr>
        <p:spPr bwMode="gray">
          <a:xfrm>
            <a:off x="1919536"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53" name="Ellipse 52">
            <a:extLst>
              <a:ext uri="{FF2B5EF4-FFF2-40B4-BE49-F238E27FC236}">
                <a16:creationId xmlns:a16="http://schemas.microsoft.com/office/drawing/2014/main" id="{0F96CD25-9349-4299-BD17-603A0A0FFEDA}"/>
              </a:ext>
            </a:extLst>
          </p:cNvPr>
          <p:cNvSpPr/>
          <p:nvPr/>
        </p:nvSpPr>
        <p:spPr bwMode="gray">
          <a:xfrm>
            <a:off x="1703512"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54" name="Ellipse 53">
            <a:extLst>
              <a:ext uri="{FF2B5EF4-FFF2-40B4-BE49-F238E27FC236}">
                <a16:creationId xmlns:a16="http://schemas.microsoft.com/office/drawing/2014/main" id="{B53B97D6-1C9A-46C2-B518-E299BC2DF641}"/>
              </a:ext>
            </a:extLst>
          </p:cNvPr>
          <p:cNvSpPr/>
          <p:nvPr/>
        </p:nvSpPr>
        <p:spPr bwMode="gray">
          <a:xfrm>
            <a:off x="1487488"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55" name="Ellipse 54">
            <a:extLst>
              <a:ext uri="{FF2B5EF4-FFF2-40B4-BE49-F238E27FC236}">
                <a16:creationId xmlns:a16="http://schemas.microsoft.com/office/drawing/2014/main" id="{337C415F-4DEB-473D-8537-4A162DC3A69E}"/>
              </a:ext>
            </a:extLst>
          </p:cNvPr>
          <p:cNvSpPr/>
          <p:nvPr/>
        </p:nvSpPr>
        <p:spPr bwMode="gray">
          <a:xfrm>
            <a:off x="1271464"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56" name="Ellipse 55">
            <a:extLst>
              <a:ext uri="{FF2B5EF4-FFF2-40B4-BE49-F238E27FC236}">
                <a16:creationId xmlns:a16="http://schemas.microsoft.com/office/drawing/2014/main" id="{73405D21-4EAF-4D1B-BA9D-8BF6C16976C0}"/>
              </a:ext>
            </a:extLst>
          </p:cNvPr>
          <p:cNvSpPr/>
          <p:nvPr/>
        </p:nvSpPr>
        <p:spPr bwMode="gray">
          <a:xfrm>
            <a:off x="1055440"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57" name="Ellipse 56">
            <a:extLst>
              <a:ext uri="{FF2B5EF4-FFF2-40B4-BE49-F238E27FC236}">
                <a16:creationId xmlns:a16="http://schemas.microsoft.com/office/drawing/2014/main" id="{EAFB1B67-C7C7-4E7B-997D-BB06DAA6BF0C}"/>
              </a:ext>
            </a:extLst>
          </p:cNvPr>
          <p:cNvSpPr/>
          <p:nvPr/>
        </p:nvSpPr>
        <p:spPr bwMode="gray">
          <a:xfrm>
            <a:off x="839416"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58" name="Ellipse 57">
            <a:extLst>
              <a:ext uri="{FF2B5EF4-FFF2-40B4-BE49-F238E27FC236}">
                <a16:creationId xmlns:a16="http://schemas.microsoft.com/office/drawing/2014/main" id="{42D48A15-48BC-47E1-87DD-FF29F5618D4D}"/>
              </a:ext>
            </a:extLst>
          </p:cNvPr>
          <p:cNvSpPr/>
          <p:nvPr/>
        </p:nvSpPr>
        <p:spPr bwMode="gray">
          <a:xfrm>
            <a:off x="623392"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59" name="Ellipse 58">
            <a:extLst>
              <a:ext uri="{FF2B5EF4-FFF2-40B4-BE49-F238E27FC236}">
                <a16:creationId xmlns:a16="http://schemas.microsoft.com/office/drawing/2014/main" id="{B5D17F27-AB4A-4166-91A3-852B679D1F41}"/>
              </a:ext>
            </a:extLst>
          </p:cNvPr>
          <p:cNvSpPr/>
          <p:nvPr/>
        </p:nvSpPr>
        <p:spPr bwMode="gray">
          <a:xfrm>
            <a:off x="407368"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60" name="Ellipse 59">
            <a:extLst>
              <a:ext uri="{FF2B5EF4-FFF2-40B4-BE49-F238E27FC236}">
                <a16:creationId xmlns:a16="http://schemas.microsoft.com/office/drawing/2014/main" id="{4AA85A08-80F8-4ECB-BB30-9CF93827E542}"/>
              </a:ext>
            </a:extLst>
          </p:cNvPr>
          <p:cNvSpPr/>
          <p:nvPr/>
        </p:nvSpPr>
        <p:spPr bwMode="gray">
          <a:xfrm>
            <a:off x="191344"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61" name="Ellipse 60">
            <a:extLst>
              <a:ext uri="{FF2B5EF4-FFF2-40B4-BE49-F238E27FC236}">
                <a16:creationId xmlns:a16="http://schemas.microsoft.com/office/drawing/2014/main" id="{E9B1F9B7-B752-459B-BF27-EF8E3E6DEBBF}"/>
              </a:ext>
            </a:extLst>
          </p:cNvPr>
          <p:cNvSpPr/>
          <p:nvPr/>
        </p:nvSpPr>
        <p:spPr bwMode="gray">
          <a:xfrm>
            <a:off x="-24680"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62" name="Ellipse 61">
            <a:extLst>
              <a:ext uri="{FF2B5EF4-FFF2-40B4-BE49-F238E27FC236}">
                <a16:creationId xmlns:a16="http://schemas.microsoft.com/office/drawing/2014/main" id="{96D9294B-B630-43FA-835A-5045E5C4B3B8}"/>
              </a:ext>
            </a:extLst>
          </p:cNvPr>
          <p:cNvSpPr/>
          <p:nvPr/>
        </p:nvSpPr>
        <p:spPr bwMode="gray">
          <a:xfrm>
            <a:off x="3863752"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63" name="Ellipse 62">
            <a:extLst>
              <a:ext uri="{FF2B5EF4-FFF2-40B4-BE49-F238E27FC236}">
                <a16:creationId xmlns:a16="http://schemas.microsoft.com/office/drawing/2014/main" id="{C7176F4C-5242-4335-9431-EFA8433E2DB9}"/>
              </a:ext>
            </a:extLst>
          </p:cNvPr>
          <p:cNvSpPr/>
          <p:nvPr/>
        </p:nvSpPr>
        <p:spPr bwMode="gray">
          <a:xfrm>
            <a:off x="3647728"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64" name="Ellipse 63">
            <a:extLst>
              <a:ext uri="{FF2B5EF4-FFF2-40B4-BE49-F238E27FC236}">
                <a16:creationId xmlns:a16="http://schemas.microsoft.com/office/drawing/2014/main" id="{972C6E32-7037-41DE-804D-F5B8B81576E8}"/>
              </a:ext>
            </a:extLst>
          </p:cNvPr>
          <p:cNvSpPr/>
          <p:nvPr/>
        </p:nvSpPr>
        <p:spPr bwMode="gray">
          <a:xfrm>
            <a:off x="4295800"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65" name="Ellipse 64">
            <a:extLst>
              <a:ext uri="{FF2B5EF4-FFF2-40B4-BE49-F238E27FC236}">
                <a16:creationId xmlns:a16="http://schemas.microsoft.com/office/drawing/2014/main" id="{24675848-8921-4851-9DCF-DE8115EF2235}"/>
              </a:ext>
            </a:extLst>
          </p:cNvPr>
          <p:cNvSpPr/>
          <p:nvPr/>
        </p:nvSpPr>
        <p:spPr bwMode="gray">
          <a:xfrm>
            <a:off x="4079776"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66" name="Ellipse 65">
            <a:extLst>
              <a:ext uri="{FF2B5EF4-FFF2-40B4-BE49-F238E27FC236}">
                <a16:creationId xmlns:a16="http://schemas.microsoft.com/office/drawing/2014/main" id="{95F26064-967B-441B-8BE7-919BA5CE1F25}"/>
              </a:ext>
            </a:extLst>
          </p:cNvPr>
          <p:cNvSpPr/>
          <p:nvPr/>
        </p:nvSpPr>
        <p:spPr bwMode="gray">
          <a:xfrm>
            <a:off x="4727848"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67" name="Ellipse 66">
            <a:extLst>
              <a:ext uri="{FF2B5EF4-FFF2-40B4-BE49-F238E27FC236}">
                <a16:creationId xmlns:a16="http://schemas.microsoft.com/office/drawing/2014/main" id="{C78288C7-496D-40D3-820F-BEA75DFE7106}"/>
              </a:ext>
            </a:extLst>
          </p:cNvPr>
          <p:cNvSpPr/>
          <p:nvPr/>
        </p:nvSpPr>
        <p:spPr bwMode="gray">
          <a:xfrm>
            <a:off x="4511824"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69" name="Ellipse 68">
            <a:extLst>
              <a:ext uri="{FF2B5EF4-FFF2-40B4-BE49-F238E27FC236}">
                <a16:creationId xmlns:a16="http://schemas.microsoft.com/office/drawing/2014/main" id="{EF1AAA1D-B8D5-4214-ABDD-79261F022794}"/>
              </a:ext>
            </a:extLst>
          </p:cNvPr>
          <p:cNvSpPr/>
          <p:nvPr/>
        </p:nvSpPr>
        <p:spPr bwMode="gray">
          <a:xfrm>
            <a:off x="4943872"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70" name="Ellipse 69">
            <a:extLst>
              <a:ext uri="{FF2B5EF4-FFF2-40B4-BE49-F238E27FC236}">
                <a16:creationId xmlns:a16="http://schemas.microsoft.com/office/drawing/2014/main" id="{E31169B8-5C46-4701-91FE-7A5BC1C95471}"/>
              </a:ext>
            </a:extLst>
          </p:cNvPr>
          <p:cNvSpPr/>
          <p:nvPr/>
        </p:nvSpPr>
        <p:spPr bwMode="gray">
          <a:xfrm>
            <a:off x="5591944"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71" name="Ellipse 70">
            <a:extLst>
              <a:ext uri="{FF2B5EF4-FFF2-40B4-BE49-F238E27FC236}">
                <a16:creationId xmlns:a16="http://schemas.microsoft.com/office/drawing/2014/main" id="{9890BF59-B168-441D-BB28-AB993DFC0B19}"/>
              </a:ext>
            </a:extLst>
          </p:cNvPr>
          <p:cNvSpPr/>
          <p:nvPr/>
        </p:nvSpPr>
        <p:spPr bwMode="gray">
          <a:xfrm>
            <a:off x="5375920"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72" name="Ellipse 71">
            <a:extLst>
              <a:ext uri="{FF2B5EF4-FFF2-40B4-BE49-F238E27FC236}">
                <a16:creationId xmlns:a16="http://schemas.microsoft.com/office/drawing/2014/main" id="{82399921-3EFC-426A-9133-A65C3428C247}"/>
              </a:ext>
            </a:extLst>
          </p:cNvPr>
          <p:cNvSpPr/>
          <p:nvPr/>
        </p:nvSpPr>
        <p:spPr bwMode="gray">
          <a:xfrm>
            <a:off x="6023992"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73" name="Ellipse 72">
            <a:extLst>
              <a:ext uri="{FF2B5EF4-FFF2-40B4-BE49-F238E27FC236}">
                <a16:creationId xmlns:a16="http://schemas.microsoft.com/office/drawing/2014/main" id="{1084DDB4-D85B-498D-9F11-2F99CB9BEA0B}"/>
              </a:ext>
            </a:extLst>
          </p:cNvPr>
          <p:cNvSpPr/>
          <p:nvPr/>
        </p:nvSpPr>
        <p:spPr bwMode="gray">
          <a:xfrm>
            <a:off x="5807968"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74" name="Ellipse 73">
            <a:extLst>
              <a:ext uri="{FF2B5EF4-FFF2-40B4-BE49-F238E27FC236}">
                <a16:creationId xmlns:a16="http://schemas.microsoft.com/office/drawing/2014/main" id="{9421E070-3269-49BA-B84D-75DDAEFDDC26}"/>
              </a:ext>
            </a:extLst>
          </p:cNvPr>
          <p:cNvSpPr/>
          <p:nvPr/>
        </p:nvSpPr>
        <p:spPr bwMode="gray">
          <a:xfrm>
            <a:off x="6456040"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75" name="Ellipse 74">
            <a:extLst>
              <a:ext uri="{FF2B5EF4-FFF2-40B4-BE49-F238E27FC236}">
                <a16:creationId xmlns:a16="http://schemas.microsoft.com/office/drawing/2014/main" id="{D0C41065-0D73-41C5-BB0D-B906F880FE7D}"/>
              </a:ext>
            </a:extLst>
          </p:cNvPr>
          <p:cNvSpPr/>
          <p:nvPr/>
        </p:nvSpPr>
        <p:spPr bwMode="gray">
          <a:xfrm>
            <a:off x="6240016"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76" name="Ellipse 75">
            <a:extLst>
              <a:ext uri="{FF2B5EF4-FFF2-40B4-BE49-F238E27FC236}">
                <a16:creationId xmlns:a16="http://schemas.microsoft.com/office/drawing/2014/main" id="{E31AE840-7745-45FC-B265-7BD81CA77700}"/>
              </a:ext>
            </a:extLst>
          </p:cNvPr>
          <p:cNvSpPr/>
          <p:nvPr/>
        </p:nvSpPr>
        <p:spPr bwMode="gray">
          <a:xfrm>
            <a:off x="6888088"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77" name="Ellipse 76">
            <a:extLst>
              <a:ext uri="{FF2B5EF4-FFF2-40B4-BE49-F238E27FC236}">
                <a16:creationId xmlns:a16="http://schemas.microsoft.com/office/drawing/2014/main" id="{3E40C0D3-2884-4D59-8312-D5E1BACB6B11}"/>
              </a:ext>
            </a:extLst>
          </p:cNvPr>
          <p:cNvSpPr/>
          <p:nvPr/>
        </p:nvSpPr>
        <p:spPr bwMode="gray">
          <a:xfrm>
            <a:off x="6672064"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78" name="Ellipse 77">
            <a:extLst>
              <a:ext uri="{FF2B5EF4-FFF2-40B4-BE49-F238E27FC236}">
                <a16:creationId xmlns:a16="http://schemas.microsoft.com/office/drawing/2014/main" id="{4B448920-8754-41F8-9DC2-20DB19EC5AAD}"/>
              </a:ext>
            </a:extLst>
          </p:cNvPr>
          <p:cNvSpPr/>
          <p:nvPr/>
        </p:nvSpPr>
        <p:spPr bwMode="gray">
          <a:xfrm>
            <a:off x="7320136"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80" name="Ellipse 79">
            <a:extLst>
              <a:ext uri="{FF2B5EF4-FFF2-40B4-BE49-F238E27FC236}">
                <a16:creationId xmlns:a16="http://schemas.microsoft.com/office/drawing/2014/main" id="{9E4A8F3A-6F96-4026-BF10-A60B36043571}"/>
              </a:ext>
            </a:extLst>
          </p:cNvPr>
          <p:cNvSpPr/>
          <p:nvPr/>
        </p:nvSpPr>
        <p:spPr bwMode="gray">
          <a:xfrm>
            <a:off x="7752184"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81" name="Ellipse 80">
            <a:extLst>
              <a:ext uri="{FF2B5EF4-FFF2-40B4-BE49-F238E27FC236}">
                <a16:creationId xmlns:a16="http://schemas.microsoft.com/office/drawing/2014/main" id="{451BDCDA-06BE-44B0-954B-A5B623003AAC}"/>
              </a:ext>
            </a:extLst>
          </p:cNvPr>
          <p:cNvSpPr/>
          <p:nvPr/>
        </p:nvSpPr>
        <p:spPr bwMode="gray">
          <a:xfrm>
            <a:off x="7536160"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82" name="Ellipse 81">
            <a:extLst>
              <a:ext uri="{FF2B5EF4-FFF2-40B4-BE49-F238E27FC236}">
                <a16:creationId xmlns:a16="http://schemas.microsoft.com/office/drawing/2014/main" id="{346E7CEF-90E9-46D8-9EB4-0AFD17788247}"/>
              </a:ext>
            </a:extLst>
          </p:cNvPr>
          <p:cNvSpPr/>
          <p:nvPr/>
        </p:nvSpPr>
        <p:spPr bwMode="gray">
          <a:xfrm>
            <a:off x="8184232"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83" name="Ellipse 82">
            <a:extLst>
              <a:ext uri="{FF2B5EF4-FFF2-40B4-BE49-F238E27FC236}">
                <a16:creationId xmlns:a16="http://schemas.microsoft.com/office/drawing/2014/main" id="{00648659-E889-42CC-83E0-7EC169DC130B}"/>
              </a:ext>
            </a:extLst>
          </p:cNvPr>
          <p:cNvSpPr/>
          <p:nvPr/>
        </p:nvSpPr>
        <p:spPr bwMode="gray">
          <a:xfrm>
            <a:off x="7968208"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84" name="Ellipse 83">
            <a:extLst>
              <a:ext uri="{FF2B5EF4-FFF2-40B4-BE49-F238E27FC236}">
                <a16:creationId xmlns:a16="http://schemas.microsoft.com/office/drawing/2014/main" id="{34785505-0D44-4CEC-8F1F-C3E919DCF28A}"/>
              </a:ext>
            </a:extLst>
          </p:cNvPr>
          <p:cNvSpPr/>
          <p:nvPr/>
        </p:nvSpPr>
        <p:spPr bwMode="gray">
          <a:xfrm>
            <a:off x="8616280"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85" name="Ellipse 84">
            <a:extLst>
              <a:ext uri="{FF2B5EF4-FFF2-40B4-BE49-F238E27FC236}">
                <a16:creationId xmlns:a16="http://schemas.microsoft.com/office/drawing/2014/main" id="{8965B85D-C917-4F27-AD08-8911E2780F7F}"/>
              </a:ext>
            </a:extLst>
          </p:cNvPr>
          <p:cNvSpPr/>
          <p:nvPr/>
        </p:nvSpPr>
        <p:spPr bwMode="gray">
          <a:xfrm>
            <a:off x="8400256"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87" name="Ellipse 86">
            <a:extLst>
              <a:ext uri="{FF2B5EF4-FFF2-40B4-BE49-F238E27FC236}">
                <a16:creationId xmlns:a16="http://schemas.microsoft.com/office/drawing/2014/main" id="{2456E9CC-0666-420C-9A27-D4EAB968DB12}"/>
              </a:ext>
            </a:extLst>
          </p:cNvPr>
          <p:cNvSpPr/>
          <p:nvPr/>
        </p:nvSpPr>
        <p:spPr bwMode="gray">
          <a:xfrm>
            <a:off x="8832304"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88" name="Ellipse 87">
            <a:extLst>
              <a:ext uri="{FF2B5EF4-FFF2-40B4-BE49-F238E27FC236}">
                <a16:creationId xmlns:a16="http://schemas.microsoft.com/office/drawing/2014/main" id="{2E3809FE-3223-4774-B732-4BB4355DFB83}"/>
              </a:ext>
            </a:extLst>
          </p:cNvPr>
          <p:cNvSpPr/>
          <p:nvPr/>
        </p:nvSpPr>
        <p:spPr bwMode="gray">
          <a:xfrm>
            <a:off x="9480376"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89" name="Ellipse 88">
            <a:extLst>
              <a:ext uri="{FF2B5EF4-FFF2-40B4-BE49-F238E27FC236}">
                <a16:creationId xmlns:a16="http://schemas.microsoft.com/office/drawing/2014/main" id="{31A1DDC9-3907-447B-A25B-8ED9D951AE3A}"/>
              </a:ext>
            </a:extLst>
          </p:cNvPr>
          <p:cNvSpPr/>
          <p:nvPr/>
        </p:nvSpPr>
        <p:spPr bwMode="gray">
          <a:xfrm>
            <a:off x="9264352"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90" name="Ellipse 89">
            <a:extLst>
              <a:ext uri="{FF2B5EF4-FFF2-40B4-BE49-F238E27FC236}">
                <a16:creationId xmlns:a16="http://schemas.microsoft.com/office/drawing/2014/main" id="{7C4C28FC-BC11-481E-9269-AF5F69390320}"/>
              </a:ext>
            </a:extLst>
          </p:cNvPr>
          <p:cNvSpPr/>
          <p:nvPr/>
        </p:nvSpPr>
        <p:spPr bwMode="gray">
          <a:xfrm>
            <a:off x="9912424"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91" name="Ellipse 90">
            <a:extLst>
              <a:ext uri="{FF2B5EF4-FFF2-40B4-BE49-F238E27FC236}">
                <a16:creationId xmlns:a16="http://schemas.microsoft.com/office/drawing/2014/main" id="{CC598B73-8205-45E8-94C7-9B38E816BFB4}"/>
              </a:ext>
            </a:extLst>
          </p:cNvPr>
          <p:cNvSpPr/>
          <p:nvPr/>
        </p:nvSpPr>
        <p:spPr bwMode="gray">
          <a:xfrm>
            <a:off x="9696400"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92" name="Ellipse 91">
            <a:extLst>
              <a:ext uri="{FF2B5EF4-FFF2-40B4-BE49-F238E27FC236}">
                <a16:creationId xmlns:a16="http://schemas.microsoft.com/office/drawing/2014/main" id="{8AE7DC77-1C1A-4AC7-89A4-B25F4F896AF1}"/>
              </a:ext>
            </a:extLst>
          </p:cNvPr>
          <p:cNvSpPr/>
          <p:nvPr/>
        </p:nvSpPr>
        <p:spPr bwMode="gray">
          <a:xfrm>
            <a:off x="10344472"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93" name="Ellipse 92">
            <a:extLst>
              <a:ext uri="{FF2B5EF4-FFF2-40B4-BE49-F238E27FC236}">
                <a16:creationId xmlns:a16="http://schemas.microsoft.com/office/drawing/2014/main" id="{0C076DCD-005D-42CB-B82E-FEE899C2731B}"/>
              </a:ext>
            </a:extLst>
          </p:cNvPr>
          <p:cNvSpPr/>
          <p:nvPr/>
        </p:nvSpPr>
        <p:spPr bwMode="gray">
          <a:xfrm>
            <a:off x="10128448"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94" name="Ellipse 93">
            <a:extLst>
              <a:ext uri="{FF2B5EF4-FFF2-40B4-BE49-F238E27FC236}">
                <a16:creationId xmlns:a16="http://schemas.microsoft.com/office/drawing/2014/main" id="{75C3D3F5-0F67-48F7-9B97-A51C4CD43594}"/>
              </a:ext>
            </a:extLst>
          </p:cNvPr>
          <p:cNvSpPr/>
          <p:nvPr/>
        </p:nvSpPr>
        <p:spPr bwMode="gray">
          <a:xfrm>
            <a:off x="10776520"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95" name="Ellipse 94">
            <a:extLst>
              <a:ext uri="{FF2B5EF4-FFF2-40B4-BE49-F238E27FC236}">
                <a16:creationId xmlns:a16="http://schemas.microsoft.com/office/drawing/2014/main" id="{0031E45C-6401-4B53-B4B5-4478912A07D8}"/>
              </a:ext>
            </a:extLst>
          </p:cNvPr>
          <p:cNvSpPr/>
          <p:nvPr/>
        </p:nvSpPr>
        <p:spPr bwMode="gray">
          <a:xfrm>
            <a:off x="10560496"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96" name="Ellipse 95">
            <a:extLst>
              <a:ext uri="{FF2B5EF4-FFF2-40B4-BE49-F238E27FC236}">
                <a16:creationId xmlns:a16="http://schemas.microsoft.com/office/drawing/2014/main" id="{76180DF1-EE8B-44F0-BE36-C9D1BAA272C0}"/>
              </a:ext>
            </a:extLst>
          </p:cNvPr>
          <p:cNvSpPr/>
          <p:nvPr/>
        </p:nvSpPr>
        <p:spPr bwMode="gray">
          <a:xfrm>
            <a:off x="11208568"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98" name="Ellipse 97">
            <a:extLst>
              <a:ext uri="{FF2B5EF4-FFF2-40B4-BE49-F238E27FC236}">
                <a16:creationId xmlns:a16="http://schemas.microsoft.com/office/drawing/2014/main" id="{4AEDB341-272F-4CB5-9EF6-640D2A5E6196}"/>
              </a:ext>
            </a:extLst>
          </p:cNvPr>
          <p:cNvSpPr/>
          <p:nvPr/>
        </p:nvSpPr>
        <p:spPr bwMode="gray">
          <a:xfrm>
            <a:off x="11640616"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99" name="Ellipse 98">
            <a:extLst>
              <a:ext uri="{FF2B5EF4-FFF2-40B4-BE49-F238E27FC236}">
                <a16:creationId xmlns:a16="http://schemas.microsoft.com/office/drawing/2014/main" id="{BDA434EE-BD61-499B-92CD-7CB9599E24D7}"/>
              </a:ext>
            </a:extLst>
          </p:cNvPr>
          <p:cNvSpPr/>
          <p:nvPr/>
        </p:nvSpPr>
        <p:spPr bwMode="gray">
          <a:xfrm>
            <a:off x="11424592"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100" name="Ellipse 99">
            <a:extLst>
              <a:ext uri="{FF2B5EF4-FFF2-40B4-BE49-F238E27FC236}">
                <a16:creationId xmlns:a16="http://schemas.microsoft.com/office/drawing/2014/main" id="{FF0159B0-FC7D-41EE-9B7B-3C9E0B7796A3}"/>
              </a:ext>
            </a:extLst>
          </p:cNvPr>
          <p:cNvSpPr/>
          <p:nvPr/>
        </p:nvSpPr>
        <p:spPr bwMode="gray">
          <a:xfrm>
            <a:off x="12072664"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101" name="Ellipse 100">
            <a:extLst>
              <a:ext uri="{FF2B5EF4-FFF2-40B4-BE49-F238E27FC236}">
                <a16:creationId xmlns:a16="http://schemas.microsoft.com/office/drawing/2014/main" id="{5F185E80-BE24-426E-9533-2A82A463E92F}"/>
              </a:ext>
            </a:extLst>
          </p:cNvPr>
          <p:cNvSpPr/>
          <p:nvPr/>
        </p:nvSpPr>
        <p:spPr bwMode="gray">
          <a:xfrm>
            <a:off x="11856640" y="5949280"/>
            <a:ext cx="144016" cy="14401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endParaRPr lang="en-US" dirty="0">
              <a:solidFill>
                <a:schemeClr val="accent5"/>
              </a:solidFill>
            </a:endParaRPr>
          </a:p>
        </p:txBody>
      </p:sp>
      <p:sp>
        <p:nvSpPr>
          <p:cNvPr id="102" name="Ellipse 101">
            <a:extLst>
              <a:ext uri="{FF2B5EF4-FFF2-40B4-BE49-F238E27FC236}">
                <a16:creationId xmlns:a16="http://schemas.microsoft.com/office/drawing/2014/main" id="{A7774F8A-A10E-4D51-A34B-558A0FFC8EF9}"/>
              </a:ext>
            </a:extLst>
          </p:cNvPr>
          <p:cNvSpPr/>
          <p:nvPr/>
        </p:nvSpPr>
        <p:spPr bwMode="gray">
          <a:xfrm>
            <a:off x="10992544" y="5949280"/>
            <a:ext cx="144016" cy="144016"/>
          </a:xfrm>
          <a:prstGeom prst="ellips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r>
              <a:rPr lang="en-US" dirty="0">
                <a:solidFill>
                  <a:schemeClr val="accent5"/>
                </a:solidFill>
              </a:rPr>
              <a:t>Lorem ipsum</a:t>
            </a:r>
            <a:br>
              <a:rPr lang="en-US" dirty="0">
                <a:solidFill>
                  <a:schemeClr val="accent5"/>
                </a:solidFill>
              </a:rPr>
            </a:br>
            <a:r>
              <a:rPr lang="en-US" dirty="0">
                <a:solidFill>
                  <a:schemeClr val="accent5"/>
                </a:solidFill>
              </a:rPr>
              <a:t>dolor sit amet</a:t>
            </a:r>
          </a:p>
        </p:txBody>
      </p:sp>
      <p:sp>
        <p:nvSpPr>
          <p:cNvPr id="103" name="Ellipse 102">
            <a:extLst>
              <a:ext uri="{FF2B5EF4-FFF2-40B4-BE49-F238E27FC236}">
                <a16:creationId xmlns:a16="http://schemas.microsoft.com/office/drawing/2014/main" id="{92716326-A51A-450D-80AB-288AA112570F}"/>
              </a:ext>
            </a:extLst>
          </p:cNvPr>
          <p:cNvSpPr/>
          <p:nvPr/>
        </p:nvSpPr>
        <p:spPr bwMode="gray">
          <a:xfrm>
            <a:off x="9048328" y="5949280"/>
            <a:ext cx="144016" cy="144016"/>
          </a:xfrm>
          <a:prstGeom prst="ellips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r>
              <a:rPr lang="en-US" dirty="0">
                <a:solidFill>
                  <a:schemeClr val="accent5"/>
                </a:solidFill>
              </a:rPr>
              <a:t>Lorem ipsum</a:t>
            </a:r>
            <a:br>
              <a:rPr lang="en-US" dirty="0">
                <a:solidFill>
                  <a:schemeClr val="accent5"/>
                </a:solidFill>
              </a:rPr>
            </a:br>
            <a:r>
              <a:rPr lang="en-US" dirty="0">
                <a:solidFill>
                  <a:schemeClr val="accent5"/>
                </a:solidFill>
              </a:rPr>
              <a:t>dolor sit amet</a:t>
            </a:r>
          </a:p>
        </p:txBody>
      </p:sp>
      <p:sp>
        <p:nvSpPr>
          <p:cNvPr id="104" name="Ellipse 103">
            <a:extLst>
              <a:ext uri="{FF2B5EF4-FFF2-40B4-BE49-F238E27FC236}">
                <a16:creationId xmlns:a16="http://schemas.microsoft.com/office/drawing/2014/main" id="{D3CF3724-8F48-4A69-9BFE-23E08620043A}"/>
              </a:ext>
            </a:extLst>
          </p:cNvPr>
          <p:cNvSpPr/>
          <p:nvPr/>
        </p:nvSpPr>
        <p:spPr bwMode="gray">
          <a:xfrm>
            <a:off x="7104112" y="5949280"/>
            <a:ext cx="144016" cy="144016"/>
          </a:xfrm>
          <a:prstGeom prst="ellips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r>
              <a:rPr lang="en-US" dirty="0">
                <a:solidFill>
                  <a:schemeClr val="accent5"/>
                </a:solidFill>
              </a:rPr>
              <a:t>Lorem ipsum</a:t>
            </a:r>
            <a:br>
              <a:rPr lang="en-US" dirty="0">
                <a:solidFill>
                  <a:schemeClr val="accent5"/>
                </a:solidFill>
              </a:rPr>
            </a:br>
            <a:r>
              <a:rPr lang="en-US" dirty="0">
                <a:solidFill>
                  <a:schemeClr val="accent5"/>
                </a:solidFill>
              </a:rPr>
              <a:t>dolor sit amet</a:t>
            </a:r>
          </a:p>
        </p:txBody>
      </p:sp>
      <p:sp>
        <p:nvSpPr>
          <p:cNvPr id="105" name="Ellipse 104">
            <a:extLst>
              <a:ext uri="{FF2B5EF4-FFF2-40B4-BE49-F238E27FC236}">
                <a16:creationId xmlns:a16="http://schemas.microsoft.com/office/drawing/2014/main" id="{4C7AEAE1-BE9F-4FCD-B7F0-C68ABE0E328E}"/>
              </a:ext>
            </a:extLst>
          </p:cNvPr>
          <p:cNvSpPr/>
          <p:nvPr/>
        </p:nvSpPr>
        <p:spPr bwMode="gray">
          <a:xfrm>
            <a:off x="5159896" y="5949280"/>
            <a:ext cx="144016" cy="144016"/>
          </a:xfrm>
          <a:prstGeom prst="ellips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52000" rtlCol="0" anchor="b"/>
          <a:lstStyle/>
          <a:p>
            <a:pPr algn="ctr"/>
            <a:r>
              <a:rPr lang="en-US" dirty="0">
                <a:solidFill>
                  <a:schemeClr val="accent5"/>
                </a:solidFill>
              </a:rPr>
              <a:t>Lorem ipsum</a:t>
            </a:r>
            <a:br>
              <a:rPr lang="en-US" dirty="0">
                <a:solidFill>
                  <a:schemeClr val="accent5"/>
                </a:solidFill>
              </a:rPr>
            </a:br>
            <a:r>
              <a:rPr lang="en-US" dirty="0">
                <a:solidFill>
                  <a:schemeClr val="accent5"/>
                </a:solidFill>
              </a:rPr>
              <a:t>dolor sit amet</a:t>
            </a:r>
          </a:p>
        </p:txBody>
      </p:sp>
      <p:grpSp>
        <p:nvGrpSpPr>
          <p:cNvPr id="9" name="Gruppieren 8">
            <a:extLst>
              <a:ext uri="{FF2B5EF4-FFF2-40B4-BE49-F238E27FC236}">
                <a16:creationId xmlns:a16="http://schemas.microsoft.com/office/drawing/2014/main" id="{2C797A76-E523-4DFE-A036-7C5B001246BC}"/>
              </a:ext>
            </a:extLst>
          </p:cNvPr>
          <p:cNvGrpSpPr/>
          <p:nvPr/>
        </p:nvGrpSpPr>
        <p:grpSpPr bwMode="gray">
          <a:xfrm>
            <a:off x="7536160" y="3933120"/>
            <a:ext cx="4031953" cy="621719"/>
            <a:chOff x="7536160" y="3789104"/>
            <a:chExt cx="4031953" cy="621719"/>
          </a:xfrm>
        </p:grpSpPr>
        <p:sp>
          <p:nvSpPr>
            <p:cNvPr id="8" name="Rechteck 7">
              <a:extLst>
                <a:ext uri="{FF2B5EF4-FFF2-40B4-BE49-F238E27FC236}">
                  <a16:creationId xmlns:a16="http://schemas.microsoft.com/office/drawing/2014/main" id="{859BCD37-2996-4F1A-98CB-4A748930F01A}"/>
                </a:ext>
              </a:extLst>
            </p:cNvPr>
            <p:cNvSpPr/>
            <p:nvPr/>
          </p:nvSpPr>
          <p:spPr bwMode="gray">
            <a:xfrm>
              <a:off x="7536160" y="4365104"/>
              <a:ext cx="4031953" cy="45719"/>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
          <p:nvSpPr>
            <p:cNvPr id="106" name="Textplatzhalter 15">
              <a:extLst>
                <a:ext uri="{FF2B5EF4-FFF2-40B4-BE49-F238E27FC236}">
                  <a16:creationId xmlns:a16="http://schemas.microsoft.com/office/drawing/2014/main" id="{125735AC-FA97-419B-9873-8F554249AA9C}"/>
                </a:ext>
              </a:extLst>
            </p:cNvPr>
            <p:cNvSpPr txBox="1">
              <a:spLocks/>
            </p:cNvSpPr>
            <p:nvPr/>
          </p:nvSpPr>
          <p:spPr bwMode="gray">
            <a:xfrm>
              <a:off x="7536160" y="3789104"/>
              <a:ext cx="4031953" cy="576000"/>
            </a:xfrm>
            <a:prstGeom prst="rect">
              <a:avLst/>
            </a:prstGeom>
          </p:spPr>
          <p:txBody>
            <a:bodyPr lIns="72000" tIns="108000" rIns="72000" bIns="108000" anchor="b"/>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Lorem ipsum dolor sit amet,</a:t>
              </a:r>
              <a:br>
                <a:rPr lang="en-US" dirty="0"/>
              </a:br>
              <a:r>
                <a:rPr lang="en-US" dirty="0"/>
                <a:t>consectetuer adipiscing elit.</a:t>
              </a:r>
            </a:p>
          </p:txBody>
        </p:sp>
      </p:grpSp>
      <p:grpSp>
        <p:nvGrpSpPr>
          <p:cNvPr id="107" name="Gruppieren 106">
            <a:extLst>
              <a:ext uri="{FF2B5EF4-FFF2-40B4-BE49-F238E27FC236}">
                <a16:creationId xmlns:a16="http://schemas.microsoft.com/office/drawing/2014/main" id="{9B6BDDC4-FCAA-4FA2-8D59-FE368F6928EB}"/>
              </a:ext>
            </a:extLst>
          </p:cNvPr>
          <p:cNvGrpSpPr/>
          <p:nvPr/>
        </p:nvGrpSpPr>
        <p:grpSpPr bwMode="gray">
          <a:xfrm>
            <a:off x="5447928" y="3095313"/>
            <a:ext cx="4031953" cy="621719"/>
            <a:chOff x="7536160" y="3789104"/>
            <a:chExt cx="4031953" cy="621719"/>
          </a:xfrm>
        </p:grpSpPr>
        <p:sp>
          <p:nvSpPr>
            <p:cNvPr id="108" name="Rechteck 107">
              <a:extLst>
                <a:ext uri="{FF2B5EF4-FFF2-40B4-BE49-F238E27FC236}">
                  <a16:creationId xmlns:a16="http://schemas.microsoft.com/office/drawing/2014/main" id="{645F3361-AA21-4013-9D10-BC63424F30EB}"/>
                </a:ext>
              </a:extLst>
            </p:cNvPr>
            <p:cNvSpPr/>
            <p:nvPr/>
          </p:nvSpPr>
          <p:spPr bwMode="gray">
            <a:xfrm>
              <a:off x="7536160" y="4365104"/>
              <a:ext cx="4031953" cy="45719"/>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
          <p:nvSpPr>
            <p:cNvPr id="109" name="Textplatzhalter 15">
              <a:extLst>
                <a:ext uri="{FF2B5EF4-FFF2-40B4-BE49-F238E27FC236}">
                  <a16:creationId xmlns:a16="http://schemas.microsoft.com/office/drawing/2014/main" id="{A10BAFB0-F806-4D2B-B9BE-A3B68167AED4}"/>
                </a:ext>
              </a:extLst>
            </p:cNvPr>
            <p:cNvSpPr txBox="1">
              <a:spLocks/>
            </p:cNvSpPr>
            <p:nvPr/>
          </p:nvSpPr>
          <p:spPr bwMode="gray">
            <a:xfrm>
              <a:off x="7536160" y="3789104"/>
              <a:ext cx="4031953" cy="576000"/>
            </a:xfrm>
            <a:prstGeom prst="rect">
              <a:avLst/>
            </a:prstGeom>
          </p:spPr>
          <p:txBody>
            <a:bodyPr lIns="72000" tIns="108000" rIns="72000" bIns="108000" anchor="b"/>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Lorem ipsum dolor sit amet,</a:t>
              </a:r>
              <a:br>
                <a:rPr lang="en-US" dirty="0"/>
              </a:br>
              <a:r>
                <a:rPr lang="en-US" dirty="0"/>
                <a:t>consectetuer adipiscing elit.</a:t>
              </a:r>
            </a:p>
          </p:txBody>
        </p:sp>
      </p:grpSp>
      <p:grpSp>
        <p:nvGrpSpPr>
          <p:cNvPr id="110" name="Gruppieren 109">
            <a:extLst>
              <a:ext uri="{FF2B5EF4-FFF2-40B4-BE49-F238E27FC236}">
                <a16:creationId xmlns:a16="http://schemas.microsoft.com/office/drawing/2014/main" id="{E5958033-1D3D-4EAD-B28F-B64A2590C015}"/>
              </a:ext>
            </a:extLst>
          </p:cNvPr>
          <p:cNvGrpSpPr/>
          <p:nvPr/>
        </p:nvGrpSpPr>
        <p:grpSpPr bwMode="gray">
          <a:xfrm>
            <a:off x="3432199" y="3959409"/>
            <a:ext cx="3383881" cy="621719"/>
            <a:chOff x="7536160" y="3789104"/>
            <a:chExt cx="4031953" cy="621719"/>
          </a:xfrm>
        </p:grpSpPr>
        <p:sp>
          <p:nvSpPr>
            <p:cNvPr id="111" name="Rechteck 110">
              <a:extLst>
                <a:ext uri="{FF2B5EF4-FFF2-40B4-BE49-F238E27FC236}">
                  <a16:creationId xmlns:a16="http://schemas.microsoft.com/office/drawing/2014/main" id="{9684F066-3216-484F-8A24-1ADE8FF98697}"/>
                </a:ext>
              </a:extLst>
            </p:cNvPr>
            <p:cNvSpPr/>
            <p:nvPr/>
          </p:nvSpPr>
          <p:spPr bwMode="gray">
            <a:xfrm>
              <a:off x="7536160" y="4365104"/>
              <a:ext cx="4031953" cy="45719"/>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
          <p:nvSpPr>
            <p:cNvPr id="112" name="Textplatzhalter 15">
              <a:extLst>
                <a:ext uri="{FF2B5EF4-FFF2-40B4-BE49-F238E27FC236}">
                  <a16:creationId xmlns:a16="http://schemas.microsoft.com/office/drawing/2014/main" id="{05691BDC-D829-4E97-8DB7-BF9BB25434DB}"/>
                </a:ext>
              </a:extLst>
            </p:cNvPr>
            <p:cNvSpPr txBox="1">
              <a:spLocks/>
            </p:cNvSpPr>
            <p:nvPr/>
          </p:nvSpPr>
          <p:spPr bwMode="gray">
            <a:xfrm>
              <a:off x="7536160" y="3789104"/>
              <a:ext cx="4031953" cy="576000"/>
            </a:xfrm>
            <a:prstGeom prst="rect">
              <a:avLst/>
            </a:prstGeom>
          </p:spPr>
          <p:txBody>
            <a:bodyPr lIns="72000" tIns="108000" rIns="72000" bIns="108000" anchor="b"/>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Lorem ipsum dolor sit amet,</a:t>
              </a:r>
              <a:br>
                <a:rPr lang="en-US" dirty="0"/>
              </a:br>
              <a:r>
                <a:rPr lang="en-US" dirty="0"/>
                <a:t>consectetuer adipiscing elit.</a:t>
              </a:r>
            </a:p>
          </p:txBody>
        </p:sp>
      </p:grpSp>
      <p:grpSp>
        <p:nvGrpSpPr>
          <p:cNvPr id="113" name="Gruppieren 112">
            <a:extLst>
              <a:ext uri="{FF2B5EF4-FFF2-40B4-BE49-F238E27FC236}">
                <a16:creationId xmlns:a16="http://schemas.microsoft.com/office/drawing/2014/main" id="{441D986B-D6F3-4248-98BF-09730F9533D9}"/>
              </a:ext>
            </a:extLst>
          </p:cNvPr>
          <p:cNvGrpSpPr/>
          <p:nvPr/>
        </p:nvGrpSpPr>
        <p:grpSpPr bwMode="gray">
          <a:xfrm>
            <a:off x="7536160" y="2132808"/>
            <a:ext cx="4031953" cy="621719"/>
            <a:chOff x="7536160" y="3789104"/>
            <a:chExt cx="4031953" cy="621719"/>
          </a:xfrm>
        </p:grpSpPr>
        <p:sp>
          <p:nvSpPr>
            <p:cNvPr id="114" name="Rechteck 113">
              <a:extLst>
                <a:ext uri="{FF2B5EF4-FFF2-40B4-BE49-F238E27FC236}">
                  <a16:creationId xmlns:a16="http://schemas.microsoft.com/office/drawing/2014/main" id="{3C1F6693-E277-45EF-B544-52072D635891}"/>
                </a:ext>
              </a:extLst>
            </p:cNvPr>
            <p:cNvSpPr/>
            <p:nvPr/>
          </p:nvSpPr>
          <p:spPr bwMode="gray">
            <a:xfrm>
              <a:off x="7536160" y="4365104"/>
              <a:ext cx="4031953" cy="45719"/>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
          <p:nvSpPr>
            <p:cNvPr id="115" name="Textplatzhalter 15">
              <a:extLst>
                <a:ext uri="{FF2B5EF4-FFF2-40B4-BE49-F238E27FC236}">
                  <a16:creationId xmlns:a16="http://schemas.microsoft.com/office/drawing/2014/main" id="{C4C9A02C-3089-4303-8A78-5DDF6CA15576}"/>
                </a:ext>
              </a:extLst>
            </p:cNvPr>
            <p:cNvSpPr txBox="1">
              <a:spLocks/>
            </p:cNvSpPr>
            <p:nvPr/>
          </p:nvSpPr>
          <p:spPr bwMode="gray">
            <a:xfrm>
              <a:off x="7536160" y="3789104"/>
              <a:ext cx="4031953" cy="576000"/>
            </a:xfrm>
            <a:prstGeom prst="rect">
              <a:avLst/>
            </a:prstGeom>
          </p:spPr>
          <p:txBody>
            <a:bodyPr lIns="72000" tIns="108000" rIns="72000" bIns="108000" anchor="b"/>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Lorem ipsum dolor sit amet, consectetuer adipiscing elit. Maecenas porttitor congue massa. </a:t>
              </a:r>
            </a:p>
          </p:txBody>
        </p:sp>
      </p:grpSp>
      <p:sp>
        <p:nvSpPr>
          <p:cNvPr id="5" name="Fußzeilenplatzhalter 4">
            <a:extLst>
              <a:ext uri="{FF2B5EF4-FFF2-40B4-BE49-F238E27FC236}">
                <a16:creationId xmlns:a16="http://schemas.microsoft.com/office/drawing/2014/main" id="{5E0069AE-85A4-4F5F-A3C6-86274DF4FC47}"/>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5855B524-DC42-4950-9B06-6CE2CCD611AD}"/>
              </a:ext>
            </a:extLst>
          </p:cNvPr>
          <p:cNvSpPr>
            <a:spLocks noGrp="1"/>
          </p:cNvSpPr>
          <p:nvPr>
            <p:ph type="sldNum" sz="quarter" idx="12"/>
          </p:nvPr>
        </p:nvSpPr>
        <p:spPr/>
        <p:txBody>
          <a:bodyPr/>
          <a:lstStyle/>
          <a:p>
            <a:fld id="{CE82B8A1-0CCE-4815-9668-383D7DE7D8B4}" type="slidenum">
              <a:rPr lang="en-US" noProof="0" smtClean="0"/>
              <a:t>44</a:t>
            </a:fld>
            <a:endParaRPr lang="en-US" noProof="0" dirty="0"/>
          </a:p>
        </p:txBody>
      </p:sp>
    </p:spTree>
    <p:extLst>
      <p:ext uri="{BB962C8B-B14F-4D97-AF65-F5344CB8AC3E}">
        <p14:creationId xmlns:p14="http://schemas.microsoft.com/office/powerpoint/2010/main" val="11711545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94C4AD-0655-4D32-B493-67232A613FF1}"/>
              </a:ext>
            </a:extLst>
          </p:cNvPr>
          <p:cNvSpPr>
            <a:spLocks noGrp="1"/>
          </p:cNvSpPr>
          <p:nvPr>
            <p:ph type="title"/>
          </p:nvPr>
        </p:nvSpPr>
        <p:spPr bwMode="gray"/>
        <p:txBody>
          <a:bodyPr/>
          <a:lstStyle/>
          <a:p>
            <a:r>
              <a:rPr lang="en-US" dirty="0"/>
              <a:t>Project plan in quarters</a:t>
            </a:r>
          </a:p>
        </p:txBody>
      </p:sp>
      <p:graphicFrame>
        <p:nvGraphicFramePr>
          <p:cNvPr id="6" name="Tabelle 5">
            <a:extLst>
              <a:ext uri="{FF2B5EF4-FFF2-40B4-BE49-F238E27FC236}">
                <a16:creationId xmlns:a16="http://schemas.microsoft.com/office/drawing/2014/main" id="{39D5A09E-F312-403F-B9C9-7F1418D9D8B1}"/>
              </a:ext>
            </a:extLst>
          </p:cNvPr>
          <p:cNvGraphicFramePr>
            <a:graphicFrameLocks noGrp="1"/>
          </p:cNvGraphicFramePr>
          <p:nvPr>
            <p:extLst>
              <p:ext uri="{D42A27DB-BD31-4B8C-83A1-F6EECF244321}">
                <p14:modId xmlns:p14="http://schemas.microsoft.com/office/powerpoint/2010/main" val="2465186208"/>
              </p:ext>
            </p:extLst>
          </p:nvPr>
        </p:nvGraphicFramePr>
        <p:xfrm>
          <a:off x="623392" y="1773238"/>
          <a:ext cx="10944715" cy="4535974"/>
        </p:xfrm>
        <a:graphic>
          <a:graphicData uri="http://schemas.openxmlformats.org/drawingml/2006/table">
            <a:tbl>
              <a:tblPr firstRow="1" bandRow="1">
                <a:tableStyleId>{5C22544A-7EE6-4342-B048-85BDC9FD1C3A}</a:tableStyleId>
              </a:tblPr>
              <a:tblGrid>
                <a:gridCol w="1981483">
                  <a:extLst>
                    <a:ext uri="{9D8B030D-6E8A-4147-A177-3AD203B41FA5}">
                      <a16:colId xmlns:a16="http://schemas.microsoft.com/office/drawing/2014/main" val="20000"/>
                    </a:ext>
                  </a:extLst>
                </a:gridCol>
                <a:gridCol w="560202">
                  <a:extLst>
                    <a:ext uri="{9D8B030D-6E8A-4147-A177-3AD203B41FA5}">
                      <a16:colId xmlns:a16="http://schemas.microsoft.com/office/drawing/2014/main" val="20001"/>
                    </a:ext>
                  </a:extLst>
                </a:gridCol>
                <a:gridCol w="560202">
                  <a:extLst>
                    <a:ext uri="{9D8B030D-6E8A-4147-A177-3AD203B41FA5}">
                      <a16:colId xmlns:a16="http://schemas.microsoft.com/office/drawing/2014/main" val="20002"/>
                    </a:ext>
                  </a:extLst>
                </a:gridCol>
                <a:gridCol w="560202">
                  <a:extLst>
                    <a:ext uri="{9D8B030D-6E8A-4147-A177-3AD203B41FA5}">
                      <a16:colId xmlns:a16="http://schemas.microsoft.com/office/drawing/2014/main" val="20003"/>
                    </a:ext>
                  </a:extLst>
                </a:gridCol>
                <a:gridCol w="560202">
                  <a:extLst>
                    <a:ext uri="{9D8B030D-6E8A-4147-A177-3AD203B41FA5}">
                      <a16:colId xmlns:a16="http://schemas.microsoft.com/office/drawing/2014/main" val="20004"/>
                    </a:ext>
                  </a:extLst>
                </a:gridCol>
                <a:gridCol w="560202">
                  <a:extLst>
                    <a:ext uri="{9D8B030D-6E8A-4147-A177-3AD203B41FA5}">
                      <a16:colId xmlns:a16="http://schemas.microsoft.com/office/drawing/2014/main" val="20005"/>
                    </a:ext>
                  </a:extLst>
                </a:gridCol>
                <a:gridCol w="560202">
                  <a:extLst>
                    <a:ext uri="{9D8B030D-6E8A-4147-A177-3AD203B41FA5}">
                      <a16:colId xmlns:a16="http://schemas.microsoft.com/office/drawing/2014/main" val="20006"/>
                    </a:ext>
                  </a:extLst>
                </a:gridCol>
                <a:gridCol w="560202">
                  <a:extLst>
                    <a:ext uri="{9D8B030D-6E8A-4147-A177-3AD203B41FA5}">
                      <a16:colId xmlns:a16="http://schemas.microsoft.com/office/drawing/2014/main" val="20007"/>
                    </a:ext>
                  </a:extLst>
                </a:gridCol>
                <a:gridCol w="560202">
                  <a:extLst>
                    <a:ext uri="{9D8B030D-6E8A-4147-A177-3AD203B41FA5}">
                      <a16:colId xmlns:a16="http://schemas.microsoft.com/office/drawing/2014/main" val="20008"/>
                    </a:ext>
                  </a:extLst>
                </a:gridCol>
                <a:gridCol w="560202">
                  <a:extLst>
                    <a:ext uri="{9D8B030D-6E8A-4147-A177-3AD203B41FA5}">
                      <a16:colId xmlns:a16="http://schemas.microsoft.com/office/drawing/2014/main" val="20009"/>
                    </a:ext>
                  </a:extLst>
                </a:gridCol>
                <a:gridCol w="560202">
                  <a:extLst>
                    <a:ext uri="{9D8B030D-6E8A-4147-A177-3AD203B41FA5}">
                      <a16:colId xmlns:a16="http://schemas.microsoft.com/office/drawing/2014/main" val="20010"/>
                    </a:ext>
                  </a:extLst>
                </a:gridCol>
                <a:gridCol w="560202">
                  <a:extLst>
                    <a:ext uri="{9D8B030D-6E8A-4147-A177-3AD203B41FA5}">
                      <a16:colId xmlns:a16="http://schemas.microsoft.com/office/drawing/2014/main" val="20011"/>
                    </a:ext>
                  </a:extLst>
                </a:gridCol>
                <a:gridCol w="560202">
                  <a:extLst>
                    <a:ext uri="{9D8B030D-6E8A-4147-A177-3AD203B41FA5}">
                      <a16:colId xmlns:a16="http://schemas.microsoft.com/office/drawing/2014/main" val="20012"/>
                    </a:ext>
                  </a:extLst>
                </a:gridCol>
                <a:gridCol w="560202">
                  <a:extLst>
                    <a:ext uri="{9D8B030D-6E8A-4147-A177-3AD203B41FA5}">
                      <a16:colId xmlns:a16="http://schemas.microsoft.com/office/drawing/2014/main" val="20013"/>
                    </a:ext>
                  </a:extLst>
                </a:gridCol>
                <a:gridCol w="560202">
                  <a:extLst>
                    <a:ext uri="{9D8B030D-6E8A-4147-A177-3AD203B41FA5}">
                      <a16:colId xmlns:a16="http://schemas.microsoft.com/office/drawing/2014/main" val="20014"/>
                    </a:ext>
                  </a:extLst>
                </a:gridCol>
                <a:gridCol w="560202">
                  <a:extLst>
                    <a:ext uri="{9D8B030D-6E8A-4147-A177-3AD203B41FA5}">
                      <a16:colId xmlns:a16="http://schemas.microsoft.com/office/drawing/2014/main" val="20015"/>
                    </a:ext>
                  </a:extLst>
                </a:gridCol>
                <a:gridCol w="560202">
                  <a:extLst>
                    <a:ext uri="{9D8B030D-6E8A-4147-A177-3AD203B41FA5}">
                      <a16:colId xmlns:a16="http://schemas.microsoft.com/office/drawing/2014/main" val="20016"/>
                    </a:ext>
                  </a:extLst>
                </a:gridCol>
              </a:tblGrid>
              <a:tr h="346129">
                <a:tc>
                  <a:txBody>
                    <a:bodyPr/>
                    <a:lstStyle/>
                    <a:p>
                      <a:r>
                        <a:rPr lang="en-US" sz="1600" b="0" noProof="0">
                          <a:solidFill>
                            <a:schemeClr val="tx1"/>
                          </a:solidFill>
                          <a:latin typeface="+mj-lt"/>
                        </a:rPr>
                        <a:t>Activities</a:t>
                      </a:r>
                    </a:p>
                  </a:txBody>
                  <a:tcPr marL="72000" marR="72000" marT="36000" marB="36000" anchor="ctr">
                    <a:lnB w="12700" cap="flat" cmpd="sng" algn="ctr">
                      <a:solidFill>
                        <a:schemeClr val="bg1"/>
                      </a:solidFill>
                      <a:prstDash val="solid"/>
                      <a:round/>
                      <a:headEnd type="none" w="med" len="med"/>
                      <a:tailEnd type="none" w="med" len="med"/>
                    </a:lnB>
                    <a:solidFill>
                      <a:schemeClr val="bg1"/>
                    </a:solidFill>
                  </a:tcPr>
                </a:tc>
                <a:tc gridSpan="12">
                  <a:txBody>
                    <a:bodyPr/>
                    <a:lstStyle/>
                    <a:p>
                      <a:r>
                        <a:rPr lang="en-US" sz="1600" b="0" noProof="0">
                          <a:solidFill>
                            <a:schemeClr val="tx1"/>
                          </a:solidFill>
                          <a:latin typeface="+mj-lt"/>
                        </a:rPr>
                        <a:t>201X</a:t>
                      </a:r>
                    </a:p>
                  </a:txBody>
                  <a:tcPr marL="72000" marR="72000" marT="36000" marB="36000" anchor="ctr">
                    <a:lnB w="12700" cap="flat" cmpd="sng" algn="ctr">
                      <a:solidFill>
                        <a:schemeClr val="bg1"/>
                      </a:solidFill>
                      <a:prstDash val="solid"/>
                      <a:round/>
                      <a:headEnd type="none" w="med" len="med"/>
                      <a:tailEnd type="none" w="med" len="med"/>
                    </a:lnB>
                    <a:noFill/>
                  </a:tcPr>
                </a:tc>
                <a:tc hMerge="1">
                  <a:txBody>
                    <a:bodyPr/>
                    <a:lstStyle/>
                    <a:p>
                      <a:endParaRPr lang="de-DE" sz="1400" b="0" dirty="0">
                        <a:latin typeface="+mj-lt"/>
                      </a:endParaRPr>
                    </a:p>
                  </a:txBody>
                  <a:tcPr/>
                </a:tc>
                <a:tc hMerge="1">
                  <a:txBody>
                    <a:bodyPr/>
                    <a:lstStyle/>
                    <a:p>
                      <a:endParaRPr lang="de-DE" sz="1400" b="0">
                        <a:latin typeface="+mj-lt"/>
                      </a:endParaRPr>
                    </a:p>
                  </a:txBody>
                  <a:tcPr/>
                </a:tc>
                <a:tc hMerge="1">
                  <a:txBody>
                    <a:bodyPr/>
                    <a:lstStyle/>
                    <a:p>
                      <a:endParaRPr lang="de-DE" sz="1400" b="0" dirty="0">
                        <a:latin typeface="+mj-lt"/>
                      </a:endParaRPr>
                    </a:p>
                  </a:txBody>
                  <a:tcPr/>
                </a:tc>
                <a:tc hMerge="1">
                  <a:txBody>
                    <a:bodyPr/>
                    <a:lstStyle/>
                    <a:p>
                      <a:endParaRPr lang="de-DE" sz="1400" b="0" dirty="0">
                        <a:latin typeface="+mj-lt"/>
                      </a:endParaRPr>
                    </a:p>
                  </a:txBody>
                  <a:tcPr/>
                </a:tc>
                <a:tc hMerge="1">
                  <a:txBody>
                    <a:bodyPr/>
                    <a:lstStyle/>
                    <a:p>
                      <a:endParaRPr lang="de-DE" sz="1400" b="0" dirty="0">
                        <a:latin typeface="+mj-lt"/>
                      </a:endParaRPr>
                    </a:p>
                  </a:txBody>
                  <a:tcPr/>
                </a:tc>
                <a:tc hMerge="1">
                  <a:txBody>
                    <a:bodyPr/>
                    <a:lstStyle/>
                    <a:p>
                      <a:endParaRPr lang="de-DE" sz="1400" b="0" dirty="0">
                        <a:latin typeface="+mj-lt"/>
                      </a:endParaRPr>
                    </a:p>
                  </a:txBody>
                  <a:tcPr/>
                </a:tc>
                <a:tc hMerge="1">
                  <a:txBody>
                    <a:bodyPr/>
                    <a:lstStyle/>
                    <a:p>
                      <a:endParaRPr lang="de-DE" sz="1400" b="0" dirty="0">
                        <a:latin typeface="+mj-lt"/>
                      </a:endParaRPr>
                    </a:p>
                  </a:txBody>
                  <a:tcPr/>
                </a:tc>
                <a:tc hMerge="1">
                  <a:txBody>
                    <a:bodyPr/>
                    <a:lstStyle/>
                    <a:p>
                      <a:endParaRPr lang="de-DE" sz="1400" b="0" dirty="0">
                        <a:latin typeface="+mj-lt"/>
                      </a:endParaRPr>
                    </a:p>
                  </a:txBody>
                  <a:tcPr/>
                </a:tc>
                <a:tc hMerge="1">
                  <a:txBody>
                    <a:bodyPr/>
                    <a:lstStyle/>
                    <a:p>
                      <a:endParaRPr lang="de-DE" sz="1400" b="0" dirty="0">
                        <a:latin typeface="+mj-lt"/>
                      </a:endParaRPr>
                    </a:p>
                  </a:txBody>
                  <a:tcPr/>
                </a:tc>
                <a:tc hMerge="1">
                  <a:txBody>
                    <a:bodyPr/>
                    <a:lstStyle/>
                    <a:p>
                      <a:endParaRPr lang="de-DE" sz="1400" b="0" dirty="0">
                        <a:latin typeface="+mj-lt"/>
                      </a:endParaRPr>
                    </a:p>
                  </a:txBody>
                  <a:tcPr/>
                </a:tc>
                <a:tc hMerge="1">
                  <a:txBody>
                    <a:bodyPr/>
                    <a:lstStyle/>
                    <a:p>
                      <a:endParaRPr lang="de-DE" sz="1400" b="0" dirty="0">
                        <a:latin typeface="+mj-lt"/>
                      </a:endParaRPr>
                    </a:p>
                  </a:txBody>
                  <a:tcPr/>
                </a:tc>
                <a:tc gridSpan="4">
                  <a:txBody>
                    <a:bodyPr/>
                    <a:lstStyle/>
                    <a:p>
                      <a:r>
                        <a:rPr lang="en-US" sz="1600" b="0" noProof="0">
                          <a:solidFill>
                            <a:schemeClr val="tx1"/>
                          </a:solidFill>
                          <a:latin typeface="+mj-lt"/>
                        </a:rPr>
                        <a:t>201X</a:t>
                      </a:r>
                    </a:p>
                  </a:txBody>
                  <a:tcPr marL="72000" marR="72000" marT="36000" marB="36000" anchor="ctr">
                    <a:lnB w="12700" cap="flat" cmpd="sng" algn="ctr">
                      <a:solidFill>
                        <a:schemeClr val="bg1"/>
                      </a:solidFill>
                      <a:prstDash val="solid"/>
                      <a:round/>
                      <a:headEnd type="none" w="med" len="med"/>
                      <a:tailEnd type="none" w="med" len="med"/>
                    </a:lnB>
                    <a:noFill/>
                  </a:tcPr>
                </a:tc>
                <a:tc hMerge="1">
                  <a:txBody>
                    <a:bodyPr/>
                    <a:lstStyle/>
                    <a:p>
                      <a:endParaRPr lang="de-DE" sz="1400" b="0" dirty="0">
                        <a:latin typeface="+mj-lt"/>
                      </a:endParaRPr>
                    </a:p>
                  </a:txBody>
                  <a:tcPr/>
                </a:tc>
                <a:tc hMerge="1">
                  <a:txBody>
                    <a:bodyPr/>
                    <a:lstStyle/>
                    <a:p>
                      <a:endParaRPr lang="de-DE" sz="1400" b="0" dirty="0">
                        <a:latin typeface="+mj-lt"/>
                      </a:endParaRPr>
                    </a:p>
                  </a:txBody>
                  <a:tcPr/>
                </a:tc>
                <a:tc hMerge="1">
                  <a:txBody>
                    <a:bodyPr/>
                    <a:lstStyle/>
                    <a:p>
                      <a:endParaRPr lang="de-DE" sz="1400" b="0" dirty="0">
                        <a:latin typeface="+mj-lt"/>
                      </a:endParaRPr>
                    </a:p>
                  </a:txBody>
                  <a:tcPr/>
                </a:tc>
                <a:extLst>
                  <a:ext uri="{0D108BD9-81ED-4DB2-BD59-A6C34878D82A}">
                    <a16:rowId xmlns:a16="http://schemas.microsoft.com/office/drawing/2014/main" val="10000"/>
                  </a:ext>
                </a:extLst>
              </a:tr>
              <a:tr h="279323">
                <a:tc>
                  <a:txBody>
                    <a:bodyPr/>
                    <a:lstStyle/>
                    <a:p>
                      <a:endParaRPr lang="en-US" sz="1200" noProof="0">
                        <a:solidFill>
                          <a:schemeClr val="bg1"/>
                        </a:solidFill>
                      </a:endParaRPr>
                    </a:p>
                  </a:txBody>
                  <a:tcPr marL="72000" marR="72000" marT="36000" marB="36000" anchor="ct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3">
                  <a:txBody>
                    <a:bodyPr/>
                    <a:lstStyle/>
                    <a:p>
                      <a:pPr algn="l"/>
                      <a:r>
                        <a:rPr lang="en-US" sz="1200" noProof="0">
                          <a:solidFill>
                            <a:schemeClr val="accent1"/>
                          </a:solidFill>
                          <a:latin typeface="+mj-lt"/>
                        </a:rPr>
                        <a:t>Q1</a:t>
                      </a:r>
                    </a:p>
                  </a:txBody>
                  <a:tcPr marL="72000" marR="72000" marT="36000" marB="36000" anchor="ct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de-DE" sz="1000" dirty="0">
                        <a:solidFill>
                          <a:schemeClr val="bg1"/>
                        </a:solidFill>
                      </a:endParaRPr>
                    </a:p>
                  </a:txBody>
                  <a:tcPr marL="72000" marR="72000" marT="36000" marB="36000" anchor="ctr">
                    <a:lnT w="12700" cap="flat" cmpd="sng" algn="ctr">
                      <a:solidFill>
                        <a:schemeClr val="bg1"/>
                      </a:solidFill>
                      <a:prstDash val="solid"/>
                      <a:round/>
                      <a:headEnd type="none" w="med" len="med"/>
                      <a:tailEnd type="none" w="med" len="med"/>
                    </a:lnT>
                    <a:lnB w="6350" cap="flat" cmpd="sng" algn="ctr">
                      <a:solidFill>
                        <a:schemeClr val="accent5"/>
                      </a:solidFill>
                      <a:prstDash val="solid"/>
                      <a:round/>
                      <a:headEnd type="none" w="med" len="med"/>
                      <a:tailEnd type="none" w="med" len="med"/>
                    </a:lnB>
                    <a:solidFill>
                      <a:schemeClr val="accent5"/>
                    </a:solidFill>
                  </a:tcPr>
                </a:tc>
                <a:tc hMerge="1">
                  <a:txBody>
                    <a:bodyPr/>
                    <a:lstStyle/>
                    <a:p>
                      <a:pPr algn="ctr"/>
                      <a:endParaRPr lang="de-DE" sz="1000" dirty="0">
                        <a:solidFill>
                          <a:schemeClr val="bg1"/>
                        </a:solidFill>
                      </a:endParaRPr>
                    </a:p>
                  </a:txBody>
                  <a:tcPr marL="72000" marR="72000" marT="36000" marB="36000" anchor="ctr">
                    <a:lnT w="12700" cap="flat" cmpd="sng" algn="ctr">
                      <a:solidFill>
                        <a:schemeClr val="bg1"/>
                      </a:solidFill>
                      <a:prstDash val="solid"/>
                      <a:round/>
                      <a:headEnd type="none" w="med" len="med"/>
                      <a:tailEnd type="none" w="med" len="med"/>
                    </a:lnT>
                    <a:lnB w="6350" cap="flat" cmpd="sng" algn="ctr">
                      <a:solidFill>
                        <a:schemeClr val="accent5"/>
                      </a:solidFill>
                      <a:prstDash val="solid"/>
                      <a:round/>
                      <a:headEnd type="none" w="med" len="med"/>
                      <a:tailEnd type="none" w="med" len="med"/>
                    </a:lnB>
                    <a:solidFill>
                      <a:schemeClr val="accent5"/>
                    </a:solidFill>
                  </a:tcPr>
                </a:tc>
                <a:tc gridSpan="3">
                  <a:txBody>
                    <a:bodyPr/>
                    <a:lstStyle/>
                    <a:p>
                      <a:pPr algn="l"/>
                      <a:r>
                        <a:rPr lang="en-US" sz="1200" noProof="0">
                          <a:solidFill>
                            <a:schemeClr val="accent1"/>
                          </a:solidFill>
                          <a:latin typeface="+mj-lt"/>
                        </a:rPr>
                        <a:t>Q2</a:t>
                      </a:r>
                    </a:p>
                  </a:txBody>
                  <a:tcPr marL="72000" marR="72000" marT="36000" marB="36000" anchor="ct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de-DE" sz="1000" dirty="0">
                        <a:solidFill>
                          <a:schemeClr val="bg1"/>
                        </a:solidFill>
                      </a:endParaRPr>
                    </a:p>
                  </a:txBody>
                  <a:tcPr marL="72000" marR="72000" marT="36000" marB="36000" anchor="ctr">
                    <a:lnT w="12700" cap="flat" cmpd="sng" algn="ctr">
                      <a:solidFill>
                        <a:schemeClr val="bg1"/>
                      </a:solidFill>
                      <a:prstDash val="solid"/>
                      <a:round/>
                      <a:headEnd type="none" w="med" len="med"/>
                      <a:tailEnd type="none" w="med" len="med"/>
                    </a:lnT>
                    <a:lnB w="6350" cap="flat" cmpd="sng" algn="ctr">
                      <a:solidFill>
                        <a:schemeClr val="accent5"/>
                      </a:solidFill>
                      <a:prstDash val="solid"/>
                      <a:round/>
                      <a:headEnd type="none" w="med" len="med"/>
                      <a:tailEnd type="none" w="med" len="med"/>
                    </a:lnB>
                    <a:solidFill>
                      <a:schemeClr val="accent5"/>
                    </a:solidFill>
                  </a:tcPr>
                </a:tc>
                <a:tc hMerge="1">
                  <a:txBody>
                    <a:bodyPr/>
                    <a:lstStyle/>
                    <a:p>
                      <a:pPr algn="ctr"/>
                      <a:endParaRPr lang="de-DE" sz="1000" dirty="0">
                        <a:solidFill>
                          <a:schemeClr val="bg1"/>
                        </a:solidFill>
                      </a:endParaRPr>
                    </a:p>
                  </a:txBody>
                  <a:tcPr marL="72000" marR="72000" marT="36000" marB="36000" anchor="ctr">
                    <a:lnT w="12700" cap="flat" cmpd="sng" algn="ctr">
                      <a:solidFill>
                        <a:schemeClr val="bg1"/>
                      </a:solidFill>
                      <a:prstDash val="solid"/>
                      <a:round/>
                      <a:headEnd type="none" w="med" len="med"/>
                      <a:tailEnd type="none" w="med" len="med"/>
                    </a:lnT>
                    <a:lnB w="6350" cap="flat" cmpd="sng" algn="ctr">
                      <a:solidFill>
                        <a:schemeClr val="accent5"/>
                      </a:solidFill>
                      <a:prstDash val="solid"/>
                      <a:round/>
                      <a:headEnd type="none" w="med" len="med"/>
                      <a:tailEnd type="none" w="med" len="med"/>
                    </a:lnB>
                    <a:solidFill>
                      <a:schemeClr val="accent5"/>
                    </a:solidFill>
                  </a:tcPr>
                </a:tc>
                <a:tc gridSpan="3">
                  <a:txBody>
                    <a:bodyPr/>
                    <a:lstStyle/>
                    <a:p>
                      <a:pPr algn="l"/>
                      <a:r>
                        <a:rPr lang="en-US" sz="1200" noProof="0">
                          <a:solidFill>
                            <a:schemeClr val="accent1"/>
                          </a:solidFill>
                          <a:latin typeface="+mj-lt"/>
                        </a:rPr>
                        <a:t>Q3</a:t>
                      </a:r>
                    </a:p>
                  </a:txBody>
                  <a:tcPr marL="72000" marR="72000" marT="36000" marB="36000" anchor="ct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de-DE" sz="1000" dirty="0">
                        <a:solidFill>
                          <a:schemeClr val="bg1"/>
                        </a:solidFill>
                      </a:endParaRPr>
                    </a:p>
                  </a:txBody>
                  <a:tcPr marL="72000" marR="72000" marT="36000" marB="36000" anchor="ctr">
                    <a:lnT w="12700" cap="flat" cmpd="sng" algn="ctr">
                      <a:solidFill>
                        <a:schemeClr val="bg1"/>
                      </a:solidFill>
                      <a:prstDash val="solid"/>
                      <a:round/>
                      <a:headEnd type="none" w="med" len="med"/>
                      <a:tailEnd type="none" w="med" len="med"/>
                    </a:lnT>
                    <a:lnB w="6350" cap="flat" cmpd="sng" algn="ctr">
                      <a:solidFill>
                        <a:schemeClr val="accent5"/>
                      </a:solidFill>
                      <a:prstDash val="solid"/>
                      <a:round/>
                      <a:headEnd type="none" w="med" len="med"/>
                      <a:tailEnd type="none" w="med" len="med"/>
                    </a:lnB>
                    <a:solidFill>
                      <a:schemeClr val="accent5"/>
                    </a:solidFill>
                  </a:tcPr>
                </a:tc>
                <a:tc hMerge="1">
                  <a:txBody>
                    <a:bodyPr/>
                    <a:lstStyle/>
                    <a:p>
                      <a:pPr algn="ctr"/>
                      <a:endParaRPr lang="de-DE" sz="1000" dirty="0">
                        <a:solidFill>
                          <a:schemeClr val="bg1"/>
                        </a:solidFill>
                      </a:endParaRPr>
                    </a:p>
                  </a:txBody>
                  <a:tcPr marL="72000" marR="72000" marT="36000" marB="36000" anchor="ctr">
                    <a:lnT w="12700" cap="flat" cmpd="sng" algn="ctr">
                      <a:solidFill>
                        <a:schemeClr val="bg1"/>
                      </a:solidFill>
                      <a:prstDash val="solid"/>
                      <a:round/>
                      <a:headEnd type="none" w="med" len="med"/>
                      <a:tailEnd type="none" w="med" len="med"/>
                    </a:lnT>
                    <a:lnB w="6350" cap="flat" cmpd="sng" algn="ctr">
                      <a:solidFill>
                        <a:schemeClr val="accent5"/>
                      </a:solidFill>
                      <a:prstDash val="solid"/>
                      <a:round/>
                      <a:headEnd type="none" w="med" len="med"/>
                      <a:tailEnd type="none" w="med" len="med"/>
                    </a:lnB>
                    <a:solidFill>
                      <a:schemeClr val="accent5"/>
                    </a:solidFill>
                  </a:tcPr>
                </a:tc>
                <a:tc gridSpan="3">
                  <a:txBody>
                    <a:bodyPr/>
                    <a:lstStyle/>
                    <a:p>
                      <a:pPr algn="l"/>
                      <a:r>
                        <a:rPr lang="en-US" sz="1200" noProof="0">
                          <a:solidFill>
                            <a:schemeClr val="accent1"/>
                          </a:solidFill>
                          <a:latin typeface="+mj-lt"/>
                        </a:rPr>
                        <a:t>Q4</a:t>
                      </a:r>
                    </a:p>
                  </a:txBody>
                  <a:tcPr marL="72000" marR="72000" marT="36000" marB="36000" anchor="ct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de-DE" sz="1000" dirty="0">
                        <a:solidFill>
                          <a:schemeClr val="bg1"/>
                        </a:solidFill>
                      </a:endParaRPr>
                    </a:p>
                  </a:txBody>
                  <a:tcPr marL="72000" marR="72000" marT="36000" marB="36000" anchor="ctr">
                    <a:lnT w="12700" cap="flat" cmpd="sng" algn="ctr">
                      <a:solidFill>
                        <a:schemeClr val="bg1"/>
                      </a:solidFill>
                      <a:prstDash val="solid"/>
                      <a:round/>
                      <a:headEnd type="none" w="med" len="med"/>
                      <a:tailEnd type="none" w="med" len="med"/>
                    </a:lnT>
                    <a:lnB w="6350" cap="flat" cmpd="sng" algn="ctr">
                      <a:solidFill>
                        <a:schemeClr val="accent5"/>
                      </a:solidFill>
                      <a:prstDash val="solid"/>
                      <a:round/>
                      <a:headEnd type="none" w="med" len="med"/>
                      <a:tailEnd type="none" w="med" len="med"/>
                    </a:lnB>
                    <a:solidFill>
                      <a:schemeClr val="accent5"/>
                    </a:solidFill>
                  </a:tcPr>
                </a:tc>
                <a:tc hMerge="1">
                  <a:txBody>
                    <a:bodyPr/>
                    <a:lstStyle/>
                    <a:p>
                      <a:pPr algn="ctr"/>
                      <a:endParaRPr lang="de-DE" sz="1000" dirty="0">
                        <a:solidFill>
                          <a:schemeClr val="bg1"/>
                        </a:solidFill>
                      </a:endParaRPr>
                    </a:p>
                  </a:txBody>
                  <a:tcPr marL="72000" marR="72000" marT="36000" marB="36000" anchor="ctr">
                    <a:lnT w="12700" cap="flat" cmpd="sng" algn="ctr">
                      <a:solidFill>
                        <a:schemeClr val="bg1"/>
                      </a:solidFill>
                      <a:prstDash val="solid"/>
                      <a:round/>
                      <a:headEnd type="none" w="med" len="med"/>
                      <a:tailEnd type="none" w="med" len="med"/>
                    </a:lnT>
                    <a:lnB w="6350" cap="flat" cmpd="sng" algn="ctr">
                      <a:solidFill>
                        <a:schemeClr val="accent5"/>
                      </a:solidFill>
                      <a:prstDash val="solid"/>
                      <a:round/>
                      <a:headEnd type="none" w="med" len="med"/>
                      <a:tailEnd type="none" w="med" len="med"/>
                    </a:lnB>
                    <a:solidFill>
                      <a:schemeClr val="accent5"/>
                    </a:solidFill>
                  </a:tcPr>
                </a:tc>
                <a:tc gridSpan="3">
                  <a:txBody>
                    <a:bodyPr/>
                    <a:lstStyle/>
                    <a:p>
                      <a:pPr algn="l"/>
                      <a:r>
                        <a:rPr lang="en-US" sz="1200" noProof="0">
                          <a:solidFill>
                            <a:schemeClr val="accent1"/>
                          </a:solidFill>
                          <a:latin typeface="+mj-lt"/>
                        </a:rPr>
                        <a:t>Q1</a:t>
                      </a:r>
                    </a:p>
                  </a:txBody>
                  <a:tcPr marL="72000" marR="72000" marT="36000" marB="36000" anchor="ct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de-DE" sz="1000" dirty="0">
                        <a:solidFill>
                          <a:schemeClr val="bg1"/>
                        </a:solidFill>
                      </a:endParaRPr>
                    </a:p>
                  </a:txBody>
                  <a:tcPr marL="72000" marR="72000" marT="36000" marB="36000" anchor="ctr">
                    <a:lnT w="12700" cap="flat" cmpd="sng" algn="ctr">
                      <a:solidFill>
                        <a:schemeClr val="bg1"/>
                      </a:solidFill>
                      <a:prstDash val="solid"/>
                      <a:round/>
                      <a:headEnd type="none" w="med" len="med"/>
                      <a:tailEnd type="none" w="med" len="med"/>
                    </a:lnT>
                    <a:lnB w="6350" cap="flat" cmpd="sng" algn="ctr">
                      <a:solidFill>
                        <a:schemeClr val="accent5"/>
                      </a:solidFill>
                      <a:prstDash val="solid"/>
                      <a:round/>
                      <a:headEnd type="none" w="med" len="med"/>
                      <a:tailEnd type="none" w="med" len="med"/>
                    </a:lnB>
                    <a:solidFill>
                      <a:schemeClr val="accent5"/>
                    </a:solidFill>
                  </a:tcPr>
                </a:tc>
                <a:tc hMerge="1">
                  <a:txBody>
                    <a:bodyPr/>
                    <a:lstStyle/>
                    <a:p>
                      <a:pPr algn="ctr"/>
                      <a:endParaRPr lang="de-DE" sz="1000" dirty="0">
                        <a:solidFill>
                          <a:schemeClr val="bg1"/>
                        </a:solidFill>
                      </a:endParaRPr>
                    </a:p>
                  </a:txBody>
                  <a:tcPr marL="72000" marR="72000" marT="36000" marB="36000" anchor="ctr">
                    <a:lnT w="12700" cap="flat" cmpd="sng" algn="ctr">
                      <a:solidFill>
                        <a:schemeClr val="bg1"/>
                      </a:solidFill>
                      <a:prstDash val="solid"/>
                      <a:round/>
                      <a:headEnd type="none" w="med" len="med"/>
                      <a:tailEnd type="none" w="med" len="med"/>
                    </a:lnT>
                    <a:lnB w="6350" cap="flat" cmpd="sng" algn="ctr">
                      <a:solidFill>
                        <a:schemeClr val="accent5"/>
                      </a:solidFill>
                      <a:prstDash val="solid"/>
                      <a:round/>
                      <a:headEnd type="none" w="med" len="med"/>
                      <a:tailEnd type="none" w="med" len="med"/>
                    </a:lnB>
                    <a:solidFill>
                      <a:schemeClr val="accent5"/>
                    </a:solidFill>
                  </a:tcPr>
                </a:tc>
                <a:tc>
                  <a:txBody>
                    <a:bodyPr/>
                    <a:lstStyle/>
                    <a:p>
                      <a:pPr algn="l"/>
                      <a:r>
                        <a:rPr lang="en-US" sz="1200" noProof="0">
                          <a:solidFill>
                            <a:schemeClr val="accent1"/>
                          </a:solidFill>
                          <a:latin typeface="+mj-lt"/>
                        </a:rPr>
                        <a:t>Q2</a:t>
                      </a:r>
                    </a:p>
                  </a:txBody>
                  <a:tcPr marL="72000" marR="72000" marT="36000" marB="36000" anchor="ct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79323">
                <a:tc>
                  <a:txBody>
                    <a:bodyPr/>
                    <a:lstStyle/>
                    <a:p>
                      <a:r>
                        <a:rPr lang="en-US" sz="1200" noProof="0">
                          <a:latin typeface="+mj-lt"/>
                        </a:rPr>
                        <a:t>Phase 1</a:t>
                      </a:r>
                    </a:p>
                  </a:txBody>
                  <a:tcPr marL="72000" marR="72000" marT="36000" marB="36000" anchor="ctr">
                    <a:lnL w="635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9323">
                <a:tc>
                  <a:txBody>
                    <a:bodyPr/>
                    <a:lstStyle/>
                    <a:p>
                      <a:r>
                        <a:rPr lang="en-US" sz="1200" noProof="0"/>
                        <a:t>…</a:t>
                      </a:r>
                    </a:p>
                  </a:txBody>
                  <a:tcPr marL="72000" marR="72000" marT="36000" marB="36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r h="279323">
                <a:tc>
                  <a:txBody>
                    <a:bodyPr/>
                    <a:lstStyle/>
                    <a:p>
                      <a:r>
                        <a:rPr lang="en-US" sz="1200" noProof="0"/>
                        <a:t>…</a:t>
                      </a:r>
                    </a:p>
                  </a:txBody>
                  <a:tcPr marL="72000" marR="72000" marT="36000" marB="36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279323">
                <a:tc>
                  <a:txBody>
                    <a:bodyPr/>
                    <a:lstStyle/>
                    <a:p>
                      <a:r>
                        <a:rPr lang="en-US" sz="1200" noProof="0"/>
                        <a:t>…</a:t>
                      </a:r>
                    </a:p>
                  </a:txBody>
                  <a:tcPr marL="72000" marR="72000" marT="36000" marB="36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5"/>
                  </a:ext>
                </a:extLst>
              </a:tr>
              <a:tr h="279323">
                <a:tc>
                  <a:txBody>
                    <a:bodyPr/>
                    <a:lstStyle/>
                    <a:p>
                      <a:endParaRPr lang="en-US" sz="1200" noProof="0"/>
                    </a:p>
                  </a:txBody>
                  <a:tcPr marL="72000" marR="72000" marT="36000" marB="36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279323">
                <a:tc>
                  <a:txBody>
                    <a:bodyPr/>
                    <a:lstStyle/>
                    <a:p>
                      <a:r>
                        <a:rPr lang="en-US" sz="1200" noProof="0">
                          <a:latin typeface="+mj-lt"/>
                        </a:rPr>
                        <a:t>Phase 2</a:t>
                      </a:r>
                    </a:p>
                  </a:txBody>
                  <a:tcPr marL="72000" marR="72000" marT="36000" marB="36000" anchor="ctr">
                    <a:lnL w="635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279323">
                <a:tc>
                  <a:txBody>
                    <a:bodyPr/>
                    <a:lstStyle/>
                    <a:p>
                      <a:r>
                        <a:rPr lang="en-US" sz="1200" noProof="0"/>
                        <a:t>…</a:t>
                      </a:r>
                    </a:p>
                  </a:txBody>
                  <a:tcPr marL="72000" marR="72000" marT="36000" marB="36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8"/>
                  </a:ext>
                </a:extLst>
              </a:tr>
              <a:tr h="279323">
                <a:tc>
                  <a:txBody>
                    <a:bodyPr/>
                    <a:lstStyle/>
                    <a:p>
                      <a:r>
                        <a:rPr lang="en-US" sz="1200" noProof="0"/>
                        <a:t>…</a:t>
                      </a:r>
                    </a:p>
                  </a:txBody>
                  <a:tcPr marL="72000" marR="72000" marT="36000" marB="36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r h="279323">
                <a:tc>
                  <a:txBody>
                    <a:bodyPr/>
                    <a:lstStyle/>
                    <a:p>
                      <a:r>
                        <a:rPr lang="en-US" sz="1200" noProof="0"/>
                        <a:t>…</a:t>
                      </a:r>
                    </a:p>
                  </a:txBody>
                  <a:tcPr marL="72000" marR="72000" marT="36000" marB="36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10"/>
                  </a:ext>
                </a:extLst>
              </a:tr>
              <a:tr h="279323">
                <a:tc>
                  <a:txBody>
                    <a:bodyPr/>
                    <a:lstStyle/>
                    <a:p>
                      <a:endParaRPr lang="en-US" sz="1200" noProof="0"/>
                    </a:p>
                  </a:txBody>
                  <a:tcPr marL="72000" marR="72000" marT="36000" marB="36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1"/>
                  </a:ext>
                </a:extLst>
              </a:tr>
              <a:tr h="279323">
                <a:tc>
                  <a:txBody>
                    <a:bodyPr/>
                    <a:lstStyle/>
                    <a:p>
                      <a:r>
                        <a:rPr lang="en-US" sz="1200" noProof="0">
                          <a:latin typeface="+mj-lt"/>
                        </a:rPr>
                        <a:t>Phase 3</a:t>
                      </a:r>
                    </a:p>
                  </a:txBody>
                  <a:tcPr marL="72000" marR="72000" marT="36000" marB="36000" anchor="ctr">
                    <a:lnL w="635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2"/>
                  </a:ext>
                </a:extLst>
              </a:tr>
              <a:tr h="279323">
                <a:tc>
                  <a:txBody>
                    <a:bodyPr/>
                    <a:lstStyle/>
                    <a:p>
                      <a:r>
                        <a:rPr lang="en-US" sz="1200" noProof="0"/>
                        <a:t>…</a:t>
                      </a:r>
                    </a:p>
                  </a:txBody>
                  <a:tcPr marL="72000" marR="72000" marT="36000" marB="36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13"/>
                  </a:ext>
                </a:extLst>
              </a:tr>
              <a:tr h="279323">
                <a:tc>
                  <a:txBody>
                    <a:bodyPr/>
                    <a:lstStyle/>
                    <a:p>
                      <a:r>
                        <a:rPr lang="en-US" sz="1200" noProof="0"/>
                        <a:t>…</a:t>
                      </a:r>
                    </a:p>
                  </a:txBody>
                  <a:tcPr marL="72000" marR="72000" marT="36000" marB="36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4"/>
                  </a:ext>
                </a:extLst>
              </a:tr>
              <a:tr h="279323">
                <a:tc>
                  <a:txBody>
                    <a:bodyPr/>
                    <a:lstStyle/>
                    <a:p>
                      <a:r>
                        <a:rPr lang="en-US" sz="1200" noProof="0"/>
                        <a:t>…</a:t>
                      </a:r>
                    </a:p>
                  </a:txBody>
                  <a:tcPr marL="72000" marR="72000" marT="36000" marB="36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dirty="0"/>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15"/>
                  </a:ext>
                </a:extLst>
              </a:tr>
            </a:tbl>
          </a:graphicData>
        </a:graphic>
      </p:graphicFrame>
      <p:sp>
        <p:nvSpPr>
          <p:cNvPr id="7" name="Rectangle 43">
            <a:extLst>
              <a:ext uri="{FF2B5EF4-FFF2-40B4-BE49-F238E27FC236}">
                <a16:creationId xmlns:a16="http://schemas.microsoft.com/office/drawing/2014/main" id="{799BEB9F-9AEC-4F26-BCD6-9B1FCACB22DE}"/>
              </a:ext>
            </a:extLst>
          </p:cNvPr>
          <p:cNvSpPr>
            <a:spLocks noChangeArrowheads="1"/>
          </p:cNvSpPr>
          <p:nvPr/>
        </p:nvSpPr>
        <p:spPr bwMode="gray">
          <a:xfrm>
            <a:off x="3462985" y="2744780"/>
            <a:ext cx="1728240" cy="144000"/>
          </a:xfrm>
          <a:prstGeom prst="rect">
            <a:avLst/>
          </a:prstGeom>
          <a:solidFill>
            <a:schemeClr val="accent5"/>
          </a:solidFill>
          <a:ln w="9525" algn="ctr">
            <a:noFill/>
            <a:miter lim="800000"/>
            <a:headEnd/>
            <a:tailEnd/>
          </a:ln>
          <a:effectLst/>
        </p:spPr>
        <p:txBody>
          <a:bodyPr lIns="90000" tIns="46800" rIns="90000" bIns="46800" anchor="ctr"/>
          <a:lstStyle/>
          <a:p>
            <a:endParaRPr lang="en-US" sz="1000" dirty="0"/>
          </a:p>
        </p:txBody>
      </p:sp>
      <p:sp>
        <p:nvSpPr>
          <p:cNvPr id="8" name="Rectangle 43">
            <a:extLst>
              <a:ext uri="{FF2B5EF4-FFF2-40B4-BE49-F238E27FC236}">
                <a16:creationId xmlns:a16="http://schemas.microsoft.com/office/drawing/2014/main" id="{007209B8-BA3C-442A-AA4F-D43E69420B9A}"/>
              </a:ext>
            </a:extLst>
          </p:cNvPr>
          <p:cNvSpPr>
            <a:spLocks noChangeArrowheads="1"/>
          </p:cNvSpPr>
          <p:nvPr/>
        </p:nvSpPr>
        <p:spPr bwMode="gray">
          <a:xfrm>
            <a:off x="4800312" y="3023869"/>
            <a:ext cx="4104000" cy="144000"/>
          </a:xfrm>
          <a:prstGeom prst="rect">
            <a:avLst/>
          </a:prstGeom>
          <a:solidFill>
            <a:schemeClr val="accent5"/>
          </a:solidFill>
          <a:ln w="9525" algn="ctr">
            <a:noFill/>
            <a:miter lim="800000"/>
            <a:headEnd/>
            <a:tailEnd/>
          </a:ln>
          <a:effectLst/>
        </p:spPr>
        <p:txBody>
          <a:bodyPr lIns="90000" tIns="46800" rIns="90000" bIns="46800" anchor="ctr"/>
          <a:lstStyle/>
          <a:p>
            <a:endParaRPr lang="en-US" sz="1000" dirty="0"/>
          </a:p>
        </p:txBody>
      </p:sp>
      <p:sp>
        <p:nvSpPr>
          <p:cNvPr id="9" name="Rectangle 43">
            <a:extLst>
              <a:ext uri="{FF2B5EF4-FFF2-40B4-BE49-F238E27FC236}">
                <a16:creationId xmlns:a16="http://schemas.microsoft.com/office/drawing/2014/main" id="{E389973A-F82F-4DB7-8BE1-5FE1BF3D6595}"/>
              </a:ext>
            </a:extLst>
          </p:cNvPr>
          <p:cNvSpPr>
            <a:spLocks noChangeArrowheads="1"/>
          </p:cNvSpPr>
          <p:nvPr/>
        </p:nvSpPr>
        <p:spPr bwMode="gray">
          <a:xfrm>
            <a:off x="5448402" y="3302958"/>
            <a:ext cx="2880000" cy="144000"/>
          </a:xfrm>
          <a:prstGeom prst="rect">
            <a:avLst/>
          </a:prstGeom>
          <a:solidFill>
            <a:schemeClr val="accent5"/>
          </a:solidFill>
          <a:ln w="9525" algn="ctr">
            <a:noFill/>
            <a:miter lim="800000"/>
            <a:headEnd/>
            <a:tailEnd/>
          </a:ln>
          <a:effectLst/>
        </p:spPr>
        <p:txBody>
          <a:bodyPr lIns="90000" tIns="46800" rIns="90000" bIns="46800" anchor="ctr"/>
          <a:lstStyle/>
          <a:p>
            <a:endParaRPr lang="en-US" sz="1000" dirty="0"/>
          </a:p>
        </p:txBody>
      </p:sp>
      <p:sp>
        <p:nvSpPr>
          <p:cNvPr id="16" name="AutoShape 79">
            <a:extLst>
              <a:ext uri="{FF2B5EF4-FFF2-40B4-BE49-F238E27FC236}">
                <a16:creationId xmlns:a16="http://schemas.microsoft.com/office/drawing/2014/main" id="{195AA805-C7E5-4841-A615-A8245EFDDF6A}"/>
              </a:ext>
            </a:extLst>
          </p:cNvPr>
          <p:cNvSpPr>
            <a:spLocks noChangeArrowheads="1"/>
          </p:cNvSpPr>
          <p:nvPr/>
        </p:nvSpPr>
        <p:spPr bwMode="gray">
          <a:xfrm>
            <a:off x="2784032" y="2456748"/>
            <a:ext cx="142875" cy="142875"/>
          </a:xfrm>
          <a:prstGeom prst="diamond">
            <a:avLst/>
          </a:prstGeom>
          <a:solidFill>
            <a:schemeClr val="accent5"/>
          </a:solidFill>
          <a:ln w="9525">
            <a:solidFill>
              <a:schemeClr val="bg1"/>
            </a:solidFill>
            <a:miter lim="800000"/>
            <a:headEnd/>
            <a:tailEnd/>
          </a:ln>
          <a:effectLst/>
        </p:spPr>
        <p:txBody>
          <a:bodyPr wrap="none" lIns="342000" anchor="ctr"/>
          <a:lstStyle/>
          <a:p>
            <a:r>
              <a:rPr lang="en-US" altLang="de-DE" sz="1000" dirty="0">
                <a:solidFill>
                  <a:schemeClr val="accent1"/>
                </a:solidFill>
                <a:latin typeface="+mj-lt"/>
              </a:rPr>
              <a:t>Milestone</a:t>
            </a:r>
          </a:p>
        </p:txBody>
      </p:sp>
      <p:sp>
        <p:nvSpPr>
          <p:cNvPr id="20" name="Rectangle 43">
            <a:extLst>
              <a:ext uri="{FF2B5EF4-FFF2-40B4-BE49-F238E27FC236}">
                <a16:creationId xmlns:a16="http://schemas.microsoft.com/office/drawing/2014/main" id="{098FF23F-6166-40B9-AEDA-3CCE31F139BF}"/>
              </a:ext>
            </a:extLst>
          </p:cNvPr>
          <p:cNvSpPr>
            <a:spLocks noChangeArrowheads="1"/>
          </p:cNvSpPr>
          <p:nvPr/>
        </p:nvSpPr>
        <p:spPr bwMode="gray">
          <a:xfrm>
            <a:off x="3720162" y="4140676"/>
            <a:ext cx="1728240" cy="144000"/>
          </a:xfrm>
          <a:prstGeom prst="rect">
            <a:avLst/>
          </a:prstGeom>
          <a:solidFill>
            <a:schemeClr val="accent5"/>
          </a:solidFill>
          <a:ln w="9525" algn="ctr">
            <a:noFill/>
            <a:miter lim="800000"/>
            <a:headEnd/>
            <a:tailEnd/>
          </a:ln>
          <a:effectLst/>
        </p:spPr>
        <p:txBody>
          <a:bodyPr lIns="90000" tIns="46800" rIns="90000" bIns="46800" anchor="ctr"/>
          <a:lstStyle/>
          <a:p>
            <a:endParaRPr lang="en-US" sz="1000" dirty="0"/>
          </a:p>
        </p:txBody>
      </p:sp>
      <p:sp>
        <p:nvSpPr>
          <p:cNvPr id="21" name="Rectangle 43">
            <a:extLst>
              <a:ext uri="{FF2B5EF4-FFF2-40B4-BE49-F238E27FC236}">
                <a16:creationId xmlns:a16="http://schemas.microsoft.com/office/drawing/2014/main" id="{40914BEA-A704-4855-A8D0-7A6D970A9457}"/>
              </a:ext>
            </a:extLst>
          </p:cNvPr>
          <p:cNvSpPr>
            <a:spLocks noChangeArrowheads="1"/>
          </p:cNvSpPr>
          <p:nvPr/>
        </p:nvSpPr>
        <p:spPr bwMode="gray">
          <a:xfrm>
            <a:off x="5057489" y="4424528"/>
            <a:ext cx="4104000" cy="144000"/>
          </a:xfrm>
          <a:prstGeom prst="rect">
            <a:avLst/>
          </a:prstGeom>
          <a:solidFill>
            <a:schemeClr val="accent5"/>
          </a:solidFill>
          <a:ln w="9525" algn="ctr">
            <a:noFill/>
            <a:miter lim="800000"/>
            <a:headEnd/>
            <a:tailEnd/>
          </a:ln>
          <a:effectLst/>
        </p:spPr>
        <p:txBody>
          <a:bodyPr lIns="90000" tIns="46800" rIns="90000" bIns="46800" anchor="ctr"/>
          <a:lstStyle/>
          <a:p>
            <a:endParaRPr lang="en-US" sz="1000" dirty="0"/>
          </a:p>
        </p:txBody>
      </p:sp>
      <p:sp>
        <p:nvSpPr>
          <p:cNvPr id="22" name="Rectangle 43">
            <a:extLst>
              <a:ext uri="{FF2B5EF4-FFF2-40B4-BE49-F238E27FC236}">
                <a16:creationId xmlns:a16="http://schemas.microsoft.com/office/drawing/2014/main" id="{E08DDC69-56D1-4AD3-993C-D18B3739F062}"/>
              </a:ext>
            </a:extLst>
          </p:cNvPr>
          <p:cNvSpPr>
            <a:spLocks noChangeArrowheads="1"/>
          </p:cNvSpPr>
          <p:nvPr/>
        </p:nvSpPr>
        <p:spPr bwMode="gray">
          <a:xfrm>
            <a:off x="5705579" y="4703617"/>
            <a:ext cx="2880000" cy="144000"/>
          </a:xfrm>
          <a:prstGeom prst="rect">
            <a:avLst/>
          </a:prstGeom>
          <a:solidFill>
            <a:schemeClr val="accent5"/>
          </a:solidFill>
          <a:ln w="9525" algn="ctr">
            <a:noFill/>
            <a:miter lim="800000"/>
            <a:headEnd/>
            <a:tailEnd/>
          </a:ln>
          <a:effectLst/>
        </p:spPr>
        <p:txBody>
          <a:bodyPr lIns="90000" tIns="46800" rIns="90000" bIns="46800" anchor="ctr"/>
          <a:lstStyle/>
          <a:p>
            <a:endParaRPr lang="en-US" sz="1000" dirty="0"/>
          </a:p>
        </p:txBody>
      </p:sp>
      <p:sp>
        <p:nvSpPr>
          <p:cNvPr id="23" name="AutoShape 79">
            <a:extLst>
              <a:ext uri="{FF2B5EF4-FFF2-40B4-BE49-F238E27FC236}">
                <a16:creationId xmlns:a16="http://schemas.microsoft.com/office/drawing/2014/main" id="{B60DE5C2-8C5E-451F-81EB-65FB64210B34}"/>
              </a:ext>
            </a:extLst>
          </p:cNvPr>
          <p:cNvSpPr>
            <a:spLocks noChangeArrowheads="1"/>
          </p:cNvSpPr>
          <p:nvPr/>
        </p:nvSpPr>
        <p:spPr bwMode="gray">
          <a:xfrm>
            <a:off x="9540214" y="3843118"/>
            <a:ext cx="142875" cy="142875"/>
          </a:xfrm>
          <a:prstGeom prst="diamond">
            <a:avLst/>
          </a:prstGeom>
          <a:solidFill>
            <a:schemeClr val="accent5"/>
          </a:solidFill>
          <a:ln w="9525">
            <a:solidFill>
              <a:schemeClr val="bg1"/>
            </a:solidFill>
            <a:miter lim="800000"/>
            <a:headEnd/>
            <a:tailEnd/>
          </a:ln>
          <a:effectLst/>
        </p:spPr>
        <p:txBody>
          <a:bodyPr wrap="none" lIns="342000" anchor="ctr"/>
          <a:lstStyle/>
          <a:p>
            <a:r>
              <a:rPr lang="en-US" altLang="de-DE" sz="1000" dirty="0">
                <a:solidFill>
                  <a:schemeClr val="accent1"/>
                </a:solidFill>
                <a:latin typeface="+mj-lt"/>
              </a:rPr>
              <a:t>Milestone</a:t>
            </a:r>
          </a:p>
        </p:txBody>
      </p:sp>
      <p:sp>
        <p:nvSpPr>
          <p:cNvPr id="24" name="Rectangle 43">
            <a:extLst>
              <a:ext uri="{FF2B5EF4-FFF2-40B4-BE49-F238E27FC236}">
                <a16:creationId xmlns:a16="http://schemas.microsoft.com/office/drawing/2014/main" id="{6D90F2DD-796E-4239-865A-3D1E3F7F81CD}"/>
              </a:ext>
            </a:extLst>
          </p:cNvPr>
          <p:cNvSpPr>
            <a:spLocks noChangeArrowheads="1"/>
          </p:cNvSpPr>
          <p:nvPr/>
        </p:nvSpPr>
        <p:spPr bwMode="gray">
          <a:xfrm>
            <a:off x="6127355" y="5536011"/>
            <a:ext cx="1728240" cy="144000"/>
          </a:xfrm>
          <a:prstGeom prst="rect">
            <a:avLst/>
          </a:prstGeom>
          <a:solidFill>
            <a:schemeClr val="accent5"/>
          </a:solidFill>
          <a:ln w="9525" algn="ctr">
            <a:noFill/>
            <a:miter lim="800000"/>
            <a:headEnd/>
            <a:tailEnd/>
          </a:ln>
          <a:effectLst/>
        </p:spPr>
        <p:txBody>
          <a:bodyPr lIns="90000" tIns="46800" rIns="90000" bIns="46800" anchor="ctr"/>
          <a:lstStyle/>
          <a:p>
            <a:endParaRPr lang="en-US" sz="1000" dirty="0"/>
          </a:p>
        </p:txBody>
      </p:sp>
      <p:sp>
        <p:nvSpPr>
          <p:cNvPr id="25" name="Rectangle 43">
            <a:extLst>
              <a:ext uri="{FF2B5EF4-FFF2-40B4-BE49-F238E27FC236}">
                <a16:creationId xmlns:a16="http://schemas.microsoft.com/office/drawing/2014/main" id="{953381B4-5A31-4F45-B203-89D73E1E707E}"/>
              </a:ext>
            </a:extLst>
          </p:cNvPr>
          <p:cNvSpPr>
            <a:spLocks noChangeArrowheads="1"/>
          </p:cNvSpPr>
          <p:nvPr/>
        </p:nvSpPr>
        <p:spPr bwMode="gray">
          <a:xfrm>
            <a:off x="7464682" y="5815100"/>
            <a:ext cx="4104000" cy="144000"/>
          </a:xfrm>
          <a:prstGeom prst="rect">
            <a:avLst/>
          </a:prstGeom>
          <a:solidFill>
            <a:schemeClr val="accent5"/>
          </a:solidFill>
          <a:ln w="9525" algn="ctr">
            <a:noFill/>
            <a:miter lim="800000"/>
            <a:headEnd/>
            <a:tailEnd/>
          </a:ln>
          <a:effectLst/>
        </p:spPr>
        <p:txBody>
          <a:bodyPr lIns="90000" tIns="46800" rIns="90000" bIns="46800" anchor="ctr"/>
          <a:lstStyle/>
          <a:p>
            <a:endParaRPr lang="en-US" sz="1000" dirty="0"/>
          </a:p>
        </p:txBody>
      </p:sp>
      <p:sp>
        <p:nvSpPr>
          <p:cNvPr id="26" name="Rectangle 43">
            <a:extLst>
              <a:ext uri="{FF2B5EF4-FFF2-40B4-BE49-F238E27FC236}">
                <a16:creationId xmlns:a16="http://schemas.microsoft.com/office/drawing/2014/main" id="{2174226A-612D-43DE-B50F-2C28484F60EE}"/>
              </a:ext>
            </a:extLst>
          </p:cNvPr>
          <p:cNvSpPr>
            <a:spLocks noChangeArrowheads="1"/>
          </p:cNvSpPr>
          <p:nvPr/>
        </p:nvSpPr>
        <p:spPr bwMode="gray">
          <a:xfrm>
            <a:off x="8112772" y="6094189"/>
            <a:ext cx="2880000" cy="144000"/>
          </a:xfrm>
          <a:prstGeom prst="rect">
            <a:avLst/>
          </a:prstGeom>
          <a:solidFill>
            <a:schemeClr val="accent5"/>
          </a:solidFill>
          <a:ln w="9525" algn="ctr">
            <a:noFill/>
            <a:miter lim="800000"/>
            <a:headEnd/>
            <a:tailEnd/>
          </a:ln>
          <a:effectLst/>
        </p:spPr>
        <p:txBody>
          <a:bodyPr lIns="90000" tIns="46800" rIns="90000" bIns="46800" anchor="ctr"/>
          <a:lstStyle/>
          <a:p>
            <a:endParaRPr lang="en-US" sz="1000" dirty="0"/>
          </a:p>
        </p:txBody>
      </p:sp>
      <p:sp>
        <p:nvSpPr>
          <p:cNvPr id="27" name="AutoShape 79">
            <a:extLst>
              <a:ext uri="{FF2B5EF4-FFF2-40B4-BE49-F238E27FC236}">
                <a16:creationId xmlns:a16="http://schemas.microsoft.com/office/drawing/2014/main" id="{C7F1EAB0-07B6-4F51-B408-27C304407798}"/>
              </a:ext>
            </a:extLst>
          </p:cNvPr>
          <p:cNvSpPr>
            <a:spLocks noChangeArrowheads="1"/>
          </p:cNvSpPr>
          <p:nvPr/>
        </p:nvSpPr>
        <p:spPr bwMode="gray">
          <a:xfrm>
            <a:off x="5448402" y="5247418"/>
            <a:ext cx="142875" cy="142875"/>
          </a:xfrm>
          <a:prstGeom prst="diamond">
            <a:avLst/>
          </a:prstGeom>
          <a:solidFill>
            <a:schemeClr val="accent5"/>
          </a:solidFill>
          <a:ln w="9525">
            <a:solidFill>
              <a:schemeClr val="bg1"/>
            </a:solidFill>
            <a:miter lim="800000"/>
            <a:headEnd/>
            <a:tailEnd/>
          </a:ln>
          <a:effectLst/>
        </p:spPr>
        <p:txBody>
          <a:bodyPr wrap="none" lIns="342000" anchor="ctr"/>
          <a:lstStyle/>
          <a:p>
            <a:r>
              <a:rPr lang="en-US" altLang="de-DE" sz="1000" dirty="0">
                <a:solidFill>
                  <a:schemeClr val="accent1"/>
                </a:solidFill>
                <a:latin typeface="+mj-lt"/>
              </a:rPr>
              <a:t>Milestone</a:t>
            </a:r>
          </a:p>
        </p:txBody>
      </p:sp>
      <p:sp>
        <p:nvSpPr>
          <p:cNvPr id="4" name="Fußzeilenplatzhalter 3">
            <a:extLst>
              <a:ext uri="{FF2B5EF4-FFF2-40B4-BE49-F238E27FC236}">
                <a16:creationId xmlns:a16="http://schemas.microsoft.com/office/drawing/2014/main" id="{B15BB48E-AB3C-42FA-AA5C-20F756E50215}"/>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455D9E66-C6EA-46B9-81EC-4B388A3DFC04}"/>
              </a:ext>
            </a:extLst>
          </p:cNvPr>
          <p:cNvSpPr>
            <a:spLocks noGrp="1"/>
          </p:cNvSpPr>
          <p:nvPr>
            <p:ph type="sldNum" sz="quarter" idx="12"/>
          </p:nvPr>
        </p:nvSpPr>
        <p:spPr/>
        <p:txBody>
          <a:bodyPr/>
          <a:lstStyle/>
          <a:p>
            <a:fld id="{CE82B8A1-0CCE-4815-9668-383D7DE7D8B4}" type="slidenum">
              <a:rPr lang="en-US" noProof="0" smtClean="0"/>
              <a:t>45</a:t>
            </a:fld>
            <a:endParaRPr lang="en-US" noProof="0" dirty="0"/>
          </a:p>
        </p:txBody>
      </p:sp>
    </p:spTree>
    <p:extLst>
      <p:ext uri="{BB962C8B-B14F-4D97-AF65-F5344CB8AC3E}">
        <p14:creationId xmlns:p14="http://schemas.microsoft.com/office/powerpoint/2010/main" val="52595423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ihandform: Form 5">
            <a:extLst>
              <a:ext uri="{FF2B5EF4-FFF2-40B4-BE49-F238E27FC236}">
                <a16:creationId xmlns:a16="http://schemas.microsoft.com/office/drawing/2014/main" id="{30F6778C-0EC5-43FC-A0ED-F51E186EE643}"/>
              </a:ext>
            </a:extLst>
          </p:cNvPr>
          <p:cNvSpPr/>
          <p:nvPr/>
        </p:nvSpPr>
        <p:spPr bwMode="gray">
          <a:xfrm>
            <a:off x="6197600" y="0"/>
            <a:ext cx="6007100" cy="6858000"/>
          </a:xfrm>
          <a:custGeom>
            <a:avLst/>
            <a:gdLst>
              <a:gd name="connsiteX0" fmla="*/ 6007100 w 6007100"/>
              <a:gd name="connsiteY0" fmla="*/ 6858000 h 6858000"/>
              <a:gd name="connsiteX1" fmla="*/ 6007100 w 6007100"/>
              <a:gd name="connsiteY1" fmla="*/ 6629400 h 6858000"/>
              <a:gd name="connsiteX2" fmla="*/ 6007100 w 6007100"/>
              <a:gd name="connsiteY2" fmla="*/ 0 h 6858000"/>
              <a:gd name="connsiteX3" fmla="*/ 0 w 6007100"/>
              <a:gd name="connsiteY3" fmla="*/ 0 h 6858000"/>
              <a:gd name="connsiteX4" fmla="*/ 1422400 w 6007100"/>
              <a:gd name="connsiteY4" fmla="*/ 6858000 h 6858000"/>
              <a:gd name="connsiteX5" fmla="*/ 6007100 w 6007100"/>
              <a:gd name="connsiteY5" fmla="*/ 6858000 h 6858000"/>
              <a:gd name="connsiteX0" fmla="*/ 6007100 w 6007100"/>
              <a:gd name="connsiteY0" fmla="*/ 6858000 h 6858000"/>
              <a:gd name="connsiteX1" fmla="*/ 6007100 w 6007100"/>
              <a:gd name="connsiteY1" fmla="*/ 6629400 h 6858000"/>
              <a:gd name="connsiteX2" fmla="*/ 6007100 w 6007100"/>
              <a:gd name="connsiteY2" fmla="*/ 0 h 6858000"/>
              <a:gd name="connsiteX3" fmla="*/ 0 w 6007100"/>
              <a:gd name="connsiteY3" fmla="*/ 0 h 6858000"/>
              <a:gd name="connsiteX4" fmla="*/ 1422400 w 6007100"/>
              <a:gd name="connsiteY4" fmla="*/ 6858000 h 6858000"/>
              <a:gd name="connsiteX5" fmla="*/ 6007100 w 6007100"/>
              <a:gd name="connsiteY5" fmla="*/ 6858000 h 6858000"/>
              <a:gd name="connsiteX0" fmla="*/ 6007100 w 6007100"/>
              <a:gd name="connsiteY0" fmla="*/ 6858000 h 6858000"/>
              <a:gd name="connsiteX1" fmla="*/ 6007100 w 6007100"/>
              <a:gd name="connsiteY1" fmla="*/ 6629400 h 6858000"/>
              <a:gd name="connsiteX2" fmla="*/ 6007100 w 6007100"/>
              <a:gd name="connsiteY2" fmla="*/ 0 h 6858000"/>
              <a:gd name="connsiteX3" fmla="*/ 0 w 6007100"/>
              <a:gd name="connsiteY3" fmla="*/ 0 h 6858000"/>
              <a:gd name="connsiteX4" fmla="*/ 1422400 w 6007100"/>
              <a:gd name="connsiteY4" fmla="*/ 6858000 h 6858000"/>
              <a:gd name="connsiteX5" fmla="*/ 6007100 w 6007100"/>
              <a:gd name="connsiteY5" fmla="*/ 6858000 h 6858000"/>
              <a:gd name="connsiteX0" fmla="*/ 6007100 w 6007100"/>
              <a:gd name="connsiteY0" fmla="*/ 6858000 h 6858000"/>
              <a:gd name="connsiteX1" fmla="*/ 6007100 w 6007100"/>
              <a:gd name="connsiteY1" fmla="*/ 6629400 h 6858000"/>
              <a:gd name="connsiteX2" fmla="*/ 6007100 w 6007100"/>
              <a:gd name="connsiteY2" fmla="*/ 0 h 6858000"/>
              <a:gd name="connsiteX3" fmla="*/ 0 w 6007100"/>
              <a:gd name="connsiteY3" fmla="*/ 0 h 6858000"/>
              <a:gd name="connsiteX4" fmla="*/ 1422400 w 6007100"/>
              <a:gd name="connsiteY4" fmla="*/ 6858000 h 6858000"/>
              <a:gd name="connsiteX5" fmla="*/ 6007100 w 6007100"/>
              <a:gd name="connsiteY5" fmla="*/ 6858000 h 6858000"/>
              <a:gd name="connsiteX0" fmla="*/ 6007100 w 6007100"/>
              <a:gd name="connsiteY0" fmla="*/ 6858000 h 6858000"/>
              <a:gd name="connsiteX1" fmla="*/ 6007100 w 6007100"/>
              <a:gd name="connsiteY1" fmla="*/ 6629400 h 6858000"/>
              <a:gd name="connsiteX2" fmla="*/ 6007100 w 6007100"/>
              <a:gd name="connsiteY2" fmla="*/ 0 h 6858000"/>
              <a:gd name="connsiteX3" fmla="*/ 0 w 6007100"/>
              <a:gd name="connsiteY3" fmla="*/ 0 h 6858000"/>
              <a:gd name="connsiteX4" fmla="*/ 1422400 w 6007100"/>
              <a:gd name="connsiteY4" fmla="*/ 6858000 h 6858000"/>
              <a:gd name="connsiteX5" fmla="*/ 6007100 w 6007100"/>
              <a:gd name="connsiteY5" fmla="*/ 6858000 h 6858000"/>
              <a:gd name="connsiteX0" fmla="*/ 6007100 w 6007100"/>
              <a:gd name="connsiteY0" fmla="*/ 6858000 h 6858000"/>
              <a:gd name="connsiteX1" fmla="*/ 6007100 w 6007100"/>
              <a:gd name="connsiteY1" fmla="*/ 6629400 h 6858000"/>
              <a:gd name="connsiteX2" fmla="*/ 6007100 w 6007100"/>
              <a:gd name="connsiteY2" fmla="*/ 0 h 6858000"/>
              <a:gd name="connsiteX3" fmla="*/ 0 w 6007100"/>
              <a:gd name="connsiteY3" fmla="*/ 0 h 6858000"/>
              <a:gd name="connsiteX4" fmla="*/ 1422400 w 6007100"/>
              <a:gd name="connsiteY4" fmla="*/ 6858000 h 6858000"/>
              <a:gd name="connsiteX5" fmla="*/ 6007100 w 60071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07100" h="6858000">
                <a:moveTo>
                  <a:pt x="6007100" y="6858000"/>
                </a:moveTo>
                <a:lnTo>
                  <a:pt x="6007100" y="6629400"/>
                </a:lnTo>
                <a:lnTo>
                  <a:pt x="6007100" y="0"/>
                </a:lnTo>
                <a:lnTo>
                  <a:pt x="0" y="0"/>
                </a:lnTo>
                <a:cubicBezTo>
                  <a:pt x="3128433" y="1778000"/>
                  <a:pt x="2713567" y="5461000"/>
                  <a:pt x="1422400" y="6858000"/>
                </a:cubicBezTo>
                <a:lnTo>
                  <a:pt x="6007100" y="685800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0000" tIns="576000" rIns="630000" bIns="576000" numCol="1" spcCol="0" rtlCol="0" fromWordArt="0" anchor="t" anchorCtr="0" forceAA="0" compatLnSpc="1">
            <a:prstTxWarp prst="textNoShape">
              <a:avLst/>
            </a:prstTxWarp>
            <a:noAutofit/>
          </a:bodyPr>
          <a:lstStyle/>
          <a:p>
            <a:pPr algn="r"/>
            <a:r>
              <a:rPr lang="en-US" sz="2400" dirty="0">
                <a:solidFill>
                  <a:schemeClr val="accent5"/>
                </a:solidFill>
                <a:latin typeface="+mj-lt"/>
              </a:rPr>
              <a:t>Core team</a:t>
            </a:r>
          </a:p>
        </p:txBody>
      </p:sp>
      <p:sp>
        <p:nvSpPr>
          <p:cNvPr id="2" name="Titel 1">
            <a:extLst>
              <a:ext uri="{FF2B5EF4-FFF2-40B4-BE49-F238E27FC236}">
                <a16:creationId xmlns:a16="http://schemas.microsoft.com/office/drawing/2014/main" id="{604DC375-E6B8-4917-8245-C1585B94393F}"/>
              </a:ext>
            </a:extLst>
          </p:cNvPr>
          <p:cNvSpPr>
            <a:spLocks noGrp="1"/>
          </p:cNvSpPr>
          <p:nvPr>
            <p:ph type="title"/>
          </p:nvPr>
        </p:nvSpPr>
        <p:spPr bwMode="gray"/>
        <p:txBody>
          <a:bodyPr/>
          <a:lstStyle/>
          <a:p>
            <a:r>
              <a:rPr lang="en-US" dirty="0"/>
              <a:t>Team overview</a:t>
            </a:r>
          </a:p>
        </p:txBody>
      </p:sp>
      <p:sp>
        <p:nvSpPr>
          <p:cNvPr id="42" name="Textplatzhalter 3">
            <a:extLst>
              <a:ext uri="{FF2B5EF4-FFF2-40B4-BE49-F238E27FC236}">
                <a16:creationId xmlns:a16="http://schemas.microsoft.com/office/drawing/2014/main" id="{A58634E4-E2C7-4517-9AD6-78B0A7CE5993}"/>
              </a:ext>
            </a:extLst>
          </p:cNvPr>
          <p:cNvSpPr txBox="1">
            <a:spLocks/>
          </p:cNvSpPr>
          <p:nvPr/>
        </p:nvSpPr>
        <p:spPr bwMode="gray">
          <a:xfrm>
            <a:off x="8832304" y="1772816"/>
            <a:ext cx="2736000" cy="792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400" dirty="0">
                <a:solidFill>
                  <a:schemeClr val="accent5"/>
                </a:solidFill>
              </a:rPr>
              <a:t>First-name Surname</a:t>
            </a:r>
          </a:p>
          <a:p>
            <a:pPr algn="l"/>
            <a:r>
              <a:rPr lang="en-US" sz="1400" dirty="0">
                <a:solidFill>
                  <a:srgbClr val="1E1E1E"/>
                </a:solidFill>
                <a:latin typeface="DraegerSanLig"/>
              </a:rPr>
              <a:t>Position</a:t>
            </a:r>
          </a:p>
        </p:txBody>
      </p:sp>
      <p:sp>
        <p:nvSpPr>
          <p:cNvPr id="31" name="Textplatzhalter 3">
            <a:extLst>
              <a:ext uri="{FF2B5EF4-FFF2-40B4-BE49-F238E27FC236}">
                <a16:creationId xmlns:a16="http://schemas.microsoft.com/office/drawing/2014/main" id="{06733C42-6C63-4FC1-811B-6A09995B7C81}"/>
              </a:ext>
            </a:extLst>
          </p:cNvPr>
          <p:cNvSpPr txBox="1">
            <a:spLocks/>
          </p:cNvSpPr>
          <p:nvPr/>
        </p:nvSpPr>
        <p:spPr bwMode="gray">
          <a:xfrm>
            <a:off x="9120336" y="2997048"/>
            <a:ext cx="2448000" cy="792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400" dirty="0">
                <a:solidFill>
                  <a:schemeClr val="accent5"/>
                </a:solidFill>
              </a:rPr>
              <a:t>First-name Surname</a:t>
            </a:r>
          </a:p>
          <a:p>
            <a:pPr algn="l"/>
            <a:r>
              <a:rPr lang="en-US" sz="1400" dirty="0">
                <a:solidFill>
                  <a:srgbClr val="1E1E1E"/>
                </a:solidFill>
                <a:latin typeface="DraegerSanLig"/>
              </a:rPr>
              <a:t>Position</a:t>
            </a:r>
          </a:p>
        </p:txBody>
      </p:sp>
      <p:sp>
        <p:nvSpPr>
          <p:cNvPr id="38" name="Textplatzhalter 3">
            <a:extLst>
              <a:ext uri="{FF2B5EF4-FFF2-40B4-BE49-F238E27FC236}">
                <a16:creationId xmlns:a16="http://schemas.microsoft.com/office/drawing/2014/main" id="{66278391-22FC-4E04-B1D9-3AC64975F267}"/>
              </a:ext>
            </a:extLst>
          </p:cNvPr>
          <p:cNvSpPr txBox="1">
            <a:spLocks/>
          </p:cNvSpPr>
          <p:nvPr/>
        </p:nvSpPr>
        <p:spPr bwMode="gray">
          <a:xfrm>
            <a:off x="9120336" y="4195802"/>
            <a:ext cx="2448000" cy="792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400" dirty="0">
                <a:solidFill>
                  <a:schemeClr val="accent5"/>
                </a:solidFill>
              </a:rPr>
              <a:t>First-name Surname</a:t>
            </a:r>
          </a:p>
          <a:p>
            <a:pPr algn="l"/>
            <a:r>
              <a:rPr lang="en-US" sz="1400" dirty="0">
                <a:solidFill>
                  <a:srgbClr val="1E1E1E"/>
                </a:solidFill>
                <a:latin typeface="DraegerSanLig"/>
              </a:rPr>
              <a:t>Position</a:t>
            </a:r>
          </a:p>
        </p:txBody>
      </p:sp>
      <p:sp>
        <p:nvSpPr>
          <p:cNvPr id="39" name="Textplatzhalter 3">
            <a:extLst>
              <a:ext uri="{FF2B5EF4-FFF2-40B4-BE49-F238E27FC236}">
                <a16:creationId xmlns:a16="http://schemas.microsoft.com/office/drawing/2014/main" id="{7262E7EA-D4A3-4F2B-8952-F8E964BBC993}"/>
              </a:ext>
            </a:extLst>
          </p:cNvPr>
          <p:cNvSpPr txBox="1">
            <a:spLocks/>
          </p:cNvSpPr>
          <p:nvPr/>
        </p:nvSpPr>
        <p:spPr bwMode="gray">
          <a:xfrm>
            <a:off x="8832304" y="5445224"/>
            <a:ext cx="2736000" cy="792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400" dirty="0">
                <a:solidFill>
                  <a:schemeClr val="accent5"/>
                </a:solidFill>
              </a:rPr>
              <a:t>First-name Surname</a:t>
            </a:r>
          </a:p>
          <a:p>
            <a:pPr algn="l"/>
            <a:r>
              <a:rPr lang="en-US" sz="1400" dirty="0">
                <a:solidFill>
                  <a:srgbClr val="1E1E1E"/>
                </a:solidFill>
                <a:latin typeface="DraegerSanLig"/>
              </a:rPr>
              <a:t>Position</a:t>
            </a:r>
          </a:p>
        </p:txBody>
      </p:sp>
      <p:sp>
        <p:nvSpPr>
          <p:cNvPr id="46" name="Textplatzhalter 3">
            <a:extLst>
              <a:ext uri="{FF2B5EF4-FFF2-40B4-BE49-F238E27FC236}">
                <a16:creationId xmlns:a16="http://schemas.microsoft.com/office/drawing/2014/main" id="{66D6D321-E188-4F29-A225-CF0EF62E6C2F}"/>
              </a:ext>
            </a:extLst>
          </p:cNvPr>
          <p:cNvSpPr txBox="1">
            <a:spLocks/>
          </p:cNvSpPr>
          <p:nvPr/>
        </p:nvSpPr>
        <p:spPr bwMode="gray">
          <a:xfrm>
            <a:off x="5304192" y="1772816"/>
            <a:ext cx="2592000" cy="792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400" dirty="0">
                <a:solidFill>
                  <a:schemeClr val="accent5"/>
                </a:solidFill>
              </a:rPr>
              <a:t>First-name Surname</a:t>
            </a:r>
          </a:p>
          <a:p>
            <a:pPr algn="l"/>
            <a:r>
              <a:rPr lang="en-US" sz="1400" dirty="0">
                <a:solidFill>
                  <a:srgbClr val="1E1E1E"/>
                </a:solidFill>
                <a:latin typeface="DraegerSanLig"/>
              </a:rPr>
              <a:t>Position</a:t>
            </a:r>
          </a:p>
        </p:txBody>
      </p:sp>
      <p:sp>
        <p:nvSpPr>
          <p:cNvPr id="52" name="Textplatzhalter 3">
            <a:extLst>
              <a:ext uri="{FF2B5EF4-FFF2-40B4-BE49-F238E27FC236}">
                <a16:creationId xmlns:a16="http://schemas.microsoft.com/office/drawing/2014/main" id="{4AC4B869-9985-4D1B-892F-4154BE78C18D}"/>
              </a:ext>
            </a:extLst>
          </p:cNvPr>
          <p:cNvSpPr txBox="1">
            <a:spLocks/>
          </p:cNvSpPr>
          <p:nvPr/>
        </p:nvSpPr>
        <p:spPr bwMode="gray">
          <a:xfrm>
            <a:off x="5592224" y="2997048"/>
            <a:ext cx="2520000" cy="792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400" dirty="0">
                <a:solidFill>
                  <a:schemeClr val="accent5"/>
                </a:solidFill>
              </a:rPr>
              <a:t>First-name Surname</a:t>
            </a:r>
          </a:p>
          <a:p>
            <a:pPr algn="l"/>
            <a:r>
              <a:rPr lang="en-US" sz="1400" dirty="0">
                <a:solidFill>
                  <a:srgbClr val="1E1E1E"/>
                </a:solidFill>
                <a:latin typeface="DraegerSanLig"/>
              </a:rPr>
              <a:t>Position</a:t>
            </a:r>
          </a:p>
        </p:txBody>
      </p:sp>
      <p:sp>
        <p:nvSpPr>
          <p:cNvPr id="53" name="Textplatzhalter 3">
            <a:extLst>
              <a:ext uri="{FF2B5EF4-FFF2-40B4-BE49-F238E27FC236}">
                <a16:creationId xmlns:a16="http://schemas.microsoft.com/office/drawing/2014/main" id="{8588FF01-95B9-4EF3-94F0-A2EFE5362679}"/>
              </a:ext>
            </a:extLst>
          </p:cNvPr>
          <p:cNvSpPr txBox="1">
            <a:spLocks/>
          </p:cNvSpPr>
          <p:nvPr/>
        </p:nvSpPr>
        <p:spPr bwMode="gray">
          <a:xfrm>
            <a:off x="5592224" y="4195802"/>
            <a:ext cx="2520000" cy="792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400" dirty="0">
                <a:solidFill>
                  <a:schemeClr val="accent5"/>
                </a:solidFill>
              </a:rPr>
              <a:t>First-name Surname</a:t>
            </a:r>
          </a:p>
          <a:p>
            <a:pPr algn="l"/>
            <a:r>
              <a:rPr lang="en-US" sz="1400" dirty="0">
                <a:solidFill>
                  <a:srgbClr val="1E1E1E"/>
                </a:solidFill>
                <a:latin typeface="DraegerSanLig"/>
              </a:rPr>
              <a:t>Position</a:t>
            </a:r>
          </a:p>
        </p:txBody>
      </p:sp>
      <p:sp>
        <p:nvSpPr>
          <p:cNvPr id="54" name="Textplatzhalter 3">
            <a:extLst>
              <a:ext uri="{FF2B5EF4-FFF2-40B4-BE49-F238E27FC236}">
                <a16:creationId xmlns:a16="http://schemas.microsoft.com/office/drawing/2014/main" id="{4F47C13E-6E0F-4FCA-83AD-FFB0DAB018A8}"/>
              </a:ext>
            </a:extLst>
          </p:cNvPr>
          <p:cNvSpPr txBox="1">
            <a:spLocks/>
          </p:cNvSpPr>
          <p:nvPr/>
        </p:nvSpPr>
        <p:spPr bwMode="gray">
          <a:xfrm>
            <a:off x="5304192" y="5445224"/>
            <a:ext cx="2592000" cy="792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400" dirty="0">
                <a:solidFill>
                  <a:schemeClr val="accent5"/>
                </a:solidFill>
              </a:rPr>
              <a:t>First-name Surname</a:t>
            </a:r>
          </a:p>
          <a:p>
            <a:pPr algn="l"/>
            <a:r>
              <a:rPr lang="en-US" sz="1400" dirty="0">
                <a:solidFill>
                  <a:srgbClr val="1E1E1E"/>
                </a:solidFill>
                <a:latin typeface="DraegerSanLig"/>
              </a:rPr>
              <a:t>Position</a:t>
            </a:r>
          </a:p>
        </p:txBody>
      </p:sp>
      <p:sp>
        <p:nvSpPr>
          <p:cNvPr id="55" name="Textplatzhalter 3">
            <a:extLst>
              <a:ext uri="{FF2B5EF4-FFF2-40B4-BE49-F238E27FC236}">
                <a16:creationId xmlns:a16="http://schemas.microsoft.com/office/drawing/2014/main" id="{A338D925-9627-4B0C-B070-7E2F4C093731}"/>
              </a:ext>
            </a:extLst>
          </p:cNvPr>
          <p:cNvSpPr txBox="1">
            <a:spLocks/>
          </p:cNvSpPr>
          <p:nvPr/>
        </p:nvSpPr>
        <p:spPr bwMode="gray">
          <a:xfrm>
            <a:off x="1559496" y="1772816"/>
            <a:ext cx="2592000" cy="792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400" dirty="0">
                <a:solidFill>
                  <a:schemeClr val="accent5"/>
                </a:solidFill>
              </a:rPr>
              <a:t>First-name Surname</a:t>
            </a:r>
          </a:p>
          <a:p>
            <a:pPr algn="l"/>
            <a:r>
              <a:rPr lang="en-US" sz="1400" dirty="0">
                <a:solidFill>
                  <a:srgbClr val="1E1E1E"/>
                </a:solidFill>
                <a:latin typeface="DraegerSanLig"/>
              </a:rPr>
              <a:t>Position</a:t>
            </a:r>
          </a:p>
        </p:txBody>
      </p:sp>
      <p:sp>
        <p:nvSpPr>
          <p:cNvPr id="61" name="Textplatzhalter 3">
            <a:extLst>
              <a:ext uri="{FF2B5EF4-FFF2-40B4-BE49-F238E27FC236}">
                <a16:creationId xmlns:a16="http://schemas.microsoft.com/office/drawing/2014/main" id="{4E637A85-56CF-4F78-85EE-DBFA08727F74}"/>
              </a:ext>
            </a:extLst>
          </p:cNvPr>
          <p:cNvSpPr txBox="1">
            <a:spLocks/>
          </p:cNvSpPr>
          <p:nvPr/>
        </p:nvSpPr>
        <p:spPr bwMode="gray">
          <a:xfrm>
            <a:off x="1847528" y="2997048"/>
            <a:ext cx="2520000" cy="792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400" dirty="0">
                <a:solidFill>
                  <a:schemeClr val="accent5"/>
                </a:solidFill>
              </a:rPr>
              <a:t>First-name Surname</a:t>
            </a:r>
          </a:p>
          <a:p>
            <a:pPr algn="l"/>
            <a:r>
              <a:rPr lang="en-US" sz="1400" dirty="0">
                <a:solidFill>
                  <a:srgbClr val="1E1E1E"/>
                </a:solidFill>
                <a:latin typeface="DraegerSanLig"/>
              </a:rPr>
              <a:t>Position</a:t>
            </a:r>
          </a:p>
        </p:txBody>
      </p:sp>
      <p:sp>
        <p:nvSpPr>
          <p:cNvPr id="62" name="Textplatzhalter 3">
            <a:extLst>
              <a:ext uri="{FF2B5EF4-FFF2-40B4-BE49-F238E27FC236}">
                <a16:creationId xmlns:a16="http://schemas.microsoft.com/office/drawing/2014/main" id="{473314AA-D4CB-48C4-A15D-B2B39265500E}"/>
              </a:ext>
            </a:extLst>
          </p:cNvPr>
          <p:cNvSpPr txBox="1">
            <a:spLocks/>
          </p:cNvSpPr>
          <p:nvPr/>
        </p:nvSpPr>
        <p:spPr bwMode="gray">
          <a:xfrm>
            <a:off x="1847528" y="4195802"/>
            <a:ext cx="2520000" cy="792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400" dirty="0">
                <a:solidFill>
                  <a:schemeClr val="accent5"/>
                </a:solidFill>
              </a:rPr>
              <a:t>First-name Surname</a:t>
            </a:r>
          </a:p>
          <a:p>
            <a:pPr algn="l"/>
            <a:r>
              <a:rPr lang="en-US" sz="1400" dirty="0">
                <a:solidFill>
                  <a:srgbClr val="1E1E1E"/>
                </a:solidFill>
                <a:latin typeface="DraegerSanLig"/>
              </a:rPr>
              <a:t>Position</a:t>
            </a:r>
          </a:p>
        </p:txBody>
      </p:sp>
      <p:sp>
        <p:nvSpPr>
          <p:cNvPr id="63" name="Textplatzhalter 3">
            <a:extLst>
              <a:ext uri="{FF2B5EF4-FFF2-40B4-BE49-F238E27FC236}">
                <a16:creationId xmlns:a16="http://schemas.microsoft.com/office/drawing/2014/main" id="{E1B49A21-7150-453F-BB69-18D5EC5E5A78}"/>
              </a:ext>
            </a:extLst>
          </p:cNvPr>
          <p:cNvSpPr txBox="1">
            <a:spLocks/>
          </p:cNvSpPr>
          <p:nvPr/>
        </p:nvSpPr>
        <p:spPr bwMode="gray">
          <a:xfrm>
            <a:off x="1559496" y="5445224"/>
            <a:ext cx="2592000" cy="792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400" dirty="0">
                <a:solidFill>
                  <a:schemeClr val="accent5"/>
                </a:solidFill>
              </a:rPr>
              <a:t>First-name Surname</a:t>
            </a:r>
          </a:p>
          <a:p>
            <a:pPr algn="l"/>
            <a:r>
              <a:rPr lang="en-US" sz="1400" dirty="0">
                <a:solidFill>
                  <a:srgbClr val="1E1E1E"/>
                </a:solidFill>
                <a:latin typeface="DraegerSanLig"/>
              </a:rPr>
              <a:t>Position</a:t>
            </a:r>
          </a:p>
        </p:txBody>
      </p:sp>
      <p:sp>
        <p:nvSpPr>
          <p:cNvPr id="36" name="Ellipse 35">
            <a:extLst>
              <a:ext uri="{FF2B5EF4-FFF2-40B4-BE49-F238E27FC236}">
                <a16:creationId xmlns:a16="http://schemas.microsoft.com/office/drawing/2014/main" id="{44024003-73DD-4F92-A24F-6FAEBA86FA03}"/>
              </a:ext>
            </a:extLst>
          </p:cNvPr>
          <p:cNvSpPr/>
          <p:nvPr/>
        </p:nvSpPr>
        <p:spPr bwMode="gray">
          <a:xfrm>
            <a:off x="623392" y="1772816"/>
            <a:ext cx="864000" cy="864000"/>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1500" dirty="0">
                <a:solidFill>
                  <a:schemeClr val="bg1"/>
                </a:solidFill>
              </a:rPr>
              <a:t>PHOTO</a:t>
            </a:r>
          </a:p>
        </p:txBody>
      </p:sp>
      <p:sp>
        <p:nvSpPr>
          <p:cNvPr id="37" name="Ellipse 36">
            <a:extLst>
              <a:ext uri="{FF2B5EF4-FFF2-40B4-BE49-F238E27FC236}">
                <a16:creationId xmlns:a16="http://schemas.microsoft.com/office/drawing/2014/main" id="{CDAF7E66-6B78-48EA-8A5F-600ADD3CC211}"/>
              </a:ext>
            </a:extLst>
          </p:cNvPr>
          <p:cNvSpPr/>
          <p:nvPr/>
        </p:nvSpPr>
        <p:spPr bwMode="gray">
          <a:xfrm>
            <a:off x="911520" y="2996952"/>
            <a:ext cx="864000" cy="864000"/>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1500" dirty="0">
                <a:solidFill>
                  <a:schemeClr val="bg1"/>
                </a:solidFill>
              </a:rPr>
              <a:t>PHOTO</a:t>
            </a:r>
          </a:p>
        </p:txBody>
      </p:sp>
      <p:sp>
        <p:nvSpPr>
          <p:cNvPr id="40" name="Ellipse 39">
            <a:extLst>
              <a:ext uri="{FF2B5EF4-FFF2-40B4-BE49-F238E27FC236}">
                <a16:creationId xmlns:a16="http://schemas.microsoft.com/office/drawing/2014/main" id="{D7761E4C-4130-48BF-9915-BF459BD28D4D}"/>
              </a:ext>
            </a:extLst>
          </p:cNvPr>
          <p:cNvSpPr/>
          <p:nvPr/>
        </p:nvSpPr>
        <p:spPr bwMode="gray">
          <a:xfrm>
            <a:off x="911520" y="4221184"/>
            <a:ext cx="864000" cy="864000"/>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1500" dirty="0">
                <a:solidFill>
                  <a:schemeClr val="bg1"/>
                </a:solidFill>
              </a:rPr>
              <a:t>PHOTO</a:t>
            </a:r>
          </a:p>
        </p:txBody>
      </p:sp>
      <p:sp>
        <p:nvSpPr>
          <p:cNvPr id="41" name="Ellipse 40">
            <a:extLst>
              <a:ext uri="{FF2B5EF4-FFF2-40B4-BE49-F238E27FC236}">
                <a16:creationId xmlns:a16="http://schemas.microsoft.com/office/drawing/2014/main" id="{72B9E9C5-6E5E-4A73-9836-B8E29EAF51E5}"/>
              </a:ext>
            </a:extLst>
          </p:cNvPr>
          <p:cNvSpPr/>
          <p:nvPr/>
        </p:nvSpPr>
        <p:spPr bwMode="gray">
          <a:xfrm>
            <a:off x="623392" y="5445416"/>
            <a:ext cx="864000" cy="864000"/>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1500" dirty="0">
                <a:solidFill>
                  <a:schemeClr val="bg1"/>
                </a:solidFill>
              </a:rPr>
              <a:t>PHOTO</a:t>
            </a:r>
          </a:p>
        </p:txBody>
      </p:sp>
      <p:sp>
        <p:nvSpPr>
          <p:cNvPr id="67" name="Ellipse 66">
            <a:extLst>
              <a:ext uri="{FF2B5EF4-FFF2-40B4-BE49-F238E27FC236}">
                <a16:creationId xmlns:a16="http://schemas.microsoft.com/office/drawing/2014/main" id="{BAF582D7-CB8C-42F0-B8D3-262E86E97B87}"/>
              </a:ext>
            </a:extLst>
          </p:cNvPr>
          <p:cNvSpPr/>
          <p:nvPr/>
        </p:nvSpPr>
        <p:spPr bwMode="gray">
          <a:xfrm>
            <a:off x="7896200" y="1772816"/>
            <a:ext cx="864000" cy="864000"/>
          </a:xfrm>
          <a:prstGeom prst="ellipse">
            <a:avLst/>
          </a:prstGeom>
          <a:solidFill>
            <a:schemeClr val="bg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1500" dirty="0">
                <a:solidFill>
                  <a:schemeClr val="bg1"/>
                </a:solidFill>
              </a:rPr>
              <a:t>PHOTO</a:t>
            </a:r>
          </a:p>
        </p:txBody>
      </p:sp>
      <p:sp>
        <p:nvSpPr>
          <p:cNvPr id="68" name="Ellipse 67">
            <a:extLst>
              <a:ext uri="{FF2B5EF4-FFF2-40B4-BE49-F238E27FC236}">
                <a16:creationId xmlns:a16="http://schemas.microsoft.com/office/drawing/2014/main" id="{B3A8CAE1-DDA7-4D6C-B4AC-8B1CDBBF1EBE}"/>
              </a:ext>
            </a:extLst>
          </p:cNvPr>
          <p:cNvSpPr/>
          <p:nvPr/>
        </p:nvSpPr>
        <p:spPr bwMode="gray">
          <a:xfrm>
            <a:off x="8184328" y="2996952"/>
            <a:ext cx="864000" cy="864000"/>
          </a:xfrm>
          <a:prstGeom prst="ellipse">
            <a:avLst/>
          </a:prstGeom>
          <a:solidFill>
            <a:schemeClr val="bg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1500" dirty="0">
                <a:solidFill>
                  <a:schemeClr val="bg1"/>
                </a:solidFill>
              </a:rPr>
              <a:t>PHOTO</a:t>
            </a:r>
          </a:p>
        </p:txBody>
      </p:sp>
      <p:sp>
        <p:nvSpPr>
          <p:cNvPr id="69" name="Ellipse 68">
            <a:extLst>
              <a:ext uri="{FF2B5EF4-FFF2-40B4-BE49-F238E27FC236}">
                <a16:creationId xmlns:a16="http://schemas.microsoft.com/office/drawing/2014/main" id="{8FE83532-848C-4961-BE9E-C197AF76CF17}"/>
              </a:ext>
            </a:extLst>
          </p:cNvPr>
          <p:cNvSpPr/>
          <p:nvPr/>
        </p:nvSpPr>
        <p:spPr bwMode="gray">
          <a:xfrm>
            <a:off x="8184328" y="4221184"/>
            <a:ext cx="864000" cy="864000"/>
          </a:xfrm>
          <a:prstGeom prst="ellipse">
            <a:avLst/>
          </a:prstGeom>
          <a:solidFill>
            <a:schemeClr val="bg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1500" dirty="0">
                <a:solidFill>
                  <a:schemeClr val="bg1"/>
                </a:solidFill>
              </a:rPr>
              <a:t>PHOTO</a:t>
            </a:r>
          </a:p>
        </p:txBody>
      </p:sp>
      <p:sp>
        <p:nvSpPr>
          <p:cNvPr id="70" name="Ellipse 69">
            <a:extLst>
              <a:ext uri="{FF2B5EF4-FFF2-40B4-BE49-F238E27FC236}">
                <a16:creationId xmlns:a16="http://schemas.microsoft.com/office/drawing/2014/main" id="{8FFF7AD6-1682-47ED-9F04-C53BF4D2CBD7}"/>
              </a:ext>
            </a:extLst>
          </p:cNvPr>
          <p:cNvSpPr/>
          <p:nvPr/>
        </p:nvSpPr>
        <p:spPr bwMode="gray">
          <a:xfrm>
            <a:off x="7896200" y="5445416"/>
            <a:ext cx="864000" cy="864000"/>
          </a:xfrm>
          <a:prstGeom prst="ellipse">
            <a:avLst/>
          </a:prstGeom>
          <a:solidFill>
            <a:schemeClr val="bg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1500" dirty="0">
                <a:solidFill>
                  <a:schemeClr val="bg1"/>
                </a:solidFill>
              </a:rPr>
              <a:t>PHOTO</a:t>
            </a:r>
          </a:p>
        </p:txBody>
      </p:sp>
      <p:sp>
        <p:nvSpPr>
          <p:cNvPr id="71" name="Ellipse 70">
            <a:extLst>
              <a:ext uri="{FF2B5EF4-FFF2-40B4-BE49-F238E27FC236}">
                <a16:creationId xmlns:a16="http://schemas.microsoft.com/office/drawing/2014/main" id="{4C062AD6-6DB5-4F42-8A53-5C99A5500899}"/>
              </a:ext>
            </a:extLst>
          </p:cNvPr>
          <p:cNvSpPr/>
          <p:nvPr/>
        </p:nvSpPr>
        <p:spPr bwMode="gray">
          <a:xfrm>
            <a:off x="4367808" y="1772816"/>
            <a:ext cx="864000" cy="864000"/>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1500" dirty="0">
                <a:solidFill>
                  <a:schemeClr val="bg1"/>
                </a:solidFill>
              </a:rPr>
              <a:t>PHOTO</a:t>
            </a:r>
          </a:p>
        </p:txBody>
      </p:sp>
      <p:sp>
        <p:nvSpPr>
          <p:cNvPr id="72" name="Ellipse 71">
            <a:extLst>
              <a:ext uri="{FF2B5EF4-FFF2-40B4-BE49-F238E27FC236}">
                <a16:creationId xmlns:a16="http://schemas.microsoft.com/office/drawing/2014/main" id="{25A26DE4-9456-46D9-ADCB-47D9AF05D679}"/>
              </a:ext>
            </a:extLst>
          </p:cNvPr>
          <p:cNvSpPr/>
          <p:nvPr/>
        </p:nvSpPr>
        <p:spPr bwMode="gray">
          <a:xfrm>
            <a:off x="4655936" y="2997016"/>
            <a:ext cx="864000" cy="864000"/>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1500" dirty="0">
                <a:solidFill>
                  <a:schemeClr val="bg1"/>
                </a:solidFill>
              </a:rPr>
              <a:t>PHOTO</a:t>
            </a:r>
          </a:p>
        </p:txBody>
      </p:sp>
      <p:sp>
        <p:nvSpPr>
          <p:cNvPr id="73" name="Ellipse 72">
            <a:extLst>
              <a:ext uri="{FF2B5EF4-FFF2-40B4-BE49-F238E27FC236}">
                <a16:creationId xmlns:a16="http://schemas.microsoft.com/office/drawing/2014/main" id="{69A118BF-3A33-4A9B-893A-372905CCD9D0}"/>
              </a:ext>
            </a:extLst>
          </p:cNvPr>
          <p:cNvSpPr/>
          <p:nvPr/>
        </p:nvSpPr>
        <p:spPr bwMode="gray">
          <a:xfrm>
            <a:off x="4655936" y="4221216"/>
            <a:ext cx="864000" cy="864000"/>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1500" dirty="0">
                <a:solidFill>
                  <a:schemeClr val="bg1"/>
                </a:solidFill>
              </a:rPr>
              <a:t>PHOTO</a:t>
            </a:r>
          </a:p>
        </p:txBody>
      </p:sp>
      <p:sp>
        <p:nvSpPr>
          <p:cNvPr id="74" name="Ellipse 73">
            <a:extLst>
              <a:ext uri="{FF2B5EF4-FFF2-40B4-BE49-F238E27FC236}">
                <a16:creationId xmlns:a16="http://schemas.microsoft.com/office/drawing/2014/main" id="{33179C85-58CF-4F09-9E4E-78A80DBBC15A}"/>
              </a:ext>
            </a:extLst>
          </p:cNvPr>
          <p:cNvSpPr/>
          <p:nvPr/>
        </p:nvSpPr>
        <p:spPr bwMode="gray">
          <a:xfrm>
            <a:off x="4367808" y="5445416"/>
            <a:ext cx="864000" cy="864000"/>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1500" dirty="0">
                <a:solidFill>
                  <a:schemeClr val="bg1"/>
                </a:solidFill>
              </a:rPr>
              <a:t>PHOTO</a:t>
            </a:r>
          </a:p>
        </p:txBody>
      </p:sp>
      <p:sp>
        <p:nvSpPr>
          <p:cNvPr id="4" name="Fußzeilenplatzhalter 3">
            <a:extLst>
              <a:ext uri="{FF2B5EF4-FFF2-40B4-BE49-F238E27FC236}">
                <a16:creationId xmlns:a16="http://schemas.microsoft.com/office/drawing/2014/main" id="{BBB38DE3-D206-42C3-9B74-9D2362917C57}"/>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EA88CA98-E8FC-4FF1-922A-AA93FF2B7FEC}"/>
              </a:ext>
            </a:extLst>
          </p:cNvPr>
          <p:cNvSpPr>
            <a:spLocks noGrp="1"/>
          </p:cNvSpPr>
          <p:nvPr>
            <p:ph type="sldNum" sz="quarter" idx="12"/>
          </p:nvPr>
        </p:nvSpPr>
        <p:spPr/>
        <p:txBody>
          <a:bodyPr/>
          <a:lstStyle/>
          <a:p>
            <a:fld id="{CE82B8A1-0CCE-4815-9668-383D7DE7D8B4}" type="slidenum">
              <a:rPr lang="en-US" noProof="0" smtClean="0"/>
              <a:t>46</a:t>
            </a:fld>
            <a:endParaRPr lang="en-US" noProof="0" dirty="0"/>
          </a:p>
        </p:txBody>
      </p:sp>
    </p:spTree>
    <p:extLst>
      <p:ext uri="{BB962C8B-B14F-4D97-AF65-F5344CB8AC3E}">
        <p14:creationId xmlns:p14="http://schemas.microsoft.com/office/powerpoint/2010/main" val="142493156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22D265-0F77-4BEA-A88A-C26A0678FAAA}"/>
              </a:ext>
            </a:extLst>
          </p:cNvPr>
          <p:cNvSpPr>
            <a:spLocks noGrp="1"/>
          </p:cNvSpPr>
          <p:nvPr>
            <p:ph type="title"/>
          </p:nvPr>
        </p:nvSpPr>
        <p:spPr bwMode="gray"/>
        <p:txBody>
          <a:bodyPr/>
          <a:lstStyle/>
          <a:p>
            <a:r>
              <a:rPr lang="en-US" dirty="0"/>
              <a:t>Half pyramid</a:t>
            </a:r>
          </a:p>
        </p:txBody>
      </p:sp>
      <p:sp>
        <p:nvSpPr>
          <p:cNvPr id="37" name="Freihandform: Form 36">
            <a:extLst>
              <a:ext uri="{FF2B5EF4-FFF2-40B4-BE49-F238E27FC236}">
                <a16:creationId xmlns:a16="http://schemas.microsoft.com/office/drawing/2014/main" id="{7CFA7F0C-BC69-4D96-8606-A224DA0834A2}"/>
              </a:ext>
            </a:extLst>
          </p:cNvPr>
          <p:cNvSpPr/>
          <p:nvPr/>
        </p:nvSpPr>
        <p:spPr bwMode="gray">
          <a:xfrm>
            <a:off x="11341434" y="48971"/>
            <a:ext cx="850566" cy="1687654"/>
          </a:xfrm>
          <a:custGeom>
            <a:avLst/>
            <a:gdLst>
              <a:gd name="connsiteX0" fmla="*/ 850566 w 850566"/>
              <a:gd name="connsiteY0" fmla="*/ 0 h 1687655"/>
              <a:gd name="connsiteX1" fmla="*/ 850566 w 850566"/>
              <a:gd name="connsiteY1" fmla="*/ 1687655 h 1687655"/>
              <a:gd name="connsiteX2" fmla="*/ 0 w 850566"/>
              <a:gd name="connsiteY2" fmla="*/ 1687655 h 1687655"/>
            </a:gdLst>
            <a:ahLst/>
            <a:cxnLst>
              <a:cxn ang="0">
                <a:pos x="connsiteX0" y="connsiteY0"/>
              </a:cxn>
              <a:cxn ang="0">
                <a:pos x="connsiteX1" y="connsiteY1"/>
              </a:cxn>
              <a:cxn ang="0">
                <a:pos x="connsiteX2" y="connsiteY2"/>
              </a:cxn>
            </a:cxnLst>
            <a:rect l="l" t="t" r="r" b="b"/>
            <a:pathLst>
              <a:path w="850566" h="1687655">
                <a:moveTo>
                  <a:pt x="850566" y="0"/>
                </a:moveTo>
                <a:lnTo>
                  <a:pt x="850566" y="1687655"/>
                </a:lnTo>
                <a:lnTo>
                  <a:pt x="0" y="1687655"/>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1"/>
              </a:solidFill>
            </a:endParaRPr>
          </a:p>
        </p:txBody>
      </p:sp>
      <p:sp>
        <p:nvSpPr>
          <p:cNvPr id="39" name="Freihandform: Form 38">
            <a:extLst>
              <a:ext uri="{FF2B5EF4-FFF2-40B4-BE49-F238E27FC236}">
                <a16:creationId xmlns:a16="http://schemas.microsoft.com/office/drawing/2014/main" id="{2675B44A-3ACA-4706-9D6C-A869DC8ED75E}"/>
              </a:ext>
            </a:extLst>
          </p:cNvPr>
          <p:cNvSpPr/>
          <p:nvPr/>
        </p:nvSpPr>
        <p:spPr bwMode="gray">
          <a:xfrm>
            <a:off x="10488489" y="1736624"/>
            <a:ext cx="1702679" cy="1687654"/>
          </a:xfrm>
          <a:custGeom>
            <a:avLst/>
            <a:gdLst>
              <a:gd name="connsiteX0" fmla="*/ 852756 w 1702679"/>
              <a:gd name="connsiteY0" fmla="*/ 0 h 1692000"/>
              <a:gd name="connsiteX1" fmla="*/ 1702679 w 1702679"/>
              <a:gd name="connsiteY1" fmla="*/ 0 h 1692000"/>
              <a:gd name="connsiteX2" fmla="*/ 1702679 w 1702679"/>
              <a:gd name="connsiteY2" fmla="*/ 1692000 h 1692000"/>
              <a:gd name="connsiteX3" fmla="*/ 0 w 1702679"/>
              <a:gd name="connsiteY3" fmla="*/ 1692000 h 1692000"/>
            </a:gdLst>
            <a:ahLst/>
            <a:cxnLst>
              <a:cxn ang="0">
                <a:pos x="connsiteX0" y="connsiteY0"/>
              </a:cxn>
              <a:cxn ang="0">
                <a:pos x="connsiteX1" y="connsiteY1"/>
              </a:cxn>
              <a:cxn ang="0">
                <a:pos x="connsiteX2" y="connsiteY2"/>
              </a:cxn>
              <a:cxn ang="0">
                <a:pos x="connsiteX3" y="connsiteY3"/>
              </a:cxn>
            </a:cxnLst>
            <a:rect l="l" t="t" r="r" b="b"/>
            <a:pathLst>
              <a:path w="1702679" h="1692000">
                <a:moveTo>
                  <a:pt x="852756" y="0"/>
                </a:moveTo>
                <a:lnTo>
                  <a:pt x="1702679" y="0"/>
                </a:lnTo>
                <a:lnTo>
                  <a:pt x="1702679" y="1692000"/>
                </a:lnTo>
                <a:lnTo>
                  <a:pt x="0" y="1692000"/>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1"/>
              </a:solidFill>
            </a:endParaRPr>
          </a:p>
        </p:txBody>
      </p:sp>
      <p:sp>
        <p:nvSpPr>
          <p:cNvPr id="41" name="Freihandform: Form 40">
            <a:extLst>
              <a:ext uri="{FF2B5EF4-FFF2-40B4-BE49-F238E27FC236}">
                <a16:creationId xmlns:a16="http://schemas.microsoft.com/office/drawing/2014/main" id="{5D49C7D6-A7DE-4DB5-88BA-E389C3038118}"/>
              </a:ext>
            </a:extLst>
          </p:cNvPr>
          <p:cNvSpPr/>
          <p:nvPr/>
        </p:nvSpPr>
        <p:spPr bwMode="gray">
          <a:xfrm>
            <a:off x="9635732" y="3424278"/>
            <a:ext cx="2554602" cy="1697098"/>
          </a:xfrm>
          <a:custGeom>
            <a:avLst/>
            <a:gdLst>
              <a:gd name="connsiteX0" fmla="*/ 852756 w 2554602"/>
              <a:gd name="connsiteY0" fmla="*/ 0 h 1692000"/>
              <a:gd name="connsiteX1" fmla="*/ 2554602 w 2554602"/>
              <a:gd name="connsiteY1" fmla="*/ 0 h 1692000"/>
              <a:gd name="connsiteX2" fmla="*/ 2554602 w 2554602"/>
              <a:gd name="connsiteY2" fmla="*/ 1692000 h 1692000"/>
              <a:gd name="connsiteX3" fmla="*/ 0 w 2554602"/>
              <a:gd name="connsiteY3" fmla="*/ 1692000 h 1692000"/>
            </a:gdLst>
            <a:ahLst/>
            <a:cxnLst>
              <a:cxn ang="0">
                <a:pos x="connsiteX0" y="connsiteY0"/>
              </a:cxn>
              <a:cxn ang="0">
                <a:pos x="connsiteX1" y="connsiteY1"/>
              </a:cxn>
              <a:cxn ang="0">
                <a:pos x="connsiteX2" y="connsiteY2"/>
              </a:cxn>
              <a:cxn ang="0">
                <a:pos x="connsiteX3" y="connsiteY3"/>
              </a:cxn>
            </a:cxnLst>
            <a:rect l="l" t="t" r="r" b="b"/>
            <a:pathLst>
              <a:path w="2554602" h="1692000">
                <a:moveTo>
                  <a:pt x="852756" y="0"/>
                </a:moveTo>
                <a:lnTo>
                  <a:pt x="2554602" y="0"/>
                </a:lnTo>
                <a:lnTo>
                  <a:pt x="2554602" y="1692000"/>
                </a:lnTo>
                <a:lnTo>
                  <a:pt x="0" y="1692000"/>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1"/>
              </a:solidFill>
            </a:endParaRPr>
          </a:p>
        </p:txBody>
      </p:sp>
      <p:sp>
        <p:nvSpPr>
          <p:cNvPr id="43" name="Freihandform: Form 42">
            <a:extLst>
              <a:ext uri="{FF2B5EF4-FFF2-40B4-BE49-F238E27FC236}">
                <a16:creationId xmlns:a16="http://schemas.microsoft.com/office/drawing/2014/main" id="{6845AF54-3DD5-45AD-9F66-458DFF13F075}"/>
              </a:ext>
            </a:extLst>
          </p:cNvPr>
          <p:cNvSpPr/>
          <p:nvPr/>
        </p:nvSpPr>
        <p:spPr bwMode="gray">
          <a:xfrm>
            <a:off x="8760297" y="5121376"/>
            <a:ext cx="3429205" cy="1736624"/>
          </a:xfrm>
          <a:custGeom>
            <a:avLst/>
            <a:gdLst>
              <a:gd name="connsiteX0" fmla="*/ 875246 w 3429205"/>
              <a:gd name="connsiteY0" fmla="*/ 0 h 1736624"/>
              <a:gd name="connsiteX1" fmla="*/ 3429205 w 3429205"/>
              <a:gd name="connsiteY1" fmla="*/ 0 h 1736624"/>
              <a:gd name="connsiteX2" fmla="*/ 3429205 w 3429205"/>
              <a:gd name="connsiteY2" fmla="*/ 1736624 h 1736624"/>
              <a:gd name="connsiteX3" fmla="*/ 0 w 3429205"/>
              <a:gd name="connsiteY3" fmla="*/ 1736624 h 1736624"/>
            </a:gdLst>
            <a:ahLst/>
            <a:cxnLst>
              <a:cxn ang="0">
                <a:pos x="connsiteX0" y="connsiteY0"/>
              </a:cxn>
              <a:cxn ang="0">
                <a:pos x="connsiteX1" y="connsiteY1"/>
              </a:cxn>
              <a:cxn ang="0">
                <a:pos x="connsiteX2" y="connsiteY2"/>
              </a:cxn>
              <a:cxn ang="0">
                <a:pos x="connsiteX3" y="connsiteY3"/>
              </a:cxn>
            </a:cxnLst>
            <a:rect l="l" t="t" r="r" b="b"/>
            <a:pathLst>
              <a:path w="3429205" h="1736624">
                <a:moveTo>
                  <a:pt x="875246" y="0"/>
                </a:moveTo>
                <a:lnTo>
                  <a:pt x="3429205" y="0"/>
                </a:lnTo>
                <a:lnTo>
                  <a:pt x="3429205" y="1736624"/>
                </a:lnTo>
                <a:lnTo>
                  <a:pt x="0" y="1736624"/>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1"/>
              </a:solidFill>
            </a:endParaRPr>
          </a:p>
        </p:txBody>
      </p:sp>
      <p:sp>
        <p:nvSpPr>
          <p:cNvPr id="47" name="Textplatzhalter 15">
            <a:extLst>
              <a:ext uri="{FF2B5EF4-FFF2-40B4-BE49-F238E27FC236}">
                <a16:creationId xmlns:a16="http://schemas.microsoft.com/office/drawing/2014/main" id="{6CD07F96-933D-426D-8AE2-10F01594F9C6}"/>
              </a:ext>
            </a:extLst>
          </p:cNvPr>
          <p:cNvSpPr txBox="1">
            <a:spLocks/>
          </p:cNvSpPr>
          <p:nvPr/>
        </p:nvSpPr>
        <p:spPr bwMode="gray">
          <a:xfrm>
            <a:off x="1055863" y="5229320"/>
            <a:ext cx="7634010" cy="1080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dirty="0"/>
              <a:t>Lorem ipsum dolor sit amet, consectetuer adipiscing elit. Maecenas porttitor congue</a:t>
            </a:r>
          </a:p>
          <a:p>
            <a:pPr lvl="1"/>
            <a:r>
              <a:rPr lang="en-US" dirty="0"/>
              <a:t>Massa. Fusce posuere, magna sed pulvinar ultricies, purus lectus malesuada libero, sit amet commodo magna eros quis urna. Nunc viverra imperdiet enim. Fusce est. Vivamus a tellus. </a:t>
            </a:r>
          </a:p>
        </p:txBody>
      </p:sp>
      <p:sp>
        <p:nvSpPr>
          <p:cNvPr id="48" name="Ellipse 47">
            <a:extLst>
              <a:ext uri="{FF2B5EF4-FFF2-40B4-BE49-F238E27FC236}">
                <a16:creationId xmlns:a16="http://schemas.microsoft.com/office/drawing/2014/main" id="{8ED24113-7E87-4EC9-8F85-1AF5C5486A2A}"/>
              </a:ext>
            </a:extLst>
          </p:cNvPr>
          <p:cNvSpPr/>
          <p:nvPr/>
        </p:nvSpPr>
        <p:spPr bwMode="gray">
          <a:xfrm>
            <a:off x="623887" y="5238579"/>
            <a:ext cx="288032" cy="288032"/>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Textplatzhalter 15">
            <a:extLst>
              <a:ext uri="{FF2B5EF4-FFF2-40B4-BE49-F238E27FC236}">
                <a16:creationId xmlns:a16="http://schemas.microsoft.com/office/drawing/2014/main" id="{98D0F182-9710-424E-A94C-41CB67FD8BBC}"/>
              </a:ext>
            </a:extLst>
          </p:cNvPr>
          <p:cNvSpPr txBox="1">
            <a:spLocks/>
          </p:cNvSpPr>
          <p:nvPr/>
        </p:nvSpPr>
        <p:spPr bwMode="gray">
          <a:xfrm>
            <a:off x="1055368" y="4077152"/>
            <a:ext cx="7634010" cy="1080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dirty="0"/>
              <a:t>Lorem ipsum dolor sit amet, consectetuer adipiscing elit. Maecenas porttitor congue</a:t>
            </a:r>
          </a:p>
          <a:p>
            <a:pPr lvl="1"/>
            <a:r>
              <a:rPr lang="en-US" dirty="0"/>
              <a:t>Massa. Fusce posuere, magna sed pulvinar ultricies, purus lectus malesuada libero, sit amet commodo magna eros quis urna. Nunc viverra imperdiet enim. Fusce est. Vivamus a tellus. </a:t>
            </a:r>
          </a:p>
        </p:txBody>
      </p:sp>
      <p:sp>
        <p:nvSpPr>
          <p:cNvPr id="50" name="Ellipse 49">
            <a:extLst>
              <a:ext uri="{FF2B5EF4-FFF2-40B4-BE49-F238E27FC236}">
                <a16:creationId xmlns:a16="http://schemas.microsoft.com/office/drawing/2014/main" id="{5B0C1073-C029-43B9-B38C-0FCFE964EE5F}"/>
              </a:ext>
            </a:extLst>
          </p:cNvPr>
          <p:cNvSpPr/>
          <p:nvPr/>
        </p:nvSpPr>
        <p:spPr bwMode="gray">
          <a:xfrm>
            <a:off x="623392" y="4077152"/>
            <a:ext cx="288032" cy="288032"/>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platzhalter 15">
            <a:extLst>
              <a:ext uri="{FF2B5EF4-FFF2-40B4-BE49-F238E27FC236}">
                <a16:creationId xmlns:a16="http://schemas.microsoft.com/office/drawing/2014/main" id="{9DB65C62-AD95-4F83-8796-21CB18DF1B44}"/>
              </a:ext>
            </a:extLst>
          </p:cNvPr>
          <p:cNvSpPr txBox="1">
            <a:spLocks/>
          </p:cNvSpPr>
          <p:nvPr/>
        </p:nvSpPr>
        <p:spPr bwMode="gray">
          <a:xfrm>
            <a:off x="1054873" y="2924984"/>
            <a:ext cx="7634010" cy="1080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dirty="0"/>
              <a:t>Lorem ipsum dolor sit amet, consectetuer adipiscing elit. Maecenas porttitor congue</a:t>
            </a:r>
          </a:p>
          <a:p>
            <a:pPr lvl="1"/>
            <a:r>
              <a:rPr lang="en-US" dirty="0"/>
              <a:t>Massa. Fusce posuere, magna sed pulvinar ultricies, purus lectus malesuada libero, sit amet commodo magna eros quis urna. Nunc viverra imperdiet enim. Fusce est. Vivamus a tellus. </a:t>
            </a:r>
          </a:p>
        </p:txBody>
      </p:sp>
      <p:sp>
        <p:nvSpPr>
          <p:cNvPr id="52" name="Ellipse 51">
            <a:extLst>
              <a:ext uri="{FF2B5EF4-FFF2-40B4-BE49-F238E27FC236}">
                <a16:creationId xmlns:a16="http://schemas.microsoft.com/office/drawing/2014/main" id="{C429291F-23D5-4AD6-918F-E8EF0B79EA18}"/>
              </a:ext>
            </a:extLst>
          </p:cNvPr>
          <p:cNvSpPr/>
          <p:nvPr/>
        </p:nvSpPr>
        <p:spPr bwMode="gray">
          <a:xfrm>
            <a:off x="622897" y="2924984"/>
            <a:ext cx="288032" cy="288032"/>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Textplatzhalter 15">
            <a:extLst>
              <a:ext uri="{FF2B5EF4-FFF2-40B4-BE49-F238E27FC236}">
                <a16:creationId xmlns:a16="http://schemas.microsoft.com/office/drawing/2014/main" id="{A66969C0-47F4-43F6-902E-656991FBB9C4}"/>
              </a:ext>
            </a:extLst>
          </p:cNvPr>
          <p:cNvSpPr txBox="1">
            <a:spLocks/>
          </p:cNvSpPr>
          <p:nvPr/>
        </p:nvSpPr>
        <p:spPr bwMode="gray">
          <a:xfrm>
            <a:off x="1054378" y="1772816"/>
            <a:ext cx="7634010" cy="1080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dirty="0"/>
              <a:t>Lorem ipsum dolor sit amet, consectetuer adipiscing elit. Maecenas porttitor congue</a:t>
            </a:r>
          </a:p>
          <a:p>
            <a:pPr lvl="1"/>
            <a:r>
              <a:rPr lang="en-US" dirty="0"/>
              <a:t>Massa. Fusce posuere, magna sed pulvinar ultricies, purus lectus malesuada libero, sit amet commodo magna eros quis urna. Nunc viverra imperdiet enim. Fusce est. Vivamus a tellus. </a:t>
            </a:r>
          </a:p>
        </p:txBody>
      </p:sp>
      <p:sp>
        <p:nvSpPr>
          <p:cNvPr id="54" name="Ellipse 53">
            <a:extLst>
              <a:ext uri="{FF2B5EF4-FFF2-40B4-BE49-F238E27FC236}">
                <a16:creationId xmlns:a16="http://schemas.microsoft.com/office/drawing/2014/main" id="{98633D31-7450-4F71-A7CD-8CB408DAFAFE}"/>
              </a:ext>
            </a:extLst>
          </p:cNvPr>
          <p:cNvSpPr/>
          <p:nvPr/>
        </p:nvSpPr>
        <p:spPr bwMode="gray">
          <a:xfrm>
            <a:off x="622402" y="1782075"/>
            <a:ext cx="288032" cy="288032"/>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Fußzeilenplatzhalter 3">
            <a:extLst>
              <a:ext uri="{FF2B5EF4-FFF2-40B4-BE49-F238E27FC236}">
                <a16:creationId xmlns:a16="http://schemas.microsoft.com/office/drawing/2014/main" id="{08A24A00-170A-42CF-A415-69E6791AABCE}"/>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37B5E27E-8139-45E4-92EB-0EAC8F502A6C}"/>
              </a:ext>
            </a:extLst>
          </p:cNvPr>
          <p:cNvSpPr>
            <a:spLocks noGrp="1"/>
          </p:cNvSpPr>
          <p:nvPr>
            <p:ph type="sldNum" sz="quarter" idx="12"/>
          </p:nvPr>
        </p:nvSpPr>
        <p:spPr/>
        <p:txBody>
          <a:bodyPr/>
          <a:lstStyle/>
          <a:p>
            <a:fld id="{CE82B8A1-0CCE-4815-9668-383D7DE7D8B4}" type="slidenum">
              <a:rPr lang="en-US" noProof="0" smtClean="0"/>
              <a:t>47</a:t>
            </a:fld>
            <a:endParaRPr lang="en-US" noProof="0" dirty="0"/>
          </a:p>
        </p:txBody>
      </p:sp>
    </p:spTree>
    <p:extLst>
      <p:ext uri="{BB962C8B-B14F-4D97-AF65-F5344CB8AC3E}">
        <p14:creationId xmlns:p14="http://schemas.microsoft.com/office/powerpoint/2010/main" val="111315260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675253-AC1E-4A36-84AB-0ADFB234D8DF}"/>
              </a:ext>
            </a:extLst>
          </p:cNvPr>
          <p:cNvSpPr>
            <a:spLocks noGrp="1"/>
          </p:cNvSpPr>
          <p:nvPr>
            <p:ph type="title"/>
          </p:nvPr>
        </p:nvSpPr>
        <p:spPr bwMode="gray"/>
        <p:txBody>
          <a:bodyPr/>
          <a:lstStyle/>
          <a:p>
            <a:r>
              <a:rPr lang="en-US" dirty="0"/>
              <a:t>Line chart</a:t>
            </a:r>
          </a:p>
        </p:txBody>
      </p:sp>
      <p:sp>
        <p:nvSpPr>
          <p:cNvPr id="8" name="Inhaltsplatzhalter 7">
            <a:extLst>
              <a:ext uri="{FF2B5EF4-FFF2-40B4-BE49-F238E27FC236}">
                <a16:creationId xmlns:a16="http://schemas.microsoft.com/office/drawing/2014/main" id="{49A797F3-6FA1-4A71-B424-1881B28F54BD}"/>
              </a:ext>
            </a:extLst>
          </p:cNvPr>
          <p:cNvSpPr>
            <a:spLocks noGrp="1"/>
          </p:cNvSpPr>
          <p:nvPr>
            <p:ph idx="1"/>
          </p:nvPr>
        </p:nvSpPr>
        <p:spPr bwMode="gray">
          <a:xfrm>
            <a:off x="623392" y="1773320"/>
            <a:ext cx="10945216" cy="360000"/>
          </a:xfrm>
        </p:spPr>
        <p:txBody>
          <a:bodyPr/>
          <a:lstStyle/>
          <a:p>
            <a:r>
              <a:rPr lang="en-US" dirty="0"/>
              <a:t>Diagram heading</a:t>
            </a:r>
          </a:p>
        </p:txBody>
      </p:sp>
      <p:graphicFrame>
        <p:nvGraphicFramePr>
          <p:cNvPr id="7" name="Diagramm 6">
            <a:extLst>
              <a:ext uri="{FF2B5EF4-FFF2-40B4-BE49-F238E27FC236}">
                <a16:creationId xmlns:a16="http://schemas.microsoft.com/office/drawing/2014/main" id="{82298939-147B-41E4-BDC6-95EEBF841B53}"/>
              </a:ext>
            </a:extLst>
          </p:cNvPr>
          <p:cNvGraphicFramePr/>
          <p:nvPr>
            <p:extLst>
              <p:ext uri="{D42A27DB-BD31-4B8C-83A1-F6EECF244321}">
                <p14:modId xmlns:p14="http://schemas.microsoft.com/office/powerpoint/2010/main" val="693769106"/>
              </p:ext>
            </p:extLst>
          </p:nvPr>
        </p:nvGraphicFramePr>
        <p:xfrm>
          <a:off x="623392" y="2276872"/>
          <a:ext cx="10945215" cy="4032336"/>
        </p:xfrm>
        <a:graphic>
          <a:graphicData uri="http://schemas.openxmlformats.org/drawingml/2006/chart">
            <c:chart xmlns:c="http://schemas.openxmlformats.org/drawingml/2006/chart" xmlns:r="http://schemas.openxmlformats.org/officeDocument/2006/relationships" r:id="rId2"/>
          </a:graphicData>
        </a:graphic>
      </p:graphicFrame>
      <p:sp>
        <p:nvSpPr>
          <p:cNvPr id="4" name="Fußzeilenplatzhalter 3">
            <a:extLst>
              <a:ext uri="{FF2B5EF4-FFF2-40B4-BE49-F238E27FC236}">
                <a16:creationId xmlns:a16="http://schemas.microsoft.com/office/drawing/2014/main" id="{6BD46F91-7CC8-4AEC-827B-E60C577067C1}"/>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21997AAD-888E-4802-8D01-80252E374D76}"/>
              </a:ext>
            </a:extLst>
          </p:cNvPr>
          <p:cNvSpPr>
            <a:spLocks noGrp="1"/>
          </p:cNvSpPr>
          <p:nvPr>
            <p:ph type="sldNum" sz="quarter" idx="12"/>
          </p:nvPr>
        </p:nvSpPr>
        <p:spPr/>
        <p:txBody>
          <a:bodyPr/>
          <a:lstStyle/>
          <a:p>
            <a:fld id="{CE82B8A1-0CCE-4815-9668-383D7DE7D8B4}" type="slidenum">
              <a:rPr lang="en-US" noProof="0" smtClean="0"/>
              <a:t>48</a:t>
            </a:fld>
            <a:endParaRPr lang="en-US" noProof="0" dirty="0"/>
          </a:p>
        </p:txBody>
      </p:sp>
    </p:spTree>
    <p:extLst>
      <p:ext uri="{BB962C8B-B14F-4D97-AF65-F5344CB8AC3E}">
        <p14:creationId xmlns:p14="http://schemas.microsoft.com/office/powerpoint/2010/main" val="300563212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DB872D-1E89-4A05-BCA6-A06576B16677}"/>
              </a:ext>
            </a:extLst>
          </p:cNvPr>
          <p:cNvSpPr>
            <a:spLocks noGrp="1"/>
          </p:cNvSpPr>
          <p:nvPr>
            <p:ph type="title"/>
          </p:nvPr>
        </p:nvSpPr>
        <p:spPr bwMode="gray"/>
        <p:txBody>
          <a:bodyPr/>
          <a:lstStyle/>
          <a:p>
            <a:r>
              <a:rPr lang="en-US" dirty="0"/>
              <a:t>Ring diagram with labelling</a:t>
            </a:r>
          </a:p>
        </p:txBody>
      </p:sp>
      <p:graphicFrame>
        <p:nvGraphicFramePr>
          <p:cNvPr id="8" name="Diagramm 7">
            <a:extLst>
              <a:ext uri="{FF2B5EF4-FFF2-40B4-BE49-F238E27FC236}">
                <a16:creationId xmlns:a16="http://schemas.microsoft.com/office/drawing/2014/main" id="{B823BB7E-0F38-4320-B7DF-C83B61C8C6C6}"/>
              </a:ext>
            </a:extLst>
          </p:cNvPr>
          <p:cNvGraphicFramePr/>
          <p:nvPr>
            <p:extLst>
              <p:ext uri="{D42A27DB-BD31-4B8C-83A1-F6EECF244321}">
                <p14:modId xmlns:p14="http://schemas.microsoft.com/office/powerpoint/2010/main" val="2866323941"/>
              </p:ext>
            </p:extLst>
          </p:nvPr>
        </p:nvGraphicFramePr>
        <p:xfrm>
          <a:off x="3432174" y="1773238"/>
          <a:ext cx="5327651" cy="4535970"/>
        </p:xfrm>
        <a:graphic>
          <a:graphicData uri="http://schemas.openxmlformats.org/drawingml/2006/chart">
            <c:chart xmlns:c="http://schemas.openxmlformats.org/drawingml/2006/chart" xmlns:r="http://schemas.openxmlformats.org/officeDocument/2006/relationships" r:id="rId2"/>
          </a:graphicData>
        </a:graphic>
      </p:graphicFrame>
      <p:sp>
        <p:nvSpPr>
          <p:cNvPr id="4" name="Fußzeilenplatzhalter 3">
            <a:extLst>
              <a:ext uri="{FF2B5EF4-FFF2-40B4-BE49-F238E27FC236}">
                <a16:creationId xmlns:a16="http://schemas.microsoft.com/office/drawing/2014/main" id="{900C5952-8E3B-4478-BFA4-C3A304D7F757}"/>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24" name="Textplatzhalter 3">
            <a:extLst>
              <a:ext uri="{FF2B5EF4-FFF2-40B4-BE49-F238E27FC236}">
                <a16:creationId xmlns:a16="http://schemas.microsoft.com/office/drawing/2014/main" id="{3294C33A-0F7B-4903-9FC1-C7EF11730AC9}"/>
              </a:ext>
            </a:extLst>
          </p:cNvPr>
          <p:cNvSpPr txBox="1">
            <a:spLocks/>
          </p:cNvSpPr>
          <p:nvPr/>
        </p:nvSpPr>
        <p:spPr bwMode="gray">
          <a:xfrm>
            <a:off x="9048328" y="2349008"/>
            <a:ext cx="2159818" cy="576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r"/>
            <a:r>
              <a:rPr lang="de-DE" sz="4000" dirty="0">
                <a:solidFill>
                  <a:schemeClr val="tx1"/>
                </a:solidFill>
              </a:rPr>
              <a:t>3,0</a:t>
            </a:r>
          </a:p>
        </p:txBody>
      </p:sp>
      <p:sp>
        <p:nvSpPr>
          <p:cNvPr id="27" name="Textplatzhalter 15">
            <a:extLst>
              <a:ext uri="{FF2B5EF4-FFF2-40B4-BE49-F238E27FC236}">
                <a16:creationId xmlns:a16="http://schemas.microsoft.com/office/drawing/2014/main" id="{F30B4736-1B97-43E2-9A27-41EB38F69533}"/>
              </a:ext>
            </a:extLst>
          </p:cNvPr>
          <p:cNvSpPr txBox="1">
            <a:spLocks/>
          </p:cNvSpPr>
          <p:nvPr/>
        </p:nvSpPr>
        <p:spPr bwMode="gray">
          <a:xfrm>
            <a:off x="9120188" y="2997112"/>
            <a:ext cx="2448420" cy="864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de-DE" dirty="0"/>
              <a:t>Lorem ipsum dolor sit amet,</a:t>
            </a:r>
            <a:br>
              <a:rPr lang="de-DE" dirty="0"/>
            </a:br>
            <a:r>
              <a:rPr lang="de-DE" dirty="0"/>
              <a:t>consectetuer adipiscing elit.</a:t>
            </a:r>
          </a:p>
        </p:txBody>
      </p:sp>
      <p:sp>
        <p:nvSpPr>
          <p:cNvPr id="30" name="Ellipse 29">
            <a:extLst>
              <a:ext uri="{FF2B5EF4-FFF2-40B4-BE49-F238E27FC236}">
                <a16:creationId xmlns:a16="http://schemas.microsoft.com/office/drawing/2014/main" id="{A51E3D44-8214-429C-BA74-524F218F5875}"/>
              </a:ext>
            </a:extLst>
          </p:cNvPr>
          <p:cNvSpPr/>
          <p:nvPr/>
        </p:nvSpPr>
        <p:spPr bwMode="gray">
          <a:xfrm>
            <a:off x="11280576" y="2502219"/>
            <a:ext cx="288032" cy="288032"/>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Textplatzhalter 3">
            <a:extLst>
              <a:ext uri="{FF2B5EF4-FFF2-40B4-BE49-F238E27FC236}">
                <a16:creationId xmlns:a16="http://schemas.microsoft.com/office/drawing/2014/main" id="{83721A96-0C84-4305-9959-DB35C48A138C}"/>
              </a:ext>
            </a:extLst>
          </p:cNvPr>
          <p:cNvSpPr txBox="1">
            <a:spLocks/>
          </p:cNvSpPr>
          <p:nvPr/>
        </p:nvSpPr>
        <p:spPr bwMode="gray">
          <a:xfrm>
            <a:off x="9048328" y="3933120"/>
            <a:ext cx="2159818" cy="576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r"/>
            <a:r>
              <a:rPr lang="de-DE" sz="4000" dirty="0">
                <a:solidFill>
                  <a:schemeClr val="tx1"/>
                </a:solidFill>
              </a:rPr>
              <a:t>1,2</a:t>
            </a:r>
          </a:p>
        </p:txBody>
      </p:sp>
      <p:sp>
        <p:nvSpPr>
          <p:cNvPr id="32" name="Textplatzhalter 15">
            <a:extLst>
              <a:ext uri="{FF2B5EF4-FFF2-40B4-BE49-F238E27FC236}">
                <a16:creationId xmlns:a16="http://schemas.microsoft.com/office/drawing/2014/main" id="{857F5252-4092-4C9B-8938-05762ADB41EE}"/>
              </a:ext>
            </a:extLst>
          </p:cNvPr>
          <p:cNvSpPr txBox="1">
            <a:spLocks/>
          </p:cNvSpPr>
          <p:nvPr/>
        </p:nvSpPr>
        <p:spPr bwMode="gray">
          <a:xfrm>
            <a:off x="9120188" y="4581224"/>
            <a:ext cx="2448420" cy="864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de-DE" dirty="0"/>
              <a:t>Lorem ipsum dolor sit amet,</a:t>
            </a:r>
            <a:br>
              <a:rPr lang="de-DE" dirty="0"/>
            </a:br>
            <a:r>
              <a:rPr lang="de-DE" dirty="0"/>
              <a:t>consectetuer adipiscing elit.</a:t>
            </a:r>
          </a:p>
        </p:txBody>
      </p:sp>
      <p:sp>
        <p:nvSpPr>
          <p:cNvPr id="33" name="Ellipse 32">
            <a:extLst>
              <a:ext uri="{FF2B5EF4-FFF2-40B4-BE49-F238E27FC236}">
                <a16:creationId xmlns:a16="http://schemas.microsoft.com/office/drawing/2014/main" id="{0855FE9F-11B6-458A-87B3-9A26F19B8753}"/>
              </a:ext>
            </a:extLst>
          </p:cNvPr>
          <p:cNvSpPr/>
          <p:nvPr/>
        </p:nvSpPr>
        <p:spPr bwMode="gray">
          <a:xfrm>
            <a:off x="11280576" y="4086331"/>
            <a:ext cx="288032" cy="288032"/>
          </a:xfrm>
          <a:prstGeom prst="ellips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4" name="Textplatzhalter 3">
            <a:extLst>
              <a:ext uri="{FF2B5EF4-FFF2-40B4-BE49-F238E27FC236}">
                <a16:creationId xmlns:a16="http://schemas.microsoft.com/office/drawing/2014/main" id="{C27041A4-D3D2-4B56-AB5A-4F8C4BDABAF0}"/>
              </a:ext>
            </a:extLst>
          </p:cNvPr>
          <p:cNvSpPr txBox="1">
            <a:spLocks/>
          </p:cNvSpPr>
          <p:nvPr/>
        </p:nvSpPr>
        <p:spPr bwMode="gray">
          <a:xfrm>
            <a:off x="983431" y="2349008"/>
            <a:ext cx="2159818" cy="576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de-DE" sz="4000" dirty="0">
                <a:solidFill>
                  <a:schemeClr val="tx1"/>
                </a:solidFill>
              </a:rPr>
              <a:t>5,0</a:t>
            </a:r>
          </a:p>
        </p:txBody>
      </p:sp>
      <p:sp>
        <p:nvSpPr>
          <p:cNvPr id="35" name="Textplatzhalter 15">
            <a:extLst>
              <a:ext uri="{FF2B5EF4-FFF2-40B4-BE49-F238E27FC236}">
                <a16:creationId xmlns:a16="http://schemas.microsoft.com/office/drawing/2014/main" id="{F2EBDF46-C2AB-4A71-85BC-33A0AE1289CD}"/>
              </a:ext>
            </a:extLst>
          </p:cNvPr>
          <p:cNvSpPr txBox="1">
            <a:spLocks/>
          </p:cNvSpPr>
          <p:nvPr/>
        </p:nvSpPr>
        <p:spPr bwMode="gray">
          <a:xfrm>
            <a:off x="623392" y="2997112"/>
            <a:ext cx="2448421" cy="864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de-DE" dirty="0"/>
              <a:t>Lorem ipsum dolor sit amet,</a:t>
            </a:r>
            <a:br>
              <a:rPr lang="de-DE" dirty="0"/>
            </a:br>
            <a:r>
              <a:rPr lang="de-DE" dirty="0"/>
              <a:t>consectetuer adipiscing elit.</a:t>
            </a:r>
          </a:p>
        </p:txBody>
      </p:sp>
      <p:sp>
        <p:nvSpPr>
          <p:cNvPr id="36" name="Ellipse 35">
            <a:extLst>
              <a:ext uri="{FF2B5EF4-FFF2-40B4-BE49-F238E27FC236}">
                <a16:creationId xmlns:a16="http://schemas.microsoft.com/office/drawing/2014/main" id="{CE469ABF-EF08-4E01-9F2A-8A66C6B38A26}"/>
              </a:ext>
            </a:extLst>
          </p:cNvPr>
          <p:cNvSpPr/>
          <p:nvPr/>
        </p:nvSpPr>
        <p:spPr bwMode="gray">
          <a:xfrm>
            <a:off x="623392" y="2492896"/>
            <a:ext cx="288032" cy="288032"/>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7" name="Textplatzhalter 3">
            <a:extLst>
              <a:ext uri="{FF2B5EF4-FFF2-40B4-BE49-F238E27FC236}">
                <a16:creationId xmlns:a16="http://schemas.microsoft.com/office/drawing/2014/main" id="{0A241A91-6A43-4E08-A8AA-1F8CF471A669}"/>
              </a:ext>
            </a:extLst>
          </p:cNvPr>
          <p:cNvSpPr txBox="1">
            <a:spLocks/>
          </p:cNvSpPr>
          <p:nvPr/>
        </p:nvSpPr>
        <p:spPr bwMode="gray">
          <a:xfrm>
            <a:off x="983431" y="3933120"/>
            <a:ext cx="2159818" cy="576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de-DE" sz="4000" dirty="0">
                <a:solidFill>
                  <a:schemeClr val="tx1"/>
                </a:solidFill>
              </a:rPr>
              <a:t>8,2</a:t>
            </a:r>
          </a:p>
        </p:txBody>
      </p:sp>
      <p:sp>
        <p:nvSpPr>
          <p:cNvPr id="38" name="Textplatzhalter 15">
            <a:extLst>
              <a:ext uri="{FF2B5EF4-FFF2-40B4-BE49-F238E27FC236}">
                <a16:creationId xmlns:a16="http://schemas.microsoft.com/office/drawing/2014/main" id="{70AF6E13-C27C-45FC-B84F-E422CC4FC8BB}"/>
              </a:ext>
            </a:extLst>
          </p:cNvPr>
          <p:cNvSpPr txBox="1">
            <a:spLocks/>
          </p:cNvSpPr>
          <p:nvPr/>
        </p:nvSpPr>
        <p:spPr bwMode="gray">
          <a:xfrm>
            <a:off x="623392" y="4581224"/>
            <a:ext cx="2448421" cy="864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de-DE" dirty="0"/>
              <a:t>Lorem ipsum dolor sit amet,</a:t>
            </a:r>
            <a:br>
              <a:rPr lang="de-DE" dirty="0"/>
            </a:br>
            <a:r>
              <a:rPr lang="de-DE" dirty="0"/>
              <a:t>consectetuer adipiscing elit.</a:t>
            </a:r>
          </a:p>
        </p:txBody>
      </p:sp>
      <p:sp>
        <p:nvSpPr>
          <p:cNvPr id="39" name="Ellipse 38">
            <a:extLst>
              <a:ext uri="{FF2B5EF4-FFF2-40B4-BE49-F238E27FC236}">
                <a16:creationId xmlns:a16="http://schemas.microsoft.com/office/drawing/2014/main" id="{FA86C5DD-04BF-4BBB-84D4-81A691ADB348}"/>
              </a:ext>
            </a:extLst>
          </p:cNvPr>
          <p:cNvSpPr/>
          <p:nvPr/>
        </p:nvSpPr>
        <p:spPr bwMode="gray">
          <a:xfrm>
            <a:off x="623392" y="4077072"/>
            <a:ext cx="288032" cy="288032"/>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40" name="Gerader Verbinder 39">
            <a:extLst>
              <a:ext uri="{FF2B5EF4-FFF2-40B4-BE49-F238E27FC236}">
                <a16:creationId xmlns:a16="http://schemas.microsoft.com/office/drawing/2014/main" id="{41D2F1FB-5428-4FF4-BD11-13BC2AF50D58}"/>
              </a:ext>
            </a:extLst>
          </p:cNvPr>
          <p:cNvCxnSpPr/>
          <p:nvPr/>
        </p:nvCxnSpPr>
        <p:spPr bwMode="gray">
          <a:xfrm>
            <a:off x="2063800" y="2780928"/>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0DB59007-8899-47F3-8F27-47E1358DC0BB}"/>
              </a:ext>
            </a:extLst>
          </p:cNvPr>
          <p:cNvCxnSpPr>
            <a:cxnSpLocks/>
          </p:cNvCxnSpPr>
          <p:nvPr/>
        </p:nvCxnSpPr>
        <p:spPr bwMode="gray">
          <a:xfrm>
            <a:off x="2063800" y="4365104"/>
            <a:ext cx="19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A5884808-DFF9-43C1-B91D-E49626BAB20A}"/>
              </a:ext>
            </a:extLst>
          </p:cNvPr>
          <p:cNvCxnSpPr>
            <a:cxnSpLocks/>
          </p:cNvCxnSpPr>
          <p:nvPr/>
        </p:nvCxnSpPr>
        <p:spPr bwMode="gray">
          <a:xfrm>
            <a:off x="7896448" y="2780928"/>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838D2588-423C-462A-BB2A-D4EAE9CE5FA7}"/>
              </a:ext>
            </a:extLst>
          </p:cNvPr>
          <p:cNvCxnSpPr>
            <a:cxnSpLocks/>
          </p:cNvCxnSpPr>
          <p:nvPr/>
        </p:nvCxnSpPr>
        <p:spPr bwMode="gray">
          <a:xfrm>
            <a:off x="8184448" y="4365104"/>
            <a:ext cx="19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oliennummernplatzhalter 2">
            <a:extLst>
              <a:ext uri="{FF2B5EF4-FFF2-40B4-BE49-F238E27FC236}">
                <a16:creationId xmlns:a16="http://schemas.microsoft.com/office/drawing/2014/main" id="{0855CEAA-6032-46D0-B80B-A3D165EEA4CA}"/>
              </a:ext>
            </a:extLst>
          </p:cNvPr>
          <p:cNvSpPr>
            <a:spLocks noGrp="1"/>
          </p:cNvSpPr>
          <p:nvPr>
            <p:ph type="sldNum" sz="quarter" idx="12"/>
          </p:nvPr>
        </p:nvSpPr>
        <p:spPr/>
        <p:txBody>
          <a:bodyPr/>
          <a:lstStyle/>
          <a:p>
            <a:fld id="{CE82B8A1-0CCE-4815-9668-383D7DE7D8B4}" type="slidenum">
              <a:rPr lang="en-US" noProof="0" smtClean="0"/>
              <a:t>49</a:t>
            </a:fld>
            <a:endParaRPr lang="en-US" noProof="0" dirty="0"/>
          </a:p>
        </p:txBody>
      </p:sp>
    </p:spTree>
    <p:extLst>
      <p:ext uri="{BB962C8B-B14F-4D97-AF65-F5344CB8AC3E}">
        <p14:creationId xmlns:p14="http://schemas.microsoft.com/office/powerpoint/2010/main" val="16749649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34497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6BE467-F713-4CE0-B91B-A229F315E8E1}"/>
              </a:ext>
            </a:extLst>
          </p:cNvPr>
          <p:cNvSpPr>
            <a:spLocks noGrp="1"/>
          </p:cNvSpPr>
          <p:nvPr>
            <p:ph type="title"/>
          </p:nvPr>
        </p:nvSpPr>
        <p:spPr bwMode="gray"/>
        <p:txBody>
          <a:bodyPr/>
          <a:lstStyle/>
          <a:p>
            <a:r>
              <a:rPr lang="en-US" dirty="0"/>
              <a:t>Bar chart with connection</a:t>
            </a:r>
          </a:p>
        </p:txBody>
      </p:sp>
      <p:sp>
        <p:nvSpPr>
          <p:cNvPr id="20" name="Inhaltsplatzhalter 19">
            <a:extLst>
              <a:ext uri="{FF2B5EF4-FFF2-40B4-BE49-F238E27FC236}">
                <a16:creationId xmlns:a16="http://schemas.microsoft.com/office/drawing/2014/main" id="{9B70B156-4EF4-49C2-B0E3-5913F3B73E75}"/>
              </a:ext>
            </a:extLst>
          </p:cNvPr>
          <p:cNvSpPr>
            <a:spLocks noGrp="1"/>
          </p:cNvSpPr>
          <p:nvPr>
            <p:ph idx="1"/>
          </p:nvPr>
        </p:nvSpPr>
        <p:spPr bwMode="gray">
          <a:xfrm>
            <a:off x="623392" y="1773320"/>
            <a:ext cx="10945216" cy="360000"/>
          </a:xfrm>
        </p:spPr>
        <p:txBody>
          <a:bodyPr/>
          <a:lstStyle/>
          <a:p>
            <a:r>
              <a:rPr lang="en-US" dirty="0"/>
              <a:t>Diagram heading</a:t>
            </a:r>
          </a:p>
        </p:txBody>
      </p:sp>
      <p:graphicFrame>
        <p:nvGraphicFramePr>
          <p:cNvPr id="5" name="Diagramm 4">
            <a:extLst>
              <a:ext uri="{FF2B5EF4-FFF2-40B4-BE49-F238E27FC236}">
                <a16:creationId xmlns:a16="http://schemas.microsoft.com/office/drawing/2014/main" id="{0A8293B0-F6D8-4AAA-A5EF-1E4E9D266787}"/>
              </a:ext>
            </a:extLst>
          </p:cNvPr>
          <p:cNvGraphicFramePr/>
          <p:nvPr>
            <p:extLst>
              <p:ext uri="{D42A27DB-BD31-4B8C-83A1-F6EECF244321}">
                <p14:modId xmlns:p14="http://schemas.microsoft.com/office/powerpoint/2010/main" val="1191679501"/>
              </p:ext>
            </p:extLst>
          </p:nvPr>
        </p:nvGraphicFramePr>
        <p:xfrm>
          <a:off x="623393" y="2387195"/>
          <a:ext cx="10944720" cy="3922125"/>
        </p:xfrm>
        <a:graphic>
          <a:graphicData uri="http://schemas.openxmlformats.org/drawingml/2006/chart">
            <c:chart xmlns:c="http://schemas.openxmlformats.org/drawingml/2006/chart" xmlns:r="http://schemas.openxmlformats.org/officeDocument/2006/relationships" r:id="rId9"/>
          </a:graphicData>
        </a:graphic>
      </p:graphicFrame>
      <p:sp>
        <p:nvSpPr>
          <p:cNvPr id="11" name="Textfeld 10">
            <a:extLst>
              <a:ext uri="{FF2B5EF4-FFF2-40B4-BE49-F238E27FC236}">
                <a16:creationId xmlns:a16="http://schemas.microsoft.com/office/drawing/2014/main" id="{0E6F234D-6282-43F3-B290-109B15F24E68}"/>
              </a:ext>
            </a:extLst>
          </p:cNvPr>
          <p:cNvSpPr txBox="1"/>
          <p:nvPr>
            <p:custDataLst>
              <p:tags r:id="rId1"/>
            </p:custDataLst>
          </p:nvPr>
        </p:nvSpPr>
        <p:spPr bwMode="gray">
          <a:xfrm>
            <a:off x="9660395" y="2168860"/>
            <a:ext cx="684077" cy="324036"/>
          </a:xfrm>
          <a:prstGeom prst="wedgeRectCallout">
            <a:avLst>
              <a:gd name="adj1" fmla="val 31521"/>
              <a:gd name="adj2" fmla="val 88367"/>
            </a:avLst>
          </a:prstGeom>
          <a:solidFill>
            <a:schemeClr val="bg2"/>
          </a:solidFill>
          <a:ln>
            <a:noFill/>
          </a:ln>
          <a:effectLst/>
        </p:spPr>
        <p:txBody>
          <a:bodyPr vert="horz" wrap="square" lIns="108000" tIns="72000" rIns="108000" bIns="72000" rtlCol="0" anchor="ctr" anchorCtr="0">
            <a:noAutofit/>
          </a:bodyPr>
          <a:lstStyle>
            <a:defPPr>
              <a:defRPr lang="en-US"/>
            </a:defPPr>
            <a:lvl1pPr>
              <a:spcAft>
                <a:spcPts val="300"/>
              </a:spcAft>
              <a:buSzPct val="100000"/>
              <a:defRPr sz="1600" b="1">
                <a:latin typeface="Arial"/>
              </a:defRPr>
            </a:lvl1pPr>
            <a:lvl2pPr marL="0" lvl="1">
              <a:spcAft>
                <a:spcPts val="300"/>
              </a:spcAft>
              <a:buSzPct val="100000"/>
              <a:defRPr sz="1600">
                <a:latin typeface="Arial"/>
              </a:defRPr>
            </a:lvl2pPr>
            <a:lvl3pPr marL="182563" lvl="2" indent="-182563">
              <a:spcAft>
                <a:spcPts val="300"/>
              </a:spcAft>
              <a:buSzPct val="100000"/>
              <a:buFont typeface="Arial"/>
              <a:buChar char="•"/>
              <a:defRPr sz="1600">
                <a:latin typeface="Arial"/>
              </a:defRPr>
            </a:lvl3pPr>
          </a:lstStyle>
          <a:p>
            <a:r>
              <a:rPr lang="en-US" dirty="0">
                <a:latin typeface="+mn-lt"/>
              </a:rPr>
              <a:t>XX%</a:t>
            </a:r>
          </a:p>
        </p:txBody>
      </p:sp>
      <p:sp>
        <p:nvSpPr>
          <p:cNvPr id="21" name="Freihandform 1">
            <a:extLst>
              <a:ext uri="{FF2B5EF4-FFF2-40B4-BE49-F238E27FC236}">
                <a16:creationId xmlns:a16="http://schemas.microsoft.com/office/drawing/2014/main" id="{12568DFD-1E28-4739-B858-B86AEA878A50}"/>
              </a:ext>
            </a:extLst>
          </p:cNvPr>
          <p:cNvSpPr/>
          <p:nvPr/>
        </p:nvSpPr>
        <p:spPr bwMode="gray">
          <a:xfrm>
            <a:off x="1359415" y="2512178"/>
            <a:ext cx="9877938" cy="3004385"/>
          </a:xfrm>
          <a:custGeom>
            <a:avLst/>
            <a:gdLst>
              <a:gd name="connsiteX0" fmla="*/ 0 w 7877175"/>
              <a:gd name="connsiteY0" fmla="*/ 3876675 h 3876675"/>
              <a:gd name="connsiteX1" fmla="*/ 600075 w 7877175"/>
              <a:gd name="connsiteY1" fmla="*/ 3876675 h 3876675"/>
              <a:gd name="connsiteX2" fmla="*/ 1047750 w 7877175"/>
              <a:gd name="connsiteY2" fmla="*/ 3333750 h 3876675"/>
              <a:gd name="connsiteX3" fmla="*/ 1590675 w 7877175"/>
              <a:gd name="connsiteY3" fmla="*/ 3333750 h 3876675"/>
              <a:gd name="connsiteX4" fmla="*/ 2076450 w 7877175"/>
              <a:gd name="connsiteY4" fmla="*/ 2762250 h 3876675"/>
              <a:gd name="connsiteX5" fmla="*/ 2619375 w 7877175"/>
              <a:gd name="connsiteY5" fmla="*/ 2762250 h 3876675"/>
              <a:gd name="connsiteX6" fmla="*/ 3105150 w 7877175"/>
              <a:gd name="connsiteY6" fmla="*/ 2190750 h 3876675"/>
              <a:gd name="connsiteX7" fmla="*/ 3638550 w 7877175"/>
              <a:gd name="connsiteY7" fmla="*/ 2190750 h 3876675"/>
              <a:gd name="connsiteX8" fmla="*/ 4105275 w 7877175"/>
              <a:gd name="connsiteY8" fmla="*/ 1647825 h 3876675"/>
              <a:gd name="connsiteX9" fmla="*/ 4619625 w 7877175"/>
              <a:gd name="connsiteY9" fmla="*/ 1647825 h 3876675"/>
              <a:gd name="connsiteX10" fmla="*/ 5124450 w 7877175"/>
              <a:gd name="connsiteY10" fmla="*/ 1123950 h 3876675"/>
              <a:gd name="connsiteX11" fmla="*/ 5648325 w 7877175"/>
              <a:gd name="connsiteY11" fmla="*/ 1123950 h 3876675"/>
              <a:gd name="connsiteX12" fmla="*/ 6143625 w 7877175"/>
              <a:gd name="connsiteY12" fmla="*/ 542925 h 3876675"/>
              <a:gd name="connsiteX13" fmla="*/ 6677025 w 7877175"/>
              <a:gd name="connsiteY13" fmla="*/ 542925 h 3876675"/>
              <a:gd name="connsiteX14" fmla="*/ 7153275 w 7877175"/>
              <a:gd name="connsiteY14" fmla="*/ 0 h 3876675"/>
              <a:gd name="connsiteX15" fmla="*/ 7877175 w 7877175"/>
              <a:gd name="connsiteY15" fmla="*/ 0 h 3876675"/>
              <a:gd name="connsiteX0" fmla="*/ 0 w 7680325"/>
              <a:gd name="connsiteY0" fmla="*/ 3876675 h 3876675"/>
              <a:gd name="connsiteX1" fmla="*/ 600075 w 7680325"/>
              <a:gd name="connsiteY1" fmla="*/ 3876675 h 3876675"/>
              <a:gd name="connsiteX2" fmla="*/ 1047750 w 7680325"/>
              <a:gd name="connsiteY2" fmla="*/ 3333750 h 3876675"/>
              <a:gd name="connsiteX3" fmla="*/ 1590675 w 7680325"/>
              <a:gd name="connsiteY3" fmla="*/ 3333750 h 3876675"/>
              <a:gd name="connsiteX4" fmla="*/ 2076450 w 7680325"/>
              <a:gd name="connsiteY4" fmla="*/ 2762250 h 3876675"/>
              <a:gd name="connsiteX5" fmla="*/ 2619375 w 7680325"/>
              <a:gd name="connsiteY5" fmla="*/ 2762250 h 3876675"/>
              <a:gd name="connsiteX6" fmla="*/ 3105150 w 7680325"/>
              <a:gd name="connsiteY6" fmla="*/ 2190750 h 3876675"/>
              <a:gd name="connsiteX7" fmla="*/ 3638550 w 7680325"/>
              <a:gd name="connsiteY7" fmla="*/ 2190750 h 3876675"/>
              <a:gd name="connsiteX8" fmla="*/ 4105275 w 7680325"/>
              <a:gd name="connsiteY8" fmla="*/ 1647825 h 3876675"/>
              <a:gd name="connsiteX9" fmla="*/ 4619625 w 7680325"/>
              <a:gd name="connsiteY9" fmla="*/ 1647825 h 3876675"/>
              <a:gd name="connsiteX10" fmla="*/ 5124450 w 7680325"/>
              <a:gd name="connsiteY10" fmla="*/ 1123950 h 3876675"/>
              <a:gd name="connsiteX11" fmla="*/ 5648325 w 7680325"/>
              <a:gd name="connsiteY11" fmla="*/ 1123950 h 3876675"/>
              <a:gd name="connsiteX12" fmla="*/ 6143625 w 7680325"/>
              <a:gd name="connsiteY12" fmla="*/ 542925 h 3876675"/>
              <a:gd name="connsiteX13" fmla="*/ 6677025 w 7680325"/>
              <a:gd name="connsiteY13" fmla="*/ 542925 h 3876675"/>
              <a:gd name="connsiteX14" fmla="*/ 7153275 w 7680325"/>
              <a:gd name="connsiteY14" fmla="*/ 0 h 3876675"/>
              <a:gd name="connsiteX15" fmla="*/ 7680325 w 7680325"/>
              <a:gd name="connsiteY15" fmla="*/ 0 h 3876675"/>
              <a:gd name="connsiteX0" fmla="*/ 0 w 7680325"/>
              <a:gd name="connsiteY0" fmla="*/ 3876675 h 3876675"/>
              <a:gd name="connsiteX1" fmla="*/ 600075 w 7680325"/>
              <a:gd name="connsiteY1" fmla="*/ 3876675 h 3876675"/>
              <a:gd name="connsiteX2" fmla="*/ 1047750 w 7680325"/>
              <a:gd name="connsiteY2" fmla="*/ 3333750 h 3876675"/>
              <a:gd name="connsiteX3" fmla="*/ 1590675 w 7680325"/>
              <a:gd name="connsiteY3" fmla="*/ 3333750 h 3876675"/>
              <a:gd name="connsiteX4" fmla="*/ 2076450 w 7680325"/>
              <a:gd name="connsiteY4" fmla="*/ 2762250 h 3876675"/>
              <a:gd name="connsiteX5" fmla="*/ 2619375 w 7680325"/>
              <a:gd name="connsiteY5" fmla="*/ 2762250 h 3876675"/>
              <a:gd name="connsiteX6" fmla="*/ 3105150 w 7680325"/>
              <a:gd name="connsiteY6" fmla="*/ 2190750 h 3876675"/>
              <a:gd name="connsiteX7" fmla="*/ 3638550 w 7680325"/>
              <a:gd name="connsiteY7" fmla="*/ 2190750 h 3876675"/>
              <a:gd name="connsiteX8" fmla="*/ 4105275 w 7680325"/>
              <a:gd name="connsiteY8" fmla="*/ 1647825 h 3876675"/>
              <a:gd name="connsiteX9" fmla="*/ 4619625 w 7680325"/>
              <a:gd name="connsiteY9" fmla="*/ 1647825 h 3876675"/>
              <a:gd name="connsiteX10" fmla="*/ 5116350 w 7680325"/>
              <a:gd name="connsiteY10" fmla="*/ 1100096 h 3876675"/>
              <a:gd name="connsiteX11" fmla="*/ 5648325 w 7680325"/>
              <a:gd name="connsiteY11" fmla="*/ 1123950 h 3876675"/>
              <a:gd name="connsiteX12" fmla="*/ 6143625 w 7680325"/>
              <a:gd name="connsiteY12" fmla="*/ 542925 h 3876675"/>
              <a:gd name="connsiteX13" fmla="*/ 6677025 w 7680325"/>
              <a:gd name="connsiteY13" fmla="*/ 542925 h 3876675"/>
              <a:gd name="connsiteX14" fmla="*/ 7153275 w 7680325"/>
              <a:gd name="connsiteY14" fmla="*/ 0 h 3876675"/>
              <a:gd name="connsiteX15" fmla="*/ 7680325 w 7680325"/>
              <a:gd name="connsiteY15" fmla="*/ 0 h 3876675"/>
              <a:gd name="connsiteX0" fmla="*/ 0 w 7680325"/>
              <a:gd name="connsiteY0" fmla="*/ 3876675 h 3876675"/>
              <a:gd name="connsiteX1" fmla="*/ 600075 w 7680325"/>
              <a:gd name="connsiteY1" fmla="*/ 3876675 h 3876675"/>
              <a:gd name="connsiteX2" fmla="*/ 1047750 w 7680325"/>
              <a:gd name="connsiteY2" fmla="*/ 3333750 h 3876675"/>
              <a:gd name="connsiteX3" fmla="*/ 1590675 w 7680325"/>
              <a:gd name="connsiteY3" fmla="*/ 3333750 h 3876675"/>
              <a:gd name="connsiteX4" fmla="*/ 2076450 w 7680325"/>
              <a:gd name="connsiteY4" fmla="*/ 2762250 h 3876675"/>
              <a:gd name="connsiteX5" fmla="*/ 2619375 w 7680325"/>
              <a:gd name="connsiteY5" fmla="*/ 2762250 h 3876675"/>
              <a:gd name="connsiteX6" fmla="*/ 3105150 w 7680325"/>
              <a:gd name="connsiteY6" fmla="*/ 2190750 h 3876675"/>
              <a:gd name="connsiteX7" fmla="*/ 3638550 w 7680325"/>
              <a:gd name="connsiteY7" fmla="*/ 2190750 h 3876675"/>
              <a:gd name="connsiteX8" fmla="*/ 4105275 w 7680325"/>
              <a:gd name="connsiteY8" fmla="*/ 1647825 h 3876675"/>
              <a:gd name="connsiteX9" fmla="*/ 4619625 w 7680325"/>
              <a:gd name="connsiteY9" fmla="*/ 1647825 h 3876675"/>
              <a:gd name="connsiteX10" fmla="*/ 5116350 w 7680325"/>
              <a:gd name="connsiteY10" fmla="*/ 1100096 h 3876675"/>
              <a:gd name="connsiteX11" fmla="*/ 5632125 w 7680325"/>
              <a:gd name="connsiteY11" fmla="*/ 1092144 h 3876675"/>
              <a:gd name="connsiteX12" fmla="*/ 6143625 w 7680325"/>
              <a:gd name="connsiteY12" fmla="*/ 542925 h 3876675"/>
              <a:gd name="connsiteX13" fmla="*/ 6677025 w 7680325"/>
              <a:gd name="connsiteY13" fmla="*/ 542925 h 3876675"/>
              <a:gd name="connsiteX14" fmla="*/ 7153275 w 7680325"/>
              <a:gd name="connsiteY14" fmla="*/ 0 h 3876675"/>
              <a:gd name="connsiteX15" fmla="*/ 7680325 w 7680325"/>
              <a:gd name="connsiteY15" fmla="*/ 0 h 3876675"/>
              <a:gd name="connsiteX0" fmla="*/ 0 w 7680325"/>
              <a:gd name="connsiteY0" fmla="*/ 3876675 h 3876675"/>
              <a:gd name="connsiteX1" fmla="*/ 600075 w 7680325"/>
              <a:gd name="connsiteY1" fmla="*/ 3876675 h 3876675"/>
              <a:gd name="connsiteX2" fmla="*/ 1047750 w 7680325"/>
              <a:gd name="connsiteY2" fmla="*/ 3333750 h 3876675"/>
              <a:gd name="connsiteX3" fmla="*/ 1590675 w 7680325"/>
              <a:gd name="connsiteY3" fmla="*/ 3333750 h 3876675"/>
              <a:gd name="connsiteX4" fmla="*/ 2076450 w 7680325"/>
              <a:gd name="connsiteY4" fmla="*/ 2762250 h 3876675"/>
              <a:gd name="connsiteX5" fmla="*/ 2619375 w 7680325"/>
              <a:gd name="connsiteY5" fmla="*/ 2762250 h 3876675"/>
              <a:gd name="connsiteX6" fmla="*/ 3105150 w 7680325"/>
              <a:gd name="connsiteY6" fmla="*/ 2190750 h 3876675"/>
              <a:gd name="connsiteX7" fmla="*/ 3638550 w 7680325"/>
              <a:gd name="connsiteY7" fmla="*/ 2190750 h 3876675"/>
              <a:gd name="connsiteX8" fmla="*/ 4105275 w 7680325"/>
              <a:gd name="connsiteY8" fmla="*/ 1647825 h 3876675"/>
              <a:gd name="connsiteX9" fmla="*/ 4619625 w 7680325"/>
              <a:gd name="connsiteY9" fmla="*/ 1647825 h 3876675"/>
              <a:gd name="connsiteX10" fmla="*/ 5116350 w 7680325"/>
              <a:gd name="connsiteY10" fmla="*/ 1100096 h 3876675"/>
              <a:gd name="connsiteX11" fmla="*/ 5656426 w 7680325"/>
              <a:gd name="connsiteY11" fmla="*/ 1092144 h 3876675"/>
              <a:gd name="connsiteX12" fmla="*/ 6143625 w 7680325"/>
              <a:gd name="connsiteY12" fmla="*/ 542925 h 3876675"/>
              <a:gd name="connsiteX13" fmla="*/ 6677025 w 7680325"/>
              <a:gd name="connsiteY13" fmla="*/ 542925 h 3876675"/>
              <a:gd name="connsiteX14" fmla="*/ 7153275 w 7680325"/>
              <a:gd name="connsiteY14" fmla="*/ 0 h 3876675"/>
              <a:gd name="connsiteX15" fmla="*/ 7680325 w 7680325"/>
              <a:gd name="connsiteY15" fmla="*/ 0 h 387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80325" h="3876675">
                <a:moveTo>
                  <a:pt x="0" y="3876675"/>
                </a:moveTo>
                <a:lnTo>
                  <a:pt x="600075" y="3876675"/>
                </a:lnTo>
                <a:lnTo>
                  <a:pt x="1047750" y="3333750"/>
                </a:lnTo>
                <a:lnTo>
                  <a:pt x="1590675" y="3333750"/>
                </a:lnTo>
                <a:lnTo>
                  <a:pt x="2076450" y="2762250"/>
                </a:lnTo>
                <a:lnTo>
                  <a:pt x="2619375" y="2762250"/>
                </a:lnTo>
                <a:lnTo>
                  <a:pt x="3105150" y="2190750"/>
                </a:lnTo>
                <a:lnTo>
                  <a:pt x="3638550" y="2190750"/>
                </a:lnTo>
                <a:lnTo>
                  <a:pt x="4105275" y="1647825"/>
                </a:lnTo>
                <a:lnTo>
                  <a:pt x="4619625" y="1647825"/>
                </a:lnTo>
                <a:lnTo>
                  <a:pt x="5116350" y="1100096"/>
                </a:lnTo>
                <a:lnTo>
                  <a:pt x="5656426" y="1092144"/>
                </a:lnTo>
                <a:lnTo>
                  <a:pt x="6143625" y="542925"/>
                </a:lnTo>
                <a:lnTo>
                  <a:pt x="6677025" y="542925"/>
                </a:lnTo>
                <a:lnTo>
                  <a:pt x="7153275" y="0"/>
                </a:lnTo>
                <a:lnTo>
                  <a:pt x="7680325" y="0"/>
                </a:lnTo>
              </a:path>
            </a:pathLst>
          </a:custGeom>
          <a:noFill/>
          <a:ln w="2857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p>
        </p:txBody>
      </p:sp>
      <p:sp>
        <p:nvSpPr>
          <p:cNvPr id="6" name="Ellipse 5">
            <a:extLst>
              <a:ext uri="{FF2B5EF4-FFF2-40B4-BE49-F238E27FC236}">
                <a16:creationId xmlns:a16="http://schemas.microsoft.com/office/drawing/2014/main" id="{2DB4863D-45E0-4AAB-BC66-675F0AA1A2C9}"/>
              </a:ext>
            </a:extLst>
          </p:cNvPr>
          <p:cNvSpPr/>
          <p:nvPr/>
        </p:nvSpPr>
        <p:spPr bwMode="gray">
          <a:xfrm>
            <a:off x="7536160" y="3541906"/>
            <a:ext cx="110976" cy="110976"/>
          </a:xfrm>
          <a:prstGeom prst="ellipse">
            <a:avLst/>
          </a:prstGeom>
          <a:solidFill>
            <a:schemeClr val="bg1"/>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endParaRPr>
          </a:p>
        </p:txBody>
      </p:sp>
      <p:sp>
        <p:nvSpPr>
          <p:cNvPr id="8" name="Ellipse 7">
            <a:extLst>
              <a:ext uri="{FF2B5EF4-FFF2-40B4-BE49-F238E27FC236}">
                <a16:creationId xmlns:a16="http://schemas.microsoft.com/office/drawing/2014/main" id="{27E507CE-E22D-4018-9404-46F0265A721D}"/>
              </a:ext>
            </a:extLst>
          </p:cNvPr>
          <p:cNvSpPr/>
          <p:nvPr/>
        </p:nvSpPr>
        <p:spPr bwMode="gray">
          <a:xfrm>
            <a:off x="8863831" y="3149514"/>
            <a:ext cx="110976" cy="110976"/>
          </a:xfrm>
          <a:prstGeom prst="ellipse">
            <a:avLst/>
          </a:prstGeom>
          <a:solidFill>
            <a:schemeClr val="bg1"/>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endParaRPr>
          </a:p>
        </p:txBody>
      </p:sp>
      <p:sp>
        <p:nvSpPr>
          <p:cNvPr id="10" name="Ellipse 9">
            <a:extLst>
              <a:ext uri="{FF2B5EF4-FFF2-40B4-BE49-F238E27FC236}">
                <a16:creationId xmlns:a16="http://schemas.microsoft.com/office/drawing/2014/main" id="{F1C76AA8-BD56-47B4-8F23-339F09384A18}"/>
              </a:ext>
            </a:extLst>
          </p:cNvPr>
          <p:cNvSpPr/>
          <p:nvPr/>
        </p:nvSpPr>
        <p:spPr bwMode="gray">
          <a:xfrm>
            <a:off x="10181883" y="2689100"/>
            <a:ext cx="110976" cy="110976"/>
          </a:xfrm>
          <a:prstGeom prst="ellipse">
            <a:avLst/>
          </a:prstGeom>
          <a:solidFill>
            <a:schemeClr val="bg1"/>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endParaRPr>
          </a:p>
        </p:txBody>
      </p:sp>
      <p:sp>
        <p:nvSpPr>
          <p:cNvPr id="12" name="Ellipse 11">
            <a:extLst>
              <a:ext uri="{FF2B5EF4-FFF2-40B4-BE49-F238E27FC236}">
                <a16:creationId xmlns:a16="http://schemas.microsoft.com/office/drawing/2014/main" id="{6E827157-7CF7-4DBD-930A-58FF8E7A19E8}"/>
              </a:ext>
            </a:extLst>
          </p:cNvPr>
          <p:cNvSpPr/>
          <p:nvPr/>
        </p:nvSpPr>
        <p:spPr bwMode="gray">
          <a:xfrm>
            <a:off x="6242896" y="3986529"/>
            <a:ext cx="110976" cy="110976"/>
          </a:xfrm>
          <a:prstGeom prst="ellipse">
            <a:avLst/>
          </a:prstGeom>
          <a:solidFill>
            <a:schemeClr val="bg1"/>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endParaRPr>
          </a:p>
        </p:txBody>
      </p:sp>
      <p:sp>
        <p:nvSpPr>
          <p:cNvPr id="14" name="Ellipse 13">
            <a:extLst>
              <a:ext uri="{FF2B5EF4-FFF2-40B4-BE49-F238E27FC236}">
                <a16:creationId xmlns:a16="http://schemas.microsoft.com/office/drawing/2014/main" id="{A22192BD-6AE4-4FDC-96E4-4D5BFD4731FA}"/>
              </a:ext>
            </a:extLst>
          </p:cNvPr>
          <p:cNvSpPr/>
          <p:nvPr/>
        </p:nvSpPr>
        <p:spPr bwMode="gray">
          <a:xfrm>
            <a:off x="4948559" y="4417118"/>
            <a:ext cx="110976" cy="110976"/>
          </a:xfrm>
          <a:prstGeom prst="ellipse">
            <a:avLst/>
          </a:prstGeom>
          <a:solidFill>
            <a:schemeClr val="bg1"/>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endParaRPr>
          </a:p>
        </p:txBody>
      </p:sp>
      <p:sp>
        <p:nvSpPr>
          <p:cNvPr id="16" name="Ellipse 15">
            <a:extLst>
              <a:ext uri="{FF2B5EF4-FFF2-40B4-BE49-F238E27FC236}">
                <a16:creationId xmlns:a16="http://schemas.microsoft.com/office/drawing/2014/main" id="{10099E52-8A07-42A8-A6F0-17840F55DF95}"/>
              </a:ext>
            </a:extLst>
          </p:cNvPr>
          <p:cNvSpPr/>
          <p:nvPr/>
        </p:nvSpPr>
        <p:spPr bwMode="gray">
          <a:xfrm>
            <a:off x="3641241" y="4854548"/>
            <a:ext cx="110976" cy="110976"/>
          </a:xfrm>
          <a:prstGeom prst="ellipse">
            <a:avLst/>
          </a:prstGeom>
          <a:solidFill>
            <a:schemeClr val="bg1"/>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endParaRPr>
          </a:p>
        </p:txBody>
      </p:sp>
      <p:sp>
        <p:nvSpPr>
          <p:cNvPr id="18" name="Ellipse 17">
            <a:extLst>
              <a:ext uri="{FF2B5EF4-FFF2-40B4-BE49-F238E27FC236}">
                <a16:creationId xmlns:a16="http://schemas.microsoft.com/office/drawing/2014/main" id="{A7F50A45-6322-4B02-A869-6FC3B60F2217}"/>
              </a:ext>
            </a:extLst>
          </p:cNvPr>
          <p:cNvSpPr/>
          <p:nvPr/>
        </p:nvSpPr>
        <p:spPr bwMode="gray">
          <a:xfrm>
            <a:off x="2350980" y="5281430"/>
            <a:ext cx="110976" cy="110976"/>
          </a:xfrm>
          <a:prstGeom prst="ellipse">
            <a:avLst/>
          </a:prstGeom>
          <a:solidFill>
            <a:schemeClr val="bg1"/>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endParaRPr>
          </a:p>
        </p:txBody>
      </p:sp>
      <p:sp>
        <p:nvSpPr>
          <p:cNvPr id="22" name="Textfeld 21">
            <a:extLst>
              <a:ext uri="{FF2B5EF4-FFF2-40B4-BE49-F238E27FC236}">
                <a16:creationId xmlns:a16="http://schemas.microsoft.com/office/drawing/2014/main" id="{31D0E7C1-646E-476F-A335-671823EC7D15}"/>
              </a:ext>
            </a:extLst>
          </p:cNvPr>
          <p:cNvSpPr txBox="1"/>
          <p:nvPr>
            <p:custDataLst>
              <p:tags r:id="rId2"/>
            </p:custDataLst>
          </p:nvPr>
        </p:nvSpPr>
        <p:spPr bwMode="gray">
          <a:xfrm>
            <a:off x="8290730" y="2675335"/>
            <a:ext cx="684077" cy="324036"/>
          </a:xfrm>
          <a:prstGeom prst="wedgeRectCallout">
            <a:avLst>
              <a:gd name="adj1" fmla="val 31521"/>
              <a:gd name="adj2" fmla="val 88367"/>
            </a:avLst>
          </a:prstGeom>
          <a:solidFill>
            <a:schemeClr val="bg2"/>
          </a:solidFill>
          <a:ln>
            <a:noFill/>
          </a:ln>
          <a:effectLst/>
        </p:spPr>
        <p:txBody>
          <a:bodyPr vert="horz" wrap="square" lIns="108000" tIns="72000" rIns="108000" bIns="72000" rtlCol="0" anchor="ctr" anchorCtr="0">
            <a:noAutofit/>
          </a:bodyPr>
          <a:lstStyle>
            <a:defPPr>
              <a:defRPr lang="en-US"/>
            </a:defPPr>
            <a:lvl1pPr>
              <a:spcAft>
                <a:spcPts val="300"/>
              </a:spcAft>
              <a:buSzPct val="100000"/>
              <a:defRPr sz="1600" b="1">
                <a:latin typeface="Arial"/>
              </a:defRPr>
            </a:lvl1pPr>
            <a:lvl2pPr marL="0" lvl="1">
              <a:spcAft>
                <a:spcPts val="300"/>
              </a:spcAft>
              <a:buSzPct val="100000"/>
              <a:defRPr sz="1600">
                <a:latin typeface="Arial"/>
              </a:defRPr>
            </a:lvl2pPr>
            <a:lvl3pPr marL="182563" lvl="2" indent="-182563">
              <a:spcAft>
                <a:spcPts val="300"/>
              </a:spcAft>
              <a:buSzPct val="100000"/>
              <a:buFont typeface="Arial"/>
              <a:buChar char="•"/>
              <a:defRPr sz="1600">
                <a:latin typeface="Arial"/>
              </a:defRPr>
            </a:lvl3pPr>
          </a:lstStyle>
          <a:p>
            <a:r>
              <a:rPr lang="en-US" dirty="0">
                <a:latin typeface="+mn-lt"/>
              </a:rPr>
              <a:t>XX%</a:t>
            </a:r>
          </a:p>
        </p:txBody>
      </p:sp>
      <p:sp>
        <p:nvSpPr>
          <p:cNvPr id="23" name="Textfeld 22">
            <a:extLst>
              <a:ext uri="{FF2B5EF4-FFF2-40B4-BE49-F238E27FC236}">
                <a16:creationId xmlns:a16="http://schemas.microsoft.com/office/drawing/2014/main" id="{17C09E2B-3F60-4A81-AE55-2BDD9259DE28}"/>
              </a:ext>
            </a:extLst>
          </p:cNvPr>
          <p:cNvSpPr txBox="1"/>
          <p:nvPr>
            <p:custDataLst>
              <p:tags r:id="rId3"/>
            </p:custDataLst>
          </p:nvPr>
        </p:nvSpPr>
        <p:spPr bwMode="gray">
          <a:xfrm>
            <a:off x="6960891" y="3068960"/>
            <a:ext cx="684077" cy="324036"/>
          </a:xfrm>
          <a:prstGeom prst="wedgeRectCallout">
            <a:avLst>
              <a:gd name="adj1" fmla="val 31521"/>
              <a:gd name="adj2" fmla="val 88367"/>
            </a:avLst>
          </a:prstGeom>
          <a:solidFill>
            <a:schemeClr val="bg2"/>
          </a:solidFill>
          <a:ln>
            <a:noFill/>
          </a:ln>
          <a:effectLst/>
        </p:spPr>
        <p:txBody>
          <a:bodyPr vert="horz" wrap="square" lIns="108000" tIns="72000" rIns="108000" bIns="72000" rtlCol="0" anchor="ctr" anchorCtr="0">
            <a:noAutofit/>
          </a:bodyPr>
          <a:lstStyle>
            <a:defPPr>
              <a:defRPr lang="en-US"/>
            </a:defPPr>
            <a:lvl1pPr>
              <a:spcAft>
                <a:spcPts val="300"/>
              </a:spcAft>
              <a:buSzPct val="100000"/>
              <a:defRPr sz="1600" b="1">
                <a:latin typeface="Arial"/>
              </a:defRPr>
            </a:lvl1pPr>
            <a:lvl2pPr marL="0" lvl="1">
              <a:spcAft>
                <a:spcPts val="300"/>
              </a:spcAft>
              <a:buSzPct val="100000"/>
              <a:defRPr sz="1600">
                <a:latin typeface="Arial"/>
              </a:defRPr>
            </a:lvl2pPr>
            <a:lvl3pPr marL="182563" lvl="2" indent="-182563">
              <a:spcAft>
                <a:spcPts val="300"/>
              </a:spcAft>
              <a:buSzPct val="100000"/>
              <a:buFont typeface="Arial"/>
              <a:buChar char="•"/>
              <a:defRPr sz="1600">
                <a:latin typeface="Arial"/>
              </a:defRPr>
            </a:lvl3pPr>
          </a:lstStyle>
          <a:p>
            <a:r>
              <a:rPr lang="en-US" dirty="0">
                <a:latin typeface="+mn-lt"/>
              </a:rPr>
              <a:t>XX%</a:t>
            </a:r>
          </a:p>
        </p:txBody>
      </p:sp>
      <p:sp>
        <p:nvSpPr>
          <p:cNvPr id="24" name="Textfeld 23">
            <a:extLst>
              <a:ext uri="{FF2B5EF4-FFF2-40B4-BE49-F238E27FC236}">
                <a16:creationId xmlns:a16="http://schemas.microsoft.com/office/drawing/2014/main" id="{53EC3425-98C7-4C76-B8C4-21C4CE48E313}"/>
              </a:ext>
            </a:extLst>
          </p:cNvPr>
          <p:cNvSpPr txBox="1"/>
          <p:nvPr>
            <p:custDataLst>
              <p:tags r:id="rId4"/>
            </p:custDataLst>
          </p:nvPr>
        </p:nvSpPr>
        <p:spPr bwMode="gray">
          <a:xfrm>
            <a:off x="5669795" y="3501008"/>
            <a:ext cx="684077" cy="324036"/>
          </a:xfrm>
          <a:prstGeom prst="wedgeRectCallout">
            <a:avLst>
              <a:gd name="adj1" fmla="val 31521"/>
              <a:gd name="adj2" fmla="val 88367"/>
            </a:avLst>
          </a:prstGeom>
          <a:solidFill>
            <a:schemeClr val="bg2"/>
          </a:solidFill>
          <a:ln>
            <a:noFill/>
          </a:ln>
          <a:effectLst/>
        </p:spPr>
        <p:txBody>
          <a:bodyPr vert="horz" wrap="square" lIns="108000" tIns="72000" rIns="108000" bIns="72000" rtlCol="0" anchor="ctr" anchorCtr="0">
            <a:noAutofit/>
          </a:bodyPr>
          <a:lstStyle>
            <a:defPPr>
              <a:defRPr lang="en-US"/>
            </a:defPPr>
            <a:lvl1pPr>
              <a:spcAft>
                <a:spcPts val="300"/>
              </a:spcAft>
              <a:buSzPct val="100000"/>
              <a:defRPr sz="1600" b="1">
                <a:latin typeface="Arial"/>
              </a:defRPr>
            </a:lvl1pPr>
            <a:lvl2pPr marL="0" lvl="1">
              <a:spcAft>
                <a:spcPts val="300"/>
              </a:spcAft>
              <a:buSzPct val="100000"/>
              <a:defRPr sz="1600">
                <a:latin typeface="Arial"/>
              </a:defRPr>
            </a:lvl2pPr>
            <a:lvl3pPr marL="182563" lvl="2" indent="-182563">
              <a:spcAft>
                <a:spcPts val="300"/>
              </a:spcAft>
              <a:buSzPct val="100000"/>
              <a:buFont typeface="Arial"/>
              <a:buChar char="•"/>
              <a:defRPr sz="1600">
                <a:latin typeface="Arial"/>
              </a:defRPr>
            </a:lvl3pPr>
          </a:lstStyle>
          <a:p>
            <a:r>
              <a:rPr lang="en-US" dirty="0">
                <a:latin typeface="+mn-lt"/>
              </a:rPr>
              <a:t>XX%</a:t>
            </a:r>
          </a:p>
        </p:txBody>
      </p:sp>
      <p:sp>
        <p:nvSpPr>
          <p:cNvPr id="25" name="Textfeld 24">
            <a:extLst>
              <a:ext uri="{FF2B5EF4-FFF2-40B4-BE49-F238E27FC236}">
                <a16:creationId xmlns:a16="http://schemas.microsoft.com/office/drawing/2014/main" id="{EDF49D24-32EA-4667-8338-F6B33F9162D9}"/>
              </a:ext>
            </a:extLst>
          </p:cNvPr>
          <p:cNvSpPr txBox="1"/>
          <p:nvPr>
            <p:custDataLst>
              <p:tags r:id="rId5"/>
            </p:custDataLst>
          </p:nvPr>
        </p:nvSpPr>
        <p:spPr bwMode="gray">
          <a:xfrm>
            <a:off x="4378699" y="3933056"/>
            <a:ext cx="684077" cy="324036"/>
          </a:xfrm>
          <a:prstGeom prst="wedgeRectCallout">
            <a:avLst>
              <a:gd name="adj1" fmla="val 31521"/>
              <a:gd name="adj2" fmla="val 88367"/>
            </a:avLst>
          </a:prstGeom>
          <a:solidFill>
            <a:schemeClr val="bg2"/>
          </a:solidFill>
          <a:ln>
            <a:noFill/>
          </a:ln>
          <a:effectLst/>
        </p:spPr>
        <p:txBody>
          <a:bodyPr vert="horz" wrap="square" lIns="108000" tIns="72000" rIns="108000" bIns="72000" rtlCol="0" anchor="ctr" anchorCtr="0">
            <a:noAutofit/>
          </a:bodyPr>
          <a:lstStyle>
            <a:defPPr>
              <a:defRPr lang="en-US"/>
            </a:defPPr>
            <a:lvl1pPr>
              <a:spcAft>
                <a:spcPts val="300"/>
              </a:spcAft>
              <a:buSzPct val="100000"/>
              <a:defRPr sz="1600" b="1">
                <a:latin typeface="Arial"/>
              </a:defRPr>
            </a:lvl1pPr>
            <a:lvl2pPr marL="0" lvl="1">
              <a:spcAft>
                <a:spcPts val="300"/>
              </a:spcAft>
              <a:buSzPct val="100000"/>
              <a:defRPr sz="1600">
                <a:latin typeface="Arial"/>
              </a:defRPr>
            </a:lvl2pPr>
            <a:lvl3pPr marL="182563" lvl="2" indent="-182563">
              <a:spcAft>
                <a:spcPts val="300"/>
              </a:spcAft>
              <a:buSzPct val="100000"/>
              <a:buFont typeface="Arial"/>
              <a:buChar char="•"/>
              <a:defRPr sz="1600">
                <a:latin typeface="Arial"/>
              </a:defRPr>
            </a:lvl3pPr>
          </a:lstStyle>
          <a:p>
            <a:r>
              <a:rPr lang="en-US" dirty="0">
                <a:latin typeface="+mn-lt"/>
              </a:rPr>
              <a:t>XX%</a:t>
            </a:r>
          </a:p>
        </p:txBody>
      </p:sp>
      <p:sp>
        <p:nvSpPr>
          <p:cNvPr id="26" name="Textfeld 25">
            <a:extLst>
              <a:ext uri="{FF2B5EF4-FFF2-40B4-BE49-F238E27FC236}">
                <a16:creationId xmlns:a16="http://schemas.microsoft.com/office/drawing/2014/main" id="{F9F3F07E-F954-41A8-ADB8-71597C4F7089}"/>
              </a:ext>
            </a:extLst>
          </p:cNvPr>
          <p:cNvSpPr txBox="1"/>
          <p:nvPr>
            <p:custDataLst>
              <p:tags r:id="rId6"/>
            </p:custDataLst>
          </p:nvPr>
        </p:nvSpPr>
        <p:spPr bwMode="gray">
          <a:xfrm>
            <a:off x="3087603" y="4365104"/>
            <a:ext cx="684077" cy="324036"/>
          </a:xfrm>
          <a:prstGeom prst="wedgeRectCallout">
            <a:avLst>
              <a:gd name="adj1" fmla="val 31521"/>
              <a:gd name="adj2" fmla="val 88367"/>
            </a:avLst>
          </a:prstGeom>
          <a:solidFill>
            <a:schemeClr val="bg2"/>
          </a:solidFill>
          <a:ln>
            <a:noFill/>
          </a:ln>
          <a:effectLst/>
        </p:spPr>
        <p:txBody>
          <a:bodyPr vert="horz" wrap="square" lIns="108000" tIns="72000" rIns="108000" bIns="72000" rtlCol="0" anchor="ctr" anchorCtr="0">
            <a:noAutofit/>
          </a:bodyPr>
          <a:lstStyle>
            <a:defPPr>
              <a:defRPr lang="en-US"/>
            </a:defPPr>
            <a:lvl1pPr>
              <a:spcAft>
                <a:spcPts val="300"/>
              </a:spcAft>
              <a:buSzPct val="100000"/>
              <a:defRPr sz="1600" b="1">
                <a:latin typeface="Arial"/>
              </a:defRPr>
            </a:lvl1pPr>
            <a:lvl2pPr marL="0" lvl="1">
              <a:spcAft>
                <a:spcPts val="300"/>
              </a:spcAft>
              <a:buSzPct val="100000"/>
              <a:defRPr sz="1600">
                <a:latin typeface="Arial"/>
              </a:defRPr>
            </a:lvl2pPr>
            <a:lvl3pPr marL="182563" lvl="2" indent="-182563">
              <a:spcAft>
                <a:spcPts val="300"/>
              </a:spcAft>
              <a:buSzPct val="100000"/>
              <a:buFont typeface="Arial"/>
              <a:buChar char="•"/>
              <a:defRPr sz="1600">
                <a:latin typeface="Arial"/>
              </a:defRPr>
            </a:lvl3pPr>
          </a:lstStyle>
          <a:p>
            <a:r>
              <a:rPr lang="en-US" dirty="0">
                <a:latin typeface="+mn-lt"/>
              </a:rPr>
              <a:t>XX%</a:t>
            </a:r>
          </a:p>
        </p:txBody>
      </p:sp>
      <p:sp>
        <p:nvSpPr>
          <p:cNvPr id="27" name="Textfeld 26">
            <a:extLst>
              <a:ext uri="{FF2B5EF4-FFF2-40B4-BE49-F238E27FC236}">
                <a16:creationId xmlns:a16="http://schemas.microsoft.com/office/drawing/2014/main" id="{8FC13632-AF80-41F5-8A02-1CB2D1D9F0CA}"/>
              </a:ext>
            </a:extLst>
          </p:cNvPr>
          <p:cNvSpPr txBox="1"/>
          <p:nvPr>
            <p:custDataLst>
              <p:tags r:id="rId7"/>
            </p:custDataLst>
          </p:nvPr>
        </p:nvSpPr>
        <p:spPr bwMode="gray">
          <a:xfrm>
            <a:off x="1796507" y="4797152"/>
            <a:ext cx="684077" cy="324036"/>
          </a:xfrm>
          <a:prstGeom prst="wedgeRectCallout">
            <a:avLst>
              <a:gd name="adj1" fmla="val 31521"/>
              <a:gd name="adj2" fmla="val 88367"/>
            </a:avLst>
          </a:prstGeom>
          <a:solidFill>
            <a:schemeClr val="bg2"/>
          </a:solidFill>
          <a:ln>
            <a:noFill/>
          </a:ln>
          <a:effectLst/>
        </p:spPr>
        <p:txBody>
          <a:bodyPr vert="horz" wrap="square" lIns="108000" tIns="72000" rIns="108000" bIns="72000" rtlCol="0" anchor="ctr" anchorCtr="0">
            <a:noAutofit/>
          </a:bodyPr>
          <a:lstStyle>
            <a:defPPr>
              <a:defRPr lang="en-US"/>
            </a:defPPr>
            <a:lvl1pPr>
              <a:spcAft>
                <a:spcPts val="300"/>
              </a:spcAft>
              <a:buSzPct val="100000"/>
              <a:defRPr sz="1600" b="1">
                <a:latin typeface="Arial"/>
              </a:defRPr>
            </a:lvl1pPr>
            <a:lvl2pPr marL="0" lvl="1">
              <a:spcAft>
                <a:spcPts val="300"/>
              </a:spcAft>
              <a:buSzPct val="100000"/>
              <a:defRPr sz="1600">
                <a:latin typeface="Arial"/>
              </a:defRPr>
            </a:lvl2pPr>
            <a:lvl3pPr marL="182563" lvl="2" indent="-182563">
              <a:spcAft>
                <a:spcPts val="300"/>
              </a:spcAft>
              <a:buSzPct val="100000"/>
              <a:buFont typeface="Arial"/>
              <a:buChar char="•"/>
              <a:defRPr sz="1600">
                <a:latin typeface="Arial"/>
              </a:defRPr>
            </a:lvl3pPr>
          </a:lstStyle>
          <a:p>
            <a:r>
              <a:rPr lang="en-US" dirty="0">
                <a:latin typeface="+mn-lt"/>
              </a:rPr>
              <a:t>XX%</a:t>
            </a:r>
          </a:p>
        </p:txBody>
      </p:sp>
      <p:sp>
        <p:nvSpPr>
          <p:cNvPr id="4" name="Fußzeilenplatzhalter 3">
            <a:extLst>
              <a:ext uri="{FF2B5EF4-FFF2-40B4-BE49-F238E27FC236}">
                <a16:creationId xmlns:a16="http://schemas.microsoft.com/office/drawing/2014/main" id="{EE95ADCE-F51D-4816-986B-DE2958904235}"/>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F7A2E173-8935-4F2A-84B5-E93E8A8DCB57}"/>
              </a:ext>
            </a:extLst>
          </p:cNvPr>
          <p:cNvSpPr>
            <a:spLocks noGrp="1"/>
          </p:cNvSpPr>
          <p:nvPr>
            <p:ph type="sldNum" sz="quarter" idx="12"/>
          </p:nvPr>
        </p:nvSpPr>
        <p:spPr/>
        <p:txBody>
          <a:bodyPr/>
          <a:lstStyle/>
          <a:p>
            <a:fld id="{CE82B8A1-0CCE-4815-9668-383D7DE7D8B4}" type="slidenum">
              <a:rPr lang="en-US" noProof="0" smtClean="0"/>
              <a:t>50</a:t>
            </a:fld>
            <a:endParaRPr lang="en-US" noProof="0" dirty="0"/>
          </a:p>
        </p:txBody>
      </p:sp>
    </p:spTree>
    <p:extLst>
      <p:ext uri="{BB962C8B-B14F-4D97-AF65-F5344CB8AC3E}">
        <p14:creationId xmlns:p14="http://schemas.microsoft.com/office/powerpoint/2010/main" val="19286110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5DC0A9-3E04-45CF-9BC1-35F925C5D275}"/>
              </a:ext>
            </a:extLst>
          </p:cNvPr>
          <p:cNvSpPr>
            <a:spLocks noGrp="1"/>
          </p:cNvSpPr>
          <p:nvPr>
            <p:ph type="title"/>
          </p:nvPr>
        </p:nvSpPr>
        <p:spPr bwMode="gray"/>
        <p:txBody>
          <a:bodyPr/>
          <a:lstStyle/>
          <a:p>
            <a:r>
              <a:rPr lang="en-US" dirty="0"/>
              <a:t>World map with highlighting</a:t>
            </a:r>
            <a:br>
              <a:rPr lang="en-US" dirty="0"/>
            </a:br>
            <a:r>
              <a:rPr lang="en-US" dirty="0"/>
              <a:t>and diagrams</a:t>
            </a:r>
          </a:p>
        </p:txBody>
      </p:sp>
      <p:grpSp>
        <p:nvGrpSpPr>
          <p:cNvPr id="227" name="Gruppieren 226">
            <a:extLst>
              <a:ext uri="{FF2B5EF4-FFF2-40B4-BE49-F238E27FC236}">
                <a16:creationId xmlns:a16="http://schemas.microsoft.com/office/drawing/2014/main" id="{D45389BB-C317-4C58-B43A-1E51E65ADE40}"/>
              </a:ext>
            </a:extLst>
          </p:cNvPr>
          <p:cNvGrpSpPr/>
          <p:nvPr/>
        </p:nvGrpSpPr>
        <p:grpSpPr bwMode="gray">
          <a:xfrm>
            <a:off x="1483996" y="1844824"/>
            <a:ext cx="9292524" cy="4533832"/>
            <a:chOff x="107380" y="1753200"/>
            <a:chExt cx="8748000" cy="4268160"/>
          </a:xfrm>
          <a:solidFill>
            <a:schemeClr val="bg2"/>
          </a:solidFill>
        </p:grpSpPr>
        <p:sp>
          <p:nvSpPr>
            <p:cNvPr id="228" name="Alaska" descr="© INSCALE GmbH, 05.05.2010&#10;http://www.presentationload.com/">
              <a:extLst>
                <a:ext uri="{FF2B5EF4-FFF2-40B4-BE49-F238E27FC236}">
                  <a16:creationId xmlns:a16="http://schemas.microsoft.com/office/drawing/2014/main" id="{40E6B1D0-4544-44A8-96F9-9E9397733D8C}"/>
                </a:ext>
              </a:extLst>
            </p:cNvPr>
            <p:cNvSpPr>
              <a:spLocks noEditPoints="1"/>
            </p:cNvSpPr>
            <p:nvPr/>
          </p:nvSpPr>
          <p:spPr bwMode="gray">
            <a:xfrm>
              <a:off x="107380" y="2038580"/>
              <a:ext cx="1221490" cy="528423"/>
            </a:xfrm>
            <a:custGeom>
              <a:avLst/>
              <a:gdLst>
                <a:gd name="T0" fmla="*/ 2147483647 w 3072"/>
                <a:gd name="T1" fmla="*/ 2147483647 h 1332"/>
                <a:gd name="T2" fmla="*/ 2147483647 w 3072"/>
                <a:gd name="T3" fmla="*/ 2147483647 h 1332"/>
                <a:gd name="T4" fmla="*/ 2147483647 w 3072"/>
                <a:gd name="T5" fmla="*/ 2147483647 h 1332"/>
                <a:gd name="T6" fmla="*/ 2147483647 w 3072"/>
                <a:gd name="T7" fmla="*/ 2147483647 h 1332"/>
                <a:gd name="T8" fmla="*/ 2147483647 w 3072"/>
                <a:gd name="T9" fmla="*/ 2147483647 h 1332"/>
                <a:gd name="T10" fmla="*/ 2147483647 w 3072"/>
                <a:gd name="T11" fmla="*/ 2147483647 h 1332"/>
                <a:gd name="T12" fmla="*/ 2147483647 w 3072"/>
                <a:gd name="T13" fmla="*/ 2147483647 h 1332"/>
                <a:gd name="T14" fmla="*/ 2147483647 w 3072"/>
                <a:gd name="T15" fmla="*/ 2147483647 h 1332"/>
                <a:gd name="T16" fmla="*/ 2147483647 w 3072"/>
                <a:gd name="T17" fmla="*/ 2147483647 h 1332"/>
                <a:gd name="T18" fmla="*/ 2147483647 w 3072"/>
                <a:gd name="T19" fmla="*/ 2147483647 h 1332"/>
                <a:gd name="T20" fmla="*/ 2147483647 w 3072"/>
                <a:gd name="T21" fmla="*/ 2147483647 h 1332"/>
                <a:gd name="T22" fmla="*/ 2147483647 w 3072"/>
                <a:gd name="T23" fmla="*/ 0 h 1332"/>
                <a:gd name="T24" fmla="*/ 2147483647 w 3072"/>
                <a:gd name="T25" fmla="*/ 2147483647 h 1332"/>
                <a:gd name="T26" fmla="*/ 2147483647 w 3072"/>
                <a:gd name="T27" fmla="*/ 2147483647 h 1332"/>
                <a:gd name="T28" fmla="*/ 2147483647 w 3072"/>
                <a:gd name="T29" fmla="*/ 2147483647 h 1332"/>
                <a:gd name="T30" fmla="*/ 2147483647 w 3072"/>
                <a:gd name="T31" fmla="*/ 2147483647 h 1332"/>
                <a:gd name="T32" fmla="*/ 2147483647 w 3072"/>
                <a:gd name="T33" fmla="*/ 2147483647 h 1332"/>
                <a:gd name="T34" fmla="*/ 2147483647 w 3072"/>
                <a:gd name="T35" fmla="*/ 2147483647 h 1332"/>
                <a:gd name="T36" fmla="*/ 2147483647 w 3072"/>
                <a:gd name="T37" fmla="*/ 2147483647 h 1332"/>
                <a:gd name="T38" fmla="*/ 2147483647 w 3072"/>
                <a:gd name="T39" fmla="*/ 2147483647 h 1332"/>
                <a:gd name="T40" fmla="*/ 2147483647 w 3072"/>
                <a:gd name="T41" fmla="*/ 2147483647 h 1332"/>
                <a:gd name="T42" fmla="*/ 2147483647 w 3072"/>
                <a:gd name="T43" fmla="*/ 2147483647 h 1332"/>
                <a:gd name="T44" fmla="*/ 2147483647 w 3072"/>
                <a:gd name="T45" fmla="*/ 2147483647 h 1332"/>
                <a:gd name="T46" fmla="*/ 2147483647 w 3072"/>
                <a:gd name="T47" fmla="*/ 2147483647 h 1332"/>
                <a:gd name="T48" fmla="*/ 2147483647 w 3072"/>
                <a:gd name="T49" fmla="*/ 2147483647 h 1332"/>
                <a:gd name="T50" fmla="*/ 2147483647 w 3072"/>
                <a:gd name="T51" fmla="*/ 2147483647 h 1332"/>
                <a:gd name="T52" fmla="*/ 2147483647 w 3072"/>
                <a:gd name="T53" fmla="*/ 2147483647 h 1332"/>
                <a:gd name="T54" fmla="*/ 2147483647 w 3072"/>
                <a:gd name="T55" fmla="*/ 2147483647 h 1332"/>
                <a:gd name="T56" fmla="*/ 2147483647 w 3072"/>
                <a:gd name="T57" fmla="*/ 2147483647 h 1332"/>
                <a:gd name="T58" fmla="*/ 2147483647 w 3072"/>
                <a:gd name="T59" fmla="*/ 2147483647 h 1332"/>
                <a:gd name="T60" fmla="*/ 2147483647 w 3072"/>
                <a:gd name="T61" fmla="*/ 2147483647 h 1332"/>
                <a:gd name="T62" fmla="*/ 2147483647 w 3072"/>
                <a:gd name="T63" fmla="*/ 2147483647 h 1332"/>
                <a:gd name="T64" fmla="*/ 2147483647 w 3072"/>
                <a:gd name="T65" fmla="*/ 2147483647 h 1332"/>
                <a:gd name="T66" fmla="*/ 2147483647 w 3072"/>
                <a:gd name="T67" fmla="*/ 2147483647 h 1332"/>
                <a:gd name="T68" fmla="*/ 2147483647 w 3072"/>
                <a:gd name="T69" fmla="*/ 2147483647 h 1332"/>
                <a:gd name="T70" fmla="*/ 2147483647 w 3072"/>
                <a:gd name="T71" fmla="*/ 2147483647 h 1332"/>
                <a:gd name="T72" fmla="*/ 2147483647 w 3072"/>
                <a:gd name="T73" fmla="*/ 2147483647 h 1332"/>
                <a:gd name="T74" fmla="*/ 2147483647 w 3072"/>
                <a:gd name="T75" fmla="*/ 2147483647 h 1332"/>
                <a:gd name="T76" fmla="*/ 2147483647 w 3072"/>
                <a:gd name="T77" fmla="*/ 2147483647 h 1332"/>
                <a:gd name="T78" fmla="*/ 2147483647 w 3072"/>
                <a:gd name="T79" fmla="*/ 2147483647 h 1332"/>
                <a:gd name="T80" fmla="*/ 2147483647 w 3072"/>
                <a:gd name="T81" fmla="*/ 2147483647 h 1332"/>
                <a:gd name="T82" fmla="*/ 2147483647 w 3072"/>
                <a:gd name="T83" fmla="*/ 2147483647 h 1332"/>
                <a:gd name="T84" fmla="*/ 2147483647 w 3072"/>
                <a:gd name="T85" fmla="*/ 2147483647 h 1332"/>
                <a:gd name="T86" fmla="*/ 2147483647 w 3072"/>
                <a:gd name="T87" fmla="*/ 2147483647 h 1332"/>
                <a:gd name="T88" fmla="*/ 2147483647 w 3072"/>
                <a:gd name="T89" fmla="*/ 2147483647 h 1332"/>
                <a:gd name="T90" fmla="*/ 2147483647 w 3072"/>
                <a:gd name="T91" fmla="*/ 2147483647 h 1332"/>
                <a:gd name="T92" fmla="*/ 2147483647 w 3072"/>
                <a:gd name="T93" fmla="*/ 2147483647 h 1332"/>
                <a:gd name="T94" fmla="*/ 2147483647 w 3072"/>
                <a:gd name="T95" fmla="*/ 2147483647 h 1332"/>
                <a:gd name="T96" fmla="*/ 2147483647 w 3072"/>
                <a:gd name="T97" fmla="*/ 2147483647 h 1332"/>
                <a:gd name="T98" fmla="*/ 2147483647 w 3072"/>
                <a:gd name="T99" fmla="*/ 2147483647 h 1332"/>
                <a:gd name="T100" fmla="*/ 2147483647 w 3072"/>
                <a:gd name="T101" fmla="*/ 2147483647 h 1332"/>
                <a:gd name="T102" fmla="*/ 2147483647 w 3072"/>
                <a:gd name="T103" fmla="*/ 2147483647 h 1332"/>
                <a:gd name="T104" fmla="*/ 2147483647 w 3072"/>
                <a:gd name="T105" fmla="*/ 2147483647 h 1332"/>
                <a:gd name="T106" fmla="*/ 2147483647 w 3072"/>
                <a:gd name="T107" fmla="*/ 2147483647 h 1332"/>
                <a:gd name="T108" fmla="*/ 2147483647 w 3072"/>
                <a:gd name="T109" fmla="*/ 2147483647 h 1332"/>
                <a:gd name="T110" fmla="*/ 2147483647 w 3072"/>
                <a:gd name="T111" fmla="*/ 2147483647 h 1332"/>
                <a:gd name="T112" fmla="*/ 2147483647 w 3072"/>
                <a:gd name="T113" fmla="*/ 2147483647 h 1332"/>
                <a:gd name="T114" fmla="*/ 2147483647 w 3072"/>
                <a:gd name="T115" fmla="*/ 2147483647 h 1332"/>
                <a:gd name="T116" fmla="*/ 2147483647 w 3072"/>
                <a:gd name="T117" fmla="*/ 2147483647 h 1332"/>
                <a:gd name="T118" fmla="*/ 2147483647 w 3072"/>
                <a:gd name="T119" fmla="*/ 2147483647 h 1332"/>
                <a:gd name="T120" fmla="*/ 2147483647 w 3072"/>
                <a:gd name="T121" fmla="*/ 2147483647 h 13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72"/>
                <a:gd name="T184" fmla="*/ 0 h 1332"/>
                <a:gd name="T185" fmla="*/ 3072 w 3072"/>
                <a:gd name="T186" fmla="*/ 1332 h 13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72" h="1332">
                  <a:moveTo>
                    <a:pt x="2454" y="930"/>
                  </a:moveTo>
                  <a:lnTo>
                    <a:pt x="2418" y="966"/>
                  </a:lnTo>
                  <a:lnTo>
                    <a:pt x="2400" y="1002"/>
                  </a:lnTo>
                  <a:lnTo>
                    <a:pt x="2412" y="1002"/>
                  </a:lnTo>
                  <a:lnTo>
                    <a:pt x="2448" y="984"/>
                  </a:lnTo>
                  <a:lnTo>
                    <a:pt x="2460" y="972"/>
                  </a:lnTo>
                  <a:lnTo>
                    <a:pt x="2460" y="954"/>
                  </a:lnTo>
                  <a:lnTo>
                    <a:pt x="2472" y="942"/>
                  </a:lnTo>
                  <a:lnTo>
                    <a:pt x="2460" y="930"/>
                  </a:lnTo>
                  <a:lnTo>
                    <a:pt x="2454" y="930"/>
                  </a:lnTo>
                  <a:close/>
                  <a:moveTo>
                    <a:pt x="2400" y="930"/>
                  </a:moveTo>
                  <a:lnTo>
                    <a:pt x="2388" y="930"/>
                  </a:lnTo>
                  <a:lnTo>
                    <a:pt x="2376" y="936"/>
                  </a:lnTo>
                  <a:lnTo>
                    <a:pt x="2364" y="948"/>
                  </a:lnTo>
                  <a:lnTo>
                    <a:pt x="2364" y="954"/>
                  </a:lnTo>
                  <a:lnTo>
                    <a:pt x="2370" y="966"/>
                  </a:lnTo>
                  <a:lnTo>
                    <a:pt x="2376" y="972"/>
                  </a:lnTo>
                  <a:lnTo>
                    <a:pt x="2406" y="972"/>
                  </a:lnTo>
                  <a:lnTo>
                    <a:pt x="2412" y="960"/>
                  </a:lnTo>
                  <a:lnTo>
                    <a:pt x="2418" y="954"/>
                  </a:lnTo>
                  <a:lnTo>
                    <a:pt x="2418" y="942"/>
                  </a:lnTo>
                  <a:lnTo>
                    <a:pt x="2406" y="936"/>
                  </a:lnTo>
                  <a:lnTo>
                    <a:pt x="2400" y="930"/>
                  </a:lnTo>
                  <a:close/>
                  <a:moveTo>
                    <a:pt x="2316" y="1188"/>
                  </a:moveTo>
                  <a:lnTo>
                    <a:pt x="2328" y="1188"/>
                  </a:lnTo>
                  <a:lnTo>
                    <a:pt x="2340" y="1152"/>
                  </a:lnTo>
                  <a:lnTo>
                    <a:pt x="2322" y="1158"/>
                  </a:lnTo>
                  <a:lnTo>
                    <a:pt x="2316" y="1188"/>
                  </a:lnTo>
                  <a:close/>
                  <a:moveTo>
                    <a:pt x="2388" y="1074"/>
                  </a:moveTo>
                  <a:lnTo>
                    <a:pt x="2370" y="1086"/>
                  </a:lnTo>
                  <a:lnTo>
                    <a:pt x="2382" y="1098"/>
                  </a:lnTo>
                  <a:lnTo>
                    <a:pt x="2388" y="1098"/>
                  </a:lnTo>
                  <a:lnTo>
                    <a:pt x="2382" y="1104"/>
                  </a:lnTo>
                  <a:lnTo>
                    <a:pt x="2376" y="1104"/>
                  </a:lnTo>
                  <a:lnTo>
                    <a:pt x="2364" y="1116"/>
                  </a:lnTo>
                  <a:lnTo>
                    <a:pt x="2358" y="1116"/>
                  </a:lnTo>
                  <a:lnTo>
                    <a:pt x="2352" y="1122"/>
                  </a:lnTo>
                  <a:lnTo>
                    <a:pt x="2352" y="1152"/>
                  </a:lnTo>
                  <a:lnTo>
                    <a:pt x="2358" y="1164"/>
                  </a:lnTo>
                  <a:lnTo>
                    <a:pt x="2358" y="1188"/>
                  </a:lnTo>
                  <a:lnTo>
                    <a:pt x="2370" y="1182"/>
                  </a:lnTo>
                  <a:lnTo>
                    <a:pt x="2376" y="1170"/>
                  </a:lnTo>
                  <a:lnTo>
                    <a:pt x="2388" y="1164"/>
                  </a:lnTo>
                  <a:lnTo>
                    <a:pt x="2394" y="1158"/>
                  </a:lnTo>
                  <a:lnTo>
                    <a:pt x="2394" y="1146"/>
                  </a:lnTo>
                  <a:lnTo>
                    <a:pt x="2382" y="1134"/>
                  </a:lnTo>
                  <a:lnTo>
                    <a:pt x="2394" y="1134"/>
                  </a:lnTo>
                  <a:lnTo>
                    <a:pt x="2412" y="1116"/>
                  </a:lnTo>
                  <a:lnTo>
                    <a:pt x="2412" y="1098"/>
                  </a:lnTo>
                  <a:lnTo>
                    <a:pt x="2388" y="1074"/>
                  </a:lnTo>
                  <a:close/>
                  <a:moveTo>
                    <a:pt x="2562" y="1080"/>
                  </a:moveTo>
                  <a:lnTo>
                    <a:pt x="2550" y="1080"/>
                  </a:lnTo>
                  <a:lnTo>
                    <a:pt x="2550" y="1074"/>
                  </a:lnTo>
                  <a:lnTo>
                    <a:pt x="2544" y="1068"/>
                  </a:lnTo>
                  <a:lnTo>
                    <a:pt x="2538" y="1068"/>
                  </a:lnTo>
                  <a:lnTo>
                    <a:pt x="2532" y="1062"/>
                  </a:lnTo>
                  <a:lnTo>
                    <a:pt x="2520" y="1056"/>
                  </a:lnTo>
                  <a:lnTo>
                    <a:pt x="2514" y="1050"/>
                  </a:lnTo>
                  <a:lnTo>
                    <a:pt x="2514" y="1044"/>
                  </a:lnTo>
                  <a:lnTo>
                    <a:pt x="2520" y="1032"/>
                  </a:lnTo>
                  <a:lnTo>
                    <a:pt x="2520" y="1020"/>
                  </a:lnTo>
                  <a:lnTo>
                    <a:pt x="2526" y="1008"/>
                  </a:lnTo>
                  <a:lnTo>
                    <a:pt x="2532" y="1002"/>
                  </a:lnTo>
                  <a:lnTo>
                    <a:pt x="2532" y="960"/>
                  </a:lnTo>
                  <a:lnTo>
                    <a:pt x="2550" y="924"/>
                  </a:lnTo>
                  <a:lnTo>
                    <a:pt x="2550" y="906"/>
                  </a:lnTo>
                  <a:lnTo>
                    <a:pt x="2544" y="894"/>
                  </a:lnTo>
                  <a:lnTo>
                    <a:pt x="2526" y="876"/>
                  </a:lnTo>
                  <a:lnTo>
                    <a:pt x="2538" y="864"/>
                  </a:lnTo>
                  <a:lnTo>
                    <a:pt x="2538" y="834"/>
                  </a:lnTo>
                  <a:lnTo>
                    <a:pt x="2544" y="828"/>
                  </a:lnTo>
                  <a:lnTo>
                    <a:pt x="2550" y="828"/>
                  </a:lnTo>
                  <a:lnTo>
                    <a:pt x="2556" y="822"/>
                  </a:lnTo>
                  <a:lnTo>
                    <a:pt x="2550" y="816"/>
                  </a:lnTo>
                  <a:lnTo>
                    <a:pt x="2532" y="810"/>
                  </a:lnTo>
                  <a:lnTo>
                    <a:pt x="2520" y="810"/>
                  </a:lnTo>
                  <a:lnTo>
                    <a:pt x="2502" y="816"/>
                  </a:lnTo>
                  <a:lnTo>
                    <a:pt x="2490" y="816"/>
                  </a:lnTo>
                  <a:lnTo>
                    <a:pt x="2484" y="822"/>
                  </a:lnTo>
                  <a:lnTo>
                    <a:pt x="2478" y="822"/>
                  </a:lnTo>
                  <a:lnTo>
                    <a:pt x="2478" y="834"/>
                  </a:lnTo>
                  <a:lnTo>
                    <a:pt x="2460" y="834"/>
                  </a:lnTo>
                  <a:lnTo>
                    <a:pt x="2454" y="840"/>
                  </a:lnTo>
                  <a:lnTo>
                    <a:pt x="2442" y="846"/>
                  </a:lnTo>
                  <a:lnTo>
                    <a:pt x="2430" y="846"/>
                  </a:lnTo>
                  <a:lnTo>
                    <a:pt x="2418" y="852"/>
                  </a:lnTo>
                  <a:lnTo>
                    <a:pt x="2406" y="852"/>
                  </a:lnTo>
                  <a:lnTo>
                    <a:pt x="2400" y="858"/>
                  </a:lnTo>
                  <a:lnTo>
                    <a:pt x="2394" y="858"/>
                  </a:lnTo>
                  <a:lnTo>
                    <a:pt x="2388" y="864"/>
                  </a:lnTo>
                  <a:lnTo>
                    <a:pt x="2376" y="870"/>
                  </a:lnTo>
                  <a:lnTo>
                    <a:pt x="2370" y="876"/>
                  </a:lnTo>
                  <a:lnTo>
                    <a:pt x="2364" y="876"/>
                  </a:lnTo>
                  <a:lnTo>
                    <a:pt x="2364" y="864"/>
                  </a:lnTo>
                  <a:lnTo>
                    <a:pt x="2382" y="846"/>
                  </a:lnTo>
                  <a:lnTo>
                    <a:pt x="2376" y="840"/>
                  </a:lnTo>
                  <a:lnTo>
                    <a:pt x="2364" y="834"/>
                  </a:lnTo>
                  <a:lnTo>
                    <a:pt x="2358" y="828"/>
                  </a:lnTo>
                  <a:lnTo>
                    <a:pt x="2358" y="810"/>
                  </a:lnTo>
                  <a:lnTo>
                    <a:pt x="2352" y="798"/>
                  </a:lnTo>
                  <a:lnTo>
                    <a:pt x="2352" y="792"/>
                  </a:lnTo>
                  <a:lnTo>
                    <a:pt x="2376" y="768"/>
                  </a:lnTo>
                  <a:lnTo>
                    <a:pt x="2340" y="768"/>
                  </a:lnTo>
                  <a:lnTo>
                    <a:pt x="2328" y="780"/>
                  </a:lnTo>
                  <a:lnTo>
                    <a:pt x="2274" y="780"/>
                  </a:lnTo>
                  <a:lnTo>
                    <a:pt x="2274" y="768"/>
                  </a:lnTo>
                  <a:lnTo>
                    <a:pt x="2280" y="756"/>
                  </a:lnTo>
                  <a:lnTo>
                    <a:pt x="2292" y="750"/>
                  </a:lnTo>
                  <a:lnTo>
                    <a:pt x="2298" y="744"/>
                  </a:lnTo>
                  <a:lnTo>
                    <a:pt x="3072" y="108"/>
                  </a:lnTo>
                  <a:lnTo>
                    <a:pt x="3054" y="108"/>
                  </a:lnTo>
                  <a:lnTo>
                    <a:pt x="3054" y="102"/>
                  </a:lnTo>
                  <a:lnTo>
                    <a:pt x="3048" y="90"/>
                  </a:lnTo>
                  <a:lnTo>
                    <a:pt x="3036" y="84"/>
                  </a:lnTo>
                  <a:lnTo>
                    <a:pt x="3030" y="78"/>
                  </a:lnTo>
                  <a:lnTo>
                    <a:pt x="3012" y="78"/>
                  </a:lnTo>
                  <a:lnTo>
                    <a:pt x="2988" y="84"/>
                  </a:lnTo>
                  <a:lnTo>
                    <a:pt x="2964" y="84"/>
                  </a:lnTo>
                  <a:lnTo>
                    <a:pt x="2928" y="96"/>
                  </a:lnTo>
                  <a:lnTo>
                    <a:pt x="2916" y="96"/>
                  </a:lnTo>
                  <a:lnTo>
                    <a:pt x="2892" y="84"/>
                  </a:lnTo>
                  <a:lnTo>
                    <a:pt x="2886" y="78"/>
                  </a:lnTo>
                  <a:lnTo>
                    <a:pt x="2874" y="72"/>
                  </a:lnTo>
                  <a:lnTo>
                    <a:pt x="2784" y="72"/>
                  </a:lnTo>
                  <a:lnTo>
                    <a:pt x="2772" y="66"/>
                  </a:lnTo>
                  <a:lnTo>
                    <a:pt x="2766" y="60"/>
                  </a:lnTo>
                  <a:lnTo>
                    <a:pt x="2748" y="60"/>
                  </a:lnTo>
                  <a:lnTo>
                    <a:pt x="2736" y="54"/>
                  </a:lnTo>
                  <a:lnTo>
                    <a:pt x="2598" y="54"/>
                  </a:lnTo>
                  <a:lnTo>
                    <a:pt x="2598" y="42"/>
                  </a:lnTo>
                  <a:lnTo>
                    <a:pt x="2604" y="36"/>
                  </a:lnTo>
                  <a:lnTo>
                    <a:pt x="2592" y="36"/>
                  </a:lnTo>
                  <a:lnTo>
                    <a:pt x="2574" y="30"/>
                  </a:lnTo>
                  <a:lnTo>
                    <a:pt x="2562" y="30"/>
                  </a:lnTo>
                  <a:lnTo>
                    <a:pt x="2550" y="24"/>
                  </a:lnTo>
                  <a:lnTo>
                    <a:pt x="2532" y="24"/>
                  </a:lnTo>
                  <a:lnTo>
                    <a:pt x="2520" y="30"/>
                  </a:lnTo>
                  <a:lnTo>
                    <a:pt x="2496" y="30"/>
                  </a:lnTo>
                  <a:lnTo>
                    <a:pt x="2490" y="36"/>
                  </a:lnTo>
                  <a:lnTo>
                    <a:pt x="2484" y="36"/>
                  </a:lnTo>
                  <a:lnTo>
                    <a:pt x="2514" y="0"/>
                  </a:lnTo>
                  <a:lnTo>
                    <a:pt x="2430" y="36"/>
                  </a:lnTo>
                  <a:lnTo>
                    <a:pt x="2460" y="0"/>
                  </a:lnTo>
                  <a:lnTo>
                    <a:pt x="2430" y="0"/>
                  </a:lnTo>
                  <a:lnTo>
                    <a:pt x="2418" y="6"/>
                  </a:lnTo>
                  <a:lnTo>
                    <a:pt x="2412" y="12"/>
                  </a:lnTo>
                  <a:lnTo>
                    <a:pt x="2358" y="30"/>
                  </a:lnTo>
                  <a:lnTo>
                    <a:pt x="2232" y="30"/>
                  </a:lnTo>
                  <a:lnTo>
                    <a:pt x="2214" y="36"/>
                  </a:lnTo>
                  <a:lnTo>
                    <a:pt x="2208" y="42"/>
                  </a:lnTo>
                  <a:lnTo>
                    <a:pt x="2184" y="54"/>
                  </a:lnTo>
                  <a:lnTo>
                    <a:pt x="2172" y="54"/>
                  </a:lnTo>
                  <a:lnTo>
                    <a:pt x="2166" y="60"/>
                  </a:lnTo>
                  <a:lnTo>
                    <a:pt x="2046" y="60"/>
                  </a:lnTo>
                  <a:lnTo>
                    <a:pt x="2004" y="72"/>
                  </a:lnTo>
                  <a:lnTo>
                    <a:pt x="1956" y="102"/>
                  </a:lnTo>
                  <a:lnTo>
                    <a:pt x="1902" y="132"/>
                  </a:lnTo>
                  <a:lnTo>
                    <a:pt x="1854" y="144"/>
                  </a:lnTo>
                  <a:lnTo>
                    <a:pt x="1758" y="156"/>
                  </a:lnTo>
                  <a:lnTo>
                    <a:pt x="1722" y="162"/>
                  </a:lnTo>
                  <a:lnTo>
                    <a:pt x="1704" y="162"/>
                  </a:lnTo>
                  <a:lnTo>
                    <a:pt x="1698" y="168"/>
                  </a:lnTo>
                  <a:lnTo>
                    <a:pt x="1644" y="186"/>
                  </a:lnTo>
                  <a:lnTo>
                    <a:pt x="1632" y="192"/>
                  </a:lnTo>
                  <a:lnTo>
                    <a:pt x="1620" y="192"/>
                  </a:lnTo>
                  <a:lnTo>
                    <a:pt x="1620" y="198"/>
                  </a:lnTo>
                  <a:lnTo>
                    <a:pt x="1626" y="204"/>
                  </a:lnTo>
                  <a:lnTo>
                    <a:pt x="1638" y="210"/>
                  </a:lnTo>
                  <a:lnTo>
                    <a:pt x="1650" y="222"/>
                  </a:lnTo>
                  <a:lnTo>
                    <a:pt x="1656" y="222"/>
                  </a:lnTo>
                  <a:lnTo>
                    <a:pt x="1662" y="234"/>
                  </a:lnTo>
                  <a:lnTo>
                    <a:pt x="1662" y="240"/>
                  </a:lnTo>
                  <a:lnTo>
                    <a:pt x="1668" y="252"/>
                  </a:lnTo>
                  <a:lnTo>
                    <a:pt x="1668" y="264"/>
                  </a:lnTo>
                  <a:lnTo>
                    <a:pt x="1662" y="264"/>
                  </a:lnTo>
                  <a:lnTo>
                    <a:pt x="1650" y="270"/>
                  </a:lnTo>
                  <a:lnTo>
                    <a:pt x="1644" y="282"/>
                  </a:lnTo>
                  <a:lnTo>
                    <a:pt x="1734" y="282"/>
                  </a:lnTo>
                  <a:lnTo>
                    <a:pt x="1704" y="318"/>
                  </a:lnTo>
                  <a:lnTo>
                    <a:pt x="1770" y="318"/>
                  </a:lnTo>
                  <a:lnTo>
                    <a:pt x="1764" y="336"/>
                  </a:lnTo>
                  <a:lnTo>
                    <a:pt x="1710" y="336"/>
                  </a:lnTo>
                  <a:lnTo>
                    <a:pt x="1698" y="348"/>
                  </a:lnTo>
                  <a:lnTo>
                    <a:pt x="1632" y="348"/>
                  </a:lnTo>
                  <a:lnTo>
                    <a:pt x="1614" y="354"/>
                  </a:lnTo>
                  <a:lnTo>
                    <a:pt x="1560" y="354"/>
                  </a:lnTo>
                  <a:lnTo>
                    <a:pt x="1554" y="348"/>
                  </a:lnTo>
                  <a:lnTo>
                    <a:pt x="1548" y="348"/>
                  </a:lnTo>
                  <a:lnTo>
                    <a:pt x="1554" y="342"/>
                  </a:lnTo>
                  <a:lnTo>
                    <a:pt x="1560" y="342"/>
                  </a:lnTo>
                  <a:lnTo>
                    <a:pt x="1572" y="330"/>
                  </a:lnTo>
                  <a:lnTo>
                    <a:pt x="1566" y="324"/>
                  </a:lnTo>
                  <a:lnTo>
                    <a:pt x="1458" y="324"/>
                  </a:lnTo>
                  <a:lnTo>
                    <a:pt x="1452" y="330"/>
                  </a:lnTo>
                  <a:lnTo>
                    <a:pt x="1452" y="348"/>
                  </a:lnTo>
                  <a:lnTo>
                    <a:pt x="1434" y="348"/>
                  </a:lnTo>
                  <a:lnTo>
                    <a:pt x="1422" y="354"/>
                  </a:lnTo>
                  <a:lnTo>
                    <a:pt x="1404" y="354"/>
                  </a:lnTo>
                  <a:lnTo>
                    <a:pt x="1386" y="360"/>
                  </a:lnTo>
                  <a:lnTo>
                    <a:pt x="1338" y="360"/>
                  </a:lnTo>
                  <a:lnTo>
                    <a:pt x="1308" y="366"/>
                  </a:lnTo>
                  <a:lnTo>
                    <a:pt x="1254" y="384"/>
                  </a:lnTo>
                  <a:lnTo>
                    <a:pt x="1254" y="390"/>
                  </a:lnTo>
                  <a:lnTo>
                    <a:pt x="1272" y="396"/>
                  </a:lnTo>
                  <a:lnTo>
                    <a:pt x="1284" y="402"/>
                  </a:lnTo>
                  <a:lnTo>
                    <a:pt x="1314" y="402"/>
                  </a:lnTo>
                  <a:lnTo>
                    <a:pt x="1272" y="420"/>
                  </a:lnTo>
                  <a:lnTo>
                    <a:pt x="1260" y="462"/>
                  </a:lnTo>
                  <a:lnTo>
                    <a:pt x="1272" y="462"/>
                  </a:lnTo>
                  <a:lnTo>
                    <a:pt x="1290" y="468"/>
                  </a:lnTo>
                  <a:lnTo>
                    <a:pt x="1338" y="468"/>
                  </a:lnTo>
                  <a:lnTo>
                    <a:pt x="1350" y="462"/>
                  </a:lnTo>
                  <a:lnTo>
                    <a:pt x="1362" y="462"/>
                  </a:lnTo>
                  <a:lnTo>
                    <a:pt x="1410" y="474"/>
                  </a:lnTo>
                  <a:lnTo>
                    <a:pt x="1422" y="456"/>
                  </a:lnTo>
                  <a:lnTo>
                    <a:pt x="1434" y="474"/>
                  </a:lnTo>
                  <a:lnTo>
                    <a:pt x="1446" y="468"/>
                  </a:lnTo>
                  <a:lnTo>
                    <a:pt x="1452" y="462"/>
                  </a:lnTo>
                  <a:lnTo>
                    <a:pt x="1476" y="450"/>
                  </a:lnTo>
                  <a:lnTo>
                    <a:pt x="1482" y="444"/>
                  </a:lnTo>
                  <a:lnTo>
                    <a:pt x="1494" y="444"/>
                  </a:lnTo>
                  <a:lnTo>
                    <a:pt x="1506" y="450"/>
                  </a:lnTo>
                  <a:lnTo>
                    <a:pt x="1524" y="450"/>
                  </a:lnTo>
                  <a:lnTo>
                    <a:pt x="1536" y="444"/>
                  </a:lnTo>
                  <a:lnTo>
                    <a:pt x="1542" y="438"/>
                  </a:lnTo>
                  <a:lnTo>
                    <a:pt x="1554" y="432"/>
                  </a:lnTo>
                  <a:lnTo>
                    <a:pt x="1560" y="432"/>
                  </a:lnTo>
                  <a:lnTo>
                    <a:pt x="1566" y="426"/>
                  </a:lnTo>
                  <a:lnTo>
                    <a:pt x="1566" y="450"/>
                  </a:lnTo>
                  <a:lnTo>
                    <a:pt x="1560" y="462"/>
                  </a:lnTo>
                  <a:lnTo>
                    <a:pt x="1554" y="468"/>
                  </a:lnTo>
                  <a:lnTo>
                    <a:pt x="1500" y="468"/>
                  </a:lnTo>
                  <a:lnTo>
                    <a:pt x="1506" y="498"/>
                  </a:lnTo>
                  <a:lnTo>
                    <a:pt x="1494" y="504"/>
                  </a:lnTo>
                  <a:lnTo>
                    <a:pt x="1488" y="516"/>
                  </a:lnTo>
                  <a:lnTo>
                    <a:pt x="1476" y="522"/>
                  </a:lnTo>
                  <a:lnTo>
                    <a:pt x="1464" y="534"/>
                  </a:lnTo>
                  <a:lnTo>
                    <a:pt x="1446" y="540"/>
                  </a:lnTo>
                  <a:lnTo>
                    <a:pt x="1380" y="540"/>
                  </a:lnTo>
                  <a:lnTo>
                    <a:pt x="1362" y="522"/>
                  </a:lnTo>
                  <a:lnTo>
                    <a:pt x="1344" y="534"/>
                  </a:lnTo>
                  <a:lnTo>
                    <a:pt x="1344" y="546"/>
                  </a:lnTo>
                  <a:lnTo>
                    <a:pt x="1338" y="546"/>
                  </a:lnTo>
                  <a:lnTo>
                    <a:pt x="1332" y="552"/>
                  </a:lnTo>
                  <a:lnTo>
                    <a:pt x="1320" y="558"/>
                  </a:lnTo>
                  <a:lnTo>
                    <a:pt x="1302" y="564"/>
                  </a:lnTo>
                  <a:lnTo>
                    <a:pt x="1290" y="570"/>
                  </a:lnTo>
                  <a:lnTo>
                    <a:pt x="1266" y="570"/>
                  </a:lnTo>
                  <a:lnTo>
                    <a:pt x="1242" y="558"/>
                  </a:lnTo>
                  <a:lnTo>
                    <a:pt x="1236" y="558"/>
                  </a:lnTo>
                  <a:lnTo>
                    <a:pt x="1140" y="606"/>
                  </a:lnTo>
                  <a:lnTo>
                    <a:pt x="1122" y="624"/>
                  </a:lnTo>
                  <a:lnTo>
                    <a:pt x="1116" y="606"/>
                  </a:lnTo>
                  <a:lnTo>
                    <a:pt x="1080" y="624"/>
                  </a:lnTo>
                  <a:lnTo>
                    <a:pt x="1068" y="624"/>
                  </a:lnTo>
                  <a:lnTo>
                    <a:pt x="1044" y="636"/>
                  </a:lnTo>
                  <a:lnTo>
                    <a:pt x="1020" y="660"/>
                  </a:lnTo>
                  <a:lnTo>
                    <a:pt x="990" y="648"/>
                  </a:lnTo>
                  <a:lnTo>
                    <a:pt x="990" y="672"/>
                  </a:lnTo>
                  <a:lnTo>
                    <a:pt x="984" y="666"/>
                  </a:lnTo>
                  <a:lnTo>
                    <a:pt x="972" y="666"/>
                  </a:lnTo>
                  <a:lnTo>
                    <a:pt x="966" y="672"/>
                  </a:lnTo>
                  <a:lnTo>
                    <a:pt x="966" y="690"/>
                  </a:lnTo>
                  <a:lnTo>
                    <a:pt x="954" y="708"/>
                  </a:lnTo>
                  <a:lnTo>
                    <a:pt x="1014" y="684"/>
                  </a:lnTo>
                  <a:lnTo>
                    <a:pt x="990" y="702"/>
                  </a:lnTo>
                  <a:lnTo>
                    <a:pt x="990" y="714"/>
                  </a:lnTo>
                  <a:lnTo>
                    <a:pt x="972" y="726"/>
                  </a:lnTo>
                  <a:lnTo>
                    <a:pt x="1026" y="726"/>
                  </a:lnTo>
                  <a:lnTo>
                    <a:pt x="1032" y="732"/>
                  </a:lnTo>
                  <a:lnTo>
                    <a:pt x="1032" y="738"/>
                  </a:lnTo>
                  <a:lnTo>
                    <a:pt x="1020" y="744"/>
                  </a:lnTo>
                  <a:lnTo>
                    <a:pt x="984" y="744"/>
                  </a:lnTo>
                  <a:lnTo>
                    <a:pt x="960" y="750"/>
                  </a:lnTo>
                  <a:lnTo>
                    <a:pt x="972" y="738"/>
                  </a:lnTo>
                  <a:lnTo>
                    <a:pt x="960" y="732"/>
                  </a:lnTo>
                  <a:lnTo>
                    <a:pt x="954" y="732"/>
                  </a:lnTo>
                  <a:lnTo>
                    <a:pt x="948" y="738"/>
                  </a:lnTo>
                  <a:lnTo>
                    <a:pt x="936" y="744"/>
                  </a:lnTo>
                  <a:lnTo>
                    <a:pt x="930" y="750"/>
                  </a:lnTo>
                  <a:lnTo>
                    <a:pt x="924" y="750"/>
                  </a:lnTo>
                  <a:lnTo>
                    <a:pt x="918" y="756"/>
                  </a:lnTo>
                  <a:lnTo>
                    <a:pt x="924" y="756"/>
                  </a:lnTo>
                  <a:lnTo>
                    <a:pt x="930" y="762"/>
                  </a:lnTo>
                  <a:lnTo>
                    <a:pt x="930" y="768"/>
                  </a:lnTo>
                  <a:lnTo>
                    <a:pt x="924" y="774"/>
                  </a:lnTo>
                  <a:lnTo>
                    <a:pt x="924" y="780"/>
                  </a:lnTo>
                  <a:lnTo>
                    <a:pt x="918" y="792"/>
                  </a:lnTo>
                  <a:lnTo>
                    <a:pt x="918" y="804"/>
                  </a:lnTo>
                  <a:lnTo>
                    <a:pt x="990" y="804"/>
                  </a:lnTo>
                  <a:lnTo>
                    <a:pt x="1038" y="774"/>
                  </a:lnTo>
                  <a:lnTo>
                    <a:pt x="1104" y="750"/>
                  </a:lnTo>
                  <a:lnTo>
                    <a:pt x="1098" y="750"/>
                  </a:lnTo>
                  <a:lnTo>
                    <a:pt x="1092" y="756"/>
                  </a:lnTo>
                  <a:lnTo>
                    <a:pt x="1080" y="762"/>
                  </a:lnTo>
                  <a:lnTo>
                    <a:pt x="1062" y="768"/>
                  </a:lnTo>
                  <a:lnTo>
                    <a:pt x="1050" y="780"/>
                  </a:lnTo>
                  <a:lnTo>
                    <a:pt x="1038" y="786"/>
                  </a:lnTo>
                  <a:lnTo>
                    <a:pt x="1026" y="798"/>
                  </a:lnTo>
                  <a:lnTo>
                    <a:pt x="1026" y="816"/>
                  </a:lnTo>
                  <a:lnTo>
                    <a:pt x="1020" y="828"/>
                  </a:lnTo>
                  <a:lnTo>
                    <a:pt x="990" y="828"/>
                  </a:lnTo>
                  <a:lnTo>
                    <a:pt x="978" y="834"/>
                  </a:lnTo>
                  <a:lnTo>
                    <a:pt x="972" y="852"/>
                  </a:lnTo>
                  <a:lnTo>
                    <a:pt x="966" y="864"/>
                  </a:lnTo>
                  <a:lnTo>
                    <a:pt x="954" y="870"/>
                  </a:lnTo>
                  <a:lnTo>
                    <a:pt x="942" y="882"/>
                  </a:lnTo>
                  <a:lnTo>
                    <a:pt x="930" y="888"/>
                  </a:lnTo>
                  <a:lnTo>
                    <a:pt x="924" y="894"/>
                  </a:lnTo>
                  <a:lnTo>
                    <a:pt x="978" y="888"/>
                  </a:lnTo>
                  <a:lnTo>
                    <a:pt x="972" y="906"/>
                  </a:lnTo>
                  <a:lnTo>
                    <a:pt x="978" y="894"/>
                  </a:lnTo>
                  <a:lnTo>
                    <a:pt x="990" y="888"/>
                  </a:lnTo>
                  <a:lnTo>
                    <a:pt x="1002" y="876"/>
                  </a:lnTo>
                  <a:lnTo>
                    <a:pt x="1026" y="864"/>
                  </a:lnTo>
                  <a:lnTo>
                    <a:pt x="1038" y="864"/>
                  </a:lnTo>
                  <a:lnTo>
                    <a:pt x="1050" y="870"/>
                  </a:lnTo>
                  <a:lnTo>
                    <a:pt x="1056" y="870"/>
                  </a:lnTo>
                  <a:lnTo>
                    <a:pt x="1056" y="876"/>
                  </a:lnTo>
                  <a:lnTo>
                    <a:pt x="1050" y="876"/>
                  </a:lnTo>
                  <a:lnTo>
                    <a:pt x="1074" y="870"/>
                  </a:lnTo>
                  <a:lnTo>
                    <a:pt x="1068" y="876"/>
                  </a:lnTo>
                  <a:lnTo>
                    <a:pt x="1068" y="906"/>
                  </a:lnTo>
                  <a:lnTo>
                    <a:pt x="1074" y="912"/>
                  </a:lnTo>
                  <a:lnTo>
                    <a:pt x="1092" y="912"/>
                  </a:lnTo>
                  <a:lnTo>
                    <a:pt x="1098" y="900"/>
                  </a:lnTo>
                  <a:lnTo>
                    <a:pt x="1110" y="894"/>
                  </a:lnTo>
                  <a:lnTo>
                    <a:pt x="1116" y="888"/>
                  </a:lnTo>
                  <a:lnTo>
                    <a:pt x="1122" y="876"/>
                  </a:lnTo>
                  <a:lnTo>
                    <a:pt x="1164" y="858"/>
                  </a:lnTo>
                  <a:lnTo>
                    <a:pt x="1176" y="870"/>
                  </a:lnTo>
                  <a:lnTo>
                    <a:pt x="1146" y="870"/>
                  </a:lnTo>
                  <a:lnTo>
                    <a:pt x="1140" y="876"/>
                  </a:lnTo>
                  <a:lnTo>
                    <a:pt x="1140" y="882"/>
                  </a:lnTo>
                  <a:lnTo>
                    <a:pt x="1134" y="888"/>
                  </a:lnTo>
                  <a:lnTo>
                    <a:pt x="1134" y="894"/>
                  </a:lnTo>
                  <a:lnTo>
                    <a:pt x="1152" y="894"/>
                  </a:lnTo>
                  <a:lnTo>
                    <a:pt x="1164" y="888"/>
                  </a:lnTo>
                  <a:lnTo>
                    <a:pt x="1182" y="888"/>
                  </a:lnTo>
                  <a:lnTo>
                    <a:pt x="1200" y="882"/>
                  </a:lnTo>
                  <a:lnTo>
                    <a:pt x="1218" y="882"/>
                  </a:lnTo>
                  <a:lnTo>
                    <a:pt x="1224" y="876"/>
                  </a:lnTo>
                  <a:lnTo>
                    <a:pt x="1230" y="876"/>
                  </a:lnTo>
                  <a:lnTo>
                    <a:pt x="1272" y="858"/>
                  </a:lnTo>
                  <a:lnTo>
                    <a:pt x="1224" y="882"/>
                  </a:lnTo>
                  <a:lnTo>
                    <a:pt x="1224" y="894"/>
                  </a:lnTo>
                  <a:lnTo>
                    <a:pt x="1212" y="894"/>
                  </a:lnTo>
                  <a:lnTo>
                    <a:pt x="1200" y="900"/>
                  </a:lnTo>
                  <a:lnTo>
                    <a:pt x="1188" y="900"/>
                  </a:lnTo>
                  <a:lnTo>
                    <a:pt x="1176" y="906"/>
                  </a:lnTo>
                  <a:lnTo>
                    <a:pt x="1170" y="912"/>
                  </a:lnTo>
                  <a:lnTo>
                    <a:pt x="1158" y="918"/>
                  </a:lnTo>
                  <a:lnTo>
                    <a:pt x="1152" y="930"/>
                  </a:lnTo>
                  <a:lnTo>
                    <a:pt x="1122" y="930"/>
                  </a:lnTo>
                  <a:lnTo>
                    <a:pt x="1086" y="960"/>
                  </a:lnTo>
                  <a:lnTo>
                    <a:pt x="1086" y="978"/>
                  </a:lnTo>
                  <a:lnTo>
                    <a:pt x="1038" y="978"/>
                  </a:lnTo>
                  <a:lnTo>
                    <a:pt x="1032" y="984"/>
                  </a:lnTo>
                  <a:lnTo>
                    <a:pt x="1020" y="984"/>
                  </a:lnTo>
                  <a:lnTo>
                    <a:pt x="1002" y="990"/>
                  </a:lnTo>
                  <a:lnTo>
                    <a:pt x="990" y="996"/>
                  </a:lnTo>
                  <a:lnTo>
                    <a:pt x="978" y="996"/>
                  </a:lnTo>
                  <a:lnTo>
                    <a:pt x="966" y="1008"/>
                  </a:lnTo>
                  <a:lnTo>
                    <a:pt x="966" y="1020"/>
                  </a:lnTo>
                  <a:lnTo>
                    <a:pt x="960" y="1026"/>
                  </a:lnTo>
                  <a:lnTo>
                    <a:pt x="960" y="1038"/>
                  </a:lnTo>
                  <a:lnTo>
                    <a:pt x="876" y="1038"/>
                  </a:lnTo>
                  <a:lnTo>
                    <a:pt x="858" y="1044"/>
                  </a:lnTo>
                  <a:lnTo>
                    <a:pt x="828" y="1062"/>
                  </a:lnTo>
                  <a:lnTo>
                    <a:pt x="804" y="1080"/>
                  </a:lnTo>
                  <a:lnTo>
                    <a:pt x="780" y="1092"/>
                  </a:lnTo>
                  <a:lnTo>
                    <a:pt x="774" y="1098"/>
                  </a:lnTo>
                  <a:lnTo>
                    <a:pt x="750" y="1104"/>
                  </a:lnTo>
                  <a:lnTo>
                    <a:pt x="738" y="1122"/>
                  </a:lnTo>
                  <a:lnTo>
                    <a:pt x="732" y="1104"/>
                  </a:lnTo>
                  <a:lnTo>
                    <a:pt x="672" y="1104"/>
                  </a:lnTo>
                  <a:lnTo>
                    <a:pt x="648" y="1116"/>
                  </a:lnTo>
                  <a:lnTo>
                    <a:pt x="630" y="1122"/>
                  </a:lnTo>
                  <a:lnTo>
                    <a:pt x="624" y="1128"/>
                  </a:lnTo>
                  <a:lnTo>
                    <a:pt x="606" y="1128"/>
                  </a:lnTo>
                  <a:lnTo>
                    <a:pt x="606" y="1140"/>
                  </a:lnTo>
                  <a:lnTo>
                    <a:pt x="576" y="1146"/>
                  </a:lnTo>
                  <a:lnTo>
                    <a:pt x="564" y="1152"/>
                  </a:lnTo>
                  <a:lnTo>
                    <a:pt x="540" y="1152"/>
                  </a:lnTo>
                  <a:lnTo>
                    <a:pt x="516" y="1170"/>
                  </a:lnTo>
                  <a:lnTo>
                    <a:pt x="522" y="1182"/>
                  </a:lnTo>
                  <a:lnTo>
                    <a:pt x="540" y="1164"/>
                  </a:lnTo>
                  <a:lnTo>
                    <a:pt x="558" y="1176"/>
                  </a:lnTo>
                  <a:lnTo>
                    <a:pt x="582" y="1158"/>
                  </a:lnTo>
                  <a:lnTo>
                    <a:pt x="582" y="1170"/>
                  </a:lnTo>
                  <a:lnTo>
                    <a:pt x="594" y="1170"/>
                  </a:lnTo>
                  <a:lnTo>
                    <a:pt x="606" y="1164"/>
                  </a:lnTo>
                  <a:lnTo>
                    <a:pt x="618" y="1164"/>
                  </a:lnTo>
                  <a:lnTo>
                    <a:pt x="642" y="1140"/>
                  </a:lnTo>
                  <a:lnTo>
                    <a:pt x="654" y="1134"/>
                  </a:lnTo>
                  <a:lnTo>
                    <a:pt x="666" y="1122"/>
                  </a:lnTo>
                  <a:lnTo>
                    <a:pt x="684" y="1122"/>
                  </a:lnTo>
                  <a:lnTo>
                    <a:pt x="684" y="1134"/>
                  </a:lnTo>
                  <a:lnTo>
                    <a:pt x="690" y="1140"/>
                  </a:lnTo>
                  <a:lnTo>
                    <a:pt x="708" y="1140"/>
                  </a:lnTo>
                  <a:lnTo>
                    <a:pt x="732" y="1128"/>
                  </a:lnTo>
                  <a:lnTo>
                    <a:pt x="744" y="1128"/>
                  </a:lnTo>
                  <a:lnTo>
                    <a:pt x="756" y="1122"/>
                  </a:lnTo>
                  <a:lnTo>
                    <a:pt x="762" y="1116"/>
                  </a:lnTo>
                  <a:lnTo>
                    <a:pt x="768" y="1116"/>
                  </a:lnTo>
                  <a:lnTo>
                    <a:pt x="804" y="1128"/>
                  </a:lnTo>
                  <a:lnTo>
                    <a:pt x="822" y="1110"/>
                  </a:lnTo>
                  <a:lnTo>
                    <a:pt x="834" y="1110"/>
                  </a:lnTo>
                  <a:lnTo>
                    <a:pt x="852" y="1104"/>
                  </a:lnTo>
                  <a:lnTo>
                    <a:pt x="870" y="1104"/>
                  </a:lnTo>
                  <a:lnTo>
                    <a:pt x="894" y="1092"/>
                  </a:lnTo>
                  <a:lnTo>
                    <a:pt x="918" y="1068"/>
                  </a:lnTo>
                  <a:lnTo>
                    <a:pt x="942" y="1056"/>
                  </a:lnTo>
                  <a:lnTo>
                    <a:pt x="972" y="1056"/>
                  </a:lnTo>
                  <a:lnTo>
                    <a:pt x="978" y="1044"/>
                  </a:lnTo>
                  <a:lnTo>
                    <a:pt x="1014" y="1044"/>
                  </a:lnTo>
                  <a:lnTo>
                    <a:pt x="1026" y="1038"/>
                  </a:lnTo>
                  <a:lnTo>
                    <a:pt x="1032" y="1038"/>
                  </a:lnTo>
                  <a:lnTo>
                    <a:pt x="1038" y="1032"/>
                  </a:lnTo>
                  <a:lnTo>
                    <a:pt x="1050" y="1032"/>
                  </a:lnTo>
                  <a:lnTo>
                    <a:pt x="1086" y="1020"/>
                  </a:lnTo>
                  <a:lnTo>
                    <a:pt x="1110" y="1008"/>
                  </a:lnTo>
                  <a:lnTo>
                    <a:pt x="1122" y="996"/>
                  </a:lnTo>
                  <a:lnTo>
                    <a:pt x="1134" y="990"/>
                  </a:lnTo>
                  <a:lnTo>
                    <a:pt x="1140" y="984"/>
                  </a:lnTo>
                  <a:lnTo>
                    <a:pt x="1206" y="972"/>
                  </a:lnTo>
                  <a:lnTo>
                    <a:pt x="1260" y="942"/>
                  </a:lnTo>
                  <a:lnTo>
                    <a:pt x="1296" y="942"/>
                  </a:lnTo>
                  <a:lnTo>
                    <a:pt x="1314" y="936"/>
                  </a:lnTo>
                  <a:lnTo>
                    <a:pt x="1326" y="936"/>
                  </a:lnTo>
                  <a:lnTo>
                    <a:pt x="1338" y="930"/>
                  </a:lnTo>
                  <a:lnTo>
                    <a:pt x="1368" y="900"/>
                  </a:lnTo>
                  <a:lnTo>
                    <a:pt x="1380" y="900"/>
                  </a:lnTo>
                  <a:lnTo>
                    <a:pt x="1404" y="888"/>
                  </a:lnTo>
                  <a:lnTo>
                    <a:pt x="1416" y="888"/>
                  </a:lnTo>
                  <a:lnTo>
                    <a:pt x="1428" y="882"/>
                  </a:lnTo>
                  <a:lnTo>
                    <a:pt x="1434" y="876"/>
                  </a:lnTo>
                  <a:lnTo>
                    <a:pt x="1434" y="864"/>
                  </a:lnTo>
                  <a:lnTo>
                    <a:pt x="1422" y="864"/>
                  </a:lnTo>
                  <a:lnTo>
                    <a:pt x="1428" y="858"/>
                  </a:lnTo>
                  <a:lnTo>
                    <a:pt x="1452" y="846"/>
                  </a:lnTo>
                  <a:lnTo>
                    <a:pt x="1458" y="840"/>
                  </a:lnTo>
                  <a:lnTo>
                    <a:pt x="1470" y="834"/>
                  </a:lnTo>
                  <a:lnTo>
                    <a:pt x="1476" y="828"/>
                  </a:lnTo>
                  <a:lnTo>
                    <a:pt x="1488" y="828"/>
                  </a:lnTo>
                  <a:lnTo>
                    <a:pt x="1500" y="822"/>
                  </a:lnTo>
                  <a:lnTo>
                    <a:pt x="1512" y="822"/>
                  </a:lnTo>
                  <a:lnTo>
                    <a:pt x="1518" y="816"/>
                  </a:lnTo>
                  <a:lnTo>
                    <a:pt x="1524" y="816"/>
                  </a:lnTo>
                  <a:lnTo>
                    <a:pt x="1596" y="786"/>
                  </a:lnTo>
                  <a:lnTo>
                    <a:pt x="1590" y="768"/>
                  </a:lnTo>
                  <a:lnTo>
                    <a:pt x="1602" y="768"/>
                  </a:lnTo>
                  <a:lnTo>
                    <a:pt x="1608" y="774"/>
                  </a:lnTo>
                  <a:lnTo>
                    <a:pt x="1626" y="774"/>
                  </a:lnTo>
                  <a:lnTo>
                    <a:pt x="1638" y="762"/>
                  </a:lnTo>
                  <a:lnTo>
                    <a:pt x="1650" y="762"/>
                  </a:lnTo>
                  <a:lnTo>
                    <a:pt x="1674" y="750"/>
                  </a:lnTo>
                  <a:lnTo>
                    <a:pt x="1680" y="744"/>
                  </a:lnTo>
                  <a:lnTo>
                    <a:pt x="1704" y="732"/>
                  </a:lnTo>
                  <a:lnTo>
                    <a:pt x="1740" y="720"/>
                  </a:lnTo>
                  <a:lnTo>
                    <a:pt x="1770" y="708"/>
                  </a:lnTo>
                  <a:lnTo>
                    <a:pt x="1794" y="702"/>
                  </a:lnTo>
                  <a:lnTo>
                    <a:pt x="1812" y="702"/>
                  </a:lnTo>
                  <a:lnTo>
                    <a:pt x="1818" y="708"/>
                  </a:lnTo>
                  <a:lnTo>
                    <a:pt x="1842" y="720"/>
                  </a:lnTo>
                  <a:lnTo>
                    <a:pt x="1848" y="726"/>
                  </a:lnTo>
                  <a:lnTo>
                    <a:pt x="1812" y="726"/>
                  </a:lnTo>
                  <a:lnTo>
                    <a:pt x="1794" y="714"/>
                  </a:lnTo>
                  <a:lnTo>
                    <a:pt x="1758" y="738"/>
                  </a:lnTo>
                  <a:lnTo>
                    <a:pt x="1728" y="738"/>
                  </a:lnTo>
                  <a:lnTo>
                    <a:pt x="1722" y="744"/>
                  </a:lnTo>
                  <a:lnTo>
                    <a:pt x="1710" y="750"/>
                  </a:lnTo>
                  <a:lnTo>
                    <a:pt x="1704" y="762"/>
                  </a:lnTo>
                  <a:lnTo>
                    <a:pt x="1692" y="768"/>
                  </a:lnTo>
                  <a:lnTo>
                    <a:pt x="1686" y="774"/>
                  </a:lnTo>
                  <a:lnTo>
                    <a:pt x="1680" y="774"/>
                  </a:lnTo>
                  <a:lnTo>
                    <a:pt x="1668" y="780"/>
                  </a:lnTo>
                  <a:lnTo>
                    <a:pt x="1656" y="780"/>
                  </a:lnTo>
                  <a:lnTo>
                    <a:pt x="1638" y="786"/>
                  </a:lnTo>
                  <a:lnTo>
                    <a:pt x="1614" y="798"/>
                  </a:lnTo>
                  <a:lnTo>
                    <a:pt x="1614" y="804"/>
                  </a:lnTo>
                  <a:lnTo>
                    <a:pt x="1620" y="810"/>
                  </a:lnTo>
                  <a:lnTo>
                    <a:pt x="1632" y="816"/>
                  </a:lnTo>
                  <a:lnTo>
                    <a:pt x="1650" y="816"/>
                  </a:lnTo>
                  <a:lnTo>
                    <a:pt x="1644" y="816"/>
                  </a:lnTo>
                  <a:lnTo>
                    <a:pt x="1638" y="822"/>
                  </a:lnTo>
                  <a:lnTo>
                    <a:pt x="1632" y="822"/>
                  </a:lnTo>
                  <a:lnTo>
                    <a:pt x="1620" y="828"/>
                  </a:lnTo>
                  <a:lnTo>
                    <a:pt x="1572" y="828"/>
                  </a:lnTo>
                  <a:lnTo>
                    <a:pt x="1566" y="834"/>
                  </a:lnTo>
                  <a:lnTo>
                    <a:pt x="1560" y="834"/>
                  </a:lnTo>
                  <a:lnTo>
                    <a:pt x="1560" y="846"/>
                  </a:lnTo>
                  <a:lnTo>
                    <a:pt x="1572" y="858"/>
                  </a:lnTo>
                  <a:lnTo>
                    <a:pt x="1584" y="858"/>
                  </a:lnTo>
                  <a:lnTo>
                    <a:pt x="1596" y="852"/>
                  </a:lnTo>
                  <a:lnTo>
                    <a:pt x="1638" y="834"/>
                  </a:lnTo>
                  <a:lnTo>
                    <a:pt x="1680" y="810"/>
                  </a:lnTo>
                  <a:lnTo>
                    <a:pt x="1722" y="798"/>
                  </a:lnTo>
                  <a:lnTo>
                    <a:pt x="1788" y="798"/>
                  </a:lnTo>
                  <a:lnTo>
                    <a:pt x="1818" y="792"/>
                  </a:lnTo>
                  <a:lnTo>
                    <a:pt x="1824" y="786"/>
                  </a:lnTo>
                  <a:lnTo>
                    <a:pt x="1848" y="774"/>
                  </a:lnTo>
                  <a:lnTo>
                    <a:pt x="1854" y="762"/>
                  </a:lnTo>
                  <a:lnTo>
                    <a:pt x="1866" y="756"/>
                  </a:lnTo>
                  <a:lnTo>
                    <a:pt x="1872" y="750"/>
                  </a:lnTo>
                  <a:lnTo>
                    <a:pt x="1866" y="738"/>
                  </a:lnTo>
                  <a:lnTo>
                    <a:pt x="1878" y="732"/>
                  </a:lnTo>
                  <a:lnTo>
                    <a:pt x="1908" y="720"/>
                  </a:lnTo>
                  <a:lnTo>
                    <a:pt x="1944" y="714"/>
                  </a:lnTo>
                  <a:lnTo>
                    <a:pt x="1962" y="708"/>
                  </a:lnTo>
                  <a:lnTo>
                    <a:pt x="1968" y="708"/>
                  </a:lnTo>
                  <a:lnTo>
                    <a:pt x="1980" y="720"/>
                  </a:lnTo>
                  <a:lnTo>
                    <a:pt x="1980" y="726"/>
                  </a:lnTo>
                  <a:lnTo>
                    <a:pt x="2046" y="702"/>
                  </a:lnTo>
                  <a:lnTo>
                    <a:pt x="2004" y="738"/>
                  </a:lnTo>
                  <a:lnTo>
                    <a:pt x="2022" y="744"/>
                  </a:lnTo>
                  <a:lnTo>
                    <a:pt x="2022" y="762"/>
                  </a:lnTo>
                  <a:lnTo>
                    <a:pt x="2028" y="762"/>
                  </a:lnTo>
                  <a:lnTo>
                    <a:pt x="2034" y="756"/>
                  </a:lnTo>
                  <a:lnTo>
                    <a:pt x="2094" y="726"/>
                  </a:lnTo>
                  <a:lnTo>
                    <a:pt x="2082" y="732"/>
                  </a:lnTo>
                  <a:lnTo>
                    <a:pt x="2076" y="744"/>
                  </a:lnTo>
                  <a:lnTo>
                    <a:pt x="2064" y="750"/>
                  </a:lnTo>
                  <a:lnTo>
                    <a:pt x="2058" y="762"/>
                  </a:lnTo>
                  <a:lnTo>
                    <a:pt x="2046" y="774"/>
                  </a:lnTo>
                  <a:lnTo>
                    <a:pt x="2052" y="780"/>
                  </a:lnTo>
                  <a:lnTo>
                    <a:pt x="2064" y="780"/>
                  </a:lnTo>
                  <a:lnTo>
                    <a:pt x="2076" y="786"/>
                  </a:lnTo>
                  <a:lnTo>
                    <a:pt x="2106" y="786"/>
                  </a:lnTo>
                  <a:lnTo>
                    <a:pt x="2208" y="798"/>
                  </a:lnTo>
                  <a:lnTo>
                    <a:pt x="2238" y="780"/>
                  </a:lnTo>
                  <a:lnTo>
                    <a:pt x="2232" y="786"/>
                  </a:lnTo>
                  <a:lnTo>
                    <a:pt x="2232" y="810"/>
                  </a:lnTo>
                  <a:lnTo>
                    <a:pt x="2298" y="810"/>
                  </a:lnTo>
                  <a:lnTo>
                    <a:pt x="2334" y="804"/>
                  </a:lnTo>
                  <a:lnTo>
                    <a:pt x="2328" y="804"/>
                  </a:lnTo>
                  <a:lnTo>
                    <a:pt x="2322" y="810"/>
                  </a:lnTo>
                  <a:lnTo>
                    <a:pt x="2310" y="810"/>
                  </a:lnTo>
                  <a:lnTo>
                    <a:pt x="2286" y="822"/>
                  </a:lnTo>
                  <a:lnTo>
                    <a:pt x="2280" y="828"/>
                  </a:lnTo>
                  <a:lnTo>
                    <a:pt x="2280" y="834"/>
                  </a:lnTo>
                  <a:lnTo>
                    <a:pt x="2292" y="846"/>
                  </a:lnTo>
                  <a:lnTo>
                    <a:pt x="2304" y="852"/>
                  </a:lnTo>
                  <a:lnTo>
                    <a:pt x="2310" y="858"/>
                  </a:lnTo>
                  <a:lnTo>
                    <a:pt x="2310" y="882"/>
                  </a:lnTo>
                  <a:lnTo>
                    <a:pt x="2316" y="888"/>
                  </a:lnTo>
                  <a:lnTo>
                    <a:pt x="2316" y="900"/>
                  </a:lnTo>
                  <a:lnTo>
                    <a:pt x="2322" y="912"/>
                  </a:lnTo>
                  <a:lnTo>
                    <a:pt x="2358" y="912"/>
                  </a:lnTo>
                  <a:lnTo>
                    <a:pt x="2370" y="906"/>
                  </a:lnTo>
                  <a:lnTo>
                    <a:pt x="2388" y="906"/>
                  </a:lnTo>
                  <a:lnTo>
                    <a:pt x="2382" y="876"/>
                  </a:lnTo>
                  <a:lnTo>
                    <a:pt x="2400" y="870"/>
                  </a:lnTo>
                  <a:lnTo>
                    <a:pt x="2412" y="888"/>
                  </a:lnTo>
                  <a:lnTo>
                    <a:pt x="2442" y="876"/>
                  </a:lnTo>
                  <a:lnTo>
                    <a:pt x="2430" y="888"/>
                  </a:lnTo>
                  <a:lnTo>
                    <a:pt x="2430" y="900"/>
                  </a:lnTo>
                  <a:lnTo>
                    <a:pt x="2424" y="906"/>
                  </a:lnTo>
                  <a:lnTo>
                    <a:pt x="2424" y="912"/>
                  </a:lnTo>
                  <a:lnTo>
                    <a:pt x="2430" y="918"/>
                  </a:lnTo>
                  <a:lnTo>
                    <a:pt x="2436" y="918"/>
                  </a:lnTo>
                  <a:lnTo>
                    <a:pt x="2448" y="912"/>
                  </a:lnTo>
                  <a:lnTo>
                    <a:pt x="2454" y="906"/>
                  </a:lnTo>
                  <a:lnTo>
                    <a:pt x="2460" y="894"/>
                  </a:lnTo>
                  <a:lnTo>
                    <a:pt x="2466" y="888"/>
                  </a:lnTo>
                  <a:lnTo>
                    <a:pt x="2472" y="876"/>
                  </a:lnTo>
                  <a:lnTo>
                    <a:pt x="2502" y="834"/>
                  </a:lnTo>
                  <a:lnTo>
                    <a:pt x="2478" y="900"/>
                  </a:lnTo>
                  <a:lnTo>
                    <a:pt x="2484" y="924"/>
                  </a:lnTo>
                  <a:lnTo>
                    <a:pt x="2520" y="912"/>
                  </a:lnTo>
                  <a:lnTo>
                    <a:pt x="2496" y="936"/>
                  </a:lnTo>
                  <a:lnTo>
                    <a:pt x="2520" y="954"/>
                  </a:lnTo>
                  <a:lnTo>
                    <a:pt x="2502" y="954"/>
                  </a:lnTo>
                  <a:lnTo>
                    <a:pt x="2502" y="972"/>
                  </a:lnTo>
                  <a:lnTo>
                    <a:pt x="2472" y="990"/>
                  </a:lnTo>
                  <a:lnTo>
                    <a:pt x="2454" y="1002"/>
                  </a:lnTo>
                  <a:lnTo>
                    <a:pt x="2484" y="1020"/>
                  </a:lnTo>
                  <a:lnTo>
                    <a:pt x="2478" y="1050"/>
                  </a:lnTo>
                  <a:lnTo>
                    <a:pt x="2460" y="1068"/>
                  </a:lnTo>
                  <a:lnTo>
                    <a:pt x="2478" y="1080"/>
                  </a:lnTo>
                  <a:lnTo>
                    <a:pt x="2460" y="1098"/>
                  </a:lnTo>
                  <a:lnTo>
                    <a:pt x="2490" y="1098"/>
                  </a:lnTo>
                  <a:lnTo>
                    <a:pt x="2526" y="1086"/>
                  </a:lnTo>
                  <a:lnTo>
                    <a:pt x="2496" y="1122"/>
                  </a:lnTo>
                  <a:lnTo>
                    <a:pt x="2478" y="1140"/>
                  </a:lnTo>
                  <a:lnTo>
                    <a:pt x="2502" y="1146"/>
                  </a:lnTo>
                  <a:lnTo>
                    <a:pt x="2454" y="1164"/>
                  </a:lnTo>
                  <a:lnTo>
                    <a:pt x="2436" y="1176"/>
                  </a:lnTo>
                  <a:lnTo>
                    <a:pt x="2454" y="1188"/>
                  </a:lnTo>
                  <a:lnTo>
                    <a:pt x="2454" y="1200"/>
                  </a:lnTo>
                  <a:lnTo>
                    <a:pt x="2472" y="1188"/>
                  </a:lnTo>
                  <a:lnTo>
                    <a:pt x="2490" y="1182"/>
                  </a:lnTo>
                  <a:lnTo>
                    <a:pt x="2502" y="1170"/>
                  </a:lnTo>
                  <a:lnTo>
                    <a:pt x="2514" y="1164"/>
                  </a:lnTo>
                  <a:lnTo>
                    <a:pt x="2532" y="1146"/>
                  </a:lnTo>
                  <a:lnTo>
                    <a:pt x="2538" y="1134"/>
                  </a:lnTo>
                  <a:lnTo>
                    <a:pt x="2538" y="1122"/>
                  </a:lnTo>
                  <a:lnTo>
                    <a:pt x="2550" y="1116"/>
                  </a:lnTo>
                  <a:lnTo>
                    <a:pt x="2562" y="1104"/>
                  </a:lnTo>
                  <a:lnTo>
                    <a:pt x="2574" y="1098"/>
                  </a:lnTo>
                  <a:lnTo>
                    <a:pt x="2574" y="1086"/>
                  </a:lnTo>
                  <a:lnTo>
                    <a:pt x="2568" y="1080"/>
                  </a:lnTo>
                  <a:lnTo>
                    <a:pt x="2562" y="1080"/>
                  </a:lnTo>
                  <a:close/>
                  <a:moveTo>
                    <a:pt x="2394" y="1056"/>
                  </a:moveTo>
                  <a:lnTo>
                    <a:pt x="2400" y="1062"/>
                  </a:lnTo>
                  <a:lnTo>
                    <a:pt x="2418" y="1062"/>
                  </a:lnTo>
                  <a:lnTo>
                    <a:pt x="2436" y="1044"/>
                  </a:lnTo>
                  <a:lnTo>
                    <a:pt x="2460" y="1038"/>
                  </a:lnTo>
                  <a:lnTo>
                    <a:pt x="2454" y="1020"/>
                  </a:lnTo>
                  <a:lnTo>
                    <a:pt x="2430" y="1020"/>
                  </a:lnTo>
                  <a:lnTo>
                    <a:pt x="2418" y="1026"/>
                  </a:lnTo>
                  <a:lnTo>
                    <a:pt x="2412" y="1032"/>
                  </a:lnTo>
                  <a:lnTo>
                    <a:pt x="2406" y="1044"/>
                  </a:lnTo>
                  <a:lnTo>
                    <a:pt x="2394" y="1050"/>
                  </a:lnTo>
                  <a:lnTo>
                    <a:pt x="2394" y="1056"/>
                  </a:lnTo>
                  <a:close/>
                  <a:moveTo>
                    <a:pt x="2376" y="984"/>
                  </a:moveTo>
                  <a:lnTo>
                    <a:pt x="2358" y="984"/>
                  </a:lnTo>
                  <a:lnTo>
                    <a:pt x="2346" y="990"/>
                  </a:lnTo>
                  <a:lnTo>
                    <a:pt x="2334" y="1002"/>
                  </a:lnTo>
                  <a:lnTo>
                    <a:pt x="2334" y="1014"/>
                  </a:lnTo>
                  <a:lnTo>
                    <a:pt x="2322" y="1026"/>
                  </a:lnTo>
                  <a:lnTo>
                    <a:pt x="2322" y="1044"/>
                  </a:lnTo>
                  <a:lnTo>
                    <a:pt x="2310" y="1056"/>
                  </a:lnTo>
                  <a:lnTo>
                    <a:pt x="2310" y="1074"/>
                  </a:lnTo>
                  <a:lnTo>
                    <a:pt x="2316" y="1080"/>
                  </a:lnTo>
                  <a:lnTo>
                    <a:pt x="2322" y="1074"/>
                  </a:lnTo>
                  <a:lnTo>
                    <a:pt x="2328" y="1062"/>
                  </a:lnTo>
                  <a:lnTo>
                    <a:pt x="2340" y="1050"/>
                  </a:lnTo>
                  <a:lnTo>
                    <a:pt x="2352" y="1044"/>
                  </a:lnTo>
                  <a:lnTo>
                    <a:pt x="2376" y="1020"/>
                  </a:lnTo>
                  <a:lnTo>
                    <a:pt x="2382" y="1008"/>
                  </a:lnTo>
                  <a:lnTo>
                    <a:pt x="2382" y="990"/>
                  </a:lnTo>
                  <a:lnTo>
                    <a:pt x="2376" y="984"/>
                  </a:lnTo>
                  <a:close/>
                  <a:moveTo>
                    <a:pt x="786" y="810"/>
                  </a:moveTo>
                  <a:lnTo>
                    <a:pt x="798" y="810"/>
                  </a:lnTo>
                  <a:lnTo>
                    <a:pt x="834" y="798"/>
                  </a:lnTo>
                  <a:lnTo>
                    <a:pt x="858" y="786"/>
                  </a:lnTo>
                  <a:lnTo>
                    <a:pt x="864" y="780"/>
                  </a:lnTo>
                  <a:lnTo>
                    <a:pt x="870" y="780"/>
                  </a:lnTo>
                  <a:lnTo>
                    <a:pt x="864" y="774"/>
                  </a:lnTo>
                  <a:lnTo>
                    <a:pt x="828" y="762"/>
                  </a:lnTo>
                  <a:lnTo>
                    <a:pt x="810" y="762"/>
                  </a:lnTo>
                  <a:lnTo>
                    <a:pt x="798" y="768"/>
                  </a:lnTo>
                  <a:lnTo>
                    <a:pt x="792" y="774"/>
                  </a:lnTo>
                  <a:lnTo>
                    <a:pt x="786" y="768"/>
                  </a:lnTo>
                  <a:lnTo>
                    <a:pt x="774" y="768"/>
                  </a:lnTo>
                  <a:lnTo>
                    <a:pt x="768" y="774"/>
                  </a:lnTo>
                  <a:lnTo>
                    <a:pt x="768" y="804"/>
                  </a:lnTo>
                  <a:lnTo>
                    <a:pt x="774" y="810"/>
                  </a:lnTo>
                  <a:lnTo>
                    <a:pt x="786" y="810"/>
                  </a:lnTo>
                  <a:close/>
                  <a:moveTo>
                    <a:pt x="0" y="1332"/>
                  </a:moveTo>
                  <a:lnTo>
                    <a:pt x="60" y="1320"/>
                  </a:lnTo>
                  <a:lnTo>
                    <a:pt x="72" y="1302"/>
                  </a:lnTo>
                  <a:lnTo>
                    <a:pt x="132" y="1296"/>
                  </a:lnTo>
                  <a:lnTo>
                    <a:pt x="114" y="1272"/>
                  </a:lnTo>
                  <a:lnTo>
                    <a:pt x="0" y="1332"/>
                  </a:lnTo>
                  <a:close/>
                  <a:moveTo>
                    <a:pt x="1362" y="954"/>
                  </a:moveTo>
                  <a:lnTo>
                    <a:pt x="1350" y="954"/>
                  </a:lnTo>
                  <a:lnTo>
                    <a:pt x="1338" y="960"/>
                  </a:lnTo>
                  <a:lnTo>
                    <a:pt x="1332" y="954"/>
                  </a:lnTo>
                  <a:lnTo>
                    <a:pt x="1314" y="954"/>
                  </a:lnTo>
                  <a:lnTo>
                    <a:pt x="1314" y="978"/>
                  </a:lnTo>
                  <a:lnTo>
                    <a:pt x="1290" y="996"/>
                  </a:lnTo>
                  <a:lnTo>
                    <a:pt x="1290" y="972"/>
                  </a:lnTo>
                  <a:lnTo>
                    <a:pt x="1278" y="966"/>
                  </a:lnTo>
                  <a:lnTo>
                    <a:pt x="1272" y="966"/>
                  </a:lnTo>
                  <a:lnTo>
                    <a:pt x="1248" y="978"/>
                  </a:lnTo>
                  <a:lnTo>
                    <a:pt x="1242" y="978"/>
                  </a:lnTo>
                  <a:lnTo>
                    <a:pt x="1230" y="990"/>
                  </a:lnTo>
                  <a:lnTo>
                    <a:pt x="1224" y="1002"/>
                  </a:lnTo>
                  <a:lnTo>
                    <a:pt x="1218" y="1008"/>
                  </a:lnTo>
                  <a:lnTo>
                    <a:pt x="1218" y="1014"/>
                  </a:lnTo>
                  <a:lnTo>
                    <a:pt x="1224" y="1014"/>
                  </a:lnTo>
                  <a:lnTo>
                    <a:pt x="1230" y="1020"/>
                  </a:lnTo>
                  <a:lnTo>
                    <a:pt x="1278" y="1020"/>
                  </a:lnTo>
                  <a:lnTo>
                    <a:pt x="1296" y="1014"/>
                  </a:lnTo>
                  <a:lnTo>
                    <a:pt x="1308" y="1014"/>
                  </a:lnTo>
                  <a:lnTo>
                    <a:pt x="1320" y="1008"/>
                  </a:lnTo>
                  <a:lnTo>
                    <a:pt x="1320" y="996"/>
                  </a:lnTo>
                  <a:lnTo>
                    <a:pt x="1350" y="990"/>
                  </a:lnTo>
                  <a:lnTo>
                    <a:pt x="1350" y="984"/>
                  </a:lnTo>
                  <a:lnTo>
                    <a:pt x="1386" y="978"/>
                  </a:lnTo>
                  <a:lnTo>
                    <a:pt x="1398" y="954"/>
                  </a:lnTo>
                  <a:lnTo>
                    <a:pt x="1380" y="960"/>
                  </a:lnTo>
                  <a:lnTo>
                    <a:pt x="1374" y="954"/>
                  </a:lnTo>
                  <a:lnTo>
                    <a:pt x="1362" y="954"/>
                  </a:lnTo>
                  <a:close/>
                  <a:moveTo>
                    <a:pt x="162" y="1290"/>
                  </a:moveTo>
                  <a:lnTo>
                    <a:pt x="204" y="1290"/>
                  </a:lnTo>
                  <a:lnTo>
                    <a:pt x="240" y="1260"/>
                  </a:lnTo>
                  <a:lnTo>
                    <a:pt x="228" y="1242"/>
                  </a:lnTo>
                  <a:lnTo>
                    <a:pt x="162" y="1290"/>
                  </a:lnTo>
                  <a:close/>
                  <a:moveTo>
                    <a:pt x="2466" y="1140"/>
                  </a:moveTo>
                  <a:lnTo>
                    <a:pt x="2472" y="1128"/>
                  </a:lnTo>
                  <a:lnTo>
                    <a:pt x="2454" y="1110"/>
                  </a:lnTo>
                  <a:lnTo>
                    <a:pt x="2448" y="1110"/>
                  </a:lnTo>
                  <a:lnTo>
                    <a:pt x="2436" y="1122"/>
                  </a:lnTo>
                  <a:lnTo>
                    <a:pt x="2430" y="1134"/>
                  </a:lnTo>
                  <a:lnTo>
                    <a:pt x="2424" y="1152"/>
                  </a:lnTo>
                  <a:lnTo>
                    <a:pt x="2418" y="1164"/>
                  </a:lnTo>
                  <a:lnTo>
                    <a:pt x="2418" y="1176"/>
                  </a:lnTo>
                  <a:lnTo>
                    <a:pt x="2436" y="1158"/>
                  </a:lnTo>
                  <a:lnTo>
                    <a:pt x="2454" y="1158"/>
                  </a:lnTo>
                  <a:lnTo>
                    <a:pt x="2460" y="1152"/>
                  </a:lnTo>
                  <a:lnTo>
                    <a:pt x="2466" y="1140"/>
                  </a:lnTo>
                  <a:close/>
                  <a:moveTo>
                    <a:pt x="1428" y="912"/>
                  </a:moveTo>
                  <a:lnTo>
                    <a:pt x="1404" y="924"/>
                  </a:lnTo>
                  <a:lnTo>
                    <a:pt x="1386" y="942"/>
                  </a:lnTo>
                  <a:lnTo>
                    <a:pt x="1386" y="948"/>
                  </a:lnTo>
                  <a:lnTo>
                    <a:pt x="1398" y="954"/>
                  </a:lnTo>
                  <a:lnTo>
                    <a:pt x="1410" y="954"/>
                  </a:lnTo>
                  <a:lnTo>
                    <a:pt x="1422" y="948"/>
                  </a:lnTo>
                  <a:lnTo>
                    <a:pt x="1428" y="948"/>
                  </a:lnTo>
                  <a:lnTo>
                    <a:pt x="1440" y="942"/>
                  </a:lnTo>
                  <a:lnTo>
                    <a:pt x="1446" y="930"/>
                  </a:lnTo>
                  <a:lnTo>
                    <a:pt x="1470" y="930"/>
                  </a:lnTo>
                  <a:lnTo>
                    <a:pt x="1470" y="924"/>
                  </a:lnTo>
                  <a:lnTo>
                    <a:pt x="1458" y="912"/>
                  </a:lnTo>
                  <a:lnTo>
                    <a:pt x="1452" y="912"/>
                  </a:lnTo>
                  <a:lnTo>
                    <a:pt x="1440" y="906"/>
                  </a:lnTo>
                  <a:lnTo>
                    <a:pt x="1428" y="912"/>
                  </a:lnTo>
                  <a:close/>
                  <a:moveTo>
                    <a:pt x="498" y="1164"/>
                  </a:moveTo>
                  <a:lnTo>
                    <a:pt x="486" y="1164"/>
                  </a:lnTo>
                  <a:lnTo>
                    <a:pt x="474" y="1170"/>
                  </a:lnTo>
                  <a:lnTo>
                    <a:pt x="462" y="1170"/>
                  </a:lnTo>
                  <a:lnTo>
                    <a:pt x="450" y="1176"/>
                  </a:lnTo>
                  <a:lnTo>
                    <a:pt x="444" y="1182"/>
                  </a:lnTo>
                  <a:lnTo>
                    <a:pt x="432" y="1182"/>
                  </a:lnTo>
                  <a:lnTo>
                    <a:pt x="426" y="1188"/>
                  </a:lnTo>
                  <a:lnTo>
                    <a:pt x="414" y="1188"/>
                  </a:lnTo>
                  <a:lnTo>
                    <a:pt x="390" y="1200"/>
                  </a:lnTo>
                  <a:lnTo>
                    <a:pt x="384" y="1206"/>
                  </a:lnTo>
                  <a:lnTo>
                    <a:pt x="384" y="1218"/>
                  </a:lnTo>
                  <a:lnTo>
                    <a:pt x="402" y="1218"/>
                  </a:lnTo>
                  <a:lnTo>
                    <a:pt x="420" y="1212"/>
                  </a:lnTo>
                  <a:lnTo>
                    <a:pt x="432" y="1206"/>
                  </a:lnTo>
                  <a:lnTo>
                    <a:pt x="504" y="1206"/>
                  </a:lnTo>
                  <a:lnTo>
                    <a:pt x="510" y="1200"/>
                  </a:lnTo>
                  <a:lnTo>
                    <a:pt x="510" y="1176"/>
                  </a:lnTo>
                  <a:lnTo>
                    <a:pt x="498" y="1164"/>
                  </a:lnTo>
                  <a:close/>
                  <a:moveTo>
                    <a:pt x="330" y="1242"/>
                  </a:moveTo>
                  <a:lnTo>
                    <a:pt x="330" y="1224"/>
                  </a:lnTo>
                  <a:lnTo>
                    <a:pt x="276" y="1242"/>
                  </a:lnTo>
                  <a:lnTo>
                    <a:pt x="330" y="124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29" name="Zypern" descr="© INSCALE GmbH, 05.05.2010&#10;http://www.presentationload.com/">
              <a:extLst>
                <a:ext uri="{FF2B5EF4-FFF2-40B4-BE49-F238E27FC236}">
                  <a16:creationId xmlns:a16="http://schemas.microsoft.com/office/drawing/2014/main" id="{5244A171-922C-413A-BADB-A24B6524C7B1}"/>
                </a:ext>
              </a:extLst>
            </p:cNvPr>
            <p:cNvSpPr>
              <a:spLocks/>
            </p:cNvSpPr>
            <p:nvPr/>
          </p:nvSpPr>
          <p:spPr bwMode="gray">
            <a:xfrm>
              <a:off x="5002747" y="3111108"/>
              <a:ext cx="59585" cy="34497"/>
            </a:xfrm>
            <a:custGeom>
              <a:avLst/>
              <a:gdLst>
                <a:gd name="T0" fmla="*/ 0 w 150"/>
                <a:gd name="T1" fmla="*/ 2147483647 h 84"/>
                <a:gd name="T2" fmla="*/ 2147483647 w 150"/>
                <a:gd name="T3" fmla="*/ 2147483647 h 84"/>
                <a:gd name="T4" fmla="*/ 2147483647 w 150"/>
                <a:gd name="T5" fmla="*/ 2147483647 h 84"/>
                <a:gd name="T6" fmla="*/ 2147483647 w 150"/>
                <a:gd name="T7" fmla="*/ 2147483647 h 84"/>
                <a:gd name="T8" fmla="*/ 2147483647 w 150"/>
                <a:gd name="T9" fmla="*/ 2147483647 h 84"/>
                <a:gd name="T10" fmla="*/ 2147483647 w 150"/>
                <a:gd name="T11" fmla="*/ 2147483647 h 84"/>
                <a:gd name="T12" fmla="*/ 2147483647 w 150"/>
                <a:gd name="T13" fmla="*/ 2147483647 h 84"/>
                <a:gd name="T14" fmla="*/ 2147483647 w 150"/>
                <a:gd name="T15" fmla="*/ 2147483647 h 84"/>
                <a:gd name="T16" fmla="*/ 2147483647 w 150"/>
                <a:gd name="T17" fmla="*/ 2147483647 h 84"/>
                <a:gd name="T18" fmla="*/ 2147483647 w 150"/>
                <a:gd name="T19" fmla="*/ 2147483647 h 84"/>
                <a:gd name="T20" fmla="*/ 2147483647 w 150"/>
                <a:gd name="T21" fmla="*/ 2147483647 h 84"/>
                <a:gd name="T22" fmla="*/ 2147483647 w 150"/>
                <a:gd name="T23" fmla="*/ 2147483647 h 84"/>
                <a:gd name="T24" fmla="*/ 2147483647 w 150"/>
                <a:gd name="T25" fmla="*/ 2147483647 h 84"/>
                <a:gd name="T26" fmla="*/ 2147483647 w 150"/>
                <a:gd name="T27" fmla="*/ 0 h 84"/>
                <a:gd name="T28" fmla="*/ 2147483647 w 150"/>
                <a:gd name="T29" fmla="*/ 2147483647 h 84"/>
                <a:gd name="T30" fmla="*/ 2147483647 w 150"/>
                <a:gd name="T31" fmla="*/ 2147483647 h 84"/>
                <a:gd name="T32" fmla="*/ 2147483647 w 150"/>
                <a:gd name="T33" fmla="*/ 2147483647 h 84"/>
                <a:gd name="T34" fmla="*/ 2147483647 w 150"/>
                <a:gd name="T35" fmla="*/ 2147483647 h 84"/>
                <a:gd name="T36" fmla="*/ 2147483647 w 150"/>
                <a:gd name="T37" fmla="*/ 2147483647 h 84"/>
                <a:gd name="T38" fmla="*/ 0 w 150"/>
                <a:gd name="T39" fmla="*/ 2147483647 h 84"/>
                <a:gd name="T40" fmla="*/ 0 w 150"/>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84"/>
                <a:gd name="T65" fmla="*/ 150 w 150"/>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84">
                  <a:moveTo>
                    <a:pt x="0" y="48"/>
                  </a:moveTo>
                  <a:lnTo>
                    <a:pt x="6" y="60"/>
                  </a:lnTo>
                  <a:lnTo>
                    <a:pt x="30" y="72"/>
                  </a:lnTo>
                  <a:lnTo>
                    <a:pt x="36" y="84"/>
                  </a:lnTo>
                  <a:lnTo>
                    <a:pt x="54" y="84"/>
                  </a:lnTo>
                  <a:lnTo>
                    <a:pt x="60" y="78"/>
                  </a:lnTo>
                  <a:lnTo>
                    <a:pt x="72" y="72"/>
                  </a:lnTo>
                  <a:lnTo>
                    <a:pt x="78" y="66"/>
                  </a:lnTo>
                  <a:lnTo>
                    <a:pt x="90" y="60"/>
                  </a:lnTo>
                  <a:lnTo>
                    <a:pt x="96" y="54"/>
                  </a:lnTo>
                  <a:lnTo>
                    <a:pt x="102" y="60"/>
                  </a:lnTo>
                  <a:lnTo>
                    <a:pt x="120" y="60"/>
                  </a:lnTo>
                  <a:lnTo>
                    <a:pt x="120" y="36"/>
                  </a:lnTo>
                  <a:lnTo>
                    <a:pt x="150" y="0"/>
                  </a:lnTo>
                  <a:lnTo>
                    <a:pt x="108" y="24"/>
                  </a:lnTo>
                  <a:lnTo>
                    <a:pt x="54" y="24"/>
                  </a:lnTo>
                  <a:lnTo>
                    <a:pt x="48" y="30"/>
                  </a:lnTo>
                  <a:lnTo>
                    <a:pt x="48" y="36"/>
                  </a:lnTo>
                  <a:lnTo>
                    <a:pt x="12" y="36"/>
                  </a:lnTo>
                  <a:lnTo>
                    <a:pt x="0" y="42"/>
                  </a:lnTo>
                  <a:lnTo>
                    <a:pt x="0" y="48"/>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30" name="Zentral Afrikanische Republik" descr="© INSCALE GmbH, 05.05.2010&#10;http://www.presentationload.com/">
              <a:extLst>
                <a:ext uri="{FF2B5EF4-FFF2-40B4-BE49-F238E27FC236}">
                  <a16:creationId xmlns:a16="http://schemas.microsoft.com/office/drawing/2014/main" id="{51E9AA51-F3F2-4ED2-97F5-E348237F99EA}"/>
                </a:ext>
              </a:extLst>
            </p:cNvPr>
            <p:cNvSpPr>
              <a:spLocks/>
            </p:cNvSpPr>
            <p:nvPr/>
          </p:nvSpPr>
          <p:spPr bwMode="gray">
            <a:xfrm>
              <a:off x="4535477" y="3901392"/>
              <a:ext cx="363781" cy="277541"/>
            </a:xfrm>
            <a:custGeom>
              <a:avLst/>
              <a:gdLst>
                <a:gd name="T0" fmla="*/ 2147483647 w 912"/>
                <a:gd name="T1" fmla="*/ 2147483647 h 702"/>
                <a:gd name="T2" fmla="*/ 2147483647 w 912"/>
                <a:gd name="T3" fmla="*/ 2147483647 h 702"/>
                <a:gd name="T4" fmla="*/ 2147483647 w 912"/>
                <a:gd name="T5" fmla="*/ 2147483647 h 702"/>
                <a:gd name="T6" fmla="*/ 2147483647 w 912"/>
                <a:gd name="T7" fmla="*/ 2147483647 h 702"/>
                <a:gd name="T8" fmla="*/ 2147483647 w 912"/>
                <a:gd name="T9" fmla="*/ 2147483647 h 702"/>
                <a:gd name="T10" fmla="*/ 2147483647 w 912"/>
                <a:gd name="T11" fmla="*/ 2147483647 h 702"/>
                <a:gd name="T12" fmla="*/ 2147483647 w 912"/>
                <a:gd name="T13" fmla="*/ 2147483647 h 702"/>
                <a:gd name="T14" fmla="*/ 2147483647 w 912"/>
                <a:gd name="T15" fmla="*/ 2147483647 h 702"/>
                <a:gd name="T16" fmla="*/ 2147483647 w 912"/>
                <a:gd name="T17" fmla="*/ 2147483647 h 702"/>
                <a:gd name="T18" fmla="*/ 2147483647 w 912"/>
                <a:gd name="T19" fmla="*/ 2147483647 h 702"/>
                <a:gd name="T20" fmla="*/ 2147483647 w 912"/>
                <a:gd name="T21" fmla="*/ 2147483647 h 702"/>
                <a:gd name="T22" fmla="*/ 2147483647 w 912"/>
                <a:gd name="T23" fmla="*/ 2147483647 h 702"/>
                <a:gd name="T24" fmla="*/ 2147483647 w 912"/>
                <a:gd name="T25" fmla="*/ 2147483647 h 702"/>
                <a:gd name="T26" fmla="*/ 2147483647 w 912"/>
                <a:gd name="T27" fmla="*/ 2147483647 h 702"/>
                <a:gd name="T28" fmla="*/ 2147483647 w 912"/>
                <a:gd name="T29" fmla="*/ 2147483647 h 702"/>
                <a:gd name="T30" fmla="*/ 2147483647 w 912"/>
                <a:gd name="T31" fmla="*/ 0 h 702"/>
                <a:gd name="T32" fmla="*/ 2147483647 w 912"/>
                <a:gd name="T33" fmla="*/ 2147483647 h 702"/>
                <a:gd name="T34" fmla="*/ 2147483647 w 912"/>
                <a:gd name="T35" fmla="*/ 2147483647 h 702"/>
                <a:gd name="T36" fmla="*/ 2147483647 w 912"/>
                <a:gd name="T37" fmla="*/ 2147483647 h 702"/>
                <a:gd name="T38" fmla="*/ 2147483647 w 912"/>
                <a:gd name="T39" fmla="*/ 2147483647 h 702"/>
                <a:gd name="T40" fmla="*/ 2147483647 w 912"/>
                <a:gd name="T41" fmla="*/ 2147483647 h 702"/>
                <a:gd name="T42" fmla="*/ 2147483647 w 912"/>
                <a:gd name="T43" fmla="*/ 2147483647 h 702"/>
                <a:gd name="T44" fmla="*/ 2147483647 w 912"/>
                <a:gd name="T45" fmla="*/ 2147483647 h 702"/>
                <a:gd name="T46" fmla="*/ 2147483647 w 912"/>
                <a:gd name="T47" fmla="*/ 2147483647 h 702"/>
                <a:gd name="T48" fmla="*/ 2147483647 w 912"/>
                <a:gd name="T49" fmla="*/ 2147483647 h 702"/>
                <a:gd name="T50" fmla="*/ 2147483647 w 912"/>
                <a:gd name="T51" fmla="*/ 2147483647 h 702"/>
                <a:gd name="T52" fmla="*/ 2147483647 w 912"/>
                <a:gd name="T53" fmla="*/ 2147483647 h 702"/>
                <a:gd name="T54" fmla="*/ 2147483647 w 912"/>
                <a:gd name="T55" fmla="*/ 2147483647 h 702"/>
                <a:gd name="T56" fmla="*/ 2147483647 w 912"/>
                <a:gd name="T57" fmla="*/ 2147483647 h 702"/>
                <a:gd name="T58" fmla="*/ 2147483647 w 912"/>
                <a:gd name="T59" fmla="*/ 2147483647 h 702"/>
                <a:gd name="T60" fmla="*/ 0 w 912"/>
                <a:gd name="T61" fmla="*/ 2147483647 h 702"/>
                <a:gd name="T62" fmla="*/ 2147483647 w 912"/>
                <a:gd name="T63" fmla="*/ 2147483647 h 702"/>
                <a:gd name="T64" fmla="*/ 2147483647 w 912"/>
                <a:gd name="T65" fmla="*/ 2147483647 h 702"/>
                <a:gd name="T66" fmla="*/ 2147483647 w 912"/>
                <a:gd name="T67" fmla="*/ 2147483647 h 702"/>
                <a:gd name="T68" fmla="*/ 2147483647 w 912"/>
                <a:gd name="T69" fmla="*/ 2147483647 h 702"/>
                <a:gd name="T70" fmla="*/ 2147483647 w 912"/>
                <a:gd name="T71" fmla="*/ 2147483647 h 702"/>
                <a:gd name="T72" fmla="*/ 2147483647 w 912"/>
                <a:gd name="T73" fmla="*/ 2147483647 h 702"/>
                <a:gd name="T74" fmla="*/ 2147483647 w 912"/>
                <a:gd name="T75" fmla="*/ 2147483647 h 702"/>
                <a:gd name="T76" fmla="*/ 2147483647 w 912"/>
                <a:gd name="T77" fmla="*/ 2147483647 h 702"/>
                <a:gd name="T78" fmla="*/ 2147483647 w 912"/>
                <a:gd name="T79" fmla="*/ 2147483647 h 702"/>
                <a:gd name="T80" fmla="*/ 2147483647 w 912"/>
                <a:gd name="T81" fmla="*/ 2147483647 h 702"/>
                <a:gd name="T82" fmla="*/ 2147483647 w 912"/>
                <a:gd name="T83" fmla="*/ 2147483647 h 702"/>
                <a:gd name="T84" fmla="*/ 2147483647 w 912"/>
                <a:gd name="T85" fmla="*/ 2147483647 h 702"/>
                <a:gd name="T86" fmla="*/ 2147483647 w 912"/>
                <a:gd name="T87" fmla="*/ 2147483647 h 702"/>
                <a:gd name="T88" fmla="*/ 2147483647 w 912"/>
                <a:gd name="T89" fmla="*/ 2147483647 h 702"/>
                <a:gd name="T90" fmla="*/ 2147483647 w 912"/>
                <a:gd name="T91" fmla="*/ 2147483647 h 702"/>
                <a:gd name="T92" fmla="*/ 2147483647 w 912"/>
                <a:gd name="T93" fmla="*/ 2147483647 h 702"/>
                <a:gd name="T94" fmla="*/ 2147483647 w 912"/>
                <a:gd name="T95" fmla="*/ 2147483647 h 702"/>
                <a:gd name="T96" fmla="*/ 2147483647 w 912"/>
                <a:gd name="T97" fmla="*/ 2147483647 h 702"/>
                <a:gd name="T98" fmla="*/ 2147483647 w 912"/>
                <a:gd name="T99" fmla="*/ 2147483647 h 702"/>
                <a:gd name="T100" fmla="*/ 2147483647 w 912"/>
                <a:gd name="T101" fmla="*/ 2147483647 h 702"/>
                <a:gd name="T102" fmla="*/ 2147483647 w 912"/>
                <a:gd name="T103" fmla="*/ 2147483647 h 702"/>
                <a:gd name="T104" fmla="*/ 2147483647 w 912"/>
                <a:gd name="T105" fmla="*/ 2147483647 h 702"/>
                <a:gd name="T106" fmla="*/ 2147483647 w 912"/>
                <a:gd name="T107" fmla="*/ 2147483647 h 702"/>
                <a:gd name="T108" fmla="*/ 2147483647 w 912"/>
                <a:gd name="T109" fmla="*/ 2147483647 h 702"/>
                <a:gd name="T110" fmla="*/ 2147483647 w 912"/>
                <a:gd name="T111" fmla="*/ 2147483647 h 702"/>
                <a:gd name="T112" fmla="*/ 2147483647 w 912"/>
                <a:gd name="T113" fmla="*/ 2147483647 h 702"/>
                <a:gd name="T114" fmla="*/ 2147483647 w 912"/>
                <a:gd name="T115" fmla="*/ 2147483647 h 702"/>
                <a:gd name="T116" fmla="*/ 2147483647 w 912"/>
                <a:gd name="T117" fmla="*/ 2147483647 h 702"/>
                <a:gd name="T118" fmla="*/ 2147483647 w 912"/>
                <a:gd name="T119" fmla="*/ 2147483647 h 702"/>
                <a:gd name="T120" fmla="*/ 2147483647 w 912"/>
                <a:gd name="T121" fmla="*/ 2147483647 h 7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2"/>
                <a:gd name="T184" fmla="*/ 0 h 702"/>
                <a:gd name="T185" fmla="*/ 912 w 912"/>
                <a:gd name="T186" fmla="*/ 702 h 7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2" h="702">
                  <a:moveTo>
                    <a:pt x="906" y="420"/>
                  </a:moveTo>
                  <a:lnTo>
                    <a:pt x="900" y="414"/>
                  </a:lnTo>
                  <a:lnTo>
                    <a:pt x="888" y="408"/>
                  </a:lnTo>
                  <a:lnTo>
                    <a:pt x="882" y="402"/>
                  </a:lnTo>
                  <a:lnTo>
                    <a:pt x="858" y="396"/>
                  </a:lnTo>
                  <a:lnTo>
                    <a:pt x="858" y="378"/>
                  </a:lnTo>
                  <a:lnTo>
                    <a:pt x="846" y="366"/>
                  </a:lnTo>
                  <a:lnTo>
                    <a:pt x="846" y="360"/>
                  </a:lnTo>
                  <a:lnTo>
                    <a:pt x="858" y="360"/>
                  </a:lnTo>
                  <a:lnTo>
                    <a:pt x="858" y="348"/>
                  </a:lnTo>
                  <a:lnTo>
                    <a:pt x="852" y="342"/>
                  </a:lnTo>
                  <a:lnTo>
                    <a:pt x="834" y="342"/>
                  </a:lnTo>
                  <a:lnTo>
                    <a:pt x="834" y="336"/>
                  </a:lnTo>
                  <a:lnTo>
                    <a:pt x="828" y="330"/>
                  </a:lnTo>
                  <a:lnTo>
                    <a:pt x="822" y="318"/>
                  </a:lnTo>
                  <a:lnTo>
                    <a:pt x="810" y="306"/>
                  </a:lnTo>
                  <a:lnTo>
                    <a:pt x="798" y="300"/>
                  </a:lnTo>
                  <a:lnTo>
                    <a:pt x="792" y="300"/>
                  </a:lnTo>
                  <a:lnTo>
                    <a:pt x="780" y="294"/>
                  </a:lnTo>
                  <a:lnTo>
                    <a:pt x="768" y="282"/>
                  </a:lnTo>
                  <a:lnTo>
                    <a:pt x="768" y="276"/>
                  </a:lnTo>
                  <a:lnTo>
                    <a:pt x="774" y="276"/>
                  </a:lnTo>
                  <a:lnTo>
                    <a:pt x="774" y="270"/>
                  </a:lnTo>
                  <a:lnTo>
                    <a:pt x="780" y="270"/>
                  </a:lnTo>
                  <a:lnTo>
                    <a:pt x="780" y="264"/>
                  </a:lnTo>
                  <a:lnTo>
                    <a:pt x="768" y="252"/>
                  </a:lnTo>
                  <a:lnTo>
                    <a:pt x="756" y="246"/>
                  </a:lnTo>
                  <a:lnTo>
                    <a:pt x="750" y="246"/>
                  </a:lnTo>
                  <a:lnTo>
                    <a:pt x="750" y="228"/>
                  </a:lnTo>
                  <a:lnTo>
                    <a:pt x="720" y="228"/>
                  </a:lnTo>
                  <a:lnTo>
                    <a:pt x="696" y="216"/>
                  </a:lnTo>
                  <a:lnTo>
                    <a:pt x="696" y="186"/>
                  </a:lnTo>
                  <a:lnTo>
                    <a:pt x="648" y="180"/>
                  </a:lnTo>
                  <a:lnTo>
                    <a:pt x="654" y="162"/>
                  </a:lnTo>
                  <a:lnTo>
                    <a:pt x="648" y="162"/>
                  </a:lnTo>
                  <a:lnTo>
                    <a:pt x="642" y="156"/>
                  </a:lnTo>
                  <a:lnTo>
                    <a:pt x="642" y="150"/>
                  </a:lnTo>
                  <a:lnTo>
                    <a:pt x="648" y="144"/>
                  </a:lnTo>
                  <a:lnTo>
                    <a:pt x="654" y="132"/>
                  </a:lnTo>
                  <a:lnTo>
                    <a:pt x="660" y="126"/>
                  </a:lnTo>
                  <a:lnTo>
                    <a:pt x="660" y="96"/>
                  </a:lnTo>
                  <a:lnTo>
                    <a:pt x="654" y="84"/>
                  </a:lnTo>
                  <a:lnTo>
                    <a:pt x="648" y="66"/>
                  </a:lnTo>
                  <a:lnTo>
                    <a:pt x="636" y="54"/>
                  </a:lnTo>
                  <a:lnTo>
                    <a:pt x="630" y="42"/>
                  </a:lnTo>
                  <a:lnTo>
                    <a:pt x="600" y="12"/>
                  </a:lnTo>
                  <a:lnTo>
                    <a:pt x="600" y="0"/>
                  </a:lnTo>
                  <a:lnTo>
                    <a:pt x="576" y="0"/>
                  </a:lnTo>
                  <a:lnTo>
                    <a:pt x="522" y="30"/>
                  </a:lnTo>
                  <a:lnTo>
                    <a:pt x="516" y="60"/>
                  </a:lnTo>
                  <a:lnTo>
                    <a:pt x="480" y="84"/>
                  </a:lnTo>
                  <a:lnTo>
                    <a:pt x="480" y="102"/>
                  </a:lnTo>
                  <a:lnTo>
                    <a:pt x="456" y="126"/>
                  </a:lnTo>
                  <a:lnTo>
                    <a:pt x="438" y="138"/>
                  </a:lnTo>
                  <a:lnTo>
                    <a:pt x="390" y="156"/>
                  </a:lnTo>
                  <a:lnTo>
                    <a:pt x="348" y="162"/>
                  </a:lnTo>
                  <a:lnTo>
                    <a:pt x="330" y="162"/>
                  </a:lnTo>
                  <a:lnTo>
                    <a:pt x="312" y="174"/>
                  </a:lnTo>
                  <a:lnTo>
                    <a:pt x="318" y="174"/>
                  </a:lnTo>
                  <a:lnTo>
                    <a:pt x="330" y="186"/>
                  </a:lnTo>
                  <a:lnTo>
                    <a:pt x="330" y="198"/>
                  </a:lnTo>
                  <a:lnTo>
                    <a:pt x="324" y="204"/>
                  </a:lnTo>
                  <a:lnTo>
                    <a:pt x="318" y="216"/>
                  </a:lnTo>
                  <a:lnTo>
                    <a:pt x="312" y="222"/>
                  </a:lnTo>
                  <a:lnTo>
                    <a:pt x="306" y="234"/>
                  </a:lnTo>
                  <a:lnTo>
                    <a:pt x="300" y="240"/>
                  </a:lnTo>
                  <a:lnTo>
                    <a:pt x="210" y="240"/>
                  </a:lnTo>
                  <a:lnTo>
                    <a:pt x="204" y="246"/>
                  </a:lnTo>
                  <a:lnTo>
                    <a:pt x="198" y="258"/>
                  </a:lnTo>
                  <a:lnTo>
                    <a:pt x="186" y="270"/>
                  </a:lnTo>
                  <a:lnTo>
                    <a:pt x="174" y="276"/>
                  </a:lnTo>
                  <a:lnTo>
                    <a:pt x="168" y="276"/>
                  </a:lnTo>
                  <a:lnTo>
                    <a:pt x="162" y="270"/>
                  </a:lnTo>
                  <a:lnTo>
                    <a:pt x="162" y="246"/>
                  </a:lnTo>
                  <a:lnTo>
                    <a:pt x="156" y="252"/>
                  </a:lnTo>
                  <a:lnTo>
                    <a:pt x="144" y="258"/>
                  </a:lnTo>
                  <a:lnTo>
                    <a:pt x="126" y="276"/>
                  </a:lnTo>
                  <a:lnTo>
                    <a:pt x="114" y="282"/>
                  </a:lnTo>
                  <a:lnTo>
                    <a:pt x="96" y="282"/>
                  </a:lnTo>
                  <a:lnTo>
                    <a:pt x="90" y="276"/>
                  </a:lnTo>
                  <a:lnTo>
                    <a:pt x="78" y="276"/>
                  </a:lnTo>
                  <a:lnTo>
                    <a:pt x="66" y="288"/>
                  </a:lnTo>
                  <a:lnTo>
                    <a:pt x="60" y="300"/>
                  </a:lnTo>
                  <a:lnTo>
                    <a:pt x="54" y="306"/>
                  </a:lnTo>
                  <a:lnTo>
                    <a:pt x="54" y="324"/>
                  </a:lnTo>
                  <a:lnTo>
                    <a:pt x="48" y="336"/>
                  </a:lnTo>
                  <a:lnTo>
                    <a:pt x="42" y="336"/>
                  </a:lnTo>
                  <a:lnTo>
                    <a:pt x="36" y="372"/>
                  </a:lnTo>
                  <a:lnTo>
                    <a:pt x="30" y="372"/>
                  </a:lnTo>
                  <a:lnTo>
                    <a:pt x="24" y="378"/>
                  </a:lnTo>
                  <a:lnTo>
                    <a:pt x="12" y="384"/>
                  </a:lnTo>
                  <a:lnTo>
                    <a:pt x="0" y="396"/>
                  </a:lnTo>
                  <a:lnTo>
                    <a:pt x="0" y="402"/>
                  </a:lnTo>
                  <a:lnTo>
                    <a:pt x="12" y="408"/>
                  </a:lnTo>
                  <a:lnTo>
                    <a:pt x="18" y="408"/>
                  </a:lnTo>
                  <a:lnTo>
                    <a:pt x="18" y="444"/>
                  </a:lnTo>
                  <a:lnTo>
                    <a:pt x="6" y="456"/>
                  </a:lnTo>
                  <a:lnTo>
                    <a:pt x="24" y="468"/>
                  </a:lnTo>
                  <a:lnTo>
                    <a:pt x="24" y="516"/>
                  </a:lnTo>
                  <a:lnTo>
                    <a:pt x="30" y="516"/>
                  </a:lnTo>
                  <a:lnTo>
                    <a:pt x="48" y="534"/>
                  </a:lnTo>
                  <a:lnTo>
                    <a:pt x="54" y="534"/>
                  </a:lnTo>
                  <a:lnTo>
                    <a:pt x="54" y="576"/>
                  </a:lnTo>
                  <a:lnTo>
                    <a:pt x="60" y="582"/>
                  </a:lnTo>
                  <a:lnTo>
                    <a:pt x="72" y="606"/>
                  </a:lnTo>
                  <a:lnTo>
                    <a:pt x="84" y="618"/>
                  </a:lnTo>
                  <a:lnTo>
                    <a:pt x="96" y="624"/>
                  </a:lnTo>
                  <a:lnTo>
                    <a:pt x="102" y="636"/>
                  </a:lnTo>
                  <a:lnTo>
                    <a:pt x="114" y="642"/>
                  </a:lnTo>
                  <a:lnTo>
                    <a:pt x="120" y="660"/>
                  </a:lnTo>
                  <a:lnTo>
                    <a:pt x="120" y="690"/>
                  </a:lnTo>
                  <a:lnTo>
                    <a:pt x="132" y="702"/>
                  </a:lnTo>
                  <a:lnTo>
                    <a:pt x="138" y="696"/>
                  </a:lnTo>
                  <a:lnTo>
                    <a:pt x="144" y="684"/>
                  </a:lnTo>
                  <a:lnTo>
                    <a:pt x="150" y="678"/>
                  </a:lnTo>
                  <a:lnTo>
                    <a:pt x="156" y="666"/>
                  </a:lnTo>
                  <a:lnTo>
                    <a:pt x="156" y="642"/>
                  </a:lnTo>
                  <a:lnTo>
                    <a:pt x="144" y="630"/>
                  </a:lnTo>
                  <a:lnTo>
                    <a:pt x="162" y="600"/>
                  </a:lnTo>
                  <a:lnTo>
                    <a:pt x="192" y="600"/>
                  </a:lnTo>
                  <a:lnTo>
                    <a:pt x="210" y="582"/>
                  </a:lnTo>
                  <a:lnTo>
                    <a:pt x="228" y="582"/>
                  </a:lnTo>
                  <a:lnTo>
                    <a:pt x="264" y="600"/>
                  </a:lnTo>
                  <a:lnTo>
                    <a:pt x="276" y="600"/>
                  </a:lnTo>
                  <a:lnTo>
                    <a:pt x="288" y="588"/>
                  </a:lnTo>
                  <a:lnTo>
                    <a:pt x="300" y="570"/>
                  </a:lnTo>
                  <a:lnTo>
                    <a:pt x="300" y="552"/>
                  </a:lnTo>
                  <a:lnTo>
                    <a:pt x="294" y="552"/>
                  </a:lnTo>
                  <a:lnTo>
                    <a:pt x="294" y="540"/>
                  </a:lnTo>
                  <a:lnTo>
                    <a:pt x="306" y="528"/>
                  </a:lnTo>
                  <a:lnTo>
                    <a:pt x="312" y="528"/>
                  </a:lnTo>
                  <a:lnTo>
                    <a:pt x="324" y="516"/>
                  </a:lnTo>
                  <a:lnTo>
                    <a:pt x="330" y="504"/>
                  </a:lnTo>
                  <a:lnTo>
                    <a:pt x="330" y="498"/>
                  </a:lnTo>
                  <a:lnTo>
                    <a:pt x="336" y="486"/>
                  </a:lnTo>
                  <a:lnTo>
                    <a:pt x="336" y="480"/>
                  </a:lnTo>
                  <a:lnTo>
                    <a:pt x="342" y="474"/>
                  </a:lnTo>
                  <a:lnTo>
                    <a:pt x="354" y="468"/>
                  </a:lnTo>
                  <a:lnTo>
                    <a:pt x="366" y="468"/>
                  </a:lnTo>
                  <a:lnTo>
                    <a:pt x="384" y="474"/>
                  </a:lnTo>
                  <a:lnTo>
                    <a:pt x="396" y="474"/>
                  </a:lnTo>
                  <a:lnTo>
                    <a:pt x="408" y="480"/>
                  </a:lnTo>
                  <a:lnTo>
                    <a:pt x="408" y="492"/>
                  </a:lnTo>
                  <a:lnTo>
                    <a:pt x="426" y="492"/>
                  </a:lnTo>
                  <a:lnTo>
                    <a:pt x="432" y="498"/>
                  </a:lnTo>
                  <a:lnTo>
                    <a:pt x="432" y="528"/>
                  </a:lnTo>
                  <a:lnTo>
                    <a:pt x="474" y="528"/>
                  </a:lnTo>
                  <a:lnTo>
                    <a:pt x="480" y="534"/>
                  </a:lnTo>
                  <a:lnTo>
                    <a:pt x="492" y="540"/>
                  </a:lnTo>
                  <a:lnTo>
                    <a:pt x="540" y="540"/>
                  </a:lnTo>
                  <a:lnTo>
                    <a:pt x="552" y="546"/>
                  </a:lnTo>
                  <a:lnTo>
                    <a:pt x="558" y="552"/>
                  </a:lnTo>
                  <a:lnTo>
                    <a:pt x="570" y="558"/>
                  </a:lnTo>
                  <a:lnTo>
                    <a:pt x="576" y="552"/>
                  </a:lnTo>
                  <a:lnTo>
                    <a:pt x="582" y="540"/>
                  </a:lnTo>
                  <a:lnTo>
                    <a:pt x="588" y="534"/>
                  </a:lnTo>
                  <a:lnTo>
                    <a:pt x="588" y="522"/>
                  </a:lnTo>
                  <a:lnTo>
                    <a:pt x="606" y="504"/>
                  </a:lnTo>
                  <a:lnTo>
                    <a:pt x="612" y="492"/>
                  </a:lnTo>
                  <a:lnTo>
                    <a:pt x="636" y="516"/>
                  </a:lnTo>
                  <a:lnTo>
                    <a:pt x="642" y="516"/>
                  </a:lnTo>
                  <a:lnTo>
                    <a:pt x="648" y="510"/>
                  </a:lnTo>
                  <a:lnTo>
                    <a:pt x="660" y="504"/>
                  </a:lnTo>
                  <a:lnTo>
                    <a:pt x="672" y="492"/>
                  </a:lnTo>
                  <a:lnTo>
                    <a:pt x="690" y="492"/>
                  </a:lnTo>
                  <a:lnTo>
                    <a:pt x="714" y="474"/>
                  </a:lnTo>
                  <a:lnTo>
                    <a:pt x="726" y="486"/>
                  </a:lnTo>
                  <a:lnTo>
                    <a:pt x="750" y="486"/>
                  </a:lnTo>
                  <a:lnTo>
                    <a:pt x="756" y="480"/>
                  </a:lnTo>
                  <a:lnTo>
                    <a:pt x="768" y="480"/>
                  </a:lnTo>
                  <a:lnTo>
                    <a:pt x="768" y="468"/>
                  </a:lnTo>
                  <a:lnTo>
                    <a:pt x="786" y="450"/>
                  </a:lnTo>
                  <a:lnTo>
                    <a:pt x="792" y="450"/>
                  </a:lnTo>
                  <a:lnTo>
                    <a:pt x="792" y="456"/>
                  </a:lnTo>
                  <a:lnTo>
                    <a:pt x="804" y="468"/>
                  </a:lnTo>
                  <a:lnTo>
                    <a:pt x="840" y="462"/>
                  </a:lnTo>
                  <a:lnTo>
                    <a:pt x="840" y="468"/>
                  </a:lnTo>
                  <a:lnTo>
                    <a:pt x="852" y="480"/>
                  </a:lnTo>
                  <a:lnTo>
                    <a:pt x="876" y="480"/>
                  </a:lnTo>
                  <a:lnTo>
                    <a:pt x="894" y="474"/>
                  </a:lnTo>
                  <a:lnTo>
                    <a:pt x="912" y="456"/>
                  </a:lnTo>
                  <a:lnTo>
                    <a:pt x="912" y="432"/>
                  </a:lnTo>
                  <a:lnTo>
                    <a:pt x="906" y="42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31" name="West Sahara" descr="© INSCALE GmbH, 05.05.2010&#10;http://www.presentationload.com/">
              <a:extLst>
                <a:ext uri="{FF2B5EF4-FFF2-40B4-BE49-F238E27FC236}">
                  <a16:creationId xmlns:a16="http://schemas.microsoft.com/office/drawing/2014/main" id="{9047FDF1-21FA-4BAB-94AA-0D4A3B61305B}"/>
                </a:ext>
              </a:extLst>
            </p:cNvPr>
            <p:cNvSpPr>
              <a:spLocks/>
            </p:cNvSpPr>
            <p:nvPr/>
          </p:nvSpPr>
          <p:spPr bwMode="gray">
            <a:xfrm>
              <a:off x="3662088" y="3366697"/>
              <a:ext cx="238339" cy="203843"/>
            </a:xfrm>
            <a:custGeom>
              <a:avLst/>
              <a:gdLst>
                <a:gd name="T0" fmla="*/ 2147483647 w 600"/>
                <a:gd name="T1" fmla="*/ 0 h 510"/>
                <a:gd name="T2" fmla="*/ 2147483647 w 600"/>
                <a:gd name="T3" fmla="*/ 0 h 510"/>
                <a:gd name="T4" fmla="*/ 2147483647 w 600"/>
                <a:gd name="T5" fmla="*/ 2147483647 h 510"/>
                <a:gd name="T6" fmla="*/ 2147483647 w 600"/>
                <a:gd name="T7" fmla="*/ 2147483647 h 510"/>
                <a:gd name="T8" fmla="*/ 2147483647 w 600"/>
                <a:gd name="T9" fmla="*/ 2147483647 h 510"/>
                <a:gd name="T10" fmla="*/ 2147483647 w 600"/>
                <a:gd name="T11" fmla="*/ 2147483647 h 510"/>
                <a:gd name="T12" fmla="*/ 2147483647 w 600"/>
                <a:gd name="T13" fmla="*/ 2147483647 h 510"/>
                <a:gd name="T14" fmla="*/ 2147483647 w 600"/>
                <a:gd name="T15" fmla="*/ 2147483647 h 510"/>
                <a:gd name="T16" fmla="*/ 2147483647 w 600"/>
                <a:gd name="T17" fmla="*/ 2147483647 h 510"/>
                <a:gd name="T18" fmla="*/ 2147483647 w 600"/>
                <a:gd name="T19" fmla="*/ 2147483647 h 510"/>
                <a:gd name="T20" fmla="*/ 2147483647 w 600"/>
                <a:gd name="T21" fmla="*/ 2147483647 h 510"/>
                <a:gd name="T22" fmla="*/ 2147483647 w 600"/>
                <a:gd name="T23" fmla="*/ 2147483647 h 510"/>
                <a:gd name="T24" fmla="*/ 2147483647 w 600"/>
                <a:gd name="T25" fmla="*/ 2147483647 h 510"/>
                <a:gd name="T26" fmla="*/ 2147483647 w 600"/>
                <a:gd name="T27" fmla="*/ 2147483647 h 510"/>
                <a:gd name="T28" fmla="*/ 2147483647 w 600"/>
                <a:gd name="T29" fmla="*/ 2147483647 h 510"/>
                <a:gd name="T30" fmla="*/ 2147483647 w 600"/>
                <a:gd name="T31" fmla="*/ 2147483647 h 510"/>
                <a:gd name="T32" fmla="*/ 2147483647 w 600"/>
                <a:gd name="T33" fmla="*/ 2147483647 h 510"/>
                <a:gd name="T34" fmla="*/ 2147483647 w 600"/>
                <a:gd name="T35" fmla="*/ 2147483647 h 510"/>
                <a:gd name="T36" fmla="*/ 2147483647 w 600"/>
                <a:gd name="T37" fmla="*/ 2147483647 h 510"/>
                <a:gd name="T38" fmla="*/ 2147483647 w 600"/>
                <a:gd name="T39" fmla="*/ 2147483647 h 510"/>
                <a:gd name="T40" fmla="*/ 2147483647 w 600"/>
                <a:gd name="T41" fmla="*/ 2147483647 h 510"/>
                <a:gd name="T42" fmla="*/ 2147483647 w 600"/>
                <a:gd name="T43" fmla="*/ 2147483647 h 510"/>
                <a:gd name="T44" fmla="*/ 2147483647 w 600"/>
                <a:gd name="T45" fmla="*/ 2147483647 h 510"/>
                <a:gd name="T46" fmla="*/ 2147483647 w 600"/>
                <a:gd name="T47" fmla="*/ 2147483647 h 510"/>
                <a:gd name="T48" fmla="*/ 2147483647 w 600"/>
                <a:gd name="T49" fmla="*/ 2147483647 h 510"/>
                <a:gd name="T50" fmla="*/ 2147483647 w 600"/>
                <a:gd name="T51" fmla="*/ 2147483647 h 510"/>
                <a:gd name="T52" fmla="*/ 2147483647 w 600"/>
                <a:gd name="T53" fmla="*/ 2147483647 h 510"/>
                <a:gd name="T54" fmla="*/ 2147483647 w 600"/>
                <a:gd name="T55" fmla="*/ 2147483647 h 510"/>
                <a:gd name="T56" fmla="*/ 2147483647 w 600"/>
                <a:gd name="T57" fmla="*/ 2147483647 h 510"/>
                <a:gd name="T58" fmla="*/ 2147483647 w 600"/>
                <a:gd name="T59" fmla="*/ 2147483647 h 510"/>
                <a:gd name="T60" fmla="*/ 2147483647 w 600"/>
                <a:gd name="T61" fmla="*/ 2147483647 h 510"/>
                <a:gd name="T62" fmla="*/ 2147483647 w 600"/>
                <a:gd name="T63" fmla="*/ 2147483647 h 510"/>
                <a:gd name="T64" fmla="*/ 2147483647 w 600"/>
                <a:gd name="T65" fmla="*/ 2147483647 h 510"/>
                <a:gd name="T66" fmla="*/ 2147483647 w 600"/>
                <a:gd name="T67" fmla="*/ 2147483647 h 510"/>
                <a:gd name="T68" fmla="*/ 2147483647 w 600"/>
                <a:gd name="T69" fmla="*/ 2147483647 h 510"/>
                <a:gd name="T70" fmla="*/ 2147483647 w 600"/>
                <a:gd name="T71" fmla="*/ 2147483647 h 510"/>
                <a:gd name="T72" fmla="*/ 2147483647 w 600"/>
                <a:gd name="T73" fmla="*/ 2147483647 h 510"/>
                <a:gd name="T74" fmla="*/ 2147483647 w 600"/>
                <a:gd name="T75" fmla="*/ 2147483647 h 510"/>
                <a:gd name="T76" fmla="*/ 2147483647 w 600"/>
                <a:gd name="T77" fmla="*/ 2147483647 h 510"/>
                <a:gd name="T78" fmla="*/ 0 w 600"/>
                <a:gd name="T79" fmla="*/ 2147483647 h 510"/>
                <a:gd name="T80" fmla="*/ 0 w 600"/>
                <a:gd name="T81" fmla="*/ 2147483647 h 510"/>
                <a:gd name="T82" fmla="*/ 2147483647 w 600"/>
                <a:gd name="T83" fmla="*/ 2147483647 h 510"/>
                <a:gd name="T84" fmla="*/ 2147483647 w 600"/>
                <a:gd name="T85" fmla="*/ 2147483647 h 510"/>
                <a:gd name="T86" fmla="*/ 2147483647 w 600"/>
                <a:gd name="T87" fmla="*/ 2147483647 h 510"/>
                <a:gd name="T88" fmla="*/ 2147483647 w 600"/>
                <a:gd name="T89" fmla="*/ 2147483647 h 510"/>
                <a:gd name="T90" fmla="*/ 2147483647 w 600"/>
                <a:gd name="T91" fmla="*/ 2147483647 h 510"/>
                <a:gd name="T92" fmla="*/ 2147483647 w 600"/>
                <a:gd name="T93" fmla="*/ 2147483647 h 510"/>
                <a:gd name="T94" fmla="*/ 2147483647 w 600"/>
                <a:gd name="T95" fmla="*/ 2147483647 h 510"/>
                <a:gd name="T96" fmla="*/ 2147483647 w 600"/>
                <a:gd name="T97" fmla="*/ 2147483647 h 510"/>
                <a:gd name="T98" fmla="*/ 2147483647 w 600"/>
                <a:gd name="T99" fmla="*/ 2147483647 h 510"/>
                <a:gd name="T100" fmla="*/ 2147483647 w 600"/>
                <a:gd name="T101" fmla="*/ 2147483647 h 510"/>
                <a:gd name="T102" fmla="*/ 2147483647 w 600"/>
                <a:gd name="T103" fmla="*/ 2147483647 h 510"/>
                <a:gd name="T104" fmla="*/ 2147483647 w 600"/>
                <a:gd name="T105" fmla="*/ 2147483647 h 510"/>
                <a:gd name="T106" fmla="*/ 2147483647 w 600"/>
                <a:gd name="T107" fmla="*/ 2147483647 h 510"/>
                <a:gd name="T108" fmla="*/ 2147483647 w 600"/>
                <a:gd name="T109" fmla="*/ 2147483647 h 510"/>
                <a:gd name="T110" fmla="*/ 2147483647 w 600"/>
                <a:gd name="T111" fmla="*/ 2147483647 h 510"/>
                <a:gd name="T112" fmla="*/ 2147483647 w 600"/>
                <a:gd name="T113" fmla="*/ 0 h 510"/>
                <a:gd name="T114" fmla="*/ 2147483647 w 600"/>
                <a:gd name="T115" fmla="*/ 0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0"/>
                <a:gd name="T175" fmla="*/ 0 h 510"/>
                <a:gd name="T176" fmla="*/ 600 w 600"/>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0" h="510">
                  <a:moveTo>
                    <a:pt x="546" y="0"/>
                  </a:moveTo>
                  <a:lnTo>
                    <a:pt x="288" y="0"/>
                  </a:lnTo>
                  <a:lnTo>
                    <a:pt x="282" y="6"/>
                  </a:lnTo>
                  <a:lnTo>
                    <a:pt x="270" y="30"/>
                  </a:lnTo>
                  <a:lnTo>
                    <a:pt x="270" y="42"/>
                  </a:lnTo>
                  <a:lnTo>
                    <a:pt x="264" y="54"/>
                  </a:lnTo>
                  <a:lnTo>
                    <a:pt x="264" y="66"/>
                  </a:lnTo>
                  <a:lnTo>
                    <a:pt x="234" y="96"/>
                  </a:lnTo>
                  <a:lnTo>
                    <a:pt x="198" y="96"/>
                  </a:lnTo>
                  <a:lnTo>
                    <a:pt x="186" y="108"/>
                  </a:lnTo>
                  <a:lnTo>
                    <a:pt x="186" y="144"/>
                  </a:lnTo>
                  <a:lnTo>
                    <a:pt x="156" y="174"/>
                  </a:lnTo>
                  <a:lnTo>
                    <a:pt x="156" y="186"/>
                  </a:lnTo>
                  <a:lnTo>
                    <a:pt x="168" y="210"/>
                  </a:lnTo>
                  <a:lnTo>
                    <a:pt x="168" y="222"/>
                  </a:lnTo>
                  <a:lnTo>
                    <a:pt x="156" y="246"/>
                  </a:lnTo>
                  <a:lnTo>
                    <a:pt x="144" y="252"/>
                  </a:lnTo>
                  <a:lnTo>
                    <a:pt x="138" y="252"/>
                  </a:lnTo>
                  <a:lnTo>
                    <a:pt x="132" y="258"/>
                  </a:lnTo>
                  <a:lnTo>
                    <a:pt x="126" y="270"/>
                  </a:lnTo>
                  <a:lnTo>
                    <a:pt x="114" y="282"/>
                  </a:lnTo>
                  <a:lnTo>
                    <a:pt x="102" y="288"/>
                  </a:lnTo>
                  <a:lnTo>
                    <a:pt x="96" y="294"/>
                  </a:lnTo>
                  <a:lnTo>
                    <a:pt x="84" y="300"/>
                  </a:lnTo>
                  <a:lnTo>
                    <a:pt x="78" y="306"/>
                  </a:lnTo>
                  <a:lnTo>
                    <a:pt x="78" y="318"/>
                  </a:lnTo>
                  <a:lnTo>
                    <a:pt x="90" y="324"/>
                  </a:lnTo>
                  <a:lnTo>
                    <a:pt x="78" y="330"/>
                  </a:lnTo>
                  <a:lnTo>
                    <a:pt x="60" y="366"/>
                  </a:lnTo>
                  <a:lnTo>
                    <a:pt x="60" y="384"/>
                  </a:lnTo>
                  <a:lnTo>
                    <a:pt x="48" y="384"/>
                  </a:lnTo>
                  <a:lnTo>
                    <a:pt x="48" y="390"/>
                  </a:lnTo>
                  <a:lnTo>
                    <a:pt x="54" y="396"/>
                  </a:lnTo>
                  <a:lnTo>
                    <a:pt x="54" y="408"/>
                  </a:lnTo>
                  <a:lnTo>
                    <a:pt x="48" y="420"/>
                  </a:lnTo>
                  <a:lnTo>
                    <a:pt x="36" y="426"/>
                  </a:lnTo>
                  <a:lnTo>
                    <a:pt x="24" y="426"/>
                  </a:lnTo>
                  <a:lnTo>
                    <a:pt x="18" y="432"/>
                  </a:lnTo>
                  <a:lnTo>
                    <a:pt x="6" y="456"/>
                  </a:lnTo>
                  <a:lnTo>
                    <a:pt x="0" y="462"/>
                  </a:lnTo>
                  <a:lnTo>
                    <a:pt x="0" y="510"/>
                  </a:lnTo>
                  <a:lnTo>
                    <a:pt x="276" y="510"/>
                  </a:lnTo>
                  <a:lnTo>
                    <a:pt x="282" y="408"/>
                  </a:lnTo>
                  <a:lnTo>
                    <a:pt x="276" y="396"/>
                  </a:lnTo>
                  <a:lnTo>
                    <a:pt x="276" y="378"/>
                  </a:lnTo>
                  <a:lnTo>
                    <a:pt x="282" y="366"/>
                  </a:lnTo>
                  <a:lnTo>
                    <a:pt x="306" y="354"/>
                  </a:lnTo>
                  <a:lnTo>
                    <a:pt x="336" y="354"/>
                  </a:lnTo>
                  <a:lnTo>
                    <a:pt x="348" y="348"/>
                  </a:lnTo>
                  <a:lnTo>
                    <a:pt x="354" y="342"/>
                  </a:lnTo>
                  <a:lnTo>
                    <a:pt x="354" y="150"/>
                  </a:lnTo>
                  <a:lnTo>
                    <a:pt x="366" y="144"/>
                  </a:lnTo>
                  <a:lnTo>
                    <a:pt x="366" y="132"/>
                  </a:lnTo>
                  <a:lnTo>
                    <a:pt x="588" y="126"/>
                  </a:lnTo>
                  <a:lnTo>
                    <a:pt x="588" y="90"/>
                  </a:lnTo>
                  <a:lnTo>
                    <a:pt x="594" y="84"/>
                  </a:lnTo>
                  <a:lnTo>
                    <a:pt x="600" y="0"/>
                  </a:lnTo>
                  <a:lnTo>
                    <a:pt x="546" y="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32" name="West Bank" descr="© INSCALE GmbH, 05.05.2010&#10;http://www.presentationload.com/">
              <a:extLst>
                <a:ext uri="{FF2B5EF4-FFF2-40B4-BE49-F238E27FC236}">
                  <a16:creationId xmlns:a16="http://schemas.microsoft.com/office/drawing/2014/main" id="{08B75B0B-60B8-436F-AB77-48C5519026C7}"/>
                </a:ext>
              </a:extLst>
            </p:cNvPr>
            <p:cNvSpPr>
              <a:spLocks/>
            </p:cNvSpPr>
            <p:nvPr/>
          </p:nvSpPr>
          <p:spPr bwMode="gray">
            <a:xfrm>
              <a:off x="5087421" y="3213030"/>
              <a:ext cx="17248" cy="37633"/>
            </a:xfrm>
            <a:custGeom>
              <a:avLst/>
              <a:gdLst>
                <a:gd name="T0" fmla="*/ 2147483647 w 42"/>
                <a:gd name="T1" fmla="*/ 2147483647 h 96"/>
                <a:gd name="T2" fmla="*/ 2147483647 w 42"/>
                <a:gd name="T3" fmla="*/ 2147483647 h 96"/>
                <a:gd name="T4" fmla="*/ 2147483647 w 42"/>
                <a:gd name="T5" fmla="*/ 2147483647 h 96"/>
                <a:gd name="T6" fmla="*/ 2147483647 w 42"/>
                <a:gd name="T7" fmla="*/ 0 h 96"/>
                <a:gd name="T8" fmla="*/ 2147483647 w 42"/>
                <a:gd name="T9" fmla="*/ 0 h 96"/>
                <a:gd name="T10" fmla="*/ 0 w 42"/>
                <a:gd name="T11" fmla="*/ 2147483647 h 96"/>
                <a:gd name="T12" fmla="*/ 0 w 42"/>
                <a:gd name="T13" fmla="*/ 2147483647 h 96"/>
                <a:gd name="T14" fmla="*/ 2147483647 w 42"/>
                <a:gd name="T15" fmla="*/ 2147483647 h 96"/>
                <a:gd name="T16" fmla="*/ 2147483647 w 42"/>
                <a:gd name="T17" fmla="*/ 2147483647 h 96"/>
                <a:gd name="T18" fmla="*/ 2147483647 w 42"/>
                <a:gd name="T19" fmla="*/ 2147483647 h 96"/>
                <a:gd name="T20" fmla="*/ 2147483647 w 42"/>
                <a:gd name="T21" fmla="*/ 2147483647 h 96"/>
                <a:gd name="T22" fmla="*/ 2147483647 w 42"/>
                <a:gd name="T23" fmla="*/ 2147483647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96"/>
                <a:gd name="T38" fmla="*/ 42 w 4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96">
                  <a:moveTo>
                    <a:pt x="24" y="78"/>
                  </a:moveTo>
                  <a:lnTo>
                    <a:pt x="30" y="84"/>
                  </a:lnTo>
                  <a:lnTo>
                    <a:pt x="42" y="72"/>
                  </a:lnTo>
                  <a:lnTo>
                    <a:pt x="36" y="0"/>
                  </a:lnTo>
                  <a:lnTo>
                    <a:pt x="18" y="0"/>
                  </a:lnTo>
                  <a:lnTo>
                    <a:pt x="0" y="18"/>
                  </a:lnTo>
                  <a:lnTo>
                    <a:pt x="0" y="90"/>
                  </a:lnTo>
                  <a:lnTo>
                    <a:pt x="6" y="96"/>
                  </a:lnTo>
                  <a:lnTo>
                    <a:pt x="12" y="90"/>
                  </a:lnTo>
                  <a:lnTo>
                    <a:pt x="18" y="90"/>
                  </a:lnTo>
                  <a:lnTo>
                    <a:pt x="18" y="84"/>
                  </a:lnTo>
                  <a:lnTo>
                    <a:pt x="24" y="78"/>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33" name="Weißrussland" descr="© INSCALE GmbH, 05.05.2010&#10;http://www.presentationload.com/">
              <a:extLst>
                <a:ext uri="{FF2B5EF4-FFF2-40B4-BE49-F238E27FC236}">
                  <a16:creationId xmlns:a16="http://schemas.microsoft.com/office/drawing/2014/main" id="{6E90AA62-44D5-4150-9B10-D672183E231D}"/>
                </a:ext>
              </a:extLst>
            </p:cNvPr>
            <p:cNvSpPr>
              <a:spLocks/>
            </p:cNvSpPr>
            <p:nvPr/>
          </p:nvSpPr>
          <p:spPr bwMode="gray">
            <a:xfrm>
              <a:off x="4731480" y="2468219"/>
              <a:ext cx="225795" cy="147394"/>
            </a:xfrm>
            <a:custGeom>
              <a:avLst/>
              <a:gdLst>
                <a:gd name="T0" fmla="*/ 2147483647 w 570"/>
                <a:gd name="T1" fmla="*/ 2147483647 h 372"/>
                <a:gd name="T2" fmla="*/ 2147483647 w 570"/>
                <a:gd name="T3" fmla="*/ 2147483647 h 372"/>
                <a:gd name="T4" fmla="*/ 2147483647 w 570"/>
                <a:gd name="T5" fmla="*/ 2147483647 h 372"/>
                <a:gd name="T6" fmla="*/ 2147483647 w 570"/>
                <a:gd name="T7" fmla="*/ 2147483647 h 372"/>
                <a:gd name="T8" fmla="*/ 2147483647 w 570"/>
                <a:gd name="T9" fmla="*/ 2147483647 h 372"/>
                <a:gd name="T10" fmla="*/ 2147483647 w 570"/>
                <a:gd name="T11" fmla="*/ 2147483647 h 372"/>
                <a:gd name="T12" fmla="*/ 2147483647 w 570"/>
                <a:gd name="T13" fmla="*/ 2147483647 h 372"/>
                <a:gd name="T14" fmla="*/ 2147483647 w 570"/>
                <a:gd name="T15" fmla="*/ 2147483647 h 372"/>
                <a:gd name="T16" fmla="*/ 2147483647 w 570"/>
                <a:gd name="T17" fmla="*/ 2147483647 h 372"/>
                <a:gd name="T18" fmla="*/ 2147483647 w 570"/>
                <a:gd name="T19" fmla="*/ 2147483647 h 372"/>
                <a:gd name="T20" fmla="*/ 2147483647 w 570"/>
                <a:gd name="T21" fmla="*/ 2147483647 h 372"/>
                <a:gd name="T22" fmla="*/ 2147483647 w 570"/>
                <a:gd name="T23" fmla="*/ 2147483647 h 372"/>
                <a:gd name="T24" fmla="*/ 2147483647 w 570"/>
                <a:gd name="T25" fmla="*/ 2147483647 h 372"/>
                <a:gd name="T26" fmla="*/ 2147483647 w 570"/>
                <a:gd name="T27" fmla="*/ 2147483647 h 372"/>
                <a:gd name="T28" fmla="*/ 2147483647 w 570"/>
                <a:gd name="T29" fmla="*/ 2147483647 h 372"/>
                <a:gd name="T30" fmla="*/ 2147483647 w 570"/>
                <a:gd name="T31" fmla="*/ 2147483647 h 372"/>
                <a:gd name="T32" fmla="*/ 2147483647 w 570"/>
                <a:gd name="T33" fmla="*/ 2147483647 h 372"/>
                <a:gd name="T34" fmla="*/ 2147483647 w 570"/>
                <a:gd name="T35" fmla="*/ 2147483647 h 372"/>
                <a:gd name="T36" fmla="*/ 2147483647 w 570"/>
                <a:gd name="T37" fmla="*/ 2147483647 h 372"/>
                <a:gd name="T38" fmla="*/ 2147483647 w 570"/>
                <a:gd name="T39" fmla="*/ 2147483647 h 372"/>
                <a:gd name="T40" fmla="*/ 2147483647 w 570"/>
                <a:gd name="T41" fmla="*/ 2147483647 h 372"/>
                <a:gd name="T42" fmla="*/ 2147483647 w 570"/>
                <a:gd name="T43" fmla="*/ 2147483647 h 372"/>
                <a:gd name="T44" fmla="*/ 2147483647 w 570"/>
                <a:gd name="T45" fmla="*/ 2147483647 h 372"/>
                <a:gd name="T46" fmla="*/ 2147483647 w 570"/>
                <a:gd name="T47" fmla="*/ 2147483647 h 372"/>
                <a:gd name="T48" fmla="*/ 2147483647 w 570"/>
                <a:gd name="T49" fmla="*/ 2147483647 h 372"/>
                <a:gd name="T50" fmla="*/ 2147483647 w 570"/>
                <a:gd name="T51" fmla="*/ 2147483647 h 372"/>
                <a:gd name="T52" fmla="*/ 2147483647 w 570"/>
                <a:gd name="T53" fmla="*/ 2147483647 h 372"/>
                <a:gd name="T54" fmla="*/ 2147483647 w 570"/>
                <a:gd name="T55" fmla="*/ 2147483647 h 372"/>
                <a:gd name="T56" fmla="*/ 2147483647 w 570"/>
                <a:gd name="T57" fmla="*/ 0 h 372"/>
                <a:gd name="T58" fmla="*/ 2147483647 w 570"/>
                <a:gd name="T59" fmla="*/ 2147483647 h 372"/>
                <a:gd name="T60" fmla="*/ 2147483647 w 570"/>
                <a:gd name="T61" fmla="*/ 2147483647 h 372"/>
                <a:gd name="T62" fmla="*/ 2147483647 w 570"/>
                <a:gd name="T63" fmla="*/ 2147483647 h 372"/>
                <a:gd name="T64" fmla="*/ 2147483647 w 570"/>
                <a:gd name="T65" fmla="*/ 2147483647 h 372"/>
                <a:gd name="T66" fmla="*/ 2147483647 w 570"/>
                <a:gd name="T67" fmla="*/ 2147483647 h 372"/>
                <a:gd name="T68" fmla="*/ 2147483647 w 570"/>
                <a:gd name="T69" fmla="*/ 2147483647 h 372"/>
                <a:gd name="T70" fmla="*/ 2147483647 w 570"/>
                <a:gd name="T71" fmla="*/ 2147483647 h 372"/>
                <a:gd name="T72" fmla="*/ 2147483647 w 570"/>
                <a:gd name="T73" fmla="*/ 2147483647 h 372"/>
                <a:gd name="T74" fmla="*/ 2147483647 w 570"/>
                <a:gd name="T75" fmla="*/ 2147483647 h 372"/>
                <a:gd name="T76" fmla="*/ 2147483647 w 570"/>
                <a:gd name="T77" fmla="*/ 2147483647 h 372"/>
                <a:gd name="T78" fmla="*/ 2147483647 w 570"/>
                <a:gd name="T79" fmla="*/ 2147483647 h 372"/>
                <a:gd name="T80" fmla="*/ 2147483647 w 570"/>
                <a:gd name="T81" fmla="*/ 2147483647 h 372"/>
                <a:gd name="T82" fmla="*/ 2147483647 w 570"/>
                <a:gd name="T83" fmla="*/ 2147483647 h 372"/>
                <a:gd name="T84" fmla="*/ 2147483647 w 570"/>
                <a:gd name="T85" fmla="*/ 2147483647 h 372"/>
                <a:gd name="T86" fmla="*/ 2147483647 w 570"/>
                <a:gd name="T87" fmla="*/ 2147483647 h 372"/>
                <a:gd name="T88" fmla="*/ 2147483647 w 570"/>
                <a:gd name="T89" fmla="*/ 2147483647 h 372"/>
                <a:gd name="T90" fmla="*/ 2147483647 w 570"/>
                <a:gd name="T91" fmla="*/ 2147483647 h 372"/>
                <a:gd name="T92" fmla="*/ 2147483647 w 570"/>
                <a:gd name="T93" fmla="*/ 2147483647 h 372"/>
                <a:gd name="T94" fmla="*/ 2147483647 w 570"/>
                <a:gd name="T95" fmla="*/ 2147483647 h 372"/>
                <a:gd name="T96" fmla="*/ 2147483647 w 570"/>
                <a:gd name="T97" fmla="*/ 2147483647 h 3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372"/>
                <a:gd name="T149" fmla="*/ 570 w 570"/>
                <a:gd name="T150" fmla="*/ 372 h 3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372">
                  <a:moveTo>
                    <a:pt x="24" y="312"/>
                  </a:moveTo>
                  <a:lnTo>
                    <a:pt x="24" y="342"/>
                  </a:lnTo>
                  <a:lnTo>
                    <a:pt x="30" y="354"/>
                  </a:lnTo>
                  <a:lnTo>
                    <a:pt x="36" y="360"/>
                  </a:lnTo>
                  <a:lnTo>
                    <a:pt x="48" y="360"/>
                  </a:lnTo>
                  <a:lnTo>
                    <a:pt x="60" y="354"/>
                  </a:lnTo>
                  <a:lnTo>
                    <a:pt x="72" y="342"/>
                  </a:lnTo>
                  <a:lnTo>
                    <a:pt x="72" y="336"/>
                  </a:lnTo>
                  <a:lnTo>
                    <a:pt x="108" y="336"/>
                  </a:lnTo>
                  <a:lnTo>
                    <a:pt x="120" y="330"/>
                  </a:lnTo>
                  <a:lnTo>
                    <a:pt x="126" y="324"/>
                  </a:lnTo>
                  <a:lnTo>
                    <a:pt x="174" y="324"/>
                  </a:lnTo>
                  <a:lnTo>
                    <a:pt x="174" y="330"/>
                  </a:lnTo>
                  <a:lnTo>
                    <a:pt x="180" y="336"/>
                  </a:lnTo>
                  <a:lnTo>
                    <a:pt x="216" y="336"/>
                  </a:lnTo>
                  <a:lnTo>
                    <a:pt x="240" y="342"/>
                  </a:lnTo>
                  <a:lnTo>
                    <a:pt x="258" y="354"/>
                  </a:lnTo>
                  <a:lnTo>
                    <a:pt x="264" y="348"/>
                  </a:lnTo>
                  <a:lnTo>
                    <a:pt x="282" y="360"/>
                  </a:lnTo>
                  <a:lnTo>
                    <a:pt x="294" y="348"/>
                  </a:lnTo>
                  <a:lnTo>
                    <a:pt x="300" y="360"/>
                  </a:lnTo>
                  <a:lnTo>
                    <a:pt x="318" y="354"/>
                  </a:lnTo>
                  <a:lnTo>
                    <a:pt x="324" y="360"/>
                  </a:lnTo>
                  <a:lnTo>
                    <a:pt x="336" y="354"/>
                  </a:lnTo>
                  <a:lnTo>
                    <a:pt x="348" y="366"/>
                  </a:lnTo>
                  <a:lnTo>
                    <a:pt x="348" y="360"/>
                  </a:lnTo>
                  <a:lnTo>
                    <a:pt x="354" y="354"/>
                  </a:lnTo>
                  <a:lnTo>
                    <a:pt x="372" y="354"/>
                  </a:lnTo>
                  <a:lnTo>
                    <a:pt x="378" y="360"/>
                  </a:lnTo>
                  <a:lnTo>
                    <a:pt x="378" y="372"/>
                  </a:lnTo>
                  <a:lnTo>
                    <a:pt x="384" y="372"/>
                  </a:lnTo>
                  <a:lnTo>
                    <a:pt x="396" y="366"/>
                  </a:lnTo>
                  <a:lnTo>
                    <a:pt x="420" y="366"/>
                  </a:lnTo>
                  <a:lnTo>
                    <a:pt x="426" y="372"/>
                  </a:lnTo>
                  <a:lnTo>
                    <a:pt x="444" y="372"/>
                  </a:lnTo>
                  <a:lnTo>
                    <a:pt x="450" y="366"/>
                  </a:lnTo>
                  <a:lnTo>
                    <a:pt x="450" y="354"/>
                  </a:lnTo>
                  <a:lnTo>
                    <a:pt x="444" y="348"/>
                  </a:lnTo>
                  <a:lnTo>
                    <a:pt x="450" y="336"/>
                  </a:lnTo>
                  <a:lnTo>
                    <a:pt x="456" y="330"/>
                  </a:lnTo>
                  <a:lnTo>
                    <a:pt x="468" y="324"/>
                  </a:lnTo>
                  <a:lnTo>
                    <a:pt x="474" y="312"/>
                  </a:lnTo>
                  <a:lnTo>
                    <a:pt x="498" y="312"/>
                  </a:lnTo>
                  <a:lnTo>
                    <a:pt x="516" y="318"/>
                  </a:lnTo>
                  <a:lnTo>
                    <a:pt x="516" y="300"/>
                  </a:lnTo>
                  <a:lnTo>
                    <a:pt x="510" y="288"/>
                  </a:lnTo>
                  <a:lnTo>
                    <a:pt x="504" y="282"/>
                  </a:lnTo>
                  <a:lnTo>
                    <a:pt x="504" y="264"/>
                  </a:lnTo>
                  <a:lnTo>
                    <a:pt x="480" y="240"/>
                  </a:lnTo>
                  <a:lnTo>
                    <a:pt x="480" y="234"/>
                  </a:lnTo>
                  <a:lnTo>
                    <a:pt x="486" y="228"/>
                  </a:lnTo>
                  <a:lnTo>
                    <a:pt x="510" y="228"/>
                  </a:lnTo>
                  <a:lnTo>
                    <a:pt x="510" y="234"/>
                  </a:lnTo>
                  <a:lnTo>
                    <a:pt x="516" y="234"/>
                  </a:lnTo>
                  <a:lnTo>
                    <a:pt x="522" y="240"/>
                  </a:lnTo>
                  <a:lnTo>
                    <a:pt x="528" y="240"/>
                  </a:lnTo>
                  <a:lnTo>
                    <a:pt x="552" y="228"/>
                  </a:lnTo>
                  <a:lnTo>
                    <a:pt x="558" y="216"/>
                  </a:lnTo>
                  <a:lnTo>
                    <a:pt x="570" y="210"/>
                  </a:lnTo>
                  <a:lnTo>
                    <a:pt x="546" y="198"/>
                  </a:lnTo>
                  <a:lnTo>
                    <a:pt x="552" y="192"/>
                  </a:lnTo>
                  <a:lnTo>
                    <a:pt x="552" y="186"/>
                  </a:lnTo>
                  <a:lnTo>
                    <a:pt x="546" y="186"/>
                  </a:lnTo>
                  <a:lnTo>
                    <a:pt x="540" y="180"/>
                  </a:lnTo>
                  <a:lnTo>
                    <a:pt x="504" y="180"/>
                  </a:lnTo>
                  <a:lnTo>
                    <a:pt x="504" y="156"/>
                  </a:lnTo>
                  <a:lnTo>
                    <a:pt x="474" y="144"/>
                  </a:lnTo>
                  <a:lnTo>
                    <a:pt x="474" y="132"/>
                  </a:lnTo>
                  <a:lnTo>
                    <a:pt x="456" y="114"/>
                  </a:lnTo>
                  <a:lnTo>
                    <a:pt x="444" y="108"/>
                  </a:lnTo>
                  <a:lnTo>
                    <a:pt x="438" y="102"/>
                  </a:lnTo>
                  <a:lnTo>
                    <a:pt x="444" y="84"/>
                  </a:lnTo>
                  <a:lnTo>
                    <a:pt x="432" y="66"/>
                  </a:lnTo>
                  <a:lnTo>
                    <a:pt x="438" y="60"/>
                  </a:lnTo>
                  <a:lnTo>
                    <a:pt x="438" y="48"/>
                  </a:lnTo>
                  <a:lnTo>
                    <a:pt x="432" y="42"/>
                  </a:lnTo>
                  <a:lnTo>
                    <a:pt x="396" y="24"/>
                  </a:lnTo>
                  <a:lnTo>
                    <a:pt x="390" y="18"/>
                  </a:lnTo>
                  <a:lnTo>
                    <a:pt x="384" y="18"/>
                  </a:lnTo>
                  <a:lnTo>
                    <a:pt x="354" y="36"/>
                  </a:lnTo>
                  <a:lnTo>
                    <a:pt x="348" y="18"/>
                  </a:lnTo>
                  <a:lnTo>
                    <a:pt x="312" y="12"/>
                  </a:lnTo>
                  <a:lnTo>
                    <a:pt x="300" y="18"/>
                  </a:lnTo>
                  <a:lnTo>
                    <a:pt x="300" y="12"/>
                  </a:lnTo>
                  <a:lnTo>
                    <a:pt x="294" y="6"/>
                  </a:lnTo>
                  <a:lnTo>
                    <a:pt x="276" y="6"/>
                  </a:lnTo>
                  <a:lnTo>
                    <a:pt x="270" y="0"/>
                  </a:lnTo>
                  <a:lnTo>
                    <a:pt x="258" y="0"/>
                  </a:lnTo>
                  <a:lnTo>
                    <a:pt x="252" y="6"/>
                  </a:lnTo>
                  <a:lnTo>
                    <a:pt x="246" y="18"/>
                  </a:lnTo>
                  <a:lnTo>
                    <a:pt x="240" y="24"/>
                  </a:lnTo>
                  <a:lnTo>
                    <a:pt x="234" y="24"/>
                  </a:lnTo>
                  <a:lnTo>
                    <a:pt x="228" y="30"/>
                  </a:lnTo>
                  <a:lnTo>
                    <a:pt x="222" y="24"/>
                  </a:lnTo>
                  <a:lnTo>
                    <a:pt x="198" y="24"/>
                  </a:lnTo>
                  <a:lnTo>
                    <a:pt x="192" y="30"/>
                  </a:lnTo>
                  <a:lnTo>
                    <a:pt x="180" y="36"/>
                  </a:lnTo>
                  <a:lnTo>
                    <a:pt x="174" y="42"/>
                  </a:lnTo>
                  <a:lnTo>
                    <a:pt x="174" y="54"/>
                  </a:lnTo>
                  <a:lnTo>
                    <a:pt x="192" y="72"/>
                  </a:lnTo>
                  <a:lnTo>
                    <a:pt x="186" y="78"/>
                  </a:lnTo>
                  <a:lnTo>
                    <a:pt x="168" y="78"/>
                  </a:lnTo>
                  <a:lnTo>
                    <a:pt x="162" y="72"/>
                  </a:lnTo>
                  <a:lnTo>
                    <a:pt x="156" y="72"/>
                  </a:lnTo>
                  <a:lnTo>
                    <a:pt x="162" y="90"/>
                  </a:lnTo>
                  <a:lnTo>
                    <a:pt x="144" y="90"/>
                  </a:lnTo>
                  <a:lnTo>
                    <a:pt x="138" y="96"/>
                  </a:lnTo>
                  <a:lnTo>
                    <a:pt x="138" y="102"/>
                  </a:lnTo>
                  <a:lnTo>
                    <a:pt x="144" y="114"/>
                  </a:lnTo>
                  <a:lnTo>
                    <a:pt x="144" y="120"/>
                  </a:lnTo>
                  <a:lnTo>
                    <a:pt x="132" y="120"/>
                  </a:lnTo>
                  <a:lnTo>
                    <a:pt x="132" y="126"/>
                  </a:lnTo>
                  <a:lnTo>
                    <a:pt x="138" y="132"/>
                  </a:lnTo>
                  <a:lnTo>
                    <a:pt x="138" y="144"/>
                  </a:lnTo>
                  <a:lnTo>
                    <a:pt x="144" y="150"/>
                  </a:lnTo>
                  <a:lnTo>
                    <a:pt x="144" y="156"/>
                  </a:lnTo>
                  <a:lnTo>
                    <a:pt x="132" y="156"/>
                  </a:lnTo>
                  <a:lnTo>
                    <a:pt x="138" y="150"/>
                  </a:lnTo>
                  <a:lnTo>
                    <a:pt x="138" y="144"/>
                  </a:lnTo>
                  <a:lnTo>
                    <a:pt x="120" y="144"/>
                  </a:lnTo>
                  <a:lnTo>
                    <a:pt x="108" y="150"/>
                  </a:lnTo>
                  <a:lnTo>
                    <a:pt x="102" y="156"/>
                  </a:lnTo>
                  <a:lnTo>
                    <a:pt x="96" y="168"/>
                  </a:lnTo>
                  <a:lnTo>
                    <a:pt x="84" y="156"/>
                  </a:lnTo>
                  <a:lnTo>
                    <a:pt x="84" y="174"/>
                  </a:lnTo>
                  <a:lnTo>
                    <a:pt x="54" y="174"/>
                  </a:lnTo>
                  <a:lnTo>
                    <a:pt x="54" y="168"/>
                  </a:lnTo>
                  <a:lnTo>
                    <a:pt x="48" y="162"/>
                  </a:lnTo>
                  <a:lnTo>
                    <a:pt x="42" y="162"/>
                  </a:lnTo>
                  <a:lnTo>
                    <a:pt x="30" y="168"/>
                  </a:lnTo>
                  <a:lnTo>
                    <a:pt x="18" y="168"/>
                  </a:lnTo>
                  <a:lnTo>
                    <a:pt x="12" y="174"/>
                  </a:lnTo>
                  <a:lnTo>
                    <a:pt x="6" y="174"/>
                  </a:lnTo>
                  <a:lnTo>
                    <a:pt x="12" y="186"/>
                  </a:lnTo>
                  <a:lnTo>
                    <a:pt x="18" y="192"/>
                  </a:lnTo>
                  <a:lnTo>
                    <a:pt x="18" y="204"/>
                  </a:lnTo>
                  <a:lnTo>
                    <a:pt x="24" y="210"/>
                  </a:lnTo>
                  <a:lnTo>
                    <a:pt x="36" y="234"/>
                  </a:lnTo>
                  <a:lnTo>
                    <a:pt x="42" y="240"/>
                  </a:lnTo>
                  <a:lnTo>
                    <a:pt x="42" y="246"/>
                  </a:lnTo>
                  <a:lnTo>
                    <a:pt x="36" y="252"/>
                  </a:lnTo>
                  <a:lnTo>
                    <a:pt x="36" y="264"/>
                  </a:lnTo>
                  <a:lnTo>
                    <a:pt x="12" y="270"/>
                  </a:lnTo>
                  <a:lnTo>
                    <a:pt x="12" y="288"/>
                  </a:lnTo>
                  <a:lnTo>
                    <a:pt x="0" y="288"/>
                  </a:lnTo>
                  <a:lnTo>
                    <a:pt x="0" y="294"/>
                  </a:lnTo>
                  <a:lnTo>
                    <a:pt x="6" y="300"/>
                  </a:lnTo>
                  <a:lnTo>
                    <a:pt x="12" y="300"/>
                  </a:lnTo>
                  <a:lnTo>
                    <a:pt x="24" y="31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34" name="Uzbekistan" descr="© INSCALE GmbH, 05.05.2010&#10;http://www.presentationload.com/">
              <a:extLst>
                <a:ext uri="{FF2B5EF4-FFF2-40B4-BE49-F238E27FC236}">
                  <a16:creationId xmlns:a16="http://schemas.microsoft.com/office/drawing/2014/main" id="{B5B0F321-A85F-4068-88D3-3C5CE9A092C8}"/>
                </a:ext>
              </a:extLst>
            </p:cNvPr>
            <p:cNvSpPr>
              <a:spLocks/>
            </p:cNvSpPr>
            <p:nvPr/>
          </p:nvSpPr>
          <p:spPr bwMode="gray">
            <a:xfrm>
              <a:off x="5579780" y="2797504"/>
              <a:ext cx="470407" cy="264996"/>
            </a:xfrm>
            <a:custGeom>
              <a:avLst/>
              <a:gdLst>
                <a:gd name="T0" fmla="*/ 2147483647 w 1182"/>
                <a:gd name="T1" fmla="*/ 2147483647 h 666"/>
                <a:gd name="T2" fmla="*/ 2147483647 w 1182"/>
                <a:gd name="T3" fmla="*/ 2147483647 h 666"/>
                <a:gd name="T4" fmla="*/ 2147483647 w 1182"/>
                <a:gd name="T5" fmla="*/ 2147483647 h 666"/>
                <a:gd name="T6" fmla="*/ 2147483647 w 1182"/>
                <a:gd name="T7" fmla="*/ 2147483647 h 666"/>
                <a:gd name="T8" fmla="*/ 2147483647 w 1182"/>
                <a:gd name="T9" fmla="*/ 2147483647 h 666"/>
                <a:gd name="T10" fmla="*/ 2147483647 w 1182"/>
                <a:gd name="T11" fmla="*/ 2147483647 h 666"/>
                <a:gd name="T12" fmla="*/ 2147483647 w 1182"/>
                <a:gd name="T13" fmla="*/ 2147483647 h 666"/>
                <a:gd name="T14" fmla="*/ 2147483647 w 1182"/>
                <a:gd name="T15" fmla="*/ 2147483647 h 666"/>
                <a:gd name="T16" fmla="*/ 2147483647 w 1182"/>
                <a:gd name="T17" fmla="*/ 2147483647 h 666"/>
                <a:gd name="T18" fmla="*/ 2147483647 w 1182"/>
                <a:gd name="T19" fmla="*/ 2147483647 h 666"/>
                <a:gd name="T20" fmla="*/ 2147483647 w 1182"/>
                <a:gd name="T21" fmla="*/ 2147483647 h 666"/>
                <a:gd name="T22" fmla="*/ 2147483647 w 1182"/>
                <a:gd name="T23" fmla="*/ 2147483647 h 666"/>
                <a:gd name="T24" fmla="*/ 2147483647 w 1182"/>
                <a:gd name="T25" fmla="*/ 2147483647 h 666"/>
                <a:gd name="T26" fmla="*/ 2147483647 w 1182"/>
                <a:gd name="T27" fmla="*/ 2147483647 h 666"/>
                <a:gd name="T28" fmla="*/ 2147483647 w 1182"/>
                <a:gd name="T29" fmla="*/ 2147483647 h 666"/>
                <a:gd name="T30" fmla="*/ 2147483647 w 1182"/>
                <a:gd name="T31" fmla="*/ 2147483647 h 666"/>
                <a:gd name="T32" fmla="*/ 2147483647 w 1182"/>
                <a:gd name="T33" fmla="*/ 2147483647 h 666"/>
                <a:gd name="T34" fmla="*/ 2147483647 w 1182"/>
                <a:gd name="T35" fmla="*/ 2147483647 h 666"/>
                <a:gd name="T36" fmla="*/ 2147483647 w 1182"/>
                <a:gd name="T37" fmla="*/ 2147483647 h 666"/>
                <a:gd name="T38" fmla="*/ 2147483647 w 1182"/>
                <a:gd name="T39" fmla="*/ 2147483647 h 666"/>
                <a:gd name="T40" fmla="*/ 2147483647 w 1182"/>
                <a:gd name="T41" fmla="*/ 2147483647 h 666"/>
                <a:gd name="T42" fmla="*/ 2147483647 w 1182"/>
                <a:gd name="T43" fmla="*/ 2147483647 h 666"/>
                <a:gd name="T44" fmla="*/ 2147483647 w 1182"/>
                <a:gd name="T45" fmla="*/ 2147483647 h 666"/>
                <a:gd name="T46" fmla="*/ 2147483647 w 1182"/>
                <a:gd name="T47" fmla="*/ 2147483647 h 666"/>
                <a:gd name="T48" fmla="*/ 2147483647 w 1182"/>
                <a:gd name="T49" fmla="*/ 2147483647 h 666"/>
                <a:gd name="T50" fmla="*/ 2147483647 w 1182"/>
                <a:gd name="T51" fmla="*/ 2147483647 h 666"/>
                <a:gd name="T52" fmla="*/ 2147483647 w 1182"/>
                <a:gd name="T53" fmla="*/ 2147483647 h 666"/>
                <a:gd name="T54" fmla="*/ 2147483647 w 1182"/>
                <a:gd name="T55" fmla="*/ 2147483647 h 666"/>
                <a:gd name="T56" fmla="*/ 2147483647 w 1182"/>
                <a:gd name="T57" fmla="*/ 2147483647 h 666"/>
                <a:gd name="T58" fmla="*/ 2147483647 w 1182"/>
                <a:gd name="T59" fmla="*/ 2147483647 h 666"/>
                <a:gd name="T60" fmla="*/ 2147483647 w 1182"/>
                <a:gd name="T61" fmla="*/ 2147483647 h 666"/>
                <a:gd name="T62" fmla="*/ 2147483647 w 1182"/>
                <a:gd name="T63" fmla="*/ 2147483647 h 666"/>
                <a:gd name="T64" fmla="*/ 2147483647 w 1182"/>
                <a:gd name="T65" fmla="*/ 2147483647 h 666"/>
                <a:gd name="T66" fmla="*/ 2147483647 w 1182"/>
                <a:gd name="T67" fmla="*/ 2147483647 h 666"/>
                <a:gd name="T68" fmla="*/ 2147483647 w 1182"/>
                <a:gd name="T69" fmla="*/ 2147483647 h 666"/>
                <a:gd name="T70" fmla="*/ 2147483647 w 1182"/>
                <a:gd name="T71" fmla="*/ 2147483647 h 666"/>
                <a:gd name="T72" fmla="*/ 2147483647 w 1182"/>
                <a:gd name="T73" fmla="*/ 2147483647 h 666"/>
                <a:gd name="T74" fmla="*/ 2147483647 w 1182"/>
                <a:gd name="T75" fmla="*/ 2147483647 h 666"/>
                <a:gd name="T76" fmla="*/ 2147483647 w 1182"/>
                <a:gd name="T77" fmla="*/ 2147483647 h 666"/>
                <a:gd name="T78" fmla="*/ 2147483647 w 1182"/>
                <a:gd name="T79" fmla="*/ 2147483647 h 666"/>
                <a:gd name="T80" fmla="*/ 2147483647 w 1182"/>
                <a:gd name="T81" fmla="*/ 2147483647 h 666"/>
                <a:gd name="T82" fmla="*/ 2147483647 w 1182"/>
                <a:gd name="T83" fmla="*/ 2147483647 h 666"/>
                <a:gd name="T84" fmla="*/ 2147483647 w 1182"/>
                <a:gd name="T85" fmla="*/ 2147483647 h 666"/>
                <a:gd name="T86" fmla="*/ 2147483647 w 1182"/>
                <a:gd name="T87" fmla="*/ 2147483647 h 666"/>
                <a:gd name="T88" fmla="*/ 2147483647 w 1182"/>
                <a:gd name="T89" fmla="*/ 2147483647 h 666"/>
                <a:gd name="T90" fmla="*/ 2147483647 w 1182"/>
                <a:gd name="T91" fmla="*/ 2147483647 h 666"/>
                <a:gd name="T92" fmla="*/ 2147483647 w 1182"/>
                <a:gd name="T93" fmla="*/ 2147483647 h 666"/>
                <a:gd name="T94" fmla="*/ 2147483647 w 1182"/>
                <a:gd name="T95" fmla="*/ 2147483647 h 666"/>
                <a:gd name="T96" fmla="*/ 2147483647 w 1182"/>
                <a:gd name="T97" fmla="*/ 2147483647 h 666"/>
                <a:gd name="T98" fmla="*/ 2147483647 w 1182"/>
                <a:gd name="T99" fmla="*/ 2147483647 h 666"/>
                <a:gd name="T100" fmla="*/ 2147483647 w 1182"/>
                <a:gd name="T101" fmla="*/ 2147483647 h 666"/>
                <a:gd name="T102" fmla="*/ 2147483647 w 1182"/>
                <a:gd name="T103" fmla="*/ 2147483647 h 666"/>
                <a:gd name="T104" fmla="*/ 2147483647 w 1182"/>
                <a:gd name="T105" fmla="*/ 2147483647 h 666"/>
                <a:gd name="T106" fmla="*/ 2147483647 w 1182"/>
                <a:gd name="T107" fmla="*/ 2147483647 h 666"/>
                <a:gd name="T108" fmla="*/ 2147483647 w 1182"/>
                <a:gd name="T109" fmla="*/ 2147483647 h 666"/>
                <a:gd name="T110" fmla="*/ 2147483647 w 1182"/>
                <a:gd name="T111" fmla="*/ 2147483647 h 666"/>
                <a:gd name="T112" fmla="*/ 2147483647 w 1182"/>
                <a:gd name="T113" fmla="*/ 2147483647 h 666"/>
                <a:gd name="T114" fmla="*/ 2147483647 w 1182"/>
                <a:gd name="T115" fmla="*/ 2147483647 h 6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82"/>
                <a:gd name="T175" fmla="*/ 0 h 666"/>
                <a:gd name="T176" fmla="*/ 1182 w 1182"/>
                <a:gd name="T177" fmla="*/ 666 h 66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82" h="666">
                  <a:moveTo>
                    <a:pt x="1152" y="372"/>
                  </a:moveTo>
                  <a:lnTo>
                    <a:pt x="1146" y="360"/>
                  </a:lnTo>
                  <a:lnTo>
                    <a:pt x="1122" y="360"/>
                  </a:lnTo>
                  <a:lnTo>
                    <a:pt x="1116" y="342"/>
                  </a:lnTo>
                  <a:lnTo>
                    <a:pt x="1098" y="342"/>
                  </a:lnTo>
                  <a:lnTo>
                    <a:pt x="1080" y="318"/>
                  </a:lnTo>
                  <a:lnTo>
                    <a:pt x="1080" y="330"/>
                  </a:lnTo>
                  <a:lnTo>
                    <a:pt x="1068" y="330"/>
                  </a:lnTo>
                  <a:lnTo>
                    <a:pt x="1068" y="342"/>
                  </a:lnTo>
                  <a:lnTo>
                    <a:pt x="1032" y="342"/>
                  </a:lnTo>
                  <a:lnTo>
                    <a:pt x="1020" y="330"/>
                  </a:lnTo>
                  <a:lnTo>
                    <a:pt x="990" y="318"/>
                  </a:lnTo>
                  <a:lnTo>
                    <a:pt x="1038" y="270"/>
                  </a:lnTo>
                  <a:lnTo>
                    <a:pt x="1038" y="264"/>
                  </a:lnTo>
                  <a:lnTo>
                    <a:pt x="1032" y="264"/>
                  </a:lnTo>
                  <a:lnTo>
                    <a:pt x="1032" y="258"/>
                  </a:lnTo>
                  <a:lnTo>
                    <a:pt x="1002" y="276"/>
                  </a:lnTo>
                  <a:lnTo>
                    <a:pt x="978" y="276"/>
                  </a:lnTo>
                  <a:lnTo>
                    <a:pt x="966" y="300"/>
                  </a:lnTo>
                  <a:lnTo>
                    <a:pt x="960" y="300"/>
                  </a:lnTo>
                  <a:lnTo>
                    <a:pt x="954" y="306"/>
                  </a:lnTo>
                  <a:lnTo>
                    <a:pt x="942" y="306"/>
                  </a:lnTo>
                  <a:lnTo>
                    <a:pt x="930" y="312"/>
                  </a:lnTo>
                  <a:lnTo>
                    <a:pt x="918" y="324"/>
                  </a:lnTo>
                  <a:lnTo>
                    <a:pt x="918" y="342"/>
                  </a:lnTo>
                  <a:lnTo>
                    <a:pt x="912" y="342"/>
                  </a:lnTo>
                  <a:lnTo>
                    <a:pt x="906" y="348"/>
                  </a:lnTo>
                  <a:lnTo>
                    <a:pt x="894" y="354"/>
                  </a:lnTo>
                  <a:lnTo>
                    <a:pt x="882" y="366"/>
                  </a:lnTo>
                  <a:lnTo>
                    <a:pt x="882" y="378"/>
                  </a:lnTo>
                  <a:lnTo>
                    <a:pt x="888" y="384"/>
                  </a:lnTo>
                  <a:lnTo>
                    <a:pt x="888" y="396"/>
                  </a:lnTo>
                  <a:lnTo>
                    <a:pt x="882" y="390"/>
                  </a:lnTo>
                  <a:lnTo>
                    <a:pt x="870" y="390"/>
                  </a:lnTo>
                  <a:lnTo>
                    <a:pt x="858" y="384"/>
                  </a:lnTo>
                  <a:lnTo>
                    <a:pt x="852" y="384"/>
                  </a:lnTo>
                  <a:lnTo>
                    <a:pt x="852" y="372"/>
                  </a:lnTo>
                  <a:lnTo>
                    <a:pt x="858" y="366"/>
                  </a:lnTo>
                  <a:lnTo>
                    <a:pt x="858" y="348"/>
                  </a:lnTo>
                  <a:lnTo>
                    <a:pt x="840" y="342"/>
                  </a:lnTo>
                  <a:lnTo>
                    <a:pt x="762" y="342"/>
                  </a:lnTo>
                  <a:lnTo>
                    <a:pt x="732" y="282"/>
                  </a:lnTo>
                  <a:lnTo>
                    <a:pt x="726" y="276"/>
                  </a:lnTo>
                  <a:lnTo>
                    <a:pt x="714" y="276"/>
                  </a:lnTo>
                  <a:lnTo>
                    <a:pt x="708" y="282"/>
                  </a:lnTo>
                  <a:lnTo>
                    <a:pt x="702" y="282"/>
                  </a:lnTo>
                  <a:lnTo>
                    <a:pt x="696" y="276"/>
                  </a:lnTo>
                  <a:lnTo>
                    <a:pt x="696" y="234"/>
                  </a:lnTo>
                  <a:lnTo>
                    <a:pt x="690" y="216"/>
                  </a:lnTo>
                  <a:lnTo>
                    <a:pt x="690" y="204"/>
                  </a:lnTo>
                  <a:lnTo>
                    <a:pt x="660" y="204"/>
                  </a:lnTo>
                  <a:lnTo>
                    <a:pt x="654" y="192"/>
                  </a:lnTo>
                  <a:lnTo>
                    <a:pt x="642" y="186"/>
                  </a:lnTo>
                  <a:lnTo>
                    <a:pt x="636" y="168"/>
                  </a:lnTo>
                  <a:lnTo>
                    <a:pt x="618" y="150"/>
                  </a:lnTo>
                  <a:lnTo>
                    <a:pt x="612" y="138"/>
                  </a:lnTo>
                  <a:lnTo>
                    <a:pt x="600" y="138"/>
                  </a:lnTo>
                  <a:lnTo>
                    <a:pt x="576" y="150"/>
                  </a:lnTo>
                  <a:lnTo>
                    <a:pt x="570" y="156"/>
                  </a:lnTo>
                  <a:lnTo>
                    <a:pt x="552" y="156"/>
                  </a:lnTo>
                  <a:lnTo>
                    <a:pt x="534" y="150"/>
                  </a:lnTo>
                  <a:lnTo>
                    <a:pt x="474" y="150"/>
                  </a:lnTo>
                  <a:lnTo>
                    <a:pt x="456" y="156"/>
                  </a:lnTo>
                  <a:lnTo>
                    <a:pt x="420" y="156"/>
                  </a:lnTo>
                  <a:lnTo>
                    <a:pt x="414" y="162"/>
                  </a:lnTo>
                  <a:lnTo>
                    <a:pt x="408" y="162"/>
                  </a:lnTo>
                  <a:lnTo>
                    <a:pt x="330" y="90"/>
                  </a:lnTo>
                  <a:lnTo>
                    <a:pt x="264" y="54"/>
                  </a:lnTo>
                  <a:lnTo>
                    <a:pt x="270" y="66"/>
                  </a:lnTo>
                  <a:lnTo>
                    <a:pt x="270" y="90"/>
                  </a:lnTo>
                  <a:lnTo>
                    <a:pt x="264" y="102"/>
                  </a:lnTo>
                  <a:lnTo>
                    <a:pt x="258" y="108"/>
                  </a:lnTo>
                  <a:lnTo>
                    <a:pt x="240" y="108"/>
                  </a:lnTo>
                  <a:lnTo>
                    <a:pt x="228" y="102"/>
                  </a:lnTo>
                  <a:lnTo>
                    <a:pt x="222" y="96"/>
                  </a:lnTo>
                  <a:lnTo>
                    <a:pt x="222" y="78"/>
                  </a:lnTo>
                  <a:lnTo>
                    <a:pt x="210" y="54"/>
                  </a:lnTo>
                  <a:lnTo>
                    <a:pt x="216" y="36"/>
                  </a:lnTo>
                  <a:lnTo>
                    <a:pt x="162" y="12"/>
                  </a:lnTo>
                  <a:lnTo>
                    <a:pt x="156" y="30"/>
                  </a:lnTo>
                  <a:lnTo>
                    <a:pt x="168" y="36"/>
                  </a:lnTo>
                  <a:lnTo>
                    <a:pt x="174" y="48"/>
                  </a:lnTo>
                  <a:lnTo>
                    <a:pt x="174" y="72"/>
                  </a:lnTo>
                  <a:lnTo>
                    <a:pt x="168" y="78"/>
                  </a:lnTo>
                  <a:lnTo>
                    <a:pt x="156" y="84"/>
                  </a:lnTo>
                  <a:lnTo>
                    <a:pt x="150" y="84"/>
                  </a:lnTo>
                  <a:lnTo>
                    <a:pt x="144" y="78"/>
                  </a:lnTo>
                  <a:lnTo>
                    <a:pt x="144" y="60"/>
                  </a:lnTo>
                  <a:lnTo>
                    <a:pt x="132" y="48"/>
                  </a:lnTo>
                  <a:lnTo>
                    <a:pt x="132" y="42"/>
                  </a:lnTo>
                  <a:lnTo>
                    <a:pt x="144" y="30"/>
                  </a:lnTo>
                  <a:lnTo>
                    <a:pt x="150" y="6"/>
                  </a:lnTo>
                  <a:lnTo>
                    <a:pt x="144" y="0"/>
                  </a:lnTo>
                  <a:lnTo>
                    <a:pt x="0" y="42"/>
                  </a:lnTo>
                  <a:lnTo>
                    <a:pt x="48" y="324"/>
                  </a:lnTo>
                  <a:lnTo>
                    <a:pt x="60" y="324"/>
                  </a:lnTo>
                  <a:lnTo>
                    <a:pt x="72" y="336"/>
                  </a:lnTo>
                  <a:lnTo>
                    <a:pt x="138" y="336"/>
                  </a:lnTo>
                  <a:lnTo>
                    <a:pt x="132" y="324"/>
                  </a:lnTo>
                  <a:lnTo>
                    <a:pt x="120" y="318"/>
                  </a:lnTo>
                  <a:lnTo>
                    <a:pt x="114" y="300"/>
                  </a:lnTo>
                  <a:lnTo>
                    <a:pt x="114" y="288"/>
                  </a:lnTo>
                  <a:lnTo>
                    <a:pt x="132" y="270"/>
                  </a:lnTo>
                  <a:lnTo>
                    <a:pt x="144" y="264"/>
                  </a:lnTo>
                  <a:lnTo>
                    <a:pt x="156" y="264"/>
                  </a:lnTo>
                  <a:lnTo>
                    <a:pt x="162" y="258"/>
                  </a:lnTo>
                  <a:lnTo>
                    <a:pt x="168" y="258"/>
                  </a:lnTo>
                  <a:lnTo>
                    <a:pt x="168" y="246"/>
                  </a:lnTo>
                  <a:lnTo>
                    <a:pt x="174" y="240"/>
                  </a:lnTo>
                  <a:lnTo>
                    <a:pt x="180" y="240"/>
                  </a:lnTo>
                  <a:lnTo>
                    <a:pt x="186" y="246"/>
                  </a:lnTo>
                  <a:lnTo>
                    <a:pt x="198" y="246"/>
                  </a:lnTo>
                  <a:lnTo>
                    <a:pt x="204" y="252"/>
                  </a:lnTo>
                  <a:lnTo>
                    <a:pt x="174" y="222"/>
                  </a:lnTo>
                  <a:lnTo>
                    <a:pt x="204" y="228"/>
                  </a:lnTo>
                  <a:lnTo>
                    <a:pt x="210" y="216"/>
                  </a:lnTo>
                  <a:lnTo>
                    <a:pt x="228" y="240"/>
                  </a:lnTo>
                  <a:lnTo>
                    <a:pt x="252" y="240"/>
                  </a:lnTo>
                  <a:lnTo>
                    <a:pt x="252" y="252"/>
                  </a:lnTo>
                  <a:lnTo>
                    <a:pt x="264" y="258"/>
                  </a:lnTo>
                  <a:lnTo>
                    <a:pt x="300" y="258"/>
                  </a:lnTo>
                  <a:lnTo>
                    <a:pt x="306" y="264"/>
                  </a:lnTo>
                  <a:lnTo>
                    <a:pt x="312" y="276"/>
                  </a:lnTo>
                  <a:lnTo>
                    <a:pt x="312" y="288"/>
                  </a:lnTo>
                  <a:lnTo>
                    <a:pt x="324" y="294"/>
                  </a:lnTo>
                  <a:lnTo>
                    <a:pt x="312" y="306"/>
                  </a:lnTo>
                  <a:lnTo>
                    <a:pt x="312" y="318"/>
                  </a:lnTo>
                  <a:lnTo>
                    <a:pt x="330" y="336"/>
                  </a:lnTo>
                  <a:lnTo>
                    <a:pt x="360" y="336"/>
                  </a:lnTo>
                  <a:lnTo>
                    <a:pt x="414" y="342"/>
                  </a:lnTo>
                  <a:lnTo>
                    <a:pt x="414" y="336"/>
                  </a:lnTo>
                  <a:lnTo>
                    <a:pt x="450" y="354"/>
                  </a:lnTo>
                  <a:lnTo>
                    <a:pt x="468" y="384"/>
                  </a:lnTo>
                  <a:lnTo>
                    <a:pt x="486" y="402"/>
                  </a:lnTo>
                  <a:lnTo>
                    <a:pt x="486" y="408"/>
                  </a:lnTo>
                  <a:lnTo>
                    <a:pt x="492" y="414"/>
                  </a:lnTo>
                  <a:lnTo>
                    <a:pt x="510" y="450"/>
                  </a:lnTo>
                  <a:lnTo>
                    <a:pt x="522" y="462"/>
                  </a:lnTo>
                  <a:lnTo>
                    <a:pt x="534" y="468"/>
                  </a:lnTo>
                  <a:lnTo>
                    <a:pt x="552" y="468"/>
                  </a:lnTo>
                  <a:lnTo>
                    <a:pt x="564" y="474"/>
                  </a:lnTo>
                  <a:lnTo>
                    <a:pt x="570" y="474"/>
                  </a:lnTo>
                  <a:lnTo>
                    <a:pt x="582" y="486"/>
                  </a:lnTo>
                  <a:lnTo>
                    <a:pt x="588" y="498"/>
                  </a:lnTo>
                  <a:lnTo>
                    <a:pt x="594" y="504"/>
                  </a:lnTo>
                  <a:lnTo>
                    <a:pt x="624" y="522"/>
                  </a:lnTo>
                  <a:lnTo>
                    <a:pt x="648" y="522"/>
                  </a:lnTo>
                  <a:lnTo>
                    <a:pt x="666" y="534"/>
                  </a:lnTo>
                  <a:lnTo>
                    <a:pt x="690" y="546"/>
                  </a:lnTo>
                  <a:lnTo>
                    <a:pt x="696" y="552"/>
                  </a:lnTo>
                  <a:lnTo>
                    <a:pt x="708" y="558"/>
                  </a:lnTo>
                  <a:lnTo>
                    <a:pt x="720" y="570"/>
                  </a:lnTo>
                  <a:lnTo>
                    <a:pt x="732" y="570"/>
                  </a:lnTo>
                  <a:lnTo>
                    <a:pt x="744" y="582"/>
                  </a:lnTo>
                  <a:lnTo>
                    <a:pt x="750" y="582"/>
                  </a:lnTo>
                  <a:lnTo>
                    <a:pt x="774" y="576"/>
                  </a:lnTo>
                  <a:lnTo>
                    <a:pt x="822" y="606"/>
                  </a:lnTo>
                  <a:lnTo>
                    <a:pt x="816" y="612"/>
                  </a:lnTo>
                  <a:lnTo>
                    <a:pt x="816" y="630"/>
                  </a:lnTo>
                  <a:lnTo>
                    <a:pt x="828" y="642"/>
                  </a:lnTo>
                  <a:lnTo>
                    <a:pt x="828" y="654"/>
                  </a:lnTo>
                  <a:lnTo>
                    <a:pt x="840" y="654"/>
                  </a:lnTo>
                  <a:lnTo>
                    <a:pt x="852" y="642"/>
                  </a:lnTo>
                  <a:lnTo>
                    <a:pt x="870" y="666"/>
                  </a:lnTo>
                  <a:lnTo>
                    <a:pt x="882" y="660"/>
                  </a:lnTo>
                  <a:lnTo>
                    <a:pt x="894" y="660"/>
                  </a:lnTo>
                  <a:lnTo>
                    <a:pt x="900" y="666"/>
                  </a:lnTo>
                  <a:lnTo>
                    <a:pt x="906" y="666"/>
                  </a:lnTo>
                  <a:lnTo>
                    <a:pt x="900" y="666"/>
                  </a:lnTo>
                  <a:lnTo>
                    <a:pt x="900" y="642"/>
                  </a:lnTo>
                  <a:lnTo>
                    <a:pt x="906" y="636"/>
                  </a:lnTo>
                  <a:lnTo>
                    <a:pt x="912" y="624"/>
                  </a:lnTo>
                  <a:lnTo>
                    <a:pt x="924" y="618"/>
                  </a:lnTo>
                  <a:lnTo>
                    <a:pt x="930" y="606"/>
                  </a:lnTo>
                  <a:lnTo>
                    <a:pt x="930" y="588"/>
                  </a:lnTo>
                  <a:lnTo>
                    <a:pt x="918" y="576"/>
                  </a:lnTo>
                  <a:lnTo>
                    <a:pt x="906" y="570"/>
                  </a:lnTo>
                  <a:lnTo>
                    <a:pt x="900" y="564"/>
                  </a:lnTo>
                  <a:lnTo>
                    <a:pt x="900" y="546"/>
                  </a:lnTo>
                  <a:lnTo>
                    <a:pt x="906" y="540"/>
                  </a:lnTo>
                  <a:lnTo>
                    <a:pt x="906" y="534"/>
                  </a:lnTo>
                  <a:lnTo>
                    <a:pt x="894" y="522"/>
                  </a:lnTo>
                  <a:lnTo>
                    <a:pt x="882" y="522"/>
                  </a:lnTo>
                  <a:lnTo>
                    <a:pt x="876" y="516"/>
                  </a:lnTo>
                  <a:lnTo>
                    <a:pt x="870" y="516"/>
                  </a:lnTo>
                  <a:lnTo>
                    <a:pt x="858" y="504"/>
                  </a:lnTo>
                  <a:lnTo>
                    <a:pt x="840" y="504"/>
                  </a:lnTo>
                  <a:lnTo>
                    <a:pt x="840" y="486"/>
                  </a:lnTo>
                  <a:lnTo>
                    <a:pt x="846" y="480"/>
                  </a:lnTo>
                  <a:lnTo>
                    <a:pt x="894" y="480"/>
                  </a:lnTo>
                  <a:lnTo>
                    <a:pt x="918" y="468"/>
                  </a:lnTo>
                  <a:lnTo>
                    <a:pt x="918" y="456"/>
                  </a:lnTo>
                  <a:lnTo>
                    <a:pt x="912" y="456"/>
                  </a:lnTo>
                  <a:lnTo>
                    <a:pt x="930" y="444"/>
                  </a:lnTo>
                  <a:lnTo>
                    <a:pt x="906" y="420"/>
                  </a:lnTo>
                  <a:lnTo>
                    <a:pt x="948" y="420"/>
                  </a:lnTo>
                  <a:lnTo>
                    <a:pt x="948" y="414"/>
                  </a:lnTo>
                  <a:lnTo>
                    <a:pt x="936" y="402"/>
                  </a:lnTo>
                  <a:lnTo>
                    <a:pt x="936" y="390"/>
                  </a:lnTo>
                  <a:lnTo>
                    <a:pt x="942" y="384"/>
                  </a:lnTo>
                  <a:lnTo>
                    <a:pt x="942" y="372"/>
                  </a:lnTo>
                  <a:lnTo>
                    <a:pt x="954" y="372"/>
                  </a:lnTo>
                  <a:lnTo>
                    <a:pt x="972" y="390"/>
                  </a:lnTo>
                  <a:lnTo>
                    <a:pt x="978" y="390"/>
                  </a:lnTo>
                  <a:lnTo>
                    <a:pt x="984" y="378"/>
                  </a:lnTo>
                  <a:lnTo>
                    <a:pt x="996" y="372"/>
                  </a:lnTo>
                  <a:lnTo>
                    <a:pt x="1002" y="360"/>
                  </a:lnTo>
                  <a:lnTo>
                    <a:pt x="1020" y="360"/>
                  </a:lnTo>
                  <a:lnTo>
                    <a:pt x="1032" y="366"/>
                  </a:lnTo>
                  <a:lnTo>
                    <a:pt x="1038" y="372"/>
                  </a:lnTo>
                  <a:lnTo>
                    <a:pt x="1014" y="408"/>
                  </a:lnTo>
                  <a:lnTo>
                    <a:pt x="1026" y="408"/>
                  </a:lnTo>
                  <a:lnTo>
                    <a:pt x="1032" y="414"/>
                  </a:lnTo>
                  <a:lnTo>
                    <a:pt x="1044" y="414"/>
                  </a:lnTo>
                  <a:lnTo>
                    <a:pt x="1050" y="420"/>
                  </a:lnTo>
                  <a:lnTo>
                    <a:pt x="1056" y="420"/>
                  </a:lnTo>
                  <a:lnTo>
                    <a:pt x="1068" y="414"/>
                  </a:lnTo>
                  <a:lnTo>
                    <a:pt x="1086" y="414"/>
                  </a:lnTo>
                  <a:lnTo>
                    <a:pt x="1092" y="420"/>
                  </a:lnTo>
                  <a:lnTo>
                    <a:pt x="1098" y="420"/>
                  </a:lnTo>
                  <a:lnTo>
                    <a:pt x="1104" y="426"/>
                  </a:lnTo>
                  <a:lnTo>
                    <a:pt x="1110" y="426"/>
                  </a:lnTo>
                  <a:lnTo>
                    <a:pt x="1128" y="408"/>
                  </a:lnTo>
                  <a:lnTo>
                    <a:pt x="1146" y="402"/>
                  </a:lnTo>
                  <a:lnTo>
                    <a:pt x="1146" y="396"/>
                  </a:lnTo>
                  <a:lnTo>
                    <a:pt x="1158" y="396"/>
                  </a:lnTo>
                  <a:lnTo>
                    <a:pt x="1170" y="390"/>
                  </a:lnTo>
                  <a:lnTo>
                    <a:pt x="1182" y="378"/>
                  </a:lnTo>
                  <a:lnTo>
                    <a:pt x="1182" y="366"/>
                  </a:lnTo>
                  <a:lnTo>
                    <a:pt x="1170" y="366"/>
                  </a:lnTo>
                  <a:lnTo>
                    <a:pt x="1158" y="372"/>
                  </a:lnTo>
                  <a:lnTo>
                    <a:pt x="1152" y="37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35" name="Vietnam" descr="© INSCALE GmbH, 05.05.2010&#10;http://www.presentationload.com/">
              <a:extLst>
                <a:ext uri="{FF2B5EF4-FFF2-40B4-BE49-F238E27FC236}">
                  <a16:creationId xmlns:a16="http://schemas.microsoft.com/office/drawing/2014/main" id="{32EA451C-5E21-452A-B685-25D413B59028}"/>
                </a:ext>
              </a:extLst>
            </p:cNvPr>
            <p:cNvSpPr>
              <a:spLocks/>
            </p:cNvSpPr>
            <p:nvPr/>
          </p:nvSpPr>
          <p:spPr bwMode="gray">
            <a:xfrm>
              <a:off x="6965912" y="3503114"/>
              <a:ext cx="241476" cy="473543"/>
            </a:xfrm>
            <a:custGeom>
              <a:avLst/>
              <a:gdLst>
                <a:gd name="T0" fmla="*/ 2147483647 w 606"/>
                <a:gd name="T1" fmla="*/ 2147483647 h 1194"/>
                <a:gd name="T2" fmla="*/ 2147483647 w 606"/>
                <a:gd name="T3" fmla="*/ 2147483647 h 1194"/>
                <a:gd name="T4" fmla="*/ 2147483647 w 606"/>
                <a:gd name="T5" fmla="*/ 2147483647 h 1194"/>
                <a:gd name="T6" fmla="*/ 2147483647 w 606"/>
                <a:gd name="T7" fmla="*/ 2147483647 h 1194"/>
                <a:gd name="T8" fmla="*/ 2147483647 w 606"/>
                <a:gd name="T9" fmla="*/ 2147483647 h 1194"/>
                <a:gd name="T10" fmla="*/ 2147483647 w 606"/>
                <a:gd name="T11" fmla="*/ 2147483647 h 1194"/>
                <a:gd name="T12" fmla="*/ 2147483647 w 606"/>
                <a:gd name="T13" fmla="*/ 2147483647 h 1194"/>
                <a:gd name="T14" fmla="*/ 2147483647 w 606"/>
                <a:gd name="T15" fmla="*/ 2147483647 h 1194"/>
                <a:gd name="T16" fmla="*/ 2147483647 w 606"/>
                <a:gd name="T17" fmla="*/ 2147483647 h 1194"/>
                <a:gd name="T18" fmla="*/ 2147483647 w 606"/>
                <a:gd name="T19" fmla="*/ 2147483647 h 1194"/>
                <a:gd name="T20" fmla="*/ 2147483647 w 606"/>
                <a:gd name="T21" fmla="*/ 2147483647 h 1194"/>
                <a:gd name="T22" fmla="*/ 2147483647 w 606"/>
                <a:gd name="T23" fmla="*/ 2147483647 h 1194"/>
                <a:gd name="T24" fmla="*/ 2147483647 w 606"/>
                <a:gd name="T25" fmla="*/ 2147483647 h 1194"/>
                <a:gd name="T26" fmla="*/ 2147483647 w 606"/>
                <a:gd name="T27" fmla="*/ 2147483647 h 1194"/>
                <a:gd name="T28" fmla="*/ 2147483647 w 606"/>
                <a:gd name="T29" fmla="*/ 2147483647 h 1194"/>
                <a:gd name="T30" fmla="*/ 2147483647 w 606"/>
                <a:gd name="T31" fmla="*/ 2147483647 h 1194"/>
                <a:gd name="T32" fmla="*/ 2147483647 w 606"/>
                <a:gd name="T33" fmla="*/ 2147483647 h 1194"/>
                <a:gd name="T34" fmla="*/ 2147483647 w 606"/>
                <a:gd name="T35" fmla="*/ 2147483647 h 1194"/>
                <a:gd name="T36" fmla="*/ 2147483647 w 606"/>
                <a:gd name="T37" fmla="*/ 2147483647 h 1194"/>
                <a:gd name="T38" fmla="*/ 2147483647 w 606"/>
                <a:gd name="T39" fmla="*/ 2147483647 h 1194"/>
                <a:gd name="T40" fmla="*/ 2147483647 w 606"/>
                <a:gd name="T41" fmla="*/ 2147483647 h 1194"/>
                <a:gd name="T42" fmla="*/ 2147483647 w 606"/>
                <a:gd name="T43" fmla="*/ 2147483647 h 1194"/>
                <a:gd name="T44" fmla="*/ 2147483647 w 606"/>
                <a:gd name="T45" fmla="*/ 2147483647 h 1194"/>
                <a:gd name="T46" fmla="*/ 2147483647 w 606"/>
                <a:gd name="T47" fmla="*/ 2147483647 h 1194"/>
                <a:gd name="T48" fmla="*/ 2147483647 w 606"/>
                <a:gd name="T49" fmla="*/ 2147483647 h 1194"/>
                <a:gd name="T50" fmla="*/ 2147483647 w 606"/>
                <a:gd name="T51" fmla="*/ 2147483647 h 1194"/>
                <a:gd name="T52" fmla="*/ 2147483647 w 606"/>
                <a:gd name="T53" fmla="*/ 2147483647 h 1194"/>
                <a:gd name="T54" fmla="*/ 2147483647 w 606"/>
                <a:gd name="T55" fmla="*/ 2147483647 h 1194"/>
                <a:gd name="T56" fmla="*/ 2147483647 w 606"/>
                <a:gd name="T57" fmla="*/ 2147483647 h 1194"/>
                <a:gd name="T58" fmla="*/ 2147483647 w 606"/>
                <a:gd name="T59" fmla="*/ 2147483647 h 1194"/>
                <a:gd name="T60" fmla="*/ 2147483647 w 606"/>
                <a:gd name="T61" fmla="*/ 2147483647 h 1194"/>
                <a:gd name="T62" fmla="*/ 2147483647 w 606"/>
                <a:gd name="T63" fmla="*/ 2147483647 h 1194"/>
                <a:gd name="T64" fmla="*/ 2147483647 w 606"/>
                <a:gd name="T65" fmla="*/ 2147483647 h 1194"/>
                <a:gd name="T66" fmla="*/ 2147483647 w 606"/>
                <a:gd name="T67" fmla="*/ 2147483647 h 1194"/>
                <a:gd name="T68" fmla="*/ 2147483647 w 606"/>
                <a:gd name="T69" fmla="*/ 2147483647 h 1194"/>
                <a:gd name="T70" fmla="*/ 2147483647 w 606"/>
                <a:gd name="T71" fmla="*/ 2147483647 h 1194"/>
                <a:gd name="T72" fmla="*/ 2147483647 w 606"/>
                <a:gd name="T73" fmla="*/ 2147483647 h 1194"/>
                <a:gd name="T74" fmla="*/ 2147483647 w 606"/>
                <a:gd name="T75" fmla="*/ 2147483647 h 1194"/>
                <a:gd name="T76" fmla="*/ 2147483647 w 606"/>
                <a:gd name="T77" fmla="*/ 2147483647 h 1194"/>
                <a:gd name="T78" fmla="*/ 2147483647 w 606"/>
                <a:gd name="T79" fmla="*/ 2147483647 h 1194"/>
                <a:gd name="T80" fmla="*/ 2147483647 w 606"/>
                <a:gd name="T81" fmla="*/ 2147483647 h 1194"/>
                <a:gd name="T82" fmla="*/ 2147483647 w 606"/>
                <a:gd name="T83" fmla="*/ 2147483647 h 1194"/>
                <a:gd name="T84" fmla="*/ 2147483647 w 606"/>
                <a:gd name="T85" fmla="*/ 2147483647 h 1194"/>
                <a:gd name="T86" fmla="*/ 2147483647 w 606"/>
                <a:gd name="T87" fmla="*/ 2147483647 h 1194"/>
                <a:gd name="T88" fmla="*/ 2147483647 w 606"/>
                <a:gd name="T89" fmla="*/ 2147483647 h 1194"/>
                <a:gd name="T90" fmla="*/ 2147483647 w 606"/>
                <a:gd name="T91" fmla="*/ 2147483647 h 1194"/>
                <a:gd name="T92" fmla="*/ 2147483647 w 606"/>
                <a:gd name="T93" fmla="*/ 2147483647 h 1194"/>
                <a:gd name="T94" fmla="*/ 2147483647 w 606"/>
                <a:gd name="T95" fmla="*/ 2147483647 h 1194"/>
                <a:gd name="T96" fmla="*/ 2147483647 w 606"/>
                <a:gd name="T97" fmla="*/ 2147483647 h 1194"/>
                <a:gd name="T98" fmla="*/ 2147483647 w 606"/>
                <a:gd name="T99" fmla="*/ 2147483647 h 1194"/>
                <a:gd name="T100" fmla="*/ 2147483647 w 606"/>
                <a:gd name="T101" fmla="*/ 2147483647 h 1194"/>
                <a:gd name="T102" fmla="*/ 2147483647 w 606"/>
                <a:gd name="T103" fmla="*/ 2147483647 h 1194"/>
                <a:gd name="T104" fmla="*/ 2147483647 w 606"/>
                <a:gd name="T105" fmla="*/ 2147483647 h 1194"/>
                <a:gd name="T106" fmla="*/ 2147483647 w 606"/>
                <a:gd name="T107" fmla="*/ 2147483647 h 1194"/>
                <a:gd name="T108" fmla="*/ 2147483647 w 606"/>
                <a:gd name="T109" fmla="*/ 2147483647 h 1194"/>
                <a:gd name="T110" fmla="*/ 2147483647 w 606"/>
                <a:gd name="T111" fmla="*/ 2147483647 h 1194"/>
                <a:gd name="T112" fmla="*/ 2147483647 w 606"/>
                <a:gd name="T113" fmla="*/ 2147483647 h 1194"/>
                <a:gd name="T114" fmla="*/ 2147483647 w 606"/>
                <a:gd name="T115" fmla="*/ 2147483647 h 1194"/>
                <a:gd name="T116" fmla="*/ 2147483647 w 606"/>
                <a:gd name="T117" fmla="*/ 2147483647 h 1194"/>
                <a:gd name="T118" fmla="*/ 2147483647 w 606"/>
                <a:gd name="T119" fmla="*/ 2147483647 h 1194"/>
                <a:gd name="T120" fmla="*/ 2147483647 w 606"/>
                <a:gd name="T121" fmla="*/ 2147483647 h 1194"/>
                <a:gd name="T122" fmla="*/ 2147483647 w 606"/>
                <a:gd name="T123" fmla="*/ 2147483647 h 1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6"/>
                <a:gd name="T187" fmla="*/ 0 h 1194"/>
                <a:gd name="T188" fmla="*/ 606 w 606"/>
                <a:gd name="T189" fmla="*/ 1194 h 1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6" h="1194">
                  <a:moveTo>
                    <a:pt x="6" y="48"/>
                  </a:moveTo>
                  <a:lnTo>
                    <a:pt x="0" y="60"/>
                  </a:lnTo>
                  <a:lnTo>
                    <a:pt x="0" y="72"/>
                  </a:lnTo>
                  <a:lnTo>
                    <a:pt x="12" y="96"/>
                  </a:lnTo>
                  <a:lnTo>
                    <a:pt x="18" y="102"/>
                  </a:lnTo>
                  <a:lnTo>
                    <a:pt x="24" y="114"/>
                  </a:lnTo>
                  <a:lnTo>
                    <a:pt x="36" y="120"/>
                  </a:lnTo>
                  <a:lnTo>
                    <a:pt x="42" y="132"/>
                  </a:lnTo>
                  <a:lnTo>
                    <a:pt x="48" y="126"/>
                  </a:lnTo>
                  <a:lnTo>
                    <a:pt x="54" y="126"/>
                  </a:lnTo>
                  <a:lnTo>
                    <a:pt x="54" y="156"/>
                  </a:lnTo>
                  <a:lnTo>
                    <a:pt x="66" y="180"/>
                  </a:lnTo>
                  <a:lnTo>
                    <a:pt x="84" y="198"/>
                  </a:lnTo>
                  <a:lnTo>
                    <a:pt x="90" y="210"/>
                  </a:lnTo>
                  <a:lnTo>
                    <a:pt x="108" y="210"/>
                  </a:lnTo>
                  <a:lnTo>
                    <a:pt x="108" y="216"/>
                  </a:lnTo>
                  <a:lnTo>
                    <a:pt x="120" y="228"/>
                  </a:lnTo>
                  <a:lnTo>
                    <a:pt x="126" y="222"/>
                  </a:lnTo>
                  <a:lnTo>
                    <a:pt x="132" y="210"/>
                  </a:lnTo>
                  <a:lnTo>
                    <a:pt x="132" y="204"/>
                  </a:lnTo>
                  <a:lnTo>
                    <a:pt x="138" y="192"/>
                  </a:lnTo>
                  <a:lnTo>
                    <a:pt x="150" y="192"/>
                  </a:lnTo>
                  <a:lnTo>
                    <a:pt x="162" y="198"/>
                  </a:lnTo>
                  <a:lnTo>
                    <a:pt x="186" y="222"/>
                  </a:lnTo>
                  <a:lnTo>
                    <a:pt x="180" y="222"/>
                  </a:lnTo>
                  <a:lnTo>
                    <a:pt x="174" y="228"/>
                  </a:lnTo>
                  <a:lnTo>
                    <a:pt x="174" y="234"/>
                  </a:lnTo>
                  <a:lnTo>
                    <a:pt x="198" y="246"/>
                  </a:lnTo>
                  <a:lnTo>
                    <a:pt x="216" y="252"/>
                  </a:lnTo>
                  <a:lnTo>
                    <a:pt x="228" y="258"/>
                  </a:lnTo>
                  <a:lnTo>
                    <a:pt x="228" y="270"/>
                  </a:lnTo>
                  <a:lnTo>
                    <a:pt x="222" y="282"/>
                  </a:lnTo>
                  <a:lnTo>
                    <a:pt x="210" y="288"/>
                  </a:lnTo>
                  <a:lnTo>
                    <a:pt x="204" y="300"/>
                  </a:lnTo>
                  <a:lnTo>
                    <a:pt x="198" y="306"/>
                  </a:lnTo>
                  <a:lnTo>
                    <a:pt x="180" y="306"/>
                  </a:lnTo>
                  <a:lnTo>
                    <a:pt x="174" y="300"/>
                  </a:lnTo>
                  <a:lnTo>
                    <a:pt x="150" y="300"/>
                  </a:lnTo>
                  <a:lnTo>
                    <a:pt x="156" y="306"/>
                  </a:lnTo>
                  <a:lnTo>
                    <a:pt x="156" y="324"/>
                  </a:lnTo>
                  <a:lnTo>
                    <a:pt x="168" y="330"/>
                  </a:lnTo>
                  <a:lnTo>
                    <a:pt x="174" y="336"/>
                  </a:lnTo>
                  <a:lnTo>
                    <a:pt x="210" y="354"/>
                  </a:lnTo>
                  <a:lnTo>
                    <a:pt x="222" y="366"/>
                  </a:lnTo>
                  <a:lnTo>
                    <a:pt x="234" y="372"/>
                  </a:lnTo>
                  <a:lnTo>
                    <a:pt x="240" y="378"/>
                  </a:lnTo>
                  <a:lnTo>
                    <a:pt x="252" y="378"/>
                  </a:lnTo>
                  <a:lnTo>
                    <a:pt x="252" y="408"/>
                  </a:lnTo>
                  <a:lnTo>
                    <a:pt x="258" y="414"/>
                  </a:lnTo>
                  <a:lnTo>
                    <a:pt x="270" y="414"/>
                  </a:lnTo>
                  <a:lnTo>
                    <a:pt x="282" y="420"/>
                  </a:lnTo>
                  <a:lnTo>
                    <a:pt x="288" y="426"/>
                  </a:lnTo>
                  <a:lnTo>
                    <a:pt x="294" y="426"/>
                  </a:lnTo>
                  <a:lnTo>
                    <a:pt x="294" y="450"/>
                  </a:lnTo>
                  <a:lnTo>
                    <a:pt x="306" y="474"/>
                  </a:lnTo>
                  <a:lnTo>
                    <a:pt x="324" y="486"/>
                  </a:lnTo>
                  <a:lnTo>
                    <a:pt x="342" y="504"/>
                  </a:lnTo>
                  <a:lnTo>
                    <a:pt x="348" y="522"/>
                  </a:lnTo>
                  <a:lnTo>
                    <a:pt x="366" y="522"/>
                  </a:lnTo>
                  <a:lnTo>
                    <a:pt x="366" y="528"/>
                  </a:lnTo>
                  <a:lnTo>
                    <a:pt x="372" y="534"/>
                  </a:lnTo>
                  <a:lnTo>
                    <a:pt x="384" y="558"/>
                  </a:lnTo>
                  <a:lnTo>
                    <a:pt x="396" y="570"/>
                  </a:lnTo>
                  <a:lnTo>
                    <a:pt x="408" y="570"/>
                  </a:lnTo>
                  <a:lnTo>
                    <a:pt x="414" y="576"/>
                  </a:lnTo>
                  <a:lnTo>
                    <a:pt x="426" y="582"/>
                  </a:lnTo>
                  <a:lnTo>
                    <a:pt x="432" y="588"/>
                  </a:lnTo>
                  <a:lnTo>
                    <a:pt x="432" y="600"/>
                  </a:lnTo>
                  <a:lnTo>
                    <a:pt x="426" y="606"/>
                  </a:lnTo>
                  <a:lnTo>
                    <a:pt x="420" y="606"/>
                  </a:lnTo>
                  <a:lnTo>
                    <a:pt x="414" y="612"/>
                  </a:lnTo>
                  <a:lnTo>
                    <a:pt x="408" y="612"/>
                  </a:lnTo>
                  <a:lnTo>
                    <a:pt x="432" y="636"/>
                  </a:lnTo>
                  <a:lnTo>
                    <a:pt x="456" y="648"/>
                  </a:lnTo>
                  <a:lnTo>
                    <a:pt x="462" y="654"/>
                  </a:lnTo>
                  <a:lnTo>
                    <a:pt x="468" y="654"/>
                  </a:lnTo>
                  <a:lnTo>
                    <a:pt x="450" y="690"/>
                  </a:lnTo>
                  <a:lnTo>
                    <a:pt x="456" y="690"/>
                  </a:lnTo>
                  <a:lnTo>
                    <a:pt x="468" y="702"/>
                  </a:lnTo>
                  <a:lnTo>
                    <a:pt x="468" y="708"/>
                  </a:lnTo>
                  <a:lnTo>
                    <a:pt x="456" y="720"/>
                  </a:lnTo>
                  <a:lnTo>
                    <a:pt x="450" y="720"/>
                  </a:lnTo>
                  <a:lnTo>
                    <a:pt x="450" y="762"/>
                  </a:lnTo>
                  <a:lnTo>
                    <a:pt x="456" y="762"/>
                  </a:lnTo>
                  <a:lnTo>
                    <a:pt x="468" y="774"/>
                  </a:lnTo>
                  <a:lnTo>
                    <a:pt x="480" y="798"/>
                  </a:lnTo>
                  <a:lnTo>
                    <a:pt x="480" y="804"/>
                  </a:lnTo>
                  <a:lnTo>
                    <a:pt x="468" y="816"/>
                  </a:lnTo>
                  <a:lnTo>
                    <a:pt x="462" y="816"/>
                  </a:lnTo>
                  <a:lnTo>
                    <a:pt x="462" y="828"/>
                  </a:lnTo>
                  <a:lnTo>
                    <a:pt x="468" y="834"/>
                  </a:lnTo>
                  <a:lnTo>
                    <a:pt x="468" y="864"/>
                  </a:lnTo>
                  <a:lnTo>
                    <a:pt x="474" y="870"/>
                  </a:lnTo>
                  <a:lnTo>
                    <a:pt x="474" y="900"/>
                  </a:lnTo>
                  <a:lnTo>
                    <a:pt x="462" y="894"/>
                  </a:lnTo>
                  <a:lnTo>
                    <a:pt x="444" y="894"/>
                  </a:lnTo>
                  <a:lnTo>
                    <a:pt x="438" y="900"/>
                  </a:lnTo>
                  <a:lnTo>
                    <a:pt x="438" y="918"/>
                  </a:lnTo>
                  <a:lnTo>
                    <a:pt x="408" y="918"/>
                  </a:lnTo>
                  <a:lnTo>
                    <a:pt x="408" y="942"/>
                  </a:lnTo>
                  <a:lnTo>
                    <a:pt x="366" y="942"/>
                  </a:lnTo>
                  <a:lnTo>
                    <a:pt x="366" y="966"/>
                  </a:lnTo>
                  <a:lnTo>
                    <a:pt x="378" y="990"/>
                  </a:lnTo>
                  <a:lnTo>
                    <a:pt x="396" y="1008"/>
                  </a:lnTo>
                  <a:lnTo>
                    <a:pt x="396" y="1020"/>
                  </a:lnTo>
                  <a:lnTo>
                    <a:pt x="390" y="1014"/>
                  </a:lnTo>
                  <a:lnTo>
                    <a:pt x="378" y="1008"/>
                  </a:lnTo>
                  <a:lnTo>
                    <a:pt x="372" y="1002"/>
                  </a:lnTo>
                  <a:lnTo>
                    <a:pt x="360" y="996"/>
                  </a:lnTo>
                  <a:lnTo>
                    <a:pt x="348" y="996"/>
                  </a:lnTo>
                  <a:lnTo>
                    <a:pt x="342" y="1002"/>
                  </a:lnTo>
                  <a:lnTo>
                    <a:pt x="342" y="1008"/>
                  </a:lnTo>
                  <a:lnTo>
                    <a:pt x="306" y="1008"/>
                  </a:lnTo>
                  <a:lnTo>
                    <a:pt x="312" y="1014"/>
                  </a:lnTo>
                  <a:lnTo>
                    <a:pt x="318" y="1014"/>
                  </a:lnTo>
                  <a:lnTo>
                    <a:pt x="324" y="1020"/>
                  </a:lnTo>
                  <a:lnTo>
                    <a:pt x="324" y="1026"/>
                  </a:lnTo>
                  <a:lnTo>
                    <a:pt x="312" y="1032"/>
                  </a:lnTo>
                  <a:lnTo>
                    <a:pt x="294" y="1032"/>
                  </a:lnTo>
                  <a:lnTo>
                    <a:pt x="276" y="1038"/>
                  </a:lnTo>
                  <a:lnTo>
                    <a:pt x="270" y="1050"/>
                  </a:lnTo>
                  <a:lnTo>
                    <a:pt x="270" y="1056"/>
                  </a:lnTo>
                  <a:lnTo>
                    <a:pt x="288" y="1074"/>
                  </a:lnTo>
                  <a:lnTo>
                    <a:pt x="300" y="1080"/>
                  </a:lnTo>
                  <a:lnTo>
                    <a:pt x="306" y="1086"/>
                  </a:lnTo>
                  <a:lnTo>
                    <a:pt x="312" y="1086"/>
                  </a:lnTo>
                  <a:lnTo>
                    <a:pt x="294" y="1104"/>
                  </a:lnTo>
                  <a:lnTo>
                    <a:pt x="294" y="1110"/>
                  </a:lnTo>
                  <a:lnTo>
                    <a:pt x="300" y="1116"/>
                  </a:lnTo>
                  <a:lnTo>
                    <a:pt x="300" y="1128"/>
                  </a:lnTo>
                  <a:lnTo>
                    <a:pt x="306" y="1140"/>
                  </a:lnTo>
                  <a:lnTo>
                    <a:pt x="306" y="1152"/>
                  </a:lnTo>
                  <a:lnTo>
                    <a:pt x="312" y="1158"/>
                  </a:lnTo>
                  <a:lnTo>
                    <a:pt x="294" y="1176"/>
                  </a:lnTo>
                  <a:lnTo>
                    <a:pt x="294" y="1188"/>
                  </a:lnTo>
                  <a:lnTo>
                    <a:pt x="306" y="1194"/>
                  </a:lnTo>
                  <a:lnTo>
                    <a:pt x="318" y="1194"/>
                  </a:lnTo>
                  <a:lnTo>
                    <a:pt x="330" y="1188"/>
                  </a:lnTo>
                  <a:lnTo>
                    <a:pt x="354" y="1164"/>
                  </a:lnTo>
                  <a:lnTo>
                    <a:pt x="366" y="1158"/>
                  </a:lnTo>
                  <a:lnTo>
                    <a:pt x="378" y="1158"/>
                  </a:lnTo>
                  <a:lnTo>
                    <a:pt x="384" y="1134"/>
                  </a:lnTo>
                  <a:lnTo>
                    <a:pt x="384" y="1110"/>
                  </a:lnTo>
                  <a:lnTo>
                    <a:pt x="396" y="1110"/>
                  </a:lnTo>
                  <a:lnTo>
                    <a:pt x="402" y="1116"/>
                  </a:lnTo>
                  <a:lnTo>
                    <a:pt x="414" y="1116"/>
                  </a:lnTo>
                  <a:lnTo>
                    <a:pt x="426" y="1104"/>
                  </a:lnTo>
                  <a:lnTo>
                    <a:pt x="426" y="1092"/>
                  </a:lnTo>
                  <a:lnTo>
                    <a:pt x="420" y="1086"/>
                  </a:lnTo>
                  <a:lnTo>
                    <a:pt x="414" y="1074"/>
                  </a:lnTo>
                  <a:lnTo>
                    <a:pt x="408" y="1068"/>
                  </a:lnTo>
                  <a:lnTo>
                    <a:pt x="408" y="1062"/>
                  </a:lnTo>
                  <a:lnTo>
                    <a:pt x="414" y="1056"/>
                  </a:lnTo>
                  <a:lnTo>
                    <a:pt x="426" y="1056"/>
                  </a:lnTo>
                  <a:lnTo>
                    <a:pt x="438" y="1050"/>
                  </a:lnTo>
                  <a:lnTo>
                    <a:pt x="444" y="1044"/>
                  </a:lnTo>
                  <a:lnTo>
                    <a:pt x="450" y="1044"/>
                  </a:lnTo>
                  <a:lnTo>
                    <a:pt x="456" y="1050"/>
                  </a:lnTo>
                  <a:lnTo>
                    <a:pt x="468" y="1050"/>
                  </a:lnTo>
                  <a:lnTo>
                    <a:pt x="480" y="1044"/>
                  </a:lnTo>
                  <a:lnTo>
                    <a:pt x="498" y="1038"/>
                  </a:lnTo>
                  <a:lnTo>
                    <a:pt x="546" y="1014"/>
                  </a:lnTo>
                  <a:lnTo>
                    <a:pt x="582" y="978"/>
                  </a:lnTo>
                  <a:lnTo>
                    <a:pt x="588" y="960"/>
                  </a:lnTo>
                  <a:lnTo>
                    <a:pt x="594" y="936"/>
                  </a:lnTo>
                  <a:lnTo>
                    <a:pt x="606" y="876"/>
                  </a:lnTo>
                  <a:lnTo>
                    <a:pt x="606" y="846"/>
                  </a:lnTo>
                  <a:lnTo>
                    <a:pt x="600" y="834"/>
                  </a:lnTo>
                  <a:lnTo>
                    <a:pt x="576" y="810"/>
                  </a:lnTo>
                  <a:lnTo>
                    <a:pt x="594" y="804"/>
                  </a:lnTo>
                  <a:lnTo>
                    <a:pt x="594" y="774"/>
                  </a:lnTo>
                  <a:lnTo>
                    <a:pt x="588" y="756"/>
                  </a:lnTo>
                  <a:lnTo>
                    <a:pt x="588" y="744"/>
                  </a:lnTo>
                  <a:lnTo>
                    <a:pt x="570" y="708"/>
                  </a:lnTo>
                  <a:lnTo>
                    <a:pt x="564" y="690"/>
                  </a:lnTo>
                  <a:lnTo>
                    <a:pt x="558" y="684"/>
                  </a:lnTo>
                  <a:lnTo>
                    <a:pt x="552" y="672"/>
                  </a:lnTo>
                  <a:lnTo>
                    <a:pt x="558" y="666"/>
                  </a:lnTo>
                  <a:lnTo>
                    <a:pt x="558" y="642"/>
                  </a:lnTo>
                  <a:lnTo>
                    <a:pt x="522" y="606"/>
                  </a:lnTo>
                  <a:lnTo>
                    <a:pt x="486" y="576"/>
                  </a:lnTo>
                  <a:lnTo>
                    <a:pt x="456" y="552"/>
                  </a:lnTo>
                  <a:lnTo>
                    <a:pt x="432" y="534"/>
                  </a:lnTo>
                  <a:lnTo>
                    <a:pt x="420" y="528"/>
                  </a:lnTo>
                  <a:lnTo>
                    <a:pt x="402" y="516"/>
                  </a:lnTo>
                  <a:lnTo>
                    <a:pt x="390" y="510"/>
                  </a:lnTo>
                  <a:lnTo>
                    <a:pt x="384" y="504"/>
                  </a:lnTo>
                  <a:lnTo>
                    <a:pt x="384" y="468"/>
                  </a:lnTo>
                  <a:lnTo>
                    <a:pt x="336" y="420"/>
                  </a:lnTo>
                  <a:lnTo>
                    <a:pt x="306" y="384"/>
                  </a:lnTo>
                  <a:lnTo>
                    <a:pt x="288" y="354"/>
                  </a:lnTo>
                  <a:lnTo>
                    <a:pt x="282" y="336"/>
                  </a:lnTo>
                  <a:lnTo>
                    <a:pt x="282" y="318"/>
                  </a:lnTo>
                  <a:lnTo>
                    <a:pt x="276" y="306"/>
                  </a:lnTo>
                  <a:lnTo>
                    <a:pt x="276" y="282"/>
                  </a:lnTo>
                  <a:lnTo>
                    <a:pt x="282" y="276"/>
                  </a:lnTo>
                  <a:lnTo>
                    <a:pt x="294" y="252"/>
                  </a:lnTo>
                  <a:lnTo>
                    <a:pt x="294" y="240"/>
                  </a:lnTo>
                  <a:lnTo>
                    <a:pt x="300" y="240"/>
                  </a:lnTo>
                  <a:lnTo>
                    <a:pt x="312" y="228"/>
                  </a:lnTo>
                  <a:lnTo>
                    <a:pt x="324" y="222"/>
                  </a:lnTo>
                  <a:lnTo>
                    <a:pt x="336" y="210"/>
                  </a:lnTo>
                  <a:lnTo>
                    <a:pt x="336" y="204"/>
                  </a:lnTo>
                  <a:lnTo>
                    <a:pt x="342" y="198"/>
                  </a:lnTo>
                  <a:lnTo>
                    <a:pt x="372" y="198"/>
                  </a:lnTo>
                  <a:lnTo>
                    <a:pt x="384" y="186"/>
                  </a:lnTo>
                  <a:lnTo>
                    <a:pt x="390" y="174"/>
                  </a:lnTo>
                  <a:lnTo>
                    <a:pt x="390" y="156"/>
                  </a:lnTo>
                  <a:lnTo>
                    <a:pt x="396" y="144"/>
                  </a:lnTo>
                  <a:lnTo>
                    <a:pt x="390" y="144"/>
                  </a:lnTo>
                  <a:lnTo>
                    <a:pt x="384" y="138"/>
                  </a:lnTo>
                  <a:lnTo>
                    <a:pt x="354" y="138"/>
                  </a:lnTo>
                  <a:lnTo>
                    <a:pt x="342" y="132"/>
                  </a:lnTo>
                  <a:lnTo>
                    <a:pt x="336" y="120"/>
                  </a:lnTo>
                  <a:lnTo>
                    <a:pt x="330" y="114"/>
                  </a:lnTo>
                  <a:lnTo>
                    <a:pt x="312" y="114"/>
                  </a:lnTo>
                  <a:lnTo>
                    <a:pt x="312" y="96"/>
                  </a:lnTo>
                  <a:lnTo>
                    <a:pt x="300" y="90"/>
                  </a:lnTo>
                  <a:lnTo>
                    <a:pt x="294" y="72"/>
                  </a:lnTo>
                  <a:lnTo>
                    <a:pt x="312" y="54"/>
                  </a:lnTo>
                  <a:lnTo>
                    <a:pt x="312" y="48"/>
                  </a:lnTo>
                  <a:lnTo>
                    <a:pt x="306" y="42"/>
                  </a:lnTo>
                  <a:lnTo>
                    <a:pt x="276" y="42"/>
                  </a:lnTo>
                  <a:lnTo>
                    <a:pt x="264" y="30"/>
                  </a:lnTo>
                  <a:lnTo>
                    <a:pt x="234" y="36"/>
                  </a:lnTo>
                  <a:lnTo>
                    <a:pt x="204" y="0"/>
                  </a:lnTo>
                  <a:lnTo>
                    <a:pt x="198" y="0"/>
                  </a:lnTo>
                  <a:lnTo>
                    <a:pt x="192" y="6"/>
                  </a:lnTo>
                  <a:lnTo>
                    <a:pt x="180" y="12"/>
                  </a:lnTo>
                  <a:lnTo>
                    <a:pt x="174" y="18"/>
                  </a:lnTo>
                  <a:lnTo>
                    <a:pt x="174" y="30"/>
                  </a:lnTo>
                  <a:lnTo>
                    <a:pt x="168" y="42"/>
                  </a:lnTo>
                  <a:lnTo>
                    <a:pt x="168" y="48"/>
                  </a:lnTo>
                  <a:lnTo>
                    <a:pt x="150" y="48"/>
                  </a:lnTo>
                  <a:lnTo>
                    <a:pt x="144" y="54"/>
                  </a:lnTo>
                  <a:lnTo>
                    <a:pt x="138" y="48"/>
                  </a:lnTo>
                  <a:lnTo>
                    <a:pt x="120" y="48"/>
                  </a:lnTo>
                  <a:lnTo>
                    <a:pt x="132" y="60"/>
                  </a:lnTo>
                  <a:lnTo>
                    <a:pt x="132" y="72"/>
                  </a:lnTo>
                  <a:lnTo>
                    <a:pt x="114" y="72"/>
                  </a:lnTo>
                  <a:lnTo>
                    <a:pt x="108" y="66"/>
                  </a:lnTo>
                  <a:lnTo>
                    <a:pt x="96" y="48"/>
                  </a:lnTo>
                  <a:lnTo>
                    <a:pt x="90" y="48"/>
                  </a:lnTo>
                  <a:lnTo>
                    <a:pt x="90" y="66"/>
                  </a:lnTo>
                  <a:lnTo>
                    <a:pt x="72" y="48"/>
                  </a:lnTo>
                  <a:lnTo>
                    <a:pt x="66" y="54"/>
                  </a:lnTo>
                  <a:lnTo>
                    <a:pt x="60" y="66"/>
                  </a:lnTo>
                  <a:lnTo>
                    <a:pt x="54" y="72"/>
                  </a:lnTo>
                  <a:lnTo>
                    <a:pt x="42" y="72"/>
                  </a:lnTo>
                  <a:lnTo>
                    <a:pt x="18" y="48"/>
                  </a:lnTo>
                  <a:lnTo>
                    <a:pt x="6" y="48"/>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36" name="Vereinigte Arababische Emirate" descr="© INSCALE GmbH, 05.05.2010&#10;http://www.presentationload.com/">
              <a:extLst>
                <a:ext uri="{FF2B5EF4-FFF2-40B4-BE49-F238E27FC236}">
                  <a16:creationId xmlns:a16="http://schemas.microsoft.com/office/drawing/2014/main" id="{016B4F6F-5265-445D-8C99-937DD3D90CA9}"/>
                </a:ext>
              </a:extLst>
            </p:cNvPr>
            <p:cNvSpPr>
              <a:spLocks/>
            </p:cNvSpPr>
            <p:nvPr/>
          </p:nvSpPr>
          <p:spPr bwMode="gray">
            <a:xfrm>
              <a:off x="5559396" y="3402761"/>
              <a:ext cx="133281" cy="127010"/>
            </a:xfrm>
            <a:custGeom>
              <a:avLst/>
              <a:gdLst>
                <a:gd name="T0" fmla="*/ 2147483647 w 336"/>
                <a:gd name="T1" fmla="*/ 2147483647 h 318"/>
                <a:gd name="T2" fmla="*/ 2147483647 w 336"/>
                <a:gd name="T3" fmla="*/ 2147483647 h 318"/>
                <a:gd name="T4" fmla="*/ 2147483647 w 336"/>
                <a:gd name="T5" fmla="*/ 2147483647 h 318"/>
                <a:gd name="T6" fmla="*/ 2147483647 w 336"/>
                <a:gd name="T7" fmla="*/ 2147483647 h 318"/>
                <a:gd name="T8" fmla="*/ 2147483647 w 336"/>
                <a:gd name="T9" fmla="*/ 2147483647 h 318"/>
                <a:gd name="T10" fmla="*/ 2147483647 w 336"/>
                <a:gd name="T11" fmla="*/ 0 h 318"/>
                <a:gd name="T12" fmla="*/ 2147483647 w 336"/>
                <a:gd name="T13" fmla="*/ 2147483647 h 318"/>
                <a:gd name="T14" fmla="*/ 2147483647 w 336"/>
                <a:gd name="T15" fmla="*/ 2147483647 h 318"/>
                <a:gd name="T16" fmla="*/ 2147483647 w 336"/>
                <a:gd name="T17" fmla="*/ 2147483647 h 318"/>
                <a:gd name="T18" fmla="*/ 2147483647 w 336"/>
                <a:gd name="T19" fmla="*/ 2147483647 h 318"/>
                <a:gd name="T20" fmla="*/ 2147483647 w 336"/>
                <a:gd name="T21" fmla="*/ 2147483647 h 318"/>
                <a:gd name="T22" fmla="*/ 2147483647 w 336"/>
                <a:gd name="T23" fmla="*/ 2147483647 h 318"/>
                <a:gd name="T24" fmla="*/ 2147483647 w 336"/>
                <a:gd name="T25" fmla="*/ 2147483647 h 318"/>
                <a:gd name="T26" fmla="*/ 2147483647 w 336"/>
                <a:gd name="T27" fmla="*/ 2147483647 h 318"/>
                <a:gd name="T28" fmla="*/ 2147483647 w 336"/>
                <a:gd name="T29" fmla="*/ 2147483647 h 318"/>
                <a:gd name="T30" fmla="*/ 2147483647 w 336"/>
                <a:gd name="T31" fmla="*/ 2147483647 h 318"/>
                <a:gd name="T32" fmla="*/ 2147483647 w 336"/>
                <a:gd name="T33" fmla="*/ 2147483647 h 318"/>
                <a:gd name="T34" fmla="*/ 2147483647 w 336"/>
                <a:gd name="T35" fmla="*/ 2147483647 h 318"/>
                <a:gd name="T36" fmla="*/ 0 w 336"/>
                <a:gd name="T37" fmla="*/ 2147483647 h 318"/>
                <a:gd name="T38" fmla="*/ 2147483647 w 336"/>
                <a:gd name="T39" fmla="*/ 2147483647 h 318"/>
                <a:gd name="T40" fmla="*/ 2147483647 w 336"/>
                <a:gd name="T41" fmla="*/ 2147483647 h 318"/>
                <a:gd name="T42" fmla="*/ 2147483647 w 336"/>
                <a:gd name="T43" fmla="*/ 2147483647 h 318"/>
                <a:gd name="T44" fmla="*/ 2147483647 w 336"/>
                <a:gd name="T45" fmla="*/ 2147483647 h 318"/>
                <a:gd name="T46" fmla="*/ 2147483647 w 336"/>
                <a:gd name="T47" fmla="*/ 2147483647 h 318"/>
                <a:gd name="T48" fmla="*/ 2147483647 w 336"/>
                <a:gd name="T49" fmla="*/ 2147483647 h 318"/>
                <a:gd name="T50" fmla="*/ 2147483647 w 336"/>
                <a:gd name="T51" fmla="*/ 2147483647 h 318"/>
                <a:gd name="T52" fmla="*/ 2147483647 w 336"/>
                <a:gd name="T53" fmla="*/ 2147483647 h 318"/>
                <a:gd name="T54" fmla="*/ 2147483647 w 336"/>
                <a:gd name="T55" fmla="*/ 2147483647 h 318"/>
                <a:gd name="T56" fmla="*/ 2147483647 w 336"/>
                <a:gd name="T57" fmla="*/ 2147483647 h 318"/>
                <a:gd name="T58" fmla="*/ 2147483647 w 336"/>
                <a:gd name="T59" fmla="*/ 2147483647 h 318"/>
                <a:gd name="T60" fmla="*/ 2147483647 w 336"/>
                <a:gd name="T61" fmla="*/ 2147483647 h 318"/>
                <a:gd name="T62" fmla="*/ 2147483647 w 336"/>
                <a:gd name="T63" fmla="*/ 2147483647 h 318"/>
                <a:gd name="T64" fmla="*/ 2147483647 w 336"/>
                <a:gd name="T65" fmla="*/ 2147483647 h 318"/>
                <a:gd name="T66" fmla="*/ 2147483647 w 336"/>
                <a:gd name="T67" fmla="*/ 2147483647 h 318"/>
                <a:gd name="T68" fmla="*/ 2147483647 w 336"/>
                <a:gd name="T69" fmla="*/ 2147483647 h 3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6"/>
                <a:gd name="T106" fmla="*/ 0 h 318"/>
                <a:gd name="T107" fmla="*/ 336 w 336"/>
                <a:gd name="T108" fmla="*/ 318 h 3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6" h="318">
                  <a:moveTo>
                    <a:pt x="300" y="120"/>
                  </a:moveTo>
                  <a:lnTo>
                    <a:pt x="306" y="120"/>
                  </a:lnTo>
                  <a:lnTo>
                    <a:pt x="306" y="126"/>
                  </a:lnTo>
                  <a:lnTo>
                    <a:pt x="312" y="138"/>
                  </a:lnTo>
                  <a:lnTo>
                    <a:pt x="336" y="132"/>
                  </a:lnTo>
                  <a:lnTo>
                    <a:pt x="330" y="120"/>
                  </a:lnTo>
                  <a:lnTo>
                    <a:pt x="324" y="102"/>
                  </a:lnTo>
                  <a:lnTo>
                    <a:pt x="324" y="60"/>
                  </a:lnTo>
                  <a:lnTo>
                    <a:pt x="330" y="42"/>
                  </a:lnTo>
                  <a:lnTo>
                    <a:pt x="330" y="6"/>
                  </a:lnTo>
                  <a:lnTo>
                    <a:pt x="324" y="0"/>
                  </a:lnTo>
                  <a:lnTo>
                    <a:pt x="318" y="0"/>
                  </a:lnTo>
                  <a:lnTo>
                    <a:pt x="312" y="6"/>
                  </a:lnTo>
                  <a:lnTo>
                    <a:pt x="306" y="18"/>
                  </a:lnTo>
                  <a:lnTo>
                    <a:pt x="300" y="36"/>
                  </a:lnTo>
                  <a:lnTo>
                    <a:pt x="288" y="60"/>
                  </a:lnTo>
                  <a:lnTo>
                    <a:pt x="282" y="66"/>
                  </a:lnTo>
                  <a:lnTo>
                    <a:pt x="282" y="72"/>
                  </a:lnTo>
                  <a:lnTo>
                    <a:pt x="276" y="72"/>
                  </a:lnTo>
                  <a:lnTo>
                    <a:pt x="264" y="78"/>
                  </a:lnTo>
                  <a:lnTo>
                    <a:pt x="234" y="108"/>
                  </a:lnTo>
                  <a:lnTo>
                    <a:pt x="228" y="120"/>
                  </a:lnTo>
                  <a:lnTo>
                    <a:pt x="216" y="132"/>
                  </a:lnTo>
                  <a:lnTo>
                    <a:pt x="204" y="138"/>
                  </a:lnTo>
                  <a:lnTo>
                    <a:pt x="198" y="150"/>
                  </a:lnTo>
                  <a:lnTo>
                    <a:pt x="198" y="168"/>
                  </a:lnTo>
                  <a:lnTo>
                    <a:pt x="192" y="180"/>
                  </a:lnTo>
                  <a:lnTo>
                    <a:pt x="192" y="186"/>
                  </a:lnTo>
                  <a:lnTo>
                    <a:pt x="186" y="192"/>
                  </a:lnTo>
                  <a:lnTo>
                    <a:pt x="150" y="192"/>
                  </a:lnTo>
                  <a:lnTo>
                    <a:pt x="132" y="186"/>
                  </a:lnTo>
                  <a:lnTo>
                    <a:pt x="90" y="186"/>
                  </a:lnTo>
                  <a:lnTo>
                    <a:pt x="72" y="192"/>
                  </a:lnTo>
                  <a:lnTo>
                    <a:pt x="48" y="204"/>
                  </a:lnTo>
                  <a:lnTo>
                    <a:pt x="24" y="204"/>
                  </a:lnTo>
                  <a:lnTo>
                    <a:pt x="12" y="192"/>
                  </a:lnTo>
                  <a:lnTo>
                    <a:pt x="0" y="186"/>
                  </a:lnTo>
                  <a:lnTo>
                    <a:pt x="0" y="198"/>
                  </a:lnTo>
                  <a:lnTo>
                    <a:pt x="18" y="216"/>
                  </a:lnTo>
                  <a:lnTo>
                    <a:pt x="30" y="240"/>
                  </a:lnTo>
                  <a:lnTo>
                    <a:pt x="54" y="264"/>
                  </a:lnTo>
                  <a:lnTo>
                    <a:pt x="60" y="276"/>
                  </a:lnTo>
                  <a:lnTo>
                    <a:pt x="72" y="282"/>
                  </a:lnTo>
                  <a:lnTo>
                    <a:pt x="78" y="294"/>
                  </a:lnTo>
                  <a:lnTo>
                    <a:pt x="96" y="294"/>
                  </a:lnTo>
                  <a:lnTo>
                    <a:pt x="132" y="300"/>
                  </a:lnTo>
                  <a:lnTo>
                    <a:pt x="228" y="312"/>
                  </a:lnTo>
                  <a:lnTo>
                    <a:pt x="270" y="318"/>
                  </a:lnTo>
                  <a:lnTo>
                    <a:pt x="264" y="306"/>
                  </a:lnTo>
                  <a:lnTo>
                    <a:pt x="258" y="300"/>
                  </a:lnTo>
                  <a:lnTo>
                    <a:pt x="252" y="288"/>
                  </a:lnTo>
                  <a:lnTo>
                    <a:pt x="252" y="276"/>
                  </a:lnTo>
                  <a:lnTo>
                    <a:pt x="258" y="270"/>
                  </a:lnTo>
                  <a:lnTo>
                    <a:pt x="264" y="258"/>
                  </a:lnTo>
                  <a:lnTo>
                    <a:pt x="270" y="252"/>
                  </a:lnTo>
                  <a:lnTo>
                    <a:pt x="276" y="240"/>
                  </a:lnTo>
                  <a:lnTo>
                    <a:pt x="276" y="228"/>
                  </a:lnTo>
                  <a:lnTo>
                    <a:pt x="282" y="216"/>
                  </a:lnTo>
                  <a:lnTo>
                    <a:pt x="282" y="204"/>
                  </a:lnTo>
                  <a:lnTo>
                    <a:pt x="288" y="198"/>
                  </a:lnTo>
                  <a:lnTo>
                    <a:pt x="288" y="192"/>
                  </a:lnTo>
                  <a:lnTo>
                    <a:pt x="300" y="192"/>
                  </a:lnTo>
                  <a:lnTo>
                    <a:pt x="300" y="198"/>
                  </a:lnTo>
                  <a:lnTo>
                    <a:pt x="306" y="198"/>
                  </a:lnTo>
                  <a:lnTo>
                    <a:pt x="306" y="192"/>
                  </a:lnTo>
                  <a:lnTo>
                    <a:pt x="288" y="174"/>
                  </a:lnTo>
                  <a:lnTo>
                    <a:pt x="288" y="144"/>
                  </a:lnTo>
                  <a:lnTo>
                    <a:pt x="294" y="132"/>
                  </a:lnTo>
                  <a:lnTo>
                    <a:pt x="294" y="126"/>
                  </a:lnTo>
                  <a:lnTo>
                    <a:pt x="300" y="12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37" name="Venezuela" descr="© INSCALE GmbH, 05.05.2010&#10;http://www.presentationload.com/">
              <a:extLst>
                <a:ext uri="{FF2B5EF4-FFF2-40B4-BE49-F238E27FC236}">
                  <a16:creationId xmlns:a16="http://schemas.microsoft.com/office/drawing/2014/main" id="{6DDA8614-5176-4865-98AF-B87D0DE5B02F}"/>
                </a:ext>
              </a:extLst>
            </p:cNvPr>
            <p:cNvSpPr>
              <a:spLocks noEditPoints="1"/>
            </p:cNvSpPr>
            <p:nvPr/>
          </p:nvSpPr>
          <p:spPr bwMode="gray">
            <a:xfrm>
              <a:off x="2061136" y="3862192"/>
              <a:ext cx="379462" cy="370054"/>
            </a:xfrm>
            <a:custGeom>
              <a:avLst/>
              <a:gdLst>
                <a:gd name="T0" fmla="*/ 2147483647 w 954"/>
                <a:gd name="T1" fmla="*/ 2147483647 h 930"/>
                <a:gd name="T2" fmla="*/ 2147483647 w 954"/>
                <a:gd name="T3" fmla="*/ 2147483647 h 930"/>
                <a:gd name="T4" fmla="*/ 2147483647 w 954"/>
                <a:gd name="T5" fmla="*/ 2147483647 h 930"/>
                <a:gd name="T6" fmla="*/ 2147483647 w 954"/>
                <a:gd name="T7" fmla="*/ 2147483647 h 930"/>
                <a:gd name="T8" fmla="*/ 2147483647 w 954"/>
                <a:gd name="T9" fmla="*/ 2147483647 h 930"/>
                <a:gd name="T10" fmla="*/ 2147483647 w 954"/>
                <a:gd name="T11" fmla="*/ 2147483647 h 930"/>
                <a:gd name="T12" fmla="*/ 2147483647 w 954"/>
                <a:gd name="T13" fmla="*/ 2147483647 h 930"/>
                <a:gd name="T14" fmla="*/ 2147483647 w 954"/>
                <a:gd name="T15" fmla="*/ 2147483647 h 930"/>
                <a:gd name="T16" fmla="*/ 2147483647 w 954"/>
                <a:gd name="T17" fmla="*/ 2147483647 h 930"/>
                <a:gd name="T18" fmla="*/ 2147483647 w 954"/>
                <a:gd name="T19" fmla="*/ 2147483647 h 930"/>
                <a:gd name="T20" fmla="*/ 2147483647 w 954"/>
                <a:gd name="T21" fmla="*/ 2147483647 h 930"/>
                <a:gd name="T22" fmla="*/ 2147483647 w 954"/>
                <a:gd name="T23" fmla="*/ 2147483647 h 930"/>
                <a:gd name="T24" fmla="*/ 2147483647 w 954"/>
                <a:gd name="T25" fmla="*/ 2147483647 h 930"/>
                <a:gd name="T26" fmla="*/ 2147483647 w 954"/>
                <a:gd name="T27" fmla="*/ 2147483647 h 930"/>
                <a:gd name="T28" fmla="*/ 2147483647 w 954"/>
                <a:gd name="T29" fmla="*/ 2147483647 h 930"/>
                <a:gd name="T30" fmla="*/ 2147483647 w 954"/>
                <a:gd name="T31" fmla="*/ 2147483647 h 930"/>
                <a:gd name="T32" fmla="*/ 2147483647 w 954"/>
                <a:gd name="T33" fmla="*/ 2147483647 h 930"/>
                <a:gd name="T34" fmla="*/ 2147483647 w 954"/>
                <a:gd name="T35" fmla="*/ 2147483647 h 930"/>
                <a:gd name="T36" fmla="*/ 2147483647 w 954"/>
                <a:gd name="T37" fmla="*/ 2147483647 h 930"/>
                <a:gd name="T38" fmla="*/ 2147483647 w 954"/>
                <a:gd name="T39" fmla="*/ 2147483647 h 930"/>
                <a:gd name="T40" fmla="*/ 2147483647 w 954"/>
                <a:gd name="T41" fmla="*/ 2147483647 h 930"/>
                <a:gd name="T42" fmla="*/ 2147483647 w 954"/>
                <a:gd name="T43" fmla="*/ 2147483647 h 930"/>
                <a:gd name="T44" fmla="*/ 2147483647 w 954"/>
                <a:gd name="T45" fmla="*/ 2147483647 h 930"/>
                <a:gd name="T46" fmla="*/ 2147483647 w 954"/>
                <a:gd name="T47" fmla="*/ 2147483647 h 930"/>
                <a:gd name="T48" fmla="*/ 2147483647 w 954"/>
                <a:gd name="T49" fmla="*/ 2147483647 h 930"/>
                <a:gd name="T50" fmla="*/ 0 w 954"/>
                <a:gd name="T51" fmla="*/ 2147483647 h 930"/>
                <a:gd name="T52" fmla="*/ 2147483647 w 954"/>
                <a:gd name="T53" fmla="*/ 2147483647 h 930"/>
                <a:gd name="T54" fmla="*/ 2147483647 w 954"/>
                <a:gd name="T55" fmla="*/ 2147483647 h 930"/>
                <a:gd name="T56" fmla="*/ 2147483647 w 954"/>
                <a:gd name="T57" fmla="*/ 2147483647 h 930"/>
                <a:gd name="T58" fmla="*/ 2147483647 w 954"/>
                <a:gd name="T59" fmla="*/ 2147483647 h 930"/>
                <a:gd name="T60" fmla="*/ 2147483647 w 954"/>
                <a:gd name="T61" fmla="*/ 2147483647 h 930"/>
                <a:gd name="T62" fmla="*/ 2147483647 w 954"/>
                <a:gd name="T63" fmla="*/ 2147483647 h 930"/>
                <a:gd name="T64" fmla="*/ 2147483647 w 954"/>
                <a:gd name="T65" fmla="*/ 2147483647 h 930"/>
                <a:gd name="T66" fmla="*/ 2147483647 w 954"/>
                <a:gd name="T67" fmla="*/ 2147483647 h 930"/>
                <a:gd name="T68" fmla="*/ 2147483647 w 954"/>
                <a:gd name="T69" fmla="*/ 2147483647 h 930"/>
                <a:gd name="T70" fmla="*/ 2147483647 w 954"/>
                <a:gd name="T71" fmla="*/ 2147483647 h 930"/>
                <a:gd name="T72" fmla="*/ 2147483647 w 954"/>
                <a:gd name="T73" fmla="*/ 2147483647 h 930"/>
                <a:gd name="T74" fmla="*/ 2147483647 w 954"/>
                <a:gd name="T75" fmla="*/ 2147483647 h 930"/>
                <a:gd name="T76" fmla="*/ 2147483647 w 954"/>
                <a:gd name="T77" fmla="*/ 2147483647 h 930"/>
                <a:gd name="T78" fmla="*/ 2147483647 w 954"/>
                <a:gd name="T79" fmla="*/ 2147483647 h 930"/>
                <a:gd name="T80" fmla="*/ 2147483647 w 954"/>
                <a:gd name="T81" fmla="*/ 2147483647 h 930"/>
                <a:gd name="T82" fmla="*/ 2147483647 w 954"/>
                <a:gd name="T83" fmla="*/ 2147483647 h 930"/>
                <a:gd name="T84" fmla="*/ 2147483647 w 954"/>
                <a:gd name="T85" fmla="*/ 2147483647 h 930"/>
                <a:gd name="T86" fmla="*/ 2147483647 w 954"/>
                <a:gd name="T87" fmla="*/ 2147483647 h 930"/>
                <a:gd name="T88" fmla="*/ 2147483647 w 954"/>
                <a:gd name="T89" fmla="*/ 2147483647 h 930"/>
                <a:gd name="T90" fmla="*/ 2147483647 w 954"/>
                <a:gd name="T91" fmla="*/ 2147483647 h 930"/>
                <a:gd name="T92" fmla="*/ 2147483647 w 954"/>
                <a:gd name="T93" fmla="*/ 2147483647 h 930"/>
                <a:gd name="T94" fmla="*/ 2147483647 w 954"/>
                <a:gd name="T95" fmla="*/ 2147483647 h 930"/>
                <a:gd name="T96" fmla="*/ 2147483647 w 954"/>
                <a:gd name="T97" fmla="*/ 2147483647 h 930"/>
                <a:gd name="T98" fmla="*/ 2147483647 w 954"/>
                <a:gd name="T99" fmla="*/ 2147483647 h 930"/>
                <a:gd name="T100" fmla="*/ 2147483647 w 954"/>
                <a:gd name="T101" fmla="*/ 2147483647 h 930"/>
                <a:gd name="T102" fmla="*/ 2147483647 w 954"/>
                <a:gd name="T103" fmla="*/ 2147483647 h 930"/>
                <a:gd name="T104" fmla="*/ 2147483647 w 954"/>
                <a:gd name="T105" fmla="*/ 2147483647 h 930"/>
                <a:gd name="T106" fmla="*/ 2147483647 w 954"/>
                <a:gd name="T107" fmla="*/ 2147483647 h 930"/>
                <a:gd name="T108" fmla="*/ 2147483647 w 954"/>
                <a:gd name="T109" fmla="*/ 2147483647 h 930"/>
                <a:gd name="T110" fmla="*/ 2147483647 w 954"/>
                <a:gd name="T111" fmla="*/ 2147483647 h 930"/>
                <a:gd name="T112" fmla="*/ 2147483647 w 954"/>
                <a:gd name="T113" fmla="*/ 2147483647 h 930"/>
                <a:gd name="T114" fmla="*/ 2147483647 w 954"/>
                <a:gd name="T115" fmla="*/ 2147483647 h 930"/>
                <a:gd name="T116" fmla="*/ 2147483647 w 954"/>
                <a:gd name="T117" fmla="*/ 2147483647 h 930"/>
                <a:gd name="T118" fmla="*/ 2147483647 w 954"/>
                <a:gd name="T119" fmla="*/ 214748364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30"/>
                <a:gd name="T182" fmla="*/ 954 w 954"/>
                <a:gd name="T183" fmla="*/ 930 h 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30">
                  <a:moveTo>
                    <a:pt x="264" y="42"/>
                  </a:moveTo>
                  <a:lnTo>
                    <a:pt x="264" y="12"/>
                  </a:lnTo>
                  <a:lnTo>
                    <a:pt x="252" y="0"/>
                  </a:lnTo>
                  <a:lnTo>
                    <a:pt x="234" y="0"/>
                  </a:lnTo>
                  <a:lnTo>
                    <a:pt x="228" y="6"/>
                  </a:lnTo>
                  <a:lnTo>
                    <a:pt x="228" y="18"/>
                  </a:lnTo>
                  <a:lnTo>
                    <a:pt x="234" y="24"/>
                  </a:lnTo>
                  <a:lnTo>
                    <a:pt x="234" y="36"/>
                  </a:lnTo>
                  <a:lnTo>
                    <a:pt x="240" y="42"/>
                  </a:lnTo>
                  <a:lnTo>
                    <a:pt x="264" y="42"/>
                  </a:lnTo>
                  <a:close/>
                  <a:moveTo>
                    <a:pt x="936" y="276"/>
                  </a:moveTo>
                  <a:lnTo>
                    <a:pt x="930" y="276"/>
                  </a:lnTo>
                  <a:lnTo>
                    <a:pt x="924" y="282"/>
                  </a:lnTo>
                  <a:lnTo>
                    <a:pt x="912" y="288"/>
                  </a:lnTo>
                  <a:lnTo>
                    <a:pt x="906" y="294"/>
                  </a:lnTo>
                  <a:lnTo>
                    <a:pt x="900" y="288"/>
                  </a:lnTo>
                  <a:lnTo>
                    <a:pt x="888" y="288"/>
                  </a:lnTo>
                  <a:lnTo>
                    <a:pt x="882" y="282"/>
                  </a:lnTo>
                  <a:lnTo>
                    <a:pt x="876" y="282"/>
                  </a:lnTo>
                  <a:lnTo>
                    <a:pt x="852" y="306"/>
                  </a:lnTo>
                  <a:lnTo>
                    <a:pt x="822" y="282"/>
                  </a:lnTo>
                  <a:lnTo>
                    <a:pt x="846" y="282"/>
                  </a:lnTo>
                  <a:lnTo>
                    <a:pt x="858" y="276"/>
                  </a:lnTo>
                  <a:lnTo>
                    <a:pt x="864" y="276"/>
                  </a:lnTo>
                  <a:lnTo>
                    <a:pt x="870" y="264"/>
                  </a:lnTo>
                  <a:lnTo>
                    <a:pt x="870" y="246"/>
                  </a:lnTo>
                  <a:lnTo>
                    <a:pt x="882" y="234"/>
                  </a:lnTo>
                  <a:lnTo>
                    <a:pt x="888" y="222"/>
                  </a:lnTo>
                  <a:lnTo>
                    <a:pt x="876" y="210"/>
                  </a:lnTo>
                  <a:lnTo>
                    <a:pt x="846" y="210"/>
                  </a:lnTo>
                  <a:lnTo>
                    <a:pt x="846" y="204"/>
                  </a:lnTo>
                  <a:lnTo>
                    <a:pt x="840" y="198"/>
                  </a:lnTo>
                  <a:lnTo>
                    <a:pt x="840" y="192"/>
                  </a:lnTo>
                  <a:lnTo>
                    <a:pt x="834" y="186"/>
                  </a:lnTo>
                  <a:lnTo>
                    <a:pt x="828" y="186"/>
                  </a:lnTo>
                  <a:lnTo>
                    <a:pt x="822" y="192"/>
                  </a:lnTo>
                  <a:lnTo>
                    <a:pt x="822" y="210"/>
                  </a:lnTo>
                  <a:lnTo>
                    <a:pt x="816" y="198"/>
                  </a:lnTo>
                  <a:lnTo>
                    <a:pt x="816" y="180"/>
                  </a:lnTo>
                  <a:lnTo>
                    <a:pt x="792" y="180"/>
                  </a:lnTo>
                  <a:lnTo>
                    <a:pt x="786" y="210"/>
                  </a:lnTo>
                  <a:lnTo>
                    <a:pt x="780" y="204"/>
                  </a:lnTo>
                  <a:lnTo>
                    <a:pt x="774" y="192"/>
                  </a:lnTo>
                  <a:lnTo>
                    <a:pt x="774" y="186"/>
                  </a:lnTo>
                  <a:lnTo>
                    <a:pt x="768" y="180"/>
                  </a:lnTo>
                  <a:lnTo>
                    <a:pt x="768" y="156"/>
                  </a:lnTo>
                  <a:lnTo>
                    <a:pt x="738" y="168"/>
                  </a:lnTo>
                  <a:lnTo>
                    <a:pt x="744" y="162"/>
                  </a:lnTo>
                  <a:lnTo>
                    <a:pt x="756" y="156"/>
                  </a:lnTo>
                  <a:lnTo>
                    <a:pt x="762" y="156"/>
                  </a:lnTo>
                  <a:lnTo>
                    <a:pt x="762" y="144"/>
                  </a:lnTo>
                  <a:lnTo>
                    <a:pt x="750" y="138"/>
                  </a:lnTo>
                  <a:lnTo>
                    <a:pt x="744" y="138"/>
                  </a:lnTo>
                  <a:lnTo>
                    <a:pt x="744" y="132"/>
                  </a:lnTo>
                  <a:lnTo>
                    <a:pt x="750" y="132"/>
                  </a:lnTo>
                  <a:lnTo>
                    <a:pt x="762" y="126"/>
                  </a:lnTo>
                  <a:lnTo>
                    <a:pt x="774" y="126"/>
                  </a:lnTo>
                  <a:lnTo>
                    <a:pt x="792" y="120"/>
                  </a:lnTo>
                  <a:lnTo>
                    <a:pt x="804" y="120"/>
                  </a:lnTo>
                  <a:lnTo>
                    <a:pt x="810" y="114"/>
                  </a:lnTo>
                  <a:lnTo>
                    <a:pt x="726" y="114"/>
                  </a:lnTo>
                  <a:lnTo>
                    <a:pt x="690" y="120"/>
                  </a:lnTo>
                  <a:lnTo>
                    <a:pt x="678" y="120"/>
                  </a:lnTo>
                  <a:lnTo>
                    <a:pt x="690" y="132"/>
                  </a:lnTo>
                  <a:lnTo>
                    <a:pt x="678" y="132"/>
                  </a:lnTo>
                  <a:lnTo>
                    <a:pt x="666" y="138"/>
                  </a:lnTo>
                  <a:lnTo>
                    <a:pt x="654" y="138"/>
                  </a:lnTo>
                  <a:lnTo>
                    <a:pt x="642" y="144"/>
                  </a:lnTo>
                  <a:lnTo>
                    <a:pt x="636" y="144"/>
                  </a:lnTo>
                  <a:lnTo>
                    <a:pt x="624" y="150"/>
                  </a:lnTo>
                  <a:lnTo>
                    <a:pt x="606" y="168"/>
                  </a:lnTo>
                  <a:lnTo>
                    <a:pt x="594" y="174"/>
                  </a:lnTo>
                  <a:lnTo>
                    <a:pt x="576" y="174"/>
                  </a:lnTo>
                  <a:lnTo>
                    <a:pt x="564" y="162"/>
                  </a:lnTo>
                  <a:lnTo>
                    <a:pt x="546" y="156"/>
                  </a:lnTo>
                  <a:lnTo>
                    <a:pt x="534" y="144"/>
                  </a:lnTo>
                  <a:lnTo>
                    <a:pt x="522" y="138"/>
                  </a:lnTo>
                  <a:lnTo>
                    <a:pt x="510" y="126"/>
                  </a:lnTo>
                  <a:lnTo>
                    <a:pt x="492" y="126"/>
                  </a:lnTo>
                  <a:lnTo>
                    <a:pt x="450" y="132"/>
                  </a:lnTo>
                  <a:lnTo>
                    <a:pt x="372" y="132"/>
                  </a:lnTo>
                  <a:lnTo>
                    <a:pt x="360" y="120"/>
                  </a:lnTo>
                  <a:lnTo>
                    <a:pt x="354" y="108"/>
                  </a:lnTo>
                  <a:lnTo>
                    <a:pt x="354" y="84"/>
                  </a:lnTo>
                  <a:lnTo>
                    <a:pt x="348" y="72"/>
                  </a:lnTo>
                  <a:lnTo>
                    <a:pt x="336" y="60"/>
                  </a:lnTo>
                  <a:lnTo>
                    <a:pt x="324" y="54"/>
                  </a:lnTo>
                  <a:lnTo>
                    <a:pt x="276" y="54"/>
                  </a:lnTo>
                  <a:lnTo>
                    <a:pt x="240" y="60"/>
                  </a:lnTo>
                  <a:lnTo>
                    <a:pt x="222" y="72"/>
                  </a:lnTo>
                  <a:lnTo>
                    <a:pt x="210" y="78"/>
                  </a:lnTo>
                  <a:lnTo>
                    <a:pt x="204" y="78"/>
                  </a:lnTo>
                  <a:lnTo>
                    <a:pt x="180" y="90"/>
                  </a:lnTo>
                  <a:lnTo>
                    <a:pt x="162" y="96"/>
                  </a:lnTo>
                  <a:lnTo>
                    <a:pt x="144" y="108"/>
                  </a:lnTo>
                  <a:lnTo>
                    <a:pt x="138" y="120"/>
                  </a:lnTo>
                  <a:lnTo>
                    <a:pt x="138" y="144"/>
                  </a:lnTo>
                  <a:lnTo>
                    <a:pt x="150" y="168"/>
                  </a:lnTo>
                  <a:lnTo>
                    <a:pt x="156" y="186"/>
                  </a:lnTo>
                  <a:lnTo>
                    <a:pt x="162" y="198"/>
                  </a:lnTo>
                  <a:lnTo>
                    <a:pt x="156" y="210"/>
                  </a:lnTo>
                  <a:lnTo>
                    <a:pt x="150" y="228"/>
                  </a:lnTo>
                  <a:lnTo>
                    <a:pt x="138" y="234"/>
                  </a:lnTo>
                  <a:lnTo>
                    <a:pt x="132" y="246"/>
                  </a:lnTo>
                  <a:lnTo>
                    <a:pt x="126" y="252"/>
                  </a:lnTo>
                  <a:lnTo>
                    <a:pt x="120" y="252"/>
                  </a:lnTo>
                  <a:lnTo>
                    <a:pt x="126" y="222"/>
                  </a:lnTo>
                  <a:lnTo>
                    <a:pt x="114" y="222"/>
                  </a:lnTo>
                  <a:lnTo>
                    <a:pt x="108" y="216"/>
                  </a:lnTo>
                  <a:lnTo>
                    <a:pt x="96" y="210"/>
                  </a:lnTo>
                  <a:lnTo>
                    <a:pt x="90" y="204"/>
                  </a:lnTo>
                  <a:lnTo>
                    <a:pt x="84" y="192"/>
                  </a:lnTo>
                  <a:lnTo>
                    <a:pt x="96" y="168"/>
                  </a:lnTo>
                  <a:lnTo>
                    <a:pt x="108" y="156"/>
                  </a:lnTo>
                  <a:lnTo>
                    <a:pt x="120" y="132"/>
                  </a:lnTo>
                  <a:lnTo>
                    <a:pt x="120" y="78"/>
                  </a:lnTo>
                  <a:lnTo>
                    <a:pt x="114" y="66"/>
                  </a:lnTo>
                  <a:lnTo>
                    <a:pt x="114" y="54"/>
                  </a:lnTo>
                  <a:lnTo>
                    <a:pt x="108" y="48"/>
                  </a:lnTo>
                  <a:lnTo>
                    <a:pt x="108" y="54"/>
                  </a:lnTo>
                  <a:lnTo>
                    <a:pt x="102" y="66"/>
                  </a:lnTo>
                  <a:lnTo>
                    <a:pt x="90" y="78"/>
                  </a:lnTo>
                  <a:lnTo>
                    <a:pt x="72" y="84"/>
                  </a:lnTo>
                  <a:lnTo>
                    <a:pt x="48" y="108"/>
                  </a:lnTo>
                  <a:lnTo>
                    <a:pt x="36" y="144"/>
                  </a:lnTo>
                  <a:lnTo>
                    <a:pt x="36" y="162"/>
                  </a:lnTo>
                  <a:lnTo>
                    <a:pt x="30" y="168"/>
                  </a:lnTo>
                  <a:lnTo>
                    <a:pt x="30" y="192"/>
                  </a:lnTo>
                  <a:lnTo>
                    <a:pt x="6" y="216"/>
                  </a:lnTo>
                  <a:lnTo>
                    <a:pt x="0" y="228"/>
                  </a:lnTo>
                  <a:lnTo>
                    <a:pt x="0" y="240"/>
                  </a:lnTo>
                  <a:lnTo>
                    <a:pt x="6" y="246"/>
                  </a:lnTo>
                  <a:lnTo>
                    <a:pt x="6" y="240"/>
                  </a:lnTo>
                  <a:lnTo>
                    <a:pt x="18" y="228"/>
                  </a:lnTo>
                  <a:lnTo>
                    <a:pt x="24" y="228"/>
                  </a:lnTo>
                  <a:lnTo>
                    <a:pt x="36" y="240"/>
                  </a:lnTo>
                  <a:lnTo>
                    <a:pt x="42" y="252"/>
                  </a:lnTo>
                  <a:lnTo>
                    <a:pt x="42" y="288"/>
                  </a:lnTo>
                  <a:lnTo>
                    <a:pt x="48" y="294"/>
                  </a:lnTo>
                  <a:lnTo>
                    <a:pt x="60" y="300"/>
                  </a:lnTo>
                  <a:lnTo>
                    <a:pt x="66" y="306"/>
                  </a:lnTo>
                  <a:lnTo>
                    <a:pt x="66" y="318"/>
                  </a:lnTo>
                  <a:lnTo>
                    <a:pt x="54" y="342"/>
                  </a:lnTo>
                  <a:lnTo>
                    <a:pt x="54" y="384"/>
                  </a:lnTo>
                  <a:lnTo>
                    <a:pt x="66" y="384"/>
                  </a:lnTo>
                  <a:lnTo>
                    <a:pt x="66" y="396"/>
                  </a:lnTo>
                  <a:lnTo>
                    <a:pt x="72" y="408"/>
                  </a:lnTo>
                  <a:lnTo>
                    <a:pt x="78" y="414"/>
                  </a:lnTo>
                  <a:lnTo>
                    <a:pt x="102" y="414"/>
                  </a:lnTo>
                  <a:lnTo>
                    <a:pt x="108" y="408"/>
                  </a:lnTo>
                  <a:lnTo>
                    <a:pt x="120" y="408"/>
                  </a:lnTo>
                  <a:lnTo>
                    <a:pt x="132" y="414"/>
                  </a:lnTo>
                  <a:lnTo>
                    <a:pt x="138" y="414"/>
                  </a:lnTo>
                  <a:lnTo>
                    <a:pt x="150" y="420"/>
                  </a:lnTo>
                  <a:lnTo>
                    <a:pt x="162" y="420"/>
                  </a:lnTo>
                  <a:lnTo>
                    <a:pt x="168" y="414"/>
                  </a:lnTo>
                  <a:lnTo>
                    <a:pt x="168" y="408"/>
                  </a:lnTo>
                  <a:lnTo>
                    <a:pt x="180" y="408"/>
                  </a:lnTo>
                  <a:lnTo>
                    <a:pt x="186" y="414"/>
                  </a:lnTo>
                  <a:lnTo>
                    <a:pt x="198" y="420"/>
                  </a:lnTo>
                  <a:lnTo>
                    <a:pt x="222" y="420"/>
                  </a:lnTo>
                  <a:lnTo>
                    <a:pt x="222" y="426"/>
                  </a:lnTo>
                  <a:lnTo>
                    <a:pt x="228" y="432"/>
                  </a:lnTo>
                  <a:lnTo>
                    <a:pt x="234" y="444"/>
                  </a:lnTo>
                  <a:lnTo>
                    <a:pt x="240" y="462"/>
                  </a:lnTo>
                  <a:lnTo>
                    <a:pt x="264" y="486"/>
                  </a:lnTo>
                  <a:lnTo>
                    <a:pt x="288" y="486"/>
                  </a:lnTo>
                  <a:lnTo>
                    <a:pt x="288" y="480"/>
                  </a:lnTo>
                  <a:lnTo>
                    <a:pt x="306" y="480"/>
                  </a:lnTo>
                  <a:lnTo>
                    <a:pt x="312" y="486"/>
                  </a:lnTo>
                  <a:lnTo>
                    <a:pt x="336" y="486"/>
                  </a:lnTo>
                  <a:lnTo>
                    <a:pt x="342" y="480"/>
                  </a:lnTo>
                  <a:lnTo>
                    <a:pt x="366" y="486"/>
                  </a:lnTo>
                  <a:lnTo>
                    <a:pt x="372" y="480"/>
                  </a:lnTo>
                  <a:lnTo>
                    <a:pt x="384" y="474"/>
                  </a:lnTo>
                  <a:lnTo>
                    <a:pt x="402" y="474"/>
                  </a:lnTo>
                  <a:lnTo>
                    <a:pt x="408" y="480"/>
                  </a:lnTo>
                  <a:lnTo>
                    <a:pt x="408" y="492"/>
                  </a:lnTo>
                  <a:lnTo>
                    <a:pt x="390" y="510"/>
                  </a:lnTo>
                  <a:lnTo>
                    <a:pt x="390" y="534"/>
                  </a:lnTo>
                  <a:lnTo>
                    <a:pt x="384" y="540"/>
                  </a:lnTo>
                  <a:lnTo>
                    <a:pt x="378" y="540"/>
                  </a:lnTo>
                  <a:lnTo>
                    <a:pt x="366" y="552"/>
                  </a:lnTo>
                  <a:lnTo>
                    <a:pt x="366" y="576"/>
                  </a:lnTo>
                  <a:lnTo>
                    <a:pt x="372" y="588"/>
                  </a:lnTo>
                  <a:lnTo>
                    <a:pt x="372" y="618"/>
                  </a:lnTo>
                  <a:lnTo>
                    <a:pt x="366" y="630"/>
                  </a:lnTo>
                  <a:lnTo>
                    <a:pt x="366" y="642"/>
                  </a:lnTo>
                  <a:lnTo>
                    <a:pt x="372" y="648"/>
                  </a:lnTo>
                  <a:lnTo>
                    <a:pt x="384" y="648"/>
                  </a:lnTo>
                  <a:lnTo>
                    <a:pt x="384" y="672"/>
                  </a:lnTo>
                  <a:lnTo>
                    <a:pt x="390" y="684"/>
                  </a:lnTo>
                  <a:lnTo>
                    <a:pt x="402" y="690"/>
                  </a:lnTo>
                  <a:lnTo>
                    <a:pt x="408" y="702"/>
                  </a:lnTo>
                  <a:lnTo>
                    <a:pt x="408" y="708"/>
                  </a:lnTo>
                  <a:lnTo>
                    <a:pt x="402" y="720"/>
                  </a:lnTo>
                  <a:lnTo>
                    <a:pt x="372" y="750"/>
                  </a:lnTo>
                  <a:lnTo>
                    <a:pt x="366" y="750"/>
                  </a:lnTo>
                  <a:lnTo>
                    <a:pt x="390" y="762"/>
                  </a:lnTo>
                  <a:lnTo>
                    <a:pt x="402" y="774"/>
                  </a:lnTo>
                  <a:lnTo>
                    <a:pt x="414" y="774"/>
                  </a:lnTo>
                  <a:lnTo>
                    <a:pt x="414" y="798"/>
                  </a:lnTo>
                  <a:lnTo>
                    <a:pt x="420" y="804"/>
                  </a:lnTo>
                  <a:lnTo>
                    <a:pt x="420" y="822"/>
                  </a:lnTo>
                  <a:lnTo>
                    <a:pt x="426" y="828"/>
                  </a:lnTo>
                  <a:lnTo>
                    <a:pt x="426" y="846"/>
                  </a:lnTo>
                  <a:lnTo>
                    <a:pt x="432" y="858"/>
                  </a:lnTo>
                  <a:lnTo>
                    <a:pt x="432" y="876"/>
                  </a:lnTo>
                  <a:lnTo>
                    <a:pt x="444" y="888"/>
                  </a:lnTo>
                  <a:lnTo>
                    <a:pt x="450" y="900"/>
                  </a:lnTo>
                  <a:lnTo>
                    <a:pt x="450" y="906"/>
                  </a:lnTo>
                  <a:lnTo>
                    <a:pt x="462" y="918"/>
                  </a:lnTo>
                  <a:lnTo>
                    <a:pt x="468" y="918"/>
                  </a:lnTo>
                  <a:lnTo>
                    <a:pt x="480" y="924"/>
                  </a:lnTo>
                  <a:lnTo>
                    <a:pt x="486" y="924"/>
                  </a:lnTo>
                  <a:lnTo>
                    <a:pt x="498" y="918"/>
                  </a:lnTo>
                  <a:lnTo>
                    <a:pt x="504" y="912"/>
                  </a:lnTo>
                  <a:lnTo>
                    <a:pt x="516" y="906"/>
                  </a:lnTo>
                  <a:lnTo>
                    <a:pt x="522" y="900"/>
                  </a:lnTo>
                  <a:lnTo>
                    <a:pt x="528" y="906"/>
                  </a:lnTo>
                  <a:lnTo>
                    <a:pt x="528" y="930"/>
                  </a:lnTo>
                  <a:lnTo>
                    <a:pt x="534" y="930"/>
                  </a:lnTo>
                  <a:lnTo>
                    <a:pt x="546" y="918"/>
                  </a:lnTo>
                  <a:lnTo>
                    <a:pt x="558" y="894"/>
                  </a:lnTo>
                  <a:lnTo>
                    <a:pt x="570" y="882"/>
                  </a:lnTo>
                  <a:lnTo>
                    <a:pt x="588" y="882"/>
                  </a:lnTo>
                  <a:lnTo>
                    <a:pt x="594" y="876"/>
                  </a:lnTo>
                  <a:lnTo>
                    <a:pt x="630" y="858"/>
                  </a:lnTo>
                  <a:lnTo>
                    <a:pt x="636" y="846"/>
                  </a:lnTo>
                  <a:lnTo>
                    <a:pt x="636" y="816"/>
                  </a:lnTo>
                  <a:lnTo>
                    <a:pt x="678" y="816"/>
                  </a:lnTo>
                  <a:lnTo>
                    <a:pt x="684" y="810"/>
                  </a:lnTo>
                  <a:lnTo>
                    <a:pt x="690" y="798"/>
                  </a:lnTo>
                  <a:lnTo>
                    <a:pt x="690" y="792"/>
                  </a:lnTo>
                  <a:lnTo>
                    <a:pt x="684" y="786"/>
                  </a:lnTo>
                  <a:lnTo>
                    <a:pt x="636" y="780"/>
                  </a:lnTo>
                  <a:lnTo>
                    <a:pt x="636" y="750"/>
                  </a:lnTo>
                  <a:lnTo>
                    <a:pt x="630" y="738"/>
                  </a:lnTo>
                  <a:lnTo>
                    <a:pt x="618" y="726"/>
                  </a:lnTo>
                  <a:lnTo>
                    <a:pt x="624" y="720"/>
                  </a:lnTo>
                  <a:lnTo>
                    <a:pt x="624" y="690"/>
                  </a:lnTo>
                  <a:lnTo>
                    <a:pt x="618" y="684"/>
                  </a:lnTo>
                  <a:lnTo>
                    <a:pt x="606" y="678"/>
                  </a:lnTo>
                  <a:lnTo>
                    <a:pt x="588" y="660"/>
                  </a:lnTo>
                  <a:lnTo>
                    <a:pt x="588" y="630"/>
                  </a:lnTo>
                  <a:lnTo>
                    <a:pt x="594" y="636"/>
                  </a:lnTo>
                  <a:lnTo>
                    <a:pt x="594" y="642"/>
                  </a:lnTo>
                  <a:lnTo>
                    <a:pt x="636" y="642"/>
                  </a:lnTo>
                  <a:lnTo>
                    <a:pt x="642" y="648"/>
                  </a:lnTo>
                  <a:lnTo>
                    <a:pt x="642" y="666"/>
                  </a:lnTo>
                  <a:lnTo>
                    <a:pt x="654" y="666"/>
                  </a:lnTo>
                  <a:lnTo>
                    <a:pt x="666" y="660"/>
                  </a:lnTo>
                  <a:lnTo>
                    <a:pt x="678" y="666"/>
                  </a:lnTo>
                  <a:lnTo>
                    <a:pt x="684" y="660"/>
                  </a:lnTo>
                  <a:lnTo>
                    <a:pt x="696" y="660"/>
                  </a:lnTo>
                  <a:lnTo>
                    <a:pt x="702" y="666"/>
                  </a:lnTo>
                  <a:lnTo>
                    <a:pt x="708" y="678"/>
                  </a:lnTo>
                  <a:lnTo>
                    <a:pt x="720" y="690"/>
                  </a:lnTo>
                  <a:lnTo>
                    <a:pt x="732" y="696"/>
                  </a:lnTo>
                  <a:lnTo>
                    <a:pt x="738" y="690"/>
                  </a:lnTo>
                  <a:lnTo>
                    <a:pt x="738" y="672"/>
                  </a:lnTo>
                  <a:lnTo>
                    <a:pt x="744" y="660"/>
                  </a:lnTo>
                  <a:lnTo>
                    <a:pt x="744" y="648"/>
                  </a:lnTo>
                  <a:lnTo>
                    <a:pt x="750" y="642"/>
                  </a:lnTo>
                  <a:lnTo>
                    <a:pt x="768" y="642"/>
                  </a:lnTo>
                  <a:lnTo>
                    <a:pt x="774" y="648"/>
                  </a:lnTo>
                  <a:lnTo>
                    <a:pt x="792" y="648"/>
                  </a:lnTo>
                  <a:lnTo>
                    <a:pt x="804" y="642"/>
                  </a:lnTo>
                  <a:lnTo>
                    <a:pt x="828" y="618"/>
                  </a:lnTo>
                  <a:lnTo>
                    <a:pt x="840" y="612"/>
                  </a:lnTo>
                  <a:lnTo>
                    <a:pt x="864" y="612"/>
                  </a:lnTo>
                  <a:lnTo>
                    <a:pt x="864" y="600"/>
                  </a:lnTo>
                  <a:lnTo>
                    <a:pt x="876" y="600"/>
                  </a:lnTo>
                  <a:lnTo>
                    <a:pt x="882" y="594"/>
                  </a:lnTo>
                  <a:lnTo>
                    <a:pt x="882" y="558"/>
                  </a:lnTo>
                  <a:lnTo>
                    <a:pt x="846" y="522"/>
                  </a:lnTo>
                  <a:lnTo>
                    <a:pt x="840" y="510"/>
                  </a:lnTo>
                  <a:lnTo>
                    <a:pt x="834" y="504"/>
                  </a:lnTo>
                  <a:lnTo>
                    <a:pt x="834" y="492"/>
                  </a:lnTo>
                  <a:lnTo>
                    <a:pt x="846" y="486"/>
                  </a:lnTo>
                  <a:lnTo>
                    <a:pt x="852" y="486"/>
                  </a:lnTo>
                  <a:lnTo>
                    <a:pt x="864" y="480"/>
                  </a:lnTo>
                  <a:lnTo>
                    <a:pt x="864" y="462"/>
                  </a:lnTo>
                  <a:lnTo>
                    <a:pt x="846" y="444"/>
                  </a:lnTo>
                  <a:lnTo>
                    <a:pt x="846" y="438"/>
                  </a:lnTo>
                  <a:lnTo>
                    <a:pt x="876" y="438"/>
                  </a:lnTo>
                  <a:lnTo>
                    <a:pt x="888" y="432"/>
                  </a:lnTo>
                  <a:lnTo>
                    <a:pt x="900" y="432"/>
                  </a:lnTo>
                  <a:lnTo>
                    <a:pt x="912" y="426"/>
                  </a:lnTo>
                  <a:lnTo>
                    <a:pt x="918" y="420"/>
                  </a:lnTo>
                  <a:lnTo>
                    <a:pt x="918" y="402"/>
                  </a:lnTo>
                  <a:lnTo>
                    <a:pt x="894" y="402"/>
                  </a:lnTo>
                  <a:lnTo>
                    <a:pt x="894" y="360"/>
                  </a:lnTo>
                  <a:lnTo>
                    <a:pt x="906" y="348"/>
                  </a:lnTo>
                  <a:lnTo>
                    <a:pt x="918" y="348"/>
                  </a:lnTo>
                  <a:lnTo>
                    <a:pt x="924" y="342"/>
                  </a:lnTo>
                  <a:lnTo>
                    <a:pt x="930" y="342"/>
                  </a:lnTo>
                  <a:lnTo>
                    <a:pt x="936" y="336"/>
                  </a:lnTo>
                  <a:lnTo>
                    <a:pt x="954" y="300"/>
                  </a:lnTo>
                  <a:lnTo>
                    <a:pt x="948" y="294"/>
                  </a:lnTo>
                  <a:lnTo>
                    <a:pt x="942" y="282"/>
                  </a:lnTo>
                  <a:lnTo>
                    <a:pt x="936" y="276"/>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38" name="USA" descr="© INSCALE GmbH, 05.05.2010&#10;http://www.presentationload.com/">
              <a:extLst>
                <a:ext uri="{FF2B5EF4-FFF2-40B4-BE49-F238E27FC236}">
                  <a16:creationId xmlns:a16="http://schemas.microsoft.com/office/drawing/2014/main" id="{5405DDCC-EB16-47DA-85C5-286230510004}"/>
                </a:ext>
              </a:extLst>
            </p:cNvPr>
            <p:cNvSpPr>
              <a:spLocks noEditPoints="1"/>
            </p:cNvSpPr>
            <p:nvPr/>
          </p:nvSpPr>
          <p:spPr bwMode="gray">
            <a:xfrm>
              <a:off x="905504" y="2675198"/>
              <a:ext cx="1557046" cy="771468"/>
            </a:xfrm>
            <a:custGeom>
              <a:avLst/>
              <a:gdLst>
                <a:gd name="T0" fmla="*/ 2147483647 w 3918"/>
                <a:gd name="T1" fmla="*/ 2147483647 h 1944"/>
                <a:gd name="T2" fmla="*/ 2147483647 w 3918"/>
                <a:gd name="T3" fmla="*/ 2147483647 h 1944"/>
                <a:gd name="T4" fmla="*/ 2147483647 w 3918"/>
                <a:gd name="T5" fmla="*/ 2147483647 h 1944"/>
                <a:gd name="T6" fmla="*/ 2147483647 w 3918"/>
                <a:gd name="T7" fmla="*/ 2147483647 h 1944"/>
                <a:gd name="T8" fmla="*/ 2147483647 w 3918"/>
                <a:gd name="T9" fmla="*/ 2147483647 h 1944"/>
                <a:gd name="T10" fmla="*/ 2147483647 w 3918"/>
                <a:gd name="T11" fmla="*/ 2147483647 h 1944"/>
                <a:gd name="T12" fmla="*/ 2147483647 w 3918"/>
                <a:gd name="T13" fmla="*/ 2147483647 h 1944"/>
                <a:gd name="T14" fmla="*/ 2147483647 w 3918"/>
                <a:gd name="T15" fmla="*/ 2147483647 h 1944"/>
                <a:gd name="T16" fmla="*/ 2147483647 w 3918"/>
                <a:gd name="T17" fmla="*/ 2147483647 h 1944"/>
                <a:gd name="T18" fmla="*/ 2147483647 w 3918"/>
                <a:gd name="T19" fmla="*/ 2147483647 h 1944"/>
                <a:gd name="T20" fmla="*/ 2147483647 w 3918"/>
                <a:gd name="T21" fmla="*/ 2147483647 h 1944"/>
                <a:gd name="T22" fmla="*/ 2147483647 w 3918"/>
                <a:gd name="T23" fmla="*/ 2147483647 h 1944"/>
                <a:gd name="T24" fmla="*/ 2147483647 w 3918"/>
                <a:gd name="T25" fmla="*/ 2147483647 h 1944"/>
                <a:gd name="T26" fmla="*/ 2147483647 w 3918"/>
                <a:gd name="T27" fmla="*/ 2147483647 h 1944"/>
                <a:gd name="T28" fmla="*/ 2147483647 w 3918"/>
                <a:gd name="T29" fmla="*/ 2147483647 h 1944"/>
                <a:gd name="T30" fmla="*/ 2147483647 w 3918"/>
                <a:gd name="T31" fmla="*/ 2147483647 h 1944"/>
                <a:gd name="T32" fmla="*/ 2147483647 w 3918"/>
                <a:gd name="T33" fmla="*/ 2147483647 h 1944"/>
                <a:gd name="T34" fmla="*/ 2147483647 w 3918"/>
                <a:gd name="T35" fmla="*/ 2147483647 h 1944"/>
                <a:gd name="T36" fmla="*/ 2147483647 w 3918"/>
                <a:gd name="T37" fmla="*/ 2147483647 h 1944"/>
                <a:gd name="T38" fmla="*/ 2147483647 w 3918"/>
                <a:gd name="T39" fmla="*/ 2147483647 h 1944"/>
                <a:gd name="T40" fmla="*/ 2147483647 w 3918"/>
                <a:gd name="T41" fmla="*/ 2147483647 h 1944"/>
                <a:gd name="T42" fmla="*/ 2147483647 w 3918"/>
                <a:gd name="T43" fmla="*/ 2147483647 h 1944"/>
                <a:gd name="T44" fmla="*/ 2147483647 w 3918"/>
                <a:gd name="T45" fmla="*/ 2147483647 h 1944"/>
                <a:gd name="T46" fmla="*/ 2147483647 w 3918"/>
                <a:gd name="T47" fmla="*/ 2147483647 h 1944"/>
                <a:gd name="T48" fmla="*/ 2147483647 w 3918"/>
                <a:gd name="T49" fmla="*/ 2147483647 h 1944"/>
                <a:gd name="T50" fmla="*/ 2147483647 w 3918"/>
                <a:gd name="T51" fmla="*/ 2147483647 h 1944"/>
                <a:gd name="T52" fmla="*/ 2147483647 w 3918"/>
                <a:gd name="T53" fmla="*/ 2147483647 h 1944"/>
                <a:gd name="T54" fmla="*/ 2147483647 w 3918"/>
                <a:gd name="T55" fmla="*/ 2147483647 h 1944"/>
                <a:gd name="T56" fmla="*/ 2147483647 w 3918"/>
                <a:gd name="T57" fmla="*/ 2147483647 h 1944"/>
                <a:gd name="T58" fmla="*/ 2147483647 w 3918"/>
                <a:gd name="T59" fmla="*/ 2147483647 h 1944"/>
                <a:gd name="T60" fmla="*/ 2147483647 w 3918"/>
                <a:gd name="T61" fmla="*/ 2147483647 h 1944"/>
                <a:gd name="T62" fmla="*/ 2147483647 w 3918"/>
                <a:gd name="T63" fmla="*/ 2147483647 h 1944"/>
                <a:gd name="T64" fmla="*/ 2147483647 w 3918"/>
                <a:gd name="T65" fmla="*/ 2147483647 h 1944"/>
                <a:gd name="T66" fmla="*/ 2147483647 w 3918"/>
                <a:gd name="T67" fmla="*/ 2147483647 h 1944"/>
                <a:gd name="T68" fmla="*/ 2147483647 w 3918"/>
                <a:gd name="T69" fmla="*/ 2147483647 h 1944"/>
                <a:gd name="T70" fmla="*/ 2147483647 w 3918"/>
                <a:gd name="T71" fmla="*/ 2147483647 h 1944"/>
                <a:gd name="T72" fmla="*/ 2147483647 w 3918"/>
                <a:gd name="T73" fmla="*/ 2147483647 h 1944"/>
                <a:gd name="T74" fmla="*/ 2147483647 w 3918"/>
                <a:gd name="T75" fmla="*/ 2147483647 h 1944"/>
                <a:gd name="T76" fmla="*/ 2147483647 w 3918"/>
                <a:gd name="T77" fmla="*/ 2147483647 h 1944"/>
                <a:gd name="T78" fmla="*/ 2147483647 w 3918"/>
                <a:gd name="T79" fmla="*/ 2147483647 h 1944"/>
                <a:gd name="T80" fmla="*/ 2147483647 w 3918"/>
                <a:gd name="T81" fmla="*/ 2147483647 h 1944"/>
                <a:gd name="T82" fmla="*/ 2147483647 w 3918"/>
                <a:gd name="T83" fmla="*/ 2147483647 h 1944"/>
                <a:gd name="T84" fmla="*/ 2147483647 w 3918"/>
                <a:gd name="T85" fmla="*/ 2147483647 h 1944"/>
                <a:gd name="T86" fmla="*/ 2147483647 w 3918"/>
                <a:gd name="T87" fmla="*/ 2147483647 h 1944"/>
                <a:gd name="T88" fmla="*/ 2147483647 w 3918"/>
                <a:gd name="T89" fmla="*/ 2147483647 h 1944"/>
                <a:gd name="T90" fmla="*/ 2147483647 w 3918"/>
                <a:gd name="T91" fmla="*/ 2147483647 h 1944"/>
                <a:gd name="T92" fmla="*/ 2147483647 w 3918"/>
                <a:gd name="T93" fmla="*/ 2147483647 h 1944"/>
                <a:gd name="T94" fmla="*/ 2147483647 w 3918"/>
                <a:gd name="T95" fmla="*/ 2147483647 h 1944"/>
                <a:gd name="T96" fmla="*/ 2147483647 w 3918"/>
                <a:gd name="T97" fmla="*/ 2147483647 h 1944"/>
                <a:gd name="T98" fmla="*/ 2147483647 w 3918"/>
                <a:gd name="T99" fmla="*/ 2147483647 h 1944"/>
                <a:gd name="T100" fmla="*/ 2147483647 w 3918"/>
                <a:gd name="T101" fmla="*/ 2147483647 h 1944"/>
                <a:gd name="T102" fmla="*/ 2147483647 w 3918"/>
                <a:gd name="T103" fmla="*/ 2147483647 h 1944"/>
                <a:gd name="T104" fmla="*/ 2147483647 w 3918"/>
                <a:gd name="T105" fmla="*/ 2147483647 h 1944"/>
                <a:gd name="T106" fmla="*/ 2147483647 w 3918"/>
                <a:gd name="T107" fmla="*/ 2147483647 h 1944"/>
                <a:gd name="T108" fmla="*/ 2147483647 w 3918"/>
                <a:gd name="T109" fmla="*/ 2147483647 h 1944"/>
                <a:gd name="T110" fmla="*/ 2147483647 w 3918"/>
                <a:gd name="T111" fmla="*/ 2147483647 h 1944"/>
                <a:gd name="T112" fmla="*/ 2147483647 w 3918"/>
                <a:gd name="T113" fmla="*/ 2147483647 h 1944"/>
                <a:gd name="T114" fmla="*/ 2147483647 w 3918"/>
                <a:gd name="T115" fmla="*/ 2147483647 h 1944"/>
                <a:gd name="T116" fmla="*/ 2147483647 w 3918"/>
                <a:gd name="T117" fmla="*/ 2147483647 h 1944"/>
                <a:gd name="T118" fmla="*/ 2147483647 w 3918"/>
                <a:gd name="T119" fmla="*/ 2147483647 h 1944"/>
                <a:gd name="T120" fmla="*/ 2147483647 w 3918"/>
                <a:gd name="T121" fmla="*/ 2147483647 h 1944"/>
                <a:gd name="T122" fmla="*/ 2147483647 w 3918"/>
                <a:gd name="T123" fmla="*/ 2147483647 h 1944"/>
                <a:gd name="T124" fmla="*/ 2147483647 w 3918"/>
                <a:gd name="T125" fmla="*/ 2147483647 h 19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18"/>
                <a:gd name="T190" fmla="*/ 0 h 1944"/>
                <a:gd name="T191" fmla="*/ 3918 w 3918"/>
                <a:gd name="T192" fmla="*/ 1944 h 19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18" h="1944">
                  <a:moveTo>
                    <a:pt x="3858" y="168"/>
                  </a:moveTo>
                  <a:lnTo>
                    <a:pt x="3852" y="168"/>
                  </a:lnTo>
                  <a:lnTo>
                    <a:pt x="3846" y="162"/>
                  </a:lnTo>
                  <a:lnTo>
                    <a:pt x="3846" y="156"/>
                  </a:lnTo>
                  <a:lnTo>
                    <a:pt x="3840" y="150"/>
                  </a:lnTo>
                  <a:lnTo>
                    <a:pt x="3828" y="150"/>
                  </a:lnTo>
                  <a:lnTo>
                    <a:pt x="3804" y="174"/>
                  </a:lnTo>
                  <a:lnTo>
                    <a:pt x="3798" y="186"/>
                  </a:lnTo>
                  <a:lnTo>
                    <a:pt x="3756" y="210"/>
                  </a:lnTo>
                  <a:lnTo>
                    <a:pt x="3756" y="234"/>
                  </a:lnTo>
                  <a:lnTo>
                    <a:pt x="3744" y="246"/>
                  </a:lnTo>
                  <a:lnTo>
                    <a:pt x="3738" y="246"/>
                  </a:lnTo>
                  <a:lnTo>
                    <a:pt x="3726" y="258"/>
                  </a:lnTo>
                  <a:lnTo>
                    <a:pt x="3720" y="270"/>
                  </a:lnTo>
                  <a:lnTo>
                    <a:pt x="3720" y="294"/>
                  </a:lnTo>
                  <a:lnTo>
                    <a:pt x="3714" y="294"/>
                  </a:lnTo>
                  <a:lnTo>
                    <a:pt x="3708" y="288"/>
                  </a:lnTo>
                  <a:lnTo>
                    <a:pt x="3696" y="288"/>
                  </a:lnTo>
                  <a:lnTo>
                    <a:pt x="3690" y="294"/>
                  </a:lnTo>
                  <a:lnTo>
                    <a:pt x="3678" y="300"/>
                  </a:lnTo>
                  <a:lnTo>
                    <a:pt x="3666" y="312"/>
                  </a:lnTo>
                  <a:lnTo>
                    <a:pt x="3666" y="318"/>
                  </a:lnTo>
                  <a:lnTo>
                    <a:pt x="3660" y="318"/>
                  </a:lnTo>
                  <a:lnTo>
                    <a:pt x="3648" y="324"/>
                  </a:lnTo>
                  <a:lnTo>
                    <a:pt x="3630" y="324"/>
                  </a:lnTo>
                  <a:lnTo>
                    <a:pt x="3618" y="336"/>
                  </a:lnTo>
                  <a:lnTo>
                    <a:pt x="3618" y="342"/>
                  </a:lnTo>
                  <a:lnTo>
                    <a:pt x="3384" y="342"/>
                  </a:lnTo>
                  <a:lnTo>
                    <a:pt x="3372" y="354"/>
                  </a:lnTo>
                  <a:lnTo>
                    <a:pt x="3360" y="360"/>
                  </a:lnTo>
                  <a:lnTo>
                    <a:pt x="3336" y="384"/>
                  </a:lnTo>
                  <a:lnTo>
                    <a:pt x="3324" y="390"/>
                  </a:lnTo>
                  <a:lnTo>
                    <a:pt x="3312" y="402"/>
                  </a:lnTo>
                  <a:lnTo>
                    <a:pt x="3282" y="402"/>
                  </a:lnTo>
                  <a:lnTo>
                    <a:pt x="3282" y="408"/>
                  </a:lnTo>
                  <a:lnTo>
                    <a:pt x="3276" y="408"/>
                  </a:lnTo>
                  <a:lnTo>
                    <a:pt x="3282" y="414"/>
                  </a:lnTo>
                  <a:lnTo>
                    <a:pt x="3282" y="420"/>
                  </a:lnTo>
                  <a:lnTo>
                    <a:pt x="3288" y="426"/>
                  </a:lnTo>
                  <a:lnTo>
                    <a:pt x="3282" y="432"/>
                  </a:lnTo>
                  <a:lnTo>
                    <a:pt x="3282" y="438"/>
                  </a:lnTo>
                  <a:lnTo>
                    <a:pt x="3276" y="444"/>
                  </a:lnTo>
                  <a:lnTo>
                    <a:pt x="3270" y="456"/>
                  </a:lnTo>
                  <a:lnTo>
                    <a:pt x="3264" y="462"/>
                  </a:lnTo>
                  <a:lnTo>
                    <a:pt x="3264" y="468"/>
                  </a:lnTo>
                  <a:lnTo>
                    <a:pt x="3246" y="468"/>
                  </a:lnTo>
                  <a:lnTo>
                    <a:pt x="3246" y="474"/>
                  </a:lnTo>
                  <a:lnTo>
                    <a:pt x="3240" y="474"/>
                  </a:lnTo>
                  <a:lnTo>
                    <a:pt x="3228" y="480"/>
                  </a:lnTo>
                  <a:lnTo>
                    <a:pt x="3204" y="480"/>
                  </a:lnTo>
                  <a:lnTo>
                    <a:pt x="3198" y="474"/>
                  </a:lnTo>
                  <a:lnTo>
                    <a:pt x="3186" y="486"/>
                  </a:lnTo>
                  <a:lnTo>
                    <a:pt x="3162" y="486"/>
                  </a:lnTo>
                  <a:lnTo>
                    <a:pt x="3150" y="480"/>
                  </a:lnTo>
                  <a:lnTo>
                    <a:pt x="3144" y="474"/>
                  </a:lnTo>
                  <a:lnTo>
                    <a:pt x="3114" y="474"/>
                  </a:lnTo>
                  <a:lnTo>
                    <a:pt x="3096" y="486"/>
                  </a:lnTo>
                  <a:lnTo>
                    <a:pt x="3078" y="492"/>
                  </a:lnTo>
                  <a:lnTo>
                    <a:pt x="3072" y="492"/>
                  </a:lnTo>
                  <a:lnTo>
                    <a:pt x="3072" y="516"/>
                  </a:lnTo>
                  <a:lnTo>
                    <a:pt x="3066" y="522"/>
                  </a:lnTo>
                  <a:lnTo>
                    <a:pt x="3078" y="522"/>
                  </a:lnTo>
                  <a:lnTo>
                    <a:pt x="3066" y="528"/>
                  </a:lnTo>
                  <a:lnTo>
                    <a:pt x="3036" y="546"/>
                  </a:lnTo>
                  <a:lnTo>
                    <a:pt x="3000" y="564"/>
                  </a:lnTo>
                  <a:lnTo>
                    <a:pt x="2964" y="576"/>
                  </a:lnTo>
                  <a:lnTo>
                    <a:pt x="2946" y="588"/>
                  </a:lnTo>
                  <a:lnTo>
                    <a:pt x="2934" y="594"/>
                  </a:lnTo>
                  <a:lnTo>
                    <a:pt x="2928" y="594"/>
                  </a:lnTo>
                  <a:lnTo>
                    <a:pt x="2856" y="618"/>
                  </a:lnTo>
                  <a:lnTo>
                    <a:pt x="2850" y="624"/>
                  </a:lnTo>
                  <a:lnTo>
                    <a:pt x="2838" y="624"/>
                  </a:lnTo>
                  <a:lnTo>
                    <a:pt x="2826" y="630"/>
                  </a:lnTo>
                  <a:lnTo>
                    <a:pt x="2808" y="630"/>
                  </a:lnTo>
                  <a:lnTo>
                    <a:pt x="2802" y="636"/>
                  </a:lnTo>
                  <a:lnTo>
                    <a:pt x="2778" y="636"/>
                  </a:lnTo>
                  <a:lnTo>
                    <a:pt x="2772" y="630"/>
                  </a:lnTo>
                  <a:lnTo>
                    <a:pt x="2772" y="624"/>
                  </a:lnTo>
                  <a:lnTo>
                    <a:pt x="2760" y="624"/>
                  </a:lnTo>
                  <a:lnTo>
                    <a:pt x="2748" y="618"/>
                  </a:lnTo>
                  <a:lnTo>
                    <a:pt x="2736" y="606"/>
                  </a:lnTo>
                  <a:lnTo>
                    <a:pt x="2742" y="606"/>
                  </a:lnTo>
                  <a:lnTo>
                    <a:pt x="2748" y="600"/>
                  </a:lnTo>
                  <a:lnTo>
                    <a:pt x="2772" y="588"/>
                  </a:lnTo>
                  <a:lnTo>
                    <a:pt x="2772" y="582"/>
                  </a:lnTo>
                  <a:lnTo>
                    <a:pt x="2796" y="558"/>
                  </a:lnTo>
                  <a:lnTo>
                    <a:pt x="2832" y="540"/>
                  </a:lnTo>
                  <a:lnTo>
                    <a:pt x="2838" y="540"/>
                  </a:lnTo>
                  <a:lnTo>
                    <a:pt x="2844" y="534"/>
                  </a:lnTo>
                  <a:lnTo>
                    <a:pt x="2844" y="510"/>
                  </a:lnTo>
                  <a:lnTo>
                    <a:pt x="2850" y="504"/>
                  </a:lnTo>
                  <a:lnTo>
                    <a:pt x="2856" y="492"/>
                  </a:lnTo>
                  <a:lnTo>
                    <a:pt x="2850" y="486"/>
                  </a:lnTo>
                  <a:lnTo>
                    <a:pt x="2850" y="480"/>
                  </a:lnTo>
                  <a:lnTo>
                    <a:pt x="2856" y="468"/>
                  </a:lnTo>
                  <a:lnTo>
                    <a:pt x="2856" y="444"/>
                  </a:lnTo>
                  <a:lnTo>
                    <a:pt x="2862" y="432"/>
                  </a:lnTo>
                  <a:lnTo>
                    <a:pt x="2862" y="426"/>
                  </a:lnTo>
                  <a:lnTo>
                    <a:pt x="2856" y="420"/>
                  </a:lnTo>
                  <a:lnTo>
                    <a:pt x="2850" y="420"/>
                  </a:lnTo>
                  <a:lnTo>
                    <a:pt x="2844" y="426"/>
                  </a:lnTo>
                  <a:lnTo>
                    <a:pt x="2832" y="426"/>
                  </a:lnTo>
                  <a:lnTo>
                    <a:pt x="2814" y="444"/>
                  </a:lnTo>
                  <a:lnTo>
                    <a:pt x="2802" y="450"/>
                  </a:lnTo>
                  <a:lnTo>
                    <a:pt x="2796" y="456"/>
                  </a:lnTo>
                  <a:lnTo>
                    <a:pt x="2778" y="456"/>
                  </a:lnTo>
                  <a:lnTo>
                    <a:pt x="2772" y="450"/>
                  </a:lnTo>
                  <a:lnTo>
                    <a:pt x="2778" y="444"/>
                  </a:lnTo>
                  <a:lnTo>
                    <a:pt x="2784" y="432"/>
                  </a:lnTo>
                  <a:lnTo>
                    <a:pt x="2808" y="420"/>
                  </a:lnTo>
                  <a:lnTo>
                    <a:pt x="2826" y="402"/>
                  </a:lnTo>
                  <a:lnTo>
                    <a:pt x="2850" y="390"/>
                  </a:lnTo>
                  <a:lnTo>
                    <a:pt x="2856" y="384"/>
                  </a:lnTo>
                  <a:lnTo>
                    <a:pt x="2856" y="366"/>
                  </a:lnTo>
                  <a:lnTo>
                    <a:pt x="2850" y="360"/>
                  </a:lnTo>
                  <a:lnTo>
                    <a:pt x="2850" y="348"/>
                  </a:lnTo>
                  <a:lnTo>
                    <a:pt x="2856" y="348"/>
                  </a:lnTo>
                  <a:lnTo>
                    <a:pt x="2862" y="342"/>
                  </a:lnTo>
                  <a:lnTo>
                    <a:pt x="2868" y="330"/>
                  </a:lnTo>
                  <a:lnTo>
                    <a:pt x="2868" y="318"/>
                  </a:lnTo>
                  <a:lnTo>
                    <a:pt x="2862" y="312"/>
                  </a:lnTo>
                  <a:lnTo>
                    <a:pt x="2850" y="312"/>
                  </a:lnTo>
                  <a:lnTo>
                    <a:pt x="2838" y="306"/>
                  </a:lnTo>
                  <a:lnTo>
                    <a:pt x="2832" y="306"/>
                  </a:lnTo>
                  <a:lnTo>
                    <a:pt x="2826" y="294"/>
                  </a:lnTo>
                  <a:lnTo>
                    <a:pt x="2820" y="288"/>
                  </a:lnTo>
                  <a:lnTo>
                    <a:pt x="2820" y="282"/>
                  </a:lnTo>
                  <a:lnTo>
                    <a:pt x="2814" y="288"/>
                  </a:lnTo>
                  <a:lnTo>
                    <a:pt x="2808" y="288"/>
                  </a:lnTo>
                  <a:lnTo>
                    <a:pt x="2808" y="264"/>
                  </a:lnTo>
                  <a:lnTo>
                    <a:pt x="2844" y="270"/>
                  </a:lnTo>
                  <a:lnTo>
                    <a:pt x="2850" y="264"/>
                  </a:lnTo>
                  <a:lnTo>
                    <a:pt x="2850" y="246"/>
                  </a:lnTo>
                  <a:lnTo>
                    <a:pt x="2862" y="246"/>
                  </a:lnTo>
                  <a:lnTo>
                    <a:pt x="2868" y="228"/>
                  </a:lnTo>
                  <a:lnTo>
                    <a:pt x="2850" y="228"/>
                  </a:lnTo>
                  <a:lnTo>
                    <a:pt x="2844" y="240"/>
                  </a:lnTo>
                  <a:lnTo>
                    <a:pt x="2820" y="228"/>
                  </a:lnTo>
                  <a:lnTo>
                    <a:pt x="2820" y="210"/>
                  </a:lnTo>
                  <a:lnTo>
                    <a:pt x="2802" y="210"/>
                  </a:lnTo>
                  <a:lnTo>
                    <a:pt x="2790" y="216"/>
                  </a:lnTo>
                  <a:lnTo>
                    <a:pt x="2736" y="216"/>
                  </a:lnTo>
                  <a:lnTo>
                    <a:pt x="2724" y="222"/>
                  </a:lnTo>
                  <a:lnTo>
                    <a:pt x="2712" y="222"/>
                  </a:lnTo>
                  <a:lnTo>
                    <a:pt x="2700" y="228"/>
                  </a:lnTo>
                  <a:lnTo>
                    <a:pt x="2682" y="228"/>
                  </a:lnTo>
                  <a:lnTo>
                    <a:pt x="2658" y="216"/>
                  </a:lnTo>
                  <a:lnTo>
                    <a:pt x="2658" y="210"/>
                  </a:lnTo>
                  <a:lnTo>
                    <a:pt x="2652" y="204"/>
                  </a:lnTo>
                  <a:lnTo>
                    <a:pt x="2652" y="198"/>
                  </a:lnTo>
                  <a:lnTo>
                    <a:pt x="2646" y="192"/>
                  </a:lnTo>
                  <a:lnTo>
                    <a:pt x="2628" y="192"/>
                  </a:lnTo>
                  <a:lnTo>
                    <a:pt x="2622" y="198"/>
                  </a:lnTo>
                  <a:lnTo>
                    <a:pt x="2616" y="198"/>
                  </a:lnTo>
                  <a:lnTo>
                    <a:pt x="2610" y="192"/>
                  </a:lnTo>
                  <a:lnTo>
                    <a:pt x="2670" y="162"/>
                  </a:lnTo>
                  <a:lnTo>
                    <a:pt x="2658" y="150"/>
                  </a:lnTo>
                  <a:lnTo>
                    <a:pt x="2640" y="150"/>
                  </a:lnTo>
                  <a:lnTo>
                    <a:pt x="2628" y="162"/>
                  </a:lnTo>
                  <a:lnTo>
                    <a:pt x="2616" y="168"/>
                  </a:lnTo>
                  <a:lnTo>
                    <a:pt x="2610" y="174"/>
                  </a:lnTo>
                  <a:lnTo>
                    <a:pt x="2604" y="174"/>
                  </a:lnTo>
                  <a:lnTo>
                    <a:pt x="2580" y="186"/>
                  </a:lnTo>
                  <a:lnTo>
                    <a:pt x="2562" y="192"/>
                  </a:lnTo>
                  <a:lnTo>
                    <a:pt x="2538" y="204"/>
                  </a:lnTo>
                  <a:lnTo>
                    <a:pt x="2508" y="204"/>
                  </a:lnTo>
                  <a:lnTo>
                    <a:pt x="2496" y="216"/>
                  </a:lnTo>
                  <a:lnTo>
                    <a:pt x="2448" y="216"/>
                  </a:lnTo>
                  <a:lnTo>
                    <a:pt x="2448" y="210"/>
                  </a:lnTo>
                  <a:lnTo>
                    <a:pt x="2454" y="204"/>
                  </a:lnTo>
                  <a:lnTo>
                    <a:pt x="2460" y="204"/>
                  </a:lnTo>
                  <a:lnTo>
                    <a:pt x="2472" y="192"/>
                  </a:lnTo>
                  <a:lnTo>
                    <a:pt x="2460" y="192"/>
                  </a:lnTo>
                  <a:lnTo>
                    <a:pt x="2448" y="198"/>
                  </a:lnTo>
                  <a:lnTo>
                    <a:pt x="2412" y="198"/>
                  </a:lnTo>
                  <a:lnTo>
                    <a:pt x="2400" y="204"/>
                  </a:lnTo>
                  <a:lnTo>
                    <a:pt x="2394" y="210"/>
                  </a:lnTo>
                  <a:lnTo>
                    <a:pt x="2370" y="210"/>
                  </a:lnTo>
                  <a:lnTo>
                    <a:pt x="2370" y="198"/>
                  </a:lnTo>
                  <a:lnTo>
                    <a:pt x="2400" y="180"/>
                  </a:lnTo>
                  <a:lnTo>
                    <a:pt x="2442" y="168"/>
                  </a:lnTo>
                  <a:lnTo>
                    <a:pt x="2502" y="138"/>
                  </a:lnTo>
                  <a:lnTo>
                    <a:pt x="2520" y="126"/>
                  </a:lnTo>
                  <a:lnTo>
                    <a:pt x="2544" y="120"/>
                  </a:lnTo>
                  <a:lnTo>
                    <a:pt x="2574" y="114"/>
                  </a:lnTo>
                  <a:lnTo>
                    <a:pt x="2580" y="114"/>
                  </a:lnTo>
                  <a:lnTo>
                    <a:pt x="2592" y="108"/>
                  </a:lnTo>
                  <a:lnTo>
                    <a:pt x="2574" y="108"/>
                  </a:lnTo>
                  <a:lnTo>
                    <a:pt x="2562" y="102"/>
                  </a:lnTo>
                  <a:lnTo>
                    <a:pt x="2556" y="102"/>
                  </a:lnTo>
                  <a:lnTo>
                    <a:pt x="2556" y="96"/>
                  </a:lnTo>
                  <a:lnTo>
                    <a:pt x="2508" y="102"/>
                  </a:lnTo>
                  <a:lnTo>
                    <a:pt x="2508" y="84"/>
                  </a:lnTo>
                  <a:lnTo>
                    <a:pt x="2502" y="90"/>
                  </a:lnTo>
                  <a:lnTo>
                    <a:pt x="2490" y="96"/>
                  </a:lnTo>
                  <a:lnTo>
                    <a:pt x="2478" y="108"/>
                  </a:lnTo>
                  <a:lnTo>
                    <a:pt x="2466" y="108"/>
                  </a:lnTo>
                  <a:lnTo>
                    <a:pt x="2448" y="90"/>
                  </a:lnTo>
                  <a:lnTo>
                    <a:pt x="2418" y="90"/>
                  </a:lnTo>
                  <a:lnTo>
                    <a:pt x="2412" y="84"/>
                  </a:lnTo>
                  <a:lnTo>
                    <a:pt x="2412" y="78"/>
                  </a:lnTo>
                  <a:lnTo>
                    <a:pt x="2400" y="66"/>
                  </a:lnTo>
                  <a:lnTo>
                    <a:pt x="2388" y="60"/>
                  </a:lnTo>
                  <a:lnTo>
                    <a:pt x="2376" y="60"/>
                  </a:lnTo>
                  <a:lnTo>
                    <a:pt x="2364" y="72"/>
                  </a:lnTo>
                  <a:lnTo>
                    <a:pt x="2364" y="78"/>
                  </a:lnTo>
                  <a:lnTo>
                    <a:pt x="2352" y="78"/>
                  </a:lnTo>
                  <a:lnTo>
                    <a:pt x="2334" y="60"/>
                  </a:lnTo>
                  <a:lnTo>
                    <a:pt x="2322" y="60"/>
                  </a:lnTo>
                  <a:lnTo>
                    <a:pt x="2304" y="54"/>
                  </a:lnTo>
                  <a:lnTo>
                    <a:pt x="2292" y="48"/>
                  </a:lnTo>
                  <a:lnTo>
                    <a:pt x="2292" y="36"/>
                  </a:lnTo>
                  <a:lnTo>
                    <a:pt x="2298" y="24"/>
                  </a:lnTo>
                  <a:lnTo>
                    <a:pt x="2310" y="12"/>
                  </a:lnTo>
                  <a:lnTo>
                    <a:pt x="2298" y="0"/>
                  </a:lnTo>
                  <a:lnTo>
                    <a:pt x="2286" y="6"/>
                  </a:lnTo>
                  <a:lnTo>
                    <a:pt x="2280" y="12"/>
                  </a:lnTo>
                  <a:lnTo>
                    <a:pt x="2274" y="24"/>
                  </a:lnTo>
                  <a:lnTo>
                    <a:pt x="2274" y="30"/>
                  </a:lnTo>
                  <a:lnTo>
                    <a:pt x="2268" y="42"/>
                  </a:lnTo>
                  <a:lnTo>
                    <a:pt x="558" y="42"/>
                  </a:lnTo>
                  <a:lnTo>
                    <a:pt x="552" y="54"/>
                  </a:lnTo>
                  <a:lnTo>
                    <a:pt x="552" y="60"/>
                  </a:lnTo>
                  <a:lnTo>
                    <a:pt x="546" y="60"/>
                  </a:lnTo>
                  <a:lnTo>
                    <a:pt x="546" y="72"/>
                  </a:lnTo>
                  <a:lnTo>
                    <a:pt x="540" y="84"/>
                  </a:lnTo>
                  <a:lnTo>
                    <a:pt x="540" y="108"/>
                  </a:lnTo>
                  <a:lnTo>
                    <a:pt x="510" y="126"/>
                  </a:lnTo>
                  <a:lnTo>
                    <a:pt x="504" y="144"/>
                  </a:lnTo>
                  <a:lnTo>
                    <a:pt x="486" y="168"/>
                  </a:lnTo>
                  <a:lnTo>
                    <a:pt x="438" y="180"/>
                  </a:lnTo>
                  <a:lnTo>
                    <a:pt x="474" y="162"/>
                  </a:lnTo>
                  <a:lnTo>
                    <a:pt x="450" y="162"/>
                  </a:lnTo>
                  <a:lnTo>
                    <a:pt x="456" y="156"/>
                  </a:lnTo>
                  <a:lnTo>
                    <a:pt x="462" y="144"/>
                  </a:lnTo>
                  <a:lnTo>
                    <a:pt x="486" y="120"/>
                  </a:lnTo>
                  <a:lnTo>
                    <a:pt x="492" y="120"/>
                  </a:lnTo>
                  <a:lnTo>
                    <a:pt x="504" y="108"/>
                  </a:lnTo>
                  <a:lnTo>
                    <a:pt x="504" y="102"/>
                  </a:lnTo>
                  <a:lnTo>
                    <a:pt x="456" y="102"/>
                  </a:lnTo>
                  <a:lnTo>
                    <a:pt x="450" y="96"/>
                  </a:lnTo>
                  <a:lnTo>
                    <a:pt x="438" y="90"/>
                  </a:lnTo>
                  <a:lnTo>
                    <a:pt x="432" y="84"/>
                  </a:lnTo>
                  <a:lnTo>
                    <a:pt x="420" y="78"/>
                  </a:lnTo>
                  <a:lnTo>
                    <a:pt x="402" y="78"/>
                  </a:lnTo>
                  <a:lnTo>
                    <a:pt x="390" y="90"/>
                  </a:lnTo>
                  <a:lnTo>
                    <a:pt x="384" y="102"/>
                  </a:lnTo>
                  <a:lnTo>
                    <a:pt x="384" y="150"/>
                  </a:lnTo>
                  <a:lnTo>
                    <a:pt x="378" y="156"/>
                  </a:lnTo>
                  <a:lnTo>
                    <a:pt x="378" y="162"/>
                  </a:lnTo>
                  <a:lnTo>
                    <a:pt x="360" y="180"/>
                  </a:lnTo>
                  <a:lnTo>
                    <a:pt x="390" y="186"/>
                  </a:lnTo>
                  <a:lnTo>
                    <a:pt x="360" y="192"/>
                  </a:lnTo>
                  <a:lnTo>
                    <a:pt x="366" y="210"/>
                  </a:lnTo>
                  <a:lnTo>
                    <a:pt x="348" y="234"/>
                  </a:lnTo>
                  <a:lnTo>
                    <a:pt x="354" y="234"/>
                  </a:lnTo>
                  <a:lnTo>
                    <a:pt x="366" y="246"/>
                  </a:lnTo>
                  <a:lnTo>
                    <a:pt x="372" y="246"/>
                  </a:lnTo>
                  <a:lnTo>
                    <a:pt x="378" y="252"/>
                  </a:lnTo>
                  <a:lnTo>
                    <a:pt x="330" y="252"/>
                  </a:lnTo>
                  <a:lnTo>
                    <a:pt x="324" y="264"/>
                  </a:lnTo>
                  <a:lnTo>
                    <a:pt x="306" y="282"/>
                  </a:lnTo>
                  <a:lnTo>
                    <a:pt x="270" y="342"/>
                  </a:lnTo>
                  <a:lnTo>
                    <a:pt x="258" y="360"/>
                  </a:lnTo>
                  <a:lnTo>
                    <a:pt x="216" y="402"/>
                  </a:lnTo>
                  <a:lnTo>
                    <a:pt x="192" y="432"/>
                  </a:lnTo>
                  <a:lnTo>
                    <a:pt x="174" y="456"/>
                  </a:lnTo>
                  <a:lnTo>
                    <a:pt x="168" y="462"/>
                  </a:lnTo>
                  <a:lnTo>
                    <a:pt x="174" y="480"/>
                  </a:lnTo>
                  <a:lnTo>
                    <a:pt x="168" y="480"/>
                  </a:lnTo>
                  <a:lnTo>
                    <a:pt x="162" y="486"/>
                  </a:lnTo>
                  <a:lnTo>
                    <a:pt x="150" y="492"/>
                  </a:lnTo>
                  <a:lnTo>
                    <a:pt x="126" y="516"/>
                  </a:lnTo>
                  <a:lnTo>
                    <a:pt x="120" y="534"/>
                  </a:lnTo>
                  <a:lnTo>
                    <a:pt x="120" y="546"/>
                  </a:lnTo>
                  <a:lnTo>
                    <a:pt x="102" y="570"/>
                  </a:lnTo>
                  <a:lnTo>
                    <a:pt x="96" y="618"/>
                  </a:lnTo>
                  <a:lnTo>
                    <a:pt x="90" y="630"/>
                  </a:lnTo>
                  <a:lnTo>
                    <a:pt x="72" y="648"/>
                  </a:lnTo>
                  <a:lnTo>
                    <a:pt x="60" y="672"/>
                  </a:lnTo>
                  <a:lnTo>
                    <a:pt x="54" y="678"/>
                  </a:lnTo>
                  <a:lnTo>
                    <a:pt x="42" y="684"/>
                  </a:lnTo>
                  <a:lnTo>
                    <a:pt x="18" y="708"/>
                  </a:lnTo>
                  <a:lnTo>
                    <a:pt x="12" y="720"/>
                  </a:lnTo>
                  <a:lnTo>
                    <a:pt x="18" y="732"/>
                  </a:lnTo>
                  <a:lnTo>
                    <a:pt x="36" y="750"/>
                  </a:lnTo>
                  <a:lnTo>
                    <a:pt x="36" y="762"/>
                  </a:lnTo>
                  <a:lnTo>
                    <a:pt x="30" y="774"/>
                  </a:lnTo>
                  <a:lnTo>
                    <a:pt x="18" y="786"/>
                  </a:lnTo>
                  <a:lnTo>
                    <a:pt x="12" y="798"/>
                  </a:lnTo>
                  <a:lnTo>
                    <a:pt x="6" y="816"/>
                  </a:lnTo>
                  <a:lnTo>
                    <a:pt x="0" y="828"/>
                  </a:lnTo>
                  <a:lnTo>
                    <a:pt x="0" y="840"/>
                  </a:lnTo>
                  <a:lnTo>
                    <a:pt x="6" y="852"/>
                  </a:lnTo>
                  <a:lnTo>
                    <a:pt x="12" y="870"/>
                  </a:lnTo>
                  <a:lnTo>
                    <a:pt x="12" y="882"/>
                  </a:lnTo>
                  <a:lnTo>
                    <a:pt x="18" y="900"/>
                  </a:lnTo>
                  <a:lnTo>
                    <a:pt x="24" y="906"/>
                  </a:lnTo>
                  <a:lnTo>
                    <a:pt x="24" y="912"/>
                  </a:lnTo>
                  <a:lnTo>
                    <a:pt x="48" y="894"/>
                  </a:lnTo>
                  <a:lnTo>
                    <a:pt x="114" y="900"/>
                  </a:lnTo>
                  <a:lnTo>
                    <a:pt x="78" y="900"/>
                  </a:lnTo>
                  <a:lnTo>
                    <a:pt x="66" y="906"/>
                  </a:lnTo>
                  <a:lnTo>
                    <a:pt x="60" y="906"/>
                  </a:lnTo>
                  <a:lnTo>
                    <a:pt x="48" y="918"/>
                  </a:lnTo>
                  <a:lnTo>
                    <a:pt x="48" y="942"/>
                  </a:lnTo>
                  <a:lnTo>
                    <a:pt x="30" y="924"/>
                  </a:lnTo>
                  <a:lnTo>
                    <a:pt x="24" y="924"/>
                  </a:lnTo>
                  <a:lnTo>
                    <a:pt x="18" y="936"/>
                  </a:lnTo>
                  <a:lnTo>
                    <a:pt x="18" y="942"/>
                  </a:lnTo>
                  <a:lnTo>
                    <a:pt x="12" y="960"/>
                  </a:lnTo>
                  <a:lnTo>
                    <a:pt x="12" y="978"/>
                  </a:lnTo>
                  <a:lnTo>
                    <a:pt x="18" y="984"/>
                  </a:lnTo>
                  <a:lnTo>
                    <a:pt x="30" y="990"/>
                  </a:lnTo>
                  <a:lnTo>
                    <a:pt x="42" y="990"/>
                  </a:lnTo>
                  <a:lnTo>
                    <a:pt x="42" y="1002"/>
                  </a:lnTo>
                  <a:lnTo>
                    <a:pt x="36" y="1008"/>
                  </a:lnTo>
                  <a:lnTo>
                    <a:pt x="36" y="1014"/>
                  </a:lnTo>
                  <a:lnTo>
                    <a:pt x="18" y="1032"/>
                  </a:lnTo>
                  <a:lnTo>
                    <a:pt x="12" y="1044"/>
                  </a:lnTo>
                  <a:lnTo>
                    <a:pt x="12" y="1056"/>
                  </a:lnTo>
                  <a:lnTo>
                    <a:pt x="18" y="1068"/>
                  </a:lnTo>
                  <a:lnTo>
                    <a:pt x="24" y="1074"/>
                  </a:lnTo>
                  <a:lnTo>
                    <a:pt x="36" y="1098"/>
                  </a:lnTo>
                  <a:lnTo>
                    <a:pt x="42" y="1104"/>
                  </a:lnTo>
                  <a:lnTo>
                    <a:pt x="54" y="1128"/>
                  </a:lnTo>
                  <a:lnTo>
                    <a:pt x="60" y="1134"/>
                  </a:lnTo>
                  <a:lnTo>
                    <a:pt x="60" y="1146"/>
                  </a:lnTo>
                  <a:lnTo>
                    <a:pt x="54" y="1152"/>
                  </a:lnTo>
                  <a:lnTo>
                    <a:pt x="42" y="1176"/>
                  </a:lnTo>
                  <a:lnTo>
                    <a:pt x="36" y="1182"/>
                  </a:lnTo>
                  <a:lnTo>
                    <a:pt x="36" y="1188"/>
                  </a:lnTo>
                  <a:lnTo>
                    <a:pt x="42" y="1194"/>
                  </a:lnTo>
                  <a:lnTo>
                    <a:pt x="54" y="1194"/>
                  </a:lnTo>
                  <a:lnTo>
                    <a:pt x="72" y="1200"/>
                  </a:lnTo>
                  <a:lnTo>
                    <a:pt x="102" y="1200"/>
                  </a:lnTo>
                  <a:lnTo>
                    <a:pt x="102" y="1212"/>
                  </a:lnTo>
                  <a:lnTo>
                    <a:pt x="120" y="1230"/>
                  </a:lnTo>
                  <a:lnTo>
                    <a:pt x="132" y="1230"/>
                  </a:lnTo>
                  <a:lnTo>
                    <a:pt x="144" y="1224"/>
                  </a:lnTo>
                  <a:lnTo>
                    <a:pt x="150" y="1224"/>
                  </a:lnTo>
                  <a:lnTo>
                    <a:pt x="162" y="1218"/>
                  </a:lnTo>
                  <a:lnTo>
                    <a:pt x="168" y="1248"/>
                  </a:lnTo>
                  <a:lnTo>
                    <a:pt x="174" y="1248"/>
                  </a:lnTo>
                  <a:lnTo>
                    <a:pt x="180" y="1254"/>
                  </a:lnTo>
                  <a:lnTo>
                    <a:pt x="204" y="1266"/>
                  </a:lnTo>
                  <a:lnTo>
                    <a:pt x="216" y="1290"/>
                  </a:lnTo>
                  <a:lnTo>
                    <a:pt x="216" y="1314"/>
                  </a:lnTo>
                  <a:lnTo>
                    <a:pt x="210" y="1338"/>
                  </a:lnTo>
                  <a:lnTo>
                    <a:pt x="216" y="1344"/>
                  </a:lnTo>
                  <a:lnTo>
                    <a:pt x="360" y="1338"/>
                  </a:lnTo>
                  <a:lnTo>
                    <a:pt x="354" y="1344"/>
                  </a:lnTo>
                  <a:lnTo>
                    <a:pt x="354" y="1350"/>
                  </a:lnTo>
                  <a:lnTo>
                    <a:pt x="360" y="1350"/>
                  </a:lnTo>
                  <a:lnTo>
                    <a:pt x="570" y="1446"/>
                  </a:lnTo>
                  <a:lnTo>
                    <a:pt x="774" y="1446"/>
                  </a:lnTo>
                  <a:lnTo>
                    <a:pt x="774" y="1440"/>
                  </a:lnTo>
                  <a:lnTo>
                    <a:pt x="780" y="1428"/>
                  </a:lnTo>
                  <a:lnTo>
                    <a:pt x="780" y="1410"/>
                  </a:lnTo>
                  <a:lnTo>
                    <a:pt x="786" y="1404"/>
                  </a:lnTo>
                  <a:lnTo>
                    <a:pt x="900" y="1404"/>
                  </a:lnTo>
                  <a:lnTo>
                    <a:pt x="912" y="1416"/>
                  </a:lnTo>
                  <a:lnTo>
                    <a:pt x="912" y="1440"/>
                  </a:lnTo>
                  <a:lnTo>
                    <a:pt x="942" y="1452"/>
                  </a:lnTo>
                  <a:lnTo>
                    <a:pt x="948" y="1482"/>
                  </a:lnTo>
                  <a:lnTo>
                    <a:pt x="960" y="1482"/>
                  </a:lnTo>
                  <a:lnTo>
                    <a:pt x="972" y="1488"/>
                  </a:lnTo>
                  <a:lnTo>
                    <a:pt x="984" y="1500"/>
                  </a:lnTo>
                  <a:lnTo>
                    <a:pt x="990" y="1512"/>
                  </a:lnTo>
                  <a:lnTo>
                    <a:pt x="990" y="1554"/>
                  </a:lnTo>
                  <a:lnTo>
                    <a:pt x="984" y="1566"/>
                  </a:lnTo>
                  <a:lnTo>
                    <a:pt x="984" y="1578"/>
                  </a:lnTo>
                  <a:lnTo>
                    <a:pt x="1014" y="1608"/>
                  </a:lnTo>
                  <a:lnTo>
                    <a:pt x="1026" y="1614"/>
                  </a:lnTo>
                  <a:lnTo>
                    <a:pt x="1044" y="1626"/>
                  </a:lnTo>
                  <a:lnTo>
                    <a:pt x="1056" y="1626"/>
                  </a:lnTo>
                  <a:lnTo>
                    <a:pt x="1080" y="1614"/>
                  </a:lnTo>
                  <a:lnTo>
                    <a:pt x="1092" y="1602"/>
                  </a:lnTo>
                  <a:lnTo>
                    <a:pt x="1104" y="1578"/>
                  </a:lnTo>
                  <a:lnTo>
                    <a:pt x="1116" y="1566"/>
                  </a:lnTo>
                  <a:lnTo>
                    <a:pt x="1134" y="1566"/>
                  </a:lnTo>
                  <a:lnTo>
                    <a:pt x="1134" y="1560"/>
                  </a:lnTo>
                  <a:lnTo>
                    <a:pt x="1152" y="1566"/>
                  </a:lnTo>
                  <a:lnTo>
                    <a:pt x="1194" y="1566"/>
                  </a:lnTo>
                  <a:lnTo>
                    <a:pt x="1200" y="1578"/>
                  </a:lnTo>
                  <a:lnTo>
                    <a:pt x="1206" y="1584"/>
                  </a:lnTo>
                  <a:lnTo>
                    <a:pt x="1212" y="1596"/>
                  </a:lnTo>
                  <a:lnTo>
                    <a:pt x="1224" y="1608"/>
                  </a:lnTo>
                  <a:lnTo>
                    <a:pt x="1230" y="1620"/>
                  </a:lnTo>
                  <a:lnTo>
                    <a:pt x="1242" y="1632"/>
                  </a:lnTo>
                  <a:lnTo>
                    <a:pt x="1242" y="1656"/>
                  </a:lnTo>
                  <a:lnTo>
                    <a:pt x="1236" y="1668"/>
                  </a:lnTo>
                  <a:lnTo>
                    <a:pt x="1236" y="1680"/>
                  </a:lnTo>
                  <a:lnTo>
                    <a:pt x="1242" y="1692"/>
                  </a:lnTo>
                  <a:lnTo>
                    <a:pt x="1254" y="1698"/>
                  </a:lnTo>
                  <a:lnTo>
                    <a:pt x="1254" y="1722"/>
                  </a:lnTo>
                  <a:lnTo>
                    <a:pt x="1260" y="1728"/>
                  </a:lnTo>
                  <a:lnTo>
                    <a:pt x="1272" y="1734"/>
                  </a:lnTo>
                  <a:lnTo>
                    <a:pt x="1284" y="1746"/>
                  </a:lnTo>
                  <a:lnTo>
                    <a:pt x="1284" y="1752"/>
                  </a:lnTo>
                  <a:lnTo>
                    <a:pt x="1278" y="1758"/>
                  </a:lnTo>
                  <a:lnTo>
                    <a:pt x="1272" y="1758"/>
                  </a:lnTo>
                  <a:lnTo>
                    <a:pt x="1272" y="1794"/>
                  </a:lnTo>
                  <a:lnTo>
                    <a:pt x="1284" y="1806"/>
                  </a:lnTo>
                  <a:lnTo>
                    <a:pt x="1284" y="1836"/>
                  </a:lnTo>
                  <a:lnTo>
                    <a:pt x="1296" y="1848"/>
                  </a:lnTo>
                  <a:lnTo>
                    <a:pt x="1314" y="1854"/>
                  </a:lnTo>
                  <a:lnTo>
                    <a:pt x="1326" y="1854"/>
                  </a:lnTo>
                  <a:lnTo>
                    <a:pt x="1338" y="1866"/>
                  </a:lnTo>
                  <a:lnTo>
                    <a:pt x="1380" y="1866"/>
                  </a:lnTo>
                  <a:lnTo>
                    <a:pt x="1380" y="1872"/>
                  </a:lnTo>
                  <a:lnTo>
                    <a:pt x="1386" y="1884"/>
                  </a:lnTo>
                  <a:lnTo>
                    <a:pt x="1410" y="1884"/>
                  </a:lnTo>
                  <a:lnTo>
                    <a:pt x="1410" y="1878"/>
                  </a:lnTo>
                  <a:lnTo>
                    <a:pt x="1398" y="1806"/>
                  </a:lnTo>
                  <a:lnTo>
                    <a:pt x="1416" y="1788"/>
                  </a:lnTo>
                  <a:lnTo>
                    <a:pt x="1398" y="1776"/>
                  </a:lnTo>
                  <a:lnTo>
                    <a:pt x="1398" y="1758"/>
                  </a:lnTo>
                  <a:lnTo>
                    <a:pt x="1404" y="1764"/>
                  </a:lnTo>
                  <a:lnTo>
                    <a:pt x="1422" y="1764"/>
                  </a:lnTo>
                  <a:lnTo>
                    <a:pt x="1428" y="1758"/>
                  </a:lnTo>
                  <a:lnTo>
                    <a:pt x="1428" y="1728"/>
                  </a:lnTo>
                  <a:lnTo>
                    <a:pt x="1452" y="1722"/>
                  </a:lnTo>
                  <a:lnTo>
                    <a:pt x="1458" y="1698"/>
                  </a:lnTo>
                  <a:lnTo>
                    <a:pt x="1476" y="1704"/>
                  </a:lnTo>
                  <a:lnTo>
                    <a:pt x="1494" y="1692"/>
                  </a:lnTo>
                  <a:lnTo>
                    <a:pt x="1488" y="1668"/>
                  </a:lnTo>
                  <a:lnTo>
                    <a:pt x="1500" y="1680"/>
                  </a:lnTo>
                  <a:lnTo>
                    <a:pt x="1500" y="1668"/>
                  </a:lnTo>
                  <a:lnTo>
                    <a:pt x="1506" y="1656"/>
                  </a:lnTo>
                  <a:lnTo>
                    <a:pt x="1512" y="1650"/>
                  </a:lnTo>
                  <a:lnTo>
                    <a:pt x="1518" y="1650"/>
                  </a:lnTo>
                  <a:lnTo>
                    <a:pt x="1524" y="1656"/>
                  </a:lnTo>
                  <a:lnTo>
                    <a:pt x="1524" y="1668"/>
                  </a:lnTo>
                  <a:lnTo>
                    <a:pt x="1542" y="1668"/>
                  </a:lnTo>
                  <a:lnTo>
                    <a:pt x="1554" y="1662"/>
                  </a:lnTo>
                  <a:lnTo>
                    <a:pt x="1572" y="1656"/>
                  </a:lnTo>
                  <a:lnTo>
                    <a:pt x="1596" y="1644"/>
                  </a:lnTo>
                  <a:lnTo>
                    <a:pt x="1602" y="1638"/>
                  </a:lnTo>
                  <a:lnTo>
                    <a:pt x="1608" y="1626"/>
                  </a:lnTo>
                  <a:lnTo>
                    <a:pt x="1620" y="1620"/>
                  </a:lnTo>
                  <a:lnTo>
                    <a:pt x="1626" y="1608"/>
                  </a:lnTo>
                  <a:lnTo>
                    <a:pt x="1632" y="1602"/>
                  </a:lnTo>
                  <a:lnTo>
                    <a:pt x="1632" y="1590"/>
                  </a:lnTo>
                  <a:lnTo>
                    <a:pt x="1626" y="1584"/>
                  </a:lnTo>
                  <a:lnTo>
                    <a:pt x="1626" y="1566"/>
                  </a:lnTo>
                  <a:lnTo>
                    <a:pt x="1632" y="1566"/>
                  </a:lnTo>
                  <a:lnTo>
                    <a:pt x="1656" y="1578"/>
                  </a:lnTo>
                  <a:lnTo>
                    <a:pt x="1662" y="1584"/>
                  </a:lnTo>
                  <a:lnTo>
                    <a:pt x="1674" y="1590"/>
                  </a:lnTo>
                  <a:lnTo>
                    <a:pt x="1686" y="1590"/>
                  </a:lnTo>
                  <a:lnTo>
                    <a:pt x="1692" y="1584"/>
                  </a:lnTo>
                  <a:lnTo>
                    <a:pt x="1710" y="1548"/>
                  </a:lnTo>
                  <a:lnTo>
                    <a:pt x="1716" y="1548"/>
                  </a:lnTo>
                  <a:lnTo>
                    <a:pt x="1734" y="1566"/>
                  </a:lnTo>
                  <a:lnTo>
                    <a:pt x="1746" y="1566"/>
                  </a:lnTo>
                  <a:lnTo>
                    <a:pt x="1752" y="1560"/>
                  </a:lnTo>
                  <a:lnTo>
                    <a:pt x="1758" y="1548"/>
                  </a:lnTo>
                  <a:lnTo>
                    <a:pt x="1764" y="1542"/>
                  </a:lnTo>
                  <a:lnTo>
                    <a:pt x="1770" y="1554"/>
                  </a:lnTo>
                  <a:lnTo>
                    <a:pt x="1776" y="1560"/>
                  </a:lnTo>
                  <a:lnTo>
                    <a:pt x="1782" y="1572"/>
                  </a:lnTo>
                  <a:lnTo>
                    <a:pt x="1794" y="1578"/>
                  </a:lnTo>
                  <a:lnTo>
                    <a:pt x="1800" y="1584"/>
                  </a:lnTo>
                  <a:lnTo>
                    <a:pt x="1818" y="1584"/>
                  </a:lnTo>
                  <a:lnTo>
                    <a:pt x="1824" y="1578"/>
                  </a:lnTo>
                  <a:lnTo>
                    <a:pt x="1830" y="1566"/>
                  </a:lnTo>
                  <a:lnTo>
                    <a:pt x="1842" y="1554"/>
                  </a:lnTo>
                  <a:lnTo>
                    <a:pt x="1848" y="1554"/>
                  </a:lnTo>
                  <a:lnTo>
                    <a:pt x="1860" y="1560"/>
                  </a:lnTo>
                  <a:lnTo>
                    <a:pt x="1872" y="1572"/>
                  </a:lnTo>
                  <a:lnTo>
                    <a:pt x="1872" y="1584"/>
                  </a:lnTo>
                  <a:lnTo>
                    <a:pt x="1878" y="1596"/>
                  </a:lnTo>
                  <a:lnTo>
                    <a:pt x="1878" y="1614"/>
                  </a:lnTo>
                  <a:lnTo>
                    <a:pt x="1914" y="1614"/>
                  </a:lnTo>
                  <a:lnTo>
                    <a:pt x="1920" y="1620"/>
                  </a:lnTo>
                  <a:lnTo>
                    <a:pt x="1926" y="1620"/>
                  </a:lnTo>
                  <a:lnTo>
                    <a:pt x="1926" y="1608"/>
                  </a:lnTo>
                  <a:lnTo>
                    <a:pt x="1932" y="1602"/>
                  </a:lnTo>
                  <a:lnTo>
                    <a:pt x="1932" y="1608"/>
                  </a:lnTo>
                  <a:lnTo>
                    <a:pt x="1956" y="1632"/>
                  </a:lnTo>
                  <a:lnTo>
                    <a:pt x="1962" y="1626"/>
                  </a:lnTo>
                  <a:lnTo>
                    <a:pt x="1968" y="1614"/>
                  </a:lnTo>
                  <a:lnTo>
                    <a:pt x="1968" y="1596"/>
                  </a:lnTo>
                  <a:lnTo>
                    <a:pt x="1962" y="1584"/>
                  </a:lnTo>
                  <a:lnTo>
                    <a:pt x="1980" y="1590"/>
                  </a:lnTo>
                  <a:lnTo>
                    <a:pt x="1992" y="1608"/>
                  </a:lnTo>
                  <a:lnTo>
                    <a:pt x="2004" y="1614"/>
                  </a:lnTo>
                  <a:lnTo>
                    <a:pt x="2004" y="1626"/>
                  </a:lnTo>
                  <a:lnTo>
                    <a:pt x="2010" y="1626"/>
                  </a:lnTo>
                  <a:lnTo>
                    <a:pt x="2016" y="1632"/>
                  </a:lnTo>
                  <a:lnTo>
                    <a:pt x="2028" y="1632"/>
                  </a:lnTo>
                  <a:lnTo>
                    <a:pt x="2034" y="1626"/>
                  </a:lnTo>
                  <a:lnTo>
                    <a:pt x="2034" y="1620"/>
                  </a:lnTo>
                  <a:lnTo>
                    <a:pt x="2028" y="1608"/>
                  </a:lnTo>
                  <a:lnTo>
                    <a:pt x="2022" y="1602"/>
                  </a:lnTo>
                  <a:lnTo>
                    <a:pt x="2010" y="1596"/>
                  </a:lnTo>
                  <a:lnTo>
                    <a:pt x="2004" y="1590"/>
                  </a:lnTo>
                  <a:lnTo>
                    <a:pt x="1998" y="1578"/>
                  </a:lnTo>
                  <a:lnTo>
                    <a:pt x="2010" y="1578"/>
                  </a:lnTo>
                  <a:lnTo>
                    <a:pt x="2022" y="1566"/>
                  </a:lnTo>
                  <a:lnTo>
                    <a:pt x="2022" y="1554"/>
                  </a:lnTo>
                  <a:lnTo>
                    <a:pt x="2016" y="1548"/>
                  </a:lnTo>
                  <a:lnTo>
                    <a:pt x="1968" y="1548"/>
                  </a:lnTo>
                  <a:lnTo>
                    <a:pt x="1962" y="1542"/>
                  </a:lnTo>
                  <a:lnTo>
                    <a:pt x="1962" y="1530"/>
                  </a:lnTo>
                  <a:lnTo>
                    <a:pt x="1968" y="1524"/>
                  </a:lnTo>
                  <a:lnTo>
                    <a:pt x="1986" y="1524"/>
                  </a:lnTo>
                  <a:lnTo>
                    <a:pt x="1998" y="1530"/>
                  </a:lnTo>
                  <a:lnTo>
                    <a:pt x="2004" y="1530"/>
                  </a:lnTo>
                  <a:lnTo>
                    <a:pt x="2016" y="1536"/>
                  </a:lnTo>
                  <a:lnTo>
                    <a:pt x="2028" y="1536"/>
                  </a:lnTo>
                  <a:lnTo>
                    <a:pt x="2064" y="1518"/>
                  </a:lnTo>
                  <a:lnTo>
                    <a:pt x="2070" y="1512"/>
                  </a:lnTo>
                  <a:lnTo>
                    <a:pt x="2082" y="1512"/>
                  </a:lnTo>
                  <a:lnTo>
                    <a:pt x="2082" y="1518"/>
                  </a:lnTo>
                  <a:lnTo>
                    <a:pt x="2106" y="1518"/>
                  </a:lnTo>
                  <a:lnTo>
                    <a:pt x="2118" y="1512"/>
                  </a:lnTo>
                  <a:lnTo>
                    <a:pt x="2124" y="1512"/>
                  </a:lnTo>
                  <a:lnTo>
                    <a:pt x="2130" y="1506"/>
                  </a:lnTo>
                  <a:lnTo>
                    <a:pt x="2130" y="1500"/>
                  </a:lnTo>
                  <a:lnTo>
                    <a:pt x="2136" y="1488"/>
                  </a:lnTo>
                  <a:lnTo>
                    <a:pt x="2136" y="1482"/>
                  </a:lnTo>
                  <a:lnTo>
                    <a:pt x="2142" y="1482"/>
                  </a:lnTo>
                  <a:lnTo>
                    <a:pt x="2142" y="1488"/>
                  </a:lnTo>
                  <a:lnTo>
                    <a:pt x="2148" y="1500"/>
                  </a:lnTo>
                  <a:lnTo>
                    <a:pt x="2148" y="1524"/>
                  </a:lnTo>
                  <a:lnTo>
                    <a:pt x="2154" y="1524"/>
                  </a:lnTo>
                  <a:lnTo>
                    <a:pt x="2160" y="1518"/>
                  </a:lnTo>
                  <a:lnTo>
                    <a:pt x="2172" y="1512"/>
                  </a:lnTo>
                  <a:lnTo>
                    <a:pt x="2190" y="1512"/>
                  </a:lnTo>
                  <a:lnTo>
                    <a:pt x="2202" y="1506"/>
                  </a:lnTo>
                  <a:lnTo>
                    <a:pt x="2214" y="1506"/>
                  </a:lnTo>
                  <a:lnTo>
                    <a:pt x="2226" y="1512"/>
                  </a:lnTo>
                  <a:lnTo>
                    <a:pt x="2232" y="1524"/>
                  </a:lnTo>
                  <a:lnTo>
                    <a:pt x="2232" y="1506"/>
                  </a:lnTo>
                  <a:lnTo>
                    <a:pt x="2244" y="1506"/>
                  </a:lnTo>
                  <a:lnTo>
                    <a:pt x="2256" y="1518"/>
                  </a:lnTo>
                  <a:lnTo>
                    <a:pt x="2256" y="1530"/>
                  </a:lnTo>
                  <a:lnTo>
                    <a:pt x="2286" y="1524"/>
                  </a:lnTo>
                  <a:lnTo>
                    <a:pt x="2280" y="1536"/>
                  </a:lnTo>
                  <a:lnTo>
                    <a:pt x="2280" y="1548"/>
                  </a:lnTo>
                  <a:lnTo>
                    <a:pt x="2286" y="1554"/>
                  </a:lnTo>
                  <a:lnTo>
                    <a:pt x="2286" y="1566"/>
                  </a:lnTo>
                  <a:lnTo>
                    <a:pt x="2298" y="1578"/>
                  </a:lnTo>
                  <a:lnTo>
                    <a:pt x="2310" y="1578"/>
                  </a:lnTo>
                  <a:lnTo>
                    <a:pt x="2328" y="1572"/>
                  </a:lnTo>
                  <a:lnTo>
                    <a:pt x="2352" y="1548"/>
                  </a:lnTo>
                  <a:lnTo>
                    <a:pt x="2370" y="1542"/>
                  </a:lnTo>
                  <a:lnTo>
                    <a:pt x="2382" y="1542"/>
                  </a:lnTo>
                  <a:lnTo>
                    <a:pt x="2394" y="1548"/>
                  </a:lnTo>
                  <a:lnTo>
                    <a:pt x="2400" y="1554"/>
                  </a:lnTo>
                  <a:lnTo>
                    <a:pt x="2418" y="1590"/>
                  </a:lnTo>
                  <a:lnTo>
                    <a:pt x="2418" y="1602"/>
                  </a:lnTo>
                  <a:lnTo>
                    <a:pt x="2424" y="1608"/>
                  </a:lnTo>
                  <a:lnTo>
                    <a:pt x="2436" y="1614"/>
                  </a:lnTo>
                  <a:lnTo>
                    <a:pt x="2466" y="1614"/>
                  </a:lnTo>
                  <a:lnTo>
                    <a:pt x="2460" y="1656"/>
                  </a:lnTo>
                  <a:lnTo>
                    <a:pt x="2460" y="1662"/>
                  </a:lnTo>
                  <a:lnTo>
                    <a:pt x="2454" y="1668"/>
                  </a:lnTo>
                  <a:lnTo>
                    <a:pt x="2436" y="1704"/>
                  </a:lnTo>
                  <a:lnTo>
                    <a:pt x="2436" y="1710"/>
                  </a:lnTo>
                  <a:lnTo>
                    <a:pt x="2448" y="1722"/>
                  </a:lnTo>
                  <a:lnTo>
                    <a:pt x="2454" y="1722"/>
                  </a:lnTo>
                  <a:lnTo>
                    <a:pt x="2460" y="1734"/>
                  </a:lnTo>
                  <a:lnTo>
                    <a:pt x="2436" y="1758"/>
                  </a:lnTo>
                  <a:lnTo>
                    <a:pt x="2454" y="1806"/>
                  </a:lnTo>
                  <a:lnTo>
                    <a:pt x="2472" y="1788"/>
                  </a:lnTo>
                  <a:lnTo>
                    <a:pt x="2478" y="1788"/>
                  </a:lnTo>
                  <a:lnTo>
                    <a:pt x="2478" y="1794"/>
                  </a:lnTo>
                  <a:lnTo>
                    <a:pt x="2472" y="1800"/>
                  </a:lnTo>
                  <a:lnTo>
                    <a:pt x="2466" y="1812"/>
                  </a:lnTo>
                  <a:lnTo>
                    <a:pt x="2466" y="1818"/>
                  </a:lnTo>
                  <a:lnTo>
                    <a:pt x="2460" y="1830"/>
                  </a:lnTo>
                  <a:lnTo>
                    <a:pt x="2478" y="1830"/>
                  </a:lnTo>
                  <a:lnTo>
                    <a:pt x="2478" y="1878"/>
                  </a:lnTo>
                  <a:lnTo>
                    <a:pt x="2496" y="1878"/>
                  </a:lnTo>
                  <a:lnTo>
                    <a:pt x="2502" y="1884"/>
                  </a:lnTo>
                  <a:lnTo>
                    <a:pt x="2508" y="1884"/>
                  </a:lnTo>
                  <a:lnTo>
                    <a:pt x="2508" y="1896"/>
                  </a:lnTo>
                  <a:lnTo>
                    <a:pt x="2502" y="1908"/>
                  </a:lnTo>
                  <a:lnTo>
                    <a:pt x="2502" y="1920"/>
                  </a:lnTo>
                  <a:lnTo>
                    <a:pt x="2526" y="1944"/>
                  </a:lnTo>
                  <a:lnTo>
                    <a:pt x="2532" y="1944"/>
                  </a:lnTo>
                  <a:lnTo>
                    <a:pt x="2538" y="1938"/>
                  </a:lnTo>
                  <a:lnTo>
                    <a:pt x="2550" y="1932"/>
                  </a:lnTo>
                  <a:lnTo>
                    <a:pt x="2556" y="1932"/>
                  </a:lnTo>
                  <a:lnTo>
                    <a:pt x="2562" y="1926"/>
                  </a:lnTo>
                  <a:lnTo>
                    <a:pt x="2568" y="1914"/>
                  </a:lnTo>
                  <a:lnTo>
                    <a:pt x="2568" y="1896"/>
                  </a:lnTo>
                  <a:lnTo>
                    <a:pt x="2586" y="1896"/>
                  </a:lnTo>
                  <a:lnTo>
                    <a:pt x="2586" y="1872"/>
                  </a:lnTo>
                  <a:lnTo>
                    <a:pt x="2604" y="1836"/>
                  </a:lnTo>
                  <a:lnTo>
                    <a:pt x="2604" y="1818"/>
                  </a:lnTo>
                  <a:lnTo>
                    <a:pt x="2610" y="1806"/>
                  </a:lnTo>
                  <a:lnTo>
                    <a:pt x="2610" y="1794"/>
                  </a:lnTo>
                  <a:lnTo>
                    <a:pt x="2604" y="1782"/>
                  </a:lnTo>
                  <a:lnTo>
                    <a:pt x="2604" y="1770"/>
                  </a:lnTo>
                  <a:lnTo>
                    <a:pt x="2598" y="1752"/>
                  </a:lnTo>
                  <a:lnTo>
                    <a:pt x="2592" y="1740"/>
                  </a:lnTo>
                  <a:lnTo>
                    <a:pt x="2586" y="1722"/>
                  </a:lnTo>
                  <a:lnTo>
                    <a:pt x="2586" y="1704"/>
                  </a:lnTo>
                  <a:lnTo>
                    <a:pt x="2592" y="1686"/>
                  </a:lnTo>
                  <a:lnTo>
                    <a:pt x="2598" y="1674"/>
                  </a:lnTo>
                  <a:lnTo>
                    <a:pt x="2598" y="1644"/>
                  </a:lnTo>
                  <a:lnTo>
                    <a:pt x="2592" y="1626"/>
                  </a:lnTo>
                  <a:lnTo>
                    <a:pt x="2586" y="1614"/>
                  </a:lnTo>
                  <a:lnTo>
                    <a:pt x="2580" y="1596"/>
                  </a:lnTo>
                  <a:lnTo>
                    <a:pt x="2574" y="1584"/>
                  </a:lnTo>
                  <a:lnTo>
                    <a:pt x="2574" y="1518"/>
                  </a:lnTo>
                  <a:lnTo>
                    <a:pt x="2580" y="1488"/>
                  </a:lnTo>
                  <a:lnTo>
                    <a:pt x="2586" y="1470"/>
                  </a:lnTo>
                  <a:lnTo>
                    <a:pt x="2598" y="1452"/>
                  </a:lnTo>
                  <a:lnTo>
                    <a:pt x="2604" y="1440"/>
                  </a:lnTo>
                  <a:lnTo>
                    <a:pt x="2610" y="1422"/>
                  </a:lnTo>
                  <a:lnTo>
                    <a:pt x="2616" y="1416"/>
                  </a:lnTo>
                  <a:lnTo>
                    <a:pt x="2616" y="1410"/>
                  </a:lnTo>
                  <a:lnTo>
                    <a:pt x="2628" y="1398"/>
                  </a:lnTo>
                  <a:lnTo>
                    <a:pt x="2652" y="1380"/>
                  </a:lnTo>
                  <a:lnTo>
                    <a:pt x="2658" y="1356"/>
                  </a:lnTo>
                  <a:lnTo>
                    <a:pt x="2670" y="1368"/>
                  </a:lnTo>
                  <a:lnTo>
                    <a:pt x="2676" y="1344"/>
                  </a:lnTo>
                  <a:lnTo>
                    <a:pt x="2730" y="1344"/>
                  </a:lnTo>
                  <a:lnTo>
                    <a:pt x="2730" y="1314"/>
                  </a:lnTo>
                  <a:lnTo>
                    <a:pt x="2748" y="1320"/>
                  </a:lnTo>
                  <a:lnTo>
                    <a:pt x="2754" y="1308"/>
                  </a:lnTo>
                  <a:lnTo>
                    <a:pt x="2772" y="1308"/>
                  </a:lnTo>
                  <a:lnTo>
                    <a:pt x="2796" y="1278"/>
                  </a:lnTo>
                  <a:lnTo>
                    <a:pt x="2796" y="1272"/>
                  </a:lnTo>
                  <a:lnTo>
                    <a:pt x="2802" y="1266"/>
                  </a:lnTo>
                  <a:lnTo>
                    <a:pt x="2814" y="1242"/>
                  </a:lnTo>
                  <a:lnTo>
                    <a:pt x="2832" y="1236"/>
                  </a:lnTo>
                  <a:lnTo>
                    <a:pt x="2862" y="1236"/>
                  </a:lnTo>
                  <a:lnTo>
                    <a:pt x="2874" y="1242"/>
                  </a:lnTo>
                  <a:lnTo>
                    <a:pt x="2886" y="1242"/>
                  </a:lnTo>
                  <a:lnTo>
                    <a:pt x="2892" y="1236"/>
                  </a:lnTo>
                  <a:lnTo>
                    <a:pt x="2904" y="1212"/>
                  </a:lnTo>
                  <a:lnTo>
                    <a:pt x="2910" y="1206"/>
                  </a:lnTo>
                  <a:lnTo>
                    <a:pt x="2916" y="1194"/>
                  </a:lnTo>
                  <a:lnTo>
                    <a:pt x="2928" y="1200"/>
                  </a:lnTo>
                  <a:lnTo>
                    <a:pt x="2934" y="1176"/>
                  </a:lnTo>
                  <a:lnTo>
                    <a:pt x="3018" y="1170"/>
                  </a:lnTo>
                  <a:lnTo>
                    <a:pt x="3024" y="1146"/>
                  </a:lnTo>
                  <a:lnTo>
                    <a:pt x="2982" y="1152"/>
                  </a:lnTo>
                  <a:lnTo>
                    <a:pt x="2988" y="1146"/>
                  </a:lnTo>
                  <a:lnTo>
                    <a:pt x="3000" y="1140"/>
                  </a:lnTo>
                  <a:lnTo>
                    <a:pt x="3006" y="1140"/>
                  </a:lnTo>
                  <a:lnTo>
                    <a:pt x="3006" y="1134"/>
                  </a:lnTo>
                  <a:lnTo>
                    <a:pt x="3000" y="1128"/>
                  </a:lnTo>
                  <a:lnTo>
                    <a:pt x="2994" y="1116"/>
                  </a:lnTo>
                  <a:lnTo>
                    <a:pt x="2988" y="1110"/>
                  </a:lnTo>
                  <a:lnTo>
                    <a:pt x="3024" y="1104"/>
                  </a:lnTo>
                  <a:lnTo>
                    <a:pt x="3048" y="1116"/>
                  </a:lnTo>
                  <a:lnTo>
                    <a:pt x="3078" y="1080"/>
                  </a:lnTo>
                  <a:lnTo>
                    <a:pt x="3024" y="1074"/>
                  </a:lnTo>
                  <a:lnTo>
                    <a:pt x="3024" y="1050"/>
                  </a:lnTo>
                  <a:lnTo>
                    <a:pt x="3036" y="1062"/>
                  </a:lnTo>
                  <a:lnTo>
                    <a:pt x="3078" y="1050"/>
                  </a:lnTo>
                  <a:lnTo>
                    <a:pt x="3084" y="990"/>
                  </a:lnTo>
                  <a:lnTo>
                    <a:pt x="3054" y="1002"/>
                  </a:lnTo>
                  <a:lnTo>
                    <a:pt x="3048" y="972"/>
                  </a:lnTo>
                  <a:lnTo>
                    <a:pt x="3024" y="960"/>
                  </a:lnTo>
                  <a:lnTo>
                    <a:pt x="3072" y="978"/>
                  </a:lnTo>
                  <a:lnTo>
                    <a:pt x="3078" y="972"/>
                  </a:lnTo>
                  <a:lnTo>
                    <a:pt x="3060" y="954"/>
                  </a:lnTo>
                  <a:lnTo>
                    <a:pt x="3090" y="954"/>
                  </a:lnTo>
                  <a:lnTo>
                    <a:pt x="3084" y="948"/>
                  </a:lnTo>
                  <a:lnTo>
                    <a:pt x="3078" y="936"/>
                  </a:lnTo>
                  <a:lnTo>
                    <a:pt x="3060" y="918"/>
                  </a:lnTo>
                  <a:lnTo>
                    <a:pt x="3054" y="906"/>
                  </a:lnTo>
                  <a:lnTo>
                    <a:pt x="3054" y="894"/>
                  </a:lnTo>
                  <a:lnTo>
                    <a:pt x="3060" y="888"/>
                  </a:lnTo>
                  <a:lnTo>
                    <a:pt x="3042" y="870"/>
                  </a:lnTo>
                  <a:lnTo>
                    <a:pt x="3042" y="864"/>
                  </a:lnTo>
                  <a:lnTo>
                    <a:pt x="3048" y="864"/>
                  </a:lnTo>
                  <a:lnTo>
                    <a:pt x="3066" y="846"/>
                  </a:lnTo>
                  <a:lnTo>
                    <a:pt x="3072" y="846"/>
                  </a:lnTo>
                  <a:lnTo>
                    <a:pt x="3066" y="870"/>
                  </a:lnTo>
                  <a:lnTo>
                    <a:pt x="3096" y="894"/>
                  </a:lnTo>
                  <a:lnTo>
                    <a:pt x="3096" y="888"/>
                  </a:lnTo>
                  <a:lnTo>
                    <a:pt x="3102" y="882"/>
                  </a:lnTo>
                  <a:lnTo>
                    <a:pt x="3102" y="864"/>
                  </a:lnTo>
                  <a:lnTo>
                    <a:pt x="3108" y="852"/>
                  </a:lnTo>
                  <a:lnTo>
                    <a:pt x="3108" y="834"/>
                  </a:lnTo>
                  <a:lnTo>
                    <a:pt x="3114" y="822"/>
                  </a:lnTo>
                  <a:lnTo>
                    <a:pt x="3144" y="792"/>
                  </a:lnTo>
                  <a:lnTo>
                    <a:pt x="3156" y="786"/>
                  </a:lnTo>
                  <a:lnTo>
                    <a:pt x="3162" y="786"/>
                  </a:lnTo>
                  <a:lnTo>
                    <a:pt x="3162" y="792"/>
                  </a:lnTo>
                  <a:lnTo>
                    <a:pt x="3150" y="816"/>
                  </a:lnTo>
                  <a:lnTo>
                    <a:pt x="3132" y="834"/>
                  </a:lnTo>
                  <a:lnTo>
                    <a:pt x="3126" y="846"/>
                  </a:lnTo>
                  <a:lnTo>
                    <a:pt x="3120" y="882"/>
                  </a:lnTo>
                  <a:lnTo>
                    <a:pt x="3138" y="882"/>
                  </a:lnTo>
                  <a:lnTo>
                    <a:pt x="3138" y="894"/>
                  </a:lnTo>
                  <a:lnTo>
                    <a:pt x="3132" y="906"/>
                  </a:lnTo>
                  <a:lnTo>
                    <a:pt x="3132" y="918"/>
                  </a:lnTo>
                  <a:lnTo>
                    <a:pt x="3114" y="936"/>
                  </a:lnTo>
                  <a:lnTo>
                    <a:pt x="3102" y="960"/>
                  </a:lnTo>
                  <a:lnTo>
                    <a:pt x="3102" y="978"/>
                  </a:lnTo>
                  <a:lnTo>
                    <a:pt x="3126" y="954"/>
                  </a:lnTo>
                  <a:lnTo>
                    <a:pt x="3132" y="942"/>
                  </a:lnTo>
                  <a:lnTo>
                    <a:pt x="3144" y="930"/>
                  </a:lnTo>
                  <a:lnTo>
                    <a:pt x="3168" y="918"/>
                  </a:lnTo>
                  <a:lnTo>
                    <a:pt x="3180" y="906"/>
                  </a:lnTo>
                  <a:lnTo>
                    <a:pt x="3192" y="882"/>
                  </a:lnTo>
                  <a:lnTo>
                    <a:pt x="3192" y="798"/>
                  </a:lnTo>
                  <a:lnTo>
                    <a:pt x="3198" y="780"/>
                  </a:lnTo>
                  <a:lnTo>
                    <a:pt x="3198" y="768"/>
                  </a:lnTo>
                  <a:lnTo>
                    <a:pt x="3204" y="756"/>
                  </a:lnTo>
                  <a:lnTo>
                    <a:pt x="3210" y="756"/>
                  </a:lnTo>
                  <a:lnTo>
                    <a:pt x="3210" y="768"/>
                  </a:lnTo>
                  <a:lnTo>
                    <a:pt x="3204" y="780"/>
                  </a:lnTo>
                  <a:lnTo>
                    <a:pt x="3204" y="798"/>
                  </a:lnTo>
                  <a:lnTo>
                    <a:pt x="3210" y="798"/>
                  </a:lnTo>
                  <a:lnTo>
                    <a:pt x="3216" y="804"/>
                  </a:lnTo>
                  <a:lnTo>
                    <a:pt x="3216" y="840"/>
                  </a:lnTo>
                  <a:lnTo>
                    <a:pt x="3234" y="822"/>
                  </a:lnTo>
                  <a:lnTo>
                    <a:pt x="3240" y="810"/>
                  </a:lnTo>
                  <a:lnTo>
                    <a:pt x="3288" y="762"/>
                  </a:lnTo>
                  <a:lnTo>
                    <a:pt x="3300" y="756"/>
                  </a:lnTo>
                  <a:lnTo>
                    <a:pt x="3324" y="732"/>
                  </a:lnTo>
                  <a:lnTo>
                    <a:pt x="3324" y="726"/>
                  </a:lnTo>
                  <a:lnTo>
                    <a:pt x="3318" y="720"/>
                  </a:lnTo>
                  <a:lnTo>
                    <a:pt x="3312" y="720"/>
                  </a:lnTo>
                  <a:lnTo>
                    <a:pt x="3306" y="714"/>
                  </a:lnTo>
                  <a:lnTo>
                    <a:pt x="3306" y="702"/>
                  </a:lnTo>
                  <a:lnTo>
                    <a:pt x="3312" y="696"/>
                  </a:lnTo>
                  <a:lnTo>
                    <a:pt x="3324" y="696"/>
                  </a:lnTo>
                  <a:lnTo>
                    <a:pt x="3330" y="702"/>
                  </a:lnTo>
                  <a:lnTo>
                    <a:pt x="3360" y="702"/>
                  </a:lnTo>
                  <a:lnTo>
                    <a:pt x="3390" y="696"/>
                  </a:lnTo>
                  <a:lnTo>
                    <a:pt x="3450" y="672"/>
                  </a:lnTo>
                  <a:lnTo>
                    <a:pt x="3462" y="666"/>
                  </a:lnTo>
                  <a:lnTo>
                    <a:pt x="3444" y="660"/>
                  </a:lnTo>
                  <a:lnTo>
                    <a:pt x="3438" y="660"/>
                  </a:lnTo>
                  <a:lnTo>
                    <a:pt x="3432" y="666"/>
                  </a:lnTo>
                  <a:lnTo>
                    <a:pt x="3414" y="672"/>
                  </a:lnTo>
                  <a:lnTo>
                    <a:pt x="3402" y="672"/>
                  </a:lnTo>
                  <a:lnTo>
                    <a:pt x="3390" y="678"/>
                  </a:lnTo>
                  <a:lnTo>
                    <a:pt x="3372" y="678"/>
                  </a:lnTo>
                  <a:lnTo>
                    <a:pt x="3360" y="684"/>
                  </a:lnTo>
                  <a:lnTo>
                    <a:pt x="3348" y="684"/>
                  </a:lnTo>
                  <a:lnTo>
                    <a:pt x="3342" y="678"/>
                  </a:lnTo>
                  <a:lnTo>
                    <a:pt x="3342" y="672"/>
                  </a:lnTo>
                  <a:lnTo>
                    <a:pt x="3348" y="666"/>
                  </a:lnTo>
                  <a:lnTo>
                    <a:pt x="3354" y="654"/>
                  </a:lnTo>
                  <a:lnTo>
                    <a:pt x="3366" y="654"/>
                  </a:lnTo>
                  <a:lnTo>
                    <a:pt x="3378" y="648"/>
                  </a:lnTo>
                  <a:lnTo>
                    <a:pt x="3402" y="648"/>
                  </a:lnTo>
                  <a:lnTo>
                    <a:pt x="3492" y="642"/>
                  </a:lnTo>
                  <a:lnTo>
                    <a:pt x="3534" y="606"/>
                  </a:lnTo>
                  <a:lnTo>
                    <a:pt x="3546" y="618"/>
                  </a:lnTo>
                  <a:lnTo>
                    <a:pt x="3570" y="606"/>
                  </a:lnTo>
                  <a:lnTo>
                    <a:pt x="3570" y="642"/>
                  </a:lnTo>
                  <a:lnTo>
                    <a:pt x="3600" y="618"/>
                  </a:lnTo>
                  <a:lnTo>
                    <a:pt x="3624" y="612"/>
                  </a:lnTo>
                  <a:lnTo>
                    <a:pt x="3630" y="582"/>
                  </a:lnTo>
                  <a:lnTo>
                    <a:pt x="3618" y="570"/>
                  </a:lnTo>
                  <a:lnTo>
                    <a:pt x="3612" y="600"/>
                  </a:lnTo>
                  <a:lnTo>
                    <a:pt x="3588" y="600"/>
                  </a:lnTo>
                  <a:lnTo>
                    <a:pt x="3588" y="576"/>
                  </a:lnTo>
                  <a:lnTo>
                    <a:pt x="3570" y="552"/>
                  </a:lnTo>
                  <a:lnTo>
                    <a:pt x="3594" y="540"/>
                  </a:lnTo>
                  <a:lnTo>
                    <a:pt x="3600" y="504"/>
                  </a:lnTo>
                  <a:lnTo>
                    <a:pt x="3612" y="498"/>
                  </a:lnTo>
                  <a:lnTo>
                    <a:pt x="3618" y="486"/>
                  </a:lnTo>
                  <a:lnTo>
                    <a:pt x="3630" y="480"/>
                  </a:lnTo>
                  <a:lnTo>
                    <a:pt x="3636" y="474"/>
                  </a:lnTo>
                  <a:lnTo>
                    <a:pt x="3648" y="468"/>
                  </a:lnTo>
                  <a:lnTo>
                    <a:pt x="3654" y="456"/>
                  </a:lnTo>
                  <a:lnTo>
                    <a:pt x="3654" y="450"/>
                  </a:lnTo>
                  <a:lnTo>
                    <a:pt x="3660" y="444"/>
                  </a:lnTo>
                  <a:lnTo>
                    <a:pt x="3660" y="438"/>
                  </a:lnTo>
                  <a:lnTo>
                    <a:pt x="3690" y="444"/>
                  </a:lnTo>
                  <a:lnTo>
                    <a:pt x="3702" y="426"/>
                  </a:lnTo>
                  <a:lnTo>
                    <a:pt x="3708" y="432"/>
                  </a:lnTo>
                  <a:lnTo>
                    <a:pt x="3720" y="432"/>
                  </a:lnTo>
                  <a:lnTo>
                    <a:pt x="3726" y="426"/>
                  </a:lnTo>
                  <a:lnTo>
                    <a:pt x="3738" y="420"/>
                  </a:lnTo>
                  <a:lnTo>
                    <a:pt x="3744" y="408"/>
                  </a:lnTo>
                  <a:lnTo>
                    <a:pt x="3756" y="402"/>
                  </a:lnTo>
                  <a:lnTo>
                    <a:pt x="3774" y="384"/>
                  </a:lnTo>
                  <a:lnTo>
                    <a:pt x="3774" y="414"/>
                  </a:lnTo>
                  <a:lnTo>
                    <a:pt x="3786" y="408"/>
                  </a:lnTo>
                  <a:lnTo>
                    <a:pt x="3792" y="402"/>
                  </a:lnTo>
                  <a:lnTo>
                    <a:pt x="3828" y="384"/>
                  </a:lnTo>
                  <a:lnTo>
                    <a:pt x="3834" y="378"/>
                  </a:lnTo>
                  <a:lnTo>
                    <a:pt x="3846" y="378"/>
                  </a:lnTo>
                  <a:lnTo>
                    <a:pt x="3858" y="372"/>
                  </a:lnTo>
                  <a:lnTo>
                    <a:pt x="3876" y="372"/>
                  </a:lnTo>
                  <a:lnTo>
                    <a:pt x="3888" y="366"/>
                  </a:lnTo>
                  <a:lnTo>
                    <a:pt x="3900" y="366"/>
                  </a:lnTo>
                  <a:lnTo>
                    <a:pt x="3900" y="330"/>
                  </a:lnTo>
                  <a:lnTo>
                    <a:pt x="3876" y="330"/>
                  </a:lnTo>
                  <a:lnTo>
                    <a:pt x="3876" y="324"/>
                  </a:lnTo>
                  <a:lnTo>
                    <a:pt x="3882" y="312"/>
                  </a:lnTo>
                  <a:lnTo>
                    <a:pt x="3894" y="300"/>
                  </a:lnTo>
                  <a:lnTo>
                    <a:pt x="3888" y="294"/>
                  </a:lnTo>
                  <a:lnTo>
                    <a:pt x="3882" y="294"/>
                  </a:lnTo>
                  <a:lnTo>
                    <a:pt x="3876" y="288"/>
                  </a:lnTo>
                  <a:lnTo>
                    <a:pt x="3876" y="276"/>
                  </a:lnTo>
                  <a:lnTo>
                    <a:pt x="3888" y="252"/>
                  </a:lnTo>
                  <a:lnTo>
                    <a:pt x="3900" y="222"/>
                  </a:lnTo>
                  <a:lnTo>
                    <a:pt x="3912" y="198"/>
                  </a:lnTo>
                  <a:lnTo>
                    <a:pt x="3918" y="174"/>
                  </a:lnTo>
                  <a:lnTo>
                    <a:pt x="3918" y="168"/>
                  </a:lnTo>
                  <a:lnTo>
                    <a:pt x="3912" y="162"/>
                  </a:lnTo>
                  <a:lnTo>
                    <a:pt x="3876" y="162"/>
                  </a:lnTo>
                  <a:lnTo>
                    <a:pt x="3864" y="168"/>
                  </a:lnTo>
                  <a:lnTo>
                    <a:pt x="3858" y="168"/>
                  </a:lnTo>
                  <a:close/>
                  <a:moveTo>
                    <a:pt x="2718" y="366"/>
                  </a:moveTo>
                  <a:lnTo>
                    <a:pt x="2712" y="366"/>
                  </a:lnTo>
                  <a:lnTo>
                    <a:pt x="2712" y="354"/>
                  </a:lnTo>
                  <a:lnTo>
                    <a:pt x="2718" y="348"/>
                  </a:lnTo>
                  <a:lnTo>
                    <a:pt x="2718" y="336"/>
                  </a:lnTo>
                  <a:lnTo>
                    <a:pt x="2712" y="336"/>
                  </a:lnTo>
                  <a:lnTo>
                    <a:pt x="2700" y="342"/>
                  </a:lnTo>
                  <a:lnTo>
                    <a:pt x="2694" y="348"/>
                  </a:lnTo>
                  <a:lnTo>
                    <a:pt x="2682" y="354"/>
                  </a:lnTo>
                  <a:lnTo>
                    <a:pt x="2676" y="372"/>
                  </a:lnTo>
                  <a:lnTo>
                    <a:pt x="2664" y="366"/>
                  </a:lnTo>
                  <a:lnTo>
                    <a:pt x="2664" y="378"/>
                  </a:lnTo>
                  <a:lnTo>
                    <a:pt x="2652" y="402"/>
                  </a:lnTo>
                  <a:lnTo>
                    <a:pt x="2628" y="414"/>
                  </a:lnTo>
                  <a:lnTo>
                    <a:pt x="2628" y="426"/>
                  </a:lnTo>
                  <a:lnTo>
                    <a:pt x="2634" y="432"/>
                  </a:lnTo>
                  <a:lnTo>
                    <a:pt x="2628" y="432"/>
                  </a:lnTo>
                  <a:lnTo>
                    <a:pt x="2598" y="462"/>
                  </a:lnTo>
                  <a:lnTo>
                    <a:pt x="2598" y="468"/>
                  </a:lnTo>
                  <a:lnTo>
                    <a:pt x="2604" y="474"/>
                  </a:lnTo>
                  <a:lnTo>
                    <a:pt x="2610" y="474"/>
                  </a:lnTo>
                  <a:lnTo>
                    <a:pt x="2616" y="480"/>
                  </a:lnTo>
                  <a:lnTo>
                    <a:pt x="2616" y="492"/>
                  </a:lnTo>
                  <a:lnTo>
                    <a:pt x="2610" y="498"/>
                  </a:lnTo>
                  <a:lnTo>
                    <a:pt x="2604" y="498"/>
                  </a:lnTo>
                  <a:lnTo>
                    <a:pt x="2604" y="510"/>
                  </a:lnTo>
                  <a:lnTo>
                    <a:pt x="2592" y="534"/>
                  </a:lnTo>
                  <a:lnTo>
                    <a:pt x="2580" y="552"/>
                  </a:lnTo>
                  <a:lnTo>
                    <a:pt x="2550" y="582"/>
                  </a:lnTo>
                  <a:lnTo>
                    <a:pt x="2478" y="618"/>
                  </a:lnTo>
                  <a:lnTo>
                    <a:pt x="2484" y="588"/>
                  </a:lnTo>
                  <a:lnTo>
                    <a:pt x="2478" y="582"/>
                  </a:lnTo>
                  <a:lnTo>
                    <a:pt x="2478" y="576"/>
                  </a:lnTo>
                  <a:lnTo>
                    <a:pt x="2472" y="570"/>
                  </a:lnTo>
                  <a:lnTo>
                    <a:pt x="2472" y="564"/>
                  </a:lnTo>
                  <a:lnTo>
                    <a:pt x="2478" y="552"/>
                  </a:lnTo>
                  <a:lnTo>
                    <a:pt x="2496" y="534"/>
                  </a:lnTo>
                  <a:lnTo>
                    <a:pt x="2502" y="522"/>
                  </a:lnTo>
                  <a:lnTo>
                    <a:pt x="2502" y="516"/>
                  </a:lnTo>
                  <a:lnTo>
                    <a:pt x="2496" y="510"/>
                  </a:lnTo>
                  <a:lnTo>
                    <a:pt x="2496" y="492"/>
                  </a:lnTo>
                  <a:lnTo>
                    <a:pt x="2502" y="480"/>
                  </a:lnTo>
                  <a:lnTo>
                    <a:pt x="2508" y="474"/>
                  </a:lnTo>
                  <a:lnTo>
                    <a:pt x="2514" y="462"/>
                  </a:lnTo>
                  <a:lnTo>
                    <a:pt x="2526" y="456"/>
                  </a:lnTo>
                  <a:lnTo>
                    <a:pt x="2532" y="450"/>
                  </a:lnTo>
                  <a:lnTo>
                    <a:pt x="2532" y="432"/>
                  </a:lnTo>
                  <a:lnTo>
                    <a:pt x="2538" y="432"/>
                  </a:lnTo>
                  <a:lnTo>
                    <a:pt x="2622" y="348"/>
                  </a:lnTo>
                  <a:lnTo>
                    <a:pt x="2592" y="354"/>
                  </a:lnTo>
                  <a:lnTo>
                    <a:pt x="2580" y="360"/>
                  </a:lnTo>
                  <a:lnTo>
                    <a:pt x="2574" y="366"/>
                  </a:lnTo>
                  <a:lnTo>
                    <a:pt x="2562" y="372"/>
                  </a:lnTo>
                  <a:lnTo>
                    <a:pt x="2556" y="378"/>
                  </a:lnTo>
                  <a:lnTo>
                    <a:pt x="2550" y="378"/>
                  </a:lnTo>
                  <a:lnTo>
                    <a:pt x="2550" y="372"/>
                  </a:lnTo>
                  <a:lnTo>
                    <a:pt x="2556" y="366"/>
                  </a:lnTo>
                  <a:lnTo>
                    <a:pt x="2568" y="360"/>
                  </a:lnTo>
                  <a:lnTo>
                    <a:pt x="2592" y="336"/>
                  </a:lnTo>
                  <a:lnTo>
                    <a:pt x="2604" y="330"/>
                  </a:lnTo>
                  <a:lnTo>
                    <a:pt x="2658" y="276"/>
                  </a:lnTo>
                  <a:lnTo>
                    <a:pt x="2670" y="288"/>
                  </a:lnTo>
                  <a:lnTo>
                    <a:pt x="2682" y="276"/>
                  </a:lnTo>
                  <a:lnTo>
                    <a:pt x="2682" y="288"/>
                  </a:lnTo>
                  <a:lnTo>
                    <a:pt x="2694" y="288"/>
                  </a:lnTo>
                  <a:lnTo>
                    <a:pt x="2700" y="282"/>
                  </a:lnTo>
                  <a:lnTo>
                    <a:pt x="2700" y="270"/>
                  </a:lnTo>
                  <a:lnTo>
                    <a:pt x="2724" y="276"/>
                  </a:lnTo>
                  <a:lnTo>
                    <a:pt x="2736" y="270"/>
                  </a:lnTo>
                  <a:lnTo>
                    <a:pt x="2742" y="270"/>
                  </a:lnTo>
                  <a:lnTo>
                    <a:pt x="2754" y="264"/>
                  </a:lnTo>
                  <a:lnTo>
                    <a:pt x="2772" y="264"/>
                  </a:lnTo>
                  <a:lnTo>
                    <a:pt x="2784" y="270"/>
                  </a:lnTo>
                  <a:lnTo>
                    <a:pt x="2790" y="276"/>
                  </a:lnTo>
                  <a:lnTo>
                    <a:pt x="2796" y="288"/>
                  </a:lnTo>
                  <a:lnTo>
                    <a:pt x="2772" y="294"/>
                  </a:lnTo>
                  <a:lnTo>
                    <a:pt x="2772" y="318"/>
                  </a:lnTo>
                  <a:lnTo>
                    <a:pt x="2742" y="318"/>
                  </a:lnTo>
                  <a:lnTo>
                    <a:pt x="2736" y="324"/>
                  </a:lnTo>
                  <a:lnTo>
                    <a:pt x="2736" y="360"/>
                  </a:lnTo>
                  <a:lnTo>
                    <a:pt x="2730" y="366"/>
                  </a:lnTo>
                  <a:lnTo>
                    <a:pt x="2718" y="366"/>
                  </a:lnTo>
                  <a:close/>
                </a:path>
              </a:pathLst>
            </a:custGeom>
            <a:solidFill>
              <a:schemeClr val="accent5"/>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39" name="Uruguay" descr="© INSCALE GmbH, 05.05.2010&#10;http://www.presentationload.com/">
              <a:extLst>
                <a:ext uri="{FF2B5EF4-FFF2-40B4-BE49-F238E27FC236}">
                  <a16:creationId xmlns:a16="http://schemas.microsoft.com/office/drawing/2014/main" id="{93F339AA-4A95-40D5-8986-336BBC8FE90E}"/>
                </a:ext>
              </a:extLst>
            </p:cNvPr>
            <p:cNvSpPr>
              <a:spLocks/>
            </p:cNvSpPr>
            <p:nvPr/>
          </p:nvSpPr>
          <p:spPr bwMode="gray">
            <a:xfrm>
              <a:off x="2566040" y="5218532"/>
              <a:ext cx="147394" cy="152099"/>
            </a:xfrm>
            <a:custGeom>
              <a:avLst/>
              <a:gdLst>
                <a:gd name="T0" fmla="*/ 2147483647 w 366"/>
                <a:gd name="T1" fmla="*/ 2147483647 h 384"/>
                <a:gd name="T2" fmla="*/ 2147483647 w 366"/>
                <a:gd name="T3" fmla="*/ 2147483647 h 384"/>
                <a:gd name="T4" fmla="*/ 2147483647 w 366"/>
                <a:gd name="T5" fmla="*/ 2147483647 h 384"/>
                <a:gd name="T6" fmla="*/ 2147483647 w 366"/>
                <a:gd name="T7" fmla="*/ 2147483647 h 384"/>
                <a:gd name="T8" fmla="*/ 2147483647 w 366"/>
                <a:gd name="T9" fmla="*/ 2147483647 h 384"/>
                <a:gd name="T10" fmla="*/ 2147483647 w 366"/>
                <a:gd name="T11" fmla="*/ 2147483647 h 384"/>
                <a:gd name="T12" fmla="*/ 2147483647 w 366"/>
                <a:gd name="T13" fmla="*/ 2147483647 h 384"/>
                <a:gd name="T14" fmla="*/ 2147483647 w 366"/>
                <a:gd name="T15" fmla="*/ 2147483647 h 384"/>
                <a:gd name="T16" fmla="*/ 2147483647 w 366"/>
                <a:gd name="T17" fmla="*/ 2147483647 h 384"/>
                <a:gd name="T18" fmla="*/ 2147483647 w 366"/>
                <a:gd name="T19" fmla="*/ 2147483647 h 384"/>
                <a:gd name="T20" fmla="*/ 2147483647 w 366"/>
                <a:gd name="T21" fmla="*/ 2147483647 h 384"/>
                <a:gd name="T22" fmla="*/ 2147483647 w 366"/>
                <a:gd name="T23" fmla="*/ 2147483647 h 384"/>
                <a:gd name="T24" fmla="*/ 2147483647 w 366"/>
                <a:gd name="T25" fmla="*/ 2147483647 h 384"/>
                <a:gd name="T26" fmla="*/ 2147483647 w 366"/>
                <a:gd name="T27" fmla="*/ 2147483647 h 384"/>
                <a:gd name="T28" fmla="*/ 2147483647 w 366"/>
                <a:gd name="T29" fmla="*/ 2147483647 h 384"/>
                <a:gd name="T30" fmla="*/ 2147483647 w 366"/>
                <a:gd name="T31" fmla="*/ 2147483647 h 384"/>
                <a:gd name="T32" fmla="*/ 2147483647 w 366"/>
                <a:gd name="T33" fmla="*/ 2147483647 h 384"/>
                <a:gd name="T34" fmla="*/ 2147483647 w 366"/>
                <a:gd name="T35" fmla="*/ 2147483647 h 384"/>
                <a:gd name="T36" fmla="*/ 2147483647 w 366"/>
                <a:gd name="T37" fmla="*/ 2147483647 h 384"/>
                <a:gd name="T38" fmla="*/ 2147483647 w 366"/>
                <a:gd name="T39" fmla="*/ 2147483647 h 384"/>
                <a:gd name="T40" fmla="*/ 2147483647 w 366"/>
                <a:gd name="T41" fmla="*/ 2147483647 h 384"/>
                <a:gd name="T42" fmla="*/ 2147483647 w 366"/>
                <a:gd name="T43" fmla="*/ 2147483647 h 384"/>
                <a:gd name="T44" fmla="*/ 2147483647 w 366"/>
                <a:gd name="T45" fmla="*/ 0 h 384"/>
                <a:gd name="T46" fmla="*/ 2147483647 w 366"/>
                <a:gd name="T47" fmla="*/ 2147483647 h 384"/>
                <a:gd name="T48" fmla="*/ 2147483647 w 366"/>
                <a:gd name="T49" fmla="*/ 2147483647 h 384"/>
                <a:gd name="T50" fmla="*/ 0 w 366"/>
                <a:gd name="T51" fmla="*/ 2147483647 h 384"/>
                <a:gd name="T52" fmla="*/ 2147483647 w 366"/>
                <a:gd name="T53" fmla="*/ 2147483647 h 384"/>
                <a:gd name="T54" fmla="*/ 2147483647 w 366"/>
                <a:gd name="T55" fmla="*/ 2147483647 h 384"/>
                <a:gd name="T56" fmla="*/ 2147483647 w 366"/>
                <a:gd name="T57" fmla="*/ 2147483647 h 384"/>
                <a:gd name="T58" fmla="*/ 2147483647 w 366"/>
                <a:gd name="T59" fmla="*/ 2147483647 h 384"/>
                <a:gd name="T60" fmla="*/ 2147483647 w 366"/>
                <a:gd name="T61" fmla="*/ 2147483647 h 384"/>
                <a:gd name="T62" fmla="*/ 2147483647 w 366"/>
                <a:gd name="T63" fmla="*/ 2147483647 h 384"/>
                <a:gd name="T64" fmla="*/ 2147483647 w 366"/>
                <a:gd name="T65" fmla="*/ 2147483647 h 384"/>
                <a:gd name="T66" fmla="*/ 2147483647 w 366"/>
                <a:gd name="T67" fmla="*/ 2147483647 h 384"/>
                <a:gd name="T68" fmla="*/ 2147483647 w 366"/>
                <a:gd name="T69" fmla="*/ 2147483647 h 384"/>
                <a:gd name="T70" fmla="*/ 2147483647 w 366"/>
                <a:gd name="T71" fmla="*/ 2147483647 h 384"/>
                <a:gd name="T72" fmla="*/ 2147483647 w 366"/>
                <a:gd name="T73" fmla="*/ 2147483647 h 384"/>
                <a:gd name="T74" fmla="*/ 2147483647 w 366"/>
                <a:gd name="T75" fmla="*/ 2147483647 h 384"/>
                <a:gd name="T76" fmla="*/ 2147483647 w 366"/>
                <a:gd name="T77" fmla="*/ 2147483647 h 3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66"/>
                <a:gd name="T118" fmla="*/ 0 h 384"/>
                <a:gd name="T119" fmla="*/ 366 w 366"/>
                <a:gd name="T120" fmla="*/ 384 h 3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66" h="384">
                  <a:moveTo>
                    <a:pt x="138" y="372"/>
                  </a:moveTo>
                  <a:lnTo>
                    <a:pt x="174" y="372"/>
                  </a:lnTo>
                  <a:lnTo>
                    <a:pt x="198" y="378"/>
                  </a:lnTo>
                  <a:lnTo>
                    <a:pt x="228" y="378"/>
                  </a:lnTo>
                  <a:lnTo>
                    <a:pt x="288" y="384"/>
                  </a:lnTo>
                  <a:lnTo>
                    <a:pt x="330" y="366"/>
                  </a:lnTo>
                  <a:lnTo>
                    <a:pt x="342" y="354"/>
                  </a:lnTo>
                  <a:lnTo>
                    <a:pt x="360" y="300"/>
                  </a:lnTo>
                  <a:lnTo>
                    <a:pt x="366" y="294"/>
                  </a:lnTo>
                  <a:lnTo>
                    <a:pt x="348" y="294"/>
                  </a:lnTo>
                  <a:lnTo>
                    <a:pt x="348" y="264"/>
                  </a:lnTo>
                  <a:lnTo>
                    <a:pt x="342" y="264"/>
                  </a:lnTo>
                  <a:lnTo>
                    <a:pt x="342" y="240"/>
                  </a:lnTo>
                  <a:lnTo>
                    <a:pt x="348" y="234"/>
                  </a:lnTo>
                  <a:lnTo>
                    <a:pt x="360" y="210"/>
                  </a:lnTo>
                  <a:lnTo>
                    <a:pt x="360" y="198"/>
                  </a:lnTo>
                  <a:lnTo>
                    <a:pt x="354" y="198"/>
                  </a:lnTo>
                  <a:lnTo>
                    <a:pt x="342" y="192"/>
                  </a:lnTo>
                  <a:lnTo>
                    <a:pt x="336" y="192"/>
                  </a:lnTo>
                  <a:lnTo>
                    <a:pt x="318" y="174"/>
                  </a:lnTo>
                  <a:lnTo>
                    <a:pt x="312" y="162"/>
                  </a:lnTo>
                  <a:lnTo>
                    <a:pt x="306" y="156"/>
                  </a:lnTo>
                  <a:lnTo>
                    <a:pt x="300" y="144"/>
                  </a:lnTo>
                  <a:lnTo>
                    <a:pt x="288" y="144"/>
                  </a:lnTo>
                  <a:lnTo>
                    <a:pt x="270" y="138"/>
                  </a:lnTo>
                  <a:lnTo>
                    <a:pt x="258" y="132"/>
                  </a:lnTo>
                  <a:lnTo>
                    <a:pt x="252" y="126"/>
                  </a:lnTo>
                  <a:lnTo>
                    <a:pt x="252" y="114"/>
                  </a:lnTo>
                  <a:lnTo>
                    <a:pt x="246" y="114"/>
                  </a:lnTo>
                  <a:lnTo>
                    <a:pt x="228" y="96"/>
                  </a:lnTo>
                  <a:lnTo>
                    <a:pt x="210" y="96"/>
                  </a:lnTo>
                  <a:lnTo>
                    <a:pt x="192" y="78"/>
                  </a:lnTo>
                  <a:lnTo>
                    <a:pt x="186" y="66"/>
                  </a:lnTo>
                  <a:lnTo>
                    <a:pt x="174" y="60"/>
                  </a:lnTo>
                  <a:lnTo>
                    <a:pt x="168" y="60"/>
                  </a:lnTo>
                  <a:lnTo>
                    <a:pt x="156" y="72"/>
                  </a:lnTo>
                  <a:lnTo>
                    <a:pt x="156" y="78"/>
                  </a:lnTo>
                  <a:lnTo>
                    <a:pt x="144" y="78"/>
                  </a:lnTo>
                  <a:lnTo>
                    <a:pt x="144" y="66"/>
                  </a:lnTo>
                  <a:lnTo>
                    <a:pt x="132" y="54"/>
                  </a:lnTo>
                  <a:lnTo>
                    <a:pt x="126" y="42"/>
                  </a:lnTo>
                  <a:lnTo>
                    <a:pt x="120" y="36"/>
                  </a:lnTo>
                  <a:lnTo>
                    <a:pt x="108" y="30"/>
                  </a:lnTo>
                  <a:lnTo>
                    <a:pt x="102" y="18"/>
                  </a:lnTo>
                  <a:lnTo>
                    <a:pt x="78" y="6"/>
                  </a:lnTo>
                  <a:lnTo>
                    <a:pt x="72" y="0"/>
                  </a:lnTo>
                  <a:lnTo>
                    <a:pt x="60" y="0"/>
                  </a:lnTo>
                  <a:lnTo>
                    <a:pt x="48" y="6"/>
                  </a:lnTo>
                  <a:lnTo>
                    <a:pt x="42" y="12"/>
                  </a:lnTo>
                  <a:lnTo>
                    <a:pt x="18" y="12"/>
                  </a:lnTo>
                  <a:lnTo>
                    <a:pt x="0" y="30"/>
                  </a:lnTo>
                  <a:lnTo>
                    <a:pt x="0" y="36"/>
                  </a:lnTo>
                  <a:lnTo>
                    <a:pt x="24" y="60"/>
                  </a:lnTo>
                  <a:lnTo>
                    <a:pt x="30" y="60"/>
                  </a:lnTo>
                  <a:lnTo>
                    <a:pt x="6" y="72"/>
                  </a:lnTo>
                  <a:lnTo>
                    <a:pt x="6" y="108"/>
                  </a:lnTo>
                  <a:lnTo>
                    <a:pt x="30" y="126"/>
                  </a:lnTo>
                  <a:lnTo>
                    <a:pt x="12" y="126"/>
                  </a:lnTo>
                  <a:lnTo>
                    <a:pt x="0" y="138"/>
                  </a:lnTo>
                  <a:lnTo>
                    <a:pt x="6" y="144"/>
                  </a:lnTo>
                  <a:lnTo>
                    <a:pt x="12" y="156"/>
                  </a:lnTo>
                  <a:lnTo>
                    <a:pt x="24" y="168"/>
                  </a:lnTo>
                  <a:lnTo>
                    <a:pt x="12" y="186"/>
                  </a:lnTo>
                  <a:lnTo>
                    <a:pt x="18" y="192"/>
                  </a:lnTo>
                  <a:lnTo>
                    <a:pt x="24" y="204"/>
                  </a:lnTo>
                  <a:lnTo>
                    <a:pt x="36" y="210"/>
                  </a:lnTo>
                  <a:lnTo>
                    <a:pt x="42" y="222"/>
                  </a:lnTo>
                  <a:lnTo>
                    <a:pt x="42" y="228"/>
                  </a:lnTo>
                  <a:lnTo>
                    <a:pt x="36" y="228"/>
                  </a:lnTo>
                  <a:lnTo>
                    <a:pt x="30" y="234"/>
                  </a:lnTo>
                  <a:lnTo>
                    <a:pt x="6" y="234"/>
                  </a:lnTo>
                  <a:lnTo>
                    <a:pt x="6" y="282"/>
                  </a:lnTo>
                  <a:lnTo>
                    <a:pt x="36" y="318"/>
                  </a:lnTo>
                  <a:lnTo>
                    <a:pt x="42" y="318"/>
                  </a:lnTo>
                  <a:lnTo>
                    <a:pt x="54" y="324"/>
                  </a:lnTo>
                  <a:lnTo>
                    <a:pt x="78" y="348"/>
                  </a:lnTo>
                  <a:lnTo>
                    <a:pt x="90" y="354"/>
                  </a:lnTo>
                  <a:lnTo>
                    <a:pt x="126" y="354"/>
                  </a:lnTo>
                  <a:lnTo>
                    <a:pt x="138" y="37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40" name="Ungarn" descr="© INSCALE GmbH, 05.05.2010&#10;http://www.presentationload.com/">
              <a:extLst>
                <a:ext uri="{FF2B5EF4-FFF2-40B4-BE49-F238E27FC236}">
                  <a16:creationId xmlns:a16="http://schemas.microsoft.com/office/drawing/2014/main" id="{62D2B6BD-D0F6-49E1-A5F4-2637628384F9}"/>
                </a:ext>
              </a:extLst>
            </p:cNvPr>
            <p:cNvSpPr>
              <a:spLocks/>
            </p:cNvSpPr>
            <p:nvPr/>
          </p:nvSpPr>
          <p:spPr bwMode="gray">
            <a:xfrm>
              <a:off x="4566837" y="2701855"/>
              <a:ext cx="169346" cy="87809"/>
            </a:xfrm>
            <a:custGeom>
              <a:avLst/>
              <a:gdLst>
                <a:gd name="T0" fmla="*/ 2147483647 w 426"/>
                <a:gd name="T1" fmla="*/ 2147483647 h 222"/>
                <a:gd name="T2" fmla="*/ 2147483647 w 426"/>
                <a:gd name="T3" fmla="*/ 2147483647 h 222"/>
                <a:gd name="T4" fmla="*/ 2147483647 w 426"/>
                <a:gd name="T5" fmla="*/ 2147483647 h 222"/>
                <a:gd name="T6" fmla="*/ 0 w 426"/>
                <a:gd name="T7" fmla="*/ 2147483647 h 222"/>
                <a:gd name="T8" fmla="*/ 2147483647 w 426"/>
                <a:gd name="T9" fmla="*/ 2147483647 h 222"/>
                <a:gd name="T10" fmla="*/ 2147483647 w 426"/>
                <a:gd name="T11" fmla="*/ 2147483647 h 222"/>
                <a:gd name="T12" fmla="*/ 2147483647 w 426"/>
                <a:gd name="T13" fmla="*/ 2147483647 h 222"/>
                <a:gd name="T14" fmla="*/ 2147483647 w 426"/>
                <a:gd name="T15" fmla="*/ 2147483647 h 222"/>
                <a:gd name="T16" fmla="*/ 2147483647 w 426"/>
                <a:gd name="T17" fmla="*/ 2147483647 h 222"/>
                <a:gd name="T18" fmla="*/ 2147483647 w 426"/>
                <a:gd name="T19" fmla="*/ 2147483647 h 222"/>
                <a:gd name="T20" fmla="*/ 2147483647 w 426"/>
                <a:gd name="T21" fmla="*/ 2147483647 h 222"/>
                <a:gd name="T22" fmla="*/ 2147483647 w 426"/>
                <a:gd name="T23" fmla="*/ 2147483647 h 222"/>
                <a:gd name="T24" fmla="*/ 2147483647 w 426"/>
                <a:gd name="T25" fmla="*/ 2147483647 h 222"/>
                <a:gd name="T26" fmla="*/ 2147483647 w 426"/>
                <a:gd name="T27" fmla="*/ 2147483647 h 222"/>
                <a:gd name="T28" fmla="*/ 2147483647 w 426"/>
                <a:gd name="T29" fmla="*/ 2147483647 h 222"/>
                <a:gd name="T30" fmla="*/ 2147483647 w 426"/>
                <a:gd name="T31" fmla="*/ 2147483647 h 222"/>
                <a:gd name="T32" fmla="*/ 2147483647 w 426"/>
                <a:gd name="T33" fmla="*/ 2147483647 h 222"/>
                <a:gd name="T34" fmla="*/ 2147483647 w 426"/>
                <a:gd name="T35" fmla="*/ 2147483647 h 222"/>
                <a:gd name="T36" fmla="*/ 2147483647 w 426"/>
                <a:gd name="T37" fmla="*/ 2147483647 h 222"/>
                <a:gd name="T38" fmla="*/ 2147483647 w 426"/>
                <a:gd name="T39" fmla="*/ 2147483647 h 222"/>
                <a:gd name="T40" fmla="*/ 2147483647 w 426"/>
                <a:gd name="T41" fmla="*/ 2147483647 h 222"/>
                <a:gd name="T42" fmla="*/ 2147483647 w 426"/>
                <a:gd name="T43" fmla="*/ 2147483647 h 222"/>
                <a:gd name="T44" fmla="*/ 2147483647 w 426"/>
                <a:gd name="T45" fmla="*/ 2147483647 h 222"/>
                <a:gd name="T46" fmla="*/ 2147483647 w 426"/>
                <a:gd name="T47" fmla="*/ 2147483647 h 222"/>
                <a:gd name="T48" fmla="*/ 2147483647 w 426"/>
                <a:gd name="T49" fmla="*/ 0 h 222"/>
                <a:gd name="T50" fmla="*/ 2147483647 w 426"/>
                <a:gd name="T51" fmla="*/ 2147483647 h 222"/>
                <a:gd name="T52" fmla="*/ 2147483647 w 426"/>
                <a:gd name="T53" fmla="*/ 0 h 222"/>
                <a:gd name="T54" fmla="*/ 2147483647 w 426"/>
                <a:gd name="T55" fmla="*/ 2147483647 h 222"/>
                <a:gd name="T56" fmla="*/ 2147483647 w 426"/>
                <a:gd name="T57" fmla="*/ 2147483647 h 222"/>
                <a:gd name="T58" fmla="*/ 2147483647 w 426"/>
                <a:gd name="T59" fmla="*/ 2147483647 h 222"/>
                <a:gd name="T60" fmla="*/ 2147483647 w 426"/>
                <a:gd name="T61" fmla="*/ 2147483647 h 222"/>
                <a:gd name="T62" fmla="*/ 2147483647 w 426"/>
                <a:gd name="T63" fmla="*/ 2147483647 h 222"/>
                <a:gd name="T64" fmla="*/ 2147483647 w 426"/>
                <a:gd name="T65" fmla="*/ 2147483647 h 222"/>
                <a:gd name="T66" fmla="*/ 2147483647 w 426"/>
                <a:gd name="T67" fmla="*/ 2147483647 h 222"/>
                <a:gd name="T68" fmla="*/ 2147483647 w 426"/>
                <a:gd name="T69" fmla="*/ 2147483647 h 222"/>
                <a:gd name="T70" fmla="*/ 2147483647 w 426"/>
                <a:gd name="T71" fmla="*/ 2147483647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6"/>
                <a:gd name="T109" fmla="*/ 0 h 222"/>
                <a:gd name="T110" fmla="*/ 426 w 426"/>
                <a:gd name="T111" fmla="*/ 222 h 2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6" h="222">
                  <a:moveTo>
                    <a:pt x="42" y="66"/>
                  </a:moveTo>
                  <a:lnTo>
                    <a:pt x="24" y="66"/>
                  </a:lnTo>
                  <a:lnTo>
                    <a:pt x="18" y="78"/>
                  </a:lnTo>
                  <a:lnTo>
                    <a:pt x="30" y="78"/>
                  </a:lnTo>
                  <a:lnTo>
                    <a:pt x="18" y="96"/>
                  </a:lnTo>
                  <a:lnTo>
                    <a:pt x="18" y="120"/>
                  </a:lnTo>
                  <a:lnTo>
                    <a:pt x="0" y="120"/>
                  </a:lnTo>
                  <a:lnTo>
                    <a:pt x="0" y="126"/>
                  </a:lnTo>
                  <a:lnTo>
                    <a:pt x="6" y="132"/>
                  </a:lnTo>
                  <a:lnTo>
                    <a:pt x="12" y="150"/>
                  </a:lnTo>
                  <a:lnTo>
                    <a:pt x="30" y="162"/>
                  </a:lnTo>
                  <a:lnTo>
                    <a:pt x="42" y="168"/>
                  </a:lnTo>
                  <a:lnTo>
                    <a:pt x="48" y="174"/>
                  </a:lnTo>
                  <a:lnTo>
                    <a:pt x="48" y="180"/>
                  </a:lnTo>
                  <a:lnTo>
                    <a:pt x="60" y="192"/>
                  </a:lnTo>
                  <a:lnTo>
                    <a:pt x="72" y="198"/>
                  </a:lnTo>
                  <a:lnTo>
                    <a:pt x="78" y="204"/>
                  </a:lnTo>
                  <a:lnTo>
                    <a:pt x="90" y="210"/>
                  </a:lnTo>
                  <a:lnTo>
                    <a:pt x="108" y="210"/>
                  </a:lnTo>
                  <a:lnTo>
                    <a:pt x="114" y="222"/>
                  </a:lnTo>
                  <a:lnTo>
                    <a:pt x="156" y="216"/>
                  </a:lnTo>
                  <a:lnTo>
                    <a:pt x="168" y="210"/>
                  </a:lnTo>
                  <a:lnTo>
                    <a:pt x="174" y="204"/>
                  </a:lnTo>
                  <a:lnTo>
                    <a:pt x="198" y="204"/>
                  </a:lnTo>
                  <a:lnTo>
                    <a:pt x="216" y="186"/>
                  </a:lnTo>
                  <a:lnTo>
                    <a:pt x="240" y="186"/>
                  </a:lnTo>
                  <a:lnTo>
                    <a:pt x="258" y="198"/>
                  </a:lnTo>
                  <a:lnTo>
                    <a:pt x="288" y="192"/>
                  </a:lnTo>
                  <a:lnTo>
                    <a:pt x="288" y="174"/>
                  </a:lnTo>
                  <a:lnTo>
                    <a:pt x="306" y="180"/>
                  </a:lnTo>
                  <a:lnTo>
                    <a:pt x="312" y="174"/>
                  </a:lnTo>
                  <a:lnTo>
                    <a:pt x="324" y="168"/>
                  </a:lnTo>
                  <a:lnTo>
                    <a:pt x="330" y="162"/>
                  </a:lnTo>
                  <a:lnTo>
                    <a:pt x="330" y="144"/>
                  </a:lnTo>
                  <a:lnTo>
                    <a:pt x="336" y="138"/>
                  </a:lnTo>
                  <a:lnTo>
                    <a:pt x="348" y="132"/>
                  </a:lnTo>
                  <a:lnTo>
                    <a:pt x="366" y="114"/>
                  </a:lnTo>
                  <a:lnTo>
                    <a:pt x="366" y="72"/>
                  </a:lnTo>
                  <a:lnTo>
                    <a:pt x="378" y="60"/>
                  </a:lnTo>
                  <a:lnTo>
                    <a:pt x="408" y="60"/>
                  </a:lnTo>
                  <a:lnTo>
                    <a:pt x="426" y="42"/>
                  </a:lnTo>
                  <a:lnTo>
                    <a:pt x="420" y="36"/>
                  </a:lnTo>
                  <a:lnTo>
                    <a:pt x="408" y="36"/>
                  </a:lnTo>
                  <a:lnTo>
                    <a:pt x="402" y="30"/>
                  </a:lnTo>
                  <a:lnTo>
                    <a:pt x="396" y="30"/>
                  </a:lnTo>
                  <a:lnTo>
                    <a:pt x="372" y="6"/>
                  </a:lnTo>
                  <a:lnTo>
                    <a:pt x="348" y="6"/>
                  </a:lnTo>
                  <a:lnTo>
                    <a:pt x="336" y="12"/>
                  </a:lnTo>
                  <a:lnTo>
                    <a:pt x="324" y="12"/>
                  </a:lnTo>
                  <a:lnTo>
                    <a:pt x="324" y="0"/>
                  </a:lnTo>
                  <a:lnTo>
                    <a:pt x="312" y="0"/>
                  </a:lnTo>
                  <a:lnTo>
                    <a:pt x="312" y="18"/>
                  </a:lnTo>
                  <a:lnTo>
                    <a:pt x="294" y="12"/>
                  </a:lnTo>
                  <a:lnTo>
                    <a:pt x="294" y="0"/>
                  </a:lnTo>
                  <a:lnTo>
                    <a:pt x="270" y="0"/>
                  </a:lnTo>
                  <a:lnTo>
                    <a:pt x="264" y="12"/>
                  </a:lnTo>
                  <a:lnTo>
                    <a:pt x="252" y="24"/>
                  </a:lnTo>
                  <a:lnTo>
                    <a:pt x="246" y="24"/>
                  </a:lnTo>
                  <a:lnTo>
                    <a:pt x="234" y="30"/>
                  </a:lnTo>
                  <a:lnTo>
                    <a:pt x="210" y="30"/>
                  </a:lnTo>
                  <a:lnTo>
                    <a:pt x="204" y="42"/>
                  </a:lnTo>
                  <a:lnTo>
                    <a:pt x="168" y="36"/>
                  </a:lnTo>
                  <a:lnTo>
                    <a:pt x="156" y="60"/>
                  </a:lnTo>
                  <a:lnTo>
                    <a:pt x="144" y="60"/>
                  </a:lnTo>
                  <a:lnTo>
                    <a:pt x="126" y="66"/>
                  </a:lnTo>
                  <a:lnTo>
                    <a:pt x="84" y="66"/>
                  </a:lnTo>
                  <a:lnTo>
                    <a:pt x="78" y="60"/>
                  </a:lnTo>
                  <a:lnTo>
                    <a:pt x="72" y="48"/>
                  </a:lnTo>
                  <a:lnTo>
                    <a:pt x="66" y="42"/>
                  </a:lnTo>
                  <a:lnTo>
                    <a:pt x="54" y="60"/>
                  </a:lnTo>
                  <a:lnTo>
                    <a:pt x="42" y="54"/>
                  </a:lnTo>
                  <a:lnTo>
                    <a:pt x="42" y="66"/>
                  </a:lnTo>
                  <a:close/>
                </a:path>
              </a:pathLst>
            </a:custGeom>
            <a:solidFill>
              <a:schemeClr val="accent1"/>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41" name="Ukraine" descr="© INSCALE GmbH, 05.05.2010&#10;http://www.presentationload.com/">
              <a:extLst>
                <a:ext uri="{FF2B5EF4-FFF2-40B4-BE49-F238E27FC236}">
                  <a16:creationId xmlns:a16="http://schemas.microsoft.com/office/drawing/2014/main" id="{08BBBDA7-149D-4AFE-9A46-B6BCA546B522}"/>
                </a:ext>
              </a:extLst>
            </p:cNvPr>
            <p:cNvSpPr>
              <a:spLocks/>
            </p:cNvSpPr>
            <p:nvPr/>
          </p:nvSpPr>
          <p:spPr bwMode="gray">
            <a:xfrm>
              <a:off x="4714231" y="2584252"/>
              <a:ext cx="443750" cy="249316"/>
            </a:xfrm>
            <a:custGeom>
              <a:avLst/>
              <a:gdLst>
                <a:gd name="T0" fmla="*/ 2147483647 w 1116"/>
                <a:gd name="T1" fmla="*/ 2147483647 h 624"/>
                <a:gd name="T2" fmla="*/ 2147483647 w 1116"/>
                <a:gd name="T3" fmla="*/ 2147483647 h 624"/>
                <a:gd name="T4" fmla="*/ 2147483647 w 1116"/>
                <a:gd name="T5" fmla="*/ 2147483647 h 624"/>
                <a:gd name="T6" fmla="*/ 2147483647 w 1116"/>
                <a:gd name="T7" fmla="*/ 2147483647 h 624"/>
                <a:gd name="T8" fmla="*/ 2147483647 w 1116"/>
                <a:gd name="T9" fmla="*/ 2147483647 h 624"/>
                <a:gd name="T10" fmla="*/ 2147483647 w 1116"/>
                <a:gd name="T11" fmla="*/ 2147483647 h 624"/>
                <a:gd name="T12" fmla="*/ 2147483647 w 1116"/>
                <a:gd name="T13" fmla="*/ 2147483647 h 624"/>
                <a:gd name="T14" fmla="*/ 2147483647 w 1116"/>
                <a:gd name="T15" fmla="*/ 2147483647 h 624"/>
                <a:gd name="T16" fmla="*/ 2147483647 w 1116"/>
                <a:gd name="T17" fmla="*/ 2147483647 h 624"/>
                <a:gd name="T18" fmla="*/ 2147483647 w 1116"/>
                <a:gd name="T19" fmla="*/ 2147483647 h 624"/>
                <a:gd name="T20" fmla="*/ 2147483647 w 1116"/>
                <a:gd name="T21" fmla="*/ 2147483647 h 624"/>
                <a:gd name="T22" fmla="*/ 2147483647 w 1116"/>
                <a:gd name="T23" fmla="*/ 2147483647 h 624"/>
                <a:gd name="T24" fmla="*/ 2147483647 w 1116"/>
                <a:gd name="T25" fmla="*/ 2147483647 h 624"/>
                <a:gd name="T26" fmla="*/ 2147483647 w 1116"/>
                <a:gd name="T27" fmla="*/ 2147483647 h 624"/>
                <a:gd name="T28" fmla="*/ 2147483647 w 1116"/>
                <a:gd name="T29" fmla="*/ 2147483647 h 624"/>
                <a:gd name="T30" fmla="*/ 2147483647 w 1116"/>
                <a:gd name="T31" fmla="*/ 2147483647 h 624"/>
                <a:gd name="T32" fmla="*/ 2147483647 w 1116"/>
                <a:gd name="T33" fmla="*/ 2147483647 h 624"/>
                <a:gd name="T34" fmla="*/ 2147483647 w 1116"/>
                <a:gd name="T35" fmla="*/ 2147483647 h 624"/>
                <a:gd name="T36" fmla="*/ 2147483647 w 1116"/>
                <a:gd name="T37" fmla="*/ 2147483647 h 624"/>
                <a:gd name="T38" fmla="*/ 2147483647 w 1116"/>
                <a:gd name="T39" fmla="*/ 2147483647 h 624"/>
                <a:gd name="T40" fmla="*/ 2147483647 w 1116"/>
                <a:gd name="T41" fmla="*/ 2147483647 h 624"/>
                <a:gd name="T42" fmla="*/ 2147483647 w 1116"/>
                <a:gd name="T43" fmla="*/ 2147483647 h 624"/>
                <a:gd name="T44" fmla="*/ 2147483647 w 1116"/>
                <a:gd name="T45" fmla="*/ 2147483647 h 624"/>
                <a:gd name="T46" fmla="*/ 2147483647 w 1116"/>
                <a:gd name="T47" fmla="*/ 2147483647 h 624"/>
                <a:gd name="T48" fmla="*/ 2147483647 w 1116"/>
                <a:gd name="T49" fmla="*/ 2147483647 h 624"/>
                <a:gd name="T50" fmla="*/ 2147483647 w 1116"/>
                <a:gd name="T51" fmla="*/ 2147483647 h 624"/>
                <a:gd name="T52" fmla="*/ 2147483647 w 1116"/>
                <a:gd name="T53" fmla="*/ 2147483647 h 624"/>
                <a:gd name="T54" fmla="*/ 2147483647 w 1116"/>
                <a:gd name="T55" fmla="*/ 2147483647 h 624"/>
                <a:gd name="T56" fmla="*/ 2147483647 w 1116"/>
                <a:gd name="T57" fmla="*/ 2147483647 h 624"/>
                <a:gd name="T58" fmla="*/ 2147483647 w 1116"/>
                <a:gd name="T59" fmla="*/ 2147483647 h 624"/>
                <a:gd name="T60" fmla="*/ 2147483647 w 1116"/>
                <a:gd name="T61" fmla="*/ 2147483647 h 624"/>
                <a:gd name="T62" fmla="*/ 2147483647 w 1116"/>
                <a:gd name="T63" fmla="*/ 2147483647 h 624"/>
                <a:gd name="T64" fmla="*/ 2147483647 w 1116"/>
                <a:gd name="T65" fmla="*/ 2147483647 h 624"/>
                <a:gd name="T66" fmla="*/ 2147483647 w 1116"/>
                <a:gd name="T67" fmla="*/ 2147483647 h 624"/>
                <a:gd name="T68" fmla="*/ 2147483647 w 1116"/>
                <a:gd name="T69" fmla="*/ 2147483647 h 624"/>
                <a:gd name="T70" fmla="*/ 2147483647 w 1116"/>
                <a:gd name="T71" fmla="*/ 2147483647 h 624"/>
                <a:gd name="T72" fmla="*/ 2147483647 w 1116"/>
                <a:gd name="T73" fmla="*/ 2147483647 h 624"/>
                <a:gd name="T74" fmla="*/ 2147483647 w 1116"/>
                <a:gd name="T75" fmla="*/ 2147483647 h 624"/>
                <a:gd name="T76" fmla="*/ 2147483647 w 1116"/>
                <a:gd name="T77" fmla="*/ 2147483647 h 624"/>
                <a:gd name="T78" fmla="*/ 2147483647 w 1116"/>
                <a:gd name="T79" fmla="*/ 2147483647 h 624"/>
                <a:gd name="T80" fmla="*/ 2147483647 w 1116"/>
                <a:gd name="T81" fmla="*/ 2147483647 h 624"/>
                <a:gd name="T82" fmla="*/ 2147483647 w 1116"/>
                <a:gd name="T83" fmla="*/ 2147483647 h 624"/>
                <a:gd name="T84" fmla="*/ 2147483647 w 1116"/>
                <a:gd name="T85" fmla="*/ 2147483647 h 624"/>
                <a:gd name="T86" fmla="*/ 2147483647 w 1116"/>
                <a:gd name="T87" fmla="*/ 2147483647 h 624"/>
                <a:gd name="T88" fmla="*/ 2147483647 w 1116"/>
                <a:gd name="T89" fmla="*/ 0 h 624"/>
                <a:gd name="T90" fmla="*/ 2147483647 w 1116"/>
                <a:gd name="T91" fmla="*/ 2147483647 h 624"/>
                <a:gd name="T92" fmla="*/ 2147483647 w 1116"/>
                <a:gd name="T93" fmla="*/ 2147483647 h 624"/>
                <a:gd name="T94" fmla="*/ 2147483647 w 1116"/>
                <a:gd name="T95" fmla="*/ 2147483647 h 624"/>
                <a:gd name="T96" fmla="*/ 2147483647 w 1116"/>
                <a:gd name="T97" fmla="*/ 2147483647 h 624"/>
                <a:gd name="T98" fmla="*/ 2147483647 w 1116"/>
                <a:gd name="T99" fmla="*/ 2147483647 h 624"/>
                <a:gd name="T100" fmla="*/ 2147483647 w 1116"/>
                <a:gd name="T101" fmla="*/ 2147483647 h 624"/>
                <a:gd name="T102" fmla="*/ 2147483647 w 1116"/>
                <a:gd name="T103" fmla="*/ 2147483647 h 624"/>
                <a:gd name="T104" fmla="*/ 2147483647 w 1116"/>
                <a:gd name="T105" fmla="*/ 2147483647 h 624"/>
                <a:gd name="T106" fmla="*/ 2147483647 w 1116"/>
                <a:gd name="T107" fmla="*/ 2147483647 h 624"/>
                <a:gd name="T108" fmla="*/ 2147483647 w 1116"/>
                <a:gd name="T109" fmla="*/ 2147483647 h 624"/>
                <a:gd name="T110" fmla="*/ 2147483647 w 1116"/>
                <a:gd name="T111" fmla="*/ 2147483647 h 624"/>
                <a:gd name="T112" fmla="*/ 2147483647 w 1116"/>
                <a:gd name="T113" fmla="*/ 2147483647 h 624"/>
                <a:gd name="T114" fmla="*/ 2147483647 w 1116"/>
                <a:gd name="T115" fmla="*/ 2147483647 h 624"/>
                <a:gd name="T116" fmla="*/ 2147483647 w 1116"/>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16"/>
                <a:gd name="T178" fmla="*/ 0 h 624"/>
                <a:gd name="T179" fmla="*/ 1116 w 1116"/>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16" h="624">
                  <a:moveTo>
                    <a:pt x="24" y="324"/>
                  </a:moveTo>
                  <a:lnTo>
                    <a:pt x="30" y="324"/>
                  </a:lnTo>
                  <a:lnTo>
                    <a:pt x="36" y="330"/>
                  </a:lnTo>
                  <a:lnTo>
                    <a:pt x="48" y="330"/>
                  </a:lnTo>
                  <a:lnTo>
                    <a:pt x="54" y="336"/>
                  </a:lnTo>
                  <a:lnTo>
                    <a:pt x="78" y="336"/>
                  </a:lnTo>
                  <a:lnTo>
                    <a:pt x="84" y="342"/>
                  </a:lnTo>
                  <a:lnTo>
                    <a:pt x="108" y="342"/>
                  </a:lnTo>
                  <a:lnTo>
                    <a:pt x="114" y="348"/>
                  </a:lnTo>
                  <a:lnTo>
                    <a:pt x="126" y="342"/>
                  </a:lnTo>
                  <a:lnTo>
                    <a:pt x="132" y="342"/>
                  </a:lnTo>
                  <a:lnTo>
                    <a:pt x="144" y="336"/>
                  </a:lnTo>
                  <a:lnTo>
                    <a:pt x="150" y="336"/>
                  </a:lnTo>
                  <a:lnTo>
                    <a:pt x="174" y="360"/>
                  </a:lnTo>
                  <a:lnTo>
                    <a:pt x="186" y="360"/>
                  </a:lnTo>
                  <a:lnTo>
                    <a:pt x="198" y="348"/>
                  </a:lnTo>
                  <a:lnTo>
                    <a:pt x="198" y="342"/>
                  </a:lnTo>
                  <a:lnTo>
                    <a:pt x="222" y="348"/>
                  </a:lnTo>
                  <a:lnTo>
                    <a:pt x="228" y="336"/>
                  </a:lnTo>
                  <a:lnTo>
                    <a:pt x="234" y="342"/>
                  </a:lnTo>
                  <a:lnTo>
                    <a:pt x="252" y="342"/>
                  </a:lnTo>
                  <a:lnTo>
                    <a:pt x="258" y="336"/>
                  </a:lnTo>
                  <a:lnTo>
                    <a:pt x="258" y="330"/>
                  </a:lnTo>
                  <a:lnTo>
                    <a:pt x="270" y="318"/>
                  </a:lnTo>
                  <a:lnTo>
                    <a:pt x="282" y="318"/>
                  </a:lnTo>
                  <a:lnTo>
                    <a:pt x="288" y="306"/>
                  </a:lnTo>
                  <a:lnTo>
                    <a:pt x="294" y="306"/>
                  </a:lnTo>
                  <a:lnTo>
                    <a:pt x="306" y="312"/>
                  </a:lnTo>
                  <a:lnTo>
                    <a:pt x="318" y="312"/>
                  </a:lnTo>
                  <a:lnTo>
                    <a:pt x="318" y="306"/>
                  </a:lnTo>
                  <a:lnTo>
                    <a:pt x="324" y="306"/>
                  </a:lnTo>
                  <a:lnTo>
                    <a:pt x="336" y="300"/>
                  </a:lnTo>
                  <a:lnTo>
                    <a:pt x="342" y="300"/>
                  </a:lnTo>
                  <a:lnTo>
                    <a:pt x="354" y="312"/>
                  </a:lnTo>
                  <a:lnTo>
                    <a:pt x="360" y="312"/>
                  </a:lnTo>
                  <a:lnTo>
                    <a:pt x="360" y="318"/>
                  </a:lnTo>
                  <a:lnTo>
                    <a:pt x="402" y="318"/>
                  </a:lnTo>
                  <a:lnTo>
                    <a:pt x="408" y="324"/>
                  </a:lnTo>
                  <a:lnTo>
                    <a:pt x="408" y="336"/>
                  </a:lnTo>
                  <a:lnTo>
                    <a:pt x="426" y="336"/>
                  </a:lnTo>
                  <a:lnTo>
                    <a:pt x="438" y="342"/>
                  </a:lnTo>
                  <a:lnTo>
                    <a:pt x="444" y="348"/>
                  </a:lnTo>
                  <a:lnTo>
                    <a:pt x="450" y="360"/>
                  </a:lnTo>
                  <a:lnTo>
                    <a:pt x="444" y="366"/>
                  </a:lnTo>
                  <a:lnTo>
                    <a:pt x="444" y="390"/>
                  </a:lnTo>
                  <a:lnTo>
                    <a:pt x="456" y="384"/>
                  </a:lnTo>
                  <a:lnTo>
                    <a:pt x="462" y="384"/>
                  </a:lnTo>
                  <a:lnTo>
                    <a:pt x="468" y="390"/>
                  </a:lnTo>
                  <a:lnTo>
                    <a:pt x="462" y="396"/>
                  </a:lnTo>
                  <a:lnTo>
                    <a:pt x="462" y="414"/>
                  </a:lnTo>
                  <a:lnTo>
                    <a:pt x="474" y="414"/>
                  </a:lnTo>
                  <a:lnTo>
                    <a:pt x="480" y="420"/>
                  </a:lnTo>
                  <a:lnTo>
                    <a:pt x="492" y="420"/>
                  </a:lnTo>
                  <a:lnTo>
                    <a:pt x="498" y="426"/>
                  </a:lnTo>
                  <a:lnTo>
                    <a:pt x="498" y="456"/>
                  </a:lnTo>
                  <a:lnTo>
                    <a:pt x="492" y="456"/>
                  </a:lnTo>
                  <a:lnTo>
                    <a:pt x="480" y="462"/>
                  </a:lnTo>
                  <a:lnTo>
                    <a:pt x="462" y="462"/>
                  </a:lnTo>
                  <a:lnTo>
                    <a:pt x="456" y="456"/>
                  </a:lnTo>
                  <a:lnTo>
                    <a:pt x="438" y="456"/>
                  </a:lnTo>
                  <a:lnTo>
                    <a:pt x="432" y="462"/>
                  </a:lnTo>
                  <a:lnTo>
                    <a:pt x="432" y="468"/>
                  </a:lnTo>
                  <a:lnTo>
                    <a:pt x="438" y="468"/>
                  </a:lnTo>
                  <a:lnTo>
                    <a:pt x="450" y="474"/>
                  </a:lnTo>
                  <a:lnTo>
                    <a:pt x="456" y="480"/>
                  </a:lnTo>
                  <a:lnTo>
                    <a:pt x="438" y="492"/>
                  </a:lnTo>
                  <a:lnTo>
                    <a:pt x="432" y="498"/>
                  </a:lnTo>
                  <a:lnTo>
                    <a:pt x="420" y="504"/>
                  </a:lnTo>
                  <a:lnTo>
                    <a:pt x="414" y="504"/>
                  </a:lnTo>
                  <a:lnTo>
                    <a:pt x="414" y="516"/>
                  </a:lnTo>
                  <a:lnTo>
                    <a:pt x="420" y="522"/>
                  </a:lnTo>
                  <a:lnTo>
                    <a:pt x="420" y="534"/>
                  </a:lnTo>
                  <a:lnTo>
                    <a:pt x="396" y="540"/>
                  </a:lnTo>
                  <a:lnTo>
                    <a:pt x="390" y="528"/>
                  </a:lnTo>
                  <a:lnTo>
                    <a:pt x="390" y="516"/>
                  </a:lnTo>
                  <a:lnTo>
                    <a:pt x="390" y="528"/>
                  </a:lnTo>
                  <a:lnTo>
                    <a:pt x="396" y="540"/>
                  </a:lnTo>
                  <a:lnTo>
                    <a:pt x="396" y="546"/>
                  </a:lnTo>
                  <a:lnTo>
                    <a:pt x="408" y="552"/>
                  </a:lnTo>
                  <a:lnTo>
                    <a:pt x="438" y="552"/>
                  </a:lnTo>
                  <a:lnTo>
                    <a:pt x="444" y="546"/>
                  </a:lnTo>
                  <a:lnTo>
                    <a:pt x="450" y="546"/>
                  </a:lnTo>
                  <a:lnTo>
                    <a:pt x="456" y="540"/>
                  </a:lnTo>
                  <a:lnTo>
                    <a:pt x="474" y="540"/>
                  </a:lnTo>
                  <a:lnTo>
                    <a:pt x="480" y="534"/>
                  </a:lnTo>
                  <a:lnTo>
                    <a:pt x="486" y="534"/>
                  </a:lnTo>
                  <a:lnTo>
                    <a:pt x="480" y="528"/>
                  </a:lnTo>
                  <a:lnTo>
                    <a:pt x="486" y="528"/>
                  </a:lnTo>
                  <a:lnTo>
                    <a:pt x="492" y="522"/>
                  </a:lnTo>
                  <a:lnTo>
                    <a:pt x="510" y="516"/>
                  </a:lnTo>
                  <a:lnTo>
                    <a:pt x="522" y="510"/>
                  </a:lnTo>
                  <a:lnTo>
                    <a:pt x="528" y="504"/>
                  </a:lnTo>
                  <a:lnTo>
                    <a:pt x="534" y="492"/>
                  </a:lnTo>
                  <a:lnTo>
                    <a:pt x="540" y="486"/>
                  </a:lnTo>
                  <a:lnTo>
                    <a:pt x="546" y="474"/>
                  </a:lnTo>
                  <a:lnTo>
                    <a:pt x="552" y="468"/>
                  </a:lnTo>
                  <a:lnTo>
                    <a:pt x="552" y="462"/>
                  </a:lnTo>
                  <a:lnTo>
                    <a:pt x="582" y="450"/>
                  </a:lnTo>
                  <a:lnTo>
                    <a:pt x="600" y="438"/>
                  </a:lnTo>
                  <a:lnTo>
                    <a:pt x="612" y="444"/>
                  </a:lnTo>
                  <a:lnTo>
                    <a:pt x="624" y="444"/>
                  </a:lnTo>
                  <a:lnTo>
                    <a:pt x="636" y="450"/>
                  </a:lnTo>
                  <a:lnTo>
                    <a:pt x="654" y="450"/>
                  </a:lnTo>
                  <a:lnTo>
                    <a:pt x="666" y="438"/>
                  </a:lnTo>
                  <a:lnTo>
                    <a:pt x="648" y="462"/>
                  </a:lnTo>
                  <a:lnTo>
                    <a:pt x="624" y="462"/>
                  </a:lnTo>
                  <a:lnTo>
                    <a:pt x="630" y="468"/>
                  </a:lnTo>
                  <a:lnTo>
                    <a:pt x="642" y="474"/>
                  </a:lnTo>
                  <a:lnTo>
                    <a:pt x="654" y="486"/>
                  </a:lnTo>
                  <a:lnTo>
                    <a:pt x="726" y="486"/>
                  </a:lnTo>
                  <a:lnTo>
                    <a:pt x="738" y="504"/>
                  </a:lnTo>
                  <a:lnTo>
                    <a:pt x="726" y="510"/>
                  </a:lnTo>
                  <a:lnTo>
                    <a:pt x="720" y="516"/>
                  </a:lnTo>
                  <a:lnTo>
                    <a:pt x="684" y="534"/>
                  </a:lnTo>
                  <a:lnTo>
                    <a:pt x="678" y="540"/>
                  </a:lnTo>
                  <a:lnTo>
                    <a:pt x="678" y="546"/>
                  </a:lnTo>
                  <a:lnTo>
                    <a:pt x="684" y="546"/>
                  </a:lnTo>
                  <a:lnTo>
                    <a:pt x="690" y="552"/>
                  </a:lnTo>
                  <a:lnTo>
                    <a:pt x="720" y="552"/>
                  </a:lnTo>
                  <a:lnTo>
                    <a:pt x="732" y="558"/>
                  </a:lnTo>
                  <a:lnTo>
                    <a:pt x="744" y="570"/>
                  </a:lnTo>
                  <a:lnTo>
                    <a:pt x="744" y="594"/>
                  </a:lnTo>
                  <a:lnTo>
                    <a:pt x="738" y="606"/>
                  </a:lnTo>
                  <a:lnTo>
                    <a:pt x="738" y="618"/>
                  </a:lnTo>
                  <a:lnTo>
                    <a:pt x="756" y="618"/>
                  </a:lnTo>
                  <a:lnTo>
                    <a:pt x="768" y="624"/>
                  </a:lnTo>
                  <a:lnTo>
                    <a:pt x="780" y="624"/>
                  </a:lnTo>
                  <a:lnTo>
                    <a:pt x="780" y="618"/>
                  </a:lnTo>
                  <a:lnTo>
                    <a:pt x="792" y="606"/>
                  </a:lnTo>
                  <a:lnTo>
                    <a:pt x="804" y="600"/>
                  </a:lnTo>
                  <a:lnTo>
                    <a:pt x="810" y="594"/>
                  </a:lnTo>
                  <a:lnTo>
                    <a:pt x="840" y="594"/>
                  </a:lnTo>
                  <a:lnTo>
                    <a:pt x="858" y="576"/>
                  </a:lnTo>
                  <a:lnTo>
                    <a:pt x="858" y="570"/>
                  </a:lnTo>
                  <a:lnTo>
                    <a:pt x="864" y="564"/>
                  </a:lnTo>
                  <a:lnTo>
                    <a:pt x="870" y="564"/>
                  </a:lnTo>
                  <a:lnTo>
                    <a:pt x="882" y="576"/>
                  </a:lnTo>
                  <a:lnTo>
                    <a:pt x="918" y="570"/>
                  </a:lnTo>
                  <a:lnTo>
                    <a:pt x="918" y="552"/>
                  </a:lnTo>
                  <a:lnTo>
                    <a:pt x="930" y="540"/>
                  </a:lnTo>
                  <a:lnTo>
                    <a:pt x="900" y="540"/>
                  </a:lnTo>
                  <a:lnTo>
                    <a:pt x="894" y="546"/>
                  </a:lnTo>
                  <a:lnTo>
                    <a:pt x="882" y="552"/>
                  </a:lnTo>
                  <a:lnTo>
                    <a:pt x="852" y="552"/>
                  </a:lnTo>
                  <a:lnTo>
                    <a:pt x="846" y="546"/>
                  </a:lnTo>
                  <a:lnTo>
                    <a:pt x="834" y="540"/>
                  </a:lnTo>
                  <a:lnTo>
                    <a:pt x="828" y="534"/>
                  </a:lnTo>
                  <a:lnTo>
                    <a:pt x="828" y="522"/>
                  </a:lnTo>
                  <a:lnTo>
                    <a:pt x="822" y="516"/>
                  </a:lnTo>
                  <a:lnTo>
                    <a:pt x="810" y="516"/>
                  </a:lnTo>
                  <a:lnTo>
                    <a:pt x="786" y="498"/>
                  </a:lnTo>
                  <a:lnTo>
                    <a:pt x="750" y="492"/>
                  </a:lnTo>
                  <a:lnTo>
                    <a:pt x="744" y="480"/>
                  </a:lnTo>
                  <a:lnTo>
                    <a:pt x="810" y="480"/>
                  </a:lnTo>
                  <a:lnTo>
                    <a:pt x="822" y="474"/>
                  </a:lnTo>
                  <a:lnTo>
                    <a:pt x="834" y="462"/>
                  </a:lnTo>
                  <a:lnTo>
                    <a:pt x="846" y="468"/>
                  </a:lnTo>
                  <a:lnTo>
                    <a:pt x="852" y="462"/>
                  </a:lnTo>
                  <a:lnTo>
                    <a:pt x="864" y="456"/>
                  </a:lnTo>
                  <a:lnTo>
                    <a:pt x="870" y="450"/>
                  </a:lnTo>
                  <a:lnTo>
                    <a:pt x="882" y="444"/>
                  </a:lnTo>
                  <a:lnTo>
                    <a:pt x="906" y="444"/>
                  </a:lnTo>
                  <a:lnTo>
                    <a:pt x="918" y="438"/>
                  </a:lnTo>
                  <a:lnTo>
                    <a:pt x="930" y="438"/>
                  </a:lnTo>
                  <a:lnTo>
                    <a:pt x="978" y="408"/>
                  </a:lnTo>
                  <a:lnTo>
                    <a:pt x="1014" y="408"/>
                  </a:lnTo>
                  <a:lnTo>
                    <a:pt x="1014" y="372"/>
                  </a:lnTo>
                  <a:lnTo>
                    <a:pt x="1032" y="372"/>
                  </a:lnTo>
                  <a:lnTo>
                    <a:pt x="1038" y="366"/>
                  </a:lnTo>
                  <a:lnTo>
                    <a:pt x="1038" y="360"/>
                  </a:lnTo>
                  <a:lnTo>
                    <a:pt x="1050" y="348"/>
                  </a:lnTo>
                  <a:lnTo>
                    <a:pt x="1080" y="348"/>
                  </a:lnTo>
                  <a:lnTo>
                    <a:pt x="1092" y="342"/>
                  </a:lnTo>
                  <a:lnTo>
                    <a:pt x="1104" y="342"/>
                  </a:lnTo>
                  <a:lnTo>
                    <a:pt x="1116" y="330"/>
                  </a:lnTo>
                  <a:lnTo>
                    <a:pt x="1116" y="324"/>
                  </a:lnTo>
                  <a:lnTo>
                    <a:pt x="1110" y="312"/>
                  </a:lnTo>
                  <a:lnTo>
                    <a:pt x="1110" y="300"/>
                  </a:lnTo>
                  <a:lnTo>
                    <a:pt x="1098" y="294"/>
                  </a:lnTo>
                  <a:lnTo>
                    <a:pt x="1086" y="282"/>
                  </a:lnTo>
                  <a:lnTo>
                    <a:pt x="1092" y="276"/>
                  </a:lnTo>
                  <a:lnTo>
                    <a:pt x="1110" y="276"/>
                  </a:lnTo>
                  <a:lnTo>
                    <a:pt x="1116" y="270"/>
                  </a:lnTo>
                  <a:lnTo>
                    <a:pt x="1110" y="264"/>
                  </a:lnTo>
                  <a:lnTo>
                    <a:pt x="1104" y="264"/>
                  </a:lnTo>
                  <a:lnTo>
                    <a:pt x="1098" y="258"/>
                  </a:lnTo>
                  <a:lnTo>
                    <a:pt x="1092" y="258"/>
                  </a:lnTo>
                  <a:lnTo>
                    <a:pt x="1110" y="246"/>
                  </a:lnTo>
                  <a:lnTo>
                    <a:pt x="1110" y="222"/>
                  </a:lnTo>
                  <a:lnTo>
                    <a:pt x="1104" y="216"/>
                  </a:lnTo>
                  <a:lnTo>
                    <a:pt x="1080" y="216"/>
                  </a:lnTo>
                  <a:lnTo>
                    <a:pt x="1062" y="204"/>
                  </a:lnTo>
                  <a:lnTo>
                    <a:pt x="1056" y="198"/>
                  </a:lnTo>
                  <a:lnTo>
                    <a:pt x="1056" y="192"/>
                  </a:lnTo>
                  <a:lnTo>
                    <a:pt x="1014" y="192"/>
                  </a:lnTo>
                  <a:lnTo>
                    <a:pt x="1002" y="186"/>
                  </a:lnTo>
                  <a:lnTo>
                    <a:pt x="996" y="180"/>
                  </a:lnTo>
                  <a:lnTo>
                    <a:pt x="978" y="180"/>
                  </a:lnTo>
                  <a:lnTo>
                    <a:pt x="966" y="186"/>
                  </a:lnTo>
                  <a:lnTo>
                    <a:pt x="942" y="162"/>
                  </a:lnTo>
                  <a:lnTo>
                    <a:pt x="936" y="150"/>
                  </a:lnTo>
                  <a:lnTo>
                    <a:pt x="924" y="150"/>
                  </a:lnTo>
                  <a:lnTo>
                    <a:pt x="918" y="156"/>
                  </a:lnTo>
                  <a:lnTo>
                    <a:pt x="918" y="162"/>
                  </a:lnTo>
                  <a:lnTo>
                    <a:pt x="912" y="156"/>
                  </a:lnTo>
                  <a:lnTo>
                    <a:pt x="864" y="156"/>
                  </a:lnTo>
                  <a:lnTo>
                    <a:pt x="858" y="150"/>
                  </a:lnTo>
                  <a:lnTo>
                    <a:pt x="846" y="150"/>
                  </a:lnTo>
                  <a:lnTo>
                    <a:pt x="840" y="144"/>
                  </a:lnTo>
                  <a:lnTo>
                    <a:pt x="816" y="150"/>
                  </a:lnTo>
                  <a:lnTo>
                    <a:pt x="810" y="150"/>
                  </a:lnTo>
                  <a:lnTo>
                    <a:pt x="798" y="102"/>
                  </a:lnTo>
                  <a:lnTo>
                    <a:pt x="756" y="84"/>
                  </a:lnTo>
                  <a:lnTo>
                    <a:pt x="720" y="84"/>
                  </a:lnTo>
                  <a:lnTo>
                    <a:pt x="720" y="66"/>
                  </a:lnTo>
                  <a:lnTo>
                    <a:pt x="714" y="48"/>
                  </a:lnTo>
                  <a:lnTo>
                    <a:pt x="720" y="48"/>
                  </a:lnTo>
                  <a:lnTo>
                    <a:pt x="726" y="42"/>
                  </a:lnTo>
                  <a:lnTo>
                    <a:pt x="726" y="30"/>
                  </a:lnTo>
                  <a:lnTo>
                    <a:pt x="720" y="30"/>
                  </a:lnTo>
                  <a:lnTo>
                    <a:pt x="708" y="24"/>
                  </a:lnTo>
                  <a:lnTo>
                    <a:pt x="702" y="18"/>
                  </a:lnTo>
                  <a:lnTo>
                    <a:pt x="696" y="18"/>
                  </a:lnTo>
                  <a:lnTo>
                    <a:pt x="690" y="0"/>
                  </a:lnTo>
                  <a:lnTo>
                    <a:pt x="642" y="0"/>
                  </a:lnTo>
                  <a:lnTo>
                    <a:pt x="630" y="6"/>
                  </a:lnTo>
                  <a:lnTo>
                    <a:pt x="600" y="6"/>
                  </a:lnTo>
                  <a:lnTo>
                    <a:pt x="600" y="18"/>
                  </a:lnTo>
                  <a:lnTo>
                    <a:pt x="594" y="24"/>
                  </a:lnTo>
                  <a:lnTo>
                    <a:pt x="558" y="24"/>
                  </a:lnTo>
                  <a:lnTo>
                    <a:pt x="546" y="18"/>
                  </a:lnTo>
                  <a:lnTo>
                    <a:pt x="516" y="18"/>
                  </a:lnTo>
                  <a:lnTo>
                    <a:pt x="510" y="30"/>
                  </a:lnTo>
                  <a:lnTo>
                    <a:pt x="498" y="36"/>
                  </a:lnTo>
                  <a:lnTo>
                    <a:pt x="492" y="42"/>
                  </a:lnTo>
                  <a:lnTo>
                    <a:pt x="486" y="54"/>
                  </a:lnTo>
                  <a:lnTo>
                    <a:pt x="492" y="60"/>
                  </a:lnTo>
                  <a:lnTo>
                    <a:pt x="492" y="72"/>
                  </a:lnTo>
                  <a:lnTo>
                    <a:pt x="486" y="78"/>
                  </a:lnTo>
                  <a:lnTo>
                    <a:pt x="468" y="78"/>
                  </a:lnTo>
                  <a:lnTo>
                    <a:pt x="462" y="72"/>
                  </a:lnTo>
                  <a:lnTo>
                    <a:pt x="438" y="72"/>
                  </a:lnTo>
                  <a:lnTo>
                    <a:pt x="426" y="78"/>
                  </a:lnTo>
                  <a:lnTo>
                    <a:pt x="420" y="78"/>
                  </a:lnTo>
                  <a:lnTo>
                    <a:pt x="420" y="66"/>
                  </a:lnTo>
                  <a:lnTo>
                    <a:pt x="414" y="60"/>
                  </a:lnTo>
                  <a:lnTo>
                    <a:pt x="396" y="60"/>
                  </a:lnTo>
                  <a:lnTo>
                    <a:pt x="390" y="66"/>
                  </a:lnTo>
                  <a:lnTo>
                    <a:pt x="390" y="72"/>
                  </a:lnTo>
                  <a:lnTo>
                    <a:pt x="378" y="60"/>
                  </a:lnTo>
                  <a:lnTo>
                    <a:pt x="366" y="66"/>
                  </a:lnTo>
                  <a:lnTo>
                    <a:pt x="360" y="60"/>
                  </a:lnTo>
                  <a:lnTo>
                    <a:pt x="342" y="66"/>
                  </a:lnTo>
                  <a:lnTo>
                    <a:pt x="336" y="54"/>
                  </a:lnTo>
                  <a:lnTo>
                    <a:pt x="324" y="66"/>
                  </a:lnTo>
                  <a:lnTo>
                    <a:pt x="306" y="54"/>
                  </a:lnTo>
                  <a:lnTo>
                    <a:pt x="300" y="60"/>
                  </a:lnTo>
                  <a:lnTo>
                    <a:pt x="282" y="48"/>
                  </a:lnTo>
                  <a:lnTo>
                    <a:pt x="258" y="42"/>
                  </a:lnTo>
                  <a:lnTo>
                    <a:pt x="222" y="42"/>
                  </a:lnTo>
                  <a:lnTo>
                    <a:pt x="216" y="36"/>
                  </a:lnTo>
                  <a:lnTo>
                    <a:pt x="216" y="30"/>
                  </a:lnTo>
                  <a:lnTo>
                    <a:pt x="168" y="30"/>
                  </a:lnTo>
                  <a:lnTo>
                    <a:pt x="162" y="36"/>
                  </a:lnTo>
                  <a:lnTo>
                    <a:pt x="150" y="42"/>
                  </a:lnTo>
                  <a:lnTo>
                    <a:pt x="114" y="42"/>
                  </a:lnTo>
                  <a:lnTo>
                    <a:pt x="114" y="48"/>
                  </a:lnTo>
                  <a:lnTo>
                    <a:pt x="96" y="66"/>
                  </a:lnTo>
                  <a:lnTo>
                    <a:pt x="78" y="66"/>
                  </a:lnTo>
                  <a:lnTo>
                    <a:pt x="66" y="60"/>
                  </a:lnTo>
                  <a:lnTo>
                    <a:pt x="72" y="78"/>
                  </a:lnTo>
                  <a:lnTo>
                    <a:pt x="90" y="96"/>
                  </a:lnTo>
                  <a:lnTo>
                    <a:pt x="90" y="102"/>
                  </a:lnTo>
                  <a:lnTo>
                    <a:pt x="102" y="108"/>
                  </a:lnTo>
                  <a:lnTo>
                    <a:pt x="108" y="114"/>
                  </a:lnTo>
                  <a:lnTo>
                    <a:pt x="102" y="126"/>
                  </a:lnTo>
                  <a:lnTo>
                    <a:pt x="108" y="132"/>
                  </a:lnTo>
                  <a:lnTo>
                    <a:pt x="108" y="138"/>
                  </a:lnTo>
                  <a:lnTo>
                    <a:pt x="114" y="144"/>
                  </a:lnTo>
                  <a:lnTo>
                    <a:pt x="108" y="150"/>
                  </a:lnTo>
                  <a:lnTo>
                    <a:pt x="102" y="150"/>
                  </a:lnTo>
                  <a:lnTo>
                    <a:pt x="96" y="156"/>
                  </a:lnTo>
                  <a:lnTo>
                    <a:pt x="84" y="156"/>
                  </a:lnTo>
                  <a:lnTo>
                    <a:pt x="30" y="204"/>
                  </a:lnTo>
                  <a:lnTo>
                    <a:pt x="30" y="246"/>
                  </a:lnTo>
                  <a:lnTo>
                    <a:pt x="42" y="258"/>
                  </a:lnTo>
                  <a:lnTo>
                    <a:pt x="18" y="258"/>
                  </a:lnTo>
                  <a:lnTo>
                    <a:pt x="18" y="270"/>
                  </a:lnTo>
                  <a:lnTo>
                    <a:pt x="12" y="276"/>
                  </a:lnTo>
                  <a:lnTo>
                    <a:pt x="12" y="282"/>
                  </a:lnTo>
                  <a:lnTo>
                    <a:pt x="6" y="288"/>
                  </a:lnTo>
                  <a:lnTo>
                    <a:pt x="0" y="288"/>
                  </a:lnTo>
                  <a:lnTo>
                    <a:pt x="0" y="306"/>
                  </a:lnTo>
                  <a:lnTo>
                    <a:pt x="6" y="306"/>
                  </a:lnTo>
                  <a:lnTo>
                    <a:pt x="24" y="324"/>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42" name="Uganda" descr="© INSCALE GmbH, 05.05.2010&#10;http://www.presentationload.com/">
              <a:extLst>
                <a:ext uri="{FF2B5EF4-FFF2-40B4-BE49-F238E27FC236}">
                  <a16:creationId xmlns:a16="http://schemas.microsoft.com/office/drawing/2014/main" id="{5DCCAF0A-AF5A-4980-A79C-E19F8EC24934}"/>
                </a:ext>
              </a:extLst>
            </p:cNvPr>
            <p:cNvSpPr>
              <a:spLocks noEditPoints="1"/>
            </p:cNvSpPr>
            <p:nvPr/>
          </p:nvSpPr>
          <p:spPr bwMode="gray">
            <a:xfrm>
              <a:off x="4966683" y="4119348"/>
              <a:ext cx="155234" cy="183459"/>
            </a:xfrm>
            <a:custGeom>
              <a:avLst/>
              <a:gdLst>
                <a:gd name="T0" fmla="*/ 2147483647 w 390"/>
                <a:gd name="T1" fmla="*/ 2147483647 h 462"/>
                <a:gd name="T2" fmla="*/ 2147483647 w 390"/>
                <a:gd name="T3" fmla="*/ 2147483647 h 462"/>
                <a:gd name="T4" fmla="*/ 2147483647 w 390"/>
                <a:gd name="T5" fmla="*/ 2147483647 h 462"/>
                <a:gd name="T6" fmla="*/ 2147483647 w 390"/>
                <a:gd name="T7" fmla="*/ 2147483647 h 462"/>
                <a:gd name="T8" fmla="*/ 2147483647 w 390"/>
                <a:gd name="T9" fmla="*/ 2147483647 h 462"/>
                <a:gd name="T10" fmla="*/ 2147483647 w 390"/>
                <a:gd name="T11" fmla="*/ 2147483647 h 462"/>
                <a:gd name="T12" fmla="*/ 2147483647 w 390"/>
                <a:gd name="T13" fmla="*/ 2147483647 h 462"/>
                <a:gd name="T14" fmla="*/ 2147483647 w 390"/>
                <a:gd name="T15" fmla="*/ 2147483647 h 462"/>
                <a:gd name="T16" fmla="*/ 2147483647 w 390"/>
                <a:gd name="T17" fmla="*/ 2147483647 h 462"/>
                <a:gd name="T18" fmla="*/ 2147483647 w 390"/>
                <a:gd name="T19" fmla="*/ 2147483647 h 462"/>
                <a:gd name="T20" fmla="*/ 2147483647 w 390"/>
                <a:gd name="T21" fmla="*/ 2147483647 h 462"/>
                <a:gd name="T22" fmla="*/ 2147483647 w 390"/>
                <a:gd name="T23" fmla="*/ 2147483647 h 462"/>
                <a:gd name="T24" fmla="*/ 2147483647 w 390"/>
                <a:gd name="T25" fmla="*/ 0 h 462"/>
                <a:gd name="T26" fmla="*/ 2147483647 w 390"/>
                <a:gd name="T27" fmla="*/ 2147483647 h 462"/>
                <a:gd name="T28" fmla="*/ 2147483647 w 390"/>
                <a:gd name="T29" fmla="*/ 2147483647 h 462"/>
                <a:gd name="T30" fmla="*/ 2147483647 w 390"/>
                <a:gd name="T31" fmla="*/ 2147483647 h 462"/>
                <a:gd name="T32" fmla="*/ 2147483647 w 390"/>
                <a:gd name="T33" fmla="*/ 2147483647 h 462"/>
                <a:gd name="T34" fmla="*/ 2147483647 w 390"/>
                <a:gd name="T35" fmla="*/ 2147483647 h 462"/>
                <a:gd name="T36" fmla="*/ 2147483647 w 390"/>
                <a:gd name="T37" fmla="*/ 2147483647 h 462"/>
                <a:gd name="T38" fmla="*/ 2147483647 w 390"/>
                <a:gd name="T39" fmla="*/ 2147483647 h 462"/>
                <a:gd name="T40" fmla="*/ 2147483647 w 390"/>
                <a:gd name="T41" fmla="*/ 2147483647 h 462"/>
                <a:gd name="T42" fmla="*/ 2147483647 w 390"/>
                <a:gd name="T43" fmla="*/ 2147483647 h 462"/>
                <a:gd name="T44" fmla="*/ 2147483647 w 390"/>
                <a:gd name="T45" fmla="*/ 2147483647 h 462"/>
                <a:gd name="T46" fmla="*/ 2147483647 w 390"/>
                <a:gd name="T47" fmla="*/ 2147483647 h 462"/>
                <a:gd name="T48" fmla="*/ 2147483647 w 390"/>
                <a:gd name="T49" fmla="*/ 2147483647 h 462"/>
                <a:gd name="T50" fmla="*/ 2147483647 w 390"/>
                <a:gd name="T51" fmla="*/ 2147483647 h 462"/>
                <a:gd name="T52" fmla="*/ 2147483647 w 390"/>
                <a:gd name="T53" fmla="*/ 2147483647 h 462"/>
                <a:gd name="T54" fmla="*/ 2147483647 w 390"/>
                <a:gd name="T55" fmla="*/ 2147483647 h 462"/>
                <a:gd name="T56" fmla="*/ 2147483647 w 390"/>
                <a:gd name="T57" fmla="*/ 2147483647 h 462"/>
                <a:gd name="T58" fmla="*/ 2147483647 w 390"/>
                <a:gd name="T59" fmla="*/ 2147483647 h 462"/>
                <a:gd name="T60" fmla="*/ 2147483647 w 390"/>
                <a:gd name="T61" fmla="*/ 2147483647 h 462"/>
                <a:gd name="T62" fmla="*/ 2147483647 w 390"/>
                <a:gd name="T63" fmla="*/ 2147483647 h 462"/>
                <a:gd name="T64" fmla="*/ 2147483647 w 390"/>
                <a:gd name="T65" fmla="*/ 2147483647 h 462"/>
                <a:gd name="T66" fmla="*/ 2147483647 w 390"/>
                <a:gd name="T67" fmla="*/ 2147483647 h 462"/>
                <a:gd name="T68" fmla="*/ 2147483647 w 390"/>
                <a:gd name="T69" fmla="*/ 2147483647 h 462"/>
                <a:gd name="T70" fmla="*/ 2147483647 w 390"/>
                <a:gd name="T71" fmla="*/ 2147483647 h 462"/>
                <a:gd name="T72" fmla="*/ 2147483647 w 390"/>
                <a:gd name="T73" fmla="*/ 2147483647 h 462"/>
                <a:gd name="T74" fmla="*/ 2147483647 w 390"/>
                <a:gd name="T75" fmla="*/ 2147483647 h 462"/>
                <a:gd name="T76" fmla="*/ 2147483647 w 390"/>
                <a:gd name="T77" fmla="*/ 2147483647 h 462"/>
                <a:gd name="T78" fmla="*/ 2147483647 w 390"/>
                <a:gd name="T79" fmla="*/ 2147483647 h 462"/>
                <a:gd name="T80" fmla="*/ 2147483647 w 390"/>
                <a:gd name="T81" fmla="*/ 2147483647 h 462"/>
                <a:gd name="T82" fmla="*/ 2147483647 w 390"/>
                <a:gd name="T83" fmla="*/ 2147483647 h 462"/>
                <a:gd name="T84" fmla="*/ 2147483647 w 390"/>
                <a:gd name="T85" fmla="*/ 2147483647 h 462"/>
                <a:gd name="T86" fmla="*/ 2147483647 w 390"/>
                <a:gd name="T87" fmla="*/ 2147483647 h 462"/>
                <a:gd name="T88" fmla="*/ 2147483647 w 390"/>
                <a:gd name="T89" fmla="*/ 2147483647 h 462"/>
                <a:gd name="T90" fmla="*/ 2147483647 w 390"/>
                <a:gd name="T91" fmla="*/ 2147483647 h 462"/>
                <a:gd name="T92" fmla="*/ 2147483647 w 390"/>
                <a:gd name="T93" fmla="*/ 2147483647 h 462"/>
                <a:gd name="T94" fmla="*/ 2147483647 w 390"/>
                <a:gd name="T95" fmla="*/ 2147483647 h 462"/>
                <a:gd name="T96" fmla="*/ 2147483647 w 390"/>
                <a:gd name="T97" fmla="*/ 2147483647 h 462"/>
                <a:gd name="T98" fmla="*/ 2147483647 w 390"/>
                <a:gd name="T99" fmla="*/ 2147483647 h 462"/>
                <a:gd name="T100" fmla="*/ 2147483647 w 390"/>
                <a:gd name="T101" fmla="*/ 2147483647 h 462"/>
                <a:gd name="T102" fmla="*/ 2147483647 w 390"/>
                <a:gd name="T103" fmla="*/ 2147483647 h 462"/>
                <a:gd name="T104" fmla="*/ 2147483647 w 390"/>
                <a:gd name="T105" fmla="*/ 2147483647 h 462"/>
                <a:gd name="T106" fmla="*/ 2147483647 w 390"/>
                <a:gd name="T107" fmla="*/ 2147483647 h 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0"/>
                <a:gd name="T163" fmla="*/ 0 h 462"/>
                <a:gd name="T164" fmla="*/ 390 w 390"/>
                <a:gd name="T165" fmla="*/ 462 h 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0" h="462">
                  <a:moveTo>
                    <a:pt x="306" y="426"/>
                  </a:moveTo>
                  <a:lnTo>
                    <a:pt x="318" y="426"/>
                  </a:lnTo>
                  <a:lnTo>
                    <a:pt x="318" y="420"/>
                  </a:lnTo>
                  <a:lnTo>
                    <a:pt x="306" y="420"/>
                  </a:lnTo>
                  <a:lnTo>
                    <a:pt x="306" y="426"/>
                  </a:lnTo>
                  <a:close/>
                  <a:moveTo>
                    <a:pt x="390" y="192"/>
                  </a:moveTo>
                  <a:lnTo>
                    <a:pt x="384" y="180"/>
                  </a:lnTo>
                  <a:lnTo>
                    <a:pt x="378" y="174"/>
                  </a:lnTo>
                  <a:lnTo>
                    <a:pt x="366" y="150"/>
                  </a:lnTo>
                  <a:lnTo>
                    <a:pt x="366" y="144"/>
                  </a:lnTo>
                  <a:lnTo>
                    <a:pt x="372" y="138"/>
                  </a:lnTo>
                  <a:lnTo>
                    <a:pt x="378" y="138"/>
                  </a:lnTo>
                  <a:lnTo>
                    <a:pt x="384" y="132"/>
                  </a:lnTo>
                  <a:lnTo>
                    <a:pt x="348" y="90"/>
                  </a:lnTo>
                  <a:lnTo>
                    <a:pt x="354" y="84"/>
                  </a:lnTo>
                  <a:lnTo>
                    <a:pt x="336" y="66"/>
                  </a:lnTo>
                  <a:lnTo>
                    <a:pt x="336" y="60"/>
                  </a:lnTo>
                  <a:lnTo>
                    <a:pt x="342" y="54"/>
                  </a:lnTo>
                  <a:lnTo>
                    <a:pt x="342" y="42"/>
                  </a:lnTo>
                  <a:lnTo>
                    <a:pt x="336" y="42"/>
                  </a:lnTo>
                  <a:lnTo>
                    <a:pt x="336" y="48"/>
                  </a:lnTo>
                  <a:lnTo>
                    <a:pt x="330" y="42"/>
                  </a:lnTo>
                  <a:lnTo>
                    <a:pt x="324" y="42"/>
                  </a:lnTo>
                  <a:lnTo>
                    <a:pt x="324" y="18"/>
                  </a:lnTo>
                  <a:lnTo>
                    <a:pt x="318" y="6"/>
                  </a:lnTo>
                  <a:lnTo>
                    <a:pt x="312" y="0"/>
                  </a:lnTo>
                  <a:lnTo>
                    <a:pt x="300" y="0"/>
                  </a:lnTo>
                  <a:lnTo>
                    <a:pt x="300" y="6"/>
                  </a:lnTo>
                  <a:lnTo>
                    <a:pt x="294" y="12"/>
                  </a:lnTo>
                  <a:lnTo>
                    <a:pt x="294" y="18"/>
                  </a:lnTo>
                  <a:lnTo>
                    <a:pt x="276" y="36"/>
                  </a:lnTo>
                  <a:lnTo>
                    <a:pt x="252" y="36"/>
                  </a:lnTo>
                  <a:lnTo>
                    <a:pt x="246" y="30"/>
                  </a:lnTo>
                  <a:lnTo>
                    <a:pt x="246" y="24"/>
                  </a:lnTo>
                  <a:lnTo>
                    <a:pt x="234" y="24"/>
                  </a:lnTo>
                  <a:lnTo>
                    <a:pt x="222" y="36"/>
                  </a:lnTo>
                  <a:lnTo>
                    <a:pt x="198" y="36"/>
                  </a:lnTo>
                  <a:lnTo>
                    <a:pt x="180" y="60"/>
                  </a:lnTo>
                  <a:lnTo>
                    <a:pt x="156" y="30"/>
                  </a:lnTo>
                  <a:lnTo>
                    <a:pt x="150" y="30"/>
                  </a:lnTo>
                  <a:lnTo>
                    <a:pt x="144" y="36"/>
                  </a:lnTo>
                  <a:lnTo>
                    <a:pt x="144" y="42"/>
                  </a:lnTo>
                  <a:lnTo>
                    <a:pt x="132" y="42"/>
                  </a:lnTo>
                  <a:lnTo>
                    <a:pt x="120" y="36"/>
                  </a:lnTo>
                  <a:lnTo>
                    <a:pt x="114" y="30"/>
                  </a:lnTo>
                  <a:lnTo>
                    <a:pt x="102" y="30"/>
                  </a:lnTo>
                  <a:lnTo>
                    <a:pt x="84" y="48"/>
                  </a:lnTo>
                  <a:lnTo>
                    <a:pt x="90" y="72"/>
                  </a:lnTo>
                  <a:lnTo>
                    <a:pt x="72" y="90"/>
                  </a:lnTo>
                  <a:lnTo>
                    <a:pt x="84" y="96"/>
                  </a:lnTo>
                  <a:lnTo>
                    <a:pt x="90" y="102"/>
                  </a:lnTo>
                  <a:lnTo>
                    <a:pt x="90" y="108"/>
                  </a:lnTo>
                  <a:lnTo>
                    <a:pt x="84" y="114"/>
                  </a:lnTo>
                  <a:lnTo>
                    <a:pt x="78" y="126"/>
                  </a:lnTo>
                  <a:lnTo>
                    <a:pt x="78" y="138"/>
                  </a:lnTo>
                  <a:lnTo>
                    <a:pt x="84" y="144"/>
                  </a:lnTo>
                  <a:lnTo>
                    <a:pt x="96" y="144"/>
                  </a:lnTo>
                  <a:lnTo>
                    <a:pt x="108" y="150"/>
                  </a:lnTo>
                  <a:lnTo>
                    <a:pt x="114" y="156"/>
                  </a:lnTo>
                  <a:lnTo>
                    <a:pt x="114" y="168"/>
                  </a:lnTo>
                  <a:lnTo>
                    <a:pt x="108" y="180"/>
                  </a:lnTo>
                  <a:lnTo>
                    <a:pt x="96" y="192"/>
                  </a:lnTo>
                  <a:lnTo>
                    <a:pt x="84" y="216"/>
                  </a:lnTo>
                  <a:lnTo>
                    <a:pt x="72" y="222"/>
                  </a:lnTo>
                  <a:lnTo>
                    <a:pt x="66" y="234"/>
                  </a:lnTo>
                  <a:lnTo>
                    <a:pt x="42" y="246"/>
                  </a:lnTo>
                  <a:lnTo>
                    <a:pt x="42" y="258"/>
                  </a:lnTo>
                  <a:lnTo>
                    <a:pt x="24" y="270"/>
                  </a:lnTo>
                  <a:lnTo>
                    <a:pt x="6" y="342"/>
                  </a:lnTo>
                  <a:lnTo>
                    <a:pt x="6" y="372"/>
                  </a:lnTo>
                  <a:lnTo>
                    <a:pt x="0" y="450"/>
                  </a:lnTo>
                  <a:lnTo>
                    <a:pt x="12" y="450"/>
                  </a:lnTo>
                  <a:lnTo>
                    <a:pt x="24" y="462"/>
                  </a:lnTo>
                  <a:lnTo>
                    <a:pt x="30" y="462"/>
                  </a:lnTo>
                  <a:lnTo>
                    <a:pt x="42" y="438"/>
                  </a:lnTo>
                  <a:lnTo>
                    <a:pt x="48" y="432"/>
                  </a:lnTo>
                  <a:lnTo>
                    <a:pt x="48" y="426"/>
                  </a:lnTo>
                  <a:lnTo>
                    <a:pt x="72" y="420"/>
                  </a:lnTo>
                  <a:lnTo>
                    <a:pt x="162" y="426"/>
                  </a:lnTo>
                  <a:lnTo>
                    <a:pt x="162" y="414"/>
                  </a:lnTo>
                  <a:lnTo>
                    <a:pt x="156" y="408"/>
                  </a:lnTo>
                  <a:lnTo>
                    <a:pt x="150" y="396"/>
                  </a:lnTo>
                  <a:lnTo>
                    <a:pt x="162" y="372"/>
                  </a:lnTo>
                  <a:lnTo>
                    <a:pt x="168" y="366"/>
                  </a:lnTo>
                  <a:lnTo>
                    <a:pt x="168" y="342"/>
                  </a:lnTo>
                  <a:lnTo>
                    <a:pt x="174" y="336"/>
                  </a:lnTo>
                  <a:lnTo>
                    <a:pt x="186" y="330"/>
                  </a:lnTo>
                  <a:lnTo>
                    <a:pt x="204" y="324"/>
                  </a:lnTo>
                  <a:lnTo>
                    <a:pt x="240" y="324"/>
                  </a:lnTo>
                  <a:lnTo>
                    <a:pt x="252" y="312"/>
                  </a:lnTo>
                  <a:lnTo>
                    <a:pt x="258" y="300"/>
                  </a:lnTo>
                  <a:lnTo>
                    <a:pt x="264" y="300"/>
                  </a:lnTo>
                  <a:lnTo>
                    <a:pt x="264" y="306"/>
                  </a:lnTo>
                  <a:lnTo>
                    <a:pt x="270" y="312"/>
                  </a:lnTo>
                  <a:lnTo>
                    <a:pt x="270" y="330"/>
                  </a:lnTo>
                  <a:lnTo>
                    <a:pt x="276" y="324"/>
                  </a:lnTo>
                  <a:lnTo>
                    <a:pt x="312" y="324"/>
                  </a:lnTo>
                  <a:lnTo>
                    <a:pt x="312" y="330"/>
                  </a:lnTo>
                  <a:lnTo>
                    <a:pt x="312" y="318"/>
                  </a:lnTo>
                  <a:lnTo>
                    <a:pt x="318" y="306"/>
                  </a:lnTo>
                  <a:lnTo>
                    <a:pt x="324" y="300"/>
                  </a:lnTo>
                  <a:lnTo>
                    <a:pt x="330" y="282"/>
                  </a:lnTo>
                  <a:lnTo>
                    <a:pt x="348" y="270"/>
                  </a:lnTo>
                  <a:lnTo>
                    <a:pt x="348" y="246"/>
                  </a:lnTo>
                  <a:lnTo>
                    <a:pt x="354" y="240"/>
                  </a:lnTo>
                  <a:lnTo>
                    <a:pt x="372" y="240"/>
                  </a:lnTo>
                  <a:lnTo>
                    <a:pt x="378" y="216"/>
                  </a:lnTo>
                  <a:lnTo>
                    <a:pt x="390" y="204"/>
                  </a:lnTo>
                  <a:lnTo>
                    <a:pt x="390" y="19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43" name="Türkei" descr="© INSCALE GmbH, 05.05.2010&#10;http://www.presentationload.com/">
              <a:extLst>
                <a:ext uri="{FF2B5EF4-FFF2-40B4-BE49-F238E27FC236}">
                  <a16:creationId xmlns:a16="http://schemas.microsoft.com/office/drawing/2014/main" id="{60E56999-0BFA-4823-A2B4-58CEE2A8CA75}"/>
                </a:ext>
              </a:extLst>
            </p:cNvPr>
            <p:cNvSpPr>
              <a:spLocks noEditPoints="1"/>
            </p:cNvSpPr>
            <p:nvPr/>
          </p:nvSpPr>
          <p:spPr bwMode="gray">
            <a:xfrm>
              <a:off x="4805176" y="2902562"/>
              <a:ext cx="528423" cy="200707"/>
            </a:xfrm>
            <a:custGeom>
              <a:avLst/>
              <a:gdLst>
                <a:gd name="T0" fmla="*/ 2147483647 w 1332"/>
                <a:gd name="T1" fmla="*/ 2147483647 h 510"/>
                <a:gd name="T2" fmla="*/ 2147483647 w 1332"/>
                <a:gd name="T3" fmla="*/ 2147483647 h 510"/>
                <a:gd name="T4" fmla="*/ 2147483647 w 1332"/>
                <a:gd name="T5" fmla="*/ 2147483647 h 510"/>
                <a:gd name="T6" fmla="*/ 2147483647 w 1332"/>
                <a:gd name="T7" fmla="*/ 2147483647 h 510"/>
                <a:gd name="T8" fmla="*/ 2147483647 w 1332"/>
                <a:gd name="T9" fmla="*/ 2147483647 h 510"/>
                <a:gd name="T10" fmla="*/ 2147483647 w 1332"/>
                <a:gd name="T11" fmla="*/ 2147483647 h 510"/>
                <a:gd name="T12" fmla="*/ 2147483647 w 1332"/>
                <a:gd name="T13" fmla="*/ 2147483647 h 510"/>
                <a:gd name="T14" fmla="*/ 2147483647 w 1332"/>
                <a:gd name="T15" fmla="*/ 2147483647 h 510"/>
                <a:gd name="T16" fmla="*/ 2147483647 w 1332"/>
                <a:gd name="T17" fmla="*/ 2147483647 h 510"/>
                <a:gd name="T18" fmla="*/ 2147483647 w 1332"/>
                <a:gd name="T19" fmla="*/ 2147483647 h 510"/>
                <a:gd name="T20" fmla="*/ 2147483647 w 1332"/>
                <a:gd name="T21" fmla="*/ 2147483647 h 510"/>
                <a:gd name="T22" fmla="*/ 2147483647 w 1332"/>
                <a:gd name="T23" fmla="*/ 2147483647 h 510"/>
                <a:gd name="T24" fmla="*/ 2147483647 w 1332"/>
                <a:gd name="T25" fmla="*/ 2147483647 h 510"/>
                <a:gd name="T26" fmla="*/ 2147483647 w 1332"/>
                <a:gd name="T27" fmla="*/ 2147483647 h 510"/>
                <a:gd name="T28" fmla="*/ 2147483647 w 1332"/>
                <a:gd name="T29" fmla="*/ 2147483647 h 510"/>
                <a:gd name="T30" fmla="*/ 2147483647 w 1332"/>
                <a:gd name="T31" fmla="*/ 2147483647 h 510"/>
                <a:gd name="T32" fmla="*/ 2147483647 w 1332"/>
                <a:gd name="T33" fmla="*/ 2147483647 h 510"/>
                <a:gd name="T34" fmla="*/ 2147483647 w 1332"/>
                <a:gd name="T35" fmla="*/ 2147483647 h 510"/>
                <a:gd name="T36" fmla="*/ 2147483647 w 1332"/>
                <a:gd name="T37" fmla="*/ 2147483647 h 510"/>
                <a:gd name="T38" fmla="*/ 2147483647 w 1332"/>
                <a:gd name="T39" fmla="*/ 2147483647 h 510"/>
                <a:gd name="T40" fmla="*/ 2147483647 w 1332"/>
                <a:gd name="T41" fmla="*/ 2147483647 h 510"/>
                <a:gd name="T42" fmla="*/ 2147483647 w 1332"/>
                <a:gd name="T43" fmla="*/ 2147483647 h 510"/>
                <a:gd name="T44" fmla="*/ 2147483647 w 1332"/>
                <a:gd name="T45" fmla="*/ 2147483647 h 510"/>
                <a:gd name="T46" fmla="*/ 2147483647 w 1332"/>
                <a:gd name="T47" fmla="*/ 2147483647 h 510"/>
                <a:gd name="T48" fmla="*/ 2147483647 w 1332"/>
                <a:gd name="T49" fmla="*/ 2147483647 h 510"/>
                <a:gd name="T50" fmla="*/ 2147483647 w 1332"/>
                <a:gd name="T51" fmla="*/ 2147483647 h 510"/>
                <a:gd name="T52" fmla="*/ 2147483647 w 1332"/>
                <a:gd name="T53" fmla="*/ 2147483647 h 510"/>
                <a:gd name="T54" fmla="*/ 2147483647 w 1332"/>
                <a:gd name="T55" fmla="*/ 2147483647 h 510"/>
                <a:gd name="T56" fmla="*/ 2147483647 w 1332"/>
                <a:gd name="T57" fmla="*/ 2147483647 h 510"/>
                <a:gd name="T58" fmla="*/ 2147483647 w 1332"/>
                <a:gd name="T59" fmla="*/ 2147483647 h 510"/>
                <a:gd name="T60" fmla="*/ 2147483647 w 1332"/>
                <a:gd name="T61" fmla="*/ 2147483647 h 510"/>
                <a:gd name="T62" fmla="*/ 2147483647 w 1332"/>
                <a:gd name="T63" fmla="*/ 2147483647 h 510"/>
                <a:gd name="T64" fmla="*/ 2147483647 w 1332"/>
                <a:gd name="T65" fmla="*/ 2147483647 h 510"/>
                <a:gd name="T66" fmla="*/ 2147483647 w 1332"/>
                <a:gd name="T67" fmla="*/ 2147483647 h 510"/>
                <a:gd name="T68" fmla="*/ 2147483647 w 1332"/>
                <a:gd name="T69" fmla="*/ 2147483647 h 510"/>
                <a:gd name="T70" fmla="*/ 2147483647 w 1332"/>
                <a:gd name="T71" fmla="*/ 2147483647 h 510"/>
                <a:gd name="T72" fmla="*/ 2147483647 w 1332"/>
                <a:gd name="T73" fmla="*/ 2147483647 h 510"/>
                <a:gd name="T74" fmla="*/ 2147483647 w 1332"/>
                <a:gd name="T75" fmla="*/ 2147483647 h 510"/>
                <a:gd name="T76" fmla="*/ 2147483647 w 1332"/>
                <a:gd name="T77" fmla="*/ 2147483647 h 510"/>
                <a:gd name="T78" fmla="*/ 2147483647 w 1332"/>
                <a:gd name="T79" fmla="*/ 2147483647 h 510"/>
                <a:gd name="T80" fmla="*/ 2147483647 w 1332"/>
                <a:gd name="T81" fmla="*/ 2147483647 h 510"/>
                <a:gd name="T82" fmla="*/ 2147483647 w 1332"/>
                <a:gd name="T83" fmla="*/ 2147483647 h 510"/>
                <a:gd name="T84" fmla="*/ 2147483647 w 1332"/>
                <a:gd name="T85" fmla="*/ 2147483647 h 510"/>
                <a:gd name="T86" fmla="*/ 2147483647 w 1332"/>
                <a:gd name="T87" fmla="*/ 2147483647 h 510"/>
                <a:gd name="T88" fmla="*/ 2147483647 w 1332"/>
                <a:gd name="T89" fmla="*/ 2147483647 h 510"/>
                <a:gd name="T90" fmla="*/ 2147483647 w 1332"/>
                <a:gd name="T91" fmla="*/ 2147483647 h 510"/>
                <a:gd name="T92" fmla="*/ 2147483647 w 1332"/>
                <a:gd name="T93" fmla="*/ 2147483647 h 510"/>
                <a:gd name="T94" fmla="*/ 2147483647 w 1332"/>
                <a:gd name="T95" fmla="*/ 2147483647 h 510"/>
                <a:gd name="T96" fmla="*/ 2147483647 w 1332"/>
                <a:gd name="T97" fmla="*/ 2147483647 h 510"/>
                <a:gd name="T98" fmla="*/ 2147483647 w 1332"/>
                <a:gd name="T99" fmla="*/ 2147483647 h 510"/>
                <a:gd name="T100" fmla="*/ 2147483647 w 1332"/>
                <a:gd name="T101" fmla="*/ 2147483647 h 510"/>
                <a:gd name="T102" fmla="*/ 2147483647 w 1332"/>
                <a:gd name="T103" fmla="*/ 2147483647 h 510"/>
                <a:gd name="T104" fmla="*/ 2147483647 w 1332"/>
                <a:gd name="T105" fmla="*/ 2147483647 h 510"/>
                <a:gd name="T106" fmla="*/ 2147483647 w 1332"/>
                <a:gd name="T107" fmla="*/ 2147483647 h 510"/>
                <a:gd name="T108" fmla="*/ 2147483647 w 1332"/>
                <a:gd name="T109" fmla="*/ 2147483647 h 510"/>
                <a:gd name="T110" fmla="*/ 2147483647 w 1332"/>
                <a:gd name="T111" fmla="*/ 2147483647 h 510"/>
                <a:gd name="T112" fmla="*/ 2147483647 w 1332"/>
                <a:gd name="T113" fmla="*/ 2147483647 h 510"/>
                <a:gd name="T114" fmla="*/ 2147483647 w 1332"/>
                <a:gd name="T115" fmla="*/ 2147483647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32"/>
                <a:gd name="T175" fmla="*/ 0 h 510"/>
                <a:gd name="T176" fmla="*/ 1332 w 1332"/>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32" h="510">
                  <a:moveTo>
                    <a:pt x="6" y="192"/>
                  </a:moveTo>
                  <a:lnTo>
                    <a:pt x="24" y="186"/>
                  </a:lnTo>
                  <a:lnTo>
                    <a:pt x="30" y="174"/>
                  </a:lnTo>
                  <a:lnTo>
                    <a:pt x="0" y="174"/>
                  </a:lnTo>
                  <a:lnTo>
                    <a:pt x="6" y="192"/>
                  </a:lnTo>
                  <a:close/>
                  <a:moveTo>
                    <a:pt x="42" y="162"/>
                  </a:moveTo>
                  <a:lnTo>
                    <a:pt x="42" y="168"/>
                  </a:lnTo>
                  <a:lnTo>
                    <a:pt x="48" y="174"/>
                  </a:lnTo>
                  <a:lnTo>
                    <a:pt x="60" y="174"/>
                  </a:lnTo>
                  <a:lnTo>
                    <a:pt x="60" y="162"/>
                  </a:lnTo>
                  <a:lnTo>
                    <a:pt x="54" y="156"/>
                  </a:lnTo>
                  <a:lnTo>
                    <a:pt x="54" y="150"/>
                  </a:lnTo>
                  <a:lnTo>
                    <a:pt x="48" y="150"/>
                  </a:lnTo>
                  <a:lnTo>
                    <a:pt x="48" y="156"/>
                  </a:lnTo>
                  <a:lnTo>
                    <a:pt x="42" y="162"/>
                  </a:lnTo>
                  <a:close/>
                  <a:moveTo>
                    <a:pt x="96" y="138"/>
                  </a:moveTo>
                  <a:lnTo>
                    <a:pt x="66" y="138"/>
                  </a:lnTo>
                  <a:lnTo>
                    <a:pt x="66" y="174"/>
                  </a:lnTo>
                  <a:lnTo>
                    <a:pt x="78" y="150"/>
                  </a:lnTo>
                  <a:lnTo>
                    <a:pt x="96" y="138"/>
                  </a:lnTo>
                  <a:close/>
                  <a:moveTo>
                    <a:pt x="1332" y="402"/>
                  </a:moveTo>
                  <a:lnTo>
                    <a:pt x="1332" y="390"/>
                  </a:lnTo>
                  <a:lnTo>
                    <a:pt x="1308" y="384"/>
                  </a:lnTo>
                  <a:lnTo>
                    <a:pt x="1308" y="354"/>
                  </a:lnTo>
                  <a:lnTo>
                    <a:pt x="1272" y="336"/>
                  </a:lnTo>
                  <a:lnTo>
                    <a:pt x="1278" y="330"/>
                  </a:lnTo>
                  <a:lnTo>
                    <a:pt x="1284" y="318"/>
                  </a:lnTo>
                  <a:lnTo>
                    <a:pt x="1284" y="312"/>
                  </a:lnTo>
                  <a:lnTo>
                    <a:pt x="1290" y="306"/>
                  </a:lnTo>
                  <a:lnTo>
                    <a:pt x="1284" y="306"/>
                  </a:lnTo>
                  <a:lnTo>
                    <a:pt x="1278" y="300"/>
                  </a:lnTo>
                  <a:lnTo>
                    <a:pt x="1278" y="288"/>
                  </a:lnTo>
                  <a:lnTo>
                    <a:pt x="1266" y="276"/>
                  </a:lnTo>
                  <a:lnTo>
                    <a:pt x="1266" y="246"/>
                  </a:lnTo>
                  <a:lnTo>
                    <a:pt x="1248" y="222"/>
                  </a:lnTo>
                  <a:lnTo>
                    <a:pt x="1272" y="222"/>
                  </a:lnTo>
                  <a:lnTo>
                    <a:pt x="1272" y="216"/>
                  </a:lnTo>
                  <a:lnTo>
                    <a:pt x="1278" y="210"/>
                  </a:lnTo>
                  <a:lnTo>
                    <a:pt x="1272" y="198"/>
                  </a:lnTo>
                  <a:lnTo>
                    <a:pt x="1272" y="186"/>
                  </a:lnTo>
                  <a:lnTo>
                    <a:pt x="1266" y="180"/>
                  </a:lnTo>
                  <a:lnTo>
                    <a:pt x="1266" y="174"/>
                  </a:lnTo>
                  <a:lnTo>
                    <a:pt x="1260" y="174"/>
                  </a:lnTo>
                  <a:lnTo>
                    <a:pt x="1248" y="180"/>
                  </a:lnTo>
                  <a:lnTo>
                    <a:pt x="1236" y="180"/>
                  </a:lnTo>
                  <a:lnTo>
                    <a:pt x="1224" y="174"/>
                  </a:lnTo>
                  <a:lnTo>
                    <a:pt x="1218" y="168"/>
                  </a:lnTo>
                  <a:lnTo>
                    <a:pt x="1212" y="156"/>
                  </a:lnTo>
                  <a:lnTo>
                    <a:pt x="1212" y="144"/>
                  </a:lnTo>
                  <a:lnTo>
                    <a:pt x="1200" y="108"/>
                  </a:lnTo>
                  <a:lnTo>
                    <a:pt x="1194" y="96"/>
                  </a:lnTo>
                  <a:lnTo>
                    <a:pt x="1194" y="84"/>
                  </a:lnTo>
                  <a:lnTo>
                    <a:pt x="1188" y="78"/>
                  </a:lnTo>
                  <a:lnTo>
                    <a:pt x="1164" y="78"/>
                  </a:lnTo>
                  <a:lnTo>
                    <a:pt x="1164" y="72"/>
                  </a:lnTo>
                  <a:lnTo>
                    <a:pt x="1158" y="60"/>
                  </a:lnTo>
                  <a:lnTo>
                    <a:pt x="1152" y="54"/>
                  </a:lnTo>
                  <a:lnTo>
                    <a:pt x="1140" y="48"/>
                  </a:lnTo>
                  <a:lnTo>
                    <a:pt x="1128" y="48"/>
                  </a:lnTo>
                  <a:lnTo>
                    <a:pt x="1116" y="54"/>
                  </a:lnTo>
                  <a:lnTo>
                    <a:pt x="1110" y="60"/>
                  </a:lnTo>
                  <a:lnTo>
                    <a:pt x="1074" y="54"/>
                  </a:lnTo>
                  <a:lnTo>
                    <a:pt x="1062" y="66"/>
                  </a:lnTo>
                  <a:lnTo>
                    <a:pt x="1026" y="90"/>
                  </a:lnTo>
                  <a:lnTo>
                    <a:pt x="1014" y="96"/>
                  </a:lnTo>
                  <a:lnTo>
                    <a:pt x="930" y="96"/>
                  </a:lnTo>
                  <a:lnTo>
                    <a:pt x="876" y="108"/>
                  </a:lnTo>
                  <a:lnTo>
                    <a:pt x="810" y="84"/>
                  </a:lnTo>
                  <a:lnTo>
                    <a:pt x="786" y="96"/>
                  </a:lnTo>
                  <a:lnTo>
                    <a:pt x="786" y="90"/>
                  </a:lnTo>
                  <a:lnTo>
                    <a:pt x="780" y="84"/>
                  </a:lnTo>
                  <a:lnTo>
                    <a:pt x="774" y="72"/>
                  </a:lnTo>
                  <a:lnTo>
                    <a:pt x="768" y="66"/>
                  </a:lnTo>
                  <a:lnTo>
                    <a:pt x="756" y="66"/>
                  </a:lnTo>
                  <a:lnTo>
                    <a:pt x="744" y="72"/>
                  </a:lnTo>
                  <a:lnTo>
                    <a:pt x="738" y="78"/>
                  </a:lnTo>
                  <a:lnTo>
                    <a:pt x="708" y="60"/>
                  </a:lnTo>
                  <a:lnTo>
                    <a:pt x="708" y="36"/>
                  </a:lnTo>
                  <a:lnTo>
                    <a:pt x="660" y="48"/>
                  </a:lnTo>
                  <a:lnTo>
                    <a:pt x="636" y="30"/>
                  </a:lnTo>
                  <a:lnTo>
                    <a:pt x="630" y="12"/>
                  </a:lnTo>
                  <a:lnTo>
                    <a:pt x="624" y="12"/>
                  </a:lnTo>
                  <a:lnTo>
                    <a:pt x="618" y="18"/>
                  </a:lnTo>
                  <a:lnTo>
                    <a:pt x="600" y="18"/>
                  </a:lnTo>
                  <a:lnTo>
                    <a:pt x="588" y="24"/>
                  </a:lnTo>
                  <a:lnTo>
                    <a:pt x="558" y="24"/>
                  </a:lnTo>
                  <a:lnTo>
                    <a:pt x="534" y="18"/>
                  </a:lnTo>
                  <a:lnTo>
                    <a:pt x="504" y="18"/>
                  </a:lnTo>
                  <a:lnTo>
                    <a:pt x="492" y="24"/>
                  </a:lnTo>
                  <a:lnTo>
                    <a:pt x="456" y="36"/>
                  </a:lnTo>
                  <a:lnTo>
                    <a:pt x="444" y="42"/>
                  </a:lnTo>
                  <a:lnTo>
                    <a:pt x="438" y="48"/>
                  </a:lnTo>
                  <a:lnTo>
                    <a:pt x="426" y="54"/>
                  </a:lnTo>
                  <a:lnTo>
                    <a:pt x="414" y="66"/>
                  </a:lnTo>
                  <a:lnTo>
                    <a:pt x="408" y="66"/>
                  </a:lnTo>
                  <a:lnTo>
                    <a:pt x="396" y="90"/>
                  </a:lnTo>
                  <a:lnTo>
                    <a:pt x="378" y="90"/>
                  </a:lnTo>
                  <a:lnTo>
                    <a:pt x="354" y="84"/>
                  </a:lnTo>
                  <a:lnTo>
                    <a:pt x="294" y="84"/>
                  </a:lnTo>
                  <a:lnTo>
                    <a:pt x="282" y="78"/>
                  </a:lnTo>
                  <a:lnTo>
                    <a:pt x="264" y="78"/>
                  </a:lnTo>
                  <a:lnTo>
                    <a:pt x="252" y="72"/>
                  </a:lnTo>
                  <a:lnTo>
                    <a:pt x="240" y="72"/>
                  </a:lnTo>
                  <a:lnTo>
                    <a:pt x="234" y="66"/>
                  </a:lnTo>
                  <a:lnTo>
                    <a:pt x="198" y="66"/>
                  </a:lnTo>
                  <a:lnTo>
                    <a:pt x="186" y="54"/>
                  </a:lnTo>
                  <a:lnTo>
                    <a:pt x="180" y="36"/>
                  </a:lnTo>
                  <a:lnTo>
                    <a:pt x="180" y="24"/>
                  </a:lnTo>
                  <a:lnTo>
                    <a:pt x="168" y="24"/>
                  </a:lnTo>
                  <a:lnTo>
                    <a:pt x="156" y="18"/>
                  </a:lnTo>
                  <a:lnTo>
                    <a:pt x="144" y="18"/>
                  </a:lnTo>
                  <a:lnTo>
                    <a:pt x="132" y="0"/>
                  </a:lnTo>
                  <a:lnTo>
                    <a:pt x="120" y="18"/>
                  </a:lnTo>
                  <a:lnTo>
                    <a:pt x="90" y="12"/>
                  </a:lnTo>
                  <a:lnTo>
                    <a:pt x="72" y="36"/>
                  </a:lnTo>
                  <a:lnTo>
                    <a:pt x="78" y="42"/>
                  </a:lnTo>
                  <a:lnTo>
                    <a:pt x="90" y="42"/>
                  </a:lnTo>
                  <a:lnTo>
                    <a:pt x="90" y="48"/>
                  </a:lnTo>
                  <a:lnTo>
                    <a:pt x="96" y="54"/>
                  </a:lnTo>
                  <a:lnTo>
                    <a:pt x="96" y="66"/>
                  </a:lnTo>
                  <a:lnTo>
                    <a:pt x="78" y="66"/>
                  </a:lnTo>
                  <a:lnTo>
                    <a:pt x="72" y="72"/>
                  </a:lnTo>
                  <a:lnTo>
                    <a:pt x="72" y="78"/>
                  </a:lnTo>
                  <a:lnTo>
                    <a:pt x="78" y="84"/>
                  </a:lnTo>
                  <a:lnTo>
                    <a:pt x="78" y="96"/>
                  </a:lnTo>
                  <a:lnTo>
                    <a:pt x="72" y="108"/>
                  </a:lnTo>
                  <a:lnTo>
                    <a:pt x="72" y="114"/>
                  </a:lnTo>
                  <a:lnTo>
                    <a:pt x="66" y="120"/>
                  </a:lnTo>
                  <a:lnTo>
                    <a:pt x="66" y="132"/>
                  </a:lnTo>
                  <a:lnTo>
                    <a:pt x="72" y="132"/>
                  </a:lnTo>
                  <a:lnTo>
                    <a:pt x="90" y="126"/>
                  </a:lnTo>
                  <a:lnTo>
                    <a:pt x="102" y="126"/>
                  </a:lnTo>
                  <a:lnTo>
                    <a:pt x="108" y="120"/>
                  </a:lnTo>
                  <a:lnTo>
                    <a:pt x="114" y="120"/>
                  </a:lnTo>
                  <a:lnTo>
                    <a:pt x="114" y="132"/>
                  </a:lnTo>
                  <a:lnTo>
                    <a:pt x="120" y="132"/>
                  </a:lnTo>
                  <a:lnTo>
                    <a:pt x="126" y="126"/>
                  </a:lnTo>
                  <a:lnTo>
                    <a:pt x="138" y="120"/>
                  </a:lnTo>
                  <a:lnTo>
                    <a:pt x="162" y="96"/>
                  </a:lnTo>
                  <a:lnTo>
                    <a:pt x="168" y="96"/>
                  </a:lnTo>
                  <a:lnTo>
                    <a:pt x="174" y="90"/>
                  </a:lnTo>
                  <a:lnTo>
                    <a:pt x="186" y="90"/>
                  </a:lnTo>
                  <a:lnTo>
                    <a:pt x="204" y="84"/>
                  </a:lnTo>
                  <a:lnTo>
                    <a:pt x="216" y="84"/>
                  </a:lnTo>
                  <a:lnTo>
                    <a:pt x="252" y="102"/>
                  </a:lnTo>
                  <a:lnTo>
                    <a:pt x="270" y="108"/>
                  </a:lnTo>
                  <a:lnTo>
                    <a:pt x="282" y="108"/>
                  </a:lnTo>
                  <a:lnTo>
                    <a:pt x="288" y="114"/>
                  </a:lnTo>
                  <a:lnTo>
                    <a:pt x="294" y="114"/>
                  </a:lnTo>
                  <a:lnTo>
                    <a:pt x="270" y="114"/>
                  </a:lnTo>
                  <a:lnTo>
                    <a:pt x="258" y="120"/>
                  </a:lnTo>
                  <a:lnTo>
                    <a:pt x="246" y="120"/>
                  </a:lnTo>
                  <a:lnTo>
                    <a:pt x="246" y="132"/>
                  </a:lnTo>
                  <a:lnTo>
                    <a:pt x="240" y="138"/>
                  </a:lnTo>
                  <a:lnTo>
                    <a:pt x="186" y="144"/>
                  </a:lnTo>
                  <a:lnTo>
                    <a:pt x="138" y="138"/>
                  </a:lnTo>
                  <a:lnTo>
                    <a:pt x="120" y="138"/>
                  </a:lnTo>
                  <a:lnTo>
                    <a:pt x="96" y="150"/>
                  </a:lnTo>
                  <a:lnTo>
                    <a:pt x="84" y="162"/>
                  </a:lnTo>
                  <a:lnTo>
                    <a:pt x="84" y="174"/>
                  </a:lnTo>
                  <a:lnTo>
                    <a:pt x="78" y="192"/>
                  </a:lnTo>
                  <a:lnTo>
                    <a:pt x="78" y="204"/>
                  </a:lnTo>
                  <a:lnTo>
                    <a:pt x="72" y="210"/>
                  </a:lnTo>
                  <a:lnTo>
                    <a:pt x="72" y="216"/>
                  </a:lnTo>
                  <a:lnTo>
                    <a:pt x="114" y="216"/>
                  </a:lnTo>
                  <a:lnTo>
                    <a:pt x="114" y="240"/>
                  </a:lnTo>
                  <a:lnTo>
                    <a:pt x="120" y="246"/>
                  </a:lnTo>
                  <a:lnTo>
                    <a:pt x="126" y="258"/>
                  </a:lnTo>
                  <a:lnTo>
                    <a:pt x="132" y="264"/>
                  </a:lnTo>
                  <a:lnTo>
                    <a:pt x="126" y="282"/>
                  </a:lnTo>
                  <a:lnTo>
                    <a:pt x="138" y="300"/>
                  </a:lnTo>
                  <a:lnTo>
                    <a:pt x="126" y="318"/>
                  </a:lnTo>
                  <a:lnTo>
                    <a:pt x="162" y="354"/>
                  </a:lnTo>
                  <a:lnTo>
                    <a:pt x="156" y="390"/>
                  </a:lnTo>
                  <a:lnTo>
                    <a:pt x="210" y="414"/>
                  </a:lnTo>
                  <a:lnTo>
                    <a:pt x="216" y="444"/>
                  </a:lnTo>
                  <a:lnTo>
                    <a:pt x="216" y="438"/>
                  </a:lnTo>
                  <a:lnTo>
                    <a:pt x="222" y="438"/>
                  </a:lnTo>
                  <a:lnTo>
                    <a:pt x="222" y="432"/>
                  </a:lnTo>
                  <a:lnTo>
                    <a:pt x="228" y="432"/>
                  </a:lnTo>
                  <a:lnTo>
                    <a:pt x="252" y="444"/>
                  </a:lnTo>
                  <a:lnTo>
                    <a:pt x="258" y="444"/>
                  </a:lnTo>
                  <a:lnTo>
                    <a:pt x="264" y="450"/>
                  </a:lnTo>
                  <a:lnTo>
                    <a:pt x="270" y="462"/>
                  </a:lnTo>
                  <a:lnTo>
                    <a:pt x="282" y="468"/>
                  </a:lnTo>
                  <a:lnTo>
                    <a:pt x="294" y="468"/>
                  </a:lnTo>
                  <a:lnTo>
                    <a:pt x="312" y="474"/>
                  </a:lnTo>
                  <a:lnTo>
                    <a:pt x="372" y="474"/>
                  </a:lnTo>
                  <a:lnTo>
                    <a:pt x="372" y="450"/>
                  </a:lnTo>
                  <a:lnTo>
                    <a:pt x="378" y="438"/>
                  </a:lnTo>
                  <a:lnTo>
                    <a:pt x="390" y="426"/>
                  </a:lnTo>
                  <a:lnTo>
                    <a:pt x="408" y="426"/>
                  </a:lnTo>
                  <a:lnTo>
                    <a:pt x="432" y="432"/>
                  </a:lnTo>
                  <a:lnTo>
                    <a:pt x="468" y="444"/>
                  </a:lnTo>
                  <a:lnTo>
                    <a:pt x="474" y="450"/>
                  </a:lnTo>
                  <a:lnTo>
                    <a:pt x="480" y="450"/>
                  </a:lnTo>
                  <a:lnTo>
                    <a:pt x="480" y="456"/>
                  </a:lnTo>
                  <a:lnTo>
                    <a:pt x="486" y="468"/>
                  </a:lnTo>
                  <a:lnTo>
                    <a:pt x="486" y="474"/>
                  </a:lnTo>
                  <a:lnTo>
                    <a:pt x="492" y="480"/>
                  </a:lnTo>
                  <a:lnTo>
                    <a:pt x="504" y="486"/>
                  </a:lnTo>
                  <a:lnTo>
                    <a:pt x="564" y="486"/>
                  </a:lnTo>
                  <a:lnTo>
                    <a:pt x="576" y="480"/>
                  </a:lnTo>
                  <a:lnTo>
                    <a:pt x="594" y="474"/>
                  </a:lnTo>
                  <a:lnTo>
                    <a:pt x="606" y="462"/>
                  </a:lnTo>
                  <a:lnTo>
                    <a:pt x="618" y="456"/>
                  </a:lnTo>
                  <a:lnTo>
                    <a:pt x="630" y="444"/>
                  </a:lnTo>
                  <a:lnTo>
                    <a:pt x="648" y="438"/>
                  </a:lnTo>
                  <a:lnTo>
                    <a:pt x="660" y="432"/>
                  </a:lnTo>
                  <a:lnTo>
                    <a:pt x="672" y="432"/>
                  </a:lnTo>
                  <a:lnTo>
                    <a:pt x="684" y="438"/>
                  </a:lnTo>
                  <a:lnTo>
                    <a:pt x="690" y="444"/>
                  </a:lnTo>
                  <a:lnTo>
                    <a:pt x="696" y="444"/>
                  </a:lnTo>
                  <a:lnTo>
                    <a:pt x="702" y="450"/>
                  </a:lnTo>
                  <a:lnTo>
                    <a:pt x="714" y="450"/>
                  </a:lnTo>
                  <a:lnTo>
                    <a:pt x="726" y="444"/>
                  </a:lnTo>
                  <a:lnTo>
                    <a:pt x="732" y="432"/>
                  </a:lnTo>
                  <a:lnTo>
                    <a:pt x="744" y="420"/>
                  </a:lnTo>
                  <a:lnTo>
                    <a:pt x="756" y="432"/>
                  </a:lnTo>
                  <a:lnTo>
                    <a:pt x="756" y="444"/>
                  </a:lnTo>
                  <a:lnTo>
                    <a:pt x="750" y="450"/>
                  </a:lnTo>
                  <a:lnTo>
                    <a:pt x="744" y="462"/>
                  </a:lnTo>
                  <a:lnTo>
                    <a:pt x="744" y="468"/>
                  </a:lnTo>
                  <a:lnTo>
                    <a:pt x="738" y="474"/>
                  </a:lnTo>
                  <a:lnTo>
                    <a:pt x="738" y="486"/>
                  </a:lnTo>
                  <a:lnTo>
                    <a:pt x="744" y="492"/>
                  </a:lnTo>
                  <a:lnTo>
                    <a:pt x="744" y="498"/>
                  </a:lnTo>
                  <a:lnTo>
                    <a:pt x="756" y="510"/>
                  </a:lnTo>
                  <a:lnTo>
                    <a:pt x="768" y="510"/>
                  </a:lnTo>
                  <a:lnTo>
                    <a:pt x="768" y="504"/>
                  </a:lnTo>
                  <a:lnTo>
                    <a:pt x="774" y="498"/>
                  </a:lnTo>
                  <a:lnTo>
                    <a:pt x="774" y="480"/>
                  </a:lnTo>
                  <a:lnTo>
                    <a:pt x="780" y="486"/>
                  </a:lnTo>
                  <a:lnTo>
                    <a:pt x="792" y="486"/>
                  </a:lnTo>
                  <a:lnTo>
                    <a:pt x="792" y="462"/>
                  </a:lnTo>
                  <a:lnTo>
                    <a:pt x="786" y="462"/>
                  </a:lnTo>
                  <a:lnTo>
                    <a:pt x="786" y="432"/>
                  </a:lnTo>
                  <a:lnTo>
                    <a:pt x="810" y="432"/>
                  </a:lnTo>
                  <a:lnTo>
                    <a:pt x="804" y="438"/>
                  </a:lnTo>
                  <a:lnTo>
                    <a:pt x="804" y="444"/>
                  </a:lnTo>
                  <a:lnTo>
                    <a:pt x="840" y="444"/>
                  </a:lnTo>
                  <a:lnTo>
                    <a:pt x="858" y="438"/>
                  </a:lnTo>
                  <a:lnTo>
                    <a:pt x="864" y="432"/>
                  </a:lnTo>
                  <a:lnTo>
                    <a:pt x="870" y="432"/>
                  </a:lnTo>
                  <a:lnTo>
                    <a:pt x="888" y="414"/>
                  </a:lnTo>
                  <a:lnTo>
                    <a:pt x="894" y="414"/>
                  </a:lnTo>
                  <a:lnTo>
                    <a:pt x="900" y="420"/>
                  </a:lnTo>
                  <a:lnTo>
                    <a:pt x="912" y="426"/>
                  </a:lnTo>
                  <a:lnTo>
                    <a:pt x="924" y="438"/>
                  </a:lnTo>
                  <a:lnTo>
                    <a:pt x="942" y="438"/>
                  </a:lnTo>
                  <a:lnTo>
                    <a:pt x="954" y="444"/>
                  </a:lnTo>
                  <a:lnTo>
                    <a:pt x="966" y="444"/>
                  </a:lnTo>
                  <a:lnTo>
                    <a:pt x="978" y="438"/>
                  </a:lnTo>
                  <a:lnTo>
                    <a:pt x="996" y="438"/>
                  </a:lnTo>
                  <a:lnTo>
                    <a:pt x="1002" y="432"/>
                  </a:lnTo>
                  <a:lnTo>
                    <a:pt x="1014" y="426"/>
                  </a:lnTo>
                  <a:lnTo>
                    <a:pt x="1026" y="414"/>
                  </a:lnTo>
                  <a:lnTo>
                    <a:pt x="1038" y="408"/>
                  </a:lnTo>
                  <a:lnTo>
                    <a:pt x="1086" y="408"/>
                  </a:lnTo>
                  <a:lnTo>
                    <a:pt x="1092" y="414"/>
                  </a:lnTo>
                  <a:lnTo>
                    <a:pt x="1110" y="414"/>
                  </a:lnTo>
                  <a:lnTo>
                    <a:pt x="1122" y="402"/>
                  </a:lnTo>
                  <a:lnTo>
                    <a:pt x="1146" y="402"/>
                  </a:lnTo>
                  <a:lnTo>
                    <a:pt x="1152" y="390"/>
                  </a:lnTo>
                  <a:lnTo>
                    <a:pt x="1152" y="384"/>
                  </a:lnTo>
                  <a:lnTo>
                    <a:pt x="1158" y="384"/>
                  </a:lnTo>
                  <a:lnTo>
                    <a:pt x="1158" y="408"/>
                  </a:lnTo>
                  <a:lnTo>
                    <a:pt x="1164" y="414"/>
                  </a:lnTo>
                  <a:lnTo>
                    <a:pt x="1170" y="414"/>
                  </a:lnTo>
                  <a:lnTo>
                    <a:pt x="1182" y="408"/>
                  </a:lnTo>
                  <a:lnTo>
                    <a:pt x="1188" y="402"/>
                  </a:lnTo>
                  <a:lnTo>
                    <a:pt x="1188" y="390"/>
                  </a:lnTo>
                  <a:lnTo>
                    <a:pt x="1230" y="390"/>
                  </a:lnTo>
                  <a:lnTo>
                    <a:pt x="1242" y="402"/>
                  </a:lnTo>
                  <a:lnTo>
                    <a:pt x="1254" y="402"/>
                  </a:lnTo>
                  <a:lnTo>
                    <a:pt x="1260" y="396"/>
                  </a:lnTo>
                  <a:lnTo>
                    <a:pt x="1260" y="390"/>
                  </a:lnTo>
                  <a:lnTo>
                    <a:pt x="1284" y="390"/>
                  </a:lnTo>
                  <a:lnTo>
                    <a:pt x="1290" y="396"/>
                  </a:lnTo>
                  <a:lnTo>
                    <a:pt x="1290" y="414"/>
                  </a:lnTo>
                  <a:lnTo>
                    <a:pt x="1332" y="402"/>
                  </a:lnTo>
                  <a:close/>
                  <a:moveTo>
                    <a:pt x="102" y="282"/>
                  </a:moveTo>
                  <a:lnTo>
                    <a:pt x="96" y="282"/>
                  </a:lnTo>
                  <a:lnTo>
                    <a:pt x="96" y="312"/>
                  </a:lnTo>
                  <a:lnTo>
                    <a:pt x="102" y="324"/>
                  </a:lnTo>
                  <a:lnTo>
                    <a:pt x="108" y="330"/>
                  </a:lnTo>
                  <a:lnTo>
                    <a:pt x="114" y="324"/>
                  </a:lnTo>
                  <a:lnTo>
                    <a:pt x="114" y="318"/>
                  </a:lnTo>
                  <a:lnTo>
                    <a:pt x="120" y="312"/>
                  </a:lnTo>
                  <a:lnTo>
                    <a:pt x="120" y="300"/>
                  </a:lnTo>
                  <a:lnTo>
                    <a:pt x="102" y="28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44" name="Turkmenistan" descr="© INSCALE GmbH, 05.05.2010&#10;http://www.presentationload.com/">
              <a:extLst>
                <a:ext uri="{FF2B5EF4-FFF2-40B4-BE49-F238E27FC236}">
                  <a16:creationId xmlns:a16="http://schemas.microsoft.com/office/drawing/2014/main" id="{3B91FA71-D8E9-40B0-8E60-A0B6B8579C0E}"/>
                </a:ext>
              </a:extLst>
            </p:cNvPr>
            <p:cNvSpPr>
              <a:spLocks/>
            </p:cNvSpPr>
            <p:nvPr/>
          </p:nvSpPr>
          <p:spPr bwMode="gray">
            <a:xfrm>
              <a:off x="5507651" y="2883745"/>
              <a:ext cx="401414" cy="239908"/>
            </a:xfrm>
            <a:custGeom>
              <a:avLst/>
              <a:gdLst>
                <a:gd name="T0" fmla="*/ 2147483647 w 1008"/>
                <a:gd name="T1" fmla="*/ 2147483647 h 606"/>
                <a:gd name="T2" fmla="*/ 2147483647 w 1008"/>
                <a:gd name="T3" fmla="*/ 2147483647 h 606"/>
                <a:gd name="T4" fmla="*/ 2147483647 w 1008"/>
                <a:gd name="T5" fmla="*/ 2147483647 h 606"/>
                <a:gd name="T6" fmla="*/ 2147483647 w 1008"/>
                <a:gd name="T7" fmla="*/ 2147483647 h 606"/>
                <a:gd name="T8" fmla="*/ 2147483647 w 1008"/>
                <a:gd name="T9" fmla="*/ 2147483647 h 606"/>
                <a:gd name="T10" fmla="*/ 2147483647 w 1008"/>
                <a:gd name="T11" fmla="*/ 2147483647 h 606"/>
                <a:gd name="T12" fmla="*/ 2147483647 w 1008"/>
                <a:gd name="T13" fmla="*/ 2147483647 h 606"/>
                <a:gd name="T14" fmla="*/ 2147483647 w 1008"/>
                <a:gd name="T15" fmla="*/ 2147483647 h 606"/>
                <a:gd name="T16" fmla="*/ 2147483647 w 1008"/>
                <a:gd name="T17" fmla="*/ 2147483647 h 606"/>
                <a:gd name="T18" fmla="*/ 2147483647 w 1008"/>
                <a:gd name="T19" fmla="*/ 2147483647 h 606"/>
                <a:gd name="T20" fmla="*/ 2147483647 w 1008"/>
                <a:gd name="T21" fmla="*/ 2147483647 h 606"/>
                <a:gd name="T22" fmla="*/ 2147483647 w 1008"/>
                <a:gd name="T23" fmla="*/ 2147483647 h 606"/>
                <a:gd name="T24" fmla="*/ 2147483647 w 1008"/>
                <a:gd name="T25" fmla="*/ 2147483647 h 606"/>
                <a:gd name="T26" fmla="*/ 2147483647 w 1008"/>
                <a:gd name="T27" fmla="*/ 2147483647 h 606"/>
                <a:gd name="T28" fmla="*/ 2147483647 w 1008"/>
                <a:gd name="T29" fmla="*/ 2147483647 h 606"/>
                <a:gd name="T30" fmla="*/ 2147483647 w 1008"/>
                <a:gd name="T31" fmla="*/ 2147483647 h 606"/>
                <a:gd name="T32" fmla="*/ 2147483647 w 1008"/>
                <a:gd name="T33" fmla="*/ 2147483647 h 606"/>
                <a:gd name="T34" fmla="*/ 2147483647 w 1008"/>
                <a:gd name="T35" fmla="*/ 2147483647 h 606"/>
                <a:gd name="T36" fmla="*/ 2147483647 w 1008"/>
                <a:gd name="T37" fmla="*/ 2147483647 h 606"/>
                <a:gd name="T38" fmla="*/ 2147483647 w 1008"/>
                <a:gd name="T39" fmla="*/ 2147483647 h 606"/>
                <a:gd name="T40" fmla="*/ 2147483647 w 1008"/>
                <a:gd name="T41" fmla="*/ 2147483647 h 606"/>
                <a:gd name="T42" fmla="*/ 2147483647 w 1008"/>
                <a:gd name="T43" fmla="*/ 2147483647 h 606"/>
                <a:gd name="T44" fmla="*/ 2147483647 w 1008"/>
                <a:gd name="T45" fmla="*/ 2147483647 h 606"/>
                <a:gd name="T46" fmla="*/ 2147483647 w 1008"/>
                <a:gd name="T47" fmla="*/ 2147483647 h 606"/>
                <a:gd name="T48" fmla="*/ 2147483647 w 1008"/>
                <a:gd name="T49" fmla="*/ 2147483647 h 606"/>
                <a:gd name="T50" fmla="*/ 2147483647 w 1008"/>
                <a:gd name="T51" fmla="*/ 2147483647 h 606"/>
                <a:gd name="T52" fmla="*/ 2147483647 w 1008"/>
                <a:gd name="T53" fmla="*/ 2147483647 h 606"/>
                <a:gd name="T54" fmla="*/ 2147483647 w 1008"/>
                <a:gd name="T55" fmla="*/ 2147483647 h 606"/>
                <a:gd name="T56" fmla="*/ 2147483647 w 1008"/>
                <a:gd name="T57" fmla="*/ 2147483647 h 606"/>
                <a:gd name="T58" fmla="*/ 2147483647 w 1008"/>
                <a:gd name="T59" fmla="*/ 2147483647 h 606"/>
                <a:gd name="T60" fmla="*/ 2147483647 w 1008"/>
                <a:gd name="T61" fmla="*/ 2147483647 h 606"/>
                <a:gd name="T62" fmla="*/ 2147483647 w 1008"/>
                <a:gd name="T63" fmla="*/ 2147483647 h 606"/>
                <a:gd name="T64" fmla="*/ 2147483647 w 1008"/>
                <a:gd name="T65" fmla="*/ 2147483647 h 606"/>
                <a:gd name="T66" fmla="*/ 2147483647 w 1008"/>
                <a:gd name="T67" fmla="*/ 2147483647 h 606"/>
                <a:gd name="T68" fmla="*/ 2147483647 w 1008"/>
                <a:gd name="T69" fmla="*/ 2147483647 h 606"/>
                <a:gd name="T70" fmla="*/ 2147483647 w 1008"/>
                <a:gd name="T71" fmla="*/ 2147483647 h 606"/>
                <a:gd name="T72" fmla="*/ 2147483647 w 1008"/>
                <a:gd name="T73" fmla="*/ 2147483647 h 606"/>
                <a:gd name="T74" fmla="*/ 2147483647 w 1008"/>
                <a:gd name="T75" fmla="*/ 2147483647 h 606"/>
                <a:gd name="T76" fmla="*/ 2147483647 w 1008"/>
                <a:gd name="T77" fmla="*/ 2147483647 h 606"/>
                <a:gd name="T78" fmla="*/ 2147483647 w 1008"/>
                <a:gd name="T79" fmla="*/ 2147483647 h 606"/>
                <a:gd name="T80" fmla="*/ 2147483647 w 1008"/>
                <a:gd name="T81" fmla="*/ 2147483647 h 606"/>
                <a:gd name="T82" fmla="*/ 2147483647 w 1008"/>
                <a:gd name="T83" fmla="*/ 2147483647 h 606"/>
                <a:gd name="T84" fmla="*/ 2147483647 w 1008"/>
                <a:gd name="T85" fmla="*/ 2147483647 h 606"/>
                <a:gd name="T86" fmla="*/ 2147483647 w 1008"/>
                <a:gd name="T87" fmla="*/ 2147483647 h 606"/>
                <a:gd name="T88" fmla="*/ 2147483647 w 1008"/>
                <a:gd name="T89" fmla="*/ 2147483647 h 606"/>
                <a:gd name="T90" fmla="*/ 2147483647 w 1008"/>
                <a:gd name="T91" fmla="*/ 2147483647 h 606"/>
                <a:gd name="T92" fmla="*/ 2147483647 w 1008"/>
                <a:gd name="T93" fmla="*/ 2147483647 h 606"/>
                <a:gd name="T94" fmla="*/ 2147483647 w 1008"/>
                <a:gd name="T95" fmla="*/ 2147483647 h 606"/>
                <a:gd name="T96" fmla="*/ 2147483647 w 1008"/>
                <a:gd name="T97" fmla="*/ 2147483647 h 606"/>
                <a:gd name="T98" fmla="*/ 2147483647 w 1008"/>
                <a:gd name="T99" fmla="*/ 2147483647 h 606"/>
                <a:gd name="T100" fmla="*/ 2147483647 w 1008"/>
                <a:gd name="T101" fmla="*/ 2147483647 h 606"/>
                <a:gd name="T102" fmla="*/ 2147483647 w 1008"/>
                <a:gd name="T103" fmla="*/ 2147483647 h 606"/>
                <a:gd name="T104" fmla="*/ 0 w 1008"/>
                <a:gd name="T105" fmla="*/ 2147483647 h 606"/>
                <a:gd name="T106" fmla="*/ 2147483647 w 1008"/>
                <a:gd name="T107" fmla="*/ 2147483647 h 606"/>
                <a:gd name="T108" fmla="*/ 2147483647 w 1008"/>
                <a:gd name="T109" fmla="*/ 2147483647 h 6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08"/>
                <a:gd name="T166" fmla="*/ 0 h 606"/>
                <a:gd name="T167" fmla="*/ 1008 w 1008"/>
                <a:gd name="T168" fmla="*/ 606 h 6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08" h="606">
                  <a:moveTo>
                    <a:pt x="48" y="150"/>
                  </a:moveTo>
                  <a:lnTo>
                    <a:pt x="48" y="156"/>
                  </a:lnTo>
                  <a:lnTo>
                    <a:pt x="42" y="162"/>
                  </a:lnTo>
                  <a:lnTo>
                    <a:pt x="36" y="174"/>
                  </a:lnTo>
                  <a:lnTo>
                    <a:pt x="36" y="186"/>
                  </a:lnTo>
                  <a:lnTo>
                    <a:pt x="42" y="198"/>
                  </a:lnTo>
                  <a:lnTo>
                    <a:pt x="48" y="204"/>
                  </a:lnTo>
                  <a:lnTo>
                    <a:pt x="54" y="216"/>
                  </a:lnTo>
                  <a:lnTo>
                    <a:pt x="60" y="222"/>
                  </a:lnTo>
                  <a:lnTo>
                    <a:pt x="60" y="228"/>
                  </a:lnTo>
                  <a:lnTo>
                    <a:pt x="90" y="222"/>
                  </a:lnTo>
                  <a:lnTo>
                    <a:pt x="90" y="246"/>
                  </a:lnTo>
                  <a:lnTo>
                    <a:pt x="114" y="258"/>
                  </a:lnTo>
                  <a:lnTo>
                    <a:pt x="90" y="258"/>
                  </a:lnTo>
                  <a:lnTo>
                    <a:pt x="78" y="264"/>
                  </a:lnTo>
                  <a:lnTo>
                    <a:pt x="72" y="264"/>
                  </a:lnTo>
                  <a:lnTo>
                    <a:pt x="72" y="270"/>
                  </a:lnTo>
                  <a:lnTo>
                    <a:pt x="78" y="276"/>
                  </a:lnTo>
                  <a:lnTo>
                    <a:pt x="90" y="276"/>
                  </a:lnTo>
                  <a:lnTo>
                    <a:pt x="96" y="282"/>
                  </a:lnTo>
                  <a:lnTo>
                    <a:pt x="114" y="282"/>
                  </a:lnTo>
                  <a:lnTo>
                    <a:pt x="120" y="288"/>
                  </a:lnTo>
                  <a:lnTo>
                    <a:pt x="126" y="300"/>
                  </a:lnTo>
                  <a:lnTo>
                    <a:pt x="132" y="306"/>
                  </a:lnTo>
                  <a:lnTo>
                    <a:pt x="138" y="354"/>
                  </a:lnTo>
                  <a:lnTo>
                    <a:pt x="150" y="360"/>
                  </a:lnTo>
                  <a:lnTo>
                    <a:pt x="150" y="372"/>
                  </a:lnTo>
                  <a:lnTo>
                    <a:pt x="144" y="378"/>
                  </a:lnTo>
                  <a:lnTo>
                    <a:pt x="144" y="402"/>
                  </a:lnTo>
                  <a:lnTo>
                    <a:pt x="150" y="414"/>
                  </a:lnTo>
                  <a:lnTo>
                    <a:pt x="150" y="426"/>
                  </a:lnTo>
                  <a:lnTo>
                    <a:pt x="156" y="432"/>
                  </a:lnTo>
                  <a:lnTo>
                    <a:pt x="156" y="438"/>
                  </a:lnTo>
                  <a:lnTo>
                    <a:pt x="186" y="438"/>
                  </a:lnTo>
                  <a:lnTo>
                    <a:pt x="198" y="426"/>
                  </a:lnTo>
                  <a:lnTo>
                    <a:pt x="210" y="420"/>
                  </a:lnTo>
                  <a:lnTo>
                    <a:pt x="210" y="408"/>
                  </a:lnTo>
                  <a:lnTo>
                    <a:pt x="216" y="402"/>
                  </a:lnTo>
                  <a:lnTo>
                    <a:pt x="228" y="396"/>
                  </a:lnTo>
                  <a:lnTo>
                    <a:pt x="246" y="378"/>
                  </a:lnTo>
                  <a:lnTo>
                    <a:pt x="258" y="372"/>
                  </a:lnTo>
                  <a:lnTo>
                    <a:pt x="294" y="372"/>
                  </a:lnTo>
                  <a:lnTo>
                    <a:pt x="306" y="378"/>
                  </a:lnTo>
                  <a:lnTo>
                    <a:pt x="312" y="372"/>
                  </a:lnTo>
                  <a:lnTo>
                    <a:pt x="312" y="366"/>
                  </a:lnTo>
                  <a:lnTo>
                    <a:pt x="372" y="366"/>
                  </a:lnTo>
                  <a:lnTo>
                    <a:pt x="384" y="378"/>
                  </a:lnTo>
                  <a:lnTo>
                    <a:pt x="384" y="390"/>
                  </a:lnTo>
                  <a:lnTo>
                    <a:pt x="414" y="390"/>
                  </a:lnTo>
                  <a:lnTo>
                    <a:pt x="420" y="396"/>
                  </a:lnTo>
                  <a:lnTo>
                    <a:pt x="432" y="402"/>
                  </a:lnTo>
                  <a:lnTo>
                    <a:pt x="438" y="408"/>
                  </a:lnTo>
                  <a:lnTo>
                    <a:pt x="450" y="414"/>
                  </a:lnTo>
                  <a:lnTo>
                    <a:pt x="450" y="408"/>
                  </a:lnTo>
                  <a:lnTo>
                    <a:pt x="468" y="408"/>
                  </a:lnTo>
                  <a:lnTo>
                    <a:pt x="480" y="414"/>
                  </a:lnTo>
                  <a:lnTo>
                    <a:pt x="498" y="414"/>
                  </a:lnTo>
                  <a:lnTo>
                    <a:pt x="510" y="420"/>
                  </a:lnTo>
                  <a:lnTo>
                    <a:pt x="516" y="420"/>
                  </a:lnTo>
                  <a:lnTo>
                    <a:pt x="522" y="426"/>
                  </a:lnTo>
                  <a:lnTo>
                    <a:pt x="522" y="432"/>
                  </a:lnTo>
                  <a:lnTo>
                    <a:pt x="528" y="444"/>
                  </a:lnTo>
                  <a:lnTo>
                    <a:pt x="534" y="450"/>
                  </a:lnTo>
                  <a:lnTo>
                    <a:pt x="540" y="450"/>
                  </a:lnTo>
                  <a:lnTo>
                    <a:pt x="546" y="456"/>
                  </a:lnTo>
                  <a:lnTo>
                    <a:pt x="558" y="456"/>
                  </a:lnTo>
                  <a:lnTo>
                    <a:pt x="570" y="468"/>
                  </a:lnTo>
                  <a:lnTo>
                    <a:pt x="582" y="474"/>
                  </a:lnTo>
                  <a:lnTo>
                    <a:pt x="588" y="486"/>
                  </a:lnTo>
                  <a:lnTo>
                    <a:pt x="594" y="492"/>
                  </a:lnTo>
                  <a:lnTo>
                    <a:pt x="660" y="486"/>
                  </a:lnTo>
                  <a:lnTo>
                    <a:pt x="660" y="522"/>
                  </a:lnTo>
                  <a:lnTo>
                    <a:pt x="672" y="522"/>
                  </a:lnTo>
                  <a:lnTo>
                    <a:pt x="666" y="546"/>
                  </a:lnTo>
                  <a:lnTo>
                    <a:pt x="678" y="576"/>
                  </a:lnTo>
                  <a:lnTo>
                    <a:pt x="684" y="582"/>
                  </a:lnTo>
                  <a:lnTo>
                    <a:pt x="696" y="582"/>
                  </a:lnTo>
                  <a:lnTo>
                    <a:pt x="702" y="588"/>
                  </a:lnTo>
                  <a:lnTo>
                    <a:pt x="714" y="588"/>
                  </a:lnTo>
                  <a:lnTo>
                    <a:pt x="720" y="582"/>
                  </a:lnTo>
                  <a:lnTo>
                    <a:pt x="726" y="582"/>
                  </a:lnTo>
                  <a:lnTo>
                    <a:pt x="750" y="606"/>
                  </a:lnTo>
                  <a:lnTo>
                    <a:pt x="774" y="606"/>
                  </a:lnTo>
                  <a:lnTo>
                    <a:pt x="786" y="600"/>
                  </a:lnTo>
                  <a:lnTo>
                    <a:pt x="792" y="594"/>
                  </a:lnTo>
                  <a:lnTo>
                    <a:pt x="804" y="570"/>
                  </a:lnTo>
                  <a:lnTo>
                    <a:pt x="804" y="558"/>
                  </a:lnTo>
                  <a:lnTo>
                    <a:pt x="816" y="558"/>
                  </a:lnTo>
                  <a:lnTo>
                    <a:pt x="852" y="540"/>
                  </a:lnTo>
                  <a:lnTo>
                    <a:pt x="858" y="528"/>
                  </a:lnTo>
                  <a:lnTo>
                    <a:pt x="870" y="522"/>
                  </a:lnTo>
                  <a:lnTo>
                    <a:pt x="882" y="522"/>
                  </a:lnTo>
                  <a:lnTo>
                    <a:pt x="882" y="462"/>
                  </a:lnTo>
                  <a:lnTo>
                    <a:pt x="888" y="450"/>
                  </a:lnTo>
                  <a:lnTo>
                    <a:pt x="900" y="444"/>
                  </a:lnTo>
                  <a:lnTo>
                    <a:pt x="936" y="444"/>
                  </a:lnTo>
                  <a:lnTo>
                    <a:pt x="936" y="420"/>
                  </a:lnTo>
                  <a:lnTo>
                    <a:pt x="948" y="420"/>
                  </a:lnTo>
                  <a:lnTo>
                    <a:pt x="960" y="426"/>
                  </a:lnTo>
                  <a:lnTo>
                    <a:pt x="966" y="432"/>
                  </a:lnTo>
                  <a:lnTo>
                    <a:pt x="978" y="438"/>
                  </a:lnTo>
                  <a:lnTo>
                    <a:pt x="1008" y="438"/>
                  </a:lnTo>
                  <a:lnTo>
                    <a:pt x="1008" y="426"/>
                  </a:lnTo>
                  <a:lnTo>
                    <a:pt x="996" y="414"/>
                  </a:lnTo>
                  <a:lnTo>
                    <a:pt x="996" y="396"/>
                  </a:lnTo>
                  <a:lnTo>
                    <a:pt x="1002" y="390"/>
                  </a:lnTo>
                  <a:lnTo>
                    <a:pt x="954" y="360"/>
                  </a:lnTo>
                  <a:lnTo>
                    <a:pt x="930" y="366"/>
                  </a:lnTo>
                  <a:lnTo>
                    <a:pt x="924" y="366"/>
                  </a:lnTo>
                  <a:lnTo>
                    <a:pt x="912" y="354"/>
                  </a:lnTo>
                  <a:lnTo>
                    <a:pt x="900" y="354"/>
                  </a:lnTo>
                  <a:lnTo>
                    <a:pt x="888" y="342"/>
                  </a:lnTo>
                  <a:lnTo>
                    <a:pt x="876" y="336"/>
                  </a:lnTo>
                  <a:lnTo>
                    <a:pt x="870" y="330"/>
                  </a:lnTo>
                  <a:lnTo>
                    <a:pt x="846" y="318"/>
                  </a:lnTo>
                  <a:lnTo>
                    <a:pt x="828" y="306"/>
                  </a:lnTo>
                  <a:lnTo>
                    <a:pt x="804" y="306"/>
                  </a:lnTo>
                  <a:lnTo>
                    <a:pt x="774" y="288"/>
                  </a:lnTo>
                  <a:lnTo>
                    <a:pt x="768" y="282"/>
                  </a:lnTo>
                  <a:lnTo>
                    <a:pt x="762" y="270"/>
                  </a:lnTo>
                  <a:lnTo>
                    <a:pt x="750" y="258"/>
                  </a:lnTo>
                  <a:lnTo>
                    <a:pt x="744" y="258"/>
                  </a:lnTo>
                  <a:lnTo>
                    <a:pt x="732" y="252"/>
                  </a:lnTo>
                  <a:lnTo>
                    <a:pt x="714" y="252"/>
                  </a:lnTo>
                  <a:lnTo>
                    <a:pt x="702" y="246"/>
                  </a:lnTo>
                  <a:lnTo>
                    <a:pt x="690" y="234"/>
                  </a:lnTo>
                  <a:lnTo>
                    <a:pt x="672" y="198"/>
                  </a:lnTo>
                  <a:lnTo>
                    <a:pt x="666" y="192"/>
                  </a:lnTo>
                  <a:lnTo>
                    <a:pt x="666" y="186"/>
                  </a:lnTo>
                  <a:lnTo>
                    <a:pt x="648" y="168"/>
                  </a:lnTo>
                  <a:lnTo>
                    <a:pt x="630" y="138"/>
                  </a:lnTo>
                  <a:lnTo>
                    <a:pt x="594" y="120"/>
                  </a:lnTo>
                  <a:lnTo>
                    <a:pt x="594" y="126"/>
                  </a:lnTo>
                  <a:lnTo>
                    <a:pt x="540" y="120"/>
                  </a:lnTo>
                  <a:lnTo>
                    <a:pt x="510" y="120"/>
                  </a:lnTo>
                  <a:lnTo>
                    <a:pt x="492" y="102"/>
                  </a:lnTo>
                  <a:lnTo>
                    <a:pt x="492" y="90"/>
                  </a:lnTo>
                  <a:lnTo>
                    <a:pt x="504" y="78"/>
                  </a:lnTo>
                  <a:lnTo>
                    <a:pt x="492" y="72"/>
                  </a:lnTo>
                  <a:lnTo>
                    <a:pt x="492" y="60"/>
                  </a:lnTo>
                  <a:lnTo>
                    <a:pt x="486" y="48"/>
                  </a:lnTo>
                  <a:lnTo>
                    <a:pt x="480" y="42"/>
                  </a:lnTo>
                  <a:lnTo>
                    <a:pt x="444" y="42"/>
                  </a:lnTo>
                  <a:lnTo>
                    <a:pt x="432" y="36"/>
                  </a:lnTo>
                  <a:lnTo>
                    <a:pt x="432" y="24"/>
                  </a:lnTo>
                  <a:lnTo>
                    <a:pt x="408" y="24"/>
                  </a:lnTo>
                  <a:lnTo>
                    <a:pt x="390" y="0"/>
                  </a:lnTo>
                  <a:lnTo>
                    <a:pt x="384" y="12"/>
                  </a:lnTo>
                  <a:lnTo>
                    <a:pt x="354" y="6"/>
                  </a:lnTo>
                  <a:lnTo>
                    <a:pt x="384" y="36"/>
                  </a:lnTo>
                  <a:lnTo>
                    <a:pt x="378" y="30"/>
                  </a:lnTo>
                  <a:lnTo>
                    <a:pt x="366" y="30"/>
                  </a:lnTo>
                  <a:lnTo>
                    <a:pt x="360" y="24"/>
                  </a:lnTo>
                  <a:lnTo>
                    <a:pt x="354" y="24"/>
                  </a:lnTo>
                  <a:lnTo>
                    <a:pt x="348" y="30"/>
                  </a:lnTo>
                  <a:lnTo>
                    <a:pt x="348" y="42"/>
                  </a:lnTo>
                  <a:lnTo>
                    <a:pt x="342" y="42"/>
                  </a:lnTo>
                  <a:lnTo>
                    <a:pt x="336" y="48"/>
                  </a:lnTo>
                  <a:lnTo>
                    <a:pt x="324" y="48"/>
                  </a:lnTo>
                  <a:lnTo>
                    <a:pt x="312" y="54"/>
                  </a:lnTo>
                  <a:lnTo>
                    <a:pt x="294" y="72"/>
                  </a:lnTo>
                  <a:lnTo>
                    <a:pt x="294" y="84"/>
                  </a:lnTo>
                  <a:lnTo>
                    <a:pt x="300" y="102"/>
                  </a:lnTo>
                  <a:lnTo>
                    <a:pt x="312" y="108"/>
                  </a:lnTo>
                  <a:lnTo>
                    <a:pt x="318" y="120"/>
                  </a:lnTo>
                  <a:lnTo>
                    <a:pt x="252" y="120"/>
                  </a:lnTo>
                  <a:lnTo>
                    <a:pt x="240" y="108"/>
                  </a:lnTo>
                  <a:lnTo>
                    <a:pt x="228" y="108"/>
                  </a:lnTo>
                  <a:lnTo>
                    <a:pt x="228" y="114"/>
                  </a:lnTo>
                  <a:lnTo>
                    <a:pt x="216" y="126"/>
                  </a:lnTo>
                  <a:lnTo>
                    <a:pt x="210" y="120"/>
                  </a:lnTo>
                  <a:lnTo>
                    <a:pt x="198" y="114"/>
                  </a:lnTo>
                  <a:lnTo>
                    <a:pt x="174" y="90"/>
                  </a:lnTo>
                  <a:lnTo>
                    <a:pt x="168" y="78"/>
                  </a:lnTo>
                  <a:lnTo>
                    <a:pt x="162" y="72"/>
                  </a:lnTo>
                  <a:lnTo>
                    <a:pt x="156" y="60"/>
                  </a:lnTo>
                  <a:lnTo>
                    <a:pt x="144" y="54"/>
                  </a:lnTo>
                  <a:lnTo>
                    <a:pt x="132" y="42"/>
                  </a:lnTo>
                  <a:lnTo>
                    <a:pt x="120" y="42"/>
                  </a:lnTo>
                  <a:lnTo>
                    <a:pt x="96" y="30"/>
                  </a:lnTo>
                  <a:lnTo>
                    <a:pt x="78" y="30"/>
                  </a:lnTo>
                  <a:lnTo>
                    <a:pt x="72" y="36"/>
                  </a:lnTo>
                  <a:lnTo>
                    <a:pt x="72" y="48"/>
                  </a:lnTo>
                  <a:lnTo>
                    <a:pt x="84" y="54"/>
                  </a:lnTo>
                  <a:lnTo>
                    <a:pt x="90" y="54"/>
                  </a:lnTo>
                  <a:lnTo>
                    <a:pt x="90" y="66"/>
                  </a:lnTo>
                  <a:lnTo>
                    <a:pt x="96" y="66"/>
                  </a:lnTo>
                  <a:lnTo>
                    <a:pt x="96" y="72"/>
                  </a:lnTo>
                  <a:lnTo>
                    <a:pt x="102" y="84"/>
                  </a:lnTo>
                  <a:lnTo>
                    <a:pt x="114" y="90"/>
                  </a:lnTo>
                  <a:lnTo>
                    <a:pt x="126" y="102"/>
                  </a:lnTo>
                  <a:lnTo>
                    <a:pt x="138" y="108"/>
                  </a:lnTo>
                  <a:lnTo>
                    <a:pt x="150" y="120"/>
                  </a:lnTo>
                  <a:lnTo>
                    <a:pt x="162" y="126"/>
                  </a:lnTo>
                  <a:lnTo>
                    <a:pt x="162" y="150"/>
                  </a:lnTo>
                  <a:lnTo>
                    <a:pt x="156" y="156"/>
                  </a:lnTo>
                  <a:lnTo>
                    <a:pt x="144" y="156"/>
                  </a:lnTo>
                  <a:lnTo>
                    <a:pt x="132" y="150"/>
                  </a:lnTo>
                  <a:lnTo>
                    <a:pt x="120" y="138"/>
                  </a:lnTo>
                  <a:lnTo>
                    <a:pt x="120" y="162"/>
                  </a:lnTo>
                  <a:lnTo>
                    <a:pt x="78" y="162"/>
                  </a:lnTo>
                  <a:lnTo>
                    <a:pt x="66" y="144"/>
                  </a:lnTo>
                  <a:lnTo>
                    <a:pt x="60" y="150"/>
                  </a:lnTo>
                  <a:lnTo>
                    <a:pt x="48" y="138"/>
                  </a:lnTo>
                  <a:lnTo>
                    <a:pt x="42" y="126"/>
                  </a:lnTo>
                  <a:lnTo>
                    <a:pt x="36" y="120"/>
                  </a:lnTo>
                  <a:lnTo>
                    <a:pt x="36" y="102"/>
                  </a:lnTo>
                  <a:lnTo>
                    <a:pt x="30" y="96"/>
                  </a:lnTo>
                  <a:lnTo>
                    <a:pt x="30" y="84"/>
                  </a:lnTo>
                  <a:lnTo>
                    <a:pt x="24" y="78"/>
                  </a:lnTo>
                  <a:lnTo>
                    <a:pt x="0" y="78"/>
                  </a:lnTo>
                  <a:lnTo>
                    <a:pt x="0" y="84"/>
                  </a:lnTo>
                  <a:lnTo>
                    <a:pt x="6" y="90"/>
                  </a:lnTo>
                  <a:lnTo>
                    <a:pt x="12" y="102"/>
                  </a:lnTo>
                  <a:lnTo>
                    <a:pt x="18" y="108"/>
                  </a:lnTo>
                  <a:lnTo>
                    <a:pt x="24" y="120"/>
                  </a:lnTo>
                  <a:lnTo>
                    <a:pt x="36" y="126"/>
                  </a:lnTo>
                  <a:lnTo>
                    <a:pt x="42" y="138"/>
                  </a:lnTo>
                  <a:lnTo>
                    <a:pt x="48" y="144"/>
                  </a:lnTo>
                  <a:lnTo>
                    <a:pt x="48" y="15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45" name="Tunesien" descr="© INSCALE GmbH, 05.05.2010&#10;http://www.presentationload.com/">
              <a:extLst>
                <a:ext uri="{FF2B5EF4-FFF2-40B4-BE49-F238E27FC236}">
                  <a16:creationId xmlns:a16="http://schemas.microsoft.com/office/drawing/2014/main" id="{71C8ACFA-078D-44C2-BCE5-80011BC59946}"/>
                </a:ext>
              </a:extLst>
            </p:cNvPr>
            <p:cNvSpPr>
              <a:spLocks/>
            </p:cNvSpPr>
            <p:nvPr/>
          </p:nvSpPr>
          <p:spPr bwMode="gray">
            <a:xfrm>
              <a:off x="4345746" y="3057796"/>
              <a:ext cx="108193" cy="225795"/>
            </a:xfrm>
            <a:custGeom>
              <a:avLst/>
              <a:gdLst>
                <a:gd name="T0" fmla="*/ 2147483647 w 276"/>
                <a:gd name="T1" fmla="*/ 2147483647 h 570"/>
                <a:gd name="T2" fmla="*/ 2147483647 w 276"/>
                <a:gd name="T3" fmla="*/ 2147483647 h 570"/>
                <a:gd name="T4" fmla="*/ 2147483647 w 276"/>
                <a:gd name="T5" fmla="*/ 2147483647 h 570"/>
                <a:gd name="T6" fmla="*/ 2147483647 w 276"/>
                <a:gd name="T7" fmla="*/ 2147483647 h 570"/>
                <a:gd name="T8" fmla="*/ 2147483647 w 276"/>
                <a:gd name="T9" fmla="*/ 2147483647 h 570"/>
                <a:gd name="T10" fmla="*/ 2147483647 w 276"/>
                <a:gd name="T11" fmla="*/ 2147483647 h 570"/>
                <a:gd name="T12" fmla="*/ 0 w 276"/>
                <a:gd name="T13" fmla="*/ 2147483647 h 570"/>
                <a:gd name="T14" fmla="*/ 2147483647 w 276"/>
                <a:gd name="T15" fmla="*/ 2147483647 h 570"/>
                <a:gd name="T16" fmla="*/ 2147483647 w 276"/>
                <a:gd name="T17" fmla="*/ 2147483647 h 570"/>
                <a:gd name="T18" fmla="*/ 2147483647 w 276"/>
                <a:gd name="T19" fmla="*/ 2147483647 h 570"/>
                <a:gd name="T20" fmla="*/ 2147483647 w 276"/>
                <a:gd name="T21" fmla="*/ 2147483647 h 570"/>
                <a:gd name="T22" fmla="*/ 2147483647 w 276"/>
                <a:gd name="T23" fmla="*/ 2147483647 h 570"/>
                <a:gd name="T24" fmla="*/ 2147483647 w 276"/>
                <a:gd name="T25" fmla="*/ 2147483647 h 570"/>
                <a:gd name="T26" fmla="*/ 2147483647 w 276"/>
                <a:gd name="T27" fmla="*/ 2147483647 h 570"/>
                <a:gd name="T28" fmla="*/ 2147483647 w 276"/>
                <a:gd name="T29" fmla="*/ 2147483647 h 570"/>
                <a:gd name="T30" fmla="*/ 2147483647 w 276"/>
                <a:gd name="T31" fmla="*/ 2147483647 h 570"/>
                <a:gd name="T32" fmla="*/ 2147483647 w 276"/>
                <a:gd name="T33" fmla="*/ 2147483647 h 570"/>
                <a:gd name="T34" fmla="*/ 2147483647 w 276"/>
                <a:gd name="T35" fmla="*/ 2147483647 h 570"/>
                <a:gd name="T36" fmla="*/ 2147483647 w 276"/>
                <a:gd name="T37" fmla="*/ 2147483647 h 570"/>
                <a:gd name="T38" fmla="*/ 2147483647 w 276"/>
                <a:gd name="T39" fmla="*/ 2147483647 h 570"/>
                <a:gd name="T40" fmla="*/ 2147483647 w 276"/>
                <a:gd name="T41" fmla="*/ 2147483647 h 570"/>
                <a:gd name="T42" fmla="*/ 2147483647 w 276"/>
                <a:gd name="T43" fmla="*/ 2147483647 h 570"/>
                <a:gd name="T44" fmla="*/ 2147483647 w 276"/>
                <a:gd name="T45" fmla="*/ 2147483647 h 570"/>
                <a:gd name="T46" fmla="*/ 2147483647 w 276"/>
                <a:gd name="T47" fmla="*/ 2147483647 h 570"/>
                <a:gd name="T48" fmla="*/ 2147483647 w 276"/>
                <a:gd name="T49" fmla="*/ 2147483647 h 570"/>
                <a:gd name="T50" fmla="*/ 2147483647 w 276"/>
                <a:gd name="T51" fmla="*/ 2147483647 h 570"/>
                <a:gd name="T52" fmla="*/ 2147483647 w 276"/>
                <a:gd name="T53" fmla="*/ 2147483647 h 570"/>
                <a:gd name="T54" fmla="*/ 2147483647 w 276"/>
                <a:gd name="T55" fmla="*/ 2147483647 h 570"/>
                <a:gd name="T56" fmla="*/ 2147483647 w 276"/>
                <a:gd name="T57" fmla="*/ 2147483647 h 570"/>
                <a:gd name="T58" fmla="*/ 2147483647 w 276"/>
                <a:gd name="T59" fmla="*/ 2147483647 h 570"/>
                <a:gd name="T60" fmla="*/ 2147483647 w 276"/>
                <a:gd name="T61" fmla="*/ 2147483647 h 570"/>
                <a:gd name="T62" fmla="*/ 2147483647 w 276"/>
                <a:gd name="T63" fmla="*/ 2147483647 h 570"/>
                <a:gd name="T64" fmla="*/ 2147483647 w 276"/>
                <a:gd name="T65" fmla="*/ 2147483647 h 570"/>
                <a:gd name="T66" fmla="*/ 2147483647 w 276"/>
                <a:gd name="T67" fmla="*/ 2147483647 h 570"/>
                <a:gd name="T68" fmla="*/ 2147483647 w 276"/>
                <a:gd name="T69" fmla="*/ 2147483647 h 570"/>
                <a:gd name="T70" fmla="*/ 2147483647 w 276"/>
                <a:gd name="T71" fmla="*/ 2147483647 h 570"/>
                <a:gd name="T72" fmla="*/ 2147483647 w 276"/>
                <a:gd name="T73" fmla="*/ 2147483647 h 570"/>
                <a:gd name="T74" fmla="*/ 2147483647 w 276"/>
                <a:gd name="T75" fmla="*/ 2147483647 h 570"/>
                <a:gd name="T76" fmla="*/ 2147483647 w 276"/>
                <a:gd name="T77" fmla="*/ 2147483647 h 570"/>
                <a:gd name="T78" fmla="*/ 2147483647 w 276"/>
                <a:gd name="T79" fmla="*/ 2147483647 h 570"/>
                <a:gd name="T80" fmla="*/ 2147483647 w 276"/>
                <a:gd name="T81" fmla="*/ 2147483647 h 570"/>
                <a:gd name="T82" fmla="*/ 2147483647 w 276"/>
                <a:gd name="T83" fmla="*/ 2147483647 h 570"/>
                <a:gd name="T84" fmla="*/ 2147483647 w 276"/>
                <a:gd name="T85" fmla="*/ 2147483647 h 570"/>
                <a:gd name="T86" fmla="*/ 2147483647 w 276"/>
                <a:gd name="T87" fmla="*/ 2147483647 h 570"/>
                <a:gd name="T88" fmla="*/ 2147483647 w 276"/>
                <a:gd name="T89" fmla="*/ 0 h 570"/>
                <a:gd name="T90" fmla="*/ 2147483647 w 276"/>
                <a:gd name="T91" fmla="*/ 2147483647 h 570"/>
                <a:gd name="T92" fmla="*/ 2147483647 w 276"/>
                <a:gd name="T93" fmla="*/ 2147483647 h 570"/>
                <a:gd name="T94" fmla="*/ 2147483647 w 276"/>
                <a:gd name="T95" fmla="*/ 2147483647 h 5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6"/>
                <a:gd name="T145" fmla="*/ 0 h 570"/>
                <a:gd name="T146" fmla="*/ 276 w 276"/>
                <a:gd name="T147" fmla="*/ 570 h 5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6" h="570">
                  <a:moveTo>
                    <a:pt x="42" y="60"/>
                  </a:moveTo>
                  <a:lnTo>
                    <a:pt x="60" y="66"/>
                  </a:lnTo>
                  <a:lnTo>
                    <a:pt x="60" y="78"/>
                  </a:lnTo>
                  <a:lnTo>
                    <a:pt x="54" y="90"/>
                  </a:lnTo>
                  <a:lnTo>
                    <a:pt x="54" y="126"/>
                  </a:lnTo>
                  <a:lnTo>
                    <a:pt x="60" y="138"/>
                  </a:lnTo>
                  <a:lnTo>
                    <a:pt x="60" y="180"/>
                  </a:lnTo>
                  <a:lnTo>
                    <a:pt x="54" y="192"/>
                  </a:lnTo>
                  <a:lnTo>
                    <a:pt x="54" y="204"/>
                  </a:lnTo>
                  <a:lnTo>
                    <a:pt x="48" y="210"/>
                  </a:lnTo>
                  <a:lnTo>
                    <a:pt x="48" y="216"/>
                  </a:lnTo>
                  <a:lnTo>
                    <a:pt x="24" y="234"/>
                  </a:lnTo>
                  <a:lnTo>
                    <a:pt x="0" y="258"/>
                  </a:lnTo>
                  <a:lnTo>
                    <a:pt x="0" y="300"/>
                  </a:lnTo>
                  <a:lnTo>
                    <a:pt x="12" y="300"/>
                  </a:lnTo>
                  <a:lnTo>
                    <a:pt x="12" y="330"/>
                  </a:lnTo>
                  <a:lnTo>
                    <a:pt x="24" y="330"/>
                  </a:lnTo>
                  <a:lnTo>
                    <a:pt x="42" y="336"/>
                  </a:lnTo>
                  <a:lnTo>
                    <a:pt x="54" y="348"/>
                  </a:lnTo>
                  <a:lnTo>
                    <a:pt x="54" y="390"/>
                  </a:lnTo>
                  <a:lnTo>
                    <a:pt x="60" y="390"/>
                  </a:lnTo>
                  <a:lnTo>
                    <a:pt x="66" y="396"/>
                  </a:lnTo>
                  <a:lnTo>
                    <a:pt x="90" y="408"/>
                  </a:lnTo>
                  <a:lnTo>
                    <a:pt x="96" y="420"/>
                  </a:lnTo>
                  <a:lnTo>
                    <a:pt x="102" y="426"/>
                  </a:lnTo>
                  <a:lnTo>
                    <a:pt x="108" y="450"/>
                  </a:lnTo>
                  <a:lnTo>
                    <a:pt x="114" y="492"/>
                  </a:lnTo>
                  <a:lnTo>
                    <a:pt x="126" y="540"/>
                  </a:lnTo>
                  <a:lnTo>
                    <a:pt x="138" y="570"/>
                  </a:lnTo>
                  <a:lnTo>
                    <a:pt x="144" y="564"/>
                  </a:lnTo>
                  <a:lnTo>
                    <a:pt x="156" y="564"/>
                  </a:lnTo>
                  <a:lnTo>
                    <a:pt x="186" y="534"/>
                  </a:lnTo>
                  <a:lnTo>
                    <a:pt x="186" y="510"/>
                  </a:lnTo>
                  <a:lnTo>
                    <a:pt x="174" y="486"/>
                  </a:lnTo>
                  <a:lnTo>
                    <a:pt x="174" y="468"/>
                  </a:lnTo>
                  <a:lnTo>
                    <a:pt x="192" y="450"/>
                  </a:lnTo>
                  <a:lnTo>
                    <a:pt x="198" y="450"/>
                  </a:lnTo>
                  <a:lnTo>
                    <a:pt x="204" y="438"/>
                  </a:lnTo>
                  <a:lnTo>
                    <a:pt x="210" y="432"/>
                  </a:lnTo>
                  <a:lnTo>
                    <a:pt x="216" y="420"/>
                  </a:lnTo>
                  <a:lnTo>
                    <a:pt x="222" y="414"/>
                  </a:lnTo>
                  <a:lnTo>
                    <a:pt x="234" y="408"/>
                  </a:lnTo>
                  <a:lnTo>
                    <a:pt x="246" y="408"/>
                  </a:lnTo>
                  <a:lnTo>
                    <a:pt x="270" y="396"/>
                  </a:lnTo>
                  <a:lnTo>
                    <a:pt x="276" y="390"/>
                  </a:lnTo>
                  <a:lnTo>
                    <a:pt x="276" y="384"/>
                  </a:lnTo>
                  <a:lnTo>
                    <a:pt x="264" y="372"/>
                  </a:lnTo>
                  <a:lnTo>
                    <a:pt x="258" y="372"/>
                  </a:lnTo>
                  <a:lnTo>
                    <a:pt x="264" y="330"/>
                  </a:lnTo>
                  <a:lnTo>
                    <a:pt x="252" y="330"/>
                  </a:lnTo>
                  <a:lnTo>
                    <a:pt x="240" y="300"/>
                  </a:lnTo>
                  <a:lnTo>
                    <a:pt x="228" y="294"/>
                  </a:lnTo>
                  <a:lnTo>
                    <a:pt x="222" y="306"/>
                  </a:lnTo>
                  <a:lnTo>
                    <a:pt x="216" y="294"/>
                  </a:lnTo>
                  <a:lnTo>
                    <a:pt x="198" y="294"/>
                  </a:lnTo>
                  <a:lnTo>
                    <a:pt x="186" y="288"/>
                  </a:lnTo>
                  <a:lnTo>
                    <a:pt x="180" y="282"/>
                  </a:lnTo>
                  <a:lnTo>
                    <a:pt x="168" y="276"/>
                  </a:lnTo>
                  <a:lnTo>
                    <a:pt x="168" y="246"/>
                  </a:lnTo>
                  <a:lnTo>
                    <a:pt x="174" y="240"/>
                  </a:lnTo>
                  <a:lnTo>
                    <a:pt x="180" y="240"/>
                  </a:lnTo>
                  <a:lnTo>
                    <a:pt x="234" y="186"/>
                  </a:lnTo>
                  <a:lnTo>
                    <a:pt x="240" y="174"/>
                  </a:lnTo>
                  <a:lnTo>
                    <a:pt x="240" y="156"/>
                  </a:lnTo>
                  <a:lnTo>
                    <a:pt x="234" y="144"/>
                  </a:lnTo>
                  <a:lnTo>
                    <a:pt x="216" y="126"/>
                  </a:lnTo>
                  <a:lnTo>
                    <a:pt x="204" y="120"/>
                  </a:lnTo>
                  <a:lnTo>
                    <a:pt x="198" y="120"/>
                  </a:lnTo>
                  <a:lnTo>
                    <a:pt x="198" y="102"/>
                  </a:lnTo>
                  <a:lnTo>
                    <a:pt x="204" y="90"/>
                  </a:lnTo>
                  <a:lnTo>
                    <a:pt x="204" y="78"/>
                  </a:lnTo>
                  <a:lnTo>
                    <a:pt x="210" y="72"/>
                  </a:lnTo>
                  <a:lnTo>
                    <a:pt x="222" y="66"/>
                  </a:lnTo>
                  <a:lnTo>
                    <a:pt x="228" y="60"/>
                  </a:lnTo>
                  <a:lnTo>
                    <a:pt x="234" y="48"/>
                  </a:lnTo>
                  <a:lnTo>
                    <a:pt x="234" y="36"/>
                  </a:lnTo>
                  <a:lnTo>
                    <a:pt x="240" y="30"/>
                  </a:lnTo>
                  <a:lnTo>
                    <a:pt x="240" y="18"/>
                  </a:lnTo>
                  <a:lnTo>
                    <a:pt x="228" y="18"/>
                  </a:lnTo>
                  <a:lnTo>
                    <a:pt x="222" y="30"/>
                  </a:lnTo>
                  <a:lnTo>
                    <a:pt x="210" y="36"/>
                  </a:lnTo>
                  <a:lnTo>
                    <a:pt x="204" y="48"/>
                  </a:lnTo>
                  <a:lnTo>
                    <a:pt x="192" y="60"/>
                  </a:lnTo>
                  <a:lnTo>
                    <a:pt x="186" y="60"/>
                  </a:lnTo>
                  <a:lnTo>
                    <a:pt x="174" y="54"/>
                  </a:lnTo>
                  <a:lnTo>
                    <a:pt x="162" y="42"/>
                  </a:lnTo>
                  <a:lnTo>
                    <a:pt x="174" y="30"/>
                  </a:lnTo>
                  <a:lnTo>
                    <a:pt x="174" y="24"/>
                  </a:lnTo>
                  <a:lnTo>
                    <a:pt x="180" y="12"/>
                  </a:lnTo>
                  <a:lnTo>
                    <a:pt x="168" y="0"/>
                  </a:lnTo>
                  <a:lnTo>
                    <a:pt x="138" y="0"/>
                  </a:lnTo>
                  <a:lnTo>
                    <a:pt x="126" y="6"/>
                  </a:lnTo>
                  <a:lnTo>
                    <a:pt x="108" y="12"/>
                  </a:lnTo>
                  <a:lnTo>
                    <a:pt x="96" y="18"/>
                  </a:lnTo>
                  <a:lnTo>
                    <a:pt x="84" y="30"/>
                  </a:lnTo>
                  <a:lnTo>
                    <a:pt x="84" y="42"/>
                  </a:lnTo>
                  <a:lnTo>
                    <a:pt x="42" y="6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46" name="Tschechien" descr="© INSCALE GmbH, 05.05.2010&#10;http://www.presentationload.com/">
              <a:extLst>
                <a:ext uri="{FF2B5EF4-FFF2-40B4-BE49-F238E27FC236}">
                  <a16:creationId xmlns:a16="http://schemas.microsoft.com/office/drawing/2014/main" id="{52552827-6989-4F2D-B62F-71DB809C0807}"/>
                </a:ext>
              </a:extLst>
            </p:cNvPr>
            <p:cNvSpPr>
              <a:spLocks/>
            </p:cNvSpPr>
            <p:nvPr/>
          </p:nvSpPr>
          <p:spPr bwMode="gray">
            <a:xfrm>
              <a:off x="4463347" y="2625021"/>
              <a:ext cx="167778" cy="76834"/>
            </a:xfrm>
            <a:custGeom>
              <a:avLst/>
              <a:gdLst>
                <a:gd name="T0" fmla="*/ 2147483647 w 420"/>
                <a:gd name="T1" fmla="*/ 2147483647 h 192"/>
                <a:gd name="T2" fmla="*/ 2147483647 w 420"/>
                <a:gd name="T3" fmla="*/ 2147483647 h 192"/>
                <a:gd name="T4" fmla="*/ 2147483647 w 420"/>
                <a:gd name="T5" fmla="*/ 2147483647 h 192"/>
                <a:gd name="T6" fmla="*/ 2147483647 w 420"/>
                <a:gd name="T7" fmla="*/ 2147483647 h 192"/>
                <a:gd name="T8" fmla="*/ 2147483647 w 420"/>
                <a:gd name="T9" fmla="*/ 2147483647 h 192"/>
                <a:gd name="T10" fmla="*/ 2147483647 w 420"/>
                <a:gd name="T11" fmla="*/ 2147483647 h 192"/>
                <a:gd name="T12" fmla="*/ 2147483647 w 420"/>
                <a:gd name="T13" fmla="*/ 2147483647 h 192"/>
                <a:gd name="T14" fmla="*/ 2147483647 w 420"/>
                <a:gd name="T15" fmla="*/ 2147483647 h 192"/>
                <a:gd name="T16" fmla="*/ 2147483647 w 420"/>
                <a:gd name="T17" fmla="*/ 2147483647 h 192"/>
                <a:gd name="T18" fmla="*/ 2147483647 w 420"/>
                <a:gd name="T19" fmla="*/ 2147483647 h 192"/>
                <a:gd name="T20" fmla="*/ 2147483647 w 420"/>
                <a:gd name="T21" fmla="*/ 2147483647 h 192"/>
                <a:gd name="T22" fmla="*/ 2147483647 w 420"/>
                <a:gd name="T23" fmla="*/ 2147483647 h 192"/>
                <a:gd name="T24" fmla="*/ 2147483647 w 420"/>
                <a:gd name="T25" fmla="*/ 2147483647 h 192"/>
                <a:gd name="T26" fmla="*/ 2147483647 w 420"/>
                <a:gd name="T27" fmla="*/ 2147483647 h 192"/>
                <a:gd name="T28" fmla="*/ 2147483647 w 420"/>
                <a:gd name="T29" fmla="*/ 0 h 192"/>
                <a:gd name="T30" fmla="*/ 2147483647 w 420"/>
                <a:gd name="T31" fmla="*/ 2147483647 h 192"/>
                <a:gd name="T32" fmla="*/ 2147483647 w 420"/>
                <a:gd name="T33" fmla="*/ 0 h 192"/>
                <a:gd name="T34" fmla="*/ 2147483647 w 420"/>
                <a:gd name="T35" fmla="*/ 2147483647 h 192"/>
                <a:gd name="T36" fmla="*/ 2147483647 w 420"/>
                <a:gd name="T37" fmla="*/ 2147483647 h 192"/>
                <a:gd name="T38" fmla="*/ 2147483647 w 420"/>
                <a:gd name="T39" fmla="*/ 2147483647 h 192"/>
                <a:gd name="T40" fmla="*/ 2147483647 w 420"/>
                <a:gd name="T41" fmla="*/ 2147483647 h 192"/>
                <a:gd name="T42" fmla="*/ 2147483647 w 420"/>
                <a:gd name="T43" fmla="*/ 2147483647 h 192"/>
                <a:gd name="T44" fmla="*/ 2147483647 w 420"/>
                <a:gd name="T45" fmla="*/ 2147483647 h 192"/>
                <a:gd name="T46" fmla="*/ 2147483647 w 420"/>
                <a:gd name="T47" fmla="*/ 2147483647 h 192"/>
                <a:gd name="T48" fmla="*/ 2147483647 w 420"/>
                <a:gd name="T49" fmla="*/ 2147483647 h 192"/>
                <a:gd name="T50" fmla="*/ 2147483647 w 420"/>
                <a:gd name="T51" fmla="*/ 2147483647 h 192"/>
                <a:gd name="T52" fmla="*/ 0 w 420"/>
                <a:gd name="T53" fmla="*/ 2147483647 h 192"/>
                <a:gd name="T54" fmla="*/ 2147483647 w 420"/>
                <a:gd name="T55" fmla="*/ 2147483647 h 192"/>
                <a:gd name="T56" fmla="*/ 2147483647 w 420"/>
                <a:gd name="T57" fmla="*/ 2147483647 h 192"/>
                <a:gd name="T58" fmla="*/ 2147483647 w 420"/>
                <a:gd name="T59" fmla="*/ 2147483647 h 192"/>
                <a:gd name="T60" fmla="*/ 2147483647 w 420"/>
                <a:gd name="T61" fmla="*/ 2147483647 h 192"/>
                <a:gd name="T62" fmla="*/ 2147483647 w 420"/>
                <a:gd name="T63" fmla="*/ 2147483647 h 192"/>
                <a:gd name="T64" fmla="*/ 2147483647 w 420"/>
                <a:gd name="T65" fmla="*/ 2147483647 h 192"/>
                <a:gd name="T66" fmla="*/ 2147483647 w 420"/>
                <a:gd name="T67" fmla="*/ 2147483647 h 192"/>
                <a:gd name="T68" fmla="*/ 2147483647 w 420"/>
                <a:gd name="T69" fmla="*/ 2147483647 h 192"/>
                <a:gd name="T70" fmla="*/ 2147483647 w 420"/>
                <a:gd name="T71" fmla="*/ 2147483647 h 192"/>
                <a:gd name="T72" fmla="*/ 2147483647 w 420"/>
                <a:gd name="T73" fmla="*/ 2147483647 h 192"/>
                <a:gd name="T74" fmla="*/ 2147483647 w 420"/>
                <a:gd name="T75" fmla="*/ 2147483647 h 192"/>
                <a:gd name="T76" fmla="*/ 2147483647 w 420"/>
                <a:gd name="T77" fmla="*/ 2147483647 h 192"/>
                <a:gd name="T78" fmla="*/ 2147483647 w 420"/>
                <a:gd name="T79" fmla="*/ 2147483647 h 192"/>
                <a:gd name="T80" fmla="*/ 2147483647 w 420"/>
                <a:gd name="T81" fmla="*/ 2147483647 h 192"/>
                <a:gd name="T82" fmla="*/ 2147483647 w 420"/>
                <a:gd name="T83" fmla="*/ 2147483647 h 192"/>
                <a:gd name="T84" fmla="*/ 2147483647 w 420"/>
                <a:gd name="T85" fmla="*/ 2147483647 h 192"/>
                <a:gd name="T86" fmla="*/ 2147483647 w 420"/>
                <a:gd name="T87" fmla="*/ 2147483647 h 192"/>
                <a:gd name="T88" fmla="*/ 2147483647 w 420"/>
                <a:gd name="T89" fmla="*/ 2147483647 h 192"/>
                <a:gd name="T90" fmla="*/ 2147483647 w 420"/>
                <a:gd name="T91" fmla="*/ 2147483647 h 192"/>
                <a:gd name="T92" fmla="*/ 2147483647 w 420"/>
                <a:gd name="T93" fmla="*/ 2147483647 h 192"/>
                <a:gd name="T94" fmla="*/ 2147483647 w 420"/>
                <a:gd name="T95" fmla="*/ 2147483647 h 192"/>
                <a:gd name="T96" fmla="*/ 2147483647 w 420"/>
                <a:gd name="T97" fmla="*/ 2147483647 h 192"/>
                <a:gd name="T98" fmla="*/ 2147483647 w 420"/>
                <a:gd name="T99" fmla="*/ 2147483647 h 192"/>
                <a:gd name="T100" fmla="*/ 2147483647 w 420"/>
                <a:gd name="T101" fmla="*/ 2147483647 h 192"/>
                <a:gd name="T102" fmla="*/ 2147483647 w 420"/>
                <a:gd name="T103" fmla="*/ 2147483647 h 192"/>
                <a:gd name="T104" fmla="*/ 2147483647 w 420"/>
                <a:gd name="T105" fmla="*/ 2147483647 h 1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0"/>
                <a:gd name="T160" fmla="*/ 0 h 192"/>
                <a:gd name="T161" fmla="*/ 420 w 420"/>
                <a:gd name="T162" fmla="*/ 192 h 1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0" h="192">
                  <a:moveTo>
                    <a:pt x="408" y="108"/>
                  </a:moveTo>
                  <a:lnTo>
                    <a:pt x="402" y="96"/>
                  </a:lnTo>
                  <a:lnTo>
                    <a:pt x="402" y="90"/>
                  </a:lnTo>
                  <a:lnTo>
                    <a:pt x="390" y="84"/>
                  </a:lnTo>
                  <a:lnTo>
                    <a:pt x="372" y="84"/>
                  </a:lnTo>
                  <a:lnTo>
                    <a:pt x="372" y="78"/>
                  </a:lnTo>
                  <a:lnTo>
                    <a:pt x="366" y="72"/>
                  </a:lnTo>
                  <a:lnTo>
                    <a:pt x="360" y="84"/>
                  </a:lnTo>
                  <a:lnTo>
                    <a:pt x="354" y="78"/>
                  </a:lnTo>
                  <a:lnTo>
                    <a:pt x="348" y="66"/>
                  </a:lnTo>
                  <a:lnTo>
                    <a:pt x="342" y="60"/>
                  </a:lnTo>
                  <a:lnTo>
                    <a:pt x="324" y="60"/>
                  </a:lnTo>
                  <a:lnTo>
                    <a:pt x="330" y="54"/>
                  </a:lnTo>
                  <a:lnTo>
                    <a:pt x="312" y="54"/>
                  </a:lnTo>
                  <a:lnTo>
                    <a:pt x="300" y="60"/>
                  </a:lnTo>
                  <a:lnTo>
                    <a:pt x="294" y="60"/>
                  </a:lnTo>
                  <a:lnTo>
                    <a:pt x="294" y="66"/>
                  </a:lnTo>
                  <a:lnTo>
                    <a:pt x="276" y="66"/>
                  </a:lnTo>
                  <a:lnTo>
                    <a:pt x="270" y="60"/>
                  </a:lnTo>
                  <a:lnTo>
                    <a:pt x="264" y="60"/>
                  </a:lnTo>
                  <a:lnTo>
                    <a:pt x="264" y="48"/>
                  </a:lnTo>
                  <a:lnTo>
                    <a:pt x="252" y="42"/>
                  </a:lnTo>
                  <a:lnTo>
                    <a:pt x="264" y="36"/>
                  </a:lnTo>
                  <a:lnTo>
                    <a:pt x="258" y="30"/>
                  </a:lnTo>
                  <a:lnTo>
                    <a:pt x="234" y="30"/>
                  </a:lnTo>
                  <a:lnTo>
                    <a:pt x="234" y="24"/>
                  </a:lnTo>
                  <a:lnTo>
                    <a:pt x="228" y="24"/>
                  </a:lnTo>
                  <a:lnTo>
                    <a:pt x="216" y="18"/>
                  </a:lnTo>
                  <a:lnTo>
                    <a:pt x="198" y="18"/>
                  </a:lnTo>
                  <a:lnTo>
                    <a:pt x="192" y="0"/>
                  </a:lnTo>
                  <a:lnTo>
                    <a:pt x="174" y="0"/>
                  </a:lnTo>
                  <a:lnTo>
                    <a:pt x="162" y="12"/>
                  </a:lnTo>
                  <a:lnTo>
                    <a:pt x="156" y="12"/>
                  </a:lnTo>
                  <a:lnTo>
                    <a:pt x="144" y="0"/>
                  </a:lnTo>
                  <a:lnTo>
                    <a:pt x="138" y="6"/>
                  </a:lnTo>
                  <a:lnTo>
                    <a:pt x="132" y="6"/>
                  </a:lnTo>
                  <a:lnTo>
                    <a:pt x="126" y="12"/>
                  </a:lnTo>
                  <a:lnTo>
                    <a:pt x="126" y="18"/>
                  </a:lnTo>
                  <a:lnTo>
                    <a:pt x="108" y="18"/>
                  </a:lnTo>
                  <a:lnTo>
                    <a:pt x="108" y="24"/>
                  </a:lnTo>
                  <a:lnTo>
                    <a:pt x="84" y="24"/>
                  </a:lnTo>
                  <a:lnTo>
                    <a:pt x="84" y="30"/>
                  </a:lnTo>
                  <a:lnTo>
                    <a:pt x="66" y="36"/>
                  </a:lnTo>
                  <a:lnTo>
                    <a:pt x="54" y="48"/>
                  </a:lnTo>
                  <a:lnTo>
                    <a:pt x="42" y="42"/>
                  </a:lnTo>
                  <a:lnTo>
                    <a:pt x="36" y="42"/>
                  </a:lnTo>
                  <a:lnTo>
                    <a:pt x="30" y="48"/>
                  </a:lnTo>
                  <a:lnTo>
                    <a:pt x="30" y="54"/>
                  </a:lnTo>
                  <a:lnTo>
                    <a:pt x="18" y="54"/>
                  </a:lnTo>
                  <a:lnTo>
                    <a:pt x="18" y="60"/>
                  </a:lnTo>
                  <a:lnTo>
                    <a:pt x="6" y="60"/>
                  </a:lnTo>
                  <a:lnTo>
                    <a:pt x="6" y="54"/>
                  </a:lnTo>
                  <a:lnTo>
                    <a:pt x="0" y="54"/>
                  </a:lnTo>
                  <a:lnTo>
                    <a:pt x="0" y="66"/>
                  </a:lnTo>
                  <a:lnTo>
                    <a:pt x="6" y="72"/>
                  </a:lnTo>
                  <a:lnTo>
                    <a:pt x="12" y="72"/>
                  </a:lnTo>
                  <a:lnTo>
                    <a:pt x="24" y="84"/>
                  </a:lnTo>
                  <a:lnTo>
                    <a:pt x="18" y="90"/>
                  </a:lnTo>
                  <a:lnTo>
                    <a:pt x="12" y="90"/>
                  </a:lnTo>
                  <a:lnTo>
                    <a:pt x="12" y="96"/>
                  </a:lnTo>
                  <a:lnTo>
                    <a:pt x="24" y="108"/>
                  </a:lnTo>
                  <a:lnTo>
                    <a:pt x="30" y="120"/>
                  </a:lnTo>
                  <a:lnTo>
                    <a:pt x="36" y="120"/>
                  </a:lnTo>
                  <a:lnTo>
                    <a:pt x="36" y="126"/>
                  </a:lnTo>
                  <a:lnTo>
                    <a:pt x="48" y="132"/>
                  </a:lnTo>
                  <a:lnTo>
                    <a:pt x="60" y="132"/>
                  </a:lnTo>
                  <a:lnTo>
                    <a:pt x="66" y="144"/>
                  </a:lnTo>
                  <a:lnTo>
                    <a:pt x="72" y="144"/>
                  </a:lnTo>
                  <a:lnTo>
                    <a:pt x="78" y="156"/>
                  </a:lnTo>
                  <a:lnTo>
                    <a:pt x="90" y="156"/>
                  </a:lnTo>
                  <a:lnTo>
                    <a:pt x="96" y="162"/>
                  </a:lnTo>
                  <a:lnTo>
                    <a:pt x="102" y="162"/>
                  </a:lnTo>
                  <a:lnTo>
                    <a:pt x="102" y="174"/>
                  </a:lnTo>
                  <a:lnTo>
                    <a:pt x="120" y="192"/>
                  </a:lnTo>
                  <a:lnTo>
                    <a:pt x="132" y="192"/>
                  </a:lnTo>
                  <a:lnTo>
                    <a:pt x="144" y="186"/>
                  </a:lnTo>
                  <a:lnTo>
                    <a:pt x="150" y="186"/>
                  </a:lnTo>
                  <a:lnTo>
                    <a:pt x="162" y="192"/>
                  </a:lnTo>
                  <a:lnTo>
                    <a:pt x="162" y="174"/>
                  </a:lnTo>
                  <a:lnTo>
                    <a:pt x="168" y="174"/>
                  </a:lnTo>
                  <a:lnTo>
                    <a:pt x="174" y="162"/>
                  </a:lnTo>
                  <a:lnTo>
                    <a:pt x="180" y="156"/>
                  </a:lnTo>
                  <a:lnTo>
                    <a:pt x="198" y="156"/>
                  </a:lnTo>
                  <a:lnTo>
                    <a:pt x="210" y="162"/>
                  </a:lnTo>
                  <a:lnTo>
                    <a:pt x="222" y="174"/>
                  </a:lnTo>
                  <a:lnTo>
                    <a:pt x="234" y="168"/>
                  </a:lnTo>
                  <a:lnTo>
                    <a:pt x="246" y="180"/>
                  </a:lnTo>
                  <a:lnTo>
                    <a:pt x="258" y="174"/>
                  </a:lnTo>
                  <a:lnTo>
                    <a:pt x="264" y="168"/>
                  </a:lnTo>
                  <a:lnTo>
                    <a:pt x="276" y="168"/>
                  </a:lnTo>
                  <a:lnTo>
                    <a:pt x="282" y="174"/>
                  </a:lnTo>
                  <a:lnTo>
                    <a:pt x="288" y="174"/>
                  </a:lnTo>
                  <a:lnTo>
                    <a:pt x="300" y="180"/>
                  </a:lnTo>
                  <a:lnTo>
                    <a:pt x="306" y="174"/>
                  </a:lnTo>
                  <a:lnTo>
                    <a:pt x="324" y="174"/>
                  </a:lnTo>
                  <a:lnTo>
                    <a:pt x="330" y="168"/>
                  </a:lnTo>
                  <a:lnTo>
                    <a:pt x="330" y="174"/>
                  </a:lnTo>
                  <a:lnTo>
                    <a:pt x="348" y="174"/>
                  </a:lnTo>
                  <a:lnTo>
                    <a:pt x="360" y="168"/>
                  </a:lnTo>
                  <a:lnTo>
                    <a:pt x="366" y="162"/>
                  </a:lnTo>
                  <a:lnTo>
                    <a:pt x="378" y="156"/>
                  </a:lnTo>
                  <a:lnTo>
                    <a:pt x="378" y="132"/>
                  </a:lnTo>
                  <a:lnTo>
                    <a:pt x="402" y="126"/>
                  </a:lnTo>
                  <a:lnTo>
                    <a:pt x="420" y="114"/>
                  </a:lnTo>
                  <a:lnTo>
                    <a:pt x="414" y="108"/>
                  </a:lnTo>
                  <a:lnTo>
                    <a:pt x="408" y="108"/>
                  </a:lnTo>
                  <a:close/>
                </a:path>
              </a:pathLst>
            </a:custGeom>
            <a:solidFill>
              <a:schemeClr val="accent1"/>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47" name="Togo" descr="© INSCALE GmbH, 05.05.2010&#10;http://www.presentationload.com/">
              <a:extLst>
                <a:ext uri="{FF2B5EF4-FFF2-40B4-BE49-F238E27FC236}">
                  <a16:creationId xmlns:a16="http://schemas.microsoft.com/office/drawing/2014/main" id="{B99470FD-0832-42A3-94DA-B6F475EA825B}"/>
                </a:ext>
              </a:extLst>
            </p:cNvPr>
            <p:cNvSpPr>
              <a:spLocks/>
            </p:cNvSpPr>
            <p:nvPr/>
          </p:nvSpPr>
          <p:spPr bwMode="gray">
            <a:xfrm>
              <a:off x="4124655" y="3898256"/>
              <a:ext cx="56449" cy="159938"/>
            </a:xfrm>
            <a:custGeom>
              <a:avLst/>
              <a:gdLst>
                <a:gd name="T0" fmla="*/ 2147483647 w 138"/>
                <a:gd name="T1" fmla="*/ 2147483647 h 402"/>
                <a:gd name="T2" fmla="*/ 2147483647 w 138"/>
                <a:gd name="T3" fmla="*/ 2147483647 h 402"/>
                <a:gd name="T4" fmla="*/ 2147483647 w 138"/>
                <a:gd name="T5" fmla="*/ 2147483647 h 402"/>
                <a:gd name="T6" fmla="*/ 2147483647 w 138"/>
                <a:gd name="T7" fmla="*/ 2147483647 h 402"/>
                <a:gd name="T8" fmla="*/ 2147483647 w 138"/>
                <a:gd name="T9" fmla="*/ 2147483647 h 402"/>
                <a:gd name="T10" fmla="*/ 2147483647 w 138"/>
                <a:gd name="T11" fmla="*/ 2147483647 h 402"/>
                <a:gd name="T12" fmla="*/ 2147483647 w 138"/>
                <a:gd name="T13" fmla="*/ 2147483647 h 402"/>
                <a:gd name="T14" fmla="*/ 2147483647 w 138"/>
                <a:gd name="T15" fmla="*/ 2147483647 h 402"/>
                <a:gd name="T16" fmla="*/ 2147483647 w 138"/>
                <a:gd name="T17" fmla="*/ 2147483647 h 402"/>
                <a:gd name="T18" fmla="*/ 2147483647 w 138"/>
                <a:gd name="T19" fmla="*/ 2147483647 h 402"/>
                <a:gd name="T20" fmla="*/ 2147483647 w 138"/>
                <a:gd name="T21" fmla="*/ 2147483647 h 402"/>
                <a:gd name="T22" fmla="*/ 2147483647 w 138"/>
                <a:gd name="T23" fmla="*/ 2147483647 h 402"/>
                <a:gd name="T24" fmla="*/ 2147483647 w 138"/>
                <a:gd name="T25" fmla="*/ 2147483647 h 402"/>
                <a:gd name="T26" fmla="*/ 2147483647 w 138"/>
                <a:gd name="T27" fmla="*/ 2147483647 h 402"/>
                <a:gd name="T28" fmla="*/ 2147483647 w 138"/>
                <a:gd name="T29" fmla="*/ 2147483647 h 402"/>
                <a:gd name="T30" fmla="*/ 2147483647 w 138"/>
                <a:gd name="T31" fmla="*/ 2147483647 h 402"/>
                <a:gd name="T32" fmla="*/ 2147483647 w 138"/>
                <a:gd name="T33" fmla="*/ 0 h 402"/>
                <a:gd name="T34" fmla="*/ 2147483647 w 138"/>
                <a:gd name="T35" fmla="*/ 0 h 402"/>
                <a:gd name="T36" fmla="*/ 2147483647 w 138"/>
                <a:gd name="T37" fmla="*/ 2147483647 h 402"/>
                <a:gd name="T38" fmla="*/ 0 w 138"/>
                <a:gd name="T39" fmla="*/ 2147483647 h 402"/>
                <a:gd name="T40" fmla="*/ 2147483647 w 138"/>
                <a:gd name="T41" fmla="*/ 2147483647 h 402"/>
                <a:gd name="T42" fmla="*/ 2147483647 w 138"/>
                <a:gd name="T43" fmla="*/ 2147483647 h 402"/>
                <a:gd name="T44" fmla="*/ 2147483647 w 138"/>
                <a:gd name="T45" fmla="*/ 2147483647 h 402"/>
                <a:gd name="T46" fmla="*/ 2147483647 w 138"/>
                <a:gd name="T47" fmla="*/ 2147483647 h 402"/>
                <a:gd name="T48" fmla="*/ 2147483647 w 138"/>
                <a:gd name="T49" fmla="*/ 2147483647 h 402"/>
                <a:gd name="T50" fmla="*/ 2147483647 w 138"/>
                <a:gd name="T51" fmla="*/ 2147483647 h 402"/>
                <a:gd name="T52" fmla="*/ 2147483647 w 138"/>
                <a:gd name="T53" fmla="*/ 2147483647 h 402"/>
                <a:gd name="T54" fmla="*/ 2147483647 w 138"/>
                <a:gd name="T55" fmla="*/ 2147483647 h 402"/>
                <a:gd name="T56" fmla="*/ 2147483647 w 138"/>
                <a:gd name="T57" fmla="*/ 2147483647 h 402"/>
                <a:gd name="T58" fmla="*/ 2147483647 w 138"/>
                <a:gd name="T59" fmla="*/ 2147483647 h 402"/>
                <a:gd name="T60" fmla="*/ 2147483647 w 138"/>
                <a:gd name="T61" fmla="*/ 2147483647 h 402"/>
                <a:gd name="T62" fmla="*/ 2147483647 w 138"/>
                <a:gd name="T63" fmla="*/ 2147483647 h 402"/>
                <a:gd name="T64" fmla="*/ 2147483647 w 138"/>
                <a:gd name="T65" fmla="*/ 2147483647 h 402"/>
                <a:gd name="T66" fmla="*/ 2147483647 w 138"/>
                <a:gd name="T67" fmla="*/ 2147483647 h 402"/>
                <a:gd name="T68" fmla="*/ 2147483647 w 138"/>
                <a:gd name="T69" fmla="*/ 2147483647 h 402"/>
                <a:gd name="T70" fmla="*/ 2147483647 w 138"/>
                <a:gd name="T71" fmla="*/ 2147483647 h 402"/>
                <a:gd name="T72" fmla="*/ 2147483647 w 138"/>
                <a:gd name="T73" fmla="*/ 2147483647 h 402"/>
                <a:gd name="T74" fmla="*/ 2147483647 w 138"/>
                <a:gd name="T75" fmla="*/ 2147483647 h 402"/>
                <a:gd name="T76" fmla="*/ 2147483647 w 138"/>
                <a:gd name="T77" fmla="*/ 2147483647 h 402"/>
                <a:gd name="T78" fmla="*/ 2147483647 w 138"/>
                <a:gd name="T79" fmla="*/ 2147483647 h 402"/>
                <a:gd name="T80" fmla="*/ 2147483647 w 138"/>
                <a:gd name="T81" fmla="*/ 2147483647 h 402"/>
                <a:gd name="T82" fmla="*/ 2147483647 w 138"/>
                <a:gd name="T83" fmla="*/ 2147483647 h 402"/>
                <a:gd name="T84" fmla="*/ 2147483647 w 138"/>
                <a:gd name="T85" fmla="*/ 2147483647 h 402"/>
                <a:gd name="T86" fmla="*/ 2147483647 w 138"/>
                <a:gd name="T87" fmla="*/ 2147483647 h 402"/>
                <a:gd name="T88" fmla="*/ 2147483647 w 138"/>
                <a:gd name="T89" fmla="*/ 2147483647 h 402"/>
                <a:gd name="T90" fmla="*/ 2147483647 w 138"/>
                <a:gd name="T91" fmla="*/ 2147483647 h 402"/>
                <a:gd name="T92" fmla="*/ 2147483647 w 138"/>
                <a:gd name="T93" fmla="*/ 2147483647 h 402"/>
                <a:gd name="T94" fmla="*/ 2147483647 w 138"/>
                <a:gd name="T95" fmla="*/ 2147483647 h 402"/>
                <a:gd name="T96" fmla="*/ 2147483647 w 138"/>
                <a:gd name="T97" fmla="*/ 2147483647 h 402"/>
                <a:gd name="T98" fmla="*/ 2147483647 w 138"/>
                <a:gd name="T99" fmla="*/ 2147483647 h 402"/>
                <a:gd name="T100" fmla="*/ 2147483647 w 138"/>
                <a:gd name="T101" fmla="*/ 2147483647 h 402"/>
                <a:gd name="T102" fmla="*/ 2147483647 w 138"/>
                <a:gd name="T103" fmla="*/ 2147483647 h 4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8"/>
                <a:gd name="T157" fmla="*/ 0 h 402"/>
                <a:gd name="T158" fmla="*/ 138 w 138"/>
                <a:gd name="T159" fmla="*/ 402 h 4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8" h="402">
                  <a:moveTo>
                    <a:pt x="126" y="354"/>
                  </a:moveTo>
                  <a:lnTo>
                    <a:pt x="120" y="288"/>
                  </a:lnTo>
                  <a:lnTo>
                    <a:pt x="132" y="282"/>
                  </a:lnTo>
                  <a:lnTo>
                    <a:pt x="120" y="270"/>
                  </a:lnTo>
                  <a:lnTo>
                    <a:pt x="120" y="210"/>
                  </a:lnTo>
                  <a:lnTo>
                    <a:pt x="132" y="198"/>
                  </a:lnTo>
                  <a:lnTo>
                    <a:pt x="126" y="186"/>
                  </a:lnTo>
                  <a:lnTo>
                    <a:pt x="126" y="156"/>
                  </a:lnTo>
                  <a:lnTo>
                    <a:pt x="120" y="144"/>
                  </a:lnTo>
                  <a:lnTo>
                    <a:pt x="108" y="132"/>
                  </a:lnTo>
                  <a:lnTo>
                    <a:pt x="108" y="90"/>
                  </a:lnTo>
                  <a:lnTo>
                    <a:pt x="78" y="60"/>
                  </a:lnTo>
                  <a:lnTo>
                    <a:pt x="66" y="54"/>
                  </a:lnTo>
                  <a:lnTo>
                    <a:pt x="66" y="24"/>
                  </a:lnTo>
                  <a:lnTo>
                    <a:pt x="72" y="6"/>
                  </a:lnTo>
                  <a:lnTo>
                    <a:pt x="54" y="6"/>
                  </a:lnTo>
                  <a:lnTo>
                    <a:pt x="30" y="0"/>
                  </a:lnTo>
                  <a:lnTo>
                    <a:pt x="12" y="0"/>
                  </a:lnTo>
                  <a:lnTo>
                    <a:pt x="12" y="18"/>
                  </a:lnTo>
                  <a:lnTo>
                    <a:pt x="0" y="30"/>
                  </a:lnTo>
                  <a:lnTo>
                    <a:pt x="36" y="54"/>
                  </a:lnTo>
                  <a:lnTo>
                    <a:pt x="24" y="132"/>
                  </a:lnTo>
                  <a:lnTo>
                    <a:pt x="36" y="120"/>
                  </a:lnTo>
                  <a:lnTo>
                    <a:pt x="42" y="120"/>
                  </a:lnTo>
                  <a:lnTo>
                    <a:pt x="48" y="126"/>
                  </a:lnTo>
                  <a:lnTo>
                    <a:pt x="48" y="150"/>
                  </a:lnTo>
                  <a:lnTo>
                    <a:pt x="42" y="162"/>
                  </a:lnTo>
                  <a:lnTo>
                    <a:pt x="54" y="174"/>
                  </a:lnTo>
                  <a:lnTo>
                    <a:pt x="54" y="180"/>
                  </a:lnTo>
                  <a:lnTo>
                    <a:pt x="48" y="180"/>
                  </a:lnTo>
                  <a:lnTo>
                    <a:pt x="36" y="192"/>
                  </a:lnTo>
                  <a:lnTo>
                    <a:pt x="42" y="198"/>
                  </a:lnTo>
                  <a:lnTo>
                    <a:pt x="54" y="204"/>
                  </a:lnTo>
                  <a:lnTo>
                    <a:pt x="60" y="210"/>
                  </a:lnTo>
                  <a:lnTo>
                    <a:pt x="60" y="222"/>
                  </a:lnTo>
                  <a:lnTo>
                    <a:pt x="54" y="228"/>
                  </a:lnTo>
                  <a:lnTo>
                    <a:pt x="54" y="270"/>
                  </a:lnTo>
                  <a:lnTo>
                    <a:pt x="48" y="276"/>
                  </a:lnTo>
                  <a:lnTo>
                    <a:pt x="48" y="294"/>
                  </a:lnTo>
                  <a:lnTo>
                    <a:pt x="54" y="294"/>
                  </a:lnTo>
                  <a:lnTo>
                    <a:pt x="60" y="300"/>
                  </a:lnTo>
                  <a:lnTo>
                    <a:pt x="60" y="312"/>
                  </a:lnTo>
                  <a:lnTo>
                    <a:pt x="54" y="324"/>
                  </a:lnTo>
                  <a:lnTo>
                    <a:pt x="54" y="336"/>
                  </a:lnTo>
                  <a:lnTo>
                    <a:pt x="66" y="378"/>
                  </a:lnTo>
                  <a:lnTo>
                    <a:pt x="96" y="402"/>
                  </a:lnTo>
                  <a:lnTo>
                    <a:pt x="108" y="396"/>
                  </a:lnTo>
                  <a:lnTo>
                    <a:pt x="120" y="384"/>
                  </a:lnTo>
                  <a:lnTo>
                    <a:pt x="138" y="384"/>
                  </a:lnTo>
                  <a:lnTo>
                    <a:pt x="138" y="372"/>
                  </a:lnTo>
                  <a:lnTo>
                    <a:pt x="126" y="360"/>
                  </a:lnTo>
                  <a:lnTo>
                    <a:pt x="126" y="354"/>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48" name="Thailand" descr="© INSCALE GmbH, 05.05.2010&#10;http://www.presentationload.com/">
              <a:extLst>
                <a:ext uri="{FF2B5EF4-FFF2-40B4-BE49-F238E27FC236}">
                  <a16:creationId xmlns:a16="http://schemas.microsoft.com/office/drawing/2014/main" id="{FDEEA8C7-9D50-4DB3-A56B-C7ACEF401487}"/>
                </a:ext>
              </a:extLst>
            </p:cNvPr>
            <p:cNvSpPr>
              <a:spLocks/>
            </p:cNvSpPr>
            <p:nvPr/>
          </p:nvSpPr>
          <p:spPr bwMode="gray">
            <a:xfrm>
              <a:off x="6849878" y="3598764"/>
              <a:ext cx="246179" cy="471976"/>
            </a:xfrm>
            <a:custGeom>
              <a:avLst/>
              <a:gdLst>
                <a:gd name="T0" fmla="*/ 2147483647 w 618"/>
                <a:gd name="T1" fmla="*/ 2147483647 h 1188"/>
                <a:gd name="T2" fmla="*/ 2147483647 w 618"/>
                <a:gd name="T3" fmla="*/ 2147483647 h 1188"/>
                <a:gd name="T4" fmla="*/ 2147483647 w 618"/>
                <a:gd name="T5" fmla="*/ 2147483647 h 1188"/>
                <a:gd name="T6" fmla="*/ 2147483647 w 618"/>
                <a:gd name="T7" fmla="*/ 2147483647 h 1188"/>
                <a:gd name="T8" fmla="*/ 2147483647 w 618"/>
                <a:gd name="T9" fmla="*/ 2147483647 h 1188"/>
                <a:gd name="T10" fmla="*/ 2147483647 w 618"/>
                <a:gd name="T11" fmla="*/ 2147483647 h 1188"/>
                <a:gd name="T12" fmla="*/ 2147483647 w 618"/>
                <a:gd name="T13" fmla="*/ 2147483647 h 1188"/>
                <a:gd name="T14" fmla="*/ 2147483647 w 618"/>
                <a:gd name="T15" fmla="*/ 2147483647 h 1188"/>
                <a:gd name="T16" fmla="*/ 2147483647 w 618"/>
                <a:gd name="T17" fmla="*/ 2147483647 h 1188"/>
                <a:gd name="T18" fmla="*/ 2147483647 w 618"/>
                <a:gd name="T19" fmla="*/ 2147483647 h 1188"/>
                <a:gd name="T20" fmla="*/ 2147483647 w 618"/>
                <a:gd name="T21" fmla="*/ 2147483647 h 1188"/>
                <a:gd name="T22" fmla="*/ 2147483647 w 618"/>
                <a:gd name="T23" fmla="*/ 2147483647 h 1188"/>
                <a:gd name="T24" fmla="*/ 2147483647 w 618"/>
                <a:gd name="T25" fmla="*/ 0 h 1188"/>
                <a:gd name="T26" fmla="*/ 2147483647 w 618"/>
                <a:gd name="T27" fmla="*/ 2147483647 h 1188"/>
                <a:gd name="T28" fmla="*/ 2147483647 w 618"/>
                <a:gd name="T29" fmla="*/ 2147483647 h 1188"/>
                <a:gd name="T30" fmla="*/ 2147483647 w 618"/>
                <a:gd name="T31" fmla="*/ 2147483647 h 1188"/>
                <a:gd name="T32" fmla="*/ 0 w 618"/>
                <a:gd name="T33" fmla="*/ 2147483647 h 1188"/>
                <a:gd name="T34" fmla="*/ 2147483647 w 618"/>
                <a:gd name="T35" fmla="*/ 2147483647 h 1188"/>
                <a:gd name="T36" fmla="*/ 2147483647 w 618"/>
                <a:gd name="T37" fmla="*/ 2147483647 h 1188"/>
                <a:gd name="T38" fmla="*/ 2147483647 w 618"/>
                <a:gd name="T39" fmla="*/ 2147483647 h 1188"/>
                <a:gd name="T40" fmla="*/ 2147483647 w 618"/>
                <a:gd name="T41" fmla="*/ 2147483647 h 1188"/>
                <a:gd name="T42" fmla="*/ 2147483647 w 618"/>
                <a:gd name="T43" fmla="*/ 2147483647 h 1188"/>
                <a:gd name="T44" fmla="*/ 2147483647 w 618"/>
                <a:gd name="T45" fmla="*/ 2147483647 h 1188"/>
                <a:gd name="T46" fmla="*/ 2147483647 w 618"/>
                <a:gd name="T47" fmla="*/ 2147483647 h 1188"/>
                <a:gd name="T48" fmla="*/ 2147483647 w 618"/>
                <a:gd name="T49" fmla="*/ 2147483647 h 1188"/>
                <a:gd name="T50" fmla="*/ 2147483647 w 618"/>
                <a:gd name="T51" fmla="*/ 2147483647 h 1188"/>
                <a:gd name="T52" fmla="*/ 2147483647 w 618"/>
                <a:gd name="T53" fmla="*/ 2147483647 h 1188"/>
                <a:gd name="T54" fmla="*/ 2147483647 w 618"/>
                <a:gd name="T55" fmla="*/ 2147483647 h 1188"/>
                <a:gd name="T56" fmla="*/ 2147483647 w 618"/>
                <a:gd name="T57" fmla="*/ 2147483647 h 1188"/>
                <a:gd name="T58" fmla="*/ 2147483647 w 618"/>
                <a:gd name="T59" fmla="*/ 2147483647 h 1188"/>
                <a:gd name="T60" fmla="*/ 2147483647 w 618"/>
                <a:gd name="T61" fmla="*/ 2147483647 h 1188"/>
                <a:gd name="T62" fmla="*/ 2147483647 w 618"/>
                <a:gd name="T63" fmla="*/ 2147483647 h 1188"/>
                <a:gd name="T64" fmla="*/ 2147483647 w 618"/>
                <a:gd name="T65" fmla="*/ 2147483647 h 1188"/>
                <a:gd name="T66" fmla="*/ 2147483647 w 618"/>
                <a:gd name="T67" fmla="*/ 2147483647 h 1188"/>
                <a:gd name="T68" fmla="*/ 2147483647 w 618"/>
                <a:gd name="T69" fmla="*/ 2147483647 h 1188"/>
                <a:gd name="T70" fmla="*/ 2147483647 w 618"/>
                <a:gd name="T71" fmla="*/ 2147483647 h 1188"/>
                <a:gd name="T72" fmla="*/ 2147483647 w 618"/>
                <a:gd name="T73" fmla="*/ 2147483647 h 1188"/>
                <a:gd name="T74" fmla="*/ 2147483647 w 618"/>
                <a:gd name="T75" fmla="*/ 2147483647 h 1188"/>
                <a:gd name="T76" fmla="*/ 2147483647 w 618"/>
                <a:gd name="T77" fmla="*/ 2147483647 h 1188"/>
                <a:gd name="T78" fmla="*/ 2147483647 w 618"/>
                <a:gd name="T79" fmla="*/ 2147483647 h 1188"/>
                <a:gd name="T80" fmla="*/ 2147483647 w 618"/>
                <a:gd name="T81" fmla="*/ 2147483647 h 1188"/>
                <a:gd name="T82" fmla="*/ 2147483647 w 618"/>
                <a:gd name="T83" fmla="*/ 2147483647 h 1188"/>
                <a:gd name="T84" fmla="*/ 2147483647 w 618"/>
                <a:gd name="T85" fmla="*/ 2147483647 h 1188"/>
                <a:gd name="T86" fmla="*/ 2147483647 w 618"/>
                <a:gd name="T87" fmla="*/ 2147483647 h 1188"/>
                <a:gd name="T88" fmla="*/ 2147483647 w 618"/>
                <a:gd name="T89" fmla="*/ 2147483647 h 1188"/>
                <a:gd name="T90" fmla="*/ 2147483647 w 618"/>
                <a:gd name="T91" fmla="*/ 2147483647 h 1188"/>
                <a:gd name="T92" fmla="*/ 2147483647 w 618"/>
                <a:gd name="T93" fmla="*/ 2147483647 h 1188"/>
                <a:gd name="T94" fmla="*/ 2147483647 w 618"/>
                <a:gd name="T95" fmla="*/ 2147483647 h 1188"/>
                <a:gd name="T96" fmla="*/ 2147483647 w 618"/>
                <a:gd name="T97" fmla="*/ 2147483647 h 1188"/>
                <a:gd name="T98" fmla="*/ 2147483647 w 618"/>
                <a:gd name="T99" fmla="*/ 2147483647 h 1188"/>
                <a:gd name="T100" fmla="*/ 2147483647 w 618"/>
                <a:gd name="T101" fmla="*/ 2147483647 h 1188"/>
                <a:gd name="T102" fmla="*/ 2147483647 w 618"/>
                <a:gd name="T103" fmla="*/ 2147483647 h 1188"/>
                <a:gd name="T104" fmla="*/ 2147483647 w 618"/>
                <a:gd name="T105" fmla="*/ 2147483647 h 1188"/>
                <a:gd name="T106" fmla="*/ 2147483647 w 618"/>
                <a:gd name="T107" fmla="*/ 2147483647 h 1188"/>
                <a:gd name="T108" fmla="*/ 2147483647 w 618"/>
                <a:gd name="T109" fmla="*/ 2147483647 h 1188"/>
                <a:gd name="T110" fmla="*/ 2147483647 w 618"/>
                <a:gd name="T111" fmla="*/ 2147483647 h 1188"/>
                <a:gd name="T112" fmla="*/ 2147483647 w 618"/>
                <a:gd name="T113" fmla="*/ 2147483647 h 1188"/>
                <a:gd name="T114" fmla="*/ 2147483647 w 618"/>
                <a:gd name="T115" fmla="*/ 2147483647 h 1188"/>
                <a:gd name="T116" fmla="*/ 2147483647 w 618"/>
                <a:gd name="T117" fmla="*/ 2147483647 h 11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8"/>
                <a:gd name="T178" fmla="*/ 0 h 1188"/>
                <a:gd name="T179" fmla="*/ 618 w 618"/>
                <a:gd name="T180" fmla="*/ 1188 h 11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8" h="1188">
                  <a:moveTo>
                    <a:pt x="588" y="426"/>
                  </a:moveTo>
                  <a:lnTo>
                    <a:pt x="588" y="420"/>
                  </a:lnTo>
                  <a:lnTo>
                    <a:pt x="594" y="414"/>
                  </a:lnTo>
                  <a:lnTo>
                    <a:pt x="606" y="390"/>
                  </a:lnTo>
                  <a:lnTo>
                    <a:pt x="594" y="378"/>
                  </a:lnTo>
                  <a:lnTo>
                    <a:pt x="594" y="372"/>
                  </a:lnTo>
                  <a:lnTo>
                    <a:pt x="588" y="378"/>
                  </a:lnTo>
                  <a:lnTo>
                    <a:pt x="588" y="366"/>
                  </a:lnTo>
                  <a:lnTo>
                    <a:pt x="582" y="360"/>
                  </a:lnTo>
                  <a:lnTo>
                    <a:pt x="582" y="354"/>
                  </a:lnTo>
                  <a:lnTo>
                    <a:pt x="546" y="318"/>
                  </a:lnTo>
                  <a:lnTo>
                    <a:pt x="534" y="294"/>
                  </a:lnTo>
                  <a:lnTo>
                    <a:pt x="534" y="282"/>
                  </a:lnTo>
                  <a:lnTo>
                    <a:pt x="528" y="240"/>
                  </a:lnTo>
                  <a:lnTo>
                    <a:pt x="510" y="222"/>
                  </a:lnTo>
                  <a:lnTo>
                    <a:pt x="498" y="216"/>
                  </a:lnTo>
                  <a:lnTo>
                    <a:pt x="480" y="204"/>
                  </a:lnTo>
                  <a:lnTo>
                    <a:pt x="468" y="192"/>
                  </a:lnTo>
                  <a:lnTo>
                    <a:pt x="468" y="180"/>
                  </a:lnTo>
                  <a:lnTo>
                    <a:pt x="462" y="174"/>
                  </a:lnTo>
                  <a:lnTo>
                    <a:pt x="438" y="174"/>
                  </a:lnTo>
                  <a:lnTo>
                    <a:pt x="426" y="168"/>
                  </a:lnTo>
                  <a:lnTo>
                    <a:pt x="420" y="162"/>
                  </a:lnTo>
                  <a:lnTo>
                    <a:pt x="402" y="162"/>
                  </a:lnTo>
                  <a:lnTo>
                    <a:pt x="396" y="168"/>
                  </a:lnTo>
                  <a:lnTo>
                    <a:pt x="396" y="180"/>
                  </a:lnTo>
                  <a:lnTo>
                    <a:pt x="378" y="198"/>
                  </a:lnTo>
                  <a:lnTo>
                    <a:pt x="360" y="198"/>
                  </a:lnTo>
                  <a:lnTo>
                    <a:pt x="336" y="186"/>
                  </a:lnTo>
                  <a:lnTo>
                    <a:pt x="330" y="180"/>
                  </a:lnTo>
                  <a:lnTo>
                    <a:pt x="318" y="180"/>
                  </a:lnTo>
                  <a:lnTo>
                    <a:pt x="312" y="186"/>
                  </a:lnTo>
                  <a:lnTo>
                    <a:pt x="306" y="198"/>
                  </a:lnTo>
                  <a:lnTo>
                    <a:pt x="294" y="210"/>
                  </a:lnTo>
                  <a:lnTo>
                    <a:pt x="294" y="216"/>
                  </a:lnTo>
                  <a:lnTo>
                    <a:pt x="288" y="222"/>
                  </a:lnTo>
                  <a:lnTo>
                    <a:pt x="264" y="234"/>
                  </a:lnTo>
                  <a:lnTo>
                    <a:pt x="246" y="234"/>
                  </a:lnTo>
                  <a:lnTo>
                    <a:pt x="246" y="222"/>
                  </a:lnTo>
                  <a:lnTo>
                    <a:pt x="270" y="174"/>
                  </a:lnTo>
                  <a:lnTo>
                    <a:pt x="270" y="162"/>
                  </a:lnTo>
                  <a:lnTo>
                    <a:pt x="264" y="156"/>
                  </a:lnTo>
                  <a:lnTo>
                    <a:pt x="252" y="156"/>
                  </a:lnTo>
                  <a:lnTo>
                    <a:pt x="264" y="144"/>
                  </a:lnTo>
                  <a:lnTo>
                    <a:pt x="270" y="132"/>
                  </a:lnTo>
                  <a:lnTo>
                    <a:pt x="270" y="120"/>
                  </a:lnTo>
                  <a:lnTo>
                    <a:pt x="264" y="108"/>
                  </a:lnTo>
                  <a:lnTo>
                    <a:pt x="258" y="102"/>
                  </a:lnTo>
                  <a:lnTo>
                    <a:pt x="264" y="96"/>
                  </a:lnTo>
                  <a:lnTo>
                    <a:pt x="264" y="66"/>
                  </a:lnTo>
                  <a:lnTo>
                    <a:pt x="252" y="60"/>
                  </a:lnTo>
                  <a:lnTo>
                    <a:pt x="246" y="60"/>
                  </a:lnTo>
                  <a:lnTo>
                    <a:pt x="240" y="66"/>
                  </a:lnTo>
                  <a:lnTo>
                    <a:pt x="228" y="66"/>
                  </a:lnTo>
                  <a:lnTo>
                    <a:pt x="228" y="78"/>
                  </a:lnTo>
                  <a:lnTo>
                    <a:pt x="210" y="78"/>
                  </a:lnTo>
                  <a:lnTo>
                    <a:pt x="204" y="72"/>
                  </a:lnTo>
                  <a:lnTo>
                    <a:pt x="198" y="60"/>
                  </a:lnTo>
                  <a:lnTo>
                    <a:pt x="198" y="36"/>
                  </a:lnTo>
                  <a:lnTo>
                    <a:pt x="204" y="30"/>
                  </a:lnTo>
                  <a:lnTo>
                    <a:pt x="204" y="18"/>
                  </a:lnTo>
                  <a:lnTo>
                    <a:pt x="198" y="12"/>
                  </a:lnTo>
                  <a:lnTo>
                    <a:pt x="186" y="12"/>
                  </a:lnTo>
                  <a:lnTo>
                    <a:pt x="174" y="6"/>
                  </a:lnTo>
                  <a:lnTo>
                    <a:pt x="168" y="0"/>
                  </a:lnTo>
                  <a:lnTo>
                    <a:pt x="138" y="0"/>
                  </a:lnTo>
                  <a:lnTo>
                    <a:pt x="132" y="6"/>
                  </a:lnTo>
                  <a:lnTo>
                    <a:pt x="126" y="6"/>
                  </a:lnTo>
                  <a:lnTo>
                    <a:pt x="120" y="30"/>
                  </a:lnTo>
                  <a:lnTo>
                    <a:pt x="96" y="30"/>
                  </a:lnTo>
                  <a:lnTo>
                    <a:pt x="96" y="36"/>
                  </a:lnTo>
                  <a:lnTo>
                    <a:pt x="90" y="42"/>
                  </a:lnTo>
                  <a:lnTo>
                    <a:pt x="84" y="54"/>
                  </a:lnTo>
                  <a:lnTo>
                    <a:pt x="78" y="60"/>
                  </a:lnTo>
                  <a:lnTo>
                    <a:pt x="66" y="60"/>
                  </a:lnTo>
                  <a:lnTo>
                    <a:pt x="54" y="54"/>
                  </a:lnTo>
                  <a:lnTo>
                    <a:pt x="24" y="54"/>
                  </a:lnTo>
                  <a:lnTo>
                    <a:pt x="24" y="102"/>
                  </a:lnTo>
                  <a:lnTo>
                    <a:pt x="18" y="108"/>
                  </a:lnTo>
                  <a:lnTo>
                    <a:pt x="12" y="108"/>
                  </a:lnTo>
                  <a:lnTo>
                    <a:pt x="6" y="114"/>
                  </a:lnTo>
                  <a:lnTo>
                    <a:pt x="6" y="120"/>
                  </a:lnTo>
                  <a:lnTo>
                    <a:pt x="24" y="138"/>
                  </a:lnTo>
                  <a:lnTo>
                    <a:pt x="24" y="156"/>
                  </a:lnTo>
                  <a:lnTo>
                    <a:pt x="0" y="156"/>
                  </a:lnTo>
                  <a:lnTo>
                    <a:pt x="0" y="162"/>
                  </a:lnTo>
                  <a:lnTo>
                    <a:pt x="24" y="186"/>
                  </a:lnTo>
                  <a:lnTo>
                    <a:pt x="36" y="192"/>
                  </a:lnTo>
                  <a:lnTo>
                    <a:pt x="30" y="216"/>
                  </a:lnTo>
                  <a:lnTo>
                    <a:pt x="36" y="216"/>
                  </a:lnTo>
                  <a:lnTo>
                    <a:pt x="36" y="222"/>
                  </a:lnTo>
                  <a:lnTo>
                    <a:pt x="42" y="234"/>
                  </a:lnTo>
                  <a:lnTo>
                    <a:pt x="60" y="252"/>
                  </a:lnTo>
                  <a:lnTo>
                    <a:pt x="72" y="258"/>
                  </a:lnTo>
                  <a:lnTo>
                    <a:pt x="84" y="270"/>
                  </a:lnTo>
                  <a:lnTo>
                    <a:pt x="96" y="276"/>
                  </a:lnTo>
                  <a:lnTo>
                    <a:pt x="102" y="282"/>
                  </a:lnTo>
                  <a:lnTo>
                    <a:pt x="102" y="288"/>
                  </a:lnTo>
                  <a:lnTo>
                    <a:pt x="96" y="288"/>
                  </a:lnTo>
                  <a:lnTo>
                    <a:pt x="96" y="306"/>
                  </a:lnTo>
                  <a:lnTo>
                    <a:pt x="102" y="318"/>
                  </a:lnTo>
                  <a:lnTo>
                    <a:pt x="108" y="324"/>
                  </a:lnTo>
                  <a:lnTo>
                    <a:pt x="114" y="324"/>
                  </a:lnTo>
                  <a:lnTo>
                    <a:pt x="120" y="318"/>
                  </a:lnTo>
                  <a:lnTo>
                    <a:pt x="126" y="324"/>
                  </a:lnTo>
                  <a:lnTo>
                    <a:pt x="126" y="342"/>
                  </a:lnTo>
                  <a:lnTo>
                    <a:pt x="120" y="348"/>
                  </a:lnTo>
                  <a:lnTo>
                    <a:pt x="108" y="348"/>
                  </a:lnTo>
                  <a:lnTo>
                    <a:pt x="114" y="360"/>
                  </a:lnTo>
                  <a:lnTo>
                    <a:pt x="114" y="384"/>
                  </a:lnTo>
                  <a:lnTo>
                    <a:pt x="108" y="396"/>
                  </a:lnTo>
                  <a:lnTo>
                    <a:pt x="102" y="402"/>
                  </a:lnTo>
                  <a:lnTo>
                    <a:pt x="84" y="438"/>
                  </a:lnTo>
                  <a:lnTo>
                    <a:pt x="90" y="444"/>
                  </a:lnTo>
                  <a:lnTo>
                    <a:pt x="90" y="450"/>
                  </a:lnTo>
                  <a:lnTo>
                    <a:pt x="96" y="456"/>
                  </a:lnTo>
                  <a:lnTo>
                    <a:pt x="102" y="468"/>
                  </a:lnTo>
                  <a:lnTo>
                    <a:pt x="108" y="474"/>
                  </a:lnTo>
                  <a:lnTo>
                    <a:pt x="114" y="486"/>
                  </a:lnTo>
                  <a:lnTo>
                    <a:pt x="156" y="528"/>
                  </a:lnTo>
                  <a:lnTo>
                    <a:pt x="162" y="540"/>
                  </a:lnTo>
                  <a:lnTo>
                    <a:pt x="162" y="570"/>
                  </a:lnTo>
                  <a:lnTo>
                    <a:pt x="168" y="588"/>
                  </a:lnTo>
                  <a:lnTo>
                    <a:pt x="168" y="612"/>
                  </a:lnTo>
                  <a:lnTo>
                    <a:pt x="192" y="636"/>
                  </a:lnTo>
                  <a:lnTo>
                    <a:pt x="192" y="660"/>
                  </a:lnTo>
                  <a:lnTo>
                    <a:pt x="198" y="672"/>
                  </a:lnTo>
                  <a:lnTo>
                    <a:pt x="198" y="702"/>
                  </a:lnTo>
                  <a:lnTo>
                    <a:pt x="192" y="714"/>
                  </a:lnTo>
                  <a:lnTo>
                    <a:pt x="192" y="732"/>
                  </a:lnTo>
                  <a:lnTo>
                    <a:pt x="174" y="768"/>
                  </a:lnTo>
                  <a:lnTo>
                    <a:pt x="156" y="786"/>
                  </a:lnTo>
                  <a:lnTo>
                    <a:pt x="156" y="798"/>
                  </a:lnTo>
                  <a:lnTo>
                    <a:pt x="162" y="804"/>
                  </a:lnTo>
                  <a:lnTo>
                    <a:pt x="162" y="816"/>
                  </a:lnTo>
                  <a:lnTo>
                    <a:pt x="156" y="828"/>
                  </a:lnTo>
                  <a:lnTo>
                    <a:pt x="150" y="834"/>
                  </a:lnTo>
                  <a:lnTo>
                    <a:pt x="144" y="846"/>
                  </a:lnTo>
                  <a:lnTo>
                    <a:pt x="144" y="852"/>
                  </a:lnTo>
                  <a:lnTo>
                    <a:pt x="138" y="858"/>
                  </a:lnTo>
                  <a:lnTo>
                    <a:pt x="132" y="876"/>
                  </a:lnTo>
                  <a:lnTo>
                    <a:pt x="126" y="888"/>
                  </a:lnTo>
                  <a:lnTo>
                    <a:pt x="126" y="906"/>
                  </a:lnTo>
                  <a:lnTo>
                    <a:pt x="120" y="918"/>
                  </a:lnTo>
                  <a:lnTo>
                    <a:pt x="120" y="966"/>
                  </a:lnTo>
                  <a:lnTo>
                    <a:pt x="126" y="978"/>
                  </a:lnTo>
                  <a:lnTo>
                    <a:pt x="126" y="1008"/>
                  </a:lnTo>
                  <a:lnTo>
                    <a:pt x="132" y="1014"/>
                  </a:lnTo>
                  <a:lnTo>
                    <a:pt x="132" y="1020"/>
                  </a:lnTo>
                  <a:lnTo>
                    <a:pt x="138" y="1020"/>
                  </a:lnTo>
                  <a:lnTo>
                    <a:pt x="138" y="1002"/>
                  </a:lnTo>
                  <a:lnTo>
                    <a:pt x="144" y="990"/>
                  </a:lnTo>
                  <a:lnTo>
                    <a:pt x="144" y="978"/>
                  </a:lnTo>
                  <a:lnTo>
                    <a:pt x="150" y="972"/>
                  </a:lnTo>
                  <a:lnTo>
                    <a:pt x="150" y="996"/>
                  </a:lnTo>
                  <a:lnTo>
                    <a:pt x="162" y="996"/>
                  </a:lnTo>
                  <a:lnTo>
                    <a:pt x="186" y="1020"/>
                  </a:lnTo>
                  <a:lnTo>
                    <a:pt x="192" y="1032"/>
                  </a:lnTo>
                  <a:lnTo>
                    <a:pt x="198" y="1038"/>
                  </a:lnTo>
                  <a:lnTo>
                    <a:pt x="198" y="1044"/>
                  </a:lnTo>
                  <a:lnTo>
                    <a:pt x="228" y="1074"/>
                  </a:lnTo>
                  <a:lnTo>
                    <a:pt x="228" y="1098"/>
                  </a:lnTo>
                  <a:lnTo>
                    <a:pt x="234" y="1110"/>
                  </a:lnTo>
                  <a:lnTo>
                    <a:pt x="246" y="1128"/>
                  </a:lnTo>
                  <a:lnTo>
                    <a:pt x="264" y="1146"/>
                  </a:lnTo>
                  <a:lnTo>
                    <a:pt x="270" y="1140"/>
                  </a:lnTo>
                  <a:lnTo>
                    <a:pt x="276" y="1128"/>
                  </a:lnTo>
                  <a:lnTo>
                    <a:pt x="270" y="1122"/>
                  </a:lnTo>
                  <a:lnTo>
                    <a:pt x="270" y="1110"/>
                  </a:lnTo>
                  <a:lnTo>
                    <a:pt x="276" y="1104"/>
                  </a:lnTo>
                  <a:lnTo>
                    <a:pt x="288" y="1104"/>
                  </a:lnTo>
                  <a:lnTo>
                    <a:pt x="294" y="1116"/>
                  </a:lnTo>
                  <a:lnTo>
                    <a:pt x="294" y="1122"/>
                  </a:lnTo>
                  <a:lnTo>
                    <a:pt x="312" y="1122"/>
                  </a:lnTo>
                  <a:lnTo>
                    <a:pt x="324" y="1128"/>
                  </a:lnTo>
                  <a:lnTo>
                    <a:pt x="330" y="1134"/>
                  </a:lnTo>
                  <a:lnTo>
                    <a:pt x="330" y="1146"/>
                  </a:lnTo>
                  <a:lnTo>
                    <a:pt x="342" y="1146"/>
                  </a:lnTo>
                  <a:lnTo>
                    <a:pt x="342" y="1158"/>
                  </a:lnTo>
                  <a:lnTo>
                    <a:pt x="330" y="1170"/>
                  </a:lnTo>
                  <a:lnTo>
                    <a:pt x="330" y="1176"/>
                  </a:lnTo>
                  <a:lnTo>
                    <a:pt x="336" y="1182"/>
                  </a:lnTo>
                  <a:lnTo>
                    <a:pt x="354" y="1182"/>
                  </a:lnTo>
                  <a:lnTo>
                    <a:pt x="354" y="1176"/>
                  </a:lnTo>
                  <a:lnTo>
                    <a:pt x="366" y="1176"/>
                  </a:lnTo>
                  <a:lnTo>
                    <a:pt x="372" y="1170"/>
                  </a:lnTo>
                  <a:lnTo>
                    <a:pt x="378" y="1170"/>
                  </a:lnTo>
                  <a:lnTo>
                    <a:pt x="396" y="1188"/>
                  </a:lnTo>
                  <a:lnTo>
                    <a:pt x="402" y="1182"/>
                  </a:lnTo>
                  <a:lnTo>
                    <a:pt x="402" y="1176"/>
                  </a:lnTo>
                  <a:lnTo>
                    <a:pt x="408" y="1164"/>
                  </a:lnTo>
                  <a:lnTo>
                    <a:pt x="414" y="1158"/>
                  </a:lnTo>
                  <a:lnTo>
                    <a:pt x="420" y="1146"/>
                  </a:lnTo>
                  <a:lnTo>
                    <a:pt x="396" y="1134"/>
                  </a:lnTo>
                  <a:lnTo>
                    <a:pt x="390" y="1128"/>
                  </a:lnTo>
                  <a:lnTo>
                    <a:pt x="390" y="1116"/>
                  </a:lnTo>
                  <a:lnTo>
                    <a:pt x="384" y="1104"/>
                  </a:lnTo>
                  <a:lnTo>
                    <a:pt x="384" y="1092"/>
                  </a:lnTo>
                  <a:lnTo>
                    <a:pt x="378" y="1080"/>
                  </a:lnTo>
                  <a:lnTo>
                    <a:pt x="372" y="1074"/>
                  </a:lnTo>
                  <a:lnTo>
                    <a:pt x="354" y="1074"/>
                  </a:lnTo>
                  <a:lnTo>
                    <a:pt x="342" y="1080"/>
                  </a:lnTo>
                  <a:lnTo>
                    <a:pt x="336" y="1086"/>
                  </a:lnTo>
                  <a:lnTo>
                    <a:pt x="318" y="1086"/>
                  </a:lnTo>
                  <a:lnTo>
                    <a:pt x="312" y="1080"/>
                  </a:lnTo>
                  <a:lnTo>
                    <a:pt x="306" y="1068"/>
                  </a:lnTo>
                  <a:lnTo>
                    <a:pt x="306" y="1056"/>
                  </a:lnTo>
                  <a:lnTo>
                    <a:pt x="294" y="1032"/>
                  </a:lnTo>
                  <a:lnTo>
                    <a:pt x="288" y="1032"/>
                  </a:lnTo>
                  <a:lnTo>
                    <a:pt x="288" y="1050"/>
                  </a:lnTo>
                  <a:lnTo>
                    <a:pt x="282" y="1056"/>
                  </a:lnTo>
                  <a:lnTo>
                    <a:pt x="276" y="1056"/>
                  </a:lnTo>
                  <a:lnTo>
                    <a:pt x="270" y="1044"/>
                  </a:lnTo>
                  <a:lnTo>
                    <a:pt x="264" y="1038"/>
                  </a:lnTo>
                  <a:lnTo>
                    <a:pt x="258" y="1026"/>
                  </a:lnTo>
                  <a:lnTo>
                    <a:pt x="258" y="1014"/>
                  </a:lnTo>
                  <a:lnTo>
                    <a:pt x="270" y="1002"/>
                  </a:lnTo>
                  <a:lnTo>
                    <a:pt x="270" y="1008"/>
                  </a:lnTo>
                  <a:lnTo>
                    <a:pt x="276" y="1008"/>
                  </a:lnTo>
                  <a:lnTo>
                    <a:pt x="276" y="1014"/>
                  </a:lnTo>
                  <a:lnTo>
                    <a:pt x="282" y="1014"/>
                  </a:lnTo>
                  <a:lnTo>
                    <a:pt x="288" y="1008"/>
                  </a:lnTo>
                  <a:lnTo>
                    <a:pt x="282" y="1002"/>
                  </a:lnTo>
                  <a:lnTo>
                    <a:pt x="282" y="990"/>
                  </a:lnTo>
                  <a:lnTo>
                    <a:pt x="276" y="978"/>
                  </a:lnTo>
                  <a:lnTo>
                    <a:pt x="270" y="972"/>
                  </a:lnTo>
                  <a:lnTo>
                    <a:pt x="270" y="960"/>
                  </a:lnTo>
                  <a:lnTo>
                    <a:pt x="258" y="948"/>
                  </a:lnTo>
                  <a:lnTo>
                    <a:pt x="246" y="948"/>
                  </a:lnTo>
                  <a:lnTo>
                    <a:pt x="246" y="894"/>
                  </a:lnTo>
                  <a:lnTo>
                    <a:pt x="192" y="906"/>
                  </a:lnTo>
                  <a:lnTo>
                    <a:pt x="192" y="864"/>
                  </a:lnTo>
                  <a:lnTo>
                    <a:pt x="186" y="828"/>
                  </a:lnTo>
                  <a:lnTo>
                    <a:pt x="186" y="804"/>
                  </a:lnTo>
                  <a:lnTo>
                    <a:pt x="180" y="792"/>
                  </a:lnTo>
                  <a:lnTo>
                    <a:pt x="174" y="786"/>
                  </a:lnTo>
                  <a:lnTo>
                    <a:pt x="180" y="786"/>
                  </a:lnTo>
                  <a:lnTo>
                    <a:pt x="192" y="774"/>
                  </a:lnTo>
                  <a:lnTo>
                    <a:pt x="198" y="762"/>
                  </a:lnTo>
                  <a:lnTo>
                    <a:pt x="204" y="744"/>
                  </a:lnTo>
                  <a:lnTo>
                    <a:pt x="204" y="678"/>
                  </a:lnTo>
                  <a:lnTo>
                    <a:pt x="210" y="678"/>
                  </a:lnTo>
                  <a:lnTo>
                    <a:pt x="216" y="672"/>
                  </a:lnTo>
                  <a:lnTo>
                    <a:pt x="222" y="660"/>
                  </a:lnTo>
                  <a:lnTo>
                    <a:pt x="228" y="654"/>
                  </a:lnTo>
                  <a:lnTo>
                    <a:pt x="228" y="612"/>
                  </a:lnTo>
                  <a:lnTo>
                    <a:pt x="222" y="600"/>
                  </a:lnTo>
                  <a:lnTo>
                    <a:pt x="222" y="594"/>
                  </a:lnTo>
                  <a:lnTo>
                    <a:pt x="216" y="588"/>
                  </a:lnTo>
                  <a:lnTo>
                    <a:pt x="222" y="558"/>
                  </a:lnTo>
                  <a:lnTo>
                    <a:pt x="234" y="558"/>
                  </a:lnTo>
                  <a:lnTo>
                    <a:pt x="234" y="552"/>
                  </a:lnTo>
                  <a:lnTo>
                    <a:pt x="240" y="546"/>
                  </a:lnTo>
                  <a:lnTo>
                    <a:pt x="264" y="546"/>
                  </a:lnTo>
                  <a:lnTo>
                    <a:pt x="270" y="552"/>
                  </a:lnTo>
                  <a:lnTo>
                    <a:pt x="294" y="564"/>
                  </a:lnTo>
                  <a:lnTo>
                    <a:pt x="300" y="570"/>
                  </a:lnTo>
                  <a:lnTo>
                    <a:pt x="288" y="576"/>
                  </a:lnTo>
                  <a:lnTo>
                    <a:pt x="288" y="588"/>
                  </a:lnTo>
                  <a:lnTo>
                    <a:pt x="282" y="594"/>
                  </a:lnTo>
                  <a:lnTo>
                    <a:pt x="282" y="612"/>
                  </a:lnTo>
                  <a:lnTo>
                    <a:pt x="288" y="624"/>
                  </a:lnTo>
                  <a:lnTo>
                    <a:pt x="306" y="624"/>
                  </a:lnTo>
                  <a:lnTo>
                    <a:pt x="330" y="612"/>
                  </a:lnTo>
                  <a:lnTo>
                    <a:pt x="342" y="612"/>
                  </a:lnTo>
                  <a:lnTo>
                    <a:pt x="354" y="606"/>
                  </a:lnTo>
                  <a:lnTo>
                    <a:pt x="360" y="600"/>
                  </a:lnTo>
                  <a:lnTo>
                    <a:pt x="366" y="600"/>
                  </a:lnTo>
                  <a:lnTo>
                    <a:pt x="396" y="684"/>
                  </a:lnTo>
                  <a:lnTo>
                    <a:pt x="402" y="678"/>
                  </a:lnTo>
                  <a:lnTo>
                    <a:pt x="414" y="672"/>
                  </a:lnTo>
                  <a:lnTo>
                    <a:pt x="426" y="672"/>
                  </a:lnTo>
                  <a:lnTo>
                    <a:pt x="426" y="642"/>
                  </a:lnTo>
                  <a:lnTo>
                    <a:pt x="414" y="630"/>
                  </a:lnTo>
                  <a:lnTo>
                    <a:pt x="414" y="600"/>
                  </a:lnTo>
                  <a:lnTo>
                    <a:pt x="402" y="588"/>
                  </a:lnTo>
                  <a:lnTo>
                    <a:pt x="396" y="552"/>
                  </a:lnTo>
                  <a:lnTo>
                    <a:pt x="426" y="522"/>
                  </a:lnTo>
                  <a:lnTo>
                    <a:pt x="426" y="516"/>
                  </a:lnTo>
                  <a:lnTo>
                    <a:pt x="432" y="504"/>
                  </a:lnTo>
                  <a:lnTo>
                    <a:pt x="438" y="498"/>
                  </a:lnTo>
                  <a:lnTo>
                    <a:pt x="450" y="492"/>
                  </a:lnTo>
                  <a:lnTo>
                    <a:pt x="468" y="486"/>
                  </a:lnTo>
                  <a:lnTo>
                    <a:pt x="504" y="486"/>
                  </a:lnTo>
                  <a:lnTo>
                    <a:pt x="510" y="492"/>
                  </a:lnTo>
                  <a:lnTo>
                    <a:pt x="522" y="492"/>
                  </a:lnTo>
                  <a:lnTo>
                    <a:pt x="534" y="486"/>
                  </a:lnTo>
                  <a:lnTo>
                    <a:pt x="564" y="486"/>
                  </a:lnTo>
                  <a:lnTo>
                    <a:pt x="576" y="492"/>
                  </a:lnTo>
                  <a:lnTo>
                    <a:pt x="582" y="498"/>
                  </a:lnTo>
                  <a:lnTo>
                    <a:pt x="588" y="498"/>
                  </a:lnTo>
                  <a:lnTo>
                    <a:pt x="594" y="492"/>
                  </a:lnTo>
                  <a:lnTo>
                    <a:pt x="600" y="480"/>
                  </a:lnTo>
                  <a:lnTo>
                    <a:pt x="618" y="462"/>
                  </a:lnTo>
                  <a:lnTo>
                    <a:pt x="618" y="450"/>
                  </a:lnTo>
                  <a:lnTo>
                    <a:pt x="612" y="444"/>
                  </a:lnTo>
                  <a:lnTo>
                    <a:pt x="600" y="438"/>
                  </a:lnTo>
                  <a:lnTo>
                    <a:pt x="588" y="426"/>
                  </a:lnTo>
                  <a:close/>
                </a:path>
              </a:pathLst>
            </a:custGeom>
            <a:solidFill>
              <a:schemeClr val="accent2"/>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49" name="Tanzania" descr="© INSCALE GmbH, 05.05.2010&#10;http://www.presentationload.com/">
              <a:extLst>
                <a:ext uri="{FF2B5EF4-FFF2-40B4-BE49-F238E27FC236}">
                  <a16:creationId xmlns:a16="http://schemas.microsoft.com/office/drawing/2014/main" id="{0459311B-C818-4A73-9961-22A6BE1B0815}"/>
                </a:ext>
              </a:extLst>
            </p:cNvPr>
            <p:cNvSpPr>
              <a:spLocks noEditPoints="1"/>
            </p:cNvSpPr>
            <p:nvPr/>
          </p:nvSpPr>
          <p:spPr bwMode="gray">
            <a:xfrm>
              <a:off x="4965115" y="4285558"/>
              <a:ext cx="305764" cy="344965"/>
            </a:xfrm>
            <a:custGeom>
              <a:avLst/>
              <a:gdLst>
                <a:gd name="T0" fmla="*/ 2147483647 w 768"/>
                <a:gd name="T1" fmla="*/ 2147483647 h 870"/>
                <a:gd name="T2" fmla="*/ 2147483647 w 768"/>
                <a:gd name="T3" fmla="*/ 2147483647 h 870"/>
                <a:gd name="T4" fmla="*/ 2147483647 w 768"/>
                <a:gd name="T5" fmla="*/ 2147483647 h 870"/>
                <a:gd name="T6" fmla="*/ 2147483647 w 768"/>
                <a:gd name="T7" fmla="*/ 2147483647 h 870"/>
                <a:gd name="T8" fmla="*/ 2147483647 w 768"/>
                <a:gd name="T9" fmla="*/ 2147483647 h 870"/>
                <a:gd name="T10" fmla="*/ 2147483647 w 768"/>
                <a:gd name="T11" fmla="*/ 2147483647 h 870"/>
                <a:gd name="T12" fmla="*/ 2147483647 w 768"/>
                <a:gd name="T13" fmla="*/ 2147483647 h 870"/>
                <a:gd name="T14" fmla="*/ 2147483647 w 768"/>
                <a:gd name="T15" fmla="*/ 2147483647 h 870"/>
                <a:gd name="T16" fmla="*/ 2147483647 w 768"/>
                <a:gd name="T17" fmla="*/ 2147483647 h 870"/>
                <a:gd name="T18" fmla="*/ 2147483647 w 768"/>
                <a:gd name="T19" fmla="*/ 2147483647 h 870"/>
                <a:gd name="T20" fmla="*/ 2147483647 w 768"/>
                <a:gd name="T21" fmla="*/ 2147483647 h 870"/>
                <a:gd name="T22" fmla="*/ 2147483647 w 768"/>
                <a:gd name="T23" fmla="*/ 2147483647 h 870"/>
                <a:gd name="T24" fmla="*/ 2147483647 w 768"/>
                <a:gd name="T25" fmla="*/ 2147483647 h 870"/>
                <a:gd name="T26" fmla="*/ 2147483647 w 768"/>
                <a:gd name="T27" fmla="*/ 2147483647 h 870"/>
                <a:gd name="T28" fmla="*/ 2147483647 w 768"/>
                <a:gd name="T29" fmla="*/ 2147483647 h 870"/>
                <a:gd name="T30" fmla="*/ 2147483647 w 768"/>
                <a:gd name="T31" fmla="*/ 2147483647 h 870"/>
                <a:gd name="T32" fmla="*/ 2147483647 w 768"/>
                <a:gd name="T33" fmla="*/ 2147483647 h 870"/>
                <a:gd name="T34" fmla="*/ 2147483647 w 768"/>
                <a:gd name="T35" fmla="*/ 2147483647 h 870"/>
                <a:gd name="T36" fmla="*/ 2147483647 w 768"/>
                <a:gd name="T37" fmla="*/ 2147483647 h 870"/>
                <a:gd name="T38" fmla="*/ 2147483647 w 768"/>
                <a:gd name="T39" fmla="*/ 2147483647 h 870"/>
                <a:gd name="T40" fmla="*/ 2147483647 w 768"/>
                <a:gd name="T41" fmla="*/ 2147483647 h 870"/>
                <a:gd name="T42" fmla="*/ 2147483647 w 768"/>
                <a:gd name="T43" fmla="*/ 2147483647 h 870"/>
                <a:gd name="T44" fmla="*/ 2147483647 w 768"/>
                <a:gd name="T45" fmla="*/ 2147483647 h 870"/>
                <a:gd name="T46" fmla="*/ 2147483647 w 768"/>
                <a:gd name="T47" fmla="*/ 2147483647 h 870"/>
                <a:gd name="T48" fmla="*/ 2147483647 w 768"/>
                <a:gd name="T49" fmla="*/ 2147483647 h 870"/>
                <a:gd name="T50" fmla="*/ 2147483647 w 768"/>
                <a:gd name="T51" fmla="*/ 2147483647 h 870"/>
                <a:gd name="T52" fmla="*/ 2147483647 w 768"/>
                <a:gd name="T53" fmla="*/ 2147483647 h 870"/>
                <a:gd name="T54" fmla="*/ 2147483647 w 768"/>
                <a:gd name="T55" fmla="*/ 2147483647 h 870"/>
                <a:gd name="T56" fmla="*/ 2147483647 w 768"/>
                <a:gd name="T57" fmla="*/ 2147483647 h 870"/>
                <a:gd name="T58" fmla="*/ 2147483647 w 768"/>
                <a:gd name="T59" fmla="*/ 2147483647 h 870"/>
                <a:gd name="T60" fmla="*/ 2147483647 w 768"/>
                <a:gd name="T61" fmla="*/ 2147483647 h 870"/>
                <a:gd name="T62" fmla="*/ 2147483647 w 768"/>
                <a:gd name="T63" fmla="*/ 2147483647 h 870"/>
                <a:gd name="T64" fmla="*/ 2147483647 w 768"/>
                <a:gd name="T65" fmla="*/ 2147483647 h 870"/>
                <a:gd name="T66" fmla="*/ 2147483647 w 768"/>
                <a:gd name="T67" fmla="*/ 2147483647 h 870"/>
                <a:gd name="T68" fmla="*/ 2147483647 w 768"/>
                <a:gd name="T69" fmla="*/ 2147483647 h 870"/>
                <a:gd name="T70" fmla="*/ 2147483647 w 768"/>
                <a:gd name="T71" fmla="*/ 2147483647 h 870"/>
                <a:gd name="T72" fmla="*/ 2147483647 w 768"/>
                <a:gd name="T73" fmla="*/ 2147483647 h 870"/>
                <a:gd name="T74" fmla="*/ 2147483647 w 768"/>
                <a:gd name="T75" fmla="*/ 2147483647 h 870"/>
                <a:gd name="T76" fmla="*/ 2147483647 w 768"/>
                <a:gd name="T77" fmla="*/ 2147483647 h 870"/>
                <a:gd name="T78" fmla="*/ 2147483647 w 768"/>
                <a:gd name="T79" fmla="*/ 2147483647 h 870"/>
                <a:gd name="T80" fmla="*/ 2147483647 w 768"/>
                <a:gd name="T81" fmla="*/ 2147483647 h 870"/>
                <a:gd name="T82" fmla="*/ 2147483647 w 768"/>
                <a:gd name="T83" fmla="*/ 2147483647 h 870"/>
                <a:gd name="T84" fmla="*/ 2147483647 w 768"/>
                <a:gd name="T85" fmla="*/ 2147483647 h 870"/>
                <a:gd name="T86" fmla="*/ 2147483647 w 768"/>
                <a:gd name="T87" fmla="*/ 2147483647 h 870"/>
                <a:gd name="T88" fmla="*/ 2147483647 w 768"/>
                <a:gd name="T89" fmla="*/ 2147483647 h 870"/>
                <a:gd name="T90" fmla="*/ 2147483647 w 768"/>
                <a:gd name="T91" fmla="*/ 2147483647 h 870"/>
                <a:gd name="T92" fmla="*/ 2147483647 w 768"/>
                <a:gd name="T93" fmla="*/ 2147483647 h 870"/>
                <a:gd name="T94" fmla="*/ 2147483647 w 768"/>
                <a:gd name="T95" fmla="*/ 2147483647 h 870"/>
                <a:gd name="T96" fmla="*/ 2147483647 w 768"/>
                <a:gd name="T97" fmla="*/ 2147483647 h 870"/>
                <a:gd name="T98" fmla="*/ 2147483647 w 768"/>
                <a:gd name="T99" fmla="*/ 2147483647 h 870"/>
                <a:gd name="T100" fmla="*/ 2147483647 w 768"/>
                <a:gd name="T101" fmla="*/ 2147483647 h 870"/>
                <a:gd name="T102" fmla="*/ 2147483647 w 768"/>
                <a:gd name="T103" fmla="*/ 2147483647 h 8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68"/>
                <a:gd name="T157" fmla="*/ 0 h 870"/>
                <a:gd name="T158" fmla="*/ 768 w 768"/>
                <a:gd name="T159" fmla="*/ 870 h 8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68" h="870">
                  <a:moveTo>
                    <a:pt x="762" y="744"/>
                  </a:moveTo>
                  <a:lnTo>
                    <a:pt x="750" y="744"/>
                  </a:lnTo>
                  <a:lnTo>
                    <a:pt x="744" y="738"/>
                  </a:lnTo>
                  <a:lnTo>
                    <a:pt x="732" y="732"/>
                  </a:lnTo>
                  <a:lnTo>
                    <a:pt x="720" y="720"/>
                  </a:lnTo>
                  <a:lnTo>
                    <a:pt x="720" y="708"/>
                  </a:lnTo>
                  <a:lnTo>
                    <a:pt x="714" y="690"/>
                  </a:lnTo>
                  <a:lnTo>
                    <a:pt x="714" y="654"/>
                  </a:lnTo>
                  <a:lnTo>
                    <a:pt x="690" y="612"/>
                  </a:lnTo>
                  <a:lnTo>
                    <a:pt x="702" y="564"/>
                  </a:lnTo>
                  <a:lnTo>
                    <a:pt x="684" y="540"/>
                  </a:lnTo>
                  <a:lnTo>
                    <a:pt x="690" y="528"/>
                  </a:lnTo>
                  <a:lnTo>
                    <a:pt x="696" y="522"/>
                  </a:lnTo>
                  <a:lnTo>
                    <a:pt x="708" y="498"/>
                  </a:lnTo>
                  <a:lnTo>
                    <a:pt x="708" y="480"/>
                  </a:lnTo>
                  <a:lnTo>
                    <a:pt x="702" y="474"/>
                  </a:lnTo>
                  <a:lnTo>
                    <a:pt x="690" y="468"/>
                  </a:lnTo>
                  <a:lnTo>
                    <a:pt x="672" y="456"/>
                  </a:lnTo>
                  <a:lnTo>
                    <a:pt x="660" y="450"/>
                  </a:lnTo>
                  <a:lnTo>
                    <a:pt x="654" y="438"/>
                  </a:lnTo>
                  <a:lnTo>
                    <a:pt x="654" y="426"/>
                  </a:lnTo>
                  <a:lnTo>
                    <a:pt x="660" y="414"/>
                  </a:lnTo>
                  <a:lnTo>
                    <a:pt x="666" y="396"/>
                  </a:lnTo>
                  <a:lnTo>
                    <a:pt x="666" y="384"/>
                  </a:lnTo>
                  <a:lnTo>
                    <a:pt x="672" y="366"/>
                  </a:lnTo>
                  <a:lnTo>
                    <a:pt x="678" y="354"/>
                  </a:lnTo>
                  <a:lnTo>
                    <a:pt x="678" y="330"/>
                  </a:lnTo>
                  <a:lnTo>
                    <a:pt x="684" y="318"/>
                  </a:lnTo>
                  <a:lnTo>
                    <a:pt x="684" y="300"/>
                  </a:lnTo>
                  <a:lnTo>
                    <a:pt x="570" y="192"/>
                  </a:lnTo>
                  <a:lnTo>
                    <a:pt x="576" y="186"/>
                  </a:lnTo>
                  <a:lnTo>
                    <a:pt x="582" y="186"/>
                  </a:lnTo>
                  <a:lnTo>
                    <a:pt x="588" y="180"/>
                  </a:lnTo>
                  <a:lnTo>
                    <a:pt x="588" y="174"/>
                  </a:lnTo>
                  <a:lnTo>
                    <a:pt x="576" y="162"/>
                  </a:lnTo>
                  <a:lnTo>
                    <a:pt x="324" y="6"/>
                  </a:lnTo>
                  <a:lnTo>
                    <a:pt x="312" y="6"/>
                  </a:lnTo>
                  <a:lnTo>
                    <a:pt x="312" y="18"/>
                  </a:lnTo>
                  <a:lnTo>
                    <a:pt x="318" y="24"/>
                  </a:lnTo>
                  <a:lnTo>
                    <a:pt x="318" y="36"/>
                  </a:lnTo>
                  <a:lnTo>
                    <a:pt x="294" y="48"/>
                  </a:lnTo>
                  <a:lnTo>
                    <a:pt x="276" y="66"/>
                  </a:lnTo>
                  <a:lnTo>
                    <a:pt x="264" y="84"/>
                  </a:lnTo>
                  <a:lnTo>
                    <a:pt x="264" y="90"/>
                  </a:lnTo>
                  <a:lnTo>
                    <a:pt x="270" y="96"/>
                  </a:lnTo>
                  <a:lnTo>
                    <a:pt x="294" y="96"/>
                  </a:lnTo>
                  <a:lnTo>
                    <a:pt x="306" y="90"/>
                  </a:lnTo>
                  <a:lnTo>
                    <a:pt x="312" y="90"/>
                  </a:lnTo>
                  <a:lnTo>
                    <a:pt x="306" y="96"/>
                  </a:lnTo>
                  <a:lnTo>
                    <a:pt x="294" y="102"/>
                  </a:lnTo>
                  <a:lnTo>
                    <a:pt x="276" y="120"/>
                  </a:lnTo>
                  <a:lnTo>
                    <a:pt x="270" y="120"/>
                  </a:lnTo>
                  <a:lnTo>
                    <a:pt x="264" y="114"/>
                  </a:lnTo>
                  <a:lnTo>
                    <a:pt x="252" y="108"/>
                  </a:lnTo>
                  <a:lnTo>
                    <a:pt x="246" y="108"/>
                  </a:lnTo>
                  <a:lnTo>
                    <a:pt x="234" y="120"/>
                  </a:lnTo>
                  <a:lnTo>
                    <a:pt x="234" y="138"/>
                  </a:lnTo>
                  <a:lnTo>
                    <a:pt x="246" y="150"/>
                  </a:lnTo>
                  <a:lnTo>
                    <a:pt x="216" y="150"/>
                  </a:lnTo>
                  <a:lnTo>
                    <a:pt x="216" y="138"/>
                  </a:lnTo>
                  <a:lnTo>
                    <a:pt x="222" y="132"/>
                  </a:lnTo>
                  <a:lnTo>
                    <a:pt x="222" y="126"/>
                  </a:lnTo>
                  <a:lnTo>
                    <a:pt x="228" y="114"/>
                  </a:lnTo>
                  <a:lnTo>
                    <a:pt x="210" y="120"/>
                  </a:lnTo>
                  <a:lnTo>
                    <a:pt x="192" y="102"/>
                  </a:lnTo>
                  <a:lnTo>
                    <a:pt x="186" y="102"/>
                  </a:lnTo>
                  <a:lnTo>
                    <a:pt x="174" y="114"/>
                  </a:lnTo>
                  <a:lnTo>
                    <a:pt x="174" y="132"/>
                  </a:lnTo>
                  <a:lnTo>
                    <a:pt x="168" y="138"/>
                  </a:lnTo>
                  <a:lnTo>
                    <a:pt x="162" y="138"/>
                  </a:lnTo>
                  <a:lnTo>
                    <a:pt x="156" y="132"/>
                  </a:lnTo>
                  <a:lnTo>
                    <a:pt x="156" y="48"/>
                  </a:lnTo>
                  <a:lnTo>
                    <a:pt x="162" y="36"/>
                  </a:lnTo>
                  <a:lnTo>
                    <a:pt x="162" y="24"/>
                  </a:lnTo>
                  <a:lnTo>
                    <a:pt x="168" y="12"/>
                  </a:lnTo>
                  <a:lnTo>
                    <a:pt x="168" y="6"/>
                  </a:lnTo>
                  <a:lnTo>
                    <a:pt x="78" y="0"/>
                  </a:lnTo>
                  <a:lnTo>
                    <a:pt x="72" y="24"/>
                  </a:lnTo>
                  <a:lnTo>
                    <a:pt x="78" y="30"/>
                  </a:lnTo>
                  <a:lnTo>
                    <a:pt x="84" y="42"/>
                  </a:lnTo>
                  <a:lnTo>
                    <a:pt x="90" y="48"/>
                  </a:lnTo>
                  <a:lnTo>
                    <a:pt x="90" y="66"/>
                  </a:lnTo>
                  <a:lnTo>
                    <a:pt x="96" y="72"/>
                  </a:lnTo>
                  <a:lnTo>
                    <a:pt x="96" y="96"/>
                  </a:lnTo>
                  <a:lnTo>
                    <a:pt x="78" y="114"/>
                  </a:lnTo>
                  <a:lnTo>
                    <a:pt x="66" y="114"/>
                  </a:lnTo>
                  <a:lnTo>
                    <a:pt x="66" y="126"/>
                  </a:lnTo>
                  <a:lnTo>
                    <a:pt x="60" y="138"/>
                  </a:lnTo>
                  <a:lnTo>
                    <a:pt x="60" y="156"/>
                  </a:lnTo>
                  <a:lnTo>
                    <a:pt x="66" y="156"/>
                  </a:lnTo>
                  <a:lnTo>
                    <a:pt x="72" y="162"/>
                  </a:lnTo>
                  <a:lnTo>
                    <a:pt x="90" y="162"/>
                  </a:lnTo>
                  <a:lnTo>
                    <a:pt x="90" y="180"/>
                  </a:lnTo>
                  <a:lnTo>
                    <a:pt x="78" y="186"/>
                  </a:lnTo>
                  <a:lnTo>
                    <a:pt x="84" y="198"/>
                  </a:lnTo>
                  <a:lnTo>
                    <a:pt x="72" y="198"/>
                  </a:lnTo>
                  <a:lnTo>
                    <a:pt x="54" y="216"/>
                  </a:lnTo>
                  <a:lnTo>
                    <a:pt x="48" y="228"/>
                  </a:lnTo>
                  <a:lnTo>
                    <a:pt x="48" y="246"/>
                  </a:lnTo>
                  <a:lnTo>
                    <a:pt x="42" y="258"/>
                  </a:lnTo>
                  <a:lnTo>
                    <a:pt x="30" y="270"/>
                  </a:lnTo>
                  <a:lnTo>
                    <a:pt x="6" y="282"/>
                  </a:lnTo>
                  <a:lnTo>
                    <a:pt x="0" y="294"/>
                  </a:lnTo>
                  <a:lnTo>
                    <a:pt x="6" y="306"/>
                  </a:lnTo>
                  <a:lnTo>
                    <a:pt x="18" y="318"/>
                  </a:lnTo>
                  <a:lnTo>
                    <a:pt x="18" y="330"/>
                  </a:lnTo>
                  <a:lnTo>
                    <a:pt x="12" y="342"/>
                  </a:lnTo>
                  <a:lnTo>
                    <a:pt x="12" y="348"/>
                  </a:lnTo>
                  <a:lnTo>
                    <a:pt x="18" y="354"/>
                  </a:lnTo>
                  <a:lnTo>
                    <a:pt x="18" y="366"/>
                  </a:lnTo>
                  <a:lnTo>
                    <a:pt x="24" y="378"/>
                  </a:lnTo>
                  <a:lnTo>
                    <a:pt x="24" y="396"/>
                  </a:lnTo>
                  <a:lnTo>
                    <a:pt x="18" y="402"/>
                  </a:lnTo>
                  <a:lnTo>
                    <a:pt x="18" y="432"/>
                  </a:lnTo>
                  <a:lnTo>
                    <a:pt x="30" y="444"/>
                  </a:lnTo>
                  <a:lnTo>
                    <a:pt x="36" y="444"/>
                  </a:lnTo>
                  <a:lnTo>
                    <a:pt x="48" y="450"/>
                  </a:lnTo>
                  <a:lnTo>
                    <a:pt x="72" y="474"/>
                  </a:lnTo>
                  <a:lnTo>
                    <a:pt x="78" y="486"/>
                  </a:lnTo>
                  <a:lnTo>
                    <a:pt x="78" y="546"/>
                  </a:lnTo>
                  <a:lnTo>
                    <a:pt x="84" y="558"/>
                  </a:lnTo>
                  <a:lnTo>
                    <a:pt x="114" y="594"/>
                  </a:lnTo>
                  <a:lnTo>
                    <a:pt x="114" y="600"/>
                  </a:lnTo>
                  <a:lnTo>
                    <a:pt x="108" y="612"/>
                  </a:lnTo>
                  <a:lnTo>
                    <a:pt x="108" y="618"/>
                  </a:lnTo>
                  <a:lnTo>
                    <a:pt x="126" y="618"/>
                  </a:lnTo>
                  <a:lnTo>
                    <a:pt x="138" y="612"/>
                  </a:lnTo>
                  <a:lnTo>
                    <a:pt x="138" y="630"/>
                  </a:lnTo>
                  <a:lnTo>
                    <a:pt x="144" y="636"/>
                  </a:lnTo>
                  <a:lnTo>
                    <a:pt x="162" y="636"/>
                  </a:lnTo>
                  <a:lnTo>
                    <a:pt x="180" y="654"/>
                  </a:lnTo>
                  <a:lnTo>
                    <a:pt x="192" y="654"/>
                  </a:lnTo>
                  <a:lnTo>
                    <a:pt x="204" y="648"/>
                  </a:lnTo>
                  <a:lnTo>
                    <a:pt x="204" y="666"/>
                  </a:lnTo>
                  <a:lnTo>
                    <a:pt x="222" y="666"/>
                  </a:lnTo>
                  <a:lnTo>
                    <a:pt x="240" y="678"/>
                  </a:lnTo>
                  <a:lnTo>
                    <a:pt x="264" y="678"/>
                  </a:lnTo>
                  <a:lnTo>
                    <a:pt x="270" y="696"/>
                  </a:lnTo>
                  <a:lnTo>
                    <a:pt x="300" y="696"/>
                  </a:lnTo>
                  <a:lnTo>
                    <a:pt x="300" y="690"/>
                  </a:lnTo>
                  <a:lnTo>
                    <a:pt x="312" y="678"/>
                  </a:lnTo>
                  <a:lnTo>
                    <a:pt x="318" y="684"/>
                  </a:lnTo>
                  <a:lnTo>
                    <a:pt x="330" y="690"/>
                  </a:lnTo>
                  <a:lnTo>
                    <a:pt x="336" y="702"/>
                  </a:lnTo>
                  <a:lnTo>
                    <a:pt x="348" y="714"/>
                  </a:lnTo>
                  <a:lnTo>
                    <a:pt x="348" y="774"/>
                  </a:lnTo>
                  <a:lnTo>
                    <a:pt x="354" y="774"/>
                  </a:lnTo>
                  <a:lnTo>
                    <a:pt x="360" y="780"/>
                  </a:lnTo>
                  <a:lnTo>
                    <a:pt x="360" y="792"/>
                  </a:lnTo>
                  <a:lnTo>
                    <a:pt x="354" y="798"/>
                  </a:lnTo>
                  <a:lnTo>
                    <a:pt x="354" y="804"/>
                  </a:lnTo>
                  <a:lnTo>
                    <a:pt x="348" y="810"/>
                  </a:lnTo>
                  <a:lnTo>
                    <a:pt x="348" y="816"/>
                  </a:lnTo>
                  <a:lnTo>
                    <a:pt x="366" y="834"/>
                  </a:lnTo>
                  <a:lnTo>
                    <a:pt x="378" y="840"/>
                  </a:lnTo>
                  <a:lnTo>
                    <a:pt x="372" y="858"/>
                  </a:lnTo>
                  <a:lnTo>
                    <a:pt x="408" y="858"/>
                  </a:lnTo>
                  <a:lnTo>
                    <a:pt x="414" y="852"/>
                  </a:lnTo>
                  <a:lnTo>
                    <a:pt x="420" y="852"/>
                  </a:lnTo>
                  <a:lnTo>
                    <a:pt x="432" y="840"/>
                  </a:lnTo>
                  <a:lnTo>
                    <a:pt x="444" y="840"/>
                  </a:lnTo>
                  <a:lnTo>
                    <a:pt x="456" y="846"/>
                  </a:lnTo>
                  <a:lnTo>
                    <a:pt x="462" y="858"/>
                  </a:lnTo>
                  <a:lnTo>
                    <a:pt x="474" y="864"/>
                  </a:lnTo>
                  <a:lnTo>
                    <a:pt x="480" y="870"/>
                  </a:lnTo>
                  <a:lnTo>
                    <a:pt x="492" y="870"/>
                  </a:lnTo>
                  <a:lnTo>
                    <a:pt x="510" y="852"/>
                  </a:lnTo>
                  <a:lnTo>
                    <a:pt x="516" y="852"/>
                  </a:lnTo>
                  <a:lnTo>
                    <a:pt x="522" y="858"/>
                  </a:lnTo>
                  <a:lnTo>
                    <a:pt x="534" y="864"/>
                  </a:lnTo>
                  <a:lnTo>
                    <a:pt x="552" y="864"/>
                  </a:lnTo>
                  <a:lnTo>
                    <a:pt x="564" y="852"/>
                  </a:lnTo>
                  <a:lnTo>
                    <a:pt x="576" y="846"/>
                  </a:lnTo>
                  <a:lnTo>
                    <a:pt x="582" y="834"/>
                  </a:lnTo>
                  <a:lnTo>
                    <a:pt x="588" y="828"/>
                  </a:lnTo>
                  <a:lnTo>
                    <a:pt x="612" y="828"/>
                  </a:lnTo>
                  <a:lnTo>
                    <a:pt x="618" y="834"/>
                  </a:lnTo>
                  <a:lnTo>
                    <a:pt x="618" y="840"/>
                  </a:lnTo>
                  <a:lnTo>
                    <a:pt x="630" y="840"/>
                  </a:lnTo>
                  <a:lnTo>
                    <a:pt x="642" y="834"/>
                  </a:lnTo>
                  <a:lnTo>
                    <a:pt x="654" y="822"/>
                  </a:lnTo>
                  <a:lnTo>
                    <a:pt x="660" y="822"/>
                  </a:lnTo>
                  <a:lnTo>
                    <a:pt x="690" y="816"/>
                  </a:lnTo>
                  <a:lnTo>
                    <a:pt x="768" y="762"/>
                  </a:lnTo>
                  <a:lnTo>
                    <a:pt x="762" y="744"/>
                  </a:lnTo>
                  <a:close/>
                  <a:moveTo>
                    <a:pt x="726" y="360"/>
                  </a:moveTo>
                  <a:lnTo>
                    <a:pt x="732" y="354"/>
                  </a:lnTo>
                  <a:lnTo>
                    <a:pt x="732" y="324"/>
                  </a:lnTo>
                  <a:lnTo>
                    <a:pt x="720" y="312"/>
                  </a:lnTo>
                  <a:lnTo>
                    <a:pt x="714" y="312"/>
                  </a:lnTo>
                  <a:lnTo>
                    <a:pt x="708" y="318"/>
                  </a:lnTo>
                  <a:lnTo>
                    <a:pt x="708" y="348"/>
                  </a:lnTo>
                  <a:lnTo>
                    <a:pt x="714" y="354"/>
                  </a:lnTo>
                  <a:lnTo>
                    <a:pt x="726" y="360"/>
                  </a:lnTo>
                  <a:close/>
                  <a:moveTo>
                    <a:pt x="678" y="420"/>
                  </a:moveTo>
                  <a:lnTo>
                    <a:pt x="690" y="426"/>
                  </a:lnTo>
                  <a:lnTo>
                    <a:pt x="696" y="438"/>
                  </a:lnTo>
                  <a:lnTo>
                    <a:pt x="708" y="444"/>
                  </a:lnTo>
                  <a:lnTo>
                    <a:pt x="720" y="444"/>
                  </a:lnTo>
                  <a:lnTo>
                    <a:pt x="726" y="438"/>
                  </a:lnTo>
                  <a:lnTo>
                    <a:pt x="720" y="432"/>
                  </a:lnTo>
                  <a:lnTo>
                    <a:pt x="720" y="426"/>
                  </a:lnTo>
                  <a:lnTo>
                    <a:pt x="708" y="414"/>
                  </a:lnTo>
                  <a:lnTo>
                    <a:pt x="708" y="390"/>
                  </a:lnTo>
                  <a:lnTo>
                    <a:pt x="702" y="378"/>
                  </a:lnTo>
                  <a:lnTo>
                    <a:pt x="684" y="378"/>
                  </a:lnTo>
                  <a:lnTo>
                    <a:pt x="678" y="384"/>
                  </a:lnTo>
                  <a:lnTo>
                    <a:pt x="678" y="42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50" name="Tajikistan" descr="© INSCALE GmbH, 05.05.2010&#10;http://www.presentationload.com/">
              <a:extLst>
                <a:ext uri="{FF2B5EF4-FFF2-40B4-BE49-F238E27FC236}">
                  <a16:creationId xmlns:a16="http://schemas.microsoft.com/office/drawing/2014/main" id="{295D0A22-E5CB-4C88-AB97-3F997653A728}"/>
                </a:ext>
              </a:extLst>
            </p:cNvPr>
            <p:cNvSpPr>
              <a:spLocks/>
            </p:cNvSpPr>
            <p:nvPr/>
          </p:nvSpPr>
          <p:spPr bwMode="gray">
            <a:xfrm>
              <a:off x="5913769" y="2940194"/>
              <a:ext cx="219523" cy="139555"/>
            </a:xfrm>
            <a:custGeom>
              <a:avLst/>
              <a:gdLst>
                <a:gd name="T0" fmla="*/ 2147483647 w 552"/>
                <a:gd name="T1" fmla="*/ 2147483647 h 348"/>
                <a:gd name="T2" fmla="*/ 2147483647 w 552"/>
                <a:gd name="T3" fmla="*/ 2147483647 h 348"/>
                <a:gd name="T4" fmla="*/ 2147483647 w 552"/>
                <a:gd name="T5" fmla="*/ 2147483647 h 348"/>
                <a:gd name="T6" fmla="*/ 2147483647 w 552"/>
                <a:gd name="T7" fmla="*/ 2147483647 h 348"/>
                <a:gd name="T8" fmla="*/ 2147483647 w 552"/>
                <a:gd name="T9" fmla="*/ 2147483647 h 348"/>
                <a:gd name="T10" fmla="*/ 2147483647 w 552"/>
                <a:gd name="T11" fmla="*/ 2147483647 h 348"/>
                <a:gd name="T12" fmla="*/ 2147483647 w 552"/>
                <a:gd name="T13" fmla="*/ 2147483647 h 348"/>
                <a:gd name="T14" fmla="*/ 2147483647 w 552"/>
                <a:gd name="T15" fmla="*/ 2147483647 h 348"/>
                <a:gd name="T16" fmla="*/ 2147483647 w 552"/>
                <a:gd name="T17" fmla="*/ 2147483647 h 348"/>
                <a:gd name="T18" fmla="*/ 2147483647 w 552"/>
                <a:gd name="T19" fmla="*/ 2147483647 h 348"/>
                <a:gd name="T20" fmla="*/ 2147483647 w 552"/>
                <a:gd name="T21" fmla="*/ 2147483647 h 348"/>
                <a:gd name="T22" fmla="*/ 2147483647 w 552"/>
                <a:gd name="T23" fmla="*/ 2147483647 h 348"/>
                <a:gd name="T24" fmla="*/ 2147483647 w 552"/>
                <a:gd name="T25" fmla="*/ 2147483647 h 348"/>
                <a:gd name="T26" fmla="*/ 2147483647 w 552"/>
                <a:gd name="T27" fmla="*/ 2147483647 h 348"/>
                <a:gd name="T28" fmla="*/ 2147483647 w 552"/>
                <a:gd name="T29" fmla="*/ 2147483647 h 348"/>
                <a:gd name="T30" fmla="*/ 2147483647 w 552"/>
                <a:gd name="T31" fmla="*/ 2147483647 h 348"/>
                <a:gd name="T32" fmla="*/ 2147483647 w 552"/>
                <a:gd name="T33" fmla="*/ 2147483647 h 348"/>
                <a:gd name="T34" fmla="*/ 2147483647 w 552"/>
                <a:gd name="T35" fmla="*/ 2147483647 h 348"/>
                <a:gd name="T36" fmla="*/ 2147483647 w 552"/>
                <a:gd name="T37" fmla="*/ 2147483647 h 348"/>
                <a:gd name="T38" fmla="*/ 2147483647 w 552"/>
                <a:gd name="T39" fmla="*/ 0 h 348"/>
                <a:gd name="T40" fmla="*/ 2147483647 w 552"/>
                <a:gd name="T41" fmla="*/ 2147483647 h 348"/>
                <a:gd name="T42" fmla="*/ 2147483647 w 552"/>
                <a:gd name="T43" fmla="*/ 2147483647 h 348"/>
                <a:gd name="T44" fmla="*/ 2147483647 w 552"/>
                <a:gd name="T45" fmla="*/ 2147483647 h 348"/>
                <a:gd name="T46" fmla="*/ 2147483647 w 552"/>
                <a:gd name="T47" fmla="*/ 2147483647 h 348"/>
                <a:gd name="T48" fmla="*/ 2147483647 w 552"/>
                <a:gd name="T49" fmla="*/ 2147483647 h 348"/>
                <a:gd name="T50" fmla="*/ 2147483647 w 552"/>
                <a:gd name="T51" fmla="*/ 2147483647 h 348"/>
                <a:gd name="T52" fmla="*/ 2147483647 w 552"/>
                <a:gd name="T53" fmla="*/ 2147483647 h 348"/>
                <a:gd name="T54" fmla="*/ 2147483647 w 552"/>
                <a:gd name="T55" fmla="*/ 2147483647 h 348"/>
                <a:gd name="T56" fmla="*/ 2147483647 w 552"/>
                <a:gd name="T57" fmla="*/ 2147483647 h 348"/>
                <a:gd name="T58" fmla="*/ 2147483647 w 552"/>
                <a:gd name="T59" fmla="*/ 2147483647 h 348"/>
                <a:gd name="T60" fmla="*/ 2147483647 w 552"/>
                <a:gd name="T61" fmla="*/ 2147483647 h 348"/>
                <a:gd name="T62" fmla="*/ 2147483647 w 552"/>
                <a:gd name="T63" fmla="*/ 2147483647 h 348"/>
                <a:gd name="T64" fmla="*/ 2147483647 w 552"/>
                <a:gd name="T65" fmla="*/ 2147483647 h 348"/>
                <a:gd name="T66" fmla="*/ 2147483647 w 552"/>
                <a:gd name="T67" fmla="*/ 2147483647 h 348"/>
                <a:gd name="T68" fmla="*/ 2147483647 w 552"/>
                <a:gd name="T69" fmla="*/ 2147483647 h 348"/>
                <a:gd name="T70" fmla="*/ 2147483647 w 552"/>
                <a:gd name="T71" fmla="*/ 2147483647 h 348"/>
                <a:gd name="T72" fmla="*/ 2147483647 w 552"/>
                <a:gd name="T73" fmla="*/ 2147483647 h 348"/>
                <a:gd name="T74" fmla="*/ 2147483647 w 552"/>
                <a:gd name="T75" fmla="*/ 2147483647 h 348"/>
                <a:gd name="T76" fmla="*/ 2147483647 w 552"/>
                <a:gd name="T77" fmla="*/ 2147483647 h 348"/>
                <a:gd name="T78" fmla="*/ 2147483647 w 552"/>
                <a:gd name="T79" fmla="*/ 2147483647 h 348"/>
                <a:gd name="T80" fmla="*/ 2147483647 w 552"/>
                <a:gd name="T81" fmla="*/ 2147483647 h 348"/>
                <a:gd name="T82" fmla="*/ 2147483647 w 552"/>
                <a:gd name="T83" fmla="*/ 2147483647 h 348"/>
                <a:gd name="T84" fmla="*/ 2147483647 w 552"/>
                <a:gd name="T85" fmla="*/ 2147483647 h 348"/>
                <a:gd name="T86" fmla="*/ 2147483647 w 552"/>
                <a:gd name="T87" fmla="*/ 2147483647 h 348"/>
                <a:gd name="T88" fmla="*/ 2147483647 w 552"/>
                <a:gd name="T89" fmla="*/ 2147483647 h 348"/>
                <a:gd name="T90" fmla="*/ 2147483647 w 552"/>
                <a:gd name="T91" fmla="*/ 2147483647 h 348"/>
                <a:gd name="T92" fmla="*/ 2147483647 w 552"/>
                <a:gd name="T93" fmla="*/ 2147483647 h 348"/>
                <a:gd name="T94" fmla="*/ 2147483647 w 552"/>
                <a:gd name="T95" fmla="*/ 2147483647 h 348"/>
                <a:gd name="T96" fmla="*/ 2147483647 w 552"/>
                <a:gd name="T97" fmla="*/ 2147483647 h 348"/>
                <a:gd name="T98" fmla="*/ 2147483647 w 552"/>
                <a:gd name="T99" fmla="*/ 2147483647 h 3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52"/>
                <a:gd name="T151" fmla="*/ 0 h 348"/>
                <a:gd name="T152" fmla="*/ 552 w 552"/>
                <a:gd name="T153" fmla="*/ 348 h 3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52" h="348">
                  <a:moveTo>
                    <a:pt x="528" y="270"/>
                  </a:moveTo>
                  <a:lnTo>
                    <a:pt x="516" y="246"/>
                  </a:lnTo>
                  <a:lnTo>
                    <a:pt x="516" y="204"/>
                  </a:lnTo>
                  <a:lnTo>
                    <a:pt x="510" y="198"/>
                  </a:lnTo>
                  <a:lnTo>
                    <a:pt x="498" y="192"/>
                  </a:lnTo>
                  <a:lnTo>
                    <a:pt x="492" y="192"/>
                  </a:lnTo>
                  <a:lnTo>
                    <a:pt x="480" y="186"/>
                  </a:lnTo>
                  <a:lnTo>
                    <a:pt x="456" y="186"/>
                  </a:lnTo>
                  <a:lnTo>
                    <a:pt x="450" y="192"/>
                  </a:lnTo>
                  <a:lnTo>
                    <a:pt x="438" y="192"/>
                  </a:lnTo>
                  <a:lnTo>
                    <a:pt x="426" y="180"/>
                  </a:lnTo>
                  <a:lnTo>
                    <a:pt x="426" y="168"/>
                  </a:lnTo>
                  <a:lnTo>
                    <a:pt x="432" y="156"/>
                  </a:lnTo>
                  <a:lnTo>
                    <a:pt x="432" y="144"/>
                  </a:lnTo>
                  <a:lnTo>
                    <a:pt x="414" y="144"/>
                  </a:lnTo>
                  <a:lnTo>
                    <a:pt x="414" y="120"/>
                  </a:lnTo>
                  <a:lnTo>
                    <a:pt x="396" y="114"/>
                  </a:lnTo>
                  <a:lnTo>
                    <a:pt x="384" y="126"/>
                  </a:lnTo>
                  <a:lnTo>
                    <a:pt x="342" y="126"/>
                  </a:lnTo>
                  <a:lnTo>
                    <a:pt x="336" y="132"/>
                  </a:lnTo>
                  <a:lnTo>
                    <a:pt x="324" y="138"/>
                  </a:lnTo>
                  <a:lnTo>
                    <a:pt x="312" y="138"/>
                  </a:lnTo>
                  <a:lnTo>
                    <a:pt x="312" y="132"/>
                  </a:lnTo>
                  <a:lnTo>
                    <a:pt x="306" y="132"/>
                  </a:lnTo>
                  <a:lnTo>
                    <a:pt x="294" y="138"/>
                  </a:lnTo>
                  <a:lnTo>
                    <a:pt x="264" y="108"/>
                  </a:lnTo>
                  <a:lnTo>
                    <a:pt x="258" y="114"/>
                  </a:lnTo>
                  <a:lnTo>
                    <a:pt x="246" y="120"/>
                  </a:lnTo>
                  <a:lnTo>
                    <a:pt x="240" y="126"/>
                  </a:lnTo>
                  <a:lnTo>
                    <a:pt x="222" y="126"/>
                  </a:lnTo>
                  <a:lnTo>
                    <a:pt x="210" y="114"/>
                  </a:lnTo>
                  <a:lnTo>
                    <a:pt x="186" y="114"/>
                  </a:lnTo>
                  <a:lnTo>
                    <a:pt x="174" y="108"/>
                  </a:lnTo>
                  <a:lnTo>
                    <a:pt x="156" y="108"/>
                  </a:lnTo>
                  <a:lnTo>
                    <a:pt x="150" y="114"/>
                  </a:lnTo>
                  <a:lnTo>
                    <a:pt x="138" y="114"/>
                  </a:lnTo>
                  <a:lnTo>
                    <a:pt x="126" y="120"/>
                  </a:lnTo>
                  <a:lnTo>
                    <a:pt x="120" y="114"/>
                  </a:lnTo>
                  <a:lnTo>
                    <a:pt x="120" y="108"/>
                  </a:lnTo>
                  <a:lnTo>
                    <a:pt x="114" y="102"/>
                  </a:lnTo>
                  <a:lnTo>
                    <a:pt x="114" y="90"/>
                  </a:lnTo>
                  <a:lnTo>
                    <a:pt x="126" y="84"/>
                  </a:lnTo>
                  <a:lnTo>
                    <a:pt x="132" y="78"/>
                  </a:lnTo>
                  <a:lnTo>
                    <a:pt x="132" y="66"/>
                  </a:lnTo>
                  <a:lnTo>
                    <a:pt x="138" y="60"/>
                  </a:lnTo>
                  <a:lnTo>
                    <a:pt x="150" y="60"/>
                  </a:lnTo>
                  <a:lnTo>
                    <a:pt x="186" y="72"/>
                  </a:lnTo>
                  <a:lnTo>
                    <a:pt x="198" y="78"/>
                  </a:lnTo>
                  <a:lnTo>
                    <a:pt x="204" y="78"/>
                  </a:lnTo>
                  <a:lnTo>
                    <a:pt x="210" y="72"/>
                  </a:lnTo>
                  <a:lnTo>
                    <a:pt x="210" y="66"/>
                  </a:lnTo>
                  <a:lnTo>
                    <a:pt x="204" y="60"/>
                  </a:lnTo>
                  <a:lnTo>
                    <a:pt x="198" y="60"/>
                  </a:lnTo>
                  <a:lnTo>
                    <a:pt x="186" y="54"/>
                  </a:lnTo>
                  <a:lnTo>
                    <a:pt x="180" y="48"/>
                  </a:lnTo>
                  <a:lnTo>
                    <a:pt x="174" y="48"/>
                  </a:lnTo>
                  <a:lnTo>
                    <a:pt x="198" y="12"/>
                  </a:lnTo>
                  <a:lnTo>
                    <a:pt x="192" y="6"/>
                  </a:lnTo>
                  <a:lnTo>
                    <a:pt x="180" y="0"/>
                  </a:lnTo>
                  <a:lnTo>
                    <a:pt x="162" y="0"/>
                  </a:lnTo>
                  <a:lnTo>
                    <a:pt x="156" y="12"/>
                  </a:lnTo>
                  <a:lnTo>
                    <a:pt x="144" y="18"/>
                  </a:lnTo>
                  <a:lnTo>
                    <a:pt x="138" y="30"/>
                  </a:lnTo>
                  <a:lnTo>
                    <a:pt x="132" y="30"/>
                  </a:lnTo>
                  <a:lnTo>
                    <a:pt x="114" y="12"/>
                  </a:lnTo>
                  <a:lnTo>
                    <a:pt x="102" y="12"/>
                  </a:lnTo>
                  <a:lnTo>
                    <a:pt x="102" y="24"/>
                  </a:lnTo>
                  <a:lnTo>
                    <a:pt x="96" y="30"/>
                  </a:lnTo>
                  <a:lnTo>
                    <a:pt x="96" y="42"/>
                  </a:lnTo>
                  <a:lnTo>
                    <a:pt x="108" y="54"/>
                  </a:lnTo>
                  <a:lnTo>
                    <a:pt x="108" y="60"/>
                  </a:lnTo>
                  <a:lnTo>
                    <a:pt x="66" y="60"/>
                  </a:lnTo>
                  <a:lnTo>
                    <a:pt x="90" y="84"/>
                  </a:lnTo>
                  <a:lnTo>
                    <a:pt x="72" y="96"/>
                  </a:lnTo>
                  <a:lnTo>
                    <a:pt x="78" y="96"/>
                  </a:lnTo>
                  <a:lnTo>
                    <a:pt x="78" y="108"/>
                  </a:lnTo>
                  <a:lnTo>
                    <a:pt x="54" y="120"/>
                  </a:lnTo>
                  <a:lnTo>
                    <a:pt x="6" y="120"/>
                  </a:lnTo>
                  <a:lnTo>
                    <a:pt x="0" y="126"/>
                  </a:lnTo>
                  <a:lnTo>
                    <a:pt x="0" y="144"/>
                  </a:lnTo>
                  <a:lnTo>
                    <a:pt x="18" y="144"/>
                  </a:lnTo>
                  <a:lnTo>
                    <a:pt x="30" y="156"/>
                  </a:lnTo>
                  <a:lnTo>
                    <a:pt x="36" y="156"/>
                  </a:lnTo>
                  <a:lnTo>
                    <a:pt x="42" y="162"/>
                  </a:lnTo>
                  <a:lnTo>
                    <a:pt x="54" y="162"/>
                  </a:lnTo>
                  <a:lnTo>
                    <a:pt x="66" y="174"/>
                  </a:lnTo>
                  <a:lnTo>
                    <a:pt x="66" y="180"/>
                  </a:lnTo>
                  <a:lnTo>
                    <a:pt x="60" y="186"/>
                  </a:lnTo>
                  <a:lnTo>
                    <a:pt x="60" y="204"/>
                  </a:lnTo>
                  <a:lnTo>
                    <a:pt x="66" y="210"/>
                  </a:lnTo>
                  <a:lnTo>
                    <a:pt x="78" y="216"/>
                  </a:lnTo>
                  <a:lnTo>
                    <a:pt x="90" y="228"/>
                  </a:lnTo>
                  <a:lnTo>
                    <a:pt x="90" y="246"/>
                  </a:lnTo>
                  <a:lnTo>
                    <a:pt x="84" y="258"/>
                  </a:lnTo>
                  <a:lnTo>
                    <a:pt x="72" y="264"/>
                  </a:lnTo>
                  <a:lnTo>
                    <a:pt x="66" y="276"/>
                  </a:lnTo>
                  <a:lnTo>
                    <a:pt x="60" y="282"/>
                  </a:lnTo>
                  <a:lnTo>
                    <a:pt x="60" y="306"/>
                  </a:lnTo>
                  <a:lnTo>
                    <a:pt x="66" y="312"/>
                  </a:lnTo>
                  <a:lnTo>
                    <a:pt x="78" y="318"/>
                  </a:lnTo>
                  <a:lnTo>
                    <a:pt x="84" y="324"/>
                  </a:lnTo>
                  <a:lnTo>
                    <a:pt x="90" y="324"/>
                  </a:lnTo>
                  <a:lnTo>
                    <a:pt x="108" y="306"/>
                  </a:lnTo>
                  <a:lnTo>
                    <a:pt x="120" y="300"/>
                  </a:lnTo>
                  <a:lnTo>
                    <a:pt x="126" y="294"/>
                  </a:lnTo>
                  <a:lnTo>
                    <a:pt x="138" y="294"/>
                  </a:lnTo>
                  <a:lnTo>
                    <a:pt x="144" y="300"/>
                  </a:lnTo>
                  <a:lnTo>
                    <a:pt x="150" y="312"/>
                  </a:lnTo>
                  <a:lnTo>
                    <a:pt x="156" y="318"/>
                  </a:lnTo>
                  <a:lnTo>
                    <a:pt x="162" y="318"/>
                  </a:lnTo>
                  <a:lnTo>
                    <a:pt x="162" y="288"/>
                  </a:lnTo>
                  <a:lnTo>
                    <a:pt x="174" y="276"/>
                  </a:lnTo>
                  <a:lnTo>
                    <a:pt x="186" y="270"/>
                  </a:lnTo>
                  <a:lnTo>
                    <a:pt x="204" y="270"/>
                  </a:lnTo>
                  <a:lnTo>
                    <a:pt x="216" y="282"/>
                  </a:lnTo>
                  <a:lnTo>
                    <a:pt x="222" y="258"/>
                  </a:lnTo>
                  <a:lnTo>
                    <a:pt x="216" y="258"/>
                  </a:lnTo>
                  <a:lnTo>
                    <a:pt x="210" y="252"/>
                  </a:lnTo>
                  <a:lnTo>
                    <a:pt x="210" y="246"/>
                  </a:lnTo>
                  <a:lnTo>
                    <a:pt x="222" y="234"/>
                  </a:lnTo>
                  <a:lnTo>
                    <a:pt x="228" y="234"/>
                  </a:lnTo>
                  <a:lnTo>
                    <a:pt x="234" y="228"/>
                  </a:lnTo>
                  <a:lnTo>
                    <a:pt x="234" y="204"/>
                  </a:lnTo>
                  <a:lnTo>
                    <a:pt x="240" y="198"/>
                  </a:lnTo>
                  <a:lnTo>
                    <a:pt x="258" y="198"/>
                  </a:lnTo>
                  <a:lnTo>
                    <a:pt x="276" y="216"/>
                  </a:lnTo>
                  <a:lnTo>
                    <a:pt x="276" y="246"/>
                  </a:lnTo>
                  <a:lnTo>
                    <a:pt x="294" y="246"/>
                  </a:lnTo>
                  <a:lnTo>
                    <a:pt x="306" y="312"/>
                  </a:lnTo>
                  <a:lnTo>
                    <a:pt x="306" y="318"/>
                  </a:lnTo>
                  <a:lnTo>
                    <a:pt x="336" y="348"/>
                  </a:lnTo>
                  <a:lnTo>
                    <a:pt x="342" y="348"/>
                  </a:lnTo>
                  <a:lnTo>
                    <a:pt x="348" y="342"/>
                  </a:lnTo>
                  <a:lnTo>
                    <a:pt x="360" y="336"/>
                  </a:lnTo>
                  <a:lnTo>
                    <a:pt x="366" y="324"/>
                  </a:lnTo>
                  <a:lnTo>
                    <a:pt x="372" y="318"/>
                  </a:lnTo>
                  <a:lnTo>
                    <a:pt x="390" y="318"/>
                  </a:lnTo>
                  <a:lnTo>
                    <a:pt x="396" y="312"/>
                  </a:lnTo>
                  <a:lnTo>
                    <a:pt x="402" y="300"/>
                  </a:lnTo>
                  <a:lnTo>
                    <a:pt x="408" y="294"/>
                  </a:lnTo>
                  <a:lnTo>
                    <a:pt x="432" y="282"/>
                  </a:lnTo>
                  <a:lnTo>
                    <a:pt x="456" y="282"/>
                  </a:lnTo>
                  <a:lnTo>
                    <a:pt x="456" y="300"/>
                  </a:lnTo>
                  <a:lnTo>
                    <a:pt x="492" y="288"/>
                  </a:lnTo>
                  <a:lnTo>
                    <a:pt x="516" y="288"/>
                  </a:lnTo>
                  <a:lnTo>
                    <a:pt x="522" y="294"/>
                  </a:lnTo>
                  <a:lnTo>
                    <a:pt x="546" y="294"/>
                  </a:lnTo>
                  <a:lnTo>
                    <a:pt x="552" y="288"/>
                  </a:lnTo>
                  <a:lnTo>
                    <a:pt x="540" y="276"/>
                  </a:lnTo>
                  <a:lnTo>
                    <a:pt x="534" y="276"/>
                  </a:lnTo>
                  <a:lnTo>
                    <a:pt x="528" y="27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51" name="Taiwan" descr="© INSCALE GmbH, 05.05.2010&#10;http://www.presentationload.com/">
              <a:extLst>
                <a:ext uri="{FF2B5EF4-FFF2-40B4-BE49-F238E27FC236}">
                  <a16:creationId xmlns:a16="http://schemas.microsoft.com/office/drawing/2014/main" id="{4BA75CEE-A6F1-47B5-8B62-8201260877F7}"/>
                </a:ext>
              </a:extLst>
            </p:cNvPr>
            <p:cNvSpPr>
              <a:spLocks/>
            </p:cNvSpPr>
            <p:nvPr/>
          </p:nvSpPr>
          <p:spPr bwMode="gray">
            <a:xfrm>
              <a:off x="7450432" y="3441962"/>
              <a:ext cx="47041" cy="106626"/>
            </a:xfrm>
            <a:custGeom>
              <a:avLst/>
              <a:gdLst>
                <a:gd name="T0" fmla="*/ 2147483647 w 120"/>
                <a:gd name="T1" fmla="*/ 2147483647 h 270"/>
                <a:gd name="T2" fmla="*/ 2147483647 w 120"/>
                <a:gd name="T3" fmla="*/ 2147483647 h 270"/>
                <a:gd name="T4" fmla="*/ 2147483647 w 120"/>
                <a:gd name="T5" fmla="*/ 2147483647 h 270"/>
                <a:gd name="T6" fmla="*/ 2147483647 w 120"/>
                <a:gd name="T7" fmla="*/ 2147483647 h 270"/>
                <a:gd name="T8" fmla="*/ 2147483647 w 120"/>
                <a:gd name="T9" fmla="*/ 2147483647 h 270"/>
                <a:gd name="T10" fmla="*/ 2147483647 w 120"/>
                <a:gd name="T11" fmla="*/ 2147483647 h 270"/>
                <a:gd name="T12" fmla="*/ 2147483647 w 120"/>
                <a:gd name="T13" fmla="*/ 2147483647 h 270"/>
                <a:gd name="T14" fmla="*/ 2147483647 w 120"/>
                <a:gd name="T15" fmla="*/ 2147483647 h 270"/>
                <a:gd name="T16" fmla="*/ 2147483647 w 120"/>
                <a:gd name="T17" fmla="*/ 2147483647 h 270"/>
                <a:gd name="T18" fmla="*/ 2147483647 w 120"/>
                <a:gd name="T19" fmla="*/ 2147483647 h 270"/>
                <a:gd name="T20" fmla="*/ 2147483647 w 120"/>
                <a:gd name="T21" fmla="*/ 0 h 270"/>
                <a:gd name="T22" fmla="*/ 2147483647 w 120"/>
                <a:gd name="T23" fmla="*/ 2147483647 h 270"/>
                <a:gd name="T24" fmla="*/ 2147483647 w 120"/>
                <a:gd name="T25" fmla="*/ 2147483647 h 270"/>
                <a:gd name="T26" fmla="*/ 2147483647 w 120"/>
                <a:gd name="T27" fmla="*/ 2147483647 h 270"/>
                <a:gd name="T28" fmla="*/ 2147483647 w 120"/>
                <a:gd name="T29" fmla="*/ 2147483647 h 270"/>
                <a:gd name="T30" fmla="*/ 0 w 120"/>
                <a:gd name="T31" fmla="*/ 2147483647 h 270"/>
                <a:gd name="T32" fmla="*/ 0 w 120"/>
                <a:gd name="T33" fmla="*/ 2147483647 h 270"/>
                <a:gd name="T34" fmla="*/ 2147483647 w 120"/>
                <a:gd name="T35" fmla="*/ 2147483647 h 270"/>
                <a:gd name="T36" fmla="*/ 2147483647 w 120"/>
                <a:gd name="T37" fmla="*/ 2147483647 h 270"/>
                <a:gd name="T38" fmla="*/ 2147483647 w 120"/>
                <a:gd name="T39" fmla="*/ 2147483647 h 270"/>
                <a:gd name="T40" fmla="*/ 2147483647 w 120"/>
                <a:gd name="T41" fmla="*/ 2147483647 h 270"/>
                <a:gd name="T42" fmla="*/ 2147483647 w 120"/>
                <a:gd name="T43" fmla="*/ 2147483647 h 270"/>
                <a:gd name="T44" fmla="*/ 2147483647 w 120"/>
                <a:gd name="T45" fmla="*/ 2147483647 h 270"/>
                <a:gd name="T46" fmla="*/ 2147483647 w 120"/>
                <a:gd name="T47" fmla="*/ 2147483647 h 270"/>
                <a:gd name="T48" fmla="*/ 2147483647 w 120"/>
                <a:gd name="T49" fmla="*/ 2147483647 h 270"/>
                <a:gd name="T50" fmla="*/ 2147483647 w 120"/>
                <a:gd name="T51" fmla="*/ 2147483647 h 2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270"/>
                <a:gd name="T80" fmla="*/ 120 w 120"/>
                <a:gd name="T81" fmla="*/ 270 h 27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270">
                  <a:moveTo>
                    <a:pt x="84" y="270"/>
                  </a:moveTo>
                  <a:lnTo>
                    <a:pt x="84" y="222"/>
                  </a:lnTo>
                  <a:lnTo>
                    <a:pt x="90" y="216"/>
                  </a:lnTo>
                  <a:lnTo>
                    <a:pt x="102" y="192"/>
                  </a:lnTo>
                  <a:lnTo>
                    <a:pt x="102" y="102"/>
                  </a:lnTo>
                  <a:lnTo>
                    <a:pt x="108" y="96"/>
                  </a:lnTo>
                  <a:lnTo>
                    <a:pt x="114" y="84"/>
                  </a:lnTo>
                  <a:lnTo>
                    <a:pt x="114" y="54"/>
                  </a:lnTo>
                  <a:lnTo>
                    <a:pt x="120" y="36"/>
                  </a:lnTo>
                  <a:lnTo>
                    <a:pt x="120" y="24"/>
                  </a:lnTo>
                  <a:lnTo>
                    <a:pt x="72" y="0"/>
                  </a:lnTo>
                  <a:lnTo>
                    <a:pt x="48" y="30"/>
                  </a:lnTo>
                  <a:lnTo>
                    <a:pt x="42" y="42"/>
                  </a:lnTo>
                  <a:lnTo>
                    <a:pt x="30" y="78"/>
                  </a:lnTo>
                  <a:lnTo>
                    <a:pt x="12" y="114"/>
                  </a:lnTo>
                  <a:lnTo>
                    <a:pt x="0" y="150"/>
                  </a:lnTo>
                  <a:lnTo>
                    <a:pt x="0" y="168"/>
                  </a:lnTo>
                  <a:lnTo>
                    <a:pt x="6" y="180"/>
                  </a:lnTo>
                  <a:lnTo>
                    <a:pt x="18" y="192"/>
                  </a:lnTo>
                  <a:lnTo>
                    <a:pt x="24" y="204"/>
                  </a:lnTo>
                  <a:lnTo>
                    <a:pt x="36" y="210"/>
                  </a:lnTo>
                  <a:lnTo>
                    <a:pt x="42" y="222"/>
                  </a:lnTo>
                  <a:lnTo>
                    <a:pt x="42" y="228"/>
                  </a:lnTo>
                  <a:lnTo>
                    <a:pt x="48" y="234"/>
                  </a:lnTo>
                  <a:lnTo>
                    <a:pt x="60" y="258"/>
                  </a:lnTo>
                  <a:lnTo>
                    <a:pt x="84" y="27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52" name="Syrien" descr="© INSCALE GmbH, 05.05.2010&#10;http://www.presentationload.com/">
              <a:extLst>
                <a:ext uri="{FF2B5EF4-FFF2-40B4-BE49-F238E27FC236}">
                  <a16:creationId xmlns:a16="http://schemas.microsoft.com/office/drawing/2014/main" id="{A587F16E-A3EE-4041-932B-8437C04B1DAA}"/>
                </a:ext>
              </a:extLst>
            </p:cNvPr>
            <p:cNvSpPr>
              <a:spLocks/>
            </p:cNvSpPr>
            <p:nvPr/>
          </p:nvSpPr>
          <p:spPr bwMode="gray">
            <a:xfrm>
              <a:off x="5092125" y="3054660"/>
              <a:ext cx="178755" cy="164643"/>
            </a:xfrm>
            <a:custGeom>
              <a:avLst/>
              <a:gdLst>
                <a:gd name="T0" fmla="*/ 2147483647 w 450"/>
                <a:gd name="T1" fmla="*/ 2147483647 h 414"/>
                <a:gd name="T2" fmla="*/ 2147483647 w 450"/>
                <a:gd name="T3" fmla="*/ 2147483647 h 414"/>
                <a:gd name="T4" fmla="*/ 2147483647 w 450"/>
                <a:gd name="T5" fmla="*/ 2147483647 h 414"/>
                <a:gd name="T6" fmla="*/ 2147483647 w 450"/>
                <a:gd name="T7" fmla="*/ 0 h 414"/>
                <a:gd name="T8" fmla="*/ 2147483647 w 450"/>
                <a:gd name="T9" fmla="*/ 2147483647 h 414"/>
                <a:gd name="T10" fmla="*/ 2147483647 w 450"/>
                <a:gd name="T11" fmla="*/ 2147483647 h 414"/>
                <a:gd name="T12" fmla="*/ 2147483647 w 450"/>
                <a:gd name="T13" fmla="*/ 2147483647 h 414"/>
                <a:gd name="T14" fmla="*/ 2147483647 w 450"/>
                <a:gd name="T15" fmla="*/ 2147483647 h 414"/>
                <a:gd name="T16" fmla="*/ 2147483647 w 450"/>
                <a:gd name="T17" fmla="*/ 2147483647 h 414"/>
                <a:gd name="T18" fmla="*/ 2147483647 w 450"/>
                <a:gd name="T19" fmla="*/ 2147483647 h 414"/>
                <a:gd name="T20" fmla="*/ 2147483647 w 450"/>
                <a:gd name="T21" fmla="*/ 2147483647 h 414"/>
                <a:gd name="T22" fmla="*/ 2147483647 w 450"/>
                <a:gd name="T23" fmla="*/ 2147483647 h 414"/>
                <a:gd name="T24" fmla="*/ 2147483647 w 450"/>
                <a:gd name="T25" fmla="*/ 2147483647 h 414"/>
                <a:gd name="T26" fmla="*/ 2147483647 w 450"/>
                <a:gd name="T27" fmla="*/ 2147483647 h 414"/>
                <a:gd name="T28" fmla="*/ 2147483647 w 450"/>
                <a:gd name="T29" fmla="*/ 2147483647 h 414"/>
                <a:gd name="T30" fmla="*/ 2147483647 w 450"/>
                <a:gd name="T31" fmla="*/ 2147483647 h 414"/>
                <a:gd name="T32" fmla="*/ 2147483647 w 450"/>
                <a:gd name="T33" fmla="*/ 2147483647 h 414"/>
                <a:gd name="T34" fmla="*/ 2147483647 w 450"/>
                <a:gd name="T35" fmla="*/ 2147483647 h 414"/>
                <a:gd name="T36" fmla="*/ 2147483647 w 450"/>
                <a:gd name="T37" fmla="*/ 2147483647 h 414"/>
                <a:gd name="T38" fmla="*/ 2147483647 w 450"/>
                <a:gd name="T39" fmla="*/ 2147483647 h 414"/>
                <a:gd name="T40" fmla="*/ 2147483647 w 450"/>
                <a:gd name="T41" fmla="*/ 2147483647 h 414"/>
                <a:gd name="T42" fmla="*/ 2147483647 w 450"/>
                <a:gd name="T43" fmla="*/ 2147483647 h 414"/>
                <a:gd name="T44" fmla="*/ 2147483647 w 450"/>
                <a:gd name="T45" fmla="*/ 2147483647 h 414"/>
                <a:gd name="T46" fmla="*/ 2147483647 w 450"/>
                <a:gd name="T47" fmla="*/ 2147483647 h 414"/>
                <a:gd name="T48" fmla="*/ 2147483647 w 450"/>
                <a:gd name="T49" fmla="*/ 2147483647 h 414"/>
                <a:gd name="T50" fmla="*/ 2147483647 w 450"/>
                <a:gd name="T51" fmla="*/ 2147483647 h 414"/>
                <a:gd name="T52" fmla="*/ 2147483647 w 450"/>
                <a:gd name="T53" fmla="*/ 2147483647 h 414"/>
                <a:gd name="T54" fmla="*/ 2147483647 w 450"/>
                <a:gd name="T55" fmla="*/ 2147483647 h 414"/>
                <a:gd name="T56" fmla="*/ 2147483647 w 450"/>
                <a:gd name="T57" fmla="*/ 2147483647 h 414"/>
                <a:gd name="T58" fmla="*/ 2147483647 w 450"/>
                <a:gd name="T59" fmla="*/ 2147483647 h 414"/>
                <a:gd name="T60" fmla="*/ 2147483647 w 450"/>
                <a:gd name="T61" fmla="*/ 2147483647 h 414"/>
                <a:gd name="T62" fmla="*/ 2147483647 w 450"/>
                <a:gd name="T63" fmla="*/ 2147483647 h 414"/>
                <a:gd name="T64" fmla="*/ 2147483647 w 450"/>
                <a:gd name="T65" fmla="*/ 2147483647 h 414"/>
                <a:gd name="T66" fmla="*/ 2147483647 w 450"/>
                <a:gd name="T67" fmla="*/ 2147483647 h 414"/>
                <a:gd name="T68" fmla="*/ 2147483647 w 450"/>
                <a:gd name="T69" fmla="*/ 2147483647 h 414"/>
                <a:gd name="T70" fmla="*/ 2147483647 w 450"/>
                <a:gd name="T71" fmla="*/ 2147483647 h 414"/>
                <a:gd name="T72" fmla="*/ 2147483647 w 450"/>
                <a:gd name="T73" fmla="*/ 2147483647 h 414"/>
                <a:gd name="T74" fmla="*/ 2147483647 w 450"/>
                <a:gd name="T75" fmla="*/ 2147483647 h 414"/>
                <a:gd name="T76" fmla="*/ 2147483647 w 450"/>
                <a:gd name="T77" fmla="*/ 2147483647 h 414"/>
                <a:gd name="T78" fmla="*/ 2147483647 w 450"/>
                <a:gd name="T79" fmla="*/ 2147483647 h 414"/>
                <a:gd name="T80" fmla="*/ 2147483647 w 450"/>
                <a:gd name="T81" fmla="*/ 2147483647 h 414"/>
                <a:gd name="T82" fmla="*/ 2147483647 w 450"/>
                <a:gd name="T83" fmla="*/ 2147483647 h 414"/>
                <a:gd name="T84" fmla="*/ 2147483647 w 450"/>
                <a:gd name="T85" fmla="*/ 2147483647 h 414"/>
                <a:gd name="T86" fmla="*/ 2147483647 w 450"/>
                <a:gd name="T87" fmla="*/ 2147483647 h 414"/>
                <a:gd name="T88" fmla="*/ 2147483647 w 450"/>
                <a:gd name="T89" fmla="*/ 2147483647 h 414"/>
                <a:gd name="T90" fmla="*/ 2147483647 w 450"/>
                <a:gd name="T91" fmla="*/ 2147483647 h 414"/>
                <a:gd name="T92" fmla="*/ 2147483647 w 450"/>
                <a:gd name="T93" fmla="*/ 2147483647 h 414"/>
                <a:gd name="T94" fmla="*/ 2147483647 w 450"/>
                <a:gd name="T95" fmla="*/ 2147483647 h 414"/>
                <a:gd name="T96" fmla="*/ 2147483647 w 450"/>
                <a:gd name="T97" fmla="*/ 2147483647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0"/>
                <a:gd name="T148" fmla="*/ 0 h 414"/>
                <a:gd name="T149" fmla="*/ 450 w 450"/>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0" h="414">
                  <a:moveTo>
                    <a:pt x="426" y="60"/>
                  </a:moveTo>
                  <a:lnTo>
                    <a:pt x="432" y="54"/>
                  </a:lnTo>
                  <a:lnTo>
                    <a:pt x="438" y="42"/>
                  </a:lnTo>
                  <a:lnTo>
                    <a:pt x="450" y="30"/>
                  </a:lnTo>
                  <a:lnTo>
                    <a:pt x="444" y="30"/>
                  </a:lnTo>
                  <a:lnTo>
                    <a:pt x="438" y="24"/>
                  </a:lnTo>
                  <a:lnTo>
                    <a:pt x="438" y="0"/>
                  </a:lnTo>
                  <a:lnTo>
                    <a:pt x="432" y="0"/>
                  </a:lnTo>
                  <a:lnTo>
                    <a:pt x="432" y="6"/>
                  </a:lnTo>
                  <a:lnTo>
                    <a:pt x="426" y="18"/>
                  </a:lnTo>
                  <a:lnTo>
                    <a:pt x="402" y="18"/>
                  </a:lnTo>
                  <a:lnTo>
                    <a:pt x="390" y="30"/>
                  </a:lnTo>
                  <a:lnTo>
                    <a:pt x="372" y="30"/>
                  </a:lnTo>
                  <a:lnTo>
                    <a:pt x="366" y="24"/>
                  </a:lnTo>
                  <a:lnTo>
                    <a:pt x="318" y="24"/>
                  </a:lnTo>
                  <a:lnTo>
                    <a:pt x="306" y="30"/>
                  </a:lnTo>
                  <a:lnTo>
                    <a:pt x="294" y="42"/>
                  </a:lnTo>
                  <a:lnTo>
                    <a:pt x="282" y="48"/>
                  </a:lnTo>
                  <a:lnTo>
                    <a:pt x="276" y="54"/>
                  </a:lnTo>
                  <a:lnTo>
                    <a:pt x="258" y="54"/>
                  </a:lnTo>
                  <a:lnTo>
                    <a:pt x="246" y="60"/>
                  </a:lnTo>
                  <a:lnTo>
                    <a:pt x="234" y="60"/>
                  </a:lnTo>
                  <a:lnTo>
                    <a:pt x="222" y="54"/>
                  </a:lnTo>
                  <a:lnTo>
                    <a:pt x="204" y="54"/>
                  </a:lnTo>
                  <a:lnTo>
                    <a:pt x="192" y="42"/>
                  </a:lnTo>
                  <a:lnTo>
                    <a:pt x="180" y="36"/>
                  </a:lnTo>
                  <a:lnTo>
                    <a:pt x="174" y="30"/>
                  </a:lnTo>
                  <a:lnTo>
                    <a:pt x="168" y="30"/>
                  </a:lnTo>
                  <a:lnTo>
                    <a:pt x="150" y="48"/>
                  </a:lnTo>
                  <a:lnTo>
                    <a:pt x="144" y="48"/>
                  </a:lnTo>
                  <a:lnTo>
                    <a:pt x="138" y="54"/>
                  </a:lnTo>
                  <a:lnTo>
                    <a:pt x="120" y="60"/>
                  </a:lnTo>
                  <a:lnTo>
                    <a:pt x="84" y="60"/>
                  </a:lnTo>
                  <a:lnTo>
                    <a:pt x="84" y="54"/>
                  </a:lnTo>
                  <a:lnTo>
                    <a:pt x="90" y="48"/>
                  </a:lnTo>
                  <a:lnTo>
                    <a:pt x="66" y="48"/>
                  </a:lnTo>
                  <a:lnTo>
                    <a:pt x="66" y="78"/>
                  </a:lnTo>
                  <a:lnTo>
                    <a:pt x="72" y="78"/>
                  </a:lnTo>
                  <a:lnTo>
                    <a:pt x="72" y="102"/>
                  </a:lnTo>
                  <a:lnTo>
                    <a:pt x="60" y="102"/>
                  </a:lnTo>
                  <a:lnTo>
                    <a:pt x="54" y="96"/>
                  </a:lnTo>
                  <a:lnTo>
                    <a:pt x="54" y="114"/>
                  </a:lnTo>
                  <a:lnTo>
                    <a:pt x="48" y="120"/>
                  </a:lnTo>
                  <a:lnTo>
                    <a:pt x="48" y="126"/>
                  </a:lnTo>
                  <a:lnTo>
                    <a:pt x="36" y="126"/>
                  </a:lnTo>
                  <a:lnTo>
                    <a:pt x="24" y="114"/>
                  </a:lnTo>
                  <a:lnTo>
                    <a:pt x="18" y="120"/>
                  </a:lnTo>
                  <a:lnTo>
                    <a:pt x="12" y="132"/>
                  </a:lnTo>
                  <a:lnTo>
                    <a:pt x="12" y="150"/>
                  </a:lnTo>
                  <a:lnTo>
                    <a:pt x="6" y="150"/>
                  </a:lnTo>
                  <a:lnTo>
                    <a:pt x="0" y="198"/>
                  </a:lnTo>
                  <a:lnTo>
                    <a:pt x="6" y="204"/>
                  </a:lnTo>
                  <a:lnTo>
                    <a:pt x="18" y="210"/>
                  </a:lnTo>
                  <a:lnTo>
                    <a:pt x="24" y="216"/>
                  </a:lnTo>
                  <a:lnTo>
                    <a:pt x="24" y="222"/>
                  </a:lnTo>
                  <a:lnTo>
                    <a:pt x="72" y="222"/>
                  </a:lnTo>
                  <a:lnTo>
                    <a:pt x="66" y="234"/>
                  </a:lnTo>
                  <a:lnTo>
                    <a:pt x="72" y="240"/>
                  </a:lnTo>
                  <a:lnTo>
                    <a:pt x="78" y="252"/>
                  </a:lnTo>
                  <a:lnTo>
                    <a:pt x="78" y="270"/>
                  </a:lnTo>
                  <a:lnTo>
                    <a:pt x="72" y="282"/>
                  </a:lnTo>
                  <a:lnTo>
                    <a:pt x="66" y="282"/>
                  </a:lnTo>
                  <a:lnTo>
                    <a:pt x="54" y="288"/>
                  </a:lnTo>
                  <a:lnTo>
                    <a:pt x="48" y="288"/>
                  </a:lnTo>
                  <a:lnTo>
                    <a:pt x="42" y="294"/>
                  </a:lnTo>
                  <a:lnTo>
                    <a:pt x="42" y="318"/>
                  </a:lnTo>
                  <a:lnTo>
                    <a:pt x="24" y="336"/>
                  </a:lnTo>
                  <a:lnTo>
                    <a:pt x="30" y="378"/>
                  </a:lnTo>
                  <a:lnTo>
                    <a:pt x="36" y="378"/>
                  </a:lnTo>
                  <a:lnTo>
                    <a:pt x="72" y="396"/>
                  </a:lnTo>
                  <a:lnTo>
                    <a:pt x="84" y="408"/>
                  </a:lnTo>
                  <a:lnTo>
                    <a:pt x="96" y="414"/>
                  </a:lnTo>
                  <a:lnTo>
                    <a:pt x="114" y="414"/>
                  </a:lnTo>
                  <a:lnTo>
                    <a:pt x="174" y="384"/>
                  </a:lnTo>
                  <a:lnTo>
                    <a:pt x="204" y="354"/>
                  </a:lnTo>
                  <a:lnTo>
                    <a:pt x="228" y="336"/>
                  </a:lnTo>
                  <a:lnTo>
                    <a:pt x="240" y="324"/>
                  </a:lnTo>
                  <a:lnTo>
                    <a:pt x="300" y="276"/>
                  </a:lnTo>
                  <a:lnTo>
                    <a:pt x="312" y="270"/>
                  </a:lnTo>
                  <a:lnTo>
                    <a:pt x="372" y="246"/>
                  </a:lnTo>
                  <a:lnTo>
                    <a:pt x="396" y="234"/>
                  </a:lnTo>
                  <a:lnTo>
                    <a:pt x="402" y="228"/>
                  </a:lnTo>
                  <a:lnTo>
                    <a:pt x="402" y="222"/>
                  </a:lnTo>
                  <a:lnTo>
                    <a:pt x="384" y="204"/>
                  </a:lnTo>
                  <a:lnTo>
                    <a:pt x="384" y="198"/>
                  </a:lnTo>
                  <a:lnTo>
                    <a:pt x="390" y="180"/>
                  </a:lnTo>
                  <a:lnTo>
                    <a:pt x="396" y="168"/>
                  </a:lnTo>
                  <a:lnTo>
                    <a:pt x="396" y="138"/>
                  </a:lnTo>
                  <a:lnTo>
                    <a:pt x="390" y="126"/>
                  </a:lnTo>
                  <a:lnTo>
                    <a:pt x="390" y="114"/>
                  </a:lnTo>
                  <a:lnTo>
                    <a:pt x="384" y="108"/>
                  </a:lnTo>
                  <a:lnTo>
                    <a:pt x="378" y="96"/>
                  </a:lnTo>
                  <a:lnTo>
                    <a:pt x="378" y="84"/>
                  </a:lnTo>
                  <a:lnTo>
                    <a:pt x="384" y="72"/>
                  </a:lnTo>
                  <a:lnTo>
                    <a:pt x="390" y="66"/>
                  </a:lnTo>
                  <a:lnTo>
                    <a:pt x="402" y="66"/>
                  </a:lnTo>
                  <a:lnTo>
                    <a:pt x="414" y="60"/>
                  </a:lnTo>
                  <a:lnTo>
                    <a:pt x="426" y="6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53" name="Swasiland" descr="© INSCALE GmbH, 05.05.2010&#10;http://www.presentationload.com/">
              <a:extLst>
                <a:ext uri="{FF2B5EF4-FFF2-40B4-BE49-F238E27FC236}">
                  <a16:creationId xmlns:a16="http://schemas.microsoft.com/office/drawing/2014/main" id="{60D44B37-A4A4-46EE-B57B-1BB6D22E6E13}"/>
                </a:ext>
              </a:extLst>
            </p:cNvPr>
            <p:cNvSpPr>
              <a:spLocks/>
            </p:cNvSpPr>
            <p:nvPr/>
          </p:nvSpPr>
          <p:spPr bwMode="gray">
            <a:xfrm>
              <a:off x="4983931" y="5075842"/>
              <a:ext cx="40769" cy="53313"/>
            </a:xfrm>
            <a:custGeom>
              <a:avLst/>
              <a:gdLst>
                <a:gd name="T0" fmla="*/ 2147483647 w 102"/>
                <a:gd name="T1" fmla="*/ 2147483647 h 132"/>
                <a:gd name="T2" fmla="*/ 2147483647 w 102"/>
                <a:gd name="T3" fmla="*/ 2147483647 h 132"/>
                <a:gd name="T4" fmla="*/ 2147483647 w 102"/>
                <a:gd name="T5" fmla="*/ 2147483647 h 132"/>
                <a:gd name="T6" fmla="*/ 2147483647 w 102"/>
                <a:gd name="T7" fmla="*/ 2147483647 h 132"/>
                <a:gd name="T8" fmla="*/ 2147483647 w 102"/>
                <a:gd name="T9" fmla="*/ 2147483647 h 132"/>
                <a:gd name="T10" fmla="*/ 2147483647 w 102"/>
                <a:gd name="T11" fmla="*/ 0 h 132"/>
                <a:gd name="T12" fmla="*/ 2147483647 w 102"/>
                <a:gd name="T13" fmla="*/ 0 h 132"/>
                <a:gd name="T14" fmla="*/ 2147483647 w 102"/>
                <a:gd name="T15" fmla="*/ 2147483647 h 132"/>
                <a:gd name="T16" fmla="*/ 2147483647 w 102"/>
                <a:gd name="T17" fmla="*/ 2147483647 h 132"/>
                <a:gd name="T18" fmla="*/ 2147483647 w 102"/>
                <a:gd name="T19" fmla="*/ 2147483647 h 132"/>
                <a:gd name="T20" fmla="*/ 2147483647 w 102"/>
                <a:gd name="T21" fmla="*/ 2147483647 h 132"/>
                <a:gd name="T22" fmla="*/ 0 w 102"/>
                <a:gd name="T23" fmla="*/ 2147483647 h 132"/>
                <a:gd name="T24" fmla="*/ 0 w 102"/>
                <a:gd name="T25" fmla="*/ 2147483647 h 132"/>
                <a:gd name="T26" fmla="*/ 2147483647 w 102"/>
                <a:gd name="T27" fmla="*/ 2147483647 h 132"/>
                <a:gd name="T28" fmla="*/ 2147483647 w 102"/>
                <a:gd name="T29" fmla="*/ 2147483647 h 132"/>
                <a:gd name="T30" fmla="*/ 2147483647 w 102"/>
                <a:gd name="T31" fmla="*/ 2147483647 h 132"/>
                <a:gd name="T32" fmla="*/ 2147483647 w 102"/>
                <a:gd name="T33" fmla="*/ 2147483647 h 132"/>
                <a:gd name="T34" fmla="*/ 2147483647 w 102"/>
                <a:gd name="T35" fmla="*/ 2147483647 h 132"/>
                <a:gd name="T36" fmla="*/ 2147483647 w 102"/>
                <a:gd name="T37" fmla="*/ 2147483647 h 132"/>
                <a:gd name="T38" fmla="*/ 2147483647 w 102"/>
                <a:gd name="T39" fmla="*/ 2147483647 h 132"/>
                <a:gd name="T40" fmla="*/ 2147483647 w 102"/>
                <a:gd name="T41" fmla="*/ 2147483647 h 132"/>
                <a:gd name="T42" fmla="*/ 2147483647 w 102"/>
                <a:gd name="T43" fmla="*/ 2147483647 h 132"/>
                <a:gd name="T44" fmla="*/ 2147483647 w 102"/>
                <a:gd name="T45" fmla="*/ 2147483647 h 132"/>
                <a:gd name="T46" fmla="*/ 2147483647 w 102"/>
                <a:gd name="T47" fmla="*/ 2147483647 h 132"/>
                <a:gd name="T48" fmla="*/ 2147483647 w 102"/>
                <a:gd name="T49" fmla="*/ 2147483647 h 1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132"/>
                <a:gd name="T77" fmla="*/ 102 w 102"/>
                <a:gd name="T78" fmla="*/ 132 h 1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132">
                  <a:moveTo>
                    <a:pt x="84" y="54"/>
                  </a:moveTo>
                  <a:lnTo>
                    <a:pt x="84" y="30"/>
                  </a:lnTo>
                  <a:lnTo>
                    <a:pt x="90" y="18"/>
                  </a:lnTo>
                  <a:lnTo>
                    <a:pt x="66" y="18"/>
                  </a:lnTo>
                  <a:lnTo>
                    <a:pt x="54" y="6"/>
                  </a:lnTo>
                  <a:lnTo>
                    <a:pt x="42" y="0"/>
                  </a:lnTo>
                  <a:lnTo>
                    <a:pt x="36" y="0"/>
                  </a:lnTo>
                  <a:lnTo>
                    <a:pt x="24" y="12"/>
                  </a:lnTo>
                  <a:lnTo>
                    <a:pt x="18" y="24"/>
                  </a:lnTo>
                  <a:lnTo>
                    <a:pt x="18" y="36"/>
                  </a:lnTo>
                  <a:lnTo>
                    <a:pt x="6" y="48"/>
                  </a:lnTo>
                  <a:lnTo>
                    <a:pt x="0" y="60"/>
                  </a:lnTo>
                  <a:lnTo>
                    <a:pt x="0" y="84"/>
                  </a:lnTo>
                  <a:lnTo>
                    <a:pt x="12" y="108"/>
                  </a:lnTo>
                  <a:lnTo>
                    <a:pt x="24" y="114"/>
                  </a:lnTo>
                  <a:lnTo>
                    <a:pt x="36" y="126"/>
                  </a:lnTo>
                  <a:lnTo>
                    <a:pt x="54" y="126"/>
                  </a:lnTo>
                  <a:lnTo>
                    <a:pt x="66" y="132"/>
                  </a:lnTo>
                  <a:lnTo>
                    <a:pt x="78" y="132"/>
                  </a:lnTo>
                  <a:lnTo>
                    <a:pt x="90" y="90"/>
                  </a:lnTo>
                  <a:lnTo>
                    <a:pt x="96" y="90"/>
                  </a:lnTo>
                  <a:lnTo>
                    <a:pt x="102" y="84"/>
                  </a:lnTo>
                  <a:lnTo>
                    <a:pt x="96" y="60"/>
                  </a:lnTo>
                  <a:lnTo>
                    <a:pt x="90" y="60"/>
                  </a:lnTo>
                  <a:lnTo>
                    <a:pt x="84" y="54"/>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54" name="Surinam" descr="© INSCALE GmbH, 05.05.2010&#10;http://www.presentationload.com/">
              <a:extLst>
                <a:ext uri="{FF2B5EF4-FFF2-40B4-BE49-F238E27FC236}">
                  <a16:creationId xmlns:a16="http://schemas.microsoft.com/office/drawing/2014/main" id="{6AA6397D-8175-45B9-9AF1-9F50403D52A3}"/>
                </a:ext>
              </a:extLst>
            </p:cNvPr>
            <p:cNvSpPr>
              <a:spLocks/>
            </p:cNvSpPr>
            <p:nvPr/>
          </p:nvSpPr>
          <p:spPr bwMode="gray">
            <a:xfrm>
              <a:off x="2486071" y="4061331"/>
              <a:ext cx="116034" cy="133282"/>
            </a:xfrm>
            <a:custGeom>
              <a:avLst/>
              <a:gdLst>
                <a:gd name="T0" fmla="*/ 2147483647 w 294"/>
                <a:gd name="T1" fmla="*/ 2147483647 h 336"/>
                <a:gd name="T2" fmla="*/ 2147483647 w 294"/>
                <a:gd name="T3" fmla="*/ 2147483647 h 336"/>
                <a:gd name="T4" fmla="*/ 2147483647 w 294"/>
                <a:gd name="T5" fmla="*/ 2147483647 h 336"/>
                <a:gd name="T6" fmla="*/ 0 w 294"/>
                <a:gd name="T7" fmla="*/ 2147483647 h 336"/>
                <a:gd name="T8" fmla="*/ 2147483647 w 294"/>
                <a:gd name="T9" fmla="*/ 2147483647 h 336"/>
                <a:gd name="T10" fmla="*/ 2147483647 w 294"/>
                <a:gd name="T11" fmla="*/ 2147483647 h 336"/>
                <a:gd name="T12" fmla="*/ 2147483647 w 294"/>
                <a:gd name="T13" fmla="*/ 2147483647 h 336"/>
                <a:gd name="T14" fmla="*/ 2147483647 w 294"/>
                <a:gd name="T15" fmla="*/ 2147483647 h 336"/>
                <a:gd name="T16" fmla="*/ 2147483647 w 294"/>
                <a:gd name="T17" fmla="*/ 2147483647 h 336"/>
                <a:gd name="T18" fmla="*/ 2147483647 w 294"/>
                <a:gd name="T19" fmla="*/ 2147483647 h 336"/>
                <a:gd name="T20" fmla="*/ 2147483647 w 294"/>
                <a:gd name="T21" fmla="*/ 2147483647 h 336"/>
                <a:gd name="T22" fmla="*/ 2147483647 w 294"/>
                <a:gd name="T23" fmla="*/ 2147483647 h 336"/>
                <a:gd name="T24" fmla="*/ 2147483647 w 294"/>
                <a:gd name="T25" fmla="*/ 2147483647 h 336"/>
                <a:gd name="T26" fmla="*/ 2147483647 w 294"/>
                <a:gd name="T27" fmla="*/ 2147483647 h 336"/>
                <a:gd name="T28" fmla="*/ 2147483647 w 294"/>
                <a:gd name="T29" fmla="*/ 2147483647 h 336"/>
                <a:gd name="T30" fmla="*/ 2147483647 w 294"/>
                <a:gd name="T31" fmla="*/ 2147483647 h 336"/>
                <a:gd name="T32" fmla="*/ 2147483647 w 294"/>
                <a:gd name="T33" fmla="*/ 2147483647 h 336"/>
                <a:gd name="T34" fmla="*/ 2147483647 w 294"/>
                <a:gd name="T35" fmla="*/ 2147483647 h 336"/>
                <a:gd name="T36" fmla="*/ 2147483647 w 294"/>
                <a:gd name="T37" fmla="*/ 2147483647 h 336"/>
                <a:gd name="T38" fmla="*/ 2147483647 w 294"/>
                <a:gd name="T39" fmla="*/ 2147483647 h 336"/>
                <a:gd name="T40" fmla="*/ 2147483647 w 294"/>
                <a:gd name="T41" fmla="*/ 2147483647 h 336"/>
                <a:gd name="T42" fmla="*/ 2147483647 w 294"/>
                <a:gd name="T43" fmla="*/ 2147483647 h 336"/>
                <a:gd name="T44" fmla="*/ 2147483647 w 294"/>
                <a:gd name="T45" fmla="*/ 2147483647 h 336"/>
                <a:gd name="T46" fmla="*/ 2147483647 w 294"/>
                <a:gd name="T47" fmla="*/ 2147483647 h 336"/>
                <a:gd name="T48" fmla="*/ 2147483647 w 294"/>
                <a:gd name="T49" fmla="*/ 2147483647 h 336"/>
                <a:gd name="T50" fmla="*/ 2147483647 w 294"/>
                <a:gd name="T51" fmla="*/ 2147483647 h 336"/>
                <a:gd name="T52" fmla="*/ 2147483647 w 294"/>
                <a:gd name="T53" fmla="*/ 2147483647 h 336"/>
                <a:gd name="T54" fmla="*/ 2147483647 w 294"/>
                <a:gd name="T55" fmla="*/ 2147483647 h 336"/>
                <a:gd name="T56" fmla="*/ 2147483647 w 294"/>
                <a:gd name="T57" fmla="*/ 2147483647 h 336"/>
                <a:gd name="T58" fmla="*/ 2147483647 w 294"/>
                <a:gd name="T59" fmla="*/ 2147483647 h 336"/>
                <a:gd name="T60" fmla="*/ 2147483647 w 294"/>
                <a:gd name="T61" fmla="*/ 2147483647 h 336"/>
                <a:gd name="T62" fmla="*/ 2147483647 w 294"/>
                <a:gd name="T63" fmla="*/ 2147483647 h 336"/>
                <a:gd name="T64" fmla="*/ 2147483647 w 294"/>
                <a:gd name="T65" fmla="*/ 2147483647 h 336"/>
                <a:gd name="T66" fmla="*/ 2147483647 w 294"/>
                <a:gd name="T67" fmla="*/ 2147483647 h 336"/>
                <a:gd name="T68" fmla="*/ 2147483647 w 294"/>
                <a:gd name="T69" fmla="*/ 2147483647 h 336"/>
                <a:gd name="T70" fmla="*/ 2147483647 w 294"/>
                <a:gd name="T71" fmla="*/ 0 h 336"/>
                <a:gd name="T72" fmla="*/ 2147483647 w 294"/>
                <a:gd name="T73" fmla="*/ 2147483647 h 336"/>
                <a:gd name="T74" fmla="*/ 2147483647 w 294"/>
                <a:gd name="T75" fmla="*/ 2147483647 h 336"/>
                <a:gd name="T76" fmla="*/ 2147483647 w 294"/>
                <a:gd name="T77" fmla="*/ 2147483647 h 336"/>
                <a:gd name="T78" fmla="*/ 2147483647 w 294"/>
                <a:gd name="T79" fmla="*/ 2147483647 h 336"/>
                <a:gd name="T80" fmla="*/ 2147483647 w 294"/>
                <a:gd name="T81" fmla="*/ 2147483647 h 336"/>
                <a:gd name="T82" fmla="*/ 2147483647 w 294"/>
                <a:gd name="T83" fmla="*/ 2147483647 h 3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4"/>
                <a:gd name="T127" fmla="*/ 0 h 336"/>
                <a:gd name="T128" fmla="*/ 294 w 294"/>
                <a:gd name="T129" fmla="*/ 336 h 3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4" h="336">
                  <a:moveTo>
                    <a:pt x="60" y="78"/>
                  </a:moveTo>
                  <a:lnTo>
                    <a:pt x="30" y="78"/>
                  </a:lnTo>
                  <a:lnTo>
                    <a:pt x="18" y="84"/>
                  </a:lnTo>
                  <a:lnTo>
                    <a:pt x="12" y="90"/>
                  </a:lnTo>
                  <a:lnTo>
                    <a:pt x="12" y="132"/>
                  </a:lnTo>
                  <a:lnTo>
                    <a:pt x="6" y="138"/>
                  </a:lnTo>
                  <a:lnTo>
                    <a:pt x="0" y="150"/>
                  </a:lnTo>
                  <a:lnTo>
                    <a:pt x="0" y="162"/>
                  </a:lnTo>
                  <a:lnTo>
                    <a:pt x="6" y="168"/>
                  </a:lnTo>
                  <a:lnTo>
                    <a:pt x="6" y="174"/>
                  </a:lnTo>
                  <a:lnTo>
                    <a:pt x="12" y="174"/>
                  </a:lnTo>
                  <a:lnTo>
                    <a:pt x="12" y="186"/>
                  </a:lnTo>
                  <a:lnTo>
                    <a:pt x="18" y="198"/>
                  </a:lnTo>
                  <a:lnTo>
                    <a:pt x="24" y="204"/>
                  </a:lnTo>
                  <a:lnTo>
                    <a:pt x="30" y="216"/>
                  </a:lnTo>
                  <a:lnTo>
                    <a:pt x="42" y="216"/>
                  </a:lnTo>
                  <a:lnTo>
                    <a:pt x="42" y="210"/>
                  </a:lnTo>
                  <a:lnTo>
                    <a:pt x="54" y="198"/>
                  </a:lnTo>
                  <a:lnTo>
                    <a:pt x="54" y="216"/>
                  </a:lnTo>
                  <a:lnTo>
                    <a:pt x="48" y="222"/>
                  </a:lnTo>
                  <a:lnTo>
                    <a:pt x="48" y="246"/>
                  </a:lnTo>
                  <a:lnTo>
                    <a:pt x="54" y="258"/>
                  </a:lnTo>
                  <a:lnTo>
                    <a:pt x="72" y="276"/>
                  </a:lnTo>
                  <a:lnTo>
                    <a:pt x="78" y="294"/>
                  </a:lnTo>
                  <a:lnTo>
                    <a:pt x="84" y="306"/>
                  </a:lnTo>
                  <a:lnTo>
                    <a:pt x="90" y="312"/>
                  </a:lnTo>
                  <a:lnTo>
                    <a:pt x="90" y="318"/>
                  </a:lnTo>
                  <a:lnTo>
                    <a:pt x="102" y="324"/>
                  </a:lnTo>
                  <a:lnTo>
                    <a:pt x="108" y="324"/>
                  </a:lnTo>
                  <a:lnTo>
                    <a:pt x="132" y="336"/>
                  </a:lnTo>
                  <a:lnTo>
                    <a:pt x="150" y="336"/>
                  </a:lnTo>
                  <a:lnTo>
                    <a:pt x="156" y="330"/>
                  </a:lnTo>
                  <a:lnTo>
                    <a:pt x="150" y="324"/>
                  </a:lnTo>
                  <a:lnTo>
                    <a:pt x="150" y="318"/>
                  </a:lnTo>
                  <a:lnTo>
                    <a:pt x="138" y="306"/>
                  </a:lnTo>
                  <a:lnTo>
                    <a:pt x="138" y="282"/>
                  </a:lnTo>
                  <a:lnTo>
                    <a:pt x="150" y="276"/>
                  </a:lnTo>
                  <a:lnTo>
                    <a:pt x="156" y="276"/>
                  </a:lnTo>
                  <a:lnTo>
                    <a:pt x="156" y="288"/>
                  </a:lnTo>
                  <a:lnTo>
                    <a:pt x="180" y="288"/>
                  </a:lnTo>
                  <a:lnTo>
                    <a:pt x="192" y="282"/>
                  </a:lnTo>
                  <a:lnTo>
                    <a:pt x="198" y="276"/>
                  </a:lnTo>
                  <a:lnTo>
                    <a:pt x="210" y="270"/>
                  </a:lnTo>
                  <a:lnTo>
                    <a:pt x="216" y="270"/>
                  </a:lnTo>
                  <a:lnTo>
                    <a:pt x="222" y="282"/>
                  </a:lnTo>
                  <a:lnTo>
                    <a:pt x="228" y="288"/>
                  </a:lnTo>
                  <a:lnTo>
                    <a:pt x="246" y="294"/>
                  </a:lnTo>
                  <a:lnTo>
                    <a:pt x="252" y="282"/>
                  </a:lnTo>
                  <a:lnTo>
                    <a:pt x="258" y="276"/>
                  </a:lnTo>
                  <a:lnTo>
                    <a:pt x="258" y="264"/>
                  </a:lnTo>
                  <a:lnTo>
                    <a:pt x="264" y="264"/>
                  </a:lnTo>
                  <a:lnTo>
                    <a:pt x="276" y="258"/>
                  </a:lnTo>
                  <a:lnTo>
                    <a:pt x="270" y="222"/>
                  </a:lnTo>
                  <a:lnTo>
                    <a:pt x="288" y="204"/>
                  </a:lnTo>
                  <a:lnTo>
                    <a:pt x="288" y="198"/>
                  </a:lnTo>
                  <a:lnTo>
                    <a:pt x="282" y="186"/>
                  </a:lnTo>
                  <a:lnTo>
                    <a:pt x="264" y="168"/>
                  </a:lnTo>
                  <a:lnTo>
                    <a:pt x="258" y="156"/>
                  </a:lnTo>
                  <a:lnTo>
                    <a:pt x="258" y="144"/>
                  </a:lnTo>
                  <a:lnTo>
                    <a:pt x="252" y="126"/>
                  </a:lnTo>
                  <a:lnTo>
                    <a:pt x="252" y="96"/>
                  </a:lnTo>
                  <a:lnTo>
                    <a:pt x="258" y="78"/>
                  </a:lnTo>
                  <a:lnTo>
                    <a:pt x="264" y="66"/>
                  </a:lnTo>
                  <a:lnTo>
                    <a:pt x="276" y="60"/>
                  </a:lnTo>
                  <a:lnTo>
                    <a:pt x="282" y="54"/>
                  </a:lnTo>
                  <a:lnTo>
                    <a:pt x="288" y="54"/>
                  </a:lnTo>
                  <a:lnTo>
                    <a:pt x="288" y="30"/>
                  </a:lnTo>
                  <a:lnTo>
                    <a:pt x="294" y="12"/>
                  </a:lnTo>
                  <a:lnTo>
                    <a:pt x="288" y="12"/>
                  </a:lnTo>
                  <a:lnTo>
                    <a:pt x="282" y="6"/>
                  </a:lnTo>
                  <a:lnTo>
                    <a:pt x="270" y="6"/>
                  </a:lnTo>
                  <a:lnTo>
                    <a:pt x="252" y="0"/>
                  </a:lnTo>
                  <a:lnTo>
                    <a:pt x="210" y="0"/>
                  </a:lnTo>
                  <a:lnTo>
                    <a:pt x="204" y="12"/>
                  </a:lnTo>
                  <a:lnTo>
                    <a:pt x="156" y="6"/>
                  </a:lnTo>
                  <a:lnTo>
                    <a:pt x="156" y="18"/>
                  </a:lnTo>
                  <a:lnTo>
                    <a:pt x="96" y="0"/>
                  </a:lnTo>
                  <a:lnTo>
                    <a:pt x="72" y="6"/>
                  </a:lnTo>
                  <a:lnTo>
                    <a:pt x="66" y="18"/>
                  </a:lnTo>
                  <a:lnTo>
                    <a:pt x="60" y="24"/>
                  </a:lnTo>
                  <a:lnTo>
                    <a:pt x="54" y="36"/>
                  </a:lnTo>
                  <a:lnTo>
                    <a:pt x="54" y="48"/>
                  </a:lnTo>
                  <a:lnTo>
                    <a:pt x="66" y="60"/>
                  </a:lnTo>
                  <a:lnTo>
                    <a:pt x="66" y="72"/>
                  </a:lnTo>
                  <a:lnTo>
                    <a:pt x="60" y="78"/>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55" name="Südsudan">
              <a:extLst>
                <a:ext uri="{FF2B5EF4-FFF2-40B4-BE49-F238E27FC236}">
                  <a16:creationId xmlns:a16="http://schemas.microsoft.com/office/drawing/2014/main" id="{2E24BB15-FB86-49C1-B8A7-5AF0BC22C407}"/>
                </a:ext>
              </a:extLst>
            </p:cNvPr>
            <p:cNvSpPr>
              <a:spLocks/>
            </p:cNvSpPr>
            <p:nvPr/>
          </p:nvSpPr>
          <p:spPr bwMode="gray">
            <a:xfrm>
              <a:off x="4803903" y="3856924"/>
              <a:ext cx="340656" cy="285796"/>
            </a:xfrm>
            <a:custGeom>
              <a:avLst/>
              <a:gdLst/>
              <a:ahLst/>
              <a:cxnLst>
                <a:cxn ang="0">
                  <a:pos x="269" y="52"/>
                </a:cxn>
                <a:cxn ang="0">
                  <a:pos x="265" y="38"/>
                </a:cxn>
                <a:cxn ang="0">
                  <a:pos x="262" y="19"/>
                </a:cxn>
                <a:cxn ang="0">
                  <a:pos x="253" y="3"/>
                </a:cxn>
                <a:cxn ang="0">
                  <a:pos x="241" y="17"/>
                </a:cxn>
                <a:cxn ang="0">
                  <a:pos x="229" y="50"/>
                </a:cxn>
                <a:cxn ang="0">
                  <a:pos x="194" y="83"/>
                </a:cxn>
                <a:cxn ang="0">
                  <a:pos x="156" y="71"/>
                </a:cxn>
                <a:cxn ang="0">
                  <a:pos x="130" y="95"/>
                </a:cxn>
                <a:cxn ang="0">
                  <a:pos x="109" y="88"/>
                </a:cxn>
                <a:cxn ang="0">
                  <a:pos x="71" y="93"/>
                </a:cxn>
                <a:cxn ang="0">
                  <a:pos x="57" y="76"/>
                </a:cxn>
                <a:cxn ang="0">
                  <a:pos x="49" y="69"/>
                </a:cxn>
                <a:cxn ang="0">
                  <a:pos x="26" y="64"/>
                </a:cxn>
                <a:cxn ang="0">
                  <a:pos x="16" y="90"/>
                </a:cxn>
                <a:cxn ang="0">
                  <a:pos x="7" y="104"/>
                </a:cxn>
                <a:cxn ang="0">
                  <a:pos x="7" y="109"/>
                </a:cxn>
                <a:cxn ang="0">
                  <a:pos x="0" y="119"/>
                </a:cxn>
                <a:cxn ang="0">
                  <a:pos x="12" y="135"/>
                </a:cxn>
                <a:cxn ang="0">
                  <a:pos x="28" y="142"/>
                </a:cxn>
                <a:cxn ang="0">
                  <a:pos x="38" y="152"/>
                </a:cxn>
                <a:cxn ang="0">
                  <a:pos x="33" y="154"/>
                </a:cxn>
                <a:cxn ang="0">
                  <a:pos x="42" y="164"/>
                </a:cxn>
                <a:cxn ang="0">
                  <a:pos x="54" y="173"/>
                </a:cxn>
                <a:cxn ang="0">
                  <a:pos x="59" y="182"/>
                </a:cxn>
                <a:cxn ang="0">
                  <a:pos x="68" y="190"/>
                </a:cxn>
                <a:cxn ang="0">
                  <a:pos x="68" y="197"/>
                </a:cxn>
                <a:cxn ang="0">
                  <a:pos x="83" y="208"/>
                </a:cxn>
                <a:cxn ang="0">
                  <a:pos x="92" y="218"/>
                </a:cxn>
                <a:cxn ang="0">
                  <a:pos x="106" y="241"/>
                </a:cxn>
                <a:cxn ang="0">
                  <a:pos x="127" y="258"/>
                </a:cxn>
                <a:cxn ang="0">
                  <a:pos x="137" y="251"/>
                </a:cxn>
                <a:cxn ang="0">
                  <a:pos x="146" y="258"/>
                </a:cxn>
                <a:cxn ang="0">
                  <a:pos x="156" y="251"/>
                </a:cxn>
                <a:cxn ang="0">
                  <a:pos x="168" y="251"/>
                </a:cxn>
                <a:cxn ang="0">
                  <a:pos x="177" y="267"/>
                </a:cxn>
                <a:cxn ang="0">
                  <a:pos x="187" y="272"/>
                </a:cxn>
                <a:cxn ang="0">
                  <a:pos x="203" y="275"/>
                </a:cxn>
                <a:cxn ang="0">
                  <a:pos x="215" y="279"/>
                </a:cxn>
                <a:cxn ang="0">
                  <a:pos x="222" y="275"/>
                </a:cxn>
                <a:cxn ang="0">
                  <a:pos x="243" y="277"/>
                </a:cxn>
                <a:cxn ang="0">
                  <a:pos x="262" y="272"/>
                </a:cxn>
                <a:cxn ang="0">
                  <a:pos x="274" y="277"/>
                </a:cxn>
                <a:cxn ang="0">
                  <a:pos x="283" y="265"/>
                </a:cxn>
                <a:cxn ang="0">
                  <a:pos x="295" y="251"/>
                </a:cxn>
                <a:cxn ang="0">
                  <a:pos x="340" y="239"/>
                </a:cxn>
                <a:cxn ang="0">
                  <a:pos x="335" y="225"/>
                </a:cxn>
                <a:cxn ang="0">
                  <a:pos x="316" y="208"/>
                </a:cxn>
                <a:cxn ang="0">
                  <a:pos x="312" y="185"/>
                </a:cxn>
                <a:cxn ang="0">
                  <a:pos x="293" y="175"/>
                </a:cxn>
                <a:cxn ang="0">
                  <a:pos x="286" y="159"/>
                </a:cxn>
                <a:cxn ang="0">
                  <a:pos x="276" y="149"/>
                </a:cxn>
                <a:cxn ang="0">
                  <a:pos x="260" y="147"/>
                </a:cxn>
                <a:cxn ang="0">
                  <a:pos x="265" y="135"/>
                </a:cxn>
                <a:cxn ang="0">
                  <a:pos x="279" y="128"/>
                </a:cxn>
                <a:cxn ang="0">
                  <a:pos x="288" y="123"/>
                </a:cxn>
                <a:cxn ang="0">
                  <a:pos x="291" y="100"/>
                </a:cxn>
                <a:cxn ang="0">
                  <a:pos x="286" y="88"/>
                </a:cxn>
                <a:cxn ang="0">
                  <a:pos x="291" y="76"/>
                </a:cxn>
              </a:cxnLst>
              <a:rect l="0" t="0" r="r" b="b"/>
              <a:pathLst>
                <a:path w="342" h="286">
                  <a:moveTo>
                    <a:pt x="286" y="67"/>
                  </a:moveTo>
                  <a:lnTo>
                    <a:pt x="279" y="60"/>
                  </a:lnTo>
                  <a:lnTo>
                    <a:pt x="269" y="52"/>
                  </a:lnTo>
                  <a:lnTo>
                    <a:pt x="262" y="48"/>
                  </a:lnTo>
                  <a:lnTo>
                    <a:pt x="265" y="43"/>
                  </a:lnTo>
                  <a:lnTo>
                    <a:pt x="265" y="38"/>
                  </a:lnTo>
                  <a:lnTo>
                    <a:pt x="262" y="31"/>
                  </a:lnTo>
                  <a:lnTo>
                    <a:pt x="260" y="22"/>
                  </a:lnTo>
                  <a:lnTo>
                    <a:pt x="262" y="19"/>
                  </a:lnTo>
                  <a:lnTo>
                    <a:pt x="262" y="10"/>
                  </a:lnTo>
                  <a:lnTo>
                    <a:pt x="265" y="0"/>
                  </a:lnTo>
                  <a:lnTo>
                    <a:pt x="253" y="3"/>
                  </a:lnTo>
                  <a:lnTo>
                    <a:pt x="253" y="10"/>
                  </a:lnTo>
                  <a:lnTo>
                    <a:pt x="234" y="10"/>
                  </a:lnTo>
                  <a:lnTo>
                    <a:pt x="241" y="17"/>
                  </a:lnTo>
                  <a:lnTo>
                    <a:pt x="241" y="34"/>
                  </a:lnTo>
                  <a:lnTo>
                    <a:pt x="243" y="41"/>
                  </a:lnTo>
                  <a:lnTo>
                    <a:pt x="229" y="50"/>
                  </a:lnTo>
                  <a:lnTo>
                    <a:pt x="224" y="62"/>
                  </a:lnTo>
                  <a:lnTo>
                    <a:pt x="208" y="83"/>
                  </a:lnTo>
                  <a:lnTo>
                    <a:pt x="194" y="83"/>
                  </a:lnTo>
                  <a:lnTo>
                    <a:pt x="184" y="74"/>
                  </a:lnTo>
                  <a:lnTo>
                    <a:pt x="168" y="64"/>
                  </a:lnTo>
                  <a:lnTo>
                    <a:pt x="156" y="71"/>
                  </a:lnTo>
                  <a:lnTo>
                    <a:pt x="153" y="83"/>
                  </a:lnTo>
                  <a:lnTo>
                    <a:pt x="139" y="83"/>
                  </a:lnTo>
                  <a:lnTo>
                    <a:pt x="130" y="95"/>
                  </a:lnTo>
                  <a:lnTo>
                    <a:pt x="111" y="95"/>
                  </a:lnTo>
                  <a:lnTo>
                    <a:pt x="111" y="95"/>
                  </a:lnTo>
                  <a:lnTo>
                    <a:pt x="109" y="88"/>
                  </a:lnTo>
                  <a:lnTo>
                    <a:pt x="104" y="86"/>
                  </a:lnTo>
                  <a:lnTo>
                    <a:pt x="80" y="88"/>
                  </a:lnTo>
                  <a:lnTo>
                    <a:pt x="71" y="93"/>
                  </a:lnTo>
                  <a:lnTo>
                    <a:pt x="61" y="86"/>
                  </a:lnTo>
                  <a:lnTo>
                    <a:pt x="59" y="83"/>
                  </a:lnTo>
                  <a:lnTo>
                    <a:pt x="57" y="76"/>
                  </a:lnTo>
                  <a:lnTo>
                    <a:pt x="57" y="74"/>
                  </a:lnTo>
                  <a:lnTo>
                    <a:pt x="52" y="71"/>
                  </a:lnTo>
                  <a:lnTo>
                    <a:pt x="49" y="69"/>
                  </a:lnTo>
                  <a:lnTo>
                    <a:pt x="47" y="60"/>
                  </a:lnTo>
                  <a:lnTo>
                    <a:pt x="35" y="62"/>
                  </a:lnTo>
                  <a:lnTo>
                    <a:pt x="26" y="64"/>
                  </a:lnTo>
                  <a:lnTo>
                    <a:pt x="23" y="71"/>
                  </a:lnTo>
                  <a:lnTo>
                    <a:pt x="16" y="81"/>
                  </a:lnTo>
                  <a:lnTo>
                    <a:pt x="16" y="90"/>
                  </a:lnTo>
                  <a:lnTo>
                    <a:pt x="12" y="90"/>
                  </a:lnTo>
                  <a:lnTo>
                    <a:pt x="12" y="100"/>
                  </a:lnTo>
                  <a:lnTo>
                    <a:pt x="7" y="104"/>
                  </a:lnTo>
                  <a:lnTo>
                    <a:pt x="7" y="107"/>
                  </a:lnTo>
                  <a:lnTo>
                    <a:pt x="7" y="109"/>
                  </a:lnTo>
                  <a:lnTo>
                    <a:pt x="7" y="109"/>
                  </a:lnTo>
                  <a:lnTo>
                    <a:pt x="2" y="112"/>
                  </a:lnTo>
                  <a:lnTo>
                    <a:pt x="0" y="114"/>
                  </a:lnTo>
                  <a:lnTo>
                    <a:pt x="0" y="119"/>
                  </a:lnTo>
                  <a:lnTo>
                    <a:pt x="2" y="119"/>
                  </a:lnTo>
                  <a:lnTo>
                    <a:pt x="2" y="130"/>
                  </a:lnTo>
                  <a:lnTo>
                    <a:pt x="12" y="135"/>
                  </a:lnTo>
                  <a:lnTo>
                    <a:pt x="26" y="135"/>
                  </a:lnTo>
                  <a:lnTo>
                    <a:pt x="26" y="142"/>
                  </a:lnTo>
                  <a:lnTo>
                    <a:pt x="28" y="142"/>
                  </a:lnTo>
                  <a:lnTo>
                    <a:pt x="33" y="145"/>
                  </a:lnTo>
                  <a:lnTo>
                    <a:pt x="38" y="149"/>
                  </a:lnTo>
                  <a:lnTo>
                    <a:pt x="38" y="152"/>
                  </a:lnTo>
                  <a:lnTo>
                    <a:pt x="35" y="152"/>
                  </a:lnTo>
                  <a:lnTo>
                    <a:pt x="35" y="154"/>
                  </a:lnTo>
                  <a:lnTo>
                    <a:pt x="33" y="154"/>
                  </a:lnTo>
                  <a:lnTo>
                    <a:pt x="33" y="156"/>
                  </a:lnTo>
                  <a:lnTo>
                    <a:pt x="38" y="161"/>
                  </a:lnTo>
                  <a:lnTo>
                    <a:pt x="42" y="164"/>
                  </a:lnTo>
                  <a:lnTo>
                    <a:pt x="45" y="164"/>
                  </a:lnTo>
                  <a:lnTo>
                    <a:pt x="49" y="166"/>
                  </a:lnTo>
                  <a:lnTo>
                    <a:pt x="54" y="173"/>
                  </a:lnTo>
                  <a:lnTo>
                    <a:pt x="57" y="178"/>
                  </a:lnTo>
                  <a:lnTo>
                    <a:pt x="59" y="180"/>
                  </a:lnTo>
                  <a:lnTo>
                    <a:pt x="59" y="182"/>
                  </a:lnTo>
                  <a:lnTo>
                    <a:pt x="66" y="182"/>
                  </a:lnTo>
                  <a:lnTo>
                    <a:pt x="68" y="185"/>
                  </a:lnTo>
                  <a:lnTo>
                    <a:pt x="68" y="190"/>
                  </a:lnTo>
                  <a:lnTo>
                    <a:pt x="64" y="190"/>
                  </a:lnTo>
                  <a:lnTo>
                    <a:pt x="64" y="192"/>
                  </a:lnTo>
                  <a:lnTo>
                    <a:pt x="68" y="197"/>
                  </a:lnTo>
                  <a:lnTo>
                    <a:pt x="68" y="204"/>
                  </a:lnTo>
                  <a:lnTo>
                    <a:pt x="80" y="206"/>
                  </a:lnTo>
                  <a:lnTo>
                    <a:pt x="83" y="208"/>
                  </a:lnTo>
                  <a:lnTo>
                    <a:pt x="87" y="211"/>
                  </a:lnTo>
                  <a:lnTo>
                    <a:pt x="90" y="213"/>
                  </a:lnTo>
                  <a:lnTo>
                    <a:pt x="92" y="218"/>
                  </a:lnTo>
                  <a:lnTo>
                    <a:pt x="92" y="227"/>
                  </a:lnTo>
                  <a:lnTo>
                    <a:pt x="94" y="232"/>
                  </a:lnTo>
                  <a:lnTo>
                    <a:pt x="106" y="241"/>
                  </a:lnTo>
                  <a:lnTo>
                    <a:pt x="106" y="251"/>
                  </a:lnTo>
                  <a:lnTo>
                    <a:pt x="125" y="260"/>
                  </a:lnTo>
                  <a:lnTo>
                    <a:pt x="127" y="258"/>
                  </a:lnTo>
                  <a:lnTo>
                    <a:pt x="130" y="253"/>
                  </a:lnTo>
                  <a:lnTo>
                    <a:pt x="132" y="251"/>
                  </a:lnTo>
                  <a:lnTo>
                    <a:pt x="137" y="251"/>
                  </a:lnTo>
                  <a:lnTo>
                    <a:pt x="142" y="253"/>
                  </a:lnTo>
                  <a:lnTo>
                    <a:pt x="142" y="256"/>
                  </a:lnTo>
                  <a:lnTo>
                    <a:pt x="146" y="258"/>
                  </a:lnTo>
                  <a:lnTo>
                    <a:pt x="149" y="258"/>
                  </a:lnTo>
                  <a:lnTo>
                    <a:pt x="156" y="253"/>
                  </a:lnTo>
                  <a:lnTo>
                    <a:pt x="156" y="251"/>
                  </a:lnTo>
                  <a:lnTo>
                    <a:pt x="161" y="246"/>
                  </a:lnTo>
                  <a:lnTo>
                    <a:pt x="163" y="249"/>
                  </a:lnTo>
                  <a:lnTo>
                    <a:pt x="168" y="251"/>
                  </a:lnTo>
                  <a:lnTo>
                    <a:pt x="170" y="258"/>
                  </a:lnTo>
                  <a:lnTo>
                    <a:pt x="172" y="263"/>
                  </a:lnTo>
                  <a:lnTo>
                    <a:pt x="177" y="267"/>
                  </a:lnTo>
                  <a:lnTo>
                    <a:pt x="182" y="270"/>
                  </a:lnTo>
                  <a:lnTo>
                    <a:pt x="184" y="272"/>
                  </a:lnTo>
                  <a:lnTo>
                    <a:pt x="187" y="272"/>
                  </a:lnTo>
                  <a:lnTo>
                    <a:pt x="189" y="282"/>
                  </a:lnTo>
                  <a:lnTo>
                    <a:pt x="196" y="282"/>
                  </a:lnTo>
                  <a:lnTo>
                    <a:pt x="203" y="275"/>
                  </a:lnTo>
                  <a:lnTo>
                    <a:pt x="208" y="275"/>
                  </a:lnTo>
                  <a:lnTo>
                    <a:pt x="210" y="277"/>
                  </a:lnTo>
                  <a:lnTo>
                    <a:pt x="215" y="279"/>
                  </a:lnTo>
                  <a:lnTo>
                    <a:pt x="220" y="279"/>
                  </a:lnTo>
                  <a:lnTo>
                    <a:pt x="220" y="277"/>
                  </a:lnTo>
                  <a:lnTo>
                    <a:pt x="222" y="275"/>
                  </a:lnTo>
                  <a:lnTo>
                    <a:pt x="224" y="275"/>
                  </a:lnTo>
                  <a:lnTo>
                    <a:pt x="236" y="286"/>
                  </a:lnTo>
                  <a:lnTo>
                    <a:pt x="243" y="277"/>
                  </a:lnTo>
                  <a:lnTo>
                    <a:pt x="253" y="277"/>
                  </a:lnTo>
                  <a:lnTo>
                    <a:pt x="257" y="272"/>
                  </a:lnTo>
                  <a:lnTo>
                    <a:pt x="262" y="272"/>
                  </a:lnTo>
                  <a:lnTo>
                    <a:pt x="262" y="275"/>
                  </a:lnTo>
                  <a:lnTo>
                    <a:pt x="265" y="277"/>
                  </a:lnTo>
                  <a:lnTo>
                    <a:pt x="274" y="277"/>
                  </a:lnTo>
                  <a:lnTo>
                    <a:pt x="281" y="270"/>
                  </a:lnTo>
                  <a:lnTo>
                    <a:pt x="281" y="267"/>
                  </a:lnTo>
                  <a:lnTo>
                    <a:pt x="283" y="265"/>
                  </a:lnTo>
                  <a:lnTo>
                    <a:pt x="283" y="263"/>
                  </a:lnTo>
                  <a:lnTo>
                    <a:pt x="288" y="263"/>
                  </a:lnTo>
                  <a:lnTo>
                    <a:pt x="295" y="251"/>
                  </a:lnTo>
                  <a:lnTo>
                    <a:pt x="333" y="251"/>
                  </a:lnTo>
                  <a:lnTo>
                    <a:pt x="342" y="246"/>
                  </a:lnTo>
                  <a:lnTo>
                    <a:pt x="340" y="239"/>
                  </a:lnTo>
                  <a:lnTo>
                    <a:pt x="340" y="232"/>
                  </a:lnTo>
                  <a:lnTo>
                    <a:pt x="338" y="227"/>
                  </a:lnTo>
                  <a:lnTo>
                    <a:pt x="335" y="225"/>
                  </a:lnTo>
                  <a:lnTo>
                    <a:pt x="328" y="225"/>
                  </a:lnTo>
                  <a:lnTo>
                    <a:pt x="324" y="223"/>
                  </a:lnTo>
                  <a:lnTo>
                    <a:pt x="316" y="208"/>
                  </a:lnTo>
                  <a:lnTo>
                    <a:pt x="316" y="201"/>
                  </a:lnTo>
                  <a:lnTo>
                    <a:pt x="312" y="199"/>
                  </a:lnTo>
                  <a:lnTo>
                    <a:pt x="312" y="185"/>
                  </a:lnTo>
                  <a:lnTo>
                    <a:pt x="305" y="185"/>
                  </a:lnTo>
                  <a:lnTo>
                    <a:pt x="302" y="175"/>
                  </a:lnTo>
                  <a:lnTo>
                    <a:pt x="293" y="175"/>
                  </a:lnTo>
                  <a:lnTo>
                    <a:pt x="291" y="168"/>
                  </a:lnTo>
                  <a:lnTo>
                    <a:pt x="291" y="161"/>
                  </a:lnTo>
                  <a:lnTo>
                    <a:pt x="286" y="159"/>
                  </a:lnTo>
                  <a:lnTo>
                    <a:pt x="283" y="154"/>
                  </a:lnTo>
                  <a:lnTo>
                    <a:pt x="279" y="152"/>
                  </a:lnTo>
                  <a:lnTo>
                    <a:pt x="276" y="149"/>
                  </a:lnTo>
                  <a:lnTo>
                    <a:pt x="267" y="149"/>
                  </a:lnTo>
                  <a:lnTo>
                    <a:pt x="262" y="147"/>
                  </a:lnTo>
                  <a:lnTo>
                    <a:pt x="260" y="147"/>
                  </a:lnTo>
                  <a:lnTo>
                    <a:pt x="260" y="142"/>
                  </a:lnTo>
                  <a:lnTo>
                    <a:pt x="262" y="138"/>
                  </a:lnTo>
                  <a:lnTo>
                    <a:pt x="265" y="135"/>
                  </a:lnTo>
                  <a:lnTo>
                    <a:pt x="262" y="126"/>
                  </a:lnTo>
                  <a:lnTo>
                    <a:pt x="276" y="126"/>
                  </a:lnTo>
                  <a:lnTo>
                    <a:pt x="279" y="128"/>
                  </a:lnTo>
                  <a:lnTo>
                    <a:pt x="281" y="126"/>
                  </a:lnTo>
                  <a:lnTo>
                    <a:pt x="286" y="126"/>
                  </a:lnTo>
                  <a:lnTo>
                    <a:pt x="288" y="123"/>
                  </a:lnTo>
                  <a:lnTo>
                    <a:pt x="288" y="119"/>
                  </a:lnTo>
                  <a:lnTo>
                    <a:pt x="291" y="114"/>
                  </a:lnTo>
                  <a:lnTo>
                    <a:pt x="291" y="100"/>
                  </a:lnTo>
                  <a:lnTo>
                    <a:pt x="288" y="97"/>
                  </a:lnTo>
                  <a:lnTo>
                    <a:pt x="288" y="93"/>
                  </a:lnTo>
                  <a:lnTo>
                    <a:pt x="286" y="88"/>
                  </a:lnTo>
                  <a:lnTo>
                    <a:pt x="286" y="83"/>
                  </a:lnTo>
                  <a:lnTo>
                    <a:pt x="288" y="78"/>
                  </a:lnTo>
                  <a:lnTo>
                    <a:pt x="291" y="76"/>
                  </a:lnTo>
                  <a:lnTo>
                    <a:pt x="288" y="71"/>
                  </a:lnTo>
                  <a:lnTo>
                    <a:pt x="286" y="67"/>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56" name="Süd Africa" descr="© INSCALE GmbH, 05.05.2010&#10;http://www.presentationload.com/">
              <a:extLst>
                <a:ext uri="{FF2B5EF4-FFF2-40B4-BE49-F238E27FC236}">
                  <a16:creationId xmlns:a16="http://schemas.microsoft.com/office/drawing/2014/main" id="{3E8A9A20-AB5A-4A3D-98A5-C3AE04439E30}"/>
                </a:ext>
              </a:extLst>
            </p:cNvPr>
            <p:cNvSpPr>
              <a:spLocks noEditPoints="1"/>
            </p:cNvSpPr>
            <p:nvPr/>
          </p:nvSpPr>
          <p:spPr bwMode="gray">
            <a:xfrm>
              <a:off x="4587222" y="4962945"/>
              <a:ext cx="451591" cy="406119"/>
            </a:xfrm>
            <a:custGeom>
              <a:avLst/>
              <a:gdLst>
                <a:gd name="T0" fmla="*/ 2147483647 w 1134"/>
                <a:gd name="T1" fmla="*/ 2147483647 h 1020"/>
                <a:gd name="T2" fmla="*/ 2147483647 w 1134"/>
                <a:gd name="T3" fmla="*/ 2147483647 h 1020"/>
                <a:gd name="T4" fmla="*/ 2147483647 w 1134"/>
                <a:gd name="T5" fmla="*/ 2147483647 h 1020"/>
                <a:gd name="T6" fmla="*/ 2147483647 w 1134"/>
                <a:gd name="T7" fmla="*/ 2147483647 h 1020"/>
                <a:gd name="T8" fmla="*/ 2147483647 w 1134"/>
                <a:gd name="T9" fmla="*/ 2147483647 h 1020"/>
                <a:gd name="T10" fmla="*/ 2147483647 w 1134"/>
                <a:gd name="T11" fmla="*/ 2147483647 h 1020"/>
                <a:gd name="T12" fmla="*/ 2147483647 w 1134"/>
                <a:gd name="T13" fmla="*/ 2147483647 h 1020"/>
                <a:gd name="T14" fmla="*/ 2147483647 w 1134"/>
                <a:gd name="T15" fmla="*/ 2147483647 h 1020"/>
                <a:gd name="T16" fmla="*/ 2147483647 w 1134"/>
                <a:gd name="T17" fmla="*/ 2147483647 h 1020"/>
                <a:gd name="T18" fmla="*/ 2147483647 w 1134"/>
                <a:gd name="T19" fmla="*/ 2147483647 h 1020"/>
                <a:gd name="T20" fmla="*/ 2147483647 w 1134"/>
                <a:gd name="T21" fmla="*/ 2147483647 h 1020"/>
                <a:gd name="T22" fmla="*/ 2147483647 w 1134"/>
                <a:gd name="T23" fmla="*/ 2147483647 h 1020"/>
                <a:gd name="T24" fmla="*/ 2147483647 w 1134"/>
                <a:gd name="T25" fmla="*/ 2147483647 h 1020"/>
                <a:gd name="T26" fmla="*/ 2147483647 w 1134"/>
                <a:gd name="T27" fmla="*/ 2147483647 h 1020"/>
                <a:gd name="T28" fmla="*/ 2147483647 w 1134"/>
                <a:gd name="T29" fmla="*/ 2147483647 h 1020"/>
                <a:gd name="T30" fmla="*/ 2147483647 w 1134"/>
                <a:gd name="T31" fmla="*/ 2147483647 h 1020"/>
                <a:gd name="T32" fmla="*/ 2147483647 w 1134"/>
                <a:gd name="T33" fmla="*/ 2147483647 h 1020"/>
                <a:gd name="T34" fmla="*/ 2147483647 w 1134"/>
                <a:gd name="T35" fmla="*/ 2147483647 h 1020"/>
                <a:gd name="T36" fmla="*/ 2147483647 w 1134"/>
                <a:gd name="T37" fmla="*/ 2147483647 h 1020"/>
                <a:gd name="T38" fmla="*/ 2147483647 w 1134"/>
                <a:gd name="T39" fmla="*/ 2147483647 h 1020"/>
                <a:gd name="T40" fmla="*/ 2147483647 w 1134"/>
                <a:gd name="T41" fmla="*/ 2147483647 h 1020"/>
                <a:gd name="T42" fmla="*/ 2147483647 w 1134"/>
                <a:gd name="T43" fmla="*/ 2147483647 h 1020"/>
                <a:gd name="T44" fmla="*/ 2147483647 w 1134"/>
                <a:gd name="T45" fmla="*/ 2147483647 h 1020"/>
                <a:gd name="T46" fmla="*/ 2147483647 w 1134"/>
                <a:gd name="T47" fmla="*/ 2147483647 h 1020"/>
                <a:gd name="T48" fmla="*/ 2147483647 w 1134"/>
                <a:gd name="T49" fmla="*/ 2147483647 h 1020"/>
                <a:gd name="T50" fmla="*/ 2147483647 w 1134"/>
                <a:gd name="T51" fmla="*/ 2147483647 h 1020"/>
                <a:gd name="T52" fmla="*/ 2147483647 w 1134"/>
                <a:gd name="T53" fmla="*/ 2147483647 h 1020"/>
                <a:gd name="T54" fmla="*/ 2147483647 w 1134"/>
                <a:gd name="T55" fmla="*/ 2147483647 h 1020"/>
                <a:gd name="T56" fmla="*/ 2147483647 w 1134"/>
                <a:gd name="T57" fmla="*/ 2147483647 h 1020"/>
                <a:gd name="T58" fmla="*/ 2147483647 w 1134"/>
                <a:gd name="T59" fmla="*/ 2147483647 h 1020"/>
                <a:gd name="T60" fmla="*/ 2147483647 w 1134"/>
                <a:gd name="T61" fmla="*/ 2147483647 h 1020"/>
                <a:gd name="T62" fmla="*/ 0 w 1134"/>
                <a:gd name="T63" fmla="*/ 2147483647 h 1020"/>
                <a:gd name="T64" fmla="*/ 2147483647 w 1134"/>
                <a:gd name="T65" fmla="*/ 2147483647 h 1020"/>
                <a:gd name="T66" fmla="*/ 2147483647 w 1134"/>
                <a:gd name="T67" fmla="*/ 2147483647 h 1020"/>
                <a:gd name="T68" fmla="*/ 2147483647 w 1134"/>
                <a:gd name="T69" fmla="*/ 2147483647 h 1020"/>
                <a:gd name="T70" fmla="*/ 2147483647 w 1134"/>
                <a:gd name="T71" fmla="*/ 2147483647 h 1020"/>
                <a:gd name="T72" fmla="*/ 2147483647 w 1134"/>
                <a:gd name="T73" fmla="*/ 2147483647 h 1020"/>
                <a:gd name="T74" fmla="*/ 2147483647 w 1134"/>
                <a:gd name="T75" fmla="*/ 2147483647 h 1020"/>
                <a:gd name="T76" fmla="*/ 2147483647 w 1134"/>
                <a:gd name="T77" fmla="*/ 2147483647 h 1020"/>
                <a:gd name="T78" fmla="*/ 2147483647 w 1134"/>
                <a:gd name="T79" fmla="*/ 2147483647 h 1020"/>
                <a:gd name="T80" fmla="*/ 2147483647 w 1134"/>
                <a:gd name="T81" fmla="*/ 2147483647 h 1020"/>
                <a:gd name="T82" fmla="*/ 2147483647 w 1134"/>
                <a:gd name="T83" fmla="*/ 2147483647 h 1020"/>
                <a:gd name="T84" fmla="*/ 2147483647 w 1134"/>
                <a:gd name="T85" fmla="*/ 2147483647 h 1020"/>
                <a:gd name="T86" fmla="*/ 2147483647 w 1134"/>
                <a:gd name="T87" fmla="*/ 2147483647 h 1020"/>
                <a:gd name="T88" fmla="*/ 2147483647 w 1134"/>
                <a:gd name="T89" fmla="*/ 2147483647 h 1020"/>
                <a:gd name="T90" fmla="*/ 2147483647 w 1134"/>
                <a:gd name="T91" fmla="*/ 2147483647 h 1020"/>
                <a:gd name="T92" fmla="*/ 2147483647 w 1134"/>
                <a:gd name="T93" fmla="*/ 2147483647 h 1020"/>
                <a:gd name="T94" fmla="*/ 2147483647 w 1134"/>
                <a:gd name="T95" fmla="*/ 2147483647 h 1020"/>
                <a:gd name="T96" fmla="*/ 2147483647 w 1134"/>
                <a:gd name="T97" fmla="*/ 2147483647 h 1020"/>
                <a:gd name="T98" fmla="*/ 2147483647 w 1134"/>
                <a:gd name="T99" fmla="*/ 2147483647 h 1020"/>
                <a:gd name="T100" fmla="*/ 2147483647 w 1134"/>
                <a:gd name="T101" fmla="*/ 2147483647 h 1020"/>
                <a:gd name="T102" fmla="*/ 2147483647 w 1134"/>
                <a:gd name="T103" fmla="*/ 2147483647 h 1020"/>
                <a:gd name="T104" fmla="*/ 2147483647 w 1134"/>
                <a:gd name="T105" fmla="*/ 2147483647 h 1020"/>
                <a:gd name="T106" fmla="*/ 2147483647 w 1134"/>
                <a:gd name="T107" fmla="*/ 2147483647 h 1020"/>
                <a:gd name="T108" fmla="*/ 2147483647 w 1134"/>
                <a:gd name="T109" fmla="*/ 2147483647 h 1020"/>
                <a:gd name="T110" fmla="*/ 2147483647 w 1134"/>
                <a:gd name="T111" fmla="*/ 2147483647 h 1020"/>
                <a:gd name="T112" fmla="*/ 2147483647 w 1134"/>
                <a:gd name="T113" fmla="*/ 2147483647 h 1020"/>
                <a:gd name="T114" fmla="*/ 2147483647 w 1134"/>
                <a:gd name="T115" fmla="*/ 2147483647 h 1020"/>
                <a:gd name="T116" fmla="*/ 2147483647 w 1134"/>
                <a:gd name="T117" fmla="*/ 2147483647 h 1020"/>
                <a:gd name="T118" fmla="*/ 2147483647 w 1134"/>
                <a:gd name="T119" fmla="*/ 2147483647 h 1020"/>
                <a:gd name="T120" fmla="*/ 2147483647 w 1134"/>
                <a:gd name="T121" fmla="*/ 2147483647 h 1020"/>
                <a:gd name="T122" fmla="*/ 2147483647 w 1134"/>
                <a:gd name="T123" fmla="*/ 2147483647 h 1020"/>
                <a:gd name="T124" fmla="*/ 2147483647 w 1134"/>
                <a:gd name="T125" fmla="*/ 2147483647 h 10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34"/>
                <a:gd name="T190" fmla="*/ 0 h 1020"/>
                <a:gd name="T191" fmla="*/ 1134 w 1134"/>
                <a:gd name="T192" fmla="*/ 1020 h 102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34" h="1020">
                  <a:moveTo>
                    <a:pt x="1116" y="372"/>
                  </a:moveTo>
                  <a:lnTo>
                    <a:pt x="1098" y="372"/>
                  </a:lnTo>
                  <a:lnTo>
                    <a:pt x="1092" y="378"/>
                  </a:lnTo>
                  <a:lnTo>
                    <a:pt x="1086" y="378"/>
                  </a:lnTo>
                  <a:lnTo>
                    <a:pt x="1074" y="420"/>
                  </a:lnTo>
                  <a:lnTo>
                    <a:pt x="1062" y="420"/>
                  </a:lnTo>
                  <a:lnTo>
                    <a:pt x="1050" y="414"/>
                  </a:lnTo>
                  <a:lnTo>
                    <a:pt x="1032" y="414"/>
                  </a:lnTo>
                  <a:lnTo>
                    <a:pt x="1020" y="402"/>
                  </a:lnTo>
                  <a:lnTo>
                    <a:pt x="1008" y="396"/>
                  </a:lnTo>
                  <a:lnTo>
                    <a:pt x="996" y="372"/>
                  </a:lnTo>
                  <a:lnTo>
                    <a:pt x="996" y="348"/>
                  </a:lnTo>
                  <a:lnTo>
                    <a:pt x="1002" y="336"/>
                  </a:lnTo>
                  <a:lnTo>
                    <a:pt x="1014" y="324"/>
                  </a:lnTo>
                  <a:lnTo>
                    <a:pt x="1014" y="312"/>
                  </a:lnTo>
                  <a:lnTo>
                    <a:pt x="1020" y="300"/>
                  </a:lnTo>
                  <a:lnTo>
                    <a:pt x="1032" y="288"/>
                  </a:lnTo>
                  <a:lnTo>
                    <a:pt x="1038" y="288"/>
                  </a:lnTo>
                  <a:lnTo>
                    <a:pt x="1050" y="294"/>
                  </a:lnTo>
                  <a:lnTo>
                    <a:pt x="1062" y="306"/>
                  </a:lnTo>
                  <a:lnTo>
                    <a:pt x="1086" y="270"/>
                  </a:lnTo>
                  <a:lnTo>
                    <a:pt x="1086" y="180"/>
                  </a:lnTo>
                  <a:lnTo>
                    <a:pt x="1056" y="120"/>
                  </a:lnTo>
                  <a:lnTo>
                    <a:pt x="1056" y="102"/>
                  </a:lnTo>
                  <a:lnTo>
                    <a:pt x="1050" y="90"/>
                  </a:lnTo>
                  <a:lnTo>
                    <a:pt x="1050" y="72"/>
                  </a:lnTo>
                  <a:lnTo>
                    <a:pt x="1044" y="54"/>
                  </a:lnTo>
                  <a:lnTo>
                    <a:pt x="1044" y="24"/>
                  </a:lnTo>
                  <a:lnTo>
                    <a:pt x="1026" y="12"/>
                  </a:lnTo>
                  <a:lnTo>
                    <a:pt x="966" y="12"/>
                  </a:lnTo>
                  <a:lnTo>
                    <a:pt x="954" y="6"/>
                  </a:lnTo>
                  <a:lnTo>
                    <a:pt x="948" y="6"/>
                  </a:lnTo>
                  <a:lnTo>
                    <a:pt x="936" y="0"/>
                  </a:lnTo>
                  <a:lnTo>
                    <a:pt x="876" y="0"/>
                  </a:lnTo>
                  <a:lnTo>
                    <a:pt x="864" y="24"/>
                  </a:lnTo>
                  <a:lnTo>
                    <a:pt x="852" y="24"/>
                  </a:lnTo>
                  <a:lnTo>
                    <a:pt x="840" y="30"/>
                  </a:lnTo>
                  <a:lnTo>
                    <a:pt x="828" y="30"/>
                  </a:lnTo>
                  <a:lnTo>
                    <a:pt x="822" y="36"/>
                  </a:lnTo>
                  <a:lnTo>
                    <a:pt x="810" y="60"/>
                  </a:lnTo>
                  <a:lnTo>
                    <a:pt x="768" y="102"/>
                  </a:lnTo>
                  <a:lnTo>
                    <a:pt x="756" y="108"/>
                  </a:lnTo>
                  <a:lnTo>
                    <a:pt x="750" y="108"/>
                  </a:lnTo>
                  <a:lnTo>
                    <a:pt x="738" y="114"/>
                  </a:lnTo>
                  <a:lnTo>
                    <a:pt x="726" y="138"/>
                  </a:lnTo>
                  <a:lnTo>
                    <a:pt x="726" y="174"/>
                  </a:lnTo>
                  <a:lnTo>
                    <a:pt x="714" y="180"/>
                  </a:lnTo>
                  <a:lnTo>
                    <a:pt x="708" y="192"/>
                  </a:lnTo>
                  <a:lnTo>
                    <a:pt x="702" y="198"/>
                  </a:lnTo>
                  <a:lnTo>
                    <a:pt x="690" y="204"/>
                  </a:lnTo>
                  <a:lnTo>
                    <a:pt x="672" y="210"/>
                  </a:lnTo>
                  <a:lnTo>
                    <a:pt x="654" y="228"/>
                  </a:lnTo>
                  <a:lnTo>
                    <a:pt x="654" y="240"/>
                  </a:lnTo>
                  <a:lnTo>
                    <a:pt x="648" y="252"/>
                  </a:lnTo>
                  <a:lnTo>
                    <a:pt x="642" y="270"/>
                  </a:lnTo>
                  <a:lnTo>
                    <a:pt x="636" y="282"/>
                  </a:lnTo>
                  <a:lnTo>
                    <a:pt x="630" y="288"/>
                  </a:lnTo>
                  <a:lnTo>
                    <a:pt x="618" y="294"/>
                  </a:lnTo>
                  <a:lnTo>
                    <a:pt x="606" y="294"/>
                  </a:lnTo>
                  <a:lnTo>
                    <a:pt x="600" y="288"/>
                  </a:lnTo>
                  <a:lnTo>
                    <a:pt x="594" y="294"/>
                  </a:lnTo>
                  <a:lnTo>
                    <a:pt x="582" y="300"/>
                  </a:lnTo>
                  <a:lnTo>
                    <a:pt x="570" y="300"/>
                  </a:lnTo>
                  <a:lnTo>
                    <a:pt x="564" y="294"/>
                  </a:lnTo>
                  <a:lnTo>
                    <a:pt x="552" y="288"/>
                  </a:lnTo>
                  <a:lnTo>
                    <a:pt x="546" y="282"/>
                  </a:lnTo>
                  <a:lnTo>
                    <a:pt x="516" y="282"/>
                  </a:lnTo>
                  <a:lnTo>
                    <a:pt x="504" y="270"/>
                  </a:lnTo>
                  <a:lnTo>
                    <a:pt x="492" y="264"/>
                  </a:lnTo>
                  <a:lnTo>
                    <a:pt x="486" y="258"/>
                  </a:lnTo>
                  <a:lnTo>
                    <a:pt x="474" y="252"/>
                  </a:lnTo>
                  <a:lnTo>
                    <a:pt x="462" y="252"/>
                  </a:lnTo>
                  <a:lnTo>
                    <a:pt x="450" y="258"/>
                  </a:lnTo>
                  <a:lnTo>
                    <a:pt x="444" y="264"/>
                  </a:lnTo>
                  <a:lnTo>
                    <a:pt x="438" y="276"/>
                  </a:lnTo>
                  <a:lnTo>
                    <a:pt x="438" y="288"/>
                  </a:lnTo>
                  <a:lnTo>
                    <a:pt x="432" y="300"/>
                  </a:lnTo>
                  <a:lnTo>
                    <a:pt x="432" y="324"/>
                  </a:lnTo>
                  <a:lnTo>
                    <a:pt x="420" y="324"/>
                  </a:lnTo>
                  <a:lnTo>
                    <a:pt x="414" y="330"/>
                  </a:lnTo>
                  <a:lnTo>
                    <a:pt x="408" y="330"/>
                  </a:lnTo>
                  <a:lnTo>
                    <a:pt x="402" y="336"/>
                  </a:lnTo>
                  <a:lnTo>
                    <a:pt x="396" y="348"/>
                  </a:lnTo>
                  <a:lnTo>
                    <a:pt x="390" y="354"/>
                  </a:lnTo>
                  <a:lnTo>
                    <a:pt x="390" y="360"/>
                  </a:lnTo>
                  <a:lnTo>
                    <a:pt x="366" y="360"/>
                  </a:lnTo>
                  <a:lnTo>
                    <a:pt x="366" y="378"/>
                  </a:lnTo>
                  <a:lnTo>
                    <a:pt x="288" y="378"/>
                  </a:lnTo>
                  <a:lnTo>
                    <a:pt x="288" y="348"/>
                  </a:lnTo>
                  <a:lnTo>
                    <a:pt x="294" y="336"/>
                  </a:lnTo>
                  <a:lnTo>
                    <a:pt x="294" y="330"/>
                  </a:lnTo>
                  <a:lnTo>
                    <a:pt x="300" y="318"/>
                  </a:lnTo>
                  <a:lnTo>
                    <a:pt x="300" y="294"/>
                  </a:lnTo>
                  <a:lnTo>
                    <a:pt x="294" y="288"/>
                  </a:lnTo>
                  <a:lnTo>
                    <a:pt x="294" y="270"/>
                  </a:lnTo>
                  <a:lnTo>
                    <a:pt x="288" y="258"/>
                  </a:lnTo>
                  <a:lnTo>
                    <a:pt x="282" y="240"/>
                  </a:lnTo>
                  <a:lnTo>
                    <a:pt x="276" y="234"/>
                  </a:lnTo>
                  <a:lnTo>
                    <a:pt x="264" y="228"/>
                  </a:lnTo>
                  <a:lnTo>
                    <a:pt x="258" y="222"/>
                  </a:lnTo>
                  <a:lnTo>
                    <a:pt x="246" y="216"/>
                  </a:lnTo>
                  <a:lnTo>
                    <a:pt x="240" y="510"/>
                  </a:lnTo>
                  <a:lnTo>
                    <a:pt x="222" y="510"/>
                  </a:lnTo>
                  <a:lnTo>
                    <a:pt x="210" y="516"/>
                  </a:lnTo>
                  <a:lnTo>
                    <a:pt x="204" y="522"/>
                  </a:lnTo>
                  <a:lnTo>
                    <a:pt x="204" y="528"/>
                  </a:lnTo>
                  <a:lnTo>
                    <a:pt x="192" y="528"/>
                  </a:lnTo>
                  <a:lnTo>
                    <a:pt x="192" y="552"/>
                  </a:lnTo>
                  <a:lnTo>
                    <a:pt x="168" y="552"/>
                  </a:lnTo>
                  <a:lnTo>
                    <a:pt x="156" y="540"/>
                  </a:lnTo>
                  <a:lnTo>
                    <a:pt x="144" y="540"/>
                  </a:lnTo>
                  <a:lnTo>
                    <a:pt x="132" y="552"/>
                  </a:lnTo>
                  <a:lnTo>
                    <a:pt x="108" y="552"/>
                  </a:lnTo>
                  <a:lnTo>
                    <a:pt x="102" y="546"/>
                  </a:lnTo>
                  <a:lnTo>
                    <a:pt x="102" y="540"/>
                  </a:lnTo>
                  <a:lnTo>
                    <a:pt x="96" y="534"/>
                  </a:lnTo>
                  <a:lnTo>
                    <a:pt x="72" y="534"/>
                  </a:lnTo>
                  <a:lnTo>
                    <a:pt x="66" y="528"/>
                  </a:lnTo>
                  <a:lnTo>
                    <a:pt x="60" y="516"/>
                  </a:lnTo>
                  <a:lnTo>
                    <a:pt x="60" y="492"/>
                  </a:lnTo>
                  <a:lnTo>
                    <a:pt x="42" y="474"/>
                  </a:lnTo>
                  <a:lnTo>
                    <a:pt x="36" y="474"/>
                  </a:lnTo>
                  <a:lnTo>
                    <a:pt x="30" y="480"/>
                  </a:lnTo>
                  <a:lnTo>
                    <a:pt x="30" y="486"/>
                  </a:lnTo>
                  <a:lnTo>
                    <a:pt x="24" y="498"/>
                  </a:lnTo>
                  <a:lnTo>
                    <a:pt x="18" y="504"/>
                  </a:lnTo>
                  <a:lnTo>
                    <a:pt x="18" y="510"/>
                  </a:lnTo>
                  <a:lnTo>
                    <a:pt x="0" y="522"/>
                  </a:lnTo>
                  <a:lnTo>
                    <a:pt x="0" y="516"/>
                  </a:lnTo>
                  <a:lnTo>
                    <a:pt x="0" y="528"/>
                  </a:lnTo>
                  <a:lnTo>
                    <a:pt x="6" y="540"/>
                  </a:lnTo>
                  <a:lnTo>
                    <a:pt x="6" y="552"/>
                  </a:lnTo>
                  <a:lnTo>
                    <a:pt x="36" y="582"/>
                  </a:lnTo>
                  <a:lnTo>
                    <a:pt x="42" y="600"/>
                  </a:lnTo>
                  <a:lnTo>
                    <a:pt x="42" y="648"/>
                  </a:lnTo>
                  <a:lnTo>
                    <a:pt x="48" y="672"/>
                  </a:lnTo>
                  <a:lnTo>
                    <a:pt x="54" y="690"/>
                  </a:lnTo>
                  <a:lnTo>
                    <a:pt x="72" y="714"/>
                  </a:lnTo>
                  <a:lnTo>
                    <a:pt x="96" y="738"/>
                  </a:lnTo>
                  <a:lnTo>
                    <a:pt x="114" y="762"/>
                  </a:lnTo>
                  <a:lnTo>
                    <a:pt x="120" y="786"/>
                  </a:lnTo>
                  <a:lnTo>
                    <a:pt x="120" y="834"/>
                  </a:lnTo>
                  <a:lnTo>
                    <a:pt x="114" y="846"/>
                  </a:lnTo>
                  <a:lnTo>
                    <a:pt x="114" y="852"/>
                  </a:lnTo>
                  <a:lnTo>
                    <a:pt x="90" y="852"/>
                  </a:lnTo>
                  <a:lnTo>
                    <a:pt x="90" y="876"/>
                  </a:lnTo>
                  <a:lnTo>
                    <a:pt x="96" y="888"/>
                  </a:lnTo>
                  <a:lnTo>
                    <a:pt x="108" y="906"/>
                  </a:lnTo>
                  <a:lnTo>
                    <a:pt x="114" y="918"/>
                  </a:lnTo>
                  <a:lnTo>
                    <a:pt x="114" y="960"/>
                  </a:lnTo>
                  <a:lnTo>
                    <a:pt x="120" y="972"/>
                  </a:lnTo>
                  <a:lnTo>
                    <a:pt x="120" y="978"/>
                  </a:lnTo>
                  <a:lnTo>
                    <a:pt x="126" y="978"/>
                  </a:lnTo>
                  <a:lnTo>
                    <a:pt x="126" y="972"/>
                  </a:lnTo>
                  <a:lnTo>
                    <a:pt x="132" y="966"/>
                  </a:lnTo>
                  <a:lnTo>
                    <a:pt x="144" y="966"/>
                  </a:lnTo>
                  <a:lnTo>
                    <a:pt x="150" y="972"/>
                  </a:lnTo>
                  <a:lnTo>
                    <a:pt x="180" y="984"/>
                  </a:lnTo>
                  <a:lnTo>
                    <a:pt x="180" y="996"/>
                  </a:lnTo>
                  <a:lnTo>
                    <a:pt x="204" y="1020"/>
                  </a:lnTo>
                  <a:lnTo>
                    <a:pt x="216" y="1020"/>
                  </a:lnTo>
                  <a:lnTo>
                    <a:pt x="240" y="1008"/>
                  </a:lnTo>
                  <a:lnTo>
                    <a:pt x="246" y="996"/>
                  </a:lnTo>
                  <a:lnTo>
                    <a:pt x="252" y="990"/>
                  </a:lnTo>
                  <a:lnTo>
                    <a:pt x="264" y="984"/>
                  </a:lnTo>
                  <a:lnTo>
                    <a:pt x="294" y="984"/>
                  </a:lnTo>
                  <a:lnTo>
                    <a:pt x="306" y="990"/>
                  </a:lnTo>
                  <a:lnTo>
                    <a:pt x="354" y="990"/>
                  </a:lnTo>
                  <a:lnTo>
                    <a:pt x="354" y="984"/>
                  </a:lnTo>
                  <a:lnTo>
                    <a:pt x="360" y="978"/>
                  </a:lnTo>
                  <a:lnTo>
                    <a:pt x="360" y="966"/>
                  </a:lnTo>
                  <a:lnTo>
                    <a:pt x="366" y="960"/>
                  </a:lnTo>
                  <a:lnTo>
                    <a:pt x="378" y="954"/>
                  </a:lnTo>
                  <a:lnTo>
                    <a:pt x="408" y="954"/>
                  </a:lnTo>
                  <a:lnTo>
                    <a:pt x="420" y="960"/>
                  </a:lnTo>
                  <a:lnTo>
                    <a:pt x="432" y="960"/>
                  </a:lnTo>
                  <a:lnTo>
                    <a:pt x="438" y="966"/>
                  </a:lnTo>
                  <a:lnTo>
                    <a:pt x="444" y="960"/>
                  </a:lnTo>
                  <a:lnTo>
                    <a:pt x="456" y="960"/>
                  </a:lnTo>
                  <a:lnTo>
                    <a:pt x="468" y="954"/>
                  </a:lnTo>
                  <a:lnTo>
                    <a:pt x="504" y="954"/>
                  </a:lnTo>
                  <a:lnTo>
                    <a:pt x="522" y="960"/>
                  </a:lnTo>
                  <a:lnTo>
                    <a:pt x="534" y="966"/>
                  </a:lnTo>
                  <a:lnTo>
                    <a:pt x="552" y="966"/>
                  </a:lnTo>
                  <a:lnTo>
                    <a:pt x="558" y="960"/>
                  </a:lnTo>
                  <a:lnTo>
                    <a:pt x="570" y="954"/>
                  </a:lnTo>
                  <a:lnTo>
                    <a:pt x="606" y="954"/>
                  </a:lnTo>
                  <a:lnTo>
                    <a:pt x="618" y="948"/>
                  </a:lnTo>
                  <a:lnTo>
                    <a:pt x="624" y="942"/>
                  </a:lnTo>
                  <a:lnTo>
                    <a:pt x="636" y="936"/>
                  </a:lnTo>
                  <a:lnTo>
                    <a:pt x="684" y="936"/>
                  </a:lnTo>
                  <a:lnTo>
                    <a:pt x="708" y="924"/>
                  </a:lnTo>
                  <a:lnTo>
                    <a:pt x="720" y="912"/>
                  </a:lnTo>
                  <a:lnTo>
                    <a:pt x="738" y="900"/>
                  </a:lnTo>
                  <a:lnTo>
                    <a:pt x="774" y="864"/>
                  </a:lnTo>
                  <a:lnTo>
                    <a:pt x="786" y="858"/>
                  </a:lnTo>
                  <a:lnTo>
                    <a:pt x="804" y="846"/>
                  </a:lnTo>
                  <a:lnTo>
                    <a:pt x="900" y="750"/>
                  </a:lnTo>
                  <a:lnTo>
                    <a:pt x="918" y="750"/>
                  </a:lnTo>
                  <a:lnTo>
                    <a:pt x="924" y="744"/>
                  </a:lnTo>
                  <a:lnTo>
                    <a:pt x="960" y="696"/>
                  </a:lnTo>
                  <a:lnTo>
                    <a:pt x="972" y="672"/>
                  </a:lnTo>
                  <a:lnTo>
                    <a:pt x="984" y="654"/>
                  </a:lnTo>
                  <a:lnTo>
                    <a:pt x="990" y="642"/>
                  </a:lnTo>
                  <a:lnTo>
                    <a:pt x="1002" y="606"/>
                  </a:lnTo>
                  <a:lnTo>
                    <a:pt x="1014" y="588"/>
                  </a:lnTo>
                  <a:lnTo>
                    <a:pt x="1020" y="576"/>
                  </a:lnTo>
                  <a:lnTo>
                    <a:pt x="1026" y="570"/>
                  </a:lnTo>
                  <a:lnTo>
                    <a:pt x="1038" y="564"/>
                  </a:lnTo>
                  <a:lnTo>
                    <a:pt x="1050" y="552"/>
                  </a:lnTo>
                  <a:lnTo>
                    <a:pt x="1068" y="546"/>
                  </a:lnTo>
                  <a:lnTo>
                    <a:pt x="1086" y="534"/>
                  </a:lnTo>
                  <a:lnTo>
                    <a:pt x="1098" y="510"/>
                  </a:lnTo>
                  <a:lnTo>
                    <a:pt x="1098" y="498"/>
                  </a:lnTo>
                  <a:lnTo>
                    <a:pt x="1104" y="486"/>
                  </a:lnTo>
                  <a:lnTo>
                    <a:pt x="1110" y="468"/>
                  </a:lnTo>
                  <a:lnTo>
                    <a:pt x="1116" y="456"/>
                  </a:lnTo>
                  <a:lnTo>
                    <a:pt x="1122" y="450"/>
                  </a:lnTo>
                  <a:lnTo>
                    <a:pt x="1122" y="438"/>
                  </a:lnTo>
                  <a:lnTo>
                    <a:pt x="1128" y="432"/>
                  </a:lnTo>
                  <a:lnTo>
                    <a:pt x="1128" y="414"/>
                  </a:lnTo>
                  <a:lnTo>
                    <a:pt x="1134" y="396"/>
                  </a:lnTo>
                  <a:lnTo>
                    <a:pt x="1128" y="384"/>
                  </a:lnTo>
                  <a:lnTo>
                    <a:pt x="1116" y="372"/>
                  </a:lnTo>
                  <a:close/>
                  <a:moveTo>
                    <a:pt x="870" y="624"/>
                  </a:moveTo>
                  <a:lnTo>
                    <a:pt x="858" y="630"/>
                  </a:lnTo>
                  <a:lnTo>
                    <a:pt x="852" y="636"/>
                  </a:lnTo>
                  <a:lnTo>
                    <a:pt x="840" y="642"/>
                  </a:lnTo>
                  <a:lnTo>
                    <a:pt x="822" y="642"/>
                  </a:lnTo>
                  <a:lnTo>
                    <a:pt x="810" y="648"/>
                  </a:lnTo>
                  <a:lnTo>
                    <a:pt x="804" y="654"/>
                  </a:lnTo>
                  <a:lnTo>
                    <a:pt x="798" y="666"/>
                  </a:lnTo>
                  <a:lnTo>
                    <a:pt x="792" y="672"/>
                  </a:lnTo>
                  <a:lnTo>
                    <a:pt x="792" y="684"/>
                  </a:lnTo>
                  <a:lnTo>
                    <a:pt x="774" y="684"/>
                  </a:lnTo>
                  <a:lnTo>
                    <a:pt x="744" y="654"/>
                  </a:lnTo>
                  <a:lnTo>
                    <a:pt x="744" y="636"/>
                  </a:lnTo>
                  <a:lnTo>
                    <a:pt x="720" y="600"/>
                  </a:lnTo>
                  <a:lnTo>
                    <a:pt x="744" y="600"/>
                  </a:lnTo>
                  <a:lnTo>
                    <a:pt x="750" y="582"/>
                  </a:lnTo>
                  <a:lnTo>
                    <a:pt x="768" y="564"/>
                  </a:lnTo>
                  <a:lnTo>
                    <a:pt x="768" y="546"/>
                  </a:lnTo>
                  <a:lnTo>
                    <a:pt x="774" y="540"/>
                  </a:lnTo>
                  <a:lnTo>
                    <a:pt x="798" y="540"/>
                  </a:lnTo>
                  <a:lnTo>
                    <a:pt x="798" y="528"/>
                  </a:lnTo>
                  <a:lnTo>
                    <a:pt x="810" y="522"/>
                  </a:lnTo>
                  <a:lnTo>
                    <a:pt x="846" y="522"/>
                  </a:lnTo>
                  <a:lnTo>
                    <a:pt x="852" y="528"/>
                  </a:lnTo>
                  <a:lnTo>
                    <a:pt x="858" y="540"/>
                  </a:lnTo>
                  <a:lnTo>
                    <a:pt x="864" y="546"/>
                  </a:lnTo>
                  <a:lnTo>
                    <a:pt x="870" y="558"/>
                  </a:lnTo>
                  <a:lnTo>
                    <a:pt x="882" y="564"/>
                  </a:lnTo>
                  <a:lnTo>
                    <a:pt x="888" y="588"/>
                  </a:lnTo>
                  <a:lnTo>
                    <a:pt x="864" y="606"/>
                  </a:lnTo>
                  <a:lnTo>
                    <a:pt x="870" y="624"/>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57" name="Sudan">
              <a:extLst>
                <a:ext uri="{FF2B5EF4-FFF2-40B4-BE49-F238E27FC236}">
                  <a16:creationId xmlns:a16="http://schemas.microsoft.com/office/drawing/2014/main" id="{75983542-B3FD-4A52-ABFB-C6D58565FF43}"/>
                </a:ext>
              </a:extLst>
            </p:cNvPr>
            <p:cNvSpPr>
              <a:spLocks/>
            </p:cNvSpPr>
            <p:nvPr/>
          </p:nvSpPr>
          <p:spPr bwMode="gray">
            <a:xfrm>
              <a:off x="4738163" y="3510170"/>
              <a:ext cx="473133" cy="465669"/>
            </a:xfrm>
            <a:custGeom>
              <a:avLst/>
              <a:gdLst/>
              <a:ahLst/>
              <a:cxnLst>
                <a:cxn ang="0">
                  <a:pos x="442" y="199"/>
                </a:cxn>
                <a:cxn ang="0">
                  <a:pos x="446" y="187"/>
                </a:cxn>
                <a:cxn ang="0">
                  <a:pos x="475" y="170"/>
                </a:cxn>
                <a:cxn ang="0">
                  <a:pos x="458" y="149"/>
                </a:cxn>
                <a:cxn ang="0">
                  <a:pos x="439" y="137"/>
                </a:cxn>
                <a:cxn ang="0">
                  <a:pos x="434" y="114"/>
                </a:cxn>
                <a:cxn ang="0">
                  <a:pos x="430" y="90"/>
                </a:cxn>
                <a:cxn ang="0">
                  <a:pos x="423" y="55"/>
                </a:cxn>
                <a:cxn ang="0">
                  <a:pos x="413" y="29"/>
                </a:cxn>
                <a:cxn ang="0">
                  <a:pos x="387" y="0"/>
                </a:cxn>
                <a:cxn ang="0">
                  <a:pos x="361" y="26"/>
                </a:cxn>
                <a:cxn ang="0">
                  <a:pos x="345" y="31"/>
                </a:cxn>
                <a:cxn ang="0">
                  <a:pos x="326" y="47"/>
                </a:cxn>
                <a:cxn ang="0">
                  <a:pos x="269" y="36"/>
                </a:cxn>
                <a:cxn ang="0">
                  <a:pos x="87" y="36"/>
                </a:cxn>
                <a:cxn ang="0">
                  <a:pos x="54" y="241"/>
                </a:cxn>
                <a:cxn ang="0">
                  <a:pos x="30" y="246"/>
                </a:cxn>
                <a:cxn ang="0">
                  <a:pos x="30" y="258"/>
                </a:cxn>
                <a:cxn ang="0">
                  <a:pos x="16" y="272"/>
                </a:cxn>
                <a:cxn ang="0">
                  <a:pos x="7" y="300"/>
                </a:cxn>
                <a:cxn ang="0">
                  <a:pos x="9" y="322"/>
                </a:cxn>
                <a:cxn ang="0">
                  <a:pos x="4" y="338"/>
                </a:cxn>
                <a:cxn ang="0">
                  <a:pos x="19" y="338"/>
                </a:cxn>
                <a:cxn ang="0">
                  <a:pos x="21" y="373"/>
                </a:cxn>
                <a:cxn ang="0">
                  <a:pos x="35" y="385"/>
                </a:cxn>
                <a:cxn ang="0">
                  <a:pos x="42" y="409"/>
                </a:cxn>
                <a:cxn ang="0">
                  <a:pos x="54" y="430"/>
                </a:cxn>
                <a:cxn ang="0">
                  <a:pos x="47" y="451"/>
                </a:cxn>
                <a:cxn ang="0">
                  <a:pos x="49" y="463"/>
                </a:cxn>
                <a:cxn ang="0">
                  <a:pos x="73" y="456"/>
                </a:cxn>
                <a:cxn ang="0">
                  <a:pos x="78" y="447"/>
                </a:cxn>
                <a:cxn ang="0">
                  <a:pos x="89" y="418"/>
                </a:cxn>
                <a:cxn ang="0">
                  <a:pos x="115" y="416"/>
                </a:cxn>
                <a:cxn ang="0">
                  <a:pos x="125" y="430"/>
                </a:cxn>
                <a:cxn ang="0">
                  <a:pos x="170" y="433"/>
                </a:cxn>
                <a:cxn ang="0">
                  <a:pos x="196" y="442"/>
                </a:cxn>
                <a:cxn ang="0">
                  <a:pos x="234" y="411"/>
                </a:cxn>
                <a:cxn ang="0">
                  <a:pos x="290" y="409"/>
                </a:cxn>
                <a:cxn ang="0">
                  <a:pos x="307" y="364"/>
                </a:cxn>
                <a:cxn ang="0">
                  <a:pos x="331" y="347"/>
                </a:cxn>
                <a:cxn ang="0">
                  <a:pos x="328" y="378"/>
                </a:cxn>
                <a:cxn ang="0">
                  <a:pos x="335" y="399"/>
                </a:cxn>
                <a:cxn ang="0">
                  <a:pos x="357" y="423"/>
                </a:cxn>
                <a:cxn ang="0">
                  <a:pos x="359" y="409"/>
                </a:cxn>
                <a:cxn ang="0">
                  <a:pos x="368" y="399"/>
                </a:cxn>
                <a:cxn ang="0">
                  <a:pos x="380" y="385"/>
                </a:cxn>
                <a:cxn ang="0">
                  <a:pos x="382" y="364"/>
                </a:cxn>
                <a:cxn ang="0">
                  <a:pos x="392" y="343"/>
                </a:cxn>
                <a:cxn ang="0">
                  <a:pos x="411" y="333"/>
                </a:cxn>
                <a:cxn ang="0">
                  <a:pos x="418" y="303"/>
                </a:cxn>
                <a:cxn ang="0">
                  <a:pos x="416" y="262"/>
                </a:cxn>
                <a:cxn ang="0">
                  <a:pos x="423" y="239"/>
                </a:cxn>
                <a:cxn ang="0">
                  <a:pos x="430" y="215"/>
                </a:cxn>
              </a:cxnLst>
              <a:rect l="0" t="0" r="r" b="b"/>
              <a:pathLst>
                <a:path w="475" h="466">
                  <a:moveTo>
                    <a:pt x="432" y="208"/>
                  </a:moveTo>
                  <a:lnTo>
                    <a:pt x="434" y="206"/>
                  </a:lnTo>
                  <a:lnTo>
                    <a:pt x="434" y="199"/>
                  </a:lnTo>
                  <a:lnTo>
                    <a:pt x="442" y="199"/>
                  </a:lnTo>
                  <a:lnTo>
                    <a:pt x="444" y="196"/>
                  </a:lnTo>
                  <a:lnTo>
                    <a:pt x="444" y="194"/>
                  </a:lnTo>
                  <a:lnTo>
                    <a:pt x="446" y="192"/>
                  </a:lnTo>
                  <a:lnTo>
                    <a:pt x="446" y="187"/>
                  </a:lnTo>
                  <a:lnTo>
                    <a:pt x="451" y="187"/>
                  </a:lnTo>
                  <a:lnTo>
                    <a:pt x="460" y="184"/>
                  </a:lnTo>
                  <a:lnTo>
                    <a:pt x="470" y="180"/>
                  </a:lnTo>
                  <a:lnTo>
                    <a:pt x="475" y="170"/>
                  </a:lnTo>
                  <a:lnTo>
                    <a:pt x="475" y="166"/>
                  </a:lnTo>
                  <a:lnTo>
                    <a:pt x="460" y="154"/>
                  </a:lnTo>
                  <a:lnTo>
                    <a:pt x="460" y="151"/>
                  </a:lnTo>
                  <a:lnTo>
                    <a:pt x="458" y="149"/>
                  </a:lnTo>
                  <a:lnTo>
                    <a:pt x="458" y="144"/>
                  </a:lnTo>
                  <a:lnTo>
                    <a:pt x="453" y="142"/>
                  </a:lnTo>
                  <a:lnTo>
                    <a:pt x="444" y="142"/>
                  </a:lnTo>
                  <a:lnTo>
                    <a:pt x="439" y="137"/>
                  </a:lnTo>
                  <a:lnTo>
                    <a:pt x="439" y="132"/>
                  </a:lnTo>
                  <a:lnTo>
                    <a:pt x="437" y="125"/>
                  </a:lnTo>
                  <a:lnTo>
                    <a:pt x="437" y="118"/>
                  </a:lnTo>
                  <a:lnTo>
                    <a:pt x="434" y="114"/>
                  </a:lnTo>
                  <a:lnTo>
                    <a:pt x="434" y="107"/>
                  </a:lnTo>
                  <a:lnTo>
                    <a:pt x="432" y="107"/>
                  </a:lnTo>
                  <a:lnTo>
                    <a:pt x="432" y="97"/>
                  </a:lnTo>
                  <a:lnTo>
                    <a:pt x="430" y="90"/>
                  </a:lnTo>
                  <a:lnTo>
                    <a:pt x="430" y="73"/>
                  </a:lnTo>
                  <a:lnTo>
                    <a:pt x="427" y="69"/>
                  </a:lnTo>
                  <a:lnTo>
                    <a:pt x="434" y="66"/>
                  </a:lnTo>
                  <a:lnTo>
                    <a:pt x="423" y="55"/>
                  </a:lnTo>
                  <a:lnTo>
                    <a:pt x="423" y="38"/>
                  </a:lnTo>
                  <a:lnTo>
                    <a:pt x="420" y="33"/>
                  </a:lnTo>
                  <a:lnTo>
                    <a:pt x="418" y="31"/>
                  </a:lnTo>
                  <a:lnTo>
                    <a:pt x="413" y="29"/>
                  </a:lnTo>
                  <a:lnTo>
                    <a:pt x="401" y="17"/>
                  </a:lnTo>
                  <a:lnTo>
                    <a:pt x="397" y="17"/>
                  </a:lnTo>
                  <a:lnTo>
                    <a:pt x="390" y="10"/>
                  </a:lnTo>
                  <a:lnTo>
                    <a:pt x="387" y="0"/>
                  </a:lnTo>
                  <a:lnTo>
                    <a:pt x="378" y="12"/>
                  </a:lnTo>
                  <a:lnTo>
                    <a:pt x="364" y="12"/>
                  </a:lnTo>
                  <a:lnTo>
                    <a:pt x="364" y="21"/>
                  </a:lnTo>
                  <a:lnTo>
                    <a:pt x="361" y="26"/>
                  </a:lnTo>
                  <a:lnTo>
                    <a:pt x="359" y="29"/>
                  </a:lnTo>
                  <a:lnTo>
                    <a:pt x="352" y="29"/>
                  </a:lnTo>
                  <a:lnTo>
                    <a:pt x="349" y="31"/>
                  </a:lnTo>
                  <a:lnTo>
                    <a:pt x="345" y="31"/>
                  </a:lnTo>
                  <a:lnTo>
                    <a:pt x="340" y="36"/>
                  </a:lnTo>
                  <a:lnTo>
                    <a:pt x="335" y="45"/>
                  </a:lnTo>
                  <a:lnTo>
                    <a:pt x="333" y="47"/>
                  </a:lnTo>
                  <a:lnTo>
                    <a:pt x="326" y="47"/>
                  </a:lnTo>
                  <a:lnTo>
                    <a:pt x="323" y="45"/>
                  </a:lnTo>
                  <a:lnTo>
                    <a:pt x="321" y="40"/>
                  </a:lnTo>
                  <a:lnTo>
                    <a:pt x="319" y="38"/>
                  </a:lnTo>
                  <a:lnTo>
                    <a:pt x="269" y="36"/>
                  </a:lnTo>
                  <a:lnTo>
                    <a:pt x="269" y="31"/>
                  </a:lnTo>
                  <a:lnTo>
                    <a:pt x="267" y="31"/>
                  </a:lnTo>
                  <a:lnTo>
                    <a:pt x="260" y="38"/>
                  </a:lnTo>
                  <a:lnTo>
                    <a:pt x="87" y="36"/>
                  </a:lnTo>
                  <a:lnTo>
                    <a:pt x="87" y="99"/>
                  </a:lnTo>
                  <a:lnTo>
                    <a:pt x="56" y="99"/>
                  </a:lnTo>
                  <a:lnTo>
                    <a:pt x="59" y="241"/>
                  </a:lnTo>
                  <a:lnTo>
                    <a:pt x="54" y="241"/>
                  </a:lnTo>
                  <a:lnTo>
                    <a:pt x="49" y="239"/>
                  </a:lnTo>
                  <a:lnTo>
                    <a:pt x="33" y="239"/>
                  </a:lnTo>
                  <a:lnTo>
                    <a:pt x="28" y="244"/>
                  </a:lnTo>
                  <a:lnTo>
                    <a:pt x="30" y="246"/>
                  </a:lnTo>
                  <a:lnTo>
                    <a:pt x="30" y="251"/>
                  </a:lnTo>
                  <a:lnTo>
                    <a:pt x="33" y="253"/>
                  </a:lnTo>
                  <a:lnTo>
                    <a:pt x="33" y="255"/>
                  </a:lnTo>
                  <a:lnTo>
                    <a:pt x="30" y="258"/>
                  </a:lnTo>
                  <a:lnTo>
                    <a:pt x="26" y="260"/>
                  </a:lnTo>
                  <a:lnTo>
                    <a:pt x="21" y="265"/>
                  </a:lnTo>
                  <a:lnTo>
                    <a:pt x="21" y="272"/>
                  </a:lnTo>
                  <a:lnTo>
                    <a:pt x="16" y="272"/>
                  </a:lnTo>
                  <a:lnTo>
                    <a:pt x="19" y="281"/>
                  </a:lnTo>
                  <a:lnTo>
                    <a:pt x="21" y="288"/>
                  </a:lnTo>
                  <a:lnTo>
                    <a:pt x="14" y="293"/>
                  </a:lnTo>
                  <a:lnTo>
                    <a:pt x="7" y="300"/>
                  </a:lnTo>
                  <a:lnTo>
                    <a:pt x="9" y="303"/>
                  </a:lnTo>
                  <a:lnTo>
                    <a:pt x="14" y="312"/>
                  </a:lnTo>
                  <a:lnTo>
                    <a:pt x="14" y="317"/>
                  </a:lnTo>
                  <a:lnTo>
                    <a:pt x="9" y="322"/>
                  </a:lnTo>
                  <a:lnTo>
                    <a:pt x="4" y="324"/>
                  </a:lnTo>
                  <a:lnTo>
                    <a:pt x="0" y="329"/>
                  </a:lnTo>
                  <a:lnTo>
                    <a:pt x="0" y="336"/>
                  </a:lnTo>
                  <a:lnTo>
                    <a:pt x="4" y="338"/>
                  </a:lnTo>
                  <a:lnTo>
                    <a:pt x="9" y="338"/>
                  </a:lnTo>
                  <a:lnTo>
                    <a:pt x="12" y="336"/>
                  </a:lnTo>
                  <a:lnTo>
                    <a:pt x="16" y="336"/>
                  </a:lnTo>
                  <a:lnTo>
                    <a:pt x="19" y="338"/>
                  </a:lnTo>
                  <a:lnTo>
                    <a:pt x="19" y="355"/>
                  </a:lnTo>
                  <a:lnTo>
                    <a:pt x="26" y="362"/>
                  </a:lnTo>
                  <a:lnTo>
                    <a:pt x="19" y="364"/>
                  </a:lnTo>
                  <a:lnTo>
                    <a:pt x="21" y="373"/>
                  </a:lnTo>
                  <a:lnTo>
                    <a:pt x="23" y="373"/>
                  </a:lnTo>
                  <a:lnTo>
                    <a:pt x="28" y="376"/>
                  </a:lnTo>
                  <a:lnTo>
                    <a:pt x="33" y="383"/>
                  </a:lnTo>
                  <a:lnTo>
                    <a:pt x="35" y="385"/>
                  </a:lnTo>
                  <a:lnTo>
                    <a:pt x="35" y="388"/>
                  </a:lnTo>
                  <a:lnTo>
                    <a:pt x="30" y="388"/>
                  </a:lnTo>
                  <a:lnTo>
                    <a:pt x="30" y="397"/>
                  </a:lnTo>
                  <a:lnTo>
                    <a:pt x="42" y="409"/>
                  </a:lnTo>
                  <a:lnTo>
                    <a:pt x="45" y="414"/>
                  </a:lnTo>
                  <a:lnTo>
                    <a:pt x="49" y="418"/>
                  </a:lnTo>
                  <a:lnTo>
                    <a:pt x="52" y="425"/>
                  </a:lnTo>
                  <a:lnTo>
                    <a:pt x="54" y="430"/>
                  </a:lnTo>
                  <a:lnTo>
                    <a:pt x="54" y="442"/>
                  </a:lnTo>
                  <a:lnTo>
                    <a:pt x="52" y="444"/>
                  </a:lnTo>
                  <a:lnTo>
                    <a:pt x="49" y="449"/>
                  </a:lnTo>
                  <a:lnTo>
                    <a:pt x="47" y="451"/>
                  </a:lnTo>
                  <a:lnTo>
                    <a:pt x="47" y="454"/>
                  </a:lnTo>
                  <a:lnTo>
                    <a:pt x="49" y="456"/>
                  </a:lnTo>
                  <a:lnTo>
                    <a:pt x="52" y="456"/>
                  </a:lnTo>
                  <a:lnTo>
                    <a:pt x="49" y="463"/>
                  </a:lnTo>
                  <a:lnTo>
                    <a:pt x="66" y="466"/>
                  </a:lnTo>
                  <a:lnTo>
                    <a:pt x="66" y="461"/>
                  </a:lnTo>
                  <a:lnTo>
                    <a:pt x="68" y="459"/>
                  </a:lnTo>
                  <a:lnTo>
                    <a:pt x="73" y="456"/>
                  </a:lnTo>
                  <a:lnTo>
                    <a:pt x="73" y="456"/>
                  </a:lnTo>
                  <a:lnTo>
                    <a:pt x="73" y="454"/>
                  </a:lnTo>
                  <a:lnTo>
                    <a:pt x="73" y="451"/>
                  </a:lnTo>
                  <a:lnTo>
                    <a:pt x="78" y="447"/>
                  </a:lnTo>
                  <a:lnTo>
                    <a:pt x="78" y="437"/>
                  </a:lnTo>
                  <a:lnTo>
                    <a:pt x="82" y="437"/>
                  </a:lnTo>
                  <a:lnTo>
                    <a:pt x="82" y="428"/>
                  </a:lnTo>
                  <a:lnTo>
                    <a:pt x="89" y="418"/>
                  </a:lnTo>
                  <a:lnTo>
                    <a:pt x="92" y="411"/>
                  </a:lnTo>
                  <a:lnTo>
                    <a:pt x="101" y="409"/>
                  </a:lnTo>
                  <a:lnTo>
                    <a:pt x="113" y="407"/>
                  </a:lnTo>
                  <a:lnTo>
                    <a:pt x="115" y="416"/>
                  </a:lnTo>
                  <a:lnTo>
                    <a:pt x="118" y="418"/>
                  </a:lnTo>
                  <a:lnTo>
                    <a:pt x="123" y="421"/>
                  </a:lnTo>
                  <a:lnTo>
                    <a:pt x="123" y="423"/>
                  </a:lnTo>
                  <a:lnTo>
                    <a:pt x="125" y="430"/>
                  </a:lnTo>
                  <a:lnTo>
                    <a:pt x="127" y="433"/>
                  </a:lnTo>
                  <a:lnTo>
                    <a:pt x="137" y="440"/>
                  </a:lnTo>
                  <a:lnTo>
                    <a:pt x="146" y="435"/>
                  </a:lnTo>
                  <a:lnTo>
                    <a:pt x="170" y="433"/>
                  </a:lnTo>
                  <a:lnTo>
                    <a:pt x="175" y="435"/>
                  </a:lnTo>
                  <a:lnTo>
                    <a:pt x="177" y="442"/>
                  </a:lnTo>
                  <a:lnTo>
                    <a:pt x="177" y="442"/>
                  </a:lnTo>
                  <a:lnTo>
                    <a:pt x="196" y="442"/>
                  </a:lnTo>
                  <a:lnTo>
                    <a:pt x="205" y="430"/>
                  </a:lnTo>
                  <a:lnTo>
                    <a:pt x="219" y="430"/>
                  </a:lnTo>
                  <a:lnTo>
                    <a:pt x="222" y="418"/>
                  </a:lnTo>
                  <a:lnTo>
                    <a:pt x="234" y="411"/>
                  </a:lnTo>
                  <a:lnTo>
                    <a:pt x="250" y="421"/>
                  </a:lnTo>
                  <a:lnTo>
                    <a:pt x="260" y="430"/>
                  </a:lnTo>
                  <a:lnTo>
                    <a:pt x="274" y="430"/>
                  </a:lnTo>
                  <a:lnTo>
                    <a:pt x="290" y="409"/>
                  </a:lnTo>
                  <a:lnTo>
                    <a:pt x="295" y="397"/>
                  </a:lnTo>
                  <a:lnTo>
                    <a:pt x="309" y="388"/>
                  </a:lnTo>
                  <a:lnTo>
                    <a:pt x="307" y="381"/>
                  </a:lnTo>
                  <a:lnTo>
                    <a:pt x="307" y="364"/>
                  </a:lnTo>
                  <a:lnTo>
                    <a:pt x="300" y="357"/>
                  </a:lnTo>
                  <a:lnTo>
                    <a:pt x="319" y="357"/>
                  </a:lnTo>
                  <a:lnTo>
                    <a:pt x="319" y="350"/>
                  </a:lnTo>
                  <a:lnTo>
                    <a:pt x="331" y="347"/>
                  </a:lnTo>
                  <a:lnTo>
                    <a:pt x="328" y="357"/>
                  </a:lnTo>
                  <a:lnTo>
                    <a:pt x="328" y="366"/>
                  </a:lnTo>
                  <a:lnTo>
                    <a:pt x="326" y="369"/>
                  </a:lnTo>
                  <a:lnTo>
                    <a:pt x="328" y="378"/>
                  </a:lnTo>
                  <a:lnTo>
                    <a:pt x="331" y="385"/>
                  </a:lnTo>
                  <a:lnTo>
                    <a:pt x="331" y="390"/>
                  </a:lnTo>
                  <a:lnTo>
                    <a:pt x="328" y="395"/>
                  </a:lnTo>
                  <a:lnTo>
                    <a:pt x="335" y="399"/>
                  </a:lnTo>
                  <a:lnTo>
                    <a:pt x="345" y="407"/>
                  </a:lnTo>
                  <a:lnTo>
                    <a:pt x="352" y="414"/>
                  </a:lnTo>
                  <a:lnTo>
                    <a:pt x="354" y="418"/>
                  </a:lnTo>
                  <a:lnTo>
                    <a:pt x="357" y="423"/>
                  </a:lnTo>
                  <a:lnTo>
                    <a:pt x="359" y="423"/>
                  </a:lnTo>
                  <a:lnTo>
                    <a:pt x="361" y="421"/>
                  </a:lnTo>
                  <a:lnTo>
                    <a:pt x="361" y="414"/>
                  </a:lnTo>
                  <a:lnTo>
                    <a:pt x="359" y="409"/>
                  </a:lnTo>
                  <a:lnTo>
                    <a:pt x="359" y="402"/>
                  </a:lnTo>
                  <a:lnTo>
                    <a:pt x="366" y="395"/>
                  </a:lnTo>
                  <a:lnTo>
                    <a:pt x="368" y="395"/>
                  </a:lnTo>
                  <a:lnTo>
                    <a:pt x="368" y="399"/>
                  </a:lnTo>
                  <a:lnTo>
                    <a:pt x="371" y="402"/>
                  </a:lnTo>
                  <a:lnTo>
                    <a:pt x="378" y="402"/>
                  </a:lnTo>
                  <a:lnTo>
                    <a:pt x="380" y="399"/>
                  </a:lnTo>
                  <a:lnTo>
                    <a:pt x="380" y="385"/>
                  </a:lnTo>
                  <a:lnTo>
                    <a:pt x="378" y="383"/>
                  </a:lnTo>
                  <a:lnTo>
                    <a:pt x="378" y="381"/>
                  </a:lnTo>
                  <a:lnTo>
                    <a:pt x="382" y="373"/>
                  </a:lnTo>
                  <a:lnTo>
                    <a:pt x="382" y="364"/>
                  </a:lnTo>
                  <a:lnTo>
                    <a:pt x="385" y="362"/>
                  </a:lnTo>
                  <a:lnTo>
                    <a:pt x="390" y="362"/>
                  </a:lnTo>
                  <a:lnTo>
                    <a:pt x="392" y="357"/>
                  </a:lnTo>
                  <a:lnTo>
                    <a:pt x="392" y="343"/>
                  </a:lnTo>
                  <a:lnTo>
                    <a:pt x="394" y="340"/>
                  </a:lnTo>
                  <a:lnTo>
                    <a:pt x="397" y="336"/>
                  </a:lnTo>
                  <a:lnTo>
                    <a:pt x="399" y="333"/>
                  </a:lnTo>
                  <a:lnTo>
                    <a:pt x="411" y="333"/>
                  </a:lnTo>
                  <a:lnTo>
                    <a:pt x="411" y="314"/>
                  </a:lnTo>
                  <a:lnTo>
                    <a:pt x="413" y="310"/>
                  </a:lnTo>
                  <a:lnTo>
                    <a:pt x="416" y="307"/>
                  </a:lnTo>
                  <a:lnTo>
                    <a:pt x="418" y="303"/>
                  </a:lnTo>
                  <a:lnTo>
                    <a:pt x="420" y="300"/>
                  </a:lnTo>
                  <a:lnTo>
                    <a:pt x="420" y="284"/>
                  </a:lnTo>
                  <a:lnTo>
                    <a:pt x="418" y="265"/>
                  </a:lnTo>
                  <a:lnTo>
                    <a:pt x="416" y="262"/>
                  </a:lnTo>
                  <a:lnTo>
                    <a:pt x="416" y="255"/>
                  </a:lnTo>
                  <a:lnTo>
                    <a:pt x="420" y="253"/>
                  </a:lnTo>
                  <a:lnTo>
                    <a:pt x="423" y="253"/>
                  </a:lnTo>
                  <a:lnTo>
                    <a:pt x="423" y="239"/>
                  </a:lnTo>
                  <a:lnTo>
                    <a:pt x="425" y="239"/>
                  </a:lnTo>
                  <a:lnTo>
                    <a:pt x="427" y="236"/>
                  </a:lnTo>
                  <a:lnTo>
                    <a:pt x="430" y="232"/>
                  </a:lnTo>
                  <a:lnTo>
                    <a:pt x="430" y="215"/>
                  </a:lnTo>
                  <a:lnTo>
                    <a:pt x="427" y="213"/>
                  </a:lnTo>
                  <a:lnTo>
                    <a:pt x="427" y="208"/>
                  </a:lnTo>
                  <a:lnTo>
                    <a:pt x="432" y="208"/>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58" name="Sri Lanka" descr="© INSCALE GmbH, 05.05.2010&#10;http://www.presentationload.com/">
              <a:extLst>
                <a:ext uri="{FF2B5EF4-FFF2-40B4-BE49-F238E27FC236}">
                  <a16:creationId xmlns:a16="http://schemas.microsoft.com/office/drawing/2014/main" id="{5FAFDE62-E585-4056-8220-8951E51482B8}"/>
                </a:ext>
              </a:extLst>
            </p:cNvPr>
            <p:cNvSpPr>
              <a:spLocks/>
            </p:cNvSpPr>
            <p:nvPr/>
          </p:nvSpPr>
          <p:spPr bwMode="gray">
            <a:xfrm>
              <a:off x="6377904" y="3945297"/>
              <a:ext cx="67424" cy="120738"/>
            </a:xfrm>
            <a:custGeom>
              <a:avLst/>
              <a:gdLst>
                <a:gd name="T0" fmla="*/ 2147483647 w 174"/>
                <a:gd name="T1" fmla="*/ 2147483647 h 306"/>
                <a:gd name="T2" fmla="*/ 2147483647 w 174"/>
                <a:gd name="T3" fmla="*/ 0 h 306"/>
                <a:gd name="T4" fmla="*/ 2147483647 w 174"/>
                <a:gd name="T5" fmla="*/ 0 h 306"/>
                <a:gd name="T6" fmla="*/ 2147483647 w 174"/>
                <a:gd name="T7" fmla="*/ 2147483647 h 306"/>
                <a:gd name="T8" fmla="*/ 2147483647 w 174"/>
                <a:gd name="T9" fmla="*/ 2147483647 h 306"/>
                <a:gd name="T10" fmla="*/ 2147483647 w 174"/>
                <a:gd name="T11" fmla="*/ 2147483647 h 306"/>
                <a:gd name="T12" fmla="*/ 2147483647 w 174"/>
                <a:gd name="T13" fmla="*/ 2147483647 h 306"/>
                <a:gd name="T14" fmla="*/ 2147483647 w 174"/>
                <a:gd name="T15" fmla="*/ 2147483647 h 306"/>
                <a:gd name="T16" fmla="*/ 2147483647 w 174"/>
                <a:gd name="T17" fmla="*/ 2147483647 h 306"/>
                <a:gd name="T18" fmla="*/ 2147483647 w 174"/>
                <a:gd name="T19" fmla="*/ 2147483647 h 306"/>
                <a:gd name="T20" fmla="*/ 2147483647 w 174"/>
                <a:gd name="T21" fmla="*/ 2147483647 h 306"/>
                <a:gd name="T22" fmla="*/ 2147483647 w 174"/>
                <a:gd name="T23" fmla="*/ 2147483647 h 306"/>
                <a:gd name="T24" fmla="*/ 2147483647 w 174"/>
                <a:gd name="T25" fmla="*/ 2147483647 h 306"/>
                <a:gd name="T26" fmla="*/ 2147483647 w 174"/>
                <a:gd name="T27" fmla="*/ 2147483647 h 306"/>
                <a:gd name="T28" fmla="*/ 2147483647 w 174"/>
                <a:gd name="T29" fmla="*/ 2147483647 h 306"/>
                <a:gd name="T30" fmla="*/ 2147483647 w 174"/>
                <a:gd name="T31" fmla="*/ 2147483647 h 306"/>
                <a:gd name="T32" fmla="*/ 2147483647 w 174"/>
                <a:gd name="T33" fmla="*/ 2147483647 h 306"/>
                <a:gd name="T34" fmla="*/ 2147483647 w 174"/>
                <a:gd name="T35" fmla="*/ 2147483647 h 306"/>
                <a:gd name="T36" fmla="*/ 2147483647 w 174"/>
                <a:gd name="T37" fmla="*/ 2147483647 h 306"/>
                <a:gd name="T38" fmla="*/ 2147483647 w 174"/>
                <a:gd name="T39" fmla="*/ 2147483647 h 306"/>
                <a:gd name="T40" fmla="*/ 0 w 174"/>
                <a:gd name="T41" fmla="*/ 2147483647 h 306"/>
                <a:gd name="T42" fmla="*/ 0 w 174"/>
                <a:gd name="T43" fmla="*/ 2147483647 h 306"/>
                <a:gd name="T44" fmla="*/ 2147483647 w 174"/>
                <a:gd name="T45" fmla="*/ 2147483647 h 306"/>
                <a:gd name="T46" fmla="*/ 2147483647 w 174"/>
                <a:gd name="T47" fmla="*/ 2147483647 h 306"/>
                <a:gd name="T48" fmla="*/ 2147483647 w 174"/>
                <a:gd name="T49" fmla="*/ 2147483647 h 306"/>
                <a:gd name="T50" fmla="*/ 2147483647 w 174"/>
                <a:gd name="T51" fmla="*/ 2147483647 h 306"/>
                <a:gd name="T52" fmla="*/ 2147483647 w 174"/>
                <a:gd name="T53" fmla="*/ 2147483647 h 306"/>
                <a:gd name="T54" fmla="*/ 0 w 174"/>
                <a:gd name="T55" fmla="*/ 2147483647 h 306"/>
                <a:gd name="T56" fmla="*/ 2147483647 w 174"/>
                <a:gd name="T57" fmla="*/ 2147483647 h 306"/>
                <a:gd name="T58" fmla="*/ 2147483647 w 174"/>
                <a:gd name="T59" fmla="*/ 2147483647 h 3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306"/>
                <a:gd name="T92" fmla="*/ 174 w 174"/>
                <a:gd name="T93" fmla="*/ 306 h 3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306">
                  <a:moveTo>
                    <a:pt x="24" y="6"/>
                  </a:moveTo>
                  <a:lnTo>
                    <a:pt x="36" y="0"/>
                  </a:lnTo>
                  <a:lnTo>
                    <a:pt x="48" y="0"/>
                  </a:lnTo>
                  <a:lnTo>
                    <a:pt x="66" y="6"/>
                  </a:lnTo>
                  <a:lnTo>
                    <a:pt x="78" y="12"/>
                  </a:lnTo>
                  <a:lnTo>
                    <a:pt x="114" y="66"/>
                  </a:lnTo>
                  <a:lnTo>
                    <a:pt x="132" y="84"/>
                  </a:lnTo>
                  <a:lnTo>
                    <a:pt x="126" y="120"/>
                  </a:lnTo>
                  <a:lnTo>
                    <a:pt x="150" y="114"/>
                  </a:lnTo>
                  <a:lnTo>
                    <a:pt x="156" y="168"/>
                  </a:lnTo>
                  <a:lnTo>
                    <a:pt x="162" y="174"/>
                  </a:lnTo>
                  <a:lnTo>
                    <a:pt x="168" y="198"/>
                  </a:lnTo>
                  <a:lnTo>
                    <a:pt x="174" y="228"/>
                  </a:lnTo>
                  <a:lnTo>
                    <a:pt x="174" y="258"/>
                  </a:lnTo>
                  <a:lnTo>
                    <a:pt x="156" y="276"/>
                  </a:lnTo>
                  <a:lnTo>
                    <a:pt x="120" y="294"/>
                  </a:lnTo>
                  <a:lnTo>
                    <a:pt x="84" y="306"/>
                  </a:lnTo>
                  <a:lnTo>
                    <a:pt x="48" y="306"/>
                  </a:lnTo>
                  <a:lnTo>
                    <a:pt x="24" y="282"/>
                  </a:lnTo>
                  <a:lnTo>
                    <a:pt x="12" y="240"/>
                  </a:lnTo>
                  <a:lnTo>
                    <a:pt x="0" y="192"/>
                  </a:lnTo>
                  <a:lnTo>
                    <a:pt x="0" y="156"/>
                  </a:lnTo>
                  <a:lnTo>
                    <a:pt x="12" y="138"/>
                  </a:lnTo>
                  <a:lnTo>
                    <a:pt x="18" y="132"/>
                  </a:lnTo>
                  <a:lnTo>
                    <a:pt x="24" y="120"/>
                  </a:lnTo>
                  <a:lnTo>
                    <a:pt x="30" y="102"/>
                  </a:lnTo>
                  <a:lnTo>
                    <a:pt x="30" y="78"/>
                  </a:lnTo>
                  <a:lnTo>
                    <a:pt x="0" y="36"/>
                  </a:lnTo>
                  <a:lnTo>
                    <a:pt x="24" y="36"/>
                  </a:lnTo>
                  <a:lnTo>
                    <a:pt x="24" y="6"/>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59" name="Spanien" descr="© INSCALE GmbH, 05.05.2010&#10;http://www.presentationload.com/">
              <a:extLst>
                <a:ext uri="{FF2B5EF4-FFF2-40B4-BE49-F238E27FC236}">
                  <a16:creationId xmlns:a16="http://schemas.microsoft.com/office/drawing/2014/main" id="{A82760D6-01A3-4A2D-B1FB-2CE8319E7092}"/>
                </a:ext>
              </a:extLst>
            </p:cNvPr>
            <p:cNvSpPr>
              <a:spLocks noEditPoints="1"/>
            </p:cNvSpPr>
            <p:nvPr/>
          </p:nvSpPr>
          <p:spPr bwMode="gray">
            <a:xfrm>
              <a:off x="3914539" y="2852385"/>
              <a:ext cx="348101" cy="244612"/>
            </a:xfrm>
            <a:custGeom>
              <a:avLst/>
              <a:gdLst>
                <a:gd name="T0" fmla="*/ 2147483647 w 876"/>
                <a:gd name="T1" fmla="*/ 2147483647 h 618"/>
                <a:gd name="T2" fmla="*/ 2147483647 w 876"/>
                <a:gd name="T3" fmla="*/ 2147483647 h 618"/>
                <a:gd name="T4" fmla="*/ 2147483647 w 876"/>
                <a:gd name="T5" fmla="*/ 2147483647 h 618"/>
                <a:gd name="T6" fmla="*/ 2147483647 w 876"/>
                <a:gd name="T7" fmla="*/ 2147483647 h 618"/>
                <a:gd name="T8" fmla="*/ 2147483647 w 876"/>
                <a:gd name="T9" fmla="*/ 2147483647 h 618"/>
                <a:gd name="T10" fmla="*/ 2147483647 w 876"/>
                <a:gd name="T11" fmla="*/ 2147483647 h 618"/>
                <a:gd name="T12" fmla="*/ 2147483647 w 876"/>
                <a:gd name="T13" fmla="*/ 2147483647 h 618"/>
                <a:gd name="T14" fmla="*/ 2147483647 w 876"/>
                <a:gd name="T15" fmla="*/ 2147483647 h 618"/>
                <a:gd name="T16" fmla="*/ 2147483647 w 876"/>
                <a:gd name="T17" fmla="*/ 2147483647 h 618"/>
                <a:gd name="T18" fmla="*/ 2147483647 w 876"/>
                <a:gd name="T19" fmla="*/ 2147483647 h 618"/>
                <a:gd name="T20" fmla="*/ 2147483647 w 876"/>
                <a:gd name="T21" fmla="*/ 2147483647 h 618"/>
                <a:gd name="T22" fmla="*/ 2147483647 w 876"/>
                <a:gd name="T23" fmla="*/ 2147483647 h 618"/>
                <a:gd name="T24" fmla="*/ 2147483647 w 876"/>
                <a:gd name="T25" fmla="*/ 2147483647 h 618"/>
                <a:gd name="T26" fmla="*/ 2147483647 w 876"/>
                <a:gd name="T27" fmla="*/ 2147483647 h 618"/>
                <a:gd name="T28" fmla="*/ 2147483647 w 876"/>
                <a:gd name="T29" fmla="*/ 2147483647 h 618"/>
                <a:gd name="T30" fmla="*/ 2147483647 w 876"/>
                <a:gd name="T31" fmla="*/ 2147483647 h 618"/>
                <a:gd name="T32" fmla="*/ 2147483647 w 876"/>
                <a:gd name="T33" fmla="*/ 2147483647 h 618"/>
                <a:gd name="T34" fmla="*/ 2147483647 w 876"/>
                <a:gd name="T35" fmla="*/ 2147483647 h 618"/>
                <a:gd name="T36" fmla="*/ 2147483647 w 876"/>
                <a:gd name="T37" fmla="*/ 2147483647 h 618"/>
                <a:gd name="T38" fmla="*/ 2147483647 w 876"/>
                <a:gd name="T39" fmla="*/ 2147483647 h 618"/>
                <a:gd name="T40" fmla="*/ 2147483647 w 876"/>
                <a:gd name="T41" fmla="*/ 0 h 618"/>
                <a:gd name="T42" fmla="*/ 2147483647 w 876"/>
                <a:gd name="T43" fmla="*/ 2147483647 h 618"/>
                <a:gd name="T44" fmla="*/ 0 w 876"/>
                <a:gd name="T45" fmla="*/ 2147483647 h 618"/>
                <a:gd name="T46" fmla="*/ 2147483647 w 876"/>
                <a:gd name="T47" fmla="*/ 2147483647 h 618"/>
                <a:gd name="T48" fmla="*/ 2147483647 w 876"/>
                <a:gd name="T49" fmla="*/ 2147483647 h 618"/>
                <a:gd name="T50" fmla="*/ 2147483647 w 876"/>
                <a:gd name="T51" fmla="*/ 2147483647 h 618"/>
                <a:gd name="T52" fmla="*/ 2147483647 w 876"/>
                <a:gd name="T53" fmla="*/ 2147483647 h 618"/>
                <a:gd name="T54" fmla="*/ 2147483647 w 876"/>
                <a:gd name="T55" fmla="*/ 2147483647 h 618"/>
                <a:gd name="T56" fmla="*/ 2147483647 w 876"/>
                <a:gd name="T57" fmla="*/ 2147483647 h 618"/>
                <a:gd name="T58" fmla="*/ 2147483647 w 876"/>
                <a:gd name="T59" fmla="*/ 2147483647 h 618"/>
                <a:gd name="T60" fmla="*/ 2147483647 w 876"/>
                <a:gd name="T61" fmla="*/ 2147483647 h 618"/>
                <a:gd name="T62" fmla="*/ 2147483647 w 876"/>
                <a:gd name="T63" fmla="*/ 2147483647 h 618"/>
                <a:gd name="T64" fmla="*/ 2147483647 w 876"/>
                <a:gd name="T65" fmla="*/ 2147483647 h 618"/>
                <a:gd name="T66" fmla="*/ 2147483647 w 876"/>
                <a:gd name="T67" fmla="*/ 2147483647 h 618"/>
                <a:gd name="T68" fmla="*/ 2147483647 w 876"/>
                <a:gd name="T69" fmla="*/ 2147483647 h 618"/>
                <a:gd name="T70" fmla="*/ 2147483647 w 876"/>
                <a:gd name="T71" fmla="*/ 2147483647 h 618"/>
                <a:gd name="T72" fmla="*/ 2147483647 w 876"/>
                <a:gd name="T73" fmla="*/ 2147483647 h 618"/>
                <a:gd name="T74" fmla="*/ 2147483647 w 876"/>
                <a:gd name="T75" fmla="*/ 2147483647 h 618"/>
                <a:gd name="T76" fmla="*/ 2147483647 w 876"/>
                <a:gd name="T77" fmla="*/ 2147483647 h 618"/>
                <a:gd name="T78" fmla="*/ 2147483647 w 876"/>
                <a:gd name="T79" fmla="*/ 2147483647 h 618"/>
                <a:gd name="T80" fmla="*/ 2147483647 w 876"/>
                <a:gd name="T81" fmla="*/ 2147483647 h 618"/>
                <a:gd name="T82" fmla="*/ 2147483647 w 876"/>
                <a:gd name="T83" fmla="*/ 2147483647 h 618"/>
                <a:gd name="T84" fmla="*/ 2147483647 w 876"/>
                <a:gd name="T85" fmla="*/ 2147483647 h 618"/>
                <a:gd name="T86" fmla="*/ 2147483647 w 876"/>
                <a:gd name="T87" fmla="*/ 2147483647 h 618"/>
                <a:gd name="T88" fmla="*/ 2147483647 w 876"/>
                <a:gd name="T89" fmla="*/ 2147483647 h 618"/>
                <a:gd name="T90" fmla="*/ 2147483647 w 876"/>
                <a:gd name="T91" fmla="*/ 2147483647 h 618"/>
                <a:gd name="T92" fmla="*/ 2147483647 w 876"/>
                <a:gd name="T93" fmla="*/ 2147483647 h 618"/>
                <a:gd name="T94" fmla="*/ 2147483647 w 876"/>
                <a:gd name="T95" fmla="*/ 2147483647 h 618"/>
                <a:gd name="T96" fmla="*/ 2147483647 w 876"/>
                <a:gd name="T97" fmla="*/ 2147483647 h 618"/>
                <a:gd name="T98" fmla="*/ 2147483647 w 876"/>
                <a:gd name="T99" fmla="*/ 2147483647 h 618"/>
                <a:gd name="T100" fmla="*/ 2147483647 w 876"/>
                <a:gd name="T101" fmla="*/ 2147483647 h 618"/>
                <a:gd name="T102" fmla="*/ 2147483647 w 876"/>
                <a:gd name="T103" fmla="*/ 2147483647 h 618"/>
                <a:gd name="T104" fmla="*/ 2147483647 w 876"/>
                <a:gd name="T105" fmla="*/ 2147483647 h 618"/>
                <a:gd name="T106" fmla="*/ 2147483647 w 876"/>
                <a:gd name="T107" fmla="*/ 2147483647 h 618"/>
                <a:gd name="T108" fmla="*/ 2147483647 w 876"/>
                <a:gd name="T109" fmla="*/ 2147483647 h 6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6"/>
                <a:gd name="T166" fmla="*/ 0 h 618"/>
                <a:gd name="T167" fmla="*/ 876 w 876"/>
                <a:gd name="T168" fmla="*/ 618 h 6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6" h="618">
                  <a:moveTo>
                    <a:pt x="804" y="318"/>
                  </a:moveTo>
                  <a:lnTo>
                    <a:pt x="798" y="312"/>
                  </a:lnTo>
                  <a:lnTo>
                    <a:pt x="798" y="306"/>
                  </a:lnTo>
                  <a:lnTo>
                    <a:pt x="786" y="306"/>
                  </a:lnTo>
                  <a:lnTo>
                    <a:pt x="762" y="318"/>
                  </a:lnTo>
                  <a:lnTo>
                    <a:pt x="750" y="330"/>
                  </a:lnTo>
                  <a:lnTo>
                    <a:pt x="750" y="336"/>
                  </a:lnTo>
                  <a:lnTo>
                    <a:pt x="756" y="342"/>
                  </a:lnTo>
                  <a:lnTo>
                    <a:pt x="768" y="342"/>
                  </a:lnTo>
                  <a:lnTo>
                    <a:pt x="774" y="348"/>
                  </a:lnTo>
                  <a:lnTo>
                    <a:pt x="774" y="354"/>
                  </a:lnTo>
                  <a:lnTo>
                    <a:pt x="804" y="354"/>
                  </a:lnTo>
                  <a:lnTo>
                    <a:pt x="816" y="342"/>
                  </a:lnTo>
                  <a:lnTo>
                    <a:pt x="816" y="324"/>
                  </a:lnTo>
                  <a:lnTo>
                    <a:pt x="810" y="318"/>
                  </a:lnTo>
                  <a:lnTo>
                    <a:pt x="804" y="318"/>
                  </a:lnTo>
                  <a:close/>
                  <a:moveTo>
                    <a:pt x="672" y="390"/>
                  </a:moveTo>
                  <a:lnTo>
                    <a:pt x="678" y="396"/>
                  </a:lnTo>
                  <a:lnTo>
                    <a:pt x="684" y="396"/>
                  </a:lnTo>
                  <a:lnTo>
                    <a:pt x="690" y="390"/>
                  </a:lnTo>
                  <a:lnTo>
                    <a:pt x="690" y="372"/>
                  </a:lnTo>
                  <a:lnTo>
                    <a:pt x="684" y="372"/>
                  </a:lnTo>
                  <a:lnTo>
                    <a:pt x="672" y="384"/>
                  </a:lnTo>
                  <a:lnTo>
                    <a:pt x="672" y="390"/>
                  </a:lnTo>
                  <a:close/>
                  <a:moveTo>
                    <a:pt x="840" y="300"/>
                  </a:moveTo>
                  <a:lnTo>
                    <a:pt x="840" y="306"/>
                  </a:lnTo>
                  <a:lnTo>
                    <a:pt x="852" y="318"/>
                  </a:lnTo>
                  <a:lnTo>
                    <a:pt x="870" y="318"/>
                  </a:lnTo>
                  <a:lnTo>
                    <a:pt x="876" y="312"/>
                  </a:lnTo>
                  <a:lnTo>
                    <a:pt x="864" y="300"/>
                  </a:lnTo>
                  <a:lnTo>
                    <a:pt x="852" y="300"/>
                  </a:lnTo>
                  <a:lnTo>
                    <a:pt x="846" y="294"/>
                  </a:lnTo>
                  <a:lnTo>
                    <a:pt x="840" y="300"/>
                  </a:lnTo>
                  <a:close/>
                  <a:moveTo>
                    <a:pt x="804" y="150"/>
                  </a:moveTo>
                  <a:lnTo>
                    <a:pt x="798" y="138"/>
                  </a:lnTo>
                  <a:lnTo>
                    <a:pt x="798" y="132"/>
                  </a:lnTo>
                  <a:lnTo>
                    <a:pt x="810" y="120"/>
                  </a:lnTo>
                  <a:lnTo>
                    <a:pt x="798" y="114"/>
                  </a:lnTo>
                  <a:lnTo>
                    <a:pt x="792" y="108"/>
                  </a:lnTo>
                  <a:lnTo>
                    <a:pt x="792" y="102"/>
                  </a:lnTo>
                  <a:lnTo>
                    <a:pt x="780" y="102"/>
                  </a:lnTo>
                  <a:lnTo>
                    <a:pt x="780" y="108"/>
                  </a:lnTo>
                  <a:lnTo>
                    <a:pt x="774" y="114"/>
                  </a:lnTo>
                  <a:lnTo>
                    <a:pt x="756" y="114"/>
                  </a:lnTo>
                  <a:lnTo>
                    <a:pt x="750" y="108"/>
                  </a:lnTo>
                  <a:lnTo>
                    <a:pt x="726" y="108"/>
                  </a:lnTo>
                  <a:lnTo>
                    <a:pt x="726" y="102"/>
                  </a:lnTo>
                  <a:lnTo>
                    <a:pt x="708" y="102"/>
                  </a:lnTo>
                  <a:lnTo>
                    <a:pt x="696" y="108"/>
                  </a:lnTo>
                  <a:lnTo>
                    <a:pt x="690" y="84"/>
                  </a:lnTo>
                  <a:lnTo>
                    <a:pt x="672" y="84"/>
                  </a:lnTo>
                  <a:lnTo>
                    <a:pt x="672" y="78"/>
                  </a:lnTo>
                  <a:lnTo>
                    <a:pt x="666" y="72"/>
                  </a:lnTo>
                  <a:lnTo>
                    <a:pt x="648" y="72"/>
                  </a:lnTo>
                  <a:lnTo>
                    <a:pt x="642" y="78"/>
                  </a:lnTo>
                  <a:lnTo>
                    <a:pt x="642" y="90"/>
                  </a:lnTo>
                  <a:lnTo>
                    <a:pt x="624" y="96"/>
                  </a:lnTo>
                  <a:lnTo>
                    <a:pt x="624" y="84"/>
                  </a:lnTo>
                  <a:lnTo>
                    <a:pt x="594" y="84"/>
                  </a:lnTo>
                  <a:lnTo>
                    <a:pt x="582" y="72"/>
                  </a:lnTo>
                  <a:lnTo>
                    <a:pt x="570" y="72"/>
                  </a:lnTo>
                  <a:lnTo>
                    <a:pt x="564" y="78"/>
                  </a:lnTo>
                  <a:lnTo>
                    <a:pt x="546" y="60"/>
                  </a:lnTo>
                  <a:lnTo>
                    <a:pt x="510" y="60"/>
                  </a:lnTo>
                  <a:lnTo>
                    <a:pt x="516" y="54"/>
                  </a:lnTo>
                  <a:lnTo>
                    <a:pt x="516" y="48"/>
                  </a:lnTo>
                  <a:lnTo>
                    <a:pt x="504" y="36"/>
                  </a:lnTo>
                  <a:lnTo>
                    <a:pt x="498" y="36"/>
                  </a:lnTo>
                  <a:lnTo>
                    <a:pt x="492" y="42"/>
                  </a:lnTo>
                  <a:lnTo>
                    <a:pt x="486" y="36"/>
                  </a:lnTo>
                  <a:lnTo>
                    <a:pt x="450" y="36"/>
                  </a:lnTo>
                  <a:lnTo>
                    <a:pt x="390" y="24"/>
                  </a:lnTo>
                  <a:lnTo>
                    <a:pt x="378" y="24"/>
                  </a:lnTo>
                  <a:lnTo>
                    <a:pt x="348" y="36"/>
                  </a:lnTo>
                  <a:lnTo>
                    <a:pt x="294" y="30"/>
                  </a:lnTo>
                  <a:lnTo>
                    <a:pt x="258" y="12"/>
                  </a:lnTo>
                  <a:lnTo>
                    <a:pt x="234" y="12"/>
                  </a:lnTo>
                  <a:lnTo>
                    <a:pt x="216" y="18"/>
                  </a:lnTo>
                  <a:lnTo>
                    <a:pt x="162" y="18"/>
                  </a:lnTo>
                  <a:lnTo>
                    <a:pt x="150" y="12"/>
                  </a:lnTo>
                  <a:lnTo>
                    <a:pt x="138" y="12"/>
                  </a:lnTo>
                  <a:lnTo>
                    <a:pt x="126" y="6"/>
                  </a:lnTo>
                  <a:lnTo>
                    <a:pt x="120" y="0"/>
                  </a:lnTo>
                  <a:lnTo>
                    <a:pt x="108" y="0"/>
                  </a:lnTo>
                  <a:lnTo>
                    <a:pt x="96" y="6"/>
                  </a:lnTo>
                  <a:lnTo>
                    <a:pt x="72" y="30"/>
                  </a:lnTo>
                  <a:lnTo>
                    <a:pt x="60" y="30"/>
                  </a:lnTo>
                  <a:lnTo>
                    <a:pt x="48" y="36"/>
                  </a:lnTo>
                  <a:lnTo>
                    <a:pt x="30" y="36"/>
                  </a:lnTo>
                  <a:lnTo>
                    <a:pt x="6" y="48"/>
                  </a:lnTo>
                  <a:lnTo>
                    <a:pt x="0" y="60"/>
                  </a:lnTo>
                  <a:lnTo>
                    <a:pt x="0" y="72"/>
                  </a:lnTo>
                  <a:lnTo>
                    <a:pt x="6" y="78"/>
                  </a:lnTo>
                  <a:lnTo>
                    <a:pt x="12" y="90"/>
                  </a:lnTo>
                  <a:lnTo>
                    <a:pt x="24" y="96"/>
                  </a:lnTo>
                  <a:lnTo>
                    <a:pt x="30" y="102"/>
                  </a:lnTo>
                  <a:lnTo>
                    <a:pt x="18" y="138"/>
                  </a:lnTo>
                  <a:lnTo>
                    <a:pt x="24" y="144"/>
                  </a:lnTo>
                  <a:lnTo>
                    <a:pt x="24" y="150"/>
                  </a:lnTo>
                  <a:lnTo>
                    <a:pt x="30" y="144"/>
                  </a:lnTo>
                  <a:lnTo>
                    <a:pt x="54" y="132"/>
                  </a:lnTo>
                  <a:lnTo>
                    <a:pt x="78" y="132"/>
                  </a:lnTo>
                  <a:lnTo>
                    <a:pt x="78" y="138"/>
                  </a:lnTo>
                  <a:lnTo>
                    <a:pt x="66" y="150"/>
                  </a:lnTo>
                  <a:lnTo>
                    <a:pt x="60" y="150"/>
                  </a:lnTo>
                  <a:lnTo>
                    <a:pt x="60" y="156"/>
                  </a:lnTo>
                  <a:lnTo>
                    <a:pt x="72" y="156"/>
                  </a:lnTo>
                  <a:lnTo>
                    <a:pt x="78" y="150"/>
                  </a:lnTo>
                  <a:lnTo>
                    <a:pt x="96" y="150"/>
                  </a:lnTo>
                  <a:lnTo>
                    <a:pt x="102" y="156"/>
                  </a:lnTo>
                  <a:lnTo>
                    <a:pt x="114" y="156"/>
                  </a:lnTo>
                  <a:lnTo>
                    <a:pt x="120" y="150"/>
                  </a:lnTo>
                  <a:lnTo>
                    <a:pt x="120" y="144"/>
                  </a:lnTo>
                  <a:lnTo>
                    <a:pt x="174" y="144"/>
                  </a:lnTo>
                  <a:lnTo>
                    <a:pt x="174" y="162"/>
                  </a:lnTo>
                  <a:lnTo>
                    <a:pt x="180" y="162"/>
                  </a:lnTo>
                  <a:lnTo>
                    <a:pt x="192" y="168"/>
                  </a:lnTo>
                  <a:lnTo>
                    <a:pt x="192" y="174"/>
                  </a:lnTo>
                  <a:lnTo>
                    <a:pt x="168" y="198"/>
                  </a:lnTo>
                  <a:lnTo>
                    <a:pt x="144" y="210"/>
                  </a:lnTo>
                  <a:lnTo>
                    <a:pt x="138" y="216"/>
                  </a:lnTo>
                  <a:lnTo>
                    <a:pt x="138" y="222"/>
                  </a:lnTo>
                  <a:lnTo>
                    <a:pt x="144" y="222"/>
                  </a:lnTo>
                  <a:lnTo>
                    <a:pt x="150" y="228"/>
                  </a:lnTo>
                  <a:lnTo>
                    <a:pt x="150" y="240"/>
                  </a:lnTo>
                  <a:lnTo>
                    <a:pt x="144" y="258"/>
                  </a:lnTo>
                  <a:lnTo>
                    <a:pt x="144" y="276"/>
                  </a:lnTo>
                  <a:lnTo>
                    <a:pt x="138" y="276"/>
                  </a:lnTo>
                  <a:lnTo>
                    <a:pt x="132" y="282"/>
                  </a:lnTo>
                  <a:lnTo>
                    <a:pt x="132" y="294"/>
                  </a:lnTo>
                  <a:lnTo>
                    <a:pt x="138" y="300"/>
                  </a:lnTo>
                  <a:lnTo>
                    <a:pt x="138" y="312"/>
                  </a:lnTo>
                  <a:lnTo>
                    <a:pt x="126" y="324"/>
                  </a:lnTo>
                  <a:lnTo>
                    <a:pt x="90" y="324"/>
                  </a:lnTo>
                  <a:lnTo>
                    <a:pt x="114" y="348"/>
                  </a:lnTo>
                  <a:lnTo>
                    <a:pt x="114" y="360"/>
                  </a:lnTo>
                  <a:lnTo>
                    <a:pt x="120" y="366"/>
                  </a:lnTo>
                  <a:lnTo>
                    <a:pt x="132" y="372"/>
                  </a:lnTo>
                  <a:lnTo>
                    <a:pt x="132" y="378"/>
                  </a:lnTo>
                  <a:lnTo>
                    <a:pt x="120" y="390"/>
                  </a:lnTo>
                  <a:lnTo>
                    <a:pt x="108" y="396"/>
                  </a:lnTo>
                  <a:lnTo>
                    <a:pt x="96" y="408"/>
                  </a:lnTo>
                  <a:lnTo>
                    <a:pt x="96" y="414"/>
                  </a:lnTo>
                  <a:lnTo>
                    <a:pt x="102" y="420"/>
                  </a:lnTo>
                  <a:lnTo>
                    <a:pt x="102" y="426"/>
                  </a:lnTo>
                  <a:lnTo>
                    <a:pt x="108" y="438"/>
                  </a:lnTo>
                  <a:lnTo>
                    <a:pt x="114" y="444"/>
                  </a:lnTo>
                  <a:lnTo>
                    <a:pt x="126" y="444"/>
                  </a:lnTo>
                  <a:lnTo>
                    <a:pt x="126" y="450"/>
                  </a:lnTo>
                  <a:lnTo>
                    <a:pt x="114" y="462"/>
                  </a:lnTo>
                  <a:lnTo>
                    <a:pt x="102" y="462"/>
                  </a:lnTo>
                  <a:lnTo>
                    <a:pt x="96" y="474"/>
                  </a:lnTo>
                  <a:lnTo>
                    <a:pt x="90" y="480"/>
                  </a:lnTo>
                  <a:lnTo>
                    <a:pt x="90" y="528"/>
                  </a:lnTo>
                  <a:lnTo>
                    <a:pt x="120" y="528"/>
                  </a:lnTo>
                  <a:lnTo>
                    <a:pt x="144" y="546"/>
                  </a:lnTo>
                  <a:lnTo>
                    <a:pt x="162" y="546"/>
                  </a:lnTo>
                  <a:lnTo>
                    <a:pt x="156" y="576"/>
                  </a:lnTo>
                  <a:lnTo>
                    <a:pt x="162" y="576"/>
                  </a:lnTo>
                  <a:lnTo>
                    <a:pt x="162" y="594"/>
                  </a:lnTo>
                  <a:lnTo>
                    <a:pt x="168" y="606"/>
                  </a:lnTo>
                  <a:lnTo>
                    <a:pt x="174" y="612"/>
                  </a:lnTo>
                  <a:lnTo>
                    <a:pt x="192" y="612"/>
                  </a:lnTo>
                  <a:lnTo>
                    <a:pt x="198" y="618"/>
                  </a:lnTo>
                  <a:lnTo>
                    <a:pt x="204" y="618"/>
                  </a:lnTo>
                  <a:lnTo>
                    <a:pt x="210" y="612"/>
                  </a:lnTo>
                  <a:lnTo>
                    <a:pt x="222" y="606"/>
                  </a:lnTo>
                  <a:lnTo>
                    <a:pt x="240" y="588"/>
                  </a:lnTo>
                  <a:lnTo>
                    <a:pt x="252" y="582"/>
                  </a:lnTo>
                  <a:lnTo>
                    <a:pt x="264" y="582"/>
                  </a:lnTo>
                  <a:lnTo>
                    <a:pt x="294" y="564"/>
                  </a:lnTo>
                  <a:lnTo>
                    <a:pt x="360" y="564"/>
                  </a:lnTo>
                  <a:lnTo>
                    <a:pt x="366" y="558"/>
                  </a:lnTo>
                  <a:lnTo>
                    <a:pt x="378" y="558"/>
                  </a:lnTo>
                  <a:lnTo>
                    <a:pt x="390" y="570"/>
                  </a:lnTo>
                  <a:lnTo>
                    <a:pt x="396" y="570"/>
                  </a:lnTo>
                  <a:lnTo>
                    <a:pt x="408" y="564"/>
                  </a:lnTo>
                  <a:lnTo>
                    <a:pt x="420" y="564"/>
                  </a:lnTo>
                  <a:lnTo>
                    <a:pt x="426" y="558"/>
                  </a:lnTo>
                  <a:lnTo>
                    <a:pt x="432" y="558"/>
                  </a:lnTo>
                  <a:lnTo>
                    <a:pt x="432" y="570"/>
                  </a:lnTo>
                  <a:lnTo>
                    <a:pt x="438" y="570"/>
                  </a:lnTo>
                  <a:lnTo>
                    <a:pt x="450" y="558"/>
                  </a:lnTo>
                  <a:lnTo>
                    <a:pt x="462" y="534"/>
                  </a:lnTo>
                  <a:lnTo>
                    <a:pt x="462" y="522"/>
                  </a:lnTo>
                  <a:lnTo>
                    <a:pt x="498" y="492"/>
                  </a:lnTo>
                  <a:lnTo>
                    <a:pt x="528" y="492"/>
                  </a:lnTo>
                  <a:lnTo>
                    <a:pt x="534" y="474"/>
                  </a:lnTo>
                  <a:lnTo>
                    <a:pt x="534" y="468"/>
                  </a:lnTo>
                  <a:lnTo>
                    <a:pt x="540" y="462"/>
                  </a:lnTo>
                  <a:lnTo>
                    <a:pt x="540" y="450"/>
                  </a:lnTo>
                  <a:lnTo>
                    <a:pt x="546" y="444"/>
                  </a:lnTo>
                  <a:lnTo>
                    <a:pt x="552" y="432"/>
                  </a:lnTo>
                  <a:lnTo>
                    <a:pt x="552" y="426"/>
                  </a:lnTo>
                  <a:lnTo>
                    <a:pt x="570" y="426"/>
                  </a:lnTo>
                  <a:lnTo>
                    <a:pt x="594" y="414"/>
                  </a:lnTo>
                  <a:lnTo>
                    <a:pt x="600" y="408"/>
                  </a:lnTo>
                  <a:lnTo>
                    <a:pt x="594" y="396"/>
                  </a:lnTo>
                  <a:lnTo>
                    <a:pt x="588" y="390"/>
                  </a:lnTo>
                  <a:lnTo>
                    <a:pt x="582" y="378"/>
                  </a:lnTo>
                  <a:lnTo>
                    <a:pt x="576" y="372"/>
                  </a:lnTo>
                  <a:lnTo>
                    <a:pt x="570" y="372"/>
                  </a:lnTo>
                  <a:lnTo>
                    <a:pt x="570" y="336"/>
                  </a:lnTo>
                  <a:lnTo>
                    <a:pt x="582" y="312"/>
                  </a:lnTo>
                  <a:lnTo>
                    <a:pt x="594" y="306"/>
                  </a:lnTo>
                  <a:lnTo>
                    <a:pt x="600" y="294"/>
                  </a:lnTo>
                  <a:lnTo>
                    <a:pt x="612" y="282"/>
                  </a:lnTo>
                  <a:lnTo>
                    <a:pt x="618" y="270"/>
                  </a:lnTo>
                  <a:lnTo>
                    <a:pt x="630" y="258"/>
                  </a:lnTo>
                  <a:lnTo>
                    <a:pt x="642" y="258"/>
                  </a:lnTo>
                  <a:lnTo>
                    <a:pt x="654" y="246"/>
                  </a:lnTo>
                  <a:lnTo>
                    <a:pt x="654" y="240"/>
                  </a:lnTo>
                  <a:lnTo>
                    <a:pt x="648" y="240"/>
                  </a:lnTo>
                  <a:lnTo>
                    <a:pt x="648" y="228"/>
                  </a:lnTo>
                  <a:lnTo>
                    <a:pt x="654" y="222"/>
                  </a:lnTo>
                  <a:lnTo>
                    <a:pt x="726" y="198"/>
                  </a:lnTo>
                  <a:lnTo>
                    <a:pt x="750" y="186"/>
                  </a:lnTo>
                  <a:lnTo>
                    <a:pt x="756" y="174"/>
                  </a:lnTo>
                  <a:lnTo>
                    <a:pt x="768" y="168"/>
                  </a:lnTo>
                  <a:lnTo>
                    <a:pt x="774" y="168"/>
                  </a:lnTo>
                  <a:lnTo>
                    <a:pt x="786" y="156"/>
                  </a:lnTo>
                  <a:lnTo>
                    <a:pt x="798" y="156"/>
                  </a:lnTo>
                  <a:lnTo>
                    <a:pt x="804" y="150"/>
                  </a:lnTo>
                  <a:close/>
                </a:path>
              </a:pathLst>
            </a:custGeom>
            <a:solidFill>
              <a:schemeClr val="accent1"/>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60" name="Somalia" descr="© INSCALE GmbH, 05.05.2010&#10;http://www.presentationload.com/">
              <a:extLst>
                <a:ext uri="{FF2B5EF4-FFF2-40B4-BE49-F238E27FC236}">
                  <a16:creationId xmlns:a16="http://schemas.microsoft.com/office/drawing/2014/main" id="{8D90C75D-B132-4E62-BE88-A7FCE1DDE2F2}"/>
                </a:ext>
              </a:extLst>
            </p:cNvPr>
            <p:cNvSpPr>
              <a:spLocks/>
            </p:cNvSpPr>
            <p:nvPr/>
          </p:nvSpPr>
          <p:spPr bwMode="gray">
            <a:xfrm>
              <a:off x="5289696" y="3866896"/>
              <a:ext cx="283812" cy="440615"/>
            </a:xfrm>
            <a:custGeom>
              <a:avLst/>
              <a:gdLst>
                <a:gd name="T0" fmla="*/ 2147483647 w 714"/>
                <a:gd name="T1" fmla="*/ 2147483647 h 1104"/>
                <a:gd name="T2" fmla="*/ 2147483647 w 714"/>
                <a:gd name="T3" fmla="*/ 2147483647 h 1104"/>
                <a:gd name="T4" fmla="*/ 2147483647 w 714"/>
                <a:gd name="T5" fmla="*/ 2147483647 h 1104"/>
                <a:gd name="T6" fmla="*/ 2147483647 w 714"/>
                <a:gd name="T7" fmla="*/ 2147483647 h 1104"/>
                <a:gd name="T8" fmla="*/ 2147483647 w 714"/>
                <a:gd name="T9" fmla="*/ 2147483647 h 1104"/>
                <a:gd name="T10" fmla="*/ 2147483647 w 714"/>
                <a:gd name="T11" fmla="*/ 2147483647 h 1104"/>
                <a:gd name="T12" fmla="*/ 2147483647 w 714"/>
                <a:gd name="T13" fmla="*/ 2147483647 h 1104"/>
                <a:gd name="T14" fmla="*/ 2147483647 w 714"/>
                <a:gd name="T15" fmla="*/ 2147483647 h 1104"/>
                <a:gd name="T16" fmla="*/ 2147483647 w 714"/>
                <a:gd name="T17" fmla="*/ 2147483647 h 1104"/>
                <a:gd name="T18" fmla="*/ 2147483647 w 714"/>
                <a:gd name="T19" fmla="*/ 2147483647 h 1104"/>
                <a:gd name="T20" fmla="*/ 2147483647 w 714"/>
                <a:gd name="T21" fmla="*/ 2147483647 h 1104"/>
                <a:gd name="T22" fmla="*/ 2147483647 w 714"/>
                <a:gd name="T23" fmla="*/ 2147483647 h 1104"/>
                <a:gd name="T24" fmla="*/ 0 w 714"/>
                <a:gd name="T25" fmla="*/ 2147483647 h 1104"/>
                <a:gd name="T26" fmla="*/ 2147483647 w 714"/>
                <a:gd name="T27" fmla="*/ 2147483647 h 1104"/>
                <a:gd name="T28" fmla="*/ 2147483647 w 714"/>
                <a:gd name="T29" fmla="*/ 2147483647 h 1104"/>
                <a:gd name="T30" fmla="*/ 2147483647 w 714"/>
                <a:gd name="T31" fmla="*/ 2147483647 h 1104"/>
                <a:gd name="T32" fmla="*/ 2147483647 w 714"/>
                <a:gd name="T33" fmla="*/ 2147483647 h 1104"/>
                <a:gd name="T34" fmla="*/ 2147483647 w 714"/>
                <a:gd name="T35" fmla="*/ 2147483647 h 1104"/>
                <a:gd name="T36" fmla="*/ 2147483647 w 714"/>
                <a:gd name="T37" fmla="*/ 2147483647 h 1104"/>
                <a:gd name="T38" fmla="*/ 2147483647 w 714"/>
                <a:gd name="T39" fmla="*/ 2147483647 h 1104"/>
                <a:gd name="T40" fmla="*/ 2147483647 w 714"/>
                <a:gd name="T41" fmla="*/ 2147483647 h 1104"/>
                <a:gd name="T42" fmla="*/ 2147483647 w 714"/>
                <a:gd name="T43" fmla="*/ 2147483647 h 1104"/>
                <a:gd name="T44" fmla="*/ 2147483647 w 714"/>
                <a:gd name="T45" fmla="*/ 2147483647 h 1104"/>
                <a:gd name="T46" fmla="*/ 2147483647 w 714"/>
                <a:gd name="T47" fmla="*/ 2147483647 h 1104"/>
                <a:gd name="T48" fmla="*/ 2147483647 w 714"/>
                <a:gd name="T49" fmla="*/ 2147483647 h 1104"/>
                <a:gd name="T50" fmla="*/ 2147483647 w 714"/>
                <a:gd name="T51" fmla="*/ 2147483647 h 1104"/>
                <a:gd name="T52" fmla="*/ 2147483647 w 714"/>
                <a:gd name="T53" fmla="*/ 2147483647 h 1104"/>
                <a:gd name="T54" fmla="*/ 2147483647 w 714"/>
                <a:gd name="T55" fmla="*/ 2147483647 h 1104"/>
                <a:gd name="T56" fmla="*/ 2147483647 w 714"/>
                <a:gd name="T57" fmla="*/ 2147483647 h 1104"/>
                <a:gd name="T58" fmla="*/ 2147483647 w 714"/>
                <a:gd name="T59" fmla="*/ 2147483647 h 1104"/>
                <a:gd name="T60" fmla="*/ 2147483647 w 714"/>
                <a:gd name="T61" fmla="*/ 2147483647 h 1104"/>
                <a:gd name="T62" fmla="*/ 2147483647 w 714"/>
                <a:gd name="T63" fmla="*/ 2147483647 h 1104"/>
                <a:gd name="T64" fmla="*/ 2147483647 w 714"/>
                <a:gd name="T65" fmla="*/ 2147483647 h 1104"/>
                <a:gd name="T66" fmla="*/ 2147483647 w 714"/>
                <a:gd name="T67" fmla="*/ 2147483647 h 1104"/>
                <a:gd name="T68" fmla="*/ 2147483647 w 714"/>
                <a:gd name="T69" fmla="*/ 2147483647 h 1104"/>
                <a:gd name="T70" fmla="*/ 2147483647 w 714"/>
                <a:gd name="T71" fmla="*/ 2147483647 h 1104"/>
                <a:gd name="T72" fmla="*/ 2147483647 w 714"/>
                <a:gd name="T73" fmla="*/ 2147483647 h 1104"/>
                <a:gd name="T74" fmla="*/ 2147483647 w 714"/>
                <a:gd name="T75" fmla="*/ 2147483647 h 1104"/>
                <a:gd name="T76" fmla="*/ 2147483647 w 714"/>
                <a:gd name="T77" fmla="*/ 2147483647 h 1104"/>
                <a:gd name="T78" fmla="*/ 2147483647 w 714"/>
                <a:gd name="T79" fmla="*/ 2147483647 h 1104"/>
                <a:gd name="T80" fmla="*/ 2147483647 w 714"/>
                <a:gd name="T81" fmla="*/ 2147483647 h 1104"/>
                <a:gd name="T82" fmla="*/ 2147483647 w 714"/>
                <a:gd name="T83" fmla="*/ 2147483647 h 1104"/>
                <a:gd name="T84" fmla="*/ 2147483647 w 714"/>
                <a:gd name="T85" fmla="*/ 2147483647 h 1104"/>
                <a:gd name="T86" fmla="*/ 2147483647 w 714"/>
                <a:gd name="T87" fmla="*/ 2147483647 h 11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4"/>
                <a:gd name="T133" fmla="*/ 0 h 1104"/>
                <a:gd name="T134" fmla="*/ 714 w 714"/>
                <a:gd name="T135" fmla="*/ 1104 h 110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4" h="1104">
                  <a:moveTo>
                    <a:pt x="108" y="114"/>
                  </a:moveTo>
                  <a:lnTo>
                    <a:pt x="120" y="126"/>
                  </a:lnTo>
                  <a:lnTo>
                    <a:pt x="120" y="138"/>
                  </a:lnTo>
                  <a:lnTo>
                    <a:pt x="126" y="150"/>
                  </a:lnTo>
                  <a:lnTo>
                    <a:pt x="132" y="156"/>
                  </a:lnTo>
                  <a:lnTo>
                    <a:pt x="138" y="168"/>
                  </a:lnTo>
                  <a:lnTo>
                    <a:pt x="144" y="174"/>
                  </a:lnTo>
                  <a:lnTo>
                    <a:pt x="156" y="198"/>
                  </a:lnTo>
                  <a:lnTo>
                    <a:pt x="162" y="204"/>
                  </a:lnTo>
                  <a:lnTo>
                    <a:pt x="162" y="210"/>
                  </a:lnTo>
                  <a:lnTo>
                    <a:pt x="186" y="210"/>
                  </a:lnTo>
                  <a:lnTo>
                    <a:pt x="192" y="222"/>
                  </a:lnTo>
                  <a:lnTo>
                    <a:pt x="198" y="228"/>
                  </a:lnTo>
                  <a:lnTo>
                    <a:pt x="204" y="240"/>
                  </a:lnTo>
                  <a:lnTo>
                    <a:pt x="240" y="258"/>
                  </a:lnTo>
                  <a:lnTo>
                    <a:pt x="312" y="282"/>
                  </a:lnTo>
                  <a:lnTo>
                    <a:pt x="336" y="288"/>
                  </a:lnTo>
                  <a:lnTo>
                    <a:pt x="348" y="294"/>
                  </a:lnTo>
                  <a:lnTo>
                    <a:pt x="366" y="300"/>
                  </a:lnTo>
                  <a:lnTo>
                    <a:pt x="378" y="312"/>
                  </a:lnTo>
                  <a:lnTo>
                    <a:pt x="414" y="330"/>
                  </a:lnTo>
                  <a:lnTo>
                    <a:pt x="486" y="324"/>
                  </a:lnTo>
                  <a:lnTo>
                    <a:pt x="276" y="570"/>
                  </a:lnTo>
                  <a:lnTo>
                    <a:pt x="192" y="570"/>
                  </a:lnTo>
                  <a:lnTo>
                    <a:pt x="186" y="576"/>
                  </a:lnTo>
                  <a:lnTo>
                    <a:pt x="174" y="576"/>
                  </a:lnTo>
                  <a:lnTo>
                    <a:pt x="162" y="582"/>
                  </a:lnTo>
                  <a:lnTo>
                    <a:pt x="156" y="588"/>
                  </a:lnTo>
                  <a:lnTo>
                    <a:pt x="144" y="594"/>
                  </a:lnTo>
                  <a:lnTo>
                    <a:pt x="144" y="606"/>
                  </a:lnTo>
                  <a:lnTo>
                    <a:pt x="126" y="624"/>
                  </a:lnTo>
                  <a:lnTo>
                    <a:pt x="102" y="624"/>
                  </a:lnTo>
                  <a:lnTo>
                    <a:pt x="90" y="630"/>
                  </a:lnTo>
                  <a:lnTo>
                    <a:pt x="78" y="630"/>
                  </a:lnTo>
                  <a:lnTo>
                    <a:pt x="66" y="642"/>
                  </a:lnTo>
                  <a:lnTo>
                    <a:pt x="66" y="654"/>
                  </a:lnTo>
                  <a:lnTo>
                    <a:pt x="60" y="660"/>
                  </a:lnTo>
                  <a:lnTo>
                    <a:pt x="42" y="696"/>
                  </a:lnTo>
                  <a:lnTo>
                    <a:pt x="0" y="738"/>
                  </a:lnTo>
                  <a:lnTo>
                    <a:pt x="0" y="1038"/>
                  </a:lnTo>
                  <a:lnTo>
                    <a:pt x="42" y="1104"/>
                  </a:lnTo>
                  <a:lnTo>
                    <a:pt x="48" y="1086"/>
                  </a:lnTo>
                  <a:lnTo>
                    <a:pt x="84" y="1032"/>
                  </a:lnTo>
                  <a:lnTo>
                    <a:pt x="96" y="1008"/>
                  </a:lnTo>
                  <a:lnTo>
                    <a:pt x="114" y="996"/>
                  </a:lnTo>
                  <a:lnTo>
                    <a:pt x="144" y="966"/>
                  </a:lnTo>
                  <a:lnTo>
                    <a:pt x="150" y="954"/>
                  </a:lnTo>
                  <a:lnTo>
                    <a:pt x="162" y="936"/>
                  </a:lnTo>
                  <a:lnTo>
                    <a:pt x="192" y="906"/>
                  </a:lnTo>
                  <a:lnTo>
                    <a:pt x="216" y="876"/>
                  </a:lnTo>
                  <a:lnTo>
                    <a:pt x="246" y="846"/>
                  </a:lnTo>
                  <a:lnTo>
                    <a:pt x="264" y="840"/>
                  </a:lnTo>
                  <a:lnTo>
                    <a:pt x="276" y="828"/>
                  </a:lnTo>
                  <a:lnTo>
                    <a:pt x="294" y="816"/>
                  </a:lnTo>
                  <a:lnTo>
                    <a:pt x="318" y="804"/>
                  </a:lnTo>
                  <a:lnTo>
                    <a:pt x="336" y="786"/>
                  </a:lnTo>
                  <a:lnTo>
                    <a:pt x="372" y="756"/>
                  </a:lnTo>
                  <a:lnTo>
                    <a:pt x="420" y="708"/>
                  </a:lnTo>
                  <a:lnTo>
                    <a:pt x="438" y="684"/>
                  </a:lnTo>
                  <a:lnTo>
                    <a:pt x="462" y="654"/>
                  </a:lnTo>
                  <a:lnTo>
                    <a:pt x="492" y="618"/>
                  </a:lnTo>
                  <a:lnTo>
                    <a:pt x="516" y="570"/>
                  </a:lnTo>
                  <a:lnTo>
                    <a:pt x="528" y="540"/>
                  </a:lnTo>
                  <a:lnTo>
                    <a:pt x="546" y="516"/>
                  </a:lnTo>
                  <a:lnTo>
                    <a:pt x="558" y="498"/>
                  </a:lnTo>
                  <a:lnTo>
                    <a:pt x="564" y="492"/>
                  </a:lnTo>
                  <a:lnTo>
                    <a:pt x="570" y="480"/>
                  </a:lnTo>
                  <a:lnTo>
                    <a:pt x="576" y="474"/>
                  </a:lnTo>
                  <a:lnTo>
                    <a:pt x="576" y="450"/>
                  </a:lnTo>
                  <a:lnTo>
                    <a:pt x="582" y="432"/>
                  </a:lnTo>
                  <a:lnTo>
                    <a:pt x="588" y="420"/>
                  </a:lnTo>
                  <a:lnTo>
                    <a:pt x="588" y="402"/>
                  </a:lnTo>
                  <a:lnTo>
                    <a:pt x="594" y="390"/>
                  </a:lnTo>
                  <a:lnTo>
                    <a:pt x="606" y="378"/>
                  </a:lnTo>
                  <a:lnTo>
                    <a:pt x="612" y="366"/>
                  </a:lnTo>
                  <a:lnTo>
                    <a:pt x="624" y="354"/>
                  </a:lnTo>
                  <a:lnTo>
                    <a:pt x="624" y="324"/>
                  </a:lnTo>
                  <a:lnTo>
                    <a:pt x="636" y="318"/>
                  </a:lnTo>
                  <a:lnTo>
                    <a:pt x="642" y="306"/>
                  </a:lnTo>
                  <a:lnTo>
                    <a:pt x="660" y="252"/>
                  </a:lnTo>
                  <a:lnTo>
                    <a:pt x="672" y="252"/>
                  </a:lnTo>
                  <a:lnTo>
                    <a:pt x="672" y="246"/>
                  </a:lnTo>
                  <a:lnTo>
                    <a:pt x="684" y="234"/>
                  </a:lnTo>
                  <a:lnTo>
                    <a:pt x="684" y="138"/>
                  </a:lnTo>
                  <a:lnTo>
                    <a:pt x="708" y="126"/>
                  </a:lnTo>
                  <a:lnTo>
                    <a:pt x="702" y="54"/>
                  </a:lnTo>
                  <a:lnTo>
                    <a:pt x="708" y="42"/>
                  </a:lnTo>
                  <a:lnTo>
                    <a:pt x="708" y="36"/>
                  </a:lnTo>
                  <a:lnTo>
                    <a:pt x="714" y="24"/>
                  </a:lnTo>
                  <a:lnTo>
                    <a:pt x="714" y="12"/>
                  </a:lnTo>
                  <a:lnTo>
                    <a:pt x="690" y="0"/>
                  </a:lnTo>
                  <a:lnTo>
                    <a:pt x="672" y="0"/>
                  </a:lnTo>
                  <a:lnTo>
                    <a:pt x="666" y="12"/>
                  </a:lnTo>
                  <a:lnTo>
                    <a:pt x="654" y="18"/>
                  </a:lnTo>
                  <a:lnTo>
                    <a:pt x="648" y="30"/>
                  </a:lnTo>
                  <a:lnTo>
                    <a:pt x="624" y="42"/>
                  </a:lnTo>
                  <a:lnTo>
                    <a:pt x="612" y="42"/>
                  </a:lnTo>
                  <a:lnTo>
                    <a:pt x="594" y="48"/>
                  </a:lnTo>
                  <a:lnTo>
                    <a:pt x="582" y="54"/>
                  </a:lnTo>
                  <a:lnTo>
                    <a:pt x="564" y="54"/>
                  </a:lnTo>
                  <a:lnTo>
                    <a:pt x="546" y="48"/>
                  </a:lnTo>
                  <a:lnTo>
                    <a:pt x="534" y="42"/>
                  </a:lnTo>
                  <a:lnTo>
                    <a:pt x="516" y="48"/>
                  </a:lnTo>
                  <a:lnTo>
                    <a:pt x="510" y="54"/>
                  </a:lnTo>
                  <a:lnTo>
                    <a:pt x="498" y="60"/>
                  </a:lnTo>
                  <a:lnTo>
                    <a:pt x="492" y="72"/>
                  </a:lnTo>
                  <a:lnTo>
                    <a:pt x="486" y="78"/>
                  </a:lnTo>
                  <a:lnTo>
                    <a:pt x="474" y="78"/>
                  </a:lnTo>
                  <a:lnTo>
                    <a:pt x="462" y="72"/>
                  </a:lnTo>
                  <a:lnTo>
                    <a:pt x="456" y="60"/>
                  </a:lnTo>
                  <a:lnTo>
                    <a:pt x="444" y="60"/>
                  </a:lnTo>
                  <a:lnTo>
                    <a:pt x="438" y="66"/>
                  </a:lnTo>
                  <a:lnTo>
                    <a:pt x="426" y="72"/>
                  </a:lnTo>
                  <a:lnTo>
                    <a:pt x="396" y="102"/>
                  </a:lnTo>
                  <a:lnTo>
                    <a:pt x="384" y="108"/>
                  </a:lnTo>
                  <a:lnTo>
                    <a:pt x="372" y="108"/>
                  </a:lnTo>
                  <a:lnTo>
                    <a:pt x="360" y="102"/>
                  </a:lnTo>
                  <a:lnTo>
                    <a:pt x="354" y="96"/>
                  </a:lnTo>
                  <a:lnTo>
                    <a:pt x="342" y="90"/>
                  </a:lnTo>
                  <a:lnTo>
                    <a:pt x="330" y="90"/>
                  </a:lnTo>
                  <a:lnTo>
                    <a:pt x="306" y="102"/>
                  </a:lnTo>
                  <a:lnTo>
                    <a:pt x="294" y="114"/>
                  </a:lnTo>
                  <a:lnTo>
                    <a:pt x="270" y="126"/>
                  </a:lnTo>
                  <a:lnTo>
                    <a:pt x="210" y="126"/>
                  </a:lnTo>
                  <a:lnTo>
                    <a:pt x="192" y="108"/>
                  </a:lnTo>
                  <a:lnTo>
                    <a:pt x="186" y="96"/>
                  </a:lnTo>
                  <a:lnTo>
                    <a:pt x="174" y="90"/>
                  </a:lnTo>
                  <a:lnTo>
                    <a:pt x="168" y="78"/>
                  </a:lnTo>
                  <a:lnTo>
                    <a:pt x="168" y="66"/>
                  </a:lnTo>
                  <a:lnTo>
                    <a:pt x="156" y="54"/>
                  </a:lnTo>
                  <a:lnTo>
                    <a:pt x="150" y="54"/>
                  </a:lnTo>
                  <a:lnTo>
                    <a:pt x="126" y="78"/>
                  </a:lnTo>
                  <a:lnTo>
                    <a:pt x="108" y="114"/>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61" name="Solomon Inseln" descr="© INSCALE GmbH, 05.05.2010&#10;http://www.presentationload.com/">
              <a:extLst>
                <a:ext uri="{FF2B5EF4-FFF2-40B4-BE49-F238E27FC236}">
                  <a16:creationId xmlns:a16="http://schemas.microsoft.com/office/drawing/2014/main" id="{34882767-9ACF-4941-9CE3-236DE5A8D864}"/>
                </a:ext>
              </a:extLst>
            </p:cNvPr>
            <p:cNvSpPr>
              <a:spLocks noEditPoints="1"/>
            </p:cNvSpPr>
            <p:nvPr/>
          </p:nvSpPr>
          <p:spPr bwMode="gray">
            <a:xfrm>
              <a:off x="8552751" y="4467449"/>
              <a:ext cx="147394" cy="137986"/>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62" name="Slovenien" descr="© INSCALE GmbH, 05.05.2010&#10;http://www.presentationload.com/">
              <a:extLst>
                <a:ext uri="{FF2B5EF4-FFF2-40B4-BE49-F238E27FC236}">
                  <a16:creationId xmlns:a16="http://schemas.microsoft.com/office/drawing/2014/main" id="{2532CFD0-4839-40CA-9542-FCD5B4343517}"/>
                </a:ext>
              </a:extLst>
            </p:cNvPr>
            <p:cNvSpPr>
              <a:spLocks/>
            </p:cNvSpPr>
            <p:nvPr/>
          </p:nvSpPr>
          <p:spPr bwMode="gray">
            <a:xfrm>
              <a:off x="4494708" y="2750463"/>
              <a:ext cx="83105" cy="48609"/>
            </a:xfrm>
            <a:custGeom>
              <a:avLst/>
              <a:gdLst>
                <a:gd name="T0" fmla="*/ 2147483647 w 210"/>
                <a:gd name="T1" fmla="*/ 2147483647 h 120"/>
                <a:gd name="T2" fmla="*/ 2147483647 w 210"/>
                <a:gd name="T3" fmla="*/ 2147483647 h 120"/>
                <a:gd name="T4" fmla="*/ 2147483647 w 210"/>
                <a:gd name="T5" fmla="*/ 2147483647 h 120"/>
                <a:gd name="T6" fmla="*/ 2147483647 w 210"/>
                <a:gd name="T7" fmla="*/ 2147483647 h 120"/>
                <a:gd name="T8" fmla="*/ 2147483647 w 210"/>
                <a:gd name="T9" fmla="*/ 2147483647 h 120"/>
                <a:gd name="T10" fmla="*/ 2147483647 w 210"/>
                <a:gd name="T11" fmla="*/ 2147483647 h 120"/>
                <a:gd name="T12" fmla="*/ 2147483647 w 210"/>
                <a:gd name="T13" fmla="*/ 2147483647 h 120"/>
                <a:gd name="T14" fmla="*/ 2147483647 w 210"/>
                <a:gd name="T15" fmla="*/ 2147483647 h 120"/>
                <a:gd name="T16" fmla="*/ 2147483647 w 210"/>
                <a:gd name="T17" fmla="*/ 2147483647 h 120"/>
                <a:gd name="T18" fmla="*/ 2147483647 w 210"/>
                <a:gd name="T19" fmla="*/ 2147483647 h 120"/>
                <a:gd name="T20" fmla="*/ 2147483647 w 210"/>
                <a:gd name="T21" fmla="*/ 2147483647 h 120"/>
                <a:gd name="T22" fmla="*/ 2147483647 w 210"/>
                <a:gd name="T23" fmla="*/ 2147483647 h 120"/>
                <a:gd name="T24" fmla="*/ 2147483647 w 210"/>
                <a:gd name="T25" fmla="*/ 2147483647 h 120"/>
                <a:gd name="T26" fmla="*/ 2147483647 w 210"/>
                <a:gd name="T27" fmla="*/ 2147483647 h 120"/>
                <a:gd name="T28" fmla="*/ 2147483647 w 210"/>
                <a:gd name="T29" fmla="*/ 2147483647 h 120"/>
                <a:gd name="T30" fmla="*/ 2147483647 w 210"/>
                <a:gd name="T31" fmla="*/ 2147483647 h 120"/>
                <a:gd name="T32" fmla="*/ 2147483647 w 210"/>
                <a:gd name="T33" fmla="*/ 2147483647 h 120"/>
                <a:gd name="T34" fmla="*/ 2147483647 w 210"/>
                <a:gd name="T35" fmla="*/ 2147483647 h 120"/>
                <a:gd name="T36" fmla="*/ 2147483647 w 210"/>
                <a:gd name="T37" fmla="*/ 2147483647 h 120"/>
                <a:gd name="T38" fmla="*/ 2147483647 w 210"/>
                <a:gd name="T39" fmla="*/ 2147483647 h 120"/>
                <a:gd name="T40" fmla="*/ 2147483647 w 210"/>
                <a:gd name="T41" fmla="*/ 2147483647 h 120"/>
                <a:gd name="T42" fmla="*/ 2147483647 w 210"/>
                <a:gd name="T43" fmla="*/ 0 h 120"/>
                <a:gd name="T44" fmla="*/ 2147483647 w 210"/>
                <a:gd name="T45" fmla="*/ 2147483647 h 120"/>
                <a:gd name="T46" fmla="*/ 2147483647 w 210"/>
                <a:gd name="T47" fmla="*/ 2147483647 h 120"/>
                <a:gd name="T48" fmla="*/ 2147483647 w 210"/>
                <a:gd name="T49" fmla="*/ 2147483647 h 120"/>
                <a:gd name="T50" fmla="*/ 2147483647 w 210"/>
                <a:gd name="T51" fmla="*/ 2147483647 h 120"/>
                <a:gd name="T52" fmla="*/ 2147483647 w 210"/>
                <a:gd name="T53" fmla="*/ 2147483647 h 120"/>
                <a:gd name="T54" fmla="*/ 2147483647 w 210"/>
                <a:gd name="T55" fmla="*/ 2147483647 h 120"/>
                <a:gd name="T56" fmla="*/ 2147483647 w 210"/>
                <a:gd name="T57" fmla="*/ 2147483647 h 120"/>
                <a:gd name="T58" fmla="*/ 2147483647 w 210"/>
                <a:gd name="T59" fmla="*/ 2147483647 h 120"/>
                <a:gd name="T60" fmla="*/ 2147483647 w 210"/>
                <a:gd name="T61" fmla="*/ 2147483647 h 120"/>
                <a:gd name="T62" fmla="*/ 2147483647 w 210"/>
                <a:gd name="T63" fmla="*/ 2147483647 h 120"/>
                <a:gd name="T64" fmla="*/ 2147483647 w 210"/>
                <a:gd name="T65" fmla="*/ 2147483647 h 120"/>
                <a:gd name="T66" fmla="*/ 2147483647 w 210"/>
                <a:gd name="T67" fmla="*/ 2147483647 h 120"/>
                <a:gd name="T68" fmla="*/ 0 w 210"/>
                <a:gd name="T69" fmla="*/ 2147483647 h 120"/>
                <a:gd name="T70" fmla="*/ 2147483647 w 210"/>
                <a:gd name="T71" fmla="*/ 2147483647 h 120"/>
                <a:gd name="T72" fmla="*/ 2147483647 w 210"/>
                <a:gd name="T73" fmla="*/ 2147483647 h 120"/>
                <a:gd name="T74" fmla="*/ 2147483647 w 210"/>
                <a:gd name="T75" fmla="*/ 2147483647 h 120"/>
                <a:gd name="T76" fmla="*/ 2147483647 w 210"/>
                <a:gd name="T77" fmla="*/ 2147483647 h 120"/>
                <a:gd name="T78" fmla="*/ 2147483647 w 210"/>
                <a:gd name="T79" fmla="*/ 2147483647 h 120"/>
                <a:gd name="T80" fmla="*/ 2147483647 w 210"/>
                <a:gd name="T81" fmla="*/ 2147483647 h 120"/>
                <a:gd name="T82" fmla="*/ 2147483647 w 210"/>
                <a:gd name="T83" fmla="*/ 2147483647 h 120"/>
                <a:gd name="T84" fmla="*/ 2147483647 w 210"/>
                <a:gd name="T85" fmla="*/ 2147483647 h 120"/>
                <a:gd name="T86" fmla="*/ 2147483647 w 210"/>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120"/>
                <a:gd name="T134" fmla="*/ 210 w 210"/>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120">
                  <a:moveTo>
                    <a:pt x="24" y="120"/>
                  </a:moveTo>
                  <a:lnTo>
                    <a:pt x="42" y="120"/>
                  </a:lnTo>
                  <a:lnTo>
                    <a:pt x="42" y="108"/>
                  </a:lnTo>
                  <a:lnTo>
                    <a:pt x="54" y="114"/>
                  </a:lnTo>
                  <a:lnTo>
                    <a:pt x="72" y="114"/>
                  </a:lnTo>
                  <a:lnTo>
                    <a:pt x="78" y="102"/>
                  </a:lnTo>
                  <a:lnTo>
                    <a:pt x="78" y="108"/>
                  </a:lnTo>
                  <a:lnTo>
                    <a:pt x="84" y="114"/>
                  </a:lnTo>
                  <a:lnTo>
                    <a:pt x="126" y="114"/>
                  </a:lnTo>
                  <a:lnTo>
                    <a:pt x="126" y="96"/>
                  </a:lnTo>
                  <a:lnTo>
                    <a:pt x="138" y="90"/>
                  </a:lnTo>
                  <a:lnTo>
                    <a:pt x="150" y="78"/>
                  </a:lnTo>
                  <a:lnTo>
                    <a:pt x="150" y="72"/>
                  </a:lnTo>
                  <a:lnTo>
                    <a:pt x="144" y="66"/>
                  </a:lnTo>
                  <a:lnTo>
                    <a:pt x="144" y="54"/>
                  </a:lnTo>
                  <a:lnTo>
                    <a:pt x="174" y="54"/>
                  </a:lnTo>
                  <a:lnTo>
                    <a:pt x="186" y="48"/>
                  </a:lnTo>
                  <a:lnTo>
                    <a:pt x="186" y="36"/>
                  </a:lnTo>
                  <a:lnTo>
                    <a:pt x="210" y="36"/>
                  </a:lnTo>
                  <a:lnTo>
                    <a:pt x="192" y="24"/>
                  </a:lnTo>
                  <a:lnTo>
                    <a:pt x="186" y="6"/>
                  </a:lnTo>
                  <a:lnTo>
                    <a:pt x="180" y="0"/>
                  </a:lnTo>
                  <a:lnTo>
                    <a:pt x="174" y="12"/>
                  </a:lnTo>
                  <a:lnTo>
                    <a:pt x="168" y="30"/>
                  </a:lnTo>
                  <a:lnTo>
                    <a:pt x="144" y="24"/>
                  </a:lnTo>
                  <a:lnTo>
                    <a:pt x="132" y="30"/>
                  </a:lnTo>
                  <a:lnTo>
                    <a:pt x="84" y="30"/>
                  </a:lnTo>
                  <a:lnTo>
                    <a:pt x="84" y="42"/>
                  </a:lnTo>
                  <a:lnTo>
                    <a:pt x="54" y="42"/>
                  </a:lnTo>
                  <a:lnTo>
                    <a:pt x="48" y="36"/>
                  </a:lnTo>
                  <a:lnTo>
                    <a:pt x="30" y="36"/>
                  </a:lnTo>
                  <a:lnTo>
                    <a:pt x="24" y="42"/>
                  </a:lnTo>
                  <a:lnTo>
                    <a:pt x="6" y="42"/>
                  </a:lnTo>
                  <a:lnTo>
                    <a:pt x="6" y="48"/>
                  </a:lnTo>
                  <a:lnTo>
                    <a:pt x="0" y="54"/>
                  </a:lnTo>
                  <a:lnTo>
                    <a:pt x="12" y="60"/>
                  </a:lnTo>
                  <a:lnTo>
                    <a:pt x="6" y="96"/>
                  </a:lnTo>
                  <a:lnTo>
                    <a:pt x="18" y="96"/>
                  </a:lnTo>
                  <a:lnTo>
                    <a:pt x="30" y="102"/>
                  </a:lnTo>
                  <a:lnTo>
                    <a:pt x="36" y="102"/>
                  </a:lnTo>
                  <a:lnTo>
                    <a:pt x="36" y="108"/>
                  </a:lnTo>
                  <a:lnTo>
                    <a:pt x="30" y="108"/>
                  </a:lnTo>
                  <a:lnTo>
                    <a:pt x="30" y="114"/>
                  </a:lnTo>
                  <a:lnTo>
                    <a:pt x="24" y="120"/>
                  </a:lnTo>
                  <a:close/>
                </a:path>
              </a:pathLst>
            </a:custGeom>
            <a:solidFill>
              <a:schemeClr val="accent1"/>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63" name="Slovakei" descr="© INSCALE GmbH, 05.05.2010&#10;http://www.presentationload.com/">
              <a:extLst>
                <a:ext uri="{FF2B5EF4-FFF2-40B4-BE49-F238E27FC236}">
                  <a16:creationId xmlns:a16="http://schemas.microsoft.com/office/drawing/2014/main" id="{ACD258F0-EC19-43F6-A830-76BE59429A17}"/>
                </a:ext>
              </a:extLst>
            </p:cNvPr>
            <p:cNvSpPr>
              <a:spLocks/>
            </p:cNvSpPr>
            <p:nvPr/>
          </p:nvSpPr>
          <p:spPr bwMode="gray">
            <a:xfrm>
              <a:off x="4579381" y="2670494"/>
              <a:ext cx="142690" cy="58017"/>
            </a:xfrm>
            <a:custGeom>
              <a:avLst/>
              <a:gdLst>
                <a:gd name="T0" fmla="*/ 2147483647 w 354"/>
                <a:gd name="T1" fmla="*/ 2147483647 h 144"/>
                <a:gd name="T2" fmla="*/ 2147483647 w 354"/>
                <a:gd name="T3" fmla="*/ 2147483647 h 144"/>
                <a:gd name="T4" fmla="*/ 2147483647 w 354"/>
                <a:gd name="T5" fmla="*/ 2147483647 h 144"/>
                <a:gd name="T6" fmla="*/ 2147483647 w 354"/>
                <a:gd name="T7" fmla="*/ 2147483647 h 144"/>
                <a:gd name="T8" fmla="*/ 2147483647 w 354"/>
                <a:gd name="T9" fmla="*/ 2147483647 h 144"/>
                <a:gd name="T10" fmla="*/ 2147483647 w 354"/>
                <a:gd name="T11" fmla="*/ 2147483647 h 144"/>
                <a:gd name="T12" fmla="*/ 2147483647 w 354"/>
                <a:gd name="T13" fmla="*/ 2147483647 h 144"/>
                <a:gd name="T14" fmla="*/ 2147483647 w 354"/>
                <a:gd name="T15" fmla="*/ 0 h 144"/>
                <a:gd name="T16" fmla="*/ 2147483647 w 354"/>
                <a:gd name="T17" fmla="*/ 2147483647 h 144"/>
                <a:gd name="T18" fmla="*/ 2147483647 w 354"/>
                <a:gd name="T19" fmla="*/ 0 h 144"/>
                <a:gd name="T20" fmla="*/ 2147483647 w 354"/>
                <a:gd name="T21" fmla="*/ 2147483647 h 144"/>
                <a:gd name="T22" fmla="*/ 2147483647 w 354"/>
                <a:gd name="T23" fmla="*/ 2147483647 h 144"/>
                <a:gd name="T24" fmla="*/ 2147483647 w 354"/>
                <a:gd name="T25" fmla="*/ 2147483647 h 144"/>
                <a:gd name="T26" fmla="*/ 2147483647 w 354"/>
                <a:gd name="T27" fmla="*/ 2147483647 h 144"/>
                <a:gd name="T28" fmla="*/ 2147483647 w 354"/>
                <a:gd name="T29" fmla="*/ 2147483647 h 144"/>
                <a:gd name="T30" fmla="*/ 0 w 354"/>
                <a:gd name="T31" fmla="*/ 2147483647 h 144"/>
                <a:gd name="T32" fmla="*/ 2147483647 w 354"/>
                <a:gd name="T33" fmla="*/ 2147483647 h 144"/>
                <a:gd name="T34" fmla="*/ 2147483647 w 354"/>
                <a:gd name="T35" fmla="*/ 2147483647 h 144"/>
                <a:gd name="T36" fmla="*/ 2147483647 w 354"/>
                <a:gd name="T37" fmla="*/ 2147483647 h 144"/>
                <a:gd name="T38" fmla="*/ 2147483647 w 354"/>
                <a:gd name="T39" fmla="*/ 2147483647 h 144"/>
                <a:gd name="T40" fmla="*/ 2147483647 w 354"/>
                <a:gd name="T41" fmla="*/ 2147483647 h 144"/>
                <a:gd name="T42" fmla="*/ 2147483647 w 354"/>
                <a:gd name="T43" fmla="*/ 2147483647 h 144"/>
                <a:gd name="T44" fmla="*/ 2147483647 w 354"/>
                <a:gd name="T45" fmla="*/ 2147483647 h 144"/>
                <a:gd name="T46" fmla="*/ 2147483647 w 354"/>
                <a:gd name="T47" fmla="*/ 2147483647 h 144"/>
                <a:gd name="T48" fmla="*/ 2147483647 w 354"/>
                <a:gd name="T49" fmla="*/ 2147483647 h 144"/>
                <a:gd name="T50" fmla="*/ 2147483647 w 354"/>
                <a:gd name="T51" fmla="*/ 2147483647 h 144"/>
                <a:gd name="T52" fmla="*/ 2147483647 w 354"/>
                <a:gd name="T53" fmla="*/ 2147483647 h 144"/>
                <a:gd name="T54" fmla="*/ 2147483647 w 354"/>
                <a:gd name="T55" fmla="*/ 2147483647 h 144"/>
                <a:gd name="T56" fmla="*/ 2147483647 w 354"/>
                <a:gd name="T57" fmla="*/ 2147483647 h 144"/>
                <a:gd name="T58" fmla="*/ 2147483647 w 354"/>
                <a:gd name="T59" fmla="*/ 2147483647 h 144"/>
                <a:gd name="T60" fmla="*/ 2147483647 w 354"/>
                <a:gd name="T61" fmla="*/ 2147483647 h 144"/>
                <a:gd name="T62" fmla="*/ 2147483647 w 354"/>
                <a:gd name="T63" fmla="*/ 2147483647 h 144"/>
                <a:gd name="T64" fmla="*/ 2147483647 w 354"/>
                <a:gd name="T65" fmla="*/ 2147483647 h 144"/>
                <a:gd name="T66" fmla="*/ 2147483647 w 354"/>
                <a:gd name="T67" fmla="*/ 2147483647 h 144"/>
                <a:gd name="T68" fmla="*/ 2147483647 w 354"/>
                <a:gd name="T69" fmla="*/ 2147483647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144"/>
                <a:gd name="T107" fmla="*/ 354 w 354"/>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144">
                  <a:moveTo>
                    <a:pt x="348" y="30"/>
                  </a:moveTo>
                  <a:lnTo>
                    <a:pt x="324" y="30"/>
                  </a:lnTo>
                  <a:lnTo>
                    <a:pt x="300" y="6"/>
                  </a:lnTo>
                  <a:lnTo>
                    <a:pt x="276" y="6"/>
                  </a:lnTo>
                  <a:lnTo>
                    <a:pt x="270" y="12"/>
                  </a:lnTo>
                  <a:lnTo>
                    <a:pt x="258" y="18"/>
                  </a:lnTo>
                  <a:lnTo>
                    <a:pt x="246" y="18"/>
                  </a:lnTo>
                  <a:lnTo>
                    <a:pt x="240" y="12"/>
                  </a:lnTo>
                  <a:lnTo>
                    <a:pt x="210" y="12"/>
                  </a:lnTo>
                  <a:lnTo>
                    <a:pt x="210" y="18"/>
                  </a:lnTo>
                  <a:lnTo>
                    <a:pt x="204" y="24"/>
                  </a:lnTo>
                  <a:lnTo>
                    <a:pt x="192" y="24"/>
                  </a:lnTo>
                  <a:lnTo>
                    <a:pt x="186" y="18"/>
                  </a:lnTo>
                  <a:lnTo>
                    <a:pt x="186" y="12"/>
                  </a:lnTo>
                  <a:lnTo>
                    <a:pt x="180" y="12"/>
                  </a:lnTo>
                  <a:lnTo>
                    <a:pt x="168" y="0"/>
                  </a:lnTo>
                  <a:lnTo>
                    <a:pt x="156" y="0"/>
                  </a:lnTo>
                  <a:lnTo>
                    <a:pt x="144" y="12"/>
                  </a:lnTo>
                  <a:lnTo>
                    <a:pt x="138" y="12"/>
                  </a:lnTo>
                  <a:lnTo>
                    <a:pt x="126" y="0"/>
                  </a:lnTo>
                  <a:lnTo>
                    <a:pt x="108" y="12"/>
                  </a:lnTo>
                  <a:lnTo>
                    <a:pt x="84" y="18"/>
                  </a:lnTo>
                  <a:lnTo>
                    <a:pt x="84" y="42"/>
                  </a:lnTo>
                  <a:lnTo>
                    <a:pt x="72" y="48"/>
                  </a:lnTo>
                  <a:lnTo>
                    <a:pt x="66" y="54"/>
                  </a:lnTo>
                  <a:lnTo>
                    <a:pt x="54" y="60"/>
                  </a:lnTo>
                  <a:lnTo>
                    <a:pt x="36" y="60"/>
                  </a:lnTo>
                  <a:lnTo>
                    <a:pt x="36" y="54"/>
                  </a:lnTo>
                  <a:lnTo>
                    <a:pt x="30" y="60"/>
                  </a:lnTo>
                  <a:lnTo>
                    <a:pt x="12" y="60"/>
                  </a:lnTo>
                  <a:lnTo>
                    <a:pt x="6" y="66"/>
                  </a:lnTo>
                  <a:lnTo>
                    <a:pt x="0" y="90"/>
                  </a:lnTo>
                  <a:lnTo>
                    <a:pt x="0" y="102"/>
                  </a:lnTo>
                  <a:lnTo>
                    <a:pt x="6" y="102"/>
                  </a:lnTo>
                  <a:lnTo>
                    <a:pt x="6" y="114"/>
                  </a:lnTo>
                  <a:lnTo>
                    <a:pt x="12" y="114"/>
                  </a:lnTo>
                  <a:lnTo>
                    <a:pt x="12" y="126"/>
                  </a:lnTo>
                  <a:lnTo>
                    <a:pt x="6" y="132"/>
                  </a:lnTo>
                  <a:lnTo>
                    <a:pt x="18" y="138"/>
                  </a:lnTo>
                  <a:lnTo>
                    <a:pt x="30" y="120"/>
                  </a:lnTo>
                  <a:lnTo>
                    <a:pt x="36" y="126"/>
                  </a:lnTo>
                  <a:lnTo>
                    <a:pt x="42" y="138"/>
                  </a:lnTo>
                  <a:lnTo>
                    <a:pt x="48" y="144"/>
                  </a:lnTo>
                  <a:lnTo>
                    <a:pt x="90" y="144"/>
                  </a:lnTo>
                  <a:lnTo>
                    <a:pt x="108" y="138"/>
                  </a:lnTo>
                  <a:lnTo>
                    <a:pt x="120" y="138"/>
                  </a:lnTo>
                  <a:lnTo>
                    <a:pt x="132" y="114"/>
                  </a:lnTo>
                  <a:lnTo>
                    <a:pt x="168" y="120"/>
                  </a:lnTo>
                  <a:lnTo>
                    <a:pt x="174" y="108"/>
                  </a:lnTo>
                  <a:lnTo>
                    <a:pt x="198" y="108"/>
                  </a:lnTo>
                  <a:lnTo>
                    <a:pt x="210" y="102"/>
                  </a:lnTo>
                  <a:lnTo>
                    <a:pt x="216" y="102"/>
                  </a:lnTo>
                  <a:lnTo>
                    <a:pt x="228" y="90"/>
                  </a:lnTo>
                  <a:lnTo>
                    <a:pt x="234" y="78"/>
                  </a:lnTo>
                  <a:lnTo>
                    <a:pt x="258" y="78"/>
                  </a:lnTo>
                  <a:lnTo>
                    <a:pt x="258" y="90"/>
                  </a:lnTo>
                  <a:lnTo>
                    <a:pt x="276" y="96"/>
                  </a:lnTo>
                  <a:lnTo>
                    <a:pt x="276" y="78"/>
                  </a:lnTo>
                  <a:lnTo>
                    <a:pt x="288" y="78"/>
                  </a:lnTo>
                  <a:lnTo>
                    <a:pt x="288" y="90"/>
                  </a:lnTo>
                  <a:lnTo>
                    <a:pt x="300" y="90"/>
                  </a:lnTo>
                  <a:lnTo>
                    <a:pt x="312" y="84"/>
                  </a:lnTo>
                  <a:lnTo>
                    <a:pt x="336" y="84"/>
                  </a:lnTo>
                  <a:lnTo>
                    <a:pt x="336" y="90"/>
                  </a:lnTo>
                  <a:lnTo>
                    <a:pt x="336" y="72"/>
                  </a:lnTo>
                  <a:lnTo>
                    <a:pt x="342" y="72"/>
                  </a:lnTo>
                  <a:lnTo>
                    <a:pt x="348" y="66"/>
                  </a:lnTo>
                  <a:lnTo>
                    <a:pt x="348" y="60"/>
                  </a:lnTo>
                  <a:lnTo>
                    <a:pt x="354" y="54"/>
                  </a:lnTo>
                  <a:lnTo>
                    <a:pt x="354" y="30"/>
                  </a:lnTo>
                  <a:lnTo>
                    <a:pt x="348" y="30"/>
                  </a:lnTo>
                  <a:close/>
                </a:path>
              </a:pathLst>
            </a:custGeom>
            <a:solidFill>
              <a:schemeClr val="accent1"/>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64" name="Simbabwe" descr="© INSCALE GmbH, 05.05.2010&#10;http://www.presentationload.com/">
              <a:extLst>
                <a:ext uri="{FF2B5EF4-FFF2-40B4-BE49-F238E27FC236}">
                  <a16:creationId xmlns:a16="http://schemas.microsoft.com/office/drawing/2014/main" id="{9D8CF65B-C48B-4218-8A99-2DE514DEB044}"/>
                </a:ext>
              </a:extLst>
            </p:cNvPr>
            <p:cNvSpPr>
              <a:spLocks/>
            </p:cNvSpPr>
            <p:nvPr/>
          </p:nvSpPr>
          <p:spPr bwMode="gray">
            <a:xfrm>
              <a:off x="4836537" y="4752829"/>
              <a:ext cx="219523" cy="219523"/>
            </a:xfrm>
            <a:custGeom>
              <a:avLst/>
              <a:gdLst>
                <a:gd name="T0" fmla="*/ 2147483647 w 552"/>
                <a:gd name="T1" fmla="*/ 2147483647 h 552"/>
                <a:gd name="T2" fmla="*/ 2147483647 w 552"/>
                <a:gd name="T3" fmla="*/ 2147483647 h 552"/>
                <a:gd name="T4" fmla="*/ 2147483647 w 552"/>
                <a:gd name="T5" fmla="*/ 2147483647 h 552"/>
                <a:gd name="T6" fmla="*/ 2147483647 w 552"/>
                <a:gd name="T7" fmla="*/ 2147483647 h 552"/>
                <a:gd name="T8" fmla="*/ 2147483647 w 552"/>
                <a:gd name="T9" fmla="*/ 2147483647 h 552"/>
                <a:gd name="T10" fmla="*/ 2147483647 w 552"/>
                <a:gd name="T11" fmla="*/ 2147483647 h 552"/>
                <a:gd name="T12" fmla="*/ 2147483647 w 552"/>
                <a:gd name="T13" fmla="*/ 2147483647 h 552"/>
                <a:gd name="T14" fmla="*/ 2147483647 w 552"/>
                <a:gd name="T15" fmla="*/ 2147483647 h 552"/>
                <a:gd name="T16" fmla="*/ 2147483647 w 552"/>
                <a:gd name="T17" fmla="*/ 2147483647 h 552"/>
                <a:gd name="T18" fmla="*/ 2147483647 w 552"/>
                <a:gd name="T19" fmla="*/ 2147483647 h 552"/>
                <a:gd name="T20" fmla="*/ 2147483647 w 552"/>
                <a:gd name="T21" fmla="*/ 2147483647 h 552"/>
                <a:gd name="T22" fmla="*/ 2147483647 w 552"/>
                <a:gd name="T23" fmla="*/ 2147483647 h 552"/>
                <a:gd name="T24" fmla="*/ 2147483647 w 552"/>
                <a:gd name="T25" fmla="*/ 2147483647 h 552"/>
                <a:gd name="T26" fmla="*/ 2147483647 w 552"/>
                <a:gd name="T27" fmla="*/ 2147483647 h 552"/>
                <a:gd name="T28" fmla="*/ 2147483647 w 552"/>
                <a:gd name="T29" fmla="*/ 2147483647 h 552"/>
                <a:gd name="T30" fmla="*/ 2147483647 w 552"/>
                <a:gd name="T31" fmla="*/ 2147483647 h 552"/>
                <a:gd name="T32" fmla="*/ 2147483647 w 552"/>
                <a:gd name="T33" fmla="*/ 2147483647 h 552"/>
                <a:gd name="T34" fmla="*/ 2147483647 w 552"/>
                <a:gd name="T35" fmla="*/ 2147483647 h 552"/>
                <a:gd name="T36" fmla="*/ 2147483647 w 552"/>
                <a:gd name="T37" fmla="*/ 2147483647 h 552"/>
                <a:gd name="T38" fmla="*/ 2147483647 w 552"/>
                <a:gd name="T39" fmla="*/ 2147483647 h 552"/>
                <a:gd name="T40" fmla="*/ 2147483647 w 552"/>
                <a:gd name="T41" fmla="*/ 2147483647 h 552"/>
                <a:gd name="T42" fmla="*/ 2147483647 w 552"/>
                <a:gd name="T43" fmla="*/ 2147483647 h 552"/>
                <a:gd name="T44" fmla="*/ 2147483647 w 552"/>
                <a:gd name="T45" fmla="*/ 2147483647 h 552"/>
                <a:gd name="T46" fmla="*/ 2147483647 w 552"/>
                <a:gd name="T47" fmla="*/ 2147483647 h 552"/>
                <a:gd name="T48" fmla="*/ 2147483647 w 552"/>
                <a:gd name="T49" fmla="*/ 2147483647 h 552"/>
                <a:gd name="T50" fmla="*/ 2147483647 w 552"/>
                <a:gd name="T51" fmla="*/ 2147483647 h 552"/>
                <a:gd name="T52" fmla="*/ 2147483647 w 552"/>
                <a:gd name="T53" fmla="*/ 2147483647 h 552"/>
                <a:gd name="T54" fmla="*/ 2147483647 w 552"/>
                <a:gd name="T55" fmla="*/ 2147483647 h 552"/>
                <a:gd name="T56" fmla="*/ 2147483647 w 552"/>
                <a:gd name="T57" fmla="*/ 2147483647 h 552"/>
                <a:gd name="T58" fmla="*/ 2147483647 w 552"/>
                <a:gd name="T59" fmla="*/ 2147483647 h 552"/>
                <a:gd name="T60" fmla="*/ 2147483647 w 552"/>
                <a:gd name="T61" fmla="*/ 2147483647 h 552"/>
                <a:gd name="T62" fmla="*/ 2147483647 w 552"/>
                <a:gd name="T63" fmla="*/ 2147483647 h 552"/>
                <a:gd name="T64" fmla="*/ 2147483647 w 552"/>
                <a:gd name="T65" fmla="*/ 2147483647 h 552"/>
                <a:gd name="T66" fmla="*/ 2147483647 w 552"/>
                <a:gd name="T67" fmla="*/ 2147483647 h 552"/>
                <a:gd name="T68" fmla="*/ 2147483647 w 552"/>
                <a:gd name="T69" fmla="*/ 2147483647 h 552"/>
                <a:gd name="T70" fmla="*/ 2147483647 w 552"/>
                <a:gd name="T71" fmla="*/ 2147483647 h 552"/>
                <a:gd name="T72" fmla="*/ 2147483647 w 552"/>
                <a:gd name="T73" fmla="*/ 2147483647 h 552"/>
                <a:gd name="T74" fmla="*/ 2147483647 w 552"/>
                <a:gd name="T75" fmla="*/ 0 h 552"/>
                <a:gd name="T76" fmla="*/ 2147483647 w 552"/>
                <a:gd name="T77" fmla="*/ 2147483647 h 552"/>
                <a:gd name="T78" fmla="*/ 2147483647 w 552"/>
                <a:gd name="T79" fmla="*/ 2147483647 h 552"/>
                <a:gd name="T80" fmla="*/ 2147483647 w 552"/>
                <a:gd name="T81" fmla="*/ 2147483647 h 552"/>
                <a:gd name="T82" fmla="*/ 2147483647 w 552"/>
                <a:gd name="T83" fmla="*/ 2147483647 h 552"/>
                <a:gd name="T84" fmla="*/ 2147483647 w 552"/>
                <a:gd name="T85" fmla="*/ 2147483647 h 552"/>
                <a:gd name="T86" fmla="*/ 2147483647 w 552"/>
                <a:gd name="T87" fmla="*/ 2147483647 h 552"/>
                <a:gd name="T88" fmla="*/ 2147483647 w 552"/>
                <a:gd name="T89" fmla="*/ 2147483647 h 552"/>
                <a:gd name="T90" fmla="*/ 2147483647 w 552"/>
                <a:gd name="T91" fmla="*/ 2147483647 h 552"/>
                <a:gd name="T92" fmla="*/ 2147483647 w 552"/>
                <a:gd name="T93" fmla="*/ 2147483647 h 552"/>
                <a:gd name="T94" fmla="*/ 2147483647 w 552"/>
                <a:gd name="T95" fmla="*/ 2147483647 h 552"/>
                <a:gd name="T96" fmla="*/ 2147483647 w 552"/>
                <a:gd name="T97" fmla="*/ 2147483647 h 552"/>
                <a:gd name="T98" fmla="*/ 2147483647 w 552"/>
                <a:gd name="T99" fmla="*/ 2147483647 h 552"/>
                <a:gd name="T100" fmla="*/ 2147483647 w 552"/>
                <a:gd name="T101" fmla="*/ 2147483647 h 552"/>
                <a:gd name="T102" fmla="*/ 2147483647 w 552"/>
                <a:gd name="T103" fmla="*/ 2147483647 h 5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52"/>
                <a:gd name="T157" fmla="*/ 0 h 552"/>
                <a:gd name="T158" fmla="*/ 552 w 552"/>
                <a:gd name="T159" fmla="*/ 552 h 5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52" h="552">
                  <a:moveTo>
                    <a:pt x="18" y="204"/>
                  </a:moveTo>
                  <a:lnTo>
                    <a:pt x="18" y="234"/>
                  </a:lnTo>
                  <a:lnTo>
                    <a:pt x="30" y="234"/>
                  </a:lnTo>
                  <a:lnTo>
                    <a:pt x="36" y="240"/>
                  </a:lnTo>
                  <a:lnTo>
                    <a:pt x="48" y="264"/>
                  </a:lnTo>
                  <a:lnTo>
                    <a:pt x="54" y="270"/>
                  </a:lnTo>
                  <a:lnTo>
                    <a:pt x="54" y="294"/>
                  </a:lnTo>
                  <a:lnTo>
                    <a:pt x="72" y="330"/>
                  </a:lnTo>
                  <a:lnTo>
                    <a:pt x="84" y="336"/>
                  </a:lnTo>
                  <a:lnTo>
                    <a:pt x="102" y="354"/>
                  </a:lnTo>
                  <a:lnTo>
                    <a:pt x="132" y="354"/>
                  </a:lnTo>
                  <a:lnTo>
                    <a:pt x="138" y="360"/>
                  </a:lnTo>
                  <a:lnTo>
                    <a:pt x="138" y="390"/>
                  </a:lnTo>
                  <a:lnTo>
                    <a:pt x="168" y="390"/>
                  </a:lnTo>
                  <a:lnTo>
                    <a:pt x="174" y="414"/>
                  </a:lnTo>
                  <a:lnTo>
                    <a:pt x="168" y="420"/>
                  </a:lnTo>
                  <a:lnTo>
                    <a:pt x="168" y="450"/>
                  </a:lnTo>
                  <a:lnTo>
                    <a:pt x="186" y="450"/>
                  </a:lnTo>
                  <a:lnTo>
                    <a:pt x="186" y="480"/>
                  </a:lnTo>
                  <a:lnTo>
                    <a:pt x="198" y="480"/>
                  </a:lnTo>
                  <a:lnTo>
                    <a:pt x="216" y="486"/>
                  </a:lnTo>
                  <a:lnTo>
                    <a:pt x="228" y="486"/>
                  </a:lnTo>
                  <a:lnTo>
                    <a:pt x="246" y="492"/>
                  </a:lnTo>
                  <a:lnTo>
                    <a:pt x="264" y="510"/>
                  </a:lnTo>
                  <a:lnTo>
                    <a:pt x="270" y="522"/>
                  </a:lnTo>
                  <a:lnTo>
                    <a:pt x="270" y="528"/>
                  </a:lnTo>
                  <a:lnTo>
                    <a:pt x="252" y="528"/>
                  </a:lnTo>
                  <a:lnTo>
                    <a:pt x="312" y="528"/>
                  </a:lnTo>
                  <a:lnTo>
                    <a:pt x="324" y="534"/>
                  </a:lnTo>
                  <a:lnTo>
                    <a:pt x="330" y="534"/>
                  </a:lnTo>
                  <a:lnTo>
                    <a:pt x="342" y="540"/>
                  </a:lnTo>
                  <a:lnTo>
                    <a:pt x="402" y="540"/>
                  </a:lnTo>
                  <a:lnTo>
                    <a:pt x="420" y="552"/>
                  </a:lnTo>
                  <a:lnTo>
                    <a:pt x="486" y="468"/>
                  </a:lnTo>
                  <a:lnTo>
                    <a:pt x="504" y="462"/>
                  </a:lnTo>
                  <a:lnTo>
                    <a:pt x="492" y="444"/>
                  </a:lnTo>
                  <a:lnTo>
                    <a:pt x="504" y="432"/>
                  </a:lnTo>
                  <a:lnTo>
                    <a:pt x="504" y="402"/>
                  </a:lnTo>
                  <a:lnTo>
                    <a:pt x="516" y="396"/>
                  </a:lnTo>
                  <a:lnTo>
                    <a:pt x="528" y="384"/>
                  </a:lnTo>
                  <a:lnTo>
                    <a:pt x="528" y="372"/>
                  </a:lnTo>
                  <a:lnTo>
                    <a:pt x="540" y="360"/>
                  </a:lnTo>
                  <a:lnTo>
                    <a:pt x="546" y="348"/>
                  </a:lnTo>
                  <a:lnTo>
                    <a:pt x="546" y="342"/>
                  </a:lnTo>
                  <a:lnTo>
                    <a:pt x="522" y="318"/>
                  </a:lnTo>
                  <a:lnTo>
                    <a:pt x="522" y="306"/>
                  </a:lnTo>
                  <a:lnTo>
                    <a:pt x="540" y="288"/>
                  </a:lnTo>
                  <a:lnTo>
                    <a:pt x="522" y="264"/>
                  </a:lnTo>
                  <a:lnTo>
                    <a:pt x="540" y="252"/>
                  </a:lnTo>
                  <a:lnTo>
                    <a:pt x="540" y="240"/>
                  </a:lnTo>
                  <a:lnTo>
                    <a:pt x="546" y="240"/>
                  </a:lnTo>
                  <a:lnTo>
                    <a:pt x="546" y="234"/>
                  </a:lnTo>
                  <a:lnTo>
                    <a:pt x="552" y="228"/>
                  </a:lnTo>
                  <a:lnTo>
                    <a:pt x="552" y="216"/>
                  </a:lnTo>
                  <a:lnTo>
                    <a:pt x="540" y="192"/>
                  </a:lnTo>
                  <a:lnTo>
                    <a:pt x="540" y="180"/>
                  </a:lnTo>
                  <a:lnTo>
                    <a:pt x="546" y="174"/>
                  </a:lnTo>
                  <a:lnTo>
                    <a:pt x="546" y="168"/>
                  </a:lnTo>
                  <a:lnTo>
                    <a:pt x="552" y="162"/>
                  </a:lnTo>
                  <a:lnTo>
                    <a:pt x="540" y="150"/>
                  </a:lnTo>
                  <a:lnTo>
                    <a:pt x="552" y="138"/>
                  </a:lnTo>
                  <a:lnTo>
                    <a:pt x="540" y="120"/>
                  </a:lnTo>
                  <a:lnTo>
                    <a:pt x="546" y="114"/>
                  </a:lnTo>
                  <a:lnTo>
                    <a:pt x="552" y="102"/>
                  </a:lnTo>
                  <a:lnTo>
                    <a:pt x="552" y="96"/>
                  </a:lnTo>
                  <a:lnTo>
                    <a:pt x="540" y="84"/>
                  </a:lnTo>
                  <a:lnTo>
                    <a:pt x="528" y="84"/>
                  </a:lnTo>
                  <a:lnTo>
                    <a:pt x="510" y="66"/>
                  </a:lnTo>
                  <a:lnTo>
                    <a:pt x="498" y="66"/>
                  </a:lnTo>
                  <a:lnTo>
                    <a:pt x="486" y="72"/>
                  </a:lnTo>
                  <a:lnTo>
                    <a:pt x="480" y="72"/>
                  </a:lnTo>
                  <a:lnTo>
                    <a:pt x="462" y="48"/>
                  </a:lnTo>
                  <a:lnTo>
                    <a:pt x="444" y="48"/>
                  </a:lnTo>
                  <a:lnTo>
                    <a:pt x="432" y="30"/>
                  </a:lnTo>
                  <a:lnTo>
                    <a:pt x="372" y="30"/>
                  </a:lnTo>
                  <a:lnTo>
                    <a:pt x="366" y="0"/>
                  </a:lnTo>
                  <a:lnTo>
                    <a:pt x="330" y="0"/>
                  </a:lnTo>
                  <a:lnTo>
                    <a:pt x="294" y="12"/>
                  </a:lnTo>
                  <a:lnTo>
                    <a:pt x="282" y="24"/>
                  </a:lnTo>
                  <a:lnTo>
                    <a:pt x="258" y="36"/>
                  </a:lnTo>
                  <a:lnTo>
                    <a:pt x="258" y="72"/>
                  </a:lnTo>
                  <a:lnTo>
                    <a:pt x="252" y="78"/>
                  </a:lnTo>
                  <a:lnTo>
                    <a:pt x="240" y="78"/>
                  </a:lnTo>
                  <a:lnTo>
                    <a:pt x="228" y="84"/>
                  </a:lnTo>
                  <a:lnTo>
                    <a:pt x="210" y="90"/>
                  </a:lnTo>
                  <a:lnTo>
                    <a:pt x="198" y="96"/>
                  </a:lnTo>
                  <a:lnTo>
                    <a:pt x="192" y="102"/>
                  </a:lnTo>
                  <a:lnTo>
                    <a:pt x="180" y="126"/>
                  </a:lnTo>
                  <a:lnTo>
                    <a:pt x="174" y="132"/>
                  </a:lnTo>
                  <a:lnTo>
                    <a:pt x="174" y="138"/>
                  </a:lnTo>
                  <a:lnTo>
                    <a:pt x="168" y="144"/>
                  </a:lnTo>
                  <a:lnTo>
                    <a:pt x="162" y="156"/>
                  </a:lnTo>
                  <a:lnTo>
                    <a:pt x="132" y="186"/>
                  </a:lnTo>
                  <a:lnTo>
                    <a:pt x="108" y="198"/>
                  </a:lnTo>
                  <a:lnTo>
                    <a:pt x="90" y="198"/>
                  </a:lnTo>
                  <a:lnTo>
                    <a:pt x="90" y="192"/>
                  </a:lnTo>
                  <a:lnTo>
                    <a:pt x="78" y="180"/>
                  </a:lnTo>
                  <a:lnTo>
                    <a:pt x="66" y="180"/>
                  </a:lnTo>
                  <a:lnTo>
                    <a:pt x="66" y="192"/>
                  </a:lnTo>
                  <a:lnTo>
                    <a:pt x="54" y="192"/>
                  </a:lnTo>
                  <a:lnTo>
                    <a:pt x="42" y="180"/>
                  </a:lnTo>
                  <a:lnTo>
                    <a:pt x="42" y="174"/>
                  </a:lnTo>
                  <a:lnTo>
                    <a:pt x="0" y="174"/>
                  </a:lnTo>
                  <a:lnTo>
                    <a:pt x="6" y="192"/>
                  </a:lnTo>
                  <a:lnTo>
                    <a:pt x="18" y="204"/>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65" name="Sierra Leone" descr="© INSCALE GmbH, 05.05.2010&#10;http://www.presentationload.com/">
              <a:extLst>
                <a:ext uri="{FF2B5EF4-FFF2-40B4-BE49-F238E27FC236}">
                  <a16:creationId xmlns:a16="http://schemas.microsoft.com/office/drawing/2014/main" id="{93D7634D-60EB-41BD-88F1-26DEDE6C5992}"/>
                </a:ext>
              </a:extLst>
            </p:cNvPr>
            <p:cNvSpPr>
              <a:spLocks/>
            </p:cNvSpPr>
            <p:nvPr/>
          </p:nvSpPr>
          <p:spPr bwMode="gray">
            <a:xfrm>
              <a:off x="3756170" y="3929617"/>
              <a:ext cx="83105" cy="106626"/>
            </a:xfrm>
            <a:custGeom>
              <a:avLst/>
              <a:gdLst>
                <a:gd name="T0" fmla="*/ 2147483647 w 210"/>
                <a:gd name="T1" fmla="*/ 2147483647 h 270"/>
                <a:gd name="T2" fmla="*/ 2147483647 w 210"/>
                <a:gd name="T3" fmla="*/ 2147483647 h 270"/>
                <a:gd name="T4" fmla="*/ 2147483647 w 210"/>
                <a:gd name="T5" fmla="*/ 2147483647 h 270"/>
                <a:gd name="T6" fmla="*/ 2147483647 w 210"/>
                <a:gd name="T7" fmla="*/ 2147483647 h 270"/>
                <a:gd name="T8" fmla="*/ 2147483647 w 210"/>
                <a:gd name="T9" fmla="*/ 2147483647 h 270"/>
                <a:gd name="T10" fmla="*/ 2147483647 w 210"/>
                <a:gd name="T11" fmla="*/ 2147483647 h 270"/>
                <a:gd name="T12" fmla="*/ 2147483647 w 210"/>
                <a:gd name="T13" fmla="*/ 2147483647 h 270"/>
                <a:gd name="T14" fmla="*/ 2147483647 w 210"/>
                <a:gd name="T15" fmla="*/ 2147483647 h 270"/>
                <a:gd name="T16" fmla="*/ 2147483647 w 210"/>
                <a:gd name="T17" fmla="*/ 2147483647 h 270"/>
                <a:gd name="T18" fmla="*/ 2147483647 w 210"/>
                <a:gd name="T19" fmla="*/ 2147483647 h 270"/>
                <a:gd name="T20" fmla="*/ 2147483647 w 210"/>
                <a:gd name="T21" fmla="*/ 2147483647 h 270"/>
                <a:gd name="T22" fmla="*/ 2147483647 w 210"/>
                <a:gd name="T23" fmla="*/ 0 h 270"/>
                <a:gd name="T24" fmla="*/ 2147483647 w 210"/>
                <a:gd name="T25" fmla="*/ 0 h 270"/>
                <a:gd name="T26" fmla="*/ 2147483647 w 210"/>
                <a:gd name="T27" fmla="*/ 2147483647 h 270"/>
                <a:gd name="T28" fmla="*/ 2147483647 w 210"/>
                <a:gd name="T29" fmla="*/ 2147483647 h 270"/>
                <a:gd name="T30" fmla="*/ 2147483647 w 210"/>
                <a:gd name="T31" fmla="*/ 2147483647 h 270"/>
                <a:gd name="T32" fmla="*/ 2147483647 w 210"/>
                <a:gd name="T33" fmla="*/ 2147483647 h 270"/>
                <a:gd name="T34" fmla="*/ 2147483647 w 210"/>
                <a:gd name="T35" fmla="*/ 2147483647 h 270"/>
                <a:gd name="T36" fmla="*/ 2147483647 w 210"/>
                <a:gd name="T37" fmla="*/ 2147483647 h 270"/>
                <a:gd name="T38" fmla="*/ 2147483647 w 210"/>
                <a:gd name="T39" fmla="*/ 2147483647 h 270"/>
                <a:gd name="T40" fmla="*/ 2147483647 w 210"/>
                <a:gd name="T41" fmla="*/ 2147483647 h 270"/>
                <a:gd name="T42" fmla="*/ 2147483647 w 210"/>
                <a:gd name="T43" fmla="*/ 2147483647 h 270"/>
                <a:gd name="T44" fmla="*/ 0 w 210"/>
                <a:gd name="T45" fmla="*/ 2147483647 h 270"/>
                <a:gd name="T46" fmla="*/ 2147483647 w 210"/>
                <a:gd name="T47" fmla="*/ 2147483647 h 270"/>
                <a:gd name="T48" fmla="*/ 2147483647 w 210"/>
                <a:gd name="T49" fmla="*/ 2147483647 h 270"/>
                <a:gd name="T50" fmla="*/ 0 w 210"/>
                <a:gd name="T51" fmla="*/ 2147483647 h 270"/>
                <a:gd name="T52" fmla="*/ 0 w 210"/>
                <a:gd name="T53" fmla="*/ 2147483647 h 270"/>
                <a:gd name="T54" fmla="*/ 2147483647 w 210"/>
                <a:gd name="T55" fmla="*/ 2147483647 h 270"/>
                <a:gd name="T56" fmla="*/ 2147483647 w 210"/>
                <a:gd name="T57" fmla="*/ 2147483647 h 270"/>
                <a:gd name="T58" fmla="*/ 2147483647 w 210"/>
                <a:gd name="T59" fmla="*/ 2147483647 h 270"/>
                <a:gd name="T60" fmla="*/ 2147483647 w 210"/>
                <a:gd name="T61" fmla="*/ 2147483647 h 270"/>
                <a:gd name="T62" fmla="*/ 2147483647 w 210"/>
                <a:gd name="T63" fmla="*/ 2147483647 h 270"/>
                <a:gd name="T64" fmla="*/ 2147483647 w 210"/>
                <a:gd name="T65" fmla="*/ 2147483647 h 270"/>
                <a:gd name="T66" fmla="*/ 2147483647 w 210"/>
                <a:gd name="T67" fmla="*/ 2147483647 h 270"/>
                <a:gd name="T68" fmla="*/ 2147483647 w 210"/>
                <a:gd name="T69" fmla="*/ 2147483647 h 270"/>
                <a:gd name="T70" fmla="*/ 2147483647 w 210"/>
                <a:gd name="T71" fmla="*/ 2147483647 h 270"/>
                <a:gd name="T72" fmla="*/ 2147483647 w 210"/>
                <a:gd name="T73" fmla="*/ 2147483647 h 270"/>
                <a:gd name="T74" fmla="*/ 2147483647 w 210"/>
                <a:gd name="T75" fmla="*/ 2147483647 h 270"/>
                <a:gd name="T76" fmla="*/ 2147483647 w 210"/>
                <a:gd name="T77" fmla="*/ 2147483647 h 270"/>
                <a:gd name="T78" fmla="*/ 2147483647 w 210"/>
                <a:gd name="T79" fmla="*/ 2147483647 h 270"/>
                <a:gd name="T80" fmla="*/ 2147483647 w 210"/>
                <a:gd name="T81" fmla="*/ 2147483647 h 270"/>
                <a:gd name="T82" fmla="*/ 2147483647 w 210"/>
                <a:gd name="T83" fmla="*/ 2147483647 h 270"/>
                <a:gd name="T84" fmla="*/ 2147483647 w 210"/>
                <a:gd name="T85" fmla="*/ 2147483647 h 270"/>
                <a:gd name="T86" fmla="*/ 2147483647 w 210"/>
                <a:gd name="T87" fmla="*/ 2147483647 h 27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270"/>
                <a:gd name="T134" fmla="*/ 210 w 210"/>
                <a:gd name="T135" fmla="*/ 270 h 27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270">
                  <a:moveTo>
                    <a:pt x="186" y="180"/>
                  </a:moveTo>
                  <a:lnTo>
                    <a:pt x="186" y="162"/>
                  </a:lnTo>
                  <a:lnTo>
                    <a:pt x="210" y="156"/>
                  </a:lnTo>
                  <a:lnTo>
                    <a:pt x="204" y="132"/>
                  </a:lnTo>
                  <a:lnTo>
                    <a:pt x="174" y="144"/>
                  </a:lnTo>
                  <a:lnTo>
                    <a:pt x="180" y="126"/>
                  </a:lnTo>
                  <a:lnTo>
                    <a:pt x="186" y="120"/>
                  </a:lnTo>
                  <a:lnTo>
                    <a:pt x="192" y="108"/>
                  </a:lnTo>
                  <a:lnTo>
                    <a:pt x="192" y="90"/>
                  </a:lnTo>
                  <a:lnTo>
                    <a:pt x="180" y="78"/>
                  </a:lnTo>
                  <a:lnTo>
                    <a:pt x="180" y="60"/>
                  </a:lnTo>
                  <a:lnTo>
                    <a:pt x="138" y="0"/>
                  </a:lnTo>
                  <a:lnTo>
                    <a:pt x="102" y="0"/>
                  </a:lnTo>
                  <a:lnTo>
                    <a:pt x="96" y="18"/>
                  </a:lnTo>
                  <a:lnTo>
                    <a:pt x="60" y="18"/>
                  </a:lnTo>
                  <a:lnTo>
                    <a:pt x="60" y="24"/>
                  </a:lnTo>
                  <a:lnTo>
                    <a:pt x="54" y="30"/>
                  </a:lnTo>
                  <a:lnTo>
                    <a:pt x="48" y="42"/>
                  </a:lnTo>
                  <a:lnTo>
                    <a:pt x="36" y="54"/>
                  </a:lnTo>
                  <a:lnTo>
                    <a:pt x="30" y="66"/>
                  </a:lnTo>
                  <a:lnTo>
                    <a:pt x="18" y="72"/>
                  </a:lnTo>
                  <a:lnTo>
                    <a:pt x="12" y="78"/>
                  </a:lnTo>
                  <a:lnTo>
                    <a:pt x="0" y="84"/>
                  </a:lnTo>
                  <a:lnTo>
                    <a:pt x="12" y="96"/>
                  </a:lnTo>
                  <a:lnTo>
                    <a:pt x="6" y="102"/>
                  </a:lnTo>
                  <a:lnTo>
                    <a:pt x="0" y="114"/>
                  </a:lnTo>
                  <a:lnTo>
                    <a:pt x="0" y="132"/>
                  </a:lnTo>
                  <a:lnTo>
                    <a:pt x="6" y="138"/>
                  </a:lnTo>
                  <a:lnTo>
                    <a:pt x="18" y="144"/>
                  </a:lnTo>
                  <a:lnTo>
                    <a:pt x="24" y="150"/>
                  </a:lnTo>
                  <a:lnTo>
                    <a:pt x="18" y="180"/>
                  </a:lnTo>
                  <a:lnTo>
                    <a:pt x="42" y="198"/>
                  </a:lnTo>
                  <a:lnTo>
                    <a:pt x="42" y="204"/>
                  </a:lnTo>
                  <a:lnTo>
                    <a:pt x="48" y="210"/>
                  </a:lnTo>
                  <a:lnTo>
                    <a:pt x="54" y="222"/>
                  </a:lnTo>
                  <a:lnTo>
                    <a:pt x="78" y="234"/>
                  </a:lnTo>
                  <a:lnTo>
                    <a:pt x="96" y="234"/>
                  </a:lnTo>
                  <a:lnTo>
                    <a:pt x="126" y="270"/>
                  </a:lnTo>
                  <a:lnTo>
                    <a:pt x="126" y="234"/>
                  </a:lnTo>
                  <a:lnTo>
                    <a:pt x="144" y="216"/>
                  </a:lnTo>
                  <a:lnTo>
                    <a:pt x="156" y="210"/>
                  </a:lnTo>
                  <a:lnTo>
                    <a:pt x="168" y="198"/>
                  </a:lnTo>
                  <a:lnTo>
                    <a:pt x="180" y="192"/>
                  </a:lnTo>
                  <a:lnTo>
                    <a:pt x="186" y="18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66" name="Serbien" descr="© INSCALE GmbH, 05.05.2010&#10;http://www.presentationload.com/">
              <a:extLst>
                <a:ext uri="{FF2B5EF4-FFF2-40B4-BE49-F238E27FC236}">
                  <a16:creationId xmlns:a16="http://schemas.microsoft.com/office/drawing/2014/main" id="{6E306460-8BA7-4B91-9C47-94B3B4EA08A5}"/>
                </a:ext>
              </a:extLst>
            </p:cNvPr>
            <p:cNvSpPr>
              <a:spLocks/>
            </p:cNvSpPr>
            <p:nvPr/>
          </p:nvSpPr>
          <p:spPr bwMode="gray">
            <a:xfrm>
              <a:off x="4632694" y="2777120"/>
              <a:ext cx="109762" cy="120341"/>
            </a:xfrm>
            <a:custGeom>
              <a:avLst/>
              <a:gdLst/>
              <a:ahLst/>
              <a:cxnLst>
                <a:cxn ang="0">
                  <a:pos x="464" y="374"/>
                </a:cxn>
                <a:cxn ang="0">
                  <a:pos x="453" y="310"/>
                </a:cxn>
                <a:cxn ang="0">
                  <a:pos x="453" y="235"/>
                </a:cxn>
                <a:cxn ang="0">
                  <a:pos x="378" y="224"/>
                </a:cxn>
                <a:cxn ang="0">
                  <a:pos x="302" y="171"/>
                </a:cxn>
                <a:cxn ang="0">
                  <a:pos x="291" y="118"/>
                </a:cxn>
                <a:cxn ang="0">
                  <a:pos x="259" y="128"/>
                </a:cxn>
                <a:cxn ang="0">
                  <a:pos x="216" y="53"/>
                </a:cxn>
                <a:cxn ang="0">
                  <a:pos x="87" y="0"/>
                </a:cxn>
                <a:cxn ang="0">
                  <a:pos x="0" y="43"/>
                </a:cxn>
                <a:cxn ang="0">
                  <a:pos x="32" y="96"/>
                </a:cxn>
                <a:cxn ang="0">
                  <a:pos x="65" y="139"/>
                </a:cxn>
                <a:cxn ang="0">
                  <a:pos x="54" y="150"/>
                </a:cxn>
                <a:cxn ang="0">
                  <a:pos x="32" y="181"/>
                </a:cxn>
                <a:cxn ang="0">
                  <a:pos x="32" y="192"/>
                </a:cxn>
                <a:cxn ang="0">
                  <a:pos x="76" y="203"/>
                </a:cxn>
                <a:cxn ang="0">
                  <a:pos x="87" y="267"/>
                </a:cxn>
                <a:cxn ang="0">
                  <a:pos x="65" y="310"/>
                </a:cxn>
                <a:cxn ang="0">
                  <a:pos x="98" y="363"/>
                </a:cxn>
                <a:cxn ang="0">
                  <a:pos x="119" y="395"/>
                </a:cxn>
                <a:cxn ang="0">
                  <a:pos x="157" y="442"/>
                </a:cxn>
                <a:cxn ang="0">
                  <a:pos x="173" y="438"/>
                </a:cxn>
                <a:cxn ang="0">
                  <a:pos x="180" y="444"/>
                </a:cxn>
                <a:cxn ang="0">
                  <a:pos x="230" y="446"/>
                </a:cxn>
                <a:cxn ang="0">
                  <a:pos x="237" y="431"/>
                </a:cxn>
                <a:cxn ang="0">
                  <a:pos x="258" y="416"/>
                </a:cxn>
                <a:cxn ang="0">
                  <a:pos x="266" y="418"/>
                </a:cxn>
                <a:cxn ang="0">
                  <a:pos x="268" y="407"/>
                </a:cxn>
                <a:cxn ang="0">
                  <a:pos x="267" y="399"/>
                </a:cxn>
                <a:cxn ang="0">
                  <a:pos x="254" y="388"/>
                </a:cxn>
                <a:cxn ang="0">
                  <a:pos x="262" y="387"/>
                </a:cxn>
                <a:cxn ang="0">
                  <a:pos x="279" y="380"/>
                </a:cxn>
                <a:cxn ang="0">
                  <a:pos x="288" y="372"/>
                </a:cxn>
                <a:cxn ang="0">
                  <a:pos x="298" y="389"/>
                </a:cxn>
                <a:cxn ang="0">
                  <a:pos x="292" y="399"/>
                </a:cxn>
                <a:cxn ang="0">
                  <a:pos x="309" y="402"/>
                </a:cxn>
                <a:cxn ang="0">
                  <a:pos x="321" y="404"/>
                </a:cxn>
                <a:cxn ang="0">
                  <a:pos x="326" y="408"/>
                </a:cxn>
                <a:cxn ang="0">
                  <a:pos x="328" y="433"/>
                </a:cxn>
                <a:cxn ang="0">
                  <a:pos x="334" y="429"/>
                </a:cxn>
                <a:cxn ang="0">
                  <a:pos x="335" y="448"/>
                </a:cxn>
                <a:cxn ang="0">
                  <a:pos x="348" y="452"/>
                </a:cxn>
                <a:cxn ang="0">
                  <a:pos x="356" y="467"/>
                </a:cxn>
                <a:cxn ang="0">
                  <a:pos x="354" y="478"/>
                </a:cxn>
                <a:cxn ang="0">
                  <a:pos x="356" y="482"/>
                </a:cxn>
                <a:cxn ang="0">
                  <a:pos x="369" y="485"/>
                </a:cxn>
                <a:cxn ang="0">
                  <a:pos x="381" y="492"/>
                </a:cxn>
                <a:cxn ang="0">
                  <a:pos x="390" y="496"/>
                </a:cxn>
                <a:cxn ang="0">
                  <a:pos x="399" y="501"/>
                </a:cxn>
                <a:cxn ang="0">
                  <a:pos x="392" y="513"/>
                </a:cxn>
                <a:cxn ang="0">
                  <a:pos x="384" y="528"/>
                </a:cxn>
                <a:cxn ang="0">
                  <a:pos x="376" y="542"/>
                </a:cxn>
                <a:cxn ang="0">
                  <a:pos x="453" y="492"/>
                </a:cxn>
                <a:cxn ang="0">
                  <a:pos x="486" y="470"/>
                </a:cxn>
                <a:cxn ang="0">
                  <a:pos x="486" y="406"/>
                </a:cxn>
              </a:cxnLst>
              <a:rect l="0" t="0" r="r" b="b"/>
              <a:pathLst>
                <a:path w="496" h="542">
                  <a:moveTo>
                    <a:pt x="486" y="406"/>
                  </a:moveTo>
                  <a:cubicBezTo>
                    <a:pt x="453" y="395"/>
                    <a:pt x="453" y="395"/>
                    <a:pt x="453" y="395"/>
                  </a:cubicBezTo>
                  <a:cubicBezTo>
                    <a:pt x="464" y="374"/>
                    <a:pt x="464" y="374"/>
                    <a:pt x="464" y="374"/>
                  </a:cubicBezTo>
                  <a:cubicBezTo>
                    <a:pt x="432" y="363"/>
                    <a:pt x="432" y="363"/>
                    <a:pt x="432" y="363"/>
                  </a:cubicBezTo>
                  <a:cubicBezTo>
                    <a:pt x="432" y="331"/>
                    <a:pt x="432" y="331"/>
                    <a:pt x="432" y="331"/>
                  </a:cubicBezTo>
                  <a:cubicBezTo>
                    <a:pt x="453" y="310"/>
                    <a:pt x="453" y="310"/>
                    <a:pt x="453" y="310"/>
                  </a:cubicBezTo>
                  <a:cubicBezTo>
                    <a:pt x="453" y="267"/>
                    <a:pt x="453" y="267"/>
                    <a:pt x="453" y="267"/>
                  </a:cubicBezTo>
                  <a:cubicBezTo>
                    <a:pt x="442" y="256"/>
                    <a:pt x="442" y="256"/>
                    <a:pt x="442" y="256"/>
                  </a:cubicBezTo>
                  <a:cubicBezTo>
                    <a:pt x="453" y="235"/>
                    <a:pt x="453" y="235"/>
                    <a:pt x="453" y="235"/>
                  </a:cubicBezTo>
                  <a:cubicBezTo>
                    <a:pt x="464" y="224"/>
                    <a:pt x="464" y="224"/>
                    <a:pt x="464" y="224"/>
                  </a:cubicBezTo>
                  <a:cubicBezTo>
                    <a:pt x="421" y="213"/>
                    <a:pt x="421" y="213"/>
                    <a:pt x="421" y="213"/>
                  </a:cubicBezTo>
                  <a:cubicBezTo>
                    <a:pt x="378" y="224"/>
                    <a:pt x="378" y="224"/>
                    <a:pt x="378" y="224"/>
                  </a:cubicBezTo>
                  <a:cubicBezTo>
                    <a:pt x="367" y="213"/>
                    <a:pt x="367" y="213"/>
                    <a:pt x="367" y="213"/>
                  </a:cubicBezTo>
                  <a:cubicBezTo>
                    <a:pt x="324" y="203"/>
                    <a:pt x="324" y="203"/>
                    <a:pt x="324" y="203"/>
                  </a:cubicBezTo>
                  <a:cubicBezTo>
                    <a:pt x="302" y="171"/>
                    <a:pt x="302" y="171"/>
                    <a:pt x="302" y="171"/>
                  </a:cubicBezTo>
                  <a:cubicBezTo>
                    <a:pt x="313" y="160"/>
                    <a:pt x="313" y="160"/>
                    <a:pt x="313" y="160"/>
                  </a:cubicBezTo>
                  <a:cubicBezTo>
                    <a:pt x="313" y="128"/>
                    <a:pt x="313" y="128"/>
                    <a:pt x="313" y="128"/>
                  </a:cubicBezTo>
                  <a:cubicBezTo>
                    <a:pt x="291" y="118"/>
                    <a:pt x="291" y="118"/>
                    <a:pt x="291" y="118"/>
                  </a:cubicBezTo>
                  <a:cubicBezTo>
                    <a:pt x="280" y="118"/>
                    <a:pt x="280" y="118"/>
                    <a:pt x="280" y="118"/>
                  </a:cubicBezTo>
                  <a:cubicBezTo>
                    <a:pt x="270" y="128"/>
                    <a:pt x="270" y="128"/>
                    <a:pt x="270" y="128"/>
                  </a:cubicBezTo>
                  <a:cubicBezTo>
                    <a:pt x="259" y="128"/>
                    <a:pt x="259" y="128"/>
                    <a:pt x="259" y="128"/>
                  </a:cubicBezTo>
                  <a:cubicBezTo>
                    <a:pt x="249" y="118"/>
                    <a:pt x="249" y="118"/>
                    <a:pt x="249" y="118"/>
                  </a:cubicBezTo>
                  <a:cubicBezTo>
                    <a:pt x="227" y="53"/>
                    <a:pt x="227" y="53"/>
                    <a:pt x="227" y="53"/>
                  </a:cubicBezTo>
                  <a:cubicBezTo>
                    <a:pt x="216" y="53"/>
                    <a:pt x="216" y="53"/>
                    <a:pt x="216" y="53"/>
                  </a:cubicBezTo>
                  <a:cubicBezTo>
                    <a:pt x="173" y="21"/>
                    <a:pt x="173" y="21"/>
                    <a:pt x="173" y="21"/>
                  </a:cubicBezTo>
                  <a:cubicBezTo>
                    <a:pt x="129" y="0"/>
                    <a:pt x="129" y="0"/>
                    <a:pt x="129" y="0"/>
                  </a:cubicBezTo>
                  <a:cubicBezTo>
                    <a:pt x="87" y="0"/>
                    <a:pt x="87" y="0"/>
                    <a:pt x="87" y="0"/>
                  </a:cubicBezTo>
                  <a:cubicBezTo>
                    <a:pt x="54" y="32"/>
                    <a:pt x="54" y="32"/>
                    <a:pt x="54" y="32"/>
                  </a:cubicBezTo>
                  <a:cubicBezTo>
                    <a:pt x="11" y="32"/>
                    <a:pt x="11" y="32"/>
                    <a:pt x="11" y="32"/>
                  </a:cubicBezTo>
                  <a:cubicBezTo>
                    <a:pt x="0" y="43"/>
                    <a:pt x="0" y="43"/>
                    <a:pt x="0" y="43"/>
                  </a:cubicBezTo>
                  <a:cubicBezTo>
                    <a:pt x="11" y="43"/>
                    <a:pt x="11" y="43"/>
                    <a:pt x="11" y="43"/>
                  </a:cubicBezTo>
                  <a:cubicBezTo>
                    <a:pt x="22" y="96"/>
                    <a:pt x="22" y="96"/>
                    <a:pt x="22" y="96"/>
                  </a:cubicBezTo>
                  <a:cubicBezTo>
                    <a:pt x="32" y="96"/>
                    <a:pt x="32" y="96"/>
                    <a:pt x="32" y="96"/>
                  </a:cubicBezTo>
                  <a:cubicBezTo>
                    <a:pt x="22" y="128"/>
                    <a:pt x="22" y="128"/>
                    <a:pt x="22" y="128"/>
                  </a:cubicBezTo>
                  <a:cubicBezTo>
                    <a:pt x="43" y="128"/>
                    <a:pt x="43" y="128"/>
                    <a:pt x="43" y="128"/>
                  </a:cubicBezTo>
                  <a:cubicBezTo>
                    <a:pt x="65" y="139"/>
                    <a:pt x="65" y="139"/>
                    <a:pt x="65" y="139"/>
                  </a:cubicBezTo>
                  <a:cubicBezTo>
                    <a:pt x="76" y="139"/>
                    <a:pt x="76" y="139"/>
                    <a:pt x="76" y="139"/>
                  </a:cubicBezTo>
                  <a:cubicBezTo>
                    <a:pt x="65" y="150"/>
                    <a:pt x="65" y="150"/>
                    <a:pt x="65" y="150"/>
                  </a:cubicBezTo>
                  <a:cubicBezTo>
                    <a:pt x="54" y="150"/>
                    <a:pt x="54" y="150"/>
                    <a:pt x="54" y="150"/>
                  </a:cubicBezTo>
                  <a:cubicBezTo>
                    <a:pt x="43" y="160"/>
                    <a:pt x="43" y="160"/>
                    <a:pt x="43" y="160"/>
                  </a:cubicBezTo>
                  <a:cubicBezTo>
                    <a:pt x="32" y="160"/>
                    <a:pt x="32" y="160"/>
                    <a:pt x="32" y="160"/>
                  </a:cubicBezTo>
                  <a:cubicBezTo>
                    <a:pt x="32" y="181"/>
                    <a:pt x="32" y="181"/>
                    <a:pt x="32" y="181"/>
                  </a:cubicBezTo>
                  <a:cubicBezTo>
                    <a:pt x="22" y="181"/>
                    <a:pt x="22" y="181"/>
                    <a:pt x="22" y="181"/>
                  </a:cubicBezTo>
                  <a:cubicBezTo>
                    <a:pt x="22" y="192"/>
                    <a:pt x="22" y="192"/>
                    <a:pt x="22" y="192"/>
                  </a:cubicBezTo>
                  <a:cubicBezTo>
                    <a:pt x="32" y="192"/>
                    <a:pt x="32" y="192"/>
                    <a:pt x="32" y="192"/>
                  </a:cubicBezTo>
                  <a:cubicBezTo>
                    <a:pt x="54" y="181"/>
                    <a:pt x="54" y="181"/>
                    <a:pt x="54" y="181"/>
                  </a:cubicBezTo>
                  <a:cubicBezTo>
                    <a:pt x="76" y="181"/>
                    <a:pt x="76" y="181"/>
                    <a:pt x="76" y="181"/>
                  </a:cubicBezTo>
                  <a:cubicBezTo>
                    <a:pt x="76" y="203"/>
                    <a:pt x="76" y="203"/>
                    <a:pt x="76" y="203"/>
                  </a:cubicBezTo>
                  <a:cubicBezTo>
                    <a:pt x="43" y="235"/>
                    <a:pt x="43" y="235"/>
                    <a:pt x="43" y="235"/>
                  </a:cubicBezTo>
                  <a:cubicBezTo>
                    <a:pt x="43" y="267"/>
                    <a:pt x="43" y="267"/>
                    <a:pt x="43" y="267"/>
                  </a:cubicBezTo>
                  <a:cubicBezTo>
                    <a:pt x="87" y="267"/>
                    <a:pt x="87" y="267"/>
                    <a:pt x="87" y="267"/>
                  </a:cubicBezTo>
                  <a:cubicBezTo>
                    <a:pt x="98" y="278"/>
                    <a:pt x="98" y="278"/>
                    <a:pt x="98" y="278"/>
                  </a:cubicBezTo>
                  <a:cubicBezTo>
                    <a:pt x="108" y="299"/>
                    <a:pt x="108" y="299"/>
                    <a:pt x="108" y="299"/>
                  </a:cubicBezTo>
                  <a:cubicBezTo>
                    <a:pt x="65" y="310"/>
                    <a:pt x="65" y="310"/>
                    <a:pt x="65" y="310"/>
                  </a:cubicBezTo>
                  <a:cubicBezTo>
                    <a:pt x="87" y="331"/>
                    <a:pt x="87" y="331"/>
                    <a:pt x="87" y="331"/>
                  </a:cubicBezTo>
                  <a:cubicBezTo>
                    <a:pt x="98" y="353"/>
                    <a:pt x="98" y="353"/>
                    <a:pt x="98" y="353"/>
                  </a:cubicBezTo>
                  <a:cubicBezTo>
                    <a:pt x="98" y="363"/>
                    <a:pt x="98" y="363"/>
                    <a:pt x="98" y="363"/>
                  </a:cubicBezTo>
                  <a:cubicBezTo>
                    <a:pt x="87" y="363"/>
                    <a:pt x="87" y="363"/>
                    <a:pt x="87" y="363"/>
                  </a:cubicBezTo>
                  <a:cubicBezTo>
                    <a:pt x="87" y="374"/>
                    <a:pt x="87" y="374"/>
                    <a:pt x="87" y="374"/>
                  </a:cubicBezTo>
                  <a:cubicBezTo>
                    <a:pt x="119" y="395"/>
                    <a:pt x="119" y="395"/>
                    <a:pt x="119" y="395"/>
                  </a:cubicBezTo>
                  <a:cubicBezTo>
                    <a:pt x="140" y="417"/>
                    <a:pt x="140" y="417"/>
                    <a:pt x="140" y="417"/>
                  </a:cubicBezTo>
                  <a:cubicBezTo>
                    <a:pt x="157" y="442"/>
                    <a:pt x="157" y="442"/>
                    <a:pt x="157" y="442"/>
                  </a:cubicBezTo>
                  <a:cubicBezTo>
                    <a:pt x="157" y="442"/>
                    <a:pt x="157" y="442"/>
                    <a:pt x="157" y="442"/>
                  </a:cubicBezTo>
                  <a:cubicBezTo>
                    <a:pt x="159" y="442"/>
                    <a:pt x="161" y="443"/>
                    <a:pt x="166" y="444"/>
                  </a:cubicBezTo>
                  <a:cubicBezTo>
                    <a:pt x="166" y="444"/>
                    <a:pt x="166" y="444"/>
                    <a:pt x="167" y="444"/>
                  </a:cubicBezTo>
                  <a:cubicBezTo>
                    <a:pt x="173" y="438"/>
                    <a:pt x="173" y="438"/>
                    <a:pt x="173" y="438"/>
                  </a:cubicBezTo>
                  <a:cubicBezTo>
                    <a:pt x="173" y="447"/>
                    <a:pt x="173" y="447"/>
                    <a:pt x="173" y="447"/>
                  </a:cubicBezTo>
                  <a:cubicBezTo>
                    <a:pt x="174" y="448"/>
                    <a:pt x="175" y="448"/>
                    <a:pt x="176" y="449"/>
                  </a:cubicBezTo>
                  <a:cubicBezTo>
                    <a:pt x="176" y="449"/>
                    <a:pt x="176" y="449"/>
                    <a:pt x="180" y="444"/>
                  </a:cubicBezTo>
                  <a:cubicBezTo>
                    <a:pt x="180" y="444"/>
                    <a:pt x="180" y="444"/>
                    <a:pt x="199" y="447"/>
                  </a:cubicBezTo>
                  <a:cubicBezTo>
                    <a:pt x="199" y="447"/>
                    <a:pt x="199" y="447"/>
                    <a:pt x="212" y="446"/>
                  </a:cubicBezTo>
                  <a:cubicBezTo>
                    <a:pt x="212" y="446"/>
                    <a:pt x="212" y="446"/>
                    <a:pt x="230" y="446"/>
                  </a:cubicBezTo>
                  <a:cubicBezTo>
                    <a:pt x="230" y="446"/>
                    <a:pt x="230" y="446"/>
                    <a:pt x="240" y="443"/>
                  </a:cubicBezTo>
                  <a:cubicBezTo>
                    <a:pt x="240" y="443"/>
                    <a:pt x="240" y="443"/>
                    <a:pt x="239" y="437"/>
                  </a:cubicBezTo>
                  <a:cubicBezTo>
                    <a:pt x="239" y="437"/>
                    <a:pt x="239" y="437"/>
                    <a:pt x="237" y="431"/>
                  </a:cubicBezTo>
                  <a:cubicBezTo>
                    <a:pt x="237" y="431"/>
                    <a:pt x="237" y="431"/>
                    <a:pt x="245" y="425"/>
                  </a:cubicBezTo>
                  <a:cubicBezTo>
                    <a:pt x="245" y="425"/>
                    <a:pt x="245" y="425"/>
                    <a:pt x="255" y="417"/>
                  </a:cubicBezTo>
                  <a:cubicBezTo>
                    <a:pt x="255" y="417"/>
                    <a:pt x="255" y="417"/>
                    <a:pt x="258" y="416"/>
                  </a:cubicBezTo>
                  <a:cubicBezTo>
                    <a:pt x="258" y="416"/>
                    <a:pt x="258" y="416"/>
                    <a:pt x="258" y="421"/>
                  </a:cubicBezTo>
                  <a:cubicBezTo>
                    <a:pt x="258" y="421"/>
                    <a:pt x="258" y="421"/>
                    <a:pt x="262" y="419"/>
                  </a:cubicBezTo>
                  <a:cubicBezTo>
                    <a:pt x="262" y="419"/>
                    <a:pt x="262" y="419"/>
                    <a:pt x="266" y="418"/>
                  </a:cubicBezTo>
                  <a:cubicBezTo>
                    <a:pt x="266" y="418"/>
                    <a:pt x="266" y="418"/>
                    <a:pt x="263" y="414"/>
                  </a:cubicBezTo>
                  <a:cubicBezTo>
                    <a:pt x="263" y="414"/>
                    <a:pt x="263" y="414"/>
                    <a:pt x="267" y="412"/>
                  </a:cubicBezTo>
                  <a:cubicBezTo>
                    <a:pt x="267" y="412"/>
                    <a:pt x="267" y="412"/>
                    <a:pt x="268" y="407"/>
                  </a:cubicBezTo>
                  <a:cubicBezTo>
                    <a:pt x="268" y="407"/>
                    <a:pt x="268" y="407"/>
                    <a:pt x="264" y="405"/>
                  </a:cubicBezTo>
                  <a:cubicBezTo>
                    <a:pt x="264" y="405"/>
                    <a:pt x="264" y="405"/>
                    <a:pt x="264" y="402"/>
                  </a:cubicBezTo>
                  <a:cubicBezTo>
                    <a:pt x="264" y="402"/>
                    <a:pt x="264" y="402"/>
                    <a:pt x="267" y="399"/>
                  </a:cubicBezTo>
                  <a:cubicBezTo>
                    <a:pt x="267" y="399"/>
                    <a:pt x="267" y="399"/>
                    <a:pt x="266" y="396"/>
                  </a:cubicBezTo>
                  <a:cubicBezTo>
                    <a:pt x="266" y="396"/>
                    <a:pt x="266" y="396"/>
                    <a:pt x="258" y="394"/>
                  </a:cubicBezTo>
                  <a:cubicBezTo>
                    <a:pt x="258" y="394"/>
                    <a:pt x="258" y="394"/>
                    <a:pt x="254" y="388"/>
                  </a:cubicBezTo>
                  <a:cubicBezTo>
                    <a:pt x="254" y="388"/>
                    <a:pt x="254" y="388"/>
                    <a:pt x="256" y="385"/>
                  </a:cubicBezTo>
                  <a:cubicBezTo>
                    <a:pt x="256" y="385"/>
                    <a:pt x="256" y="385"/>
                    <a:pt x="259" y="389"/>
                  </a:cubicBezTo>
                  <a:cubicBezTo>
                    <a:pt x="259" y="389"/>
                    <a:pt x="259" y="389"/>
                    <a:pt x="262" y="387"/>
                  </a:cubicBezTo>
                  <a:cubicBezTo>
                    <a:pt x="262" y="387"/>
                    <a:pt x="262" y="387"/>
                    <a:pt x="267" y="388"/>
                  </a:cubicBezTo>
                  <a:cubicBezTo>
                    <a:pt x="267" y="388"/>
                    <a:pt x="267" y="388"/>
                    <a:pt x="271" y="385"/>
                  </a:cubicBezTo>
                  <a:cubicBezTo>
                    <a:pt x="271" y="385"/>
                    <a:pt x="271" y="385"/>
                    <a:pt x="279" y="380"/>
                  </a:cubicBezTo>
                  <a:cubicBezTo>
                    <a:pt x="279" y="380"/>
                    <a:pt x="279" y="380"/>
                    <a:pt x="282" y="378"/>
                  </a:cubicBezTo>
                  <a:cubicBezTo>
                    <a:pt x="282" y="378"/>
                    <a:pt x="282" y="378"/>
                    <a:pt x="283" y="374"/>
                  </a:cubicBezTo>
                  <a:cubicBezTo>
                    <a:pt x="283" y="374"/>
                    <a:pt x="283" y="374"/>
                    <a:pt x="288" y="372"/>
                  </a:cubicBezTo>
                  <a:cubicBezTo>
                    <a:pt x="288" y="372"/>
                    <a:pt x="288" y="372"/>
                    <a:pt x="293" y="377"/>
                  </a:cubicBezTo>
                  <a:cubicBezTo>
                    <a:pt x="293" y="377"/>
                    <a:pt x="293" y="377"/>
                    <a:pt x="297" y="384"/>
                  </a:cubicBezTo>
                  <a:cubicBezTo>
                    <a:pt x="297" y="384"/>
                    <a:pt x="297" y="384"/>
                    <a:pt x="298" y="389"/>
                  </a:cubicBezTo>
                  <a:cubicBezTo>
                    <a:pt x="298" y="389"/>
                    <a:pt x="298" y="389"/>
                    <a:pt x="298" y="392"/>
                  </a:cubicBezTo>
                  <a:cubicBezTo>
                    <a:pt x="298" y="392"/>
                    <a:pt x="298" y="392"/>
                    <a:pt x="291" y="396"/>
                  </a:cubicBezTo>
                  <a:cubicBezTo>
                    <a:pt x="291" y="396"/>
                    <a:pt x="291" y="396"/>
                    <a:pt x="292" y="399"/>
                  </a:cubicBezTo>
                  <a:cubicBezTo>
                    <a:pt x="292" y="399"/>
                    <a:pt x="292" y="399"/>
                    <a:pt x="299" y="400"/>
                  </a:cubicBezTo>
                  <a:cubicBezTo>
                    <a:pt x="299" y="400"/>
                    <a:pt x="299" y="400"/>
                    <a:pt x="303" y="404"/>
                  </a:cubicBezTo>
                  <a:cubicBezTo>
                    <a:pt x="303" y="404"/>
                    <a:pt x="303" y="404"/>
                    <a:pt x="309" y="402"/>
                  </a:cubicBezTo>
                  <a:cubicBezTo>
                    <a:pt x="309" y="402"/>
                    <a:pt x="309" y="402"/>
                    <a:pt x="314" y="404"/>
                  </a:cubicBezTo>
                  <a:cubicBezTo>
                    <a:pt x="314" y="404"/>
                    <a:pt x="314" y="404"/>
                    <a:pt x="319" y="401"/>
                  </a:cubicBezTo>
                  <a:cubicBezTo>
                    <a:pt x="319" y="401"/>
                    <a:pt x="319" y="401"/>
                    <a:pt x="321" y="404"/>
                  </a:cubicBezTo>
                  <a:cubicBezTo>
                    <a:pt x="321" y="404"/>
                    <a:pt x="321" y="404"/>
                    <a:pt x="318" y="408"/>
                  </a:cubicBezTo>
                  <a:cubicBezTo>
                    <a:pt x="318" y="408"/>
                    <a:pt x="318" y="408"/>
                    <a:pt x="324" y="407"/>
                  </a:cubicBezTo>
                  <a:cubicBezTo>
                    <a:pt x="324" y="407"/>
                    <a:pt x="324" y="407"/>
                    <a:pt x="326" y="408"/>
                  </a:cubicBezTo>
                  <a:cubicBezTo>
                    <a:pt x="326" y="408"/>
                    <a:pt x="326" y="408"/>
                    <a:pt x="324" y="425"/>
                  </a:cubicBezTo>
                  <a:cubicBezTo>
                    <a:pt x="324" y="425"/>
                    <a:pt x="324" y="425"/>
                    <a:pt x="324" y="432"/>
                  </a:cubicBezTo>
                  <a:cubicBezTo>
                    <a:pt x="324" y="432"/>
                    <a:pt x="324" y="432"/>
                    <a:pt x="328" y="433"/>
                  </a:cubicBezTo>
                  <a:cubicBezTo>
                    <a:pt x="328" y="433"/>
                    <a:pt x="328" y="433"/>
                    <a:pt x="330" y="431"/>
                  </a:cubicBezTo>
                  <a:cubicBezTo>
                    <a:pt x="330" y="431"/>
                    <a:pt x="330" y="431"/>
                    <a:pt x="331" y="428"/>
                  </a:cubicBezTo>
                  <a:cubicBezTo>
                    <a:pt x="331" y="428"/>
                    <a:pt x="331" y="428"/>
                    <a:pt x="334" y="429"/>
                  </a:cubicBezTo>
                  <a:cubicBezTo>
                    <a:pt x="334" y="429"/>
                    <a:pt x="334" y="429"/>
                    <a:pt x="336" y="433"/>
                  </a:cubicBezTo>
                  <a:cubicBezTo>
                    <a:pt x="336" y="433"/>
                    <a:pt x="336" y="433"/>
                    <a:pt x="336" y="443"/>
                  </a:cubicBezTo>
                  <a:cubicBezTo>
                    <a:pt x="336" y="443"/>
                    <a:pt x="336" y="443"/>
                    <a:pt x="335" y="448"/>
                  </a:cubicBezTo>
                  <a:cubicBezTo>
                    <a:pt x="335" y="448"/>
                    <a:pt x="335" y="448"/>
                    <a:pt x="339" y="450"/>
                  </a:cubicBezTo>
                  <a:cubicBezTo>
                    <a:pt x="339" y="450"/>
                    <a:pt x="339" y="450"/>
                    <a:pt x="344" y="450"/>
                  </a:cubicBezTo>
                  <a:cubicBezTo>
                    <a:pt x="344" y="450"/>
                    <a:pt x="344" y="450"/>
                    <a:pt x="348" y="452"/>
                  </a:cubicBezTo>
                  <a:cubicBezTo>
                    <a:pt x="348" y="452"/>
                    <a:pt x="348" y="452"/>
                    <a:pt x="353" y="456"/>
                  </a:cubicBezTo>
                  <a:cubicBezTo>
                    <a:pt x="353" y="456"/>
                    <a:pt x="353" y="456"/>
                    <a:pt x="357" y="457"/>
                  </a:cubicBezTo>
                  <a:cubicBezTo>
                    <a:pt x="357" y="457"/>
                    <a:pt x="357" y="457"/>
                    <a:pt x="356" y="467"/>
                  </a:cubicBezTo>
                  <a:cubicBezTo>
                    <a:pt x="356" y="467"/>
                    <a:pt x="356" y="467"/>
                    <a:pt x="356" y="472"/>
                  </a:cubicBezTo>
                  <a:cubicBezTo>
                    <a:pt x="356" y="472"/>
                    <a:pt x="356" y="472"/>
                    <a:pt x="352" y="473"/>
                  </a:cubicBezTo>
                  <a:cubicBezTo>
                    <a:pt x="352" y="473"/>
                    <a:pt x="352" y="473"/>
                    <a:pt x="354" y="478"/>
                  </a:cubicBezTo>
                  <a:cubicBezTo>
                    <a:pt x="354" y="478"/>
                    <a:pt x="354" y="478"/>
                    <a:pt x="351" y="482"/>
                  </a:cubicBezTo>
                  <a:cubicBezTo>
                    <a:pt x="351" y="482"/>
                    <a:pt x="351" y="482"/>
                    <a:pt x="353" y="483"/>
                  </a:cubicBezTo>
                  <a:cubicBezTo>
                    <a:pt x="353" y="483"/>
                    <a:pt x="353" y="483"/>
                    <a:pt x="356" y="482"/>
                  </a:cubicBezTo>
                  <a:cubicBezTo>
                    <a:pt x="356" y="482"/>
                    <a:pt x="356" y="482"/>
                    <a:pt x="361" y="485"/>
                  </a:cubicBezTo>
                  <a:cubicBezTo>
                    <a:pt x="361" y="485"/>
                    <a:pt x="361" y="485"/>
                    <a:pt x="364" y="483"/>
                  </a:cubicBezTo>
                  <a:cubicBezTo>
                    <a:pt x="364" y="483"/>
                    <a:pt x="364" y="483"/>
                    <a:pt x="369" y="485"/>
                  </a:cubicBezTo>
                  <a:cubicBezTo>
                    <a:pt x="369" y="485"/>
                    <a:pt x="369" y="485"/>
                    <a:pt x="372" y="485"/>
                  </a:cubicBezTo>
                  <a:cubicBezTo>
                    <a:pt x="372" y="485"/>
                    <a:pt x="372" y="485"/>
                    <a:pt x="377" y="489"/>
                  </a:cubicBezTo>
                  <a:cubicBezTo>
                    <a:pt x="377" y="489"/>
                    <a:pt x="377" y="489"/>
                    <a:pt x="381" y="492"/>
                  </a:cubicBezTo>
                  <a:cubicBezTo>
                    <a:pt x="381" y="492"/>
                    <a:pt x="381" y="492"/>
                    <a:pt x="383" y="496"/>
                  </a:cubicBezTo>
                  <a:cubicBezTo>
                    <a:pt x="383" y="496"/>
                    <a:pt x="383" y="496"/>
                    <a:pt x="385" y="499"/>
                  </a:cubicBezTo>
                  <a:cubicBezTo>
                    <a:pt x="385" y="499"/>
                    <a:pt x="385" y="499"/>
                    <a:pt x="390" y="496"/>
                  </a:cubicBezTo>
                  <a:cubicBezTo>
                    <a:pt x="390" y="496"/>
                    <a:pt x="390" y="496"/>
                    <a:pt x="394" y="494"/>
                  </a:cubicBezTo>
                  <a:cubicBezTo>
                    <a:pt x="394" y="494"/>
                    <a:pt x="394" y="494"/>
                    <a:pt x="398" y="496"/>
                  </a:cubicBezTo>
                  <a:cubicBezTo>
                    <a:pt x="398" y="496"/>
                    <a:pt x="398" y="496"/>
                    <a:pt x="399" y="501"/>
                  </a:cubicBezTo>
                  <a:cubicBezTo>
                    <a:pt x="399" y="501"/>
                    <a:pt x="399" y="501"/>
                    <a:pt x="395" y="505"/>
                  </a:cubicBezTo>
                  <a:cubicBezTo>
                    <a:pt x="395" y="505"/>
                    <a:pt x="395" y="505"/>
                    <a:pt x="395" y="509"/>
                  </a:cubicBezTo>
                  <a:cubicBezTo>
                    <a:pt x="395" y="509"/>
                    <a:pt x="395" y="509"/>
                    <a:pt x="392" y="513"/>
                  </a:cubicBezTo>
                  <a:cubicBezTo>
                    <a:pt x="392" y="513"/>
                    <a:pt x="392" y="513"/>
                    <a:pt x="392" y="516"/>
                  </a:cubicBezTo>
                  <a:cubicBezTo>
                    <a:pt x="392" y="516"/>
                    <a:pt x="392" y="516"/>
                    <a:pt x="386" y="519"/>
                  </a:cubicBezTo>
                  <a:cubicBezTo>
                    <a:pt x="386" y="519"/>
                    <a:pt x="386" y="519"/>
                    <a:pt x="384" y="528"/>
                  </a:cubicBezTo>
                  <a:cubicBezTo>
                    <a:pt x="384" y="528"/>
                    <a:pt x="384" y="528"/>
                    <a:pt x="379" y="531"/>
                  </a:cubicBezTo>
                  <a:cubicBezTo>
                    <a:pt x="379" y="531"/>
                    <a:pt x="379" y="531"/>
                    <a:pt x="376" y="535"/>
                  </a:cubicBezTo>
                  <a:cubicBezTo>
                    <a:pt x="376" y="535"/>
                    <a:pt x="376" y="535"/>
                    <a:pt x="376" y="542"/>
                  </a:cubicBezTo>
                  <a:cubicBezTo>
                    <a:pt x="432" y="535"/>
                    <a:pt x="432" y="535"/>
                    <a:pt x="432" y="535"/>
                  </a:cubicBezTo>
                  <a:cubicBezTo>
                    <a:pt x="453" y="535"/>
                    <a:pt x="453" y="535"/>
                    <a:pt x="453" y="535"/>
                  </a:cubicBezTo>
                  <a:cubicBezTo>
                    <a:pt x="453" y="492"/>
                    <a:pt x="453" y="492"/>
                    <a:pt x="453" y="492"/>
                  </a:cubicBezTo>
                  <a:cubicBezTo>
                    <a:pt x="442" y="481"/>
                    <a:pt x="442" y="481"/>
                    <a:pt x="442" y="481"/>
                  </a:cubicBezTo>
                  <a:cubicBezTo>
                    <a:pt x="442" y="470"/>
                    <a:pt x="442" y="470"/>
                    <a:pt x="442" y="470"/>
                  </a:cubicBezTo>
                  <a:cubicBezTo>
                    <a:pt x="486" y="470"/>
                    <a:pt x="486" y="470"/>
                    <a:pt x="486" y="470"/>
                  </a:cubicBezTo>
                  <a:cubicBezTo>
                    <a:pt x="496" y="460"/>
                    <a:pt x="496" y="460"/>
                    <a:pt x="496" y="460"/>
                  </a:cubicBezTo>
                  <a:cubicBezTo>
                    <a:pt x="496" y="417"/>
                    <a:pt x="496" y="417"/>
                    <a:pt x="496" y="417"/>
                  </a:cubicBezTo>
                  <a:lnTo>
                    <a:pt x="486" y="406"/>
                  </a:lnTo>
                  <a:close/>
                </a:path>
              </a:pathLst>
            </a:custGeom>
            <a:solidFill>
              <a:schemeClr val="accent1"/>
            </a:solidFill>
            <a:ln w="9525" cap="flat" cmpd="sng">
              <a:solidFill>
                <a:schemeClr val="bg1"/>
              </a:solidFill>
              <a:prstDash val="solid"/>
              <a:round/>
              <a:headEnd type="none" w="med" len="med"/>
              <a:tailEnd type="none" w="med" len="med"/>
            </a:ln>
            <a:effectLst/>
          </p:spPr>
          <p:txBody>
            <a:bodyPr/>
            <a:lstStyle/>
            <a:p>
              <a:endParaRPr lang="en-US" dirty="0"/>
            </a:p>
          </p:txBody>
        </p:sp>
        <p:sp>
          <p:nvSpPr>
            <p:cNvPr id="267" name="Senegal" descr="© INSCALE GmbH, 05.05.2010&#10;http://www.presentationload.com/">
              <a:extLst>
                <a:ext uri="{FF2B5EF4-FFF2-40B4-BE49-F238E27FC236}">
                  <a16:creationId xmlns:a16="http://schemas.microsoft.com/office/drawing/2014/main" id="{E26B7785-8B84-4B43-B9DF-F5AA4DAAFF76}"/>
                </a:ext>
              </a:extLst>
            </p:cNvPr>
            <p:cNvSpPr>
              <a:spLocks/>
            </p:cNvSpPr>
            <p:nvPr/>
          </p:nvSpPr>
          <p:spPr bwMode="gray">
            <a:xfrm>
              <a:off x="3673064" y="3713229"/>
              <a:ext cx="166210" cy="145827"/>
            </a:xfrm>
            <a:custGeom>
              <a:avLst/>
              <a:gdLst>
                <a:gd name="T0" fmla="*/ 2147483647 w 414"/>
                <a:gd name="T1" fmla="*/ 2147483647 h 366"/>
                <a:gd name="T2" fmla="*/ 2147483647 w 414"/>
                <a:gd name="T3" fmla="*/ 2147483647 h 366"/>
                <a:gd name="T4" fmla="*/ 2147483647 w 414"/>
                <a:gd name="T5" fmla="*/ 2147483647 h 366"/>
                <a:gd name="T6" fmla="*/ 2147483647 w 414"/>
                <a:gd name="T7" fmla="*/ 2147483647 h 366"/>
                <a:gd name="T8" fmla="*/ 2147483647 w 414"/>
                <a:gd name="T9" fmla="*/ 2147483647 h 366"/>
                <a:gd name="T10" fmla="*/ 2147483647 w 414"/>
                <a:gd name="T11" fmla="*/ 2147483647 h 366"/>
                <a:gd name="T12" fmla="*/ 2147483647 w 414"/>
                <a:gd name="T13" fmla="*/ 2147483647 h 366"/>
                <a:gd name="T14" fmla="*/ 2147483647 w 414"/>
                <a:gd name="T15" fmla="*/ 2147483647 h 366"/>
                <a:gd name="T16" fmla="*/ 2147483647 w 414"/>
                <a:gd name="T17" fmla="*/ 2147483647 h 366"/>
                <a:gd name="T18" fmla="*/ 2147483647 w 414"/>
                <a:gd name="T19" fmla="*/ 2147483647 h 366"/>
                <a:gd name="T20" fmla="*/ 2147483647 w 414"/>
                <a:gd name="T21" fmla="*/ 2147483647 h 366"/>
                <a:gd name="T22" fmla="*/ 2147483647 w 414"/>
                <a:gd name="T23" fmla="*/ 2147483647 h 366"/>
                <a:gd name="T24" fmla="*/ 2147483647 w 414"/>
                <a:gd name="T25" fmla="*/ 2147483647 h 366"/>
                <a:gd name="T26" fmla="*/ 2147483647 w 414"/>
                <a:gd name="T27" fmla="*/ 2147483647 h 366"/>
                <a:gd name="T28" fmla="*/ 2147483647 w 414"/>
                <a:gd name="T29" fmla="*/ 0 h 366"/>
                <a:gd name="T30" fmla="*/ 2147483647 w 414"/>
                <a:gd name="T31" fmla="*/ 2147483647 h 366"/>
                <a:gd name="T32" fmla="*/ 2147483647 w 414"/>
                <a:gd name="T33" fmla="*/ 2147483647 h 366"/>
                <a:gd name="T34" fmla="*/ 2147483647 w 414"/>
                <a:gd name="T35" fmla="*/ 2147483647 h 366"/>
                <a:gd name="T36" fmla="*/ 2147483647 w 414"/>
                <a:gd name="T37" fmla="*/ 2147483647 h 366"/>
                <a:gd name="T38" fmla="*/ 2147483647 w 414"/>
                <a:gd name="T39" fmla="*/ 2147483647 h 366"/>
                <a:gd name="T40" fmla="*/ 2147483647 w 414"/>
                <a:gd name="T41" fmla="*/ 2147483647 h 366"/>
                <a:gd name="T42" fmla="*/ 0 w 414"/>
                <a:gd name="T43" fmla="*/ 2147483647 h 366"/>
                <a:gd name="T44" fmla="*/ 2147483647 w 414"/>
                <a:gd name="T45" fmla="*/ 2147483647 h 366"/>
                <a:gd name="T46" fmla="*/ 2147483647 w 414"/>
                <a:gd name="T47" fmla="*/ 2147483647 h 366"/>
                <a:gd name="T48" fmla="*/ 2147483647 w 414"/>
                <a:gd name="T49" fmla="*/ 2147483647 h 366"/>
                <a:gd name="T50" fmla="*/ 2147483647 w 414"/>
                <a:gd name="T51" fmla="*/ 2147483647 h 366"/>
                <a:gd name="T52" fmla="*/ 2147483647 w 414"/>
                <a:gd name="T53" fmla="*/ 2147483647 h 366"/>
                <a:gd name="T54" fmla="*/ 2147483647 w 414"/>
                <a:gd name="T55" fmla="*/ 2147483647 h 366"/>
                <a:gd name="T56" fmla="*/ 2147483647 w 414"/>
                <a:gd name="T57" fmla="*/ 2147483647 h 366"/>
                <a:gd name="T58" fmla="*/ 2147483647 w 414"/>
                <a:gd name="T59" fmla="*/ 2147483647 h 366"/>
                <a:gd name="T60" fmla="*/ 2147483647 w 414"/>
                <a:gd name="T61" fmla="*/ 2147483647 h 366"/>
                <a:gd name="T62" fmla="*/ 2147483647 w 414"/>
                <a:gd name="T63" fmla="*/ 2147483647 h 366"/>
                <a:gd name="T64" fmla="*/ 2147483647 w 414"/>
                <a:gd name="T65" fmla="*/ 2147483647 h 366"/>
                <a:gd name="T66" fmla="*/ 2147483647 w 414"/>
                <a:gd name="T67" fmla="*/ 2147483647 h 366"/>
                <a:gd name="T68" fmla="*/ 2147483647 w 414"/>
                <a:gd name="T69" fmla="*/ 2147483647 h 366"/>
                <a:gd name="T70" fmla="*/ 2147483647 w 414"/>
                <a:gd name="T71" fmla="*/ 2147483647 h 366"/>
                <a:gd name="T72" fmla="*/ 2147483647 w 414"/>
                <a:gd name="T73" fmla="*/ 2147483647 h 366"/>
                <a:gd name="T74" fmla="*/ 2147483647 w 414"/>
                <a:gd name="T75" fmla="*/ 2147483647 h 366"/>
                <a:gd name="T76" fmla="*/ 2147483647 w 414"/>
                <a:gd name="T77" fmla="*/ 2147483647 h 366"/>
                <a:gd name="T78" fmla="*/ 2147483647 w 414"/>
                <a:gd name="T79" fmla="*/ 2147483647 h 366"/>
                <a:gd name="T80" fmla="*/ 2147483647 w 414"/>
                <a:gd name="T81" fmla="*/ 2147483647 h 366"/>
                <a:gd name="T82" fmla="*/ 2147483647 w 414"/>
                <a:gd name="T83" fmla="*/ 2147483647 h 366"/>
                <a:gd name="T84" fmla="*/ 2147483647 w 414"/>
                <a:gd name="T85" fmla="*/ 2147483647 h 366"/>
                <a:gd name="T86" fmla="*/ 2147483647 w 414"/>
                <a:gd name="T87" fmla="*/ 2147483647 h 366"/>
                <a:gd name="T88" fmla="*/ 2147483647 w 414"/>
                <a:gd name="T89" fmla="*/ 2147483647 h 366"/>
                <a:gd name="T90" fmla="*/ 2147483647 w 414"/>
                <a:gd name="T91" fmla="*/ 2147483647 h 366"/>
                <a:gd name="T92" fmla="*/ 2147483647 w 414"/>
                <a:gd name="T93" fmla="*/ 2147483647 h 366"/>
                <a:gd name="T94" fmla="*/ 2147483647 w 414"/>
                <a:gd name="T95" fmla="*/ 2147483647 h 366"/>
                <a:gd name="T96" fmla="*/ 2147483647 w 414"/>
                <a:gd name="T97" fmla="*/ 2147483647 h 366"/>
                <a:gd name="T98" fmla="*/ 2147483647 w 414"/>
                <a:gd name="T99" fmla="*/ 2147483647 h 366"/>
                <a:gd name="T100" fmla="*/ 2147483647 w 414"/>
                <a:gd name="T101" fmla="*/ 2147483647 h 366"/>
                <a:gd name="T102" fmla="*/ 2147483647 w 414"/>
                <a:gd name="T103" fmla="*/ 2147483647 h 366"/>
                <a:gd name="T104" fmla="*/ 2147483647 w 414"/>
                <a:gd name="T105" fmla="*/ 2147483647 h 3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14"/>
                <a:gd name="T160" fmla="*/ 0 h 366"/>
                <a:gd name="T161" fmla="*/ 414 w 414"/>
                <a:gd name="T162" fmla="*/ 366 h 3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14" h="366">
                  <a:moveTo>
                    <a:pt x="402" y="270"/>
                  </a:moveTo>
                  <a:lnTo>
                    <a:pt x="396" y="270"/>
                  </a:lnTo>
                  <a:lnTo>
                    <a:pt x="396" y="276"/>
                  </a:lnTo>
                  <a:lnTo>
                    <a:pt x="384" y="276"/>
                  </a:lnTo>
                  <a:lnTo>
                    <a:pt x="378" y="270"/>
                  </a:lnTo>
                  <a:lnTo>
                    <a:pt x="378" y="246"/>
                  </a:lnTo>
                  <a:lnTo>
                    <a:pt x="384" y="240"/>
                  </a:lnTo>
                  <a:lnTo>
                    <a:pt x="384" y="222"/>
                  </a:lnTo>
                  <a:lnTo>
                    <a:pt x="372" y="210"/>
                  </a:lnTo>
                  <a:lnTo>
                    <a:pt x="372" y="204"/>
                  </a:lnTo>
                  <a:lnTo>
                    <a:pt x="360" y="186"/>
                  </a:lnTo>
                  <a:lnTo>
                    <a:pt x="360" y="162"/>
                  </a:lnTo>
                  <a:lnTo>
                    <a:pt x="348" y="138"/>
                  </a:lnTo>
                  <a:lnTo>
                    <a:pt x="318" y="132"/>
                  </a:lnTo>
                  <a:lnTo>
                    <a:pt x="318" y="108"/>
                  </a:lnTo>
                  <a:lnTo>
                    <a:pt x="312" y="102"/>
                  </a:lnTo>
                  <a:lnTo>
                    <a:pt x="294" y="102"/>
                  </a:lnTo>
                  <a:lnTo>
                    <a:pt x="294" y="72"/>
                  </a:lnTo>
                  <a:lnTo>
                    <a:pt x="288" y="60"/>
                  </a:lnTo>
                  <a:lnTo>
                    <a:pt x="288" y="54"/>
                  </a:lnTo>
                  <a:lnTo>
                    <a:pt x="282" y="48"/>
                  </a:lnTo>
                  <a:lnTo>
                    <a:pt x="264" y="48"/>
                  </a:lnTo>
                  <a:lnTo>
                    <a:pt x="252" y="54"/>
                  </a:lnTo>
                  <a:lnTo>
                    <a:pt x="246" y="42"/>
                  </a:lnTo>
                  <a:lnTo>
                    <a:pt x="234" y="30"/>
                  </a:lnTo>
                  <a:lnTo>
                    <a:pt x="228" y="18"/>
                  </a:lnTo>
                  <a:lnTo>
                    <a:pt x="222" y="18"/>
                  </a:lnTo>
                  <a:lnTo>
                    <a:pt x="210" y="12"/>
                  </a:lnTo>
                  <a:lnTo>
                    <a:pt x="186" y="12"/>
                  </a:lnTo>
                  <a:lnTo>
                    <a:pt x="162" y="0"/>
                  </a:lnTo>
                  <a:lnTo>
                    <a:pt x="162" y="18"/>
                  </a:lnTo>
                  <a:lnTo>
                    <a:pt x="132" y="12"/>
                  </a:lnTo>
                  <a:lnTo>
                    <a:pt x="120" y="18"/>
                  </a:lnTo>
                  <a:lnTo>
                    <a:pt x="114" y="18"/>
                  </a:lnTo>
                  <a:lnTo>
                    <a:pt x="108" y="12"/>
                  </a:lnTo>
                  <a:lnTo>
                    <a:pt x="102" y="12"/>
                  </a:lnTo>
                  <a:lnTo>
                    <a:pt x="90" y="18"/>
                  </a:lnTo>
                  <a:lnTo>
                    <a:pt x="84" y="24"/>
                  </a:lnTo>
                  <a:lnTo>
                    <a:pt x="66" y="60"/>
                  </a:lnTo>
                  <a:lnTo>
                    <a:pt x="60" y="66"/>
                  </a:lnTo>
                  <a:lnTo>
                    <a:pt x="60" y="90"/>
                  </a:lnTo>
                  <a:lnTo>
                    <a:pt x="48" y="96"/>
                  </a:lnTo>
                  <a:lnTo>
                    <a:pt x="30" y="132"/>
                  </a:lnTo>
                  <a:lnTo>
                    <a:pt x="0" y="162"/>
                  </a:lnTo>
                  <a:lnTo>
                    <a:pt x="6" y="168"/>
                  </a:lnTo>
                  <a:lnTo>
                    <a:pt x="12" y="168"/>
                  </a:lnTo>
                  <a:lnTo>
                    <a:pt x="18" y="174"/>
                  </a:lnTo>
                  <a:lnTo>
                    <a:pt x="24" y="186"/>
                  </a:lnTo>
                  <a:lnTo>
                    <a:pt x="24" y="204"/>
                  </a:lnTo>
                  <a:lnTo>
                    <a:pt x="42" y="222"/>
                  </a:lnTo>
                  <a:lnTo>
                    <a:pt x="42" y="246"/>
                  </a:lnTo>
                  <a:lnTo>
                    <a:pt x="48" y="252"/>
                  </a:lnTo>
                  <a:lnTo>
                    <a:pt x="126" y="252"/>
                  </a:lnTo>
                  <a:lnTo>
                    <a:pt x="126" y="240"/>
                  </a:lnTo>
                  <a:lnTo>
                    <a:pt x="180" y="240"/>
                  </a:lnTo>
                  <a:lnTo>
                    <a:pt x="180" y="252"/>
                  </a:lnTo>
                  <a:lnTo>
                    <a:pt x="192" y="246"/>
                  </a:lnTo>
                  <a:lnTo>
                    <a:pt x="198" y="252"/>
                  </a:lnTo>
                  <a:lnTo>
                    <a:pt x="204" y="264"/>
                  </a:lnTo>
                  <a:lnTo>
                    <a:pt x="216" y="264"/>
                  </a:lnTo>
                  <a:lnTo>
                    <a:pt x="222" y="258"/>
                  </a:lnTo>
                  <a:lnTo>
                    <a:pt x="246" y="258"/>
                  </a:lnTo>
                  <a:lnTo>
                    <a:pt x="252" y="264"/>
                  </a:lnTo>
                  <a:lnTo>
                    <a:pt x="252" y="270"/>
                  </a:lnTo>
                  <a:lnTo>
                    <a:pt x="246" y="276"/>
                  </a:lnTo>
                  <a:lnTo>
                    <a:pt x="234" y="282"/>
                  </a:lnTo>
                  <a:lnTo>
                    <a:pt x="228" y="288"/>
                  </a:lnTo>
                  <a:lnTo>
                    <a:pt x="204" y="288"/>
                  </a:lnTo>
                  <a:lnTo>
                    <a:pt x="186" y="282"/>
                  </a:lnTo>
                  <a:lnTo>
                    <a:pt x="180" y="270"/>
                  </a:lnTo>
                  <a:lnTo>
                    <a:pt x="168" y="264"/>
                  </a:lnTo>
                  <a:lnTo>
                    <a:pt x="162" y="258"/>
                  </a:lnTo>
                  <a:lnTo>
                    <a:pt x="156" y="264"/>
                  </a:lnTo>
                  <a:lnTo>
                    <a:pt x="150" y="276"/>
                  </a:lnTo>
                  <a:lnTo>
                    <a:pt x="126" y="276"/>
                  </a:lnTo>
                  <a:lnTo>
                    <a:pt x="120" y="282"/>
                  </a:lnTo>
                  <a:lnTo>
                    <a:pt x="108" y="282"/>
                  </a:lnTo>
                  <a:lnTo>
                    <a:pt x="108" y="294"/>
                  </a:lnTo>
                  <a:lnTo>
                    <a:pt x="36" y="294"/>
                  </a:lnTo>
                  <a:lnTo>
                    <a:pt x="36" y="318"/>
                  </a:lnTo>
                  <a:lnTo>
                    <a:pt x="30" y="324"/>
                  </a:lnTo>
                  <a:lnTo>
                    <a:pt x="30" y="336"/>
                  </a:lnTo>
                  <a:lnTo>
                    <a:pt x="36" y="342"/>
                  </a:lnTo>
                  <a:lnTo>
                    <a:pt x="42" y="354"/>
                  </a:lnTo>
                  <a:lnTo>
                    <a:pt x="48" y="360"/>
                  </a:lnTo>
                  <a:lnTo>
                    <a:pt x="60" y="366"/>
                  </a:lnTo>
                  <a:lnTo>
                    <a:pt x="66" y="366"/>
                  </a:lnTo>
                  <a:lnTo>
                    <a:pt x="72" y="360"/>
                  </a:lnTo>
                  <a:lnTo>
                    <a:pt x="78" y="360"/>
                  </a:lnTo>
                  <a:lnTo>
                    <a:pt x="90" y="348"/>
                  </a:lnTo>
                  <a:lnTo>
                    <a:pt x="126" y="348"/>
                  </a:lnTo>
                  <a:lnTo>
                    <a:pt x="156" y="324"/>
                  </a:lnTo>
                  <a:lnTo>
                    <a:pt x="294" y="330"/>
                  </a:lnTo>
                  <a:lnTo>
                    <a:pt x="294" y="336"/>
                  </a:lnTo>
                  <a:lnTo>
                    <a:pt x="300" y="348"/>
                  </a:lnTo>
                  <a:lnTo>
                    <a:pt x="318" y="348"/>
                  </a:lnTo>
                  <a:lnTo>
                    <a:pt x="324" y="342"/>
                  </a:lnTo>
                  <a:lnTo>
                    <a:pt x="330" y="348"/>
                  </a:lnTo>
                  <a:lnTo>
                    <a:pt x="336" y="360"/>
                  </a:lnTo>
                  <a:lnTo>
                    <a:pt x="342" y="366"/>
                  </a:lnTo>
                  <a:lnTo>
                    <a:pt x="354" y="366"/>
                  </a:lnTo>
                  <a:lnTo>
                    <a:pt x="366" y="360"/>
                  </a:lnTo>
                  <a:lnTo>
                    <a:pt x="372" y="354"/>
                  </a:lnTo>
                  <a:lnTo>
                    <a:pt x="414" y="354"/>
                  </a:lnTo>
                  <a:lnTo>
                    <a:pt x="414" y="288"/>
                  </a:lnTo>
                  <a:lnTo>
                    <a:pt x="408" y="276"/>
                  </a:lnTo>
                  <a:lnTo>
                    <a:pt x="402" y="27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68" name="Schweiz" descr="© INSCALE GmbH, 05.05.2010&#10;http://www.presentationload.com/">
              <a:extLst>
                <a:ext uri="{FF2B5EF4-FFF2-40B4-BE49-F238E27FC236}">
                  <a16:creationId xmlns:a16="http://schemas.microsoft.com/office/drawing/2014/main" id="{0AE84672-75F8-4BDB-BBED-94ABF4939257}"/>
                </a:ext>
              </a:extLst>
            </p:cNvPr>
            <p:cNvSpPr>
              <a:spLocks/>
            </p:cNvSpPr>
            <p:nvPr/>
          </p:nvSpPr>
          <p:spPr bwMode="gray">
            <a:xfrm>
              <a:off x="4311250" y="2723807"/>
              <a:ext cx="114465" cy="62721"/>
            </a:xfrm>
            <a:custGeom>
              <a:avLst/>
              <a:gdLst>
                <a:gd name="T0" fmla="*/ 2147483647 w 288"/>
                <a:gd name="T1" fmla="*/ 2147483647 h 162"/>
                <a:gd name="T2" fmla="*/ 2147483647 w 288"/>
                <a:gd name="T3" fmla="*/ 2147483647 h 162"/>
                <a:gd name="T4" fmla="*/ 2147483647 w 288"/>
                <a:gd name="T5" fmla="*/ 2147483647 h 162"/>
                <a:gd name="T6" fmla="*/ 2147483647 w 288"/>
                <a:gd name="T7" fmla="*/ 2147483647 h 162"/>
                <a:gd name="T8" fmla="*/ 2147483647 w 288"/>
                <a:gd name="T9" fmla="*/ 2147483647 h 162"/>
                <a:gd name="T10" fmla="*/ 2147483647 w 288"/>
                <a:gd name="T11" fmla="*/ 2147483647 h 162"/>
                <a:gd name="T12" fmla="*/ 2147483647 w 288"/>
                <a:gd name="T13" fmla="*/ 2147483647 h 162"/>
                <a:gd name="T14" fmla="*/ 0 w 288"/>
                <a:gd name="T15" fmla="*/ 2147483647 h 162"/>
                <a:gd name="T16" fmla="*/ 2147483647 w 288"/>
                <a:gd name="T17" fmla="*/ 2147483647 h 162"/>
                <a:gd name="T18" fmla="*/ 2147483647 w 288"/>
                <a:gd name="T19" fmla="*/ 2147483647 h 162"/>
                <a:gd name="T20" fmla="*/ 2147483647 w 288"/>
                <a:gd name="T21" fmla="*/ 2147483647 h 162"/>
                <a:gd name="T22" fmla="*/ 2147483647 w 288"/>
                <a:gd name="T23" fmla="*/ 2147483647 h 162"/>
                <a:gd name="T24" fmla="*/ 2147483647 w 288"/>
                <a:gd name="T25" fmla="*/ 2147483647 h 162"/>
                <a:gd name="T26" fmla="*/ 2147483647 w 288"/>
                <a:gd name="T27" fmla="*/ 2147483647 h 162"/>
                <a:gd name="T28" fmla="*/ 2147483647 w 288"/>
                <a:gd name="T29" fmla="*/ 2147483647 h 162"/>
                <a:gd name="T30" fmla="*/ 2147483647 w 288"/>
                <a:gd name="T31" fmla="*/ 2147483647 h 162"/>
                <a:gd name="T32" fmla="*/ 2147483647 w 288"/>
                <a:gd name="T33" fmla="*/ 2147483647 h 162"/>
                <a:gd name="T34" fmla="*/ 2147483647 w 288"/>
                <a:gd name="T35" fmla="*/ 2147483647 h 162"/>
                <a:gd name="T36" fmla="*/ 2147483647 w 288"/>
                <a:gd name="T37" fmla="*/ 2147483647 h 162"/>
                <a:gd name="T38" fmla="*/ 2147483647 w 288"/>
                <a:gd name="T39" fmla="*/ 2147483647 h 162"/>
                <a:gd name="T40" fmla="*/ 2147483647 w 288"/>
                <a:gd name="T41" fmla="*/ 2147483647 h 162"/>
                <a:gd name="T42" fmla="*/ 2147483647 w 288"/>
                <a:gd name="T43" fmla="*/ 2147483647 h 162"/>
                <a:gd name="T44" fmla="*/ 2147483647 w 288"/>
                <a:gd name="T45" fmla="*/ 2147483647 h 162"/>
                <a:gd name="T46" fmla="*/ 2147483647 w 288"/>
                <a:gd name="T47" fmla="*/ 2147483647 h 162"/>
                <a:gd name="T48" fmla="*/ 2147483647 w 288"/>
                <a:gd name="T49" fmla="*/ 2147483647 h 162"/>
                <a:gd name="T50" fmla="*/ 2147483647 w 288"/>
                <a:gd name="T51" fmla="*/ 2147483647 h 162"/>
                <a:gd name="T52" fmla="*/ 2147483647 w 288"/>
                <a:gd name="T53" fmla="*/ 2147483647 h 162"/>
                <a:gd name="T54" fmla="*/ 2147483647 w 288"/>
                <a:gd name="T55" fmla="*/ 2147483647 h 162"/>
                <a:gd name="T56" fmla="*/ 2147483647 w 288"/>
                <a:gd name="T57" fmla="*/ 2147483647 h 162"/>
                <a:gd name="T58" fmla="*/ 2147483647 w 288"/>
                <a:gd name="T59" fmla="*/ 2147483647 h 162"/>
                <a:gd name="T60" fmla="*/ 2147483647 w 288"/>
                <a:gd name="T61" fmla="*/ 2147483647 h 162"/>
                <a:gd name="T62" fmla="*/ 2147483647 w 288"/>
                <a:gd name="T63" fmla="*/ 2147483647 h 162"/>
                <a:gd name="T64" fmla="*/ 2147483647 w 288"/>
                <a:gd name="T65" fmla="*/ 2147483647 h 162"/>
                <a:gd name="T66" fmla="*/ 2147483647 w 288"/>
                <a:gd name="T67" fmla="*/ 0 h 162"/>
                <a:gd name="T68" fmla="*/ 2147483647 w 288"/>
                <a:gd name="T69" fmla="*/ 2147483647 h 162"/>
                <a:gd name="T70" fmla="*/ 2147483647 w 288"/>
                <a:gd name="T71" fmla="*/ 2147483647 h 162"/>
                <a:gd name="T72" fmla="*/ 2147483647 w 288"/>
                <a:gd name="T73" fmla="*/ 2147483647 h 1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162"/>
                <a:gd name="T113" fmla="*/ 288 w 288"/>
                <a:gd name="T114" fmla="*/ 162 h 1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162">
                  <a:moveTo>
                    <a:pt x="132" y="24"/>
                  </a:moveTo>
                  <a:lnTo>
                    <a:pt x="96" y="24"/>
                  </a:lnTo>
                  <a:lnTo>
                    <a:pt x="90" y="42"/>
                  </a:lnTo>
                  <a:lnTo>
                    <a:pt x="72" y="30"/>
                  </a:lnTo>
                  <a:lnTo>
                    <a:pt x="66" y="42"/>
                  </a:lnTo>
                  <a:lnTo>
                    <a:pt x="60" y="48"/>
                  </a:lnTo>
                  <a:lnTo>
                    <a:pt x="54" y="60"/>
                  </a:lnTo>
                  <a:lnTo>
                    <a:pt x="48" y="66"/>
                  </a:lnTo>
                  <a:lnTo>
                    <a:pt x="30" y="66"/>
                  </a:lnTo>
                  <a:lnTo>
                    <a:pt x="30" y="78"/>
                  </a:lnTo>
                  <a:lnTo>
                    <a:pt x="18" y="90"/>
                  </a:lnTo>
                  <a:lnTo>
                    <a:pt x="12" y="102"/>
                  </a:lnTo>
                  <a:lnTo>
                    <a:pt x="0" y="108"/>
                  </a:lnTo>
                  <a:lnTo>
                    <a:pt x="6" y="120"/>
                  </a:lnTo>
                  <a:lnTo>
                    <a:pt x="0" y="126"/>
                  </a:lnTo>
                  <a:lnTo>
                    <a:pt x="0" y="132"/>
                  </a:lnTo>
                  <a:lnTo>
                    <a:pt x="6" y="132"/>
                  </a:lnTo>
                  <a:lnTo>
                    <a:pt x="30" y="108"/>
                  </a:lnTo>
                  <a:lnTo>
                    <a:pt x="48" y="108"/>
                  </a:lnTo>
                  <a:lnTo>
                    <a:pt x="54" y="114"/>
                  </a:lnTo>
                  <a:lnTo>
                    <a:pt x="48" y="138"/>
                  </a:lnTo>
                  <a:lnTo>
                    <a:pt x="60" y="150"/>
                  </a:lnTo>
                  <a:lnTo>
                    <a:pt x="60" y="156"/>
                  </a:lnTo>
                  <a:lnTo>
                    <a:pt x="72" y="156"/>
                  </a:lnTo>
                  <a:lnTo>
                    <a:pt x="84" y="144"/>
                  </a:lnTo>
                  <a:lnTo>
                    <a:pt x="96" y="144"/>
                  </a:lnTo>
                  <a:lnTo>
                    <a:pt x="108" y="156"/>
                  </a:lnTo>
                  <a:lnTo>
                    <a:pt x="114" y="156"/>
                  </a:lnTo>
                  <a:lnTo>
                    <a:pt x="132" y="138"/>
                  </a:lnTo>
                  <a:lnTo>
                    <a:pt x="132" y="120"/>
                  </a:lnTo>
                  <a:lnTo>
                    <a:pt x="138" y="114"/>
                  </a:lnTo>
                  <a:lnTo>
                    <a:pt x="150" y="114"/>
                  </a:lnTo>
                  <a:lnTo>
                    <a:pt x="156" y="120"/>
                  </a:lnTo>
                  <a:lnTo>
                    <a:pt x="156" y="126"/>
                  </a:lnTo>
                  <a:lnTo>
                    <a:pt x="162" y="132"/>
                  </a:lnTo>
                  <a:lnTo>
                    <a:pt x="162" y="138"/>
                  </a:lnTo>
                  <a:lnTo>
                    <a:pt x="168" y="138"/>
                  </a:lnTo>
                  <a:lnTo>
                    <a:pt x="192" y="162"/>
                  </a:lnTo>
                  <a:lnTo>
                    <a:pt x="192" y="144"/>
                  </a:lnTo>
                  <a:lnTo>
                    <a:pt x="204" y="132"/>
                  </a:lnTo>
                  <a:lnTo>
                    <a:pt x="210" y="108"/>
                  </a:lnTo>
                  <a:lnTo>
                    <a:pt x="222" y="126"/>
                  </a:lnTo>
                  <a:lnTo>
                    <a:pt x="240" y="120"/>
                  </a:lnTo>
                  <a:lnTo>
                    <a:pt x="258" y="132"/>
                  </a:lnTo>
                  <a:lnTo>
                    <a:pt x="264" y="120"/>
                  </a:lnTo>
                  <a:lnTo>
                    <a:pt x="252" y="108"/>
                  </a:lnTo>
                  <a:lnTo>
                    <a:pt x="252" y="102"/>
                  </a:lnTo>
                  <a:lnTo>
                    <a:pt x="276" y="102"/>
                  </a:lnTo>
                  <a:lnTo>
                    <a:pt x="282" y="84"/>
                  </a:lnTo>
                  <a:lnTo>
                    <a:pt x="288" y="84"/>
                  </a:lnTo>
                  <a:lnTo>
                    <a:pt x="288" y="78"/>
                  </a:lnTo>
                  <a:lnTo>
                    <a:pt x="276" y="66"/>
                  </a:lnTo>
                  <a:lnTo>
                    <a:pt x="270" y="66"/>
                  </a:lnTo>
                  <a:lnTo>
                    <a:pt x="252" y="84"/>
                  </a:lnTo>
                  <a:lnTo>
                    <a:pt x="246" y="84"/>
                  </a:lnTo>
                  <a:lnTo>
                    <a:pt x="246" y="66"/>
                  </a:lnTo>
                  <a:lnTo>
                    <a:pt x="210" y="66"/>
                  </a:lnTo>
                  <a:lnTo>
                    <a:pt x="210" y="60"/>
                  </a:lnTo>
                  <a:lnTo>
                    <a:pt x="216" y="48"/>
                  </a:lnTo>
                  <a:lnTo>
                    <a:pt x="222" y="42"/>
                  </a:lnTo>
                  <a:lnTo>
                    <a:pt x="228" y="42"/>
                  </a:lnTo>
                  <a:lnTo>
                    <a:pt x="228" y="30"/>
                  </a:lnTo>
                  <a:lnTo>
                    <a:pt x="216" y="30"/>
                  </a:lnTo>
                  <a:lnTo>
                    <a:pt x="210" y="18"/>
                  </a:lnTo>
                  <a:lnTo>
                    <a:pt x="192" y="12"/>
                  </a:lnTo>
                  <a:lnTo>
                    <a:pt x="180" y="12"/>
                  </a:lnTo>
                  <a:lnTo>
                    <a:pt x="174" y="6"/>
                  </a:lnTo>
                  <a:lnTo>
                    <a:pt x="162" y="0"/>
                  </a:lnTo>
                  <a:lnTo>
                    <a:pt x="156" y="0"/>
                  </a:lnTo>
                  <a:lnTo>
                    <a:pt x="150" y="6"/>
                  </a:lnTo>
                  <a:lnTo>
                    <a:pt x="150" y="18"/>
                  </a:lnTo>
                  <a:lnTo>
                    <a:pt x="156" y="24"/>
                  </a:lnTo>
                  <a:lnTo>
                    <a:pt x="150" y="18"/>
                  </a:lnTo>
                  <a:lnTo>
                    <a:pt x="132" y="24"/>
                  </a:lnTo>
                  <a:close/>
                </a:path>
              </a:pathLst>
            </a:custGeom>
            <a:solidFill>
              <a:schemeClr val="accent1"/>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69" name="Schweden" descr="© INSCALE GmbH, 05.05.2010&#10;http://www.presentationload.com/">
              <a:extLst>
                <a:ext uri="{FF2B5EF4-FFF2-40B4-BE49-F238E27FC236}">
                  <a16:creationId xmlns:a16="http://schemas.microsoft.com/office/drawing/2014/main" id="{6924055E-1C16-4ECF-8455-7AE5852E36E5}"/>
                </a:ext>
              </a:extLst>
            </p:cNvPr>
            <p:cNvSpPr>
              <a:spLocks noEditPoints="1"/>
            </p:cNvSpPr>
            <p:nvPr/>
          </p:nvSpPr>
          <p:spPr bwMode="gray">
            <a:xfrm>
              <a:off x="4441395" y="2098165"/>
              <a:ext cx="275972" cy="393574"/>
            </a:xfrm>
            <a:custGeom>
              <a:avLst/>
              <a:gdLst>
                <a:gd name="T0" fmla="*/ 2147483647 w 690"/>
                <a:gd name="T1" fmla="*/ 2147483647 h 990"/>
                <a:gd name="T2" fmla="*/ 2147483647 w 690"/>
                <a:gd name="T3" fmla="*/ 2147483647 h 990"/>
                <a:gd name="T4" fmla="*/ 2147483647 w 690"/>
                <a:gd name="T5" fmla="*/ 2147483647 h 990"/>
                <a:gd name="T6" fmla="*/ 2147483647 w 690"/>
                <a:gd name="T7" fmla="*/ 2147483647 h 990"/>
                <a:gd name="T8" fmla="*/ 2147483647 w 690"/>
                <a:gd name="T9" fmla="*/ 2147483647 h 990"/>
                <a:gd name="T10" fmla="*/ 2147483647 w 690"/>
                <a:gd name="T11" fmla="*/ 2147483647 h 990"/>
                <a:gd name="T12" fmla="*/ 2147483647 w 690"/>
                <a:gd name="T13" fmla="*/ 2147483647 h 990"/>
                <a:gd name="T14" fmla="*/ 2147483647 w 690"/>
                <a:gd name="T15" fmla="*/ 2147483647 h 990"/>
                <a:gd name="T16" fmla="*/ 2147483647 w 690"/>
                <a:gd name="T17" fmla="*/ 2147483647 h 990"/>
                <a:gd name="T18" fmla="*/ 2147483647 w 690"/>
                <a:gd name="T19" fmla="*/ 2147483647 h 990"/>
                <a:gd name="T20" fmla="*/ 2147483647 w 690"/>
                <a:gd name="T21" fmla="*/ 2147483647 h 990"/>
                <a:gd name="T22" fmla="*/ 2147483647 w 690"/>
                <a:gd name="T23" fmla="*/ 2147483647 h 990"/>
                <a:gd name="T24" fmla="*/ 2147483647 w 690"/>
                <a:gd name="T25" fmla="*/ 2147483647 h 990"/>
                <a:gd name="T26" fmla="*/ 2147483647 w 690"/>
                <a:gd name="T27" fmla="*/ 2147483647 h 990"/>
                <a:gd name="T28" fmla="*/ 2147483647 w 690"/>
                <a:gd name="T29" fmla="*/ 2147483647 h 990"/>
                <a:gd name="T30" fmla="*/ 2147483647 w 690"/>
                <a:gd name="T31" fmla="*/ 2147483647 h 990"/>
                <a:gd name="T32" fmla="*/ 2147483647 w 690"/>
                <a:gd name="T33" fmla="*/ 2147483647 h 990"/>
                <a:gd name="T34" fmla="*/ 2147483647 w 690"/>
                <a:gd name="T35" fmla="*/ 2147483647 h 990"/>
                <a:gd name="T36" fmla="*/ 2147483647 w 690"/>
                <a:gd name="T37" fmla="*/ 2147483647 h 990"/>
                <a:gd name="T38" fmla="*/ 2147483647 w 690"/>
                <a:gd name="T39" fmla="*/ 2147483647 h 990"/>
                <a:gd name="T40" fmla="*/ 2147483647 w 690"/>
                <a:gd name="T41" fmla="*/ 2147483647 h 990"/>
                <a:gd name="T42" fmla="*/ 2147483647 w 690"/>
                <a:gd name="T43" fmla="*/ 2147483647 h 990"/>
                <a:gd name="T44" fmla="*/ 2147483647 w 690"/>
                <a:gd name="T45" fmla="*/ 2147483647 h 990"/>
                <a:gd name="T46" fmla="*/ 0 w 690"/>
                <a:gd name="T47" fmla="*/ 2147483647 h 990"/>
                <a:gd name="T48" fmla="*/ 2147483647 w 690"/>
                <a:gd name="T49" fmla="*/ 2147483647 h 990"/>
                <a:gd name="T50" fmla="*/ 2147483647 w 690"/>
                <a:gd name="T51" fmla="*/ 2147483647 h 990"/>
                <a:gd name="T52" fmla="*/ 2147483647 w 690"/>
                <a:gd name="T53" fmla="*/ 2147483647 h 990"/>
                <a:gd name="T54" fmla="*/ 2147483647 w 690"/>
                <a:gd name="T55" fmla="*/ 2147483647 h 990"/>
                <a:gd name="T56" fmla="*/ 2147483647 w 690"/>
                <a:gd name="T57" fmla="*/ 2147483647 h 990"/>
                <a:gd name="T58" fmla="*/ 2147483647 w 690"/>
                <a:gd name="T59" fmla="*/ 2147483647 h 990"/>
                <a:gd name="T60" fmla="*/ 2147483647 w 690"/>
                <a:gd name="T61" fmla="*/ 2147483647 h 990"/>
                <a:gd name="T62" fmla="*/ 2147483647 w 690"/>
                <a:gd name="T63" fmla="*/ 2147483647 h 990"/>
                <a:gd name="T64" fmla="*/ 2147483647 w 690"/>
                <a:gd name="T65" fmla="*/ 2147483647 h 990"/>
                <a:gd name="T66" fmla="*/ 2147483647 w 690"/>
                <a:gd name="T67" fmla="*/ 2147483647 h 990"/>
                <a:gd name="T68" fmla="*/ 2147483647 w 690"/>
                <a:gd name="T69" fmla="*/ 2147483647 h 990"/>
                <a:gd name="T70" fmla="*/ 2147483647 w 690"/>
                <a:gd name="T71" fmla="*/ 2147483647 h 990"/>
                <a:gd name="T72" fmla="*/ 2147483647 w 690"/>
                <a:gd name="T73" fmla="*/ 2147483647 h 990"/>
                <a:gd name="T74" fmla="*/ 2147483647 w 690"/>
                <a:gd name="T75" fmla="*/ 2147483647 h 990"/>
                <a:gd name="T76" fmla="*/ 2147483647 w 690"/>
                <a:gd name="T77" fmla="*/ 2147483647 h 990"/>
                <a:gd name="T78" fmla="*/ 2147483647 w 690"/>
                <a:gd name="T79" fmla="*/ 2147483647 h 990"/>
                <a:gd name="T80" fmla="*/ 2147483647 w 690"/>
                <a:gd name="T81" fmla="*/ 2147483647 h 990"/>
                <a:gd name="T82" fmla="*/ 2147483647 w 690"/>
                <a:gd name="T83" fmla="*/ 2147483647 h 990"/>
                <a:gd name="T84" fmla="*/ 2147483647 w 690"/>
                <a:gd name="T85" fmla="*/ 2147483647 h 990"/>
                <a:gd name="T86" fmla="*/ 2147483647 w 690"/>
                <a:gd name="T87" fmla="*/ 2147483647 h 990"/>
                <a:gd name="T88" fmla="*/ 2147483647 w 690"/>
                <a:gd name="T89" fmla="*/ 2147483647 h 990"/>
                <a:gd name="T90" fmla="*/ 2147483647 w 690"/>
                <a:gd name="T91" fmla="*/ 2147483647 h 990"/>
                <a:gd name="T92" fmla="*/ 2147483647 w 690"/>
                <a:gd name="T93" fmla="*/ 2147483647 h 990"/>
                <a:gd name="T94" fmla="*/ 2147483647 w 690"/>
                <a:gd name="T95" fmla="*/ 2147483647 h 990"/>
                <a:gd name="T96" fmla="*/ 2147483647 w 690"/>
                <a:gd name="T97" fmla="*/ 2147483647 h 990"/>
                <a:gd name="T98" fmla="*/ 2147483647 w 690"/>
                <a:gd name="T99" fmla="*/ 2147483647 h 990"/>
                <a:gd name="T100" fmla="*/ 2147483647 w 690"/>
                <a:gd name="T101" fmla="*/ 2147483647 h 9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0"/>
                <a:gd name="T154" fmla="*/ 0 h 990"/>
                <a:gd name="T155" fmla="*/ 690 w 690"/>
                <a:gd name="T156" fmla="*/ 990 h 9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0" h="990">
                  <a:moveTo>
                    <a:pt x="678" y="204"/>
                  </a:moveTo>
                  <a:lnTo>
                    <a:pt x="672" y="198"/>
                  </a:lnTo>
                  <a:lnTo>
                    <a:pt x="660" y="192"/>
                  </a:lnTo>
                  <a:lnTo>
                    <a:pt x="648" y="180"/>
                  </a:lnTo>
                  <a:lnTo>
                    <a:pt x="648" y="174"/>
                  </a:lnTo>
                  <a:lnTo>
                    <a:pt x="654" y="162"/>
                  </a:lnTo>
                  <a:lnTo>
                    <a:pt x="660" y="156"/>
                  </a:lnTo>
                  <a:lnTo>
                    <a:pt x="666" y="144"/>
                  </a:lnTo>
                  <a:lnTo>
                    <a:pt x="642" y="132"/>
                  </a:lnTo>
                  <a:lnTo>
                    <a:pt x="648" y="108"/>
                  </a:lnTo>
                  <a:lnTo>
                    <a:pt x="636" y="102"/>
                  </a:lnTo>
                  <a:lnTo>
                    <a:pt x="636" y="96"/>
                  </a:lnTo>
                  <a:lnTo>
                    <a:pt x="642" y="90"/>
                  </a:lnTo>
                  <a:lnTo>
                    <a:pt x="642" y="66"/>
                  </a:lnTo>
                  <a:lnTo>
                    <a:pt x="636" y="66"/>
                  </a:lnTo>
                  <a:lnTo>
                    <a:pt x="630" y="60"/>
                  </a:lnTo>
                  <a:lnTo>
                    <a:pt x="618" y="60"/>
                  </a:lnTo>
                  <a:lnTo>
                    <a:pt x="588" y="42"/>
                  </a:lnTo>
                  <a:lnTo>
                    <a:pt x="552" y="42"/>
                  </a:lnTo>
                  <a:lnTo>
                    <a:pt x="540" y="30"/>
                  </a:lnTo>
                  <a:lnTo>
                    <a:pt x="534" y="30"/>
                  </a:lnTo>
                  <a:lnTo>
                    <a:pt x="528" y="24"/>
                  </a:lnTo>
                  <a:lnTo>
                    <a:pt x="516" y="24"/>
                  </a:lnTo>
                  <a:lnTo>
                    <a:pt x="504" y="18"/>
                  </a:lnTo>
                  <a:lnTo>
                    <a:pt x="498" y="12"/>
                  </a:lnTo>
                  <a:lnTo>
                    <a:pt x="486" y="6"/>
                  </a:lnTo>
                  <a:lnTo>
                    <a:pt x="456" y="0"/>
                  </a:lnTo>
                  <a:lnTo>
                    <a:pt x="456" y="24"/>
                  </a:lnTo>
                  <a:lnTo>
                    <a:pt x="444" y="24"/>
                  </a:lnTo>
                  <a:lnTo>
                    <a:pt x="444" y="30"/>
                  </a:lnTo>
                  <a:lnTo>
                    <a:pt x="456" y="42"/>
                  </a:lnTo>
                  <a:lnTo>
                    <a:pt x="462" y="42"/>
                  </a:lnTo>
                  <a:lnTo>
                    <a:pt x="456" y="48"/>
                  </a:lnTo>
                  <a:lnTo>
                    <a:pt x="444" y="48"/>
                  </a:lnTo>
                  <a:lnTo>
                    <a:pt x="438" y="42"/>
                  </a:lnTo>
                  <a:lnTo>
                    <a:pt x="414" y="42"/>
                  </a:lnTo>
                  <a:lnTo>
                    <a:pt x="390" y="36"/>
                  </a:lnTo>
                  <a:lnTo>
                    <a:pt x="366" y="42"/>
                  </a:lnTo>
                  <a:lnTo>
                    <a:pt x="366" y="30"/>
                  </a:lnTo>
                  <a:lnTo>
                    <a:pt x="360" y="24"/>
                  </a:lnTo>
                  <a:lnTo>
                    <a:pt x="348" y="36"/>
                  </a:lnTo>
                  <a:lnTo>
                    <a:pt x="348" y="66"/>
                  </a:lnTo>
                  <a:lnTo>
                    <a:pt x="342" y="72"/>
                  </a:lnTo>
                  <a:lnTo>
                    <a:pt x="324" y="72"/>
                  </a:lnTo>
                  <a:lnTo>
                    <a:pt x="282" y="78"/>
                  </a:lnTo>
                  <a:lnTo>
                    <a:pt x="264" y="96"/>
                  </a:lnTo>
                  <a:lnTo>
                    <a:pt x="252" y="102"/>
                  </a:lnTo>
                  <a:lnTo>
                    <a:pt x="246" y="102"/>
                  </a:lnTo>
                  <a:lnTo>
                    <a:pt x="246" y="114"/>
                  </a:lnTo>
                  <a:lnTo>
                    <a:pt x="258" y="120"/>
                  </a:lnTo>
                  <a:lnTo>
                    <a:pt x="264" y="126"/>
                  </a:lnTo>
                  <a:lnTo>
                    <a:pt x="258" y="144"/>
                  </a:lnTo>
                  <a:lnTo>
                    <a:pt x="252" y="144"/>
                  </a:lnTo>
                  <a:lnTo>
                    <a:pt x="240" y="150"/>
                  </a:lnTo>
                  <a:lnTo>
                    <a:pt x="234" y="156"/>
                  </a:lnTo>
                  <a:lnTo>
                    <a:pt x="234" y="162"/>
                  </a:lnTo>
                  <a:lnTo>
                    <a:pt x="228" y="168"/>
                  </a:lnTo>
                  <a:lnTo>
                    <a:pt x="210" y="168"/>
                  </a:lnTo>
                  <a:lnTo>
                    <a:pt x="216" y="174"/>
                  </a:lnTo>
                  <a:lnTo>
                    <a:pt x="216" y="180"/>
                  </a:lnTo>
                  <a:lnTo>
                    <a:pt x="222" y="186"/>
                  </a:lnTo>
                  <a:lnTo>
                    <a:pt x="222" y="192"/>
                  </a:lnTo>
                  <a:lnTo>
                    <a:pt x="216" y="192"/>
                  </a:lnTo>
                  <a:lnTo>
                    <a:pt x="210" y="198"/>
                  </a:lnTo>
                  <a:lnTo>
                    <a:pt x="204" y="198"/>
                  </a:lnTo>
                  <a:lnTo>
                    <a:pt x="192" y="204"/>
                  </a:lnTo>
                  <a:lnTo>
                    <a:pt x="174" y="192"/>
                  </a:lnTo>
                  <a:lnTo>
                    <a:pt x="174" y="228"/>
                  </a:lnTo>
                  <a:lnTo>
                    <a:pt x="168" y="270"/>
                  </a:lnTo>
                  <a:lnTo>
                    <a:pt x="138" y="300"/>
                  </a:lnTo>
                  <a:lnTo>
                    <a:pt x="132" y="300"/>
                  </a:lnTo>
                  <a:lnTo>
                    <a:pt x="120" y="306"/>
                  </a:lnTo>
                  <a:lnTo>
                    <a:pt x="132" y="312"/>
                  </a:lnTo>
                  <a:lnTo>
                    <a:pt x="150" y="330"/>
                  </a:lnTo>
                  <a:lnTo>
                    <a:pt x="150" y="336"/>
                  </a:lnTo>
                  <a:lnTo>
                    <a:pt x="144" y="342"/>
                  </a:lnTo>
                  <a:lnTo>
                    <a:pt x="102" y="342"/>
                  </a:lnTo>
                  <a:lnTo>
                    <a:pt x="90" y="348"/>
                  </a:lnTo>
                  <a:lnTo>
                    <a:pt x="84" y="354"/>
                  </a:lnTo>
                  <a:lnTo>
                    <a:pt x="72" y="360"/>
                  </a:lnTo>
                  <a:lnTo>
                    <a:pt x="30" y="402"/>
                  </a:lnTo>
                  <a:lnTo>
                    <a:pt x="36" y="408"/>
                  </a:lnTo>
                  <a:lnTo>
                    <a:pt x="42" y="408"/>
                  </a:lnTo>
                  <a:lnTo>
                    <a:pt x="48" y="414"/>
                  </a:lnTo>
                  <a:lnTo>
                    <a:pt x="48" y="420"/>
                  </a:lnTo>
                  <a:lnTo>
                    <a:pt x="42" y="426"/>
                  </a:lnTo>
                  <a:lnTo>
                    <a:pt x="36" y="426"/>
                  </a:lnTo>
                  <a:lnTo>
                    <a:pt x="30" y="432"/>
                  </a:lnTo>
                  <a:lnTo>
                    <a:pt x="30" y="444"/>
                  </a:lnTo>
                  <a:lnTo>
                    <a:pt x="54" y="468"/>
                  </a:lnTo>
                  <a:lnTo>
                    <a:pt x="54" y="480"/>
                  </a:lnTo>
                  <a:lnTo>
                    <a:pt x="48" y="492"/>
                  </a:lnTo>
                  <a:lnTo>
                    <a:pt x="48" y="510"/>
                  </a:lnTo>
                  <a:lnTo>
                    <a:pt x="60" y="522"/>
                  </a:lnTo>
                  <a:lnTo>
                    <a:pt x="66" y="522"/>
                  </a:lnTo>
                  <a:lnTo>
                    <a:pt x="84" y="540"/>
                  </a:lnTo>
                  <a:lnTo>
                    <a:pt x="84" y="552"/>
                  </a:lnTo>
                  <a:lnTo>
                    <a:pt x="72" y="564"/>
                  </a:lnTo>
                  <a:lnTo>
                    <a:pt x="48" y="570"/>
                  </a:lnTo>
                  <a:lnTo>
                    <a:pt x="54" y="576"/>
                  </a:lnTo>
                  <a:lnTo>
                    <a:pt x="60" y="588"/>
                  </a:lnTo>
                  <a:lnTo>
                    <a:pt x="60" y="594"/>
                  </a:lnTo>
                  <a:lnTo>
                    <a:pt x="66" y="600"/>
                  </a:lnTo>
                  <a:lnTo>
                    <a:pt x="66" y="606"/>
                  </a:lnTo>
                  <a:lnTo>
                    <a:pt x="72" y="618"/>
                  </a:lnTo>
                  <a:lnTo>
                    <a:pt x="66" y="618"/>
                  </a:lnTo>
                  <a:lnTo>
                    <a:pt x="66" y="642"/>
                  </a:lnTo>
                  <a:lnTo>
                    <a:pt x="60" y="648"/>
                  </a:lnTo>
                  <a:lnTo>
                    <a:pt x="24" y="648"/>
                  </a:lnTo>
                  <a:lnTo>
                    <a:pt x="30" y="660"/>
                  </a:lnTo>
                  <a:lnTo>
                    <a:pt x="30" y="666"/>
                  </a:lnTo>
                  <a:lnTo>
                    <a:pt x="24" y="666"/>
                  </a:lnTo>
                  <a:lnTo>
                    <a:pt x="18" y="672"/>
                  </a:lnTo>
                  <a:lnTo>
                    <a:pt x="18" y="678"/>
                  </a:lnTo>
                  <a:lnTo>
                    <a:pt x="30" y="690"/>
                  </a:lnTo>
                  <a:lnTo>
                    <a:pt x="30" y="708"/>
                  </a:lnTo>
                  <a:lnTo>
                    <a:pt x="24" y="714"/>
                  </a:lnTo>
                  <a:lnTo>
                    <a:pt x="18" y="726"/>
                  </a:lnTo>
                  <a:lnTo>
                    <a:pt x="0" y="708"/>
                  </a:lnTo>
                  <a:lnTo>
                    <a:pt x="0" y="768"/>
                  </a:lnTo>
                  <a:lnTo>
                    <a:pt x="6" y="762"/>
                  </a:lnTo>
                  <a:lnTo>
                    <a:pt x="24" y="762"/>
                  </a:lnTo>
                  <a:lnTo>
                    <a:pt x="36" y="774"/>
                  </a:lnTo>
                  <a:lnTo>
                    <a:pt x="36" y="780"/>
                  </a:lnTo>
                  <a:lnTo>
                    <a:pt x="30" y="780"/>
                  </a:lnTo>
                  <a:lnTo>
                    <a:pt x="30" y="774"/>
                  </a:lnTo>
                  <a:lnTo>
                    <a:pt x="24" y="774"/>
                  </a:lnTo>
                  <a:lnTo>
                    <a:pt x="24" y="834"/>
                  </a:lnTo>
                  <a:lnTo>
                    <a:pt x="30" y="840"/>
                  </a:lnTo>
                  <a:lnTo>
                    <a:pt x="36" y="840"/>
                  </a:lnTo>
                  <a:lnTo>
                    <a:pt x="48" y="846"/>
                  </a:lnTo>
                  <a:lnTo>
                    <a:pt x="54" y="858"/>
                  </a:lnTo>
                  <a:lnTo>
                    <a:pt x="60" y="864"/>
                  </a:lnTo>
                  <a:lnTo>
                    <a:pt x="66" y="876"/>
                  </a:lnTo>
                  <a:lnTo>
                    <a:pt x="90" y="900"/>
                  </a:lnTo>
                  <a:lnTo>
                    <a:pt x="96" y="900"/>
                  </a:lnTo>
                  <a:lnTo>
                    <a:pt x="96" y="912"/>
                  </a:lnTo>
                  <a:lnTo>
                    <a:pt x="78" y="912"/>
                  </a:lnTo>
                  <a:lnTo>
                    <a:pt x="78" y="942"/>
                  </a:lnTo>
                  <a:lnTo>
                    <a:pt x="90" y="954"/>
                  </a:lnTo>
                  <a:lnTo>
                    <a:pt x="102" y="960"/>
                  </a:lnTo>
                  <a:lnTo>
                    <a:pt x="96" y="966"/>
                  </a:lnTo>
                  <a:lnTo>
                    <a:pt x="96" y="984"/>
                  </a:lnTo>
                  <a:lnTo>
                    <a:pt x="102" y="984"/>
                  </a:lnTo>
                  <a:lnTo>
                    <a:pt x="108" y="990"/>
                  </a:lnTo>
                  <a:lnTo>
                    <a:pt x="174" y="990"/>
                  </a:lnTo>
                  <a:lnTo>
                    <a:pt x="180" y="984"/>
                  </a:lnTo>
                  <a:lnTo>
                    <a:pt x="180" y="948"/>
                  </a:lnTo>
                  <a:lnTo>
                    <a:pt x="198" y="942"/>
                  </a:lnTo>
                  <a:lnTo>
                    <a:pt x="198" y="924"/>
                  </a:lnTo>
                  <a:lnTo>
                    <a:pt x="264" y="930"/>
                  </a:lnTo>
                  <a:lnTo>
                    <a:pt x="276" y="936"/>
                  </a:lnTo>
                  <a:lnTo>
                    <a:pt x="300" y="876"/>
                  </a:lnTo>
                  <a:lnTo>
                    <a:pt x="300" y="864"/>
                  </a:lnTo>
                  <a:lnTo>
                    <a:pt x="306" y="852"/>
                  </a:lnTo>
                  <a:lnTo>
                    <a:pt x="306" y="816"/>
                  </a:lnTo>
                  <a:lnTo>
                    <a:pt x="300" y="810"/>
                  </a:lnTo>
                  <a:lnTo>
                    <a:pt x="294" y="798"/>
                  </a:lnTo>
                  <a:lnTo>
                    <a:pt x="312" y="798"/>
                  </a:lnTo>
                  <a:lnTo>
                    <a:pt x="324" y="786"/>
                  </a:lnTo>
                  <a:lnTo>
                    <a:pt x="324" y="780"/>
                  </a:lnTo>
                  <a:lnTo>
                    <a:pt x="306" y="762"/>
                  </a:lnTo>
                  <a:lnTo>
                    <a:pt x="294" y="762"/>
                  </a:lnTo>
                  <a:lnTo>
                    <a:pt x="312" y="756"/>
                  </a:lnTo>
                  <a:lnTo>
                    <a:pt x="300" y="750"/>
                  </a:lnTo>
                  <a:lnTo>
                    <a:pt x="324" y="750"/>
                  </a:lnTo>
                  <a:lnTo>
                    <a:pt x="336" y="744"/>
                  </a:lnTo>
                  <a:lnTo>
                    <a:pt x="348" y="744"/>
                  </a:lnTo>
                  <a:lnTo>
                    <a:pt x="354" y="738"/>
                  </a:lnTo>
                  <a:lnTo>
                    <a:pt x="360" y="726"/>
                  </a:lnTo>
                  <a:lnTo>
                    <a:pt x="360" y="714"/>
                  </a:lnTo>
                  <a:lnTo>
                    <a:pt x="366" y="708"/>
                  </a:lnTo>
                  <a:lnTo>
                    <a:pt x="384" y="726"/>
                  </a:lnTo>
                  <a:lnTo>
                    <a:pt x="390" y="726"/>
                  </a:lnTo>
                  <a:lnTo>
                    <a:pt x="396" y="720"/>
                  </a:lnTo>
                  <a:lnTo>
                    <a:pt x="408" y="696"/>
                  </a:lnTo>
                  <a:lnTo>
                    <a:pt x="402" y="690"/>
                  </a:lnTo>
                  <a:lnTo>
                    <a:pt x="402" y="684"/>
                  </a:lnTo>
                  <a:lnTo>
                    <a:pt x="414" y="684"/>
                  </a:lnTo>
                  <a:lnTo>
                    <a:pt x="420" y="678"/>
                  </a:lnTo>
                  <a:lnTo>
                    <a:pt x="432" y="672"/>
                  </a:lnTo>
                  <a:lnTo>
                    <a:pt x="432" y="660"/>
                  </a:lnTo>
                  <a:lnTo>
                    <a:pt x="420" y="636"/>
                  </a:lnTo>
                  <a:lnTo>
                    <a:pt x="408" y="630"/>
                  </a:lnTo>
                  <a:lnTo>
                    <a:pt x="408" y="618"/>
                  </a:lnTo>
                  <a:lnTo>
                    <a:pt x="372" y="600"/>
                  </a:lnTo>
                  <a:lnTo>
                    <a:pt x="360" y="606"/>
                  </a:lnTo>
                  <a:lnTo>
                    <a:pt x="354" y="606"/>
                  </a:lnTo>
                  <a:lnTo>
                    <a:pt x="342" y="600"/>
                  </a:lnTo>
                  <a:lnTo>
                    <a:pt x="330" y="576"/>
                  </a:lnTo>
                  <a:lnTo>
                    <a:pt x="330" y="558"/>
                  </a:lnTo>
                  <a:lnTo>
                    <a:pt x="324" y="546"/>
                  </a:lnTo>
                  <a:lnTo>
                    <a:pt x="324" y="528"/>
                  </a:lnTo>
                  <a:lnTo>
                    <a:pt x="336" y="516"/>
                  </a:lnTo>
                  <a:lnTo>
                    <a:pt x="342" y="504"/>
                  </a:lnTo>
                  <a:lnTo>
                    <a:pt x="342" y="486"/>
                  </a:lnTo>
                  <a:lnTo>
                    <a:pt x="336" y="474"/>
                  </a:lnTo>
                  <a:lnTo>
                    <a:pt x="330" y="468"/>
                  </a:lnTo>
                  <a:lnTo>
                    <a:pt x="330" y="462"/>
                  </a:lnTo>
                  <a:lnTo>
                    <a:pt x="348" y="462"/>
                  </a:lnTo>
                  <a:lnTo>
                    <a:pt x="354" y="456"/>
                  </a:lnTo>
                  <a:lnTo>
                    <a:pt x="354" y="438"/>
                  </a:lnTo>
                  <a:lnTo>
                    <a:pt x="348" y="426"/>
                  </a:lnTo>
                  <a:lnTo>
                    <a:pt x="354" y="432"/>
                  </a:lnTo>
                  <a:lnTo>
                    <a:pt x="378" y="432"/>
                  </a:lnTo>
                  <a:lnTo>
                    <a:pt x="384" y="426"/>
                  </a:lnTo>
                  <a:lnTo>
                    <a:pt x="396" y="420"/>
                  </a:lnTo>
                  <a:lnTo>
                    <a:pt x="408" y="408"/>
                  </a:lnTo>
                  <a:lnTo>
                    <a:pt x="438" y="414"/>
                  </a:lnTo>
                  <a:lnTo>
                    <a:pt x="450" y="390"/>
                  </a:lnTo>
                  <a:lnTo>
                    <a:pt x="480" y="390"/>
                  </a:lnTo>
                  <a:lnTo>
                    <a:pt x="498" y="384"/>
                  </a:lnTo>
                  <a:lnTo>
                    <a:pt x="510" y="378"/>
                  </a:lnTo>
                  <a:lnTo>
                    <a:pt x="522" y="354"/>
                  </a:lnTo>
                  <a:lnTo>
                    <a:pt x="540" y="336"/>
                  </a:lnTo>
                  <a:lnTo>
                    <a:pt x="546" y="324"/>
                  </a:lnTo>
                  <a:lnTo>
                    <a:pt x="528" y="300"/>
                  </a:lnTo>
                  <a:lnTo>
                    <a:pt x="558" y="264"/>
                  </a:lnTo>
                  <a:lnTo>
                    <a:pt x="540" y="246"/>
                  </a:lnTo>
                  <a:lnTo>
                    <a:pt x="576" y="234"/>
                  </a:lnTo>
                  <a:lnTo>
                    <a:pt x="594" y="216"/>
                  </a:lnTo>
                  <a:lnTo>
                    <a:pt x="672" y="222"/>
                  </a:lnTo>
                  <a:lnTo>
                    <a:pt x="684" y="240"/>
                  </a:lnTo>
                  <a:lnTo>
                    <a:pt x="690" y="240"/>
                  </a:lnTo>
                  <a:lnTo>
                    <a:pt x="678" y="204"/>
                  </a:lnTo>
                  <a:close/>
                  <a:moveTo>
                    <a:pt x="390" y="828"/>
                  </a:moveTo>
                  <a:lnTo>
                    <a:pt x="390" y="840"/>
                  </a:lnTo>
                  <a:lnTo>
                    <a:pt x="396" y="852"/>
                  </a:lnTo>
                  <a:lnTo>
                    <a:pt x="396" y="864"/>
                  </a:lnTo>
                  <a:lnTo>
                    <a:pt x="402" y="870"/>
                  </a:lnTo>
                  <a:lnTo>
                    <a:pt x="402" y="876"/>
                  </a:lnTo>
                  <a:lnTo>
                    <a:pt x="414" y="852"/>
                  </a:lnTo>
                  <a:lnTo>
                    <a:pt x="426" y="852"/>
                  </a:lnTo>
                  <a:lnTo>
                    <a:pt x="432" y="846"/>
                  </a:lnTo>
                  <a:lnTo>
                    <a:pt x="438" y="834"/>
                  </a:lnTo>
                  <a:lnTo>
                    <a:pt x="438" y="822"/>
                  </a:lnTo>
                  <a:lnTo>
                    <a:pt x="432" y="816"/>
                  </a:lnTo>
                  <a:lnTo>
                    <a:pt x="450" y="798"/>
                  </a:lnTo>
                  <a:lnTo>
                    <a:pt x="444" y="798"/>
                  </a:lnTo>
                  <a:lnTo>
                    <a:pt x="438" y="804"/>
                  </a:lnTo>
                  <a:lnTo>
                    <a:pt x="420" y="804"/>
                  </a:lnTo>
                  <a:lnTo>
                    <a:pt x="408" y="810"/>
                  </a:lnTo>
                  <a:lnTo>
                    <a:pt x="390" y="828"/>
                  </a:lnTo>
                  <a:close/>
                  <a:moveTo>
                    <a:pt x="300" y="900"/>
                  </a:moveTo>
                  <a:lnTo>
                    <a:pt x="300" y="912"/>
                  </a:lnTo>
                  <a:lnTo>
                    <a:pt x="294" y="924"/>
                  </a:lnTo>
                  <a:lnTo>
                    <a:pt x="300" y="918"/>
                  </a:lnTo>
                  <a:lnTo>
                    <a:pt x="312" y="912"/>
                  </a:lnTo>
                  <a:lnTo>
                    <a:pt x="318" y="900"/>
                  </a:lnTo>
                  <a:lnTo>
                    <a:pt x="318" y="894"/>
                  </a:lnTo>
                  <a:lnTo>
                    <a:pt x="324" y="888"/>
                  </a:lnTo>
                  <a:lnTo>
                    <a:pt x="324" y="882"/>
                  </a:lnTo>
                  <a:lnTo>
                    <a:pt x="342" y="858"/>
                  </a:lnTo>
                  <a:lnTo>
                    <a:pt x="336" y="840"/>
                  </a:lnTo>
                  <a:lnTo>
                    <a:pt x="330" y="852"/>
                  </a:lnTo>
                  <a:lnTo>
                    <a:pt x="312" y="870"/>
                  </a:lnTo>
                  <a:lnTo>
                    <a:pt x="300" y="894"/>
                  </a:lnTo>
                  <a:lnTo>
                    <a:pt x="300" y="900"/>
                  </a:lnTo>
                  <a:close/>
                </a:path>
              </a:pathLst>
            </a:custGeom>
            <a:solidFill>
              <a:schemeClr val="accent1"/>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70" name="Saudi Arabien" descr="© INSCALE GmbH, 05.05.2010&#10;http://www.presentationload.com/">
              <a:extLst>
                <a:ext uri="{FF2B5EF4-FFF2-40B4-BE49-F238E27FC236}">
                  <a16:creationId xmlns:a16="http://schemas.microsoft.com/office/drawing/2014/main" id="{01C46D9F-4BA8-45D1-8A8F-72C87141C921}"/>
                </a:ext>
              </a:extLst>
            </p:cNvPr>
            <p:cNvSpPr>
              <a:spLocks/>
            </p:cNvSpPr>
            <p:nvPr/>
          </p:nvSpPr>
          <p:spPr bwMode="gray">
            <a:xfrm>
              <a:off x="5087421" y="3222439"/>
              <a:ext cx="589577" cy="506472"/>
            </a:xfrm>
            <a:custGeom>
              <a:avLst/>
              <a:gdLst>
                <a:gd name="T0" fmla="*/ 2147483647 w 1488"/>
                <a:gd name="T1" fmla="*/ 2147483647 h 1278"/>
                <a:gd name="T2" fmla="*/ 2147483647 w 1488"/>
                <a:gd name="T3" fmla="*/ 2147483647 h 1278"/>
                <a:gd name="T4" fmla="*/ 2147483647 w 1488"/>
                <a:gd name="T5" fmla="*/ 2147483647 h 1278"/>
                <a:gd name="T6" fmla="*/ 2147483647 w 1488"/>
                <a:gd name="T7" fmla="*/ 2147483647 h 1278"/>
                <a:gd name="T8" fmla="*/ 2147483647 w 1488"/>
                <a:gd name="T9" fmla="*/ 2147483647 h 1278"/>
                <a:gd name="T10" fmla="*/ 2147483647 w 1488"/>
                <a:gd name="T11" fmla="*/ 2147483647 h 1278"/>
                <a:gd name="T12" fmla="*/ 2147483647 w 1488"/>
                <a:gd name="T13" fmla="*/ 2147483647 h 1278"/>
                <a:gd name="T14" fmla="*/ 2147483647 w 1488"/>
                <a:gd name="T15" fmla="*/ 2147483647 h 1278"/>
                <a:gd name="T16" fmla="*/ 2147483647 w 1488"/>
                <a:gd name="T17" fmla="*/ 2147483647 h 1278"/>
                <a:gd name="T18" fmla="*/ 2147483647 w 1488"/>
                <a:gd name="T19" fmla="*/ 2147483647 h 1278"/>
                <a:gd name="T20" fmla="*/ 2147483647 w 1488"/>
                <a:gd name="T21" fmla="*/ 2147483647 h 1278"/>
                <a:gd name="T22" fmla="*/ 2147483647 w 1488"/>
                <a:gd name="T23" fmla="*/ 2147483647 h 1278"/>
                <a:gd name="T24" fmla="*/ 2147483647 w 1488"/>
                <a:gd name="T25" fmla="*/ 2147483647 h 1278"/>
                <a:gd name="T26" fmla="*/ 2147483647 w 1488"/>
                <a:gd name="T27" fmla="*/ 2147483647 h 1278"/>
                <a:gd name="T28" fmla="*/ 2147483647 w 1488"/>
                <a:gd name="T29" fmla="*/ 2147483647 h 1278"/>
                <a:gd name="T30" fmla="*/ 2147483647 w 1488"/>
                <a:gd name="T31" fmla="*/ 2147483647 h 1278"/>
                <a:gd name="T32" fmla="*/ 2147483647 w 1488"/>
                <a:gd name="T33" fmla="*/ 2147483647 h 1278"/>
                <a:gd name="T34" fmla="*/ 2147483647 w 1488"/>
                <a:gd name="T35" fmla="*/ 2147483647 h 1278"/>
                <a:gd name="T36" fmla="*/ 2147483647 w 1488"/>
                <a:gd name="T37" fmla="*/ 2147483647 h 1278"/>
                <a:gd name="T38" fmla="*/ 2147483647 w 1488"/>
                <a:gd name="T39" fmla="*/ 0 h 1278"/>
                <a:gd name="T40" fmla="*/ 2147483647 w 1488"/>
                <a:gd name="T41" fmla="*/ 2147483647 h 1278"/>
                <a:gd name="T42" fmla="*/ 2147483647 w 1488"/>
                <a:gd name="T43" fmla="*/ 2147483647 h 1278"/>
                <a:gd name="T44" fmla="*/ 2147483647 w 1488"/>
                <a:gd name="T45" fmla="*/ 2147483647 h 1278"/>
                <a:gd name="T46" fmla="*/ 2147483647 w 1488"/>
                <a:gd name="T47" fmla="*/ 2147483647 h 1278"/>
                <a:gd name="T48" fmla="*/ 2147483647 w 1488"/>
                <a:gd name="T49" fmla="*/ 2147483647 h 1278"/>
                <a:gd name="T50" fmla="*/ 2147483647 w 1488"/>
                <a:gd name="T51" fmla="*/ 2147483647 h 1278"/>
                <a:gd name="T52" fmla="*/ 2147483647 w 1488"/>
                <a:gd name="T53" fmla="*/ 2147483647 h 1278"/>
                <a:gd name="T54" fmla="*/ 2147483647 w 1488"/>
                <a:gd name="T55" fmla="*/ 2147483647 h 1278"/>
                <a:gd name="T56" fmla="*/ 2147483647 w 1488"/>
                <a:gd name="T57" fmla="*/ 2147483647 h 1278"/>
                <a:gd name="T58" fmla="*/ 2147483647 w 1488"/>
                <a:gd name="T59" fmla="*/ 2147483647 h 1278"/>
                <a:gd name="T60" fmla="*/ 2147483647 w 1488"/>
                <a:gd name="T61" fmla="*/ 2147483647 h 1278"/>
                <a:gd name="T62" fmla="*/ 0 w 1488"/>
                <a:gd name="T63" fmla="*/ 2147483647 h 1278"/>
                <a:gd name="T64" fmla="*/ 2147483647 w 1488"/>
                <a:gd name="T65" fmla="*/ 2147483647 h 1278"/>
                <a:gd name="T66" fmla="*/ 2147483647 w 1488"/>
                <a:gd name="T67" fmla="*/ 2147483647 h 1278"/>
                <a:gd name="T68" fmla="*/ 2147483647 w 1488"/>
                <a:gd name="T69" fmla="*/ 2147483647 h 1278"/>
                <a:gd name="T70" fmla="*/ 2147483647 w 1488"/>
                <a:gd name="T71" fmla="*/ 2147483647 h 1278"/>
                <a:gd name="T72" fmla="*/ 2147483647 w 1488"/>
                <a:gd name="T73" fmla="*/ 2147483647 h 1278"/>
                <a:gd name="T74" fmla="*/ 2147483647 w 1488"/>
                <a:gd name="T75" fmla="*/ 2147483647 h 1278"/>
                <a:gd name="T76" fmla="*/ 2147483647 w 1488"/>
                <a:gd name="T77" fmla="*/ 2147483647 h 1278"/>
                <a:gd name="T78" fmla="*/ 2147483647 w 1488"/>
                <a:gd name="T79" fmla="*/ 2147483647 h 1278"/>
                <a:gd name="T80" fmla="*/ 2147483647 w 1488"/>
                <a:gd name="T81" fmla="*/ 2147483647 h 1278"/>
                <a:gd name="T82" fmla="*/ 2147483647 w 1488"/>
                <a:gd name="T83" fmla="*/ 2147483647 h 1278"/>
                <a:gd name="T84" fmla="*/ 2147483647 w 1488"/>
                <a:gd name="T85" fmla="*/ 2147483647 h 1278"/>
                <a:gd name="T86" fmla="*/ 2147483647 w 1488"/>
                <a:gd name="T87" fmla="*/ 2147483647 h 1278"/>
                <a:gd name="T88" fmla="*/ 2147483647 w 1488"/>
                <a:gd name="T89" fmla="*/ 2147483647 h 1278"/>
                <a:gd name="T90" fmla="*/ 2147483647 w 1488"/>
                <a:gd name="T91" fmla="*/ 2147483647 h 1278"/>
                <a:gd name="T92" fmla="*/ 2147483647 w 1488"/>
                <a:gd name="T93" fmla="*/ 2147483647 h 1278"/>
                <a:gd name="T94" fmla="*/ 2147483647 w 1488"/>
                <a:gd name="T95" fmla="*/ 2147483647 h 1278"/>
                <a:gd name="T96" fmla="*/ 2147483647 w 1488"/>
                <a:gd name="T97" fmla="*/ 2147483647 h 1278"/>
                <a:gd name="T98" fmla="*/ 2147483647 w 1488"/>
                <a:gd name="T99" fmla="*/ 2147483647 h 1278"/>
                <a:gd name="T100" fmla="*/ 2147483647 w 1488"/>
                <a:gd name="T101" fmla="*/ 2147483647 h 1278"/>
                <a:gd name="T102" fmla="*/ 2147483647 w 1488"/>
                <a:gd name="T103" fmla="*/ 2147483647 h 1278"/>
                <a:gd name="T104" fmla="*/ 2147483647 w 1488"/>
                <a:gd name="T105" fmla="*/ 2147483647 h 1278"/>
                <a:gd name="T106" fmla="*/ 2147483647 w 1488"/>
                <a:gd name="T107" fmla="*/ 2147483647 h 1278"/>
                <a:gd name="T108" fmla="*/ 2147483647 w 1488"/>
                <a:gd name="T109" fmla="*/ 2147483647 h 1278"/>
                <a:gd name="T110" fmla="*/ 2147483647 w 1488"/>
                <a:gd name="T111" fmla="*/ 2147483647 h 1278"/>
                <a:gd name="T112" fmla="*/ 2147483647 w 1488"/>
                <a:gd name="T113" fmla="*/ 2147483647 h 1278"/>
                <a:gd name="T114" fmla="*/ 2147483647 w 1488"/>
                <a:gd name="T115" fmla="*/ 2147483647 h 1278"/>
                <a:gd name="T116" fmla="*/ 2147483647 w 1488"/>
                <a:gd name="T117" fmla="*/ 2147483647 h 12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88"/>
                <a:gd name="T178" fmla="*/ 0 h 1278"/>
                <a:gd name="T179" fmla="*/ 1488 w 1488"/>
                <a:gd name="T180" fmla="*/ 1278 h 12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88" h="1278">
                  <a:moveTo>
                    <a:pt x="1464" y="792"/>
                  </a:moveTo>
                  <a:lnTo>
                    <a:pt x="1464" y="780"/>
                  </a:lnTo>
                  <a:lnTo>
                    <a:pt x="1458" y="774"/>
                  </a:lnTo>
                  <a:lnTo>
                    <a:pt x="1416" y="768"/>
                  </a:lnTo>
                  <a:lnTo>
                    <a:pt x="1320" y="756"/>
                  </a:lnTo>
                  <a:lnTo>
                    <a:pt x="1284" y="750"/>
                  </a:lnTo>
                  <a:lnTo>
                    <a:pt x="1266" y="750"/>
                  </a:lnTo>
                  <a:lnTo>
                    <a:pt x="1260" y="738"/>
                  </a:lnTo>
                  <a:lnTo>
                    <a:pt x="1248" y="732"/>
                  </a:lnTo>
                  <a:lnTo>
                    <a:pt x="1242" y="720"/>
                  </a:lnTo>
                  <a:lnTo>
                    <a:pt x="1218" y="696"/>
                  </a:lnTo>
                  <a:lnTo>
                    <a:pt x="1206" y="672"/>
                  </a:lnTo>
                  <a:lnTo>
                    <a:pt x="1188" y="654"/>
                  </a:lnTo>
                  <a:lnTo>
                    <a:pt x="1188" y="642"/>
                  </a:lnTo>
                  <a:lnTo>
                    <a:pt x="1182" y="636"/>
                  </a:lnTo>
                  <a:lnTo>
                    <a:pt x="1182" y="618"/>
                  </a:lnTo>
                  <a:lnTo>
                    <a:pt x="1176" y="624"/>
                  </a:lnTo>
                  <a:lnTo>
                    <a:pt x="1164" y="612"/>
                  </a:lnTo>
                  <a:lnTo>
                    <a:pt x="1146" y="612"/>
                  </a:lnTo>
                  <a:lnTo>
                    <a:pt x="1140" y="600"/>
                  </a:lnTo>
                  <a:lnTo>
                    <a:pt x="1134" y="594"/>
                  </a:lnTo>
                  <a:lnTo>
                    <a:pt x="1128" y="582"/>
                  </a:lnTo>
                  <a:lnTo>
                    <a:pt x="1122" y="564"/>
                  </a:lnTo>
                  <a:lnTo>
                    <a:pt x="1116" y="552"/>
                  </a:lnTo>
                  <a:lnTo>
                    <a:pt x="1116" y="540"/>
                  </a:lnTo>
                  <a:lnTo>
                    <a:pt x="1110" y="534"/>
                  </a:lnTo>
                  <a:lnTo>
                    <a:pt x="1098" y="528"/>
                  </a:lnTo>
                  <a:lnTo>
                    <a:pt x="1086" y="516"/>
                  </a:lnTo>
                  <a:lnTo>
                    <a:pt x="1074" y="510"/>
                  </a:lnTo>
                  <a:lnTo>
                    <a:pt x="1068" y="498"/>
                  </a:lnTo>
                  <a:lnTo>
                    <a:pt x="1068" y="462"/>
                  </a:lnTo>
                  <a:lnTo>
                    <a:pt x="1062" y="450"/>
                  </a:lnTo>
                  <a:lnTo>
                    <a:pt x="1062" y="438"/>
                  </a:lnTo>
                  <a:lnTo>
                    <a:pt x="1050" y="426"/>
                  </a:lnTo>
                  <a:lnTo>
                    <a:pt x="1002" y="402"/>
                  </a:lnTo>
                  <a:lnTo>
                    <a:pt x="996" y="396"/>
                  </a:lnTo>
                  <a:lnTo>
                    <a:pt x="990" y="384"/>
                  </a:lnTo>
                  <a:lnTo>
                    <a:pt x="990" y="360"/>
                  </a:lnTo>
                  <a:lnTo>
                    <a:pt x="972" y="342"/>
                  </a:lnTo>
                  <a:lnTo>
                    <a:pt x="966" y="330"/>
                  </a:lnTo>
                  <a:lnTo>
                    <a:pt x="960" y="324"/>
                  </a:lnTo>
                  <a:lnTo>
                    <a:pt x="960" y="300"/>
                  </a:lnTo>
                  <a:lnTo>
                    <a:pt x="954" y="300"/>
                  </a:lnTo>
                  <a:lnTo>
                    <a:pt x="948" y="294"/>
                  </a:lnTo>
                  <a:lnTo>
                    <a:pt x="882" y="294"/>
                  </a:lnTo>
                  <a:lnTo>
                    <a:pt x="876" y="288"/>
                  </a:lnTo>
                  <a:lnTo>
                    <a:pt x="876" y="252"/>
                  </a:lnTo>
                  <a:lnTo>
                    <a:pt x="852" y="246"/>
                  </a:lnTo>
                  <a:lnTo>
                    <a:pt x="804" y="246"/>
                  </a:lnTo>
                  <a:lnTo>
                    <a:pt x="750" y="240"/>
                  </a:lnTo>
                  <a:lnTo>
                    <a:pt x="684" y="240"/>
                  </a:lnTo>
                  <a:lnTo>
                    <a:pt x="492" y="96"/>
                  </a:lnTo>
                  <a:lnTo>
                    <a:pt x="480" y="90"/>
                  </a:lnTo>
                  <a:lnTo>
                    <a:pt x="474" y="84"/>
                  </a:lnTo>
                  <a:lnTo>
                    <a:pt x="426" y="60"/>
                  </a:lnTo>
                  <a:lnTo>
                    <a:pt x="414" y="48"/>
                  </a:lnTo>
                  <a:lnTo>
                    <a:pt x="402" y="42"/>
                  </a:lnTo>
                  <a:lnTo>
                    <a:pt x="372" y="12"/>
                  </a:lnTo>
                  <a:lnTo>
                    <a:pt x="306" y="12"/>
                  </a:lnTo>
                  <a:lnTo>
                    <a:pt x="294" y="0"/>
                  </a:lnTo>
                  <a:lnTo>
                    <a:pt x="288" y="6"/>
                  </a:lnTo>
                  <a:lnTo>
                    <a:pt x="276" y="12"/>
                  </a:lnTo>
                  <a:lnTo>
                    <a:pt x="270" y="12"/>
                  </a:lnTo>
                  <a:lnTo>
                    <a:pt x="264" y="18"/>
                  </a:lnTo>
                  <a:lnTo>
                    <a:pt x="252" y="24"/>
                  </a:lnTo>
                  <a:lnTo>
                    <a:pt x="210" y="24"/>
                  </a:lnTo>
                  <a:lnTo>
                    <a:pt x="198" y="48"/>
                  </a:lnTo>
                  <a:lnTo>
                    <a:pt x="132" y="48"/>
                  </a:lnTo>
                  <a:lnTo>
                    <a:pt x="120" y="54"/>
                  </a:lnTo>
                  <a:lnTo>
                    <a:pt x="108" y="54"/>
                  </a:lnTo>
                  <a:lnTo>
                    <a:pt x="108" y="60"/>
                  </a:lnTo>
                  <a:lnTo>
                    <a:pt x="132" y="60"/>
                  </a:lnTo>
                  <a:lnTo>
                    <a:pt x="144" y="66"/>
                  </a:lnTo>
                  <a:lnTo>
                    <a:pt x="156" y="66"/>
                  </a:lnTo>
                  <a:lnTo>
                    <a:pt x="180" y="90"/>
                  </a:lnTo>
                  <a:lnTo>
                    <a:pt x="192" y="114"/>
                  </a:lnTo>
                  <a:lnTo>
                    <a:pt x="198" y="120"/>
                  </a:lnTo>
                  <a:lnTo>
                    <a:pt x="198" y="132"/>
                  </a:lnTo>
                  <a:lnTo>
                    <a:pt x="192" y="138"/>
                  </a:lnTo>
                  <a:lnTo>
                    <a:pt x="192" y="150"/>
                  </a:lnTo>
                  <a:lnTo>
                    <a:pt x="186" y="156"/>
                  </a:lnTo>
                  <a:lnTo>
                    <a:pt x="180" y="168"/>
                  </a:lnTo>
                  <a:lnTo>
                    <a:pt x="174" y="174"/>
                  </a:lnTo>
                  <a:lnTo>
                    <a:pt x="162" y="180"/>
                  </a:lnTo>
                  <a:lnTo>
                    <a:pt x="150" y="180"/>
                  </a:lnTo>
                  <a:lnTo>
                    <a:pt x="138" y="186"/>
                  </a:lnTo>
                  <a:lnTo>
                    <a:pt x="132" y="186"/>
                  </a:lnTo>
                  <a:lnTo>
                    <a:pt x="120" y="198"/>
                  </a:lnTo>
                  <a:lnTo>
                    <a:pt x="120" y="210"/>
                  </a:lnTo>
                  <a:lnTo>
                    <a:pt x="108" y="234"/>
                  </a:lnTo>
                  <a:lnTo>
                    <a:pt x="96" y="246"/>
                  </a:lnTo>
                  <a:lnTo>
                    <a:pt x="60" y="246"/>
                  </a:lnTo>
                  <a:lnTo>
                    <a:pt x="36" y="234"/>
                  </a:lnTo>
                  <a:lnTo>
                    <a:pt x="6" y="234"/>
                  </a:lnTo>
                  <a:lnTo>
                    <a:pt x="6" y="264"/>
                  </a:lnTo>
                  <a:lnTo>
                    <a:pt x="0" y="306"/>
                  </a:lnTo>
                  <a:lnTo>
                    <a:pt x="0" y="348"/>
                  </a:lnTo>
                  <a:lnTo>
                    <a:pt x="6" y="372"/>
                  </a:lnTo>
                  <a:lnTo>
                    <a:pt x="24" y="378"/>
                  </a:lnTo>
                  <a:lnTo>
                    <a:pt x="36" y="390"/>
                  </a:lnTo>
                  <a:lnTo>
                    <a:pt x="54" y="390"/>
                  </a:lnTo>
                  <a:lnTo>
                    <a:pt x="72" y="408"/>
                  </a:lnTo>
                  <a:lnTo>
                    <a:pt x="90" y="438"/>
                  </a:lnTo>
                  <a:lnTo>
                    <a:pt x="102" y="474"/>
                  </a:lnTo>
                  <a:lnTo>
                    <a:pt x="120" y="504"/>
                  </a:lnTo>
                  <a:lnTo>
                    <a:pt x="132" y="516"/>
                  </a:lnTo>
                  <a:lnTo>
                    <a:pt x="150" y="528"/>
                  </a:lnTo>
                  <a:lnTo>
                    <a:pt x="162" y="540"/>
                  </a:lnTo>
                  <a:lnTo>
                    <a:pt x="174" y="558"/>
                  </a:lnTo>
                  <a:lnTo>
                    <a:pt x="180" y="570"/>
                  </a:lnTo>
                  <a:lnTo>
                    <a:pt x="186" y="594"/>
                  </a:lnTo>
                  <a:lnTo>
                    <a:pt x="192" y="612"/>
                  </a:lnTo>
                  <a:lnTo>
                    <a:pt x="198" y="636"/>
                  </a:lnTo>
                  <a:lnTo>
                    <a:pt x="210" y="648"/>
                  </a:lnTo>
                  <a:lnTo>
                    <a:pt x="234" y="660"/>
                  </a:lnTo>
                  <a:lnTo>
                    <a:pt x="264" y="660"/>
                  </a:lnTo>
                  <a:lnTo>
                    <a:pt x="282" y="666"/>
                  </a:lnTo>
                  <a:lnTo>
                    <a:pt x="294" y="678"/>
                  </a:lnTo>
                  <a:lnTo>
                    <a:pt x="312" y="708"/>
                  </a:lnTo>
                  <a:lnTo>
                    <a:pt x="330" y="756"/>
                  </a:lnTo>
                  <a:lnTo>
                    <a:pt x="336" y="804"/>
                  </a:lnTo>
                  <a:lnTo>
                    <a:pt x="342" y="840"/>
                  </a:lnTo>
                  <a:lnTo>
                    <a:pt x="348" y="870"/>
                  </a:lnTo>
                  <a:lnTo>
                    <a:pt x="366" y="906"/>
                  </a:lnTo>
                  <a:lnTo>
                    <a:pt x="384" y="924"/>
                  </a:lnTo>
                  <a:lnTo>
                    <a:pt x="390" y="936"/>
                  </a:lnTo>
                  <a:lnTo>
                    <a:pt x="414" y="936"/>
                  </a:lnTo>
                  <a:lnTo>
                    <a:pt x="438" y="948"/>
                  </a:lnTo>
                  <a:lnTo>
                    <a:pt x="456" y="972"/>
                  </a:lnTo>
                  <a:lnTo>
                    <a:pt x="480" y="1008"/>
                  </a:lnTo>
                  <a:lnTo>
                    <a:pt x="504" y="1056"/>
                  </a:lnTo>
                  <a:lnTo>
                    <a:pt x="552" y="1128"/>
                  </a:lnTo>
                  <a:lnTo>
                    <a:pt x="582" y="1170"/>
                  </a:lnTo>
                  <a:lnTo>
                    <a:pt x="606" y="1206"/>
                  </a:lnTo>
                  <a:lnTo>
                    <a:pt x="618" y="1236"/>
                  </a:lnTo>
                  <a:lnTo>
                    <a:pt x="618" y="1266"/>
                  </a:lnTo>
                  <a:lnTo>
                    <a:pt x="612" y="1278"/>
                  </a:lnTo>
                  <a:lnTo>
                    <a:pt x="624" y="1266"/>
                  </a:lnTo>
                  <a:lnTo>
                    <a:pt x="630" y="1254"/>
                  </a:lnTo>
                  <a:lnTo>
                    <a:pt x="636" y="1248"/>
                  </a:lnTo>
                  <a:lnTo>
                    <a:pt x="636" y="1200"/>
                  </a:lnTo>
                  <a:lnTo>
                    <a:pt x="642" y="1188"/>
                  </a:lnTo>
                  <a:lnTo>
                    <a:pt x="648" y="1182"/>
                  </a:lnTo>
                  <a:lnTo>
                    <a:pt x="654" y="1182"/>
                  </a:lnTo>
                  <a:lnTo>
                    <a:pt x="672" y="1200"/>
                  </a:lnTo>
                  <a:lnTo>
                    <a:pt x="696" y="1194"/>
                  </a:lnTo>
                  <a:lnTo>
                    <a:pt x="702" y="1188"/>
                  </a:lnTo>
                  <a:lnTo>
                    <a:pt x="792" y="1188"/>
                  </a:lnTo>
                  <a:lnTo>
                    <a:pt x="804" y="1194"/>
                  </a:lnTo>
                  <a:lnTo>
                    <a:pt x="810" y="1200"/>
                  </a:lnTo>
                  <a:lnTo>
                    <a:pt x="888" y="1200"/>
                  </a:lnTo>
                  <a:lnTo>
                    <a:pt x="894" y="1206"/>
                  </a:lnTo>
                  <a:lnTo>
                    <a:pt x="900" y="1218"/>
                  </a:lnTo>
                  <a:lnTo>
                    <a:pt x="912" y="1224"/>
                  </a:lnTo>
                  <a:lnTo>
                    <a:pt x="924" y="1224"/>
                  </a:lnTo>
                  <a:lnTo>
                    <a:pt x="930" y="1212"/>
                  </a:lnTo>
                  <a:lnTo>
                    <a:pt x="936" y="1206"/>
                  </a:lnTo>
                  <a:lnTo>
                    <a:pt x="936" y="1188"/>
                  </a:lnTo>
                  <a:lnTo>
                    <a:pt x="942" y="1176"/>
                  </a:lnTo>
                  <a:lnTo>
                    <a:pt x="948" y="1170"/>
                  </a:lnTo>
                  <a:lnTo>
                    <a:pt x="954" y="1158"/>
                  </a:lnTo>
                  <a:lnTo>
                    <a:pt x="966" y="1146"/>
                  </a:lnTo>
                  <a:lnTo>
                    <a:pt x="972" y="1134"/>
                  </a:lnTo>
                  <a:lnTo>
                    <a:pt x="990" y="1116"/>
                  </a:lnTo>
                  <a:lnTo>
                    <a:pt x="1020" y="1098"/>
                  </a:lnTo>
                  <a:lnTo>
                    <a:pt x="1050" y="1092"/>
                  </a:lnTo>
                  <a:lnTo>
                    <a:pt x="1068" y="1086"/>
                  </a:lnTo>
                  <a:lnTo>
                    <a:pt x="1092" y="1086"/>
                  </a:lnTo>
                  <a:lnTo>
                    <a:pt x="1140" y="1080"/>
                  </a:lnTo>
                  <a:lnTo>
                    <a:pt x="1188" y="1068"/>
                  </a:lnTo>
                  <a:lnTo>
                    <a:pt x="1230" y="1062"/>
                  </a:lnTo>
                  <a:lnTo>
                    <a:pt x="1248" y="1062"/>
                  </a:lnTo>
                  <a:lnTo>
                    <a:pt x="1452" y="990"/>
                  </a:lnTo>
                  <a:lnTo>
                    <a:pt x="1488" y="816"/>
                  </a:lnTo>
                  <a:lnTo>
                    <a:pt x="1482" y="810"/>
                  </a:lnTo>
                  <a:lnTo>
                    <a:pt x="1470" y="804"/>
                  </a:lnTo>
                  <a:lnTo>
                    <a:pt x="1464" y="798"/>
                  </a:lnTo>
                  <a:lnTo>
                    <a:pt x="1464" y="79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71" name="Sambia" descr="© INSCALE GmbH, 05.05.2010&#10;http://www.presentationload.com/">
              <a:extLst>
                <a:ext uri="{FF2B5EF4-FFF2-40B4-BE49-F238E27FC236}">
                  <a16:creationId xmlns:a16="http://schemas.microsoft.com/office/drawing/2014/main" id="{A72635D8-0EBB-4ADB-9B5D-883D58EDCCCB}"/>
                </a:ext>
              </a:extLst>
            </p:cNvPr>
            <p:cNvSpPr>
              <a:spLocks/>
            </p:cNvSpPr>
            <p:nvPr/>
          </p:nvSpPr>
          <p:spPr bwMode="gray">
            <a:xfrm>
              <a:off x="4748728" y="4512921"/>
              <a:ext cx="330852" cy="318309"/>
            </a:xfrm>
            <a:custGeom>
              <a:avLst/>
              <a:gdLst>
                <a:gd name="T0" fmla="*/ 2147483647 w 834"/>
                <a:gd name="T1" fmla="*/ 2147483647 h 798"/>
                <a:gd name="T2" fmla="*/ 2147483647 w 834"/>
                <a:gd name="T3" fmla="*/ 2147483647 h 798"/>
                <a:gd name="T4" fmla="*/ 2147483647 w 834"/>
                <a:gd name="T5" fmla="*/ 2147483647 h 798"/>
                <a:gd name="T6" fmla="*/ 2147483647 w 834"/>
                <a:gd name="T7" fmla="*/ 2147483647 h 798"/>
                <a:gd name="T8" fmla="*/ 2147483647 w 834"/>
                <a:gd name="T9" fmla="*/ 2147483647 h 798"/>
                <a:gd name="T10" fmla="*/ 2147483647 w 834"/>
                <a:gd name="T11" fmla="*/ 2147483647 h 798"/>
                <a:gd name="T12" fmla="*/ 2147483647 w 834"/>
                <a:gd name="T13" fmla="*/ 2147483647 h 798"/>
                <a:gd name="T14" fmla="*/ 2147483647 w 834"/>
                <a:gd name="T15" fmla="*/ 2147483647 h 798"/>
                <a:gd name="T16" fmla="*/ 2147483647 w 834"/>
                <a:gd name="T17" fmla="*/ 2147483647 h 798"/>
                <a:gd name="T18" fmla="*/ 2147483647 w 834"/>
                <a:gd name="T19" fmla="*/ 2147483647 h 798"/>
                <a:gd name="T20" fmla="*/ 2147483647 w 834"/>
                <a:gd name="T21" fmla="*/ 2147483647 h 798"/>
                <a:gd name="T22" fmla="*/ 2147483647 w 834"/>
                <a:gd name="T23" fmla="*/ 2147483647 h 798"/>
                <a:gd name="T24" fmla="*/ 2147483647 w 834"/>
                <a:gd name="T25" fmla="*/ 2147483647 h 798"/>
                <a:gd name="T26" fmla="*/ 2147483647 w 834"/>
                <a:gd name="T27" fmla="*/ 2147483647 h 798"/>
                <a:gd name="T28" fmla="*/ 2147483647 w 834"/>
                <a:gd name="T29" fmla="*/ 2147483647 h 798"/>
                <a:gd name="T30" fmla="*/ 2147483647 w 834"/>
                <a:gd name="T31" fmla="*/ 2147483647 h 798"/>
                <a:gd name="T32" fmla="*/ 2147483647 w 834"/>
                <a:gd name="T33" fmla="*/ 2147483647 h 798"/>
                <a:gd name="T34" fmla="*/ 2147483647 w 834"/>
                <a:gd name="T35" fmla="*/ 2147483647 h 798"/>
                <a:gd name="T36" fmla="*/ 2147483647 w 834"/>
                <a:gd name="T37" fmla="*/ 2147483647 h 798"/>
                <a:gd name="T38" fmla="*/ 2147483647 w 834"/>
                <a:gd name="T39" fmla="*/ 2147483647 h 798"/>
                <a:gd name="T40" fmla="*/ 2147483647 w 834"/>
                <a:gd name="T41" fmla="*/ 2147483647 h 798"/>
                <a:gd name="T42" fmla="*/ 2147483647 w 834"/>
                <a:gd name="T43" fmla="*/ 2147483647 h 798"/>
                <a:gd name="T44" fmla="*/ 2147483647 w 834"/>
                <a:gd name="T45" fmla="*/ 2147483647 h 798"/>
                <a:gd name="T46" fmla="*/ 2147483647 w 834"/>
                <a:gd name="T47" fmla="*/ 2147483647 h 798"/>
                <a:gd name="T48" fmla="*/ 2147483647 w 834"/>
                <a:gd name="T49" fmla="*/ 2147483647 h 798"/>
                <a:gd name="T50" fmla="*/ 2147483647 w 834"/>
                <a:gd name="T51" fmla="*/ 2147483647 h 798"/>
                <a:gd name="T52" fmla="*/ 2147483647 w 834"/>
                <a:gd name="T53" fmla="*/ 2147483647 h 798"/>
                <a:gd name="T54" fmla="*/ 2147483647 w 834"/>
                <a:gd name="T55" fmla="*/ 2147483647 h 798"/>
                <a:gd name="T56" fmla="*/ 2147483647 w 834"/>
                <a:gd name="T57" fmla="*/ 2147483647 h 798"/>
                <a:gd name="T58" fmla="*/ 2147483647 w 834"/>
                <a:gd name="T59" fmla="*/ 2147483647 h 798"/>
                <a:gd name="T60" fmla="*/ 2147483647 w 834"/>
                <a:gd name="T61" fmla="*/ 2147483647 h 798"/>
                <a:gd name="T62" fmla="*/ 2147483647 w 834"/>
                <a:gd name="T63" fmla="*/ 2147483647 h 798"/>
                <a:gd name="T64" fmla="*/ 2147483647 w 834"/>
                <a:gd name="T65" fmla="*/ 2147483647 h 798"/>
                <a:gd name="T66" fmla="*/ 2147483647 w 834"/>
                <a:gd name="T67" fmla="*/ 2147483647 h 798"/>
                <a:gd name="T68" fmla="*/ 2147483647 w 834"/>
                <a:gd name="T69" fmla="*/ 2147483647 h 798"/>
                <a:gd name="T70" fmla="*/ 2147483647 w 834"/>
                <a:gd name="T71" fmla="*/ 2147483647 h 798"/>
                <a:gd name="T72" fmla="*/ 2147483647 w 834"/>
                <a:gd name="T73" fmla="*/ 2147483647 h 798"/>
                <a:gd name="T74" fmla="*/ 2147483647 w 834"/>
                <a:gd name="T75" fmla="*/ 2147483647 h 798"/>
                <a:gd name="T76" fmla="*/ 2147483647 w 834"/>
                <a:gd name="T77" fmla="*/ 2147483647 h 798"/>
                <a:gd name="T78" fmla="*/ 2147483647 w 834"/>
                <a:gd name="T79" fmla="*/ 2147483647 h 798"/>
                <a:gd name="T80" fmla="*/ 2147483647 w 834"/>
                <a:gd name="T81" fmla="*/ 2147483647 h 798"/>
                <a:gd name="T82" fmla="*/ 2147483647 w 834"/>
                <a:gd name="T83" fmla="*/ 2147483647 h 798"/>
                <a:gd name="T84" fmla="*/ 2147483647 w 834"/>
                <a:gd name="T85" fmla="*/ 2147483647 h 798"/>
                <a:gd name="T86" fmla="*/ 2147483647 w 834"/>
                <a:gd name="T87" fmla="*/ 2147483647 h 798"/>
                <a:gd name="T88" fmla="*/ 2147483647 w 834"/>
                <a:gd name="T89" fmla="*/ 2147483647 h 798"/>
                <a:gd name="T90" fmla="*/ 2147483647 w 834"/>
                <a:gd name="T91" fmla="*/ 2147483647 h 798"/>
                <a:gd name="T92" fmla="*/ 2147483647 w 834"/>
                <a:gd name="T93" fmla="*/ 2147483647 h 798"/>
                <a:gd name="T94" fmla="*/ 2147483647 w 834"/>
                <a:gd name="T95" fmla="*/ 2147483647 h 798"/>
                <a:gd name="T96" fmla="*/ 2147483647 w 834"/>
                <a:gd name="T97" fmla="*/ 2147483647 h 798"/>
                <a:gd name="T98" fmla="*/ 2147483647 w 834"/>
                <a:gd name="T99" fmla="*/ 2147483647 h 798"/>
                <a:gd name="T100" fmla="*/ 2147483647 w 834"/>
                <a:gd name="T101" fmla="*/ 2147483647 h 798"/>
                <a:gd name="T102" fmla="*/ 2147483647 w 834"/>
                <a:gd name="T103" fmla="*/ 2147483647 h 79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34"/>
                <a:gd name="T157" fmla="*/ 0 h 798"/>
                <a:gd name="T158" fmla="*/ 834 w 834"/>
                <a:gd name="T159" fmla="*/ 798 h 79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34" h="798">
                  <a:moveTo>
                    <a:pt x="822" y="186"/>
                  </a:moveTo>
                  <a:lnTo>
                    <a:pt x="822" y="162"/>
                  </a:lnTo>
                  <a:lnTo>
                    <a:pt x="816" y="168"/>
                  </a:lnTo>
                  <a:lnTo>
                    <a:pt x="810" y="168"/>
                  </a:lnTo>
                  <a:lnTo>
                    <a:pt x="810" y="126"/>
                  </a:lnTo>
                  <a:lnTo>
                    <a:pt x="798" y="114"/>
                  </a:lnTo>
                  <a:lnTo>
                    <a:pt x="786" y="114"/>
                  </a:lnTo>
                  <a:lnTo>
                    <a:pt x="786" y="102"/>
                  </a:lnTo>
                  <a:lnTo>
                    <a:pt x="768" y="90"/>
                  </a:lnTo>
                  <a:lnTo>
                    <a:pt x="750" y="90"/>
                  </a:lnTo>
                  <a:lnTo>
                    <a:pt x="750" y="72"/>
                  </a:lnTo>
                  <a:lnTo>
                    <a:pt x="738" y="78"/>
                  </a:lnTo>
                  <a:lnTo>
                    <a:pt x="726" y="78"/>
                  </a:lnTo>
                  <a:lnTo>
                    <a:pt x="708" y="60"/>
                  </a:lnTo>
                  <a:lnTo>
                    <a:pt x="690" y="60"/>
                  </a:lnTo>
                  <a:lnTo>
                    <a:pt x="684" y="54"/>
                  </a:lnTo>
                  <a:lnTo>
                    <a:pt x="684" y="36"/>
                  </a:lnTo>
                  <a:lnTo>
                    <a:pt x="672" y="42"/>
                  </a:lnTo>
                  <a:lnTo>
                    <a:pt x="654" y="42"/>
                  </a:lnTo>
                  <a:lnTo>
                    <a:pt x="648" y="54"/>
                  </a:lnTo>
                  <a:lnTo>
                    <a:pt x="642" y="60"/>
                  </a:lnTo>
                  <a:lnTo>
                    <a:pt x="636" y="60"/>
                  </a:lnTo>
                  <a:lnTo>
                    <a:pt x="624" y="48"/>
                  </a:lnTo>
                  <a:lnTo>
                    <a:pt x="624" y="36"/>
                  </a:lnTo>
                  <a:lnTo>
                    <a:pt x="618" y="30"/>
                  </a:lnTo>
                  <a:lnTo>
                    <a:pt x="606" y="30"/>
                  </a:lnTo>
                  <a:lnTo>
                    <a:pt x="600" y="24"/>
                  </a:lnTo>
                  <a:lnTo>
                    <a:pt x="594" y="24"/>
                  </a:lnTo>
                  <a:lnTo>
                    <a:pt x="594" y="6"/>
                  </a:lnTo>
                  <a:lnTo>
                    <a:pt x="600" y="0"/>
                  </a:lnTo>
                  <a:lnTo>
                    <a:pt x="576" y="12"/>
                  </a:lnTo>
                  <a:lnTo>
                    <a:pt x="558" y="12"/>
                  </a:lnTo>
                  <a:lnTo>
                    <a:pt x="546" y="18"/>
                  </a:lnTo>
                  <a:lnTo>
                    <a:pt x="528" y="18"/>
                  </a:lnTo>
                  <a:lnTo>
                    <a:pt x="510" y="24"/>
                  </a:lnTo>
                  <a:lnTo>
                    <a:pt x="498" y="24"/>
                  </a:lnTo>
                  <a:lnTo>
                    <a:pt x="498" y="54"/>
                  </a:lnTo>
                  <a:lnTo>
                    <a:pt x="480" y="72"/>
                  </a:lnTo>
                  <a:lnTo>
                    <a:pt x="468" y="78"/>
                  </a:lnTo>
                  <a:lnTo>
                    <a:pt x="462" y="84"/>
                  </a:lnTo>
                  <a:lnTo>
                    <a:pt x="456" y="84"/>
                  </a:lnTo>
                  <a:lnTo>
                    <a:pt x="468" y="96"/>
                  </a:lnTo>
                  <a:lnTo>
                    <a:pt x="468" y="102"/>
                  </a:lnTo>
                  <a:lnTo>
                    <a:pt x="474" y="108"/>
                  </a:lnTo>
                  <a:lnTo>
                    <a:pt x="474" y="114"/>
                  </a:lnTo>
                  <a:lnTo>
                    <a:pt x="480" y="120"/>
                  </a:lnTo>
                  <a:lnTo>
                    <a:pt x="480" y="144"/>
                  </a:lnTo>
                  <a:lnTo>
                    <a:pt x="486" y="162"/>
                  </a:lnTo>
                  <a:lnTo>
                    <a:pt x="486" y="216"/>
                  </a:lnTo>
                  <a:lnTo>
                    <a:pt x="474" y="228"/>
                  </a:lnTo>
                  <a:lnTo>
                    <a:pt x="468" y="240"/>
                  </a:lnTo>
                  <a:lnTo>
                    <a:pt x="462" y="258"/>
                  </a:lnTo>
                  <a:lnTo>
                    <a:pt x="456" y="270"/>
                  </a:lnTo>
                  <a:lnTo>
                    <a:pt x="456" y="294"/>
                  </a:lnTo>
                  <a:lnTo>
                    <a:pt x="468" y="306"/>
                  </a:lnTo>
                  <a:lnTo>
                    <a:pt x="474" y="306"/>
                  </a:lnTo>
                  <a:lnTo>
                    <a:pt x="474" y="312"/>
                  </a:lnTo>
                  <a:lnTo>
                    <a:pt x="480" y="312"/>
                  </a:lnTo>
                  <a:lnTo>
                    <a:pt x="510" y="342"/>
                  </a:lnTo>
                  <a:lnTo>
                    <a:pt x="522" y="348"/>
                  </a:lnTo>
                  <a:lnTo>
                    <a:pt x="528" y="348"/>
                  </a:lnTo>
                  <a:lnTo>
                    <a:pt x="534" y="342"/>
                  </a:lnTo>
                  <a:lnTo>
                    <a:pt x="534" y="324"/>
                  </a:lnTo>
                  <a:lnTo>
                    <a:pt x="558" y="324"/>
                  </a:lnTo>
                  <a:lnTo>
                    <a:pt x="558" y="372"/>
                  </a:lnTo>
                  <a:lnTo>
                    <a:pt x="552" y="408"/>
                  </a:lnTo>
                  <a:lnTo>
                    <a:pt x="546" y="426"/>
                  </a:lnTo>
                  <a:lnTo>
                    <a:pt x="540" y="426"/>
                  </a:lnTo>
                  <a:lnTo>
                    <a:pt x="540" y="420"/>
                  </a:lnTo>
                  <a:lnTo>
                    <a:pt x="534" y="408"/>
                  </a:lnTo>
                  <a:lnTo>
                    <a:pt x="516" y="420"/>
                  </a:lnTo>
                  <a:lnTo>
                    <a:pt x="498" y="420"/>
                  </a:lnTo>
                  <a:lnTo>
                    <a:pt x="498" y="408"/>
                  </a:lnTo>
                  <a:lnTo>
                    <a:pt x="492" y="396"/>
                  </a:lnTo>
                  <a:lnTo>
                    <a:pt x="492" y="384"/>
                  </a:lnTo>
                  <a:lnTo>
                    <a:pt x="480" y="372"/>
                  </a:lnTo>
                  <a:lnTo>
                    <a:pt x="468" y="372"/>
                  </a:lnTo>
                  <a:lnTo>
                    <a:pt x="462" y="360"/>
                  </a:lnTo>
                  <a:lnTo>
                    <a:pt x="462" y="354"/>
                  </a:lnTo>
                  <a:lnTo>
                    <a:pt x="456" y="342"/>
                  </a:lnTo>
                  <a:lnTo>
                    <a:pt x="450" y="336"/>
                  </a:lnTo>
                  <a:lnTo>
                    <a:pt x="444" y="336"/>
                  </a:lnTo>
                  <a:lnTo>
                    <a:pt x="438" y="342"/>
                  </a:lnTo>
                  <a:lnTo>
                    <a:pt x="426" y="342"/>
                  </a:lnTo>
                  <a:lnTo>
                    <a:pt x="426" y="330"/>
                  </a:lnTo>
                  <a:lnTo>
                    <a:pt x="420" y="324"/>
                  </a:lnTo>
                  <a:lnTo>
                    <a:pt x="390" y="324"/>
                  </a:lnTo>
                  <a:lnTo>
                    <a:pt x="390" y="312"/>
                  </a:lnTo>
                  <a:lnTo>
                    <a:pt x="396" y="312"/>
                  </a:lnTo>
                  <a:lnTo>
                    <a:pt x="396" y="300"/>
                  </a:lnTo>
                  <a:lnTo>
                    <a:pt x="384" y="300"/>
                  </a:lnTo>
                  <a:lnTo>
                    <a:pt x="378" y="294"/>
                  </a:lnTo>
                  <a:lnTo>
                    <a:pt x="378" y="282"/>
                  </a:lnTo>
                  <a:lnTo>
                    <a:pt x="366" y="270"/>
                  </a:lnTo>
                  <a:lnTo>
                    <a:pt x="360" y="270"/>
                  </a:lnTo>
                  <a:lnTo>
                    <a:pt x="354" y="276"/>
                  </a:lnTo>
                  <a:lnTo>
                    <a:pt x="354" y="294"/>
                  </a:lnTo>
                  <a:lnTo>
                    <a:pt x="348" y="300"/>
                  </a:lnTo>
                  <a:lnTo>
                    <a:pt x="348" y="306"/>
                  </a:lnTo>
                  <a:lnTo>
                    <a:pt x="330" y="306"/>
                  </a:lnTo>
                  <a:lnTo>
                    <a:pt x="300" y="300"/>
                  </a:lnTo>
                  <a:lnTo>
                    <a:pt x="264" y="294"/>
                  </a:lnTo>
                  <a:lnTo>
                    <a:pt x="246" y="282"/>
                  </a:lnTo>
                  <a:lnTo>
                    <a:pt x="240" y="276"/>
                  </a:lnTo>
                  <a:lnTo>
                    <a:pt x="234" y="264"/>
                  </a:lnTo>
                  <a:lnTo>
                    <a:pt x="234" y="246"/>
                  </a:lnTo>
                  <a:lnTo>
                    <a:pt x="192" y="252"/>
                  </a:lnTo>
                  <a:lnTo>
                    <a:pt x="198" y="258"/>
                  </a:lnTo>
                  <a:lnTo>
                    <a:pt x="198" y="264"/>
                  </a:lnTo>
                  <a:lnTo>
                    <a:pt x="180" y="264"/>
                  </a:lnTo>
                  <a:lnTo>
                    <a:pt x="174" y="258"/>
                  </a:lnTo>
                  <a:lnTo>
                    <a:pt x="174" y="228"/>
                  </a:lnTo>
                  <a:lnTo>
                    <a:pt x="156" y="228"/>
                  </a:lnTo>
                  <a:lnTo>
                    <a:pt x="150" y="216"/>
                  </a:lnTo>
                  <a:lnTo>
                    <a:pt x="144" y="234"/>
                  </a:lnTo>
                  <a:lnTo>
                    <a:pt x="144" y="240"/>
                  </a:lnTo>
                  <a:lnTo>
                    <a:pt x="156" y="252"/>
                  </a:lnTo>
                  <a:lnTo>
                    <a:pt x="156" y="270"/>
                  </a:lnTo>
                  <a:lnTo>
                    <a:pt x="150" y="276"/>
                  </a:lnTo>
                  <a:lnTo>
                    <a:pt x="144" y="276"/>
                  </a:lnTo>
                  <a:lnTo>
                    <a:pt x="144" y="330"/>
                  </a:lnTo>
                  <a:lnTo>
                    <a:pt x="156" y="342"/>
                  </a:lnTo>
                  <a:lnTo>
                    <a:pt x="138" y="348"/>
                  </a:lnTo>
                  <a:lnTo>
                    <a:pt x="138" y="354"/>
                  </a:lnTo>
                  <a:lnTo>
                    <a:pt x="144" y="360"/>
                  </a:lnTo>
                  <a:lnTo>
                    <a:pt x="144" y="384"/>
                  </a:lnTo>
                  <a:lnTo>
                    <a:pt x="132" y="396"/>
                  </a:lnTo>
                  <a:lnTo>
                    <a:pt x="126" y="396"/>
                  </a:lnTo>
                  <a:lnTo>
                    <a:pt x="0" y="390"/>
                  </a:lnTo>
                  <a:lnTo>
                    <a:pt x="0" y="642"/>
                  </a:lnTo>
                  <a:lnTo>
                    <a:pt x="6" y="654"/>
                  </a:lnTo>
                  <a:lnTo>
                    <a:pt x="6" y="672"/>
                  </a:lnTo>
                  <a:lnTo>
                    <a:pt x="96" y="762"/>
                  </a:lnTo>
                  <a:lnTo>
                    <a:pt x="114" y="768"/>
                  </a:lnTo>
                  <a:lnTo>
                    <a:pt x="138" y="756"/>
                  </a:lnTo>
                  <a:lnTo>
                    <a:pt x="144" y="756"/>
                  </a:lnTo>
                  <a:lnTo>
                    <a:pt x="150" y="750"/>
                  </a:lnTo>
                  <a:lnTo>
                    <a:pt x="168" y="750"/>
                  </a:lnTo>
                  <a:lnTo>
                    <a:pt x="174" y="756"/>
                  </a:lnTo>
                  <a:lnTo>
                    <a:pt x="174" y="762"/>
                  </a:lnTo>
                  <a:lnTo>
                    <a:pt x="204" y="756"/>
                  </a:lnTo>
                  <a:lnTo>
                    <a:pt x="222" y="774"/>
                  </a:lnTo>
                  <a:lnTo>
                    <a:pt x="264" y="774"/>
                  </a:lnTo>
                  <a:lnTo>
                    <a:pt x="264" y="780"/>
                  </a:lnTo>
                  <a:lnTo>
                    <a:pt x="276" y="792"/>
                  </a:lnTo>
                  <a:lnTo>
                    <a:pt x="288" y="792"/>
                  </a:lnTo>
                  <a:lnTo>
                    <a:pt x="288" y="780"/>
                  </a:lnTo>
                  <a:lnTo>
                    <a:pt x="300" y="780"/>
                  </a:lnTo>
                  <a:lnTo>
                    <a:pt x="312" y="792"/>
                  </a:lnTo>
                  <a:lnTo>
                    <a:pt x="312" y="798"/>
                  </a:lnTo>
                  <a:lnTo>
                    <a:pt x="330" y="798"/>
                  </a:lnTo>
                  <a:lnTo>
                    <a:pt x="354" y="786"/>
                  </a:lnTo>
                  <a:lnTo>
                    <a:pt x="384" y="756"/>
                  </a:lnTo>
                  <a:lnTo>
                    <a:pt x="390" y="744"/>
                  </a:lnTo>
                  <a:lnTo>
                    <a:pt x="396" y="738"/>
                  </a:lnTo>
                  <a:lnTo>
                    <a:pt x="396" y="732"/>
                  </a:lnTo>
                  <a:lnTo>
                    <a:pt x="402" y="726"/>
                  </a:lnTo>
                  <a:lnTo>
                    <a:pt x="414" y="702"/>
                  </a:lnTo>
                  <a:lnTo>
                    <a:pt x="420" y="696"/>
                  </a:lnTo>
                  <a:lnTo>
                    <a:pt x="432" y="690"/>
                  </a:lnTo>
                  <a:lnTo>
                    <a:pt x="450" y="684"/>
                  </a:lnTo>
                  <a:lnTo>
                    <a:pt x="462" y="678"/>
                  </a:lnTo>
                  <a:lnTo>
                    <a:pt x="474" y="678"/>
                  </a:lnTo>
                  <a:lnTo>
                    <a:pt x="480" y="672"/>
                  </a:lnTo>
                  <a:lnTo>
                    <a:pt x="480" y="636"/>
                  </a:lnTo>
                  <a:lnTo>
                    <a:pt x="504" y="624"/>
                  </a:lnTo>
                  <a:lnTo>
                    <a:pt x="516" y="612"/>
                  </a:lnTo>
                  <a:lnTo>
                    <a:pt x="552" y="600"/>
                  </a:lnTo>
                  <a:lnTo>
                    <a:pt x="588" y="600"/>
                  </a:lnTo>
                  <a:lnTo>
                    <a:pt x="588" y="576"/>
                  </a:lnTo>
                  <a:lnTo>
                    <a:pt x="570" y="558"/>
                  </a:lnTo>
                  <a:lnTo>
                    <a:pt x="582" y="546"/>
                  </a:lnTo>
                  <a:lnTo>
                    <a:pt x="612" y="546"/>
                  </a:lnTo>
                  <a:lnTo>
                    <a:pt x="630" y="528"/>
                  </a:lnTo>
                  <a:lnTo>
                    <a:pt x="642" y="528"/>
                  </a:lnTo>
                  <a:lnTo>
                    <a:pt x="654" y="522"/>
                  </a:lnTo>
                  <a:lnTo>
                    <a:pt x="672" y="522"/>
                  </a:lnTo>
                  <a:lnTo>
                    <a:pt x="690" y="516"/>
                  </a:lnTo>
                  <a:lnTo>
                    <a:pt x="702" y="510"/>
                  </a:lnTo>
                  <a:lnTo>
                    <a:pt x="708" y="510"/>
                  </a:lnTo>
                  <a:lnTo>
                    <a:pt x="732" y="498"/>
                  </a:lnTo>
                  <a:lnTo>
                    <a:pt x="750" y="486"/>
                  </a:lnTo>
                  <a:lnTo>
                    <a:pt x="762" y="480"/>
                  </a:lnTo>
                  <a:lnTo>
                    <a:pt x="780" y="474"/>
                  </a:lnTo>
                  <a:lnTo>
                    <a:pt x="786" y="468"/>
                  </a:lnTo>
                  <a:lnTo>
                    <a:pt x="792" y="468"/>
                  </a:lnTo>
                  <a:lnTo>
                    <a:pt x="780" y="462"/>
                  </a:lnTo>
                  <a:lnTo>
                    <a:pt x="768" y="450"/>
                  </a:lnTo>
                  <a:lnTo>
                    <a:pt x="756" y="444"/>
                  </a:lnTo>
                  <a:lnTo>
                    <a:pt x="756" y="438"/>
                  </a:lnTo>
                  <a:lnTo>
                    <a:pt x="762" y="432"/>
                  </a:lnTo>
                  <a:lnTo>
                    <a:pt x="768" y="420"/>
                  </a:lnTo>
                  <a:lnTo>
                    <a:pt x="774" y="414"/>
                  </a:lnTo>
                  <a:lnTo>
                    <a:pt x="780" y="402"/>
                  </a:lnTo>
                  <a:lnTo>
                    <a:pt x="774" y="366"/>
                  </a:lnTo>
                  <a:lnTo>
                    <a:pt x="780" y="366"/>
                  </a:lnTo>
                  <a:lnTo>
                    <a:pt x="786" y="360"/>
                  </a:lnTo>
                  <a:lnTo>
                    <a:pt x="798" y="354"/>
                  </a:lnTo>
                  <a:lnTo>
                    <a:pt x="816" y="336"/>
                  </a:lnTo>
                  <a:lnTo>
                    <a:pt x="816" y="330"/>
                  </a:lnTo>
                  <a:lnTo>
                    <a:pt x="804" y="330"/>
                  </a:lnTo>
                  <a:lnTo>
                    <a:pt x="804" y="258"/>
                  </a:lnTo>
                  <a:lnTo>
                    <a:pt x="810" y="240"/>
                  </a:lnTo>
                  <a:lnTo>
                    <a:pt x="798" y="234"/>
                  </a:lnTo>
                  <a:lnTo>
                    <a:pt x="798" y="216"/>
                  </a:lnTo>
                  <a:lnTo>
                    <a:pt x="804" y="216"/>
                  </a:lnTo>
                  <a:lnTo>
                    <a:pt x="810" y="210"/>
                  </a:lnTo>
                  <a:lnTo>
                    <a:pt x="834" y="198"/>
                  </a:lnTo>
                  <a:lnTo>
                    <a:pt x="834" y="186"/>
                  </a:lnTo>
                  <a:lnTo>
                    <a:pt x="822" y="186"/>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72" name="Rumänien" descr="© INSCALE GmbH, 05.05.2010&#10;http://www.presentationload.com/">
              <a:extLst>
                <a:ext uri="{FF2B5EF4-FFF2-40B4-BE49-F238E27FC236}">
                  <a16:creationId xmlns:a16="http://schemas.microsoft.com/office/drawing/2014/main" id="{D3759B5A-1FE6-4FC0-A746-70A7470D2DB1}"/>
                </a:ext>
              </a:extLst>
            </p:cNvPr>
            <p:cNvSpPr>
              <a:spLocks/>
            </p:cNvSpPr>
            <p:nvPr/>
          </p:nvSpPr>
          <p:spPr bwMode="gray">
            <a:xfrm>
              <a:off x="4668759" y="2711263"/>
              <a:ext cx="244612" cy="145827"/>
            </a:xfrm>
            <a:custGeom>
              <a:avLst/>
              <a:gdLst>
                <a:gd name="T0" fmla="*/ 2147483647 w 612"/>
                <a:gd name="T1" fmla="*/ 2147483647 h 366"/>
                <a:gd name="T2" fmla="*/ 2147483647 w 612"/>
                <a:gd name="T3" fmla="*/ 2147483647 h 366"/>
                <a:gd name="T4" fmla="*/ 2147483647 w 612"/>
                <a:gd name="T5" fmla="*/ 2147483647 h 366"/>
                <a:gd name="T6" fmla="*/ 2147483647 w 612"/>
                <a:gd name="T7" fmla="*/ 2147483647 h 366"/>
                <a:gd name="T8" fmla="*/ 2147483647 w 612"/>
                <a:gd name="T9" fmla="*/ 2147483647 h 366"/>
                <a:gd name="T10" fmla="*/ 2147483647 w 612"/>
                <a:gd name="T11" fmla="*/ 2147483647 h 366"/>
                <a:gd name="T12" fmla="*/ 2147483647 w 612"/>
                <a:gd name="T13" fmla="*/ 2147483647 h 366"/>
                <a:gd name="T14" fmla="*/ 2147483647 w 612"/>
                <a:gd name="T15" fmla="*/ 2147483647 h 366"/>
                <a:gd name="T16" fmla="*/ 2147483647 w 612"/>
                <a:gd name="T17" fmla="*/ 2147483647 h 366"/>
                <a:gd name="T18" fmla="*/ 2147483647 w 612"/>
                <a:gd name="T19" fmla="*/ 2147483647 h 366"/>
                <a:gd name="T20" fmla="*/ 2147483647 w 612"/>
                <a:gd name="T21" fmla="*/ 2147483647 h 366"/>
                <a:gd name="T22" fmla="*/ 2147483647 w 612"/>
                <a:gd name="T23" fmla="*/ 2147483647 h 366"/>
                <a:gd name="T24" fmla="*/ 2147483647 w 612"/>
                <a:gd name="T25" fmla="*/ 2147483647 h 366"/>
                <a:gd name="T26" fmla="*/ 2147483647 w 612"/>
                <a:gd name="T27" fmla="*/ 0 h 366"/>
                <a:gd name="T28" fmla="*/ 2147483647 w 612"/>
                <a:gd name="T29" fmla="*/ 2147483647 h 366"/>
                <a:gd name="T30" fmla="*/ 2147483647 w 612"/>
                <a:gd name="T31" fmla="*/ 2147483647 h 366"/>
                <a:gd name="T32" fmla="*/ 2147483647 w 612"/>
                <a:gd name="T33" fmla="*/ 2147483647 h 366"/>
                <a:gd name="T34" fmla="*/ 2147483647 w 612"/>
                <a:gd name="T35" fmla="*/ 2147483647 h 366"/>
                <a:gd name="T36" fmla="*/ 2147483647 w 612"/>
                <a:gd name="T37" fmla="*/ 2147483647 h 366"/>
                <a:gd name="T38" fmla="*/ 2147483647 w 612"/>
                <a:gd name="T39" fmla="*/ 2147483647 h 366"/>
                <a:gd name="T40" fmla="*/ 2147483647 w 612"/>
                <a:gd name="T41" fmla="*/ 2147483647 h 366"/>
                <a:gd name="T42" fmla="*/ 2147483647 w 612"/>
                <a:gd name="T43" fmla="*/ 2147483647 h 366"/>
                <a:gd name="T44" fmla="*/ 2147483647 w 612"/>
                <a:gd name="T45" fmla="*/ 2147483647 h 366"/>
                <a:gd name="T46" fmla="*/ 2147483647 w 612"/>
                <a:gd name="T47" fmla="*/ 2147483647 h 366"/>
                <a:gd name="T48" fmla="*/ 0 w 612"/>
                <a:gd name="T49" fmla="*/ 2147483647 h 366"/>
                <a:gd name="T50" fmla="*/ 2147483647 w 612"/>
                <a:gd name="T51" fmla="*/ 2147483647 h 366"/>
                <a:gd name="T52" fmla="*/ 2147483647 w 612"/>
                <a:gd name="T53" fmla="*/ 2147483647 h 366"/>
                <a:gd name="T54" fmla="*/ 2147483647 w 612"/>
                <a:gd name="T55" fmla="*/ 2147483647 h 366"/>
                <a:gd name="T56" fmla="*/ 2147483647 w 612"/>
                <a:gd name="T57" fmla="*/ 2147483647 h 366"/>
                <a:gd name="T58" fmla="*/ 2147483647 w 612"/>
                <a:gd name="T59" fmla="*/ 2147483647 h 366"/>
                <a:gd name="T60" fmla="*/ 2147483647 w 612"/>
                <a:gd name="T61" fmla="*/ 2147483647 h 366"/>
                <a:gd name="T62" fmla="*/ 2147483647 w 612"/>
                <a:gd name="T63" fmla="*/ 2147483647 h 366"/>
                <a:gd name="T64" fmla="*/ 2147483647 w 612"/>
                <a:gd name="T65" fmla="*/ 2147483647 h 366"/>
                <a:gd name="T66" fmla="*/ 2147483647 w 612"/>
                <a:gd name="T67" fmla="*/ 2147483647 h 366"/>
                <a:gd name="T68" fmla="*/ 2147483647 w 612"/>
                <a:gd name="T69" fmla="*/ 2147483647 h 366"/>
                <a:gd name="T70" fmla="*/ 2147483647 w 612"/>
                <a:gd name="T71" fmla="*/ 2147483647 h 366"/>
                <a:gd name="T72" fmla="*/ 2147483647 w 612"/>
                <a:gd name="T73" fmla="*/ 2147483647 h 366"/>
                <a:gd name="T74" fmla="*/ 2147483647 w 612"/>
                <a:gd name="T75" fmla="*/ 2147483647 h 366"/>
                <a:gd name="T76" fmla="*/ 2147483647 w 612"/>
                <a:gd name="T77" fmla="*/ 2147483647 h 366"/>
                <a:gd name="T78" fmla="*/ 2147483647 w 612"/>
                <a:gd name="T79" fmla="*/ 2147483647 h 366"/>
                <a:gd name="T80" fmla="*/ 2147483647 w 612"/>
                <a:gd name="T81" fmla="*/ 2147483647 h 366"/>
                <a:gd name="T82" fmla="*/ 2147483647 w 612"/>
                <a:gd name="T83" fmla="*/ 2147483647 h 366"/>
                <a:gd name="T84" fmla="*/ 2147483647 w 612"/>
                <a:gd name="T85" fmla="*/ 2147483647 h 3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2"/>
                <a:gd name="T130" fmla="*/ 0 h 366"/>
                <a:gd name="T131" fmla="*/ 612 w 612"/>
                <a:gd name="T132" fmla="*/ 366 h 3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2" h="366">
                  <a:moveTo>
                    <a:pt x="516" y="354"/>
                  </a:moveTo>
                  <a:lnTo>
                    <a:pt x="522" y="360"/>
                  </a:lnTo>
                  <a:lnTo>
                    <a:pt x="540" y="360"/>
                  </a:lnTo>
                  <a:lnTo>
                    <a:pt x="540" y="318"/>
                  </a:lnTo>
                  <a:lnTo>
                    <a:pt x="546" y="312"/>
                  </a:lnTo>
                  <a:lnTo>
                    <a:pt x="558" y="294"/>
                  </a:lnTo>
                  <a:lnTo>
                    <a:pt x="564" y="282"/>
                  </a:lnTo>
                  <a:lnTo>
                    <a:pt x="570" y="276"/>
                  </a:lnTo>
                  <a:lnTo>
                    <a:pt x="606" y="276"/>
                  </a:lnTo>
                  <a:lnTo>
                    <a:pt x="612" y="270"/>
                  </a:lnTo>
                  <a:lnTo>
                    <a:pt x="612" y="258"/>
                  </a:lnTo>
                  <a:lnTo>
                    <a:pt x="600" y="222"/>
                  </a:lnTo>
                  <a:lnTo>
                    <a:pt x="600" y="216"/>
                  </a:lnTo>
                  <a:lnTo>
                    <a:pt x="594" y="216"/>
                  </a:lnTo>
                  <a:lnTo>
                    <a:pt x="588" y="222"/>
                  </a:lnTo>
                  <a:lnTo>
                    <a:pt x="570" y="222"/>
                  </a:lnTo>
                  <a:lnTo>
                    <a:pt x="564" y="228"/>
                  </a:lnTo>
                  <a:lnTo>
                    <a:pt x="558" y="228"/>
                  </a:lnTo>
                  <a:lnTo>
                    <a:pt x="552" y="234"/>
                  </a:lnTo>
                  <a:lnTo>
                    <a:pt x="522" y="234"/>
                  </a:lnTo>
                  <a:lnTo>
                    <a:pt x="510" y="222"/>
                  </a:lnTo>
                  <a:lnTo>
                    <a:pt x="510" y="198"/>
                  </a:lnTo>
                  <a:lnTo>
                    <a:pt x="504" y="192"/>
                  </a:lnTo>
                  <a:lnTo>
                    <a:pt x="498" y="180"/>
                  </a:lnTo>
                  <a:lnTo>
                    <a:pt x="498" y="168"/>
                  </a:lnTo>
                  <a:lnTo>
                    <a:pt x="504" y="162"/>
                  </a:lnTo>
                  <a:lnTo>
                    <a:pt x="504" y="150"/>
                  </a:lnTo>
                  <a:lnTo>
                    <a:pt x="510" y="144"/>
                  </a:lnTo>
                  <a:lnTo>
                    <a:pt x="504" y="144"/>
                  </a:lnTo>
                  <a:lnTo>
                    <a:pt x="504" y="102"/>
                  </a:lnTo>
                  <a:lnTo>
                    <a:pt x="498" y="96"/>
                  </a:lnTo>
                  <a:lnTo>
                    <a:pt x="480" y="96"/>
                  </a:lnTo>
                  <a:lnTo>
                    <a:pt x="474" y="78"/>
                  </a:lnTo>
                  <a:lnTo>
                    <a:pt x="462" y="78"/>
                  </a:lnTo>
                  <a:lnTo>
                    <a:pt x="456" y="54"/>
                  </a:lnTo>
                  <a:lnTo>
                    <a:pt x="432" y="42"/>
                  </a:lnTo>
                  <a:lnTo>
                    <a:pt x="432" y="30"/>
                  </a:lnTo>
                  <a:lnTo>
                    <a:pt x="426" y="24"/>
                  </a:lnTo>
                  <a:lnTo>
                    <a:pt x="420" y="12"/>
                  </a:lnTo>
                  <a:lnTo>
                    <a:pt x="414" y="6"/>
                  </a:lnTo>
                  <a:lnTo>
                    <a:pt x="396" y="0"/>
                  </a:lnTo>
                  <a:lnTo>
                    <a:pt x="384" y="0"/>
                  </a:lnTo>
                  <a:lnTo>
                    <a:pt x="378" y="6"/>
                  </a:lnTo>
                  <a:lnTo>
                    <a:pt x="378" y="12"/>
                  </a:lnTo>
                  <a:lnTo>
                    <a:pt x="366" y="24"/>
                  </a:lnTo>
                  <a:lnTo>
                    <a:pt x="348" y="24"/>
                  </a:lnTo>
                  <a:lnTo>
                    <a:pt x="342" y="18"/>
                  </a:lnTo>
                  <a:lnTo>
                    <a:pt x="336" y="30"/>
                  </a:lnTo>
                  <a:lnTo>
                    <a:pt x="312" y="24"/>
                  </a:lnTo>
                  <a:lnTo>
                    <a:pt x="312" y="30"/>
                  </a:lnTo>
                  <a:lnTo>
                    <a:pt x="300" y="42"/>
                  </a:lnTo>
                  <a:lnTo>
                    <a:pt x="288" y="42"/>
                  </a:lnTo>
                  <a:lnTo>
                    <a:pt x="264" y="18"/>
                  </a:lnTo>
                  <a:lnTo>
                    <a:pt x="258" y="18"/>
                  </a:lnTo>
                  <a:lnTo>
                    <a:pt x="246" y="24"/>
                  </a:lnTo>
                  <a:lnTo>
                    <a:pt x="240" y="24"/>
                  </a:lnTo>
                  <a:lnTo>
                    <a:pt x="228" y="30"/>
                  </a:lnTo>
                  <a:lnTo>
                    <a:pt x="222" y="24"/>
                  </a:lnTo>
                  <a:lnTo>
                    <a:pt x="198" y="24"/>
                  </a:lnTo>
                  <a:lnTo>
                    <a:pt x="192" y="18"/>
                  </a:lnTo>
                  <a:lnTo>
                    <a:pt x="168" y="18"/>
                  </a:lnTo>
                  <a:lnTo>
                    <a:pt x="150" y="36"/>
                  </a:lnTo>
                  <a:lnTo>
                    <a:pt x="120" y="36"/>
                  </a:lnTo>
                  <a:lnTo>
                    <a:pt x="108" y="48"/>
                  </a:lnTo>
                  <a:lnTo>
                    <a:pt x="108" y="90"/>
                  </a:lnTo>
                  <a:lnTo>
                    <a:pt x="90" y="108"/>
                  </a:lnTo>
                  <a:lnTo>
                    <a:pt x="78" y="114"/>
                  </a:lnTo>
                  <a:lnTo>
                    <a:pt x="72" y="120"/>
                  </a:lnTo>
                  <a:lnTo>
                    <a:pt x="72" y="138"/>
                  </a:lnTo>
                  <a:lnTo>
                    <a:pt x="66" y="144"/>
                  </a:lnTo>
                  <a:lnTo>
                    <a:pt x="54" y="150"/>
                  </a:lnTo>
                  <a:lnTo>
                    <a:pt x="48" y="156"/>
                  </a:lnTo>
                  <a:lnTo>
                    <a:pt x="30" y="150"/>
                  </a:lnTo>
                  <a:lnTo>
                    <a:pt x="30" y="168"/>
                  </a:lnTo>
                  <a:lnTo>
                    <a:pt x="0" y="174"/>
                  </a:lnTo>
                  <a:lnTo>
                    <a:pt x="6" y="174"/>
                  </a:lnTo>
                  <a:lnTo>
                    <a:pt x="30" y="192"/>
                  </a:lnTo>
                  <a:lnTo>
                    <a:pt x="36" y="192"/>
                  </a:lnTo>
                  <a:lnTo>
                    <a:pt x="48" y="228"/>
                  </a:lnTo>
                  <a:lnTo>
                    <a:pt x="54" y="234"/>
                  </a:lnTo>
                  <a:lnTo>
                    <a:pt x="60" y="234"/>
                  </a:lnTo>
                  <a:lnTo>
                    <a:pt x="66" y="228"/>
                  </a:lnTo>
                  <a:lnTo>
                    <a:pt x="72" y="228"/>
                  </a:lnTo>
                  <a:lnTo>
                    <a:pt x="84" y="234"/>
                  </a:lnTo>
                  <a:lnTo>
                    <a:pt x="84" y="252"/>
                  </a:lnTo>
                  <a:lnTo>
                    <a:pt x="78" y="258"/>
                  </a:lnTo>
                  <a:lnTo>
                    <a:pt x="90" y="276"/>
                  </a:lnTo>
                  <a:lnTo>
                    <a:pt x="114" y="282"/>
                  </a:lnTo>
                  <a:lnTo>
                    <a:pt x="120" y="288"/>
                  </a:lnTo>
                  <a:lnTo>
                    <a:pt x="144" y="282"/>
                  </a:lnTo>
                  <a:lnTo>
                    <a:pt x="168" y="288"/>
                  </a:lnTo>
                  <a:lnTo>
                    <a:pt x="162" y="294"/>
                  </a:lnTo>
                  <a:lnTo>
                    <a:pt x="156" y="306"/>
                  </a:lnTo>
                  <a:lnTo>
                    <a:pt x="162" y="312"/>
                  </a:lnTo>
                  <a:lnTo>
                    <a:pt x="162" y="324"/>
                  </a:lnTo>
                  <a:lnTo>
                    <a:pt x="186" y="324"/>
                  </a:lnTo>
                  <a:lnTo>
                    <a:pt x="192" y="330"/>
                  </a:lnTo>
                  <a:lnTo>
                    <a:pt x="186" y="336"/>
                  </a:lnTo>
                  <a:lnTo>
                    <a:pt x="186" y="342"/>
                  </a:lnTo>
                  <a:lnTo>
                    <a:pt x="180" y="348"/>
                  </a:lnTo>
                  <a:lnTo>
                    <a:pt x="186" y="354"/>
                  </a:lnTo>
                  <a:lnTo>
                    <a:pt x="204" y="354"/>
                  </a:lnTo>
                  <a:lnTo>
                    <a:pt x="216" y="342"/>
                  </a:lnTo>
                  <a:lnTo>
                    <a:pt x="240" y="354"/>
                  </a:lnTo>
                  <a:lnTo>
                    <a:pt x="252" y="354"/>
                  </a:lnTo>
                  <a:lnTo>
                    <a:pt x="258" y="360"/>
                  </a:lnTo>
                  <a:lnTo>
                    <a:pt x="282" y="360"/>
                  </a:lnTo>
                  <a:lnTo>
                    <a:pt x="288" y="354"/>
                  </a:lnTo>
                  <a:lnTo>
                    <a:pt x="288" y="348"/>
                  </a:lnTo>
                  <a:lnTo>
                    <a:pt x="306" y="354"/>
                  </a:lnTo>
                  <a:lnTo>
                    <a:pt x="330" y="354"/>
                  </a:lnTo>
                  <a:lnTo>
                    <a:pt x="336" y="360"/>
                  </a:lnTo>
                  <a:lnTo>
                    <a:pt x="348" y="366"/>
                  </a:lnTo>
                  <a:lnTo>
                    <a:pt x="366" y="366"/>
                  </a:lnTo>
                  <a:lnTo>
                    <a:pt x="372" y="360"/>
                  </a:lnTo>
                  <a:lnTo>
                    <a:pt x="372" y="348"/>
                  </a:lnTo>
                  <a:lnTo>
                    <a:pt x="378" y="342"/>
                  </a:lnTo>
                  <a:lnTo>
                    <a:pt x="384" y="342"/>
                  </a:lnTo>
                  <a:lnTo>
                    <a:pt x="396" y="336"/>
                  </a:lnTo>
                  <a:lnTo>
                    <a:pt x="402" y="336"/>
                  </a:lnTo>
                  <a:lnTo>
                    <a:pt x="402" y="330"/>
                  </a:lnTo>
                  <a:lnTo>
                    <a:pt x="432" y="336"/>
                  </a:lnTo>
                  <a:lnTo>
                    <a:pt x="432" y="324"/>
                  </a:lnTo>
                  <a:lnTo>
                    <a:pt x="438" y="324"/>
                  </a:lnTo>
                  <a:lnTo>
                    <a:pt x="450" y="330"/>
                  </a:lnTo>
                  <a:lnTo>
                    <a:pt x="462" y="330"/>
                  </a:lnTo>
                  <a:lnTo>
                    <a:pt x="474" y="336"/>
                  </a:lnTo>
                  <a:lnTo>
                    <a:pt x="498" y="336"/>
                  </a:lnTo>
                  <a:lnTo>
                    <a:pt x="516" y="354"/>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73" name="Ruanda" descr="© INSCALE GmbH, 05.05.2010&#10;http://www.presentationload.com/">
              <a:extLst>
                <a:ext uri="{FF2B5EF4-FFF2-40B4-BE49-F238E27FC236}">
                  <a16:creationId xmlns:a16="http://schemas.microsoft.com/office/drawing/2014/main" id="{1D914C3A-818D-4A59-B5EB-D33D5738EA93}"/>
                </a:ext>
              </a:extLst>
            </p:cNvPr>
            <p:cNvSpPr>
              <a:spLocks/>
            </p:cNvSpPr>
            <p:nvPr/>
          </p:nvSpPr>
          <p:spPr bwMode="gray">
            <a:xfrm>
              <a:off x="4943162" y="4285558"/>
              <a:ext cx="59585" cy="58017"/>
            </a:xfrm>
            <a:custGeom>
              <a:avLst/>
              <a:gdLst>
                <a:gd name="T0" fmla="*/ 2147483647 w 150"/>
                <a:gd name="T1" fmla="*/ 2147483647 h 150"/>
                <a:gd name="T2" fmla="*/ 2147483647 w 150"/>
                <a:gd name="T3" fmla="*/ 2147483647 h 150"/>
                <a:gd name="T4" fmla="*/ 2147483647 w 150"/>
                <a:gd name="T5" fmla="*/ 2147483647 h 150"/>
                <a:gd name="T6" fmla="*/ 2147483647 w 150"/>
                <a:gd name="T7" fmla="*/ 2147483647 h 150"/>
                <a:gd name="T8" fmla="*/ 2147483647 w 150"/>
                <a:gd name="T9" fmla="*/ 2147483647 h 150"/>
                <a:gd name="T10" fmla="*/ 2147483647 w 150"/>
                <a:gd name="T11" fmla="*/ 2147483647 h 150"/>
                <a:gd name="T12" fmla="*/ 2147483647 w 150"/>
                <a:gd name="T13" fmla="*/ 2147483647 h 150"/>
                <a:gd name="T14" fmla="*/ 2147483647 w 150"/>
                <a:gd name="T15" fmla="*/ 2147483647 h 150"/>
                <a:gd name="T16" fmla="*/ 2147483647 w 150"/>
                <a:gd name="T17" fmla="*/ 2147483647 h 150"/>
                <a:gd name="T18" fmla="*/ 2147483647 w 150"/>
                <a:gd name="T19" fmla="*/ 2147483647 h 150"/>
                <a:gd name="T20" fmla="*/ 2147483647 w 150"/>
                <a:gd name="T21" fmla="*/ 2147483647 h 150"/>
                <a:gd name="T22" fmla="*/ 2147483647 w 150"/>
                <a:gd name="T23" fmla="*/ 2147483647 h 150"/>
                <a:gd name="T24" fmla="*/ 2147483647 w 150"/>
                <a:gd name="T25" fmla="*/ 2147483647 h 150"/>
                <a:gd name="T26" fmla="*/ 2147483647 w 150"/>
                <a:gd name="T27" fmla="*/ 0 h 150"/>
                <a:gd name="T28" fmla="*/ 2147483647 w 150"/>
                <a:gd name="T29" fmla="*/ 2147483647 h 150"/>
                <a:gd name="T30" fmla="*/ 2147483647 w 150"/>
                <a:gd name="T31" fmla="*/ 2147483647 h 150"/>
                <a:gd name="T32" fmla="*/ 2147483647 w 150"/>
                <a:gd name="T33" fmla="*/ 2147483647 h 150"/>
                <a:gd name="T34" fmla="*/ 2147483647 w 150"/>
                <a:gd name="T35" fmla="*/ 2147483647 h 150"/>
                <a:gd name="T36" fmla="*/ 2147483647 w 150"/>
                <a:gd name="T37" fmla="*/ 2147483647 h 150"/>
                <a:gd name="T38" fmla="*/ 2147483647 w 150"/>
                <a:gd name="T39" fmla="*/ 2147483647 h 150"/>
                <a:gd name="T40" fmla="*/ 2147483647 w 150"/>
                <a:gd name="T41" fmla="*/ 2147483647 h 150"/>
                <a:gd name="T42" fmla="*/ 2147483647 w 150"/>
                <a:gd name="T43" fmla="*/ 2147483647 h 150"/>
                <a:gd name="T44" fmla="*/ 2147483647 w 150"/>
                <a:gd name="T45" fmla="*/ 2147483647 h 150"/>
                <a:gd name="T46" fmla="*/ 2147483647 w 150"/>
                <a:gd name="T47" fmla="*/ 2147483647 h 150"/>
                <a:gd name="T48" fmla="*/ 2147483647 w 150"/>
                <a:gd name="T49" fmla="*/ 2147483647 h 150"/>
                <a:gd name="T50" fmla="*/ 2147483647 w 150"/>
                <a:gd name="T51" fmla="*/ 2147483647 h 150"/>
                <a:gd name="T52" fmla="*/ 2147483647 w 150"/>
                <a:gd name="T53" fmla="*/ 2147483647 h 150"/>
                <a:gd name="T54" fmla="*/ 2147483647 w 150"/>
                <a:gd name="T55" fmla="*/ 2147483647 h 150"/>
                <a:gd name="T56" fmla="*/ 2147483647 w 150"/>
                <a:gd name="T57" fmla="*/ 2147483647 h 150"/>
                <a:gd name="T58" fmla="*/ 2147483647 w 150"/>
                <a:gd name="T59" fmla="*/ 2147483647 h 150"/>
                <a:gd name="T60" fmla="*/ 0 w 150"/>
                <a:gd name="T61" fmla="*/ 2147483647 h 150"/>
                <a:gd name="T62" fmla="*/ 0 w 150"/>
                <a:gd name="T63" fmla="*/ 2147483647 h 150"/>
                <a:gd name="T64" fmla="*/ 2147483647 w 150"/>
                <a:gd name="T65" fmla="*/ 2147483647 h 150"/>
                <a:gd name="T66" fmla="*/ 2147483647 w 150"/>
                <a:gd name="T67" fmla="*/ 2147483647 h 150"/>
                <a:gd name="T68" fmla="*/ 2147483647 w 150"/>
                <a:gd name="T69" fmla="*/ 2147483647 h 150"/>
                <a:gd name="T70" fmla="*/ 2147483647 w 150"/>
                <a:gd name="T71" fmla="*/ 2147483647 h 150"/>
                <a:gd name="T72" fmla="*/ 2147483647 w 150"/>
                <a:gd name="T73" fmla="*/ 2147483647 h 1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0"/>
                <a:gd name="T112" fmla="*/ 0 h 150"/>
                <a:gd name="T113" fmla="*/ 150 w 150"/>
                <a:gd name="T114" fmla="*/ 150 h 1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0" h="150">
                  <a:moveTo>
                    <a:pt x="48" y="150"/>
                  </a:moveTo>
                  <a:lnTo>
                    <a:pt x="54" y="150"/>
                  </a:lnTo>
                  <a:lnTo>
                    <a:pt x="60" y="144"/>
                  </a:lnTo>
                  <a:lnTo>
                    <a:pt x="72" y="138"/>
                  </a:lnTo>
                  <a:lnTo>
                    <a:pt x="78" y="114"/>
                  </a:lnTo>
                  <a:lnTo>
                    <a:pt x="138" y="114"/>
                  </a:lnTo>
                  <a:lnTo>
                    <a:pt x="150" y="102"/>
                  </a:lnTo>
                  <a:lnTo>
                    <a:pt x="150" y="72"/>
                  </a:lnTo>
                  <a:lnTo>
                    <a:pt x="144" y="66"/>
                  </a:lnTo>
                  <a:lnTo>
                    <a:pt x="144" y="48"/>
                  </a:lnTo>
                  <a:lnTo>
                    <a:pt x="138" y="42"/>
                  </a:lnTo>
                  <a:lnTo>
                    <a:pt x="132" y="30"/>
                  </a:lnTo>
                  <a:lnTo>
                    <a:pt x="126" y="24"/>
                  </a:lnTo>
                  <a:lnTo>
                    <a:pt x="132" y="0"/>
                  </a:lnTo>
                  <a:lnTo>
                    <a:pt x="108" y="6"/>
                  </a:lnTo>
                  <a:lnTo>
                    <a:pt x="108" y="12"/>
                  </a:lnTo>
                  <a:lnTo>
                    <a:pt x="102" y="18"/>
                  </a:lnTo>
                  <a:lnTo>
                    <a:pt x="90" y="42"/>
                  </a:lnTo>
                  <a:lnTo>
                    <a:pt x="84" y="42"/>
                  </a:lnTo>
                  <a:lnTo>
                    <a:pt x="72" y="30"/>
                  </a:lnTo>
                  <a:lnTo>
                    <a:pt x="54" y="30"/>
                  </a:lnTo>
                  <a:lnTo>
                    <a:pt x="48" y="36"/>
                  </a:lnTo>
                  <a:lnTo>
                    <a:pt x="24" y="48"/>
                  </a:lnTo>
                  <a:lnTo>
                    <a:pt x="18" y="54"/>
                  </a:lnTo>
                  <a:lnTo>
                    <a:pt x="18" y="60"/>
                  </a:lnTo>
                  <a:lnTo>
                    <a:pt x="24" y="72"/>
                  </a:lnTo>
                  <a:lnTo>
                    <a:pt x="30" y="78"/>
                  </a:lnTo>
                  <a:lnTo>
                    <a:pt x="30" y="90"/>
                  </a:lnTo>
                  <a:lnTo>
                    <a:pt x="18" y="102"/>
                  </a:lnTo>
                  <a:lnTo>
                    <a:pt x="6" y="108"/>
                  </a:lnTo>
                  <a:lnTo>
                    <a:pt x="0" y="120"/>
                  </a:lnTo>
                  <a:lnTo>
                    <a:pt x="0" y="126"/>
                  </a:lnTo>
                  <a:lnTo>
                    <a:pt x="6" y="132"/>
                  </a:lnTo>
                  <a:lnTo>
                    <a:pt x="30" y="132"/>
                  </a:lnTo>
                  <a:lnTo>
                    <a:pt x="36" y="144"/>
                  </a:lnTo>
                  <a:lnTo>
                    <a:pt x="42" y="150"/>
                  </a:lnTo>
                  <a:lnTo>
                    <a:pt x="48" y="15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74" name="Russland (Urup,Simushir)" descr="© INSCALE GmbH, 05.05.2010&#10;http://www.presentationload.com/">
              <a:extLst>
                <a:ext uri="{FF2B5EF4-FFF2-40B4-BE49-F238E27FC236}">
                  <a16:creationId xmlns:a16="http://schemas.microsoft.com/office/drawing/2014/main" id="{B4B1DEAE-86B0-45C9-AB21-CB9FFD8890D0}"/>
                </a:ext>
              </a:extLst>
            </p:cNvPr>
            <p:cNvSpPr>
              <a:spLocks noEditPoints="1"/>
            </p:cNvSpPr>
            <p:nvPr/>
          </p:nvSpPr>
          <p:spPr bwMode="gray">
            <a:xfrm>
              <a:off x="7872229" y="2375706"/>
              <a:ext cx="120737" cy="476679"/>
            </a:xfrm>
            <a:custGeom>
              <a:avLst/>
              <a:gdLst>
                <a:gd name="T0" fmla="*/ 0 w 300"/>
                <a:gd name="T1" fmla="*/ 2147483647 h 1194"/>
                <a:gd name="T2" fmla="*/ 2147483647 w 300"/>
                <a:gd name="T3" fmla="*/ 2147483647 h 1194"/>
                <a:gd name="T4" fmla="*/ 2147483647 w 300"/>
                <a:gd name="T5" fmla="*/ 2147483647 h 1194"/>
                <a:gd name="T6" fmla="*/ 2147483647 w 300"/>
                <a:gd name="T7" fmla="*/ 2147483647 h 1194"/>
                <a:gd name="T8" fmla="*/ 0 w 300"/>
                <a:gd name="T9" fmla="*/ 2147483647 h 1194"/>
                <a:gd name="T10" fmla="*/ 2147483647 w 300"/>
                <a:gd name="T11" fmla="*/ 2147483647 h 1194"/>
                <a:gd name="T12" fmla="*/ 2147483647 w 300"/>
                <a:gd name="T13" fmla="*/ 2147483647 h 1194"/>
                <a:gd name="T14" fmla="*/ 2147483647 w 300"/>
                <a:gd name="T15" fmla="*/ 2147483647 h 1194"/>
                <a:gd name="T16" fmla="*/ 2147483647 w 300"/>
                <a:gd name="T17" fmla="*/ 2147483647 h 1194"/>
                <a:gd name="T18" fmla="*/ 2147483647 w 300"/>
                <a:gd name="T19" fmla="*/ 2147483647 h 1194"/>
                <a:gd name="T20" fmla="*/ 2147483647 w 300"/>
                <a:gd name="T21" fmla="*/ 2147483647 h 1194"/>
                <a:gd name="T22" fmla="*/ 2147483647 w 300"/>
                <a:gd name="T23" fmla="*/ 2147483647 h 1194"/>
                <a:gd name="T24" fmla="*/ 2147483647 w 300"/>
                <a:gd name="T25" fmla="*/ 2147483647 h 1194"/>
                <a:gd name="T26" fmla="*/ 2147483647 w 300"/>
                <a:gd name="T27" fmla="*/ 2147483647 h 1194"/>
                <a:gd name="T28" fmla="*/ 2147483647 w 300"/>
                <a:gd name="T29" fmla="*/ 2147483647 h 1194"/>
                <a:gd name="T30" fmla="*/ 2147483647 w 300"/>
                <a:gd name="T31" fmla="*/ 2147483647 h 1194"/>
                <a:gd name="T32" fmla="*/ 2147483647 w 300"/>
                <a:gd name="T33" fmla="*/ 2147483647 h 1194"/>
                <a:gd name="T34" fmla="*/ 2147483647 w 300"/>
                <a:gd name="T35" fmla="*/ 2147483647 h 1194"/>
                <a:gd name="T36" fmla="*/ 2147483647 w 300"/>
                <a:gd name="T37" fmla="*/ 2147483647 h 1194"/>
                <a:gd name="T38" fmla="*/ 2147483647 w 300"/>
                <a:gd name="T39" fmla="*/ 2147483647 h 1194"/>
                <a:gd name="T40" fmla="*/ 2147483647 w 300"/>
                <a:gd name="T41" fmla="*/ 2147483647 h 1194"/>
                <a:gd name="T42" fmla="*/ 2147483647 w 300"/>
                <a:gd name="T43" fmla="*/ 2147483647 h 1194"/>
                <a:gd name="T44" fmla="*/ 2147483647 w 300"/>
                <a:gd name="T45" fmla="*/ 2147483647 h 1194"/>
                <a:gd name="T46" fmla="*/ 2147483647 w 300"/>
                <a:gd name="T47" fmla="*/ 2147483647 h 1194"/>
                <a:gd name="T48" fmla="*/ 2147483647 w 300"/>
                <a:gd name="T49" fmla="*/ 2147483647 h 1194"/>
                <a:gd name="T50" fmla="*/ 2147483647 w 300"/>
                <a:gd name="T51" fmla="*/ 2147483647 h 1194"/>
                <a:gd name="T52" fmla="*/ 2147483647 w 300"/>
                <a:gd name="T53" fmla="*/ 2147483647 h 1194"/>
                <a:gd name="T54" fmla="*/ 2147483647 w 300"/>
                <a:gd name="T55" fmla="*/ 2147483647 h 1194"/>
                <a:gd name="T56" fmla="*/ 2147483647 w 300"/>
                <a:gd name="T57" fmla="*/ 2147483647 h 1194"/>
                <a:gd name="T58" fmla="*/ 2147483647 w 300"/>
                <a:gd name="T59" fmla="*/ 2147483647 h 1194"/>
                <a:gd name="T60" fmla="*/ 2147483647 w 300"/>
                <a:gd name="T61" fmla="*/ 2147483647 h 1194"/>
                <a:gd name="T62" fmla="*/ 2147483647 w 300"/>
                <a:gd name="T63" fmla="*/ 2147483647 h 1194"/>
                <a:gd name="T64" fmla="*/ 2147483647 w 300"/>
                <a:gd name="T65" fmla="*/ 2147483647 h 1194"/>
                <a:gd name="T66" fmla="*/ 2147483647 w 300"/>
                <a:gd name="T67" fmla="*/ 2147483647 h 1194"/>
                <a:gd name="T68" fmla="*/ 2147483647 w 300"/>
                <a:gd name="T69" fmla="*/ 2147483647 h 1194"/>
                <a:gd name="T70" fmla="*/ 2147483647 w 300"/>
                <a:gd name="T71" fmla="*/ 2147483647 h 1194"/>
                <a:gd name="T72" fmla="*/ 2147483647 w 300"/>
                <a:gd name="T73" fmla="*/ 2147483647 h 1194"/>
                <a:gd name="T74" fmla="*/ 2147483647 w 300"/>
                <a:gd name="T75" fmla="*/ 2147483647 h 1194"/>
                <a:gd name="T76" fmla="*/ 2147483647 w 300"/>
                <a:gd name="T77" fmla="*/ 2147483647 h 1194"/>
                <a:gd name="T78" fmla="*/ 2147483647 w 300"/>
                <a:gd name="T79" fmla="*/ 2147483647 h 1194"/>
                <a:gd name="T80" fmla="*/ 2147483647 w 300"/>
                <a:gd name="T81" fmla="*/ 2147483647 h 1194"/>
                <a:gd name="T82" fmla="*/ 2147483647 w 300"/>
                <a:gd name="T83" fmla="*/ 2147483647 h 1194"/>
                <a:gd name="T84" fmla="*/ 2147483647 w 300"/>
                <a:gd name="T85" fmla="*/ 2147483647 h 1194"/>
                <a:gd name="T86" fmla="*/ 2147483647 w 300"/>
                <a:gd name="T87" fmla="*/ 2147483647 h 1194"/>
                <a:gd name="T88" fmla="*/ 2147483647 w 300"/>
                <a:gd name="T89" fmla="*/ 2147483647 h 1194"/>
                <a:gd name="T90" fmla="*/ 2147483647 w 300"/>
                <a:gd name="T91" fmla="*/ 2147483647 h 1194"/>
                <a:gd name="T92" fmla="*/ 2147483647 w 300"/>
                <a:gd name="T93" fmla="*/ 2147483647 h 1194"/>
                <a:gd name="T94" fmla="*/ 2147483647 w 300"/>
                <a:gd name="T95" fmla="*/ 2147483647 h 1194"/>
                <a:gd name="T96" fmla="*/ 2147483647 w 300"/>
                <a:gd name="T97" fmla="*/ 2147483647 h 1194"/>
                <a:gd name="T98" fmla="*/ 2147483647 w 300"/>
                <a:gd name="T99" fmla="*/ 0 h 1194"/>
                <a:gd name="T100" fmla="*/ 2147483647 w 300"/>
                <a:gd name="T101" fmla="*/ 2147483647 h 11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0"/>
                <a:gd name="T154" fmla="*/ 0 h 1194"/>
                <a:gd name="T155" fmla="*/ 300 w 300"/>
                <a:gd name="T156" fmla="*/ 1194 h 11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0" h="1194">
                  <a:moveTo>
                    <a:pt x="0" y="1194"/>
                  </a:moveTo>
                  <a:lnTo>
                    <a:pt x="12" y="1188"/>
                  </a:lnTo>
                  <a:lnTo>
                    <a:pt x="36" y="1146"/>
                  </a:lnTo>
                  <a:lnTo>
                    <a:pt x="18" y="1134"/>
                  </a:lnTo>
                  <a:lnTo>
                    <a:pt x="0" y="1194"/>
                  </a:lnTo>
                  <a:close/>
                  <a:moveTo>
                    <a:pt x="114" y="1068"/>
                  </a:moveTo>
                  <a:lnTo>
                    <a:pt x="72" y="1062"/>
                  </a:lnTo>
                  <a:lnTo>
                    <a:pt x="54" y="1134"/>
                  </a:lnTo>
                  <a:lnTo>
                    <a:pt x="66" y="1134"/>
                  </a:lnTo>
                  <a:lnTo>
                    <a:pt x="84" y="1104"/>
                  </a:lnTo>
                  <a:lnTo>
                    <a:pt x="132" y="1074"/>
                  </a:lnTo>
                  <a:lnTo>
                    <a:pt x="120" y="1050"/>
                  </a:lnTo>
                  <a:lnTo>
                    <a:pt x="114" y="1068"/>
                  </a:lnTo>
                  <a:close/>
                  <a:moveTo>
                    <a:pt x="192" y="1008"/>
                  </a:moveTo>
                  <a:lnTo>
                    <a:pt x="186" y="1008"/>
                  </a:lnTo>
                  <a:lnTo>
                    <a:pt x="180" y="1020"/>
                  </a:lnTo>
                  <a:lnTo>
                    <a:pt x="174" y="1026"/>
                  </a:lnTo>
                  <a:lnTo>
                    <a:pt x="168" y="1038"/>
                  </a:lnTo>
                  <a:lnTo>
                    <a:pt x="168" y="1044"/>
                  </a:lnTo>
                  <a:lnTo>
                    <a:pt x="174" y="1050"/>
                  </a:lnTo>
                  <a:lnTo>
                    <a:pt x="180" y="1050"/>
                  </a:lnTo>
                  <a:lnTo>
                    <a:pt x="198" y="1032"/>
                  </a:lnTo>
                  <a:lnTo>
                    <a:pt x="198" y="1014"/>
                  </a:lnTo>
                  <a:lnTo>
                    <a:pt x="192" y="1008"/>
                  </a:lnTo>
                  <a:close/>
                  <a:moveTo>
                    <a:pt x="282" y="636"/>
                  </a:moveTo>
                  <a:lnTo>
                    <a:pt x="264" y="654"/>
                  </a:lnTo>
                  <a:lnTo>
                    <a:pt x="276" y="678"/>
                  </a:lnTo>
                  <a:lnTo>
                    <a:pt x="258" y="678"/>
                  </a:lnTo>
                  <a:lnTo>
                    <a:pt x="258" y="702"/>
                  </a:lnTo>
                  <a:lnTo>
                    <a:pt x="282" y="702"/>
                  </a:lnTo>
                  <a:lnTo>
                    <a:pt x="294" y="684"/>
                  </a:lnTo>
                  <a:lnTo>
                    <a:pt x="282" y="654"/>
                  </a:lnTo>
                  <a:lnTo>
                    <a:pt x="300" y="654"/>
                  </a:lnTo>
                  <a:lnTo>
                    <a:pt x="282" y="636"/>
                  </a:lnTo>
                  <a:close/>
                  <a:moveTo>
                    <a:pt x="276" y="768"/>
                  </a:moveTo>
                  <a:lnTo>
                    <a:pt x="294" y="750"/>
                  </a:lnTo>
                  <a:lnTo>
                    <a:pt x="270" y="732"/>
                  </a:lnTo>
                  <a:lnTo>
                    <a:pt x="276" y="768"/>
                  </a:lnTo>
                  <a:close/>
                  <a:moveTo>
                    <a:pt x="258" y="954"/>
                  </a:moveTo>
                  <a:lnTo>
                    <a:pt x="258" y="924"/>
                  </a:lnTo>
                  <a:lnTo>
                    <a:pt x="240" y="948"/>
                  </a:lnTo>
                  <a:lnTo>
                    <a:pt x="258" y="954"/>
                  </a:lnTo>
                  <a:close/>
                  <a:moveTo>
                    <a:pt x="252" y="858"/>
                  </a:moveTo>
                  <a:lnTo>
                    <a:pt x="270" y="858"/>
                  </a:lnTo>
                  <a:lnTo>
                    <a:pt x="252" y="840"/>
                  </a:lnTo>
                  <a:lnTo>
                    <a:pt x="252" y="858"/>
                  </a:lnTo>
                  <a:close/>
                  <a:moveTo>
                    <a:pt x="126" y="24"/>
                  </a:moveTo>
                  <a:lnTo>
                    <a:pt x="144" y="60"/>
                  </a:lnTo>
                  <a:lnTo>
                    <a:pt x="174" y="24"/>
                  </a:lnTo>
                  <a:lnTo>
                    <a:pt x="162" y="0"/>
                  </a:lnTo>
                  <a:lnTo>
                    <a:pt x="126" y="24"/>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75" name="Russland" descr="© INSCALE GmbH, 05.05.2010&#10;http://www.presentationload.com/">
              <a:extLst>
                <a:ext uri="{FF2B5EF4-FFF2-40B4-BE49-F238E27FC236}">
                  <a16:creationId xmlns:a16="http://schemas.microsoft.com/office/drawing/2014/main" id="{664B4EB6-37CB-432C-BBD6-795667F33867}"/>
                </a:ext>
              </a:extLst>
            </p:cNvPr>
            <p:cNvSpPr>
              <a:spLocks noEditPoints="1"/>
            </p:cNvSpPr>
            <p:nvPr/>
          </p:nvSpPr>
          <p:spPr bwMode="gray">
            <a:xfrm>
              <a:off x="4645238" y="1787697"/>
              <a:ext cx="3597044" cy="1144657"/>
            </a:xfrm>
            <a:custGeom>
              <a:avLst/>
              <a:gdLst>
                <a:gd name="T0" fmla="*/ 2147483647 w 9048"/>
                <a:gd name="T1" fmla="*/ 2147483647 h 2880"/>
                <a:gd name="T2" fmla="*/ 2147483647 w 9048"/>
                <a:gd name="T3" fmla="*/ 2147483647 h 2880"/>
                <a:gd name="T4" fmla="*/ 2147483647 w 9048"/>
                <a:gd name="T5" fmla="*/ 2147483647 h 2880"/>
                <a:gd name="T6" fmla="*/ 2147483647 w 9048"/>
                <a:gd name="T7" fmla="*/ 2147483647 h 2880"/>
                <a:gd name="T8" fmla="*/ 2147483647 w 9048"/>
                <a:gd name="T9" fmla="*/ 2147483647 h 2880"/>
                <a:gd name="T10" fmla="*/ 2147483647 w 9048"/>
                <a:gd name="T11" fmla="*/ 2147483647 h 2880"/>
                <a:gd name="T12" fmla="*/ 2147483647 w 9048"/>
                <a:gd name="T13" fmla="*/ 2147483647 h 2880"/>
                <a:gd name="T14" fmla="*/ 2147483647 w 9048"/>
                <a:gd name="T15" fmla="*/ 2147483647 h 2880"/>
                <a:gd name="T16" fmla="*/ 2147483647 w 9048"/>
                <a:gd name="T17" fmla="*/ 2147483647 h 2880"/>
                <a:gd name="T18" fmla="*/ 2147483647 w 9048"/>
                <a:gd name="T19" fmla="*/ 2147483647 h 2880"/>
                <a:gd name="T20" fmla="*/ 2147483647 w 9048"/>
                <a:gd name="T21" fmla="*/ 2147483647 h 2880"/>
                <a:gd name="T22" fmla="*/ 2147483647 w 9048"/>
                <a:gd name="T23" fmla="*/ 2147483647 h 2880"/>
                <a:gd name="T24" fmla="*/ 2147483647 w 9048"/>
                <a:gd name="T25" fmla="*/ 2147483647 h 2880"/>
                <a:gd name="T26" fmla="*/ 2147483647 w 9048"/>
                <a:gd name="T27" fmla="*/ 2147483647 h 2880"/>
                <a:gd name="T28" fmla="*/ 2147483647 w 9048"/>
                <a:gd name="T29" fmla="*/ 2147483647 h 2880"/>
                <a:gd name="T30" fmla="*/ 2147483647 w 9048"/>
                <a:gd name="T31" fmla="*/ 2147483647 h 2880"/>
                <a:gd name="T32" fmla="*/ 2147483647 w 9048"/>
                <a:gd name="T33" fmla="*/ 2147483647 h 2880"/>
                <a:gd name="T34" fmla="*/ 2147483647 w 9048"/>
                <a:gd name="T35" fmla="*/ 2147483647 h 2880"/>
                <a:gd name="T36" fmla="*/ 2147483647 w 9048"/>
                <a:gd name="T37" fmla="*/ 2147483647 h 2880"/>
                <a:gd name="T38" fmla="*/ 2147483647 w 9048"/>
                <a:gd name="T39" fmla="*/ 2147483647 h 2880"/>
                <a:gd name="T40" fmla="*/ 2147483647 w 9048"/>
                <a:gd name="T41" fmla="*/ 2147483647 h 2880"/>
                <a:gd name="T42" fmla="*/ 2147483647 w 9048"/>
                <a:gd name="T43" fmla="*/ 2147483647 h 2880"/>
                <a:gd name="T44" fmla="*/ 2147483647 w 9048"/>
                <a:gd name="T45" fmla="*/ 2147483647 h 2880"/>
                <a:gd name="T46" fmla="*/ 2147483647 w 9048"/>
                <a:gd name="T47" fmla="*/ 2147483647 h 2880"/>
                <a:gd name="T48" fmla="*/ 2147483647 w 9048"/>
                <a:gd name="T49" fmla="*/ 2147483647 h 2880"/>
                <a:gd name="T50" fmla="*/ 2147483647 w 9048"/>
                <a:gd name="T51" fmla="*/ 2147483647 h 2880"/>
                <a:gd name="T52" fmla="*/ 2147483647 w 9048"/>
                <a:gd name="T53" fmla="*/ 2147483647 h 2880"/>
                <a:gd name="T54" fmla="*/ 2147483647 w 9048"/>
                <a:gd name="T55" fmla="*/ 2147483647 h 2880"/>
                <a:gd name="T56" fmla="*/ 2147483647 w 9048"/>
                <a:gd name="T57" fmla="*/ 2147483647 h 2880"/>
                <a:gd name="T58" fmla="*/ 2147483647 w 9048"/>
                <a:gd name="T59" fmla="*/ 2147483647 h 2880"/>
                <a:gd name="T60" fmla="*/ 2147483647 w 9048"/>
                <a:gd name="T61" fmla="*/ 2147483647 h 2880"/>
                <a:gd name="T62" fmla="*/ 2147483647 w 9048"/>
                <a:gd name="T63" fmla="*/ 2147483647 h 2880"/>
                <a:gd name="T64" fmla="*/ 2147483647 w 9048"/>
                <a:gd name="T65" fmla="*/ 2147483647 h 2880"/>
                <a:gd name="T66" fmla="*/ 2147483647 w 9048"/>
                <a:gd name="T67" fmla="*/ 2147483647 h 2880"/>
                <a:gd name="T68" fmla="*/ 2147483647 w 9048"/>
                <a:gd name="T69" fmla="*/ 2147483647 h 2880"/>
                <a:gd name="T70" fmla="*/ 2147483647 w 9048"/>
                <a:gd name="T71" fmla="*/ 2147483647 h 2880"/>
                <a:gd name="T72" fmla="*/ 2147483647 w 9048"/>
                <a:gd name="T73" fmla="*/ 2147483647 h 2880"/>
                <a:gd name="T74" fmla="*/ 2147483647 w 9048"/>
                <a:gd name="T75" fmla="*/ 2147483647 h 2880"/>
                <a:gd name="T76" fmla="*/ 2147483647 w 9048"/>
                <a:gd name="T77" fmla="*/ 2147483647 h 2880"/>
                <a:gd name="T78" fmla="*/ 2147483647 w 9048"/>
                <a:gd name="T79" fmla="*/ 2147483647 h 2880"/>
                <a:gd name="T80" fmla="*/ 2147483647 w 9048"/>
                <a:gd name="T81" fmla="*/ 2147483647 h 2880"/>
                <a:gd name="T82" fmla="*/ 2147483647 w 9048"/>
                <a:gd name="T83" fmla="*/ 2147483647 h 2880"/>
                <a:gd name="T84" fmla="*/ 2147483647 w 9048"/>
                <a:gd name="T85" fmla="*/ 2147483647 h 2880"/>
                <a:gd name="T86" fmla="*/ 2147483647 w 9048"/>
                <a:gd name="T87" fmla="*/ 2147483647 h 2880"/>
                <a:gd name="T88" fmla="*/ 2147483647 w 9048"/>
                <a:gd name="T89" fmla="*/ 2147483647 h 2880"/>
                <a:gd name="T90" fmla="*/ 2147483647 w 9048"/>
                <a:gd name="T91" fmla="*/ 2147483647 h 2880"/>
                <a:gd name="T92" fmla="*/ 2147483647 w 9048"/>
                <a:gd name="T93" fmla="*/ 2147483647 h 2880"/>
                <a:gd name="T94" fmla="*/ 2147483647 w 9048"/>
                <a:gd name="T95" fmla="*/ 2147483647 h 2880"/>
                <a:gd name="T96" fmla="*/ 2147483647 w 9048"/>
                <a:gd name="T97" fmla="*/ 2147483647 h 2880"/>
                <a:gd name="T98" fmla="*/ 2147483647 w 9048"/>
                <a:gd name="T99" fmla="*/ 2147483647 h 2880"/>
                <a:gd name="T100" fmla="*/ 2147483647 w 9048"/>
                <a:gd name="T101" fmla="*/ 2147483647 h 2880"/>
                <a:gd name="T102" fmla="*/ 2147483647 w 9048"/>
                <a:gd name="T103" fmla="*/ 2147483647 h 2880"/>
                <a:gd name="T104" fmla="*/ 2147483647 w 9048"/>
                <a:gd name="T105" fmla="*/ 2147483647 h 2880"/>
                <a:gd name="T106" fmla="*/ 2147483647 w 9048"/>
                <a:gd name="T107" fmla="*/ 2147483647 h 2880"/>
                <a:gd name="T108" fmla="*/ 2147483647 w 9048"/>
                <a:gd name="T109" fmla="*/ 2147483647 h 2880"/>
                <a:gd name="T110" fmla="*/ 2147483647 w 9048"/>
                <a:gd name="T111" fmla="*/ 2147483647 h 2880"/>
                <a:gd name="T112" fmla="*/ 2147483647 w 9048"/>
                <a:gd name="T113" fmla="*/ 2147483647 h 2880"/>
                <a:gd name="T114" fmla="*/ 2147483647 w 9048"/>
                <a:gd name="T115" fmla="*/ 2147483647 h 2880"/>
                <a:gd name="T116" fmla="*/ 2147483647 w 9048"/>
                <a:gd name="T117" fmla="*/ 2147483647 h 2880"/>
                <a:gd name="T118" fmla="*/ 2147483647 w 9048"/>
                <a:gd name="T119" fmla="*/ 2147483647 h 2880"/>
                <a:gd name="T120" fmla="*/ 2147483647 w 9048"/>
                <a:gd name="T121" fmla="*/ 2147483647 h 2880"/>
                <a:gd name="T122" fmla="*/ 2147483647 w 9048"/>
                <a:gd name="T123" fmla="*/ 2147483647 h 2880"/>
                <a:gd name="T124" fmla="*/ 2147483647 w 9048"/>
                <a:gd name="T125" fmla="*/ 2147483647 h 28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48"/>
                <a:gd name="T190" fmla="*/ 0 h 2880"/>
                <a:gd name="T191" fmla="*/ 9048 w 9048"/>
                <a:gd name="T192" fmla="*/ 2880 h 28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48" h="2880">
                  <a:moveTo>
                    <a:pt x="2790" y="546"/>
                  </a:moveTo>
                  <a:lnTo>
                    <a:pt x="2760" y="540"/>
                  </a:lnTo>
                  <a:lnTo>
                    <a:pt x="2736" y="558"/>
                  </a:lnTo>
                  <a:lnTo>
                    <a:pt x="2778" y="570"/>
                  </a:lnTo>
                  <a:lnTo>
                    <a:pt x="2790" y="546"/>
                  </a:lnTo>
                  <a:close/>
                  <a:moveTo>
                    <a:pt x="2832" y="522"/>
                  </a:moveTo>
                  <a:lnTo>
                    <a:pt x="2820" y="516"/>
                  </a:lnTo>
                  <a:lnTo>
                    <a:pt x="2814" y="510"/>
                  </a:lnTo>
                  <a:lnTo>
                    <a:pt x="2808" y="510"/>
                  </a:lnTo>
                  <a:lnTo>
                    <a:pt x="2808" y="528"/>
                  </a:lnTo>
                  <a:lnTo>
                    <a:pt x="2820" y="534"/>
                  </a:lnTo>
                  <a:lnTo>
                    <a:pt x="2832" y="534"/>
                  </a:lnTo>
                  <a:lnTo>
                    <a:pt x="2844" y="540"/>
                  </a:lnTo>
                  <a:lnTo>
                    <a:pt x="2850" y="540"/>
                  </a:lnTo>
                  <a:lnTo>
                    <a:pt x="2850" y="534"/>
                  </a:lnTo>
                  <a:lnTo>
                    <a:pt x="2844" y="528"/>
                  </a:lnTo>
                  <a:lnTo>
                    <a:pt x="2832" y="522"/>
                  </a:lnTo>
                  <a:close/>
                  <a:moveTo>
                    <a:pt x="1704" y="18"/>
                  </a:moveTo>
                  <a:lnTo>
                    <a:pt x="1710" y="18"/>
                  </a:lnTo>
                  <a:lnTo>
                    <a:pt x="1716" y="12"/>
                  </a:lnTo>
                  <a:lnTo>
                    <a:pt x="1728" y="6"/>
                  </a:lnTo>
                  <a:lnTo>
                    <a:pt x="1734" y="0"/>
                  </a:lnTo>
                  <a:lnTo>
                    <a:pt x="1644" y="0"/>
                  </a:lnTo>
                  <a:lnTo>
                    <a:pt x="1638" y="12"/>
                  </a:lnTo>
                  <a:lnTo>
                    <a:pt x="1680" y="12"/>
                  </a:lnTo>
                  <a:lnTo>
                    <a:pt x="1686" y="18"/>
                  </a:lnTo>
                  <a:lnTo>
                    <a:pt x="1704" y="18"/>
                  </a:lnTo>
                  <a:close/>
                  <a:moveTo>
                    <a:pt x="1740" y="60"/>
                  </a:moveTo>
                  <a:lnTo>
                    <a:pt x="1746" y="60"/>
                  </a:lnTo>
                  <a:lnTo>
                    <a:pt x="1758" y="48"/>
                  </a:lnTo>
                  <a:lnTo>
                    <a:pt x="1764" y="48"/>
                  </a:lnTo>
                  <a:lnTo>
                    <a:pt x="1770" y="54"/>
                  </a:lnTo>
                  <a:lnTo>
                    <a:pt x="1782" y="54"/>
                  </a:lnTo>
                  <a:lnTo>
                    <a:pt x="1788" y="60"/>
                  </a:lnTo>
                  <a:lnTo>
                    <a:pt x="1800" y="60"/>
                  </a:lnTo>
                  <a:lnTo>
                    <a:pt x="1812" y="48"/>
                  </a:lnTo>
                  <a:lnTo>
                    <a:pt x="1812" y="36"/>
                  </a:lnTo>
                  <a:lnTo>
                    <a:pt x="1806" y="30"/>
                  </a:lnTo>
                  <a:lnTo>
                    <a:pt x="1794" y="24"/>
                  </a:lnTo>
                  <a:lnTo>
                    <a:pt x="1758" y="24"/>
                  </a:lnTo>
                  <a:lnTo>
                    <a:pt x="1710" y="48"/>
                  </a:lnTo>
                  <a:lnTo>
                    <a:pt x="1716" y="54"/>
                  </a:lnTo>
                  <a:lnTo>
                    <a:pt x="1728" y="60"/>
                  </a:lnTo>
                  <a:lnTo>
                    <a:pt x="1740" y="60"/>
                  </a:lnTo>
                  <a:close/>
                  <a:moveTo>
                    <a:pt x="2382" y="510"/>
                  </a:moveTo>
                  <a:lnTo>
                    <a:pt x="2400" y="504"/>
                  </a:lnTo>
                  <a:lnTo>
                    <a:pt x="2412" y="498"/>
                  </a:lnTo>
                  <a:lnTo>
                    <a:pt x="2412" y="486"/>
                  </a:lnTo>
                  <a:lnTo>
                    <a:pt x="2406" y="486"/>
                  </a:lnTo>
                  <a:lnTo>
                    <a:pt x="2400" y="480"/>
                  </a:lnTo>
                  <a:lnTo>
                    <a:pt x="2346" y="480"/>
                  </a:lnTo>
                  <a:lnTo>
                    <a:pt x="2346" y="492"/>
                  </a:lnTo>
                  <a:lnTo>
                    <a:pt x="2358" y="504"/>
                  </a:lnTo>
                  <a:lnTo>
                    <a:pt x="2370" y="510"/>
                  </a:lnTo>
                  <a:lnTo>
                    <a:pt x="2382" y="510"/>
                  </a:lnTo>
                  <a:close/>
                  <a:moveTo>
                    <a:pt x="1590" y="30"/>
                  </a:moveTo>
                  <a:lnTo>
                    <a:pt x="1548" y="24"/>
                  </a:lnTo>
                  <a:lnTo>
                    <a:pt x="1554" y="36"/>
                  </a:lnTo>
                  <a:lnTo>
                    <a:pt x="1590" y="30"/>
                  </a:lnTo>
                  <a:close/>
                  <a:moveTo>
                    <a:pt x="1890" y="696"/>
                  </a:moveTo>
                  <a:lnTo>
                    <a:pt x="1896" y="708"/>
                  </a:lnTo>
                  <a:lnTo>
                    <a:pt x="1920" y="720"/>
                  </a:lnTo>
                  <a:lnTo>
                    <a:pt x="1950" y="738"/>
                  </a:lnTo>
                  <a:lnTo>
                    <a:pt x="1974" y="744"/>
                  </a:lnTo>
                  <a:lnTo>
                    <a:pt x="1992" y="738"/>
                  </a:lnTo>
                  <a:lnTo>
                    <a:pt x="1980" y="720"/>
                  </a:lnTo>
                  <a:lnTo>
                    <a:pt x="1950" y="702"/>
                  </a:lnTo>
                  <a:lnTo>
                    <a:pt x="1914" y="696"/>
                  </a:lnTo>
                  <a:lnTo>
                    <a:pt x="1890" y="696"/>
                  </a:lnTo>
                  <a:close/>
                  <a:moveTo>
                    <a:pt x="3108" y="126"/>
                  </a:moveTo>
                  <a:lnTo>
                    <a:pt x="3120" y="108"/>
                  </a:lnTo>
                  <a:lnTo>
                    <a:pt x="3030" y="108"/>
                  </a:lnTo>
                  <a:lnTo>
                    <a:pt x="3108" y="126"/>
                  </a:lnTo>
                  <a:close/>
                  <a:moveTo>
                    <a:pt x="1560" y="102"/>
                  </a:moveTo>
                  <a:lnTo>
                    <a:pt x="1632" y="102"/>
                  </a:lnTo>
                  <a:lnTo>
                    <a:pt x="1608" y="84"/>
                  </a:lnTo>
                  <a:lnTo>
                    <a:pt x="1560" y="102"/>
                  </a:lnTo>
                  <a:close/>
                  <a:moveTo>
                    <a:pt x="1572" y="60"/>
                  </a:moveTo>
                  <a:lnTo>
                    <a:pt x="1584" y="66"/>
                  </a:lnTo>
                  <a:lnTo>
                    <a:pt x="1596" y="78"/>
                  </a:lnTo>
                  <a:lnTo>
                    <a:pt x="1620" y="66"/>
                  </a:lnTo>
                  <a:lnTo>
                    <a:pt x="1620" y="72"/>
                  </a:lnTo>
                  <a:lnTo>
                    <a:pt x="1644" y="72"/>
                  </a:lnTo>
                  <a:lnTo>
                    <a:pt x="1668" y="60"/>
                  </a:lnTo>
                  <a:lnTo>
                    <a:pt x="1674" y="54"/>
                  </a:lnTo>
                  <a:lnTo>
                    <a:pt x="1680" y="54"/>
                  </a:lnTo>
                  <a:lnTo>
                    <a:pt x="1626" y="48"/>
                  </a:lnTo>
                  <a:lnTo>
                    <a:pt x="1614" y="54"/>
                  </a:lnTo>
                  <a:lnTo>
                    <a:pt x="1608" y="54"/>
                  </a:lnTo>
                  <a:lnTo>
                    <a:pt x="1602" y="48"/>
                  </a:lnTo>
                  <a:lnTo>
                    <a:pt x="1584" y="48"/>
                  </a:lnTo>
                  <a:lnTo>
                    <a:pt x="1572" y="60"/>
                  </a:lnTo>
                  <a:close/>
                  <a:moveTo>
                    <a:pt x="1662" y="36"/>
                  </a:moveTo>
                  <a:lnTo>
                    <a:pt x="1602" y="36"/>
                  </a:lnTo>
                  <a:lnTo>
                    <a:pt x="1650" y="48"/>
                  </a:lnTo>
                  <a:lnTo>
                    <a:pt x="1662" y="36"/>
                  </a:lnTo>
                  <a:close/>
                  <a:moveTo>
                    <a:pt x="1542" y="522"/>
                  </a:moveTo>
                  <a:lnTo>
                    <a:pt x="1500" y="528"/>
                  </a:lnTo>
                  <a:lnTo>
                    <a:pt x="1512" y="552"/>
                  </a:lnTo>
                  <a:lnTo>
                    <a:pt x="1542" y="534"/>
                  </a:lnTo>
                  <a:lnTo>
                    <a:pt x="1524" y="558"/>
                  </a:lnTo>
                  <a:lnTo>
                    <a:pt x="1518" y="558"/>
                  </a:lnTo>
                  <a:lnTo>
                    <a:pt x="1512" y="564"/>
                  </a:lnTo>
                  <a:lnTo>
                    <a:pt x="1506" y="564"/>
                  </a:lnTo>
                  <a:lnTo>
                    <a:pt x="1494" y="570"/>
                  </a:lnTo>
                  <a:lnTo>
                    <a:pt x="1488" y="576"/>
                  </a:lnTo>
                  <a:lnTo>
                    <a:pt x="1488" y="582"/>
                  </a:lnTo>
                  <a:lnTo>
                    <a:pt x="1500" y="594"/>
                  </a:lnTo>
                  <a:lnTo>
                    <a:pt x="1524" y="606"/>
                  </a:lnTo>
                  <a:lnTo>
                    <a:pt x="1566" y="606"/>
                  </a:lnTo>
                  <a:lnTo>
                    <a:pt x="1590" y="612"/>
                  </a:lnTo>
                  <a:lnTo>
                    <a:pt x="1608" y="618"/>
                  </a:lnTo>
                  <a:lnTo>
                    <a:pt x="1614" y="624"/>
                  </a:lnTo>
                  <a:lnTo>
                    <a:pt x="1620" y="636"/>
                  </a:lnTo>
                  <a:lnTo>
                    <a:pt x="1620" y="648"/>
                  </a:lnTo>
                  <a:lnTo>
                    <a:pt x="1626" y="654"/>
                  </a:lnTo>
                  <a:lnTo>
                    <a:pt x="1626" y="660"/>
                  </a:lnTo>
                  <a:lnTo>
                    <a:pt x="1644" y="660"/>
                  </a:lnTo>
                  <a:lnTo>
                    <a:pt x="1662" y="666"/>
                  </a:lnTo>
                  <a:lnTo>
                    <a:pt x="1674" y="666"/>
                  </a:lnTo>
                  <a:lnTo>
                    <a:pt x="1692" y="672"/>
                  </a:lnTo>
                  <a:lnTo>
                    <a:pt x="1704" y="672"/>
                  </a:lnTo>
                  <a:lnTo>
                    <a:pt x="1818" y="666"/>
                  </a:lnTo>
                  <a:lnTo>
                    <a:pt x="1806" y="666"/>
                  </a:lnTo>
                  <a:lnTo>
                    <a:pt x="1734" y="642"/>
                  </a:lnTo>
                  <a:lnTo>
                    <a:pt x="1704" y="618"/>
                  </a:lnTo>
                  <a:lnTo>
                    <a:pt x="1692" y="600"/>
                  </a:lnTo>
                  <a:lnTo>
                    <a:pt x="1686" y="588"/>
                  </a:lnTo>
                  <a:lnTo>
                    <a:pt x="1674" y="582"/>
                  </a:lnTo>
                  <a:lnTo>
                    <a:pt x="1674" y="570"/>
                  </a:lnTo>
                  <a:lnTo>
                    <a:pt x="1668" y="564"/>
                  </a:lnTo>
                  <a:lnTo>
                    <a:pt x="1692" y="516"/>
                  </a:lnTo>
                  <a:lnTo>
                    <a:pt x="1686" y="510"/>
                  </a:lnTo>
                  <a:lnTo>
                    <a:pt x="1686" y="504"/>
                  </a:lnTo>
                  <a:lnTo>
                    <a:pt x="1674" y="504"/>
                  </a:lnTo>
                  <a:lnTo>
                    <a:pt x="1710" y="498"/>
                  </a:lnTo>
                  <a:lnTo>
                    <a:pt x="1698" y="480"/>
                  </a:lnTo>
                  <a:lnTo>
                    <a:pt x="1734" y="480"/>
                  </a:lnTo>
                  <a:lnTo>
                    <a:pt x="1710" y="468"/>
                  </a:lnTo>
                  <a:lnTo>
                    <a:pt x="1734" y="474"/>
                  </a:lnTo>
                  <a:lnTo>
                    <a:pt x="1740" y="462"/>
                  </a:lnTo>
                  <a:lnTo>
                    <a:pt x="1722" y="450"/>
                  </a:lnTo>
                  <a:lnTo>
                    <a:pt x="1764" y="450"/>
                  </a:lnTo>
                  <a:lnTo>
                    <a:pt x="1770" y="444"/>
                  </a:lnTo>
                  <a:lnTo>
                    <a:pt x="1752" y="426"/>
                  </a:lnTo>
                  <a:lnTo>
                    <a:pt x="1782" y="432"/>
                  </a:lnTo>
                  <a:lnTo>
                    <a:pt x="1782" y="402"/>
                  </a:lnTo>
                  <a:lnTo>
                    <a:pt x="1788" y="408"/>
                  </a:lnTo>
                  <a:lnTo>
                    <a:pt x="1800" y="414"/>
                  </a:lnTo>
                  <a:lnTo>
                    <a:pt x="1812" y="414"/>
                  </a:lnTo>
                  <a:lnTo>
                    <a:pt x="1830" y="408"/>
                  </a:lnTo>
                  <a:lnTo>
                    <a:pt x="1842" y="402"/>
                  </a:lnTo>
                  <a:lnTo>
                    <a:pt x="1860" y="390"/>
                  </a:lnTo>
                  <a:lnTo>
                    <a:pt x="1878" y="372"/>
                  </a:lnTo>
                  <a:lnTo>
                    <a:pt x="1896" y="372"/>
                  </a:lnTo>
                  <a:lnTo>
                    <a:pt x="1938" y="366"/>
                  </a:lnTo>
                  <a:lnTo>
                    <a:pt x="1992" y="354"/>
                  </a:lnTo>
                  <a:lnTo>
                    <a:pt x="2046" y="348"/>
                  </a:lnTo>
                  <a:lnTo>
                    <a:pt x="2094" y="336"/>
                  </a:lnTo>
                  <a:lnTo>
                    <a:pt x="2124" y="330"/>
                  </a:lnTo>
                  <a:lnTo>
                    <a:pt x="2136" y="324"/>
                  </a:lnTo>
                  <a:lnTo>
                    <a:pt x="2154" y="318"/>
                  </a:lnTo>
                  <a:lnTo>
                    <a:pt x="2160" y="312"/>
                  </a:lnTo>
                  <a:lnTo>
                    <a:pt x="2166" y="300"/>
                  </a:lnTo>
                  <a:lnTo>
                    <a:pt x="2166" y="294"/>
                  </a:lnTo>
                  <a:lnTo>
                    <a:pt x="2154" y="282"/>
                  </a:lnTo>
                  <a:lnTo>
                    <a:pt x="2136" y="276"/>
                  </a:lnTo>
                  <a:lnTo>
                    <a:pt x="2088" y="270"/>
                  </a:lnTo>
                  <a:lnTo>
                    <a:pt x="2046" y="276"/>
                  </a:lnTo>
                  <a:lnTo>
                    <a:pt x="2016" y="288"/>
                  </a:lnTo>
                  <a:lnTo>
                    <a:pt x="1980" y="300"/>
                  </a:lnTo>
                  <a:lnTo>
                    <a:pt x="1938" y="318"/>
                  </a:lnTo>
                  <a:lnTo>
                    <a:pt x="1860" y="318"/>
                  </a:lnTo>
                  <a:lnTo>
                    <a:pt x="1842" y="312"/>
                  </a:lnTo>
                  <a:lnTo>
                    <a:pt x="1824" y="312"/>
                  </a:lnTo>
                  <a:lnTo>
                    <a:pt x="1806" y="336"/>
                  </a:lnTo>
                  <a:lnTo>
                    <a:pt x="1782" y="318"/>
                  </a:lnTo>
                  <a:lnTo>
                    <a:pt x="1728" y="342"/>
                  </a:lnTo>
                  <a:lnTo>
                    <a:pt x="1698" y="342"/>
                  </a:lnTo>
                  <a:lnTo>
                    <a:pt x="1668" y="366"/>
                  </a:lnTo>
                  <a:lnTo>
                    <a:pt x="1692" y="372"/>
                  </a:lnTo>
                  <a:lnTo>
                    <a:pt x="1644" y="372"/>
                  </a:lnTo>
                  <a:lnTo>
                    <a:pt x="1614" y="378"/>
                  </a:lnTo>
                  <a:lnTo>
                    <a:pt x="1614" y="396"/>
                  </a:lnTo>
                  <a:lnTo>
                    <a:pt x="1638" y="378"/>
                  </a:lnTo>
                  <a:lnTo>
                    <a:pt x="1644" y="396"/>
                  </a:lnTo>
                  <a:lnTo>
                    <a:pt x="1668" y="396"/>
                  </a:lnTo>
                  <a:lnTo>
                    <a:pt x="1662" y="408"/>
                  </a:lnTo>
                  <a:lnTo>
                    <a:pt x="1620" y="408"/>
                  </a:lnTo>
                  <a:lnTo>
                    <a:pt x="1614" y="420"/>
                  </a:lnTo>
                  <a:lnTo>
                    <a:pt x="1644" y="426"/>
                  </a:lnTo>
                  <a:lnTo>
                    <a:pt x="1596" y="432"/>
                  </a:lnTo>
                  <a:lnTo>
                    <a:pt x="1632" y="438"/>
                  </a:lnTo>
                  <a:lnTo>
                    <a:pt x="1584" y="444"/>
                  </a:lnTo>
                  <a:lnTo>
                    <a:pt x="1584" y="462"/>
                  </a:lnTo>
                  <a:lnTo>
                    <a:pt x="1554" y="474"/>
                  </a:lnTo>
                  <a:lnTo>
                    <a:pt x="1560" y="486"/>
                  </a:lnTo>
                  <a:lnTo>
                    <a:pt x="1602" y="468"/>
                  </a:lnTo>
                  <a:lnTo>
                    <a:pt x="1590" y="498"/>
                  </a:lnTo>
                  <a:lnTo>
                    <a:pt x="1554" y="498"/>
                  </a:lnTo>
                  <a:lnTo>
                    <a:pt x="1542" y="504"/>
                  </a:lnTo>
                  <a:lnTo>
                    <a:pt x="1542" y="522"/>
                  </a:lnTo>
                  <a:close/>
                  <a:moveTo>
                    <a:pt x="5778" y="498"/>
                  </a:moveTo>
                  <a:lnTo>
                    <a:pt x="5850" y="486"/>
                  </a:lnTo>
                  <a:lnTo>
                    <a:pt x="5958" y="504"/>
                  </a:lnTo>
                  <a:lnTo>
                    <a:pt x="5952" y="492"/>
                  </a:lnTo>
                  <a:lnTo>
                    <a:pt x="5940" y="486"/>
                  </a:lnTo>
                  <a:lnTo>
                    <a:pt x="5928" y="474"/>
                  </a:lnTo>
                  <a:lnTo>
                    <a:pt x="5904" y="462"/>
                  </a:lnTo>
                  <a:lnTo>
                    <a:pt x="5844" y="462"/>
                  </a:lnTo>
                  <a:lnTo>
                    <a:pt x="5808" y="468"/>
                  </a:lnTo>
                  <a:lnTo>
                    <a:pt x="5796" y="468"/>
                  </a:lnTo>
                  <a:lnTo>
                    <a:pt x="5778" y="498"/>
                  </a:lnTo>
                  <a:close/>
                  <a:moveTo>
                    <a:pt x="5784" y="378"/>
                  </a:moveTo>
                  <a:lnTo>
                    <a:pt x="5838" y="384"/>
                  </a:lnTo>
                  <a:lnTo>
                    <a:pt x="5844" y="378"/>
                  </a:lnTo>
                  <a:lnTo>
                    <a:pt x="5850" y="366"/>
                  </a:lnTo>
                  <a:lnTo>
                    <a:pt x="5838" y="354"/>
                  </a:lnTo>
                  <a:lnTo>
                    <a:pt x="5802" y="354"/>
                  </a:lnTo>
                  <a:lnTo>
                    <a:pt x="5742" y="342"/>
                  </a:lnTo>
                  <a:lnTo>
                    <a:pt x="5724" y="342"/>
                  </a:lnTo>
                  <a:lnTo>
                    <a:pt x="5718" y="348"/>
                  </a:lnTo>
                  <a:lnTo>
                    <a:pt x="5730" y="354"/>
                  </a:lnTo>
                  <a:lnTo>
                    <a:pt x="5742" y="366"/>
                  </a:lnTo>
                  <a:lnTo>
                    <a:pt x="5754" y="372"/>
                  </a:lnTo>
                  <a:lnTo>
                    <a:pt x="5772" y="372"/>
                  </a:lnTo>
                  <a:lnTo>
                    <a:pt x="5778" y="378"/>
                  </a:lnTo>
                  <a:lnTo>
                    <a:pt x="5784" y="378"/>
                  </a:lnTo>
                  <a:close/>
                  <a:moveTo>
                    <a:pt x="5724" y="432"/>
                  </a:moveTo>
                  <a:lnTo>
                    <a:pt x="5712" y="444"/>
                  </a:lnTo>
                  <a:lnTo>
                    <a:pt x="5712" y="456"/>
                  </a:lnTo>
                  <a:lnTo>
                    <a:pt x="5724" y="462"/>
                  </a:lnTo>
                  <a:lnTo>
                    <a:pt x="5772" y="462"/>
                  </a:lnTo>
                  <a:lnTo>
                    <a:pt x="5778" y="456"/>
                  </a:lnTo>
                  <a:lnTo>
                    <a:pt x="5778" y="450"/>
                  </a:lnTo>
                  <a:lnTo>
                    <a:pt x="5766" y="438"/>
                  </a:lnTo>
                  <a:lnTo>
                    <a:pt x="5742" y="426"/>
                  </a:lnTo>
                  <a:lnTo>
                    <a:pt x="5730" y="426"/>
                  </a:lnTo>
                  <a:lnTo>
                    <a:pt x="5724" y="432"/>
                  </a:lnTo>
                  <a:close/>
                  <a:moveTo>
                    <a:pt x="3072" y="96"/>
                  </a:moveTo>
                  <a:lnTo>
                    <a:pt x="3192" y="96"/>
                  </a:lnTo>
                  <a:lnTo>
                    <a:pt x="3204" y="90"/>
                  </a:lnTo>
                  <a:lnTo>
                    <a:pt x="3228" y="90"/>
                  </a:lnTo>
                  <a:lnTo>
                    <a:pt x="3240" y="84"/>
                  </a:lnTo>
                  <a:lnTo>
                    <a:pt x="3240" y="72"/>
                  </a:lnTo>
                  <a:lnTo>
                    <a:pt x="3222" y="60"/>
                  </a:lnTo>
                  <a:lnTo>
                    <a:pt x="3192" y="42"/>
                  </a:lnTo>
                  <a:lnTo>
                    <a:pt x="3156" y="30"/>
                  </a:lnTo>
                  <a:lnTo>
                    <a:pt x="3132" y="24"/>
                  </a:lnTo>
                  <a:lnTo>
                    <a:pt x="3120" y="18"/>
                  </a:lnTo>
                  <a:lnTo>
                    <a:pt x="3108" y="18"/>
                  </a:lnTo>
                  <a:lnTo>
                    <a:pt x="3096" y="12"/>
                  </a:lnTo>
                  <a:lnTo>
                    <a:pt x="3060" y="12"/>
                  </a:lnTo>
                  <a:lnTo>
                    <a:pt x="3048" y="18"/>
                  </a:lnTo>
                  <a:lnTo>
                    <a:pt x="3036" y="18"/>
                  </a:lnTo>
                  <a:lnTo>
                    <a:pt x="3030" y="30"/>
                  </a:lnTo>
                  <a:lnTo>
                    <a:pt x="3030" y="42"/>
                  </a:lnTo>
                  <a:lnTo>
                    <a:pt x="3036" y="54"/>
                  </a:lnTo>
                  <a:lnTo>
                    <a:pt x="3048" y="66"/>
                  </a:lnTo>
                  <a:lnTo>
                    <a:pt x="3054" y="78"/>
                  </a:lnTo>
                  <a:lnTo>
                    <a:pt x="3072" y="96"/>
                  </a:lnTo>
                  <a:close/>
                  <a:moveTo>
                    <a:pt x="6138" y="408"/>
                  </a:moveTo>
                  <a:lnTo>
                    <a:pt x="6144" y="402"/>
                  </a:lnTo>
                  <a:lnTo>
                    <a:pt x="6132" y="396"/>
                  </a:lnTo>
                  <a:lnTo>
                    <a:pt x="6102" y="390"/>
                  </a:lnTo>
                  <a:lnTo>
                    <a:pt x="6036" y="390"/>
                  </a:lnTo>
                  <a:lnTo>
                    <a:pt x="6012" y="366"/>
                  </a:lnTo>
                  <a:lnTo>
                    <a:pt x="6000" y="360"/>
                  </a:lnTo>
                  <a:lnTo>
                    <a:pt x="5970" y="360"/>
                  </a:lnTo>
                  <a:lnTo>
                    <a:pt x="5958" y="366"/>
                  </a:lnTo>
                  <a:lnTo>
                    <a:pt x="5910" y="366"/>
                  </a:lnTo>
                  <a:lnTo>
                    <a:pt x="5946" y="390"/>
                  </a:lnTo>
                  <a:lnTo>
                    <a:pt x="5964" y="396"/>
                  </a:lnTo>
                  <a:lnTo>
                    <a:pt x="6000" y="402"/>
                  </a:lnTo>
                  <a:lnTo>
                    <a:pt x="6054" y="414"/>
                  </a:lnTo>
                  <a:lnTo>
                    <a:pt x="6102" y="414"/>
                  </a:lnTo>
                  <a:lnTo>
                    <a:pt x="6138" y="408"/>
                  </a:lnTo>
                  <a:close/>
                  <a:moveTo>
                    <a:pt x="7602" y="744"/>
                  </a:moveTo>
                  <a:lnTo>
                    <a:pt x="7596" y="732"/>
                  </a:lnTo>
                  <a:lnTo>
                    <a:pt x="7572" y="726"/>
                  </a:lnTo>
                  <a:lnTo>
                    <a:pt x="7512" y="714"/>
                  </a:lnTo>
                  <a:lnTo>
                    <a:pt x="7500" y="714"/>
                  </a:lnTo>
                  <a:lnTo>
                    <a:pt x="7512" y="726"/>
                  </a:lnTo>
                  <a:lnTo>
                    <a:pt x="7548" y="738"/>
                  </a:lnTo>
                  <a:lnTo>
                    <a:pt x="7584" y="744"/>
                  </a:lnTo>
                  <a:lnTo>
                    <a:pt x="7602" y="744"/>
                  </a:lnTo>
                  <a:close/>
                  <a:moveTo>
                    <a:pt x="3162" y="120"/>
                  </a:moveTo>
                  <a:lnTo>
                    <a:pt x="3216" y="138"/>
                  </a:lnTo>
                  <a:lnTo>
                    <a:pt x="3246" y="144"/>
                  </a:lnTo>
                  <a:lnTo>
                    <a:pt x="3264" y="144"/>
                  </a:lnTo>
                  <a:lnTo>
                    <a:pt x="3312" y="138"/>
                  </a:lnTo>
                  <a:lnTo>
                    <a:pt x="3372" y="156"/>
                  </a:lnTo>
                  <a:lnTo>
                    <a:pt x="3432" y="156"/>
                  </a:lnTo>
                  <a:lnTo>
                    <a:pt x="3426" y="138"/>
                  </a:lnTo>
                  <a:lnTo>
                    <a:pt x="3402" y="102"/>
                  </a:lnTo>
                  <a:lnTo>
                    <a:pt x="3384" y="96"/>
                  </a:lnTo>
                  <a:lnTo>
                    <a:pt x="3372" y="90"/>
                  </a:lnTo>
                  <a:lnTo>
                    <a:pt x="3354" y="96"/>
                  </a:lnTo>
                  <a:lnTo>
                    <a:pt x="3318" y="114"/>
                  </a:lnTo>
                  <a:lnTo>
                    <a:pt x="3294" y="90"/>
                  </a:lnTo>
                  <a:lnTo>
                    <a:pt x="3282" y="90"/>
                  </a:lnTo>
                  <a:lnTo>
                    <a:pt x="3210" y="102"/>
                  </a:lnTo>
                  <a:lnTo>
                    <a:pt x="3174" y="114"/>
                  </a:lnTo>
                  <a:lnTo>
                    <a:pt x="3162" y="120"/>
                  </a:lnTo>
                  <a:close/>
                  <a:moveTo>
                    <a:pt x="3582" y="198"/>
                  </a:moveTo>
                  <a:lnTo>
                    <a:pt x="3744" y="192"/>
                  </a:lnTo>
                  <a:lnTo>
                    <a:pt x="3702" y="168"/>
                  </a:lnTo>
                  <a:lnTo>
                    <a:pt x="3696" y="168"/>
                  </a:lnTo>
                  <a:lnTo>
                    <a:pt x="3690" y="162"/>
                  </a:lnTo>
                  <a:lnTo>
                    <a:pt x="3666" y="150"/>
                  </a:lnTo>
                  <a:lnTo>
                    <a:pt x="3648" y="144"/>
                  </a:lnTo>
                  <a:lnTo>
                    <a:pt x="3636" y="138"/>
                  </a:lnTo>
                  <a:lnTo>
                    <a:pt x="3618" y="138"/>
                  </a:lnTo>
                  <a:lnTo>
                    <a:pt x="3606" y="144"/>
                  </a:lnTo>
                  <a:lnTo>
                    <a:pt x="3600" y="150"/>
                  </a:lnTo>
                  <a:lnTo>
                    <a:pt x="3588" y="156"/>
                  </a:lnTo>
                  <a:lnTo>
                    <a:pt x="3588" y="150"/>
                  </a:lnTo>
                  <a:lnTo>
                    <a:pt x="3582" y="144"/>
                  </a:lnTo>
                  <a:lnTo>
                    <a:pt x="3576" y="132"/>
                  </a:lnTo>
                  <a:lnTo>
                    <a:pt x="3570" y="126"/>
                  </a:lnTo>
                  <a:lnTo>
                    <a:pt x="3546" y="114"/>
                  </a:lnTo>
                  <a:lnTo>
                    <a:pt x="3522" y="126"/>
                  </a:lnTo>
                  <a:lnTo>
                    <a:pt x="3504" y="162"/>
                  </a:lnTo>
                  <a:lnTo>
                    <a:pt x="3498" y="192"/>
                  </a:lnTo>
                  <a:lnTo>
                    <a:pt x="3492" y="210"/>
                  </a:lnTo>
                  <a:lnTo>
                    <a:pt x="3516" y="222"/>
                  </a:lnTo>
                  <a:lnTo>
                    <a:pt x="3534" y="216"/>
                  </a:lnTo>
                  <a:lnTo>
                    <a:pt x="3546" y="216"/>
                  </a:lnTo>
                  <a:lnTo>
                    <a:pt x="3582" y="198"/>
                  </a:lnTo>
                  <a:close/>
                  <a:moveTo>
                    <a:pt x="5622" y="420"/>
                  </a:moveTo>
                  <a:lnTo>
                    <a:pt x="5640" y="390"/>
                  </a:lnTo>
                  <a:lnTo>
                    <a:pt x="5754" y="390"/>
                  </a:lnTo>
                  <a:lnTo>
                    <a:pt x="5688" y="360"/>
                  </a:lnTo>
                  <a:lnTo>
                    <a:pt x="5700" y="336"/>
                  </a:lnTo>
                  <a:lnTo>
                    <a:pt x="5610" y="318"/>
                  </a:lnTo>
                  <a:lnTo>
                    <a:pt x="5628" y="348"/>
                  </a:lnTo>
                  <a:lnTo>
                    <a:pt x="5616" y="342"/>
                  </a:lnTo>
                  <a:lnTo>
                    <a:pt x="5592" y="336"/>
                  </a:lnTo>
                  <a:lnTo>
                    <a:pt x="5556" y="330"/>
                  </a:lnTo>
                  <a:lnTo>
                    <a:pt x="5514" y="318"/>
                  </a:lnTo>
                  <a:lnTo>
                    <a:pt x="5454" y="318"/>
                  </a:lnTo>
                  <a:lnTo>
                    <a:pt x="5448" y="330"/>
                  </a:lnTo>
                  <a:lnTo>
                    <a:pt x="5460" y="354"/>
                  </a:lnTo>
                  <a:lnTo>
                    <a:pt x="5496" y="372"/>
                  </a:lnTo>
                  <a:lnTo>
                    <a:pt x="5538" y="390"/>
                  </a:lnTo>
                  <a:lnTo>
                    <a:pt x="5574" y="408"/>
                  </a:lnTo>
                  <a:lnTo>
                    <a:pt x="5610" y="414"/>
                  </a:lnTo>
                  <a:lnTo>
                    <a:pt x="5622" y="420"/>
                  </a:lnTo>
                  <a:close/>
                  <a:moveTo>
                    <a:pt x="4320" y="432"/>
                  </a:moveTo>
                  <a:lnTo>
                    <a:pt x="4368" y="444"/>
                  </a:lnTo>
                  <a:lnTo>
                    <a:pt x="4380" y="444"/>
                  </a:lnTo>
                  <a:lnTo>
                    <a:pt x="4392" y="438"/>
                  </a:lnTo>
                  <a:lnTo>
                    <a:pt x="4398" y="438"/>
                  </a:lnTo>
                  <a:lnTo>
                    <a:pt x="4404" y="432"/>
                  </a:lnTo>
                  <a:lnTo>
                    <a:pt x="4404" y="426"/>
                  </a:lnTo>
                  <a:lnTo>
                    <a:pt x="4398" y="426"/>
                  </a:lnTo>
                  <a:lnTo>
                    <a:pt x="4362" y="414"/>
                  </a:lnTo>
                  <a:lnTo>
                    <a:pt x="4344" y="420"/>
                  </a:lnTo>
                  <a:lnTo>
                    <a:pt x="4332" y="420"/>
                  </a:lnTo>
                  <a:lnTo>
                    <a:pt x="4320" y="432"/>
                  </a:lnTo>
                  <a:close/>
                  <a:moveTo>
                    <a:pt x="5424" y="354"/>
                  </a:moveTo>
                  <a:lnTo>
                    <a:pt x="5370" y="336"/>
                  </a:lnTo>
                  <a:lnTo>
                    <a:pt x="5394" y="366"/>
                  </a:lnTo>
                  <a:lnTo>
                    <a:pt x="5424" y="354"/>
                  </a:lnTo>
                  <a:close/>
                  <a:moveTo>
                    <a:pt x="7986" y="666"/>
                  </a:moveTo>
                  <a:lnTo>
                    <a:pt x="8034" y="654"/>
                  </a:lnTo>
                  <a:lnTo>
                    <a:pt x="8088" y="654"/>
                  </a:lnTo>
                  <a:lnTo>
                    <a:pt x="8100" y="648"/>
                  </a:lnTo>
                  <a:lnTo>
                    <a:pt x="8106" y="642"/>
                  </a:lnTo>
                  <a:lnTo>
                    <a:pt x="8106" y="636"/>
                  </a:lnTo>
                  <a:lnTo>
                    <a:pt x="8100" y="630"/>
                  </a:lnTo>
                  <a:lnTo>
                    <a:pt x="8088" y="630"/>
                  </a:lnTo>
                  <a:lnTo>
                    <a:pt x="8052" y="618"/>
                  </a:lnTo>
                  <a:lnTo>
                    <a:pt x="8028" y="612"/>
                  </a:lnTo>
                  <a:lnTo>
                    <a:pt x="8010" y="606"/>
                  </a:lnTo>
                  <a:lnTo>
                    <a:pt x="7968" y="606"/>
                  </a:lnTo>
                  <a:lnTo>
                    <a:pt x="7944" y="618"/>
                  </a:lnTo>
                  <a:lnTo>
                    <a:pt x="7938" y="630"/>
                  </a:lnTo>
                  <a:lnTo>
                    <a:pt x="7938" y="654"/>
                  </a:lnTo>
                  <a:lnTo>
                    <a:pt x="7944" y="666"/>
                  </a:lnTo>
                  <a:lnTo>
                    <a:pt x="7950" y="666"/>
                  </a:lnTo>
                  <a:lnTo>
                    <a:pt x="7962" y="672"/>
                  </a:lnTo>
                  <a:lnTo>
                    <a:pt x="7968" y="672"/>
                  </a:lnTo>
                  <a:lnTo>
                    <a:pt x="7980" y="666"/>
                  </a:lnTo>
                  <a:lnTo>
                    <a:pt x="7986" y="666"/>
                  </a:lnTo>
                  <a:close/>
                  <a:moveTo>
                    <a:pt x="162" y="1788"/>
                  </a:moveTo>
                  <a:lnTo>
                    <a:pt x="150" y="1788"/>
                  </a:lnTo>
                  <a:lnTo>
                    <a:pt x="138" y="1794"/>
                  </a:lnTo>
                  <a:lnTo>
                    <a:pt x="114" y="1794"/>
                  </a:lnTo>
                  <a:lnTo>
                    <a:pt x="108" y="1788"/>
                  </a:lnTo>
                  <a:lnTo>
                    <a:pt x="96" y="1788"/>
                  </a:lnTo>
                  <a:lnTo>
                    <a:pt x="96" y="1782"/>
                  </a:lnTo>
                  <a:lnTo>
                    <a:pt x="84" y="1782"/>
                  </a:lnTo>
                  <a:lnTo>
                    <a:pt x="84" y="1788"/>
                  </a:lnTo>
                  <a:lnTo>
                    <a:pt x="72" y="1800"/>
                  </a:lnTo>
                  <a:lnTo>
                    <a:pt x="12" y="1800"/>
                  </a:lnTo>
                  <a:lnTo>
                    <a:pt x="0" y="1812"/>
                  </a:lnTo>
                  <a:lnTo>
                    <a:pt x="0" y="1818"/>
                  </a:lnTo>
                  <a:lnTo>
                    <a:pt x="12" y="1830"/>
                  </a:lnTo>
                  <a:lnTo>
                    <a:pt x="6" y="1842"/>
                  </a:lnTo>
                  <a:lnTo>
                    <a:pt x="12" y="1848"/>
                  </a:lnTo>
                  <a:lnTo>
                    <a:pt x="18" y="1848"/>
                  </a:lnTo>
                  <a:lnTo>
                    <a:pt x="24" y="1842"/>
                  </a:lnTo>
                  <a:lnTo>
                    <a:pt x="48" y="1842"/>
                  </a:lnTo>
                  <a:lnTo>
                    <a:pt x="54" y="1848"/>
                  </a:lnTo>
                  <a:lnTo>
                    <a:pt x="66" y="1848"/>
                  </a:lnTo>
                  <a:lnTo>
                    <a:pt x="72" y="1854"/>
                  </a:lnTo>
                  <a:lnTo>
                    <a:pt x="162" y="1854"/>
                  </a:lnTo>
                  <a:lnTo>
                    <a:pt x="162" y="1848"/>
                  </a:lnTo>
                  <a:lnTo>
                    <a:pt x="168" y="1848"/>
                  </a:lnTo>
                  <a:lnTo>
                    <a:pt x="162" y="1830"/>
                  </a:lnTo>
                  <a:lnTo>
                    <a:pt x="174" y="1818"/>
                  </a:lnTo>
                  <a:lnTo>
                    <a:pt x="174" y="1800"/>
                  </a:lnTo>
                  <a:lnTo>
                    <a:pt x="168" y="1788"/>
                  </a:lnTo>
                  <a:lnTo>
                    <a:pt x="162" y="1788"/>
                  </a:lnTo>
                  <a:close/>
                  <a:moveTo>
                    <a:pt x="1038" y="90"/>
                  </a:moveTo>
                  <a:lnTo>
                    <a:pt x="1062" y="72"/>
                  </a:lnTo>
                  <a:lnTo>
                    <a:pt x="1032" y="72"/>
                  </a:lnTo>
                  <a:lnTo>
                    <a:pt x="1032" y="84"/>
                  </a:lnTo>
                  <a:lnTo>
                    <a:pt x="1038" y="90"/>
                  </a:lnTo>
                  <a:close/>
                  <a:moveTo>
                    <a:pt x="990" y="72"/>
                  </a:moveTo>
                  <a:lnTo>
                    <a:pt x="1074" y="54"/>
                  </a:lnTo>
                  <a:lnTo>
                    <a:pt x="1044" y="42"/>
                  </a:lnTo>
                  <a:lnTo>
                    <a:pt x="996" y="54"/>
                  </a:lnTo>
                  <a:lnTo>
                    <a:pt x="948" y="54"/>
                  </a:lnTo>
                  <a:lnTo>
                    <a:pt x="966" y="66"/>
                  </a:lnTo>
                  <a:lnTo>
                    <a:pt x="990" y="72"/>
                  </a:lnTo>
                  <a:close/>
                  <a:moveTo>
                    <a:pt x="1122" y="90"/>
                  </a:moveTo>
                  <a:lnTo>
                    <a:pt x="1128" y="78"/>
                  </a:lnTo>
                  <a:lnTo>
                    <a:pt x="1152" y="78"/>
                  </a:lnTo>
                  <a:lnTo>
                    <a:pt x="1164" y="66"/>
                  </a:lnTo>
                  <a:lnTo>
                    <a:pt x="1218" y="66"/>
                  </a:lnTo>
                  <a:lnTo>
                    <a:pt x="1218" y="60"/>
                  </a:lnTo>
                  <a:lnTo>
                    <a:pt x="1206" y="54"/>
                  </a:lnTo>
                  <a:lnTo>
                    <a:pt x="1182" y="54"/>
                  </a:lnTo>
                  <a:lnTo>
                    <a:pt x="1182" y="48"/>
                  </a:lnTo>
                  <a:lnTo>
                    <a:pt x="1176" y="48"/>
                  </a:lnTo>
                  <a:lnTo>
                    <a:pt x="1164" y="42"/>
                  </a:lnTo>
                  <a:lnTo>
                    <a:pt x="1140" y="42"/>
                  </a:lnTo>
                  <a:lnTo>
                    <a:pt x="1134" y="48"/>
                  </a:lnTo>
                  <a:lnTo>
                    <a:pt x="1128" y="60"/>
                  </a:lnTo>
                  <a:lnTo>
                    <a:pt x="1128" y="66"/>
                  </a:lnTo>
                  <a:lnTo>
                    <a:pt x="1122" y="66"/>
                  </a:lnTo>
                  <a:lnTo>
                    <a:pt x="1116" y="72"/>
                  </a:lnTo>
                  <a:lnTo>
                    <a:pt x="1104" y="72"/>
                  </a:lnTo>
                  <a:lnTo>
                    <a:pt x="1086" y="78"/>
                  </a:lnTo>
                  <a:lnTo>
                    <a:pt x="1080" y="78"/>
                  </a:lnTo>
                  <a:lnTo>
                    <a:pt x="1074" y="84"/>
                  </a:lnTo>
                  <a:lnTo>
                    <a:pt x="1080" y="84"/>
                  </a:lnTo>
                  <a:lnTo>
                    <a:pt x="1092" y="90"/>
                  </a:lnTo>
                  <a:lnTo>
                    <a:pt x="1122" y="90"/>
                  </a:lnTo>
                  <a:close/>
                  <a:moveTo>
                    <a:pt x="1176" y="78"/>
                  </a:moveTo>
                  <a:lnTo>
                    <a:pt x="1158" y="90"/>
                  </a:lnTo>
                  <a:lnTo>
                    <a:pt x="1176" y="102"/>
                  </a:lnTo>
                  <a:lnTo>
                    <a:pt x="1194" y="108"/>
                  </a:lnTo>
                  <a:lnTo>
                    <a:pt x="1248" y="102"/>
                  </a:lnTo>
                  <a:lnTo>
                    <a:pt x="1242" y="90"/>
                  </a:lnTo>
                  <a:lnTo>
                    <a:pt x="1212" y="90"/>
                  </a:lnTo>
                  <a:lnTo>
                    <a:pt x="1176" y="78"/>
                  </a:lnTo>
                  <a:close/>
                  <a:moveTo>
                    <a:pt x="7812" y="2436"/>
                  </a:moveTo>
                  <a:lnTo>
                    <a:pt x="7782" y="2400"/>
                  </a:lnTo>
                  <a:lnTo>
                    <a:pt x="7776" y="2400"/>
                  </a:lnTo>
                  <a:lnTo>
                    <a:pt x="7770" y="2394"/>
                  </a:lnTo>
                  <a:lnTo>
                    <a:pt x="7752" y="2388"/>
                  </a:lnTo>
                  <a:lnTo>
                    <a:pt x="7728" y="2364"/>
                  </a:lnTo>
                  <a:lnTo>
                    <a:pt x="7722" y="2352"/>
                  </a:lnTo>
                  <a:lnTo>
                    <a:pt x="7704" y="2298"/>
                  </a:lnTo>
                  <a:lnTo>
                    <a:pt x="7698" y="2286"/>
                  </a:lnTo>
                  <a:lnTo>
                    <a:pt x="7698" y="2274"/>
                  </a:lnTo>
                  <a:lnTo>
                    <a:pt x="7674" y="2250"/>
                  </a:lnTo>
                  <a:lnTo>
                    <a:pt x="7680" y="2244"/>
                  </a:lnTo>
                  <a:lnTo>
                    <a:pt x="7698" y="2244"/>
                  </a:lnTo>
                  <a:lnTo>
                    <a:pt x="7770" y="2268"/>
                  </a:lnTo>
                  <a:lnTo>
                    <a:pt x="7800" y="2280"/>
                  </a:lnTo>
                  <a:lnTo>
                    <a:pt x="7812" y="2286"/>
                  </a:lnTo>
                  <a:lnTo>
                    <a:pt x="7740" y="2232"/>
                  </a:lnTo>
                  <a:lnTo>
                    <a:pt x="7734" y="2226"/>
                  </a:lnTo>
                  <a:lnTo>
                    <a:pt x="7722" y="2202"/>
                  </a:lnTo>
                  <a:lnTo>
                    <a:pt x="7710" y="2196"/>
                  </a:lnTo>
                  <a:lnTo>
                    <a:pt x="7704" y="2184"/>
                  </a:lnTo>
                  <a:lnTo>
                    <a:pt x="7698" y="2178"/>
                  </a:lnTo>
                  <a:lnTo>
                    <a:pt x="7674" y="2166"/>
                  </a:lnTo>
                  <a:lnTo>
                    <a:pt x="7668" y="2160"/>
                  </a:lnTo>
                  <a:lnTo>
                    <a:pt x="7656" y="2154"/>
                  </a:lnTo>
                  <a:lnTo>
                    <a:pt x="7578" y="2070"/>
                  </a:lnTo>
                  <a:lnTo>
                    <a:pt x="7554" y="2070"/>
                  </a:lnTo>
                  <a:lnTo>
                    <a:pt x="7542" y="2040"/>
                  </a:lnTo>
                  <a:lnTo>
                    <a:pt x="7524" y="2040"/>
                  </a:lnTo>
                  <a:lnTo>
                    <a:pt x="7512" y="2028"/>
                  </a:lnTo>
                  <a:lnTo>
                    <a:pt x="7500" y="2004"/>
                  </a:lnTo>
                  <a:lnTo>
                    <a:pt x="7500" y="1980"/>
                  </a:lnTo>
                  <a:lnTo>
                    <a:pt x="7470" y="1944"/>
                  </a:lnTo>
                  <a:lnTo>
                    <a:pt x="7446" y="1950"/>
                  </a:lnTo>
                  <a:lnTo>
                    <a:pt x="7434" y="1920"/>
                  </a:lnTo>
                  <a:lnTo>
                    <a:pt x="7392" y="1890"/>
                  </a:lnTo>
                  <a:lnTo>
                    <a:pt x="7380" y="1866"/>
                  </a:lnTo>
                  <a:lnTo>
                    <a:pt x="7368" y="1860"/>
                  </a:lnTo>
                  <a:lnTo>
                    <a:pt x="7362" y="1854"/>
                  </a:lnTo>
                  <a:lnTo>
                    <a:pt x="7344" y="1854"/>
                  </a:lnTo>
                  <a:lnTo>
                    <a:pt x="7344" y="1860"/>
                  </a:lnTo>
                  <a:lnTo>
                    <a:pt x="7392" y="1908"/>
                  </a:lnTo>
                  <a:lnTo>
                    <a:pt x="7392" y="1914"/>
                  </a:lnTo>
                  <a:lnTo>
                    <a:pt x="7386" y="1914"/>
                  </a:lnTo>
                  <a:lnTo>
                    <a:pt x="7380" y="1908"/>
                  </a:lnTo>
                  <a:lnTo>
                    <a:pt x="7368" y="1908"/>
                  </a:lnTo>
                  <a:lnTo>
                    <a:pt x="7362" y="1914"/>
                  </a:lnTo>
                  <a:lnTo>
                    <a:pt x="7362" y="1926"/>
                  </a:lnTo>
                  <a:lnTo>
                    <a:pt x="7374" y="1950"/>
                  </a:lnTo>
                  <a:lnTo>
                    <a:pt x="7386" y="1962"/>
                  </a:lnTo>
                  <a:lnTo>
                    <a:pt x="7392" y="1974"/>
                  </a:lnTo>
                  <a:lnTo>
                    <a:pt x="7404" y="1980"/>
                  </a:lnTo>
                  <a:lnTo>
                    <a:pt x="7404" y="1992"/>
                  </a:lnTo>
                  <a:lnTo>
                    <a:pt x="7416" y="2016"/>
                  </a:lnTo>
                  <a:lnTo>
                    <a:pt x="7422" y="2022"/>
                  </a:lnTo>
                  <a:lnTo>
                    <a:pt x="7440" y="2034"/>
                  </a:lnTo>
                  <a:lnTo>
                    <a:pt x="7470" y="2052"/>
                  </a:lnTo>
                  <a:lnTo>
                    <a:pt x="7500" y="2076"/>
                  </a:lnTo>
                  <a:lnTo>
                    <a:pt x="7518" y="2100"/>
                  </a:lnTo>
                  <a:lnTo>
                    <a:pt x="7524" y="2112"/>
                  </a:lnTo>
                  <a:lnTo>
                    <a:pt x="7536" y="2130"/>
                  </a:lnTo>
                  <a:lnTo>
                    <a:pt x="7536" y="2142"/>
                  </a:lnTo>
                  <a:lnTo>
                    <a:pt x="7548" y="2154"/>
                  </a:lnTo>
                  <a:lnTo>
                    <a:pt x="7554" y="2166"/>
                  </a:lnTo>
                  <a:lnTo>
                    <a:pt x="7572" y="2184"/>
                  </a:lnTo>
                  <a:lnTo>
                    <a:pt x="7590" y="2208"/>
                  </a:lnTo>
                  <a:lnTo>
                    <a:pt x="7608" y="2238"/>
                  </a:lnTo>
                  <a:lnTo>
                    <a:pt x="7620" y="2262"/>
                  </a:lnTo>
                  <a:lnTo>
                    <a:pt x="7626" y="2268"/>
                  </a:lnTo>
                  <a:lnTo>
                    <a:pt x="7626" y="2280"/>
                  </a:lnTo>
                  <a:lnTo>
                    <a:pt x="7632" y="2292"/>
                  </a:lnTo>
                  <a:lnTo>
                    <a:pt x="7644" y="2304"/>
                  </a:lnTo>
                  <a:lnTo>
                    <a:pt x="7656" y="2304"/>
                  </a:lnTo>
                  <a:lnTo>
                    <a:pt x="7668" y="2310"/>
                  </a:lnTo>
                  <a:lnTo>
                    <a:pt x="7674" y="2322"/>
                  </a:lnTo>
                  <a:lnTo>
                    <a:pt x="7686" y="2334"/>
                  </a:lnTo>
                  <a:lnTo>
                    <a:pt x="7698" y="2358"/>
                  </a:lnTo>
                  <a:lnTo>
                    <a:pt x="7698" y="2376"/>
                  </a:lnTo>
                  <a:lnTo>
                    <a:pt x="7740" y="2412"/>
                  </a:lnTo>
                  <a:lnTo>
                    <a:pt x="7752" y="2466"/>
                  </a:lnTo>
                  <a:lnTo>
                    <a:pt x="7794" y="2508"/>
                  </a:lnTo>
                  <a:lnTo>
                    <a:pt x="7794" y="2502"/>
                  </a:lnTo>
                  <a:lnTo>
                    <a:pt x="7788" y="2496"/>
                  </a:lnTo>
                  <a:lnTo>
                    <a:pt x="7788" y="2484"/>
                  </a:lnTo>
                  <a:lnTo>
                    <a:pt x="7782" y="2472"/>
                  </a:lnTo>
                  <a:lnTo>
                    <a:pt x="7782" y="2460"/>
                  </a:lnTo>
                  <a:lnTo>
                    <a:pt x="7776" y="2448"/>
                  </a:lnTo>
                  <a:lnTo>
                    <a:pt x="7782" y="2442"/>
                  </a:lnTo>
                  <a:lnTo>
                    <a:pt x="7788" y="2442"/>
                  </a:lnTo>
                  <a:lnTo>
                    <a:pt x="7800" y="2454"/>
                  </a:lnTo>
                  <a:lnTo>
                    <a:pt x="7830" y="2454"/>
                  </a:lnTo>
                  <a:lnTo>
                    <a:pt x="7866" y="2496"/>
                  </a:lnTo>
                  <a:lnTo>
                    <a:pt x="7866" y="2472"/>
                  </a:lnTo>
                  <a:lnTo>
                    <a:pt x="7836" y="2430"/>
                  </a:lnTo>
                  <a:lnTo>
                    <a:pt x="7812" y="2436"/>
                  </a:lnTo>
                  <a:close/>
                  <a:moveTo>
                    <a:pt x="1344" y="84"/>
                  </a:moveTo>
                  <a:lnTo>
                    <a:pt x="1350" y="72"/>
                  </a:lnTo>
                  <a:lnTo>
                    <a:pt x="1308" y="66"/>
                  </a:lnTo>
                  <a:lnTo>
                    <a:pt x="1284" y="78"/>
                  </a:lnTo>
                  <a:lnTo>
                    <a:pt x="1290" y="90"/>
                  </a:lnTo>
                  <a:lnTo>
                    <a:pt x="1344" y="84"/>
                  </a:lnTo>
                  <a:close/>
                  <a:moveTo>
                    <a:pt x="9048" y="996"/>
                  </a:moveTo>
                  <a:lnTo>
                    <a:pt x="9036" y="984"/>
                  </a:lnTo>
                  <a:lnTo>
                    <a:pt x="9024" y="978"/>
                  </a:lnTo>
                  <a:lnTo>
                    <a:pt x="9006" y="972"/>
                  </a:lnTo>
                  <a:lnTo>
                    <a:pt x="8994" y="966"/>
                  </a:lnTo>
                  <a:lnTo>
                    <a:pt x="8982" y="966"/>
                  </a:lnTo>
                  <a:lnTo>
                    <a:pt x="8940" y="948"/>
                  </a:lnTo>
                  <a:lnTo>
                    <a:pt x="8898" y="948"/>
                  </a:lnTo>
                  <a:lnTo>
                    <a:pt x="8868" y="930"/>
                  </a:lnTo>
                  <a:lnTo>
                    <a:pt x="8778" y="924"/>
                  </a:lnTo>
                  <a:lnTo>
                    <a:pt x="8736" y="906"/>
                  </a:lnTo>
                  <a:lnTo>
                    <a:pt x="8700" y="906"/>
                  </a:lnTo>
                  <a:lnTo>
                    <a:pt x="8754" y="942"/>
                  </a:lnTo>
                  <a:lnTo>
                    <a:pt x="8808" y="966"/>
                  </a:lnTo>
                  <a:lnTo>
                    <a:pt x="8796" y="966"/>
                  </a:lnTo>
                  <a:lnTo>
                    <a:pt x="8784" y="972"/>
                  </a:lnTo>
                  <a:lnTo>
                    <a:pt x="8754" y="972"/>
                  </a:lnTo>
                  <a:lnTo>
                    <a:pt x="8730" y="960"/>
                  </a:lnTo>
                  <a:lnTo>
                    <a:pt x="8676" y="906"/>
                  </a:lnTo>
                  <a:lnTo>
                    <a:pt x="8580" y="870"/>
                  </a:lnTo>
                  <a:lnTo>
                    <a:pt x="8496" y="846"/>
                  </a:lnTo>
                  <a:lnTo>
                    <a:pt x="8442" y="834"/>
                  </a:lnTo>
                  <a:lnTo>
                    <a:pt x="8370" y="822"/>
                  </a:lnTo>
                  <a:lnTo>
                    <a:pt x="8280" y="804"/>
                  </a:lnTo>
                  <a:lnTo>
                    <a:pt x="8190" y="780"/>
                  </a:lnTo>
                  <a:lnTo>
                    <a:pt x="8112" y="762"/>
                  </a:lnTo>
                  <a:lnTo>
                    <a:pt x="8052" y="750"/>
                  </a:lnTo>
                  <a:lnTo>
                    <a:pt x="7998" y="738"/>
                  </a:lnTo>
                  <a:lnTo>
                    <a:pt x="7956" y="732"/>
                  </a:lnTo>
                  <a:lnTo>
                    <a:pt x="7758" y="732"/>
                  </a:lnTo>
                  <a:lnTo>
                    <a:pt x="7746" y="714"/>
                  </a:lnTo>
                  <a:lnTo>
                    <a:pt x="7698" y="720"/>
                  </a:lnTo>
                  <a:lnTo>
                    <a:pt x="7680" y="708"/>
                  </a:lnTo>
                  <a:lnTo>
                    <a:pt x="7626" y="708"/>
                  </a:lnTo>
                  <a:lnTo>
                    <a:pt x="7650" y="726"/>
                  </a:lnTo>
                  <a:lnTo>
                    <a:pt x="7644" y="744"/>
                  </a:lnTo>
                  <a:lnTo>
                    <a:pt x="7656" y="744"/>
                  </a:lnTo>
                  <a:lnTo>
                    <a:pt x="7680" y="756"/>
                  </a:lnTo>
                  <a:lnTo>
                    <a:pt x="7716" y="762"/>
                  </a:lnTo>
                  <a:lnTo>
                    <a:pt x="7740" y="774"/>
                  </a:lnTo>
                  <a:lnTo>
                    <a:pt x="7758" y="786"/>
                  </a:lnTo>
                  <a:lnTo>
                    <a:pt x="7752" y="798"/>
                  </a:lnTo>
                  <a:lnTo>
                    <a:pt x="7728" y="804"/>
                  </a:lnTo>
                  <a:lnTo>
                    <a:pt x="7698" y="804"/>
                  </a:lnTo>
                  <a:lnTo>
                    <a:pt x="7686" y="798"/>
                  </a:lnTo>
                  <a:lnTo>
                    <a:pt x="7680" y="792"/>
                  </a:lnTo>
                  <a:lnTo>
                    <a:pt x="7656" y="774"/>
                  </a:lnTo>
                  <a:lnTo>
                    <a:pt x="7584" y="774"/>
                  </a:lnTo>
                  <a:lnTo>
                    <a:pt x="7530" y="738"/>
                  </a:lnTo>
                  <a:lnTo>
                    <a:pt x="7524" y="738"/>
                  </a:lnTo>
                  <a:lnTo>
                    <a:pt x="7518" y="744"/>
                  </a:lnTo>
                  <a:lnTo>
                    <a:pt x="7506" y="744"/>
                  </a:lnTo>
                  <a:lnTo>
                    <a:pt x="7500" y="750"/>
                  </a:lnTo>
                  <a:lnTo>
                    <a:pt x="7446" y="750"/>
                  </a:lnTo>
                  <a:lnTo>
                    <a:pt x="7440" y="738"/>
                  </a:lnTo>
                  <a:lnTo>
                    <a:pt x="7344" y="744"/>
                  </a:lnTo>
                  <a:lnTo>
                    <a:pt x="7320" y="726"/>
                  </a:lnTo>
                  <a:lnTo>
                    <a:pt x="7314" y="732"/>
                  </a:lnTo>
                  <a:lnTo>
                    <a:pt x="7212" y="732"/>
                  </a:lnTo>
                  <a:lnTo>
                    <a:pt x="7206" y="738"/>
                  </a:lnTo>
                  <a:lnTo>
                    <a:pt x="7212" y="744"/>
                  </a:lnTo>
                  <a:lnTo>
                    <a:pt x="7218" y="756"/>
                  </a:lnTo>
                  <a:lnTo>
                    <a:pt x="7254" y="792"/>
                  </a:lnTo>
                  <a:lnTo>
                    <a:pt x="7248" y="792"/>
                  </a:lnTo>
                  <a:lnTo>
                    <a:pt x="7242" y="786"/>
                  </a:lnTo>
                  <a:lnTo>
                    <a:pt x="7230" y="780"/>
                  </a:lnTo>
                  <a:lnTo>
                    <a:pt x="7218" y="768"/>
                  </a:lnTo>
                  <a:lnTo>
                    <a:pt x="7206" y="762"/>
                  </a:lnTo>
                  <a:lnTo>
                    <a:pt x="7194" y="750"/>
                  </a:lnTo>
                  <a:lnTo>
                    <a:pt x="7176" y="744"/>
                  </a:lnTo>
                  <a:lnTo>
                    <a:pt x="7104" y="732"/>
                  </a:lnTo>
                  <a:lnTo>
                    <a:pt x="7086" y="732"/>
                  </a:lnTo>
                  <a:lnTo>
                    <a:pt x="7086" y="726"/>
                  </a:lnTo>
                  <a:lnTo>
                    <a:pt x="7056" y="696"/>
                  </a:lnTo>
                  <a:lnTo>
                    <a:pt x="7032" y="684"/>
                  </a:lnTo>
                  <a:lnTo>
                    <a:pt x="6990" y="666"/>
                  </a:lnTo>
                  <a:lnTo>
                    <a:pt x="6948" y="660"/>
                  </a:lnTo>
                  <a:lnTo>
                    <a:pt x="6912" y="654"/>
                  </a:lnTo>
                  <a:lnTo>
                    <a:pt x="6882" y="654"/>
                  </a:lnTo>
                  <a:lnTo>
                    <a:pt x="6864" y="648"/>
                  </a:lnTo>
                  <a:lnTo>
                    <a:pt x="6834" y="648"/>
                  </a:lnTo>
                  <a:lnTo>
                    <a:pt x="6786" y="636"/>
                  </a:lnTo>
                  <a:lnTo>
                    <a:pt x="6774" y="642"/>
                  </a:lnTo>
                  <a:lnTo>
                    <a:pt x="6714" y="642"/>
                  </a:lnTo>
                  <a:lnTo>
                    <a:pt x="6696" y="660"/>
                  </a:lnTo>
                  <a:lnTo>
                    <a:pt x="6684" y="666"/>
                  </a:lnTo>
                  <a:lnTo>
                    <a:pt x="6648" y="666"/>
                  </a:lnTo>
                  <a:lnTo>
                    <a:pt x="6630" y="660"/>
                  </a:lnTo>
                  <a:lnTo>
                    <a:pt x="6594" y="660"/>
                  </a:lnTo>
                  <a:lnTo>
                    <a:pt x="6582" y="654"/>
                  </a:lnTo>
                  <a:lnTo>
                    <a:pt x="6576" y="648"/>
                  </a:lnTo>
                  <a:lnTo>
                    <a:pt x="6552" y="636"/>
                  </a:lnTo>
                  <a:lnTo>
                    <a:pt x="6534" y="630"/>
                  </a:lnTo>
                  <a:lnTo>
                    <a:pt x="6522" y="624"/>
                  </a:lnTo>
                  <a:lnTo>
                    <a:pt x="6498" y="624"/>
                  </a:lnTo>
                  <a:lnTo>
                    <a:pt x="6486" y="630"/>
                  </a:lnTo>
                  <a:lnTo>
                    <a:pt x="6474" y="612"/>
                  </a:lnTo>
                  <a:lnTo>
                    <a:pt x="6438" y="612"/>
                  </a:lnTo>
                  <a:lnTo>
                    <a:pt x="6372" y="606"/>
                  </a:lnTo>
                  <a:lnTo>
                    <a:pt x="6408" y="594"/>
                  </a:lnTo>
                  <a:lnTo>
                    <a:pt x="6372" y="570"/>
                  </a:lnTo>
                  <a:lnTo>
                    <a:pt x="6360" y="570"/>
                  </a:lnTo>
                  <a:lnTo>
                    <a:pt x="6324" y="564"/>
                  </a:lnTo>
                  <a:lnTo>
                    <a:pt x="6282" y="558"/>
                  </a:lnTo>
                  <a:lnTo>
                    <a:pt x="6246" y="558"/>
                  </a:lnTo>
                  <a:lnTo>
                    <a:pt x="6228" y="564"/>
                  </a:lnTo>
                  <a:lnTo>
                    <a:pt x="6228" y="594"/>
                  </a:lnTo>
                  <a:lnTo>
                    <a:pt x="6222" y="600"/>
                  </a:lnTo>
                  <a:lnTo>
                    <a:pt x="6192" y="600"/>
                  </a:lnTo>
                  <a:lnTo>
                    <a:pt x="6180" y="594"/>
                  </a:lnTo>
                  <a:lnTo>
                    <a:pt x="6168" y="594"/>
                  </a:lnTo>
                  <a:lnTo>
                    <a:pt x="6186" y="582"/>
                  </a:lnTo>
                  <a:lnTo>
                    <a:pt x="6168" y="570"/>
                  </a:lnTo>
                  <a:lnTo>
                    <a:pt x="6096" y="570"/>
                  </a:lnTo>
                  <a:lnTo>
                    <a:pt x="6114" y="558"/>
                  </a:lnTo>
                  <a:lnTo>
                    <a:pt x="6156" y="558"/>
                  </a:lnTo>
                  <a:lnTo>
                    <a:pt x="6216" y="588"/>
                  </a:lnTo>
                  <a:lnTo>
                    <a:pt x="6216" y="564"/>
                  </a:lnTo>
                  <a:lnTo>
                    <a:pt x="6162" y="540"/>
                  </a:lnTo>
                  <a:lnTo>
                    <a:pt x="6048" y="546"/>
                  </a:lnTo>
                  <a:lnTo>
                    <a:pt x="6048" y="534"/>
                  </a:lnTo>
                  <a:lnTo>
                    <a:pt x="5928" y="540"/>
                  </a:lnTo>
                  <a:lnTo>
                    <a:pt x="5880" y="522"/>
                  </a:lnTo>
                  <a:lnTo>
                    <a:pt x="5862" y="522"/>
                  </a:lnTo>
                  <a:lnTo>
                    <a:pt x="5898" y="546"/>
                  </a:lnTo>
                  <a:lnTo>
                    <a:pt x="5850" y="546"/>
                  </a:lnTo>
                  <a:lnTo>
                    <a:pt x="5838" y="552"/>
                  </a:lnTo>
                  <a:lnTo>
                    <a:pt x="5832" y="552"/>
                  </a:lnTo>
                  <a:lnTo>
                    <a:pt x="5832" y="558"/>
                  </a:lnTo>
                  <a:lnTo>
                    <a:pt x="5844" y="564"/>
                  </a:lnTo>
                  <a:lnTo>
                    <a:pt x="5850" y="570"/>
                  </a:lnTo>
                  <a:lnTo>
                    <a:pt x="5862" y="576"/>
                  </a:lnTo>
                  <a:lnTo>
                    <a:pt x="5892" y="576"/>
                  </a:lnTo>
                  <a:lnTo>
                    <a:pt x="5892" y="582"/>
                  </a:lnTo>
                  <a:lnTo>
                    <a:pt x="5952" y="618"/>
                  </a:lnTo>
                  <a:lnTo>
                    <a:pt x="5904" y="618"/>
                  </a:lnTo>
                  <a:lnTo>
                    <a:pt x="5898" y="612"/>
                  </a:lnTo>
                  <a:lnTo>
                    <a:pt x="5886" y="606"/>
                  </a:lnTo>
                  <a:lnTo>
                    <a:pt x="5874" y="606"/>
                  </a:lnTo>
                  <a:lnTo>
                    <a:pt x="5862" y="600"/>
                  </a:lnTo>
                  <a:lnTo>
                    <a:pt x="5844" y="618"/>
                  </a:lnTo>
                  <a:lnTo>
                    <a:pt x="5868" y="636"/>
                  </a:lnTo>
                  <a:lnTo>
                    <a:pt x="5814" y="630"/>
                  </a:lnTo>
                  <a:lnTo>
                    <a:pt x="5808" y="630"/>
                  </a:lnTo>
                  <a:lnTo>
                    <a:pt x="5802" y="624"/>
                  </a:lnTo>
                  <a:lnTo>
                    <a:pt x="5784" y="618"/>
                  </a:lnTo>
                  <a:lnTo>
                    <a:pt x="5766" y="618"/>
                  </a:lnTo>
                  <a:lnTo>
                    <a:pt x="5754" y="612"/>
                  </a:lnTo>
                  <a:lnTo>
                    <a:pt x="5736" y="606"/>
                  </a:lnTo>
                  <a:lnTo>
                    <a:pt x="5724" y="606"/>
                  </a:lnTo>
                  <a:lnTo>
                    <a:pt x="5712" y="612"/>
                  </a:lnTo>
                  <a:lnTo>
                    <a:pt x="5700" y="612"/>
                  </a:lnTo>
                  <a:lnTo>
                    <a:pt x="5688" y="618"/>
                  </a:lnTo>
                  <a:lnTo>
                    <a:pt x="5682" y="624"/>
                  </a:lnTo>
                  <a:lnTo>
                    <a:pt x="5676" y="624"/>
                  </a:lnTo>
                  <a:lnTo>
                    <a:pt x="5610" y="618"/>
                  </a:lnTo>
                  <a:lnTo>
                    <a:pt x="5604" y="618"/>
                  </a:lnTo>
                  <a:lnTo>
                    <a:pt x="5598" y="612"/>
                  </a:lnTo>
                  <a:lnTo>
                    <a:pt x="5562" y="594"/>
                  </a:lnTo>
                  <a:lnTo>
                    <a:pt x="5556" y="594"/>
                  </a:lnTo>
                  <a:lnTo>
                    <a:pt x="5550" y="588"/>
                  </a:lnTo>
                  <a:lnTo>
                    <a:pt x="5538" y="588"/>
                  </a:lnTo>
                  <a:lnTo>
                    <a:pt x="5538" y="606"/>
                  </a:lnTo>
                  <a:lnTo>
                    <a:pt x="5544" y="612"/>
                  </a:lnTo>
                  <a:lnTo>
                    <a:pt x="5550" y="624"/>
                  </a:lnTo>
                  <a:lnTo>
                    <a:pt x="5556" y="630"/>
                  </a:lnTo>
                  <a:lnTo>
                    <a:pt x="5562" y="642"/>
                  </a:lnTo>
                  <a:lnTo>
                    <a:pt x="5562" y="660"/>
                  </a:lnTo>
                  <a:lnTo>
                    <a:pt x="5556" y="666"/>
                  </a:lnTo>
                  <a:lnTo>
                    <a:pt x="5532" y="660"/>
                  </a:lnTo>
                  <a:lnTo>
                    <a:pt x="5424" y="624"/>
                  </a:lnTo>
                  <a:lnTo>
                    <a:pt x="5412" y="618"/>
                  </a:lnTo>
                  <a:lnTo>
                    <a:pt x="5406" y="618"/>
                  </a:lnTo>
                  <a:lnTo>
                    <a:pt x="5400" y="612"/>
                  </a:lnTo>
                  <a:lnTo>
                    <a:pt x="5394" y="600"/>
                  </a:lnTo>
                  <a:lnTo>
                    <a:pt x="5382" y="594"/>
                  </a:lnTo>
                  <a:lnTo>
                    <a:pt x="5376" y="588"/>
                  </a:lnTo>
                  <a:lnTo>
                    <a:pt x="5376" y="606"/>
                  </a:lnTo>
                  <a:lnTo>
                    <a:pt x="5322" y="588"/>
                  </a:lnTo>
                  <a:lnTo>
                    <a:pt x="5292" y="570"/>
                  </a:lnTo>
                  <a:lnTo>
                    <a:pt x="5298" y="570"/>
                  </a:lnTo>
                  <a:lnTo>
                    <a:pt x="5304" y="576"/>
                  </a:lnTo>
                  <a:lnTo>
                    <a:pt x="5328" y="576"/>
                  </a:lnTo>
                  <a:lnTo>
                    <a:pt x="5340" y="582"/>
                  </a:lnTo>
                  <a:lnTo>
                    <a:pt x="5352" y="582"/>
                  </a:lnTo>
                  <a:lnTo>
                    <a:pt x="5358" y="576"/>
                  </a:lnTo>
                  <a:lnTo>
                    <a:pt x="5358" y="570"/>
                  </a:lnTo>
                  <a:lnTo>
                    <a:pt x="5346" y="564"/>
                  </a:lnTo>
                  <a:lnTo>
                    <a:pt x="5334" y="552"/>
                  </a:lnTo>
                  <a:lnTo>
                    <a:pt x="5292" y="552"/>
                  </a:lnTo>
                  <a:lnTo>
                    <a:pt x="5304" y="540"/>
                  </a:lnTo>
                  <a:lnTo>
                    <a:pt x="5298" y="534"/>
                  </a:lnTo>
                  <a:lnTo>
                    <a:pt x="5286" y="528"/>
                  </a:lnTo>
                  <a:lnTo>
                    <a:pt x="5256" y="528"/>
                  </a:lnTo>
                  <a:lnTo>
                    <a:pt x="5268" y="510"/>
                  </a:lnTo>
                  <a:lnTo>
                    <a:pt x="5262" y="510"/>
                  </a:lnTo>
                  <a:lnTo>
                    <a:pt x="5256" y="504"/>
                  </a:lnTo>
                  <a:lnTo>
                    <a:pt x="5232" y="504"/>
                  </a:lnTo>
                  <a:lnTo>
                    <a:pt x="5220" y="498"/>
                  </a:lnTo>
                  <a:lnTo>
                    <a:pt x="5208" y="498"/>
                  </a:lnTo>
                  <a:lnTo>
                    <a:pt x="5202" y="492"/>
                  </a:lnTo>
                  <a:lnTo>
                    <a:pt x="5190" y="492"/>
                  </a:lnTo>
                  <a:lnTo>
                    <a:pt x="5184" y="486"/>
                  </a:lnTo>
                  <a:lnTo>
                    <a:pt x="5142" y="486"/>
                  </a:lnTo>
                  <a:lnTo>
                    <a:pt x="5130" y="492"/>
                  </a:lnTo>
                  <a:lnTo>
                    <a:pt x="5094" y="492"/>
                  </a:lnTo>
                  <a:lnTo>
                    <a:pt x="5076" y="486"/>
                  </a:lnTo>
                  <a:lnTo>
                    <a:pt x="5070" y="480"/>
                  </a:lnTo>
                  <a:lnTo>
                    <a:pt x="5064" y="480"/>
                  </a:lnTo>
                  <a:lnTo>
                    <a:pt x="5040" y="486"/>
                  </a:lnTo>
                  <a:lnTo>
                    <a:pt x="5040" y="474"/>
                  </a:lnTo>
                  <a:lnTo>
                    <a:pt x="4992" y="468"/>
                  </a:lnTo>
                  <a:lnTo>
                    <a:pt x="4980" y="456"/>
                  </a:lnTo>
                  <a:lnTo>
                    <a:pt x="4974" y="474"/>
                  </a:lnTo>
                  <a:lnTo>
                    <a:pt x="4956" y="480"/>
                  </a:lnTo>
                  <a:lnTo>
                    <a:pt x="4986" y="498"/>
                  </a:lnTo>
                  <a:lnTo>
                    <a:pt x="5010" y="528"/>
                  </a:lnTo>
                  <a:lnTo>
                    <a:pt x="4962" y="522"/>
                  </a:lnTo>
                  <a:lnTo>
                    <a:pt x="4956" y="516"/>
                  </a:lnTo>
                  <a:lnTo>
                    <a:pt x="4890" y="522"/>
                  </a:lnTo>
                  <a:lnTo>
                    <a:pt x="4872" y="528"/>
                  </a:lnTo>
                  <a:lnTo>
                    <a:pt x="4872" y="516"/>
                  </a:lnTo>
                  <a:lnTo>
                    <a:pt x="4824" y="522"/>
                  </a:lnTo>
                  <a:lnTo>
                    <a:pt x="4818" y="510"/>
                  </a:lnTo>
                  <a:lnTo>
                    <a:pt x="4764" y="510"/>
                  </a:lnTo>
                  <a:lnTo>
                    <a:pt x="4728" y="504"/>
                  </a:lnTo>
                  <a:lnTo>
                    <a:pt x="4746" y="480"/>
                  </a:lnTo>
                  <a:lnTo>
                    <a:pt x="4620" y="480"/>
                  </a:lnTo>
                  <a:lnTo>
                    <a:pt x="4608" y="468"/>
                  </a:lnTo>
                  <a:lnTo>
                    <a:pt x="4602" y="474"/>
                  </a:lnTo>
                  <a:lnTo>
                    <a:pt x="4590" y="468"/>
                  </a:lnTo>
                  <a:lnTo>
                    <a:pt x="4542" y="474"/>
                  </a:lnTo>
                  <a:lnTo>
                    <a:pt x="4548" y="486"/>
                  </a:lnTo>
                  <a:lnTo>
                    <a:pt x="4488" y="480"/>
                  </a:lnTo>
                  <a:lnTo>
                    <a:pt x="4476" y="486"/>
                  </a:lnTo>
                  <a:lnTo>
                    <a:pt x="4506" y="498"/>
                  </a:lnTo>
                  <a:lnTo>
                    <a:pt x="4464" y="492"/>
                  </a:lnTo>
                  <a:lnTo>
                    <a:pt x="4464" y="474"/>
                  </a:lnTo>
                  <a:lnTo>
                    <a:pt x="4434" y="456"/>
                  </a:lnTo>
                  <a:lnTo>
                    <a:pt x="4416" y="456"/>
                  </a:lnTo>
                  <a:lnTo>
                    <a:pt x="4428" y="474"/>
                  </a:lnTo>
                  <a:lnTo>
                    <a:pt x="4374" y="474"/>
                  </a:lnTo>
                  <a:lnTo>
                    <a:pt x="4368" y="468"/>
                  </a:lnTo>
                  <a:lnTo>
                    <a:pt x="4356" y="468"/>
                  </a:lnTo>
                  <a:lnTo>
                    <a:pt x="4350" y="456"/>
                  </a:lnTo>
                  <a:lnTo>
                    <a:pt x="4320" y="456"/>
                  </a:lnTo>
                  <a:lnTo>
                    <a:pt x="4296" y="444"/>
                  </a:lnTo>
                  <a:lnTo>
                    <a:pt x="4266" y="468"/>
                  </a:lnTo>
                  <a:lnTo>
                    <a:pt x="4320" y="474"/>
                  </a:lnTo>
                  <a:lnTo>
                    <a:pt x="4332" y="474"/>
                  </a:lnTo>
                  <a:lnTo>
                    <a:pt x="4326" y="480"/>
                  </a:lnTo>
                  <a:lnTo>
                    <a:pt x="4314" y="486"/>
                  </a:lnTo>
                  <a:lnTo>
                    <a:pt x="4308" y="492"/>
                  </a:lnTo>
                  <a:lnTo>
                    <a:pt x="4272" y="492"/>
                  </a:lnTo>
                  <a:lnTo>
                    <a:pt x="4266" y="498"/>
                  </a:lnTo>
                  <a:lnTo>
                    <a:pt x="4254" y="504"/>
                  </a:lnTo>
                  <a:lnTo>
                    <a:pt x="4182" y="504"/>
                  </a:lnTo>
                  <a:lnTo>
                    <a:pt x="4146" y="510"/>
                  </a:lnTo>
                  <a:lnTo>
                    <a:pt x="4134" y="534"/>
                  </a:lnTo>
                  <a:lnTo>
                    <a:pt x="4110" y="528"/>
                  </a:lnTo>
                  <a:lnTo>
                    <a:pt x="4110" y="516"/>
                  </a:lnTo>
                  <a:lnTo>
                    <a:pt x="4116" y="504"/>
                  </a:lnTo>
                  <a:lnTo>
                    <a:pt x="4122" y="498"/>
                  </a:lnTo>
                  <a:lnTo>
                    <a:pt x="4134" y="492"/>
                  </a:lnTo>
                  <a:lnTo>
                    <a:pt x="4152" y="492"/>
                  </a:lnTo>
                  <a:lnTo>
                    <a:pt x="4164" y="480"/>
                  </a:lnTo>
                  <a:lnTo>
                    <a:pt x="4206" y="474"/>
                  </a:lnTo>
                  <a:lnTo>
                    <a:pt x="4248" y="438"/>
                  </a:lnTo>
                  <a:lnTo>
                    <a:pt x="4248" y="426"/>
                  </a:lnTo>
                  <a:lnTo>
                    <a:pt x="4254" y="420"/>
                  </a:lnTo>
                  <a:lnTo>
                    <a:pt x="4266" y="414"/>
                  </a:lnTo>
                  <a:lnTo>
                    <a:pt x="4278" y="414"/>
                  </a:lnTo>
                  <a:lnTo>
                    <a:pt x="4290" y="408"/>
                  </a:lnTo>
                  <a:lnTo>
                    <a:pt x="4302" y="408"/>
                  </a:lnTo>
                  <a:lnTo>
                    <a:pt x="4320" y="402"/>
                  </a:lnTo>
                  <a:lnTo>
                    <a:pt x="4332" y="402"/>
                  </a:lnTo>
                  <a:lnTo>
                    <a:pt x="4344" y="396"/>
                  </a:lnTo>
                  <a:lnTo>
                    <a:pt x="4350" y="390"/>
                  </a:lnTo>
                  <a:lnTo>
                    <a:pt x="4356" y="378"/>
                  </a:lnTo>
                  <a:lnTo>
                    <a:pt x="4350" y="366"/>
                  </a:lnTo>
                  <a:lnTo>
                    <a:pt x="4344" y="360"/>
                  </a:lnTo>
                  <a:lnTo>
                    <a:pt x="4332" y="354"/>
                  </a:lnTo>
                  <a:lnTo>
                    <a:pt x="4326" y="348"/>
                  </a:lnTo>
                  <a:lnTo>
                    <a:pt x="4290" y="348"/>
                  </a:lnTo>
                  <a:lnTo>
                    <a:pt x="4320" y="336"/>
                  </a:lnTo>
                  <a:lnTo>
                    <a:pt x="4314" y="330"/>
                  </a:lnTo>
                  <a:lnTo>
                    <a:pt x="4302" y="324"/>
                  </a:lnTo>
                  <a:lnTo>
                    <a:pt x="4290" y="312"/>
                  </a:lnTo>
                  <a:lnTo>
                    <a:pt x="4284" y="312"/>
                  </a:lnTo>
                  <a:lnTo>
                    <a:pt x="4278" y="318"/>
                  </a:lnTo>
                  <a:lnTo>
                    <a:pt x="4254" y="318"/>
                  </a:lnTo>
                  <a:lnTo>
                    <a:pt x="4248" y="312"/>
                  </a:lnTo>
                  <a:lnTo>
                    <a:pt x="4242" y="300"/>
                  </a:lnTo>
                  <a:lnTo>
                    <a:pt x="4236" y="294"/>
                  </a:lnTo>
                  <a:lnTo>
                    <a:pt x="4194" y="294"/>
                  </a:lnTo>
                  <a:lnTo>
                    <a:pt x="4188" y="300"/>
                  </a:lnTo>
                  <a:lnTo>
                    <a:pt x="4182" y="300"/>
                  </a:lnTo>
                  <a:lnTo>
                    <a:pt x="4128" y="288"/>
                  </a:lnTo>
                  <a:lnTo>
                    <a:pt x="3990" y="282"/>
                  </a:lnTo>
                  <a:lnTo>
                    <a:pt x="3990" y="300"/>
                  </a:lnTo>
                  <a:lnTo>
                    <a:pt x="3924" y="300"/>
                  </a:lnTo>
                  <a:lnTo>
                    <a:pt x="3942" y="282"/>
                  </a:lnTo>
                  <a:lnTo>
                    <a:pt x="3942" y="276"/>
                  </a:lnTo>
                  <a:lnTo>
                    <a:pt x="3936" y="270"/>
                  </a:lnTo>
                  <a:lnTo>
                    <a:pt x="3912" y="264"/>
                  </a:lnTo>
                  <a:lnTo>
                    <a:pt x="3882" y="264"/>
                  </a:lnTo>
                  <a:lnTo>
                    <a:pt x="3852" y="270"/>
                  </a:lnTo>
                  <a:lnTo>
                    <a:pt x="3840" y="270"/>
                  </a:lnTo>
                  <a:lnTo>
                    <a:pt x="3780" y="264"/>
                  </a:lnTo>
                  <a:lnTo>
                    <a:pt x="3792" y="264"/>
                  </a:lnTo>
                  <a:lnTo>
                    <a:pt x="3810" y="258"/>
                  </a:lnTo>
                  <a:lnTo>
                    <a:pt x="3822" y="258"/>
                  </a:lnTo>
                  <a:lnTo>
                    <a:pt x="3834" y="252"/>
                  </a:lnTo>
                  <a:lnTo>
                    <a:pt x="3840" y="252"/>
                  </a:lnTo>
                  <a:lnTo>
                    <a:pt x="3840" y="246"/>
                  </a:lnTo>
                  <a:lnTo>
                    <a:pt x="3834" y="240"/>
                  </a:lnTo>
                  <a:lnTo>
                    <a:pt x="3822" y="240"/>
                  </a:lnTo>
                  <a:lnTo>
                    <a:pt x="3804" y="234"/>
                  </a:lnTo>
                  <a:lnTo>
                    <a:pt x="3762" y="234"/>
                  </a:lnTo>
                  <a:lnTo>
                    <a:pt x="3720" y="228"/>
                  </a:lnTo>
                  <a:lnTo>
                    <a:pt x="3714" y="240"/>
                  </a:lnTo>
                  <a:lnTo>
                    <a:pt x="3684" y="240"/>
                  </a:lnTo>
                  <a:lnTo>
                    <a:pt x="3672" y="246"/>
                  </a:lnTo>
                  <a:lnTo>
                    <a:pt x="3660" y="246"/>
                  </a:lnTo>
                  <a:lnTo>
                    <a:pt x="3648" y="252"/>
                  </a:lnTo>
                  <a:lnTo>
                    <a:pt x="3648" y="258"/>
                  </a:lnTo>
                  <a:lnTo>
                    <a:pt x="3654" y="270"/>
                  </a:lnTo>
                  <a:lnTo>
                    <a:pt x="3678" y="282"/>
                  </a:lnTo>
                  <a:lnTo>
                    <a:pt x="3696" y="294"/>
                  </a:lnTo>
                  <a:lnTo>
                    <a:pt x="3708" y="294"/>
                  </a:lnTo>
                  <a:lnTo>
                    <a:pt x="3714" y="300"/>
                  </a:lnTo>
                  <a:lnTo>
                    <a:pt x="3720" y="300"/>
                  </a:lnTo>
                  <a:lnTo>
                    <a:pt x="3576" y="294"/>
                  </a:lnTo>
                  <a:lnTo>
                    <a:pt x="3630" y="312"/>
                  </a:lnTo>
                  <a:lnTo>
                    <a:pt x="3576" y="324"/>
                  </a:lnTo>
                  <a:lnTo>
                    <a:pt x="3564" y="330"/>
                  </a:lnTo>
                  <a:lnTo>
                    <a:pt x="3534" y="336"/>
                  </a:lnTo>
                  <a:lnTo>
                    <a:pt x="3498" y="342"/>
                  </a:lnTo>
                  <a:lnTo>
                    <a:pt x="3474" y="342"/>
                  </a:lnTo>
                  <a:lnTo>
                    <a:pt x="3468" y="336"/>
                  </a:lnTo>
                  <a:lnTo>
                    <a:pt x="3474" y="324"/>
                  </a:lnTo>
                  <a:lnTo>
                    <a:pt x="3486" y="312"/>
                  </a:lnTo>
                  <a:lnTo>
                    <a:pt x="3420" y="312"/>
                  </a:lnTo>
                  <a:lnTo>
                    <a:pt x="3408" y="318"/>
                  </a:lnTo>
                  <a:lnTo>
                    <a:pt x="3390" y="318"/>
                  </a:lnTo>
                  <a:lnTo>
                    <a:pt x="3378" y="324"/>
                  </a:lnTo>
                  <a:lnTo>
                    <a:pt x="3366" y="336"/>
                  </a:lnTo>
                  <a:lnTo>
                    <a:pt x="3348" y="336"/>
                  </a:lnTo>
                  <a:lnTo>
                    <a:pt x="3318" y="342"/>
                  </a:lnTo>
                  <a:lnTo>
                    <a:pt x="3276" y="342"/>
                  </a:lnTo>
                  <a:lnTo>
                    <a:pt x="3246" y="348"/>
                  </a:lnTo>
                  <a:lnTo>
                    <a:pt x="3234" y="354"/>
                  </a:lnTo>
                  <a:lnTo>
                    <a:pt x="3216" y="354"/>
                  </a:lnTo>
                  <a:lnTo>
                    <a:pt x="3204" y="360"/>
                  </a:lnTo>
                  <a:lnTo>
                    <a:pt x="3186" y="360"/>
                  </a:lnTo>
                  <a:lnTo>
                    <a:pt x="3180" y="366"/>
                  </a:lnTo>
                  <a:lnTo>
                    <a:pt x="3174" y="366"/>
                  </a:lnTo>
                  <a:lnTo>
                    <a:pt x="3132" y="396"/>
                  </a:lnTo>
                  <a:lnTo>
                    <a:pt x="3114" y="396"/>
                  </a:lnTo>
                  <a:lnTo>
                    <a:pt x="3108" y="402"/>
                  </a:lnTo>
                  <a:lnTo>
                    <a:pt x="3102" y="402"/>
                  </a:lnTo>
                  <a:lnTo>
                    <a:pt x="3096" y="408"/>
                  </a:lnTo>
                  <a:lnTo>
                    <a:pt x="3102" y="414"/>
                  </a:lnTo>
                  <a:lnTo>
                    <a:pt x="3120" y="426"/>
                  </a:lnTo>
                  <a:lnTo>
                    <a:pt x="3132" y="438"/>
                  </a:lnTo>
                  <a:lnTo>
                    <a:pt x="3150" y="444"/>
                  </a:lnTo>
                  <a:lnTo>
                    <a:pt x="3156" y="450"/>
                  </a:lnTo>
                  <a:lnTo>
                    <a:pt x="3162" y="450"/>
                  </a:lnTo>
                  <a:lnTo>
                    <a:pt x="3120" y="462"/>
                  </a:lnTo>
                  <a:lnTo>
                    <a:pt x="3096" y="474"/>
                  </a:lnTo>
                  <a:lnTo>
                    <a:pt x="2994" y="474"/>
                  </a:lnTo>
                  <a:lnTo>
                    <a:pt x="2988" y="480"/>
                  </a:lnTo>
                  <a:lnTo>
                    <a:pt x="2952" y="468"/>
                  </a:lnTo>
                  <a:lnTo>
                    <a:pt x="2934" y="474"/>
                  </a:lnTo>
                  <a:lnTo>
                    <a:pt x="2880" y="474"/>
                  </a:lnTo>
                  <a:lnTo>
                    <a:pt x="2874" y="480"/>
                  </a:lnTo>
                  <a:lnTo>
                    <a:pt x="2874" y="498"/>
                  </a:lnTo>
                  <a:lnTo>
                    <a:pt x="2880" y="510"/>
                  </a:lnTo>
                  <a:lnTo>
                    <a:pt x="2892" y="522"/>
                  </a:lnTo>
                  <a:lnTo>
                    <a:pt x="2898" y="522"/>
                  </a:lnTo>
                  <a:lnTo>
                    <a:pt x="2904" y="528"/>
                  </a:lnTo>
                  <a:lnTo>
                    <a:pt x="2910" y="540"/>
                  </a:lnTo>
                  <a:lnTo>
                    <a:pt x="2916" y="546"/>
                  </a:lnTo>
                  <a:lnTo>
                    <a:pt x="2922" y="546"/>
                  </a:lnTo>
                  <a:lnTo>
                    <a:pt x="2928" y="552"/>
                  </a:lnTo>
                  <a:lnTo>
                    <a:pt x="2940" y="552"/>
                  </a:lnTo>
                  <a:lnTo>
                    <a:pt x="2952" y="558"/>
                  </a:lnTo>
                  <a:lnTo>
                    <a:pt x="2964" y="558"/>
                  </a:lnTo>
                  <a:lnTo>
                    <a:pt x="2976" y="564"/>
                  </a:lnTo>
                  <a:lnTo>
                    <a:pt x="2994" y="564"/>
                  </a:lnTo>
                  <a:lnTo>
                    <a:pt x="3012" y="570"/>
                  </a:lnTo>
                  <a:lnTo>
                    <a:pt x="3024" y="570"/>
                  </a:lnTo>
                  <a:lnTo>
                    <a:pt x="3036" y="576"/>
                  </a:lnTo>
                  <a:lnTo>
                    <a:pt x="3042" y="576"/>
                  </a:lnTo>
                  <a:lnTo>
                    <a:pt x="3054" y="588"/>
                  </a:lnTo>
                  <a:lnTo>
                    <a:pt x="3054" y="594"/>
                  </a:lnTo>
                  <a:lnTo>
                    <a:pt x="3060" y="600"/>
                  </a:lnTo>
                  <a:lnTo>
                    <a:pt x="3030" y="600"/>
                  </a:lnTo>
                  <a:lnTo>
                    <a:pt x="3012" y="606"/>
                  </a:lnTo>
                  <a:lnTo>
                    <a:pt x="3000" y="606"/>
                  </a:lnTo>
                  <a:lnTo>
                    <a:pt x="2964" y="588"/>
                  </a:lnTo>
                  <a:lnTo>
                    <a:pt x="2928" y="576"/>
                  </a:lnTo>
                  <a:lnTo>
                    <a:pt x="2904" y="570"/>
                  </a:lnTo>
                  <a:lnTo>
                    <a:pt x="2886" y="564"/>
                  </a:lnTo>
                  <a:lnTo>
                    <a:pt x="2862" y="564"/>
                  </a:lnTo>
                  <a:lnTo>
                    <a:pt x="2844" y="558"/>
                  </a:lnTo>
                  <a:lnTo>
                    <a:pt x="2802" y="558"/>
                  </a:lnTo>
                  <a:lnTo>
                    <a:pt x="2796" y="564"/>
                  </a:lnTo>
                  <a:lnTo>
                    <a:pt x="2796" y="576"/>
                  </a:lnTo>
                  <a:lnTo>
                    <a:pt x="2802" y="582"/>
                  </a:lnTo>
                  <a:lnTo>
                    <a:pt x="2808" y="582"/>
                  </a:lnTo>
                  <a:lnTo>
                    <a:pt x="2820" y="594"/>
                  </a:lnTo>
                  <a:lnTo>
                    <a:pt x="2784" y="594"/>
                  </a:lnTo>
                  <a:lnTo>
                    <a:pt x="2772" y="582"/>
                  </a:lnTo>
                  <a:lnTo>
                    <a:pt x="2754" y="582"/>
                  </a:lnTo>
                  <a:lnTo>
                    <a:pt x="2748" y="576"/>
                  </a:lnTo>
                  <a:lnTo>
                    <a:pt x="2724" y="576"/>
                  </a:lnTo>
                  <a:lnTo>
                    <a:pt x="2724" y="582"/>
                  </a:lnTo>
                  <a:lnTo>
                    <a:pt x="2730" y="600"/>
                  </a:lnTo>
                  <a:lnTo>
                    <a:pt x="2736" y="612"/>
                  </a:lnTo>
                  <a:lnTo>
                    <a:pt x="2748" y="618"/>
                  </a:lnTo>
                  <a:lnTo>
                    <a:pt x="2766" y="624"/>
                  </a:lnTo>
                  <a:lnTo>
                    <a:pt x="2802" y="624"/>
                  </a:lnTo>
                  <a:lnTo>
                    <a:pt x="2820" y="630"/>
                  </a:lnTo>
                  <a:lnTo>
                    <a:pt x="2844" y="630"/>
                  </a:lnTo>
                  <a:lnTo>
                    <a:pt x="2856" y="636"/>
                  </a:lnTo>
                  <a:lnTo>
                    <a:pt x="2862" y="648"/>
                  </a:lnTo>
                  <a:lnTo>
                    <a:pt x="2874" y="654"/>
                  </a:lnTo>
                  <a:lnTo>
                    <a:pt x="2844" y="654"/>
                  </a:lnTo>
                  <a:lnTo>
                    <a:pt x="2838" y="648"/>
                  </a:lnTo>
                  <a:lnTo>
                    <a:pt x="2826" y="642"/>
                  </a:lnTo>
                  <a:lnTo>
                    <a:pt x="2772" y="642"/>
                  </a:lnTo>
                  <a:lnTo>
                    <a:pt x="2760" y="636"/>
                  </a:lnTo>
                  <a:lnTo>
                    <a:pt x="2730" y="636"/>
                  </a:lnTo>
                  <a:lnTo>
                    <a:pt x="2724" y="624"/>
                  </a:lnTo>
                  <a:lnTo>
                    <a:pt x="2700" y="624"/>
                  </a:lnTo>
                  <a:lnTo>
                    <a:pt x="2694" y="606"/>
                  </a:lnTo>
                  <a:lnTo>
                    <a:pt x="2664" y="594"/>
                  </a:lnTo>
                  <a:lnTo>
                    <a:pt x="2670" y="588"/>
                  </a:lnTo>
                  <a:lnTo>
                    <a:pt x="2682" y="582"/>
                  </a:lnTo>
                  <a:lnTo>
                    <a:pt x="2688" y="576"/>
                  </a:lnTo>
                  <a:lnTo>
                    <a:pt x="2688" y="564"/>
                  </a:lnTo>
                  <a:lnTo>
                    <a:pt x="2658" y="534"/>
                  </a:lnTo>
                  <a:lnTo>
                    <a:pt x="2646" y="528"/>
                  </a:lnTo>
                  <a:lnTo>
                    <a:pt x="2616" y="528"/>
                  </a:lnTo>
                  <a:lnTo>
                    <a:pt x="2628" y="534"/>
                  </a:lnTo>
                  <a:lnTo>
                    <a:pt x="2652" y="558"/>
                  </a:lnTo>
                  <a:lnTo>
                    <a:pt x="2640" y="570"/>
                  </a:lnTo>
                  <a:lnTo>
                    <a:pt x="2616" y="582"/>
                  </a:lnTo>
                  <a:lnTo>
                    <a:pt x="2604" y="582"/>
                  </a:lnTo>
                  <a:lnTo>
                    <a:pt x="2586" y="624"/>
                  </a:lnTo>
                  <a:lnTo>
                    <a:pt x="2658" y="660"/>
                  </a:lnTo>
                  <a:lnTo>
                    <a:pt x="2676" y="660"/>
                  </a:lnTo>
                  <a:lnTo>
                    <a:pt x="2676" y="696"/>
                  </a:lnTo>
                  <a:lnTo>
                    <a:pt x="2670" y="708"/>
                  </a:lnTo>
                  <a:lnTo>
                    <a:pt x="2670" y="720"/>
                  </a:lnTo>
                  <a:lnTo>
                    <a:pt x="2676" y="738"/>
                  </a:lnTo>
                  <a:lnTo>
                    <a:pt x="2712" y="744"/>
                  </a:lnTo>
                  <a:lnTo>
                    <a:pt x="2712" y="768"/>
                  </a:lnTo>
                  <a:lnTo>
                    <a:pt x="2772" y="780"/>
                  </a:lnTo>
                  <a:lnTo>
                    <a:pt x="2778" y="780"/>
                  </a:lnTo>
                  <a:lnTo>
                    <a:pt x="2784" y="774"/>
                  </a:lnTo>
                  <a:lnTo>
                    <a:pt x="2796" y="774"/>
                  </a:lnTo>
                  <a:lnTo>
                    <a:pt x="2814" y="768"/>
                  </a:lnTo>
                  <a:lnTo>
                    <a:pt x="2850" y="768"/>
                  </a:lnTo>
                  <a:lnTo>
                    <a:pt x="2868" y="774"/>
                  </a:lnTo>
                  <a:lnTo>
                    <a:pt x="2874" y="780"/>
                  </a:lnTo>
                  <a:lnTo>
                    <a:pt x="2886" y="786"/>
                  </a:lnTo>
                  <a:lnTo>
                    <a:pt x="2904" y="786"/>
                  </a:lnTo>
                  <a:lnTo>
                    <a:pt x="2916" y="792"/>
                  </a:lnTo>
                  <a:lnTo>
                    <a:pt x="2952" y="804"/>
                  </a:lnTo>
                  <a:lnTo>
                    <a:pt x="2976" y="828"/>
                  </a:lnTo>
                  <a:lnTo>
                    <a:pt x="2976" y="834"/>
                  </a:lnTo>
                  <a:lnTo>
                    <a:pt x="2964" y="834"/>
                  </a:lnTo>
                  <a:lnTo>
                    <a:pt x="2958" y="840"/>
                  </a:lnTo>
                  <a:lnTo>
                    <a:pt x="2946" y="840"/>
                  </a:lnTo>
                  <a:lnTo>
                    <a:pt x="2940" y="846"/>
                  </a:lnTo>
                  <a:lnTo>
                    <a:pt x="2946" y="852"/>
                  </a:lnTo>
                  <a:lnTo>
                    <a:pt x="2958" y="858"/>
                  </a:lnTo>
                  <a:lnTo>
                    <a:pt x="2976" y="876"/>
                  </a:lnTo>
                  <a:lnTo>
                    <a:pt x="3024" y="876"/>
                  </a:lnTo>
                  <a:lnTo>
                    <a:pt x="3012" y="882"/>
                  </a:lnTo>
                  <a:lnTo>
                    <a:pt x="3006" y="882"/>
                  </a:lnTo>
                  <a:lnTo>
                    <a:pt x="2994" y="888"/>
                  </a:lnTo>
                  <a:lnTo>
                    <a:pt x="2970" y="888"/>
                  </a:lnTo>
                  <a:lnTo>
                    <a:pt x="2958" y="882"/>
                  </a:lnTo>
                  <a:lnTo>
                    <a:pt x="2952" y="876"/>
                  </a:lnTo>
                  <a:lnTo>
                    <a:pt x="2940" y="870"/>
                  </a:lnTo>
                  <a:lnTo>
                    <a:pt x="2940" y="858"/>
                  </a:lnTo>
                  <a:lnTo>
                    <a:pt x="2928" y="834"/>
                  </a:lnTo>
                  <a:lnTo>
                    <a:pt x="2916" y="822"/>
                  </a:lnTo>
                  <a:lnTo>
                    <a:pt x="2892" y="810"/>
                  </a:lnTo>
                  <a:lnTo>
                    <a:pt x="2886" y="804"/>
                  </a:lnTo>
                  <a:lnTo>
                    <a:pt x="2880" y="804"/>
                  </a:lnTo>
                  <a:lnTo>
                    <a:pt x="2874" y="798"/>
                  </a:lnTo>
                  <a:lnTo>
                    <a:pt x="2874" y="786"/>
                  </a:lnTo>
                  <a:lnTo>
                    <a:pt x="2868" y="780"/>
                  </a:lnTo>
                  <a:lnTo>
                    <a:pt x="2844" y="780"/>
                  </a:lnTo>
                  <a:lnTo>
                    <a:pt x="2832" y="786"/>
                  </a:lnTo>
                  <a:lnTo>
                    <a:pt x="2814" y="786"/>
                  </a:lnTo>
                  <a:lnTo>
                    <a:pt x="2802" y="792"/>
                  </a:lnTo>
                  <a:lnTo>
                    <a:pt x="2778" y="792"/>
                  </a:lnTo>
                  <a:lnTo>
                    <a:pt x="2760" y="810"/>
                  </a:lnTo>
                  <a:lnTo>
                    <a:pt x="2766" y="816"/>
                  </a:lnTo>
                  <a:lnTo>
                    <a:pt x="2772" y="828"/>
                  </a:lnTo>
                  <a:lnTo>
                    <a:pt x="2784" y="834"/>
                  </a:lnTo>
                  <a:lnTo>
                    <a:pt x="2802" y="852"/>
                  </a:lnTo>
                  <a:lnTo>
                    <a:pt x="2814" y="858"/>
                  </a:lnTo>
                  <a:lnTo>
                    <a:pt x="2814" y="864"/>
                  </a:lnTo>
                  <a:lnTo>
                    <a:pt x="2790" y="888"/>
                  </a:lnTo>
                  <a:lnTo>
                    <a:pt x="2784" y="888"/>
                  </a:lnTo>
                  <a:lnTo>
                    <a:pt x="2778" y="930"/>
                  </a:lnTo>
                  <a:lnTo>
                    <a:pt x="2736" y="948"/>
                  </a:lnTo>
                  <a:lnTo>
                    <a:pt x="2736" y="954"/>
                  </a:lnTo>
                  <a:lnTo>
                    <a:pt x="2730" y="966"/>
                  </a:lnTo>
                  <a:lnTo>
                    <a:pt x="2724" y="972"/>
                  </a:lnTo>
                  <a:lnTo>
                    <a:pt x="2694" y="972"/>
                  </a:lnTo>
                  <a:lnTo>
                    <a:pt x="2682" y="966"/>
                  </a:lnTo>
                  <a:lnTo>
                    <a:pt x="2652" y="966"/>
                  </a:lnTo>
                  <a:lnTo>
                    <a:pt x="2592" y="960"/>
                  </a:lnTo>
                  <a:lnTo>
                    <a:pt x="2586" y="960"/>
                  </a:lnTo>
                  <a:lnTo>
                    <a:pt x="2580" y="954"/>
                  </a:lnTo>
                  <a:lnTo>
                    <a:pt x="2568" y="948"/>
                  </a:lnTo>
                  <a:lnTo>
                    <a:pt x="2556" y="948"/>
                  </a:lnTo>
                  <a:lnTo>
                    <a:pt x="2544" y="936"/>
                  </a:lnTo>
                  <a:lnTo>
                    <a:pt x="2598" y="936"/>
                  </a:lnTo>
                  <a:lnTo>
                    <a:pt x="2616" y="942"/>
                  </a:lnTo>
                  <a:lnTo>
                    <a:pt x="2640" y="924"/>
                  </a:lnTo>
                  <a:lnTo>
                    <a:pt x="2652" y="924"/>
                  </a:lnTo>
                  <a:lnTo>
                    <a:pt x="2664" y="930"/>
                  </a:lnTo>
                  <a:lnTo>
                    <a:pt x="2682" y="930"/>
                  </a:lnTo>
                  <a:lnTo>
                    <a:pt x="2694" y="924"/>
                  </a:lnTo>
                  <a:lnTo>
                    <a:pt x="2694" y="906"/>
                  </a:lnTo>
                  <a:lnTo>
                    <a:pt x="2700" y="894"/>
                  </a:lnTo>
                  <a:lnTo>
                    <a:pt x="2700" y="882"/>
                  </a:lnTo>
                  <a:lnTo>
                    <a:pt x="2724" y="876"/>
                  </a:lnTo>
                  <a:lnTo>
                    <a:pt x="2724" y="852"/>
                  </a:lnTo>
                  <a:lnTo>
                    <a:pt x="2712" y="852"/>
                  </a:lnTo>
                  <a:lnTo>
                    <a:pt x="2718" y="846"/>
                  </a:lnTo>
                  <a:lnTo>
                    <a:pt x="2724" y="834"/>
                  </a:lnTo>
                  <a:lnTo>
                    <a:pt x="2724" y="822"/>
                  </a:lnTo>
                  <a:lnTo>
                    <a:pt x="2718" y="816"/>
                  </a:lnTo>
                  <a:lnTo>
                    <a:pt x="2712" y="816"/>
                  </a:lnTo>
                  <a:lnTo>
                    <a:pt x="2700" y="810"/>
                  </a:lnTo>
                  <a:lnTo>
                    <a:pt x="2682" y="810"/>
                  </a:lnTo>
                  <a:lnTo>
                    <a:pt x="2664" y="804"/>
                  </a:lnTo>
                  <a:lnTo>
                    <a:pt x="2652" y="804"/>
                  </a:lnTo>
                  <a:lnTo>
                    <a:pt x="2634" y="786"/>
                  </a:lnTo>
                  <a:lnTo>
                    <a:pt x="2634" y="744"/>
                  </a:lnTo>
                  <a:lnTo>
                    <a:pt x="2628" y="732"/>
                  </a:lnTo>
                  <a:lnTo>
                    <a:pt x="2616" y="720"/>
                  </a:lnTo>
                  <a:lnTo>
                    <a:pt x="2604" y="714"/>
                  </a:lnTo>
                  <a:lnTo>
                    <a:pt x="2598" y="702"/>
                  </a:lnTo>
                  <a:lnTo>
                    <a:pt x="2592" y="696"/>
                  </a:lnTo>
                  <a:lnTo>
                    <a:pt x="2586" y="660"/>
                  </a:lnTo>
                  <a:lnTo>
                    <a:pt x="2520" y="624"/>
                  </a:lnTo>
                  <a:lnTo>
                    <a:pt x="2532" y="612"/>
                  </a:lnTo>
                  <a:lnTo>
                    <a:pt x="2544" y="588"/>
                  </a:lnTo>
                  <a:lnTo>
                    <a:pt x="2544" y="576"/>
                  </a:lnTo>
                  <a:lnTo>
                    <a:pt x="2538" y="564"/>
                  </a:lnTo>
                  <a:lnTo>
                    <a:pt x="2514" y="540"/>
                  </a:lnTo>
                  <a:lnTo>
                    <a:pt x="2496" y="540"/>
                  </a:lnTo>
                  <a:lnTo>
                    <a:pt x="2484" y="534"/>
                  </a:lnTo>
                  <a:lnTo>
                    <a:pt x="2472" y="534"/>
                  </a:lnTo>
                  <a:lnTo>
                    <a:pt x="2340" y="522"/>
                  </a:lnTo>
                  <a:lnTo>
                    <a:pt x="2328" y="552"/>
                  </a:lnTo>
                  <a:lnTo>
                    <a:pt x="2346" y="570"/>
                  </a:lnTo>
                  <a:lnTo>
                    <a:pt x="2334" y="600"/>
                  </a:lnTo>
                  <a:lnTo>
                    <a:pt x="2280" y="624"/>
                  </a:lnTo>
                  <a:lnTo>
                    <a:pt x="2268" y="654"/>
                  </a:lnTo>
                  <a:lnTo>
                    <a:pt x="2304" y="660"/>
                  </a:lnTo>
                  <a:lnTo>
                    <a:pt x="2334" y="708"/>
                  </a:lnTo>
                  <a:lnTo>
                    <a:pt x="2322" y="726"/>
                  </a:lnTo>
                  <a:lnTo>
                    <a:pt x="2352" y="750"/>
                  </a:lnTo>
                  <a:lnTo>
                    <a:pt x="2388" y="744"/>
                  </a:lnTo>
                  <a:lnTo>
                    <a:pt x="2394" y="750"/>
                  </a:lnTo>
                  <a:lnTo>
                    <a:pt x="2400" y="762"/>
                  </a:lnTo>
                  <a:lnTo>
                    <a:pt x="2412" y="768"/>
                  </a:lnTo>
                  <a:lnTo>
                    <a:pt x="2418" y="774"/>
                  </a:lnTo>
                  <a:lnTo>
                    <a:pt x="2430" y="780"/>
                  </a:lnTo>
                  <a:lnTo>
                    <a:pt x="2472" y="780"/>
                  </a:lnTo>
                  <a:lnTo>
                    <a:pt x="2466" y="840"/>
                  </a:lnTo>
                  <a:lnTo>
                    <a:pt x="2448" y="816"/>
                  </a:lnTo>
                  <a:lnTo>
                    <a:pt x="2430" y="828"/>
                  </a:lnTo>
                  <a:lnTo>
                    <a:pt x="2418" y="822"/>
                  </a:lnTo>
                  <a:lnTo>
                    <a:pt x="2388" y="804"/>
                  </a:lnTo>
                  <a:lnTo>
                    <a:pt x="2352" y="792"/>
                  </a:lnTo>
                  <a:lnTo>
                    <a:pt x="2328" y="780"/>
                  </a:lnTo>
                  <a:lnTo>
                    <a:pt x="2268" y="780"/>
                  </a:lnTo>
                  <a:lnTo>
                    <a:pt x="2250" y="762"/>
                  </a:lnTo>
                  <a:lnTo>
                    <a:pt x="2244" y="780"/>
                  </a:lnTo>
                  <a:lnTo>
                    <a:pt x="2220" y="756"/>
                  </a:lnTo>
                  <a:lnTo>
                    <a:pt x="2214" y="756"/>
                  </a:lnTo>
                  <a:lnTo>
                    <a:pt x="2208" y="750"/>
                  </a:lnTo>
                  <a:lnTo>
                    <a:pt x="2196" y="744"/>
                  </a:lnTo>
                  <a:lnTo>
                    <a:pt x="2178" y="744"/>
                  </a:lnTo>
                  <a:lnTo>
                    <a:pt x="2154" y="732"/>
                  </a:lnTo>
                  <a:lnTo>
                    <a:pt x="2130" y="732"/>
                  </a:lnTo>
                  <a:lnTo>
                    <a:pt x="2118" y="738"/>
                  </a:lnTo>
                  <a:lnTo>
                    <a:pt x="2088" y="738"/>
                  </a:lnTo>
                  <a:lnTo>
                    <a:pt x="2076" y="732"/>
                  </a:lnTo>
                  <a:lnTo>
                    <a:pt x="2022" y="732"/>
                  </a:lnTo>
                  <a:lnTo>
                    <a:pt x="2016" y="738"/>
                  </a:lnTo>
                  <a:lnTo>
                    <a:pt x="2010" y="738"/>
                  </a:lnTo>
                  <a:lnTo>
                    <a:pt x="2004" y="744"/>
                  </a:lnTo>
                  <a:lnTo>
                    <a:pt x="2004" y="750"/>
                  </a:lnTo>
                  <a:lnTo>
                    <a:pt x="2016" y="762"/>
                  </a:lnTo>
                  <a:lnTo>
                    <a:pt x="2028" y="768"/>
                  </a:lnTo>
                  <a:lnTo>
                    <a:pt x="2040" y="780"/>
                  </a:lnTo>
                  <a:lnTo>
                    <a:pt x="2046" y="780"/>
                  </a:lnTo>
                  <a:lnTo>
                    <a:pt x="2022" y="810"/>
                  </a:lnTo>
                  <a:lnTo>
                    <a:pt x="2010" y="798"/>
                  </a:lnTo>
                  <a:lnTo>
                    <a:pt x="2010" y="828"/>
                  </a:lnTo>
                  <a:lnTo>
                    <a:pt x="1998" y="828"/>
                  </a:lnTo>
                  <a:lnTo>
                    <a:pt x="1986" y="822"/>
                  </a:lnTo>
                  <a:lnTo>
                    <a:pt x="1980" y="822"/>
                  </a:lnTo>
                  <a:lnTo>
                    <a:pt x="1974" y="816"/>
                  </a:lnTo>
                  <a:lnTo>
                    <a:pt x="1974" y="786"/>
                  </a:lnTo>
                  <a:lnTo>
                    <a:pt x="1968" y="780"/>
                  </a:lnTo>
                  <a:lnTo>
                    <a:pt x="1950" y="780"/>
                  </a:lnTo>
                  <a:lnTo>
                    <a:pt x="1938" y="786"/>
                  </a:lnTo>
                  <a:lnTo>
                    <a:pt x="1920" y="792"/>
                  </a:lnTo>
                  <a:lnTo>
                    <a:pt x="1908" y="804"/>
                  </a:lnTo>
                  <a:lnTo>
                    <a:pt x="1884" y="816"/>
                  </a:lnTo>
                  <a:lnTo>
                    <a:pt x="1866" y="816"/>
                  </a:lnTo>
                  <a:lnTo>
                    <a:pt x="1842" y="804"/>
                  </a:lnTo>
                  <a:lnTo>
                    <a:pt x="1824" y="804"/>
                  </a:lnTo>
                  <a:lnTo>
                    <a:pt x="1800" y="810"/>
                  </a:lnTo>
                  <a:lnTo>
                    <a:pt x="1782" y="816"/>
                  </a:lnTo>
                  <a:lnTo>
                    <a:pt x="1764" y="828"/>
                  </a:lnTo>
                  <a:lnTo>
                    <a:pt x="1752" y="834"/>
                  </a:lnTo>
                  <a:lnTo>
                    <a:pt x="1746" y="840"/>
                  </a:lnTo>
                  <a:lnTo>
                    <a:pt x="1680" y="840"/>
                  </a:lnTo>
                  <a:lnTo>
                    <a:pt x="1692" y="816"/>
                  </a:lnTo>
                  <a:lnTo>
                    <a:pt x="1692" y="780"/>
                  </a:lnTo>
                  <a:lnTo>
                    <a:pt x="1680" y="780"/>
                  </a:lnTo>
                  <a:lnTo>
                    <a:pt x="1668" y="786"/>
                  </a:lnTo>
                  <a:lnTo>
                    <a:pt x="1650" y="792"/>
                  </a:lnTo>
                  <a:lnTo>
                    <a:pt x="1638" y="792"/>
                  </a:lnTo>
                  <a:lnTo>
                    <a:pt x="1626" y="804"/>
                  </a:lnTo>
                  <a:lnTo>
                    <a:pt x="1626" y="816"/>
                  </a:lnTo>
                  <a:lnTo>
                    <a:pt x="1632" y="822"/>
                  </a:lnTo>
                  <a:lnTo>
                    <a:pt x="1632" y="828"/>
                  </a:lnTo>
                  <a:lnTo>
                    <a:pt x="1608" y="834"/>
                  </a:lnTo>
                  <a:lnTo>
                    <a:pt x="1608" y="810"/>
                  </a:lnTo>
                  <a:lnTo>
                    <a:pt x="1584" y="816"/>
                  </a:lnTo>
                  <a:lnTo>
                    <a:pt x="1530" y="822"/>
                  </a:lnTo>
                  <a:lnTo>
                    <a:pt x="1488" y="852"/>
                  </a:lnTo>
                  <a:lnTo>
                    <a:pt x="1440" y="858"/>
                  </a:lnTo>
                  <a:lnTo>
                    <a:pt x="1452" y="876"/>
                  </a:lnTo>
                  <a:lnTo>
                    <a:pt x="1440" y="876"/>
                  </a:lnTo>
                  <a:lnTo>
                    <a:pt x="1428" y="870"/>
                  </a:lnTo>
                  <a:lnTo>
                    <a:pt x="1422" y="870"/>
                  </a:lnTo>
                  <a:lnTo>
                    <a:pt x="1410" y="876"/>
                  </a:lnTo>
                  <a:lnTo>
                    <a:pt x="1404" y="882"/>
                  </a:lnTo>
                  <a:lnTo>
                    <a:pt x="1404" y="924"/>
                  </a:lnTo>
                  <a:lnTo>
                    <a:pt x="1332" y="930"/>
                  </a:lnTo>
                  <a:lnTo>
                    <a:pt x="1326" y="924"/>
                  </a:lnTo>
                  <a:lnTo>
                    <a:pt x="1314" y="918"/>
                  </a:lnTo>
                  <a:lnTo>
                    <a:pt x="1308" y="912"/>
                  </a:lnTo>
                  <a:lnTo>
                    <a:pt x="1266" y="912"/>
                  </a:lnTo>
                  <a:lnTo>
                    <a:pt x="1260" y="906"/>
                  </a:lnTo>
                  <a:lnTo>
                    <a:pt x="1260" y="876"/>
                  </a:lnTo>
                  <a:lnTo>
                    <a:pt x="1266" y="870"/>
                  </a:lnTo>
                  <a:lnTo>
                    <a:pt x="1266" y="864"/>
                  </a:lnTo>
                  <a:lnTo>
                    <a:pt x="1272" y="858"/>
                  </a:lnTo>
                  <a:lnTo>
                    <a:pt x="1284" y="864"/>
                  </a:lnTo>
                  <a:lnTo>
                    <a:pt x="1344" y="864"/>
                  </a:lnTo>
                  <a:lnTo>
                    <a:pt x="1332" y="858"/>
                  </a:lnTo>
                  <a:lnTo>
                    <a:pt x="1326" y="846"/>
                  </a:lnTo>
                  <a:lnTo>
                    <a:pt x="1314" y="840"/>
                  </a:lnTo>
                  <a:lnTo>
                    <a:pt x="1302" y="828"/>
                  </a:lnTo>
                  <a:lnTo>
                    <a:pt x="1290" y="822"/>
                  </a:lnTo>
                  <a:lnTo>
                    <a:pt x="1278" y="810"/>
                  </a:lnTo>
                  <a:lnTo>
                    <a:pt x="1152" y="810"/>
                  </a:lnTo>
                  <a:lnTo>
                    <a:pt x="1164" y="822"/>
                  </a:lnTo>
                  <a:lnTo>
                    <a:pt x="1188" y="822"/>
                  </a:lnTo>
                  <a:lnTo>
                    <a:pt x="1200" y="828"/>
                  </a:lnTo>
                  <a:lnTo>
                    <a:pt x="1200" y="846"/>
                  </a:lnTo>
                  <a:lnTo>
                    <a:pt x="1194" y="864"/>
                  </a:lnTo>
                  <a:lnTo>
                    <a:pt x="1194" y="876"/>
                  </a:lnTo>
                  <a:lnTo>
                    <a:pt x="1188" y="894"/>
                  </a:lnTo>
                  <a:lnTo>
                    <a:pt x="1188" y="918"/>
                  </a:lnTo>
                  <a:lnTo>
                    <a:pt x="1194" y="918"/>
                  </a:lnTo>
                  <a:lnTo>
                    <a:pt x="1206" y="924"/>
                  </a:lnTo>
                  <a:lnTo>
                    <a:pt x="1230" y="924"/>
                  </a:lnTo>
                  <a:lnTo>
                    <a:pt x="1236" y="930"/>
                  </a:lnTo>
                  <a:lnTo>
                    <a:pt x="1242" y="930"/>
                  </a:lnTo>
                  <a:lnTo>
                    <a:pt x="1236" y="966"/>
                  </a:lnTo>
                  <a:lnTo>
                    <a:pt x="1248" y="996"/>
                  </a:lnTo>
                  <a:lnTo>
                    <a:pt x="1212" y="972"/>
                  </a:lnTo>
                  <a:lnTo>
                    <a:pt x="1194" y="996"/>
                  </a:lnTo>
                  <a:lnTo>
                    <a:pt x="1188" y="966"/>
                  </a:lnTo>
                  <a:lnTo>
                    <a:pt x="1116" y="948"/>
                  </a:lnTo>
                  <a:lnTo>
                    <a:pt x="1086" y="984"/>
                  </a:lnTo>
                  <a:lnTo>
                    <a:pt x="1062" y="984"/>
                  </a:lnTo>
                  <a:lnTo>
                    <a:pt x="1056" y="996"/>
                  </a:lnTo>
                  <a:lnTo>
                    <a:pt x="1044" y="1002"/>
                  </a:lnTo>
                  <a:lnTo>
                    <a:pt x="1038" y="1008"/>
                  </a:lnTo>
                  <a:lnTo>
                    <a:pt x="1026" y="1014"/>
                  </a:lnTo>
                  <a:lnTo>
                    <a:pt x="1014" y="1014"/>
                  </a:lnTo>
                  <a:lnTo>
                    <a:pt x="1002" y="1020"/>
                  </a:lnTo>
                  <a:lnTo>
                    <a:pt x="1002" y="1032"/>
                  </a:lnTo>
                  <a:lnTo>
                    <a:pt x="1008" y="1038"/>
                  </a:lnTo>
                  <a:lnTo>
                    <a:pt x="1020" y="1044"/>
                  </a:lnTo>
                  <a:lnTo>
                    <a:pt x="1032" y="1056"/>
                  </a:lnTo>
                  <a:lnTo>
                    <a:pt x="1044" y="1062"/>
                  </a:lnTo>
                  <a:lnTo>
                    <a:pt x="1050" y="1068"/>
                  </a:lnTo>
                  <a:lnTo>
                    <a:pt x="1062" y="1074"/>
                  </a:lnTo>
                  <a:lnTo>
                    <a:pt x="1080" y="1104"/>
                  </a:lnTo>
                  <a:lnTo>
                    <a:pt x="1050" y="1086"/>
                  </a:lnTo>
                  <a:lnTo>
                    <a:pt x="1038" y="1092"/>
                  </a:lnTo>
                  <a:lnTo>
                    <a:pt x="1032" y="1098"/>
                  </a:lnTo>
                  <a:lnTo>
                    <a:pt x="1020" y="1098"/>
                  </a:lnTo>
                  <a:lnTo>
                    <a:pt x="1008" y="1092"/>
                  </a:lnTo>
                  <a:lnTo>
                    <a:pt x="996" y="1092"/>
                  </a:lnTo>
                  <a:lnTo>
                    <a:pt x="978" y="1086"/>
                  </a:lnTo>
                  <a:lnTo>
                    <a:pt x="966" y="1080"/>
                  </a:lnTo>
                  <a:lnTo>
                    <a:pt x="948" y="1080"/>
                  </a:lnTo>
                  <a:lnTo>
                    <a:pt x="936" y="1074"/>
                  </a:lnTo>
                  <a:lnTo>
                    <a:pt x="924" y="1074"/>
                  </a:lnTo>
                  <a:lnTo>
                    <a:pt x="918" y="1068"/>
                  </a:lnTo>
                  <a:lnTo>
                    <a:pt x="918" y="1056"/>
                  </a:lnTo>
                  <a:lnTo>
                    <a:pt x="906" y="1050"/>
                  </a:lnTo>
                  <a:lnTo>
                    <a:pt x="888" y="1050"/>
                  </a:lnTo>
                  <a:lnTo>
                    <a:pt x="864" y="1062"/>
                  </a:lnTo>
                  <a:lnTo>
                    <a:pt x="858" y="1068"/>
                  </a:lnTo>
                  <a:lnTo>
                    <a:pt x="840" y="1068"/>
                  </a:lnTo>
                  <a:lnTo>
                    <a:pt x="882" y="1104"/>
                  </a:lnTo>
                  <a:lnTo>
                    <a:pt x="900" y="1104"/>
                  </a:lnTo>
                  <a:lnTo>
                    <a:pt x="912" y="1110"/>
                  </a:lnTo>
                  <a:lnTo>
                    <a:pt x="924" y="1110"/>
                  </a:lnTo>
                  <a:lnTo>
                    <a:pt x="936" y="1116"/>
                  </a:lnTo>
                  <a:lnTo>
                    <a:pt x="942" y="1116"/>
                  </a:lnTo>
                  <a:lnTo>
                    <a:pt x="942" y="1122"/>
                  </a:lnTo>
                  <a:lnTo>
                    <a:pt x="936" y="1134"/>
                  </a:lnTo>
                  <a:lnTo>
                    <a:pt x="924" y="1140"/>
                  </a:lnTo>
                  <a:lnTo>
                    <a:pt x="918" y="1146"/>
                  </a:lnTo>
                  <a:lnTo>
                    <a:pt x="852" y="1128"/>
                  </a:lnTo>
                  <a:lnTo>
                    <a:pt x="840" y="1122"/>
                  </a:lnTo>
                  <a:lnTo>
                    <a:pt x="834" y="1116"/>
                  </a:lnTo>
                  <a:lnTo>
                    <a:pt x="822" y="1110"/>
                  </a:lnTo>
                  <a:lnTo>
                    <a:pt x="762" y="1110"/>
                  </a:lnTo>
                  <a:lnTo>
                    <a:pt x="756" y="1104"/>
                  </a:lnTo>
                  <a:lnTo>
                    <a:pt x="756" y="1056"/>
                  </a:lnTo>
                  <a:lnTo>
                    <a:pt x="738" y="1044"/>
                  </a:lnTo>
                  <a:lnTo>
                    <a:pt x="750" y="1032"/>
                  </a:lnTo>
                  <a:lnTo>
                    <a:pt x="756" y="1020"/>
                  </a:lnTo>
                  <a:lnTo>
                    <a:pt x="756" y="1002"/>
                  </a:lnTo>
                  <a:lnTo>
                    <a:pt x="738" y="990"/>
                  </a:lnTo>
                  <a:lnTo>
                    <a:pt x="702" y="978"/>
                  </a:lnTo>
                  <a:lnTo>
                    <a:pt x="672" y="972"/>
                  </a:lnTo>
                  <a:lnTo>
                    <a:pt x="660" y="966"/>
                  </a:lnTo>
                  <a:lnTo>
                    <a:pt x="630" y="948"/>
                  </a:lnTo>
                  <a:lnTo>
                    <a:pt x="606" y="930"/>
                  </a:lnTo>
                  <a:lnTo>
                    <a:pt x="594" y="912"/>
                  </a:lnTo>
                  <a:lnTo>
                    <a:pt x="630" y="912"/>
                  </a:lnTo>
                  <a:lnTo>
                    <a:pt x="630" y="924"/>
                  </a:lnTo>
                  <a:lnTo>
                    <a:pt x="642" y="924"/>
                  </a:lnTo>
                  <a:lnTo>
                    <a:pt x="654" y="930"/>
                  </a:lnTo>
                  <a:lnTo>
                    <a:pt x="672" y="930"/>
                  </a:lnTo>
                  <a:lnTo>
                    <a:pt x="690" y="936"/>
                  </a:lnTo>
                  <a:lnTo>
                    <a:pt x="720" y="936"/>
                  </a:lnTo>
                  <a:lnTo>
                    <a:pt x="732" y="942"/>
                  </a:lnTo>
                  <a:lnTo>
                    <a:pt x="738" y="954"/>
                  </a:lnTo>
                  <a:lnTo>
                    <a:pt x="762" y="966"/>
                  </a:lnTo>
                  <a:lnTo>
                    <a:pt x="816" y="966"/>
                  </a:lnTo>
                  <a:lnTo>
                    <a:pt x="846" y="972"/>
                  </a:lnTo>
                  <a:lnTo>
                    <a:pt x="858" y="972"/>
                  </a:lnTo>
                  <a:lnTo>
                    <a:pt x="870" y="978"/>
                  </a:lnTo>
                  <a:lnTo>
                    <a:pt x="894" y="984"/>
                  </a:lnTo>
                  <a:lnTo>
                    <a:pt x="930" y="990"/>
                  </a:lnTo>
                  <a:lnTo>
                    <a:pt x="978" y="984"/>
                  </a:lnTo>
                  <a:lnTo>
                    <a:pt x="1026" y="972"/>
                  </a:lnTo>
                  <a:lnTo>
                    <a:pt x="1062" y="954"/>
                  </a:lnTo>
                  <a:lnTo>
                    <a:pt x="1080" y="936"/>
                  </a:lnTo>
                  <a:lnTo>
                    <a:pt x="1074" y="912"/>
                  </a:lnTo>
                  <a:lnTo>
                    <a:pt x="1032" y="870"/>
                  </a:lnTo>
                  <a:lnTo>
                    <a:pt x="1014" y="858"/>
                  </a:lnTo>
                  <a:lnTo>
                    <a:pt x="996" y="852"/>
                  </a:lnTo>
                  <a:lnTo>
                    <a:pt x="948" y="840"/>
                  </a:lnTo>
                  <a:lnTo>
                    <a:pt x="900" y="822"/>
                  </a:lnTo>
                  <a:lnTo>
                    <a:pt x="828" y="798"/>
                  </a:lnTo>
                  <a:lnTo>
                    <a:pt x="792" y="780"/>
                  </a:lnTo>
                  <a:lnTo>
                    <a:pt x="756" y="774"/>
                  </a:lnTo>
                  <a:lnTo>
                    <a:pt x="624" y="774"/>
                  </a:lnTo>
                  <a:lnTo>
                    <a:pt x="612" y="756"/>
                  </a:lnTo>
                  <a:lnTo>
                    <a:pt x="588" y="762"/>
                  </a:lnTo>
                  <a:lnTo>
                    <a:pt x="552" y="744"/>
                  </a:lnTo>
                  <a:lnTo>
                    <a:pt x="588" y="738"/>
                  </a:lnTo>
                  <a:lnTo>
                    <a:pt x="606" y="726"/>
                  </a:lnTo>
                  <a:lnTo>
                    <a:pt x="600" y="726"/>
                  </a:lnTo>
                  <a:lnTo>
                    <a:pt x="594" y="720"/>
                  </a:lnTo>
                  <a:lnTo>
                    <a:pt x="582" y="720"/>
                  </a:lnTo>
                  <a:lnTo>
                    <a:pt x="564" y="714"/>
                  </a:lnTo>
                  <a:lnTo>
                    <a:pt x="546" y="714"/>
                  </a:lnTo>
                  <a:lnTo>
                    <a:pt x="534" y="708"/>
                  </a:lnTo>
                  <a:lnTo>
                    <a:pt x="522" y="720"/>
                  </a:lnTo>
                  <a:lnTo>
                    <a:pt x="522" y="726"/>
                  </a:lnTo>
                  <a:lnTo>
                    <a:pt x="516" y="732"/>
                  </a:lnTo>
                  <a:lnTo>
                    <a:pt x="498" y="732"/>
                  </a:lnTo>
                  <a:lnTo>
                    <a:pt x="486" y="744"/>
                  </a:lnTo>
                  <a:lnTo>
                    <a:pt x="450" y="744"/>
                  </a:lnTo>
                  <a:lnTo>
                    <a:pt x="444" y="756"/>
                  </a:lnTo>
                  <a:lnTo>
                    <a:pt x="420" y="762"/>
                  </a:lnTo>
                  <a:lnTo>
                    <a:pt x="420" y="768"/>
                  </a:lnTo>
                  <a:lnTo>
                    <a:pt x="414" y="780"/>
                  </a:lnTo>
                  <a:lnTo>
                    <a:pt x="390" y="780"/>
                  </a:lnTo>
                  <a:lnTo>
                    <a:pt x="384" y="792"/>
                  </a:lnTo>
                  <a:lnTo>
                    <a:pt x="396" y="804"/>
                  </a:lnTo>
                  <a:lnTo>
                    <a:pt x="396" y="810"/>
                  </a:lnTo>
                  <a:lnTo>
                    <a:pt x="378" y="810"/>
                  </a:lnTo>
                  <a:lnTo>
                    <a:pt x="378" y="822"/>
                  </a:lnTo>
                  <a:lnTo>
                    <a:pt x="384" y="834"/>
                  </a:lnTo>
                  <a:lnTo>
                    <a:pt x="384" y="840"/>
                  </a:lnTo>
                  <a:lnTo>
                    <a:pt x="390" y="846"/>
                  </a:lnTo>
                  <a:lnTo>
                    <a:pt x="396" y="846"/>
                  </a:lnTo>
                  <a:lnTo>
                    <a:pt x="402" y="840"/>
                  </a:lnTo>
                  <a:lnTo>
                    <a:pt x="420" y="840"/>
                  </a:lnTo>
                  <a:lnTo>
                    <a:pt x="468" y="888"/>
                  </a:lnTo>
                  <a:lnTo>
                    <a:pt x="468" y="900"/>
                  </a:lnTo>
                  <a:lnTo>
                    <a:pt x="462" y="900"/>
                  </a:lnTo>
                  <a:lnTo>
                    <a:pt x="450" y="906"/>
                  </a:lnTo>
                  <a:lnTo>
                    <a:pt x="444" y="906"/>
                  </a:lnTo>
                  <a:lnTo>
                    <a:pt x="444" y="918"/>
                  </a:lnTo>
                  <a:lnTo>
                    <a:pt x="438" y="918"/>
                  </a:lnTo>
                  <a:lnTo>
                    <a:pt x="426" y="924"/>
                  </a:lnTo>
                  <a:lnTo>
                    <a:pt x="420" y="930"/>
                  </a:lnTo>
                  <a:lnTo>
                    <a:pt x="438" y="948"/>
                  </a:lnTo>
                  <a:lnTo>
                    <a:pt x="450" y="954"/>
                  </a:lnTo>
                  <a:lnTo>
                    <a:pt x="456" y="966"/>
                  </a:lnTo>
                  <a:lnTo>
                    <a:pt x="468" y="972"/>
                  </a:lnTo>
                  <a:lnTo>
                    <a:pt x="492" y="996"/>
                  </a:lnTo>
                  <a:lnTo>
                    <a:pt x="504" y="1002"/>
                  </a:lnTo>
                  <a:lnTo>
                    <a:pt x="510" y="1008"/>
                  </a:lnTo>
                  <a:lnTo>
                    <a:pt x="510" y="1014"/>
                  </a:lnTo>
                  <a:lnTo>
                    <a:pt x="504" y="1020"/>
                  </a:lnTo>
                  <a:lnTo>
                    <a:pt x="492" y="1020"/>
                  </a:lnTo>
                  <a:lnTo>
                    <a:pt x="480" y="1014"/>
                  </a:lnTo>
                  <a:lnTo>
                    <a:pt x="474" y="1014"/>
                  </a:lnTo>
                  <a:lnTo>
                    <a:pt x="468" y="1044"/>
                  </a:lnTo>
                  <a:lnTo>
                    <a:pt x="480" y="1056"/>
                  </a:lnTo>
                  <a:lnTo>
                    <a:pt x="480" y="1068"/>
                  </a:lnTo>
                  <a:lnTo>
                    <a:pt x="492" y="1068"/>
                  </a:lnTo>
                  <a:lnTo>
                    <a:pt x="498" y="1074"/>
                  </a:lnTo>
                  <a:lnTo>
                    <a:pt x="504" y="1074"/>
                  </a:lnTo>
                  <a:lnTo>
                    <a:pt x="510" y="1080"/>
                  </a:lnTo>
                  <a:lnTo>
                    <a:pt x="510" y="1086"/>
                  </a:lnTo>
                  <a:lnTo>
                    <a:pt x="504" y="1092"/>
                  </a:lnTo>
                  <a:lnTo>
                    <a:pt x="498" y="1104"/>
                  </a:lnTo>
                  <a:lnTo>
                    <a:pt x="522" y="1110"/>
                  </a:lnTo>
                  <a:lnTo>
                    <a:pt x="534" y="1116"/>
                  </a:lnTo>
                  <a:lnTo>
                    <a:pt x="540" y="1122"/>
                  </a:lnTo>
                  <a:lnTo>
                    <a:pt x="540" y="1128"/>
                  </a:lnTo>
                  <a:lnTo>
                    <a:pt x="516" y="1152"/>
                  </a:lnTo>
                  <a:lnTo>
                    <a:pt x="510" y="1152"/>
                  </a:lnTo>
                  <a:lnTo>
                    <a:pt x="582" y="1188"/>
                  </a:lnTo>
                  <a:lnTo>
                    <a:pt x="588" y="1200"/>
                  </a:lnTo>
                  <a:lnTo>
                    <a:pt x="594" y="1206"/>
                  </a:lnTo>
                  <a:lnTo>
                    <a:pt x="600" y="1218"/>
                  </a:lnTo>
                  <a:lnTo>
                    <a:pt x="600" y="1230"/>
                  </a:lnTo>
                  <a:lnTo>
                    <a:pt x="594" y="1236"/>
                  </a:lnTo>
                  <a:lnTo>
                    <a:pt x="588" y="1248"/>
                  </a:lnTo>
                  <a:lnTo>
                    <a:pt x="552" y="1284"/>
                  </a:lnTo>
                  <a:lnTo>
                    <a:pt x="546" y="1284"/>
                  </a:lnTo>
                  <a:lnTo>
                    <a:pt x="486" y="1344"/>
                  </a:lnTo>
                  <a:lnTo>
                    <a:pt x="426" y="1374"/>
                  </a:lnTo>
                  <a:lnTo>
                    <a:pt x="432" y="1386"/>
                  </a:lnTo>
                  <a:lnTo>
                    <a:pt x="462" y="1368"/>
                  </a:lnTo>
                  <a:lnTo>
                    <a:pt x="468" y="1386"/>
                  </a:lnTo>
                  <a:lnTo>
                    <a:pt x="480" y="1398"/>
                  </a:lnTo>
                  <a:lnTo>
                    <a:pt x="492" y="1404"/>
                  </a:lnTo>
                  <a:lnTo>
                    <a:pt x="498" y="1410"/>
                  </a:lnTo>
                  <a:lnTo>
                    <a:pt x="546" y="1410"/>
                  </a:lnTo>
                  <a:lnTo>
                    <a:pt x="558" y="1428"/>
                  </a:lnTo>
                  <a:lnTo>
                    <a:pt x="546" y="1428"/>
                  </a:lnTo>
                  <a:lnTo>
                    <a:pt x="534" y="1422"/>
                  </a:lnTo>
                  <a:lnTo>
                    <a:pt x="504" y="1422"/>
                  </a:lnTo>
                  <a:lnTo>
                    <a:pt x="492" y="1434"/>
                  </a:lnTo>
                  <a:lnTo>
                    <a:pt x="492" y="1440"/>
                  </a:lnTo>
                  <a:lnTo>
                    <a:pt x="456" y="1440"/>
                  </a:lnTo>
                  <a:lnTo>
                    <a:pt x="450" y="1470"/>
                  </a:lnTo>
                  <a:lnTo>
                    <a:pt x="438" y="1470"/>
                  </a:lnTo>
                  <a:lnTo>
                    <a:pt x="432" y="1482"/>
                  </a:lnTo>
                  <a:lnTo>
                    <a:pt x="438" y="1494"/>
                  </a:lnTo>
                  <a:lnTo>
                    <a:pt x="432" y="1500"/>
                  </a:lnTo>
                  <a:lnTo>
                    <a:pt x="426" y="1500"/>
                  </a:lnTo>
                  <a:lnTo>
                    <a:pt x="414" y="1512"/>
                  </a:lnTo>
                  <a:lnTo>
                    <a:pt x="414" y="1530"/>
                  </a:lnTo>
                  <a:lnTo>
                    <a:pt x="432" y="1536"/>
                  </a:lnTo>
                  <a:lnTo>
                    <a:pt x="420" y="1560"/>
                  </a:lnTo>
                  <a:lnTo>
                    <a:pt x="432" y="1566"/>
                  </a:lnTo>
                  <a:lnTo>
                    <a:pt x="444" y="1584"/>
                  </a:lnTo>
                  <a:lnTo>
                    <a:pt x="426" y="1596"/>
                  </a:lnTo>
                  <a:lnTo>
                    <a:pt x="426" y="1608"/>
                  </a:lnTo>
                  <a:lnTo>
                    <a:pt x="432" y="1608"/>
                  </a:lnTo>
                  <a:lnTo>
                    <a:pt x="444" y="1620"/>
                  </a:lnTo>
                  <a:lnTo>
                    <a:pt x="456" y="1626"/>
                  </a:lnTo>
                  <a:lnTo>
                    <a:pt x="462" y="1632"/>
                  </a:lnTo>
                  <a:lnTo>
                    <a:pt x="462" y="1638"/>
                  </a:lnTo>
                  <a:lnTo>
                    <a:pt x="444" y="1638"/>
                  </a:lnTo>
                  <a:lnTo>
                    <a:pt x="438" y="1656"/>
                  </a:lnTo>
                  <a:lnTo>
                    <a:pt x="462" y="1662"/>
                  </a:lnTo>
                  <a:lnTo>
                    <a:pt x="468" y="1668"/>
                  </a:lnTo>
                  <a:lnTo>
                    <a:pt x="474" y="1680"/>
                  </a:lnTo>
                  <a:lnTo>
                    <a:pt x="486" y="1692"/>
                  </a:lnTo>
                  <a:lnTo>
                    <a:pt x="486" y="1716"/>
                  </a:lnTo>
                  <a:lnTo>
                    <a:pt x="510" y="1716"/>
                  </a:lnTo>
                  <a:lnTo>
                    <a:pt x="516" y="1722"/>
                  </a:lnTo>
                  <a:lnTo>
                    <a:pt x="516" y="1728"/>
                  </a:lnTo>
                  <a:lnTo>
                    <a:pt x="528" y="1722"/>
                  </a:lnTo>
                  <a:lnTo>
                    <a:pt x="564" y="1728"/>
                  </a:lnTo>
                  <a:lnTo>
                    <a:pt x="570" y="1746"/>
                  </a:lnTo>
                  <a:lnTo>
                    <a:pt x="600" y="1728"/>
                  </a:lnTo>
                  <a:lnTo>
                    <a:pt x="606" y="1728"/>
                  </a:lnTo>
                  <a:lnTo>
                    <a:pt x="612" y="1734"/>
                  </a:lnTo>
                  <a:lnTo>
                    <a:pt x="648" y="1752"/>
                  </a:lnTo>
                  <a:lnTo>
                    <a:pt x="654" y="1758"/>
                  </a:lnTo>
                  <a:lnTo>
                    <a:pt x="654" y="1770"/>
                  </a:lnTo>
                  <a:lnTo>
                    <a:pt x="648" y="1776"/>
                  </a:lnTo>
                  <a:lnTo>
                    <a:pt x="660" y="1794"/>
                  </a:lnTo>
                  <a:lnTo>
                    <a:pt x="654" y="1812"/>
                  </a:lnTo>
                  <a:lnTo>
                    <a:pt x="660" y="1818"/>
                  </a:lnTo>
                  <a:lnTo>
                    <a:pt x="672" y="1824"/>
                  </a:lnTo>
                  <a:lnTo>
                    <a:pt x="690" y="1842"/>
                  </a:lnTo>
                  <a:lnTo>
                    <a:pt x="690" y="1854"/>
                  </a:lnTo>
                  <a:lnTo>
                    <a:pt x="720" y="1866"/>
                  </a:lnTo>
                  <a:lnTo>
                    <a:pt x="720" y="1890"/>
                  </a:lnTo>
                  <a:lnTo>
                    <a:pt x="756" y="1890"/>
                  </a:lnTo>
                  <a:lnTo>
                    <a:pt x="762" y="1896"/>
                  </a:lnTo>
                  <a:lnTo>
                    <a:pt x="768" y="1896"/>
                  </a:lnTo>
                  <a:lnTo>
                    <a:pt x="768" y="1902"/>
                  </a:lnTo>
                  <a:lnTo>
                    <a:pt x="762" y="1908"/>
                  </a:lnTo>
                  <a:lnTo>
                    <a:pt x="786" y="1920"/>
                  </a:lnTo>
                  <a:lnTo>
                    <a:pt x="774" y="1926"/>
                  </a:lnTo>
                  <a:lnTo>
                    <a:pt x="768" y="1938"/>
                  </a:lnTo>
                  <a:lnTo>
                    <a:pt x="744" y="1950"/>
                  </a:lnTo>
                  <a:lnTo>
                    <a:pt x="738" y="1950"/>
                  </a:lnTo>
                  <a:lnTo>
                    <a:pt x="732" y="1944"/>
                  </a:lnTo>
                  <a:lnTo>
                    <a:pt x="726" y="1944"/>
                  </a:lnTo>
                  <a:lnTo>
                    <a:pt x="726" y="1938"/>
                  </a:lnTo>
                  <a:lnTo>
                    <a:pt x="702" y="1938"/>
                  </a:lnTo>
                  <a:lnTo>
                    <a:pt x="696" y="1944"/>
                  </a:lnTo>
                  <a:lnTo>
                    <a:pt x="696" y="1950"/>
                  </a:lnTo>
                  <a:lnTo>
                    <a:pt x="720" y="1974"/>
                  </a:lnTo>
                  <a:lnTo>
                    <a:pt x="720" y="1992"/>
                  </a:lnTo>
                  <a:lnTo>
                    <a:pt x="726" y="1998"/>
                  </a:lnTo>
                  <a:lnTo>
                    <a:pt x="732" y="2010"/>
                  </a:lnTo>
                  <a:lnTo>
                    <a:pt x="732" y="2028"/>
                  </a:lnTo>
                  <a:lnTo>
                    <a:pt x="720" y="2028"/>
                  </a:lnTo>
                  <a:lnTo>
                    <a:pt x="714" y="2022"/>
                  </a:lnTo>
                  <a:lnTo>
                    <a:pt x="708" y="2022"/>
                  </a:lnTo>
                  <a:lnTo>
                    <a:pt x="720" y="2028"/>
                  </a:lnTo>
                  <a:lnTo>
                    <a:pt x="768" y="2028"/>
                  </a:lnTo>
                  <a:lnTo>
                    <a:pt x="774" y="2022"/>
                  </a:lnTo>
                  <a:lnTo>
                    <a:pt x="774" y="2010"/>
                  </a:lnTo>
                  <a:lnTo>
                    <a:pt x="804" y="2010"/>
                  </a:lnTo>
                  <a:lnTo>
                    <a:pt x="816" y="2004"/>
                  </a:lnTo>
                  <a:lnTo>
                    <a:pt x="864" y="2004"/>
                  </a:lnTo>
                  <a:lnTo>
                    <a:pt x="870" y="2022"/>
                  </a:lnTo>
                  <a:lnTo>
                    <a:pt x="876" y="2022"/>
                  </a:lnTo>
                  <a:lnTo>
                    <a:pt x="882" y="2028"/>
                  </a:lnTo>
                  <a:lnTo>
                    <a:pt x="894" y="2034"/>
                  </a:lnTo>
                  <a:lnTo>
                    <a:pt x="900" y="2034"/>
                  </a:lnTo>
                  <a:lnTo>
                    <a:pt x="900" y="2046"/>
                  </a:lnTo>
                  <a:lnTo>
                    <a:pt x="894" y="2052"/>
                  </a:lnTo>
                  <a:lnTo>
                    <a:pt x="888" y="2052"/>
                  </a:lnTo>
                  <a:lnTo>
                    <a:pt x="894" y="2070"/>
                  </a:lnTo>
                  <a:lnTo>
                    <a:pt x="894" y="2088"/>
                  </a:lnTo>
                  <a:lnTo>
                    <a:pt x="930" y="2088"/>
                  </a:lnTo>
                  <a:lnTo>
                    <a:pt x="972" y="2106"/>
                  </a:lnTo>
                  <a:lnTo>
                    <a:pt x="984" y="2154"/>
                  </a:lnTo>
                  <a:lnTo>
                    <a:pt x="990" y="2154"/>
                  </a:lnTo>
                  <a:lnTo>
                    <a:pt x="1014" y="2148"/>
                  </a:lnTo>
                  <a:lnTo>
                    <a:pt x="1020" y="2154"/>
                  </a:lnTo>
                  <a:lnTo>
                    <a:pt x="1032" y="2154"/>
                  </a:lnTo>
                  <a:lnTo>
                    <a:pt x="1038" y="2160"/>
                  </a:lnTo>
                  <a:lnTo>
                    <a:pt x="1086" y="2160"/>
                  </a:lnTo>
                  <a:lnTo>
                    <a:pt x="1092" y="2166"/>
                  </a:lnTo>
                  <a:lnTo>
                    <a:pt x="1092" y="2160"/>
                  </a:lnTo>
                  <a:lnTo>
                    <a:pt x="1098" y="2154"/>
                  </a:lnTo>
                  <a:lnTo>
                    <a:pt x="1110" y="2154"/>
                  </a:lnTo>
                  <a:lnTo>
                    <a:pt x="1116" y="2166"/>
                  </a:lnTo>
                  <a:lnTo>
                    <a:pt x="1140" y="2190"/>
                  </a:lnTo>
                  <a:lnTo>
                    <a:pt x="1152" y="2184"/>
                  </a:lnTo>
                  <a:lnTo>
                    <a:pt x="1170" y="2184"/>
                  </a:lnTo>
                  <a:lnTo>
                    <a:pt x="1176" y="2190"/>
                  </a:lnTo>
                  <a:lnTo>
                    <a:pt x="1188" y="2196"/>
                  </a:lnTo>
                  <a:lnTo>
                    <a:pt x="1230" y="2196"/>
                  </a:lnTo>
                  <a:lnTo>
                    <a:pt x="1230" y="2202"/>
                  </a:lnTo>
                  <a:lnTo>
                    <a:pt x="1236" y="2208"/>
                  </a:lnTo>
                  <a:lnTo>
                    <a:pt x="1254" y="2220"/>
                  </a:lnTo>
                  <a:lnTo>
                    <a:pt x="1278" y="2220"/>
                  </a:lnTo>
                  <a:lnTo>
                    <a:pt x="1284" y="2226"/>
                  </a:lnTo>
                  <a:lnTo>
                    <a:pt x="1284" y="2250"/>
                  </a:lnTo>
                  <a:lnTo>
                    <a:pt x="1266" y="2262"/>
                  </a:lnTo>
                  <a:lnTo>
                    <a:pt x="1272" y="2262"/>
                  </a:lnTo>
                  <a:lnTo>
                    <a:pt x="1278" y="2268"/>
                  </a:lnTo>
                  <a:lnTo>
                    <a:pt x="1284" y="2268"/>
                  </a:lnTo>
                  <a:lnTo>
                    <a:pt x="1290" y="2274"/>
                  </a:lnTo>
                  <a:lnTo>
                    <a:pt x="1284" y="2280"/>
                  </a:lnTo>
                  <a:lnTo>
                    <a:pt x="1266" y="2280"/>
                  </a:lnTo>
                  <a:lnTo>
                    <a:pt x="1260" y="2286"/>
                  </a:lnTo>
                  <a:lnTo>
                    <a:pt x="1272" y="2298"/>
                  </a:lnTo>
                  <a:lnTo>
                    <a:pt x="1284" y="2304"/>
                  </a:lnTo>
                  <a:lnTo>
                    <a:pt x="1284" y="2316"/>
                  </a:lnTo>
                  <a:lnTo>
                    <a:pt x="1290" y="2328"/>
                  </a:lnTo>
                  <a:lnTo>
                    <a:pt x="1290" y="2334"/>
                  </a:lnTo>
                  <a:lnTo>
                    <a:pt x="1278" y="2346"/>
                  </a:lnTo>
                  <a:lnTo>
                    <a:pt x="1266" y="2346"/>
                  </a:lnTo>
                  <a:lnTo>
                    <a:pt x="1254" y="2352"/>
                  </a:lnTo>
                  <a:lnTo>
                    <a:pt x="1224" y="2352"/>
                  </a:lnTo>
                  <a:lnTo>
                    <a:pt x="1212" y="2364"/>
                  </a:lnTo>
                  <a:lnTo>
                    <a:pt x="1212" y="2370"/>
                  </a:lnTo>
                  <a:lnTo>
                    <a:pt x="1206" y="2376"/>
                  </a:lnTo>
                  <a:lnTo>
                    <a:pt x="1188" y="2376"/>
                  </a:lnTo>
                  <a:lnTo>
                    <a:pt x="1188" y="2412"/>
                  </a:lnTo>
                  <a:lnTo>
                    <a:pt x="1194" y="2412"/>
                  </a:lnTo>
                  <a:lnTo>
                    <a:pt x="1200" y="2406"/>
                  </a:lnTo>
                  <a:lnTo>
                    <a:pt x="1212" y="2406"/>
                  </a:lnTo>
                  <a:lnTo>
                    <a:pt x="1224" y="2400"/>
                  </a:lnTo>
                  <a:lnTo>
                    <a:pt x="1254" y="2400"/>
                  </a:lnTo>
                  <a:lnTo>
                    <a:pt x="1254" y="2412"/>
                  </a:lnTo>
                  <a:lnTo>
                    <a:pt x="1248" y="2418"/>
                  </a:lnTo>
                  <a:lnTo>
                    <a:pt x="1242" y="2430"/>
                  </a:lnTo>
                  <a:lnTo>
                    <a:pt x="1230" y="2436"/>
                  </a:lnTo>
                  <a:lnTo>
                    <a:pt x="1224" y="2442"/>
                  </a:lnTo>
                  <a:lnTo>
                    <a:pt x="1170" y="2454"/>
                  </a:lnTo>
                  <a:lnTo>
                    <a:pt x="1218" y="2490"/>
                  </a:lnTo>
                  <a:lnTo>
                    <a:pt x="1212" y="2490"/>
                  </a:lnTo>
                  <a:lnTo>
                    <a:pt x="1206" y="2496"/>
                  </a:lnTo>
                  <a:lnTo>
                    <a:pt x="1194" y="2496"/>
                  </a:lnTo>
                  <a:lnTo>
                    <a:pt x="1188" y="2502"/>
                  </a:lnTo>
                  <a:lnTo>
                    <a:pt x="1176" y="2526"/>
                  </a:lnTo>
                  <a:lnTo>
                    <a:pt x="1176" y="2544"/>
                  </a:lnTo>
                  <a:lnTo>
                    <a:pt x="1164" y="2550"/>
                  </a:lnTo>
                  <a:lnTo>
                    <a:pt x="1158" y="2556"/>
                  </a:lnTo>
                  <a:lnTo>
                    <a:pt x="1146" y="2556"/>
                  </a:lnTo>
                  <a:lnTo>
                    <a:pt x="1140" y="2550"/>
                  </a:lnTo>
                  <a:lnTo>
                    <a:pt x="1128" y="2544"/>
                  </a:lnTo>
                  <a:lnTo>
                    <a:pt x="1122" y="2538"/>
                  </a:lnTo>
                  <a:lnTo>
                    <a:pt x="1116" y="2556"/>
                  </a:lnTo>
                  <a:lnTo>
                    <a:pt x="1122" y="2562"/>
                  </a:lnTo>
                  <a:lnTo>
                    <a:pt x="1128" y="2574"/>
                  </a:lnTo>
                  <a:lnTo>
                    <a:pt x="1134" y="2580"/>
                  </a:lnTo>
                  <a:lnTo>
                    <a:pt x="1146" y="2580"/>
                  </a:lnTo>
                  <a:lnTo>
                    <a:pt x="1146" y="2586"/>
                  </a:lnTo>
                  <a:lnTo>
                    <a:pt x="1152" y="2598"/>
                  </a:lnTo>
                  <a:lnTo>
                    <a:pt x="1158" y="2604"/>
                  </a:lnTo>
                  <a:lnTo>
                    <a:pt x="1194" y="2604"/>
                  </a:lnTo>
                  <a:lnTo>
                    <a:pt x="1200" y="2610"/>
                  </a:lnTo>
                  <a:lnTo>
                    <a:pt x="1212" y="2616"/>
                  </a:lnTo>
                  <a:lnTo>
                    <a:pt x="1218" y="2628"/>
                  </a:lnTo>
                  <a:lnTo>
                    <a:pt x="1224" y="2634"/>
                  </a:lnTo>
                  <a:lnTo>
                    <a:pt x="1254" y="2634"/>
                  </a:lnTo>
                  <a:lnTo>
                    <a:pt x="1272" y="2652"/>
                  </a:lnTo>
                  <a:lnTo>
                    <a:pt x="1278" y="2664"/>
                  </a:lnTo>
                  <a:lnTo>
                    <a:pt x="1290" y="2670"/>
                  </a:lnTo>
                  <a:lnTo>
                    <a:pt x="1314" y="2694"/>
                  </a:lnTo>
                  <a:lnTo>
                    <a:pt x="1320" y="2694"/>
                  </a:lnTo>
                  <a:lnTo>
                    <a:pt x="1332" y="2700"/>
                  </a:lnTo>
                  <a:lnTo>
                    <a:pt x="1338" y="2700"/>
                  </a:lnTo>
                  <a:lnTo>
                    <a:pt x="1350" y="2706"/>
                  </a:lnTo>
                  <a:lnTo>
                    <a:pt x="1344" y="2706"/>
                  </a:lnTo>
                  <a:lnTo>
                    <a:pt x="1368" y="2688"/>
                  </a:lnTo>
                  <a:lnTo>
                    <a:pt x="1380" y="2688"/>
                  </a:lnTo>
                  <a:lnTo>
                    <a:pt x="1398" y="2694"/>
                  </a:lnTo>
                  <a:lnTo>
                    <a:pt x="1410" y="2700"/>
                  </a:lnTo>
                  <a:lnTo>
                    <a:pt x="1428" y="2706"/>
                  </a:lnTo>
                  <a:lnTo>
                    <a:pt x="1488" y="2718"/>
                  </a:lnTo>
                  <a:lnTo>
                    <a:pt x="1524" y="2718"/>
                  </a:lnTo>
                  <a:lnTo>
                    <a:pt x="1530" y="2724"/>
                  </a:lnTo>
                  <a:lnTo>
                    <a:pt x="1536" y="2724"/>
                  </a:lnTo>
                  <a:lnTo>
                    <a:pt x="1584" y="2754"/>
                  </a:lnTo>
                  <a:lnTo>
                    <a:pt x="1584" y="2760"/>
                  </a:lnTo>
                  <a:lnTo>
                    <a:pt x="1590" y="2760"/>
                  </a:lnTo>
                  <a:lnTo>
                    <a:pt x="1602" y="2766"/>
                  </a:lnTo>
                  <a:lnTo>
                    <a:pt x="1626" y="2766"/>
                  </a:lnTo>
                  <a:lnTo>
                    <a:pt x="1632" y="2760"/>
                  </a:lnTo>
                  <a:lnTo>
                    <a:pt x="1644" y="2760"/>
                  </a:lnTo>
                  <a:lnTo>
                    <a:pt x="1644" y="2754"/>
                  </a:lnTo>
                  <a:lnTo>
                    <a:pt x="1674" y="2754"/>
                  </a:lnTo>
                  <a:lnTo>
                    <a:pt x="1686" y="2760"/>
                  </a:lnTo>
                  <a:lnTo>
                    <a:pt x="1698" y="2772"/>
                  </a:lnTo>
                  <a:lnTo>
                    <a:pt x="1728" y="2778"/>
                  </a:lnTo>
                  <a:lnTo>
                    <a:pt x="1728" y="2790"/>
                  </a:lnTo>
                  <a:lnTo>
                    <a:pt x="1722" y="2796"/>
                  </a:lnTo>
                  <a:lnTo>
                    <a:pt x="1722" y="2802"/>
                  </a:lnTo>
                  <a:lnTo>
                    <a:pt x="1740" y="2802"/>
                  </a:lnTo>
                  <a:lnTo>
                    <a:pt x="1752" y="2814"/>
                  </a:lnTo>
                  <a:lnTo>
                    <a:pt x="1764" y="2820"/>
                  </a:lnTo>
                  <a:lnTo>
                    <a:pt x="1776" y="2832"/>
                  </a:lnTo>
                  <a:lnTo>
                    <a:pt x="1788" y="2826"/>
                  </a:lnTo>
                  <a:lnTo>
                    <a:pt x="1794" y="2826"/>
                  </a:lnTo>
                  <a:lnTo>
                    <a:pt x="1818" y="2838"/>
                  </a:lnTo>
                  <a:lnTo>
                    <a:pt x="1836" y="2856"/>
                  </a:lnTo>
                  <a:lnTo>
                    <a:pt x="1842" y="2868"/>
                  </a:lnTo>
                  <a:lnTo>
                    <a:pt x="1854" y="2874"/>
                  </a:lnTo>
                  <a:lnTo>
                    <a:pt x="1860" y="2880"/>
                  </a:lnTo>
                  <a:lnTo>
                    <a:pt x="1884" y="2880"/>
                  </a:lnTo>
                  <a:lnTo>
                    <a:pt x="1890" y="2874"/>
                  </a:lnTo>
                  <a:lnTo>
                    <a:pt x="1890" y="2862"/>
                  </a:lnTo>
                  <a:lnTo>
                    <a:pt x="1908" y="2862"/>
                  </a:lnTo>
                  <a:lnTo>
                    <a:pt x="1914" y="2856"/>
                  </a:lnTo>
                  <a:lnTo>
                    <a:pt x="1914" y="2826"/>
                  </a:lnTo>
                  <a:lnTo>
                    <a:pt x="1908" y="2820"/>
                  </a:lnTo>
                  <a:lnTo>
                    <a:pt x="1908" y="2814"/>
                  </a:lnTo>
                  <a:lnTo>
                    <a:pt x="1896" y="2802"/>
                  </a:lnTo>
                  <a:lnTo>
                    <a:pt x="1890" y="2790"/>
                  </a:lnTo>
                  <a:lnTo>
                    <a:pt x="1884" y="2784"/>
                  </a:lnTo>
                  <a:lnTo>
                    <a:pt x="1872" y="2778"/>
                  </a:lnTo>
                  <a:lnTo>
                    <a:pt x="1866" y="2772"/>
                  </a:lnTo>
                  <a:lnTo>
                    <a:pt x="1854" y="2772"/>
                  </a:lnTo>
                  <a:lnTo>
                    <a:pt x="1854" y="2748"/>
                  </a:lnTo>
                  <a:lnTo>
                    <a:pt x="1848" y="2742"/>
                  </a:lnTo>
                  <a:lnTo>
                    <a:pt x="1836" y="2736"/>
                  </a:lnTo>
                  <a:lnTo>
                    <a:pt x="1830" y="2724"/>
                  </a:lnTo>
                  <a:lnTo>
                    <a:pt x="1824" y="2718"/>
                  </a:lnTo>
                  <a:lnTo>
                    <a:pt x="1824" y="2706"/>
                  </a:lnTo>
                  <a:lnTo>
                    <a:pt x="1830" y="2694"/>
                  </a:lnTo>
                  <a:lnTo>
                    <a:pt x="1830" y="2682"/>
                  </a:lnTo>
                  <a:lnTo>
                    <a:pt x="1818" y="2658"/>
                  </a:lnTo>
                  <a:lnTo>
                    <a:pt x="1812" y="2652"/>
                  </a:lnTo>
                  <a:lnTo>
                    <a:pt x="1806" y="2640"/>
                  </a:lnTo>
                  <a:lnTo>
                    <a:pt x="1794" y="2634"/>
                  </a:lnTo>
                  <a:lnTo>
                    <a:pt x="1788" y="2628"/>
                  </a:lnTo>
                  <a:lnTo>
                    <a:pt x="1776" y="2628"/>
                  </a:lnTo>
                  <a:lnTo>
                    <a:pt x="1758" y="2622"/>
                  </a:lnTo>
                  <a:lnTo>
                    <a:pt x="1758" y="2604"/>
                  </a:lnTo>
                  <a:lnTo>
                    <a:pt x="1794" y="2568"/>
                  </a:lnTo>
                  <a:lnTo>
                    <a:pt x="1800" y="2556"/>
                  </a:lnTo>
                  <a:lnTo>
                    <a:pt x="1806" y="2550"/>
                  </a:lnTo>
                  <a:lnTo>
                    <a:pt x="1806" y="2544"/>
                  </a:lnTo>
                  <a:lnTo>
                    <a:pt x="1800" y="2532"/>
                  </a:lnTo>
                  <a:lnTo>
                    <a:pt x="1788" y="2520"/>
                  </a:lnTo>
                  <a:lnTo>
                    <a:pt x="1800" y="2520"/>
                  </a:lnTo>
                  <a:lnTo>
                    <a:pt x="1812" y="2526"/>
                  </a:lnTo>
                  <a:lnTo>
                    <a:pt x="1830" y="2526"/>
                  </a:lnTo>
                  <a:lnTo>
                    <a:pt x="1842" y="2514"/>
                  </a:lnTo>
                  <a:lnTo>
                    <a:pt x="1872" y="2514"/>
                  </a:lnTo>
                  <a:lnTo>
                    <a:pt x="1878" y="2508"/>
                  </a:lnTo>
                  <a:lnTo>
                    <a:pt x="1860" y="2490"/>
                  </a:lnTo>
                  <a:lnTo>
                    <a:pt x="1890" y="2490"/>
                  </a:lnTo>
                  <a:lnTo>
                    <a:pt x="1890" y="2472"/>
                  </a:lnTo>
                  <a:lnTo>
                    <a:pt x="1878" y="2472"/>
                  </a:lnTo>
                  <a:lnTo>
                    <a:pt x="1854" y="2460"/>
                  </a:lnTo>
                  <a:lnTo>
                    <a:pt x="1842" y="2448"/>
                  </a:lnTo>
                  <a:lnTo>
                    <a:pt x="1842" y="2442"/>
                  </a:lnTo>
                  <a:lnTo>
                    <a:pt x="1878" y="2442"/>
                  </a:lnTo>
                  <a:lnTo>
                    <a:pt x="1878" y="2430"/>
                  </a:lnTo>
                  <a:lnTo>
                    <a:pt x="1866" y="2418"/>
                  </a:lnTo>
                  <a:lnTo>
                    <a:pt x="1860" y="2406"/>
                  </a:lnTo>
                  <a:lnTo>
                    <a:pt x="1812" y="2358"/>
                  </a:lnTo>
                  <a:lnTo>
                    <a:pt x="1800" y="2358"/>
                  </a:lnTo>
                  <a:lnTo>
                    <a:pt x="1788" y="2364"/>
                  </a:lnTo>
                  <a:lnTo>
                    <a:pt x="1746" y="2364"/>
                  </a:lnTo>
                  <a:lnTo>
                    <a:pt x="1740" y="2358"/>
                  </a:lnTo>
                  <a:lnTo>
                    <a:pt x="1740" y="2328"/>
                  </a:lnTo>
                  <a:lnTo>
                    <a:pt x="1734" y="2322"/>
                  </a:lnTo>
                  <a:lnTo>
                    <a:pt x="1710" y="2322"/>
                  </a:lnTo>
                  <a:lnTo>
                    <a:pt x="1704" y="2316"/>
                  </a:lnTo>
                  <a:lnTo>
                    <a:pt x="1698" y="2316"/>
                  </a:lnTo>
                  <a:lnTo>
                    <a:pt x="1698" y="2286"/>
                  </a:lnTo>
                  <a:lnTo>
                    <a:pt x="1710" y="2262"/>
                  </a:lnTo>
                  <a:lnTo>
                    <a:pt x="1710" y="2238"/>
                  </a:lnTo>
                  <a:lnTo>
                    <a:pt x="1704" y="2232"/>
                  </a:lnTo>
                  <a:lnTo>
                    <a:pt x="1698" y="2196"/>
                  </a:lnTo>
                  <a:lnTo>
                    <a:pt x="1722" y="2196"/>
                  </a:lnTo>
                  <a:lnTo>
                    <a:pt x="1722" y="2172"/>
                  </a:lnTo>
                  <a:lnTo>
                    <a:pt x="1716" y="2166"/>
                  </a:lnTo>
                  <a:lnTo>
                    <a:pt x="1716" y="2154"/>
                  </a:lnTo>
                  <a:lnTo>
                    <a:pt x="1722" y="2148"/>
                  </a:lnTo>
                  <a:lnTo>
                    <a:pt x="1734" y="2148"/>
                  </a:lnTo>
                  <a:lnTo>
                    <a:pt x="1746" y="2154"/>
                  </a:lnTo>
                  <a:lnTo>
                    <a:pt x="1758" y="2166"/>
                  </a:lnTo>
                  <a:lnTo>
                    <a:pt x="1770" y="2172"/>
                  </a:lnTo>
                  <a:lnTo>
                    <a:pt x="1776" y="2184"/>
                  </a:lnTo>
                  <a:lnTo>
                    <a:pt x="1788" y="2190"/>
                  </a:lnTo>
                  <a:lnTo>
                    <a:pt x="1800" y="2190"/>
                  </a:lnTo>
                  <a:lnTo>
                    <a:pt x="1806" y="2184"/>
                  </a:lnTo>
                  <a:lnTo>
                    <a:pt x="1812" y="2172"/>
                  </a:lnTo>
                  <a:lnTo>
                    <a:pt x="1818" y="2166"/>
                  </a:lnTo>
                  <a:lnTo>
                    <a:pt x="1812" y="2154"/>
                  </a:lnTo>
                  <a:lnTo>
                    <a:pt x="1800" y="2142"/>
                  </a:lnTo>
                  <a:lnTo>
                    <a:pt x="1830" y="2130"/>
                  </a:lnTo>
                  <a:lnTo>
                    <a:pt x="1830" y="2106"/>
                  </a:lnTo>
                  <a:lnTo>
                    <a:pt x="1836" y="2106"/>
                  </a:lnTo>
                  <a:lnTo>
                    <a:pt x="1848" y="2100"/>
                  </a:lnTo>
                  <a:lnTo>
                    <a:pt x="1860" y="2100"/>
                  </a:lnTo>
                  <a:lnTo>
                    <a:pt x="1872" y="2094"/>
                  </a:lnTo>
                  <a:lnTo>
                    <a:pt x="1884" y="2082"/>
                  </a:lnTo>
                  <a:lnTo>
                    <a:pt x="1884" y="2064"/>
                  </a:lnTo>
                  <a:lnTo>
                    <a:pt x="1878" y="2058"/>
                  </a:lnTo>
                  <a:lnTo>
                    <a:pt x="1878" y="2052"/>
                  </a:lnTo>
                  <a:lnTo>
                    <a:pt x="1908" y="2052"/>
                  </a:lnTo>
                  <a:lnTo>
                    <a:pt x="1920" y="2058"/>
                  </a:lnTo>
                  <a:lnTo>
                    <a:pt x="1926" y="2058"/>
                  </a:lnTo>
                  <a:lnTo>
                    <a:pt x="1926" y="2064"/>
                  </a:lnTo>
                  <a:lnTo>
                    <a:pt x="1932" y="2070"/>
                  </a:lnTo>
                  <a:lnTo>
                    <a:pt x="1962" y="2070"/>
                  </a:lnTo>
                  <a:lnTo>
                    <a:pt x="1974" y="2058"/>
                  </a:lnTo>
                  <a:lnTo>
                    <a:pt x="1986" y="2052"/>
                  </a:lnTo>
                  <a:lnTo>
                    <a:pt x="2004" y="2052"/>
                  </a:lnTo>
                  <a:lnTo>
                    <a:pt x="2010" y="2058"/>
                  </a:lnTo>
                  <a:lnTo>
                    <a:pt x="2016" y="2070"/>
                  </a:lnTo>
                  <a:lnTo>
                    <a:pt x="2076" y="2070"/>
                  </a:lnTo>
                  <a:lnTo>
                    <a:pt x="2082" y="2076"/>
                  </a:lnTo>
                  <a:lnTo>
                    <a:pt x="2082" y="2082"/>
                  </a:lnTo>
                  <a:lnTo>
                    <a:pt x="2088" y="2094"/>
                  </a:lnTo>
                  <a:lnTo>
                    <a:pt x="2124" y="2094"/>
                  </a:lnTo>
                  <a:lnTo>
                    <a:pt x="2136" y="2124"/>
                  </a:lnTo>
                  <a:lnTo>
                    <a:pt x="2136" y="2130"/>
                  </a:lnTo>
                  <a:lnTo>
                    <a:pt x="2148" y="2142"/>
                  </a:lnTo>
                  <a:lnTo>
                    <a:pt x="2160" y="2142"/>
                  </a:lnTo>
                  <a:lnTo>
                    <a:pt x="2160" y="2124"/>
                  </a:lnTo>
                  <a:lnTo>
                    <a:pt x="2148" y="2112"/>
                  </a:lnTo>
                  <a:lnTo>
                    <a:pt x="2148" y="2106"/>
                  </a:lnTo>
                  <a:lnTo>
                    <a:pt x="2160" y="2106"/>
                  </a:lnTo>
                  <a:lnTo>
                    <a:pt x="2232" y="2142"/>
                  </a:lnTo>
                  <a:lnTo>
                    <a:pt x="2238" y="2136"/>
                  </a:lnTo>
                  <a:lnTo>
                    <a:pt x="2244" y="2124"/>
                  </a:lnTo>
                  <a:lnTo>
                    <a:pt x="2256" y="2118"/>
                  </a:lnTo>
                  <a:lnTo>
                    <a:pt x="2268" y="2106"/>
                  </a:lnTo>
                  <a:lnTo>
                    <a:pt x="2280" y="2100"/>
                  </a:lnTo>
                  <a:lnTo>
                    <a:pt x="2286" y="2100"/>
                  </a:lnTo>
                  <a:lnTo>
                    <a:pt x="2322" y="2118"/>
                  </a:lnTo>
                  <a:lnTo>
                    <a:pt x="2334" y="2118"/>
                  </a:lnTo>
                  <a:lnTo>
                    <a:pt x="2352" y="2112"/>
                  </a:lnTo>
                  <a:lnTo>
                    <a:pt x="2364" y="2106"/>
                  </a:lnTo>
                  <a:lnTo>
                    <a:pt x="2370" y="2100"/>
                  </a:lnTo>
                  <a:lnTo>
                    <a:pt x="2382" y="2100"/>
                  </a:lnTo>
                  <a:lnTo>
                    <a:pt x="2388" y="2106"/>
                  </a:lnTo>
                  <a:lnTo>
                    <a:pt x="2400" y="2112"/>
                  </a:lnTo>
                  <a:lnTo>
                    <a:pt x="2406" y="2124"/>
                  </a:lnTo>
                  <a:lnTo>
                    <a:pt x="2430" y="2136"/>
                  </a:lnTo>
                  <a:lnTo>
                    <a:pt x="2454" y="2136"/>
                  </a:lnTo>
                  <a:lnTo>
                    <a:pt x="2466" y="2142"/>
                  </a:lnTo>
                  <a:lnTo>
                    <a:pt x="2478" y="2142"/>
                  </a:lnTo>
                  <a:lnTo>
                    <a:pt x="2490" y="2118"/>
                  </a:lnTo>
                  <a:lnTo>
                    <a:pt x="2496" y="2124"/>
                  </a:lnTo>
                  <a:lnTo>
                    <a:pt x="2508" y="2124"/>
                  </a:lnTo>
                  <a:lnTo>
                    <a:pt x="2514" y="2130"/>
                  </a:lnTo>
                  <a:lnTo>
                    <a:pt x="2526" y="2136"/>
                  </a:lnTo>
                  <a:lnTo>
                    <a:pt x="2562" y="2136"/>
                  </a:lnTo>
                  <a:lnTo>
                    <a:pt x="2568" y="2130"/>
                  </a:lnTo>
                  <a:lnTo>
                    <a:pt x="2574" y="2118"/>
                  </a:lnTo>
                  <a:lnTo>
                    <a:pt x="2574" y="2106"/>
                  </a:lnTo>
                  <a:lnTo>
                    <a:pt x="2568" y="2088"/>
                  </a:lnTo>
                  <a:lnTo>
                    <a:pt x="2544" y="2064"/>
                  </a:lnTo>
                  <a:lnTo>
                    <a:pt x="2532" y="2058"/>
                  </a:lnTo>
                  <a:lnTo>
                    <a:pt x="2514" y="2052"/>
                  </a:lnTo>
                  <a:lnTo>
                    <a:pt x="2490" y="2052"/>
                  </a:lnTo>
                  <a:lnTo>
                    <a:pt x="2460" y="2022"/>
                  </a:lnTo>
                  <a:lnTo>
                    <a:pt x="2472" y="2022"/>
                  </a:lnTo>
                  <a:lnTo>
                    <a:pt x="2484" y="2016"/>
                  </a:lnTo>
                  <a:lnTo>
                    <a:pt x="2496" y="2016"/>
                  </a:lnTo>
                  <a:lnTo>
                    <a:pt x="2508" y="2004"/>
                  </a:lnTo>
                  <a:lnTo>
                    <a:pt x="2508" y="1992"/>
                  </a:lnTo>
                  <a:lnTo>
                    <a:pt x="2502" y="1986"/>
                  </a:lnTo>
                  <a:lnTo>
                    <a:pt x="2496" y="1974"/>
                  </a:lnTo>
                  <a:lnTo>
                    <a:pt x="2490" y="1968"/>
                  </a:lnTo>
                  <a:lnTo>
                    <a:pt x="2502" y="1956"/>
                  </a:lnTo>
                  <a:lnTo>
                    <a:pt x="2556" y="1956"/>
                  </a:lnTo>
                  <a:lnTo>
                    <a:pt x="2544" y="1944"/>
                  </a:lnTo>
                  <a:lnTo>
                    <a:pt x="2532" y="1944"/>
                  </a:lnTo>
                  <a:lnTo>
                    <a:pt x="2508" y="1932"/>
                  </a:lnTo>
                  <a:lnTo>
                    <a:pt x="2496" y="1932"/>
                  </a:lnTo>
                  <a:lnTo>
                    <a:pt x="2508" y="1914"/>
                  </a:lnTo>
                  <a:lnTo>
                    <a:pt x="2484" y="1914"/>
                  </a:lnTo>
                  <a:lnTo>
                    <a:pt x="2484" y="1908"/>
                  </a:lnTo>
                  <a:lnTo>
                    <a:pt x="2478" y="1902"/>
                  </a:lnTo>
                  <a:lnTo>
                    <a:pt x="2478" y="1896"/>
                  </a:lnTo>
                  <a:lnTo>
                    <a:pt x="2490" y="1884"/>
                  </a:lnTo>
                  <a:lnTo>
                    <a:pt x="2526" y="1872"/>
                  </a:lnTo>
                  <a:lnTo>
                    <a:pt x="2586" y="1866"/>
                  </a:lnTo>
                  <a:lnTo>
                    <a:pt x="2640" y="1866"/>
                  </a:lnTo>
                  <a:lnTo>
                    <a:pt x="2646" y="1848"/>
                  </a:lnTo>
                  <a:lnTo>
                    <a:pt x="2712" y="1848"/>
                  </a:lnTo>
                  <a:lnTo>
                    <a:pt x="2712" y="1830"/>
                  </a:lnTo>
                  <a:lnTo>
                    <a:pt x="2718" y="1824"/>
                  </a:lnTo>
                  <a:lnTo>
                    <a:pt x="2808" y="1824"/>
                  </a:lnTo>
                  <a:lnTo>
                    <a:pt x="2862" y="1806"/>
                  </a:lnTo>
                  <a:lnTo>
                    <a:pt x="2874" y="1806"/>
                  </a:lnTo>
                  <a:lnTo>
                    <a:pt x="2874" y="1794"/>
                  </a:lnTo>
                  <a:lnTo>
                    <a:pt x="2886" y="1782"/>
                  </a:lnTo>
                  <a:lnTo>
                    <a:pt x="2898" y="1776"/>
                  </a:lnTo>
                  <a:lnTo>
                    <a:pt x="2916" y="1770"/>
                  </a:lnTo>
                  <a:lnTo>
                    <a:pt x="2940" y="1770"/>
                  </a:lnTo>
                  <a:lnTo>
                    <a:pt x="2958" y="1776"/>
                  </a:lnTo>
                  <a:lnTo>
                    <a:pt x="2976" y="1776"/>
                  </a:lnTo>
                  <a:lnTo>
                    <a:pt x="2988" y="1788"/>
                  </a:lnTo>
                  <a:lnTo>
                    <a:pt x="3000" y="1788"/>
                  </a:lnTo>
                  <a:lnTo>
                    <a:pt x="3012" y="1776"/>
                  </a:lnTo>
                  <a:lnTo>
                    <a:pt x="3018" y="1776"/>
                  </a:lnTo>
                  <a:lnTo>
                    <a:pt x="3036" y="1794"/>
                  </a:lnTo>
                  <a:lnTo>
                    <a:pt x="3042" y="1806"/>
                  </a:lnTo>
                  <a:lnTo>
                    <a:pt x="3048" y="1812"/>
                  </a:lnTo>
                  <a:lnTo>
                    <a:pt x="3060" y="1812"/>
                  </a:lnTo>
                  <a:lnTo>
                    <a:pt x="3066" y="1818"/>
                  </a:lnTo>
                  <a:lnTo>
                    <a:pt x="3066" y="1860"/>
                  </a:lnTo>
                  <a:lnTo>
                    <a:pt x="3072" y="1866"/>
                  </a:lnTo>
                  <a:lnTo>
                    <a:pt x="3090" y="1866"/>
                  </a:lnTo>
                  <a:lnTo>
                    <a:pt x="3102" y="1860"/>
                  </a:lnTo>
                  <a:lnTo>
                    <a:pt x="3120" y="1860"/>
                  </a:lnTo>
                  <a:lnTo>
                    <a:pt x="3132" y="1842"/>
                  </a:lnTo>
                  <a:lnTo>
                    <a:pt x="3156" y="1878"/>
                  </a:lnTo>
                  <a:lnTo>
                    <a:pt x="3180" y="1866"/>
                  </a:lnTo>
                  <a:lnTo>
                    <a:pt x="3204" y="1878"/>
                  </a:lnTo>
                  <a:lnTo>
                    <a:pt x="3210" y="1872"/>
                  </a:lnTo>
                  <a:lnTo>
                    <a:pt x="3216" y="1872"/>
                  </a:lnTo>
                  <a:lnTo>
                    <a:pt x="3228" y="1878"/>
                  </a:lnTo>
                  <a:lnTo>
                    <a:pt x="3228" y="1902"/>
                  </a:lnTo>
                  <a:lnTo>
                    <a:pt x="3222" y="1908"/>
                  </a:lnTo>
                  <a:lnTo>
                    <a:pt x="3222" y="1914"/>
                  </a:lnTo>
                  <a:lnTo>
                    <a:pt x="3228" y="1914"/>
                  </a:lnTo>
                  <a:lnTo>
                    <a:pt x="3234" y="1908"/>
                  </a:lnTo>
                  <a:lnTo>
                    <a:pt x="3240" y="1908"/>
                  </a:lnTo>
                  <a:lnTo>
                    <a:pt x="3246" y="1902"/>
                  </a:lnTo>
                  <a:lnTo>
                    <a:pt x="3252" y="1902"/>
                  </a:lnTo>
                  <a:lnTo>
                    <a:pt x="3258" y="1908"/>
                  </a:lnTo>
                  <a:lnTo>
                    <a:pt x="3270" y="1914"/>
                  </a:lnTo>
                  <a:lnTo>
                    <a:pt x="3276" y="1920"/>
                  </a:lnTo>
                  <a:lnTo>
                    <a:pt x="3288" y="1926"/>
                  </a:lnTo>
                  <a:lnTo>
                    <a:pt x="3300" y="1914"/>
                  </a:lnTo>
                  <a:lnTo>
                    <a:pt x="3300" y="1896"/>
                  </a:lnTo>
                  <a:lnTo>
                    <a:pt x="3306" y="1890"/>
                  </a:lnTo>
                  <a:lnTo>
                    <a:pt x="3318" y="1884"/>
                  </a:lnTo>
                  <a:lnTo>
                    <a:pt x="3330" y="1884"/>
                  </a:lnTo>
                  <a:lnTo>
                    <a:pt x="3342" y="1866"/>
                  </a:lnTo>
                  <a:lnTo>
                    <a:pt x="3378" y="1854"/>
                  </a:lnTo>
                  <a:lnTo>
                    <a:pt x="3396" y="1836"/>
                  </a:lnTo>
                  <a:lnTo>
                    <a:pt x="3402" y="1836"/>
                  </a:lnTo>
                  <a:lnTo>
                    <a:pt x="3408" y="1842"/>
                  </a:lnTo>
                  <a:lnTo>
                    <a:pt x="3408" y="1860"/>
                  </a:lnTo>
                  <a:lnTo>
                    <a:pt x="3396" y="1872"/>
                  </a:lnTo>
                  <a:lnTo>
                    <a:pt x="3390" y="1872"/>
                  </a:lnTo>
                  <a:lnTo>
                    <a:pt x="3426" y="1890"/>
                  </a:lnTo>
                  <a:lnTo>
                    <a:pt x="3456" y="1902"/>
                  </a:lnTo>
                  <a:lnTo>
                    <a:pt x="3486" y="1920"/>
                  </a:lnTo>
                  <a:lnTo>
                    <a:pt x="3498" y="1926"/>
                  </a:lnTo>
                  <a:lnTo>
                    <a:pt x="3516" y="1938"/>
                  </a:lnTo>
                  <a:lnTo>
                    <a:pt x="3546" y="1968"/>
                  </a:lnTo>
                  <a:lnTo>
                    <a:pt x="3618" y="2028"/>
                  </a:lnTo>
                  <a:lnTo>
                    <a:pt x="3636" y="2052"/>
                  </a:lnTo>
                  <a:lnTo>
                    <a:pt x="3672" y="2088"/>
                  </a:lnTo>
                  <a:lnTo>
                    <a:pt x="3684" y="2106"/>
                  </a:lnTo>
                  <a:lnTo>
                    <a:pt x="3696" y="2118"/>
                  </a:lnTo>
                  <a:lnTo>
                    <a:pt x="3708" y="2124"/>
                  </a:lnTo>
                  <a:lnTo>
                    <a:pt x="3720" y="2124"/>
                  </a:lnTo>
                  <a:lnTo>
                    <a:pt x="3732" y="2118"/>
                  </a:lnTo>
                  <a:lnTo>
                    <a:pt x="3744" y="2106"/>
                  </a:lnTo>
                  <a:lnTo>
                    <a:pt x="3744" y="2094"/>
                  </a:lnTo>
                  <a:lnTo>
                    <a:pt x="3750" y="2088"/>
                  </a:lnTo>
                  <a:lnTo>
                    <a:pt x="3750" y="2082"/>
                  </a:lnTo>
                  <a:lnTo>
                    <a:pt x="3762" y="2082"/>
                  </a:lnTo>
                  <a:lnTo>
                    <a:pt x="3768" y="2088"/>
                  </a:lnTo>
                  <a:lnTo>
                    <a:pt x="3768" y="2100"/>
                  </a:lnTo>
                  <a:lnTo>
                    <a:pt x="3774" y="2106"/>
                  </a:lnTo>
                  <a:lnTo>
                    <a:pt x="3774" y="2112"/>
                  </a:lnTo>
                  <a:lnTo>
                    <a:pt x="3804" y="2112"/>
                  </a:lnTo>
                  <a:lnTo>
                    <a:pt x="3816" y="2118"/>
                  </a:lnTo>
                  <a:lnTo>
                    <a:pt x="3822" y="2130"/>
                  </a:lnTo>
                  <a:lnTo>
                    <a:pt x="3834" y="2136"/>
                  </a:lnTo>
                  <a:lnTo>
                    <a:pt x="3858" y="2136"/>
                  </a:lnTo>
                  <a:lnTo>
                    <a:pt x="3864" y="2124"/>
                  </a:lnTo>
                  <a:lnTo>
                    <a:pt x="3876" y="2118"/>
                  </a:lnTo>
                  <a:lnTo>
                    <a:pt x="3894" y="2112"/>
                  </a:lnTo>
                  <a:lnTo>
                    <a:pt x="3906" y="2106"/>
                  </a:lnTo>
                  <a:lnTo>
                    <a:pt x="3924" y="2106"/>
                  </a:lnTo>
                  <a:lnTo>
                    <a:pt x="3948" y="2118"/>
                  </a:lnTo>
                  <a:lnTo>
                    <a:pt x="3972" y="2142"/>
                  </a:lnTo>
                  <a:lnTo>
                    <a:pt x="3984" y="2148"/>
                  </a:lnTo>
                  <a:lnTo>
                    <a:pt x="3990" y="2160"/>
                  </a:lnTo>
                  <a:lnTo>
                    <a:pt x="4002" y="2160"/>
                  </a:lnTo>
                  <a:lnTo>
                    <a:pt x="4014" y="2166"/>
                  </a:lnTo>
                  <a:lnTo>
                    <a:pt x="4026" y="2166"/>
                  </a:lnTo>
                  <a:lnTo>
                    <a:pt x="4038" y="2172"/>
                  </a:lnTo>
                  <a:lnTo>
                    <a:pt x="4044" y="2172"/>
                  </a:lnTo>
                  <a:lnTo>
                    <a:pt x="4044" y="2178"/>
                  </a:lnTo>
                  <a:lnTo>
                    <a:pt x="4050" y="2190"/>
                  </a:lnTo>
                  <a:lnTo>
                    <a:pt x="4056" y="2196"/>
                  </a:lnTo>
                  <a:lnTo>
                    <a:pt x="4062" y="2208"/>
                  </a:lnTo>
                  <a:lnTo>
                    <a:pt x="4068" y="2214"/>
                  </a:lnTo>
                  <a:lnTo>
                    <a:pt x="4068" y="2220"/>
                  </a:lnTo>
                  <a:lnTo>
                    <a:pt x="4140" y="2226"/>
                  </a:lnTo>
                  <a:lnTo>
                    <a:pt x="4152" y="2190"/>
                  </a:lnTo>
                  <a:lnTo>
                    <a:pt x="4176" y="2214"/>
                  </a:lnTo>
                  <a:lnTo>
                    <a:pt x="4212" y="2256"/>
                  </a:lnTo>
                  <a:lnTo>
                    <a:pt x="4254" y="2256"/>
                  </a:lnTo>
                  <a:lnTo>
                    <a:pt x="4266" y="2244"/>
                  </a:lnTo>
                  <a:lnTo>
                    <a:pt x="4266" y="2226"/>
                  </a:lnTo>
                  <a:lnTo>
                    <a:pt x="4326" y="2226"/>
                  </a:lnTo>
                  <a:lnTo>
                    <a:pt x="4320" y="2214"/>
                  </a:lnTo>
                  <a:lnTo>
                    <a:pt x="4344" y="2214"/>
                  </a:lnTo>
                  <a:lnTo>
                    <a:pt x="4338" y="2208"/>
                  </a:lnTo>
                  <a:lnTo>
                    <a:pt x="4338" y="2202"/>
                  </a:lnTo>
                  <a:lnTo>
                    <a:pt x="4374" y="2166"/>
                  </a:lnTo>
                  <a:lnTo>
                    <a:pt x="4392" y="2166"/>
                  </a:lnTo>
                  <a:lnTo>
                    <a:pt x="4404" y="2148"/>
                  </a:lnTo>
                  <a:lnTo>
                    <a:pt x="4428" y="2148"/>
                  </a:lnTo>
                  <a:lnTo>
                    <a:pt x="4428" y="2142"/>
                  </a:lnTo>
                  <a:lnTo>
                    <a:pt x="4434" y="2136"/>
                  </a:lnTo>
                  <a:lnTo>
                    <a:pt x="4434" y="2130"/>
                  </a:lnTo>
                  <a:lnTo>
                    <a:pt x="4440" y="2124"/>
                  </a:lnTo>
                  <a:lnTo>
                    <a:pt x="4458" y="2124"/>
                  </a:lnTo>
                  <a:lnTo>
                    <a:pt x="4464" y="2130"/>
                  </a:lnTo>
                  <a:lnTo>
                    <a:pt x="4482" y="2124"/>
                  </a:lnTo>
                  <a:lnTo>
                    <a:pt x="4482" y="2130"/>
                  </a:lnTo>
                  <a:lnTo>
                    <a:pt x="4518" y="2130"/>
                  </a:lnTo>
                  <a:lnTo>
                    <a:pt x="4524" y="2148"/>
                  </a:lnTo>
                  <a:lnTo>
                    <a:pt x="4548" y="2148"/>
                  </a:lnTo>
                  <a:lnTo>
                    <a:pt x="4566" y="2142"/>
                  </a:lnTo>
                  <a:lnTo>
                    <a:pt x="4608" y="2142"/>
                  </a:lnTo>
                  <a:lnTo>
                    <a:pt x="4608" y="2148"/>
                  </a:lnTo>
                  <a:lnTo>
                    <a:pt x="4614" y="2154"/>
                  </a:lnTo>
                  <a:lnTo>
                    <a:pt x="4614" y="2166"/>
                  </a:lnTo>
                  <a:lnTo>
                    <a:pt x="4620" y="2172"/>
                  </a:lnTo>
                  <a:lnTo>
                    <a:pt x="4638" y="2178"/>
                  </a:lnTo>
                  <a:lnTo>
                    <a:pt x="4668" y="2178"/>
                  </a:lnTo>
                  <a:lnTo>
                    <a:pt x="4674" y="2190"/>
                  </a:lnTo>
                  <a:lnTo>
                    <a:pt x="4698" y="2184"/>
                  </a:lnTo>
                  <a:lnTo>
                    <a:pt x="4704" y="2196"/>
                  </a:lnTo>
                  <a:lnTo>
                    <a:pt x="4704" y="2190"/>
                  </a:lnTo>
                  <a:lnTo>
                    <a:pt x="4710" y="2184"/>
                  </a:lnTo>
                  <a:lnTo>
                    <a:pt x="4752" y="2184"/>
                  </a:lnTo>
                  <a:lnTo>
                    <a:pt x="4752" y="2196"/>
                  </a:lnTo>
                  <a:lnTo>
                    <a:pt x="4800" y="2190"/>
                  </a:lnTo>
                  <a:lnTo>
                    <a:pt x="4800" y="2202"/>
                  </a:lnTo>
                  <a:lnTo>
                    <a:pt x="4806" y="2208"/>
                  </a:lnTo>
                  <a:lnTo>
                    <a:pt x="4830" y="2196"/>
                  </a:lnTo>
                  <a:lnTo>
                    <a:pt x="4836" y="2190"/>
                  </a:lnTo>
                  <a:lnTo>
                    <a:pt x="4836" y="2184"/>
                  </a:lnTo>
                  <a:lnTo>
                    <a:pt x="4854" y="2184"/>
                  </a:lnTo>
                  <a:lnTo>
                    <a:pt x="4854" y="2160"/>
                  </a:lnTo>
                  <a:lnTo>
                    <a:pt x="4848" y="2148"/>
                  </a:lnTo>
                  <a:lnTo>
                    <a:pt x="4842" y="2142"/>
                  </a:lnTo>
                  <a:lnTo>
                    <a:pt x="4836" y="2142"/>
                  </a:lnTo>
                  <a:lnTo>
                    <a:pt x="4812" y="2106"/>
                  </a:lnTo>
                  <a:lnTo>
                    <a:pt x="4806" y="2088"/>
                  </a:lnTo>
                  <a:lnTo>
                    <a:pt x="4794" y="2076"/>
                  </a:lnTo>
                  <a:lnTo>
                    <a:pt x="4794" y="2064"/>
                  </a:lnTo>
                  <a:lnTo>
                    <a:pt x="4812" y="2064"/>
                  </a:lnTo>
                  <a:lnTo>
                    <a:pt x="4806" y="2052"/>
                  </a:lnTo>
                  <a:lnTo>
                    <a:pt x="4812" y="2052"/>
                  </a:lnTo>
                  <a:lnTo>
                    <a:pt x="4824" y="2046"/>
                  </a:lnTo>
                  <a:lnTo>
                    <a:pt x="4830" y="2034"/>
                  </a:lnTo>
                  <a:lnTo>
                    <a:pt x="4830" y="2016"/>
                  </a:lnTo>
                  <a:lnTo>
                    <a:pt x="4890" y="2046"/>
                  </a:lnTo>
                  <a:lnTo>
                    <a:pt x="4902" y="2046"/>
                  </a:lnTo>
                  <a:lnTo>
                    <a:pt x="4926" y="2052"/>
                  </a:lnTo>
                  <a:lnTo>
                    <a:pt x="4962" y="2052"/>
                  </a:lnTo>
                  <a:lnTo>
                    <a:pt x="4974" y="2058"/>
                  </a:lnTo>
                  <a:lnTo>
                    <a:pt x="4980" y="2064"/>
                  </a:lnTo>
                  <a:lnTo>
                    <a:pt x="5004" y="2076"/>
                  </a:lnTo>
                  <a:lnTo>
                    <a:pt x="5010" y="2076"/>
                  </a:lnTo>
                  <a:lnTo>
                    <a:pt x="5022" y="2070"/>
                  </a:lnTo>
                  <a:lnTo>
                    <a:pt x="5040" y="2070"/>
                  </a:lnTo>
                  <a:lnTo>
                    <a:pt x="5052" y="2076"/>
                  </a:lnTo>
                  <a:lnTo>
                    <a:pt x="5058" y="2082"/>
                  </a:lnTo>
                  <a:lnTo>
                    <a:pt x="5064" y="2094"/>
                  </a:lnTo>
                  <a:lnTo>
                    <a:pt x="5076" y="2106"/>
                  </a:lnTo>
                  <a:lnTo>
                    <a:pt x="5088" y="2130"/>
                  </a:lnTo>
                  <a:lnTo>
                    <a:pt x="5094" y="2136"/>
                  </a:lnTo>
                  <a:lnTo>
                    <a:pt x="5094" y="2142"/>
                  </a:lnTo>
                  <a:lnTo>
                    <a:pt x="5118" y="2136"/>
                  </a:lnTo>
                  <a:lnTo>
                    <a:pt x="5118" y="2142"/>
                  </a:lnTo>
                  <a:lnTo>
                    <a:pt x="5136" y="2160"/>
                  </a:lnTo>
                  <a:lnTo>
                    <a:pt x="5166" y="2160"/>
                  </a:lnTo>
                  <a:lnTo>
                    <a:pt x="5172" y="2166"/>
                  </a:lnTo>
                  <a:lnTo>
                    <a:pt x="5184" y="2166"/>
                  </a:lnTo>
                  <a:lnTo>
                    <a:pt x="5196" y="2172"/>
                  </a:lnTo>
                  <a:lnTo>
                    <a:pt x="5208" y="2172"/>
                  </a:lnTo>
                  <a:lnTo>
                    <a:pt x="5220" y="2166"/>
                  </a:lnTo>
                  <a:lnTo>
                    <a:pt x="5274" y="2148"/>
                  </a:lnTo>
                  <a:lnTo>
                    <a:pt x="5322" y="2148"/>
                  </a:lnTo>
                  <a:lnTo>
                    <a:pt x="5334" y="2154"/>
                  </a:lnTo>
                  <a:lnTo>
                    <a:pt x="5340" y="2154"/>
                  </a:lnTo>
                  <a:lnTo>
                    <a:pt x="5346" y="2160"/>
                  </a:lnTo>
                  <a:lnTo>
                    <a:pt x="5382" y="2160"/>
                  </a:lnTo>
                  <a:lnTo>
                    <a:pt x="5406" y="2184"/>
                  </a:lnTo>
                  <a:lnTo>
                    <a:pt x="5466" y="2184"/>
                  </a:lnTo>
                  <a:lnTo>
                    <a:pt x="5472" y="2190"/>
                  </a:lnTo>
                  <a:lnTo>
                    <a:pt x="5472" y="2196"/>
                  </a:lnTo>
                  <a:lnTo>
                    <a:pt x="5484" y="2208"/>
                  </a:lnTo>
                  <a:lnTo>
                    <a:pt x="5484" y="2214"/>
                  </a:lnTo>
                  <a:lnTo>
                    <a:pt x="5502" y="2214"/>
                  </a:lnTo>
                  <a:lnTo>
                    <a:pt x="5514" y="2220"/>
                  </a:lnTo>
                  <a:lnTo>
                    <a:pt x="5514" y="2232"/>
                  </a:lnTo>
                  <a:lnTo>
                    <a:pt x="5520" y="2238"/>
                  </a:lnTo>
                  <a:lnTo>
                    <a:pt x="5586" y="2238"/>
                  </a:lnTo>
                  <a:lnTo>
                    <a:pt x="5592" y="2244"/>
                  </a:lnTo>
                  <a:lnTo>
                    <a:pt x="5598" y="2244"/>
                  </a:lnTo>
                  <a:lnTo>
                    <a:pt x="5610" y="2250"/>
                  </a:lnTo>
                  <a:lnTo>
                    <a:pt x="5634" y="2250"/>
                  </a:lnTo>
                  <a:lnTo>
                    <a:pt x="5646" y="2244"/>
                  </a:lnTo>
                  <a:lnTo>
                    <a:pt x="5664" y="2244"/>
                  </a:lnTo>
                  <a:lnTo>
                    <a:pt x="5670" y="2250"/>
                  </a:lnTo>
                  <a:lnTo>
                    <a:pt x="5670" y="2256"/>
                  </a:lnTo>
                  <a:lnTo>
                    <a:pt x="5676" y="2256"/>
                  </a:lnTo>
                  <a:lnTo>
                    <a:pt x="5694" y="2238"/>
                  </a:lnTo>
                  <a:lnTo>
                    <a:pt x="5694" y="2232"/>
                  </a:lnTo>
                  <a:lnTo>
                    <a:pt x="5742" y="2232"/>
                  </a:lnTo>
                  <a:lnTo>
                    <a:pt x="5754" y="2220"/>
                  </a:lnTo>
                  <a:lnTo>
                    <a:pt x="5790" y="2220"/>
                  </a:lnTo>
                  <a:lnTo>
                    <a:pt x="5802" y="2208"/>
                  </a:lnTo>
                  <a:lnTo>
                    <a:pt x="5802" y="2196"/>
                  </a:lnTo>
                  <a:lnTo>
                    <a:pt x="5832" y="2166"/>
                  </a:lnTo>
                  <a:lnTo>
                    <a:pt x="5850" y="2166"/>
                  </a:lnTo>
                  <a:lnTo>
                    <a:pt x="5862" y="2172"/>
                  </a:lnTo>
                  <a:lnTo>
                    <a:pt x="5898" y="2172"/>
                  </a:lnTo>
                  <a:lnTo>
                    <a:pt x="5916" y="2190"/>
                  </a:lnTo>
                  <a:lnTo>
                    <a:pt x="5928" y="2196"/>
                  </a:lnTo>
                  <a:lnTo>
                    <a:pt x="5952" y="2196"/>
                  </a:lnTo>
                  <a:lnTo>
                    <a:pt x="5964" y="2190"/>
                  </a:lnTo>
                  <a:lnTo>
                    <a:pt x="5970" y="2184"/>
                  </a:lnTo>
                  <a:lnTo>
                    <a:pt x="5994" y="2190"/>
                  </a:lnTo>
                  <a:lnTo>
                    <a:pt x="6012" y="2190"/>
                  </a:lnTo>
                  <a:lnTo>
                    <a:pt x="6048" y="2214"/>
                  </a:lnTo>
                  <a:lnTo>
                    <a:pt x="6084" y="2214"/>
                  </a:lnTo>
                  <a:lnTo>
                    <a:pt x="6090" y="2220"/>
                  </a:lnTo>
                  <a:lnTo>
                    <a:pt x="6102" y="2220"/>
                  </a:lnTo>
                  <a:lnTo>
                    <a:pt x="6120" y="2202"/>
                  </a:lnTo>
                  <a:lnTo>
                    <a:pt x="6120" y="2190"/>
                  </a:lnTo>
                  <a:lnTo>
                    <a:pt x="6144" y="2190"/>
                  </a:lnTo>
                  <a:lnTo>
                    <a:pt x="6156" y="2184"/>
                  </a:lnTo>
                  <a:lnTo>
                    <a:pt x="6162" y="2178"/>
                  </a:lnTo>
                  <a:lnTo>
                    <a:pt x="6162" y="2166"/>
                  </a:lnTo>
                  <a:lnTo>
                    <a:pt x="6150" y="2166"/>
                  </a:lnTo>
                  <a:lnTo>
                    <a:pt x="6144" y="2160"/>
                  </a:lnTo>
                  <a:lnTo>
                    <a:pt x="6138" y="2118"/>
                  </a:lnTo>
                  <a:lnTo>
                    <a:pt x="6138" y="2046"/>
                  </a:lnTo>
                  <a:lnTo>
                    <a:pt x="6156" y="2028"/>
                  </a:lnTo>
                  <a:lnTo>
                    <a:pt x="6156" y="2016"/>
                  </a:lnTo>
                  <a:lnTo>
                    <a:pt x="6150" y="2010"/>
                  </a:lnTo>
                  <a:lnTo>
                    <a:pt x="6138" y="2004"/>
                  </a:lnTo>
                  <a:lnTo>
                    <a:pt x="6126" y="1992"/>
                  </a:lnTo>
                  <a:lnTo>
                    <a:pt x="6114" y="1992"/>
                  </a:lnTo>
                  <a:lnTo>
                    <a:pt x="6108" y="1986"/>
                  </a:lnTo>
                  <a:lnTo>
                    <a:pt x="6096" y="1986"/>
                  </a:lnTo>
                  <a:lnTo>
                    <a:pt x="6078" y="1980"/>
                  </a:lnTo>
                  <a:lnTo>
                    <a:pt x="6072" y="1980"/>
                  </a:lnTo>
                  <a:lnTo>
                    <a:pt x="6072" y="1968"/>
                  </a:lnTo>
                  <a:lnTo>
                    <a:pt x="6078" y="1968"/>
                  </a:lnTo>
                  <a:lnTo>
                    <a:pt x="6120" y="1926"/>
                  </a:lnTo>
                  <a:lnTo>
                    <a:pt x="6156" y="1920"/>
                  </a:lnTo>
                  <a:lnTo>
                    <a:pt x="6162" y="1908"/>
                  </a:lnTo>
                  <a:lnTo>
                    <a:pt x="6204" y="1914"/>
                  </a:lnTo>
                  <a:lnTo>
                    <a:pt x="6258" y="1902"/>
                  </a:lnTo>
                  <a:lnTo>
                    <a:pt x="6294" y="1920"/>
                  </a:lnTo>
                  <a:lnTo>
                    <a:pt x="6330" y="1944"/>
                  </a:lnTo>
                  <a:lnTo>
                    <a:pt x="6402" y="1944"/>
                  </a:lnTo>
                  <a:lnTo>
                    <a:pt x="6408" y="1950"/>
                  </a:lnTo>
                  <a:lnTo>
                    <a:pt x="6420" y="1956"/>
                  </a:lnTo>
                  <a:lnTo>
                    <a:pt x="6426" y="1962"/>
                  </a:lnTo>
                  <a:lnTo>
                    <a:pt x="6438" y="1968"/>
                  </a:lnTo>
                  <a:lnTo>
                    <a:pt x="6438" y="1980"/>
                  </a:lnTo>
                  <a:lnTo>
                    <a:pt x="6444" y="1980"/>
                  </a:lnTo>
                  <a:lnTo>
                    <a:pt x="6456" y="1992"/>
                  </a:lnTo>
                  <a:lnTo>
                    <a:pt x="6468" y="1998"/>
                  </a:lnTo>
                  <a:lnTo>
                    <a:pt x="6480" y="2010"/>
                  </a:lnTo>
                  <a:lnTo>
                    <a:pt x="6492" y="2010"/>
                  </a:lnTo>
                  <a:lnTo>
                    <a:pt x="6498" y="2016"/>
                  </a:lnTo>
                  <a:lnTo>
                    <a:pt x="6504" y="2016"/>
                  </a:lnTo>
                  <a:lnTo>
                    <a:pt x="6510" y="2046"/>
                  </a:lnTo>
                  <a:lnTo>
                    <a:pt x="6558" y="2070"/>
                  </a:lnTo>
                  <a:lnTo>
                    <a:pt x="6570" y="2100"/>
                  </a:lnTo>
                  <a:lnTo>
                    <a:pt x="6582" y="2100"/>
                  </a:lnTo>
                  <a:lnTo>
                    <a:pt x="6630" y="2124"/>
                  </a:lnTo>
                  <a:lnTo>
                    <a:pt x="6636" y="2136"/>
                  </a:lnTo>
                  <a:lnTo>
                    <a:pt x="6654" y="2154"/>
                  </a:lnTo>
                  <a:lnTo>
                    <a:pt x="6660" y="2166"/>
                  </a:lnTo>
                  <a:lnTo>
                    <a:pt x="6672" y="2166"/>
                  </a:lnTo>
                  <a:lnTo>
                    <a:pt x="6678" y="2190"/>
                  </a:lnTo>
                  <a:lnTo>
                    <a:pt x="6684" y="2190"/>
                  </a:lnTo>
                  <a:lnTo>
                    <a:pt x="6690" y="2196"/>
                  </a:lnTo>
                  <a:lnTo>
                    <a:pt x="6714" y="2208"/>
                  </a:lnTo>
                  <a:lnTo>
                    <a:pt x="6720" y="2214"/>
                  </a:lnTo>
                  <a:lnTo>
                    <a:pt x="6732" y="2220"/>
                  </a:lnTo>
                  <a:lnTo>
                    <a:pt x="6780" y="2220"/>
                  </a:lnTo>
                  <a:lnTo>
                    <a:pt x="6792" y="2226"/>
                  </a:lnTo>
                  <a:lnTo>
                    <a:pt x="6798" y="2232"/>
                  </a:lnTo>
                  <a:lnTo>
                    <a:pt x="6810" y="2238"/>
                  </a:lnTo>
                  <a:lnTo>
                    <a:pt x="6822" y="2226"/>
                  </a:lnTo>
                  <a:lnTo>
                    <a:pt x="6834" y="2226"/>
                  </a:lnTo>
                  <a:lnTo>
                    <a:pt x="6852" y="2244"/>
                  </a:lnTo>
                  <a:lnTo>
                    <a:pt x="6864" y="2250"/>
                  </a:lnTo>
                  <a:lnTo>
                    <a:pt x="6882" y="2268"/>
                  </a:lnTo>
                  <a:lnTo>
                    <a:pt x="6924" y="2268"/>
                  </a:lnTo>
                  <a:lnTo>
                    <a:pt x="6942" y="2298"/>
                  </a:lnTo>
                  <a:lnTo>
                    <a:pt x="6960" y="2298"/>
                  </a:lnTo>
                  <a:lnTo>
                    <a:pt x="6966" y="2304"/>
                  </a:lnTo>
                  <a:lnTo>
                    <a:pt x="6966" y="2310"/>
                  </a:lnTo>
                  <a:lnTo>
                    <a:pt x="6972" y="2322"/>
                  </a:lnTo>
                  <a:lnTo>
                    <a:pt x="6972" y="2334"/>
                  </a:lnTo>
                  <a:lnTo>
                    <a:pt x="7014" y="2364"/>
                  </a:lnTo>
                  <a:lnTo>
                    <a:pt x="7038" y="2358"/>
                  </a:lnTo>
                  <a:lnTo>
                    <a:pt x="7050" y="2370"/>
                  </a:lnTo>
                  <a:lnTo>
                    <a:pt x="7068" y="2370"/>
                  </a:lnTo>
                  <a:lnTo>
                    <a:pt x="7068" y="2358"/>
                  </a:lnTo>
                  <a:lnTo>
                    <a:pt x="7098" y="2364"/>
                  </a:lnTo>
                  <a:lnTo>
                    <a:pt x="7098" y="2346"/>
                  </a:lnTo>
                  <a:lnTo>
                    <a:pt x="7104" y="2340"/>
                  </a:lnTo>
                  <a:lnTo>
                    <a:pt x="7110" y="2340"/>
                  </a:lnTo>
                  <a:lnTo>
                    <a:pt x="7122" y="2334"/>
                  </a:lnTo>
                  <a:lnTo>
                    <a:pt x="7152" y="2334"/>
                  </a:lnTo>
                  <a:lnTo>
                    <a:pt x="7158" y="2310"/>
                  </a:lnTo>
                  <a:lnTo>
                    <a:pt x="7200" y="2310"/>
                  </a:lnTo>
                  <a:lnTo>
                    <a:pt x="7212" y="2316"/>
                  </a:lnTo>
                  <a:lnTo>
                    <a:pt x="7218" y="2328"/>
                  </a:lnTo>
                  <a:lnTo>
                    <a:pt x="7218" y="2346"/>
                  </a:lnTo>
                  <a:lnTo>
                    <a:pt x="7242" y="2358"/>
                  </a:lnTo>
                  <a:lnTo>
                    <a:pt x="7242" y="2388"/>
                  </a:lnTo>
                  <a:lnTo>
                    <a:pt x="7224" y="2394"/>
                  </a:lnTo>
                  <a:lnTo>
                    <a:pt x="7236" y="2412"/>
                  </a:lnTo>
                  <a:lnTo>
                    <a:pt x="7236" y="2430"/>
                  </a:lnTo>
                  <a:lnTo>
                    <a:pt x="7248" y="2442"/>
                  </a:lnTo>
                  <a:lnTo>
                    <a:pt x="7248" y="2466"/>
                  </a:lnTo>
                  <a:lnTo>
                    <a:pt x="7266" y="2472"/>
                  </a:lnTo>
                  <a:lnTo>
                    <a:pt x="7260" y="2502"/>
                  </a:lnTo>
                  <a:lnTo>
                    <a:pt x="7266" y="2526"/>
                  </a:lnTo>
                  <a:lnTo>
                    <a:pt x="7260" y="2532"/>
                  </a:lnTo>
                  <a:lnTo>
                    <a:pt x="7254" y="2532"/>
                  </a:lnTo>
                  <a:lnTo>
                    <a:pt x="7254" y="2550"/>
                  </a:lnTo>
                  <a:lnTo>
                    <a:pt x="7260" y="2562"/>
                  </a:lnTo>
                  <a:lnTo>
                    <a:pt x="7260" y="2574"/>
                  </a:lnTo>
                  <a:lnTo>
                    <a:pt x="7254" y="2580"/>
                  </a:lnTo>
                  <a:lnTo>
                    <a:pt x="7248" y="2580"/>
                  </a:lnTo>
                  <a:lnTo>
                    <a:pt x="7236" y="2574"/>
                  </a:lnTo>
                  <a:lnTo>
                    <a:pt x="7224" y="2574"/>
                  </a:lnTo>
                  <a:lnTo>
                    <a:pt x="7206" y="2568"/>
                  </a:lnTo>
                  <a:lnTo>
                    <a:pt x="7194" y="2562"/>
                  </a:lnTo>
                  <a:lnTo>
                    <a:pt x="7170" y="2562"/>
                  </a:lnTo>
                  <a:lnTo>
                    <a:pt x="7164" y="2568"/>
                  </a:lnTo>
                  <a:lnTo>
                    <a:pt x="7170" y="2574"/>
                  </a:lnTo>
                  <a:lnTo>
                    <a:pt x="7170" y="2586"/>
                  </a:lnTo>
                  <a:lnTo>
                    <a:pt x="7146" y="2586"/>
                  </a:lnTo>
                  <a:lnTo>
                    <a:pt x="7146" y="2598"/>
                  </a:lnTo>
                  <a:lnTo>
                    <a:pt x="7152" y="2610"/>
                  </a:lnTo>
                  <a:lnTo>
                    <a:pt x="7158" y="2610"/>
                  </a:lnTo>
                  <a:lnTo>
                    <a:pt x="7170" y="2622"/>
                  </a:lnTo>
                  <a:lnTo>
                    <a:pt x="7182" y="2628"/>
                  </a:lnTo>
                  <a:lnTo>
                    <a:pt x="7194" y="2646"/>
                  </a:lnTo>
                  <a:lnTo>
                    <a:pt x="7206" y="2658"/>
                  </a:lnTo>
                  <a:lnTo>
                    <a:pt x="7212" y="2676"/>
                  </a:lnTo>
                  <a:lnTo>
                    <a:pt x="7212" y="2688"/>
                  </a:lnTo>
                  <a:lnTo>
                    <a:pt x="7224" y="2700"/>
                  </a:lnTo>
                  <a:lnTo>
                    <a:pt x="7230" y="2712"/>
                  </a:lnTo>
                  <a:lnTo>
                    <a:pt x="7236" y="2748"/>
                  </a:lnTo>
                  <a:lnTo>
                    <a:pt x="7206" y="2742"/>
                  </a:lnTo>
                  <a:lnTo>
                    <a:pt x="7200" y="2766"/>
                  </a:lnTo>
                  <a:lnTo>
                    <a:pt x="7224" y="2778"/>
                  </a:lnTo>
                  <a:lnTo>
                    <a:pt x="7260" y="2778"/>
                  </a:lnTo>
                  <a:lnTo>
                    <a:pt x="7260" y="2718"/>
                  </a:lnTo>
                  <a:lnTo>
                    <a:pt x="7266" y="2712"/>
                  </a:lnTo>
                  <a:lnTo>
                    <a:pt x="7272" y="2712"/>
                  </a:lnTo>
                  <a:lnTo>
                    <a:pt x="7284" y="2718"/>
                  </a:lnTo>
                  <a:lnTo>
                    <a:pt x="7290" y="2724"/>
                  </a:lnTo>
                  <a:lnTo>
                    <a:pt x="7302" y="2712"/>
                  </a:lnTo>
                  <a:lnTo>
                    <a:pt x="7308" y="2724"/>
                  </a:lnTo>
                  <a:lnTo>
                    <a:pt x="7314" y="2730"/>
                  </a:lnTo>
                  <a:lnTo>
                    <a:pt x="7320" y="2742"/>
                  </a:lnTo>
                  <a:lnTo>
                    <a:pt x="7332" y="2754"/>
                  </a:lnTo>
                  <a:lnTo>
                    <a:pt x="7344" y="2754"/>
                  </a:lnTo>
                  <a:lnTo>
                    <a:pt x="7356" y="2748"/>
                  </a:lnTo>
                  <a:lnTo>
                    <a:pt x="7368" y="2748"/>
                  </a:lnTo>
                  <a:lnTo>
                    <a:pt x="7374" y="2742"/>
                  </a:lnTo>
                  <a:lnTo>
                    <a:pt x="7380" y="2742"/>
                  </a:lnTo>
                  <a:lnTo>
                    <a:pt x="7380" y="2760"/>
                  </a:lnTo>
                  <a:lnTo>
                    <a:pt x="7386" y="2760"/>
                  </a:lnTo>
                  <a:lnTo>
                    <a:pt x="7392" y="2754"/>
                  </a:lnTo>
                  <a:lnTo>
                    <a:pt x="7404" y="2748"/>
                  </a:lnTo>
                  <a:lnTo>
                    <a:pt x="7422" y="2742"/>
                  </a:lnTo>
                  <a:lnTo>
                    <a:pt x="7440" y="2730"/>
                  </a:lnTo>
                  <a:lnTo>
                    <a:pt x="7452" y="2724"/>
                  </a:lnTo>
                  <a:lnTo>
                    <a:pt x="7464" y="2700"/>
                  </a:lnTo>
                  <a:lnTo>
                    <a:pt x="7464" y="2682"/>
                  </a:lnTo>
                  <a:lnTo>
                    <a:pt x="7470" y="2664"/>
                  </a:lnTo>
                  <a:lnTo>
                    <a:pt x="7470" y="2628"/>
                  </a:lnTo>
                  <a:lnTo>
                    <a:pt x="7494" y="2622"/>
                  </a:lnTo>
                  <a:lnTo>
                    <a:pt x="7494" y="2562"/>
                  </a:lnTo>
                  <a:lnTo>
                    <a:pt x="7500" y="2550"/>
                  </a:lnTo>
                  <a:lnTo>
                    <a:pt x="7506" y="2544"/>
                  </a:lnTo>
                  <a:lnTo>
                    <a:pt x="7518" y="2520"/>
                  </a:lnTo>
                  <a:lnTo>
                    <a:pt x="7518" y="2490"/>
                  </a:lnTo>
                  <a:lnTo>
                    <a:pt x="7524" y="2472"/>
                  </a:lnTo>
                  <a:lnTo>
                    <a:pt x="7524" y="2454"/>
                  </a:lnTo>
                  <a:lnTo>
                    <a:pt x="7518" y="2442"/>
                  </a:lnTo>
                  <a:lnTo>
                    <a:pt x="7518" y="2424"/>
                  </a:lnTo>
                  <a:lnTo>
                    <a:pt x="7512" y="2418"/>
                  </a:lnTo>
                  <a:lnTo>
                    <a:pt x="7512" y="2412"/>
                  </a:lnTo>
                  <a:lnTo>
                    <a:pt x="7518" y="2400"/>
                  </a:lnTo>
                  <a:lnTo>
                    <a:pt x="7524" y="2394"/>
                  </a:lnTo>
                  <a:lnTo>
                    <a:pt x="7524" y="2382"/>
                  </a:lnTo>
                  <a:lnTo>
                    <a:pt x="7530" y="2376"/>
                  </a:lnTo>
                  <a:lnTo>
                    <a:pt x="7530" y="2364"/>
                  </a:lnTo>
                  <a:lnTo>
                    <a:pt x="7524" y="2358"/>
                  </a:lnTo>
                  <a:lnTo>
                    <a:pt x="7518" y="2346"/>
                  </a:lnTo>
                  <a:lnTo>
                    <a:pt x="7524" y="2334"/>
                  </a:lnTo>
                  <a:lnTo>
                    <a:pt x="7530" y="2328"/>
                  </a:lnTo>
                  <a:lnTo>
                    <a:pt x="7536" y="2316"/>
                  </a:lnTo>
                  <a:lnTo>
                    <a:pt x="7536" y="2298"/>
                  </a:lnTo>
                  <a:lnTo>
                    <a:pt x="7530" y="2292"/>
                  </a:lnTo>
                  <a:lnTo>
                    <a:pt x="7530" y="2280"/>
                  </a:lnTo>
                  <a:lnTo>
                    <a:pt x="7518" y="2256"/>
                  </a:lnTo>
                  <a:lnTo>
                    <a:pt x="7512" y="2250"/>
                  </a:lnTo>
                  <a:lnTo>
                    <a:pt x="7512" y="2238"/>
                  </a:lnTo>
                  <a:lnTo>
                    <a:pt x="7506" y="2232"/>
                  </a:lnTo>
                  <a:lnTo>
                    <a:pt x="7506" y="2220"/>
                  </a:lnTo>
                  <a:lnTo>
                    <a:pt x="7500" y="2214"/>
                  </a:lnTo>
                  <a:lnTo>
                    <a:pt x="7500" y="2202"/>
                  </a:lnTo>
                  <a:lnTo>
                    <a:pt x="7494" y="2196"/>
                  </a:lnTo>
                  <a:lnTo>
                    <a:pt x="7482" y="2190"/>
                  </a:lnTo>
                  <a:lnTo>
                    <a:pt x="7476" y="2184"/>
                  </a:lnTo>
                  <a:lnTo>
                    <a:pt x="7482" y="2178"/>
                  </a:lnTo>
                  <a:lnTo>
                    <a:pt x="7476" y="2178"/>
                  </a:lnTo>
                  <a:lnTo>
                    <a:pt x="7470" y="2172"/>
                  </a:lnTo>
                  <a:lnTo>
                    <a:pt x="7458" y="2166"/>
                  </a:lnTo>
                  <a:lnTo>
                    <a:pt x="7446" y="2154"/>
                  </a:lnTo>
                  <a:lnTo>
                    <a:pt x="7440" y="2142"/>
                  </a:lnTo>
                  <a:lnTo>
                    <a:pt x="7434" y="2124"/>
                  </a:lnTo>
                  <a:lnTo>
                    <a:pt x="7434" y="2112"/>
                  </a:lnTo>
                  <a:lnTo>
                    <a:pt x="7428" y="2106"/>
                  </a:lnTo>
                  <a:lnTo>
                    <a:pt x="7428" y="2100"/>
                  </a:lnTo>
                  <a:lnTo>
                    <a:pt x="7416" y="2094"/>
                  </a:lnTo>
                  <a:lnTo>
                    <a:pt x="7416" y="2082"/>
                  </a:lnTo>
                  <a:lnTo>
                    <a:pt x="7422" y="2070"/>
                  </a:lnTo>
                  <a:lnTo>
                    <a:pt x="7422" y="2040"/>
                  </a:lnTo>
                  <a:lnTo>
                    <a:pt x="7410" y="2028"/>
                  </a:lnTo>
                  <a:lnTo>
                    <a:pt x="7404" y="2016"/>
                  </a:lnTo>
                  <a:lnTo>
                    <a:pt x="7398" y="2010"/>
                  </a:lnTo>
                  <a:lnTo>
                    <a:pt x="7380" y="2004"/>
                  </a:lnTo>
                  <a:lnTo>
                    <a:pt x="7380" y="1998"/>
                  </a:lnTo>
                  <a:lnTo>
                    <a:pt x="7374" y="1992"/>
                  </a:lnTo>
                  <a:lnTo>
                    <a:pt x="7368" y="1980"/>
                  </a:lnTo>
                  <a:lnTo>
                    <a:pt x="7356" y="1968"/>
                  </a:lnTo>
                  <a:lnTo>
                    <a:pt x="7344" y="1968"/>
                  </a:lnTo>
                  <a:lnTo>
                    <a:pt x="7332" y="1956"/>
                  </a:lnTo>
                  <a:lnTo>
                    <a:pt x="7326" y="1956"/>
                  </a:lnTo>
                  <a:lnTo>
                    <a:pt x="7308" y="1950"/>
                  </a:lnTo>
                  <a:lnTo>
                    <a:pt x="7302" y="1938"/>
                  </a:lnTo>
                  <a:lnTo>
                    <a:pt x="7308" y="1938"/>
                  </a:lnTo>
                  <a:lnTo>
                    <a:pt x="7314" y="1944"/>
                  </a:lnTo>
                  <a:lnTo>
                    <a:pt x="7326" y="1944"/>
                  </a:lnTo>
                  <a:lnTo>
                    <a:pt x="7332" y="1950"/>
                  </a:lnTo>
                  <a:lnTo>
                    <a:pt x="7344" y="1950"/>
                  </a:lnTo>
                  <a:lnTo>
                    <a:pt x="7350" y="1944"/>
                  </a:lnTo>
                  <a:lnTo>
                    <a:pt x="7350" y="1938"/>
                  </a:lnTo>
                  <a:lnTo>
                    <a:pt x="7344" y="1938"/>
                  </a:lnTo>
                  <a:lnTo>
                    <a:pt x="7332" y="1932"/>
                  </a:lnTo>
                  <a:lnTo>
                    <a:pt x="7326" y="1926"/>
                  </a:lnTo>
                  <a:lnTo>
                    <a:pt x="7320" y="1926"/>
                  </a:lnTo>
                  <a:lnTo>
                    <a:pt x="7242" y="1890"/>
                  </a:lnTo>
                  <a:lnTo>
                    <a:pt x="7236" y="1890"/>
                  </a:lnTo>
                  <a:lnTo>
                    <a:pt x="7230" y="1884"/>
                  </a:lnTo>
                  <a:lnTo>
                    <a:pt x="7218" y="1878"/>
                  </a:lnTo>
                  <a:lnTo>
                    <a:pt x="7206" y="1866"/>
                  </a:lnTo>
                  <a:lnTo>
                    <a:pt x="7194" y="1860"/>
                  </a:lnTo>
                  <a:lnTo>
                    <a:pt x="7188" y="1854"/>
                  </a:lnTo>
                  <a:lnTo>
                    <a:pt x="7170" y="1854"/>
                  </a:lnTo>
                  <a:lnTo>
                    <a:pt x="7164" y="1860"/>
                  </a:lnTo>
                  <a:lnTo>
                    <a:pt x="7152" y="1866"/>
                  </a:lnTo>
                  <a:lnTo>
                    <a:pt x="7116" y="1854"/>
                  </a:lnTo>
                  <a:lnTo>
                    <a:pt x="7152" y="1896"/>
                  </a:lnTo>
                  <a:lnTo>
                    <a:pt x="7146" y="1920"/>
                  </a:lnTo>
                  <a:lnTo>
                    <a:pt x="7134" y="1920"/>
                  </a:lnTo>
                  <a:lnTo>
                    <a:pt x="7134" y="1890"/>
                  </a:lnTo>
                  <a:lnTo>
                    <a:pt x="7116" y="1878"/>
                  </a:lnTo>
                  <a:lnTo>
                    <a:pt x="7116" y="1908"/>
                  </a:lnTo>
                  <a:lnTo>
                    <a:pt x="7068" y="1908"/>
                  </a:lnTo>
                  <a:lnTo>
                    <a:pt x="7074" y="1902"/>
                  </a:lnTo>
                  <a:lnTo>
                    <a:pt x="7074" y="1884"/>
                  </a:lnTo>
                  <a:lnTo>
                    <a:pt x="7068" y="1878"/>
                  </a:lnTo>
                  <a:lnTo>
                    <a:pt x="7044" y="1878"/>
                  </a:lnTo>
                  <a:lnTo>
                    <a:pt x="7038" y="1890"/>
                  </a:lnTo>
                  <a:lnTo>
                    <a:pt x="7014" y="1890"/>
                  </a:lnTo>
                  <a:lnTo>
                    <a:pt x="7002" y="1854"/>
                  </a:lnTo>
                  <a:lnTo>
                    <a:pt x="6996" y="1854"/>
                  </a:lnTo>
                  <a:lnTo>
                    <a:pt x="6984" y="1830"/>
                  </a:lnTo>
                  <a:lnTo>
                    <a:pt x="6912" y="1836"/>
                  </a:lnTo>
                  <a:lnTo>
                    <a:pt x="6906" y="1824"/>
                  </a:lnTo>
                  <a:lnTo>
                    <a:pt x="6882" y="1824"/>
                  </a:lnTo>
                  <a:lnTo>
                    <a:pt x="6870" y="1818"/>
                  </a:lnTo>
                  <a:lnTo>
                    <a:pt x="6864" y="1812"/>
                  </a:lnTo>
                  <a:lnTo>
                    <a:pt x="6864" y="1794"/>
                  </a:lnTo>
                  <a:lnTo>
                    <a:pt x="6876" y="1788"/>
                  </a:lnTo>
                  <a:lnTo>
                    <a:pt x="6888" y="1776"/>
                  </a:lnTo>
                  <a:lnTo>
                    <a:pt x="6900" y="1776"/>
                  </a:lnTo>
                  <a:lnTo>
                    <a:pt x="6900" y="1752"/>
                  </a:lnTo>
                  <a:lnTo>
                    <a:pt x="6906" y="1752"/>
                  </a:lnTo>
                  <a:lnTo>
                    <a:pt x="6918" y="1746"/>
                  </a:lnTo>
                  <a:lnTo>
                    <a:pt x="6930" y="1734"/>
                  </a:lnTo>
                  <a:lnTo>
                    <a:pt x="6930" y="1728"/>
                  </a:lnTo>
                  <a:lnTo>
                    <a:pt x="6936" y="1716"/>
                  </a:lnTo>
                  <a:lnTo>
                    <a:pt x="6936" y="1710"/>
                  </a:lnTo>
                  <a:lnTo>
                    <a:pt x="6942" y="1698"/>
                  </a:lnTo>
                  <a:lnTo>
                    <a:pt x="6930" y="1686"/>
                  </a:lnTo>
                  <a:lnTo>
                    <a:pt x="6942" y="1662"/>
                  </a:lnTo>
                  <a:lnTo>
                    <a:pt x="6930" y="1650"/>
                  </a:lnTo>
                  <a:lnTo>
                    <a:pt x="6948" y="1632"/>
                  </a:lnTo>
                  <a:lnTo>
                    <a:pt x="6972" y="1626"/>
                  </a:lnTo>
                  <a:lnTo>
                    <a:pt x="6960" y="1596"/>
                  </a:lnTo>
                  <a:lnTo>
                    <a:pt x="6984" y="1590"/>
                  </a:lnTo>
                  <a:lnTo>
                    <a:pt x="6960" y="1554"/>
                  </a:lnTo>
                  <a:lnTo>
                    <a:pt x="6990" y="1542"/>
                  </a:lnTo>
                  <a:lnTo>
                    <a:pt x="6990" y="1500"/>
                  </a:lnTo>
                  <a:lnTo>
                    <a:pt x="6996" y="1488"/>
                  </a:lnTo>
                  <a:lnTo>
                    <a:pt x="7002" y="1482"/>
                  </a:lnTo>
                  <a:lnTo>
                    <a:pt x="7020" y="1470"/>
                  </a:lnTo>
                  <a:lnTo>
                    <a:pt x="7032" y="1464"/>
                  </a:lnTo>
                  <a:lnTo>
                    <a:pt x="7050" y="1464"/>
                  </a:lnTo>
                  <a:lnTo>
                    <a:pt x="7068" y="1470"/>
                  </a:lnTo>
                  <a:lnTo>
                    <a:pt x="7188" y="1470"/>
                  </a:lnTo>
                  <a:lnTo>
                    <a:pt x="7206" y="1488"/>
                  </a:lnTo>
                  <a:lnTo>
                    <a:pt x="7224" y="1482"/>
                  </a:lnTo>
                  <a:lnTo>
                    <a:pt x="7218" y="1464"/>
                  </a:lnTo>
                  <a:lnTo>
                    <a:pt x="7290" y="1482"/>
                  </a:lnTo>
                  <a:lnTo>
                    <a:pt x="7320" y="1464"/>
                  </a:lnTo>
                  <a:lnTo>
                    <a:pt x="7350" y="1488"/>
                  </a:lnTo>
                  <a:lnTo>
                    <a:pt x="7356" y="1452"/>
                  </a:lnTo>
                  <a:lnTo>
                    <a:pt x="7434" y="1452"/>
                  </a:lnTo>
                  <a:lnTo>
                    <a:pt x="7446" y="1458"/>
                  </a:lnTo>
                  <a:lnTo>
                    <a:pt x="7452" y="1470"/>
                  </a:lnTo>
                  <a:lnTo>
                    <a:pt x="7458" y="1470"/>
                  </a:lnTo>
                  <a:lnTo>
                    <a:pt x="7464" y="1464"/>
                  </a:lnTo>
                  <a:lnTo>
                    <a:pt x="7476" y="1464"/>
                  </a:lnTo>
                  <a:lnTo>
                    <a:pt x="7482" y="1458"/>
                  </a:lnTo>
                  <a:lnTo>
                    <a:pt x="7494" y="1452"/>
                  </a:lnTo>
                  <a:lnTo>
                    <a:pt x="7518" y="1470"/>
                  </a:lnTo>
                  <a:lnTo>
                    <a:pt x="7560" y="1476"/>
                  </a:lnTo>
                  <a:lnTo>
                    <a:pt x="7506" y="1488"/>
                  </a:lnTo>
                  <a:lnTo>
                    <a:pt x="7506" y="1494"/>
                  </a:lnTo>
                  <a:lnTo>
                    <a:pt x="7512" y="1500"/>
                  </a:lnTo>
                  <a:lnTo>
                    <a:pt x="7524" y="1506"/>
                  </a:lnTo>
                  <a:lnTo>
                    <a:pt x="7530" y="1512"/>
                  </a:lnTo>
                  <a:lnTo>
                    <a:pt x="7542" y="1512"/>
                  </a:lnTo>
                  <a:lnTo>
                    <a:pt x="7548" y="1506"/>
                  </a:lnTo>
                  <a:lnTo>
                    <a:pt x="7560" y="1506"/>
                  </a:lnTo>
                  <a:lnTo>
                    <a:pt x="7572" y="1500"/>
                  </a:lnTo>
                  <a:lnTo>
                    <a:pt x="7578" y="1494"/>
                  </a:lnTo>
                  <a:lnTo>
                    <a:pt x="7584" y="1494"/>
                  </a:lnTo>
                  <a:lnTo>
                    <a:pt x="7614" y="1506"/>
                  </a:lnTo>
                  <a:lnTo>
                    <a:pt x="7638" y="1488"/>
                  </a:lnTo>
                  <a:lnTo>
                    <a:pt x="7644" y="1488"/>
                  </a:lnTo>
                  <a:lnTo>
                    <a:pt x="7650" y="1494"/>
                  </a:lnTo>
                  <a:lnTo>
                    <a:pt x="7686" y="1494"/>
                  </a:lnTo>
                  <a:lnTo>
                    <a:pt x="7692" y="1488"/>
                  </a:lnTo>
                  <a:lnTo>
                    <a:pt x="7692" y="1476"/>
                  </a:lnTo>
                  <a:lnTo>
                    <a:pt x="7728" y="1482"/>
                  </a:lnTo>
                  <a:lnTo>
                    <a:pt x="7680" y="1452"/>
                  </a:lnTo>
                  <a:lnTo>
                    <a:pt x="7650" y="1464"/>
                  </a:lnTo>
                  <a:lnTo>
                    <a:pt x="7644" y="1446"/>
                  </a:lnTo>
                  <a:lnTo>
                    <a:pt x="7638" y="1434"/>
                  </a:lnTo>
                  <a:lnTo>
                    <a:pt x="7632" y="1428"/>
                  </a:lnTo>
                  <a:lnTo>
                    <a:pt x="7626" y="1416"/>
                  </a:lnTo>
                  <a:lnTo>
                    <a:pt x="7626" y="1398"/>
                  </a:lnTo>
                  <a:lnTo>
                    <a:pt x="7650" y="1374"/>
                  </a:lnTo>
                  <a:lnTo>
                    <a:pt x="7644" y="1344"/>
                  </a:lnTo>
                  <a:lnTo>
                    <a:pt x="7662" y="1332"/>
                  </a:lnTo>
                  <a:lnTo>
                    <a:pt x="7650" y="1326"/>
                  </a:lnTo>
                  <a:lnTo>
                    <a:pt x="7638" y="1314"/>
                  </a:lnTo>
                  <a:lnTo>
                    <a:pt x="7638" y="1302"/>
                  </a:lnTo>
                  <a:lnTo>
                    <a:pt x="7644" y="1296"/>
                  </a:lnTo>
                  <a:lnTo>
                    <a:pt x="7662" y="1290"/>
                  </a:lnTo>
                  <a:lnTo>
                    <a:pt x="7698" y="1290"/>
                  </a:lnTo>
                  <a:lnTo>
                    <a:pt x="7710" y="1296"/>
                  </a:lnTo>
                  <a:lnTo>
                    <a:pt x="7728" y="1296"/>
                  </a:lnTo>
                  <a:lnTo>
                    <a:pt x="7746" y="1278"/>
                  </a:lnTo>
                  <a:lnTo>
                    <a:pt x="7782" y="1308"/>
                  </a:lnTo>
                  <a:lnTo>
                    <a:pt x="7806" y="1290"/>
                  </a:lnTo>
                  <a:lnTo>
                    <a:pt x="7812" y="1302"/>
                  </a:lnTo>
                  <a:lnTo>
                    <a:pt x="7818" y="1308"/>
                  </a:lnTo>
                  <a:lnTo>
                    <a:pt x="7830" y="1332"/>
                  </a:lnTo>
                  <a:lnTo>
                    <a:pt x="7830" y="1338"/>
                  </a:lnTo>
                  <a:lnTo>
                    <a:pt x="7836" y="1344"/>
                  </a:lnTo>
                  <a:lnTo>
                    <a:pt x="7878" y="1344"/>
                  </a:lnTo>
                  <a:lnTo>
                    <a:pt x="7878" y="1362"/>
                  </a:lnTo>
                  <a:lnTo>
                    <a:pt x="7884" y="1374"/>
                  </a:lnTo>
                  <a:lnTo>
                    <a:pt x="7890" y="1380"/>
                  </a:lnTo>
                  <a:lnTo>
                    <a:pt x="7896" y="1380"/>
                  </a:lnTo>
                  <a:lnTo>
                    <a:pt x="7914" y="1362"/>
                  </a:lnTo>
                  <a:lnTo>
                    <a:pt x="7932" y="1326"/>
                  </a:lnTo>
                  <a:lnTo>
                    <a:pt x="7938" y="1320"/>
                  </a:lnTo>
                  <a:lnTo>
                    <a:pt x="7938" y="1314"/>
                  </a:lnTo>
                  <a:lnTo>
                    <a:pt x="7962" y="1302"/>
                  </a:lnTo>
                  <a:lnTo>
                    <a:pt x="7992" y="1314"/>
                  </a:lnTo>
                  <a:lnTo>
                    <a:pt x="7986" y="1302"/>
                  </a:lnTo>
                  <a:lnTo>
                    <a:pt x="7962" y="1284"/>
                  </a:lnTo>
                  <a:lnTo>
                    <a:pt x="7956" y="1278"/>
                  </a:lnTo>
                  <a:lnTo>
                    <a:pt x="7932" y="1266"/>
                  </a:lnTo>
                  <a:lnTo>
                    <a:pt x="7926" y="1254"/>
                  </a:lnTo>
                  <a:lnTo>
                    <a:pt x="7914" y="1248"/>
                  </a:lnTo>
                  <a:lnTo>
                    <a:pt x="7908" y="1242"/>
                  </a:lnTo>
                  <a:lnTo>
                    <a:pt x="7908" y="1230"/>
                  </a:lnTo>
                  <a:lnTo>
                    <a:pt x="7962" y="1230"/>
                  </a:lnTo>
                  <a:lnTo>
                    <a:pt x="7992" y="1236"/>
                  </a:lnTo>
                  <a:lnTo>
                    <a:pt x="8052" y="1236"/>
                  </a:lnTo>
                  <a:lnTo>
                    <a:pt x="8052" y="1254"/>
                  </a:lnTo>
                  <a:lnTo>
                    <a:pt x="8040" y="1254"/>
                  </a:lnTo>
                  <a:lnTo>
                    <a:pt x="8028" y="1248"/>
                  </a:lnTo>
                  <a:lnTo>
                    <a:pt x="7992" y="1248"/>
                  </a:lnTo>
                  <a:lnTo>
                    <a:pt x="7992" y="1266"/>
                  </a:lnTo>
                  <a:lnTo>
                    <a:pt x="8016" y="1290"/>
                  </a:lnTo>
                  <a:lnTo>
                    <a:pt x="8028" y="1296"/>
                  </a:lnTo>
                  <a:lnTo>
                    <a:pt x="8034" y="1320"/>
                  </a:lnTo>
                  <a:lnTo>
                    <a:pt x="8064" y="1326"/>
                  </a:lnTo>
                  <a:lnTo>
                    <a:pt x="8058" y="1344"/>
                  </a:lnTo>
                  <a:lnTo>
                    <a:pt x="8076" y="1362"/>
                  </a:lnTo>
                  <a:lnTo>
                    <a:pt x="8046" y="1368"/>
                  </a:lnTo>
                  <a:lnTo>
                    <a:pt x="8040" y="1380"/>
                  </a:lnTo>
                  <a:lnTo>
                    <a:pt x="8022" y="1386"/>
                  </a:lnTo>
                  <a:lnTo>
                    <a:pt x="8028" y="1398"/>
                  </a:lnTo>
                  <a:lnTo>
                    <a:pt x="8028" y="1404"/>
                  </a:lnTo>
                  <a:lnTo>
                    <a:pt x="8034" y="1416"/>
                  </a:lnTo>
                  <a:lnTo>
                    <a:pt x="8034" y="1440"/>
                  </a:lnTo>
                  <a:lnTo>
                    <a:pt x="8028" y="1452"/>
                  </a:lnTo>
                  <a:lnTo>
                    <a:pt x="8016" y="1464"/>
                  </a:lnTo>
                  <a:lnTo>
                    <a:pt x="8004" y="1488"/>
                  </a:lnTo>
                  <a:lnTo>
                    <a:pt x="8004" y="1506"/>
                  </a:lnTo>
                  <a:lnTo>
                    <a:pt x="8010" y="1506"/>
                  </a:lnTo>
                  <a:lnTo>
                    <a:pt x="8016" y="1512"/>
                  </a:lnTo>
                  <a:lnTo>
                    <a:pt x="8022" y="1524"/>
                  </a:lnTo>
                  <a:lnTo>
                    <a:pt x="8016" y="1530"/>
                  </a:lnTo>
                  <a:lnTo>
                    <a:pt x="8010" y="1542"/>
                  </a:lnTo>
                  <a:lnTo>
                    <a:pt x="7986" y="1566"/>
                  </a:lnTo>
                  <a:lnTo>
                    <a:pt x="7974" y="1572"/>
                  </a:lnTo>
                  <a:lnTo>
                    <a:pt x="7968" y="1578"/>
                  </a:lnTo>
                  <a:lnTo>
                    <a:pt x="7962" y="1578"/>
                  </a:lnTo>
                  <a:lnTo>
                    <a:pt x="7962" y="1596"/>
                  </a:lnTo>
                  <a:lnTo>
                    <a:pt x="7944" y="1596"/>
                  </a:lnTo>
                  <a:lnTo>
                    <a:pt x="7950" y="1596"/>
                  </a:lnTo>
                  <a:lnTo>
                    <a:pt x="7956" y="1602"/>
                  </a:lnTo>
                  <a:lnTo>
                    <a:pt x="7968" y="1608"/>
                  </a:lnTo>
                  <a:lnTo>
                    <a:pt x="7980" y="1632"/>
                  </a:lnTo>
                  <a:lnTo>
                    <a:pt x="7974" y="1650"/>
                  </a:lnTo>
                  <a:lnTo>
                    <a:pt x="7974" y="1662"/>
                  </a:lnTo>
                  <a:lnTo>
                    <a:pt x="7968" y="1674"/>
                  </a:lnTo>
                  <a:lnTo>
                    <a:pt x="7968" y="1686"/>
                  </a:lnTo>
                  <a:lnTo>
                    <a:pt x="7974" y="1704"/>
                  </a:lnTo>
                  <a:lnTo>
                    <a:pt x="7992" y="1722"/>
                  </a:lnTo>
                  <a:lnTo>
                    <a:pt x="8016" y="1752"/>
                  </a:lnTo>
                  <a:lnTo>
                    <a:pt x="8046" y="1776"/>
                  </a:lnTo>
                  <a:lnTo>
                    <a:pt x="8070" y="1800"/>
                  </a:lnTo>
                  <a:lnTo>
                    <a:pt x="8082" y="1806"/>
                  </a:lnTo>
                  <a:lnTo>
                    <a:pt x="8142" y="1872"/>
                  </a:lnTo>
                  <a:lnTo>
                    <a:pt x="8154" y="1866"/>
                  </a:lnTo>
                  <a:lnTo>
                    <a:pt x="8238" y="1962"/>
                  </a:lnTo>
                  <a:lnTo>
                    <a:pt x="8286" y="1980"/>
                  </a:lnTo>
                  <a:lnTo>
                    <a:pt x="8310" y="2004"/>
                  </a:lnTo>
                  <a:lnTo>
                    <a:pt x="8316" y="2016"/>
                  </a:lnTo>
                  <a:lnTo>
                    <a:pt x="8328" y="2022"/>
                  </a:lnTo>
                  <a:lnTo>
                    <a:pt x="8334" y="2034"/>
                  </a:lnTo>
                  <a:lnTo>
                    <a:pt x="8388" y="2088"/>
                  </a:lnTo>
                  <a:lnTo>
                    <a:pt x="8406" y="2088"/>
                  </a:lnTo>
                  <a:lnTo>
                    <a:pt x="8406" y="2106"/>
                  </a:lnTo>
                  <a:lnTo>
                    <a:pt x="8418" y="2106"/>
                  </a:lnTo>
                  <a:lnTo>
                    <a:pt x="8430" y="2100"/>
                  </a:lnTo>
                  <a:lnTo>
                    <a:pt x="8436" y="2094"/>
                  </a:lnTo>
                  <a:lnTo>
                    <a:pt x="8442" y="2082"/>
                  </a:lnTo>
                  <a:lnTo>
                    <a:pt x="8442" y="2076"/>
                  </a:lnTo>
                  <a:lnTo>
                    <a:pt x="8430" y="2064"/>
                  </a:lnTo>
                  <a:lnTo>
                    <a:pt x="8436" y="2058"/>
                  </a:lnTo>
                  <a:lnTo>
                    <a:pt x="8442" y="2046"/>
                  </a:lnTo>
                  <a:lnTo>
                    <a:pt x="8448" y="2040"/>
                  </a:lnTo>
                  <a:lnTo>
                    <a:pt x="8448" y="2022"/>
                  </a:lnTo>
                  <a:lnTo>
                    <a:pt x="8430" y="2004"/>
                  </a:lnTo>
                  <a:lnTo>
                    <a:pt x="8418" y="1998"/>
                  </a:lnTo>
                  <a:lnTo>
                    <a:pt x="8406" y="1974"/>
                  </a:lnTo>
                  <a:lnTo>
                    <a:pt x="8406" y="1962"/>
                  </a:lnTo>
                  <a:lnTo>
                    <a:pt x="8412" y="1950"/>
                  </a:lnTo>
                  <a:lnTo>
                    <a:pt x="8430" y="1932"/>
                  </a:lnTo>
                  <a:lnTo>
                    <a:pt x="8442" y="1932"/>
                  </a:lnTo>
                  <a:lnTo>
                    <a:pt x="8454" y="1938"/>
                  </a:lnTo>
                  <a:lnTo>
                    <a:pt x="8460" y="1938"/>
                  </a:lnTo>
                  <a:lnTo>
                    <a:pt x="8466" y="1944"/>
                  </a:lnTo>
                  <a:lnTo>
                    <a:pt x="8472" y="1944"/>
                  </a:lnTo>
                  <a:lnTo>
                    <a:pt x="8466" y="1938"/>
                  </a:lnTo>
                  <a:lnTo>
                    <a:pt x="8460" y="1926"/>
                  </a:lnTo>
                  <a:lnTo>
                    <a:pt x="8448" y="1920"/>
                  </a:lnTo>
                  <a:lnTo>
                    <a:pt x="8442" y="1908"/>
                  </a:lnTo>
                  <a:lnTo>
                    <a:pt x="8424" y="1890"/>
                  </a:lnTo>
                  <a:lnTo>
                    <a:pt x="8412" y="1890"/>
                  </a:lnTo>
                  <a:lnTo>
                    <a:pt x="8406" y="1884"/>
                  </a:lnTo>
                  <a:lnTo>
                    <a:pt x="8400" y="1872"/>
                  </a:lnTo>
                  <a:lnTo>
                    <a:pt x="8400" y="1860"/>
                  </a:lnTo>
                  <a:lnTo>
                    <a:pt x="8406" y="1848"/>
                  </a:lnTo>
                  <a:lnTo>
                    <a:pt x="8412" y="1842"/>
                  </a:lnTo>
                  <a:lnTo>
                    <a:pt x="8424" y="1836"/>
                  </a:lnTo>
                  <a:lnTo>
                    <a:pt x="8430" y="1830"/>
                  </a:lnTo>
                  <a:lnTo>
                    <a:pt x="8442" y="1836"/>
                  </a:lnTo>
                  <a:lnTo>
                    <a:pt x="8466" y="1836"/>
                  </a:lnTo>
                  <a:lnTo>
                    <a:pt x="8472" y="1830"/>
                  </a:lnTo>
                  <a:lnTo>
                    <a:pt x="8472" y="1812"/>
                  </a:lnTo>
                  <a:lnTo>
                    <a:pt x="8454" y="1794"/>
                  </a:lnTo>
                  <a:lnTo>
                    <a:pt x="8436" y="1788"/>
                  </a:lnTo>
                  <a:lnTo>
                    <a:pt x="8424" y="1782"/>
                  </a:lnTo>
                  <a:lnTo>
                    <a:pt x="8406" y="1770"/>
                  </a:lnTo>
                  <a:lnTo>
                    <a:pt x="8394" y="1758"/>
                  </a:lnTo>
                  <a:lnTo>
                    <a:pt x="8388" y="1740"/>
                  </a:lnTo>
                  <a:lnTo>
                    <a:pt x="8376" y="1716"/>
                  </a:lnTo>
                  <a:lnTo>
                    <a:pt x="8376" y="1704"/>
                  </a:lnTo>
                  <a:lnTo>
                    <a:pt x="8370" y="1698"/>
                  </a:lnTo>
                  <a:lnTo>
                    <a:pt x="8370" y="1692"/>
                  </a:lnTo>
                  <a:lnTo>
                    <a:pt x="8382" y="1686"/>
                  </a:lnTo>
                  <a:lnTo>
                    <a:pt x="8406" y="1710"/>
                  </a:lnTo>
                  <a:lnTo>
                    <a:pt x="8418" y="1716"/>
                  </a:lnTo>
                  <a:lnTo>
                    <a:pt x="8430" y="1716"/>
                  </a:lnTo>
                  <a:lnTo>
                    <a:pt x="8430" y="1710"/>
                  </a:lnTo>
                  <a:lnTo>
                    <a:pt x="8424" y="1704"/>
                  </a:lnTo>
                  <a:lnTo>
                    <a:pt x="8418" y="1692"/>
                  </a:lnTo>
                  <a:lnTo>
                    <a:pt x="8412" y="1686"/>
                  </a:lnTo>
                  <a:lnTo>
                    <a:pt x="8406" y="1674"/>
                  </a:lnTo>
                  <a:lnTo>
                    <a:pt x="8400" y="1668"/>
                  </a:lnTo>
                  <a:lnTo>
                    <a:pt x="8364" y="1668"/>
                  </a:lnTo>
                  <a:lnTo>
                    <a:pt x="8316" y="1626"/>
                  </a:lnTo>
                  <a:lnTo>
                    <a:pt x="8316" y="1596"/>
                  </a:lnTo>
                  <a:lnTo>
                    <a:pt x="8310" y="1590"/>
                  </a:lnTo>
                  <a:lnTo>
                    <a:pt x="8298" y="1584"/>
                  </a:lnTo>
                  <a:lnTo>
                    <a:pt x="8280" y="1578"/>
                  </a:lnTo>
                  <a:lnTo>
                    <a:pt x="8268" y="1572"/>
                  </a:lnTo>
                  <a:lnTo>
                    <a:pt x="8256" y="1572"/>
                  </a:lnTo>
                  <a:lnTo>
                    <a:pt x="8256" y="1590"/>
                  </a:lnTo>
                  <a:lnTo>
                    <a:pt x="8250" y="1590"/>
                  </a:lnTo>
                  <a:lnTo>
                    <a:pt x="8244" y="1584"/>
                  </a:lnTo>
                  <a:lnTo>
                    <a:pt x="8232" y="1584"/>
                  </a:lnTo>
                  <a:lnTo>
                    <a:pt x="8214" y="1572"/>
                  </a:lnTo>
                  <a:lnTo>
                    <a:pt x="8202" y="1566"/>
                  </a:lnTo>
                  <a:lnTo>
                    <a:pt x="8196" y="1560"/>
                  </a:lnTo>
                  <a:lnTo>
                    <a:pt x="8190" y="1548"/>
                  </a:lnTo>
                  <a:lnTo>
                    <a:pt x="8190" y="1536"/>
                  </a:lnTo>
                  <a:lnTo>
                    <a:pt x="8196" y="1524"/>
                  </a:lnTo>
                  <a:lnTo>
                    <a:pt x="8196" y="1500"/>
                  </a:lnTo>
                  <a:lnTo>
                    <a:pt x="8184" y="1476"/>
                  </a:lnTo>
                  <a:lnTo>
                    <a:pt x="8166" y="1458"/>
                  </a:lnTo>
                  <a:lnTo>
                    <a:pt x="8154" y="1452"/>
                  </a:lnTo>
                  <a:lnTo>
                    <a:pt x="8154" y="1434"/>
                  </a:lnTo>
                  <a:lnTo>
                    <a:pt x="8160" y="1428"/>
                  </a:lnTo>
                  <a:lnTo>
                    <a:pt x="8172" y="1428"/>
                  </a:lnTo>
                  <a:lnTo>
                    <a:pt x="8184" y="1434"/>
                  </a:lnTo>
                  <a:lnTo>
                    <a:pt x="8196" y="1416"/>
                  </a:lnTo>
                  <a:lnTo>
                    <a:pt x="8232" y="1446"/>
                  </a:lnTo>
                  <a:lnTo>
                    <a:pt x="8238" y="1440"/>
                  </a:lnTo>
                  <a:lnTo>
                    <a:pt x="8226" y="1428"/>
                  </a:lnTo>
                  <a:lnTo>
                    <a:pt x="8226" y="1422"/>
                  </a:lnTo>
                  <a:lnTo>
                    <a:pt x="8232" y="1416"/>
                  </a:lnTo>
                  <a:lnTo>
                    <a:pt x="8232" y="1404"/>
                  </a:lnTo>
                  <a:lnTo>
                    <a:pt x="8238" y="1392"/>
                  </a:lnTo>
                  <a:lnTo>
                    <a:pt x="8250" y="1386"/>
                  </a:lnTo>
                  <a:lnTo>
                    <a:pt x="8256" y="1386"/>
                  </a:lnTo>
                  <a:lnTo>
                    <a:pt x="8274" y="1404"/>
                  </a:lnTo>
                  <a:lnTo>
                    <a:pt x="8280" y="1416"/>
                  </a:lnTo>
                  <a:lnTo>
                    <a:pt x="8292" y="1428"/>
                  </a:lnTo>
                  <a:lnTo>
                    <a:pt x="8304" y="1434"/>
                  </a:lnTo>
                  <a:lnTo>
                    <a:pt x="8310" y="1446"/>
                  </a:lnTo>
                  <a:lnTo>
                    <a:pt x="8322" y="1398"/>
                  </a:lnTo>
                  <a:lnTo>
                    <a:pt x="8334" y="1398"/>
                  </a:lnTo>
                  <a:lnTo>
                    <a:pt x="8364" y="1392"/>
                  </a:lnTo>
                  <a:lnTo>
                    <a:pt x="8400" y="1386"/>
                  </a:lnTo>
                  <a:lnTo>
                    <a:pt x="8430" y="1386"/>
                  </a:lnTo>
                  <a:lnTo>
                    <a:pt x="8478" y="1410"/>
                  </a:lnTo>
                  <a:lnTo>
                    <a:pt x="8484" y="1416"/>
                  </a:lnTo>
                  <a:lnTo>
                    <a:pt x="8490" y="1416"/>
                  </a:lnTo>
                  <a:lnTo>
                    <a:pt x="8532" y="1434"/>
                  </a:lnTo>
                  <a:lnTo>
                    <a:pt x="8502" y="1374"/>
                  </a:lnTo>
                  <a:lnTo>
                    <a:pt x="8526" y="1374"/>
                  </a:lnTo>
                  <a:lnTo>
                    <a:pt x="8538" y="1368"/>
                  </a:lnTo>
                  <a:lnTo>
                    <a:pt x="8550" y="1356"/>
                  </a:lnTo>
                  <a:lnTo>
                    <a:pt x="8550" y="1332"/>
                  </a:lnTo>
                  <a:lnTo>
                    <a:pt x="8544" y="1326"/>
                  </a:lnTo>
                  <a:lnTo>
                    <a:pt x="8538" y="1314"/>
                  </a:lnTo>
                  <a:lnTo>
                    <a:pt x="8562" y="1314"/>
                  </a:lnTo>
                  <a:lnTo>
                    <a:pt x="8562" y="1290"/>
                  </a:lnTo>
                  <a:lnTo>
                    <a:pt x="8574" y="1290"/>
                  </a:lnTo>
                  <a:lnTo>
                    <a:pt x="8586" y="1296"/>
                  </a:lnTo>
                  <a:lnTo>
                    <a:pt x="8616" y="1296"/>
                  </a:lnTo>
                  <a:lnTo>
                    <a:pt x="8628" y="1290"/>
                  </a:lnTo>
                  <a:lnTo>
                    <a:pt x="8634" y="1284"/>
                  </a:lnTo>
                  <a:lnTo>
                    <a:pt x="8640" y="1272"/>
                  </a:lnTo>
                  <a:lnTo>
                    <a:pt x="8652" y="1260"/>
                  </a:lnTo>
                  <a:lnTo>
                    <a:pt x="8658" y="1248"/>
                  </a:lnTo>
                  <a:lnTo>
                    <a:pt x="8664" y="1242"/>
                  </a:lnTo>
                  <a:lnTo>
                    <a:pt x="8670" y="1242"/>
                  </a:lnTo>
                  <a:lnTo>
                    <a:pt x="8652" y="1218"/>
                  </a:lnTo>
                  <a:lnTo>
                    <a:pt x="8682" y="1218"/>
                  </a:lnTo>
                  <a:lnTo>
                    <a:pt x="8688" y="1236"/>
                  </a:lnTo>
                  <a:lnTo>
                    <a:pt x="8748" y="1242"/>
                  </a:lnTo>
                  <a:lnTo>
                    <a:pt x="8760" y="1242"/>
                  </a:lnTo>
                  <a:lnTo>
                    <a:pt x="8772" y="1248"/>
                  </a:lnTo>
                  <a:lnTo>
                    <a:pt x="8808" y="1248"/>
                  </a:lnTo>
                  <a:lnTo>
                    <a:pt x="8808" y="1230"/>
                  </a:lnTo>
                  <a:lnTo>
                    <a:pt x="8802" y="1218"/>
                  </a:lnTo>
                  <a:lnTo>
                    <a:pt x="8766" y="1218"/>
                  </a:lnTo>
                  <a:lnTo>
                    <a:pt x="8760" y="1194"/>
                  </a:lnTo>
                  <a:lnTo>
                    <a:pt x="8754" y="1194"/>
                  </a:lnTo>
                  <a:lnTo>
                    <a:pt x="8748" y="1188"/>
                  </a:lnTo>
                  <a:lnTo>
                    <a:pt x="8736" y="1188"/>
                  </a:lnTo>
                  <a:lnTo>
                    <a:pt x="8712" y="1176"/>
                  </a:lnTo>
                  <a:lnTo>
                    <a:pt x="8700" y="1176"/>
                  </a:lnTo>
                  <a:lnTo>
                    <a:pt x="8688" y="1170"/>
                  </a:lnTo>
                  <a:lnTo>
                    <a:pt x="8658" y="1170"/>
                  </a:lnTo>
                  <a:lnTo>
                    <a:pt x="8664" y="1152"/>
                  </a:lnTo>
                  <a:lnTo>
                    <a:pt x="8592" y="1104"/>
                  </a:lnTo>
                  <a:lnTo>
                    <a:pt x="8574" y="1122"/>
                  </a:lnTo>
                  <a:lnTo>
                    <a:pt x="8568" y="1122"/>
                  </a:lnTo>
                  <a:lnTo>
                    <a:pt x="8562" y="1116"/>
                  </a:lnTo>
                  <a:lnTo>
                    <a:pt x="8550" y="1116"/>
                  </a:lnTo>
                  <a:lnTo>
                    <a:pt x="8538" y="1110"/>
                  </a:lnTo>
                  <a:lnTo>
                    <a:pt x="8532" y="1110"/>
                  </a:lnTo>
                  <a:lnTo>
                    <a:pt x="8520" y="1104"/>
                  </a:lnTo>
                  <a:lnTo>
                    <a:pt x="8508" y="1092"/>
                  </a:lnTo>
                  <a:lnTo>
                    <a:pt x="8502" y="1092"/>
                  </a:lnTo>
                  <a:lnTo>
                    <a:pt x="8466" y="1098"/>
                  </a:lnTo>
                  <a:lnTo>
                    <a:pt x="8442" y="1092"/>
                  </a:lnTo>
                  <a:lnTo>
                    <a:pt x="8430" y="1086"/>
                  </a:lnTo>
                  <a:lnTo>
                    <a:pt x="8412" y="1068"/>
                  </a:lnTo>
                  <a:lnTo>
                    <a:pt x="8406" y="1068"/>
                  </a:lnTo>
                  <a:lnTo>
                    <a:pt x="8412" y="1062"/>
                  </a:lnTo>
                  <a:lnTo>
                    <a:pt x="8436" y="1062"/>
                  </a:lnTo>
                  <a:lnTo>
                    <a:pt x="8460" y="1074"/>
                  </a:lnTo>
                  <a:lnTo>
                    <a:pt x="8478" y="1074"/>
                  </a:lnTo>
                  <a:lnTo>
                    <a:pt x="8496" y="1080"/>
                  </a:lnTo>
                  <a:lnTo>
                    <a:pt x="8514" y="1080"/>
                  </a:lnTo>
                  <a:lnTo>
                    <a:pt x="8526" y="1086"/>
                  </a:lnTo>
                  <a:lnTo>
                    <a:pt x="8544" y="1086"/>
                  </a:lnTo>
                  <a:lnTo>
                    <a:pt x="8550" y="1080"/>
                  </a:lnTo>
                  <a:lnTo>
                    <a:pt x="8562" y="1080"/>
                  </a:lnTo>
                  <a:lnTo>
                    <a:pt x="8580" y="1074"/>
                  </a:lnTo>
                  <a:lnTo>
                    <a:pt x="8604" y="1062"/>
                  </a:lnTo>
                  <a:lnTo>
                    <a:pt x="8616" y="1050"/>
                  </a:lnTo>
                  <a:lnTo>
                    <a:pt x="8604" y="1038"/>
                  </a:lnTo>
                  <a:lnTo>
                    <a:pt x="8592" y="1032"/>
                  </a:lnTo>
                  <a:lnTo>
                    <a:pt x="8586" y="1026"/>
                  </a:lnTo>
                  <a:lnTo>
                    <a:pt x="8574" y="1020"/>
                  </a:lnTo>
                  <a:lnTo>
                    <a:pt x="8568" y="1014"/>
                  </a:lnTo>
                  <a:lnTo>
                    <a:pt x="8562" y="1014"/>
                  </a:lnTo>
                  <a:lnTo>
                    <a:pt x="8556" y="1008"/>
                  </a:lnTo>
                  <a:lnTo>
                    <a:pt x="8520" y="990"/>
                  </a:lnTo>
                  <a:lnTo>
                    <a:pt x="8508" y="978"/>
                  </a:lnTo>
                  <a:lnTo>
                    <a:pt x="8514" y="972"/>
                  </a:lnTo>
                  <a:lnTo>
                    <a:pt x="8538" y="972"/>
                  </a:lnTo>
                  <a:lnTo>
                    <a:pt x="8556" y="978"/>
                  </a:lnTo>
                  <a:lnTo>
                    <a:pt x="8562" y="984"/>
                  </a:lnTo>
                  <a:lnTo>
                    <a:pt x="8574" y="990"/>
                  </a:lnTo>
                  <a:lnTo>
                    <a:pt x="8580" y="990"/>
                  </a:lnTo>
                  <a:lnTo>
                    <a:pt x="8586" y="996"/>
                  </a:lnTo>
                  <a:lnTo>
                    <a:pt x="8610" y="1008"/>
                  </a:lnTo>
                  <a:lnTo>
                    <a:pt x="8628" y="1020"/>
                  </a:lnTo>
                  <a:lnTo>
                    <a:pt x="8652" y="1032"/>
                  </a:lnTo>
                  <a:lnTo>
                    <a:pt x="8664" y="1032"/>
                  </a:lnTo>
                  <a:lnTo>
                    <a:pt x="8676" y="1026"/>
                  </a:lnTo>
                  <a:lnTo>
                    <a:pt x="8682" y="1026"/>
                  </a:lnTo>
                  <a:lnTo>
                    <a:pt x="8688" y="1020"/>
                  </a:lnTo>
                  <a:lnTo>
                    <a:pt x="8730" y="1020"/>
                  </a:lnTo>
                  <a:lnTo>
                    <a:pt x="8754" y="1026"/>
                  </a:lnTo>
                  <a:lnTo>
                    <a:pt x="8808" y="1044"/>
                  </a:lnTo>
                  <a:lnTo>
                    <a:pt x="8850" y="1062"/>
                  </a:lnTo>
                  <a:lnTo>
                    <a:pt x="8880" y="1068"/>
                  </a:lnTo>
                  <a:lnTo>
                    <a:pt x="8886" y="1074"/>
                  </a:lnTo>
                  <a:lnTo>
                    <a:pt x="8898" y="1074"/>
                  </a:lnTo>
                  <a:lnTo>
                    <a:pt x="8934" y="1086"/>
                  </a:lnTo>
                  <a:lnTo>
                    <a:pt x="8946" y="1086"/>
                  </a:lnTo>
                  <a:lnTo>
                    <a:pt x="8952" y="1092"/>
                  </a:lnTo>
                  <a:lnTo>
                    <a:pt x="8958" y="1092"/>
                  </a:lnTo>
                  <a:lnTo>
                    <a:pt x="8970" y="1098"/>
                  </a:lnTo>
                  <a:lnTo>
                    <a:pt x="8976" y="1104"/>
                  </a:lnTo>
                  <a:lnTo>
                    <a:pt x="8988" y="1110"/>
                  </a:lnTo>
                  <a:lnTo>
                    <a:pt x="9000" y="1110"/>
                  </a:lnTo>
                  <a:lnTo>
                    <a:pt x="9018" y="1116"/>
                  </a:lnTo>
                  <a:lnTo>
                    <a:pt x="9024" y="1122"/>
                  </a:lnTo>
                  <a:lnTo>
                    <a:pt x="9042" y="1122"/>
                  </a:lnTo>
                  <a:lnTo>
                    <a:pt x="9042" y="1116"/>
                  </a:lnTo>
                  <a:lnTo>
                    <a:pt x="9036" y="1098"/>
                  </a:lnTo>
                  <a:lnTo>
                    <a:pt x="9012" y="1074"/>
                  </a:lnTo>
                  <a:lnTo>
                    <a:pt x="9006" y="1074"/>
                  </a:lnTo>
                  <a:lnTo>
                    <a:pt x="9024" y="1056"/>
                  </a:lnTo>
                  <a:lnTo>
                    <a:pt x="8976" y="1038"/>
                  </a:lnTo>
                  <a:lnTo>
                    <a:pt x="8988" y="1032"/>
                  </a:lnTo>
                  <a:lnTo>
                    <a:pt x="8940" y="1008"/>
                  </a:lnTo>
                  <a:lnTo>
                    <a:pt x="8994" y="1020"/>
                  </a:lnTo>
                  <a:lnTo>
                    <a:pt x="8988" y="996"/>
                  </a:lnTo>
                  <a:lnTo>
                    <a:pt x="9000" y="996"/>
                  </a:lnTo>
                  <a:lnTo>
                    <a:pt x="9012" y="1002"/>
                  </a:lnTo>
                  <a:lnTo>
                    <a:pt x="9048" y="1002"/>
                  </a:lnTo>
                  <a:lnTo>
                    <a:pt x="9048" y="996"/>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76" name="Republik Kongo" descr="© INSCALE GmbH, 05.05.2010&#10;http://www.presentationload.com/">
              <a:extLst>
                <a:ext uri="{FF2B5EF4-FFF2-40B4-BE49-F238E27FC236}">
                  <a16:creationId xmlns:a16="http://schemas.microsoft.com/office/drawing/2014/main" id="{C10E9E7C-8123-410E-AD30-520D01524D3F}"/>
                </a:ext>
              </a:extLst>
            </p:cNvPr>
            <p:cNvSpPr>
              <a:spLocks/>
            </p:cNvSpPr>
            <p:nvPr/>
          </p:nvSpPr>
          <p:spPr bwMode="gray">
            <a:xfrm>
              <a:off x="4475892" y="4080147"/>
              <a:ext cx="536264" cy="603690"/>
            </a:xfrm>
            <a:custGeom>
              <a:avLst/>
              <a:gdLst>
                <a:gd name="T0" fmla="*/ 2147483647 w 1350"/>
                <a:gd name="T1" fmla="*/ 2147483647 h 1518"/>
                <a:gd name="T2" fmla="*/ 2147483647 w 1350"/>
                <a:gd name="T3" fmla="*/ 2147483647 h 1518"/>
                <a:gd name="T4" fmla="*/ 2147483647 w 1350"/>
                <a:gd name="T5" fmla="*/ 2147483647 h 1518"/>
                <a:gd name="T6" fmla="*/ 2147483647 w 1350"/>
                <a:gd name="T7" fmla="*/ 2147483647 h 1518"/>
                <a:gd name="T8" fmla="*/ 2147483647 w 1350"/>
                <a:gd name="T9" fmla="*/ 2147483647 h 1518"/>
                <a:gd name="T10" fmla="*/ 2147483647 w 1350"/>
                <a:gd name="T11" fmla="*/ 2147483647 h 1518"/>
                <a:gd name="T12" fmla="*/ 2147483647 w 1350"/>
                <a:gd name="T13" fmla="*/ 2147483647 h 1518"/>
                <a:gd name="T14" fmla="*/ 2147483647 w 1350"/>
                <a:gd name="T15" fmla="*/ 2147483647 h 1518"/>
                <a:gd name="T16" fmla="*/ 2147483647 w 1350"/>
                <a:gd name="T17" fmla="*/ 2147483647 h 1518"/>
                <a:gd name="T18" fmla="*/ 2147483647 w 1350"/>
                <a:gd name="T19" fmla="*/ 2147483647 h 1518"/>
                <a:gd name="T20" fmla="*/ 2147483647 w 1350"/>
                <a:gd name="T21" fmla="*/ 2147483647 h 1518"/>
                <a:gd name="T22" fmla="*/ 2147483647 w 1350"/>
                <a:gd name="T23" fmla="*/ 2147483647 h 1518"/>
                <a:gd name="T24" fmla="*/ 2147483647 w 1350"/>
                <a:gd name="T25" fmla="*/ 2147483647 h 1518"/>
                <a:gd name="T26" fmla="*/ 2147483647 w 1350"/>
                <a:gd name="T27" fmla="*/ 2147483647 h 1518"/>
                <a:gd name="T28" fmla="*/ 2147483647 w 1350"/>
                <a:gd name="T29" fmla="*/ 2147483647 h 1518"/>
                <a:gd name="T30" fmla="*/ 2147483647 w 1350"/>
                <a:gd name="T31" fmla="*/ 2147483647 h 1518"/>
                <a:gd name="T32" fmla="*/ 2147483647 w 1350"/>
                <a:gd name="T33" fmla="*/ 2147483647 h 1518"/>
                <a:gd name="T34" fmla="*/ 2147483647 w 1350"/>
                <a:gd name="T35" fmla="*/ 2147483647 h 1518"/>
                <a:gd name="T36" fmla="*/ 2147483647 w 1350"/>
                <a:gd name="T37" fmla="*/ 2147483647 h 1518"/>
                <a:gd name="T38" fmla="*/ 2147483647 w 1350"/>
                <a:gd name="T39" fmla="*/ 2147483647 h 1518"/>
                <a:gd name="T40" fmla="*/ 2147483647 w 1350"/>
                <a:gd name="T41" fmla="*/ 2147483647 h 1518"/>
                <a:gd name="T42" fmla="*/ 2147483647 w 1350"/>
                <a:gd name="T43" fmla="*/ 2147483647 h 1518"/>
                <a:gd name="T44" fmla="*/ 2147483647 w 1350"/>
                <a:gd name="T45" fmla="*/ 2147483647 h 1518"/>
                <a:gd name="T46" fmla="*/ 2147483647 w 1350"/>
                <a:gd name="T47" fmla="*/ 2147483647 h 1518"/>
                <a:gd name="T48" fmla="*/ 2147483647 w 1350"/>
                <a:gd name="T49" fmla="*/ 2147483647 h 1518"/>
                <a:gd name="T50" fmla="*/ 2147483647 w 1350"/>
                <a:gd name="T51" fmla="*/ 2147483647 h 1518"/>
                <a:gd name="T52" fmla="*/ 2147483647 w 1350"/>
                <a:gd name="T53" fmla="*/ 2147483647 h 1518"/>
                <a:gd name="T54" fmla="*/ 2147483647 w 1350"/>
                <a:gd name="T55" fmla="*/ 2147483647 h 1518"/>
                <a:gd name="T56" fmla="*/ 2147483647 w 1350"/>
                <a:gd name="T57" fmla="*/ 2147483647 h 1518"/>
                <a:gd name="T58" fmla="*/ 2147483647 w 1350"/>
                <a:gd name="T59" fmla="*/ 2147483647 h 1518"/>
                <a:gd name="T60" fmla="*/ 2147483647 w 1350"/>
                <a:gd name="T61" fmla="*/ 2147483647 h 1518"/>
                <a:gd name="T62" fmla="*/ 2147483647 w 1350"/>
                <a:gd name="T63" fmla="*/ 2147483647 h 1518"/>
                <a:gd name="T64" fmla="*/ 2147483647 w 1350"/>
                <a:gd name="T65" fmla="*/ 2147483647 h 1518"/>
                <a:gd name="T66" fmla="*/ 2147483647 w 1350"/>
                <a:gd name="T67" fmla="*/ 2147483647 h 1518"/>
                <a:gd name="T68" fmla="*/ 2147483647 w 1350"/>
                <a:gd name="T69" fmla="*/ 2147483647 h 1518"/>
                <a:gd name="T70" fmla="*/ 2147483647 w 1350"/>
                <a:gd name="T71" fmla="*/ 2147483647 h 1518"/>
                <a:gd name="T72" fmla="*/ 2147483647 w 1350"/>
                <a:gd name="T73" fmla="*/ 2147483647 h 1518"/>
                <a:gd name="T74" fmla="*/ 2147483647 w 1350"/>
                <a:gd name="T75" fmla="*/ 2147483647 h 1518"/>
                <a:gd name="T76" fmla="*/ 2147483647 w 1350"/>
                <a:gd name="T77" fmla="*/ 2147483647 h 1518"/>
                <a:gd name="T78" fmla="*/ 2147483647 w 1350"/>
                <a:gd name="T79" fmla="*/ 2147483647 h 1518"/>
                <a:gd name="T80" fmla="*/ 2147483647 w 1350"/>
                <a:gd name="T81" fmla="*/ 2147483647 h 1518"/>
                <a:gd name="T82" fmla="*/ 2147483647 w 1350"/>
                <a:gd name="T83" fmla="*/ 2147483647 h 1518"/>
                <a:gd name="T84" fmla="*/ 2147483647 w 1350"/>
                <a:gd name="T85" fmla="*/ 2147483647 h 1518"/>
                <a:gd name="T86" fmla="*/ 2147483647 w 1350"/>
                <a:gd name="T87" fmla="*/ 2147483647 h 1518"/>
                <a:gd name="T88" fmla="*/ 2147483647 w 1350"/>
                <a:gd name="T89" fmla="*/ 2147483647 h 1518"/>
                <a:gd name="T90" fmla="*/ 2147483647 w 1350"/>
                <a:gd name="T91" fmla="*/ 2147483647 h 1518"/>
                <a:gd name="T92" fmla="*/ 2147483647 w 1350"/>
                <a:gd name="T93" fmla="*/ 2147483647 h 1518"/>
                <a:gd name="T94" fmla="*/ 2147483647 w 1350"/>
                <a:gd name="T95" fmla="*/ 2147483647 h 1518"/>
                <a:gd name="T96" fmla="*/ 2147483647 w 1350"/>
                <a:gd name="T97" fmla="*/ 2147483647 h 1518"/>
                <a:gd name="T98" fmla="*/ 2147483647 w 1350"/>
                <a:gd name="T99" fmla="*/ 2147483647 h 1518"/>
                <a:gd name="T100" fmla="*/ 2147483647 w 1350"/>
                <a:gd name="T101" fmla="*/ 2147483647 h 1518"/>
                <a:gd name="T102" fmla="*/ 2147483647 w 1350"/>
                <a:gd name="T103" fmla="*/ 2147483647 h 1518"/>
                <a:gd name="T104" fmla="*/ 2147483647 w 1350"/>
                <a:gd name="T105" fmla="*/ 2147483647 h 1518"/>
                <a:gd name="T106" fmla="*/ 2147483647 w 1350"/>
                <a:gd name="T107" fmla="*/ 2147483647 h 1518"/>
                <a:gd name="T108" fmla="*/ 2147483647 w 1350"/>
                <a:gd name="T109" fmla="*/ 2147483647 h 1518"/>
                <a:gd name="T110" fmla="*/ 2147483647 w 1350"/>
                <a:gd name="T111" fmla="*/ 2147483647 h 1518"/>
                <a:gd name="T112" fmla="*/ 2147483647 w 1350"/>
                <a:gd name="T113" fmla="*/ 2147483647 h 1518"/>
                <a:gd name="T114" fmla="*/ 2147483647 w 1350"/>
                <a:gd name="T115" fmla="*/ 2147483647 h 1518"/>
                <a:gd name="T116" fmla="*/ 2147483647 w 1350"/>
                <a:gd name="T117" fmla="*/ 2147483647 h 1518"/>
                <a:gd name="T118" fmla="*/ 2147483647 w 1350"/>
                <a:gd name="T119" fmla="*/ 2147483647 h 1518"/>
                <a:gd name="T120" fmla="*/ 2147483647 w 1350"/>
                <a:gd name="T121" fmla="*/ 2147483647 h 1518"/>
                <a:gd name="T122" fmla="*/ 2147483647 w 1350"/>
                <a:gd name="T123" fmla="*/ 2147483647 h 1518"/>
                <a:gd name="T124" fmla="*/ 2147483647 w 1350"/>
                <a:gd name="T125" fmla="*/ 2147483647 h 151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50"/>
                <a:gd name="T190" fmla="*/ 0 h 1518"/>
                <a:gd name="T191" fmla="*/ 1350 w 1350"/>
                <a:gd name="T192" fmla="*/ 1518 h 151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50" h="1518">
                  <a:moveTo>
                    <a:pt x="1242" y="468"/>
                  </a:moveTo>
                  <a:lnTo>
                    <a:pt x="1242" y="438"/>
                  </a:lnTo>
                  <a:lnTo>
                    <a:pt x="1260" y="366"/>
                  </a:lnTo>
                  <a:lnTo>
                    <a:pt x="1278" y="354"/>
                  </a:lnTo>
                  <a:lnTo>
                    <a:pt x="1278" y="342"/>
                  </a:lnTo>
                  <a:lnTo>
                    <a:pt x="1302" y="330"/>
                  </a:lnTo>
                  <a:lnTo>
                    <a:pt x="1308" y="318"/>
                  </a:lnTo>
                  <a:lnTo>
                    <a:pt x="1320" y="312"/>
                  </a:lnTo>
                  <a:lnTo>
                    <a:pt x="1332" y="288"/>
                  </a:lnTo>
                  <a:lnTo>
                    <a:pt x="1344" y="276"/>
                  </a:lnTo>
                  <a:lnTo>
                    <a:pt x="1350" y="264"/>
                  </a:lnTo>
                  <a:lnTo>
                    <a:pt x="1350" y="252"/>
                  </a:lnTo>
                  <a:lnTo>
                    <a:pt x="1344" y="246"/>
                  </a:lnTo>
                  <a:lnTo>
                    <a:pt x="1332" y="240"/>
                  </a:lnTo>
                  <a:lnTo>
                    <a:pt x="1320" y="240"/>
                  </a:lnTo>
                  <a:lnTo>
                    <a:pt x="1314" y="234"/>
                  </a:lnTo>
                  <a:lnTo>
                    <a:pt x="1314" y="222"/>
                  </a:lnTo>
                  <a:lnTo>
                    <a:pt x="1320" y="210"/>
                  </a:lnTo>
                  <a:lnTo>
                    <a:pt x="1326" y="204"/>
                  </a:lnTo>
                  <a:lnTo>
                    <a:pt x="1326" y="198"/>
                  </a:lnTo>
                  <a:lnTo>
                    <a:pt x="1320" y="192"/>
                  </a:lnTo>
                  <a:lnTo>
                    <a:pt x="1308" y="186"/>
                  </a:lnTo>
                  <a:lnTo>
                    <a:pt x="1326" y="168"/>
                  </a:lnTo>
                  <a:lnTo>
                    <a:pt x="1320" y="144"/>
                  </a:lnTo>
                  <a:lnTo>
                    <a:pt x="1302" y="144"/>
                  </a:lnTo>
                  <a:lnTo>
                    <a:pt x="1296" y="120"/>
                  </a:lnTo>
                  <a:lnTo>
                    <a:pt x="1290" y="120"/>
                  </a:lnTo>
                  <a:lnTo>
                    <a:pt x="1284" y="114"/>
                  </a:lnTo>
                  <a:lnTo>
                    <a:pt x="1272" y="108"/>
                  </a:lnTo>
                  <a:lnTo>
                    <a:pt x="1260" y="96"/>
                  </a:lnTo>
                  <a:lnTo>
                    <a:pt x="1254" y="84"/>
                  </a:lnTo>
                  <a:lnTo>
                    <a:pt x="1248" y="66"/>
                  </a:lnTo>
                  <a:lnTo>
                    <a:pt x="1236" y="60"/>
                  </a:lnTo>
                  <a:lnTo>
                    <a:pt x="1230" y="54"/>
                  </a:lnTo>
                  <a:lnTo>
                    <a:pt x="1218" y="66"/>
                  </a:lnTo>
                  <a:lnTo>
                    <a:pt x="1218" y="72"/>
                  </a:lnTo>
                  <a:lnTo>
                    <a:pt x="1206" y="84"/>
                  </a:lnTo>
                  <a:lnTo>
                    <a:pt x="1200" y="84"/>
                  </a:lnTo>
                  <a:lnTo>
                    <a:pt x="1188" y="78"/>
                  </a:lnTo>
                  <a:lnTo>
                    <a:pt x="1188" y="72"/>
                  </a:lnTo>
                  <a:lnTo>
                    <a:pt x="1176" y="66"/>
                  </a:lnTo>
                  <a:lnTo>
                    <a:pt x="1164" y="66"/>
                  </a:lnTo>
                  <a:lnTo>
                    <a:pt x="1158" y="72"/>
                  </a:lnTo>
                  <a:lnTo>
                    <a:pt x="1152" y="84"/>
                  </a:lnTo>
                  <a:lnTo>
                    <a:pt x="1146" y="90"/>
                  </a:lnTo>
                  <a:lnTo>
                    <a:pt x="1098" y="66"/>
                  </a:lnTo>
                  <a:lnTo>
                    <a:pt x="1098" y="42"/>
                  </a:lnTo>
                  <a:lnTo>
                    <a:pt x="1068" y="18"/>
                  </a:lnTo>
                  <a:lnTo>
                    <a:pt x="1062" y="6"/>
                  </a:lnTo>
                  <a:lnTo>
                    <a:pt x="1044" y="24"/>
                  </a:lnTo>
                  <a:lnTo>
                    <a:pt x="1026" y="30"/>
                  </a:lnTo>
                  <a:lnTo>
                    <a:pt x="1002" y="30"/>
                  </a:lnTo>
                  <a:lnTo>
                    <a:pt x="990" y="18"/>
                  </a:lnTo>
                  <a:lnTo>
                    <a:pt x="990" y="12"/>
                  </a:lnTo>
                  <a:lnTo>
                    <a:pt x="954" y="18"/>
                  </a:lnTo>
                  <a:lnTo>
                    <a:pt x="942" y="6"/>
                  </a:lnTo>
                  <a:lnTo>
                    <a:pt x="942" y="0"/>
                  </a:lnTo>
                  <a:lnTo>
                    <a:pt x="936" y="0"/>
                  </a:lnTo>
                  <a:lnTo>
                    <a:pt x="918" y="18"/>
                  </a:lnTo>
                  <a:lnTo>
                    <a:pt x="918" y="30"/>
                  </a:lnTo>
                  <a:lnTo>
                    <a:pt x="906" y="30"/>
                  </a:lnTo>
                  <a:lnTo>
                    <a:pt x="900" y="36"/>
                  </a:lnTo>
                  <a:lnTo>
                    <a:pt x="876" y="36"/>
                  </a:lnTo>
                  <a:lnTo>
                    <a:pt x="864" y="24"/>
                  </a:lnTo>
                  <a:lnTo>
                    <a:pt x="840" y="42"/>
                  </a:lnTo>
                  <a:lnTo>
                    <a:pt x="822" y="42"/>
                  </a:lnTo>
                  <a:lnTo>
                    <a:pt x="810" y="54"/>
                  </a:lnTo>
                  <a:lnTo>
                    <a:pt x="798" y="60"/>
                  </a:lnTo>
                  <a:lnTo>
                    <a:pt x="792" y="66"/>
                  </a:lnTo>
                  <a:lnTo>
                    <a:pt x="786" y="66"/>
                  </a:lnTo>
                  <a:lnTo>
                    <a:pt x="762" y="42"/>
                  </a:lnTo>
                  <a:lnTo>
                    <a:pt x="756" y="54"/>
                  </a:lnTo>
                  <a:lnTo>
                    <a:pt x="738" y="72"/>
                  </a:lnTo>
                  <a:lnTo>
                    <a:pt x="738" y="84"/>
                  </a:lnTo>
                  <a:lnTo>
                    <a:pt x="732" y="90"/>
                  </a:lnTo>
                  <a:lnTo>
                    <a:pt x="726" y="102"/>
                  </a:lnTo>
                  <a:lnTo>
                    <a:pt x="720" y="108"/>
                  </a:lnTo>
                  <a:lnTo>
                    <a:pt x="708" y="102"/>
                  </a:lnTo>
                  <a:lnTo>
                    <a:pt x="702" y="96"/>
                  </a:lnTo>
                  <a:lnTo>
                    <a:pt x="690" y="90"/>
                  </a:lnTo>
                  <a:lnTo>
                    <a:pt x="642" y="90"/>
                  </a:lnTo>
                  <a:lnTo>
                    <a:pt x="630" y="84"/>
                  </a:lnTo>
                  <a:lnTo>
                    <a:pt x="624" y="78"/>
                  </a:lnTo>
                  <a:lnTo>
                    <a:pt x="582" y="78"/>
                  </a:lnTo>
                  <a:lnTo>
                    <a:pt x="582" y="48"/>
                  </a:lnTo>
                  <a:lnTo>
                    <a:pt x="576" y="42"/>
                  </a:lnTo>
                  <a:lnTo>
                    <a:pt x="558" y="42"/>
                  </a:lnTo>
                  <a:lnTo>
                    <a:pt x="558" y="30"/>
                  </a:lnTo>
                  <a:lnTo>
                    <a:pt x="546" y="24"/>
                  </a:lnTo>
                  <a:lnTo>
                    <a:pt x="534" y="24"/>
                  </a:lnTo>
                  <a:lnTo>
                    <a:pt x="516" y="18"/>
                  </a:lnTo>
                  <a:lnTo>
                    <a:pt x="504" y="18"/>
                  </a:lnTo>
                  <a:lnTo>
                    <a:pt x="492" y="24"/>
                  </a:lnTo>
                  <a:lnTo>
                    <a:pt x="486" y="30"/>
                  </a:lnTo>
                  <a:lnTo>
                    <a:pt x="486" y="36"/>
                  </a:lnTo>
                  <a:lnTo>
                    <a:pt x="480" y="48"/>
                  </a:lnTo>
                  <a:lnTo>
                    <a:pt x="480" y="54"/>
                  </a:lnTo>
                  <a:lnTo>
                    <a:pt x="474" y="66"/>
                  </a:lnTo>
                  <a:lnTo>
                    <a:pt x="462" y="78"/>
                  </a:lnTo>
                  <a:lnTo>
                    <a:pt x="456" y="78"/>
                  </a:lnTo>
                  <a:lnTo>
                    <a:pt x="444" y="90"/>
                  </a:lnTo>
                  <a:lnTo>
                    <a:pt x="444" y="102"/>
                  </a:lnTo>
                  <a:lnTo>
                    <a:pt x="450" y="102"/>
                  </a:lnTo>
                  <a:lnTo>
                    <a:pt x="450" y="120"/>
                  </a:lnTo>
                  <a:lnTo>
                    <a:pt x="438" y="138"/>
                  </a:lnTo>
                  <a:lnTo>
                    <a:pt x="450" y="150"/>
                  </a:lnTo>
                  <a:lnTo>
                    <a:pt x="450" y="186"/>
                  </a:lnTo>
                  <a:lnTo>
                    <a:pt x="444" y="198"/>
                  </a:lnTo>
                  <a:lnTo>
                    <a:pt x="438" y="216"/>
                  </a:lnTo>
                  <a:lnTo>
                    <a:pt x="426" y="228"/>
                  </a:lnTo>
                  <a:lnTo>
                    <a:pt x="414" y="252"/>
                  </a:lnTo>
                  <a:lnTo>
                    <a:pt x="408" y="258"/>
                  </a:lnTo>
                  <a:lnTo>
                    <a:pt x="408" y="288"/>
                  </a:lnTo>
                  <a:lnTo>
                    <a:pt x="414" y="300"/>
                  </a:lnTo>
                  <a:lnTo>
                    <a:pt x="414" y="324"/>
                  </a:lnTo>
                  <a:lnTo>
                    <a:pt x="396" y="360"/>
                  </a:lnTo>
                  <a:lnTo>
                    <a:pt x="396" y="372"/>
                  </a:lnTo>
                  <a:lnTo>
                    <a:pt x="402" y="378"/>
                  </a:lnTo>
                  <a:lnTo>
                    <a:pt x="408" y="390"/>
                  </a:lnTo>
                  <a:lnTo>
                    <a:pt x="408" y="414"/>
                  </a:lnTo>
                  <a:lnTo>
                    <a:pt x="402" y="426"/>
                  </a:lnTo>
                  <a:lnTo>
                    <a:pt x="390" y="432"/>
                  </a:lnTo>
                  <a:lnTo>
                    <a:pt x="390" y="486"/>
                  </a:lnTo>
                  <a:lnTo>
                    <a:pt x="384" y="492"/>
                  </a:lnTo>
                  <a:lnTo>
                    <a:pt x="372" y="498"/>
                  </a:lnTo>
                  <a:lnTo>
                    <a:pt x="366" y="510"/>
                  </a:lnTo>
                  <a:lnTo>
                    <a:pt x="318" y="534"/>
                  </a:lnTo>
                  <a:lnTo>
                    <a:pt x="312" y="540"/>
                  </a:lnTo>
                  <a:lnTo>
                    <a:pt x="306" y="552"/>
                  </a:lnTo>
                  <a:lnTo>
                    <a:pt x="306" y="588"/>
                  </a:lnTo>
                  <a:lnTo>
                    <a:pt x="282" y="612"/>
                  </a:lnTo>
                  <a:lnTo>
                    <a:pt x="276" y="612"/>
                  </a:lnTo>
                  <a:lnTo>
                    <a:pt x="282" y="714"/>
                  </a:lnTo>
                  <a:lnTo>
                    <a:pt x="252" y="756"/>
                  </a:lnTo>
                  <a:lnTo>
                    <a:pt x="246" y="762"/>
                  </a:lnTo>
                  <a:lnTo>
                    <a:pt x="228" y="762"/>
                  </a:lnTo>
                  <a:lnTo>
                    <a:pt x="216" y="774"/>
                  </a:lnTo>
                  <a:lnTo>
                    <a:pt x="210" y="786"/>
                  </a:lnTo>
                  <a:lnTo>
                    <a:pt x="192" y="804"/>
                  </a:lnTo>
                  <a:lnTo>
                    <a:pt x="186" y="816"/>
                  </a:lnTo>
                  <a:lnTo>
                    <a:pt x="180" y="822"/>
                  </a:lnTo>
                  <a:lnTo>
                    <a:pt x="168" y="828"/>
                  </a:lnTo>
                  <a:lnTo>
                    <a:pt x="150" y="828"/>
                  </a:lnTo>
                  <a:lnTo>
                    <a:pt x="144" y="822"/>
                  </a:lnTo>
                  <a:lnTo>
                    <a:pt x="150" y="810"/>
                  </a:lnTo>
                  <a:lnTo>
                    <a:pt x="150" y="780"/>
                  </a:lnTo>
                  <a:lnTo>
                    <a:pt x="144" y="780"/>
                  </a:lnTo>
                  <a:lnTo>
                    <a:pt x="126" y="798"/>
                  </a:lnTo>
                  <a:lnTo>
                    <a:pt x="102" y="792"/>
                  </a:lnTo>
                  <a:lnTo>
                    <a:pt x="102" y="810"/>
                  </a:lnTo>
                  <a:lnTo>
                    <a:pt x="96" y="822"/>
                  </a:lnTo>
                  <a:lnTo>
                    <a:pt x="90" y="828"/>
                  </a:lnTo>
                  <a:lnTo>
                    <a:pt x="78" y="828"/>
                  </a:lnTo>
                  <a:lnTo>
                    <a:pt x="72" y="822"/>
                  </a:lnTo>
                  <a:lnTo>
                    <a:pt x="72" y="816"/>
                  </a:lnTo>
                  <a:lnTo>
                    <a:pt x="66" y="810"/>
                  </a:lnTo>
                  <a:lnTo>
                    <a:pt x="66" y="804"/>
                  </a:lnTo>
                  <a:lnTo>
                    <a:pt x="54" y="804"/>
                  </a:lnTo>
                  <a:lnTo>
                    <a:pt x="48" y="816"/>
                  </a:lnTo>
                  <a:lnTo>
                    <a:pt x="12" y="846"/>
                  </a:lnTo>
                  <a:lnTo>
                    <a:pt x="18" y="858"/>
                  </a:lnTo>
                  <a:lnTo>
                    <a:pt x="18" y="864"/>
                  </a:lnTo>
                  <a:lnTo>
                    <a:pt x="24" y="876"/>
                  </a:lnTo>
                  <a:lnTo>
                    <a:pt x="24" y="882"/>
                  </a:lnTo>
                  <a:lnTo>
                    <a:pt x="18" y="888"/>
                  </a:lnTo>
                  <a:lnTo>
                    <a:pt x="6" y="894"/>
                  </a:lnTo>
                  <a:lnTo>
                    <a:pt x="0" y="900"/>
                  </a:lnTo>
                  <a:lnTo>
                    <a:pt x="6" y="906"/>
                  </a:lnTo>
                  <a:lnTo>
                    <a:pt x="6" y="912"/>
                  </a:lnTo>
                  <a:lnTo>
                    <a:pt x="18" y="918"/>
                  </a:lnTo>
                  <a:lnTo>
                    <a:pt x="18" y="924"/>
                  </a:lnTo>
                  <a:lnTo>
                    <a:pt x="54" y="906"/>
                  </a:lnTo>
                  <a:lnTo>
                    <a:pt x="78" y="912"/>
                  </a:lnTo>
                  <a:lnTo>
                    <a:pt x="84" y="906"/>
                  </a:lnTo>
                  <a:lnTo>
                    <a:pt x="96" y="912"/>
                  </a:lnTo>
                  <a:lnTo>
                    <a:pt x="120" y="906"/>
                  </a:lnTo>
                  <a:lnTo>
                    <a:pt x="132" y="912"/>
                  </a:lnTo>
                  <a:lnTo>
                    <a:pt x="162" y="912"/>
                  </a:lnTo>
                  <a:lnTo>
                    <a:pt x="174" y="906"/>
                  </a:lnTo>
                  <a:lnTo>
                    <a:pt x="186" y="906"/>
                  </a:lnTo>
                  <a:lnTo>
                    <a:pt x="198" y="912"/>
                  </a:lnTo>
                  <a:lnTo>
                    <a:pt x="228" y="912"/>
                  </a:lnTo>
                  <a:lnTo>
                    <a:pt x="246" y="906"/>
                  </a:lnTo>
                  <a:lnTo>
                    <a:pt x="270" y="906"/>
                  </a:lnTo>
                  <a:lnTo>
                    <a:pt x="276" y="900"/>
                  </a:lnTo>
                  <a:lnTo>
                    <a:pt x="294" y="900"/>
                  </a:lnTo>
                  <a:lnTo>
                    <a:pt x="300" y="906"/>
                  </a:lnTo>
                  <a:lnTo>
                    <a:pt x="306" y="918"/>
                  </a:lnTo>
                  <a:lnTo>
                    <a:pt x="318" y="930"/>
                  </a:lnTo>
                  <a:lnTo>
                    <a:pt x="318" y="972"/>
                  </a:lnTo>
                  <a:lnTo>
                    <a:pt x="336" y="990"/>
                  </a:lnTo>
                  <a:lnTo>
                    <a:pt x="336" y="1014"/>
                  </a:lnTo>
                  <a:lnTo>
                    <a:pt x="330" y="1020"/>
                  </a:lnTo>
                  <a:lnTo>
                    <a:pt x="330" y="1026"/>
                  </a:lnTo>
                  <a:lnTo>
                    <a:pt x="336" y="1032"/>
                  </a:lnTo>
                  <a:lnTo>
                    <a:pt x="342" y="1032"/>
                  </a:lnTo>
                  <a:lnTo>
                    <a:pt x="354" y="1044"/>
                  </a:lnTo>
                  <a:lnTo>
                    <a:pt x="354" y="1056"/>
                  </a:lnTo>
                  <a:lnTo>
                    <a:pt x="360" y="1062"/>
                  </a:lnTo>
                  <a:lnTo>
                    <a:pt x="372" y="1086"/>
                  </a:lnTo>
                  <a:lnTo>
                    <a:pt x="402" y="1086"/>
                  </a:lnTo>
                  <a:lnTo>
                    <a:pt x="414" y="1092"/>
                  </a:lnTo>
                  <a:lnTo>
                    <a:pt x="420" y="1080"/>
                  </a:lnTo>
                  <a:lnTo>
                    <a:pt x="444" y="1080"/>
                  </a:lnTo>
                  <a:lnTo>
                    <a:pt x="456" y="1074"/>
                  </a:lnTo>
                  <a:lnTo>
                    <a:pt x="462" y="1080"/>
                  </a:lnTo>
                  <a:lnTo>
                    <a:pt x="504" y="1074"/>
                  </a:lnTo>
                  <a:lnTo>
                    <a:pt x="504" y="1056"/>
                  </a:lnTo>
                  <a:lnTo>
                    <a:pt x="510" y="1050"/>
                  </a:lnTo>
                  <a:lnTo>
                    <a:pt x="510" y="1044"/>
                  </a:lnTo>
                  <a:lnTo>
                    <a:pt x="522" y="1044"/>
                  </a:lnTo>
                  <a:lnTo>
                    <a:pt x="522" y="1032"/>
                  </a:lnTo>
                  <a:lnTo>
                    <a:pt x="516" y="1020"/>
                  </a:lnTo>
                  <a:lnTo>
                    <a:pt x="510" y="1014"/>
                  </a:lnTo>
                  <a:lnTo>
                    <a:pt x="510" y="1008"/>
                  </a:lnTo>
                  <a:lnTo>
                    <a:pt x="516" y="1002"/>
                  </a:lnTo>
                  <a:lnTo>
                    <a:pt x="564" y="1002"/>
                  </a:lnTo>
                  <a:lnTo>
                    <a:pt x="564" y="996"/>
                  </a:lnTo>
                  <a:lnTo>
                    <a:pt x="576" y="996"/>
                  </a:lnTo>
                  <a:lnTo>
                    <a:pt x="588" y="1002"/>
                  </a:lnTo>
                  <a:lnTo>
                    <a:pt x="588" y="1026"/>
                  </a:lnTo>
                  <a:lnTo>
                    <a:pt x="678" y="1026"/>
                  </a:lnTo>
                  <a:lnTo>
                    <a:pt x="678" y="1050"/>
                  </a:lnTo>
                  <a:lnTo>
                    <a:pt x="666" y="1068"/>
                  </a:lnTo>
                  <a:lnTo>
                    <a:pt x="672" y="1086"/>
                  </a:lnTo>
                  <a:lnTo>
                    <a:pt x="684" y="1098"/>
                  </a:lnTo>
                  <a:lnTo>
                    <a:pt x="690" y="1110"/>
                  </a:lnTo>
                  <a:lnTo>
                    <a:pt x="690" y="1122"/>
                  </a:lnTo>
                  <a:lnTo>
                    <a:pt x="684" y="1134"/>
                  </a:lnTo>
                  <a:lnTo>
                    <a:pt x="678" y="1140"/>
                  </a:lnTo>
                  <a:lnTo>
                    <a:pt x="684" y="1164"/>
                  </a:lnTo>
                  <a:lnTo>
                    <a:pt x="684" y="1176"/>
                  </a:lnTo>
                  <a:lnTo>
                    <a:pt x="678" y="1182"/>
                  </a:lnTo>
                  <a:lnTo>
                    <a:pt x="678" y="1194"/>
                  </a:lnTo>
                  <a:lnTo>
                    <a:pt x="684" y="1212"/>
                  </a:lnTo>
                  <a:lnTo>
                    <a:pt x="696" y="1230"/>
                  </a:lnTo>
                  <a:lnTo>
                    <a:pt x="708" y="1254"/>
                  </a:lnTo>
                  <a:lnTo>
                    <a:pt x="714" y="1260"/>
                  </a:lnTo>
                  <a:lnTo>
                    <a:pt x="714" y="1278"/>
                  </a:lnTo>
                  <a:lnTo>
                    <a:pt x="708" y="1290"/>
                  </a:lnTo>
                  <a:lnTo>
                    <a:pt x="708" y="1302"/>
                  </a:lnTo>
                  <a:lnTo>
                    <a:pt x="702" y="1308"/>
                  </a:lnTo>
                  <a:lnTo>
                    <a:pt x="702" y="1332"/>
                  </a:lnTo>
                  <a:lnTo>
                    <a:pt x="708" y="1338"/>
                  </a:lnTo>
                  <a:lnTo>
                    <a:pt x="714" y="1338"/>
                  </a:lnTo>
                  <a:lnTo>
                    <a:pt x="720" y="1344"/>
                  </a:lnTo>
                  <a:lnTo>
                    <a:pt x="726" y="1326"/>
                  </a:lnTo>
                  <a:lnTo>
                    <a:pt x="756" y="1332"/>
                  </a:lnTo>
                  <a:lnTo>
                    <a:pt x="780" y="1326"/>
                  </a:lnTo>
                  <a:lnTo>
                    <a:pt x="780" y="1314"/>
                  </a:lnTo>
                  <a:lnTo>
                    <a:pt x="792" y="1314"/>
                  </a:lnTo>
                  <a:lnTo>
                    <a:pt x="804" y="1326"/>
                  </a:lnTo>
                  <a:lnTo>
                    <a:pt x="828" y="1326"/>
                  </a:lnTo>
                  <a:lnTo>
                    <a:pt x="834" y="1308"/>
                  </a:lnTo>
                  <a:lnTo>
                    <a:pt x="840" y="1320"/>
                  </a:lnTo>
                  <a:lnTo>
                    <a:pt x="858" y="1320"/>
                  </a:lnTo>
                  <a:lnTo>
                    <a:pt x="858" y="1350"/>
                  </a:lnTo>
                  <a:lnTo>
                    <a:pt x="864" y="1356"/>
                  </a:lnTo>
                  <a:lnTo>
                    <a:pt x="882" y="1356"/>
                  </a:lnTo>
                  <a:lnTo>
                    <a:pt x="882" y="1350"/>
                  </a:lnTo>
                  <a:lnTo>
                    <a:pt x="876" y="1344"/>
                  </a:lnTo>
                  <a:lnTo>
                    <a:pt x="918" y="1338"/>
                  </a:lnTo>
                  <a:lnTo>
                    <a:pt x="918" y="1356"/>
                  </a:lnTo>
                  <a:lnTo>
                    <a:pt x="924" y="1368"/>
                  </a:lnTo>
                  <a:lnTo>
                    <a:pt x="930" y="1374"/>
                  </a:lnTo>
                  <a:lnTo>
                    <a:pt x="948" y="1386"/>
                  </a:lnTo>
                  <a:lnTo>
                    <a:pt x="984" y="1392"/>
                  </a:lnTo>
                  <a:lnTo>
                    <a:pt x="1014" y="1398"/>
                  </a:lnTo>
                  <a:lnTo>
                    <a:pt x="1032" y="1398"/>
                  </a:lnTo>
                  <a:lnTo>
                    <a:pt x="1032" y="1392"/>
                  </a:lnTo>
                  <a:lnTo>
                    <a:pt x="1038" y="1386"/>
                  </a:lnTo>
                  <a:lnTo>
                    <a:pt x="1038" y="1368"/>
                  </a:lnTo>
                  <a:lnTo>
                    <a:pt x="1044" y="1362"/>
                  </a:lnTo>
                  <a:lnTo>
                    <a:pt x="1050" y="1362"/>
                  </a:lnTo>
                  <a:lnTo>
                    <a:pt x="1062" y="1374"/>
                  </a:lnTo>
                  <a:lnTo>
                    <a:pt x="1062" y="1386"/>
                  </a:lnTo>
                  <a:lnTo>
                    <a:pt x="1068" y="1392"/>
                  </a:lnTo>
                  <a:lnTo>
                    <a:pt x="1080" y="1392"/>
                  </a:lnTo>
                  <a:lnTo>
                    <a:pt x="1080" y="1404"/>
                  </a:lnTo>
                  <a:lnTo>
                    <a:pt x="1074" y="1404"/>
                  </a:lnTo>
                  <a:lnTo>
                    <a:pt x="1074" y="1416"/>
                  </a:lnTo>
                  <a:lnTo>
                    <a:pt x="1104" y="1416"/>
                  </a:lnTo>
                  <a:lnTo>
                    <a:pt x="1110" y="1422"/>
                  </a:lnTo>
                  <a:lnTo>
                    <a:pt x="1110" y="1434"/>
                  </a:lnTo>
                  <a:lnTo>
                    <a:pt x="1122" y="1434"/>
                  </a:lnTo>
                  <a:lnTo>
                    <a:pt x="1128" y="1428"/>
                  </a:lnTo>
                  <a:lnTo>
                    <a:pt x="1134" y="1428"/>
                  </a:lnTo>
                  <a:lnTo>
                    <a:pt x="1140" y="1434"/>
                  </a:lnTo>
                  <a:lnTo>
                    <a:pt x="1146" y="1446"/>
                  </a:lnTo>
                  <a:lnTo>
                    <a:pt x="1146" y="1452"/>
                  </a:lnTo>
                  <a:lnTo>
                    <a:pt x="1152" y="1464"/>
                  </a:lnTo>
                  <a:lnTo>
                    <a:pt x="1164" y="1464"/>
                  </a:lnTo>
                  <a:lnTo>
                    <a:pt x="1176" y="1476"/>
                  </a:lnTo>
                  <a:lnTo>
                    <a:pt x="1176" y="1488"/>
                  </a:lnTo>
                  <a:lnTo>
                    <a:pt x="1182" y="1500"/>
                  </a:lnTo>
                  <a:lnTo>
                    <a:pt x="1182" y="1512"/>
                  </a:lnTo>
                  <a:lnTo>
                    <a:pt x="1200" y="1512"/>
                  </a:lnTo>
                  <a:lnTo>
                    <a:pt x="1218" y="1500"/>
                  </a:lnTo>
                  <a:lnTo>
                    <a:pt x="1224" y="1512"/>
                  </a:lnTo>
                  <a:lnTo>
                    <a:pt x="1224" y="1518"/>
                  </a:lnTo>
                  <a:lnTo>
                    <a:pt x="1230" y="1518"/>
                  </a:lnTo>
                  <a:lnTo>
                    <a:pt x="1236" y="1500"/>
                  </a:lnTo>
                  <a:lnTo>
                    <a:pt x="1242" y="1464"/>
                  </a:lnTo>
                  <a:lnTo>
                    <a:pt x="1242" y="1416"/>
                  </a:lnTo>
                  <a:lnTo>
                    <a:pt x="1218" y="1416"/>
                  </a:lnTo>
                  <a:lnTo>
                    <a:pt x="1218" y="1434"/>
                  </a:lnTo>
                  <a:lnTo>
                    <a:pt x="1212" y="1440"/>
                  </a:lnTo>
                  <a:lnTo>
                    <a:pt x="1206" y="1440"/>
                  </a:lnTo>
                  <a:lnTo>
                    <a:pt x="1194" y="1434"/>
                  </a:lnTo>
                  <a:lnTo>
                    <a:pt x="1164" y="1404"/>
                  </a:lnTo>
                  <a:lnTo>
                    <a:pt x="1158" y="1404"/>
                  </a:lnTo>
                  <a:lnTo>
                    <a:pt x="1158" y="1398"/>
                  </a:lnTo>
                  <a:lnTo>
                    <a:pt x="1152" y="1398"/>
                  </a:lnTo>
                  <a:lnTo>
                    <a:pt x="1140" y="1386"/>
                  </a:lnTo>
                  <a:lnTo>
                    <a:pt x="1140" y="1362"/>
                  </a:lnTo>
                  <a:lnTo>
                    <a:pt x="1146" y="1350"/>
                  </a:lnTo>
                  <a:lnTo>
                    <a:pt x="1152" y="1332"/>
                  </a:lnTo>
                  <a:lnTo>
                    <a:pt x="1158" y="1320"/>
                  </a:lnTo>
                  <a:lnTo>
                    <a:pt x="1170" y="1308"/>
                  </a:lnTo>
                  <a:lnTo>
                    <a:pt x="1170" y="1254"/>
                  </a:lnTo>
                  <a:lnTo>
                    <a:pt x="1164" y="1236"/>
                  </a:lnTo>
                  <a:lnTo>
                    <a:pt x="1164" y="1212"/>
                  </a:lnTo>
                  <a:lnTo>
                    <a:pt x="1158" y="1206"/>
                  </a:lnTo>
                  <a:lnTo>
                    <a:pt x="1158" y="1200"/>
                  </a:lnTo>
                  <a:lnTo>
                    <a:pt x="1152" y="1194"/>
                  </a:lnTo>
                  <a:lnTo>
                    <a:pt x="1152" y="1188"/>
                  </a:lnTo>
                  <a:lnTo>
                    <a:pt x="1140" y="1176"/>
                  </a:lnTo>
                  <a:lnTo>
                    <a:pt x="1146" y="1176"/>
                  </a:lnTo>
                  <a:lnTo>
                    <a:pt x="1152" y="1170"/>
                  </a:lnTo>
                  <a:lnTo>
                    <a:pt x="1164" y="1164"/>
                  </a:lnTo>
                  <a:lnTo>
                    <a:pt x="1182" y="1146"/>
                  </a:lnTo>
                  <a:lnTo>
                    <a:pt x="1182" y="1116"/>
                  </a:lnTo>
                  <a:lnTo>
                    <a:pt x="1194" y="1116"/>
                  </a:lnTo>
                  <a:lnTo>
                    <a:pt x="1212" y="1110"/>
                  </a:lnTo>
                  <a:lnTo>
                    <a:pt x="1230" y="1110"/>
                  </a:lnTo>
                  <a:lnTo>
                    <a:pt x="1242" y="1104"/>
                  </a:lnTo>
                  <a:lnTo>
                    <a:pt x="1260" y="1104"/>
                  </a:lnTo>
                  <a:lnTo>
                    <a:pt x="1284" y="1092"/>
                  </a:lnTo>
                  <a:lnTo>
                    <a:pt x="1290" y="1092"/>
                  </a:lnTo>
                  <a:lnTo>
                    <a:pt x="1290" y="1086"/>
                  </a:lnTo>
                  <a:lnTo>
                    <a:pt x="1284" y="1074"/>
                  </a:lnTo>
                  <a:lnTo>
                    <a:pt x="1272" y="1062"/>
                  </a:lnTo>
                  <a:lnTo>
                    <a:pt x="1272" y="1014"/>
                  </a:lnTo>
                  <a:lnTo>
                    <a:pt x="1248" y="1014"/>
                  </a:lnTo>
                  <a:lnTo>
                    <a:pt x="1248" y="1008"/>
                  </a:lnTo>
                  <a:lnTo>
                    <a:pt x="1242" y="996"/>
                  </a:lnTo>
                  <a:lnTo>
                    <a:pt x="1242" y="978"/>
                  </a:lnTo>
                  <a:lnTo>
                    <a:pt x="1236" y="972"/>
                  </a:lnTo>
                  <a:lnTo>
                    <a:pt x="1224" y="966"/>
                  </a:lnTo>
                  <a:lnTo>
                    <a:pt x="1218" y="960"/>
                  </a:lnTo>
                  <a:lnTo>
                    <a:pt x="1206" y="936"/>
                  </a:lnTo>
                  <a:lnTo>
                    <a:pt x="1206" y="906"/>
                  </a:lnTo>
                  <a:lnTo>
                    <a:pt x="1212" y="900"/>
                  </a:lnTo>
                  <a:lnTo>
                    <a:pt x="1212" y="876"/>
                  </a:lnTo>
                  <a:lnTo>
                    <a:pt x="1200" y="864"/>
                  </a:lnTo>
                  <a:lnTo>
                    <a:pt x="1194" y="852"/>
                  </a:lnTo>
                  <a:lnTo>
                    <a:pt x="1194" y="804"/>
                  </a:lnTo>
                  <a:lnTo>
                    <a:pt x="1200" y="780"/>
                  </a:lnTo>
                  <a:lnTo>
                    <a:pt x="1200" y="750"/>
                  </a:lnTo>
                  <a:lnTo>
                    <a:pt x="1212" y="738"/>
                  </a:lnTo>
                  <a:lnTo>
                    <a:pt x="1218" y="744"/>
                  </a:lnTo>
                  <a:lnTo>
                    <a:pt x="1218" y="732"/>
                  </a:lnTo>
                  <a:lnTo>
                    <a:pt x="1224" y="726"/>
                  </a:lnTo>
                  <a:lnTo>
                    <a:pt x="1224" y="696"/>
                  </a:lnTo>
                  <a:lnTo>
                    <a:pt x="1218" y="690"/>
                  </a:lnTo>
                  <a:lnTo>
                    <a:pt x="1206" y="684"/>
                  </a:lnTo>
                  <a:lnTo>
                    <a:pt x="1200" y="678"/>
                  </a:lnTo>
                  <a:lnTo>
                    <a:pt x="1188" y="648"/>
                  </a:lnTo>
                  <a:lnTo>
                    <a:pt x="1182" y="642"/>
                  </a:lnTo>
                  <a:lnTo>
                    <a:pt x="1176" y="642"/>
                  </a:lnTo>
                  <a:lnTo>
                    <a:pt x="1176" y="636"/>
                  </a:lnTo>
                  <a:lnTo>
                    <a:pt x="1182" y="624"/>
                  </a:lnTo>
                  <a:lnTo>
                    <a:pt x="1194" y="618"/>
                  </a:lnTo>
                  <a:lnTo>
                    <a:pt x="1206" y="606"/>
                  </a:lnTo>
                  <a:lnTo>
                    <a:pt x="1206" y="594"/>
                  </a:lnTo>
                  <a:lnTo>
                    <a:pt x="1200" y="588"/>
                  </a:lnTo>
                  <a:lnTo>
                    <a:pt x="1194" y="576"/>
                  </a:lnTo>
                  <a:lnTo>
                    <a:pt x="1194" y="570"/>
                  </a:lnTo>
                  <a:lnTo>
                    <a:pt x="1200" y="564"/>
                  </a:lnTo>
                  <a:lnTo>
                    <a:pt x="1224" y="552"/>
                  </a:lnTo>
                  <a:lnTo>
                    <a:pt x="1230" y="546"/>
                  </a:lnTo>
                  <a:lnTo>
                    <a:pt x="1236" y="546"/>
                  </a:lnTo>
                  <a:lnTo>
                    <a:pt x="1242" y="468"/>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77" name="Puerto Rico" descr="© INSCALE GmbH, 05.05.2010&#10;http://www.presentationload.com/">
              <a:extLst>
                <a:ext uri="{FF2B5EF4-FFF2-40B4-BE49-F238E27FC236}">
                  <a16:creationId xmlns:a16="http://schemas.microsoft.com/office/drawing/2014/main" id="{D6B3F6A0-D446-4F9E-B6A9-4F0FAFF1C670}"/>
                </a:ext>
              </a:extLst>
            </p:cNvPr>
            <p:cNvSpPr>
              <a:spLocks/>
            </p:cNvSpPr>
            <p:nvPr/>
          </p:nvSpPr>
          <p:spPr bwMode="gray">
            <a:xfrm>
              <a:off x="2260276" y="3663053"/>
              <a:ext cx="54880" cy="23521"/>
            </a:xfrm>
            <a:custGeom>
              <a:avLst/>
              <a:gdLst>
                <a:gd name="T0" fmla="*/ 2147483647 w 138"/>
                <a:gd name="T1" fmla="*/ 2147483647 h 60"/>
                <a:gd name="T2" fmla="*/ 2147483647 w 138"/>
                <a:gd name="T3" fmla="*/ 2147483647 h 60"/>
                <a:gd name="T4" fmla="*/ 2147483647 w 138"/>
                <a:gd name="T5" fmla="*/ 0 h 60"/>
                <a:gd name="T6" fmla="*/ 2147483647 w 138"/>
                <a:gd name="T7" fmla="*/ 0 h 60"/>
                <a:gd name="T8" fmla="*/ 2147483647 w 138"/>
                <a:gd name="T9" fmla="*/ 2147483647 h 60"/>
                <a:gd name="T10" fmla="*/ 0 w 138"/>
                <a:gd name="T11" fmla="*/ 2147483647 h 60"/>
                <a:gd name="T12" fmla="*/ 0 w 138"/>
                <a:gd name="T13" fmla="*/ 2147483647 h 60"/>
                <a:gd name="T14" fmla="*/ 2147483647 w 138"/>
                <a:gd name="T15" fmla="*/ 2147483647 h 60"/>
                <a:gd name="T16" fmla="*/ 2147483647 w 138"/>
                <a:gd name="T17" fmla="*/ 2147483647 h 60"/>
                <a:gd name="T18" fmla="*/ 2147483647 w 138"/>
                <a:gd name="T19" fmla="*/ 2147483647 h 60"/>
                <a:gd name="T20" fmla="*/ 2147483647 w 138"/>
                <a:gd name="T21" fmla="*/ 2147483647 h 60"/>
                <a:gd name="T22" fmla="*/ 2147483647 w 138"/>
                <a:gd name="T23" fmla="*/ 2147483647 h 60"/>
                <a:gd name="T24" fmla="*/ 2147483647 w 138"/>
                <a:gd name="T25" fmla="*/ 2147483647 h 60"/>
                <a:gd name="T26" fmla="*/ 2147483647 w 138"/>
                <a:gd name="T27" fmla="*/ 2147483647 h 60"/>
                <a:gd name="T28" fmla="*/ 2147483647 w 138"/>
                <a:gd name="T29" fmla="*/ 2147483647 h 60"/>
                <a:gd name="T30" fmla="*/ 2147483647 w 138"/>
                <a:gd name="T31" fmla="*/ 2147483647 h 60"/>
                <a:gd name="T32" fmla="*/ 2147483647 w 138"/>
                <a:gd name="T33" fmla="*/ 2147483647 h 60"/>
                <a:gd name="T34" fmla="*/ 2147483647 w 138"/>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8"/>
                <a:gd name="T55" fmla="*/ 0 h 60"/>
                <a:gd name="T56" fmla="*/ 138 w 138"/>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8" h="60">
                  <a:moveTo>
                    <a:pt x="84" y="12"/>
                  </a:moveTo>
                  <a:lnTo>
                    <a:pt x="72" y="12"/>
                  </a:lnTo>
                  <a:lnTo>
                    <a:pt x="36" y="0"/>
                  </a:lnTo>
                  <a:lnTo>
                    <a:pt x="12" y="0"/>
                  </a:lnTo>
                  <a:lnTo>
                    <a:pt x="6" y="12"/>
                  </a:lnTo>
                  <a:lnTo>
                    <a:pt x="0" y="18"/>
                  </a:lnTo>
                  <a:lnTo>
                    <a:pt x="0" y="48"/>
                  </a:lnTo>
                  <a:lnTo>
                    <a:pt x="36" y="60"/>
                  </a:lnTo>
                  <a:lnTo>
                    <a:pt x="48" y="48"/>
                  </a:lnTo>
                  <a:lnTo>
                    <a:pt x="102" y="48"/>
                  </a:lnTo>
                  <a:lnTo>
                    <a:pt x="120" y="36"/>
                  </a:lnTo>
                  <a:lnTo>
                    <a:pt x="132" y="30"/>
                  </a:lnTo>
                  <a:lnTo>
                    <a:pt x="138" y="18"/>
                  </a:lnTo>
                  <a:lnTo>
                    <a:pt x="138" y="12"/>
                  </a:lnTo>
                  <a:lnTo>
                    <a:pt x="132" y="6"/>
                  </a:lnTo>
                  <a:lnTo>
                    <a:pt x="114" y="6"/>
                  </a:lnTo>
                  <a:lnTo>
                    <a:pt x="102" y="12"/>
                  </a:lnTo>
                  <a:lnTo>
                    <a:pt x="84" y="1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78" name="Portugal" descr="© INSCALE GmbH, 05.05.2010&#10;http://www.presentationload.com/">
              <a:extLst>
                <a:ext uri="{FF2B5EF4-FFF2-40B4-BE49-F238E27FC236}">
                  <a16:creationId xmlns:a16="http://schemas.microsoft.com/office/drawing/2014/main" id="{4C681048-F8FF-4285-AC18-6307B0E55572}"/>
                </a:ext>
              </a:extLst>
            </p:cNvPr>
            <p:cNvSpPr>
              <a:spLocks/>
            </p:cNvSpPr>
            <p:nvPr/>
          </p:nvSpPr>
          <p:spPr bwMode="gray">
            <a:xfrm>
              <a:off x="3900428" y="2905698"/>
              <a:ext cx="90945" cy="163074"/>
            </a:xfrm>
            <a:custGeom>
              <a:avLst/>
              <a:gdLst>
                <a:gd name="T0" fmla="*/ 2147483647 w 228"/>
                <a:gd name="T1" fmla="*/ 2147483647 h 414"/>
                <a:gd name="T2" fmla="*/ 2147483647 w 228"/>
                <a:gd name="T3" fmla="*/ 2147483647 h 414"/>
                <a:gd name="T4" fmla="*/ 2147483647 w 228"/>
                <a:gd name="T5" fmla="*/ 2147483647 h 414"/>
                <a:gd name="T6" fmla="*/ 2147483647 w 228"/>
                <a:gd name="T7" fmla="*/ 2147483647 h 414"/>
                <a:gd name="T8" fmla="*/ 2147483647 w 228"/>
                <a:gd name="T9" fmla="*/ 2147483647 h 414"/>
                <a:gd name="T10" fmla="*/ 2147483647 w 228"/>
                <a:gd name="T11" fmla="*/ 2147483647 h 414"/>
                <a:gd name="T12" fmla="*/ 2147483647 w 228"/>
                <a:gd name="T13" fmla="*/ 0 h 414"/>
                <a:gd name="T14" fmla="*/ 2147483647 w 228"/>
                <a:gd name="T15" fmla="*/ 2147483647 h 414"/>
                <a:gd name="T16" fmla="*/ 2147483647 w 228"/>
                <a:gd name="T17" fmla="*/ 2147483647 h 414"/>
                <a:gd name="T18" fmla="*/ 2147483647 w 228"/>
                <a:gd name="T19" fmla="*/ 2147483647 h 414"/>
                <a:gd name="T20" fmla="*/ 2147483647 w 228"/>
                <a:gd name="T21" fmla="*/ 2147483647 h 414"/>
                <a:gd name="T22" fmla="*/ 2147483647 w 228"/>
                <a:gd name="T23" fmla="*/ 2147483647 h 414"/>
                <a:gd name="T24" fmla="*/ 2147483647 w 228"/>
                <a:gd name="T25" fmla="*/ 2147483647 h 414"/>
                <a:gd name="T26" fmla="*/ 0 w 228"/>
                <a:gd name="T27" fmla="*/ 2147483647 h 414"/>
                <a:gd name="T28" fmla="*/ 2147483647 w 228"/>
                <a:gd name="T29" fmla="*/ 2147483647 h 414"/>
                <a:gd name="T30" fmla="*/ 2147483647 w 228"/>
                <a:gd name="T31" fmla="*/ 2147483647 h 414"/>
                <a:gd name="T32" fmla="*/ 2147483647 w 228"/>
                <a:gd name="T33" fmla="*/ 2147483647 h 414"/>
                <a:gd name="T34" fmla="*/ 2147483647 w 228"/>
                <a:gd name="T35" fmla="*/ 2147483647 h 414"/>
                <a:gd name="T36" fmla="*/ 2147483647 w 228"/>
                <a:gd name="T37" fmla="*/ 2147483647 h 414"/>
                <a:gd name="T38" fmla="*/ 2147483647 w 228"/>
                <a:gd name="T39" fmla="*/ 2147483647 h 414"/>
                <a:gd name="T40" fmla="*/ 2147483647 w 228"/>
                <a:gd name="T41" fmla="*/ 2147483647 h 414"/>
                <a:gd name="T42" fmla="*/ 2147483647 w 228"/>
                <a:gd name="T43" fmla="*/ 2147483647 h 414"/>
                <a:gd name="T44" fmla="*/ 2147483647 w 228"/>
                <a:gd name="T45" fmla="*/ 2147483647 h 414"/>
                <a:gd name="T46" fmla="*/ 2147483647 w 228"/>
                <a:gd name="T47" fmla="*/ 2147483647 h 414"/>
                <a:gd name="T48" fmla="*/ 2147483647 w 228"/>
                <a:gd name="T49" fmla="*/ 2147483647 h 414"/>
                <a:gd name="T50" fmla="*/ 2147483647 w 228"/>
                <a:gd name="T51" fmla="*/ 2147483647 h 414"/>
                <a:gd name="T52" fmla="*/ 2147483647 w 228"/>
                <a:gd name="T53" fmla="*/ 2147483647 h 414"/>
                <a:gd name="T54" fmla="*/ 2147483647 w 228"/>
                <a:gd name="T55" fmla="*/ 2147483647 h 414"/>
                <a:gd name="T56" fmla="*/ 2147483647 w 228"/>
                <a:gd name="T57" fmla="*/ 2147483647 h 414"/>
                <a:gd name="T58" fmla="*/ 2147483647 w 228"/>
                <a:gd name="T59" fmla="*/ 2147483647 h 414"/>
                <a:gd name="T60" fmla="*/ 2147483647 w 228"/>
                <a:gd name="T61" fmla="*/ 2147483647 h 414"/>
                <a:gd name="T62" fmla="*/ 2147483647 w 228"/>
                <a:gd name="T63" fmla="*/ 2147483647 h 414"/>
                <a:gd name="T64" fmla="*/ 2147483647 w 228"/>
                <a:gd name="T65" fmla="*/ 2147483647 h 414"/>
                <a:gd name="T66" fmla="*/ 2147483647 w 228"/>
                <a:gd name="T67" fmla="*/ 2147483647 h 414"/>
                <a:gd name="T68" fmla="*/ 2147483647 w 228"/>
                <a:gd name="T69" fmla="*/ 2147483647 h 414"/>
                <a:gd name="T70" fmla="*/ 2147483647 w 228"/>
                <a:gd name="T71" fmla="*/ 2147483647 h 414"/>
                <a:gd name="T72" fmla="*/ 2147483647 w 228"/>
                <a:gd name="T73" fmla="*/ 2147483647 h 414"/>
                <a:gd name="T74" fmla="*/ 2147483647 w 228"/>
                <a:gd name="T75" fmla="*/ 2147483647 h 414"/>
                <a:gd name="T76" fmla="*/ 2147483647 w 228"/>
                <a:gd name="T77" fmla="*/ 2147483647 h 414"/>
                <a:gd name="T78" fmla="*/ 2147483647 w 228"/>
                <a:gd name="T79" fmla="*/ 2147483647 h 414"/>
                <a:gd name="T80" fmla="*/ 2147483647 w 228"/>
                <a:gd name="T81" fmla="*/ 2147483647 h 414"/>
                <a:gd name="T82" fmla="*/ 2147483647 w 228"/>
                <a:gd name="T83" fmla="*/ 2147483647 h 4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414"/>
                <a:gd name="T128" fmla="*/ 228 w 228"/>
                <a:gd name="T129" fmla="*/ 414 h 4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414">
                  <a:moveTo>
                    <a:pt x="210" y="30"/>
                  </a:moveTo>
                  <a:lnTo>
                    <a:pt x="210" y="12"/>
                  </a:lnTo>
                  <a:lnTo>
                    <a:pt x="156" y="12"/>
                  </a:lnTo>
                  <a:lnTo>
                    <a:pt x="156" y="18"/>
                  </a:lnTo>
                  <a:lnTo>
                    <a:pt x="150" y="24"/>
                  </a:lnTo>
                  <a:lnTo>
                    <a:pt x="138" y="24"/>
                  </a:lnTo>
                  <a:lnTo>
                    <a:pt x="132" y="18"/>
                  </a:lnTo>
                  <a:lnTo>
                    <a:pt x="114" y="18"/>
                  </a:lnTo>
                  <a:lnTo>
                    <a:pt x="108" y="24"/>
                  </a:lnTo>
                  <a:lnTo>
                    <a:pt x="96" y="24"/>
                  </a:lnTo>
                  <a:lnTo>
                    <a:pt x="96" y="18"/>
                  </a:lnTo>
                  <a:lnTo>
                    <a:pt x="102" y="18"/>
                  </a:lnTo>
                  <a:lnTo>
                    <a:pt x="114" y="6"/>
                  </a:lnTo>
                  <a:lnTo>
                    <a:pt x="114" y="0"/>
                  </a:lnTo>
                  <a:lnTo>
                    <a:pt x="90" y="0"/>
                  </a:lnTo>
                  <a:lnTo>
                    <a:pt x="66" y="12"/>
                  </a:lnTo>
                  <a:lnTo>
                    <a:pt x="60" y="18"/>
                  </a:lnTo>
                  <a:lnTo>
                    <a:pt x="60" y="36"/>
                  </a:lnTo>
                  <a:lnTo>
                    <a:pt x="66" y="60"/>
                  </a:lnTo>
                  <a:lnTo>
                    <a:pt x="66" y="78"/>
                  </a:lnTo>
                  <a:lnTo>
                    <a:pt x="60" y="108"/>
                  </a:lnTo>
                  <a:lnTo>
                    <a:pt x="48" y="138"/>
                  </a:lnTo>
                  <a:lnTo>
                    <a:pt x="30" y="174"/>
                  </a:lnTo>
                  <a:lnTo>
                    <a:pt x="12" y="222"/>
                  </a:lnTo>
                  <a:lnTo>
                    <a:pt x="6" y="234"/>
                  </a:lnTo>
                  <a:lnTo>
                    <a:pt x="6" y="240"/>
                  </a:lnTo>
                  <a:lnTo>
                    <a:pt x="0" y="252"/>
                  </a:lnTo>
                  <a:lnTo>
                    <a:pt x="0" y="264"/>
                  </a:lnTo>
                  <a:lnTo>
                    <a:pt x="18" y="282"/>
                  </a:lnTo>
                  <a:lnTo>
                    <a:pt x="30" y="288"/>
                  </a:lnTo>
                  <a:lnTo>
                    <a:pt x="42" y="342"/>
                  </a:lnTo>
                  <a:lnTo>
                    <a:pt x="42" y="348"/>
                  </a:lnTo>
                  <a:lnTo>
                    <a:pt x="36" y="354"/>
                  </a:lnTo>
                  <a:lnTo>
                    <a:pt x="36" y="366"/>
                  </a:lnTo>
                  <a:lnTo>
                    <a:pt x="30" y="384"/>
                  </a:lnTo>
                  <a:lnTo>
                    <a:pt x="24" y="396"/>
                  </a:lnTo>
                  <a:lnTo>
                    <a:pt x="24" y="408"/>
                  </a:lnTo>
                  <a:lnTo>
                    <a:pt x="48" y="408"/>
                  </a:lnTo>
                  <a:lnTo>
                    <a:pt x="60" y="402"/>
                  </a:lnTo>
                  <a:lnTo>
                    <a:pt x="72" y="402"/>
                  </a:lnTo>
                  <a:lnTo>
                    <a:pt x="84" y="414"/>
                  </a:lnTo>
                  <a:lnTo>
                    <a:pt x="96" y="414"/>
                  </a:lnTo>
                  <a:lnTo>
                    <a:pt x="108" y="408"/>
                  </a:lnTo>
                  <a:lnTo>
                    <a:pt x="114" y="402"/>
                  </a:lnTo>
                  <a:lnTo>
                    <a:pt x="120" y="402"/>
                  </a:lnTo>
                  <a:lnTo>
                    <a:pt x="126" y="396"/>
                  </a:lnTo>
                  <a:lnTo>
                    <a:pt x="126" y="348"/>
                  </a:lnTo>
                  <a:lnTo>
                    <a:pt x="132" y="342"/>
                  </a:lnTo>
                  <a:lnTo>
                    <a:pt x="138" y="330"/>
                  </a:lnTo>
                  <a:lnTo>
                    <a:pt x="150" y="330"/>
                  </a:lnTo>
                  <a:lnTo>
                    <a:pt x="162" y="318"/>
                  </a:lnTo>
                  <a:lnTo>
                    <a:pt x="162" y="312"/>
                  </a:lnTo>
                  <a:lnTo>
                    <a:pt x="150" y="312"/>
                  </a:lnTo>
                  <a:lnTo>
                    <a:pt x="144" y="306"/>
                  </a:lnTo>
                  <a:lnTo>
                    <a:pt x="138" y="294"/>
                  </a:lnTo>
                  <a:lnTo>
                    <a:pt x="138" y="288"/>
                  </a:lnTo>
                  <a:lnTo>
                    <a:pt x="132" y="282"/>
                  </a:lnTo>
                  <a:lnTo>
                    <a:pt x="132" y="276"/>
                  </a:lnTo>
                  <a:lnTo>
                    <a:pt x="144" y="264"/>
                  </a:lnTo>
                  <a:lnTo>
                    <a:pt x="156" y="258"/>
                  </a:lnTo>
                  <a:lnTo>
                    <a:pt x="168" y="246"/>
                  </a:lnTo>
                  <a:lnTo>
                    <a:pt x="168" y="240"/>
                  </a:lnTo>
                  <a:lnTo>
                    <a:pt x="156" y="234"/>
                  </a:lnTo>
                  <a:lnTo>
                    <a:pt x="150" y="228"/>
                  </a:lnTo>
                  <a:lnTo>
                    <a:pt x="150" y="216"/>
                  </a:lnTo>
                  <a:lnTo>
                    <a:pt x="126" y="192"/>
                  </a:lnTo>
                  <a:lnTo>
                    <a:pt x="162" y="192"/>
                  </a:lnTo>
                  <a:lnTo>
                    <a:pt x="174" y="180"/>
                  </a:lnTo>
                  <a:lnTo>
                    <a:pt x="174" y="168"/>
                  </a:lnTo>
                  <a:lnTo>
                    <a:pt x="168" y="162"/>
                  </a:lnTo>
                  <a:lnTo>
                    <a:pt x="168" y="150"/>
                  </a:lnTo>
                  <a:lnTo>
                    <a:pt x="174" y="144"/>
                  </a:lnTo>
                  <a:lnTo>
                    <a:pt x="180" y="144"/>
                  </a:lnTo>
                  <a:lnTo>
                    <a:pt x="180" y="126"/>
                  </a:lnTo>
                  <a:lnTo>
                    <a:pt x="186" y="108"/>
                  </a:lnTo>
                  <a:lnTo>
                    <a:pt x="186" y="96"/>
                  </a:lnTo>
                  <a:lnTo>
                    <a:pt x="180" y="90"/>
                  </a:lnTo>
                  <a:lnTo>
                    <a:pt x="174" y="90"/>
                  </a:lnTo>
                  <a:lnTo>
                    <a:pt x="174" y="84"/>
                  </a:lnTo>
                  <a:lnTo>
                    <a:pt x="180" y="78"/>
                  </a:lnTo>
                  <a:lnTo>
                    <a:pt x="204" y="66"/>
                  </a:lnTo>
                  <a:lnTo>
                    <a:pt x="228" y="42"/>
                  </a:lnTo>
                  <a:lnTo>
                    <a:pt x="228" y="36"/>
                  </a:lnTo>
                  <a:lnTo>
                    <a:pt x="216" y="30"/>
                  </a:lnTo>
                  <a:lnTo>
                    <a:pt x="210" y="30"/>
                  </a:lnTo>
                  <a:close/>
                </a:path>
              </a:pathLst>
            </a:custGeom>
            <a:solidFill>
              <a:schemeClr val="accent1"/>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79" name="Polen" descr="© INSCALE GmbH, 05.05.2010&#10;http://www.presentationload.com/">
              <a:extLst>
                <a:ext uri="{FF2B5EF4-FFF2-40B4-BE49-F238E27FC236}">
                  <a16:creationId xmlns:a16="http://schemas.microsoft.com/office/drawing/2014/main" id="{CA7BE801-A57C-4AAB-AA4E-FBFB8B567C80}"/>
                </a:ext>
              </a:extLst>
            </p:cNvPr>
            <p:cNvSpPr>
              <a:spLocks/>
            </p:cNvSpPr>
            <p:nvPr/>
          </p:nvSpPr>
          <p:spPr bwMode="gray">
            <a:xfrm>
              <a:off x="4511957" y="2508987"/>
              <a:ext cx="247748" cy="178755"/>
            </a:xfrm>
            <a:custGeom>
              <a:avLst/>
              <a:gdLst>
                <a:gd name="T0" fmla="*/ 2147483647 w 624"/>
                <a:gd name="T1" fmla="*/ 2147483647 h 450"/>
                <a:gd name="T2" fmla="*/ 2147483647 w 624"/>
                <a:gd name="T3" fmla="*/ 2147483647 h 450"/>
                <a:gd name="T4" fmla="*/ 2147483647 w 624"/>
                <a:gd name="T5" fmla="*/ 2147483647 h 450"/>
                <a:gd name="T6" fmla="*/ 2147483647 w 624"/>
                <a:gd name="T7" fmla="*/ 2147483647 h 450"/>
                <a:gd name="T8" fmla="*/ 2147483647 w 624"/>
                <a:gd name="T9" fmla="*/ 2147483647 h 450"/>
                <a:gd name="T10" fmla="*/ 2147483647 w 624"/>
                <a:gd name="T11" fmla="*/ 2147483647 h 450"/>
                <a:gd name="T12" fmla="*/ 2147483647 w 624"/>
                <a:gd name="T13" fmla="*/ 2147483647 h 450"/>
                <a:gd name="T14" fmla="*/ 2147483647 w 624"/>
                <a:gd name="T15" fmla="*/ 2147483647 h 450"/>
                <a:gd name="T16" fmla="*/ 2147483647 w 624"/>
                <a:gd name="T17" fmla="*/ 2147483647 h 450"/>
                <a:gd name="T18" fmla="*/ 2147483647 w 624"/>
                <a:gd name="T19" fmla="*/ 2147483647 h 450"/>
                <a:gd name="T20" fmla="*/ 2147483647 w 624"/>
                <a:gd name="T21" fmla="*/ 2147483647 h 450"/>
                <a:gd name="T22" fmla="*/ 2147483647 w 624"/>
                <a:gd name="T23" fmla="*/ 2147483647 h 450"/>
                <a:gd name="T24" fmla="*/ 2147483647 w 624"/>
                <a:gd name="T25" fmla="*/ 2147483647 h 450"/>
                <a:gd name="T26" fmla="*/ 2147483647 w 624"/>
                <a:gd name="T27" fmla="*/ 2147483647 h 450"/>
                <a:gd name="T28" fmla="*/ 2147483647 w 624"/>
                <a:gd name="T29" fmla="*/ 2147483647 h 450"/>
                <a:gd name="T30" fmla="*/ 2147483647 w 624"/>
                <a:gd name="T31" fmla="*/ 2147483647 h 450"/>
                <a:gd name="T32" fmla="*/ 2147483647 w 624"/>
                <a:gd name="T33" fmla="*/ 2147483647 h 450"/>
                <a:gd name="T34" fmla="*/ 2147483647 w 624"/>
                <a:gd name="T35" fmla="*/ 2147483647 h 450"/>
                <a:gd name="T36" fmla="*/ 2147483647 w 624"/>
                <a:gd name="T37" fmla="*/ 2147483647 h 450"/>
                <a:gd name="T38" fmla="*/ 2147483647 w 624"/>
                <a:gd name="T39" fmla="*/ 2147483647 h 450"/>
                <a:gd name="T40" fmla="*/ 2147483647 w 624"/>
                <a:gd name="T41" fmla="*/ 2147483647 h 450"/>
                <a:gd name="T42" fmla="*/ 2147483647 w 624"/>
                <a:gd name="T43" fmla="*/ 2147483647 h 450"/>
                <a:gd name="T44" fmla="*/ 2147483647 w 624"/>
                <a:gd name="T45" fmla="*/ 2147483647 h 450"/>
                <a:gd name="T46" fmla="*/ 2147483647 w 624"/>
                <a:gd name="T47" fmla="*/ 2147483647 h 450"/>
                <a:gd name="T48" fmla="*/ 2147483647 w 624"/>
                <a:gd name="T49" fmla="*/ 2147483647 h 450"/>
                <a:gd name="T50" fmla="*/ 2147483647 w 624"/>
                <a:gd name="T51" fmla="*/ 2147483647 h 450"/>
                <a:gd name="T52" fmla="*/ 2147483647 w 624"/>
                <a:gd name="T53" fmla="*/ 2147483647 h 450"/>
                <a:gd name="T54" fmla="*/ 2147483647 w 624"/>
                <a:gd name="T55" fmla="*/ 2147483647 h 450"/>
                <a:gd name="T56" fmla="*/ 2147483647 w 624"/>
                <a:gd name="T57" fmla="*/ 2147483647 h 450"/>
                <a:gd name="T58" fmla="*/ 0 w 624"/>
                <a:gd name="T59" fmla="*/ 2147483647 h 450"/>
                <a:gd name="T60" fmla="*/ 2147483647 w 624"/>
                <a:gd name="T61" fmla="*/ 2147483647 h 450"/>
                <a:gd name="T62" fmla="*/ 2147483647 w 624"/>
                <a:gd name="T63" fmla="*/ 2147483647 h 450"/>
                <a:gd name="T64" fmla="*/ 2147483647 w 624"/>
                <a:gd name="T65" fmla="*/ 2147483647 h 450"/>
                <a:gd name="T66" fmla="*/ 2147483647 w 624"/>
                <a:gd name="T67" fmla="*/ 2147483647 h 450"/>
                <a:gd name="T68" fmla="*/ 2147483647 w 624"/>
                <a:gd name="T69" fmla="*/ 2147483647 h 450"/>
                <a:gd name="T70" fmla="*/ 2147483647 w 624"/>
                <a:gd name="T71" fmla="*/ 2147483647 h 450"/>
                <a:gd name="T72" fmla="*/ 2147483647 w 624"/>
                <a:gd name="T73" fmla="*/ 2147483647 h 450"/>
                <a:gd name="T74" fmla="*/ 2147483647 w 624"/>
                <a:gd name="T75" fmla="*/ 2147483647 h 450"/>
                <a:gd name="T76" fmla="*/ 2147483647 w 624"/>
                <a:gd name="T77" fmla="*/ 2147483647 h 450"/>
                <a:gd name="T78" fmla="*/ 2147483647 w 624"/>
                <a:gd name="T79" fmla="*/ 2147483647 h 450"/>
                <a:gd name="T80" fmla="*/ 2147483647 w 624"/>
                <a:gd name="T81" fmla="*/ 2147483647 h 450"/>
                <a:gd name="T82" fmla="*/ 2147483647 w 624"/>
                <a:gd name="T83" fmla="*/ 2147483647 h 450"/>
                <a:gd name="T84" fmla="*/ 2147483647 w 624"/>
                <a:gd name="T85" fmla="*/ 2147483647 h 450"/>
                <a:gd name="T86" fmla="*/ 2147483647 w 624"/>
                <a:gd name="T87" fmla="*/ 2147483647 h 450"/>
                <a:gd name="T88" fmla="*/ 2147483647 w 624"/>
                <a:gd name="T89" fmla="*/ 2147483647 h 450"/>
                <a:gd name="T90" fmla="*/ 2147483647 w 624"/>
                <a:gd name="T91" fmla="*/ 2147483647 h 450"/>
                <a:gd name="T92" fmla="*/ 2147483647 w 624"/>
                <a:gd name="T93" fmla="*/ 2147483647 h 450"/>
                <a:gd name="T94" fmla="*/ 2147483647 w 624"/>
                <a:gd name="T95" fmla="*/ 2147483647 h 450"/>
                <a:gd name="T96" fmla="*/ 2147483647 w 624"/>
                <a:gd name="T97" fmla="*/ 2147483647 h 450"/>
                <a:gd name="T98" fmla="*/ 2147483647 w 624"/>
                <a:gd name="T99" fmla="*/ 2147483647 h 450"/>
                <a:gd name="T100" fmla="*/ 2147483647 w 624"/>
                <a:gd name="T101" fmla="*/ 2147483647 h 450"/>
                <a:gd name="T102" fmla="*/ 2147483647 w 624"/>
                <a:gd name="T103" fmla="*/ 2147483647 h 450"/>
                <a:gd name="T104" fmla="*/ 2147483647 w 624"/>
                <a:gd name="T105" fmla="*/ 2147483647 h 450"/>
                <a:gd name="T106" fmla="*/ 2147483647 w 624"/>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4"/>
                <a:gd name="T163" fmla="*/ 0 h 450"/>
                <a:gd name="T164" fmla="*/ 624 w 624"/>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4" h="450">
                  <a:moveTo>
                    <a:pt x="426" y="426"/>
                  </a:moveTo>
                  <a:lnTo>
                    <a:pt x="432" y="426"/>
                  </a:lnTo>
                  <a:lnTo>
                    <a:pt x="444" y="420"/>
                  </a:lnTo>
                  <a:lnTo>
                    <a:pt x="450" y="414"/>
                  </a:lnTo>
                  <a:lnTo>
                    <a:pt x="474" y="414"/>
                  </a:lnTo>
                  <a:lnTo>
                    <a:pt x="498" y="438"/>
                  </a:lnTo>
                  <a:lnTo>
                    <a:pt x="528" y="438"/>
                  </a:lnTo>
                  <a:lnTo>
                    <a:pt x="528" y="450"/>
                  </a:lnTo>
                  <a:lnTo>
                    <a:pt x="552" y="450"/>
                  </a:lnTo>
                  <a:lnTo>
                    <a:pt x="540" y="438"/>
                  </a:lnTo>
                  <a:lnTo>
                    <a:pt x="540" y="396"/>
                  </a:lnTo>
                  <a:lnTo>
                    <a:pt x="594" y="348"/>
                  </a:lnTo>
                  <a:lnTo>
                    <a:pt x="606" y="348"/>
                  </a:lnTo>
                  <a:lnTo>
                    <a:pt x="612" y="342"/>
                  </a:lnTo>
                  <a:lnTo>
                    <a:pt x="618" y="342"/>
                  </a:lnTo>
                  <a:lnTo>
                    <a:pt x="624" y="336"/>
                  </a:lnTo>
                  <a:lnTo>
                    <a:pt x="618" y="330"/>
                  </a:lnTo>
                  <a:lnTo>
                    <a:pt x="618" y="324"/>
                  </a:lnTo>
                  <a:lnTo>
                    <a:pt x="612" y="318"/>
                  </a:lnTo>
                  <a:lnTo>
                    <a:pt x="618" y="306"/>
                  </a:lnTo>
                  <a:lnTo>
                    <a:pt x="612" y="300"/>
                  </a:lnTo>
                  <a:lnTo>
                    <a:pt x="600" y="294"/>
                  </a:lnTo>
                  <a:lnTo>
                    <a:pt x="600" y="288"/>
                  </a:lnTo>
                  <a:lnTo>
                    <a:pt x="582" y="270"/>
                  </a:lnTo>
                  <a:lnTo>
                    <a:pt x="576" y="252"/>
                  </a:lnTo>
                  <a:lnTo>
                    <a:pt x="582" y="252"/>
                  </a:lnTo>
                  <a:lnTo>
                    <a:pt x="576" y="240"/>
                  </a:lnTo>
                  <a:lnTo>
                    <a:pt x="576" y="210"/>
                  </a:lnTo>
                  <a:lnTo>
                    <a:pt x="564" y="198"/>
                  </a:lnTo>
                  <a:lnTo>
                    <a:pt x="558" y="198"/>
                  </a:lnTo>
                  <a:lnTo>
                    <a:pt x="552" y="192"/>
                  </a:lnTo>
                  <a:lnTo>
                    <a:pt x="552" y="186"/>
                  </a:lnTo>
                  <a:lnTo>
                    <a:pt x="564" y="186"/>
                  </a:lnTo>
                  <a:lnTo>
                    <a:pt x="564" y="168"/>
                  </a:lnTo>
                  <a:lnTo>
                    <a:pt x="588" y="162"/>
                  </a:lnTo>
                  <a:lnTo>
                    <a:pt x="588" y="150"/>
                  </a:lnTo>
                  <a:lnTo>
                    <a:pt x="594" y="144"/>
                  </a:lnTo>
                  <a:lnTo>
                    <a:pt x="594" y="138"/>
                  </a:lnTo>
                  <a:lnTo>
                    <a:pt x="588" y="132"/>
                  </a:lnTo>
                  <a:lnTo>
                    <a:pt x="576" y="108"/>
                  </a:lnTo>
                  <a:lnTo>
                    <a:pt x="570" y="102"/>
                  </a:lnTo>
                  <a:lnTo>
                    <a:pt x="570" y="90"/>
                  </a:lnTo>
                  <a:lnTo>
                    <a:pt x="564" y="84"/>
                  </a:lnTo>
                  <a:lnTo>
                    <a:pt x="558" y="72"/>
                  </a:lnTo>
                  <a:lnTo>
                    <a:pt x="558" y="48"/>
                  </a:lnTo>
                  <a:lnTo>
                    <a:pt x="546" y="42"/>
                  </a:lnTo>
                  <a:lnTo>
                    <a:pt x="540" y="42"/>
                  </a:lnTo>
                  <a:lnTo>
                    <a:pt x="522" y="36"/>
                  </a:lnTo>
                  <a:lnTo>
                    <a:pt x="498" y="36"/>
                  </a:lnTo>
                  <a:lnTo>
                    <a:pt x="498" y="42"/>
                  </a:lnTo>
                  <a:lnTo>
                    <a:pt x="408" y="42"/>
                  </a:lnTo>
                  <a:lnTo>
                    <a:pt x="402" y="36"/>
                  </a:lnTo>
                  <a:lnTo>
                    <a:pt x="390" y="36"/>
                  </a:lnTo>
                  <a:lnTo>
                    <a:pt x="384" y="30"/>
                  </a:lnTo>
                  <a:lnTo>
                    <a:pt x="360" y="30"/>
                  </a:lnTo>
                  <a:lnTo>
                    <a:pt x="354" y="36"/>
                  </a:lnTo>
                  <a:lnTo>
                    <a:pt x="348" y="36"/>
                  </a:lnTo>
                  <a:lnTo>
                    <a:pt x="342" y="30"/>
                  </a:lnTo>
                  <a:lnTo>
                    <a:pt x="312" y="30"/>
                  </a:lnTo>
                  <a:lnTo>
                    <a:pt x="300" y="36"/>
                  </a:lnTo>
                  <a:lnTo>
                    <a:pt x="282" y="36"/>
                  </a:lnTo>
                  <a:lnTo>
                    <a:pt x="276" y="30"/>
                  </a:lnTo>
                  <a:lnTo>
                    <a:pt x="270" y="18"/>
                  </a:lnTo>
                  <a:lnTo>
                    <a:pt x="264" y="12"/>
                  </a:lnTo>
                  <a:lnTo>
                    <a:pt x="264" y="6"/>
                  </a:lnTo>
                  <a:lnTo>
                    <a:pt x="258" y="6"/>
                  </a:lnTo>
                  <a:lnTo>
                    <a:pt x="252" y="0"/>
                  </a:lnTo>
                  <a:lnTo>
                    <a:pt x="210" y="0"/>
                  </a:lnTo>
                  <a:lnTo>
                    <a:pt x="192" y="6"/>
                  </a:lnTo>
                  <a:lnTo>
                    <a:pt x="180" y="12"/>
                  </a:lnTo>
                  <a:lnTo>
                    <a:pt x="162" y="12"/>
                  </a:lnTo>
                  <a:lnTo>
                    <a:pt x="150" y="18"/>
                  </a:lnTo>
                  <a:lnTo>
                    <a:pt x="144" y="24"/>
                  </a:lnTo>
                  <a:lnTo>
                    <a:pt x="138" y="24"/>
                  </a:lnTo>
                  <a:lnTo>
                    <a:pt x="120" y="42"/>
                  </a:lnTo>
                  <a:lnTo>
                    <a:pt x="60" y="48"/>
                  </a:lnTo>
                  <a:lnTo>
                    <a:pt x="54" y="48"/>
                  </a:lnTo>
                  <a:lnTo>
                    <a:pt x="48" y="54"/>
                  </a:lnTo>
                  <a:lnTo>
                    <a:pt x="24" y="66"/>
                  </a:lnTo>
                  <a:lnTo>
                    <a:pt x="18" y="66"/>
                  </a:lnTo>
                  <a:lnTo>
                    <a:pt x="12" y="72"/>
                  </a:lnTo>
                  <a:lnTo>
                    <a:pt x="18" y="78"/>
                  </a:lnTo>
                  <a:lnTo>
                    <a:pt x="18" y="96"/>
                  </a:lnTo>
                  <a:lnTo>
                    <a:pt x="6" y="90"/>
                  </a:lnTo>
                  <a:lnTo>
                    <a:pt x="6" y="108"/>
                  </a:lnTo>
                  <a:lnTo>
                    <a:pt x="12" y="108"/>
                  </a:lnTo>
                  <a:lnTo>
                    <a:pt x="18" y="114"/>
                  </a:lnTo>
                  <a:lnTo>
                    <a:pt x="18" y="132"/>
                  </a:lnTo>
                  <a:lnTo>
                    <a:pt x="6" y="144"/>
                  </a:lnTo>
                  <a:lnTo>
                    <a:pt x="0" y="144"/>
                  </a:lnTo>
                  <a:lnTo>
                    <a:pt x="0" y="156"/>
                  </a:lnTo>
                  <a:lnTo>
                    <a:pt x="6" y="162"/>
                  </a:lnTo>
                  <a:lnTo>
                    <a:pt x="12" y="162"/>
                  </a:lnTo>
                  <a:lnTo>
                    <a:pt x="18" y="168"/>
                  </a:lnTo>
                  <a:lnTo>
                    <a:pt x="30" y="168"/>
                  </a:lnTo>
                  <a:lnTo>
                    <a:pt x="30" y="186"/>
                  </a:lnTo>
                  <a:lnTo>
                    <a:pt x="24" y="186"/>
                  </a:lnTo>
                  <a:lnTo>
                    <a:pt x="24" y="198"/>
                  </a:lnTo>
                  <a:lnTo>
                    <a:pt x="36" y="198"/>
                  </a:lnTo>
                  <a:lnTo>
                    <a:pt x="36" y="204"/>
                  </a:lnTo>
                  <a:lnTo>
                    <a:pt x="30" y="210"/>
                  </a:lnTo>
                  <a:lnTo>
                    <a:pt x="36" y="210"/>
                  </a:lnTo>
                  <a:lnTo>
                    <a:pt x="42" y="216"/>
                  </a:lnTo>
                  <a:lnTo>
                    <a:pt x="36" y="222"/>
                  </a:lnTo>
                  <a:lnTo>
                    <a:pt x="24" y="228"/>
                  </a:lnTo>
                  <a:lnTo>
                    <a:pt x="24" y="234"/>
                  </a:lnTo>
                  <a:lnTo>
                    <a:pt x="30" y="240"/>
                  </a:lnTo>
                  <a:lnTo>
                    <a:pt x="36" y="240"/>
                  </a:lnTo>
                  <a:lnTo>
                    <a:pt x="42" y="246"/>
                  </a:lnTo>
                  <a:lnTo>
                    <a:pt x="42" y="264"/>
                  </a:lnTo>
                  <a:lnTo>
                    <a:pt x="48" y="258"/>
                  </a:lnTo>
                  <a:lnTo>
                    <a:pt x="54" y="258"/>
                  </a:lnTo>
                  <a:lnTo>
                    <a:pt x="54" y="270"/>
                  </a:lnTo>
                  <a:lnTo>
                    <a:pt x="48" y="276"/>
                  </a:lnTo>
                  <a:lnTo>
                    <a:pt x="60" y="276"/>
                  </a:lnTo>
                  <a:lnTo>
                    <a:pt x="60" y="282"/>
                  </a:lnTo>
                  <a:lnTo>
                    <a:pt x="54" y="282"/>
                  </a:lnTo>
                  <a:lnTo>
                    <a:pt x="54" y="294"/>
                  </a:lnTo>
                  <a:lnTo>
                    <a:pt x="72" y="294"/>
                  </a:lnTo>
                  <a:lnTo>
                    <a:pt x="78" y="312"/>
                  </a:lnTo>
                  <a:lnTo>
                    <a:pt x="96" y="312"/>
                  </a:lnTo>
                  <a:lnTo>
                    <a:pt x="108" y="318"/>
                  </a:lnTo>
                  <a:lnTo>
                    <a:pt x="114" y="318"/>
                  </a:lnTo>
                  <a:lnTo>
                    <a:pt x="114" y="324"/>
                  </a:lnTo>
                  <a:lnTo>
                    <a:pt x="138" y="324"/>
                  </a:lnTo>
                  <a:lnTo>
                    <a:pt x="144" y="330"/>
                  </a:lnTo>
                  <a:lnTo>
                    <a:pt x="132" y="336"/>
                  </a:lnTo>
                  <a:lnTo>
                    <a:pt x="144" y="342"/>
                  </a:lnTo>
                  <a:lnTo>
                    <a:pt x="144" y="354"/>
                  </a:lnTo>
                  <a:lnTo>
                    <a:pt x="150" y="354"/>
                  </a:lnTo>
                  <a:lnTo>
                    <a:pt x="156" y="360"/>
                  </a:lnTo>
                  <a:lnTo>
                    <a:pt x="174" y="360"/>
                  </a:lnTo>
                  <a:lnTo>
                    <a:pt x="174" y="354"/>
                  </a:lnTo>
                  <a:lnTo>
                    <a:pt x="180" y="354"/>
                  </a:lnTo>
                  <a:lnTo>
                    <a:pt x="192" y="348"/>
                  </a:lnTo>
                  <a:lnTo>
                    <a:pt x="210" y="348"/>
                  </a:lnTo>
                  <a:lnTo>
                    <a:pt x="204" y="354"/>
                  </a:lnTo>
                  <a:lnTo>
                    <a:pt x="222" y="354"/>
                  </a:lnTo>
                  <a:lnTo>
                    <a:pt x="228" y="360"/>
                  </a:lnTo>
                  <a:lnTo>
                    <a:pt x="234" y="372"/>
                  </a:lnTo>
                  <a:lnTo>
                    <a:pt x="240" y="378"/>
                  </a:lnTo>
                  <a:lnTo>
                    <a:pt x="246" y="366"/>
                  </a:lnTo>
                  <a:lnTo>
                    <a:pt x="252" y="372"/>
                  </a:lnTo>
                  <a:lnTo>
                    <a:pt x="252" y="378"/>
                  </a:lnTo>
                  <a:lnTo>
                    <a:pt x="270" y="378"/>
                  </a:lnTo>
                  <a:lnTo>
                    <a:pt x="282" y="384"/>
                  </a:lnTo>
                  <a:lnTo>
                    <a:pt x="282" y="390"/>
                  </a:lnTo>
                  <a:lnTo>
                    <a:pt x="288" y="402"/>
                  </a:lnTo>
                  <a:lnTo>
                    <a:pt x="306" y="420"/>
                  </a:lnTo>
                  <a:lnTo>
                    <a:pt x="318" y="420"/>
                  </a:lnTo>
                  <a:lnTo>
                    <a:pt x="330" y="408"/>
                  </a:lnTo>
                  <a:lnTo>
                    <a:pt x="342" y="408"/>
                  </a:lnTo>
                  <a:lnTo>
                    <a:pt x="354" y="420"/>
                  </a:lnTo>
                  <a:lnTo>
                    <a:pt x="360" y="420"/>
                  </a:lnTo>
                  <a:lnTo>
                    <a:pt x="360" y="426"/>
                  </a:lnTo>
                  <a:lnTo>
                    <a:pt x="366" y="432"/>
                  </a:lnTo>
                  <a:lnTo>
                    <a:pt x="378" y="432"/>
                  </a:lnTo>
                  <a:lnTo>
                    <a:pt x="384" y="426"/>
                  </a:lnTo>
                  <a:lnTo>
                    <a:pt x="384" y="420"/>
                  </a:lnTo>
                  <a:lnTo>
                    <a:pt x="414" y="420"/>
                  </a:lnTo>
                  <a:lnTo>
                    <a:pt x="420" y="426"/>
                  </a:lnTo>
                  <a:lnTo>
                    <a:pt x="426" y="426"/>
                  </a:lnTo>
                  <a:close/>
                </a:path>
              </a:pathLst>
            </a:custGeom>
            <a:solidFill>
              <a:schemeClr val="accent1"/>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80" name="Philippinen" descr="© INSCALE GmbH, 05.05.2010&#10;http://www.presentationload.com/">
              <a:extLst>
                <a:ext uri="{FF2B5EF4-FFF2-40B4-BE49-F238E27FC236}">
                  <a16:creationId xmlns:a16="http://schemas.microsoft.com/office/drawing/2014/main" id="{C0C8BE44-F148-42A8-80A6-6578DEBAB4FA}"/>
                </a:ext>
              </a:extLst>
            </p:cNvPr>
            <p:cNvSpPr>
              <a:spLocks noEditPoints="1"/>
            </p:cNvSpPr>
            <p:nvPr/>
          </p:nvSpPr>
          <p:spPr bwMode="gray">
            <a:xfrm>
              <a:off x="7436319" y="3652077"/>
              <a:ext cx="283812" cy="478248"/>
            </a:xfrm>
            <a:custGeom>
              <a:avLst/>
              <a:gdLst>
                <a:gd name="T0" fmla="*/ 2147483647 w 714"/>
                <a:gd name="T1" fmla="*/ 2147483647 h 1200"/>
                <a:gd name="T2" fmla="*/ 2147483647 w 714"/>
                <a:gd name="T3" fmla="*/ 2147483647 h 1200"/>
                <a:gd name="T4" fmla="*/ 2147483647 w 714"/>
                <a:gd name="T5" fmla="*/ 2147483647 h 1200"/>
                <a:gd name="T6" fmla="*/ 2147483647 w 714"/>
                <a:gd name="T7" fmla="*/ 2147483647 h 1200"/>
                <a:gd name="T8" fmla="*/ 2147483647 w 714"/>
                <a:gd name="T9" fmla="*/ 2147483647 h 1200"/>
                <a:gd name="T10" fmla="*/ 2147483647 w 714"/>
                <a:gd name="T11" fmla="*/ 2147483647 h 1200"/>
                <a:gd name="T12" fmla="*/ 2147483647 w 714"/>
                <a:gd name="T13" fmla="*/ 2147483647 h 1200"/>
                <a:gd name="T14" fmla="*/ 2147483647 w 714"/>
                <a:gd name="T15" fmla="*/ 2147483647 h 1200"/>
                <a:gd name="T16" fmla="*/ 2147483647 w 714"/>
                <a:gd name="T17" fmla="*/ 2147483647 h 1200"/>
                <a:gd name="T18" fmla="*/ 2147483647 w 714"/>
                <a:gd name="T19" fmla="*/ 2147483647 h 1200"/>
                <a:gd name="T20" fmla="*/ 2147483647 w 714"/>
                <a:gd name="T21" fmla="*/ 2147483647 h 1200"/>
                <a:gd name="T22" fmla="*/ 2147483647 w 714"/>
                <a:gd name="T23" fmla="*/ 2147483647 h 1200"/>
                <a:gd name="T24" fmla="*/ 2147483647 w 714"/>
                <a:gd name="T25" fmla="*/ 2147483647 h 1200"/>
                <a:gd name="T26" fmla="*/ 2147483647 w 714"/>
                <a:gd name="T27" fmla="*/ 2147483647 h 1200"/>
                <a:gd name="T28" fmla="*/ 2147483647 w 714"/>
                <a:gd name="T29" fmla="*/ 2147483647 h 1200"/>
                <a:gd name="T30" fmla="*/ 2147483647 w 714"/>
                <a:gd name="T31" fmla="*/ 2147483647 h 1200"/>
                <a:gd name="T32" fmla="*/ 2147483647 w 714"/>
                <a:gd name="T33" fmla="*/ 2147483647 h 1200"/>
                <a:gd name="T34" fmla="*/ 2147483647 w 714"/>
                <a:gd name="T35" fmla="*/ 2147483647 h 1200"/>
                <a:gd name="T36" fmla="*/ 2147483647 w 714"/>
                <a:gd name="T37" fmla="*/ 2147483647 h 1200"/>
                <a:gd name="T38" fmla="*/ 2147483647 w 714"/>
                <a:gd name="T39" fmla="*/ 2147483647 h 1200"/>
                <a:gd name="T40" fmla="*/ 2147483647 w 714"/>
                <a:gd name="T41" fmla="*/ 2147483647 h 1200"/>
                <a:gd name="T42" fmla="*/ 2147483647 w 714"/>
                <a:gd name="T43" fmla="*/ 2147483647 h 1200"/>
                <a:gd name="T44" fmla="*/ 2147483647 w 714"/>
                <a:gd name="T45" fmla="*/ 2147483647 h 1200"/>
                <a:gd name="T46" fmla="*/ 2147483647 w 714"/>
                <a:gd name="T47" fmla="*/ 2147483647 h 1200"/>
                <a:gd name="T48" fmla="*/ 2147483647 w 714"/>
                <a:gd name="T49" fmla="*/ 2147483647 h 1200"/>
                <a:gd name="T50" fmla="*/ 2147483647 w 714"/>
                <a:gd name="T51" fmla="*/ 2147483647 h 1200"/>
                <a:gd name="T52" fmla="*/ 2147483647 w 714"/>
                <a:gd name="T53" fmla="*/ 2147483647 h 1200"/>
                <a:gd name="T54" fmla="*/ 2147483647 w 714"/>
                <a:gd name="T55" fmla="*/ 2147483647 h 1200"/>
                <a:gd name="T56" fmla="*/ 2147483647 w 714"/>
                <a:gd name="T57" fmla="*/ 2147483647 h 1200"/>
                <a:gd name="T58" fmla="*/ 2147483647 w 714"/>
                <a:gd name="T59" fmla="*/ 2147483647 h 1200"/>
                <a:gd name="T60" fmla="*/ 2147483647 w 714"/>
                <a:gd name="T61" fmla="*/ 2147483647 h 1200"/>
                <a:gd name="T62" fmla="*/ 2147483647 w 714"/>
                <a:gd name="T63" fmla="*/ 2147483647 h 1200"/>
                <a:gd name="T64" fmla="*/ 2147483647 w 714"/>
                <a:gd name="T65" fmla="*/ 2147483647 h 1200"/>
                <a:gd name="T66" fmla="*/ 2147483647 w 714"/>
                <a:gd name="T67" fmla="*/ 2147483647 h 1200"/>
                <a:gd name="T68" fmla="*/ 2147483647 w 714"/>
                <a:gd name="T69" fmla="*/ 2147483647 h 1200"/>
                <a:gd name="T70" fmla="*/ 2147483647 w 714"/>
                <a:gd name="T71" fmla="*/ 2147483647 h 1200"/>
                <a:gd name="T72" fmla="*/ 2147483647 w 714"/>
                <a:gd name="T73" fmla="*/ 2147483647 h 1200"/>
                <a:gd name="T74" fmla="*/ 2147483647 w 714"/>
                <a:gd name="T75" fmla="*/ 2147483647 h 1200"/>
                <a:gd name="T76" fmla="*/ 2147483647 w 714"/>
                <a:gd name="T77" fmla="*/ 2147483647 h 1200"/>
                <a:gd name="T78" fmla="*/ 2147483647 w 714"/>
                <a:gd name="T79" fmla="*/ 0 h 1200"/>
                <a:gd name="T80" fmla="*/ 2147483647 w 714"/>
                <a:gd name="T81" fmla="*/ 2147483647 h 1200"/>
                <a:gd name="T82" fmla="*/ 2147483647 w 714"/>
                <a:gd name="T83" fmla="*/ 2147483647 h 1200"/>
                <a:gd name="T84" fmla="*/ 2147483647 w 714"/>
                <a:gd name="T85" fmla="*/ 2147483647 h 1200"/>
                <a:gd name="T86" fmla="*/ 2147483647 w 714"/>
                <a:gd name="T87" fmla="*/ 2147483647 h 1200"/>
                <a:gd name="T88" fmla="*/ 2147483647 w 714"/>
                <a:gd name="T89" fmla="*/ 2147483647 h 1200"/>
                <a:gd name="T90" fmla="*/ 2147483647 w 714"/>
                <a:gd name="T91" fmla="*/ 2147483647 h 1200"/>
                <a:gd name="T92" fmla="*/ 2147483647 w 714"/>
                <a:gd name="T93" fmla="*/ 2147483647 h 1200"/>
                <a:gd name="T94" fmla="*/ 2147483647 w 714"/>
                <a:gd name="T95" fmla="*/ 2147483647 h 1200"/>
                <a:gd name="T96" fmla="*/ 2147483647 w 714"/>
                <a:gd name="T97" fmla="*/ 2147483647 h 1200"/>
                <a:gd name="T98" fmla="*/ 2147483647 w 714"/>
                <a:gd name="T99" fmla="*/ 2147483647 h 1200"/>
                <a:gd name="T100" fmla="*/ 2147483647 w 714"/>
                <a:gd name="T101" fmla="*/ 2147483647 h 1200"/>
                <a:gd name="T102" fmla="*/ 2147483647 w 714"/>
                <a:gd name="T103" fmla="*/ 2147483647 h 1200"/>
                <a:gd name="T104" fmla="*/ 2147483647 w 714"/>
                <a:gd name="T105" fmla="*/ 2147483647 h 1200"/>
                <a:gd name="T106" fmla="*/ 2147483647 w 714"/>
                <a:gd name="T107" fmla="*/ 2147483647 h 1200"/>
                <a:gd name="T108" fmla="*/ 2147483647 w 714"/>
                <a:gd name="T109" fmla="*/ 2147483647 h 1200"/>
                <a:gd name="T110" fmla="*/ 2147483647 w 714"/>
                <a:gd name="T111" fmla="*/ 2147483647 h 1200"/>
                <a:gd name="T112" fmla="*/ 2147483647 w 714"/>
                <a:gd name="T113" fmla="*/ 2147483647 h 1200"/>
                <a:gd name="T114" fmla="*/ 2147483647 w 714"/>
                <a:gd name="T115" fmla="*/ 2147483647 h 1200"/>
                <a:gd name="T116" fmla="*/ 2147483647 w 714"/>
                <a:gd name="T117" fmla="*/ 2147483647 h 12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14"/>
                <a:gd name="T178" fmla="*/ 0 h 1200"/>
                <a:gd name="T179" fmla="*/ 714 w 714"/>
                <a:gd name="T180" fmla="*/ 1200 h 12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14" h="1200">
                  <a:moveTo>
                    <a:pt x="702" y="1140"/>
                  </a:moveTo>
                  <a:lnTo>
                    <a:pt x="690" y="1170"/>
                  </a:lnTo>
                  <a:lnTo>
                    <a:pt x="696" y="1200"/>
                  </a:lnTo>
                  <a:lnTo>
                    <a:pt x="714" y="1182"/>
                  </a:lnTo>
                  <a:lnTo>
                    <a:pt x="714" y="1140"/>
                  </a:lnTo>
                  <a:lnTo>
                    <a:pt x="702" y="1140"/>
                  </a:lnTo>
                  <a:close/>
                  <a:moveTo>
                    <a:pt x="582" y="1176"/>
                  </a:moveTo>
                  <a:lnTo>
                    <a:pt x="600" y="1140"/>
                  </a:lnTo>
                  <a:lnTo>
                    <a:pt x="576" y="1134"/>
                  </a:lnTo>
                  <a:lnTo>
                    <a:pt x="582" y="1176"/>
                  </a:lnTo>
                  <a:close/>
                  <a:moveTo>
                    <a:pt x="246" y="1038"/>
                  </a:moveTo>
                  <a:lnTo>
                    <a:pt x="264" y="1050"/>
                  </a:lnTo>
                  <a:lnTo>
                    <a:pt x="282" y="1020"/>
                  </a:lnTo>
                  <a:lnTo>
                    <a:pt x="258" y="1008"/>
                  </a:lnTo>
                  <a:lnTo>
                    <a:pt x="246" y="1038"/>
                  </a:lnTo>
                  <a:close/>
                  <a:moveTo>
                    <a:pt x="504" y="558"/>
                  </a:moveTo>
                  <a:lnTo>
                    <a:pt x="540" y="576"/>
                  </a:lnTo>
                  <a:lnTo>
                    <a:pt x="540" y="582"/>
                  </a:lnTo>
                  <a:lnTo>
                    <a:pt x="534" y="588"/>
                  </a:lnTo>
                  <a:lnTo>
                    <a:pt x="504" y="588"/>
                  </a:lnTo>
                  <a:lnTo>
                    <a:pt x="570" y="642"/>
                  </a:lnTo>
                  <a:lnTo>
                    <a:pt x="570" y="618"/>
                  </a:lnTo>
                  <a:lnTo>
                    <a:pt x="600" y="624"/>
                  </a:lnTo>
                  <a:lnTo>
                    <a:pt x="576" y="588"/>
                  </a:lnTo>
                  <a:lnTo>
                    <a:pt x="576" y="582"/>
                  </a:lnTo>
                  <a:lnTo>
                    <a:pt x="570" y="576"/>
                  </a:lnTo>
                  <a:lnTo>
                    <a:pt x="570" y="558"/>
                  </a:lnTo>
                  <a:lnTo>
                    <a:pt x="564" y="546"/>
                  </a:lnTo>
                  <a:lnTo>
                    <a:pt x="534" y="516"/>
                  </a:lnTo>
                  <a:lnTo>
                    <a:pt x="522" y="510"/>
                  </a:lnTo>
                  <a:lnTo>
                    <a:pt x="504" y="504"/>
                  </a:lnTo>
                  <a:lnTo>
                    <a:pt x="492" y="498"/>
                  </a:lnTo>
                  <a:lnTo>
                    <a:pt x="474" y="498"/>
                  </a:lnTo>
                  <a:lnTo>
                    <a:pt x="468" y="504"/>
                  </a:lnTo>
                  <a:lnTo>
                    <a:pt x="468" y="528"/>
                  </a:lnTo>
                  <a:lnTo>
                    <a:pt x="492" y="552"/>
                  </a:lnTo>
                  <a:lnTo>
                    <a:pt x="504" y="558"/>
                  </a:lnTo>
                  <a:close/>
                  <a:moveTo>
                    <a:pt x="462" y="666"/>
                  </a:moveTo>
                  <a:lnTo>
                    <a:pt x="474" y="750"/>
                  </a:lnTo>
                  <a:lnTo>
                    <a:pt x="486" y="672"/>
                  </a:lnTo>
                  <a:lnTo>
                    <a:pt x="462" y="618"/>
                  </a:lnTo>
                  <a:lnTo>
                    <a:pt x="438" y="618"/>
                  </a:lnTo>
                  <a:lnTo>
                    <a:pt x="462" y="666"/>
                  </a:lnTo>
                  <a:close/>
                  <a:moveTo>
                    <a:pt x="492" y="738"/>
                  </a:moveTo>
                  <a:lnTo>
                    <a:pt x="522" y="738"/>
                  </a:lnTo>
                  <a:lnTo>
                    <a:pt x="528" y="708"/>
                  </a:lnTo>
                  <a:lnTo>
                    <a:pt x="498" y="702"/>
                  </a:lnTo>
                  <a:lnTo>
                    <a:pt x="492" y="738"/>
                  </a:lnTo>
                  <a:close/>
                  <a:moveTo>
                    <a:pt x="570" y="660"/>
                  </a:moveTo>
                  <a:lnTo>
                    <a:pt x="546" y="648"/>
                  </a:lnTo>
                  <a:lnTo>
                    <a:pt x="528" y="630"/>
                  </a:lnTo>
                  <a:lnTo>
                    <a:pt x="528" y="624"/>
                  </a:lnTo>
                  <a:lnTo>
                    <a:pt x="522" y="618"/>
                  </a:lnTo>
                  <a:lnTo>
                    <a:pt x="486" y="618"/>
                  </a:lnTo>
                  <a:lnTo>
                    <a:pt x="492" y="660"/>
                  </a:lnTo>
                  <a:lnTo>
                    <a:pt x="510" y="654"/>
                  </a:lnTo>
                  <a:lnTo>
                    <a:pt x="522" y="678"/>
                  </a:lnTo>
                  <a:lnTo>
                    <a:pt x="570" y="714"/>
                  </a:lnTo>
                  <a:lnTo>
                    <a:pt x="570" y="660"/>
                  </a:lnTo>
                  <a:close/>
                  <a:moveTo>
                    <a:pt x="162" y="600"/>
                  </a:moveTo>
                  <a:lnTo>
                    <a:pt x="144" y="582"/>
                  </a:lnTo>
                  <a:lnTo>
                    <a:pt x="138" y="606"/>
                  </a:lnTo>
                  <a:lnTo>
                    <a:pt x="132" y="618"/>
                  </a:lnTo>
                  <a:lnTo>
                    <a:pt x="126" y="624"/>
                  </a:lnTo>
                  <a:lnTo>
                    <a:pt x="120" y="642"/>
                  </a:lnTo>
                  <a:lnTo>
                    <a:pt x="120" y="654"/>
                  </a:lnTo>
                  <a:lnTo>
                    <a:pt x="126" y="660"/>
                  </a:lnTo>
                  <a:lnTo>
                    <a:pt x="138" y="666"/>
                  </a:lnTo>
                  <a:lnTo>
                    <a:pt x="150" y="678"/>
                  </a:lnTo>
                  <a:lnTo>
                    <a:pt x="144" y="684"/>
                  </a:lnTo>
                  <a:lnTo>
                    <a:pt x="120" y="696"/>
                  </a:lnTo>
                  <a:lnTo>
                    <a:pt x="114" y="702"/>
                  </a:lnTo>
                  <a:lnTo>
                    <a:pt x="102" y="708"/>
                  </a:lnTo>
                  <a:lnTo>
                    <a:pt x="96" y="732"/>
                  </a:lnTo>
                  <a:lnTo>
                    <a:pt x="72" y="750"/>
                  </a:lnTo>
                  <a:lnTo>
                    <a:pt x="72" y="762"/>
                  </a:lnTo>
                  <a:lnTo>
                    <a:pt x="60" y="774"/>
                  </a:lnTo>
                  <a:lnTo>
                    <a:pt x="48" y="780"/>
                  </a:lnTo>
                  <a:lnTo>
                    <a:pt x="42" y="786"/>
                  </a:lnTo>
                  <a:lnTo>
                    <a:pt x="30" y="792"/>
                  </a:lnTo>
                  <a:lnTo>
                    <a:pt x="24" y="798"/>
                  </a:lnTo>
                  <a:lnTo>
                    <a:pt x="18" y="798"/>
                  </a:lnTo>
                  <a:lnTo>
                    <a:pt x="18" y="804"/>
                  </a:lnTo>
                  <a:lnTo>
                    <a:pt x="12" y="810"/>
                  </a:lnTo>
                  <a:lnTo>
                    <a:pt x="0" y="834"/>
                  </a:lnTo>
                  <a:lnTo>
                    <a:pt x="0" y="864"/>
                  </a:lnTo>
                  <a:lnTo>
                    <a:pt x="30" y="834"/>
                  </a:lnTo>
                  <a:lnTo>
                    <a:pt x="30" y="816"/>
                  </a:lnTo>
                  <a:lnTo>
                    <a:pt x="36" y="810"/>
                  </a:lnTo>
                  <a:lnTo>
                    <a:pt x="42" y="810"/>
                  </a:lnTo>
                  <a:lnTo>
                    <a:pt x="78" y="798"/>
                  </a:lnTo>
                  <a:lnTo>
                    <a:pt x="84" y="792"/>
                  </a:lnTo>
                  <a:lnTo>
                    <a:pt x="84" y="762"/>
                  </a:lnTo>
                  <a:lnTo>
                    <a:pt x="90" y="750"/>
                  </a:lnTo>
                  <a:lnTo>
                    <a:pt x="96" y="744"/>
                  </a:lnTo>
                  <a:lnTo>
                    <a:pt x="114" y="738"/>
                  </a:lnTo>
                  <a:lnTo>
                    <a:pt x="126" y="732"/>
                  </a:lnTo>
                  <a:lnTo>
                    <a:pt x="144" y="720"/>
                  </a:lnTo>
                  <a:lnTo>
                    <a:pt x="162" y="714"/>
                  </a:lnTo>
                  <a:lnTo>
                    <a:pt x="168" y="702"/>
                  </a:lnTo>
                  <a:lnTo>
                    <a:pt x="174" y="696"/>
                  </a:lnTo>
                  <a:lnTo>
                    <a:pt x="174" y="684"/>
                  </a:lnTo>
                  <a:lnTo>
                    <a:pt x="156" y="648"/>
                  </a:lnTo>
                  <a:lnTo>
                    <a:pt x="156" y="624"/>
                  </a:lnTo>
                  <a:lnTo>
                    <a:pt x="162" y="612"/>
                  </a:lnTo>
                  <a:lnTo>
                    <a:pt x="162" y="600"/>
                  </a:lnTo>
                  <a:close/>
                  <a:moveTo>
                    <a:pt x="330" y="1026"/>
                  </a:moveTo>
                  <a:lnTo>
                    <a:pt x="372" y="1056"/>
                  </a:lnTo>
                  <a:lnTo>
                    <a:pt x="372" y="1020"/>
                  </a:lnTo>
                  <a:lnTo>
                    <a:pt x="348" y="1002"/>
                  </a:lnTo>
                  <a:lnTo>
                    <a:pt x="330" y="1026"/>
                  </a:lnTo>
                  <a:close/>
                  <a:moveTo>
                    <a:pt x="660" y="840"/>
                  </a:moveTo>
                  <a:lnTo>
                    <a:pt x="660" y="816"/>
                  </a:lnTo>
                  <a:lnTo>
                    <a:pt x="654" y="804"/>
                  </a:lnTo>
                  <a:lnTo>
                    <a:pt x="654" y="792"/>
                  </a:lnTo>
                  <a:lnTo>
                    <a:pt x="642" y="780"/>
                  </a:lnTo>
                  <a:lnTo>
                    <a:pt x="630" y="774"/>
                  </a:lnTo>
                  <a:lnTo>
                    <a:pt x="600" y="744"/>
                  </a:lnTo>
                  <a:lnTo>
                    <a:pt x="588" y="738"/>
                  </a:lnTo>
                  <a:lnTo>
                    <a:pt x="582" y="738"/>
                  </a:lnTo>
                  <a:lnTo>
                    <a:pt x="576" y="744"/>
                  </a:lnTo>
                  <a:lnTo>
                    <a:pt x="582" y="750"/>
                  </a:lnTo>
                  <a:lnTo>
                    <a:pt x="588" y="762"/>
                  </a:lnTo>
                  <a:lnTo>
                    <a:pt x="594" y="768"/>
                  </a:lnTo>
                  <a:lnTo>
                    <a:pt x="606" y="774"/>
                  </a:lnTo>
                  <a:lnTo>
                    <a:pt x="606" y="786"/>
                  </a:lnTo>
                  <a:lnTo>
                    <a:pt x="600" y="786"/>
                  </a:lnTo>
                  <a:lnTo>
                    <a:pt x="588" y="792"/>
                  </a:lnTo>
                  <a:lnTo>
                    <a:pt x="570" y="792"/>
                  </a:lnTo>
                  <a:lnTo>
                    <a:pt x="558" y="798"/>
                  </a:lnTo>
                  <a:lnTo>
                    <a:pt x="546" y="798"/>
                  </a:lnTo>
                  <a:lnTo>
                    <a:pt x="546" y="828"/>
                  </a:lnTo>
                  <a:lnTo>
                    <a:pt x="528" y="828"/>
                  </a:lnTo>
                  <a:lnTo>
                    <a:pt x="522" y="846"/>
                  </a:lnTo>
                  <a:lnTo>
                    <a:pt x="498" y="864"/>
                  </a:lnTo>
                  <a:lnTo>
                    <a:pt x="492" y="864"/>
                  </a:lnTo>
                  <a:lnTo>
                    <a:pt x="486" y="858"/>
                  </a:lnTo>
                  <a:lnTo>
                    <a:pt x="474" y="852"/>
                  </a:lnTo>
                  <a:lnTo>
                    <a:pt x="462" y="852"/>
                  </a:lnTo>
                  <a:lnTo>
                    <a:pt x="450" y="846"/>
                  </a:lnTo>
                  <a:lnTo>
                    <a:pt x="438" y="858"/>
                  </a:lnTo>
                  <a:lnTo>
                    <a:pt x="432" y="870"/>
                  </a:lnTo>
                  <a:lnTo>
                    <a:pt x="420" y="882"/>
                  </a:lnTo>
                  <a:lnTo>
                    <a:pt x="414" y="894"/>
                  </a:lnTo>
                  <a:lnTo>
                    <a:pt x="408" y="900"/>
                  </a:lnTo>
                  <a:lnTo>
                    <a:pt x="408" y="906"/>
                  </a:lnTo>
                  <a:lnTo>
                    <a:pt x="408" y="900"/>
                  </a:lnTo>
                  <a:lnTo>
                    <a:pt x="396" y="888"/>
                  </a:lnTo>
                  <a:lnTo>
                    <a:pt x="384" y="888"/>
                  </a:lnTo>
                  <a:lnTo>
                    <a:pt x="378" y="900"/>
                  </a:lnTo>
                  <a:lnTo>
                    <a:pt x="378" y="912"/>
                  </a:lnTo>
                  <a:lnTo>
                    <a:pt x="372" y="924"/>
                  </a:lnTo>
                  <a:lnTo>
                    <a:pt x="366" y="930"/>
                  </a:lnTo>
                  <a:lnTo>
                    <a:pt x="360" y="942"/>
                  </a:lnTo>
                  <a:lnTo>
                    <a:pt x="384" y="960"/>
                  </a:lnTo>
                  <a:lnTo>
                    <a:pt x="402" y="942"/>
                  </a:lnTo>
                  <a:lnTo>
                    <a:pt x="414" y="966"/>
                  </a:lnTo>
                  <a:lnTo>
                    <a:pt x="420" y="960"/>
                  </a:lnTo>
                  <a:lnTo>
                    <a:pt x="432" y="954"/>
                  </a:lnTo>
                  <a:lnTo>
                    <a:pt x="450" y="936"/>
                  </a:lnTo>
                  <a:lnTo>
                    <a:pt x="462" y="930"/>
                  </a:lnTo>
                  <a:lnTo>
                    <a:pt x="474" y="930"/>
                  </a:lnTo>
                  <a:lnTo>
                    <a:pt x="498" y="954"/>
                  </a:lnTo>
                  <a:lnTo>
                    <a:pt x="510" y="960"/>
                  </a:lnTo>
                  <a:lnTo>
                    <a:pt x="492" y="978"/>
                  </a:lnTo>
                  <a:lnTo>
                    <a:pt x="492" y="990"/>
                  </a:lnTo>
                  <a:lnTo>
                    <a:pt x="510" y="1026"/>
                  </a:lnTo>
                  <a:lnTo>
                    <a:pt x="522" y="1044"/>
                  </a:lnTo>
                  <a:lnTo>
                    <a:pt x="534" y="1056"/>
                  </a:lnTo>
                  <a:lnTo>
                    <a:pt x="546" y="1062"/>
                  </a:lnTo>
                  <a:lnTo>
                    <a:pt x="558" y="1062"/>
                  </a:lnTo>
                  <a:lnTo>
                    <a:pt x="570" y="1068"/>
                  </a:lnTo>
                  <a:lnTo>
                    <a:pt x="582" y="1068"/>
                  </a:lnTo>
                  <a:lnTo>
                    <a:pt x="606" y="1050"/>
                  </a:lnTo>
                  <a:lnTo>
                    <a:pt x="606" y="1074"/>
                  </a:lnTo>
                  <a:lnTo>
                    <a:pt x="630" y="1074"/>
                  </a:lnTo>
                  <a:lnTo>
                    <a:pt x="630" y="1038"/>
                  </a:lnTo>
                  <a:lnTo>
                    <a:pt x="624" y="1032"/>
                  </a:lnTo>
                  <a:lnTo>
                    <a:pt x="606" y="996"/>
                  </a:lnTo>
                  <a:lnTo>
                    <a:pt x="606" y="984"/>
                  </a:lnTo>
                  <a:lnTo>
                    <a:pt x="612" y="972"/>
                  </a:lnTo>
                  <a:lnTo>
                    <a:pt x="624" y="960"/>
                  </a:lnTo>
                  <a:lnTo>
                    <a:pt x="654" y="1014"/>
                  </a:lnTo>
                  <a:lnTo>
                    <a:pt x="654" y="1008"/>
                  </a:lnTo>
                  <a:lnTo>
                    <a:pt x="660" y="1002"/>
                  </a:lnTo>
                  <a:lnTo>
                    <a:pt x="672" y="978"/>
                  </a:lnTo>
                  <a:lnTo>
                    <a:pt x="678" y="960"/>
                  </a:lnTo>
                  <a:lnTo>
                    <a:pt x="678" y="936"/>
                  </a:lnTo>
                  <a:lnTo>
                    <a:pt x="672" y="918"/>
                  </a:lnTo>
                  <a:lnTo>
                    <a:pt x="666" y="912"/>
                  </a:lnTo>
                  <a:lnTo>
                    <a:pt x="660" y="900"/>
                  </a:lnTo>
                  <a:lnTo>
                    <a:pt x="660" y="840"/>
                  </a:lnTo>
                  <a:close/>
                  <a:moveTo>
                    <a:pt x="330" y="384"/>
                  </a:moveTo>
                  <a:lnTo>
                    <a:pt x="348" y="384"/>
                  </a:lnTo>
                  <a:lnTo>
                    <a:pt x="354" y="390"/>
                  </a:lnTo>
                  <a:lnTo>
                    <a:pt x="366" y="396"/>
                  </a:lnTo>
                  <a:lnTo>
                    <a:pt x="366" y="408"/>
                  </a:lnTo>
                  <a:lnTo>
                    <a:pt x="372" y="420"/>
                  </a:lnTo>
                  <a:lnTo>
                    <a:pt x="384" y="438"/>
                  </a:lnTo>
                  <a:lnTo>
                    <a:pt x="396" y="450"/>
                  </a:lnTo>
                  <a:lnTo>
                    <a:pt x="414" y="462"/>
                  </a:lnTo>
                  <a:lnTo>
                    <a:pt x="432" y="462"/>
                  </a:lnTo>
                  <a:lnTo>
                    <a:pt x="444" y="438"/>
                  </a:lnTo>
                  <a:lnTo>
                    <a:pt x="444" y="426"/>
                  </a:lnTo>
                  <a:lnTo>
                    <a:pt x="432" y="402"/>
                  </a:lnTo>
                  <a:lnTo>
                    <a:pt x="420" y="396"/>
                  </a:lnTo>
                  <a:lnTo>
                    <a:pt x="408" y="396"/>
                  </a:lnTo>
                  <a:lnTo>
                    <a:pt x="408" y="390"/>
                  </a:lnTo>
                  <a:lnTo>
                    <a:pt x="414" y="384"/>
                  </a:lnTo>
                  <a:lnTo>
                    <a:pt x="414" y="378"/>
                  </a:lnTo>
                  <a:lnTo>
                    <a:pt x="420" y="372"/>
                  </a:lnTo>
                  <a:lnTo>
                    <a:pt x="408" y="372"/>
                  </a:lnTo>
                  <a:lnTo>
                    <a:pt x="396" y="366"/>
                  </a:lnTo>
                  <a:lnTo>
                    <a:pt x="390" y="360"/>
                  </a:lnTo>
                  <a:lnTo>
                    <a:pt x="372" y="360"/>
                  </a:lnTo>
                  <a:lnTo>
                    <a:pt x="366" y="366"/>
                  </a:lnTo>
                  <a:lnTo>
                    <a:pt x="354" y="372"/>
                  </a:lnTo>
                  <a:lnTo>
                    <a:pt x="342" y="360"/>
                  </a:lnTo>
                  <a:lnTo>
                    <a:pt x="330" y="354"/>
                  </a:lnTo>
                  <a:lnTo>
                    <a:pt x="312" y="354"/>
                  </a:lnTo>
                  <a:lnTo>
                    <a:pt x="300" y="366"/>
                  </a:lnTo>
                  <a:lnTo>
                    <a:pt x="288" y="372"/>
                  </a:lnTo>
                  <a:lnTo>
                    <a:pt x="282" y="372"/>
                  </a:lnTo>
                  <a:lnTo>
                    <a:pt x="264" y="354"/>
                  </a:lnTo>
                  <a:lnTo>
                    <a:pt x="258" y="342"/>
                  </a:lnTo>
                  <a:lnTo>
                    <a:pt x="258" y="252"/>
                  </a:lnTo>
                  <a:lnTo>
                    <a:pt x="270" y="228"/>
                  </a:lnTo>
                  <a:lnTo>
                    <a:pt x="270" y="222"/>
                  </a:lnTo>
                  <a:lnTo>
                    <a:pt x="288" y="204"/>
                  </a:lnTo>
                  <a:lnTo>
                    <a:pt x="288" y="174"/>
                  </a:lnTo>
                  <a:lnTo>
                    <a:pt x="276" y="150"/>
                  </a:lnTo>
                  <a:lnTo>
                    <a:pt x="276" y="126"/>
                  </a:lnTo>
                  <a:lnTo>
                    <a:pt x="282" y="108"/>
                  </a:lnTo>
                  <a:lnTo>
                    <a:pt x="282" y="72"/>
                  </a:lnTo>
                  <a:lnTo>
                    <a:pt x="264" y="54"/>
                  </a:lnTo>
                  <a:lnTo>
                    <a:pt x="264" y="36"/>
                  </a:lnTo>
                  <a:lnTo>
                    <a:pt x="258" y="30"/>
                  </a:lnTo>
                  <a:lnTo>
                    <a:pt x="258" y="6"/>
                  </a:lnTo>
                  <a:lnTo>
                    <a:pt x="252" y="0"/>
                  </a:lnTo>
                  <a:lnTo>
                    <a:pt x="240" y="0"/>
                  </a:lnTo>
                  <a:lnTo>
                    <a:pt x="234" y="6"/>
                  </a:lnTo>
                  <a:lnTo>
                    <a:pt x="234" y="12"/>
                  </a:lnTo>
                  <a:lnTo>
                    <a:pt x="228" y="18"/>
                  </a:lnTo>
                  <a:lnTo>
                    <a:pt x="216" y="24"/>
                  </a:lnTo>
                  <a:lnTo>
                    <a:pt x="204" y="24"/>
                  </a:lnTo>
                  <a:lnTo>
                    <a:pt x="192" y="18"/>
                  </a:lnTo>
                  <a:lnTo>
                    <a:pt x="186" y="12"/>
                  </a:lnTo>
                  <a:lnTo>
                    <a:pt x="174" y="12"/>
                  </a:lnTo>
                  <a:lnTo>
                    <a:pt x="162" y="18"/>
                  </a:lnTo>
                  <a:lnTo>
                    <a:pt x="162" y="36"/>
                  </a:lnTo>
                  <a:lnTo>
                    <a:pt x="156" y="42"/>
                  </a:lnTo>
                  <a:lnTo>
                    <a:pt x="156" y="48"/>
                  </a:lnTo>
                  <a:lnTo>
                    <a:pt x="144" y="72"/>
                  </a:lnTo>
                  <a:lnTo>
                    <a:pt x="132" y="84"/>
                  </a:lnTo>
                  <a:lnTo>
                    <a:pt x="132" y="96"/>
                  </a:lnTo>
                  <a:lnTo>
                    <a:pt x="138" y="102"/>
                  </a:lnTo>
                  <a:lnTo>
                    <a:pt x="144" y="114"/>
                  </a:lnTo>
                  <a:lnTo>
                    <a:pt x="150" y="132"/>
                  </a:lnTo>
                  <a:lnTo>
                    <a:pt x="156" y="138"/>
                  </a:lnTo>
                  <a:lnTo>
                    <a:pt x="156" y="150"/>
                  </a:lnTo>
                  <a:lnTo>
                    <a:pt x="150" y="162"/>
                  </a:lnTo>
                  <a:lnTo>
                    <a:pt x="150" y="168"/>
                  </a:lnTo>
                  <a:lnTo>
                    <a:pt x="144" y="174"/>
                  </a:lnTo>
                  <a:lnTo>
                    <a:pt x="138" y="186"/>
                  </a:lnTo>
                  <a:lnTo>
                    <a:pt x="138" y="198"/>
                  </a:lnTo>
                  <a:lnTo>
                    <a:pt x="150" y="210"/>
                  </a:lnTo>
                  <a:lnTo>
                    <a:pt x="150" y="216"/>
                  </a:lnTo>
                  <a:lnTo>
                    <a:pt x="144" y="222"/>
                  </a:lnTo>
                  <a:lnTo>
                    <a:pt x="138" y="222"/>
                  </a:lnTo>
                  <a:lnTo>
                    <a:pt x="126" y="228"/>
                  </a:lnTo>
                  <a:lnTo>
                    <a:pt x="120" y="228"/>
                  </a:lnTo>
                  <a:lnTo>
                    <a:pt x="120" y="210"/>
                  </a:lnTo>
                  <a:lnTo>
                    <a:pt x="114" y="204"/>
                  </a:lnTo>
                  <a:lnTo>
                    <a:pt x="114" y="252"/>
                  </a:lnTo>
                  <a:lnTo>
                    <a:pt x="150" y="306"/>
                  </a:lnTo>
                  <a:lnTo>
                    <a:pt x="174" y="330"/>
                  </a:lnTo>
                  <a:lnTo>
                    <a:pt x="186" y="348"/>
                  </a:lnTo>
                  <a:lnTo>
                    <a:pt x="204" y="384"/>
                  </a:lnTo>
                  <a:lnTo>
                    <a:pt x="216" y="402"/>
                  </a:lnTo>
                  <a:lnTo>
                    <a:pt x="228" y="408"/>
                  </a:lnTo>
                  <a:lnTo>
                    <a:pt x="252" y="408"/>
                  </a:lnTo>
                  <a:lnTo>
                    <a:pt x="258" y="396"/>
                  </a:lnTo>
                  <a:lnTo>
                    <a:pt x="270" y="390"/>
                  </a:lnTo>
                  <a:lnTo>
                    <a:pt x="276" y="384"/>
                  </a:lnTo>
                  <a:lnTo>
                    <a:pt x="288" y="384"/>
                  </a:lnTo>
                  <a:lnTo>
                    <a:pt x="294" y="396"/>
                  </a:lnTo>
                  <a:lnTo>
                    <a:pt x="306" y="402"/>
                  </a:lnTo>
                  <a:lnTo>
                    <a:pt x="324" y="420"/>
                  </a:lnTo>
                  <a:lnTo>
                    <a:pt x="342" y="420"/>
                  </a:lnTo>
                  <a:lnTo>
                    <a:pt x="342" y="402"/>
                  </a:lnTo>
                  <a:lnTo>
                    <a:pt x="336" y="396"/>
                  </a:lnTo>
                  <a:lnTo>
                    <a:pt x="330" y="384"/>
                  </a:lnTo>
                  <a:close/>
                  <a:moveTo>
                    <a:pt x="258" y="432"/>
                  </a:moveTo>
                  <a:lnTo>
                    <a:pt x="246" y="426"/>
                  </a:lnTo>
                  <a:lnTo>
                    <a:pt x="204" y="426"/>
                  </a:lnTo>
                  <a:lnTo>
                    <a:pt x="234" y="468"/>
                  </a:lnTo>
                  <a:lnTo>
                    <a:pt x="258" y="534"/>
                  </a:lnTo>
                  <a:lnTo>
                    <a:pt x="270" y="528"/>
                  </a:lnTo>
                  <a:lnTo>
                    <a:pt x="276" y="516"/>
                  </a:lnTo>
                  <a:lnTo>
                    <a:pt x="282" y="510"/>
                  </a:lnTo>
                  <a:lnTo>
                    <a:pt x="282" y="486"/>
                  </a:lnTo>
                  <a:lnTo>
                    <a:pt x="276" y="480"/>
                  </a:lnTo>
                  <a:lnTo>
                    <a:pt x="270" y="468"/>
                  </a:lnTo>
                  <a:lnTo>
                    <a:pt x="270" y="450"/>
                  </a:lnTo>
                  <a:lnTo>
                    <a:pt x="264" y="438"/>
                  </a:lnTo>
                  <a:lnTo>
                    <a:pt x="258" y="432"/>
                  </a:lnTo>
                  <a:close/>
                  <a:moveTo>
                    <a:pt x="330" y="648"/>
                  </a:moveTo>
                  <a:lnTo>
                    <a:pt x="336" y="660"/>
                  </a:lnTo>
                  <a:lnTo>
                    <a:pt x="354" y="678"/>
                  </a:lnTo>
                  <a:lnTo>
                    <a:pt x="360" y="672"/>
                  </a:lnTo>
                  <a:lnTo>
                    <a:pt x="372" y="666"/>
                  </a:lnTo>
                  <a:lnTo>
                    <a:pt x="378" y="660"/>
                  </a:lnTo>
                  <a:lnTo>
                    <a:pt x="384" y="660"/>
                  </a:lnTo>
                  <a:lnTo>
                    <a:pt x="390" y="666"/>
                  </a:lnTo>
                  <a:lnTo>
                    <a:pt x="390" y="696"/>
                  </a:lnTo>
                  <a:lnTo>
                    <a:pt x="402" y="708"/>
                  </a:lnTo>
                  <a:lnTo>
                    <a:pt x="396" y="720"/>
                  </a:lnTo>
                  <a:lnTo>
                    <a:pt x="390" y="726"/>
                  </a:lnTo>
                  <a:lnTo>
                    <a:pt x="372" y="762"/>
                  </a:lnTo>
                  <a:lnTo>
                    <a:pt x="372" y="786"/>
                  </a:lnTo>
                  <a:lnTo>
                    <a:pt x="378" y="792"/>
                  </a:lnTo>
                  <a:lnTo>
                    <a:pt x="384" y="804"/>
                  </a:lnTo>
                  <a:lnTo>
                    <a:pt x="396" y="804"/>
                  </a:lnTo>
                  <a:lnTo>
                    <a:pt x="408" y="798"/>
                  </a:lnTo>
                  <a:lnTo>
                    <a:pt x="420" y="798"/>
                  </a:lnTo>
                  <a:lnTo>
                    <a:pt x="432" y="792"/>
                  </a:lnTo>
                  <a:lnTo>
                    <a:pt x="438" y="786"/>
                  </a:lnTo>
                  <a:lnTo>
                    <a:pt x="438" y="768"/>
                  </a:lnTo>
                  <a:lnTo>
                    <a:pt x="432" y="756"/>
                  </a:lnTo>
                  <a:lnTo>
                    <a:pt x="426" y="738"/>
                  </a:lnTo>
                  <a:lnTo>
                    <a:pt x="426" y="726"/>
                  </a:lnTo>
                  <a:lnTo>
                    <a:pt x="432" y="714"/>
                  </a:lnTo>
                  <a:lnTo>
                    <a:pt x="444" y="678"/>
                  </a:lnTo>
                  <a:lnTo>
                    <a:pt x="444" y="660"/>
                  </a:lnTo>
                  <a:lnTo>
                    <a:pt x="438" y="648"/>
                  </a:lnTo>
                  <a:lnTo>
                    <a:pt x="432" y="642"/>
                  </a:lnTo>
                  <a:lnTo>
                    <a:pt x="426" y="642"/>
                  </a:lnTo>
                  <a:lnTo>
                    <a:pt x="414" y="654"/>
                  </a:lnTo>
                  <a:lnTo>
                    <a:pt x="402" y="660"/>
                  </a:lnTo>
                  <a:lnTo>
                    <a:pt x="396" y="660"/>
                  </a:lnTo>
                  <a:lnTo>
                    <a:pt x="396" y="648"/>
                  </a:lnTo>
                  <a:lnTo>
                    <a:pt x="408" y="624"/>
                  </a:lnTo>
                  <a:lnTo>
                    <a:pt x="408" y="612"/>
                  </a:lnTo>
                  <a:lnTo>
                    <a:pt x="414" y="600"/>
                  </a:lnTo>
                  <a:lnTo>
                    <a:pt x="414" y="594"/>
                  </a:lnTo>
                  <a:lnTo>
                    <a:pt x="408" y="588"/>
                  </a:lnTo>
                  <a:lnTo>
                    <a:pt x="372" y="570"/>
                  </a:lnTo>
                  <a:lnTo>
                    <a:pt x="366" y="564"/>
                  </a:lnTo>
                  <a:lnTo>
                    <a:pt x="330" y="564"/>
                  </a:lnTo>
                  <a:lnTo>
                    <a:pt x="324" y="570"/>
                  </a:lnTo>
                  <a:lnTo>
                    <a:pt x="324" y="576"/>
                  </a:lnTo>
                  <a:lnTo>
                    <a:pt x="330" y="582"/>
                  </a:lnTo>
                  <a:lnTo>
                    <a:pt x="336" y="582"/>
                  </a:lnTo>
                  <a:lnTo>
                    <a:pt x="342" y="594"/>
                  </a:lnTo>
                  <a:lnTo>
                    <a:pt x="342" y="600"/>
                  </a:lnTo>
                  <a:lnTo>
                    <a:pt x="336" y="606"/>
                  </a:lnTo>
                  <a:lnTo>
                    <a:pt x="336" y="618"/>
                  </a:lnTo>
                  <a:lnTo>
                    <a:pt x="330" y="630"/>
                  </a:lnTo>
                  <a:lnTo>
                    <a:pt x="330" y="648"/>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81" name="Peru" descr="© INSCALE GmbH, 05.05.2010&#10;http://www.presentationload.com/">
              <a:extLst>
                <a:ext uri="{FF2B5EF4-FFF2-40B4-BE49-F238E27FC236}">
                  <a16:creationId xmlns:a16="http://schemas.microsoft.com/office/drawing/2014/main" id="{CC77B11F-9637-4403-B6C9-A8A9CDDC169C}"/>
                </a:ext>
              </a:extLst>
            </p:cNvPr>
            <p:cNvSpPr>
              <a:spLocks/>
            </p:cNvSpPr>
            <p:nvPr/>
          </p:nvSpPr>
          <p:spPr bwMode="gray">
            <a:xfrm>
              <a:off x="1829069" y="4251062"/>
              <a:ext cx="373189" cy="592713"/>
            </a:xfrm>
            <a:custGeom>
              <a:avLst/>
              <a:gdLst>
                <a:gd name="T0" fmla="*/ 2147483647 w 942"/>
                <a:gd name="T1" fmla="*/ 2147483647 h 1488"/>
                <a:gd name="T2" fmla="*/ 2147483647 w 942"/>
                <a:gd name="T3" fmla="*/ 2147483647 h 1488"/>
                <a:gd name="T4" fmla="*/ 2147483647 w 942"/>
                <a:gd name="T5" fmla="*/ 2147483647 h 1488"/>
                <a:gd name="T6" fmla="*/ 2147483647 w 942"/>
                <a:gd name="T7" fmla="*/ 2147483647 h 1488"/>
                <a:gd name="T8" fmla="*/ 2147483647 w 942"/>
                <a:gd name="T9" fmla="*/ 2147483647 h 1488"/>
                <a:gd name="T10" fmla="*/ 2147483647 w 942"/>
                <a:gd name="T11" fmla="*/ 2147483647 h 1488"/>
                <a:gd name="T12" fmla="*/ 2147483647 w 942"/>
                <a:gd name="T13" fmla="*/ 2147483647 h 1488"/>
                <a:gd name="T14" fmla="*/ 2147483647 w 942"/>
                <a:gd name="T15" fmla="*/ 2147483647 h 1488"/>
                <a:gd name="T16" fmla="*/ 2147483647 w 942"/>
                <a:gd name="T17" fmla="*/ 2147483647 h 1488"/>
                <a:gd name="T18" fmla="*/ 2147483647 w 942"/>
                <a:gd name="T19" fmla="*/ 2147483647 h 1488"/>
                <a:gd name="T20" fmla="*/ 2147483647 w 942"/>
                <a:gd name="T21" fmla="*/ 2147483647 h 1488"/>
                <a:gd name="T22" fmla="*/ 2147483647 w 942"/>
                <a:gd name="T23" fmla="*/ 2147483647 h 1488"/>
                <a:gd name="T24" fmla="*/ 2147483647 w 942"/>
                <a:gd name="T25" fmla="*/ 2147483647 h 1488"/>
                <a:gd name="T26" fmla="*/ 2147483647 w 942"/>
                <a:gd name="T27" fmla="*/ 2147483647 h 1488"/>
                <a:gd name="T28" fmla="*/ 2147483647 w 942"/>
                <a:gd name="T29" fmla="*/ 2147483647 h 1488"/>
                <a:gd name="T30" fmla="*/ 2147483647 w 942"/>
                <a:gd name="T31" fmla="*/ 2147483647 h 1488"/>
                <a:gd name="T32" fmla="*/ 2147483647 w 942"/>
                <a:gd name="T33" fmla="*/ 2147483647 h 1488"/>
                <a:gd name="T34" fmla="*/ 2147483647 w 942"/>
                <a:gd name="T35" fmla="*/ 2147483647 h 1488"/>
                <a:gd name="T36" fmla="*/ 2147483647 w 942"/>
                <a:gd name="T37" fmla="*/ 2147483647 h 1488"/>
                <a:gd name="T38" fmla="*/ 2147483647 w 942"/>
                <a:gd name="T39" fmla="*/ 2147483647 h 1488"/>
                <a:gd name="T40" fmla="*/ 2147483647 w 942"/>
                <a:gd name="T41" fmla="*/ 2147483647 h 1488"/>
                <a:gd name="T42" fmla="*/ 2147483647 w 942"/>
                <a:gd name="T43" fmla="*/ 2147483647 h 1488"/>
                <a:gd name="T44" fmla="*/ 2147483647 w 942"/>
                <a:gd name="T45" fmla="*/ 2147483647 h 1488"/>
                <a:gd name="T46" fmla="*/ 2147483647 w 942"/>
                <a:gd name="T47" fmla="*/ 2147483647 h 1488"/>
                <a:gd name="T48" fmla="*/ 2147483647 w 942"/>
                <a:gd name="T49" fmla="*/ 2147483647 h 1488"/>
                <a:gd name="T50" fmla="*/ 2147483647 w 942"/>
                <a:gd name="T51" fmla="*/ 2147483647 h 1488"/>
                <a:gd name="T52" fmla="*/ 2147483647 w 942"/>
                <a:gd name="T53" fmla="*/ 2147483647 h 1488"/>
                <a:gd name="T54" fmla="*/ 2147483647 w 942"/>
                <a:gd name="T55" fmla="*/ 2147483647 h 1488"/>
                <a:gd name="T56" fmla="*/ 2147483647 w 942"/>
                <a:gd name="T57" fmla="*/ 2147483647 h 1488"/>
                <a:gd name="T58" fmla="*/ 2147483647 w 942"/>
                <a:gd name="T59" fmla="*/ 2147483647 h 1488"/>
                <a:gd name="T60" fmla="*/ 2147483647 w 942"/>
                <a:gd name="T61" fmla="*/ 2147483647 h 1488"/>
                <a:gd name="T62" fmla="*/ 2147483647 w 942"/>
                <a:gd name="T63" fmla="*/ 0 h 1488"/>
                <a:gd name="T64" fmla="*/ 2147483647 w 942"/>
                <a:gd name="T65" fmla="*/ 2147483647 h 1488"/>
                <a:gd name="T66" fmla="*/ 2147483647 w 942"/>
                <a:gd name="T67" fmla="*/ 2147483647 h 1488"/>
                <a:gd name="T68" fmla="*/ 2147483647 w 942"/>
                <a:gd name="T69" fmla="*/ 2147483647 h 1488"/>
                <a:gd name="T70" fmla="*/ 2147483647 w 942"/>
                <a:gd name="T71" fmla="*/ 2147483647 h 1488"/>
                <a:gd name="T72" fmla="*/ 2147483647 w 942"/>
                <a:gd name="T73" fmla="*/ 2147483647 h 1488"/>
                <a:gd name="T74" fmla="*/ 2147483647 w 942"/>
                <a:gd name="T75" fmla="*/ 2147483647 h 1488"/>
                <a:gd name="T76" fmla="*/ 2147483647 w 942"/>
                <a:gd name="T77" fmla="*/ 2147483647 h 1488"/>
                <a:gd name="T78" fmla="*/ 2147483647 w 942"/>
                <a:gd name="T79" fmla="*/ 2147483647 h 1488"/>
                <a:gd name="T80" fmla="*/ 2147483647 w 942"/>
                <a:gd name="T81" fmla="*/ 2147483647 h 1488"/>
                <a:gd name="T82" fmla="*/ 2147483647 w 942"/>
                <a:gd name="T83" fmla="*/ 2147483647 h 1488"/>
                <a:gd name="T84" fmla="*/ 0 w 942"/>
                <a:gd name="T85" fmla="*/ 2147483647 h 1488"/>
                <a:gd name="T86" fmla="*/ 2147483647 w 942"/>
                <a:gd name="T87" fmla="*/ 2147483647 h 1488"/>
                <a:gd name="T88" fmla="*/ 2147483647 w 942"/>
                <a:gd name="T89" fmla="*/ 2147483647 h 1488"/>
                <a:gd name="T90" fmla="*/ 2147483647 w 942"/>
                <a:gd name="T91" fmla="*/ 2147483647 h 1488"/>
                <a:gd name="T92" fmla="*/ 2147483647 w 942"/>
                <a:gd name="T93" fmla="*/ 2147483647 h 1488"/>
                <a:gd name="T94" fmla="*/ 2147483647 w 942"/>
                <a:gd name="T95" fmla="*/ 2147483647 h 1488"/>
                <a:gd name="T96" fmla="*/ 2147483647 w 942"/>
                <a:gd name="T97" fmla="*/ 2147483647 h 1488"/>
                <a:gd name="T98" fmla="*/ 2147483647 w 942"/>
                <a:gd name="T99" fmla="*/ 2147483647 h 1488"/>
                <a:gd name="T100" fmla="*/ 2147483647 w 942"/>
                <a:gd name="T101" fmla="*/ 2147483647 h 1488"/>
                <a:gd name="T102" fmla="*/ 2147483647 w 942"/>
                <a:gd name="T103" fmla="*/ 2147483647 h 1488"/>
                <a:gd name="T104" fmla="*/ 2147483647 w 942"/>
                <a:gd name="T105" fmla="*/ 2147483647 h 1488"/>
                <a:gd name="T106" fmla="*/ 2147483647 w 942"/>
                <a:gd name="T107" fmla="*/ 2147483647 h 1488"/>
                <a:gd name="T108" fmla="*/ 2147483647 w 942"/>
                <a:gd name="T109" fmla="*/ 2147483647 h 1488"/>
                <a:gd name="T110" fmla="*/ 2147483647 w 942"/>
                <a:gd name="T111" fmla="*/ 2147483647 h 1488"/>
                <a:gd name="T112" fmla="*/ 2147483647 w 942"/>
                <a:gd name="T113" fmla="*/ 2147483647 h 1488"/>
                <a:gd name="T114" fmla="*/ 2147483647 w 942"/>
                <a:gd name="T115" fmla="*/ 2147483647 h 1488"/>
                <a:gd name="T116" fmla="*/ 2147483647 w 942"/>
                <a:gd name="T117" fmla="*/ 2147483647 h 1488"/>
                <a:gd name="T118" fmla="*/ 2147483647 w 942"/>
                <a:gd name="T119" fmla="*/ 2147483647 h 1488"/>
                <a:gd name="T120" fmla="*/ 2147483647 w 942"/>
                <a:gd name="T121" fmla="*/ 2147483647 h 14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42"/>
                <a:gd name="T184" fmla="*/ 0 h 1488"/>
                <a:gd name="T185" fmla="*/ 942 w 942"/>
                <a:gd name="T186" fmla="*/ 1488 h 14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42" h="1488">
                  <a:moveTo>
                    <a:pt x="930" y="1320"/>
                  </a:moveTo>
                  <a:lnTo>
                    <a:pt x="924" y="1314"/>
                  </a:lnTo>
                  <a:lnTo>
                    <a:pt x="912" y="1308"/>
                  </a:lnTo>
                  <a:lnTo>
                    <a:pt x="888" y="1284"/>
                  </a:lnTo>
                  <a:lnTo>
                    <a:pt x="864" y="1284"/>
                  </a:lnTo>
                  <a:lnTo>
                    <a:pt x="858" y="1278"/>
                  </a:lnTo>
                  <a:lnTo>
                    <a:pt x="870" y="1260"/>
                  </a:lnTo>
                  <a:lnTo>
                    <a:pt x="870" y="1230"/>
                  </a:lnTo>
                  <a:lnTo>
                    <a:pt x="882" y="1230"/>
                  </a:lnTo>
                  <a:lnTo>
                    <a:pt x="906" y="1254"/>
                  </a:lnTo>
                  <a:lnTo>
                    <a:pt x="918" y="1236"/>
                  </a:lnTo>
                  <a:lnTo>
                    <a:pt x="918" y="1230"/>
                  </a:lnTo>
                  <a:lnTo>
                    <a:pt x="912" y="1224"/>
                  </a:lnTo>
                  <a:lnTo>
                    <a:pt x="906" y="1212"/>
                  </a:lnTo>
                  <a:lnTo>
                    <a:pt x="900" y="1194"/>
                  </a:lnTo>
                  <a:lnTo>
                    <a:pt x="912" y="1170"/>
                  </a:lnTo>
                  <a:lnTo>
                    <a:pt x="924" y="1158"/>
                  </a:lnTo>
                  <a:lnTo>
                    <a:pt x="930" y="1146"/>
                  </a:lnTo>
                  <a:lnTo>
                    <a:pt x="930" y="1140"/>
                  </a:lnTo>
                  <a:lnTo>
                    <a:pt x="924" y="1128"/>
                  </a:lnTo>
                  <a:lnTo>
                    <a:pt x="912" y="1116"/>
                  </a:lnTo>
                  <a:lnTo>
                    <a:pt x="906" y="1116"/>
                  </a:lnTo>
                  <a:lnTo>
                    <a:pt x="924" y="1086"/>
                  </a:lnTo>
                  <a:lnTo>
                    <a:pt x="912" y="1038"/>
                  </a:lnTo>
                  <a:lnTo>
                    <a:pt x="918" y="1032"/>
                  </a:lnTo>
                  <a:lnTo>
                    <a:pt x="924" y="1020"/>
                  </a:lnTo>
                  <a:lnTo>
                    <a:pt x="930" y="1014"/>
                  </a:lnTo>
                  <a:lnTo>
                    <a:pt x="930" y="1002"/>
                  </a:lnTo>
                  <a:lnTo>
                    <a:pt x="918" y="978"/>
                  </a:lnTo>
                  <a:lnTo>
                    <a:pt x="906" y="960"/>
                  </a:lnTo>
                  <a:lnTo>
                    <a:pt x="894" y="948"/>
                  </a:lnTo>
                  <a:lnTo>
                    <a:pt x="882" y="930"/>
                  </a:lnTo>
                  <a:lnTo>
                    <a:pt x="870" y="918"/>
                  </a:lnTo>
                  <a:lnTo>
                    <a:pt x="864" y="900"/>
                  </a:lnTo>
                  <a:lnTo>
                    <a:pt x="864" y="882"/>
                  </a:lnTo>
                  <a:lnTo>
                    <a:pt x="828" y="882"/>
                  </a:lnTo>
                  <a:lnTo>
                    <a:pt x="822" y="888"/>
                  </a:lnTo>
                  <a:lnTo>
                    <a:pt x="816" y="888"/>
                  </a:lnTo>
                  <a:lnTo>
                    <a:pt x="816" y="894"/>
                  </a:lnTo>
                  <a:lnTo>
                    <a:pt x="804" y="894"/>
                  </a:lnTo>
                  <a:lnTo>
                    <a:pt x="798" y="888"/>
                  </a:lnTo>
                  <a:lnTo>
                    <a:pt x="798" y="882"/>
                  </a:lnTo>
                  <a:lnTo>
                    <a:pt x="786" y="888"/>
                  </a:lnTo>
                  <a:lnTo>
                    <a:pt x="786" y="858"/>
                  </a:lnTo>
                  <a:lnTo>
                    <a:pt x="780" y="840"/>
                  </a:lnTo>
                  <a:lnTo>
                    <a:pt x="780" y="828"/>
                  </a:lnTo>
                  <a:lnTo>
                    <a:pt x="786" y="816"/>
                  </a:lnTo>
                  <a:lnTo>
                    <a:pt x="786" y="804"/>
                  </a:lnTo>
                  <a:lnTo>
                    <a:pt x="792" y="798"/>
                  </a:lnTo>
                  <a:lnTo>
                    <a:pt x="792" y="780"/>
                  </a:lnTo>
                  <a:lnTo>
                    <a:pt x="786" y="768"/>
                  </a:lnTo>
                  <a:lnTo>
                    <a:pt x="786" y="756"/>
                  </a:lnTo>
                  <a:lnTo>
                    <a:pt x="732" y="804"/>
                  </a:lnTo>
                  <a:lnTo>
                    <a:pt x="672" y="810"/>
                  </a:lnTo>
                  <a:lnTo>
                    <a:pt x="672" y="804"/>
                  </a:lnTo>
                  <a:lnTo>
                    <a:pt x="666" y="798"/>
                  </a:lnTo>
                  <a:lnTo>
                    <a:pt x="660" y="786"/>
                  </a:lnTo>
                  <a:lnTo>
                    <a:pt x="660" y="774"/>
                  </a:lnTo>
                  <a:lnTo>
                    <a:pt x="654" y="768"/>
                  </a:lnTo>
                  <a:lnTo>
                    <a:pt x="648" y="768"/>
                  </a:lnTo>
                  <a:lnTo>
                    <a:pt x="636" y="762"/>
                  </a:lnTo>
                  <a:lnTo>
                    <a:pt x="594" y="762"/>
                  </a:lnTo>
                  <a:lnTo>
                    <a:pt x="600" y="756"/>
                  </a:lnTo>
                  <a:lnTo>
                    <a:pt x="612" y="750"/>
                  </a:lnTo>
                  <a:lnTo>
                    <a:pt x="618" y="738"/>
                  </a:lnTo>
                  <a:lnTo>
                    <a:pt x="624" y="732"/>
                  </a:lnTo>
                  <a:lnTo>
                    <a:pt x="600" y="708"/>
                  </a:lnTo>
                  <a:lnTo>
                    <a:pt x="588" y="702"/>
                  </a:lnTo>
                  <a:lnTo>
                    <a:pt x="576" y="690"/>
                  </a:lnTo>
                  <a:lnTo>
                    <a:pt x="564" y="666"/>
                  </a:lnTo>
                  <a:lnTo>
                    <a:pt x="558" y="660"/>
                  </a:lnTo>
                  <a:lnTo>
                    <a:pt x="558" y="654"/>
                  </a:lnTo>
                  <a:lnTo>
                    <a:pt x="552" y="630"/>
                  </a:lnTo>
                  <a:lnTo>
                    <a:pt x="540" y="624"/>
                  </a:lnTo>
                  <a:lnTo>
                    <a:pt x="534" y="618"/>
                  </a:lnTo>
                  <a:lnTo>
                    <a:pt x="534" y="606"/>
                  </a:lnTo>
                  <a:lnTo>
                    <a:pt x="540" y="600"/>
                  </a:lnTo>
                  <a:lnTo>
                    <a:pt x="552" y="594"/>
                  </a:lnTo>
                  <a:lnTo>
                    <a:pt x="546" y="588"/>
                  </a:lnTo>
                  <a:lnTo>
                    <a:pt x="546" y="564"/>
                  </a:lnTo>
                  <a:lnTo>
                    <a:pt x="552" y="552"/>
                  </a:lnTo>
                  <a:lnTo>
                    <a:pt x="582" y="522"/>
                  </a:lnTo>
                  <a:lnTo>
                    <a:pt x="588" y="528"/>
                  </a:lnTo>
                  <a:lnTo>
                    <a:pt x="594" y="528"/>
                  </a:lnTo>
                  <a:lnTo>
                    <a:pt x="588" y="522"/>
                  </a:lnTo>
                  <a:lnTo>
                    <a:pt x="588" y="504"/>
                  </a:lnTo>
                  <a:lnTo>
                    <a:pt x="582" y="498"/>
                  </a:lnTo>
                  <a:lnTo>
                    <a:pt x="582" y="486"/>
                  </a:lnTo>
                  <a:lnTo>
                    <a:pt x="600" y="468"/>
                  </a:lnTo>
                  <a:lnTo>
                    <a:pt x="600" y="414"/>
                  </a:lnTo>
                  <a:lnTo>
                    <a:pt x="624" y="414"/>
                  </a:lnTo>
                  <a:lnTo>
                    <a:pt x="624" y="408"/>
                  </a:lnTo>
                  <a:lnTo>
                    <a:pt x="630" y="402"/>
                  </a:lnTo>
                  <a:lnTo>
                    <a:pt x="630" y="396"/>
                  </a:lnTo>
                  <a:lnTo>
                    <a:pt x="642" y="384"/>
                  </a:lnTo>
                  <a:lnTo>
                    <a:pt x="654" y="378"/>
                  </a:lnTo>
                  <a:lnTo>
                    <a:pt x="660" y="372"/>
                  </a:lnTo>
                  <a:lnTo>
                    <a:pt x="672" y="366"/>
                  </a:lnTo>
                  <a:lnTo>
                    <a:pt x="702" y="366"/>
                  </a:lnTo>
                  <a:lnTo>
                    <a:pt x="708" y="354"/>
                  </a:lnTo>
                  <a:lnTo>
                    <a:pt x="738" y="360"/>
                  </a:lnTo>
                  <a:lnTo>
                    <a:pt x="744" y="354"/>
                  </a:lnTo>
                  <a:lnTo>
                    <a:pt x="750" y="342"/>
                  </a:lnTo>
                  <a:lnTo>
                    <a:pt x="756" y="336"/>
                  </a:lnTo>
                  <a:lnTo>
                    <a:pt x="774" y="336"/>
                  </a:lnTo>
                  <a:lnTo>
                    <a:pt x="786" y="348"/>
                  </a:lnTo>
                  <a:lnTo>
                    <a:pt x="786" y="354"/>
                  </a:lnTo>
                  <a:lnTo>
                    <a:pt x="804" y="354"/>
                  </a:lnTo>
                  <a:lnTo>
                    <a:pt x="816" y="342"/>
                  </a:lnTo>
                  <a:lnTo>
                    <a:pt x="798" y="330"/>
                  </a:lnTo>
                  <a:lnTo>
                    <a:pt x="786" y="312"/>
                  </a:lnTo>
                  <a:lnTo>
                    <a:pt x="768" y="312"/>
                  </a:lnTo>
                  <a:lnTo>
                    <a:pt x="762" y="306"/>
                  </a:lnTo>
                  <a:lnTo>
                    <a:pt x="762" y="288"/>
                  </a:lnTo>
                  <a:lnTo>
                    <a:pt x="774" y="264"/>
                  </a:lnTo>
                  <a:lnTo>
                    <a:pt x="774" y="258"/>
                  </a:lnTo>
                  <a:lnTo>
                    <a:pt x="780" y="252"/>
                  </a:lnTo>
                  <a:lnTo>
                    <a:pt x="786" y="252"/>
                  </a:lnTo>
                  <a:lnTo>
                    <a:pt x="792" y="246"/>
                  </a:lnTo>
                  <a:lnTo>
                    <a:pt x="798" y="234"/>
                  </a:lnTo>
                  <a:lnTo>
                    <a:pt x="798" y="216"/>
                  </a:lnTo>
                  <a:lnTo>
                    <a:pt x="792" y="210"/>
                  </a:lnTo>
                  <a:lnTo>
                    <a:pt x="780" y="204"/>
                  </a:lnTo>
                  <a:lnTo>
                    <a:pt x="756" y="204"/>
                  </a:lnTo>
                  <a:lnTo>
                    <a:pt x="750" y="198"/>
                  </a:lnTo>
                  <a:lnTo>
                    <a:pt x="744" y="186"/>
                  </a:lnTo>
                  <a:lnTo>
                    <a:pt x="744" y="180"/>
                  </a:lnTo>
                  <a:lnTo>
                    <a:pt x="732" y="180"/>
                  </a:lnTo>
                  <a:lnTo>
                    <a:pt x="726" y="186"/>
                  </a:lnTo>
                  <a:lnTo>
                    <a:pt x="714" y="192"/>
                  </a:lnTo>
                  <a:lnTo>
                    <a:pt x="702" y="192"/>
                  </a:lnTo>
                  <a:lnTo>
                    <a:pt x="696" y="186"/>
                  </a:lnTo>
                  <a:lnTo>
                    <a:pt x="690" y="186"/>
                  </a:lnTo>
                  <a:lnTo>
                    <a:pt x="684" y="180"/>
                  </a:lnTo>
                  <a:lnTo>
                    <a:pt x="660" y="180"/>
                  </a:lnTo>
                  <a:lnTo>
                    <a:pt x="648" y="192"/>
                  </a:lnTo>
                  <a:lnTo>
                    <a:pt x="648" y="204"/>
                  </a:lnTo>
                  <a:lnTo>
                    <a:pt x="612" y="204"/>
                  </a:lnTo>
                  <a:lnTo>
                    <a:pt x="588" y="198"/>
                  </a:lnTo>
                  <a:lnTo>
                    <a:pt x="576" y="192"/>
                  </a:lnTo>
                  <a:lnTo>
                    <a:pt x="576" y="168"/>
                  </a:lnTo>
                  <a:lnTo>
                    <a:pt x="582" y="162"/>
                  </a:lnTo>
                  <a:lnTo>
                    <a:pt x="582" y="156"/>
                  </a:lnTo>
                  <a:lnTo>
                    <a:pt x="576" y="150"/>
                  </a:lnTo>
                  <a:lnTo>
                    <a:pt x="564" y="144"/>
                  </a:lnTo>
                  <a:lnTo>
                    <a:pt x="552" y="144"/>
                  </a:lnTo>
                  <a:lnTo>
                    <a:pt x="552" y="138"/>
                  </a:lnTo>
                  <a:lnTo>
                    <a:pt x="546" y="132"/>
                  </a:lnTo>
                  <a:lnTo>
                    <a:pt x="546" y="108"/>
                  </a:lnTo>
                  <a:lnTo>
                    <a:pt x="540" y="102"/>
                  </a:lnTo>
                  <a:lnTo>
                    <a:pt x="528" y="102"/>
                  </a:lnTo>
                  <a:lnTo>
                    <a:pt x="516" y="84"/>
                  </a:lnTo>
                  <a:lnTo>
                    <a:pt x="498" y="84"/>
                  </a:lnTo>
                  <a:lnTo>
                    <a:pt x="486" y="48"/>
                  </a:lnTo>
                  <a:lnTo>
                    <a:pt x="480" y="42"/>
                  </a:lnTo>
                  <a:lnTo>
                    <a:pt x="468" y="36"/>
                  </a:lnTo>
                  <a:lnTo>
                    <a:pt x="450" y="18"/>
                  </a:lnTo>
                  <a:lnTo>
                    <a:pt x="438" y="12"/>
                  </a:lnTo>
                  <a:lnTo>
                    <a:pt x="426" y="0"/>
                  </a:lnTo>
                  <a:lnTo>
                    <a:pt x="396" y="0"/>
                  </a:lnTo>
                  <a:lnTo>
                    <a:pt x="414" y="0"/>
                  </a:lnTo>
                  <a:lnTo>
                    <a:pt x="414" y="24"/>
                  </a:lnTo>
                  <a:lnTo>
                    <a:pt x="408" y="24"/>
                  </a:lnTo>
                  <a:lnTo>
                    <a:pt x="408" y="30"/>
                  </a:lnTo>
                  <a:lnTo>
                    <a:pt x="402" y="30"/>
                  </a:lnTo>
                  <a:lnTo>
                    <a:pt x="426" y="48"/>
                  </a:lnTo>
                  <a:lnTo>
                    <a:pt x="426" y="78"/>
                  </a:lnTo>
                  <a:lnTo>
                    <a:pt x="414" y="84"/>
                  </a:lnTo>
                  <a:lnTo>
                    <a:pt x="402" y="126"/>
                  </a:lnTo>
                  <a:lnTo>
                    <a:pt x="396" y="138"/>
                  </a:lnTo>
                  <a:lnTo>
                    <a:pt x="384" y="150"/>
                  </a:lnTo>
                  <a:lnTo>
                    <a:pt x="378" y="162"/>
                  </a:lnTo>
                  <a:lnTo>
                    <a:pt x="366" y="174"/>
                  </a:lnTo>
                  <a:lnTo>
                    <a:pt x="354" y="192"/>
                  </a:lnTo>
                  <a:lnTo>
                    <a:pt x="336" y="204"/>
                  </a:lnTo>
                  <a:lnTo>
                    <a:pt x="276" y="234"/>
                  </a:lnTo>
                  <a:lnTo>
                    <a:pt x="258" y="240"/>
                  </a:lnTo>
                  <a:lnTo>
                    <a:pt x="240" y="252"/>
                  </a:lnTo>
                  <a:lnTo>
                    <a:pt x="222" y="270"/>
                  </a:lnTo>
                  <a:lnTo>
                    <a:pt x="222" y="276"/>
                  </a:lnTo>
                  <a:lnTo>
                    <a:pt x="210" y="282"/>
                  </a:lnTo>
                  <a:lnTo>
                    <a:pt x="210" y="300"/>
                  </a:lnTo>
                  <a:lnTo>
                    <a:pt x="198" y="312"/>
                  </a:lnTo>
                  <a:lnTo>
                    <a:pt x="198" y="336"/>
                  </a:lnTo>
                  <a:lnTo>
                    <a:pt x="192" y="348"/>
                  </a:lnTo>
                  <a:lnTo>
                    <a:pt x="192" y="378"/>
                  </a:lnTo>
                  <a:lnTo>
                    <a:pt x="174" y="378"/>
                  </a:lnTo>
                  <a:lnTo>
                    <a:pt x="168" y="384"/>
                  </a:lnTo>
                  <a:lnTo>
                    <a:pt x="168" y="390"/>
                  </a:lnTo>
                  <a:lnTo>
                    <a:pt x="162" y="396"/>
                  </a:lnTo>
                  <a:lnTo>
                    <a:pt x="162" y="402"/>
                  </a:lnTo>
                  <a:lnTo>
                    <a:pt x="144" y="402"/>
                  </a:lnTo>
                  <a:lnTo>
                    <a:pt x="138" y="390"/>
                  </a:lnTo>
                  <a:lnTo>
                    <a:pt x="138" y="372"/>
                  </a:lnTo>
                  <a:lnTo>
                    <a:pt x="132" y="366"/>
                  </a:lnTo>
                  <a:lnTo>
                    <a:pt x="132" y="360"/>
                  </a:lnTo>
                  <a:lnTo>
                    <a:pt x="102" y="360"/>
                  </a:lnTo>
                  <a:lnTo>
                    <a:pt x="90" y="348"/>
                  </a:lnTo>
                  <a:lnTo>
                    <a:pt x="78" y="360"/>
                  </a:lnTo>
                  <a:lnTo>
                    <a:pt x="66" y="366"/>
                  </a:lnTo>
                  <a:lnTo>
                    <a:pt x="60" y="366"/>
                  </a:lnTo>
                  <a:lnTo>
                    <a:pt x="54" y="360"/>
                  </a:lnTo>
                  <a:lnTo>
                    <a:pt x="66" y="348"/>
                  </a:lnTo>
                  <a:lnTo>
                    <a:pt x="54" y="336"/>
                  </a:lnTo>
                  <a:lnTo>
                    <a:pt x="60" y="330"/>
                  </a:lnTo>
                  <a:lnTo>
                    <a:pt x="66" y="318"/>
                  </a:lnTo>
                  <a:lnTo>
                    <a:pt x="78" y="312"/>
                  </a:lnTo>
                  <a:lnTo>
                    <a:pt x="84" y="300"/>
                  </a:lnTo>
                  <a:lnTo>
                    <a:pt x="90" y="294"/>
                  </a:lnTo>
                  <a:lnTo>
                    <a:pt x="90" y="288"/>
                  </a:lnTo>
                  <a:lnTo>
                    <a:pt x="84" y="288"/>
                  </a:lnTo>
                  <a:lnTo>
                    <a:pt x="72" y="282"/>
                  </a:lnTo>
                  <a:lnTo>
                    <a:pt x="66" y="282"/>
                  </a:lnTo>
                  <a:lnTo>
                    <a:pt x="6" y="342"/>
                  </a:lnTo>
                  <a:lnTo>
                    <a:pt x="0" y="354"/>
                  </a:lnTo>
                  <a:lnTo>
                    <a:pt x="0" y="390"/>
                  </a:lnTo>
                  <a:lnTo>
                    <a:pt x="6" y="396"/>
                  </a:lnTo>
                  <a:lnTo>
                    <a:pt x="18" y="396"/>
                  </a:lnTo>
                  <a:lnTo>
                    <a:pt x="12" y="420"/>
                  </a:lnTo>
                  <a:lnTo>
                    <a:pt x="36" y="444"/>
                  </a:lnTo>
                  <a:lnTo>
                    <a:pt x="36" y="462"/>
                  </a:lnTo>
                  <a:lnTo>
                    <a:pt x="12" y="486"/>
                  </a:lnTo>
                  <a:lnTo>
                    <a:pt x="12" y="492"/>
                  </a:lnTo>
                  <a:lnTo>
                    <a:pt x="18" y="504"/>
                  </a:lnTo>
                  <a:lnTo>
                    <a:pt x="24" y="510"/>
                  </a:lnTo>
                  <a:lnTo>
                    <a:pt x="36" y="516"/>
                  </a:lnTo>
                  <a:lnTo>
                    <a:pt x="54" y="522"/>
                  </a:lnTo>
                  <a:lnTo>
                    <a:pt x="66" y="522"/>
                  </a:lnTo>
                  <a:lnTo>
                    <a:pt x="108" y="564"/>
                  </a:lnTo>
                  <a:lnTo>
                    <a:pt x="114" y="576"/>
                  </a:lnTo>
                  <a:lnTo>
                    <a:pt x="132" y="594"/>
                  </a:lnTo>
                  <a:lnTo>
                    <a:pt x="138" y="612"/>
                  </a:lnTo>
                  <a:lnTo>
                    <a:pt x="144" y="624"/>
                  </a:lnTo>
                  <a:lnTo>
                    <a:pt x="144" y="642"/>
                  </a:lnTo>
                  <a:lnTo>
                    <a:pt x="150" y="648"/>
                  </a:lnTo>
                  <a:lnTo>
                    <a:pt x="156" y="660"/>
                  </a:lnTo>
                  <a:lnTo>
                    <a:pt x="168" y="666"/>
                  </a:lnTo>
                  <a:lnTo>
                    <a:pt x="174" y="678"/>
                  </a:lnTo>
                  <a:lnTo>
                    <a:pt x="192" y="696"/>
                  </a:lnTo>
                  <a:lnTo>
                    <a:pt x="204" y="720"/>
                  </a:lnTo>
                  <a:lnTo>
                    <a:pt x="216" y="732"/>
                  </a:lnTo>
                  <a:lnTo>
                    <a:pt x="222" y="744"/>
                  </a:lnTo>
                  <a:lnTo>
                    <a:pt x="234" y="762"/>
                  </a:lnTo>
                  <a:lnTo>
                    <a:pt x="240" y="768"/>
                  </a:lnTo>
                  <a:lnTo>
                    <a:pt x="246" y="780"/>
                  </a:lnTo>
                  <a:lnTo>
                    <a:pt x="252" y="822"/>
                  </a:lnTo>
                  <a:lnTo>
                    <a:pt x="252" y="828"/>
                  </a:lnTo>
                  <a:lnTo>
                    <a:pt x="258" y="834"/>
                  </a:lnTo>
                  <a:lnTo>
                    <a:pt x="264" y="846"/>
                  </a:lnTo>
                  <a:lnTo>
                    <a:pt x="270" y="864"/>
                  </a:lnTo>
                  <a:lnTo>
                    <a:pt x="282" y="876"/>
                  </a:lnTo>
                  <a:lnTo>
                    <a:pt x="288" y="894"/>
                  </a:lnTo>
                  <a:lnTo>
                    <a:pt x="294" y="906"/>
                  </a:lnTo>
                  <a:lnTo>
                    <a:pt x="294" y="918"/>
                  </a:lnTo>
                  <a:lnTo>
                    <a:pt x="300" y="924"/>
                  </a:lnTo>
                  <a:lnTo>
                    <a:pt x="312" y="924"/>
                  </a:lnTo>
                  <a:lnTo>
                    <a:pt x="324" y="936"/>
                  </a:lnTo>
                  <a:lnTo>
                    <a:pt x="324" y="948"/>
                  </a:lnTo>
                  <a:lnTo>
                    <a:pt x="330" y="954"/>
                  </a:lnTo>
                  <a:lnTo>
                    <a:pt x="330" y="966"/>
                  </a:lnTo>
                  <a:lnTo>
                    <a:pt x="336" y="984"/>
                  </a:lnTo>
                  <a:lnTo>
                    <a:pt x="360" y="1014"/>
                  </a:lnTo>
                  <a:lnTo>
                    <a:pt x="378" y="1050"/>
                  </a:lnTo>
                  <a:lnTo>
                    <a:pt x="396" y="1074"/>
                  </a:lnTo>
                  <a:lnTo>
                    <a:pt x="402" y="1086"/>
                  </a:lnTo>
                  <a:lnTo>
                    <a:pt x="408" y="1104"/>
                  </a:lnTo>
                  <a:lnTo>
                    <a:pt x="408" y="1116"/>
                  </a:lnTo>
                  <a:lnTo>
                    <a:pt x="402" y="1128"/>
                  </a:lnTo>
                  <a:lnTo>
                    <a:pt x="402" y="1146"/>
                  </a:lnTo>
                  <a:lnTo>
                    <a:pt x="414" y="1158"/>
                  </a:lnTo>
                  <a:lnTo>
                    <a:pt x="420" y="1170"/>
                  </a:lnTo>
                  <a:lnTo>
                    <a:pt x="444" y="1194"/>
                  </a:lnTo>
                  <a:lnTo>
                    <a:pt x="456" y="1200"/>
                  </a:lnTo>
                  <a:lnTo>
                    <a:pt x="468" y="1212"/>
                  </a:lnTo>
                  <a:lnTo>
                    <a:pt x="474" y="1224"/>
                  </a:lnTo>
                  <a:lnTo>
                    <a:pt x="498" y="1248"/>
                  </a:lnTo>
                  <a:lnTo>
                    <a:pt x="516" y="1260"/>
                  </a:lnTo>
                  <a:lnTo>
                    <a:pt x="546" y="1278"/>
                  </a:lnTo>
                  <a:lnTo>
                    <a:pt x="576" y="1290"/>
                  </a:lnTo>
                  <a:lnTo>
                    <a:pt x="600" y="1302"/>
                  </a:lnTo>
                  <a:lnTo>
                    <a:pt x="642" y="1320"/>
                  </a:lnTo>
                  <a:lnTo>
                    <a:pt x="696" y="1350"/>
                  </a:lnTo>
                  <a:lnTo>
                    <a:pt x="708" y="1362"/>
                  </a:lnTo>
                  <a:lnTo>
                    <a:pt x="726" y="1374"/>
                  </a:lnTo>
                  <a:lnTo>
                    <a:pt x="738" y="1380"/>
                  </a:lnTo>
                  <a:lnTo>
                    <a:pt x="750" y="1392"/>
                  </a:lnTo>
                  <a:lnTo>
                    <a:pt x="774" y="1404"/>
                  </a:lnTo>
                  <a:lnTo>
                    <a:pt x="780" y="1428"/>
                  </a:lnTo>
                  <a:lnTo>
                    <a:pt x="792" y="1434"/>
                  </a:lnTo>
                  <a:lnTo>
                    <a:pt x="798" y="1446"/>
                  </a:lnTo>
                  <a:lnTo>
                    <a:pt x="810" y="1452"/>
                  </a:lnTo>
                  <a:lnTo>
                    <a:pt x="816" y="1458"/>
                  </a:lnTo>
                  <a:lnTo>
                    <a:pt x="840" y="1470"/>
                  </a:lnTo>
                  <a:lnTo>
                    <a:pt x="846" y="1482"/>
                  </a:lnTo>
                  <a:lnTo>
                    <a:pt x="858" y="1488"/>
                  </a:lnTo>
                  <a:lnTo>
                    <a:pt x="894" y="1464"/>
                  </a:lnTo>
                  <a:lnTo>
                    <a:pt x="900" y="1458"/>
                  </a:lnTo>
                  <a:lnTo>
                    <a:pt x="900" y="1440"/>
                  </a:lnTo>
                  <a:lnTo>
                    <a:pt x="894" y="1428"/>
                  </a:lnTo>
                  <a:lnTo>
                    <a:pt x="912" y="1416"/>
                  </a:lnTo>
                  <a:lnTo>
                    <a:pt x="900" y="1392"/>
                  </a:lnTo>
                  <a:lnTo>
                    <a:pt x="918" y="1374"/>
                  </a:lnTo>
                  <a:lnTo>
                    <a:pt x="930" y="1368"/>
                  </a:lnTo>
                  <a:lnTo>
                    <a:pt x="942" y="1344"/>
                  </a:lnTo>
                  <a:lnTo>
                    <a:pt x="942" y="1332"/>
                  </a:lnTo>
                  <a:lnTo>
                    <a:pt x="930" y="1320"/>
                  </a:lnTo>
                  <a:close/>
                </a:path>
              </a:pathLst>
            </a:custGeom>
            <a:solidFill>
              <a:schemeClr val="accent5"/>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82" name="Paraguay" descr="© INSCALE GmbH, 05.05.2010&#10;http://www.presentationload.com/">
              <a:extLst>
                <a:ext uri="{FF2B5EF4-FFF2-40B4-BE49-F238E27FC236}">
                  <a16:creationId xmlns:a16="http://schemas.microsoft.com/office/drawing/2014/main" id="{FAD58958-8A95-4BFC-8A90-413C15182C18}"/>
                </a:ext>
              </a:extLst>
            </p:cNvPr>
            <p:cNvSpPr>
              <a:spLocks/>
            </p:cNvSpPr>
            <p:nvPr/>
          </p:nvSpPr>
          <p:spPr bwMode="gray">
            <a:xfrm>
              <a:off x="2399829" y="4868863"/>
              <a:ext cx="238339" cy="269700"/>
            </a:xfrm>
            <a:custGeom>
              <a:avLst/>
              <a:gdLst>
                <a:gd name="T0" fmla="*/ 2147483647 w 600"/>
                <a:gd name="T1" fmla="*/ 2147483647 h 678"/>
                <a:gd name="T2" fmla="*/ 2147483647 w 600"/>
                <a:gd name="T3" fmla="*/ 2147483647 h 678"/>
                <a:gd name="T4" fmla="*/ 2147483647 w 600"/>
                <a:gd name="T5" fmla="*/ 2147483647 h 678"/>
                <a:gd name="T6" fmla="*/ 2147483647 w 600"/>
                <a:gd name="T7" fmla="*/ 2147483647 h 678"/>
                <a:gd name="T8" fmla="*/ 2147483647 w 600"/>
                <a:gd name="T9" fmla="*/ 2147483647 h 678"/>
                <a:gd name="T10" fmla="*/ 2147483647 w 600"/>
                <a:gd name="T11" fmla="*/ 2147483647 h 678"/>
                <a:gd name="T12" fmla="*/ 2147483647 w 600"/>
                <a:gd name="T13" fmla="*/ 2147483647 h 678"/>
                <a:gd name="T14" fmla="*/ 2147483647 w 600"/>
                <a:gd name="T15" fmla="*/ 2147483647 h 678"/>
                <a:gd name="T16" fmla="*/ 2147483647 w 600"/>
                <a:gd name="T17" fmla="*/ 2147483647 h 678"/>
                <a:gd name="T18" fmla="*/ 2147483647 w 600"/>
                <a:gd name="T19" fmla="*/ 2147483647 h 678"/>
                <a:gd name="T20" fmla="*/ 2147483647 w 600"/>
                <a:gd name="T21" fmla="*/ 2147483647 h 678"/>
                <a:gd name="T22" fmla="*/ 2147483647 w 600"/>
                <a:gd name="T23" fmla="*/ 2147483647 h 678"/>
                <a:gd name="T24" fmla="*/ 2147483647 w 600"/>
                <a:gd name="T25" fmla="*/ 2147483647 h 678"/>
                <a:gd name="T26" fmla="*/ 2147483647 w 600"/>
                <a:gd name="T27" fmla="*/ 2147483647 h 678"/>
                <a:gd name="T28" fmla="*/ 2147483647 w 600"/>
                <a:gd name="T29" fmla="*/ 2147483647 h 678"/>
                <a:gd name="T30" fmla="*/ 2147483647 w 600"/>
                <a:gd name="T31" fmla="*/ 2147483647 h 678"/>
                <a:gd name="T32" fmla="*/ 2147483647 w 600"/>
                <a:gd name="T33" fmla="*/ 2147483647 h 678"/>
                <a:gd name="T34" fmla="*/ 2147483647 w 600"/>
                <a:gd name="T35" fmla="*/ 2147483647 h 678"/>
                <a:gd name="T36" fmla="*/ 2147483647 w 600"/>
                <a:gd name="T37" fmla="*/ 2147483647 h 678"/>
                <a:gd name="T38" fmla="*/ 2147483647 w 600"/>
                <a:gd name="T39" fmla="*/ 2147483647 h 678"/>
                <a:gd name="T40" fmla="*/ 2147483647 w 600"/>
                <a:gd name="T41" fmla="*/ 2147483647 h 678"/>
                <a:gd name="T42" fmla="*/ 2147483647 w 600"/>
                <a:gd name="T43" fmla="*/ 2147483647 h 678"/>
                <a:gd name="T44" fmla="*/ 2147483647 w 600"/>
                <a:gd name="T45" fmla="*/ 2147483647 h 678"/>
                <a:gd name="T46" fmla="*/ 2147483647 w 600"/>
                <a:gd name="T47" fmla="*/ 2147483647 h 678"/>
                <a:gd name="T48" fmla="*/ 2147483647 w 600"/>
                <a:gd name="T49" fmla="*/ 2147483647 h 678"/>
                <a:gd name="T50" fmla="*/ 2147483647 w 600"/>
                <a:gd name="T51" fmla="*/ 2147483647 h 678"/>
                <a:gd name="T52" fmla="*/ 2147483647 w 600"/>
                <a:gd name="T53" fmla="*/ 0 h 678"/>
                <a:gd name="T54" fmla="*/ 2147483647 w 600"/>
                <a:gd name="T55" fmla="*/ 2147483647 h 678"/>
                <a:gd name="T56" fmla="*/ 2147483647 w 600"/>
                <a:gd name="T57" fmla="*/ 2147483647 h 678"/>
                <a:gd name="T58" fmla="*/ 0 w 600"/>
                <a:gd name="T59" fmla="*/ 2147483647 h 678"/>
                <a:gd name="T60" fmla="*/ 2147483647 w 600"/>
                <a:gd name="T61" fmla="*/ 2147483647 h 678"/>
                <a:gd name="T62" fmla="*/ 2147483647 w 600"/>
                <a:gd name="T63" fmla="*/ 2147483647 h 678"/>
                <a:gd name="T64" fmla="*/ 2147483647 w 600"/>
                <a:gd name="T65" fmla="*/ 2147483647 h 678"/>
                <a:gd name="T66" fmla="*/ 2147483647 w 600"/>
                <a:gd name="T67" fmla="*/ 2147483647 h 678"/>
                <a:gd name="T68" fmla="*/ 2147483647 w 600"/>
                <a:gd name="T69" fmla="*/ 2147483647 h 678"/>
                <a:gd name="T70" fmla="*/ 2147483647 w 600"/>
                <a:gd name="T71" fmla="*/ 2147483647 h 678"/>
                <a:gd name="T72" fmla="*/ 2147483647 w 600"/>
                <a:gd name="T73" fmla="*/ 2147483647 h 678"/>
                <a:gd name="T74" fmla="*/ 2147483647 w 600"/>
                <a:gd name="T75" fmla="*/ 2147483647 h 678"/>
                <a:gd name="T76" fmla="*/ 2147483647 w 600"/>
                <a:gd name="T77" fmla="*/ 2147483647 h 678"/>
                <a:gd name="T78" fmla="*/ 2147483647 w 600"/>
                <a:gd name="T79" fmla="*/ 2147483647 h 678"/>
                <a:gd name="T80" fmla="*/ 2147483647 w 600"/>
                <a:gd name="T81" fmla="*/ 2147483647 h 678"/>
                <a:gd name="T82" fmla="*/ 2147483647 w 600"/>
                <a:gd name="T83" fmla="*/ 2147483647 h 678"/>
                <a:gd name="T84" fmla="*/ 2147483647 w 600"/>
                <a:gd name="T85" fmla="*/ 2147483647 h 678"/>
                <a:gd name="T86" fmla="*/ 2147483647 w 600"/>
                <a:gd name="T87" fmla="*/ 2147483647 h 678"/>
                <a:gd name="T88" fmla="*/ 2147483647 w 600"/>
                <a:gd name="T89" fmla="*/ 2147483647 h 678"/>
                <a:gd name="T90" fmla="*/ 2147483647 w 600"/>
                <a:gd name="T91" fmla="*/ 2147483647 h 678"/>
                <a:gd name="T92" fmla="*/ 2147483647 w 600"/>
                <a:gd name="T93" fmla="*/ 2147483647 h 678"/>
                <a:gd name="T94" fmla="*/ 2147483647 w 600"/>
                <a:gd name="T95" fmla="*/ 2147483647 h 678"/>
                <a:gd name="T96" fmla="*/ 2147483647 w 600"/>
                <a:gd name="T97" fmla="*/ 2147483647 h 678"/>
                <a:gd name="T98" fmla="*/ 2147483647 w 600"/>
                <a:gd name="T99" fmla="*/ 2147483647 h 678"/>
                <a:gd name="T100" fmla="*/ 2147483647 w 600"/>
                <a:gd name="T101" fmla="*/ 2147483647 h 678"/>
                <a:gd name="T102" fmla="*/ 2147483647 w 600"/>
                <a:gd name="T103" fmla="*/ 2147483647 h 678"/>
                <a:gd name="T104" fmla="*/ 2147483647 w 600"/>
                <a:gd name="T105" fmla="*/ 2147483647 h 678"/>
                <a:gd name="T106" fmla="*/ 2147483647 w 600"/>
                <a:gd name="T107" fmla="*/ 2147483647 h 678"/>
                <a:gd name="T108" fmla="*/ 2147483647 w 600"/>
                <a:gd name="T109" fmla="*/ 2147483647 h 678"/>
                <a:gd name="T110" fmla="*/ 2147483647 w 600"/>
                <a:gd name="T111" fmla="*/ 2147483647 h 678"/>
                <a:gd name="T112" fmla="*/ 2147483647 w 600"/>
                <a:gd name="T113" fmla="*/ 2147483647 h 678"/>
                <a:gd name="T114" fmla="*/ 2147483647 w 600"/>
                <a:gd name="T115" fmla="*/ 2147483647 h 678"/>
                <a:gd name="T116" fmla="*/ 2147483647 w 600"/>
                <a:gd name="T117" fmla="*/ 2147483647 h 678"/>
                <a:gd name="T118" fmla="*/ 2147483647 w 600"/>
                <a:gd name="T119" fmla="*/ 2147483647 h 6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0"/>
                <a:gd name="T181" fmla="*/ 0 h 678"/>
                <a:gd name="T182" fmla="*/ 600 w 600"/>
                <a:gd name="T183" fmla="*/ 678 h 67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0" h="678">
                  <a:moveTo>
                    <a:pt x="480" y="660"/>
                  </a:moveTo>
                  <a:lnTo>
                    <a:pt x="492" y="678"/>
                  </a:lnTo>
                  <a:lnTo>
                    <a:pt x="492" y="660"/>
                  </a:lnTo>
                  <a:lnTo>
                    <a:pt x="498" y="654"/>
                  </a:lnTo>
                  <a:lnTo>
                    <a:pt x="510" y="654"/>
                  </a:lnTo>
                  <a:lnTo>
                    <a:pt x="516" y="660"/>
                  </a:lnTo>
                  <a:lnTo>
                    <a:pt x="516" y="666"/>
                  </a:lnTo>
                  <a:lnTo>
                    <a:pt x="522" y="660"/>
                  </a:lnTo>
                  <a:lnTo>
                    <a:pt x="534" y="636"/>
                  </a:lnTo>
                  <a:lnTo>
                    <a:pt x="546" y="624"/>
                  </a:lnTo>
                  <a:lnTo>
                    <a:pt x="552" y="624"/>
                  </a:lnTo>
                  <a:lnTo>
                    <a:pt x="558" y="618"/>
                  </a:lnTo>
                  <a:lnTo>
                    <a:pt x="570" y="612"/>
                  </a:lnTo>
                  <a:lnTo>
                    <a:pt x="576" y="600"/>
                  </a:lnTo>
                  <a:lnTo>
                    <a:pt x="588" y="594"/>
                  </a:lnTo>
                  <a:lnTo>
                    <a:pt x="588" y="516"/>
                  </a:lnTo>
                  <a:lnTo>
                    <a:pt x="582" y="498"/>
                  </a:lnTo>
                  <a:lnTo>
                    <a:pt x="582" y="486"/>
                  </a:lnTo>
                  <a:lnTo>
                    <a:pt x="588" y="474"/>
                  </a:lnTo>
                  <a:lnTo>
                    <a:pt x="588" y="468"/>
                  </a:lnTo>
                  <a:lnTo>
                    <a:pt x="594" y="462"/>
                  </a:lnTo>
                  <a:lnTo>
                    <a:pt x="594" y="432"/>
                  </a:lnTo>
                  <a:lnTo>
                    <a:pt x="600" y="414"/>
                  </a:lnTo>
                  <a:lnTo>
                    <a:pt x="600" y="396"/>
                  </a:lnTo>
                  <a:lnTo>
                    <a:pt x="594" y="384"/>
                  </a:lnTo>
                  <a:lnTo>
                    <a:pt x="582" y="372"/>
                  </a:lnTo>
                  <a:lnTo>
                    <a:pt x="570" y="366"/>
                  </a:lnTo>
                  <a:lnTo>
                    <a:pt x="558" y="366"/>
                  </a:lnTo>
                  <a:lnTo>
                    <a:pt x="540" y="384"/>
                  </a:lnTo>
                  <a:lnTo>
                    <a:pt x="528" y="384"/>
                  </a:lnTo>
                  <a:lnTo>
                    <a:pt x="516" y="378"/>
                  </a:lnTo>
                  <a:lnTo>
                    <a:pt x="504" y="354"/>
                  </a:lnTo>
                  <a:lnTo>
                    <a:pt x="504" y="336"/>
                  </a:lnTo>
                  <a:lnTo>
                    <a:pt x="498" y="318"/>
                  </a:lnTo>
                  <a:lnTo>
                    <a:pt x="498" y="294"/>
                  </a:lnTo>
                  <a:lnTo>
                    <a:pt x="492" y="276"/>
                  </a:lnTo>
                  <a:lnTo>
                    <a:pt x="492" y="252"/>
                  </a:lnTo>
                  <a:lnTo>
                    <a:pt x="486" y="246"/>
                  </a:lnTo>
                  <a:lnTo>
                    <a:pt x="474" y="240"/>
                  </a:lnTo>
                  <a:lnTo>
                    <a:pt x="402" y="240"/>
                  </a:lnTo>
                  <a:lnTo>
                    <a:pt x="360" y="234"/>
                  </a:lnTo>
                  <a:lnTo>
                    <a:pt x="324" y="222"/>
                  </a:lnTo>
                  <a:lnTo>
                    <a:pt x="318" y="216"/>
                  </a:lnTo>
                  <a:lnTo>
                    <a:pt x="312" y="204"/>
                  </a:lnTo>
                  <a:lnTo>
                    <a:pt x="312" y="162"/>
                  </a:lnTo>
                  <a:lnTo>
                    <a:pt x="318" y="150"/>
                  </a:lnTo>
                  <a:lnTo>
                    <a:pt x="318" y="132"/>
                  </a:lnTo>
                  <a:lnTo>
                    <a:pt x="306" y="132"/>
                  </a:lnTo>
                  <a:lnTo>
                    <a:pt x="306" y="96"/>
                  </a:lnTo>
                  <a:lnTo>
                    <a:pt x="294" y="90"/>
                  </a:lnTo>
                  <a:lnTo>
                    <a:pt x="288" y="84"/>
                  </a:lnTo>
                  <a:lnTo>
                    <a:pt x="288" y="78"/>
                  </a:lnTo>
                  <a:lnTo>
                    <a:pt x="270" y="42"/>
                  </a:lnTo>
                  <a:lnTo>
                    <a:pt x="216" y="0"/>
                  </a:lnTo>
                  <a:lnTo>
                    <a:pt x="138" y="12"/>
                  </a:lnTo>
                  <a:lnTo>
                    <a:pt x="36" y="30"/>
                  </a:lnTo>
                  <a:lnTo>
                    <a:pt x="30" y="60"/>
                  </a:lnTo>
                  <a:lnTo>
                    <a:pt x="18" y="72"/>
                  </a:lnTo>
                  <a:lnTo>
                    <a:pt x="6" y="78"/>
                  </a:lnTo>
                  <a:lnTo>
                    <a:pt x="0" y="84"/>
                  </a:lnTo>
                  <a:lnTo>
                    <a:pt x="0" y="96"/>
                  </a:lnTo>
                  <a:lnTo>
                    <a:pt x="12" y="120"/>
                  </a:lnTo>
                  <a:lnTo>
                    <a:pt x="12" y="126"/>
                  </a:lnTo>
                  <a:lnTo>
                    <a:pt x="18" y="132"/>
                  </a:lnTo>
                  <a:lnTo>
                    <a:pt x="18" y="156"/>
                  </a:lnTo>
                  <a:lnTo>
                    <a:pt x="6" y="228"/>
                  </a:lnTo>
                  <a:lnTo>
                    <a:pt x="6" y="246"/>
                  </a:lnTo>
                  <a:lnTo>
                    <a:pt x="24" y="264"/>
                  </a:lnTo>
                  <a:lnTo>
                    <a:pt x="24" y="270"/>
                  </a:lnTo>
                  <a:lnTo>
                    <a:pt x="30" y="276"/>
                  </a:lnTo>
                  <a:lnTo>
                    <a:pt x="36" y="288"/>
                  </a:lnTo>
                  <a:lnTo>
                    <a:pt x="48" y="294"/>
                  </a:lnTo>
                  <a:lnTo>
                    <a:pt x="54" y="306"/>
                  </a:lnTo>
                  <a:lnTo>
                    <a:pt x="60" y="312"/>
                  </a:lnTo>
                  <a:lnTo>
                    <a:pt x="84" y="324"/>
                  </a:lnTo>
                  <a:lnTo>
                    <a:pt x="102" y="342"/>
                  </a:lnTo>
                  <a:lnTo>
                    <a:pt x="114" y="348"/>
                  </a:lnTo>
                  <a:lnTo>
                    <a:pt x="120" y="366"/>
                  </a:lnTo>
                  <a:lnTo>
                    <a:pt x="126" y="366"/>
                  </a:lnTo>
                  <a:lnTo>
                    <a:pt x="132" y="372"/>
                  </a:lnTo>
                  <a:lnTo>
                    <a:pt x="168" y="390"/>
                  </a:lnTo>
                  <a:lnTo>
                    <a:pt x="198" y="390"/>
                  </a:lnTo>
                  <a:lnTo>
                    <a:pt x="210" y="396"/>
                  </a:lnTo>
                  <a:lnTo>
                    <a:pt x="216" y="402"/>
                  </a:lnTo>
                  <a:lnTo>
                    <a:pt x="228" y="408"/>
                  </a:lnTo>
                  <a:lnTo>
                    <a:pt x="234" y="414"/>
                  </a:lnTo>
                  <a:lnTo>
                    <a:pt x="240" y="414"/>
                  </a:lnTo>
                  <a:lnTo>
                    <a:pt x="246" y="420"/>
                  </a:lnTo>
                  <a:lnTo>
                    <a:pt x="258" y="426"/>
                  </a:lnTo>
                  <a:lnTo>
                    <a:pt x="276" y="438"/>
                  </a:lnTo>
                  <a:lnTo>
                    <a:pt x="312" y="456"/>
                  </a:lnTo>
                  <a:lnTo>
                    <a:pt x="318" y="462"/>
                  </a:lnTo>
                  <a:lnTo>
                    <a:pt x="330" y="462"/>
                  </a:lnTo>
                  <a:lnTo>
                    <a:pt x="342" y="468"/>
                  </a:lnTo>
                  <a:lnTo>
                    <a:pt x="360" y="474"/>
                  </a:lnTo>
                  <a:lnTo>
                    <a:pt x="372" y="480"/>
                  </a:lnTo>
                  <a:lnTo>
                    <a:pt x="378" y="486"/>
                  </a:lnTo>
                  <a:lnTo>
                    <a:pt x="372" y="492"/>
                  </a:lnTo>
                  <a:lnTo>
                    <a:pt x="372" y="504"/>
                  </a:lnTo>
                  <a:lnTo>
                    <a:pt x="366" y="510"/>
                  </a:lnTo>
                  <a:lnTo>
                    <a:pt x="360" y="522"/>
                  </a:lnTo>
                  <a:lnTo>
                    <a:pt x="366" y="528"/>
                  </a:lnTo>
                  <a:lnTo>
                    <a:pt x="372" y="540"/>
                  </a:lnTo>
                  <a:lnTo>
                    <a:pt x="372" y="546"/>
                  </a:lnTo>
                  <a:lnTo>
                    <a:pt x="366" y="552"/>
                  </a:lnTo>
                  <a:lnTo>
                    <a:pt x="348" y="552"/>
                  </a:lnTo>
                  <a:lnTo>
                    <a:pt x="348" y="588"/>
                  </a:lnTo>
                  <a:lnTo>
                    <a:pt x="342" y="594"/>
                  </a:lnTo>
                  <a:lnTo>
                    <a:pt x="336" y="606"/>
                  </a:lnTo>
                  <a:lnTo>
                    <a:pt x="330" y="612"/>
                  </a:lnTo>
                  <a:lnTo>
                    <a:pt x="324" y="624"/>
                  </a:lnTo>
                  <a:lnTo>
                    <a:pt x="324" y="636"/>
                  </a:lnTo>
                  <a:lnTo>
                    <a:pt x="330" y="642"/>
                  </a:lnTo>
                  <a:lnTo>
                    <a:pt x="354" y="642"/>
                  </a:lnTo>
                  <a:lnTo>
                    <a:pt x="366" y="636"/>
                  </a:lnTo>
                  <a:lnTo>
                    <a:pt x="372" y="636"/>
                  </a:lnTo>
                  <a:lnTo>
                    <a:pt x="384" y="642"/>
                  </a:lnTo>
                  <a:lnTo>
                    <a:pt x="390" y="648"/>
                  </a:lnTo>
                  <a:lnTo>
                    <a:pt x="402" y="654"/>
                  </a:lnTo>
                  <a:lnTo>
                    <a:pt x="420" y="660"/>
                  </a:lnTo>
                  <a:lnTo>
                    <a:pt x="480" y="66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83" name="Papua New Guinea" descr="© INSCALE GmbH, 05.05.2010&#10;http://www.presentationload.com/">
              <a:extLst>
                <a:ext uri="{FF2B5EF4-FFF2-40B4-BE49-F238E27FC236}">
                  <a16:creationId xmlns:a16="http://schemas.microsoft.com/office/drawing/2014/main" id="{3CF14C4F-30CD-460A-AACF-5CEEC8976C63}"/>
                </a:ext>
              </a:extLst>
            </p:cNvPr>
            <p:cNvSpPr>
              <a:spLocks noEditPoints="1"/>
            </p:cNvSpPr>
            <p:nvPr/>
          </p:nvSpPr>
          <p:spPr bwMode="gray">
            <a:xfrm>
              <a:off x="8101161" y="4312214"/>
              <a:ext cx="432774" cy="288516"/>
            </a:xfrm>
            <a:custGeom>
              <a:avLst/>
              <a:gdLst>
                <a:gd name="T0" fmla="*/ 2147483647 w 1086"/>
                <a:gd name="T1" fmla="*/ 2147483647 h 726"/>
                <a:gd name="T2" fmla="*/ 2147483647 w 1086"/>
                <a:gd name="T3" fmla="*/ 2147483647 h 726"/>
                <a:gd name="T4" fmla="*/ 2147483647 w 1086"/>
                <a:gd name="T5" fmla="*/ 2147483647 h 726"/>
                <a:gd name="T6" fmla="*/ 2147483647 w 1086"/>
                <a:gd name="T7" fmla="*/ 2147483647 h 726"/>
                <a:gd name="T8" fmla="*/ 2147483647 w 1086"/>
                <a:gd name="T9" fmla="*/ 2147483647 h 726"/>
                <a:gd name="T10" fmla="*/ 2147483647 w 1086"/>
                <a:gd name="T11" fmla="*/ 2147483647 h 726"/>
                <a:gd name="T12" fmla="*/ 2147483647 w 1086"/>
                <a:gd name="T13" fmla="*/ 2147483647 h 726"/>
                <a:gd name="T14" fmla="*/ 2147483647 w 1086"/>
                <a:gd name="T15" fmla="*/ 2147483647 h 726"/>
                <a:gd name="T16" fmla="*/ 2147483647 w 1086"/>
                <a:gd name="T17" fmla="*/ 2147483647 h 726"/>
                <a:gd name="T18" fmla="*/ 2147483647 w 1086"/>
                <a:gd name="T19" fmla="*/ 2147483647 h 726"/>
                <a:gd name="T20" fmla="*/ 2147483647 w 1086"/>
                <a:gd name="T21" fmla="*/ 2147483647 h 726"/>
                <a:gd name="T22" fmla="*/ 2147483647 w 1086"/>
                <a:gd name="T23" fmla="*/ 2147483647 h 726"/>
                <a:gd name="T24" fmla="*/ 2147483647 w 1086"/>
                <a:gd name="T25" fmla="*/ 2147483647 h 726"/>
                <a:gd name="T26" fmla="*/ 2147483647 w 1086"/>
                <a:gd name="T27" fmla="*/ 2147483647 h 726"/>
                <a:gd name="T28" fmla="*/ 2147483647 w 1086"/>
                <a:gd name="T29" fmla="*/ 2147483647 h 726"/>
                <a:gd name="T30" fmla="*/ 2147483647 w 1086"/>
                <a:gd name="T31" fmla="*/ 2147483647 h 726"/>
                <a:gd name="T32" fmla="*/ 2147483647 w 1086"/>
                <a:gd name="T33" fmla="*/ 2147483647 h 726"/>
                <a:gd name="T34" fmla="*/ 2147483647 w 1086"/>
                <a:gd name="T35" fmla="*/ 2147483647 h 726"/>
                <a:gd name="T36" fmla="*/ 2147483647 w 1086"/>
                <a:gd name="T37" fmla="*/ 2147483647 h 726"/>
                <a:gd name="T38" fmla="*/ 2147483647 w 1086"/>
                <a:gd name="T39" fmla="*/ 2147483647 h 726"/>
                <a:gd name="T40" fmla="*/ 2147483647 w 1086"/>
                <a:gd name="T41" fmla="*/ 2147483647 h 726"/>
                <a:gd name="T42" fmla="*/ 2147483647 w 1086"/>
                <a:gd name="T43" fmla="*/ 2147483647 h 726"/>
                <a:gd name="T44" fmla="*/ 2147483647 w 1086"/>
                <a:gd name="T45" fmla="*/ 2147483647 h 726"/>
                <a:gd name="T46" fmla="*/ 2147483647 w 1086"/>
                <a:gd name="T47" fmla="*/ 2147483647 h 726"/>
                <a:gd name="T48" fmla="*/ 2147483647 w 1086"/>
                <a:gd name="T49" fmla="*/ 2147483647 h 726"/>
                <a:gd name="T50" fmla="*/ 2147483647 w 1086"/>
                <a:gd name="T51" fmla="*/ 2147483647 h 726"/>
                <a:gd name="T52" fmla="*/ 2147483647 w 1086"/>
                <a:gd name="T53" fmla="*/ 2147483647 h 726"/>
                <a:gd name="T54" fmla="*/ 2147483647 w 1086"/>
                <a:gd name="T55" fmla="*/ 2147483647 h 726"/>
                <a:gd name="T56" fmla="*/ 2147483647 w 1086"/>
                <a:gd name="T57" fmla="*/ 2147483647 h 726"/>
                <a:gd name="T58" fmla="*/ 2147483647 w 1086"/>
                <a:gd name="T59" fmla="*/ 2147483647 h 726"/>
                <a:gd name="T60" fmla="*/ 2147483647 w 1086"/>
                <a:gd name="T61" fmla="*/ 2147483647 h 726"/>
                <a:gd name="T62" fmla="*/ 2147483647 w 1086"/>
                <a:gd name="T63" fmla="*/ 2147483647 h 726"/>
                <a:gd name="T64" fmla="*/ 2147483647 w 1086"/>
                <a:gd name="T65" fmla="*/ 2147483647 h 726"/>
                <a:gd name="T66" fmla="*/ 2147483647 w 1086"/>
                <a:gd name="T67" fmla="*/ 2147483647 h 726"/>
                <a:gd name="T68" fmla="*/ 2147483647 w 1086"/>
                <a:gd name="T69" fmla="*/ 2147483647 h 726"/>
                <a:gd name="T70" fmla="*/ 2147483647 w 1086"/>
                <a:gd name="T71" fmla="*/ 2147483647 h 726"/>
                <a:gd name="T72" fmla="*/ 2147483647 w 1086"/>
                <a:gd name="T73" fmla="*/ 2147483647 h 726"/>
                <a:gd name="T74" fmla="*/ 2147483647 w 1086"/>
                <a:gd name="T75" fmla="*/ 2147483647 h 726"/>
                <a:gd name="T76" fmla="*/ 2147483647 w 1086"/>
                <a:gd name="T77" fmla="*/ 2147483647 h 726"/>
                <a:gd name="T78" fmla="*/ 2147483647 w 1086"/>
                <a:gd name="T79" fmla="*/ 2147483647 h 726"/>
                <a:gd name="T80" fmla="*/ 2147483647 w 1086"/>
                <a:gd name="T81" fmla="*/ 2147483647 h 726"/>
                <a:gd name="T82" fmla="*/ 2147483647 w 1086"/>
                <a:gd name="T83" fmla="*/ 2147483647 h 726"/>
                <a:gd name="T84" fmla="*/ 2147483647 w 1086"/>
                <a:gd name="T85" fmla="*/ 2147483647 h 726"/>
                <a:gd name="T86" fmla="*/ 2147483647 w 1086"/>
                <a:gd name="T87" fmla="*/ 2147483647 h 726"/>
                <a:gd name="T88" fmla="*/ 2147483647 w 1086"/>
                <a:gd name="T89" fmla="*/ 2147483647 h 726"/>
                <a:gd name="T90" fmla="*/ 2147483647 w 1086"/>
                <a:gd name="T91" fmla="*/ 2147483647 h 726"/>
                <a:gd name="T92" fmla="*/ 2147483647 w 1086"/>
                <a:gd name="T93" fmla="*/ 2147483647 h 726"/>
                <a:gd name="T94" fmla="*/ 2147483647 w 1086"/>
                <a:gd name="T95" fmla="*/ 2147483647 h 726"/>
                <a:gd name="T96" fmla="*/ 2147483647 w 1086"/>
                <a:gd name="T97" fmla="*/ 2147483647 h 726"/>
                <a:gd name="T98" fmla="*/ 2147483647 w 1086"/>
                <a:gd name="T99" fmla="*/ 2147483647 h 726"/>
                <a:gd name="T100" fmla="*/ 2147483647 w 1086"/>
                <a:gd name="T101" fmla="*/ 2147483647 h 726"/>
                <a:gd name="T102" fmla="*/ 2147483647 w 1086"/>
                <a:gd name="T103" fmla="*/ 2147483647 h 726"/>
                <a:gd name="T104" fmla="*/ 2147483647 w 1086"/>
                <a:gd name="T105" fmla="*/ 2147483647 h 726"/>
                <a:gd name="T106" fmla="*/ 2147483647 w 1086"/>
                <a:gd name="T107" fmla="*/ 2147483647 h 726"/>
                <a:gd name="T108" fmla="*/ 2147483647 w 1086"/>
                <a:gd name="T109" fmla="*/ 2147483647 h 726"/>
                <a:gd name="T110" fmla="*/ 2147483647 w 1086"/>
                <a:gd name="T111" fmla="*/ 2147483647 h 726"/>
                <a:gd name="T112" fmla="*/ 2147483647 w 1086"/>
                <a:gd name="T113" fmla="*/ 2147483647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86"/>
                <a:gd name="T172" fmla="*/ 0 h 726"/>
                <a:gd name="T173" fmla="*/ 1086 w 1086"/>
                <a:gd name="T174" fmla="*/ 726 h 7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86" h="726">
                  <a:moveTo>
                    <a:pt x="486" y="0"/>
                  </a:moveTo>
                  <a:lnTo>
                    <a:pt x="462" y="0"/>
                  </a:lnTo>
                  <a:lnTo>
                    <a:pt x="450" y="6"/>
                  </a:lnTo>
                  <a:lnTo>
                    <a:pt x="444" y="12"/>
                  </a:lnTo>
                  <a:lnTo>
                    <a:pt x="432" y="18"/>
                  </a:lnTo>
                  <a:lnTo>
                    <a:pt x="462" y="36"/>
                  </a:lnTo>
                  <a:lnTo>
                    <a:pt x="474" y="36"/>
                  </a:lnTo>
                  <a:lnTo>
                    <a:pt x="486" y="30"/>
                  </a:lnTo>
                  <a:lnTo>
                    <a:pt x="498" y="18"/>
                  </a:lnTo>
                  <a:lnTo>
                    <a:pt x="492" y="6"/>
                  </a:lnTo>
                  <a:lnTo>
                    <a:pt x="486" y="0"/>
                  </a:lnTo>
                  <a:close/>
                  <a:moveTo>
                    <a:pt x="756" y="216"/>
                  </a:moveTo>
                  <a:lnTo>
                    <a:pt x="750" y="222"/>
                  </a:lnTo>
                  <a:lnTo>
                    <a:pt x="750" y="228"/>
                  </a:lnTo>
                  <a:lnTo>
                    <a:pt x="756" y="234"/>
                  </a:lnTo>
                  <a:lnTo>
                    <a:pt x="768" y="240"/>
                  </a:lnTo>
                  <a:lnTo>
                    <a:pt x="774" y="246"/>
                  </a:lnTo>
                  <a:lnTo>
                    <a:pt x="774" y="264"/>
                  </a:lnTo>
                  <a:lnTo>
                    <a:pt x="702" y="300"/>
                  </a:lnTo>
                  <a:lnTo>
                    <a:pt x="666" y="300"/>
                  </a:lnTo>
                  <a:lnTo>
                    <a:pt x="630" y="312"/>
                  </a:lnTo>
                  <a:lnTo>
                    <a:pt x="594" y="330"/>
                  </a:lnTo>
                  <a:lnTo>
                    <a:pt x="588" y="336"/>
                  </a:lnTo>
                  <a:lnTo>
                    <a:pt x="570" y="336"/>
                  </a:lnTo>
                  <a:lnTo>
                    <a:pt x="564" y="342"/>
                  </a:lnTo>
                  <a:lnTo>
                    <a:pt x="588" y="378"/>
                  </a:lnTo>
                  <a:lnTo>
                    <a:pt x="684" y="378"/>
                  </a:lnTo>
                  <a:lnTo>
                    <a:pt x="702" y="366"/>
                  </a:lnTo>
                  <a:lnTo>
                    <a:pt x="738" y="366"/>
                  </a:lnTo>
                  <a:lnTo>
                    <a:pt x="750" y="360"/>
                  </a:lnTo>
                  <a:lnTo>
                    <a:pt x="774" y="336"/>
                  </a:lnTo>
                  <a:lnTo>
                    <a:pt x="774" y="330"/>
                  </a:lnTo>
                  <a:lnTo>
                    <a:pt x="804" y="324"/>
                  </a:lnTo>
                  <a:lnTo>
                    <a:pt x="798" y="300"/>
                  </a:lnTo>
                  <a:lnTo>
                    <a:pt x="822" y="300"/>
                  </a:lnTo>
                  <a:lnTo>
                    <a:pt x="822" y="288"/>
                  </a:lnTo>
                  <a:lnTo>
                    <a:pt x="828" y="258"/>
                  </a:lnTo>
                  <a:lnTo>
                    <a:pt x="828" y="228"/>
                  </a:lnTo>
                  <a:lnTo>
                    <a:pt x="822" y="198"/>
                  </a:lnTo>
                  <a:lnTo>
                    <a:pt x="816" y="192"/>
                  </a:lnTo>
                  <a:lnTo>
                    <a:pt x="804" y="186"/>
                  </a:lnTo>
                  <a:lnTo>
                    <a:pt x="792" y="192"/>
                  </a:lnTo>
                  <a:lnTo>
                    <a:pt x="786" y="198"/>
                  </a:lnTo>
                  <a:lnTo>
                    <a:pt x="762" y="210"/>
                  </a:lnTo>
                  <a:lnTo>
                    <a:pt x="756" y="216"/>
                  </a:lnTo>
                  <a:close/>
                  <a:moveTo>
                    <a:pt x="834" y="132"/>
                  </a:moveTo>
                  <a:lnTo>
                    <a:pt x="822" y="132"/>
                  </a:lnTo>
                  <a:lnTo>
                    <a:pt x="816" y="120"/>
                  </a:lnTo>
                  <a:lnTo>
                    <a:pt x="804" y="108"/>
                  </a:lnTo>
                  <a:lnTo>
                    <a:pt x="792" y="102"/>
                  </a:lnTo>
                  <a:lnTo>
                    <a:pt x="786" y="90"/>
                  </a:lnTo>
                  <a:lnTo>
                    <a:pt x="774" y="78"/>
                  </a:lnTo>
                  <a:lnTo>
                    <a:pt x="768" y="78"/>
                  </a:lnTo>
                  <a:lnTo>
                    <a:pt x="762" y="72"/>
                  </a:lnTo>
                  <a:lnTo>
                    <a:pt x="756" y="72"/>
                  </a:lnTo>
                  <a:lnTo>
                    <a:pt x="732" y="36"/>
                  </a:lnTo>
                  <a:lnTo>
                    <a:pt x="720" y="84"/>
                  </a:lnTo>
                  <a:lnTo>
                    <a:pt x="762" y="96"/>
                  </a:lnTo>
                  <a:lnTo>
                    <a:pt x="816" y="150"/>
                  </a:lnTo>
                  <a:lnTo>
                    <a:pt x="828" y="150"/>
                  </a:lnTo>
                  <a:lnTo>
                    <a:pt x="834" y="156"/>
                  </a:lnTo>
                  <a:lnTo>
                    <a:pt x="846" y="162"/>
                  </a:lnTo>
                  <a:lnTo>
                    <a:pt x="852" y="174"/>
                  </a:lnTo>
                  <a:lnTo>
                    <a:pt x="852" y="180"/>
                  </a:lnTo>
                  <a:lnTo>
                    <a:pt x="858" y="192"/>
                  </a:lnTo>
                  <a:lnTo>
                    <a:pt x="852" y="204"/>
                  </a:lnTo>
                  <a:lnTo>
                    <a:pt x="852" y="240"/>
                  </a:lnTo>
                  <a:lnTo>
                    <a:pt x="858" y="252"/>
                  </a:lnTo>
                  <a:lnTo>
                    <a:pt x="864" y="258"/>
                  </a:lnTo>
                  <a:lnTo>
                    <a:pt x="882" y="258"/>
                  </a:lnTo>
                  <a:lnTo>
                    <a:pt x="894" y="246"/>
                  </a:lnTo>
                  <a:lnTo>
                    <a:pt x="900" y="234"/>
                  </a:lnTo>
                  <a:lnTo>
                    <a:pt x="900" y="222"/>
                  </a:lnTo>
                  <a:lnTo>
                    <a:pt x="888" y="186"/>
                  </a:lnTo>
                  <a:lnTo>
                    <a:pt x="876" y="174"/>
                  </a:lnTo>
                  <a:lnTo>
                    <a:pt x="864" y="156"/>
                  </a:lnTo>
                  <a:lnTo>
                    <a:pt x="852" y="150"/>
                  </a:lnTo>
                  <a:lnTo>
                    <a:pt x="846" y="138"/>
                  </a:lnTo>
                  <a:lnTo>
                    <a:pt x="834" y="132"/>
                  </a:lnTo>
                  <a:close/>
                  <a:moveTo>
                    <a:pt x="1086" y="360"/>
                  </a:moveTo>
                  <a:lnTo>
                    <a:pt x="1020" y="294"/>
                  </a:lnTo>
                  <a:lnTo>
                    <a:pt x="1020" y="288"/>
                  </a:lnTo>
                  <a:lnTo>
                    <a:pt x="1002" y="270"/>
                  </a:lnTo>
                  <a:lnTo>
                    <a:pt x="984" y="270"/>
                  </a:lnTo>
                  <a:lnTo>
                    <a:pt x="978" y="276"/>
                  </a:lnTo>
                  <a:lnTo>
                    <a:pt x="978" y="300"/>
                  </a:lnTo>
                  <a:lnTo>
                    <a:pt x="996" y="330"/>
                  </a:lnTo>
                  <a:lnTo>
                    <a:pt x="1020" y="378"/>
                  </a:lnTo>
                  <a:lnTo>
                    <a:pt x="1086" y="438"/>
                  </a:lnTo>
                  <a:lnTo>
                    <a:pt x="1086" y="360"/>
                  </a:lnTo>
                  <a:close/>
                  <a:moveTo>
                    <a:pt x="672" y="672"/>
                  </a:moveTo>
                  <a:lnTo>
                    <a:pt x="630" y="642"/>
                  </a:lnTo>
                  <a:lnTo>
                    <a:pt x="648" y="630"/>
                  </a:lnTo>
                  <a:lnTo>
                    <a:pt x="636" y="630"/>
                  </a:lnTo>
                  <a:lnTo>
                    <a:pt x="624" y="624"/>
                  </a:lnTo>
                  <a:lnTo>
                    <a:pt x="612" y="624"/>
                  </a:lnTo>
                  <a:lnTo>
                    <a:pt x="600" y="618"/>
                  </a:lnTo>
                  <a:lnTo>
                    <a:pt x="594" y="606"/>
                  </a:lnTo>
                  <a:lnTo>
                    <a:pt x="594" y="594"/>
                  </a:lnTo>
                  <a:lnTo>
                    <a:pt x="600" y="582"/>
                  </a:lnTo>
                  <a:lnTo>
                    <a:pt x="600" y="564"/>
                  </a:lnTo>
                  <a:lnTo>
                    <a:pt x="588" y="570"/>
                  </a:lnTo>
                  <a:lnTo>
                    <a:pt x="582" y="570"/>
                  </a:lnTo>
                  <a:lnTo>
                    <a:pt x="570" y="576"/>
                  </a:lnTo>
                  <a:lnTo>
                    <a:pt x="564" y="576"/>
                  </a:lnTo>
                  <a:lnTo>
                    <a:pt x="552" y="582"/>
                  </a:lnTo>
                  <a:lnTo>
                    <a:pt x="552" y="552"/>
                  </a:lnTo>
                  <a:lnTo>
                    <a:pt x="528" y="540"/>
                  </a:lnTo>
                  <a:lnTo>
                    <a:pt x="528" y="492"/>
                  </a:lnTo>
                  <a:lnTo>
                    <a:pt x="474" y="456"/>
                  </a:lnTo>
                  <a:lnTo>
                    <a:pt x="450" y="402"/>
                  </a:lnTo>
                  <a:lnTo>
                    <a:pt x="474" y="390"/>
                  </a:lnTo>
                  <a:lnTo>
                    <a:pt x="480" y="384"/>
                  </a:lnTo>
                  <a:lnTo>
                    <a:pt x="492" y="378"/>
                  </a:lnTo>
                  <a:lnTo>
                    <a:pt x="504" y="366"/>
                  </a:lnTo>
                  <a:lnTo>
                    <a:pt x="504" y="360"/>
                  </a:lnTo>
                  <a:lnTo>
                    <a:pt x="492" y="336"/>
                  </a:lnTo>
                  <a:lnTo>
                    <a:pt x="468" y="324"/>
                  </a:lnTo>
                  <a:lnTo>
                    <a:pt x="462" y="318"/>
                  </a:lnTo>
                  <a:lnTo>
                    <a:pt x="456" y="318"/>
                  </a:lnTo>
                  <a:lnTo>
                    <a:pt x="450" y="312"/>
                  </a:lnTo>
                  <a:lnTo>
                    <a:pt x="438" y="312"/>
                  </a:lnTo>
                  <a:lnTo>
                    <a:pt x="402" y="300"/>
                  </a:lnTo>
                  <a:lnTo>
                    <a:pt x="390" y="300"/>
                  </a:lnTo>
                  <a:lnTo>
                    <a:pt x="378" y="294"/>
                  </a:lnTo>
                  <a:lnTo>
                    <a:pt x="372" y="294"/>
                  </a:lnTo>
                  <a:lnTo>
                    <a:pt x="372" y="234"/>
                  </a:lnTo>
                  <a:lnTo>
                    <a:pt x="366" y="222"/>
                  </a:lnTo>
                  <a:lnTo>
                    <a:pt x="354" y="210"/>
                  </a:lnTo>
                  <a:lnTo>
                    <a:pt x="342" y="210"/>
                  </a:lnTo>
                  <a:lnTo>
                    <a:pt x="288" y="156"/>
                  </a:lnTo>
                  <a:lnTo>
                    <a:pt x="252" y="162"/>
                  </a:lnTo>
                  <a:lnTo>
                    <a:pt x="216" y="126"/>
                  </a:lnTo>
                  <a:lnTo>
                    <a:pt x="186" y="120"/>
                  </a:lnTo>
                  <a:lnTo>
                    <a:pt x="66" y="60"/>
                  </a:lnTo>
                  <a:lnTo>
                    <a:pt x="42" y="72"/>
                  </a:lnTo>
                  <a:lnTo>
                    <a:pt x="0" y="42"/>
                  </a:lnTo>
                  <a:lnTo>
                    <a:pt x="42" y="72"/>
                  </a:lnTo>
                  <a:lnTo>
                    <a:pt x="36" y="102"/>
                  </a:lnTo>
                  <a:lnTo>
                    <a:pt x="36" y="240"/>
                  </a:lnTo>
                  <a:lnTo>
                    <a:pt x="30" y="258"/>
                  </a:lnTo>
                  <a:lnTo>
                    <a:pt x="30" y="372"/>
                  </a:lnTo>
                  <a:lnTo>
                    <a:pt x="24" y="378"/>
                  </a:lnTo>
                  <a:lnTo>
                    <a:pt x="12" y="384"/>
                  </a:lnTo>
                  <a:lnTo>
                    <a:pt x="0" y="396"/>
                  </a:lnTo>
                  <a:lnTo>
                    <a:pt x="0" y="402"/>
                  </a:lnTo>
                  <a:lnTo>
                    <a:pt x="6" y="408"/>
                  </a:lnTo>
                  <a:lnTo>
                    <a:pt x="18" y="414"/>
                  </a:lnTo>
                  <a:lnTo>
                    <a:pt x="30" y="414"/>
                  </a:lnTo>
                  <a:lnTo>
                    <a:pt x="30" y="444"/>
                  </a:lnTo>
                  <a:lnTo>
                    <a:pt x="24" y="456"/>
                  </a:lnTo>
                  <a:lnTo>
                    <a:pt x="24" y="480"/>
                  </a:lnTo>
                  <a:lnTo>
                    <a:pt x="18" y="492"/>
                  </a:lnTo>
                  <a:lnTo>
                    <a:pt x="18" y="504"/>
                  </a:lnTo>
                  <a:lnTo>
                    <a:pt x="12" y="510"/>
                  </a:lnTo>
                  <a:lnTo>
                    <a:pt x="12" y="516"/>
                  </a:lnTo>
                  <a:lnTo>
                    <a:pt x="18" y="540"/>
                  </a:lnTo>
                  <a:lnTo>
                    <a:pt x="18" y="588"/>
                  </a:lnTo>
                  <a:lnTo>
                    <a:pt x="30" y="594"/>
                  </a:lnTo>
                  <a:lnTo>
                    <a:pt x="48" y="594"/>
                  </a:lnTo>
                  <a:lnTo>
                    <a:pt x="60" y="588"/>
                  </a:lnTo>
                  <a:lnTo>
                    <a:pt x="90" y="588"/>
                  </a:lnTo>
                  <a:lnTo>
                    <a:pt x="96" y="582"/>
                  </a:lnTo>
                  <a:lnTo>
                    <a:pt x="102" y="582"/>
                  </a:lnTo>
                  <a:lnTo>
                    <a:pt x="126" y="600"/>
                  </a:lnTo>
                  <a:lnTo>
                    <a:pt x="132" y="600"/>
                  </a:lnTo>
                  <a:lnTo>
                    <a:pt x="138" y="594"/>
                  </a:lnTo>
                  <a:lnTo>
                    <a:pt x="156" y="588"/>
                  </a:lnTo>
                  <a:lnTo>
                    <a:pt x="168" y="582"/>
                  </a:lnTo>
                  <a:lnTo>
                    <a:pt x="180" y="570"/>
                  </a:lnTo>
                  <a:lnTo>
                    <a:pt x="180" y="564"/>
                  </a:lnTo>
                  <a:lnTo>
                    <a:pt x="168" y="552"/>
                  </a:lnTo>
                  <a:lnTo>
                    <a:pt x="150" y="540"/>
                  </a:lnTo>
                  <a:lnTo>
                    <a:pt x="138" y="534"/>
                  </a:lnTo>
                  <a:lnTo>
                    <a:pt x="120" y="522"/>
                  </a:lnTo>
                  <a:lnTo>
                    <a:pt x="108" y="516"/>
                  </a:lnTo>
                  <a:lnTo>
                    <a:pt x="102" y="510"/>
                  </a:lnTo>
                  <a:lnTo>
                    <a:pt x="96" y="510"/>
                  </a:lnTo>
                  <a:lnTo>
                    <a:pt x="108" y="510"/>
                  </a:lnTo>
                  <a:lnTo>
                    <a:pt x="138" y="516"/>
                  </a:lnTo>
                  <a:lnTo>
                    <a:pt x="204" y="516"/>
                  </a:lnTo>
                  <a:lnTo>
                    <a:pt x="204" y="510"/>
                  </a:lnTo>
                  <a:lnTo>
                    <a:pt x="198" y="504"/>
                  </a:lnTo>
                  <a:lnTo>
                    <a:pt x="198" y="498"/>
                  </a:lnTo>
                  <a:lnTo>
                    <a:pt x="186" y="486"/>
                  </a:lnTo>
                  <a:lnTo>
                    <a:pt x="192" y="492"/>
                  </a:lnTo>
                  <a:lnTo>
                    <a:pt x="204" y="492"/>
                  </a:lnTo>
                  <a:lnTo>
                    <a:pt x="210" y="498"/>
                  </a:lnTo>
                  <a:lnTo>
                    <a:pt x="216" y="498"/>
                  </a:lnTo>
                  <a:lnTo>
                    <a:pt x="222" y="492"/>
                  </a:lnTo>
                  <a:lnTo>
                    <a:pt x="222" y="486"/>
                  </a:lnTo>
                  <a:lnTo>
                    <a:pt x="216" y="480"/>
                  </a:lnTo>
                  <a:lnTo>
                    <a:pt x="216" y="468"/>
                  </a:lnTo>
                  <a:lnTo>
                    <a:pt x="210" y="462"/>
                  </a:lnTo>
                  <a:lnTo>
                    <a:pt x="222" y="468"/>
                  </a:lnTo>
                  <a:lnTo>
                    <a:pt x="228" y="474"/>
                  </a:lnTo>
                  <a:lnTo>
                    <a:pt x="246" y="474"/>
                  </a:lnTo>
                  <a:lnTo>
                    <a:pt x="252" y="468"/>
                  </a:lnTo>
                  <a:lnTo>
                    <a:pt x="264" y="462"/>
                  </a:lnTo>
                  <a:lnTo>
                    <a:pt x="270" y="456"/>
                  </a:lnTo>
                  <a:lnTo>
                    <a:pt x="288" y="474"/>
                  </a:lnTo>
                  <a:lnTo>
                    <a:pt x="300" y="480"/>
                  </a:lnTo>
                  <a:lnTo>
                    <a:pt x="306" y="486"/>
                  </a:lnTo>
                  <a:lnTo>
                    <a:pt x="312" y="486"/>
                  </a:lnTo>
                  <a:lnTo>
                    <a:pt x="330" y="492"/>
                  </a:lnTo>
                  <a:lnTo>
                    <a:pt x="342" y="492"/>
                  </a:lnTo>
                  <a:lnTo>
                    <a:pt x="378" y="504"/>
                  </a:lnTo>
                  <a:lnTo>
                    <a:pt x="390" y="510"/>
                  </a:lnTo>
                  <a:lnTo>
                    <a:pt x="402" y="534"/>
                  </a:lnTo>
                  <a:lnTo>
                    <a:pt x="402" y="558"/>
                  </a:lnTo>
                  <a:lnTo>
                    <a:pt x="408" y="570"/>
                  </a:lnTo>
                  <a:lnTo>
                    <a:pt x="420" y="582"/>
                  </a:lnTo>
                  <a:lnTo>
                    <a:pt x="438" y="582"/>
                  </a:lnTo>
                  <a:lnTo>
                    <a:pt x="450" y="594"/>
                  </a:lnTo>
                  <a:lnTo>
                    <a:pt x="450" y="606"/>
                  </a:lnTo>
                  <a:lnTo>
                    <a:pt x="456" y="618"/>
                  </a:lnTo>
                  <a:lnTo>
                    <a:pt x="468" y="654"/>
                  </a:lnTo>
                  <a:lnTo>
                    <a:pt x="486" y="672"/>
                  </a:lnTo>
                  <a:lnTo>
                    <a:pt x="516" y="678"/>
                  </a:lnTo>
                  <a:lnTo>
                    <a:pt x="558" y="684"/>
                  </a:lnTo>
                  <a:lnTo>
                    <a:pt x="618" y="684"/>
                  </a:lnTo>
                  <a:lnTo>
                    <a:pt x="630" y="690"/>
                  </a:lnTo>
                  <a:lnTo>
                    <a:pt x="654" y="714"/>
                  </a:lnTo>
                  <a:lnTo>
                    <a:pt x="678" y="726"/>
                  </a:lnTo>
                  <a:lnTo>
                    <a:pt x="684" y="726"/>
                  </a:lnTo>
                  <a:lnTo>
                    <a:pt x="684" y="720"/>
                  </a:lnTo>
                  <a:lnTo>
                    <a:pt x="678" y="708"/>
                  </a:lnTo>
                  <a:lnTo>
                    <a:pt x="678" y="702"/>
                  </a:lnTo>
                  <a:lnTo>
                    <a:pt x="672" y="690"/>
                  </a:lnTo>
                  <a:lnTo>
                    <a:pt x="666" y="684"/>
                  </a:lnTo>
                  <a:lnTo>
                    <a:pt x="672" y="67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84" name="Panama" descr="© INSCALE GmbH, 05.05.2010&#10;http://www.presentationload.com/">
              <a:extLst>
                <a:ext uri="{FF2B5EF4-FFF2-40B4-BE49-F238E27FC236}">
                  <a16:creationId xmlns:a16="http://schemas.microsoft.com/office/drawing/2014/main" id="{1DD40572-901E-4039-9D80-E0C0E26381C0}"/>
                </a:ext>
              </a:extLst>
            </p:cNvPr>
            <p:cNvSpPr>
              <a:spLocks/>
            </p:cNvSpPr>
            <p:nvPr/>
          </p:nvSpPr>
          <p:spPr bwMode="gray">
            <a:xfrm>
              <a:off x="1788301" y="3945297"/>
              <a:ext cx="161506" cy="76834"/>
            </a:xfrm>
            <a:custGeom>
              <a:avLst/>
              <a:gdLst>
                <a:gd name="T0" fmla="*/ 2147483647 w 408"/>
                <a:gd name="T1" fmla="*/ 2147483647 h 198"/>
                <a:gd name="T2" fmla="*/ 2147483647 w 408"/>
                <a:gd name="T3" fmla="*/ 2147483647 h 198"/>
                <a:gd name="T4" fmla="*/ 2147483647 w 408"/>
                <a:gd name="T5" fmla="*/ 2147483647 h 198"/>
                <a:gd name="T6" fmla="*/ 2147483647 w 408"/>
                <a:gd name="T7" fmla="*/ 2147483647 h 198"/>
                <a:gd name="T8" fmla="*/ 2147483647 w 408"/>
                <a:gd name="T9" fmla="*/ 2147483647 h 198"/>
                <a:gd name="T10" fmla="*/ 2147483647 w 408"/>
                <a:gd name="T11" fmla="*/ 2147483647 h 198"/>
                <a:gd name="T12" fmla="*/ 2147483647 w 408"/>
                <a:gd name="T13" fmla="*/ 2147483647 h 198"/>
                <a:gd name="T14" fmla="*/ 2147483647 w 408"/>
                <a:gd name="T15" fmla="*/ 2147483647 h 198"/>
                <a:gd name="T16" fmla="*/ 2147483647 w 408"/>
                <a:gd name="T17" fmla="*/ 2147483647 h 198"/>
                <a:gd name="T18" fmla="*/ 2147483647 w 408"/>
                <a:gd name="T19" fmla="*/ 2147483647 h 198"/>
                <a:gd name="T20" fmla="*/ 2147483647 w 408"/>
                <a:gd name="T21" fmla="*/ 2147483647 h 198"/>
                <a:gd name="T22" fmla="*/ 2147483647 w 408"/>
                <a:gd name="T23" fmla="*/ 2147483647 h 198"/>
                <a:gd name="T24" fmla="*/ 2147483647 w 408"/>
                <a:gd name="T25" fmla="*/ 2147483647 h 198"/>
                <a:gd name="T26" fmla="*/ 2147483647 w 408"/>
                <a:gd name="T27" fmla="*/ 2147483647 h 198"/>
                <a:gd name="T28" fmla="*/ 2147483647 w 408"/>
                <a:gd name="T29" fmla="*/ 2147483647 h 198"/>
                <a:gd name="T30" fmla="*/ 2147483647 w 408"/>
                <a:gd name="T31" fmla="*/ 2147483647 h 198"/>
                <a:gd name="T32" fmla="*/ 2147483647 w 408"/>
                <a:gd name="T33" fmla="*/ 0 h 198"/>
                <a:gd name="T34" fmla="*/ 2147483647 w 408"/>
                <a:gd name="T35" fmla="*/ 2147483647 h 198"/>
                <a:gd name="T36" fmla="*/ 2147483647 w 408"/>
                <a:gd name="T37" fmla="*/ 2147483647 h 198"/>
                <a:gd name="T38" fmla="*/ 2147483647 w 408"/>
                <a:gd name="T39" fmla="*/ 2147483647 h 198"/>
                <a:gd name="T40" fmla="*/ 2147483647 w 408"/>
                <a:gd name="T41" fmla="*/ 2147483647 h 198"/>
                <a:gd name="T42" fmla="*/ 2147483647 w 408"/>
                <a:gd name="T43" fmla="*/ 2147483647 h 198"/>
                <a:gd name="T44" fmla="*/ 2147483647 w 408"/>
                <a:gd name="T45" fmla="*/ 2147483647 h 198"/>
                <a:gd name="T46" fmla="*/ 2147483647 w 408"/>
                <a:gd name="T47" fmla="*/ 2147483647 h 198"/>
                <a:gd name="T48" fmla="*/ 2147483647 w 408"/>
                <a:gd name="T49" fmla="*/ 2147483647 h 198"/>
                <a:gd name="T50" fmla="*/ 2147483647 w 408"/>
                <a:gd name="T51" fmla="*/ 2147483647 h 198"/>
                <a:gd name="T52" fmla="*/ 2147483647 w 408"/>
                <a:gd name="T53" fmla="*/ 2147483647 h 198"/>
                <a:gd name="T54" fmla="*/ 2147483647 w 408"/>
                <a:gd name="T55" fmla="*/ 2147483647 h 198"/>
                <a:gd name="T56" fmla="*/ 0 w 408"/>
                <a:gd name="T57" fmla="*/ 2147483647 h 198"/>
                <a:gd name="T58" fmla="*/ 2147483647 w 408"/>
                <a:gd name="T59" fmla="*/ 2147483647 h 198"/>
                <a:gd name="T60" fmla="*/ 2147483647 w 408"/>
                <a:gd name="T61" fmla="*/ 2147483647 h 198"/>
                <a:gd name="T62" fmla="*/ 2147483647 w 408"/>
                <a:gd name="T63" fmla="*/ 2147483647 h 198"/>
                <a:gd name="T64" fmla="*/ 0 w 408"/>
                <a:gd name="T65" fmla="*/ 2147483647 h 198"/>
                <a:gd name="T66" fmla="*/ 2147483647 w 408"/>
                <a:gd name="T67" fmla="*/ 2147483647 h 198"/>
                <a:gd name="T68" fmla="*/ 2147483647 w 408"/>
                <a:gd name="T69" fmla="*/ 2147483647 h 198"/>
                <a:gd name="T70" fmla="*/ 2147483647 w 408"/>
                <a:gd name="T71" fmla="*/ 2147483647 h 198"/>
                <a:gd name="T72" fmla="*/ 2147483647 w 408"/>
                <a:gd name="T73" fmla="*/ 2147483647 h 198"/>
                <a:gd name="T74" fmla="*/ 2147483647 w 408"/>
                <a:gd name="T75" fmla="*/ 2147483647 h 198"/>
                <a:gd name="T76" fmla="*/ 2147483647 w 408"/>
                <a:gd name="T77" fmla="*/ 2147483647 h 198"/>
                <a:gd name="T78" fmla="*/ 2147483647 w 408"/>
                <a:gd name="T79" fmla="*/ 2147483647 h 198"/>
                <a:gd name="T80" fmla="*/ 2147483647 w 408"/>
                <a:gd name="T81" fmla="*/ 2147483647 h 198"/>
                <a:gd name="T82" fmla="*/ 2147483647 w 408"/>
                <a:gd name="T83" fmla="*/ 2147483647 h 198"/>
                <a:gd name="T84" fmla="*/ 2147483647 w 408"/>
                <a:gd name="T85" fmla="*/ 2147483647 h 198"/>
                <a:gd name="T86" fmla="*/ 2147483647 w 408"/>
                <a:gd name="T87" fmla="*/ 2147483647 h 198"/>
                <a:gd name="T88" fmla="*/ 2147483647 w 408"/>
                <a:gd name="T89" fmla="*/ 2147483647 h 198"/>
                <a:gd name="T90" fmla="*/ 2147483647 w 408"/>
                <a:gd name="T91" fmla="*/ 2147483647 h 198"/>
                <a:gd name="T92" fmla="*/ 2147483647 w 408"/>
                <a:gd name="T93" fmla="*/ 2147483647 h 198"/>
                <a:gd name="T94" fmla="*/ 2147483647 w 408"/>
                <a:gd name="T95" fmla="*/ 2147483647 h 198"/>
                <a:gd name="T96" fmla="*/ 2147483647 w 408"/>
                <a:gd name="T97" fmla="*/ 2147483647 h 198"/>
                <a:gd name="T98" fmla="*/ 2147483647 w 408"/>
                <a:gd name="T99" fmla="*/ 2147483647 h 198"/>
                <a:gd name="T100" fmla="*/ 2147483647 w 408"/>
                <a:gd name="T101" fmla="*/ 2147483647 h 1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8"/>
                <a:gd name="T154" fmla="*/ 0 h 198"/>
                <a:gd name="T155" fmla="*/ 408 w 408"/>
                <a:gd name="T156" fmla="*/ 198 h 1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8" h="198">
                  <a:moveTo>
                    <a:pt x="306" y="66"/>
                  </a:moveTo>
                  <a:lnTo>
                    <a:pt x="318" y="78"/>
                  </a:lnTo>
                  <a:lnTo>
                    <a:pt x="324" y="90"/>
                  </a:lnTo>
                  <a:lnTo>
                    <a:pt x="330" y="96"/>
                  </a:lnTo>
                  <a:lnTo>
                    <a:pt x="342" y="90"/>
                  </a:lnTo>
                  <a:lnTo>
                    <a:pt x="372" y="120"/>
                  </a:lnTo>
                  <a:lnTo>
                    <a:pt x="342" y="102"/>
                  </a:lnTo>
                  <a:lnTo>
                    <a:pt x="342" y="120"/>
                  </a:lnTo>
                  <a:lnTo>
                    <a:pt x="336" y="132"/>
                  </a:lnTo>
                  <a:lnTo>
                    <a:pt x="336" y="162"/>
                  </a:lnTo>
                  <a:lnTo>
                    <a:pt x="342" y="168"/>
                  </a:lnTo>
                  <a:lnTo>
                    <a:pt x="348" y="180"/>
                  </a:lnTo>
                  <a:lnTo>
                    <a:pt x="354" y="186"/>
                  </a:lnTo>
                  <a:lnTo>
                    <a:pt x="360" y="186"/>
                  </a:lnTo>
                  <a:lnTo>
                    <a:pt x="372" y="156"/>
                  </a:lnTo>
                  <a:lnTo>
                    <a:pt x="378" y="162"/>
                  </a:lnTo>
                  <a:lnTo>
                    <a:pt x="390" y="168"/>
                  </a:lnTo>
                  <a:lnTo>
                    <a:pt x="396" y="162"/>
                  </a:lnTo>
                  <a:lnTo>
                    <a:pt x="408" y="138"/>
                  </a:lnTo>
                  <a:lnTo>
                    <a:pt x="408" y="126"/>
                  </a:lnTo>
                  <a:lnTo>
                    <a:pt x="396" y="120"/>
                  </a:lnTo>
                  <a:lnTo>
                    <a:pt x="390" y="108"/>
                  </a:lnTo>
                  <a:lnTo>
                    <a:pt x="390" y="90"/>
                  </a:lnTo>
                  <a:lnTo>
                    <a:pt x="396" y="84"/>
                  </a:lnTo>
                  <a:lnTo>
                    <a:pt x="372" y="66"/>
                  </a:lnTo>
                  <a:lnTo>
                    <a:pt x="372" y="60"/>
                  </a:lnTo>
                  <a:lnTo>
                    <a:pt x="366" y="54"/>
                  </a:lnTo>
                  <a:lnTo>
                    <a:pt x="366" y="42"/>
                  </a:lnTo>
                  <a:lnTo>
                    <a:pt x="360" y="30"/>
                  </a:lnTo>
                  <a:lnTo>
                    <a:pt x="348" y="24"/>
                  </a:lnTo>
                  <a:lnTo>
                    <a:pt x="330" y="18"/>
                  </a:lnTo>
                  <a:lnTo>
                    <a:pt x="288" y="18"/>
                  </a:lnTo>
                  <a:lnTo>
                    <a:pt x="282" y="0"/>
                  </a:lnTo>
                  <a:lnTo>
                    <a:pt x="246" y="0"/>
                  </a:lnTo>
                  <a:lnTo>
                    <a:pt x="234" y="6"/>
                  </a:lnTo>
                  <a:lnTo>
                    <a:pt x="228" y="12"/>
                  </a:lnTo>
                  <a:lnTo>
                    <a:pt x="222" y="24"/>
                  </a:lnTo>
                  <a:lnTo>
                    <a:pt x="210" y="36"/>
                  </a:lnTo>
                  <a:lnTo>
                    <a:pt x="204" y="36"/>
                  </a:lnTo>
                  <a:lnTo>
                    <a:pt x="198" y="30"/>
                  </a:lnTo>
                  <a:lnTo>
                    <a:pt x="192" y="30"/>
                  </a:lnTo>
                  <a:lnTo>
                    <a:pt x="168" y="42"/>
                  </a:lnTo>
                  <a:lnTo>
                    <a:pt x="144" y="66"/>
                  </a:lnTo>
                  <a:lnTo>
                    <a:pt x="132" y="72"/>
                  </a:lnTo>
                  <a:lnTo>
                    <a:pt x="120" y="72"/>
                  </a:lnTo>
                  <a:lnTo>
                    <a:pt x="114" y="66"/>
                  </a:lnTo>
                  <a:lnTo>
                    <a:pt x="102" y="60"/>
                  </a:lnTo>
                  <a:lnTo>
                    <a:pt x="90" y="42"/>
                  </a:lnTo>
                  <a:lnTo>
                    <a:pt x="78" y="54"/>
                  </a:lnTo>
                  <a:lnTo>
                    <a:pt x="60" y="54"/>
                  </a:lnTo>
                  <a:lnTo>
                    <a:pt x="48" y="42"/>
                  </a:lnTo>
                  <a:lnTo>
                    <a:pt x="48" y="18"/>
                  </a:lnTo>
                  <a:lnTo>
                    <a:pt x="36" y="6"/>
                  </a:lnTo>
                  <a:lnTo>
                    <a:pt x="24" y="6"/>
                  </a:lnTo>
                  <a:lnTo>
                    <a:pt x="18" y="12"/>
                  </a:lnTo>
                  <a:lnTo>
                    <a:pt x="6" y="12"/>
                  </a:lnTo>
                  <a:lnTo>
                    <a:pt x="0" y="18"/>
                  </a:lnTo>
                  <a:lnTo>
                    <a:pt x="0" y="36"/>
                  </a:lnTo>
                  <a:lnTo>
                    <a:pt x="6" y="42"/>
                  </a:lnTo>
                  <a:lnTo>
                    <a:pt x="6" y="48"/>
                  </a:lnTo>
                  <a:lnTo>
                    <a:pt x="24" y="48"/>
                  </a:lnTo>
                  <a:lnTo>
                    <a:pt x="30" y="54"/>
                  </a:lnTo>
                  <a:lnTo>
                    <a:pt x="12" y="72"/>
                  </a:lnTo>
                  <a:lnTo>
                    <a:pt x="6" y="72"/>
                  </a:lnTo>
                  <a:lnTo>
                    <a:pt x="6" y="96"/>
                  </a:lnTo>
                  <a:lnTo>
                    <a:pt x="0" y="102"/>
                  </a:lnTo>
                  <a:lnTo>
                    <a:pt x="6" y="108"/>
                  </a:lnTo>
                  <a:lnTo>
                    <a:pt x="48" y="102"/>
                  </a:lnTo>
                  <a:lnTo>
                    <a:pt x="60" y="120"/>
                  </a:lnTo>
                  <a:lnTo>
                    <a:pt x="90" y="114"/>
                  </a:lnTo>
                  <a:lnTo>
                    <a:pt x="90" y="126"/>
                  </a:lnTo>
                  <a:lnTo>
                    <a:pt x="84" y="132"/>
                  </a:lnTo>
                  <a:lnTo>
                    <a:pt x="84" y="150"/>
                  </a:lnTo>
                  <a:lnTo>
                    <a:pt x="90" y="156"/>
                  </a:lnTo>
                  <a:lnTo>
                    <a:pt x="108" y="156"/>
                  </a:lnTo>
                  <a:lnTo>
                    <a:pt x="114" y="150"/>
                  </a:lnTo>
                  <a:lnTo>
                    <a:pt x="120" y="150"/>
                  </a:lnTo>
                  <a:lnTo>
                    <a:pt x="120" y="132"/>
                  </a:lnTo>
                  <a:lnTo>
                    <a:pt x="138" y="126"/>
                  </a:lnTo>
                  <a:lnTo>
                    <a:pt x="138" y="150"/>
                  </a:lnTo>
                  <a:lnTo>
                    <a:pt x="144" y="168"/>
                  </a:lnTo>
                  <a:lnTo>
                    <a:pt x="144" y="180"/>
                  </a:lnTo>
                  <a:lnTo>
                    <a:pt x="150" y="192"/>
                  </a:lnTo>
                  <a:lnTo>
                    <a:pt x="156" y="198"/>
                  </a:lnTo>
                  <a:lnTo>
                    <a:pt x="162" y="198"/>
                  </a:lnTo>
                  <a:lnTo>
                    <a:pt x="180" y="192"/>
                  </a:lnTo>
                  <a:lnTo>
                    <a:pt x="198" y="174"/>
                  </a:lnTo>
                  <a:lnTo>
                    <a:pt x="204" y="174"/>
                  </a:lnTo>
                  <a:lnTo>
                    <a:pt x="198" y="168"/>
                  </a:lnTo>
                  <a:lnTo>
                    <a:pt x="186" y="162"/>
                  </a:lnTo>
                  <a:lnTo>
                    <a:pt x="180" y="150"/>
                  </a:lnTo>
                  <a:lnTo>
                    <a:pt x="174" y="144"/>
                  </a:lnTo>
                  <a:lnTo>
                    <a:pt x="168" y="132"/>
                  </a:lnTo>
                  <a:lnTo>
                    <a:pt x="162" y="126"/>
                  </a:lnTo>
                  <a:lnTo>
                    <a:pt x="186" y="102"/>
                  </a:lnTo>
                  <a:lnTo>
                    <a:pt x="222" y="84"/>
                  </a:lnTo>
                  <a:lnTo>
                    <a:pt x="228" y="72"/>
                  </a:lnTo>
                  <a:lnTo>
                    <a:pt x="246" y="54"/>
                  </a:lnTo>
                  <a:lnTo>
                    <a:pt x="258" y="48"/>
                  </a:lnTo>
                  <a:lnTo>
                    <a:pt x="276" y="54"/>
                  </a:lnTo>
                  <a:lnTo>
                    <a:pt x="288" y="60"/>
                  </a:lnTo>
                  <a:lnTo>
                    <a:pt x="306" y="66"/>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85" name="Pakistan" descr="© INSCALE GmbH, 05.05.2010&#10;http://www.presentationload.com/">
              <a:extLst>
                <a:ext uri="{FF2B5EF4-FFF2-40B4-BE49-F238E27FC236}">
                  <a16:creationId xmlns:a16="http://schemas.microsoft.com/office/drawing/2014/main" id="{EB52EAC5-5D46-4A7D-BA8D-854ECBC19653}"/>
                </a:ext>
              </a:extLst>
            </p:cNvPr>
            <p:cNvSpPr>
              <a:spLocks/>
            </p:cNvSpPr>
            <p:nvPr/>
          </p:nvSpPr>
          <p:spPr bwMode="gray">
            <a:xfrm>
              <a:off x="5797735" y="3067204"/>
              <a:ext cx="417094" cy="418663"/>
            </a:xfrm>
            <a:custGeom>
              <a:avLst/>
              <a:gdLst>
                <a:gd name="T0" fmla="*/ 2147483647 w 1050"/>
                <a:gd name="T1" fmla="*/ 2147483647 h 1056"/>
                <a:gd name="T2" fmla="*/ 2147483647 w 1050"/>
                <a:gd name="T3" fmla="*/ 2147483647 h 1056"/>
                <a:gd name="T4" fmla="*/ 2147483647 w 1050"/>
                <a:gd name="T5" fmla="*/ 2147483647 h 1056"/>
                <a:gd name="T6" fmla="*/ 2147483647 w 1050"/>
                <a:gd name="T7" fmla="*/ 2147483647 h 1056"/>
                <a:gd name="T8" fmla="*/ 2147483647 w 1050"/>
                <a:gd name="T9" fmla="*/ 2147483647 h 1056"/>
                <a:gd name="T10" fmla="*/ 2147483647 w 1050"/>
                <a:gd name="T11" fmla="*/ 2147483647 h 1056"/>
                <a:gd name="T12" fmla="*/ 2147483647 w 1050"/>
                <a:gd name="T13" fmla="*/ 2147483647 h 1056"/>
                <a:gd name="T14" fmla="*/ 2147483647 w 1050"/>
                <a:gd name="T15" fmla="*/ 2147483647 h 1056"/>
                <a:gd name="T16" fmla="*/ 2147483647 w 1050"/>
                <a:gd name="T17" fmla="*/ 2147483647 h 1056"/>
                <a:gd name="T18" fmla="*/ 2147483647 w 1050"/>
                <a:gd name="T19" fmla="*/ 2147483647 h 1056"/>
                <a:gd name="T20" fmla="*/ 2147483647 w 1050"/>
                <a:gd name="T21" fmla="*/ 2147483647 h 1056"/>
                <a:gd name="T22" fmla="*/ 2147483647 w 1050"/>
                <a:gd name="T23" fmla="*/ 2147483647 h 1056"/>
                <a:gd name="T24" fmla="*/ 2147483647 w 1050"/>
                <a:gd name="T25" fmla="*/ 2147483647 h 1056"/>
                <a:gd name="T26" fmla="*/ 2147483647 w 1050"/>
                <a:gd name="T27" fmla="*/ 2147483647 h 1056"/>
                <a:gd name="T28" fmla="*/ 2147483647 w 1050"/>
                <a:gd name="T29" fmla="*/ 2147483647 h 1056"/>
                <a:gd name="T30" fmla="*/ 2147483647 w 1050"/>
                <a:gd name="T31" fmla="*/ 2147483647 h 1056"/>
                <a:gd name="T32" fmla="*/ 2147483647 w 1050"/>
                <a:gd name="T33" fmla="*/ 2147483647 h 1056"/>
                <a:gd name="T34" fmla="*/ 2147483647 w 1050"/>
                <a:gd name="T35" fmla="*/ 2147483647 h 1056"/>
                <a:gd name="T36" fmla="*/ 2147483647 w 1050"/>
                <a:gd name="T37" fmla="*/ 2147483647 h 1056"/>
                <a:gd name="T38" fmla="*/ 2147483647 w 1050"/>
                <a:gd name="T39" fmla="*/ 2147483647 h 1056"/>
                <a:gd name="T40" fmla="*/ 2147483647 w 1050"/>
                <a:gd name="T41" fmla="*/ 2147483647 h 1056"/>
                <a:gd name="T42" fmla="*/ 2147483647 w 1050"/>
                <a:gd name="T43" fmla="*/ 2147483647 h 1056"/>
                <a:gd name="T44" fmla="*/ 0 w 1050"/>
                <a:gd name="T45" fmla="*/ 2147483647 h 1056"/>
                <a:gd name="T46" fmla="*/ 2147483647 w 1050"/>
                <a:gd name="T47" fmla="*/ 2147483647 h 1056"/>
                <a:gd name="T48" fmla="*/ 2147483647 w 1050"/>
                <a:gd name="T49" fmla="*/ 2147483647 h 1056"/>
                <a:gd name="T50" fmla="*/ 2147483647 w 1050"/>
                <a:gd name="T51" fmla="*/ 2147483647 h 1056"/>
                <a:gd name="T52" fmla="*/ 2147483647 w 1050"/>
                <a:gd name="T53" fmla="*/ 2147483647 h 1056"/>
                <a:gd name="T54" fmla="*/ 2147483647 w 1050"/>
                <a:gd name="T55" fmla="*/ 2147483647 h 1056"/>
                <a:gd name="T56" fmla="*/ 2147483647 w 1050"/>
                <a:gd name="T57" fmla="*/ 2147483647 h 1056"/>
                <a:gd name="T58" fmla="*/ 2147483647 w 1050"/>
                <a:gd name="T59" fmla="*/ 2147483647 h 1056"/>
                <a:gd name="T60" fmla="*/ 2147483647 w 1050"/>
                <a:gd name="T61" fmla="*/ 2147483647 h 1056"/>
                <a:gd name="T62" fmla="*/ 2147483647 w 1050"/>
                <a:gd name="T63" fmla="*/ 2147483647 h 1056"/>
                <a:gd name="T64" fmla="*/ 2147483647 w 1050"/>
                <a:gd name="T65" fmla="*/ 2147483647 h 1056"/>
                <a:gd name="T66" fmla="*/ 2147483647 w 1050"/>
                <a:gd name="T67" fmla="*/ 2147483647 h 1056"/>
                <a:gd name="T68" fmla="*/ 2147483647 w 1050"/>
                <a:gd name="T69" fmla="*/ 2147483647 h 1056"/>
                <a:gd name="T70" fmla="*/ 2147483647 w 1050"/>
                <a:gd name="T71" fmla="*/ 2147483647 h 1056"/>
                <a:gd name="T72" fmla="*/ 2147483647 w 1050"/>
                <a:gd name="T73" fmla="*/ 2147483647 h 1056"/>
                <a:gd name="T74" fmla="*/ 2147483647 w 1050"/>
                <a:gd name="T75" fmla="*/ 2147483647 h 1056"/>
                <a:gd name="T76" fmla="*/ 2147483647 w 1050"/>
                <a:gd name="T77" fmla="*/ 2147483647 h 1056"/>
                <a:gd name="T78" fmla="*/ 2147483647 w 1050"/>
                <a:gd name="T79" fmla="*/ 2147483647 h 1056"/>
                <a:gd name="T80" fmla="*/ 2147483647 w 1050"/>
                <a:gd name="T81" fmla="*/ 2147483647 h 1056"/>
                <a:gd name="T82" fmla="*/ 2147483647 w 1050"/>
                <a:gd name="T83" fmla="*/ 2147483647 h 1056"/>
                <a:gd name="T84" fmla="*/ 2147483647 w 1050"/>
                <a:gd name="T85" fmla="*/ 2147483647 h 1056"/>
                <a:gd name="T86" fmla="*/ 2147483647 w 1050"/>
                <a:gd name="T87" fmla="*/ 2147483647 h 1056"/>
                <a:gd name="T88" fmla="*/ 2147483647 w 1050"/>
                <a:gd name="T89" fmla="*/ 2147483647 h 1056"/>
                <a:gd name="T90" fmla="*/ 2147483647 w 1050"/>
                <a:gd name="T91" fmla="*/ 2147483647 h 1056"/>
                <a:gd name="T92" fmla="*/ 2147483647 w 1050"/>
                <a:gd name="T93" fmla="*/ 2147483647 h 1056"/>
                <a:gd name="T94" fmla="*/ 2147483647 w 1050"/>
                <a:gd name="T95" fmla="*/ 2147483647 h 1056"/>
                <a:gd name="T96" fmla="*/ 2147483647 w 1050"/>
                <a:gd name="T97" fmla="*/ 2147483647 h 1056"/>
                <a:gd name="T98" fmla="*/ 2147483647 w 1050"/>
                <a:gd name="T99" fmla="*/ 2147483647 h 1056"/>
                <a:gd name="T100" fmla="*/ 2147483647 w 1050"/>
                <a:gd name="T101" fmla="*/ 2147483647 h 1056"/>
                <a:gd name="T102" fmla="*/ 2147483647 w 1050"/>
                <a:gd name="T103" fmla="*/ 2147483647 h 1056"/>
                <a:gd name="T104" fmla="*/ 2147483647 w 1050"/>
                <a:gd name="T105" fmla="*/ 2147483647 h 1056"/>
                <a:gd name="T106" fmla="*/ 2147483647 w 1050"/>
                <a:gd name="T107" fmla="*/ 2147483647 h 1056"/>
                <a:gd name="T108" fmla="*/ 2147483647 w 1050"/>
                <a:gd name="T109" fmla="*/ 2147483647 h 1056"/>
                <a:gd name="T110" fmla="*/ 2147483647 w 1050"/>
                <a:gd name="T111" fmla="*/ 2147483647 h 1056"/>
                <a:gd name="T112" fmla="*/ 2147483647 w 1050"/>
                <a:gd name="T113" fmla="*/ 2147483647 h 1056"/>
                <a:gd name="T114" fmla="*/ 2147483647 w 1050"/>
                <a:gd name="T115" fmla="*/ 2147483647 h 1056"/>
                <a:gd name="T116" fmla="*/ 2147483647 w 1050"/>
                <a:gd name="T117" fmla="*/ 2147483647 h 1056"/>
                <a:gd name="T118" fmla="*/ 2147483647 w 1050"/>
                <a:gd name="T119" fmla="*/ 2147483647 h 1056"/>
                <a:gd name="T120" fmla="*/ 2147483647 w 1050"/>
                <a:gd name="T121" fmla="*/ 2147483647 h 1056"/>
                <a:gd name="T122" fmla="*/ 2147483647 w 1050"/>
                <a:gd name="T123" fmla="*/ 2147483647 h 10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0"/>
                <a:gd name="T187" fmla="*/ 0 h 1056"/>
                <a:gd name="T188" fmla="*/ 1050 w 1050"/>
                <a:gd name="T189" fmla="*/ 1056 h 10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0" h="1056">
                  <a:moveTo>
                    <a:pt x="1008" y="120"/>
                  </a:moveTo>
                  <a:lnTo>
                    <a:pt x="996" y="120"/>
                  </a:lnTo>
                  <a:lnTo>
                    <a:pt x="984" y="114"/>
                  </a:lnTo>
                  <a:lnTo>
                    <a:pt x="978" y="102"/>
                  </a:lnTo>
                  <a:lnTo>
                    <a:pt x="972" y="96"/>
                  </a:lnTo>
                  <a:lnTo>
                    <a:pt x="972" y="90"/>
                  </a:lnTo>
                  <a:lnTo>
                    <a:pt x="960" y="96"/>
                  </a:lnTo>
                  <a:lnTo>
                    <a:pt x="924" y="84"/>
                  </a:lnTo>
                  <a:lnTo>
                    <a:pt x="924" y="60"/>
                  </a:lnTo>
                  <a:lnTo>
                    <a:pt x="912" y="36"/>
                  </a:lnTo>
                  <a:lnTo>
                    <a:pt x="900" y="24"/>
                  </a:lnTo>
                  <a:lnTo>
                    <a:pt x="888" y="18"/>
                  </a:lnTo>
                  <a:lnTo>
                    <a:pt x="876" y="18"/>
                  </a:lnTo>
                  <a:lnTo>
                    <a:pt x="870" y="6"/>
                  </a:lnTo>
                  <a:lnTo>
                    <a:pt x="822" y="6"/>
                  </a:lnTo>
                  <a:lnTo>
                    <a:pt x="810" y="0"/>
                  </a:lnTo>
                  <a:lnTo>
                    <a:pt x="804" y="6"/>
                  </a:lnTo>
                  <a:lnTo>
                    <a:pt x="792" y="6"/>
                  </a:lnTo>
                  <a:lnTo>
                    <a:pt x="786" y="12"/>
                  </a:lnTo>
                  <a:lnTo>
                    <a:pt x="774" y="12"/>
                  </a:lnTo>
                  <a:lnTo>
                    <a:pt x="762" y="6"/>
                  </a:lnTo>
                  <a:lnTo>
                    <a:pt x="738" y="6"/>
                  </a:lnTo>
                  <a:lnTo>
                    <a:pt x="732" y="12"/>
                  </a:lnTo>
                  <a:lnTo>
                    <a:pt x="690" y="12"/>
                  </a:lnTo>
                  <a:lnTo>
                    <a:pt x="684" y="18"/>
                  </a:lnTo>
                  <a:lnTo>
                    <a:pt x="678" y="18"/>
                  </a:lnTo>
                  <a:lnTo>
                    <a:pt x="654" y="30"/>
                  </a:lnTo>
                  <a:lnTo>
                    <a:pt x="648" y="36"/>
                  </a:lnTo>
                  <a:lnTo>
                    <a:pt x="624" y="48"/>
                  </a:lnTo>
                  <a:lnTo>
                    <a:pt x="618" y="54"/>
                  </a:lnTo>
                  <a:lnTo>
                    <a:pt x="612" y="66"/>
                  </a:lnTo>
                  <a:lnTo>
                    <a:pt x="606" y="72"/>
                  </a:lnTo>
                  <a:lnTo>
                    <a:pt x="606" y="78"/>
                  </a:lnTo>
                  <a:lnTo>
                    <a:pt x="636" y="108"/>
                  </a:lnTo>
                  <a:lnTo>
                    <a:pt x="636" y="138"/>
                  </a:lnTo>
                  <a:lnTo>
                    <a:pt x="642" y="144"/>
                  </a:lnTo>
                  <a:lnTo>
                    <a:pt x="648" y="156"/>
                  </a:lnTo>
                  <a:lnTo>
                    <a:pt x="648" y="162"/>
                  </a:lnTo>
                  <a:lnTo>
                    <a:pt x="624" y="186"/>
                  </a:lnTo>
                  <a:lnTo>
                    <a:pt x="618" y="198"/>
                  </a:lnTo>
                  <a:lnTo>
                    <a:pt x="618" y="210"/>
                  </a:lnTo>
                  <a:lnTo>
                    <a:pt x="624" y="216"/>
                  </a:lnTo>
                  <a:lnTo>
                    <a:pt x="624" y="246"/>
                  </a:lnTo>
                  <a:lnTo>
                    <a:pt x="606" y="246"/>
                  </a:lnTo>
                  <a:lnTo>
                    <a:pt x="600" y="252"/>
                  </a:lnTo>
                  <a:lnTo>
                    <a:pt x="594" y="252"/>
                  </a:lnTo>
                  <a:lnTo>
                    <a:pt x="576" y="246"/>
                  </a:lnTo>
                  <a:lnTo>
                    <a:pt x="570" y="240"/>
                  </a:lnTo>
                  <a:lnTo>
                    <a:pt x="552" y="240"/>
                  </a:lnTo>
                  <a:lnTo>
                    <a:pt x="552" y="252"/>
                  </a:lnTo>
                  <a:lnTo>
                    <a:pt x="564" y="264"/>
                  </a:lnTo>
                  <a:lnTo>
                    <a:pt x="576" y="270"/>
                  </a:lnTo>
                  <a:lnTo>
                    <a:pt x="576" y="276"/>
                  </a:lnTo>
                  <a:lnTo>
                    <a:pt x="582" y="282"/>
                  </a:lnTo>
                  <a:lnTo>
                    <a:pt x="582" y="288"/>
                  </a:lnTo>
                  <a:lnTo>
                    <a:pt x="594" y="294"/>
                  </a:lnTo>
                  <a:lnTo>
                    <a:pt x="600" y="294"/>
                  </a:lnTo>
                  <a:lnTo>
                    <a:pt x="570" y="312"/>
                  </a:lnTo>
                  <a:lnTo>
                    <a:pt x="552" y="312"/>
                  </a:lnTo>
                  <a:lnTo>
                    <a:pt x="546" y="318"/>
                  </a:lnTo>
                  <a:lnTo>
                    <a:pt x="546" y="354"/>
                  </a:lnTo>
                  <a:lnTo>
                    <a:pt x="540" y="354"/>
                  </a:lnTo>
                  <a:lnTo>
                    <a:pt x="534" y="360"/>
                  </a:lnTo>
                  <a:lnTo>
                    <a:pt x="534" y="378"/>
                  </a:lnTo>
                  <a:lnTo>
                    <a:pt x="540" y="390"/>
                  </a:lnTo>
                  <a:lnTo>
                    <a:pt x="540" y="402"/>
                  </a:lnTo>
                  <a:lnTo>
                    <a:pt x="546" y="408"/>
                  </a:lnTo>
                  <a:lnTo>
                    <a:pt x="546" y="414"/>
                  </a:lnTo>
                  <a:lnTo>
                    <a:pt x="540" y="420"/>
                  </a:lnTo>
                  <a:lnTo>
                    <a:pt x="534" y="432"/>
                  </a:lnTo>
                  <a:lnTo>
                    <a:pt x="522" y="438"/>
                  </a:lnTo>
                  <a:lnTo>
                    <a:pt x="510" y="438"/>
                  </a:lnTo>
                  <a:lnTo>
                    <a:pt x="504" y="432"/>
                  </a:lnTo>
                  <a:lnTo>
                    <a:pt x="504" y="420"/>
                  </a:lnTo>
                  <a:lnTo>
                    <a:pt x="474" y="420"/>
                  </a:lnTo>
                  <a:lnTo>
                    <a:pt x="462" y="426"/>
                  </a:lnTo>
                  <a:lnTo>
                    <a:pt x="456" y="432"/>
                  </a:lnTo>
                  <a:lnTo>
                    <a:pt x="444" y="438"/>
                  </a:lnTo>
                  <a:lnTo>
                    <a:pt x="438" y="438"/>
                  </a:lnTo>
                  <a:lnTo>
                    <a:pt x="432" y="444"/>
                  </a:lnTo>
                  <a:lnTo>
                    <a:pt x="432" y="450"/>
                  </a:lnTo>
                  <a:lnTo>
                    <a:pt x="438" y="450"/>
                  </a:lnTo>
                  <a:lnTo>
                    <a:pt x="444" y="456"/>
                  </a:lnTo>
                  <a:lnTo>
                    <a:pt x="444" y="462"/>
                  </a:lnTo>
                  <a:lnTo>
                    <a:pt x="438" y="468"/>
                  </a:lnTo>
                  <a:lnTo>
                    <a:pt x="396" y="468"/>
                  </a:lnTo>
                  <a:lnTo>
                    <a:pt x="396" y="456"/>
                  </a:lnTo>
                  <a:lnTo>
                    <a:pt x="378" y="456"/>
                  </a:lnTo>
                  <a:lnTo>
                    <a:pt x="372" y="468"/>
                  </a:lnTo>
                  <a:lnTo>
                    <a:pt x="360" y="474"/>
                  </a:lnTo>
                  <a:lnTo>
                    <a:pt x="354" y="486"/>
                  </a:lnTo>
                  <a:lnTo>
                    <a:pt x="354" y="504"/>
                  </a:lnTo>
                  <a:lnTo>
                    <a:pt x="360" y="516"/>
                  </a:lnTo>
                  <a:lnTo>
                    <a:pt x="360" y="534"/>
                  </a:lnTo>
                  <a:lnTo>
                    <a:pt x="366" y="540"/>
                  </a:lnTo>
                  <a:lnTo>
                    <a:pt x="366" y="570"/>
                  </a:lnTo>
                  <a:lnTo>
                    <a:pt x="360" y="576"/>
                  </a:lnTo>
                  <a:lnTo>
                    <a:pt x="354" y="576"/>
                  </a:lnTo>
                  <a:lnTo>
                    <a:pt x="306" y="600"/>
                  </a:lnTo>
                  <a:lnTo>
                    <a:pt x="276" y="600"/>
                  </a:lnTo>
                  <a:lnTo>
                    <a:pt x="258" y="606"/>
                  </a:lnTo>
                  <a:lnTo>
                    <a:pt x="234" y="606"/>
                  </a:lnTo>
                  <a:lnTo>
                    <a:pt x="228" y="612"/>
                  </a:lnTo>
                  <a:lnTo>
                    <a:pt x="204" y="612"/>
                  </a:lnTo>
                  <a:lnTo>
                    <a:pt x="204" y="606"/>
                  </a:lnTo>
                  <a:lnTo>
                    <a:pt x="150" y="606"/>
                  </a:lnTo>
                  <a:lnTo>
                    <a:pt x="144" y="612"/>
                  </a:lnTo>
                  <a:lnTo>
                    <a:pt x="138" y="612"/>
                  </a:lnTo>
                  <a:lnTo>
                    <a:pt x="120" y="618"/>
                  </a:lnTo>
                  <a:lnTo>
                    <a:pt x="102" y="618"/>
                  </a:lnTo>
                  <a:lnTo>
                    <a:pt x="78" y="606"/>
                  </a:lnTo>
                  <a:lnTo>
                    <a:pt x="60" y="600"/>
                  </a:lnTo>
                  <a:lnTo>
                    <a:pt x="42" y="588"/>
                  </a:lnTo>
                  <a:lnTo>
                    <a:pt x="30" y="582"/>
                  </a:lnTo>
                  <a:lnTo>
                    <a:pt x="0" y="582"/>
                  </a:lnTo>
                  <a:lnTo>
                    <a:pt x="24" y="606"/>
                  </a:lnTo>
                  <a:lnTo>
                    <a:pt x="30" y="618"/>
                  </a:lnTo>
                  <a:lnTo>
                    <a:pt x="36" y="624"/>
                  </a:lnTo>
                  <a:lnTo>
                    <a:pt x="48" y="642"/>
                  </a:lnTo>
                  <a:lnTo>
                    <a:pt x="60" y="654"/>
                  </a:lnTo>
                  <a:lnTo>
                    <a:pt x="66" y="672"/>
                  </a:lnTo>
                  <a:lnTo>
                    <a:pt x="78" y="690"/>
                  </a:lnTo>
                  <a:lnTo>
                    <a:pt x="84" y="696"/>
                  </a:lnTo>
                  <a:lnTo>
                    <a:pt x="102" y="696"/>
                  </a:lnTo>
                  <a:lnTo>
                    <a:pt x="114" y="690"/>
                  </a:lnTo>
                  <a:lnTo>
                    <a:pt x="126" y="708"/>
                  </a:lnTo>
                  <a:lnTo>
                    <a:pt x="150" y="708"/>
                  </a:lnTo>
                  <a:lnTo>
                    <a:pt x="144" y="738"/>
                  </a:lnTo>
                  <a:lnTo>
                    <a:pt x="150" y="738"/>
                  </a:lnTo>
                  <a:lnTo>
                    <a:pt x="150" y="762"/>
                  </a:lnTo>
                  <a:lnTo>
                    <a:pt x="156" y="774"/>
                  </a:lnTo>
                  <a:lnTo>
                    <a:pt x="156" y="786"/>
                  </a:lnTo>
                  <a:lnTo>
                    <a:pt x="174" y="786"/>
                  </a:lnTo>
                  <a:lnTo>
                    <a:pt x="180" y="792"/>
                  </a:lnTo>
                  <a:lnTo>
                    <a:pt x="186" y="804"/>
                  </a:lnTo>
                  <a:lnTo>
                    <a:pt x="192" y="822"/>
                  </a:lnTo>
                  <a:lnTo>
                    <a:pt x="192" y="834"/>
                  </a:lnTo>
                  <a:lnTo>
                    <a:pt x="186" y="840"/>
                  </a:lnTo>
                  <a:lnTo>
                    <a:pt x="180" y="840"/>
                  </a:lnTo>
                  <a:lnTo>
                    <a:pt x="180" y="834"/>
                  </a:lnTo>
                  <a:lnTo>
                    <a:pt x="150" y="834"/>
                  </a:lnTo>
                  <a:lnTo>
                    <a:pt x="138" y="840"/>
                  </a:lnTo>
                  <a:lnTo>
                    <a:pt x="132" y="846"/>
                  </a:lnTo>
                  <a:lnTo>
                    <a:pt x="132" y="852"/>
                  </a:lnTo>
                  <a:lnTo>
                    <a:pt x="126" y="852"/>
                  </a:lnTo>
                  <a:lnTo>
                    <a:pt x="126" y="858"/>
                  </a:lnTo>
                  <a:lnTo>
                    <a:pt x="120" y="864"/>
                  </a:lnTo>
                  <a:lnTo>
                    <a:pt x="108" y="864"/>
                  </a:lnTo>
                  <a:lnTo>
                    <a:pt x="102" y="882"/>
                  </a:lnTo>
                  <a:lnTo>
                    <a:pt x="96" y="888"/>
                  </a:lnTo>
                  <a:lnTo>
                    <a:pt x="96" y="894"/>
                  </a:lnTo>
                  <a:lnTo>
                    <a:pt x="84" y="906"/>
                  </a:lnTo>
                  <a:lnTo>
                    <a:pt x="84" y="936"/>
                  </a:lnTo>
                  <a:lnTo>
                    <a:pt x="90" y="948"/>
                  </a:lnTo>
                  <a:lnTo>
                    <a:pt x="90" y="954"/>
                  </a:lnTo>
                  <a:lnTo>
                    <a:pt x="96" y="948"/>
                  </a:lnTo>
                  <a:lnTo>
                    <a:pt x="108" y="948"/>
                  </a:lnTo>
                  <a:lnTo>
                    <a:pt x="114" y="942"/>
                  </a:lnTo>
                  <a:lnTo>
                    <a:pt x="120" y="942"/>
                  </a:lnTo>
                  <a:lnTo>
                    <a:pt x="126" y="948"/>
                  </a:lnTo>
                  <a:lnTo>
                    <a:pt x="138" y="948"/>
                  </a:lnTo>
                  <a:lnTo>
                    <a:pt x="150" y="954"/>
                  </a:lnTo>
                  <a:lnTo>
                    <a:pt x="174" y="954"/>
                  </a:lnTo>
                  <a:lnTo>
                    <a:pt x="210" y="936"/>
                  </a:lnTo>
                  <a:lnTo>
                    <a:pt x="216" y="930"/>
                  </a:lnTo>
                  <a:lnTo>
                    <a:pt x="222" y="930"/>
                  </a:lnTo>
                  <a:lnTo>
                    <a:pt x="234" y="936"/>
                  </a:lnTo>
                  <a:lnTo>
                    <a:pt x="276" y="936"/>
                  </a:lnTo>
                  <a:lnTo>
                    <a:pt x="288" y="930"/>
                  </a:lnTo>
                  <a:lnTo>
                    <a:pt x="300" y="930"/>
                  </a:lnTo>
                  <a:lnTo>
                    <a:pt x="306" y="924"/>
                  </a:lnTo>
                  <a:lnTo>
                    <a:pt x="312" y="924"/>
                  </a:lnTo>
                  <a:lnTo>
                    <a:pt x="348" y="930"/>
                  </a:lnTo>
                  <a:lnTo>
                    <a:pt x="354" y="924"/>
                  </a:lnTo>
                  <a:lnTo>
                    <a:pt x="366" y="918"/>
                  </a:lnTo>
                  <a:lnTo>
                    <a:pt x="372" y="912"/>
                  </a:lnTo>
                  <a:lnTo>
                    <a:pt x="384" y="912"/>
                  </a:lnTo>
                  <a:lnTo>
                    <a:pt x="396" y="918"/>
                  </a:lnTo>
                  <a:lnTo>
                    <a:pt x="408" y="930"/>
                  </a:lnTo>
                  <a:lnTo>
                    <a:pt x="432" y="978"/>
                  </a:lnTo>
                  <a:lnTo>
                    <a:pt x="444" y="984"/>
                  </a:lnTo>
                  <a:lnTo>
                    <a:pt x="450" y="990"/>
                  </a:lnTo>
                  <a:lnTo>
                    <a:pt x="468" y="996"/>
                  </a:lnTo>
                  <a:lnTo>
                    <a:pt x="486" y="996"/>
                  </a:lnTo>
                  <a:lnTo>
                    <a:pt x="522" y="1008"/>
                  </a:lnTo>
                  <a:lnTo>
                    <a:pt x="540" y="1044"/>
                  </a:lnTo>
                  <a:lnTo>
                    <a:pt x="552" y="1056"/>
                  </a:lnTo>
                  <a:lnTo>
                    <a:pt x="570" y="1056"/>
                  </a:lnTo>
                  <a:lnTo>
                    <a:pt x="588" y="1050"/>
                  </a:lnTo>
                  <a:lnTo>
                    <a:pt x="582" y="1044"/>
                  </a:lnTo>
                  <a:lnTo>
                    <a:pt x="582" y="1032"/>
                  </a:lnTo>
                  <a:lnTo>
                    <a:pt x="594" y="1020"/>
                  </a:lnTo>
                  <a:lnTo>
                    <a:pt x="606" y="1020"/>
                  </a:lnTo>
                  <a:lnTo>
                    <a:pt x="618" y="1026"/>
                  </a:lnTo>
                  <a:lnTo>
                    <a:pt x="624" y="1032"/>
                  </a:lnTo>
                  <a:lnTo>
                    <a:pt x="648" y="1020"/>
                  </a:lnTo>
                  <a:lnTo>
                    <a:pt x="648" y="1026"/>
                  </a:lnTo>
                  <a:lnTo>
                    <a:pt x="654" y="1032"/>
                  </a:lnTo>
                  <a:lnTo>
                    <a:pt x="678" y="1032"/>
                  </a:lnTo>
                  <a:lnTo>
                    <a:pt x="690" y="1020"/>
                  </a:lnTo>
                  <a:lnTo>
                    <a:pt x="702" y="1014"/>
                  </a:lnTo>
                  <a:lnTo>
                    <a:pt x="708" y="1014"/>
                  </a:lnTo>
                  <a:lnTo>
                    <a:pt x="708" y="1026"/>
                  </a:lnTo>
                  <a:lnTo>
                    <a:pt x="714" y="1032"/>
                  </a:lnTo>
                  <a:lnTo>
                    <a:pt x="732" y="1032"/>
                  </a:lnTo>
                  <a:lnTo>
                    <a:pt x="738" y="1026"/>
                  </a:lnTo>
                  <a:lnTo>
                    <a:pt x="750" y="1020"/>
                  </a:lnTo>
                  <a:lnTo>
                    <a:pt x="750" y="996"/>
                  </a:lnTo>
                  <a:lnTo>
                    <a:pt x="744" y="990"/>
                  </a:lnTo>
                  <a:lnTo>
                    <a:pt x="738" y="978"/>
                  </a:lnTo>
                  <a:lnTo>
                    <a:pt x="714" y="936"/>
                  </a:lnTo>
                  <a:lnTo>
                    <a:pt x="714" y="912"/>
                  </a:lnTo>
                  <a:lnTo>
                    <a:pt x="690" y="912"/>
                  </a:lnTo>
                  <a:lnTo>
                    <a:pt x="678" y="900"/>
                  </a:lnTo>
                  <a:lnTo>
                    <a:pt x="672" y="888"/>
                  </a:lnTo>
                  <a:lnTo>
                    <a:pt x="666" y="882"/>
                  </a:lnTo>
                  <a:lnTo>
                    <a:pt x="672" y="852"/>
                  </a:lnTo>
                  <a:lnTo>
                    <a:pt x="672" y="834"/>
                  </a:lnTo>
                  <a:lnTo>
                    <a:pt x="642" y="840"/>
                  </a:lnTo>
                  <a:lnTo>
                    <a:pt x="636" y="840"/>
                  </a:lnTo>
                  <a:lnTo>
                    <a:pt x="624" y="834"/>
                  </a:lnTo>
                  <a:lnTo>
                    <a:pt x="618" y="828"/>
                  </a:lnTo>
                  <a:lnTo>
                    <a:pt x="618" y="804"/>
                  </a:lnTo>
                  <a:lnTo>
                    <a:pt x="624" y="792"/>
                  </a:lnTo>
                  <a:lnTo>
                    <a:pt x="636" y="780"/>
                  </a:lnTo>
                  <a:lnTo>
                    <a:pt x="642" y="768"/>
                  </a:lnTo>
                  <a:lnTo>
                    <a:pt x="648" y="762"/>
                  </a:lnTo>
                  <a:lnTo>
                    <a:pt x="654" y="750"/>
                  </a:lnTo>
                  <a:lnTo>
                    <a:pt x="654" y="744"/>
                  </a:lnTo>
                  <a:lnTo>
                    <a:pt x="666" y="732"/>
                  </a:lnTo>
                  <a:lnTo>
                    <a:pt x="678" y="726"/>
                  </a:lnTo>
                  <a:lnTo>
                    <a:pt x="684" y="726"/>
                  </a:lnTo>
                  <a:lnTo>
                    <a:pt x="690" y="732"/>
                  </a:lnTo>
                  <a:lnTo>
                    <a:pt x="690" y="744"/>
                  </a:lnTo>
                  <a:lnTo>
                    <a:pt x="696" y="750"/>
                  </a:lnTo>
                  <a:lnTo>
                    <a:pt x="702" y="750"/>
                  </a:lnTo>
                  <a:lnTo>
                    <a:pt x="726" y="738"/>
                  </a:lnTo>
                  <a:lnTo>
                    <a:pt x="732" y="732"/>
                  </a:lnTo>
                  <a:lnTo>
                    <a:pt x="738" y="738"/>
                  </a:lnTo>
                  <a:lnTo>
                    <a:pt x="756" y="738"/>
                  </a:lnTo>
                  <a:lnTo>
                    <a:pt x="762" y="732"/>
                  </a:lnTo>
                  <a:lnTo>
                    <a:pt x="768" y="720"/>
                  </a:lnTo>
                  <a:lnTo>
                    <a:pt x="774" y="714"/>
                  </a:lnTo>
                  <a:lnTo>
                    <a:pt x="774" y="708"/>
                  </a:lnTo>
                  <a:lnTo>
                    <a:pt x="792" y="696"/>
                  </a:lnTo>
                  <a:lnTo>
                    <a:pt x="792" y="678"/>
                  </a:lnTo>
                  <a:lnTo>
                    <a:pt x="798" y="672"/>
                  </a:lnTo>
                  <a:lnTo>
                    <a:pt x="798" y="666"/>
                  </a:lnTo>
                  <a:lnTo>
                    <a:pt x="804" y="660"/>
                  </a:lnTo>
                  <a:lnTo>
                    <a:pt x="828" y="648"/>
                  </a:lnTo>
                  <a:lnTo>
                    <a:pt x="840" y="636"/>
                  </a:lnTo>
                  <a:lnTo>
                    <a:pt x="846" y="618"/>
                  </a:lnTo>
                  <a:lnTo>
                    <a:pt x="846" y="606"/>
                  </a:lnTo>
                  <a:lnTo>
                    <a:pt x="852" y="588"/>
                  </a:lnTo>
                  <a:lnTo>
                    <a:pt x="852" y="576"/>
                  </a:lnTo>
                  <a:lnTo>
                    <a:pt x="858" y="570"/>
                  </a:lnTo>
                  <a:lnTo>
                    <a:pt x="870" y="564"/>
                  </a:lnTo>
                  <a:lnTo>
                    <a:pt x="876" y="558"/>
                  </a:lnTo>
                  <a:lnTo>
                    <a:pt x="888" y="558"/>
                  </a:lnTo>
                  <a:lnTo>
                    <a:pt x="870" y="534"/>
                  </a:lnTo>
                  <a:lnTo>
                    <a:pt x="894" y="498"/>
                  </a:lnTo>
                  <a:lnTo>
                    <a:pt x="924" y="480"/>
                  </a:lnTo>
                  <a:lnTo>
                    <a:pt x="924" y="474"/>
                  </a:lnTo>
                  <a:lnTo>
                    <a:pt x="912" y="462"/>
                  </a:lnTo>
                  <a:lnTo>
                    <a:pt x="906" y="450"/>
                  </a:lnTo>
                  <a:lnTo>
                    <a:pt x="906" y="414"/>
                  </a:lnTo>
                  <a:lnTo>
                    <a:pt x="912" y="408"/>
                  </a:lnTo>
                  <a:lnTo>
                    <a:pt x="924" y="408"/>
                  </a:lnTo>
                  <a:lnTo>
                    <a:pt x="948" y="396"/>
                  </a:lnTo>
                  <a:lnTo>
                    <a:pt x="954" y="390"/>
                  </a:lnTo>
                  <a:lnTo>
                    <a:pt x="954" y="384"/>
                  </a:lnTo>
                  <a:lnTo>
                    <a:pt x="948" y="378"/>
                  </a:lnTo>
                  <a:lnTo>
                    <a:pt x="936" y="372"/>
                  </a:lnTo>
                  <a:lnTo>
                    <a:pt x="900" y="372"/>
                  </a:lnTo>
                  <a:lnTo>
                    <a:pt x="894" y="336"/>
                  </a:lnTo>
                  <a:lnTo>
                    <a:pt x="876" y="336"/>
                  </a:lnTo>
                  <a:lnTo>
                    <a:pt x="864" y="318"/>
                  </a:lnTo>
                  <a:lnTo>
                    <a:pt x="846" y="318"/>
                  </a:lnTo>
                  <a:lnTo>
                    <a:pt x="846" y="306"/>
                  </a:lnTo>
                  <a:lnTo>
                    <a:pt x="852" y="294"/>
                  </a:lnTo>
                  <a:lnTo>
                    <a:pt x="852" y="288"/>
                  </a:lnTo>
                  <a:lnTo>
                    <a:pt x="846" y="288"/>
                  </a:lnTo>
                  <a:lnTo>
                    <a:pt x="834" y="276"/>
                  </a:lnTo>
                  <a:lnTo>
                    <a:pt x="834" y="270"/>
                  </a:lnTo>
                  <a:lnTo>
                    <a:pt x="840" y="264"/>
                  </a:lnTo>
                  <a:lnTo>
                    <a:pt x="846" y="252"/>
                  </a:lnTo>
                  <a:lnTo>
                    <a:pt x="852" y="246"/>
                  </a:lnTo>
                  <a:lnTo>
                    <a:pt x="822" y="240"/>
                  </a:lnTo>
                  <a:lnTo>
                    <a:pt x="828" y="228"/>
                  </a:lnTo>
                  <a:lnTo>
                    <a:pt x="804" y="210"/>
                  </a:lnTo>
                  <a:lnTo>
                    <a:pt x="804" y="204"/>
                  </a:lnTo>
                  <a:lnTo>
                    <a:pt x="810" y="192"/>
                  </a:lnTo>
                  <a:lnTo>
                    <a:pt x="834" y="180"/>
                  </a:lnTo>
                  <a:lnTo>
                    <a:pt x="876" y="180"/>
                  </a:lnTo>
                  <a:lnTo>
                    <a:pt x="894" y="186"/>
                  </a:lnTo>
                  <a:lnTo>
                    <a:pt x="912" y="186"/>
                  </a:lnTo>
                  <a:lnTo>
                    <a:pt x="918" y="192"/>
                  </a:lnTo>
                  <a:lnTo>
                    <a:pt x="918" y="204"/>
                  </a:lnTo>
                  <a:lnTo>
                    <a:pt x="930" y="204"/>
                  </a:lnTo>
                  <a:lnTo>
                    <a:pt x="942" y="198"/>
                  </a:lnTo>
                  <a:lnTo>
                    <a:pt x="948" y="192"/>
                  </a:lnTo>
                  <a:lnTo>
                    <a:pt x="960" y="186"/>
                  </a:lnTo>
                  <a:lnTo>
                    <a:pt x="966" y="180"/>
                  </a:lnTo>
                  <a:lnTo>
                    <a:pt x="972" y="186"/>
                  </a:lnTo>
                  <a:lnTo>
                    <a:pt x="978" y="180"/>
                  </a:lnTo>
                  <a:lnTo>
                    <a:pt x="1002" y="180"/>
                  </a:lnTo>
                  <a:lnTo>
                    <a:pt x="1002" y="162"/>
                  </a:lnTo>
                  <a:lnTo>
                    <a:pt x="1026" y="156"/>
                  </a:lnTo>
                  <a:lnTo>
                    <a:pt x="1050" y="120"/>
                  </a:lnTo>
                  <a:lnTo>
                    <a:pt x="1008" y="12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86" name="Parcel Inseln" descr="© INSCALE GmbH, 05.05.2010&#10;http://www.presentationload.com/">
              <a:extLst>
                <a:ext uri="{FF2B5EF4-FFF2-40B4-BE49-F238E27FC236}">
                  <a16:creationId xmlns:a16="http://schemas.microsoft.com/office/drawing/2014/main" id="{1D341604-ADC2-46D5-9476-8D70AD259ADF}"/>
                </a:ext>
              </a:extLst>
            </p:cNvPr>
            <p:cNvSpPr>
              <a:spLocks noEditPoints="1"/>
            </p:cNvSpPr>
            <p:nvPr/>
          </p:nvSpPr>
          <p:spPr bwMode="gray">
            <a:xfrm>
              <a:off x="7243453" y="3699118"/>
              <a:ext cx="37633" cy="25088"/>
            </a:xfrm>
            <a:custGeom>
              <a:avLst/>
              <a:gdLst>
                <a:gd name="T0" fmla="*/ 2147483647 w 96"/>
                <a:gd name="T1" fmla="*/ 2147483647 h 66"/>
                <a:gd name="T2" fmla="*/ 2147483647 w 96"/>
                <a:gd name="T3" fmla="*/ 2147483647 h 66"/>
                <a:gd name="T4" fmla="*/ 0 w 96"/>
                <a:gd name="T5" fmla="*/ 2147483647 h 66"/>
                <a:gd name="T6" fmla="*/ 0 w 96"/>
                <a:gd name="T7" fmla="*/ 2147483647 h 66"/>
                <a:gd name="T8" fmla="*/ 2147483647 w 96"/>
                <a:gd name="T9" fmla="*/ 2147483647 h 66"/>
                <a:gd name="T10" fmla="*/ 2147483647 w 96"/>
                <a:gd name="T11" fmla="*/ 2147483647 h 66"/>
                <a:gd name="T12" fmla="*/ 2147483647 w 96"/>
                <a:gd name="T13" fmla="*/ 2147483647 h 66"/>
                <a:gd name="T14" fmla="*/ 2147483647 w 96"/>
                <a:gd name="T15" fmla="*/ 2147483647 h 66"/>
                <a:gd name="T16" fmla="*/ 2147483647 w 96"/>
                <a:gd name="T17" fmla="*/ 2147483647 h 66"/>
                <a:gd name="T18" fmla="*/ 2147483647 w 96"/>
                <a:gd name="T19" fmla="*/ 0 h 66"/>
                <a:gd name="T20" fmla="*/ 2147483647 w 96"/>
                <a:gd name="T21" fmla="*/ 2147483647 h 66"/>
                <a:gd name="T22" fmla="*/ 2147483647 w 96"/>
                <a:gd name="T23" fmla="*/ 2147483647 h 66"/>
                <a:gd name="T24" fmla="*/ 2147483647 w 96"/>
                <a:gd name="T25" fmla="*/ 2147483647 h 66"/>
                <a:gd name="T26" fmla="*/ 2147483647 w 96"/>
                <a:gd name="T27" fmla="*/ 2147483647 h 66"/>
                <a:gd name="T28" fmla="*/ 2147483647 w 96"/>
                <a:gd name="T29" fmla="*/ 0 h 66"/>
                <a:gd name="T30" fmla="*/ 2147483647 w 96"/>
                <a:gd name="T31" fmla="*/ 0 h 66"/>
                <a:gd name="T32" fmla="*/ 2147483647 w 96"/>
                <a:gd name="T33" fmla="*/ 2147483647 h 66"/>
                <a:gd name="T34" fmla="*/ 2147483647 w 96"/>
                <a:gd name="T35" fmla="*/ 2147483647 h 66"/>
                <a:gd name="T36" fmla="*/ 2147483647 w 96"/>
                <a:gd name="T37" fmla="*/ 2147483647 h 66"/>
                <a:gd name="T38" fmla="*/ 2147483647 w 96"/>
                <a:gd name="T39" fmla="*/ 2147483647 h 66"/>
                <a:gd name="T40" fmla="*/ 2147483647 w 96"/>
                <a:gd name="T41" fmla="*/ 2147483647 h 66"/>
                <a:gd name="T42" fmla="*/ 2147483647 w 96"/>
                <a:gd name="T43" fmla="*/ 2147483647 h 66"/>
                <a:gd name="T44" fmla="*/ 2147483647 w 96"/>
                <a:gd name="T45" fmla="*/ 2147483647 h 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66"/>
                <a:gd name="T71" fmla="*/ 96 w 96"/>
                <a:gd name="T72" fmla="*/ 66 h 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66">
                  <a:moveTo>
                    <a:pt x="12" y="42"/>
                  </a:moveTo>
                  <a:lnTo>
                    <a:pt x="6" y="42"/>
                  </a:lnTo>
                  <a:lnTo>
                    <a:pt x="0" y="48"/>
                  </a:lnTo>
                  <a:lnTo>
                    <a:pt x="0" y="60"/>
                  </a:lnTo>
                  <a:lnTo>
                    <a:pt x="6" y="66"/>
                  </a:lnTo>
                  <a:lnTo>
                    <a:pt x="12" y="66"/>
                  </a:lnTo>
                  <a:lnTo>
                    <a:pt x="24" y="54"/>
                  </a:lnTo>
                  <a:lnTo>
                    <a:pt x="24" y="42"/>
                  </a:lnTo>
                  <a:lnTo>
                    <a:pt x="12" y="42"/>
                  </a:lnTo>
                  <a:close/>
                  <a:moveTo>
                    <a:pt x="42" y="0"/>
                  </a:moveTo>
                  <a:lnTo>
                    <a:pt x="42" y="18"/>
                  </a:lnTo>
                  <a:lnTo>
                    <a:pt x="54" y="30"/>
                  </a:lnTo>
                  <a:lnTo>
                    <a:pt x="60" y="30"/>
                  </a:lnTo>
                  <a:lnTo>
                    <a:pt x="72" y="24"/>
                  </a:lnTo>
                  <a:lnTo>
                    <a:pt x="48" y="0"/>
                  </a:lnTo>
                  <a:lnTo>
                    <a:pt x="42" y="0"/>
                  </a:lnTo>
                  <a:close/>
                  <a:moveTo>
                    <a:pt x="96" y="36"/>
                  </a:moveTo>
                  <a:lnTo>
                    <a:pt x="78" y="36"/>
                  </a:lnTo>
                  <a:lnTo>
                    <a:pt x="72" y="42"/>
                  </a:lnTo>
                  <a:lnTo>
                    <a:pt x="72" y="54"/>
                  </a:lnTo>
                  <a:lnTo>
                    <a:pt x="84" y="60"/>
                  </a:lnTo>
                  <a:lnTo>
                    <a:pt x="96" y="48"/>
                  </a:lnTo>
                  <a:lnTo>
                    <a:pt x="96" y="36"/>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87" name="Österreich" descr="© INSCALE GmbH, 05.05.2010&#10;http://www.presentationload.com/">
              <a:extLst>
                <a:ext uri="{FF2B5EF4-FFF2-40B4-BE49-F238E27FC236}">
                  <a16:creationId xmlns:a16="http://schemas.microsoft.com/office/drawing/2014/main" id="{947D35F5-DE00-4089-9829-EDE1AD68C515}"/>
                </a:ext>
              </a:extLst>
            </p:cNvPr>
            <p:cNvSpPr>
              <a:spLocks/>
            </p:cNvSpPr>
            <p:nvPr/>
          </p:nvSpPr>
          <p:spPr bwMode="gray">
            <a:xfrm>
              <a:off x="4400627" y="2687742"/>
              <a:ext cx="181891" cy="79970"/>
            </a:xfrm>
            <a:custGeom>
              <a:avLst/>
              <a:gdLst>
                <a:gd name="T0" fmla="*/ 2147483647 w 456"/>
                <a:gd name="T1" fmla="*/ 2147483647 h 204"/>
                <a:gd name="T2" fmla="*/ 2147483647 w 456"/>
                <a:gd name="T3" fmla="*/ 2147483647 h 204"/>
                <a:gd name="T4" fmla="*/ 2147483647 w 456"/>
                <a:gd name="T5" fmla="*/ 2147483647 h 204"/>
                <a:gd name="T6" fmla="*/ 2147483647 w 456"/>
                <a:gd name="T7" fmla="*/ 2147483647 h 204"/>
                <a:gd name="T8" fmla="*/ 2147483647 w 456"/>
                <a:gd name="T9" fmla="*/ 2147483647 h 204"/>
                <a:gd name="T10" fmla="*/ 2147483647 w 456"/>
                <a:gd name="T11" fmla="*/ 2147483647 h 204"/>
                <a:gd name="T12" fmla="*/ 2147483647 w 456"/>
                <a:gd name="T13" fmla="*/ 2147483647 h 204"/>
                <a:gd name="T14" fmla="*/ 2147483647 w 456"/>
                <a:gd name="T15" fmla="*/ 0 h 204"/>
                <a:gd name="T16" fmla="*/ 2147483647 w 456"/>
                <a:gd name="T17" fmla="*/ 2147483647 h 204"/>
                <a:gd name="T18" fmla="*/ 2147483647 w 456"/>
                <a:gd name="T19" fmla="*/ 2147483647 h 204"/>
                <a:gd name="T20" fmla="*/ 2147483647 w 456"/>
                <a:gd name="T21" fmla="*/ 2147483647 h 204"/>
                <a:gd name="T22" fmla="*/ 2147483647 w 456"/>
                <a:gd name="T23" fmla="*/ 2147483647 h 204"/>
                <a:gd name="T24" fmla="*/ 2147483647 w 456"/>
                <a:gd name="T25" fmla="*/ 2147483647 h 204"/>
                <a:gd name="T26" fmla="*/ 2147483647 w 456"/>
                <a:gd name="T27" fmla="*/ 2147483647 h 204"/>
                <a:gd name="T28" fmla="*/ 2147483647 w 456"/>
                <a:gd name="T29" fmla="*/ 2147483647 h 204"/>
                <a:gd name="T30" fmla="*/ 2147483647 w 456"/>
                <a:gd name="T31" fmla="*/ 2147483647 h 204"/>
                <a:gd name="T32" fmla="*/ 2147483647 w 456"/>
                <a:gd name="T33" fmla="*/ 2147483647 h 204"/>
                <a:gd name="T34" fmla="*/ 2147483647 w 456"/>
                <a:gd name="T35" fmla="*/ 2147483647 h 204"/>
                <a:gd name="T36" fmla="*/ 2147483647 w 456"/>
                <a:gd name="T37" fmla="*/ 2147483647 h 204"/>
                <a:gd name="T38" fmla="*/ 2147483647 w 456"/>
                <a:gd name="T39" fmla="*/ 2147483647 h 204"/>
                <a:gd name="T40" fmla="*/ 2147483647 w 456"/>
                <a:gd name="T41" fmla="*/ 2147483647 h 204"/>
                <a:gd name="T42" fmla="*/ 2147483647 w 456"/>
                <a:gd name="T43" fmla="*/ 2147483647 h 204"/>
                <a:gd name="T44" fmla="*/ 2147483647 w 456"/>
                <a:gd name="T45" fmla="*/ 2147483647 h 204"/>
                <a:gd name="T46" fmla="*/ 2147483647 w 456"/>
                <a:gd name="T47" fmla="*/ 2147483647 h 204"/>
                <a:gd name="T48" fmla="*/ 2147483647 w 456"/>
                <a:gd name="T49" fmla="*/ 2147483647 h 204"/>
                <a:gd name="T50" fmla="*/ 2147483647 w 456"/>
                <a:gd name="T51" fmla="*/ 2147483647 h 204"/>
                <a:gd name="T52" fmla="*/ 2147483647 w 456"/>
                <a:gd name="T53" fmla="*/ 2147483647 h 204"/>
                <a:gd name="T54" fmla="*/ 0 w 456"/>
                <a:gd name="T55" fmla="*/ 2147483647 h 204"/>
                <a:gd name="T56" fmla="*/ 2147483647 w 456"/>
                <a:gd name="T57" fmla="*/ 2147483647 h 204"/>
                <a:gd name="T58" fmla="*/ 2147483647 w 456"/>
                <a:gd name="T59" fmla="*/ 2147483647 h 204"/>
                <a:gd name="T60" fmla="*/ 2147483647 w 456"/>
                <a:gd name="T61" fmla="*/ 2147483647 h 204"/>
                <a:gd name="T62" fmla="*/ 2147483647 w 456"/>
                <a:gd name="T63" fmla="*/ 2147483647 h 204"/>
                <a:gd name="T64" fmla="*/ 2147483647 w 456"/>
                <a:gd name="T65" fmla="*/ 2147483647 h 204"/>
                <a:gd name="T66" fmla="*/ 2147483647 w 456"/>
                <a:gd name="T67" fmla="*/ 2147483647 h 204"/>
                <a:gd name="T68" fmla="*/ 2147483647 w 456"/>
                <a:gd name="T69" fmla="*/ 2147483647 h 204"/>
                <a:gd name="T70" fmla="*/ 2147483647 w 456"/>
                <a:gd name="T71" fmla="*/ 2147483647 h 204"/>
                <a:gd name="T72" fmla="*/ 2147483647 w 456"/>
                <a:gd name="T73" fmla="*/ 2147483647 h 204"/>
                <a:gd name="T74" fmla="*/ 2147483647 w 456"/>
                <a:gd name="T75" fmla="*/ 2147483647 h 204"/>
                <a:gd name="T76" fmla="*/ 2147483647 w 456"/>
                <a:gd name="T77" fmla="*/ 2147483647 h 204"/>
                <a:gd name="T78" fmla="*/ 2147483647 w 456"/>
                <a:gd name="T79" fmla="*/ 2147483647 h 204"/>
                <a:gd name="T80" fmla="*/ 2147483647 w 456"/>
                <a:gd name="T81" fmla="*/ 2147483647 h 204"/>
                <a:gd name="T82" fmla="*/ 2147483647 w 456"/>
                <a:gd name="T83" fmla="*/ 2147483647 h 204"/>
                <a:gd name="T84" fmla="*/ 2147483647 w 456"/>
                <a:gd name="T85" fmla="*/ 2147483647 h 204"/>
                <a:gd name="T86" fmla="*/ 2147483647 w 456"/>
                <a:gd name="T87" fmla="*/ 2147483647 h 204"/>
                <a:gd name="T88" fmla="*/ 2147483647 w 456"/>
                <a:gd name="T89" fmla="*/ 2147483647 h 204"/>
                <a:gd name="T90" fmla="*/ 2147483647 w 456"/>
                <a:gd name="T91" fmla="*/ 2147483647 h 2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6"/>
                <a:gd name="T139" fmla="*/ 0 h 204"/>
                <a:gd name="T140" fmla="*/ 456 w 456"/>
                <a:gd name="T141" fmla="*/ 204 h 2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6" h="204">
                  <a:moveTo>
                    <a:pt x="456" y="102"/>
                  </a:moveTo>
                  <a:lnTo>
                    <a:pt x="456" y="60"/>
                  </a:lnTo>
                  <a:lnTo>
                    <a:pt x="450" y="60"/>
                  </a:lnTo>
                  <a:lnTo>
                    <a:pt x="450" y="48"/>
                  </a:lnTo>
                  <a:lnTo>
                    <a:pt x="456" y="24"/>
                  </a:lnTo>
                  <a:lnTo>
                    <a:pt x="444" y="18"/>
                  </a:lnTo>
                  <a:lnTo>
                    <a:pt x="438" y="18"/>
                  </a:lnTo>
                  <a:lnTo>
                    <a:pt x="432" y="12"/>
                  </a:lnTo>
                  <a:lnTo>
                    <a:pt x="420" y="12"/>
                  </a:lnTo>
                  <a:lnTo>
                    <a:pt x="414" y="18"/>
                  </a:lnTo>
                  <a:lnTo>
                    <a:pt x="402" y="24"/>
                  </a:lnTo>
                  <a:lnTo>
                    <a:pt x="390" y="12"/>
                  </a:lnTo>
                  <a:lnTo>
                    <a:pt x="378" y="18"/>
                  </a:lnTo>
                  <a:lnTo>
                    <a:pt x="366" y="6"/>
                  </a:lnTo>
                  <a:lnTo>
                    <a:pt x="354" y="0"/>
                  </a:lnTo>
                  <a:lnTo>
                    <a:pt x="336" y="0"/>
                  </a:lnTo>
                  <a:lnTo>
                    <a:pt x="330" y="6"/>
                  </a:lnTo>
                  <a:lnTo>
                    <a:pt x="324" y="18"/>
                  </a:lnTo>
                  <a:lnTo>
                    <a:pt x="318" y="18"/>
                  </a:lnTo>
                  <a:lnTo>
                    <a:pt x="318" y="36"/>
                  </a:lnTo>
                  <a:lnTo>
                    <a:pt x="306" y="30"/>
                  </a:lnTo>
                  <a:lnTo>
                    <a:pt x="300" y="30"/>
                  </a:lnTo>
                  <a:lnTo>
                    <a:pt x="288" y="36"/>
                  </a:lnTo>
                  <a:lnTo>
                    <a:pt x="276" y="36"/>
                  </a:lnTo>
                  <a:lnTo>
                    <a:pt x="258" y="18"/>
                  </a:lnTo>
                  <a:lnTo>
                    <a:pt x="252" y="36"/>
                  </a:lnTo>
                  <a:lnTo>
                    <a:pt x="234" y="36"/>
                  </a:lnTo>
                  <a:lnTo>
                    <a:pt x="240" y="48"/>
                  </a:lnTo>
                  <a:lnTo>
                    <a:pt x="240" y="66"/>
                  </a:lnTo>
                  <a:lnTo>
                    <a:pt x="234" y="66"/>
                  </a:lnTo>
                  <a:lnTo>
                    <a:pt x="228" y="60"/>
                  </a:lnTo>
                  <a:lnTo>
                    <a:pt x="210" y="60"/>
                  </a:lnTo>
                  <a:lnTo>
                    <a:pt x="204" y="66"/>
                  </a:lnTo>
                  <a:lnTo>
                    <a:pt x="204" y="72"/>
                  </a:lnTo>
                  <a:lnTo>
                    <a:pt x="198" y="78"/>
                  </a:lnTo>
                  <a:lnTo>
                    <a:pt x="198" y="84"/>
                  </a:lnTo>
                  <a:lnTo>
                    <a:pt x="210" y="84"/>
                  </a:lnTo>
                  <a:lnTo>
                    <a:pt x="210" y="126"/>
                  </a:lnTo>
                  <a:lnTo>
                    <a:pt x="204" y="126"/>
                  </a:lnTo>
                  <a:lnTo>
                    <a:pt x="192" y="114"/>
                  </a:lnTo>
                  <a:lnTo>
                    <a:pt x="174" y="108"/>
                  </a:lnTo>
                  <a:lnTo>
                    <a:pt x="162" y="102"/>
                  </a:lnTo>
                  <a:lnTo>
                    <a:pt x="144" y="114"/>
                  </a:lnTo>
                  <a:lnTo>
                    <a:pt x="126" y="114"/>
                  </a:lnTo>
                  <a:lnTo>
                    <a:pt x="108" y="126"/>
                  </a:lnTo>
                  <a:lnTo>
                    <a:pt x="102" y="132"/>
                  </a:lnTo>
                  <a:lnTo>
                    <a:pt x="84" y="132"/>
                  </a:lnTo>
                  <a:lnTo>
                    <a:pt x="66" y="114"/>
                  </a:lnTo>
                  <a:lnTo>
                    <a:pt x="48" y="114"/>
                  </a:lnTo>
                  <a:lnTo>
                    <a:pt x="48" y="126"/>
                  </a:lnTo>
                  <a:lnTo>
                    <a:pt x="42" y="132"/>
                  </a:lnTo>
                  <a:lnTo>
                    <a:pt x="30" y="132"/>
                  </a:lnTo>
                  <a:lnTo>
                    <a:pt x="30" y="126"/>
                  </a:lnTo>
                  <a:lnTo>
                    <a:pt x="24" y="120"/>
                  </a:lnTo>
                  <a:lnTo>
                    <a:pt x="0" y="120"/>
                  </a:lnTo>
                  <a:lnTo>
                    <a:pt x="0" y="156"/>
                  </a:lnTo>
                  <a:lnTo>
                    <a:pt x="18" y="156"/>
                  </a:lnTo>
                  <a:lnTo>
                    <a:pt x="18" y="174"/>
                  </a:lnTo>
                  <a:lnTo>
                    <a:pt x="24" y="174"/>
                  </a:lnTo>
                  <a:lnTo>
                    <a:pt x="42" y="156"/>
                  </a:lnTo>
                  <a:lnTo>
                    <a:pt x="48" y="156"/>
                  </a:lnTo>
                  <a:lnTo>
                    <a:pt x="60" y="168"/>
                  </a:lnTo>
                  <a:lnTo>
                    <a:pt x="60" y="174"/>
                  </a:lnTo>
                  <a:lnTo>
                    <a:pt x="72" y="174"/>
                  </a:lnTo>
                  <a:lnTo>
                    <a:pt x="84" y="180"/>
                  </a:lnTo>
                  <a:lnTo>
                    <a:pt x="96" y="162"/>
                  </a:lnTo>
                  <a:lnTo>
                    <a:pt x="138" y="162"/>
                  </a:lnTo>
                  <a:lnTo>
                    <a:pt x="138" y="156"/>
                  </a:lnTo>
                  <a:lnTo>
                    <a:pt x="144" y="150"/>
                  </a:lnTo>
                  <a:lnTo>
                    <a:pt x="162" y="150"/>
                  </a:lnTo>
                  <a:lnTo>
                    <a:pt x="168" y="156"/>
                  </a:lnTo>
                  <a:lnTo>
                    <a:pt x="168" y="174"/>
                  </a:lnTo>
                  <a:lnTo>
                    <a:pt x="180" y="174"/>
                  </a:lnTo>
                  <a:lnTo>
                    <a:pt x="186" y="192"/>
                  </a:lnTo>
                  <a:lnTo>
                    <a:pt x="240" y="192"/>
                  </a:lnTo>
                  <a:lnTo>
                    <a:pt x="240" y="204"/>
                  </a:lnTo>
                  <a:lnTo>
                    <a:pt x="258" y="204"/>
                  </a:lnTo>
                  <a:lnTo>
                    <a:pt x="264" y="198"/>
                  </a:lnTo>
                  <a:lnTo>
                    <a:pt x="282" y="198"/>
                  </a:lnTo>
                  <a:lnTo>
                    <a:pt x="288" y="204"/>
                  </a:lnTo>
                  <a:lnTo>
                    <a:pt x="318" y="204"/>
                  </a:lnTo>
                  <a:lnTo>
                    <a:pt x="318" y="192"/>
                  </a:lnTo>
                  <a:lnTo>
                    <a:pt x="366" y="192"/>
                  </a:lnTo>
                  <a:lnTo>
                    <a:pt x="378" y="186"/>
                  </a:lnTo>
                  <a:lnTo>
                    <a:pt x="402" y="192"/>
                  </a:lnTo>
                  <a:lnTo>
                    <a:pt x="414" y="156"/>
                  </a:lnTo>
                  <a:lnTo>
                    <a:pt x="432" y="156"/>
                  </a:lnTo>
                  <a:lnTo>
                    <a:pt x="432" y="132"/>
                  </a:lnTo>
                  <a:lnTo>
                    <a:pt x="444" y="114"/>
                  </a:lnTo>
                  <a:lnTo>
                    <a:pt x="432" y="114"/>
                  </a:lnTo>
                  <a:lnTo>
                    <a:pt x="438" y="102"/>
                  </a:lnTo>
                  <a:lnTo>
                    <a:pt x="456" y="102"/>
                  </a:lnTo>
                  <a:close/>
                </a:path>
              </a:pathLst>
            </a:custGeom>
            <a:solidFill>
              <a:schemeClr val="accent1"/>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88" name="Ost Timor" descr="© INSCALE GmbH, 05.05.2010&#10;http://www.presentationload.com/">
              <a:extLst>
                <a:ext uri="{FF2B5EF4-FFF2-40B4-BE49-F238E27FC236}">
                  <a16:creationId xmlns:a16="http://schemas.microsoft.com/office/drawing/2014/main" id="{5A9F42C2-7238-4FA0-A0EA-F02E876CC4BE}"/>
                </a:ext>
              </a:extLst>
            </p:cNvPr>
            <p:cNvSpPr>
              <a:spLocks noEditPoints="1"/>
            </p:cNvSpPr>
            <p:nvPr/>
          </p:nvSpPr>
          <p:spPr bwMode="gray">
            <a:xfrm>
              <a:off x="7627618" y="4516057"/>
              <a:ext cx="98785" cy="47041"/>
            </a:xfrm>
            <a:custGeom>
              <a:avLst/>
              <a:gdLst>
                <a:gd name="T0" fmla="*/ 2147483647 w 252"/>
                <a:gd name="T1" fmla="*/ 0 h 120"/>
                <a:gd name="T2" fmla="*/ 2147483647 w 252"/>
                <a:gd name="T3" fmla="*/ 2147483647 h 120"/>
                <a:gd name="T4" fmla="*/ 2147483647 w 252"/>
                <a:gd name="T5" fmla="*/ 2147483647 h 120"/>
                <a:gd name="T6" fmla="*/ 2147483647 w 252"/>
                <a:gd name="T7" fmla="*/ 2147483647 h 120"/>
                <a:gd name="T8" fmla="*/ 2147483647 w 252"/>
                <a:gd name="T9" fmla="*/ 2147483647 h 120"/>
                <a:gd name="T10" fmla="*/ 2147483647 w 252"/>
                <a:gd name="T11" fmla="*/ 2147483647 h 120"/>
                <a:gd name="T12" fmla="*/ 2147483647 w 252"/>
                <a:gd name="T13" fmla="*/ 2147483647 h 120"/>
                <a:gd name="T14" fmla="*/ 2147483647 w 252"/>
                <a:gd name="T15" fmla="*/ 2147483647 h 120"/>
                <a:gd name="T16" fmla="*/ 2147483647 w 252"/>
                <a:gd name="T17" fmla="*/ 2147483647 h 120"/>
                <a:gd name="T18" fmla="*/ 2147483647 w 252"/>
                <a:gd name="T19" fmla="*/ 2147483647 h 120"/>
                <a:gd name="T20" fmla="*/ 2147483647 w 252"/>
                <a:gd name="T21" fmla="*/ 2147483647 h 120"/>
                <a:gd name="T22" fmla="*/ 2147483647 w 252"/>
                <a:gd name="T23" fmla="*/ 2147483647 h 120"/>
                <a:gd name="T24" fmla="*/ 2147483647 w 252"/>
                <a:gd name="T25" fmla="*/ 2147483647 h 120"/>
                <a:gd name="T26" fmla="*/ 2147483647 w 252"/>
                <a:gd name="T27" fmla="*/ 2147483647 h 120"/>
                <a:gd name="T28" fmla="*/ 2147483647 w 252"/>
                <a:gd name="T29" fmla="*/ 2147483647 h 120"/>
                <a:gd name="T30" fmla="*/ 2147483647 w 252"/>
                <a:gd name="T31" fmla="*/ 2147483647 h 120"/>
                <a:gd name="T32" fmla="*/ 2147483647 w 252"/>
                <a:gd name="T33" fmla="*/ 2147483647 h 120"/>
                <a:gd name="T34" fmla="*/ 2147483647 w 252"/>
                <a:gd name="T35" fmla="*/ 2147483647 h 120"/>
                <a:gd name="T36" fmla="*/ 2147483647 w 252"/>
                <a:gd name="T37" fmla="*/ 2147483647 h 120"/>
                <a:gd name="T38" fmla="*/ 2147483647 w 252"/>
                <a:gd name="T39" fmla="*/ 2147483647 h 120"/>
                <a:gd name="T40" fmla="*/ 2147483647 w 252"/>
                <a:gd name="T41" fmla="*/ 2147483647 h 120"/>
                <a:gd name="T42" fmla="*/ 2147483647 w 252"/>
                <a:gd name="T43" fmla="*/ 2147483647 h 120"/>
                <a:gd name="T44" fmla="*/ 2147483647 w 252"/>
                <a:gd name="T45" fmla="*/ 2147483647 h 120"/>
                <a:gd name="T46" fmla="*/ 2147483647 w 252"/>
                <a:gd name="T47" fmla="*/ 0 h 120"/>
                <a:gd name="T48" fmla="*/ 0 w 252"/>
                <a:gd name="T49" fmla="*/ 2147483647 h 120"/>
                <a:gd name="T50" fmla="*/ 2147483647 w 252"/>
                <a:gd name="T51" fmla="*/ 2147483647 h 120"/>
                <a:gd name="T52" fmla="*/ 2147483647 w 252"/>
                <a:gd name="T53" fmla="*/ 2147483647 h 120"/>
                <a:gd name="T54" fmla="*/ 2147483647 w 252"/>
                <a:gd name="T55" fmla="*/ 2147483647 h 120"/>
                <a:gd name="T56" fmla="*/ 2147483647 w 252"/>
                <a:gd name="T57" fmla="*/ 2147483647 h 120"/>
                <a:gd name="T58" fmla="*/ 2147483647 w 252"/>
                <a:gd name="T59" fmla="*/ 2147483647 h 120"/>
                <a:gd name="T60" fmla="*/ 2147483647 w 252"/>
                <a:gd name="T61" fmla="*/ 2147483647 h 120"/>
                <a:gd name="T62" fmla="*/ 2147483647 w 252"/>
                <a:gd name="T63" fmla="*/ 2147483647 h 120"/>
                <a:gd name="T64" fmla="*/ 0 w 252"/>
                <a:gd name="T65" fmla="*/ 2147483647 h 1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2"/>
                <a:gd name="T100" fmla="*/ 0 h 120"/>
                <a:gd name="T101" fmla="*/ 252 w 252"/>
                <a:gd name="T102" fmla="*/ 120 h 1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2" h="120">
                  <a:moveTo>
                    <a:pt x="228" y="0"/>
                  </a:moveTo>
                  <a:lnTo>
                    <a:pt x="204" y="24"/>
                  </a:lnTo>
                  <a:lnTo>
                    <a:pt x="114" y="24"/>
                  </a:lnTo>
                  <a:lnTo>
                    <a:pt x="108" y="30"/>
                  </a:lnTo>
                  <a:lnTo>
                    <a:pt x="102" y="42"/>
                  </a:lnTo>
                  <a:lnTo>
                    <a:pt x="96" y="48"/>
                  </a:lnTo>
                  <a:lnTo>
                    <a:pt x="90" y="48"/>
                  </a:lnTo>
                  <a:lnTo>
                    <a:pt x="78" y="54"/>
                  </a:lnTo>
                  <a:lnTo>
                    <a:pt x="90" y="72"/>
                  </a:lnTo>
                  <a:lnTo>
                    <a:pt x="84" y="78"/>
                  </a:lnTo>
                  <a:lnTo>
                    <a:pt x="72" y="102"/>
                  </a:lnTo>
                  <a:lnTo>
                    <a:pt x="72" y="114"/>
                  </a:lnTo>
                  <a:lnTo>
                    <a:pt x="78" y="120"/>
                  </a:lnTo>
                  <a:lnTo>
                    <a:pt x="78" y="114"/>
                  </a:lnTo>
                  <a:lnTo>
                    <a:pt x="84" y="108"/>
                  </a:lnTo>
                  <a:lnTo>
                    <a:pt x="96" y="108"/>
                  </a:lnTo>
                  <a:lnTo>
                    <a:pt x="132" y="84"/>
                  </a:lnTo>
                  <a:lnTo>
                    <a:pt x="138" y="90"/>
                  </a:lnTo>
                  <a:lnTo>
                    <a:pt x="162" y="90"/>
                  </a:lnTo>
                  <a:lnTo>
                    <a:pt x="186" y="78"/>
                  </a:lnTo>
                  <a:lnTo>
                    <a:pt x="198" y="66"/>
                  </a:lnTo>
                  <a:lnTo>
                    <a:pt x="210" y="60"/>
                  </a:lnTo>
                  <a:lnTo>
                    <a:pt x="252" y="18"/>
                  </a:lnTo>
                  <a:lnTo>
                    <a:pt x="228" y="0"/>
                  </a:lnTo>
                  <a:close/>
                  <a:moveTo>
                    <a:pt x="0" y="90"/>
                  </a:moveTo>
                  <a:lnTo>
                    <a:pt x="6" y="102"/>
                  </a:lnTo>
                  <a:lnTo>
                    <a:pt x="18" y="96"/>
                  </a:lnTo>
                  <a:lnTo>
                    <a:pt x="24" y="90"/>
                  </a:lnTo>
                  <a:lnTo>
                    <a:pt x="36" y="90"/>
                  </a:lnTo>
                  <a:lnTo>
                    <a:pt x="36" y="84"/>
                  </a:lnTo>
                  <a:lnTo>
                    <a:pt x="42" y="72"/>
                  </a:lnTo>
                  <a:lnTo>
                    <a:pt x="18" y="72"/>
                  </a:lnTo>
                  <a:lnTo>
                    <a:pt x="0" y="9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89" name="Oman" descr="© INSCALE GmbH, 05.05.2010&#10;http://www.presentationload.com/">
              <a:extLst>
                <a:ext uri="{FF2B5EF4-FFF2-40B4-BE49-F238E27FC236}">
                  <a16:creationId xmlns:a16="http://schemas.microsoft.com/office/drawing/2014/main" id="{7C90C080-5291-4775-8B0C-2DAD5AC14D0B}"/>
                </a:ext>
              </a:extLst>
            </p:cNvPr>
            <p:cNvSpPr>
              <a:spLocks/>
            </p:cNvSpPr>
            <p:nvPr/>
          </p:nvSpPr>
          <p:spPr bwMode="gray">
            <a:xfrm>
              <a:off x="5582916" y="3449801"/>
              <a:ext cx="214819" cy="268133"/>
            </a:xfrm>
            <a:custGeom>
              <a:avLst/>
              <a:gdLst>
                <a:gd name="T0" fmla="*/ 2147483647 w 540"/>
                <a:gd name="T1" fmla="*/ 2147483647 h 672"/>
                <a:gd name="T2" fmla="*/ 2147483647 w 540"/>
                <a:gd name="T3" fmla="*/ 2147483647 h 672"/>
                <a:gd name="T4" fmla="*/ 2147483647 w 540"/>
                <a:gd name="T5" fmla="*/ 2147483647 h 672"/>
                <a:gd name="T6" fmla="*/ 2147483647 w 540"/>
                <a:gd name="T7" fmla="*/ 2147483647 h 672"/>
                <a:gd name="T8" fmla="*/ 2147483647 w 540"/>
                <a:gd name="T9" fmla="*/ 2147483647 h 672"/>
                <a:gd name="T10" fmla="*/ 2147483647 w 540"/>
                <a:gd name="T11" fmla="*/ 2147483647 h 672"/>
                <a:gd name="T12" fmla="*/ 2147483647 w 540"/>
                <a:gd name="T13" fmla="*/ 2147483647 h 672"/>
                <a:gd name="T14" fmla="*/ 2147483647 w 540"/>
                <a:gd name="T15" fmla="*/ 2147483647 h 672"/>
                <a:gd name="T16" fmla="*/ 2147483647 w 540"/>
                <a:gd name="T17" fmla="*/ 2147483647 h 672"/>
                <a:gd name="T18" fmla="*/ 2147483647 w 540"/>
                <a:gd name="T19" fmla="*/ 2147483647 h 672"/>
                <a:gd name="T20" fmla="*/ 2147483647 w 540"/>
                <a:gd name="T21" fmla="*/ 2147483647 h 672"/>
                <a:gd name="T22" fmla="*/ 2147483647 w 540"/>
                <a:gd name="T23" fmla="*/ 2147483647 h 672"/>
                <a:gd name="T24" fmla="*/ 2147483647 w 540"/>
                <a:gd name="T25" fmla="*/ 2147483647 h 672"/>
                <a:gd name="T26" fmla="*/ 2147483647 w 540"/>
                <a:gd name="T27" fmla="*/ 2147483647 h 672"/>
                <a:gd name="T28" fmla="*/ 2147483647 w 540"/>
                <a:gd name="T29" fmla="*/ 2147483647 h 672"/>
                <a:gd name="T30" fmla="*/ 2147483647 w 540"/>
                <a:gd name="T31" fmla="*/ 2147483647 h 672"/>
                <a:gd name="T32" fmla="*/ 2147483647 w 540"/>
                <a:gd name="T33" fmla="*/ 2147483647 h 672"/>
                <a:gd name="T34" fmla="*/ 2147483647 w 540"/>
                <a:gd name="T35" fmla="*/ 2147483647 h 672"/>
                <a:gd name="T36" fmla="*/ 2147483647 w 540"/>
                <a:gd name="T37" fmla="*/ 2147483647 h 672"/>
                <a:gd name="T38" fmla="*/ 2147483647 w 540"/>
                <a:gd name="T39" fmla="*/ 2147483647 h 672"/>
                <a:gd name="T40" fmla="*/ 2147483647 w 540"/>
                <a:gd name="T41" fmla="*/ 2147483647 h 672"/>
                <a:gd name="T42" fmla="*/ 2147483647 w 540"/>
                <a:gd name="T43" fmla="*/ 2147483647 h 672"/>
                <a:gd name="T44" fmla="*/ 2147483647 w 540"/>
                <a:gd name="T45" fmla="*/ 2147483647 h 672"/>
                <a:gd name="T46" fmla="*/ 2147483647 w 540"/>
                <a:gd name="T47" fmla="*/ 2147483647 h 672"/>
                <a:gd name="T48" fmla="*/ 2147483647 w 540"/>
                <a:gd name="T49" fmla="*/ 2147483647 h 672"/>
                <a:gd name="T50" fmla="*/ 2147483647 w 540"/>
                <a:gd name="T51" fmla="*/ 0 h 672"/>
                <a:gd name="T52" fmla="*/ 2147483647 w 540"/>
                <a:gd name="T53" fmla="*/ 2147483647 h 672"/>
                <a:gd name="T54" fmla="*/ 2147483647 w 540"/>
                <a:gd name="T55" fmla="*/ 2147483647 h 672"/>
                <a:gd name="T56" fmla="*/ 2147483647 w 540"/>
                <a:gd name="T57" fmla="*/ 2147483647 h 672"/>
                <a:gd name="T58" fmla="*/ 2147483647 w 540"/>
                <a:gd name="T59" fmla="*/ 2147483647 h 672"/>
                <a:gd name="T60" fmla="*/ 2147483647 w 540"/>
                <a:gd name="T61" fmla="*/ 2147483647 h 672"/>
                <a:gd name="T62" fmla="*/ 2147483647 w 540"/>
                <a:gd name="T63" fmla="*/ 2147483647 h 672"/>
                <a:gd name="T64" fmla="*/ 2147483647 w 540"/>
                <a:gd name="T65" fmla="*/ 2147483647 h 672"/>
                <a:gd name="T66" fmla="*/ 2147483647 w 540"/>
                <a:gd name="T67" fmla="*/ 2147483647 h 672"/>
                <a:gd name="T68" fmla="*/ 2147483647 w 540"/>
                <a:gd name="T69" fmla="*/ 2147483647 h 672"/>
                <a:gd name="T70" fmla="*/ 2147483647 w 540"/>
                <a:gd name="T71" fmla="*/ 2147483647 h 672"/>
                <a:gd name="T72" fmla="*/ 2147483647 w 540"/>
                <a:gd name="T73" fmla="*/ 2147483647 h 672"/>
                <a:gd name="T74" fmla="*/ 2147483647 w 540"/>
                <a:gd name="T75" fmla="*/ 2147483647 h 672"/>
                <a:gd name="T76" fmla="*/ 2147483647 w 540"/>
                <a:gd name="T77" fmla="*/ 2147483647 h 672"/>
                <a:gd name="T78" fmla="*/ 2147483647 w 540"/>
                <a:gd name="T79" fmla="*/ 2147483647 h 672"/>
                <a:gd name="T80" fmla="*/ 2147483647 w 540"/>
                <a:gd name="T81" fmla="*/ 2147483647 h 672"/>
                <a:gd name="T82" fmla="*/ 2147483647 w 540"/>
                <a:gd name="T83" fmla="*/ 2147483647 h 672"/>
                <a:gd name="T84" fmla="*/ 2147483647 w 540"/>
                <a:gd name="T85" fmla="*/ 2147483647 h 672"/>
                <a:gd name="T86" fmla="*/ 2147483647 w 540"/>
                <a:gd name="T87" fmla="*/ 2147483647 h 6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40"/>
                <a:gd name="T133" fmla="*/ 0 h 672"/>
                <a:gd name="T134" fmla="*/ 540 w 540"/>
                <a:gd name="T135" fmla="*/ 672 h 6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40" h="672">
                  <a:moveTo>
                    <a:pt x="258" y="564"/>
                  </a:moveTo>
                  <a:lnTo>
                    <a:pt x="276" y="564"/>
                  </a:lnTo>
                  <a:lnTo>
                    <a:pt x="288" y="558"/>
                  </a:lnTo>
                  <a:lnTo>
                    <a:pt x="306" y="552"/>
                  </a:lnTo>
                  <a:lnTo>
                    <a:pt x="330" y="540"/>
                  </a:lnTo>
                  <a:lnTo>
                    <a:pt x="336" y="528"/>
                  </a:lnTo>
                  <a:lnTo>
                    <a:pt x="342" y="510"/>
                  </a:lnTo>
                  <a:lnTo>
                    <a:pt x="342" y="498"/>
                  </a:lnTo>
                  <a:lnTo>
                    <a:pt x="348" y="498"/>
                  </a:lnTo>
                  <a:lnTo>
                    <a:pt x="354" y="492"/>
                  </a:lnTo>
                  <a:lnTo>
                    <a:pt x="366" y="486"/>
                  </a:lnTo>
                  <a:lnTo>
                    <a:pt x="384" y="480"/>
                  </a:lnTo>
                  <a:lnTo>
                    <a:pt x="408" y="456"/>
                  </a:lnTo>
                  <a:lnTo>
                    <a:pt x="414" y="444"/>
                  </a:lnTo>
                  <a:lnTo>
                    <a:pt x="414" y="426"/>
                  </a:lnTo>
                  <a:lnTo>
                    <a:pt x="420" y="408"/>
                  </a:lnTo>
                  <a:lnTo>
                    <a:pt x="420" y="378"/>
                  </a:lnTo>
                  <a:lnTo>
                    <a:pt x="426" y="372"/>
                  </a:lnTo>
                  <a:lnTo>
                    <a:pt x="432" y="372"/>
                  </a:lnTo>
                  <a:lnTo>
                    <a:pt x="444" y="378"/>
                  </a:lnTo>
                  <a:lnTo>
                    <a:pt x="450" y="384"/>
                  </a:lnTo>
                  <a:lnTo>
                    <a:pt x="462" y="384"/>
                  </a:lnTo>
                  <a:lnTo>
                    <a:pt x="468" y="378"/>
                  </a:lnTo>
                  <a:lnTo>
                    <a:pt x="480" y="354"/>
                  </a:lnTo>
                  <a:lnTo>
                    <a:pt x="480" y="330"/>
                  </a:lnTo>
                  <a:lnTo>
                    <a:pt x="534" y="276"/>
                  </a:lnTo>
                  <a:lnTo>
                    <a:pt x="534" y="264"/>
                  </a:lnTo>
                  <a:lnTo>
                    <a:pt x="540" y="252"/>
                  </a:lnTo>
                  <a:lnTo>
                    <a:pt x="540" y="204"/>
                  </a:lnTo>
                  <a:lnTo>
                    <a:pt x="528" y="192"/>
                  </a:lnTo>
                  <a:lnTo>
                    <a:pt x="510" y="192"/>
                  </a:lnTo>
                  <a:lnTo>
                    <a:pt x="510" y="186"/>
                  </a:lnTo>
                  <a:lnTo>
                    <a:pt x="492" y="168"/>
                  </a:lnTo>
                  <a:lnTo>
                    <a:pt x="486" y="150"/>
                  </a:lnTo>
                  <a:lnTo>
                    <a:pt x="462" y="126"/>
                  </a:lnTo>
                  <a:lnTo>
                    <a:pt x="456" y="114"/>
                  </a:lnTo>
                  <a:lnTo>
                    <a:pt x="432" y="96"/>
                  </a:lnTo>
                  <a:lnTo>
                    <a:pt x="396" y="84"/>
                  </a:lnTo>
                  <a:lnTo>
                    <a:pt x="366" y="78"/>
                  </a:lnTo>
                  <a:lnTo>
                    <a:pt x="348" y="78"/>
                  </a:lnTo>
                  <a:lnTo>
                    <a:pt x="342" y="72"/>
                  </a:lnTo>
                  <a:lnTo>
                    <a:pt x="330" y="72"/>
                  </a:lnTo>
                  <a:lnTo>
                    <a:pt x="318" y="60"/>
                  </a:lnTo>
                  <a:lnTo>
                    <a:pt x="294" y="48"/>
                  </a:lnTo>
                  <a:lnTo>
                    <a:pt x="288" y="36"/>
                  </a:lnTo>
                  <a:lnTo>
                    <a:pt x="288" y="30"/>
                  </a:lnTo>
                  <a:lnTo>
                    <a:pt x="282" y="18"/>
                  </a:lnTo>
                  <a:lnTo>
                    <a:pt x="276" y="12"/>
                  </a:lnTo>
                  <a:lnTo>
                    <a:pt x="252" y="18"/>
                  </a:lnTo>
                  <a:lnTo>
                    <a:pt x="246" y="6"/>
                  </a:lnTo>
                  <a:lnTo>
                    <a:pt x="246" y="0"/>
                  </a:lnTo>
                  <a:lnTo>
                    <a:pt x="240" y="0"/>
                  </a:lnTo>
                  <a:lnTo>
                    <a:pt x="234" y="6"/>
                  </a:lnTo>
                  <a:lnTo>
                    <a:pt x="234" y="12"/>
                  </a:lnTo>
                  <a:lnTo>
                    <a:pt x="228" y="24"/>
                  </a:lnTo>
                  <a:lnTo>
                    <a:pt x="228" y="54"/>
                  </a:lnTo>
                  <a:lnTo>
                    <a:pt x="246" y="72"/>
                  </a:lnTo>
                  <a:lnTo>
                    <a:pt x="246" y="78"/>
                  </a:lnTo>
                  <a:lnTo>
                    <a:pt x="240" y="78"/>
                  </a:lnTo>
                  <a:lnTo>
                    <a:pt x="240" y="72"/>
                  </a:lnTo>
                  <a:lnTo>
                    <a:pt x="228" y="72"/>
                  </a:lnTo>
                  <a:lnTo>
                    <a:pt x="228" y="78"/>
                  </a:lnTo>
                  <a:lnTo>
                    <a:pt x="222" y="84"/>
                  </a:lnTo>
                  <a:lnTo>
                    <a:pt x="222" y="96"/>
                  </a:lnTo>
                  <a:lnTo>
                    <a:pt x="216" y="108"/>
                  </a:lnTo>
                  <a:lnTo>
                    <a:pt x="216" y="120"/>
                  </a:lnTo>
                  <a:lnTo>
                    <a:pt x="210" y="132"/>
                  </a:lnTo>
                  <a:lnTo>
                    <a:pt x="204" y="138"/>
                  </a:lnTo>
                  <a:lnTo>
                    <a:pt x="198" y="150"/>
                  </a:lnTo>
                  <a:lnTo>
                    <a:pt x="192" y="156"/>
                  </a:lnTo>
                  <a:lnTo>
                    <a:pt x="192" y="168"/>
                  </a:lnTo>
                  <a:lnTo>
                    <a:pt x="210" y="204"/>
                  </a:lnTo>
                  <a:lnTo>
                    <a:pt x="216" y="210"/>
                  </a:lnTo>
                  <a:lnTo>
                    <a:pt x="216" y="222"/>
                  </a:lnTo>
                  <a:lnTo>
                    <a:pt x="222" y="228"/>
                  </a:lnTo>
                  <a:lnTo>
                    <a:pt x="234" y="234"/>
                  </a:lnTo>
                  <a:lnTo>
                    <a:pt x="240" y="240"/>
                  </a:lnTo>
                  <a:lnTo>
                    <a:pt x="204" y="414"/>
                  </a:lnTo>
                  <a:lnTo>
                    <a:pt x="0" y="486"/>
                  </a:lnTo>
                  <a:lnTo>
                    <a:pt x="84" y="672"/>
                  </a:lnTo>
                  <a:lnTo>
                    <a:pt x="114" y="660"/>
                  </a:lnTo>
                  <a:lnTo>
                    <a:pt x="198" y="636"/>
                  </a:lnTo>
                  <a:lnTo>
                    <a:pt x="228" y="624"/>
                  </a:lnTo>
                  <a:lnTo>
                    <a:pt x="246" y="618"/>
                  </a:lnTo>
                  <a:lnTo>
                    <a:pt x="252" y="606"/>
                  </a:lnTo>
                  <a:lnTo>
                    <a:pt x="252" y="594"/>
                  </a:lnTo>
                  <a:lnTo>
                    <a:pt x="258" y="582"/>
                  </a:lnTo>
                  <a:lnTo>
                    <a:pt x="258" y="564"/>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90" name="Norwegen" descr="© INSCALE GmbH, 05.05.2010&#10;http://www.presentationload.com/">
              <a:extLst>
                <a:ext uri="{FF2B5EF4-FFF2-40B4-BE49-F238E27FC236}">
                  <a16:creationId xmlns:a16="http://schemas.microsoft.com/office/drawing/2014/main" id="{4A7B8479-D1B2-496B-8D1E-A88F787872AC}"/>
                </a:ext>
              </a:extLst>
            </p:cNvPr>
            <p:cNvSpPr>
              <a:spLocks noEditPoints="1"/>
            </p:cNvSpPr>
            <p:nvPr/>
          </p:nvSpPr>
          <p:spPr bwMode="gray">
            <a:xfrm>
              <a:off x="4301842" y="1817489"/>
              <a:ext cx="540967" cy="594281"/>
            </a:xfrm>
            <a:custGeom>
              <a:avLst/>
              <a:gdLst>
                <a:gd name="T0" fmla="*/ 2147483647 w 1362"/>
                <a:gd name="T1" fmla="*/ 2147483647 h 1500"/>
                <a:gd name="T2" fmla="*/ 2147483647 w 1362"/>
                <a:gd name="T3" fmla="*/ 2147483647 h 1500"/>
                <a:gd name="T4" fmla="*/ 2147483647 w 1362"/>
                <a:gd name="T5" fmla="*/ 2147483647 h 1500"/>
                <a:gd name="T6" fmla="*/ 2147483647 w 1362"/>
                <a:gd name="T7" fmla="*/ 2147483647 h 1500"/>
                <a:gd name="T8" fmla="*/ 2147483647 w 1362"/>
                <a:gd name="T9" fmla="*/ 0 h 1500"/>
                <a:gd name="T10" fmla="*/ 2147483647 w 1362"/>
                <a:gd name="T11" fmla="*/ 2147483647 h 1500"/>
                <a:gd name="T12" fmla="*/ 2147483647 w 1362"/>
                <a:gd name="T13" fmla="*/ 2147483647 h 1500"/>
                <a:gd name="T14" fmla="*/ 2147483647 w 1362"/>
                <a:gd name="T15" fmla="*/ 2147483647 h 1500"/>
                <a:gd name="T16" fmla="*/ 2147483647 w 1362"/>
                <a:gd name="T17" fmla="*/ 2147483647 h 1500"/>
                <a:gd name="T18" fmla="*/ 2147483647 w 1362"/>
                <a:gd name="T19" fmla="*/ 2147483647 h 1500"/>
                <a:gd name="T20" fmla="*/ 2147483647 w 1362"/>
                <a:gd name="T21" fmla="*/ 2147483647 h 1500"/>
                <a:gd name="T22" fmla="*/ 2147483647 w 1362"/>
                <a:gd name="T23" fmla="*/ 2147483647 h 1500"/>
                <a:gd name="T24" fmla="*/ 2147483647 w 1362"/>
                <a:gd name="T25" fmla="*/ 2147483647 h 1500"/>
                <a:gd name="T26" fmla="*/ 2147483647 w 1362"/>
                <a:gd name="T27" fmla="*/ 2147483647 h 1500"/>
                <a:gd name="T28" fmla="*/ 2147483647 w 1362"/>
                <a:gd name="T29" fmla="*/ 2147483647 h 1500"/>
                <a:gd name="T30" fmla="*/ 2147483647 w 1362"/>
                <a:gd name="T31" fmla="*/ 2147483647 h 1500"/>
                <a:gd name="T32" fmla="*/ 2147483647 w 1362"/>
                <a:gd name="T33" fmla="*/ 2147483647 h 1500"/>
                <a:gd name="T34" fmla="*/ 2147483647 w 1362"/>
                <a:gd name="T35" fmla="*/ 2147483647 h 1500"/>
                <a:gd name="T36" fmla="*/ 2147483647 w 1362"/>
                <a:gd name="T37" fmla="*/ 2147483647 h 1500"/>
                <a:gd name="T38" fmla="*/ 2147483647 w 1362"/>
                <a:gd name="T39" fmla="*/ 2147483647 h 1500"/>
                <a:gd name="T40" fmla="*/ 2147483647 w 1362"/>
                <a:gd name="T41" fmla="*/ 2147483647 h 1500"/>
                <a:gd name="T42" fmla="*/ 2147483647 w 1362"/>
                <a:gd name="T43" fmla="*/ 2147483647 h 1500"/>
                <a:gd name="T44" fmla="*/ 2147483647 w 1362"/>
                <a:gd name="T45" fmla="*/ 2147483647 h 1500"/>
                <a:gd name="T46" fmla="*/ 2147483647 w 1362"/>
                <a:gd name="T47" fmla="*/ 2147483647 h 1500"/>
                <a:gd name="T48" fmla="*/ 2147483647 w 1362"/>
                <a:gd name="T49" fmla="*/ 2147483647 h 1500"/>
                <a:gd name="T50" fmla="*/ 2147483647 w 1362"/>
                <a:gd name="T51" fmla="*/ 2147483647 h 1500"/>
                <a:gd name="T52" fmla="*/ 2147483647 w 1362"/>
                <a:gd name="T53" fmla="*/ 2147483647 h 1500"/>
                <a:gd name="T54" fmla="*/ 2147483647 w 1362"/>
                <a:gd name="T55" fmla="*/ 2147483647 h 1500"/>
                <a:gd name="T56" fmla="*/ 2147483647 w 1362"/>
                <a:gd name="T57" fmla="*/ 2147483647 h 1500"/>
                <a:gd name="T58" fmla="*/ 2147483647 w 1362"/>
                <a:gd name="T59" fmla="*/ 2147483647 h 1500"/>
                <a:gd name="T60" fmla="*/ 2147483647 w 1362"/>
                <a:gd name="T61" fmla="*/ 2147483647 h 1500"/>
                <a:gd name="T62" fmla="*/ 2147483647 w 1362"/>
                <a:gd name="T63" fmla="*/ 2147483647 h 1500"/>
                <a:gd name="T64" fmla="*/ 2147483647 w 1362"/>
                <a:gd name="T65" fmla="*/ 2147483647 h 1500"/>
                <a:gd name="T66" fmla="*/ 2147483647 w 1362"/>
                <a:gd name="T67" fmla="*/ 2147483647 h 1500"/>
                <a:gd name="T68" fmla="*/ 2147483647 w 1362"/>
                <a:gd name="T69" fmla="*/ 2147483647 h 1500"/>
                <a:gd name="T70" fmla="*/ 2147483647 w 1362"/>
                <a:gd name="T71" fmla="*/ 2147483647 h 1500"/>
                <a:gd name="T72" fmla="*/ 2147483647 w 1362"/>
                <a:gd name="T73" fmla="*/ 2147483647 h 1500"/>
                <a:gd name="T74" fmla="*/ 2147483647 w 1362"/>
                <a:gd name="T75" fmla="*/ 2147483647 h 1500"/>
                <a:gd name="T76" fmla="*/ 2147483647 w 1362"/>
                <a:gd name="T77" fmla="*/ 2147483647 h 1500"/>
                <a:gd name="T78" fmla="*/ 2147483647 w 1362"/>
                <a:gd name="T79" fmla="*/ 2147483647 h 1500"/>
                <a:gd name="T80" fmla="*/ 2147483647 w 1362"/>
                <a:gd name="T81" fmla="*/ 2147483647 h 1500"/>
                <a:gd name="T82" fmla="*/ 2147483647 w 1362"/>
                <a:gd name="T83" fmla="*/ 2147483647 h 1500"/>
                <a:gd name="T84" fmla="*/ 2147483647 w 1362"/>
                <a:gd name="T85" fmla="*/ 2147483647 h 1500"/>
                <a:gd name="T86" fmla="*/ 2147483647 w 1362"/>
                <a:gd name="T87" fmla="*/ 2147483647 h 1500"/>
                <a:gd name="T88" fmla="*/ 2147483647 w 1362"/>
                <a:gd name="T89" fmla="*/ 2147483647 h 1500"/>
                <a:gd name="T90" fmla="*/ 2147483647 w 1362"/>
                <a:gd name="T91" fmla="*/ 2147483647 h 1500"/>
                <a:gd name="T92" fmla="*/ 2147483647 w 1362"/>
                <a:gd name="T93" fmla="*/ 2147483647 h 1500"/>
                <a:gd name="T94" fmla="*/ 2147483647 w 1362"/>
                <a:gd name="T95" fmla="*/ 2147483647 h 1500"/>
                <a:gd name="T96" fmla="*/ 2147483647 w 1362"/>
                <a:gd name="T97" fmla="*/ 2147483647 h 1500"/>
                <a:gd name="T98" fmla="*/ 2147483647 w 1362"/>
                <a:gd name="T99" fmla="*/ 2147483647 h 1500"/>
                <a:gd name="T100" fmla="*/ 2147483647 w 1362"/>
                <a:gd name="T101" fmla="*/ 2147483647 h 1500"/>
                <a:gd name="T102" fmla="*/ 2147483647 w 1362"/>
                <a:gd name="T103" fmla="*/ 2147483647 h 1500"/>
                <a:gd name="T104" fmla="*/ 2147483647 w 1362"/>
                <a:gd name="T105" fmla="*/ 2147483647 h 1500"/>
                <a:gd name="T106" fmla="*/ 2147483647 w 1362"/>
                <a:gd name="T107" fmla="*/ 2147483647 h 1500"/>
                <a:gd name="T108" fmla="*/ 2147483647 w 1362"/>
                <a:gd name="T109" fmla="*/ 2147483647 h 1500"/>
                <a:gd name="T110" fmla="*/ 2147483647 w 1362"/>
                <a:gd name="T111" fmla="*/ 2147483647 h 1500"/>
                <a:gd name="T112" fmla="*/ 2147483647 w 1362"/>
                <a:gd name="T113" fmla="*/ 2147483647 h 1500"/>
                <a:gd name="T114" fmla="*/ 2147483647 w 1362"/>
                <a:gd name="T115" fmla="*/ 2147483647 h 15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62"/>
                <a:gd name="T175" fmla="*/ 0 h 1500"/>
                <a:gd name="T176" fmla="*/ 1362 w 1362"/>
                <a:gd name="T177" fmla="*/ 1500 h 15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62" h="1500">
                  <a:moveTo>
                    <a:pt x="324" y="120"/>
                  </a:moveTo>
                  <a:lnTo>
                    <a:pt x="336" y="126"/>
                  </a:lnTo>
                  <a:lnTo>
                    <a:pt x="354" y="132"/>
                  </a:lnTo>
                  <a:lnTo>
                    <a:pt x="378" y="132"/>
                  </a:lnTo>
                  <a:lnTo>
                    <a:pt x="294" y="90"/>
                  </a:lnTo>
                  <a:lnTo>
                    <a:pt x="294" y="102"/>
                  </a:lnTo>
                  <a:lnTo>
                    <a:pt x="306" y="108"/>
                  </a:lnTo>
                  <a:lnTo>
                    <a:pt x="312" y="114"/>
                  </a:lnTo>
                  <a:lnTo>
                    <a:pt x="324" y="120"/>
                  </a:lnTo>
                  <a:close/>
                  <a:moveTo>
                    <a:pt x="684" y="48"/>
                  </a:moveTo>
                  <a:lnTo>
                    <a:pt x="732" y="48"/>
                  </a:lnTo>
                  <a:lnTo>
                    <a:pt x="738" y="54"/>
                  </a:lnTo>
                  <a:lnTo>
                    <a:pt x="750" y="54"/>
                  </a:lnTo>
                  <a:lnTo>
                    <a:pt x="774" y="66"/>
                  </a:lnTo>
                  <a:lnTo>
                    <a:pt x="786" y="66"/>
                  </a:lnTo>
                  <a:lnTo>
                    <a:pt x="798" y="60"/>
                  </a:lnTo>
                  <a:lnTo>
                    <a:pt x="804" y="60"/>
                  </a:lnTo>
                  <a:lnTo>
                    <a:pt x="816" y="54"/>
                  </a:lnTo>
                  <a:lnTo>
                    <a:pt x="828" y="54"/>
                  </a:lnTo>
                  <a:lnTo>
                    <a:pt x="840" y="60"/>
                  </a:lnTo>
                  <a:lnTo>
                    <a:pt x="876" y="72"/>
                  </a:lnTo>
                  <a:lnTo>
                    <a:pt x="888" y="78"/>
                  </a:lnTo>
                  <a:lnTo>
                    <a:pt x="894" y="84"/>
                  </a:lnTo>
                  <a:lnTo>
                    <a:pt x="900" y="84"/>
                  </a:lnTo>
                  <a:lnTo>
                    <a:pt x="924" y="60"/>
                  </a:lnTo>
                  <a:lnTo>
                    <a:pt x="984" y="66"/>
                  </a:lnTo>
                  <a:lnTo>
                    <a:pt x="984" y="42"/>
                  </a:lnTo>
                  <a:lnTo>
                    <a:pt x="1014" y="42"/>
                  </a:lnTo>
                  <a:lnTo>
                    <a:pt x="1026" y="36"/>
                  </a:lnTo>
                  <a:lnTo>
                    <a:pt x="1032" y="24"/>
                  </a:lnTo>
                  <a:lnTo>
                    <a:pt x="1038" y="18"/>
                  </a:lnTo>
                  <a:lnTo>
                    <a:pt x="1032" y="12"/>
                  </a:lnTo>
                  <a:lnTo>
                    <a:pt x="1002" y="12"/>
                  </a:lnTo>
                  <a:lnTo>
                    <a:pt x="990" y="18"/>
                  </a:lnTo>
                  <a:lnTo>
                    <a:pt x="984" y="18"/>
                  </a:lnTo>
                  <a:lnTo>
                    <a:pt x="972" y="6"/>
                  </a:lnTo>
                  <a:lnTo>
                    <a:pt x="960" y="0"/>
                  </a:lnTo>
                  <a:lnTo>
                    <a:pt x="918" y="0"/>
                  </a:lnTo>
                  <a:lnTo>
                    <a:pt x="900" y="6"/>
                  </a:lnTo>
                  <a:lnTo>
                    <a:pt x="882" y="18"/>
                  </a:lnTo>
                  <a:lnTo>
                    <a:pt x="870" y="18"/>
                  </a:lnTo>
                  <a:lnTo>
                    <a:pt x="864" y="12"/>
                  </a:lnTo>
                  <a:lnTo>
                    <a:pt x="864" y="6"/>
                  </a:lnTo>
                  <a:lnTo>
                    <a:pt x="858" y="6"/>
                  </a:lnTo>
                  <a:lnTo>
                    <a:pt x="852" y="0"/>
                  </a:lnTo>
                  <a:lnTo>
                    <a:pt x="822" y="0"/>
                  </a:lnTo>
                  <a:lnTo>
                    <a:pt x="804" y="18"/>
                  </a:lnTo>
                  <a:lnTo>
                    <a:pt x="738" y="0"/>
                  </a:lnTo>
                  <a:lnTo>
                    <a:pt x="726" y="0"/>
                  </a:lnTo>
                  <a:lnTo>
                    <a:pt x="708" y="6"/>
                  </a:lnTo>
                  <a:lnTo>
                    <a:pt x="690" y="6"/>
                  </a:lnTo>
                  <a:lnTo>
                    <a:pt x="672" y="12"/>
                  </a:lnTo>
                  <a:lnTo>
                    <a:pt x="660" y="12"/>
                  </a:lnTo>
                  <a:lnTo>
                    <a:pt x="660" y="6"/>
                  </a:lnTo>
                  <a:lnTo>
                    <a:pt x="666" y="0"/>
                  </a:lnTo>
                  <a:lnTo>
                    <a:pt x="630" y="12"/>
                  </a:lnTo>
                  <a:lnTo>
                    <a:pt x="648" y="36"/>
                  </a:lnTo>
                  <a:lnTo>
                    <a:pt x="684" y="48"/>
                  </a:lnTo>
                  <a:close/>
                  <a:moveTo>
                    <a:pt x="324" y="66"/>
                  </a:moveTo>
                  <a:lnTo>
                    <a:pt x="342" y="66"/>
                  </a:lnTo>
                  <a:lnTo>
                    <a:pt x="348" y="72"/>
                  </a:lnTo>
                  <a:lnTo>
                    <a:pt x="360" y="72"/>
                  </a:lnTo>
                  <a:lnTo>
                    <a:pt x="360" y="78"/>
                  </a:lnTo>
                  <a:lnTo>
                    <a:pt x="342" y="96"/>
                  </a:lnTo>
                  <a:lnTo>
                    <a:pt x="336" y="96"/>
                  </a:lnTo>
                  <a:lnTo>
                    <a:pt x="378" y="114"/>
                  </a:lnTo>
                  <a:lnTo>
                    <a:pt x="390" y="120"/>
                  </a:lnTo>
                  <a:lnTo>
                    <a:pt x="396" y="126"/>
                  </a:lnTo>
                  <a:lnTo>
                    <a:pt x="414" y="126"/>
                  </a:lnTo>
                  <a:lnTo>
                    <a:pt x="426" y="132"/>
                  </a:lnTo>
                  <a:lnTo>
                    <a:pt x="438" y="132"/>
                  </a:lnTo>
                  <a:lnTo>
                    <a:pt x="462" y="108"/>
                  </a:lnTo>
                  <a:lnTo>
                    <a:pt x="504" y="96"/>
                  </a:lnTo>
                  <a:lnTo>
                    <a:pt x="534" y="120"/>
                  </a:lnTo>
                  <a:lnTo>
                    <a:pt x="528" y="120"/>
                  </a:lnTo>
                  <a:lnTo>
                    <a:pt x="516" y="126"/>
                  </a:lnTo>
                  <a:lnTo>
                    <a:pt x="504" y="126"/>
                  </a:lnTo>
                  <a:lnTo>
                    <a:pt x="480" y="132"/>
                  </a:lnTo>
                  <a:lnTo>
                    <a:pt x="468" y="138"/>
                  </a:lnTo>
                  <a:lnTo>
                    <a:pt x="456" y="150"/>
                  </a:lnTo>
                  <a:lnTo>
                    <a:pt x="486" y="150"/>
                  </a:lnTo>
                  <a:lnTo>
                    <a:pt x="498" y="156"/>
                  </a:lnTo>
                  <a:lnTo>
                    <a:pt x="522" y="156"/>
                  </a:lnTo>
                  <a:lnTo>
                    <a:pt x="516" y="162"/>
                  </a:lnTo>
                  <a:lnTo>
                    <a:pt x="504" y="162"/>
                  </a:lnTo>
                  <a:lnTo>
                    <a:pt x="486" y="168"/>
                  </a:lnTo>
                  <a:lnTo>
                    <a:pt x="474" y="174"/>
                  </a:lnTo>
                  <a:lnTo>
                    <a:pt x="468" y="180"/>
                  </a:lnTo>
                  <a:lnTo>
                    <a:pt x="462" y="180"/>
                  </a:lnTo>
                  <a:lnTo>
                    <a:pt x="516" y="198"/>
                  </a:lnTo>
                  <a:lnTo>
                    <a:pt x="522" y="198"/>
                  </a:lnTo>
                  <a:lnTo>
                    <a:pt x="528" y="204"/>
                  </a:lnTo>
                  <a:lnTo>
                    <a:pt x="540" y="210"/>
                  </a:lnTo>
                  <a:lnTo>
                    <a:pt x="558" y="210"/>
                  </a:lnTo>
                  <a:lnTo>
                    <a:pt x="576" y="216"/>
                  </a:lnTo>
                  <a:lnTo>
                    <a:pt x="594" y="210"/>
                  </a:lnTo>
                  <a:lnTo>
                    <a:pt x="606" y="204"/>
                  </a:lnTo>
                  <a:lnTo>
                    <a:pt x="612" y="204"/>
                  </a:lnTo>
                  <a:lnTo>
                    <a:pt x="618" y="198"/>
                  </a:lnTo>
                  <a:lnTo>
                    <a:pt x="612" y="192"/>
                  </a:lnTo>
                  <a:lnTo>
                    <a:pt x="612" y="186"/>
                  </a:lnTo>
                  <a:lnTo>
                    <a:pt x="606" y="180"/>
                  </a:lnTo>
                  <a:lnTo>
                    <a:pt x="606" y="174"/>
                  </a:lnTo>
                  <a:lnTo>
                    <a:pt x="612" y="168"/>
                  </a:lnTo>
                  <a:lnTo>
                    <a:pt x="618" y="168"/>
                  </a:lnTo>
                  <a:lnTo>
                    <a:pt x="630" y="162"/>
                  </a:lnTo>
                  <a:lnTo>
                    <a:pt x="648" y="162"/>
                  </a:lnTo>
                  <a:lnTo>
                    <a:pt x="648" y="144"/>
                  </a:lnTo>
                  <a:lnTo>
                    <a:pt x="678" y="132"/>
                  </a:lnTo>
                  <a:lnTo>
                    <a:pt x="690" y="102"/>
                  </a:lnTo>
                  <a:lnTo>
                    <a:pt x="714" y="114"/>
                  </a:lnTo>
                  <a:lnTo>
                    <a:pt x="738" y="102"/>
                  </a:lnTo>
                  <a:lnTo>
                    <a:pt x="750" y="114"/>
                  </a:lnTo>
                  <a:lnTo>
                    <a:pt x="762" y="120"/>
                  </a:lnTo>
                  <a:lnTo>
                    <a:pt x="780" y="126"/>
                  </a:lnTo>
                  <a:lnTo>
                    <a:pt x="792" y="138"/>
                  </a:lnTo>
                  <a:lnTo>
                    <a:pt x="792" y="144"/>
                  </a:lnTo>
                  <a:lnTo>
                    <a:pt x="786" y="150"/>
                  </a:lnTo>
                  <a:lnTo>
                    <a:pt x="786" y="162"/>
                  </a:lnTo>
                  <a:lnTo>
                    <a:pt x="774" y="174"/>
                  </a:lnTo>
                  <a:lnTo>
                    <a:pt x="828" y="174"/>
                  </a:lnTo>
                  <a:lnTo>
                    <a:pt x="834" y="180"/>
                  </a:lnTo>
                  <a:lnTo>
                    <a:pt x="846" y="186"/>
                  </a:lnTo>
                  <a:lnTo>
                    <a:pt x="852" y="192"/>
                  </a:lnTo>
                  <a:lnTo>
                    <a:pt x="858" y="192"/>
                  </a:lnTo>
                  <a:lnTo>
                    <a:pt x="864" y="186"/>
                  </a:lnTo>
                  <a:lnTo>
                    <a:pt x="876" y="186"/>
                  </a:lnTo>
                  <a:lnTo>
                    <a:pt x="894" y="174"/>
                  </a:lnTo>
                  <a:lnTo>
                    <a:pt x="906" y="168"/>
                  </a:lnTo>
                  <a:lnTo>
                    <a:pt x="924" y="162"/>
                  </a:lnTo>
                  <a:lnTo>
                    <a:pt x="936" y="156"/>
                  </a:lnTo>
                  <a:lnTo>
                    <a:pt x="942" y="150"/>
                  </a:lnTo>
                  <a:lnTo>
                    <a:pt x="942" y="144"/>
                  </a:lnTo>
                  <a:lnTo>
                    <a:pt x="936" y="144"/>
                  </a:lnTo>
                  <a:lnTo>
                    <a:pt x="924" y="138"/>
                  </a:lnTo>
                  <a:lnTo>
                    <a:pt x="888" y="138"/>
                  </a:lnTo>
                  <a:lnTo>
                    <a:pt x="882" y="120"/>
                  </a:lnTo>
                  <a:lnTo>
                    <a:pt x="828" y="114"/>
                  </a:lnTo>
                  <a:lnTo>
                    <a:pt x="828" y="96"/>
                  </a:lnTo>
                  <a:lnTo>
                    <a:pt x="798" y="102"/>
                  </a:lnTo>
                  <a:lnTo>
                    <a:pt x="798" y="84"/>
                  </a:lnTo>
                  <a:lnTo>
                    <a:pt x="726" y="84"/>
                  </a:lnTo>
                  <a:lnTo>
                    <a:pt x="720" y="72"/>
                  </a:lnTo>
                  <a:lnTo>
                    <a:pt x="684" y="72"/>
                  </a:lnTo>
                  <a:lnTo>
                    <a:pt x="678" y="60"/>
                  </a:lnTo>
                  <a:lnTo>
                    <a:pt x="654" y="48"/>
                  </a:lnTo>
                  <a:lnTo>
                    <a:pt x="624" y="48"/>
                  </a:lnTo>
                  <a:lnTo>
                    <a:pt x="624" y="30"/>
                  </a:lnTo>
                  <a:lnTo>
                    <a:pt x="618" y="30"/>
                  </a:lnTo>
                  <a:lnTo>
                    <a:pt x="612" y="24"/>
                  </a:lnTo>
                  <a:lnTo>
                    <a:pt x="540" y="24"/>
                  </a:lnTo>
                  <a:lnTo>
                    <a:pt x="534" y="30"/>
                  </a:lnTo>
                  <a:lnTo>
                    <a:pt x="534" y="36"/>
                  </a:lnTo>
                  <a:lnTo>
                    <a:pt x="540" y="42"/>
                  </a:lnTo>
                  <a:lnTo>
                    <a:pt x="546" y="54"/>
                  </a:lnTo>
                  <a:lnTo>
                    <a:pt x="564" y="72"/>
                  </a:lnTo>
                  <a:lnTo>
                    <a:pt x="552" y="66"/>
                  </a:lnTo>
                  <a:lnTo>
                    <a:pt x="546" y="60"/>
                  </a:lnTo>
                  <a:lnTo>
                    <a:pt x="528" y="48"/>
                  </a:lnTo>
                  <a:lnTo>
                    <a:pt x="492" y="30"/>
                  </a:lnTo>
                  <a:lnTo>
                    <a:pt x="480" y="30"/>
                  </a:lnTo>
                  <a:lnTo>
                    <a:pt x="474" y="36"/>
                  </a:lnTo>
                  <a:lnTo>
                    <a:pt x="468" y="48"/>
                  </a:lnTo>
                  <a:lnTo>
                    <a:pt x="462" y="54"/>
                  </a:lnTo>
                  <a:lnTo>
                    <a:pt x="450" y="54"/>
                  </a:lnTo>
                  <a:lnTo>
                    <a:pt x="438" y="48"/>
                  </a:lnTo>
                  <a:lnTo>
                    <a:pt x="420" y="48"/>
                  </a:lnTo>
                  <a:lnTo>
                    <a:pt x="420" y="42"/>
                  </a:lnTo>
                  <a:lnTo>
                    <a:pt x="426" y="42"/>
                  </a:lnTo>
                  <a:lnTo>
                    <a:pt x="438" y="30"/>
                  </a:lnTo>
                  <a:lnTo>
                    <a:pt x="384" y="30"/>
                  </a:lnTo>
                  <a:lnTo>
                    <a:pt x="372" y="42"/>
                  </a:lnTo>
                  <a:lnTo>
                    <a:pt x="366" y="30"/>
                  </a:lnTo>
                  <a:lnTo>
                    <a:pt x="354" y="30"/>
                  </a:lnTo>
                  <a:lnTo>
                    <a:pt x="318" y="48"/>
                  </a:lnTo>
                  <a:lnTo>
                    <a:pt x="318" y="60"/>
                  </a:lnTo>
                  <a:lnTo>
                    <a:pt x="324" y="66"/>
                  </a:lnTo>
                  <a:close/>
                  <a:moveTo>
                    <a:pt x="642" y="708"/>
                  </a:moveTo>
                  <a:lnTo>
                    <a:pt x="666" y="696"/>
                  </a:lnTo>
                  <a:lnTo>
                    <a:pt x="666" y="690"/>
                  </a:lnTo>
                  <a:lnTo>
                    <a:pt x="678" y="690"/>
                  </a:lnTo>
                  <a:lnTo>
                    <a:pt x="678" y="678"/>
                  </a:lnTo>
                  <a:lnTo>
                    <a:pt x="672" y="672"/>
                  </a:lnTo>
                  <a:lnTo>
                    <a:pt x="630" y="690"/>
                  </a:lnTo>
                  <a:lnTo>
                    <a:pt x="642" y="708"/>
                  </a:lnTo>
                  <a:close/>
                  <a:moveTo>
                    <a:pt x="774" y="648"/>
                  </a:moveTo>
                  <a:lnTo>
                    <a:pt x="780" y="642"/>
                  </a:lnTo>
                  <a:lnTo>
                    <a:pt x="786" y="642"/>
                  </a:lnTo>
                  <a:lnTo>
                    <a:pt x="792" y="636"/>
                  </a:lnTo>
                  <a:lnTo>
                    <a:pt x="792" y="630"/>
                  </a:lnTo>
                  <a:lnTo>
                    <a:pt x="786" y="624"/>
                  </a:lnTo>
                  <a:lnTo>
                    <a:pt x="774" y="624"/>
                  </a:lnTo>
                  <a:lnTo>
                    <a:pt x="768" y="630"/>
                  </a:lnTo>
                  <a:lnTo>
                    <a:pt x="768" y="642"/>
                  </a:lnTo>
                  <a:lnTo>
                    <a:pt x="774" y="648"/>
                  </a:lnTo>
                  <a:close/>
                  <a:moveTo>
                    <a:pt x="594" y="696"/>
                  </a:moveTo>
                  <a:lnTo>
                    <a:pt x="576" y="696"/>
                  </a:lnTo>
                  <a:lnTo>
                    <a:pt x="552" y="708"/>
                  </a:lnTo>
                  <a:lnTo>
                    <a:pt x="546" y="714"/>
                  </a:lnTo>
                  <a:lnTo>
                    <a:pt x="570" y="720"/>
                  </a:lnTo>
                  <a:lnTo>
                    <a:pt x="576" y="714"/>
                  </a:lnTo>
                  <a:lnTo>
                    <a:pt x="588" y="714"/>
                  </a:lnTo>
                  <a:lnTo>
                    <a:pt x="600" y="702"/>
                  </a:lnTo>
                  <a:lnTo>
                    <a:pt x="594" y="696"/>
                  </a:lnTo>
                  <a:close/>
                  <a:moveTo>
                    <a:pt x="918" y="612"/>
                  </a:moveTo>
                  <a:lnTo>
                    <a:pt x="936" y="618"/>
                  </a:lnTo>
                  <a:lnTo>
                    <a:pt x="942" y="606"/>
                  </a:lnTo>
                  <a:lnTo>
                    <a:pt x="948" y="600"/>
                  </a:lnTo>
                  <a:lnTo>
                    <a:pt x="948" y="594"/>
                  </a:lnTo>
                  <a:lnTo>
                    <a:pt x="918" y="594"/>
                  </a:lnTo>
                  <a:lnTo>
                    <a:pt x="918" y="612"/>
                  </a:lnTo>
                  <a:close/>
                  <a:moveTo>
                    <a:pt x="486" y="756"/>
                  </a:moveTo>
                  <a:lnTo>
                    <a:pt x="474" y="756"/>
                  </a:lnTo>
                  <a:lnTo>
                    <a:pt x="438" y="774"/>
                  </a:lnTo>
                  <a:lnTo>
                    <a:pt x="432" y="780"/>
                  </a:lnTo>
                  <a:lnTo>
                    <a:pt x="432" y="786"/>
                  </a:lnTo>
                  <a:lnTo>
                    <a:pt x="444" y="786"/>
                  </a:lnTo>
                  <a:lnTo>
                    <a:pt x="456" y="780"/>
                  </a:lnTo>
                  <a:lnTo>
                    <a:pt x="462" y="774"/>
                  </a:lnTo>
                  <a:lnTo>
                    <a:pt x="474" y="768"/>
                  </a:lnTo>
                  <a:lnTo>
                    <a:pt x="510" y="768"/>
                  </a:lnTo>
                  <a:lnTo>
                    <a:pt x="510" y="762"/>
                  </a:lnTo>
                  <a:lnTo>
                    <a:pt x="504" y="762"/>
                  </a:lnTo>
                  <a:lnTo>
                    <a:pt x="504" y="756"/>
                  </a:lnTo>
                  <a:lnTo>
                    <a:pt x="486" y="756"/>
                  </a:lnTo>
                  <a:close/>
                  <a:moveTo>
                    <a:pt x="1356" y="660"/>
                  </a:moveTo>
                  <a:lnTo>
                    <a:pt x="1326" y="666"/>
                  </a:lnTo>
                  <a:lnTo>
                    <a:pt x="1290" y="654"/>
                  </a:lnTo>
                  <a:lnTo>
                    <a:pt x="1260" y="642"/>
                  </a:lnTo>
                  <a:lnTo>
                    <a:pt x="1302" y="642"/>
                  </a:lnTo>
                  <a:lnTo>
                    <a:pt x="1326" y="630"/>
                  </a:lnTo>
                  <a:lnTo>
                    <a:pt x="1344" y="630"/>
                  </a:lnTo>
                  <a:lnTo>
                    <a:pt x="1350" y="624"/>
                  </a:lnTo>
                  <a:lnTo>
                    <a:pt x="1356" y="624"/>
                  </a:lnTo>
                  <a:lnTo>
                    <a:pt x="1344" y="618"/>
                  </a:lnTo>
                  <a:lnTo>
                    <a:pt x="1338" y="612"/>
                  </a:lnTo>
                  <a:lnTo>
                    <a:pt x="1320" y="606"/>
                  </a:lnTo>
                  <a:lnTo>
                    <a:pt x="1308" y="600"/>
                  </a:lnTo>
                  <a:lnTo>
                    <a:pt x="1284" y="600"/>
                  </a:lnTo>
                  <a:lnTo>
                    <a:pt x="1260" y="588"/>
                  </a:lnTo>
                  <a:lnTo>
                    <a:pt x="1254" y="588"/>
                  </a:lnTo>
                  <a:lnTo>
                    <a:pt x="1242" y="582"/>
                  </a:lnTo>
                  <a:lnTo>
                    <a:pt x="1242" y="588"/>
                  </a:lnTo>
                  <a:lnTo>
                    <a:pt x="1236" y="594"/>
                  </a:lnTo>
                  <a:lnTo>
                    <a:pt x="1236" y="600"/>
                  </a:lnTo>
                  <a:lnTo>
                    <a:pt x="1218" y="618"/>
                  </a:lnTo>
                  <a:lnTo>
                    <a:pt x="1206" y="618"/>
                  </a:lnTo>
                  <a:lnTo>
                    <a:pt x="1200" y="612"/>
                  </a:lnTo>
                  <a:lnTo>
                    <a:pt x="1224" y="588"/>
                  </a:lnTo>
                  <a:lnTo>
                    <a:pt x="1158" y="564"/>
                  </a:lnTo>
                  <a:lnTo>
                    <a:pt x="1158" y="576"/>
                  </a:lnTo>
                  <a:lnTo>
                    <a:pt x="1152" y="594"/>
                  </a:lnTo>
                  <a:lnTo>
                    <a:pt x="1134" y="630"/>
                  </a:lnTo>
                  <a:lnTo>
                    <a:pt x="1128" y="630"/>
                  </a:lnTo>
                  <a:lnTo>
                    <a:pt x="1122" y="624"/>
                  </a:lnTo>
                  <a:lnTo>
                    <a:pt x="1116" y="612"/>
                  </a:lnTo>
                  <a:lnTo>
                    <a:pt x="1116" y="594"/>
                  </a:lnTo>
                  <a:lnTo>
                    <a:pt x="1122" y="582"/>
                  </a:lnTo>
                  <a:lnTo>
                    <a:pt x="1116" y="594"/>
                  </a:lnTo>
                  <a:lnTo>
                    <a:pt x="1104" y="600"/>
                  </a:lnTo>
                  <a:lnTo>
                    <a:pt x="1080" y="624"/>
                  </a:lnTo>
                  <a:lnTo>
                    <a:pt x="1056" y="636"/>
                  </a:lnTo>
                  <a:lnTo>
                    <a:pt x="1050" y="636"/>
                  </a:lnTo>
                  <a:lnTo>
                    <a:pt x="1050" y="630"/>
                  </a:lnTo>
                  <a:lnTo>
                    <a:pt x="1056" y="618"/>
                  </a:lnTo>
                  <a:lnTo>
                    <a:pt x="1086" y="588"/>
                  </a:lnTo>
                  <a:lnTo>
                    <a:pt x="1092" y="576"/>
                  </a:lnTo>
                  <a:lnTo>
                    <a:pt x="1104" y="570"/>
                  </a:lnTo>
                  <a:lnTo>
                    <a:pt x="1068" y="570"/>
                  </a:lnTo>
                  <a:lnTo>
                    <a:pt x="1050" y="582"/>
                  </a:lnTo>
                  <a:lnTo>
                    <a:pt x="1026" y="582"/>
                  </a:lnTo>
                  <a:lnTo>
                    <a:pt x="984" y="606"/>
                  </a:lnTo>
                  <a:lnTo>
                    <a:pt x="960" y="606"/>
                  </a:lnTo>
                  <a:lnTo>
                    <a:pt x="954" y="636"/>
                  </a:lnTo>
                  <a:lnTo>
                    <a:pt x="918" y="624"/>
                  </a:lnTo>
                  <a:lnTo>
                    <a:pt x="882" y="630"/>
                  </a:lnTo>
                  <a:lnTo>
                    <a:pt x="894" y="660"/>
                  </a:lnTo>
                  <a:lnTo>
                    <a:pt x="846" y="648"/>
                  </a:lnTo>
                  <a:lnTo>
                    <a:pt x="828" y="654"/>
                  </a:lnTo>
                  <a:lnTo>
                    <a:pt x="834" y="678"/>
                  </a:lnTo>
                  <a:lnTo>
                    <a:pt x="792" y="690"/>
                  </a:lnTo>
                  <a:lnTo>
                    <a:pt x="792" y="654"/>
                  </a:lnTo>
                  <a:lnTo>
                    <a:pt x="762" y="654"/>
                  </a:lnTo>
                  <a:lnTo>
                    <a:pt x="774" y="678"/>
                  </a:lnTo>
                  <a:lnTo>
                    <a:pt x="750" y="660"/>
                  </a:lnTo>
                  <a:lnTo>
                    <a:pt x="750" y="690"/>
                  </a:lnTo>
                  <a:lnTo>
                    <a:pt x="726" y="690"/>
                  </a:lnTo>
                  <a:lnTo>
                    <a:pt x="726" y="660"/>
                  </a:lnTo>
                  <a:lnTo>
                    <a:pt x="738" y="654"/>
                  </a:lnTo>
                  <a:lnTo>
                    <a:pt x="744" y="648"/>
                  </a:lnTo>
                  <a:lnTo>
                    <a:pt x="708" y="642"/>
                  </a:lnTo>
                  <a:lnTo>
                    <a:pt x="708" y="684"/>
                  </a:lnTo>
                  <a:lnTo>
                    <a:pt x="678" y="696"/>
                  </a:lnTo>
                  <a:lnTo>
                    <a:pt x="696" y="708"/>
                  </a:lnTo>
                  <a:lnTo>
                    <a:pt x="660" y="714"/>
                  </a:lnTo>
                  <a:lnTo>
                    <a:pt x="672" y="726"/>
                  </a:lnTo>
                  <a:lnTo>
                    <a:pt x="630" y="726"/>
                  </a:lnTo>
                  <a:lnTo>
                    <a:pt x="630" y="738"/>
                  </a:lnTo>
                  <a:lnTo>
                    <a:pt x="660" y="750"/>
                  </a:lnTo>
                  <a:lnTo>
                    <a:pt x="654" y="762"/>
                  </a:lnTo>
                  <a:lnTo>
                    <a:pt x="618" y="744"/>
                  </a:lnTo>
                  <a:lnTo>
                    <a:pt x="600" y="750"/>
                  </a:lnTo>
                  <a:lnTo>
                    <a:pt x="624" y="762"/>
                  </a:lnTo>
                  <a:lnTo>
                    <a:pt x="606" y="780"/>
                  </a:lnTo>
                  <a:lnTo>
                    <a:pt x="594" y="762"/>
                  </a:lnTo>
                  <a:lnTo>
                    <a:pt x="576" y="768"/>
                  </a:lnTo>
                  <a:lnTo>
                    <a:pt x="576" y="780"/>
                  </a:lnTo>
                  <a:lnTo>
                    <a:pt x="546" y="780"/>
                  </a:lnTo>
                  <a:lnTo>
                    <a:pt x="540" y="792"/>
                  </a:lnTo>
                  <a:lnTo>
                    <a:pt x="564" y="804"/>
                  </a:lnTo>
                  <a:lnTo>
                    <a:pt x="564" y="822"/>
                  </a:lnTo>
                  <a:lnTo>
                    <a:pt x="528" y="810"/>
                  </a:lnTo>
                  <a:lnTo>
                    <a:pt x="522" y="822"/>
                  </a:lnTo>
                  <a:lnTo>
                    <a:pt x="552" y="834"/>
                  </a:lnTo>
                  <a:lnTo>
                    <a:pt x="504" y="834"/>
                  </a:lnTo>
                  <a:lnTo>
                    <a:pt x="504" y="852"/>
                  </a:lnTo>
                  <a:lnTo>
                    <a:pt x="492" y="846"/>
                  </a:lnTo>
                  <a:lnTo>
                    <a:pt x="486" y="846"/>
                  </a:lnTo>
                  <a:lnTo>
                    <a:pt x="474" y="852"/>
                  </a:lnTo>
                  <a:lnTo>
                    <a:pt x="468" y="858"/>
                  </a:lnTo>
                  <a:lnTo>
                    <a:pt x="456" y="858"/>
                  </a:lnTo>
                  <a:lnTo>
                    <a:pt x="456" y="870"/>
                  </a:lnTo>
                  <a:lnTo>
                    <a:pt x="462" y="876"/>
                  </a:lnTo>
                  <a:lnTo>
                    <a:pt x="456" y="876"/>
                  </a:lnTo>
                  <a:lnTo>
                    <a:pt x="450" y="882"/>
                  </a:lnTo>
                  <a:lnTo>
                    <a:pt x="444" y="882"/>
                  </a:lnTo>
                  <a:lnTo>
                    <a:pt x="444" y="900"/>
                  </a:lnTo>
                  <a:lnTo>
                    <a:pt x="480" y="900"/>
                  </a:lnTo>
                  <a:lnTo>
                    <a:pt x="468" y="912"/>
                  </a:lnTo>
                  <a:lnTo>
                    <a:pt x="432" y="906"/>
                  </a:lnTo>
                  <a:lnTo>
                    <a:pt x="420" y="912"/>
                  </a:lnTo>
                  <a:lnTo>
                    <a:pt x="414" y="918"/>
                  </a:lnTo>
                  <a:lnTo>
                    <a:pt x="414" y="930"/>
                  </a:lnTo>
                  <a:lnTo>
                    <a:pt x="420" y="936"/>
                  </a:lnTo>
                  <a:lnTo>
                    <a:pt x="420" y="948"/>
                  </a:lnTo>
                  <a:lnTo>
                    <a:pt x="408" y="954"/>
                  </a:lnTo>
                  <a:lnTo>
                    <a:pt x="390" y="954"/>
                  </a:lnTo>
                  <a:lnTo>
                    <a:pt x="390" y="972"/>
                  </a:lnTo>
                  <a:lnTo>
                    <a:pt x="408" y="990"/>
                  </a:lnTo>
                  <a:lnTo>
                    <a:pt x="408" y="996"/>
                  </a:lnTo>
                  <a:lnTo>
                    <a:pt x="402" y="1002"/>
                  </a:lnTo>
                  <a:lnTo>
                    <a:pt x="366" y="1002"/>
                  </a:lnTo>
                  <a:lnTo>
                    <a:pt x="360" y="1008"/>
                  </a:lnTo>
                  <a:lnTo>
                    <a:pt x="360" y="1026"/>
                  </a:lnTo>
                  <a:lnTo>
                    <a:pt x="354" y="1032"/>
                  </a:lnTo>
                  <a:lnTo>
                    <a:pt x="342" y="1032"/>
                  </a:lnTo>
                  <a:lnTo>
                    <a:pt x="336" y="1026"/>
                  </a:lnTo>
                  <a:lnTo>
                    <a:pt x="318" y="1026"/>
                  </a:lnTo>
                  <a:lnTo>
                    <a:pt x="294" y="1050"/>
                  </a:lnTo>
                  <a:lnTo>
                    <a:pt x="282" y="1050"/>
                  </a:lnTo>
                  <a:lnTo>
                    <a:pt x="270" y="1062"/>
                  </a:lnTo>
                  <a:lnTo>
                    <a:pt x="270" y="1068"/>
                  </a:lnTo>
                  <a:lnTo>
                    <a:pt x="276" y="1074"/>
                  </a:lnTo>
                  <a:lnTo>
                    <a:pt x="276" y="1080"/>
                  </a:lnTo>
                  <a:lnTo>
                    <a:pt x="264" y="1092"/>
                  </a:lnTo>
                  <a:lnTo>
                    <a:pt x="252" y="1092"/>
                  </a:lnTo>
                  <a:lnTo>
                    <a:pt x="246" y="1086"/>
                  </a:lnTo>
                  <a:lnTo>
                    <a:pt x="234" y="1080"/>
                  </a:lnTo>
                  <a:lnTo>
                    <a:pt x="234" y="1074"/>
                  </a:lnTo>
                  <a:lnTo>
                    <a:pt x="228" y="1074"/>
                  </a:lnTo>
                  <a:lnTo>
                    <a:pt x="204" y="1086"/>
                  </a:lnTo>
                  <a:lnTo>
                    <a:pt x="198" y="1092"/>
                  </a:lnTo>
                  <a:lnTo>
                    <a:pt x="180" y="1092"/>
                  </a:lnTo>
                  <a:lnTo>
                    <a:pt x="180" y="1110"/>
                  </a:lnTo>
                  <a:lnTo>
                    <a:pt x="186" y="1116"/>
                  </a:lnTo>
                  <a:lnTo>
                    <a:pt x="192" y="1116"/>
                  </a:lnTo>
                  <a:lnTo>
                    <a:pt x="192" y="1128"/>
                  </a:lnTo>
                  <a:lnTo>
                    <a:pt x="186" y="1128"/>
                  </a:lnTo>
                  <a:lnTo>
                    <a:pt x="174" y="1116"/>
                  </a:lnTo>
                  <a:lnTo>
                    <a:pt x="162" y="1116"/>
                  </a:lnTo>
                  <a:lnTo>
                    <a:pt x="156" y="1122"/>
                  </a:lnTo>
                  <a:lnTo>
                    <a:pt x="156" y="1134"/>
                  </a:lnTo>
                  <a:lnTo>
                    <a:pt x="168" y="1134"/>
                  </a:lnTo>
                  <a:lnTo>
                    <a:pt x="174" y="1140"/>
                  </a:lnTo>
                  <a:lnTo>
                    <a:pt x="180" y="1140"/>
                  </a:lnTo>
                  <a:lnTo>
                    <a:pt x="180" y="1152"/>
                  </a:lnTo>
                  <a:lnTo>
                    <a:pt x="138" y="1152"/>
                  </a:lnTo>
                  <a:lnTo>
                    <a:pt x="138" y="1146"/>
                  </a:lnTo>
                  <a:lnTo>
                    <a:pt x="132" y="1146"/>
                  </a:lnTo>
                  <a:lnTo>
                    <a:pt x="126" y="1158"/>
                  </a:lnTo>
                  <a:lnTo>
                    <a:pt x="126" y="1170"/>
                  </a:lnTo>
                  <a:lnTo>
                    <a:pt x="120" y="1164"/>
                  </a:lnTo>
                  <a:lnTo>
                    <a:pt x="102" y="1164"/>
                  </a:lnTo>
                  <a:lnTo>
                    <a:pt x="96" y="1158"/>
                  </a:lnTo>
                  <a:lnTo>
                    <a:pt x="90" y="1158"/>
                  </a:lnTo>
                  <a:lnTo>
                    <a:pt x="90" y="1164"/>
                  </a:lnTo>
                  <a:lnTo>
                    <a:pt x="96" y="1170"/>
                  </a:lnTo>
                  <a:lnTo>
                    <a:pt x="120" y="1182"/>
                  </a:lnTo>
                  <a:lnTo>
                    <a:pt x="132" y="1182"/>
                  </a:lnTo>
                  <a:lnTo>
                    <a:pt x="108" y="1200"/>
                  </a:lnTo>
                  <a:lnTo>
                    <a:pt x="108" y="1188"/>
                  </a:lnTo>
                  <a:lnTo>
                    <a:pt x="90" y="1188"/>
                  </a:lnTo>
                  <a:lnTo>
                    <a:pt x="84" y="1194"/>
                  </a:lnTo>
                  <a:lnTo>
                    <a:pt x="60" y="1182"/>
                  </a:lnTo>
                  <a:lnTo>
                    <a:pt x="54" y="1194"/>
                  </a:lnTo>
                  <a:lnTo>
                    <a:pt x="66" y="1200"/>
                  </a:lnTo>
                  <a:lnTo>
                    <a:pt x="30" y="1194"/>
                  </a:lnTo>
                  <a:lnTo>
                    <a:pt x="30" y="1212"/>
                  </a:lnTo>
                  <a:lnTo>
                    <a:pt x="78" y="1212"/>
                  </a:lnTo>
                  <a:lnTo>
                    <a:pt x="54" y="1218"/>
                  </a:lnTo>
                  <a:lnTo>
                    <a:pt x="18" y="1212"/>
                  </a:lnTo>
                  <a:lnTo>
                    <a:pt x="6" y="1224"/>
                  </a:lnTo>
                  <a:lnTo>
                    <a:pt x="6" y="1230"/>
                  </a:lnTo>
                  <a:lnTo>
                    <a:pt x="18" y="1242"/>
                  </a:lnTo>
                  <a:lnTo>
                    <a:pt x="36" y="1242"/>
                  </a:lnTo>
                  <a:lnTo>
                    <a:pt x="18" y="1248"/>
                  </a:lnTo>
                  <a:lnTo>
                    <a:pt x="12" y="1254"/>
                  </a:lnTo>
                  <a:lnTo>
                    <a:pt x="12" y="1260"/>
                  </a:lnTo>
                  <a:lnTo>
                    <a:pt x="66" y="1260"/>
                  </a:lnTo>
                  <a:lnTo>
                    <a:pt x="78" y="1272"/>
                  </a:lnTo>
                  <a:lnTo>
                    <a:pt x="96" y="1260"/>
                  </a:lnTo>
                  <a:lnTo>
                    <a:pt x="108" y="1272"/>
                  </a:lnTo>
                  <a:lnTo>
                    <a:pt x="138" y="1260"/>
                  </a:lnTo>
                  <a:lnTo>
                    <a:pt x="132" y="1266"/>
                  </a:lnTo>
                  <a:lnTo>
                    <a:pt x="126" y="1278"/>
                  </a:lnTo>
                  <a:lnTo>
                    <a:pt x="60" y="1278"/>
                  </a:lnTo>
                  <a:lnTo>
                    <a:pt x="54" y="1272"/>
                  </a:lnTo>
                  <a:lnTo>
                    <a:pt x="24" y="1272"/>
                  </a:lnTo>
                  <a:lnTo>
                    <a:pt x="12" y="1278"/>
                  </a:lnTo>
                  <a:lnTo>
                    <a:pt x="0" y="1278"/>
                  </a:lnTo>
                  <a:lnTo>
                    <a:pt x="6" y="1284"/>
                  </a:lnTo>
                  <a:lnTo>
                    <a:pt x="6" y="1296"/>
                  </a:lnTo>
                  <a:lnTo>
                    <a:pt x="12" y="1296"/>
                  </a:lnTo>
                  <a:lnTo>
                    <a:pt x="18" y="1302"/>
                  </a:lnTo>
                  <a:lnTo>
                    <a:pt x="30" y="1302"/>
                  </a:lnTo>
                  <a:lnTo>
                    <a:pt x="24" y="1308"/>
                  </a:lnTo>
                  <a:lnTo>
                    <a:pt x="18" y="1320"/>
                  </a:lnTo>
                  <a:lnTo>
                    <a:pt x="36" y="1338"/>
                  </a:lnTo>
                  <a:lnTo>
                    <a:pt x="48" y="1338"/>
                  </a:lnTo>
                  <a:lnTo>
                    <a:pt x="72" y="1320"/>
                  </a:lnTo>
                  <a:lnTo>
                    <a:pt x="102" y="1314"/>
                  </a:lnTo>
                  <a:lnTo>
                    <a:pt x="90" y="1338"/>
                  </a:lnTo>
                  <a:lnTo>
                    <a:pt x="78" y="1332"/>
                  </a:lnTo>
                  <a:lnTo>
                    <a:pt x="66" y="1350"/>
                  </a:lnTo>
                  <a:lnTo>
                    <a:pt x="30" y="1350"/>
                  </a:lnTo>
                  <a:lnTo>
                    <a:pt x="48" y="1368"/>
                  </a:lnTo>
                  <a:lnTo>
                    <a:pt x="24" y="1380"/>
                  </a:lnTo>
                  <a:lnTo>
                    <a:pt x="6" y="1380"/>
                  </a:lnTo>
                  <a:lnTo>
                    <a:pt x="6" y="1398"/>
                  </a:lnTo>
                  <a:lnTo>
                    <a:pt x="66" y="1398"/>
                  </a:lnTo>
                  <a:lnTo>
                    <a:pt x="54" y="1422"/>
                  </a:lnTo>
                  <a:lnTo>
                    <a:pt x="66" y="1422"/>
                  </a:lnTo>
                  <a:lnTo>
                    <a:pt x="54" y="1440"/>
                  </a:lnTo>
                  <a:lnTo>
                    <a:pt x="42" y="1434"/>
                  </a:lnTo>
                  <a:lnTo>
                    <a:pt x="36" y="1434"/>
                  </a:lnTo>
                  <a:lnTo>
                    <a:pt x="30" y="1428"/>
                  </a:lnTo>
                  <a:lnTo>
                    <a:pt x="18" y="1428"/>
                  </a:lnTo>
                  <a:lnTo>
                    <a:pt x="18" y="1440"/>
                  </a:lnTo>
                  <a:lnTo>
                    <a:pt x="24" y="1452"/>
                  </a:lnTo>
                  <a:lnTo>
                    <a:pt x="36" y="1464"/>
                  </a:lnTo>
                  <a:lnTo>
                    <a:pt x="84" y="1482"/>
                  </a:lnTo>
                  <a:lnTo>
                    <a:pt x="78" y="1488"/>
                  </a:lnTo>
                  <a:lnTo>
                    <a:pt x="84" y="1494"/>
                  </a:lnTo>
                  <a:lnTo>
                    <a:pt x="126" y="1494"/>
                  </a:lnTo>
                  <a:lnTo>
                    <a:pt x="132" y="1500"/>
                  </a:lnTo>
                  <a:lnTo>
                    <a:pt x="144" y="1500"/>
                  </a:lnTo>
                  <a:lnTo>
                    <a:pt x="192" y="1476"/>
                  </a:lnTo>
                  <a:lnTo>
                    <a:pt x="204" y="1464"/>
                  </a:lnTo>
                  <a:lnTo>
                    <a:pt x="216" y="1458"/>
                  </a:lnTo>
                  <a:lnTo>
                    <a:pt x="222" y="1452"/>
                  </a:lnTo>
                  <a:lnTo>
                    <a:pt x="258" y="1422"/>
                  </a:lnTo>
                  <a:lnTo>
                    <a:pt x="282" y="1422"/>
                  </a:lnTo>
                  <a:lnTo>
                    <a:pt x="294" y="1416"/>
                  </a:lnTo>
                  <a:lnTo>
                    <a:pt x="300" y="1410"/>
                  </a:lnTo>
                  <a:lnTo>
                    <a:pt x="300" y="1386"/>
                  </a:lnTo>
                  <a:lnTo>
                    <a:pt x="294" y="1380"/>
                  </a:lnTo>
                  <a:lnTo>
                    <a:pt x="294" y="1374"/>
                  </a:lnTo>
                  <a:lnTo>
                    <a:pt x="312" y="1368"/>
                  </a:lnTo>
                  <a:lnTo>
                    <a:pt x="306" y="1374"/>
                  </a:lnTo>
                  <a:lnTo>
                    <a:pt x="306" y="1380"/>
                  </a:lnTo>
                  <a:lnTo>
                    <a:pt x="300" y="1386"/>
                  </a:lnTo>
                  <a:lnTo>
                    <a:pt x="300" y="1392"/>
                  </a:lnTo>
                  <a:lnTo>
                    <a:pt x="312" y="1404"/>
                  </a:lnTo>
                  <a:lnTo>
                    <a:pt x="330" y="1410"/>
                  </a:lnTo>
                  <a:lnTo>
                    <a:pt x="342" y="1410"/>
                  </a:lnTo>
                  <a:lnTo>
                    <a:pt x="348" y="1416"/>
                  </a:lnTo>
                  <a:lnTo>
                    <a:pt x="354" y="1416"/>
                  </a:lnTo>
                  <a:lnTo>
                    <a:pt x="372" y="1434"/>
                  </a:lnTo>
                  <a:lnTo>
                    <a:pt x="378" y="1422"/>
                  </a:lnTo>
                  <a:lnTo>
                    <a:pt x="384" y="1416"/>
                  </a:lnTo>
                  <a:lnTo>
                    <a:pt x="384" y="1398"/>
                  </a:lnTo>
                  <a:lnTo>
                    <a:pt x="372" y="1386"/>
                  </a:lnTo>
                  <a:lnTo>
                    <a:pt x="372" y="1380"/>
                  </a:lnTo>
                  <a:lnTo>
                    <a:pt x="378" y="1374"/>
                  </a:lnTo>
                  <a:lnTo>
                    <a:pt x="384" y="1374"/>
                  </a:lnTo>
                  <a:lnTo>
                    <a:pt x="384" y="1368"/>
                  </a:lnTo>
                  <a:lnTo>
                    <a:pt x="378" y="1356"/>
                  </a:lnTo>
                  <a:lnTo>
                    <a:pt x="414" y="1356"/>
                  </a:lnTo>
                  <a:lnTo>
                    <a:pt x="420" y="1350"/>
                  </a:lnTo>
                  <a:lnTo>
                    <a:pt x="420" y="1326"/>
                  </a:lnTo>
                  <a:lnTo>
                    <a:pt x="426" y="1326"/>
                  </a:lnTo>
                  <a:lnTo>
                    <a:pt x="420" y="1314"/>
                  </a:lnTo>
                  <a:lnTo>
                    <a:pt x="420" y="1308"/>
                  </a:lnTo>
                  <a:lnTo>
                    <a:pt x="414" y="1302"/>
                  </a:lnTo>
                  <a:lnTo>
                    <a:pt x="414" y="1296"/>
                  </a:lnTo>
                  <a:lnTo>
                    <a:pt x="408" y="1284"/>
                  </a:lnTo>
                  <a:lnTo>
                    <a:pt x="402" y="1278"/>
                  </a:lnTo>
                  <a:lnTo>
                    <a:pt x="426" y="1272"/>
                  </a:lnTo>
                  <a:lnTo>
                    <a:pt x="438" y="1260"/>
                  </a:lnTo>
                  <a:lnTo>
                    <a:pt x="438" y="1248"/>
                  </a:lnTo>
                  <a:lnTo>
                    <a:pt x="420" y="1230"/>
                  </a:lnTo>
                  <a:lnTo>
                    <a:pt x="414" y="1230"/>
                  </a:lnTo>
                  <a:lnTo>
                    <a:pt x="402" y="1218"/>
                  </a:lnTo>
                  <a:lnTo>
                    <a:pt x="402" y="1200"/>
                  </a:lnTo>
                  <a:lnTo>
                    <a:pt x="408" y="1188"/>
                  </a:lnTo>
                  <a:lnTo>
                    <a:pt x="408" y="1176"/>
                  </a:lnTo>
                  <a:lnTo>
                    <a:pt x="384" y="1152"/>
                  </a:lnTo>
                  <a:lnTo>
                    <a:pt x="384" y="1140"/>
                  </a:lnTo>
                  <a:lnTo>
                    <a:pt x="390" y="1134"/>
                  </a:lnTo>
                  <a:lnTo>
                    <a:pt x="396" y="1134"/>
                  </a:lnTo>
                  <a:lnTo>
                    <a:pt x="402" y="1128"/>
                  </a:lnTo>
                  <a:lnTo>
                    <a:pt x="402" y="1122"/>
                  </a:lnTo>
                  <a:lnTo>
                    <a:pt x="396" y="1116"/>
                  </a:lnTo>
                  <a:lnTo>
                    <a:pt x="390" y="1116"/>
                  </a:lnTo>
                  <a:lnTo>
                    <a:pt x="384" y="1110"/>
                  </a:lnTo>
                  <a:lnTo>
                    <a:pt x="426" y="1068"/>
                  </a:lnTo>
                  <a:lnTo>
                    <a:pt x="438" y="1062"/>
                  </a:lnTo>
                  <a:lnTo>
                    <a:pt x="444" y="1056"/>
                  </a:lnTo>
                  <a:lnTo>
                    <a:pt x="456" y="1050"/>
                  </a:lnTo>
                  <a:lnTo>
                    <a:pt x="498" y="1050"/>
                  </a:lnTo>
                  <a:lnTo>
                    <a:pt x="504" y="1044"/>
                  </a:lnTo>
                  <a:lnTo>
                    <a:pt x="504" y="1038"/>
                  </a:lnTo>
                  <a:lnTo>
                    <a:pt x="486" y="1020"/>
                  </a:lnTo>
                  <a:lnTo>
                    <a:pt x="474" y="1014"/>
                  </a:lnTo>
                  <a:lnTo>
                    <a:pt x="486" y="1008"/>
                  </a:lnTo>
                  <a:lnTo>
                    <a:pt x="492" y="1008"/>
                  </a:lnTo>
                  <a:lnTo>
                    <a:pt x="522" y="978"/>
                  </a:lnTo>
                  <a:lnTo>
                    <a:pt x="528" y="936"/>
                  </a:lnTo>
                  <a:lnTo>
                    <a:pt x="528" y="900"/>
                  </a:lnTo>
                  <a:lnTo>
                    <a:pt x="546" y="912"/>
                  </a:lnTo>
                  <a:lnTo>
                    <a:pt x="558" y="906"/>
                  </a:lnTo>
                  <a:lnTo>
                    <a:pt x="564" y="906"/>
                  </a:lnTo>
                  <a:lnTo>
                    <a:pt x="570" y="900"/>
                  </a:lnTo>
                  <a:lnTo>
                    <a:pt x="576" y="900"/>
                  </a:lnTo>
                  <a:lnTo>
                    <a:pt x="576" y="894"/>
                  </a:lnTo>
                  <a:lnTo>
                    <a:pt x="570" y="888"/>
                  </a:lnTo>
                  <a:lnTo>
                    <a:pt x="570" y="882"/>
                  </a:lnTo>
                  <a:lnTo>
                    <a:pt x="564" y="876"/>
                  </a:lnTo>
                  <a:lnTo>
                    <a:pt x="582" y="876"/>
                  </a:lnTo>
                  <a:lnTo>
                    <a:pt x="588" y="870"/>
                  </a:lnTo>
                  <a:lnTo>
                    <a:pt x="588" y="864"/>
                  </a:lnTo>
                  <a:lnTo>
                    <a:pt x="594" y="858"/>
                  </a:lnTo>
                  <a:lnTo>
                    <a:pt x="606" y="852"/>
                  </a:lnTo>
                  <a:lnTo>
                    <a:pt x="612" y="852"/>
                  </a:lnTo>
                  <a:lnTo>
                    <a:pt x="618" y="834"/>
                  </a:lnTo>
                  <a:lnTo>
                    <a:pt x="612" y="828"/>
                  </a:lnTo>
                  <a:lnTo>
                    <a:pt x="600" y="822"/>
                  </a:lnTo>
                  <a:lnTo>
                    <a:pt x="600" y="810"/>
                  </a:lnTo>
                  <a:lnTo>
                    <a:pt x="606" y="810"/>
                  </a:lnTo>
                  <a:lnTo>
                    <a:pt x="618" y="804"/>
                  </a:lnTo>
                  <a:lnTo>
                    <a:pt x="636" y="786"/>
                  </a:lnTo>
                  <a:lnTo>
                    <a:pt x="678" y="780"/>
                  </a:lnTo>
                  <a:lnTo>
                    <a:pt x="696" y="780"/>
                  </a:lnTo>
                  <a:lnTo>
                    <a:pt x="702" y="774"/>
                  </a:lnTo>
                  <a:lnTo>
                    <a:pt x="702" y="744"/>
                  </a:lnTo>
                  <a:lnTo>
                    <a:pt x="714" y="732"/>
                  </a:lnTo>
                  <a:lnTo>
                    <a:pt x="720" y="738"/>
                  </a:lnTo>
                  <a:lnTo>
                    <a:pt x="720" y="750"/>
                  </a:lnTo>
                  <a:lnTo>
                    <a:pt x="744" y="744"/>
                  </a:lnTo>
                  <a:lnTo>
                    <a:pt x="768" y="750"/>
                  </a:lnTo>
                  <a:lnTo>
                    <a:pt x="792" y="750"/>
                  </a:lnTo>
                  <a:lnTo>
                    <a:pt x="798" y="756"/>
                  </a:lnTo>
                  <a:lnTo>
                    <a:pt x="810" y="756"/>
                  </a:lnTo>
                  <a:lnTo>
                    <a:pt x="816" y="750"/>
                  </a:lnTo>
                  <a:lnTo>
                    <a:pt x="810" y="750"/>
                  </a:lnTo>
                  <a:lnTo>
                    <a:pt x="798" y="738"/>
                  </a:lnTo>
                  <a:lnTo>
                    <a:pt x="798" y="732"/>
                  </a:lnTo>
                  <a:lnTo>
                    <a:pt x="810" y="732"/>
                  </a:lnTo>
                  <a:lnTo>
                    <a:pt x="810" y="708"/>
                  </a:lnTo>
                  <a:lnTo>
                    <a:pt x="840" y="714"/>
                  </a:lnTo>
                  <a:lnTo>
                    <a:pt x="834" y="708"/>
                  </a:lnTo>
                  <a:lnTo>
                    <a:pt x="840" y="702"/>
                  </a:lnTo>
                  <a:lnTo>
                    <a:pt x="858" y="708"/>
                  </a:lnTo>
                  <a:lnTo>
                    <a:pt x="858" y="696"/>
                  </a:lnTo>
                  <a:lnTo>
                    <a:pt x="864" y="690"/>
                  </a:lnTo>
                  <a:lnTo>
                    <a:pt x="882" y="690"/>
                  </a:lnTo>
                  <a:lnTo>
                    <a:pt x="888" y="696"/>
                  </a:lnTo>
                  <a:lnTo>
                    <a:pt x="894" y="708"/>
                  </a:lnTo>
                  <a:lnTo>
                    <a:pt x="906" y="714"/>
                  </a:lnTo>
                  <a:lnTo>
                    <a:pt x="918" y="726"/>
                  </a:lnTo>
                  <a:lnTo>
                    <a:pt x="930" y="726"/>
                  </a:lnTo>
                  <a:lnTo>
                    <a:pt x="942" y="732"/>
                  </a:lnTo>
                  <a:lnTo>
                    <a:pt x="960" y="732"/>
                  </a:lnTo>
                  <a:lnTo>
                    <a:pt x="966" y="738"/>
                  </a:lnTo>
                  <a:lnTo>
                    <a:pt x="978" y="738"/>
                  </a:lnTo>
                  <a:lnTo>
                    <a:pt x="990" y="732"/>
                  </a:lnTo>
                  <a:lnTo>
                    <a:pt x="996" y="726"/>
                  </a:lnTo>
                  <a:lnTo>
                    <a:pt x="1026" y="726"/>
                  </a:lnTo>
                  <a:lnTo>
                    <a:pt x="1038" y="732"/>
                  </a:lnTo>
                  <a:lnTo>
                    <a:pt x="1044" y="738"/>
                  </a:lnTo>
                  <a:lnTo>
                    <a:pt x="1062" y="738"/>
                  </a:lnTo>
                  <a:lnTo>
                    <a:pt x="1062" y="726"/>
                  </a:lnTo>
                  <a:lnTo>
                    <a:pt x="1068" y="720"/>
                  </a:lnTo>
                  <a:lnTo>
                    <a:pt x="1068" y="714"/>
                  </a:lnTo>
                  <a:lnTo>
                    <a:pt x="1092" y="714"/>
                  </a:lnTo>
                  <a:lnTo>
                    <a:pt x="1092" y="678"/>
                  </a:lnTo>
                  <a:lnTo>
                    <a:pt x="1098" y="672"/>
                  </a:lnTo>
                  <a:lnTo>
                    <a:pt x="1098" y="660"/>
                  </a:lnTo>
                  <a:lnTo>
                    <a:pt x="1110" y="654"/>
                  </a:lnTo>
                  <a:lnTo>
                    <a:pt x="1116" y="654"/>
                  </a:lnTo>
                  <a:lnTo>
                    <a:pt x="1128" y="648"/>
                  </a:lnTo>
                  <a:lnTo>
                    <a:pt x="1158" y="648"/>
                  </a:lnTo>
                  <a:lnTo>
                    <a:pt x="1170" y="642"/>
                  </a:lnTo>
                  <a:lnTo>
                    <a:pt x="1206" y="642"/>
                  </a:lnTo>
                  <a:lnTo>
                    <a:pt x="1206" y="654"/>
                  </a:lnTo>
                  <a:lnTo>
                    <a:pt x="1242" y="660"/>
                  </a:lnTo>
                  <a:lnTo>
                    <a:pt x="1248" y="660"/>
                  </a:lnTo>
                  <a:lnTo>
                    <a:pt x="1260" y="672"/>
                  </a:lnTo>
                  <a:lnTo>
                    <a:pt x="1266" y="684"/>
                  </a:lnTo>
                  <a:lnTo>
                    <a:pt x="1266" y="702"/>
                  </a:lnTo>
                  <a:lnTo>
                    <a:pt x="1260" y="702"/>
                  </a:lnTo>
                  <a:lnTo>
                    <a:pt x="1260" y="696"/>
                  </a:lnTo>
                  <a:lnTo>
                    <a:pt x="1254" y="696"/>
                  </a:lnTo>
                  <a:lnTo>
                    <a:pt x="1254" y="708"/>
                  </a:lnTo>
                  <a:lnTo>
                    <a:pt x="1278" y="708"/>
                  </a:lnTo>
                  <a:lnTo>
                    <a:pt x="1284" y="696"/>
                  </a:lnTo>
                  <a:lnTo>
                    <a:pt x="1284" y="690"/>
                  </a:lnTo>
                  <a:lnTo>
                    <a:pt x="1308" y="684"/>
                  </a:lnTo>
                  <a:lnTo>
                    <a:pt x="1314" y="672"/>
                  </a:lnTo>
                  <a:lnTo>
                    <a:pt x="1350" y="672"/>
                  </a:lnTo>
                  <a:lnTo>
                    <a:pt x="1362" y="660"/>
                  </a:lnTo>
                  <a:lnTo>
                    <a:pt x="1356" y="660"/>
                  </a:lnTo>
                  <a:close/>
                  <a:moveTo>
                    <a:pt x="564" y="726"/>
                  </a:moveTo>
                  <a:lnTo>
                    <a:pt x="540" y="738"/>
                  </a:lnTo>
                  <a:lnTo>
                    <a:pt x="546" y="756"/>
                  </a:lnTo>
                  <a:lnTo>
                    <a:pt x="576" y="756"/>
                  </a:lnTo>
                  <a:lnTo>
                    <a:pt x="570" y="738"/>
                  </a:lnTo>
                  <a:lnTo>
                    <a:pt x="564" y="726"/>
                  </a:lnTo>
                  <a:close/>
                  <a:moveTo>
                    <a:pt x="522" y="714"/>
                  </a:moveTo>
                  <a:lnTo>
                    <a:pt x="516" y="720"/>
                  </a:lnTo>
                  <a:lnTo>
                    <a:pt x="510" y="732"/>
                  </a:lnTo>
                  <a:lnTo>
                    <a:pt x="510" y="750"/>
                  </a:lnTo>
                  <a:lnTo>
                    <a:pt x="528" y="768"/>
                  </a:lnTo>
                  <a:lnTo>
                    <a:pt x="528" y="756"/>
                  </a:lnTo>
                  <a:lnTo>
                    <a:pt x="534" y="744"/>
                  </a:lnTo>
                  <a:lnTo>
                    <a:pt x="534" y="720"/>
                  </a:lnTo>
                  <a:lnTo>
                    <a:pt x="528" y="714"/>
                  </a:lnTo>
                  <a:lnTo>
                    <a:pt x="522" y="714"/>
                  </a:lnTo>
                  <a:close/>
                  <a:moveTo>
                    <a:pt x="606" y="738"/>
                  </a:moveTo>
                  <a:lnTo>
                    <a:pt x="618" y="732"/>
                  </a:lnTo>
                  <a:lnTo>
                    <a:pt x="624" y="732"/>
                  </a:lnTo>
                  <a:lnTo>
                    <a:pt x="630" y="726"/>
                  </a:lnTo>
                  <a:lnTo>
                    <a:pt x="618" y="720"/>
                  </a:lnTo>
                  <a:lnTo>
                    <a:pt x="588" y="720"/>
                  </a:lnTo>
                  <a:lnTo>
                    <a:pt x="576" y="732"/>
                  </a:lnTo>
                  <a:lnTo>
                    <a:pt x="582" y="744"/>
                  </a:lnTo>
                  <a:lnTo>
                    <a:pt x="606" y="738"/>
                  </a:lnTo>
                  <a:close/>
                </a:path>
              </a:pathLst>
            </a:custGeom>
            <a:solidFill>
              <a:schemeClr val="accent1"/>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91" name="Nigerien" descr="© INSCALE GmbH, 05.05.2010&#10;http://www.presentationload.com/">
              <a:extLst>
                <a:ext uri="{FF2B5EF4-FFF2-40B4-BE49-F238E27FC236}">
                  <a16:creationId xmlns:a16="http://schemas.microsoft.com/office/drawing/2014/main" id="{C215A3D9-DDFD-4FEF-A863-613597A89820}"/>
                </a:ext>
              </a:extLst>
            </p:cNvPr>
            <p:cNvSpPr>
              <a:spLocks/>
            </p:cNvSpPr>
            <p:nvPr/>
          </p:nvSpPr>
          <p:spPr bwMode="gray">
            <a:xfrm>
              <a:off x="4207760" y="3807311"/>
              <a:ext cx="332421" cy="307333"/>
            </a:xfrm>
            <a:custGeom>
              <a:avLst/>
              <a:gdLst>
                <a:gd name="T0" fmla="*/ 2147483647 w 840"/>
                <a:gd name="T1" fmla="*/ 2147483647 h 768"/>
                <a:gd name="T2" fmla="*/ 2147483647 w 840"/>
                <a:gd name="T3" fmla="*/ 2147483647 h 768"/>
                <a:gd name="T4" fmla="*/ 2147483647 w 840"/>
                <a:gd name="T5" fmla="*/ 2147483647 h 768"/>
                <a:gd name="T6" fmla="*/ 2147483647 w 840"/>
                <a:gd name="T7" fmla="*/ 2147483647 h 768"/>
                <a:gd name="T8" fmla="*/ 2147483647 w 840"/>
                <a:gd name="T9" fmla="*/ 2147483647 h 768"/>
                <a:gd name="T10" fmla="*/ 2147483647 w 840"/>
                <a:gd name="T11" fmla="*/ 2147483647 h 768"/>
                <a:gd name="T12" fmla="*/ 2147483647 w 840"/>
                <a:gd name="T13" fmla="*/ 2147483647 h 768"/>
                <a:gd name="T14" fmla="*/ 2147483647 w 840"/>
                <a:gd name="T15" fmla="*/ 2147483647 h 768"/>
                <a:gd name="T16" fmla="*/ 2147483647 w 840"/>
                <a:gd name="T17" fmla="*/ 2147483647 h 768"/>
                <a:gd name="T18" fmla="*/ 2147483647 w 840"/>
                <a:gd name="T19" fmla="*/ 2147483647 h 768"/>
                <a:gd name="T20" fmla="*/ 2147483647 w 840"/>
                <a:gd name="T21" fmla="*/ 2147483647 h 768"/>
                <a:gd name="T22" fmla="*/ 2147483647 w 840"/>
                <a:gd name="T23" fmla="*/ 2147483647 h 768"/>
                <a:gd name="T24" fmla="*/ 2147483647 w 840"/>
                <a:gd name="T25" fmla="*/ 2147483647 h 768"/>
                <a:gd name="T26" fmla="*/ 2147483647 w 840"/>
                <a:gd name="T27" fmla="*/ 2147483647 h 768"/>
                <a:gd name="T28" fmla="*/ 2147483647 w 840"/>
                <a:gd name="T29" fmla="*/ 2147483647 h 768"/>
                <a:gd name="T30" fmla="*/ 2147483647 w 840"/>
                <a:gd name="T31" fmla="*/ 2147483647 h 768"/>
                <a:gd name="T32" fmla="*/ 2147483647 w 840"/>
                <a:gd name="T33" fmla="*/ 2147483647 h 768"/>
                <a:gd name="T34" fmla="*/ 2147483647 w 840"/>
                <a:gd name="T35" fmla="*/ 2147483647 h 768"/>
                <a:gd name="T36" fmla="*/ 2147483647 w 840"/>
                <a:gd name="T37" fmla="*/ 2147483647 h 768"/>
                <a:gd name="T38" fmla="*/ 2147483647 w 840"/>
                <a:gd name="T39" fmla="*/ 2147483647 h 768"/>
                <a:gd name="T40" fmla="*/ 2147483647 w 840"/>
                <a:gd name="T41" fmla="*/ 2147483647 h 768"/>
                <a:gd name="T42" fmla="*/ 2147483647 w 840"/>
                <a:gd name="T43" fmla="*/ 2147483647 h 768"/>
                <a:gd name="T44" fmla="*/ 2147483647 w 840"/>
                <a:gd name="T45" fmla="*/ 2147483647 h 768"/>
                <a:gd name="T46" fmla="*/ 2147483647 w 840"/>
                <a:gd name="T47" fmla="*/ 2147483647 h 768"/>
                <a:gd name="T48" fmla="*/ 2147483647 w 840"/>
                <a:gd name="T49" fmla="*/ 2147483647 h 768"/>
                <a:gd name="T50" fmla="*/ 2147483647 w 840"/>
                <a:gd name="T51" fmla="*/ 2147483647 h 768"/>
                <a:gd name="T52" fmla="*/ 2147483647 w 840"/>
                <a:gd name="T53" fmla="*/ 2147483647 h 768"/>
                <a:gd name="T54" fmla="*/ 2147483647 w 840"/>
                <a:gd name="T55" fmla="*/ 2147483647 h 768"/>
                <a:gd name="T56" fmla="*/ 2147483647 w 840"/>
                <a:gd name="T57" fmla="*/ 2147483647 h 768"/>
                <a:gd name="T58" fmla="*/ 2147483647 w 840"/>
                <a:gd name="T59" fmla="*/ 2147483647 h 768"/>
                <a:gd name="T60" fmla="*/ 2147483647 w 840"/>
                <a:gd name="T61" fmla="*/ 2147483647 h 768"/>
                <a:gd name="T62" fmla="*/ 2147483647 w 840"/>
                <a:gd name="T63" fmla="*/ 2147483647 h 768"/>
                <a:gd name="T64" fmla="*/ 2147483647 w 840"/>
                <a:gd name="T65" fmla="*/ 2147483647 h 768"/>
                <a:gd name="T66" fmla="*/ 2147483647 w 840"/>
                <a:gd name="T67" fmla="*/ 2147483647 h 768"/>
                <a:gd name="T68" fmla="*/ 2147483647 w 840"/>
                <a:gd name="T69" fmla="*/ 2147483647 h 768"/>
                <a:gd name="T70" fmla="*/ 2147483647 w 840"/>
                <a:gd name="T71" fmla="*/ 2147483647 h 768"/>
                <a:gd name="T72" fmla="*/ 2147483647 w 840"/>
                <a:gd name="T73" fmla="*/ 2147483647 h 768"/>
                <a:gd name="T74" fmla="*/ 2147483647 w 840"/>
                <a:gd name="T75" fmla="*/ 2147483647 h 768"/>
                <a:gd name="T76" fmla="*/ 2147483647 w 840"/>
                <a:gd name="T77" fmla="*/ 2147483647 h 768"/>
                <a:gd name="T78" fmla="*/ 2147483647 w 840"/>
                <a:gd name="T79" fmla="*/ 2147483647 h 768"/>
                <a:gd name="T80" fmla="*/ 2147483647 w 840"/>
                <a:gd name="T81" fmla="*/ 2147483647 h 768"/>
                <a:gd name="T82" fmla="*/ 2147483647 w 840"/>
                <a:gd name="T83" fmla="*/ 2147483647 h 768"/>
                <a:gd name="T84" fmla="*/ 2147483647 w 840"/>
                <a:gd name="T85" fmla="*/ 2147483647 h 768"/>
                <a:gd name="T86" fmla="*/ 2147483647 w 840"/>
                <a:gd name="T87" fmla="*/ 2147483647 h 768"/>
                <a:gd name="T88" fmla="*/ 2147483647 w 840"/>
                <a:gd name="T89" fmla="*/ 2147483647 h 768"/>
                <a:gd name="T90" fmla="*/ 2147483647 w 840"/>
                <a:gd name="T91" fmla="*/ 2147483647 h 768"/>
                <a:gd name="T92" fmla="*/ 2147483647 w 840"/>
                <a:gd name="T93" fmla="*/ 2147483647 h 768"/>
                <a:gd name="T94" fmla="*/ 2147483647 w 840"/>
                <a:gd name="T95" fmla="*/ 2147483647 h 768"/>
                <a:gd name="T96" fmla="*/ 2147483647 w 840"/>
                <a:gd name="T97" fmla="*/ 2147483647 h 768"/>
                <a:gd name="T98" fmla="*/ 2147483647 w 840"/>
                <a:gd name="T99" fmla="*/ 2147483647 h 768"/>
                <a:gd name="T100" fmla="*/ 2147483647 w 840"/>
                <a:gd name="T101" fmla="*/ 2147483647 h 768"/>
                <a:gd name="T102" fmla="*/ 2147483647 w 840"/>
                <a:gd name="T103" fmla="*/ 2147483647 h 768"/>
                <a:gd name="T104" fmla="*/ 2147483647 w 840"/>
                <a:gd name="T105" fmla="*/ 2147483647 h 768"/>
                <a:gd name="T106" fmla="*/ 2147483647 w 840"/>
                <a:gd name="T107" fmla="*/ 2147483647 h 768"/>
                <a:gd name="T108" fmla="*/ 2147483647 w 840"/>
                <a:gd name="T109" fmla="*/ 2147483647 h 768"/>
                <a:gd name="T110" fmla="*/ 2147483647 w 840"/>
                <a:gd name="T111" fmla="*/ 2147483647 h 768"/>
                <a:gd name="T112" fmla="*/ 2147483647 w 840"/>
                <a:gd name="T113" fmla="*/ 2147483647 h 768"/>
                <a:gd name="T114" fmla="*/ 2147483647 w 840"/>
                <a:gd name="T115" fmla="*/ 2147483647 h 768"/>
                <a:gd name="T116" fmla="*/ 2147483647 w 840"/>
                <a:gd name="T117" fmla="*/ 2147483647 h 768"/>
                <a:gd name="T118" fmla="*/ 2147483647 w 840"/>
                <a:gd name="T119" fmla="*/ 2147483647 h 76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40"/>
                <a:gd name="T181" fmla="*/ 0 h 768"/>
                <a:gd name="T182" fmla="*/ 840 w 840"/>
                <a:gd name="T183" fmla="*/ 768 h 76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40" h="768">
                  <a:moveTo>
                    <a:pt x="420" y="738"/>
                  </a:moveTo>
                  <a:lnTo>
                    <a:pt x="420" y="732"/>
                  </a:lnTo>
                  <a:lnTo>
                    <a:pt x="426" y="726"/>
                  </a:lnTo>
                  <a:lnTo>
                    <a:pt x="426" y="714"/>
                  </a:lnTo>
                  <a:lnTo>
                    <a:pt x="432" y="702"/>
                  </a:lnTo>
                  <a:lnTo>
                    <a:pt x="432" y="648"/>
                  </a:lnTo>
                  <a:lnTo>
                    <a:pt x="498" y="594"/>
                  </a:lnTo>
                  <a:lnTo>
                    <a:pt x="498" y="588"/>
                  </a:lnTo>
                  <a:lnTo>
                    <a:pt x="504" y="582"/>
                  </a:lnTo>
                  <a:lnTo>
                    <a:pt x="516" y="558"/>
                  </a:lnTo>
                  <a:lnTo>
                    <a:pt x="522" y="552"/>
                  </a:lnTo>
                  <a:lnTo>
                    <a:pt x="528" y="552"/>
                  </a:lnTo>
                  <a:lnTo>
                    <a:pt x="534" y="558"/>
                  </a:lnTo>
                  <a:lnTo>
                    <a:pt x="546" y="564"/>
                  </a:lnTo>
                  <a:lnTo>
                    <a:pt x="552" y="564"/>
                  </a:lnTo>
                  <a:lnTo>
                    <a:pt x="558" y="558"/>
                  </a:lnTo>
                  <a:lnTo>
                    <a:pt x="558" y="546"/>
                  </a:lnTo>
                  <a:lnTo>
                    <a:pt x="552" y="540"/>
                  </a:lnTo>
                  <a:lnTo>
                    <a:pt x="564" y="540"/>
                  </a:lnTo>
                  <a:lnTo>
                    <a:pt x="570" y="552"/>
                  </a:lnTo>
                  <a:lnTo>
                    <a:pt x="582" y="564"/>
                  </a:lnTo>
                  <a:lnTo>
                    <a:pt x="588" y="576"/>
                  </a:lnTo>
                  <a:lnTo>
                    <a:pt x="588" y="582"/>
                  </a:lnTo>
                  <a:lnTo>
                    <a:pt x="594" y="594"/>
                  </a:lnTo>
                  <a:lnTo>
                    <a:pt x="600" y="600"/>
                  </a:lnTo>
                  <a:lnTo>
                    <a:pt x="606" y="600"/>
                  </a:lnTo>
                  <a:lnTo>
                    <a:pt x="624" y="582"/>
                  </a:lnTo>
                  <a:lnTo>
                    <a:pt x="624" y="570"/>
                  </a:lnTo>
                  <a:lnTo>
                    <a:pt x="630" y="558"/>
                  </a:lnTo>
                  <a:lnTo>
                    <a:pt x="642" y="552"/>
                  </a:lnTo>
                  <a:lnTo>
                    <a:pt x="648" y="546"/>
                  </a:lnTo>
                  <a:lnTo>
                    <a:pt x="648" y="516"/>
                  </a:lnTo>
                  <a:lnTo>
                    <a:pt x="672" y="486"/>
                  </a:lnTo>
                  <a:lnTo>
                    <a:pt x="684" y="438"/>
                  </a:lnTo>
                  <a:lnTo>
                    <a:pt x="696" y="432"/>
                  </a:lnTo>
                  <a:lnTo>
                    <a:pt x="702" y="426"/>
                  </a:lnTo>
                  <a:lnTo>
                    <a:pt x="714" y="420"/>
                  </a:lnTo>
                  <a:lnTo>
                    <a:pt x="720" y="414"/>
                  </a:lnTo>
                  <a:lnTo>
                    <a:pt x="720" y="402"/>
                  </a:lnTo>
                  <a:lnTo>
                    <a:pt x="726" y="384"/>
                  </a:lnTo>
                  <a:lnTo>
                    <a:pt x="726" y="354"/>
                  </a:lnTo>
                  <a:lnTo>
                    <a:pt x="744" y="354"/>
                  </a:lnTo>
                  <a:lnTo>
                    <a:pt x="750" y="348"/>
                  </a:lnTo>
                  <a:lnTo>
                    <a:pt x="756" y="330"/>
                  </a:lnTo>
                  <a:lnTo>
                    <a:pt x="756" y="300"/>
                  </a:lnTo>
                  <a:lnTo>
                    <a:pt x="762" y="294"/>
                  </a:lnTo>
                  <a:lnTo>
                    <a:pt x="768" y="264"/>
                  </a:lnTo>
                  <a:lnTo>
                    <a:pt x="774" y="252"/>
                  </a:lnTo>
                  <a:lnTo>
                    <a:pt x="786" y="240"/>
                  </a:lnTo>
                  <a:lnTo>
                    <a:pt x="786" y="234"/>
                  </a:lnTo>
                  <a:lnTo>
                    <a:pt x="792" y="228"/>
                  </a:lnTo>
                  <a:lnTo>
                    <a:pt x="792" y="222"/>
                  </a:lnTo>
                  <a:lnTo>
                    <a:pt x="798" y="216"/>
                  </a:lnTo>
                  <a:lnTo>
                    <a:pt x="798" y="210"/>
                  </a:lnTo>
                  <a:lnTo>
                    <a:pt x="810" y="210"/>
                  </a:lnTo>
                  <a:lnTo>
                    <a:pt x="822" y="204"/>
                  </a:lnTo>
                  <a:lnTo>
                    <a:pt x="840" y="186"/>
                  </a:lnTo>
                  <a:lnTo>
                    <a:pt x="840" y="174"/>
                  </a:lnTo>
                  <a:lnTo>
                    <a:pt x="834" y="168"/>
                  </a:lnTo>
                  <a:lnTo>
                    <a:pt x="834" y="162"/>
                  </a:lnTo>
                  <a:lnTo>
                    <a:pt x="840" y="156"/>
                  </a:lnTo>
                  <a:lnTo>
                    <a:pt x="840" y="126"/>
                  </a:lnTo>
                  <a:lnTo>
                    <a:pt x="810" y="126"/>
                  </a:lnTo>
                  <a:lnTo>
                    <a:pt x="810" y="120"/>
                  </a:lnTo>
                  <a:lnTo>
                    <a:pt x="804" y="108"/>
                  </a:lnTo>
                  <a:lnTo>
                    <a:pt x="804" y="60"/>
                  </a:lnTo>
                  <a:lnTo>
                    <a:pt x="774" y="12"/>
                  </a:lnTo>
                  <a:lnTo>
                    <a:pt x="756" y="12"/>
                  </a:lnTo>
                  <a:lnTo>
                    <a:pt x="750" y="18"/>
                  </a:lnTo>
                  <a:lnTo>
                    <a:pt x="750" y="24"/>
                  </a:lnTo>
                  <a:lnTo>
                    <a:pt x="744" y="30"/>
                  </a:lnTo>
                  <a:lnTo>
                    <a:pt x="744" y="36"/>
                  </a:lnTo>
                  <a:lnTo>
                    <a:pt x="720" y="36"/>
                  </a:lnTo>
                  <a:lnTo>
                    <a:pt x="714" y="42"/>
                  </a:lnTo>
                  <a:lnTo>
                    <a:pt x="702" y="48"/>
                  </a:lnTo>
                  <a:lnTo>
                    <a:pt x="696" y="54"/>
                  </a:lnTo>
                  <a:lnTo>
                    <a:pt x="684" y="60"/>
                  </a:lnTo>
                  <a:lnTo>
                    <a:pt x="654" y="60"/>
                  </a:lnTo>
                  <a:lnTo>
                    <a:pt x="648" y="54"/>
                  </a:lnTo>
                  <a:lnTo>
                    <a:pt x="636" y="48"/>
                  </a:lnTo>
                  <a:lnTo>
                    <a:pt x="600" y="36"/>
                  </a:lnTo>
                  <a:lnTo>
                    <a:pt x="546" y="36"/>
                  </a:lnTo>
                  <a:lnTo>
                    <a:pt x="528" y="42"/>
                  </a:lnTo>
                  <a:lnTo>
                    <a:pt x="516" y="54"/>
                  </a:lnTo>
                  <a:lnTo>
                    <a:pt x="504" y="60"/>
                  </a:lnTo>
                  <a:lnTo>
                    <a:pt x="492" y="84"/>
                  </a:lnTo>
                  <a:lnTo>
                    <a:pt x="486" y="90"/>
                  </a:lnTo>
                  <a:lnTo>
                    <a:pt x="480" y="90"/>
                  </a:lnTo>
                  <a:lnTo>
                    <a:pt x="468" y="84"/>
                  </a:lnTo>
                  <a:lnTo>
                    <a:pt x="438" y="84"/>
                  </a:lnTo>
                  <a:lnTo>
                    <a:pt x="414" y="72"/>
                  </a:lnTo>
                  <a:lnTo>
                    <a:pt x="402" y="60"/>
                  </a:lnTo>
                  <a:lnTo>
                    <a:pt x="390" y="54"/>
                  </a:lnTo>
                  <a:lnTo>
                    <a:pt x="384" y="48"/>
                  </a:lnTo>
                  <a:lnTo>
                    <a:pt x="372" y="42"/>
                  </a:lnTo>
                  <a:lnTo>
                    <a:pt x="360" y="42"/>
                  </a:lnTo>
                  <a:lnTo>
                    <a:pt x="336" y="54"/>
                  </a:lnTo>
                  <a:lnTo>
                    <a:pt x="324" y="66"/>
                  </a:lnTo>
                  <a:lnTo>
                    <a:pt x="312" y="72"/>
                  </a:lnTo>
                  <a:lnTo>
                    <a:pt x="306" y="72"/>
                  </a:lnTo>
                  <a:lnTo>
                    <a:pt x="294" y="66"/>
                  </a:lnTo>
                  <a:lnTo>
                    <a:pt x="288" y="60"/>
                  </a:lnTo>
                  <a:lnTo>
                    <a:pt x="288" y="54"/>
                  </a:lnTo>
                  <a:lnTo>
                    <a:pt x="282" y="48"/>
                  </a:lnTo>
                  <a:lnTo>
                    <a:pt x="282" y="42"/>
                  </a:lnTo>
                  <a:lnTo>
                    <a:pt x="258" y="18"/>
                  </a:lnTo>
                  <a:lnTo>
                    <a:pt x="222" y="18"/>
                  </a:lnTo>
                  <a:lnTo>
                    <a:pt x="222" y="12"/>
                  </a:lnTo>
                  <a:lnTo>
                    <a:pt x="210" y="0"/>
                  </a:lnTo>
                  <a:lnTo>
                    <a:pt x="198" y="0"/>
                  </a:lnTo>
                  <a:lnTo>
                    <a:pt x="186" y="6"/>
                  </a:lnTo>
                  <a:lnTo>
                    <a:pt x="180" y="6"/>
                  </a:lnTo>
                  <a:lnTo>
                    <a:pt x="180" y="12"/>
                  </a:lnTo>
                  <a:lnTo>
                    <a:pt x="126" y="12"/>
                  </a:lnTo>
                  <a:lnTo>
                    <a:pt x="102" y="36"/>
                  </a:lnTo>
                  <a:lnTo>
                    <a:pt x="102" y="60"/>
                  </a:lnTo>
                  <a:lnTo>
                    <a:pt x="96" y="78"/>
                  </a:lnTo>
                  <a:lnTo>
                    <a:pt x="90" y="90"/>
                  </a:lnTo>
                  <a:lnTo>
                    <a:pt x="84" y="96"/>
                  </a:lnTo>
                  <a:lnTo>
                    <a:pt x="78" y="108"/>
                  </a:lnTo>
                  <a:lnTo>
                    <a:pt x="72" y="114"/>
                  </a:lnTo>
                  <a:lnTo>
                    <a:pt x="66" y="114"/>
                  </a:lnTo>
                  <a:lnTo>
                    <a:pt x="66" y="168"/>
                  </a:lnTo>
                  <a:lnTo>
                    <a:pt x="60" y="180"/>
                  </a:lnTo>
                  <a:lnTo>
                    <a:pt x="60" y="186"/>
                  </a:lnTo>
                  <a:lnTo>
                    <a:pt x="54" y="192"/>
                  </a:lnTo>
                  <a:lnTo>
                    <a:pt x="66" y="216"/>
                  </a:lnTo>
                  <a:lnTo>
                    <a:pt x="72" y="222"/>
                  </a:lnTo>
                  <a:lnTo>
                    <a:pt x="78" y="234"/>
                  </a:lnTo>
                  <a:lnTo>
                    <a:pt x="78" y="246"/>
                  </a:lnTo>
                  <a:lnTo>
                    <a:pt x="84" y="252"/>
                  </a:lnTo>
                  <a:lnTo>
                    <a:pt x="84" y="264"/>
                  </a:lnTo>
                  <a:lnTo>
                    <a:pt x="78" y="270"/>
                  </a:lnTo>
                  <a:lnTo>
                    <a:pt x="72" y="270"/>
                  </a:lnTo>
                  <a:lnTo>
                    <a:pt x="60" y="276"/>
                  </a:lnTo>
                  <a:lnTo>
                    <a:pt x="60" y="318"/>
                  </a:lnTo>
                  <a:lnTo>
                    <a:pt x="48" y="324"/>
                  </a:lnTo>
                  <a:lnTo>
                    <a:pt x="42" y="336"/>
                  </a:lnTo>
                  <a:lnTo>
                    <a:pt x="36" y="342"/>
                  </a:lnTo>
                  <a:lnTo>
                    <a:pt x="36" y="372"/>
                  </a:lnTo>
                  <a:lnTo>
                    <a:pt x="24" y="396"/>
                  </a:lnTo>
                  <a:lnTo>
                    <a:pt x="6" y="396"/>
                  </a:lnTo>
                  <a:lnTo>
                    <a:pt x="0" y="426"/>
                  </a:lnTo>
                  <a:lnTo>
                    <a:pt x="6" y="462"/>
                  </a:lnTo>
                  <a:lnTo>
                    <a:pt x="0" y="492"/>
                  </a:lnTo>
                  <a:lnTo>
                    <a:pt x="0" y="606"/>
                  </a:lnTo>
                  <a:lnTo>
                    <a:pt x="6" y="612"/>
                  </a:lnTo>
                  <a:lnTo>
                    <a:pt x="30" y="612"/>
                  </a:lnTo>
                  <a:lnTo>
                    <a:pt x="54" y="600"/>
                  </a:lnTo>
                  <a:lnTo>
                    <a:pt x="60" y="594"/>
                  </a:lnTo>
                  <a:lnTo>
                    <a:pt x="66" y="600"/>
                  </a:lnTo>
                  <a:lnTo>
                    <a:pt x="108" y="600"/>
                  </a:lnTo>
                  <a:lnTo>
                    <a:pt x="126" y="606"/>
                  </a:lnTo>
                  <a:lnTo>
                    <a:pt x="138" y="618"/>
                  </a:lnTo>
                  <a:lnTo>
                    <a:pt x="150" y="636"/>
                  </a:lnTo>
                  <a:lnTo>
                    <a:pt x="156" y="648"/>
                  </a:lnTo>
                  <a:lnTo>
                    <a:pt x="168" y="660"/>
                  </a:lnTo>
                  <a:lnTo>
                    <a:pt x="186" y="660"/>
                  </a:lnTo>
                  <a:lnTo>
                    <a:pt x="180" y="666"/>
                  </a:lnTo>
                  <a:lnTo>
                    <a:pt x="180" y="678"/>
                  </a:lnTo>
                  <a:lnTo>
                    <a:pt x="174" y="684"/>
                  </a:lnTo>
                  <a:lnTo>
                    <a:pt x="186" y="684"/>
                  </a:lnTo>
                  <a:lnTo>
                    <a:pt x="198" y="678"/>
                  </a:lnTo>
                  <a:lnTo>
                    <a:pt x="198" y="684"/>
                  </a:lnTo>
                  <a:lnTo>
                    <a:pt x="192" y="690"/>
                  </a:lnTo>
                  <a:lnTo>
                    <a:pt x="186" y="702"/>
                  </a:lnTo>
                  <a:lnTo>
                    <a:pt x="186" y="714"/>
                  </a:lnTo>
                  <a:lnTo>
                    <a:pt x="204" y="750"/>
                  </a:lnTo>
                  <a:lnTo>
                    <a:pt x="216" y="762"/>
                  </a:lnTo>
                  <a:lnTo>
                    <a:pt x="234" y="768"/>
                  </a:lnTo>
                  <a:lnTo>
                    <a:pt x="270" y="768"/>
                  </a:lnTo>
                  <a:lnTo>
                    <a:pt x="276" y="762"/>
                  </a:lnTo>
                  <a:lnTo>
                    <a:pt x="282" y="762"/>
                  </a:lnTo>
                  <a:lnTo>
                    <a:pt x="288" y="738"/>
                  </a:lnTo>
                  <a:lnTo>
                    <a:pt x="312" y="750"/>
                  </a:lnTo>
                  <a:lnTo>
                    <a:pt x="336" y="744"/>
                  </a:lnTo>
                  <a:lnTo>
                    <a:pt x="354" y="756"/>
                  </a:lnTo>
                  <a:lnTo>
                    <a:pt x="396" y="756"/>
                  </a:lnTo>
                  <a:lnTo>
                    <a:pt x="396" y="732"/>
                  </a:lnTo>
                  <a:lnTo>
                    <a:pt x="420" y="732"/>
                  </a:lnTo>
                  <a:lnTo>
                    <a:pt x="420" y="738"/>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92" name="Niger" descr="© INSCALE GmbH, 05.05.2010&#10;http://www.presentationload.com/">
              <a:extLst>
                <a:ext uri="{FF2B5EF4-FFF2-40B4-BE49-F238E27FC236}">
                  <a16:creationId xmlns:a16="http://schemas.microsoft.com/office/drawing/2014/main" id="{D5CE168A-7733-454B-9048-2B16E1212672}"/>
                </a:ext>
              </a:extLst>
            </p:cNvPr>
            <p:cNvSpPr>
              <a:spLocks/>
            </p:cNvSpPr>
            <p:nvPr/>
          </p:nvSpPr>
          <p:spPr bwMode="gray">
            <a:xfrm>
              <a:off x="4137199" y="3499978"/>
              <a:ext cx="440614" cy="374758"/>
            </a:xfrm>
            <a:custGeom>
              <a:avLst/>
              <a:gdLst>
                <a:gd name="T0" fmla="*/ 2147483647 w 1110"/>
                <a:gd name="T1" fmla="*/ 2147483647 h 942"/>
                <a:gd name="T2" fmla="*/ 2147483647 w 1110"/>
                <a:gd name="T3" fmla="*/ 2147483647 h 942"/>
                <a:gd name="T4" fmla="*/ 2147483647 w 1110"/>
                <a:gd name="T5" fmla="*/ 2147483647 h 942"/>
                <a:gd name="T6" fmla="*/ 2147483647 w 1110"/>
                <a:gd name="T7" fmla="*/ 2147483647 h 942"/>
                <a:gd name="T8" fmla="*/ 2147483647 w 1110"/>
                <a:gd name="T9" fmla="*/ 2147483647 h 942"/>
                <a:gd name="T10" fmla="*/ 2147483647 w 1110"/>
                <a:gd name="T11" fmla="*/ 2147483647 h 942"/>
                <a:gd name="T12" fmla="*/ 2147483647 w 1110"/>
                <a:gd name="T13" fmla="*/ 2147483647 h 942"/>
                <a:gd name="T14" fmla="*/ 2147483647 w 1110"/>
                <a:gd name="T15" fmla="*/ 2147483647 h 942"/>
                <a:gd name="T16" fmla="*/ 2147483647 w 1110"/>
                <a:gd name="T17" fmla="*/ 2147483647 h 942"/>
                <a:gd name="T18" fmla="*/ 2147483647 w 1110"/>
                <a:gd name="T19" fmla="*/ 2147483647 h 942"/>
                <a:gd name="T20" fmla="*/ 2147483647 w 1110"/>
                <a:gd name="T21" fmla="*/ 2147483647 h 942"/>
                <a:gd name="T22" fmla="*/ 2147483647 w 1110"/>
                <a:gd name="T23" fmla="*/ 2147483647 h 942"/>
                <a:gd name="T24" fmla="*/ 2147483647 w 1110"/>
                <a:gd name="T25" fmla="*/ 2147483647 h 942"/>
                <a:gd name="T26" fmla="*/ 2147483647 w 1110"/>
                <a:gd name="T27" fmla="*/ 2147483647 h 942"/>
                <a:gd name="T28" fmla="*/ 2147483647 w 1110"/>
                <a:gd name="T29" fmla="*/ 2147483647 h 942"/>
                <a:gd name="T30" fmla="*/ 2147483647 w 1110"/>
                <a:gd name="T31" fmla="*/ 2147483647 h 942"/>
                <a:gd name="T32" fmla="*/ 2147483647 w 1110"/>
                <a:gd name="T33" fmla="*/ 2147483647 h 942"/>
                <a:gd name="T34" fmla="*/ 2147483647 w 1110"/>
                <a:gd name="T35" fmla="*/ 2147483647 h 942"/>
                <a:gd name="T36" fmla="*/ 2147483647 w 1110"/>
                <a:gd name="T37" fmla="*/ 2147483647 h 942"/>
                <a:gd name="T38" fmla="*/ 2147483647 w 1110"/>
                <a:gd name="T39" fmla="*/ 2147483647 h 942"/>
                <a:gd name="T40" fmla="*/ 2147483647 w 1110"/>
                <a:gd name="T41" fmla="*/ 2147483647 h 942"/>
                <a:gd name="T42" fmla="*/ 2147483647 w 1110"/>
                <a:gd name="T43" fmla="*/ 2147483647 h 942"/>
                <a:gd name="T44" fmla="*/ 2147483647 w 1110"/>
                <a:gd name="T45" fmla="*/ 2147483647 h 942"/>
                <a:gd name="T46" fmla="*/ 2147483647 w 1110"/>
                <a:gd name="T47" fmla="*/ 2147483647 h 942"/>
                <a:gd name="T48" fmla="*/ 2147483647 w 1110"/>
                <a:gd name="T49" fmla="*/ 2147483647 h 942"/>
                <a:gd name="T50" fmla="*/ 2147483647 w 1110"/>
                <a:gd name="T51" fmla="*/ 2147483647 h 942"/>
                <a:gd name="T52" fmla="*/ 2147483647 w 1110"/>
                <a:gd name="T53" fmla="*/ 2147483647 h 942"/>
                <a:gd name="T54" fmla="*/ 2147483647 w 1110"/>
                <a:gd name="T55" fmla="*/ 2147483647 h 942"/>
                <a:gd name="T56" fmla="*/ 2147483647 w 1110"/>
                <a:gd name="T57" fmla="*/ 2147483647 h 942"/>
                <a:gd name="T58" fmla="*/ 2147483647 w 1110"/>
                <a:gd name="T59" fmla="*/ 2147483647 h 942"/>
                <a:gd name="T60" fmla="*/ 2147483647 w 1110"/>
                <a:gd name="T61" fmla="*/ 2147483647 h 942"/>
                <a:gd name="T62" fmla="*/ 2147483647 w 1110"/>
                <a:gd name="T63" fmla="*/ 2147483647 h 942"/>
                <a:gd name="T64" fmla="*/ 2147483647 w 1110"/>
                <a:gd name="T65" fmla="*/ 2147483647 h 942"/>
                <a:gd name="T66" fmla="*/ 2147483647 w 1110"/>
                <a:gd name="T67" fmla="*/ 2147483647 h 942"/>
                <a:gd name="T68" fmla="*/ 2147483647 w 1110"/>
                <a:gd name="T69" fmla="*/ 2147483647 h 942"/>
                <a:gd name="T70" fmla="*/ 2147483647 w 1110"/>
                <a:gd name="T71" fmla="*/ 2147483647 h 942"/>
                <a:gd name="T72" fmla="*/ 2147483647 w 1110"/>
                <a:gd name="T73" fmla="*/ 2147483647 h 942"/>
                <a:gd name="T74" fmla="*/ 2147483647 w 1110"/>
                <a:gd name="T75" fmla="*/ 2147483647 h 942"/>
                <a:gd name="T76" fmla="*/ 2147483647 w 1110"/>
                <a:gd name="T77" fmla="*/ 2147483647 h 942"/>
                <a:gd name="T78" fmla="*/ 2147483647 w 1110"/>
                <a:gd name="T79" fmla="*/ 2147483647 h 942"/>
                <a:gd name="T80" fmla="*/ 2147483647 w 1110"/>
                <a:gd name="T81" fmla="*/ 2147483647 h 942"/>
                <a:gd name="T82" fmla="*/ 2147483647 w 1110"/>
                <a:gd name="T83" fmla="*/ 2147483647 h 942"/>
                <a:gd name="T84" fmla="*/ 2147483647 w 1110"/>
                <a:gd name="T85" fmla="*/ 2147483647 h 942"/>
                <a:gd name="T86" fmla="*/ 2147483647 w 1110"/>
                <a:gd name="T87" fmla="*/ 2147483647 h 942"/>
                <a:gd name="T88" fmla="*/ 2147483647 w 1110"/>
                <a:gd name="T89" fmla="*/ 2147483647 h 942"/>
                <a:gd name="T90" fmla="*/ 2147483647 w 1110"/>
                <a:gd name="T91" fmla="*/ 2147483647 h 942"/>
                <a:gd name="T92" fmla="*/ 2147483647 w 1110"/>
                <a:gd name="T93" fmla="*/ 2147483647 h 942"/>
                <a:gd name="T94" fmla="*/ 2147483647 w 1110"/>
                <a:gd name="T95" fmla="*/ 2147483647 h 942"/>
                <a:gd name="T96" fmla="*/ 2147483647 w 1110"/>
                <a:gd name="T97" fmla="*/ 2147483647 h 942"/>
                <a:gd name="T98" fmla="*/ 0 w 1110"/>
                <a:gd name="T99" fmla="*/ 2147483647 h 942"/>
                <a:gd name="T100" fmla="*/ 2147483647 w 1110"/>
                <a:gd name="T101" fmla="*/ 2147483647 h 9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10"/>
                <a:gd name="T154" fmla="*/ 0 h 942"/>
                <a:gd name="T155" fmla="*/ 1110 w 1110"/>
                <a:gd name="T156" fmla="*/ 942 h 9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10" h="942">
                  <a:moveTo>
                    <a:pt x="54" y="792"/>
                  </a:moveTo>
                  <a:lnTo>
                    <a:pt x="54" y="810"/>
                  </a:lnTo>
                  <a:lnTo>
                    <a:pt x="66" y="810"/>
                  </a:lnTo>
                  <a:lnTo>
                    <a:pt x="48" y="828"/>
                  </a:lnTo>
                  <a:lnTo>
                    <a:pt x="48" y="834"/>
                  </a:lnTo>
                  <a:lnTo>
                    <a:pt x="72" y="858"/>
                  </a:lnTo>
                  <a:lnTo>
                    <a:pt x="84" y="864"/>
                  </a:lnTo>
                  <a:lnTo>
                    <a:pt x="90" y="876"/>
                  </a:lnTo>
                  <a:lnTo>
                    <a:pt x="108" y="876"/>
                  </a:lnTo>
                  <a:lnTo>
                    <a:pt x="120" y="864"/>
                  </a:lnTo>
                  <a:lnTo>
                    <a:pt x="132" y="864"/>
                  </a:lnTo>
                  <a:lnTo>
                    <a:pt x="144" y="876"/>
                  </a:lnTo>
                  <a:lnTo>
                    <a:pt x="150" y="888"/>
                  </a:lnTo>
                  <a:lnTo>
                    <a:pt x="126" y="894"/>
                  </a:lnTo>
                  <a:lnTo>
                    <a:pt x="150" y="930"/>
                  </a:lnTo>
                  <a:lnTo>
                    <a:pt x="150" y="906"/>
                  </a:lnTo>
                  <a:lnTo>
                    <a:pt x="180" y="894"/>
                  </a:lnTo>
                  <a:lnTo>
                    <a:pt x="192" y="906"/>
                  </a:lnTo>
                  <a:lnTo>
                    <a:pt x="198" y="918"/>
                  </a:lnTo>
                  <a:lnTo>
                    <a:pt x="204" y="924"/>
                  </a:lnTo>
                  <a:lnTo>
                    <a:pt x="210" y="924"/>
                  </a:lnTo>
                  <a:lnTo>
                    <a:pt x="216" y="930"/>
                  </a:lnTo>
                  <a:lnTo>
                    <a:pt x="222" y="930"/>
                  </a:lnTo>
                  <a:lnTo>
                    <a:pt x="234" y="936"/>
                  </a:lnTo>
                  <a:lnTo>
                    <a:pt x="240" y="942"/>
                  </a:lnTo>
                  <a:lnTo>
                    <a:pt x="240" y="888"/>
                  </a:lnTo>
                  <a:lnTo>
                    <a:pt x="246" y="888"/>
                  </a:lnTo>
                  <a:lnTo>
                    <a:pt x="252" y="882"/>
                  </a:lnTo>
                  <a:lnTo>
                    <a:pt x="258" y="870"/>
                  </a:lnTo>
                  <a:lnTo>
                    <a:pt x="264" y="864"/>
                  </a:lnTo>
                  <a:lnTo>
                    <a:pt x="270" y="852"/>
                  </a:lnTo>
                  <a:lnTo>
                    <a:pt x="276" y="834"/>
                  </a:lnTo>
                  <a:lnTo>
                    <a:pt x="276" y="810"/>
                  </a:lnTo>
                  <a:lnTo>
                    <a:pt x="300" y="786"/>
                  </a:lnTo>
                  <a:lnTo>
                    <a:pt x="354" y="786"/>
                  </a:lnTo>
                  <a:lnTo>
                    <a:pt x="354" y="780"/>
                  </a:lnTo>
                  <a:lnTo>
                    <a:pt x="360" y="780"/>
                  </a:lnTo>
                  <a:lnTo>
                    <a:pt x="372" y="774"/>
                  </a:lnTo>
                  <a:lnTo>
                    <a:pt x="384" y="774"/>
                  </a:lnTo>
                  <a:lnTo>
                    <a:pt x="396" y="786"/>
                  </a:lnTo>
                  <a:lnTo>
                    <a:pt x="396" y="792"/>
                  </a:lnTo>
                  <a:lnTo>
                    <a:pt x="432" y="792"/>
                  </a:lnTo>
                  <a:lnTo>
                    <a:pt x="456" y="816"/>
                  </a:lnTo>
                  <a:lnTo>
                    <a:pt x="456" y="822"/>
                  </a:lnTo>
                  <a:lnTo>
                    <a:pt x="462" y="828"/>
                  </a:lnTo>
                  <a:lnTo>
                    <a:pt x="462" y="834"/>
                  </a:lnTo>
                  <a:lnTo>
                    <a:pt x="468" y="840"/>
                  </a:lnTo>
                  <a:lnTo>
                    <a:pt x="480" y="846"/>
                  </a:lnTo>
                  <a:lnTo>
                    <a:pt x="486" y="846"/>
                  </a:lnTo>
                  <a:lnTo>
                    <a:pt x="498" y="840"/>
                  </a:lnTo>
                  <a:lnTo>
                    <a:pt x="510" y="828"/>
                  </a:lnTo>
                  <a:lnTo>
                    <a:pt x="534" y="816"/>
                  </a:lnTo>
                  <a:lnTo>
                    <a:pt x="546" y="816"/>
                  </a:lnTo>
                  <a:lnTo>
                    <a:pt x="558" y="822"/>
                  </a:lnTo>
                  <a:lnTo>
                    <a:pt x="564" y="828"/>
                  </a:lnTo>
                  <a:lnTo>
                    <a:pt x="576" y="834"/>
                  </a:lnTo>
                  <a:lnTo>
                    <a:pt x="588" y="846"/>
                  </a:lnTo>
                  <a:lnTo>
                    <a:pt x="612" y="858"/>
                  </a:lnTo>
                  <a:lnTo>
                    <a:pt x="642" y="858"/>
                  </a:lnTo>
                  <a:lnTo>
                    <a:pt x="654" y="864"/>
                  </a:lnTo>
                  <a:lnTo>
                    <a:pt x="660" y="864"/>
                  </a:lnTo>
                  <a:lnTo>
                    <a:pt x="666" y="858"/>
                  </a:lnTo>
                  <a:lnTo>
                    <a:pt x="678" y="834"/>
                  </a:lnTo>
                  <a:lnTo>
                    <a:pt x="690" y="828"/>
                  </a:lnTo>
                  <a:lnTo>
                    <a:pt x="702" y="816"/>
                  </a:lnTo>
                  <a:lnTo>
                    <a:pt x="720" y="810"/>
                  </a:lnTo>
                  <a:lnTo>
                    <a:pt x="774" y="810"/>
                  </a:lnTo>
                  <a:lnTo>
                    <a:pt x="810" y="822"/>
                  </a:lnTo>
                  <a:lnTo>
                    <a:pt x="822" y="828"/>
                  </a:lnTo>
                  <a:lnTo>
                    <a:pt x="828" y="834"/>
                  </a:lnTo>
                  <a:lnTo>
                    <a:pt x="858" y="834"/>
                  </a:lnTo>
                  <a:lnTo>
                    <a:pt x="870" y="828"/>
                  </a:lnTo>
                  <a:lnTo>
                    <a:pt x="876" y="822"/>
                  </a:lnTo>
                  <a:lnTo>
                    <a:pt x="888" y="816"/>
                  </a:lnTo>
                  <a:lnTo>
                    <a:pt x="894" y="810"/>
                  </a:lnTo>
                  <a:lnTo>
                    <a:pt x="918" y="810"/>
                  </a:lnTo>
                  <a:lnTo>
                    <a:pt x="918" y="804"/>
                  </a:lnTo>
                  <a:lnTo>
                    <a:pt x="924" y="798"/>
                  </a:lnTo>
                  <a:lnTo>
                    <a:pt x="924" y="792"/>
                  </a:lnTo>
                  <a:lnTo>
                    <a:pt x="930" y="786"/>
                  </a:lnTo>
                  <a:lnTo>
                    <a:pt x="936" y="786"/>
                  </a:lnTo>
                  <a:lnTo>
                    <a:pt x="930" y="726"/>
                  </a:lnTo>
                  <a:lnTo>
                    <a:pt x="948" y="720"/>
                  </a:lnTo>
                  <a:lnTo>
                    <a:pt x="948" y="714"/>
                  </a:lnTo>
                  <a:lnTo>
                    <a:pt x="954" y="708"/>
                  </a:lnTo>
                  <a:lnTo>
                    <a:pt x="954" y="696"/>
                  </a:lnTo>
                  <a:lnTo>
                    <a:pt x="960" y="678"/>
                  </a:lnTo>
                  <a:lnTo>
                    <a:pt x="966" y="666"/>
                  </a:lnTo>
                  <a:lnTo>
                    <a:pt x="978" y="648"/>
                  </a:lnTo>
                  <a:lnTo>
                    <a:pt x="984" y="636"/>
                  </a:lnTo>
                  <a:lnTo>
                    <a:pt x="1002" y="618"/>
                  </a:lnTo>
                  <a:lnTo>
                    <a:pt x="1026" y="588"/>
                  </a:lnTo>
                  <a:lnTo>
                    <a:pt x="1050" y="564"/>
                  </a:lnTo>
                  <a:lnTo>
                    <a:pt x="1068" y="540"/>
                  </a:lnTo>
                  <a:lnTo>
                    <a:pt x="1074" y="534"/>
                  </a:lnTo>
                  <a:lnTo>
                    <a:pt x="1092" y="288"/>
                  </a:lnTo>
                  <a:lnTo>
                    <a:pt x="1110" y="252"/>
                  </a:lnTo>
                  <a:lnTo>
                    <a:pt x="1080" y="216"/>
                  </a:lnTo>
                  <a:lnTo>
                    <a:pt x="1074" y="192"/>
                  </a:lnTo>
                  <a:lnTo>
                    <a:pt x="1044" y="156"/>
                  </a:lnTo>
                  <a:lnTo>
                    <a:pt x="1056" y="108"/>
                  </a:lnTo>
                  <a:lnTo>
                    <a:pt x="1038" y="42"/>
                  </a:lnTo>
                  <a:lnTo>
                    <a:pt x="1020" y="48"/>
                  </a:lnTo>
                  <a:lnTo>
                    <a:pt x="1002" y="60"/>
                  </a:lnTo>
                  <a:lnTo>
                    <a:pt x="990" y="66"/>
                  </a:lnTo>
                  <a:lnTo>
                    <a:pt x="984" y="66"/>
                  </a:lnTo>
                  <a:lnTo>
                    <a:pt x="978" y="60"/>
                  </a:lnTo>
                  <a:lnTo>
                    <a:pt x="966" y="54"/>
                  </a:lnTo>
                  <a:lnTo>
                    <a:pt x="960" y="42"/>
                  </a:lnTo>
                  <a:lnTo>
                    <a:pt x="954" y="36"/>
                  </a:lnTo>
                  <a:lnTo>
                    <a:pt x="942" y="30"/>
                  </a:lnTo>
                  <a:lnTo>
                    <a:pt x="936" y="24"/>
                  </a:lnTo>
                  <a:lnTo>
                    <a:pt x="930" y="24"/>
                  </a:lnTo>
                  <a:lnTo>
                    <a:pt x="918" y="18"/>
                  </a:lnTo>
                  <a:lnTo>
                    <a:pt x="900" y="12"/>
                  </a:lnTo>
                  <a:lnTo>
                    <a:pt x="888" y="12"/>
                  </a:lnTo>
                  <a:lnTo>
                    <a:pt x="876" y="6"/>
                  </a:lnTo>
                  <a:lnTo>
                    <a:pt x="864" y="6"/>
                  </a:lnTo>
                  <a:lnTo>
                    <a:pt x="828" y="0"/>
                  </a:lnTo>
                  <a:lnTo>
                    <a:pt x="816" y="6"/>
                  </a:lnTo>
                  <a:lnTo>
                    <a:pt x="786" y="30"/>
                  </a:lnTo>
                  <a:lnTo>
                    <a:pt x="738" y="66"/>
                  </a:lnTo>
                  <a:lnTo>
                    <a:pt x="684" y="102"/>
                  </a:lnTo>
                  <a:lnTo>
                    <a:pt x="624" y="144"/>
                  </a:lnTo>
                  <a:lnTo>
                    <a:pt x="576" y="180"/>
                  </a:lnTo>
                  <a:lnTo>
                    <a:pt x="534" y="210"/>
                  </a:lnTo>
                  <a:lnTo>
                    <a:pt x="510" y="222"/>
                  </a:lnTo>
                  <a:lnTo>
                    <a:pt x="480" y="246"/>
                  </a:lnTo>
                  <a:lnTo>
                    <a:pt x="450" y="282"/>
                  </a:lnTo>
                  <a:lnTo>
                    <a:pt x="414" y="312"/>
                  </a:lnTo>
                  <a:lnTo>
                    <a:pt x="390" y="330"/>
                  </a:lnTo>
                  <a:lnTo>
                    <a:pt x="366" y="336"/>
                  </a:lnTo>
                  <a:lnTo>
                    <a:pt x="324" y="342"/>
                  </a:lnTo>
                  <a:lnTo>
                    <a:pt x="282" y="354"/>
                  </a:lnTo>
                  <a:lnTo>
                    <a:pt x="282" y="558"/>
                  </a:lnTo>
                  <a:lnTo>
                    <a:pt x="264" y="582"/>
                  </a:lnTo>
                  <a:lnTo>
                    <a:pt x="264" y="594"/>
                  </a:lnTo>
                  <a:lnTo>
                    <a:pt x="258" y="606"/>
                  </a:lnTo>
                  <a:lnTo>
                    <a:pt x="258" y="624"/>
                  </a:lnTo>
                  <a:lnTo>
                    <a:pt x="252" y="636"/>
                  </a:lnTo>
                  <a:lnTo>
                    <a:pt x="240" y="642"/>
                  </a:lnTo>
                  <a:lnTo>
                    <a:pt x="222" y="648"/>
                  </a:lnTo>
                  <a:lnTo>
                    <a:pt x="198" y="648"/>
                  </a:lnTo>
                  <a:lnTo>
                    <a:pt x="186" y="654"/>
                  </a:lnTo>
                  <a:lnTo>
                    <a:pt x="138" y="648"/>
                  </a:lnTo>
                  <a:lnTo>
                    <a:pt x="138" y="666"/>
                  </a:lnTo>
                  <a:lnTo>
                    <a:pt x="72" y="660"/>
                  </a:lnTo>
                  <a:lnTo>
                    <a:pt x="48" y="678"/>
                  </a:lnTo>
                  <a:lnTo>
                    <a:pt x="0" y="690"/>
                  </a:lnTo>
                  <a:lnTo>
                    <a:pt x="0" y="726"/>
                  </a:lnTo>
                  <a:lnTo>
                    <a:pt x="6" y="738"/>
                  </a:lnTo>
                  <a:lnTo>
                    <a:pt x="6" y="762"/>
                  </a:lnTo>
                  <a:lnTo>
                    <a:pt x="18" y="786"/>
                  </a:lnTo>
                  <a:lnTo>
                    <a:pt x="30" y="792"/>
                  </a:lnTo>
                  <a:lnTo>
                    <a:pt x="54" y="79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93" name="Niederlande" descr="© INSCALE GmbH, 05.05.2010&#10;http://www.presentationload.com/">
              <a:extLst>
                <a:ext uri="{FF2B5EF4-FFF2-40B4-BE49-F238E27FC236}">
                  <a16:creationId xmlns:a16="http://schemas.microsoft.com/office/drawing/2014/main" id="{B84171B8-23A6-49B6-BC97-E05230C5BC53}"/>
                </a:ext>
              </a:extLst>
            </p:cNvPr>
            <p:cNvSpPr>
              <a:spLocks/>
            </p:cNvSpPr>
            <p:nvPr/>
          </p:nvSpPr>
          <p:spPr bwMode="gray">
            <a:xfrm>
              <a:off x="4239121" y="2551324"/>
              <a:ext cx="108193" cy="83106"/>
            </a:xfrm>
            <a:custGeom>
              <a:avLst/>
              <a:gdLst>
                <a:gd name="T0" fmla="*/ 0 w 270"/>
                <a:gd name="T1" fmla="*/ 2147483647 h 210"/>
                <a:gd name="T2" fmla="*/ 2147483647 w 270"/>
                <a:gd name="T3" fmla="*/ 2147483647 h 210"/>
                <a:gd name="T4" fmla="*/ 2147483647 w 270"/>
                <a:gd name="T5" fmla="*/ 2147483647 h 210"/>
                <a:gd name="T6" fmla="*/ 2147483647 w 270"/>
                <a:gd name="T7" fmla="*/ 2147483647 h 210"/>
                <a:gd name="T8" fmla="*/ 2147483647 w 270"/>
                <a:gd name="T9" fmla="*/ 2147483647 h 210"/>
                <a:gd name="T10" fmla="*/ 2147483647 w 270"/>
                <a:gd name="T11" fmla="*/ 2147483647 h 210"/>
                <a:gd name="T12" fmla="*/ 2147483647 w 270"/>
                <a:gd name="T13" fmla="*/ 2147483647 h 210"/>
                <a:gd name="T14" fmla="*/ 2147483647 w 270"/>
                <a:gd name="T15" fmla="*/ 2147483647 h 210"/>
                <a:gd name="T16" fmla="*/ 2147483647 w 270"/>
                <a:gd name="T17" fmla="*/ 2147483647 h 210"/>
                <a:gd name="T18" fmla="*/ 2147483647 w 270"/>
                <a:gd name="T19" fmla="*/ 2147483647 h 210"/>
                <a:gd name="T20" fmla="*/ 2147483647 w 270"/>
                <a:gd name="T21" fmla="*/ 2147483647 h 210"/>
                <a:gd name="T22" fmla="*/ 2147483647 w 270"/>
                <a:gd name="T23" fmla="*/ 2147483647 h 210"/>
                <a:gd name="T24" fmla="*/ 2147483647 w 270"/>
                <a:gd name="T25" fmla="*/ 2147483647 h 210"/>
                <a:gd name="T26" fmla="*/ 2147483647 w 270"/>
                <a:gd name="T27" fmla="*/ 2147483647 h 210"/>
                <a:gd name="T28" fmla="*/ 2147483647 w 270"/>
                <a:gd name="T29" fmla="*/ 2147483647 h 210"/>
                <a:gd name="T30" fmla="*/ 2147483647 w 270"/>
                <a:gd name="T31" fmla="*/ 2147483647 h 210"/>
                <a:gd name="T32" fmla="*/ 2147483647 w 270"/>
                <a:gd name="T33" fmla="*/ 2147483647 h 210"/>
                <a:gd name="T34" fmla="*/ 2147483647 w 270"/>
                <a:gd name="T35" fmla="*/ 2147483647 h 210"/>
                <a:gd name="T36" fmla="*/ 2147483647 w 270"/>
                <a:gd name="T37" fmla="*/ 2147483647 h 210"/>
                <a:gd name="T38" fmla="*/ 2147483647 w 270"/>
                <a:gd name="T39" fmla="*/ 2147483647 h 210"/>
                <a:gd name="T40" fmla="*/ 2147483647 w 270"/>
                <a:gd name="T41" fmla="*/ 2147483647 h 210"/>
                <a:gd name="T42" fmla="*/ 2147483647 w 270"/>
                <a:gd name="T43" fmla="*/ 2147483647 h 210"/>
                <a:gd name="T44" fmla="*/ 2147483647 w 270"/>
                <a:gd name="T45" fmla="*/ 2147483647 h 210"/>
                <a:gd name="T46" fmla="*/ 2147483647 w 270"/>
                <a:gd name="T47" fmla="*/ 2147483647 h 210"/>
                <a:gd name="T48" fmla="*/ 2147483647 w 270"/>
                <a:gd name="T49" fmla="*/ 2147483647 h 210"/>
                <a:gd name="T50" fmla="*/ 2147483647 w 270"/>
                <a:gd name="T51" fmla="*/ 2147483647 h 210"/>
                <a:gd name="T52" fmla="*/ 2147483647 w 270"/>
                <a:gd name="T53" fmla="*/ 2147483647 h 210"/>
                <a:gd name="T54" fmla="*/ 2147483647 w 270"/>
                <a:gd name="T55" fmla="*/ 2147483647 h 210"/>
                <a:gd name="T56" fmla="*/ 2147483647 w 270"/>
                <a:gd name="T57" fmla="*/ 2147483647 h 210"/>
                <a:gd name="T58" fmla="*/ 2147483647 w 270"/>
                <a:gd name="T59" fmla="*/ 0 h 210"/>
                <a:gd name="T60" fmla="*/ 2147483647 w 270"/>
                <a:gd name="T61" fmla="*/ 2147483647 h 210"/>
                <a:gd name="T62" fmla="*/ 2147483647 w 270"/>
                <a:gd name="T63" fmla="*/ 2147483647 h 210"/>
                <a:gd name="T64" fmla="*/ 2147483647 w 270"/>
                <a:gd name="T65" fmla="*/ 2147483647 h 210"/>
                <a:gd name="T66" fmla="*/ 2147483647 w 270"/>
                <a:gd name="T67" fmla="*/ 2147483647 h 210"/>
                <a:gd name="T68" fmla="*/ 2147483647 w 270"/>
                <a:gd name="T69" fmla="*/ 2147483647 h 210"/>
                <a:gd name="T70" fmla="*/ 2147483647 w 270"/>
                <a:gd name="T71" fmla="*/ 2147483647 h 210"/>
                <a:gd name="T72" fmla="*/ 2147483647 w 270"/>
                <a:gd name="T73" fmla="*/ 2147483647 h 210"/>
                <a:gd name="T74" fmla="*/ 2147483647 w 270"/>
                <a:gd name="T75" fmla="*/ 2147483647 h 210"/>
                <a:gd name="T76" fmla="*/ 2147483647 w 270"/>
                <a:gd name="T77" fmla="*/ 2147483647 h 210"/>
                <a:gd name="T78" fmla="*/ 2147483647 w 270"/>
                <a:gd name="T79" fmla="*/ 2147483647 h 210"/>
                <a:gd name="T80" fmla="*/ 2147483647 w 270"/>
                <a:gd name="T81" fmla="*/ 2147483647 h 210"/>
                <a:gd name="T82" fmla="*/ 2147483647 w 270"/>
                <a:gd name="T83" fmla="*/ 2147483647 h 210"/>
                <a:gd name="T84" fmla="*/ 2147483647 w 270"/>
                <a:gd name="T85" fmla="*/ 2147483647 h 210"/>
                <a:gd name="T86" fmla="*/ 2147483647 w 270"/>
                <a:gd name="T87" fmla="*/ 2147483647 h 210"/>
                <a:gd name="T88" fmla="*/ 2147483647 w 270"/>
                <a:gd name="T89" fmla="*/ 2147483647 h 2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210"/>
                <a:gd name="T137" fmla="*/ 270 w 270"/>
                <a:gd name="T138" fmla="*/ 210 h 2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210">
                  <a:moveTo>
                    <a:pt x="18" y="156"/>
                  </a:moveTo>
                  <a:lnTo>
                    <a:pt x="0" y="174"/>
                  </a:lnTo>
                  <a:lnTo>
                    <a:pt x="12" y="162"/>
                  </a:lnTo>
                  <a:lnTo>
                    <a:pt x="24" y="162"/>
                  </a:lnTo>
                  <a:lnTo>
                    <a:pt x="30" y="168"/>
                  </a:lnTo>
                  <a:lnTo>
                    <a:pt x="54" y="168"/>
                  </a:lnTo>
                  <a:lnTo>
                    <a:pt x="60" y="174"/>
                  </a:lnTo>
                  <a:lnTo>
                    <a:pt x="66" y="162"/>
                  </a:lnTo>
                  <a:lnTo>
                    <a:pt x="84" y="168"/>
                  </a:lnTo>
                  <a:lnTo>
                    <a:pt x="84" y="156"/>
                  </a:lnTo>
                  <a:lnTo>
                    <a:pt x="96" y="162"/>
                  </a:lnTo>
                  <a:lnTo>
                    <a:pt x="96" y="156"/>
                  </a:lnTo>
                  <a:lnTo>
                    <a:pt x="132" y="156"/>
                  </a:lnTo>
                  <a:lnTo>
                    <a:pt x="132" y="168"/>
                  </a:lnTo>
                  <a:lnTo>
                    <a:pt x="138" y="174"/>
                  </a:lnTo>
                  <a:lnTo>
                    <a:pt x="150" y="174"/>
                  </a:lnTo>
                  <a:lnTo>
                    <a:pt x="162" y="168"/>
                  </a:lnTo>
                  <a:lnTo>
                    <a:pt x="168" y="168"/>
                  </a:lnTo>
                  <a:lnTo>
                    <a:pt x="174" y="174"/>
                  </a:lnTo>
                  <a:lnTo>
                    <a:pt x="174" y="192"/>
                  </a:lnTo>
                  <a:lnTo>
                    <a:pt x="168" y="198"/>
                  </a:lnTo>
                  <a:lnTo>
                    <a:pt x="168" y="210"/>
                  </a:lnTo>
                  <a:lnTo>
                    <a:pt x="180" y="210"/>
                  </a:lnTo>
                  <a:lnTo>
                    <a:pt x="180" y="198"/>
                  </a:lnTo>
                  <a:lnTo>
                    <a:pt x="186" y="192"/>
                  </a:lnTo>
                  <a:lnTo>
                    <a:pt x="186" y="180"/>
                  </a:lnTo>
                  <a:lnTo>
                    <a:pt x="180" y="174"/>
                  </a:lnTo>
                  <a:lnTo>
                    <a:pt x="186" y="168"/>
                  </a:lnTo>
                  <a:lnTo>
                    <a:pt x="198" y="162"/>
                  </a:lnTo>
                  <a:lnTo>
                    <a:pt x="198" y="156"/>
                  </a:lnTo>
                  <a:lnTo>
                    <a:pt x="192" y="150"/>
                  </a:lnTo>
                  <a:lnTo>
                    <a:pt x="192" y="144"/>
                  </a:lnTo>
                  <a:lnTo>
                    <a:pt x="186" y="120"/>
                  </a:lnTo>
                  <a:lnTo>
                    <a:pt x="192" y="120"/>
                  </a:lnTo>
                  <a:lnTo>
                    <a:pt x="198" y="126"/>
                  </a:lnTo>
                  <a:lnTo>
                    <a:pt x="222" y="126"/>
                  </a:lnTo>
                  <a:lnTo>
                    <a:pt x="222" y="120"/>
                  </a:lnTo>
                  <a:lnTo>
                    <a:pt x="228" y="114"/>
                  </a:lnTo>
                  <a:lnTo>
                    <a:pt x="234" y="114"/>
                  </a:lnTo>
                  <a:lnTo>
                    <a:pt x="240" y="102"/>
                  </a:lnTo>
                  <a:lnTo>
                    <a:pt x="246" y="96"/>
                  </a:lnTo>
                  <a:lnTo>
                    <a:pt x="252" y="96"/>
                  </a:lnTo>
                  <a:lnTo>
                    <a:pt x="252" y="90"/>
                  </a:lnTo>
                  <a:lnTo>
                    <a:pt x="240" y="78"/>
                  </a:lnTo>
                  <a:lnTo>
                    <a:pt x="234" y="78"/>
                  </a:lnTo>
                  <a:lnTo>
                    <a:pt x="228" y="72"/>
                  </a:lnTo>
                  <a:lnTo>
                    <a:pt x="228" y="66"/>
                  </a:lnTo>
                  <a:lnTo>
                    <a:pt x="234" y="66"/>
                  </a:lnTo>
                  <a:lnTo>
                    <a:pt x="246" y="60"/>
                  </a:lnTo>
                  <a:lnTo>
                    <a:pt x="258" y="60"/>
                  </a:lnTo>
                  <a:lnTo>
                    <a:pt x="252" y="54"/>
                  </a:lnTo>
                  <a:lnTo>
                    <a:pt x="252" y="36"/>
                  </a:lnTo>
                  <a:lnTo>
                    <a:pt x="258" y="36"/>
                  </a:lnTo>
                  <a:lnTo>
                    <a:pt x="270" y="30"/>
                  </a:lnTo>
                  <a:lnTo>
                    <a:pt x="264" y="18"/>
                  </a:lnTo>
                  <a:lnTo>
                    <a:pt x="270" y="12"/>
                  </a:lnTo>
                  <a:lnTo>
                    <a:pt x="264" y="12"/>
                  </a:lnTo>
                  <a:lnTo>
                    <a:pt x="252" y="6"/>
                  </a:lnTo>
                  <a:lnTo>
                    <a:pt x="246" y="6"/>
                  </a:lnTo>
                  <a:lnTo>
                    <a:pt x="234" y="0"/>
                  </a:lnTo>
                  <a:lnTo>
                    <a:pt x="180" y="0"/>
                  </a:lnTo>
                  <a:lnTo>
                    <a:pt x="168" y="12"/>
                  </a:lnTo>
                  <a:lnTo>
                    <a:pt x="156" y="18"/>
                  </a:lnTo>
                  <a:lnTo>
                    <a:pt x="156" y="30"/>
                  </a:lnTo>
                  <a:lnTo>
                    <a:pt x="162" y="36"/>
                  </a:lnTo>
                  <a:lnTo>
                    <a:pt x="162" y="54"/>
                  </a:lnTo>
                  <a:lnTo>
                    <a:pt x="168" y="60"/>
                  </a:lnTo>
                  <a:lnTo>
                    <a:pt x="174" y="60"/>
                  </a:lnTo>
                  <a:lnTo>
                    <a:pt x="180" y="66"/>
                  </a:lnTo>
                  <a:lnTo>
                    <a:pt x="180" y="78"/>
                  </a:lnTo>
                  <a:lnTo>
                    <a:pt x="168" y="84"/>
                  </a:lnTo>
                  <a:lnTo>
                    <a:pt x="162" y="90"/>
                  </a:lnTo>
                  <a:lnTo>
                    <a:pt x="144" y="90"/>
                  </a:lnTo>
                  <a:lnTo>
                    <a:pt x="138" y="84"/>
                  </a:lnTo>
                  <a:lnTo>
                    <a:pt x="138" y="66"/>
                  </a:lnTo>
                  <a:lnTo>
                    <a:pt x="150" y="54"/>
                  </a:lnTo>
                  <a:lnTo>
                    <a:pt x="150" y="36"/>
                  </a:lnTo>
                  <a:lnTo>
                    <a:pt x="144" y="30"/>
                  </a:lnTo>
                  <a:lnTo>
                    <a:pt x="144" y="24"/>
                  </a:lnTo>
                  <a:lnTo>
                    <a:pt x="132" y="36"/>
                  </a:lnTo>
                  <a:lnTo>
                    <a:pt x="120" y="42"/>
                  </a:lnTo>
                  <a:lnTo>
                    <a:pt x="114" y="48"/>
                  </a:lnTo>
                  <a:lnTo>
                    <a:pt x="102" y="54"/>
                  </a:lnTo>
                  <a:lnTo>
                    <a:pt x="96" y="66"/>
                  </a:lnTo>
                  <a:lnTo>
                    <a:pt x="96" y="84"/>
                  </a:lnTo>
                  <a:lnTo>
                    <a:pt x="90" y="90"/>
                  </a:lnTo>
                  <a:lnTo>
                    <a:pt x="90" y="102"/>
                  </a:lnTo>
                  <a:lnTo>
                    <a:pt x="60" y="132"/>
                  </a:lnTo>
                  <a:lnTo>
                    <a:pt x="72" y="144"/>
                  </a:lnTo>
                  <a:lnTo>
                    <a:pt x="42" y="144"/>
                  </a:lnTo>
                  <a:lnTo>
                    <a:pt x="18" y="156"/>
                  </a:lnTo>
                  <a:close/>
                </a:path>
              </a:pathLst>
            </a:custGeom>
            <a:solidFill>
              <a:schemeClr val="accent1"/>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94" name="Nicaragua" descr="© INSCALE GmbH, 05.05.2010&#10;http://www.presentationload.com/">
              <a:extLst>
                <a:ext uri="{FF2B5EF4-FFF2-40B4-BE49-F238E27FC236}">
                  <a16:creationId xmlns:a16="http://schemas.microsoft.com/office/drawing/2014/main" id="{62DC6B0F-41C0-492B-874D-713D190B40E7}"/>
                </a:ext>
              </a:extLst>
            </p:cNvPr>
            <p:cNvSpPr>
              <a:spLocks/>
            </p:cNvSpPr>
            <p:nvPr/>
          </p:nvSpPr>
          <p:spPr bwMode="gray">
            <a:xfrm>
              <a:off x="1667563" y="3777519"/>
              <a:ext cx="130145" cy="131714"/>
            </a:xfrm>
            <a:custGeom>
              <a:avLst/>
              <a:gdLst>
                <a:gd name="T0" fmla="*/ 2147483647 w 324"/>
                <a:gd name="T1" fmla="*/ 2147483647 h 330"/>
                <a:gd name="T2" fmla="*/ 2147483647 w 324"/>
                <a:gd name="T3" fmla="*/ 0 h 330"/>
                <a:gd name="T4" fmla="*/ 2147483647 w 324"/>
                <a:gd name="T5" fmla="*/ 2147483647 h 330"/>
                <a:gd name="T6" fmla="*/ 2147483647 w 324"/>
                <a:gd name="T7" fmla="*/ 2147483647 h 330"/>
                <a:gd name="T8" fmla="*/ 2147483647 w 324"/>
                <a:gd name="T9" fmla="*/ 0 h 330"/>
                <a:gd name="T10" fmla="*/ 2147483647 w 324"/>
                <a:gd name="T11" fmla="*/ 2147483647 h 330"/>
                <a:gd name="T12" fmla="*/ 2147483647 w 324"/>
                <a:gd name="T13" fmla="*/ 2147483647 h 330"/>
                <a:gd name="T14" fmla="*/ 2147483647 w 324"/>
                <a:gd name="T15" fmla="*/ 2147483647 h 330"/>
                <a:gd name="T16" fmla="*/ 2147483647 w 324"/>
                <a:gd name="T17" fmla="*/ 2147483647 h 330"/>
                <a:gd name="T18" fmla="*/ 2147483647 w 324"/>
                <a:gd name="T19" fmla="*/ 2147483647 h 330"/>
                <a:gd name="T20" fmla="*/ 2147483647 w 324"/>
                <a:gd name="T21" fmla="*/ 2147483647 h 330"/>
                <a:gd name="T22" fmla="*/ 2147483647 w 324"/>
                <a:gd name="T23" fmla="*/ 2147483647 h 330"/>
                <a:gd name="T24" fmla="*/ 2147483647 w 324"/>
                <a:gd name="T25" fmla="*/ 2147483647 h 330"/>
                <a:gd name="T26" fmla="*/ 2147483647 w 324"/>
                <a:gd name="T27" fmla="*/ 2147483647 h 330"/>
                <a:gd name="T28" fmla="*/ 2147483647 w 324"/>
                <a:gd name="T29" fmla="*/ 2147483647 h 330"/>
                <a:gd name="T30" fmla="*/ 2147483647 w 324"/>
                <a:gd name="T31" fmla="*/ 2147483647 h 330"/>
                <a:gd name="T32" fmla="*/ 2147483647 w 324"/>
                <a:gd name="T33" fmla="*/ 2147483647 h 330"/>
                <a:gd name="T34" fmla="*/ 2147483647 w 324"/>
                <a:gd name="T35" fmla="*/ 2147483647 h 330"/>
                <a:gd name="T36" fmla="*/ 2147483647 w 324"/>
                <a:gd name="T37" fmla="*/ 2147483647 h 330"/>
                <a:gd name="T38" fmla="*/ 2147483647 w 324"/>
                <a:gd name="T39" fmla="*/ 2147483647 h 330"/>
                <a:gd name="T40" fmla="*/ 2147483647 w 324"/>
                <a:gd name="T41" fmla="*/ 2147483647 h 330"/>
                <a:gd name="T42" fmla="*/ 2147483647 w 324"/>
                <a:gd name="T43" fmla="*/ 2147483647 h 330"/>
                <a:gd name="T44" fmla="*/ 2147483647 w 324"/>
                <a:gd name="T45" fmla="*/ 2147483647 h 330"/>
                <a:gd name="T46" fmla="*/ 2147483647 w 324"/>
                <a:gd name="T47" fmla="*/ 2147483647 h 330"/>
                <a:gd name="T48" fmla="*/ 2147483647 w 324"/>
                <a:gd name="T49" fmla="*/ 2147483647 h 330"/>
                <a:gd name="T50" fmla="*/ 2147483647 w 324"/>
                <a:gd name="T51" fmla="*/ 2147483647 h 330"/>
                <a:gd name="T52" fmla="*/ 2147483647 w 324"/>
                <a:gd name="T53" fmla="*/ 2147483647 h 330"/>
                <a:gd name="T54" fmla="*/ 2147483647 w 324"/>
                <a:gd name="T55" fmla="*/ 2147483647 h 330"/>
                <a:gd name="T56" fmla="*/ 2147483647 w 324"/>
                <a:gd name="T57" fmla="*/ 2147483647 h 330"/>
                <a:gd name="T58" fmla="*/ 2147483647 w 324"/>
                <a:gd name="T59" fmla="*/ 2147483647 h 330"/>
                <a:gd name="T60" fmla="*/ 2147483647 w 324"/>
                <a:gd name="T61" fmla="*/ 2147483647 h 330"/>
                <a:gd name="T62" fmla="*/ 2147483647 w 324"/>
                <a:gd name="T63" fmla="*/ 2147483647 h 330"/>
                <a:gd name="T64" fmla="*/ 2147483647 w 324"/>
                <a:gd name="T65" fmla="*/ 2147483647 h 330"/>
                <a:gd name="T66" fmla="*/ 2147483647 w 324"/>
                <a:gd name="T67" fmla="*/ 2147483647 h 330"/>
                <a:gd name="T68" fmla="*/ 2147483647 w 324"/>
                <a:gd name="T69" fmla="*/ 2147483647 h 330"/>
                <a:gd name="T70" fmla="*/ 2147483647 w 324"/>
                <a:gd name="T71" fmla="*/ 2147483647 h 330"/>
                <a:gd name="T72" fmla="*/ 2147483647 w 324"/>
                <a:gd name="T73" fmla="*/ 2147483647 h 330"/>
                <a:gd name="T74" fmla="*/ 2147483647 w 324"/>
                <a:gd name="T75" fmla="*/ 2147483647 h 330"/>
                <a:gd name="T76" fmla="*/ 2147483647 w 324"/>
                <a:gd name="T77" fmla="*/ 2147483647 h 330"/>
                <a:gd name="T78" fmla="*/ 2147483647 w 324"/>
                <a:gd name="T79" fmla="*/ 2147483647 h 330"/>
                <a:gd name="T80" fmla="*/ 2147483647 w 324"/>
                <a:gd name="T81" fmla="*/ 2147483647 h 3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4"/>
                <a:gd name="T124" fmla="*/ 0 h 330"/>
                <a:gd name="T125" fmla="*/ 324 w 324"/>
                <a:gd name="T126" fmla="*/ 330 h 33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4" h="330">
                  <a:moveTo>
                    <a:pt x="324" y="18"/>
                  </a:moveTo>
                  <a:lnTo>
                    <a:pt x="318" y="12"/>
                  </a:lnTo>
                  <a:lnTo>
                    <a:pt x="318" y="6"/>
                  </a:lnTo>
                  <a:lnTo>
                    <a:pt x="312" y="0"/>
                  </a:lnTo>
                  <a:lnTo>
                    <a:pt x="264" y="0"/>
                  </a:lnTo>
                  <a:lnTo>
                    <a:pt x="264" y="6"/>
                  </a:lnTo>
                  <a:lnTo>
                    <a:pt x="252" y="18"/>
                  </a:lnTo>
                  <a:lnTo>
                    <a:pt x="240" y="18"/>
                  </a:lnTo>
                  <a:lnTo>
                    <a:pt x="222" y="0"/>
                  </a:lnTo>
                  <a:lnTo>
                    <a:pt x="210" y="0"/>
                  </a:lnTo>
                  <a:lnTo>
                    <a:pt x="198" y="12"/>
                  </a:lnTo>
                  <a:lnTo>
                    <a:pt x="198" y="30"/>
                  </a:lnTo>
                  <a:lnTo>
                    <a:pt x="180" y="30"/>
                  </a:lnTo>
                  <a:lnTo>
                    <a:pt x="168" y="54"/>
                  </a:lnTo>
                  <a:lnTo>
                    <a:pt x="144" y="78"/>
                  </a:lnTo>
                  <a:lnTo>
                    <a:pt x="126" y="78"/>
                  </a:lnTo>
                  <a:lnTo>
                    <a:pt x="120" y="72"/>
                  </a:lnTo>
                  <a:lnTo>
                    <a:pt x="120" y="66"/>
                  </a:lnTo>
                  <a:lnTo>
                    <a:pt x="108" y="66"/>
                  </a:lnTo>
                  <a:lnTo>
                    <a:pt x="102" y="72"/>
                  </a:lnTo>
                  <a:lnTo>
                    <a:pt x="96" y="84"/>
                  </a:lnTo>
                  <a:lnTo>
                    <a:pt x="60" y="84"/>
                  </a:lnTo>
                  <a:lnTo>
                    <a:pt x="54" y="90"/>
                  </a:lnTo>
                  <a:lnTo>
                    <a:pt x="54" y="102"/>
                  </a:lnTo>
                  <a:lnTo>
                    <a:pt x="60" y="108"/>
                  </a:lnTo>
                  <a:lnTo>
                    <a:pt x="60" y="120"/>
                  </a:lnTo>
                  <a:lnTo>
                    <a:pt x="66" y="126"/>
                  </a:lnTo>
                  <a:lnTo>
                    <a:pt x="48" y="126"/>
                  </a:lnTo>
                  <a:lnTo>
                    <a:pt x="48" y="144"/>
                  </a:lnTo>
                  <a:lnTo>
                    <a:pt x="36" y="150"/>
                  </a:lnTo>
                  <a:lnTo>
                    <a:pt x="0" y="150"/>
                  </a:lnTo>
                  <a:lnTo>
                    <a:pt x="48" y="204"/>
                  </a:lnTo>
                  <a:lnTo>
                    <a:pt x="48" y="210"/>
                  </a:lnTo>
                  <a:lnTo>
                    <a:pt x="54" y="216"/>
                  </a:lnTo>
                  <a:lnTo>
                    <a:pt x="54" y="228"/>
                  </a:lnTo>
                  <a:lnTo>
                    <a:pt x="66" y="252"/>
                  </a:lnTo>
                  <a:lnTo>
                    <a:pt x="72" y="258"/>
                  </a:lnTo>
                  <a:lnTo>
                    <a:pt x="96" y="270"/>
                  </a:lnTo>
                  <a:lnTo>
                    <a:pt x="108" y="282"/>
                  </a:lnTo>
                  <a:lnTo>
                    <a:pt x="114" y="294"/>
                  </a:lnTo>
                  <a:lnTo>
                    <a:pt x="138" y="294"/>
                  </a:lnTo>
                  <a:lnTo>
                    <a:pt x="132" y="294"/>
                  </a:lnTo>
                  <a:lnTo>
                    <a:pt x="120" y="282"/>
                  </a:lnTo>
                  <a:lnTo>
                    <a:pt x="120" y="276"/>
                  </a:lnTo>
                  <a:lnTo>
                    <a:pt x="126" y="270"/>
                  </a:lnTo>
                  <a:lnTo>
                    <a:pt x="138" y="270"/>
                  </a:lnTo>
                  <a:lnTo>
                    <a:pt x="138" y="264"/>
                  </a:lnTo>
                  <a:lnTo>
                    <a:pt x="132" y="258"/>
                  </a:lnTo>
                  <a:lnTo>
                    <a:pt x="126" y="258"/>
                  </a:lnTo>
                  <a:lnTo>
                    <a:pt x="120" y="264"/>
                  </a:lnTo>
                  <a:lnTo>
                    <a:pt x="114" y="264"/>
                  </a:lnTo>
                  <a:lnTo>
                    <a:pt x="114" y="222"/>
                  </a:lnTo>
                  <a:lnTo>
                    <a:pt x="120" y="222"/>
                  </a:lnTo>
                  <a:lnTo>
                    <a:pt x="132" y="228"/>
                  </a:lnTo>
                  <a:lnTo>
                    <a:pt x="144" y="240"/>
                  </a:lnTo>
                  <a:lnTo>
                    <a:pt x="156" y="246"/>
                  </a:lnTo>
                  <a:lnTo>
                    <a:pt x="180" y="270"/>
                  </a:lnTo>
                  <a:lnTo>
                    <a:pt x="192" y="306"/>
                  </a:lnTo>
                  <a:lnTo>
                    <a:pt x="210" y="306"/>
                  </a:lnTo>
                  <a:lnTo>
                    <a:pt x="216" y="312"/>
                  </a:lnTo>
                  <a:lnTo>
                    <a:pt x="222" y="312"/>
                  </a:lnTo>
                  <a:lnTo>
                    <a:pt x="222" y="318"/>
                  </a:lnTo>
                  <a:lnTo>
                    <a:pt x="234" y="330"/>
                  </a:lnTo>
                  <a:lnTo>
                    <a:pt x="270" y="330"/>
                  </a:lnTo>
                  <a:lnTo>
                    <a:pt x="270" y="324"/>
                  </a:lnTo>
                  <a:lnTo>
                    <a:pt x="258" y="312"/>
                  </a:lnTo>
                  <a:lnTo>
                    <a:pt x="252" y="300"/>
                  </a:lnTo>
                  <a:lnTo>
                    <a:pt x="252" y="276"/>
                  </a:lnTo>
                  <a:lnTo>
                    <a:pt x="264" y="264"/>
                  </a:lnTo>
                  <a:lnTo>
                    <a:pt x="270" y="264"/>
                  </a:lnTo>
                  <a:lnTo>
                    <a:pt x="270" y="246"/>
                  </a:lnTo>
                  <a:lnTo>
                    <a:pt x="264" y="234"/>
                  </a:lnTo>
                  <a:lnTo>
                    <a:pt x="264" y="222"/>
                  </a:lnTo>
                  <a:lnTo>
                    <a:pt x="270" y="174"/>
                  </a:lnTo>
                  <a:lnTo>
                    <a:pt x="282" y="192"/>
                  </a:lnTo>
                  <a:lnTo>
                    <a:pt x="288" y="108"/>
                  </a:lnTo>
                  <a:lnTo>
                    <a:pt x="288" y="102"/>
                  </a:lnTo>
                  <a:lnTo>
                    <a:pt x="294" y="96"/>
                  </a:lnTo>
                  <a:lnTo>
                    <a:pt x="306" y="72"/>
                  </a:lnTo>
                  <a:lnTo>
                    <a:pt x="312" y="66"/>
                  </a:lnTo>
                  <a:lnTo>
                    <a:pt x="324" y="42"/>
                  </a:lnTo>
                  <a:lnTo>
                    <a:pt x="324" y="18"/>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95" name="Neu Seeland" descr="© INSCALE GmbH, 05.05.2010&#10;http://www.presentationload.com/">
              <a:extLst>
                <a:ext uri="{FF2B5EF4-FFF2-40B4-BE49-F238E27FC236}">
                  <a16:creationId xmlns:a16="http://schemas.microsoft.com/office/drawing/2014/main" id="{DBEF31AB-83C9-43D3-B40F-950A3CA72BA3}"/>
                </a:ext>
              </a:extLst>
            </p:cNvPr>
            <p:cNvSpPr>
              <a:spLocks noEditPoints="1"/>
            </p:cNvSpPr>
            <p:nvPr/>
          </p:nvSpPr>
          <p:spPr bwMode="gray">
            <a:xfrm>
              <a:off x="8350477" y="5351814"/>
              <a:ext cx="504903" cy="390438"/>
            </a:xfrm>
            <a:custGeom>
              <a:avLst/>
              <a:gdLst>
                <a:gd name="T0" fmla="*/ 2147483647 w 1272"/>
                <a:gd name="T1" fmla="*/ 2147483647 h 984"/>
                <a:gd name="T2" fmla="*/ 2147483647 w 1272"/>
                <a:gd name="T3" fmla="*/ 2147483647 h 984"/>
                <a:gd name="T4" fmla="*/ 2147483647 w 1272"/>
                <a:gd name="T5" fmla="*/ 2147483647 h 984"/>
                <a:gd name="T6" fmla="*/ 2147483647 w 1272"/>
                <a:gd name="T7" fmla="*/ 2147483647 h 984"/>
                <a:gd name="T8" fmla="*/ 2147483647 w 1272"/>
                <a:gd name="T9" fmla="*/ 2147483647 h 984"/>
                <a:gd name="T10" fmla="*/ 2147483647 w 1272"/>
                <a:gd name="T11" fmla="*/ 2147483647 h 984"/>
                <a:gd name="T12" fmla="*/ 2147483647 w 1272"/>
                <a:gd name="T13" fmla="*/ 2147483647 h 984"/>
                <a:gd name="T14" fmla="*/ 2147483647 w 1272"/>
                <a:gd name="T15" fmla="*/ 2147483647 h 984"/>
                <a:gd name="T16" fmla="*/ 2147483647 w 1272"/>
                <a:gd name="T17" fmla="*/ 2147483647 h 984"/>
                <a:gd name="T18" fmla="*/ 2147483647 w 1272"/>
                <a:gd name="T19" fmla="*/ 2147483647 h 984"/>
                <a:gd name="T20" fmla="*/ 2147483647 w 1272"/>
                <a:gd name="T21" fmla="*/ 2147483647 h 984"/>
                <a:gd name="T22" fmla="*/ 2147483647 w 1272"/>
                <a:gd name="T23" fmla="*/ 2147483647 h 984"/>
                <a:gd name="T24" fmla="*/ 2147483647 w 1272"/>
                <a:gd name="T25" fmla="*/ 2147483647 h 984"/>
                <a:gd name="T26" fmla="*/ 2147483647 w 1272"/>
                <a:gd name="T27" fmla="*/ 2147483647 h 984"/>
                <a:gd name="T28" fmla="*/ 2147483647 w 1272"/>
                <a:gd name="T29" fmla="*/ 2147483647 h 984"/>
                <a:gd name="T30" fmla="*/ 2147483647 w 1272"/>
                <a:gd name="T31" fmla="*/ 2147483647 h 984"/>
                <a:gd name="T32" fmla="*/ 2147483647 w 1272"/>
                <a:gd name="T33" fmla="*/ 2147483647 h 984"/>
                <a:gd name="T34" fmla="*/ 2147483647 w 1272"/>
                <a:gd name="T35" fmla="*/ 2147483647 h 984"/>
                <a:gd name="T36" fmla="*/ 2147483647 w 1272"/>
                <a:gd name="T37" fmla="*/ 2147483647 h 984"/>
                <a:gd name="T38" fmla="*/ 2147483647 w 1272"/>
                <a:gd name="T39" fmla="*/ 2147483647 h 984"/>
                <a:gd name="T40" fmla="*/ 2147483647 w 1272"/>
                <a:gd name="T41" fmla="*/ 2147483647 h 984"/>
                <a:gd name="T42" fmla="*/ 2147483647 w 1272"/>
                <a:gd name="T43" fmla="*/ 2147483647 h 984"/>
                <a:gd name="T44" fmla="*/ 2147483647 w 1272"/>
                <a:gd name="T45" fmla="*/ 2147483647 h 984"/>
                <a:gd name="T46" fmla="*/ 2147483647 w 1272"/>
                <a:gd name="T47" fmla="*/ 2147483647 h 984"/>
                <a:gd name="T48" fmla="*/ 2147483647 w 1272"/>
                <a:gd name="T49" fmla="*/ 2147483647 h 984"/>
                <a:gd name="T50" fmla="*/ 2147483647 w 1272"/>
                <a:gd name="T51" fmla="*/ 2147483647 h 984"/>
                <a:gd name="T52" fmla="*/ 2147483647 w 1272"/>
                <a:gd name="T53" fmla="*/ 2147483647 h 984"/>
                <a:gd name="T54" fmla="*/ 2147483647 w 1272"/>
                <a:gd name="T55" fmla="*/ 2147483647 h 984"/>
                <a:gd name="T56" fmla="*/ 2147483647 w 1272"/>
                <a:gd name="T57" fmla="*/ 2147483647 h 984"/>
                <a:gd name="T58" fmla="*/ 2147483647 w 1272"/>
                <a:gd name="T59" fmla="*/ 2147483647 h 984"/>
                <a:gd name="T60" fmla="*/ 2147483647 w 1272"/>
                <a:gd name="T61" fmla="*/ 2147483647 h 984"/>
                <a:gd name="T62" fmla="*/ 2147483647 w 1272"/>
                <a:gd name="T63" fmla="*/ 2147483647 h 984"/>
                <a:gd name="T64" fmla="*/ 2147483647 w 1272"/>
                <a:gd name="T65" fmla="*/ 2147483647 h 984"/>
                <a:gd name="T66" fmla="*/ 2147483647 w 1272"/>
                <a:gd name="T67" fmla="*/ 2147483647 h 984"/>
                <a:gd name="T68" fmla="*/ 2147483647 w 1272"/>
                <a:gd name="T69" fmla="*/ 2147483647 h 984"/>
                <a:gd name="T70" fmla="*/ 2147483647 w 1272"/>
                <a:gd name="T71" fmla="*/ 2147483647 h 984"/>
                <a:gd name="T72" fmla="*/ 2147483647 w 1272"/>
                <a:gd name="T73" fmla="*/ 2147483647 h 984"/>
                <a:gd name="T74" fmla="*/ 2147483647 w 1272"/>
                <a:gd name="T75" fmla="*/ 2147483647 h 984"/>
                <a:gd name="T76" fmla="*/ 2147483647 w 1272"/>
                <a:gd name="T77" fmla="*/ 2147483647 h 984"/>
                <a:gd name="T78" fmla="*/ 2147483647 w 1272"/>
                <a:gd name="T79" fmla="*/ 2147483647 h 984"/>
                <a:gd name="T80" fmla="*/ 2147483647 w 1272"/>
                <a:gd name="T81" fmla="*/ 2147483647 h 984"/>
                <a:gd name="T82" fmla="*/ 2147483647 w 1272"/>
                <a:gd name="T83" fmla="*/ 2147483647 h 984"/>
                <a:gd name="T84" fmla="*/ 2147483647 w 1272"/>
                <a:gd name="T85" fmla="*/ 2147483647 h 984"/>
                <a:gd name="T86" fmla="*/ 2147483647 w 1272"/>
                <a:gd name="T87" fmla="*/ 2147483647 h 984"/>
                <a:gd name="T88" fmla="*/ 2147483647 w 1272"/>
                <a:gd name="T89" fmla="*/ 2147483647 h 984"/>
                <a:gd name="T90" fmla="*/ 2147483647 w 1272"/>
                <a:gd name="T91" fmla="*/ 2147483647 h 984"/>
                <a:gd name="T92" fmla="*/ 2147483647 w 1272"/>
                <a:gd name="T93" fmla="*/ 2147483647 h 984"/>
                <a:gd name="T94" fmla="*/ 2147483647 w 1272"/>
                <a:gd name="T95" fmla="*/ 2147483647 h 984"/>
                <a:gd name="T96" fmla="*/ 2147483647 w 1272"/>
                <a:gd name="T97" fmla="*/ 2147483647 h 984"/>
                <a:gd name="T98" fmla="*/ 2147483647 w 1272"/>
                <a:gd name="T99" fmla="*/ 2147483647 h 984"/>
                <a:gd name="T100" fmla="*/ 2147483647 w 1272"/>
                <a:gd name="T101" fmla="*/ 2147483647 h 984"/>
                <a:gd name="T102" fmla="*/ 2147483647 w 1272"/>
                <a:gd name="T103" fmla="*/ 2147483647 h 984"/>
                <a:gd name="T104" fmla="*/ 2147483647 w 1272"/>
                <a:gd name="T105" fmla="*/ 2147483647 h 984"/>
                <a:gd name="T106" fmla="*/ 2147483647 w 1272"/>
                <a:gd name="T107" fmla="*/ 2147483647 h 984"/>
                <a:gd name="T108" fmla="*/ 2147483647 w 1272"/>
                <a:gd name="T109" fmla="*/ 2147483647 h 984"/>
                <a:gd name="T110" fmla="*/ 2147483647 w 1272"/>
                <a:gd name="T111" fmla="*/ 2147483647 h 984"/>
                <a:gd name="T112" fmla="*/ 2147483647 w 1272"/>
                <a:gd name="T113" fmla="*/ 2147483647 h 984"/>
                <a:gd name="T114" fmla="*/ 2147483647 w 1272"/>
                <a:gd name="T115" fmla="*/ 2147483647 h 984"/>
                <a:gd name="T116" fmla="*/ 2147483647 w 1272"/>
                <a:gd name="T117" fmla="*/ 2147483647 h 984"/>
                <a:gd name="T118" fmla="*/ 2147483647 w 1272"/>
                <a:gd name="T119" fmla="*/ 2147483647 h 984"/>
                <a:gd name="T120" fmla="*/ 2147483647 w 1272"/>
                <a:gd name="T121" fmla="*/ 2147483647 h 9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72"/>
                <a:gd name="T184" fmla="*/ 0 h 984"/>
                <a:gd name="T185" fmla="*/ 1272 w 1272"/>
                <a:gd name="T186" fmla="*/ 984 h 98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72" h="984">
                  <a:moveTo>
                    <a:pt x="750" y="564"/>
                  </a:moveTo>
                  <a:lnTo>
                    <a:pt x="738" y="564"/>
                  </a:lnTo>
                  <a:lnTo>
                    <a:pt x="744" y="528"/>
                  </a:lnTo>
                  <a:lnTo>
                    <a:pt x="720" y="546"/>
                  </a:lnTo>
                  <a:lnTo>
                    <a:pt x="726" y="540"/>
                  </a:lnTo>
                  <a:lnTo>
                    <a:pt x="726" y="504"/>
                  </a:lnTo>
                  <a:lnTo>
                    <a:pt x="708" y="504"/>
                  </a:lnTo>
                  <a:lnTo>
                    <a:pt x="702" y="510"/>
                  </a:lnTo>
                  <a:lnTo>
                    <a:pt x="696" y="522"/>
                  </a:lnTo>
                  <a:lnTo>
                    <a:pt x="690" y="528"/>
                  </a:lnTo>
                  <a:lnTo>
                    <a:pt x="672" y="540"/>
                  </a:lnTo>
                  <a:lnTo>
                    <a:pt x="660" y="546"/>
                  </a:lnTo>
                  <a:lnTo>
                    <a:pt x="654" y="558"/>
                  </a:lnTo>
                  <a:lnTo>
                    <a:pt x="642" y="570"/>
                  </a:lnTo>
                  <a:lnTo>
                    <a:pt x="630" y="576"/>
                  </a:lnTo>
                  <a:lnTo>
                    <a:pt x="618" y="588"/>
                  </a:lnTo>
                  <a:lnTo>
                    <a:pt x="606" y="588"/>
                  </a:lnTo>
                  <a:lnTo>
                    <a:pt x="588" y="600"/>
                  </a:lnTo>
                  <a:lnTo>
                    <a:pt x="576" y="606"/>
                  </a:lnTo>
                  <a:lnTo>
                    <a:pt x="546" y="636"/>
                  </a:lnTo>
                  <a:lnTo>
                    <a:pt x="540" y="648"/>
                  </a:lnTo>
                  <a:lnTo>
                    <a:pt x="534" y="648"/>
                  </a:lnTo>
                  <a:lnTo>
                    <a:pt x="528" y="654"/>
                  </a:lnTo>
                  <a:lnTo>
                    <a:pt x="510" y="660"/>
                  </a:lnTo>
                  <a:lnTo>
                    <a:pt x="498" y="666"/>
                  </a:lnTo>
                  <a:lnTo>
                    <a:pt x="462" y="678"/>
                  </a:lnTo>
                  <a:lnTo>
                    <a:pt x="438" y="690"/>
                  </a:lnTo>
                  <a:lnTo>
                    <a:pt x="426" y="702"/>
                  </a:lnTo>
                  <a:lnTo>
                    <a:pt x="414" y="708"/>
                  </a:lnTo>
                  <a:lnTo>
                    <a:pt x="408" y="720"/>
                  </a:lnTo>
                  <a:lnTo>
                    <a:pt x="396" y="726"/>
                  </a:lnTo>
                  <a:lnTo>
                    <a:pt x="378" y="726"/>
                  </a:lnTo>
                  <a:lnTo>
                    <a:pt x="366" y="732"/>
                  </a:lnTo>
                  <a:lnTo>
                    <a:pt x="312" y="750"/>
                  </a:lnTo>
                  <a:lnTo>
                    <a:pt x="288" y="762"/>
                  </a:lnTo>
                  <a:lnTo>
                    <a:pt x="270" y="774"/>
                  </a:lnTo>
                  <a:lnTo>
                    <a:pt x="246" y="786"/>
                  </a:lnTo>
                  <a:lnTo>
                    <a:pt x="222" y="792"/>
                  </a:lnTo>
                  <a:lnTo>
                    <a:pt x="198" y="804"/>
                  </a:lnTo>
                  <a:lnTo>
                    <a:pt x="180" y="810"/>
                  </a:lnTo>
                  <a:lnTo>
                    <a:pt x="174" y="816"/>
                  </a:lnTo>
                  <a:lnTo>
                    <a:pt x="168" y="828"/>
                  </a:lnTo>
                  <a:lnTo>
                    <a:pt x="168" y="846"/>
                  </a:lnTo>
                  <a:lnTo>
                    <a:pt x="156" y="834"/>
                  </a:lnTo>
                  <a:lnTo>
                    <a:pt x="150" y="834"/>
                  </a:lnTo>
                  <a:lnTo>
                    <a:pt x="144" y="840"/>
                  </a:lnTo>
                  <a:lnTo>
                    <a:pt x="120" y="852"/>
                  </a:lnTo>
                  <a:lnTo>
                    <a:pt x="108" y="864"/>
                  </a:lnTo>
                  <a:lnTo>
                    <a:pt x="72" y="882"/>
                  </a:lnTo>
                  <a:lnTo>
                    <a:pt x="66" y="882"/>
                  </a:lnTo>
                  <a:lnTo>
                    <a:pt x="54" y="888"/>
                  </a:lnTo>
                  <a:lnTo>
                    <a:pt x="36" y="888"/>
                  </a:lnTo>
                  <a:lnTo>
                    <a:pt x="18" y="894"/>
                  </a:lnTo>
                  <a:lnTo>
                    <a:pt x="12" y="906"/>
                  </a:lnTo>
                  <a:lnTo>
                    <a:pt x="0" y="912"/>
                  </a:lnTo>
                  <a:lnTo>
                    <a:pt x="18" y="912"/>
                  </a:lnTo>
                  <a:lnTo>
                    <a:pt x="24" y="918"/>
                  </a:lnTo>
                  <a:lnTo>
                    <a:pt x="30" y="918"/>
                  </a:lnTo>
                  <a:lnTo>
                    <a:pt x="24" y="924"/>
                  </a:lnTo>
                  <a:lnTo>
                    <a:pt x="24" y="942"/>
                  </a:lnTo>
                  <a:lnTo>
                    <a:pt x="30" y="948"/>
                  </a:lnTo>
                  <a:lnTo>
                    <a:pt x="42" y="948"/>
                  </a:lnTo>
                  <a:lnTo>
                    <a:pt x="54" y="942"/>
                  </a:lnTo>
                  <a:lnTo>
                    <a:pt x="60" y="936"/>
                  </a:lnTo>
                  <a:lnTo>
                    <a:pt x="72" y="948"/>
                  </a:lnTo>
                  <a:lnTo>
                    <a:pt x="96" y="948"/>
                  </a:lnTo>
                  <a:lnTo>
                    <a:pt x="102" y="954"/>
                  </a:lnTo>
                  <a:lnTo>
                    <a:pt x="132" y="954"/>
                  </a:lnTo>
                  <a:lnTo>
                    <a:pt x="150" y="972"/>
                  </a:lnTo>
                  <a:lnTo>
                    <a:pt x="180" y="966"/>
                  </a:lnTo>
                  <a:lnTo>
                    <a:pt x="192" y="972"/>
                  </a:lnTo>
                  <a:lnTo>
                    <a:pt x="198" y="978"/>
                  </a:lnTo>
                  <a:lnTo>
                    <a:pt x="216" y="984"/>
                  </a:lnTo>
                  <a:lnTo>
                    <a:pt x="228" y="984"/>
                  </a:lnTo>
                  <a:lnTo>
                    <a:pt x="252" y="972"/>
                  </a:lnTo>
                  <a:lnTo>
                    <a:pt x="264" y="948"/>
                  </a:lnTo>
                  <a:lnTo>
                    <a:pt x="288" y="936"/>
                  </a:lnTo>
                  <a:lnTo>
                    <a:pt x="312" y="936"/>
                  </a:lnTo>
                  <a:lnTo>
                    <a:pt x="336" y="924"/>
                  </a:lnTo>
                  <a:lnTo>
                    <a:pt x="342" y="912"/>
                  </a:lnTo>
                  <a:lnTo>
                    <a:pt x="342" y="894"/>
                  </a:lnTo>
                  <a:lnTo>
                    <a:pt x="348" y="882"/>
                  </a:lnTo>
                  <a:lnTo>
                    <a:pt x="372" y="870"/>
                  </a:lnTo>
                  <a:lnTo>
                    <a:pt x="396" y="870"/>
                  </a:lnTo>
                  <a:lnTo>
                    <a:pt x="408" y="858"/>
                  </a:lnTo>
                  <a:lnTo>
                    <a:pt x="408" y="846"/>
                  </a:lnTo>
                  <a:lnTo>
                    <a:pt x="402" y="840"/>
                  </a:lnTo>
                  <a:lnTo>
                    <a:pt x="420" y="840"/>
                  </a:lnTo>
                  <a:lnTo>
                    <a:pt x="480" y="792"/>
                  </a:lnTo>
                  <a:lnTo>
                    <a:pt x="462" y="774"/>
                  </a:lnTo>
                  <a:lnTo>
                    <a:pt x="504" y="792"/>
                  </a:lnTo>
                  <a:lnTo>
                    <a:pt x="504" y="774"/>
                  </a:lnTo>
                  <a:lnTo>
                    <a:pt x="510" y="768"/>
                  </a:lnTo>
                  <a:lnTo>
                    <a:pt x="540" y="768"/>
                  </a:lnTo>
                  <a:lnTo>
                    <a:pt x="546" y="774"/>
                  </a:lnTo>
                  <a:lnTo>
                    <a:pt x="558" y="780"/>
                  </a:lnTo>
                  <a:lnTo>
                    <a:pt x="570" y="780"/>
                  </a:lnTo>
                  <a:lnTo>
                    <a:pt x="576" y="774"/>
                  </a:lnTo>
                  <a:lnTo>
                    <a:pt x="576" y="768"/>
                  </a:lnTo>
                  <a:lnTo>
                    <a:pt x="582" y="762"/>
                  </a:lnTo>
                  <a:lnTo>
                    <a:pt x="582" y="756"/>
                  </a:lnTo>
                  <a:lnTo>
                    <a:pt x="570" y="744"/>
                  </a:lnTo>
                  <a:lnTo>
                    <a:pt x="612" y="702"/>
                  </a:lnTo>
                  <a:lnTo>
                    <a:pt x="618" y="702"/>
                  </a:lnTo>
                  <a:lnTo>
                    <a:pt x="624" y="696"/>
                  </a:lnTo>
                  <a:lnTo>
                    <a:pt x="660" y="678"/>
                  </a:lnTo>
                  <a:lnTo>
                    <a:pt x="666" y="666"/>
                  </a:lnTo>
                  <a:lnTo>
                    <a:pt x="672" y="660"/>
                  </a:lnTo>
                  <a:lnTo>
                    <a:pt x="672" y="654"/>
                  </a:lnTo>
                  <a:lnTo>
                    <a:pt x="696" y="654"/>
                  </a:lnTo>
                  <a:lnTo>
                    <a:pt x="708" y="648"/>
                  </a:lnTo>
                  <a:lnTo>
                    <a:pt x="738" y="618"/>
                  </a:lnTo>
                  <a:lnTo>
                    <a:pt x="738" y="612"/>
                  </a:lnTo>
                  <a:lnTo>
                    <a:pt x="744" y="612"/>
                  </a:lnTo>
                  <a:lnTo>
                    <a:pt x="750" y="606"/>
                  </a:lnTo>
                  <a:lnTo>
                    <a:pt x="768" y="594"/>
                  </a:lnTo>
                  <a:lnTo>
                    <a:pt x="780" y="582"/>
                  </a:lnTo>
                  <a:lnTo>
                    <a:pt x="786" y="570"/>
                  </a:lnTo>
                  <a:lnTo>
                    <a:pt x="786" y="546"/>
                  </a:lnTo>
                  <a:lnTo>
                    <a:pt x="780" y="540"/>
                  </a:lnTo>
                  <a:lnTo>
                    <a:pt x="780" y="534"/>
                  </a:lnTo>
                  <a:lnTo>
                    <a:pt x="750" y="564"/>
                  </a:lnTo>
                  <a:close/>
                  <a:moveTo>
                    <a:pt x="1224" y="324"/>
                  </a:moveTo>
                  <a:lnTo>
                    <a:pt x="1236" y="318"/>
                  </a:lnTo>
                  <a:lnTo>
                    <a:pt x="1242" y="318"/>
                  </a:lnTo>
                  <a:lnTo>
                    <a:pt x="1266" y="306"/>
                  </a:lnTo>
                  <a:lnTo>
                    <a:pt x="1272" y="300"/>
                  </a:lnTo>
                  <a:lnTo>
                    <a:pt x="1272" y="282"/>
                  </a:lnTo>
                  <a:lnTo>
                    <a:pt x="1266" y="270"/>
                  </a:lnTo>
                  <a:lnTo>
                    <a:pt x="1260" y="264"/>
                  </a:lnTo>
                  <a:lnTo>
                    <a:pt x="1248" y="264"/>
                  </a:lnTo>
                  <a:lnTo>
                    <a:pt x="1236" y="276"/>
                  </a:lnTo>
                  <a:lnTo>
                    <a:pt x="1236" y="282"/>
                  </a:lnTo>
                  <a:lnTo>
                    <a:pt x="1224" y="282"/>
                  </a:lnTo>
                  <a:lnTo>
                    <a:pt x="1212" y="276"/>
                  </a:lnTo>
                  <a:lnTo>
                    <a:pt x="1200" y="276"/>
                  </a:lnTo>
                  <a:lnTo>
                    <a:pt x="1194" y="282"/>
                  </a:lnTo>
                  <a:lnTo>
                    <a:pt x="1176" y="288"/>
                  </a:lnTo>
                  <a:lnTo>
                    <a:pt x="1158" y="288"/>
                  </a:lnTo>
                  <a:lnTo>
                    <a:pt x="1146" y="276"/>
                  </a:lnTo>
                  <a:lnTo>
                    <a:pt x="1146" y="222"/>
                  </a:lnTo>
                  <a:lnTo>
                    <a:pt x="1170" y="180"/>
                  </a:lnTo>
                  <a:lnTo>
                    <a:pt x="1170" y="174"/>
                  </a:lnTo>
                  <a:lnTo>
                    <a:pt x="1164" y="162"/>
                  </a:lnTo>
                  <a:lnTo>
                    <a:pt x="1158" y="156"/>
                  </a:lnTo>
                  <a:lnTo>
                    <a:pt x="1146" y="156"/>
                  </a:lnTo>
                  <a:lnTo>
                    <a:pt x="1140" y="168"/>
                  </a:lnTo>
                  <a:lnTo>
                    <a:pt x="1134" y="174"/>
                  </a:lnTo>
                  <a:lnTo>
                    <a:pt x="1134" y="204"/>
                  </a:lnTo>
                  <a:lnTo>
                    <a:pt x="1128" y="216"/>
                  </a:lnTo>
                  <a:lnTo>
                    <a:pt x="1116" y="222"/>
                  </a:lnTo>
                  <a:lnTo>
                    <a:pt x="1116" y="192"/>
                  </a:lnTo>
                  <a:lnTo>
                    <a:pt x="1092" y="174"/>
                  </a:lnTo>
                  <a:lnTo>
                    <a:pt x="1104" y="150"/>
                  </a:lnTo>
                  <a:lnTo>
                    <a:pt x="1116" y="138"/>
                  </a:lnTo>
                  <a:lnTo>
                    <a:pt x="1122" y="126"/>
                  </a:lnTo>
                  <a:lnTo>
                    <a:pt x="1128" y="108"/>
                  </a:lnTo>
                  <a:lnTo>
                    <a:pt x="1128" y="84"/>
                  </a:lnTo>
                  <a:lnTo>
                    <a:pt x="1116" y="78"/>
                  </a:lnTo>
                  <a:lnTo>
                    <a:pt x="1110" y="72"/>
                  </a:lnTo>
                  <a:lnTo>
                    <a:pt x="1098" y="66"/>
                  </a:lnTo>
                  <a:lnTo>
                    <a:pt x="1092" y="60"/>
                  </a:lnTo>
                  <a:lnTo>
                    <a:pt x="1080" y="60"/>
                  </a:lnTo>
                  <a:lnTo>
                    <a:pt x="1086" y="42"/>
                  </a:lnTo>
                  <a:lnTo>
                    <a:pt x="1062" y="42"/>
                  </a:lnTo>
                  <a:lnTo>
                    <a:pt x="1044" y="18"/>
                  </a:lnTo>
                  <a:lnTo>
                    <a:pt x="1050" y="0"/>
                  </a:lnTo>
                  <a:lnTo>
                    <a:pt x="1020" y="18"/>
                  </a:lnTo>
                  <a:lnTo>
                    <a:pt x="1044" y="54"/>
                  </a:lnTo>
                  <a:lnTo>
                    <a:pt x="1032" y="90"/>
                  </a:lnTo>
                  <a:lnTo>
                    <a:pt x="1056" y="102"/>
                  </a:lnTo>
                  <a:lnTo>
                    <a:pt x="1044" y="108"/>
                  </a:lnTo>
                  <a:lnTo>
                    <a:pt x="1044" y="126"/>
                  </a:lnTo>
                  <a:lnTo>
                    <a:pt x="1068" y="132"/>
                  </a:lnTo>
                  <a:lnTo>
                    <a:pt x="1044" y="150"/>
                  </a:lnTo>
                  <a:lnTo>
                    <a:pt x="1062" y="156"/>
                  </a:lnTo>
                  <a:lnTo>
                    <a:pt x="1062" y="168"/>
                  </a:lnTo>
                  <a:lnTo>
                    <a:pt x="1056" y="174"/>
                  </a:lnTo>
                  <a:lnTo>
                    <a:pt x="1056" y="192"/>
                  </a:lnTo>
                  <a:lnTo>
                    <a:pt x="1068" y="198"/>
                  </a:lnTo>
                  <a:lnTo>
                    <a:pt x="1074" y="204"/>
                  </a:lnTo>
                  <a:lnTo>
                    <a:pt x="1056" y="210"/>
                  </a:lnTo>
                  <a:lnTo>
                    <a:pt x="1044" y="222"/>
                  </a:lnTo>
                  <a:lnTo>
                    <a:pt x="1062" y="234"/>
                  </a:lnTo>
                  <a:lnTo>
                    <a:pt x="1038" y="258"/>
                  </a:lnTo>
                  <a:lnTo>
                    <a:pt x="1032" y="270"/>
                  </a:lnTo>
                  <a:lnTo>
                    <a:pt x="1026" y="276"/>
                  </a:lnTo>
                  <a:lnTo>
                    <a:pt x="1026" y="288"/>
                  </a:lnTo>
                  <a:lnTo>
                    <a:pt x="1038" y="300"/>
                  </a:lnTo>
                  <a:lnTo>
                    <a:pt x="1026" y="300"/>
                  </a:lnTo>
                  <a:lnTo>
                    <a:pt x="1014" y="306"/>
                  </a:lnTo>
                  <a:lnTo>
                    <a:pt x="1002" y="306"/>
                  </a:lnTo>
                  <a:lnTo>
                    <a:pt x="978" y="318"/>
                  </a:lnTo>
                  <a:lnTo>
                    <a:pt x="948" y="348"/>
                  </a:lnTo>
                  <a:lnTo>
                    <a:pt x="930" y="360"/>
                  </a:lnTo>
                  <a:lnTo>
                    <a:pt x="894" y="372"/>
                  </a:lnTo>
                  <a:lnTo>
                    <a:pt x="870" y="384"/>
                  </a:lnTo>
                  <a:lnTo>
                    <a:pt x="858" y="396"/>
                  </a:lnTo>
                  <a:lnTo>
                    <a:pt x="858" y="432"/>
                  </a:lnTo>
                  <a:lnTo>
                    <a:pt x="864" y="444"/>
                  </a:lnTo>
                  <a:lnTo>
                    <a:pt x="870" y="450"/>
                  </a:lnTo>
                  <a:lnTo>
                    <a:pt x="870" y="456"/>
                  </a:lnTo>
                  <a:lnTo>
                    <a:pt x="924" y="456"/>
                  </a:lnTo>
                  <a:lnTo>
                    <a:pt x="924" y="474"/>
                  </a:lnTo>
                  <a:lnTo>
                    <a:pt x="918" y="486"/>
                  </a:lnTo>
                  <a:lnTo>
                    <a:pt x="918" y="522"/>
                  </a:lnTo>
                  <a:lnTo>
                    <a:pt x="894" y="534"/>
                  </a:lnTo>
                  <a:lnTo>
                    <a:pt x="882" y="534"/>
                  </a:lnTo>
                  <a:lnTo>
                    <a:pt x="864" y="540"/>
                  </a:lnTo>
                  <a:lnTo>
                    <a:pt x="852" y="546"/>
                  </a:lnTo>
                  <a:lnTo>
                    <a:pt x="852" y="558"/>
                  </a:lnTo>
                  <a:lnTo>
                    <a:pt x="840" y="570"/>
                  </a:lnTo>
                  <a:lnTo>
                    <a:pt x="852" y="576"/>
                  </a:lnTo>
                  <a:lnTo>
                    <a:pt x="858" y="582"/>
                  </a:lnTo>
                  <a:lnTo>
                    <a:pt x="876" y="588"/>
                  </a:lnTo>
                  <a:lnTo>
                    <a:pt x="888" y="588"/>
                  </a:lnTo>
                  <a:lnTo>
                    <a:pt x="912" y="576"/>
                  </a:lnTo>
                  <a:lnTo>
                    <a:pt x="924" y="558"/>
                  </a:lnTo>
                  <a:lnTo>
                    <a:pt x="972" y="510"/>
                  </a:lnTo>
                  <a:lnTo>
                    <a:pt x="996" y="498"/>
                  </a:lnTo>
                  <a:lnTo>
                    <a:pt x="1014" y="492"/>
                  </a:lnTo>
                  <a:lnTo>
                    <a:pt x="1026" y="486"/>
                  </a:lnTo>
                  <a:lnTo>
                    <a:pt x="1032" y="480"/>
                  </a:lnTo>
                  <a:lnTo>
                    <a:pt x="1038" y="480"/>
                  </a:lnTo>
                  <a:lnTo>
                    <a:pt x="1044" y="474"/>
                  </a:lnTo>
                  <a:lnTo>
                    <a:pt x="1050" y="462"/>
                  </a:lnTo>
                  <a:lnTo>
                    <a:pt x="1056" y="462"/>
                  </a:lnTo>
                  <a:lnTo>
                    <a:pt x="1062" y="456"/>
                  </a:lnTo>
                  <a:lnTo>
                    <a:pt x="1074" y="450"/>
                  </a:lnTo>
                  <a:lnTo>
                    <a:pt x="1080" y="444"/>
                  </a:lnTo>
                  <a:lnTo>
                    <a:pt x="1080" y="420"/>
                  </a:lnTo>
                  <a:lnTo>
                    <a:pt x="1074" y="414"/>
                  </a:lnTo>
                  <a:lnTo>
                    <a:pt x="1080" y="414"/>
                  </a:lnTo>
                  <a:lnTo>
                    <a:pt x="1086" y="408"/>
                  </a:lnTo>
                  <a:lnTo>
                    <a:pt x="1110" y="396"/>
                  </a:lnTo>
                  <a:lnTo>
                    <a:pt x="1140" y="396"/>
                  </a:lnTo>
                  <a:lnTo>
                    <a:pt x="1152" y="402"/>
                  </a:lnTo>
                  <a:lnTo>
                    <a:pt x="1164" y="402"/>
                  </a:lnTo>
                  <a:lnTo>
                    <a:pt x="1176" y="390"/>
                  </a:lnTo>
                  <a:lnTo>
                    <a:pt x="1176" y="360"/>
                  </a:lnTo>
                  <a:lnTo>
                    <a:pt x="1200" y="360"/>
                  </a:lnTo>
                  <a:lnTo>
                    <a:pt x="1212" y="354"/>
                  </a:lnTo>
                  <a:lnTo>
                    <a:pt x="1218" y="354"/>
                  </a:lnTo>
                  <a:lnTo>
                    <a:pt x="1224" y="348"/>
                  </a:lnTo>
                  <a:lnTo>
                    <a:pt x="1224" y="324"/>
                  </a:lnTo>
                  <a:close/>
                </a:path>
              </a:pathLst>
            </a:custGeom>
            <a:solidFill>
              <a:schemeClr val="accent2"/>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96" name="Neufundland" descr="© INSCALE GmbH, 05.05.2010&#10;http://www.presentationload.com/">
              <a:extLst>
                <a:ext uri="{FF2B5EF4-FFF2-40B4-BE49-F238E27FC236}">
                  <a16:creationId xmlns:a16="http://schemas.microsoft.com/office/drawing/2014/main" id="{899B10B8-EFA4-4CC9-8DE2-79D7CBC9392B}"/>
                </a:ext>
              </a:extLst>
            </p:cNvPr>
            <p:cNvSpPr>
              <a:spLocks/>
            </p:cNvSpPr>
            <p:nvPr/>
          </p:nvSpPr>
          <p:spPr bwMode="gray">
            <a:xfrm>
              <a:off x="2682074" y="2610909"/>
              <a:ext cx="169346" cy="152099"/>
            </a:xfrm>
            <a:custGeom>
              <a:avLst/>
              <a:gdLst>
                <a:gd name="T0" fmla="*/ 2147483647 w 426"/>
                <a:gd name="T1" fmla="*/ 2147483647 h 384"/>
                <a:gd name="T2" fmla="*/ 2147483647 w 426"/>
                <a:gd name="T3" fmla="*/ 2147483647 h 384"/>
                <a:gd name="T4" fmla="*/ 2147483647 w 426"/>
                <a:gd name="T5" fmla="*/ 0 h 384"/>
                <a:gd name="T6" fmla="*/ 2147483647 w 426"/>
                <a:gd name="T7" fmla="*/ 2147483647 h 384"/>
                <a:gd name="T8" fmla="*/ 2147483647 w 426"/>
                <a:gd name="T9" fmla="*/ 2147483647 h 384"/>
                <a:gd name="T10" fmla="*/ 2147483647 w 426"/>
                <a:gd name="T11" fmla="*/ 2147483647 h 384"/>
                <a:gd name="T12" fmla="*/ 2147483647 w 426"/>
                <a:gd name="T13" fmla="*/ 2147483647 h 384"/>
                <a:gd name="T14" fmla="*/ 2147483647 w 426"/>
                <a:gd name="T15" fmla="*/ 2147483647 h 384"/>
                <a:gd name="T16" fmla="*/ 2147483647 w 426"/>
                <a:gd name="T17" fmla="*/ 2147483647 h 384"/>
                <a:gd name="T18" fmla="*/ 2147483647 w 426"/>
                <a:gd name="T19" fmla="*/ 2147483647 h 384"/>
                <a:gd name="T20" fmla="*/ 2147483647 w 426"/>
                <a:gd name="T21" fmla="*/ 2147483647 h 384"/>
                <a:gd name="T22" fmla="*/ 2147483647 w 426"/>
                <a:gd name="T23" fmla="*/ 2147483647 h 384"/>
                <a:gd name="T24" fmla="*/ 2147483647 w 426"/>
                <a:gd name="T25" fmla="*/ 2147483647 h 384"/>
                <a:gd name="T26" fmla="*/ 2147483647 w 426"/>
                <a:gd name="T27" fmla="*/ 2147483647 h 384"/>
                <a:gd name="T28" fmla="*/ 2147483647 w 426"/>
                <a:gd name="T29" fmla="*/ 2147483647 h 384"/>
                <a:gd name="T30" fmla="*/ 2147483647 w 426"/>
                <a:gd name="T31" fmla="*/ 2147483647 h 384"/>
                <a:gd name="T32" fmla="*/ 2147483647 w 426"/>
                <a:gd name="T33" fmla="*/ 2147483647 h 384"/>
                <a:gd name="T34" fmla="*/ 2147483647 w 426"/>
                <a:gd name="T35" fmla="*/ 2147483647 h 384"/>
                <a:gd name="T36" fmla="*/ 2147483647 w 426"/>
                <a:gd name="T37" fmla="*/ 2147483647 h 384"/>
                <a:gd name="T38" fmla="*/ 2147483647 w 426"/>
                <a:gd name="T39" fmla="*/ 2147483647 h 384"/>
                <a:gd name="T40" fmla="*/ 2147483647 w 426"/>
                <a:gd name="T41" fmla="*/ 2147483647 h 384"/>
                <a:gd name="T42" fmla="*/ 2147483647 w 426"/>
                <a:gd name="T43" fmla="*/ 2147483647 h 384"/>
                <a:gd name="T44" fmla="*/ 2147483647 w 426"/>
                <a:gd name="T45" fmla="*/ 2147483647 h 384"/>
                <a:gd name="T46" fmla="*/ 2147483647 w 426"/>
                <a:gd name="T47" fmla="*/ 2147483647 h 384"/>
                <a:gd name="T48" fmla="*/ 2147483647 w 426"/>
                <a:gd name="T49" fmla="*/ 2147483647 h 384"/>
                <a:gd name="T50" fmla="*/ 2147483647 w 426"/>
                <a:gd name="T51" fmla="*/ 2147483647 h 384"/>
                <a:gd name="T52" fmla="*/ 2147483647 w 426"/>
                <a:gd name="T53" fmla="*/ 2147483647 h 384"/>
                <a:gd name="T54" fmla="*/ 2147483647 w 426"/>
                <a:gd name="T55" fmla="*/ 2147483647 h 384"/>
                <a:gd name="T56" fmla="*/ 2147483647 w 426"/>
                <a:gd name="T57" fmla="*/ 2147483647 h 384"/>
                <a:gd name="T58" fmla="*/ 2147483647 w 426"/>
                <a:gd name="T59" fmla="*/ 2147483647 h 384"/>
                <a:gd name="T60" fmla="*/ 2147483647 w 426"/>
                <a:gd name="T61" fmla="*/ 2147483647 h 384"/>
                <a:gd name="T62" fmla="*/ 2147483647 w 426"/>
                <a:gd name="T63" fmla="*/ 2147483647 h 384"/>
                <a:gd name="T64" fmla="*/ 2147483647 w 426"/>
                <a:gd name="T65" fmla="*/ 2147483647 h 384"/>
                <a:gd name="T66" fmla="*/ 2147483647 w 426"/>
                <a:gd name="T67" fmla="*/ 2147483647 h 384"/>
                <a:gd name="T68" fmla="*/ 2147483647 w 426"/>
                <a:gd name="T69" fmla="*/ 2147483647 h 384"/>
                <a:gd name="T70" fmla="*/ 2147483647 w 426"/>
                <a:gd name="T71" fmla="*/ 2147483647 h 384"/>
                <a:gd name="T72" fmla="*/ 2147483647 w 426"/>
                <a:gd name="T73" fmla="*/ 2147483647 h 384"/>
                <a:gd name="T74" fmla="*/ 2147483647 w 426"/>
                <a:gd name="T75" fmla="*/ 2147483647 h 384"/>
                <a:gd name="T76" fmla="*/ 2147483647 w 426"/>
                <a:gd name="T77" fmla="*/ 2147483647 h 384"/>
                <a:gd name="T78" fmla="*/ 2147483647 w 426"/>
                <a:gd name="T79" fmla="*/ 2147483647 h 384"/>
                <a:gd name="T80" fmla="*/ 2147483647 w 426"/>
                <a:gd name="T81" fmla="*/ 2147483647 h 384"/>
                <a:gd name="T82" fmla="*/ 2147483647 w 426"/>
                <a:gd name="T83" fmla="*/ 2147483647 h 38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26"/>
                <a:gd name="T127" fmla="*/ 0 h 384"/>
                <a:gd name="T128" fmla="*/ 426 w 426"/>
                <a:gd name="T129" fmla="*/ 384 h 38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26" h="384">
                  <a:moveTo>
                    <a:pt x="258" y="18"/>
                  </a:moveTo>
                  <a:lnTo>
                    <a:pt x="270" y="12"/>
                  </a:lnTo>
                  <a:lnTo>
                    <a:pt x="276" y="12"/>
                  </a:lnTo>
                  <a:lnTo>
                    <a:pt x="294" y="6"/>
                  </a:lnTo>
                  <a:lnTo>
                    <a:pt x="306" y="0"/>
                  </a:lnTo>
                  <a:lnTo>
                    <a:pt x="330" y="0"/>
                  </a:lnTo>
                  <a:lnTo>
                    <a:pt x="342" y="6"/>
                  </a:lnTo>
                  <a:lnTo>
                    <a:pt x="342" y="18"/>
                  </a:lnTo>
                  <a:lnTo>
                    <a:pt x="336" y="24"/>
                  </a:lnTo>
                  <a:lnTo>
                    <a:pt x="312" y="42"/>
                  </a:lnTo>
                  <a:lnTo>
                    <a:pt x="312" y="48"/>
                  </a:lnTo>
                  <a:lnTo>
                    <a:pt x="306" y="54"/>
                  </a:lnTo>
                  <a:lnTo>
                    <a:pt x="300" y="72"/>
                  </a:lnTo>
                  <a:lnTo>
                    <a:pt x="276" y="96"/>
                  </a:lnTo>
                  <a:lnTo>
                    <a:pt x="258" y="102"/>
                  </a:lnTo>
                  <a:lnTo>
                    <a:pt x="246" y="102"/>
                  </a:lnTo>
                  <a:lnTo>
                    <a:pt x="210" y="150"/>
                  </a:lnTo>
                  <a:lnTo>
                    <a:pt x="210" y="174"/>
                  </a:lnTo>
                  <a:lnTo>
                    <a:pt x="234" y="156"/>
                  </a:lnTo>
                  <a:lnTo>
                    <a:pt x="264" y="108"/>
                  </a:lnTo>
                  <a:lnTo>
                    <a:pt x="282" y="126"/>
                  </a:lnTo>
                  <a:lnTo>
                    <a:pt x="306" y="138"/>
                  </a:lnTo>
                  <a:lnTo>
                    <a:pt x="294" y="168"/>
                  </a:lnTo>
                  <a:lnTo>
                    <a:pt x="324" y="168"/>
                  </a:lnTo>
                  <a:lnTo>
                    <a:pt x="330" y="192"/>
                  </a:lnTo>
                  <a:lnTo>
                    <a:pt x="384" y="162"/>
                  </a:lnTo>
                  <a:lnTo>
                    <a:pt x="402" y="174"/>
                  </a:lnTo>
                  <a:lnTo>
                    <a:pt x="396" y="180"/>
                  </a:lnTo>
                  <a:lnTo>
                    <a:pt x="390" y="192"/>
                  </a:lnTo>
                  <a:lnTo>
                    <a:pt x="378" y="204"/>
                  </a:lnTo>
                  <a:lnTo>
                    <a:pt x="372" y="204"/>
                  </a:lnTo>
                  <a:lnTo>
                    <a:pt x="384" y="204"/>
                  </a:lnTo>
                  <a:lnTo>
                    <a:pt x="396" y="210"/>
                  </a:lnTo>
                  <a:lnTo>
                    <a:pt x="408" y="210"/>
                  </a:lnTo>
                  <a:lnTo>
                    <a:pt x="408" y="216"/>
                  </a:lnTo>
                  <a:lnTo>
                    <a:pt x="396" y="240"/>
                  </a:lnTo>
                  <a:lnTo>
                    <a:pt x="384" y="252"/>
                  </a:lnTo>
                  <a:lnTo>
                    <a:pt x="378" y="264"/>
                  </a:lnTo>
                  <a:lnTo>
                    <a:pt x="366" y="276"/>
                  </a:lnTo>
                  <a:lnTo>
                    <a:pt x="360" y="288"/>
                  </a:lnTo>
                  <a:lnTo>
                    <a:pt x="354" y="294"/>
                  </a:lnTo>
                  <a:lnTo>
                    <a:pt x="390" y="294"/>
                  </a:lnTo>
                  <a:lnTo>
                    <a:pt x="354" y="312"/>
                  </a:lnTo>
                  <a:lnTo>
                    <a:pt x="384" y="312"/>
                  </a:lnTo>
                  <a:lnTo>
                    <a:pt x="420" y="300"/>
                  </a:lnTo>
                  <a:lnTo>
                    <a:pt x="426" y="324"/>
                  </a:lnTo>
                  <a:lnTo>
                    <a:pt x="360" y="384"/>
                  </a:lnTo>
                  <a:lnTo>
                    <a:pt x="318" y="378"/>
                  </a:lnTo>
                  <a:lnTo>
                    <a:pt x="336" y="354"/>
                  </a:lnTo>
                  <a:lnTo>
                    <a:pt x="306" y="360"/>
                  </a:lnTo>
                  <a:lnTo>
                    <a:pt x="300" y="348"/>
                  </a:lnTo>
                  <a:lnTo>
                    <a:pt x="228" y="360"/>
                  </a:lnTo>
                  <a:lnTo>
                    <a:pt x="192" y="354"/>
                  </a:lnTo>
                  <a:lnTo>
                    <a:pt x="186" y="348"/>
                  </a:lnTo>
                  <a:lnTo>
                    <a:pt x="228" y="336"/>
                  </a:lnTo>
                  <a:lnTo>
                    <a:pt x="234" y="330"/>
                  </a:lnTo>
                  <a:lnTo>
                    <a:pt x="234" y="324"/>
                  </a:lnTo>
                  <a:lnTo>
                    <a:pt x="228" y="324"/>
                  </a:lnTo>
                  <a:lnTo>
                    <a:pt x="222" y="318"/>
                  </a:lnTo>
                  <a:lnTo>
                    <a:pt x="198" y="318"/>
                  </a:lnTo>
                  <a:lnTo>
                    <a:pt x="162" y="312"/>
                  </a:lnTo>
                  <a:lnTo>
                    <a:pt x="126" y="300"/>
                  </a:lnTo>
                  <a:lnTo>
                    <a:pt x="96" y="294"/>
                  </a:lnTo>
                  <a:lnTo>
                    <a:pt x="78" y="294"/>
                  </a:lnTo>
                  <a:lnTo>
                    <a:pt x="72" y="300"/>
                  </a:lnTo>
                  <a:lnTo>
                    <a:pt x="48" y="300"/>
                  </a:lnTo>
                  <a:lnTo>
                    <a:pt x="36" y="306"/>
                  </a:lnTo>
                  <a:lnTo>
                    <a:pt x="24" y="306"/>
                  </a:lnTo>
                  <a:lnTo>
                    <a:pt x="12" y="300"/>
                  </a:lnTo>
                  <a:lnTo>
                    <a:pt x="6" y="294"/>
                  </a:lnTo>
                  <a:lnTo>
                    <a:pt x="18" y="282"/>
                  </a:lnTo>
                  <a:lnTo>
                    <a:pt x="24" y="282"/>
                  </a:lnTo>
                  <a:lnTo>
                    <a:pt x="30" y="276"/>
                  </a:lnTo>
                  <a:lnTo>
                    <a:pt x="42" y="276"/>
                  </a:lnTo>
                  <a:lnTo>
                    <a:pt x="30" y="276"/>
                  </a:lnTo>
                  <a:lnTo>
                    <a:pt x="12" y="270"/>
                  </a:lnTo>
                  <a:lnTo>
                    <a:pt x="0" y="258"/>
                  </a:lnTo>
                  <a:lnTo>
                    <a:pt x="6" y="252"/>
                  </a:lnTo>
                  <a:lnTo>
                    <a:pt x="18" y="252"/>
                  </a:lnTo>
                  <a:lnTo>
                    <a:pt x="54" y="234"/>
                  </a:lnTo>
                  <a:lnTo>
                    <a:pt x="60" y="228"/>
                  </a:lnTo>
                  <a:lnTo>
                    <a:pt x="66" y="228"/>
                  </a:lnTo>
                  <a:lnTo>
                    <a:pt x="204" y="90"/>
                  </a:lnTo>
                  <a:lnTo>
                    <a:pt x="258" y="18"/>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97" name="Nepal" descr="© INSCALE GmbH, 05.05.2010&#10;http://www.presentationload.com/">
              <a:extLst>
                <a:ext uri="{FF2B5EF4-FFF2-40B4-BE49-F238E27FC236}">
                  <a16:creationId xmlns:a16="http://schemas.microsoft.com/office/drawing/2014/main" id="{11898A42-916A-4AE0-BC2D-20E3C8229A48}"/>
                </a:ext>
              </a:extLst>
            </p:cNvPr>
            <p:cNvSpPr>
              <a:spLocks/>
            </p:cNvSpPr>
            <p:nvPr/>
          </p:nvSpPr>
          <p:spPr bwMode="gray">
            <a:xfrm>
              <a:off x="6323023" y="3275751"/>
              <a:ext cx="233635" cy="131714"/>
            </a:xfrm>
            <a:custGeom>
              <a:avLst/>
              <a:gdLst>
                <a:gd name="T0" fmla="*/ 2147483647 w 588"/>
                <a:gd name="T1" fmla="*/ 2147483647 h 330"/>
                <a:gd name="T2" fmla="*/ 2147483647 w 588"/>
                <a:gd name="T3" fmla="*/ 2147483647 h 330"/>
                <a:gd name="T4" fmla="*/ 2147483647 w 588"/>
                <a:gd name="T5" fmla="*/ 2147483647 h 330"/>
                <a:gd name="T6" fmla="*/ 2147483647 w 588"/>
                <a:gd name="T7" fmla="*/ 2147483647 h 330"/>
                <a:gd name="T8" fmla="*/ 2147483647 w 588"/>
                <a:gd name="T9" fmla="*/ 2147483647 h 330"/>
                <a:gd name="T10" fmla="*/ 2147483647 w 588"/>
                <a:gd name="T11" fmla="*/ 2147483647 h 330"/>
                <a:gd name="T12" fmla="*/ 2147483647 w 588"/>
                <a:gd name="T13" fmla="*/ 2147483647 h 330"/>
                <a:gd name="T14" fmla="*/ 2147483647 w 588"/>
                <a:gd name="T15" fmla="*/ 2147483647 h 330"/>
                <a:gd name="T16" fmla="*/ 2147483647 w 588"/>
                <a:gd name="T17" fmla="*/ 2147483647 h 330"/>
                <a:gd name="T18" fmla="*/ 2147483647 w 588"/>
                <a:gd name="T19" fmla="*/ 2147483647 h 330"/>
                <a:gd name="T20" fmla="*/ 2147483647 w 588"/>
                <a:gd name="T21" fmla="*/ 2147483647 h 330"/>
                <a:gd name="T22" fmla="*/ 2147483647 w 588"/>
                <a:gd name="T23" fmla="*/ 2147483647 h 330"/>
                <a:gd name="T24" fmla="*/ 2147483647 w 588"/>
                <a:gd name="T25" fmla="*/ 2147483647 h 330"/>
                <a:gd name="T26" fmla="*/ 2147483647 w 588"/>
                <a:gd name="T27" fmla="*/ 2147483647 h 330"/>
                <a:gd name="T28" fmla="*/ 2147483647 w 588"/>
                <a:gd name="T29" fmla="*/ 2147483647 h 330"/>
                <a:gd name="T30" fmla="*/ 2147483647 w 588"/>
                <a:gd name="T31" fmla="*/ 2147483647 h 330"/>
                <a:gd name="T32" fmla="*/ 2147483647 w 588"/>
                <a:gd name="T33" fmla="*/ 2147483647 h 330"/>
                <a:gd name="T34" fmla="*/ 2147483647 w 588"/>
                <a:gd name="T35" fmla="*/ 2147483647 h 330"/>
                <a:gd name="T36" fmla="*/ 2147483647 w 588"/>
                <a:gd name="T37" fmla="*/ 2147483647 h 330"/>
                <a:gd name="T38" fmla="*/ 2147483647 w 588"/>
                <a:gd name="T39" fmla="*/ 2147483647 h 330"/>
                <a:gd name="T40" fmla="*/ 2147483647 w 588"/>
                <a:gd name="T41" fmla="*/ 2147483647 h 330"/>
                <a:gd name="T42" fmla="*/ 2147483647 w 588"/>
                <a:gd name="T43" fmla="*/ 2147483647 h 330"/>
                <a:gd name="T44" fmla="*/ 2147483647 w 588"/>
                <a:gd name="T45" fmla="*/ 2147483647 h 330"/>
                <a:gd name="T46" fmla="*/ 2147483647 w 588"/>
                <a:gd name="T47" fmla="*/ 2147483647 h 330"/>
                <a:gd name="T48" fmla="*/ 2147483647 w 588"/>
                <a:gd name="T49" fmla="*/ 2147483647 h 330"/>
                <a:gd name="T50" fmla="*/ 2147483647 w 588"/>
                <a:gd name="T51" fmla="*/ 2147483647 h 330"/>
                <a:gd name="T52" fmla="*/ 2147483647 w 588"/>
                <a:gd name="T53" fmla="*/ 2147483647 h 330"/>
                <a:gd name="T54" fmla="*/ 2147483647 w 588"/>
                <a:gd name="T55" fmla="*/ 2147483647 h 330"/>
                <a:gd name="T56" fmla="*/ 2147483647 w 588"/>
                <a:gd name="T57" fmla="*/ 2147483647 h 330"/>
                <a:gd name="T58" fmla="*/ 2147483647 w 588"/>
                <a:gd name="T59" fmla="*/ 2147483647 h 330"/>
                <a:gd name="T60" fmla="*/ 2147483647 w 588"/>
                <a:gd name="T61" fmla="*/ 2147483647 h 330"/>
                <a:gd name="T62" fmla="*/ 2147483647 w 588"/>
                <a:gd name="T63" fmla="*/ 2147483647 h 330"/>
                <a:gd name="T64" fmla="*/ 2147483647 w 588"/>
                <a:gd name="T65" fmla="*/ 2147483647 h 330"/>
                <a:gd name="T66" fmla="*/ 2147483647 w 588"/>
                <a:gd name="T67" fmla="*/ 2147483647 h 330"/>
                <a:gd name="T68" fmla="*/ 2147483647 w 588"/>
                <a:gd name="T69" fmla="*/ 2147483647 h 330"/>
                <a:gd name="T70" fmla="*/ 2147483647 w 588"/>
                <a:gd name="T71" fmla="*/ 0 h 330"/>
                <a:gd name="T72" fmla="*/ 2147483647 w 588"/>
                <a:gd name="T73" fmla="*/ 2147483647 h 330"/>
                <a:gd name="T74" fmla="*/ 2147483647 w 588"/>
                <a:gd name="T75" fmla="*/ 2147483647 h 330"/>
                <a:gd name="T76" fmla="*/ 2147483647 w 588"/>
                <a:gd name="T77" fmla="*/ 2147483647 h 330"/>
                <a:gd name="T78" fmla="*/ 2147483647 w 588"/>
                <a:gd name="T79" fmla="*/ 2147483647 h 330"/>
                <a:gd name="T80" fmla="*/ 2147483647 w 588"/>
                <a:gd name="T81" fmla="*/ 2147483647 h 330"/>
                <a:gd name="T82" fmla="*/ 2147483647 w 588"/>
                <a:gd name="T83" fmla="*/ 2147483647 h 330"/>
                <a:gd name="T84" fmla="*/ 0 w 588"/>
                <a:gd name="T85" fmla="*/ 2147483647 h 330"/>
                <a:gd name="T86" fmla="*/ 2147483647 w 588"/>
                <a:gd name="T87" fmla="*/ 2147483647 h 330"/>
                <a:gd name="T88" fmla="*/ 2147483647 w 588"/>
                <a:gd name="T89" fmla="*/ 2147483647 h 330"/>
                <a:gd name="T90" fmla="*/ 2147483647 w 588"/>
                <a:gd name="T91" fmla="*/ 2147483647 h 330"/>
                <a:gd name="T92" fmla="*/ 2147483647 w 588"/>
                <a:gd name="T93" fmla="*/ 2147483647 h 330"/>
                <a:gd name="T94" fmla="*/ 2147483647 w 588"/>
                <a:gd name="T95" fmla="*/ 2147483647 h 330"/>
                <a:gd name="T96" fmla="*/ 2147483647 w 588"/>
                <a:gd name="T97" fmla="*/ 2147483647 h 330"/>
                <a:gd name="T98" fmla="*/ 2147483647 w 588"/>
                <a:gd name="T99" fmla="*/ 2147483647 h 330"/>
                <a:gd name="T100" fmla="*/ 2147483647 w 588"/>
                <a:gd name="T101" fmla="*/ 2147483647 h 330"/>
                <a:gd name="T102" fmla="*/ 2147483647 w 588"/>
                <a:gd name="T103" fmla="*/ 2147483647 h 330"/>
                <a:gd name="T104" fmla="*/ 2147483647 w 588"/>
                <a:gd name="T105" fmla="*/ 2147483647 h 330"/>
                <a:gd name="T106" fmla="*/ 2147483647 w 588"/>
                <a:gd name="T107" fmla="*/ 2147483647 h 330"/>
                <a:gd name="T108" fmla="*/ 2147483647 w 588"/>
                <a:gd name="T109" fmla="*/ 2147483647 h 3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8"/>
                <a:gd name="T166" fmla="*/ 0 h 330"/>
                <a:gd name="T167" fmla="*/ 588 w 588"/>
                <a:gd name="T168" fmla="*/ 330 h 3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8" h="330">
                  <a:moveTo>
                    <a:pt x="294" y="234"/>
                  </a:moveTo>
                  <a:lnTo>
                    <a:pt x="306" y="246"/>
                  </a:lnTo>
                  <a:lnTo>
                    <a:pt x="306" y="252"/>
                  </a:lnTo>
                  <a:lnTo>
                    <a:pt x="330" y="252"/>
                  </a:lnTo>
                  <a:lnTo>
                    <a:pt x="384" y="306"/>
                  </a:lnTo>
                  <a:lnTo>
                    <a:pt x="402" y="294"/>
                  </a:lnTo>
                  <a:lnTo>
                    <a:pt x="432" y="312"/>
                  </a:lnTo>
                  <a:lnTo>
                    <a:pt x="438" y="306"/>
                  </a:lnTo>
                  <a:lnTo>
                    <a:pt x="456" y="306"/>
                  </a:lnTo>
                  <a:lnTo>
                    <a:pt x="474" y="312"/>
                  </a:lnTo>
                  <a:lnTo>
                    <a:pt x="486" y="318"/>
                  </a:lnTo>
                  <a:lnTo>
                    <a:pt x="492" y="330"/>
                  </a:lnTo>
                  <a:lnTo>
                    <a:pt x="498" y="318"/>
                  </a:lnTo>
                  <a:lnTo>
                    <a:pt x="510" y="312"/>
                  </a:lnTo>
                  <a:lnTo>
                    <a:pt x="516" y="312"/>
                  </a:lnTo>
                  <a:lnTo>
                    <a:pt x="522" y="318"/>
                  </a:lnTo>
                  <a:lnTo>
                    <a:pt x="522" y="330"/>
                  </a:lnTo>
                  <a:lnTo>
                    <a:pt x="588" y="330"/>
                  </a:lnTo>
                  <a:lnTo>
                    <a:pt x="588" y="294"/>
                  </a:lnTo>
                  <a:lnTo>
                    <a:pt x="576" y="270"/>
                  </a:lnTo>
                  <a:lnTo>
                    <a:pt x="576" y="222"/>
                  </a:lnTo>
                  <a:lnTo>
                    <a:pt x="564" y="204"/>
                  </a:lnTo>
                  <a:lnTo>
                    <a:pt x="540" y="216"/>
                  </a:lnTo>
                  <a:lnTo>
                    <a:pt x="522" y="216"/>
                  </a:lnTo>
                  <a:lnTo>
                    <a:pt x="498" y="204"/>
                  </a:lnTo>
                  <a:lnTo>
                    <a:pt x="480" y="198"/>
                  </a:lnTo>
                  <a:lnTo>
                    <a:pt x="474" y="192"/>
                  </a:lnTo>
                  <a:lnTo>
                    <a:pt x="462" y="186"/>
                  </a:lnTo>
                  <a:lnTo>
                    <a:pt x="462" y="192"/>
                  </a:lnTo>
                  <a:lnTo>
                    <a:pt x="456" y="198"/>
                  </a:lnTo>
                  <a:lnTo>
                    <a:pt x="438" y="198"/>
                  </a:lnTo>
                  <a:lnTo>
                    <a:pt x="432" y="192"/>
                  </a:lnTo>
                  <a:lnTo>
                    <a:pt x="432" y="180"/>
                  </a:lnTo>
                  <a:lnTo>
                    <a:pt x="432" y="186"/>
                  </a:lnTo>
                  <a:lnTo>
                    <a:pt x="420" y="198"/>
                  </a:lnTo>
                  <a:lnTo>
                    <a:pt x="408" y="198"/>
                  </a:lnTo>
                  <a:lnTo>
                    <a:pt x="402" y="192"/>
                  </a:lnTo>
                  <a:lnTo>
                    <a:pt x="402" y="174"/>
                  </a:lnTo>
                  <a:lnTo>
                    <a:pt x="396" y="174"/>
                  </a:lnTo>
                  <a:lnTo>
                    <a:pt x="390" y="180"/>
                  </a:lnTo>
                  <a:lnTo>
                    <a:pt x="378" y="180"/>
                  </a:lnTo>
                  <a:lnTo>
                    <a:pt x="360" y="174"/>
                  </a:lnTo>
                  <a:lnTo>
                    <a:pt x="354" y="168"/>
                  </a:lnTo>
                  <a:lnTo>
                    <a:pt x="348" y="168"/>
                  </a:lnTo>
                  <a:lnTo>
                    <a:pt x="348" y="162"/>
                  </a:lnTo>
                  <a:lnTo>
                    <a:pt x="354" y="156"/>
                  </a:lnTo>
                  <a:lnTo>
                    <a:pt x="354" y="150"/>
                  </a:lnTo>
                  <a:lnTo>
                    <a:pt x="348" y="144"/>
                  </a:lnTo>
                  <a:lnTo>
                    <a:pt x="342" y="144"/>
                  </a:lnTo>
                  <a:lnTo>
                    <a:pt x="330" y="150"/>
                  </a:lnTo>
                  <a:lnTo>
                    <a:pt x="324" y="156"/>
                  </a:lnTo>
                  <a:lnTo>
                    <a:pt x="312" y="150"/>
                  </a:lnTo>
                  <a:lnTo>
                    <a:pt x="282" y="120"/>
                  </a:lnTo>
                  <a:lnTo>
                    <a:pt x="282" y="102"/>
                  </a:lnTo>
                  <a:lnTo>
                    <a:pt x="276" y="90"/>
                  </a:lnTo>
                  <a:lnTo>
                    <a:pt x="270" y="84"/>
                  </a:lnTo>
                  <a:lnTo>
                    <a:pt x="258" y="84"/>
                  </a:lnTo>
                  <a:lnTo>
                    <a:pt x="252" y="96"/>
                  </a:lnTo>
                  <a:lnTo>
                    <a:pt x="246" y="102"/>
                  </a:lnTo>
                  <a:lnTo>
                    <a:pt x="246" y="108"/>
                  </a:lnTo>
                  <a:lnTo>
                    <a:pt x="234" y="108"/>
                  </a:lnTo>
                  <a:lnTo>
                    <a:pt x="234" y="96"/>
                  </a:lnTo>
                  <a:lnTo>
                    <a:pt x="228" y="90"/>
                  </a:lnTo>
                  <a:lnTo>
                    <a:pt x="222" y="78"/>
                  </a:lnTo>
                  <a:lnTo>
                    <a:pt x="216" y="72"/>
                  </a:lnTo>
                  <a:lnTo>
                    <a:pt x="210" y="60"/>
                  </a:lnTo>
                  <a:lnTo>
                    <a:pt x="168" y="54"/>
                  </a:lnTo>
                  <a:lnTo>
                    <a:pt x="150" y="36"/>
                  </a:lnTo>
                  <a:lnTo>
                    <a:pt x="138" y="30"/>
                  </a:lnTo>
                  <a:lnTo>
                    <a:pt x="132" y="18"/>
                  </a:lnTo>
                  <a:lnTo>
                    <a:pt x="120" y="6"/>
                  </a:lnTo>
                  <a:lnTo>
                    <a:pt x="108" y="0"/>
                  </a:lnTo>
                  <a:lnTo>
                    <a:pt x="96" y="0"/>
                  </a:lnTo>
                  <a:lnTo>
                    <a:pt x="84" y="6"/>
                  </a:lnTo>
                  <a:lnTo>
                    <a:pt x="78" y="12"/>
                  </a:lnTo>
                  <a:lnTo>
                    <a:pt x="54" y="30"/>
                  </a:lnTo>
                  <a:lnTo>
                    <a:pt x="36" y="12"/>
                  </a:lnTo>
                  <a:lnTo>
                    <a:pt x="30" y="36"/>
                  </a:lnTo>
                  <a:lnTo>
                    <a:pt x="6" y="60"/>
                  </a:lnTo>
                  <a:lnTo>
                    <a:pt x="12" y="72"/>
                  </a:lnTo>
                  <a:lnTo>
                    <a:pt x="6" y="78"/>
                  </a:lnTo>
                  <a:lnTo>
                    <a:pt x="6" y="84"/>
                  </a:lnTo>
                  <a:lnTo>
                    <a:pt x="18" y="96"/>
                  </a:lnTo>
                  <a:lnTo>
                    <a:pt x="12" y="96"/>
                  </a:lnTo>
                  <a:lnTo>
                    <a:pt x="0" y="108"/>
                  </a:lnTo>
                  <a:lnTo>
                    <a:pt x="0" y="120"/>
                  </a:lnTo>
                  <a:lnTo>
                    <a:pt x="30" y="150"/>
                  </a:lnTo>
                  <a:lnTo>
                    <a:pt x="42" y="144"/>
                  </a:lnTo>
                  <a:lnTo>
                    <a:pt x="60" y="168"/>
                  </a:lnTo>
                  <a:lnTo>
                    <a:pt x="84" y="168"/>
                  </a:lnTo>
                  <a:lnTo>
                    <a:pt x="96" y="186"/>
                  </a:lnTo>
                  <a:lnTo>
                    <a:pt x="138" y="204"/>
                  </a:lnTo>
                  <a:lnTo>
                    <a:pt x="150" y="204"/>
                  </a:lnTo>
                  <a:lnTo>
                    <a:pt x="156" y="210"/>
                  </a:lnTo>
                  <a:lnTo>
                    <a:pt x="162" y="222"/>
                  </a:lnTo>
                  <a:lnTo>
                    <a:pt x="168" y="228"/>
                  </a:lnTo>
                  <a:lnTo>
                    <a:pt x="186" y="228"/>
                  </a:lnTo>
                  <a:lnTo>
                    <a:pt x="192" y="222"/>
                  </a:lnTo>
                  <a:lnTo>
                    <a:pt x="204" y="222"/>
                  </a:lnTo>
                  <a:lnTo>
                    <a:pt x="204" y="234"/>
                  </a:lnTo>
                  <a:lnTo>
                    <a:pt x="210" y="240"/>
                  </a:lnTo>
                  <a:lnTo>
                    <a:pt x="234" y="240"/>
                  </a:lnTo>
                  <a:lnTo>
                    <a:pt x="240" y="246"/>
                  </a:lnTo>
                  <a:lnTo>
                    <a:pt x="246" y="258"/>
                  </a:lnTo>
                  <a:lnTo>
                    <a:pt x="258" y="246"/>
                  </a:lnTo>
                  <a:lnTo>
                    <a:pt x="276" y="246"/>
                  </a:lnTo>
                  <a:lnTo>
                    <a:pt x="282" y="252"/>
                  </a:lnTo>
                  <a:lnTo>
                    <a:pt x="282" y="258"/>
                  </a:lnTo>
                  <a:lnTo>
                    <a:pt x="282" y="240"/>
                  </a:lnTo>
                  <a:lnTo>
                    <a:pt x="288" y="234"/>
                  </a:lnTo>
                  <a:lnTo>
                    <a:pt x="294" y="234"/>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98" name="Namibien" descr="© INSCALE GmbH, 05.05.2010&#10;http://www.presentationload.com/">
              <a:extLst>
                <a:ext uri="{FF2B5EF4-FFF2-40B4-BE49-F238E27FC236}">
                  <a16:creationId xmlns:a16="http://schemas.microsoft.com/office/drawing/2014/main" id="{A5B778CB-D3C2-4129-822A-9EE3B49A87B6}"/>
                </a:ext>
              </a:extLst>
            </p:cNvPr>
            <p:cNvSpPr>
              <a:spLocks/>
            </p:cNvSpPr>
            <p:nvPr/>
          </p:nvSpPr>
          <p:spPr bwMode="gray">
            <a:xfrm>
              <a:off x="4457075" y="4795166"/>
              <a:ext cx="379462" cy="387302"/>
            </a:xfrm>
            <a:custGeom>
              <a:avLst/>
              <a:gdLst>
                <a:gd name="T0" fmla="*/ 2147483647 w 954"/>
                <a:gd name="T1" fmla="*/ 2147483647 h 972"/>
                <a:gd name="T2" fmla="*/ 2147483647 w 954"/>
                <a:gd name="T3" fmla="*/ 2147483647 h 972"/>
                <a:gd name="T4" fmla="*/ 2147483647 w 954"/>
                <a:gd name="T5" fmla="*/ 2147483647 h 972"/>
                <a:gd name="T6" fmla="*/ 2147483647 w 954"/>
                <a:gd name="T7" fmla="*/ 2147483647 h 972"/>
                <a:gd name="T8" fmla="*/ 2147483647 w 954"/>
                <a:gd name="T9" fmla="*/ 2147483647 h 972"/>
                <a:gd name="T10" fmla="*/ 2147483647 w 954"/>
                <a:gd name="T11" fmla="*/ 2147483647 h 972"/>
                <a:gd name="T12" fmla="*/ 2147483647 w 954"/>
                <a:gd name="T13" fmla="*/ 2147483647 h 972"/>
                <a:gd name="T14" fmla="*/ 2147483647 w 954"/>
                <a:gd name="T15" fmla="*/ 2147483647 h 972"/>
                <a:gd name="T16" fmla="*/ 2147483647 w 954"/>
                <a:gd name="T17" fmla="*/ 2147483647 h 972"/>
                <a:gd name="T18" fmla="*/ 2147483647 w 954"/>
                <a:gd name="T19" fmla="*/ 2147483647 h 972"/>
                <a:gd name="T20" fmla="*/ 2147483647 w 954"/>
                <a:gd name="T21" fmla="*/ 2147483647 h 972"/>
                <a:gd name="T22" fmla="*/ 2147483647 w 954"/>
                <a:gd name="T23" fmla="*/ 2147483647 h 972"/>
                <a:gd name="T24" fmla="*/ 2147483647 w 954"/>
                <a:gd name="T25" fmla="*/ 2147483647 h 972"/>
                <a:gd name="T26" fmla="*/ 2147483647 w 954"/>
                <a:gd name="T27" fmla="*/ 2147483647 h 972"/>
                <a:gd name="T28" fmla="*/ 2147483647 w 954"/>
                <a:gd name="T29" fmla="*/ 2147483647 h 972"/>
                <a:gd name="T30" fmla="*/ 2147483647 w 954"/>
                <a:gd name="T31" fmla="*/ 2147483647 h 972"/>
                <a:gd name="T32" fmla="*/ 2147483647 w 954"/>
                <a:gd name="T33" fmla="*/ 2147483647 h 972"/>
                <a:gd name="T34" fmla="*/ 2147483647 w 954"/>
                <a:gd name="T35" fmla="*/ 2147483647 h 972"/>
                <a:gd name="T36" fmla="*/ 2147483647 w 954"/>
                <a:gd name="T37" fmla="*/ 2147483647 h 972"/>
                <a:gd name="T38" fmla="*/ 2147483647 w 954"/>
                <a:gd name="T39" fmla="*/ 2147483647 h 972"/>
                <a:gd name="T40" fmla="*/ 2147483647 w 954"/>
                <a:gd name="T41" fmla="*/ 2147483647 h 972"/>
                <a:gd name="T42" fmla="*/ 2147483647 w 954"/>
                <a:gd name="T43" fmla="*/ 2147483647 h 972"/>
                <a:gd name="T44" fmla="*/ 2147483647 w 954"/>
                <a:gd name="T45" fmla="*/ 2147483647 h 972"/>
                <a:gd name="T46" fmla="*/ 2147483647 w 954"/>
                <a:gd name="T47" fmla="*/ 2147483647 h 972"/>
                <a:gd name="T48" fmla="*/ 2147483647 w 954"/>
                <a:gd name="T49" fmla="*/ 2147483647 h 972"/>
                <a:gd name="T50" fmla="*/ 2147483647 w 954"/>
                <a:gd name="T51" fmla="*/ 2147483647 h 972"/>
                <a:gd name="T52" fmla="*/ 2147483647 w 954"/>
                <a:gd name="T53" fmla="*/ 2147483647 h 972"/>
                <a:gd name="T54" fmla="*/ 2147483647 w 954"/>
                <a:gd name="T55" fmla="*/ 2147483647 h 972"/>
                <a:gd name="T56" fmla="*/ 2147483647 w 954"/>
                <a:gd name="T57" fmla="*/ 2147483647 h 972"/>
                <a:gd name="T58" fmla="*/ 2147483647 w 954"/>
                <a:gd name="T59" fmla="*/ 2147483647 h 972"/>
                <a:gd name="T60" fmla="*/ 2147483647 w 954"/>
                <a:gd name="T61" fmla="*/ 2147483647 h 972"/>
                <a:gd name="T62" fmla="*/ 2147483647 w 954"/>
                <a:gd name="T63" fmla="*/ 2147483647 h 972"/>
                <a:gd name="T64" fmla="*/ 2147483647 w 954"/>
                <a:gd name="T65" fmla="*/ 2147483647 h 972"/>
                <a:gd name="T66" fmla="*/ 2147483647 w 954"/>
                <a:gd name="T67" fmla="*/ 0 h 972"/>
                <a:gd name="T68" fmla="*/ 2147483647 w 954"/>
                <a:gd name="T69" fmla="*/ 2147483647 h 972"/>
                <a:gd name="T70" fmla="*/ 2147483647 w 954"/>
                <a:gd name="T71" fmla="*/ 2147483647 h 972"/>
                <a:gd name="T72" fmla="*/ 0 w 954"/>
                <a:gd name="T73" fmla="*/ 2147483647 h 972"/>
                <a:gd name="T74" fmla="*/ 2147483647 w 954"/>
                <a:gd name="T75" fmla="*/ 2147483647 h 972"/>
                <a:gd name="T76" fmla="*/ 2147483647 w 954"/>
                <a:gd name="T77" fmla="*/ 2147483647 h 972"/>
                <a:gd name="T78" fmla="*/ 2147483647 w 954"/>
                <a:gd name="T79" fmla="*/ 2147483647 h 972"/>
                <a:gd name="T80" fmla="*/ 2147483647 w 954"/>
                <a:gd name="T81" fmla="*/ 2147483647 h 972"/>
                <a:gd name="T82" fmla="*/ 2147483647 w 954"/>
                <a:gd name="T83" fmla="*/ 2147483647 h 972"/>
                <a:gd name="T84" fmla="*/ 2147483647 w 954"/>
                <a:gd name="T85" fmla="*/ 2147483647 h 972"/>
                <a:gd name="T86" fmla="*/ 2147483647 w 954"/>
                <a:gd name="T87" fmla="*/ 2147483647 h 972"/>
                <a:gd name="T88" fmla="*/ 2147483647 w 954"/>
                <a:gd name="T89" fmla="*/ 2147483647 h 972"/>
                <a:gd name="T90" fmla="*/ 2147483647 w 954"/>
                <a:gd name="T91" fmla="*/ 2147483647 h 972"/>
                <a:gd name="T92" fmla="*/ 2147483647 w 954"/>
                <a:gd name="T93" fmla="*/ 2147483647 h 972"/>
                <a:gd name="T94" fmla="*/ 2147483647 w 954"/>
                <a:gd name="T95" fmla="*/ 2147483647 h 972"/>
                <a:gd name="T96" fmla="*/ 2147483647 w 954"/>
                <a:gd name="T97" fmla="*/ 2147483647 h 972"/>
                <a:gd name="T98" fmla="*/ 2147483647 w 954"/>
                <a:gd name="T99" fmla="*/ 2147483647 h 972"/>
                <a:gd name="T100" fmla="*/ 2147483647 w 954"/>
                <a:gd name="T101" fmla="*/ 2147483647 h 972"/>
                <a:gd name="T102" fmla="*/ 2147483647 w 954"/>
                <a:gd name="T103" fmla="*/ 2147483647 h 972"/>
                <a:gd name="T104" fmla="*/ 2147483647 w 954"/>
                <a:gd name="T105" fmla="*/ 2147483647 h 972"/>
                <a:gd name="T106" fmla="*/ 2147483647 w 954"/>
                <a:gd name="T107" fmla="*/ 2147483647 h 972"/>
                <a:gd name="T108" fmla="*/ 2147483647 w 954"/>
                <a:gd name="T109" fmla="*/ 2147483647 h 972"/>
                <a:gd name="T110" fmla="*/ 2147483647 w 954"/>
                <a:gd name="T111" fmla="*/ 2147483647 h 972"/>
                <a:gd name="T112" fmla="*/ 2147483647 w 954"/>
                <a:gd name="T113" fmla="*/ 2147483647 h 972"/>
                <a:gd name="T114" fmla="*/ 2147483647 w 954"/>
                <a:gd name="T115" fmla="*/ 2147483647 h 972"/>
                <a:gd name="T116" fmla="*/ 2147483647 w 954"/>
                <a:gd name="T117" fmla="*/ 2147483647 h 972"/>
                <a:gd name="T118" fmla="*/ 2147483647 w 954"/>
                <a:gd name="T119" fmla="*/ 2147483647 h 9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72"/>
                <a:gd name="T182" fmla="*/ 954 w 954"/>
                <a:gd name="T183" fmla="*/ 972 h 9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72">
                  <a:moveTo>
                    <a:pt x="366" y="894"/>
                  </a:moveTo>
                  <a:lnTo>
                    <a:pt x="372" y="894"/>
                  </a:lnTo>
                  <a:lnTo>
                    <a:pt x="390" y="912"/>
                  </a:lnTo>
                  <a:lnTo>
                    <a:pt x="390" y="936"/>
                  </a:lnTo>
                  <a:lnTo>
                    <a:pt x="396" y="948"/>
                  </a:lnTo>
                  <a:lnTo>
                    <a:pt x="402" y="954"/>
                  </a:lnTo>
                  <a:lnTo>
                    <a:pt x="426" y="954"/>
                  </a:lnTo>
                  <a:lnTo>
                    <a:pt x="432" y="960"/>
                  </a:lnTo>
                  <a:lnTo>
                    <a:pt x="432" y="966"/>
                  </a:lnTo>
                  <a:lnTo>
                    <a:pt x="438" y="972"/>
                  </a:lnTo>
                  <a:lnTo>
                    <a:pt x="462" y="972"/>
                  </a:lnTo>
                  <a:lnTo>
                    <a:pt x="474" y="960"/>
                  </a:lnTo>
                  <a:lnTo>
                    <a:pt x="486" y="960"/>
                  </a:lnTo>
                  <a:lnTo>
                    <a:pt x="498" y="972"/>
                  </a:lnTo>
                  <a:lnTo>
                    <a:pt x="522" y="972"/>
                  </a:lnTo>
                  <a:lnTo>
                    <a:pt x="522" y="948"/>
                  </a:lnTo>
                  <a:lnTo>
                    <a:pt x="534" y="948"/>
                  </a:lnTo>
                  <a:lnTo>
                    <a:pt x="534" y="942"/>
                  </a:lnTo>
                  <a:lnTo>
                    <a:pt x="540" y="936"/>
                  </a:lnTo>
                  <a:lnTo>
                    <a:pt x="552" y="930"/>
                  </a:lnTo>
                  <a:lnTo>
                    <a:pt x="570" y="930"/>
                  </a:lnTo>
                  <a:lnTo>
                    <a:pt x="582" y="414"/>
                  </a:lnTo>
                  <a:lnTo>
                    <a:pt x="654" y="414"/>
                  </a:lnTo>
                  <a:lnTo>
                    <a:pt x="648" y="288"/>
                  </a:lnTo>
                  <a:lnTo>
                    <a:pt x="654" y="282"/>
                  </a:lnTo>
                  <a:lnTo>
                    <a:pt x="654" y="108"/>
                  </a:lnTo>
                  <a:lnTo>
                    <a:pt x="690" y="108"/>
                  </a:lnTo>
                  <a:lnTo>
                    <a:pt x="708" y="102"/>
                  </a:lnTo>
                  <a:lnTo>
                    <a:pt x="744" y="102"/>
                  </a:lnTo>
                  <a:lnTo>
                    <a:pt x="792" y="90"/>
                  </a:lnTo>
                  <a:lnTo>
                    <a:pt x="804" y="84"/>
                  </a:lnTo>
                  <a:lnTo>
                    <a:pt x="822" y="84"/>
                  </a:lnTo>
                  <a:lnTo>
                    <a:pt x="828" y="90"/>
                  </a:lnTo>
                  <a:lnTo>
                    <a:pt x="828" y="108"/>
                  </a:lnTo>
                  <a:lnTo>
                    <a:pt x="834" y="108"/>
                  </a:lnTo>
                  <a:lnTo>
                    <a:pt x="834" y="126"/>
                  </a:lnTo>
                  <a:lnTo>
                    <a:pt x="840" y="126"/>
                  </a:lnTo>
                  <a:lnTo>
                    <a:pt x="882" y="84"/>
                  </a:lnTo>
                  <a:lnTo>
                    <a:pt x="906" y="84"/>
                  </a:lnTo>
                  <a:lnTo>
                    <a:pt x="918" y="72"/>
                  </a:lnTo>
                  <a:lnTo>
                    <a:pt x="954" y="66"/>
                  </a:lnTo>
                  <a:lnTo>
                    <a:pt x="936" y="48"/>
                  </a:lnTo>
                  <a:lnTo>
                    <a:pt x="906" y="54"/>
                  </a:lnTo>
                  <a:lnTo>
                    <a:pt x="906" y="48"/>
                  </a:lnTo>
                  <a:lnTo>
                    <a:pt x="900" y="42"/>
                  </a:lnTo>
                  <a:lnTo>
                    <a:pt x="882" y="42"/>
                  </a:lnTo>
                  <a:lnTo>
                    <a:pt x="876" y="48"/>
                  </a:lnTo>
                  <a:lnTo>
                    <a:pt x="870" y="48"/>
                  </a:lnTo>
                  <a:lnTo>
                    <a:pt x="846" y="60"/>
                  </a:lnTo>
                  <a:lnTo>
                    <a:pt x="828" y="54"/>
                  </a:lnTo>
                  <a:lnTo>
                    <a:pt x="816" y="60"/>
                  </a:lnTo>
                  <a:lnTo>
                    <a:pt x="780" y="72"/>
                  </a:lnTo>
                  <a:lnTo>
                    <a:pt x="732" y="78"/>
                  </a:lnTo>
                  <a:lnTo>
                    <a:pt x="696" y="84"/>
                  </a:lnTo>
                  <a:lnTo>
                    <a:pt x="624" y="84"/>
                  </a:lnTo>
                  <a:lnTo>
                    <a:pt x="618" y="72"/>
                  </a:lnTo>
                  <a:lnTo>
                    <a:pt x="546" y="78"/>
                  </a:lnTo>
                  <a:lnTo>
                    <a:pt x="540" y="66"/>
                  </a:lnTo>
                  <a:lnTo>
                    <a:pt x="504" y="66"/>
                  </a:lnTo>
                  <a:lnTo>
                    <a:pt x="480" y="42"/>
                  </a:lnTo>
                  <a:lnTo>
                    <a:pt x="480" y="36"/>
                  </a:lnTo>
                  <a:lnTo>
                    <a:pt x="174" y="36"/>
                  </a:lnTo>
                  <a:lnTo>
                    <a:pt x="168" y="30"/>
                  </a:lnTo>
                  <a:lnTo>
                    <a:pt x="156" y="30"/>
                  </a:lnTo>
                  <a:lnTo>
                    <a:pt x="132" y="18"/>
                  </a:lnTo>
                  <a:lnTo>
                    <a:pt x="126" y="6"/>
                  </a:lnTo>
                  <a:lnTo>
                    <a:pt x="120" y="0"/>
                  </a:lnTo>
                  <a:lnTo>
                    <a:pt x="90" y="0"/>
                  </a:lnTo>
                  <a:lnTo>
                    <a:pt x="90" y="6"/>
                  </a:lnTo>
                  <a:lnTo>
                    <a:pt x="72" y="24"/>
                  </a:lnTo>
                  <a:lnTo>
                    <a:pt x="42" y="24"/>
                  </a:lnTo>
                  <a:lnTo>
                    <a:pt x="36" y="18"/>
                  </a:lnTo>
                  <a:lnTo>
                    <a:pt x="18" y="24"/>
                  </a:lnTo>
                  <a:lnTo>
                    <a:pt x="0" y="24"/>
                  </a:lnTo>
                  <a:lnTo>
                    <a:pt x="6" y="96"/>
                  </a:lnTo>
                  <a:lnTo>
                    <a:pt x="12" y="108"/>
                  </a:lnTo>
                  <a:lnTo>
                    <a:pt x="30" y="126"/>
                  </a:lnTo>
                  <a:lnTo>
                    <a:pt x="36" y="138"/>
                  </a:lnTo>
                  <a:lnTo>
                    <a:pt x="54" y="162"/>
                  </a:lnTo>
                  <a:lnTo>
                    <a:pt x="72" y="192"/>
                  </a:lnTo>
                  <a:lnTo>
                    <a:pt x="96" y="228"/>
                  </a:lnTo>
                  <a:lnTo>
                    <a:pt x="102" y="258"/>
                  </a:lnTo>
                  <a:lnTo>
                    <a:pt x="102" y="276"/>
                  </a:lnTo>
                  <a:lnTo>
                    <a:pt x="114" y="294"/>
                  </a:lnTo>
                  <a:lnTo>
                    <a:pt x="120" y="312"/>
                  </a:lnTo>
                  <a:lnTo>
                    <a:pt x="138" y="348"/>
                  </a:lnTo>
                  <a:lnTo>
                    <a:pt x="156" y="366"/>
                  </a:lnTo>
                  <a:lnTo>
                    <a:pt x="156" y="390"/>
                  </a:lnTo>
                  <a:lnTo>
                    <a:pt x="162" y="396"/>
                  </a:lnTo>
                  <a:lnTo>
                    <a:pt x="174" y="402"/>
                  </a:lnTo>
                  <a:lnTo>
                    <a:pt x="180" y="414"/>
                  </a:lnTo>
                  <a:lnTo>
                    <a:pt x="192" y="420"/>
                  </a:lnTo>
                  <a:lnTo>
                    <a:pt x="198" y="432"/>
                  </a:lnTo>
                  <a:lnTo>
                    <a:pt x="198" y="582"/>
                  </a:lnTo>
                  <a:lnTo>
                    <a:pt x="222" y="630"/>
                  </a:lnTo>
                  <a:lnTo>
                    <a:pt x="222" y="678"/>
                  </a:lnTo>
                  <a:lnTo>
                    <a:pt x="216" y="678"/>
                  </a:lnTo>
                  <a:lnTo>
                    <a:pt x="228" y="726"/>
                  </a:lnTo>
                  <a:lnTo>
                    <a:pt x="228" y="762"/>
                  </a:lnTo>
                  <a:lnTo>
                    <a:pt x="240" y="762"/>
                  </a:lnTo>
                  <a:lnTo>
                    <a:pt x="240" y="804"/>
                  </a:lnTo>
                  <a:lnTo>
                    <a:pt x="252" y="810"/>
                  </a:lnTo>
                  <a:lnTo>
                    <a:pt x="258" y="816"/>
                  </a:lnTo>
                  <a:lnTo>
                    <a:pt x="258" y="846"/>
                  </a:lnTo>
                  <a:lnTo>
                    <a:pt x="264" y="858"/>
                  </a:lnTo>
                  <a:lnTo>
                    <a:pt x="270" y="864"/>
                  </a:lnTo>
                  <a:lnTo>
                    <a:pt x="276" y="876"/>
                  </a:lnTo>
                  <a:lnTo>
                    <a:pt x="282" y="894"/>
                  </a:lnTo>
                  <a:lnTo>
                    <a:pt x="282" y="900"/>
                  </a:lnTo>
                  <a:lnTo>
                    <a:pt x="288" y="912"/>
                  </a:lnTo>
                  <a:lnTo>
                    <a:pt x="294" y="918"/>
                  </a:lnTo>
                  <a:lnTo>
                    <a:pt x="318" y="930"/>
                  </a:lnTo>
                  <a:lnTo>
                    <a:pt x="324" y="936"/>
                  </a:lnTo>
                  <a:lnTo>
                    <a:pt x="330" y="936"/>
                  </a:lnTo>
                  <a:lnTo>
                    <a:pt x="330" y="942"/>
                  </a:lnTo>
                  <a:lnTo>
                    <a:pt x="348" y="930"/>
                  </a:lnTo>
                  <a:lnTo>
                    <a:pt x="348" y="924"/>
                  </a:lnTo>
                  <a:lnTo>
                    <a:pt x="354" y="918"/>
                  </a:lnTo>
                  <a:lnTo>
                    <a:pt x="360" y="906"/>
                  </a:lnTo>
                  <a:lnTo>
                    <a:pt x="360" y="900"/>
                  </a:lnTo>
                  <a:lnTo>
                    <a:pt x="366" y="894"/>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99" name="Myanmar" descr="© INSCALE GmbH, 05.05.2010&#10;http://www.presentationload.com/">
              <a:extLst>
                <a:ext uri="{FF2B5EF4-FFF2-40B4-BE49-F238E27FC236}">
                  <a16:creationId xmlns:a16="http://schemas.microsoft.com/office/drawing/2014/main" id="{2F0B7988-5940-46D4-B0E7-B8AACEA24C87}"/>
                </a:ext>
              </a:extLst>
            </p:cNvPr>
            <p:cNvSpPr>
              <a:spLocks/>
            </p:cNvSpPr>
            <p:nvPr/>
          </p:nvSpPr>
          <p:spPr bwMode="gray">
            <a:xfrm>
              <a:off x="6689940" y="3338472"/>
              <a:ext cx="252451" cy="595849"/>
            </a:xfrm>
            <a:custGeom>
              <a:avLst/>
              <a:gdLst>
                <a:gd name="T0" fmla="*/ 2147483647 w 636"/>
                <a:gd name="T1" fmla="*/ 2147483647 h 1500"/>
                <a:gd name="T2" fmla="*/ 2147483647 w 636"/>
                <a:gd name="T3" fmla="*/ 2147483647 h 1500"/>
                <a:gd name="T4" fmla="*/ 2147483647 w 636"/>
                <a:gd name="T5" fmla="*/ 2147483647 h 1500"/>
                <a:gd name="T6" fmla="*/ 2147483647 w 636"/>
                <a:gd name="T7" fmla="*/ 2147483647 h 1500"/>
                <a:gd name="T8" fmla="*/ 2147483647 w 636"/>
                <a:gd name="T9" fmla="*/ 2147483647 h 1500"/>
                <a:gd name="T10" fmla="*/ 2147483647 w 636"/>
                <a:gd name="T11" fmla="*/ 2147483647 h 1500"/>
                <a:gd name="T12" fmla="*/ 2147483647 w 636"/>
                <a:gd name="T13" fmla="*/ 2147483647 h 1500"/>
                <a:gd name="T14" fmla="*/ 2147483647 w 636"/>
                <a:gd name="T15" fmla="*/ 2147483647 h 1500"/>
                <a:gd name="T16" fmla="*/ 2147483647 w 636"/>
                <a:gd name="T17" fmla="*/ 2147483647 h 1500"/>
                <a:gd name="T18" fmla="*/ 2147483647 w 636"/>
                <a:gd name="T19" fmla="*/ 2147483647 h 1500"/>
                <a:gd name="T20" fmla="*/ 2147483647 w 636"/>
                <a:gd name="T21" fmla="*/ 2147483647 h 1500"/>
                <a:gd name="T22" fmla="*/ 2147483647 w 636"/>
                <a:gd name="T23" fmla="*/ 2147483647 h 1500"/>
                <a:gd name="T24" fmla="*/ 2147483647 w 636"/>
                <a:gd name="T25" fmla="*/ 2147483647 h 1500"/>
                <a:gd name="T26" fmla="*/ 2147483647 w 636"/>
                <a:gd name="T27" fmla="*/ 2147483647 h 1500"/>
                <a:gd name="T28" fmla="*/ 2147483647 w 636"/>
                <a:gd name="T29" fmla="*/ 2147483647 h 1500"/>
                <a:gd name="T30" fmla="*/ 2147483647 w 636"/>
                <a:gd name="T31" fmla="*/ 2147483647 h 1500"/>
                <a:gd name="T32" fmla="*/ 2147483647 w 636"/>
                <a:gd name="T33" fmla="*/ 2147483647 h 1500"/>
                <a:gd name="T34" fmla="*/ 2147483647 w 636"/>
                <a:gd name="T35" fmla="*/ 2147483647 h 1500"/>
                <a:gd name="T36" fmla="*/ 2147483647 w 636"/>
                <a:gd name="T37" fmla="*/ 2147483647 h 1500"/>
                <a:gd name="T38" fmla="*/ 2147483647 w 636"/>
                <a:gd name="T39" fmla="*/ 2147483647 h 1500"/>
                <a:gd name="T40" fmla="*/ 2147483647 w 636"/>
                <a:gd name="T41" fmla="*/ 2147483647 h 1500"/>
                <a:gd name="T42" fmla="*/ 2147483647 w 636"/>
                <a:gd name="T43" fmla="*/ 2147483647 h 1500"/>
                <a:gd name="T44" fmla="*/ 2147483647 w 636"/>
                <a:gd name="T45" fmla="*/ 2147483647 h 1500"/>
                <a:gd name="T46" fmla="*/ 2147483647 w 636"/>
                <a:gd name="T47" fmla="*/ 2147483647 h 1500"/>
                <a:gd name="T48" fmla="*/ 2147483647 w 636"/>
                <a:gd name="T49" fmla="*/ 2147483647 h 1500"/>
                <a:gd name="T50" fmla="*/ 2147483647 w 636"/>
                <a:gd name="T51" fmla="*/ 2147483647 h 1500"/>
                <a:gd name="T52" fmla="*/ 2147483647 w 636"/>
                <a:gd name="T53" fmla="*/ 2147483647 h 1500"/>
                <a:gd name="T54" fmla="*/ 2147483647 w 636"/>
                <a:gd name="T55" fmla="*/ 2147483647 h 1500"/>
                <a:gd name="T56" fmla="*/ 2147483647 w 636"/>
                <a:gd name="T57" fmla="*/ 2147483647 h 1500"/>
                <a:gd name="T58" fmla="*/ 2147483647 w 636"/>
                <a:gd name="T59" fmla="*/ 2147483647 h 1500"/>
                <a:gd name="T60" fmla="*/ 2147483647 w 636"/>
                <a:gd name="T61" fmla="*/ 2147483647 h 1500"/>
                <a:gd name="T62" fmla="*/ 2147483647 w 636"/>
                <a:gd name="T63" fmla="*/ 2147483647 h 1500"/>
                <a:gd name="T64" fmla="*/ 2147483647 w 636"/>
                <a:gd name="T65" fmla="*/ 2147483647 h 1500"/>
                <a:gd name="T66" fmla="*/ 2147483647 w 636"/>
                <a:gd name="T67" fmla="*/ 2147483647 h 1500"/>
                <a:gd name="T68" fmla="*/ 2147483647 w 636"/>
                <a:gd name="T69" fmla="*/ 2147483647 h 1500"/>
                <a:gd name="T70" fmla="*/ 2147483647 w 636"/>
                <a:gd name="T71" fmla="*/ 2147483647 h 1500"/>
                <a:gd name="T72" fmla="*/ 2147483647 w 636"/>
                <a:gd name="T73" fmla="*/ 2147483647 h 1500"/>
                <a:gd name="T74" fmla="*/ 2147483647 w 636"/>
                <a:gd name="T75" fmla="*/ 2147483647 h 1500"/>
                <a:gd name="T76" fmla="*/ 2147483647 w 636"/>
                <a:gd name="T77" fmla="*/ 2147483647 h 1500"/>
                <a:gd name="T78" fmla="*/ 2147483647 w 636"/>
                <a:gd name="T79" fmla="*/ 2147483647 h 1500"/>
                <a:gd name="T80" fmla="*/ 2147483647 w 636"/>
                <a:gd name="T81" fmla="*/ 2147483647 h 1500"/>
                <a:gd name="T82" fmla="*/ 2147483647 w 636"/>
                <a:gd name="T83" fmla="*/ 2147483647 h 1500"/>
                <a:gd name="T84" fmla="*/ 2147483647 w 636"/>
                <a:gd name="T85" fmla="*/ 2147483647 h 1500"/>
                <a:gd name="T86" fmla="*/ 2147483647 w 636"/>
                <a:gd name="T87" fmla="*/ 0 h 1500"/>
                <a:gd name="T88" fmla="*/ 2147483647 w 636"/>
                <a:gd name="T89" fmla="*/ 2147483647 h 1500"/>
                <a:gd name="T90" fmla="*/ 2147483647 w 636"/>
                <a:gd name="T91" fmla="*/ 2147483647 h 1500"/>
                <a:gd name="T92" fmla="*/ 2147483647 w 636"/>
                <a:gd name="T93" fmla="*/ 2147483647 h 1500"/>
                <a:gd name="T94" fmla="*/ 2147483647 w 636"/>
                <a:gd name="T95" fmla="*/ 2147483647 h 1500"/>
                <a:gd name="T96" fmla="*/ 2147483647 w 636"/>
                <a:gd name="T97" fmla="*/ 2147483647 h 1500"/>
                <a:gd name="T98" fmla="*/ 2147483647 w 636"/>
                <a:gd name="T99" fmla="*/ 2147483647 h 1500"/>
                <a:gd name="T100" fmla="*/ 2147483647 w 636"/>
                <a:gd name="T101" fmla="*/ 2147483647 h 1500"/>
                <a:gd name="T102" fmla="*/ 2147483647 w 636"/>
                <a:gd name="T103" fmla="*/ 2147483647 h 1500"/>
                <a:gd name="T104" fmla="*/ 2147483647 w 636"/>
                <a:gd name="T105" fmla="*/ 2147483647 h 1500"/>
                <a:gd name="T106" fmla="*/ 2147483647 w 636"/>
                <a:gd name="T107" fmla="*/ 2147483647 h 1500"/>
                <a:gd name="T108" fmla="*/ 2147483647 w 636"/>
                <a:gd name="T109" fmla="*/ 2147483647 h 15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36"/>
                <a:gd name="T166" fmla="*/ 0 h 1500"/>
                <a:gd name="T167" fmla="*/ 636 w 636"/>
                <a:gd name="T168" fmla="*/ 1500 h 15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36" h="1500">
                  <a:moveTo>
                    <a:pt x="0" y="588"/>
                  </a:moveTo>
                  <a:lnTo>
                    <a:pt x="18" y="588"/>
                  </a:lnTo>
                  <a:lnTo>
                    <a:pt x="12" y="630"/>
                  </a:lnTo>
                  <a:lnTo>
                    <a:pt x="18" y="630"/>
                  </a:lnTo>
                  <a:lnTo>
                    <a:pt x="24" y="636"/>
                  </a:lnTo>
                  <a:lnTo>
                    <a:pt x="42" y="642"/>
                  </a:lnTo>
                  <a:lnTo>
                    <a:pt x="54" y="648"/>
                  </a:lnTo>
                  <a:lnTo>
                    <a:pt x="72" y="666"/>
                  </a:lnTo>
                  <a:lnTo>
                    <a:pt x="84" y="690"/>
                  </a:lnTo>
                  <a:lnTo>
                    <a:pt x="90" y="696"/>
                  </a:lnTo>
                  <a:lnTo>
                    <a:pt x="90" y="702"/>
                  </a:lnTo>
                  <a:lnTo>
                    <a:pt x="126" y="696"/>
                  </a:lnTo>
                  <a:lnTo>
                    <a:pt x="102" y="738"/>
                  </a:lnTo>
                  <a:lnTo>
                    <a:pt x="108" y="738"/>
                  </a:lnTo>
                  <a:lnTo>
                    <a:pt x="114" y="744"/>
                  </a:lnTo>
                  <a:lnTo>
                    <a:pt x="126" y="744"/>
                  </a:lnTo>
                  <a:lnTo>
                    <a:pt x="144" y="750"/>
                  </a:lnTo>
                  <a:lnTo>
                    <a:pt x="156" y="762"/>
                  </a:lnTo>
                  <a:lnTo>
                    <a:pt x="168" y="768"/>
                  </a:lnTo>
                  <a:lnTo>
                    <a:pt x="174" y="780"/>
                  </a:lnTo>
                  <a:lnTo>
                    <a:pt x="186" y="792"/>
                  </a:lnTo>
                  <a:lnTo>
                    <a:pt x="192" y="804"/>
                  </a:lnTo>
                  <a:lnTo>
                    <a:pt x="192" y="822"/>
                  </a:lnTo>
                  <a:lnTo>
                    <a:pt x="198" y="834"/>
                  </a:lnTo>
                  <a:lnTo>
                    <a:pt x="198" y="840"/>
                  </a:lnTo>
                  <a:lnTo>
                    <a:pt x="204" y="846"/>
                  </a:lnTo>
                  <a:lnTo>
                    <a:pt x="210" y="858"/>
                  </a:lnTo>
                  <a:lnTo>
                    <a:pt x="222" y="870"/>
                  </a:lnTo>
                  <a:lnTo>
                    <a:pt x="210" y="888"/>
                  </a:lnTo>
                  <a:lnTo>
                    <a:pt x="216" y="978"/>
                  </a:lnTo>
                  <a:lnTo>
                    <a:pt x="204" y="990"/>
                  </a:lnTo>
                  <a:lnTo>
                    <a:pt x="204" y="1002"/>
                  </a:lnTo>
                  <a:lnTo>
                    <a:pt x="222" y="1020"/>
                  </a:lnTo>
                  <a:lnTo>
                    <a:pt x="234" y="1020"/>
                  </a:lnTo>
                  <a:lnTo>
                    <a:pt x="246" y="1014"/>
                  </a:lnTo>
                  <a:lnTo>
                    <a:pt x="252" y="1008"/>
                  </a:lnTo>
                  <a:lnTo>
                    <a:pt x="258" y="1014"/>
                  </a:lnTo>
                  <a:lnTo>
                    <a:pt x="258" y="1020"/>
                  </a:lnTo>
                  <a:lnTo>
                    <a:pt x="276" y="1020"/>
                  </a:lnTo>
                  <a:lnTo>
                    <a:pt x="282" y="1014"/>
                  </a:lnTo>
                  <a:lnTo>
                    <a:pt x="294" y="1008"/>
                  </a:lnTo>
                  <a:lnTo>
                    <a:pt x="300" y="996"/>
                  </a:lnTo>
                  <a:lnTo>
                    <a:pt x="306" y="990"/>
                  </a:lnTo>
                  <a:lnTo>
                    <a:pt x="312" y="978"/>
                  </a:lnTo>
                  <a:lnTo>
                    <a:pt x="324" y="978"/>
                  </a:lnTo>
                  <a:lnTo>
                    <a:pt x="360" y="960"/>
                  </a:lnTo>
                  <a:lnTo>
                    <a:pt x="366" y="954"/>
                  </a:lnTo>
                  <a:lnTo>
                    <a:pt x="366" y="900"/>
                  </a:lnTo>
                  <a:lnTo>
                    <a:pt x="372" y="894"/>
                  </a:lnTo>
                  <a:lnTo>
                    <a:pt x="378" y="894"/>
                  </a:lnTo>
                  <a:lnTo>
                    <a:pt x="396" y="912"/>
                  </a:lnTo>
                  <a:lnTo>
                    <a:pt x="402" y="924"/>
                  </a:lnTo>
                  <a:lnTo>
                    <a:pt x="402" y="954"/>
                  </a:lnTo>
                  <a:lnTo>
                    <a:pt x="408" y="954"/>
                  </a:lnTo>
                  <a:lnTo>
                    <a:pt x="426" y="972"/>
                  </a:lnTo>
                  <a:lnTo>
                    <a:pt x="432" y="984"/>
                  </a:lnTo>
                  <a:lnTo>
                    <a:pt x="444" y="1014"/>
                  </a:lnTo>
                  <a:lnTo>
                    <a:pt x="450" y="1050"/>
                  </a:lnTo>
                  <a:lnTo>
                    <a:pt x="450" y="1074"/>
                  </a:lnTo>
                  <a:lnTo>
                    <a:pt x="456" y="1092"/>
                  </a:lnTo>
                  <a:lnTo>
                    <a:pt x="456" y="1128"/>
                  </a:lnTo>
                  <a:lnTo>
                    <a:pt x="462" y="1134"/>
                  </a:lnTo>
                  <a:lnTo>
                    <a:pt x="480" y="1170"/>
                  </a:lnTo>
                  <a:lnTo>
                    <a:pt x="486" y="1176"/>
                  </a:lnTo>
                  <a:lnTo>
                    <a:pt x="486" y="1182"/>
                  </a:lnTo>
                  <a:lnTo>
                    <a:pt x="528" y="1272"/>
                  </a:lnTo>
                  <a:lnTo>
                    <a:pt x="540" y="1320"/>
                  </a:lnTo>
                  <a:lnTo>
                    <a:pt x="522" y="1320"/>
                  </a:lnTo>
                  <a:lnTo>
                    <a:pt x="516" y="1326"/>
                  </a:lnTo>
                  <a:lnTo>
                    <a:pt x="516" y="1350"/>
                  </a:lnTo>
                  <a:lnTo>
                    <a:pt x="510" y="1362"/>
                  </a:lnTo>
                  <a:lnTo>
                    <a:pt x="510" y="1374"/>
                  </a:lnTo>
                  <a:lnTo>
                    <a:pt x="552" y="1362"/>
                  </a:lnTo>
                  <a:lnTo>
                    <a:pt x="540" y="1416"/>
                  </a:lnTo>
                  <a:lnTo>
                    <a:pt x="540" y="1428"/>
                  </a:lnTo>
                  <a:lnTo>
                    <a:pt x="534" y="1440"/>
                  </a:lnTo>
                  <a:lnTo>
                    <a:pt x="534" y="1464"/>
                  </a:lnTo>
                  <a:lnTo>
                    <a:pt x="540" y="1482"/>
                  </a:lnTo>
                  <a:lnTo>
                    <a:pt x="540" y="1488"/>
                  </a:lnTo>
                  <a:lnTo>
                    <a:pt x="546" y="1500"/>
                  </a:lnTo>
                  <a:lnTo>
                    <a:pt x="552" y="1488"/>
                  </a:lnTo>
                  <a:lnTo>
                    <a:pt x="558" y="1482"/>
                  </a:lnTo>
                  <a:lnTo>
                    <a:pt x="564" y="1470"/>
                  </a:lnTo>
                  <a:lnTo>
                    <a:pt x="564" y="1458"/>
                  </a:lnTo>
                  <a:lnTo>
                    <a:pt x="558" y="1452"/>
                  </a:lnTo>
                  <a:lnTo>
                    <a:pt x="558" y="1440"/>
                  </a:lnTo>
                  <a:lnTo>
                    <a:pt x="576" y="1422"/>
                  </a:lnTo>
                  <a:lnTo>
                    <a:pt x="594" y="1386"/>
                  </a:lnTo>
                  <a:lnTo>
                    <a:pt x="594" y="1368"/>
                  </a:lnTo>
                  <a:lnTo>
                    <a:pt x="600" y="1356"/>
                  </a:lnTo>
                  <a:lnTo>
                    <a:pt x="600" y="1326"/>
                  </a:lnTo>
                  <a:lnTo>
                    <a:pt x="594" y="1314"/>
                  </a:lnTo>
                  <a:lnTo>
                    <a:pt x="594" y="1290"/>
                  </a:lnTo>
                  <a:lnTo>
                    <a:pt x="570" y="1266"/>
                  </a:lnTo>
                  <a:lnTo>
                    <a:pt x="570" y="1242"/>
                  </a:lnTo>
                  <a:lnTo>
                    <a:pt x="564" y="1224"/>
                  </a:lnTo>
                  <a:lnTo>
                    <a:pt x="564" y="1194"/>
                  </a:lnTo>
                  <a:lnTo>
                    <a:pt x="558" y="1182"/>
                  </a:lnTo>
                  <a:lnTo>
                    <a:pt x="516" y="1140"/>
                  </a:lnTo>
                  <a:lnTo>
                    <a:pt x="510" y="1128"/>
                  </a:lnTo>
                  <a:lnTo>
                    <a:pt x="504" y="1122"/>
                  </a:lnTo>
                  <a:lnTo>
                    <a:pt x="498" y="1110"/>
                  </a:lnTo>
                  <a:lnTo>
                    <a:pt x="492" y="1104"/>
                  </a:lnTo>
                  <a:lnTo>
                    <a:pt x="492" y="1098"/>
                  </a:lnTo>
                  <a:lnTo>
                    <a:pt x="486" y="1092"/>
                  </a:lnTo>
                  <a:lnTo>
                    <a:pt x="504" y="1056"/>
                  </a:lnTo>
                  <a:lnTo>
                    <a:pt x="510" y="1050"/>
                  </a:lnTo>
                  <a:lnTo>
                    <a:pt x="516" y="1038"/>
                  </a:lnTo>
                  <a:lnTo>
                    <a:pt x="516" y="1014"/>
                  </a:lnTo>
                  <a:lnTo>
                    <a:pt x="510" y="1002"/>
                  </a:lnTo>
                  <a:lnTo>
                    <a:pt x="522" y="1002"/>
                  </a:lnTo>
                  <a:lnTo>
                    <a:pt x="528" y="996"/>
                  </a:lnTo>
                  <a:lnTo>
                    <a:pt x="528" y="978"/>
                  </a:lnTo>
                  <a:lnTo>
                    <a:pt x="522" y="972"/>
                  </a:lnTo>
                  <a:lnTo>
                    <a:pt x="516" y="978"/>
                  </a:lnTo>
                  <a:lnTo>
                    <a:pt x="510" y="978"/>
                  </a:lnTo>
                  <a:lnTo>
                    <a:pt x="504" y="972"/>
                  </a:lnTo>
                  <a:lnTo>
                    <a:pt x="498" y="960"/>
                  </a:lnTo>
                  <a:lnTo>
                    <a:pt x="498" y="942"/>
                  </a:lnTo>
                  <a:lnTo>
                    <a:pt x="504" y="942"/>
                  </a:lnTo>
                  <a:lnTo>
                    <a:pt x="504" y="936"/>
                  </a:lnTo>
                  <a:lnTo>
                    <a:pt x="498" y="930"/>
                  </a:lnTo>
                  <a:lnTo>
                    <a:pt x="486" y="924"/>
                  </a:lnTo>
                  <a:lnTo>
                    <a:pt x="474" y="912"/>
                  </a:lnTo>
                  <a:lnTo>
                    <a:pt x="462" y="906"/>
                  </a:lnTo>
                  <a:lnTo>
                    <a:pt x="444" y="888"/>
                  </a:lnTo>
                  <a:lnTo>
                    <a:pt x="438" y="876"/>
                  </a:lnTo>
                  <a:lnTo>
                    <a:pt x="438" y="870"/>
                  </a:lnTo>
                  <a:lnTo>
                    <a:pt x="432" y="870"/>
                  </a:lnTo>
                  <a:lnTo>
                    <a:pt x="438" y="846"/>
                  </a:lnTo>
                  <a:lnTo>
                    <a:pt x="426" y="840"/>
                  </a:lnTo>
                  <a:lnTo>
                    <a:pt x="402" y="816"/>
                  </a:lnTo>
                  <a:lnTo>
                    <a:pt x="402" y="810"/>
                  </a:lnTo>
                  <a:lnTo>
                    <a:pt x="426" y="810"/>
                  </a:lnTo>
                  <a:lnTo>
                    <a:pt x="426" y="792"/>
                  </a:lnTo>
                  <a:lnTo>
                    <a:pt x="408" y="774"/>
                  </a:lnTo>
                  <a:lnTo>
                    <a:pt x="408" y="768"/>
                  </a:lnTo>
                  <a:lnTo>
                    <a:pt x="414" y="762"/>
                  </a:lnTo>
                  <a:lnTo>
                    <a:pt x="420" y="762"/>
                  </a:lnTo>
                  <a:lnTo>
                    <a:pt x="426" y="756"/>
                  </a:lnTo>
                  <a:lnTo>
                    <a:pt x="426" y="708"/>
                  </a:lnTo>
                  <a:lnTo>
                    <a:pt x="456" y="708"/>
                  </a:lnTo>
                  <a:lnTo>
                    <a:pt x="468" y="714"/>
                  </a:lnTo>
                  <a:lnTo>
                    <a:pt x="480" y="714"/>
                  </a:lnTo>
                  <a:lnTo>
                    <a:pt x="486" y="708"/>
                  </a:lnTo>
                  <a:lnTo>
                    <a:pt x="492" y="696"/>
                  </a:lnTo>
                  <a:lnTo>
                    <a:pt x="498" y="690"/>
                  </a:lnTo>
                  <a:lnTo>
                    <a:pt x="498" y="684"/>
                  </a:lnTo>
                  <a:lnTo>
                    <a:pt x="522" y="684"/>
                  </a:lnTo>
                  <a:lnTo>
                    <a:pt x="528" y="660"/>
                  </a:lnTo>
                  <a:lnTo>
                    <a:pt x="534" y="660"/>
                  </a:lnTo>
                  <a:lnTo>
                    <a:pt x="540" y="654"/>
                  </a:lnTo>
                  <a:lnTo>
                    <a:pt x="564" y="654"/>
                  </a:lnTo>
                  <a:lnTo>
                    <a:pt x="564" y="642"/>
                  </a:lnTo>
                  <a:lnTo>
                    <a:pt x="582" y="624"/>
                  </a:lnTo>
                  <a:lnTo>
                    <a:pt x="594" y="624"/>
                  </a:lnTo>
                  <a:lnTo>
                    <a:pt x="600" y="618"/>
                  </a:lnTo>
                  <a:lnTo>
                    <a:pt x="594" y="612"/>
                  </a:lnTo>
                  <a:lnTo>
                    <a:pt x="600" y="600"/>
                  </a:lnTo>
                  <a:lnTo>
                    <a:pt x="600" y="588"/>
                  </a:lnTo>
                  <a:lnTo>
                    <a:pt x="636" y="570"/>
                  </a:lnTo>
                  <a:lnTo>
                    <a:pt x="636" y="552"/>
                  </a:lnTo>
                  <a:lnTo>
                    <a:pt x="630" y="546"/>
                  </a:lnTo>
                  <a:lnTo>
                    <a:pt x="618" y="546"/>
                  </a:lnTo>
                  <a:lnTo>
                    <a:pt x="600" y="564"/>
                  </a:lnTo>
                  <a:lnTo>
                    <a:pt x="600" y="570"/>
                  </a:lnTo>
                  <a:lnTo>
                    <a:pt x="558" y="570"/>
                  </a:lnTo>
                  <a:lnTo>
                    <a:pt x="558" y="552"/>
                  </a:lnTo>
                  <a:lnTo>
                    <a:pt x="546" y="552"/>
                  </a:lnTo>
                  <a:lnTo>
                    <a:pt x="534" y="522"/>
                  </a:lnTo>
                  <a:lnTo>
                    <a:pt x="480" y="516"/>
                  </a:lnTo>
                  <a:lnTo>
                    <a:pt x="486" y="504"/>
                  </a:lnTo>
                  <a:lnTo>
                    <a:pt x="486" y="498"/>
                  </a:lnTo>
                  <a:lnTo>
                    <a:pt x="492" y="492"/>
                  </a:lnTo>
                  <a:lnTo>
                    <a:pt x="492" y="480"/>
                  </a:lnTo>
                  <a:lnTo>
                    <a:pt x="480" y="468"/>
                  </a:lnTo>
                  <a:lnTo>
                    <a:pt x="486" y="462"/>
                  </a:lnTo>
                  <a:lnTo>
                    <a:pt x="498" y="462"/>
                  </a:lnTo>
                  <a:lnTo>
                    <a:pt x="504" y="456"/>
                  </a:lnTo>
                  <a:lnTo>
                    <a:pt x="504" y="450"/>
                  </a:lnTo>
                  <a:lnTo>
                    <a:pt x="498" y="444"/>
                  </a:lnTo>
                  <a:lnTo>
                    <a:pt x="486" y="438"/>
                  </a:lnTo>
                  <a:lnTo>
                    <a:pt x="456" y="438"/>
                  </a:lnTo>
                  <a:lnTo>
                    <a:pt x="444" y="396"/>
                  </a:lnTo>
                  <a:lnTo>
                    <a:pt x="420" y="378"/>
                  </a:lnTo>
                  <a:lnTo>
                    <a:pt x="450" y="354"/>
                  </a:lnTo>
                  <a:lnTo>
                    <a:pt x="390" y="354"/>
                  </a:lnTo>
                  <a:lnTo>
                    <a:pt x="384" y="360"/>
                  </a:lnTo>
                  <a:lnTo>
                    <a:pt x="372" y="360"/>
                  </a:lnTo>
                  <a:lnTo>
                    <a:pt x="366" y="366"/>
                  </a:lnTo>
                  <a:lnTo>
                    <a:pt x="354" y="372"/>
                  </a:lnTo>
                  <a:lnTo>
                    <a:pt x="366" y="354"/>
                  </a:lnTo>
                  <a:lnTo>
                    <a:pt x="360" y="342"/>
                  </a:lnTo>
                  <a:lnTo>
                    <a:pt x="342" y="324"/>
                  </a:lnTo>
                  <a:lnTo>
                    <a:pt x="342" y="306"/>
                  </a:lnTo>
                  <a:lnTo>
                    <a:pt x="354" y="306"/>
                  </a:lnTo>
                  <a:lnTo>
                    <a:pt x="348" y="276"/>
                  </a:lnTo>
                  <a:lnTo>
                    <a:pt x="360" y="276"/>
                  </a:lnTo>
                  <a:lnTo>
                    <a:pt x="366" y="270"/>
                  </a:lnTo>
                  <a:lnTo>
                    <a:pt x="366" y="234"/>
                  </a:lnTo>
                  <a:lnTo>
                    <a:pt x="372" y="240"/>
                  </a:lnTo>
                  <a:lnTo>
                    <a:pt x="384" y="240"/>
                  </a:lnTo>
                  <a:lnTo>
                    <a:pt x="390" y="234"/>
                  </a:lnTo>
                  <a:lnTo>
                    <a:pt x="396" y="222"/>
                  </a:lnTo>
                  <a:lnTo>
                    <a:pt x="396" y="216"/>
                  </a:lnTo>
                  <a:lnTo>
                    <a:pt x="378" y="198"/>
                  </a:lnTo>
                  <a:lnTo>
                    <a:pt x="390" y="198"/>
                  </a:lnTo>
                  <a:lnTo>
                    <a:pt x="396" y="192"/>
                  </a:lnTo>
                  <a:lnTo>
                    <a:pt x="408" y="192"/>
                  </a:lnTo>
                  <a:lnTo>
                    <a:pt x="396" y="132"/>
                  </a:lnTo>
                  <a:lnTo>
                    <a:pt x="384" y="108"/>
                  </a:lnTo>
                  <a:lnTo>
                    <a:pt x="384" y="78"/>
                  </a:lnTo>
                  <a:lnTo>
                    <a:pt x="378" y="72"/>
                  </a:lnTo>
                  <a:lnTo>
                    <a:pt x="342" y="72"/>
                  </a:lnTo>
                  <a:lnTo>
                    <a:pt x="342" y="66"/>
                  </a:lnTo>
                  <a:lnTo>
                    <a:pt x="336" y="60"/>
                  </a:lnTo>
                  <a:lnTo>
                    <a:pt x="318" y="24"/>
                  </a:lnTo>
                  <a:lnTo>
                    <a:pt x="306" y="18"/>
                  </a:lnTo>
                  <a:lnTo>
                    <a:pt x="300" y="6"/>
                  </a:lnTo>
                  <a:lnTo>
                    <a:pt x="294" y="0"/>
                  </a:lnTo>
                  <a:lnTo>
                    <a:pt x="288" y="0"/>
                  </a:lnTo>
                  <a:lnTo>
                    <a:pt x="282" y="18"/>
                  </a:lnTo>
                  <a:lnTo>
                    <a:pt x="282" y="48"/>
                  </a:lnTo>
                  <a:lnTo>
                    <a:pt x="276" y="48"/>
                  </a:lnTo>
                  <a:lnTo>
                    <a:pt x="270" y="54"/>
                  </a:lnTo>
                  <a:lnTo>
                    <a:pt x="258" y="60"/>
                  </a:lnTo>
                  <a:lnTo>
                    <a:pt x="246" y="72"/>
                  </a:lnTo>
                  <a:lnTo>
                    <a:pt x="252" y="84"/>
                  </a:lnTo>
                  <a:lnTo>
                    <a:pt x="258" y="90"/>
                  </a:lnTo>
                  <a:lnTo>
                    <a:pt x="270" y="96"/>
                  </a:lnTo>
                  <a:lnTo>
                    <a:pt x="276" y="102"/>
                  </a:lnTo>
                  <a:lnTo>
                    <a:pt x="276" y="108"/>
                  </a:lnTo>
                  <a:lnTo>
                    <a:pt x="258" y="108"/>
                  </a:lnTo>
                  <a:lnTo>
                    <a:pt x="252" y="102"/>
                  </a:lnTo>
                  <a:lnTo>
                    <a:pt x="216" y="102"/>
                  </a:lnTo>
                  <a:lnTo>
                    <a:pt x="204" y="108"/>
                  </a:lnTo>
                  <a:lnTo>
                    <a:pt x="198" y="108"/>
                  </a:lnTo>
                  <a:lnTo>
                    <a:pt x="198" y="126"/>
                  </a:lnTo>
                  <a:lnTo>
                    <a:pt x="186" y="138"/>
                  </a:lnTo>
                  <a:lnTo>
                    <a:pt x="174" y="144"/>
                  </a:lnTo>
                  <a:lnTo>
                    <a:pt x="162" y="144"/>
                  </a:lnTo>
                  <a:lnTo>
                    <a:pt x="156" y="150"/>
                  </a:lnTo>
                  <a:lnTo>
                    <a:pt x="150" y="150"/>
                  </a:lnTo>
                  <a:lnTo>
                    <a:pt x="150" y="174"/>
                  </a:lnTo>
                  <a:lnTo>
                    <a:pt x="156" y="180"/>
                  </a:lnTo>
                  <a:lnTo>
                    <a:pt x="156" y="186"/>
                  </a:lnTo>
                  <a:lnTo>
                    <a:pt x="162" y="192"/>
                  </a:lnTo>
                  <a:lnTo>
                    <a:pt x="162" y="204"/>
                  </a:lnTo>
                  <a:lnTo>
                    <a:pt x="144" y="234"/>
                  </a:lnTo>
                  <a:lnTo>
                    <a:pt x="138" y="240"/>
                  </a:lnTo>
                  <a:lnTo>
                    <a:pt x="126" y="246"/>
                  </a:lnTo>
                  <a:lnTo>
                    <a:pt x="126" y="264"/>
                  </a:lnTo>
                  <a:lnTo>
                    <a:pt x="132" y="276"/>
                  </a:lnTo>
                  <a:lnTo>
                    <a:pt x="138" y="282"/>
                  </a:lnTo>
                  <a:lnTo>
                    <a:pt x="120" y="336"/>
                  </a:lnTo>
                  <a:lnTo>
                    <a:pt x="120" y="372"/>
                  </a:lnTo>
                  <a:lnTo>
                    <a:pt x="108" y="372"/>
                  </a:lnTo>
                  <a:lnTo>
                    <a:pt x="96" y="366"/>
                  </a:lnTo>
                  <a:lnTo>
                    <a:pt x="42" y="366"/>
                  </a:lnTo>
                  <a:lnTo>
                    <a:pt x="48" y="366"/>
                  </a:lnTo>
                  <a:lnTo>
                    <a:pt x="66" y="384"/>
                  </a:lnTo>
                  <a:lnTo>
                    <a:pt x="72" y="432"/>
                  </a:lnTo>
                  <a:lnTo>
                    <a:pt x="66" y="432"/>
                  </a:lnTo>
                  <a:lnTo>
                    <a:pt x="48" y="450"/>
                  </a:lnTo>
                  <a:lnTo>
                    <a:pt x="54" y="462"/>
                  </a:lnTo>
                  <a:lnTo>
                    <a:pt x="54" y="486"/>
                  </a:lnTo>
                  <a:lnTo>
                    <a:pt x="72" y="504"/>
                  </a:lnTo>
                  <a:lnTo>
                    <a:pt x="72" y="516"/>
                  </a:lnTo>
                  <a:lnTo>
                    <a:pt x="60" y="516"/>
                  </a:lnTo>
                  <a:lnTo>
                    <a:pt x="54" y="510"/>
                  </a:lnTo>
                  <a:lnTo>
                    <a:pt x="48" y="510"/>
                  </a:lnTo>
                  <a:lnTo>
                    <a:pt x="48" y="534"/>
                  </a:lnTo>
                  <a:lnTo>
                    <a:pt x="30" y="516"/>
                  </a:lnTo>
                  <a:lnTo>
                    <a:pt x="42" y="576"/>
                  </a:lnTo>
                  <a:lnTo>
                    <a:pt x="6" y="570"/>
                  </a:lnTo>
                  <a:lnTo>
                    <a:pt x="6" y="576"/>
                  </a:lnTo>
                  <a:lnTo>
                    <a:pt x="0" y="588"/>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00" name="Mosambik" descr="© INSCALE GmbH, 05.05.2010&#10;http://www.presentationload.com/">
              <a:extLst>
                <a:ext uri="{FF2B5EF4-FFF2-40B4-BE49-F238E27FC236}">
                  <a16:creationId xmlns:a16="http://schemas.microsoft.com/office/drawing/2014/main" id="{162FD954-7C4E-468E-82E3-8960C7ADDB7C}"/>
                </a:ext>
              </a:extLst>
            </p:cNvPr>
            <p:cNvSpPr>
              <a:spLocks/>
            </p:cNvSpPr>
            <p:nvPr/>
          </p:nvSpPr>
          <p:spPr bwMode="gray">
            <a:xfrm>
              <a:off x="4974523" y="4588187"/>
              <a:ext cx="304196" cy="531560"/>
            </a:xfrm>
            <a:custGeom>
              <a:avLst/>
              <a:gdLst>
                <a:gd name="T0" fmla="*/ 2147483647 w 762"/>
                <a:gd name="T1" fmla="*/ 2147483647 h 1338"/>
                <a:gd name="T2" fmla="*/ 2147483647 w 762"/>
                <a:gd name="T3" fmla="*/ 2147483647 h 1338"/>
                <a:gd name="T4" fmla="*/ 2147483647 w 762"/>
                <a:gd name="T5" fmla="*/ 2147483647 h 1338"/>
                <a:gd name="T6" fmla="*/ 2147483647 w 762"/>
                <a:gd name="T7" fmla="*/ 2147483647 h 1338"/>
                <a:gd name="T8" fmla="*/ 2147483647 w 762"/>
                <a:gd name="T9" fmla="*/ 2147483647 h 1338"/>
                <a:gd name="T10" fmla="*/ 2147483647 w 762"/>
                <a:gd name="T11" fmla="*/ 2147483647 h 1338"/>
                <a:gd name="T12" fmla="*/ 2147483647 w 762"/>
                <a:gd name="T13" fmla="*/ 2147483647 h 1338"/>
                <a:gd name="T14" fmla="*/ 2147483647 w 762"/>
                <a:gd name="T15" fmla="*/ 2147483647 h 1338"/>
                <a:gd name="T16" fmla="*/ 2147483647 w 762"/>
                <a:gd name="T17" fmla="*/ 2147483647 h 1338"/>
                <a:gd name="T18" fmla="*/ 2147483647 w 762"/>
                <a:gd name="T19" fmla="*/ 2147483647 h 1338"/>
                <a:gd name="T20" fmla="*/ 2147483647 w 762"/>
                <a:gd name="T21" fmla="*/ 2147483647 h 1338"/>
                <a:gd name="T22" fmla="*/ 2147483647 w 762"/>
                <a:gd name="T23" fmla="*/ 2147483647 h 1338"/>
                <a:gd name="T24" fmla="*/ 2147483647 w 762"/>
                <a:gd name="T25" fmla="*/ 2147483647 h 1338"/>
                <a:gd name="T26" fmla="*/ 2147483647 w 762"/>
                <a:gd name="T27" fmla="*/ 2147483647 h 1338"/>
                <a:gd name="T28" fmla="*/ 2147483647 w 762"/>
                <a:gd name="T29" fmla="*/ 2147483647 h 1338"/>
                <a:gd name="T30" fmla="*/ 2147483647 w 762"/>
                <a:gd name="T31" fmla="*/ 2147483647 h 1338"/>
                <a:gd name="T32" fmla="*/ 2147483647 w 762"/>
                <a:gd name="T33" fmla="*/ 2147483647 h 1338"/>
                <a:gd name="T34" fmla="*/ 2147483647 w 762"/>
                <a:gd name="T35" fmla="*/ 2147483647 h 1338"/>
                <a:gd name="T36" fmla="*/ 2147483647 w 762"/>
                <a:gd name="T37" fmla="*/ 2147483647 h 1338"/>
                <a:gd name="T38" fmla="*/ 2147483647 w 762"/>
                <a:gd name="T39" fmla="*/ 2147483647 h 1338"/>
                <a:gd name="T40" fmla="*/ 2147483647 w 762"/>
                <a:gd name="T41" fmla="*/ 2147483647 h 1338"/>
                <a:gd name="T42" fmla="*/ 2147483647 w 762"/>
                <a:gd name="T43" fmla="*/ 2147483647 h 1338"/>
                <a:gd name="T44" fmla="*/ 2147483647 w 762"/>
                <a:gd name="T45" fmla="*/ 2147483647 h 1338"/>
                <a:gd name="T46" fmla="*/ 2147483647 w 762"/>
                <a:gd name="T47" fmla="*/ 2147483647 h 1338"/>
                <a:gd name="T48" fmla="*/ 2147483647 w 762"/>
                <a:gd name="T49" fmla="*/ 2147483647 h 1338"/>
                <a:gd name="T50" fmla="*/ 2147483647 w 762"/>
                <a:gd name="T51" fmla="*/ 2147483647 h 1338"/>
                <a:gd name="T52" fmla="*/ 2147483647 w 762"/>
                <a:gd name="T53" fmla="*/ 2147483647 h 1338"/>
                <a:gd name="T54" fmla="*/ 2147483647 w 762"/>
                <a:gd name="T55" fmla="*/ 2147483647 h 1338"/>
                <a:gd name="T56" fmla="*/ 0 w 762"/>
                <a:gd name="T57" fmla="*/ 2147483647 h 1338"/>
                <a:gd name="T58" fmla="*/ 2147483647 w 762"/>
                <a:gd name="T59" fmla="*/ 2147483647 h 1338"/>
                <a:gd name="T60" fmla="*/ 2147483647 w 762"/>
                <a:gd name="T61" fmla="*/ 2147483647 h 1338"/>
                <a:gd name="T62" fmla="*/ 2147483647 w 762"/>
                <a:gd name="T63" fmla="*/ 2147483647 h 1338"/>
                <a:gd name="T64" fmla="*/ 2147483647 w 762"/>
                <a:gd name="T65" fmla="*/ 2147483647 h 1338"/>
                <a:gd name="T66" fmla="*/ 2147483647 w 762"/>
                <a:gd name="T67" fmla="*/ 2147483647 h 1338"/>
                <a:gd name="T68" fmla="*/ 2147483647 w 762"/>
                <a:gd name="T69" fmla="*/ 2147483647 h 1338"/>
                <a:gd name="T70" fmla="*/ 2147483647 w 762"/>
                <a:gd name="T71" fmla="*/ 2147483647 h 1338"/>
                <a:gd name="T72" fmla="*/ 2147483647 w 762"/>
                <a:gd name="T73" fmla="*/ 2147483647 h 1338"/>
                <a:gd name="T74" fmla="*/ 2147483647 w 762"/>
                <a:gd name="T75" fmla="*/ 2147483647 h 1338"/>
                <a:gd name="T76" fmla="*/ 2147483647 w 762"/>
                <a:gd name="T77" fmla="*/ 2147483647 h 1338"/>
                <a:gd name="T78" fmla="*/ 2147483647 w 762"/>
                <a:gd name="T79" fmla="*/ 2147483647 h 1338"/>
                <a:gd name="T80" fmla="*/ 2147483647 w 762"/>
                <a:gd name="T81" fmla="*/ 2147483647 h 1338"/>
                <a:gd name="T82" fmla="*/ 2147483647 w 762"/>
                <a:gd name="T83" fmla="*/ 2147483647 h 1338"/>
                <a:gd name="T84" fmla="*/ 2147483647 w 762"/>
                <a:gd name="T85" fmla="*/ 2147483647 h 1338"/>
                <a:gd name="T86" fmla="*/ 2147483647 w 762"/>
                <a:gd name="T87" fmla="*/ 2147483647 h 1338"/>
                <a:gd name="T88" fmla="*/ 2147483647 w 762"/>
                <a:gd name="T89" fmla="*/ 2147483647 h 1338"/>
                <a:gd name="T90" fmla="*/ 2147483647 w 762"/>
                <a:gd name="T91" fmla="*/ 2147483647 h 1338"/>
                <a:gd name="T92" fmla="*/ 2147483647 w 762"/>
                <a:gd name="T93" fmla="*/ 2147483647 h 1338"/>
                <a:gd name="T94" fmla="*/ 2147483647 w 762"/>
                <a:gd name="T95" fmla="*/ 2147483647 h 1338"/>
                <a:gd name="T96" fmla="*/ 2147483647 w 762"/>
                <a:gd name="T97" fmla="*/ 2147483647 h 1338"/>
                <a:gd name="T98" fmla="*/ 2147483647 w 762"/>
                <a:gd name="T99" fmla="*/ 2147483647 h 1338"/>
                <a:gd name="T100" fmla="*/ 2147483647 w 762"/>
                <a:gd name="T101" fmla="*/ 2147483647 h 1338"/>
                <a:gd name="T102" fmla="*/ 2147483647 w 762"/>
                <a:gd name="T103" fmla="*/ 2147483647 h 1338"/>
                <a:gd name="T104" fmla="*/ 2147483647 w 762"/>
                <a:gd name="T105" fmla="*/ 2147483647 h 1338"/>
                <a:gd name="T106" fmla="*/ 2147483647 w 762"/>
                <a:gd name="T107" fmla="*/ 2147483647 h 1338"/>
                <a:gd name="T108" fmla="*/ 2147483647 w 762"/>
                <a:gd name="T109" fmla="*/ 2147483647 h 1338"/>
                <a:gd name="T110" fmla="*/ 2147483647 w 762"/>
                <a:gd name="T111" fmla="*/ 2147483647 h 1338"/>
                <a:gd name="T112" fmla="*/ 2147483647 w 762"/>
                <a:gd name="T113" fmla="*/ 2147483647 h 1338"/>
                <a:gd name="T114" fmla="*/ 2147483647 w 762"/>
                <a:gd name="T115" fmla="*/ 2147483647 h 1338"/>
                <a:gd name="T116" fmla="*/ 2147483647 w 762"/>
                <a:gd name="T117" fmla="*/ 2147483647 h 1338"/>
                <a:gd name="T118" fmla="*/ 2147483647 w 762"/>
                <a:gd name="T119" fmla="*/ 2147483647 h 1338"/>
                <a:gd name="T120" fmla="*/ 2147483647 w 762"/>
                <a:gd name="T121" fmla="*/ 2147483647 h 1338"/>
                <a:gd name="T122" fmla="*/ 2147483647 w 762"/>
                <a:gd name="T123" fmla="*/ 2147483647 h 13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2"/>
                <a:gd name="T187" fmla="*/ 0 h 1338"/>
                <a:gd name="T188" fmla="*/ 762 w 762"/>
                <a:gd name="T189" fmla="*/ 1338 h 133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2" h="1338">
                  <a:moveTo>
                    <a:pt x="762" y="342"/>
                  </a:moveTo>
                  <a:lnTo>
                    <a:pt x="762" y="324"/>
                  </a:lnTo>
                  <a:lnTo>
                    <a:pt x="756" y="318"/>
                  </a:lnTo>
                  <a:lnTo>
                    <a:pt x="744" y="318"/>
                  </a:lnTo>
                  <a:lnTo>
                    <a:pt x="744" y="258"/>
                  </a:lnTo>
                  <a:lnTo>
                    <a:pt x="732" y="246"/>
                  </a:lnTo>
                  <a:lnTo>
                    <a:pt x="750" y="234"/>
                  </a:lnTo>
                  <a:lnTo>
                    <a:pt x="738" y="186"/>
                  </a:lnTo>
                  <a:lnTo>
                    <a:pt x="750" y="156"/>
                  </a:lnTo>
                  <a:lnTo>
                    <a:pt x="738" y="120"/>
                  </a:lnTo>
                  <a:lnTo>
                    <a:pt x="738" y="108"/>
                  </a:lnTo>
                  <a:lnTo>
                    <a:pt x="750" y="72"/>
                  </a:lnTo>
                  <a:lnTo>
                    <a:pt x="756" y="42"/>
                  </a:lnTo>
                  <a:lnTo>
                    <a:pt x="756" y="12"/>
                  </a:lnTo>
                  <a:lnTo>
                    <a:pt x="744" y="0"/>
                  </a:lnTo>
                  <a:lnTo>
                    <a:pt x="666" y="54"/>
                  </a:lnTo>
                  <a:lnTo>
                    <a:pt x="636" y="60"/>
                  </a:lnTo>
                  <a:lnTo>
                    <a:pt x="630" y="60"/>
                  </a:lnTo>
                  <a:lnTo>
                    <a:pt x="618" y="72"/>
                  </a:lnTo>
                  <a:lnTo>
                    <a:pt x="606" y="78"/>
                  </a:lnTo>
                  <a:lnTo>
                    <a:pt x="594" y="78"/>
                  </a:lnTo>
                  <a:lnTo>
                    <a:pt x="594" y="72"/>
                  </a:lnTo>
                  <a:lnTo>
                    <a:pt x="588" y="66"/>
                  </a:lnTo>
                  <a:lnTo>
                    <a:pt x="564" y="66"/>
                  </a:lnTo>
                  <a:lnTo>
                    <a:pt x="558" y="72"/>
                  </a:lnTo>
                  <a:lnTo>
                    <a:pt x="552" y="84"/>
                  </a:lnTo>
                  <a:lnTo>
                    <a:pt x="540" y="90"/>
                  </a:lnTo>
                  <a:lnTo>
                    <a:pt x="528" y="102"/>
                  </a:lnTo>
                  <a:lnTo>
                    <a:pt x="510" y="102"/>
                  </a:lnTo>
                  <a:lnTo>
                    <a:pt x="498" y="96"/>
                  </a:lnTo>
                  <a:lnTo>
                    <a:pt x="492" y="90"/>
                  </a:lnTo>
                  <a:lnTo>
                    <a:pt x="486" y="90"/>
                  </a:lnTo>
                  <a:lnTo>
                    <a:pt x="468" y="108"/>
                  </a:lnTo>
                  <a:lnTo>
                    <a:pt x="456" y="108"/>
                  </a:lnTo>
                  <a:lnTo>
                    <a:pt x="450" y="102"/>
                  </a:lnTo>
                  <a:lnTo>
                    <a:pt x="438" y="96"/>
                  </a:lnTo>
                  <a:lnTo>
                    <a:pt x="432" y="84"/>
                  </a:lnTo>
                  <a:lnTo>
                    <a:pt x="420" y="78"/>
                  </a:lnTo>
                  <a:lnTo>
                    <a:pt x="408" y="78"/>
                  </a:lnTo>
                  <a:lnTo>
                    <a:pt x="396" y="90"/>
                  </a:lnTo>
                  <a:lnTo>
                    <a:pt x="390" y="90"/>
                  </a:lnTo>
                  <a:lnTo>
                    <a:pt x="384" y="96"/>
                  </a:lnTo>
                  <a:lnTo>
                    <a:pt x="354" y="96"/>
                  </a:lnTo>
                  <a:lnTo>
                    <a:pt x="354" y="114"/>
                  </a:lnTo>
                  <a:lnTo>
                    <a:pt x="330" y="138"/>
                  </a:lnTo>
                  <a:lnTo>
                    <a:pt x="330" y="150"/>
                  </a:lnTo>
                  <a:lnTo>
                    <a:pt x="342" y="162"/>
                  </a:lnTo>
                  <a:lnTo>
                    <a:pt x="348" y="174"/>
                  </a:lnTo>
                  <a:lnTo>
                    <a:pt x="348" y="204"/>
                  </a:lnTo>
                  <a:lnTo>
                    <a:pt x="342" y="216"/>
                  </a:lnTo>
                  <a:lnTo>
                    <a:pt x="336" y="234"/>
                  </a:lnTo>
                  <a:lnTo>
                    <a:pt x="336" y="246"/>
                  </a:lnTo>
                  <a:lnTo>
                    <a:pt x="342" y="246"/>
                  </a:lnTo>
                  <a:lnTo>
                    <a:pt x="342" y="252"/>
                  </a:lnTo>
                  <a:lnTo>
                    <a:pt x="348" y="252"/>
                  </a:lnTo>
                  <a:lnTo>
                    <a:pt x="372" y="276"/>
                  </a:lnTo>
                  <a:lnTo>
                    <a:pt x="384" y="300"/>
                  </a:lnTo>
                  <a:lnTo>
                    <a:pt x="390" y="306"/>
                  </a:lnTo>
                  <a:lnTo>
                    <a:pt x="396" y="318"/>
                  </a:lnTo>
                  <a:lnTo>
                    <a:pt x="408" y="336"/>
                  </a:lnTo>
                  <a:lnTo>
                    <a:pt x="420" y="348"/>
                  </a:lnTo>
                  <a:lnTo>
                    <a:pt x="420" y="366"/>
                  </a:lnTo>
                  <a:lnTo>
                    <a:pt x="414" y="372"/>
                  </a:lnTo>
                  <a:lnTo>
                    <a:pt x="408" y="384"/>
                  </a:lnTo>
                  <a:lnTo>
                    <a:pt x="402" y="390"/>
                  </a:lnTo>
                  <a:lnTo>
                    <a:pt x="402" y="450"/>
                  </a:lnTo>
                  <a:lnTo>
                    <a:pt x="396" y="456"/>
                  </a:lnTo>
                  <a:lnTo>
                    <a:pt x="372" y="456"/>
                  </a:lnTo>
                  <a:lnTo>
                    <a:pt x="360" y="462"/>
                  </a:lnTo>
                  <a:lnTo>
                    <a:pt x="354" y="474"/>
                  </a:lnTo>
                  <a:lnTo>
                    <a:pt x="354" y="492"/>
                  </a:lnTo>
                  <a:lnTo>
                    <a:pt x="360" y="492"/>
                  </a:lnTo>
                  <a:lnTo>
                    <a:pt x="366" y="498"/>
                  </a:lnTo>
                  <a:lnTo>
                    <a:pt x="366" y="528"/>
                  </a:lnTo>
                  <a:lnTo>
                    <a:pt x="354" y="534"/>
                  </a:lnTo>
                  <a:lnTo>
                    <a:pt x="348" y="540"/>
                  </a:lnTo>
                  <a:lnTo>
                    <a:pt x="342" y="534"/>
                  </a:lnTo>
                  <a:lnTo>
                    <a:pt x="342" y="522"/>
                  </a:lnTo>
                  <a:lnTo>
                    <a:pt x="348" y="516"/>
                  </a:lnTo>
                  <a:lnTo>
                    <a:pt x="348" y="504"/>
                  </a:lnTo>
                  <a:lnTo>
                    <a:pt x="336" y="498"/>
                  </a:lnTo>
                  <a:lnTo>
                    <a:pt x="330" y="492"/>
                  </a:lnTo>
                  <a:lnTo>
                    <a:pt x="318" y="486"/>
                  </a:lnTo>
                  <a:lnTo>
                    <a:pt x="312" y="480"/>
                  </a:lnTo>
                  <a:lnTo>
                    <a:pt x="300" y="474"/>
                  </a:lnTo>
                  <a:lnTo>
                    <a:pt x="300" y="444"/>
                  </a:lnTo>
                  <a:lnTo>
                    <a:pt x="288" y="444"/>
                  </a:lnTo>
                  <a:lnTo>
                    <a:pt x="288" y="438"/>
                  </a:lnTo>
                  <a:lnTo>
                    <a:pt x="294" y="432"/>
                  </a:lnTo>
                  <a:lnTo>
                    <a:pt x="306" y="426"/>
                  </a:lnTo>
                  <a:lnTo>
                    <a:pt x="312" y="420"/>
                  </a:lnTo>
                  <a:lnTo>
                    <a:pt x="300" y="402"/>
                  </a:lnTo>
                  <a:lnTo>
                    <a:pt x="312" y="396"/>
                  </a:lnTo>
                  <a:lnTo>
                    <a:pt x="318" y="366"/>
                  </a:lnTo>
                  <a:lnTo>
                    <a:pt x="312" y="366"/>
                  </a:lnTo>
                  <a:lnTo>
                    <a:pt x="312" y="330"/>
                  </a:lnTo>
                  <a:lnTo>
                    <a:pt x="306" y="324"/>
                  </a:lnTo>
                  <a:lnTo>
                    <a:pt x="288" y="324"/>
                  </a:lnTo>
                  <a:lnTo>
                    <a:pt x="282" y="330"/>
                  </a:lnTo>
                  <a:lnTo>
                    <a:pt x="252" y="330"/>
                  </a:lnTo>
                  <a:lnTo>
                    <a:pt x="222" y="282"/>
                  </a:lnTo>
                  <a:lnTo>
                    <a:pt x="216" y="282"/>
                  </a:lnTo>
                  <a:lnTo>
                    <a:pt x="210" y="288"/>
                  </a:lnTo>
                  <a:lnTo>
                    <a:pt x="192" y="294"/>
                  </a:lnTo>
                  <a:lnTo>
                    <a:pt x="180" y="300"/>
                  </a:lnTo>
                  <a:lnTo>
                    <a:pt x="162" y="312"/>
                  </a:lnTo>
                  <a:lnTo>
                    <a:pt x="138" y="324"/>
                  </a:lnTo>
                  <a:lnTo>
                    <a:pt x="132" y="324"/>
                  </a:lnTo>
                  <a:lnTo>
                    <a:pt x="120" y="330"/>
                  </a:lnTo>
                  <a:lnTo>
                    <a:pt x="102" y="336"/>
                  </a:lnTo>
                  <a:lnTo>
                    <a:pt x="84" y="336"/>
                  </a:lnTo>
                  <a:lnTo>
                    <a:pt x="72" y="342"/>
                  </a:lnTo>
                  <a:lnTo>
                    <a:pt x="60" y="342"/>
                  </a:lnTo>
                  <a:lnTo>
                    <a:pt x="42" y="360"/>
                  </a:lnTo>
                  <a:lnTo>
                    <a:pt x="12" y="360"/>
                  </a:lnTo>
                  <a:lnTo>
                    <a:pt x="0" y="372"/>
                  </a:lnTo>
                  <a:lnTo>
                    <a:pt x="18" y="390"/>
                  </a:lnTo>
                  <a:lnTo>
                    <a:pt x="24" y="444"/>
                  </a:lnTo>
                  <a:lnTo>
                    <a:pt x="84" y="444"/>
                  </a:lnTo>
                  <a:lnTo>
                    <a:pt x="96" y="462"/>
                  </a:lnTo>
                  <a:lnTo>
                    <a:pt x="114" y="462"/>
                  </a:lnTo>
                  <a:lnTo>
                    <a:pt x="132" y="486"/>
                  </a:lnTo>
                  <a:lnTo>
                    <a:pt x="138" y="486"/>
                  </a:lnTo>
                  <a:lnTo>
                    <a:pt x="150" y="480"/>
                  </a:lnTo>
                  <a:lnTo>
                    <a:pt x="162" y="480"/>
                  </a:lnTo>
                  <a:lnTo>
                    <a:pt x="180" y="498"/>
                  </a:lnTo>
                  <a:lnTo>
                    <a:pt x="192" y="498"/>
                  </a:lnTo>
                  <a:lnTo>
                    <a:pt x="204" y="510"/>
                  </a:lnTo>
                  <a:lnTo>
                    <a:pt x="204" y="516"/>
                  </a:lnTo>
                  <a:lnTo>
                    <a:pt x="198" y="528"/>
                  </a:lnTo>
                  <a:lnTo>
                    <a:pt x="192" y="534"/>
                  </a:lnTo>
                  <a:lnTo>
                    <a:pt x="204" y="552"/>
                  </a:lnTo>
                  <a:lnTo>
                    <a:pt x="192" y="564"/>
                  </a:lnTo>
                  <a:lnTo>
                    <a:pt x="204" y="576"/>
                  </a:lnTo>
                  <a:lnTo>
                    <a:pt x="198" y="582"/>
                  </a:lnTo>
                  <a:lnTo>
                    <a:pt x="198" y="588"/>
                  </a:lnTo>
                  <a:lnTo>
                    <a:pt x="192" y="594"/>
                  </a:lnTo>
                  <a:lnTo>
                    <a:pt x="192" y="606"/>
                  </a:lnTo>
                  <a:lnTo>
                    <a:pt x="204" y="630"/>
                  </a:lnTo>
                  <a:lnTo>
                    <a:pt x="204" y="642"/>
                  </a:lnTo>
                  <a:lnTo>
                    <a:pt x="198" y="648"/>
                  </a:lnTo>
                  <a:lnTo>
                    <a:pt x="198" y="654"/>
                  </a:lnTo>
                  <a:lnTo>
                    <a:pt x="192" y="654"/>
                  </a:lnTo>
                  <a:lnTo>
                    <a:pt x="192" y="666"/>
                  </a:lnTo>
                  <a:lnTo>
                    <a:pt x="174" y="678"/>
                  </a:lnTo>
                  <a:lnTo>
                    <a:pt x="192" y="702"/>
                  </a:lnTo>
                  <a:lnTo>
                    <a:pt x="174" y="720"/>
                  </a:lnTo>
                  <a:lnTo>
                    <a:pt x="174" y="732"/>
                  </a:lnTo>
                  <a:lnTo>
                    <a:pt x="198" y="756"/>
                  </a:lnTo>
                  <a:lnTo>
                    <a:pt x="198" y="762"/>
                  </a:lnTo>
                  <a:lnTo>
                    <a:pt x="192" y="774"/>
                  </a:lnTo>
                  <a:lnTo>
                    <a:pt x="180" y="786"/>
                  </a:lnTo>
                  <a:lnTo>
                    <a:pt x="180" y="798"/>
                  </a:lnTo>
                  <a:lnTo>
                    <a:pt x="168" y="810"/>
                  </a:lnTo>
                  <a:lnTo>
                    <a:pt x="156" y="816"/>
                  </a:lnTo>
                  <a:lnTo>
                    <a:pt x="156" y="846"/>
                  </a:lnTo>
                  <a:lnTo>
                    <a:pt x="144" y="858"/>
                  </a:lnTo>
                  <a:lnTo>
                    <a:pt x="156" y="876"/>
                  </a:lnTo>
                  <a:lnTo>
                    <a:pt x="138" y="882"/>
                  </a:lnTo>
                  <a:lnTo>
                    <a:pt x="72" y="966"/>
                  </a:lnTo>
                  <a:lnTo>
                    <a:pt x="72" y="996"/>
                  </a:lnTo>
                  <a:lnTo>
                    <a:pt x="78" y="1014"/>
                  </a:lnTo>
                  <a:lnTo>
                    <a:pt x="78" y="1032"/>
                  </a:lnTo>
                  <a:lnTo>
                    <a:pt x="84" y="1044"/>
                  </a:lnTo>
                  <a:lnTo>
                    <a:pt x="84" y="1062"/>
                  </a:lnTo>
                  <a:lnTo>
                    <a:pt x="114" y="1122"/>
                  </a:lnTo>
                  <a:lnTo>
                    <a:pt x="114" y="1212"/>
                  </a:lnTo>
                  <a:lnTo>
                    <a:pt x="90" y="1248"/>
                  </a:lnTo>
                  <a:lnTo>
                    <a:pt x="114" y="1248"/>
                  </a:lnTo>
                  <a:lnTo>
                    <a:pt x="108" y="1260"/>
                  </a:lnTo>
                  <a:lnTo>
                    <a:pt x="108" y="1284"/>
                  </a:lnTo>
                  <a:lnTo>
                    <a:pt x="114" y="1290"/>
                  </a:lnTo>
                  <a:lnTo>
                    <a:pt x="120" y="1290"/>
                  </a:lnTo>
                  <a:lnTo>
                    <a:pt x="126" y="1314"/>
                  </a:lnTo>
                  <a:lnTo>
                    <a:pt x="144" y="1314"/>
                  </a:lnTo>
                  <a:lnTo>
                    <a:pt x="156" y="1326"/>
                  </a:lnTo>
                  <a:lnTo>
                    <a:pt x="162" y="1338"/>
                  </a:lnTo>
                  <a:lnTo>
                    <a:pt x="168" y="1320"/>
                  </a:lnTo>
                  <a:lnTo>
                    <a:pt x="168" y="1284"/>
                  </a:lnTo>
                  <a:lnTo>
                    <a:pt x="162" y="1272"/>
                  </a:lnTo>
                  <a:lnTo>
                    <a:pt x="156" y="1266"/>
                  </a:lnTo>
                  <a:lnTo>
                    <a:pt x="150" y="1266"/>
                  </a:lnTo>
                  <a:lnTo>
                    <a:pt x="150" y="1242"/>
                  </a:lnTo>
                  <a:lnTo>
                    <a:pt x="162" y="1230"/>
                  </a:lnTo>
                  <a:lnTo>
                    <a:pt x="222" y="1188"/>
                  </a:lnTo>
                  <a:lnTo>
                    <a:pt x="276" y="1158"/>
                  </a:lnTo>
                  <a:lnTo>
                    <a:pt x="294" y="1146"/>
                  </a:lnTo>
                  <a:lnTo>
                    <a:pt x="312" y="1140"/>
                  </a:lnTo>
                  <a:lnTo>
                    <a:pt x="330" y="1128"/>
                  </a:lnTo>
                  <a:lnTo>
                    <a:pt x="342" y="1122"/>
                  </a:lnTo>
                  <a:lnTo>
                    <a:pt x="360" y="1104"/>
                  </a:lnTo>
                  <a:lnTo>
                    <a:pt x="360" y="1080"/>
                  </a:lnTo>
                  <a:lnTo>
                    <a:pt x="354" y="1080"/>
                  </a:lnTo>
                  <a:lnTo>
                    <a:pt x="354" y="1086"/>
                  </a:lnTo>
                  <a:lnTo>
                    <a:pt x="348" y="1080"/>
                  </a:lnTo>
                  <a:lnTo>
                    <a:pt x="342" y="1080"/>
                  </a:lnTo>
                  <a:lnTo>
                    <a:pt x="342" y="1068"/>
                  </a:lnTo>
                  <a:lnTo>
                    <a:pt x="366" y="1020"/>
                  </a:lnTo>
                  <a:lnTo>
                    <a:pt x="366" y="990"/>
                  </a:lnTo>
                  <a:lnTo>
                    <a:pt x="360" y="984"/>
                  </a:lnTo>
                  <a:lnTo>
                    <a:pt x="360" y="978"/>
                  </a:lnTo>
                  <a:lnTo>
                    <a:pt x="372" y="948"/>
                  </a:lnTo>
                  <a:lnTo>
                    <a:pt x="366" y="942"/>
                  </a:lnTo>
                  <a:lnTo>
                    <a:pt x="348" y="960"/>
                  </a:lnTo>
                  <a:lnTo>
                    <a:pt x="354" y="918"/>
                  </a:lnTo>
                  <a:lnTo>
                    <a:pt x="348" y="906"/>
                  </a:lnTo>
                  <a:lnTo>
                    <a:pt x="336" y="900"/>
                  </a:lnTo>
                  <a:lnTo>
                    <a:pt x="330" y="888"/>
                  </a:lnTo>
                  <a:lnTo>
                    <a:pt x="330" y="870"/>
                  </a:lnTo>
                  <a:lnTo>
                    <a:pt x="336" y="858"/>
                  </a:lnTo>
                  <a:lnTo>
                    <a:pt x="336" y="834"/>
                  </a:lnTo>
                  <a:lnTo>
                    <a:pt x="324" y="822"/>
                  </a:lnTo>
                  <a:lnTo>
                    <a:pt x="318" y="822"/>
                  </a:lnTo>
                  <a:lnTo>
                    <a:pt x="312" y="816"/>
                  </a:lnTo>
                  <a:lnTo>
                    <a:pt x="312" y="792"/>
                  </a:lnTo>
                  <a:lnTo>
                    <a:pt x="318" y="780"/>
                  </a:lnTo>
                  <a:lnTo>
                    <a:pt x="324" y="762"/>
                  </a:lnTo>
                  <a:lnTo>
                    <a:pt x="336" y="750"/>
                  </a:lnTo>
                  <a:lnTo>
                    <a:pt x="372" y="732"/>
                  </a:lnTo>
                  <a:lnTo>
                    <a:pt x="378" y="726"/>
                  </a:lnTo>
                  <a:lnTo>
                    <a:pt x="378" y="714"/>
                  </a:lnTo>
                  <a:lnTo>
                    <a:pt x="390" y="690"/>
                  </a:lnTo>
                  <a:lnTo>
                    <a:pt x="396" y="684"/>
                  </a:lnTo>
                  <a:lnTo>
                    <a:pt x="402" y="684"/>
                  </a:lnTo>
                  <a:lnTo>
                    <a:pt x="414" y="678"/>
                  </a:lnTo>
                  <a:lnTo>
                    <a:pt x="420" y="678"/>
                  </a:lnTo>
                  <a:lnTo>
                    <a:pt x="426" y="672"/>
                  </a:lnTo>
                  <a:lnTo>
                    <a:pt x="450" y="660"/>
                  </a:lnTo>
                  <a:lnTo>
                    <a:pt x="462" y="648"/>
                  </a:lnTo>
                  <a:lnTo>
                    <a:pt x="474" y="612"/>
                  </a:lnTo>
                  <a:lnTo>
                    <a:pt x="498" y="576"/>
                  </a:lnTo>
                  <a:lnTo>
                    <a:pt x="522" y="564"/>
                  </a:lnTo>
                  <a:lnTo>
                    <a:pt x="558" y="552"/>
                  </a:lnTo>
                  <a:lnTo>
                    <a:pt x="600" y="534"/>
                  </a:lnTo>
                  <a:lnTo>
                    <a:pt x="624" y="522"/>
                  </a:lnTo>
                  <a:lnTo>
                    <a:pt x="630" y="516"/>
                  </a:lnTo>
                  <a:lnTo>
                    <a:pt x="666" y="498"/>
                  </a:lnTo>
                  <a:lnTo>
                    <a:pt x="672" y="492"/>
                  </a:lnTo>
                  <a:lnTo>
                    <a:pt x="684" y="486"/>
                  </a:lnTo>
                  <a:lnTo>
                    <a:pt x="684" y="474"/>
                  </a:lnTo>
                  <a:lnTo>
                    <a:pt x="714" y="444"/>
                  </a:lnTo>
                  <a:lnTo>
                    <a:pt x="714" y="432"/>
                  </a:lnTo>
                  <a:lnTo>
                    <a:pt x="720" y="420"/>
                  </a:lnTo>
                  <a:lnTo>
                    <a:pt x="732" y="414"/>
                  </a:lnTo>
                  <a:lnTo>
                    <a:pt x="738" y="402"/>
                  </a:lnTo>
                  <a:lnTo>
                    <a:pt x="744" y="396"/>
                  </a:lnTo>
                  <a:lnTo>
                    <a:pt x="744" y="378"/>
                  </a:lnTo>
                  <a:lnTo>
                    <a:pt x="750" y="372"/>
                  </a:lnTo>
                  <a:lnTo>
                    <a:pt x="762" y="348"/>
                  </a:lnTo>
                  <a:lnTo>
                    <a:pt x="762" y="34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01" name="Marokko" descr="© INSCALE GmbH, 05.05.2010&#10;http://www.presentationload.com/">
              <a:extLst>
                <a:ext uri="{FF2B5EF4-FFF2-40B4-BE49-F238E27FC236}">
                  <a16:creationId xmlns:a16="http://schemas.microsoft.com/office/drawing/2014/main" id="{AA545731-1305-4F12-95F8-94F47429B4C2}"/>
                </a:ext>
              </a:extLst>
            </p:cNvPr>
            <p:cNvSpPr>
              <a:spLocks/>
            </p:cNvSpPr>
            <p:nvPr/>
          </p:nvSpPr>
          <p:spPr bwMode="gray">
            <a:xfrm>
              <a:off x="3776553" y="3103269"/>
              <a:ext cx="337124" cy="263428"/>
            </a:xfrm>
            <a:custGeom>
              <a:avLst/>
              <a:gdLst>
                <a:gd name="T0" fmla="*/ 2147483647 w 846"/>
                <a:gd name="T1" fmla="*/ 2147483647 h 660"/>
                <a:gd name="T2" fmla="*/ 2147483647 w 846"/>
                <a:gd name="T3" fmla="*/ 2147483647 h 660"/>
                <a:gd name="T4" fmla="*/ 2147483647 w 846"/>
                <a:gd name="T5" fmla="*/ 2147483647 h 660"/>
                <a:gd name="T6" fmla="*/ 2147483647 w 846"/>
                <a:gd name="T7" fmla="*/ 2147483647 h 660"/>
                <a:gd name="T8" fmla="*/ 2147483647 w 846"/>
                <a:gd name="T9" fmla="*/ 2147483647 h 660"/>
                <a:gd name="T10" fmla="*/ 2147483647 w 846"/>
                <a:gd name="T11" fmla="*/ 2147483647 h 660"/>
                <a:gd name="T12" fmla="*/ 2147483647 w 846"/>
                <a:gd name="T13" fmla="*/ 2147483647 h 660"/>
                <a:gd name="T14" fmla="*/ 2147483647 w 846"/>
                <a:gd name="T15" fmla="*/ 2147483647 h 660"/>
                <a:gd name="T16" fmla="*/ 2147483647 w 846"/>
                <a:gd name="T17" fmla="*/ 2147483647 h 660"/>
                <a:gd name="T18" fmla="*/ 2147483647 w 846"/>
                <a:gd name="T19" fmla="*/ 0 h 660"/>
                <a:gd name="T20" fmla="*/ 2147483647 w 846"/>
                <a:gd name="T21" fmla="*/ 2147483647 h 660"/>
                <a:gd name="T22" fmla="*/ 2147483647 w 846"/>
                <a:gd name="T23" fmla="*/ 2147483647 h 660"/>
                <a:gd name="T24" fmla="*/ 2147483647 w 846"/>
                <a:gd name="T25" fmla="*/ 2147483647 h 660"/>
                <a:gd name="T26" fmla="*/ 2147483647 w 846"/>
                <a:gd name="T27" fmla="*/ 2147483647 h 660"/>
                <a:gd name="T28" fmla="*/ 2147483647 w 846"/>
                <a:gd name="T29" fmla="*/ 2147483647 h 660"/>
                <a:gd name="T30" fmla="*/ 2147483647 w 846"/>
                <a:gd name="T31" fmla="*/ 2147483647 h 660"/>
                <a:gd name="T32" fmla="*/ 2147483647 w 846"/>
                <a:gd name="T33" fmla="*/ 2147483647 h 660"/>
                <a:gd name="T34" fmla="*/ 2147483647 w 846"/>
                <a:gd name="T35" fmla="*/ 2147483647 h 660"/>
                <a:gd name="T36" fmla="*/ 2147483647 w 846"/>
                <a:gd name="T37" fmla="*/ 2147483647 h 660"/>
                <a:gd name="T38" fmla="*/ 2147483647 w 846"/>
                <a:gd name="T39" fmla="*/ 2147483647 h 660"/>
                <a:gd name="T40" fmla="*/ 2147483647 w 846"/>
                <a:gd name="T41" fmla="*/ 2147483647 h 660"/>
                <a:gd name="T42" fmla="*/ 2147483647 w 846"/>
                <a:gd name="T43" fmla="*/ 2147483647 h 660"/>
                <a:gd name="T44" fmla="*/ 2147483647 w 846"/>
                <a:gd name="T45" fmla="*/ 2147483647 h 660"/>
                <a:gd name="T46" fmla="*/ 2147483647 w 846"/>
                <a:gd name="T47" fmla="*/ 2147483647 h 660"/>
                <a:gd name="T48" fmla="*/ 2147483647 w 846"/>
                <a:gd name="T49" fmla="*/ 2147483647 h 660"/>
                <a:gd name="T50" fmla="*/ 2147483647 w 846"/>
                <a:gd name="T51" fmla="*/ 2147483647 h 660"/>
                <a:gd name="T52" fmla="*/ 2147483647 w 846"/>
                <a:gd name="T53" fmla="*/ 2147483647 h 660"/>
                <a:gd name="T54" fmla="*/ 2147483647 w 846"/>
                <a:gd name="T55" fmla="*/ 2147483647 h 660"/>
                <a:gd name="T56" fmla="*/ 2147483647 w 846"/>
                <a:gd name="T57" fmla="*/ 2147483647 h 660"/>
                <a:gd name="T58" fmla="*/ 2147483647 w 846"/>
                <a:gd name="T59" fmla="*/ 2147483647 h 660"/>
                <a:gd name="T60" fmla="*/ 2147483647 w 846"/>
                <a:gd name="T61" fmla="*/ 2147483647 h 660"/>
                <a:gd name="T62" fmla="*/ 2147483647 w 846"/>
                <a:gd name="T63" fmla="*/ 2147483647 h 660"/>
                <a:gd name="T64" fmla="*/ 2147483647 w 846"/>
                <a:gd name="T65" fmla="*/ 2147483647 h 660"/>
                <a:gd name="T66" fmla="*/ 2147483647 w 846"/>
                <a:gd name="T67" fmla="*/ 2147483647 h 660"/>
                <a:gd name="T68" fmla="*/ 2147483647 w 846"/>
                <a:gd name="T69" fmla="*/ 2147483647 h 660"/>
                <a:gd name="T70" fmla="*/ 2147483647 w 846"/>
                <a:gd name="T71" fmla="*/ 2147483647 h 660"/>
                <a:gd name="T72" fmla="*/ 2147483647 w 846"/>
                <a:gd name="T73" fmla="*/ 2147483647 h 660"/>
                <a:gd name="T74" fmla="*/ 2147483647 w 846"/>
                <a:gd name="T75" fmla="*/ 2147483647 h 660"/>
                <a:gd name="T76" fmla="*/ 2147483647 w 846"/>
                <a:gd name="T77" fmla="*/ 2147483647 h 660"/>
                <a:gd name="T78" fmla="*/ 2147483647 w 846"/>
                <a:gd name="T79" fmla="*/ 2147483647 h 660"/>
                <a:gd name="T80" fmla="*/ 2147483647 w 846"/>
                <a:gd name="T81" fmla="*/ 2147483647 h 660"/>
                <a:gd name="T82" fmla="*/ 2147483647 w 846"/>
                <a:gd name="T83" fmla="*/ 2147483647 h 660"/>
                <a:gd name="T84" fmla="*/ 2147483647 w 846"/>
                <a:gd name="T85" fmla="*/ 2147483647 h 660"/>
                <a:gd name="T86" fmla="*/ 2147483647 w 846"/>
                <a:gd name="T87" fmla="*/ 2147483647 h 660"/>
                <a:gd name="T88" fmla="*/ 2147483647 w 846"/>
                <a:gd name="T89" fmla="*/ 2147483647 h 6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6"/>
                <a:gd name="T136" fmla="*/ 0 h 660"/>
                <a:gd name="T137" fmla="*/ 846 w 846"/>
                <a:gd name="T138" fmla="*/ 660 h 6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6" h="660">
                  <a:moveTo>
                    <a:pt x="822" y="246"/>
                  </a:moveTo>
                  <a:lnTo>
                    <a:pt x="822" y="216"/>
                  </a:lnTo>
                  <a:lnTo>
                    <a:pt x="804" y="216"/>
                  </a:lnTo>
                  <a:lnTo>
                    <a:pt x="816" y="186"/>
                  </a:lnTo>
                  <a:lnTo>
                    <a:pt x="804" y="168"/>
                  </a:lnTo>
                  <a:lnTo>
                    <a:pt x="810" y="102"/>
                  </a:lnTo>
                  <a:lnTo>
                    <a:pt x="798" y="102"/>
                  </a:lnTo>
                  <a:lnTo>
                    <a:pt x="798" y="90"/>
                  </a:lnTo>
                  <a:lnTo>
                    <a:pt x="804" y="84"/>
                  </a:lnTo>
                  <a:lnTo>
                    <a:pt x="792" y="78"/>
                  </a:lnTo>
                  <a:lnTo>
                    <a:pt x="786" y="66"/>
                  </a:lnTo>
                  <a:lnTo>
                    <a:pt x="780" y="60"/>
                  </a:lnTo>
                  <a:lnTo>
                    <a:pt x="744" y="42"/>
                  </a:lnTo>
                  <a:lnTo>
                    <a:pt x="720" y="42"/>
                  </a:lnTo>
                  <a:lnTo>
                    <a:pt x="708" y="48"/>
                  </a:lnTo>
                  <a:lnTo>
                    <a:pt x="702" y="54"/>
                  </a:lnTo>
                  <a:lnTo>
                    <a:pt x="696" y="54"/>
                  </a:lnTo>
                  <a:lnTo>
                    <a:pt x="690" y="48"/>
                  </a:lnTo>
                  <a:lnTo>
                    <a:pt x="678" y="48"/>
                  </a:lnTo>
                  <a:lnTo>
                    <a:pt x="666" y="42"/>
                  </a:lnTo>
                  <a:lnTo>
                    <a:pt x="654" y="42"/>
                  </a:lnTo>
                  <a:lnTo>
                    <a:pt x="642" y="48"/>
                  </a:lnTo>
                  <a:lnTo>
                    <a:pt x="636" y="54"/>
                  </a:lnTo>
                  <a:lnTo>
                    <a:pt x="624" y="54"/>
                  </a:lnTo>
                  <a:lnTo>
                    <a:pt x="588" y="36"/>
                  </a:lnTo>
                  <a:lnTo>
                    <a:pt x="570" y="18"/>
                  </a:lnTo>
                  <a:lnTo>
                    <a:pt x="564" y="6"/>
                  </a:lnTo>
                  <a:lnTo>
                    <a:pt x="558" y="6"/>
                  </a:lnTo>
                  <a:lnTo>
                    <a:pt x="552" y="0"/>
                  </a:lnTo>
                  <a:lnTo>
                    <a:pt x="528" y="0"/>
                  </a:lnTo>
                  <a:lnTo>
                    <a:pt x="528" y="6"/>
                  </a:lnTo>
                  <a:lnTo>
                    <a:pt x="522" y="12"/>
                  </a:lnTo>
                  <a:lnTo>
                    <a:pt x="522" y="30"/>
                  </a:lnTo>
                  <a:lnTo>
                    <a:pt x="516" y="48"/>
                  </a:lnTo>
                  <a:lnTo>
                    <a:pt x="498" y="84"/>
                  </a:lnTo>
                  <a:lnTo>
                    <a:pt x="492" y="102"/>
                  </a:lnTo>
                  <a:lnTo>
                    <a:pt x="468" y="138"/>
                  </a:lnTo>
                  <a:lnTo>
                    <a:pt x="462" y="150"/>
                  </a:lnTo>
                  <a:lnTo>
                    <a:pt x="450" y="162"/>
                  </a:lnTo>
                  <a:lnTo>
                    <a:pt x="438" y="168"/>
                  </a:lnTo>
                  <a:lnTo>
                    <a:pt x="420" y="168"/>
                  </a:lnTo>
                  <a:lnTo>
                    <a:pt x="408" y="174"/>
                  </a:lnTo>
                  <a:lnTo>
                    <a:pt x="402" y="174"/>
                  </a:lnTo>
                  <a:lnTo>
                    <a:pt x="396" y="180"/>
                  </a:lnTo>
                  <a:lnTo>
                    <a:pt x="384" y="186"/>
                  </a:lnTo>
                  <a:lnTo>
                    <a:pt x="378" y="198"/>
                  </a:lnTo>
                  <a:lnTo>
                    <a:pt x="360" y="192"/>
                  </a:lnTo>
                  <a:lnTo>
                    <a:pt x="330" y="204"/>
                  </a:lnTo>
                  <a:lnTo>
                    <a:pt x="330" y="210"/>
                  </a:lnTo>
                  <a:lnTo>
                    <a:pt x="324" y="216"/>
                  </a:lnTo>
                  <a:lnTo>
                    <a:pt x="324" y="228"/>
                  </a:lnTo>
                  <a:lnTo>
                    <a:pt x="318" y="240"/>
                  </a:lnTo>
                  <a:lnTo>
                    <a:pt x="312" y="240"/>
                  </a:lnTo>
                  <a:lnTo>
                    <a:pt x="288" y="264"/>
                  </a:lnTo>
                  <a:lnTo>
                    <a:pt x="288" y="288"/>
                  </a:lnTo>
                  <a:lnTo>
                    <a:pt x="276" y="312"/>
                  </a:lnTo>
                  <a:lnTo>
                    <a:pt x="264" y="324"/>
                  </a:lnTo>
                  <a:lnTo>
                    <a:pt x="258" y="336"/>
                  </a:lnTo>
                  <a:lnTo>
                    <a:pt x="246" y="354"/>
                  </a:lnTo>
                  <a:lnTo>
                    <a:pt x="246" y="402"/>
                  </a:lnTo>
                  <a:lnTo>
                    <a:pt x="240" y="408"/>
                  </a:lnTo>
                  <a:lnTo>
                    <a:pt x="234" y="408"/>
                  </a:lnTo>
                  <a:lnTo>
                    <a:pt x="234" y="414"/>
                  </a:lnTo>
                  <a:lnTo>
                    <a:pt x="240" y="420"/>
                  </a:lnTo>
                  <a:lnTo>
                    <a:pt x="252" y="420"/>
                  </a:lnTo>
                  <a:lnTo>
                    <a:pt x="252" y="474"/>
                  </a:lnTo>
                  <a:lnTo>
                    <a:pt x="240" y="474"/>
                  </a:lnTo>
                  <a:lnTo>
                    <a:pt x="228" y="480"/>
                  </a:lnTo>
                  <a:lnTo>
                    <a:pt x="192" y="540"/>
                  </a:lnTo>
                  <a:lnTo>
                    <a:pt x="180" y="552"/>
                  </a:lnTo>
                  <a:lnTo>
                    <a:pt x="168" y="552"/>
                  </a:lnTo>
                  <a:lnTo>
                    <a:pt x="162" y="558"/>
                  </a:lnTo>
                  <a:lnTo>
                    <a:pt x="150" y="564"/>
                  </a:lnTo>
                  <a:lnTo>
                    <a:pt x="144" y="576"/>
                  </a:lnTo>
                  <a:lnTo>
                    <a:pt x="132" y="588"/>
                  </a:lnTo>
                  <a:lnTo>
                    <a:pt x="126" y="600"/>
                  </a:lnTo>
                  <a:lnTo>
                    <a:pt x="120" y="606"/>
                  </a:lnTo>
                  <a:lnTo>
                    <a:pt x="84" y="624"/>
                  </a:lnTo>
                  <a:lnTo>
                    <a:pt x="66" y="624"/>
                  </a:lnTo>
                  <a:lnTo>
                    <a:pt x="54" y="630"/>
                  </a:lnTo>
                  <a:lnTo>
                    <a:pt x="48" y="630"/>
                  </a:lnTo>
                  <a:lnTo>
                    <a:pt x="42" y="636"/>
                  </a:lnTo>
                  <a:lnTo>
                    <a:pt x="12" y="636"/>
                  </a:lnTo>
                  <a:lnTo>
                    <a:pt x="6" y="642"/>
                  </a:lnTo>
                  <a:lnTo>
                    <a:pt x="6" y="654"/>
                  </a:lnTo>
                  <a:lnTo>
                    <a:pt x="0" y="660"/>
                  </a:lnTo>
                  <a:lnTo>
                    <a:pt x="312" y="660"/>
                  </a:lnTo>
                  <a:lnTo>
                    <a:pt x="312" y="600"/>
                  </a:lnTo>
                  <a:lnTo>
                    <a:pt x="318" y="570"/>
                  </a:lnTo>
                  <a:lnTo>
                    <a:pt x="330" y="564"/>
                  </a:lnTo>
                  <a:lnTo>
                    <a:pt x="336" y="558"/>
                  </a:lnTo>
                  <a:lnTo>
                    <a:pt x="348" y="552"/>
                  </a:lnTo>
                  <a:lnTo>
                    <a:pt x="378" y="522"/>
                  </a:lnTo>
                  <a:lnTo>
                    <a:pt x="378" y="516"/>
                  </a:lnTo>
                  <a:lnTo>
                    <a:pt x="396" y="516"/>
                  </a:lnTo>
                  <a:lnTo>
                    <a:pt x="426" y="498"/>
                  </a:lnTo>
                  <a:lnTo>
                    <a:pt x="438" y="504"/>
                  </a:lnTo>
                  <a:lnTo>
                    <a:pt x="444" y="510"/>
                  </a:lnTo>
                  <a:lnTo>
                    <a:pt x="456" y="510"/>
                  </a:lnTo>
                  <a:lnTo>
                    <a:pt x="462" y="498"/>
                  </a:lnTo>
                  <a:lnTo>
                    <a:pt x="462" y="492"/>
                  </a:lnTo>
                  <a:lnTo>
                    <a:pt x="486" y="486"/>
                  </a:lnTo>
                  <a:lnTo>
                    <a:pt x="492" y="474"/>
                  </a:lnTo>
                  <a:lnTo>
                    <a:pt x="504" y="474"/>
                  </a:lnTo>
                  <a:lnTo>
                    <a:pt x="516" y="480"/>
                  </a:lnTo>
                  <a:lnTo>
                    <a:pt x="540" y="480"/>
                  </a:lnTo>
                  <a:lnTo>
                    <a:pt x="552" y="468"/>
                  </a:lnTo>
                  <a:lnTo>
                    <a:pt x="564" y="444"/>
                  </a:lnTo>
                  <a:lnTo>
                    <a:pt x="570" y="438"/>
                  </a:lnTo>
                  <a:lnTo>
                    <a:pt x="576" y="426"/>
                  </a:lnTo>
                  <a:lnTo>
                    <a:pt x="618" y="426"/>
                  </a:lnTo>
                  <a:lnTo>
                    <a:pt x="624" y="420"/>
                  </a:lnTo>
                  <a:lnTo>
                    <a:pt x="636" y="414"/>
                  </a:lnTo>
                  <a:lnTo>
                    <a:pt x="648" y="402"/>
                  </a:lnTo>
                  <a:lnTo>
                    <a:pt x="648" y="396"/>
                  </a:lnTo>
                  <a:lnTo>
                    <a:pt x="672" y="384"/>
                  </a:lnTo>
                  <a:lnTo>
                    <a:pt x="660" y="366"/>
                  </a:lnTo>
                  <a:lnTo>
                    <a:pt x="654" y="354"/>
                  </a:lnTo>
                  <a:lnTo>
                    <a:pt x="648" y="348"/>
                  </a:lnTo>
                  <a:lnTo>
                    <a:pt x="648" y="336"/>
                  </a:lnTo>
                  <a:lnTo>
                    <a:pt x="654" y="330"/>
                  </a:lnTo>
                  <a:lnTo>
                    <a:pt x="678" y="330"/>
                  </a:lnTo>
                  <a:lnTo>
                    <a:pt x="690" y="324"/>
                  </a:lnTo>
                  <a:lnTo>
                    <a:pt x="714" y="324"/>
                  </a:lnTo>
                  <a:lnTo>
                    <a:pt x="714" y="312"/>
                  </a:lnTo>
                  <a:lnTo>
                    <a:pt x="720" y="306"/>
                  </a:lnTo>
                  <a:lnTo>
                    <a:pt x="720" y="300"/>
                  </a:lnTo>
                  <a:lnTo>
                    <a:pt x="732" y="300"/>
                  </a:lnTo>
                  <a:lnTo>
                    <a:pt x="738" y="306"/>
                  </a:lnTo>
                  <a:lnTo>
                    <a:pt x="744" y="300"/>
                  </a:lnTo>
                  <a:lnTo>
                    <a:pt x="744" y="294"/>
                  </a:lnTo>
                  <a:lnTo>
                    <a:pt x="762" y="294"/>
                  </a:lnTo>
                  <a:lnTo>
                    <a:pt x="774" y="300"/>
                  </a:lnTo>
                  <a:lnTo>
                    <a:pt x="828" y="294"/>
                  </a:lnTo>
                  <a:lnTo>
                    <a:pt x="828" y="282"/>
                  </a:lnTo>
                  <a:lnTo>
                    <a:pt x="846" y="264"/>
                  </a:lnTo>
                  <a:lnTo>
                    <a:pt x="822" y="246"/>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02" name="Montenegro" descr="© INSCALE GmbH, 05.05.2010&#10;http://www.presentationload.com/">
              <a:extLst>
                <a:ext uri="{FF2B5EF4-FFF2-40B4-BE49-F238E27FC236}">
                  <a16:creationId xmlns:a16="http://schemas.microsoft.com/office/drawing/2014/main" id="{BE192508-C37B-48A7-866D-5898BAD9EF6C}"/>
                </a:ext>
              </a:extLst>
            </p:cNvPr>
            <p:cNvSpPr>
              <a:spLocks/>
            </p:cNvSpPr>
            <p:nvPr/>
          </p:nvSpPr>
          <p:spPr bwMode="gray">
            <a:xfrm>
              <a:off x="4626422" y="2857089"/>
              <a:ext cx="45472" cy="53313"/>
            </a:xfrm>
            <a:custGeom>
              <a:avLst/>
              <a:gdLst>
                <a:gd name="T0" fmla="*/ 2147483647 w 114"/>
                <a:gd name="T1" fmla="*/ 2147483647 h 138"/>
                <a:gd name="T2" fmla="*/ 2147483647 w 114"/>
                <a:gd name="T3" fmla="*/ 2147483647 h 138"/>
                <a:gd name="T4" fmla="*/ 2147483647 w 114"/>
                <a:gd name="T5" fmla="*/ 2147483647 h 138"/>
                <a:gd name="T6" fmla="*/ 2147483647 w 114"/>
                <a:gd name="T7" fmla="*/ 2147483647 h 138"/>
                <a:gd name="T8" fmla="*/ 2147483647 w 114"/>
                <a:gd name="T9" fmla="*/ 2147483647 h 138"/>
                <a:gd name="T10" fmla="*/ 2147483647 w 114"/>
                <a:gd name="T11" fmla="*/ 2147483647 h 138"/>
                <a:gd name="T12" fmla="*/ 2147483647 w 114"/>
                <a:gd name="T13" fmla="*/ 0 h 138"/>
                <a:gd name="T14" fmla="*/ 2147483647 w 114"/>
                <a:gd name="T15" fmla="*/ 0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0 w 114"/>
                <a:gd name="T29" fmla="*/ 2147483647 h 138"/>
                <a:gd name="T30" fmla="*/ 0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2147483647 h 138"/>
                <a:gd name="T56" fmla="*/ 2147483647 w 114"/>
                <a:gd name="T57" fmla="*/ 2147483647 h 138"/>
                <a:gd name="T58" fmla="*/ 2147483647 w 114"/>
                <a:gd name="T59" fmla="*/ 2147483647 h 138"/>
                <a:gd name="T60" fmla="*/ 2147483647 w 114"/>
                <a:gd name="T61" fmla="*/ 2147483647 h 138"/>
                <a:gd name="T62" fmla="*/ 2147483647 w 114"/>
                <a:gd name="T63" fmla="*/ 2147483647 h 138"/>
                <a:gd name="T64" fmla="*/ 2147483647 w 114"/>
                <a:gd name="T65" fmla="*/ 2147483647 h 138"/>
                <a:gd name="T66" fmla="*/ 2147483647 w 114"/>
                <a:gd name="T67" fmla="*/ 2147483647 h 138"/>
                <a:gd name="T68" fmla="*/ 2147483647 w 114"/>
                <a:gd name="T69" fmla="*/ 2147483647 h 138"/>
                <a:gd name="T70" fmla="*/ 2147483647 w 114"/>
                <a:gd name="T71" fmla="*/ 214748364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4"/>
                <a:gd name="T109" fmla="*/ 0 h 138"/>
                <a:gd name="T110" fmla="*/ 114 w 114"/>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4" h="138">
                  <a:moveTo>
                    <a:pt x="114" y="42"/>
                  </a:moveTo>
                  <a:lnTo>
                    <a:pt x="108" y="48"/>
                  </a:lnTo>
                  <a:lnTo>
                    <a:pt x="96" y="30"/>
                  </a:lnTo>
                  <a:lnTo>
                    <a:pt x="84" y="18"/>
                  </a:lnTo>
                  <a:lnTo>
                    <a:pt x="66" y="6"/>
                  </a:lnTo>
                  <a:lnTo>
                    <a:pt x="60" y="6"/>
                  </a:lnTo>
                  <a:lnTo>
                    <a:pt x="48" y="0"/>
                  </a:lnTo>
                  <a:lnTo>
                    <a:pt x="42" y="0"/>
                  </a:lnTo>
                  <a:lnTo>
                    <a:pt x="42" y="24"/>
                  </a:lnTo>
                  <a:lnTo>
                    <a:pt x="24" y="24"/>
                  </a:lnTo>
                  <a:lnTo>
                    <a:pt x="18" y="30"/>
                  </a:lnTo>
                  <a:lnTo>
                    <a:pt x="18" y="36"/>
                  </a:lnTo>
                  <a:lnTo>
                    <a:pt x="12" y="48"/>
                  </a:lnTo>
                  <a:lnTo>
                    <a:pt x="6" y="48"/>
                  </a:lnTo>
                  <a:lnTo>
                    <a:pt x="0" y="54"/>
                  </a:lnTo>
                  <a:lnTo>
                    <a:pt x="0" y="60"/>
                  </a:lnTo>
                  <a:lnTo>
                    <a:pt x="6" y="66"/>
                  </a:lnTo>
                  <a:lnTo>
                    <a:pt x="12" y="66"/>
                  </a:lnTo>
                  <a:lnTo>
                    <a:pt x="24" y="72"/>
                  </a:lnTo>
                  <a:lnTo>
                    <a:pt x="6" y="102"/>
                  </a:lnTo>
                  <a:lnTo>
                    <a:pt x="18" y="102"/>
                  </a:lnTo>
                  <a:lnTo>
                    <a:pt x="24" y="96"/>
                  </a:lnTo>
                  <a:lnTo>
                    <a:pt x="36" y="96"/>
                  </a:lnTo>
                  <a:lnTo>
                    <a:pt x="36" y="114"/>
                  </a:lnTo>
                  <a:lnTo>
                    <a:pt x="60" y="138"/>
                  </a:lnTo>
                  <a:lnTo>
                    <a:pt x="72" y="126"/>
                  </a:lnTo>
                  <a:lnTo>
                    <a:pt x="66" y="108"/>
                  </a:lnTo>
                  <a:lnTo>
                    <a:pt x="60" y="114"/>
                  </a:lnTo>
                  <a:lnTo>
                    <a:pt x="42" y="102"/>
                  </a:lnTo>
                  <a:lnTo>
                    <a:pt x="66" y="102"/>
                  </a:lnTo>
                  <a:lnTo>
                    <a:pt x="78" y="96"/>
                  </a:lnTo>
                  <a:lnTo>
                    <a:pt x="78" y="78"/>
                  </a:lnTo>
                  <a:lnTo>
                    <a:pt x="108" y="90"/>
                  </a:lnTo>
                  <a:lnTo>
                    <a:pt x="114" y="84"/>
                  </a:lnTo>
                  <a:lnTo>
                    <a:pt x="114" y="90"/>
                  </a:lnTo>
                  <a:lnTo>
                    <a:pt x="114" y="42"/>
                  </a:lnTo>
                  <a:close/>
                </a:path>
              </a:pathLst>
            </a:custGeom>
            <a:solidFill>
              <a:schemeClr val="accent1"/>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03" name="Mongolei" descr="© INSCALE GmbH, 05.05.2010&#10;http://www.presentationload.com/">
              <a:extLst>
                <a:ext uri="{FF2B5EF4-FFF2-40B4-BE49-F238E27FC236}">
                  <a16:creationId xmlns:a16="http://schemas.microsoft.com/office/drawing/2014/main" id="{7493E260-EE78-4BFA-B8FE-B2C86253E26F}"/>
                </a:ext>
              </a:extLst>
            </p:cNvPr>
            <p:cNvSpPr>
              <a:spLocks/>
            </p:cNvSpPr>
            <p:nvPr/>
          </p:nvSpPr>
          <p:spPr bwMode="gray">
            <a:xfrm>
              <a:off x="6337135" y="2588957"/>
              <a:ext cx="834188" cy="330853"/>
            </a:xfrm>
            <a:custGeom>
              <a:avLst/>
              <a:gdLst>
                <a:gd name="T0" fmla="*/ 2147483647 w 2100"/>
                <a:gd name="T1" fmla="*/ 2147483647 h 834"/>
                <a:gd name="T2" fmla="*/ 2147483647 w 2100"/>
                <a:gd name="T3" fmla="*/ 2147483647 h 834"/>
                <a:gd name="T4" fmla="*/ 2147483647 w 2100"/>
                <a:gd name="T5" fmla="*/ 2147483647 h 834"/>
                <a:gd name="T6" fmla="*/ 2147483647 w 2100"/>
                <a:gd name="T7" fmla="*/ 2147483647 h 834"/>
                <a:gd name="T8" fmla="*/ 2147483647 w 2100"/>
                <a:gd name="T9" fmla="*/ 2147483647 h 834"/>
                <a:gd name="T10" fmla="*/ 2147483647 w 2100"/>
                <a:gd name="T11" fmla="*/ 2147483647 h 834"/>
                <a:gd name="T12" fmla="*/ 2147483647 w 2100"/>
                <a:gd name="T13" fmla="*/ 2147483647 h 834"/>
                <a:gd name="T14" fmla="*/ 2147483647 w 2100"/>
                <a:gd name="T15" fmla="*/ 2147483647 h 834"/>
                <a:gd name="T16" fmla="*/ 2147483647 w 2100"/>
                <a:gd name="T17" fmla="*/ 2147483647 h 834"/>
                <a:gd name="T18" fmla="*/ 2147483647 w 2100"/>
                <a:gd name="T19" fmla="*/ 2147483647 h 834"/>
                <a:gd name="T20" fmla="*/ 2147483647 w 2100"/>
                <a:gd name="T21" fmla="*/ 2147483647 h 834"/>
                <a:gd name="T22" fmla="*/ 2147483647 w 2100"/>
                <a:gd name="T23" fmla="*/ 2147483647 h 834"/>
                <a:gd name="T24" fmla="*/ 2147483647 w 2100"/>
                <a:gd name="T25" fmla="*/ 2147483647 h 834"/>
                <a:gd name="T26" fmla="*/ 2147483647 w 2100"/>
                <a:gd name="T27" fmla="*/ 2147483647 h 834"/>
                <a:gd name="T28" fmla="*/ 2147483647 w 2100"/>
                <a:gd name="T29" fmla="*/ 2147483647 h 834"/>
                <a:gd name="T30" fmla="*/ 2147483647 w 2100"/>
                <a:gd name="T31" fmla="*/ 2147483647 h 834"/>
                <a:gd name="T32" fmla="*/ 2147483647 w 2100"/>
                <a:gd name="T33" fmla="*/ 2147483647 h 834"/>
                <a:gd name="T34" fmla="*/ 2147483647 w 2100"/>
                <a:gd name="T35" fmla="*/ 2147483647 h 834"/>
                <a:gd name="T36" fmla="*/ 2147483647 w 2100"/>
                <a:gd name="T37" fmla="*/ 2147483647 h 834"/>
                <a:gd name="T38" fmla="*/ 2147483647 w 2100"/>
                <a:gd name="T39" fmla="*/ 2147483647 h 834"/>
                <a:gd name="T40" fmla="*/ 2147483647 w 2100"/>
                <a:gd name="T41" fmla="*/ 2147483647 h 834"/>
                <a:gd name="T42" fmla="*/ 2147483647 w 2100"/>
                <a:gd name="T43" fmla="*/ 2147483647 h 834"/>
                <a:gd name="T44" fmla="*/ 2147483647 w 2100"/>
                <a:gd name="T45" fmla="*/ 2147483647 h 834"/>
                <a:gd name="T46" fmla="*/ 2147483647 w 2100"/>
                <a:gd name="T47" fmla="*/ 2147483647 h 834"/>
                <a:gd name="T48" fmla="*/ 2147483647 w 2100"/>
                <a:gd name="T49" fmla="*/ 2147483647 h 834"/>
                <a:gd name="T50" fmla="*/ 2147483647 w 2100"/>
                <a:gd name="T51" fmla="*/ 2147483647 h 834"/>
                <a:gd name="T52" fmla="*/ 2147483647 w 2100"/>
                <a:gd name="T53" fmla="*/ 2147483647 h 834"/>
                <a:gd name="T54" fmla="*/ 2147483647 w 2100"/>
                <a:gd name="T55" fmla="*/ 2147483647 h 834"/>
                <a:gd name="T56" fmla="*/ 2147483647 w 2100"/>
                <a:gd name="T57" fmla="*/ 2147483647 h 834"/>
                <a:gd name="T58" fmla="*/ 2147483647 w 2100"/>
                <a:gd name="T59" fmla="*/ 2147483647 h 834"/>
                <a:gd name="T60" fmla="*/ 2147483647 w 2100"/>
                <a:gd name="T61" fmla="*/ 2147483647 h 834"/>
                <a:gd name="T62" fmla="*/ 0 w 2100"/>
                <a:gd name="T63" fmla="*/ 2147483647 h 834"/>
                <a:gd name="T64" fmla="*/ 2147483647 w 2100"/>
                <a:gd name="T65" fmla="*/ 2147483647 h 834"/>
                <a:gd name="T66" fmla="*/ 2147483647 w 2100"/>
                <a:gd name="T67" fmla="*/ 2147483647 h 834"/>
                <a:gd name="T68" fmla="*/ 2147483647 w 2100"/>
                <a:gd name="T69" fmla="*/ 2147483647 h 834"/>
                <a:gd name="T70" fmla="*/ 2147483647 w 2100"/>
                <a:gd name="T71" fmla="*/ 2147483647 h 834"/>
                <a:gd name="T72" fmla="*/ 2147483647 w 2100"/>
                <a:gd name="T73" fmla="*/ 2147483647 h 834"/>
                <a:gd name="T74" fmla="*/ 2147483647 w 2100"/>
                <a:gd name="T75" fmla="*/ 2147483647 h 834"/>
                <a:gd name="T76" fmla="*/ 2147483647 w 2100"/>
                <a:gd name="T77" fmla="*/ 2147483647 h 834"/>
                <a:gd name="T78" fmla="*/ 2147483647 w 2100"/>
                <a:gd name="T79" fmla="*/ 2147483647 h 834"/>
                <a:gd name="T80" fmla="*/ 2147483647 w 2100"/>
                <a:gd name="T81" fmla="*/ 2147483647 h 834"/>
                <a:gd name="T82" fmla="*/ 2147483647 w 2100"/>
                <a:gd name="T83" fmla="*/ 2147483647 h 834"/>
                <a:gd name="T84" fmla="*/ 2147483647 w 2100"/>
                <a:gd name="T85" fmla="*/ 2147483647 h 834"/>
                <a:gd name="T86" fmla="*/ 2147483647 w 2100"/>
                <a:gd name="T87" fmla="*/ 2147483647 h 834"/>
                <a:gd name="T88" fmla="*/ 2147483647 w 2100"/>
                <a:gd name="T89" fmla="*/ 2147483647 h 834"/>
                <a:gd name="T90" fmla="*/ 2147483647 w 2100"/>
                <a:gd name="T91" fmla="*/ 2147483647 h 834"/>
                <a:gd name="T92" fmla="*/ 2147483647 w 2100"/>
                <a:gd name="T93" fmla="*/ 2147483647 h 834"/>
                <a:gd name="T94" fmla="*/ 2147483647 w 2100"/>
                <a:gd name="T95" fmla="*/ 2147483647 h 834"/>
                <a:gd name="T96" fmla="*/ 2147483647 w 2100"/>
                <a:gd name="T97" fmla="*/ 2147483647 h 834"/>
                <a:gd name="T98" fmla="*/ 2147483647 w 2100"/>
                <a:gd name="T99" fmla="*/ 2147483647 h 834"/>
                <a:gd name="T100" fmla="*/ 2147483647 w 2100"/>
                <a:gd name="T101" fmla="*/ 2147483647 h 834"/>
                <a:gd name="T102" fmla="*/ 2147483647 w 2100"/>
                <a:gd name="T103" fmla="*/ 2147483647 h 834"/>
                <a:gd name="T104" fmla="*/ 2147483647 w 2100"/>
                <a:gd name="T105" fmla="*/ 2147483647 h 834"/>
                <a:gd name="T106" fmla="*/ 2147483647 w 2100"/>
                <a:gd name="T107" fmla="*/ 2147483647 h 834"/>
                <a:gd name="T108" fmla="*/ 2147483647 w 2100"/>
                <a:gd name="T109" fmla="*/ 2147483647 h 834"/>
                <a:gd name="T110" fmla="*/ 2147483647 w 2100"/>
                <a:gd name="T111" fmla="*/ 2147483647 h 834"/>
                <a:gd name="T112" fmla="*/ 2147483647 w 2100"/>
                <a:gd name="T113" fmla="*/ 2147483647 h 834"/>
                <a:gd name="T114" fmla="*/ 2147483647 w 2100"/>
                <a:gd name="T115" fmla="*/ 2147483647 h 834"/>
                <a:gd name="T116" fmla="*/ 2147483647 w 2100"/>
                <a:gd name="T117" fmla="*/ 2147483647 h 834"/>
                <a:gd name="T118" fmla="*/ 2147483647 w 2100"/>
                <a:gd name="T119" fmla="*/ 2147483647 h 834"/>
                <a:gd name="T120" fmla="*/ 2147483647 w 2100"/>
                <a:gd name="T121" fmla="*/ 2147483647 h 834"/>
                <a:gd name="T122" fmla="*/ 2147483647 w 2100"/>
                <a:gd name="T123" fmla="*/ 2147483647 h 8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00"/>
                <a:gd name="T187" fmla="*/ 0 h 834"/>
                <a:gd name="T188" fmla="*/ 2100 w 2100"/>
                <a:gd name="T189" fmla="*/ 834 h 83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00" h="834">
                  <a:moveTo>
                    <a:pt x="2088" y="408"/>
                  </a:moveTo>
                  <a:lnTo>
                    <a:pt x="2076" y="396"/>
                  </a:lnTo>
                  <a:lnTo>
                    <a:pt x="2070" y="384"/>
                  </a:lnTo>
                  <a:lnTo>
                    <a:pt x="2058" y="384"/>
                  </a:lnTo>
                  <a:lnTo>
                    <a:pt x="2034" y="372"/>
                  </a:lnTo>
                  <a:lnTo>
                    <a:pt x="2022" y="360"/>
                  </a:lnTo>
                  <a:lnTo>
                    <a:pt x="2010" y="354"/>
                  </a:lnTo>
                  <a:lnTo>
                    <a:pt x="2004" y="348"/>
                  </a:lnTo>
                  <a:lnTo>
                    <a:pt x="1986" y="348"/>
                  </a:lnTo>
                  <a:lnTo>
                    <a:pt x="1974" y="342"/>
                  </a:lnTo>
                  <a:lnTo>
                    <a:pt x="1968" y="336"/>
                  </a:lnTo>
                  <a:lnTo>
                    <a:pt x="1968" y="324"/>
                  </a:lnTo>
                  <a:lnTo>
                    <a:pt x="1902" y="324"/>
                  </a:lnTo>
                  <a:lnTo>
                    <a:pt x="1902" y="348"/>
                  </a:lnTo>
                  <a:lnTo>
                    <a:pt x="1896" y="354"/>
                  </a:lnTo>
                  <a:lnTo>
                    <a:pt x="1890" y="354"/>
                  </a:lnTo>
                  <a:lnTo>
                    <a:pt x="1878" y="348"/>
                  </a:lnTo>
                  <a:lnTo>
                    <a:pt x="1866" y="336"/>
                  </a:lnTo>
                  <a:lnTo>
                    <a:pt x="1812" y="336"/>
                  </a:lnTo>
                  <a:lnTo>
                    <a:pt x="1806" y="342"/>
                  </a:lnTo>
                  <a:lnTo>
                    <a:pt x="1812" y="342"/>
                  </a:lnTo>
                  <a:lnTo>
                    <a:pt x="1812" y="348"/>
                  </a:lnTo>
                  <a:lnTo>
                    <a:pt x="1794" y="348"/>
                  </a:lnTo>
                  <a:lnTo>
                    <a:pt x="1788" y="342"/>
                  </a:lnTo>
                  <a:lnTo>
                    <a:pt x="1776" y="336"/>
                  </a:lnTo>
                  <a:lnTo>
                    <a:pt x="1770" y="324"/>
                  </a:lnTo>
                  <a:lnTo>
                    <a:pt x="1770" y="306"/>
                  </a:lnTo>
                  <a:lnTo>
                    <a:pt x="1776" y="306"/>
                  </a:lnTo>
                  <a:lnTo>
                    <a:pt x="1770" y="294"/>
                  </a:lnTo>
                  <a:lnTo>
                    <a:pt x="1764" y="270"/>
                  </a:lnTo>
                  <a:lnTo>
                    <a:pt x="1758" y="258"/>
                  </a:lnTo>
                  <a:lnTo>
                    <a:pt x="1758" y="174"/>
                  </a:lnTo>
                  <a:lnTo>
                    <a:pt x="1740" y="174"/>
                  </a:lnTo>
                  <a:lnTo>
                    <a:pt x="1716" y="168"/>
                  </a:lnTo>
                  <a:lnTo>
                    <a:pt x="1710" y="174"/>
                  </a:lnTo>
                  <a:lnTo>
                    <a:pt x="1698" y="180"/>
                  </a:lnTo>
                  <a:lnTo>
                    <a:pt x="1674" y="180"/>
                  </a:lnTo>
                  <a:lnTo>
                    <a:pt x="1662" y="174"/>
                  </a:lnTo>
                  <a:lnTo>
                    <a:pt x="1644" y="156"/>
                  </a:lnTo>
                  <a:lnTo>
                    <a:pt x="1608" y="156"/>
                  </a:lnTo>
                  <a:lnTo>
                    <a:pt x="1596" y="150"/>
                  </a:lnTo>
                  <a:lnTo>
                    <a:pt x="1578" y="150"/>
                  </a:lnTo>
                  <a:lnTo>
                    <a:pt x="1548" y="180"/>
                  </a:lnTo>
                  <a:lnTo>
                    <a:pt x="1548" y="192"/>
                  </a:lnTo>
                  <a:lnTo>
                    <a:pt x="1536" y="204"/>
                  </a:lnTo>
                  <a:lnTo>
                    <a:pt x="1500" y="204"/>
                  </a:lnTo>
                  <a:lnTo>
                    <a:pt x="1488" y="216"/>
                  </a:lnTo>
                  <a:lnTo>
                    <a:pt x="1440" y="216"/>
                  </a:lnTo>
                  <a:lnTo>
                    <a:pt x="1440" y="222"/>
                  </a:lnTo>
                  <a:lnTo>
                    <a:pt x="1422" y="240"/>
                  </a:lnTo>
                  <a:lnTo>
                    <a:pt x="1416" y="240"/>
                  </a:lnTo>
                  <a:lnTo>
                    <a:pt x="1416" y="234"/>
                  </a:lnTo>
                  <a:lnTo>
                    <a:pt x="1410" y="228"/>
                  </a:lnTo>
                  <a:lnTo>
                    <a:pt x="1392" y="228"/>
                  </a:lnTo>
                  <a:lnTo>
                    <a:pt x="1380" y="234"/>
                  </a:lnTo>
                  <a:lnTo>
                    <a:pt x="1356" y="234"/>
                  </a:lnTo>
                  <a:lnTo>
                    <a:pt x="1344" y="228"/>
                  </a:lnTo>
                  <a:lnTo>
                    <a:pt x="1338" y="228"/>
                  </a:lnTo>
                  <a:lnTo>
                    <a:pt x="1332" y="222"/>
                  </a:lnTo>
                  <a:lnTo>
                    <a:pt x="1266" y="222"/>
                  </a:lnTo>
                  <a:lnTo>
                    <a:pt x="1260" y="216"/>
                  </a:lnTo>
                  <a:lnTo>
                    <a:pt x="1260" y="204"/>
                  </a:lnTo>
                  <a:lnTo>
                    <a:pt x="1248" y="198"/>
                  </a:lnTo>
                  <a:lnTo>
                    <a:pt x="1230" y="198"/>
                  </a:lnTo>
                  <a:lnTo>
                    <a:pt x="1230" y="192"/>
                  </a:lnTo>
                  <a:lnTo>
                    <a:pt x="1218" y="180"/>
                  </a:lnTo>
                  <a:lnTo>
                    <a:pt x="1218" y="174"/>
                  </a:lnTo>
                  <a:lnTo>
                    <a:pt x="1212" y="168"/>
                  </a:lnTo>
                  <a:lnTo>
                    <a:pt x="1152" y="168"/>
                  </a:lnTo>
                  <a:lnTo>
                    <a:pt x="1128" y="144"/>
                  </a:lnTo>
                  <a:lnTo>
                    <a:pt x="1092" y="144"/>
                  </a:lnTo>
                  <a:lnTo>
                    <a:pt x="1086" y="138"/>
                  </a:lnTo>
                  <a:lnTo>
                    <a:pt x="1080" y="138"/>
                  </a:lnTo>
                  <a:lnTo>
                    <a:pt x="1068" y="132"/>
                  </a:lnTo>
                  <a:lnTo>
                    <a:pt x="1020" y="132"/>
                  </a:lnTo>
                  <a:lnTo>
                    <a:pt x="966" y="150"/>
                  </a:lnTo>
                  <a:lnTo>
                    <a:pt x="954" y="156"/>
                  </a:lnTo>
                  <a:lnTo>
                    <a:pt x="942" y="156"/>
                  </a:lnTo>
                  <a:lnTo>
                    <a:pt x="930" y="150"/>
                  </a:lnTo>
                  <a:lnTo>
                    <a:pt x="918" y="150"/>
                  </a:lnTo>
                  <a:lnTo>
                    <a:pt x="912" y="144"/>
                  </a:lnTo>
                  <a:lnTo>
                    <a:pt x="882" y="144"/>
                  </a:lnTo>
                  <a:lnTo>
                    <a:pt x="864" y="126"/>
                  </a:lnTo>
                  <a:lnTo>
                    <a:pt x="864" y="120"/>
                  </a:lnTo>
                  <a:lnTo>
                    <a:pt x="840" y="126"/>
                  </a:lnTo>
                  <a:lnTo>
                    <a:pt x="840" y="120"/>
                  </a:lnTo>
                  <a:lnTo>
                    <a:pt x="834" y="114"/>
                  </a:lnTo>
                  <a:lnTo>
                    <a:pt x="822" y="90"/>
                  </a:lnTo>
                  <a:lnTo>
                    <a:pt x="810" y="78"/>
                  </a:lnTo>
                  <a:lnTo>
                    <a:pt x="804" y="66"/>
                  </a:lnTo>
                  <a:lnTo>
                    <a:pt x="798" y="60"/>
                  </a:lnTo>
                  <a:lnTo>
                    <a:pt x="786" y="54"/>
                  </a:lnTo>
                  <a:lnTo>
                    <a:pt x="768" y="54"/>
                  </a:lnTo>
                  <a:lnTo>
                    <a:pt x="756" y="60"/>
                  </a:lnTo>
                  <a:lnTo>
                    <a:pt x="750" y="60"/>
                  </a:lnTo>
                  <a:lnTo>
                    <a:pt x="726" y="48"/>
                  </a:lnTo>
                  <a:lnTo>
                    <a:pt x="720" y="42"/>
                  </a:lnTo>
                  <a:lnTo>
                    <a:pt x="708" y="36"/>
                  </a:lnTo>
                  <a:lnTo>
                    <a:pt x="672" y="36"/>
                  </a:lnTo>
                  <a:lnTo>
                    <a:pt x="648" y="30"/>
                  </a:lnTo>
                  <a:lnTo>
                    <a:pt x="636" y="30"/>
                  </a:lnTo>
                  <a:lnTo>
                    <a:pt x="576" y="0"/>
                  </a:lnTo>
                  <a:lnTo>
                    <a:pt x="576" y="18"/>
                  </a:lnTo>
                  <a:lnTo>
                    <a:pt x="570" y="30"/>
                  </a:lnTo>
                  <a:lnTo>
                    <a:pt x="558" y="36"/>
                  </a:lnTo>
                  <a:lnTo>
                    <a:pt x="552" y="36"/>
                  </a:lnTo>
                  <a:lnTo>
                    <a:pt x="558" y="48"/>
                  </a:lnTo>
                  <a:lnTo>
                    <a:pt x="540" y="48"/>
                  </a:lnTo>
                  <a:lnTo>
                    <a:pt x="540" y="60"/>
                  </a:lnTo>
                  <a:lnTo>
                    <a:pt x="552" y="72"/>
                  </a:lnTo>
                  <a:lnTo>
                    <a:pt x="558" y="90"/>
                  </a:lnTo>
                  <a:lnTo>
                    <a:pt x="582" y="126"/>
                  </a:lnTo>
                  <a:lnTo>
                    <a:pt x="588" y="126"/>
                  </a:lnTo>
                  <a:lnTo>
                    <a:pt x="594" y="132"/>
                  </a:lnTo>
                  <a:lnTo>
                    <a:pt x="600" y="144"/>
                  </a:lnTo>
                  <a:lnTo>
                    <a:pt x="600" y="168"/>
                  </a:lnTo>
                  <a:lnTo>
                    <a:pt x="582" y="168"/>
                  </a:lnTo>
                  <a:lnTo>
                    <a:pt x="582" y="174"/>
                  </a:lnTo>
                  <a:lnTo>
                    <a:pt x="576" y="180"/>
                  </a:lnTo>
                  <a:lnTo>
                    <a:pt x="552" y="192"/>
                  </a:lnTo>
                  <a:lnTo>
                    <a:pt x="546" y="186"/>
                  </a:lnTo>
                  <a:lnTo>
                    <a:pt x="546" y="174"/>
                  </a:lnTo>
                  <a:lnTo>
                    <a:pt x="498" y="180"/>
                  </a:lnTo>
                  <a:lnTo>
                    <a:pt x="498" y="168"/>
                  </a:lnTo>
                  <a:lnTo>
                    <a:pt x="456" y="168"/>
                  </a:lnTo>
                  <a:lnTo>
                    <a:pt x="450" y="174"/>
                  </a:lnTo>
                  <a:lnTo>
                    <a:pt x="450" y="180"/>
                  </a:lnTo>
                  <a:lnTo>
                    <a:pt x="444" y="168"/>
                  </a:lnTo>
                  <a:lnTo>
                    <a:pt x="420" y="174"/>
                  </a:lnTo>
                  <a:lnTo>
                    <a:pt x="414" y="162"/>
                  </a:lnTo>
                  <a:lnTo>
                    <a:pt x="384" y="162"/>
                  </a:lnTo>
                  <a:lnTo>
                    <a:pt x="366" y="156"/>
                  </a:lnTo>
                  <a:lnTo>
                    <a:pt x="360" y="150"/>
                  </a:lnTo>
                  <a:lnTo>
                    <a:pt x="360" y="138"/>
                  </a:lnTo>
                  <a:lnTo>
                    <a:pt x="354" y="132"/>
                  </a:lnTo>
                  <a:lnTo>
                    <a:pt x="354" y="126"/>
                  </a:lnTo>
                  <a:lnTo>
                    <a:pt x="312" y="126"/>
                  </a:lnTo>
                  <a:lnTo>
                    <a:pt x="294" y="132"/>
                  </a:lnTo>
                  <a:lnTo>
                    <a:pt x="270" y="132"/>
                  </a:lnTo>
                  <a:lnTo>
                    <a:pt x="264" y="114"/>
                  </a:lnTo>
                  <a:lnTo>
                    <a:pt x="228" y="114"/>
                  </a:lnTo>
                  <a:lnTo>
                    <a:pt x="228" y="108"/>
                  </a:lnTo>
                  <a:lnTo>
                    <a:pt x="210" y="114"/>
                  </a:lnTo>
                  <a:lnTo>
                    <a:pt x="204" y="108"/>
                  </a:lnTo>
                  <a:lnTo>
                    <a:pt x="186" y="108"/>
                  </a:lnTo>
                  <a:lnTo>
                    <a:pt x="180" y="114"/>
                  </a:lnTo>
                  <a:lnTo>
                    <a:pt x="180" y="120"/>
                  </a:lnTo>
                  <a:lnTo>
                    <a:pt x="174" y="126"/>
                  </a:lnTo>
                  <a:lnTo>
                    <a:pt x="174" y="132"/>
                  </a:lnTo>
                  <a:lnTo>
                    <a:pt x="150" y="132"/>
                  </a:lnTo>
                  <a:lnTo>
                    <a:pt x="138" y="150"/>
                  </a:lnTo>
                  <a:lnTo>
                    <a:pt x="120" y="150"/>
                  </a:lnTo>
                  <a:lnTo>
                    <a:pt x="84" y="186"/>
                  </a:lnTo>
                  <a:lnTo>
                    <a:pt x="84" y="192"/>
                  </a:lnTo>
                  <a:lnTo>
                    <a:pt x="90" y="198"/>
                  </a:lnTo>
                  <a:lnTo>
                    <a:pt x="66" y="198"/>
                  </a:lnTo>
                  <a:lnTo>
                    <a:pt x="72" y="210"/>
                  </a:lnTo>
                  <a:lnTo>
                    <a:pt x="12" y="210"/>
                  </a:lnTo>
                  <a:lnTo>
                    <a:pt x="12" y="228"/>
                  </a:lnTo>
                  <a:lnTo>
                    <a:pt x="0" y="240"/>
                  </a:lnTo>
                  <a:lnTo>
                    <a:pt x="6" y="246"/>
                  </a:lnTo>
                  <a:lnTo>
                    <a:pt x="6" y="258"/>
                  </a:lnTo>
                  <a:lnTo>
                    <a:pt x="0" y="264"/>
                  </a:lnTo>
                  <a:lnTo>
                    <a:pt x="24" y="264"/>
                  </a:lnTo>
                  <a:lnTo>
                    <a:pt x="24" y="282"/>
                  </a:lnTo>
                  <a:lnTo>
                    <a:pt x="36" y="288"/>
                  </a:lnTo>
                  <a:lnTo>
                    <a:pt x="48" y="288"/>
                  </a:lnTo>
                  <a:lnTo>
                    <a:pt x="60" y="294"/>
                  </a:lnTo>
                  <a:lnTo>
                    <a:pt x="72" y="294"/>
                  </a:lnTo>
                  <a:lnTo>
                    <a:pt x="78" y="306"/>
                  </a:lnTo>
                  <a:lnTo>
                    <a:pt x="102" y="330"/>
                  </a:lnTo>
                  <a:lnTo>
                    <a:pt x="138" y="318"/>
                  </a:lnTo>
                  <a:lnTo>
                    <a:pt x="156" y="330"/>
                  </a:lnTo>
                  <a:lnTo>
                    <a:pt x="162" y="336"/>
                  </a:lnTo>
                  <a:lnTo>
                    <a:pt x="174" y="336"/>
                  </a:lnTo>
                  <a:lnTo>
                    <a:pt x="186" y="342"/>
                  </a:lnTo>
                  <a:lnTo>
                    <a:pt x="204" y="348"/>
                  </a:lnTo>
                  <a:lnTo>
                    <a:pt x="222" y="366"/>
                  </a:lnTo>
                  <a:lnTo>
                    <a:pt x="228" y="378"/>
                  </a:lnTo>
                  <a:lnTo>
                    <a:pt x="240" y="396"/>
                  </a:lnTo>
                  <a:lnTo>
                    <a:pt x="264" y="414"/>
                  </a:lnTo>
                  <a:lnTo>
                    <a:pt x="276" y="426"/>
                  </a:lnTo>
                  <a:lnTo>
                    <a:pt x="282" y="438"/>
                  </a:lnTo>
                  <a:lnTo>
                    <a:pt x="282" y="450"/>
                  </a:lnTo>
                  <a:lnTo>
                    <a:pt x="288" y="456"/>
                  </a:lnTo>
                  <a:lnTo>
                    <a:pt x="294" y="468"/>
                  </a:lnTo>
                  <a:lnTo>
                    <a:pt x="300" y="474"/>
                  </a:lnTo>
                  <a:lnTo>
                    <a:pt x="300" y="480"/>
                  </a:lnTo>
                  <a:lnTo>
                    <a:pt x="288" y="492"/>
                  </a:lnTo>
                  <a:lnTo>
                    <a:pt x="288" y="504"/>
                  </a:lnTo>
                  <a:lnTo>
                    <a:pt x="294" y="522"/>
                  </a:lnTo>
                  <a:lnTo>
                    <a:pt x="300" y="534"/>
                  </a:lnTo>
                  <a:lnTo>
                    <a:pt x="306" y="540"/>
                  </a:lnTo>
                  <a:lnTo>
                    <a:pt x="318" y="546"/>
                  </a:lnTo>
                  <a:lnTo>
                    <a:pt x="330" y="546"/>
                  </a:lnTo>
                  <a:lnTo>
                    <a:pt x="342" y="552"/>
                  </a:lnTo>
                  <a:lnTo>
                    <a:pt x="348" y="552"/>
                  </a:lnTo>
                  <a:lnTo>
                    <a:pt x="366" y="558"/>
                  </a:lnTo>
                  <a:lnTo>
                    <a:pt x="390" y="564"/>
                  </a:lnTo>
                  <a:lnTo>
                    <a:pt x="486" y="564"/>
                  </a:lnTo>
                  <a:lnTo>
                    <a:pt x="492" y="570"/>
                  </a:lnTo>
                  <a:lnTo>
                    <a:pt x="498" y="570"/>
                  </a:lnTo>
                  <a:lnTo>
                    <a:pt x="510" y="576"/>
                  </a:lnTo>
                  <a:lnTo>
                    <a:pt x="516" y="576"/>
                  </a:lnTo>
                  <a:lnTo>
                    <a:pt x="528" y="582"/>
                  </a:lnTo>
                  <a:lnTo>
                    <a:pt x="534" y="594"/>
                  </a:lnTo>
                  <a:lnTo>
                    <a:pt x="540" y="594"/>
                  </a:lnTo>
                  <a:lnTo>
                    <a:pt x="546" y="600"/>
                  </a:lnTo>
                  <a:lnTo>
                    <a:pt x="552" y="600"/>
                  </a:lnTo>
                  <a:lnTo>
                    <a:pt x="576" y="612"/>
                  </a:lnTo>
                  <a:lnTo>
                    <a:pt x="588" y="612"/>
                  </a:lnTo>
                  <a:lnTo>
                    <a:pt x="594" y="618"/>
                  </a:lnTo>
                  <a:lnTo>
                    <a:pt x="630" y="618"/>
                  </a:lnTo>
                  <a:lnTo>
                    <a:pt x="642" y="642"/>
                  </a:lnTo>
                  <a:lnTo>
                    <a:pt x="684" y="684"/>
                  </a:lnTo>
                  <a:lnTo>
                    <a:pt x="690" y="696"/>
                  </a:lnTo>
                  <a:lnTo>
                    <a:pt x="720" y="726"/>
                  </a:lnTo>
                  <a:lnTo>
                    <a:pt x="732" y="732"/>
                  </a:lnTo>
                  <a:lnTo>
                    <a:pt x="738" y="744"/>
                  </a:lnTo>
                  <a:lnTo>
                    <a:pt x="750" y="750"/>
                  </a:lnTo>
                  <a:lnTo>
                    <a:pt x="810" y="744"/>
                  </a:lnTo>
                  <a:lnTo>
                    <a:pt x="864" y="750"/>
                  </a:lnTo>
                  <a:lnTo>
                    <a:pt x="912" y="750"/>
                  </a:lnTo>
                  <a:lnTo>
                    <a:pt x="948" y="756"/>
                  </a:lnTo>
                  <a:lnTo>
                    <a:pt x="954" y="750"/>
                  </a:lnTo>
                  <a:lnTo>
                    <a:pt x="966" y="744"/>
                  </a:lnTo>
                  <a:lnTo>
                    <a:pt x="972" y="738"/>
                  </a:lnTo>
                  <a:lnTo>
                    <a:pt x="984" y="738"/>
                  </a:lnTo>
                  <a:lnTo>
                    <a:pt x="996" y="744"/>
                  </a:lnTo>
                  <a:lnTo>
                    <a:pt x="1002" y="744"/>
                  </a:lnTo>
                  <a:lnTo>
                    <a:pt x="1008" y="750"/>
                  </a:lnTo>
                  <a:lnTo>
                    <a:pt x="1062" y="750"/>
                  </a:lnTo>
                  <a:lnTo>
                    <a:pt x="1080" y="756"/>
                  </a:lnTo>
                  <a:lnTo>
                    <a:pt x="1092" y="756"/>
                  </a:lnTo>
                  <a:lnTo>
                    <a:pt x="1110" y="774"/>
                  </a:lnTo>
                  <a:lnTo>
                    <a:pt x="1116" y="786"/>
                  </a:lnTo>
                  <a:lnTo>
                    <a:pt x="1128" y="792"/>
                  </a:lnTo>
                  <a:lnTo>
                    <a:pt x="1152" y="798"/>
                  </a:lnTo>
                  <a:lnTo>
                    <a:pt x="1200" y="798"/>
                  </a:lnTo>
                  <a:lnTo>
                    <a:pt x="1218" y="804"/>
                  </a:lnTo>
                  <a:lnTo>
                    <a:pt x="1242" y="816"/>
                  </a:lnTo>
                  <a:lnTo>
                    <a:pt x="1248" y="822"/>
                  </a:lnTo>
                  <a:lnTo>
                    <a:pt x="1260" y="822"/>
                  </a:lnTo>
                  <a:lnTo>
                    <a:pt x="1266" y="816"/>
                  </a:lnTo>
                  <a:lnTo>
                    <a:pt x="1278" y="816"/>
                  </a:lnTo>
                  <a:lnTo>
                    <a:pt x="1290" y="810"/>
                  </a:lnTo>
                  <a:lnTo>
                    <a:pt x="1302" y="810"/>
                  </a:lnTo>
                  <a:lnTo>
                    <a:pt x="1302" y="816"/>
                  </a:lnTo>
                  <a:lnTo>
                    <a:pt x="1308" y="828"/>
                  </a:lnTo>
                  <a:lnTo>
                    <a:pt x="1314" y="828"/>
                  </a:lnTo>
                  <a:lnTo>
                    <a:pt x="1320" y="834"/>
                  </a:lnTo>
                  <a:lnTo>
                    <a:pt x="1338" y="834"/>
                  </a:lnTo>
                  <a:lnTo>
                    <a:pt x="1344" y="828"/>
                  </a:lnTo>
                  <a:lnTo>
                    <a:pt x="1362" y="816"/>
                  </a:lnTo>
                  <a:lnTo>
                    <a:pt x="1422" y="780"/>
                  </a:lnTo>
                  <a:lnTo>
                    <a:pt x="1440" y="768"/>
                  </a:lnTo>
                  <a:lnTo>
                    <a:pt x="1596" y="768"/>
                  </a:lnTo>
                  <a:lnTo>
                    <a:pt x="1614" y="744"/>
                  </a:lnTo>
                  <a:lnTo>
                    <a:pt x="1638" y="744"/>
                  </a:lnTo>
                  <a:lnTo>
                    <a:pt x="1650" y="738"/>
                  </a:lnTo>
                  <a:lnTo>
                    <a:pt x="1662" y="714"/>
                  </a:lnTo>
                  <a:lnTo>
                    <a:pt x="1662" y="708"/>
                  </a:lnTo>
                  <a:lnTo>
                    <a:pt x="1668" y="696"/>
                  </a:lnTo>
                  <a:lnTo>
                    <a:pt x="1668" y="690"/>
                  </a:lnTo>
                  <a:lnTo>
                    <a:pt x="1692" y="690"/>
                  </a:lnTo>
                  <a:lnTo>
                    <a:pt x="1704" y="678"/>
                  </a:lnTo>
                  <a:lnTo>
                    <a:pt x="1710" y="666"/>
                  </a:lnTo>
                  <a:lnTo>
                    <a:pt x="1716" y="660"/>
                  </a:lnTo>
                  <a:lnTo>
                    <a:pt x="1716" y="654"/>
                  </a:lnTo>
                  <a:lnTo>
                    <a:pt x="1704" y="648"/>
                  </a:lnTo>
                  <a:lnTo>
                    <a:pt x="1686" y="630"/>
                  </a:lnTo>
                  <a:lnTo>
                    <a:pt x="1674" y="624"/>
                  </a:lnTo>
                  <a:lnTo>
                    <a:pt x="1656" y="606"/>
                  </a:lnTo>
                  <a:lnTo>
                    <a:pt x="1650" y="594"/>
                  </a:lnTo>
                  <a:lnTo>
                    <a:pt x="1650" y="582"/>
                  </a:lnTo>
                  <a:lnTo>
                    <a:pt x="1656" y="570"/>
                  </a:lnTo>
                  <a:lnTo>
                    <a:pt x="1656" y="558"/>
                  </a:lnTo>
                  <a:lnTo>
                    <a:pt x="1668" y="552"/>
                  </a:lnTo>
                  <a:lnTo>
                    <a:pt x="1692" y="552"/>
                  </a:lnTo>
                  <a:lnTo>
                    <a:pt x="1698" y="558"/>
                  </a:lnTo>
                  <a:lnTo>
                    <a:pt x="1704" y="558"/>
                  </a:lnTo>
                  <a:lnTo>
                    <a:pt x="1710" y="564"/>
                  </a:lnTo>
                  <a:lnTo>
                    <a:pt x="1722" y="570"/>
                  </a:lnTo>
                  <a:lnTo>
                    <a:pt x="1728" y="576"/>
                  </a:lnTo>
                  <a:lnTo>
                    <a:pt x="1740" y="582"/>
                  </a:lnTo>
                  <a:lnTo>
                    <a:pt x="1764" y="582"/>
                  </a:lnTo>
                  <a:lnTo>
                    <a:pt x="1776" y="576"/>
                  </a:lnTo>
                  <a:lnTo>
                    <a:pt x="1794" y="576"/>
                  </a:lnTo>
                  <a:lnTo>
                    <a:pt x="1806" y="570"/>
                  </a:lnTo>
                  <a:lnTo>
                    <a:pt x="1812" y="558"/>
                  </a:lnTo>
                  <a:lnTo>
                    <a:pt x="1818" y="552"/>
                  </a:lnTo>
                  <a:lnTo>
                    <a:pt x="1818" y="528"/>
                  </a:lnTo>
                  <a:lnTo>
                    <a:pt x="1890" y="528"/>
                  </a:lnTo>
                  <a:lnTo>
                    <a:pt x="1914" y="504"/>
                  </a:lnTo>
                  <a:lnTo>
                    <a:pt x="1902" y="492"/>
                  </a:lnTo>
                  <a:lnTo>
                    <a:pt x="1896" y="480"/>
                  </a:lnTo>
                  <a:lnTo>
                    <a:pt x="1902" y="474"/>
                  </a:lnTo>
                  <a:lnTo>
                    <a:pt x="1938" y="456"/>
                  </a:lnTo>
                  <a:lnTo>
                    <a:pt x="1950" y="456"/>
                  </a:lnTo>
                  <a:lnTo>
                    <a:pt x="1950" y="438"/>
                  </a:lnTo>
                  <a:lnTo>
                    <a:pt x="1980" y="444"/>
                  </a:lnTo>
                  <a:lnTo>
                    <a:pt x="1998" y="426"/>
                  </a:lnTo>
                  <a:lnTo>
                    <a:pt x="2004" y="426"/>
                  </a:lnTo>
                  <a:lnTo>
                    <a:pt x="2010" y="420"/>
                  </a:lnTo>
                  <a:lnTo>
                    <a:pt x="2040" y="420"/>
                  </a:lnTo>
                  <a:lnTo>
                    <a:pt x="2052" y="426"/>
                  </a:lnTo>
                  <a:lnTo>
                    <a:pt x="2058" y="432"/>
                  </a:lnTo>
                  <a:lnTo>
                    <a:pt x="2094" y="432"/>
                  </a:lnTo>
                  <a:lnTo>
                    <a:pt x="2100" y="426"/>
                  </a:lnTo>
                  <a:lnTo>
                    <a:pt x="2100" y="420"/>
                  </a:lnTo>
                  <a:lnTo>
                    <a:pt x="2088" y="408"/>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04" name="Moldovien" descr="© INSCALE GmbH, 05.05.2010&#10;http://www.presentationload.com/">
              <a:extLst>
                <a:ext uri="{FF2B5EF4-FFF2-40B4-BE49-F238E27FC236}">
                  <a16:creationId xmlns:a16="http://schemas.microsoft.com/office/drawing/2014/main" id="{52DC9C14-F0CB-4EA7-B361-CABDB399F12E}"/>
                </a:ext>
              </a:extLst>
            </p:cNvPr>
            <p:cNvSpPr>
              <a:spLocks/>
            </p:cNvSpPr>
            <p:nvPr/>
          </p:nvSpPr>
          <p:spPr bwMode="gray">
            <a:xfrm>
              <a:off x="4827129" y="2704991"/>
              <a:ext cx="86241" cy="94081"/>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05" name="Mazedonien" descr="© INSCALE GmbH, 05.05.2010&#10;http://www.presentationload.com/">
              <a:extLst>
                <a:ext uri="{FF2B5EF4-FFF2-40B4-BE49-F238E27FC236}">
                  <a16:creationId xmlns:a16="http://schemas.microsoft.com/office/drawing/2014/main" id="{80F668CE-20CA-4693-929A-74DA012DEE6D}"/>
                </a:ext>
              </a:extLst>
            </p:cNvPr>
            <p:cNvSpPr>
              <a:spLocks/>
            </p:cNvSpPr>
            <p:nvPr/>
          </p:nvSpPr>
          <p:spPr bwMode="gray">
            <a:xfrm>
              <a:off x="4682871" y="2894721"/>
              <a:ext cx="65857" cy="50177"/>
            </a:xfrm>
            <a:custGeom>
              <a:avLst/>
              <a:gdLst>
                <a:gd name="T0" fmla="*/ 2147483647 w 162"/>
                <a:gd name="T1" fmla="*/ 2147483647 h 126"/>
                <a:gd name="T2" fmla="*/ 2147483647 w 162"/>
                <a:gd name="T3" fmla="*/ 2147483647 h 126"/>
                <a:gd name="T4" fmla="*/ 2147483647 w 162"/>
                <a:gd name="T5" fmla="*/ 2147483647 h 126"/>
                <a:gd name="T6" fmla="*/ 2147483647 w 162"/>
                <a:gd name="T7" fmla="*/ 2147483647 h 126"/>
                <a:gd name="T8" fmla="*/ 2147483647 w 162"/>
                <a:gd name="T9" fmla="*/ 0 h 126"/>
                <a:gd name="T10" fmla="*/ 2147483647 w 162"/>
                <a:gd name="T11" fmla="*/ 2147483647 h 126"/>
                <a:gd name="T12" fmla="*/ 2147483647 w 162"/>
                <a:gd name="T13" fmla="*/ 2147483647 h 126"/>
                <a:gd name="T14" fmla="*/ 2147483647 w 162"/>
                <a:gd name="T15" fmla="*/ 2147483647 h 126"/>
                <a:gd name="T16" fmla="*/ 2147483647 w 162"/>
                <a:gd name="T17" fmla="*/ 2147483647 h 126"/>
                <a:gd name="T18" fmla="*/ 2147483647 w 162"/>
                <a:gd name="T19" fmla="*/ 2147483647 h 126"/>
                <a:gd name="T20" fmla="*/ 2147483647 w 162"/>
                <a:gd name="T21" fmla="*/ 2147483647 h 126"/>
                <a:gd name="T22" fmla="*/ 0 w 162"/>
                <a:gd name="T23" fmla="*/ 2147483647 h 126"/>
                <a:gd name="T24" fmla="*/ 0 w 162"/>
                <a:gd name="T25" fmla="*/ 2147483647 h 126"/>
                <a:gd name="T26" fmla="*/ 2147483647 w 162"/>
                <a:gd name="T27" fmla="*/ 2147483647 h 126"/>
                <a:gd name="T28" fmla="*/ 2147483647 w 162"/>
                <a:gd name="T29" fmla="*/ 2147483647 h 126"/>
                <a:gd name="T30" fmla="*/ 2147483647 w 162"/>
                <a:gd name="T31" fmla="*/ 2147483647 h 126"/>
                <a:gd name="T32" fmla="*/ 2147483647 w 162"/>
                <a:gd name="T33" fmla="*/ 2147483647 h 126"/>
                <a:gd name="T34" fmla="*/ 2147483647 w 162"/>
                <a:gd name="T35" fmla="*/ 2147483647 h 126"/>
                <a:gd name="T36" fmla="*/ 2147483647 w 162"/>
                <a:gd name="T37" fmla="*/ 2147483647 h 126"/>
                <a:gd name="T38" fmla="*/ 2147483647 w 162"/>
                <a:gd name="T39" fmla="*/ 2147483647 h 126"/>
                <a:gd name="T40" fmla="*/ 2147483647 w 162"/>
                <a:gd name="T41" fmla="*/ 2147483647 h 126"/>
                <a:gd name="T42" fmla="*/ 2147483647 w 162"/>
                <a:gd name="T43" fmla="*/ 2147483647 h 126"/>
                <a:gd name="T44" fmla="*/ 2147483647 w 162"/>
                <a:gd name="T45" fmla="*/ 2147483647 h 126"/>
                <a:gd name="T46" fmla="*/ 2147483647 w 162"/>
                <a:gd name="T47" fmla="*/ 2147483647 h 126"/>
                <a:gd name="T48" fmla="*/ 2147483647 w 162"/>
                <a:gd name="T49" fmla="*/ 2147483647 h 126"/>
                <a:gd name="T50" fmla="*/ 2147483647 w 162"/>
                <a:gd name="T51" fmla="*/ 2147483647 h 126"/>
                <a:gd name="T52" fmla="*/ 2147483647 w 162"/>
                <a:gd name="T53" fmla="*/ 2147483647 h 126"/>
                <a:gd name="T54" fmla="*/ 2147483647 w 162"/>
                <a:gd name="T55" fmla="*/ 2147483647 h 126"/>
                <a:gd name="T56" fmla="*/ 2147483647 w 162"/>
                <a:gd name="T57" fmla="*/ 2147483647 h 126"/>
                <a:gd name="T58" fmla="*/ 2147483647 w 162"/>
                <a:gd name="T59" fmla="*/ 2147483647 h 126"/>
                <a:gd name="T60" fmla="*/ 2147483647 w 162"/>
                <a:gd name="T61" fmla="*/ 2147483647 h 126"/>
                <a:gd name="T62" fmla="*/ 2147483647 w 162"/>
                <a:gd name="T63" fmla="*/ 2147483647 h 126"/>
                <a:gd name="T64" fmla="*/ 2147483647 w 162"/>
                <a:gd name="T65" fmla="*/ 2147483647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126"/>
                <a:gd name="T101" fmla="*/ 162 w 162"/>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126">
                  <a:moveTo>
                    <a:pt x="150" y="42"/>
                  </a:moveTo>
                  <a:lnTo>
                    <a:pt x="132" y="30"/>
                  </a:lnTo>
                  <a:lnTo>
                    <a:pt x="132" y="18"/>
                  </a:lnTo>
                  <a:lnTo>
                    <a:pt x="126" y="18"/>
                  </a:lnTo>
                  <a:lnTo>
                    <a:pt x="114" y="0"/>
                  </a:lnTo>
                  <a:lnTo>
                    <a:pt x="72" y="6"/>
                  </a:lnTo>
                  <a:lnTo>
                    <a:pt x="66" y="12"/>
                  </a:lnTo>
                  <a:lnTo>
                    <a:pt x="48" y="12"/>
                  </a:lnTo>
                  <a:lnTo>
                    <a:pt x="48" y="24"/>
                  </a:lnTo>
                  <a:lnTo>
                    <a:pt x="24" y="24"/>
                  </a:lnTo>
                  <a:lnTo>
                    <a:pt x="18" y="36"/>
                  </a:lnTo>
                  <a:lnTo>
                    <a:pt x="0" y="42"/>
                  </a:lnTo>
                  <a:lnTo>
                    <a:pt x="0" y="66"/>
                  </a:lnTo>
                  <a:lnTo>
                    <a:pt x="6" y="78"/>
                  </a:lnTo>
                  <a:lnTo>
                    <a:pt x="6" y="102"/>
                  </a:lnTo>
                  <a:lnTo>
                    <a:pt x="12" y="108"/>
                  </a:lnTo>
                  <a:lnTo>
                    <a:pt x="18" y="108"/>
                  </a:lnTo>
                  <a:lnTo>
                    <a:pt x="18" y="126"/>
                  </a:lnTo>
                  <a:lnTo>
                    <a:pt x="42" y="120"/>
                  </a:lnTo>
                  <a:lnTo>
                    <a:pt x="42" y="126"/>
                  </a:lnTo>
                  <a:lnTo>
                    <a:pt x="54" y="120"/>
                  </a:lnTo>
                  <a:lnTo>
                    <a:pt x="60" y="120"/>
                  </a:lnTo>
                  <a:lnTo>
                    <a:pt x="66" y="126"/>
                  </a:lnTo>
                  <a:lnTo>
                    <a:pt x="90" y="126"/>
                  </a:lnTo>
                  <a:lnTo>
                    <a:pt x="96" y="114"/>
                  </a:lnTo>
                  <a:lnTo>
                    <a:pt x="96" y="108"/>
                  </a:lnTo>
                  <a:lnTo>
                    <a:pt x="120" y="108"/>
                  </a:lnTo>
                  <a:lnTo>
                    <a:pt x="132" y="102"/>
                  </a:lnTo>
                  <a:lnTo>
                    <a:pt x="156" y="78"/>
                  </a:lnTo>
                  <a:lnTo>
                    <a:pt x="162" y="66"/>
                  </a:lnTo>
                  <a:lnTo>
                    <a:pt x="162" y="60"/>
                  </a:lnTo>
                  <a:lnTo>
                    <a:pt x="156" y="48"/>
                  </a:lnTo>
                  <a:lnTo>
                    <a:pt x="150" y="4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06" name="MexiKo" descr="© INSCALE GmbH, 05.05.2010&#10;http://www.presentationload.com/">
              <a:extLst>
                <a:ext uri="{FF2B5EF4-FFF2-40B4-BE49-F238E27FC236}">
                  <a16:creationId xmlns:a16="http://schemas.microsoft.com/office/drawing/2014/main" id="{50DDC28C-F5ED-40B1-9CF2-9C69FEDB59B1}"/>
                </a:ext>
              </a:extLst>
            </p:cNvPr>
            <p:cNvSpPr>
              <a:spLocks/>
            </p:cNvSpPr>
            <p:nvPr/>
          </p:nvSpPr>
          <p:spPr bwMode="gray">
            <a:xfrm>
              <a:off x="985473" y="3206758"/>
              <a:ext cx="740107" cy="580169"/>
            </a:xfrm>
            <a:custGeom>
              <a:avLst/>
              <a:gdLst>
                <a:gd name="T0" fmla="*/ 2147483647 w 1860"/>
                <a:gd name="T1" fmla="*/ 2147483647 h 1458"/>
                <a:gd name="T2" fmla="*/ 2147483647 w 1860"/>
                <a:gd name="T3" fmla="*/ 2147483647 h 1458"/>
                <a:gd name="T4" fmla="*/ 2147483647 w 1860"/>
                <a:gd name="T5" fmla="*/ 2147483647 h 1458"/>
                <a:gd name="T6" fmla="*/ 2147483647 w 1860"/>
                <a:gd name="T7" fmla="*/ 2147483647 h 1458"/>
                <a:gd name="T8" fmla="*/ 2147483647 w 1860"/>
                <a:gd name="T9" fmla="*/ 2147483647 h 1458"/>
                <a:gd name="T10" fmla="*/ 2147483647 w 1860"/>
                <a:gd name="T11" fmla="*/ 2147483647 h 1458"/>
                <a:gd name="T12" fmla="*/ 2147483647 w 1860"/>
                <a:gd name="T13" fmla="*/ 2147483647 h 1458"/>
                <a:gd name="T14" fmla="*/ 2147483647 w 1860"/>
                <a:gd name="T15" fmla="*/ 2147483647 h 1458"/>
                <a:gd name="T16" fmla="*/ 2147483647 w 1860"/>
                <a:gd name="T17" fmla="*/ 2147483647 h 1458"/>
                <a:gd name="T18" fmla="*/ 2147483647 w 1860"/>
                <a:gd name="T19" fmla="*/ 2147483647 h 1458"/>
                <a:gd name="T20" fmla="*/ 2147483647 w 1860"/>
                <a:gd name="T21" fmla="*/ 2147483647 h 1458"/>
                <a:gd name="T22" fmla="*/ 2147483647 w 1860"/>
                <a:gd name="T23" fmla="*/ 2147483647 h 1458"/>
                <a:gd name="T24" fmla="*/ 2147483647 w 1860"/>
                <a:gd name="T25" fmla="*/ 2147483647 h 1458"/>
                <a:gd name="T26" fmla="*/ 2147483647 w 1860"/>
                <a:gd name="T27" fmla="*/ 2147483647 h 1458"/>
                <a:gd name="T28" fmla="*/ 2147483647 w 1860"/>
                <a:gd name="T29" fmla="*/ 2147483647 h 1458"/>
                <a:gd name="T30" fmla="*/ 2147483647 w 1860"/>
                <a:gd name="T31" fmla="*/ 2147483647 h 1458"/>
                <a:gd name="T32" fmla="*/ 2147483647 w 1860"/>
                <a:gd name="T33" fmla="*/ 2147483647 h 1458"/>
                <a:gd name="T34" fmla="*/ 2147483647 w 1860"/>
                <a:gd name="T35" fmla="*/ 2147483647 h 1458"/>
                <a:gd name="T36" fmla="*/ 2147483647 w 1860"/>
                <a:gd name="T37" fmla="*/ 2147483647 h 1458"/>
                <a:gd name="T38" fmla="*/ 2147483647 w 1860"/>
                <a:gd name="T39" fmla="*/ 2147483647 h 1458"/>
                <a:gd name="T40" fmla="*/ 2147483647 w 1860"/>
                <a:gd name="T41" fmla="*/ 2147483647 h 1458"/>
                <a:gd name="T42" fmla="*/ 2147483647 w 1860"/>
                <a:gd name="T43" fmla="*/ 2147483647 h 1458"/>
                <a:gd name="T44" fmla="*/ 2147483647 w 1860"/>
                <a:gd name="T45" fmla="*/ 2147483647 h 1458"/>
                <a:gd name="T46" fmla="*/ 2147483647 w 1860"/>
                <a:gd name="T47" fmla="*/ 2147483647 h 1458"/>
                <a:gd name="T48" fmla="*/ 2147483647 w 1860"/>
                <a:gd name="T49" fmla="*/ 2147483647 h 1458"/>
                <a:gd name="T50" fmla="*/ 2147483647 w 1860"/>
                <a:gd name="T51" fmla="*/ 2147483647 h 1458"/>
                <a:gd name="T52" fmla="*/ 2147483647 w 1860"/>
                <a:gd name="T53" fmla="*/ 2147483647 h 1458"/>
                <a:gd name="T54" fmla="*/ 2147483647 w 1860"/>
                <a:gd name="T55" fmla="*/ 2147483647 h 1458"/>
                <a:gd name="T56" fmla="*/ 0 w 1860"/>
                <a:gd name="T57" fmla="*/ 2147483647 h 1458"/>
                <a:gd name="T58" fmla="*/ 2147483647 w 1860"/>
                <a:gd name="T59" fmla="*/ 2147483647 h 1458"/>
                <a:gd name="T60" fmla="*/ 2147483647 w 1860"/>
                <a:gd name="T61" fmla="*/ 2147483647 h 1458"/>
                <a:gd name="T62" fmla="*/ 2147483647 w 1860"/>
                <a:gd name="T63" fmla="*/ 2147483647 h 1458"/>
                <a:gd name="T64" fmla="*/ 2147483647 w 1860"/>
                <a:gd name="T65" fmla="*/ 2147483647 h 1458"/>
                <a:gd name="T66" fmla="*/ 2147483647 w 1860"/>
                <a:gd name="T67" fmla="*/ 2147483647 h 1458"/>
                <a:gd name="T68" fmla="*/ 2147483647 w 1860"/>
                <a:gd name="T69" fmla="*/ 2147483647 h 1458"/>
                <a:gd name="T70" fmla="*/ 2147483647 w 1860"/>
                <a:gd name="T71" fmla="*/ 2147483647 h 1458"/>
                <a:gd name="T72" fmla="*/ 2147483647 w 1860"/>
                <a:gd name="T73" fmla="*/ 2147483647 h 1458"/>
                <a:gd name="T74" fmla="*/ 2147483647 w 1860"/>
                <a:gd name="T75" fmla="*/ 2147483647 h 1458"/>
                <a:gd name="T76" fmla="*/ 2147483647 w 1860"/>
                <a:gd name="T77" fmla="*/ 2147483647 h 1458"/>
                <a:gd name="T78" fmla="*/ 2147483647 w 1860"/>
                <a:gd name="T79" fmla="*/ 2147483647 h 1458"/>
                <a:gd name="T80" fmla="*/ 2147483647 w 1860"/>
                <a:gd name="T81" fmla="*/ 2147483647 h 1458"/>
                <a:gd name="T82" fmla="*/ 2147483647 w 1860"/>
                <a:gd name="T83" fmla="*/ 2147483647 h 1458"/>
                <a:gd name="T84" fmla="*/ 2147483647 w 1860"/>
                <a:gd name="T85" fmla="*/ 2147483647 h 1458"/>
                <a:gd name="T86" fmla="*/ 2147483647 w 1860"/>
                <a:gd name="T87" fmla="*/ 2147483647 h 1458"/>
                <a:gd name="T88" fmla="*/ 2147483647 w 1860"/>
                <a:gd name="T89" fmla="*/ 2147483647 h 1458"/>
                <a:gd name="T90" fmla="*/ 2147483647 w 1860"/>
                <a:gd name="T91" fmla="*/ 2147483647 h 1458"/>
                <a:gd name="T92" fmla="*/ 2147483647 w 1860"/>
                <a:gd name="T93" fmla="*/ 2147483647 h 1458"/>
                <a:gd name="T94" fmla="*/ 2147483647 w 1860"/>
                <a:gd name="T95" fmla="*/ 2147483647 h 1458"/>
                <a:gd name="T96" fmla="*/ 2147483647 w 1860"/>
                <a:gd name="T97" fmla="*/ 2147483647 h 1458"/>
                <a:gd name="T98" fmla="*/ 2147483647 w 1860"/>
                <a:gd name="T99" fmla="*/ 2147483647 h 1458"/>
                <a:gd name="T100" fmla="*/ 2147483647 w 1860"/>
                <a:gd name="T101" fmla="*/ 2147483647 h 1458"/>
                <a:gd name="T102" fmla="*/ 2147483647 w 1860"/>
                <a:gd name="T103" fmla="*/ 2147483647 h 1458"/>
                <a:gd name="T104" fmla="*/ 2147483647 w 1860"/>
                <a:gd name="T105" fmla="*/ 2147483647 h 1458"/>
                <a:gd name="T106" fmla="*/ 2147483647 w 1860"/>
                <a:gd name="T107" fmla="*/ 2147483647 h 1458"/>
                <a:gd name="T108" fmla="*/ 2147483647 w 1860"/>
                <a:gd name="T109" fmla="*/ 2147483647 h 1458"/>
                <a:gd name="T110" fmla="*/ 2147483647 w 1860"/>
                <a:gd name="T111" fmla="*/ 2147483647 h 1458"/>
                <a:gd name="T112" fmla="*/ 2147483647 w 1860"/>
                <a:gd name="T113" fmla="*/ 2147483647 h 1458"/>
                <a:gd name="T114" fmla="*/ 2147483647 w 1860"/>
                <a:gd name="T115" fmla="*/ 2147483647 h 1458"/>
                <a:gd name="T116" fmla="*/ 2147483647 w 1860"/>
                <a:gd name="T117" fmla="*/ 2147483647 h 1458"/>
                <a:gd name="T118" fmla="*/ 2147483647 w 1860"/>
                <a:gd name="T119" fmla="*/ 2147483647 h 1458"/>
                <a:gd name="T120" fmla="*/ 2147483647 w 1860"/>
                <a:gd name="T121" fmla="*/ 2147483647 h 145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0"/>
                <a:gd name="T184" fmla="*/ 0 h 1458"/>
                <a:gd name="T185" fmla="*/ 1860 w 1860"/>
                <a:gd name="T186" fmla="*/ 1458 h 145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0" h="1458">
                  <a:moveTo>
                    <a:pt x="1422" y="1440"/>
                  </a:moveTo>
                  <a:lnTo>
                    <a:pt x="1422" y="1380"/>
                  </a:lnTo>
                  <a:lnTo>
                    <a:pt x="1452" y="1332"/>
                  </a:lnTo>
                  <a:lnTo>
                    <a:pt x="1542" y="1338"/>
                  </a:lnTo>
                  <a:lnTo>
                    <a:pt x="1542" y="1320"/>
                  </a:lnTo>
                  <a:lnTo>
                    <a:pt x="1548" y="1320"/>
                  </a:lnTo>
                  <a:lnTo>
                    <a:pt x="1554" y="1314"/>
                  </a:lnTo>
                  <a:lnTo>
                    <a:pt x="1554" y="1302"/>
                  </a:lnTo>
                  <a:lnTo>
                    <a:pt x="1536" y="1302"/>
                  </a:lnTo>
                  <a:lnTo>
                    <a:pt x="1530" y="1278"/>
                  </a:lnTo>
                  <a:lnTo>
                    <a:pt x="1524" y="1278"/>
                  </a:lnTo>
                  <a:lnTo>
                    <a:pt x="1512" y="1272"/>
                  </a:lnTo>
                  <a:lnTo>
                    <a:pt x="1506" y="1272"/>
                  </a:lnTo>
                  <a:lnTo>
                    <a:pt x="1500" y="1266"/>
                  </a:lnTo>
                  <a:lnTo>
                    <a:pt x="1494" y="1254"/>
                  </a:lnTo>
                  <a:lnTo>
                    <a:pt x="1494" y="1248"/>
                  </a:lnTo>
                  <a:lnTo>
                    <a:pt x="1482" y="1242"/>
                  </a:lnTo>
                  <a:lnTo>
                    <a:pt x="1506" y="1242"/>
                  </a:lnTo>
                  <a:lnTo>
                    <a:pt x="1518" y="1236"/>
                  </a:lnTo>
                  <a:lnTo>
                    <a:pt x="1524" y="1236"/>
                  </a:lnTo>
                  <a:lnTo>
                    <a:pt x="1524" y="1212"/>
                  </a:lnTo>
                  <a:lnTo>
                    <a:pt x="1518" y="1200"/>
                  </a:lnTo>
                  <a:lnTo>
                    <a:pt x="1518" y="1188"/>
                  </a:lnTo>
                  <a:lnTo>
                    <a:pt x="1650" y="1194"/>
                  </a:lnTo>
                  <a:lnTo>
                    <a:pt x="1656" y="1182"/>
                  </a:lnTo>
                  <a:lnTo>
                    <a:pt x="1656" y="1176"/>
                  </a:lnTo>
                  <a:lnTo>
                    <a:pt x="1662" y="1176"/>
                  </a:lnTo>
                  <a:lnTo>
                    <a:pt x="1668" y="1182"/>
                  </a:lnTo>
                  <a:lnTo>
                    <a:pt x="1668" y="1188"/>
                  </a:lnTo>
                  <a:lnTo>
                    <a:pt x="1674" y="1188"/>
                  </a:lnTo>
                  <a:lnTo>
                    <a:pt x="1680" y="1182"/>
                  </a:lnTo>
                  <a:lnTo>
                    <a:pt x="1692" y="1176"/>
                  </a:lnTo>
                  <a:lnTo>
                    <a:pt x="1698" y="1164"/>
                  </a:lnTo>
                  <a:lnTo>
                    <a:pt x="1698" y="1152"/>
                  </a:lnTo>
                  <a:lnTo>
                    <a:pt x="1704" y="1146"/>
                  </a:lnTo>
                  <a:lnTo>
                    <a:pt x="1704" y="1140"/>
                  </a:lnTo>
                  <a:lnTo>
                    <a:pt x="1710" y="1152"/>
                  </a:lnTo>
                  <a:lnTo>
                    <a:pt x="1746" y="1116"/>
                  </a:lnTo>
                  <a:lnTo>
                    <a:pt x="1746" y="1122"/>
                  </a:lnTo>
                  <a:lnTo>
                    <a:pt x="1740" y="1128"/>
                  </a:lnTo>
                  <a:lnTo>
                    <a:pt x="1740" y="1146"/>
                  </a:lnTo>
                  <a:lnTo>
                    <a:pt x="1746" y="1152"/>
                  </a:lnTo>
                  <a:lnTo>
                    <a:pt x="1758" y="1152"/>
                  </a:lnTo>
                  <a:lnTo>
                    <a:pt x="1782" y="1086"/>
                  </a:lnTo>
                  <a:lnTo>
                    <a:pt x="1770" y="1074"/>
                  </a:lnTo>
                  <a:lnTo>
                    <a:pt x="1794" y="1068"/>
                  </a:lnTo>
                  <a:lnTo>
                    <a:pt x="1794" y="1056"/>
                  </a:lnTo>
                  <a:lnTo>
                    <a:pt x="1776" y="1050"/>
                  </a:lnTo>
                  <a:lnTo>
                    <a:pt x="1794" y="1032"/>
                  </a:lnTo>
                  <a:lnTo>
                    <a:pt x="1800" y="1008"/>
                  </a:lnTo>
                  <a:lnTo>
                    <a:pt x="1806" y="996"/>
                  </a:lnTo>
                  <a:lnTo>
                    <a:pt x="1818" y="990"/>
                  </a:lnTo>
                  <a:lnTo>
                    <a:pt x="1824" y="978"/>
                  </a:lnTo>
                  <a:lnTo>
                    <a:pt x="1836" y="966"/>
                  </a:lnTo>
                  <a:lnTo>
                    <a:pt x="1842" y="954"/>
                  </a:lnTo>
                  <a:lnTo>
                    <a:pt x="1848" y="948"/>
                  </a:lnTo>
                  <a:lnTo>
                    <a:pt x="1854" y="936"/>
                  </a:lnTo>
                  <a:lnTo>
                    <a:pt x="1854" y="930"/>
                  </a:lnTo>
                  <a:lnTo>
                    <a:pt x="1860" y="918"/>
                  </a:lnTo>
                  <a:lnTo>
                    <a:pt x="1860" y="900"/>
                  </a:lnTo>
                  <a:lnTo>
                    <a:pt x="1854" y="894"/>
                  </a:lnTo>
                  <a:lnTo>
                    <a:pt x="1818" y="894"/>
                  </a:lnTo>
                  <a:lnTo>
                    <a:pt x="1812" y="900"/>
                  </a:lnTo>
                  <a:lnTo>
                    <a:pt x="1800" y="900"/>
                  </a:lnTo>
                  <a:lnTo>
                    <a:pt x="1794" y="894"/>
                  </a:lnTo>
                  <a:lnTo>
                    <a:pt x="1782" y="894"/>
                  </a:lnTo>
                  <a:lnTo>
                    <a:pt x="1770" y="888"/>
                  </a:lnTo>
                  <a:lnTo>
                    <a:pt x="1746" y="888"/>
                  </a:lnTo>
                  <a:lnTo>
                    <a:pt x="1734" y="894"/>
                  </a:lnTo>
                  <a:lnTo>
                    <a:pt x="1716" y="900"/>
                  </a:lnTo>
                  <a:lnTo>
                    <a:pt x="1698" y="900"/>
                  </a:lnTo>
                  <a:lnTo>
                    <a:pt x="1686" y="906"/>
                  </a:lnTo>
                  <a:lnTo>
                    <a:pt x="1668" y="906"/>
                  </a:lnTo>
                  <a:lnTo>
                    <a:pt x="1656" y="912"/>
                  </a:lnTo>
                  <a:lnTo>
                    <a:pt x="1626" y="912"/>
                  </a:lnTo>
                  <a:lnTo>
                    <a:pt x="1614" y="918"/>
                  </a:lnTo>
                  <a:lnTo>
                    <a:pt x="1608" y="924"/>
                  </a:lnTo>
                  <a:lnTo>
                    <a:pt x="1596" y="948"/>
                  </a:lnTo>
                  <a:lnTo>
                    <a:pt x="1590" y="966"/>
                  </a:lnTo>
                  <a:lnTo>
                    <a:pt x="1590" y="1026"/>
                  </a:lnTo>
                  <a:lnTo>
                    <a:pt x="1572" y="1032"/>
                  </a:lnTo>
                  <a:lnTo>
                    <a:pt x="1572" y="1062"/>
                  </a:lnTo>
                  <a:lnTo>
                    <a:pt x="1566" y="1074"/>
                  </a:lnTo>
                  <a:lnTo>
                    <a:pt x="1542" y="1086"/>
                  </a:lnTo>
                  <a:lnTo>
                    <a:pt x="1524" y="1098"/>
                  </a:lnTo>
                  <a:lnTo>
                    <a:pt x="1512" y="1110"/>
                  </a:lnTo>
                  <a:lnTo>
                    <a:pt x="1512" y="1122"/>
                  </a:lnTo>
                  <a:lnTo>
                    <a:pt x="1506" y="1128"/>
                  </a:lnTo>
                  <a:lnTo>
                    <a:pt x="1506" y="1140"/>
                  </a:lnTo>
                  <a:lnTo>
                    <a:pt x="1500" y="1146"/>
                  </a:lnTo>
                  <a:lnTo>
                    <a:pt x="1488" y="1146"/>
                  </a:lnTo>
                  <a:lnTo>
                    <a:pt x="1476" y="1134"/>
                  </a:lnTo>
                  <a:lnTo>
                    <a:pt x="1476" y="1128"/>
                  </a:lnTo>
                  <a:lnTo>
                    <a:pt x="1470" y="1122"/>
                  </a:lnTo>
                  <a:lnTo>
                    <a:pt x="1440" y="1122"/>
                  </a:lnTo>
                  <a:lnTo>
                    <a:pt x="1416" y="1128"/>
                  </a:lnTo>
                  <a:lnTo>
                    <a:pt x="1392" y="1140"/>
                  </a:lnTo>
                  <a:lnTo>
                    <a:pt x="1356" y="1140"/>
                  </a:lnTo>
                  <a:lnTo>
                    <a:pt x="1338" y="1146"/>
                  </a:lnTo>
                  <a:lnTo>
                    <a:pt x="1290" y="1170"/>
                  </a:lnTo>
                  <a:lnTo>
                    <a:pt x="1284" y="1170"/>
                  </a:lnTo>
                  <a:lnTo>
                    <a:pt x="1272" y="1158"/>
                  </a:lnTo>
                  <a:lnTo>
                    <a:pt x="1266" y="1146"/>
                  </a:lnTo>
                  <a:lnTo>
                    <a:pt x="1266" y="1140"/>
                  </a:lnTo>
                  <a:lnTo>
                    <a:pt x="1260" y="1128"/>
                  </a:lnTo>
                  <a:lnTo>
                    <a:pt x="1242" y="1128"/>
                  </a:lnTo>
                  <a:lnTo>
                    <a:pt x="1224" y="1122"/>
                  </a:lnTo>
                  <a:lnTo>
                    <a:pt x="1194" y="1122"/>
                  </a:lnTo>
                  <a:lnTo>
                    <a:pt x="1194" y="1104"/>
                  </a:lnTo>
                  <a:lnTo>
                    <a:pt x="1188" y="1092"/>
                  </a:lnTo>
                  <a:lnTo>
                    <a:pt x="1176" y="1080"/>
                  </a:lnTo>
                  <a:lnTo>
                    <a:pt x="1170" y="1068"/>
                  </a:lnTo>
                  <a:lnTo>
                    <a:pt x="1164" y="1062"/>
                  </a:lnTo>
                  <a:lnTo>
                    <a:pt x="1164" y="1026"/>
                  </a:lnTo>
                  <a:lnTo>
                    <a:pt x="1128" y="966"/>
                  </a:lnTo>
                  <a:lnTo>
                    <a:pt x="1122" y="924"/>
                  </a:lnTo>
                  <a:lnTo>
                    <a:pt x="1110" y="894"/>
                  </a:lnTo>
                  <a:lnTo>
                    <a:pt x="1104" y="804"/>
                  </a:lnTo>
                  <a:lnTo>
                    <a:pt x="1110" y="798"/>
                  </a:lnTo>
                  <a:lnTo>
                    <a:pt x="1122" y="774"/>
                  </a:lnTo>
                  <a:lnTo>
                    <a:pt x="1128" y="768"/>
                  </a:lnTo>
                  <a:lnTo>
                    <a:pt x="1128" y="654"/>
                  </a:lnTo>
                  <a:lnTo>
                    <a:pt x="1152" y="648"/>
                  </a:lnTo>
                  <a:lnTo>
                    <a:pt x="1152" y="612"/>
                  </a:lnTo>
                  <a:lnTo>
                    <a:pt x="1158" y="600"/>
                  </a:lnTo>
                  <a:lnTo>
                    <a:pt x="1158" y="594"/>
                  </a:lnTo>
                  <a:lnTo>
                    <a:pt x="1164" y="588"/>
                  </a:lnTo>
                  <a:lnTo>
                    <a:pt x="1176" y="588"/>
                  </a:lnTo>
                  <a:lnTo>
                    <a:pt x="1182" y="594"/>
                  </a:lnTo>
                  <a:lnTo>
                    <a:pt x="1188" y="594"/>
                  </a:lnTo>
                  <a:lnTo>
                    <a:pt x="1188" y="588"/>
                  </a:lnTo>
                  <a:lnTo>
                    <a:pt x="1194" y="576"/>
                  </a:lnTo>
                  <a:lnTo>
                    <a:pt x="1194" y="564"/>
                  </a:lnTo>
                  <a:lnTo>
                    <a:pt x="1200" y="558"/>
                  </a:lnTo>
                  <a:lnTo>
                    <a:pt x="1206" y="546"/>
                  </a:lnTo>
                  <a:lnTo>
                    <a:pt x="1206" y="540"/>
                  </a:lnTo>
                  <a:lnTo>
                    <a:pt x="1206" y="546"/>
                  </a:lnTo>
                  <a:lnTo>
                    <a:pt x="1182" y="546"/>
                  </a:lnTo>
                  <a:lnTo>
                    <a:pt x="1176" y="534"/>
                  </a:lnTo>
                  <a:lnTo>
                    <a:pt x="1176" y="528"/>
                  </a:lnTo>
                  <a:lnTo>
                    <a:pt x="1134" y="528"/>
                  </a:lnTo>
                  <a:lnTo>
                    <a:pt x="1122" y="516"/>
                  </a:lnTo>
                  <a:lnTo>
                    <a:pt x="1110" y="516"/>
                  </a:lnTo>
                  <a:lnTo>
                    <a:pt x="1092" y="510"/>
                  </a:lnTo>
                  <a:lnTo>
                    <a:pt x="1080" y="498"/>
                  </a:lnTo>
                  <a:lnTo>
                    <a:pt x="1080" y="468"/>
                  </a:lnTo>
                  <a:lnTo>
                    <a:pt x="1068" y="456"/>
                  </a:lnTo>
                  <a:lnTo>
                    <a:pt x="1068" y="420"/>
                  </a:lnTo>
                  <a:lnTo>
                    <a:pt x="1074" y="420"/>
                  </a:lnTo>
                  <a:lnTo>
                    <a:pt x="1080" y="414"/>
                  </a:lnTo>
                  <a:lnTo>
                    <a:pt x="1080" y="408"/>
                  </a:lnTo>
                  <a:lnTo>
                    <a:pt x="1068" y="396"/>
                  </a:lnTo>
                  <a:lnTo>
                    <a:pt x="1056" y="390"/>
                  </a:lnTo>
                  <a:lnTo>
                    <a:pt x="1050" y="384"/>
                  </a:lnTo>
                  <a:lnTo>
                    <a:pt x="1050" y="360"/>
                  </a:lnTo>
                  <a:lnTo>
                    <a:pt x="1038" y="354"/>
                  </a:lnTo>
                  <a:lnTo>
                    <a:pt x="1032" y="342"/>
                  </a:lnTo>
                  <a:lnTo>
                    <a:pt x="1032" y="330"/>
                  </a:lnTo>
                  <a:lnTo>
                    <a:pt x="1038" y="318"/>
                  </a:lnTo>
                  <a:lnTo>
                    <a:pt x="1038" y="294"/>
                  </a:lnTo>
                  <a:lnTo>
                    <a:pt x="1026" y="282"/>
                  </a:lnTo>
                  <a:lnTo>
                    <a:pt x="1020" y="270"/>
                  </a:lnTo>
                  <a:lnTo>
                    <a:pt x="1008" y="258"/>
                  </a:lnTo>
                  <a:lnTo>
                    <a:pt x="1002" y="246"/>
                  </a:lnTo>
                  <a:lnTo>
                    <a:pt x="996" y="240"/>
                  </a:lnTo>
                  <a:lnTo>
                    <a:pt x="990" y="228"/>
                  </a:lnTo>
                  <a:lnTo>
                    <a:pt x="948" y="228"/>
                  </a:lnTo>
                  <a:lnTo>
                    <a:pt x="930" y="222"/>
                  </a:lnTo>
                  <a:lnTo>
                    <a:pt x="930" y="228"/>
                  </a:lnTo>
                  <a:lnTo>
                    <a:pt x="912" y="228"/>
                  </a:lnTo>
                  <a:lnTo>
                    <a:pt x="900" y="240"/>
                  </a:lnTo>
                  <a:lnTo>
                    <a:pt x="888" y="264"/>
                  </a:lnTo>
                  <a:lnTo>
                    <a:pt x="876" y="276"/>
                  </a:lnTo>
                  <a:lnTo>
                    <a:pt x="852" y="288"/>
                  </a:lnTo>
                  <a:lnTo>
                    <a:pt x="840" y="288"/>
                  </a:lnTo>
                  <a:lnTo>
                    <a:pt x="822" y="276"/>
                  </a:lnTo>
                  <a:lnTo>
                    <a:pt x="810" y="270"/>
                  </a:lnTo>
                  <a:lnTo>
                    <a:pt x="780" y="240"/>
                  </a:lnTo>
                  <a:lnTo>
                    <a:pt x="780" y="228"/>
                  </a:lnTo>
                  <a:lnTo>
                    <a:pt x="786" y="216"/>
                  </a:lnTo>
                  <a:lnTo>
                    <a:pt x="786" y="174"/>
                  </a:lnTo>
                  <a:lnTo>
                    <a:pt x="780" y="162"/>
                  </a:lnTo>
                  <a:lnTo>
                    <a:pt x="768" y="150"/>
                  </a:lnTo>
                  <a:lnTo>
                    <a:pt x="756" y="144"/>
                  </a:lnTo>
                  <a:lnTo>
                    <a:pt x="744" y="144"/>
                  </a:lnTo>
                  <a:lnTo>
                    <a:pt x="738" y="114"/>
                  </a:lnTo>
                  <a:lnTo>
                    <a:pt x="708" y="102"/>
                  </a:lnTo>
                  <a:lnTo>
                    <a:pt x="708" y="78"/>
                  </a:lnTo>
                  <a:lnTo>
                    <a:pt x="696" y="66"/>
                  </a:lnTo>
                  <a:lnTo>
                    <a:pt x="582" y="66"/>
                  </a:lnTo>
                  <a:lnTo>
                    <a:pt x="576" y="72"/>
                  </a:lnTo>
                  <a:lnTo>
                    <a:pt x="576" y="90"/>
                  </a:lnTo>
                  <a:lnTo>
                    <a:pt x="570" y="102"/>
                  </a:lnTo>
                  <a:lnTo>
                    <a:pt x="570" y="108"/>
                  </a:lnTo>
                  <a:lnTo>
                    <a:pt x="366" y="108"/>
                  </a:lnTo>
                  <a:lnTo>
                    <a:pt x="156" y="12"/>
                  </a:lnTo>
                  <a:lnTo>
                    <a:pt x="150" y="12"/>
                  </a:lnTo>
                  <a:lnTo>
                    <a:pt x="150" y="6"/>
                  </a:lnTo>
                  <a:lnTo>
                    <a:pt x="156" y="0"/>
                  </a:lnTo>
                  <a:lnTo>
                    <a:pt x="12" y="6"/>
                  </a:lnTo>
                  <a:lnTo>
                    <a:pt x="6" y="0"/>
                  </a:lnTo>
                  <a:lnTo>
                    <a:pt x="0" y="18"/>
                  </a:lnTo>
                  <a:lnTo>
                    <a:pt x="0" y="48"/>
                  </a:lnTo>
                  <a:lnTo>
                    <a:pt x="6" y="60"/>
                  </a:lnTo>
                  <a:lnTo>
                    <a:pt x="12" y="66"/>
                  </a:lnTo>
                  <a:lnTo>
                    <a:pt x="18" y="78"/>
                  </a:lnTo>
                  <a:lnTo>
                    <a:pt x="0" y="90"/>
                  </a:lnTo>
                  <a:lnTo>
                    <a:pt x="12" y="114"/>
                  </a:lnTo>
                  <a:lnTo>
                    <a:pt x="6" y="126"/>
                  </a:lnTo>
                  <a:lnTo>
                    <a:pt x="24" y="144"/>
                  </a:lnTo>
                  <a:lnTo>
                    <a:pt x="6" y="174"/>
                  </a:lnTo>
                  <a:lnTo>
                    <a:pt x="18" y="180"/>
                  </a:lnTo>
                  <a:lnTo>
                    <a:pt x="18" y="210"/>
                  </a:lnTo>
                  <a:lnTo>
                    <a:pt x="24" y="228"/>
                  </a:lnTo>
                  <a:lnTo>
                    <a:pt x="24" y="240"/>
                  </a:lnTo>
                  <a:lnTo>
                    <a:pt x="30" y="252"/>
                  </a:lnTo>
                  <a:lnTo>
                    <a:pt x="42" y="264"/>
                  </a:lnTo>
                  <a:lnTo>
                    <a:pt x="60" y="264"/>
                  </a:lnTo>
                  <a:lnTo>
                    <a:pt x="60" y="270"/>
                  </a:lnTo>
                  <a:lnTo>
                    <a:pt x="66" y="276"/>
                  </a:lnTo>
                  <a:lnTo>
                    <a:pt x="72" y="288"/>
                  </a:lnTo>
                  <a:lnTo>
                    <a:pt x="84" y="300"/>
                  </a:lnTo>
                  <a:lnTo>
                    <a:pt x="90" y="318"/>
                  </a:lnTo>
                  <a:lnTo>
                    <a:pt x="96" y="330"/>
                  </a:lnTo>
                  <a:lnTo>
                    <a:pt x="96" y="342"/>
                  </a:lnTo>
                  <a:lnTo>
                    <a:pt x="78" y="378"/>
                  </a:lnTo>
                  <a:lnTo>
                    <a:pt x="72" y="384"/>
                  </a:lnTo>
                  <a:lnTo>
                    <a:pt x="72" y="390"/>
                  </a:lnTo>
                  <a:lnTo>
                    <a:pt x="84" y="396"/>
                  </a:lnTo>
                  <a:lnTo>
                    <a:pt x="72" y="414"/>
                  </a:lnTo>
                  <a:lnTo>
                    <a:pt x="60" y="396"/>
                  </a:lnTo>
                  <a:lnTo>
                    <a:pt x="12" y="390"/>
                  </a:lnTo>
                  <a:lnTo>
                    <a:pt x="36" y="414"/>
                  </a:lnTo>
                  <a:lnTo>
                    <a:pt x="42" y="438"/>
                  </a:lnTo>
                  <a:lnTo>
                    <a:pt x="66" y="444"/>
                  </a:lnTo>
                  <a:lnTo>
                    <a:pt x="78" y="456"/>
                  </a:lnTo>
                  <a:lnTo>
                    <a:pt x="84" y="468"/>
                  </a:lnTo>
                  <a:lnTo>
                    <a:pt x="90" y="474"/>
                  </a:lnTo>
                  <a:lnTo>
                    <a:pt x="96" y="474"/>
                  </a:lnTo>
                  <a:lnTo>
                    <a:pt x="102" y="468"/>
                  </a:lnTo>
                  <a:lnTo>
                    <a:pt x="108" y="468"/>
                  </a:lnTo>
                  <a:lnTo>
                    <a:pt x="120" y="462"/>
                  </a:lnTo>
                  <a:lnTo>
                    <a:pt x="126" y="456"/>
                  </a:lnTo>
                  <a:lnTo>
                    <a:pt x="126" y="480"/>
                  </a:lnTo>
                  <a:lnTo>
                    <a:pt x="144" y="516"/>
                  </a:lnTo>
                  <a:lnTo>
                    <a:pt x="156" y="528"/>
                  </a:lnTo>
                  <a:lnTo>
                    <a:pt x="168" y="552"/>
                  </a:lnTo>
                  <a:lnTo>
                    <a:pt x="168" y="564"/>
                  </a:lnTo>
                  <a:lnTo>
                    <a:pt x="156" y="588"/>
                  </a:lnTo>
                  <a:lnTo>
                    <a:pt x="150" y="606"/>
                  </a:lnTo>
                  <a:lnTo>
                    <a:pt x="150" y="618"/>
                  </a:lnTo>
                  <a:lnTo>
                    <a:pt x="180" y="648"/>
                  </a:lnTo>
                  <a:lnTo>
                    <a:pt x="192" y="666"/>
                  </a:lnTo>
                  <a:lnTo>
                    <a:pt x="222" y="696"/>
                  </a:lnTo>
                  <a:lnTo>
                    <a:pt x="234" y="714"/>
                  </a:lnTo>
                  <a:lnTo>
                    <a:pt x="264" y="744"/>
                  </a:lnTo>
                  <a:lnTo>
                    <a:pt x="258" y="750"/>
                  </a:lnTo>
                  <a:lnTo>
                    <a:pt x="258" y="762"/>
                  </a:lnTo>
                  <a:lnTo>
                    <a:pt x="252" y="768"/>
                  </a:lnTo>
                  <a:lnTo>
                    <a:pt x="252" y="780"/>
                  </a:lnTo>
                  <a:lnTo>
                    <a:pt x="258" y="786"/>
                  </a:lnTo>
                  <a:lnTo>
                    <a:pt x="276" y="786"/>
                  </a:lnTo>
                  <a:lnTo>
                    <a:pt x="288" y="780"/>
                  </a:lnTo>
                  <a:lnTo>
                    <a:pt x="294" y="768"/>
                  </a:lnTo>
                  <a:lnTo>
                    <a:pt x="306" y="762"/>
                  </a:lnTo>
                  <a:lnTo>
                    <a:pt x="312" y="756"/>
                  </a:lnTo>
                  <a:lnTo>
                    <a:pt x="306" y="738"/>
                  </a:lnTo>
                  <a:lnTo>
                    <a:pt x="306" y="732"/>
                  </a:lnTo>
                  <a:lnTo>
                    <a:pt x="300" y="726"/>
                  </a:lnTo>
                  <a:lnTo>
                    <a:pt x="300" y="708"/>
                  </a:lnTo>
                  <a:lnTo>
                    <a:pt x="288" y="684"/>
                  </a:lnTo>
                  <a:lnTo>
                    <a:pt x="282" y="678"/>
                  </a:lnTo>
                  <a:lnTo>
                    <a:pt x="258" y="678"/>
                  </a:lnTo>
                  <a:lnTo>
                    <a:pt x="240" y="648"/>
                  </a:lnTo>
                  <a:lnTo>
                    <a:pt x="240" y="576"/>
                  </a:lnTo>
                  <a:lnTo>
                    <a:pt x="222" y="546"/>
                  </a:lnTo>
                  <a:lnTo>
                    <a:pt x="228" y="534"/>
                  </a:lnTo>
                  <a:lnTo>
                    <a:pt x="228" y="528"/>
                  </a:lnTo>
                  <a:lnTo>
                    <a:pt x="234" y="516"/>
                  </a:lnTo>
                  <a:lnTo>
                    <a:pt x="234" y="492"/>
                  </a:lnTo>
                  <a:lnTo>
                    <a:pt x="228" y="486"/>
                  </a:lnTo>
                  <a:lnTo>
                    <a:pt x="216" y="480"/>
                  </a:lnTo>
                  <a:lnTo>
                    <a:pt x="210" y="474"/>
                  </a:lnTo>
                  <a:lnTo>
                    <a:pt x="198" y="474"/>
                  </a:lnTo>
                  <a:lnTo>
                    <a:pt x="198" y="432"/>
                  </a:lnTo>
                  <a:lnTo>
                    <a:pt x="168" y="396"/>
                  </a:lnTo>
                  <a:lnTo>
                    <a:pt x="174" y="336"/>
                  </a:lnTo>
                  <a:lnTo>
                    <a:pt x="168" y="330"/>
                  </a:lnTo>
                  <a:lnTo>
                    <a:pt x="162" y="318"/>
                  </a:lnTo>
                  <a:lnTo>
                    <a:pt x="144" y="300"/>
                  </a:lnTo>
                  <a:lnTo>
                    <a:pt x="138" y="288"/>
                  </a:lnTo>
                  <a:lnTo>
                    <a:pt x="138" y="276"/>
                  </a:lnTo>
                  <a:lnTo>
                    <a:pt x="132" y="264"/>
                  </a:lnTo>
                  <a:lnTo>
                    <a:pt x="132" y="246"/>
                  </a:lnTo>
                  <a:lnTo>
                    <a:pt x="126" y="240"/>
                  </a:lnTo>
                  <a:lnTo>
                    <a:pt x="120" y="228"/>
                  </a:lnTo>
                  <a:lnTo>
                    <a:pt x="108" y="216"/>
                  </a:lnTo>
                  <a:lnTo>
                    <a:pt x="102" y="204"/>
                  </a:lnTo>
                  <a:lnTo>
                    <a:pt x="96" y="198"/>
                  </a:lnTo>
                  <a:lnTo>
                    <a:pt x="96" y="192"/>
                  </a:lnTo>
                  <a:lnTo>
                    <a:pt x="102" y="186"/>
                  </a:lnTo>
                  <a:lnTo>
                    <a:pt x="114" y="162"/>
                  </a:lnTo>
                  <a:lnTo>
                    <a:pt x="114" y="114"/>
                  </a:lnTo>
                  <a:lnTo>
                    <a:pt x="120" y="108"/>
                  </a:lnTo>
                  <a:lnTo>
                    <a:pt x="126" y="96"/>
                  </a:lnTo>
                  <a:lnTo>
                    <a:pt x="126" y="60"/>
                  </a:lnTo>
                  <a:lnTo>
                    <a:pt x="132" y="66"/>
                  </a:lnTo>
                  <a:lnTo>
                    <a:pt x="144" y="72"/>
                  </a:lnTo>
                  <a:lnTo>
                    <a:pt x="150" y="84"/>
                  </a:lnTo>
                  <a:lnTo>
                    <a:pt x="162" y="90"/>
                  </a:lnTo>
                  <a:lnTo>
                    <a:pt x="180" y="90"/>
                  </a:lnTo>
                  <a:lnTo>
                    <a:pt x="186" y="84"/>
                  </a:lnTo>
                  <a:lnTo>
                    <a:pt x="198" y="84"/>
                  </a:lnTo>
                  <a:lnTo>
                    <a:pt x="198" y="102"/>
                  </a:lnTo>
                  <a:lnTo>
                    <a:pt x="204" y="108"/>
                  </a:lnTo>
                  <a:lnTo>
                    <a:pt x="216" y="114"/>
                  </a:lnTo>
                  <a:lnTo>
                    <a:pt x="234" y="114"/>
                  </a:lnTo>
                  <a:lnTo>
                    <a:pt x="234" y="120"/>
                  </a:lnTo>
                  <a:lnTo>
                    <a:pt x="228" y="126"/>
                  </a:lnTo>
                  <a:lnTo>
                    <a:pt x="228" y="186"/>
                  </a:lnTo>
                  <a:lnTo>
                    <a:pt x="240" y="258"/>
                  </a:lnTo>
                  <a:lnTo>
                    <a:pt x="240" y="270"/>
                  </a:lnTo>
                  <a:lnTo>
                    <a:pt x="246" y="282"/>
                  </a:lnTo>
                  <a:lnTo>
                    <a:pt x="252" y="306"/>
                  </a:lnTo>
                  <a:lnTo>
                    <a:pt x="264" y="342"/>
                  </a:lnTo>
                  <a:lnTo>
                    <a:pt x="276" y="372"/>
                  </a:lnTo>
                  <a:lnTo>
                    <a:pt x="282" y="384"/>
                  </a:lnTo>
                  <a:lnTo>
                    <a:pt x="324" y="384"/>
                  </a:lnTo>
                  <a:lnTo>
                    <a:pt x="318" y="390"/>
                  </a:lnTo>
                  <a:lnTo>
                    <a:pt x="306" y="414"/>
                  </a:lnTo>
                  <a:lnTo>
                    <a:pt x="318" y="438"/>
                  </a:lnTo>
                  <a:lnTo>
                    <a:pt x="330" y="444"/>
                  </a:lnTo>
                  <a:lnTo>
                    <a:pt x="336" y="450"/>
                  </a:lnTo>
                  <a:lnTo>
                    <a:pt x="348" y="450"/>
                  </a:lnTo>
                  <a:lnTo>
                    <a:pt x="354" y="474"/>
                  </a:lnTo>
                  <a:lnTo>
                    <a:pt x="384" y="474"/>
                  </a:lnTo>
                  <a:lnTo>
                    <a:pt x="390" y="516"/>
                  </a:lnTo>
                  <a:lnTo>
                    <a:pt x="384" y="516"/>
                  </a:lnTo>
                  <a:lnTo>
                    <a:pt x="378" y="522"/>
                  </a:lnTo>
                  <a:lnTo>
                    <a:pt x="366" y="528"/>
                  </a:lnTo>
                  <a:lnTo>
                    <a:pt x="360" y="534"/>
                  </a:lnTo>
                  <a:lnTo>
                    <a:pt x="354" y="546"/>
                  </a:lnTo>
                  <a:lnTo>
                    <a:pt x="354" y="558"/>
                  </a:lnTo>
                  <a:lnTo>
                    <a:pt x="360" y="564"/>
                  </a:lnTo>
                  <a:lnTo>
                    <a:pt x="372" y="570"/>
                  </a:lnTo>
                  <a:lnTo>
                    <a:pt x="384" y="558"/>
                  </a:lnTo>
                  <a:lnTo>
                    <a:pt x="384" y="564"/>
                  </a:lnTo>
                  <a:lnTo>
                    <a:pt x="396" y="576"/>
                  </a:lnTo>
                  <a:lnTo>
                    <a:pt x="396" y="588"/>
                  </a:lnTo>
                  <a:lnTo>
                    <a:pt x="402" y="594"/>
                  </a:lnTo>
                  <a:lnTo>
                    <a:pt x="414" y="594"/>
                  </a:lnTo>
                  <a:lnTo>
                    <a:pt x="426" y="600"/>
                  </a:lnTo>
                  <a:lnTo>
                    <a:pt x="432" y="600"/>
                  </a:lnTo>
                  <a:lnTo>
                    <a:pt x="438" y="606"/>
                  </a:lnTo>
                  <a:lnTo>
                    <a:pt x="438" y="624"/>
                  </a:lnTo>
                  <a:lnTo>
                    <a:pt x="432" y="630"/>
                  </a:lnTo>
                  <a:lnTo>
                    <a:pt x="432" y="636"/>
                  </a:lnTo>
                  <a:lnTo>
                    <a:pt x="426" y="648"/>
                  </a:lnTo>
                  <a:lnTo>
                    <a:pt x="426" y="654"/>
                  </a:lnTo>
                  <a:lnTo>
                    <a:pt x="468" y="654"/>
                  </a:lnTo>
                  <a:lnTo>
                    <a:pt x="468" y="684"/>
                  </a:lnTo>
                  <a:lnTo>
                    <a:pt x="504" y="720"/>
                  </a:lnTo>
                  <a:lnTo>
                    <a:pt x="510" y="732"/>
                  </a:lnTo>
                  <a:lnTo>
                    <a:pt x="528" y="750"/>
                  </a:lnTo>
                  <a:lnTo>
                    <a:pt x="534" y="768"/>
                  </a:lnTo>
                  <a:lnTo>
                    <a:pt x="546" y="780"/>
                  </a:lnTo>
                  <a:lnTo>
                    <a:pt x="552" y="798"/>
                  </a:lnTo>
                  <a:lnTo>
                    <a:pt x="558" y="810"/>
                  </a:lnTo>
                  <a:lnTo>
                    <a:pt x="558" y="870"/>
                  </a:lnTo>
                  <a:lnTo>
                    <a:pt x="564" y="882"/>
                  </a:lnTo>
                  <a:lnTo>
                    <a:pt x="576" y="894"/>
                  </a:lnTo>
                  <a:lnTo>
                    <a:pt x="576" y="906"/>
                  </a:lnTo>
                  <a:lnTo>
                    <a:pt x="570" y="918"/>
                  </a:lnTo>
                  <a:lnTo>
                    <a:pt x="552" y="936"/>
                  </a:lnTo>
                  <a:lnTo>
                    <a:pt x="546" y="948"/>
                  </a:lnTo>
                  <a:lnTo>
                    <a:pt x="546" y="954"/>
                  </a:lnTo>
                  <a:lnTo>
                    <a:pt x="552" y="960"/>
                  </a:lnTo>
                  <a:lnTo>
                    <a:pt x="564" y="966"/>
                  </a:lnTo>
                  <a:lnTo>
                    <a:pt x="540" y="966"/>
                  </a:lnTo>
                  <a:lnTo>
                    <a:pt x="528" y="972"/>
                  </a:lnTo>
                  <a:lnTo>
                    <a:pt x="528" y="1038"/>
                  </a:lnTo>
                  <a:lnTo>
                    <a:pt x="534" y="1056"/>
                  </a:lnTo>
                  <a:lnTo>
                    <a:pt x="540" y="1062"/>
                  </a:lnTo>
                  <a:lnTo>
                    <a:pt x="546" y="1074"/>
                  </a:lnTo>
                  <a:lnTo>
                    <a:pt x="558" y="1074"/>
                  </a:lnTo>
                  <a:lnTo>
                    <a:pt x="576" y="1080"/>
                  </a:lnTo>
                  <a:lnTo>
                    <a:pt x="600" y="1080"/>
                  </a:lnTo>
                  <a:lnTo>
                    <a:pt x="612" y="1086"/>
                  </a:lnTo>
                  <a:lnTo>
                    <a:pt x="636" y="1110"/>
                  </a:lnTo>
                  <a:lnTo>
                    <a:pt x="642" y="1122"/>
                  </a:lnTo>
                  <a:lnTo>
                    <a:pt x="648" y="1140"/>
                  </a:lnTo>
                  <a:lnTo>
                    <a:pt x="654" y="1152"/>
                  </a:lnTo>
                  <a:lnTo>
                    <a:pt x="666" y="1164"/>
                  </a:lnTo>
                  <a:lnTo>
                    <a:pt x="678" y="1170"/>
                  </a:lnTo>
                  <a:lnTo>
                    <a:pt x="732" y="1170"/>
                  </a:lnTo>
                  <a:lnTo>
                    <a:pt x="750" y="1176"/>
                  </a:lnTo>
                  <a:lnTo>
                    <a:pt x="762" y="1182"/>
                  </a:lnTo>
                  <a:lnTo>
                    <a:pt x="768" y="1188"/>
                  </a:lnTo>
                  <a:lnTo>
                    <a:pt x="774" y="1200"/>
                  </a:lnTo>
                  <a:lnTo>
                    <a:pt x="786" y="1218"/>
                  </a:lnTo>
                  <a:lnTo>
                    <a:pt x="810" y="1242"/>
                  </a:lnTo>
                  <a:lnTo>
                    <a:pt x="834" y="1254"/>
                  </a:lnTo>
                  <a:lnTo>
                    <a:pt x="870" y="1266"/>
                  </a:lnTo>
                  <a:lnTo>
                    <a:pt x="912" y="1272"/>
                  </a:lnTo>
                  <a:lnTo>
                    <a:pt x="942" y="1278"/>
                  </a:lnTo>
                  <a:lnTo>
                    <a:pt x="960" y="1290"/>
                  </a:lnTo>
                  <a:lnTo>
                    <a:pt x="966" y="1302"/>
                  </a:lnTo>
                  <a:lnTo>
                    <a:pt x="978" y="1314"/>
                  </a:lnTo>
                  <a:lnTo>
                    <a:pt x="990" y="1320"/>
                  </a:lnTo>
                  <a:lnTo>
                    <a:pt x="996" y="1320"/>
                  </a:lnTo>
                  <a:lnTo>
                    <a:pt x="1002" y="1326"/>
                  </a:lnTo>
                  <a:lnTo>
                    <a:pt x="1008" y="1338"/>
                  </a:lnTo>
                  <a:lnTo>
                    <a:pt x="1014" y="1344"/>
                  </a:lnTo>
                  <a:lnTo>
                    <a:pt x="1080" y="1344"/>
                  </a:lnTo>
                  <a:lnTo>
                    <a:pt x="1092" y="1356"/>
                  </a:lnTo>
                  <a:lnTo>
                    <a:pt x="1098" y="1368"/>
                  </a:lnTo>
                  <a:lnTo>
                    <a:pt x="1104" y="1374"/>
                  </a:lnTo>
                  <a:lnTo>
                    <a:pt x="1116" y="1374"/>
                  </a:lnTo>
                  <a:lnTo>
                    <a:pt x="1140" y="1362"/>
                  </a:lnTo>
                  <a:lnTo>
                    <a:pt x="1170" y="1350"/>
                  </a:lnTo>
                  <a:lnTo>
                    <a:pt x="1206" y="1332"/>
                  </a:lnTo>
                  <a:lnTo>
                    <a:pt x="1260" y="1314"/>
                  </a:lnTo>
                  <a:lnTo>
                    <a:pt x="1278" y="1326"/>
                  </a:lnTo>
                  <a:lnTo>
                    <a:pt x="1308" y="1350"/>
                  </a:lnTo>
                  <a:lnTo>
                    <a:pt x="1344" y="1374"/>
                  </a:lnTo>
                  <a:lnTo>
                    <a:pt x="1386" y="1416"/>
                  </a:lnTo>
                  <a:lnTo>
                    <a:pt x="1386" y="1428"/>
                  </a:lnTo>
                  <a:lnTo>
                    <a:pt x="1392" y="1446"/>
                  </a:lnTo>
                  <a:lnTo>
                    <a:pt x="1398" y="1458"/>
                  </a:lnTo>
                  <a:lnTo>
                    <a:pt x="1416" y="1458"/>
                  </a:lnTo>
                  <a:lnTo>
                    <a:pt x="1422" y="1452"/>
                  </a:lnTo>
                  <a:lnTo>
                    <a:pt x="1422" y="144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07" name="Malta" descr="© INSCALE GmbH, 05.05.2010&#10;http://www.presentationload.com/">
              <a:extLst>
                <a:ext uri="{FF2B5EF4-FFF2-40B4-BE49-F238E27FC236}">
                  <a16:creationId xmlns:a16="http://schemas.microsoft.com/office/drawing/2014/main" id="{9644CF08-0E76-43C5-8625-EDEA0494D508}"/>
                </a:ext>
              </a:extLst>
            </p:cNvPr>
            <p:cNvSpPr>
              <a:spLocks/>
            </p:cNvSpPr>
            <p:nvPr/>
          </p:nvSpPr>
          <p:spPr bwMode="gray">
            <a:xfrm>
              <a:off x="4521365" y="3092292"/>
              <a:ext cx="12544" cy="10977"/>
            </a:xfrm>
            <a:custGeom>
              <a:avLst/>
              <a:gdLst>
                <a:gd name="T0" fmla="*/ 2147483647 w 30"/>
                <a:gd name="T1" fmla="*/ 2147483647 h 30"/>
                <a:gd name="T2" fmla="*/ 2147483647 w 30"/>
                <a:gd name="T3" fmla="*/ 2147483647 h 30"/>
                <a:gd name="T4" fmla="*/ 2147483647 w 30"/>
                <a:gd name="T5" fmla="*/ 2147483647 h 30"/>
                <a:gd name="T6" fmla="*/ 2147483647 w 30"/>
                <a:gd name="T7" fmla="*/ 0 h 30"/>
                <a:gd name="T8" fmla="*/ 2147483647 w 30"/>
                <a:gd name="T9" fmla="*/ 0 h 30"/>
                <a:gd name="T10" fmla="*/ 0 w 30"/>
                <a:gd name="T11" fmla="*/ 2147483647 h 30"/>
                <a:gd name="T12" fmla="*/ 0 w 30"/>
                <a:gd name="T13" fmla="*/ 2147483647 h 30"/>
                <a:gd name="T14" fmla="*/ 2147483647 w 30"/>
                <a:gd name="T15" fmla="*/ 2147483647 h 30"/>
                <a:gd name="T16" fmla="*/ 2147483647 w 30"/>
                <a:gd name="T17" fmla="*/ 2147483647 h 30"/>
                <a:gd name="T18" fmla="*/ 2147483647 w 30"/>
                <a:gd name="T19" fmla="*/ 2147483647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30"/>
                <a:gd name="T32" fmla="*/ 30 w 30"/>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30">
                  <a:moveTo>
                    <a:pt x="24" y="30"/>
                  </a:moveTo>
                  <a:lnTo>
                    <a:pt x="30" y="24"/>
                  </a:lnTo>
                  <a:lnTo>
                    <a:pt x="30" y="12"/>
                  </a:lnTo>
                  <a:lnTo>
                    <a:pt x="18" y="0"/>
                  </a:lnTo>
                  <a:lnTo>
                    <a:pt x="6" y="0"/>
                  </a:lnTo>
                  <a:lnTo>
                    <a:pt x="0" y="6"/>
                  </a:lnTo>
                  <a:lnTo>
                    <a:pt x="0" y="18"/>
                  </a:lnTo>
                  <a:lnTo>
                    <a:pt x="6" y="24"/>
                  </a:lnTo>
                  <a:lnTo>
                    <a:pt x="18" y="30"/>
                  </a:lnTo>
                  <a:lnTo>
                    <a:pt x="24" y="3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08" name="Mauritanien" descr="© INSCALE GmbH, 05.05.2010&#10;http://www.presentationload.com/">
              <a:extLst>
                <a:ext uri="{FF2B5EF4-FFF2-40B4-BE49-F238E27FC236}">
                  <a16:creationId xmlns:a16="http://schemas.microsoft.com/office/drawing/2014/main" id="{EB210FE1-165D-4B8E-B485-DBC7B033C3CF}"/>
                </a:ext>
              </a:extLst>
            </p:cNvPr>
            <p:cNvSpPr>
              <a:spLocks/>
            </p:cNvSpPr>
            <p:nvPr/>
          </p:nvSpPr>
          <p:spPr bwMode="gray">
            <a:xfrm>
              <a:off x="3662088" y="3380808"/>
              <a:ext cx="341829" cy="399846"/>
            </a:xfrm>
            <a:custGeom>
              <a:avLst/>
              <a:gdLst>
                <a:gd name="T0" fmla="*/ 2147483647 w 858"/>
                <a:gd name="T1" fmla="*/ 2147483647 h 1002"/>
                <a:gd name="T2" fmla="*/ 2147483647 w 858"/>
                <a:gd name="T3" fmla="*/ 2147483647 h 1002"/>
                <a:gd name="T4" fmla="*/ 2147483647 w 858"/>
                <a:gd name="T5" fmla="*/ 2147483647 h 1002"/>
                <a:gd name="T6" fmla="*/ 2147483647 w 858"/>
                <a:gd name="T7" fmla="*/ 2147483647 h 1002"/>
                <a:gd name="T8" fmla="*/ 2147483647 w 858"/>
                <a:gd name="T9" fmla="*/ 2147483647 h 1002"/>
                <a:gd name="T10" fmla="*/ 2147483647 w 858"/>
                <a:gd name="T11" fmla="*/ 2147483647 h 1002"/>
                <a:gd name="T12" fmla="*/ 2147483647 w 858"/>
                <a:gd name="T13" fmla="*/ 2147483647 h 1002"/>
                <a:gd name="T14" fmla="*/ 2147483647 w 858"/>
                <a:gd name="T15" fmla="*/ 2147483647 h 1002"/>
                <a:gd name="T16" fmla="*/ 2147483647 w 858"/>
                <a:gd name="T17" fmla="*/ 2147483647 h 1002"/>
                <a:gd name="T18" fmla="*/ 2147483647 w 858"/>
                <a:gd name="T19" fmla="*/ 2147483647 h 1002"/>
                <a:gd name="T20" fmla="*/ 2147483647 w 858"/>
                <a:gd name="T21" fmla="*/ 2147483647 h 1002"/>
                <a:gd name="T22" fmla="*/ 2147483647 w 858"/>
                <a:gd name="T23" fmla="*/ 2147483647 h 1002"/>
                <a:gd name="T24" fmla="*/ 2147483647 w 858"/>
                <a:gd name="T25" fmla="*/ 2147483647 h 1002"/>
                <a:gd name="T26" fmla="*/ 2147483647 w 858"/>
                <a:gd name="T27" fmla="*/ 2147483647 h 1002"/>
                <a:gd name="T28" fmla="*/ 2147483647 w 858"/>
                <a:gd name="T29" fmla="*/ 2147483647 h 1002"/>
                <a:gd name="T30" fmla="*/ 2147483647 w 858"/>
                <a:gd name="T31" fmla="*/ 2147483647 h 1002"/>
                <a:gd name="T32" fmla="*/ 2147483647 w 858"/>
                <a:gd name="T33" fmla="*/ 2147483647 h 1002"/>
                <a:gd name="T34" fmla="*/ 2147483647 w 858"/>
                <a:gd name="T35" fmla="*/ 2147483647 h 1002"/>
                <a:gd name="T36" fmla="*/ 2147483647 w 858"/>
                <a:gd name="T37" fmla="*/ 2147483647 h 1002"/>
                <a:gd name="T38" fmla="*/ 2147483647 w 858"/>
                <a:gd name="T39" fmla="*/ 2147483647 h 1002"/>
                <a:gd name="T40" fmla="*/ 2147483647 w 858"/>
                <a:gd name="T41" fmla="*/ 2147483647 h 1002"/>
                <a:gd name="T42" fmla="*/ 2147483647 w 858"/>
                <a:gd name="T43" fmla="*/ 2147483647 h 1002"/>
                <a:gd name="T44" fmla="*/ 2147483647 w 858"/>
                <a:gd name="T45" fmla="*/ 2147483647 h 1002"/>
                <a:gd name="T46" fmla="*/ 2147483647 w 858"/>
                <a:gd name="T47" fmla="*/ 2147483647 h 1002"/>
                <a:gd name="T48" fmla="*/ 2147483647 w 858"/>
                <a:gd name="T49" fmla="*/ 2147483647 h 1002"/>
                <a:gd name="T50" fmla="*/ 2147483647 w 858"/>
                <a:gd name="T51" fmla="*/ 2147483647 h 1002"/>
                <a:gd name="T52" fmla="*/ 2147483647 w 858"/>
                <a:gd name="T53" fmla="*/ 2147483647 h 1002"/>
                <a:gd name="T54" fmla="*/ 2147483647 w 858"/>
                <a:gd name="T55" fmla="*/ 2147483647 h 1002"/>
                <a:gd name="T56" fmla="*/ 2147483647 w 858"/>
                <a:gd name="T57" fmla="*/ 2147483647 h 1002"/>
                <a:gd name="T58" fmla="*/ 2147483647 w 858"/>
                <a:gd name="T59" fmla="*/ 2147483647 h 1002"/>
                <a:gd name="T60" fmla="*/ 2147483647 w 858"/>
                <a:gd name="T61" fmla="*/ 2147483647 h 1002"/>
                <a:gd name="T62" fmla="*/ 2147483647 w 858"/>
                <a:gd name="T63" fmla="*/ 2147483647 h 1002"/>
                <a:gd name="T64" fmla="*/ 2147483647 w 858"/>
                <a:gd name="T65" fmla="*/ 2147483647 h 1002"/>
                <a:gd name="T66" fmla="*/ 2147483647 w 858"/>
                <a:gd name="T67" fmla="*/ 2147483647 h 1002"/>
                <a:gd name="T68" fmla="*/ 2147483647 w 858"/>
                <a:gd name="T69" fmla="*/ 2147483647 h 1002"/>
                <a:gd name="T70" fmla="*/ 2147483647 w 858"/>
                <a:gd name="T71" fmla="*/ 2147483647 h 1002"/>
                <a:gd name="T72" fmla="*/ 2147483647 w 858"/>
                <a:gd name="T73" fmla="*/ 2147483647 h 1002"/>
                <a:gd name="T74" fmla="*/ 2147483647 w 858"/>
                <a:gd name="T75" fmla="*/ 2147483647 h 1002"/>
                <a:gd name="T76" fmla="*/ 2147483647 w 858"/>
                <a:gd name="T77" fmla="*/ 2147483647 h 1002"/>
                <a:gd name="T78" fmla="*/ 2147483647 w 858"/>
                <a:gd name="T79" fmla="*/ 2147483647 h 1002"/>
                <a:gd name="T80" fmla="*/ 2147483647 w 858"/>
                <a:gd name="T81" fmla="*/ 2147483647 h 1002"/>
                <a:gd name="T82" fmla="*/ 2147483647 w 858"/>
                <a:gd name="T83" fmla="*/ 2147483647 h 1002"/>
                <a:gd name="T84" fmla="*/ 2147483647 w 858"/>
                <a:gd name="T85" fmla="*/ 2147483647 h 1002"/>
                <a:gd name="T86" fmla="*/ 2147483647 w 858"/>
                <a:gd name="T87" fmla="*/ 2147483647 h 1002"/>
                <a:gd name="T88" fmla="*/ 2147483647 w 858"/>
                <a:gd name="T89" fmla="*/ 2147483647 h 1002"/>
                <a:gd name="T90" fmla="*/ 2147483647 w 858"/>
                <a:gd name="T91" fmla="*/ 2147483647 h 1002"/>
                <a:gd name="T92" fmla="*/ 2147483647 w 858"/>
                <a:gd name="T93" fmla="*/ 2147483647 h 1002"/>
                <a:gd name="T94" fmla="*/ 2147483647 w 858"/>
                <a:gd name="T95" fmla="*/ 2147483647 h 1002"/>
                <a:gd name="T96" fmla="*/ 2147483647 w 858"/>
                <a:gd name="T97" fmla="*/ 2147483647 h 1002"/>
                <a:gd name="T98" fmla="*/ 0 w 858"/>
                <a:gd name="T99" fmla="*/ 2147483647 h 10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8"/>
                <a:gd name="T151" fmla="*/ 0 h 1002"/>
                <a:gd name="T152" fmla="*/ 858 w 858"/>
                <a:gd name="T153" fmla="*/ 1002 h 10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8" h="1002">
                  <a:moveTo>
                    <a:pt x="0" y="498"/>
                  </a:moveTo>
                  <a:lnTo>
                    <a:pt x="18" y="498"/>
                  </a:lnTo>
                  <a:lnTo>
                    <a:pt x="18" y="528"/>
                  </a:lnTo>
                  <a:lnTo>
                    <a:pt x="24" y="534"/>
                  </a:lnTo>
                  <a:lnTo>
                    <a:pt x="30" y="534"/>
                  </a:lnTo>
                  <a:lnTo>
                    <a:pt x="30" y="528"/>
                  </a:lnTo>
                  <a:lnTo>
                    <a:pt x="36" y="522"/>
                  </a:lnTo>
                  <a:lnTo>
                    <a:pt x="48" y="558"/>
                  </a:lnTo>
                  <a:lnTo>
                    <a:pt x="42" y="600"/>
                  </a:lnTo>
                  <a:lnTo>
                    <a:pt x="30" y="600"/>
                  </a:lnTo>
                  <a:lnTo>
                    <a:pt x="36" y="624"/>
                  </a:lnTo>
                  <a:lnTo>
                    <a:pt x="24" y="630"/>
                  </a:lnTo>
                  <a:lnTo>
                    <a:pt x="30" y="642"/>
                  </a:lnTo>
                  <a:lnTo>
                    <a:pt x="36" y="648"/>
                  </a:lnTo>
                  <a:lnTo>
                    <a:pt x="48" y="666"/>
                  </a:lnTo>
                  <a:lnTo>
                    <a:pt x="60" y="690"/>
                  </a:lnTo>
                  <a:lnTo>
                    <a:pt x="60" y="720"/>
                  </a:lnTo>
                  <a:lnTo>
                    <a:pt x="54" y="738"/>
                  </a:lnTo>
                  <a:lnTo>
                    <a:pt x="54" y="750"/>
                  </a:lnTo>
                  <a:lnTo>
                    <a:pt x="48" y="756"/>
                  </a:lnTo>
                  <a:lnTo>
                    <a:pt x="48" y="804"/>
                  </a:lnTo>
                  <a:lnTo>
                    <a:pt x="42" y="816"/>
                  </a:lnTo>
                  <a:lnTo>
                    <a:pt x="30" y="822"/>
                  </a:lnTo>
                  <a:lnTo>
                    <a:pt x="24" y="840"/>
                  </a:lnTo>
                  <a:lnTo>
                    <a:pt x="18" y="852"/>
                  </a:lnTo>
                  <a:lnTo>
                    <a:pt x="18" y="864"/>
                  </a:lnTo>
                  <a:lnTo>
                    <a:pt x="12" y="876"/>
                  </a:lnTo>
                  <a:lnTo>
                    <a:pt x="12" y="906"/>
                  </a:lnTo>
                  <a:lnTo>
                    <a:pt x="18" y="900"/>
                  </a:lnTo>
                  <a:lnTo>
                    <a:pt x="36" y="864"/>
                  </a:lnTo>
                  <a:lnTo>
                    <a:pt x="42" y="858"/>
                  </a:lnTo>
                  <a:lnTo>
                    <a:pt x="54" y="852"/>
                  </a:lnTo>
                  <a:lnTo>
                    <a:pt x="60" y="852"/>
                  </a:lnTo>
                  <a:lnTo>
                    <a:pt x="66" y="858"/>
                  </a:lnTo>
                  <a:lnTo>
                    <a:pt x="72" y="858"/>
                  </a:lnTo>
                  <a:lnTo>
                    <a:pt x="84" y="852"/>
                  </a:lnTo>
                  <a:lnTo>
                    <a:pt x="114" y="858"/>
                  </a:lnTo>
                  <a:lnTo>
                    <a:pt x="114" y="840"/>
                  </a:lnTo>
                  <a:lnTo>
                    <a:pt x="138" y="852"/>
                  </a:lnTo>
                  <a:lnTo>
                    <a:pt x="162" y="852"/>
                  </a:lnTo>
                  <a:lnTo>
                    <a:pt x="174" y="858"/>
                  </a:lnTo>
                  <a:lnTo>
                    <a:pt x="180" y="858"/>
                  </a:lnTo>
                  <a:lnTo>
                    <a:pt x="186" y="870"/>
                  </a:lnTo>
                  <a:lnTo>
                    <a:pt x="198" y="882"/>
                  </a:lnTo>
                  <a:lnTo>
                    <a:pt x="204" y="894"/>
                  </a:lnTo>
                  <a:lnTo>
                    <a:pt x="216" y="888"/>
                  </a:lnTo>
                  <a:lnTo>
                    <a:pt x="234" y="888"/>
                  </a:lnTo>
                  <a:lnTo>
                    <a:pt x="240" y="894"/>
                  </a:lnTo>
                  <a:lnTo>
                    <a:pt x="240" y="900"/>
                  </a:lnTo>
                  <a:lnTo>
                    <a:pt x="246" y="912"/>
                  </a:lnTo>
                  <a:lnTo>
                    <a:pt x="246" y="942"/>
                  </a:lnTo>
                  <a:lnTo>
                    <a:pt x="264" y="942"/>
                  </a:lnTo>
                  <a:lnTo>
                    <a:pt x="270" y="948"/>
                  </a:lnTo>
                  <a:lnTo>
                    <a:pt x="270" y="972"/>
                  </a:lnTo>
                  <a:lnTo>
                    <a:pt x="300" y="978"/>
                  </a:lnTo>
                  <a:lnTo>
                    <a:pt x="312" y="1002"/>
                  </a:lnTo>
                  <a:lnTo>
                    <a:pt x="330" y="1002"/>
                  </a:lnTo>
                  <a:lnTo>
                    <a:pt x="342" y="996"/>
                  </a:lnTo>
                  <a:lnTo>
                    <a:pt x="348" y="996"/>
                  </a:lnTo>
                  <a:lnTo>
                    <a:pt x="348" y="948"/>
                  </a:lnTo>
                  <a:lnTo>
                    <a:pt x="360" y="936"/>
                  </a:lnTo>
                  <a:lnTo>
                    <a:pt x="378" y="936"/>
                  </a:lnTo>
                  <a:lnTo>
                    <a:pt x="402" y="960"/>
                  </a:lnTo>
                  <a:lnTo>
                    <a:pt x="408" y="972"/>
                  </a:lnTo>
                  <a:lnTo>
                    <a:pt x="420" y="948"/>
                  </a:lnTo>
                  <a:lnTo>
                    <a:pt x="456" y="948"/>
                  </a:lnTo>
                  <a:lnTo>
                    <a:pt x="462" y="954"/>
                  </a:lnTo>
                  <a:lnTo>
                    <a:pt x="492" y="954"/>
                  </a:lnTo>
                  <a:lnTo>
                    <a:pt x="504" y="948"/>
                  </a:lnTo>
                  <a:lnTo>
                    <a:pt x="510" y="948"/>
                  </a:lnTo>
                  <a:lnTo>
                    <a:pt x="510" y="936"/>
                  </a:lnTo>
                  <a:lnTo>
                    <a:pt x="516" y="930"/>
                  </a:lnTo>
                  <a:lnTo>
                    <a:pt x="522" y="930"/>
                  </a:lnTo>
                  <a:lnTo>
                    <a:pt x="522" y="942"/>
                  </a:lnTo>
                  <a:lnTo>
                    <a:pt x="786" y="942"/>
                  </a:lnTo>
                  <a:lnTo>
                    <a:pt x="798" y="900"/>
                  </a:lnTo>
                  <a:lnTo>
                    <a:pt x="804" y="894"/>
                  </a:lnTo>
                  <a:lnTo>
                    <a:pt x="804" y="882"/>
                  </a:lnTo>
                  <a:lnTo>
                    <a:pt x="786" y="864"/>
                  </a:lnTo>
                  <a:lnTo>
                    <a:pt x="780" y="864"/>
                  </a:lnTo>
                  <a:lnTo>
                    <a:pt x="738" y="174"/>
                  </a:lnTo>
                  <a:lnTo>
                    <a:pt x="858" y="180"/>
                  </a:lnTo>
                  <a:lnTo>
                    <a:pt x="600" y="0"/>
                  </a:lnTo>
                  <a:lnTo>
                    <a:pt x="594" y="48"/>
                  </a:lnTo>
                  <a:lnTo>
                    <a:pt x="588" y="54"/>
                  </a:lnTo>
                  <a:lnTo>
                    <a:pt x="588" y="90"/>
                  </a:lnTo>
                  <a:lnTo>
                    <a:pt x="366" y="96"/>
                  </a:lnTo>
                  <a:lnTo>
                    <a:pt x="366" y="108"/>
                  </a:lnTo>
                  <a:lnTo>
                    <a:pt x="354" y="114"/>
                  </a:lnTo>
                  <a:lnTo>
                    <a:pt x="354" y="306"/>
                  </a:lnTo>
                  <a:lnTo>
                    <a:pt x="348" y="312"/>
                  </a:lnTo>
                  <a:lnTo>
                    <a:pt x="336" y="318"/>
                  </a:lnTo>
                  <a:lnTo>
                    <a:pt x="306" y="318"/>
                  </a:lnTo>
                  <a:lnTo>
                    <a:pt x="282" y="330"/>
                  </a:lnTo>
                  <a:lnTo>
                    <a:pt x="276" y="342"/>
                  </a:lnTo>
                  <a:lnTo>
                    <a:pt x="276" y="360"/>
                  </a:lnTo>
                  <a:lnTo>
                    <a:pt x="282" y="372"/>
                  </a:lnTo>
                  <a:lnTo>
                    <a:pt x="276" y="474"/>
                  </a:lnTo>
                  <a:lnTo>
                    <a:pt x="0" y="474"/>
                  </a:lnTo>
                  <a:lnTo>
                    <a:pt x="0" y="498"/>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09" name="Mali" descr="© INSCALE GmbH, 05.05.2010&#10;http://www.presentationload.com/">
              <a:extLst>
                <a:ext uri="{FF2B5EF4-FFF2-40B4-BE49-F238E27FC236}">
                  <a16:creationId xmlns:a16="http://schemas.microsoft.com/office/drawing/2014/main" id="{8C836AD8-3A96-4F80-82F7-7BEF5FAB656A}"/>
                </a:ext>
              </a:extLst>
            </p:cNvPr>
            <p:cNvSpPr>
              <a:spLocks/>
            </p:cNvSpPr>
            <p:nvPr/>
          </p:nvSpPr>
          <p:spPr bwMode="gray">
            <a:xfrm>
              <a:off x="3787530" y="3449801"/>
              <a:ext cx="460999" cy="478248"/>
            </a:xfrm>
            <a:custGeom>
              <a:avLst/>
              <a:gdLst>
                <a:gd name="T0" fmla="*/ 2147483647 w 1164"/>
                <a:gd name="T1" fmla="*/ 2147483647 h 1200"/>
                <a:gd name="T2" fmla="*/ 2147483647 w 1164"/>
                <a:gd name="T3" fmla="*/ 2147483647 h 1200"/>
                <a:gd name="T4" fmla="*/ 2147483647 w 1164"/>
                <a:gd name="T5" fmla="*/ 2147483647 h 1200"/>
                <a:gd name="T6" fmla="*/ 2147483647 w 1164"/>
                <a:gd name="T7" fmla="*/ 2147483647 h 1200"/>
                <a:gd name="T8" fmla="*/ 2147483647 w 1164"/>
                <a:gd name="T9" fmla="*/ 2147483647 h 1200"/>
                <a:gd name="T10" fmla="*/ 2147483647 w 1164"/>
                <a:gd name="T11" fmla="*/ 2147483647 h 1200"/>
                <a:gd name="T12" fmla="*/ 2147483647 w 1164"/>
                <a:gd name="T13" fmla="*/ 2147483647 h 1200"/>
                <a:gd name="T14" fmla="*/ 2147483647 w 1164"/>
                <a:gd name="T15" fmla="*/ 2147483647 h 1200"/>
                <a:gd name="T16" fmla="*/ 2147483647 w 1164"/>
                <a:gd name="T17" fmla="*/ 2147483647 h 1200"/>
                <a:gd name="T18" fmla="*/ 2147483647 w 1164"/>
                <a:gd name="T19" fmla="*/ 2147483647 h 1200"/>
                <a:gd name="T20" fmla="*/ 2147483647 w 1164"/>
                <a:gd name="T21" fmla="*/ 2147483647 h 1200"/>
                <a:gd name="T22" fmla="*/ 2147483647 w 1164"/>
                <a:gd name="T23" fmla="*/ 2147483647 h 1200"/>
                <a:gd name="T24" fmla="*/ 2147483647 w 1164"/>
                <a:gd name="T25" fmla="*/ 2147483647 h 1200"/>
                <a:gd name="T26" fmla="*/ 2147483647 w 1164"/>
                <a:gd name="T27" fmla="*/ 2147483647 h 1200"/>
                <a:gd name="T28" fmla="*/ 2147483647 w 1164"/>
                <a:gd name="T29" fmla="*/ 2147483647 h 1200"/>
                <a:gd name="T30" fmla="*/ 2147483647 w 1164"/>
                <a:gd name="T31" fmla="*/ 2147483647 h 1200"/>
                <a:gd name="T32" fmla="*/ 2147483647 w 1164"/>
                <a:gd name="T33" fmla="*/ 2147483647 h 1200"/>
                <a:gd name="T34" fmla="*/ 2147483647 w 1164"/>
                <a:gd name="T35" fmla="*/ 2147483647 h 1200"/>
                <a:gd name="T36" fmla="*/ 2147483647 w 1164"/>
                <a:gd name="T37" fmla="*/ 2147483647 h 1200"/>
                <a:gd name="T38" fmla="*/ 2147483647 w 1164"/>
                <a:gd name="T39" fmla="*/ 2147483647 h 1200"/>
                <a:gd name="T40" fmla="*/ 2147483647 w 1164"/>
                <a:gd name="T41" fmla="*/ 2147483647 h 1200"/>
                <a:gd name="T42" fmla="*/ 2147483647 w 1164"/>
                <a:gd name="T43" fmla="*/ 2147483647 h 1200"/>
                <a:gd name="T44" fmla="*/ 2147483647 w 1164"/>
                <a:gd name="T45" fmla="*/ 2147483647 h 1200"/>
                <a:gd name="T46" fmla="*/ 2147483647 w 1164"/>
                <a:gd name="T47" fmla="*/ 2147483647 h 1200"/>
                <a:gd name="T48" fmla="*/ 2147483647 w 1164"/>
                <a:gd name="T49" fmla="*/ 2147483647 h 1200"/>
                <a:gd name="T50" fmla="*/ 2147483647 w 1164"/>
                <a:gd name="T51" fmla="*/ 2147483647 h 1200"/>
                <a:gd name="T52" fmla="*/ 2147483647 w 1164"/>
                <a:gd name="T53" fmla="*/ 2147483647 h 1200"/>
                <a:gd name="T54" fmla="*/ 0 w 1164"/>
                <a:gd name="T55" fmla="*/ 2147483647 h 1200"/>
                <a:gd name="T56" fmla="*/ 2147483647 w 1164"/>
                <a:gd name="T57" fmla="*/ 2147483647 h 1200"/>
                <a:gd name="T58" fmla="*/ 2147483647 w 1164"/>
                <a:gd name="T59" fmla="*/ 2147483647 h 1200"/>
                <a:gd name="T60" fmla="*/ 2147483647 w 1164"/>
                <a:gd name="T61" fmla="*/ 2147483647 h 1200"/>
                <a:gd name="T62" fmla="*/ 2147483647 w 1164"/>
                <a:gd name="T63" fmla="*/ 2147483647 h 1200"/>
                <a:gd name="T64" fmla="*/ 2147483647 w 1164"/>
                <a:gd name="T65" fmla="*/ 2147483647 h 1200"/>
                <a:gd name="T66" fmla="*/ 2147483647 w 1164"/>
                <a:gd name="T67" fmla="*/ 2147483647 h 1200"/>
                <a:gd name="T68" fmla="*/ 2147483647 w 1164"/>
                <a:gd name="T69" fmla="*/ 2147483647 h 1200"/>
                <a:gd name="T70" fmla="*/ 2147483647 w 1164"/>
                <a:gd name="T71" fmla="*/ 2147483647 h 1200"/>
                <a:gd name="T72" fmla="*/ 2147483647 w 1164"/>
                <a:gd name="T73" fmla="*/ 2147483647 h 1200"/>
                <a:gd name="T74" fmla="*/ 2147483647 w 1164"/>
                <a:gd name="T75" fmla="*/ 2147483647 h 1200"/>
                <a:gd name="T76" fmla="*/ 2147483647 w 1164"/>
                <a:gd name="T77" fmla="*/ 2147483647 h 1200"/>
                <a:gd name="T78" fmla="*/ 2147483647 w 1164"/>
                <a:gd name="T79" fmla="*/ 2147483647 h 1200"/>
                <a:gd name="T80" fmla="*/ 2147483647 w 1164"/>
                <a:gd name="T81" fmla="*/ 2147483647 h 1200"/>
                <a:gd name="T82" fmla="*/ 2147483647 w 1164"/>
                <a:gd name="T83" fmla="*/ 2147483647 h 1200"/>
                <a:gd name="T84" fmla="*/ 2147483647 w 1164"/>
                <a:gd name="T85" fmla="*/ 2147483647 h 1200"/>
                <a:gd name="T86" fmla="*/ 2147483647 w 1164"/>
                <a:gd name="T87" fmla="*/ 2147483647 h 1200"/>
                <a:gd name="T88" fmla="*/ 2147483647 w 1164"/>
                <a:gd name="T89" fmla="*/ 2147483647 h 1200"/>
                <a:gd name="T90" fmla="*/ 2147483647 w 1164"/>
                <a:gd name="T91" fmla="*/ 2147483647 h 1200"/>
                <a:gd name="T92" fmla="*/ 2147483647 w 1164"/>
                <a:gd name="T93" fmla="*/ 2147483647 h 1200"/>
                <a:gd name="T94" fmla="*/ 2147483647 w 1164"/>
                <a:gd name="T95" fmla="*/ 2147483647 h 1200"/>
                <a:gd name="T96" fmla="*/ 2147483647 w 1164"/>
                <a:gd name="T97" fmla="*/ 2147483647 h 1200"/>
                <a:gd name="T98" fmla="*/ 2147483647 w 1164"/>
                <a:gd name="T99" fmla="*/ 2147483647 h 1200"/>
                <a:gd name="T100" fmla="*/ 2147483647 w 1164"/>
                <a:gd name="T101" fmla="*/ 2147483647 h 1200"/>
                <a:gd name="T102" fmla="*/ 2147483647 w 1164"/>
                <a:gd name="T103" fmla="*/ 2147483647 h 1200"/>
                <a:gd name="T104" fmla="*/ 2147483647 w 1164"/>
                <a:gd name="T105" fmla="*/ 2147483647 h 1200"/>
                <a:gd name="T106" fmla="*/ 2147483647 w 1164"/>
                <a:gd name="T107" fmla="*/ 2147483647 h 12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64"/>
                <a:gd name="T163" fmla="*/ 0 h 1200"/>
                <a:gd name="T164" fmla="*/ 1164 w 1164"/>
                <a:gd name="T165" fmla="*/ 1200 h 12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64" h="1200">
                  <a:moveTo>
                    <a:pt x="612" y="954"/>
                  </a:moveTo>
                  <a:lnTo>
                    <a:pt x="636" y="948"/>
                  </a:lnTo>
                  <a:lnTo>
                    <a:pt x="636" y="912"/>
                  </a:lnTo>
                  <a:lnTo>
                    <a:pt x="654" y="912"/>
                  </a:lnTo>
                  <a:lnTo>
                    <a:pt x="654" y="906"/>
                  </a:lnTo>
                  <a:lnTo>
                    <a:pt x="660" y="900"/>
                  </a:lnTo>
                  <a:lnTo>
                    <a:pt x="666" y="888"/>
                  </a:lnTo>
                  <a:lnTo>
                    <a:pt x="678" y="882"/>
                  </a:lnTo>
                  <a:lnTo>
                    <a:pt x="684" y="870"/>
                  </a:lnTo>
                  <a:lnTo>
                    <a:pt x="690" y="864"/>
                  </a:lnTo>
                  <a:lnTo>
                    <a:pt x="696" y="864"/>
                  </a:lnTo>
                  <a:lnTo>
                    <a:pt x="708" y="876"/>
                  </a:lnTo>
                  <a:lnTo>
                    <a:pt x="720" y="876"/>
                  </a:lnTo>
                  <a:lnTo>
                    <a:pt x="720" y="870"/>
                  </a:lnTo>
                  <a:lnTo>
                    <a:pt x="726" y="864"/>
                  </a:lnTo>
                  <a:lnTo>
                    <a:pt x="726" y="846"/>
                  </a:lnTo>
                  <a:lnTo>
                    <a:pt x="750" y="846"/>
                  </a:lnTo>
                  <a:lnTo>
                    <a:pt x="768" y="822"/>
                  </a:lnTo>
                  <a:lnTo>
                    <a:pt x="792" y="822"/>
                  </a:lnTo>
                  <a:lnTo>
                    <a:pt x="810" y="804"/>
                  </a:lnTo>
                  <a:lnTo>
                    <a:pt x="858" y="804"/>
                  </a:lnTo>
                  <a:lnTo>
                    <a:pt x="882" y="816"/>
                  </a:lnTo>
                  <a:lnTo>
                    <a:pt x="930" y="804"/>
                  </a:lnTo>
                  <a:lnTo>
                    <a:pt x="954" y="786"/>
                  </a:lnTo>
                  <a:lnTo>
                    <a:pt x="1020" y="792"/>
                  </a:lnTo>
                  <a:lnTo>
                    <a:pt x="1020" y="774"/>
                  </a:lnTo>
                  <a:lnTo>
                    <a:pt x="1068" y="780"/>
                  </a:lnTo>
                  <a:lnTo>
                    <a:pt x="1080" y="774"/>
                  </a:lnTo>
                  <a:lnTo>
                    <a:pt x="1104" y="774"/>
                  </a:lnTo>
                  <a:lnTo>
                    <a:pt x="1122" y="768"/>
                  </a:lnTo>
                  <a:lnTo>
                    <a:pt x="1134" y="762"/>
                  </a:lnTo>
                  <a:lnTo>
                    <a:pt x="1140" y="750"/>
                  </a:lnTo>
                  <a:lnTo>
                    <a:pt x="1140" y="732"/>
                  </a:lnTo>
                  <a:lnTo>
                    <a:pt x="1146" y="720"/>
                  </a:lnTo>
                  <a:lnTo>
                    <a:pt x="1146" y="708"/>
                  </a:lnTo>
                  <a:lnTo>
                    <a:pt x="1164" y="684"/>
                  </a:lnTo>
                  <a:lnTo>
                    <a:pt x="1164" y="480"/>
                  </a:lnTo>
                  <a:lnTo>
                    <a:pt x="1140" y="480"/>
                  </a:lnTo>
                  <a:lnTo>
                    <a:pt x="1134" y="486"/>
                  </a:lnTo>
                  <a:lnTo>
                    <a:pt x="1104" y="486"/>
                  </a:lnTo>
                  <a:lnTo>
                    <a:pt x="1092" y="480"/>
                  </a:lnTo>
                  <a:lnTo>
                    <a:pt x="1086" y="474"/>
                  </a:lnTo>
                  <a:lnTo>
                    <a:pt x="1086" y="468"/>
                  </a:lnTo>
                  <a:lnTo>
                    <a:pt x="1104" y="450"/>
                  </a:lnTo>
                  <a:lnTo>
                    <a:pt x="1104" y="432"/>
                  </a:lnTo>
                  <a:lnTo>
                    <a:pt x="1092" y="408"/>
                  </a:lnTo>
                  <a:lnTo>
                    <a:pt x="1080" y="402"/>
                  </a:lnTo>
                  <a:lnTo>
                    <a:pt x="1050" y="402"/>
                  </a:lnTo>
                  <a:lnTo>
                    <a:pt x="1044" y="408"/>
                  </a:lnTo>
                  <a:lnTo>
                    <a:pt x="1038" y="408"/>
                  </a:lnTo>
                  <a:lnTo>
                    <a:pt x="1032" y="378"/>
                  </a:lnTo>
                  <a:lnTo>
                    <a:pt x="996" y="378"/>
                  </a:lnTo>
                  <a:lnTo>
                    <a:pt x="984" y="366"/>
                  </a:lnTo>
                  <a:lnTo>
                    <a:pt x="984" y="348"/>
                  </a:lnTo>
                  <a:lnTo>
                    <a:pt x="978" y="342"/>
                  </a:lnTo>
                  <a:lnTo>
                    <a:pt x="954" y="342"/>
                  </a:lnTo>
                  <a:lnTo>
                    <a:pt x="954" y="318"/>
                  </a:lnTo>
                  <a:lnTo>
                    <a:pt x="546" y="6"/>
                  </a:lnTo>
                  <a:lnTo>
                    <a:pt x="426" y="0"/>
                  </a:lnTo>
                  <a:lnTo>
                    <a:pt x="468" y="690"/>
                  </a:lnTo>
                  <a:lnTo>
                    <a:pt x="474" y="690"/>
                  </a:lnTo>
                  <a:lnTo>
                    <a:pt x="492" y="708"/>
                  </a:lnTo>
                  <a:lnTo>
                    <a:pt x="492" y="720"/>
                  </a:lnTo>
                  <a:lnTo>
                    <a:pt x="486" y="726"/>
                  </a:lnTo>
                  <a:lnTo>
                    <a:pt x="474" y="768"/>
                  </a:lnTo>
                  <a:lnTo>
                    <a:pt x="210" y="768"/>
                  </a:lnTo>
                  <a:lnTo>
                    <a:pt x="210" y="756"/>
                  </a:lnTo>
                  <a:lnTo>
                    <a:pt x="204" y="756"/>
                  </a:lnTo>
                  <a:lnTo>
                    <a:pt x="198" y="762"/>
                  </a:lnTo>
                  <a:lnTo>
                    <a:pt x="198" y="774"/>
                  </a:lnTo>
                  <a:lnTo>
                    <a:pt x="192" y="774"/>
                  </a:lnTo>
                  <a:lnTo>
                    <a:pt x="180" y="780"/>
                  </a:lnTo>
                  <a:lnTo>
                    <a:pt x="150" y="780"/>
                  </a:lnTo>
                  <a:lnTo>
                    <a:pt x="144" y="774"/>
                  </a:lnTo>
                  <a:lnTo>
                    <a:pt x="108" y="774"/>
                  </a:lnTo>
                  <a:lnTo>
                    <a:pt x="96" y="798"/>
                  </a:lnTo>
                  <a:lnTo>
                    <a:pt x="90" y="786"/>
                  </a:lnTo>
                  <a:lnTo>
                    <a:pt x="66" y="762"/>
                  </a:lnTo>
                  <a:lnTo>
                    <a:pt x="48" y="762"/>
                  </a:lnTo>
                  <a:lnTo>
                    <a:pt x="36" y="774"/>
                  </a:lnTo>
                  <a:lnTo>
                    <a:pt x="36" y="822"/>
                  </a:lnTo>
                  <a:lnTo>
                    <a:pt x="30" y="822"/>
                  </a:lnTo>
                  <a:lnTo>
                    <a:pt x="18" y="828"/>
                  </a:lnTo>
                  <a:lnTo>
                    <a:pt x="0" y="828"/>
                  </a:lnTo>
                  <a:lnTo>
                    <a:pt x="0" y="852"/>
                  </a:lnTo>
                  <a:lnTo>
                    <a:pt x="12" y="870"/>
                  </a:lnTo>
                  <a:lnTo>
                    <a:pt x="12" y="876"/>
                  </a:lnTo>
                  <a:lnTo>
                    <a:pt x="24" y="888"/>
                  </a:lnTo>
                  <a:lnTo>
                    <a:pt x="24" y="906"/>
                  </a:lnTo>
                  <a:lnTo>
                    <a:pt x="18" y="912"/>
                  </a:lnTo>
                  <a:lnTo>
                    <a:pt x="18" y="936"/>
                  </a:lnTo>
                  <a:lnTo>
                    <a:pt x="24" y="942"/>
                  </a:lnTo>
                  <a:lnTo>
                    <a:pt x="36" y="942"/>
                  </a:lnTo>
                  <a:lnTo>
                    <a:pt x="36" y="936"/>
                  </a:lnTo>
                  <a:lnTo>
                    <a:pt x="42" y="936"/>
                  </a:lnTo>
                  <a:lnTo>
                    <a:pt x="48" y="942"/>
                  </a:lnTo>
                  <a:lnTo>
                    <a:pt x="54" y="954"/>
                  </a:lnTo>
                  <a:lnTo>
                    <a:pt x="54" y="1032"/>
                  </a:lnTo>
                  <a:lnTo>
                    <a:pt x="60" y="1044"/>
                  </a:lnTo>
                  <a:lnTo>
                    <a:pt x="60" y="1050"/>
                  </a:lnTo>
                  <a:lnTo>
                    <a:pt x="66" y="1056"/>
                  </a:lnTo>
                  <a:lnTo>
                    <a:pt x="72" y="1050"/>
                  </a:lnTo>
                  <a:lnTo>
                    <a:pt x="78" y="1038"/>
                  </a:lnTo>
                  <a:lnTo>
                    <a:pt x="90" y="1026"/>
                  </a:lnTo>
                  <a:lnTo>
                    <a:pt x="102" y="1038"/>
                  </a:lnTo>
                  <a:lnTo>
                    <a:pt x="108" y="1050"/>
                  </a:lnTo>
                  <a:lnTo>
                    <a:pt x="108" y="1062"/>
                  </a:lnTo>
                  <a:lnTo>
                    <a:pt x="114" y="1050"/>
                  </a:lnTo>
                  <a:lnTo>
                    <a:pt x="126" y="1038"/>
                  </a:lnTo>
                  <a:lnTo>
                    <a:pt x="132" y="1026"/>
                  </a:lnTo>
                  <a:lnTo>
                    <a:pt x="138" y="1026"/>
                  </a:lnTo>
                  <a:lnTo>
                    <a:pt x="144" y="1032"/>
                  </a:lnTo>
                  <a:lnTo>
                    <a:pt x="150" y="1032"/>
                  </a:lnTo>
                  <a:lnTo>
                    <a:pt x="162" y="1038"/>
                  </a:lnTo>
                  <a:lnTo>
                    <a:pt x="168" y="1044"/>
                  </a:lnTo>
                  <a:lnTo>
                    <a:pt x="180" y="1050"/>
                  </a:lnTo>
                  <a:lnTo>
                    <a:pt x="198" y="1032"/>
                  </a:lnTo>
                  <a:lnTo>
                    <a:pt x="198" y="1014"/>
                  </a:lnTo>
                  <a:lnTo>
                    <a:pt x="204" y="1008"/>
                  </a:lnTo>
                  <a:lnTo>
                    <a:pt x="216" y="1008"/>
                  </a:lnTo>
                  <a:lnTo>
                    <a:pt x="228" y="1014"/>
                  </a:lnTo>
                  <a:lnTo>
                    <a:pt x="228" y="1032"/>
                  </a:lnTo>
                  <a:lnTo>
                    <a:pt x="246" y="1044"/>
                  </a:lnTo>
                  <a:lnTo>
                    <a:pt x="234" y="1074"/>
                  </a:lnTo>
                  <a:lnTo>
                    <a:pt x="270" y="1092"/>
                  </a:lnTo>
                  <a:lnTo>
                    <a:pt x="246" y="1128"/>
                  </a:lnTo>
                  <a:lnTo>
                    <a:pt x="270" y="1128"/>
                  </a:lnTo>
                  <a:lnTo>
                    <a:pt x="270" y="1164"/>
                  </a:lnTo>
                  <a:lnTo>
                    <a:pt x="300" y="1194"/>
                  </a:lnTo>
                  <a:lnTo>
                    <a:pt x="312" y="1200"/>
                  </a:lnTo>
                  <a:lnTo>
                    <a:pt x="312" y="1182"/>
                  </a:lnTo>
                  <a:lnTo>
                    <a:pt x="318" y="1176"/>
                  </a:lnTo>
                  <a:lnTo>
                    <a:pt x="330" y="1176"/>
                  </a:lnTo>
                  <a:lnTo>
                    <a:pt x="348" y="1182"/>
                  </a:lnTo>
                  <a:lnTo>
                    <a:pt x="366" y="1200"/>
                  </a:lnTo>
                  <a:lnTo>
                    <a:pt x="372" y="1182"/>
                  </a:lnTo>
                  <a:lnTo>
                    <a:pt x="390" y="1182"/>
                  </a:lnTo>
                  <a:lnTo>
                    <a:pt x="396" y="1158"/>
                  </a:lnTo>
                  <a:lnTo>
                    <a:pt x="408" y="1176"/>
                  </a:lnTo>
                  <a:lnTo>
                    <a:pt x="420" y="1152"/>
                  </a:lnTo>
                  <a:lnTo>
                    <a:pt x="420" y="1188"/>
                  </a:lnTo>
                  <a:lnTo>
                    <a:pt x="444" y="1194"/>
                  </a:lnTo>
                  <a:lnTo>
                    <a:pt x="450" y="1188"/>
                  </a:lnTo>
                  <a:lnTo>
                    <a:pt x="456" y="1176"/>
                  </a:lnTo>
                  <a:lnTo>
                    <a:pt x="462" y="1170"/>
                  </a:lnTo>
                  <a:lnTo>
                    <a:pt x="474" y="1170"/>
                  </a:lnTo>
                  <a:lnTo>
                    <a:pt x="468" y="1116"/>
                  </a:lnTo>
                  <a:lnTo>
                    <a:pt x="492" y="1116"/>
                  </a:lnTo>
                  <a:lnTo>
                    <a:pt x="504" y="1092"/>
                  </a:lnTo>
                  <a:lnTo>
                    <a:pt x="480" y="1062"/>
                  </a:lnTo>
                  <a:lnTo>
                    <a:pt x="498" y="1050"/>
                  </a:lnTo>
                  <a:lnTo>
                    <a:pt x="504" y="1050"/>
                  </a:lnTo>
                  <a:lnTo>
                    <a:pt x="510" y="1044"/>
                  </a:lnTo>
                  <a:lnTo>
                    <a:pt x="546" y="1044"/>
                  </a:lnTo>
                  <a:lnTo>
                    <a:pt x="546" y="1032"/>
                  </a:lnTo>
                  <a:lnTo>
                    <a:pt x="540" y="1026"/>
                  </a:lnTo>
                  <a:lnTo>
                    <a:pt x="546" y="1026"/>
                  </a:lnTo>
                  <a:lnTo>
                    <a:pt x="552" y="1020"/>
                  </a:lnTo>
                  <a:lnTo>
                    <a:pt x="552" y="990"/>
                  </a:lnTo>
                  <a:lnTo>
                    <a:pt x="570" y="990"/>
                  </a:lnTo>
                  <a:lnTo>
                    <a:pt x="570" y="960"/>
                  </a:lnTo>
                  <a:lnTo>
                    <a:pt x="564" y="954"/>
                  </a:lnTo>
                  <a:lnTo>
                    <a:pt x="582" y="924"/>
                  </a:lnTo>
                  <a:lnTo>
                    <a:pt x="612" y="954"/>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10" name="Malaysien" descr="© INSCALE GmbH, 05.05.2010&#10;http://www.presentationload.com/">
              <a:extLst>
                <a:ext uri="{FF2B5EF4-FFF2-40B4-BE49-F238E27FC236}">
                  <a16:creationId xmlns:a16="http://schemas.microsoft.com/office/drawing/2014/main" id="{DBB8D783-6AC5-48B6-9244-158DB2594BA1}"/>
                </a:ext>
              </a:extLst>
            </p:cNvPr>
            <p:cNvSpPr>
              <a:spLocks/>
            </p:cNvSpPr>
            <p:nvPr/>
          </p:nvSpPr>
          <p:spPr bwMode="gray">
            <a:xfrm>
              <a:off x="6953368" y="4036242"/>
              <a:ext cx="122306" cy="174051"/>
            </a:xfrm>
            <a:custGeom>
              <a:avLst/>
              <a:gdLst>
                <a:gd name="T0" fmla="*/ 2147483647 w 306"/>
                <a:gd name="T1" fmla="*/ 2147483647 h 438"/>
                <a:gd name="T2" fmla="*/ 2147483647 w 306"/>
                <a:gd name="T3" fmla="*/ 2147483647 h 438"/>
                <a:gd name="T4" fmla="*/ 2147483647 w 306"/>
                <a:gd name="T5" fmla="*/ 2147483647 h 438"/>
                <a:gd name="T6" fmla="*/ 2147483647 w 306"/>
                <a:gd name="T7" fmla="*/ 2147483647 h 438"/>
                <a:gd name="T8" fmla="*/ 2147483647 w 306"/>
                <a:gd name="T9" fmla="*/ 2147483647 h 438"/>
                <a:gd name="T10" fmla="*/ 2147483647 w 306"/>
                <a:gd name="T11" fmla="*/ 2147483647 h 438"/>
                <a:gd name="T12" fmla="*/ 2147483647 w 306"/>
                <a:gd name="T13" fmla="*/ 2147483647 h 438"/>
                <a:gd name="T14" fmla="*/ 2147483647 w 306"/>
                <a:gd name="T15" fmla="*/ 2147483647 h 438"/>
                <a:gd name="T16" fmla="*/ 2147483647 w 306"/>
                <a:gd name="T17" fmla="*/ 2147483647 h 438"/>
                <a:gd name="T18" fmla="*/ 2147483647 w 306"/>
                <a:gd name="T19" fmla="*/ 2147483647 h 438"/>
                <a:gd name="T20" fmla="*/ 2147483647 w 306"/>
                <a:gd name="T21" fmla="*/ 2147483647 h 438"/>
                <a:gd name="T22" fmla="*/ 2147483647 w 306"/>
                <a:gd name="T23" fmla="*/ 2147483647 h 438"/>
                <a:gd name="T24" fmla="*/ 2147483647 w 306"/>
                <a:gd name="T25" fmla="*/ 2147483647 h 438"/>
                <a:gd name="T26" fmla="*/ 2147483647 w 306"/>
                <a:gd name="T27" fmla="*/ 2147483647 h 438"/>
                <a:gd name="T28" fmla="*/ 2147483647 w 306"/>
                <a:gd name="T29" fmla="*/ 2147483647 h 438"/>
                <a:gd name="T30" fmla="*/ 2147483647 w 306"/>
                <a:gd name="T31" fmla="*/ 2147483647 h 438"/>
                <a:gd name="T32" fmla="*/ 2147483647 w 306"/>
                <a:gd name="T33" fmla="*/ 2147483647 h 438"/>
                <a:gd name="T34" fmla="*/ 2147483647 w 306"/>
                <a:gd name="T35" fmla="*/ 2147483647 h 438"/>
                <a:gd name="T36" fmla="*/ 2147483647 w 306"/>
                <a:gd name="T37" fmla="*/ 2147483647 h 438"/>
                <a:gd name="T38" fmla="*/ 2147483647 w 306"/>
                <a:gd name="T39" fmla="*/ 2147483647 h 438"/>
                <a:gd name="T40" fmla="*/ 2147483647 w 306"/>
                <a:gd name="T41" fmla="*/ 2147483647 h 438"/>
                <a:gd name="T42" fmla="*/ 2147483647 w 306"/>
                <a:gd name="T43" fmla="*/ 2147483647 h 438"/>
                <a:gd name="T44" fmla="*/ 2147483647 w 306"/>
                <a:gd name="T45" fmla="*/ 2147483647 h 438"/>
                <a:gd name="T46" fmla="*/ 2147483647 w 306"/>
                <a:gd name="T47" fmla="*/ 2147483647 h 438"/>
                <a:gd name="T48" fmla="*/ 2147483647 w 306"/>
                <a:gd name="T49" fmla="*/ 2147483647 h 438"/>
                <a:gd name="T50" fmla="*/ 2147483647 w 306"/>
                <a:gd name="T51" fmla="*/ 2147483647 h 438"/>
                <a:gd name="T52" fmla="*/ 2147483647 w 306"/>
                <a:gd name="T53" fmla="*/ 2147483647 h 438"/>
                <a:gd name="T54" fmla="*/ 2147483647 w 306"/>
                <a:gd name="T55" fmla="*/ 2147483647 h 438"/>
                <a:gd name="T56" fmla="*/ 2147483647 w 306"/>
                <a:gd name="T57" fmla="*/ 2147483647 h 438"/>
                <a:gd name="T58" fmla="*/ 2147483647 w 306"/>
                <a:gd name="T59" fmla="*/ 2147483647 h 438"/>
                <a:gd name="T60" fmla="*/ 2147483647 w 306"/>
                <a:gd name="T61" fmla="*/ 2147483647 h 438"/>
                <a:gd name="T62" fmla="*/ 2147483647 w 306"/>
                <a:gd name="T63" fmla="*/ 2147483647 h 438"/>
                <a:gd name="T64" fmla="*/ 2147483647 w 306"/>
                <a:gd name="T65" fmla="*/ 2147483647 h 438"/>
                <a:gd name="T66" fmla="*/ 2147483647 w 306"/>
                <a:gd name="T67" fmla="*/ 2147483647 h 438"/>
                <a:gd name="T68" fmla="*/ 2147483647 w 306"/>
                <a:gd name="T69" fmla="*/ 2147483647 h 438"/>
                <a:gd name="T70" fmla="*/ 2147483647 w 306"/>
                <a:gd name="T71" fmla="*/ 2147483647 h 438"/>
                <a:gd name="T72" fmla="*/ 2147483647 w 306"/>
                <a:gd name="T73" fmla="*/ 2147483647 h 438"/>
                <a:gd name="T74" fmla="*/ 2147483647 w 306"/>
                <a:gd name="T75" fmla="*/ 2147483647 h 438"/>
                <a:gd name="T76" fmla="*/ 2147483647 w 306"/>
                <a:gd name="T77" fmla="*/ 0 h 438"/>
                <a:gd name="T78" fmla="*/ 2147483647 w 306"/>
                <a:gd name="T79" fmla="*/ 2147483647 h 438"/>
                <a:gd name="T80" fmla="*/ 2147483647 w 306"/>
                <a:gd name="T81" fmla="*/ 2147483647 h 43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6"/>
                <a:gd name="T124" fmla="*/ 0 h 438"/>
                <a:gd name="T125" fmla="*/ 306 w 306"/>
                <a:gd name="T126" fmla="*/ 438 h 43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6" h="438">
                  <a:moveTo>
                    <a:pt x="0" y="42"/>
                  </a:moveTo>
                  <a:lnTo>
                    <a:pt x="6" y="138"/>
                  </a:lnTo>
                  <a:lnTo>
                    <a:pt x="18" y="138"/>
                  </a:lnTo>
                  <a:lnTo>
                    <a:pt x="24" y="132"/>
                  </a:lnTo>
                  <a:lnTo>
                    <a:pt x="42" y="132"/>
                  </a:lnTo>
                  <a:lnTo>
                    <a:pt x="54" y="138"/>
                  </a:lnTo>
                  <a:lnTo>
                    <a:pt x="54" y="168"/>
                  </a:lnTo>
                  <a:lnTo>
                    <a:pt x="48" y="180"/>
                  </a:lnTo>
                  <a:lnTo>
                    <a:pt x="48" y="198"/>
                  </a:lnTo>
                  <a:lnTo>
                    <a:pt x="54" y="216"/>
                  </a:lnTo>
                  <a:lnTo>
                    <a:pt x="60" y="228"/>
                  </a:lnTo>
                  <a:lnTo>
                    <a:pt x="66" y="234"/>
                  </a:lnTo>
                  <a:lnTo>
                    <a:pt x="84" y="234"/>
                  </a:lnTo>
                  <a:lnTo>
                    <a:pt x="90" y="228"/>
                  </a:lnTo>
                  <a:lnTo>
                    <a:pt x="90" y="240"/>
                  </a:lnTo>
                  <a:lnTo>
                    <a:pt x="84" y="252"/>
                  </a:lnTo>
                  <a:lnTo>
                    <a:pt x="84" y="282"/>
                  </a:lnTo>
                  <a:lnTo>
                    <a:pt x="96" y="306"/>
                  </a:lnTo>
                  <a:lnTo>
                    <a:pt x="102" y="312"/>
                  </a:lnTo>
                  <a:lnTo>
                    <a:pt x="114" y="318"/>
                  </a:lnTo>
                  <a:lnTo>
                    <a:pt x="132" y="330"/>
                  </a:lnTo>
                  <a:lnTo>
                    <a:pt x="144" y="336"/>
                  </a:lnTo>
                  <a:lnTo>
                    <a:pt x="162" y="354"/>
                  </a:lnTo>
                  <a:lnTo>
                    <a:pt x="168" y="354"/>
                  </a:lnTo>
                  <a:lnTo>
                    <a:pt x="168" y="366"/>
                  </a:lnTo>
                  <a:lnTo>
                    <a:pt x="174" y="372"/>
                  </a:lnTo>
                  <a:lnTo>
                    <a:pt x="174" y="378"/>
                  </a:lnTo>
                  <a:lnTo>
                    <a:pt x="180" y="384"/>
                  </a:lnTo>
                  <a:lnTo>
                    <a:pt x="186" y="384"/>
                  </a:lnTo>
                  <a:lnTo>
                    <a:pt x="198" y="390"/>
                  </a:lnTo>
                  <a:lnTo>
                    <a:pt x="204" y="396"/>
                  </a:lnTo>
                  <a:lnTo>
                    <a:pt x="216" y="396"/>
                  </a:lnTo>
                  <a:lnTo>
                    <a:pt x="222" y="402"/>
                  </a:lnTo>
                  <a:lnTo>
                    <a:pt x="228" y="402"/>
                  </a:lnTo>
                  <a:lnTo>
                    <a:pt x="252" y="438"/>
                  </a:lnTo>
                  <a:lnTo>
                    <a:pt x="300" y="432"/>
                  </a:lnTo>
                  <a:lnTo>
                    <a:pt x="300" y="420"/>
                  </a:lnTo>
                  <a:lnTo>
                    <a:pt x="306" y="408"/>
                  </a:lnTo>
                  <a:lnTo>
                    <a:pt x="306" y="378"/>
                  </a:lnTo>
                  <a:lnTo>
                    <a:pt x="294" y="354"/>
                  </a:lnTo>
                  <a:lnTo>
                    <a:pt x="270" y="330"/>
                  </a:lnTo>
                  <a:lnTo>
                    <a:pt x="264" y="318"/>
                  </a:lnTo>
                  <a:lnTo>
                    <a:pt x="258" y="312"/>
                  </a:lnTo>
                  <a:lnTo>
                    <a:pt x="258" y="288"/>
                  </a:lnTo>
                  <a:lnTo>
                    <a:pt x="252" y="276"/>
                  </a:lnTo>
                  <a:lnTo>
                    <a:pt x="246" y="270"/>
                  </a:lnTo>
                  <a:lnTo>
                    <a:pt x="246" y="258"/>
                  </a:lnTo>
                  <a:lnTo>
                    <a:pt x="252" y="252"/>
                  </a:lnTo>
                  <a:lnTo>
                    <a:pt x="252" y="126"/>
                  </a:lnTo>
                  <a:lnTo>
                    <a:pt x="246" y="114"/>
                  </a:lnTo>
                  <a:lnTo>
                    <a:pt x="222" y="90"/>
                  </a:lnTo>
                  <a:lnTo>
                    <a:pt x="204" y="84"/>
                  </a:lnTo>
                  <a:lnTo>
                    <a:pt x="192" y="72"/>
                  </a:lnTo>
                  <a:lnTo>
                    <a:pt x="180" y="66"/>
                  </a:lnTo>
                  <a:lnTo>
                    <a:pt x="156" y="42"/>
                  </a:lnTo>
                  <a:lnTo>
                    <a:pt x="150" y="54"/>
                  </a:lnTo>
                  <a:lnTo>
                    <a:pt x="144" y="60"/>
                  </a:lnTo>
                  <a:lnTo>
                    <a:pt x="138" y="72"/>
                  </a:lnTo>
                  <a:lnTo>
                    <a:pt x="138" y="78"/>
                  </a:lnTo>
                  <a:lnTo>
                    <a:pt x="132" y="84"/>
                  </a:lnTo>
                  <a:lnTo>
                    <a:pt x="114" y="66"/>
                  </a:lnTo>
                  <a:lnTo>
                    <a:pt x="108" y="66"/>
                  </a:lnTo>
                  <a:lnTo>
                    <a:pt x="102" y="72"/>
                  </a:lnTo>
                  <a:lnTo>
                    <a:pt x="90" y="72"/>
                  </a:lnTo>
                  <a:lnTo>
                    <a:pt x="90" y="78"/>
                  </a:lnTo>
                  <a:lnTo>
                    <a:pt x="72" y="78"/>
                  </a:lnTo>
                  <a:lnTo>
                    <a:pt x="66" y="72"/>
                  </a:lnTo>
                  <a:lnTo>
                    <a:pt x="66" y="66"/>
                  </a:lnTo>
                  <a:lnTo>
                    <a:pt x="78" y="54"/>
                  </a:lnTo>
                  <a:lnTo>
                    <a:pt x="78" y="42"/>
                  </a:lnTo>
                  <a:lnTo>
                    <a:pt x="66" y="42"/>
                  </a:lnTo>
                  <a:lnTo>
                    <a:pt x="66" y="30"/>
                  </a:lnTo>
                  <a:lnTo>
                    <a:pt x="60" y="24"/>
                  </a:lnTo>
                  <a:lnTo>
                    <a:pt x="48" y="18"/>
                  </a:lnTo>
                  <a:lnTo>
                    <a:pt x="30" y="18"/>
                  </a:lnTo>
                  <a:lnTo>
                    <a:pt x="30" y="12"/>
                  </a:lnTo>
                  <a:lnTo>
                    <a:pt x="24" y="0"/>
                  </a:lnTo>
                  <a:lnTo>
                    <a:pt x="12" y="0"/>
                  </a:lnTo>
                  <a:lnTo>
                    <a:pt x="6" y="6"/>
                  </a:lnTo>
                  <a:lnTo>
                    <a:pt x="6" y="18"/>
                  </a:lnTo>
                  <a:lnTo>
                    <a:pt x="12" y="24"/>
                  </a:lnTo>
                  <a:lnTo>
                    <a:pt x="6" y="36"/>
                  </a:lnTo>
                  <a:lnTo>
                    <a:pt x="0" y="4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11" name="Malaysien" descr="© INSCALE GmbH, 05.05.2010&#10;http://www.presentationload.com/">
              <a:extLst>
                <a:ext uri="{FF2B5EF4-FFF2-40B4-BE49-F238E27FC236}">
                  <a16:creationId xmlns:a16="http://schemas.microsoft.com/office/drawing/2014/main" id="{666E0599-16BF-4D77-A4E7-3511E3A4609C}"/>
                </a:ext>
              </a:extLst>
            </p:cNvPr>
            <p:cNvSpPr>
              <a:spLocks/>
            </p:cNvSpPr>
            <p:nvPr/>
          </p:nvSpPr>
          <p:spPr bwMode="gray">
            <a:xfrm>
              <a:off x="7238748" y="4015858"/>
              <a:ext cx="272836" cy="210115"/>
            </a:xfrm>
            <a:custGeom>
              <a:avLst/>
              <a:gdLst>
                <a:gd name="T0" fmla="*/ 2147483647 w 690"/>
                <a:gd name="T1" fmla="*/ 2147483647 h 528"/>
                <a:gd name="T2" fmla="*/ 2147483647 w 690"/>
                <a:gd name="T3" fmla="*/ 2147483647 h 528"/>
                <a:gd name="T4" fmla="*/ 2147483647 w 690"/>
                <a:gd name="T5" fmla="*/ 2147483647 h 528"/>
                <a:gd name="T6" fmla="*/ 2147483647 w 690"/>
                <a:gd name="T7" fmla="*/ 2147483647 h 528"/>
                <a:gd name="T8" fmla="*/ 2147483647 w 690"/>
                <a:gd name="T9" fmla="*/ 2147483647 h 528"/>
                <a:gd name="T10" fmla="*/ 2147483647 w 690"/>
                <a:gd name="T11" fmla="*/ 2147483647 h 528"/>
                <a:gd name="T12" fmla="*/ 2147483647 w 690"/>
                <a:gd name="T13" fmla="*/ 2147483647 h 528"/>
                <a:gd name="T14" fmla="*/ 2147483647 w 690"/>
                <a:gd name="T15" fmla="*/ 2147483647 h 528"/>
                <a:gd name="T16" fmla="*/ 2147483647 w 690"/>
                <a:gd name="T17" fmla="*/ 2147483647 h 528"/>
                <a:gd name="T18" fmla="*/ 2147483647 w 690"/>
                <a:gd name="T19" fmla="*/ 2147483647 h 528"/>
                <a:gd name="T20" fmla="*/ 2147483647 w 690"/>
                <a:gd name="T21" fmla="*/ 2147483647 h 528"/>
                <a:gd name="T22" fmla="*/ 2147483647 w 690"/>
                <a:gd name="T23" fmla="*/ 2147483647 h 528"/>
                <a:gd name="T24" fmla="*/ 2147483647 w 690"/>
                <a:gd name="T25" fmla="*/ 2147483647 h 528"/>
                <a:gd name="T26" fmla="*/ 2147483647 w 690"/>
                <a:gd name="T27" fmla="*/ 2147483647 h 528"/>
                <a:gd name="T28" fmla="*/ 2147483647 w 690"/>
                <a:gd name="T29" fmla="*/ 2147483647 h 528"/>
                <a:gd name="T30" fmla="*/ 2147483647 w 690"/>
                <a:gd name="T31" fmla="*/ 2147483647 h 528"/>
                <a:gd name="T32" fmla="*/ 2147483647 w 690"/>
                <a:gd name="T33" fmla="*/ 2147483647 h 528"/>
                <a:gd name="T34" fmla="*/ 2147483647 w 690"/>
                <a:gd name="T35" fmla="*/ 2147483647 h 528"/>
                <a:gd name="T36" fmla="*/ 2147483647 w 690"/>
                <a:gd name="T37" fmla="*/ 2147483647 h 528"/>
                <a:gd name="T38" fmla="*/ 2147483647 w 690"/>
                <a:gd name="T39" fmla="*/ 2147483647 h 528"/>
                <a:gd name="T40" fmla="*/ 2147483647 w 690"/>
                <a:gd name="T41" fmla="*/ 2147483647 h 528"/>
                <a:gd name="T42" fmla="*/ 2147483647 w 690"/>
                <a:gd name="T43" fmla="*/ 2147483647 h 528"/>
                <a:gd name="T44" fmla="*/ 2147483647 w 690"/>
                <a:gd name="T45" fmla="*/ 2147483647 h 528"/>
                <a:gd name="T46" fmla="*/ 2147483647 w 690"/>
                <a:gd name="T47" fmla="*/ 2147483647 h 528"/>
                <a:gd name="T48" fmla="*/ 2147483647 w 690"/>
                <a:gd name="T49" fmla="*/ 2147483647 h 528"/>
                <a:gd name="T50" fmla="*/ 2147483647 w 690"/>
                <a:gd name="T51" fmla="*/ 2147483647 h 528"/>
                <a:gd name="T52" fmla="*/ 2147483647 w 690"/>
                <a:gd name="T53" fmla="*/ 2147483647 h 528"/>
                <a:gd name="T54" fmla="*/ 2147483647 w 690"/>
                <a:gd name="T55" fmla="*/ 2147483647 h 528"/>
                <a:gd name="T56" fmla="*/ 2147483647 w 690"/>
                <a:gd name="T57" fmla="*/ 2147483647 h 528"/>
                <a:gd name="T58" fmla="*/ 2147483647 w 690"/>
                <a:gd name="T59" fmla="*/ 2147483647 h 528"/>
                <a:gd name="T60" fmla="*/ 2147483647 w 690"/>
                <a:gd name="T61" fmla="*/ 2147483647 h 528"/>
                <a:gd name="T62" fmla="*/ 2147483647 w 690"/>
                <a:gd name="T63" fmla="*/ 2147483647 h 528"/>
                <a:gd name="T64" fmla="*/ 2147483647 w 690"/>
                <a:gd name="T65" fmla="*/ 2147483647 h 528"/>
                <a:gd name="T66" fmla="*/ 2147483647 w 690"/>
                <a:gd name="T67" fmla="*/ 2147483647 h 528"/>
                <a:gd name="T68" fmla="*/ 2147483647 w 690"/>
                <a:gd name="T69" fmla="*/ 2147483647 h 528"/>
                <a:gd name="T70" fmla="*/ 2147483647 w 690"/>
                <a:gd name="T71" fmla="*/ 0 h 528"/>
                <a:gd name="T72" fmla="*/ 2147483647 w 690"/>
                <a:gd name="T73" fmla="*/ 0 h 528"/>
                <a:gd name="T74" fmla="*/ 2147483647 w 690"/>
                <a:gd name="T75" fmla="*/ 2147483647 h 528"/>
                <a:gd name="T76" fmla="*/ 2147483647 w 690"/>
                <a:gd name="T77" fmla="*/ 2147483647 h 528"/>
                <a:gd name="T78" fmla="*/ 2147483647 w 690"/>
                <a:gd name="T79" fmla="*/ 2147483647 h 528"/>
                <a:gd name="T80" fmla="*/ 2147483647 w 690"/>
                <a:gd name="T81" fmla="*/ 2147483647 h 528"/>
                <a:gd name="T82" fmla="*/ 2147483647 w 690"/>
                <a:gd name="T83" fmla="*/ 2147483647 h 528"/>
                <a:gd name="T84" fmla="*/ 2147483647 w 690"/>
                <a:gd name="T85" fmla="*/ 2147483647 h 528"/>
                <a:gd name="T86" fmla="*/ 2147483647 w 690"/>
                <a:gd name="T87" fmla="*/ 2147483647 h 528"/>
                <a:gd name="T88" fmla="*/ 2147483647 w 690"/>
                <a:gd name="T89" fmla="*/ 2147483647 h 528"/>
                <a:gd name="T90" fmla="*/ 2147483647 w 690"/>
                <a:gd name="T91" fmla="*/ 2147483647 h 528"/>
                <a:gd name="T92" fmla="*/ 2147483647 w 690"/>
                <a:gd name="T93" fmla="*/ 2147483647 h 528"/>
                <a:gd name="T94" fmla="*/ 2147483647 w 690"/>
                <a:gd name="T95" fmla="*/ 2147483647 h 528"/>
                <a:gd name="T96" fmla="*/ 2147483647 w 690"/>
                <a:gd name="T97" fmla="*/ 2147483647 h 528"/>
                <a:gd name="T98" fmla="*/ 2147483647 w 690"/>
                <a:gd name="T99" fmla="*/ 2147483647 h 528"/>
                <a:gd name="T100" fmla="*/ 2147483647 w 690"/>
                <a:gd name="T101" fmla="*/ 2147483647 h 528"/>
                <a:gd name="T102" fmla="*/ 2147483647 w 690"/>
                <a:gd name="T103" fmla="*/ 2147483647 h 528"/>
                <a:gd name="T104" fmla="*/ 2147483647 w 690"/>
                <a:gd name="T105" fmla="*/ 2147483647 h 528"/>
                <a:gd name="T106" fmla="*/ 2147483647 w 690"/>
                <a:gd name="T107" fmla="*/ 2147483647 h 528"/>
                <a:gd name="T108" fmla="*/ 2147483647 w 690"/>
                <a:gd name="T109" fmla="*/ 2147483647 h 528"/>
                <a:gd name="T110" fmla="*/ 2147483647 w 690"/>
                <a:gd name="T111" fmla="*/ 2147483647 h 528"/>
                <a:gd name="T112" fmla="*/ 2147483647 w 690"/>
                <a:gd name="T113" fmla="*/ 2147483647 h 528"/>
                <a:gd name="T114" fmla="*/ 0 w 690"/>
                <a:gd name="T115" fmla="*/ 2147483647 h 5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90"/>
                <a:gd name="T175" fmla="*/ 0 h 528"/>
                <a:gd name="T176" fmla="*/ 690 w 690"/>
                <a:gd name="T177" fmla="*/ 528 h 5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90" h="528">
                  <a:moveTo>
                    <a:pt x="12" y="504"/>
                  </a:moveTo>
                  <a:lnTo>
                    <a:pt x="24" y="510"/>
                  </a:lnTo>
                  <a:lnTo>
                    <a:pt x="30" y="516"/>
                  </a:lnTo>
                  <a:lnTo>
                    <a:pt x="54" y="528"/>
                  </a:lnTo>
                  <a:lnTo>
                    <a:pt x="60" y="528"/>
                  </a:lnTo>
                  <a:lnTo>
                    <a:pt x="78" y="510"/>
                  </a:lnTo>
                  <a:lnTo>
                    <a:pt x="102" y="510"/>
                  </a:lnTo>
                  <a:lnTo>
                    <a:pt x="120" y="516"/>
                  </a:lnTo>
                  <a:lnTo>
                    <a:pt x="144" y="516"/>
                  </a:lnTo>
                  <a:lnTo>
                    <a:pt x="174" y="486"/>
                  </a:lnTo>
                  <a:lnTo>
                    <a:pt x="180" y="474"/>
                  </a:lnTo>
                  <a:lnTo>
                    <a:pt x="222" y="474"/>
                  </a:lnTo>
                  <a:lnTo>
                    <a:pt x="234" y="486"/>
                  </a:lnTo>
                  <a:lnTo>
                    <a:pt x="258" y="498"/>
                  </a:lnTo>
                  <a:lnTo>
                    <a:pt x="264" y="504"/>
                  </a:lnTo>
                  <a:lnTo>
                    <a:pt x="270" y="504"/>
                  </a:lnTo>
                  <a:lnTo>
                    <a:pt x="282" y="492"/>
                  </a:lnTo>
                  <a:lnTo>
                    <a:pt x="294" y="486"/>
                  </a:lnTo>
                  <a:lnTo>
                    <a:pt x="300" y="480"/>
                  </a:lnTo>
                  <a:lnTo>
                    <a:pt x="324" y="480"/>
                  </a:lnTo>
                  <a:lnTo>
                    <a:pt x="354" y="444"/>
                  </a:lnTo>
                  <a:lnTo>
                    <a:pt x="348" y="432"/>
                  </a:lnTo>
                  <a:lnTo>
                    <a:pt x="384" y="402"/>
                  </a:lnTo>
                  <a:lnTo>
                    <a:pt x="378" y="390"/>
                  </a:lnTo>
                  <a:lnTo>
                    <a:pt x="372" y="384"/>
                  </a:lnTo>
                  <a:lnTo>
                    <a:pt x="372" y="360"/>
                  </a:lnTo>
                  <a:lnTo>
                    <a:pt x="378" y="354"/>
                  </a:lnTo>
                  <a:lnTo>
                    <a:pt x="396" y="354"/>
                  </a:lnTo>
                  <a:lnTo>
                    <a:pt x="402" y="342"/>
                  </a:lnTo>
                  <a:lnTo>
                    <a:pt x="402" y="336"/>
                  </a:lnTo>
                  <a:lnTo>
                    <a:pt x="408" y="318"/>
                  </a:lnTo>
                  <a:lnTo>
                    <a:pt x="408" y="264"/>
                  </a:lnTo>
                  <a:lnTo>
                    <a:pt x="414" y="252"/>
                  </a:lnTo>
                  <a:lnTo>
                    <a:pt x="420" y="246"/>
                  </a:lnTo>
                  <a:lnTo>
                    <a:pt x="516" y="246"/>
                  </a:lnTo>
                  <a:lnTo>
                    <a:pt x="540" y="270"/>
                  </a:lnTo>
                  <a:lnTo>
                    <a:pt x="552" y="276"/>
                  </a:lnTo>
                  <a:lnTo>
                    <a:pt x="558" y="282"/>
                  </a:lnTo>
                  <a:lnTo>
                    <a:pt x="576" y="276"/>
                  </a:lnTo>
                  <a:lnTo>
                    <a:pt x="564" y="216"/>
                  </a:lnTo>
                  <a:lnTo>
                    <a:pt x="576" y="222"/>
                  </a:lnTo>
                  <a:lnTo>
                    <a:pt x="582" y="234"/>
                  </a:lnTo>
                  <a:lnTo>
                    <a:pt x="594" y="240"/>
                  </a:lnTo>
                  <a:lnTo>
                    <a:pt x="636" y="240"/>
                  </a:lnTo>
                  <a:lnTo>
                    <a:pt x="630" y="234"/>
                  </a:lnTo>
                  <a:lnTo>
                    <a:pt x="624" y="222"/>
                  </a:lnTo>
                  <a:lnTo>
                    <a:pt x="618" y="216"/>
                  </a:lnTo>
                  <a:lnTo>
                    <a:pt x="606" y="192"/>
                  </a:lnTo>
                  <a:lnTo>
                    <a:pt x="606" y="186"/>
                  </a:lnTo>
                  <a:lnTo>
                    <a:pt x="612" y="180"/>
                  </a:lnTo>
                  <a:lnTo>
                    <a:pt x="624" y="180"/>
                  </a:lnTo>
                  <a:lnTo>
                    <a:pt x="642" y="186"/>
                  </a:lnTo>
                  <a:lnTo>
                    <a:pt x="654" y="186"/>
                  </a:lnTo>
                  <a:lnTo>
                    <a:pt x="660" y="192"/>
                  </a:lnTo>
                  <a:lnTo>
                    <a:pt x="666" y="192"/>
                  </a:lnTo>
                  <a:lnTo>
                    <a:pt x="690" y="162"/>
                  </a:lnTo>
                  <a:lnTo>
                    <a:pt x="666" y="156"/>
                  </a:lnTo>
                  <a:lnTo>
                    <a:pt x="660" y="144"/>
                  </a:lnTo>
                  <a:lnTo>
                    <a:pt x="642" y="126"/>
                  </a:lnTo>
                  <a:lnTo>
                    <a:pt x="630" y="120"/>
                  </a:lnTo>
                  <a:lnTo>
                    <a:pt x="612" y="120"/>
                  </a:lnTo>
                  <a:lnTo>
                    <a:pt x="600" y="114"/>
                  </a:lnTo>
                  <a:lnTo>
                    <a:pt x="588" y="114"/>
                  </a:lnTo>
                  <a:lnTo>
                    <a:pt x="588" y="108"/>
                  </a:lnTo>
                  <a:lnTo>
                    <a:pt x="582" y="102"/>
                  </a:lnTo>
                  <a:lnTo>
                    <a:pt x="582" y="90"/>
                  </a:lnTo>
                  <a:lnTo>
                    <a:pt x="576" y="78"/>
                  </a:lnTo>
                  <a:lnTo>
                    <a:pt x="564" y="66"/>
                  </a:lnTo>
                  <a:lnTo>
                    <a:pt x="540" y="54"/>
                  </a:lnTo>
                  <a:lnTo>
                    <a:pt x="534" y="60"/>
                  </a:lnTo>
                  <a:lnTo>
                    <a:pt x="528" y="60"/>
                  </a:lnTo>
                  <a:lnTo>
                    <a:pt x="510" y="0"/>
                  </a:lnTo>
                  <a:lnTo>
                    <a:pt x="504" y="18"/>
                  </a:lnTo>
                  <a:lnTo>
                    <a:pt x="492" y="0"/>
                  </a:lnTo>
                  <a:lnTo>
                    <a:pt x="480" y="60"/>
                  </a:lnTo>
                  <a:lnTo>
                    <a:pt x="468" y="66"/>
                  </a:lnTo>
                  <a:lnTo>
                    <a:pt x="462" y="66"/>
                  </a:lnTo>
                  <a:lnTo>
                    <a:pt x="450" y="72"/>
                  </a:lnTo>
                  <a:lnTo>
                    <a:pt x="438" y="96"/>
                  </a:lnTo>
                  <a:lnTo>
                    <a:pt x="438" y="114"/>
                  </a:lnTo>
                  <a:lnTo>
                    <a:pt x="408" y="126"/>
                  </a:lnTo>
                  <a:lnTo>
                    <a:pt x="420" y="162"/>
                  </a:lnTo>
                  <a:lnTo>
                    <a:pt x="408" y="162"/>
                  </a:lnTo>
                  <a:lnTo>
                    <a:pt x="390" y="156"/>
                  </a:lnTo>
                  <a:lnTo>
                    <a:pt x="378" y="156"/>
                  </a:lnTo>
                  <a:lnTo>
                    <a:pt x="360" y="150"/>
                  </a:lnTo>
                  <a:lnTo>
                    <a:pt x="354" y="150"/>
                  </a:lnTo>
                  <a:lnTo>
                    <a:pt x="342" y="156"/>
                  </a:lnTo>
                  <a:lnTo>
                    <a:pt x="342" y="168"/>
                  </a:lnTo>
                  <a:lnTo>
                    <a:pt x="336" y="180"/>
                  </a:lnTo>
                  <a:lnTo>
                    <a:pt x="336" y="204"/>
                  </a:lnTo>
                  <a:lnTo>
                    <a:pt x="294" y="246"/>
                  </a:lnTo>
                  <a:lnTo>
                    <a:pt x="294" y="258"/>
                  </a:lnTo>
                  <a:lnTo>
                    <a:pt x="282" y="294"/>
                  </a:lnTo>
                  <a:lnTo>
                    <a:pt x="276" y="306"/>
                  </a:lnTo>
                  <a:lnTo>
                    <a:pt x="264" y="318"/>
                  </a:lnTo>
                  <a:lnTo>
                    <a:pt x="228" y="336"/>
                  </a:lnTo>
                  <a:lnTo>
                    <a:pt x="186" y="342"/>
                  </a:lnTo>
                  <a:lnTo>
                    <a:pt x="162" y="348"/>
                  </a:lnTo>
                  <a:lnTo>
                    <a:pt x="156" y="354"/>
                  </a:lnTo>
                  <a:lnTo>
                    <a:pt x="132" y="366"/>
                  </a:lnTo>
                  <a:lnTo>
                    <a:pt x="114" y="384"/>
                  </a:lnTo>
                  <a:lnTo>
                    <a:pt x="102" y="390"/>
                  </a:lnTo>
                  <a:lnTo>
                    <a:pt x="84" y="426"/>
                  </a:lnTo>
                  <a:lnTo>
                    <a:pt x="102" y="444"/>
                  </a:lnTo>
                  <a:lnTo>
                    <a:pt x="102" y="462"/>
                  </a:lnTo>
                  <a:lnTo>
                    <a:pt x="96" y="474"/>
                  </a:lnTo>
                  <a:lnTo>
                    <a:pt x="84" y="480"/>
                  </a:lnTo>
                  <a:lnTo>
                    <a:pt x="72" y="480"/>
                  </a:lnTo>
                  <a:lnTo>
                    <a:pt x="48" y="468"/>
                  </a:lnTo>
                  <a:lnTo>
                    <a:pt x="42" y="462"/>
                  </a:lnTo>
                  <a:lnTo>
                    <a:pt x="30" y="456"/>
                  </a:lnTo>
                  <a:lnTo>
                    <a:pt x="24" y="456"/>
                  </a:lnTo>
                  <a:lnTo>
                    <a:pt x="12" y="462"/>
                  </a:lnTo>
                  <a:lnTo>
                    <a:pt x="0" y="474"/>
                  </a:lnTo>
                  <a:lnTo>
                    <a:pt x="0" y="492"/>
                  </a:lnTo>
                  <a:lnTo>
                    <a:pt x="12" y="504"/>
                  </a:lnTo>
                  <a:close/>
                </a:path>
              </a:pathLst>
            </a:custGeom>
            <a:grpFill/>
            <a:ln w="9525">
              <a:solidFill>
                <a:schemeClr val="bg1"/>
              </a:solidFill>
              <a:round/>
              <a:headEnd/>
              <a:tailEnd/>
            </a:ln>
          </p:spPr>
          <p:txBody>
            <a:bodyPr/>
            <a:lstStyle/>
            <a:p>
              <a:endParaRPr lang="en-US" dirty="0"/>
            </a:p>
          </p:txBody>
        </p:sp>
        <p:sp>
          <p:nvSpPr>
            <p:cNvPr id="312" name="Malawi" descr="© INSCALE GmbH, 05.05.2010&#10;http://www.presentationload.com/">
              <a:extLst>
                <a:ext uri="{FF2B5EF4-FFF2-40B4-BE49-F238E27FC236}">
                  <a16:creationId xmlns:a16="http://schemas.microsoft.com/office/drawing/2014/main" id="{792DC317-A6F2-4F13-97C3-DFB1989A6EFE}"/>
                </a:ext>
              </a:extLst>
            </p:cNvPr>
            <p:cNvSpPr>
              <a:spLocks/>
            </p:cNvSpPr>
            <p:nvPr/>
          </p:nvSpPr>
          <p:spPr bwMode="gray">
            <a:xfrm>
              <a:off x="5048221" y="4553690"/>
              <a:ext cx="92513" cy="249316"/>
            </a:xfrm>
            <a:custGeom>
              <a:avLst/>
              <a:gdLst>
                <a:gd name="T0" fmla="*/ 2147483647 w 234"/>
                <a:gd name="T1" fmla="*/ 2147483647 h 624"/>
                <a:gd name="T2" fmla="*/ 2147483647 w 234"/>
                <a:gd name="T3" fmla="*/ 2147483647 h 624"/>
                <a:gd name="T4" fmla="*/ 2147483647 w 234"/>
                <a:gd name="T5" fmla="*/ 2147483647 h 624"/>
                <a:gd name="T6" fmla="*/ 2147483647 w 234"/>
                <a:gd name="T7" fmla="*/ 2147483647 h 624"/>
                <a:gd name="T8" fmla="*/ 2147483647 w 234"/>
                <a:gd name="T9" fmla="*/ 2147483647 h 624"/>
                <a:gd name="T10" fmla="*/ 2147483647 w 234"/>
                <a:gd name="T11" fmla="*/ 2147483647 h 624"/>
                <a:gd name="T12" fmla="*/ 2147483647 w 234"/>
                <a:gd name="T13" fmla="*/ 2147483647 h 624"/>
                <a:gd name="T14" fmla="*/ 2147483647 w 234"/>
                <a:gd name="T15" fmla="*/ 2147483647 h 624"/>
                <a:gd name="T16" fmla="*/ 2147483647 w 234"/>
                <a:gd name="T17" fmla="*/ 2147483647 h 624"/>
                <a:gd name="T18" fmla="*/ 2147483647 w 234"/>
                <a:gd name="T19" fmla="*/ 2147483647 h 624"/>
                <a:gd name="T20" fmla="*/ 2147483647 w 234"/>
                <a:gd name="T21" fmla="*/ 2147483647 h 624"/>
                <a:gd name="T22" fmla="*/ 2147483647 w 234"/>
                <a:gd name="T23" fmla="*/ 2147483647 h 624"/>
                <a:gd name="T24" fmla="*/ 2147483647 w 234"/>
                <a:gd name="T25" fmla="*/ 2147483647 h 624"/>
                <a:gd name="T26" fmla="*/ 2147483647 w 234"/>
                <a:gd name="T27" fmla="*/ 2147483647 h 624"/>
                <a:gd name="T28" fmla="*/ 2147483647 w 234"/>
                <a:gd name="T29" fmla="*/ 2147483647 h 624"/>
                <a:gd name="T30" fmla="*/ 2147483647 w 234"/>
                <a:gd name="T31" fmla="*/ 2147483647 h 624"/>
                <a:gd name="T32" fmla="*/ 2147483647 w 234"/>
                <a:gd name="T33" fmla="*/ 2147483647 h 624"/>
                <a:gd name="T34" fmla="*/ 2147483647 w 234"/>
                <a:gd name="T35" fmla="*/ 2147483647 h 624"/>
                <a:gd name="T36" fmla="*/ 2147483647 w 234"/>
                <a:gd name="T37" fmla="*/ 2147483647 h 624"/>
                <a:gd name="T38" fmla="*/ 2147483647 w 234"/>
                <a:gd name="T39" fmla="*/ 2147483647 h 624"/>
                <a:gd name="T40" fmla="*/ 2147483647 w 234"/>
                <a:gd name="T41" fmla="*/ 2147483647 h 624"/>
                <a:gd name="T42" fmla="*/ 2147483647 w 234"/>
                <a:gd name="T43" fmla="*/ 2147483647 h 624"/>
                <a:gd name="T44" fmla="*/ 2147483647 w 234"/>
                <a:gd name="T45" fmla="*/ 2147483647 h 624"/>
                <a:gd name="T46" fmla="*/ 2147483647 w 234"/>
                <a:gd name="T47" fmla="*/ 0 h 624"/>
                <a:gd name="T48" fmla="*/ 2147483647 w 234"/>
                <a:gd name="T49" fmla="*/ 2147483647 h 624"/>
                <a:gd name="T50" fmla="*/ 2147483647 w 234"/>
                <a:gd name="T51" fmla="*/ 2147483647 h 624"/>
                <a:gd name="T52" fmla="*/ 2147483647 w 234"/>
                <a:gd name="T53" fmla="*/ 2147483647 h 624"/>
                <a:gd name="T54" fmla="*/ 2147483647 w 234"/>
                <a:gd name="T55" fmla="*/ 2147483647 h 624"/>
                <a:gd name="T56" fmla="*/ 2147483647 w 234"/>
                <a:gd name="T57" fmla="*/ 2147483647 h 624"/>
                <a:gd name="T58" fmla="*/ 2147483647 w 234"/>
                <a:gd name="T59" fmla="*/ 2147483647 h 624"/>
                <a:gd name="T60" fmla="*/ 2147483647 w 234"/>
                <a:gd name="T61" fmla="*/ 2147483647 h 624"/>
                <a:gd name="T62" fmla="*/ 2147483647 w 234"/>
                <a:gd name="T63" fmla="*/ 2147483647 h 624"/>
                <a:gd name="T64" fmla="*/ 2147483647 w 234"/>
                <a:gd name="T65" fmla="*/ 2147483647 h 624"/>
                <a:gd name="T66" fmla="*/ 2147483647 w 234"/>
                <a:gd name="T67" fmla="*/ 2147483647 h 624"/>
                <a:gd name="T68" fmla="*/ 2147483647 w 234"/>
                <a:gd name="T69" fmla="*/ 2147483647 h 624"/>
                <a:gd name="T70" fmla="*/ 2147483647 w 234"/>
                <a:gd name="T71" fmla="*/ 2147483647 h 624"/>
                <a:gd name="T72" fmla="*/ 2147483647 w 234"/>
                <a:gd name="T73" fmla="*/ 2147483647 h 624"/>
                <a:gd name="T74" fmla="*/ 0 w 234"/>
                <a:gd name="T75" fmla="*/ 2147483647 h 624"/>
                <a:gd name="T76" fmla="*/ 2147483647 w 234"/>
                <a:gd name="T77" fmla="*/ 2147483647 h 624"/>
                <a:gd name="T78" fmla="*/ 2147483647 w 234"/>
                <a:gd name="T79" fmla="*/ 2147483647 h 624"/>
                <a:gd name="T80" fmla="*/ 2147483647 w 234"/>
                <a:gd name="T81" fmla="*/ 2147483647 h 624"/>
                <a:gd name="T82" fmla="*/ 2147483647 w 234"/>
                <a:gd name="T83" fmla="*/ 2147483647 h 624"/>
                <a:gd name="T84" fmla="*/ 2147483647 w 234"/>
                <a:gd name="T85" fmla="*/ 2147483647 h 624"/>
                <a:gd name="T86" fmla="*/ 2147483647 w 234"/>
                <a:gd name="T87" fmla="*/ 2147483647 h 624"/>
                <a:gd name="T88" fmla="*/ 2147483647 w 234"/>
                <a:gd name="T89" fmla="*/ 2147483647 h 624"/>
                <a:gd name="T90" fmla="*/ 2147483647 w 234"/>
                <a:gd name="T91" fmla="*/ 2147483647 h 624"/>
                <a:gd name="T92" fmla="*/ 2147483647 w 234"/>
                <a:gd name="T93" fmla="*/ 2147483647 h 624"/>
                <a:gd name="T94" fmla="*/ 2147483647 w 234"/>
                <a:gd name="T95" fmla="*/ 2147483647 h 624"/>
                <a:gd name="T96" fmla="*/ 2147483647 w 234"/>
                <a:gd name="T97" fmla="*/ 2147483647 h 624"/>
                <a:gd name="T98" fmla="*/ 2147483647 w 234"/>
                <a:gd name="T99" fmla="*/ 2147483647 h 624"/>
                <a:gd name="T100" fmla="*/ 2147483647 w 234"/>
                <a:gd name="T101" fmla="*/ 2147483647 h 624"/>
                <a:gd name="T102" fmla="*/ 2147483647 w 234"/>
                <a:gd name="T103" fmla="*/ 2147483647 h 624"/>
                <a:gd name="T104" fmla="*/ 2147483647 w 234"/>
                <a:gd name="T105" fmla="*/ 2147483647 h 624"/>
                <a:gd name="T106" fmla="*/ 2147483647 w 234"/>
                <a:gd name="T107" fmla="*/ 2147483647 h 624"/>
                <a:gd name="T108" fmla="*/ 2147483647 w 234"/>
                <a:gd name="T109" fmla="*/ 2147483647 h 624"/>
                <a:gd name="T110" fmla="*/ 2147483647 w 234"/>
                <a:gd name="T111" fmla="*/ 2147483647 h 624"/>
                <a:gd name="T112" fmla="*/ 2147483647 w 234"/>
                <a:gd name="T113" fmla="*/ 2147483647 h 624"/>
                <a:gd name="T114" fmla="*/ 2147483647 w 234"/>
                <a:gd name="T115" fmla="*/ 2147483647 h 624"/>
                <a:gd name="T116" fmla="*/ 2147483647 w 234"/>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4"/>
                <a:gd name="T178" fmla="*/ 0 h 624"/>
                <a:gd name="T179" fmla="*/ 234 w 234"/>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4" h="624">
                  <a:moveTo>
                    <a:pt x="234" y="432"/>
                  </a:moveTo>
                  <a:lnTo>
                    <a:pt x="222" y="420"/>
                  </a:lnTo>
                  <a:lnTo>
                    <a:pt x="210" y="402"/>
                  </a:lnTo>
                  <a:lnTo>
                    <a:pt x="204" y="390"/>
                  </a:lnTo>
                  <a:lnTo>
                    <a:pt x="198" y="384"/>
                  </a:lnTo>
                  <a:lnTo>
                    <a:pt x="186" y="360"/>
                  </a:lnTo>
                  <a:lnTo>
                    <a:pt x="162" y="336"/>
                  </a:lnTo>
                  <a:lnTo>
                    <a:pt x="156" y="336"/>
                  </a:lnTo>
                  <a:lnTo>
                    <a:pt x="156" y="330"/>
                  </a:lnTo>
                  <a:lnTo>
                    <a:pt x="150" y="330"/>
                  </a:lnTo>
                  <a:lnTo>
                    <a:pt x="150" y="342"/>
                  </a:lnTo>
                  <a:lnTo>
                    <a:pt x="156" y="342"/>
                  </a:lnTo>
                  <a:lnTo>
                    <a:pt x="168" y="354"/>
                  </a:lnTo>
                  <a:lnTo>
                    <a:pt x="168" y="366"/>
                  </a:lnTo>
                  <a:lnTo>
                    <a:pt x="174" y="378"/>
                  </a:lnTo>
                  <a:lnTo>
                    <a:pt x="174" y="390"/>
                  </a:lnTo>
                  <a:lnTo>
                    <a:pt x="168" y="396"/>
                  </a:lnTo>
                  <a:lnTo>
                    <a:pt x="162" y="396"/>
                  </a:lnTo>
                  <a:lnTo>
                    <a:pt x="162" y="390"/>
                  </a:lnTo>
                  <a:lnTo>
                    <a:pt x="156" y="384"/>
                  </a:lnTo>
                  <a:lnTo>
                    <a:pt x="156" y="378"/>
                  </a:lnTo>
                  <a:lnTo>
                    <a:pt x="144" y="384"/>
                  </a:lnTo>
                  <a:lnTo>
                    <a:pt x="132" y="384"/>
                  </a:lnTo>
                  <a:lnTo>
                    <a:pt x="132" y="360"/>
                  </a:lnTo>
                  <a:lnTo>
                    <a:pt x="126" y="354"/>
                  </a:lnTo>
                  <a:lnTo>
                    <a:pt x="126" y="342"/>
                  </a:lnTo>
                  <a:lnTo>
                    <a:pt x="120" y="330"/>
                  </a:lnTo>
                  <a:lnTo>
                    <a:pt x="120" y="282"/>
                  </a:lnTo>
                  <a:lnTo>
                    <a:pt x="84" y="246"/>
                  </a:lnTo>
                  <a:lnTo>
                    <a:pt x="90" y="240"/>
                  </a:lnTo>
                  <a:lnTo>
                    <a:pt x="90" y="222"/>
                  </a:lnTo>
                  <a:lnTo>
                    <a:pt x="96" y="210"/>
                  </a:lnTo>
                  <a:lnTo>
                    <a:pt x="114" y="192"/>
                  </a:lnTo>
                  <a:lnTo>
                    <a:pt x="120" y="180"/>
                  </a:lnTo>
                  <a:lnTo>
                    <a:pt x="126" y="174"/>
                  </a:lnTo>
                  <a:lnTo>
                    <a:pt x="126" y="156"/>
                  </a:lnTo>
                  <a:lnTo>
                    <a:pt x="120" y="150"/>
                  </a:lnTo>
                  <a:lnTo>
                    <a:pt x="120" y="102"/>
                  </a:lnTo>
                  <a:lnTo>
                    <a:pt x="114" y="78"/>
                  </a:lnTo>
                  <a:lnTo>
                    <a:pt x="114" y="60"/>
                  </a:lnTo>
                  <a:lnTo>
                    <a:pt x="102" y="60"/>
                  </a:lnTo>
                  <a:lnTo>
                    <a:pt x="84" y="42"/>
                  </a:lnTo>
                  <a:lnTo>
                    <a:pt x="84" y="36"/>
                  </a:lnTo>
                  <a:lnTo>
                    <a:pt x="90" y="24"/>
                  </a:lnTo>
                  <a:lnTo>
                    <a:pt x="90" y="18"/>
                  </a:lnTo>
                  <a:lnTo>
                    <a:pt x="60" y="18"/>
                  </a:lnTo>
                  <a:lnTo>
                    <a:pt x="54" y="0"/>
                  </a:lnTo>
                  <a:lnTo>
                    <a:pt x="30" y="0"/>
                  </a:lnTo>
                  <a:lnTo>
                    <a:pt x="30" y="12"/>
                  </a:lnTo>
                  <a:lnTo>
                    <a:pt x="42" y="12"/>
                  </a:lnTo>
                  <a:lnTo>
                    <a:pt x="54" y="24"/>
                  </a:lnTo>
                  <a:lnTo>
                    <a:pt x="54" y="66"/>
                  </a:lnTo>
                  <a:lnTo>
                    <a:pt x="60" y="66"/>
                  </a:lnTo>
                  <a:lnTo>
                    <a:pt x="66" y="60"/>
                  </a:lnTo>
                  <a:lnTo>
                    <a:pt x="66" y="84"/>
                  </a:lnTo>
                  <a:lnTo>
                    <a:pt x="78" y="84"/>
                  </a:lnTo>
                  <a:lnTo>
                    <a:pt x="78" y="96"/>
                  </a:lnTo>
                  <a:lnTo>
                    <a:pt x="54" y="108"/>
                  </a:lnTo>
                  <a:lnTo>
                    <a:pt x="48" y="114"/>
                  </a:lnTo>
                  <a:lnTo>
                    <a:pt x="42" y="114"/>
                  </a:lnTo>
                  <a:lnTo>
                    <a:pt x="42" y="132"/>
                  </a:lnTo>
                  <a:lnTo>
                    <a:pt x="54" y="138"/>
                  </a:lnTo>
                  <a:lnTo>
                    <a:pt x="48" y="156"/>
                  </a:lnTo>
                  <a:lnTo>
                    <a:pt x="48" y="228"/>
                  </a:lnTo>
                  <a:lnTo>
                    <a:pt x="60" y="228"/>
                  </a:lnTo>
                  <a:lnTo>
                    <a:pt x="60" y="234"/>
                  </a:lnTo>
                  <a:lnTo>
                    <a:pt x="42" y="252"/>
                  </a:lnTo>
                  <a:lnTo>
                    <a:pt x="30" y="258"/>
                  </a:lnTo>
                  <a:lnTo>
                    <a:pt x="24" y="264"/>
                  </a:lnTo>
                  <a:lnTo>
                    <a:pt x="18" y="264"/>
                  </a:lnTo>
                  <a:lnTo>
                    <a:pt x="24" y="300"/>
                  </a:lnTo>
                  <a:lnTo>
                    <a:pt x="18" y="312"/>
                  </a:lnTo>
                  <a:lnTo>
                    <a:pt x="12" y="318"/>
                  </a:lnTo>
                  <a:lnTo>
                    <a:pt x="6" y="330"/>
                  </a:lnTo>
                  <a:lnTo>
                    <a:pt x="0" y="336"/>
                  </a:lnTo>
                  <a:lnTo>
                    <a:pt x="0" y="342"/>
                  </a:lnTo>
                  <a:lnTo>
                    <a:pt x="12" y="348"/>
                  </a:lnTo>
                  <a:lnTo>
                    <a:pt x="24" y="360"/>
                  </a:lnTo>
                  <a:lnTo>
                    <a:pt x="36" y="366"/>
                  </a:lnTo>
                  <a:lnTo>
                    <a:pt x="66" y="414"/>
                  </a:lnTo>
                  <a:lnTo>
                    <a:pt x="96" y="414"/>
                  </a:lnTo>
                  <a:lnTo>
                    <a:pt x="102" y="408"/>
                  </a:lnTo>
                  <a:lnTo>
                    <a:pt x="120" y="408"/>
                  </a:lnTo>
                  <a:lnTo>
                    <a:pt x="126" y="414"/>
                  </a:lnTo>
                  <a:lnTo>
                    <a:pt x="126" y="450"/>
                  </a:lnTo>
                  <a:lnTo>
                    <a:pt x="132" y="450"/>
                  </a:lnTo>
                  <a:lnTo>
                    <a:pt x="126" y="480"/>
                  </a:lnTo>
                  <a:lnTo>
                    <a:pt x="114" y="486"/>
                  </a:lnTo>
                  <a:lnTo>
                    <a:pt x="126" y="504"/>
                  </a:lnTo>
                  <a:lnTo>
                    <a:pt x="120" y="510"/>
                  </a:lnTo>
                  <a:lnTo>
                    <a:pt x="108" y="516"/>
                  </a:lnTo>
                  <a:lnTo>
                    <a:pt x="102" y="522"/>
                  </a:lnTo>
                  <a:lnTo>
                    <a:pt x="102" y="528"/>
                  </a:lnTo>
                  <a:lnTo>
                    <a:pt x="114" y="528"/>
                  </a:lnTo>
                  <a:lnTo>
                    <a:pt x="114" y="558"/>
                  </a:lnTo>
                  <a:lnTo>
                    <a:pt x="126" y="564"/>
                  </a:lnTo>
                  <a:lnTo>
                    <a:pt x="132" y="570"/>
                  </a:lnTo>
                  <a:lnTo>
                    <a:pt x="144" y="576"/>
                  </a:lnTo>
                  <a:lnTo>
                    <a:pt x="150" y="582"/>
                  </a:lnTo>
                  <a:lnTo>
                    <a:pt x="162" y="588"/>
                  </a:lnTo>
                  <a:lnTo>
                    <a:pt x="162" y="600"/>
                  </a:lnTo>
                  <a:lnTo>
                    <a:pt x="156" y="606"/>
                  </a:lnTo>
                  <a:lnTo>
                    <a:pt x="156" y="618"/>
                  </a:lnTo>
                  <a:lnTo>
                    <a:pt x="162" y="624"/>
                  </a:lnTo>
                  <a:lnTo>
                    <a:pt x="168" y="618"/>
                  </a:lnTo>
                  <a:lnTo>
                    <a:pt x="180" y="612"/>
                  </a:lnTo>
                  <a:lnTo>
                    <a:pt x="180" y="582"/>
                  </a:lnTo>
                  <a:lnTo>
                    <a:pt x="174" y="576"/>
                  </a:lnTo>
                  <a:lnTo>
                    <a:pt x="168" y="576"/>
                  </a:lnTo>
                  <a:lnTo>
                    <a:pt x="168" y="558"/>
                  </a:lnTo>
                  <a:lnTo>
                    <a:pt x="174" y="546"/>
                  </a:lnTo>
                  <a:lnTo>
                    <a:pt x="186" y="540"/>
                  </a:lnTo>
                  <a:lnTo>
                    <a:pt x="210" y="540"/>
                  </a:lnTo>
                  <a:lnTo>
                    <a:pt x="216" y="534"/>
                  </a:lnTo>
                  <a:lnTo>
                    <a:pt x="216" y="474"/>
                  </a:lnTo>
                  <a:lnTo>
                    <a:pt x="222" y="468"/>
                  </a:lnTo>
                  <a:lnTo>
                    <a:pt x="228" y="456"/>
                  </a:lnTo>
                  <a:lnTo>
                    <a:pt x="234" y="450"/>
                  </a:lnTo>
                  <a:lnTo>
                    <a:pt x="234" y="43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13" name="Madagaskar" descr="© INSCALE GmbH, 05.05.2010&#10;http://www.presentationload.com/">
              <a:extLst>
                <a:ext uri="{FF2B5EF4-FFF2-40B4-BE49-F238E27FC236}">
                  <a16:creationId xmlns:a16="http://schemas.microsoft.com/office/drawing/2014/main" id="{309EC19F-161A-48EE-B11E-4078A608082D}"/>
                </a:ext>
              </a:extLst>
            </p:cNvPr>
            <p:cNvSpPr>
              <a:spLocks/>
            </p:cNvSpPr>
            <p:nvPr/>
          </p:nvSpPr>
          <p:spPr bwMode="gray">
            <a:xfrm>
              <a:off x="5319488" y="4646204"/>
              <a:ext cx="236771" cy="432774"/>
            </a:xfrm>
            <a:custGeom>
              <a:avLst/>
              <a:gdLst>
                <a:gd name="T0" fmla="*/ 2147483647 w 594"/>
                <a:gd name="T1" fmla="*/ 2147483647 h 1092"/>
                <a:gd name="T2" fmla="*/ 2147483647 w 594"/>
                <a:gd name="T3" fmla="*/ 2147483647 h 1092"/>
                <a:gd name="T4" fmla="*/ 2147483647 w 594"/>
                <a:gd name="T5" fmla="*/ 2147483647 h 1092"/>
                <a:gd name="T6" fmla="*/ 2147483647 w 594"/>
                <a:gd name="T7" fmla="*/ 2147483647 h 1092"/>
                <a:gd name="T8" fmla="*/ 2147483647 w 594"/>
                <a:gd name="T9" fmla="*/ 2147483647 h 1092"/>
                <a:gd name="T10" fmla="*/ 2147483647 w 594"/>
                <a:gd name="T11" fmla="*/ 2147483647 h 1092"/>
                <a:gd name="T12" fmla="*/ 2147483647 w 594"/>
                <a:gd name="T13" fmla="*/ 2147483647 h 1092"/>
                <a:gd name="T14" fmla="*/ 2147483647 w 594"/>
                <a:gd name="T15" fmla="*/ 2147483647 h 1092"/>
                <a:gd name="T16" fmla="*/ 2147483647 w 594"/>
                <a:gd name="T17" fmla="*/ 2147483647 h 1092"/>
                <a:gd name="T18" fmla="*/ 2147483647 w 594"/>
                <a:gd name="T19" fmla="*/ 2147483647 h 1092"/>
                <a:gd name="T20" fmla="*/ 2147483647 w 594"/>
                <a:gd name="T21" fmla="*/ 2147483647 h 1092"/>
                <a:gd name="T22" fmla="*/ 2147483647 w 594"/>
                <a:gd name="T23" fmla="*/ 2147483647 h 1092"/>
                <a:gd name="T24" fmla="*/ 2147483647 w 594"/>
                <a:gd name="T25" fmla="*/ 2147483647 h 1092"/>
                <a:gd name="T26" fmla="*/ 2147483647 w 594"/>
                <a:gd name="T27" fmla="*/ 2147483647 h 1092"/>
                <a:gd name="T28" fmla="*/ 2147483647 w 594"/>
                <a:gd name="T29" fmla="*/ 2147483647 h 1092"/>
                <a:gd name="T30" fmla="*/ 2147483647 w 594"/>
                <a:gd name="T31" fmla="*/ 2147483647 h 1092"/>
                <a:gd name="T32" fmla="*/ 2147483647 w 594"/>
                <a:gd name="T33" fmla="*/ 0 h 1092"/>
                <a:gd name="T34" fmla="*/ 2147483647 w 594"/>
                <a:gd name="T35" fmla="*/ 2147483647 h 1092"/>
                <a:gd name="T36" fmla="*/ 2147483647 w 594"/>
                <a:gd name="T37" fmla="*/ 2147483647 h 1092"/>
                <a:gd name="T38" fmla="*/ 2147483647 w 594"/>
                <a:gd name="T39" fmla="*/ 2147483647 h 1092"/>
                <a:gd name="T40" fmla="*/ 2147483647 w 594"/>
                <a:gd name="T41" fmla="*/ 2147483647 h 1092"/>
                <a:gd name="T42" fmla="*/ 2147483647 w 594"/>
                <a:gd name="T43" fmla="*/ 2147483647 h 1092"/>
                <a:gd name="T44" fmla="*/ 2147483647 w 594"/>
                <a:gd name="T45" fmla="*/ 2147483647 h 1092"/>
                <a:gd name="T46" fmla="*/ 2147483647 w 594"/>
                <a:gd name="T47" fmla="*/ 2147483647 h 1092"/>
                <a:gd name="T48" fmla="*/ 2147483647 w 594"/>
                <a:gd name="T49" fmla="*/ 2147483647 h 1092"/>
                <a:gd name="T50" fmla="*/ 2147483647 w 594"/>
                <a:gd name="T51" fmla="*/ 2147483647 h 1092"/>
                <a:gd name="T52" fmla="*/ 2147483647 w 594"/>
                <a:gd name="T53" fmla="*/ 2147483647 h 1092"/>
                <a:gd name="T54" fmla="*/ 2147483647 w 594"/>
                <a:gd name="T55" fmla="*/ 2147483647 h 1092"/>
                <a:gd name="T56" fmla="*/ 2147483647 w 594"/>
                <a:gd name="T57" fmla="*/ 2147483647 h 1092"/>
                <a:gd name="T58" fmla="*/ 2147483647 w 594"/>
                <a:gd name="T59" fmla="*/ 2147483647 h 1092"/>
                <a:gd name="T60" fmla="*/ 2147483647 w 594"/>
                <a:gd name="T61" fmla="*/ 2147483647 h 1092"/>
                <a:gd name="T62" fmla="*/ 2147483647 w 594"/>
                <a:gd name="T63" fmla="*/ 2147483647 h 1092"/>
                <a:gd name="T64" fmla="*/ 2147483647 w 594"/>
                <a:gd name="T65" fmla="*/ 2147483647 h 1092"/>
                <a:gd name="T66" fmla="*/ 2147483647 w 594"/>
                <a:gd name="T67" fmla="*/ 2147483647 h 1092"/>
                <a:gd name="T68" fmla="*/ 2147483647 w 594"/>
                <a:gd name="T69" fmla="*/ 2147483647 h 1092"/>
                <a:gd name="T70" fmla="*/ 2147483647 w 594"/>
                <a:gd name="T71" fmla="*/ 2147483647 h 1092"/>
                <a:gd name="T72" fmla="*/ 2147483647 w 594"/>
                <a:gd name="T73" fmla="*/ 2147483647 h 1092"/>
                <a:gd name="T74" fmla="*/ 2147483647 w 594"/>
                <a:gd name="T75" fmla="*/ 2147483647 h 1092"/>
                <a:gd name="T76" fmla="*/ 2147483647 w 594"/>
                <a:gd name="T77" fmla="*/ 2147483647 h 1092"/>
                <a:gd name="T78" fmla="*/ 2147483647 w 594"/>
                <a:gd name="T79" fmla="*/ 2147483647 h 1092"/>
                <a:gd name="T80" fmla="*/ 2147483647 w 594"/>
                <a:gd name="T81" fmla="*/ 2147483647 h 1092"/>
                <a:gd name="T82" fmla="*/ 2147483647 w 594"/>
                <a:gd name="T83" fmla="*/ 2147483647 h 1092"/>
                <a:gd name="T84" fmla="*/ 2147483647 w 594"/>
                <a:gd name="T85" fmla="*/ 2147483647 h 1092"/>
                <a:gd name="T86" fmla="*/ 0 w 594"/>
                <a:gd name="T87" fmla="*/ 2147483647 h 1092"/>
                <a:gd name="T88" fmla="*/ 2147483647 w 594"/>
                <a:gd name="T89" fmla="*/ 2147483647 h 1092"/>
                <a:gd name="T90" fmla="*/ 2147483647 w 594"/>
                <a:gd name="T91" fmla="*/ 2147483647 h 1092"/>
                <a:gd name="T92" fmla="*/ 2147483647 w 594"/>
                <a:gd name="T93" fmla="*/ 2147483647 h 1092"/>
                <a:gd name="T94" fmla="*/ 2147483647 w 594"/>
                <a:gd name="T95" fmla="*/ 2147483647 h 1092"/>
                <a:gd name="T96" fmla="*/ 2147483647 w 594"/>
                <a:gd name="T97" fmla="*/ 2147483647 h 1092"/>
                <a:gd name="T98" fmla="*/ 2147483647 w 594"/>
                <a:gd name="T99" fmla="*/ 2147483647 h 1092"/>
                <a:gd name="T100" fmla="*/ 2147483647 w 594"/>
                <a:gd name="T101" fmla="*/ 2147483647 h 1092"/>
                <a:gd name="T102" fmla="*/ 2147483647 w 594"/>
                <a:gd name="T103" fmla="*/ 2147483647 h 10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4"/>
                <a:gd name="T157" fmla="*/ 0 h 1092"/>
                <a:gd name="T158" fmla="*/ 594 w 594"/>
                <a:gd name="T159" fmla="*/ 1092 h 10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4" h="1092">
                  <a:moveTo>
                    <a:pt x="120" y="330"/>
                  </a:moveTo>
                  <a:lnTo>
                    <a:pt x="144" y="324"/>
                  </a:lnTo>
                  <a:lnTo>
                    <a:pt x="192" y="324"/>
                  </a:lnTo>
                  <a:lnTo>
                    <a:pt x="192" y="300"/>
                  </a:lnTo>
                  <a:lnTo>
                    <a:pt x="252" y="312"/>
                  </a:lnTo>
                  <a:lnTo>
                    <a:pt x="270" y="282"/>
                  </a:lnTo>
                  <a:lnTo>
                    <a:pt x="312" y="288"/>
                  </a:lnTo>
                  <a:lnTo>
                    <a:pt x="312" y="258"/>
                  </a:lnTo>
                  <a:lnTo>
                    <a:pt x="324" y="228"/>
                  </a:lnTo>
                  <a:lnTo>
                    <a:pt x="324" y="258"/>
                  </a:lnTo>
                  <a:lnTo>
                    <a:pt x="336" y="276"/>
                  </a:lnTo>
                  <a:lnTo>
                    <a:pt x="348" y="240"/>
                  </a:lnTo>
                  <a:lnTo>
                    <a:pt x="348" y="210"/>
                  </a:lnTo>
                  <a:lnTo>
                    <a:pt x="354" y="192"/>
                  </a:lnTo>
                  <a:lnTo>
                    <a:pt x="354" y="186"/>
                  </a:lnTo>
                  <a:lnTo>
                    <a:pt x="360" y="186"/>
                  </a:lnTo>
                  <a:lnTo>
                    <a:pt x="372" y="198"/>
                  </a:lnTo>
                  <a:lnTo>
                    <a:pt x="372" y="204"/>
                  </a:lnTo>
                  <a:lnTo>
                    <a:pt x="378" y="204"/>
                  </a:lnTo>
                  <a:lnTo>
                    <a:pt x="402" y="180"/>
                  </a:lnTo>
                  <a:lnTo>
                    <a:pt x="396" y="168"/>
                  </a:lnTo>
                  <a:lnTo>
                    <a:pt x="396" y="150"/>
                  </a:lnTo>
                  <a:lnTo>
                    <a:pt x="390" y="138"/>
                  </a:lnTo>
                  <a:lnTo>
                    <a:pt x="402" y="126"/>
                  </a:lnTo>
                  <a:lnTo>
                    <a:pt x="414" y="126"/>
                  </a:lnTo>
                  <a:lnTo>
                    <a:pt x="420" y="132"/>
                  </a:lnTo>
                  <a:lnTo>
                    <a:pt x="426" y="132"/>
                  </a:lnTo>
                  <a:lnTo>
                    <a:pt x="432" y="126"/>
                  </a:lnTo>
                  <a:lnTo>
                    <a:pt x="438" y="114"/>
                  </a:lnTo>
                  <a:lnTo>
                    <a:pt x="450" y="102"/>
                  </a:lnTo>
                  <a:lnTo>
                    <a:pt x="456" y="90"/>
                  </a:lnTo>
                  <a:lnTo>
                    <a:pt x="462" y="72"/>
                  </a:lnTo>
                  <a:lnTo>
                    <a:pt x="462" y="42"/>
                  </a:lnTo>
                  <a:lnTo>
                    <a:pt x="492" y="0"/>
                  </a:lnTo>
                  <a:lnTo>
                    <a:pt x="546" y="60"/>
                  </a:lnTo>
                  <a:lnTo>
                    <a:pt x="546" y="90"/>
                  </a:lnTo>
                  <a:lnTo>
                    <a:pt x="552" y="96"/>
                  </a:lnTo>
                  <a:lnTo>
                    <a:pt x="558" y="114"/>
                  </a:lnTo>
                  <a:lnTo>
                    <a:pt x="576" y="150"/>
                  </a:lnTo>
                  <a:lnTo>
                    <a:pt x="582" y="156"/>
                  </a:lnTo>
                  <a:lnTo>
                    <a:pt x="582" y="162"/>
                  </a:lnTo>
                  <a:lnTo>
                    <a:pt x="564" y="216"/>
                  </a:lnTo>
                  <a:lnTo>
                    <a:pt x="594" y="276"/>
                  </a:lnTo>
                  <a:lnTo>
                    <a:pt x="594" y="288"/>
                  </a:lnTo>
                  <a:lnTo>
                    <a:pt x="588" y="294"/>
                  </a:lnTo>
                  <a:lnTo>
                    <a:pt x="576" y="294"/>
                  </a:lnTo>
                  <a:lnTo>
                    <a:pt x="564" y="288"/>
                  </a:lnTo>
                  <a:lnTo>
                    <a:pt x="558" y="282"/>
                  </a:lnTo>
                  <a:lnTo>
                    <a:pt x="552" y="282"/>
                  </a:lnTo>
                  <a:lnTo>
                    <a:pt x="522" y="288"/>
                  </a:lnTo>
                  <a:lnTo>
                    <a:pt x="528" y="330"/>
                  </a:lnTo>
                  <a:lnTo>
                    <a:pt x="522" y="336"/>
                  </a:lnTo>
                  <a:lnTo>
                    <a:pt x="516" y="348"/>
                  </a:lnTo>
                  <a:lnTo>
                    <a:pt x="504" y="354"/>
                  </a:lnTo>
                  <a:lnTo>
                    <a:pt x="486" y="390"/>
                  </a:lnTo>
                  <a:lnTo>
                    <a:pt x="486" y="402"/>
                  </a:lnTo>
                  <a:lnTo>
                    <a:pt x="492" y="414"/>
                  </a:lnTo>
                  <a:lnTo>
                    <a:pt x="504" y="450"/>
                  </a:lnTo>
                  <a:lnTo>
                    <a:pt x="498" y="468"/>
                  </a:lnTo>
                  <a:lnTo>
                    <a:pt x="486" y="510"/>
                  </a:lnTo>
                  <a:lnTo>
                    <a:pt x="462" y="570"/>
                  </a:lnTo>
                  <a:lnTo>
                    <a:pt x="432" y="642"/>
                  </a:lnTo>
                  <a:lnTo>
                    <a:pt x="390" y="720"/>
                  </a:lnTo>
                  <a:lnTo>
                    <a:pt x="324" y="852"/>
                  </a:lnTo>
                  <a:lnTo>
                    <a:pt x="312" y="894"/>
                  </a:lnTo>
                  <a:lnTo>
                    <a:pt x="306" y="912"/>
                  </a:lnTo>
                  <a:lnTo>
                    <a:pt x="306" y="948"/>
                  </a:lnTo>
                  <a:lnTo>
                    <a:pt x="294" y="984"/>
                  </a:lnTo>
                  <a:lnTo>
                    <a:pt x="276" y="1014"/>
                  </a:lnTo>
                  <a:lnTo>
                    <a:pt x="258" y="1032"/>
                  </a:lnTo>
                  <a:lnTo>
                    <a:pt x="240" y="1044"/>
                  </a:lnTo>
                  <a:lnTo>
                    <a:pt x="222" y="1062"/>
                  </a:lnTo>
                  <a:lnTo>
                    <a:pt x="216" y="1062"/>
                  </a:lnTo>
                  <a:lnTo>
                    <a:pt x="210" y="1068"/>
                  </a:lnTo>
                  <a:lnTo>
                    <a:pt x="186" y="1068"/>
                  </a:lnTo>
                  <a:lnTo>
                    <a:pt x="150" y="1086"/>
                  </a:lnTo>
                  <a:lnTo>
                    <a:pt x="114" y="1092"/>
                  </a:lnTo>
                  <a:lnTo>
                    <a:pt x="78" y="1074"/>
                  </a:lnTo>
                  <a:lnTo>
                    <a:pt x="60" y="1056"/>
                  </a:lnTo>
                  <a:lnTo>
                    <a:pt x="48" y="1038"/>
                  </a:lnTo>
                  <a:lnTo>
                    <a:pt x="36" y="1026"/>
                  </a:lnTo>
                  <a:lnTo>
                    <a:pt x="36" y="1020"/>
                  </a:lnTo>
                  <a:lnTo>
                    <a:pt x="30" y="1014"/>
                  </a:lnTo>
                  <a:lnTo>
                    <a:pt x="48" y="990"/>
                  </a:lnTo>
                  <a:lnTo>
                    <a:pt x="42" y="978"/>
                  </a:lnTo>
                  <a:lnTo>
                    <a:pt x="24" y="948"/>
                  </a:lnTo>
                  <a:lnTo>
                    <a:pt x="12" y="900"/>
                  </a:lnTo>
                  <a:lnTo>
                    <a:pt x="0" y="834"/>
                  </a:lnTo>
                  <a:lnTo>
                    <a:pt x="0" y="786"/>
                  </a:lnTo>
                  <a:lnTo>
                    <a:pt x="6" y="756"/>
                  </a:lnTo>
                  <a:lnTo>
                    <a:pt x="18" y="738"/>
                  </a:lnTo>
                  <a:lnTo>
                    <a:pt x="60" y="696"/>
                  </a:lnTo>
                  <a:lnTo>
                    <a:pt x="72" y="678"/>
                  </a:lnTo>
                  <a:lnTo>
                    <a:pt x="90" y="672"/>
                  </a:lnTo>
                  <a:lnTo>
                    <a:pt x="96" y="660"/>
                  </a:lnTo>
                  <a:lnTo>
                    <a:pt x="108" y="654"/>
                  </a:lnTo>
                  <a:lnTo>
                    <a:pt x="108" y="636"/>
                  </a:lnTo>
                  <a:lnTo>
                    <a:pt x="102" y="600"/>
                  </a:lnTo>
                  <a:lnTo>
                    <a:pt x="96" y="558"/>
                  </a:lnTo>
                  <a:lnTo>
                    <a:pt x="96" y="522"/>
                  </a:lnTo>
                  <a:lnTo>
                    <a:pt x="78" y="432"/>
                  </a:lnTo>
                  <a:lnTo>
                    <a:pt x="90" y="408"/>
                  </a:lnTo>
                  <a:lnTo>
                    <a:pt x="132" y="366"/>
                  </a:lnTo>
                  <a:lnTo>
                    <a:pt x="132" y="360"/>
                  </a:lnTo>
                  <a:lnTo>
                    <a:pt x="120" y="33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14" name="Luxemburg" descr="© INSCALE GmbH, 05.05.2010&#10;http://www.presentationload.com/">
              <a:extLst>
                <a:ext uri="{FF2B5EF4-FFF2-40B4-BE49-F238E27FC236}">
                  <a16:creationId xmlns:a16="http://schemas.microsoft.com/office/drawing/2014/main" id="{1B9F4941-D766-4125-B657-DB268B3A81AD}"/>
                </a:ext>
              </a:extLst>
            </p:cNvPr>
            <p:cNvSpPr>
              <a:spLocks/>
            </p:cNvSpPr>
            <p:nvPr/>
          </p:nvSpPr>
          <p:spPr bwMode="gray">
            <a:xfrm>
              <a:off x="4304978" y="2653245"/>
              <a:ext cx="20384" cy="17249"/>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15" name="Litauen" descr="© INSCALE GmbH, 05.05.2010&#10;http://www.presentationload.com/">
              <a:extLst>
                <a:ext uri="{FF2B5EF4-FFF2-40B4-BE49-F238E27FC236}">
                  <a16:creationId xmlns:a16="http://schemas.microsoft.com/office/drawing/2014/main" id="{7B2877AA-19F7-44A3-B466-A0376B346BA3}"/>
                </a:ext>
              </a:extLst>
            </p:cNvPr>
            <p:cNvSpPr>
              <a:spLocks/>
            </p:cNvSpPr>
            <p:nvPr/>
          </p:nvSpPr>
          <p:spPr bwMode="gray">
            <a:xfrm>
              <a:off x="4671895" y="2458811"/>
              <a:ext cx="134850" cy="78401"/>
            </a:xfrm>
            <a:custGeom>
              <a:avLst/>
              <a:gdLst>
                <a:gd name="T0" fmla="*/ 2147483647 w 342"/>
                <a:gd name="T1" fmla="*/ 2147483647 h 198"/>
                <a:gd name="T2" fmla="*/ 2147483647 w 342"/>
                <a:gd name="T3" fmla="*/ 2147483647 h 198"/>
                <a:gd name="T4" fmla="*/ 2147483647 w 342"/>
                <a:gd name="T5" fmla="*/ 2147483647 h 198"/>
                <a:gd name="T6" fmla="*/ 2147483647 w 342"/>
                <a:gd name="T7" fmla="*/ 2147483647 h 198"/>
                <a:gd name="T8" fmla="*/ 2147483647 w 342"/>
                <a:gd name="T9" fmla="*/ 2147483647 h 198"/>
                <a:gd name="T10" fmla="*/ 2147483647 w 342"/>
                <a:gd name="T11" fmla="*/ 2147483647 h 198"/>
                <a:gd name="T12" fmla="*/ 2147483647 w 342"/>
                <a:gd name="T13" fmla="*/ 2147483647 h 198"/>
                <a:gd name="T14" fmla="*/ 2147483647 w 342"/>
                <a:gd name="T15" fmla="*/ 2147483647 h 198"/>
                <a:gd name="T16" fmla="*/ 2147483647 w 342"/>
                <a:gd name="T17" fmla="*/ 2147483647 h 198"/>
                <a:gd name="T18" fmla="*/ 2147483647 w 342"/>
                <a:gd name="T19" fmla="*/ 2147483647 h 198"/>
                <a:gd name="T20" fmla="*/ 2147483647 w 342"/>
                <a:gd name="T21" fmla="*/ 2147483647 h 198"/>
                <a:gd name="T22" fmla="*/ 2147483647 w 342"/>
                <a:gd name="T23" fmla="*/ 2147483647 h 198"/>
                <a:gd name="T24" fmla="*/ 2147483647 w 342"/>
                <a:gd name="T25" fmla="*/ 0 h 198"/>
                <a:gd name="T26" fmla="*/ 2147483647 w 342"/>
                <a:gd name="T27" fmla="*/ 2147483647 h 198"/>
                <a:gd name="T28" fmla="*/ 0 w 342"/>
                <a:gd name="T29" fmla="*/ 2147483647 h 198"/>
                <a:gd name="T30" fmla="*/ 2147483647 w 342"/>
                <a:gd name="T31" fmla="*/ 2147483647 h 198"/>
                <a:gd name="T32" fmla="*/ 2147483647 w 342"/>
                <a:gd name="T33" fmla="*/ 2147483647 h 198"/>
                <a:gd name="T34" fmla="*/ 2147483647 w 342"/>
                <a:gd name="T35" fmla="*/ 2147483647 h 198"/>
                <a:gd name="T36" fmla="*/ 2147483647 w 342"/>
                <a:gd name="T37" fmla="*/ 2147483647 h 198"/>
                <a:gd name="T38" fmla="*/ 2147483647 w 342"/>
                <a:gd name="T39" fmla="*/ 2147483647 h 198"/>
                <a:gd name="T40" fmla="*/ 2147483647 w 342"/>
                <a:gd name="T41" fmla="*/ 2147483647 h 198"/>
                <a:gd name="T42" fmla="*/ 2147483647 w 342"/>
                <a:gd name="T43" fmla="*/ 2147483647 h 198"/>
                <a:gd name="T44" fmla="*/ 2147483647 w 342"/>
                <a:gd name="T45" fmla="*/ 2147483647 h 198"/>
                <a:gd name="T46" fmla="*/ 2147483647 w 342"/>
                <a:gd name="T47" fmla="*/ 2147483647 h 198"/>
                <a:gd name="T48" fmla="*/ 2147483647 w 342"/>
                <a:gd name="T49" fmla="*/ 2147483647 h 198"/>
                <a:gd name="T50" fmla="*/ 2147483647 w 342"/>
                <a:gd name="T51" fmla="*/ 2147483647 h 198"/>
                <a:gd name="T52" fmla="*/ 2147483647 w 342"/>
                <a:gd name="T53" fmla="*/ 2147483647 h 198"/>
                <a:gd name="T54" fmla="*/ 2147483647 w 342"/>
                <a:gd name="T55" fmla="*/ 2147483647 h 198"/>
                <a:gd name="T56" fmla="*/ 2147483647 w 342"/>
                <a:gd name="T57" fmla="*/ 2147483647 h 198"/>
                <a:gd name="T58" fmla="*/ 2147483647 w 342"/>
                <a:gd name="T59" fmla="*/ 2147483647 h 198"/>
                <a:gd name="T60" fmla="*/ 2147483647 w 342"/>
                <a:gd name="T61" fmla="*/ 2147483647 h 198"/>
                <a:gd name="T62" fmla="*/ 2147483647 w 342"/>
                <a:gd name="T63" fmla="*/ 2147483647 h 198"/>
                <a:gd name="T64" fmla="*/ 2147483647 w 342"/>
                <a:gd name="T65" fmla="*/ 2147483647 h 198"/>
                <a:gd name="T66" fmla="*/ 2147483647 w 342"/>
                <a:gd name="T67" fmla="*/ 2147483647 h 198"/>
                <a:gd name="T68" fmla="*/ 2147483647 w 342"/>
                <a:gd name="T69" fmla="*/ 2147483647 h 198"/>
                <a:gd name="T70" fmla="*/ 2147483647 w 342"/>
                <a:gd name="T71" fmla="*/ 2147483647 h 198"/>
                <a:gd name="T72" fmla="*/ 2147483647 w 342"/>
                <a:gd name="T73" fmla="*/ 2147483647 h 198"/>
                <a:gd name="T74" fmla="*/ 2147483647 w 342"/>
                <a:gd name="T75" fmla="*/ 2147483647 h 198"/>
                <a:gd name="T76" fmla="*/ 2147483647 w 342"/>
                <a:gd name="T77" fmla="*/ 2147483647 h 198"/>
                <a:gd name="T78" fmla="*/ 2147483647 w 342"/>
                <a:gd name="T79" fmla="*/ 2147483647 h 198"/>
                <a:gd name="T80" fmla="*/ 2147483647 w 342"/>
                <a:gd name="T81" fmla="*/ 2147483647 h 198"/>
                <a:gd name="T82" fmla="*/ 2147483647 w 342"/>
                <a:gd name="T83" fmla="*/ 2147483647 h 198"/>
                <a:gd name="T84" fmla="*/ 2147483647 w 342"/>
                <a:gd name="T85" fmla="*/ 2147483647 h 1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2"/>
                <a:gd name="T130" fmla="*/ 0 h 198"/>
                <a:gd name="T131" fmla="*/ 342 w 342"/>
                <a:gd name="T132" fmla="*/ 198 h 1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2" h="198">
                  <a:moveTo>
                    <a:pt x="330" y="60"/>
                  </a:moveTo>
                  <a:lnTo>
                    <a:pt x="312" y="54"/>
                  </a:lnTo>
                  <a:lnTo>
                    <a:pt x="294" y="42"/>
                  </a:lnTo>
                  <a:lnTo>
                    <a:pt x="282" y="30"/>
                  </a:lnTo>
                  <a:lnTo>
                    <a:pt x="276" y="30"/>
                  </a:lnTo>
                  <a:lnTo>
                    <a:pt x="264" y="24"/>
                  </a:lnTo>
                  <a:lnTo>
                    <a:pt x="234" y="24"/>
                  </a:lnTo>
                  <a:lnTo>
                    <a:pt x="228" y="12"/>
                  </a:lnTo>
                  <a:lnTo>
                    <a:pt x="222" y="6"/>
                  </a:lnTo>
                  <a:lnTo>
                    <a:pt x="210" y="6"/>
                  </a:lnTo>
                  <a:lnTo>
                    <a:pt x="198" y="18"/>
                  </a:lnTo>
                  <a:lnTo>
                    <a:pt x="180" y="18"/>
                  </a:lnTo>
                  <a:lnTo>
                    <a:pt x="174" y="12"/>
                  </a:lnTo>
                  <a:lnTo>
                    <a:pt x="162" y="12"/>
                  </a:lnTo>
                  <a:lnTo>
                    <a:pt x="156" y="18"/>
                  </a:lnTo>
                  <a:lnTo>
                    <a:pt x="150" y="18"/>
                  </a:lnTo>
                  <a:lnTo>
                    <a:pt x="144" y="12"/>
                  </a:lnTo>
                  <a:lnTo>
                    <a:pt x="138" y="12"/>
                  </a:lnTo>
                  <a:lnTo>
                    <a:pt x="126" y="6"/>
                  </a:lnTo>
                  <a:lnTo>
                    <a:pt x="120" y="6"/>
                  </a:lnTo>
                  <a:lnTo>
                    <a:pt x="114" y="12"/>
                  </a:lnTo>
                  <a:lnTo>
                    <a:pt x="108" y="12"/>
                  </a:lnTo>
                  <a:lnTo>
                    <a:pt x="102" y="6"/>
                  </a:lnTo>
                  <a:lnTo>
                    <a:pt x="96" y="6"/>
                  </a:lnTo>
                  <a:lnTo>
                    <a:pt x="90" y="0"/>
                  </a:lnTo>
                  <a:lnTo>
                    <a:pt x="72" y="0"/>
                  </a:lnTo>
                  <a:lnTo>
                    <a:pt x="60" y="12"/>
                  </a:lnTo>
                  <a:lnTo>
                    <a:pt x="18" y="12"/>
                  </a:lnTo>
                  <a:lnTo>
                    <a:pt x="6" y="18"/>
                  </a:lnTo>
                  <a:lnTo>
                    <a:pt x="0" y="18"/>
                  </a:lnTo>
                  <a:lnTo>
                    <a:pt x="0" y="60"/>
                  </a:lnTo>
                  <a:lnTo>
                    <a:pt x="12" y="84"/>
                  </a:lnTo>
                  <a:lnTo>
                    <a:pt x="18" y="90"/>
                  </a:lnTo>
                  <a:lnTo>
                    <a:pt x="18" y="96"/>
                  </a:lnTo>
                  <a:lnTo>
                    <a:pt x="30" y="96"/>
                  </a:lnTo>
                  <a:lnTo>
                    <a:pt x="30" y="102"/>
                  </a:lnTo>
                  <a:lnTo>
                    <a:pt x="42" y="102"/>
                  </a:lnTo>
                  <a:lnTo>
                    <a:pt x="48" y="108"/>
                  </a:lnTo>
                  <a:lnTo>
                    <a:pt x="72" y="108"/>
                  </a:lnTo>
                  <a:lnTo>
                    <a:pt x="84" y="102"/>
                  </a:lnTo>
                  <a:lnTo>
                    <a:pt x="102" y="102"/>
                  </a:lnTo>
                  <a:lnTo>
                    <a:pt x="108" y="114"/>
                  </a:lnTo>
                  <a:lnTo>
                    <a:pt x="108" y="132"/>
                  </a:lnTo>
                  <a:lnTo>
                    <a:pt x="96" y="144"/>
                  </a:lnTo>
                  <a:lnTo>
                    <a:pt x="102" y="162"/>
                  </a:lnTo>
                  <a:lnTo>
                    <a:pt x="120" y="162"/>
                  </a:lnTo>
                  <a:lnTo>
                    <a:pt x="138" y="168"/>
                  </a:lnTo>
                  <a:lnTo>
                    <a:pt x="144" y="168"/>
                  </a:lnTo>
                  <a:lnTo>
                    <a:pt x="156" y="174"/>
                  </a:lnTo>
                  <a:lnTo>
                    <a:pt x="156" y="198"/>
                  </a:lnTo>
                  <a:lnTo>
                    <a:pt x="162" y="198"/>
                  </a:lnTo>
                  <a:lnTo>
                    <a:pt x="168" y="192"/>
                  </a:lnTo>
                  <a:lnTo>
                    <a:pt x="180" y="192"/>
                  </a:lnTo>
                  <a:lnTo>
                    <a:pt x="192" y="186"/>
                  </a:lnTo>
                  <a:lnTo>
                    <a:pt x="198" y="186"/>
                  </a:lnTo>
                  <a:lnTo>
                    <a:pt x="204" y="192"/>
                  </a:lnTo>
                  <a:lnTo>
                    <a:pt x="204" y="198"/>
                  </a:lnTo>
                  <a:lnTo>
                    <a:pt x="234" y="198"/>
                  </a:lnTo>
                  <a:lnTo>
                    <a:pt x="234" y="180"/>
                  </a:lnTo>
                  <a:lnTo>
                    <a:pt x="246" y="192"/>
                  </a:lnTo>
                  <a:lnTo>
                    <a:pt x="252" y="180"/>
                  </a:lnTo>
                  <a:lnTo>
                    <a:pt x="258" y="174"/>
                  </a:lnTo>
                  <a:lnTo>
                    <a:pt x="270" y="168"/>
                  </a:lnTo>
                  <a:lnTo>
                    <a:pt x="288" y="168"/>
                  </a:lnTo>
                  <a:lnTo>
                    <a:pt x="288" y="174"/>
                  </a:lnTo>
                  <a:lnTo>
                    <a:pt x="282" y="180"/>
                  </a:lnTo>
                  <a:lnTo>
                    <a:pt x="294" y="180"/>
                  </a:lnTo>
                  <a:lnTo>
                    <a:pt x="294" y="174"/>
                  </a:lnTo>
                  <a:lnTo>
                    <a:pt x="288" y="168"/>
                  </a:lnTo>
                  <a:lnTo>
                    <a:pt x="288" y="156"/>
                  </a:lnTo>
                  <a:lnTo>
                    <a:pt x="282" y="150"/>
                  </a:lnTo>
                  <a:lnTo>
                    <a:pt x="282" y="144"/>
                  </a:lnTo>
                  <a:lnTo>
                    <a:pt x="294" y="144"/>
                  </a:lnTo>
                  <a:lnTo>
                    <a:pt x="294" y="138"/>
                  </a:lnTo>
                  <a:lnTo>
                    <a:pt x="288" y="126"/>
                  </a:lnTo>
                  <a:lnTo>
                    <a:pt x="288" y="120"/>
                  </a:lnTo>
                  <a:lnTo>
                    <a:pt x="294" y="114"/>
                  </a:lnTo>
                  <a:lnTo>
                    <a:pt x="312" y="114"/>
                  </a:lnTo>
                  <a:lnTo>
                    <a:pt x="306" y="96"/>
                  </a:lnTo>
                  <a:lnTo>
                    <a:pt x="312" y="96"/>
                  </a:lnTo>
                  <a:lnTo>
                    <a:pt x="318" y="102"/>
                  </a:lnTo>
                  <a:lnTo>
                    <a:pt x="336" y="102"/>
                  </a:lnTo>
                  <a:lnTo>
                    <a:pt x="342" y="96"/>
                  </a:lnTo>
                  <a:lnTo>
                    <a:pt x="324" y="78"/>
                  </a:lnTo>
                  <a:lnTo>
                    <a:pt x="324" y="72"/>
                  </a:lnTo>
                  <a:lnTo>
                    <a:pt x="330" y="66"/>
                  </a:lnTo>
                  <a:lnTo>
                    <a:pt x="330" y="6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16" name="Liechtenstein" descr="© INSCALE GmbH, 05.05.2010&#10;http://www.presentationload.com/">
              <a:extLst>
                <a:ext uri="{FF2B5EF4-FFF2-40B4-BE49-F238E27FC236}">
                  <a16:creationId xmlns:a16="http://schemas.microsoft.com/office/drawing/2014/main" id="{F13E64EB-553C-438D-A0BB-93977E13C4A3}"/>
                </a:ext>
              </a:extLst>
            </p:cNvPr>
            <p:cNvSpPr>
              <a:spLocks/>
            </p:cNvSpPr>
            <p:nvPr/>
          </p:nvSpPr>
          <p:spPr bwMode="gray">
            <a:xfrm>
              <a:off x="4394354" y="2739487"/>
              <a:ext cx="6272" cy="9408"/>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17" name="Libyen" descr="© INSCALE GmbH, 05.05.2010&#10;http://www.presentationload.com/">
              <a:extLst>
                <a:ext uri="{FF2B5EF4-FFF2-40B4-BE49-F238E27FC236}">
                  <a16:creationId xmlns:a16="http://schemas.microsoft.com/office/drawing/2014/main" id="{1883938E-D8A5-467D-A3A2-7D6DECC7DF7B}"/>
                </a:ext>
              </a:extLst>
            </p:cNvPr>
            <p:cNvSpPr>
              <a:spLocks/>
            </p:cNvSpPr>
            <p:nvPr/>
          </p:nvSpPr>
          <p:spPr bwMode="gray">
            <a:xfrm>
              <a:off x="4391218" y="3187942"/>
              <a:ext cx="437478" cy="440615"/>
            </a:xfrm>
            <a:custGeom>
              <a:avLst/>
              <a:gdLst>
                <a:gd name="T0" fmla="*/ 2147483647 w 1098"/>
                <a:gd name="T1" fmla="*/ 2147483647 h 1110"/>
                <a:gd name="T2" fmla="*/ 2147483647 w 1098"/>
                <a:gd name="T3" fmla="*/ 2147483647 h 1110"/>
                <a:gd name="T4" fmla="*/ 2147483647 w 1098"/>
                <a:gd name="T5" fmla="*/ 2147483647 h 1110"/>
                <a:gd name="T6" fmla="*/ 2147483647 w 1098"/>
                <a:gd name="T7" fmla="*/ 2147483647 h 1110"/>
                <a:gd name="T8" fmla="*/ 2147483647 w 1098"/>
                <a:gd name="T9" fmla="*/ 2147483647 h 1110"/>
                <a:gd name="T10" fmla="*/ 2147483647 w 1098"/>
                <a:gd name="T11" fmla="*/ 2147483647 h 1110"/>
                <a:gd name="T12" fmla="*/ 2147483647 w 1098"/>
                <a:gd name="T13" fmla="*/ 2147483647 h 1110"/>
                <a:gd name="T14" fmla="*/ 2147483647 w 1098"/>
                <a:gd name="T15" fmla="*/ 2147483647 h 1110"/>
                <a:gd name="T16" fmla="*/ 2147483647 w 1098"/>
                <a:gd name="T17" fmla="*/ 2147483647 h 1110"/>
                <a:gd name="T18" fmla="*/ 2147483647 w 1098"/>
                <a:gd name="T19" fmla="*/ 2147483647 h 1110"/>
                <a:gd name="T20" fmla="*/ 2147483647 w 1098"/>
                <a:gd name="T21" fmla="*/ 2147483647 h 1110"/>
                <a:gd name="T22" fmla="*/ 2147483647 w 1098"/>
                <a:gd name="T23" fmla="*/ 2147483647 h 1110"/>
                <a:gd name="T24" fmla="*/ 0 w 1098"/>
                <a:gd name="T25" fmla="*/ 2147483647 h 1110"/>
                <a:gd name="T26" fmla="*/ 2147483647 w 1098"/>
                <a:gd name="T27" fmla="*/ 2147483647 h 1110"/>
                <a:gd name="T28" fmla="*/ 2147483647 w 1098"/>
                <a:gd name="T29" fmla="*/ 2147483647 h 1110"/>
                <a:gd name="T30" fmla="*/ 2147483647 w 1098"/>
                <a:gd name="T31" fmla="*/ 2147483647 h 1110"/>
                <a:gd name="T32" fmla="*/ 2147483647 w 1098"/>
                <a:gd name="T33" fmla="*/ 2147483647 h 1110"/>
                <a:gd name="T34" fmla="*/ 2147483647 w 1098"/>
                <a:gd name="T35" fmla="*/ 2147483647 h 1110"/>
                <a:gd name="T36" fmla="*/ 2147483647 w 1098"/>
                <a:gd name="T37" fmla="*/ 2147483647 h 1110"/>
                <a:gd name="T38" fmla="*/ 2147483647 w 1098"/>
                <a:gd name="T39" fmla="*/ 2147483647 h 1110"/>
                <a:gd name="T40" fmla="*/ 2147483647 w 1098"/>
                <a:gd name="T41" fmla="*/ 2147483647 h 1110"/>
                <a:gd name="T42" fmla="*/ 2147483647 w 1098"/>
                <a:gd name="T43" fmla="*/ 2147483647 h 1110"/>
                <a:gd name="T44" fmla="*/ 2147483647 w 1098"/>
                <a:gd name="T45" fmla="*/ 2147483647 h 1110"/>
                <a:gd name="T46" fmla="*/ 2147483647 w 1098"/>
                <a:gd name="T47" fmla="*/ 2147483647 h 1110"/>
                <a:gd name="T48" fmla="*/ 2147483647 w 1098"/>
                <a:gd name="T49" fmla="*/ 2147483647 h 1110"/>
                <a:gd name="T50" fmla="*/ 2147483647 w 1098"/>
                <a:gd name="T51" fmla="*/ 2147483647 h 1110"/>
                <a:gd name="T52" fmla="*/ 2147483647 w 1098"/>
                <a:gd name="T53" fmla="*/ 2147483647 h 1110"/>
                <a:gd name="T54" fmla="*/ 2147483647 w 1098"/>
                <a:gd name="T55" fmla="*/ 2147483647 h 1110"/>
                <a:gd name="T56" fmla="*/ 2147483647 w 1098"/>
                <a:gd name="T57" fmla="*/ 2147483647 h 1110"/>
                <a:gd name="T58" fmla="*/ 2147483647 w 1098"/>
                <a:gd name="T59" fmla="*/ 2147483647 h 1110"/>
                <a:gd name="T60" fmla="*/ 2147483647 w 1098"/>
                <a:gd name="T61" fmla="*/ 2147483647 h 1110"/>
                <a:gd name="T62" fmla="*/ 2147483647 w 1098"/>
                <a:gd name="T63" fmla="*/ 2147483647 h 1110"/>
                <a:gd name="T64" fmla="*/ 2147483647 w 1098"/>
                <a:gd name="T65" fmla="*/ 2147483647 h 1110"/>
                <a:gd name="T66" fmla="*/ 2147483647 w 1098"/>
                <a:gd name="T67" fmla="*/ 2147483647 h 1110"/>
                <a:gd name="T68" fmla="*/ 2147483647 w 1098"/>
                <a:gd name="T69" fmla="*/ 2147483647 h 1110"/>
                <a:gd name="T70" fmla="*/ 2147483647 w 1098"/>
                <a:gd name="T71" fmla="*/ 2147483647 h 1110"/>
                <a:gd name="T72" fmla="*/ 2147483647 w 1098"/>
                <a:gd name="T73" fmla="*/ 2147483647 h 1110"/>
                <a:gd name="T74" fmla="*/ 2147483647 w 1098"/>
                <a:gd name="T75" fmla="*/ 2147483647 h 1110"/>
                <a:gd name="T76" fmla="*/ 2147483647 w 1098"/>
                <a:gd name="T77" fmla="*/ 2147483647 h 1110"/>
                <a:gd name="T78" fmla="*/ 2147483647 w 1098"/>
                <a:gd name="T79" fmla="*/ 2147483647 h 1110"/>
                <a:gd name="T80" fmla="*/ 2147483647 w 1098"/>
                <a:gd name="T81" fmla="*/ 2147483647 h 1110"/>
                <a:gd name="T82" fmla="*/ 2147483647 w 1098"/>
                <a:gd name="T83" fmla="*/ 2147483647 h 1110"/>
                <a:gd name="T84" fmla="*/ 2147483647 w 1098"/>
                <a:gd name="T85" fmla="*/ 2147483647 h 1110"/>
                <a:gd name="T86" fmla="*/ 2147483647 w 1098"/>
                <a:gd name="T87" fmla="*/ 2147483647 h 1110"/>
                <a:gd name="T88" fmla="*/ 2147483647 w 1098"/>
                <a:gd name="T89" fmla="*/ 2147483647 h 1110"/>
                <a:gd name="T90" fmla="*/ 2147483647 w 1098"/>
                <a:gd name="T91" fmla="*/ 2147483647 h 1110"/>
                <a:gd name="T92" fmla="*/ 2147483647 w 1098"/>
                <a:gd name="T93" fmla="*/ 2147483647 h 1110"/>
                <a:gd name="T94" fmla="*/ 2147483647 w 1098"/>
                <a:gd name="T95" fmla="*/ 2147483647 h 1110"/>
                <a:gd name="T96" fmla="*/ 2147483647 w 1098"/>
                <a:gd name="T97" fmla="*/ 2147483647 h 1110"/>
                <a:gd name="T98" fmla="*/ 2147483647 w 1098"/>
                <a:gd name="T99" fmla="*/ 2147483647 h 1110"/>
                <a:gd name="T100" fmla="*/ 2147483647 w 1098"/>
                <a:gd name="T101" fmla="*/ 2147483647 h 1110"/>
                <a:gd name="T102" fmla="*/ 2147483647 w 1098"/>
                <a:gd name="T103" fmla="*/ 2147483647 h 1110"/>
                <a:gd name="T104" fmla="*/ 2147483647 w 1098"/>
                <a:gd name="T105" fmla="*/ 2147483647 h 1110"/>
                <a:gd name="T106" fmla="*/ 2147483647 w 1098"/>
                <a:gd name="T107" fmla="*/ 2147483647 h 1110"/>
                <a:gd name="T108" fmla="*/ 2147483647 w 1098"/>
                <a:gd name="T109" fmla="*/ 2147483647 h 1110"/>
                <a:gd name="T110" fmla="*/ 2147483647 w 1098"/>
                <a:gd name="T111" fmla="*/ 2147483647 h 1110"/>
                <a:gd name="T112" fmla="*/ 2147483647 w 1098"/>
                <a:gd name="T113" fmla="*/ 2147483647 h 11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8"/>
                <a:gd name="T172" fmla="*/ 0 h 1110"/>
                <a:gd name="T173" fmla="*/ 1098 w 1098"/>
                <a:gd name="T174" fmla="*/ 1110 h 11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8" h="1110">
                  <a:moveTo>
                    <a:pt x="156" y="60"/>
                  </a:moveTo>
                  <a:lnTo>
                    <a:pt x="150" y="66"/>
                  </a:lnTo>
                  <a:lnTo>
                    <a:pt x="126" y="78"/>
                  </a:lnTo>
                  <a:lnTo>
                    <a:pt x="114" y="78"/>
                  </a:lnTo>
                  <a:lnTo>
                    <a:pt x="102" y="84"/>
                  </a:lnTo>
                  <a:lnTo>
                    <a:pt x="96" y="90"/>
                  </a:lnTo>
                  <a:lnTo>
                    <a:pt x="90" y="102"/>
                  </a:lnTo>
                  <a:lnTo>
                    <a:pt x="84" y="108"/>
                  </a:lnTo>
                  <a:lnTo>
                    <a:pt x="78" y="120"/>
                  </a:lnTo>
                  <a:lnTo>
                    <a:pt x="72" y="120"/>
                  </a:lnTo>
                  <a:lnTo>
                    <a:pt x="54" y="138"/>
                  </a:lnTo>
                  <a:lnTo>
                    <a:pt x="54" y="156"/>
                  </a:lnTo>
                  <a:lnTo>
                    <a:pt x="66" y="180"/>
                  </a:lnTo>
                  <a:lnTo>
                    <a:pt x="66" y="204"/>
                  </a:lnTo>
                  <a:lnTo>
                    <a:pt x="36" y="234"/>
                  </a:lnTo>
                  <a:lnTo>
                    <a:pt x="30" y="234"/>
                  </a:lnTo>
                  <a:lnTo>
                    <a:pt x="24" y="240"/>
                  </a:lnTo>
                  <a:lnTo>
                    <a:pt x="12" y="246"/>
                  </a:lnTo>
                  <a:lnTo>
                    <a:pt x="6" y="246"/>
                  </a:lnTo>
                  <a:lnTo>
                    <a:pt x="0" y="252"/>
                  </a:lnTo>
                  <a:lnTo>
                    <a:pt x="12" y="270"/>
                  </a:lnTo>
                  <a:lnTo>
                    <a:pt x="36" y="330"/>
                  </a:lnTo>
                  <a:lnTo>
                    <a:pt x="48" y="354"/>
                  </a:lnTo>
                  <a:lnTo>
                    <a:pt x="48" y="360"/>
                  </a:lnTo>
                  <a:lnTo>
                    <a:pt x="42" y="372"/>
                  </a:lnTo>
                  <a:lnTo>
                    <a:pt x="42" y="402"/>
                  </a:lnTo>
                  <a:lnTo>
                    <a:pt x="36" y="408"/>
                  </a:lnTo>
                  <a:lnTo>
                    <a:pt x="36" y="414"/>
                  </a:lnTo>
                  <a:lnTo>
                    <a:pt x="42" y="432"/>
                  </a:lnTo>
                  <a:lnTo>
                    <a:pt x="30" y="456"/>
                  </a:lnTo>
                  <a:lnTo>
                    <a:pt x="36" y="510"/>
                  </a:lnTo>
                  <a:lnTo>
                    <a:pt x="36" y="516"/>
                  </a:lnTo>
                  <a:lnTo>
                    <a:pt x="42" y="522"/>
                  </a:lnTo>
                  <a:lnTo>
                    <a:pt x="42" y="534"/>
                  </a:lnTo>
                  <a:lnTo>
                    <a:pt x="36" y="546"/>
                  </a:lnTo>
                  <a:lnTo>
                    <a:pt x="30" y="552"/>
                  </a:lnTo>
                  <a:lnTo>
                    <a:pt x="18" y="558"/>
                  </a:lnTo>
                  <a:lnTo>
                    <a:pt x="6" y="558"/>
                  </a:lnTo>
                  <a:lnTo>
                    <a:pt x="0" y="564"/>
                  </a:lnTo>
                  <a:lnTo>
                    <a:pt x="0" y="570"/>
                  </a:lnTo>
                  <a:lnTo>
                    <a:pt x="6" y="582"/>
                  </a:lnTo>
                  <a:lnTo>
                    <a:pt x="18" y="594"/>
                  </a:lnTo>
                  <a:lnTo>
                    <a:pt x="24" y="612"/>
                  </a:lnTo>
                  <a:lnTo>
                    <a:pt x="36" y="624"/>
                  </a:lnTo>
                  <a:lnTo>
                    <a:pt x="42" y="636"/>
                  </a:lnTo>
                  <a:lnTo>
                    <a:pt x="48" y="642"/>
                  </a:lnTo>
                  <a:lnTo>
                    <a:pt x="48" y="684"/>
                  </a:lnTo>
                  <a:lnTo>
                    <a:pt x="72" y="708"/>
                  </a:lnTo>
                  <a:lnTo>
                    <a:pt x="96" y="696"/>
                  </a:lnTo>
                  <a:lnTo>
                    <a:pt x="102" y="696"/>
                  </a:lnTo>
                  <a:lnTo>
                    <a:pt x="138" y="714"/>
                  </a:lnTo>
                  <a:lnTo>
                    <a:pt x="150" y="714"/>
                  </a:lnTo>
                  <a:lnTo>
                    <a:pt x="162" y="726"/>
                  </a:lnTo>
                  <a:lnTo>
                    <a:pt x="162" y="732"/>
                  </a:lnTo>
                  <a:lnTo>
                    <a:pt x="168" y="744"/>
                  </a:lnTo>
                  <a:lnTo>
                    <a:pt x="174" y="762"/>
                  </a:lnTo>
                  <a:lnTo>
                    <a:pt x="180" y="774"/>
                  </a:lnTo>
                  <a:lnTo>
                    <a:pt x="186" y="780"/>
                  </a:lnTo>
                  <a:lnTo>
                    <a:pt x="186" y="786"/>
                  </a:lnTo>
                  <a:lnTo>
                    <a:pt x="222" y="792"/>
                  </a:lnTo>
                  <a:lnTo>
                    <a:pt x="234" y="792"/>
                  </a:lnTo>
                  <a:lnTo>
                    <a:pt x="246" y="798"/>
                  </a:lnTo>
                  <a:lnTo>
                    <a:pt x="258" y="798"/>
                  </a:lnTo>
                  <a:lnTo>
                    <a:pt x="276" y="804"/>
                  </a:lnTo>
                  <a:lnTo>
                    <a:pt x="288" y="810"/>
                  </a:lnTo>
                  <a:lnTo>
                    <a:pt x="294" y="810"/>
                  </a:lnTo>
                  <a:lnTo>
                    <a:pt x="300" y="816"/>
                  </a:lnTo>
                  <a:lnTo>
                    <a:pt x="312" y="822"/>
                  </a:lnTo>
                  <a:lnTo>
                    <a:pt x="318" y="828"/>
                  </a:lnTo>
                  <a:lnTo>
                    <a:pt x="324" y="840"/>
                  </a:lnTo>
                  <a:lnTo>
                    <a:pt x="336" y="846"/>
                  </a:lnTo>
                  <a:lnTo>
                    <a:pt x="342" y="852"/>
                  </a:lnTo>
                  <a:lnTo>
                    <a:pt x="360" y="846"/>
                  </a:lnTo>
                  <a:lnTo>
                    <a:pt x="396" y="828"/>
                  </a:lnTo>
                  <a:lnTo>
                    <a:pt x="456" y="792"/>
                  </a:lnTo>
                  <a:lnTo>
                    <a:pt x="468" y="786"/>
                  </a:lnTo>
                  <a:lnTo>
                    <a:pt x="1026" y="1110"/>
                  </a:lnTo>
                  <a:lnTo>
                    <a:pt x="1026" y="1062"/>
                  </a:lnTo>
                  <a:lnTo>
                    <a:pt x="1098" y="1062"/>
                  </a:lnTo>
                  <a:lnTo>
                    <a:pt x="1098" y="828"/>
                  </a:lnTo>
                  <a:lnTo>
                    <a:pt x="1092" y="750"/>
                  </a:lnTo>
                  <a:lnTo>
                    <a:pt x="1092" y="660"/>
                  </a:lnTo>
                  <a:lnTo>
                    <a:pt x="1086" y="564"/>
                  </a:lnTo>
                  <a:lnTo>
                    <a:pt x="1086" y="468"/>
                  </a:lnTo>
                  <a:lnTo>
                    <a:pt x="1080" y="390"/>
                  </a:lnTo>
                  <a:lnTo>
                    <a:pt x="1080" y="306"/>
                  </a:lnTo>
                  <a:lnTo>
                    <a:pt x="1068" y="270"/>
                  </a:lnTo>
                  <a:lnTo>
                    <a:pt x="1056" y="258"/>
                  </a:lnTo>
                  <a:lnTo>
                    <a:pt x="1050" y="246"/>
                  </a:lnTo>
                  <a:lnTo>
                    <a:pt x="1050" y="240"/>
                  </a:lnTo>
                  <a:lnTo>
                    <a:pt x="1056" y="228"/>
                  </a:lnTo>
                  <a:lnTo>
                    <a:pt x="1062" y="222"/>
                  </a:lnTo>
                  <a:lnTo>
                    <a:pt x="1068" y="210"/>
                  </a:lnTo>
                  <a:lnTo>
                    <a:pt x="1074" y="204"/>
                  </a:lnTo>
                  <a:lnTo>
                    <a:pt x="1074" y="198"/>
                  </a:lnTo>
                  <a:lnTo>
                    <a:pt x="1068" y="186"/>
                  </a:lnTo>
                  <a:lnTo>
                    <a:pt x="1056" y="180"/>
                  </a:lnTo>
                  <a:lnTo>
                    <a:pt x="1056" y="150"/>
                  </a:lnTo>
                  <a:lnTo>
                    <a:pt x="1080" y="126"/>
                  </a:lnTo>
                  <a:lnTo>
                    <a:pt x="1074" y="114"/>
                  </a:lnTo>
                  <a:lnTo>
                    <a:pt x="1074" y="96"/>
                  </a:lnTo>
                  <a:lnTo>
                    <a:pt x="1056" y="102"/>
                  </a:lnTo>
                  <a:lnTo>
                    <a:pt x="1044" y="90"/>
                  </a:lnTo>
                  <a:lnTo>
                    <a:pt x="1032" y="102"/>
                  </a:lnTo>
                  <a:lnTo>
                    <a:pt x="1026" y="102"/>
                  </a:lnTo>
                  <a:lnTo>
                    <a:pt x="1020" y="96"/>
                  </a:lnTo>
                  <a:lnTo>
                    <a:pt x="1008" y="90"/>
                  </a:lnTo>
                  <a:lnTo>
                    <a:pt x="1002" y="84"/>
                  </a:lnTo>
                  <a:lnTo>
                    <a:pt x="990" y="78"/>
                  </a:lnTo>
                  <a:lnTo>
                    <a:pt x="978" y="78"/>
                  </a:lnTo>
                  <a:lnTo>
                    <a:pt x="966" y="84"/>
                  </a:lnTo>
                  <a:lnTo>
                    <a:pt x="954" y="84"/>
                  </a:lnTo>
                  <a:lnTo>
                    <a:pt x="942" y="78"/>
                  </a:lnTo>
                  <a:lnTo>
                    <a:pt x="936" y="72"/>
                  </a:lnTo>
                  <a:lnTo>
                    <a:pt x="936" y="48"/>
                  </a:lnTo>
                  <a:lnTo>
                    <a:pt x="930" y="42"/>
                  </a:lnTo>
                  <a:lnTo>
                    <a:pt x="918" y="36"/>
                  </a:lnTo>
                  <a:lnTo>
                    <a:pt x="882" y="36"/>
                  </a:lnTo>
                  <a:lnTo>
                    <a:pt x="876" y="30"/>
                  </a:lnTo>
                  <a:lnTo>
                    <a:pt x="864" y="30"/>
                  </a:lnTo>
                  <a:lnTo>
                    <a:pt x="852" y="24"/>
                  </a:lnTo>
                  <a:lnTo>
                    <a:pt x="840" y="24"/>
                  </a:lnTo>
                  <a:lnTo>
                    <a:pt x="834" y="30"/>
                  </a:lnTo>
                  <a:lnTo>
                    <a:pt x="834" y="36"/>
                  </a:lnTo>
                  <a:lnTo>
                    <a:pt x="798" y="36"/>
                  </a:lnTo>
                  <a:lnTo>
                    <a:pt x="780" y="42"/>
                  </a:lnTo>
                  <a:lnTo>
                    <a:pt x="768" y="48"/>
                  </a:lnTo>
                  <a:lnTo>
                    <a:pt x="732" y="84"/>
                  </a:lnTo>
                  <a:lnTo>
                    <a:pt x="720" y="108"/>
                  </a:lnTo>
                  <a:lnTo>
                    <a:pt x="720" y="120"/>
                  </a:lnTo>
                  <a:lnTo>
                    <a:pt x="726" y="138"/>
                  </a:lnTo>
                  <a:lnTo>
                    <a:pt x="738" y="150"/>
                  </a:lnTo>
                  <a:lnTo>
                    <a:pt x="744" y="162"/>
                  </a:lnTo>
                  <a:lnTo>
                    <a:pt x="744" y="180"/>
                  </a:lnTo>
                  <a:lnTo>
                    <a:pt x="738" y="192"/>
                  </a:lnTo>
                  <a:lnTo>
                    <a:pt x="714" y="216"/>
                  </a:lnTo>
                  <a:lnTo>
                    <a:pt x="708" y="228"/>
                  </a:lnTo>
                  <a:lnTo>
                    <a:pt x="696" y="234"/>
                  </a:lnTo>
                  <a:lnTo>
                    <a:pt x="666" y="234"/>
                  </a:lnTo>
                  <a:lnTo>
                    <a:pt x="648" y="228"/>
                  </a:lnTo>
                  <a:lnTo>
                    <a:pt x="630" y="216"/>
                  </a:lnTo>
                  <a:lnTo>
                    <a:pt x="612" y="198"/>
                  </a:lnTo>
                  <a:lnTo>
                    <a:pt x="582" y="180"/>
                  </a:lnTo>
                  <a:lnTo>
                    <a:pt x="552" y="168"/>
                  </a:lnTo>
                  <a:lnTo>
                    <a:pt x="528" y="162"/>
                  </a:lnTo>
                  <a:lnTo>
                    <a:pt x="462" y="162"/>
                  </a:lnTo>
                  <a:lnTo>
                    <a:pt x="438" y="150"/>
                  </a:lnTo>
                  <a:lnTo>
                    <a:pt x="426" y="138"/>
                  </a:lnTo>
                  <a:lnTo>
                    <a:pt x="420" y="126"/>
                  </a:lnTo>
                  <a:lnTo>
                    <a:pt x="414" y="108"/>
                  </a:lnTo>
                  <a:lnTo>
                    <a:pt x="414" y="96"/>
                  </a:lnTo>
                  <a:lnTo>
                    <a:pt x="402" y="72"/>
                  </a:lnTo>
                  <a:lnTo>
                    <a:pt x="378" y="60"/>
                  </a:lnTo>
                  <a:lnTo>
                    <a:pt x="366" y="60"/>
                  </a:lnTo>
                  <a:lnTo>
                    <a:pt x="354" y="54"/>
                  </a:lnTo>
                  <a:lnTo>
                    <a:pt x="348" y="48"/>
                  </a:lnTo>
                  <a:lnTo>
                    <a:pt x="324" y="36"/>
                  </a:lnTo>
                  <a:lnTo>
                    <a:pt x="318" y="36"/>
                  </a:lnTo>
                  <a:lnTo>
                    <a:pt x="306" y="30"/>
                  </a:lnTo>
                  <a:lnTo>
                    <a:pt x="264" y="30"/>
                  </a:lnTo>
                  <a:lnTo>
                    <a:pt x="252" y="36"/>
                  </a:lnTo>
                  <a:lnTo>
                    <a:pt x="216" y="36"/>
                  </a:lnTo>
                  <a:lnTo>
                    <a:pt x="192" y="24"/>
                  </a:lnTo>
                  <a:lnTo>
                    <a:pt x="180" y="12"/>
                  </a:lnTo>
                  <a:lnTo>
                    <a:pt x="168" y="6"/>
                  </a:lnTo>
                  <a:lnTo>
                    <a:pt x="150" y="6"/>
                  </a:lnTo>
                  <a:lnTo>
                    <a:pt x="144" y="0"/>
                  </a:lnTo>
                  <a:lnTo>
                    <a:pt x="138" y="42"/>
                  </a:lnTo>
                  <a:lnTo>
                    <a:pt x="144" y="42"/>
                  </a:lnTo>
                  <a:lnTo>
                    <a:pt x="156" y="54"/>
                  </a:lnTo>
                  <a:lnTo>
                    <a:pt x="156" y="6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18" name="Liberia" descr="© INSCALE GmbH, 05.05.2010&#10;http://www.presentationload.com/">
              <a:extLst>
                <a:ext uri="{FF2B5EF4-FFF2-40B4-BE49-F238E27FC236}">
                  <a16:creationId xmlns:a16="http://schemas.microsoft.com/office/drawing/2014/main" id="{557D85FB-6CE9-452B-B92B-C051FE8469D5}"/>
                </a:ext>
              </a:extLst>
            </p:cNvPr>
            <p:cNvSpPr>
              <a:spLocks/>
            </p:cNvSpPr>
            <p:nvPr/>
          </p:nvSpPr>
          <p:spPr bwMode="gray">
            <a:xfrm>
              <a:off x="3796938" y="3976657"/>
              <a:ext cx="122306" cy="137986"/>
            </a:xfrm>
            <a:custGeom>
              <a:avLst/>
              <a:gdLst>
                <a:gd name="T0" fmla="*/ 2147483647 w 312"/>
                <a:gd name="T1" fmla="*/ 2147483647 h 342"/>
                <a:gd name="T2" fmla="*/ 2147483647 w 312"/>
                <a:gd name="T3" fmla="*/ 2147483647 h 342"/>
                <a:gd name="T4" fmla="*/ 2147483647 w 312"/>
                <a:gd name="T5" fmla="*/ 2147483647 h 342"/>
                <a:gd name="T6" fmla="*/ 2147483647 w 312"/>
                <a:gd name="T7" fmla="*/ 2147483647 h 342"/>
                <a:gd name="T8" fmla="*/ 2147483647 w 312"/>
                <a:gd name="T9" fmla="*/ 2147483647 h 342"/>
                <a:gd name="T10" fmla="*/ 2147483647 w 312"/>
                <a:gd name="T11" fmla="*/ 2147483647 h 342"/>
                <a:gd name="T12" fmla="*/ 2147483647 w 312"/>
                <a:gd name="T13" fmla="*/ 2147483647 h 342"/>
                <a:gd name="T14" fmla="*/ 2147483647 w 312"/>
                <a:gd name="T15" fmla="*/ 2147483647 h 342"/>
                <a:gd name="T16" fmla="*/ 2147483647 w 312"/>
                <a:gd name="T17" fmla="*/ 2147483647 h 342"/>
                <a:gd name="T18" fmla="*/ 2147483647 w 312"/>
                <a:gd name="T19" fmla="*/ 2147483647 h 342"/>
                <a:gd name="T20" fmla="*/ 2147483647 w 312"/>
                <a:gd name="T21" fmla="*/ 2147483647 h 342"/>
                <a:gd name="T22" fmla="*/ 2147483647 w 312"/>
                <a:gd name="T23" fmla="*/ 2147483647 h 342"/>
                <a:gd name="T24" fmla="*/ 2147483647 w 312"/>
                <a:gd name="T25" fmla="*/ 2147483647 h 342"/>
                <a:gd name="T26" fmla="*/ 2147483647 w 312"/>
                <a:gd name="T27" fmla="*/ 2147483647 h 342"/>
                <a:gd name="T28" fmla="*/ 2147483647 w 312"/>
                <a:gd name="T29" fmla="*/ 2147483647 h 342"/>
                <a:gd name="T30" fmla="*/ 2147483647 w 312"/>
                <a:gd name="T31" fmla="*/ 2147483647 h 342"/>
                <a:gd name="T32" fmla="*/ 2147483647 w 312"/>
                <a:gd name="T33" fmla="*/ 2147483647 h 342"/>
                <a:gd name="T34" fmla="*/ 2147483647 w 312"/>
                <a:gd name="T35" fmla="*/ 2147483647 h 342"/>
                <a:gd name="T36" fmla="*/ 2147483647 w 312"/>
                <a:gd name="T37" fmla="*/ 2147483647 h 342"/>
                <a:gd name="T38" fmla="*/ 2147483647 w 312"/>
                <a:gd name="T39" fmla="*/ 2147483647 h 342"/>
                <a:gd name="T40" fmla="*/ 2147483647 w 312"/>
                <a:gd name="T41" fmla="*/ 2147483647 h 342"/>
                <a:gd name="T42" fmla="*/ 2147483647 w 312"/>
                <a:gd name="T43" fmla="*/ 2147483647 h 342"/>
                <a:gd name="T44" fmla="*/ 2147483647 w 312"/>
                <a:gd name="T45" fmla="*/ 2147483647 h 342"/>
                <a:gd name="T46" fmla="*/ 2147483647 w 312"/>
                <a:gd name="T47" fmla="*/ 2147483647 h 342"/>
                <a:gd name="T48" fmla="*/ 2147483647 w 312"/>
                <a:gd name="T49" fmla="*/ 2147483647 h 342"/>
                <a:gd name="T50" fmla="*/ 2147483647 w 312"/>
                <a:gd name="T51" fmla="*/ 0 h 342"/>
                <a:gd name="T52" fmla="*/ 2147483647 w 312"/>
                <a:gd name="T53" fmla="*/ 0 h 342"/>
                <a:gd name="T54" fmla="*/ 2147483647 w 312"/>
                <a:gd name="T55" fmla="*/ 2147483647 h 342"/>
                <a:gd name="T56" fmla="*/ 2147483647 w 312"/>
                <a:gd name="T57" fmla="*/ 2147483647 h 342"/>
                <a:gd name="T58" fmla="*/ 2147483647 w 312"/>
                <a:gd name="T59" fmla="*/ 2147483647 h 342"/>
                <a:gd name="T60" fmla="*/ 2147483647 w 312"/>
                <a:gd name="T61" fmla="*/ 2147483647 h 342"/>
                <a:gd name="T62" fmla="*/ 2147483647 w 312"/>
                <a:gd name="T63" fmla="*/ 2147483647 h 342"/>
                <a:gd name="T64" fmla="*/ 2147483647 w 312"/>
                <a:gd name="T65" fmla="*/ 2147483647 h 342"/>
                <a:gd name="T66" fmla="*/ 2147483647 w 312"/>
                <a:gd name="T67" fmla="*/ 2147483647 h 342"/>
                <a:gd name="T68" fmla="*/ 2147483647 w 312"/>
                <a:gd name="T69" fmla="*/ 2147483647 h 342"/>
                <a:gd name="T70" fmla="*/ 2147483647 w 312"/>
                <a:gd name="T71" fmla="*/ 2147483647 h 342"/>
                <a:gd name="T72" fmla="*/ 2147483647 w 312"/>
                <a:gd name="T73" fmla="*/ 2147483647 h 342"/>
                <a:gd name="T74" fmla="*/ 2147483647 w 312"/>
                <a:gd name="T75" fmla="*/ 2147483647 h 342"/>
                <a:gd name="T76" fmla="*/ 2147483647 w 312"/>
                <a:gd name="T77" fmla="*/ 2147483647 h 342"/>
                <a:gd name="T78" fmla="*/ 0 w 312"/>
                <a:gd name="T79" fmla="*/ 2147483647 h 342"/>
                <a:gd name="T80" fmla="*/ 2147483647 w 312"/>
                <a:gd name="T81" fmla="*/ 2147483647 h 342"/>
                <a:gd name="T82" fmla="*/ 2147483647 w 312"/>
                <a:gd name="T83" fmla="*/ 2147483647 h 342"/>
                <a:gd name="T84" fmla="*/ 2147483647 w 312"/>
                <a:gd name="T85" fmla="*/ 2147483647 h 342"/>
                <a:gd name="T86" fmla="*/ 2147483647 w 312"/>
                <a:gd name="T87" fmla="*/ 2147483647 h 342"/>
                <a:gd name="T88" fmla="*/ 2147483647 w 312"/>
                <a:gd name="T89" fmla="*/ 2147483647 h 342"/>
                <a:gd name="T90" fmla="*/ 2147483647 w 312"/>
                <a:gd name="T91" fmla="*/ 2147483647 h 342"/>
                <a:gd name="T92" fmla="*/ 2147483647 w 312"/>
                <a:gd name="T93" fmla="*/ 2147483647 h 342"/>
                <a:gd name="T94" fmla="*/ 2147483647 w 312"/>
                <a:gd name="T95" fmla="*/ 2147483647 h 342"/>
                <a:gd name="T96" fmla="*/ 2147483647 w 312"/>
                <a:gd name="T97" fmla="*/ 2147483647 h 342"/>
                <a:gd name="T98" fmla="*/ 2147483647 w 312"/>
                <a:gd name="T99" fmla="*/ 2147483647 h 342"/>
                <a:gd name="T100" fmla="*/ 2147483647 w 312"/>
                <a:gd name="T101" fmla="*/ 2147483647 h 342"/>
                <a:gd name="T102" fmla="*/ 2147483647 w 312"/>
                <a:gd name="T103" fmla="*/ 2147483647 h 342"/>
                <a:gd name="T104" fmla="*/ 2147483647 w 312"/>
                <a:gd name="T105" fmla="*/ 2147483647 h 342"/>
                <a:gd name="T106" fmla="*/ 2147483647 w 312"/>
                <a:gd name="T107" fmla="*/ 2147483647 h 342"/>
                <a:gd name="T108" fmla="*/ 2147483647 w 312"/>
                <a:gd name="T109" fmla="*/ 2147483647 h 342"/>
                <a:gd name="T110" fmla="*/ 2147483647 w 312"/>
                <a:gd name="T111" fmla="*/ 2147483647 h 342"/>
                <a:gd name="T112" fmla="*/ 2147483647 w 312"/>
                <a:gd name="T113" fmla="*/ 2147483647 h 342"/>
                <a:gd name="T114" fmla="*/ 2147483647 w 312"/>
                <a:gd name="T115" fmla="*/ 2147483647 h 342"/>
                <a:gd name="T116" fmla="*/ 2147483647 w 312"/>
                <a:gd name="T117" fmla="*/ 2147483647 h 342"/>
                <a:gd name="T118" fmla="*/ 2147483647 w 312"/>
                <a:gd name="T119" fmla="*/ 2147483647 h 342"/>
                <a:gd name="T120" fmla="*/ 2147483647 w 312"/>
                <a:gd name="T121" fmla="*/ 2147483647 h 3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2"/>
                <a:gd name="T184" fmla="*/ 0 h 342"/>
                <a:gd name="T185" fmla="*/ 312 w 312"/>
                <a:gd name="T186" fmla="*/ 342 h 3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2" h="342">
                  <a:moveTo>
                    <a:pt x="312" y="252"/>
                  </a:moveTo>
                  <a:lnTo>
                    <a:pt x="312" y="240"/>
                  </a:lnTo>
                  <a:lnTo>
                    <a:pt x="282" y="210"/>
                  </a:lnTo>
                  <a:lnTo>
                    <a:pt x="282" y="180"/>
                  </a:lnTo>
                  <a:lnTo>
                    <a:pt x="246" y="186"/>
                  </a:lnTo>
                  <a:lnTo>
                    <a:pt x="246" y="174"/>
                  </a:lnTo>
                  <a:lnTo>
                    <a:pt x="228" y="174"/>
                  </a:lnTo>
                  <a:lnTo>
                    <a:pt x="222" y="168"/>
                  </a:lnTo>
                  <a:lnTo>
                    <a:pt x="228" y="156"/>
                  </a:lnTo>
                  <a:lnTo>
                    <a:pt x="240" y="150"/>
                  </a:lnTo>
                  <a:lnTo>
                    <a:pt x="246" y="132"/>
                  </a:lnTo>
                  <a:lnTo>
                    <a:pt x="246" y="108"/>
                  </a:lnTo>
                  <a:lnTo>
                    <a:pt x="228" y="72"/>
                  </a:lnTo>
                  <a:lnTo>
                    <a:pt x="222" y="72"/>
                  </a:lnTo>
                  <a:lnTo>
                    <a:pt x="216" y="78"/>
                  </a:lnTo>
                  <a:lnTo>
                    <a:pt x="210" y="90"/>
                  </a:lnTo>
                  <a:lnTo>
                    <a:pt x="210" y="102"/>
                  </a:lnTo>
                  <a:lnTo>
                    <a:pt x="198" y="114"/>
                  </a:lnTo>
                  <a:lnTo>
                    <a:pt x="192" y="114"/>
                  </a:lnTo>
                  <a:lnTo>
                    <a:pt x="180" y="102"/>
                  </a:lnTo>
                  <a:lnTo>
                    <a:pt x="180" y="96"/>
                  </a:lnTo>
                  <a:lnTo>
                    <a:pt x="168" y="96"/>
                  </a:lnTo>
                  <a:lnTo>
                    <a:pt x="168" y="36"/>
                  </a:lnTo>
                  <a:lnTo>
                    <a:pt x="162" y="18"/>
                  </a:lnTo>
                  <a:lnTo>
                    <a:pt x="150" y="6"/>
                  </a:lnTo>
                  <a:lnTo>
                    <a:pt x="138" y="0"/>
                  </a:lnTo>
                  <a:lnTo>
                    <a:pt x="132" y="0"/>
                  </a:lnTo>
                  <a:lnTo>
                    <a:pt x="126" y="6"/>
                  </a:lnTo>
                  <a:lnTo>
                    <a:pt x="126" y="18"/>
                  </a:lnTo>
                  <a:lnTo>
                    <a:pt x="102" y="12"/>
                  </a:lnTo>
                  <a:lnTo>
                    <a:pt x="108" y="36"/>
                  </a:lnTo>
                  <a:lnTo>
                    <a:pt x="84" y="42"/>
                  </a:lnTo>
                  <a:lnTo>
                    <a:pt x="84" y="60"/>
                  </a:lnTo>
                  <a:lnTo>
                    <a:pt x="78" y="72"/>
                  </a:lnTo>
                  <a:lnTo>
                    <a:pt x="66" y="78"/>
                  </a:lnTo>
                  <a:lnTo>
                    <a:pt x="54" y="90"/>
                  </a:lnTo>
                  <a:lnTo>
                    <a:pt x="42" y="96"/>
                  </a:lnTo>
                  <a:lnTo>
                    <a:pt x="24" y="114"/>
                  </a:lnTo>
                  <a:lnTo>
                    <a:pt x="24" y="150"/>
                  </a:lnTo>
                  <a:lnTo>
                    <a:pt x="0" y="126"/>
                  </a:lnTo>
                  <a:lnTo>
                    <a:pt x="36" y="162"/>
                  </a:lnTo>
                  <a:lnTo>
                    <a:pt x="60" y="162"/>
                  </a:lnTo>
                  <a:lnTo>
                    <a:pt x="72" y="192"/>
                  </a:lnTo>
                  <a:lnTo>
                    <a:pt x="102" y="192"/>
                  </a:lnTo>
                  <a:lnTo>
                    <a:pt x="108" y="198"/>
                  </a:lnTo>
                  <a:lnTo>
                    <a:pt x="120" y="222"/>
                  </a:lnTo>
                  <a:lnTo>
                    <a:pt x="132" y="240"/>
                  </a:lnTo>
                  <a:lnTo>
                    <a:pt x="150" y="252"/>
                  </a:lnTo>
                  <a:lnTo>
                    <a:pt x="162" y="270"/>
                  </a:lnTo>
                  <a:lnTo>
                    <a:pt x="180" y="282"/>
                  </a:lnTo>
                  <a:lnTo>
                    <a:pt x="198" y="288"/>
                  </a:lnTo>
                  <a:lnTo>
                    <a:pt x="210" y="294"/>
                  </a:lnTo>
                  <a:lnTo>
                    <a:pt x="228" y="300"/>
                  </a:lnTo>
                  <a:lnTo>
                    <a:pt x="258" y="330"/>
                  </a:lnTo>
                  <a:lnTo>
                    <a:pt x="294" y="342"/>
                  </a:lnTo>
                  <a:lnTo>
                    <a:pt x="300" y="342"/>
                  </a:lnTo>
                  <a:lnTo>
                    <a:pt x="300" y="294"/>
                  </a:lnTo>
                  <a:lnTo>
                    <a:pt x="306" y="288"/>
                  </a:lnTo>
                  <a:lnTo>
                    <a:pt x="306" y="276"/>
                  </a:lnTo>
                  <a:lnTo>
                    <a:pt x="312" y="264"/>
                  </a:lnTo>
                  <a:lnTo>
                    <a:pt x="312" y="25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19" name="Libanon" descr="© INSCALE GmbH, 05.05.2010&#10;http://www.presentationload.com/">
              <a:extLst>
                <a:ext uri="{FF2B5EF4-FFF2-40B4-BE49-F238E27FC236}">
                  <a16:creationId xmlns:a16="http://schemas.microsoft.com/office/drawing/2014/main" id="{152C07CE-A658-4D0A-9FB9-BBAAC1D704AA}"/>
                </a:ext>
              </a:extLst>
            </p:cNvPr>
            <p:cNvSpPr>
              <a:spLocks/>
            </p:cNvSpPr>
            <p:nvPr/>
          </p:nvSpPr>
          <p:spPr bwMode="gray">
            <a:xfrm>
              <a:off x="5079581" y="3142469"/>
              <a:ext cx="42336" cy="62721"/>
            </a:xfrm>
            <a:custGeom>
              <a:avLst/>
              <a:gdLst>
                <a:gd name="T0" fmla="*/ 2147483647 w 108"/>
                <a:gd name="T1" fmla="*/ 2147483647 h 156"/>
                <a:gd name="T2" fmla="*/ 2147483647 w 108"/>
                <a:gd name="T3" fmla="*/ 2147483647 h 156"/>
                <a:gd name="T4" fmla="*/ 2147483647 w 108"/>
                <a:gd name="T5" fmla="*/ 2147483647 h 156"/>
                <a:gd name="T6" fmla="*/ 2147483647 w 108"/>
                <a:gd name="T7" fmla="*/ 2147483647 h 156"/>
                <a:gd name="T8" fmla="*/ 2147483647 w 108"/>
                <a:gd name="T9" fmla="*/ 2147483647 h 156"/>
                <a:gd name="T10" fmla="*/ 2147483647 w 108"/>
                <a:gd name="T11" fmla="*/ 2147483647 h 156"/>
                <a:gd name="T12" fmla="*/ 2147483647 w 108"/>
                <a:gd name="T13" fmla="*/ 2147483647 h 156"/>
                <a:gd name="T14" fmla="*/ 2147483647 w 108"/>
                <a:gd name="T15" fmla="*/ 2147483647 h 156"/>
                <a:gd name="T16" fmla="*/ 2147483647 w 108"/>
                <a:gd name="T17" fmla="*/ 2147483647 h 156"/>
                <a:gd name="T18" fmla="*/ 2147483647 w 108"/>
                <a:gd name="T19" fmla="*/ 2147483647 h 156"/>
                <a:gd name="T20" fmla="*/ 2147483647 w 108"/>
                <a:gd name="T21" fmla="*/ 0 h 156"/>
                <a:gd name="T22" fmla="*/ 2147483647 w 108"/>
                <a:gd name="T23" fmla="*/ 0 h 156"/>
                <a:gd name="T24" fmla="*/ 2147483647 w 108"/>
                <a:gd name="T25" fmla="*/ 0 h 156"/>
                <a:gd name="T26" fmla="*/ 2147483647 w 108"/>
                <a:gd name="T27" fmla="*/ 2147483647 h 156"/>
                <a:gd name="T28" fmla="*/ 2147483647 w 108"/>
                <a:gd name="T29" fmla="*/ 2147483647 h 156"/>
                <a:gd name="T30" fmla="*/ 2147483647 w 108"/>
                <a:gd name="T31" fmla="*/ 2147483647 h 156"/>
                <a:gd name="T32" fmla="*/ 2147483647 w 108"/>
                <a:gd name="T33" fmla="*/ 2147483647 h 156"/>
                <a:gd name="T34" fmla="*/ 2147483647 w 108"/>
                <a:gd name="T35" fmla="*/ 2147483647 h 156"/>
                <a:gd name="T36" fmla="*/ 2147483647 w 108"/>
                <a:gd name="T37" fmla="*/ 2147483647 h 156"/>
                <a:gd name="T38" fmla="*/ 2147483647 w 108"/>
                <a:gd name="T39" fmla="*/ 2147483647 h 156"/>
                <a:gd name="T40" fmla="*/ 2147483647 w 108"/>
                <a:gd name="T41" fmla="*/ 2147483647 h 156"/>
                <a:gd name="T42" fmla="*/ 0 w 108"/>
                <a:gd name="T43" fmla="*/ 2147483647 h 156"/>
                <a:gd name="T44" fmla="*/ 0 w 108"/>
                <a:gd name="T45" fmla="*/ 2147483647 h 156"/>
                <a:gd name="T46" fmla="*/ 2147483647 w 108"/>
                <a:gd name="T47" fmla="*/ 2147483647 h 156"/>
                <a:gd name="T48" fmla="*/ 2147483647 w 108"/>
                <a:gd name="T49" fmla="*/ 2147483647 h 156"/>
                <a:gd name="T50" fmla="*/ 2147483647 w 108"/>
                <a:gd name="T51" fmla="*/ 2147483647 h 156"/>
                <a:gd name="T52" fmla="*/ 2147483647 w 108"/>
                <a:gd name="T53" fmla="*/ 2147483647 h 156"/>
                <a:gd name="T54" fmla="*/ 2147483647 w 108"/>
                <a:gd name="T55" fmla="*/ 2147483647 h 156"/>
                <a:gd name="T56" fmla="*/ 2147483647 w 108"/>
                <a:gd name="T57" fmla="*/ 2147483647 h 156"/>
                <a:gd name="T58" fmla="*/ 2147483647 w 108"/>
                <a:gd name="T59" fmla="*/ 2147483647 h 156"/>
                <a:gd name="T60" fmla="*/ 2147483647 w 108"/>
                <a:gd name="T61" fmla="*/ 2147483647 h 15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8"/>
                <a:gd name="T94" fmla="*/ 0 h 156"/>
                <a:gd name="T95" fmla="*/ 108 w 108"/>
                <a:gd name="T96" fmla="*/ 156 h 15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8" h="156">
                  <a:moveTo>
                    <a:pt x="72" y="96"/>
                  </a:moveTo>
                  <a:lnTo>
                    <a:pt x="72" y="72"/>
                  </a:lnTo>
                  <a:lnTo>
                    <a:pt x="78" y="66"/>
                  </a:lnTo>
                  <a:lnTo>
                    <a:pt x="84" y="66"/>
                  </a:lnTo>
                  <a:lnTo>
                    <a:pt x="96" y="60"/>
                  </a:lnTo>
                  <a:lnTo>
                    <a:pt x="102" y="60"/>
                  </a:lnTo>
                  <a:lnTo>
                    <a:pt x="108" y="48"/>
                  </a:lnTo>
                  <a:lnTo>
                    <a:pt x="108" y="30"/>
                  </a:lnTo>
                  <a:lnTo>
                    <a:pt x="102" y="18"/>
                  </a:lnTo>
                  <a:lnTo>
                    <a:pt x="96" y="12"/>
                  </a:lnTo>
                  <a:lnTo>
                    <a:pt x="102" y="0"/>
                  </a:lnTo>
                  <a:lnTo>
                    <a:pt x="54" y="0"/>
                  </a:lnTo>
                  <a:lnTo>
                    <a:pt x="60" y="0"/>
                  </a:lnTo>
                  <a:lnTo>
                    <a:pt x="60" y="6"/>
                  </a:lnTo>
                  <a:lnTo>
                    <a:pt x="54" y="6"/>
                  </a:lnTo>
                  <a:lnTo>
                    <a:pt x="48" y="18"/>
                  </a:lnTo>
                  <a:lnTo>
                    <a:pt x="36" y="24"/>
                  </a:lnTo>
                  <a:lnTo>
                    <a:pt x="30" y="30"/>
                  </a:lnTo>
                  <a:lnTo>
                    <a:pt x="18" y="66"/>
                  </a:lnTo>
                  <a:lnTo>
                    <a:pt x="12" y="78"/>
                  </a:lnTo>
                  <a:lnTo>
                    <a:pt x="12" y="90"/>
                  </a:lnTo>
                  <a:lnTo>
                    <a:pt x="0" y="114"/>
                  </a:lnTo>
                  <a:lnTo>
                    <a:pt x="0" y="156"/>
                  </a:lnTo>
                  <a:lnTo>
                    <a:pt x="12" y="150"/>
                  </a:lnTo>
                  <a:lnTo>
                    <a:pt x="24" y="126"/>
                  </a:lnTo>
                  <a:lnTo>
                    <a:pt x="30" y="132"/>
                  </a:lnTo>
                  <a:lnTo>
                    <a:pt x="36" y="132"/>
                  </a:lnTo>
                  <a:lnTo>
                    <a:pt x="42" y="126"/>
                  </a:lnTo>
                  <a:lnTo>
                    <a:pt x="48" y="114"/>
                  </a:lnTo>
                  <a:lnTo>
                    <a:pt x="48" y="102"/>
                  </a:lnTo>
                  <a:lnTo>
                    <a:pt x="72" y="96"/>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20" name="Lesotho" descr="© INSCALE GmbH, 05.05.2010&#10;http://www.presentationload.com/">
              <a:extLst>
                <a:ext uri="{FF2B5EF4-FFF2-40B4-BE49-F238E27FC236}">
                  <a16:creationId xmlns:a16="http://schemas.microsoft.com/office/drawing/2014/main" id="{D5CDFD7E-28C1-4AC1-9636-1EBD472A5968}"/>
                </a:ext>
              </a:extLst>
            </p:cNvPr>
            <p:cNvSpPr>
              <a:spLocks/>
            </p:cNvSpPr>
            <p:nvPr/>
          </p:nvSpPr>
          <p:spPr bwMode="gray">
            <a:xfrm>
              <a:off x="4874169" y="5169924"/>
              <a:ext cx="65857" cy="64289"/>
            </a:xfrm>
            <a:custGeom>
              <a:avLst/>
              <a:gdLst>
                <a:gd name="T0" fmla="*/ 0 w 168"/>
                <a:gd name="T1" fmla="*/ 2147483647 h 162"/>
                <a:gd name="T2" fmla="*/ 2147483647 w 168"/>
                <a:gd name="T3" fmla="*/ 2147483647 h 162"/>
                <a:gd name="T4" fmla="*/ 2147483647 w 168"/>
                <a:gd name="T5" fmla="*/ 2147483647 h 162"/>
                <a:gd name="T6" fmla="*/ 2147483647 w 168"/>
                <a:gd name="T7" fmla="*/ 2147483647 h 162"/>
                <a:gd name="T8" fmla="*/ 2147483647 w 168"/>
                <a:gd name="T9" fmla="*/ 2147483647 h 162"/>
                <a:gd name="T10" fmla="*/ 2147483647 w 168"/>
                <a:gd name="T11" fmla="*/ 2147483647 h 162"/>
                <a:gd name="T12" fmla="*/ 2147483647 w 168"/>
                <a:gd name="T13" fmla="*/ 2147483647 h 162"/>
                <a:gd name="T14" fmla="*/ 2147483647 w 168"/>
                <a:gd name="T15" fmla="*/ 2147483647 h 162"/>
                <a:gd name="T16" fmla="*/ 2147483647 w 168"/>
                <a:gd name="T17" fmla="*/ 2147483647 h 162"/>
                <a:gd name="T18" fmla="*/ 2147483647 w 168"/>
                <a:gd name="T19" fmla="*/ 2147483647 h 162"/>
                <a:gd name="T20" fmla="*/ 2147483647 w 168"/>
                <a:gd name="T21" fmla="*/ 2147483647 h 162"/>
                <a:gd name="T22" fmla="*/ 2147483647 w 168"/>
                <a:gd name="T23" fmla="*/ 2147483647 h 162"/>
                <a:gd name="T24" fmla="*/ 2147483647 w 168"/>
                <a:gd name="T25" fmla="*/ 2147483647 h 162"/>
                <a:gd name="T26" fmla="*/ 2147483647 w 168"/>
                <a:gd name="T27" fmla="*/ 2147483647 h 162"/>
                <a:gd name="T28" fmla="*/ 2147483647 w 168"/>
                <a:gd name="T29" fmla="*/ 2147483647 h 162"/>
                <a:gd name="T30" fmla="*/ 2147483647 w 168"/>
                <a:gd name="T31" fmla="*/ 2147483647 h 162"/>
                <a:gd name="T32" fmla="*/ 2147483647 w 168"/>
                <a:gd name="T33" fmla="*/ 2147483647 h 162"/>
                <a:gd name="T34" fmla="*/ 2147483647 w 168"/>
                <a:gd name="T35" fmla="*/ 2147483647 h 162"/>
                <a:gd name="T36" fmla="*/ 2147483647 w 168"/>
                <a:gd name="T37" fmla="*/ 2147483647 h 162"/>
                <a:gd name="T38" fmla="*/ 2147483647 w 168"/>
                <a:gd name="T39" fmla="*/ 2147483647 h 162"/>
                <a:gd name="T40" fmla="*/ 2147483647 w 168"/>
                <a:gd name="T41" fmla="*/ 2147483647 h 162"/>
                <a:gd name="T42" fmla="*/ 2147483647 w 168"/>
                <a:gd name="T43" fmla="*/ 0 h 162"/>
                <a:gd name="T44" fmla="*/ 2147483647 w 168"/>
                <a:gd name="T45" fmla="*/ 0 h 162"/>
                <a:gd name="T46" fmla="*/ 2147483647 w 168"/>
                <a:gd name="T47" fmla="*/ 2147483647 h 162"/>
                <a:gd name="T48" fmla="*/ 2147483647 w 168"/>
                <a:gd name="T49" fmla="*/ 2147483647 h 162"/>
                <a:gd name="T50" fmla="*/ 2147483647 w 168"/>
                <a:gd name="T51" fmla="*/ 2147483647 h 162"/>
                <a:gd name="T52" fmla="*/ 2147483647 w 168"/>
                <a:gd name="T53" fmla="*/ 2147483647 h 162"/>
                <a:gd name="T54" fmla="*/ 2147483647 w 168"/>
                <a:gd name="T55" fmla="*/ 2147483647 h 162"/>
                <a:gd name="T56" fmla="*/ 2147483647 w 168"/>
                <a:gd name="T57" fmla="*/ 2147483647 h 162"/>
                <a:gd name="T58" fmla="*/ 2147483647 w 168"/>
                <a:gd name="T59" fmla="*/ 2147483647 h 162"/>
                <a:gd name="T60" fmla="*/ 0 w 168"/>
                <a:gd name="T61" fmla="*/ 2147483647 h 1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68"/>
                <a:gd name="T94" fmla="*/ 0 h 162"/>
                <a:gd name="T95" fmla="*/ 168 w 168"/>
                <a:gd name="T96" fmla="*/ 162 h 1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68" h="162">
                  <a:moveTo>
                    <a:pt x="0" y="78"/>
                  </a:moveTo>
                  <a:lnTo>
                    <a:pt x="24" y="114"/>
                  </a:lnTo>
                  <a:lnTo>
                    <a:pt x="24" y="132"/>
                  </a:lnTo>
                  <a:lnTo>
                    <a:pt x="54" y="162"/>
                  </a:lnTo>
                  <a:lnTo>
                    <a:pt x="72" y="162"/>
                  </a:lnTo>
                  <a:lnTo>
                    <a:pt x="72" y="150"/>
                  </a:lnTo>
                  <a:lnTo>
                    <a:pt x="78" y="144"/>
                  </a:lnTo>
                  <a:lnTo>
                    <a:pt x="84" y="132"/>
                  </a:lnTo>
                  <a:lnTo>
                    <a:pt x="90" y="126"/>
                  </a:lnTo>
                  <a:lnTo>
                    <a:pt x="102" y="120"/>
                  </a:lnTo>
                  <a:lnTo>
                    <a:pt x="120" y="120"/>
                  </a:lnTo>
                  <a:lnTo>
                    <a:pt x="132" y="114"/>
                  </a:lnTo>
                  <a:lnTo>
                    <a:pt x="138" y="108"/>
                  </a:lnTo>
                  <a:lnTo>
                    <a:pt x="150" y="102"/>
                  </a:lnTo>
                  <a:lnTo>
                    <a:pt x="144" y="84"/>
                  </a:lnTo>
                  <a:lnTo>
                    <a:pt x="168" y="66"/>
                  </a:lnTo>
                  <a:lnTo>
                    <a:pt x="162" y="42"/>
                  </a:lnTo>
                  <a:lnTo>
                    <a:pt x="150" y="36"/>
                  </a:lnTo>
                  <a:lnTo>
                    <a:pt x="144" y="24"/>
                  </a:lnTo>
                  <a:lnTo>
                    <a:pt x="138" y="18"/>
                  </a:lnTo>
                  <a:lnTo>
                    <a:pt x="132" y="6"/>
                  </a:lnTo>
                  <a:lnTo>
                    <a:pt x="126" y="0"/>
                  </a:lnTo>
                  <a:lnTo>
                    <a:pt x="90" y="0"/>
                  </a:lnTo>
                  <a:lnTo>
                    <a:pt x="78" y="6"/>
                  </a:lnTo>
                  <a:lnTo>
                    <a:pt x="78" y="18"/>
                  </a:lnTo>
                  <a:lnTo>
                    <a:pt x="54" y="18"/>
                  </a:lnTo>
                  <a:lnTo>
                    <a:pt x="48" y="24"/>
                  </a:lnTo>
                  <a:lnTo>
                    <a:pt x="48" y="42"/>
                  </a:lnTo>
                  <a:lnTo>
                    <a:pt x="30" y="60"/>
                  </a:lnTo>
                  <a:lnTo>
                    <a:pt x="24" y="78"/>
                  </a:lnTo>
                  <a:lnTo>
                    <a:pt x="0" y="78"/>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21" name="Lettland" descr="© INSCALE GmbH, 05.05.2010&#10;http://www.presentationload.com/">
              <a:extLst>
                <a:ext uri="{FF2B5EF4-FFF2-40B4-BE49-F238E27FC236}">
                  <a16:creationId xmlns:a16="http://schemas.microsoft.com/office/drawing/2014/main" id="{850ED905-4589-45EA-99DB-45F005A13D61}"/>
                </a:ext>
              </a:extLst>
            </p:cNvPr>
            <p:cNvSpPr>
              <a:spLocks/>
            </p:cNvSpPr>
            <p:nvPr/>
          </p:nvSpPr>
          <p:spPr bwMode="gray">
            <a:xfrm>
              <a:off x="4668759" y="2410202"/>
              <a:ext cx="169346" cy="72129"/>
            </a:xfrm>
            <a:custGeom>
              <a:avLst/>
              <a:gdLst>
                <a:gd name="T0" fmla="*/ 2147483647 w 426"/>
                <a:gd name="T1" fmla="*/ 2147483647 h 180"/>
                <a:gd name="T2" fmla="*/ 2147483647 w 426"/>
                <a:gd name="T3" fmla="*/ 2147483647 h 180"/>
                <a:gd name="T4" fmla="*/ 2147483647 w 426"/>
                <a:gd name="T5" fmla="*/ 2147483647 h 180"/>
                <a:gd name="T6" fmla="*/ 2147483647 w 426"/>
                <a:gd name="T7" fmla="*/ 2147483647 h 180"/>
                <a:gd name="T8" fmla="*/ 2147483647 w 426"/>
                <a:gd name="T9" fmla="*/ 2147483647 h 180"/>
                <a:gd name="T10" fmla="*/ 2147483647 w 426"/>
                <a:gd name="T11" fmla="*/ 2147483647 h 180"/>
                <a:gd name="T12" fmla="*/ 2147483647 w 426"/>
                <a:gd name="T13" fmla="*/ 2147483647 h 180"/>
                <a:gd name="T14" fmla="*/ 2147483647 w 426"/>
                <a:gd name="T15" fmla="*/ 2147483647 h 180"/>
                <a:gd name="T16" fmla="*/ 2147483647 w 426"/>
                <a:gd name="T17" fmla="*/ 2147483647 h 180"/>
                <a:gd name="T18" fmla="*/ 2147483647 w 426"/>
                <a:gd name="T19" fmla="*/ 2147483647 h 180"/>
                <a:gd name="T20" fmla="*/ 2147483647 w 426"/>
                <a:gd name="T21" fmla="*/ 2147483647 h 180"/>
                <a:gd name="T22" fmla="*/ 2147483647 w 426"/>
                <a:gd name="T23" fmla="*/ 2147483647 h 180"/>
                <a:gd name="T24" fmla="*/ 2147483647 w 426"/>
                <a:gd name="T25" fmla="*/ 2147483647 h 180"/>
                <a:gd name="T26" fmla="*/ 2147483647 w 426"/>
                <a:gd name="T27" fmla="*/ 2147483647 h 180"/>
                <a:gd name="T28" fmla="*/ 2147483647 w 426"/>
                <a:gd name="T29" fmla="*/ 2147483647 h 180"/>
                <a:gd name="T30" fmla="*/ 2147483647 w 426"/>
                <a:gd name="T31" fmla="*/ 2147483647 h 180"/>
                <a:gd name="T32" fmla="*/ 2147483647 w 426"/>
                <a:gd name="T33" fmla="*/ 2147483647 h 180"/>
                <a:gd name="T34" fmla="*/ 2147483647 w 426"/>
                <a:gd name="T35" fmla="*/ 2147483647 h 180"/>
                <a:gd name="T36" fmla="*/ 2147483647 w 426"/>
                <a:gd name="T37" fmla="*/ 2147483647 h 180"/>
                <a:gd name="T38" fmla="*/ 2147483647 w 426"/>
                <a:gd name="T39" fmla="*/ 2147483647 h 180"/>
                <a:gd name="T40" fmla="*/ 2147483647 w 426"/>
                <a:gd name="T41" fmla="*/ 2147483647 h 180"/>
                <a:gd name="T42" fmla="*/ 2147483647 w 426"/>
                <a:gd name="T43" fmla="*/ 2147483647 h 180"/>
                <a:gd name="T44" fmla="*/ 2147483647 w 426"/>
                <a:gd name="T45" fmla="*/ 2147483647 h 180"/>
                <a:gd name="T46" fmla="*/ 2147483647 w 426"/>
                <a:gd name="T47" fmla="*/ 2147483647 h 180"/>
                <a:gd name="T48" fmla="*/ 2147483647 w 426"/>
                <a:gd name="T49" fmla="*/ 2147483647 h 180"/>
                <a:gd name="T50" fmla="*/ 2147483647 w 426"/>
                <a:gd name="T51" fmla="*/ 2147483647 h 180"/>
                <a:gd name="T52" fmla="*/ 2147483647 w 426"/>
                <a:gd name="T53" fmla="*/ 2147483647 h 180"/>
                <a:gd name="T54" fmla="*/ 2147483647 w 426"/>
                <a:gd name="T55" fmla="*/ 2147483647 h 180"/>
                <a:gd name="T56" fmla="*/ 2147483647 w 426"/>
                <a:gd name="T57" fmla="*/ 2147483647 h 180"/>
                <a:gd name="T58" fmla="*/ 2147483647 w 426"/>
                <a:gd name="T59" fmla="*/ 2147483647 h 180"/>
                <a:gd name="T60" fmla="*/ 2147483647 w 426"/>
                <a:gd name="T61" fmla="*/ 0 h 180"/>
                <a:gd name="T62" fmla="*/ 2147483647 w 426"/>
                <a:gd name="T63" fmla="*/ 2147483647 h 180"/>
                <a:gd name="T64" fmla="*/ 2147483647 w 426"/>
                <a:gd name="T65" fmla="*/ 2147483647 h 180"/>
                <a:gd name="T66" fmla="*/ 2147483647 w 426"/>
                <a:gd name="T67" fmla="*/ 2147483647 h 180"/>
                <a:gd name="T68" fmla="*/ 2147483647 w 426"/>
                <a:gd name="T69" fmla="*/ 2147483647 h 180"/>
                <a:gd name="T70" fmla="*/ 2147483647 w 426"/>
                <a:gd name="T71" fmla="*/ 2147483647 h 180"/>
                <a:gd name="T72" fmla="*/ 2147483647 w 426"/>
                <a:gd name="T73" fmla="*/ 2147483647 h 180"/>
                <a:gd name="T74" fmla="*/ 2147483647 w 426"/>
                <a:gd name="T75" fmla="*/ 2147483647 h 180"/>
                <a:gd name="T76" fmla="*/ 2147483647 w 426"/>
                <a:gd name="T77" fmla="*/ 2147483647 h 180"/>
                <a:gd name="T78" fmla="*/ 2147483647 w 426"/>
                <a:gd name="T79" fmla="*/ 2147483647 h 180"/>
                <a:gd name="T80" fmla="*/ 2147483647 w 426"/>
                <a:gd name="T81" fmla="*/ 2147483647 h 180"/>
                <a:gd name="T82" fmla="*/ 2147483647 w 426"/>
                <a:gd name="T83" fmla="*/ 2147483647 h 180"/>
                <a:gd name="T84" fmla="*/ 0 w 426"/>
                <a:gd name="T85" fmla="*/ 2147483647 h 180"/>
                <a:gd name="T86" fmla="*/ 2147483647 w 426"/>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6"/>
                <a:gd name="T133" fmla="*/ 0 h 180"/>
                <a:gd name="T134" fmla="*/ 426 w 426"/>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6" h="180">
                  <a:moveTo>
                    <a:pt x="6" y="144"/>
                  </a:moveTo>
                  <a:lnTo>
                    <a:pt x="6" y="138"/>
                  </a:lnTo>
                  <a:lnTo>
                    <a:pt x="12" y="138"/>
                  </a:lnTo>
                  <a:lnTo>
                    <a:pt x="24" y="132"/>
                  </a:lnTo>
                  <a:lnTo>
                    <a:pt x="66" y="132"/>
                  </a:lnTo>
                  <a:lnTo>
                    <a:pt x="78" y="120"/>
                  </a:lnTo>
                  <a:lnTo>
                    <a:pt x="96" y="120"/>
                  </a:lnTo>
                  <a:lnTo>
                    <a:pt x="102" y="126"/>
                  </a:lnTo>
                  <a:lnTo>
                    <a:pt x="108" y="126"/>
                  </a:lnTo>
                  <a:lnTo>
                    <a:pt x="114" y="132"/>
                  </a:lnTo>
                  <a:lnTo>
                    <a:pt x="120" y="132"/>
                  </a:lnTo>
                  <a:lnTo>
                    <a:pt x="126" y="126"/>
                  </a:lnTo>
                  <a:lnTo>
                    <a:pt x="132" y="126"/>
                  </a:lnTo>
                  <a:lnTo>
                    <a:pt x="144" y="132"/>
                  </a:lnTo>
                  <a:lnTo>
                    <a:pt x="150" y="132"/>
                  </a:lnTo>
                  <a:lnTo>
                    <a:pt x="156" y="138"/>
                  </a:lnTo>
                  <a:lnTo>
                    <a:pt x="162" y="138"/>
                  </a:lnTo>
                  <a:lnTo>
                    <a:pt x="168" y="132"/>
                  </a:lnTo>
                  <a:lnTo>
                    <a:pt x="180" y="132"/>
                  </a:lnTo>
                  <a:lnTo>
                    <a:pt x="186" y="138"/>
                  </a:lnTo>
                  <a:lnTo>
                    <a:pt x="204" y="138"/>
                  </a:lnTo>
                  <a:lnTo>
                    <a:pt x="216" y="126"/>
                  </a:lnTo>
                  <a:lnTo>
                    <a:pt x="228" y="126"/>
                  </a:lnTo>
                  <a:lnTo>
                    <a:pt x="234" y="132"/>
                  </a:lnTo>
                  <a:lnTo>
                    <a:pt x="240" y="144"/>
                  </a:lnTo>
                  <a:lnTo>
                    <a:pt x="270" y="144"/>
                  </a:lnTo>
                  <a:lnTo>
                    <a:pt x="282" y="150"/>
                  </a:lnTo>
                  <a:lnTo>
                    <a:pt x="288" y="150"/>
                  </a:lnTo>
                  <a:lnTo>
                    <a:pt x="300" y="162"/>
                  </a:lnTo>
                  <a:lnTo>
                    <a:pt x="318" y="174"/>
                  </a:lnTo>
                  <a:lnTo>
                    <a:pt x="336" y="180"/>
                  </a:lnTo>
                  <a:lnTo>
                    <a:pt x="360" y="168"/>
                  </a:lnTo>
                  <a:lnTo>
                    <a:pt x="378" y="168"/>
                  </a:lnTo>
                  <a:lnTo>
                    <a:pt x="384" y="174"/>
                  </a:lnTo>
                  <a:lnTo>
                    <a:pt x="390" y="168"/>
                  </a:lnTo>
                  <a:lnTo>
                    <a:pt x="396" y="168"/>
                  </a:lnTo>
                  <a:lnTo>
                    <a:pt x="402" y="162"/>
                  </a:lnTo>
                  <a:lnTo>
                    <a:pt x="408" y="150"/>
                  </a:lnTo>
                  <a:lnTo>
                    <a:pt x="414" y="144"/>
                  </a:lnTo>
                  <a:lnTo>
                    <a:pt x="420" y="150"/>
                  </a:lnTo>
                  <a:lnTo>
                    <a:pt x="426" y="150"/>
                  </a:lnTo>
                  <a:lnTo>
                    <a:pt x="426" y="126"/>
                  </a:lnTo>
                  <a:lnTo>
                    <a:pt x="414" y="114"/>
                  </a:lnTo>
                  <a:lnTo>
                    <a:pt x="408" y="102"/>
                  </a:lnTo>
                  <a:lnTo>
                    <a:pt x="402" y="96"/>
                  </a:lnTo>
                  <a:lnTo>
                    <a:pt x="378" y="90"/>
                  </a:lnTo>
                  <a:lnTo>
                    <a:pt x="384" y="72"/>
                  </a:lnTo>
                  <a:lnTo>
                    <a:pt x="402" y="72"/>
                  </a:lnTo>
                  <a:lnTo>
                    <a:pt x="402" y="66"/>
                  </a:lnTo>
                  <a:lnTo>
                    <a:pt x="396" y="60"/>
                  </a:lnTo>
                  <a:lnTo>
                    <a:pt x="384" y="54"/>
                  </a:lnTo>
                  <a:lnTo>
                    <a:pt x="372" y="42"/>
                  </a:lnTo>
                  <a:lnTo>
                    <a:pt x="354" y="42"/>
                  </a:lnTo>
                  <a:lnTo>
                    <a:pt x="348" y="36"/>
                  </a:lnTo>
                  <a:lnTo>
                    <a:pt x="330" y="36"/>
                  </a:lnTo>
                  <a:lnTo>
                    <a:pt x="324" y="42"/>
                  </a:lnTo>
                  <a:lnTo>
                    <a:pt x="306" y="42"/>
                  </a:lnTo>
                  <a:lnTo>
                    <a:pt x="288" y="24"/>
                  </a:lnTo>
                  <a:lnTo>
                    <a:pt x="276" y="18"/>
                  </a:lnTo>
                  <a:lnTo>
                    <a:pt x="270" y="12"/>
                  </a:lnTo>
                  <a:lnTo>
                    <a:pt x="246" y="0"/>
                  </a:lnTo>
                  <a:lnTo>
                    <a:pt x="216" y="0"/>
                  </a:lnTo>
                  <a:lnTo>
                    <a:pt x="186" y="12"/>
                  </a:lnTo>
                  <a:lnTo>
                    <a:pt x="174" y="12"/>
                  </a:lnTo>
                  <a:lnTo>
                    <a:pt x="180" y="24"/>
                  </a:lnTo>
                  <a:lnTo>
                    <a:pt x="180" y="30"/>
                  </a:lnTo>
                  <a:lnTo>
                    <a:pt x="186" y="42"/>
                  </a:lnTo>
                  <a:lnTo>
                    <a:pt x="186" y="60"/>
                  </a:lnTo>
                  <a:lnTo>
                    <a:pt x="192" y="66"/>
                  </a:lnTo>
                  <a:lnTo>
                    <a:pt x="186" y="78"/>
                  </a:lnTo>
                  <a:lnTo>
                    <a:pt x="156" y="78"/>
                  </a:lnTo>
                  <a:lnTo>
                    <a:pt x="138" y="72"/>
                  </a:lnTo>
                  <a:lnTo>
                    <a:pt x="126" y="72"/>
                  </a:lnTo>
                  <a:lnTo>
                    <a:pt x="114" y="54"/>
                  </a:lnTo>
                  <a:lnTo>
                    <a:pt x="84" y="24"/>
                  </a:lnTo>
                  <a:lnTo>
                    <a:pt x="72" y="24"/>
                  </a:lnTo>
                  <a:lnTo>
                    <a:pt x="60" y="30"/>
                  </a:lnTo>
                  <a:lnTo>
                    <a:pt x="48" y="30"/>
                  </a:lnTo>
                  <a:lnTo>
                    <a:pt x="36" y="36"/>
                  </a:lnTo>
                  <a:lnTo>
                    <a:pt x="30" y="42"/>
                  </a:lnTo>
                  <a:lnTo>
                    <a:pt x="24" y="54"/>
                  </a:lnTo>
                  <a:lnTo>
                    <a:pt x="24" y="66"/>
                  </a:lnTo>
                  <a:lnTo>
                    <a:pt x="18" y="78"/>
                  </a:lnTo>
                  <a:lnTo>
                    <a:pt x="6" y="84"/>
                  </a:lnTo>
                  <a:lnTo>
                    <a:pt x="0" y="96"/>
                  </a:lnTo>
                  <a:lnTo>
                    <a:pt x="0" y="120"/>
                  </a:lnTo>
                  <a:lnTo>
                    <a:pt x="6" y="132"/>
                  </a:lnTo>
                  <a:lnTo>
                    <a:pt x="6" y="150"/>
                  </a:lnTo>
                  <a:lnTo>
                    <a:pt x="6" y="144"/>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22" name="Laos" descr="© INSCALE GmbH, 05.05.2010&#10;http://www.presentationload.com/">
              <a:extLst>
                <a:ext uri="{FF2B5EF4-FFF2-40B4-BE49-F238E27FC236}">
                  <a16:creationId xmlns:a16="http://schemas.microsoft.com/office/drawing/2014/main" id="{F80710A1-0FC4-44E0-9D1C-DD6F189B815A}"/>
                </a:ext>
              </a:extLst>
            </p:cNvPr>
            <p:cNvSpPr>
              <a:spLocks/>
            </p:cNvSpPr>
            <p:nvPr/>
          </p:nvSpPr>
          <p:spPr bwMode="gray">
            <a:xfrm>
              <a:off x="6914168" y="3531339"/>
              <a:ext cx="238339" cy="275972"/>
            </a:xfrm>
            <a:custGeom>
              <a:avLst/>
              <a:gdLst>
                <a:gd name="T0" fmla="*/ 2147483647 w 600"/>
                <a:gd name="T1" fmla="*/ 2147483647 h 696"/>
                <a:gd name="T2" fmla="*/ 2147483647 w 600"/>
                <a:gd name="T3" fmla="*/ 2147483647 h 696"/>
                <a:gd name="T4" fmla="*/ 2147483647 w 600"/>
                <a:gd name="T5" fmla="*/ 2147483647 h 696"/>
                <a:gd name="T6" fmla="*/ 2147483647 w 600"/>
                <a:gd name="T7" fmla="*/ 2147483647 h 696"/>
                <a:gd name="T8" fmla="*/ 2147483647 w 600"/>
                <a:gd name="T9" fmla="*/ 2147483647 h 696"/>
                <a:gd name="T10" fmla="*/ 2147483647 w 600"/>
                <a:gd name="T11" fmla="*/ 2147483647 h 696"/>
                <a:gd name="T12" fmla="*/ 2147483647 w 600"/>
                <a:gd name="T13" fmla="*/ 2147483647 h 696"/>
                <a:gd name="T14" fmla="*/ 2147483647 w 600"/>
                <a:gd name="T15" fmla="*/ 2147483647 h 696"/>
                <a:gd name="T16" fmla="*/ 2147483647 w 600"/>
                <a:gd name="T17" fmla="*/ 2147483647 h 696"/>
                <a:gd name="T18" fmla="*/ 2147483647 w 600"/>
                <a:gd name="T19" fmla="*/ 2147483647 h 696"/>
                <a:gd name="T20" fmla="*/ 2147483647 w 600"/>
                <a:gd name="T21" fmla="*/ 2147483647 h 696"/>
                <a:gd name="T22" fmla="*/ 2147483647 w 600"/>
                <a:gd name="T23" fmla="*/ 2147483647 h 696"/>
                <a:gd name="T24" fmla="*/ 2147483647 w 600"/>
                <a:gd name="T25" fmla="*/ 2147483647 h 696"/>
                <a:gd name="T26" fmla="*/ 2147483647 w 600"/>
                <a:gd name="T27" fmla="*/ 2147483647 h 696"/>
                <a:gd name="T28" fmla="*/ 2147483647 w 600"/>
                <a:gd name="T29" fmla="*/ 2147483647 h 696"/>
                <a:gd name="T30" fmla="*/ 2147483647 w 600"/>
                <a:gd name="T31" fmla="*/ 2147483647 h 696"/>
                <a:gd name="T32" fmla="*/ 2147483647 w 600"/>
                <a:gd name="T33" fmla="*/ 2147483647 h 696"/>
                <a:gd name="T34" fmla="*/ 2147483647 w 600"/>
                <a:gd name="T35" fmla="*/ 2147483647 h 696"/>
                <a:gd name="T36" fmla="*/ 2147483647 w 600"/>
                <a:gd name="T37" fmla="*/ 2147483647 h 696"/>
                <a:gd name="T38" fmla="*/ 2147483647 w 600"/>
                <a:gd name="T39" fmla="*/ 2147483647 h 696"/>
                <a:gd name="T40" fmla="*/ 2147483647 w 600"/>
                <a:gd name="T41" fmla="*/ 2147483647 h 696"/>
                <a:gd name="T42" fmla="*/ 2147483647 w 600"/>
                <a:gd name="T43" fmla="*/ 2147483647 h 696"/>
                <a:gd name="T44" fmla="*/ 2147483647 w 600"/>
                <a:gd name="T45" fmla="*/ 2147483647 h 696"/>
                <a:gd name="T46" fmla="*/ 2147483647 w 600"/>
                <a:gd name="T47" fmla="*/ 2147483647 h 696"/>
                <a:gd name="T48" fmla="*/ 2147483647 w 600"/>
                <a:gd name="T49" fmla="*/ 2147483647 h 696"/>
                <a:gd name="T50" fmla="*/ 2147483647 w 600"/>
                <a:gd name="T51" fmla="*/ 2147483647 h 696"/>
                <a:gd name="T52" fmla="*/ 2147483647 w 600"/>
                <a:gd name="T53" fmla="*/ 2147483647 h 696"/>
                <a:gd name="T54" fmla="*/ 2147483647 w 600"/>
                <a:gd name="T55" fmla="*/ 2147483647 h 696"/>
                <a:gd name="T56" fmla="*/ 2147483647 w 600"/>
                <a:gd name="T57" fmla="*/ 2147483647 h 696"/>
                <a:gd name="T58" fmla="*/ 2147483647 w 600"/>
                <a:gd name="T59" fmla="*/ 2147483647 h 696"/>
                <a:gd name="T60" fmla="*/ 2147483647 w 600"/>
                <a:gd name="T61" fmla="*/ 2147483647 h 696"/>
                <a:gd name="T62" fmla="*/ 2147483647 w 600"/>
                <a:gd name="T63" fmla="*/ 2147483647 h 696"/>
                <a:gd name="T64" fmla="*/ 2147483647 w 600"/>
                <a:gd name="T65" fmla="*/ 2147483647 h 696"/>
                <a:gd name="T66" fmla="*/ 2147483647 w 600"/>
                <a:gd name="T67" fmla="*/ 2147483647 h 696"/>
                <a:gd name="T68" fmla="*/ 2147483647 w 600"/>
                <a:gd name="T69" fmla="*/ 2147483647 h 696"/>
                <a:gd name="T70" fmla="*/ 2147483647 w 600"/>
                <a:gd name="T71" fmla="*/ 2147483647 h 696"/>
                <a:gd name="T72" fmla="*/ 2147483647 w 600"/>
                <a:gd name="T73" fmla="*/ 2147483647 h 696"/>
                <a:gd name="T74" fmla="*/ 2147483647 w 600"/>
                <a:gd name="T75" fmla="*/ 2147483647 h 696"/>
                <a:gd name="T76" fmla="*/ 2147483647 w 600"/>
                <a:gd name="T77" fmla="*/ 2147483647 h 696"/>
                <a:gd name="T78" fmla="*/ 2147483647 w 600"/>
                <a:gd name="T79" fmla="*/ 2147483647 h 696"/>
                <a:gd name="T80" fmla="*/ 2147483647 w 600"/>
                <a:gd name="T81" fmla="*/ 2147483647 h 696"/>
                <a:gd name="T82" fmla="*/ 2147483647 w 600"/>
                <a:gd name="T83" fmla="*/ 2147483647 h 696"/>
                <a:gd name="T84" fmla="*/ 2147483647 w 600"/>
                <a:gd name="T85" fmla="*/ 2147483647 h 696"/>
                <a:gd name="T86" fmla="*/ 2147483647 w 600"/>
                <a:gd name="T87" fmla="*/ 2147483647 h 696"/>
                <a:gd name="T88" fmla="*/ 2147483647 w 600"/>
                <a:gd name="T89" fmla="*/ 2147483647 h 696"/>
                <a:gd name="T90" fmla="*/ 2147483647 w 600"/>
                <a:gd name="T91" fmla="*/ 2147483647 h 696"/>
                <a:gd name="T92" fmla="*/ 2147483647 w 600"/>
                <a:gd name="T93" fmla="*/ 2147483647 h 696"/>
                <a:gd name="T94" fmla="*/ 2147483647 w 600"/>
                <a:gd name="T95" fmla="*/ 2147483647 h 696"/>
                <a:gd name="T96" fmla="*/ 2147483647 w 600"/>
                <a:gd name="T97" fmla="*/ 2147483647 h 696"/>
                <a:gd name="T98" fmla="*/ 2147483647 w 600"/>
                <a:gd name="T99" fmla="*/ 2147483647 h 696"/>
                <a:gd name="T100" fmla="*/ 2147483647 w 600"/>
                <a:gd name="T101" fmla="*/ 2147483647 h 696"/>
                <a:gd name="T102" fmla="*/ 2147483647 w 600"/>
                <a:gd name="T103" fmla="*/ 2147483647 h 696"/>
                <a:gd name="T104" fmla="*/ 2147483647 w 600"/>
                <a:gd name="T105" fmla="*/ 2147483647 h 696"/>
                <a:gd name="T106" fmla="*/ 2147483647 w 600"/>
                <a:gd name="T107" fmla="*/ 2147483647 h 696"/>
                <a:gd name="T108" fmla="*/ 2147483647 w 600"/>
                <a:gd name="T109" fmla="*/ 2147483647 h 696"/>
                <a:gd name="T110" fmla="*/ 2147483647 w 600"/>
                <a:gd name="T111" fmla="*/ 2147483647 h 696"/>
                <a:gd name="T112" fmla="*/ 2147483647 w 600"/>
                <a:gd name="T113" fmla="*/ 2147483647 h 696"/>
                <a:gd name="T114" fmla="*/ 2147483647 w 600"/>
                <a:gd name="T115" fmla="*/ 2147483647 h 696"/>
                <a:gd name="T116" fmla="*/ 2147483647 w 600"/>
                <a:gd name="T117" fmla="*/ 2147483647 h 696"/>
                <a:gd name="T118" fmla="*/ 0 w 600"/>
                <a:gd name="T119" fmla="*/ 2147483647 h 696"/>
                <a:gd name="T120" fmla="*/ 2147483647 w 600"/>
                <a:gd name="T121" fmla="*/ 2147483647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0"/>
                <a:gd name="T184" fmla="*/ 0 h 696"/>
                <a:gd name="T185" fmla="*/ 600 w 600"/>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0" h="696">
                  <a:moveTo>
                    <a:pt x="24" y="180"/>
                  </a:moveTo>
                  <a:lnTo>
                    <a:pt x="36" y="180"/>
                  </a:lnTo>
                  <a:lnTo>
                    <a:pt x="42" y="186"/>
                  </a:lnTo>
                  <a:lnTo>
                    <a:pt x="42" y="198"/>
                  </a:lnTo>
                  <a:lnTo>
                    <a:pt x="36" y="204"/>
                  </a:lnTo>
                  <a:lnTo>
                    <a:pt x="36" y="228"/>
                  </a:lnTo>
                  <a:lnTo>
                    <a:pt x="42" y="240"/>
                  </a:lnTo>
                  <a:lnTo>
                    <a:pt x="48" y="246"/>
                  </a:lnTo>
                  <a:lnTo>
                    <a:pt x="66" y="246"/>
                  </a:lnTo>
                  <a:lnTo>
                    <a:pt x="66" y="234"/>
                  </a:lnTo>
                  <a:lnTo>
                    <a:pt x="78" y="234"/>
                  </a:lnTo>
                  <a:lnTo>
                    <a:pt x="84" y="228"/>
                  </a:lnTo>
                  <a:lnTo>
                    <a:pt x="90" y="228"/>
                  </a:lnTo>
                  <a:lnTo>
                    <a:pt x="102" y="234"/>
                  </a:lnTo>
                  <a:lnTo>
                    <a:pt x="102" y="264"/>
                  </a:lnTo>
                  <a:lnTo>
                    <a:pt x="96" y="270"/>
                  </a:lnTo>
                  <a:lnTo>
                    <a:pt x="102" y="276"/>
                  </a:lnTo>
                  <a:lnTo>
                    <a:pt x="108" y="288"/>
                  </a:lnTo>
                  <a:lnTo>
                    <a:pt x="108" y="300"/>
                  </a:lnTo>
                  <a:lnTo>
                    <a:pt x="102" y="312"/>
                  </a:lnTo>
                  <a:lnTo>
                    <a:pt x="90" y="324"/>
                  </a:lnTo>
                  <a:lnTo>
                    <a:pt x="102" y="324"/>
                  </a:lnTo>
                  <a:lnTo>
                    <a:pt x="108" y="330"/>
                  </a:lnTo>
                  <a:lnTo>
                    <a:pt x="108" y="342"/>
                  </a:lnTo>
                  <a:lnTo>
                    <a:pt x="84" y="390"/>
                  </a:lnTo>
                  <a:lnTo>
                    <a:pt x="84" y="402"/>
                  </a:lnTo>
                  <a:lnTo>
                    <a:pt x="102" y="402"/>
                  </a:lnTo>
                  <a:lnTo>
                    <a:pt x="126" y="390"/>
                  </a:lnTo>
                  <a:lnTo>
                    <a:pt x="132" y="384"/>
                  </a:lnTo>
                  <a:lnTo>
                    <a:pt x="132" y="378"/>
                  </a:lnTo>
                  <a:lnTo>
                    <a:pt x="144" y="366"/>
                  </a:lnTo>
                  <a:lnTo>
                    <a:pt x="150" y="354"/>
                  </a:lnTo>
                  <a:lnTo>
                    <a:pt x="156" y="348"/>
                  </a:lnTo>
                  <a:lnTo>
                    <a:pt x="168" y="348"/>
                  </a:lnTo>
                  <a:lnTo>
                    <a:pt x="174" y="354"/>
                  </a:lnTo>
                  <a:lnTo>
                    <a:pt x="198" y="366"/>
                  </a:lnTo>
                  <a:lnTo>
                    <a:pt x="216" y="366"/>
                  </a:lnTo>
                  <a:lnTo>
                    <a:pt x="234" y="348"/>
                  </a:lnTo>
                  <a:lnTo>
                    <a:pt x="234" y="336"/>
                  </a:lnTo>
                  <a:lnTo>
                    <a:pt x="240" y="330"/>
                  </a:lnTo>
                  <a:lnTo>
                    <a:pt x="258" y="330"/>
                  </a:lnTo>
                  <a:lnTo>
                    <a:pt x="264" y="336"/>
                  </a:lnTo>
                  <a:lnTo>
                    <a:pt x="276" y="342"/>
                  </a:lnTo>
                  <a:lnTo>
                    <a:pt x="300" y="342"/>
                  </a:lnTo>
                  <a:lnTo>
                    <a:pt x="306" y="348"/>
                  </a:lnTo>
                  <a:lnTo>
                    <a:pt x="306" y="360"/>
                  </a:lnTo>
                  <a:lnTo>
                    <a:pt x="318" y="372"/>
                  </a:lnTo>
                  <a:lnTo>
                    <a:pt x="336" y="384"/>
                  </a:lnTo>
                  <a:lnTo>
                    <a:pt x="348" y="390"/>
                  </a:lnTo>
                  <a:lnTo>
                    <a:pt x="366" y="408"/>
                  </a:lnTo>
                  <a:lnTo>
                    <a:pt x="372" y="450"/>
                  </a:lnTo>
                  <a:lnTo>
                    <a:pt x="372" y="462"/>
                  </a:lnTo>
                  <a:lnTo>
                    <a:pt x="384" y="486"/>
                  </a:lnTo>
                  <a:lnTo>
                    <a:pt x="420" y="522"/>
                  </a:lnTo>
                  <a:lnTo>
                    <a:pt x="420" y="528"/>
                  </a:lnTo>
                  <a:lnTo>
                    <a:pt x="426" y="534"/>
                  </a:lnTo>
                  <a:lnTo>
                    <a:pt x="426" y="546"/>
                  </a:lnTo>
                  <a:lnTo>
                    <a:pt x="432" y="540"/>
                  </a:lnTo>
                  <a:lnTo>
                    <a:pt x="432" y="546"/>
                  </a:lnTo>
                  <a:lnTo>
                    <a:pt x="444" y="558"/>
                  </a:lnTo>
                  <a:lnTo>
                    <a:pt x="432" y="582"/>
                  </a:lnTo>
                  <a:lnTo>
                    <a:pt x="426" y="588"/>
                  </a:lnTo>
                  <a:lnTo>
                    <a:pt x="426" y="594"/>
                  </a:lnTo>
                  <a:lnTo>
                    <a:pt x="438" y="606"/>
                  </a:lnTo>
                  <a:lnTo>
                    <a:pt x="450" y="612"/>
                  </a:lnTo>
                  <a:lnTo>
                    <a:pt x="456" y="618"/>
                  </a:lnTo>
                  <a:lnTo>
                    <a:pt x="456" y="630"/>
                  </a:lnTo>
                  <a:lnTo>
                    <a:pt x="450" y="636"/>
                  </a:lnTo>
                  <a:lnTo>
                    <a:pt x="444" y="648"/>
                  </a:lnTo>
                  <a:lnTo>
                    <a:pt x="432" y="654"/>
                  </a:lnTo>
                  <a:lnTo>
                    <a:pt x="426" y="660"/>
                  </a:lnTo>
                  <a:lnTo>
                    <a:pt x="426" y="672"/>
                  </a:lnTo>
                  <a:lnTo>
                    <a:pt x="450" y="672"/>
                  </a:lnTo>
                  <a:lnTo>
                    <a:pt x="456" y="678"/>
                  </a:lnTo>
                  <a:lnTo>
                    <a:pt x="462" y="678"/>
                  </a:lnTo>
                  <a:lnTo>
                    <a:pt x="462" y="684"/>
                  </a:lnTo>
                  <a:lnTo>
                    <a:pt x="474" y="696"/>
                  </a:lnTo>
                  <a:lnTo>
                    <a:pt x="486" y="696"/>
                  </a:lnTo>
                  <a:lnTo>
                    <a:pt x="492" y="690"/>
                  </a:lnTo>
                  <a:lnTo>
                    <a:pt x="492" y="678"/>
                  </a:lnTo>
                  <a:lnTo>
                    <a:pt x="480" y="666"/>
                  </a:lnTo>
                  <a:lnTo>
                    <a:pt x="498" y="654"/>
                  </a:lnTo>
                  <a:lnTo>
                    <a:pt x="510" y="642"/>
                  </a:lnTo>
                  <a:lnTo>
                    <a:pt x="546" y="654"/>
                  </a:lnTo>
                  <a:lnTo>
                    <a:pt x="558" y="642"/>
                  </a:lnTo>
                  <a:lnTo>
                    <a:pt x="582" y="648"/>
                  </a:lnTo>
                  <a:lnTo>
                    <a:pt x="588" y="648"/>
                  </a:lnTo>
                  <a:lnTo>
                    <a:pt x="600" y="636"/>
                  </a:lnTo>
                  <a:lnTo>
                    <a:pt x="600" y="630"/>
                  </a:lnTo>
                  <a:lnTo>
                    <a:pt x="588" y="618"/>
                  </a:lnTo>
                  <a:lnTo>
                    <a:pt x="582" y="618"/>
                  </a:lnTo>
                  <a:lnTo>
                    <a:pt x="600" y="582"/>
                  </a:lnTo>
                  <a:lnTo>
                    <a:pt x="594" y="582"/>
                  </a:lnTo>
                  <a:lnTo>
                    <a:pt x="588" y="576"/>
                  </a:lnTo>
                  <a:lnTo>
                    <a:pt x="564" y="564"/>
                  </a:lnTo>
                  <a:lnTo>
                    <a:pt x="540" y="540"/>
                  </a:lnTo>
                  <a:lnTo>
                    <a:pt x="546" y="540"/>
                  </a:lnTo>
                  <a:lnTo>
                    <a:pt x="552" y="534"/>
                  </a:lnTo>
                  <a:lnTo>
                    <a:pt x="558" y="534"/>
                  </a:lnTo>
                  <a:lnTo>
                    <a:pt x="564" y="528"/>
                  </a:lnTo>
                  <a:lnTo>
                    <a:pt x="564" y="516"/>
                  </a:lnTo>
                  <a:lnTo>
                    <a:pt x="558" y="510"/>
                  </a:lnTo>
                  <a:lnTo>
                    <a:pt x="546" y="504"/>
                  </a:lnTo>
                  <a:lnTo>
                    <a:pt x="540" y="498"/>
                  </a:lnTo>
                  <a:lnTo>
                    <a:pt x="528" y="498"/>
                  </a:lnTo>
                  <a:lnTo>
                    <a:pt x="516" y="486"/>
                  </a:lnTo>
                  <a:lnTo>
                    <a:pt x="504" y="462"/>
                  </a:lnTo>
                  <a:lnTo>
                    <a:pt x="498" y="456"/>
                  </a:lnTo>
                  <a:lnTo>
                    <a:pt x="498" y="450"/>
                  </a:lnTo>
                  <a:lnTo>
                    <a:pt x="480" y="450"/>
                  </a:lnTo>
                  <a:lnTo>
                    <a:pt x="474" y="432"/>
                  </a:lnTo>
                  <a:lnTo>
                    <a:pt x="456" y="414"/>
                  </a:lnTo>
                  <a:lnTo>
                    <a:pt x="438" y="402"/>
                  </a:lnTo>
                  <a:lnTo>
                    <a:pt x="426" y="378"/>
                  </a:lnTo>
                  <a:lnTo>
                    <a:pt x="426" y="354"/>
                  </a:lnTo>
                  <a:lnTo>
                    <a:pt x="420" y="354"/>
                  </a:lnTo>
                  <a:lnTo>
                    <a:pt x="414" y="348"/>
                  </a:lnTo>
                  <a:lnTo>
                    <a:pt x="402" y="342"/>
                  </a:lnTo>
                  <a:lnTo>
                    <a:pt x="390" y="342"/>
                  </a:lnTo>
                  <a:lnTo>
                    <a:pt x="384" y="336"/>
                  </a:lnTo>
                  <a:lnTo>
                    <a:pt x="384" y="306"/>
                  </a:lnTo>
                  <a:lnTo>
                    <a:pt x="372" y="306"/>
                  </a:lnTo>
                  <a:lnTo>
                    <a:pt x="366" y="300"/>
                  </a:lnTo>
                  <a:lnTo>
                    <a:pt x="354" y="294"/>
                  </a:lnTo>
                  <a:lnTo>
                    <a:pt x="342" y="282"/>
                  </a:lnTo>
                  <a:lnTo>
                    <a:pt x="306" y="264"/>
                  </a:lnTo>
                  <a:lnTo>
                    <a:pt x="300" y="258"/>
                  </a:lnTo>
                  <a:lnTo>
                    <a:pt x="288" y="252"/>
                  </a:lnTo>
                  <a:lnTo>
                    <a:pt x="288" y="234"/>
                  </a:lnTo>
                  <a:lnTo>
                    <a:pt x="282" y="228"/>
                  </a:lnTo>
                  <a:lnTo>
                    <a:pt x="306" y="228"/>
                  </a:lnTo>
                  <a:lnTo>
                    <a:pt x="312" y="234"/>
                  </a:lnTo>
                  <a:lnTo>
                    <a:pt x="330" y="234"/>
                  </a:lnTo>
                  <a:lnTo>
                    <a:pt x="336" y="228"/>
                  </a:lnTo>
                  <a:lnTo>
                    <a:pt x="342" y="216"/>
                  </a:lnTo>
                  <a:lnTo>
                    <a:pt x="354" y="210"/>
                  </a:lnTo>
                  <a:lnTo>
                    <a:pt x="360" y="198"/>
                  </a:lnTo>
                  <a:lnTo>
                    <a:pt x="360" y="186"/>
                  </a:lnTo>
                  <a:lnTo>
                    <a:pt x="348" y="180"/>
                  </a:lnTo>
                  <a:lnTo>
                    <a:pt x="330" y="174"/>
                  </a:lnTo>
                  <a:lnTo>
                    <a:pt x="306" y="162"/>
                  </a:lnTo>
                  <a:lnTo>
                    <a:pt x="306" y="156"/>
                  </a:lnTo>
                  <a:lnTo>
                    <a:pt x="312" y="150"/>
                  </a:lnTo>
                  <a:lnTo>
                    <a:pt x="318" y="150"/>
                  </a:lnTo>
                  <a:lnTo>
                    <a:pt x="294" y="126"/>
                  </a:lnTo>
                  <a:lnTo>
                    <a:pt x="282" y="120"/>
                  </a:lnTo>
                  <a:lnTo>
                    <a:pt x="270" y="120"/>
                  </a:lnTo>
                  <a:lnTo>
                    <a:pt x="264" y="132"/>
                  </a:lnTo>
                  <a:lnTo>
                    <a:pt x="264" y="138"/>
                  </a:lnTo>
                  <a:lnTo>
                    <a:pt x="258" y="150"/>
                  </a:lnTo>
                  <a:lnTo>
                    <a:pt x="252" y="156"/>
                  </a:lnTo>
                  <a:lnTo>
                    <a:pt x="240" y="144"/>
                  </a:lnTo>
                  <a:lnTo>
                    <a:pt x="240" y="138"/>
                  </a:lnTo>
                  <a:lnTo>
                    <a:pt x="222" y="138"/>
                  </a:lnTo>
                  <a:lnTo>
                    <a:pt x="216" y="126"/>
                  </a:lnTo>
                  <a:lnTo>
                    <a:pt x="198" y="108"/>
                  </a:lnTo>
                  <a:lnTo>
                    <a:pt x="186" y="84"/>
                  </a:lnTo>
                  <a:lnTo>
                    <a:pt x="186" y="54"/>
                  </a:lnTo>
                  <a:lnTo>
                    <a:pt x="180" y="54"/>
                  </a:lnTo>
                  <a:lnTo>
                    <a:pt x="174" y="60"/>
                  </a:lnTo>
                  <a:lnTo>
                    <a:pt x="168" y="48"/>
                  </a:lnTo>
                  <a:lnTo>
                    <a:pt x="156" y="42"/>
                  </a:lnTo>
                  <a:lnTo>
                    <a:pt x="150" y="30"/>
                  </a:lnTo>
                  <a:lnTo>
                    <a:pt x="144" y="24"/>
                  </a:lnTo>
                  <a:lnTo>
                    <a:pt x="138" y="12"/>
                  </a:lnTo>
                  <a:lnTo>
                    <a:pt x="132" y="6"/>
                  </a:lnTo>
                  <a:lnTo>
                    <a:pt x="96" y="0"/>
                  </a:lnTo>
                  <a:lnTo>
                    <a:pt x="90" y="6"/>
                  </a:lnTo>
                  <a:lnTo>
                    <a:pt x="90" y="48"/>
                  </a:lnTo>
                  <a:lnTo>
                    <a:pt x="114" y="72"/>
                  </a:lnTo>
                  <a:lnTo>
                    <a:pt x="114" y="108"/>
                  </a:lnTo>
                  <a:lnTo>
                    <a:pt x="72" y="108"/>
                  </a:lnTo>
                  <a:lnTo>
                    <a:pt x="72" y="84"/>
                  </a:lnTo>
                  <a:lnTo>
                    <a:pt x="36" y="102"/>
                  </a:lnTo>
                  <a:lnTo>
                    <a:pt x="36" y="114"/>
                  </a:lnTo>
                  <a:lnTo>
                    <a:pt x="30" y="126"/>
                  </a:lnTo>
                  <a:lnTo>
                    <a:pt x="36" y="132"/>
                  </a:lnTo>
                  <a:lnTo>
                    <a:pt x="30" y="138"/>
                  </a:lnTo>
                  <a:lnTo>
                    <a:pt x="18" y="138"/>
                  </a:lnTo>
                  <a:lnTo>
                    <a:pt x="0" y="156"/>
                  </a:lnTo>
                  <a:lnTo>
                    <a:pt x="0" y="168"/>
                  </a:lnTo>
                  <a:lnTo>
                    <a:pt x="6" y="168"/>
                  </a:lnTo>
                  <a:lnTo>
                    <a:pt x="12" y="174"/>
                  </a:lnTo>
                  <a:lnTo>
                    <a:pt x="24" y="18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23" name="Kyrgyzstan" descr="© INSCALE GmbH, 05.05.2010&#10;http://www.presentationload.com/">
              <a:extLst>
                <a:ext uri="{FF2B5EF4-FFF2-40B4-BE49-F238E27FC236}">
                  <a16:creationId xmlns:a16="http://schemas.microsoft.com/office/drawing/2014/main" id="{736884B8-5A81-435A-9753-2863BED200C9}"/>
                </a:ext>
              </a:extLst>
            </p:cNvPr>
            <p:cNvSpPr>
              <a:spLocks/>
            </p:cNvSpPr>
            <p:nvPr/>
          </p:nvSpPr>
          <p:spPr bwMode="gray">
            <a:xfrm>
              <a:off x="5959241" y="2871201"/>
              <a:ext cx="266564" cy="123874"/>
            </a:xfrm>
            <a:custGeom>
              <a:avLst/>
              <a:gdLst>
                <a:gd name="T0" fmla="*/ 2147483647 w 672"/>
                <a:gd name="T1" fmla="*/ 2147483647 h 312"/>
                <a:gd name="T2" fmla="*/ 2147483647 w 672"/>
                <a:gd name="T3" fmla="*/ 2147483647 h 312"/>
                <a:gd name="T4" fmla="*/ 2147483647 w 672"/>
                <a:gd name="T5" fmla="*/ 2147483647 h 312"/>
                <a:gd name="T6" fmla="*/ 2147483647 w 672"/>
                <a:gd name="T7" fmla="*/ 2147483647 h 312"/>
                <a:gd name="T8" fmla="*/ 2147483647 w 672"/>
                <a:gd name="T9" fmla="*/ 2147483647 h 312"/>
                <a:gd name="T10" fmla="*/ 2147483647 w 672"/>
                <a:gd name="T11" fmla="*/ 2147483647 h 312"/>
                <a:gd name="T12" fmla="*/ 2147483647 w 672"/>
                <a:gd name="T13" fmla="*/ 2147483647 h 312"/>
                <a:gd name="T14" fmla="*/ 2147483647 w 672"/>
                <a:gd name="T15" fmla="*/ 2147483647 h 312"/>
                <a:gd name="T16" fmla="*/ 2147483647 w 672"/>
                <a:gd name="T17" fmla="*/ 2147483647 h 312"/>
                <a:gd name="T18" fmla="*/ 2147483647 w 672"/>
                <a:gd name="T19" fmla="*/ 2147483647 h 312"/>
                <a:gd name="T20" fmla="*/ 2147483647 w 672"/>
                <a:gd name="T21" fmla="*/ 2147483647 h 312"/>
                <a:gd name="T22" fmla="*/ 2147483647 w 672"/>
                <a:gd name="T23" fmla="*/ 2147483647 h 312"/>
                <a:gd name="T24" fmla="*/ 0 w 672"/>
                <a:gd name="T25" fmla="*/ 2147483647 h 312"/>
                <a:gd name="T26" fmla="*/ 2147483647 w 672"/>
                <a:gd name="T27" fmla="*/ 2147483647 h 312"/>
                <a:gd name="T28" fmla="*/ 2147483647 w 672"/>
                <a:gd name="T29" fmla="*/ 2147483647 h 312"/>
                <a:gd name="T30" fmla="*/ 2147483647 w 672"/>
                <a:gd name="T31" fmla="*/ 2147483647 h 312"/>
                <a:gd name="T32" fmla="*/ 2147483647 w 672"/>
                <a:gd name="T33" fmla="*/ 2147483647 h 312"/>
                <a:gd name="T34" fmla="*/ 2147483647 w 672"/>
                <a:gd name="T35" fmla="*/ 2147483647 h 312"/>
                <a:gd name="T36" fmla="*/ 2147483647 w 672"/>
                <a:gd name="T37" fmla="*/ 2147483647 h 312"/>
                <a:gd name="T38" fmla="*/ 2147483647 w 672"/>
                <a:gd name="T39" fmla="*/ 2147483647 h 312"/>
                <a:gd name="T40" fmla="*/ 2147483647 w 672"/>
                <a:gd name="T41" fmla="*/ 2147483647 h 312"/>
                <a:gd name="T42" fmla="*/ 2147483647 w 672"/>
                <a:gd name="T43" fmla="*/ 2147483647 h 312"/>
                <a:gd name="T44" fmla="*/ 2147483647 w 672"/>
                <a:gd name="T45" fmla="*/ 2147483647 h 312"/>
                <a:gd name="T46" fmla="*/ 2147483647 w 672"/>
                <a:gd name="T47" fmla="*/ 2147483647 h 312"/>
                <a:gd name="T48" fmla="*/ 2147483647 w 672"/>
                <a:gd name="T49" fmla="*/ 2147483647 h 312"/>
                <a:gd name="T50" fmla="*/ 2147483647 w 672"/>
                <a:gd name="T51" fmla="*/ 2147483647 h 312"/>
                <a:gd name="T52" fmla="*/ 2147483647 w 672"/>
                <a:gd name="T53" fmla="*/ 2147483647 h 312"/>
                <a:gd name="T54" fmla="*/ 2147483647 w 672"/>
                <a:gd name="T55" fmla="*/ 2147483647 h 312"/>
                <a:gd name="T56" fmla="*/ 2147483647 w 672"/>
                <a:gd name="T57" fmla="*/ 2147483647 h 312"/>
                <a:gd name="T58" fmla="*/ 2147483647 w 672"/>
                <a:gd name="T59" fmla="*/ 2147483647 h 312"/>
                <a:gd name="T60" fmla="*/ 2147483647 w 672"/>
                <a:gd name="T61" fmla="*/ 2147483647 h 312"/>
                <a:gd name="T62" fmla="*/ 2147483647 w 672"/>
                <a:gd name="T63" fmla="*/ 2147483647 h 312"/>
                <a:gd name="T64" fmla="*/ 2147483647 w 672"/>
                <a:gd name="T65" fmla="*/ 2147483647 h 312"/>
                <a:gd name="T66" fmla="*/ 2147483647 w 672"/>
                <a:gd name="T67" fmla="*/ 2147483647 h 312"/>
                <a:gd name="T68" fmla="*/ 2147483647 w 672"/>
                <a:gd name="T69" fmla="*/ 2147483647 h 312"/>
                <a:gd name="T70" fmla="*/ 2147483647 w 672"/>
                <a:gd name="T71" fmla="*/ 2147483647 h 312"/>
                <a:gd name="T72" fmla="*/ 2147483647 w 672"/>
                <a:gd name="T73" fmla="*/ 2147483647 h 312"/>
                <a:gd name="T74" fmla="*/ 2147483647 w 672"/>
                <a:gd name="T75" fmla="*/ 2147483647 h 312"/>
                <a:gd name="T76" fmla="*/ 2147483647 w 672"/>
                <a:gd name="T77" fmla="*/ 0 h 312"/>
                <a:gd name="T78" fmla="*/ 2147483647 w 672"/>
                <a:gd name="T79" fmla="*/ 2147483647 h 312"/>
                <a:gd name="T80" fmla="*/ 2147483647 w 672"/>
                <a:gd name="T81" fmla="*/ 2147483647 h 312"/>
                <a:gd name="T82" fmla="*/ 2147483647 w 672"/>
                <a:gd name="T83" fmla="*/ 2147483647 h 312"/>
                <a:gd name="T84" fmla="*/ 2147483647 w 672"/>
                <a:gd name="T85" fmla="*/ 2147483647 h 312"/>
                <a:gd name="T86" fmla="*/ 2147483647 w 672"/>
                <a:gd name="T87" fmla="*/ 2147483647 h 312"/>
                <a:gd name="T88" fmla="*/ 2147483647 w 672"/>
                <a:gd name="T89" fmla="*/ 2147483647 h 31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72"/>
                <a:gd name="T136" fmla="*/ 0 h 312"/>
                <a:gd name="T137" fmla="*/ 672 w 672"/>
                <a:gd name="T138" fmla="*/ 312 h 31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72" h="312">
                  <a:moveTo>
                    <a:pt x="36" y="132"/>
                  </a:moveTo>
                  <a:lnTo>
                    <a:pt x="66" y="144"/>
                  </a:lnTo>
                  <a:lnTo>
                    <a:pt x="78" y="156"/>
                  </a:lnTo>
                  <a:lnTo>
                    <a:pt x="114" y="156"/>
                  </a:lnTo>
                  <a:lnTo>
                    <a:pt x="114" y="144"/>
                  </a:lnTo>
                  <a:lnTo>
                    <a:pt x="126" y="144"/>
                  </a:lnTo>
                  <a:lnTo>
                    <a:pt x="126" y="132"/>
                  </a:lnTo>
                  <a:lnTo>
                    <a:pt x="144" y="156"/>
                  </a:lnTo>
                  <a:lnTo>
                    <a:pt x="162" y="156"/>
                  </a:lnTo>
                  <a:lnTo>
                    <a:pt x="168" y="174"/>
                  </a:lnTo>
                  <a:lnTo>
                    <a:pt x="192" y="174"/>
                  </a:lnTo>
                  <a:lnTo>
                    <a:pt x="198" y="186"/>
                  </a:lnTo>
                  <a:lnTo>
                    <a:pt x="204" y="186"/>
                  </a:lnTo>
                  <a:lnTo>
                    <a:pt x="216" y="180"/>
                  </a:lnTo>
                  <a:lnTo>
                    <a:pt x="228" y="180"/>
                  </a:lnTo>
                  <a:lnTo>
                    <a:pt x="228" y="192"/>
                  </a:lnTo>
                  <a:lnTo>
                    <a:pt x="216" y="204"/>
                  </a:lnTo>
                  <a:lnTo>
                    <a:pt x="204" y="210"/>
                  </a:lnTo>
                  <a:lnTo>
                    <a:pt x="192" y="210"/>
                  </a:lnTo>
                  <a:lnTo>
                    <a:pt x="192" y="216"/>
                  </a:lnTo>
                  <a:lnTo>
                    <a:pt x="174" y="222"/>
                  </a:lnTo>
                  <a:lnTo>
                    <a:pt x="156" y="240"/>
                  </a:lnTo>
                  <a:lnTo>
                    <a:pt x="150" y="240"/>
                  </a:lnTo>
                  <a:lnTo>
                    <a:pt x="144" y="234"/>
                  </a:lnTo>
                  <a:lnTo>
                    <a:pt x="138" y="234"/>
                  </a:lnTo>
                  <a:lnTo>
                    <a:pt x="132" y="228"/>
                  </a:lnTo>
                  <a:lnTo>
                    <a:pt x="114" y="228"/>
                  </a:lnTo>
                  <a:lnTo>
                    <a:pt x="102" y="234"/>
                  </a:lnTo>
                  <a:lnTo>
                    <a:pt x="96" y="234"/>
                  </a:lnTo>
                  <a:lnTo>
                    <a:pt x="96" y="246"/>
                  </a:lnTo>
                  <a:lnTo>
                    <a:pt x="90" y="252"/>
                  </a:lnTo>
                  <a:lnTo>
                    <a:pt x="84" y="252"/>
                  </a:lnTo>
                  <a:lnTo>
                    <a:pt x="72" y="246"/>
                  </a:lnTo>
                  <a:lnTo>
                    <a:pt x="36" y="234"/>
                  </a:lnTo>
                  <a:lnTo>
                    <a:pt x="24" y="234"/>
                  </a:lnTo>
                  <a:lnTo>
                    <a:pt x="18" y="240"/>
                  </a:lnTo>
                  <a:lnTo>
                    <a:pt x="18" y="252"/>
                  </a:lnTo>
                  <a:lnTo>
                    <a:pt x="12" y="258"/>
                  </a:lnTo>
                  <a:lnTo>
                    <a:pt x="0" y="264"/>
                  </a:lnTo>
                  <a:lnTo>
                    <a:pt x="0" y="276"/>
                  </a:lnTo>
                  <a:lnTo>
                    <a:pt x="6" y="282"/>
                  </a:lnTo>
                  <a:lnTo>
                    <a:pt x="6" y="288"/>
                  </a:lnTo>
                  <a:lnTo>
                    <a:pt x="12" y="294"/>
                  </a:lnTo>
                  <a:lnTo>
                    <a:pt x="24" y="288"/>
                  </a:lnTo>
                  <a:lnTo>
                    <a:pt x="36" y="288"/>
                  </a:lnTo>
                  <a:lnTo>
                    <a:pt x="42" y="282"/>
                  </a:lnTo>
                  <a:lnTo>
                    <a:pt x="60" y="282"/>
                  </a:lnTo>
                  <a:lnTo>
                    <a:pt x="72" y="288"/>
                  </a:lnTo>
                  <a:lnTo>
                    <a:pt x="96" y="288"/>
                  </a:lnTo>
                  <a:lnTo>
                    <a:pt x="108" y="300"/>
                  </a:lnTo>
                  <a:lnTo>
                    <a:pt x="126" y="300"/>
                  </a:lnTo>
                  <a:lnTo>
                    <a:pt x="132" y="294"/>
                  </a:lnTo>
                  <a:lnTo>
                    <a:pt x="144" y="288"/>
                  </a:lnTo>
                  <a:lnTo>
                    <a:pt x="150" y="282"/>
                  </a:lnTo>
                  <a:lnTo>
                    <a:pt x="180" y="312"/>
                  </a:lnTo>
                  <a:lnTo>
                    <a:pt x="192" y="306"/>
                  </a:lnTo>
                  <a:lnTo>
                    <a:pt x="198" y="306"/>
                  </a:lnTo>
                  <a:lnTo>
                    <a:pt x="198" y="312"/>
                  </a:lnTo>
                  <a:lnTo>
                    <a:pt x="210" y="312"/>
                  </a:lnTo>
                  <a:lnTo>
                    <a:pt x="222" y="306"/>
                  </a:lnTo>
                  <a:lnTo>
                    <a:pt x="228" y="300"/>
                  </a:lnTo>
                  <a:lnTo>
                    <a:pt x="270" y="300"/>
                  </a:lnTo>
                  <a:lnTo>
                    <a:pt x="282" y="288"/>
                  </a:lnTo>
                  <a:lnTo>
                    <a:pt x="300" y="294"/>
                  </a:lnTo>
                  <a:lnTo>
                    <a:pt x="318" y="294"/>
                  </a:lnTo>
                  <a:lnTo>
                    <a:pt x="318" y="282"/>
                  </a:lnTo>
                  <a:lnTo>
                    <a:pt x="312" y="270"/>
                  </a:lnTo>
                  <a:lnTo>
                    <a:pt x="300" y="264"/>
                  </a:lnTo>
                  <a:lnTo>
                    <a:pt x="300" y="258"/>
                  </a:lnTo>
                  <a:lnTo>
                    <a:pt x="306" y="252"/>
                  </a:lnTo>
                  <a:lnTo>
                    <a:pt x="318" y="246"/>
                  </a:lnTo>
                  <a:lnTo>
                    <a:pt x="330" y="246"/>
                  </a:lnTo>
                  <a:lnTo>
                    <a:pt x="336" y="240"/>
                  </a:lnTo>
                  <a:lnTo>
                    <a:pt x="348" y="234"/>
                  </a:lnTo>
                  <a:lnTo>
                    <a:pt x="348" y="216"/>
                  </a:lnTo>
                  <a:lnTo>
                    <a:pt x="372" y="216"/>
                  </a:lnTo>
                  <a:lnTo>
                    <a:pt x="384" y="204"/>
                  </a:lnTo>
                  <a:lnTo>
                    <a:pt x="396" y="204"/>
                  </a:lnTo>
                  <a:lnTo>
                    <a:pt x="402" y="210"/>
                  </a:lnTo>
                  <a:lnTo>
                    <a:pt x="408" y="222"/>
                  </a:lnTo>
                  <a:lnTo>
                    <a:pt x="414" y="228"/>
                  </a:lnTo>
                  <a:lnTo>
                    <a:pt x="426" y="222"/>
                  </a:lnTo>
                  <a:lnTo>
                    <a:pt x="456" y="228"/>
                  </a:lnTo>
                  <a:lnTo>
                    <a:pt x="462" y="222"/>
                  </a:lnTo>
                  <a:lnTo>
                    <a:pt x="462" y="198"/>
                  </a:lnTo>
                  <a:lnTo>
                    <a:pt x="468" y="186"/>
                  </a:lnTo>
                  <a:lnTo>
                    <a:pt x="486" y="168"/>
                  </a:lnTo>
                  <a:lnTo>
                    <a:pt x="516" y="168"/>
                  </a:lnTo>
                  <a:lnTo>
                    <a:pt x="534" y="174"/>
                  </a:lnTo>
                  <a:lnTo>
                    <a:pt x="552" y="174"/>
                  </a:lnTo>
                  <a:lnTo>
                    <a:pt x="558" y="168"/>
                  </a:lnTo>
                  <a:lnTo>
                    <a:pt x="564" y="156"/>
                  </a:lnTo>
                  <a:lnTo>
                    <a:pt x="564" y="138"/>
                  </a:lnTo>
                  <a:lnTo>
                    <a:pt x="570" y="132"/>
                  </a:lnTo>
                  <a:lnTo>
                    <a:pt x="582" y="126"/>
                  </a:lnTo>
                  <a:lnTo>
                    <a:pt x="594" y="114"/>
                  </a:lnTo>
                  <a:lnTo>
                    <a:pt x="642" y="96"/>
                  </a:lnTo>
                  <a:lnTo>
                    <a:pt x="666" y="96"/>
                  </a:lnTo>
                  <a:lnTo>
                    <a:pt x="672" y="90"/>
                  </a:lnTo>
                  <a:lnTo>
                    <a:pt x="672" y="78"/>
                  </a:lnTo>
                  <a:lnTo>
                    <a:pt x="660" y="66"/>
                  </a:lnTo>
                  <a:lnTo>
                    <a:pt x="642" y="60"/>
                  </a:lnTo>
                  <a:lnTo>
                    <a:pt x="600" y="60"/>
                  </a:lnTo>
                  <a:lnTo>
                    <a:pt x="576" y="30"/>
                  </a:lnTo>
                  <a:lnTo>
                    <a:pt x="558" y="30"/>
                  </a:lnTo>
                  <a:lnTo>
                    <a:pt x="546" y="18"/>
                  </a:lnTo>
                  <a:lnTo>
                    <a:pt x="498" y="24"/>
                  </a:lnTo>
                  <a:lnTo>
                    <a:pt x="486" y="24"/>
                  </a:lnTo>
                  <a:lnTo>
                    <a:pt x="474" y="18"/>
                  </a:lnTo>
                  <a:lnTo>
                    <a:pt x="354" y="18"/>
                  </a:lnTo>
                  <a:lnTo>
                    <a:pt x="336" y="24"/>
                  </a:lnTo>
                  <a:lnTo>
                    <a:pt x="318" y="24"/>
                  </a:lnTo>
                  <a:lnTo>
                    <a:pt x="306" y="18"/>
                  </a:lnTo>
                  <a:lnTo>
                    <a:pt x="282" y="18"/>
                  </a:lnTo>
                  <a:lnTo>
                    <a:pt x="276" y="6"/>
                  </a:lnTo>
                  <a:lnTo>
                    <a:pt x="264" y="0"/>
                  </a:lnTo>
                  <a:lnTo>
                    <a:pt x="222" y="0"/>
                  </a:lnTo>
                  <a:lnTo>
                    <a:pt x="216" y="6"/>
                  </a:lnTo>
                  <a:lnTo>
                    <a:pt x="216" y="36"/>
                  </a:lnTo>
                  <a:lnTo>
                    <a:pt x="222" y="48"/>
                  </a:lnTo>
                  <a:lnTo>
                    <a:pt x="222" y="60"/>
                  </a:lnTo>
                  <a:lnTo>
                    <a:pt x="204" y="54"/>
                  </a:lnTo>
                  <a:lnTo>
                    <a:pt x="174" y="54"/>
                  </a:lnTo>
                  <a:lnTo>
                    <a:pt x="138" y="36"/>
                  </a:lnTo>
                  <a:lnTo>
                    <a:pt x="120" y="30"/>
                  </a:lnTo>
                  <a:lnTo>
                    <a:pt x="108" y="24"/>
                  </a:lnTo>
                  <a:lnTo>
                    <a:pt x="78" y="24"/>
                  </a:lnTo>
                  <a:lnTo>
                    <a:pt x="60" y="42"/>
                  </a:lnTo>
                  <a:lnTo>
                    <a:pt x="54" y="54"/>
                  </a:lnTo>
                  <a:lnTo>
                    <a:pt x="54" y="72"/>
                  </a:lnTo>
                  <a:lnTo>
                    <a:pt x="72" y="72"/>
                  </a:lnTo>
                  <a:lnTo>
                    <a:pt x="78" y="78"/>
                  </a:lnTo>
                  <a:lnTo>
                    <a:pt x="84" y="78"/>
                  </a:lnTo>
                  <a:lnTo>
                    <a:pt x="84" y="84"/>
                  </a:lnTo>
                  <a:lnTo>
                    <a:pt x="36" y="13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24" name="Kuwait" descr="© INSCALE GmbH, 05.05.2010&#10;http://www.presentationload.com/">
              <a:extLst>
                <a:ext uri="{FF2B5EF4-FFF2-40B4-BE49-F238E27FC236}">
                  <a16:creationId xmlns:a16="http://schemas.microsoft.com/office/drawing/2014/main" id="{0928DEB4-045B-49B1-BE4F-01413C220298}"/>
                </a:ext>
              </a:extLst>
            </p:cNvPr>
            <p:cNvSpPr>
              <a:spLocks/>
            </p:cNvSpPr>
            <p:nvPr/>
          </p:nvSpPr>
          <p:spPr bwMode="gray">
            <a:xfrm>
              <a:off x="5408866" y="3289863"/>
              <a:ext cx="54880" cy="48609"/>
            </a:xfrm>
            <a:custGeom>
              <a:avLst/>
              <a:gdLst>
                <a:gd name="T0" fmla="*/ 2147483647 w 138"/>
                <a:gd name="T1" fmla="*/ 0 h 120"/>
                <a:gd name="T2" fmla="*/ 2147483647 w 138"/>
                <a:gd name="T3" fmla="*/ 0 h 120"/>
                <a:gd name="T4" fmla="*/ 2147483647 w 138"/>
                <a:gd name="T5" fmla="*/ 2147483647 h 120"/>
                <a:gd name="T6" fmla="*/ 2147483647 w 138"/>
                <a:gd name="T7" fmla="*/ 2147483647 h 120"/>
                <a:gd name="T8" fmla="*/ 2147483647 w 138"/>
                <a:gd name="T9" fmla="*/ 2147483647 h 120"/>
                <a:gd name="T10" fmla="*/ 2147483647 w 138"/>
                <a:gd name="T11" fmla="*/ 2147483647 h 120"/>
                <a:gd name="T12" fmla="*/ 0 w 138"/>
                <a:gd name="T13" fmla="*/ 2147483647 h 120"/>
                <a:gd name="T14" fmla="*/ 2147483647 w 138"/>
                <a:gd name="T15" fmla="*/ 2147483647 h 120"/>
                <a:gd name="T16" fmla="*/ 2147483647 w 138"/>
                <a:gd name="T17" fmla="*/ 2147483647 h 120"/>
                <a:gd name="T18" fmla="*/ 2147483647 w 138"/>
                <a:gd name="T19" fmla="*/ 2147483647 h 120"/>
                <a:gd name="T20" fmla="*/ 2147483647 w 138"/>
                <a:gd name="T21" fmla="*/ 2147483647 h 120"/>
                <a:gd name="T22" fmla="*/ 2147483647 w 138"/>
                <a:gd name="T23" fmla="*/ 2147483647 h 120"/>
                <a:gd name="T24" fmla="*/ 2147483647 w 138"/>
                <a:gd name="T25" fmla="*/ 2147483647 h 120"/>
                <a:gd name="T26" fmla="*/ 2147483647 w 138"/>
                <a:gd name="T27" fmla="*/ 2147483647 h 120"/>
                <a:gd name="T28" fmla="*/ 2147483647 w 138"/>
                <a:gd name="T29" fmla="*/ 2147483647 h 120"/>
                <a:gd name="T30" fmla="*/ 2147483647 w 138"/>
                <a:gd name="T31" fmla="*/ 2147483647 h 120"/>
                <a:gd name="T32" fmla="*/ 2147483647 w 138"/>
                <a:gd name="T33" fmla="*/ 2147483647 h 120"/>
                <a:gd name="T34" fmla="*/ 2147483647 w 138"/>
                <a:gd name="T35" fmla="*/ 2147483647 h 120"/>
                <a:gd name="T36" fmla="*/ 2147483647 w 138"/>
                <a:gd name="T37" fmla="*/ 2147483647 h 120"/>
                <a:gd name="T38" fmla="*/ 2147483647 w 138"/>
                <a:gd name="T39" fmla="*/ 2147483647 h 120"/>
                <a:gd name="T40" fmla="*/ 2147483647 w 138"/>
                <a:gd name="T41" fmla="*/ 2147483647 h 120"/>
                <a:gd name="T42" fmla="*/ 2147483647 w 138"/>
                <a:gd name="T43" fmla="*/ 2147483647 h 120"/>
                <a:gd name="T44" fmla="*/ 2147483647 w 138"/>
                <a:gd name="T45" fmla="*/ 2147483647 h 120"/>
                <a:gd name="T46" fmla="*/ 2147483647 w 138"/>
                <a:gd name="T47" fmla="*/ 2147483647 h 120"/>
                <a:gd name="T48" fmla="*/ 2147483647 w 138"/>
                <a:gd name="T49" fmla="*/ 0 h 120"/>
                <a:gd name="T50" fmla="*/ 2147483647 w 138"/>
                <a:gd name="T51" fmla="*/ 0 h 1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8"/>
                <a:gd name="T79" fmla="*/ 0 h 120"/>
                <a:gd name="T80" fmla="*/ 138 w 138"/>
                <a:gd name="T81" fmla="*/ 120 h 1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8" h="120">
                  <a:moveTo>
                    <a:pt x="54" y="0"/>
                  </a:moveTo>
                  <a:lnTo>
                    <a:pt x="36" y="0"/>
                  </a:lnTo>
                  <a:lnTo>
                    <a:pt x="30" y="12"/>
                  </a:lnTo>
                  <a:lnTo>
                    <a:pt x="24" y="18"/>
                  </a:lnTo>
                  <a:lnTo>
                    <a:pt x="24" y="30"/>
                  </a:lnTo>
                  <a:lnTo>
                    <a:pt x="6" y="66"/>
                  </a:lnTo>
                  <a:lnTo>
                    <a:pt x="0" y="72"/>
                  </a:lnTo>
                  <a:lnTo>
                    <a:pt x="42" y="72"/>
                  </a:lnTo>
                  <a:lnTo>
                    <a:pt x="60" y="78"/>
                  </a:lnTo>
                  <a:lnTo>
                    <a:pt x="66" y="78"/>
                  </a:lnTo>
                  <a:lnTo>
                    <a:pt x="66" y="114"/>
                  </a:lnTo>
                  <a:lnTo>
                    <a:pt x="72" y="120"/>
                  </a:lnTo>
                  <a:lnTo>
                    <a:pt x="138" y="120"/>
                  </a:lnTo>
                  <a:lnTo>
                    <a:pt x="126" y="114"/>
                  </a:lnTo>
                  <a:lnTo>
                    <a:pt x="114" y="102"/>
                  </a:lnTo>
                  <a:lnTo>
                    <a:pt x="102" y="78"/>
                  </a:lnTo>
                  <a:lnTo>
                    <a:pt x="102" y="66"/>
                  </a:lnTo>
                  <a:lnTo>
                    <a:pt x="90" y="60"/>
                  </a:lnTo>
                  <a:lnTo>
                    <a:pt x="84" y="36"/>
                  </a:lnTo>
                  <a:lnTo>
                    <a:pt x="120" y="36"/>
                  </a:lnTo>
                  <a:lnTo>
                    <a:pt x="120" y="18"/>
                  </a:lnTo>
                  <a:lnTo>
                    <a:pt x="114" y="12"/>
                  </a:lnTo>
                  <a:lnTo>
                    <a:pt x="90" y="12"/>
                  </a:lnTo>
                  <a:lnTo>
                    <a:pt x="90" y="18"/>
                  </a:lnTo>
                  <a:lnTo>
                    <a:pt x="84" y="0"/>
                  </a:lnTo>
                  <a:lnTo>
                    <a:pt x="54" y="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25" name="Kuba" descr="© INSCALE GmbH, 05.05.2010&#10;http://www.presentationload.com/">
              <a:extLst>
                <a:ext uri="{FF2B5EF4-FFF2-40B4-BE49-F238E27FC236}">
                  <a16:creationId xmlns:a16="http://schemas.microsoft.com/office/drawing/2014/main" id="{9C2C1EB9-2503-4BBB-A1E6-29014CBD72BE}"/>
                </a:ext>
              </a:extLst>
            </p:cNvPr>
            <p:cNvSpPr>
              <a:spLocks noEditPoints="1"/>
            </p:cNvSpPr>
            <p:nvPr/>
          </p:nvSpPr>
          <p:spPr bwMode="gray">
            <a:xfrm>
              <a:off x="1780461" y="3507819"/>
              <a:ext cx="293220" cy="108194"/>
            </a:xfrm>
            <a:custGeom>
              <a:avLst/>
              <a:gdLst>
                <a:gd name="T0" fmla="*/ 2147483647 w 738"/>
                <a:gd name="T1" fmla="*/ 2147483647 h 270"/>
                <a:gd name="T2" fmla="*/ 2147483647 w 738"/>
                <a:gd name="T3" fmla="*/ 2147483647 h 270"/>
                <a:gd name="T4" fmla="*/ 2147483647 w 738"/>
                <a:gd name="T5" fmla="*/ 2147483647 h 270"/>
                <a:gd name="T6" fmla="*/ 2147483647 w 738"/>
                <a:gd name="T7" fmla="*/ 2147483647 h 270"/>
                <a:gd name="T8" fmla="*/ 2147483647 w 738"/>
                <a:gd name="T9" fmla="*/ 2147483647 h 270"/>
                <a:gd name="T10" fmla="*/ 2147483647 w 738"/>
                <a:gd name="T11" fmla="*/ 2147483647 h 270"/>
                <a:gd name="T12" fmla="*/ 2147483647 w 738"/>
                <a:gd name="T13" fmla="*/ 2147483647 h 270"/>
                <a:gd name="T14" fmla="*/ 2147483647 w 738"/>
                <a:gd name="T15" fmla="*/ 2147483647 h 270"/>
                <a:gd name="T16" fmla="*/ 2147483647 w 738"/>
                <a:gd name="T17" fmla="*/ 2147483647 h 270"/>
                <a:gd name="T18" fmla="*/ 2147483647 w 738"/>
                <a:gd name="T19" fmla="*/ 2147483647 h 270"/>
                <a:gd name="T20" fmla="*/ 2147483647 w 738"/>
                <a:gd name="T21" fmla="*/ 2147483647 h 270"/>
                <a:gd name="T22" fmla="*/ 2147483647 w 738"/>
                <a:gd name="T23" fmla="*/ 2147483647 h 270"/>
                <a:gd name="T24" fmla="*/ 2147483647 w 738"/>
                <a:gd name="T25" fmla="*/ 2147483647 h 270"/>
                <a:gd name="T26" fmla="*/ 2147483647 w 738"/>
                <a:gd name="T27" fmla="*/ 2147483647 h 270"/>
                <a:gd name="T28" fmla="*/ 2147483647 w 738"/>
                <a:gd name="T29" fmla="*/ 2147483647 h 270"/>
                <a:gd name="T30" fmla="*/ 2147483647 w 738"/>
                <a:gd name="T31" fmla="*/ 2147483647 h 270"/>
                <a:gd name="T32" fmla="*/ 2147483647 w 738"/>
                <a:gd name="T33" fmla="*/ 2147483647 h 270"/>
                <a:gd name="T34" fmla="*/ 2147483647 w 738"/>
                <a:gd name="T35" fmla="*/ 2147483647 h 270"/>
                <a:gd name="T36" fmla="*/ 2147483647 w 738"/>
                <a:gd name="T37" fmla="*/ 0 h 270"/>
                <a:gd name="T38" fmla="*/ 2147483647 w 738"/>
                <a:gd name="T39" fmla="*/ 2147483647 h 270"/>
                <a:gd name="T40" fmla="*/ 2147483647 w 738"/>
                <a:gd name="T41" fmla="*/ 2147483647 h 270"/>
                <a:gd name="T42" fmla="*/ 2147483647 w 738"/>
                <a:gd name="T43" fmla="*/ 2147483647 h 270"/>
                <a:gd name="T44" fmla="*/ 2147483647 w 738"/>
                <a:gd name="T45" fmla="*/ 2147483647 h 270"/>
                <a:gd name="T46" fmla="*/ 2147483647 w 738"/>
                <a:gd name="T47" fmla="*/ 2147483647 h 270"/>
                <a:gd name="T48" fmla="*/ 2147483647 w 738"/>
                <a:gd name="T49" fmla="*/ 2147483647 h 270"/>
                <a:gd name="T50" fmla="*/ 2147483647 w 738"/>
                <a:gd name="T51" fmla="*/ 2147483647 h 270"/>
                <a:gd name="T52" fmla="*/ 2147483647 w 738"/>
                <a:gd name="T53" fmla="*/ 2147483647 h 270"/>
                <a:gd name="T54" fmla="*/ 2147483647 w 738"/>
                <a:gd name="T55" fmla="*/ 2147483647 h 270"/>
                <a:gd name="T56" fmla="*/ 2147483647 w 738"/>
                <a:gd name="T57" fmla="*/ 2147483647 h 270"/>
                <a:gd name="T58" fmla="*/ 2147483647 w 738"/>
                <a:gd name="T59" fmla="*/ 2147483647 h 270"/>
                <a:gd name="T60" fmla="*/ 2147483647 w 738"/>
                <a:gd name="T61" fmla="*/ 2147483647 h 270"/>
                <a:gd name="T62" fmla="*/ 2147483647 w 738"/>
                <a:gd name="T63" fmla="*/ 2147483647 h 270"/>
                <a:gd name="T64" fmla="*/ 2147483647 w 738"/>
                <a:gd name="T65" fmla="*/ 2147483647 h 270"/>
                <a:gd name="T66" fmla="*/ 2147483647 w 738"/>
                <a:gd name="T67" fmla="*/ 2147483647 h 270"/>
                <a:gd name="T68" fmla="*/ 2147483647 w 738"/>
                <a:gd name="T69" fmla="*/ 2147483647 h 270"/>
                <a:gd name="T70" fmla="*/ 2147483647 w 738"/>
                <a:gd name="T71" fmla="*/ 2147483647 h 270"/>
                <a:gd name="T72" fmla="*/ 2147483647 w 738"/>
                <a:gd name="T73" fmla="*/ 2147483647 h 270"/>
                <a:gd name="T74" fmla="*/ 2147483647 w 738"/>
                <a:gd name="T75" fmla="*/ 2147483647 h 270"/>
                <a:gd name="T76" fmla="*/ 2147483647 w 738"/>
                <a:gd name="T77" fmla="*/ 2147483647 h 270"/>
                <a:gd name="T78" fmla="*/ 2147483647 w 738"/>
                <a:gd name="T79" fmla="*/ 2147483647 h 270"/>
                <a:gd name="T80" fmla="*/ 2147483647 w 738"/>
                <a:gd name="T81" fmla="*/ 2147483647 h 270"/>
                <a:gd name="T82" fmla="*/ 2147483647 w 738"/>
                <a:gd name="T83" fmla="*/ 2147483647 h 270"/>
                <a:gd name="T84" fmla="*/ 2147483647 w 738"/>
                <a:gd name="T85" fmla="*/ 2147483647 h 270"/>
                <a:gd name="T86" fmla="*/ 2147483647 w 738"/>
                <a:gd name="T87" fmla="*/ 2147483647 h 270"/>
                <a:gd name="T88" fmla="*/ 2147483647 w 738"/>
                <a:gd name="T89" fmla="*/ 2147483647 h 270"/>
                <a:gd name="T90" fmla="*/ 2147483647 w 738"/>
                <a:gd name="T91" fmla="*/ 2147483647 h 270"/>
                <a:gd name="T92" fmla="*/ 2147483647 w 738"/>
                <a:gd name="T93" fmla="*/ 2147483647 h 270"/>
                <a:gd name="T94" fmla="*/ 2147483647 w 738"/>
                <a:gd name="T95" fmla="*/ 2147483647 h 270"/>
                <a:gd name="T96" fmla="*/ 2147483647 w 738"/>
                <a:gd name="T97" fmla="*/ 2147483647 h 270"/>
                <a:gd name="T98" fmla="*/ 2147483647 w 738"/>
                <a:gd name="T99" fmla="*/ 2147483647 h 270"/>
                <a:gd name="T100" fmla="*/ 2147483647 w 738"/>
                <a:gd name="T101" fmla="*/ 2147483647 h 270"/>
                <a:gd name="T102" fmla="*/ 2147483647 w 738"/>
                <a:gd name="T103" fmla="*/ 2147483647 h 270"/>
                <a:gd name="T104" fmla="*/ 2147483647 w 738"/>
                <a:gd name="T105" fmla="*/ 2147483647 h 270"/>
                <a:gd name="T106" fmla="*/ 2147483647 w 738"/>
                <a:gd name="T107" fmla="*/ 2147483647 h 270"/>
                <a:gd name="T108" fmla="*/ 2147483647 w 738"/>
                <a:gd name="T109" fmla="*/ 2147483647 h 270"/>
                <a:gd name="T110" fmla="*/ 2147483647 w 738"/>
                <a:gd name="T111" fmla="*/ 2147483647 h 270"/>
                <a:gd name="T112" fmla="*/ 2147483647 w 738"/>
                <a:gd name="T113" fmla="*/ 2147483647 h 270"/>
                <a:gd name="T114" fmla="*/ 2147483647 w 738"/>
                <a:gd name="T115" fmla="*/ 2147483647 h 2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8"/>
                <a:gd name="T175" fmla="*/ 0 h 270"/>
                <a:gd name="T176" fmla="*/ 738 w 738"/>
                <a:gd name="T177" fmla="*/ 270 h 2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8" h="270">
                  <a:moveTo>
                    <a:pt x="708" y="228"/>
                  </a:moveTo>
                  <a:lnTo>
                    <a:pt x="690" y="222"/>
                  </a:lnTo>
                  <a:lnTo>
                    <a:pt x="666" y="222"/>
                  </a:lnTo>
                  <a:lnTo>
                    <a:pt x="666" y="204"/>
                  </a:lnTo>
                  <a:lnTo>
                    <a:pt x="660" y="198"/>
                  </a:lnTo>
                  <a:lnTo>
                    <a:pt x="648" y="192"/>
                  </a:lnTo>
                  <a:lnTo>
                    <a:pt x="600" y="192"/>
                  </a:lnTo>
                  <a:lnTo>
                    <a:pt x="624" y="168"/>
                  </a:lnTo>
                  <a:lnTo>
                    <a:pt x="612" y="168"/>
                  </a:lnTo>
                  <a:lnTo>
                    <a:pt x="600" y="162"/>
                  </a:lnTo>
                  <a:lnTo>
                    <a:pt x="558" y="162"/>
                  </a:lnTo>
                  <a:lnTo>
                    <a:pt x="534" y="150"/>
                  </a:lnTo>
                  <a:lnTo>
                    <a:pt x="528" y="144"/>
                  </a:lnTo>
                  <a:lnTo>
                    <a:pt x="522" y="144"/>
                  </a:lnTo>
                  <a:lnTo>
                    <a:pt x="528" y="138"/>
                  </a:lnTo>
                  <a:lnTo>
                    <a:pt x="528" y="132"/>
                  </a:lnTo>
                  <a:lnTo>
                    <a:pt x="534" y="126"/>
                  </a:lnTo>
                  <a:lnTo>
                    <a:pt x="534" y="120"/>
                  </a:lnTo>
                  <a:lnTo>
                    <a:pt x="522" y="120"/>
                  </a:lnTo>
                  <a:lnTo>
                    <a:pt x="510" y="114"/>
                  </a:lnTo>
                  <a:lnTo>
                    <a:pt x="504" y="114"/>
                  </a:lnTo>
                  <a:lnTo>
                    <a:pt x="474" y="84"/>
                  </a:lnTo>
                  <a:lnTo>
                    <a:pt x="462" y="78"/>
                  </a:lnTo>
                  <a:lnTo>
                    <a:pt x="450" y="66"/>
                  </a:lnTo>
                  <a:lnTo>
                    <a:pt x="432" y="66"/>
                  </a:lnTo>
                  <a:lnTo>
                    <a:pt x="432" y="84"/>
                  </a:lnTo>
                  <a:lnTo>
                    <a:pt x="444" y="96"/>
                  </a:lnTo>
                  <a:lnTo>
                    <a:pt x="450" y="96"/>
                  </a:lnTo>
                  <a:lnTo>
                    <a:pt x="378" y="60"/>
                  </a:lnTo>
                  <a:lnTo>
                    <a:pt x="372" y="54"/>
                  </a:lnTo>
                  <a:lnTo>
                    <a:pt x="360" y="48"/>
                  </a:lnTo>
                  <a:lnTo>
                    <a:pt x="354" y="36"/>
                  </a:lnTo>
                  <a:lnTo>
                    <a:pt x="342" y="30"/>
                  </a:lnTo>
                  <a:lnTo>
                    <a:pt x="330" y="18"/>
                  </a:lnTo>
                  <a:lnTo>
                    <a:pt x="270" y="18"/>
                  </a:lnTo>
                  <a:lnTo>
                    <a:pt x="258" y="12"/>
                  </a:lnTo>
                  <a:lnTo>
                    <a:pt x="228" y="6"/>
                  </a:lnTo>
                  <a:lnTo>
                    <a:pt x="174" y="0"/>
                  </a:lnTo>
                  <a:lnTo>
                    <a:pt x="126" y="6"/>
                  </a:lnTo>
                  <a:lnTo>
                    <a:pt x="96" y="18"/>
                  </a:lnTo>
                  <a:lnTo>
                    <a:pt x="72" y="42"/>
                  </a:lnTo>
                  <a:lnTo>
                    <a:pt x="60" y="48"/>
                  </a:lnTo>
                  <a:lnTo>
                    <a:pt x="42" y="60"/>
                  </a:lnTo>
                  <a:lnTo>
                    <a:pt x="24" y="66"/>
                  </a:lnTo>
                  <a:lnTo>
                    <a:pt x="12" y="72"/>
                  </a:lnTo>
                  <a:lnTo>
                    <a:pt x="6" y="78"/>
                  </a:lnTo>
                  <a:lnTo>
                    <a:pt x="0" y="78"/>
                  </a:lnTo>
                  <a:lnTo>
                    <a:pt x="72" y="72"/>
                  </a:lnTo>
                  <a:lnTo>
                    <a:pt x="72" y="60"/>
                  </a:lnTo>
                  <a:lnTo>
                    <a:pt x="150" y="54"/>
                  </a:lnTo>
                  <a:lnTo>
                    <a:pt x="174" y="42"/>
                  </a:lnTo>
                  <a:lnTo>
                    <a:pt x="198" y="42"/>
                  </a:lnTo>
                  <a:lnTo>
                    <a:pt x="222" y="54"/>
                  </a:lnTo>
                  <a:lnTo>
                    <a:pt x="222" y="60"/>
                  </a:lnTo>
                  <a:lnTo>
                    <a:pt x="216" y="60"/>
                  </a:lnTo>
                  <a:lnTo>
                    <a:pt x="210" y="66"/>
                  </a:lnTo>
                  <a:lnTo>
                    <a:pt x="198" y="66"/>
                  </a:lnTo>
                  <a:lnTo>
                    <a:pt x="192" y="72"/>
                  </a:lnTo>
                  <a:lnTo>
                    <a:pt x="186" y="72"/>
                  </a:lnTo>
                  <a:lnTo>
                    <a:pt x="204" y="78"/>
                  </a:lnTo>
                  <a:lnTo>
                    <a:pt x="210" y="78"/>
                  </a:lnTo>
                  <a:lnTo>
                    <a:pt x="216" y="84"/>
                  </a:lnTo>
                  <a:lnTo>
                    <a:pt x="228" y="90"/>
                  </a:lnTo>
                  <a:lnTo>
                    <a:pt x="246" y="96"/>
                  </a:lnTo>
                  <a:lnTo>
                    <a:pt x="258" y="102"/>
                  </a:lnTo>
                  <a:lnTo>
                    <a:pt x="276" y="102"/>
                  </a:lnTo>
                  <a:lnTo>
                    <a:pt x="282" y="96"/>
                  </a:lnTo>
                  <a:lnTo>
                    <a:pt x="282" y="90"/>
                  </a:lnTo>
                  <a:lnTo>
                    <a:pt x="294" y="96"/>
                  </a:lnTo>
                  <a:lnTo>
                    <a:pt x="300" y="102"/>
                  </a:lnTo>
                  <a:lnTo>
                    <a:pt x="318" y="114"/>
                  </a:lnTo>
                  <a:lnTo>
                    <a:pt x="342" y="126"/>
                  </a:lnTo>
                  <a:lnTo>
                    <a:pt x="372" y="126"/>
                  </a:lnTo>
                  <a:lnTo>
                    <a:pt x="390" y="120"/>
                  </a:lnTo>
                  <a:lnTo>
                    <a:pt x="402" y="120"/>
                  </a:lnTo>
                  <a:lnTo>
                    <a:pt x="390" y="144"/>
                  </a:lnTo>
                  <a:lnTo>
                    <a:pt x="450" y="168"/>
                  </a:lnTo>
                  <a:lnTo>
                    <a:pt x="474" y="204"/>
                  </a:lnTo>
                  <a:lnTo>
                    <a:pt x="480" y="210"/>
                  </a:lnTo>
                  <a:lnTo>
                    <a:pt x="492" y="216"/>
                  </a:lnTo>
                  <a:lnTo>
                    <a:pt x="498" y="222"/>
                  </a:lnTo>
                  <a:lnTo>
                    <a:pt x="498" y="228"/>
                  </a:lnTo>
                  <a:lnTo>
                    <a:pt x="474" y="252"/>
                  </a:lnTo>
                  <a:lnTo>
                    <a:pt x="474" y="258"/>
                  </a:lnTo>
                  <a:lnTo>
                    <a:pt x="480" y="264"/>
                  </a:lnTo>
                  <a:lnTo>
                    <a:pt x="492" y="258"/>
                  </a:lnTo>
                  <a:lnTo>
                    <a:pt x="504" y="258"/>
                  </a:lnTo>
                  <a:lnTo>
                    <a:pt x="528" y="246"/>
                  </a:lnTo>
                  <a:lnTo>
                    <a:pt x="558" y="246"/>
                  </a:lnTo>
                  <a:lnTo>
                    <a:pt x="558" y="252"/>
                  </a:lnTo>
                  <a:lnTo>
                    <a:pt x="552" y="252"/>
                  </a:lnTo>
                  <a:lnTo>
                    <a:pt x="546" y="258"/>
                  </a:lnTo>
                  <a:lnTo>
                    <a:pt x="546" y="264"/>
                  </a:lnTo>
                  <a:lnTo>
                    <a:pt x="558" y="264"/>
                  </a:lnTo>
                  <a:lnTo>
                    <a:pt x="564" y="270"/>
                  </a:lnTo>
                  <a:lnTo>
                    <a:pt x="612" y="270"/>
                  </a:lnTo>
                  <a:lnTo>
                    <a:pt x="636" y="264"/>
                  </a:lnTo>
                  <a:lnTo>
                    <a:pt x="684" y="258"/>
                  </a:lnTo>
                  <a:lnTo>
                    <a:pt x="720" y="252"/>
                  </a:lnTo>
                  <a:lnTo>
                    <a:pt x="738" y="246"/>
                  </a:lnTo>
                  <a:lnTo>
                    <a:pt x="738" y="240"/>
                  </a:lnTo>
                  <a:lnTo>
                    <a:pt x="732" y="234"/>
                  </a:lnTo>
                  <a:lnTo>
                    <a:pt x="720" y="228"/>
                  </a:lnTo>
                  <a:lnTo>
                    <a:pt x="708" y="228"/>
                  </a:lnTo>
                  <a:close/>
                  <a:moveTo>
                    <a:pt x="114" y="126"/>
                  </a:moveTo>
                  <a:lnTo>
                    <a:pt x="114" y="132"/>
                  </a:lnTo>
                  <a:lnTo>
                    <a:pt x="120" y="138"/>
                  </a:lnTo>
                  <a:lnTo>
                    <a:pt x="132" y="144"/>
                  </a:lnTo>
                  <a:lnTo>
                    <a:pt x="144" y="138"/>
                  </a:lnTo>
                  <a:lnTo>
                    <a:pt x="150" y="138"/>
                  </a:lnTo>
                  <a:lnTo>
                    <a:pt x="156" y="126"/>
                  </a:lnTo>
                  <a:lnTo>
                    <a:pt x="156" y="120"/>
                  </a:lnTo>
                  <a:lnTo>
                    <a:pt x="150" y="114"/>
                  </a:lnTo>
                  <a:lnTo>
                    <a:pt x="138" y="114"/>
                  </a:lnTo>
                  <a:lnTo>
                    <a:pt x="126" y="120"/>
                  </a:lnTo>
                  <a:lnTo>
                    <a:pt x="120" y="120"/>
                  </a:lnTo>
                  <a:lnTo>
                    <a:pt x="114" y="126"/>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26" name="Kroatien" descr="© INSCALE GmbH, 05.05.2010&#10;http://www.presentationload.com/">
              <a:extLst>
                <a:ext uri="{FF2B5EF4-FFF2-40B4-BE49-F238E27FC236}">
                  <a16:creationId xmlns:a16="http://schemas.microsoft.com/office/drawing/2014/main" id="{5D17ED35-52A3-46B6-824A-752E68A99517}"/>
                </a:ext>
              </a:extLst>
            </p:cNvPr>
            <p:cNvSpPr>
              <a:spLocks/>
            </p:cNvSpPr>
            <p:nvPr/>
          </p:nvSpPr>
          <p:spPr bwMode="gray">
            <a:xfrm>
              <a:off x="4504116" y="2766143"/>
              <a:ext cx="145826" cy="109762"/>
            </a:xfrm>
            <a:custGeom>
              <a:avLst/>
              <a:gdLst>
                <a:gd name="T0" fmla="*/ 2147483647 w 366"/>
                <a:gd name="T1" fmla="*/ 2147483647 h 276"/>
                <a:gd name="T2" fmla="*/ 2147483647 w 366"/>
                <a:gd name="T3" fmla="*/ 2147483647 h 276"/>
                <a:gd name="T4" fmla="*/ 2147483647 w 366"/>
                <a:gd name="T5" fmla="*/ 2147483647 h 276"/>
                <a:gd name="T6" fmla="*/ 2147483647 w 366"/>
                <a:gd name="T7" fmla="*/ 2147483647 h 276"/>
                <a:gd name="T8" fmla="*/ 2147483647 w 366"/>
                <a:gd name="T9" fmla="*/ 2147483647 h 276"/>
                <a:gd name="T10" fmla="*/ 2147483647 w 366"/>
                <a:gd name="T11" fmla="*/ 2147483647 h 276"/>
                <a:gd name="T12" fmla="*/ 2147483647 w 366"/>
                <a:gd name="T13" fmla="*/ 2147483647 h 276"/>
                <a:gd name="T14" fmla="*/ 2147483647 w 366"/>
                <a:gd name="T15" fmla="*/ 2147483647 h 276"/>
                <a:gd name="T16" fmla="*/ 2147483647 w 366"/>
                <a:gd name="T17" fmla="*/ 2147483647 h 276"/>
                <a:gd name="T18" fmla="*/ 2147483647 w 366"/>
                <a:gd name="T19" fmla="*/ 2147483647 h 276"/>
                <a:gd name="T20" fmla="*/ 2147483647 w 366"/>
                <a:gd name="T21" fmla="*/ 2147483647 h 276"/>
                <a:gd name="T22" fmla="*/ 2147483647 w 366"/>
                <a:gd name="T23" fmla="*/ 0 h 276"/>
                <a:gd name="T24" fmla="*/ 2147483647 w 366"/>
                <a:gd name="T25" fmla="*/ 2147483647 h 276"/>
                <a:gd name="T26" fmla="*/ 2147483647 w 366"/>
                <a:gd name="T27" fmla="*/ 2147483647 h 276"/>
                <a:gd name="T28" fmla="*/ 2147483647 w 366"/>
                <a:gd name="T29" fmla="*/ 2147483647 h 276"/>
                <a:gd name="T30" fmla="*/ 2147483647 w 366"/>
                <a:gd name="T31" fmla="*/ 2147483647 h 276"/>
                <a:gd name="T32" fmla="*/ 2147483647 w 366"/>
                <a:gd name="T33" fmla="*/ 2147483647 h 276"/>
                <a:gd name="T34" fmla="*/ 2147483647 w 366"/>
                <a:gd name="T35" fmla="*/ 2147483647 h 276"/>
                <a:gd name="T36" fmla="*/ 2147483647 w 366"/>
                <a:gd name="T37" fmla="*/ 2147483647 h 276"/>
                <a:gd name="T38" fmla="*/ 2147483647 w 366"/>
                <a:gd name="T39" fmla="*/ 2147483647 h 276"/>
                <a:gd name="T40" fmla="*/ 0 w 366"/>
                <a:gd name="T41" fmla="*/ 2147483647 h 276"/>
                <a:gd name="T42" fmla="*/ 2147483647 w 366"/>
                <a:gd name="T43" fmla="*/ 2147483647 h 276"/>
                <a:gd name="T44" fmla="*/ 2147483647 w 366"/>
                <a:gd name="T45" fmla="*/ 2147483647 h 276"/>
                <a:gd name="T46" fmla="*/ 2147483647 w 366"/>
                <a:gd name="T47" fmla="*/ 2147483647 h 276"/>
                <a:gd name="T48" fmla="*/ 2147483647 w 366"/>
                <a:gd name="T49" fmla="*/ 2147483647 h 276"/>
                <a:gd name="T50" fmla="*/ 2147483647 w 366"/>
                <a:gd name="T51" fmla="*/ 2147483647 h 276"/>
                <a:gd name="T52" fmla="*/ 2147483647 w 366"/>
                <a:gd name="T53" fmla="*/ 2147483647 h 276"/>
                <a:gd name="T54" fmla="*/ 2147483647 w 366"/>
                <a:gd name="T55" fmla="*/ 2147483647 h 276"/>
                <a:gd name="T56" fmla="*/ 2147483647 w 366"/>
                <a:gd name="T57" fmla="*/ 2147483647 h 276"/>
                <a:gd name="T58" fmla="*/ 2147483647 w 366"/>
                <a:gd name="T59" fmla="*/ 2147483647 h 276"/>
                <a:gd name="T60" fmla="*/ 2147483647 w 366"/>
                <a:gd name="T61" fmla="*/ 2147483647 h 276"/>
                <a:gd name="T62" fmla="*/ 2147483647 w 366"/>
                <a:gd name="T63" fmla="*/ 2147483647 h 276"/>
                <a:gd name="T64" fmla="*/ 2147483647 w 366"/>
                <a:gd name="T65" fmla="*/ 2147483647 h 276"/>
                <a:gd name="T66" fmla="*/ 2147483647 w 366"/>
                <a:gd name="T67" fmla="*/ 2147483647 h 276"/>
                <a:gd name="T68" fmla="*/ 2147483647 w 366"/>
                <a:gd name="T69" fmla="*/ 2147483647 h 276"/>
                <a:gd name="T70" fmla="*/ 2147483647 w 366"/>
                <a:gd name="T71" fmla="*/ 2147483647 h 276"/>
                <a:gd name="T72" fmla="*/ 2147483647 w 366"/>
                <a:gd name="T73" fmla="*/ 2147483647 h 276"/>
                <a:gd name="T74" fmla="*/ 2147483647 w 366"/>
                <a:gd name="T75" fmla="*/ 2147483647 h 276"/>
                <a:gd name="T76" fmla="*/ 2147483647 w 366"/>
                <a:gd name="T77" fmla="*/ 2147483647 h 276"/>
                <a:gd name="T78" fmla="*/ 2147483647 w 366"/>
                <a:gd name="T79" fmla="*/ 2147483647 h 276"/>
                <a:gd name="T80" fmla="*/ 2147483647 w 366"/>
                <a:gd name="T81" fmla="*/ 2147483647 h 276"/>
                <a:gd name="T82" fmla="*/ 2147483647 w 366"/>
                <a:gd name="T83" fmla="*/ 2147483647 h 276"/>
                <a:gd name="T84" fmla="*/ 2147483647 w 366"/>
                <a:gd name="T85" fmla="*/ 2147483647 h 276"/>
                <a:gd name="T86" fmla="*/ 2147483647 w 366"/>
                <a:gd name="T87" fmla="*/ 2147483647 h 276"/>
                <a:gd name="T88" fmla="*/ 2147483647 w 366"/>
                <a:gd name="T89" fmla="*/ 2147483647 h 276"/>
                <a:gd name="T90" fmla="*/ 2147483647 w 366"/>
                <a:gd name="T91" fmla="*/ 2147483647 h 2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276"/>
                <a:gd name="T140" fmla="*/ 366 w 366"/>
                <a:gd name="T141" fmla="*/ 276 h 2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276">
                  <a:moveTo>
                    <a:pt x="342" y="126"/>
                  </a:moveTo>
                  <a:lnTo>
                    <a:pt x="342" y="114"/>
                  </a:lnTo>
                  <a:lnTo>
                    <a:pt x="348" y="114"/>
                  </a:lnTo>
                  <a:lnTo>
                    <a:pt x="354" y="108"/>
                  </a:lnTo>
                  <a:lnTo>
                    <a:pt x="360" y="108"/>
                  </a:lnTo>
                  <a:lnTo>
                    <a:pt x="366" y="102"/>
                  </a:lnTo>
                  <a:lnTo>
                    <a:pt x="360" y="102"/>
                  </a:lnTo>
                  <a:lnTo>
                    <a:pt x="348" y="96"/>
                  </a:lnTo>
                  <a:lnTo>
                    <a:pt x="336" y="96"/>
                  </a:lnTo>
                  <a:lnTo>
                    <a:pt x="342" y="78"/>
                  </a:lnTo>
                  <a:lnTo>
                    <a:pt x="336" y="78"/>
                  </a:lnTo>
                  <a:lnTo>
                    <a:pt x="330" y="48"/>
                  </a:lnTo>
                  <a:lnTo>
                    <a:pt x="324" y="48"/>
                  </a:lnTo>
                  <a:lnTo>
                    <a:pt x="312" y="54"/>
                  </a:lnTo>
                  <a:lnTo>
                    <a:pt x="270" y="60"/>
                  </a:lnTo>
                  <a:lnTo>
                    <a:pt x="264" y="48"/>
                  </a:lnTo>
                  <a:lnTo>
                    <a:pt x="246" y="48"/>
                  </a:lnTo>
                  <a:lnTo>
                    <a:pt x="234" y="42"/>
                  </a:lnTo>
                  <a:lnTo>
                    <a:pt x="228" y="36"/>
                  </a:lnTo>
                  <a:lnTo>
                    <a:pt x="216" y="30"/>
                  </a:lnTo>
                  <a:lnTo>
                    <a:pt x="204" y="18"/>
                  </a:lnTo>
                  <a:lnTo>
                    <a:pt x="204" y="12"/>
                  </a:lnTo>
                  <a:lnTo>
                    <a:pt x="198" y="6"/>
                  </a:lnTo>
                  <a:lnTo>
                    <a:pt x="186" y="0"/>
                  </a:lnTo>
                  <a:lnTo>
                    <a:pt x="162" y="0"/>
                  </a:lnTo>
                  <a:lnTo>
                    <a:pt x="162" y="12"/>
                  </a:lnTo>
                  <a:lnTo>
                    <a:pt x="150" y="18"/>
                  </a:lnTo>
                  <a:lnTo>
                    <a:pt x="120" y="18"/>
                  </a:lnTo>
                  <a:lnTo>
                    <a:pt x="120" y="30"/>
                  </a:lnTo>
                  <a:lnTo>
                    <a:pt x="126" y="36"/>
                  </a:lnTo>
                  <a:lnTo>
                    <a:pt x="126" y="42"/>
                  </a:lnTo>
                  <a:lnTo>
                    <a:pt x="114" y="54"/>
                  </a:lnTo>
                  <a:lnTo>
                    <a:pt x="102" y="60"/>
                  </a:lnTo>
                  <a:lnTo>
                    <a:pt x="102" y="78"/>
                  </a:lnTo>
                  <a:lnTo>
                    <a:pt x="60" y="78"/>
                  </a:lnTo>
                  <a:lnTo>
                    <a:pt x="54" y="72"/>
                  </a:lnTo>
                  <a:lnTo>
                    <a:pt x="54" y="66"/>
                  </a:lnTo>
                  <a:lnTo>
                    <a:pt x="48" y="78"/>
                  </a:lnTo>
                  <a:lnTo>
                    <a:pt x="30" y="78"/>
                  </a:lnTo>
                  <a:lnTo>
                    <a:pt x="18" y="72"/>
                  </a:lnTo>
                  <a:lnTo>
                    <a:pt x="18" y="84"/>
                  </a:lnTo>
                  <a:lnTo>
                    <a:pt x="0" y="84"/>
                  </a:lnTo>
                  <a:lnTo>
                    <a:pt x="0" y="132"/>
                  </a:lnTo>
                  <a:lnTo>
                    <a:pt x="6" y="132"/>
                  </a:lnTo>
                  <a:lnTo>
                    <a:pt x="12" y="120"/>
                  </a:lnTo>
                  <a:lnTo>
                    <a:pt x="24" y="114"/>
                  </a:lnTo>
                  <a:lnTo>
                    <a:pt x="30" y="102"/>
                  </a:lnTo>
                  <a:lnTo>
                    <a:pt x="42" y="102"/>
                  </a:lnTo>
                  <a:lnTo>
                    <a:pt x="48" y="114"/>
                  </a:lnTo>
                  <a:lnTo>
                    <a:pt x="48" y="132"/>
                  </a:lnTo>
                  <a:lnTo>
                    <a:pt x="78" y="126"/>
                  </a:lnTo>
                  <a:lnTo>
                    <a:pt x="78" y="132"/>
                  </a:lnTo>
                  <a:lnTo>
                    <a:pt x="72" y="144"/>
                  </a:lnTo>
                  <a:lnTo>
                    <a:pt x="72" y="150"/>
                  </a:lnTo>
                  <a:lnTo>
                    <a:pt x="84" y="162"/>
                  </a:lnTo>
                  <a:lnTo>
                    <a:pt x="96" y="168"/>
                  </a:lnTo>
                  <a:lnTo>
                    <a:pt x="96" y="180"/>
                  </a:lnTo>
                  <a:lnTo>
                    <a:pt x="144" y="216"/>
                  </a:lnTo>
                  <a:lnTo>
                    <a:pt x="144" y="240"/>
                  </a:lnTo>
                  <a:lnTo>
                    <a:pt x="198" y="240"/>
                  </a:lnTo>
                  <a:lnTo>
                    <a:pt x="210" y="246"/>
                  </a:lnTo>
                  <a:lnTo>
                    <a:pt x="216" y="252"/>
                  </a:lnTo>
                  <a:lnTo>
                    <a:pt x="216" y="276"/>
                  </a:lnTo>
                  <a:lnTo>
                    <a:pt x="246" y="276"/>
                  </a:lnTo>
                  <a:lnTo>
                    <a:pt x="252" y="270"/>
                  </a:lnTo>
                  <a:lnTo>
                    <a:pt x="252" y="264"/>
                  </a:lnTo>
                  <a:lnTo>
                    <a:pt x="246" y="252"/>
                  </a:lnTo>
                  <a:lnTo>
                    <a:pt x="234" y="246"/>
                  </a:lnTo>
                  <a:lnTo>
                    <a:pt x="216" y="234"/>
                  </a:lnTo>
                  <a:lnTo>
                    <a:pt x="204" y="228"/>
                  </a:lnTo>
                  <a:lnTo>
                    <a:pt x="192" y="216"/>
                  </a:lnTo>
                  <a:lnTo>
                    <a:pt x="180" y="186"/>
                  </a:lnTo>
                  <a:lnTo>
                    <a:pt x="162" y="180"/>
                  </a:lnTo>
                  <a:lnTo>
                    <a:pt x="162" y="162"/>
                  </a:lnTo>
                  <a:lnTo>
                    <a:pt x="156" y="156"/>
                  </a:lnTo>
                  <a:lnTo>
                    <a:pt x="150" y="156"/>
                  </a:lnTo>
                  <a:lnTo>
                    <a:pt x="150" y="144"/>
                  </a:lnTo>
                  <a:lnTo>
                    <a:pt x="132" y="138"/>
                  </a:lnTo>
                  <a:lnTo>
                    <a:pt x="120" y="126"/>
                  </a:lnTo>
                  <a:lnTo>
                    <a:pt x="138" y="120"/>
                  </a:lnTo>
                  <a:lnTo>
                    <a:pt x="138" y="96"/>
                  </a:lnTo>
                  <a:lnTo>
                    <a:pt x="144" y="96"/>
                  </a:lnTo>
                  <a:lnTo>
                    <a:pt x="150" y="102"/>
                  </a:lnTo>
                  <a:lnTo>
                    <a:pt x="162" y="108"/>
                  </a:lnTo>
                  <a:lnTo>
                    <a:pt x="186" y="102"/>
                  </a:lnTo>
                  <a:lnTo>
                    <a:pt x="210" y="102"/>
                  </a:lnTo>
                  <a:lnTo>
                    <a:pt x="228" y="108"/>
                  </a:lnTo>
                  <a:lnTo>
                    <a:pt x="240" y="102"/>
                  </a:lnTo>
                  <a:lnTo>
                    <a:pt x="252" y="102"/>
                  </a:lnTo>
                  <a:lnTo>
                    <a:pt x="258" y="108"/>
                  </a:lnTo>
                  <a:lnTo>
                    <a:pt x="312" y="108"/>
                  </a:lnTo>
                  <a:lnTo>
                    <a:pt x="324" y="126"/>
                  </a:lnTo>
                  <a:lnTo>
                    <a:pt x="342" y="126"/>
                  </a:lnTo>
                  <a:close/>
                </a:path>
              </a:pathLst>
            </a:custGeom>
            <a:solidFill>
              <a:schemeClr val="accent1"/>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27" name="Kosovo" descr="© INSCALE GmbH, 05.05.2010&#10;http://www.presentationload.com/">
              <a:extLst>
                <a:ext uri="{FF2B5EF4-FFF2-40B4-BE49-F238E27FC236}">
                  <a16:creationId xmlns:a16="http://schemas.microsoft.com/office/drawing/2014/main" id="{8E0B355C-FD3B-44D5-93F1-31F9AFE51609}"/>
                </a:ext>
              </a:extLst>
            </p:cNvPr>
            <p:cNvSpPr>
              <a:spLocks noEditPoints="1"/>
            </p:cNvSpPr>
            <p:nvPr/>
          </p:nvSpPr>
          <p:spPr bwMode="gray">
            <a:xfrm>
              <a:off x="4668569" y="2859908"/>
              <a:ext cx="51678" cy="52062"/>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solidFill>
              <a:schemeClr val="accent1"/>
            </a:solidFill>
            <a:ln w="9525" cap="flat" cmpd="sng">
              <a:solidFill>
                <a:schemeClr val="bg1"/>
              </a:solidFill>
              <a:prstDash val="solid"/>
              <a:round/>
              <a:headEnd type="none" w="med" len="med"/>
              <a:tailEnd type="none" w="med" len="med"/>
            </a:ln>
            <a:effectLst/>
          </p:spPr>
          <p:txBody>
            <a:bodyPr/>
            <a:lstStyle/>
            <a:p>
              <a:endParaRPr lang="en-US" dirty="0"/>
            </a:p>
          </p:txBody>
        </p:sp>
        <p:sp>
          <p:nvSpPr>
            <p:cNvPr id="328" name="Korea, Süd" descr="© INSCALE GmbH, 05.05.2010&#10;http://www.presentationload.com/">
              <a:extLst>
                <a:ext uri="{FF2B5EF4-FFF2-40B4-BE49-F238E27FC236}">
                  <a16:creationId xmlns:a16="http://schemas.microsoft.com/office/drawing/2014/main" id="{6D35A122-FAA8-4ED1-A300-AD31DEB894DC}"/>
                </a:ext>
              </a:extLst>
            </p:cNvPr>
            <p:cNvSpPr>
              <a:spLocks noEditPoints="1"/>
            </p:cNvSpPr>
            <p:nvPr/>
          </p:nvSpPr>
          <p:spPr bwMode="gray">
            <a:xfrm>
              <a:off x="7484928" y="3018595"/>
              <a:ext cx="108193" cy="169347"/>
            </a:xfrm>
            <a:custGeom>
              <a:avLst/>
              <a:gdLst>
                <a:gd name="T0" fmla="*/ 2147483647 w 276"/>
                <a:gd name="T1" fmla="*/ 2147483647 h 426"/>
                <a:gd name="T2" fmla="*/ 2147483647 w 276"/>
                <a:gd name="T3" fmla="*/ 2147483647 h 426"/>
                <a:gd name="T4" fmla="*/ 2147483647 w 276"/>
                <a:gd name="T5" fmla="*/ 2147483647 h 426"/>
                <a:gd name="T6" fmla="*/ 2147483647 w 276"/>
                <a:gd name="T7" fmla="*/ 2147483647 h 426"/>
                <a:gd name="T8" fmla="*/ 2147483647 w 276"/>
                <a:gd name="T9" fmla="*/ 2147483647 h 426"/>
                <a:gd name="T10" fmla="*/ 2147483647 w 276"/>
                <a:gd name="T11" fmla="*/ 2147483647 h 426"/>
                <a:gd name="T12" fmla="*/ 2147483647 w 276"/>
                <a:gd name="T13" fmla="*/ 2147483647 h 426"/>
                <a:gd name="T14" fmla="*/ 2147483647 w 276"/>
                <a:gd name="T15" fmla="*/ 2147483647 h 426"/>
                <a:gd name="T16" fmla="*/ 2147483647 w 276"/>
                <a:gd name="T17" fmla="*/ 2147483647 h 426"/>
                <a:gd name="T18" fmla="*/ 2147483647 w 276"/>
                <a:gd name="T19" fmla="*/ 2147483647 h 426"/>
                <a:gd name="T20" fmla="*/ 2147483647 w 276"/>
                <a:gd name="T21" fmla="*/ 2147483647 h 426"/>
                <a:gd name="T22" fmla="*/ 2147483647 w 276"/>
                <a:gd name="T23" fmla="*/ 2147483647 h 426"/>
                <a:gd name="T24" fmla="*/ 2147483647 w 276"/>
                <a:gd name="T25" fmla="*/ 0 h 426"/>
                <a:gd name="T26" fmla="*/ 2147483647 w 276"/>
                <a:gd name="T27" fmla="*/ 2147483647 h 426"/>
                <a:gd name="T28" fmla="*/ 2147483647 w 276"/>
                <a:gd name="T29" fmla="*/ 2147483647 h 426"/>
                <a:gd name="T30" fmla="*/ 2147483647 w 276"/>
                <a:gd name="T31" fmla="*/ 2147483647 h 426"/>
                <a:gd name="T32" fmla="*/ 2147483647 w 276"/>
                <a:gd name="T33" fmla="*/ 2147483647 h 426"/>
                <a:gd name="T34" fmla="*/ 0 w 276"/>
                <a:gd name="T35" fmla="*/ 2147483647 h 426"/>
                <a:gd name="T36" fmla="*/ 2147483647 w 276"/>
                <a:gd name="T37" fmla="*/ 2147483647 h 426"/>
                <a:gd name="T38" fmla="*/ 2147483647 w 276"/>
                <a:gd name="T39" fmla="*/ 2147483647 h 426"/>
                <a:gd name="T40" fmla="*/ 2147483647 w 276"/>
                <a:gd name="T41" fmla="*/ 2147483647 h 426"/>
                <a:gd name="T42" fmla="*/ 2147483647 w 276"/>
                <a:gd name="T43" fmla="*/ 2147483647 h 426"/>
                <a:gd name="T44" fmla="*/ 2147483647 w 276"/>
                <a:gd name="T45" fmla="*/ 2147483647 h 426"/>
                <a:gd name="T46" fmla="*/ 2147483647 w 276"/>
                <a:gd name="T47" fmla="*/ 2147483647 h 426"/>
                <a:gd name="T48" fmla="*/ 2147483647 w 276"/>
                <a:gd name="T49" fmla="*/ 2147483647 h 426"/>
                <a:gd name="T50" fmla="*/ 2147483647 w 276"/>
                <a:gd name="T51" fmla="*/ 2147483647 h 426"/>
                <a:gd name="T52" fmla="*/ 2147483647 w 276"/>
                <a:gd name="T53" fmla="*/ 2147483647 h 426"/>
                <a:gd name="T54" fmla="*/ 2147483647 w 276"/>
                <a:gd name="T55" fmla="*/ 2147483647 h 426"/>
                <a:gd name="T56" fmla="*/ 2147483647 w 276"/>
                <a:gd name="T57" fmla="*/ 2147483647 h 426"/>
                <a:gd name="T58" fmla="*/ 2147483647 w 276"/>
                <a:gd name="T59" fmla="*/ 2147483647 h 426"/>
                <a:gd name="T60" fmla="*/ 2147483647 w 276"/>
                <a:gd name="T61" fmla="*/ 2147483647 h 426"/>
                <a:gd name="T62" fmla="*/ 2147483647 w 276"/>
                <a:gd name="T63" fmla="*/ 2147483647 h 426"/>
                <a:gd name="T64" fmla="*/ 2147483647 w 276"/>
                <a:gd name="T65" fmla="*/ 2147483647 h 426"/>
                <a:gd name="T66" fmla="*/ 2147483647 w 276"/>
                <a:gd name="T67" fmla="*/ 2147483647 h 426"/>
                <a:gd name="T68" fmla="*/ 2147483647 w 276"/>
                <a:gd name="T69" fmla="*/ 2147483647 h 426"/>
                <a:gd name="T70" fmla="*/ 2147483647 w 276"/>
                <a:gd name="T71" fmla="*/ 2147483647 h 426"/>
                <a:gd name="T72" fmla="*/ 2147483647 w 276"/>
                <a:gd name="T73" fmla="*/ 2147483647 h 426"/>
                <a:gd name="T74" fmla="*/ 2147483647 w 276"/>
                <a:gd name="T75" fmla="*/ 2147483647 h 4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6"/>
                <a:gd name="T115" fmla="*/ 0 h 426"/>
                <a:gd name="T116" fmla="*/ 276 w 276"/>
                <a:gd name="T117" fmla="*/ 426 h 4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6" h="426">
                  <a:moveTo>
                    <a:pt x="150" y="402"/>
                  </a:moveTo>
                  <a:lnTo>
                    <a:pt x="132" y="408"/>
                  </a:lnTo>
                  <a:lnTo>
                    <a:pt x="126" y="414"/>
                  </a:lnTo>
                  <a:lnTo>
                    <a:pt x="138" y="426"/>
                  </a:lnTo>
                  <a:lnTo>
                    <a:pt x="162" y="426"/>
                  </a:lnTo>
                  <a:lnTo>
                    <a:pt x="174" y="414"/>
                  </a:lnTo>
                  <a:lnTo>
                    <a:pt x="174" y="408"/>
                  </a:lnTo>
                  <a:lnTo>
                    <a:pt x="168" y="402"/>
                  </a:lnTo>
                  <a:lnTo>
                    <a:pt x="150" y="402"/>
                  </a:lnTo>
                  <a:close/>
                  <a:moveTo>
                    <a:pt x="276" y="246"/>
                  </a:moveTo>
                  <a:lnTo>
                    <a:pt x="270" y="228"/>
                  </a:lnTo>
                  <a:lnTo>
                    <a:pt x="264" y="216"/>
                  </a:lnTo>
                  <a:lnTo>
                    <a:pt x="246" y="198"/>
                  </a:lnTo>
                  <a:lnTo>
                    <a:pt x="252" y="186"/>
                  </a:lnTo>
                  <a:lnTo>
                    <a:pt x="252" y="180"/>
                  </a:lnTo>
                  <a:lnTo>
                    <a:pt x="246" y="162"/>
                  </a:lnTo>
                  <a:lnTo>
                    <a:pt x="240" y="150"/>
                  </a:lnTo>
                  <a:lnTo>
                    <a:pt x="210" y="120"/>
                  </a:lnTo>
                  <a:lnTo>
                    <a:pt x="198" y="102"/>
                  </a:lnTo>
                  <a:lnTo>
                    <a:pt x="168" y="72"/>
                  </a:lnTo>
                  <a:lnTo>
                    <a:pt x="144" y="66"/>
                  </a:lnTo>
                  <a:lnTo>
                    <a:pt x="144" y="60"/>
                  </a:lnTo>
                  <a:lnTo>
                    <a:pt x="138" y="54"/>
                  </a:lnTo>
                  <a:lnTo>
                    <a:pt x="132" y="42"/>
                  </a:lnTo>
                  <a:lnTo>
                    <a:pt x="102" y="12"/>
                  </a:lnTo>
                  <a:lnTo>
                    <a:pt x="96" y="0"/>
                  </a:lnTo>
                  <a:lnTo>
                    <a:pt x="78" y="12"/>
                  </a:lnTo>
                  <a:lnTo>
                    <a:pt x="48" y="12"/>
                  </a:lnTo>
                  <a:lnTo>
                    <a:pt x="24" y="24"/>
                  </a:lnTo>
                  <a:lnTo>
                    <a:pt x="18" y="30"/>
                  </a:lnTo>
                  <a:lnTo>
                    <a:pt x="12" y="30"/>
                  </a:lnTo>
                  <a:lnTo>
                    <a:pt x="12" y="36"/>
                  </a:lnTo>
                  <a:lnTo>
                    <a:pt x="18" y="42"/>
                  </a:lnTo>
                  <a:lnTo>
                    <a:pt x="18" y="48"/>
                  </a:lnTo>
                  <a:lnTo>
                    <a:pt x="12" y="54"/>
                  </a:lnTo>
                  <a:lnTo>
                    <a:pt x="0" y="60"/>
                  </a:lnTo>
                  <a:lnTo>
                    <a:pt x="0" y="66"/>
                  </a:lnTo>
                  <a:lnTo>
                    <a:pt x="6" y="72"/>
                  </a:lnTo>
                  <a:lnTo>
                    <a:pt x="12" y="84"/>
                  </a:lnTo>
                  <a:lnTo>
                    <a:pt x="24" y="90"/>
                  </a:lnTo>
                  <a:lnTo>
                    <a:pt x="30" y="90"/>
                  </a:lnTo>
                  <a:lnTo>
                    <a:pt x="42" y="96"/>
                  </a:lnTo>
                  <a:lnTo>
                    <a:pt x="60" y="132"/>
                  </a:lnTo>
                  <a:lnTo>
                    <a:pt x="54" y="132"/>
                  </a:lnTo>
                  <a:lnTo>
                    <a:pt x="48" y="126"/>
                  </a:lnTo>
                  <a:lnTo>
                    <a:pt x="36" y="126"/>
                  </a:lnTo>
                  <a:lnTo>
                    <a:pt x="24" y="120"/>
                  </a:lnTo>
                  <a:lnTo>
                    <a:pt x="6" y="120"/>
                  </a:lnTo>
                  <a:lnTo>
                    <a:pt x="6" y="126"/>
                  </a:lnTo>
                  <a:lnTo>
                    <a:pt x="18" y="132"/>
                  </a:lnTo>
                  <a:lnTo>
                    <a:pt x="30" y="144"/>
                  </a:lnTo>
                  <a:lnTo>
                    <a:pt x="42" y="150"/>
                  </a:lnTo>
                  <a:lnTo>
                    <a:pt x="54" y="192"/>
                  </a:lnTo>
                  <a:lnTo>
                    <a:pt x="90" y="198"/>
                  </a:lnTo>
                  <a:lnTo>
                    <a:pt x="90" y="228"/>
                  </a:lnTo>
                  <a:lnTo>
                    <a:pt x="78" y="240"/>
                  </a:lnTo>
                  <a:lnTo>
                    <a:pt x="78" y="270"/>
                  </a:lnTo>
                  <a:lnTo>
                    <a:pt x="84" y="282"/>
                  </a:lnTo>
                  <a:lnTo>
                    <a:pt x="102" y="300"/>
                  </a:lnTo>
                  <a:lnTo>
                    <a:pt x="108" y="300"/>
                  </a:lnTo>
                  <a:lnTo>
                    <a:pt x="108" y="306"/>
                  </a:lnTo>
                  <a:lnTo>
                    <a:pt x="102" y="312"/>
                  </a:lnTo>
                  <a:lnTo>
                    <a:pt x="102" y="324"/>
                  </a:lnTo>
                  <a:lnTo>
                    <a:pt x="108" y="330"/>
                  </a:lnTo>
                  <a:lnTo>
                    <a:pt x="132" y="330"/>
                  </a:lnTo>
                  <a:lnTo>
                    <a:pt x="144" y="324"/>
                  </a:lnTo>
                  <a:lnTo>
                    <a:pt x="144" y="318"/>
                  </a:lnTo>
                  <a:lnTo>
                    <a:pt x="150" y="312"/>
                  </a:lnTo>
                  <a:lnTo>
                    <a:pt x="150" y="306"/>
                  </a:lnTo>
                  <a:lnTo>
                    <a:pt x="198" y="282"/>
                  </a:lnTo>
                  <a:lnTo>
                    <a:pt x="222" y="288"/>
                  </a:lnTo>
                  <a:lnTo>
                    <a:pt x="234" y="270"/>
                  </a:lnTo>
                  <a:lnTo>
                    <a:pt x="258" y="270"/>
                  </a:lnTo>
                  <a:lnTo>
                    <a:pt x="270" y="264"/>
                  </a:lnTo>
                  <a:lnTo>
                    <a:pt x="276" y="264"/>
                  </a:lnTo>
                  <a:lnTo>
                    <a:pt x="276" y="246"/>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29" name="Korea, Nord" descr="© INSCALE GmbH, 05.05.2010&#10;http://www.presentationload.com/">
              <a:extLst>
                <a:ext uri="{FF2B5EF4-FFF2-40B4-BE49-F238E27FC236}">
                  <a16:creationId xmlns:a16="http://schemas.microsoft.com/office/drawing/2014/main" id="{553204E8-B00C-4F72-8247-83FFC0FD96A7}"/>
                </a:ext>
              </a:extLst>
            </p:cNvPr>
            <p:cNvSpPr>
              <a:spLocks/>
            </p:cNvSpPr>
            <p:nvPr/>
          </p:nvSpPr>
          <p:spPr bwMode="gray">
            <a:xfrm>
              <a:off x="7393983" y="2879041"/>
              <a:ext cx="130145" cy="166210"/>
            </a:xfrm>
            <a:custGeom>
              <a:avLst/>
              <a:gdLst>
                <a:gd name="T0" fmla="*/ 2147483647 w 330"/>
                <a:gd name="T1" fmla="*/ 0 h 420"/>
                <a:gd name="T2" fmla="*/ 2147483647 w 330"/>
                <a:gd name="T3" fmla="*/ 2147483647 h 420"/>
                <a:gd name="T4" fmla="*/ 2147483647 w 330"/>
                <a:gd name="T5" fmla="*/ 2147483647 h 420"/>
                <a:gd name="T6" fmla="*/ 2147483647 w 330"/>
                <a:gd name="T7" fmla="*/ 2147483647 h 420"/>
                <a:gd name="T8" fmla="*/ 2147483647 w 330"/>
                <a:gd name="T9" fmla="*/ 2147483647 h 420"/>
                <a:gd name="T10" fmla="*/ 2147483647 w 330"/>
                <a:gd name="T11" fmla="*/ 2147483647 h 420"/>
                <a:gd name="T12" fmla="*/ 2147483647 w 330"/>
                <a:gd name="T13" fmla="*/ 2147483647 h 420"/>
                <a:gd name="T14" fmla="*/ 2147483647 w 330"/>
                <a:gd name="T15" fmla="*/ 2147483647 h 420"/>
                <a:gd name="T16" fmla="*/ 2147483647 w 330"/>
                <a:gd name="T17" fmla="*/ 2147483647 h 420"/>
                <a:gd name="T18" fmla="*/ 2147483647 w 330"/>
                <a:gd name="T19" fmla="*/ 2147483647 h 420"/>
                <a:gd name="T20" fmla="*/ 2147483647 w 330"/>
                <a:gd name="T21" fmla="*/ 2147483647 h 420"/>
                <a:gd name="T22" fmla="*/ 2147483647 w 330"/>
                <a:gd name="T23" fmla="*/ 2147483647 h 420"/>
                <a:gd name="T24" fmla="*/ 2147483647 w 330"/>
                <a:gd name="T25" fmla="*/ 2147483647 h 420"/>
                <a:gd name="T26" fmla="*/ 2147483647 w 330"/>
                <a:gd name="T27" fmla="*/ 2147483647 h 420"/>
                <a:gd name="T28" fmla="*/ 2147483647 w 330"/>
                <a:gd name="T29" fmla="*/ 2147483647 h 420"/>
                <a:gd name="T30" fmla="*/ 2147483647 w 330"/>
                <a:gd name="T31" fmla="*/ 2147483647 h 420"/>
                <a:gd name="T32" fmla="*/ 2147483647 w 330"/>
                <a:gd name="T33" fmla="*/ 2147483647 h 420"/>
                <a:gd name="T34" fmla="*/ 2147483647 w 330"/>
                <a:gd name="T35" fmla="*/ 2147483647 h 420"/>
                <a:gd name="T36" fmla="*/ 2147483647 w 330"/>
                <a:gd name="T37" fmla="*/ 2147483647 h 420"/>
                <a:gd name="T38" fmla="*/ 2147483647 w 330"/>
                <a:gd name="T39" fmla="*/ 2147483647 h 420"/>
                <a:gd name="T40" fmla="*/ 2147483647 w 330"/>
                <a:gd name="T41" fmla="*/ 2147483647 h 420"/>
                <a:gd name="T42" fmla="*/ 2147483647 w 330"/>
                <a:gd name="T43" fmla="*/ 2147483647 h 420"/>
                <a:gd name="T44" fmla="*/ 2147483647 w 330"/>
                <a:gd name="T45" fmla="*/ 2147483647 h 420"/>
                <a:gd name="T46" fmla="*/ 2147483647 w 330"/>
                <a:gd name="T47" fmla="*/ 2147483647 h 420"/>
                <a:gd name="T48" fmla="*/ 2147483647 w 330"/>
                <a:gd name="T49" fmla="*/ 2147483647 h 420"/>
                <a:gd name="T50" fmla="*/ 2147483647 w 330"/>
                <a:gd name="T51" fmla="*/ 2147483647 h 420"/>
                <a:gd name="T52" fmla="*/ 2147483647 w 330"/>
                <a:gd name="T53" fmla="*/ 2147483647 h 420"/>
                <a:gd name="T54" fmla="*/ 2147483647 w 330"/>
                <a:gd name="T55" fmla="*/ 2147483647 h 420"/>
                <a:gd name="T56" fmla="*/ 2147483647 w 330"/>
                <a:gd name="T57" fmla="*/ 2147483647 h 420"/>
                <a:gd name="T58" fmla="*/ 2147483647 w 330"/>
                <a:gd name="T59" fmla="*/ 2147483647 h 420"/>
                <a:gd name="T60" fmla="*/ 2147483647 w 330"/>
                <a:gd name="T61" fmla="*/ 2147483647 h 420"/>
                <a:gd name="T62" fmla="*/ 2147483647 w 330"/>
                <a:gd name="T63" fmla="*/ 2147483647 h 420"/>
                <a:gd name="T64" fmla="*/ 2147483647 w 330"/>
                <a:gd name="T65" fmla="*/ 2147483647 h 420"/>
                <a:gd name="T66" fmla="*/ 2147483647 w 330"/>
                <a:gd name="T67" fmla="*/ 2147483647 h 420"/>
                <a:gd name="T68" fmla="*/ 2147483647 w 330"/>
                <a:gd name="T69" fmla="*/ 2147483647 h 420"/>
                <a:gd name="T70" fmla="*/ 2147483647 w 330"/>
                <a:gd name="T71" fmla="*/ 2147483647 h 420"/>
                <a:gd name="T72" fmla="*/ 2147483647 w 330"/>
                <a:gd name="T73" fmla="*/ 2147483647 h 420"/>
                <a:gd name="T74" fmla="*/ 2147483647 w 330"/>
                <a:gd name="T75" fmla="*/ 2147483647 h 420"/>
                <a:gd name="T76" fmla="*/ 2147483647 w 330"/>
                <a:gd name="T77" fmla="*/ 2147483647 h 420"/>
                <a:gd name="T78" fmla="*/ 2147483647 w 330"/>
                <a:gd name="T79" fmla="*/ 2147483647 h 420"/>
                <a:gd name="T80" fmla="*/ 2147483647 w 330"/>
                <a:gd name="T81" fmla="*/ 2147483647 h 420"/>
                <a:gd name="T82" fmla="*/ 2147483647 w 330"/>
                <a:gd name="T83" fmla="*/ 2147483647 h 420"/>
                <a:gd name="T84" fmla="*/ 2147483647 w 330"/>
                <a:gd name="T85" fmla="*/ 2147483647 h 420"/>
                <a:gd name="T86" fmla="*/ 2147483647 w 330"/>
                <a:gd name="T87" fmla="*/ 2147483647 h 420"/>
                <a:gd name="T88" fmla="*/ 2147483647 w 330"/>
                <a:gd name="T89" fmla="*/ 2147483647 h 420"/>
                <a:gd name="T90" fmla="*/ 2147483647 w 330"/>
                <a:gd name="T91" fmla="*/ 2147483647 h 420"/>
                <a:gd name="T92" fmla="*/ 2147483647 w 330"/>
                <a:gd name="T93" fmla="*/ 2147483647 h 420"/>
                <a:gd name="T94" fmla="*/ 2147483647 w 330"/>
                <a:gd name="T95" fmla="*/ 2147483647 h 420"/>
                <a:gd name="T96" fmla="*/ 2147483647 w 330"/>
                <a:gd name="T97" fmla="*/ 2147483647 h 420"/>
                <a:gd name="T98" fmla="*/ 2147483647 w 330"/>
                <a:gd name="T99" fmla="*/ 2147483647 h 420"/>
                <a:gd name="T100" fmla="*/ 2147483647 w 330"/>
                <a:gd name="T101" fmla="*/ 2147483647 h 420"/>
                <a:gd name="T102" fmla="*/ 2147483647 w 330"/>
                <a:gd name="T103" fmla="*/ 0 h 4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0"/>
                <a:gd name="T157" fmla="*/ 0 h 420"/>
                <a:gd name="T158" fmla="*/ 330 w 330"/>
                <a:gd name="T159" fmla="*/ 420 h 4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0" h="420">
                  <a:moveTo>
                    <a:pt x="270" y="0"/>
                  </a:moveTo>
                  <a:lnTo>
                    <a:pt x="240" y="0"/>
                  </a:lnTo>
                  <a:lnTo>
                    <a:pt x="240" y="6"/>
                  </a:lnTo>
                  <a:lnTo>
                    <a:pt x="246" y="12"/>
                  </a:lnTo>
                  <a:lnTo>
                    <a:pt x="252" y="24"/>
                  </a:lnTo>
                  <a:lnTo>
                    <a:pt x="252" y="42"/>
                  </a:lnTo>
                  <a:lnTo>
                    <a:pt x="228" y="42"/>
                  </a:lnTo>
                  <a:lnTo>
                    <a:pt x="234" y="54"/>
                  </a:lnTo>
                  <a:lnTo>
                    <a:pt x="234" y="60"/>
                  </a:lnTo>
                  <a:lnTo>
                    <a:pt x="228" y="72"/>
                  </a:lnTo>
                  <a:lnTo>
                    <a:pt x="216" y="78"/>
                  </a:lnTo>
                  <a:lnTo>
                    <a:pt x="204" y="72"/>
                  </a:lnTo>
                  <a:lnTo>
                    <a:pt x="180" y="72"/>
                  </a:lnTo>
                  <a:lnTo>
                    <a:pt x="174" y="66"/>
                  </a:lnTo>
                  <a:lnTo>
                    <a:pt x="168" y="72"/>
                  </a:lnTo>
                  <a:lnTo>
                    <a:pt x="168" y="84"/>
                  </a:lnTo>
                  <a:lnTo>
                    <a:pt x="192" y="108"/>
                  </a:lnTo>
                  <a:lnTo>
                    <a:pt x="198" y="108"/>
                  </a:lnTo>
                  <a:lnTo>
                    <a:pt x="198" y="120"/>
                  </a:lnTo>
                  <a:lnTo>
                    <a:pt x="150" y="120"/>
                  </a:lnTo>
                  <a:lnTo>
                    <a:pt x="138" y="114"/>
                  </a:lnTo>
                  <a:lnTo>
                    <a:pt x="126" y="114"/>
                  </a:lnTo>
                  <a:lnTo>
                    <a:pt x="114" y="102"/>
                  </a:lnTo>
                  <a:lnTo>
                    <a:pt x="102" y="96"/>
                  </a:lnTo>
                  <a:lnTo>
                    <a:pt x="90" y="96"/>
                  </a:lnTo>
                  <a:lnTo>
                    <a:pt x="90" y="102"/>
                  </a:lnTo>
                  <a:lnTo>
                    <a:pt x="84" y="108"/>
                  </a:lnTo>
                  <a:lnTo>
                    <a:pt x="84" y="138"/>
                  </a:lnTo>
                  <a:lnTo>
                    <a:pt x="66" y="174"/>
                  </a:lnTo>
                  <a:lnTo>
                    <a:pt x="54" y="186"/>
                  </a:lnTo>
                  <a:lnTo>
                    <a:pt x="18" y="204"/>
                  </a:lnTo>
                  <a:lnTo>
                    <a:pt x="12" y="216"/>
                  </a:lnTo>
                  <a:lnTo>
                    <a:pt x="6" y="222"/>
                  </a:lnTo>
                  <a:lnTo>
                    <a:pt x="6" y="234"/>
                  </a:lnTo>
                  <a:lnTo>
                    <a:pt x="0" y="246"/>
                  </a:lnTo>
                  <a:lnTo>
                    <a:pt x="12" y="228"/>
                  </a:lnTo>
                  <a:lnTo>
                    <a:pt x="18" y="246"/>
                  </a:lnTo>
                  <a:lnTo>
                    <a:pt x="36" y="270"/>
                  </a:lnTo>
                  <a:lnTo>
                    <a:pt x="48" y="252"/>
                  </a:lnTo>
                  <a:lnTo>
                    <a:pt x="54" y="258"/>
                  </a:lnTo>
                  <a:lnTo>
                    <a:pt x="60" y="270"/>
                  </a:lnTo>
                  <a:lnTo>
                    <a:pt x="96" y="270"/>
                  </a:lnTo>
                  <a:lnTo>
                    <a:pt x="96" y="282"/>
                  </a:lnTo>
                  <a:lnTo>
                    <a:pt x="102" y="294"/>
                  </a:lnTo>
                  <a:lnTo>
                    <a:pt x="102" y="336"/>
                  </a:lnTo>
                  <a:lnTo>
                    <a:pt x="138" y="336"/>
                  </a:lnTo>
                  <a:lnTo>
                    <a:pt x="144" y="348"/>
                  </a:lnTo>
                  <a:lnTo>
                    <a:pt x="132" y="342"/>
                  </a:lnTo>
                  <a:lnTo>
                    <a:pt x="108" y="342"/>
                  </a:lnTo>
                  <a:lnTo>
                    <a:pt x="102" y="348"/>
                  </a:lnTo>
                  <a:lnTo>
                    <a:pt x="102" y="360"/>
                  </a:lnTo>
                  <a:lnTo>
                    <a:pt x="108" y="378"/>
                  </a:lnTo>
                  <a:lnTo>
                    <a:pt x="114" y="384"/>
                  </a:lnTo>
                  <a:lnTo>
                    <a:pt x="126" y="408"/>
                  </a:lnTo>
                  <a:lnTo>
                    <a:pt x="156" y="396"/>
                  </a:lnTo>
                  <a:lnTo>
                    <a:pt x="162" y="402"/>
                  </a:lnTo>
                  <a:lnTo>
                    <a:pt x="174" y="408"/>
                  </a:lnTo>
                  <a:lnTo>
                    <a:pt x="180" y="414"/>
                  </a:lnTo>
                  <a:lnTo>
                    <a:pt x="192" y="420"/>
                  </a:lnTo>
                  <a:lnTo>
                    <a:pt x="198" y="420"/>
                  </a:lnTo>
                  <a:lnTo>
                    <a:pt x="216" y="414"/>
                  </a:lnTo>
                  <a:lnTo>
                    <a:pt x="228" y="414"/>
                  </a:lnTo>
                  <a:lnTo>
                    <a:pt x="240" y="408"/>
                  </a:lnTo>
                  <a:lnTo>
                    <a:pt x="246" y="402"/>
                  </a:lnTo>
                  <a:lnTo>
                    <a:pt x="246" y="396"/>
                  </a:lnTo>
                  <a:lnTo>
                    <a:pt x="240" y="390"/>
                  </a:lnTo>
                  <a:lnTo>
                    <a:pt x="240" y="384"/>
                  </a:lnTo>
                  <a:lnTo>
                    <a:pt x="246" y="384"/>
                  </a:lnTo>
                  <a:lnTo>
                    <a:pt x="252" y="378"/>
                  </a:lnTo>
                  <a:lnTo>
                    <a:pt x="276" y="366"/>
                  </a:lnTo>
                  <a:lnTo>
                    <a:pt x="306" y="366"/>
                  </a:lnTo>
                  <a:lnTo>
                    <a:pt x="324" y="354"/>
                  </a:lnTo>
                  <a:lnTo>
                    <a:pt x="312" y="342"/>
                  </a:lnTo>
                  <a:lnTo>
                    <a:pt x="312" y="336"/>
                  </a:lnTo>
                  <a:lnTo>
                    <a:pt x="264" y="312"/>
                  </a:lnTo>
                  <a:lnTo>
                    <a:pt x="240" y="312"/>
                  </a:lnTo>
                  <a:lnTo>
                    <a:pt x="240" y="300"/>
                  </a:lnTo>
                  <a:lnTo>
                    <a:pt x="246" y="288"/>
                  </a:lnTo>
                  <a:lnTo>
                    <a:pt x="252" y="282"/>
                  </a:lnTo>
                  <a:lnTo>
                    <a:pt x="246" y="276"/>
                  </a:lnTo>
                  <a:lnTo>
                    <a:pt x="234" y="270"/>
                  </a:lnTo>
                  <a:lnTo>
                    <a:pt x="228" y="264"/>
                  </a:lnTo>
                  <a:lnTo>
                    <a:pt x="228" y="252"/>
                  </a:lnTo>
                  <a:lnTo>
                    <a:pt x="240" y="246"/>
                  </a:lnTo>
                  <a:lnTo>
                    <a:pt x="246" y="240"/>
                  </a:lnTo>
                  <a:lnTo>
                    <a:pt x="258" y="234"/>
                  </a:lnTo>
                  <a:lnTo>
                    <a:pt x="270" y="234"/>
                  </a:lnTo>
                  <a:lnTo>
                    <a:pt x="276" y="228"/>
                  </a:lnTo>
                  <a:lnTo>
                    <a:pt x="288" y="204"/>
                  </a:lnTo>
                  <a:lnTo>
                    <a:pt x="288" y="192"/>
                  </a:lnTo>
                  <a:lnTo>
                    <a:pt x="294" y="186"/>
                  </a:lnTo>
                  <a:lnTo>
                    <a:pt x="300" y="174"/>
                  </a:lnTo>
                  <a:lnTo>
                    <a:pt x="324" y="162"/>
                  </a:lnTo>
                  <a:lnTo>
                    <a:pt x="312" y="132"/>
                  </a:lnTo>
                  <a:lnTo>
                    <a:pt x="306" y="126"/>
                  </a:lnTo>
                  <a:lnTo>
                    <a:pt x="294" y="102"/>
                  </a:lnTo>
                  <a:lnTo>
                    <a:pt x="294" y="90"/>
                  </a:lnTo>
                  <a:lnTo>
                    <a:pt x="306" y="66"/>
                  </a:lnTo>
                  <a:lnTo>
                    <a:pt x="318" y="60"/>
                  </a:lnTo>
                  <a:lnTo>
                    <a:pt x="324" y="54"/>
                  </a:lnTo>
                  <a:lnTo>
                    <a:pt x="330" y="54"/>
                  </a:lnTo>
                  <a:lnTo>
                    <a:pt x="312" y="36"/>
                  </a:lnTo>
                  <a:lnTo>
                    <a:pt x="288" y="24"/>
                  </a:lnTo>
                  <a:lnTo>
                    <a:pt x="270" y="0"/>
                  </a:lnTo>
                  <a:close/>
                </a:path>
              </a:pathLst>
            </a:custGeom>
            <a:solidFill>
              <a:schemeClr val="accent2"/>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30" name="Kolombia" descr="© INSCALE GmbH, 05.05.2010&#10;http://www.presentationload.com/">
              <a:extLst>
                <a:ext uri="{FF2B5EF4-FFF2-40B4-BE49-F238E27FC236}">
                  <a16:creationId xmlns:a16="http://schemas.microsoft.com/office/drawing/2014/main" id="{93172141-EA31-45A4-A7B6-2D9990408D7D}"/>
                </a:ext>
              </a:extLst>
            </p:cNvPr>
            <p:cNvSpPr>
              <a:spLocks/>
            </p:cNvSpPr>
            <p:nvPr/>
          </p:nvSpPr>
          <p:spPr bwMode="gray">
            <a:xfrm>
              <a:off x="1890222" y="3852784"/>
              <a:ext cx="344965" cy="534697"/>
            </a:xfrm>
            <a:custGeom>
              <a:avLst/>
              <a:gdLst>
                <a:gd name="T0" fmla="*/ 2147483647 w 870"/>
                <a:gd name="T1" fmla="*/ 2147483647 h 1344"/>
                <a:gd name="T2" fmla="*/ 2147483647 w 870"/>
                <a:gd name="T3" fmla="*/ 2147483647 h 1344"/>
                <a:gd name="T4" fmla="*/ 2147483647 w 870"/>
                <a:gd name="T5" fmla="*/ 2147483647 h 1344"/>
                <a:gd name="T6" fmla="*/ 2147483647 w 870"/>
                <a:gd name="T7" fmla="*/ 2147483647 h 1344"/>
                <a:gd name="T8" fmla="*/ 2147483647 w 870"/>
                <a:gd name="T9" fmla="*/ 2147483647 h 1344"/>
                <a:gd name="T10" fmla="*/ 2147483647 w 870"/>
                <a:gd name="T11" fmla="*/ 2147483647 h 1344"/>
                <a:gd name="T12" fmla="*/ 2147483647 w 870"/>
                <a:gd name="T13" fmla="*/ 2147483647 h 1344"/>
                <a:gd name="T14" fmla="*/ 2147483647 w 870"/>
                <a:gd name="T15" fmla="*/ 2147483647 h 1344"/>
                <a:gd name="T16" fmla="*/ 2147483647 w 870"/>
                <a:gd name="T17" fmla="*/ 2147483647 h 1344"/>
                <a:gd name="T18" fmla="*/ 2147483647 w 870"/>
                <a:gd name="T19" fmla="*/ 2147483647 h 1344"/>
                <a:gd name="T20" fmla="*/ 2147483647 w 870"/>
                <a:gd name="T21" fmla="*/ 2147483647 h 1344"/>
                <a:gd name="T22" fmla="*/ 2147483647 w 870"/>
                <a:gd name="T23" fmla="*/ 2147483647 h 1344"/>
                <a:gd name="T24" fmla="*/ 2147483647 w 870"/>
                <a:gd name="T25" fmla="*/ 2147483647 h 1344"/>
                <a:gd name="T26" fmla="*/ 2147483647 w 870"/>
                <a:gd name="T27" fmla="*/ 2147483647 h 1344"/>
                <a:gd name="T28" fmla="*/ 2147483647 w 870"/>
                <a:gd name="T29" fmla="*/ 2147483647 h 1344"/>
                <a:gd name="T30" fmla="*/ 2147483647 w 870"/>
                <a:gd name="T31" fmla="*/ 2147483647 h 1344"/>
                <a:gd name="T32" fmla="*/ 2147483647 w 870"/>
                <a:gd name="T33" fmla="*/ 2147483647 h 1344"/>
                <a:gd name="T34" fmla="*/ 2147483647 w 870"/>
                <a:gd name="T35" fmla="*/ 2147483647 h 1344"/>
                <a:gd name="T36" fmla="*/ 2147483647 w 870"/>
                <a:gd name="T37" fmla="*/ 2147483647 h 1344"/>
                <a:gd name="T38" fmla="*/ 2147483647 w 870"/>
                <a:gd name="T39" fmla="*/ 2147483647 h 1344"/>
                <a:gd name="T40" fmla="*/ 2147483647 w 870"/>
                <a:gd name="T41" fmla="*/ 2147483647 h 1344"/>
                <a:gd name="T42" fmla="*/ 2147483647 w 870"/>
                <a:gd name="T43" fmla="*/ 2147483647 h 1344"/>
                <a:gd name="T44" fmla="*/ 2147483647 w 870"/>
                <a:gd name="T45" fmla="*/ 2147483647 h 1344"/>
                <a:gd name="T46" fmla="*/ 2147483647 w 870"/>
                <a:gd name="T47" fmla="*/ 2147483647 h 1344"/>
                <a:gd name="T48" fmla="*/ 2147483647 w 870"/>
                <a:gd name="T49" fmla="*/ 2147483647 h 1344"/>
                <a:gd name="T50" fmla="*/ 2147483647 w 870"/>
                <a:gd name="T51" fmla="*/ 2147483647 h 1344"/>
                <a:gd name="T52" fmla="*/ 2147483647 w 870"/>
                <a:gd name="T53" fmla="*/ 2147483647 h 1344"/>
                <a:gd name="T54" fmla="*/ 2147483647 w 870"/>
                <a:gd name="T55" fmla="*/ 2147483647 h 1344"/>
                <a:gd name="T56" fmla="*/ 2147483647 w 870"/>
                <a:gd name="T57" fmla="*/ 2147483647 h 1344"/>
                <a:gd name="T58" fmla="*/ 2147483647 w 870"/>
                <a:gd name="T59" fmla="*/ 2147483647 h 1344"/>
                <a:gd name="T60" fmla="*/ 2147483647 w 870"/>
                <a:gd name="T61" fmla="*/ 2147483647 h 1344"/>
                <a:gd name="T62" fmla="*/ 2147483647 w 870"/>
                <a:gd name="T63" fmla="*/ 2147483647 h 1344"/>
                <a:gd name="T64" fmla="*/ 2147483647 w 870"/>
                <a:gd name="T65" fmla="*/ 2147483647 h 1344"/>
                <a:gd name="T66" fmla="*/ 2147483647 w 870"/>
                <a:gd name="T67" fmla="*/ 2147483647 h 1344"/>
                <a:gd name="T68" fmla="*/ 2147483647 w 870"/>
                <a:gd name="T69" fmla="*/ 2147483647 h 1344"/>
                <a:gd name="T70" fmla="*/ 2147483647 w 870"/>
                <a:gd name="T71" fmla="*/ 2147483647 h 1344"/>
                <a:gd name="T72" fmla="*/ 2147483647 w 870"/>
                <a:gd name="T73" fmla="*/ 0 h 1344"/>
                <a:gd name="T74" fmla="*/ 2147483647 w 870"/>
                <a:gd name="T75" fmla="*/ 2147483647 h 1344"/>
                <a:gd name="T76" fmla="*/ 2147483647 w 870"/>
                <a:gd name="T77" fmla="*/ 2147483647 h 1344"/>
                <a:gd name="T78" fmla="*/ 2147483647 w 870"/>
                <a:gd name="T79" fmla="*/ 2147483647 h 1344"/>
                <a:gd name="T80" fmla="*/ 2147483647 w 870"/>
                <a:gd name="T81" fmla="*/ 2147483647 h 1344"/>
                <a:gd name="T82" fmla="*/ 2147483647 w 870"/>
                <a:gd name="T83" fmla="*/ 2147483647 h 1344"/>
                <a:gd name="T84" fmla="*/ 2147483647 w 870"/>
                <a:gd name="T85" fmla="*/ 2147483647 h 1344"/>
                <a:gd name="T86" fmla="*/ 2147483647 w 870"/>
                <a:gd name="T87" fmla="*/ 2147483647 h 1344"/>
                <a:gd name="T88" fmla="*/ 2147483647 w 870"/>
                <a:gd name="T89" fmla="*/ 2147483647 h 1344"/>
                <a:gd name="T90" fmla="*/ 2147483647 w 870"/>
                <a:gd name="T91" fmla="*/ 2147483647 h 1344"/>
                <a:gd name="T92" fmla="*/ 2147483647 w 870"/>
                <a:gd name="T93" fmla="*/ 2147483647 h 1344"/>
                <a:gd name="T94" fmla="*/ 2147483647 w 870"/>
                <a:gd name="T95" fmla="*/ 2147483647 h 1344"/>
                <a:gd name="T96" fmla="*/ 2147483647 w 870"/>
                <a:gd name="T97" fmla="*/ 2147483647 h 1344"/>
                <a:gd name="T98" fmla="*/ 2147483647 w 870"/>
                <a:gd name="T99" fmla="*/ 2147483647 h 1344"/>
                <a:gd name="T100" fmla="*/ 2147483647 w 870"/>
                <a:gd name="T101" fmla="*/ 2147483647 h 1344"/>
                <a:gd name="T102" fmla="*/ 2147483647 w 870"/>
                <a:gd name="T103" fmla="*/ 2147483647 h 1344"/>
                <a:gd name="T104" fmla="*/ 2147483647 w 870"/>
                <a:gd name="T105" fmla="*/ 2147483647 h 1344"/>
                <a:gd name="T106" fmla="*/ 2147483647 w 870"/>
                <a:gd name="T107" fmla="*/ 2147483647 h 13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0"/>
                <a:gd name="T163" fmla="*/ 0 h 1344"/>
                <a:gd name="T164" fmla="*/ 870 w 870"/>
                <a:gd name="T165" fmla="*/ 1344 h 134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0" h="1344">
                  <a:moveTo>
                    <a:pt x="36" y="912"/>
                  </a:moveTo>
                  <a:lnTo>
                    <a:pt x="60" y="924"/>
                  </a:lnTo>
                  <a:lnTo>
                    <a:pt x="66" y="936"/>
                  </a:lnTo>
                  <a:lnTo>
                    <a:pt x="84" y="936"/>
                  </a:lnTo>
                  <a:lnTo>
                    <a:pt x="96" y="942"/>
                  </a:lnTo>
                  <a:lnTo>
                    <a:pt x="102" y="948"/>
                  </a:lnTo>
                  <a:lnTo>
                    <a:pt x="108" y="960"/>
                  </a:lnTo>
                  <a:lnTo>
                    <a:pt x="108" y="966"/>
                  </a:lnTo>
                  <a:lnTo>
                    <a:pt x="114" y="972"/>
                  </a:lnTo>
                  <a:lnTo>
                    <a:pt x="126" y="978"/>
                  </a:lnTo>
                  <a:lnTo>
                    <a:pt x="138" y="978"/>
                  </a:lnTo>
                  <a:lnTo>
                    <a:pt x="144" y="972"/>
                  </a:lnTo>
                  <a:lnTo>
                    <a:pt x="156" y="978"/>
                  </a:lnTo>
                  <a:lnTo>
                    <a:pt x="162" y="984"/>
                  </a:lnTo>
                  <a:lnTo>
                    <a:pt x="186" y="984"/>
                  </a:lnTo>
                  <a:lnTo>
                    <a:pt x="186" y="972"/>
                  </a:lnTo>
                  <a:lnTo>
                    <a:pt x="192" y="966"/>
                  </a:lnTo>
                  <a:lnTo>
                    <a:pt x="198" y="966"/>
                  </a:lnTo>
                  <a:lnTo>
                    <a:pt x="210" y="972"/>
                  </a:lnTo>
                  <a:lnTo>
                    <a:pt x="210" y="978"/>
                  </a:lnTo>
                  <a:lnTo>
                    <a:pt x="216" y="984"/>
                  </a:lnTo>
                  <a:lnTo>
                    <a:pt x="216" y="990"/>
                  </a:lnTo>
                  <a:lnTo>
                    <a:pt x="228" y="1002"/>
                  </a:lnTo>
                  <a:lnTo>
                    <a:pt x="264" y="1002"/>
                  </a:lnTo>
                  <a:lnTo>
                    <a:pt x="276" y="1008"/>
                  </a:lnTo>
                  <a:lnTo>
                    <a:pt x="282" y="1014"/>
                  </a:lnTo>
                  <a:lnTo>
                    <a:pt x="294" y="1020"/>
                  </a:lnTo>
                  <a:lnTo>
                    <a:pt x="312" y="1038"/>
                  </a:lnTo>
                  <a:lnTo>
                    <a:pt x="324" y="1044"/>
                  </a:lnTo>
                  <a:lnTo>
                    <a:pt x="330" y="1050"/>
                  </a:lnTo>
                  <a:lnTo>
                    <a:pt x="342" y="1086"/>
                  </a:lnTo>
                  <a:lnTo>
                    <a:pt x="360" y="1086"/>
                  </a:lnTo>
                  <a:lnTo>
                    <a:pt x="372" y="1104"/>
                  </a:lnTo>
                  <a:lnTo>
                    <a:pt x="384" y="1104"/>
                  </a:lnTo>
                  <a:lnTo>
                    <a:pt x="390" y="1110"/>
                  </a:lnTo>
                  <a:lnTo>
                    <a:pt x="390" y="1134"/>
                  </a:lnTo>
                  <a:lnTo>
                    <a:pt x="396" y="1140"/>
                  </a:lnTo>
                  <a:lnTo>
                    <a:pt x="396" y="1146"/>
                  </a:lnTo>
                  <a:lnTo>
                    <a:pt x="408" y="1146"/>
                  </a:lnTo>
                  <a:lnTo>
                    <a:pt x="420" y="1152"/>
                  </a:lnTo>
                  <a:lnTo>
                    <a:pt x="426" y="1158"/>
                  </a:lnTo>
                  <a:lnTo>
                    <a:pt x="426" y="1164"/>
                  </a:lnTo>
                  <a:lnTo>
                    <a:pt x="420" y="1170"/>
                  </a:lnTo>
                  <a:lnTo>
                    <a:pt x="420" y="1194"/>
                  </a:lnTo>
                  <a:lnTo>
                    <a:pt x="432" y="1200"/>
                  </a:lnTo>
                  <a:lnTo>
                    <a:pt x="456" y="1206"/>
                  </a:lnTo>
                  <a:lnTo>
                    <a:pt x="492" y="1206"/>
                  </a:lnTo>
                  <a:lnTo>
                    <a:pt x="492" y="1194"/>
                  </a:lnTo>
                  <a:lnTo>
                    <a:pt x="504" y="1182"/>
                  </a:lnTo>
                  <a:lnTo>
                    <a:pt x="528" y="1182"/>
                  </a:lnTo>
                  <a:lnTo>
                    <a:pt x="534" y="1188"/>
                  </a:lnTo>
                  <a:lnTo>
                    <a:pt x="540" y="1188"/>
                  </a:lnTo>
                  <a:lnTo>
                    <a:pt x="546" y="1194"/>
                  </a:lnTo>
                  <a:lnTo>
                    <a:pt x="558" y="1194"/>
                  </a:lnTo>
                  <a:lnTo>
                    <a:pt x="570" y="1188"/>
                  </a:lnTo>
                  <a:lnTo>
                    <a:pt x="576" y="1182"/>
                  </a:lnTo>
                  <a:lnTo>
                    <a:pt x="588" y="1182"/>
                  </a:lnTo>
                  <a:lnTo>
                    <a:pt x="588" y="1188"/>
                  </a:lnTo>
                  <a:lnTo>
                    <a:pt x="594" y="1200"/>
                  </a:lnTo>
                  <a:lnTo>
                    <a:pt x="600" y="1206"/>
                  </a:lnTo>
                  <a:lnTo>
                    <a:pt x="624" y="1206"/>
                  </a:lnTo>
                  <a:lnTo>
                    <a:pt x="636" y="1212"/>
                  </a:lnTo>
                  <a:lnTo>
                    <a:pt x="642" y="1218"/>
                  </a:lnTo>
                  <a:lnTo>
                    <a:pt x="642" y="1236"/>
                  </a:lnTo>
                  <a:lnTo>
                    <a:pt x="636" y="1248"/>
                  </a:lnTo>
                  <a:lnTo>
                    <a:pt x="630" y="1254"/>
                  </a:lnTo>
                  <a:lnTo>
                    <a:pt x="624" y="1254"/>
                  </a:lnTo>
                  <a:lnTo>
                    <a:pt x="618" y="1260"/>
                  </a:lnTo>
                  <a:lnTo>
                    <a:pt x="618" y="1266"/>
                  </a:lnTo>
                  <a:lnTo>
                    <a:pt x="606" y="1290"/>
                  </a:lnTo>
                  <a:lnTo>
                    <a:pt x="606" y="1308"/>
                  </a:lnTo>
                  <a:lnTo>
                    <a:pt x="612" y="1314"/>
                  </a:lnTo>
                  <a:lnTo>
                    <a:pt x="630" y="1314"/>
                  </a:lnTo>
                  <a:lnTo>
                    <a:pt x="642" y="1332"/>
                  </a:lnTo>
                  <a:lnTo>
                    <a:pt x="660" y="1344"/>
                  </a:lnTo>
                  <a:lnTo>
                    <a:pt x="660" y="1308"/>
                  </a:lnTo>
                  <a:lnTo>
                    <a:pt x="666" y="1236"/>
                  </a:lnTo>
                  <a:lnTo>
                    <a:pt x="684" y="1188"/>
                  </a:lnTo>
                  <a:lnTo>
                    <a:pt x="678" y="1140"/>
                  </a:lnTo>
                  <a:lnTo>
                    <a:pt x="690" y="1128"/>
                  </a:lnTo>
                  <a:lnTo>
                    <a:pt x="696" y="1116"/>
                  </a:lnTo>
                  <a:lnTo>
                    <a:pt x="696" y="1104"/>
                  </a:lnTo>
                  <a:lnTo>
                    <a:pt x="690" y="1092"/>
                  </a:lnTo>
                  <a:lnTo>
                    <a:pt x="678" y="1080"/>
                  </a:lnTo>
                  <a:lnTo>
                    <a:pt x="678" y="1074"/>
                  </a:lnTo>
                  <a:lnTo>
                    <a:pt x="672" y="1068"/>
                  </a:lnTo>
                  <a:lnTo>
                    <a:pt x="672" y="1044"/>
                  </a:lnTo>
                  <a:lnTo>
                    <a:pt x="666" y="1038"/>
                  </a:lnTo>
                  <a:lnTo>
                    <a:pt x="654" y="1032"/>
                  </a:lnTo>
                  <a:lnTo>
                    <a:pt x="642" y="1020"/>
                  </a:lnTo>
                  <a:lnTo>
                    <a:pt x="636" y="1020"/>
                  </a:lnTo>
                  <a:lnTo>
                    <a:pt x="642" y="954"/>
                  </a:lnTo>
                  <a:lnTo>
                    <a:pt x="672" y="948"/>
                  </a:lnTo>
                  <a:lnTo>
                    <a:pt x="678" y="954"/>
                  </a:lnTo>
                  <a:lnTo>
                    <a:pt x="708" y="954"/>
                  </a:lnTo>
                  <a:lnTo>
                    <a:pt x="714" y="948"/>
                  </a:lnTo>
                  <a:lnTo>
                    <a:pt x="714" y="942"/>
                  </a:lnTo>
                  <a:lnTo>
                    <a:pt x="708" y="936"/>
                  </a:lnTo>
                  <a:lnTo>
                    <a:pt x="708" y="930"/>
                  </a:lnTo>
                  <a:lnTo>
                    <a:pt x="696" y="918"/>
                  </a:lnTo>
                  <a:lnTo>
                    <a:pt x="684" y="924"/>
                  </a:lnTo>
                  <a:lnTo>
                    <a:pt x="660" y="912"/>
                  </a:lnTo>
                  <a:lnTo>
                    <a:pt x="660" y="900"/>
                  </a:lnTo>
                  <a:lnTo>
                    <a:pt x="654" y="888"/>
                  </a:lnTo>
                  <a:lnTo>
                    <a:pt x="654" y="876"/>
                  </a:lnTo>
                  <a:lnTo>
                    <a:pt x="660" y="864"/>
                  </a:lnTo>
                  <a:lnTo>
                    <a:pt x="666" y="858"/>
                  </a:lnTo>
                  <a:lnTo>
                    <a:pt x="684" y="858"/>
                  </a:lnTo>
                  <a:lnTo>
                    <a:pt x="696" y="870"/>
                  </a:lnTo>
                  <a:lnTo>
                    <a:pt x="762" y="864"/>
                  </a:lnTo>
                  <a:lnTo>
                    <a:pt x="762" y="846"/>
                  </a:lnTo>
                  <a:lnTo>
                    <a:pt x="768" y="840"/>
                  </a:lnTo>
                  <a:lnTo>
                    <a:pt x="774" y="840"/>
                  </a:lnTo>
                  <a:lnTo>
                    <a:pt x="798" y="864"/>
                  </a:lnTo>
                  <a:lnTo>
                    <a:pt x="828" y="834"/>
                  </a:lnTo>
                  <a:lnTo>
                    <a:pt x="834" y="834"/>
                  </a:lnTo>
                  <a:lnTo>
                    <a:pt x="834" y="846"/>
                  </a:lnTo>
                  <a:lnTo>
                    <a:pt x="840" y="852"/>
                  </a:lnTo>
                  <a:lnTo>
                    <a:pt x="840" y="864"/>
                  </a:lnTo>
                  <a:lnTo>
                    <a:pt x="846" y="876"/>
                  </a:lnTo>
                  <a:lnTo>
                    <a:pt x="846" y="906"/>
                  </a:lnTo>
                  <a:lnTo>
                    <a:pt x="870" y="906"/>
                  </a:lnTo>
                  <a:lnTo>
                    <a:pt x="864" y="900"/>
                  </a:lnTo>
                  <a:lnTo>
                    <a:pt x="864" y="882"/>
                  </a:lnTo>
                  <a:lnTo>
                    <a:pt x="858" y="870"/>
                  </a:lnTo>
                  <a:lnTo>
                    <a:pt x="858" y="852"/>
                  </a:lnTo>
                  <a:lnTo>
                    <a:pt x="852" y="846"/>
                  </a:lnTo>
                  <a:lnTo>
                    <a:pt x="852" y="828"/>
                  </a:lnTo>
                  <a:lnTo>
                    <a:pt x="846" y="822"/>
                  </a:lnTo>
                  <a:lnTo>
                    <a:pt x="846" y="798"/>
                  </a:lnTo>
                  <a:lnTo>
                    <a:pt x="834" y="798"/>
                  </a:lnTo>
                  <a:lnTo>
                    <a:pt x="822" y="786"/>
                  </a:lnTo>
                  <a:lnTo>
                    <a:pt x="798" y="774"/>
                  </a:lnTo>
                  <a:lnTo>
                    <a:pt x="804" y="774"/>
                  </a:lnTo>
                  <a:lnTo>
                    <a:pt x="834" y="744"/>
                  </a:lnTo>
                  <a:lnTo>
                    <a:pt x="840" y="732"/>
                  </a:lnTo>
                  <a:lnTo>
                    <a:pt x="840" y="726"/>
                  </a:lnTo>
                  <a:lnTo>
                    <a:pt x="834" y="714"/>
                  </a:lnTo>
                  <a:lnTo>
                    <a:pt x="822" y="708"/>
                  </a:lnTo>
                  <a:lnTo>
                    <a:pt x="816" y="696"/>
                  </a:lnTo>
                  <a:lnTo>
                    <a:pt x="816" y="672"/>
                  </a:lnTo>
                  <a:lnTo>
                    <a:pt x="804" y="672"/>
                  </a:lnTo>
                  <a:lnTo>
                    <a:pt x="798" y="666"/>
                  </a:lnTo>
                  <a:lnTo>
                    <a:pt x="798" y="654"/>
                  </a:lnTo>
                  <a:lnTo>
                    <a:pt x="804" y="642"/>
                  </a:lnTo>
                  <a:lnTo>
                    <a:pt x="804" y="612"/>
                  </a:lnTo>
                  <a:lnTo>
                    <a:pt x="798" y="600"/>
                  </a:lnTo>
                  <a:lnTo>
                    <a:pt x="798" y="576"/>
                  </a:lnTo>
                  <a:lnTo>
                    <a:pt x="810" y="564"/>
                  </a:lnTo>
                  <a:lnTo>
                    <a:pt x="816" y="564"/>
                  </a:lnTo>
                  <a:lnTo>
                    <a:pt x="822" y="558"/>
                  </a:lnTo>
                  <a:lnTo>
                    <a:pt x="822" y="534"/>
                  </a:lnTo>
                  <a:lnTo>
                    <a:pt x="840" y="516"/>
                  </a:lnTo>
                  <a:lnTo>
                    <a:pt x="840" y="504"/>
                  </a:lnTo>
                  <a:lnTo>
                    <a:pt x="834" y="498"/>
                  </a:lnTo>
                  <a:lnTo>
                    <a:pt x="816" y="498"/>
                  </a:lnTo>
                  <a:lnTo>
                    <a:pt x="804" y="504"/>
                  </a:lnTo>
                  <a:lnTo>
                    <a:pt x="798" y="510"/>
                  </a:lnTo>
                  <a:lnTo>
                    <a:pt x="774" y="504"/>
                  </a:lnTo>
                  <a:lnTo>
                    <a:pt x="768" y="510"/>
                  </a:lnTo>
                  <a:lnTo>
                    <a:pt x="744" y="510"/>
                  </a:lnTo>
                  <a:lnTo>
                    <a:pt x="738" y="504"/>
                  </a:lnTo>
                  <a:lnTo>
                    <a:pt x="720" y="504"/>
                  </a:lnTo>
                  <a:lnTo>
                    <a:pt x="720" y="510"/>
                  </a:lnTo>
                  <a:lnTo>
                    <a:pt x="696" y="510"/>
                  </a:lnTo>
                  <a:lnTo>
                    <a:pt x="672" y="486"/>
                  </a:lnTo>
                  <a:lnTo>
                    <a:pt x="666" y="468"/>
                  </a:lnTo>
                  <a:lnTo>
                    <a:pt x="660" y="456"/>
                  </a:lnTo>
                  <a:lnTo>
                    <a:pt x="654" y="450"/>
                  </a:lnTo>
                  <a:lnTo>
                    <a:pt x="654" y="444"/>
                  </a:lnTo>
                  <a:lnTo>
                    <a:pt x="630" y="444"/>
                  </a:lnTo>
                  <a:lnTo>
                    <a:pt x="618" y="438"/>
                  </a:lnTo>
                  <a:lnTo>
                    <a:pt x="612" y="432"/>
                  </a:lnTo>
                  <a:lnTo>
                    <a:pt x="600" y="432"/>
                  </a:lnTo>
                  <a:lnTo>
                    <a:pt x="600" y="438"/>
                  </a:lnTo>
                  <a:lnTo>
                    <a:pt x="594" y="444"/>
                  </a:lnTo>
                  <a:lnTo>
                    <a:pt x="582" y="444"/>
                  </a:lnTo>
                  <a:lnTo>
                    <a:pt x="570" y="438"/>
                  </a:lnTo>
                  <a:lnTo>
                    <a:pt x="564" y="438"/>
                  </a:lnTo>
                  <a:lnTo>
                    <a:pt x="552" y="432"/>
                  </a:lnTo>
                  <a:lnTo>
                    <a:pt x="540" y="432"/>
                  </a:lnTo>
                  <a:lnTo>
                    <a:pt x="534" y="438"/>
                  </a:lnTo>
                  <a:lnTo>
                    <a:pt x="510" y="438"/>
                  </a:lnTo>
                  <a:lnTo>
                    <a:pt x="504" y="432"/>
                  </a:lnTo>
                  <a:lnTo>
                    <a:pt x="498" y="420"/>
                  </a:lnTo>
                  <a:lnTo>
                    <a:pt x="498" y="408"/>
                  </a:lnTo>
                  <a:lnTo>
                    <a:pt x="486" y="408"/>
                  </a:lnTo>
                  <a:lnTo>
                    <a:pt x="486" y="366"/>
                  </a:lnTo>
                  <a:lnTo>
                    <a:pt x="498" y="342"/>
                  </a:lnTo>
                  <a:lnTo>
                    <a:pt x="498" y="330"/>
                  </a:lnTo>
                  <a:lnTo>
                    <a:pt x="492" y="324"/>
                  </a:lnTo>
                  <a:lnTo>
                    <a:pt x="480" y="318"/>
                  </a:lnTo>
                  <a:lnTo>
                    <a:pt x="474" y="312"/>
                  </a:lnTo>
                  <a:lnTo>
                    <a:pt x="474" y="276"/>
                  </a:lnTo>
                  <a:lnTo>
                    <a:pt x="468" y="264"/>
                  </a:lnTo>
                  <a:lnTo>
                    <a:pt x="456" y="252"/>
                  </a:lnTo>
                  <a:lnTo>
                    <a:pt x="450" y="252"/>
                  </a:lnTo>
                  <a:lnTo>
                    <a:pt x="438" y="264"/>
                  </a:lnTo>
                  <a:lnTo>
                    <a:pt x="438" y="270"/>
                  </a:lnTo>
                  <a:lnTo>
                    <a:pt x="432" y="264"/>
                  </a:lnTo>
                  <a:lnTo>
                    <a:pt x="432" y="252"/>
                  </a:lnTo>
                  <a:lnTo>
                    <a:pt x="438" y="240"/>
                  </a:lnTo>
                  <a:lnTo>
                    <a:pt x="462" y="216"/>
                  </a:lnTo>
                  <a:lnTo>
                    <a:pt x="462" y="192"/>
                  </a:lnTo>
                  <a:lnTo>
                    <a:pt x="468" y="186"/>
                  </a:lnTo>
                  <a:lnTo>
                    <a:pt x="468" y="168"/>
                  </a:lnTo>
                  <a:lnTo>
                    <a:pt x="480" y="132"/>
                  </a:lnTo>
                  <a:lnTo>
                    <a:pt x="504" y="108"/>
                  </a:lnTo>
                  <a:lnTo>
                    <a:pt x="522" y="102"/>
                  </a:lnTo>
                  <a:lnTo>
                    <a:pt x="534" y="90"/>
                  </a:lnTo>
                  <a:lnTo>
                    <a:pt x="540" y="78"/>
                  </a:lnTo>
                  <a:lnTo>
                    <a:pt x="540" y="72"/>
                  </a:lnTo>
                  <a:lnTo>
                    <a:pt x="546" y="66"/>
                  </a:lnTo>
                  <a:lnTo>
                    <a:pt x="558" y="66"/>
                  </a:lnTo>
                  <a:lnTo>
                    <a:pt x="564" y="60"/>
                  </a:lnTo>
                  <a:lnTo>
                    <a:pt x="570" y="60"/>
                  </a:lnTo>
                  <a:lnTo>
                    <a:pt x="576" y="54"/>
                  </a:lnTo>
                  <a:lnTo>
                    <a:pt x="582" y="54"/>
                  </a:lnTo>
                  <a:lnTo>
                    <a:pt x="600" y="36"/>
                  </a:lnTo>
                  <a:lnTo>
                    <a:pt x="600" y="12"/>
                  </a:lnTo>
                  <a:lnTo>
                    <a:pt x="594" y="6"/>
                  </a:lnTo>
                  <a:lnTo>
                    <a:pt x="582" y="0"/>
                  </a:lnTo>
                  <a:lnTo>
                    <a:pt x="570" y="6"/>
                  </a:lnTo>
                  <a:lnTo>
                    <a:pt x="546" y="6"/>
                  </a:lnTo>
                  <a:lnTo>
                    <a:pt x="540" y="12"/>
                  </a:lnTo>
                  <a:lnTo>
                    <a:pt x="534" y="12"/>
                  </a:lnTo>
                  <a:lnTo>
                    <a:pt x="522" y="24"/>
                  </a:lnTo>
                  <a:lnTo>
                    <a:pt x="522" y="36"/>
                  </a:lnTo>
                  <a:lnTo>
                    <a:pt x="516" y="48"/>
                  </a:lnTo>
                  <a:lnTo>
                    <a:pt x="504" y="60"/>
                  </a:lnTo>
                  <a:lnTo>
                    <a:pt x="492" y="60"/>
                  </a:lnTo>
                  <a:lnTo>
                    <a:pt x="480" y="54"/>
                  </a:lnTo>
                  <a:lnTo>
                    <a:pt x="474" y="54"/>
                  </a:lnTo>
                  <a:lnTo>
                    <a:pt x="444" y="84"/>
                  </a:lnTo>
                  <a:lnTo>
                    <a:pt x="444" y="90"/>
                  </a:lnTo>
                  <a:lnTo>
                    <a:pt x="408" y="102"/>
                  </a:lnTo>
                  <a:lnTo>
                    <a:pt x="402" y="96"/>
                  </a:lnTo>
                  <a:lnTo>
                    <a:pt x="390" y="90"/>
                  </a:lnTo>
                  <a:lnTo>
                    <a:pt x="384" y="90"/>
                  </a:lnTo>
                  <a:lnTo>
                    <a:pt x="378" y="102"/>
                  </a:lnTo>
                  <a:lnTo>
                    <a:pt x="378" y="120"/>
                  </a:lnTo>
                  <a:lnTo>
                    <a:pt x="372" y="132"/>
                  </a:lnTo>
                  <a:lnTo>
                    <a:pt x="366" y="138"/>
                  </a:lnTo>
                  <a:lnTo>
                    <a:pt x="354" y="138"/>
                  </a:lnTo>
                  <a:lnTo>
                    <a:pt x="354" y="132"/>
                  </a:lnTo>
                  <a:lnTo>
                    <a:pt x="360" y="126"/>
                  </a:lnTo>
                  <a:lnTo>
                    <a:pt x="354" y="120"/>
                  </a:lnTo>
                  <a:lnTo>
                    <a:pt x="342" y="120"/>
                  </a:lnTo>
                  <a:lnTo>
                    <a:pt x="330" y="126"/>
                  </a:lnTo>
                  <a:lnTo>
                    <a:pt x="318" y="126"/>
                  </a:lnTo>
                  <a:lnTo>
                    <a:pt x="312" y="132"/>
                  </a:lnTo>
                  <a:lnTo>
                    <a:pt x="306" y="132"/>
                  </a:lnTo>
                  <a:lnTo>
                    <a:pt x="300" y="144"/>
                  </a:lnTo>
                  <a:lnTo>
                    <a:pt x="288" y="150"/>
                  </a:lnTo>
                  <a:lnTo>
                    <a:pt x="282" y="162"/>
                  </a:lnTo>
                  <a:lnTo>
                    <a:pt x="276" y="168"/>
                  </a:lnTo>
                  <a:lnTo>
                    <a:pt x="276" y="186"/>
                  </a:lnTo>
                  <a:lnTo>
                    <a:pt x="282" y="192"/>
                  </a:lnTo>
                  <a:lnTo>
                    <a:pt x="264" y="222"/>
                  </a:lnTo>
                  <a:lnTo>
                    <a:pt x="276" y="246"/>
                  </a:lnTo>
                  <a:lnTo>
                    <a:pt x="252" y="246"/>
                  </a:lnTo>
                  <a:lnTo>
                    <a:pt x="240" y="252"/>
                  </a:lnTo>
                  <a:lnTo>
                    <a:pt x="228" y="264"/>
                  </a:lnTo>
                  <a:lnTo>
                    <a:pt x="228" y="276"/>
                  </a:lnTo>
                  <a:lnTo>
                    <a:pt x="222" y="288"/>
                  </a:lnTo>
                  <a:lnTo>
                    <a:pt x="216" y="294"/>
                  </a:lnTo>
                  <a:lnTo>
                    <a:pt x="204" y="294"/>
                  </a:lnTo>
                  <a:lnTo>
                    <a:pt x="198" y="300"/>
                  </a:lnTo>
                  <a:lnTo>
                    <a:pt x="192" y="300"/>
                  </a:lnTo>
                  <a:lnTo>
                    <a:pt x="174" y="306"/>
                  </a:lnTo>
                  <a:lnTo>
                    <a:pt x="186" y="330"/>
                  </a:lnTo>
                  <a:lnTo>
                    <a:pt x="186" y="366"/>
                  </a:lnTo>
                  <a:lnTo>
                    <a:pt x="168" y="366"/>
                  </a:lnTo>
                  <a:lnTo>
                    <a:pt x="168" y="360"/>
                  </a:lnTo>
                  <a:lnTo>
                    <a:pt x="174" y="354"/>
                  </a:lnTo>
                  <a:lnTo>
                    <a:pt x="174" y="342"/>
                  </a:lnTo>
                  <a:lnTo>
                    <a:pt x="144" y="312"/>
                  </a:lnTo>
                  <a:lnTo>
                    <a:pt x="138" y="312"/>
                  </a:lnTo>
                  <a:lnTo>
                    <a:pt x="132" y="318"/>
                  </a:lnTo>
                  <a:lnTo>
                    <a:pt x="132" y="336"/>
                  </a:lnTo>
                  <a:lnTo>
                    <a:pt x="138" y="348"/>
                  </a:lnTo>
                  <a:lnTo>
                    <a:pt x="150" y="354"/>
                  </a:lnTo>
                  <a:lnTo>
                    <a:pt x="150" y="366"/>
                  </a:lnTo>
                  <a:lnTo>
                    <a:pt x="138" y="390"/>
                  </a:lnTo>
                  <a:lnTo>
                    <a:pt x="132" y="396"/>
                  </a:lnTo>
                  <a:lnTo>
                    <a:pt x="120" y="390"/>
                  </a:lnTo>
                  <a:lnTo>
                    <a:pt x="114" y="384"/>
                  </a:lnTo>
                  <a:lnTo>
                    <a:pt x="102" y="414"/>
                  </a:lnTo>
                  <a:lnTo>
                    <a:pt x="114" y="438"/>
                  </a:lnTo>
                  <a:lnTo>
                    <a:pt x="114" y="450"/>
                  </a:lnTo>
                  <a:lnTo>
                    <a:pt x="126" y="462"/>
                  </a:lnTo>
                  <a:lnTo>
                    <a:pt x="132" y="474"/>
                  </a:lnTo>
                  <a:lnTo>
                    <a:pt x="132" y="480"/>
                  </a:lnTo>
                  <a:lnTo>
                    <a:pt x="120" y="492"/>
                  </a:lnTo>
                  <a:lnTo>
                    <a:pt x="114" y="492"/>
                  </a:lnTo>
                  <a:lnTo>
                    <a:pt x="132" y="516"/>
                  </a:lnTo>
                  <a:lnTo>
                    <a:pt x="138" y="552"/>
                  </a:lnTo>
                  <a:lnTo>
                    <a:pt x="114" y="558"/>
                  </a:lnTo>
                  <a:lnTo>
                    <a:pt x="132" y="576"/>
                  </a:lnTo>
                  <a:lnTo>
                    <a:pt x="132" y="636"/>
                  </a:lnTo>
                  <a:lnTo>
                    <a:pt x="120" y="642"/>
                  </a:lnTo>
                  <a:lnTo>
                    <a:pt x="114" y="654"/>
                  </a:lnTo>
                  <a:lnTo>
                    <a:pt x="114" y="678"/>
                  </a:lnTo>
                  <a:lnTo>
                    <a:pt x="138" y="702"/>
                  </a:lnTo>
                  <a:lnTo>
                    <a:pt x="138" y="720"/>
                  </a:lnTo>
                  <a:lnTo>
                    <a:pt x="132" y="732"/>
                  </a:lnTo>
                  <a:lnTo>
                    <a:pt x="120" y="738"/>
                  </a:lnTo>
                  <a:lnTo>
                    <a:pt x="114" y="750"/>
                  </a:lnTo>
                  <a:lnTo>
                    <a:pt x="102" y="756"/>
                  </a:lnTo>
                  <a:lnTo>
                    <a:pt x="96" y="762"/>
                  </a:lnTo>
                  <a:lnTo>
                    <a:pt x="114" y="774"/>
                  </a:lnTo>
                  <a:lnTo>
                    <a:pt x="84" y="798"/>
                  </a:lnTo>
                  <a:lnTo>
                    <a:pt x="66" y="798"/>
                  </a:lnTo>
                  <a:lnTo>
                    <a:pt x="54" y="804"/>
                  </a:lnTo>
                  <a:lnTo>
                    <a:pt x="36" y="810"/>
                  </a:lnTo>
                  <a:lnTo>
                    <a:pt x="30" y="822"/>
                  </a:lnTo>
                  <a:lnTo>
                    <a:pt x="30" y="846"/>
                  </a:lnTo>
                  <a:lnTo>
                    <a:pt x="36" y="852"/>
                  </a:lnTo>
                  <a:lnTo>
                    <a:pt x="36" y="858"/>
                  </a:lnTo>
                  <a:lnTo>
                    <a:pt x="6" y="858"/>
                  </a:lnTo>
                  <a:lnTo>
                    <a:pt x="0" y="864"/>
                  </a:lnTo>
                  <a:lnTo>
                    <a:pt x="0" y="876"/>
                  </a:lnTo>
                  <a:lnTo>
                    <a:pt x="6" y="888"/>
                  </a:lnTo>
                  <a:lnTo>
                    <a:pt x="18" y="894"/>
                  </a:lnTo>
                  <a:lnTo>
                    <a:pt x="24" y="906"/>
                  </a:lnTo>
                  <a:lnTo>
                    <a:pt x="36" y="912"/>
                  </a:lnTo>
                  <a:close/>
                </a:path>
              </a:pathLst>
            </a:custGeom>
            <a:solidFill>
              <a:schemeClr val="accent5"/>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31" name="Kenya" descr="© INSCALE GmbH, 05.05.2010&#10;http://www.presentationload.com/">
              <a:extLst>
                <a:ext uri="{FF2B5EF4-FFF2-40B4-BE49-F238E27FC236}">
                  <a16:creationId xmlns:a16="http://schemas.microsoft.com/office/drawing/2014/main" id="{99C86867-81C1-4DCB-BF18-33244C54A500}"/>
                </a:ext>
              </a:extLst>
            </p:cNvPr>
            <p:cNvSpPr>
              <a:spLocks/>
            </p:cNvSpPr>
            <p:nvPr/>
          </p:nvSpPr>
          <p:spPr bwMode="gray">
            <a:xfrm>
              <a:off x="5092125" y="4102099"/>
              <a:ext cx="222659" cy="302629"/>
            </a:xfrm>
            <a:custGeom>
              <a:avLst/>
              <a:gdLst>
                <a:gd name="T0" fmla="*/ 2147483647 w 564"/>
                <a:gd name="T1" fmla="*/ 2147483647 h 762"/>
                <a:gd name="T2" fmla="*/ 2147483647 w 564"/>
                <a:gd name="T3" fmla="*/ 2147483647 h 762"/>
                <a:gd name="T4" fmla="*/ 2147483647 w 564"/>
                <a:gd name="T5" fmla="*/ 2147483647 h 762"/>
                <a:gd name="T6" fmla="*/ 2147483647 w 564"/>
                <a:gd name="T7" fmla="*/ 2147483647 h 762"/>
                <a:gd name="T8" fmla="*/ 2147483647 w 564"/>
                <a:gd name="T9" fmla="*/ 2147483647 h 762"/>
                <a:gd name="T10" fmla="*/ 2147483647 w 564"/>
                <a:gd name="T11" fmla="*/ 2147483647 h 762"/>
                <a:gd name="T12" fmla="*/ 2147483647 w 564"/>
                <a:gd name="T13" fmla="*/ 2147483647 h 762"/>
                <a:gd name="T14" fmla="*/ 2147483647 w 564"/>
                <a:gd name="T15" fmla="*/ 2147483647 h 762"/>
                <a:gd name="T16" fmla="*/ 2147483647 w 564"/>
                <a:gd name="T17" fmla="*/ 2147483647 h 762"/>
                <a:gd name="T18" fmla="*/ 2147483647 w 564"/>
                <a:gd name="T19" fmla="*/ 2147483647 h 762"/>
                <a:gd name="T20" fmla="*/ 2147483647 w 564"/>
                <a:gd name="T21" fmla="*/ 2147483647 h 762"/>
                <a:gd name="T22" fmla="*/ 2147483647 w 564"/>
                <a:gd name="T23" fmla="*/ 2147483647 h 762"/>
                <a:gd name="T24" fmla="*/ 2147483647 w 564"/>
                <a:gd name="T25" fmla="*/ 0 h 762"/>
                <a:gd name="T26" fmla="*/ 2147483647 w 564"/>
                <a:gd name="T27" fmla="*/ 2147483647 h 762"/>
                <a:gd name="T28" fmla="*/ 2147483647 w 564"/>
                <a:gd name="T29" fmla="*/ 2147483647 h 762"/>
                <a:gd name="T30" fmla="*/ 2147483647 w 564"/>
                <a:gd name="T31" fmla="*/ 2147483647 h 762"/>
                <a:gd name="T32" fmla="*/ 2147483647 w 564"/>
                <a:gd name="T33" fmla="*/ 2147483647 h 762"/>
                <a:gd name="T34" fmla="*/ 2147483647 w 564"/>
                <a:gd name="T35" fmla="*/ 2147483647 h 762"/>
                <a:gd name="T36" fmla="*/ 2147483647 w 564"/>
                <a:gd name="T37" fmla="*/ 2147483647 h 762"/>
                <a:gd name="T38" fmla="*/ 2147483647 w 564"/>
                <a:gd name="T39" fmla="*/ 2147483647 h 762"/>
                <a:gd name="T40" fmla="*/ 2147483647 w 564"/>
                <a:gd name="T41" fmla="*/ 2147483647 h 762"/>
                <a:gd name="T42" fmla="*/ 2147483647 w 564"/>
                <a:gd name="T43" fmla="*/ 2147483647 h 762"/>
                <a:gd name="T44" fmla="*/ 2147483647 w 564"/>
                <a:gd name="T45" fmla="*/ 2147483647 h 762"/>
                <a:gd name="T46" fmla="*/ 2147483647 w 564"/>
                <a:gd name="T47" fmla="*/ 2147483647 h 762"/>
                <a:gd name="T48" fmla="*/ 2147483647 w 564"/>
                <a:gd name="T49" fmla="*/ 2147483647 h 762"/>
                <a:gd name="T50" fmla="*/ 2147483647 w 564"/>
                <a:gd name="T51" fmla="*/ 2147483647 h 762"/>
                <a:gd name="T52" fmla="*/ 2147483647 w 564"/>
                <a:gd name="T53" fmla="*/ 2147483647 h 762"/>
                <a:gd name="T54" fmla="*/ 2147483647 w 564"/>
                <a:gd name="T55" fmla="*/ 2147483647 h 762"/>
                <a:gd name="T56" fmla="*/ 2147483647 w 564"/>
                <a:gd name="T57" fmla="*/ 2147483647 h 762"/>
                <a:gd name="T58" fmla="*/ 0 w 564"/>
                <a:gd name="T59" fmla="*/ 2147483647 h 762"/>
                <a:gd name="T60" fmla="*/ 2147483647 w 564"/>
                <a:gd name="T61" fmla="*/ 2147483647 h 762"/>
                <a:gd name="T62" fmla="*/ 2147483647 w 564"/>
                <a:gd name="T63" fmla="*/ 2147483647 h 762"/>
                <a:gd name="T64" fmla="*/ 2147483647 w 564"/>
                <a:gd name="T65" fmla="*/ 2147483647 h 762"/>
                <a:gd name="T66" fmla="*/ 2147483647 w 564"/>
                <a:gd name="T67" fmla="*/ 2147483647 h 762"/>
                <a:gd name="T68" fmla="*/ 2147483647 w 564"/>
                <a:gd name="T69" fmla="*/ 2147483647 h 762"/>
                <a:gd name="T70" fmla="*/ 0 w 564"/>
                <a:gd name="T71" fmla="*/ 2147483647 h 762"/>
                <a:gd name="T72" fmla="*/ 2147483647 w 564"/>
                <a:gd name="T73" fmla="*/ 2147483647 h 762"/>
                <a:gd name="T74" fmla="*/ 2147483647 w 564"/>
                <a:gd name="T75" fmla="*/ 2147483647 h 762"/>
                <a:gd name="T76" fmla="*/ 2147483647 w 564"/>
                <a:gd name="T77" fmla="*/ 2147483647 h 762"/>
                <a:gd name="T78" fmla="*/ 2147483647 w 564"/>
                <a:gd name="T79" fmla="*/ 2147483647 h 762"/>
                <a:gd name="T80" fmla="*/ 2147483647 w 564"/>
                <a:gd name="T81" fmla="*/ 2147483647 h 762"/>
                <a:gd name="T82" fmla="*/ 2147483647 w 564"/>
                <a:gd name="T83" fmla="*/ 2147483647 h 762"/>
                <a:gd name="T84" fmla="*/ 2147483647 w 564"/>
                <a:gd name="T85" fmla="*/ 2147483647 h 762"/>
                <a:gd name="T86" fmla="*/ 2147483647 w 564"/>
                <a:gd name="T87" fmla="*/ 2147483647 h 762"/>
                <a:gd name="T88" fmla="*/ 2147483647 w 564"/>
                <a:gd name="T89" fmla="*/ 2147483647 h 762"/>
                <a:gd name="T90" fmla="*/ 2147483647 w 564"/>
                <a:gd name="T91" fmla="*/ 2147483647 h 762"/>
                <a:gd name="T92" fmla="*/ 2147483647 w 564"/>
                <a:gd name="T93" fmla="*/ 2147483647 h 762"/>
                <a:gd name="T94" fmla="*/ 2147483647 w 564"/>
                <a:gd name="T95" fmla="*/ 2147483647 h 762"/>
                <a:gd name="T96" fmla="*/ 2147483647 w 564"/>
                <a:gd name="T97" fmla="*/ 2147483647 h 762"/>
                <a:gd name="T98" fmla="*/ 2147483647 w 564"/>
                <a:gd name="T99" fmla="*/ 2147483647 h 762"/>
                <a:gd name="T100" fmla="*/ 2147483647 w 564"/>
                <a:gd name="T101" fmla="*/ 2147483647 h 76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64"/>
                <a:gd name="T154" fmla="*/ 0 h 762"/>
                <a:gd name="T155" fmla="*/ 564 w 564"/>
                <a:gd name="T156" fmla="*/ 762 h 76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64" h="762">
                  <a:moveTo>
                    <a:pt x="498" y="150"/>
                  </a:moveTo>
                  <a:lnTo>
                    <a:pt x="540" y="108"/>
                  </a:lnTo>
                  <a:lnTo>
                    <a:pt x="558" y="72"/>
                  </a:lnTo>
                  <a:lnTo>
                    <a:pt x="564" y="66"/>
                  </a:lnTo>
                  <a:lnTo>
                    <a:pt x="564" y="60"/>
                  </a:lnTo>
                  <a:lnTo>
                    <a:pt x="540" y="54"/>
                  </a:lnTo>
                  <a:lnTo>
                    <a:pt x="534" y="60"/>
                  </a:lnTo>
                  <a:lnTo>
                    <a:pt x="504" y="60"/>
                  </a:lnTo>
                  <a:lnTo>
                    <a:pt x="480" y="30"/>
                  </a:lnTo>
                  <a:lnTo>
                    <a:pt x="462" y="48"/>
                  </a:lnTo>
                  <a:lnTo>
                    <a:pt x="456" y="48"/>
                  </a:lnTo>
                  <a:lnTo>
                    <a:pt x="450" y="54"/>
                  </a:lnTo>
                  <a:lnTo>
                    <a:pt x="438" y="60"/>
                  </a:lnTo>
                  <a:lnTo>
                    <a:pt x="426" y="60"/>
                  </a:lnTo>
                  <a:lnTo>
                    <a:pt x="414" y="72"/>
                  </a:lnTo>
                  <a:lnTo>
                    <a:pt x="414" y="84"/>
                  </a:lnTo>
                  <a:lnTo>
                    <a:pt x="390" y="102"/>
                  </a:lnTo>
                  <a:lnTo>
                    <a:pt x="378" y="96"/>
                  </a:lnTo>
                  <a:lnTo>
                    <a:pt x="372" y="96"/>
                  </a:lnTo>
                  <a:lnTo>
                    <a:pt x="360" y="90"/>
                  </a:lnTo>
                  <a:lnTo>
                    <a:pt x="330" y="90"/>
                  </a:lnTo>
                  <a:lnTo>
                    <a:pt x="318" y="84"/>
                  </a:lnTo>
                  <a:lnTo>
                    <a:pt x="288" y="84"/>
                  </a:lnTo>
                  <a:lnTo>
                    <a:pt x="210" y="24"/>
                  </a:lnTo>
                  <a:lnTo>
                    <a:pt x="138" y="18"/>
                  </a:lnTo>
                  <a:lnTo>
                    <a:pt x="132" y="0"/>
                  </a:lnTo>
                  <a:lnTo>
                    <a:pt x="108" y="12"/>
                  </a:lnTo>
                  <a:lnTo>
                    <a:pt x="18" y="12"/>
                  </a:lnTo>
                  <a:lnTo>
                    <a:pt x="0" y="42"/>
                  </a:lnTo>
                  <a:lnTo>
                    <a:pt x="6" y="48"/>
                  </a:lnTo>
                  <a:lnTo>
                    <a:pt x="12" y="60"/>
                  </a:lnTo>
                  <a:lnTo>
                    <a:pt x="12" y="84"/>
                  </a:lnTo>
                  <a:lnTo>
                    <a:pt x="18" y="84"/>
                  </a:lnTo>
                  <a:lnTo>
                    <a:pt x="24" y="90"/>
                  </a:lnTo>
                  <a:lnTo>
                    <a:pt x="24" y="84"/>
                  </a:lnTo>
                  <a:lnTo>
                    <a:pt x="30" y="84"/>
                  </a:lnTo>
                  <a:lnTo>
                    <a:pt x="30" y="96"/>
                  </a:lnTo>
                  <a:lnTo>
                    <a:pt x="24" y="102"/>
                  </a:lnTo>
                  <a:lnTo>
                    <a:pt x="24" y="108"/>
                  </a:lnTo>
                  <a:lnTo>
                    <a:pt x="42" y="126"/>
                  </a:lnTo>
                  <a:lnTo>
                    <a:pt x="36" y="132"/>
                  </a:lnTo>
                  <a:lnTo>
                    <a:pt x="72" y="174"/>
                  </a:lnTo>
                  <a:lnTo>
                    <a:pt x="66" y="180"/>
                  </a:lnTo>
                  <a:lnTo>
                    <a:pt x="60" y="180"/>
                  </a:lnTo>
                  <a:lnTo>
                    <a:pt x="54" y="186"/>
                  </a:lnTo>
                  <a:lnTo>
                    <a:pt x="54" y="192"/>
                  </a:lnTo>
                  <a:lnTo>
                    <a:pt x="66" y="216"/>
                  </a:lnTo>
                  <a:lnTo>
                    <a:pt x="72" y="222"/>
                  </a:lnTo>
                  <a:lnTo>
                    <a:pt x="78" y="234"/>
                  </a:lnTo>
                  <a:lnTo>
                    <a:pt x="78" y="246"/>
                  </a:lnTo>
                  <a:lnTo>
                    <a:pt x="66" y="258"/>
                  </a:lnTo>
                  <a:lnTo>
                    <a:pt x="60" y="282"/>
                  </a:lnTo>
                  <a:lnTo>
                    <a:pt x="42" y="282"/>
                  </a:lnTo>
                  <a:lnTo>
                    <a:pt x="36" y="288"/>
                  </a:lnTo>
                  <a:lnTo>
                    <a:pt x="36" y="312"/>
                  </a:lnTo>
                  <a:lnTo>
                    <a:pt x="18" y="324"/>
                  </a:lnTo>
                  <a:lnTo>
                    <a:pt x="12" y="342"/>
                  </a:lnTo>
                  <a:lnTo>
                    <a:pt x="6" y="348"/>
                  </a:lnTo>
                  <a:lnTo>
                    <a:pt x="0" y="360"/>
                  </a:lnTo>
                  <a:lnTo>
                    <a:pt x="0" y="384"/>
                  </a:lnTo>
                  <a:lnTo>
                    <a:pt x="18" y="402"/>
                  </a:lnTo>
                  <a:lnTo>
                    <a:pt x="30" y="402"/>
                  </a:lnTo>
                  <a:lnTo>
                    <a:pt x="30" y="390"/>
                  </a:lnTo>
                  <a:lnTo>
                    <a:pt x="54" y="390"/>
                  </a:lnTo>
                  <a:lnTo>
                    <a:pt x="60" y="408"/>
                  </a:lnTo>
                  <a:lnTo>
                    <a:pt x="42" y="408"/>
                  </a:lnTo>
                  <a:lnTo>
                    <a:pt x="30" y="420"/>
                  </a:lnTo>
                  <a:lnTo>
                    <a:pt x="24" y="414"/>
                  </a:lnTo>
                  <a:lnTo>
                    <a:pt x="18" y="414"/>
                  </a:lnTo>
                  <a:lnTo>
                    <a:pt x="6" y="420"/>
                  </a:lnTo>
                  <a:lnTo>
                    <a:pt x="0" y="432"/>
                  </a:lnTo>
                  <a:lnTo>
                    <a:pt x="0" y="438"/>
                  </a:lnTo>
                  <a:lnTo>
                    <a:pt x="12" y="450"/>
                  </a:lnTo>
                  <a:lnTo>
                    <a:pt x="6" y="468"/>
                  </a:lnTo>
                  <a:lnTo>
                    <a:pt x="258" y="624"/>
                  </a:lnTo>
                  <a:lnTo>
                    <a:pt x="270" y="636"/>
                  </a:lnTo>
                  <a:lnTo>
                    <a:pt x="270" y="642"/>
                  </a:lnTo>
                  <a:lnTo>
                    <a:pt x="264" y="648"/>
                  </a:lnTo>
                  <a:lnTo>
                    <a:pt x="258" y="648"/>
                  </a:lnTo>
                  <a:lnTo>
                    <a:pt x="252" y="654"/>
                  </a:lnTo>
                  <a:lnTo>
                    <a:pt x="366" y="762"/>
                  </a:lnTo>
                  <a:lnTo>
                    <a:pt x="384" y="756"/>
                  </a:lnTo>
                  <a:lnTo>
                    <a:pt x="414" y="690"/>
                  </a:lnTo>
                  <a:lnTo>
                    <a:pt x="414" y="660"/>
                  </a:lnTo>
                  <a:lnTo>
                    <a:pt x="426" y="648"/>
                  </a:lnTo>
                  <a:lnTo>
                    <a:pt x="432" y="648"/>
                  </a:lnTo>
                  <a:lnTo>
                    <a:pt x="444" y="636"/>
                  </a:lnTo>
                  <a:lnTo>
                    <a:pt x="444" y="624"/>
                  </a:lnTo>
                  <a:lnTo>
                    <a:pt x="438" y="618"/>
                  </a:lnTo>
                  <a:lnTo>
                    <a:pt x="438" y="600"/>
                  </a:lnTo>
                  <a:lnTo>
                    <a:pt x="444" y="594"/>
                  </a:lnTo>
                  <a:lnTo>
                    <a:pt x="456" y="588"/>
                  </a:lnTo>
                  <a:lnTo>
                    <a:pt x="468" y="588"/>
                  </a:lnTo>
                  <a:lnTo>
                    <a:pt x="474" y="582"/>
                  </a:lnTo>
                  <a:lnTo>
                    <a:pt x="480" y="582"/>
                  </a:lnTo>
                  <a:lnTo>
                    <a:pt x="486" y="540"/>
                  </a:lnTo>
                  <a:lnTo>
                    <a:pt x="516" y="540"/>
                  </a:lnTo>
                  <a:lnTo>
                    <a:pt x="528" y="534"/>
                  </a:lnTo>
                  <a:lnTo>
                    <a:pt x="534" y="522"/>
                  </a:lnTo>
                  <a:lnTo>
                    <a:pt x="540" y="516"/>
                  </a:lnTo>
                  <a:lnTo>
                    <a:pt x="498" y="450"/>
                  </a:lnTo>
                  <a:lnTo>
                    <a:pt x="498" y="15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32" name="Kazakhstan" descr="© INSCALE GmbH, 05.05.2010&#10;http://www.presentationload.com/">
              <a:extLst>
                <a:ext uri="{FF2B5EF4-FFF2-40B4-BE49-F238E27FC236}">
                  <a16:creationId xmlns:a16="http://schemas.microsoft.com/office/drawing/2014/main" id="{69D1E184-12AF-4432-915A-EEDE202648C2}"/>
                </a:ext>
              </a:extLst>
            </p:cNvPr>
            <p:cNvSpPr>
              <a:spLocks noEditPoints="1"/>
            </p:cNvSpPr>
            <p:nvPr/>
          </p:nvSpPr>
          <p:spPr bwMode="gray">
            <a:xfrm>
              <a:off x="5319488" y="2491740"/>
              <a:ext cx="1000399" cy="462567"/>
            </a:xfrm>
            <a:custGeom>
              <a:avLst/>
              <a:gdLst>
                <a:gd name="T0" fmla="*/ 2147483647 w 2514"/>
                <a:gd name="T1" fmla="*/ 2147483647 h 1164"/>
                <a:gd name="T2" fmla="*/ 2147483647 w 2514"/>
                <a:gd name="T3" fmla="*/ 2147483647 h 1164"/>
                <a:gd name="T4" fmla="*/ 2147483647 w 2514"/>
                <a:gd name="T5" fmla="*/ 2147483647 h 1164"/>
                <a:gd name="T6" fmla="*/ 2147483647 w 2514"/>
                <a:gd name="T7" fmla="*/ 2147483647 h 1164"/>
                <a:gd name="T8" fmla="*/ 2147483647 w 2514"/>
                <a:gd name="T9" fmla="*/ 2147483647 h 1164"/>
                <a:gd name="T10" fmla="*/ 2147483647 w 2514"/>
                <a:gd name="T11" fmla="*/ 2147483647 h 1164"/>
                <a:gd name="T12" fmla="*/ 2147483647 w 2514"/>
                <a:gd name="T13" fmla="*/ 2147483647 h 1164"/>
                <a:gd name="T14" fmla="*/ 2147483647 w 2514"/>
                <a:gd name="T15" fmla="*/ 2147483647 h 1164"/>
                <a:gd name="T16" fmla="*/ 2147483647 w 2514"/>
                <a:gd name="T17" fmla="*/ 2147483647 h 1164"/>
                <a:gd name="T18" fmla="*/ 2147483647 w 2514"/>
                <a:gd name="T19" fmla="*/ 2147483647 h 1164"/>
                <a:gd name="T20" fmla="*/ 2147483647 w 2514"/>
                <a:gd name="T21" fmla="*/ 2147483647 h 1164"/>
                <a:gd name="T22" fmla="*/ 2147483647 w 2514"/>
                <a:gd name="T23" fmla="*/ 2147483647 h 1164"/>
                <a:gd name="T24" fmla="*/ 2147483647 w 2514"/>
                <a:gd name="T25" fmla="*/ 2147483647 h 1164"/>
                <a:gd name="T26" fmla="*/ 2147483647 w 2514"/>
                <a:gd name="T27" fmla="*/ 2147483647 h 1164"/>
                <a:gd name="T28" fmla="*/ 2147483647 w 2514"/>
                <a:gd name="T29" fmla="*/ 2147483647 h 1164"/>
                <a:gd name="T30" fmla="*/ 2147483647 w 2514"/>
                <a:gd name="T31" fmla="*/ 2147483647 h 1164"/>
                <a:gd name="T32" fmla="*/ 2147483647 w 2514"/>
                <a:gd name="T33" fmla="*/ 2147483647 h 1164"/>
                <a:gd name="T34" fmla="*/ 2147483647 w 2514"/>
                <a:gd name="T35" fmla="*/ 2147483647 h 1164"/>
                <a:gd name="T36" fmla="*/ 2147483647 w 2514"/>
                <a:gd name="T37" fmla="*/ 2147483647 h 1164"/>
                <a:gd name="T38" fmla="*/ 2147483647 w 2514"/>
                <a:gd name="T39" fmla="*/ 2147483647 h 1164"/>
                <a:gd name="T40" fmla="*/ 2147483647 w 2514"/>
                <a:gd name="T41" fmla="*/ 2147483647 h 1164"/>
                <a:gd name="T42" fmla="*/ 2147483647 w 2514"/>
                <a:gd name="T43" fmla="*/ 2147483647 h 1164"/>
                <a:gd name="T44" fmla="*/ 2147483647 w 2514"/>
                <a:gd name="T45" fmla="*/ 2147483647 h 1164"/>
                <a:gd name="T46" fmla="*/ 2147483647 w 2514"/>
                <a:gd name="T47" fmla="*/ 2147483647 h 1164"/>
                <a:gd name="T48" fmla="*/ 2147483647 w 2514"/>
                <a:gd name="T49" fmla="*/ 2147483647 h 1164"/>
                <a:gd name="T50" fmla="*/ 2147483647 w 2514"/>
                <a:gd name="T51" fmla="*/ 2147483647 h 1164"/>
                <a:gd name="T52" fmla="*/ 2147483647 w 2514"/>
                <a:gd name="T53" fmla="*/ 2147483647 h 1164"/>
                <a:gd name="T54" fmla="*/ 2147483647 w 2514"/>
                <a:gd name="T55" fmla="*/ 2147483647 h 1164"/>
                <a:gd name="T56" fmla="*/ 2147483647 w 2514"/>
                <a:gd name="T57" fmla="*/ 2147483647 h 1164"/>
                <a:gd name="T58" fmla="*/ 2147483647 w 2514"/>
                <a:gd name="T59" fmla="*/ 2147483647 h 1164"/>
                <a:gd name="T60" fmla="*/ 2147483647 w 2514"/>
                <a:gd name="T61" fmla="*/ 2147483647 h 1164"/>
                <a:gd name="T62" fmla="*/ 2147483647 w 2514"/>
                <a:gd name="T63" fmla="*/ 2147483647 h 1164"/>
                <a:gd name="T64" fmla="*/ 2147483647 w 2514"/>
                <a:gd name="T65" fmla="*/ 2147483647 h 1164"/>
                <a:gd name="T66" fmla="*/ 2147483647 w 2514"/>
                <a:gd name="T67" fmla="*/ 2147483647 h 1164"/>
                <a:gd name="T68" fmla="*/ 2147483647 w 2514"/>
                <a:gd name="T69" fmla="*/ 2147483647 h 1164"/>
                <a:gd name="T70" fmla="*/ 2147483647 w 2514"/>
                <a:gd name="T71" fmla="*/ 2147483647 h 1164"/>
                <a:gd name="T72" fmla="*/ 2147483647 w 2514"/>
                <a:gd name="T73" fmla="*/ 2147483647 h 1164"/>
                <a:gd name="T74" fmla="*/ 2147483647 w 2514"/>
                <a:gd name="T75" fmla="*/ 2147483647 h 1164"/>
                <a:gd name="T76" fmla="*/ 2147483647 w 2514"/>
                <a:gd name="T77" fmla="*/ 2147483647 h 1164"/>
                <a:gd name="T78" fmla="*/ 2147483647 w 2514"/>
                <a:gd name="T79" fmla="*/ 2147483647 h 1164"/>
                <a:gd name="T80" fmla="*/ 2147483647 w 2514"/>
                <a:gd name="T81" fmla="*/ 2147483647 h 1164"/>
                <a:gd name="T82" fmla="*/ 2147483647 w 2514"/>
                <a:gd name="T83" fmla="*/ 2147483647 h 1164"/>
                <a:gd name="T84" fmla="*/ 2147483647 w 2514"/>
                <a:gd name="T85" fmla="*/ 2147483647 h 1164"/>
                <a:gd name="T86" fmla="*/ 2147483647 w 2514"/>
                <a:gd name="T87" fmla="*/ 2147483647 h 1164"/>
                <a:gd name="T88" fmla="*/ 2147483647 w 2514"/>
                <a:gd name="T89" fmla="*/ 2147483647 h 1164"/>
                <a:gd name="T90" fmla="*/ 2147483647 w 2514"/>
                <a:gd name="T91" fmla="*/ 2147483647 h 1164"/>
                <a:gd name="T92" fmla="*/ 2147483647 w 2514"/>
                <a:gd name="T93" fmla="*/ 2147483647 h 1164"/>
                <a:gd name="T94" fmla="*/ 2147483647 w 2514"/>
                <a:gd name="T95" fmla="*/ 2147483647 h 1164"/>
                <a:gd name="T96" fmla="*/ 2147483647 w 2514"/>
                <a:gd name="T97" fmla="*/ 2147483647 h 1164"/>
                <a:gd name="T98" fmla="*/ 2147483647 w 2514"/>
                <a:gd name="T99" fmla="*/ 2147483647 h 1164"/>
                <a:gd name="T100" fmla="*/ 2147483647 w 2514"/>
                <a:gd name="T101" fmla="*/ 2147483647 h 1164"/>
                <a:gd name="T102" fmla="*/ 2147483647 w 2514"/>
                <a:gd name="T103" fmla="*/ 2147483647 h 1164"/>
                <a:gd name="T104" fmla="*/ 2147483647 w 2514"/>
                <a:gd name="T105" fmla="*/ 2147483647 h 1164"/>
                <a:gd name="T106" fmla="*/ 2147483647 w 2514"/>
                <a:gd name="T107" fmla="*/ 2147483647 h 1164"/>
                <a:gd name="T108" fmla="*/ 2147483647 w 2514"/>
                <a:gd name="T109" fmla="*/ 2147483647 h 1164"/>
                <a:gd name="T110" fmla="*/ 2147483647 w 2514"/>
                <a:gd name="T111" fmla="*/ 2147483647 h 1164"/>
                <a:gd name="T112" fmla="*/ 2147483647 w 2514"/>
                <a:gd name="T113" fmla="*/ 2147483647 h 1164"/>
                <a:gd name="T114" fmla="*/ 2147483647 w 2514"/>
                <a:gd name="T115" fmla="*/ 2147483647 h 1164"/>
                <a:gd name="T116" fmla="*/ 2147483647 w 2514"/>
                <a:gd name="T117" fmla="*/ 2147483647 h 1164"/>
                <a:gd name="T118" fmla="*/ 2147483647 w 2514"/>
                <a:gd name="T119" fmla="*/ 2147483647 h 1164"/>
                <a:gd name="T120" fmla="*/ 2147483647 w 2514"/>
                <a:gd name="T121" fmla="*/ 2147483647 h 1164"/>
                <a:gd name="T122" fmla="*/ 2147483647 w 2514"/>
                <a:gd name="T123" fmla="*/ 2147483647 h 11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4"/>
                <a:gd name="T187" fmla="*/ 0 h 1164"/>
                <a:gd name="T188" fmla="*/ 2514 w 2514"/>
                <a:gd name="T189" fmla="*/ 1164 h 11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4" h="1164">
                  <a:moveTo>
                    <a:pt x="852" y="756"/>
                  </a:moveTo>
                  <a:lnTo>
                    <a:pt x="840" y="744"/>
                  </a:lnTo>
                  <a:lnTo>
                    <a:pt x="822" y="768"/>
                  </a:lnTo>
                  <a:lnTo>
                    <a:pt x="816" y="780"/>
                  </a:lnTo>
                  <a:lnTo>
                    <a:pt x="870" y="804"/>
                  </a:lnTo>
                  <a:lnTo>
                    <a:pt x="870" y="786"/>
                  </a:lnTo>
                  <a:lnTo>
                    <a:pt x="864" y="780"/>
                  </a:lnTo>
                  <a:lnTo>
                    <a:pt x="858" y="768"/>
                  </a:lnTo>
                  <a:lnTo>
                    <a:pt x="858" y="762"/>
                  </a:lnTo>
                  <a:lnTo>
                    <a:pt x="852" y="756"/>
                  </a:lnTo>
                  <a:close/>
                  <a:moveTo>
                    <a:pt x="2484" y="492"/>
                  </a:moveTo>
                  <a:lnTo>
                    <a:pt x="2484" y="486"/>
                  </a:lnTo>
                  <a:lnTo>
                    <a:pt x="2514" y="486"/>
                  </a:lnTo>
                  <a:lnTo>
                    <a:pt x="2478" y="444"/>
                  </a:lnTo>
                  <a:lnTo>
                    <a:pt x="2454" y="420"/>
                  </a:lnTo>
                  <a:lnTo>
                    <a:pt x="2442" y="456"/>
                  </a:lnTo>
                  <a:lnTo>
                    <a:pt x="2370" y="450"/>
                  </a:lnTo>
                  <a:lnTo>
                    <a:pt x="2370" y="444"/>
                  </a:lnTo>
                  <a:lnTo>
                    <a:pt x="2364" y="438"/>
                  </a:lnTo>
                  <a:lnTo>
                    <a:pt x="2358" y="426"/>
                  </a:lnTo>
                  <a:lnTo>
                    <a:pt x="2352" y="420"/>
                  </a:lnTo>
                  <a:lnTo>
                    <a:pt x="2346" y="408"/>
                  </a:lnTo>
                  <a:lnTo>
                    <a:pt x="2346" y="402"/>
                  </a:lnTo>
                  <a:lnTo>
                    <a:pt x="2340" y="402"/>
                  </a:lnTo>
                  <a:lnTo>
                    <a:pt x="2328" y="396"/>
                  </a:lnTo>
                  <a:lnTo>
                    <a:pt x="2316" y="396"/>
                  </a:lnTo>
                  <a:lnTo>
                    <a:pt x="2304" y="390"/>
                  </a:lnTo>
                  <a:lnTo>
                    <a:pt x="2292" y="390"/>
                  </a:lnTo>
                  <a:lnTo>
                    <a:pt x="2286" y="378"/>
                  </a:lnTo>
                  <a:lnTo>
                    <a:pt x="2274" y="372"/>
                  </a:lnTo>
                  <a:lnTo>
                    <a:pt x="2250" y="348"/>
                  </a:lnTo>
                  <a:lnTo>
                    <a:pt x="2226" y="336"/>
                  </a:lnTo>
                  <a:lnTo>
                    <a:pt x="2208" y="336"/>
                  </a:lnTo>
                  <a:lnTo>
                    <a:pt x="2196" y="342"/>
                  </a:lnTo>
                  <a:lnTo>
                    <a:pt x="2178" y="348"/>
                  </a:lnTo>
                  <a:lnTo>
                    <a:pt x="2166" y="354"/>
                  </a:lnTo>
                  <a:lnTo>
                    <a:pt x="2160" y="366"/>
                  </a:lnTo>
                  <a:lnTo>
                    <a:pt x="2136" y="366"/>
                  </a:lnTo>
                  <a:lnTo>
                    <a:pt x="2124" y="360"/>
                  </a:lnTo>
                  <a:lnTo>
                    <a:pt x="2118" y="348"/>
                  </a:lnTo>
                  <a:lnTo>
                    <a:pt x="2106" y="342"/>
                  </a:lnTo>
                  <a:lnTo>
                    <a:pt x="2076" y="342"/>
                  </a:lnTo>
                  <a:lnTo>
                    <a:pt x="2076" y="336"/>
                  </a:lnTo>
                  <a:lnTo>
                    <a:pt x="2070" y="330"/>
                  </a:lnTo>
                  <a:lnTo>
                    <a:pt x="2070" y="318"/>
                  </a:lnTo>
                  <a:lnTo>
                    <a:pt x="2064" y="312"/>
                  </a:lnTo>
                  <a:lnTo>
                    <a:pt x="2052" y="312"/>
                  </a:lnTo>
                  <a:lnTo>
                    <a:pt x="2052" y="318"/>
                  </a:lnTo>
                  <a:lnTo>
                    <a:pt x="2046" y="324"/>
                  </a:lnTo>
                  <a:lnTo>
                    <a:pt x="2046" y="336"/>
                  </a:lnTo>
                  <a:lnTo>
                    <a:pt x="2034" y="348"/>
                  </a:lnTo>
                  <a:lnTo>
                    <a:pt x="2022" y="354"/>
                  </a:lnTo>
                  <a:lnTo>
                    <a:pt x="2010" y="354"/>
                  </a:lnTo>
                  <a:lnTo>
                    <a:pt x="1998" y="348"/>
                  </a:lnTo>
                  <a:lnTo>
                    <a:pt x="1986" y="336"/>
                  </a:lnTo>
                  <a:lnTo>
                    <a:pt x="1974" y="318"/>
                  </a:lnTo>
                  <a:lnTo>
                    <a:pt x="1938" y="282"/>
                  </a:lnTo>
                  <a:lnTo>
                    <a:pt x="1920" y="258"/>
                  </a:lnTo>
                  <a:lnTo>
                    <a:pt x="1848" y="198"/>
                  </a:lnTo>
                  <a:lnTo>
                    <a:pt x="1818" y="168"/>
                  </a:lnTo>
                  <a:lnTo>
                    <a:pt x="1800" y="156"/>
                  </a:lnTo>
                  <a:lnTo>
                    <a:pt x="1788" y="150"/>
                  </a:lnTo>
                  <a:lnTo>
                    <a:pt x="1758" y="132"/>
                  </a:lnTo>
                  <a:lnTo>
                    <a:pt x="1728" y="120"/>
                  </a:lnTo>
                  <a:lnTo>
                    <a:pt x="1692" y="102"/>
                  </a:lnTo>
                  <a:lnTo>
                    <a:pt x="1698" y="102"/>
                  </a:lnTo>
                  <a:lnTo>
                    <a:pt x="1710" y="90"/>
                  </a:lnTo>
                  <a:lnTo>
                    <a:pt x="1710" y="72"/>
                  </a:lnTo>
                  <a:lnTo>
                    <a:pt x="1704" y="66"/>
                  </a:lnTo>
                  <a:lnTo>
                    <a:pt x="1698" y="66"/>
                  </a:lnTo>
                  <a:lnTo>
                    <a:pt x="1680" y="84"/>
                  </a:lnTo>
                  <a:lnTo>
                    <a:pt x="1644" y="96"/>
                  </a:lnTo>
                  <a:lnTo>
                    <a:pt x="1632" y="114"/>
                  </a:lnTo>
                  <a:lnTo>
                    <a:pt x="1620" y="114"/>
                  </a:lnTo>
                  <a:lnTo>
                    <a:pt x="1608" y="120"/>
                  </a:lnTo>
                  <a:lnTo>
                    <a:pt x="1602" y="126"/>
                  </a:lnTo>
                  <a:lnTo>
                    <a:pt x="1602" y="144"/>
                  </a:lnTo>
                  <a:lnTo>
                    <a:pt x="1590" y="156"/>
                  </a:lnTo>
                  <a:lnTo>
                    <a:pt x="1578" y="150"/>
                  </a:lnTo>
                  <a:lnTo>
                    <a:pt x="1572" y="144"/>
                  </a:lnTo>
                  <a:lnTo>
                    <a:pt x="1560" y="138"/>
                  </a:lnTo>
                  <a:lnTo>
                    <a:pt x="1554" y="132"/>
                  </a:lnTo>
                  <a:lnTo>
                    <a:pt x="1548" y="132"/>
                  </a:lnTo>
                  <a:lnTo>
                    <a:pt x="1542" y="138"/>
                  </a:lnTo>
                  <a:lnTo>
                    <a:pt x="1536" y="138"/>
                  </a:lnTo>
                  <a:lnTo>
                    <a:pt x="1530" y="144"/>
                  </a:lnTo>
                  <a:lnTo>
                    <a:pt x="1524" y="144"/>
                  </a:lnTo>
                  <a:lnTo>
                    <a:pt x="1524" y="138"/>
                  </a:lnTo>
                  <a:lnTo>
                    <a:pt x="1530" y="132"/>
                  </a:lnTo>
                  <a:lnTo>
                    <a:pt x="1530" y="108"/>
                  </a:lnTo>
                  <a:lnTo>
                    <a:pt x="1518" y="102"/>
                  </a:lnTo>
                  <a:lnTo>
                    <a:pt x="1512" y="102"/>
                  </a:lnTo>
                  <a:lnTo>
                    <a:pt x="1506" y="108"/>
                  </a:lnTo>
                  <a:lnTo>
                    <a:pt x="1482" y="96"/>
                  </a:lnTo>
                  <a:lnTo>
                    <a:pt x="1458" y="108"/>
                  </a:lnTo>
                  <a:lnTo>
                    <a:pt x="1434" y="72"/>
                  </a:lnTo>
                  <a:lnTo>
                    <a:pt x="1422" y="90"/>
                  </a:lnTo>
                  <a:lnTo>
                    <a:pt x="1404" y="90"/>
                  </a:lnTo>
                  <a:lnTo>
                    <a:pt x="1392" y="96"/>
                  </a:lnTo>
                  <a:lnTo>
                    <a:pt x="1374" y="96"/>
                  </a:lnTo>
                  <a:lnTo>
                    <a:pt x="1368" y="90"/>
                  </a:lnTo>
                  <a:lnTo>
                    <a:pt x="1368" y="48"/>
                  </a:lnTo>
                  <a:lnTo>
                    <a:pt x="1362" y="42"/>
                  </a:lnTo>
                  <a:lnTo>
                    <a:pt x="1350" y="42"/>
                  </a:lnTo>
                  <a:lnTo>
                    <a:pt x="1344" y="36"/>
                  </a:lnTo>
                  <a:lnTo>
                    <a:pt x="1338" y="24"/>
                  </a:lnTo>
                  <a:lnTo>
                    <a:pt x="1320" y="6"/>
                  </a:lnTo>
                  <a:lnTo>
                    <a:pt x="1314" y="6"/>
                  </a:lnTo>
                  <a:lnTo>
                    <a:pt x="1302" y="18"/>
                  </a:lnTo>
                  <a:lnTo>
                    <a:pt x="1290" y="18"/>
                  </a:lnTo>
                  <a:lnTo>
                    <a:pt x="1278" y="6"/>
                  </a:lnTo>
                  <a:lnTo>
                    <a:pt x="1260" y="6"/>
                  </a:lnTo>
                  <a:lnTo>
                    <a:pt x="1242" y="0"/>
                  </a:lnTo>
                  <a:lnTo>
                    <a:pt x="1218" y="0"/>
                  </a:lnTo>
                  <a:lnTo>
                    <a:pt x="1200" y="6"/>
                  </a:lnTo>
                  <a:lnTo>
                    <a:pt x="1188" y="12"/>
                  </a:lnTo>
                  <a:lnTo>
                    <a:pt x="1176" y="24"/>
                  </a:lnTo>
                  <a:lnTo>
                    <a:pt x="1176" y="36"/>
                  </a:lnTo>
                  <a:lnTo>
                    <a:pt x="1164" y="36"/>
                  </a:lnTo>
                  <a:lnTo>
                    <a:pt x="1110" y="54"/>
                  </a:lnTo>
                  <a:lnTo>
                    <a:pt x="1020" y="54"/>
                  </a:lnTo>
                  <a:lnTo>
                    <a:pt x="1014" y="60"/>
                  </a:lnTo>
                  <a:lnTo>
                    <a:pt x="1014" y="78"/>
                  </a:lnTo>
                  <a:lnTo>
                    <a:pt x="948" y="78"/>
                  </a:lnTo>
                  <a:lnTo>
                    <a:pt x="942" y="96"/>
                  </a:lnTo>
                  <a:lnTo>
                    <a:pt x="888" y="96"/>
                  </a:lnTo>
                  <a:lnTo>
                    <a:pt x="828" y="102"/>
                  </a:lnTo>
                  <a:lnTo>
                    <a:pt x="792" y="114"/>
                  </a:lnTo>
                  <a:lnTo>
                    <a:pt x="780" y="126"/>
                  </a:lnTo>
                  <a:lnTo>
                    <a:pt x="780" y="132"/>
                  </a:lnTo>
                  <a:lnTo>
                    <a:pt x="786" y="138"/>
                  </a:lnTo>
                  <a:lnTo>
                    <a:pt x="786" y="144"/>
                  </a:lnTo>
                  <a:lnTo>
                    <a:pt x="810" y="144"/>
                  </a:lnTo>
                  <a:lnTo>
                    <a:pt x="798" y="162"/>
                  </a:lnTo>
                  <a:lnTo>
                    <a:pt x="810" y="162"/>
                  </a:lnTo>
                  <a:lnTo>
                    <a:pt x="834" y="174"/>
                  </a:lnTo>
                  <a:lnTo>
                    <a:pt x="846" y="174"/>
                  </a:lnTo>
                  <a:lnTo>
                    <a:pt x="858" y="186"/>
                  </a:lnTo>
                  <a:lnTo>
                    <a:pt x="804" y="186"/>
                  </a:lnTo>
                  <a:lnTo>
                    <a:pt x="792" y="198"/>
                  </a:lnTo>
                  <a:lnTo>
                    <a:pt x="798" y="204"/>
                  </a:lnTo>
                  <a:lnTo>
                    <a:pt x="804" y="216"/>
                  </a:lnTo>
                  <a:lnTo>
                    <a:pt x="810" y="222"/>
                  </a:lnTo>
                  <a:lnTo>
                    <a:pt x="810" y="234"/>
                  </a:lnTo>
                  <a:lnTo>
                    <a:pt x="798" y="246"/>
                  </a:lnTo>
                  <a:lnTo>
                    <a:pt x="786" y="246"/>
                  </a:lnTo>
                  <a:lnTo>
                    <a:pt x="774" y="252"/>
                  </a:lnTo>
                  <a:lnTo>
                    <a:pt x="762" y="252"/>
                  </a:lnTo>
                  <a:lnTo>
                    <a:pt x="792" y="282"/>
                  </a:lnTo>
                  <a:lnTo>
                    <a:pt x="816" y="282"/>
                  </a:lnTo>
                  <a:lnTo>
                    <a:pt x="834" y="288"/>
                  </a:lnTo>
                  <a:lnTo>
                    <a:pt x="846" y="294"/>
                  </a:lnTo>
                  <a:lnTo>
                    <a:pt x="870" y="318"/>
                  </a:lnTo>
                  <a:lnTo>
                    <a:pt x="876" y="336"/>
                  </a:lnTo>
                  <a:lnTo>
                    <a:pt x="876" y="348"/>
                  </a:lnTo>
                  <a:lnTo>
                    <a:pt x="870" y="360"/>
                  </a:lnTo>
                  <a:lnTo>
                    <a:pt x="864" y="366"/>
                  </a:lnTo>
                  <a:lnTo>
                    <a:pt x="828" y="366"/>
                  </a:lnTo>
                  <a:lnTo>
                    <a:pt x="816" y="360"/>
                  </a:lnTo>
                  <a:lnTo>
                    <a:pt x="810" y="354"/>
                  </a:lnTo>
                  <a:lnTo>
                    <a:pt x="798" y="354"/>
                  </a:lnTo>
                  <a:lnTo>
                    <a:pt x="792" y="348"/>
                  </a:lnTo>
                  <a:lnTo>
                    <a:pt x="780" y="372"/>
                  </a:lnTo>
                  <a:lnTo>
                    <a:pt x="768" y="372"/>
                  </a:lnTo>
                  <a:lnTo>
                    <a:pt x="756" y="366"/>
                  </a:lnTo>
                  <a:lnTo>
                    <a:pt x="732" y="366"/>
                  </a:lnTo>
                  <a:lnTo>
                    <a:pt x="708" y="354"/>
                  </a:lnTo>
                  <a:lnTo>
                    <a:pt x="702" y="342"/>
                  </a:lnTo>
                  <a:lnTo>
                    <a:pt x="690" y="336"/>
                  </a:lnTo>
                  <a:lnTo>
                    <a:pt x="684" y="330"/>
                  </a:lnTo>
                  <a:lnTo>
                    <a:pt x="672" y="330"/>
                  </a:lnTo>
                  <a:lnTo>
                    <a:pt x="666" y="336"/>
                  </a:lnTo>
                  <a:lnTo>
                    <a:pt x="654" y="342"/>
                  </a:lnTo>
                  <a:lnTo>
                    <a:pt x="636" y="348"/>
                  </a:lnTo>
                  <a:lnTo>
                    <a:pt x="624" y="348"/>
                  </a:lnTo>
                  <a:lnTo>
                    <a:pt x="588" y="330"/>
                  </a:lnTo>
                  <a:lnTo>
                    <a:pt x="582" y="330"/>
                  </a:lnTo>
                  <a:lnTo>
                    <a:pt x="570" y="336"/>
                  </a:lnTo>
                  <a:lnTo>
                    <a:pt x="558" y="348"/>
                  </a:lnTo>
                  <a:lnTo>
                    <a:pt x="546" y="354"/>
                  </a:lnTo>
                  <a:lnTo>
                    <a:pt x="540" y="366"/>
                  </a:lnTo>
                  <a:lnTo>
                    <a:pt x="534" y="372"/>
                  </a:lnTo>
                  <a:lnTo>
                    <a:pt x="462" y="336"/>
                  </a:lnTo>
                  <a:lnTo>
                    <a:pt x="450" y="336"/>
                  </a:lnTo>
                  <a:lnTo>
                    <a:pt x="450" y="342"/>
                  </a:lnTo>
                  <a:lnTo>
                    <a:pt x="462" y="354"/>
                  </a:lnTo>
                  <a:lnTo>
                    <a:pt x="462" y="372"/>
                  </a:lnTo>
                  <a:lnTo>
                    <a:pt x="450" y="372"/>
                  </a:lnTo>
                  <a:lnTo>
                    <a:pt x="438" y="360"/>
                  </a:lnTo>
                  <a:lnTo>
                    <a:pt x="438" y="354"/>
                  </a:lnTo>
                  <a:lnTo>
                    <a:pt x="426" y="324"/>
                  </a:lnTo>
                  <a:lnTo>
                    <a:pt x="390" y="324"/>
                  </a:lnTo>
                  <a:lnTo>
                    <a:pt x="384" y="312"/>
                  </a:lnTo>
                  <a:lnTo>
                    <a:pt x="384" y="306"/>
                  </a:lnTo>
                  <a:lnTo>
                    <a:pt x="378" y="300"/>
                  </a:lnTo>
                  <a:lnTo>
                    <a:pt x="318" y="300"/>
                  </a:lnTo>
                  <a:lnTo>
                    <a:pt x="312" y="288"/>
                  </a:lnTo>
                  <a:lnTo>
                    <a:pt x="306" y="282"/>
                  </a:lnTo>
                  <a:lnTo>
                    <a:pt x="288" y="282"/>
                  </a:lnTo>
                  <a:lnTo>
                    <a:pt x="276" y="288"/>
                  </a:lnTo>
                  <a:lnTo>
                    <a:pt x="264" y="300"/>
                  </a:lnTo>
                  <a:lnTo>
                    <a:pt x="234" y="300"/>
                  </a:lnTo>
                  <a:lnTo>
                    <a:pt x="228" y="294"/>
                  </a:lnTo>
                  <a:lnTo>
                    <a:pt x="228" y="288"/>
                  </a:lnTo>
                  <a:lnTo>
                    <a:pt x="222" y="288"/>
                  </a:lnTo>
                  <a:lnTo>
                    <a:pt x="210" y="282"/>
                  </a:lnTo>
                  <a:lnTo>
                    <a:pt x="180" y="282"/>
                  </a:lnTo>
                  <a:lnTo>
                    <a:pt x="180" y="288"/>
                  </a:lnTo>
                  <a:lnTo>
                    <a:pt x="186" y="294"/>
                  </a:lnTo>
                  <a:lnTo>
                    <a:pt x="186" y="312"/>
                  </a:lnTo>
                  <a:lnTo>
                    <a:pt x="174" y="324"/>
                  </a:lnTo>
                  <a:lnTo>
                    <a:pt x="162" y="330"/>
                  </a:lnTo>
                  <a:lnTo>
                    <a:pt x="150" y="330"/>
                  </a:lnTo>
                  <a:lnTo>
                    <a:pt x="138" y="336"/>
                  </a:lnTo>
                  <a:lnTo>
                    <a:pt x="132" y="336"/>
                  </a:lnTo>
                  <a:lnTo>
                    <a:pt x="132" y="360"/>
                  </a:lnTo>
                  <a:lnTo>
                    <a:pt x="102" y="372"/>
                  </a:lnTo>
                  <a:lnTo>
                    <a:pt x="114" y="384"/>
                  </a:lnTo>
                  <a:lnTo>
                    <a:pt x="120" y="396"/>
                  </a:lnTo>
                  <a:lnTo>
                    <a:pt x="114" y="402"/>
                  </a:lnTo>
                  <a:lnTo>
                    <a:pt x="108" y="414"/>
                  </a:lnTo>
                  <a:lnTo>
                    <a:pt x="102" y="420"/>
                  </a:lnTo>
                  <a:lnTo>
                    <a:pt x="90" y="420"/>
                  </a:lnTo>
                  <a:lnTo>
                    <a:pt x="78" y="414"/>
                  </a:lnTo>
                  <a:lnTo>
                    <a:pt x="72" y="402"/>
                  </a:lnTo>
                  <a:lnTo>
                    <a:pt x="60" y="396"/>
                  </a:lnTo>
                  <a:lnTo>
                    <a:pt x="48" y="384"/>
                  </a:lnTo>
                  <a:lnTo>
                    <a:pt x="36" y="378"/>
                  </a:lnTo>
                  <a:lnTo>
                    <a:pt x="24" y="378"/>
                  </a:lnTo>
                  <a:lnTo>
                    <a:pt x="18" y="384"/>
                  </a:lnTo>
                  <a:lnTo>
                    <a:pt x="18" y="396"/>
                  </a:lnTo>
                  <a:lnTo>
                    <a:pt x="24" y="402"/>
                  </a:lnTo>
                  <a:lnTo>
                    <a:pt x="24" y="426"/>
                  </a:lnTo>
                  <a:lnTo>
                    <a:pt x="0" y="426"/>
                  </a:lnTo>
                  <a:lnTo>
                    <a:pt x="6" y="462"/>
                  </a:lnTo>
                  <a:lnTo>
                    <a:pt x="12" y="468"/>
                  </a:lnTo>
                  <a:lnTo>
                    <a:pt x="12" y="492"/>
                  </a:lnTo>
                  <a:lnTo>
                    <a:pt x="0" y="516"/>
                  </a:lnTo>
                  <a:lnTo>
                    <a:pt x="0" y="546"/>
                  </a:lnTo>
                  <a:lnTo>
                    <a:pt x="6" y="546"/>
                  </a:lnTo>
                  <a:lnTo>
                    <a:pt x="12" y="552"/>
                  </a:lnTo>
                  <a:lnTo>
                    <a:pt x="36" y="552"/>
                  </a:lnTo>
                  <a:lnTo>
                    <a:pt x="42" y="558"/>
                  </a:lnTo>
                  <a:lnTo>
                    <a:pt x="42" y="588"/>
                  </a:lnTo>
                  <a:lnTo>
                    <a:pt x="48" y="594"/>
                  </a:lnTo>
                  <a:lnTo>
                    <a:pt x="90" y="594"/>
                  </a:lnTo>
                  <a:lnTo>
                    <a:pt x="102" y="588"/>
                  </a:lnTo>
                  <a:lnTo>
                    <a:pt x="114" y="588"/>
                  </a:lnTo>
                  <a:lnTo>
                    <a:pt x="162" y="636"/>
                  </a:lnTo>
                  <a:lnTo>
                    <a:pt x="168" y="648"/>
                  </a:lnTo>
                  <a:lnTo>
                    <a:pt x="180" y="660"/>
                  </a:lnTo>
                  <a:lnTo>
                    <a:pt x="180" y="672"/>
                  </a:lnTo>
                  <a:lnTo>
                    <a:pt x="144" y="672"/>
                  </a:lnTo>
                  <a:lnTo>
                    <a:pt x="144" y="678"/>
                  </a:lnTo>
                  <a:lnTo>
                    <a:pt x="156" y="690"/>
                  </a:lnTo>
                  <a:lnTo>
                    <a:pt x="174" y="696"/>
                  </a:lnTo>
                  <a:lnTo>
                    <a:pt x="186" y="696"/>
                  </a:lnTo>
                  <a:lnTo>
                    <a:pt x="192" y="702"/>
                  </a:lnTo>
                  <a:lnTo>
                    <a:pt x="198" y="702"/>
                  </a:lnTo>
                  <a:lnTo>
                    <a:pt x="204" y="690"/>
                  </a:lnTo>
                  <a:lnTo>
                    <a:pt x="222" y="690"/>
                  </a:lnTo>
                  <a:lnTo>
                    <a:pt x="228" y="684"/>
                  </a:lnTo>
                  <a:lnTo>
                    <a:pt x="246" y="672"/>
                  </a:lnTo>
                  <a:lnTo>
                    <a:pt x="306" y="648"/>
                  </a:lnTo>
                  <a:lnTo>
                    <a:pt x="324" y="642"/>
                  </a:lnTo>
                  <a:lnTo>
                    <a:pt x="336" y="648"/>
                  </a:lnTo>
                  <a:lnTo>
                    <a:pt x="342" y="654"/>
                  </a:lnTo>
                  <a:lnTo>
                    <a:pt x="360" y="666"/>
                  </a:lnTo>
                  <a:lnTo>
                    <a:pt x="366" y="672"/>
                  </a:lnTo>
                  <a:lnTo>
                    <a:pt x="384" y="672"/>
                  </a:lnTo>
                  <a:lnTo>
                    <a:pt x="390" y="666"/>
                  </a:lnTo>
                  <a:lnTo>
                    <a:pt x="402" y="666"/>
                  </a:lnTo>
                  <a:lnTo>
                    <a:pt x="408" y="660"/>
                  </a:lnTo>
                  <a:lnTo>
                    <a:pt x="414" y="666"/>
                  </a:lnTo>
                  <a:lnTo>
                    <a:pt x="426" y="672"/>
                  </a:lnTo>
                  <a:lnTo>
                    <a:pt x="450" y="696"/>
                  </a:lnTo>
                  <a:lnTo>
                    <a:pt x="450" y="726"/>
                  </a:lnTo>
                  <a:lnTo>
                    <a:pt x="444" y="732"/>
                  </a:lnTo>
                  <a:lnTo>
                    <a:pt x="444" y="738"/>
                  </a:lnTo>
                  <a:lnTo>
                    <a:pt x="438" y="744"/>
                  </a:lnTo>
                  <a:lnTo>
                    <a:pt x="438" y="750"/>
                  </a:lnTo>
                  <a:lnTo>
                    <a:pt x="444" y="756"/>
                  </a:lnTo>
                  <a:lnTo>
                    <a:pt x="450" y="768"/>
                  </a:lnTo>
                  <a:lnTo>
                    <a:pt x="462" y="774"/>
                  </a:lnTo>
                  <a:lnTo>
                    <a:pt x="474" y="786"/>
                  </a:lnTo>
                  <a:lnTo>
                    <a:pt x="486" y="786"/>
                  </a:lnTo>
                  <a:lnTo>
                    <a:pt x="504" y="768"/>
                  </a:lnTo>
                  <a:lnTo>
                    <a:pt x="516" y="762"/>
                  </a:lnTo>
                  <a:lnTo>
                    <a:pt x="528" y="762"/>
                  </a:lnTo>
                  <a:lnTo>
                    <a:pt x="528" y="792"/>
                  </a:lnTo>
                  <a:lnTo>
                    <a:pt x="546" y="810"/>
                  </a:lnTo>
                  <a:lnTo>
                    <a:pt x="510" y="816"/>
                  </a:lnTo>
                  <a:lnTo>
                    <a:pt x="510" y="828"/>
                  </a:lnTo>
                  <a:lnTo>
                    <a:pt x="504" y="834"/>
                  </a:lnTo>
                  <a:lnTo>
                    <a:pt x="498" y="834"/>
                  </a:lnTo>
                  <a:lnTo>
                    <a:pt x="486" y="822"/>
                  </a:lnTo>
                  <a:lnTo>
                    <a:pt x="486" y="816"/>
                  </a:lnTo>
                  <a:lnTo>
                    <a:pt x="498" y="804"/>
                  </a:lnTo>
                  <a:lnTo>
                    <a:pt x="504" y="804"/>
                  </a:lnTo>
                  <a:lnTo>
                    <a:pt x="510" y="798"/>
                  </a:lnTo>
                  <a:lnTo>
                    <a:pt x="480" y="798"/>
                  </a:lnTo>
                  <a:lnTo>
                    <a:pt x="462" y="792"/>
                  </a:lnTo>
                  <a:lnTo>
                    <a:pt x="450" y="792"/>
                  </a:lnTo>
                  <a:lnTo>
                    <a:pt x="432" y="786"/>
                  </a:lnTo>
                  <a:lnTo>
                    <a:pt x="408" y="786"/>
                  </a:lnTo>
                  <a:lnTo>
                    <a:pt x="390" y="780"/>
                  </a:lnTo>
                  <a:lnTo>
                    <a:pt x="372" y="780"/>
                  </a:lnTo>
                  <a:lnTo>
                    <a:pt x="360" y="774"/>
                  </a:lnTo>
                  <a:lnTo>
                    <a:pt x="348" y="774"/>
                  </a:lnTo>
                  <a:lnTo>
                    <a:pt x="360" y="804"/>
                  </a:lnTo>
                  <a:lnTo>
                    <a:pt x="342" y="804"/>
                  </a:lnTo>
                  <a:lnTo>
                    <a:pt x="330" y="816"/>
                  </a:lnTo>
                  <a:lnTo>
                    <a:pt x="330" y="822"/>
                  </a:lnTo>
                  <a:lnTo>
                    <a:pt x="336" y="828"/>
                  </a:lnTo>
                  <a:lnTo>
                    <a:pt x="348" y="834"/>
                  </a:lnTo>
                  <a:lnTo>
                    <a:pt x="354" y="840"/>
                  </a:lnTo>
                  <a:lnTo>
                    <a:pt x="366" y="840"/>
                  </a:lnTo>
                  <a:lnTo>
                    <a:pt x="372" y="846"/>
                  </a:lnTo>
                  <a:lnTo>
                    <a:pt x="372" y="852"/>
                  </a:lnTo>
                  <a:lnTo>
                    <a:pt x="360" y="852"/>
                  </a:lnTo>
                  <a:lnTo>
                    <a:pt x="348" y="846"/>
                  </a:lnTo>
                  <a:lnTo>
                    <a:pt x="336" y="846"/>
                  </a:lnTo>
                  <a:lnTo>
                    <a:pt x="324" y="840"/>
                  </a:lnTo>
                  <a:lnTo>
                    <a:pt x="306" y="834"/>
                  </a:lnTo>
                  <a:lnTo>
                    <a:pt x="300" y="834"/>
                  </a:lnTo>
                  <a:lnTo>
                    <a:pt x="294" y="840"/>
                  </a:lnTo>
                  <a:lnTo>
                    <a:pt x="294" y="846"/>
                  </a:lnTo>
                  <a:lnTo>
                    <a:pt x="306" y="858"/>
                  </a:lnTo>
                  <a:lnTo>
                    <a:pt x="318" y="864"/>
                  </a:lnTo>
                  <a:lnTo>
                    <a:pt x="324" y="870"/>
                  </a:lnTo>
                  <a:lnTo>
                    <a:pt x="336" y="870"/>
                  </a:lnTo>
                  <a:lnTo>
                    <a:pt x="336" y="882"/>
                  </a:lnTo>
                  <a:lnTo>
                    <a:pt x="342" y="894"/>
                  </a:lnTo>
                  <a:lnTo>
                    <a:pt x="366" y="918"/>
                  </a:lnTo>
                  <a:lnTo>
                    <a:pt x="372" y="930"/>
                  </a:lnTo>
                  <a:lnTo>
                    <a:pt x="372" y="954"/>
                  </a:lnTo>
                  <a:lnTo>
                    <a:pt x="408" y="960"/>
                  </a:lnTo>
                  <a:lnTo>
                    <a:pt x="414" y="978"/>
                  </a:lnTo>
                  <a:lnTo>
                    <a:pt x="444" y="978"/>
                  </a:lnTo>
                  <a:lnTo>
                    <a:pt x="480" y="996"/>
                  </a:lnTo>
                  <a:lnTo>
                    <a:pt x="486" y="1002"/>
                  </a:lnTo>
                  <a:lnTo>
                    <a:pt x="486" y="1014"/>
                  </a:lnTo>
                  <a:lnTo>
                    <a:pt x="480" y="1020"/>
                  </a:lnTo>
                  <a:lnTo>
                    <a:pt x="468" y="1026"/>
                  </a:lnTo>
                  <a:lnTo>
                    <a:pt x="462" y="1038"/>
                  </a:lnTo>
                  <a:lnTo>
                    <a:pt x="462" y="1056"/>
                  </a:lnTo>
                  <a:lnTo>
                    <a:pt x="468" y="1062"/>
                  </a:lnTo>
                  <a:lnTo>
                    <a:pt x="492" y="1062"/>
                  </a:lnTo>
                  <a:lnTo>
                    <a:pt x="498" y="1056"/>
                  </a:lnTo>
                  <a:lnTo>
                    <a:pt x="504" y="1038"/>
                  </a:lnTo>
                  <a:lnTo>
                    <a:pt x="510" y="1026"/>
                  </a:lnTo>
                  <a:lnTo>
                    <a:pt x="516" y="1020"/>
                  </a:lnTo>
                  <a:lnTo>
                    <a:pt x="528" y="1020"/>
                  </a:lnTo>
                  <a:lnTo>
                    <a:pt x="546" y="1026"/>
                  </a:lnTo>
                  <a:lnTo>
                    <a:pt x="546" y="1020"/>
                  </a:lnTo>
                  <a:lnTo>
                    <a:pt x="552" y="1014"/>
                  </a:lnTo>
                  <a:lnTo>
                    <a:pt x="570" y="1014"/>
                  </a:lnTo>
                  <a:lnTo>
                    <a:pt x="594" y="1026"/>
                  </a:lnTo>
                  <a:lnTo>
                    <a:pt x="606" y="1026"/>
                  </a:lnTo>
                  <a:lnTo>
                    <a:pt x="618" y="1038"/>
                  </a:lnTo>
                  <a:lnTo>
                    <a:pt x="630" y="1044"/>
                  </a:lnTo>
                  <a:lnTo>
                    <a:pt x="636" y="1056"/>
                  </a:lnTo>
                  <a:lnTo>
                    <a:pt x="642" y="1062"/>
                  </a:lnTo>
                  <a:lnTo>
                    <a:pt x="648" y="1074"/>
                  </a:lnTo>
                  <a:lnTo>
                    <a:pt x="672" y="1098"/>
                  </a:lnTo>
                  <a:lnTo>
                    <a:pt x="684" y="1104"/>
                  </a:lnTo>
                  <a:lnTo>
                    <a:pt x="690" y="1110"/>
                  </a:lnTo>
                  <a:lnTo>
                    <a:pt x="696" y="1104"/>
                  </a:lnTo>
                  <a:lnTo>
                    <a:pt x="696" y="1098"/>
                  </a:lnTo>
                  <a:lnTo>
                    <a:pt x="702" y="1092"/>
                  </a:lnTo>
                  <a:lnTo>
                    <a:pt x="654" y="810"/>
                  </a:lnTo>
                  <a:lnTo>
                    <a:pt x="798" y="768"/>
                  </a:lnTo>
                  <a:lnTo>
                    <a:pt x="804" y="774"/>
                  </a:lnTo>
                  <a:lnTo>
                    <a:pt x="804" y="762"/>
                  </a:lnTo>
                  <a:lnTo>
                    <a:pt x="810" y="756"/>
                  </a:lnTo>
                  <a:lnTo>
                    <a:pt x="810" y="750"/>
                  </a:lnTo>
                  <a:lnTo>
                    <a:pt x="816" y="738"/>
                  </a:lnTo>
                  <a:lnTo>
                    <a:pt x="816" y="732"/>
                  </a:lnTo>
                  <a:lnTo>
                    <a:pt x="822" y="726"/>
                  </a:lnTo>
                  <a:lnTo>
                    <a:pt x="846" y="726"/>
                  </a:lnTo>
                  <a:lnTo>
                    <a:pt x="852" y="750"/>
                  </a:lnTo>
                  <a:lnTo>
                    <a:pt x="864" y="744"/>
                  </a:lnTo>
                  <a:lnTo>
                    <a:pt x="870" y="744"/>
                  </a:lnTo>
                  <a:lnTo>
                    <a:pt x="876" y="738"/>
                  </a:lnTo>
                  <a:lnTo>
                    <a:pt x="876" y="732"/>
                  </a:lnTo>
                  <a:lnTo>
                    <a:pt x="852" y="708"/>
                  </a:lnTo>
                  <a:lnTo>
                    <a:pt x="870" y="708"/>
                  </a:lnTo>
                  <a:lnTo>
                    <a:pt x="882" y="720"/>
                  </a:lnTo>
                  <a:lnTo>
                    <a:pt x="936" y="720"/>
                  </a:lnTo>
                  <a:lnTo>
                    <a:pt x="924" y="708"/>
                  </a:lnTo>
                  <a:lnTo>
                    <a:pt x="918" y="708"/>
                  </a:lnTo>
                  <a:lnTo>
                    <a:pt x="906" y="696"/>
                  </a:lnTo>
                  <a:lnTo>
                    <a:pt x="882" y="696"/>
                  </a:lnTo>
                  <a:lnTo>
                    <a:pt x="876" y="690"/>
                  </a:lnTo>
                  <a:lnTo>
                    <a:pt x="876" y="684"/>
                  </a:lnTo>
                  <a:lnTo>
                    <a:pt x="882" y="678"/>
                  </a:lnTo>
                  <a:lnTo>
                    <a:pt x="906" y="678"/>
                  </a:lnTo>
                  <a:lnTo>
                    <a:pt x="924" y="666"/>
                  </a:lnTo>
                  <a:lnTo>
                    <a:pt x="930" y="672"/>
                  </a:lnTo>
                  <a:lnTo>
                    <a:pt x="936" y="684"/>
                  </a:lnTo>
                  <a:lnTo>
                    <a:pt x="942" y="690"/>
                  </a:lnTo>
                  <a:lnTo>
                    <a:pt x="948" y="690"/>
                  </a:lnTo>
                  <a:lnTo>
                    <a:pt x="954" y="684"/>
                  </a:lnTo>
                  <a:lnTo>
                    <a:pt x="960" y="690"/>
                  </a:lnTo>
                  <a:lnTo>
                    <a:pt x="966" y="702"/>
                  </a:lnTo>
                  <a:lnTo>
                    <a:pt x="966" y="708"/>
                  </a:lnTo>
                  <a:lnTo>
                    <a:pt x="960" y="714"/>
                  </a:lnTo>
                  <a:lnTo>
                    <a:pt x="954" y="714"/>
                  </a:lnTo>
                  <a:lnTo>
                    <a:pt x="942" y="720"/>
                  </a:lnTo>
                  <a:lnTo>
                    <a:pt x="924" y="738"/>
                  </a:lnTo>
                  <a:lnTo>
                    <a:pt x="888" y="738"/>
                  </a:lnTo>
                  <a:lnTo>
                    <a:pt x="882" y="744"/>
                  </a:lnTo>
                  <a:lnTo>
                    <a:pt x="882" y="756"/>
                  </a:lnTo>
                  <a:lnTo>
                    <a:pt x="888" y="762"/>
                  </a:lnTo>
                  <a:lnTo>
                    <a:pt x="900" y="762"/>
                  </a:lnTo>
                  <a:lnTo>
                    <a:pt x="906" y="768"/>
                  </a:lnTo>
                  <a:lnTo>
                    <a:pt x="918" y="768"/>
                  </a:lnTo>
                  <a:lnTo>
                    <a:pt x="918" y="786"/>
                  </a:lnTo>
                  <a:lnTo>
                    <a:pt x="912" y="798"/>
                  </a:lnTo>
                  <a:lnTo>
                    <a:pt x="912" y="816"/>
                  </a:lnTo>
                  <a:lnTo>
                    <a:pt x="918" y="822"/>
                  </a:lnTo>
                  <a:lnTo>
                    <a:pt x="984" y="858"/>
                  </a:lnTo>
                  <a:lnTo>
                    <a:pt x="1062" y="930"/>
                  </a:lnTo>
                  <a:lnTo>
                    <a:pt x="1068" y="930"/>
                  </a:lnTo>
                  <a:lnTo>
                    <a:pt x="1074" y="924"/>
                  </a:lnTo>
                  <a:lnTo>
                    <a:pt x="1110" y="924"/>
                  </a:lnTo>
                  <a:lnTo>
                    <a:pt x="1128" y="918"/>
                  </a:lnTo>
                  <a:lnTo>
                    <a:pt x="1188" y="918"/>
                  </a:lnTo>
                  <a:lnTo>
                    <a:pt x="1206" y="924"/>
                  </a:lnTo>
                  <a:lnTo>
                    <a:pt x="1224" y="924"/>
                  </a:lnTo>
                  <a:lnTo>
                    <a:pt x="1230" y="918"/>
                  </a:lnTo>
                  <a:lnTo>
                    <a:pt x="1254" y="906"/>
                  </a:lnTo>
                  <a:lnTo>
                    <a:pt x="1266" y="906"/>
                  </a:lnTo>
                  <a:lnTo>
                    <a:pt x="1272" y="918"/>
                  </a:lnTo>
                  <a:lnTo>
                    <a:pt x="1290" y="936"/>
                  </a:lnTo>
                  <a:lnTo>
                    <a:pt x="1296" y="954"/>
                  </a:lnTo>
                  <a:lnTo>
                    <a:pt x="1308" y="960"/>
                  </a:lnTo>
                  <a:lnTo>
                    <a:pt x="1314" y="972"/>
                  </a:lnTo>
                  <a:lnTo>
                    <a:pt x="1344" y="972"/>
                  </a:lnTo>
                  <a:lnTo>
                    <a:pt x="1344" y="984"/>
                  </a:lnTo>
                  <a:lnTo>
                    <a:pt x="1350" y="1002"/>
                  </a:lnTo>
                  <a:lnTo>
                    <a:pt x="1350" y="1044"/>
                  </a:lnTo>
                  <a:lnTo>
                    <a:pt x="1356" y="1050"/>
                  </a:lnTo>
                  <a:lnTo>
                    <a:pt x="1362" y="1050"/>
                  </a:lnTo>
                  <a:lnTo>
                    <a:pt x="1368" y="1044"/>
                  </a:lnTo>
                  <a:lnTo>
                    <a:pt x="1380" y="1044"/>
                  </a:lnTo>
                  <a:lnTo>
                    <a:pt x="1386" y="1050"/>
                  </a:lnTo>
                  <a:lnTo>
                    <a:pt x="1416" y="1110"/>
                  </a:lnTo>
                  <a:lnTo>
                    <a:pt x="1494" y="1110"/>
                  </a:lnTo>
                  <a:lnTo>
                    <a:pt x="1512" y="1116"/>
                  </a:lnTo>
                  <a:lnTo>
                    <a:pt x="1512" y="1134"/>
                  </a:lnTo>
                  <a:lnTo>
                    <a:pt x="1506" y="1140"/>
                  </a:lnTo>
                  <a:lnTo>
                    <a:pt x="1506" y="1152"/>
                  </a:lnTo>
                  <a:lnTo>
                    <a:pt x="1512" y="1152"/>
                  </a:lnTo>
                  <a:lnTo>
                    <a:pt x="1524" y="1158"/>
                  </a:lnTo>
                  <a:lnTo>
                    <a:pt x="1536" y="1158"/>
                  </a:lnTo>
                  <a:lnTo>
                    <a:pt x="1542" y="1164"/>
                  </a:lnTo>
                  <a:lnTo>
                    <a:pt x="1542" y="1152"/>
                  </a:lnTo>
                  <a:lnTo>
                    <a:pt x="1536" y="1146"/>
                  </a:lnTo>
                  <a:lnTo>
                    <a:pt x="1536" y="1134"/>
                  </a:lnTo>
                  <a:lnTo>
                    <a:pt x="1548" y="1122"/>
                  </a:lnTo>
                  <a:lnTo>
                    <a:pt x="1560" y="1116"/>
                  </a:lnTo>
                  <a:lnTo>
                    <a:pt x="1566" y="1110"/>
                  </a:lnTo>
                  <a:lnTo>
                    <a:pt x="1572" y="1110"/>
                  </a:lnTo>
                  <a:lnTo>
                    <a:pt x="1572" y="1092"/>
                  </a:lnTo>
                  <a:lnTo>
                    <a:pt x="1584" y="1080"/>
                  </a:lnTo>
                  <a:lnTo>
                    <a:pt x="1596" y="1074"/>
                  </a:lnTo>
                  <a:lnTo>
                    <a:pt x="1608" y="1074"/>
                  </a:lnTo>
                  <a:lnTo>
                    <a:pt x="1614" y="1068"/>
                  </a:lnTo>
                  <a:lnTo>
                    <a:pt x="1620" y="1068"/>
                  </a:lnTo>
                  <a:lnTo>
                    <a:pt x="1632" y="1044"/>
                  </a:lnTo>
                  <a:lnTo>
                    <a:pt x="1656" y="1044"/>
                  </a:lnTo>
                  <a:lnTo>
                    <a:pt x="1686" y="1026"/>
                  </a:lnTo>
                  <a:lnTo>
                    <a:pt x="1662" y="1026"/>
                  </a:lnTo>
                  <a:lnTo>
                    <a:pt x="1662" y="1008"/>
                  </a:lnTo>
                  <a:lnTo>
                    <a:pt x="1668" y="996"/>
                  </a:lnTo>
                  <a:lnTo>
                    <a:pt x="1686" y="978"/>
                  </a:lnTo>
                  <a:lnTo>
                    <a:pt x="1716" y="978"/>
                  </a:lnTo>
                  <a:lnTo>
                    <a:pt x="1728" y="984"/>
                  </a:lnTo>
                  <a:lnTo>
                    <a:pt x="1746" y="990"/>
                  </a:lnTo>
                  <a:lnTo>
                    <a:pt x="1782" y="1008"/>
                  </a:lnTo>
                  <a:lnTo>
                    <a:pt x="1812" y="1008"/>
                  </a:lnTo>
                  <a:lnTo>
                    <a:pt x="1830" y="1014"/>
                  </a:lnTo>
                  <a:lnTo>
                    <a:pt x="1830" y="1002"/>
                  </a:lnTo>
                  <a:lnTo>
                    <a:pt x="1824" y="990"/>
                  </a:lnTo>
                  <a:lnTo>
                    <a:pt x="1824" y="960"/>
                  </a:lnTo>
                  <a:lnTo>
                    <a:pt x="1830" y="954"/>
                  </a:lnTo>
                  <a:lnTo>
                    <a:pt x="1872" y="954"/>
                  </a:lnTo>
                  <a:lnTo>
                    <a:pt x="1884" y="960"/>
                  </a:lnTo>
                  <a:lnTo>
                    <a:pt x="1890" y="972"/>
                  </a:lnTo>
                  <a:lnTo>
                    <a:pt x="1914" y="972"/>
                  </a:lnTo>
                  <a:lnTo>
                    <a:pt x="1926" y="978"/>
                  </a:lnTo>
                  <a:lnTo>
                    <a:pt x="1944" y="978"/>
                  </a:lnTo>
                  <a:lnTo>
                    <a:pt x="1962" y="972"/>
                  </a:lnTo>
                  <a:lnTo>
                    <a:pt x="2082" y="972"/>
                  </a:lnTo>
                  <a:lnTo>
                    <a:pt x="2094" y="978"/>
                  </a:lnTo>
                  <a:lnTo>
                    <a:pt x="2106" y="978"/>
                  </a:lnTo>
                  <a:lnTo>
                    <a:pt x="2154" y="972"/>
                  </a:lnTo>
                  <a:lnTo>
                    <a:pt x="2166" y="984"/>
                  </a:lnTo>
                  <a:lnTo>
                    <a:pt x="2184" y="984"/>
                  </a:lnTo>
                  <a:lnTo>
                    <a:pt x="2208" y="1014"/>
                  </a:lnTo>
                  <a:lnTo>
                    <a:pt x="2250" y="1014"/>
                  </a:lnTo>
                  <a:lnTo>
                    <a:pt x="2268" y="1020"/>
                  </a:lnTo>
                  <a:lnTo>
                    <a:pt x="2262" y="1014"/>
                  </a:lnTo>
                  <a:lnTo>
                    <a:pt x="2262" y="1002"/>
                  </a:lnTo>
                  <a:lnTo>
                    <a:pt x="2256" y="996"/>
                  </a:lnTo>
                  <a:lnTo>
                    <a:pt x="2256" y="984"/>
                  </a:lnTo>
                  <a:lnTo>
                    <a:pt x="2280" y="984"/>
                  </a:lnTo>
                  <a:lnTo>
                    <a:pt x="2262" y="966"/>
                  </a:lnTo>
                  <a:lnTo>
                    <a:pt x="2262" y="960"/>
                  </a:lnTo>
                  <a:lnTo>
                    <a:pt x="2268" y="954"/>
                  </a:lnTo>
                  <a:lnTo>
                    <a:pt x="2286" y="954"/>
                  </a:lnTo>
                  <a:lnTo>
                    <a:pt x="2286" y="942"/>
                  </a:lnTo>
                  <a:lnTo>
                    <a:pt x="2274" y="936"/>
                  </a:lnTo>
                  <a:lnTo>
                    <a:pt x="2268" y="924"/>
                  </a:lnTo>
                  <a:lnTo>
                    <a:pt x="2226" y="882"/>
                  </a:lnTo>
                  <a:lnTo>
                    <a:pt x="2214" y="858"/>
                  </a:lnTo>
                  <a:lnTo>
                    <a:pt x="2214" y="828"/>
                  </a:lnTo>
                  <a:lnTo>
                    <a:pt x="2196" y="828"/>
                  </a:lnTo>
                  <a:lnTo>
                    <a:pt x="2184" y="822"/>
                  </a:lnTo>
                  <a:lnTo>
                    <a:pt x="2178" y="816"/>
                  </a:lnTo>
                  <a:lnTo>
                    <a:pt x="2178" y="810"/>
                  </a:lnTo>
                  <a:lnTo>
                    <a:pt x="2184" y="804"/>
                  </a:lnTo>
                  <a:lnTo>
                    <a:pt x="2196" y="798"/>
                  </a:lnTo>
                  <a:lnTo>
                    <a:pt x="2208" y="798"/>
                  </a:lnTo>
                  <a:lnTo>
                    <a:pt x="2220" y="792"/>
                  </a:lnTo>
                  <a:lnTo>
                    <a:pt x="2232" y="792"/>
                  </a:lnTo>
                  <a:lnTo>
                    <a:pt x="2268" y="774"/>
                  </a:lnTo>
                  <a:lnTo>
                    <a:pt x="2280" y="774"/>
                  </a:lnTo>
                  <a:lnTo>
                    <a:pt x="2286" y="780"/>
                  </a:lnTo>
                  <a:lnTo>
                    <a:pt x="2292" y="792"/>
                  </a:lnTo>
                  <a:lnTo>
                    <a:pt x="2298" y="798"/>
                  </a:lnTo>
                  <a:lnTo>
                    <a:pt x="2316" y="786"/>
                  </a:lnTo>
                  <a:lnTo>
                    <a:pt x="2328" y="798"/>
                  </a:lnTo>
                  <a:lnTo>
                    <a:pt x="2334" y="798"/>
                  </a:lnTo>
                  <a:lnTo>
                    <a:pt x="2340" y="792"/>
                  </a:lnTo>
                  <a:lnTo>
                    <a:pt x="2340" y="780"/>
                  </a:lnTo>
                  <a:lnTo>
                    <a:pt x="2334" y="774"/>
                  </a:lnTo>
                  <a:lnTo>
                    <a:pt x="2328" y="774"/>
                  </a:lnTo>
                  <a:lnTo>
                    <a:pt x="2322" y="768"/>
                  </a:lnTo>
                  <a:lnTo>
                    <a:pt x="2316" y="768"/>
                  </a:lnTo>
                  <a:lnTo>
                    <a:pt x="2316" y="630"/>
                  </a:lnTo>
                  <a:lnTo>
                    <a:pt x="2328" y="630"/>
                  </a:lnTo>
                  <a:lnTo>
                    <a:pt x="2340" y="636"/>
                  </a:lnTo>
                  <a:lnTo>
                    <a:pt x="2352" y="636"/>
                  </a:lnTo>
                  <a:lnTo>
                    <a:pt x="2376" y="648"/>
                  </a:lnTo>
                  <a:lnTo>
                    <a:pt x="2424" y="648"/>
                  </a:lnTo>
                  <a:lnTo>
                    <a:pt x="2436" y="660"/>
                  </a:lnTo>
                  <a:lnTo>
                    <a:pt x="2454" y="642"/>
                  </a:lnTo>
                  <a:lnTo>
                    <a:pt x="2472" y="642"/>
                  </a:lnTo>
                  <a:lnTo>
                    <a:pt x="2478" y="636"/>
                  </a:lnTo>
                  <a:lnTo>
                    <a:pt x="2478" y="618"/>
                  </a:lnTo>
                  <a:lnTo>
                    <a:pt x="2466" y="594"/>
                  </a:lnTo>
                  <a:lnTo>
                    <a:pt x="2454" y="582"/>
                  </a:lnTo>
                  <a:lnTo>
                    <a:pt x="2442" y="558"/>
                  </a:lnTo>
                  <a:lnTo>
                    <a:pt x="2442" y="540"/>
                  </a:lnTo>
                  <a:lnTo>
                    <a:pt x="2454" y="528"/>
                  </a:lnTo>
                  <a:lnTo>
                    <a:pt x="2496" y="528"/>
                  </a:lnTo>
                  <a:lnTo>
                    <a:pt x="2502" y="522"/>
                  </a:lnTo>
                  <a:lnTo>
                    <a:pt x="2502" y="510"/>
                  </a:lnTo>
                  <a:lnTo>
                    <a:pt x="2484" y="492"/>
                  </a:lnTo>
                  <a:close/>
                  <a:moveTo>
                    <a:pt x="2082" y="696"/>
                  </a:moveTo>
                  <a:lnTo>
                    <a:pt x="2046" y="696"/>
                  </a:lnTo>
                  <a:lnTo>
                    <a:pt x="2046" y="702"/>
                  </a:lnTo>
                  <a:lnTo>
                    <a:pt x="2040" y="708"/>
                  </a:lnTo>
                  <a:lnTo>
                    <a:pt x="2028" y="708"/>
                  </a:lnTo>
                  <a:lnTo>
                    <a:pt x="2022" y="702"/>
                  </a:lnTo>
                  <a:lnTo>
                    <a:pt x="2010" y="696"/>
                  </a:lnTo>
                  <a:lnTo>
                    <a:pt x="1980" y="702"/>
                  </a:lnTo>
                  <a:lnTo>
                    <a:pt x="1950" y="696"/>
                  </a:lnTo>
                  <a:lnTo>
                    <a:pt x="1932" y="696"/>
                  </a:lnTo>
                  <a:lnTo>
                    <a:pt x="1908" y="690"/>
                  </a:lnTo>
                  <a:lnTo>
                    <a:pt x="1860" y="690"/>
                  </a:lnTo>
                  <a:lnTo>
                    <a:pt x="1854" y="684"/>
                  </a:lnTo>
                  <a:lnTo>
                    <a:pt x="1854" y="678"/>
                  </a:lnTo>
                  <a:lnTo>
                    <a:pt x="1836" y="696"/>
                  </a:lnTo>
                  <a:lnTo>
                    <a:pt x="1830" y="696"/>
                  </a:lnTo>
                  <a:lnTo>
                    <a:pt x="1824" y="708"/>
                  </a:lnTo>
                  <a:lnTo>
                    <a:pt x="1824" y="714"/>
                  </a:lnTo>
                  <a:lnTo>
                    <a:pt x="1818" y="726"/>
                  </a:lnTo>
                  <a:lnTo>
                    <a:pt x="1812" y="732"/>
                  </a:lnTo>
                  <a:lnTo>
                    <a:pt x="1794" y="732"/>
                  </a:lnTo>
                  <a:lnTo>
                    <a:pt x="1800" y="762"/>
                  </a:lnTo>
                  <a:lnTo>
                    <a:pt x="1788" y="768"/>
                  </a:lnTo>
                  <a:lnTo>
                    <a:pt x="1806" y="786"/>
                  </a:lnTo>
                  <a:lnTo>
                    <a:pt x="1800" y="810"/>
                  </a:lnTo>
                  <a:lnTo>
                    <a:pt x="1794" y="810"/>
                  </a:lnTo>
                  <a:lnTo>
                    <a:pt x="1788" y="798"/>
                  </a:lnTo>
                  <a:lnTo>
                    <a:pt x="1776" y="792"/>
                  </a:lnTo>
                  <a:lnTo>
                    <a:pt x="1770" y="780"/>
                  </a:lnTo>
                  <a:lnTo>
                    <a:pt x="1758" y="774"/>
                  </a:lnTo>
                  <a:lnTo>
                    <a:pt x="1752" y="762"/>
                  </a:lnTo>
                  <a:lnTo>
                    <a:pt x="1752" y="750"/>
                  </a:lnTo>
                  <a:lnTo>
                    <a:pt x="1746" y="732"/>
                  </a:lnTo>
                  <a:lnTo>
                    <a:pt x="1746" y="720"/>
                  </a:lnTo>
                  <a:lnTo>
                    <a:pt x="1764" y="702"/>
                  </a:lnTo>
                  <a:lnTo>
                    <a:pt x="1776" y="702"/>
                  </a:lnTo>
                  <a:lnTo>
                    <a:pt x="1782" y="696"/>
                  </a:lnTo>
                  <a:lnTo>
                    <a:pt x="1788" y="684"/>
                  </a:lnTo>
                  <a:lnTo>
                    <a:pt x="1788" y="678"/>
                  </a:lnTo>
                  <a:lnTo>
                    <a:pt x="1800" y="666"/>
                  </a:lnTo>
                  <a:lnTo>
                    <a:pt x="1818" y="666"/>
                  </a:lnTo>
                  <a:lnTo>
                    <a:pt x="1830" y="672"/>
                  </a:lnTo>
                  <a:lnTo>
                    <a:pt x="1848" y="672"/>
                  </a:lnTo>
                  <a:lnTo>
                    <a:pt x="1854" y="666"/>
                  </a:lnTo>
                  <a:lnTo>
                    <a:pt x="1896" y="666"/>
                  </a:lnTo>
                  <a:lnTo>
                    <a:pt x="1908" y="672"/>
                  </a:lnTo>
                  <a:lnTo>
                    <a:pt x="1914" y="678"/>
                  </a:lnTo>
                  <a:lnTo>
                    <a:pt x="1932" y="678"/>
                  </a:lnTo>
                  <a:lnTo>
                    <a:pt x="1944" y="684"/>
                  </a:lnTo>
                  <a:lnTo>
                    <a:pt x="1974" y="684"/>
                  </a:lnTo>
                  <a:lnTo>
                    <a:pt x="1986" y="672"/>
                  </a:lnTo>
                  <a:lnTo>
                    <a:pt x="2028" y="672"/>
                  </a:lnTo>
                  <a:lnTo>
                    <a:pt x="2034" y="678"/>
                  </a:lnTo>
                  <a:lnTo>
                    <a:pt x="2046" y="678"/>
                  </a:lnTo>
                  <a:lnTo>
                    <a:pt x="2052" y="672"/>
                  </a:lnTo>
                  <a:lnTo>
                    <a:pt x="2064" y="666"/>
                  </a:lnTo>
                  <a:lnTo>
                    <a:pt x="2088" y="666"/>
                  </a:lnTo>
                  <a:lnTo>
                    <a:pt x="2088" y="684"/>
                  </a:lnTo>
                  <a:lnTo>
                    <a:pt x="2082" y="690"/>
                  </a:lnTo>
                  <a:lnTo>
                    <a:pt x="2082" y="696"/>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33" name="Katar" descr="© INSCALE GmbH, 05.05.2010&#10;http://www.presentationload.com/">
              <a:extLst>
                <a:ext uri="{FF2B5EF4-FFF2-40B4-BE49-F238E27FC236}">
                  <a16:creationId xmlns:a16="http://schemas.microsoft.com/office/drawing/2014/main" id="{5C7FD96A-20E1-4AD0-8A31-B23A4E42C872}"/>
                </a:ext>
              </a:extLst>
            </p:cNvPr>
            <p:cNvSpPr>
              <a:spLocks/>
            </p:cNvSpPr>
            <p:nvPr/>
          </p:nvSpPr>
          <p:spPr bwMode="gray">
            <a:xfrm>
              <a:off x="5539011" y="3412169"/>
              <a:ext cx="26656" cy="56449"/>
            </a:xfrm>
            <a:custGeom>
              <a:avLst/>
              <a:gdLst>
                <a:gd name="T0" fmla="*/ 2147483647 w 66"/>
                <a:gd name="T1" fmla="*/ 2147483647 h 144"/>
                <a:gd name="T2" fmla="*/ 2147483647 w 66"/>
                <a:gd name="T3" fmla="*/ 2147483647 h 144"/>
                <a:gd name="T4" fmla="*/ 2147483647 w 66"/>
                <a:gd name="T5" fmla="*/ 2147483647 h 144"/>
                <a:gd name="T6" fmla="*/ 2147483647 w 66"/>
                <a:gd name="T7" fmla="*/ 2147483647 h 144"/>
                <a:gd name="T8" fmla="*/ 2147483647 w 66"/>
                <a:gd name="T9" fmla="*/ 2147483647 h 144"/>
                <a:gd name="T10" fmla="*/ 2147483647 w 66"/>
                <a:gd name="T11" fmla="*/ 2147483647 h 144"/>
                <a:gd name="T12" fmla="*/ 2147483647 w 66"/>
                <a:gd name="T13" fmla="*/ 2147483647 h 144"/>
                <a:gd name="T14" fmla="*/ 2147483647 w 66"/>
                <a:gd name="T15" fmla="*/ 2147483647 h 144"/>
                <a:gd name="T16" fmla="*/ 2147483647 w 66"/>
                <a:gd name="T17" fmla="*/ 2147483647 h 144"/>
                <a:gd name="T18" fmla="*/ 2147483647 w 66"/>
                <a:gd name="T19" fmla="*/ 0 h 144"/>
                <a:gd name="T20" fmla="*/ 2147483647 w 66"/>
                <a:gd name="T21" fmla="*/ 0 h 144"/>
                <a:gd name="T22" fmla="*/ 2147483647 w 66"/>
                <a:gd name="T23" fmla="*/ 2147483647 h 144"/>
                <a:gd name="T24" fmla="*/ 2147483647 w 66"/>
                <a:gd name="T25" fmla="*/ 2147483647 h 144"/>
                <a:gd name="T26" fmla="*/ 2147483647 w 66"/>
                <a:gd name="T27" fmla="*/ 2147483647 h 144"/>
                <a:gd name="T28" fmla="*/ 2147483647 w 66"/>
                <a:gd name="T29" fmla="*/ 2147483647 h 144"/>
                <a:gd name="T30" fmla="*/ 0 w 66"/>
                <a:gd name="T31" fmla="*/ 2147483647 h 144"/>
                <a:gd name="T32" fmla="*/ 2147483647 w 66"/>
                <a:gd name="T33" fmla="*/ 2147483647 h 144"/>
                <a:gd name="T34" fmla="*/ 2147483647 w 66"/>
                <a:gd name="T35" fmla="*/ 2147483647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144"/>
                <a:gd name="T56" fmla="*/ 66 w 66"/>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144">
                  <a:moveTo>
                    <a:pt x="24" y="132"/>
                  </a:moveTo>
                  <a:lnTo>
                    <a:pt x="36" y="144"/>
                  </a:lnTo>
                  <a:lnTo>
                    <a:pt x="48" y="132"/>
                  </a:lnTo>
                  <a:lnTo>
                    <a:pt x="54" y="114"/>
                  </a:lnTo>
                  <a:lnTo>
                    <a:pt x="60" y="102"/>
                  </a:lnTo>
                  <a:lnTo>
                    <a:pt x="66" y="84"/>
                  </a:lnTo>
                  <a:lnTo>
                    <a:pt x="66" y="30"/>
                  </a:lnTo>
                  <a:lnTo>
                    <a:pt x="54" y="18"/>
                  </a:lnTo>
                  <a:lnTo>
                    <a:pt x="48" y="6"/>
                  </a:lnTo>
                  <a:lnTo>
                    <a:pt x="36" y="0"/>
                  </a:lnTo>
                  <a:lnTo>
                    <a:pt x="30" y="0"/>
                  </a:lnTo>
                  <a:lnTo>
                    <a:pt x="24" y="6"/>
                  </a:lnTo>
                  <a:lnTo>
                    <a:pt x="18" y="18"/>
                  </a:lnTo>
                  <a:lnTo>
                    <a:pt x="12" y="36"/>
                  </a:lnTo>
                  <a:lnTo>
                    <a:pt x="12" y="108"/>
                  </a:lnTo>
                  <a:lnTo>
                    <a:pt x="0" y="120"/>
                  </a:lnTo>
                  <a:lnTo>
                    <a:pt x="6" y="132"/>
                  </a:lnTo>
                  <a:lnTo>
                    <a:pt x="24" y="13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34" name="Kanada" descr="© INSCALE GmbH, 05.05.2010&#10;http://www.presentationload.com/">
              <a:extLst>
                <a:ext uri="{FF2B5EF4-FFF2-40B4-BE49-F238E27FC236}">
                  <a16:creationId xmlns:a16="http://schemas.microsoft.com/office/drawing/2014/main" id="{5E22F241-56E7-488D-85A1-BCA6CA4ABB83}"/>
                </a:ext>
              </a:extLst>
            </p:cNvPr>
            <p:cNvSpPr>
              <a:spLocks noEditPoints="1"/>
            </p:cNvSpPr>
            <p:nvPr/>
          </p:nvSpPr>
          <p:spPr bwMode="gray">
            <a:xfrm>
              <a:off x="988609" y="1762608"/>
              <a:ext cx="2215616" cy="1146226"/>
            </a:xfrm>
            <a:custGeom>
              <a:avLst/>
              <a:gdLst>
                <a:gd name="T0" fmla="*/ 2147483647 w 5574"/>
                <a:gd name="T1" fmla="*/ 2147483647 h 2886"/>
                <a:gd name="T2" fmla="*/ 2147483647 w 5574"/>
                <a:gd name="T3" fmla="*/ 2147483647 h 2886"/>
                <a:gd name="T4" fmla="*/ 2147483647 w 5574"/>
                <a:gd name="T5" fmla="*/ 2147483647 h 2886"/>
                <a:gd name="T6" fmla="*/ 2147483647 w 5574"/>
                <a:gd name="T7" fmla="*/ 2147483647 h 2886"/>
                <a:gd name="T8" fmla="*/ 2147483647 w 5574"/>
                <a:gd name="T9" fmla="*/ 2147483647 h 2886"/>
                <a:gd name="T10" fmla="*/ 2147483647 w 5574"/>
                <a:gd name="T11" fmla="*/ 2147483647 h 2886"/>
                <a:gd name="T12" fmla="*/ 2147483647 w 5574"/>
                <a:gd name="T13" fmla="*/ 2147483647 h 2886"/>
                <a:gd name="T14" fmla="*/ 2147483647 w 5574"/>
                <a:gd name="T15" fmla="*/ 2147483647 h 2886"/>
                <a:gd name="T16" fmla="*/ 2147483647 w 5574"/>
                <a:gd name="T17" fmla="*/ 2147483647 h 2886"/>
                <a:gd name="T18" fmla="*/ 2147483647 w 5574"/>
                <a:gd name="T19" fmla="*/ 2147483647 h 2886"/>
                <a:gd name="T20" fmla="*/ 2147483647 w 5574"/>
                <a:gd name="T21" fmla="*/ 2147483647 h 2886"/>
                <a:gd name="T22" fmla="*/ 2147483647 w 5574"/>
                <a:gd name="T23" fmla="*/ 2147483647 h 2886"/>
                <a:gd name="T24" fmla="*/ 2147483647 w 5574"/>
                <a:gd name="T25" fmla="*/ 2147483647 h 2886"/>
                <a:gd name="T26" fmla="*/ 2147483647 w 5574"/>
                <a:gd name="T27" fmla="*/ 2147483647 h 2886"/>
                <a:gd name="T28" fmla="*/ 2147483647 w 5574"/>
                <a:gd name="T29" fmla="*/ 2147483647 h 2886"/>
                <a:gd name="T30" fmla="*/ 2147483647 w 5574"/>
                <a:gd name="T31" fmla="*/ 2147483647 h 2886"/>
                <a:gd name="T32" fmla="*/ 2147483647 w 5574"/>
                <a:gd name="T33" fmla="*/ 2147483647 h 2886"/>
                <a:gd name="T34" fmla="*/ 2147483647 w 5574"/>
                <a:gd name="T35" fmla="*/ 2147483647 h 2886"/>
                <a:gd name="T36" fmla="*/ 2147483647 w 5574"/>
                <a:gd name="T37" fmla="*/ 2147483647 h 2886"/>
                <a:gd name="T38" fmla="*/ 2147483647 w 5574"/>
                <a:gd name="T39" fmla="*/ 2147483647 h 2886"/>
                <a:gd name="T40" fmla="*/ 2147483647 w 5574"/>
                <a:gd name="T41" fmla="*/ 2147483647 h 2886"/>
                <a:gd name="T42" fmla="*/ 2147483647 w 5574"/>
                <a:gd name="T43" fmla="*/ 2147483647 h 2886"/>
                <a:gd name="T44" fmla="*/ 2147483647 w 5574"/>
                <a:gd name="T45" fmla="*/ 2147483647 h 2886"/>
                <a:gd name="T46" fmla="*/ 2147483647 w 5574"/>
                <a:gd name="T47" fmla="*/ 2147483647 h 2886"/>
                <a:gd name="T48" fmla="*/ 2147483647 w 5574"/>
                <a:gd name="T49" fmla="*/ 2147483647 h 2886"/>
                <a:gd name="T50" fmla="*/ 2147483647 w 5574"/>
                <a:gd name="T51" fmla="*/ 2147483647 h 2886"/>
                <a:gd name="T52" fmla="*/ 2147483647 w 5574"/>
                <a:gd name="T53" fmla="*/ 2147483647 h 2886"/>
                <a:gd name="T54" fmla="*/ 2147483647 w 5574"/>
                <a:gd name="T55" fmla="*/ 2147483647 h 2886"/>
                <a:gd name="T56" fmla="*/ 2147483647 w 5574"/>
                <a:gd name="T57" fmla="*/ 2147483647 h 2886"/>
                <a:gd name="T58" fmla="*/ 2147483647 w 5574"/>
                <a:gd name="T59" fmla="*/ 2147483647 h 2886"/>
                <a:gd name="T60" fmla="*/ 2147483647 w 5574"/>
                <a:gd name="T61" fmla="*/ 2147483647 h 2886"/>
                <a:gd name="T62" fmla="*/ 2147483647 w 5574"/>
                <a:gd name="T63" fmla="*/ 2147483647 h 2886"/>
                <a:gd name="T64" fmla="*/ 2147483647 w 5574"/>
                <a:gd name="T65" fmla="*/ 2147483647 h 2886"/>
                <a:gd name="T66" fmla="*/ 2147483647 w 5574"/>
                <a:gd name="T67" fmla="*/ 2147483647 h 2886"/>
                <a:gd name="T68" fmla="*/ 2147483647 w 5574"/>
                <a:gd name="T69" fmla="*/ 2147483647 h 2886"/>
                <a:gd name="T70" fmla="*/ 2147483647 w 5574"/>
                <a:gd name="T71" fmla="*/ 2147483647 h 2886"/>
                <a:gd name="T72" fmla="*/ 2147483647 w 5574"/>
                <a:gd name="T73" fmla="*/ 2147483647 h 2886"/>
                <a:gd name="T74" fmla="*/ 2147483647 w 5574"/>
                <a:gd name="T75" fmla="*/ 2147483647 h 2886"/>
                <a:gd name="T76" fmla="*/ 2147483647 w 5574"/>
                <a:gd name="T77" fmla="*/ 2147483647 h 2886"/>
                <a:gd name="T78" fmla="*/ 2147483647 w 5574"/>
                <a:gd name="T79" fmla="*/ 2147483647 h 2886"/>
                <a:gd name="T80" fmla="*/ 2147483647 w 5574"/>
                <a:gd name="T81" fmla="*/ 2147483647 h 2886"/>
                <a:gd name="T82" fmla="*/ 2147483647 w 5574"/>
                <a:gd name="T83" fmla="*/ 2147483647 h 2886"/>
                <a:gd name="T84" fmla="*/ 2147483647 w 5574"/>
                <a:gd name="T85" fmla="*/ 2147483647 h 2886"/>
                <a:gd name="T86" fmla="*/ 2147483647 w 5574"/>
                <a:gd name="T87" fmla="*/ 2147483647 h 2886"/>
                <a:gd name="T88" fmla="*/ 2147483647 w 5574"/>
                <a:gd name="T89" fmla="*/ 2147483647 h 2886"/>
                <a:gd name="T90" fmla="*/ 2147483647 w 5574"/>
                <a:gd name="T91" fmla="*/ 2147483647 h 2886"/>
                <a:gd name="T92" fmla="*/ 2147483647 w 5574"/>
                <a:gd name="T93" fmla="*/ 2147483647 h 2886"/>
                <a:gd name="T94" fmla="*/ 2147483647 w 5574"/>
                <a:gd name="T95" fmla="*/ 2147483647 h 2886"/>
                <a:gd name="T96" fmla="*/ 2147483647 w 5574"/>
                <a:gd name="T97" fmla="*/ 2147483647 h 2886"/>
                <a:gd name="T98" fmla="*/ 2147483647 w 5574"/>
                <a:gd name="T99" fmla="*/ 2147483647 h 2886"/>
                <a:gd name="T100" fmla="*/ 2147483647 w 5574"/>
                <a:gd name="T101" fmla="*/ 2147483647 h 2886"/>
                <a:gd name="T102" fmla="*/ 2147483647 w 5574"/>
                <a:gd name="T103" fmla="*/ 2147483647 h 2886"/>
                <a:gd name="T104" fmla="*/ 2147483647 w 5574"/>
                <a:gd name="T105" fmla="*/ 2147483647 h 2886"/>
                <a:gd name="T106" fmla="*/ 2147483647 w 5574"/>
                <a:gd name="T107" fmla="*/ 2147483647 h 2886"/>
                <a:gd name="T108" fmla="*/ 2147483647 w 5574"/>
                <a:gd name="T109" fmla="*/ 2147483647 h 2886"/>
                <a:gd name="T110" fmla="*/ 2147483647 w 5574"/>
                <a:gd name="T111" fmla="*/ 2147483647 h 2886"/>
                <a:gd name="T112" fmla="*/ 2147483647 w 5574"/>
                <a:gd name="T113" fmla="*/ 2147483647 h 2886"/>
                <a:gd name="T114" fmla="*/ 2147483647 w 5574"/>
                <a:gd name="T115" fmla="*/ 2147483647 h 2886"/>
                <a:gd name="T116" fmla="*/ 2147483647 w 5574"/>
                <a:gd name="T117" fmla="*/ 2147483647 h 2886"/>
                <a:gd name="T118" fmla="*/ 2147483647 w 5574"/>
                <a:gd name="T119" fmla="*/ 2147483647 h 2886"/>
                <a:gd name="T120" fmla="*/ 2147483647 w 5574"/>
                <a:gd name="T121" fmla="*/ 2147483647 h 2886"/>
                <a:gd name="T122" fmla="*/ 2147483647 w 5574"/>
                <a:gd name="T123" fmla="*/ 2147483647 h 2886"/>
                <a:gd name="T124" fmla="*/ 2147483647 w 5574"/>
                <a:gd name="T125" fmla="*/ 2147483647 h 288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574"/>
                <a:gd name="T190" fmla="*/ 0 h 2886"/>
                <a:gd name="T191" fmla="*/ 5574 w 5574"/>
                <a:gd name="T192" fmla="*/ 2886 h 288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574" h="2886">
                  <a:moveTo>
                    <a:pt x="3114" y="252"/>
                  </a:moveTo>
                  <a:lnTo>
                    <a:pt x="3138" y="252"/>
                  </a:lnTo>
                  <a:lnTo>
                    <a:pt x="3150" y="258"/>
                  </a:lnTo>
                  <a:lnTo>
                    <a:pt x="3168" y="258"/>
                  </a:lnTo>
                  <a:lnTo>
                    <a:pt x="3174" y="252"/>
                  </a:lnTo>
                  <a:lnTo>
                    <a:pt x="3174" y="246"/>
                  </a:lnTo>
                  <a:lnTo>
                    <a:pt x="3168" y="234"/>
                  </a:lnTo>
                  <a:lnTo>
                    <a:pt x="3156" y="228"/>
                  </a:lnTo>
                  <a:lnTo>
                    <a:pt x="3108" y="228"/>
                  </a:lnTo>
                  <a:lnTo>
                    <a:pt x="3066" y="234"/>
                  </a:lnTo>
                  <a:lnTo>
                    <a:pt x="3036" y="246"/>
                  </a:lnTo>
                  <a:lnTo>
                    <a:pt x="3018" y="246"/>
                  </a:lnTo>
                  <a:lnTo>
                    <a:pt x="3060" y="246"/>
                  </a:lnTo>
                  <a:lnTo>
                    <a:pt x="3096" y="252"/>
                  </a:lnTo>
                  <a:lnTo>
                    <a:pt x="3114" y="252"/>
                  </a:lnTo>
                  <a:close/>
                  <a:moveTo>
                    <a:pt x="2988" y="318"/>
                  </a:moveTo>
                  <a:lnTo>
                    <a:pt x="3036" y="318"/>
                  </a:lnTo>
                  <a:lnTo>
                    <a:pt x="3048" y="312"/>
                  </a:lnTo>
                  <a:lnTo>
                    <a:pt x="3060" y="312"/>
                  </a:lnTo>
                  <a:lnTo>
                    <a:pt x="3072" y="300"/>
                  </a:lnTo>
                  <a:lnTo>
                    <a:pt x="3072" y="294"/>
                  </a:lnTo>
                  <a:lnTo>
                    <a:pt x="3066" y="282"/>
                  </a:lnTo>
                  <a:lnTo>
                    <a:pt x="3138" y="270"/>
                  </a:lnTo>
                  <a:lnTo>
                    <a:pt x="3120" y="264"/>
                  </a:lnTo>
                  <a:lnTo>
                    <a:pt x="3054" y="264"/>
                  </a:lnTo>
                  <a:lnTo>
                    <a:pt x="3042" y="276"/>
                  </a:lnTo>
                  <a:lnTo>
                    <a:pt x="3030" y="276"/>
                  </a:lnTo>
                  <a:lnTo>
                    <a:pt x="2994" y="270"/>
                  </a:lnTo>
                  <a:lnTo>
                    <a:pt x="2958" y="270"/>
                  </a:lnTo>
                  <a:lnTo>
                    <a:pt x="2940" y="282"/>
                  </a:lnTo>
                  <a:lnTo>
                    <a:pt x="2940" y="294"/>
                  </a:lnTo>
                  <a:lnTo>
                    <a:pt x="2946" y="300"/>
                  </a:lnTo>
                  <a:lnTo>
                    <a:pt x="2970" y="312"/>
                  </a:lnTo>
                  <a:lnTo>
                    <a:pt x="2976" y="318"/>
                  </a:lnTo>
                  <a:lnTo>
                    <a:pt x="2988" y="318"/>
                  </a:lnTo>
                  <a:close/>
                  <a:moveTo>
                    <a:pt x="2682" y="384"/>
                  </a:moveTo>
                  <a:lnTo>
                    <a:pt x="2628" y="408"/>
                  </a:lnTo>
                  <a:lnTo>
                    <a:pt x="2634" y="408"/>
                  </a:lnTo>
                  <a:lnTo>
                    <a:pt x="2646" y="414"/>
                  </a:lnTo>
                  <a:lnTo>
                    <a:pt x="2652" y="414"/>
                  </a:lnTo>
                  <a:lnTo>
                    <a:pt x="2658" y="420"/>
                  </a:lnTo>
                  <a:lnTo>
                    <a:pt x="2658" y="426"/>
                  </a:lnTo>
                  <a:lnTo>
                    <a:pt x="2622" y="426"/>
                  </a:lnTo>
                  <a:lnTo>
                    <a:pt x="2586" y="432"/>
                  </a:lnTo>
                  <a:lnTo>
                    <a:pt x="2556" y="438"/>
                  </a:lnTo>
                  <a:lnTo>
                    <a:pt x="2544" y="438"/>
                  </a:lnTo>
                  <a:lnTo>
                    <a:pt x="2520" y="456"/>
                  </a:lnTo>
                  <a:lnTo>
                    <a:pt x="2580" y="450"/>
                  </a:lnTo>
                  <a:lnTo>
                    <a:pt x="2586" y="450"/>
                  </a:lnTo>
                  <a:lnTo>
                    <a:pt x="2592" y="456"/>
                  </a:lnTo>
                  <a:lnTo>
                    <a:pt x="2610" y="456"/>
                  </a:lnTo>
                  <a:lnTo>
                    <a:pt x="2628" y="462"/>
                  </a:lnTo>
                  <a:lnTo>
                    <a:pt x="2658" y="462"/>
                  </a:lnTo>
                  <a:lnTo>
                    <a:pt x="2694" y="450"/>
                  </a:lnTo>
                  <a:lnTo>
                    <a:pt x="2730" y="444"/>
                  </a:lnTo>
                  <a:lnTo>
                    <a:pt x="2742" y="438"/>
                  </a:lnTo>
                  <a:lnTo>
                    <a:pt x="2742" y="450"/>
                  </a:lnTo>
                  <a:lnTo>
                    <a:pt x="2760" y="450"/>
                  </a:lnTo>
                  <a:lnTo>
                    <a:pt x="2796" y="444"/>
                  </a:lnTo>
                  <a:lnTo>
                    <a:pt x="2856" y="444"/>
                  </a:lnTo>
                  <a:lnTo>
                    <a:pt x="2850" y="444"/>
                  </a:lnTo>
                  <a:lnTo>
                    <a:pt x="2844" y="450"/>
                  </a:lnTo>
                  <a:lnTo>
                    <a:pt x="2832" y="450"/>
                  </a:lnTo>
                  <a:lnTo>
                    <a:pt x="2790" y="456"/>
                  </a:lnTo>
                  <a:lnTo>
                    <a:pt x="2730" y="468"/>
                  </a:lnTo>
                  <a:lnTo>
                    <a:pt x="2706" y="468"/>
                  </a:lnTo>
                  <a:lnTo>
                    <a:pt x="2688" y="474"/>
                  </a:lnTo>
                  <a:lnTo>
                    <a:pt x="2670" y="474"/>
                  </a:lnTo>
                  <a:lnTo>
                    <a:pt x="2652" y="480"/>
                  </a:lnTo>
                  <a:lnTo>
                    <a:pt x="2646" y="486"/>
                  </a:lnTo>
                  <a:lnTo>
                    <a:pt x="2640" y="486"/>
                  </a:lnTo>
                  <a:lnTo>
                    <a:pt x="2658" y="486"/>
                  </a:lnTo>
                  <a:lnTo>
                    <a:pt x="2694" y="492"/>
                  </a:lnTo>
                  <a:lnTo>
                    <a:pt x="2760" y="498"/>
                  </a:lnTo>
                  <a:lnTo>
                    <a:pt x="2808" y="492"/>
                  </a:lnTo>
                  <a:lnTo>
                    <a:pt x="2850" y="480"/>
                  </a:lnTo>
                  <a:lnTo>
                    <a:pt x="2874" y="474"/>
                  </a:lnTo>
                  <a:lnTo>
                    <a:pt x="2886" y="468"/>
                  </a:lnTo>
                  <a:lnTo>
                    <a:pt x="2958" y="450"/>
                  </a:lnTo>
                  <a:lnTo>
                    <a:pt x="3000" y="450"/>
                  </a:lnTo>
                  <a:lnTo>
                    <a:pt x="3054" y="444"/>
                  </a:lnTo>
                  <a:lnTo>
                    <a:pt x="3096" y="438"/>
                  </a:lnTo>
                  <a:lnTo>
                    <a:pt x="3120" y="432"/>
                  </a:lnTo>
                  <a:lnTo>
                    <a:pt x="3138" y="420"/>
                  </a:lnTo>
                  <a:lnTo>
                    <a:pt x="3156" y="414"/>
                  </a:lnTo>
                  <a:lnTo>
                    <a:pt x="3168" y="408"/>
                  </a:lnTo>
                  <a:lnTo>
                    <a:pt x="3168" y="396"/>
                  </a:lnTo>
                  <a:lnTo>
                    <a:pt x="3156" y="384"/>
                  </a:lnTo>
                  <a:lnTo>
                    <a:pt x="3144" y="378"/>
                  </a:lnTo>
                  <a:lnTo>
                    <a:pt x="3120" y="378"/>
                  </a:lnTo>
                  <a:lnTo>
                    <a:pt x="3114" y="384"/>
                  </a:lnTo>
                  <a:lnTo>
                    <a:pt x="3108" y="384"/>
                  </a:lnTo>
                  <a:lnTo>
                    <a:pt x="3108" y="396"/>
                  </a:lnTo>
                  <a:lnTo>
                    <a:pt x="3072" y="396"/>
                  </a:lnTo>
                  <a:lnTo>
                    <a:pt x="3078" y="390"/>
                  </a:lnTo>
                  <a:lnTo>
                    <a:pt x="3078" y="378"/>
                  </a:lnTo>
                  <a:lnTo>
                    <a:pt x="3102" y="354"/>
                  </a:lnTo>
                  <a:lnTo>
                    <a:pt x="3102" y="342"/>
                  </a:lnTo>
                  <a:lnTo>
                    <a:pt x="3096" y="342"/>
                  </a:lnTo>
                  <a:lnTo>
                    <a:pt x="3054" y="348"/>
                  </a:lnTo>
                  <a:lnTo>
                    <a:pt x="2988" y="372"/>
                  </a:lnTo>
                  <a:lnTo>
                    <a:pt x="2976" y="378"/>
                  </a:lnTo>
                  <a:lnTo>
                    <a:pt x="3024" y="378"/>
                  </a:lnTo>
                  <a:lnTo>
                    <a:pt x="3018" y="408"/>
                  </a:lnTo>
                  <a:lnTo>
                    <a:pt x="2898" y="420"/>
                  </a:lnTo>
                  <a:lnTo>
                    <a:pt x="2898" y="414"/>
                  </a:lnTo>
                  <a:lnTo>
                    <a:pt x="2892" y="408"/>
                  </a:lnTo>
                  <a:lnTo>
                    <a:pt x="2892" y="372"/>
                  </a:lnTo>
                  <a:lnTo>
                    <a:pt x="2886" y="366"/>
                  </a:lnTo>
                  <a:lnTo>
                    <a:pt x="2874" y="366"/>
                  </a:lnTo>
                  <a:lnTo>
                    <a:pt x="2856" y="360"/>
                  </a:lnTo>
                  <a:lnTo>
                    <a:pt x="2814" y="360"/>
                  </a:lnTo>
                  <a:lnTo>
                    <a:pt x="2682" y="384"/>
                  </a:lnTo>
                  <a:close/>
                  <a:moveTo>
                    <a:pt x="2832" y="342"/>
                  </a:moveTo>
                  <a:lnTo>
                    <a:pt x="2844" y="330"/>
                  </a:lnTo>
                  <a:lnTo>
                    <a:pt x="2844" y="318"/>
                  </a:lnTo>
                  <a:lnTo>
                    <a:pt x="2838" y="312"/>
                  </a:lnTo>
                  <a:lnTo>
                    <a:pt x="2814" y="312"/>
                  </a:lnTo>
                  <a:lnTo>
                    <a:pt x="2802" y="318"/>
                  </a:lnTo>
                  <a:lnTo>
                    <a:pt x="2796" y="324"/>
                  </a:lnTo>
                  <a:lnTo>
                    <a:pt x="2796" y="330"/>
                  </a:lnTo>
                  <a:lnTo>
                    <a:pt x="2802" y="336"/>
                  </a:lnTo>
                  <a:lnTo>
                    <a:pt x="2814" y="336"/>
                  </a:lnTo>
                  <a:lnTo>
                    <a:pt x="2820" y="342"/>
                  </a:lnTo>
                  <a:lnTo>
                    <a:pt x="2832" y="342"/>
                  </a:lnTo>
                  <a:close/>
                  <a:moveTo>
                    <a:pt x="3012" y="564"/>
                  </a:moveTo>
                  <a:lnTo>
                    <a:pt x="2988" y="540"/>
                  </a:lnTo>
                  <a:lnTo>
                    <a:pt x="2958" y="540"/>
                  </a:lnTo>
                  <a:lnTo>
                    <a:pt x="2952" y="534"/>
                  </a:lnTo>
                  <a:lnTo>
                    <a:pt x="2946" y="534"/>
                  </a:lnTo>
                  <a:lnTo>
                    <a:pt x="2934" y="528"/>
                  </a:lnTo>
                  <a:lnTo>
                    <a:pt x="2916" y="528"/>
                  </a:lnTo>
                  <a:lnTo>
                    <a:pt x="2898" y="534"/>
                  </a:lnTo>
                  <a:lnTo>
                    <a:pt x="2892" y="540"/>
                  </a:lnTo>
                  <a:lnTo>
                    <a:pt x="2892" y="552"/>
                  </a:lnTo>
                  <a:lnTo>
                    <a:pt x="2928" y="570"/>
                  </a:lnTo>
                  <a:lnTo>
                    <a:pt x="2934" y="576"/>
                  </a:lnTo>
                  <a:lnTo>
                    <a:pt x="2946" y="582"/>
                  </a:lnTo>
                  <a:lnTo>
                    <a:pt x="3012" y="564"/>
                  </a:lnTo>
                  <a:close/>
                  <a:moveTo>
                    <a:pt x="2460" y="414"/>
                  </a:moveTo>
                  <a:lnTo>
                    <a:pt x="2442" y="420"/>
                  </a:lnTo>
                  <a:lnTo>
                    <a:pt x="2430" y="426"/>
                  </a:lnTo>
                  <a:lnTo>
                    <a:pt x="2430" y="438"/>
                  </a:lnTo>
                  <a:lnTo>
                    <a:pt x="2442" y="438"/>
                  </a:lnTo>
                  <a:lnTo>
                    <a:pt x="2472" y="432"/>
                  </a:lnTo>
                  <a:lnTo>
                    <a:pt x="2490" y="426"/>
                  </a:lnTo>
                  <a:lnTo>
                    <a:pt x="2502" y="420"/>
                  </a:lnTo>
                  <a:lnTo>
                    <a:pt x="2502" y="414"/>
                  </a:lnTo>
                  <a:lnTo>
                    <a:pt x="2496" y="408"/>
                  </a:lnTo>
                  <a:lnTo>
                    <a:pt x="2484" y="408"/>
                  </a:lnTo>
                  <a:lnTo>
                    <a:pt x="2460" y="414"/>
                  </a:lnTo>
                  <a:close/>
                  <a:moveTo>
                    <a:pt x="2970" y="858"/>
                  </a:moveTo>
                  <a:lnTo>
                    <a:pt x="2988" y="858"/>
                  </a:lnTo>
                  <a:lnTo>
                    <a:pt x="3006" y="864"/>
                  </a:lnTo>
                  <a:lnTo>
                    <a:pt x="3018" y="870"/>
                  </a:lnTo>
                  <a:lnTo>
                    <a:pt x="3036" y="876"/>
                  </a:lnTo>
                  <a:lnTo>
                    <a:pt x="3060" y="882"/>
                  </a:lnTo>
                  <a:lnTo>
                    <a:pt x="3096" y="882"/>
                  </a:lnTo>
                  <a:lnTo>
                    <a:pt x="3126" y="876"/>
                  </a:lnTo>
                  <a:lnTo>
                    <a:pt x="3138" y="876"/>
                  </a:lnTo>
                  <a:lnTo>
                    <a:pt x="3120" y="810"/>
                  </a:lnTo>
                  <a:lnTo>
                    <a:pt x="3018" y="792"/>
                  </a:lnTo>
                  <a:lnTo>
                    <a:pt x="2988" y="828"/>
                  </a:lnTo>
                  <a:lnTo>
                    <a:pt x="2958" y="828"/>
                  </a:lnTo>
                  <a:lnTo>
                    <a:pt x="2952" y="834"/>
                  </a:lnTo>
                  <a:lnTo>
                    <a:pt x="2952" y="846"/>
                  </a:lnTo>
                  <a:lnTo>
                    <a:pt x="2958" y="852"/>
                  </a:lnTo>
                  <a:lnTo>
                    <a:pt x="2970" y="858"/>
                  </a:lnTo>
                  <a:close/>
                  <a:moveTo>
                    <a:pt x="168" y="2034"/>
                  </a:moveTo>
                  <a:lnTo>
                    <a:pt x="168" y="2040"/>
                  </a:lnTo>
                  <a:lnTo>
                    <a:pt x="174" y="2046"/>
                  </a:lnTo>
                  <a:lnTo>
                    <a:pt x="192" y="2046"/>
                  </a:lnTo>
                  <a:lnTo>
                    <a:pt x="186" y="2070"/>
                  </a:lnTo>
                  <a:lnTo>
                    <a:pt x="216" y="2052"/>
                  </a:lnTo>
                  <a:lnTo>
                    <a:pt x="216" y="2028"/>
                  </a:lnTo>
                  <a:lnTo>
                    <a:pt x="174" y="2028"/>
                  </a:lnTo>
                  <a:lnTo>
                    <a:pt x="168" y="2034"/>
                  </a:lnTo>
                  <a:close/>
                  <a:moveTo>
                    <a:pt x="252" y="2298"/>
                  </a:moveTo>
                  <a:lnTo>
                    <a:pt x="252" y="2292"/>
                  </a:lnTo>
                  <a:lnTo>
                    <a:pt x="246" y="2286"/>
                  </a:lnTo>
                  <a:lnTo>
                    <a:pt x="246" y="2268"/>
                  </a:lnTo>
                  <a:lnTo>
                    <a:pt x="252" y="2256"/>
                  </a:lnTo>
                  <a:lnTo>
                    <a:pt x="252" y="2238"/>
                  </a:lnTo>
                  <a:lnTo>
                    <a:pt x="246" y="2226"/>
                  </a:lnTo>
                  <a:lnTo>
                    <a:pt x="228" y="2226"/>
                  </a:lnTo>
                  <a:lnTo>
                    <a:pt x="216" y="2220"/>
                  </a:lnTo>
                  <a:lnTo>
                    <a:pt x="204" y="2220"/>
                  </a:lnTo>
                  <a:lnTo>
                    <a:pt x="192" y="2214"/>
                  </a:lnTo>
                  <a:lnTo>
                    <a:pt x="186" y="2208"/>
                  </a:lnTo>
                  <a:lnTo>
                    <a:pt x="174" y="2202"/>
                  </a:lnTo>
                  <a:lnTo>
                    <a:pt x="150" y="2178"/>
                  </a:lnTo>
                  <a:lnTo>
                    <a:pt x="138" y="2172"/>
                  </a:lnTo>
                  <a:lnTo>
                    <a:pt x="126" y="2172"/>
                  </a:lnTo>
                  <a:lnTo>
                    <a:pt x="102" y="2184"/>
                  </a:lnTo>
                  <a:lnTo>
                    <a:pt x="96" y="2196"/>
                  </a:lnTo>
                  <a:lnTo>
                    <a:pt x="96" y="2202"/>
                  </a:lnTo>
                  <a:lnTo>
                    <a:pt x="108" y="2208"/>
                  </a:lnTo>
                  <a:lnTo>
                    <a:pt x="114" y="2214"/>
                  </a:lnTo>
                  <a:lnTo>
                    <a:pt x="120" y="2214"/>
                  </a:lnTo>
                  <a:lnTo>
                    <a:pt x="132" y="2202"/>
                  </a:lnTo>
                  <a:lnTo>
                    <a:pt x="144" y="2208"/>
                  </a:lnTo>
                  <a:lnTo>
                    <a:pt x="132" y="2220"/>
                  </a:lnTo>
                  <a:lnTo>
                    <a:pt x="120" y="2220"/>
                  </a:lnTo>
                  <a:lnTo>
                    <a:pt x="114" y="2226"/>
                  </a:lnTo>
                  <a:lnTo>
                    <a:pt x="102" y="2232"/>
                  </a:lnTo>
                  <a:lnTo>
                    <a:pt x="102" y="2244"/>
                  </a:lnTo>
                  <a:lnTo>
                    <a:pt x="108" y="2250"/>
                  </a:lnTo>
                  <a:lnTo>
                    <a:pt x="126" y="2250"/>
                  </a:lnTo>
                  <a:lnTo>
                    <a:pt x="138" y="2244"/>
                  </a:lnTo>
                  <a:lnTo>
                    <a:pt x="132" y="2262"/>
                  </a:lnTo>
                  <a:lnTo>
                    <a:pt x="150" y="2262"/>
                  </a:lnTo>
                  <a:lnTo>
                    <a:pt x="132" y="2280"/>
                  </a:lnTo>
                  <a:lnTo>
                    <a:pt x="168" y="2274"/>
                  </a:lnTo>
                  <a:lnTo>
                    <a:pt x="156" y="2280"/>
                  </a:lnTo>
                  <a:lnTo>
                    <a:pt x="144" y="2292"/>
                  </a:lnTo>
                  <a:lnTo>
                    <a:pt x="138" y="2292"/>
                  </a:lnTo>
                  <a:lnTo>
                    <a:pt x="138" y="2298"/>
                  </a:lnTo>
                  <a:lnTo>
                    <a:pt x="150" y="2298"/>
                  </a:lnTo>
                  <a:lnTo>
                    <a:pt x="162" y="2286"/>
                  </a:lnTo>
                  <a:lnTo>
                    <a:pt x="168" y="2286"/>
                  </a:lnTo>
                  <a:lnTo>
                    <a:pt x="174" y="2292"/>
                  </a:lnTo>
                  <a:lnTo>
                    <a:pt x="174" y="2304"/>
                  </a:lnTo>
                  <a:lnTo>
                    <a:pt x="162" y="2316"/>
                  </a:lnTo>
                  <a:lnTo>
                    <a:pt x="162" y="2328"/>
                  </a:lnTo>
                  <a:lnTo>
                    <a:pt x="210" y="2328"/>
                  </a:lnTo>
                  <a:lnTo>
                    <a:pt x="228" y="2316"/>
                  </a:lnTo>
                  <a:lnTo>
                    <a:pt x="210" y="2340"/>
                  </a:lnTo>
                  <a:lnTo>
                    <a:pt x="192" y="2340"/>
                  </a:lnTo>
                  <a:lnTo>
                    <a:pt x="186" y="2346"/>
                  </a:lnTo>
                  <a:lnTo>
                    <a:pt x="186" y="2352"/>
                  </a:lnTo>
                  <a:lnTo>
                    <a:pt x="210" y="2364"/>
                  </a:lnTo>
                  <a:lnTo>
                    <a:pt x="216" y="2364"/>
                  </a:lnTo>
                  <a:lnTo>
                    <a:pt x="228" y="2370"/>
                  </a:lnTo>
                  <a:lnTo>
                    <a:pt x="234" y="2376"/>
                  </a:lnTo>
                  <a:lnTo>
                    <a:pt x="246" y="2376"/>
                  </a:lnTo>
                  <a:lnTo>
                    <a:pt x="258" y="2382"/>
                  </a:lnTo>
                  <a:lnTo>
                    <a:pt x="270" y="2376"/>
                  </a:lnTo>
                  <a:lnTo>
                    <a:pt x="288" y="2358"/>
                  </a:lnTo>
                  <a:lnTo>
                    <a:pt x="294" y="2346"/>
                  </a:lnTo>
                  <a:lnTo>
                    <a:pt x="294" y="2340"/>
                  </a:lnTo>
                  <a:lnTo>
                    <a:pt x="288" y="2334"/>
                  </a:lnTo>
                  <a:lnTo>
                    <a:pt x="282" y="2322"/>
                  </a:lnTo>
                  <a:lnTo>
                    <a:pt x="270" y="2316"/>
                  </a:lnTo>
                  <a:lnTo>
                    <a:pt x="264" y="2304"/>
                  </a:lnTo>
                  <a:lnTo>
                    <a:pt x="252" y="2298"/>
                  </a:lnTo>
                  <a:close/>
                  <a:moveTo>
                    <a:pt x="2304" y="372"/>
                  </a:moveTo>
                  <a:lnTo>
                    <a:pt x="2316" y="372"/>
                  </a:lnTo>
                  <a:lnTo>
                    <a:pt x="2328" y="366"/>
                  </a:lnTo>
                  <a:lnTo>
                    <a:pt x="2376" y="366"/>
                  </a:lnTo>
                  <a:lnTo>
                    <a:pt x="2388" y="378"/>
                  </a:lnTo>
                  <a:lnTo>
                    <a:pt x="2388" y="390"/>
                  </a:lnTo>
                  <a:lnTo>
                    <a:pt x="2424" y="390"/>
                  </a:lnTo>
                  <a:lnTo>
                    <a:pt x="2442" y="384"/>
                  </a:lnTo>
                  <a:lnTo>
                    <a:pt x="2454" y="384"/>
                  </a:lnTo>
                  <a:lnTo>
                    <a:pt x="2466" y="390"/>
                  </a:lnTo>
                  <a:lnTo>
                    <a:pt x="2472" y="396"/>
                  </a:lnTo>
                  <a:lnTo>
                    <a:pt x="2490" y="396"/>
                  </a:lnTo>
                  <a:lnTo>
                    <a:pt x="2514" y="384"/>
                  </a:lnTo>
                  <a:lnTo>
                    <a:pt x="2520" y="372"/>
                  </a:lnTo>
                  <a:lnTo>
                    <a:pt x="2520" y="354"/>
                  </a:lnTo>
                  <a:lnTo>
                    <a:pt x="2550" y="354"/>
                  </a:lnTo>
                  <a:lnTo>
                    <a:pt x="2616" y="336"/>
                  </a:lnTo>
                  <a:lnTo>
                    <a:pt x="2580" y="366"/>
                  </a:lnTo>
                  <a:lnTo>
                    <a:pt x="2634" y="378"/>
                  </a:lnTo>
                  <a:lnTo>
                    <a:pt x="2688" y="354"/>
                  </a:lnTo>
                  <a:lnTo>
                    <a:pt x="2784" y="312"/>
                  </a:lnTo>
                  <a:lnTo>
                    <a:pt x="2778" y="312"/>
                  </a:lnTo>
                  <a:lnTo>
                    <a:pt x="2772" y="306"/>
                  </a:lnTo>
                  <a:lnTo>
                    <a:pt x="2754" y="300"/>
                  </a:lnTo>
                  <a:lnTo>
                    <a:pt x="2736" y="300"/>
                  </a:lnTo>
                  <a:lnTo>
                    <a:pt x="2724" y="294"/>
                  </a:lnTo>
                  <a:lnTo>
                    <a:pt x="2706" y="288"/>
                  </a:lnTo>
                  <a:lnTo>
                    <a:pt x="2676" y="288"/>
                  </a:lnTo>
                  <a:lnTo>
                    <a:pt x="2646" y="282"/>
                  </a:lnTo>
                  <a:lnTo>
                    <a:pt x="2604" y="282"/>
                  </a:lnTo>
                  <a:lnTo>
                    <a:pt x="2526" y="294"/>
                  </a:lnTo>
                  <a:lnTo>
                    <a:pt x="2526" y="318"/>
                  </a:lnTo>
                  <a:lnTo>
                    <a:pt x="2406" y="324"/>
                  </a:lnTo>
                  <a:lnTo>
                    <a:pt x="2400" y="324"/>
                  </a:lnTo>
                  <a:lnTo>
                    <a:pt x="2394" y="318"/>
                  </a:lnTo>
                  <a:lnTo>
                    <a:pt x="2334" y="318"/>
                  </a:lnTo>
                  <a:lnTo>
                    <a:pt x="2322" y="324"/>
                  </a:lnTo>
                  <a:lnTo>
                    <a:pt x="2310" y="324"/>
                  </a:lnTo>
                  <a:lnTo>
                    <a:pt x="2304" y="330"/>
                  </a:lnTo>
                  <a:lnTo>
                    <a:pt x="2304" y="372"/>
                  </a:lnTo>
                  <a:close/>
                  <a:moveTo>
                    <a:pt x="150" y="1980"/>
                  </a:moveTo>
                  <a:lnTo>
                    <a:pt x="162" y="2004"/>
                  </a:lnTo>
                  <a:lnTo>
                    <a:pt x="174" y="2010"/>
                  </a:lnTo>
                  <a:lnTo>
                    <a:pt x="186" y="1980"/>
                  </a:lnTo>
                  <a:lnTo>
                    <a:pt x="180" y="1974"/>
                  </a:lnTo>
                  <a:lnTo>
                    <a:pt x="174" y="1974"/>
                  </a:lnTo>
                  <a:lnTo>
                    <a:pt x="162" y="1968"/>
                  </a:lnTo>
                  <a:lnTo>
                    <a:pt x="156" y="1968"/>
                  </a:lnTo>
                  <a:lnTo>
                    <a:pt x="150" y="1974"/>
                  </a:lnTo>
                  <a:lnTo>
                    <a:pt x="150" y="1980"/>
                  </a:lnTo>
                  <a:close/>
                  <a:moveTo>
                    <a:pt x="126" y="1932"/>
                  </a:moveTo>
                  <a:lnTo>
                    <a:pt x="120" y="1932"/>
                  </a:lnTo>
                  <a:lnTo>
                    <a:pt x="108" y="1938"/>
                  </a:lnTo>
                  <a:lnTo>
                    <a:pt x="96" y="1938"/>
                  </a:lnTo>
                  <a:lnTo>
                    <a:pt x="84" y="1944"/>
                  </a:lnTo>
                  <a:lnTo>
                    <a:pt x="78" y="1944"/>
                  </a:lnTo>
                  <a:lnTo>
                    <a:pt x="78" y="1950"/>
                  </a:lnTo>
                  <a:lnTo>
                    <a:pt x="72" y="1962"/>
                  </a:lnTo>
                  <a:lnTo>
                    <a:pt x="66" y="1968"/>
                  </a:lnTo>
                  <a:lnTo>
                    <a:pt x="48" y="1968"/>
                  </a:lnTo>
                  <a:lnTo>
                    <a:pt x="42" y="1962"/>
                  </a:lnTo>
                  <a:lnTo>
                    <a:pt x="48" y="1956"/>
                  </a:lnTo>
                  <a:lnTo>
                    <a:pt x="60" y="1956"/>
                  </a:lnTo>
                  <a:lnTo>
                    <a:pt x="66" y="1950"/>
                  </a:lnTo>
                  <a:lnTo>
                    <a:pt x="72" y="1950"/>
                  </a:lnTo>
                  <a:lnTo>
                    <a:pt x="78" y="1944"/>
                  </a:lnTo>
                  <a:lnTo>
                    <a:pt x="84" y="1944"/>
                  </a:lnTo>
                  <a:lnTo>
                    <a:pt x="78" y="1938"/>
                  </a:lnTo>
                  <a:lnTo>
                    <a:pt x="54" y="1938"/>
                  </a:lnTo>
                  <a:lnTo>
                    <a:pt x="48" y="1944"/>
                  </a:lnTo>
                  <a:lnTo>
                    <a:pt x="48" y="1932"/>
                  </a:lnTo>
                  <a:lnTo>
                    <a:pt x="36" y="1932"/>
                  </a:lnTo>
                  <a:lnTo>
                    <a:pt x="24" y="1944"/>
                  </a:lnTo>
                  <a:lnTo>
                    <a:pt x="6" y="1980"/>
                  </a:lnTo>
                  <a:lnTo>
                    <a:pt x="6" y="2004"/>
                  </a:lnTo>
                  <a:lnTo>
                    <a:pt x="12" y="2004"/>
                  </a:lnTo>
                  <a:lnTo>
                    <a:pt x="12" y="2010"/>
                  </a:lnTo>
                  <a:lnTo>
                    <a:pt x="18" y="2016"/>
                  </a:lnTo>
                  <a:lnTo>
                    <a:pt x="0" y="2022"/>
                  </a:lnTo>
                  <a:lnTo>
                    <a:pt x="12" y="2076"/>
                  </a:lnTo>
                  <a:lnTo>
                    <a:pt x="12" y="2082"/>
                  </a:lnTo>
                  <a:lnTo>
                    <a:pt x="6" y="2082"/>
                  </a:lnTo>
                  <a:lnTo>
                    <a:pt x="12" y="2088"/>
                  </a:lnTo>
                  <a:lnTo>
                    <a:pt x="12" y="2094"/>
                  </a:lnTo>
                  <a:lnTo>
                    <a:pt x="30" y="2094"/>
                  </a:lnTo>
                  <a:lnTo>
                    <a:pt x="30" y="2070"/>
                  </a:lnTo>
                  <a:lnTo>
                    <a:pt x="24" y="2058"/>
                  </a:lnTo>
                  <a:lnTo>
                    <a:pt x="24" y="2040"/>
                  </a:lnTo>
                  <a:lnTo>
                    <a:pt x="36" y="2028"/>
                  </a:lnTo>
                  <a:lnTo>
                    <a:pt x="42" y="2028"/>
                  </a:lnTo>
                  <a:lnTo>
                    <a:pt x="48" y="2016"/>
                  </a:lnTo>
                  <a:lnTo>
                    <a:pt x="54" y="2010"/>
                  </a:lnTo>
                  <a:lnTo>
                    <a:pt x="54" y="1986"/>
                  </a:lnTo>
                  <a:lnTo>
                    <a:pt x="84" y="1956"/>
                  </a:lnTo>
                  <a:lnTo>
                    <a:pt x="108" y="1944"/>
                  </a:lnTo>
                  <a:lnTo>
                    <a:pt x="114" y="1944"/>
                  </a:lnTo>
                  <a:lnTo>
                    <a:pt x="126" y="1938"/>
                  </a:lnTo>
                  <a:lnTo>
                    <a:pt x="126" y="1932"/>
                  </a:lnTo>
                  <a:close/>
                  <a:moveTo>
                    <a:pt x="1896" y="678"/>
                  </a:moveTo>
                  <a:lnTo>
                    <a:pt x="1896" y="690"/>
                  </a:lnTo>
                  <a:lnTo>
                    <a:pt x="1884" y="702"/>
                  </a:lnTo>
                  <a:lnTo>
                    <a:pt x="1884" y="714"/>
                  </a:lnTo>
                  <a:lnTo>
                    <a:pt x="1902" y="714"/>
                  </a:lnTo>
                  <a:lnTo>
                    <a:pt x="1926" y="708"/>
                  </a:lnTo>
                  <a:lnTo>
                    <a:pt x="1944" y="708"/>
                  </a:lnTo>
                  <a:lnTo>
                    <a:pt x="1980" y="696"/>
                  </a:lnTo>
                  <a:lnTo>
                    <a:pt x="1986" y="690"/>
                  </a:lnTo>
                  <a:lnTo>
                    <a:pt x="1992" y="690"/>
                  </a:lnTo>
                  <a:lnTo>
                    <a:pt x="2034" y="702"/>
                  </a:lnTo>
                  <a:lnTo>
                    <a:pt x="2112" y="642"/>
                  </a:lnTo>
                  <a:lnTo>
                    <a:pt x="2244" y="600"/>
                  </a:lnTo>
                  <a:lnTo>
                    <a:pt x="2370" y="564"/>
                  </a:lnTo>
                  <a:lnTo>
                    <a:pt x="2466" y="546"/>
                  </a:lnTo>
                  <a:lnTo>
                    <a:pt x="2454" y="540"/>
                  </a:lnTo>
                  <a:lnTo>
                    <a:pt x="2448" y="528"/>
                  </a:lnTo>
                  <a:lnTo>
                    <a:pt x="2436" y="522"/>
                  </a:lnTo>
                  <a:lnTo>
                    <a:pt x="2424" y="510"/>
                  </a:lnTo>
                  <a:lnTo>
                    <a:pt x="2412" y="504"/>
                  </a:lnTo>
                  <a:lnTo>
                    <a:pt x="2400" y="492"/>
                  </a:lnTo>
                  <a:lnTo>
                    <a:pt x="2352" y="492"/>
                  </a:lnTo>
                  <a:lnTo>
                    <a:pt x="2340" y="498"/>
                  </a:lnTo>
                  <a:lnTo>
                    <a:pt x="2328" y="498"/>
                  </a:lnTo>
                  <a:lnTo>
                    <a:pt x="2262" y="504"/>
                  </a:lnTo>
                  <a:lnTo>
                    <a:pt x="2226" y="480"/>
                  </a:lnTo>
                  <a:lnTo>
                    <a:pt x="2142" y="486"/>
                  </a:lnTo>
                  <a:lnTo>
                    <a:pt x="2094" y="504"/>
                  </a:lnTo>
                  <a:lnTo>
                    <a:pt x="2076" y="522"/>
                  </a:lnTo>
                  <a:lnTo>
                    <a:pt x="2064" y="552"/>
                  </a:lnTo>
                  <a:lnTo>
                    <a:pt x="2010" y="564"/>
                  </a:lnTo>
                  <a:lnTo>
                    <a:pt x="1944" y="588"/>
                  </a:lnTo>
                  <a:lnTo>
                    <a:pt x="1962" y="600"/>
                  </a:lnTo>
                  <a:lnTo>
                    <a:pt x="1842" y="654"/>
                  </a:lnTo>
                  <a:lnTo>
                    <a:pt x="1854" y="654"/>
                  </a:lnTo>
                  <a:lnTo>
                    <a:pt x="1890" y="672"/>
                  </a:lnTo>
                  <a:lnTo>
                    <a:pt x="1896" y="678"/>
                  </a:lnTo>
                  <a:close/>
                  <a:moveTo>
                    <a:pt x="198" y="1968"/>
                  </a:moveTo>
                  <a:lnTo>
                    <a:pt x="192" y="1992"/>
                  </a:lnTo>
                  <a:lnTo>
                    <a:pt x="192" y="2010"/>
                  </a:lnTo>
                  <a:lnTo>
                    <a:pt x="216" y="1998"/>
                  </a:lnTo>
                  <a:lnTo>
                    <a:pt x="198" y="1968"/>
                  </a:lnTo>
                  <a:close/>
                  <a:moveTo>
                    <a:pt x="4182" y="600"/>
                  </a:moveTo>
                  <a:lnTo>
                    <a:pt x="4194" y="606"/>
                  </a:lnTo>
                  <a:lnTo>
                    <a:pt x="4206" y="600"/>
                  </a:lnTo>
                  <a:lnTo>
                    <a:pt x="4218" y="600"/>
                  </a:lnTo>
                  <a:lnTo>
                    <a:pt x="4242" y="588"/>
                  </a:lnTo>
                  <a:lnTo>
                    <a:pt x="4308" y="588"/>
                  </a:lnTo>
                  <a:lnTo>
                    <a:pt x="4314" y="594"/>
                  </a:lnTo>
                  <a:lnTo>
                    <a:pt x="4350" y="594"/>
                  </a:lnTo>
                  <a:lnTo>
                    <a:pt x="4356" y="588"/>
                  </a:lnTo>
                  <a:lnTo>
                    <a:pt x="4356" y="582"/>
                  </a:lnTo>
                  <a:lnTo>
                    <a:pt x="4344" y="558"/>
                  </a:lnTo>
                  <a:lnTo>
                    <a:pt x="4338" y="552"/>
                  </a:lnTo>
                  <a:lnTo>
                    <a:pt x="4326" y="546"/>
                  </a:lnTo>
                  <a:lnTo>
                    <a:pt x="4230" y="546"/>
                  </a:lnTo>
                  <a:lnTo>
                    <a:pt x="4224" y="540"/>
                  </a:lnTo>
                  <a:lnTo>
                    <a:pt x="4212" y="540"/>
                  </a:lnTo>
                  <a:lnTo>
                    <a:pt x="4200" y="534"/>
                  </a:lnTo>
                  <a:lnTo>
                    <a:pt x="4188" y="534"/>
                  </a:lnTo>
                  <a:lnTo>
                    <a:pt x="4176" y="540"/>
                  </a:lnTo>
                  <a:lnTo>
                    <a:pt x="4158" y="558"/>
                  </a:lnTo>
                  <a:lnTo>
                    <a:pt x="4158" y="564"/>
                  </a:lnTo>
                  <a:lnTo>
                    <a:pt x="4176" y="576"/>
                  </a:lnTo>
                  <a:lnTo>
                    <a:pt x="4170" y="582"/>
                  </a:lnTo>
                  <a:lnTo>
                    <a:pt x="4170" y="594"/>
                  </a:lnTo>
                  <a:lnTo>
                    <a:pt x="4176" y="594"/>
                  </a:lnTo>
                  <a:lnTo>
                    <a:pt x="4182" y="600"/>
                  </a:lnTo>
                  <a:close/>
                  <a:moveTo>
                    <a:pt x="3708" y="516"/>
                  </a:moveTo>
                  <a:lnTo>
                    <a:pt x="3678" y="516"/>
                  </a:lnTo>
                  <a:lnTo>
                    <a:pt x="3624" y="510"/>
                  </a:lnTo>
                  <a:lnTo>
                    <a:pt x="3564" y="504"/>
                  </a:lnTo>
                  <a:lnTo>
                    <a:pt x="3468" y="504"/>
                  </a:lnTo>
                  <a:lnTo>
                    <a:pt x="3468" y="516"/>
                  </a:lnTo>
                  <a:lnTo>
                    <a:pt x="3462" y="522"/>
                  </a:lnTo>
                  <a:lnTo>
                    <a:pt x="3426" y="540"/>
                  </a:lnTo>
                  <a:lnTo>
                    <a:pt x="3396" y="546"/>
                  </a:lnTo>
                  <a:lnTo>
                    <a:pt x="3378" y="552"/>
                  </a:lnTo>
                  <a:lnTo>
                    <a:pt x="3372" y="552"/>
                  </a:lnTo>
                  <a:lnTo>
                    <a:pt x="3372" y="558"/>
                  </a:lnTo>
                  <a:lnTo>
                    <a:pt x="3384" y="570"/>
                  </a:lnTo>
                  <a:lnTo>
                    <a:pt x="3390" y="582"/>
                  </a:lnTo>
                  <a:lnTo>
                    <a:pt x="3390" y="594"/>
                  </a:lnTo>
                  <a:lnTo>
                    <a:pt x="3372" y="618"/>
                  </a:lnTo>
                  <a:lnTo>
                    <a:pt x="3402" y="636"/>
                  </a:lnTo>
                  <a:lnTo>
                    <a:pt x="3480" y="606"/>
                  </a:lnTo>
                  <a:lnTo>
                    <a:pt x="3474" y="600"/>
                  </a:lnTo>
                  <a:lnTo>
                    <a:pt x="3468" y="600"/>
                  </a:lnTo>
                  <a:lnTo>
                    <a:pt x="3468" y="594"/>
                  </a:lnTo>
                  <a:lnTo>
                    <a:pt x="3474" y="588"/>
                  </a:lnTo>
                  <a:lnTo>
                    <a:pt x="3486" y="582"/>
                  </a:lnTo>
                  <a:lnTo>
                    <a:pt x="3522" y="582"/>
                  </a:lnTo>
                  <a:lnTo>
                    <a:pt x="3546" y="594"/>
                  </a:lnTo>
                  <a:lnTo>
                    <a:pt x="3552" y="600"/>
                  </a:lnTo>
                  <a:lnTo>
                    <a:pt x="3606" y="594"/>
                  </a:lnTo>
                  <a:lnTo>
                    <a:pt x="3600" y="570"/>
                  </a:lnTo>
                  <a:lnTo>
                    <a:pt x="3630" y="570"/>
                  </a:lnTo>
                  <a:lnTo>
                    <a:pt x="3648" y="564"/>
                  </a:lnTo>
                  <a:lnTo>
                    <a:pt x="3666" y="564"/>
                  </a:lnTo>
                  <a:lnTo>
                    <a:pt x="3690" y="552"/>
                  </a:lnTo>
                  <a:lnTo>
                    <a:pt x="3696" y="546"/>
                  </a:lnTo>
                  <a:lnTo>
                    <a:pt x="3702" y="534"/>
                  </a:lnTo>
                  <a:lnTo>
                    <a:pt x="3714" y="522"/>
                  </a:lnTo>
                  <a:lnTo>
                    <a:pt x="3720" y="522"/>
                  </a:lnTo>
                  <a:lnTo>
                    <a:pt x="3714" y="516"/>
                  </a:lnTo>
                  <a:lnTo>
                    <a:pt x="3708" y="516"/>
                  </a:lnTo>
                  <a:close/>
                  <a:moveTo>
                    <a:pt x="3792" y="150"/>
                  </a:moveTo>
                  <a:lnTo>
                    <a:pt x="3738" y="156"/>
                  </a:lnTo>
                  <a:lnTo>
                    <a:pt x="3756" y="180"/>
                  </a:lnTo>
                  <a:lnTo>
                    <a:pt x="3792" y="150"/>
                  </a:lnTo>
                  <a:close/>
                  <a:moveTo>
                    <a:pt x="3612" y="480"/>
                  </a:moveTo>
                  <a:lnTo>
                    <a:pt x="3636" y="468"/>
                  </a:lnTo>
                  <a:lnTo>
                    <a:pt x="3642" y="456"/>
                  </a:lnTo>
                  <a:lnTo>
                    <a:pt x="3654" y="450"/>
                  </a:lnTo>
                  <a:lnTo>
                    <a:pt x="3660" y="438"/>
                  </a:lnTo>
                  <a:lnTo>
                    <a:pt x="3660" y="432"/>
                  </a:lnTo>
                  <a:lnTo>
                    <a:pt x="3654" y="426"/>
                  </a:lnTo>
                  <a:lnTo>
                    <a:pt x="3642" y="426"/>
                  </a:lnTo>
                  <a:lnTo>
                    <a:pt x="3630" y="420"/>
                  </a:lnTo>
                  <a:lnTo>
                    <a:pt x="3588" y="420"/>
                  </a:lnTo>
                  <a:lnTo>
                    <a:pt x="3570" y="426"/>
                  </a:lnTo>
                  <a:lnTo>
                    <a:pt x="3552" y="426"/>
                  </a:lnTo>
                  <a:lnTo>
                    <a:pt x="3534" y="438"/>
                  </a:lnTo>
                  <a:lnTo>
                    <a:pt x="3516" y="444"/>
                  </a:lnTo>
                  <a:lnTo>
                    <a:pt x="3504" y="450"/>
                  </a:lnTo>
                  <a:lnTo>
                    <a:pt x="3504" y="462"/>
                  </a:lnTo>
                  <a:lnTo>
                    <a:pt x="3528" y="468"/>
                  </a:lnTo>
                  <a:lnTo>
                    <a:pt x="3600" y="480"/>
                  </a:lnTo>
                  <a:lnTo>
                    <a:pt x="3612" y="480"/>
                  </a:lnTo>
                  <a:close/>
                  <a:moveTo>
                    <a:pt x="3954" y="180"/>
                  </a:moveTo>
                  <a:lnTo>
                    <a:pt x="3900" y="192"/>
                  </a:lnTo>
                  <a:lnTo>
                    <a:pt x="3936" y="210"/>
                  </a:lnTo>
                  <a:lnTo>
                    <a:pt x="3924" y="216"/>
                  </a:lnTo>
                  <a:lnTo>
                    <a:pt x="3918" y="222"/>
                  </a:lnTo>
                  <a:lnTo>
                    <a:pt x="3918" y="228"/>
                  </a:lnTo>
                  <a:lnTo>
                    <a:pt x="3924" y="234"/>
                  </a:lnTo>
                  <a:lnTo>
                    <a:pt x="3936" y="240"/>
                  </a:lnTo>
                  <a:lnTo>
                    <a:pt x="3966" y="240"/>
                  </a:lnTo>
                  <a:lnTo>
                    <a:pt x="3942" y="252"/>
                  </a:lnTo>
                  <a:lnTo>
                    <a:pt x="3954" y="252"/>
                  </a:lnTo>
                  <a:lnTo>
                    <a:pt x="4002" y="276"/>
                  </a:lnTo>
                  <a:lnTo>
                    <a:pt x="4014" y="276"/>
                  </a:lnTo>
                  <a:lnTo>
                    <a:pt x="4026" y="270"/>
                  </a:lnTo>
                  <a:lnTo>
                    <a:pt x="4032" y="264"/>
                  </a:lnTo>
                  <a:lnTo>
                    <a:pt x="4044" y="258"/>
                  </a:lnTo>
                  <a:lnTo>
                    <a:pt x="4050" y="252"/>
                  </a:lnTo>
                  <a:lnTo>
                    <a:pt x="4074" y="246"/>
                  </a:lnTo>
                  <a:lnTo>
                    <a:pt x="4086" y="258"/>
                  </a:lnTo>
                  <a:lnTo>
                    <a:pt x="4092" y="270"/>
                  </a:lnTo>
                  <a:lnTo>
                    <a:pt x="4098" y="276"/>
                  </a:lnTo>
                  <a:lnTo>
                    <a:pt x="4104" y="270"/>
                  </a:lnTo>
                  <a:lnTo>
                    <a:pt x="4116" y="270"/>
                  </a:lnTo>
                  <a:lnTo>
                    <a:pt x="4128" y="264"/>
                  </a:lnTo>
                  <a:lnTo>
                    <a:pt x="4134" y="258"/>
                  </a:lnTo>
                  <a:lnTo>
                    <a:pt x="4146" y="258"/>
                  </a:lnTo>
                  <a:lnTo>
                    <a:pt x="4152" y="252"/>
                  </a:lnTo>
                  <a:lnTo>
                    <a:pt x="4158" y="252"/>
                  </a:lnTo>
                  <a:lnTo>
                    <a:pt x="4170" y="246"/>
                  </a:lnTo>
                  <a:lnTo>
                    <a:pt x="4176" y="234"/>
                  </a:lnTo>
                  <a:lnTo>
                    <a:pt x="4182" y="228"/>
                  </a:lnTo>
                  <a:lnTo>
                    <a:pt x="4194" y="246"/>
                  </a:lnTo>
                  <a:lnTo>
                    <a:pt x="4218" y="222"/>
                  </a:lnTo>
                  <a:lnTo>
                    <a:pt x="4218" y="216"/>
                  </a:lnTo>
                  <a:lnTo>
                    <a:pt x="4236" y="210"/>
                  </a:lnTo>
                  <a:lnTo>
                    <a:pt x="4326" y="210"/>
                  </a:lnTo>
                  <a:lnTo>
                    <a:pt x="4332" y="204"/>
                  </a:lnTo>
                  <a:lnTo>
                    <a:pt x="4332" y="192"/>
                  </a:lnTo>
                  <a:lnTo>
                    <a:pt x="4266" y="186"/>
                  </a:lnTo>
                  <a:lnTo>
                    <a:pt x="4302" y="174"/>
                  </a:lnTo>
                  <a:lnTo>
                    <a:pt x="4302" y="132"/>
                  </a:lnTo>
                  <a:lnTo>
                    <a:pt x="4278" y="132"/>
                  </a:lnTo>
                  <a:lnTo>
                    <a:pt x="4266" y="138"/>
                  </a:lnTo>
                  <a:lnTo>
                    <a:pt x="4260" y="144"/>
                  </a:lnTo>
                  <a:lnTo>
                    <a:pt x="4248" y="150"/>
                  </a:lnTo>
                  <a:lnTo>
                    <a:pt x="4242" y="126"/>
                  </a:lnTo>
                  <a:lnTo>
                    <a:pt x="4194" y="132"/>
                  </a:lnTo>
                  <a:lnTo>
                    <a:pt x="4194" y="120"/>
                  </a:lnTo>
                  <a:lnTo>
                    <a:pt x="4176" y="84"/>
                  </a:lnTo>
                  <a:lnTo>
                    <a:pt x="4140" y="84"/>
                  </a:lnTo>
                  <a:lnTo>
                    <a:pt x="4122" y="90"/>
                  </a:lnTo>
                  <a:lnTo>
                    <a:pt x="4110" y="96"/>
                  </a:lnTo>
                  <a:lnTo>
                    <a:pt x="4104" y="102"/>
                  </a:lnTo>
                  <a:lnTo>
                    <a:pt x="4098" y="102"/>
                  </a:lnTo>
                  <a:lnTo>
                    <a:pt x="4020" y="108"/>
                  </a:lnTo>
                  <a:lnTo>
                    <a:pt x="4044" y="126"/>
                  </a:lnTo>
                  <a:lnTo>
                    <a:pt x="3996" y="126"/>
                  </a:lnTo>
                  <a:lnTo>
                    <a:pt x="3984" y="132"/>
                  </a:lnTo>
                  <a:lnTo>
                    <a:pt x="3972" y="132"/>
                  </a:lnTo>
                  <a:lnTo>
                    <a:pt x="3966" y="138"/>
                  </a:lnTo>
                  <a:lnTo>
                    <a:pt x="3984" y="156"/>
                  </a:lnTo>
                  <a:lnTo>
                    <a:pt x="3972" y="156"/>
                  </a:lnTo>
                  <a:lnTo>
                    <a:pt x="3936" y="150"/>
                  </a:lnTo>
                  <a:lnTo>
                    <a:pt x="3906" y="156"/>
                  </a:lnTo>
                  <a:lnTo>
                    <a:pt x="3888" y="168"/>
                  </a:lnTo>
                  <a:lnTo>
                    <a:pt x="3888" y="174"/>
                  </a:lnTo>
                  <a:lnTo>
                    <a:pt x="3894" y="180"/>
                  </a:lnTo>
                  <a:lnTo>
                    <a:pt x="3954" y="180"/>
                  </a:lnTo>
                  <a:close/>
                  <a:moveTo>
                    <a:pt x="3972" y="294"/>
                  </a:moveTo>
                  <a:lnTo>
                    <a:pt x="3954" y="300"/>
                  </a:lnTo>
                  <a:lnTo>
                    <a:pt x="3942" y="306"/>
                  </a:lnTo>
                  <a:lnTo>
                    <a:pt x="3936" y="312"/>
                  </a:lnTo>
                  <a:lnTo>
                    <a:pt x="3936" y="318"/>
                  </a:lnTo>
                  <a:lnTo>
                    <a:pt x="3966" y="324"/>
                  </a:lnTo>
                  <a:lnTo>
                    <a:pt x="3972" y="324"/>
                  </a:lnTo>
                  <a:lnTo>
                    <a:pt x="3990" y="306"/>
                  </a:lnTo>
                  <a:lnTo>
                    <a:pt x="3990" y="300"/>
                  </a:lnTo>
                  <a:lnTo>
                    <a:pt x="3984" y="294"/>
                  </a:lnTo>
                  <a:lnTo>
                    <a:pt x="3972" y="294"/>
                  </a:lnTo>
                  <a:close/>
                  <a:moveTo>
                    <a:pt x="3738" y="336"/>
                  </a:moveTo>
                  <a:lnTo>
                    <a:pt x="3726" y="336"/>
                  </a:lnTo>
                  <a:lnTo>
                    <a:pt x="3720" y="330"/>
                  </a:lnTo>
                  <a:lnTo>
                    <a:pt x="3672" y="330"/>
                  </a:lnTo>
                  <a:lnTo>
                    <a:pt x="3636" y="336"/>
                  </a:lnTo>
                  <a:lnTo>
                    <a:pt x="3624" y="342"/>
                  </a:lnTo>
                  <a:lnTo>
                    <a:pt x="3642" y="360"/>
                  </a:lnTo>
                  <a:lnTo>
                    <a:pt x="3654" y="360"/>
                  </a:lnTo>
                  <a:lnTo>
                    <a:pt x="3660" y="378"/>
                  </a:lnTo>
                  <a:lnTo>
                    <a:pt x="3768" y="378"/>
                  </a:lnTo>
                  <a:lnTo>
                    <a:pt x="3768" y="390"/>
                  </a:lnTo>
                  <a:lnTo>
                    <a:pt x="3762" y="396"/>
                  </a:lnTo>
                  <a:lnTo>
                    <a:pt x="3762" y="408"/>
                  </a:lnTo>
                  <a:lnTo>
                    <a:pt x="3708" y="450"/>
                  </a:lnTo>
                  <a:lnTo>
                    <a:pt x="3732" y="456"/>
                  </a:lnTo>
                  <a:lnTo>
                    <a:pt x="3720" y="468"/>
                  </a:lnTo>
                  <a:lnTo>
                    <a:pt x="3714" y="468"/>
                  </a:lnTo>
                  <a:lnTo>
                    <a:pt x="3708" y="474"/>
                  </a:lnTo>
                  <a:lnTo>
                    <a:pt x="3708" y="480"/>
                  </a:lnTo>
                  <a:lnTo>
                    <a:pt x="3726" y="480"/>
                  </a:lnTo>
                  <a:lnTo>
                    <a:pt x="3738" y="474"/>
                  </a:lnTo>
                  <a:lnTo>
                    <a:pt x="3744" y="474"/>
                  </a:lnTo>
                  <a:lnTo>
                    <a:pt x="3756" y="468"/>
                  </a:lnTo>
                  <a:lnTo>
                    <a:pt x="3756" y="480"/>
                  </a:lnTo>
                  <a:lnTo>
                    <a:pt x="3792" y="480"/>
                  </a:lnTo>
                  <a:lnTo>
                    <a:pt x="3810" y="474"/>
                  </a:lnTo>
                  <a:lnTo>
                    <a:pt x="3822" y="468"/>
                  </a:lnTo>
                  <a:lnTo>
                    <a:pt x="3840" y="468"/>
                  </a:lnTo>
                  <a:lnTo>
                    <a:pt x="3846" y="462"/>
                  </a:lnTo>
                  <a:lnTo>
                    <a:pt x="3852" y="462"/>
                  </a:lnTo>
                  <a:lnTo>
                    <a:pt x="3858" y="486"/>
                  </a:lnTo>
                  <a:lnTo>
                    <a:pt x="3924" y="480"/>
                  </a:lnTo>
                  <a:lnTo>
                    <a:pt x="4002" y="498"/>
                  </a:lnTo>
                  <a:lnTo>
                    <a:pt x="4098" y="486"/>
                  </a:lnTo>
                  <a:lnTo>
                    <a:pt x="4128" y="468"/>
                  </a:lnTo>
                  <a:lnTo>
                    <a:pt x="4122" y="474"/>
                  </a:lnTo>
                  <a:lnTo>
                    <a:pt x="4122" y="486"/>
                  </a:lnTo>
                  <a:lnTo>
                    <a:pt x="4260" y="486"/>
                  </a:lnTo>
                  <a:lnTo>
                    <a:pt x="4272" y="468"/>
                  </a:lnTo>
                  <a:lnTo>
                    <a:pt x="4338" y="438"/>
                  </a:lnTo>
                  <a:lnTo>
                    <a:pt x="4320" y="432"/>
                  </a:lnTo>
                  <a:lnTo>
                    <a:pt x="4320" y="420"/>
                  </a:lnTo>
                  <a:lnTo>
                    <a:pt x="4314" y="420"/>
                  </a:lnTo>
                  <a:lnTo>
                    <a:pt x="4308" y="414"/>
                  </a:lnTo>
                  <a:lnTo>
                    <a:pt x="4290" y="414"/>
                  </a:lnTo>
                  <a:lnTo>
                    <a:pt x="4278" y="408"/>
                  </a:lnTo>
                  <a:lnTo>
                    <a:pt x="4260" y="408"/>
                  </a:lnTo>
                  <a:lnTo>
                    <a:pt x="4242" y="402"/>
                  </a:lnTo>
                  <a:lnTo>
                    <a:pt x="4206" y="402"/>
                  </a:lnTo>
                  <a:lnTo>
                    <a:pt x="4164" y="414"/>
                  </a:lnTo>
                  <a:lnTo>
                    <a:pt x="4116" y="420"/>
                  </a:lnTo>
                  <a:lnTo>
                    <a:pt x="4074" y="426"/>
                  </a:lnTo>
                  <a:lnTo>
                    <a:pt x="4038" y="438"/>
                  </a:lnTo>
                  <a:lnTo>
                    <a:pt x="4026" y="438"/>
                  </a:lnTo>
                  <a:lnTo>
                    <a:pt x="4014" y="432"/>
                  </a:lnTo>
                  <a:lnTo>
                    <a:pt x="4008" y="426"/>
                  </a:lnTo>
                  <a:lnTo>
                    <a:pt x="3996" y="420"/>
                  </a:lnTo>
                  <a:lnTo>
                    <a:pt x="3984" y="420"/>
                  </a:lnTo>
                  <a:lnTo>
                    <a:pt x="3972" y="426"/>
                  </a:lnTo>
                  <a:lnTo>
                    <a:pt x="3960" y="426"/>
                  </a:lnTo>
                  <a:lnTo>
                    <a:pt x="3948" y="432"/>
                  </a:lnTo>
                  <a:lnTo>
                    <a:pt x="3942" y="438"/>
                  </a:lnTo>
                  <a:lnTo>
                    <a:pt x="3936" y="438"/>
                  </a:lnTo>
                  <a:lnTo>
                    <a:pt x="3912" y="414"/>
                  </a:lnTo>
                  <a:lnTo>
                    <a:pt x="3894" y="426"/>
                  </a:lnTo>
                  <a:lnTo>
                    <a:pt x="3864" y="420"/>
                  </a:lnTo>
                  <a:lnTo>
                    <a:pt x="3894" y="408"/>
                  </a:lnTo>
                  <a:lnTo>
                    <a:pt x="3876" y="396"/>
                  </a:lnTo>
                  <a:lnTo>
                    <a:pt x="3822" y="408"/>
                  </a:lnTo>
                  <a:lnTo>
                    <a:pt x="3858" y="396"/>
                  </a:lnTo>
                  <a:lnTo>
                    <a:pt x="3858" y="390"/>
                  </a:lnTo>
                  <a:lnTo>
                    <a:pt x="3924" y="384"/>
                  </a:lnTo>
                  <a:lnTo>
                    <a:pt x="3888" y="372"/>
                  </a:lnTo>
                  <a:lnTo>
                    <a:pt x="3870" y="372"/>
                  </a:lnTo>
                  <a:lnTo>
                    <a:pt x="3876" y="366"/>
                  </a:lnTo>
                  <a:lnTo>
                    <a:pt x="3876" y="360"/>
                  </a:lnTo>
                  <a:lnTo>
                    <a:pt x="3870" y="354"/>
                  </a:lnTo>
                  <a:lnTo>
                    <a:pt x="3840" y="354"/>
                  </a:lnTo>
                  <a:lnTo>
                    <a:pt x="3822" y="360"/>
                  </a:lnTo>
                  <a:lnTo>
                    <a:pt x="3804" y="360"/>
                  </a:lnTo>
                  <a:lnTo>
                    <a:pt x="3786" y="366"/>
                  </a:lnTo>
                  <a:lnTo>
                    <a:pt x="3774" y="354"/>
                  </a:lnTo>
                  <a:lnTo>
                    <a:pt x="3762" y="348"/>
                  </a:lnTo>
                  <a:lnTo>
                    <a:pt x="3756" y="342"/>
                  </a:lnTo>
                  <a:lnTo>
                    <a:pt x="3744" y="336"/>
                  </a:lnTo>
                  <a:lnTo>
                    <a:pt x="3738" y="336"/>
                  </a:lnTo>
                  <a:close/>
                  <a:moveTo>
                    <a:pt x="3264" y="420"/>
                  </a:moveTo>
                  <a:lnTo>
                    <a:pt x="3282" y="420"/>
                  </a:lnTo>
                  <a:lnTo>
                    <a:pt x="3300" y="426"/>
                  </a:lnTo>
                  <a:lnTo>
                    <a:pt x="3318" y="426"/>
                  </a:lnTo>
                  <a:lnTo>
                    <a:pt x="3330" y="432"/>
                  </a:lnTo>
                  <a:lnTo>
                    <a:pt x="3342" y="432"/>
                  </a:lnTo>
                  <a:lnTo>
                    <a:pt x="3330" y="444"/>
                  </a:lnTo>
                  <a:lnTo>
                    <a:pt x="3324" y="444"/>
                  </a:lnTo>
                  <a:lnTo>
                    <a:pt x="3324" y="456"/>
                  </a:lnTo>
                  <a:lnTo>
                    <a:pt x="3438" y="456"/>
                  </a:lnTo>
                  <a:lnTo>
                    <a:pt x="3462" y="444"/>
                  </a:lnTo>
                  <a:lnTo>
                    <a:pt x="3462" y="432"/>
                  </a:lnTo>
                  <a:lnTo>
                    <a:pt x="3468" y="426"/>
                  </a:lnTo>
                  <a:lnTo>
                    <a:pt x="3480" y="426"/>
                  </a:lnTo>
                  <a:lnTo>
                    <a:pt x="3492" y="420"/>
                  </a:lnTo>
                  <a:lnTo>
                    <a:pt x="3504" y="420"/>
                  </a:lnTo>
                  <a:lnTo>
                    <a:pt x="3510" y="414"/>
                  </a:lnTo>
                  <a:lnTo>
                    <a:pt x="3510" y="408"/>
                  </a:lnTo>
                  <a:lnTo>
                    <a:pt x="3522" y="396"/>
                  </a:lnTo>
                  <a:lnTo>
                    <a:pt x="3534" y="390"/>
                  </a:lnTo>
                  <a:lnTo>
                    <a:pt x="3540" y="384"/>
                  </a:lnTo>
                  <a:lnTo>
                    <a:pt x="3552" y="378"/>
                  </a:lnTo>
                  <a:lnTo>
                    <a:pt x="3552" y="372"/>
                  </a:lnTo>
                  <a:lnTo>
                    <a:pt x="3546" y="366"/>
                  </a:lnTo>
                  <a:lnTo>
                    <a:pt x="3534" y="360"/>
                  </a:lnTo>
                  <a:lnTo>
                    <a:pt x="3510" y="360"/>
                  </a:lnTo>
                  <a:lnTo>
                    <a:pt x="3504" y="366"/>
                  </a:lnTo>
                  <a:lnTo>
                    <a:pt x="3492" y="366"/>
                  </a:lnTo>
                  <a:lnTo>
                    <a:pt x="3486" y="360"/>
                  </a:lnTo>
                  <a:lnTo>
                    <a:pt x="3474" y="360"/>
                  </a:lnTo>
                  <a:lnTo>
                    <a:pt x="3462" y="354"/>
                  </a:lnTo>
                  <a:lnTo>
                    <a:pt x="3450" y="354"/>
                  </a:lnTo>
                  <a:lnTo>
                    <a:pt x="3432" y="348"/>
                  </a:lnTo>
                  <a:lnTo>
                    <a:pt x="3426" y="354"/>
                  </a:lnTo>
                  <a:lnTo>
                    <a:pt x="3420" y="354"/>
                  </a:lnTo>
                  <a:lnTo>
                    <a:pt x="3414" y="366"/>
                  </a:lnTo>
                  <a:lnTo>
                    <a:pt x="3414" y="396"/>
                  </a:lnTo>
                  <a:lnTo>
                    <a:pt x="3396" y="378"/>
                  </a:lnTo>
                  <a:lnTo>
                    <a:pt x="3384" y="372"/>
                  </a:lnTo>
                  <a:lnTo>
                    <a:pt x="3366" y="372"/>
                  </a:lnTo>
                  <a:lnTo>
                    <a:pt x="3354" y="384"/>
                  </a:lnTo>
                  <a:lnTo>
                    <a:pt x="3348" y="396"/>
                  </a:lnTo>
                  <a:lnTo>
                    <a:pt x="3330" y="414"/>
                  </a:lnTo>
                  <a:lnTo>
                    <a:pt x="3324" y="414"/>
                  </a:lnTo>
                  <a:lnTo>
                    <a:pt x="3300" y="366"/>
                  </a:lnTo>
                  <a:lnTo>
                    <a:pt x="3288" y="360"/>
                  </a:lnTo>
                  <a:lnTo>
                    <a:pt x="3258" y="360"/>
                  </a:lnTo>
                  <a:lnTo>
                    <a:pt x="3246" y="366"/>
                  </a:lnTo>
                  <a:lnTo>
                    <a:pt x="3240" y="372"/>
                  </a:lnTo>
                  <a:lnTo>
                    <a:pt x="3240" y="396"/>
                  </a:lnTo>
                  <a:lnTo>
                    <a:pt x="3246" y="408"/>
                  </a:lnTo>
                  <a:lnTo>
                    <a:pt x="3258" y="414"/>
                  </a:lnTo>
                  <a:lnTo>
                    <a:pt x="3264" y="420"/>
                  </a:lnTo>
                  <a:close/>
                  <a:moveTo>
                    <a:pt x="3720" y="288"/>
                  </a:moveTo>
                  <a:lnTo>
                    <a:pt x="3726" y="288"/>
                  </a:lnTo>
                  <a:lnTo>
                    <a:pt x="3732" y="294"/>
                  </a:lnTo>
                  <a:lnTo>
                    <a:pt x="3738" y="306"/>
                  </a:lnTo>
                  <a:lnTo>
                    <a:pt x="3768" y="306"/>
                  </a:lnTo>
                  <a:lnTo>
                    <a:pt x="3780" y="300"/>
                  </a:lnTo>
                  <a:lnTo>
                    <a:pt x="3834" y="300"/>
                  </a:lnTo>
                  <a:lnTo>
                    <a:pt x="3834" y="294"/>
                  </a:lnTo>
                  <a:lnTo>
                    <a:pt x="3828" y="294"/>
                  </a:lnTo>
                  <a:lnTo>
                    <a:pt x="3822" y="288"/>
                  </a:lnTo>
                  <a:lnTo>
                    <a:pt x="3810" y="288"/>
                  </a:lnTo>
                  <a:lnTo>
                    <a:pt x="3804" y="282"/>
                  </a:lnTo>
                  <a:lnTo>
                    <a:pt x="3792" y="282"/>
                  </a:lnTo>
                  <a:lnTo>
                    <a:pt x="3804" y="270"/>
                  </a:lnTo>
                  <a:lnTo>
                    <a:pt x="3816" y="264"/>
                  </a:lnTo>
                  <a:lnTo>
                    <a:pt x="3822" y="264"/>
                  </a:lnTo>
                  <a:lnTo>
                    <a:pt x="3828" y="258"/>
                  </a:lnTo>
                  <a:lnTo>
                    <a:pt x="3822" y="258"/>
                  </a:lnTo>
                  <a:lnTo>
                    <a:pt x="3810" y="252"/>
                  </a:lnTo>
                  <a:lnTo>
                    <a:pt x="3738" y="228"/>
                  </a:lnTo>
                  <a:lnTo>
                    <a:pt x="3732" y="228"/>
                  </a:lnTo>
                  <a:lnTo>
                    <a:pt x="3726" y="234"/>
                  </a:lnTo>
                  <a:lnTo>
                    <a:pt x="3714" y="240"/>
                  </a:lnTo>
                  <a:lnTo>
                    <a:pt x="3702" y="240"/>
                  </a:lnTo>
                  <a:lnTo>
                    <a:pt x="3690" y="252"/>
                  </a:lnTo>
                  <a:lnTo>
                    <a:pt x="3690" y="258"/>
                  </a:lnTo>
                  <a:lnTo>
                    <a:pt x="3696" y="264"/>
                  </a:lnTo>
                  <a:lnTo>
                    <a:pt x="3702" y="276"/>
                  </a:lnTo>
                  <a:lnTo>
                    <a:pt x="3714" y="282"/>
                  </a:lnTo>
                  <a:lnTo>
                    <a:pt x="3720" y="288"/>
                  </a:lnTo>
                  <a:close/>
                  <a:moveTo>
                    <a:pt x="3288" y="504"/>
                  </a:moveTo>
                  <a:lnTo>
                    <a:pt x="3270" y="504"/>
                  </a:lnTo>
                  <a:lnTo>
                    <a:pt x="3234" y="510"/>
                  </a:lnTo>
                  <a:lnTo>
                    <a:pt x="3186" y="516"/>
                  </a:lnTo>
                  <a:lnTo>
                    <a:pt x="3144" y="528"/>
                  </a:lnTo>
                  <a:lnTo>
                    <a:pt x="3132" y="534"/>
                  </a:lnTo>
                  <a:lnTo>
                    <a:pt x="3126" y="540"/>
                  </a:lnTo>
                  <a:lnTo>
                    <a:pt x="3132" y="540"/>
                  </a:lnTo>
                  <a:lnTo>
                    <a:pt x="3150" y="558"/>
                  </a:lnTo>
                  <a:lnTo>
                    <a:pt x="3156" y="570"/>
                  </a:lnTo>
                  <a:lnTo>
                    <a:pt x="3156" y="576"/>
                  </a:lnTo>
                  <a:lnTo>
                    <a:pt x="3138" y="582"/>
                  </a:lnTo>
                  <a:lnTo>
                    <a:pt x="3120" y="570"/>
                  </a:lnTo>
                  <a:lnTo>
                    <a:pt x="3090" y="564"/>
                  </a:lnTo>
                  <a:lnTo>
                    <a:pt x="3048" y="570"/>
                  </a:lnTo>
                  <a:lnTo>
                    <a:pt x="3066" y="606"/>
                  </a:lnTo>
                  <a:lnTo>
                    <a:pt x="3072" y="612"/>
                  </a:lnTo>
                  <a:lnTo>
                    <a:pt x="3084" y="618"/>
                  </a:lnTo>
                  <a:lnTo>
                    <a:pt x="3102" y="624"/>
                  </a:lnTo>
                  <a:lnTo>
                    <a:pt x="3114" y="630"/>
                  </a:lnTo>
                  <a:lnTo>
                    <a:pt x="3120" y="642"/>
                  </a:lnTo>
                  <a:lnTo>
                    <a:pt x="3120" y="654"/>
                  </a:lnTo>
                  <a:lnTo>
                    <a:pt x="3126" y="666"/>
                  </a:lnTo>
                  <a:lnTo>
                    <a:pt x="3126" y="678"/>
                  </a:lnTo>
                  <a:lnTo>
                    <a:pt x="3144" y="678"/>
                  </a:lnTo>
                  <a:lnTo>
                    <a:pt x="3228" y="666"/>
                  </a:lnTo>
                  <a:lnTo>
                    <a:pt x="3264" y="660"/>
                  </a:lnTo>
                  <a:lnTo>
                    <a:pt x="3276" y="654"/>
                  </a:lnTo>
                  <a:lnTo>
                    <a:pt x="3282" y="642"/>
                  </a:lnTo>
                  <a:lnTo>
                    <a:pt x="3288" y="624"/>
                  </a:lnTo>
                  <a:lnTo>
                    <a:pt x="3300" y="600"/>
                  </a:lnTo>
                  <a:lnTo>
                    <a:pt x="3300" y="588"/>
                  </a:lnTo>
                  <a:lnTo>
                    <a:pt x="3228" y="576"/>
                  </a:lnTo>
                  <a:lnTo>
                    <a:pt x="3240" y="570"/>
                  </a:lnTo>
                  <a:lnTo>
                    <a:pt x="3348" y="534"/>
                  </a:lnTo>
                  <a:lnTo>
                    <a:pt x="3360" y="528"/>
                  </a:lnTo>
                  <a:lnTo>
                    <a:pt x="3354" y="522"/>
                  </a:lnTo>
                  <a:lnTo>
                    <a:pt x="3342" y="516"/>
                  </a:lnTo>
                  <a:lnTo>
                    <a:pt x="3324" y="510"/>
                  </a:lnTo>
                  <a:lnTo>
                    <a:pt x="3312" y="510"/>
                  </a:lnTo>
                  <a:lnTo>
                    <a:pt x="3300" y="504"/>
                  </a:lnTo>
                  <a:lnTo>
                    <a:pt x="3288" y="504"/>
                  </a:lnTo>
                  <a:close/>
                  <a:moveTo>
                    <a:pt x="2898" y="744"/>
                  </a:moveTo>
                  <a:lnTo>
                    <a:pt x="2880" y="738"/>
                  </a:lnTo>
                  <a:lnTo>
                    <a:pt x="2796" y="738"/>
                  </a:lnTo>
                  <a:lnTo>
                    <a:pt x="2874" y="696"/>
                  </a:lnTo>
                  <a:lnTo>
                    <a:pt x="2880" y="684"/>
                  </a:lnTo>
                  <a:lnTo>
                    <a:pt x="2886" y="654"/>
                  </a:lnTo>
                  <a:lnTo>
                    <a:pt x="2898" y="624"/>
                  </a:lnTo>
                  <a:lnTo>
                    <a:pt x="2898" y="588"/>
                  </a:lnTo>
                  <a:lnTo>
                    <a:pt x="2880" y="570"/>
                  </a:lnTo>
                  <a:lnTo>
                    <a:pt x="2850" y="570"/>
                  </a:lnTo>
                  <a:lnTo>
                    <a:pt x="2814" y="576"/>
                  </a:lnTo>
                  <a:lnTo>
                    <a:pt x="2796" y="582"/>
                  </a:lnTo>
                  <a:lnTo>
                    <a:pt x="2784" y="588"/>
                  </a:lnTo>
                  <a:lnTo>
                    <a:pt x="2784" y="594"/>
                  </a:lnTo>
                  <a:lnTo>
                    <a:pt x="2766" y="612"/>
                  </a:lnTo>
                  <a:lnTo>
                    <a:pt x="2760" y="630"/>
                  </a:lnTo>
                  <a:lnTo>
                    <a:pt x="2736" y="654"/>
                  </a:lnTo>
                  <a:lnTo>
                    <a:pt x="2718" y="666"/>
                  </a:lnTo>
                  <a:lnTo>
                    <a:pt x="2706" y="672"/>
                  </a:lnTo>
                  <a:lnTo>
                    <a:pt x="2700" y="672"/>
                  </a:lnTo>
                  <a:lnTo>
                    <a:pt x="2694" y="666"/>
                  </a:lnTo>
                  <a:lnTo>
                    <a:pt x="2694" y="660"/>
                  </a:lnTo>
                  <a:lnTo>
                    <a:pt x="2700" y="654"/>
                  </a:lnTo>
                  <a:lnTo>
                    <a:pt x="2706" y="642"/>
                  </a:lnTo>
                  <a:lnTo>
                    <a:pt x="2712" y="636"/>
                  </a:lnTo>
                  <a:lnTo>
                    <a:pt x="2718" y="624"/>
                  </a:lnTo>
                  <a:lnTo>
                    <a:pt x="2718" y="612"/>
                  </a:lnTo>
                  <a:lnTo>
                    <a:pt x="2724" y="606"/>
                  </a:lnTo>
                  <a:lnTo>
                    <a:pt x="2724" y="600"/>
                  </a:lnTo>
                  <a:lnTo>
                    <a:pt x="2706" y="594"/>
                  </a:lnTo>
                  <a:lnTo>
                    <a:pt x="2676" y="588"/>
                  </a:lnTo>
                  <a:lnTo>
                    <a:pt x="2628" y="588"/>
                  </a:lnTo>
                  <a:lnTo>
                    <a:pt x="2622" y="606"/>
                  </a:lnTo>
                  <a:lnTo>
                    <a:pt x="2610" y="612"/>
                  </a:lnTo>
                  <a:lnTo>
                    <a:pt x="2586" y="618"/>
                  </a:lnTo>
                  <a:lnTo>
                    <a:pt x="2550" y="624"/>
                  </a:lnTo>
                  <a:lnTo>
                    <a:pt x="2508" y="630"/>
                  </a:lnTo>
                  <a:lnTo>
                    <a:pt x="2490" y="630"/>
                  </a:lnTo>
                  <a:lnTo>
                    <a:pt x="2496" y="624"/>
                  </a:lnTo>
                  <a:lnTo>
                    <a:pt x="2508" y="618"/>
                  </a:lnTo>
                  <a:lnTo>
                    <a:pt x="2520" y="618"/>
                  </a:lnTo>
                  <a:lnTo>
                    <a:pt x="2538" y="612"/>
                  </a:lnTo>
                  <a:lnTo>
                    <a:pt x="2550" y="606"/>
                  </a:lnTo>
                  <a:lnTo>
                    <a:pt x="2586" y="594"/>
                  </a:lnTo>
                  <a:lnTo>
                    <a:pt x="2598" y="588"/>
                  </a:lnTo>
                  <a:lnTo>
                    <a:pt x="2604" y="588"/>
                  </a:lnTo>
                  <a:lnTo>
                    <a:pt x="2604" y="582"/>
                  </a:lnTo>
                  <a:lnTo>
                    <a:pt x="2592" y="576"/>
                  </a:lnTo>
                  <a:lnTo>
                    <a:pt x="2556" y="576"/>
                  </a:lnTo>
                  <a:lnTo>
                    <a:pt x="2496" y="594"/>
                  </a:lnTo>
                  <a:lnTo>
                    <a:pt x="2460" y="600"/>
                  </a:lnTo>
                  <a:lnTo>
                    <a:pt x="2466" y="594"/>
                  </a:lnTo>
                  <a:lnTo>
                    <a:pt x="2478" y="588"/>
                  </a:lnTo>
                  <a:lnTo>
                    <a:pt x="2490" y="576"/>
                  </a:lnTo>
                  <a:lnTo>
                    <a:pt x="2502" y="570"/>
                  </a:lnTo>
                  <a:lnTo>
                    <a:pt x="2514" y="558"/>
                  </a:lnTo>
                  <a:lnTo>
                    <a:pt x="2508" y="558"/>
                  </a:lnTo>
                  <a:lnTo>
                    <a:pt x="2508" y="552"/>
                  </a:lnTo>
                  <a:lnTo>
                    <a:pt x="2496" y="552"/>
                  </a:lnTo>
                  <a:lnTo>
                    <a:pt x="2346" y="600"/>
                  </a:lnTo>
                  <a:lnTo>
                    <a:pt x="2328" y="600"/>
                  </a:lnTo>
                  <a:lnTo>
                    <a:pt x="2244" y="624"/>
                  </a:lnTo>
                  <a:lnTo>
                    <a:pt x="2250" y="642"/>
                  </a:lnTo>
                  <a:lnTo>
                    <a:pt x="2190" y="660"/>
                  </a:lnTo>
                  <a:lnTo>
                    <a:pt x="2172" y="678"/>
                  </a:lnTo>
                  <a:lnTo>
                    <a:pt x="2202" y="690"/>
                  </a:lnTo>
                  <a:lnTo>
                    <a:pt x="2208" y="684"/>
                  </a:lnTo>
                  <a:lnTo>
                    <a:pt x="2220" y="678"/>
                  </a:lnTo>
                  <a:lnTo>
                    <a:pt x="2238" y="678"/>
                  </a:lnTo>
                  <a:lnTo>
                    <a:pt x="2244" y="684"/>
                  </a:lnTo>
                  <a:lnTo>
                    <a:pt x="2244" y="690"/>
                  </a:lnTo>
                  <a:lnTo>
                    <a:pt x="2238" y="696"/>
                  </a:lnTo>
                  <a:lnTo>
                    <a:pt x="2226" y="696"/>
                  </a:lnTo>
                  <a:lnTo>
                    <a:pt x="2208" y="702"/>
                  </a:lnTo>
                  <a:lnTo>
                    <a:pt x="2196" y="702"/>
                  </a:lnTo>
                  <a:lnTo>
                    <a:pt x="2160" y="720"/>
                  </a:lnTo>
                  <a:lnTo>
                    <a:pt x="2166" y="732"/>
                  </a:lnTo>
                  <a:lnTo>
                    <a:pt x="2196" y="732"/>
                  </a:lnTo>
                  <a:lnTo>
                    <a:pt x="2238" y="738"/>
                  </a:lnTo>
                  <a:lnTo>
                    <a:pt x="2322" y="738"/>
                  </a:lnTo>
                  <a:lnTo>
                    <a:pt x="2352" y="744"/>
                  </a:lnTo>
                  <a:lnTo>
                    <a:pt x="2352" y="750"/>
                  </a:lnTo>
                  <a:lnTo>
                    <a:pt x="2322" y="762"/>
                  </a:lnTo>
                  <a:lnTo>
                    <a:pt x="2280" y="762"/>
                  </a:lnTo>
                  <a:lnTo>
                    <a:pt x="2172" y="774"/>
                  </a:lnTo>
                  <a:lnTo>
                    <a:pt x="2136" y="774"/>
                  </a:lnTo>
                  <a:lnTo>
                    <a:pt x="2112" y="786"/>
                  </a:lnTo>
                  <a:lnTo>
                    <a:pt x="2106" y="792"/>
                  </a:lnTo>
                  <a:lnTo>
                    <a:pt x="2118" y="804"/>
                  </a:lnTo>
                  <a:lnTo>
                    <a:pt x="2130" y="810"/>
                  </a:lnTo>
                  <a:lnTo>
                    <a:pt x="2148" y="810"/>
                  </a:lnTo>
                  <a:lnTo>
                    <a:pt x="2160" y="816"/>
                  </a:lnTo>
                  <a:lnTo>
                    <a:pt x="2178" y="822"/>
                  </a:lnTo>
                  <a:lnTo>
                    <a:pt x="2190" y="828"/>
                  </a:lnTo>
                  <a:lnTo>
                    <a:pt x="2190" y="834"/>
                  </a:lnTo>
                  <a:lnTo>
                    <a:pt x="2184" y="840"/>
                  </a:lnTo>
                  <a:lnTo>
                    <a:pt x="2172" y="840"/>
                  </a:lnTo>
                  <a:lnTo>
                    <a:pt x="2154" y="858"/>
                  </a:lnTo>
                  <a:lnTo>
                    <a:pt x="2166" y="870"/>
                  </a:lnTo>
                  <a:lnTo>
                    <a:pt x="2322" y="870"/>
                  </a:lnTo>
                  <a:lnTo>
                    <a:pt x="2370" y="864"/>
                  </a:lnTo>
                  <a:lnTo>
                    <a:pt x="2436" y="858"/>
                  </a:lnTo>
                  <a:lnTo>
                    <a:pt x="2508" y="846"/>
                  </a:lnTo>
                  <a:lnTo>
                    <a:pt x="2574" y="840"/>
                  </a:lnTo>
                  <a:lnTo>
                    <a:pt x="2616" y="828"/>
                  </a:lnTo>
                  <a:lnTo>
                    <a:pt x="2652" y="828"/>
                  </a:lnTo>
                  <a:lnTo>
                    <a:pt x="2736" y="864"/>
                  </a:lnTo>
                  <a:lnTo>
                    <a:pt x="2778" y="876"/>
                  </a:lnTo>
                  <a:lnTo>
                    <a:pt x="2796" y="876"/>
                  </a:lnTo>
                  <a:lnTo>
                    <a:pt x="2814" y="870"/>
                  </a:lnTo>
                  <a:lnTo>
                    <a:pt x="2832" y="852"/>
                  </a:lnTo>
                  <a:lnTo>
                    <a:pt x="2838" y="840"/>
                  </a:lnTo>
                  <a:lnTo>
                    <a:pt x="2844" y="834"/>
                  </a:lnTo>
                  <a:lnTo>
                    <a:pt x="2844" y="822"/>
                  </a:lnTo>
                  <a:lnTo>
                    <a:pt x="2766" y="822"/>
                  </a:lnTo>
                  <a:lnTo>
                    <a:pt x="2802" y="798"/>
                  </a:lnTo>
                  <a:lnTo>
                    <a:pt x="2850" y="798"/>
                  </a:lnTo>
                  <a:lnTo>
                    <a:pt x="2898" y="792"/>
                  </a:lnTo>
                  <a:lnTo>
                    <a:pt x="2910" y="786"/>
                  </a:lnTo>
                  <a:lnTo>
                    <a:pt x="2916" y="786"/>
                  </a:lnTo>
                  <a:lnTo>
                    <a:pt x="2922" y="780"/>
                  </a:lnTo>
                  <a:lnTo>
                    <a:pt x="2916" y="768"/>
                  </a:lnTo>
                  <a:lnTo>
                    <a:pt x="2898" y="750"/>
                  </a:lnTo>
                  <a:lnTo>
                    <a:pt x="2898" y="744"/>
                  </a:lnTo>
                  <a:close/>
                  <a:moveTo>
                    <a:pt x="2868" y="882"/>
                  </a:moveTo>
                  <a:lnTo>
                    <a:pt x="2886" y="882"/>
                  </a:lnTo>
                  <a:lnTo>
                    <a:pt x="2904" y="876"/>
                  </a:lnTo>
                  <a:lnTo>
                    <a:pt x="2910" y="870"/>
                  </a:lnTo>
                  <a:lnTo>
                    <a:pt x="2910" y="864"/>
                  </a:lnTo>
                  <a:lnTo>
                    <a:pt x="2904" y="858"/>
                  </a:lnTo>
                  <a:lnTo>
                    <a:pt x="2880" y="858"/>
                  </a:lnTo>
                  <a:lnTo>
                    <a:pt x="2868" y="870"/>
                  </a:lnTo>
                  <a:lnTo>
                    <a:pt x="2868" y="882"/>
                  </a:lnTo>
                  <a:close/>
                  <a:moveTo>
                    <a:pt x="3276" y="330"/>
                  </a:moveTo>
                  <a:lnTo>
                    <a:pt x="3288" y="330"/>
                  </a:lnTo>
                  <a:lnTo>
                    <a:pt x="3294" y="324"/>
                  </a:lnTo>
                  <a:lnTo>
                    <a:pt x="3300" y="312"/>
                  </a:lnTo>
                  <a:lnTo>
                    <a:pt x="3300" y="306"/>
                  </a:lnTo>
                  <a:lnTo>
                    <a:pt x="3294" y="294"/>
                  </a:lnTo>
                  <a:lnTo>
                    <a:pt x="3288" y="288"/>
                  </a:lnTo>
                  <a:lnTo>
                    <a:pt x="3276" y="288"/>
                  </a:lnTo>
                  <a:lnTo>
                    <a:pt x="3270" y="300"/>
                  </a:lnTo>
                  <a:lnTo>
                    <a:pt x="3264" y="306"/>
                  </a:lnTo>
                  <a:lnTo>
                    <a:pt x="3264" y="324"/>
                  </a:lnTo>
                  <a:lnTo>
                    <a:pt x="3270" y="330"/>
                  </a:lnTo>
                  <a:lnTo>
                    <a:pt x="3276" y="330"/>
                  </a:lnTo>
                  <a:close/>
                  <a:moveTo>
                    <a:pt x="3462" y="228"/>
                  </a:moveTo>
                  <a:lnTo>
                    <a:pt x="3450" y="240"/>
                  </a:lnTo>
                  <a:lnTo>
                    <a:pt x="3450" y="252"/>
                  </a:lnTo>
                  <a:lnTo>
                    <a:pt x="3456" y="258"/>
                  </a:lnTo>
                  <a:lnTo>
                    <a:pt x="3528" y="258"/>
                  </a:lnTo>
                  <a:lnTo>
                    <a:pt x="3546" y="276"/>
                  </a:lnTo>
                  <a:lnTo>
                    <a:pt x="3558" y="282"/>
                  </a:lnTo>
                  <a:lnTo>
                    <a:pt x="3588" y="282"/>
                  </a:lnTo>
                  <a:lnTo>
                    <a:pt x="3612" y="270"/>
                  </a:lnTo>
                  <a:lnTo>
                    <a:pt x="3618" y="264"/>
                  </a:lnTo>
                  <a:lnTo>
                    <a:pt x="3606" y="252"/>
                  </a:lnTo>
                  <a:lnTo>
                    <a:pt x="3636" y="246"/>
                  </a:lnTo>
                  <a:lnTo>
                    <a:pt x="3594" y="210"/>
                  </a:lnTo>
                  <a:lnTo>
                    <a:pt x="3552" y="216"/>
                  </a:lnTo>
                  <a:lnTo>
                    <a:pt x="3534" y="198"/>
                  </a:lnTo>
                  <a:lnTo>
                    <a:pt x="3450" y="198"/>
                  </a:lnTo>
                  <a:lnTo>
                    <a:pt x="3438" y="204"/>
                  </a:lnTo>
                  <a:lnTo>
                    <a:pt x="3426" y="204"/>
                  </a:lnTo>
                  <a:lnTo>
                    <a:pt x="3420" y="210"/>
                  </a:lnTo>
                  <a:lnTo>
                    <a:pt x="3438" y="228"/>
                  </a:lnTo>
                  <a:lnTo>
                    <a:pt x="3462" y="228"/>
                  </a:lnTo>
                  <a:close/>
                  <a:moveTo>
                    <a:pt x="3432" y="1302"/>
                  </a:moveTo>
                  <a:lnTo>
                    <a:pt x="3408" y="1326"/>
                  </a:lnTo>
                  <a:lnTo>
                    <a:pt x="3408" y="1344"/>
                  </a:lnTo>
                  <a:lnTo>
                    <a:pt x="3438" y="1344"/>
                  </a:lnTo>
                  <a:lnTo>
                    <a:pt x="3462" y="1332"/>
                  </a:lnTo>
                  <a:lnTo>
                    <a:pt x="3468" y="1332"/>
                  </a:lnTo>
                  <a:lnTo>
                    <a:pt x="3480" y="1326"/>
                  </a:lnTo>
                  <a:lnTo>
                    <a:pt x="3486" y="1326"/>
                  </a:lnTo>
                  <a:lnTo>
                    <a:pt x="3504" y="1308"/>
                  </a:lnTo>
                  <a:lnTo>
                    <a:pt x="3516" y="1290"/>
                  </a:lnTo>
                  <a:lnTo>
                    <a:pt x="3516" y="1266"/>
                  </a:lnTo>
                  <a:lnTo>
                    <a:pt x="3510" y="1260"/>
                  </a:lnTo>
                  <a:lnTo>
                    <a:pt x="3498" y="1260"/>
                  </a:lnTo>
                  <a:lnTo>
                    <a:pt x="3480" y="1266"/>
                  </a:lnTo>
                  <a:lnTo>
                    <a:pt x="3432" y="1302"/>
                  </a:lnTo>
                  <a:close/>
                  <a:moveTo>
                    <a:pt x="4416" y="1392"/>
                  </a:moveTo>
                  <a:lnTo>
                    <a:pt x="4428" y="1380"/>
                  </a:lnTo>
                  <a:lnTo>
                    <a:pt x="4428" y="1374"/>
                  </a:lnTo>
                  <a:lnTo>
                    <a:pt x="4386" y="1374"/>
                  </a:lnTo>
                  <a:lnTo>
                    <a:pt x="4386" y="1380"/>
                  </a:lnTo>
                  <a:lnTo>
                    <a:pt x="4404" y="1398"/>
                  </a:lnTo>
                  <a:lnTo>
                    <a:pt x="4416" y="1392"/>
                  </a:lnTo>
                  <a:close/>
                  <a:moveTo>
                    <a:pt x="3120" y="2034"/>
                  </a:moveTo>
                  <a:lnTo>
                    <a:pt x="3132" y="2034"/>
                  </a:lnTo>
                  <a:lnTo>
                    <a:pt x="3138" y="2028"/>
                  </a:lnTo>
                  <a:lnTo>
                    <a:pt x="3132" y="2022"/>
                  </a:lnTo>
                  <a:lnTo>
                    <a:pt x="3120" y="2016"/>
                  </a:lnTo>
                  <a:lnTo>
                    <a:pt x="3114" y="2010"/>
                  </a:lnTo>
                  <a:lnTo>
                    <a:pt x="3108" y="2010"/>
                  </a:lnTo>
                  <a:lnTo>
                    <a:pt x="3090" y="2016"/>
                  </a:lnTo>
                  <a:lnTo>
                    <a:pt x="3078" y="2022"/>
                  </a:lnTo>
                  <a:lnTo>
                    <a:pt x="3072" y="2022"/>
                  </a:lnTo>
                  <a:lnTo>
                    <a:pt x="3072" y="2028"/>
                  </a:lnTo>
                  <a:lnTo>
                    <a:pt x="3078" y="2034"/>
                  </a:lnTo>
                  <a:lnTo>
                    <a:pt x="3120" y="2034"/>
                  </a:lnTo>
                  <a:close/>
                  <a:moveTo>
                    <a:pt x="4758" y="996"/>
                  </a:moveTo>
                  <a:lnTo>
                    <a:pt x="4746" y="996"/>
                  </a:lnTo>
                  <a:lnTo>
                    <a:pt x="4734" y="984"/>
                  </a:lnTo>
                  <a:lnTo>
                    <a:pt x="4704" y="1008"/>
                  </a:lnTo>
                  <a:lnTo>
                    <a:pt x="4704" y="978"/>
                  </a:lnTo>
                  <a:lnTo>
                    <a:pt x="4662" y="978"/>
                  </a:lnTo>
                  <a:lnTo>
                    <a:pt x="4668" y="978"/>
                  </a:lnTo>
                  <a:lnTo>
                    <a:pt x="4674" y="972"/>
                  </a:lnTo>
                  <a:lnTo>
                    <a:pt x="4686" y="972"/>
                  </a:lnTo>
                  <a:lnTo>
                    <a:pt x="4698" y="966"/>
                  </a:lnTo>
                  <a:lnTo>
                    <a:pt x="4704" y="954"/>
                  </a:lnTo>
                  <a:lnTo>
                    <a:pt x="4704" y="948"/>
                  </a:lnTo>
                  <a:lnTo>
                    <a:pt x="4698" y="942"/>
                  </a:lnTo>
                  <a:lnTo>
                    <a:pt x="4680" y="942"/>
                  </a:lnTo>
                  <a:lnTo>
                    <a:pt x="4668" y="936"/>
                  </a:lnTo>
                  <a:lnTo>
                    <a:pt x="4650" y="936"/>
                  </a:lnTo>
                  <a:lnTo>
                    <a:pt x="4632" y="930"/>
                  </a:lnTo>
                  <a:lnTo>
                    <a:pt x="4620" y="930"/>
                  </a:lnTo>
                  <a:lnTo>
                    <a:pt x="4614" y="918"/>
                  </a:lnTo>
                  <a:lnTo>
                    <a:pt x="4566" y="912"/>
                  </a:lnTo>
                  <a:lnTo>
                    <a:pt x="4500" y="870"/>
                  </a:lnTo>
                  <a:lnTo>
                    <a:pt x="4566" y="864"/>
                  </a:lnTo>
                  <a:lnTo>
                    <a:pt x="4536" y="840"/>
                  </a:lnTo>
                  <a:lnTo>
                    <a:pt x="4542" y="840"/>
                  </a:lnTo>
                  <a:lnTo>
                    <a:pt x="4548" y="834"/>
                  </a:lnTo>
                  <a:lnTo>
                    <a:pt x="4584" y="834"/>
                  </a:lnTo>
                  <a:lnTo>
                    <a:pt x="4596" y="840"/>
                  </a:lnTo>
                  <a:lnTo>
                    <a:pt x="4638" y="840"/>
                  </a:lnTo>
                  <a:lnTo>
                    <a:pt x="4638" y="834"/>
                  </a:lnTo>
                  <a:lnTo>
                    <a:pt x="4632" y="828"/>
                  </a:lnTo>
                  <a:lnTo>
                    <a:pt x="4614" y="822"/>
                  </a:lnTo>
                  <a:lnTo>
                    <a:pt x="4596" y="822"/>
                  </a:lnTo>
                  <a:lnTo>
                    <a:pt x="4578" y="816"/>
                  </a:lnTo>
                  <a:lnTo>
                    <a:pt x="4518" y="816"/>
                  </a:lnTo>
                  <a:lnTo>
                    <a:pt x="4536" y="816"/>
                  </a:lnTo>
                  <a:lnTo>
                    <a:pt x="4620" y="804"/>
                  </a:lnTo>
                  <a:lnTo>
                    <a:pt x="4638" y="798"/>
                  </a:lnTo>
                  <a:lnTo>
                    <a:pt x="4638" y="792"/>
                  </a:lnTo>
                  <a:lnTo>
                    <a:pt x="4632" y="792"/>
                  </a:lnTo>
                  <a:lnTo>
                    <a:pt x="4626" y="786"/>
                  </a:lnTo>
                  <a:lnTo>
                    <a:pt x="4608" y="786"/>
                  </a:lnTo>
                  <a:lnTo>
                    <a:pt x="4500" y="798"/>
                  </a:lnTo>
                  <a:lnTo>
                    <a:pt x="4560" y="762"/>
                  </a:lnTo>
                  <a:lnTo>
                    <a:pt x="4620" y="762"/>
                  </a:lnTo>
                  <a:lnTo>
                    <a:pt x="4626" y="756"/>
                  </a:lnTo>
                  <a:lnTo>
                    <a:pt x="4620" y="750"/>
                  </a:lnTo>
                  <a:lnTo>
                    <a:pt x="4584" y="738"/>
                  </a:lnTo>
                  <a:lnTo>
                    <a:pt x="4572" y="732"/>
                  </a:lnTo>
                  <a:lnTo>
                    <a:pt x="4554" y="732"/>
                  </a:lnTo>
                  <a:lnTo>
                    <a:pt x="4518" y="750"/>
                  </a:lnTo>
                  <a:lnTo>
                    <a:pt x="4500" y="744"/>
                  </a:lnTo>
                  <a:lnTo>
                    <a:pt x="4458" y="774"/>
                  </a:lnTo>
                  <a:lnTo>
                    <a:pt x="4464" y="756"/>
                  </a:lnTo>
                  <a:lnTo>
                    <a:pt x="4440" y="774"/>
                  </a:lnTo>
                  <a:lnTo>
                    <a:pt x="4464" y="744"/>
                  </a:lnTo>
                  <a:lnTo>
                    <a:pt x="4500" y="744"/>
                  </a:lnTo>
                  <a:lnTo>
                    <a:pt x="4506" y="738"/>
                  </a:lnTo>
                  <a:lnTo>
                    <a:pt x="4518" y="714"/>
                  </a:lnTo>
                  <a:lnTo>
                    <a:pt x="4518" y="708"/>
                  </a:lnTo>
                  <a:lnTo>
                    <a:pt x="4512" y="702"/>
                  </a:lnTo>
                  <a:lnTo>
                    <a:pt x="4506" y="708"/>
                  </a:lnTo>
                  <a:lnTo>
                    <a:pt x="4494" y="714"/>
                  </a:lnTo>
                  <a:lnTo>
                    <a:pt x="4488" y="726"/>
                  </a:lnTo>
                  <a:lnTo>
                    <a:pt x="4452" y="726"/>
                  </a:lnTo>
                  <a:lnTo>
                    <a:pt x="4428" y="738"/>
                  </a:lnTo>
                  <a:lnTo>
                    <a:pt x="4452" y="708"/>
                  </a:lnTo>
                  <a:lnTo>
                    <a:pt x="4482" y="708"/>
                  </a:lnTo>
                  <a:lnTo>
                    <a:pt x="4494" y="702"/>
                  </a:lnTo>
                  <a:lnTo>
                    <a:pt x="4500" y="702"/>
                  </a:lnTo>
                  <a:lnTo>
                    <a:pt x="4506" y="696"/>
                  </a:lnTo>
                  <a:lnTo>
                    <a:pt x="4506" y="690"/>
                  </a:lnTo>
                  <a:lnTo>
                    <a:pt x="4500" y="684"/>
                  </a:lnTo>
                  <a:lnTo>
                    <a:pt x="4458" y="684"/>
                  </a:lnTo>
                  <a:lnTo>
                    <a:pt x="4446" y="690"/>
                  </a:lnTo>
                  <a:lnTo>
                    <a:pt x="4428" y="696"/>
                  </a:lnTo>
                  <a:lnTo>
                    <a:pt x="4422" y="702"/>
                  </a:lnTo>
                  <a:lnTo>
                    <a:pt x="4416" y="702"/>
                  </a:lnTo>
                  <a:lnTo>
                    <a:pt x="4404" y="684"/>
                  </a:lnTo>
                  <a:lnTo>
                    <a:pt x="4380" y="702"/>
                  </a:lnTo>
                  <a:lnTo>
                    <a:pt x="4398" y="672"/>
                  </a:lnTo>
                  <a:lnTo>
                    <a:pt x="4344" y="696"/>
                  </a:lnTo>
                  <a:lnTo>
                    <a:pt x="4344" y="672"/>
                  </a:lnTo>
                  <a:lnTo>
                    <a:pt x="4350" y="672"/>
                  </a:lnTo>
                  <a:lnTo>
                    <a:pt x="4356" y="666"/>
                  </a:lnTo>
                  <a:lnTo>
                    <a:pt x="4368" y="666"/>
                  </a:lnTo>
                  <a:lnTo>
                    <a:pt x="4386" y="660"/>
                  </a:lnTo>
                  <a:lnTo>
                    <a:pt x="4392" y="660"/>
                  </a:lnTo>
                  <a:lnTo>
                    <a:pt x="4398" y="654"/>
                  </a:lnTo>
                  <a:lnTo>
                    <a:pt x="4356" y="654"/>
                  </a:lnTo>
                  <a:lnTo>
                    <a:pt x="4338" y="660"/>
                  </a:lnTo>
                  <a:lnTo>
                    <a:pt x="4326" y="660"/>
                  </a:lnTo>
                  <a:lnTo>
                    <a:pt x="4320" y="648"/>
                  </a:lnTo>
                  <a:lnTo>
                    <a:pt x="4332" y="648"/>
                  </a:lnTo>
                  <a:lnTo>
                    <a:pt x="4356" y="636"/>
                  </a:lnTo>
                  <a:lnTo>
                    <a:pt x="4368" y="636"/>
                  </a:lnTo>
                  <a:lnTo>
                    <a:pt x="4380" y="630"/>
                  </a:lnTo>
                  <a:lnTo>
                    <a:pt x="4386" y="624"/>
                  </a:lnTo>
                  <a:lnTo>
                    <a:pt x="4368" y="618"/>
                  </a:lnTo>
                  <a:lnTo>
                    <a:pt x="4326" y="612"/>
                  </a:lnTo>
                  <a:lnTo>
                    <a:pt x="4290" y="612"/>
                  </a:lnTo>
                  <a:lnTo>
                    <a:pt x="4266" y="606"/>
                  </a:lnTo>
                  <a:lnTo>
                    <a:pt x="4236" y="606"/>
                  </a:lnTo>
                  <a:lnTo>
                    <a:pt x="4230" y="612"/>
                  </a:lnTo>
                  <a:lnTo>
                    <a:pt x="4230" y="618"/>
                  </a:lnTo>
                  <a:lnTo>
                    <a:pt x="4236" y="624"/>
                  </a:lnTo>
                  <a:lnTo>
                    <a:pt x="4242" y="636"/>
                  </a:lnTo>
                  <a:lnTo>
                    <a:pt x="4206" y="630"/>
                  </a:lnTo>
                  <a:lnTo>
                    <a:pt x="4212" y="660"/>
                  </a:lnTo>
                  <a:lnTo>
                    <a:pt x="4194" y="636"/>
                  </a:lnTo>
                  <a:lnTo>
                    <a:pt x="4152" y="660"/>
                  </a:lnTo>
                  <a:lnTo>
                    <a:pt x="4158" y="654"/>
                  </a:lnTo>
                  <a:lnTo>
                    <a:pt x="4158" y="636"/>
                  </a:lnTo>
                  <a:lnTo>
                    <a:pt x="4152" y="630"/>
                  </a:lnTo>
                  <a:lnTo>
                    <a:pt x="4140" y="630"/>
                  </a:lnTo>
                  <a:lnTo>
                    <a:pt x="4122" y="636"/>
                  </a:lnTo>
                  <a:lnTo>
                    <a:pt x="4110" y="642"/>
                  </a:lnTo>
                  <a:lnTo>
                    <a:pt x="4098" y="642"/>
                  </a:lnTo>
                  <a:lnTo>
                    <a:pt x="4086" y="648"/>
                  </a:lnTo>
                  <a:lnTo>
                    <a:pt x="4080" y="654"/>
                  </a:lnTo>
                  <a:lnTo>
                    <a:pt x="4074" y="654"/>
                  </a:lnTo>
                  <a:lnTo>
                    <a:pt x="4092" y="618"/>
                  </a:lnTo>
                  <a:lnTo>
                    <a:pt x="4110" y="618"/>
                  </a:lnTo>
                  <a:lnTo>
                    <a:pt x="4122" y="612"/>
                  </a:lnTo>
                  <a:lnTo>
                    <a:pt x="4134" y="612"/>
                  </a:lnTo>
                  <a:lnTo>
                    <a:pt x="4146" y="606"/>
                  </a:lnTo>
                  <a:lnTo>
                    <a:pt x="4152" y="600"/>
                  </a:lnTo>
                  <a:lnTo>
                    <a:pt x="4152" y="594"/>
                  </a:lnTo>
                  <a:lnTo>
                    <a:pt x="4146" y="582"/>
                  </a:lnTo>
                  <a:lnTo>
                    <a:pt x="4134" y="570"/>
                  </a:lnTo>
                  <a:lnTo>
                    <a:pt x="4152" y="552"/>
                  </a:lnTo>
                  <a:lnTo>
                    <a:pt x="4152" y="540"/>
                  </a:lnTo>
                  <a:lnTo>
                    <a:pt x="4050" y="540"/>
                  </a:lnTo>
                  <a:lnTo>
                    <a:pt x="4026" y="558"/>
                  </a:lnTo>
                  <a:lnTo>
                    <a:pt x="3942" y="558"/>
                  </a:lnTo>
                  <a:lnTo>
                    <a:pt x="3948" y="576"/>
                  </a:lnTo>
                  <a:lnTo>
                    <a:pt x="3978" y="588"/>
                  </a:lnTo>
                  <a:lnTo>
                    <a:pt x="3936" y="576"/>
                  </a:lnTo>
                  <a:lnTo>
                    <a:pt x="3948" y="600"/>
                  </a:lnTo>
                  <a:lnTo>
                    <a:pt x="3936" y="594"/>
                  </a:lnTo>
                  <a:lnTo>
                    <a:pt x="3930" y="594"/>
                  </a:lnTo>
                  <a:lnTo>
                    <a:pt x="3918" y="588"/>
                  </a:lnTo>
                  <a:lnTo>
                    <a:pt x="3894" y="588"/>
                  </a:lnTo>
                  <a:lnTo>
                    <a:pt x="3882" y="594"/>
                  </a:lnTo>
                  <a:lnTo>
                    <a:pt x="3876" y="606"/>
                  </a:lnTo>
                  <a:lnTo>
                    <a:pt x="3882" y="612"/>
                  </a:lnTo>
                  <a:lnTo>
                    <a:pt x="3888" y="624"/>
                  </a:lnTo>
                  <a:lnTo>
                    <a:pt x="3894" y="630"/>
                  </a:lnTo>
                  <a:lnTo>
                    <a:pt x="3900" y="660"/>
                  </a:lnTo>
                  <a:lnTo>
                    <a:pt x="3894" y="660"/>
                  </a:lnTo>
                  <a:lnTo>
                    <a:pt x="3888" y="654"/>
                  </a:lnTo>
                  <a:lnTo>
                    <a:pt x="3864" y="642"/>
                  </a:lnTo>
                  <a:lnTo>
                    <a:pt x="3852" y="642"/>
                  </a:lnTo>
                  <a:lnTo>
                    <a:pt x="3828" y="666"/>
                  </a:lnTo>
                  <a:lnTo>
                    <a:pt x="3828" y="678"/>
                  </a:lnTo>
                  <a:lnTo>
                    <a:pt x="3846" y="678"/>
                  </a:lnTo>
                  <a:lnTo>
                    <a:pt x="3858" y="690"/>
                  </a:lnTo>
                  <a:lnTo>
                    <a:pt x="3810" y="714"/>
                  </a:lnTo>
                  <a:lnTo>
                    <a:pt x="3750" y="720"/>
                  </a:lnTo>
                  <a:lnTo>
                    <a:pt x="3762" y="720"/>
                  </a:lnTo>
                  <a:lnTo>
                    <a:pt x="3798" y="702"/>
                  </a:lnTo>
                  <a:lnTo>
                    <a:pt x="3810" y="690"/>
                  </a:lnTo>
                  <a:lnTo>
                    <a:pt x="3810" y="684"/>
                  </a:lnTo>
                  <a:lnTo>
                    <a:pt x="3804" y="684"/>
                  </a:lnTo>
                  <a:lnTo>
                    <a:pt x="3792" y="672"/>
                  </a:lnTo>
                  <a:lnTo>
                    <a:pt x="3786" y="672"/>
                  </a:lnTo>
                  <a:lnTo>
                    <a:pt x="3786" y="660"/>
                  </a:lnTo>
                  <a:lnTo>
                    <a:pt x="3804" y="642"/>
                  </a:lnTo>
                  <a:lnTo>
                    <a:pt x="3816" y="636"/>
                  </a:lnTo>
                  <a:lnTo>
                    <a:pt x="3828" y="636"/>
                  </a:lnTo>
                  <a:lnTo>
                    <a:pt x="3828" y="606"/>
                  </a:lnTo>
                  <a:lnTo>
                    <a:pt x="3840" y="600"/>
                  </a:lnTo>
                  <a:lnTo>
                    <a:pt x="3858" y="582"/>
                  </a:lnTo>
                  <a:lnTo>
                    <a:pt x="3876" y="576"/>
                  </a:lnTo>
                  <a:lnTo>
                    <a:pt x="3882" y="570"/>
                  </a:lnTo>
                  <a:lnTo>
                    <a:pt x="3894" y="564"/>
                  </a:lnTo>
                  <a:lnTo>
                    <a:pt x="3906" y="564"/>
                  </a:lnTo>
                  <a:lnTo>
                    <a:pt x="3918" y="558"/>
                  </a:lnTo>
                  <a:lnTo>
                    <a:pt x="3936" y="552"/>
                  </a:lnTo>
                  <a:lnTo>
                    <a:pt x="3954" y="552"/>
                  </a:lnTo>
                  <a:lnTo>
                    <a:pt x="3966" y="546"/>
                  </a:lnTo>
                  <a:lnTo>
                    <a:pt x="3972" y="540"/>
                  </a:lnTo>
                  <a:lnTo>
                    <a:pt x="3942" y="534"/>
                  </a:lnTo>
                  <a:lnTo>
                    <a:pt x="3852" y="534"/>
                  </a:lnTo>
                  <a:lnTo>
                    <a:pt x="3822" y="540"/>
                  </a:lnTo>
                  <a:lnTo>
                    <a:pt x="3786" y="558"/>
                  </a:lnTo>
                  <a:lnTo>
                    <a:pt x="3744" y="576"/>
                  </a:lnTo>
                  <a:lnTo>
                    <a:pt x="3720" y="594"/>
                  </a:lnTo>
                  <a:lnTo>
                    <a:pt x="3708" y="600"/>
                  </a:lnTo>
                  <a:lnTo>
                    <a:pt x="3702" y="600"/>
                  </a:lnTo>
                  <a:lnTo>
                    <a:pt x="3696" y="606"/>
                  </a:lnTo>
                  <a:lnTo>
                    <a:pt x="3684" y="606"/>
                  </a:lnTo>
                  <a:lnTo>
                    <a:pt x="3660" y="618"/>
                  </a:lnTo>
                  <a:lnTo>
                    <a:pt x="3654" y="618"/>
                  </a:lnTo>
                  <a:lnTo>
                    <a:pt x="3642" y="624"/>
                  </a:lnTo>
                  <a:lnTo>
                    <a:pt x="3630" y="636"/>
                  </a:lnTo>
                  <a:lnTo>
                    <a:pt x="3618" y="642"/>
                  </a:lnTo>
                  <a:lnTo>
                    <a:pt x="3600" y="660"/>
                  </a:lnTo>
                  <a:lnTo>
                    <a:pt x="3588" y="666"/>
                  </a:lnTo>
                  <a:lnTo>
                    <a:pt x="3582" y="678"/>
                  </a:lnTo>
                  <a:lnTo>
                    <a:pt x="3582" y="684"/>
                  </a:lnTo>
                  <a:lnTo>
                    <a:pt x="3588" y="690"/>
                  </a:lnTo>
                  <a:lnTo>
                    <a:pt x="3612" y="690"/>
                  </a:lnTo>
                  <a:lnTo>
                    <a:pt x="3648" y="696"/>
                  </a:lnTo>
                  <a:lnTo>
                    <a:pt x="3672" y="696"/>
                  </a:lnTo>
                  <a:lnTo>
                    <a:pt x="3684" y="708"/>
                  </a:lnTo>
                  <a:lnTo>
                    <a:pt x="3666" y="714"/>
                  </a:lnTo>
                  <a:lnTo>
                    <a:pt x="3594" y="726"/>
                  </a:lnTo>
                  <a:lnTo>
                    <a:pt x="3570" y="732"/>
                  </a:lnTo>
                  <a:lnTo>
                    <a:pt x="3576" y="738"/>
                  </a:lnTo>
                  <a:lnTo>
                    <a:pt x="3594" y="750"/>
                  </a:lnTo>
                  <a:lnTo>
                    <a:pt x="3630" y="762"/>
                  </a:lnTo>
                  <a:lnTo>
                    <a:pt x="3642" y="768"/>
                  </a:lnTo>
                  <a:lnTo>
                    <a:pt x="3648" y="768"/>
                  </a:lnTo>
                  <a:lnTo>
                    <a:pt x="3690" y="750"/>
                  </a:lnTo>
                  <a:lnTo>
                    <a:pt x="3690" y="762"/>
                  </a:lnTo>
                  <a:lnTo>
                    <a:pt x="3702" y="774"/>
                  </a:lnTo>
                  <a:lnTo>
                    <a:pt x="3744" y="774"/>
                  </a:lnTo>
                  <a:lnTo>
                    <a:pt x="3786" y="780"/>
                  </a:lnTo>
                  <a:lnTo>
                    <a:pt x="3834" y="786"/>
                  </a:lnTo>
                  <a:lnTo>
                    <a:pt x="3876" y="792"/>
                  </a:lnTo>
                  <a:lnTo>
                    <a:pt x="3894" y="792"/>
                  </a:lnTo>
                  <a:lnTo>
                    <a:pt x="3900" y="786"/>
                  </a:lnTo>
                  <a:lnTo>
                    <a:pt x="3894" y="780"/>
                  </a:lnTo>
                  <a:lnTo>
                    <a:pt x="3882" y="774"/>
                  </a:lnTo>
                  <a:lnTo>
                    <a:pt x="3876" y="768"/>
                  </a:lnTo>
                  <a:lnTo>
                    <a:pt x="3894" y="768"/>
                  </a:lnTo>
                  <a:lnTo>
                    <a:pt x="3930" y="774"/>
                  </a:lnTo>
                  <a:lnTo>
                    <a:pt x="3966" y="774"/>
                  </a:lnTo>
                  <a:lnTo>
                    <a:pt x="3990" y="780"/>
                  </a:lnTo>
                  <a:lnTo>
                    <a:pt x="4002" y="780"/>
                  </a:lnTo>
                  <a:lnTo>
                    <a:pt x="4020" y="786"/>
                  </a:lnTo>
                  <a:lnTo>
                    <a:pt x="4032" y="792"/>
                  </a:lnTo>
                  <a:lnTo>
                    <a:pt x="4050" y="792"/>
                  </a:lnTo>
                  <a:lnTo>
                    <a:pt x="4062" y="786"/>
                  </a:lnTo>
                  <a:lnTo>
                    <a:pt x="4062" y="774"/>
                  </a:lnTo>
                  <a:lnTo>
                    <a:pt x="4056" y="768"/>
                  </a:lnTo>
                  <a:lnTo>
                    <a:pt x="4050" y="756"/>
                  </a:lnTo>
                  <a:lnTo>
                    <a:pt x="4044" y="750"/>
                  </a:lnTo>
                  <a:lnTo>
                    <a:pt x="4092" y="738"/>
                  </a:lnTo>
                  <a:lnTo>
                    <a:pt x="4092" y="744"/>
                  </a:lnTo>
                  <a:lnTo>
                    <a:pt x="4098" y="750"/>
                  </a:lnTo>
                  <a:lnTo>
                    <a:pt x="4104" y="762"/>
                  </a:lnTo>
                  <a:lnTo>
                    <a:pt x="4104" y="768"/>
                  </a:lnTo>
                  <a:lnTo>
                    <a:pt x="4110" y="774"/>
                  </a:lnTo>
                  <a:lnTo>
                    <a:pt x="4116" y="774"/>
                  </a:lnTo>
                  <a:lnTo>
                    <a:pt x="4122" y="780"/>
                  </a:lnTo>
                  <a:lnTo>
                    <a:pt x="4134" y="786"/>
                  </a:lnTo>
                  <a:lnTo>
                    <a:pt x="4140" y="792"/>
                  </a:lnTo>
                  <a:lnTo>
                    <a:pt x="4170" y="786"/>
                  </a:lnTo>
                  <a:lnTo>
                    <a:pt x="4170" y="792"/>
                  </a:lnTo>
                  <a:lnTo>
                    <a:pt x="4164" y="798"/>
                  </a:lnTo>
                  <a:lnTo>
                    <a:pt x="4164" y="816"/>
                  </a:lnTo>
                  <a:lnTo>
                    <a:pt x="4170" y="816"/>
                  </a:lnTo>
                  <a:lnTo>
                    <a:pt x="4182" y="822"/>
                  </a:lnTo>
                  <a:lnTo>
                    <a:pt x="4200" y="822"/>
                  </a:lnTo>
                  <a:lnTo>
                    <a:pt x="4206" y="828"/>
                  </a:lnTo>
                  <a:lnTo>
                    <a:pt x="4212" y="828"/>
                  </a:lnTo>
                  <a:lnTo>
                    <a:pt x="4194" y="846"/>
                  </a:lnTo>
                  <a:lnTo>
                    <a:pt x="4194" y="858"/>
                  </a:lnTo>
                  <a:lnTo>
                    <a:pt x="4230" y="858"/>
                  </a:lnTo>
                  <a:lnTo>
                    <a:pt x="4224" y="882"/>
                  </a:lnTo>
                  <a:lnTo>
                    <a:pt x="4236" y="882"/>
                  </a:lnTo>
                  <a:lnTo>
                    <a:pt x="4248" y="888"/>
                  </a:lnTo>
                  <a:lnTo>
                    <a:pt x="4254" y="888"/>
                  </a:lnTo>
                  <a:lnTo>
                    <a:pt x="4278" y="900"/>
                  </a:lnTo>
                  <a:lnTo>
                    <a:pt x="4278" y="924"/>
                  </a:lnTo>
                  <a:lnTo>
                    <a:pt x="4266" y="948"/>
                  </a:lnTo>
                  <a:lnTo>
                    <a:pt x="4254" y="966"/>
                  </a:lnTo>
                  <a:lnTo>
                    <a:pt x="4248" y="978"/>
                  </a:lnTo>
                  <a:lnTo>
                    <a:pt x="4236" y="990"/>
                  </a:lnTo>
                  <a:lnTo>
                    <a:pt x="4218" y="996"/>
                  </a:lnTo>
                  <a:lnTo>
                    <a:pt x="4182" y="1014"/>
                  </a:lnTo>
                  <a:lnTo>
                    <a:pt x="4140" y="1026"/>
                  </a:lnTo>
                  <a:lnTo>
                    <a:pt x="4092" y="1050"/>
                  </a:lnTo>
                  <a:lnTo>
                    <a:pt x="4098" y="1056"/>
                  </a:lnTo>
                  <a:lnTo>
                    <a:pt x="4110" y="1062"/>
                  </a:lnTo>
                  <a:lnTo>
                    <a:pt x="4122" y="1074"/>
                  </a:lnTo>
                  <a:lnTo>
                    <a:pt x="4122" y="1080"/>
                  </a:lnTo>
                  <a:lnTo>
                    <a:pt x="4116" y="1086"/>
                  </a:lnTo>
                  <a:lnTo>
                    <a:pt x="4080" y="1098"/>
                  </a:lnTo>
                  <a:lnTo>
                    <a:pt x="4062" y="1098"/>
                  </a:lnTo>
                  <a:lnTo>
                    <a:pt x="3984" y="1110"/>
                  </a:lnTo>
                  <a:lnTo>
                    <a:pt x="3978" y="1128"/>
                  </a:lnTo>
                  <a:lnTo>
                    <a:pt x="3960" y="1110"/>
                  </a:lnTo>
                  <a:lnTo>
                    <a:pt x="3954" y="1110"/>
                  </a:lnTo>
                  <a:lnTo>
                    <a:pt x="3948" y="1104"/>
                  </a:lnTo>
                  <a:lnTo>
                    <a:pt x="3930" y="1104"/>
                  </a:lnTo>
                  <a:lnTo>
                    <a:pt x="3918" y="1098"/>
                  </a:lnTo>
                  <a:lnTo>
                    <a:pt x="3900" y="1098"/>
                  </a:lnTo>
                  <a:lnTo>
                    <a:pt x="3888" y="1104"/>
                  </a:lnTo>
                  <a:lnTo>
                    <a:pt x="3882" y="1110"/>
                  </a:lnTo>
                  <a:lnTo>
                    <a:pt x="3882" y="1122"/>
                  </a:lnTo>
                  <a:lnTo>
                    <a:pt x="3870" y="1122"/>
                  </a:lnTo>
                  <a:lnTo>
                    <a:pt x="3858" y="1128"/>
                  </a:lnTo>
                  <a:lnTo>
                    <a:pt x="3840" y="1134"/>
                  </a:lnTo>
                  <a:lnTo>
                    <a:pt x="3828" y="1140"/>
                  </a:lnTo>
                  <a:lnTo>
                    <a:pt x="3822" y="1146"/>
                  </a:lnTo>
                  <a:lnTo>
                    <a:pt x="3816" y="1158"/>
                  </a:lnTo>
                  <a:lnTo>
                    <a:pt x="3816" y="1170"/>
                  </a:lnTo>
                  <a:lnTo>
                    <a:pt x="3822" y="1182"/>
                  </a:lnTo>
                  <a:lnTo>
                    <a:pt x="3834" y="1188"/>
                  </a:lnTo>
                  <a:lnTo>
                    <a:pt x="3864" y="1188"/>
                  </a:lnTo>
                  <a:lnTo>
                    <a:pt x="3876" y="1182"/>
                  </a:lnTo>
                  <a:lnTo>
                    <a:pt x="3894" y="1182"/>
                  </a:lnTo>
                  <a:lnTo>
                    <a:pt x="3906" y="1176"/>
                  </a:lnTo>
                  <a:lnTo>
                    <a:pt x="3924" y="1170"/>
                  </a:lnTo>
                  <a:lnTo>
                    <a:pt x="3936" y="1164"/>
                  </a:lnTo>
                  <a:lnTo>
                    <a:pt x="3966" y="1164"/>
                  </a:lnTo>
                  <a:lnTo>
                    <a:pt x="3978" y="1176"/>
                  </a:lnTo>
                  <a:lnTo>
                    <a:pt x="3996" y="1176"/>
                  </a:lnTo>
                  <a:lnTo>
                    <a:pt x="4002" y="1170"/>
                  </a:lnTo>
                  <a:lnTo>
                    <a:pt x="4002" y="1152"/>
                  </a:lnTo>
                  <a:lnTo>
                    <a:pt x="4026" y="1128"/>
                  </a:lnTo>
                  <a:lnTo>
                    <a:pt x="4014" y="1140"/>
                  </a:lnTo>
                  <a:lnTo>
                    <a:pt x="4014" y="1146"/>
                  </a:lnTo>
                  <a:lnTo>
                    <a:pt x="4020" y="1152"/>
                  </a:lnTo>
                  <a:lnTo>
                    <a:pt x="4086" y="1152"/>
                  </a:lnTo>
                  <a:lnTo>
                    <a:pt x="4080" y="1158"/>
                  </a:lnTo>
                  <a:lnTo>
                    <a:pt x="4068" y="1164"/>
                  </a:lnTo>
                  <a:lnTo>
                    <a:pt x="4062" y="1170"/>
                  </a:lnTo>
                  <a:lnTo>
                    <a:pt x="4062" y="1176"/>
                  </a:lnTo>
                  <a:lnTo>
                    <a:pt x="4068" y="1182"/>
                  </a:lnTo>
                  <a:lnTo>
                    <a:pt x="4080" y="1182"/>
                  </a:lnTo>
                  <a:lnTo>
                    <a:pt x="4086" y="1188"/>
                  </a:lnTo>
                  <a:lnTo>
                    <a:pt x="4098" y="1188"/>
                  </a:lnTo>
                  <a:lnTo>
                    <a:pt x="4086" y="1200"/>
                  </a:lnTo>
                  <a:lnTo>
                    <a:pt x="4086" y="1206"/>
                  </a:lnTo>
                  <a:lnTo>
                    <a:pt x="4092" y="1212"/>
                  </a:lnTo>
                  <a:lnTo>
                    <a:pt x="4116" y="1224"/>
                  </a:lnTo>
                  <a:lnTo>
                    <a:pt x="4146" y="1224"/>
                  </a:lnTo>
                  <a:lnTo>
                    <a:pt x="4098" y="1242"/>
                  </a:lnTo>
                  <a:lnTo>
                    <a:pt x="4098" y="1248"/>
                  </a:lnTo>
                  <a:lnTo>
                    <a:pt x="4110" y="1260"/>
                  </a:lnTo>
                  <a:lnTo>
                    <a:pt x="4110" y="1266"/>
                  </a:lnTo>
                  <a:lnTo>
                    <a:pt x="4116" y="1272"/>
                  </a:lnTo>
                  <a:lnTo>
                    <a:pt x="4122" y="1266"/>
                  </a:lnTo>
                  <a:lnTo>
                    <a:pt x="4128" y="1266"/>
                  </a:lnTo>
                  <a:lnTo>
                    <a:pt x="4140" y="1260"/>
                  </a:lnTo>
                  <a:lnTo>
                    <a:pt x="4146" y="1272"/>
                  </a:lnTo>
                  <a:lnTo>
                    <a:pt x="4158" y="1284"/>
                  </a:lnTo>
                  <a:lnTo>
                    <a:pt x="4182" y="1284"/>
                  </a:lnTo>
                  <a:lnTo>
                    <a:pt x="4194" y="1290"/>
                  </a:lnTo>
                  <a:lnTo>
                    <a:pt x="4206" y="1290"/>
                  </a:lnTo>
                  <a:lnTo>
                    <a:pt x="4206" y="1308"/>
                  </a:lnTo>
                  <a:lnTo>
                    <a:pt x="4212" y="1314"/>
                  </a:lnTo>
                  <a:lnTo>
                    <a:pt x="4224" y="1320"/>
                  </a:lnTo>
                  <a:lnTo>
                    <a:pt x="4272" y="1320"/>
                  </a:lnTo>
                  <a:lnTo>
                    <a:pt x="4290" y="1326"/>
                  </a:lnTo>
                  <a:lnTo>
                    <a:pt x="4350" y="1356"/>
                  </a:lnTo>
                  <a:lnTo>
                    <a:pt x="4356" y="1362"/>
                  </a:lnTo>
                  <a:lnTo>
                    <a:pt x="4362" y="1362"/>
                  </a:lnTo>
                  <a:lnTo>
                    <a:pt x="4362" y="1356"/>
                  </a:lnTo>
                  <a:lnTo>
                    <a:pt x="4368" y="1350"/>
                  </a:lnTo>
                  <a:lnTo>
                    <a:pt x="4368" y="1320"/>
                  </a:lnTo>
                  <a:lnTo>
                    <a:pt x="4362" y="1308"/>
                  </a:lnTo>
                  <a:lnTo>
                    <a:pt x="4350" y="1296"/>
                  </a:lnTo>
                  <a:lnTo>
                    <a:pt x="4338" y="1290"/>
                  </a:lnTo>
                  <a:lnTo>
                    <a:pt x="4320" y="1272"/>
                  </a:lnTo>
                  <a:lnTo>
                    <a:pt x="4314" y="1272"/>
                  </a:lnTo>
                  <a:lnTo>
                    <a:pt x="4308" y="1260"/>
                  </a:lnTo>
                  <a:lnTo>
                    <a:pt x="4302" y="1254"/>
                  </a:lnTo>
                  <a:lnTo>
                    <a:pt x="4290" y="1230"/>
                  </a:lnTo>
                  <a:lnTo>
                    <a:pt x="4290" y="1224"/>
                  </a:lnTo>
                  <a:lnTo>
                    <a:pt x="4308" y="1224"/>
                  </a:lnTo>
                  <a:lnTo>
                    <a:pt x="4314" y="1230"/>
                  </a:lnTo>
                  <a:lnTo>
                    <a:pt x="4326" y="1236"/>
                  </a:lnTo>
                  <a:lnTo>
                    <a:pt x="4332" y="1242"/>
                  </a:lnTo>
                  <a:lnTo>
                    <a:pt x="4332" y="1212"/>
                  </a:lnTo>
                  <a:lnTo>
                    <a:pt x="4332" y="1218"/>
                  </a:lnTo>
                  <a:lnTo>
                    <a:pt x="4344" y="1230"/>
                  </a:lnTo>
                  <a:lnTo>
                    <a:pt x="4350" y="1242"/>
                  </a:lnTo>
                  <a:lnTo>
                    <a:pt x="4362" y="1254"/>
                  </a:lnTo>
                  <a:lnTo>
                    <a:pt x="4374" y="1254"/>
                  </a:lnTo>
                  <a:lnTo>
                    <a:pt x="4386" y="1248"/>
                  </a:lnTo>
                  <a:lnTo>
                    <a:pt x="4398" y="1248"/>
                  </a:lnTo>
                  <a:lnTo>
                    <a:pt x="4398" y="1272"/>
                  </a:lnTo>
                  <a:lnTo>
                    <a:pt x="4404" y="1278"/>
                  </a:lnTo>
                  <a:lnTo>
                    <a:pt x="4416" y="1278"/>
                  </a:lnTo>
                  <a:lnTo>
                    <a:pt x="4428" y="1290"/>
                  </a:lnTo>
                  <a:lnTo>
                    <a:pt x="4452" y="1272"/>
                  </a:lnTo>
                  <a:lnTo>
                    <a:pt x="4464" y="1284"/>
                  </a:lnTo>
                  <a:lnTo>
                    <a:pt x="4470" y="1284"/>
                  </a:lnTo>
                  <a:lnTo>
                    <a:pt x="4476" y="1278"/>
                  </a:lnTo>
                  <a:lnTo>
                    <a:pt x="4476" y="1260"/>
                  </a:lnTo>
                  <a:lnTo>
                    <a:pt x="4470" y="1254"/>
                  </a:lnTo>
                  <a:lnTo>
                    <a:pt x="4488" y="1212"/>
                  </a:lnTo>
                  <a:lnTo>
                    <a:pt x="4488" y="1236"/>
                  </a:lnTo>
                  <a:lnTo>
                    <a:pt x="4500" y="1248"/>
                  </a:lnTo>
                  <a:lnTo>
                    <a:pt x="4512" y="1236"/>
                  </a:lnTo>
                  <a:lnTo>
                    <a:pt x="4518" y="1218"/>
                  </a:lnTo>
                  <a:lnTo>
                    <a:pt x="4518" y="1206"/>
                  </a:lnTo>
                  <a:lnTo>
                    <a:pt x="4494" y="1182"/>
                  </a:lnTo>
                  <a:lnTo>
                    <a:pt x="4518" y="1176"/>
                  </a:lnTo>
                  <a:lnTo>
                    <a:pt x="4500" y="1164"/>
                  </a:lnTo>
                  <a:lnTo>
                    <a:pt x="4500" y="1146"/>
                  </a:lnTo>
                  <a:lnTo>
                    <a:pt x="4470" y="1146"/>
                  </a:lnTo>
                  <a:lnTo>
                    <a:pt x="4470" y="1134"/>
                  </a:lnTo>
                  <a:lnTo>
                    <a:pt x="4446" y="1134"/>
                  </a:lnTo>
                  <a:lnTo>
                    <a:pt x="4446" y="1080"/>
                  </a:lnTo>
                  <a:lnTo>
                    <a:pt x="4416" y="1086"/>
                  </a:lnTo>
                  <a:lnTo>
                    <a:pt x="4410" y="1080"/>
                  </a:lnTo>
                  <a:lnTo>
                    <a:pt x="4410" y="1056"/>
                  </a:lnTo>
                  <a:lnTo>
                    <a:pt x="4416" y="1050"/>
                  </a:lnTo>
                  <a:lnTo>
                    <a:pt x="4428" y="1050"/>
                  </a:lnTo>
                  <a:lnTo>
                    <a:pt x="4434" y="1056"/>
                  </a:lnTo>
                  <a:lnTo>
                    <a:pt x="4446" y="1062"/>
                  </a:lnTo>
                  <a:lnTo>
                    <a:pt x="4452" y="1068"/>
                  </a:lnTo>
                  <a:lnTo>
                    <a:pt x="4458" y="1068"/>
                  </a:lnTo>
                  <a:lnTo>
                    <a:pt x="4464" y="1062"/>
                  </a:lnTo>
                  <a:lnTo>
                    <a:pt x="4464" y="1026"/>
                  </a:lnTo>
                  <a:lnTo>
                    <a:pt x="4488" y="1032"/>
                  </a:lnTo>
                  <a:lnTo>
                    <a:pt x="4524" y="1014"/>
                  </a:lnTo>
                  <a:lnTo>
                    <a:pt x="4524" y="1026"/>
                  </a:lnTo>
                  <a:lnTo>
                    <a:pt x="4530" y="1038"/>
                  </a:lnTo>
                  <a:lnTo>
                    <a:pt x="4530" y="1044"/>
                  </a:lnTo>
                  <a:lnTo>
                    <a:pt x="4536" y="1050"/>
                  </a:lnTo>
                  <a:lnTo>
                    <a:pt x="4548" y="1044"/>
                  </a:lnTo>
                  <a:lnTo>
                    <a:pt x="4566" y="1044"/>
                  </a:lnTo>
                  <a:lnTo>
                    <a:pt x="4554" y="1062"/>
                  </a:lnTo>
                  <a:lnTo>
                    <a:pt x="4578" y="1062"/>
                  </a:lnTo>
                  <a:lnTo>
                    <a:pt x="4566" y="1092"/>
                  </a:lnTo>
                  <a:lnTo>
                    <a:pt x="4566" y="1098"/>
                  </a:lnTo>
                  <a:lnTo>
                    <a:pt x="4584" y="1116"/>
                  </a:lnTo>
                  <a:lnTo>
                    <a:pt x="4590" y="1128"/>
                  </a:lnTo>
                  <a:lnTo>
                    <a:pt x="4614" y="1140"/>
                  </a:lnTo>
                  <a:lnTo>
                    <a:pt x="4626" y="1134"/>
                  </a:lnTo>
                  <a:lnTo>
                    <a:pt x="4638" y="1122"/>
                  </a:lnTo>
                  <a:lnTo>
                    <a:pt x="4656" y="1086"/>
                  </a:lnTo>
                  <a:lnTo>
                    <a:pt x="4656" y="1080"/>
                  </a:lnTo>
                  <a:lnTo>
                    <a:pt x="4662" y="1068"/>
                  </a:lnTo>
                  <a:lnTo>
                    <a:pt x="4668" y="1074"/>
                  </a:lnTo>
                  <a:lnTo>
                    <a:pt x="4680" y="1080"/>
                  </a:lnTo>
                  <a:lnTo>
                    <a:pt x="4692" y="1080"/>
                  </a:lnTo>
                  <a:lnTo>
                    <a:pt x="4698" y="1086"/>
                  </a:lnTo>
                  <a:lnTo>
                    <a:pt x="4710" y="1080"/>
                  </a:lnTo>
                  <a:lnTo>
                    <a:pt x="4722" y="1068"/>
                  </a:lnTo>
                  <a:lnTo>
                    <a:pt x="4728" y="1056"/>
                  </a:lnTo>
                  <a:lnTo>
                    <a:pt x="4728" y="1038"/>
                  </a:lnTo>
                  <a:lnTo>
                    <a:pt x="4794" y="1038"/>
                  </a:lnTo>
                  <a:lnTo>
                    <a:pt x="4806" y="1026"/>
                  </a:lnTo>
                  <a:lnTo>
                    <a:pt x="4812" y="1014"/>
                  </a:lnTo>
                  <a:lnTo>
                    <a:pt x="4800" y="1002"/>
                  </a:lnTo>
                  <a:lnTo>
                    <a:pt x="4788" y="996"/>
                  </a:lnTo>
                  <a:lnTo>
                    <a:pt x="4758" y="996"/>
                  </a:lnTo>
                  <a:close/>
                  <a:moveTo>
                    <a:pt x="4476" y="1308"/>
                  </a:moveTo>
                  <a:lnTo>
                    <a:pt x="4446" y="1308"/>
                  </a:lnTo>
                  <a:lnTo>
                    <a:pt x="4440" y="1326"/>
                  </a:lnTo>
                  <a:lnTo>
                    <a:pt x="4476" y="1320"/>
                  </a:lnTo>
                  <a:lnTo>
                    <a:pt x="4476" y="1308"/>
                  </a:lnTo>
                  <a:close/>
                  <a:moveTo>
                    <a:pt x="4140" y="1290"/>
                  </a:moveTo>
                  <a:lnTo>
                    <a:pt x="4134" y="1290"/>
                  </a:lnTo>
                  <a:lnTo>
                    <a:pt x="4128" y="1296"/>
                  </a:lnTo>
                  <a:lnTo>
                    <a:pt x="4128" y="1308"/>
                  </a:lnTo>
                  <a:lnTo>
                    <a:pt x="4134" y="1314"/>
                  </a:lnTo>
                  <a:lnTo>
                    <a:pt x="4158" y="1314"/>
                  </a:lnTo>
                  <a:lnTo>
                    <a:pt x="4164" y="1308"/>
                  </a:lnTo>
                  <a:lnTo>
                    <a:pt x="4164" y="1296"/>
                  </a:lnTo>
                  <a:lnTo>
                    <a:pt x="4158" y="1290"/>
                  </a:lnTo>
                  <a:lnTo>
                    <a:pt x="4140" y="1290"/>
                  </a:lnTo>
                  <a:close/>
                  <a:moveTo>
                    <a:pt x="3834" y="1242"/>
                  </a:moveTo>
                  <a:lnTo>
                    <a:pt x="3840" y="1236"/>
                  </a:lnTo>
                  <a:lnTo>
                    <a:pt x="3834" y="1230"/>
                  </a:lnTo>
                  <a:lnTo>
                    <a:pt x="3828" y="1230"/>
                  </a:lnTo>
                  <a:lnTo>
                    <a:pt x="3822" y="1224"/>
                  </a:lnTo>
                  <a:lnTo>
                    <a:pt x="3810" y="1224"/>
                  </a:lnTo>
                  <a:lnTo>
                    <a:pt x="3810" y="1236"/>
                  </a:lnTo>
                  <a:lnTo>
                    <a:pt x="3816" y="1242"/>
                  </a:lnTo>
                  <a:lnTo>
                    <a:pt x="3816" y="1248"/>
                  </a:lnTo>
                  <a:lnTo>
                    <a:pt x="3828" y="1248"/>
                  </a:lnTo>
                  <a:lnTo>
                    <a:pt x="3834" y="1242"/>
                  </a:lnTo>
                  <a:close/>
                  <a:moveTo>
                    <a:pt x="4206" y="1452"/>
                  </a:moveTo>
                  <a:lnTo>
                    <a:pt x="4170" y="1452"/>
                  </a:lnTo>
                  <a:lnTo>
                    <a:pt x="4206" y="1476"/>
                  </a:lnTo>
                  <a:lnTo>
                    <a:pt x="4218" y="1470"/>
                  </a:lnTo>
                  <a:lnTo>
                    <a:pt x="4218" y="1458"/>
                  </a:lnTo>
                  <a:lnTo>
                    <a:pt x="4212" y="1458"/>
                  </a:lnTo>
                  <a:lnTo>
                    <a:pt x="4206" y="1452"/>
                  </a:lnTo>
                  <a:close/>
                  <a:moveTo>
                    <a:pt x="4170" y="870"/>
                  </a:moveTo>
                  <a:lnTo>
                    <a:pt x="4152" y="870"/>
                  </a:lnTo>
                  <a:lnTo>
                    <a:pt x="4152" y="876"/>
                  </a:lnTo>
                  <a:lnTo>
                    <a:pt x="4158" y="882"/>
                  </a:lnTo>
                  <a:lnTo>
                    <a:pt x="4164" y="882"/>
                  </a:lnTo>
                  <a:lnTo>
                    <a:pt x="4170" y="888"/>
                  </a:lnTo>
                  <a:lnTo>
                    <a:pt x="4182" y="882"/>
                  </a:lnTo>
                  <a:lnTo>
                    <a:pt x="4188" y="882"/>
                  </a:lnTo>
                  <a:lnTo>
                    <a:pt x="4194" y="876"/>
                  </a:lnTo>
                  <a:lnTo>
                    <a:pt x="4188" y="870"/>
                  </a:lnTo>
                  <a:lnTo>
                    <a:pt x="4170" y="870"/>
                  </a:lnTo>
                  <a:close/>
                  <a:moveTo>
                    <a:pt x="4170" y="936"/>
                  </a:moveTo>
                  <a:lnTo>
                    <a:pt x="4236" y="936"/>
                  </a:lnTo>
                  <a:lnTo>
                    <a:pt x="4236" y="918"/>
                  </a:lnTo>
                  <a:lnTo>
                    <a:pt x="4188" y="918"/>
                  </a:lnTo>
                  <a:lnTo>
                    <a:pt x="4170" y="936"/>
                  </a:lnTo>
                  <a:close/>
                  <a:moveTo>
                    <a:pt x="5574" y="36"/>
                  </a:moveTo>
                  <a:lnTo>
                    <a:pt x="5490" y="36"/>
                  </a:lnTo>
                  <a:lnTo>
                    <a:pt x="5496" y="24"/>
                  </a:lnTo>
                  <a:lnTo>
                    <a:pt x="5490" y="24"/>
                  </a:lnTo>
                  <a:lnTo>
                    <a:pt x="5484" y="18"/>
                  </a:lnTo>
                  <a:lnTo>
                    <a:pt x="5448" y="18"/>
                  </a:lnTo>
                  <a:lnTo>
                    <a:pt x="5430" y="12"/>
                  </a:lnTo>
                  <a:lnTo>
                    <a:pt x="5400" y="12"/>
                  </a:lnTo>
                  <a:lnTo>
                    <a:pt x="5364" y="18"/>
                  </a:lnTo>
                  <a:lnTo>
                    <a:pt x="5334" y="30"/>
                  </a:lnTo>
                  <a:lnTo>
                    <a:pt x="5304" y="36"/>
                  </a:lnTo>
                  <a:lnTo>
                    <a:pt x="5292" y="36"/>
                  </a:lnTo>
                  <a:lnTo>
                    <a:pt x="5346" y="12"/>
                  </a:lnTo>
                  <a:lnTo>
                    <a:pt x="5274" y="18"/>
                  </a:lnTo>
                  <a:lnTo>
                    <a:pt x="5268" y="18"/>
                  </a:lnTo>
                  <a:lnTo>
                    <a:pt x="5262" y="12"/>
                  </a:lnTo>
                  <a:lnTo>
                    <a:pt x="5250" y="12"/>
                  </a:lnTo>
                  <a:lnTo>
                    <a:pt x="5226" y="0"/>
                  </a:lnTo>
                  <a:lnTo>
                    <a:pt x="5196" y="0"/>
                  </a:lnTo>
                  <a:lnTo>
                    <a:pt x="5190" y="6"/>
                  </a:lnTo>
                  <a:lnTo>
                    <a:pt x="5184" y="18"/>
                  </a:lnTo>
                  <a:lnTo>
                    <a:pt x="5178" y="18"/>
                  </a:lnTo>
                  <a:lnTo>
                    <a:pt x="5172" y="12"/>
                  </a:lnTo>
                  <a:lnTo>
                    <a:pt x="5160" y="6"/>
                  </a:lnTo>
                  <a:lnTo>
                    <a:pt x="5148" y="6"/>
                  </a:lnTo>
                  <a:lnTo>
                    <a:pt x="5136" y="0"/>
                  </a:lnTo>
                  <a:lnTo>
                    <a:pt x="5124" y="0"/>
                  </a:lnTo>
                  <a:lnTo>
                    <a:pt x="5112" y="6"/>
                  </a:lnTo>
                  <a:lnTo>
                    <a:pt x="5106" y="12"/>
                  </a:lnTo>
                  <a:lnTo>
                    <a:pt x="5094" y="18"/>
                  </a:lnTo>
                  <a:lnTo>
                    <a:pt x="5088" y="24"/>
                  </a:lnTo>
                  <a:lnTo>
                    <a:pt x="5046" y="12"/>
                  </a:lnTo>
                  <a:lnTo>
                    <a:pt x="4938" y="6"/>
                  </a:lnTo>
                  <a:lnTo>
                    <a:pt x="4968" y="36"/>
                  </a:lnTo>
                  <a:lnTo>
                    <a:pt x="4902" y="12"/>
                  </a:lnTo>
                  <a:lnTo>
                    <a:pt x="4842" y="24"/>
                  </a:lnTo>
                  <a:lnTo>
                    <a:pt x="4830" y="24"/>
                  </a:lnTo>
                  <a:lnTo>
                    <a:pt x="4812" y="18"/>
                  </a:lnTo>
                  <a:lnTo>
                    <a:pt x="4746" y="18"/>
                  </a:lnTo>
                  <a:lnTo>
                    <a:pt x="4710" y="24"/>
                  </a:lnTo>
                  <a:lnTo>
                    <a:pt x="4686" y="36"/>
                  </a:lnTo>
                  <a:lnTo>
                    <a:pt x="4674" y="36"/>
                  </a:lnTo>
                  <a:lnTo>
                    <a:pt x="4764" y="60"/>
                  </a:lnTo>
                  <a:lnTo>
                    <a:pt x="4674" y="48"/>
                  </a:lnTo>
                  <a:lnTo>
                    <a:pt x="4662" y="48"/>
                  </a:lnTo>
                  <a:lnTo>
                    <a:pt x="4590" y="36"/>
                  </a:lnTo>
                  <a:lnTo>
                    <a:pt x="4542" y="36"/>
                  </a:lnTo>
                  <a:lnTo>
                    <a:pt x="4530" y="48"/>
                  </a:lnTo>
                  <a:lnTo>
                    <a:pt x="4530" y="60"/>
                  </a:lnTo>
                  <a:lnTo>
                    <a:pt x="4512" y="60"/>
                  </a:lnTo>
                  <a:lnTo>
                    <a:pt x="4482" y="54"/>
                  </a:lnTo>
                  <a:lnTo>
                    <a:pt x="4392" y="54"/>
                  </a:lnTo>
                  <a:lnTo>
                    <a:pt x="4350" y="60"/>
                  </a:lnTo>
                  <a:lnTo>
                    <a:pt x="4302" y="66"/>
                  </a:lnTo>
                  <a:lnTo>
                    <a:pt x="4260" y="66"/>
                  </a:lnTo>
                  <a:lnTo>
                    <a:pt x="4242" y="72"/>
                  </a:lnTo>
                  <a:lnTo>
                    <a:pt x="4260" y="72"/>
                  </a:lnTo>
                  <a:lnTo>
                    <a:pt x="4266" y="78"/>
                  </a:lnTo>
                  <a:lnTo>
                    <a:pt x="4278" y="78"/>
                  </a:lnTo>
                  <a:lnTo>
                    <a:pt x="4362" y="84"/>
                  </a:lnTo>
                  <a:lnTo>
                    <a:pt x="4278" y="96"/>
                  </a:lnTo>
                  <a:lnTo>
                    <a:pt x="4284" y="96"/>
                  </a:lnTo>
                  <a:lnTo>
                    <a:pt x="4290" y="102"/>
                  </a:lnTo>
                  <a:lnTo>
                    <a:pt x="4314" y="114"/>
                  </a:lnTo>
                  <a:lnTo>
                    <a:pt x="4338" y="114"/>
                  </a:lnTo>
                  <a:lnTo>
                    <a:pt x="4356" y="108"/>
                  </a:lnTo>
                  <a:lnTo>
                    <a:pt x="4392" y="108"/>
                  </a:lnTo>
                  <a:lnTo>
                    <a:pt x="4398" y="102"/>
                  </a:lnTo>
                  <a:lnTo>
                    <a:pt x="4410" y="102"/>
                  </a:lnTo>
                  <a:lnTo>
                    <a:pt x="4416" y="96"/>
                  </a:lnTo>
                  <a:lnTo>
                    <a:pt x="4440" y="96"/>
                  </a:lnTo>
                  <a:lnTo>
                    <a:pt x="4458" y="90"/>
                  </a:lnTo>
                  <a:lnTo>
                    <a:pt x="4500" y="90"/>
                  </a:lnTo>
                  <a:lnTo>
                    <a:pt x="4518" y="96"/>
                  </a:lnTo>
                  <a:lnTo>
                    <a:pt x="4536" y="96"/>
                  </a:lnTo>
                  <a:lnTo>
                    <a:pt x="4548" y="102"/>
                  </a:lnTo>
                  <a:lnTo>
                    <a:pt x="4560" y="102"/>
                  </a:lnTo>
                  <a:lnTo>
                    <a:pt x="4494" y="102"/>
                  </a:lnTo>
                  <a:lnTo>
                    <a:pt x="4482" y="108"/>
                  </a:lnTo>
                  <a:lnTo>
                    <a:pt x="4458" y="108"/>
                  </a:lnTo>
                  <a:lnTo>
                    <a:pt x="4446" y="114"/>
                  </a:lnTo>
                  <a:lnTo>
                    <a:pt x="4434" y="114"/>
                  </a:lnTo>
                  <a:lnTo>
                    <a:pt x="4422" y="120"/>
                  </a:lnTo>
                  <a:lnTo>
                    <a:pt x="4410" y="120"/>
                  </a:lnTo>
                  <a:lnTo>
                    <a:pt x="4404" y="126"/>
                  </a:lnTo>
                  <a:lnTo>
                    <a:pt x="4398" y="126"/>
                  </a:lnTo>
                  <a:lnTo>
                    <a:pt x="4434" y="126"/>
                  </a:lnTo>
                  <a:lnTo>
                    <a:pt x="4452" y="132"/>
                  </a:lnTo>
                  <a:lnTo>
                    <a:pt x="4488" y="132"/>
                  </a:lnTo>
                  <a:lnTo>
                    <a:pt x="4500" y="126"/>
                  </a:lnTo>
                  <a:lnTo>
                    <a:pt x="4506" y="126"/>
                  </a:lnTo>
                  <a:lnTo>
                    <a:pt x="4512" y="120"/>
                  </a:lnTo>
                  <a:lnTo>
                    <a:pt x="4638" y="120"/>
                  </a:lnTo>
                  <a:lnTo>
                    <a:pt x="4656" y="114"/>
                  </a:lnTo>
                  <a:lnTo>
                    <a:pt x="4680" y="114"/>
                  </a:lnTo>
                  <a:lnTo>
                    <a:pt x="4698" y="108"/>
                  </a:lnTo>
                  <a:lnTo>
                    <a:pt x="4710" y="108"/>
                  </a:lnTo>
                  <a:lnTo>
                    <a:pt x="4722" y="96"/>
                  </a:lnTo>
                  <a:lnTo>
                    <a:pt x="4734" y="96"/>
                  </a:lnTo>
                  <a:lnTo>
                    <a:pt x="4752" y="90"/>
                  </a:lnTo>
                  <a:lnTo>
                    <a:pt x="4770" y="90"/>
                  </a:lnTo>
                  <a:lnTo>
                    <a:pt x="4782" y="84"/>
                  </a:lnTo>
                  <a:lnTo>
                    <a:pt x="4830" y="84"/>
                  </a:lnTo>
                  <a:lnTo>
                    <a:pt x="4746" y="114"/>
                  </a:lnTo>
                  <a:lnTo>
                    <a:pt x="4782" y="114"/>
                  </a:lnTo>
                  <a:lnTo>
                    <a:pt x="4734" y="126"/>
                  </a:lnTo>
                  <a:lnTo>
                    <a:pt x="4716" y="126"/>
                  </a:lnTo>
                  <a:lnTo>
                    <a:pt x="4674" y="132"/>
                  </a:lnTo>
                  <a:lnTo>
                    <a:pt x="4620" y="132"/>
                  </a:lnTo>
                  <a:lnTo>
                    <a:pt x="4566" y="138"/>
                  </a:lnTo>
                  <a:lnTo>
                    <a:pt x="4536" y="138"/>
                  </a:lnTo>
                  <a:lnTo>
                    <a:pt x="4524" y="150"/>
                  </a:lnTo>
                  <a:lnTo>
                    <a:pt x="4524" y="156"/>
                  </a:lnTo>
                  <a:lnTo>
                    <a:pt x="4602" y="174"/>
                  </a:lnTo>
                  <a:lnTo>
                    <a:pt x="4596" y="174"/>
                  </a:lnTo>
                  <a:lnTo>
                    <a:pt x="4590" y="180"/>
                  </a:lnTo>
                  <a:lnTo>
                    <a:pt x="4578" y="180"/>
                  </a:lnTo>
                  <a:lnTo>
                    <a:pt x="4566" y="186"/>
                  </a:lnTo>
                  <a:lnTo>
                    <a:pt x="4542" y="186"/>
                  </a:lnTo>
                  <a:lnTo>
                    <a:pt x="4518" y="174"/>
                  </a:lnTo>
                  <a:lnTo>
                    <a:pt x="4500" y="162"/>
                  </a:lnTo>
                  <a:lnTo>
                    <a:pt x="4476" y="150"/>
                  </a:lnTo>
                  <a:lnTo>
                    <a:pt x="4470" y="144"/>
                  </a:lnTo>
                  <a:lnTo>
                    <a:pt x="4356" y="144"/>
                  </a:lnTo>
                  <a:lnTo>
                    <a:pt x="4350" y="150"/>
                  </a:lnTo>
                  <a:lnTo>
                    <a:pt x="4344" y="162"/>
                  </a:lnTo>
                  <a:lnTo>
                    <a:pt x="4338" y="168"/>
                  </a:lnTo>
                  <a:lnTo>
                    <a:pt x="4368" y="186"/>
                  </a:lnTo>
                  <a:lnTo>
                    <a:pt x="4386" y="204"/>
                  </a:lnTo>
                  <a:lnTo>
                    <a:pt x="4410" y="216"/>
                  </a:lnTo>
                  <a:lnTo>
                    <a:pt x="4458" y="216"/>
                  </a:lnTo>
                  <a:lnTo>
                    <a:pt x="4476" y="210"/>
                  </a:lnTo>
                  <a:lnTo>
                    <a:pt x="4488" y="210"/>
                  </a:lnTo>
                  <a:lnTo>
                    <a:pt x="4476" y="216"/>
                  </a:lnTo>
                  <a:lnTo>
                    <a:pt x="4470" y="228"/>
                  </a:lnTo>
                  <a:lnTo>
                    <a:pt x="4398" y="228"/>
                  </a:lnTo>
                  <a:lnTo>
                    <a:pt x="4380" y="222"/>
                  </a:lnTo>
                  <a:lnTo>
                    <a:pt x="4350" y="222"/>
                  </a:lnTo>
                  <a:lnTo>
                    <a:pt x="4314" y="228"/>
                  </a:lnTo>
                  <a:lnTo>
                    <a:pt x="4272" y="234"/>
                  </a:lnTo>
                  <a:lnTo>
                    <a:pt x="4230" y="234"/>
                  </a:lnTo>
                  <a:lnTo>
                    <a:pt x="4218" y="240"/>
                  </a:lnTo>
                  <a:lnTo>
                    <a:pt x="4200" y="246"/>
                  </a:lnTo>
                  <a:lnTo>
                    <a:pt x="4188" y="258"/>
                  </a:lnTo>
                  <a:lnTo>
                    <a:pt x="4176" y="264"/>
                  </a:lnTo>
                  <a:lnTo>
                    <a:pt x="4170" y="270"/>
                  </a:lnTo>
                  <a:lnTo>
                    <a:pt x="4164" y="270"/>
                  </a:lnTo>
                  <a:lnTo>
                    <a:pt x="4236" y="258"/>
                  </a:lnTo>
                  <a:lnTo>
                    <a:pt x="4236" y="276"/>
                  </a:lnTo>
                  <a:lnTo>
                    <a:pt x="4296" y="258"/>
                  </a:lnTo>
                  <a:lnTo>
                    <a:pt x="4224" y="288"/>
                  </a:lnTo>
                  <a:lnTo>
                    <a:pt x="4230" y="288"/>
                  </a:lnTo>
                  <a:lnTo>
                    <a:pt x="4236" y="294"/>
                  </a:lnTo>
                  <a:lnTo>
                    <a:pt x="4248" y="300"/>
                  </a:lnTo>
                  <a:lnTo>
                    <a:pt x="4278" y="300"/>
                  </a:lnTo>
                  <a:lnTo>
                    <a:pt x="4314" y="288"/>
                  </a:lnTo>
                  <a:lnTo>
                    <a:pt x="4326" y="288"/>
                  </a:lnTo>
                  <a:lnTo>
                    <a:pt x="4344" y="282"/>
                  </a:lnTo>
                  <a:lnTo>
                    <a:pt x="4350" y="276"/>
                  </a:lnTo>
                  <a:lnTo>
                    <a:pt x="4356" y="276"/>
                  </a:lnTo>
                  <a:lnTo>
                    <a:pt x="4254" y="312"/>
                  </a:lnTo>
                  <a:lnTo>
                    <a:pt x="4188" y="312"/>
                  </a:lnTo>
                  <a:lnTo>
                    <a:pt x="4176" y="288"/>
                  </a:lnTo>
                  <a:lnTo>
                    <a:pt x="4164" y="288"/>
                  </a:lnTo>
                  <a:lnTo>
                    <a:pt x="4146" y="282"/>
                  </a:lnTo>
                  <a:lnTo>
                    <a:pt x="4110" y="282"/>
                  </a:lnTo>
                  <a:lnTo>
                    <a:pt x="4104" y="288"/>
                  </a:lnTo>
                  <a:lnTo>
                    <a:pt x="4104" y="300"/>
                  </a:lnTo>
                  <a:lnTo>
                    <a:pt x="4110" y="312"/>
                  </a:lnTo>
                  <a:lnTo>
                    <a:pt x="4110" y="318"/>
                  </a:lnTo>
                  <a:lnTo>
                    <a:pt x="4116" y="324"/>
                  </a:lnTo>
                  <a:lnTo>
                    <a:pt x="4092" y="324"/>
                  </a:lnTo>
                  <a:lnTo>
                    <a:pt x="4074" y="330"/>
                  </a:lnTo>
                  <a:lnTo>
                    <a:pt x="4032" y="330"/>
                  </a:lnTo>
                  <a:lnTo>
                    <a:pt x="4020" y="336"/>
                  </a:lnTo>
                  <a:lnTo>
                    <a:pt x="4002" y="342"/>
                  </a:lnTo>
                  <a:lnTo>
                    <a:pt x="3990" y="348"/>
                  </a:lnTo>
                  <a:lnTo>
                    <a:pt x="3972" y="354"/>
                  </a:lnTo>
                  <a:lnTo>
                    <a:pt x="3936" y="354"/>
                  </a:lnTo>
                  <a:lnTo>
                    <a:pt x="3924" y="360"/>
                  </a:lnTo>
                  <a:lnTo>
                    <a:pt x="3918" y="360"/>
                  </a:lnTo>
                  <a:lnTo>
                    <a:pt x="3924" y="360"/>
                  </a:lnTo>
                  <a:lnTo>
                    <a:pt x="3936" y="366"/>
                  </a:lnTo>
                  <a:lnTo>
                    <a:pt x="3978" y="366"/>
                  </a:lnTo>
                  <a:lnTo>
                    <a:pt x="3990" y="360"/>
                  </a:lnTo>
                  <a:lnTo>
                    <a:pt x="3996" y="354"/>
                  </a:lnTo>
                  <a:lnTo>
                    <a:pt x="3984" y="372"/>
                  </a:lnTo>
                  <a:lnTo>
                    <a:pt x="4020" y="366"/>
                  </a:lnTo>
                  <a:lnTo>
                    <a:pt x="4044" y="354"/>
                  </a:lnTo>
                  <a:lnTo>
                    <a:pt x="4044" y="372"/>
                  </a:lnTo>
                  <a:lnTo>
                    <a:pt x="4074" y="366"/>
                  </a:lnTo>
                  <a:lnTo>
                    <a:pt x="4098" y="366"/>
                  </a:lnTo>
                  <a:lnTo>
                    <a:pt x="4098" y="372"/>
                  </a:lnTo>
                  <a:lnTo>
                    <a:pt x="4104" y="378"/>
                  </a:lnTo>
                  <a:lnTo>
                    <a:pt x="4122" y="378"/>
                  </a:lnTo>
                  <a:lnTo>
                    <a:pt x="4146" y="366"/>
                  </a:lnTo>
                  <a:lnTo>
                    <a:pt x="4152" y="366"/>
                  </a:lnTo>
                  <a:lnTo>
                    <a:pt x="4164" y="360"/>
                  </a:lnTo>
                  <a:lnTo>
                    <a:pt x="4170" y="372"/>
                  </a:lnTo>
                  <a:lnTo>
                    <a:pt x="4200" y="354"/>
                  </a:lnTo>
                  <a:lnTo>
                    <a:pt x="4206" y="360"/>
                  </a:lnTo>
                  <a:lnTo>
                    <a:pt x="4212" y="372"/>
                  </a:lnTo>
                  <a:lnTo>
                    <a:pt x="4224" y="372"/>
                  </a:lnTo>
                  <a:lnTo>
                    <a:pt x="4236" y="366"/>
                  </a:lnTo>
                  <a:lnTo>
                    <a:pt x="4242" y="360"/>
                  </a:lnTo>
                  <a:lnTo>
                    <a:pt x="4248" y="360"/>
                  </a:lnTo>
                  <a:lnTo>
                    <a:pt x="4254" y="366"/>
                  </a:lnTo>
                  <a:lnTo>
                    <a:pt x="4266" y="372"/>
                  </a:lnTo>
                  <a:lnTo>
                    <a:pt x="4284" y="372"/>
                  </a:lnTo>
                  <a:lnTo>
                    <a:pt x="4290" y="366"/>
                  </a:lnTo>
                  <a:lnTo>
                    <a:pt x="4290" y="360"/>
                  </a:lnTo>
                  <a:lnTo>
                    <a:pt x="4284" y="354"/>
                  </a:lnTo>
                  <a:lnTo>
                    <a:pt x="4338" y="372"/>
                  </a:lnTo>
                  <a:lnTo>
                    <a:pt x="4344" y="378"/>
                  </a:lnTo>
                  <a:lnTo>
                    <a:pt x="4350" y="390"/>
                  </a:lnTo>
                  <a:lnTo>
                    <a:pt x="4374" y="390"/>
                  </a:lnTo>
                  <a:lnTo>
                    <a:pt x="4410" y="378"/>
                  </a:lnTo>
                  <a:lnTo>
                    <a:pt x="4440" y="372"/>
                  </a:lnTo>
                  <a:lnTo>
                    <a:pt x="4476" y="372"/>
                  </a:lnTo>
                  <a:lnTo>
                    <a:pt x="4494" y="366"/>
                  </a:lnTo>
                  <a:lnTo>
                    <a:pt x="4506" y="360"/>
                  </a:lnTo>
                  <a:lnTo>
                    <a:pt x="4524" y="342"/>
                  </a:lnTo>
                  <a:lnTo>
                    <a:pt x="4464" y="342"/>
                  </a:lnTo>
                  <a:lnTo>
                    <a:pt x="4470" y="336"/>
                  </a:lnTo>
                  <a:lnTo>
                    <a:pt x="4470" y="330"/>
                  </a:lnTo>
                  <a:lnTo>
                    <a:pt x="4416" y="330"/>
                  </a:lnTo>
                  <a:lnTo>
                    <a:pt x="4362" y="318"/>
                  </a:lnTo>
                  <a:lnTo>
                    <a:pt x="4380" y="300"/>
                  </a:lnTo>
                  <a:lnTo>
                    <a:pt x="4440" y="318"/>
                  </a:lnTo>
                  <a:lnTo>
                    <a:pt x="4452" y="318"/>
                  </a:lnTo>
                  <a:lnTo>
                    <a:pt x="4488" y="312"/>
                  </a:lnTo>
                  <a:lnTo>
                    <a:pt x="4566" y="312"/>
                  </a:lnTo>
                  <a:lnTo>
                    <a:pt x="4578" y="300"/>
                  </a:lnTo>
                  <a:lnTo>
                    <a:pt x="4578" y="288"/>
                  </a:lnTo>
                  <a:lnTo>
                    <a:pt x="4584" y="288"/>
                  </a:lnTo>
                  <a:lnTo>
                    <a:pt x="4590" y="282"/>
                  </a:lnTo>
                  <a:lnTo>
                    <a:pt x="4608" y="282"/>
                  </a:lnTo>
                  <a:lnTo>
                    <a:pt x="4626" y="276"/>
                  </a:lnTo>
                  <a:lnTo>
                    <a:pt x="4662" y="276"/>
                  </a:lnTo>
                  <a:lnTo>
                    <a:pt x="4680" y="270"/>
                  </a:lnTo>
                  <a:lnTo>
                    <a:pt x="4710" y="270"/>
                  </a:lnTo>
                  <a:lnTo>
                    <a:pt x="4722" y="264"/>
                  </a:lnTo>
                  <a:lnTo>
                    <a:pt x="4728" y="264"/>
                  </a:lnTo>
                  <a:lnTo>
                    <a:pt x="4704" y="246"/>
                  </a:lnTo>
                  <a:lnTo>
                    <a:pt x="4746" y="246"/>
                  </a:lnTo>
                  <a:lnTo>
                    <a:pt x="4770" y="240"/>
                  </a:lnTo>
                  <a:lnTo>
                    <a:pt x="4782" y="234"/>
                  </a:lnTo>
                  <a:lnTo>
                    <a:pt x="4776" y="228"/>
                  </a:lnTo>
                  <a:lnTo>
                    <a:pt x="4770" y="228"/>
                  </a:lnTo>
                  <a:lnTo>
                    <a:pt x="4758" y="222"/>
                  </a:lnTo>
                  <a:lnTo>
                    <a:pt x="4746" y="222"/>
                  </a:lnTo>
                  <a:lnTo>
                    <a:pt x="4734" y="216"/>
                  </a:lnTo>
                  <a:lnTo>
                    <a:pt x="4686" y="216"/>
                  </a:lnTo>
                  <a:lnTo>
                    <a:pt x="4674" y="210"/>
                  </a:lnTo>
                  <a:lnTo>
                    <a:pt x="4662" y="210"/>
                  </a:lnTo>
                  <a:lnTo>
                    <a:pt x="4662" y="204"/>
                  </a:lnTo>
                  <a:lnTo>
                    <a:pt x="4674" y="198"/>
                  </a:lnTo>
                  <a:lnTo>
                    <a:pt x="4686" y="198"/>
                  </a:lnTo>
                  <a:lnTo>
                    <a:pt x="4704" y="192"/>
                  </a:lnTo>
                  <a:lnTo>
                    <a:pt x="4716" y="186"/>
                  </a:lnTo>
                  <a:lnTo>
                    <a:pt x="4764" y="186"/>
                  </a:lnTo>
                  <a:lnTo>
                    <a:pt x="4782" y="192"/>
                  </a:lnTo>
                  <a:lnTo>
                    <a:pt x="4860" y="192"/>
                  </a:lnTo>
                  <a:lnTo>
                    <a:pt x="4878" y="186"/>
                  </a:lnTo>
                  <a:lnTo>
                    <a:pt x="4902" y="186"/>
                  </a:lnTo>
                  <a:lnTo>
                    <a:pt x="4896" y="180"/>
                  </a:lnTo>
                  <a:lnTo>
                    <a:pt x="4878" y="180"/>
                  </a:lnTo>
                  <a:lnTo>
                    <a:pt x="4866" y="174"/>
                  </a:lnTo>
                  <a:lnTo>
                    <a:pt x="4872" y="168"/>
                  </a:lnTo>
                  <a:lnTo>
                    <a:pt x="4902" y="162"/>
                  </a:lnTo>
                  <a:lnTo>
                    <a:pt x="4944" y="168"/>
                  </a:lnTo>
                  <a:lnTo>
                    <a:pt x="4974" y="174"/>
                  </a:lnTo>
                  <a:lnTo>
                    <a:pt x="4986" y="174"/>
                  </a:lnTo>
                  <a:lnTo>
                    <a:pt x="4992" y="168"/>
                  </a:lnTo>
                  <a:lnTo>
                    <a:pt x="4992" y="150"/>
                  </a:lnTo>
                  <a:lnTo>
                    <a:pt x="5070" y="156"/>
                  </a:lnTo>
                  <a:lnTo>
                    <a:pt x="5070" y="132"/>
                  </a:lnTo>
                  <a:lnTo>
                    <a:pt x="5082" y="132"/>
                  </a:lnTo>
                  <a:lnTo>
                    <a:pt x="5094" y="138"/>
                  </a:lnTo>
                  <a:lnTo>
                    <a:pt x="5112" y="138"/>
                  </a:lnTo>
                  <a:lnTo>
                    <a:pt x="5136" y="126"/>
                  </a:lnTo>
                  <a:lnTo>
                    <a:pt x="5148" y="126"/>
                  </a:lnTo>
                  <a:lnTo>
                    <a:pt x="5154" y="120"/>
                  </a:lnTo>
                  <a:lnTo>
                    <a:pt x="5172" y="120"/>
                  </a:lnTo>
                  <a:lnTo>
                    <a:pt x="5208" y="114"/>
                  </a:lnTo>
                  <a:lnTo>
                    <a:pt x="5256" y="102"/>
                  </a:lnTo>
                  <a:lnTo>
                    <a:pt x="5298" y="96"/>
                  </a:lnTo>
                  <a:lnTo>
                    <a:pt x="5322" y="90"/>
                  </a:lnTo>
                  <a:lnTo>
                    <a:pt x="5340" y="90"/>
                  </a:lnTo>
                  <a:lnTo>
                    <a:pt x="5346" y="84"/>
                  </a:lnTo>
                  <a:lnTo>
                    <a:pt x="5238" y="84"/>
                  </a:lnTo>
                  <a:lnTo>
                    <a:pt x="5214" y="96"/>
                  </a:lnTo>
                  <a:lnTo>
                    <a:pt x="5142" y="96"/>
                  </a:lnTo>
                  <a:lnTo>
                    <a:pt x="5226" y="90"/>
                  </a:lnTo>
                  <a:lnTo>
                    <a:pt x="5220" y="78"/>
                  </a:lnTo>
                  <a:lnTo>
                    <a:pt x="5268" y="84"/>
                  </a:lnTo>
                  <a:lnTo>
                    <a:pt x="5274" y="78"/>
                  </a:lnTo>
                  <a:lnTo>
                    <a:pt x="5286" y="72"/>
                  </a:lnTo>
                  <a:lnTo>
                    <a:pt x="5358" y="72"/>
                  </a:lnTo>
                  <a:lnTo>
                    <a:pt x="5406" y="66"/>
                  </a:lnTo>
                  <a:lnTo>
                    <a:pt x="5454" y="66"/>
                  </a:lnTo>
                  <a:lnTo>
                    <a:pt x="5484" y="60"/>
                  </a:lnTo>
                  <a:lnTo>
                    <a:pt x="5496" y="60"/>
                  </a:lnTo>
                  <a:lnTo>
                    <a:pt x="5514" y="54"/>
                  </a:lnTo>
                  <a:lnTo>
                    <a:pt x="5532" y="54"/>
                  </a:lnTo>
                  <a:lnTo>
                    <a:pt x="5550" y="48"/>
                  </a:lnTo>
                  <a:lnTo>
                    <a:pt x="5562" y="42"/>
                  </a:lnTo>
                  <a:lnTo>
                    <a:pt x="5574" y="42"/>
                  </a:lnTo>
                  <a:lnTo>
                    <a:pt x="5574" y="36"/>
                  </a:lnTo>
                  <a:close/>
                  <a:moveTo>
                    <a:pt x="4032" y="966"/>
                  </a:moveTo>
                  <a:lnTo>
                    <a:pt x="4086" y="966"/>
                  </a:lnTo>
                  <a:lnTo>
                    <a:pt x="4134" y="942"/>
                  </a:lnTo>
                  <a:lnTo>
                    <a:pt x="4140" y="930"/>
                  </a:lnTo>
                  <a:lnTo>
                    <a:pt x="4134" y="918"/>
                  </a:lnTo>
                  <a:lnTo>
                    <a:pt x="4134" y="912"/>
                  </a:lnTo>
                  <a:lnTo>
                    <a:pt x="4122" y="906"/>
                  </a:lnTo>
                  <a:lnTo>
                    <a:pt x="4074" y="906"/>
                  </a:lnTo>
                  <a:lnTo>
                    <a:pt x="4062" y="912"/>
                  </a:lnTo>
                  <a:lnTo>
                    <a:pt x="4050" y="912"/>
                  </a:lnTo>
                  <a:lnTo>
                    <a:pt x="4026" y="924"/>
                  </a:lnTo>
                  <a:lnTo>
                    <a:pt x="4014" y="936"/>
                  </a:lnTo>
                  <a:lnTo>
                    <a:pt x="4002" y="942"/>
                  </a:lnTo>
                  <a:lnTo>
                    <a:pt x="4002" y="954"/>
                  </a:lnTo>
                  <a:lnTo>
                    <a:pt x="4014" y="960"/>
                  </a:lnTo>
                  <a:lnTo>
                    <a:pt x="4032" y="966"/>
                  </a:lnTo>
                  <a:close/>
                  <a:moveTo>
                    <a:pt x="4014" y="840"/>
                  </a:moveTo>
                  <a:lnTo>
                    <a:pt x="4002" y="840"/>
                  </a:lnTo>
                  <a:lnTo>
                    <a:pt x="3990" y="846"/>
                  </a:lnTo>
                  <a:lnTo>
                    <a:pt x="3984" y="852"/>
                  </a:lnTo>
                  <a:lnTo>
                    <a:pt x="3972" y="852"/>
                  </a:lnTo>
                  <a:lnTo>
                    <a:pt x="3990" y="852"/>
                  </a:lnTo>
                  <a:lnTo>
                    <a:pt x="4008" y="846"/>
                  </a:lnTo>
                  <a:lnTo>
                    <a:pt x="4026" y="846"/>
                  </a:lnTo>
                  <a:lnTo>
                    <a:pt x="4044" y="840"/>
                  </a:lnTo>
                  <a:lnTo>
                    <a:pt x="4050" y="834"/>
                  </a:lnTo>
                  <a:lnTo>
                    <a:pt x="4056" y="834"/>
                  </a:lnTo>
                  <a:lnTo>
                    <a:pt x="4068" y="822"/>
                  </a:lnTo>
                  <a:lnTo>
                    <a:pt x="4050" y="822"/>
                  </a:lnTo>
                  <a:lnTo>
                    <a:pt x="4044" y="828"/>
                  </a:lnTo>
                  <a:lnTo>
                    <a:pt x="4032" y="828"/>
                  </a:lnTo>
                  <a:lnTo>
                    <a:pt x="4020" y="834"/>
                  </a:lnTo>
                  <a:lnTo>
                    <a:pt x="4014" y="840"/>
                  </a:lnTo>
                  <a:close/>
                  <a:moveTo>
                    <a:pt x="4122" y="822"/>
                  </a:moveTo>
                  <a:lnTo>
                    <a:pt x="4104" y="822"/>
                  </a:lnTo>
                  <a:lnTo>
                    <a:pt x="4098" y="828"/>
                  </a:lnTo>
                  <a:lnTo>
                    <a:pt x="4098" y="840"/>
                  </a:lnTo>
                  <a:lnTo>
                    <a:pt x="4104" y="846"/>
                  </a:lnTo>
                  <a:lnTo>
                    <a:pt x="4110" y="840"/>
                  </a:lnTo>
                  <a:lnTo>
                    <a:pt x="4116" y="840"/>
                  </a:lnTo>
                  <a:lnTo>
                    <a:pt x="4128" y="828"/>
                  </a:lnTo>
                  <a:lnTo>
                    <a:pt x="4122" y="822"/>
                  </a:lnTo>
                  <a:close/>
                  <a:moveTo>
                    <a:pt x="3528" y="1062"/>
                  </a:moveTo>
                  <a:lnTo>
                    <a:pt x="3522" y="1062"/>
                  </a:lnTo>
                  <a:lnTo>
                    <a:pt x="3504" y="1080"/>
                  </a:lnTo>
                  <a:lnTo>
                    <a:pt x="3504" y="1086"/>
                  </a:lnTo>
                  <a:lnTo>
                    <a:pt x="3510" y="1092"/>
                  </a:lnTo>
                  <a:lnTo>
                    <a:pt x="3528" y="1092"/>
                  </a:lnTo>
                  <a:lnTo>
                    <a:pt x="3534" y="1086"/>
                  </a:lnTo>
                  <a:lnTo>
                    <a:pt x="3540" y="1074"/>
                  </a:lnTo>
                  <a:lnTo>
                    <a:pt x="3540" y="1068"/>
                  </a:lnTo>
                  <a:lnTo>
                    <a:pt x="3534" y="1062"/>
                  </a:lnTo>
                  <a:lnTo>
                    <a:pt x="3528" y="1062"/>
                  </a:lnTo>
                  <a:close/>
                  <a:moveTo>
                    <a:pt x="3588" y="1062"/>
                  </a:moveTo>
                  <a:lnTo>
                    <a:pt x="3582" y="1062"/>
                  </a:lnTo>
                  <a:lnTo>
                    <a:pt x="3576" y="1068"/>
                  </a:lnTo>
                  <a:lnTo>
                    <a:pt x="3576" y="1080"/>
                  </a:lnTo>
                  <a:lnTo>
                    <a:pt x="3582" y="1086"/>
                  </a:lnTo>
                  <a:lnTo>
                    <a:pt x="3594" y="1086"/>
                  </a:lnTo>
                  <a:lnTo>
                    <a:pt x="3600" y="1080"/>
                  </a:lnTo>
                  <a:lnTo>
                    <a:pt x="3600" y="1068"/>
                  </a:lnTo>
                  <a:lnTo>
                    <a:pt x="3588" y="1062"/>
                  </a:lnTo>
                  <a:close/>
                  <a:moveTo>
                    <a:pt x="3756" y="1242"/>
                  </a:moveTo>
                  <a:lnTo>
                    <a:pt x="3744" y="1248"/>
                  </a:lnTo>
                  <a:lnTo>
                    <a:pt x="3744" y="1260"/>
                  </a:lnTo>
                  <a:lnTo>
                    <a:pt x="3750" y="1266"/>
                  </a:lnTo>
                  <a:lnTo>
                    <a:pt x="3762" y="1272"/>
                  </a:lnTo>
                  <a:lnTo>
                    <a:pt x="3768" y="1272"/>
                  </a:lnTo>
                  <a:lnTo>
                    <a:pt x="3786" y="1254"/>
                  </a:lnTo>
                  <a:lnTo>
                    <a:pt x="3786" y="1242"/>
                  </a:lnTo>
                  <a:lnTo>
                    <a:pt x="3780" y="1236"/>
                  </a:lnTo>
                  <a:lnTo>
                    <a:pt x="3768" y="1236"/>
                  </a:lnTo>
                  <a:lnTo>
                    <a:pt x="3756" y="1242"/>
                  </a:lnTo>
                  <a:close/>
                  <a:moveTo>
                    <a:pt x="3984" y="2532"/>
                  </a:moveTo>
                  <a:lnTo>
                    <a:pt x="3948" y="2520"/>
                  </a:lnTo>
                  <a:lnTo>
                    <a:pt x="3942" y="2514"/>
                  </a:lnTo>
                  <a:lnTo>
                    <a:pt x="3936" y="2514"/>
                  </a:lnTo>
                  <a:lnTo>
                    <a:pt x="3924" y="2526"/>
                  </a:lnTo>
                  <a:lnTo>
                    <a:pt x="3930" y="2532"/>
                  </a:lnTo>
                  <a:lnTo>
                    <a:pt x="3942" y="2538"/>
                  </a:lnTo>
                  <a:lnTo>
                    <a:pt x="3948" y="2544"/>
                  </a:lnTo>
                  <a:lnTo>
                    <a:pt x="3954" y="2544"/>
                  </a:lnTo>
                  <a:lnTo>
                    <a:pt x="3960" y="2550"/>
                  </a:lnTo>
                  <a:lnTo>
                    <a:pt x="3996" y="2550"/>
                  </a:lnTo>
                  <a:lnTo>
                    <a:pt x="4008" y="2556"/>
                  </a:lnTo>
                  <a:lnTo>
                    <a:pt x="4020" y="2556"/>
                  </a:lnTo>
                  <a:lnTo>
                    <a:pt x="4038" y="2538"/>
                  </a:lnTo>
                  <a:lnTo>
                    <a:pt x="4008" y="2538"/>
                  </a:lnTo>
                  <a:lnTo>
                    <a:pt x="3984" y="2532"/>
                  </a:lnTo>
                  <a:close/>
                  <a:moveTo>
                    <a:pt x="4098" y="2280"/>
                  </a:moveTo>
                  <a:lnTo>
                    <a:pt x="4092" y="2280"/>
                  </a:lnTo>
                  <a:lnTo>
                    <a:pt x="4086" y="2274"/>
                  </a:lnTo>
                  <a:lnTo>
                    <a:pt x="4050" y="2274"/>
                  </a:lnTo>
                  <a:lnTo>
                    <a:pt x="4032" y="2268"/>
                  </a:lnTo>
                  <a:lnTo>
                    <a:pt x="3996" y="2268"/>
                  </a:lnTo>
                  <a:lnTo>
                    <a:pt x="4002" y="2274"/>
                  </a:lnTo>
                  <a:lnTo>
                    <a:pt x="4008" y="2274"/>
                  </a:lnTo>
                  <a:lnTo>
                    <a:pt x="4014" y="2280"/>
                  </a:lnTo>
                  <a:lnTo>
                    <a:pt x="4026" y="2286"/>
                  </a:lnTo>
                  <a:lnTo>
                    <a:pt x="4032" y="2286"/>
                  </a:lnTo>
                  <a:lnTo>
                    <a:pt x="4032" y="2304"/>
                  </a:lnTo>
                  <a:lnTo>
                    <a:pt x="4044" y="2304"/>
                  </a:lnTo>
                  <a:lnTo>
                    <a:pt x="4080" y="2310"/>
                  </a:lnTo>
                  <a:lnTo>
                    <a:pt x="4128" y="2316"/>
                  </a:lnTo>
                  <a:lnTo>
                    <a:pt x="4164" y="2316"/>
                  </a:lnTo>
                  <a:lnTo>
                    <a:pt x="4170" y="2310"/>
                  </a:lnTo>
                  <a:lnTo>
                    <a:pt x="4170" y="2304"/>
                  </a:lnTo>
                  <a:lnTo>
                    <a:pt x="4164" y="2304"/>
                  </a:lnTo>
                  <a:lnTo>
                    <a:pt x="4152" y="2292"/>
                  </a:lnTo>
                  <a:lnTo>
                    <a:pt x="4128" y="2286"/>
                  </a:lnTo>
                  <a:lnTo>
                    <a:pt x="4098" y="2280"/>
                  </a:lnTo>
                  <a:close/>
                  <a:moveTo>
                    <a:pt x="4194" y="2550"/>
                  </a:moveTo>
                  <a:lnTo>
                    <a:pt x="4164" y="2550"/>
                  </a:lnTo>
                  <a:lnTo>
                    <a:pt x="4152" y="2556"/>
                  </a:lnTo>
                  <a:lnTo>
                    <a:pt x="4146" y="2562"/>
                  </a:lnTo>
                  <a:lnTo>
                    <a:pt x="4182" y="2526"/>
                  </a:lnTo>
                  <a:lnTo>
                    <a:pt x="4176" y="2520"/>
                  </a:lnTo>
                  <a:lnTo>
                    <a:pt x="4152" y="2520"/>
                  </a:lnTo>
                  <a:lnTo>
                    <a:pt x="4140" y="2526"/>
                  </a:lnTo>
                  <a:lnTo>
                    <a:pt x="4128" y="2538"/>
                  </a:lnTo>
                  <a:lnTo>
                    <a:pt x="4104" y="2574"/>
                  </a:lnTo>
                  <a:lnTo>
                    <a:pt x="4164" y="2568"/>
                  </a:lnTo>
                  <a:lnTo>
                    <a:pt x="4176" y="2568"/>
                  </a:lnTo>
                  <a:lnTo>
                    <a:pt x="4182" y="2562"/>
                  </a:lnTo>
                  <a:lnTo>
                    <a:pt x="4194" y="2562"/>
                  </a:lnTo>
                  <a:lnTo>
                    <a:pt x="4200" y="2556"/>
                  </a:lnTo>
                  <a:lnTo>
                    <a:pt x="4200" y="2550"/>
                  </a:lnTo>
                  <a:lnTo>
                    <a:pt x="4194" y="2550"/>
                  </a:lnTo>
                  <a:close/>
                  <a:moveTo>
                    <a:pt x="4590" y="1962"/>
                  </a:moveTo>
                  <a:lnTo>
                    <a:pt x="4578" y="1974"/>
                  </a:lnTo>
                  <a:lnTo>
                    <a:pt x="4578" y="1980"/>
                  </a:lnTo>
                  <a:lnTo>
                    <a:pt x="4572" y="1986"/>
                  </a:lnTo>
                  <a:lnTo>
                    <a:pt x="4566" y="1986"/>
                  </a:lnTo>
                  <a:lnTo>
                    <a:pt x="4554" y="1974"/>
                  </a:lnTo>
                  <a:lnTo>
                    <a:pt x="4554" y="1962"/>
                  </a:lnTo>
                  <a:lnTo>
                    <a:pt x="4566" y="1962"/>
                  </a:lnTo>
                  <a:lnTo>
                    <a:pt x="4572" y="1956"/>
                  </a:lnTo>
                  <a:lnTo>
                    <a:pt x="4566" y="1932"/>
                  </a:lnTo>
                  <a:lnTo>
                    <a:pt x="4536" y="1926"/>
                  </a:lnTo>
                  <a:lnTo>
                    <a:pt x="4530" y="1926"/>
                  </a:lnTo>
                  <a:lnTo>
                    <a:pt x="4524" y="1932"/>
                  </a:lnTo>
                  <a:lnTo>
                    <a:pt x="4512" y="1938"/>
                  </a:lnTo>
                  <a:lnTo>
                    <a:pt x="4494" y="1944"/>
                  </a:lnTo>
                  <a:lnTo>
                    <a:pt x="4470" y="1956"/>
                  </a:lnTo>
                  <a:lnTo>
                    <a:pt x="4464" y="1962"/>
                  </a:lnTo>
                  <a:lnTo>
                    <a:pt x="4458" y="1962"/>
                  </a:lnTo>
                  <a:lnTo>
                    <a:pt x="4446" y="1968"/>
                  </a:lnTo>
                  <a:lnTo>
                    <a:pt x="4434" y="1968"/>
                  </a:lnTo>
                  <a:lnTo>
                    <a:pt x="4416" y="1974"/>
                  </a:lnTo>
                  <a:lnTo>
                    <a:pt x="4404" y="1974"/>
                  </a:lnTo>
                  <a:lnTo>
                    <a:pt x="4374" y="1998"/>
                  </a:lnTo>
                  <a:lnTo>
                    <a:pt x="4386" y="1974"/>
                  </a:lnTo>
                  <a:lnTo>
                    <a:pt x="4362" y="1956"/>
                  </a:lnTo>
                  <a:lnTo>
                    <a:pt x="4398" y="1968"/>
                  </a:lnTo>
                  <a:lnTo>
                    <a:pt x="4410" y="1956"/>
                  </a:lnTo>
                  <a:lnTo>
                    <a:pt x="4440" y="1950"/>
                  </a:lnTo>
                  <a:lnTo>
                    <a:pt x="4440" y="1932"/>
                  </a:lnTo>
                  <a:lnTo>
                    <a:pt x="4494" y="1932"/>
                  </a:lnTo>
                  <a:lnTo>
                    <a:pt x="4518" y="1920"/>
                  </a:lnTo>
                  <a:lnTo>
                    <a:pt x="4524" y="1914"/>
                  </a:lnTo>
                  <a:lnTo>
                    <a:pt x="4536" y="1908"/>
                  </a:lnTo>
                  <a:lnTo>
                    <a:pt x="4608" y="1908"/>
                  </a:lnTo>
                  <a:lnTo>
                    <a:pt x="4602" y="1902"/>
                  </a:lnTo>
                  <a:lnTo>
                    <a:pt x="4596" y="1902"/>
                  </a:lnTo>
                  <a:lnTo>
                    <a:pt x="4584" y="1896"/>
                  </a:lnTo>
                  <a:lnTo>
                    <a:pt x="4578" y="1890"/>
                  </a:lnTo>
                  <a:lnTo>
                    <a:pt x="4578" y="1866"/>
                  </a:lnTo>
                  <a:lnTo>
                    <a:pt x="4572" y="1866"/>
                  </a:lnTo>
                  <a:lnTo>
                    <a:pt x="4566" y="1872"/>
                  </a:lnTo>
                  <a:lnTo>
                    <a:pt x="4542" y="1872"/>
                  </a:lnTo>
                  <a:lnTo>
                    <a:pt x="4530" y="1878"/>
                  </a:lnTo>
                  <a:lnTo>
                    <a:pt x="4518" y="1878"/>
                  </a:lnTo>
                  <a:lnTo>
                    <a:pt x="4518" y="1866"/>
                  </a:lnTo>
                  <a:lnTo>
                    <a:pt x="4512" y="1860"/>
                  </a:lnTo>
                  <a:lnTo>
                    <a:pt x="4452" y="1878"/>
                  </a:lnTo>
                  <a:lnTo>
                    <a:pt x="4458" y="1848"/>
                  </a:lnTo>
                  <a:lnTo>
                    <a:pt x="4410" y="1860"/>
                  </a:lnTo>
                  <a:lnTo>
                    <a:pt x="4416" y="1854"/>
                  </a:lnTo>
                  <a:lnTo>
                    <a:pt x="4422" y="1842"/>
                  </a:lnTo>
                  <a:lnTo>
                    <a:pt x="4440" y="1824"/>
                  </a:lnTo>
                  <a:lnTo>
                    <a:pt x="4446" y="1812"/>
                  </a:lnTo>
                  <a:lnTo>
                    <a:pt x="4446" y="1800"/>
                  </a:lnTo>
                  <a:lnTo>
                    <a:pt x="4434" y="1800"/>
                  </a:lnTo>
                  <a:lnTo>
                    <a:pt x="4422" y="1794"/>
                  </a:lnTo>
                  <a:lnTo>
                    <a:pt x="4398" y="1794"/>
                  </a:lnTo>
                  <a:lnTo>
                    <a:pt x="4404" y="1770"/>
                  </a:lnTo>
                  <a:lnTo>
                    <a:pt x="4368" y="1770"/>
                  </a:lnTo>
                  <a:lnTo>
                    <a:pt x="4380" y="1752"/>
                  </a:lnTo>
                  <a:lnTo>
                    <a:pt x="4356" y="1728"/>
                  </a:lnTo>
                  <a:lnTo>
                    <a:pt x="4368" y="1728"/>
                  </a:lnTo>
                  <a:lnTo>
                    <a:pt x="4380" y="1734"/>
                  </a:lnTo>
                  <a:lnTo>
                    <a:pt x="4404" y="1734"/>
                  </a:lnTo>
                  <a:lnTo>
                    <a:pt x="4410" y="1728"/>
                  </a:lnTo>
                  <a:lnTo>
                    <a:pt x="4422" y="1722"/>
                  </a:lnTo>
                  <a:lnTo>
                    <a:pt x="4434" y="1710"/>
                  </a:lnTo>
                  <a:lnTo>
                    <a:pt x="4440" y="1710"/>
                  </a:lnTo>
                  <a:lnTo>
                    <a:pt x="4398" y="1686"/>
                  </a:lnTo>
                  <a:lnTo>
                    <a:pt x="4446" y="1656"/>
                  </a:lnTo>
                  <a:lnTo>
                    <a:pt x="4398" y="1632"/>
                  </a:lnTo>
                  <a:lnTo>
                    <a:pt x="4350" y="1638"/>
                  </a:lnTo>
                  <a:lnTo>
                    <a:pt x="4404" y="1614"/>
                  </a:lnTo>
                  <a:lnTo>
                    <a:pt x="4368" y="1608"/>
                  </a:lnTo>
                  <a:lnTo>
                    <a:pt x="4410" y="1584"/>
                  </a:lnTo>
                  <a:lnTo>
                    <a:pt x="4404" y="1560"/>
                  </a:lnTo>
                  <a:lnTo>
                    <a:pt x="4374" y="1560"/>
                  </a:lnTo>
                  <a:lnTo>
                    <a:pt x="4380" y="1554"/>
                  </a:lnTo>
                  <a:lnTo>
                    <a:pt x="4392" y="1530"/>
                  </a:lnTo>
                  <a:lnTo>
                    <a:pt x="4374" y="1494"/>
                  </a:lnTo>
                  <a:lnTo>
                    <a:pt x="4362" y="1494"/>
                  </a:lnTo>
                  <a:lnTo>
                    <a:pt x="4374" y="1470"/>
                  </a:lnTo>
                  <a:lnTo>
                    <a:pt x="4362" y="1476"/>
                  </a:lnTo>
                  <a:lnTo>
                    <a:pt x="4356" y="1482"/>
                  </a:lnTo>
                  <a:lnTo>
                    <a:pt x="4344" y="1488"/>
                  </a:lnTo>
                  <a:lnTo>
                    <a:pt x="4332" y="1500"/>
                  </a:lnTo>
                  <a:lnTo>
                    <a:pt x="4332" y="1518"/>
                  </a:lnTo>
                  <a:lnTo>
                    <a:pt x="4302" y="1506"/>
                  </a:lnTo>
                  <a:lnTo>
                    <a:pt x="4308" y="1542"/>
                  </a:lnTo>
                  <a:lnTo>
                    <a:pt x="4284" y="1542"/>
                  </a:lnTo>
                  <a:lnTo>
                    <a:pt x="4272" y="1560"/>
                  </a:lnTo>
                  <a:lnTo>
                    <a:pt x="4278" y="1572"/>
                  </a:lnTo>
                  <a:lnTo>
                    <a:pt x="4254" y="1572"/>
                  </a:lnTo>
                  <a:lnTo>
                    <a:pt x="4230" y="1614"/>
                  </a:lnTo>
                  <a:lnTo>
                    <a:pt x="4218" y="1614"/>
                  </a:lnTo>
                  <a:lnTo>
                    <a:pt x="4236" y="1578"/>
                  </a:lnTo>
                  <a:lnTo>
                    <a:pt x="4224" y="1566"/>
                  </a:lnTo>
                  <a:lnTo>
                    <a:pt x="4212" y="1566"/>
                  </a:lnTo>
                  <a:lnTo>
                    <a:pt x="4194" y="1584"/>
                  </a:lnTo>
                  <a:lnTo>
                    <a:pt x="4182" y="1590"/>
                  </a:lnTo>
                  <a:lnTo>
                    <a:pt x="4176" y="1596"/>
                  </a:lnTo>
                  <a:lnTo>
                    <a:pt x="4164" y="1602"/>
                  </a:lnTo>
                  <a:lnTo>
                    <a:pt x="4158" y="1608"/>
                  </a:lnTo>
                  <a:lnTo>
                    <a:pt x="4146" y="1614"/>
                  </a:lnTo>
                  <a:lnTo>
                    <a:pt x="4140" y="1620"/>
                  </a:lnTo>
                  <a:lnTo>
                    <a:pt x="4116" y="1632"/>
                  </a:lnTo>
                  <a:lnTo>
                    <a:pt x="4110" y="1638"/>
                  </a:lnTo>
                  <a:lnTo>
                    <a:pt x="4116" y="1614"/>
                  </a:lnTo>
                  <a:lnTo>
                    <a:pt x="4116" y="1596"/>
                  </a:lnTo>
                  <a:lnTo>
                    <a:pt x="4080" y="1632"/>
                  </a:lnTo>
                  <a:lnTo>
                    <a:pt x="4014" y="1644"/>
                  </a:lnTo>
                  <a:lnTo>
                    <a:pt x="4074" y="1626"/>
                  </a:lnTo>
                  <a:lnTo>
                    <a:pt x="4080" y="1620"/>
                  </a:lnTo>
                  <a:lnTo>
                    <a:pt x="4092" y="1596"/>
                  </a:lnTo>
                  <a:lnTo>
                    <a:pt x="4098" y="1590"/>
                  </a:lnTo>
                  <a:lnTo>
                    <a:pt x="4098" y="1578"/>
                  </a:lnTo>
                  <a:lnTo>
                    <a:pt x="4092" y="1572"/>
                  </a:lnTo>
                  <a:lnTo>
                    <a:pt x="4050" y="1572"/>
                  </a:lnTo>
                  <a:lnTo>
                    <a:pt x="4038" y="1578"/>
                  </a:lnTo>
                  <a:lnTo>
                    <a:pt x="4032" y="1578"/>
                  </a:lnTo>
                  <a:lnTo>
                    <a:pt x="4020" y="1584"/>
                  </a:lnTo>
                  <a:lnTo>
                    <a:pt x="4002" y="1584"/>
                  </a:lnTo>
                  <a:lnTo>
                    <a:pt x="4002" y="1578"/>
                  </a:lnTo>
                  <a:lnTo>
                    <a:pt x="4008" y="1572"/>
                  </a:lnTo>
                  <a:lnTo>
                    <a:pt x="4020" y="1566"/>
                  </a:lnTo>
                  <a:lnTo>
                    <a:pt x="4026" y="1560"/>
                  </a:lnTo>
                  <a:lnTo>
                    <a:pt x="4032" y="1560"/>
                  </a:lnTo>
                  <a:lnTo>
                    <a:pt x="4032" y="1572"/>
                  </a:lnTo>
                  <a:lnTo>
                    <a:pt x="4050" y="1560"/>
                  </a:lnTo>
                  <a:lnTo>
                    <a:pt x="4044" y="1536"/>
                  </a:lnTo>
                  <a:lnTo>
                    <a:pt x="4050" y="1530"/>
                  </a:lnTo>
                  <a:lnTo>
                    <a:pt x="4062" y="1524"/>
                  </a:lnTo>
                  <a:lnTo>
                    <a:pt x="4074" y="1512"/>
                  </a:lnTo>
                  <a:lnTo>
                    <a:pt x="4074" y="1506"/>
                  </a:lnTo>
                  <a:lnTo>
                    <a:pt x="4068" y="1500"/>
                  </a:lnTo>
                  <a:lnTo>
                    <a:pt x="4056" y="1494"/>
                  </a:lnTo>
                  <a:lnTo>
                    <a:pt x="4044" y="1494"/>
                  </a:lnTo>
                  <a:lnTo>
                    <a:pt x="4032" y="1488"/>
                  </a:lnTo>
                  <a:lnTo>
                    <a:pt x="4014" y="1488"/>
                  </a:lnTo>
                  <a:lnTo>
                    <a:pt x="4044" y="1488"/>
                  </a:lnTo>
                  <a:lnTo>
                    <a:pt x="4056" y="1482"/>
                  </a:lnTo>
                  <a:lnTo>
                    <a:pt x="4074" y="1482"/>
                  </a:lnTo>
                  <a:lnTo>
                    <a:pt x="4086" y="1470"/>
                  </a:lnTo>
                  <a:lnTo>
                    <a:pt x="4098" y="1446"/>
                  </a:lnTo>
                  <a:lnTo>
                    <a:pt x="4104" y="1440"/>
                  </a:lnTo>
                  <a:lnTo>
                    <a:pt x="4110" y="1440"/>
                  </a:lnTo>
                  <a:lnTo>
                    <a:pt x="4122" y="1434"/>
                  </a:lnTo>
                  <a:lnTo>
                    <a:pt x="4128" y="1434"/>
                  </a:lnTo>
                  <a:lnTo>
                    <a:pt x="4134" y="1428"/>
                  </a:lnTo>
                  <a:lnTo>
                    <a:pt x="4122" y="1416"/>
                  </a:lnTo>
                  <a:lnTo>
                    <a:pt x="4110" y="1422"/>
                  </a:lnTo>
                  <a:lnTo>
                    <a:pt x="4098" y="1434"/>
                  </a:lnTo>
                  <a:lnTo>
                    <a:pt x="4092" y="1404"/>
                  </a:lnTo>
                  <a:lnTo>
                    <a:pt x="4068" y="1404"/>
                  </a:lnTo>
                  <a:lnTo>
                    <a:pt x="4050" y="1410"/>
                  </a:lnTo>
                  <a:lnTo>
                    <a:pt x="4026" y="1410"/>
                  </a:lnTo>
                  <a:lnTo>
                    <a:pt x="4020" y="1404"/>
                  </a:lnTo>
                  <a:lnTo>
                    <a:pt x="4020" y="1386"/>
                  </a:lnTo>
                  <a:lnTo>
                    <a:pt x="4038" y="1368"/>
                  </a:lnTo>
                  <a:lnTo>
                    <a:pt x="4032" y="1362"/>
                  </a:lnTo>
                  <a:lnTo>
                    <a:pt x="4014" y="1362"/>
                  </a:lnTo>
                  <a:lnTo>
                    <a:pt x="4008" y="1368"/>
                  </a:lnTo>
                  <a:lnTo>
                    <a:pt x="4020" y="1344"/>
                  </a:lnTo>
                  <a:lnTo>
                    <a:pt x="3984" y="1350"/>
                  </a:lnTo>
                  <a:lnTo>
                    <a:pt x="3984" y="1326"/>
                  </a:lnTo>
                  <a:lnTo>
                    <a:pt x="3978" y="1314"/>
                  </a:lnTo>
                  <a:lnTo>
                    <a:pt x="3972" y="1308"/>
                  </a:lnTo>
                  <a:lnTo>
                    <a:pt x="3948" y="1308"/>
                  </a:lnTo>
                  <a:lnTo>
                    <a:pt x="3930" y="1314"/>
                  </a:lnTo>
                  <a:lnTo>
                    <a:pt x="3906" y="1326"/>
                  </a:lnTo>
                  <a:lnTo>
                    <a:pt x="3900" y="1332"/>
                  </a:lnTo>
                  <a:lnTo>
                    <a:pt x="3894" y="1332"/>
                  </a:lnTo>
                  <a:lnTo>
                    <a:pt x="3888" y="1326"/>
                  </a:lnTo>
                  <a:lnTo>
                    <a:pt x="3876" y="1320"/>
                  </a:lnTo>
                  <a:lnTo>
                    <a:pt x="3864" y="1320"/>
                  </a:lnTo>
                  <a:lnTo>
                    <a:pt x="3852" y="1326"/>
                  </a:lnTo>
                  <a:lnTo>
                    <a:pt x="3846" y="1326"/>
                  </a:lnTo>
                  <a:lnTo>
                    <a:pt x="3834" y="1332"/>
                  </a:lnTo>
                  <a:lnTo>
                    <a:pt x="3822" y="1326"/>
                  </a:lnTo>
                  <a:lnTo>
                    <a:pt x="3762" y="1302"/>
                  </a:lnTo>
                  <a:lnTo>
                    <a:pt x="3738" y="1302"/>
                  </a:lnTo>
                  <a:lnTo>
                    <a:pt x="3714" y="1314"/>
                  </a:lnTo>
                  <a:lnTo>
                    <a:pt x="3708" y="1326"/>
                  </a:lnTo>
                  <a:lnTo>
                    <a:pt x="3702" y="1326"/>
                  </a:lnTo>
                  <a:lnTo>
                    <a:pt x="3684" y="1344"/>
                  </a:lnTo>
                  <a:lnTo>
                    <a:pt x="3684" y="1350"/>
                  </a:lnTo>
                  <a:lnTo>
                    <a:pt x="3696" y="1356"/>
                  </a:lnTo>
                  <a:lnTo>
                    <a:pt x="3702" y="1362"/>
                  </a:lnTo>
                  <a:lnTo>
                    <a:pt x="3708" y="1374"/>
                  </a:lnTo>
                  <a:lnTo>
                    <a:pt x="3708" y="1380"/>
                  </a:lnTo>
                  <a:lnTo>
                    <a:pt x="3702" y="1386"/>
                  </a:lnTo>
                  <a:lnTo>
                    <a:pt x="3690" y="1392"/>
                  </a:lnTo>
                  <a:lnTo>
                    <a:pt x="3672" y="1410"/>
                  </a:lnTo>
                  <a:lnTo>
                    <a:pt x="3660" y="1416"/>
                  </a:lnTo>
                  <a:lnTo>
                    <a:pt x="3636" y="1422"/>
                  </a:lnTo>
                  <a:lnTo>
                    <a:pt x="3660" y="1440"/>
                  </a:lnTo>
                  <a:lnTo>
                    <a:pt x="3654" y="1446"/>
                  </a:lnTo>
                  <a:lnTo>
                    <a:pt x="3642" y="1446"/>
                  </a:lnTo>
                  <a:lnTo>
                    <a:pt x="3636" y="1452"/>
                  </a:lnTo>
                  <a:lnTo>
                    <a:pt x="3636" y="1470"/>
                  </a:lnTo>
                  <a:lnTo>
                    <a:pt x="3642" y="1482"/>
                  </a:lnTo>
                  <a:lnTo>
                    <a:pt x="3642" y="1488"/>
                  </a:lnTo>
                  <a:lnTo>
                    <a:pt x="3636" y="1500"/>
                  </a:lnTo>
                  <a:lnTo>
                    <a:pt x="3624" y="1506"/>
                  </a:lnTo>
                  <a:lnTo>
                    <a:pt x="3618" y="1512"/>
                  </a:lnTo>
                  <a:lnTo>
                    <a:pt x="3606" y="1512"/>
                  </a:lnTo>
                  <a:lnTo>
                    <a:pt x="3582" y="1524"/>
                  </a:lnTo>
                  <a:lnTo>
                    <a:pt x="3576" y="1536"/>
                  </a:lnTo>
                  <a:lnTo>
                    <a:pt x="3576" y="1548"/>
                  </a:lnTo>
                  <a:lnTo>
                    <a:pt x="3570" y="1548"/>
                  </a:lnTo>
                  <a:lnTo>
                    <a:pt x="3564" y="1554"/>
                  </a:lnTo>
                  <a:lnTo>
                    <a:pt x="3552" y="1554"/>
                  </a:lnTo>
                  <a:lnTo>
                    <a:pt x="3540" y="1560"/>
                  </a:lnTo>
                  <a:lnTo>
                    <a:pt x="3534" y="1566"/>
                  </a:lnTo>
                  <a:lnTo>
                    <a:pt x="3522" y="1572"/>
                  </a:lnTo>
                  <a:lnTo>
                    <a:pt x="3504" y="1590"/>
                  </a:lnTo>
                  <a:lnTo>
                    <a:pt x="3510" y="1596"/>
                  </a:lnTo>
                  <a:lnTo>
                    <a:pt x="3522" y="1602"/>
                  </a:lnTo>
                  <a:lnTo>
                    <a:pt x="3534" y="1614"/>
                  </a:lnTo>
                  <a:lnTo>
                    <a:pt x="3552" y="1620"/>
                  </a:lnTo>
                  <a:lnTo>
                    <a:pt x="3558" y="1632"/>
                  </a:lnTo>
                  <a:lnTo>
                    <a:pt x="3564" y="1638"/>
                  </a:lnTo>
                  <a:lnTo>
                    <a:pt x="3564" y="1662"/>
                  </a:lnTo>
                  <a:lnTo>
                    <a:pt x="3558" y="1698"/>
                  </a:lnTo>
                  <a:lnTo>
                    <a:pt x="3540" y="1746"/>
                  </a:lnTo>
                  <a:lnTo>
                    <a:pt x="3510" y="1776"/>
                  </a:lnTo>
                  <a:lnTo>
                    <a:pt x="3468" y="1800"/>
                  </a:lnTo>
                  <a:lnTo>
                    <a:pt x="3426" y="1830"/>
                  </a:lnTo>
                  <a:lnTo>
                    <a:pt x="3390" y="1854"/>
                  </a:lnTo>
                  <a:lnTo>
                    <a:pt x="3366" y="1860"/>
                  </a:lnTo>
                  <a:lnTo>
                    <a:pt x="3336" y="1860"/>
                  </a:lnTo>
                  <a:lnTo>
                    <a:pt x="3300" y="1866"/>
                  </a:lnTo>
                  <a:lnTo>
                    <a:pt x="3276" y="1872"/>
                  </a:lnTo>
                  <a:lnTo>
                    <a:pt x="3258" y="1878"/>
                  </a:lnTo>
                  <a:lnTo>
                    <a:pt x="3258" y="1902"/>
                  </a:lnTo>
                  <a:lnTo>
                    <a:pt x="3264" y="1914"/>
                  </a:lnTo>
                  <a:lnTo>
                    <a:pt x="3264" y="1926"/>
                  </a:lnTo>
                  <a:lnTo>
                    <a:pt x="3270" y="1938"/>
                  </a:lnTo>
                  <a:lnTo>
                    <a:pt x="3270" y="1950"/>
                  </a:lnTo>
                  <a:lnTo>
                    <a:pt x="3252" y="1968"/>
                  </a:lnTo>
                  <a:lnTo>
                    <a:pt x="3234" y="2004"/>
                  </a:lnTo>
                  <a:lnTo>
                    <a:pt x="3234" y="2076"/>
                  </a:lnTo>
                  <a:lnTo>
                    <a:pt x="3210" y="2088"/>
                  </a:lnTo>
                  <a:lnTo>
                    <a:pt x="3204" y="2094"/>
                  </a:lnTo>
                  <a:lnTo>
                    <a:pt x="3180" y="2106"/>
                  </a:lnTo>
                  <a:lnTo>
                    <a:pt x="3180" y="2142"/>
                  </a:lnTo>
                  <a:lnTo>
                    <a:pt x="3156" y="2166"/>
                  </a:lnTo>
                  <a:lnTo>
                    <a:pt x="3156" y="2154"/>
                  </a:lnTo>
                  <a:lnTo>
                    <a:pt x="3162" y="2148"/>
                  </a:lnTo>
                  <a:lnTo>
                    <a:pt x="3162" y="2142"/>
                  </a:lnTo>
                  <a:lnTo>
                    <a:pt x="3156" y="2130"/>
                  </a:lnTo>
                  <a:lnTo>
                    <a:pt x="3138" y="2130"/>
                  </a:lnTo>
                  <a:lnTo>
                    <a:pt x="3126" y="2136"/>
                  </a:lnTo>
                  <a:lnTo>
                    <a:pt x="3108" y="2154"/>
                  </a:lnTo>
                  <a:lnTo>
                    <a:pt x="3108" y="2166"/>
                  </a:lnTo>
                  <a:lnTo>
                    <a:pt x="3114" y="2178"/>
                  </a:lnTo>
                  <a:lnTo>
                    <a:pt x="3114" y="2190"/>
                  </a:lnTo>
                  <a:lnTo>
                    <a:pt x="3108" y="2196"/>
                  </a:lnTo>
                  <a:lnTo>
                    <a:pt x="3108" y="2178"/>
                  </a:lnTo>
                  <a:lnTo>
                    <a:pt x="3102" y="2166"/>
                  </a:lnTo>
                  <a:lnTo>
                    <a:pt x="3090" y="2154"/>
                  </a:lnTo>
                  <a:lnTo>
                    <a:pt x="3078" y="2154"/>
                  </a:lnTo>
                  <a:lnTo>
                    <a:pt x="3066" y="2160"/>
                  </a:lnTo>
                  <a:lnTo>
                    <a:pt x="3042" y="2160"/>
                  </a:lnTo>
                  <a:lnTo>
                    <a:pt x="3036" y="2166"/>
                  </a:lnTo>
                  <a:lnTo>
                    <a:pt x="3030" y="2166"/>
                  </a:lnTo>
                  <a:lnTo>
                    <a:pt x="3042" y="2160"/>
                  </a:lnTo>
                  <a:lnTo>
                    <a:pt x="3060" y="2142"/>
                  </a:lnTo>
                  <a:lnTo>
                    <a:pt x="3072" y="2136"/>
                  </a:lnTo>
                  <a:lnTo>
                    <a:pt x="3078" y="2124"/>
                  </a:lnTo>
                  <a:lnTo>
                    <a:pt x="3078" y="2118"/>
                  </a:lnTo>
                  <a:lnTo>
                    <a:pt x="3072" y="2106"/>
                  </a:lnTo>
                  <a:lnTo>
                    <a:pt x="3060" y="2100"/>
                  </a:lnTo>
                  <a:lnTo>
                    <a:pt x="3048" y="2088"/>
                  </a:lnTo>
                  <a:lnTo>
                    <a:pt x="3030" y="2088"/>
                  </a:lnTo>
                  <a:lnTo>
                    <a:pt x="3024" y="2082"/>
                  </a:lnTo>
                  <a:lnTo>
                    <a:pt x="3018" y="2082"/>
                  </a:lnTo>
                  <a:lnTo>
                    <a:pt x="3024" y="2082"/>
                  </a:lnTo>
                  <a:lnTo>
                    <a:pt x="3042" y="2064"/>
                  </a:lnTo>
                  <a:lnTo>
                    <a:pt x="3042" y="2058"/>
                  </a:lnTo>
                  <a:lnTo>
                    <a:pt x="3030" y="2034"/>
                  </a:lnTo>
                  <a:lnTo>
                    <a:pt x="3030" y="2028"/>
                  </a:lnTo>
                  <a:lnTo>
                    <a:pt x="3024" y="2016"/>
                  </a:lnTo>
                  <a:lnTo>
                    <a:pt x="3060" y="1992"/>
                  </a:lnTo>
                  <a:lnTo>
                    <a:pt x="3060" y="1968"/>
                  </a:lnTo>
                  <a:lnTo>
                    <a:pt x="3084" y="1956"/>
                  </a:lnTo>
                  <a:lnTo>
                    <a:pt x="3084" y="1914"/>
                  </a:lnTo>
                  <a:lnTo>
                    <a:pt x="3090" y="1914"/>
                  </a:lnTo>
                  <a:lnTo>
                    <a:pt x="3102" y="1902"/>
                  </a:lnTo>
                  <a:lnTo>
                    <a:pt x="3114" y="1896"/>
                  </a:lnTo>
                  <a:lnTo>
                    <a:pt x="3132" y="1878"/>
                  </a:lnTo>
                  <a:lnTo>
                    <a:pt x="3126" y="1866"/>
                  </a:lnTo>
                  <a:lnTo>
                    <a:pt x="3120" y="1860"/>
                  </a:lnTo>
                  <a:lnTo>
                    <a:pt x="3084" y="1848"/>
                  </a:lnTo>
                  <a:lnTo>
                    <a:pt x="2976" y="1848"/>
                  </a:lnTo>
                  <a:lnTo>
                    <a:pt x="2940" y="1860"/>
                  </a:lnTo>
                  <a:lnTo>
                    <a:pt x="2946" y="1848"/>
                  </a:lnTo>
                  <a:lnTo>
                    <a:pt x="2952" y="1842"/>
                  </a:lnTo>
                  <a:lnTo>
                    <a:pt x="2952" y="1830"/>
                  </a:lnTo>
                  <a:lnTo>
                    <a:pt x="2958" y="1824"/>
                  </a:lnTo>
                  <a:lnTo>
                    <a:pt x="2952" y="1818"/>
                  </a:lnTo>
                  <a:lnTo>
                    <a:pt x="2940" y="1812"/>
                  </a:lnTo>
                  <a:lnTo>
                    <a:pt x="2928" y="1812"/>
                  </a:lnTo>
                  <a:lnTo>
                    <a:pt x="2892" y="1800"/>
                  </a:lnTo>
                  <a:lnTo>
                    <a:pt x="2874" y="1800"/>
                  </a:lnTo>
                  <a:lnTo>
                    <a:pt x="2868" y="1794"/>
                  </a:lnTo>
                  <a:lnTo>
                    <a:pt x="2862" y="1794"/>
                  </a:lnTo>
                  <a:lnTo>
                    <a:pt x="2862" y="1770"/>
                  </a:lnTo>
                  <a:lnTo>
                    <a:pt x="2856" y="1752"/>
                  </a:lnTo>
                  <a:lnTo>
                    <a:pt x="2844" y="1740"/>
                  </a:lnTo>
                  <a:lnTo>
                    <a:pt x="2790" y="1722"/>
                  </a:lnTo>
                  <a:lnTo>
                    <a:pt x="2778" y="1722"/>
                  </a:lnTo>
                  <a:lnTo>
                    <a:pt x="2778" y="1716"/>
                  </a:lnTo>
                  <a:lnTo>
                    <a:pt x="2766" y="1704"/>
                  </a:lnTo>
                  <a:lnTo>
                    <a:pt x="2754" y="1704"/>
                  </a:lnTo>
                  <a:lnTo>
                    <a:pt x="2736" y="1698"/>
                  </a:lnTo>
                  <a:lnTo>
                    <a:pt x="2694" y="1698"/>
                  </a:lnTo>
                  <a:lnTo>
                    <a:pt x="2646" y="1704"/>
                  </a:lnTo>
                  <a:lnTo>
                    <a:pt x="2610" y="1716"/>
                  </a:lnTo>
                  <a:lnTo>
                    <a:pt x="2592" y="1716"/>
                  </a:lnTo>
                  <a:lnTo>
                    <a:pt x="2598" y="1716"/>
                  </a:lnTo>
                  <a:lnTo>
                    <a:pt x="2604" y="1710"/>
                  </a:lnTo>
                  <a:lnTo>
                    <a:pt x="2616" y="1710"/>
                  </a:lnTo>
                  <a:lnTo>
                    <a:pt x="2628" y="1704"/>
                  </a:lnTo>
                  <a:lnTo>
                    <a:pt x="2634" y="1692"/>
                  </a:lnTo>
                  <a:lnTo>
                    <a:pt x="2640" y="1686"/>
                  </a:lnTo>
                  <a:lnTo>
                    <a:pt x="2646" y="1662"/>
                  </a:lnTo>
                  <a:lnTo>
                    <a:pt x="2658" y="1632"/>
                  </a:lnTo>
                  <a:lnTo>
                    <a:pt x="2664" y="1602"/>
                  </a:lnTo>
                  <a:lnTo>
                    <a:pt x="2670" y="1590"/>
                  </a:lnTo>
                  <a:lnTo>
                    <a:pt x="2658" y="1590"/>
                  </a:lnTo>
                  <a:lnTo>
                    <a:pt x="2646" y="1584"/>
                  </a:lnTo>
                  <a:lnTo>
                    <a:pt x="2616" y="1584"/>
                  </a:lnTo>
                  <a:lnTo>
                    <a:pt x="2610" y="1590"/>
                  </a:lnTo>
                  <a:lnTo>
                    <a:pt x="2598" y="1596"/>
                  </a:lnTo>
                  <a:lnTo>
                    <a:pt x="2592" y="1602"/>
                  </a:lnTo>
                  <a:lnTo>
                    <a:pt x="2580" y="1608"/>
                  </a:lnTo>
                  <a:lnTo>
                    <a:pt x="2598" y="1578"/>
                  </a:lnTo>
                  <a:lnTo>
                    <a:pt x="2592" y="1560"/>
                  </a:lnTo>
                  <a:lnTo>
                    <a:pt x="2610" y="1542"/>
                  </a:lnTo>
                  <a:lnTo>
                    <a:pt x="2616" y="1530"/>
                  </a:lnTo>
                  <a:lnTo>
                    <a:pt x="2640" y="1506"/>
                  </a:lnTo>
                  <a:lnTo>
                    <a:pt x="2646" y="1494"/>
                  </a:lnTo>
                  <a:lnTo>
                    <a:pt x="2664" y="1476"/>
                  </a:lnTo>
                  <a:lnTo>
                    <a:pt x="2694" y="1452"/>
                  </a:lnTo>
                  <a:lnTo>
                    <a:pt x="2730" y="1428"/>
                  </a:lnTo>
                  <a:lnTo>
                    <a:pt x="2754" y="1410"/>
                  </a:lnTo>
                  <a:lnTo>
                    <a:pt x="2766" y="1404"/>
                  </a:lnTo>
                  <a:lnTo>
                    <a:pt x="2760" y="1392"/>
                  </a:lnTo>
                  <a:lnTo>
                    <a:pt x="2826" y="1368"/>
                  </a:lnTo>
                  <a:lnTo>
                    <a:pt x="2826" y="1350"/>
                  </a:lnTo>
                  <a:lnTo>
                    <a:pt x="2868" y="1344"/>
                  </a:lnTo>
                  <a:lnTo>
                    <a:pt x="2868" y="1326"/>
                  </a:lnTo>
                  <a:lnTo>
                    <a:pt x="2898" y="1320"/>
                  </a:lnTo>
                  <a:lnTo>
                    <a:pt x="2952" y="1284"/>
                  </a:lnTo>
                  <a:lnTo>
                    <a:pt x="3006" y="1284"/>
                  </a:lnTo>
                  <a:lnTo>
                    <a:pt x="3042" y="1278"/>
                  </a:lnTo>
                  <a:lnTo>
                    <a:pt x="3060" y="1266"/>
                  </a:lnTo>
                  <a:lnTo>
                    <a:pt x="3060" y="1254"/>
                  </a:lnTo>
                  <a:lnTo>
                    <a:pt x="3030" y="1224"/>
                  </a:lnTo>
                  <a:lnTo>
                    <a:pt x="2970" y="1230"/>
                  </a:lnTo>
                  <a:lnTo>
                    <a:pt x="2982" y="1218"/>
                  </a:lnTo>
                  <a:lnTo>
                    <a:pt x="2928" y="1194"/>
                  </a:lnTo>
                  <a:lnTo>
                    <a:pt x="2952" y="1188"/>
                  </a:lnTo>
                  <a:lnTo>
                    <a:pt x="3036" y="1212"/>
                  </a:lnTo>
                  <a:lnTo>
                    <a:pt x="3054" y="1230"/>
                  </a:lnTo>
                  <a:lnTo>
                    <a:pt x="3066" y="1236"/>
                  </a:lnTo>
                  <a:lnTo>
                    <a:pt x="3096" y="1236"/>
                  </a:lnTo>
                  <a:lnTo>
                    <a:pt x="3108" y="1230"/>
                  </a:lnTo>
                  <a:lnTo>
                    <a:pt x="3114" y="1218"/>
                  </a:lnTo>
                  <a:lnTo>
                    <a:pt x="3126" y="1206"/>
                  </a:lnTo>
                  <a:lnTo>
                    <a:pt x="3132" y="1194"/>
                  </a:lnTo>
                  <a:lnTo>
                    <a:pt x="3144" y="1188"/>
                  </a:lnTo>
                  <a:lnTo>
                    <a:pt x="3150" y="1182"/>
                  </a:lnTo>
                  <a:lnTo>
                    <a:pt x="3156" y="1182"/>
                  </a:lnTo>
                  <a:lnTo>
                    <a:pt x="3180" y="1194"/>
                  </a:lnTo>
                  <a:lnTo>
                    <a:pt x="3198" y="1200"/>
                  </a:lnTo>
                  <a:lnTo>
                    <a:pt x="3210" y="1200"/>
                  </a:lnTo>
                  <a:lnTo>
                    <a:pt x="3246" y="1182"/>
                  </a:lnTo>
                  <a:lnTo>
                    <a:pt x="3282" y="1170"/>
                  </a:lnTo>
                  <a:lnTo>
                    <a:pt x="3318" y="1152"/>
                  </a:lnTo>
                  <a:lnTo>
                    <a:pt x="3336" y="1146"/>
                  </a:lnTo>
                  <a:lnTo>
                    <a:pt x="3360" y="1134"/>
                  </a:lnTo>
                  <a:lnTo>
                    <a:pt x="3372" y="1122"/>
                  </a:lnTo>
                  <a:lnTo>
                    <a:pt x="3366" y="1116"/>
                  </a:lnTo>
                  <a:lnTo>
                    <a:pt x="3342" y="1110"/>
                  </a:lnTo>
                  <a:lnTo>
                    <a:pt x="3264" y="1110"/>
                  </a:lnTo>
                  <a:lnTo>
                    <a:pt x="3258" y="1086"/>
                  </a:lnTo>
                  <a:lnTo>
                    <a:pt x="3174" y="1056"/>
                  </a:lnTo>
                  <a:lnTo>
                    <a:pt x="3186" y="1056"/>
                  </a:lnTo>
                  <a:lnTo>
                    <a:pt x="3216" y="1050"/>
                  </a:lnTo>
                  <a:lnTo>
                    <a:pt x="3252" y="1050"/>
                  </a:lnTo>
                  <a:lnTo>
                    <a:pt x="3282" y="1056"/>
                  </a:lnTo>
                  <a:lnTo>
                    <a:pt x="3294" y="1062"/>
                  </a:lnTo>
                  <a:lnTo>
                    <a:pt x="3306" y="1074"/>
                  </a:lnTo>
                  <a:lnTo>
                    <a:pt x="3324" y="1086"/>
                  </a:lnTo>
                  <a:lnTo>
                    <a:pt x="3336" y="1098"/>
                  </a:lnTo>
                  <a:lnTo>
                    <a:pt x="3348" y="1104"/>
                  </a:lnTo>
                  <a:lnTo>
                    <a:pt x="3372" y="1098"/>
                  </a:lnTo>
                  <a:lnTo>
                    <a:pt x="3408" y="1080"/>
                  </a:lnTo>
                  <a:lnTo>
                    <a:pt x="3444" y="1068"/>
                  </a:lnTo>
                  <a:lnTo>
                    <a:pt x="3474" y="1050"/>
                  </a:lnTo>
                  <a:lnTo>
                    <a:pt x="3486" y="1044"/>
                  </a:lnTo>
                  <a:lnTo>
                    <a:pt x="3462" y="1032"/>
                  </a:lnTo>
                  <a:lnTo>
                    <a:pt x="3468" y="1026"/>
                  </a:lnTo>
                  <a:lnTo>
                    <a:pt x="3492" y="1014"/>
                  </a:lnTo>
                  <a:lnTo>
                    <a:pt x="3522" y="1014"/>
                  </a:lnTo>
                  <a:lnTo>
                    <a:pt x="3528" y="1020"/>
                  </a:lnTo>
                  <a:lnTo>
                    <a:pt x="3534" y="1032"/>
                  </a:lnTo>
                  <a:lnTo>
                    <a:pt x="3540" y="1038"/>
                  </a:lnTo>
                  <a:lnTo>
                    <a:pt x="3570" y="1050"/>
                  </a:lnTo>
                  <a:lnTo>
                    <a:pt x="3576" y="1026"/>
                  </a:lnTo>
                  <a:lnTo>
                    <a:pt x="3594" y="1044"/>
                  </a:lnTo>
                  <a:lnTo>
                    <a:pt x="3600" y="1038"/>
                  </a:lnTo>
                  <a:lnTo>
                    <a:pt x="3600" y="1026"/>
                  </a:lnTo>
                  <a:lnTo>
                    <a:pt x="3594" y="1014"/>
                  </a:lnTo>
                  <a:lnTo>
                    <a:pt x="3582" y="1002"/>
                  </a:lnTo>
                  <a:lnTo>
                    <a:pt x="3564" y="990"/>
                  </a:lnTo>
                  <a:lnTo>
                    <a:pt x="3606" y="984"/>
                  </a:lnTo>
                  <a:lnTo>
                    <a:pt x="3606" y="990"/>
                  </a:lnTo>
                  <a:lnTo>
                    <a:pt x="3612" y="996"/>
                  </a:lnTo>
                  <a:lnTo>
                    <a:pt x="3612" y="1008"/>
                  </a:lnTo>
                  <a:lnTo>
                    <a:pt x="3624" y="1032"/>
                  </a:lnTo>
                  <a:lnTo>
                    <a:pt x="3630" y="1038"/>
                  </a:lnTo>
                  <a:lnTo>
                    <a:pt x="3636" y="1038"/>
                  </a:lnTo>
                  <a:lnTo>
                    <a:pt x="3654" y="1032"/>
                  </a:lnTo>
                  <a:lnTo>
                    <a:pt x="3690" y="1026"/>
                  </a:lnTo>
                  <a:lnTo>
                    <a:pt x="3732" y="1008"/>
                  </a:lnTo>
                  <a:lnTo>
                    <a:pt x="3768" y="990"/>
                  </a:lnTo>
                  <a:lnTo>
                    <a:pt x="3798" y="972"/>
                  </a:lnTo>
                  <a:lnTo>
                    <a:pt x="3798" y="960"/>
                  </a:lnTo>
                  <a:lnTo>
                    <a:pt x="3786" y="942"/>
                  </a:lnTo>
                  <a:lnTo>
                    <a:pt x="3780" y="930"/>
                  </a:lnTo>
                  <a:lnTo>
                    <a:pt x="3774" y="912"/>
                  </a:lnTo>
                  <a:lnTo>
                    <a:pt x="3774" y="900"/>
                  </a:lnTo>
                  <a:lnTo>
                    <a:pt x="3780" y="894"/>
                  </a:lnTo>
                  <a:lnTo>
                    <a:pt x="3792" y="894"/>
                  </a:lnTo>
                  <a:lnTo>
                    <a:pt x="3804" y="888"/>
                  </a:lnTo>
                  <a:lnTo>
                    <a:pt x="3822" y="888"/>
                  </a:lnTo>
                  <a:lnTo>
                    <a:pt x="3840" y="882"/>
                  </a:lnTo>
                  <a:lnTo>
                    <a:pt x="3858" y="882"/>
                  </a:lnTo>
                  <a:lnTo>
                    <a:pt x="3864" y="876"/>
                  </a:lnTo>
                  <a:lnTo>
                    <a:pt x="3870" y="876"/>
                  </a:lnTo>
                  <a:lnTo>
                    <a:pt x="3870" y="858"/>
                  </a:lnTo>
                  <a:lnTo>
                    <a:pt x="3864" y="846"/>
                  </a:lnTo>
                  <a:lnTo>
                    <a:pt x="3864" y="840"/>
                  </a:lnTo>
                  <a:lnTo>
                    <a:pt x="3858" y="828"/>
                  </a:lnTo>
                  <a:lnTo>
                    <a:pt x="3840" y="804"/>
                  </a:lnTo>
                  <a:lnTo>
                    <a:pt x="3822" y="798"/>
                  </a:lnTo>
                  <a:lnTo>
                    <a:pt x="3786" y="792"/>
                  </a:lnTo>
                  <a:lnTo>
                    <a:pt x="3744" y="792"/>
                  </a:lnTo>
                  <a:lnTo>
                    <a:pt x="3708" y="804"/>
                  </a:lnTo>
                  <a:lnTo>
                    <a:pt x="3690" y="822"/>
                  </a:lnTo>
                  <a:lnTo>
                    <a:pt x="3690" y="840"/>
                  </a:lnTo>
                  <a:lnTo>
                    <a:pt x="3696" y="840"/>
                  </a:lnTo>
                  <a:lnTo>
                    <a:pt x="3702" y="846"/>
                  </a:lnTo>
                  <a:lnTo>
                    <a:pt x="3666" y="870"/>
                  </a:lnTo>
                  <a:lnTo>
                    <a:pt x="3642" y="870"/>
                  </a:lnTo>
                  <a:lnTo>
                    <a:pt x="3576" y="918"/>
                  </a:lnTo>
                  <a:lnTo>
                    <a:pt x="3552" y="930"/>
                  </a:lnTo>
                  <a:lnTo>
                    <a:pt x="3546" y="936"/>
                  </a:lnTo>
                  <a:lnTo>
                    <a:pt x="3540" y="948"/>
                  </a:lnTo>
                  <a:lnTo>
                    <a:pt x="3522" y="966"/>
                  </a:lnTo>
                  <a:lnTo>
                    <a:pt x="3492" y="966"/>
                  </a:lnTo>
                  <a:lnTo>
                    <a:pt x="3456" y="984"/>
                  </a:lnTo>
                  <a:lnTo>
                    <a:pt x="3456" y="972"/>
                  </a:lnTo>
                  <a:lnTo>
                    <a:pt x="3450" y="954"/>
                  </a:lnTo>
                  <a:lnTo>
                    <a:pt x="3450" y="918"/>
                  </a:lnTo>
                  <a:lnTo>
                    <a:pt x="3456" y="912"/>
                  </a:lnTo>
                  <a:lnTo>
                    <a:pt x="3480" y="900"/>
                  </a:lnTo>
                  <a:lnTo>
                    <a:pt x="3498" y="900"/>
                  </a:lnTo>
                  <a:lnTo>
                    <a:pt x="3510" y="894"/>
                  </a:lnTo>
                  <a:lnTo>
                    <a:pt x="3516" y="882"/>
                  </a:lnTo>
                  <a:lnTo>
                    <a:pt x="3516" y="870"/>
                  </a:lnTo>
                  <a:lnTo>
                    <a:pt x="3510" y="852"/>
                  </a:lnTo>
                  <a:lnTo>
                    <a:pt x="3504" y="846"/>
                  </a:lnTo>
                  <a:lnTo>
                    <a:pt x="3498" y="834"/>
                  </a:lnTo>
                  <a:lnTo>
                    <a:pt x="3486" y="834"/>
                  </a:lnTo>
                  <a:lnTo>
                    <a:pt x="3450" y="852"/>
                  </a:lnTo>
                  <a:lnTo>
                    <a:pt x="3432" y="858"/>
                  </a:lnTo>
                  <a:lnTo>
                    <a:pt x="3420" y="864"/>
                  </a:lnTo>
                  <a:lnTo>
                    <a:pt x="3414" y="870"/>
                  </a:lnTo>
                  <a:lnTo>
                    <a:pt x="3408" y="870"/>
                  </a:lnTo>
                  <a:lnTo>
                    <a:pt x="3378" y="900"/>
                  </a:lnTo>
                  <a:lnTo>
                    <a:pt x="3372" y="888"/>
                  </a:lnTo>
                  <a:lnTo>
                    <a:pt x="3396" y="858"/>
                  </a:lnTo>
                  <a:lnTo>
                    <a:pt x="3396" y="840"/>
                  </a:lnTo>
                  <a:lnTo>
                    <a:pt x="3438" y="822"/>
                  </a:lnTo>
                  <a:lnTo>
                    <a:pt x="3402" y="816"/>
                  </a:lnTo>
                  <a:lnTo>
                    <a:pt x="3408" y="804"/>
                  </a:lnTo>
                  <a:lnTo>
                    <a:pt x="3360" y="816"/>
                  </a:lnTo>
                  <a:lnTo>
                    <a:pt x="3336" y="804"/>
                  </a:lnTo>
                  <a:lnTo>
                    <a:pt x="3378" y="792"/>
                  </a:lnTo>
                  <a:lnTo>
                    <a:pt x="3378" y="774"/>
                  </a:lnTo>
                  <a:lnTo>
                    <a:pt x="3390" y="774"/>
                  </a:lnTo>
                  <a:lnTo>
                    <a:pt x="3396" y="780"/>
                  </a:lnTo>
                  <a:lnTo>
                    <a:pt x="3420" y="780"/>
                  </a:lnTo>
                  <a:lnTo>
                    <a:pt x="3426" y="774"/>
                  </a:lnTo>
                  <a:lnTo>
                    <a:pt x="3426" y="762"/>
                  </a:lnTo>
                  <a:lnTo>
                    <a:pt x="3420" y="756"/>
                  </a:lnTo>
                  <a:lnTo>
                    <a:pt x="3408" y="756"/>
                  </a:lnTo>
                  <a:lnTo>
                    <a:pt x="3396" y="744"/>
                  </a:lnTo>
                  <a:lnTo>
                    <a:pt x="3396" y="738"/>
                  </a:lnTo>
                  <a:lnTo>
                    <a:pt x="3420" y="690"/>
                  </a:lnTo>
                  <a:lnTo>
                    <a:pt x="3426" y="684"/>
                  </a:lnTo>
                  <a:lnTo>
                    <a:pt x="3426" y="672"/>
                  </a:lnTo>
                  <a:lnTo>
                    <a:pt x="3420" y="666"/>
                  </a:lnTo>
                  <a:lnTo>
                    <a:pt x="3414" y="666"/>
                  </a:lnTo>
                  <a:lnTo>
                    <a:pt x="3372" y="648"/>
                  </a:lnTo>
                  <a:lnTo>
                    <a:pt x="3348" y="660"/>
                  </a:lnTo>
                  <a:lnTo>
                    <a:pt x="3336" y="660"/>
                  </a:lnTo>
                  <a:lnTo>
                    <a:pt x="3318" y="666"/>
                  </a:lnTo>
                  <a:lnTo>
                    <a:pt x="3312" y="666"/>
                  </a:lnTo>
                  <a:lnTo>
                    <a:pt x="3306" y="672"/>
                  </a:lnTo>
                  <a:lnTo>
                    <a:pt x="3306" y="690"/>
                  </a:lnTo>
                  <a:lnTo>
                    <a:pt x="3240" y="690"/>
                  </a:lnTo>
                  <a:lnTo>
                    <a:pt x="3228" y="696"/>
                  </a:lnTo>
                  <a:lnTo>
                    <a:pt x="3222" y="702"/>
                  </a:lnTo>
                  <a:lnTo>
                    <a:pt x="3210" y="708"/>
                  </a:lnTo>
                  <a:lnTo>
                    <a:pt x="3198" y="720"/>
                  </a:lnTo>
                  <a:lnTo>
                    <a:pt x="3204" y="726"/>
                  </a:lnTo>
                  <a:lnTo>
                    <a:pt x="3216" y="732"/>
                  </a:lnTo>
                  <a:lnTo>
                    <a:pt x="3228" y="732"/>
                  </a:lnTo>
                  <a:lnTo>
                    <a:pt x="3234" y="738"/>
                  </a:lnTo>
                  <a:lnTo>
                    <a:pt x="3228" y="738"/>
                  </a:lnTo>
                  <a:lnTo>
                    <a:pt x="3222" y="744"/>
                  </a:lnTo>
                  <a:lnTo>
                    <a:pt x="3204" y="744"/>
                  </a:lnTo>
                  <a:lnTo>
                    <a:pt x="3180" y="756"/>
                  </a:lnTo>
                  <a:lnTo>
                    <a:pt x="3168" y="768"/>
                  </a:lnTo>
                  <a:lnTo>
                    <a:pt x="3168" y="774"/>
                  </a:lnTo>
                  <a:lnTo>
                    <a:pt x="3174" y="786"/>
                  </a:lnTo>
                  <a:lnTo>
                    <a:pt x="3186" y="798"/>
                  </a:lnTo>
                  <a:lnTo>
                    <a:pt x="3198" y="804"/>
                  </a:lnTo>
                  <a:lnTo>
                    <a:pt x="3204" y="810"/>
                  </a:lnTo>
                  <a:lnTo>
                    <a:pt x="3210" y="810"/>
                  </a:lnTo>
                  <a:lnTo>
                    <a:pt x="3234" y="798"/>
                  </a:lnTo>
                  <a:lnTo>
                    <a:pt x="3234" y="822"/>
                  </a:lnTo>
                  <a:lnTo>
                    <a:pt x="3240" y="828"/>
                  </a:lnTo>
                  <a:lnTo>
                    <a:pt x="3246" y="828"/>
                  </a:lnTo>
                  <a:lnTo>
                    <a:pt x="3258" y="822"/>
                  </a:lnTo>
                  <a:lnTo>
                    <a:pt x="3282" y="822"/>
                  </a:lnTo>
                  <a:lnTo>
                    <a:pt x="3276" y="828"/>
                  </a:lnTo>
                  <a:lnTo>
                    <a:pt x="3252" y="840"/>
                  </a:lnTo>
                  <a:lnTo>
                    <a:pt x="3246" y="840"/>
                  </a:lnTo>
                  <a:lnTo>
                    <a:pt x="3228" y="828"/>
                  </a:lnTo>
                  <a:lnTo>
                    <a:pt x="3222" y="846"/>
                  </a:lnTo>
                  <a:lnTo>
                    <a:pt x="3204" y="846"/>
                  </a:lnTo>
                  <a:lnTo>
                    <a:pt x="3192" y="852"/>
                  </a:lnTo>
                  <a:lnTo>
                    <a:pt x="3186" y="852"/>
                  </a:lnTo>
                  <a:lnTo>
                    <a:pt x="3180" y="858"/>
                  </a:lnTo>
                  <a:lnTo>
                    <a:pt x="3204" y="858"/>
                  </a:lnTo>
                  <a:lnTo>
                    <a:pt x="3228" y="846"/>
                  </a:lnTo>
                  <a:lnTo>
                    <a:pt x="3240" y="846"/>
                  </a:lnTo>
                  <a:lnTo>
                    <a:pt x="3240" y="852"/>
                  </a:lnTo>
                  <a:lnTo>
                    <a:pt x="3228" y="870"/>
                  </a:lnTo>
                  <a:lnTo>
                    <a:pt x="3210" y="882"/>
                  </a:lnTo>
                  <a:lnTo>
                    <a:pt x="3198" y="888"/>
                  </a:lnTo>
                  <a:lnTo>
                    <a:pt x="3180" y="894"/>
                  </a:lnTo>
                  <a:lnTo>
                    <a:pt x="3168" y="900"/>
                  </a:lnTo>
                  <a:lnTo>
                    <a:pt x="3162" y="906"/>
                  </a:lnTo>
                  <a:lnTo>
                    <a:pt x="3138" y="918"/>
                  </a:lnTo>
                  <a:lnTo>
                    <a:pt x="3132" y="924"/>
                  </a:lnTo>
                  <a:lnTo>
                    <a:pt x="3120" y="918"/>
                  </a:lnTo>
                  <a:lnTo>
                    <a:pt x="3114" y="918"/>
                  </a:lnTo>
                  <a:lnTo>
                    <a:pt x="3102" y="912"/>
                  </a:lnTo>
                  <a:lnTo>
                    <a:pt x="3090" y="912"/>
                  </a:lnTo>
                  <a:lnTo>
                    <a:pt x="3072" y="930"/>
                  </a:lnTo>
                  <a:lnTo>
                    <a:pt x="3060" y="936"/>
                  </a:lnTo>
                  <a:lnTo>
                    <a:pt x="3054" y="948"/>
                  </a:lnTo>
                  <a:lnTo>
                    <a:pt x="3054" y="972"/>
                  </a:lnTo>
                  <a:lnTo>
                    <a:pt x="3048" y="978"/>
                  </a:lnTo>
                  <a:lnTo>
                    <a:pt x="3042" y="966"/>
                  </a:lnTo>
                  <a:lnTo>
                    <a:pt x="3030" y="966"/>
                  </a:lnTo>
                  <a:lnTo>
                    <a:pt x="3018" y="960"/>
                  </a:lnTo>
                  <a:lnTo>
                    <a:pt x="3012" y="960"/>
                  </a:lnTo>
                  <a:lnTo>
                    <a:pt x="3006" y="954"/>
                  </a:lnTo>
                  <a:lnTo>
                    <a:pt x="3030" y="930"/>
                  </a:lnTo>
                  <a:lnTo>
                    <a:pt x="3042" y="924"/>
                  </a:lnTo>
                  <a:lnTo>
                    <a:pt x="3060" y="906"/>
                  </a:lnTo>
                  <a:lnTo>
                    <a:pt x="3072" y="900"/>
                  </a:lnTo>
                  <a:lnTo>
                    <a:pt x="3036" y="900"/>
                  </a:lnTo>
                  <a:lnTo>
                    <a:pt x="3030" y="888"/>
                  </a:lnTo>
                  <a:lnTo>
                    <a:pt x="3018" y="882"/>
                  </a:lnTo>
                  <a:lnTo>
                    <a:pt x="2994" y="882"/>
                  </a:lnTo>
                  <a:lnTo>
                    <a:pt x="2988" y="888"/>
                  </a:lnTo>
                  <a:lnTo>
                    <a:pt x="2946" y="888"/>
                  </a:lnTo>
                  <a:lnTo>
                    <a:pt x="2946" y="894"/>
                  </a:lnTo>
                  <a:lnTo>
                    <a:pt x="2940" y="906"/>
                  </a:lnTo>
                  <a:lnTo>
                    <a:pt x="2940" y="918"/>
                  </a:lnTo>
                  <a:lnTo>
                    <a:pt x="2946" y="918"/>
                  </a:lnTo>
                  <a:lnTo>
                    <a:pt x="2952" y="924"/>
                  </a:lnTo>
                  <a:lnTo>
                    <a:pt x="2964" y="924"/>
                  </a:lnTo>
                  <a:lnTo>
                    <a:pt x="2976" y="936"/>
                  </a:lnTo>
                  <a:lnTo>
                    <a:pt x="2982" y="936"/>
                  </a:lnTo>
                  <a:lnTo>
                    <a:pt x="2976" y="942"/>
                  </a:lnTo>
                  <a:lnTo>
                    <a:pt x="2958" y="942"/>
                  </a:lnTo>
                  <a:lnTo>
                    <a:pt x="2952" y="936"/>
                  </a:lnTo>
                  <a:lnTo>
                    <a:pt x="2940" y="930"/>
                  </a:lnTo>
                  <a:lnTo>
                    <a:pt x="2934" y="924"/>
                  </a:lnTo>
                  <a:lnTo>
                    <a:pt x="2916" y="912"/>
                  </a:lnTo>
                  <a:lnTo>
                    <a:pt x="2910" y="942"/>
                  </a:lnTo>
                  <a:lnTo>
                    <a:pt x="2904" y="942"/>
                  </a:lnTo>
                  <a:lnTo>
                    <a:pt x="2898" y="948"/>
                  </a:lnTo>
                  <a:lnTo>
                    <a:pt x="2862" y="948"/>
                  </a:lnTo>
                  <a:lnTo>
                    <a:pt x="2844" y="942"/>
                  </a:lnTo>
                  <a:lnTo>
                    <a:pt x="2826" y="942"/>
                  </a:lnTo>
                  <a:lnTo>
                    <a:pt x="2808" y="936"/>
                  </a:lnTo>
                  <a:lnTo>
                    <a:pt x="2718" y="936"/>
                  </a:lnTo>
                  <a:lnTo>
                    <a:pt x="2706" y="930"/>
                  </a:lnTo>
                  <a:lnTo>
                    <a:pt x="2700" y="918"/>
                  </a:lnTo>
                  <a:lnTo>
                    <a:pt x="2688" y="912"/>
                  </a:lnTo>
                  <a:lnTo>
                    <a:pt x="2628" y="918"/>
                  </a:lnTo>
                  <a:lnTo>
                    <a:pt x="2622" y="912"/>
                  </a:lnTo>
                  <a:lnTo>
                    <a:pt x="2616" y="900"/>
                  </a:lnTo>
                  <a:lnTo>
                    <a:pt x="2604" y="894"/>
                  </a:lnTo>
                  <a:lnTo>
                    <a:pt x="2598" y="894"/>
                  </a:lnTo>
                  <a:lnTo>
                    <a:pt x="2586" y="888"/>
                  </a:lnTo>
                  <a:lnTo>
                    <a:pt x="2568" y="888"/>
                  </a:lnTo>
                  <a:lnTo>
                    <a:pt x="2556" y="894"/>
                  </a:lnTo>
                  <a:lnTo>
                    <a:pt x="2538" y="900"/>
                  </a:lnTo>
                  <a:lnTo>
                    <a:pt x="2532" y="906"/>
                  </a:lnTo>
                  <a:lnTo>
                    <a:pt x="2526" y="906"/>
                  </a:lnTo>
                  <a:lnTo>
                    <a:pt x="2526" y="912"/>
                  </a:lnTo>
                  <a:lnTo>
                    <a:pt x="2484" y="912"/>
                  </a:lnTo>
                  <a:lnTo>
                    <a:pt x="2472" y="906"/>
                  </a:lnTo>
                  <a:lnTo>
                    <a:pt x="2442" y="906"/>
                  </a:lnTo>
                  <a:lnTo>
                    <a:pt x="2430" y="918"/>
                  </a:lnTo>
                  <a:lnTo>
                    <a:pt x="2430" y="930"/>
                  </a:lnTo>
                  <a:lnTo>
                    <a:pt x="2418" y="954"/>
                  </a:lnTo>
                  <a:lnTo>
                    <a:pt x="2412" y="960"/>
                  </a:lnTo>
                  <a:lnTo>
                    <a:pt x="2412" y="966"/>
                  </a:lnTo>
                  <a:lnTo>
                    <a:pt x="2400" y="996"/>
                  </a:lnTo>
                  <a:lnTo>
                    <a:pt x="2364" y="996"/>
                  </a:lnTo>
                  <a:lnTo>
                    <a:pt x="2358" y="1026"/>
                  </a:lnTo>
                  <a:lnTo>
                    <a:pt x="2334" y="978"/>
                  </a:lnTo>
                  <a:lnTo>
                    <a:pt x="2340" y="978"/>
                  </a:lnTo>
                  <a:lnTo>
                    <a:pt x="2352" y="984"/>
                  </a:lnTo>
                  <a:lnTo>
                    <a:pt x="2376" y="984"/>
                  </a:lnTo>
                  <a:lnTo>
                    <a:pt x="2388" y="972"/>
                  </a:lnTo>
                  <a:lnTo>
                    <a:pt x="2358" y="942"/>
                  </a:lnTo>
                  <a:lnTo>
                    <a:pt x="2340" y="942"/>
                  </a:lnTo>
                  <a:lnTo>
                    <a:pt x="2328" y="936"/>
                  </a:lnTo>
                  <a:lnTo>
                    <a:pt x="2316" y="936"/>
                  </a:lnTo>
                  <a:lnTo>
                    <a:pt x="2322" y="918"/>
                  </a:lnTo>
                  <a:lnTo>
                    <a:pt x="2304" y="924"/>
                  </a:lnTo>
                  <a:lnTo>
                    <a:pt x="2262" y="930"/>
                  </a:lnTo>
                  <a:lnTo>
                    <a:pt x="2208" y="936"/>
                  </a:lnTo>
                  <a:lnTo>
                    <a:pt x="2160" y="942"/>
                  </a:lnTo>
                  <a:lnTo>
                    <a:pt x="2112" y="942"/>
                  </a:lnTo>
                  <a:lnTo>
                    <a:pt x="2064" y="936"/>
                  </a:lnTo>
                  <a:lnTo>
                    <a:pt x="2034" y="930"/>
                  </a:lnTo>
                  <a:lnTo>
                    <a:pt x="2028" y="924"/>
                  </a:lnTo>
                  <a:lnTo>
                    <a:pt x="2052" y="918"/>
                  </a:lnTo>
                  <a:lnTo>
                    <a:pt x="2082" y="918"/>
                  </a:lnTo>
                  <a:lnTo>
                    <a:pt x="2118" y="912"/>
                  </a:lnTo>
                  <a:lnTo>
                    <a:pt x="2142" y="900"/>
                  </a:lnTo>
                  <a:lnTo>
                    <a:pt x="2142" y="888"/>
                  </a:lnTo>
                  <a:lnTo>
                    <a:pt x="2112" y="864"/>
                  </a:lnTo>
                  <a:lnTo>
                    <a:pt x="2082" y="852"/>
                  </a:lnTo>
                  <a:lnTo>
                    <a:pt x="2004" y="852"/>
                  </a:lnTo>
                  <a:lnTo>
                    <a:pt x="1968" y="840"/>
                  </a:lnTo>
                  <a:lnTo>
                    <a:pt x="1944" y="834"/>
                  </a:lnTo>
                  <a:lnTo>
                    <a:pt x="1938" y="828"/>
                  </a:lnTo>
                  <a:lnTo>
                    <a:pt x="1908" y="828"/>
                  </a:lnTo>
                  <a:lnTo>
                    <a:pt x="1896" y="822"/>
                  </a:lnTo>
                  <a:lnTo>
                    <a:pt x="1866" y="804"/>
                  </a:lnTo>
                  <a:lnTo>
                    <a:pt x="1836" y="792"/>
                  </a:lnTo>
                  <a:lnTo>
                    <a:pt x="1812" y="786"/>
                  </a:lnTo>
                  <a:lnTo>
                    <a:pt x="1800" y="792"/>
                  </a:lnTo>
                  <a:lnTo>
                    <a:pt x="1782" y="798"/>
                  </a:lnTo>
                  <a:lnTo>
                    <a:pt x="1770" y="804"/>
                  </a:lnTo>
                  <a:lnTo>
                    <a:pt x="1758" y="816"/>
                  </a:lnTo>
                  <a:lnTo>
                    <a:pt x="1734" y="828"/>
                  </a:lnTo>
                  <a:lnTo>
                    <a:pt x="1680" y="828"/>
                  </a:lnTo>
                  <a:lnTo>
                    <a:pt x="1710" y="810"/>
                  </a:lnTo>
                  <a:lnTo>
                    <a:pt x="1710" y="798"/>
                  </a:lnTo>
                  <a:lnTo>
                    <a:pt x="1734" y="768"/>
                  </a:lnTo>
                  <a:lnTo>
                    <a:pt x="1728" y="768"/>
                  </a:lnTo>
                  <a:lnTo>
                    <a:pt x="1722" y="774"/>
                  </a:lnTo>
                  <a:lnTo>
                    <a:pt x="1674" y="798"/>
                  </a:lnTo>
                  <a:lnTo>
                    <a:pt x="1650" y="822"/>
                  </a:lnTo>
                  <a:lnTo>
                    <a:pt x="1638" y="828"/>
                  </a:lnTo>
                  <a:lnTo>
                    <a:pt x="1620" y="834"/>
                  </a:lnTo>
                  <a:lnTo>
                    <a:pt x="1608" y="828"/>
                  </a:lnTo>
                  <a:lnTo>
                    <a:pt x="1602" y="816"/>
                  </a:lnTo>
                  <a:lnTo>
                    <a:pt x="1602" y="798"/>
                  </a:lnTo>
                  <a:lnTo>
                    <a:pt x="1614" y="774"/>
                  </a:lnTo>
                  <a:lnTo>
                    <a:pt x="1614" y="762"/>
                  </a:lnTo>
                  <a:lnTo>
                    <a:pt x="1608" y="750"/>
                  </a:lnTo>
                  <a:lnTo>
                    <a:pt x="1596" y="744"/>
                  </a:lnTo>
                  <a:lnTo>
                    <a:pt x="1590" y="738"/>
                  </a:lnTo>
                  <a:lnTo>
                    <a:pt x="1578" y="738"/>
                  </a:lnTo>
                  <a:lnTo>
                    <a:pt x="1572" y="744"/>
                  </a:lnTo>
                  <a:lnTo>
                    <a:pt x="1572" y="750"/>
                  </a:lnTo>
                  <a:lnTo>
                    <a:pt x="1578" y="762"/>
                  </a:lnTo>
                  <a:lnTo>
                    <a:pt x="1584" y="768"/>
                  </a:lnTo>
                  <a:lnTo>
                    <a:pt x="1542" y="768"/>
                  </a:lnTo>
                  <a:lnTo>
                    <a:pt x="1530" y="774"/>
                  </a:lnTo>
                  <a:lnTo>
                    <a:pt x="1512" y="780"/>
                  </a:lnTo>
                  <a:lnTo>
                    <a:pt x="1494" y="798"/>
                  </a:lnTo>
                  <a:lnTo>
                    <a:pt x="1446" y="798"/>
                  </a:lnTo>
                  <a:lnTo>
                    <a:pt x="1428" y="804"/>
                  </a:lnTo>
                  <a:lnTo>
                    <a:pt x="1416" y="804"/>
                  </a:lnTo>
                  <a:lnTo>
                    <a:pt x="1398" y="810"/>
                  </a:lnTo>
                  <a:lnTo>
                    <a:pt x="1380" y="810"/>
                  </a:lnTo>
                  <a:lnTo>
                    <a:pt x="1374" y="816"/>
                  </a:lnTo>
                  <a:lnTo>
                    <a:pt x="1368" y="816"/>
                  </a:lnTo>
                  <a:lnTo>
                    <a:pt x="1356" y="822"/>
                  </a:lnTo>
                  <a:lnTo>
                    <a:pt x="1350" y="828"/>
                  </a:lnTo>
                  <a:lnTo>
                    <a:pt x="1338" y="834"/>
                  </a:lnTo>
                  <a:lnTo>
                    <a:pt x="1314" y="816"/>
                  </a:lnTo>
                  <a:lnTo>
                    <a:pt x="1302" y="822"/>
                  </a:lnTo>
                  <a:lnTo>
                    <a:pt x="1296" y="828"/>
                  </a:lnTo>
                  <a:lnTo>
                    <a:pt x="1272" y="840"/>
                  </a:lnTo>
                  <a:lnTo>
                    <a:pt x="1260" y="840"/>
                  </a:lnTo>
                  <a:lnTo>
                    <a:pt x="1254" y="846"/>
                  </a:lnTo>
                  <a:lnTo>
                    <a:pt x="1242" y="846"/>
                  </a:lnTo>
                  <a:lnTo>
                    <a:pt x="1230" y="852"/>
                  </a:lnTo>
                  <a:lnTo>
                    <a:pt x="1224" y="858"/>
                  </a:lnTo>
                  <a:lnTo>
                    <a:pt x="1212" y="864"/>
                  </a:lnTo>
                  <a:lnTo>
                    <a:pt x="1176" y="864"/>
                  </a:lnTo>
                  <a:lnTo>
                    <a:pt x="1188" y="858"/>
                  </a:lnTo>
                  <a:lnTo>
                    <a:pt x="1194" y="846"/>
                  </a:lnTo>
                  <a:lnTo>
                    <a:pt x="1212" y="840"/>
                  </a:lnTo>
                  <a:lnTo>
                    <a:pt x="1236" y="828"/>
                  </a:lnTo>
                  <a:lnTo>
                    <a:pt x="1254" y="828"/>
                  </a:lnTo>
                  <a:lnTo>
                    <a:pt x="1266" y="822"/>
                  </a:lnTo>
                  <a:lnTo>
                    <a:pt x="1284" y="816"/>
                  </a:lnTo>
                  <a:lnTo>
                    <a:pt x="1290" y="810"/>
                  </a:lnTo>
                  <a:lnTo>
                    <a:pt x="1362" y="810"/>
                  </a:lnTo>
                  <a:lnTo>
                    <a:pt x="1386" y="798"/>
                  </a:lnTo>
                  <a:lnTo>
                    <a:pt x="1422" y="792"/>
                  </a:lnTo>
                  <a:lnTo>
                    <a:pt x="1458" y="780"/>
                  </a:lnTo>
                  <a:lnTo>
                    <a:pt x="1470" y="780"/>
                  </a:lnTo>
                  <a:lnTo>
                    <a:pt x="1476" y="774"/>
                  </a:lnTo>
                  <a:lnTo>
                    <a:pt x="1482" y="774"/>
                  </a:lnTo>
                  <a:lnTo>
                    <a:pt x="1476" y="768"/>
                  </a:lnTo>
                  <a:lnTo>
                    <a:pt x="1410" y="768"/>
                  </a:lnTo>
                  <a:lnTo>
                    <a:pt x="1398" y="774"/>
                  </a:lnTo>
                  <a:lnTo>
                    <a:pt x="1392" y="774"/>
                  </a:lnTo>
                  <a:lnTo>
                    <a:pt x="1380" y="780"/>
                  </a:lnTo>
                  <a:lnTo>
                    <a:pt x="1374" y="786"/>
                  </a:lnTo>
                  <a:lnTo>
                    <a:pt x="1368" y="786"/>
                  </a:lnTo>
                  <a:lnTo>
                    <a:pt x="1362" y="792"/>
                  </a:lnTo>
                  <a:lnTo>
                    <a:pt x="1278" y="792"/>
                  </a:lnTo>
                  <a:lnTo>
                    <a:pt x="1254" y="804"/>
                  </a:lnTo>
                  <a:lnTo>
                    <a:pt x="1248" y="810"/>
                  </a:lnTo>
                  <a:lnTo>
                    <a:pt x="1236" y="816"/>
                  </a:lnTo>
                  <a:lnTo>
                    <a:pt x="1230" y="822"/>
                  </a:lnTo>
                  <a:lnTo>
                    <a:pt x="1212" y="822"/>
                  </a:lnTo>
                  <a:lnTo>
                    <a:pt x="1158" y="846"/>
                  </a:lnTo>
                  <a:lnTo>
                    <a:pt x="1140" y="846"/>
                  </a:lnTo>
                  <a:lnTo>
                    <a:pt x="1128" y="858"/>
                  </a:lnTo>
                  <a:lnTo>
                    <a:pt x="1122" y="870"/>
                  </a:lnTo>
                  <a:lnTo>
                    <a:pt x="1122" y="876"/>
                  </a:lnTo>
                  <a:lnTo>
                    <a:pt x="1116" y="876"/>
                  </a:lnTo>
                  <a:lnTo>
                    <a:pt x="1110" y="870"/>
                  </a:lnTo>
                  <a:lnTo>
                    <a:pt x="1110" y="846"/>
                  </a:lnTo>
                  <a:lnTo>
                    <a:pt x="1116" y="846"/>
                  </a:lnTo>
                  <a:lnTo>
                    <a:pt x="1152" y="834"/>
                  </a:lnTo>
                  <a:lnTo>
                    <a:pt x="1176" y="822"/>
                  </a:lnTo>
                  <a:lnTo>
                    <a:pt x="1194" y="816"/>
                  </a:lnTo>
                  <a:lnTo>
                    <a:pt x="1188" y="810"/>
                  </a:lnTo>
                  <a:lnTo>
                    <a:pt x="1176" y="810"/>
                  </a:lnTo>
                  <a:lnTo>
                    <a:pt x="1164" y="804"/>
                  </a:lnTo>
                  <a:lnTo>
                    <a:pt x="1140" y="804"/>
                  </a:lnTo>
                  <a:lnTo>
                    <a:pt x="1122" y="822"/>
                  </a:lnTo>
                  <a:lnTo>
                    <a:pt x="1110" y="828"/>
                  </a:lnTo>
                  <a:lnTo>
                    <a:pt x="1092" y="828"/>
                  </a:lnTo>
                  <a:lnTo>
                    <a:pt x="1080" y="834"/>
                  </a:lnTo>
                  <a:lnTo>
                    <a:pt x="1068" y="834"/>
                  </a:lnTo>
                  <a:lnTo>
                    <a:pt x="1068" y="840"/>
                  </a:lnTo>
                  <a:lnTo>
                    <a:pt x="1062" y="846"/>
                  </a:lnTo>
                  <a:lnTo>
                    <a:pt x="1062" y="876"/>
                  </a:lnTo>
                  <a:lnTo>
                    <a:pt x="1038" y="858"/>
                  </a:lnTo>
                  <a:lnTo>
                    <a:pt x="972" y="852"/>
                  </a:lnTo>
                  <a:lnTo>
                    <a:pt x="960" y="846"/>
                  </a:lnTo>
                  <a:lnTo>
                    <a:pt x="948" y="834"/>
                  </a:lnTo>
                  <a:lnTo>
                    <a:pt x="936" y="834"/>
                  </a:lnTo>
                  <a:lnTo>
                    <a:pt x="936" y="828"/>
                  </a:lnTo>
                  <a:lnTo>
                    <a:pt x="942" y="822"/>
                  </a:lnTo>
                  <a:lnTo>
                    <a:pt x="942" y="810"/>
                  </a:lnTo>
                  <a:lnTo>
                    <a:pt x="948" y="804"/>
                  </a:lnTo>
                  <a:lnTo>
                    <a:pt x="834" y="804"/>
                  </a:lnTo>
                  <a:lnTo>
                    <a:pt x="852" y="804"/>
                  </a:lnTo>
                  <a:lnTo>
                    <a:pt x="78" y="1440"/>
                  </a:lnTo>
                  <a:lnTo>
                    <a:pt x="72" y="1446"/>
                  </a:lnTo>
                  <a:lnTo>
                    <a:pt x="60" y="1452"/>
                  </a:lnTo>
                  <a:lnTo>
                    <a:pt x="54" y="1464"/>
                  </a:lnTo>
                  <a:lnTo>
                    <a:pt x="54" y="1476"/>
                  </a:lnTo>
                  <a:lnTo>
                    <a:pt x="108" y="1476"/>
                  </a:lnTo>
                  <a:lnTo>
                    <a:pt x="120" y="1464"/>
                  </a:lnTo>
                  <a:lnTo>
                    <a:pt x="156" y="1464"/>
                  </a:lnTo>
                  <a:lnTo>
                    <a:pt x="132" y="1488"/>
                  </a:lnTo>
                  <a:lnTo>
                    <a:pt x="132" y="1494"/>
                  </a:lnTo>
                  <a:lnTo>
                    <a:pt x="138" y="1506"/>
                  </a:lnTo>
                  <a:lnTo>
                    <a:pt x="138" y="1524"/>
                  </a:lnTo>
                  <a:lnTo>
                    <a:pt x="144" y="1530"/>
                  </a:lnTo>
                  <a:lnTo>
                    <a:pt x="156" y="1536"/>
                  </a:lnTo>
                  <a:lnTo>
                    <a:pt x="162" y="1542"/>
                  </a:lnTo>
                  <a:lnTo>
                    <a:pt x="144" y="1560"/>
                  </a:lnTo>
                  <a:lnTo>
                    <a:pt x="144" y="1572"/>
                  </a:lnTo>
                  <a:lnTo>
                    <a:pt x="150" y="1572"/>
                  </a:lnTo>
                  <a:lnTo>
                    <a:pt x="156" y="1566"/>
                  </a:lnTo>
                  <a:lnTo>
                    <a:pt x="168" y="1560"/>
                  </a:lnTo>
                  <a:lnTo>
                    <a:pt x="174" y="1554"/>
                  </a:lnTo>
                  <a:lnTo>
                    <a:pt x="180" y="1554"/>
                  </a:lnTo>
                  <a:lnTo>
                    <a:pt x="186" y="1548"/>
                  </a:lnTo>
                  <a:lnTo>
                    <a:pt x="198" y="1548"/>
                  </a:lnTo>
                  <a:lnTo>
                    <a:pt x="210" y="1542"/>
                  </a:lnTo>
                  <a:lnTo>
                    <a:pt x="222" y="1542"/>
                  </a:lnTo>
                  <a:lnTo>
                    <a:pt x="234" y="1536"/>
                  </a:lnTo>
                  <a:lnTo>
                    <a:pt x="240" y="1530"/>
                  </a:lnTo>
                  <a:lnTo>
                    <a:pt x="258" y="1530"/>
                  </a:lnTo>
                  <a:lnTo>
                    <a:pt x="258" y="1518"/>
                  </a:lnTo>
                  <a:lnTo>
                    <a:pt x="264" y="1518"/>
                  </a:lnTo>
                  <a:lnTo>
                    <a:pt x="270" y="1512"/>
                  </a:lnTo>
                  <a:lnTo>
                    <a:pt x="282" y="1512"/>
                  </a:lnTo>
                  <a:lnTo>
                    <a:pt x="300" y="1506"/>
                  </a:lnTo>
                  <a:lnTo>
                    <a:pt x="312" y="1506"/>
                  </a:lnTo>
                  <a:lnTo>
                    <a:pt x="330" y="1512"/>
                  </a:lnTo>
                  <a:lnTo>
                    <a:pt x="336" y="1518"/>
                  </a:lnTo>
                  <a:lnTo>
                    <a:pt x="330" y="1524"/>
                  </a:lnTo>
                  <a:lnTo>
                    <a:pt x="324" y="1524"/>
                  </a:lnTo>
                  <a:lnTo>
                    <a:pt x="318" y="1530"/>
                  </a:lnTo>
                  <a:lnTo>
                    <a:pt x="318" y="1560"/>
                  </a:lnTo>
                  <a:lnTo>
                    <a:pt x="306" y="1572"/>
                  </a:lnTo>
                  <a:lnTo>
                    <a:pt x="324" y="1590"/>
                  </a:lnTo>
                  <a:lnTo>
                    <a:pt x="330" y="1602"/>
                  </a:lnTo>
                  <a:lnTo>
                    <a:pt x="330" y="1620"/>
                  </a:lnTo>
                  <a:lnTo>
                    <a:pt x="312" y="1656"/>
                  </a:lnTo>
                  <a:lnTo>
                    <a:pt x="312" y="1698"/>
                  </a:lnTo>
                  <a:lnTo>
                    <a:pt x="306" y="1704"/>
                  </a:lnTo>
                  <a:lnTo>
                    <a:pt x="300" y="1716"/>
                  </a:lnTo>
                  <a:lnTo>
                    <a:pt x="300" y="1728"/>
                  </a:lnTo>
                  <a:lnTo>
                    <a:pt x="294" y="1740"/>
                  </a:lnTo>
                  <a:lnTo>
                    <a:pt x="294" y="1746"/>
                  </a:lnTo>
                  <a:lnTo>
                    <a:pt x="300" y="1752"/>
                  </a:lnTo>
                  <a:lnTo>
                    <a:pt x="312" y="1758"/>
                  </a:lnTo>
                  <a:lnTo>
                    <a:pt x="318" y="1764"/>
                  </a:lnTo>
                  <a:lnTo>
                    <a:pt x="324" y="1764"/>
                  </a:lnTo>
                  <a:lnTo>
                    <a:pt x="330" y="1770"/>
                  </a:lnTo>
                  <a:lnTo>
                    <a:pt x="330" y="1776"/>
                  </a:lnTo>
                  <a:lnTo>
                    <a:pt x="348" y="1776"/>
                  </a:lnTo>
                  <a:lnTo>
                    <a:pt x="354" y="1782"/>
                  </a:lnTo>
                  <a:lnTo>
                    <a:pt x="354" y="1794"/>
                  </a:lnTo>
                  <a:lnTo>
                    <a:pt x="342" y="1800"/>
                  </a:lnTo>
                  <a:lnTo>
                    <a:pt x="330" y="1812"/>
                  </a:lnTo>
                  <a:lnTo>
                    <a:pt x="318" y="1818"/>
                  </a:lnTo>
                  <a:lnTo>
                    <a:pt x="318" y="1830"/>
                  </a:lnTo>
                  <a:lnTo>
                    <a:pt x="312" y="1842"/>
                  </a:lnTo>
                  <a:lnTo>
                    <a:pt x="294" y="1860"/>
                  </a:lnTo>
                  <a:lnTo>
                    <a:pt x="282" y="1866"/>
                  </a:lnTo>
                  <a:lnTo>
                    <a:pt x="270" y="1878"/>
                  </a:lnTo>
                  <a:lnTo>
                    <a:pt x="252" y="1884"/>
                  </a:lnTo>
                  <a:lnTo>
                    <a:pt x="234" y="1896"/>
                  </a:lnTo>
                  <a:lnTo>
                    <a:pt x="228" y="1902"/>
                  </a:lnTo>
                  <a:lnTo>
                    <a:pt x="222" y="1914"/>
                  </a:lnTo>
                  <a:lnTo>
                    <a:pt x="222" y="1926"/>
                  </a:lnTo>
                  <a:lnTo>
                    <a:pt x="216" y="1932"/>
                  </a:lnTo>
                  <a:lnTo>
                    <a:pt x="216" y="1944"/>
                  </a:lnTo>
                  <a:lnTo>
                    <a:pt x="204" y="1956"/>
                  </a:lnTo>
                  <a:lnTo>
                    <a:pt x="210" y="1962"/>
                  </a:lnTo>
                  <a:lnTo>
                    <a:pt x="216" y="1962"/>
                  </a:lnTo>
                  <a:lnTo>
                    <a:pt x="216" y="1974"/>
                  </a:lnTo>
                  <a:lnTo>
                    <a:pt x="228" y="1986"/>
                  </a:lnTo>
                  <a:lnTo>
                    <a:pt x="240" y="1980"/>
                  </a:lnTo>
                  <a:lnTo>
                    <a:pt x="246" y="1968"/>
                  </a:lnTo>
                  <a:lnTo>
                    <a:pt x="258" y="1962"/>
                  </a:lnTo>
                  <a:lnTo>
                    <a:pt x="276" y="1956"/>
                  </a:lnTo>
                  <a:lnTo>
                    <a:pt x="294" y="1938"/>
                  </a:lnTo>
                  <a:lnTo>
                    <a:pt x="306" y="1938"/>
                  </a:lnTo>
                  <a:lnTo>
                    <a:pt x="306" y="1944"/>
                  </a:lnTo>
                  <a:lnTo>
                    <a:pt x="300" y="1950"/>
                  </a:lnTo>
                  <a:lnTo>
                    <a:pt x="288" y="1956"/>
                  </a:lnTo>
                  <a:lnTo>
                    <a:pt x="282" y="1956"/>
                  </a:lnTo>
                  <a:lnTo>
                    <a:pt x="276" y="1962"/>
                  </a:lnTo>
                  <a:lnTo>
                    <a:pt x="276" y="1974"/>
                  </a:lnTo>
                  <a:lnTo>
                    <a:pt x="282" y="1986"/>
                  </a:lnTo>
                  <a:lnTo>
                    <a:pt x="294" y="1998"/>
                  </a:lnTo>
                  <a:lnTo>
                    <a:pt x="252" y="1992"/>
                  </a:lnTo>
                  <a:lnTo>
                    <a:pt x="246" y="1998"/>
                  </a:lnTo>
                  <a:lnTo>
                    <a:pt x="240" y="2010"/>
                  </a:lnTo>
                  <a:lnTo>
                    <a:pt x="234" y="2016"/>
                  </a:lnTo>
                  <a:lnTo>
                    <a:pt x="228" y="2028"/>
                  </a:lnTo>
                  <a:lnTo>
                    <a:pt x="228" y="2034"/>
                  </a:lnTo>
                  <a:lnTo>
                    <a:pt x="234" y="2034"/>
                  </a:lnTo>
                  <a:lnTo>
                    <a:pt x="240" y="2040"/>
                  </a:lnTo>
                  <a:lnTo>
                    <a:pt x="252" y="2040"/>
                  </a:lnTo>
                  <a:lnTo>
                    <a:pt x="258" y="2046"/>
                  </a:lnTo>
                  <a:lnTo>
                    <a:pt x="252" y="2052"/>
                  </a:lnTo>
                  <a:lnTo>
                    <a:pt x="252" y="2058"/>
                  </a:lnTo>
                  <a:lnTo>
                    <a:pt x="246" y="2070"/>
                  </a:lnTo>
                  <a:lnTo>
                    <a:pt x="246" y="2076"/>
                  </a:lnTo>
                  <a:lnTo>
                    <a:pt x="252" y="2070"/>
                  </a:lnTo>
                  <a:lnTo>
                    <a:pt x="288" y="2052"/>
                  </a:lnTo>
                  <a:lnTo>
                    <a:pt x="306" y="2034"/>
                  </a:lnTo>
                  <a:lnTo>
                    <a:pt x="318" y="2028"/>
                  </a:lnTo>
                  <a:lnTo>
                    <a:pt x="318" y="2040"/>
                  </a:lnTo>
                  <a:lnTo>
                    <a:pt x="288" y="2058"/>
                  </a:lnTo>
                  <a:lnTo>
                    <a:pt x="312" y="2064"/>
                  </a:lnTo>
                  <a:lnTo>
                    <a:pt x="312" y="2076"/>
                  </a:lnTo>
                  <a:lnTo>
                    <a:pt x="294" y="2094"/>
                  </a:lnTo>
                  <a:lnTo>
                    <a:pt x="276" y="2076"/>
                  </a:lnTo>
                  <a:lnTo>
                    <a:pt x="270" y="2076"/>
                  </a:lnTo>
                  <a:lnTo>
                    <a:pt x="264" y="2082"/>
                  </a:lnTo>
                  <a:lnTo>
                    <a:pt x="240" y="2094"/>
                  </a:lnTo>
                  <a:lnTo>
                    <a:pt x="228" y="2094"/>
                  </a:lnTo>
                  <a:lnTo>
                    <a:pt x="216" y="2106"/>
                  </a:lnTo>
                  <a:lnTo>
                    <a:pt x="210" y="2118"/>
                  </a:lnTo>
                  <a:lnTo>
                    <a:pt x="204" y="2124"/>
                  </a:lnTo>
                  <a:lnTo>
                    <a:pt x="210" y="2118"/>
                  </a:lnTo>
                  <a:lnTo>
                    <a:pt x="222" y="2118"/>
                  </a:lnTo>
                  <a:lnTo>
                    <a:pt x="228" y="2112"/>
                  </a:lnTo>
                  <a:lnTo>
                    <a:pt x="276" y="2112"/>
                  </a:lnTo>
                  <a:lnTo>
                    <a:pt x="270" y="2112"/>
                  </a:lnTo>
                  <a:lnTo>
                    <a:pt x="264" y="2118"/>
                  </a:lnTo>
                  <a:lnTo>
                    <a:pt x="252" y="2118"/>
                  </a:lnTo>
                  <a:lnTo>
                    <a:pt x="240" y="2124"/>
                  </a:lnTo>
                  <a:lnTo>
                    <a:pt x="228" y="2124"/>
                  </a:lnTo>
                  <a:lnTo>
                    <a:pt x="216" y="2130"/>
                  </a:lnTo>
                  <a:lnTo>
                    <a:pt x="210" y="2130"/>
                  </a:lnTo>
                  <a:lnTo>
                    <a:pt x="210" y="2148"/>
                  </a:lnTo>
                  <a:lnTo>
                    <a:pt x="204" y="2148"/>
                  </a:lnTo>
                  <a:lnTo>
                    <a:pt x="198" y="2142"/>
                  </a:lnTo>
                  <a:lnTo>
                    <a:pt x="174" y="2142"/>
                  </a:lnTo>
                  <a:lnTo>
                    <a:pt x="174" y="2154"/>
                  </a:lnTo>
                  <a:lnTo>
                    <a:pt x="180" y="2166"/>
                  </a:lnTo>
                  <a:lnTo>
                    <a:pt x="192" y="2172"/>
                  </a:lnTo>
                  <a:lnTo>
                    <a:pt x="198" y="2178"/>
                  </a:lnTo>
                  <a:lnTo>
                    <a:pt x="246" y="2160"/>
                  </a:lnTo>
                  <a:lnTo>
                    <a:pt x="264" y="2184"/>
                  </a:lnTo>
                  <a:lnTo>
                    <a:pt x="300" y="2166"/>
                  </a:lnTo>
                  <a:lnTo>
                    <a:pt x="294" y="2172"/>
                  </a:lnTo>
                  <a:lnTo>
                    <a:pt x="288" y="2184"/>
                  </a:lnTo>
                  <a:lnTo>
                    <a:pt x="276" y="2190"/>
                  </a:lnTo>
                  <a:lnTo>
                    <a:pt x="270" y="2196"/>
                  </a:lnTo>
                  <a:lnTo>
                    <a:pt x="264" y="2208"/>
                  </a:lnTo>
                  <a:lnTo>
                    <a:pt x="264" y="2214"/>
                  </a:lnTo>
                  <a:lnTo>
                    <a:pt x="276" y="2214"/>
                  </a:lnTo>
                  <a:lnTo>
                    <a:pt x="282" y="2208"/>
                  </a:lnTo>
                  <a:lnTo>
                    <a:pt x="300" y="2202"/>
                  </a:lnTo>
                  <a:lnTo>
                    <a:pt x="318" y="2184"/>
                  </a:lnTo>
                  <a:lnTo>
                    <a:pt x="330" y="2178"/>
                  </a:lnTo>
                  <a:lnTo>
                    <a:pt x="306" y="2202"/>
                  </a:lnTo>
                  <a:lnTo>
                    <a:pt x="300" y="2214"/>
                  </a:lnTo>
                  <a:lnTo>
                    <a:pt x="294" y="2220"/>
                  </a:lnTo>
                  <a:lnTo>
                    <a:pt x="300" y="2220"/>
                  </a:lnTo>
                  <a:lnTo>
                    <a:pt x="312" y="2214"/>
                  </a:lnTo>
                  <a:lnTo>
                    <a:pt x="324" y="2214"/>
                  </a:lnTo>
                  <a:lnTo>
                    <a:pt x="318" y="2220"/>
                  </a:lnTo>
                  <a:lnTo>
                    <a:pt x="306" y="2226"/>
                  </a:lnTo>
                  <a:lnTo>
                    <a:pt x="300" y="2238"/>
                  </a:lnTo>
                  <a:lnTo>
                    <a:pt x="282" y="2256"/>
                  </a:lnTo>
                  <a:lnTo>
                    <a:pt x="288" y="2262"/>
                  </a:lnTo>
                  <a:lnTo>
                    <a:pt x="294" y="2262"/>
                  </a:lnTo>
                  <a:lnTo>
                    <a:pt x="342" y="2238"/>
                  </a:lnTo>
                  <a:lnTo>
                    <a:pt x="348" y="2232"/>
                  </a:lnTo>
                  <a:lnTo>
                    <a:pt x="324" y="2256"/>
                  </a:lnTo>
                  <a:lnTo>
                    <a:pt x="318" y="2268"/>
                  </a:lnTo>
                  <a:lnTo>
                    <a:pt x="318" y="2274"/>
                  </a:lnTo>
                  <a:lnTo>
                    <a:pt x="330" y="2280"/>
                  </a:lnTo>
                  <a:lnTo>
                    <a:pt x="342" y="2280"/>
                  </a:lnTo>
                  <a:lnTo>
                    <a:pt x="354" y="2292"/>
                  </a:lnTo>
                  <a:lnTo>
                    <a:pt x="354" y="2298"/>
                  </a:lnTo>
                  <a:lnTo>
                    <a:pt x="348" y="2304"/>
                  </a:lnTo>
                  <a:lnTo>
                    <a:pt x="348" y="2340"/>
                  </a:lnTo>
                  <a:lnTo>
                    <a:pt x="2058" y="2340"/>
                  </a:lnTo>
                  <a:lnTo>
                    <a:pt x="2064" y="2328"/>
                  </a:lnTo>
                  <a:lnTo>
                    <a:pt x="2064" y="2322"/>
                  </a:lnTo>
                  <a:lnTo>
                    <a:pt x="2070" y="2310"/>
                  </a:lnTo>
                  <a:lnTo>
                    <a:pt x="2076" y="2304"/>
                  </a:lnTo>
                  <a:lnTo>
                    <a:pt x="2088" y="2298"/>
                  </a:lnTo>
                  <a:lnTo>
                    <a:pt x="2100" y="2310"/>
                  </a:lnTo>
                  <a:lnTo>
                    <a:pt x="2088" y="2322"/>
                  </a:lnTo>
                  <a:lnTo>
                    <a:pt x="2082" y="2334"/>
                  </a:lnTo>
                  <a:lnTo>
                    <a:pt x="2082" y="2346"/>
                  </a:lnTo>
                  <a:lnTo>
                    <a:pt x="2094" y="2352"/>
                  </a:lnTo>
                  <a:lnTo>
                    <a:pt x="2112" y="2358"/>
                  </a:lnTo>
                  <a:lnTo>
                    <a:pt x="2124" y="2358"/>
                  </a:lnTo>
                  <a:lnTo>
                    <a:pt x="2142" y="2376"/>
                  </a:lnTo>
                  <a:lnTo>
                    <a:pt x="2154" y="2376"/>
                  </a:lnTo>
                  <a:lnTo>
                    <a:pt x="2154" y="2370"/>
                  </a:lnTo>
                  <a:lnTo>
                    <a:pt x="2166" y="2358"/>
                  </a:lnTo>
                  <a:lnTo>
                    <a:pt x="2178" y="2358"/>
                  </a:lnTo>
                  <a:lnTo>
                    <a:pt x="2190" y="2364"/>
                  </a:lnTo>
                  <a:lnTo>
                    <a:pt x="2202" y="2376"/>
                  </a:lnTo>
                  <a:lnTo>
                    <a:pt x="2202" y="2382"/>
                  </a:lnTo>
                  <a:lnTo>
                    <a:pt x="2208" y="2388"/>
                  </a:lnTo>
                  <a:lnTo>
                    <a:pt x="2238" y="2388"/>
                  </a:lnTo>
                  <a:lnTo>
                    <a:pt x="2256" y="2406"/>
                  </a:lnTo>
                  <a:lnTo>
                    <a:pt x="2268" y="2406"/>
                  </a:lnTo>
                  <a:lnTo>
                    <a:pt x="2280" y="2394"/>
                  </a:lnTo>
                  <a:lnTo>
                    <a:pt x="2292" y="2388"/>
                  </a:lnTo>
                  <a:lnTo>
                    <a:pt x="2298" y="2382"/>
                  </a:lnTo>
                  <a:lnTo>
                    <a:pt x="2298" y="2400"/>
                  </a:lnTo>
                  <a:lnTo>
                    <a:pt x="2346" y="2394"/>
                  </a:lnTo>
                  <a:lnTo>
                    <a:pt x="2346" y="2400"/>
                  </a:lnTo>
                  <a:lnTo>
                    <a:pt x="2352" y="2400"/>
                  </a:lnTo>
                  <a:lnTo>
                    <a:pt x="2364" y="2406"/>
                  </a:lnTo>
                  <a:lnTo>
                    <a:pt x="2382" y="2406"/>
                  </a:lnTo>
                  <a:lnTo>
                    <a:pt x="2394" y="2394"/>
                  </a:lnTo>
                  <a:lnTo>
                    <a:pt x="2406" y="2388"/>
                  </a:lnTo>
                  <a:lnTo>
                    <a:pt x="2412" y="2376"/>
                  </a:lnTo>
                  <a:lnTo>
                    <a:pt x="2412" y="2370"/>
                  </a:lnTo>
                  <a:lnTo>
                    <a:pt x="2430" y="2370"/>
                  </a:lnTo>
                  <a:lnTo>
                    <a:pt x="2436" y="2376"/>
                  </a:lnTo>
                  <a:lnTo>
                    <a:pt x="2442" y="2376"/>
                  </a:lnTo>
                  <a:lnTo>
                    <a:pt x="2454" y="2364"/>
                  </a:lnTo>
                  <a:lnTo>
                    <a:pt x="2460" y="2352"/>
                  </a:lnTo>
                  <a:lnTo>
                    <a:pt x="2466" y="2346"/>
                  </a:lnTo>
                  <a:lnTo>
                    <a:pt x="2472" y="2346"/>
                  </a:lnTo>
                  <a:lnTo>
                    <a:pt x="2472" y="2352"/>
                  </a:lnTo>
                  <a:lnTo>
                    <a:pt x="2478" y="2358"/>
                  </a:lnTo>
                  <a:lnTo>
                    <a:pt x="2502" y="2352"/>
                  </a:lnTo>
                  <a:lnTo>
                    <a:pt x="2496" y="2346"/>
                  </a:lnTo>
                  <a:lnTo>
                    <a:pt x="2496" y="2334"/>
                  </a:lnTo>
                  <a:lnTo>
                    <a:pt x="2502" y="2328"/>
                  </a:lnTo>
                  <a:lnTo>
                    <a:pt x="2514" y="2322"/>
                  </a:lnTo>
                  <a:lnTo>
                    <a:pt x="2532" y="2340"/>
                  </a:lnTo>
                  <a:lnTo>
                    <a:pt x="2556" y="2340"/>
                  </a:lnTo>
                  <a:lnTo>
                    <a:pt x="2562" y="2346"/>
                  </a:lnTo>
                  <a:lnTo>
                    <a:pt x="2580" y="2346"/>
                  </a:lnTo>
                  <a:lnTo>
                    <a:pt x="2604" y="2358"/>
                  </a:lnTo>
                  <a:lnTo>
                    <a:pt x="2604" y="2370"/>
                  </a:lnTo>
                  <a:lnTo>
                    <a:pt x="2598" y="2382"/>
                  </a:lnTo>
                  <a:lnTo>
                    <a:pt x="2598" y="2388"/>
                  </a:lnTo>
                  <a:lnTo>
                    <a:pt x="2592" y="2400"/>
                  </a:lnTo>
                  <a:lnTo>
                    <a:pt x="2604" y="2412"/>
                  </a:lnTo>
                  <a:lnTo>
                    <a:pt x="2592" y="2436"/>
                  </a:lnTo>
                  <a:lnTo>
                    <a:pt x="2598" y="2436"/>
                  </a:lnTo>
                  <a:lnTo>
                    <a:pt x="2604" y="2430"/>
                  </a:lnTo>
                  <a:lnTo>
                    <a:pt x="2616" y="2424"/>
                  </a:lnTo>
                  <a:lnTo>
                    <a:pt x="2634" y="2418"/>
                  </a:lnTo>
                  <a:lnTo>
                    <a:pt x="2646" y="2412"/>
                  </a:lnTo>
                  <a:lnTo>
                    <a:pt x="2670" y="2412"/>
                  </a:lnTo>
                  <a:lnTo>
                    <a:pt x="2670" y="2424"/>
                  </a:lnTo>
                  <a:lnTo>
                    <a:pt x="2658" y="2430"/>
                  </a:lnTo>
                  <a:lnTo>
                    <a:pt x="2652" y="2436"/>
                  </a:lnTo>
                  <a:lnTo>
                    <a:pt x="2646" y="2436"/>
                  </a:lnTo>
                  <a:lnTo>
                    <a:pt x="2640" y="2442"/>
                  </a:lnTo>
                  <a:lnTo>
                    <a:pt x="2646" y="2448"/>
                  </a:lnTo>
                  <a:lnTo>
                    <a:pt x="2652" y="2448"/>
                  </a:lnTo>
                  <a:lnTo>
                    <a:pt x="2664" y="2460"/>
                  </a:lnTo>
                  <a:lnTo>
                    <a:pt x="2640" y="2484"/>
                  </a:lnTo>
                  <a:lnTo>
                    <a:pt x="2640" y="2490"/>
                  </a:lnTo>
                  <a:lnTo>
                    <a:pt x="2652" y="2490"/>
                  </a:lnTo>
                  <a:lnTo>
                    <a:pt x="2652" y="2502"/>
                  </a:lnTo>
                  <a:lnTo>
                    <a:pt x="2640" y="2514"/>
                  </a:lnTo>
                  <a:lnTo>
                    <a:pt x="2640" y="2526"/>
                  </a:lnTo>
                  <a:lnTo>
                    <a:pt x="2658" y="2526"/>
                  </a:lnTo>
                  <a:lnTo>
                    <a:pt x="2652" y="2544"/>
                  </a:lnTo>
                  <a:lnTo>
                    <a:pt x="2658" y="2544"/>
                  </a:lnTo>
                  <a:lnTo>
                    <a:pt x="2670" y="2550"/>
                  </a:lnTo>
                  <a:lnTo>
                    <a:pt x="2754" y="2550"/>
                  </a:lnTo>
                  <a:lnTo>
                    <a:pt x="2766" y="2556"/>
                  </a:lnTo>
                  <a:lnTo>
                    <a:pt x="2784" y="2568"/>
                  </a:lnTo>
                  <a:lnTo>
                    <a:pt x="2838" y="2568"/>
                  </a:lnTo>
                  <a:lnTo>
                    <a:pt x="2850" y="2574"/>
                  </a:lnTo>
                  <a:lnTo>
                    <a:pt x="2856" y="2580"/>
                  </a:lnTo>
                  <a:lnTo>
                    <a:pt x="2856" y="2610"/>
                  </a:lnTo>
                  <a:lnTo>
                    <a:pt x="2874" y="2610"/>
                  </a:lnTo>
                  <a:lnTo>
                    <a:pt x="2874" y="2628"/>
                  </a:lnTo>
                  <a:lnTo>
                    <a:pt x="2862" y="2640"/>
                  </a:lnTo>
                  <a:lnTo>
                    <a:pt x="2862" y="2652"/>
                  </a:lnTo>
                  <a:lnTo>
                    <a:pt x="2874" y="2664"/>
                  </a:lnTo>
                  <a:lnTo>
                    <a:pt x="2880" y="2664"/>
                  </a:lnTo>
                  <a:lnTo>
                    <a:pt x="2856" y="2658"/>
                  </a:lnTo>
                  <a:lnTo>
                    <a:pt x="2856" y="2670"/>
                  </a:lnTo>
                  <a:lnTo>
                    <a:pt x="2850" y="2676"/>
                  </a:lnTo>
                  <a:lnTo>
                    <a:pt x="2844" y="2688"/>
                  </a:lnTo>
                  <a:lnTo>
                    <a:pt x="2838" y="2694"/>
                  </a:lnTo>
                  <a:lnTo>
                    <a:pt x="2832" y="2688"/>
                  </a:lnTo>
                  <a:lnTo>
                    <a:pt x="2820" y="2682"/>
                  </a:lnTo>
                  <a:lnTo>
                    <a:pt x="2802" y="2670"/>
                  </a:lnTo>
                  <a:lnTo>
                    <a:pt x="2790" y="2664"/>
                  </a:lnTo>
                  <a:lnTo>
                    <a:pt x="2784" y="2652"/>
                  </a:lnTo>
                  <a:lnTo>
                    <a:pt x="2784" y="2628"/>
                  </a:lnTo>
                  <a:lnTo>
                    <a:pt x="2766" y="2622"/>
                  </a:lnTo>
                  <a:lnTo>
                    <a:pt x="2772" y="2640"/>
                  </a:lnTo>
                  <a:lnTo>
                    <a:pt x="2772" y="2646"/>
                  </a:lnTo>
                  <a:lnTo>
                    <a:pt x="2778" y="2652"/>
                  </a:lnTo>
                  <a:lnTo>
                    <a:pt x="2778" y="2664"/>
                  </a:lnTo>
                  <a:lnTo>
                    <a:pt x="2772" y="2676"/>
                  </a:lnTo>
                  <a:lnTo>
                    <a:pt x="2760" y="2688"/>
                  </a:lnTo>
                  <a:lnTo>
                    <a:pt x="2754" y="2700"/>
                  </a:lnTo>
                  <a:lnTo>
                    <a:pt x="2736" y="2706"/>
                  </a:lnTo>
                  <a:lnTo>
                    <a:pt x="2718" y="2724"/>
                  </a:lnTo>
                  <a:lnTo>
                    <a:pt x="2712" y="2742"/>
                  </a:lnTo>
                  <a:lnTo>
                    <a:pt x="2700" y="2760"/>
                  </a:lnTo>
                  <a:lnTo>
                    <a:pt x="2694" y="2778"/>
                  </a:lnTo>
                  <a:lnTo>
                    <a:pt x="2688" y="2784"/>
                  </a:lnTo>
                  <a:lnTo>
                    <a:pt x="2664" y="2796"/>
                  </a:lnTo>
                  <a:lnTo>
                    <a:pt x="2652" y="2796"/>
                  </a:lnTo>
                  <a:lnTo>
                    <a:pt x="2646" y="2790"/>
                  </a:lnTo>
                  <a:lnTo>
                    <a:pt x="2640" y="2802"/>
                  </a:lnTo>
                  <a:lnTo>
                    <a:pt x="2634" y="2808"/>
                  </a:lnTo>
                  <a:lnTo>
                    <a:pt x="2634" y="2832"/>
                  </a:lnTo>
                  <a:lnTo>
                    <a:pt x="2628" y="2838"/>
                  </a:lnTo>
                  <a:lnTo>
                    <a:pt x="2622" y="2838"/>
                  </a:lnTo>
                  <a:lnTo>
                    <a:pt x="2586" y="2856"/>
                  </a:lnTo>
                  <a:lnTo>
                    <a:pt x="2562" y="2880"/>
                  </a:lnTo>
                  <a:lnTo>
                    <a:pt x="2562" y="2886"/>
                  </a:lnTo>
                  <a:lnTo>
                    <a:pt x="2568" y="2886"/>
                  </a:lnTo>
                  <a:lnTo>
                    <a:pt x="2580" y="2880"/>
                  </a:lnTo>
                  <a:lnTo>
                    <a:pt x="2592" y="2880"/>
                  </a:lnTo>
                  <a:lnTo>
                    <a:pt x="2598" y="2886"/>
                  </a:lnTo>
                  <a:lnTo>
                    <a:pt x="2610" y="2880"/>
                  </a:lnTo>
                  <a:lnTo>
                    <a:pt x="2616" y="2868"/>
                  </a:lnTo>
                  <a:lnTo>
                    <a:pt x="2628" y="2862"/>
                  </a:lnTo>
                  <a:lnTo>
                    <a:pt x="2658" y="2862"/>
                  </a:lnTo>
                  <a:lnTo>
                    <a:pt x="2658" y="2856"/>
                  </a:lnTo>
                  <a:lnTo>
                    <a:pt x="2664" y="2844"/>
                  </a:lnTo>
                  <a:lnTo>
                    <a:pt x="2676" y="2838"/>
                  </a:lnTo>
                  <a:lnTo>
                    <a:pt x="2682" y="2832"/>
                  </a:lnTo>
                  <a:lnTo>
                    <a:pt x="2754" y="2832"/>
                  </a:lnTo>
                  <a:lnTo>
                    <a:pt x="2766" y="2838"/>
                  </a:lnTo>
                  <a:lnTo>
                    <a:pt x="2790" y="2820"/>
                  </a:lnTo>
                  <a:lnTo>
                    <a:pt x="2856" y="2820"/>
                  </a:lnTo>
                  <a:lnTo>
                    <a:pt x="2862" y="2814"/>
                  </a:lnTo>
                  <a:lnTo>
                    <a:pt x="2862" y="2790"/>
                  </a:lnTo>
                  <a:lnTo>
                    <a:pt x="2844" y="2796"/>
                  </a:lnTo>
                  <a:lnTo>
                    <a:pt x="2832" y="2796"/>
                  </a:lnTo>
                  <a:lnTo>
                    <a:pt x="2826" y="2790"/>
                  </a:lnTo>
                  <a:lnTo>
                    <a:pt x="2826" y="2784"/>
                  </a:lnTo>
                  <a:lnTo>
                    <a:pt x="2832" y="2772"/>
                  </a:lnTo>
                  <a:lnTo>
                    <a:pt x="2850" y="2754"/>
                  </a:lnTo>
                  <a:lnTo>
                    <a:pt x="2868" y="2742"/>
                  </a:lnTo>
                  <a:lnTo>
                    <a:pt x="2880" y="2736"/>
                  </a:lnTo>
                  <a:lnTo>
                    <a:pt x="2910" y="2736"/>
                  </a:lnTo>
                  <a:lnTo>
                    <a:pt x="2928" y="2730"/>
                  </a:lnTo>
                  <a:lnTo>
                    <a:pt x="2952" y="2730"/>
                  </a:lnTo>
                  <a:lnTo>
                    <a:pt x="2964" y="2724"/>
                  </a:lnTo>
                  <a:lnTo>
                    <a:pt x="2970" y="2724"/>
                  </a:lnTo>
                  <a:lnTo>
                    <a:pt x="2976" y="2718"/>
                  </a:lnTo>
                  <a:lnTo>
                    <a:pt x="2982" y="2718"/>
                  </a:lnTo>
                  <a:lnTo>
                    <a:pt x="2994" y="2724"/>
                  </a:lnTo>
                  <a:lnTo>
                    <a:pt x="3000" y="2724"/>
                  </a:lnTo>
                  <a:lnTo>
                    <a:pt x="3012" y="2730"/>
                  </a:lnTo>
                  <a:lnTo>
                    <a:pt x="3018" y="2736"/>
                  </a:lnTo>
                  <a:lnTo>
                    <a:pt x="3024" y="2736"/>
                  </a:lnTo>
                  <a:lnTo>
                    <a:pt x="3030" y="2730"/>
                  </a:lnTo>
                  <a:lnTo>
                    <a:pt x="3030" y="2712"/>
                  </a:lnTo>
                  <a:lnTo>
                    <a:pt x="3036" y="2706"/>
                  </a:lnTo>
                  <a:lnTo>
                    <a:pt x="3048" y="2700"/>
                  </a:lnTo>
                  <a:lnTo>
                    <a:pt x="3060" y="2700"/>
                  </a:lnTo>
                  <a:lnTo>
                    <a:pt x="3066" y="2706"/>
                  </a:lnTo>
                  <a:lnTo>
                    <a:pt x="3072" y="2706"/>
                  </a:lnTo>
                  <a:lnTo>
                    <a:pt x="3072" y="2700"/>
                  </a:lnTo>
                  <a:lnTo>
                    <a:pt x="3102" y="2700"/>
                  </a:lnTo>
                  <a:lnTo>
                    <a:pt x="3114" y="2688"/>
                  </a:lnTo>
                  <a:lnTo>
                    <a:pt x="3126" y="2682"/>
                  </a:lnTo>
                  <a:lnTo>
                    <a:pt x="3150" y="2658"/>
                  </a:lnTo>
                  <a:lnTo>
                    <a:pt x="3162" y="2652"/>
                  </a:lnTo>
                  <a:lnTo>
                    <a:pt x="3174" y="2640"/>
                  </a:lnTo>
                  <a:lnTo>
                    <a:pt x="3408" y="2640"/>
                  </a:lnTo>
                  <a:lnTo>
                    <a:pt x="3408" y="2634"/>
                  </a:lnTo>
                  <a:lnTo>
                    <a:pt x="3420" y="2622"/>
                  </a:lnTo>
                  <a:lnTo>
                    <a:pt x="3438" y="2622"/>
                  </a:lnTo>
                  <a:lnTo>
                    <a:pt x="3450" y="2616"/>
                  </a:lnTo>
                  <a:lnTo>
                    <a:pt x="3456" y="2616"/>
                  </a:lnTo>
                  <a:lnTo>
                    <a:pt x="3456" y="2610"/>
                  </a:lnTo>
                  <a:lnTo>
                    <a:pt x="3468" y="2598"/>
                  </a:lnTo>
                  <a:lnTo>
                    <a:pt x="3480" y="2592"/>
                  </a:lnTo>
                  <a:lnTo>
                    <a:pt x="3486" y="2586"/>
                  </a:lnTo>
                  <a:lnTo>
                    <a:pt x="3498" y="2586"/>
                  </a:lnTo>
                  <a:lnTo>
                    <a:pt x="3504" y="2592"/>
                  </a:lnTo>
                  <a:lnTo>
                    <a:pt x="3510" y="2592"/>
                  </a:lnTo>
                  <a:lnTo>
                    <a:pt x="3510" y="2568"/>
                  </a:lnTo>
                  <a:lnTo>
                    <a:pt x="3516" y="2556"/>
                  </a:lnTo>
                  <a:lnTo>
                    <a:pt x="3528" y="2544"/>
                  </a:lnTo>
                  <a:lnTo>
                    <a:pt x="3534" y="2544"/>
                  </a:lnTo>
                  <a:lnTo>
                    <a:pt x="3546" y="2532"/>
                  </a:lnTo>
                  <a:lnTo>
                    <a:pt x="3546" y="2508"/>
                  </a:lnTo>
                  <a:lnTo>
                    <a:pt x="3588" y="2484"/>
                  </a:lnTo>
                  <a:lnTo>
                    <a:pt x="3594" y="2472"/>
                  </a:lnTo>
                  <a:lnTo>
                    <a:pt x="3618" y="2448"/>
                  </a:lnTo>
                  <a:lnTo>
                    <a:pt x="3630" y="2448"/>
                  </a:lnTo>
                  <a:lnTo>
                    <a:pt x="3636" y="2454"/>
                  </a:lnTo>
                  <a:lnTo>
                    <a:pt x="3636" y="2460"/>
                  </a:lnTo>
                  <a:lnTo>
                    <a:pt x="3642" y="2466"/>
                  </a:lnTo>
                  <a:lnTo>
                    <a:pt x="3654" y="2466"/>
                  </a:lnTo>
                  <a:lnTo>
                    <a:pt x="3666" y="2460"/>
                  </a:lnTo>
                  <a:lnTo>
                    <a:pt x="3702" y="2460"/>
                  </a:lnTo>
                  <a:lnTo>
                    <a:pt x="3708" y="2466"/>
                  </a:lnTo>
                  <a:lnTo>
                    <a:pt x="3708" y="2472"/>
                  </a:lnTo>
                  <a:lnTo>
                    <a:pt x="3702" y="2496"/>
                  </a:lnTo>
                  <a:lnTo>
                    <a:pt x="3690" y="2520"/>
                  </a:lnTo>
                  <a:lnTo>
                    <a:pt x="3678" y="2550"/>
                  </a:lnTo>
                  <a:lnTo>
                    <a:pt x="3666" y="2574"/>
                  </a:lnTo>
                  <a:lnTo>
                    <a:pt x="3666" y="2586"/>
                  </a:lnTo>
                  <a:lnTo>
                    <a:pt x="3672" y="2592"/>
                  </a:lnTo>
                  <a:lnTo>
                    <a:pt x="3678" y="2592"/>
                  </a:lnTo>
                  <a:lnTo>
                    <a:pt x="3684" y="2598"/>
                  </a:lnTo>
                  <a:lnTo>
                    <a:pt x="3672" y="2610"/>
                  </a:lnTo>
                  <a:lnTo>
                    <a:pt x="3666" y="2622"/>
                  </a:lnTo>
                  <a:lnTo>
                    <a:pt x="3666" y="2628"/>
                  </a:lnTo>
                  <a:lnTo>
                    <a:pt x="3690" y="2628"/>
                  </a:lnTo>
                  <a:lnTo>
                    <a:pt x="3690" y="2634"/>
                  </a:lnTo>
                  <a:lnTo>
                    <a:pt x="3696" y="2640"/>
                  </a:lnTo>
                  <a:lnTo>
                    <a:pt x="3714" y="2640"/>
                  </a:lnTo>
                  <a:lnTo>
                    <a:pt x="3750" y="2622"/>
                  </a:lnTo>
                  <a:lnTo>
                    <a:pt x="3768" y="2604"/>
                  </a:lnTo>
                  <a:lnTo>
                    <a:pt x="3780" y="2622"/>
                  </a:lnTo>
                  <a:lnTo>
                    <a:pt x="3786" y="2622"/>
                  </a:lnTo>
                  <a:lnTo>
                    <a:pt x="3792" y="2616"/>
                  </a:lnTo>
                  <a:lnTo>
                    <a:pt x="3816" y="2604"/>
                  </a:lnTo>
                  <a:lnTo>
                    <a:pt x="3828" y="2604"/>
                  </a:lnTo>
                  <a:lnTo>
                    <a:pt x="3840" y="2592"/>
                  </a:lnTo>
                  <a:lnTo>
                    <a:pt x="3852" y="2592"/>
                  </a:lnTo>
                  <a:lnTo>
                    <a:pt x="3864" y="2580"/>
                  </a:lnTo>
                  <a:lnTo>
                    <a:pt x="3870" y="2580"/>
                  </a:lnTo>
                  <a:lnTo>
                    <a:pt x="3888" y="2586"/>
                  </a:lnTo>
                  <a:lnTo>
                    <a:pt x="3846" y="2616"/>
                  </a:lnTo>
                  <a:lnTo>
                    <a:pt x="3936" y="2610"/>
                  </a:lnTo>
                  <a:lnTo>
                    <a:pt x="3918" y="2610"/>
                  </a:lnTo>
                  <a:lnTo>
                    <a:pt x="3906" y="2616"/>
                  </a:lnTo>
                  <a:lnTo>
                    <a:pt x="3894" y="2616"/>
                  </a:lnTo>
                  <a:lnTo>
                    <a:pt x="3888" y="2622"/>
                  </a:lnTo>
                  <a:lnTo>
                    <a:pt x="3888" y="2634"/>
                  </a:lnTo>
                  <a:lnTo>
                    <a:pt x="3882" y="2640"/>
                  </a:lnTo>
                  <a:lnTo>
                    <a:pt x="3876" y="2640"/>
                  </a:lnTo>
                  <a:lnTo>
                    <a:pt x="3870" y="2634"/>
                  </a:lnTo>
                  <a:lnTo>
                    <a:pt x="3864" y="2634"/>
                  </a:lnTo>
                  <a:lnTo>
                    <a:pt x="3852" y="2628"/>
                  </a:lnTo>
                  <a:lnTo>
                    <a:pt x="3846" y="2628"/>
                  </a:lnTo>
                  <a:lnTo>
                    <a:pt x="3828" y="2634"/>
                  </a:lnTo>
                  <a:lnTo>
                    <a:pt x="3738" y="2688"/>
                  </a:lnTo>
                  <a:lnTo>
                    <a:pt x="3726" y="2700"/>
                  </a:lnTo>
                  <a:lnTo>
                    <a:pt x="3720" y="2712"/>
                  </a:lnTo>
                  <a:lnTo>
                    <a:pt x="3720" y="2748"/>
                  </a:lnTo>
                  <a:lnTo>
                    <a:pt x="3726" y="2748"/>
                  </a:lnTo>
                  <a:lnTo>
                    <a:pt x="3732" y="2742"/>
                  </a:lnTo>
                  <a:lnTo>
                    <a:pt x="3738" y="2742"/>
                  </a:lnTo>
                  <a:lnTo>
                    <a:pt x="3738" y="2754"/>
                  </a:lnTo>
                  <a:lnTo>
                    <a:pt x="3744" y="2760"/>
                  </a:lnTo>
                  <a:lnTo>
                    <a:pt x="3756" y="2760"/>
                  </a:lnTo>
                  <a:lnTo>
                    <a:pt x="3762" y="2754"/>
                  </a:lnTo>
                  <a:lnTo>
                    <a:pt x="3768" y="2742"/>
                  </a:lnTo>
                  <a:lnTo>
                    <a:pt x="3774" y="2736"/>
                  </a:lnTo>
                  <a:lnTo>
                    <a:pt x="3786" y="2736"/>
                  </a:lnTo>
                  <a:lnTo>
                    <a:pt x="3804" y="2730"/>
                  </a:lnTo>
                  <a:lnTo>
                    <a:pt x="3816" y="2724"/>
                  </a:lnTo>
                  <a:lnTo>
                    <a:pt x="3834" y="2718"/>
                  </a:lnTo>
                  <a:lnTo>
                    <a:pt x="3846" y="2706"/>
                  </a:lnTo>
                  <a:lnTo>
                    <a:pt x="3852" y="2694"/>
                  </a:lnTo>
                  <a:lnTo>
                    <a:pt x="3870" y="2676"/>
                  </a:lnTo>
                  <a:lnTo>
                    <a:pt x="3876" y="2664"/>
                  </a:lnTo>
                  <a:lnTo>
                    <a:pt x="3876" y="2670"/>
                  </a:lnTo>
                  <a:lnTo>
                    <a:pt x="3882" y="2682"/>
                  </a:lnTo>
                  <a:lnTo>
                    <a:pt x="3888" y="2688"/>
                  </a:lnTo>
                  <a:lnTo>
                    <a:pt x="3894" y="2688"/>
                  </a:lnTo>
                  <a:lnTo>
                    <a:pt x="3930" y="2676"/>
                  </a:lnTo>
                  <a:lnTo>
                    <a:pt x="3954" y="2664"/>
                  </a:lnTo>
                  <a:lnTo>
                    <a:pt x="3972" y="2658"/>
                  </a:lnTo>
                  <a:lnTo>
                    <a:pt x="3984" y="2652"/>
                  </a:lnTo>
                  <a:lnTo>
                    <a:pt x="4008" y="2646"/>
                  </a:lnTo>
                  <a:lnTo>
                    <a:pt x="4068" y="2634"/>
                  </a:lnTo>
                  <a:lnTo>
                    <a:pt x="4080" y="2628"/>
                  </a:lnTo>
                  <a:lnTo>
                    <a:pt x="4068" y="2616"/>
                  </a:lnTo>
                  <a:lnTo>
                    <a:pt x="4074" y="2598"/>
                  </a:lnTo>
                  <a:lnTo>
                    <a:pt x="4038" y="2604"/>
                  </a:lnTo>
                  <a:lnTo>
                    <a:pt x="4038" y="2580"/>
                  </a:lnTo>
                  <a:lnTo>
                    <a:pt x="4026" y="2586"/>
                  </a:lnTo>
                  <a:lnTo>
                    <a:pt x="4020" y="2586"/>
                  </a:lnTo>
                  <a:lnTo>
                    <a:pt x="4008" y="2592"/>
                  </a:lnTo>
                  <a:lnTo>
                    <a:pt x="4002" y="2598"/>
                  </a:lnTo>
                  <a:lnTo>
                    <a:pt x="3990" y="2598"/>
                  </a:lnTo>
                  <a:lnTo>
                    <a:pt x="3990" y="2580"/>
                  </a:lnTo>
                  <a:lnTo>
                    <a:pt x="3930" y="2580"/>
                  </a:lnTo>
                  <a:lnTo>
                    <a:pt x="3924" y="2574"/>
                  </a:lnTo>
                  <a:lnTo>
                    <a:pt x="3924" y="2568"/>
                  </a:lnTo>
                  <a:lnTo>
                    <a:pt x="3918" y="2562"/>
                  </a:lnTo>
                  <a:lnTo>
                    <a:pt x="3918" y="2556"/>
                  </a:lnTo>
                  <a:lnTo>
                    <a:pt x="3930" y="2556"/>
                  </a:lnTo>
                  <a:lnTo>
                    <a:pt x="3918" y="2544"/>
                  </a:lnTo>
                  <a:lnTo>
                    <a:pt x="3888" y="2544"/>
                  </a:lnTo>
                  <a:lnTo>
                    <a:pt x="3882" y="2532"/>
                  </a:lnTo>
                  <a:lnTo>
                    <a:pt x="3882" y="2526"/>
                  </a:lnTo>
                  <a:lnTo>
                    <a:pt x="3876" y="2514"/>
                  </a:lnTo>
                  <a:lnTo>
                    <a:pt x="3876" y="2502"/>
                  </a:lnTo>
                  <a:lnTo>
                    <a:pt x="3894" y="2484"/>
                  </a:lnTo>
                  <a:lnTo>
                    <a:pt x="3870" y="2484"/>
                  </a:lnTo>
                  <a:lnTo>
                    <a:pt x="3876" y="2478"/>
                  </a:lnTo>
                  <a:lnTo>
                    <a:pt x="3888" y="2472"/>
                  </a:lnTo>
                  <a:lnTo>
                    <a:pt x="3894" y="2460"/>
                  </a:lnTo>
                  <a:lnTo>
                    <a:pt x="3906" y="2454"/>
                  </a:lnTo>
                  <a:lnTo>
                    <a:pt x="3918" y="2442"/>
                  </a:lnTo>
                  <a:lnTo>
                    <a:pt x="3924" y="2430"/>
                  </a:lnTo>
                  <a:lnTo>
                    <a:pt x="3936" y="2424"/>
                  </a:lnTo>
                  <a:lnTo>
                    <a:pt x="3942" y="2412"/>
                  </a:lnTo>
                  <a:lnTo>
                    <a:pt x="3948" y="2406"/>
                  </a:lnTo>
                  <a:lnTo>
                    <a:pt x="3936" y="2400"/>
                  </a:lnTo>
                  <a:lnTo>
                    <a:pt x="3912" y="2430"/>
                  </a:lnTo>
                  <a:lnTo>
                    <a:pt x="3894" y="2418"/>
                  </a:lnTo>
                  <a:lnTo>
                    <a:pt x="3864" y="2436"/>
                  </a:lnTo>
                  <a:lnTo>
                    <a:pt x="3858" y="2418"/>
                  </a:lnTo>
                  <a:lnTo>
                    <a:pt x="3828" y="2406"/>
                  </a:lnTo>
                  <a:lnTo>
                    <a:pt x="3810" y="2412"/>
                  </a:lnTo>
                  <a:lnTo>
                    <a:pt x="3864" y="2394"/>
                  </a:lnTo>
                  <a:lnTo>
                    <a:pt x="3870" y="2400"/>
                  </a:lnTo>
                  <a:lnTo>
                    <a:pt x="3882" y="2406"/>
                  </a:lnTo>
                  <a:lnTo>
                    <a:pt x="3900" y="2406"/>
                  </a:lnTo>
                  <a:lnTo>
                    <a:pt x="3918" y="2388"/>
                  </a:lnTo>
                  <a:lnTo>
                    <a:pt x="3930" y="2382"/>
                  </a:lnTo>
                  <a:lnTo>
                    <a:pt x="3936" y="2376"/>
                  </a:lnTo>
                  <a:lnTo>
                    <a:pt x="3978" y="2376"/>
                  </a:lnTo>
                  <a:lnTo>
                    <a:pt x="3978" y="2364"/>
                  </a:lnTo>
                  <a:lnTo>
                    <a:pt x="3972" y="2358"/>
                  </a:lnTo>
                  <a:lnTo>
                    <a:pt x="3966" y="2346"/>
                  </a:lnTo>
                  <a:lnTo>
                    <a:pt x="3990" y="2346"/>
                  </a:lnTo>
                  <a:lnTo>
                    <a:pt x="3978" y="2334"/>
                  </a:lnTo>
                  <a:lnTo>
                    <a:pt x="3972" y="2322"/>
                  </a:lnTo>
                  <a:lnTo>
                    <a:pt x="3960" y="2316"/>
                  </a:lnTo>
                  <a:lnTo>
                    <a:pt x="3942" y="2310"/>
                  </a:lnTo>
                  <a:lnTo>
                    <a:pt x="3918" y="2310"/>
                  </a:lnTo>
                  <a:lnTo>
                    <a:pt x="3852" y="2316"/>
                  </a:lnTo>
                  <a:lnTo>
                    <a:pt x="3792" y="2334"/>
                  </a:lnTo>
                  <a:lnTo>
                    <a:pt x="3744" y="2352"/>
                  </a:lnTo>
                  <a:lnTo>
                    <a:pt x="3684" y="2376"/>
                  </a:lnTo>
                  <a:lnTo>
                    <a:pt x="3660" y="2388"/>
                  </a:lnTo>
                  <a:lnTo>
                    <a:pt x="3642" y="2400"/>
                  </a:lnTo>
                  <a:lnTo>
                    <a:pt x="3624" y="2418"/>
                  </a:lnTo>
                  <a:lnTo>
                    <a:pt x="3606" y="2430"/>
                  </a:lnTo>
                  <a:lnTo>
                    <a:pt x="3594" y="2442"/>
                  </a:lnTo>
                  <a:lnTo>
                    <a:pt x="3576" y="2454"/>
                  </a:lnTo>
                  <a:lnTo>
                    <a:pt x="3564" y="2466"/>
                  </a:lnTo>
                  <a:lnTo>
                    <a:pt x="3528" y="2484"/>
                  </a:lnTo>
                  <a:lnTo>
                    <a:pt x="3516" y="2484"/>
                  </a:lnTo>
                  <a:lnTo>
                    <a:pt x="3498" y="2490"/>
                  </a:lnTo>
                  <a:lnTo>
                    <a:pt x="3486" y="2490"/>
                  </a:lnTo>
                  <a:lnTo>
                    <a:pt x="3492" y="2490"/>
                  </a:lnTo>
                  <a:lnTo>
                    <a:pt x="3498" y="2484"/>
                  </a:lnTo>
                  <a:lnTo>
                    <a:pt x="3510" y="2478"/>
                  </a:lnTo>
                  <a:lnTo>
                    <a:pt x="3522" y="2466"/>
                  </a:lnTo>
                  <a:lnTo>
                    <a:pt x="3540" y="2460"/>
                  </a:lnTo>
                  <a:lnTo>
                    <a:pt x="3552" y="2448"/>
                  </a:lnTo>
                  <a:lnTo>
                    <a:pt x="3576" y="2436"/>
                  </a:lnTo>
                  <a:lnTo>
                    <a:pt x="3600" y="2412"/>
                  </a:lnTo>
                  <a:lnTo>
                    <a:pt x="3606" y="2400"/>
                  </a:lnTo>
                  <a:lnTo>
                    <a:pt x="3582" y="2388"/>
                  </a:lnTo>
                  <a:lnTo>
                    <a:pt x="3588" y="2388"/>
                  </a:lnTo>
                  <a:lnTo>
                    <a:pt x="3594" y="2394"/>
                  </a:lnTo>
                  <a:lnTo>
                    <a:pt x="3624" y="2394"/>
                  </a:lnTo>
                  <a:lnTo>
                    <a:pt x="3642" y="2382"/>
                  </a:lnTo>
                  <a:lnTo>
                    <a:pt x="3702" y="2334"/>
                  </a:lnTo>
                  <a:lnTo>
                    <a:pt x="3750" y="2310"/>
                  </a:lnTo>
                  <a:lnTo>
                    <a:pt x="3768" y="2304"/>
                  </a:lnTo>
                  <a:lnTo>
                    <a:pt x="3804" y="2304"/>
                  </a:lnTo>
                  <a:lnTo>
                    <a:pt x="3852" y="2256"/>
                  </a:lnTo>
                  <a:lnTo>
                    <a:pt x="3870" y="2244"/>
                  </a:lnTo>
                  <a:lnTo>
                    <a:pt x="3888" y="2238"/>
                  </a:lnTo>
                  <a:lnTo>
                    <a:pt x="3936" y="2232"/>
                  </a:lnTo>
                  <a:lnTo>
                    <a:pt x="3990" y="2232"/>
                  </a:lnTo>
                  <a:lnTo>
                    <a:pt x="4044" y="2226"/>
                  </a:lnTo>
                  <a:lnTo>
                    <a:pt x="4074" y="2226"/>
                  </a:lnTo>
                  <a:lnTo>
                    <a:pt x="4104" y="2232"/>
                  </a:lnTo>
                  <a:lnTo>
                    <a:pt x="4176" y="2244"/>
                  </a:lnTo>
                  <a:lnTo>
                    <a:pt x="4200" y="2250"/>
                  </a:lnTo>
                  <a:lnTo>
                    <a:pt x="4212" y="2244"/>
                  </a:lnTo>
                  <a:lnTo>
                    <a:pt x="4248" y="2232"/>
                  </a:lnTo>
                  <a:lnTo>
                    <a:pt x="4260" y="2226"/>
                  </a:lnTo>
                  <a:lnTo>
                    <a:pt x="4278" y="2226"/>
                  </a:lnTo>
                  <a:lnTo>
                    <a:pt x="4296" y="2220"/>
                  </a:lnTo>
                  <a:lnTo>
                    <a:pt x="4320" y="2214"/>
                  </a:lnTo>
                  <a:lnTo>
                    <a:pt x="4338" y="2208"/>
                  </a:lnTo>
                  <a:lnTo>
                    <a:pt x="4374" y="2172"/>
                  </a:lnTo>
                  <a:lnTo>
                    <a:pt x="4392" y="2166"/>
                  </a:lnTo>
                  <a:lnTo>
                    <a:pt x="4404" y="2154"/>
                  </a:lnTo>
                  <a:lnTo>
                    <a:pt x="4410" y="2154"/>
                  </a:lnTo>
                  <a:lnTo>
                    <a:pt x="4422" y="2148"/>
                  </a:lnTo>
                  <a:lnTo>
                    <a:pt x="4452" y="2148"/>
                  </a:lnTo>
                  <a:lnTo>
                    <a:pt x="4458" y="2142"/>
                  </a:lnTo>
                  <a:lnTo>
                    <a:pt x="4470" y="2136"/>
                  </a:lnTo>
                  <a:lnTo>
                    <a:pt x="4476" y="2130"/>
                  </a:lnTo>
                  <a:lnTo>
                    <a:pt x="4494" y="2130"/>
                  </a:lnTo>
                  <a:lnTo>
                    <a:pt x="4500" y="2136"/>
                  </a:lnTo>
                  <a:lnTo>
                    <a:pt x="4518" y="2136"/>
                  </a:lnTo>
                  <a:lnTo>
                    <a:pt x="4530" y="2130"/>
                  </a:lnTo>
                  <a:lnTo>
                    <a:pt x="4536" y="2130"/>
                  </a:lnTo>
                  <a:lnTo>
                    <a:pt x="4542" y="2124"/>
                  </a:lnTo>
                  <a:lnTo>
                    <a:pt x="4596" y="2106"/>
                  </a:lnTo>
                  <a:lnTo>
                    <a:pt x="4620" y="2094"/>
                  </a:lnTo>
                  <a:lnTo>
                    <a:pt x="4620" y="2088"/>
                  </a:lnTo>
                  <a:lnTo>
                    <a:pt x="4614" y="2076"/>
                  </a:lnTo>
                  <a:lnTo>
                    <a:pt x="4602" y="2070"/>
                  </a:lnTo>
                  <a:lnTo>
                    <a:pt x="4584" y="2052"/>
                  </a:lnTo>
                  <a:lnTo>
                    <a:pt x="4578" y="2052"/>
                  </a:lnTo>
                  <a:lnTo>
                    <a:pt x="4602" y="2052"/>
                  </a:lnTo>
                  <a:lnTo>
                    <a:pt x="4614" y="2046"/>
                  </a:lnTo>
                  <a:lnTo>
                    <a:pt x="4614" y="2028"/>
                  </a:lnTo>
                  <a:lnTo>
                    <a:pt x="4608" y="2022"/>
                  </a:lnTo>
                  <a:lnTo>
                    <a:pt x="4608" y="2010"/>
                  </a:lnTo>
                  <a:lnTo>
                    <a:pt x="4632" y="2010"/>
                  </a:lnTo>
                  <a:lnTo>
                    <a:pt x="4644" y="1998"/>
                  </a:lnTo>
                  <a:lnTo>
                    <a:pt x="4644" y="1992"/>
                  </a:lnTo>
                  <a:lnTo>
                    <a:pt x="4632" y="1980"/>
                  </a:lnTo>
                  <a:lnTo>
                    <a:pt x="4626" y="1968"/>
                  </a:lnTo>
                  <a:lnTo>
                    <a:pt x="4608" y="1962"/>
                  </a:lnTo>
                  <a:lnTo>
                    <a:pt x="4602" y="1956"/>
                  </a:lnTo>
                  <a:lnTo>
                    <a:pt x="4590" y="196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35" name="Kamerun" descr="© INSCALE GmbH, 05.05.2010&#10;http://www.presentationload.com/">
              <a:extLst>
                <a:ext uri="{FF2B5EF4-FFF2-40B4-BE49-F238E27FC236}">
                  <a16:creationId xmlns:a16="http://schemas.microsoft.com/office/drawing/2014/main" id="{FB9B9944-0B96-42D5-A80A-F40E52E7533D}"/>
                </a:ext>
              </a:extLst>
            </p:cNvPr>
            <p:cNvSpPr>
              <a:spLocks/>
            </p:cNvSpPr>
            <p:nvPr/>
          </p:nvSpPr>
          <p:spPr bwMode="gray">
            <a:xfrm>
              <a:off x="4370835" y="3830832"/>
              <a:ext cx="216387" cy="368486"/>
            </a:xfrm>
            <a:custGeom>
              <a:avLst/>
              <a:gdLst>
                <a:gd name="T0" fmla="*/ 2147483647 w 546"/>
                <a:gd name="T1" fmla="*/ 0 h 924"/>
                <a:gd name="T2" fmla="*/ 2147483647 w 546"/>
                <a:gd name="T3" fmla="*/ 2147483647 h 924"/>
                <a:gd name="T4" fmla="*/ 2147483647 w 546"/>
                <a:gd name="T5" fmla="*/ 2147483647 h 924"/>
                <a:gd name="T6" fmla="*/ 2147483647 w 546"/>
                <a:gd name="T7" fmla="*/ 2147483647 h 924"/>
                <a:gd name="T8" fmla="*/ 2147483647 w 546"/>
                <a:gd name="T9" fmla="*/ 2147483647 h 924"/>
                <a:gd name="T10" fmla="*/ 2147483647 w 546"/>
                <a:gd name="T11" fmla="*/ 2147483647 h 924"/>
                <a:gd name="T12" fmla="*/ 2147483647 w 546"/>
                <a:gd name="T13" fmla="*/ 2147483647 h 924"/>
                <a:gd name="T14" fmla="*/ 2147483647 w 546"/>
                <a:gd name="T15" fmla="*/ 2147483647 h 924"/>
                <a:gd name="T16" fmla="*/ 2147483647 w 546"/>
                <a:gd name="T17" fmla="*/ 2147483647 h 924"/>
                <a:gd name="T18" fmla="*/ 2147483647 w 546"/>
                <a:gd name="T19" fmla="*/ 2147483647 h 924"/>
                <a:gd name="T20" fmla="*/ 2147483647 w 546"/>
                <a:gd name="T21" fmla="*/ 2147483647 h 924"/>
                <a:gd name="T22" fmla="*/ 2147483647 w 546"/>
                <a:gd name="T23" fmla="*/ 2147483647 h 924"/>
                <a:gd name="T24" fmla="*/ 2147483647 w 546"/>
                <a:gd name="T25" fmla="*/ 2147483647 h 924"/>
                <a:gd name="T26" fmla="*/ 2147483647 w 546"/>
                <a:gd name="T27" fmla="*/ 2147483647 h 924"/>
                <a:gd name="T28" fmla="*/ 2147483647 w 546"/>
                <a:gd name="T29" fmla="*/ 2147483647 h 924"/>
                <a:gd name="T30" fmla="*/ 2147483647 w 546"/>
                <a:gd name="T31" fmla="*/ 2147483647 h 924"/>
                <a:gd name="T32" fmla="*/ 2147483647 w 546"/>
                <a:gd name="T33" fmla="*/ 2147483647 h 924"/>
                <a:gd name="T34" fmla="*/ 2147483647 w 546"/>
                <a:gd name="T35" fmla="*/ 2147483647 h 924"/>
                <a:gd name="T36" fmla="*/ 2147483647 w 546"/>
                <a:gd name="T37" fmla="*/ 2147483647 h 924"/>
                <a:gd name="T38" fmla="*/ 2147483647 w 546"/>
                <a:gd name="T39" fmla="*/ 2147483647 h 924"/>
                <a:gd name="T40" fmla="*/ 2147483647 w 546"/>
                <a:gd name="T41" fmla="*/ 2147483647 h 924"/>
                <a:gd name="T42" fmla="*/ 2147483647 w 546"/>
                <a:gd name="T43" fmla="*/ 2147483647 h 924"/>
                <a:gd name="T44" fmla="*/ 2147483647 w 546"/>
                <a:gd name="T45" fmla="*/ 2147483647 h 924"/>
                <a:gd name="T46" fmla="*/ 2147483647 w 546"/>
                <a:gd name="T47" fmla="*/ 2147483647 h 924"/>
                <a:gd name="T48" fmla="*/ 2147483647 w 546"/>
                <a:gd name="T49" fmla="*/ 2147483647 h 924"/>
                <a:gd name="T50" fmla="*/ 2147483647 w 546"/>
                <a:gd name="T51" fmla="*/ 2147483647 h 924"/>
                <a:gd name="T52" fmla="*/ 2147483647 w 546"/>
                <a:gd name="T53" fmla="*/ 2147483647 h 924"/>
                <a:gd name="T54" fmla="*/ 2147483647 w 546"/>
                <a:gd name="T55" fmla="*/ 2147483647 h 924"/>
                <a:gd name="T56" fmla="*/ 2147483647 w 546"/>
                <a:gd name="T57" fmla="*/ 2147483647 h 924"/>
                <a:gd name="T58" fmla="*/ 2147483647 w 546"/>
                <a:gd name="T59" fmla="*/ 2147483647 h 924"/>
                <a:gd name="T60" fmla="*/ 2147483647 w 546"/>
                <a:gd name="T61" fmla="*/ 2147483647 h 924"/>
                <a:gd name="T62" fmla="*/ 2147483647 w 546"/>
                <a:gd name="T63" fmla="*/ 2147483647 h 924"/>
                <a:gd name="T64" fmla="*/ 2147483647 w 546"/>
                <a:gd name="T65" fmla="*/ 2147483647 h 924"/>
                <a:gd name="T66" fmla="*/ 2147483647 w 546"/>
                <a:gd name="T67" fmla="*/ 2147483647 h 924"/>
                <a:gd name="T68" fmla="*/ 2147483647 w 546"/>
                <a:gd name="T69" fmla="*/ 2147483647 h 924"/>
                <a:gd name="T70" fmla="*/ 2147483647 w 546"/>
                <a:gd name="T71" fmla="*/ 2147483647 h 924"/>
                <a:gd name="T72" fmla="*/ 2147483647 w 546"/>
                <a:gd name="T73" fmla="*/ 2147483647 h 924"/>
                <a:gd name="T74" fmla="*/ 2147483647 w 546"/>
                <a:gd name="T75" fmla="*/ 2147483647 h 924"/>
                <a:gd name="T76" fmla="*/ 2147483647 w 546"/>
                <a:gd name="T77" fmla="*/ 2147483647 h 924"/>
                <a:gd name="T78" fmla="*/ 2147483647 w 546"/>
                <a:gd name="T79" fmla="*/ 2147483647 h 924"/>
                <a:gd name="T80" fmla="*/ 2147483647 w 546"/>
                <a:gd name="T81" fmla="*/ 2147483647 h 924"/>
                <a:gd name="T82" fmla="*/ 2147483647 w 546"/>
                <a:gd name="T83" fmla="*/ 2147483647 h 924"/>
                <a:gd name="T84" fmla="*/ 2147483647 w 546"/>
                <a:gd name="T85" fmla="*/ 2147483647 h 924"/>
                <a:gd name="T86" fmla="*/ 2147483647 w 546"/>
                <a:gd name="T87" fmla="*/ 2147483647 h 924"/>
                <a:gd name="T88" fmla="*/ 2147483647 w 546"/>
                <a:gd name="T89" fmla="*/ 2147483647 h 924"/>
                <a:gd name="T90" fmla="*/ 2147483647 w 546"/>
                <a:gd name="T91" fmla="*/ 2147483647 h 924"/>
                <a:gd name="T92" fmla="*/ 2147483647 w 546"/>
                <a:gd name="T93" fmla="*/ 2147483647 h 924"/>
                <a:gd name="T94" fmla="*/ 2147483647 w 546"/>
                <a:gd name="T95" fmla="*/ 2147483647 h 924"/>
                <a:gd name="T96" fmla="*/ 2147483647 w 546"/>
                <a:gd name="T97" fmla="*/ 2147483647 h 924"/>
                <a:gd name="T98" fmla="*/ 2147483647 w 546"/>
                <a:gd name="T99" fmla="*/ 2147483647 h 924"/>
                <a:gd name="T100" fmla="*/ 2147483647 w 546"/>
                <a:gd name="T101" fmla="*/ 2147483647 h 924"/>
                <a:gd name="T102" fmla="*/ 2147483647 w 546"/>
                <a:gd name="T103" fmla="*/ 2147483647 h 924"/>
                <a:gd name="T104" fmla="*/ 2147483647 w 546"/>
                <a:gd name="T105" fmla="*/ 2147483647 h 924"/>
                <a:gd name="T106" fmla="*/ 2147483647 w 546"/>
                <a:gd name="T107" fmla="*/ 2147483647 h 924"/>
                <a:gd name="T108" fmla="*/ 2147483647 w 546"/>
                <a:gd name="T109" fmla="*/ 2147483647 h 924"/>
                <a:gd name="T110" fmla="*/ 2147483647 w 546"/>
                <a:gd name="T111" fmla="*/ 2147483647 h 9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46"/>
                <a:gd name="T169" fmla="*/ 0 h 924"/>
                <a:gd name="T170" fmla="*/ 546 w 546"/>
                <a:gd name="T171" fmla="*/ 924 h 9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46" h="924">
                  <a:moveTo>
                    <a:pt x="420" y="30"/>
                  </a:moveTo>
                  <a:lnTo>
                    <a:pt x="414" y="18"/>
                  </a:lnTo>
                  <a:lnTo>
                    <a:pt x="414" y="0"/>
                  </a:lnTo>
                  <a:lnTo>
                    <a:pt x="390" y="6"/>
                  </a:lnTo>
                  <a:lnTo>
                    <a:pt x="390" y="54"/>
                  </a:lnTo>
                  <a:lnTo>
                    <a:pt x="396" y="60"/>
                  </a:lnTo>
                  <a:lnTo>
                    <a:pt x="396" y="66"/>
                  </a:lnTo>
                  <a:lnTo>
                    <a:pt x="426" y="66"/>
                  </a:lnTo>
                  <a:lnTo>
                    <a:pt x="426" y="96"/>
                  </a:lnTo>
                  <a:lnTo>
                    <a:pt x="420" y="102"/>
                  </a:lnTo>
                  <a:lnTo>
                    <a:pt x="420" y="108"/>
                  </a:lnTo>
                  <a:lnTo>
                    <a:pt x="426" y="114"/>
                  </a:lnTo>
                  <a:lnTo>
                    <a:pt x="426" y="126"/>
                  </a:lnTo>
                  <a:lnTo>
                    <a:pt x="408" y="144"/>
                  </a:lnTo>
                  <a:lnTo>
                    <a:pt x="396" y="150"/>
                  </a:lnTo>
                  <a:lnTo>
                    <a:pt x="384" y="150"/>
                  </a:lnTo>
                  <a:lnTo>
                    <a:pt x="384" y="156"/>
                  </a:lnTo>
                  <a:lnTo>
                    <a:pt x="378" y="162"/>
                  </a:lnTo>
                  <a:lnTo>
                    <a:pt x="378" y="168"/>
                  </a:lnTo>
                  <a:lnTo>
                    <a:pt x="372" y="174"/>
                  </a:lnTo>
                  <a:lnTo>
                    <a:pt x="372" y="180"/>
                  </a:lnTo>
                  <a:lnTo>
                    <a:pt x="360" y="192"/>
                  </a:lnTo>
                  <a:lnTo>
                    <a:pt x="354" y="204"/>
                  </a:lnTo>
                  <a:lnTo>
                    <a:pt x="348" y="234"/>
                  </a:lnTo>
                  <a:lnTo>
                    <a:pt x="342" y="240"/>
                  </a:lnTo>
                  <a:lnTo>
                    <a:pt x="342" y="270"/>
                  </a:lnTo>
                  <a:lnTo>
                    <a:pt x="336" y="288"/>
                  </a:lnTo>
                  <a:lnTo>
                    <a:pt x="330" y="294"/>
                  </a:lnTo>
                  <a:lnTo>
                    <a:pt x="312" y="294"/>
                  </a:lnTo>
                  <a:lnTo>
                    <a:pt x="312" y="324"/>
                  </a:lnTo>
                  <a:lnTo>
                    <a:pt x="306" y="342"/>
                  </a:lnTo>
                  <a:lnTo>
                    <a:pt x="306" y="354"/>
                  </a:lnTo>
                  <a:lnTo>
                    <a:pt x="300" y="360"/>
                  </a:lnTo>
                  <a:lnTo>
                    <a:pt x="288" y="366"/>
                  </a:lnTo>
                  <a:lnTo>
                    <a:pt x="282" y="372"/>
                  </a:lnTo>
                  <a:lnTo>
                    <a:pt x="270" y="378"/>
                  </a:lnTo>
                  <a:lnTo>
                    <a:pt x="258" y="426"/>
                  </a:lnTo>
                  <a:lnTo>
                    <a:pt x="234" y="456"/>
                  </a:lnTo>
                  <a:lnTo>
                    <a:pt x="234" y="486"/>
                  </a:lnTo>
                  <a:lnTo>
                    <a:pt x="228" y="492"/>
                  </a:lnTo>
                  <a:lnTo>
                    <a:pt x="216" y="498"/>
                  </a:lnTo>
                  <a:lnTo>
                    <a:pt x="210" y="510"/>
                  </a:lnTo>
                  <a:lnTo>
                    <a:pt x="210" y="522"/>
                  </a:lnTo>
                  <a:lnTo>
                    <a:pt x="192" y="540"/>
                  </a:lnTo>
                  <a:lnTo>
                    <a:pt x="186" y="540"/>
                  </a:lnTo>
                  <a:lnTo>
                    <a:pt x="180" y="534"/>
                  </a:lnTo>
                  <a:lnTo>
                    <a:pt x="174" y="522"/>
                  </a:lnTo>
                  <a:lnTo>
                    <a:pt x="174" y="516"/>
                  </a:lnTo>
                  <a:lnTo>
                    <a:pt x="168" y="504"/>
                  </a:lnTo>
                  <a:lnTo>
                    <a:pt x="156" y="492"/>
                  </a:lnTo>
                  <a:lnTo>
                    <a:pt x="150" y="480"/>
                  </a:lnTo>
                  <a:lnTo>
                    <a:pt x="138" y="480"/>
                  </a:lnTo>
                  <a:lnTo>
                    <a:pt x="144" y="486"/>
                  </a:lnTo>
                  <a:lnTo>
                    <a:pt x="144" y="498"/>
                  </a:lnTo>
                  <a:lnTo>
                    <a:pt x="138" y="504"/>
                  </a:lnTo>
                  <a:lnTo>
                    <a:pt x="132" y="504"/>
                  </a:lnTo>
                  <a:lnTo>
                    <a:pt x="120" y="498"/>
                  </a:lnTo>
                  <a:lnTo>
                    <a:pt x="114" y="492"/>
                  </a:lnTo>
                  <a:lnTo>
                    <a:pt x="108" y="492"/>
                  </a:lnTo>
                  <a:lnTo>
                    <a:pt x="102" y="498"/>
                  </a:lnTo>
                  <a:lnTo>
                    <a:pt x="90" y="522"/>
                  </a:lnTo>
                  <a:lnTo>
                    <a:pt x="84" y="528"/>
                  </a:lnTo>
                  <a:lnTo>
                    <a:pt x="84" y="534"/>
                  </a:lnTo>
                  <a:lnTo>
                    <a:pt x="18" y="588"/>
                  </a:lnTo>
                  <a:lnTo>
                    <a:pt x="18" y="642"/>
                  </a:lnTo>
                  <a:lnTo>
                    <a:pt x="12" y="654"/>
                  </a:lnTo>
                  <a:lnTo>
                    <a:pt x="12" y="666"/>
                  </a:lnTo>
                  <a:lnTo>
                    <a:pt x="6" y="672"/>
                  </a:lnTo>
                  <a:lnTo>
                    <a:pt x="6" y="678"/>
                  </a:lnTo>
                  <a:lnTo>
                    <a:pt x="0" y="690"/>
                  </a:lnTo>
                  <a:lnTo>
                    <a:pt x="24" y="684"/>
                  </a:lnTo>
                  <a:lnTo>
                    <a:pt x="24" y="708"/>
                  </a:lnTo>
                  <a:lnTo>
                    <a:pt x="36" y="732"/>
                  </a:lnTo>
                  <a:lnTo>
                    <a:pt x="60" y="744"/>
                  </a:lnTo>
                  <a:lnTo>
                    <a:pt x="66" y="750"/>
                  </a:lnTo>
                  <a:lnTo>
                    <a:pt x="84" y="726"/>
                  </a:lnTo>
                  <a:lnTo>
                    <a:pt x="66" y="756"/>
                  </a:lnTo>
                  <a:lnTo>
                    <a:pt x="84" y="786"/>
                  </a:lnTo>
                  <a:lnTo>
                    <a:pt x="102" y="792"/>
                  </a:lnTo>
                  <a:lnTo>
                    <a:pt x="102" y="840"/>
                  </a:lnTo>
                  <a:lnTo>
                    <a:pt x="90" y="840"/>
                  </a:lnTo>
                  <a:lnTo>
                    <a:pt x="90" y="870"/>
                  </a:lnTo>
                  <a:lnTo>
                    <a:pt x="102" y="882"/>
                  </a:lnTo>
                  <a:lnTo>
                    <a:pt x="198" y="882"/>
                  </a:lnTo>
                  <a:lnTo>
                    <a:pt x="216" y="864"/>
                  </a:lnTo>
                  <a:lnTo>
                    <a:pt x="228" y="882"/>
                  </a:lnTo>
                  <a:lnTo>
                    <a:pt x="258" y="882"/>
                  </a:lnTo>
                  <a:lnTo>
                    <a:pt x="270" y="870"/>
                  </a:lnTo>
                  <a:lnTo>
                    <a:pt x="276" y="870"/>
                  </a:lnTo>
                  <a:lnTo>
                    <a:pt x="288" y="876"/>
                  </a:lnTo>
                  <a:lnTo>
                    <a:pt x="294" y="876"/>
                  </a:lnTo>
                  <a:lnTo>
                    <a:pt x="342" y="870"/>
                  </a:lnTo>
                  <a:lnTo>
                    <a:pt x="342" y="888"/>
                  </a:lnTo>
                  <a:lnTo>
                    <a:pt x="372" y="888"/>
                  </a:lnTo>
                  <a:lnTo>
                    <a:pt x="390" y="882"/>
                  </a:lnTo>
                  <a:lnTo>
                    <a:pt x="438" y="882"/>
                  </a:lnTo>
                  <a:lnTo>
                    <a:pt x="450" y="888"/>
                  </a:lnTo>
                  <a:lnTo>
                    <a:pt x="456" y="894"/>
                  </a:lnTo>
                  <a:lnTo>
                    <a:pt x="468" y="894"/>
                  </a:lnTo>
                  <a:lnTo>
                    <a:pt x="474" y="900"/>
                  </a:lnTo>
                  <a:lnTo>
                    <a:pt x="510" y="900"/>
                  </a:lnTo>
                  <a:lnTo>
                    <a:pt x="534" y="924"/>
                  </a:lnTo>
                  <a:lnTo>
                    <a:pt x="540" y="882"/>
                  </a:lnTo>
                  <a:lnTo>
                    <a:pt x="546" y="876"/>
                  </a:lnTo>
                  <a:lnTo>
                    <a:pt x="534" y="864"/>
                  </a:lnTo>
                  <a:lnTo>
                    <a:pt x="534" y="834"/>
                  </a:lnTo>
                  <a:lnTo>
                    <a:pt x="528" y="816"/>
                  </a:lnTo>
                  <a:lnTo>
                    <a:pt x="516" y="810"/>
                  </a:lnTo>
                  <a:lnTo>
                    <a:pt x="510" y="798"/>
                  </a:lnTo>
                  <a:lnTo>
                    <a:pt x="498" y="792"/>
                  </a:lnTo>
                  <a:lnTo>
                    <a:pt x="486" y="780"/>
                  </a:lnTo>
                  <a:lnTo>
                    <a:pt x="474" y="756"/>
                  </a:lnTo>
                  <a:lnTo>
                    <a:pt x="468" y="750"/>
                  </a:lnTo>
                  <a:lnTo>
                    <a:pt x="468" y="708"/>
                  </a:lnTo>
                  <a:lnTo>
                    <a:pt x="462" y="708"/>
                  </a:lnTo>
                  <a:lnTo>
                    <a:pt x="444" y="690"/>
                  </a:lnTo>
                  <a:lnTo>
                    <a:pt x="438" y="690"/>
                  </a:lnTo>
                  <a:lnTo>
                    <a:pt x="438" y="642"/>
                  </a:lnTo>
                  <a:lnTo>
                    <a:pt x="420" y="630"/>
                  </a:lnTo>
                  <a:lnTo>
                    <a:pt x="432" y="618"/>
                  </a:lnTo>
                  <a:lnTo>
                    <a:pt x="432" y="582"/>
                  </a:lnTo>
                  <a:lnTo>
                    <a:pt x="426" y="582"/>
                  </a:lnTo>
                  <a:lnTo>
                    <a:pt x="414" y="576"/>
                  </a:lnTo>
                  <a:lnTo>
                    <a:pt x="414" y="570"/>
                  </a:lnTo>
                  <a:lnTo>
                    <a:pt x="426" y="558"/>
                  </a:lnTo>
                  <a:lnTo>
                    <a:pt x="438" y="552"/>
                  </a:lnTo>
                  <a:lnTo>
                    <a:pt x="444" y="546"/>
                  </a:lnTo>
                  <a:lnTo>
                    <a:pt x="450" y="546"/>
                  </a:lnTo>
                  <a:lnTo>
                    <a:pt x="456" y="510"/>
                  </a:lnTo>
                  <a:lnTo>
                    <a:pt x="462" y="510"/>
                  </a:lnTo>
                  <a:lnTo>
                    <a:pt x="468" y="498"/>
                  </a:lnTo>
                  <a:lnTo>
                    <a:pt x="468" y="480"/>
                  </a:lnTo>
                  <a:lnTo>
                    <a:pt x="474" y="474"/>
                  </a:lnTo>
                  <a:lnTo>
                    <a:pt x="480" y="462"/>
                  </a:lnTo>
                  <a:lnTo>
                    <a:pt x="492" y="450"/>
                  </a:lnTo>
                  <a:lnTo>
                    <a:pt x="498" y="450"/>
                  </a:lnTo>
                  <a:lnTo>
                    <a:pt x="498" y="438"/>
                  </a:lnTo>
                  <a:lnTo>
                    <a:pt x="492" y="420"/>
                  </a:lnTo>
                  <a:lnTo>
                    <a:pt x="486" y="408"/>
                  </a:lnTo>
                  <a:lnTo>
                    <a:pt x="486" y="390"/>
                  </a:lnTo>
                  <a:lnTo>
                    <a:pt x="474" y="366"/>
                  </a:lnTo>
                  <a:lnTo>
                    <a:pt x="462" y="354"/>
                  </a:lnTo>
                  <a:lnTo>
                    <a:pt x="450" y="348"/>
                  </a:lnTo>
                  <a:lnTo>
                    <a:pt x="432" y="336"/>
                  </a:lnTo>
                  <a:lnTo>
                    <a:pt x="420" y="324"/>
                  </a:lnTo>
                  <a:lnTo>
                    <a:pt x="414" y="312"/>
                  </a:lnTo>
                  <a:lnTo>
                    <a:pt x="402" y="300"/>
                  </a:lnTo>
                  <a:lnTo>
                    <a:pt x="390" y="276"/>
                  </a:lnTo>
                  <a:lnTo>
                    <a:pt x="390" y="264"/>
                  </a:lnTo>
                  <a:lnTo>
                    <a:pt x="396" y="258"/>
                  </a:lnTo>
                  <a:lnTo>
                    <a:pt x="408" y="252"/>
                  </a:lnTo>
                  <a:lnTo>
                    <a:pt x="504" y="252"/>
                  </a:lnTo>
                  <a:lnTo>
                    <a:pt x="486" y="234"/>
                  </a:lnTo>
                  <a:lnTo>
                    <a:pt x="480" y="222"/>
                  </a:lnTo>
                  <a:lnTo>
                    <a:pt x="468" y="216"/>
                  </a:lnTo>
                  <a:lnTo>
                    <a:pt x="462" y="204"/>
                  </a:lnTo>
                  <a:lnTo>
                    <a:pt x="462" y="186"/>
                  </a:lnTo>
                  <a:lnTo>
                    <a:pt x="456" y="168"/>
                  </a:lnTo>
                  <a:lnTo>
                    <a:pt x="456" y="132"/>
                  </a:lnTo>
                  <a:lnTo>
                    <a:pt x="462" y="132"/>
                  </a:lnTo>
                  <a:lnTo>
                    <a:pt x="462" y="96"/>
                  </a:lnTo>
                  <a:lnTo>
                    <a:pt x="456" y="84"/>
                  </a:lnTo>
                  <a:lnTo>
                    <a:pt x="444" y="78"/>
                  </a:lnTo>
                  <a:lnTo>
                    <a:pt x="450" y="42"/>
                  </a:lnTo>
                  <a:lnTo>
                    <a:pt x="444" y="42"/>
                  </a:lnTo>
                  <a:lnTo>
                    <a:pt x="438" y="36"/>
                  </a:lnTo>
                  <a:lnTo>
                    <a:pt x="426" y="36"/>
                  </a:lnTo>
                  <a:lnTo>
                    <a:pt x="420" y="3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36" name="Kambodia" descr="© INSCALE GmbH, 05.05.2010&#10;http://www.presentationload.com/">
              <a:extLst>
                <a:ext uri="{FF2B5EF4-FFF2-40B4-BE49-F238E27FC236}">
                  <a16:creationId xmlns:a16="http://schemas.microsoft.com/office/drawing/2014/main" id="{946249F0-4414-4B15-955B-D44272B6E59F}"/>
                </a:ext>
              </a:extLst>
            </p:cNvPr>
            <p:cNvSpPr>
              <a:spLocks/>
            </p:cNvSpPr>
            <p:nvPr/>
          </p:nvSpPr>
          <p:spPr bwMode="gray">
            <a:xfrm>
              <a:off x="7006681" y="3786927"/>
              <a:ext cx="150530" cy="133282"/>
            </a:xfrm>
            <a:custGeom>
              <a:avLst/>
              <a:gdLst>
                <a:gd name="T0" fmla="*/ 2147483647 w 378"/>
                <a:gd name="T1" fmla="*/ 2147483647 h 336"/>
                <a:gd name="T2" fmla="*/ 2147483647 w 378"/>
                <a:gd name="T3" fmla="*/ 2147483647 h 336"/>
                <a:gd name="T4" fmla="*/ 2147483647 w 378"/>
                <a:gd name="T5" fmla="*/ 2147483647 h 336"/>
                <a:gd name="T6" fmla="*/ 2147483647 w 378"/>
                <a:gd name="T7" fmla="*/ 2147483647 h 336"/>
                <a:gd name="T8" fmla="*/ 2147483647 w 378"/>
                <a:gd name="T9" fmla="*/ 2147483647 h 336"/>
                <a:gd name="T10" fmla="*/ 2147483647 w 378"/>
                <a:gd name="T11" fmla="*/ 2147483647 h 336"/>
                <a:gd name="T12" fmla="*/ 2147483647 w 378"/>
                <a:gd name="T13" fmla="*/ 2147483647 h 336"/>
                <a:gd name="T14" fmla="*/ 2147483647 w 378"/>
                <a:gd name="T15" fmla="*/ 2147483647 h 336"/>
                <a:gd name="T16" fmla="*/ 2147483647 w 378"/>
                <a:gd name="T17" fmla="*/ 2147483647 h 336"/>
                <a:gd name="T18" fmla="*/ 2147483647 w 378"/>
                <a:gd name="T19" fmla="*/ 2147483647 h 336"/>
                <a:gd name="T20" fmla="*/ 2147483647 w 378"/>
                <a:gd name="T21" fmla="*/ 2147483647 h 336"/>
                <a:gd name="T22" fmla="*/ 2147483647 w 378"/>
                <a:gd name="T23" fmla="*/ 2147483647 h 336"/>
                <a:gd name="T24" fmla="*/ 2147483647 w 378"/>
                <a:gd name="T25" fmla="*/ 2147483647 h 336"/>
                <a:gd name="T26" fmla="*/ 2147483647 w 378"/>
                <a:gd name="T27" fmla="*/ 2147483647 h 336"/>
                <a:gd name="T28" fmla="*/ 0 w 378"/>
                <a:gd name="T29" fmla="*/ 2147483647 h 336"/>
                <a:gd name="T30" fmla="*/ 2147483647 w 378"/>
                <a:gd name="T31" fmla="*/ 2147483647 h 336"/>
                <a:gd name="T32" fmla="*/ 2147483647 w 378"/>
                <a:gd name="T33" fmla="*/ 2147483647 h 336"/>
                <a:gd name="T34" fmla="*/ 2147483647 w 378"/>
                <a:gd name="T35" fmla="*/ 2147483647 h 336"/>
                <a:gd name="T36" fmla="*/ 2147483647 w 378"/>
                <a:gd name="T37" fmla="*/ 2147483647 h 336"/>
                <a:gd name="T38" fmla="*/ 2147483647 w 378"/>
                <a:gd name="T39" fmla="*/ 2147483647 h 336"/>
                <a:gd name="T40" fmla="*/ 2147483647 w 378"/>
                <a:gd name="T41" fmla="*/ 2147483647 h 336"/>
                <a:gd name="T42" fmla="*/ 2147483647 w 378"/>
                <a:gd name="T43" fmla="*/ 2147483647 h 336"/>
                <a:gd name="T44" fmla="*/ 2147483647 w 378"/>
                <a:gd name="T45" fmla="*/ 2147483647 h 336"/>
                <a:gd name="T46" fmla="*/ 2147483647 w 378"/>
                <a:gd name="T47" fmla="*/ 2147483647 h 336"/>
                <a:gd name="T48" fmla="*/ 2147483647 w 378"/>
                <a:gd name="T49" fmla="*/ 2147483647 h 336"/>
                <a:gd name="T50" fmla="*/ 2147483647 w 378"/>
                <a:gd name="T51" fmla="*/ 2147483647 h 336"/>
                <a:gd name="T52" fmla="*/ 2147483647 w 378"/>
                <a:gd name="T53" fmla="*/ 2147483647 h 336"/>
                <a:gd name="T54" fmla="*/ 2147483647 w 378"/>
                <a:gd name="T55" fmla="*/ 2147483647 h 336"/>
                <a:gd name="T56" fmla="*/ 2147483647 w 378"/>
                <a:gd name="T57" fmla="*/ 2147483647 h 336"/>
                <a:gd name="T58" fmla="*/ 2147483647 w 378"/>
                <a:gd name="T59" fmla="*/ 2147483647 h 336"/>
                <a:gd name="T60" fmla="*/ 2147483647 w 378"/>
                <a:gd name="T61" fmla="*/ 2147483647 h 336"/>
                <a:gd name="T62" fmla="*/ 2147483647 w 378"/>
                <a:gd name="T63" fmla="*/ 2147483647 h 336"/>
                <a:gd name="T64" fmla="*/ 2147483647 w 378"/>
                <a:gd name="T65" fmla="*/ 2147483647 h 336"/>
                <a:gd name="T66" fmla="*/ 2147483647 w 378"/>
                <a:gd name="T67" fmla="*/ 2147483647 h 336"/>
                <a:gd name="T68" fmla="*/ 2147483647 w 378"/>
                <a:gd name="T69" fmla="*/ 2147483647 h 336"/>
                <a:gd name="T70" fmla="*/ 2147483647 w 378"/>
                <a:gd name="T71" fmla="*/ 2147483647 h 336"/>
                <a:gd name="T72" fmla="*/ 2147483647 w 378"/>
                <a:gd name="T73" fmla="*/ 2147483647 h 336"/>
                <a:gd name="T74" fmla="*/ 2147483647 w 378"/>
                <a:gd name="T75" fmla="*/ 2147483647 h 336"/>
                <a:gd name="T76" fmla="*/ 2147483647 w 378"/>
                <a:gd name="T77" fmla="*/ 2147483647 h 336"/>
                <a:gd name="T78" fmla="*/ 2147483647 w 378"/>
                <a:gd name="T79" fmla="*/ 2147483647 h 336"/>
                <a:gd name="T80" fmla="*/ 2147483647 w 378"/>
                <a:gd name="T81" fmla="*/ 2147483647 h 336"/>
                <a:gd name="T82" fmla="*/ 2147483647 w 378"/>
                <a:gd name="T83" fmla="*/ 2147483647 h 336"/>
                <a:gd name="T84" fmla="*/ 2147483647 w 378"/>
                <a:gd name="T85" fmla="*/ 2147483647 h 336"/>
                <a:gd name="T86" fmla="*/ 2147483647 w 378"/>
                <a:gd name="T87" fmla="*/ 2147483647 h 336"/>
                <a:gd name="T88" fmla="*/ 2147483647 w 378"/>
                <a:gd name="T89" fmla="*/ 2147483647 h 336"/>
                <a:gd name="T90" fmla="*/ 2147483647 w 378"/>
                <a:gd name="T91" fmla="*/ 2147483647 h 336"/>
                <a:gd name="T92" fmla="*/ 2147483647 w 378"/>
                <a:gd name="T93" fmla="*/ 2147483647 h 336"/>
                <a:gd name="T94" fmla="*/ 2147483647 w 378"/>
                <a:gd name="T95" fmla="*/ 0 h 3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336"/>
                <a:gd name="T146" fmla="*/ 378 w 378"/>
                <a:gd name="T147" fmla="*/ 336 h 3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336">
                  <a:moveTo>
                    <a:pt x="324" y="0"/>
                  </a:moveTo>
                  <a:lnTo>
                    <a:pt x="312" y="12"/>
                  </a:lnTo>
                  <a:lnTo>
                    <a:pt x="276" y="0"/>
                  </a:lnTo>
                  <a:lnTo>
                    <a:pt x="264" y="12"/>
                  </a:lnTo>
                  <a:lnTo>
                    <a:pt x="246" y="24"/>
                  </a:lnTo>
                  <a:lnTo>
                    <a:pt x="258" y="36"/>
                  </a:lnTo>
                  <a:lnTo>
                    <a:pt x="258" y="48"/>
                  </a:lnTo>
                  <a:lnTo>
                    <a:pt x="252" y="54"/>
                  </a:lnTo>
                  <a:lnTo>
                    <a:pt x="240" y="54"/>
                  </a:lnTo>
                  <a:lnTo>
                    <a:pt x="228" y="42"/>
                  </a:lnTo>
                  <a:lnTo>
                    <a:pt x="228" y="36"/>
                  </a:lnTo>
                  <a:lnTo>
                    <a:pt x="222" y="36"/>
                  </a:lnTo>
                  <a:lnTo>
                    <a:pt x="216" y="30"/>
                  </a:lnTo>
                  <a:lnTo>
                    <a:pt x="192" y="30"/>
                  </a:lnTo>
                  <a:lnTo>
                    <a:pt x="192" y="18"/>
                  </a:lnTo>
                  <a:lnTo>
                    <a:pt x="186" y="18"/>
                  </a:lnTo>
                  <a:lnTo>
                    <a:pt x="186" y="24"/>
                  </a:lnTo>
                  <a:lnTo>
                    <a:pt x="180" y="18"/>
                  </a:lnTo>
                  <a:lnTo>
                    <a:pt x="168" y="12"/>
                  </a:lnTo>
                  <a:lnTo>
                    <a:pt x="138" y="12"/>
                  </a:lnTo>
                  <a:lnTo>
                    <a:pt x="126" y="18"/>
                  </a:lnTo>
                  <a:lnTo>
                    <a:pt x="114" y="18"/>
                  </a:lnTo>
                  <a:lnTo>
                    <a:pt x="108" y="12"/>
                  </a:lnTo>
                  <a:lnTo>
                    <a:pt x="72" y="12"/>
                  </a:lnTo>
                  <a:lnTo>
                    <a:pt x="54" y="18"/>
                  </a:lnTo>
                  <a:lnTo>
                    <a:pt x="42" y="24"/>
                  </a:lnTo>
                  <a:lnTo>
                    <a:pt x="36" y="30"/>
                  </a:lnTo>
                  <a:lnTo>
                    <a:pt x="30" y="42"/>
                  </a:lnTo>
                  <a:lnTo>
                    <a:pt x="30" y="48"/>
                  </a:lnTo>
                  <a:lnTo>
                    <a:pt x="0" y="78"/>
                  </a:lnTo>
                  <a:lnTo>
                    <a:pt x="6" y="114"/>
                  </a:lnTo>
                  <a:lnTo>
                    <a:pt x="18" y="126"/>
                  </a:lnTo>
                  <a:lnTo>
                    <a:pt x="18" y="156"/>
                  </a:lnTo>
                  <a:lnTo>
                    <a:pt x="30" y="168"/>
                  </a:lnTo>
                  <a:lnTo>
                    <a:pt x="30" y="198"/>
                  </a:lnTo>
                  <a:lnTo>
                    <a:pt x="42" y="210"/>
                  </a:lnTo>
                  <a:lnTo>
                    <a:pt x="48" y="222"/>
                  </a:lnTo>
                  <a:lnTo>
                    <a:pt x="54" y="228"/>
                  </a:lnTo>
                  <a:lnTo>
                    <a:pt x="54" y="234"/>
                  </a:lnTo>
                  <a:lnTo>
                    <a:pt x="42" y="246"/>
                  </a:lnTo>
                  <a:lnTo>
                    <a:pt x="54" y="270"/>
                  </a:lnTo>
                  <a:lnTo>
                    <a:pt x="60" y="276"/>
                  </a:lnTo>
                  <a:lnTo>
                    <a:pt x="72" y="282"/>
                  </a:lnTo>
                  <a:lnTo>
                    <a:pt x="78" y="282"/>
                  </a:lnTo>
                  <a:lnTo>
                    <a:pt x="90" y="270"/>
                  </a:lnTo>
                  <a:lnTo>
                    <a:pt x="90" y="264"/>
                  </a:lnTo>
                  <a:lnTo>
                    <a:pt x="90" y="288"/>
                  </a:lnTo>
                  <a:lnTo>
                    <a:pt x="96" y="300"/>
                  </a:lnTo>
                  <a:lnTo>
                    <a:pt x="102" y="306"/>
                  </a:lnTo>
                  <a:lnTo>
                    <a:pt x="114" y="306"/>
                  </a:lnTo>
                  <a:lnTo>
                    <a:pt x="120" y="300"/>
                  </a:lnTo>
                  <a:lnTo>
                    <a:pt x="132" y="300"/>
                  </a:lnTo>
                  <a:lnTo>
                    <a:pt x="138" y="306"/>
                  </a:lnTo>
                  <a:lnTo>
                    <a:pt x="138" y="312"/>
                  </a:lnTo>
                  <a:lnTo>
                    <a:pt x="150" y="336"/>
                  </a:lnTo>
                  <a:lnTo>
                    <a:pt x="168" y="336"/>
                  </a:lnTo>
                  <a:lnTo>
                    <a:pt x="180" y="324"/>
                  </a:lnTo>
                  <a:lnTo>
                    <a:pt x="192" y="318"/>
                  </a:lnTo>
                  <a:lnTo>
                    <a:pt x="210" y="318"/>
                  </a:lnTo>
                  <a:lnTo>
                    <a:pt x="222" y="312"/>
                  </a:lnTo>
                  <a:lnTo>
                    <a:pt x="222" y="306"/>
                  </a:lnTo>
                  <a:lnTo>
                    <a:pt x="216" y="300"/>
                  </a:lnTo>
                  <a:lnTo>
                    <a:pt x="210" y="300"/>
                  </a:lnTo>
                  <a:lnTo>
                    <a:pt x="204" y="294"/>
                  </a:lnTo>
                  <a:lnTo>
                    <a:pt x="240" y="294"/>
                  </a:lnTo>
                  <a:lnTo>
                    <a:pt x="240" y="288"/>
                  </a:lnTo>
                  <a:lnTo>
                    <a:pt x="246" y="282"/>
                  </a:lnTo>
                  <a:lnTo>
                    <a:pt x="258" y="282"/>
                  </a:lnTo>
                  <a:lnTo>
                    <a:pt x="270" y="288"/>
                  </a:lnTo>
                  <a:lnTo>
                    <a:pt x="276" y="294"/>
                  </a:lnTo>
                  <a:lnTo>
                    <a:pt x="288" y="300"/>
                  </a:lnTo>
                  <a:lnTo>
                    <a:pt x="294" y="306"/>
                  </a:lnTo>
                  <a:lnTo>
                    <a:pt x="294" y="294"/>
                  </a:lnTo>
                  <a:lnTo>
                    <a:pt x="276" y="276"/>
                  </a:lnTo>
                  <a:lnTo>
                    <a:pt x="264" y="252"/>
                  </a:lnTo>
                  <a:lnTo>
                    <a:pt x="264" y="228"/>
                  </a:lnTo>
                  <a:lnTo>
                    <a:pt x="306" y="228"/>
                  </a:lnTo>
                  <a:lnTo>
                    <a:pt x="306" y="204"/>
                  </a:lnTo>
                  <a:lnTo>
                    <a:pt x="336" y="204"/>
                  </a:lnTo>
                  <a:lnTo>
                    <a:pt x="336" y="186"/>
                  </a:lnTo>
                  <a:lnTo>
                    <a:pt x="342" y="180"/>
                  </a:lnTo>
                  <a:lnTo>
                    <a:pt x="360" y="180"/>
                  </a:lnTo>
                  <a:lnTo>
                    <a:pt x="372" y="186"/>
                  </a:lnTo>
                  <a:lnTo>
                    <a:pt x="372" y="156"/>
                  </a:lnTo>
                  <a:lnTo>
                    <a:pt x="366" y="150"/>
                  </a:lnTo>
                  <a:lnTo>
                    <a:pt x="366" y="120"/>
                  </a:lnTo>
                  <a:lnTo>
                    <a:pt x="360" y="114"/>
                  </a:lnTo>
                  <a:lnTo>
                    <a:pt x="360" y="102"/>
                  </a:lnTo>
                  <a:lnTo>
                    <a:pt x="366" y="102"/>
                  </a:lnTo>
                  <a:lnTo>
                    <a:pt x="378" y="90"/>
                  </a:lnTo>
                  <a:lnTo>
                    <a:pt x="378" y="84"/>
                  </a:lnTo>
                  <a:lnTo>
                    <a:pt x="366" y="60"/>
                  </a:lnTo>
                  <a:lnTo>
                    <a:pt x="354" y="48"/>
                  </a:lnTo>
                  <a:lnTo>
                    <a:pt x="348" y="48"/>
                  </a:lnTo>
                  <a:lnTo>
                    <a:pt x="348" y="6"/>
                  </a:lnTo>
                  <a:lnTo>
                    <a:pt x="324" y="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37" name="Jordan" descr="© INSCALE GmbH, 05.05.2010&#10;http://www.presentationload.com/">
              <a:extLst>
                <a:ext uri="{FF2B5EF4-FFF2-40B4-BE49-F238E27FC236}">
                  <a16:creationId xmlns:a16="http://schemas.microsoft.com/office/drawing/2014/main" id="{F9674D76-41A4-4D96-B2F2-3BAC3C3BC592}"/>
                </a:ext>
              </a:extLst>
            </p:cNvPr>
            <p:cNvSpPr>
              <a:spLocks/>
            </p:cNvSpPr>
            <p:nvPr/>
          </p:nvSpPr>
          <p:spPr bwMode="gray">
            <a:xfrm>
              <a:off x="5092125" y="3186373"/>
              <a:ext cx="111329" cy="133282"/>
            </a:xfrm>
            <a:custGeom>
              <a:avLst/>
              <a:gdLst>
                <a:gd name="T0" fmla="*/ 2147483647 w 282"/>
                <a:gd name="T1" fmla="*/ 2147483647 h 336"/>
                <a:gd name="T2" fmla="*/ 2147483647 w 282"/>
                <a:gd name="T3" fmla="*/ 2147483647 h 336"/>
                <a:gd name="T4" fmla="*/ 2147483647 w 282"/>
                <a:gd name="T5" fmla="*/ 0 h 336"/>
                <a:gd name="T6" fmla="*/ 2147483647 w 282"/>
                <a:gd name="T7" fmla="*/ 2147483647 h 336"/>
                <a:gd name="T8" fmla="*/ 2147483647 w 282"/>
                <a:gd name="T9" fmla="*/ 2147483647 h 336"/>
                <a:gd name="T10" fmla="*/ 2147483647 w 282"/>
                <a:gd name="T11" fmla="*/ 2147483647 h 336"/>
                <a:gd name="T12" fmla="*/ 2147483647 w 282"/>
                <a:gd name="T13" fmla="*/ 2147483647 h 336"/>
                <a:gd name="T14" fmla="*/ 2147483647 w 282"/>
                <a:gd name="T15" fmla="*/ 2147483647 h 336"/>
                <a:gd name="T16" fmla="*/ 2147483647 w 282"/>
                <a:gd name="T17" fmla="*/ 2147483647 h 336"/>
                <a:gd name="T18" fmla="*/ 2147483647 w 282"/>
                <a:gd name="T19" fmla="*/ 2147483647 h 336"/>
                <a:gd name="T20" fmla="*/ 2147483647 w 282"/>
                <a:gd name="T21" fmla="*/ 2147483647 h 336"/>
                <a:gd name="T22" fmla="*/ 2147483647 w 282"/>
                <a:gd name="T23" fmla="*/ 2147483647 h 336"/>
                <a:gd name="T24" fmla="*/ 2147483647 w 282"/>
                <a:gd name="T25" fmla="*/ 2147483647 h 336"/>
                <a:gd name="T26" fmla="*/ 2147483647 w 282"/>
                <a:gd name="T27" fmla="*/ 2147483647 h 336"/>
                <a:gd name="T28" fmla="*/ 2147483647 w 282"/>
                <a:gd name="T29" fmla="*/ 2147483647 h 336"/>
                <a:gd name="T30" fmla="*/ 2147483647 w 282"/>
                <a:gd name="T31" fmla="*/ 2147483647 h 336"/>
                <a:gd name="T32" fmla="*/ 2147483647 w 282"/>
                <a:gd name="T33" fmla="*/ 2147483647 h 336"/>
                <a:gd name="T34" fmla="*/ 2147483647 w 282"/>
                <a:gd name="T35" fmla="*/ 2147483647 h 336"/>
                <a:gd name="T36" fmla="*/ 2147483647 w 282"/>
                <a:gd name="T37" fmla="*/ 2147483647 h 336"/>
                <a:gd name="T38" fmla="*/ 2147483647 w 282"/>
                <a:gd name="T39" fmla="*/ 2147483647 h 336"/>
                <a:gd name="T40" fmla="*/ 2147483647 w 282"/>
                <a:gd name="T41" fmla="*/ 2147483647 h 336"/>
                <a:gd name="T42" fmla="*/ 2147483647 w 282"/>
                <a:gd name="T43" fmla="*/ 2147483647 h 336"/>
                <a:gd name="T44" fmla="*/ 2147483647 w 282"/>
                <a:gd name="T45" fmla="*/ 2147483647 h 336"/>
                <a:gd name="T46" fmla="*/ 0 w 282"/>
                <a:gd name="T47" fmla="*/ 2147483647 h 336"/>
                <a:gd name="T48" fmla="*/ 0 w 282"/>
                <a:gd name="T49" fmla="*/ 2147483647 h 336"/>
                <a:gd name="T50" fmla="*/ 2147483647 w 282"/>
                <a:gd name="T51" fmla="*/ 2147483647 h 336"/>
                <a:gd name="T52" fmla="*/ 2147483647 w 282"/>
                <a:gd name="T53" fmla="*/ 2147483647 h 336"/>
                <a:gd name="T54" fmla="*/ 2147483647 w 282"/>
                <a:gd name="T55" fmla="*/ 2147483647 h 336"/>
                <a:gd name="T56" fmla="*/ 2147483647 w 282"/>
                <a:gd name="T57" fmla="*/ 2147483647 h 336"/>
                <a:gd name="T58" fmla="*/ 2147483647 w 282"/>
                <a:gd name="T59" fmla="*/ 2147483647 h 336"/>
                <a:gd name="T60" fmla="*/ 2147483647 w 282"/>
                <a:gd name="T61" fmla="*/ 2147483647 h 336"/>
                <a:gd name="T62" fmla="*/ 2147483647 w 282"/>
                <a:gd name="T63" fmla="*/ 2147483647 h 336"/>
                <a:gd name="T64" fmla="*/ 2147483647 w 282"/>
                <a:gd name="T65" fmla="*/ 2147483647 h 336"/>
                <a:gd name="T66" fmla="*/ 2147483647 w 282"/>
                <a:gd name="T67" fmla="*/ 2147483647 h 336"/>
                <a:gd name="T68" fmla="*/ 2147483647 w 282"/>
                <a:gd name="T69" fmla="*/ 2147483647 h 336"/>
                <a:gd name="T70" fmla="*/ 2147483647 w 282"/>
                <a:gd name="T71" fmla="*/ 2147483647 h 336"/>
                <a:gd name="T72" fmla="*/ 2147483647 w 282"/>
                <a:gd name="T73" fmla="*/ 2147483647 h 336"/>
                <a:gd name="T74" fmla="*/ 2147483647 w 282"/>
                <a:gd name="T75" fmla="*/ 2147483647 h 336"/>
                <a:gd name="T76" fmla="*/ 2147483647 w 282"/>
                <a:gd name="T77" fmla="*/ 2147483647 h 336"/>
                <a:gd name="T78" fmla="*/ 2147483647 w 282"/>
                <a:gd name="T79" fmla="*/ 2147483647 h 336"/>
                <a:gd name="T80" fmla="*/ 2147483647 w 282"/>
                <a:gd name="T81" fmla="*/ 2147483647 h 336"/>
                <a:gd name="T82" fmla="*/ 2147483647 w 282"/>
                <a:gd name="T83" fmla="*/ 2147483647 h 336"/>
                <a:gd name="T84" fmla="*/ 2147483647 w 282"/>
                <a:gd name="T85" fmla="*/ 2147483647 h 336"/>
                <a:gd name="T86" fmla="*/ 2147483647 w 282"/>
                <a:gd name="T87" fmla="*/ 2147483647 h 336"/>
                <a:gd name="T88" fmla="*/ 2147483647 w 282"/>
                <a:gd name="T89" fmla="*/ 2147483647 h 336"/>
                <a:gd name="T90" fmla="*/ 2147483647 w 282"/>
                <a:gd name="T91" fmla="*/ 2147483647 h 336"/>
                <a:gd name="T92" fmla="*/ 2147483647 w 282"/>
                <a:gd name="T93" fmla="*/ 2147483647 h 336"/>
                <a:gd name="T94" fmla="*/ 2147483647 w 282"/>
                <a:gd name="T95" fmla="*/ 2147483647 h 336"/>
                <a:gd name="T96" fmla="*/ 2147483647 w 282"/>
                <a:gd name="T97" fmla="*/ 2147483647 h 336"/>
                <a:gd name="T98" fmla="*/ 2147483647 w 282"/>
                <a:gd name="T99" fmla="*/ 2147483647 h 336"/>
                <a:gd name="T100" fmla="*/ 2147483647 w 282"/>
                <a:gd name="T101" fmla="*/ 2147483647 h 336"/>
                <a:gd name="T102" fmla="*/ 2147483647 w 282"/>
                <a:gd name="T103" fmla="*/ 2147483647 h 336"/>
                <a:gd name="T104" fmla="*/ 2147483647 w 282"/>
                <a:gd name="T105" fmla="*/ 2147483647 h 336"/>
                <a:gd name="T106" fmla="*/ 2147483647 w 282"/>
                <a:gd name="T107" fmla="*/ 2147483647 h 336"/>
                <a:gd name="T108" fmla="*/ 2147483647 w 282"/>
                <a:gd name="T109" fmla="*/ 2147483647 h 336"/>
                <a:gd name="T110" fmla="*/ 2147483647 w 282"/>
                <a:gd name="T111" fmla="*/ 2147483647 h 336"/>
                <a:gd name="T112" fmla="*/ 2147483647 w 282"/>
                <a:gd name="T113" fmla="*/ 2147483647 h 336"/>
                <a:gd name="T114" fmla="*/ 2147483647 w 282"/>
                <a:gd name="T115" fmla="*/ 2147483647 h 336"/>
                <a:gd name="T116" fmla="*/ 2147483647 w 282"/>
                <a:gd name="T117" fmla="*/ 2147483647 h 336"/>
                <a:gd name="T118" fmla="*/ 2147483647 w 282"/>
                <a:gd name="T119" fmla="*/ 2147483647 h 336"/>
                <a:gd name="T120" fmla="*/ 2147483647 w 282"/>
                <a:gd name="T121" fmla="*/ 2147483647 h 336"/>
                <a:gd name="T122" fmla="*/ 2147483647 w 282"/>
                <a:gd name="T123" fmla="*/ 2147483647 h 3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2"/>
                <a:gd name="T187" fmla="*/ 0 h 336"/>
                <a:gd name="T188" fmla="*/ 282 w 282"/>
                <a:gd name="T189" fmla="*/ 336 h 3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2" h="336">
                  <a:moveTo>
                    <a:pt x="258" y="60"/>
                  </a:moveTo>
                  <a:lnTo>
                    <a:pt x="258" y="42"/>
                  </a:lnTo>
                  <a:lnTo>
                    <a:pt x="234" y="0"/>
                  </a:lnTo>
                  <a:lnTo>
                    <a:pt x="222" y="6"/>
                  </a:lnTo>
                  <a:lnTo>
                    <a:pt x="198" y="30"/>
                  </a:lnTo>
                  <a:lnTo>
                    <a:pt x="138" y="78"/>
                  </a:lnTo>
                  <a:lnTo>
                    <a:pt x="114" y="84"/>
                  </a:lnTo>
                  <a:lnTo>
                    <a:pt x="96" y="84"/>
                  </a:lnTo>
                  <a:lnTo>
                    <a:pt x="84" y="78"/>
                  </a:lnTo>
                  <a:lnTo>
                    <a:pt x="72" y="66"/>
                  </a:lnTo>
                  <a:lnTo>
                    <a:pt x="36" y="48"/>
                  </a:lnTo>
                  <a:lnTo>
                    <a:pt x="30" y="48"/>
                  </a:lnTo>
                  <a:lnTo>
                    <a:pt x="24" y="66"/>
                  </a:lnTo>
                  <a:lnTo>
                    <a:pt x="30" y="138"/>
                  </a:lnTo>
                  <a:lnTo>
                    <a:pt x="18" y="150"/>
                  </a:lnTo>
                  <a:lnTo>
                    <a:pt x="18" y="162"/>
                  </a:lnTo>
                  <a:lnTo>
                    <a:pt x="30" y="174"/>
                  </a:lnTo>
                  <a:lnTo>
                    <a:pt x="30" y="186"/>
                  </a:lnTo>
                  <a:lnTo>
                    <a:pt x="24" y="198"/>
                  </a:lnTo>
                  <a:lnTo>
                    <a:pt x="18" y="204"/>
                  </a:lnTo>
                  <a:lnTo>
                    <a:pt x="12" y="216"/>
                  </a:lnTo>
                  <a:lnTo>
                    <a:pt x="6" y="222"/>
                  </a:lnTo>
                  <a:lnTo>
                    <a:pt x="6" y="282"/>
                  </a:lnTo>
                  <a:lnTo>
                    <a:pt x="0" y="294"/>
                  </a:lnTo>
                  <a:lnTo>
                    <a:pt x="0" y="312"/>
                  </a:lnTo>
                  <a:lnTo>
                    <a:pt x="6" y="324"/>
                  </a:lnTo>
                  <a:lnTo>
                    <a:pt x="24" y="324"/>
                  </a:lnTo>
                  <a:lnTo>
                    <a:pt x="48" y="336"/>
                  </a:lnTo>
                  <a:lnTo>
                    <a:pt x="84" y="336"/>
                  </a:lnTo>
                  <a:lnTo>
                    <a:pt x="96" y="324"/>
                  </a:lnTo>
                  <a:lnTo>
                    <a:pt x="108" y="300"/>
                  </a:lnTo>
                  <a:lnTo>
                    <a:pt x="108" y="288"/>
                  </a:lnTo>
                  <a:lnTo>
                    <a:pt x="120" y="276"/>
                  </a:lnTo>
                  <a:lnTo>
                    <a:pt x="126" y="276"/>
                  </a:lnTo>
                  <a:lnTo>
                    <a:pt x="138" y="270"/>
                  </a:lnTo>
                  <a:lnTo>
                    <a:pt x="150" y="270"/>
                  </a:lnTo>
                  <a:lnTo>
                    <a:pt x="162" y="264"/>
                  </a:lnTo>
                  <a:lnTo>
                    <a:pt x="168" y="258"/>
                  </a:lnTo>
                  <a:lnTo>
                    <a:pt x="174" y="246"/>
                  </a:lnTo>
                  <a:lnTo>
                    <a:pt x="180" y="240"/>
                  </a:lnTo>
                  <a:lnTo>
                    <a:pt x="180" y="228"/>
                  </a:lnTo>
                  <a:lnTo>
                    <a:pt x="186" y="222"/>
                  </a:lnTo>
                  <a:lnTo>
                    <a:pt x="186" y="210"/>
                  </a:lnTo>
                  <a:lnTo>
                    <a:pt x="180" y="204"/>
                  </a:lnTo>
                  <a:lnTo>
                    <a:pt x="168" y="180"/>
                  </a:lnTo>
                  <a:lnTo>
                    <a:pt x="144" y="156"/>
                  </a:lnTo>
                  <a:lnTo>
                    <a:pt x="132" y="156"/>
                  </a:lnTo>
                  <a:lnTo>
                    <a:pt x="120" y="150"/>
                  </a:lnTo>
                  <a:lnTo>
                    <a:pt x="96" y="150"/>
                  </a:lnTo>
                  <a:lnTo>
                    <a:pt x="96" y="144"/>
                  </a:lnTo>
                  <a:lnTo>
                    <a:pt x="108" y="144"/>
                  </a:lnTo>
                  <a:lnTo>
                    <a:pt x="120" y="138"/>
                  </a:lnTo>
                  <a:lnTo>
                    <a:pt x="186" y="138"/>
                  </a:lnTo>
                  <a:lnTo>
                    <a:pt x="198" y="114"/>
                  </a:lnTo>
                  <a:lnTo>
                    <a:pt x="240" y="114"/>
                  </a:lnTo>
                  <a:lnTo>
                    <a:pt x="252" y="108"/>
                  </a:lnTo>
                  <a:lnTo>
                    <a:pt x="258" y="102"/>
                  </a:lnTo>
                  <a:lnTo>
                    <a:pt x="264" y="102"/>
                  </a:lnTo>
                  <a:lnTo>
                    <a:pt x="276" y="96"/>
                  </a:lnTo>
                  <a:lnTo>
                    <a:pt x="282" y="90"/>
                  </a:lnTo>
                  <a:lnTo>
                    <a:pt x="282" y="78"/>
                  </a:lnTo>
                  <a:lnTo>
                    <a:pt x="258" y="6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38" name="Jemen" descr="© INSCALE GmbH, 05.05.2010&#10;http://www.presentationload.com/">
              <a:extLst>
                <a:ext uri="{FF2B5EF4-FFF2-40B4-BE49-F238E27FC236}">
                  <a16:creationId xmlns:a16="http://schemas.microsoft.com/office/drawing/2014/main" id="{8D14C562-203A-4BE5-A9F4-93892CCA7DC2}"/>
                </a:ext>
              </a:extLst>
            </p:cNvPr>
            <p:cNvSpPr>
              <a:spLocks/>
            </p:cNvSpPr>
            <p:nvPr/>
          </p:nvSpPr>
          <p:spPr bwMode="gray">
            <a:xfrm>
              <a:off x="5324193" y="3642669"/>
              <a:ext cx="291652" cy="199139"/>
            </a:xfrm>
            <a:custGeom>
              <a:avLst/>
              <a:gdLst>
                <a:gd name="T0" fmla="*/ 2147483647 w 732"/>
                <a:gd name="T1" fmla="*/ 2147483647 h 498"/>
                <a:gd name="T2" fmla="*/ 2147483647 w 732"/>
                <a:gd name="T3" fmla="*/ 2147483647 h 498"/>
                <a:gd name="T4" fmla="*/ 2147483647 w 732"/>
                <a:gd name="T5" fmla="*/ 2147483647 h 498"/>
                <a:gd name="T6" fmla="*/ 2147483647 w 732"/>
                <a:gd name="T7" fmla="*/ 2147483647 h 498"/>
                <a:gd name="T8" fmla="*/ 2147483647 w 732"/>
                <a:gd name="T9" fmla="*/ 2147483647 h 498"/>
                <a:gd name="T10" fmla="*/ 2147483647 w 732"/>
                <a:gd name="T11" fmla="*/ 2147483647 h 498"/>
                <a:gd name="T12" fmla="*/ 2147483647 w 732"/>
                <a:gd name="T13" fmla="*/ 2147483647 h 498"/>
                <a:gd name="T14" fmla="*/ 2147483647 w 732"/>
                <a:gd name="T15" fmla="*/ 2147483647 h 498"/>
                <a:gd name="T16" fmla="*/ 2147483647 w 732"/>
                <a:gd name="T17" fmla="*/ 2147483647 h 498"/>
                <a:gd name="T18" fmla="*/ 2147483647 w 732"/>
                <a:gd name="T19" fmla="*/ 2147483647 h 498"/>
                <a:gd name="T20" fmla="*/ 2147483647 w 732"/>
                <a:gd name="T21" fmla="*/ 2147483647 h 498"/>
                <a:gd name="T22" fmla="*/ 2147483647 w 732"/>
                <a:gd name="T23" fmla="*/ 2147483647 h 498"/>
                <a:gd name="T24" fmla="*/ 2147483647 w 732"/>
                <a:gd name="T25" fmla="*/ 2147483647 h 498"/>
                <a:gd name="T26" fmla="*/ 2147483647 w 732"/>
                <a:gd name="T27" fmla="*/ 2147483647 h 498"/>
                <a:gd name="T28" fmla="*/ 2147483647 w 732"/>
                <a:gd name="T29" fmla="*/ 2147483647 h 498"/>
                <a:gd name="T30" fmla="*/ 0 w 732"/>
                <a:gd name="T31" fmla="*/ 2147483647 h 498"/>
                <a:gd name="T32" fmla="*/ 2147483647 w 732"/>
                <a:gd name="T33" fmla="*/ 2147483647 h 498"/>
                <a:gd name="T34" fmla="*/ 2147483647 w 732"/>
                <a:gd name="T35" fmla="*/ 2147483647 h 498"/>
                <a:gd name="T36" fmla="*/ 2147483647 w 732"/>
                <a:gd name="T37" fmla="*/ 2147483647 h 498"/>
                <a:gd name="T38" fmla="*/ 2147483647 w 732"/>
                <a:gd name="T39" fmla="*/ 2147483647 h 498"/>
                <a:gd name="T40" fmla="*/ 2147483647 w 732"/>
                <a:gd name="T41" fmla="*/ 2147483647 h 498"/>
                <a:gd name="T42" fmla="*/ 2147483647 w 732"/>
                <a:gd name="T43" fmla="*/ 2147483647 h 498"/>
                <a:gd name="T44" fmla="*/ 2147483647 w 732"/>
                <a:gd name="T45" fmla="*/ 2147483647 h 498"/>
                <a:gd name="T46" fmla="*/ 2147483647 w 732"/>
                <a:gd name="T47" fmla="*/ 2147483647 h 498"/>
                <a:gd name="T48" fmla="*/ 2147483647 w 732"/>
                <a:gd name="T49" fmla="*/ 2147483647 h 498"/>
                <a:gd name="T50" fmla="*/ 2147483647 w 732"/>
                <a:gd name="T51" fmla="*/ 2147483647 h 498"/>
                <a:gd name="T52" fmla="*/ 2147483647 w 732"/>
                <a:gd name="T53" fmla="*/ 2147483647 h 498"/>
                <a:gd name="T54" fmla="*/ 2147483647 w 732"/>
                <a:gd name="T55" fmla="*/ 2147483647 h 498"/>
                <a:gd name="T56" fmla="*/ 2147483647 w 732"/>
                <a:gd name="T57" fmla="*/ 2147483647 h 498"/>
                <a:gd name="T58" fmla="*/ 2147483647 w 732"/>
                <a:gd name="T59" fmla="*/ 2147483647 h 498"/>
                <a:gd name="T60" fmla="*/ 2147483647 w 732"/>
                <a:gd name="T61" fmla="*/ 2147483647 h 498"/>
                <a:gd name="T62" fmla="*/ 2147483647 w 732"/>
                <a:gd name="T63" fmla="*/ 2147483647 h 498"/>
                <a:gd name="T64" fmla="*/ 2147483647 w 732"/>
                <a:gd name="T65" fmla="*/ 2147483647 h 498"/>
                <a:gd name="T66" fmla="*/ 2147483647 w 732"/>
                <a:gd name="T67" fmla="*/ 2147483647 h 498"/>
                <a:gd name="T68" fmla="*/ 2147483647 w 732"/>
                <a:gd name="T69" fmla="*/ 2147483647 h 498"/>
                <a:gd name="T70" fmla="*/ 2147483647 w 732"/>
                <a:gd name="T71" fmla="*/ 2147483647 h 498"/>
                <a:gd name="T72" fmla="*/ 2147483647 w 732"/>
                <a:gd name="T73" fmla="*/ 2147483647 h 498"/>
                <a:gd name="T74" fmla="*/ 2147483647 w 732"/>
                <a:gd name="T75" fmla="*/ 2147483647 h 498"/>
                <a:gd name="T76" fmla="*/ 2147483647 w 732"/>
                <a:gd name="T77" fmla="*/ 0 h 498"/>
                <a:gd name="T78" fmla="*/ 2147483647 w 732"/>
                <a:gd name="T79" fmla="*/ 2147483647 h 498"/>
                <a:gd name="T80" fmla="*/ 2147483647 w 732"/>
                <a:gd name="T81" fmla="*/ 2147483647 h 4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32"/>
                <a:gd name="T124" fmla="*/ 0 h 498"/>
                <a:gd name="T125" fmla="*/ 732 w 732"/>
                <a:gd name="T126" fmla="*/ 498 h 4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32" h="498">
                  <a:moveTo>
                    <a:pt x="468" y="24"/>
                  </a:moveTo>
                  <a:lnTo>
                    <a:pt x="450" y="30"/>
                  </a:lnTo>
                  <a:lnTo>
                    <a:pt x="420" y="36"/>
                  </a:lnTo>
                  <a:lnTo>
                    <a:pt x="390" y="54"/>
                  </a:lnTo>
                  <a:lnTo>
                    <a:pt x="372" y="72"/>
                  </a:lnTo>
                  <a:lnTo>
                    <a:pt x="366" y="84"/>
                  </a:lnTo>
                  <a:lnTo>
                    <a:pt x="354" y="96"/>
                  </a:lnTo>
                  <a:lnTo>
                    <a:pt x="348" y="108"/>
                  </a:lnTo>
                  <a:lnTo>
                    <a:pt x="342" y="114"/>
                  </a:lnTo>
                  <a:lnTo>
                    <a:pt x="336" y="126"/>
                  </a:lnTo>
                  <a:lnTo>
                    <a:pt x="336" y="144"/>
                  </a:lnTo>
                  <a:lnTo>
                    <a:pt x="330" y="150"/>
                  </a:lnTo>
                  <a:lnTo>
                    <a:pt x="324" y="162"/>
                  </a:lnTo>
                  <a:lnTo>
                    <a:pt x="312" y="162"/>
                  </a:lnTo>
                  <a:lnTo>
                    <a:pt x="300" y="156"/>
                  </a:lnTo>
                  <a:lnTo>
                    <a:pt x="294" y="144"/>
                  </a:lnTo>
                  <a:lnTo>
                    <a:pt x="288" y="138"/>
                  </a:lnTo>
                  <a:lnTo>
                    <a:pt x="210" y="138"/>
                  </a:lnTo>
                  <a:lnTo>
                    <a:pt x="204" y="132"/>
                  </a:lnTo>
                  <a:lnTo>
                    <a:pt x="192" y="126"/>
                  </a:lnTo>
                  <a:lnTo>
                    <a:pt x="102" y="126"/>
                  </a:lnTo>
                  <a:lnTo>
                    <a:pt x="96" y="132"/>
                  </a:lnTo>
                  <a:lnTo>
                    <a:pt x="72" y="138"/>
                  </a:lnTo>
                  <a:lnTo>
                    <a:pt x="54" y="120"/>
                  </a:lnTo>
                  <a:lnTo>
                    <a:pt x="48" y="120"/>
                  </a:lnTo>
                  <a:lnTo>
                    <a:pt x="42" y="126"/>
                  </a:lnTo>
                  <a:lnTo>
                    <a:pt x="36" y="138"/>
                  </a:lnTo>
                  <a:lnTo>
                    <a:pt x="36" y="186"/>
                  </a:lnTo>
                  <a:lnTo>
                    <a:pt x="30" y="192"/>
                  </a:lnTo>
                  <a:lnTo>
                    <a:pt x="24" y="204"/>
                  </a:lnTo>
                  <a:lnTo>
                    <a:pt x="12" y="216"/>
                  </a:lnTo>
                  <a:lnTo>
                    <a:pt x="0" y="252"/>
                  </a:lnTo>
                  <a:lnTo>
                    <a:pt x="0" y="258"/>
                  </a:lnTo>
                  <a:lnTo>
                    <a:pt x="18" y="276"/>
                  </a:lnTo>
                  <a:lnTo>
                    <a:pt x="24" y="288"/>
                  </a:lnTo>
                  <a:lnTo>
                    <a:pt x="36" y="294"/>
                  </a:lnTo>
                  <a:lnTo>
                    <a:pt x="24" y="408"/>
                  </a:lnTo>
                  <a:lnTo>
                    <a:pt x="54" y="444"/>
                  </a:lnTo>
                  <a:lnTo>
                    <a:pt x="54" y="456"/>
                  </a:lnTo>
                  <a:lnTo>
                    <a:pt x="60" y="468"/>
                  </a:lnTo>
                  <a:lnTo>
                    <a:pt x="78" y="486"/>
                  </a:lnTo>
                  <a:lnTo>
                    <a:pt x="90" y="492"/>
                  </a:lnTo>
                  <a:lnTo>
                    <a:pt x="114" y="498"/>
                  </a:lnTo>
                  <a:lnTo>
                    <a:pt x="132" y="498"/>
                  </a:lnTo>
                  <a:lnTo>
                    <a:pt x="150" y="492"/>
                  </a:lnTo>
                  <a:lnTo>
                    <a:pt x="162" y="486"/>
                  </a:lnTo>
                  <a:lnTo>
                    <a:pt x="168" y="480"/>
                  </a:lnTo>
                  <a:lnTo>
                    <a:pt x="186" y="444"/>
                  </a:lnTo>
                  <a:lnTo>
                    <a:pt x="198" y="432"/>
                  </a:lnTo>
                  <a:lnTo>
                    <a:pt x="210" y="432"/>
                  </a:lnTo>
                  <a:lnTo>
                    <a:pt x="228" y="438"/>
                  </a:lnTo>
                  <a:lnTo>
                    <a:pt x="270" y="438"/>
                  </a:lnTo>
                  <a:lnTo>
                    <a:pt x="324" y="432"/>
                  </a:lnTo>
                  <a:lnTo>
                    <a:pt x="366" y="426"/>
                  </a:lnTo>
                  <a:lnTo>
                    <a:pt x="390" y="414"/>
                  </a:lnTo>
                  <a:lnTo>
                    <a:pt x="402" y="402"/>
                  </a:lnTo>
                  <a:lnTo>
                    <a:pt x="414" y="384"/>
                  </a:lnTo>
                  <a:lnTo>
                    <a:pt x="426" y="372"/>
                  </a:lnTo>
                  <a:lnTo>
                    <a:pt x="450" y="360"/>
                  </a:lnTo>
                  <a:lnTo>
                    <a:pt x="462" y="348"/>
                  </a:lnTo>
                  <a:lnTo>
                    <a:pt x="474" y="342"/>
                  </a:lnTo>
                  <a:lnTo>
                    <a:pt x="486" y="330"/>
                  </a:lnTo>
                  <a:lnTo>
                    <a:pt x="504" y="324"/>
                  </a:lnTo>
                  <a:lnTo>
                    <a:pt x="528" y="312"/>
                  </a:lnTo>
                  <a:lnTo>
                    <a:pt x="546" y="306"/>
                  </a:lnTo>
                  <a:lnTo>
                    <a:pt x="558" y="294"/>
                  </a:lnTo>
                  <a:lnTo>
                    <a:pt x="594" y="276"/>
                  </a:lnTo>
                  <a:lnTo>
                    <a:pt x="666" y="276"/>
                  </a:lnTo>
                  <a:lnTo>
                    <a:pt x="666" y="270"/>
                  </a:lnTo>
                  <a:lnTo>
                    <a:pt x="672" y="264"/>
                  </a:lnTo>
                  <a:lnTo>
                    <a:pt x="684" y="240"/>
                  </a:lnTo>
                  <a:lnTo>
                    <a:pt x="690" y="222"/>
                  </a:lnTo>
                  <a:lnTo>
                    <a:pt x="702" y="210"/>
                  </a:lnTo>
                  <a:lnTo>
                    <a:pt x="708" y="198"/>
                  </a:lnTo>
                  <a:lnTo>
                    <a:pt x="720" y="192"/>
                  </a:lnTo>
                  <a:lnTo>
                    <a:pt x="720" y="186"/>
                  </a:lnTo>
                  <a:lnTo>
                    <a:pt x="732" y="186"/>
                  </a:lnTo>
                  <a:lnTo>
                    <a:pt x="648" y="0"/>
                  </a:lnTo>
                  <a:lnTo>
                    <a:pt x="630" y="0"/>
                  </a:lnTo>
                  <a:lnTo>
                    <a:pt x="588" y="6"/>
                  </a:lnTo>
                  <a:lnTo>
                    <a:pt x="540" y="18"/>
                  </a:lnTo>
                  <a:lnTo>
                    <a:pt x="492" y="24"/>
                  </a:lnTo>
                  <a:lnTo>
                    <a:pt x="468" y="24"/>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39" name="Japan" descr="© INSCALE GmbH, 05.05.2010&#10;http://www.presentationload.com/">
              <a:extLst>
                <a:ext uri="{FF2B5EF4-FFF2-40B4-BE49-F238E27FC236}">
                  <a16:creationId xmlns:a16="http://schemas.microsoft.com/office/drawing/2014/main" id="{57FA6F5E-9D90-469E-BE03-DA73ECC010F3}"/>
                </a:ext>
              </a:extLst>
            </p:cNvPr>
            <p:cNvSpPr>
              <a:spLocks noEditPoints="1"/>
            </p:cNvSpPr>
            <p:nvPr/>
          </p:nvSpPr>
          <p:spPr bwMode="gray">
            <a:xfrm>
              <a:off x="7546080" y="2797504"/>
              <a:ext cx="348101" cy="678955"/>
            </a:xfrm>
            <a:custGeom>
              <a:avLst/>
              <a:gdLst>
                <a:gd name="T0" fmla="*/ 2147483647 w 876"/>
                <a:gd name="T1" fmla="*/ 2147483647 h 1710"/>
                <a:gd name="T2" fmla="*/ 2147483647 w 876"/>
                <a:gd name="T3" fmla="*/ 2147483647 h 1710"/>
                <a:gd name="T4" fmla="*/ 2147483647 w 876"/>
                <a:gd name="T5" fmla="*/ 2147483647 h 1710"/>
                <a:gd name="T6" fmla="*/ 2147483647 w 876"/>
                <a:gd name="T7" fmla="*/ 2147483647 h 1710"/>
                <a:gd name="T8" fmla="*/ 2147483647 w 876"/>
                <a:gd name="T9" fmla="*/ 2147483647 h 1710"/>
                <a:gd name="T10" fmla="*/ 2147483647 w 876"/>
                <a:gd name="T11" fmla="*/ 2147483647 h 1710"/>
                <a:gd name="T12" fmla="*/ 2147483647 w 876"/>
                <a:gd name="T13" fmla="*/ 2147483647 h 1710"/>
                <a:gd name="T14" fmla="*/ 2147483647 w 876"/>
                <a:gd name="T15" fmla="*/ 2147483647 h 1710"/>
                <a:gd name="T16" fmla="*/ 2147483647 w 876"/>
                <a:gd name="T17" fmla="*/ 2147483647 h 1710"/>
                <a:gd name="T18" fmla="*/ 2147483647 w 876"/>
                <a:gd name="T19" fmla="*/ 2147483647 h 1710"/>
                <a:gd name="T20" fmla="*/ 2147483647 w 876"/>
                <a:gd name="T21" fmla="*/ 2147483647 h 1710"/>
                <a:gd name="T22" fmla="*/ 2147483647 w 876"/>
                <a:gd name="T23" fmla="*/ 2147483647 h 1710"/>
                <a:gd name="T24" fmla="*/ 2147483647 w 876"/>
                <a:gd name="T25" fmla="*/ 2147483647 h 1710"/>
                <a:gd name="T26" fmla="*/ 2147483647 w 876"/>
                <a:gd name="T27" fmla="*/ 2147483647 h 1710"/>
                <a:gd name="T28" fmla="*/ 2147483647 w 876"/>
                <a:gd name="T29" fmla="*/ 2147483647 h 1710"/>
                <a:gd name="T30" fmla="*/ 2147483647 w 876"/>
                <a:gd name="T31" fmla="*/ 2147483647 h 1710"/>
                <a:gd name="T32" fmla="*/ 2147483647 w 876"/>
                <a:gd name="T33" fmla="*/ 2147483647 h 1710"/>
                <a:gd name="T34" fmla="*/ 2147483647 w 876"/>
                <a:gd name="T35" fmla="*/ 2147483647 h 1710"/>
                <a:gd name="T36" fmla="*/ 2147483647 w 876"/>
                <a:gd name="T37" fmla="*/ 2147483647 h 1710"/>
                <a:gd name="T38" fmla="*/ 2147483647 w 876"/>
                <a:gd name="T39" fmla="*/ 2147483647 h 1710"/>
                <a:gd name="T40" fmla="*/ 2147483647 w 876"/>
                <a:gd name="T41" fmla="*/ 2147483647 h 1710"/>
                <a:gd name="T42" fmla="*/ 2147483647 w 876"/>
                <a:gd name="T43" fmla="*/ 2147483647 h 1710"/>
                <a:gd name="T44" fmla="*/ 2147483647 w 876"/>
                <a:gd name="T45" fmla="*/ 2147483647 h 1710"/>
                <a:gd name="T46" fmla="*/ 2147483647 w 876"/>
                <a:gd name="T47" fmla="*/ 2147483647 h 1710"/>
                <a:gd name="T48" fmla="*/ 2147483647 w 876"/>
                <a:gd name="T49" fmla="*/ 2147483647 h 1710"/>
                <a:gd name="T50" fmla="*/ 2147483647 w 876"/>
                <a:gd name="T51" fmla="*/ 2147483647 h 1710"/>
                <a:gd name="T52" fmla="*/ 2147483647 w 876"/>
                <a:gd name="T53" fmla="*/ 2147483647 h 1710"/>
                <a:gd name="T54" fmla="*/ 2147483647 w 876"/>
                <a:gd name="T55" fmla="*/ 2147483647 h 1710"/>
                <a:gd name="T56" fmla="*/ 2147483647 w 876"/>
                <a:gd name="T57" fmla="*/ 2147483647 h 1710"/>
                <a:gd name="T58" fmla="*/ 2147483647 w 876"/>
                <a:gd name="T59" fmla="*/ 2147483647 h 1710"/>
                <a:gd name="T60" fmla="*/ 2147483647 w 876"/>
                <a:gd name="T61" fmla="*/ 2147483647 h 1710"/>
                <a:gd name="T62" fmla="*/ 2147483647 w 876"/>
                <a:gd name="T63" fmla="*/ 2147483647 h 1710"/>
                <a:gd name="T64" fmla="*/ 2147483647 w 876"/>
                <a:gd name="T65" fmla="*/ 2147483647 h 1710"/>
                <a:gd name="T66" fmla="*/ 2147483647 w 876"/>
                <a:gd name="T67" fmla="*/ 2147483647 h 1710"/>
                <a:gd name="T68" fmla="*/ 2147483647 w 876"/>
                <a:gd name="T69" fmla="*/ 2147483647 h 1710"/>
                <a:gd name="T70" fmla="*/ 2147483647 w 876"/>
                <a:gd name="T71" fmla="*/ 2147483647 h 1710"/>
                <a:gd name="T72" fmla="*/ 2147483647 w 876"/>
                <a:gd name="T73" fmla="*/ 2147483647 h 1710"/>
                <a:gd name="T74" fmla="*/ 2147483647 w 876"/>
                <a:gd name="T75" fmla="*/ 2147483647 h 1710"/>
                <a:gd name="T76" fmla="*/ 2147483647 w 876"/>
                <a:gd name="T77" fmla="*/ 2147483647 h 1710"/>
                <a:gd name="T78" fmla="*/ 2147483647 w 876"/>
                <a:gd name="T79" fmla="*/ 2147483647 h 1710"/>
                <a:gd name="T80" fmla="*/ 2147483647 w 876"/>
                <a:gd name="T81" fmla="*/ 2147483647 h 1710"/>
                <a:gd name="T82" fmla="*/ 2147483647 w 876"/>
                <a:gd name="T83" fmla="*/ 2147483647 h 1710"/>
                <a:gd name="T84" fmla="*/ 2147483647 w 876"/>
                <a:gd name="T85" fmla="*/ 2147483647 h 1710"/>
                <a:gd name="T86" fmla="*/ 2147483647 w 876"/>
                <a:gd name="T87" fmla="*/ 2147483647 h 1710"/>
                <a:gd name="T88" fmla="*/ 2147483647 w 876"/>
                <a:gd name="T89" fmla="*/ 2147483647 h 1710"/>
                <a:gd name="T90" fmla="*/ 2147483647 w 876"/>
                <a:gd name="T91" fmla="*/ 2147483647 h 1710"/>
                <a:gd name="T92" fmla="*/ 2147483647 w 876"/>
                <a:gd name="T93" fmla="*/ 2147483647 h 1710"/>
                <a:gd name="T94" fmla="*/ 2147483647 w 876"/>
                <a:gd name="T95" fmla="*/ 2147483647 h 1710"/>
                <a:gd name="T96" fmla="*/ 2147483647 w 876"/>
                <a:gd name="T97" fmla="*/ 2147483647 h 1710"/>
                <a:gd name="T98" fmla="*/ 2147483647 w 876"/>
                <a:gd name="T99" fmla="*/ 2147483647 h 1710"/>
                <a:gd name="T100" fmla="*/ 2147483647 w 876"/>
                <a:gd name="T101" fmla="*/ 2147483647 h 1710"/>
                <a:gd name="T102" fmla="*/ 2147483647 w 876"/>
                <a:gd name="T103" fmla="*/ 2147483647 h 1710"/>
                <a:gd name="T104" fmla="*/ 2147483647 w 876"/>
                <a:gd name="T105" fmla="*/ 2147483647 h 1710"/>
                <a:gd name="T106" fmla="*/ 2147483647 w 876"/>
                <a:gd name="T107" fmla="*/ 2147483647 h 1710"/>
                <a:gd name="T108" fmla="*/ 2147483647 w 876"/>
                <a:gd name="T109" fmla="*/ 2147483647 h 1710"/>
                <a:gd name="T110" fmla="*/ 2147483647 w 876"/>
                <a:gd name="T111" fmla="*/ 2147483647 h 1710"/>
                <a:gd name="T112" fmla="*/ 2147483647 w 876"/>
                <a:gd name="T113" fmla="*/ 2147483647 h 1710"/>
                <a:gd name="T114" fmla="*/ 2147483647 w 876"/>
                <a:gd name="T115" fmla="*/ 2147483647 h 1710"/>
                <a:gd name="T116" fmla="*/ 2147483647 w 876"/>
                <a:gd name="T117" fmla="*/ 2147483647 h 1710"/>
                <a:gd name="T118" fmla="*/ 2147483647 w 876"/>
                <a:gd name="T119" fmla="*/ 2147483647 h 17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6"/>
                <a:gd name="T181" fmla="*/ 0 h 1710"/>
                <a:gd name="T182" fmla="*/ 876 w 876"/>
                <a:gd name="T183" fmla="*/ 1710 h 17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6" h="1710">
                  <a:moveTo>
                    <a:pt x="876" y="780"/>
                  </a:moveTo>
                  <a:lnTo>
                    <a:pt x="864" y="774"/>
                  </a:lnTo>
                  <a:lnTo>
                    <a:pt x="858" y="768"/>
                  </a:lnTo>
                  <a:lnTo>
                    <a:pt x="846" y="762"/>
                  </a:lnTo>
                  <a:lnTo>
                    <a:pt x="840" y="750"/>
                  </a:lnTo>
                  <a:lnTo>
                    <a:pt x="828" y="744"/>
                  </a:lnTo>
                  <a:lnTo>
                    <a:pt x="828" y="720"/>
                  </a:lnTo>
                  <a:lnTo>
                    <a:pt x="834" y="702"/>
                  </a:lnTo>
                  <a:lnTo>
                    <a:pt x="834" y="684"/>
                  </a:lnTo>
                  <a:lnTo>
                    <a:pt x="828" y="666"/>
                  </a:lnTo>
                  <a:lnTo>
                    <a:pt x="816" y="642"/>
                  </a:lnTo>
                  <a:lnTo>
                    <a:pt x="792" y="618"/>
                  </a:lnTo>
                  <a:lnTo>
                    <a:pt x="786" y="600"/>
                  </a:lnTo>
                  <a:lnTo>
                    <a:pt x="786" y="576"/>
                  </a:lnTo>
                  <a:lnTo>
                    <a:pt x="792" y="570"/>
                  </a:lnTo>
                  <a:lnTo>
                    <a:pt x="810" y="570"/>
                  </a:lnTo>
                  <a:lnTo>
                    <a:pt x="810" y="528"/>
                  </a:lnTo>
                  <a:lnTo>
                    <a:pt x="798" y="516"/>
                  </a:lnTo>
                  <a:lnTo>
                    <a:pt x="810" y="510"/>
                  </a:lnTo>
                  <a:lnTo>
                    <a:pt x="810" y="498"/>
                  </a:lnTo>
                  <a:lnTo>
                    <a:pt x="804" y="486"/>
                  </a:lnTo>
                  <a:lnTo>
                    <a:pt x="804" y="474"/>
                  </a:lnTo>
                  <a:lnTo>
                    <a:pt x="798" y="468"/>
                  </a:lnTo>
                  <a:lnTo>
                    <a:pt x="792" y="456"/>
                  </a:lnTo>
                  <a:lnTo>
                    <a:pt x="786" y="450"/>
                  </a:lnTo>
                  <a:lnTo>
                    <a:pt x="774" y="444"/>
                  </a:lnTo>
                  <a:lnTo>
                    <a:pt x="768" y="438"/>
                  </a:lnTo>
                  <a:lnTo>
                    <a:pt x="762" y="420"/>
                  </a:lnTo>
                  <a:lnTo>
                    <a:pt x="756" y="420"/>
                  </a:lnTo>
                  <a:lnTo>
                    <a:pt x="738" y="402"/>
                  </a:lnTo>
                  <a:lnTo>
                    <a:pt x="714" y="390"/>
                  </a:lnTo>
                  <a:lnTo>
                    <a:pt x="702" y="378"/>
                  </a:lnTo>
                  <a:lnTo>
                    <a:pt x="696" y="360"/>
                  </a:lnTo>
                  <a:lnTo>
                    <a:pt x="690" y="348"/>
                  </a:lnTo>
                  <a:lnTo>
                    <a:pt x="690" y="330"/>
                  </a:lnTo>
                  <a:lnTo>
                    <a:pt x="684" y="324"/>
                  </a:lnTo>
                  <a:lnTo>
                    <a:pt x="678" y="324"/>
                  </a:lnTo>
                  <a:lnTo>
                    <a:pt x="666" y="318"/>
                  </a:lnTo>
                  <a:lnTo>
                    <a:pt x="654" y="318"/>
                  </a:lnTo>
                  <a:lnTo>
                    <a:pt x="648" y="324"/>
                  </a:lnTo>
                  <a:lnTo>
                    <a:pt x="648" y="342"/>
                  </a:lnTo>
                  <a:lnTo>
                    <a:pt x="654" y="342"/>
                  </a:lnTo>
                  <a:lnTo>
                    <a:pt x="660" y="348"/>
                  </a:lnTo>
                  <a:lnTo>
                    <a:pt x="672" y="342"/>
                  </a:lnTo>
                  <a:lnTo>
                    <a:pt x="678" y="348"/>
                  </a:lnTo>
                  <a:lnTo>
                    <a:pt x="678" y="366"/>
                  </a:lnTo>
                  <a:lnTo>
                    <a:pt x="672" y="366"/>
                  </a:lnTo>
                  <a:lnTo>
                    <a:pt x="666" y="360"/>
                  </a:lnTo>
                  <a:lnTo>
                    <a:pt x="654" y="372"/>
                  </a:lnTo>
                  <a:lnTo>
                    <a:pt x="630" y="342"/>
                  </a:lnTo>
                  <a:lnTo>
                    <a:pt x="612" y="342"/>
                  </a:lnTo>
                  <a:lnTo>
                    <a:pt x="636" y="378"/>
                  </a:lnTo>
                  <a:lnTo>
                    <a:pt x="618" y="378"/>
                  </a:lnTo>
                  <a:lnTo>
                    <a:pt x="648" y="426"/>
                  </a:lnTo>
                  <a:lnTo>
                    <a:pt x="636" y="438"/>
                  </a:lnTo>
                  <a:lnTo>
                    <a:pt x="648" y="444"/>
                  </a:lnTo>
                  <a:lnTo>
                    <a:pt x="666" y="462"/>
                  </a:lnTo>
                  <a:lnTo>
                    <a:pt x="678" y="468"/>
                  </a:lnTo>
                  <a:lnTo>
                    <a:pt x="684" y="480"/>
                  </a:lnTo>
                  <a:lnTo>
                    <a:pt x="684" y="504"/>
                  </a:lnTo>
                  <a:lnTo>
                    <a:pt x="678" y="516"/>
                  </a:lnTo>
                  <a:lnTo>
                    <a:pt x="678" y="534"/>
                  </a:lnTo>
                  <a:lnTo>
                    <a:pt x="672" y="540"/>
                  </a:lnTo>
                  <a:lnTo>
                    <a:pt x="672" y="570"/>
                  </a:lnTo>
                  <a:lnTo>
                    <a:pt x="678" y="570"/>
                  </a:lnTo>
                  <a:lnTo>
                    <a:pt x="690" y="582"/>
                  </a:lnTo>
                  <a:lnTo>
                    <a:pt x="690" y="600"/>
                  </a:lnTo>
                  <a:lnTo>
                    <a:pt x="678" y="606"/>
                  </a:lnTo>
                  <a:lnTo>
                    <a:pt x="660" y="606"/>
                  </a:lnTo>
                  <a:lnTo>
                    <a:pt x="660" y="618"/>
                  </a:lnTo>
                  <a:lnTo>
                    <a:pt x="666" y="630"/>
                  </a:lnTo>
                  <a:lnTo>
                    <a:pt x="666" y="642"/>
                  </a:lnTo>
                  <a:lnTo>
                    <a:pt x="660" y="654"/>
                  </a:lnTo>
                  <a:lnTo>
                    <a:pt x="654" y="660"/>
                  </a:lnTo>
                  <a:lnTo>
                    <a:pt x="642" y="666"/>
                  </a:lnTo>
                  <a:lnTo>
                    <a:pt x="630" y="666"/>
                  </a:lnTo>
                  <a:lnTo>
                    <a:pt x="618" y="672"/>
                  </a:lnTo>
                  <a:lnTo>
                    <a:pt x="612" y="678"/>
                  </a:lnTo>
                  <a:lnTo>
                    <a:pt x="606" y="678"/>
                  </a:lnTo>
                  <a:lnTo>
                    <a:pt x="606" y="696"/>
                  </a:lnTo>
                  <a:lnTo>
                    <a:pt x="588" y="696"/>
                  </a:lnTo>
                  <a:lnTo>
                    <a:pt x="564" y="672"/>
                  </a:lnTo>
                  <a:lnTo>
                    <a:pt x="564" y="654"/>
                  </a:lnTo>
                  <a:lnTo>
                    <a:pt x="570" y="636"/>
                  </a:lnTo>
                  <a:lnTo>
                    <a:pt x="558" y="636"/>
                  </a:lnTo>
                  <a:lnTo>
                    <a:pt x="552" y="642"/>
                  </a:lnTo>
                  <a:lnTo>
                    <a:pt x="540" y="648"/>
                  </a:lnTo>
                  <a:lnTo>
                    <a:pt x="534" y="654"/>
                  </a:lnTo>
                  <a:lnTo>
                    <a:pt x="534" y="660"/>
                  </a:lnTo>
                  <a:lnTo>
                    <a:pt x="540" y="666"/>
                  </a:lnTo>
                  <a:lnTo>
                    <a:pt x="558" y="702"/>
                  </a:lnTo>
                  <a:lnTo>
                    <a:pt x="558" y="714"/>
                  </a:lnTo>
                  <a:lnTo>
                    <a:pt x="552" y="720"/>
                  </a:lnTo>
                  <a:lnTo>
                    <a:pt x="540" y="744"/>
                  </a:lnTo>
                  <a:lnTo>
                    <a:pt x="540" y="756"/>
                  </a:lnTo>
                  <a:lnTo>
                    <a:pt x="546" y="762"/>
                  </a:lnTo>
                  <a:lnTo>
                    <a:pt x="546" y="768"/>
                  </a:lnTo>
                  <a:lnTo>
                    <a:pt x="552" y="780"/>
                  </a:lnTo>
                  <a:lnTo>
                    <a:pt x="558" y="786"/>
                  </a:lnTo>
                  <a:lnTo>
                    <a:pt x="558" y="792"/>
                  </a:lnTo>
                  <a:lnTo>
                    <a:pt x="522" y="792"/>
                  </a:lnTo>
                  <a:lnTo>
                    <a:pt x="498" y="780"/>
                  </a:lnTo>
                  <a:lnTo>
                    <a:pt x="474" y="780"/>
                  </a:lnTo>
                  <a:lnTo>
                    <a:pt x="450" y="792"/>
                  </a:lnTo>
                  <a:lnTo>
                    <a:pt x="438" y="792"/>
                  </a:lnTo>
                  <a:lnTo>
                    <a:pt x="420" y="798"/>
                  </a:lnTo>
                  <a:lnTo>
                    <a:pt x="414" y="804"/>
                  </a:lnTo>
                  <a:lnTo>
                    <a:pt x="378" y="804"/>
                  </a:lnTo>
                  <a:lnTo>
                    <a:pt x="366" y="792"/>
                  </a:lnTo>
                  <a:lnTo>
                    <a:pt x="336" y="816"/>
                  </a:lnTo>
                  <a:lnTo>
                    <a:pt x="330" y="828"/>
                  </a:lnTo>
                  <a:lnTo>
                    <a:pt x="312" y="846"/>
                  </a:lnTo>
                  <a:lnTo>
                    <a:pt x="306" y="864"/>
                  </a:lnTo>
                  <a:lnTo>
                    <a:pt x="300" y="870"/>
                  </a:lnTo>
                  <a:lnTo>
                    <a:pt x="294" y="882"/>
                  </a:lnTo>
                  <a:lnTo>
                    <a:pt x="270" y="882"/>
                  </a:lnTo>
                  <a:lnTo>
                    <a:pt x="264" y="888"/>
                  </a:lnTo>
                  <a:lnTo>
                    <a:pt x="258" y="888"/>
                  </a:lnTo>
                  <a:lnTo>
                    <a:pt x="258" y="900"/>
                  </a:lnTo>
                  <a:lnTo>
                    <a:pt x="264" y="912"/>
                  </a:lnTo>
                  <a:lnTo>
                    <a:pt x="276" y="924"/>
                  </a:lnTo>
                  <a:lnTo>
                    <a:pt x="288" y="924"/>
                  </a:lnTo>
                  <a:lnTo>
                    <a:pt x="294" y="918"/>
                  </a:lnTo>
                  <a:lnTo>
                    <a:pt x="312" y="918"/>
                  </a:lnTo>
                  <a:lnTo>
                    <a:pt x="318" y="924"/>
                  </a:lnTo>
                  <a:lnTo>
                    <a:pt x="324" y="924"/>
                  </a:lnTo>
                  <a:lnTo>
                    <a:pt x="336" y="930"/>
                  </a:lnTo>
                  <a:lnTo>
                    <a:pt x="342" y="930"/>
                  </a:lnTo>
                  <a:lnTo>
                    <a:pt x="348" y="924"/>
                  </a:lnTo>
                  <a:lnTo>
                    <a:pt x="348" y="912"/>
                  </a:lnTo>
                  <a:lnTo>
                    <a:pt x="354" y="906"/>
                  </a:lnTo>
                  <a:lnTo>
                    <a:pt x="354" y="894"/>
                  </a:lnTo>
                  <a:lnTo>
                    <a:pt x="372" y="906"/>
                  </a:lnTo>
                  <a:lnTo>
                    <a:pt x="378" y="906"/>
                  </a:lnTo>
                  <a:lnTo>
                    <a:pt x="384" y="900"/>
                  </a:lnTo>
                  <a:lnTo>
                    <a:pt x="420" y="882"/>
                  </a:lnTo>
                  <a:lnTo>
                    <a:pt x="426" y="882"/>
                  </a:lnTo>
                  <a:lnTo>
                    <a:pt x="432" y="876"/>
                  </a:lnTo>
                  <a:lnTo>
                    <a:pt x="444" y="876"/>
                  </a:lnTo>
                  <a:lnTo>
                    <a:pt x="456" y="882"/>
                  </a:lnTo>
                  <a:lnTo>
                    <a:pt x="480" y="882"/>
                  </a:lnTo>
                  <a:lnTo>
                    <a:pt x="480" y="876"/>
                  </a:lnTo>
                  <a:lnTo>
                    <a:pt x="474" y="870"/>
                  </a:lnTo>
                  <a:lnTo>
                    <a:pt x="474" y="864"/>
                  </a:lnTo>
                  <a:lnTo>
                    <a:pt x="480" y="858"/>
                  </a:lnTo>
                  <a:lnTo>
                    <a:pt x="498" y="858"/>
                  </a:lnTo>
                  <a:lnTo>
                    <a:pt x="516" y="876"/>
                  </a:lnTo>
                  <a:lnTo>
                    <a:pt x="522" y="870"/>
                  </a:lnTo>
                  <a:lnTo>
                    <a:pt x="534" y="864"/>
                  </a:lnTo>
                  <a:lnTo>
                    <a:pt x="540" y="864"/>
                  </a:lnTo>
                  <a:lnTo>
                    <a:pt x="546" y="858"/>
                  </a:lnTo>
                  <a:lnTo>
                    <a:pt x="552" y="864"/>
                  </a:lnTo>
                  <a:lnTo>
                    <a:pt x="552" y="882"/>
                  </a:lnTo>
                  <a:lnTo>
                    <a:pt x="546" y="894"/>
                  </a:lnTo>
                  <a:lnTo>
                    <a:pt x="540" y="900"/>
                  </a:lnTo>
                  <a:lnTo>
                    <a:pt x="540" y="912"/>
                  </a:lnTo>
                  <a:lnTo>
                    <a:pt x="546" y="918"/>
                  </a:lnTo>
                  <a:lnTo>
                    <a:pt x="552" y="930"/>
                  </a:lnTo>
                  <a:lnTo>
                    <a:pt x="576" y="954"/>
                  </a:lnTo>
                  <a:lnTo>
                    <a:pt x="600" y="966"/>
                  </a:lnTo>
                  <a:lnTo>
                    <a:pt x="612" y="960"/>
                  </a:lnTo>
                  <a:lnTo>
                    <a:pt x="618" y="954"/>
                  </a:lnTo>
                  <a:lnTo>
                    <a:pt x="630" y="930"/>
                  </a:lnTo>
                  <a:lnTo>
                    <a:pt x="630" y="906"/>
                  </a:lnTo>
                  <a:lnTo>
                    <a:pt x="660" y="900"/>
                  </a:lnTo>
                  <a:lnTo>
                    <a:pt x="654" y="894"/>
                  </a:lnTo>
                  <a:lnTo>
                    <a:pt x="648" y="882"/>
                  </a:lnTo>
                  <a:lnTo>
                    <a:pt x="636" y="870"/>
                  </a:lnTo>
                  <a:lnTo>
                    <a:pt x="624" y="870"/>
                  </a:lnTo>
                  <a:lnTo>
                    <a:pt x="612" y="858"/>
                  </a:lnTo>
                  <a:lnTo>
                    <a:pt x="630" y="834"/>
                  </a:lnTo>
                  <a:lnTo>
                    <a:pt x="636" y="834"/>
                  </a:lnTo>
                  <a:lnTo>
                    <a:pt x="636" y="840"/>
                  </a:lnTo>
                  <a:lnTo>
                    <a:pt x="642" y="852"/>
                  </a:lnTo>
                  <a:lnTo>
                    <a:pt x="642" y="858"/>
                  </a:lnTo>
                  <a:lnTo>
                    <a:pt x="654" y="858"/>
                  </a:lnTo>
                  <a:lnTo>
                    <a:pt x="666" y="870"/>
                  </a:lnTo>
                  <a:lnTo>
                    <a:pt x="666" y="876"/>
                  </a:lnTo>
                  <a:lnTo>
                    <a:pt x="684" y="864"/>
                  </a:lnTo>
                  <a:lnTo>
                    <a:pt x="696" y="870"/>
                  </a:lnTo>
                  <a:lnTo>
                    <a:pt x="732" y="870"/>
                  </a:lnTo>
                  <a:lnTo>
                    <a:pt x="744" y="858"/>
                  </a:lnTo>
                  <a:lnTo>
                    <a:pt x="744" y="852"/>
                  </a:lnTo>
                  <a:lnTo>
                    <a:pt x="738" y="846"/>
                  </a:lnTo>
                  <a:lnTo>
                    <a:pt x="738" y="840"/>
                  </a:lnTo>
                  <a:lnTo>
                    <a:pt x="744" y="834"/>
                  </a:lnTo>
                  <a:lnTo>
                    <a:pt x="762" y="834"/>
                  </a:lnTo>
                  <a:lnTo>
                    <a:pt x="768" y="840"/>
                  </a:lnTo>
                  <a:lnTo>
                    <a:pt x="768" y="858"/>
                  </a:lnTo>
                  <a:lnTo>
                    <a:pt x="774" y="864"/>
                  </a:lnTo>
                  <a:lnTo>
                    <a:pt x="774" y="870"/>
                  </a:lnTo>
                  <a:lnTo>
                    <a:pt x="780" y="870"/>
                  </a:lnTo>
                  <a:lnTo>
                    <a:pt x="786" y="864"/>
                  </a:lnTo>
                  <a:lnTo>
                    <a:pt x="786" y="852"/>
                  </a:lnTo>
                  <a:lnTo>
                    <a:pt x="780" y="840"/>
                  </a:lnTo>
                  <a:lnTo>
                    <a:pt x="780" y="816"/>
                  </a:lnTo>
                  <a:lnTo>
                    <a:pt x="804" y="816"/>
                  </a:lnTo>
                  <a:lnTo>
                    <a:pt x="804" y="798"/>
                  </a:lnTo>
                  <a:lnTo>
                    <a:pt x="810" y="792"/>
                  </a:lnTo>
                  <a:lnTo>
                    <a:pt x="810" y="786"/>
                  </a:lnTo>
                  <a:lnTo>
                    <a:pt x="816" y="780"/>
                  </a:lnTo>
                  <a:lnTo>
                    <a:pt x="828" y="792"/>
                  </a:lnTo>
                  <a:lnTo>
                    <a:pt x="828" y="840"/>
                  </a:lnTo>
                  <a:lnTo>
                    <a:pt x="852" y="840"/>
                  </a:lnTo>
                  <a:lnTo>
                    <a:pt x="858" y="828"/>
                  </a:lnTo>
                  <a:lnTo>
                    <a:pt x="858" y="792"/>
                  </a:lnTo>
                  <a:lnTo>
                    <a:pt x="876" y="780"/>
                  </a:lnTo>
                  <a:close/>
                  <a:moveTo>
                    <a:pt x="498" y="912"/>
                  </a:moveTo>
                  <a:lnTo>
                    <a:pt x="486" y="906"/>
                  </a:lnTo>
                  <a:lnTo>
                    <a:pt x="480" y="900"/>
                  </a:lnTo>
                  <a:lnTo>
                    <a:pt x="468" y="894"/>
                  </a:lnTo>
                  <a:lnTo>
                    <a:pt x="444" y="894"/>
                  </a:lnTo>
                  <a:lnTo>
                    <a:pt x="438" y="900"/>
                  </a:lnTo>
                  <a:lnTo>
                    <a:pt x="438" y="924"/>
                  </a:lnTo>
                  <a:lnTo>
                    <a:pt x="432" y="924"/>
                  </a:lnTo>
                  <a:lnTo>
                    <a:pt x="426" y="918"/>
                  </a:lnTo>
                  <a:lnTo>
                    <a:pt x="396" y="918"/>
                  </a:lnTo>
                  <a:lnTo>
                    <a:pt x="390" y="924"/>
                  </a:lnTo>
                  <a:lnTo>
                    <a:pt x="390" y="942"/>
                  </a:lnTo>
                  <a:lnTo>
                    <a:pt x="396" y="948"/>
                  </a:lnTo>
                  <a:lnTo>
                    <a:pt x="396" y="954"/>
                  </a:lnTo>
                  <a:lnTo>
                    <a:pt x="378" y="972"/>
                  </a:lnTo>
                  <a:lnTo>
                    <a:pt x="390" y="978"/>
                  </a:lnTo>
                  <a:lnTo>
                    <a:pt x="396" y="990"/>
                  </a:lnTo>
                  <a:lnTo>
                    <a:pt x="408" y="1002"/>
                  </a:lnTo>
                  <a:lnTo>
                    <a:pt x="432" y="1014"/>
                  </a:lnTo>
                  <a:lnTo>
                    <a:pt x="438" y="1020"/>
                  </a:lnTo>
                  <a:lnTo>
                    <a:pt x="450" y="1026"/>
                  </a:lnTo>
                  <a:lnTo>
                    <a:pt x="450" y="984"/>
                  </a:lnTo>
                  <a:lnTo>
                    <a:pt x="456" y="972"/>
                  </a:lnTo>
                  <a:lnTo>
                    <a:pt x="462" y="966"/>
                  </a:lnTo>
                  <a:lnTo>
                    <a:pt x="474" y="960"/>
                  </a:lnTo>
                  <a:lnTo>
                    <a:pt x="486" y="960"/>
                  </a:lnTo>
                  <a:lnTo>
                    <a:pt x="492" y="966"/>
                  </a:lnTo>
                  <a:lnTo>
                    <a:pt x="504" y="972"/>
                  </a:lnTo>
                  <a:lnTo>
                    <a:pt x="510" y="984"/>
                  </a:lnTo>
                  <a:lnTo>
                    <a:pt x="516" y="990"/>
                  </a:lnTo>
                  <a:lnTo>
                    <a:pt x="516" y="978"/>
                  </a:lnTo>
                  <a:lnTo>
                    <a:pt x="522" y="966"/>
                  </a:lnTo>
                  <a:lnTo>
                    <a:pt x="522" y="954"/>
                  </a:lnTo>
                  <a:lnTo>
                    <a:pt x="528" y="942"/>
                  </a:lnTo>
                  <a:lnTo>
                    <a:pt x="528" y="930"/>
                  </a:lnTo>
                  <a:lnTo>
                    <a:pt x="522" y="918"/>
                  </a:lnTo>
                  <a:lnTo>
                    <a:pt x="516" y="912"/>
                  </a:lnTo>
                  <a:lnTo>
                    <a:pt x="516" y="906"/>
                  </a:lnTo>
                  <a:lnTo>
                    <a:pt x="498" y="912"/>
                  </a:lnTo>
                  <a:close/>
                  <a:moveTo>
                    <a:pt x="354" y="1050"/>
                  </a:moveTo>
                  <a:lnTo>
                    <a:pt x="354" y="1038"/>
                  </a:lnTo>
                  <a:lnTo>
                    <a:pt x="372" y="1020"/>
                  </a:lnTo>
                  <a:lnTo>
                    <a:pt x="372" y="1008"/>
                  </a:lnTo>
                  <a:lnTo>
                    <a:pt x="360" y="1002"/>
                  </a:lnTo>
                  <a:lnTo>
                    <a:pt x="354" y="990"/>
                  </a:lnTo>
                  <a:lnTo>
                    <a:pt x="348" y="984"/>
                  </a:lnTo>
                  <a:lnTo>
                    <a:pt x="336" y="978"/>
                  </a:lnTo>
                  <a:lnTo>
                    <a:pt x="336" y="966"/>
                  </a:lnTo>
                  <a:lnTo>
                    <a:pt x="330" y="960"/>
                  </a:lnTo>
                  <a:lnTo>
                    <a:pt x="324" y="960"/>
                  </a:lnTo>
                  <a:lnTo>
                    <a:pt x="318" y="954"/>
                  </a:lnTo>
                  <a:lnTo>
                    <a:pt x="300" y="954"/>
                  </a:lnTo>
                  <a:lnTo>
                    <a:pt x="294" y="948"/>
                  </a:lnTo>
                  <a:lnTo>
                    <a:pt x="270" y="936"/>
                  </a:lnTo>
                  <a:lnTo>
                    <a:pt x="258" y="936"/>
                  </a:lnTo>
                  <a:lnTo>
                    <a:pt x="240" y="954"/>
                  </a:lnTo>
                  <a:lnTo>
                    <a:pt x="204" y="972"/>
                  </a:lnTo>
                  <a:lnTo>
                    <a:pt x="234" y="1026"/>
                  </a:lnTo>
                  <a:lnTo>
                    <a:pt x="252" y="1014"/>
                  </a:lnTo>
                  <a:lnTo>
                    <a:pt x="252" y="1008"/>
                  </a:lnTo>
                  <a:lnTo>
                    <a:pt x="246" y="1002"/>
                  </a:lnTo>
                  <a:lnTo>
                    <a:pt x="246" y="990"/>
                  </a:lnTo>
                  <a:lnTo>
                    <a:pt x="252" y="990"/>
                  </a:lnTo>
                  <a:lnTo>
                    <a:pt x="264" y="1002"/>
                  </a:lnTo>
                  <a:lnTo>
                    <a:pt x="270" y="1014"/>
                  </a:lnTo>
                  <a:lnTo>
                    <a:pt x="276" y="1020"/>
                  </a:lnTo>
                  <a:lnTo>
                    <a:pt x="282" y="1032"/>
                  </a:lnTo>
                  <a:lnTo>
                    <a:pt x="282" y="1068"/>
                  </a:lnTo>
                  <a:lnTo>
                    <a:pt x="264" y="1074"/>
                  </a:lnTo>
                  <a:lnTo>
                    <a:pt x="264" y="1080"/>
                  </a:lnTo>
                  <a:lnTo>
                    <a:pt x="270" y="1086"/>
                  </a:lnTo>
                  <a:lnTo>
                    <a:pt x="270" y="1104"/>
                  </a:lnTo>
                  <a:lnTo>
                    <a:pt x="276" y="1116"/>
                  </a:lnTo>
                  <a:lnTo>
                    <a:pt x="282" y="1134"/>
                  </a:lnTo>
                  <a:lnTo>
                    <a:pt x="294" y="1146"/>
                  </a:lnTo>
                  <a:lnTo>
                    <a:pt x="300" y="1146"/>
                  </a:lnTo>
                  <a:lnTo>
                    <a:pt x="306" y="1140"/>
                  </a:lnTo>
                  <a:lnTo>
                    <a:pt x="306" y="1104"/>
                  </a:lnTo>
                  <a:lnTo>
                    <a:pt x="336" y="1116"/>
                  </a:lnTo>
                  <a:lnTo>
                    <a:pt x="336" y="1140"/>
                  </a:lnTo>
                  <a:lnTo>
                    <a:pt x="342" y="1146"/>
                  </a:lnTo>
                  <a:lnTo>
                    <a:pt x="342" y="1152"/>
                  </a:lnTo>
                  <a:lnTo>
                    <a:pt x="348" y="1152"/>
                  </a:lnTo>
                  <a:lnTo>
                    <a:pt x="348" y="1140"/>
                  </a:lnTo>
                  <a:lnTo>
                    <a:pt x="360" y="1128"/>
                  </a:lnTo>
                  <a:lnTo>
                    <a:pt x="366" y="1116"/>
                  </a:lnTo>
                  <a:lnTo>
                    <a:pt x="366" y="1110"/>
                  </a:lnTo>
                  <a:lnTo>
                    <a:pt x="360" y="1104"/>
                  </a:lnTo>
                  <a:lnTo>
                    <a:pt x="360" y="1074"/>
                  </a:lnTo>
                  <a:lnTo>
                    <a:pt x="354" y="1062"/>
                  </a:lnTo>
                  <a:lnTo>
                    <a:pt x="354" y="1050"/>
                  </a:lnTo>
                  <a:close/>
                  <a:moveTo>
                    <a:pt x="264" y="1026"/>
                  </a:moveTo>
                  <a:lnTo>
                    <a:pt x="246" y="1062"/>
                  </a:lnTo>
                  <a:lnTo>
                    <a:pt x="264" y="1056"/>
                  </a:lnTo>
                  <a:lnTo>
                    <a:pt x="264" y="1026"/>
                  </a:lnTo>
                  <a:close/>
                  <a:moveTo>
                    <a:pt x="624" y="618"/>
                  </a:moveTo>
                  <a:lnTo>
                    <a:pt x="636" y="618"/>
                  </a:lnTo>
                  <a:lnTo>
                    <a:pt x="636" y="594"/>
                  </a:lnTo>
                  <a:lnTo>
                    <a:pt x="630" y="594"/>
                  </a:lnTo>
                  <a:lnTo>
                    <a:pt x="612" y="570"/>
                  </a:lnTo>
                  <a:lnTo>
                    <a:pt x="606" y="582"/>
                  </a:lnTo>
                  <a:lnTo>
                    <a:pt x="618" y="600"/>
                  </a:lnTo>
                  <a:lnTo>
                    <a:pt x="624" y="618"/>
                  </a:lnTo>
                  <a:close/>
                  <a:moveTo>
                    <a:pt x="546" y="72"/>
                  </a:moveTo>
                  <a:lnTo>
                    <a:pt x="552" y="96"/>
                  </a:lnTo>
                  <a:lnTo>
                    <a:pt x="558" y="102"/>
                  </a:lnTo>
                  <a:lnTo>
                    <a:pt x="570" y="108"/>
                  </a:lnTo>
                  <a:lnTo>
                    <a:pt x="576" y="114"/>
                  </a:lnTo>
                  <a:lnTo>
                    <a:pt x="576" y="132"/>
                  </a:lnTo>
                  <a:lnTo>
                    <a:pt x="564" y="144"/>
                  </a:lnTo>
                  <a:lnTo>
                    <a:pt x="564" y="150"/>
                  </a:lnTo>
                  <a:lnTo>
                    <a:pt x="570" y="156"/>
                  </a:lnTo>
                  <a:lnTo>
                    <a:pt x="576" y="168"/>
                  </a:lnTo>
                  <a:lnTo>
                    <a:pt x="582" y="174"/>
                  </a:lnTo>
                  <a:lnTo>
                    <a:pt x="582" y="186"/>
                  </a:lnTo>
                  <a:lnTo>
                    <a:pt x="576" y="186"/>
                  </a:lnTo>
                  <a:lnTo>
                    <a:pt x="564" y="180"/>
                  </a:lnTo>
                  <a:lnTo>
                    <a:pt x="552" y="180"/>
                  </a:lnTo>
                  <a:lnTo>
                    <a:pt x="540" y="174"/>
                  </a:lnTo>
                  <a:lnTo>
                    <a:pt x="528" y="174"/>
                  </a:lnTo>
                  <a:lnTo>
                    <a:pt x="522" y="168"/>
                  </a:lnTo>
                  <a:lnTo>
                    <a:pt x="522" y="180"/>
                  </a:lnTo>
                  <a:lnTo>
                    <a:pt x="540" y="198"/>
                  </a:lnTo>
                  <a:lnTo>
                    <a:pt x="516" y="228"/>
                  </a:lnTo>
                  <a:lnTo>
                    <a:pt x="522" y="240"/>
                  </a:lnTo>
                  <a:lnTo>
                    <a:pt x="528" y="246"/>
                  </a:lnTo>
                  <a:lnTo>
                    <a:pt x="528" y="252"/>
                  </a:lnTo>
                  <a:lnTo>
                    <a:pt x="534" y="258"/>
                  </a:lnTo>
                  <a:lnTo>
                    <a:pt x="546" y="264"/>
                  </a:lnTo>
                  <a:lnTo>
                    <a:pt x="552" y="270"/>
                  </a:lnTo>
                  <a:lnTo>
                    <a:pt x="564" y="276"/>
                  </a:lnTo>
                  <a:lnTo>
                    <a:pt x="570" y="282"/>
                  </a:lnTo>
                  <a:lnTo>
                    <a:pt x="576" y="282"/>
                  </a:lnTo>
                  <a:lnTo>
                    <a:pt x="576" y="318"/>
                  </a:lnTo>
                  <a:lnTo>
                    <a:pt x="582" y="330"/>
                  </a:lnTo>
                  <a:lnTo>
                    <a:pt x="600" y="330"/>
                  </a:lnTo>
                  <a:lnTo>
                    <a:pt x="600" y="300"/>
                  </a:lnTo>
                  <a:lnTo>
                    <a:pt x="636" y="300"/>
                  </a:lnTo>
                  <a:lnTo>
                    <a:pt x="642" y="294"/>
                  </a:lnTo>
                  <a:lnTo>
                    <a:pt x="606" y="270"/>
                  </a:lnTo>
                  <a:lnTo>
                    <a:pt x="588" y="270"/>
                  </a:lnTo>
                  <a:lnTo>
                    <a:pt x="576" y="264"/>
                  </a:lnTo>
                  <a:lnTo>
                    <a:pt x="570" y="264"/>
                  </a:lnTo>
                  <a:lnTo>
                    <a:pt x="558" y="258"/>
                  </a:lnTo>
                  <a:lnTo>
                    <a:pt x="558" y="246"/>
                  </a:lnTo>
                  <a:lnTo>
                    <a:pt x="564" y="240"/>
                  </a:lnTo>
                  <a:lnTo>
                    <a:pt x="576" y="234"/>
                  </a:lnTo>
                  <a:lnTo>
                    <a:pt x="600" y="246"/>
                  </a:lnTo>
                  <a:lnTo>
                    <a:pt x="606" y="252"/>
                  </a:lnTo>
                  <a:lnTo>
                    <a:pt x="618" y="240"/>
                  </a:lnTo>
                  <a:lnTo>
                    <a:pt x="630" y="234"/>
                  </a:lnTo>
                  <a:lnTo>
                    <a:pt x="636" y="234"/>
                  </a:lnTo>
                  <a:lnTo>
                    <a:pt x="690" y="252"/>
                  </a:lnTo>
                  <a:lnTo>
                    <a:pt x="726" y="270"/>
                  </a:lnTo>
                  <a:lnTo>
                    <a:pt x="756" y="282"/>
                  </a:lnTo>
                  <a:lnTo>
                    <a:pt x="768" y="282"/>
                  </a:lnTo>
                  <a:lnTo>
                    <a:pt x="768" y="270"/>
                  </a:lnTo>
                  <a:lnTo>
                    <a:pt x="762" y="258"/>
                  </a:lnTo>
                  <a:lnTo>
                    <a:pt x="762" y="222"/>
                  </a:lnTo>
                  <a:lnTo>
                    <a:pt x="780" y="204"/>
                  </a:lnTo>
                  <a:lnTo>
                    <a:pt x="792" y="204"/>
                  </a:lnTo>
                  <a:lnTo>
                    <a:pt x="798" y="210"/>
                  </a:lnTo>
                  <a:lnTo>
                    <a:pt x="816" y="210"/>
                  </a:lnTo>
                  <a:lnTo>
                    <a:pt x="840" y="198"/>
                  </a:lnTo>
                  <a:lnTo>
                    <a:pt x="858" y="180"/>
                  </a:lnTo>
                  <a:lnTo>
                    <a:pt x="804" y="144"/>
                  </a:lnTo>
                  <a:lnTo>
                    <a:pt x="804" y="120"/>
                  </a:lnTo>
                  <a:lnTo>
                    <a:pt x="798" y="108"/>
                  </a:lnTo>
                  <a:lnTo>
                    <a:pt x="792" y="102"/>
                  </a:lnTo>
                  <a:lnTo>
                    <a:pt x="786" y="102"/>
                  </a:lnTo>
                  <a:lnTo>
                    <a:pt x="774" y="114"/>
                  </a:lnTo>
                  <a:lnTo>
                    <a:pt x="774" y="126"/>
                  </a:lnTo>
                  <a:lnTo>
                    <a:pt x="756" y="120"/>
                  </a:lnTo>
                  <a:lnTo>
                    <a:pt x="720" y="114"/>
                  </a:lnTo>
                  <a:lnTo>
                    <a:pt x="678" y="102"/>
                  </a:lnTo>
                  <a:lnTo>
                    <a:pt x="648" y="90"/>
                  </a:lnTo>
                  <a:lnTo>
                    <a:pt x="624" y="72"/>
                  </a:lnTo>
                  <a:lnTo>
                    <a:pt x="552" y="24"/>
                  </a:lnTo>
                  <a:lnTo>
                    <a:pt x="516" y="6"/>
                  </a:lnTo>
                  <a:lnTo>
                    <a:pt x="498" y="0"/>
                  </a:lnTo>
                  <a:lnTo>
                    <a:pt x="498" y="18"/>
                  </a:lnTo>
                  <a:lnTo>
                    <a:pt x="510" y="30"/>
                  </a:lnTo>
                  <a:lnTo>
                    <a:pt x="516" y="42"/>
                  </a:lnTo>
                  <a:lnTo>
                    <a:pt x="528" y="54"/>
                  </a:lnTo>
                  <a:lnTo>
                    <a:pt x="534" y="66"/>
                  </a:lnTo>
                  <a:lnTo>
                    <a:pt x="546" y="72"/>
                  </a:lnTo>
                  <a:close/>
                  <a:moveTo>
                    <a:pt x="282" y="1458"/>
                  </a:moveTo>
                  <a:lnTo>
                    <a:pt x="306" y="1458"/>
                  </a:lnTo>
                  <a:lnTo>
                    <a:pt x="276" y="1440"/>
                  </a:lnTo>
                  <a:lnTo>
                    <a:pt x="282" y="1458"/>
                  </a:lnTo>
                  <a:close/>
                  <a:moveTo>
                    <a:pt x="300" y="1386"/>
                  </a:moveTo>
                  <a:lnTo>
                    <a:pt x="312" y="1398"/>
                  </a:lnTo>
                  <a:lnTo>
                    <a:pt x="318" y="1398"/>
                  </a:lnTo>
                  <a:lnTo>
                    <a:pt x="330" y="1386"/>
                  </a:lnTo>
                  <a:lnTo>
                    <a:pt x="336" y="1386"/>
                  </a:lnTo>
                  <a:lnTo>
                    <a:pt x="342" y="1380"/>
                  </a:lnTo>
                  <a:lnTo>
                    <a:pt x="342" y="1368"/>
                  </a:lnTo>
                  <a:lnTo>
                    <a:pt x="336" y="1362"/>
                  </a:lnTo>
                  <a:lnTo>
                    <a:pt x="318" y="1362"/>
                  </a:lnTo>
                  <a:lnTo>
                    <a:pt x="306" y="1368"/>
                  </a:lnTo>
                  <a:lnTo>
                    <a:pt x="300" y="1380"/>
                  </a:lnTo>
                  <a:lnTo>
                    <a:pt x="300" y="1386"/>
                  </a:lnTo>
                  <a:close/>
                  <a:moveTo>
                    <a:pt x="312" y="1416"/>
                  </a:moveTo>
                  <a:lnTo>
                    <a:pt x="300" y="1416"/>
                  </a:lnTo>
                  <a:lnTo>
                    <a:pt x="300" y="1428"/>
                  </a:lnTo>
                  <a:lnTo>
                    <a:pt x="318" y="1428"/>
                  </a:lnTo>
                  <a:lnTo>
                    <a:pt x="318" y="1422"/>
                  </a:lnTo>
                  <a:lnTo>
                    <a:pt x="312" y="1416"/>
                  </a:lnTo>
                  <a:close/>
                  <a:moveTo>
                    <a:pt x="336" y="1200"/>
                  </a:moveTo>
                  <a:lnTo>
                    <a:pt x="336" y="1206"/>
                  </a:lnTo>
                  <a:lnTo>
                    <a:pt x="330" y="1206"/>
                  </a:lnTo>
                  <a:lnTo>
                    <a:pt x="318" y="1212"/>
                  </a:lnTo>
                  <a:lnTo>
                    <a:pt x="342" y="1230"/>
                  </a:lnTo>
                  <a:lnTo>
                    <a:pt x="342" y="1218"/>
                  </a:lnTo>
                  <a:lnTo>
                    <a:pt x="336" y="1206"/>
                  </a:lnTo>
                  <a:lnTo>
                    <a:pt x="336" y="1200"/>
                  </a:lnTo>
                  <a:close/>
                  <a:moveTo>
                    <a:pt x="366" y="1170"/>
                  </a:moveTo>
                  <a:lnTo>
                    <a:pt x="366" y="1182"/>
                  </a:lnTo>
                  <a:lnTo>
                    <a:pt x="360" y="1194"/>
                  </a:lnTo>
                  <a:lnTo>
                    <a:pt x="378" y="1224"/>
                  </a:lnTo>
                  <a:lnTo>
                    <a:pt x="378" y="1200"/>
                  </a:lnTo>
                  <a:lnTo>
                    <a:pt x="372" y="1194"/>
                  </a:lnTo>
                  <a:lnTo>
                    <a:pt x="372" y="1176"/>
                  </a:lnTo>
                  <a:lnTo>
                    <a:pt x="366" y="1170"/>
                  </a:lnTo>
                  <a:close/>
                  <a:moveTo>
                    <a:pt x="36" y="1698"/>
                  </a:moveTo>
                  <a:lnTo>
                    <a:pt x="54" y="1698"/>
                  </a:lnTo>
                  <a:lnTo>
                    <a:pt x="60" y="1692"/>
                  </a:lnTo>
                  <a:lnTo>
                    <a:pt x="72" y="1692"/>
                  </a:lnTo>
                  <a:lnTo>
                    <a:pt x="42" y="1680"/>
                  </a:lnTo>
                  <a:lnTo>
                    <a:pt x="36" y="1686"/>
                  </a:lnTo>
                  <a:lnTo>
                    <a:pt x="36" y="1698"/>
                  </a:lnTo>
                  <a:close/>
                  <a:moveTo>
                    <a:pt x="114" y="1662"/>
                  </a:moveTo>
                  <a:lnTo>
                    <a:pt x="96" y="1632"/>
                  </a:lnTo>
                  <a:lnTo>
                    <a:pt x="96" y="1662"/>
                  </a:lnTo>
                  <a:lnTo>
                    <a:pt x="102" y="1674"/>
                  </a:lnTo>
                  <a:lnTo>
                    <a:pt x="114" y="1680"/>
                  </a:lnTo>
                  <a:lnTo>
                    <a:pt x="120" y="1680"/>
                  </a:lnTo>
                  <a:lnTo>
                    <a:pt x="126" y="1674"/>
                  </a:lnTo>
                  <a:lnTo>
                    <a:pt x="126" y="1662"/>
                  </a:lnTo>
                  <a:lnTo>
                    <a:pt x="114" y="1662"/>
                  </a:lnTo>
                  <a:close/>
                  <a:moveTo>
                    <a:pt x="12" y="1686"/>
                  </a:moveTo>
                  <a:lnTo>
                    <a:pt x="6" y="1686"/>
                  </a:lnTo>
                  <a:lnTo>
                    <a:pt x="0" y="1692"/>
                  </a:lnTo>
                  <a:lnTo>
                    <a:pt x="0" y="1704"/>
                  </a:lnTo>
                  <a:lnTo>
                    <a:pt x="6" y="1710"/>
                  </a:lnTo>
                  <a:lnTo>
                    <a:pt x="12" y="1710"/>
                  </a:lnTo>
                  <a:lnTo>
                    <a:pt x="24" y="1698"/>
                  </a:lnTo>
                  <a:lnTo>
                    <a:pt x="24" y="1686"/>
                  </a:lnTo>
                  <a:lnTo>
                    <a:pt x="12" y="1686"/>
                  </a:lnTo>
                  <a:close/>
                  <a:moveTo>
                    <a:pt x="168" y="1536"/>
                  </a:moveTo>
                  <a:lnTo>
                    <a:pt x="168" y="1542"/>
                  </a:lnTo>
                  <a:lnTo>
                    <a:pt x="180" y="1548"/>
                  </a:lnTo>
                  <a:lnTo>
                    <a:pt x="186" y="1548"/>
                  </a:lnTo>
                  <a:lnTo>
                    <a:pt x="186" y="1536"/>
                  </a:lnTo>
                  <a:lnTo>
                    <a:pt x="180" y="1530"/>
                  </a:lnTo>
                  <a:lnTo>
                    <a:pt x="168" y="1530"/>
                  </a:lnTo>
                  <a:lnTo>
                    <a:pt x="168" y="1536"/>
                  </a:lnTo>
                  <a:close/>
                  <a:moveTo>
                    <a:pt x="264" y="1494"/>
                  </a:moveTo>
                  <a:lnTo>
                    <a:pt x="252" y="1518"/>
                  </a:lnTo>
                  <a:lnTo>
                    <a:pt x="246" y="1536"/>
                  </a:lnTo>
                  <a:lnTo>
                    <a:pt x="246" y="1548"/>
                  </a:lnTo>
                  <a:lnTo>
                    <a:pt x="240" y="1554"/>
                  </a:lnTo>
                  <a:lnTo>
                    <a:pt x="240" y="1560"/>
                  </a:lnTo>
                  <a:lnTo>
                    <a:pt x="258" y="1566"/>
                  </a:lnTo>
                  <a:lnTo>
                    <a:pt x="264" y="1554"/>
                  </a:lnTo>
                  <a:lnTo>
                    <a:pt x="264" y="1548"/>
                  </a:lnTo>
                  <a:lnTo>
                    <a:pt x="270" y="1542"/>
                  </a:lnTo>
                  <a:lnTo>
                    <a:pt x="270" y="1524"/>
                  </a:lnTo>
                  <a:lnTo>
                    <a:pt x="288" y="1506"/>
                  </a:lnTo>
                  <a:lnTo>
                    <a:pt x="282" y="1500"/>
                  </a:lnTo>
                  <a:lnTo>
                    <a:pt x="282" y="1494"/>
                  </a:lnTo>
                  <a:lnTo>
                    <a:pt x="276" y="1488"/>
                  </a:lnTo>
                  <a:lnTo>
                    <a:pt x="264" y="1494"/>
                  </a:lnTo>
                  <a:close/>
                </a:path>
              </a:pathLst>
            </a:custGeom>
            <a:solidFill>
              <a:schemeClr val="accent2"/>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40" name="Jamaika" descr="© INSCALE GmbH, 05.05.2010&#10;http://www.presentationload.com/">
              <a:extLst>
                <a:ext uri="{FF2B5EF4-FFF2-40B4-BE49-F238E27FC236}">
                  <a16:creationId xmlns:a16="http://schemas.microsoft.com/office/drawing/2014/main" id="{E6C753B8-28DB-4452-BBCF-E371EC51B38B}"/>
                </a:ext>
              </a:extLst>
            </p:cNvPr>
            <p:cNvSpPr>
              <a:spLocks/>
            </p:cNvSpPr>
            <p:nvPr/>
          </p:nvSpPr>
          <p:spPr bwMode="gray">
            <a:xfrm>
              <a:off x="1941967" y="3663053"/>
              <a:ext cx="62721" cy="20385"/>
            </a:xfrm>
            <a:custGeom>
              <a:avLst/>
              <a:gdLst>
                <a:gd name="T0" fmla="*/ 2147483647 w 156"/>
                <a:gd name="T1" fmla="*/ 2147483647 h 54"/>
                <a:gd name="T2" fmla="*/ 2147483647 w 156"/>
                <a:gd name="T3" fmla="*/ 2147483647 h 54"/>
                <a:gd name="T4" fmla="*/ 2147483647 w 156"/>
                <a:gd name="T5" fmla="*/ 2147483647 h 54"/>
                <a:gd name="T6" fmla="*/ 2147483647 w 156"/>
                <a:gd name="T7" fmla="*/ 2147483647 h 54"/>
                <a:gd name="T8" fmla="*/ 2147483647 w 156"/>
                <a:gd name="T9" fmla="*/ 2147483647 h 54"/>
                <a:gd name="T10" fmla="*/ 2147483647 w 156"/>
                <a:gd name="T11" fmla="*/ 2147483647 h 54"/>
                <a:gd name="T12" fmla="*/ 2147483647 w 156"/>
                <a:gd name="T13" fmla="*/ 2147483647 h 54"/>
                <a:gd name="T14" fmla="*/ 2147483647 w 156"/>
                <a:gd name="T15" fmla="*/ 2147483647 h 54"/>
                <a:gd name="T16" fmla="*/ 2147483647 w 156"/>
                <a:gd name="T17" fmla="*/ 0 h 54"/>
                <a:gd name="T18" fmla="*/ 2147483647 w 156"/>
                <a:gd name="T19" fmla="*/ 0 h 54"/>
                <a:gd name="T20" fmla="*/ 2147483647 w 156"/>
                <a:gd name="T21" fmla="*/ 2147483647 h 54"/>
                <a:gd name="T22" fmla="*/ 0 w 156"/>
                <a:gd name="T23" fmla="*/ 2147483647 h 54"/>
                <a:gd name="T24" fmla="*/ 2147483647 w 156"/>
                <a:gd name="T25" fmla="*/ 2147483647 h 54"/>
                <a:gd name="T26" fmla="*/ 2147483647 w 156"/>
                <a:gd name="T27" fmla="*/ 2147483647 h 54"/>
                <a:gd name="T28" fmla="*/ 2147483647 w 156"/>
                <a:gd name="T29" fmla="*/ 2147483647 h 54"/>
                <a:gd name="T30" fmla="*/ 2147483647 w 156"/>
                <a:gd name="T31" fmla="*/ 2147483647 h 54"/>
                <a:gd name="T32" fmla="*/ 2147483647 w 156"/>
                <a:gd name="T33" fmla="*/ 2147483647 h 54"/>
                <a:gd name="T34" fmla="*/ 2147483647 w 156"/>
                <a:gd name="T35" fmla="*/ 2147483647 h 54"/>
                <a:gd name="T36" fmla="*/ 2147483647 w 156"/>
                <a:gd name="T37" fmla="*/ 2147483647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6"/>
                <a:gd name="T58" fmla="*/ 0 h 54"/>
                <a:gd name="T59" fmla="*/ 156 w 156"/>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6" h="54">
                  <a:moveTo>
                    <a:pt x="108" y="54"/>
                  </a:moveTo>
                  <a:lnTo>
                    <a:pt x="114" y="36"/>
                  </a:lnTo>
                  <a:lnTo>
                    <a:pt x="156" y="48"/>
                  </a:lnTo>
                  <a:lnTo>
                    <a:pt x="156" y="42"/>
                  </a:lnTo>
                  <a:lnTo>
                    <a:pt x="150" y="36"/>
                  </a:lnTo>
                  <a:lnTo>
                    <a:pt x="144" y="24"/>
                  </a:lnTo>
                  <a:lnTo>
                    <a:pt x="126" y="6"/>
                  </a:lnTo>
                  <a:lnTo>
                    <a:pt x="84" y="6"/>
                  </a:lnTo>
                  <a:lnTo>
                    <a:pt x="66" y="0"/>
                  </a:lnTo>
                  <a:lnTo>
                    <a:pt x="24" y="0"/>
                  </a:lnTo>
                  <a:lnTo>
                    <a:pt x="12" y="6"/>
                  </a:lnTo>
                  <a:lnTo>
                    <a:pt x="0" y="6"/>
                  </a:lnTo>
                  <a:lnTo>
                    <a:pt x="6" y="18"/>
                  </a:lnTo>
                  <a:lnTo>
                    <a:pt x="18" y="24"/>
                  </a:lnTo>
                  <a:lnTo>
                    <a:pt x="24" y="36"/>
                  </a:lnTo>
                  <a:lnTo>
                    <a:pt x="36" y="42"/>
                  </a:lnTo>
                  <a:lnTo>
                    <a:pt x="60" y="42"/>
                  </a:lnTo>
                  <a:lnTo>
                    <a:pt x="78" y="48"/>
                  </a:lnTo>
                  <a:lnTo>
                    <a:pt x="108" y="54"/>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41" name="Italien" descr="© INSCALE GmbH, 05.05.2010&#10;http://www.presentationload.com/">
              <a:extLst>
                <a:ext uri="{FF2B5EF4-FFF2-40B4-BE49-F238E27FC236}">
                  <a16:creationId xmlns:a16="http://schemas.microsoft.com/office/drawing/2014/main" id="{8E36C4AE-5D67-41F0-9793-8FA4226D9B1B}"/>
                </a:ext>
              </a:extLst>
            </p:cNvPr>
            <p:cNvSpPr>
              <a:spLocks noEditPoints="1"/>
            </p:cNvSpPr>
            <p:nvPr/>
          </p:nvSpPr>
          <p:spPr bwMode="gray">
            <a:xfrm>
              <a:off x="4323794" y="2745759"/>
              <a:ext cx="308900" cy="330853"/>
            </a:xfrm>
            <a:custGeom>
              <a:avLst/>
              <a:gdLst>
                <a:gd name="T0" fmla="*/ 2147483647 w 780"/>
                <a:gd name="T1" fmla="*/ 2147483647 h 828"/>
                <a:gd name="T2" fmla="*/ 2147483647 w 780"/>
                <a:gd name="T3" fmla="*/ 2147483647 h 828"/>
                <a:gd name="T4" fmla="*/ 2147483647 w 780"/>
                <a:gd name="T5" fmla="*/ 2147483647 h 828"/>
                <a:gd name="T6" fmla="*/ 2147483647 w 780"/>
                <a:gd name="T7" fmla="*/ 2147483647 h 828"/>
                <a:gd name="T8" fmla="*/ 2147483647 w 780"/>
                <a:gd name="T9" fmla="*/ 2147483647 h 828"/>
                <a:gd name="T10" fmla="*/ 2147483647 w 780"/>
                <a:gd name="T11" fmla="*/ 2147483647 h 828"/>
                <a:gd name="T12" fmla="*/ 2147483647 w 780"/>
                <a:gd name="T13" fmla="*/ 2147483647 h 828"/>
                <a:gd name="T14" fmla="*/ 2147483647 w 780"/>
                <a:gd name="T15" fmla="*/ 2147483647 h 828"/>
                <a:gd name="T16" fmla="*/ 2147483647 w 780"/>
                <a:gd name="T17" fmla="*/ 2147483647 h 828"/>
                <a:gd name="T18" fmla="*/ 2147483647 w 780"/>
                <a:gd name="T19" fmla="*/ 2147483647 h 828"/>
                <a:gd name="T20" fmla="*/ 2147483647 w 780"/>
                <a:gd name="T21" fmla="*/ 2147483647 h 828"/>
                <a:gd name="T22" fmla="*/ 2147483647 w 780"/>
                <a:gd name="T23" fmla="*/ 2147483647 h 828"/>
                <a:gd name="T24" fmla="*/ 2147483647 w 780"/>
                <a:gd name="T25" fmla="*/ 2147483647 h 828"/>
                <a:gd name="T26" fmla="*/ 2147483647 w 780"/>
                <a:gd name="T27" fmla="*/ 2147483647 h 828"/>
                <a:gd name="T28" fmla="*/ 2147483647 w 780"/>
                <a:gd name="T29" fmla="*/ 2147483647 h 828"/>
                <a:gd name="T30" fmla="*/ 2147483647 w 780"/>
                <a:gd name="T31" fmla="*/ 2147483647 h 828"/>
                <a:gd name="T32" fmla="*/ 2147483647 w 780"/>
                <a:gd name="T33" fmla="*/ 2147483647 h 828"/>
                <a:gd name="T34" fmla="*/ 2147483647 w 780"/>
                <a:gd name="T35" fmla="*/ 2147483647 h 828"/>
                <a:gd name="T36" fmla="*/ 2147483647 w 780"/>
                <a:gd name="T37" fmla="*/ 2147483647 h 828"/>
                <a:gd name="T38" fmla="*/ 2147483647 w 780"/>
                <a:gd name="T39" fmla="*/ 2147483647 h 828"/>
                <a:gd name="T40" fmla="*/ 2147483647 w 780"/>
                <a:gd name="T41" fmla="*/ 2147483647 h 828"/>
                <a:gd name="T42" fmla="*/ 2147483647 w 780"/>
                <a:gd name="T43" fmla="*/ 2147483647 h 828"/>
                <a:gd name="T44" fmla="*/ 2147483647 w 780"/>
                <a:gd name="T45" fmla="*/ 2147483647 h 828"/>
                <a:gd name="T46" fmla="*/ 2147483647 w 780"/>
                <a:gd name="T47" fmla="*/ 2147483647 h 828"/>
                <a:gd name="T48" fmla="*/ 2147483647 w 780"/>
                <a:gd name="T49" fmla="*/ 2147483647 h 828"/>
                <a:gd name="T50" fmla="*/ 2147483647 w 780"/>
                <a:gd name="T51" fmla="*/ 2147483647 h 828"/>
                <a:gd name="T52" fmla="*/ 2147483647 w 780"/>
                <a:gd name="T53" fmla="*/ 2147483647 h 828"/>
                <a:gd name="T54" fmla="*/ 2147483647 w 780"/>
                <a:gd name="T55" fmla="*/ 2147483647 h 828"/>
                <a:gd name="T56" fmla="*/ 2147483647 w 780"/>
                <a:gd name="T57" fmla="*/ 2147483647 h 828"/>
                <a:gd name="T58" fmla="*/ 2147483647 w 780"/>
                <a:gd name="T59" fmla="*/ 2147483647 h 828"/>
                <a:gd name="T60" fmla="*/ 2147483647 w 780"/>
                <a:gd name="T61" fmla="*/ 2147483647 h 828"/>
                <a:gd name="T62" fmla="*/ 2147483647 w 780"/>
                <a:gd name="T63" fmla="*/ 2147483647 h 828"/>
                <a:gd name="T64" fmla="*/ 2147483647 w 780"/>
                <a:gd name="T65" fmla="*/ 2147483647 h 828"/>
                <a:gd name="T66" fmla="*/ 2147483647 w 780"/>
                <a:gd name="T67" fmla="*/ 2147483647 h 828"/>
                <a:gd name="T68" fmla="*/ 2147483647 w 780"/>
                <a:gd name="T69" fmla="*/ 2147483647 h 828"/>
                <a:gd name="T70" fmla="*/ 2147483647 w 780"/>
                <a:gd name="T71" fmla="*/ 2147483647 h 828"/>
                <a:gd name="T72" fmla="*/ 2147483647 w 780"/>
                <a:gd name="T73" fmla="*/ 2147483647 h 828"/>
                <a:gd name="T74" fmla="*/ 2147483647 w 780"/>
                <a:gd name="T75" fmla="*/ 2147483647 h 828"/>
                <a:gd name="T76" fmla="*/ 2147483647 w 780"/>
                <a:gd name="T77" fmla="*/ 2147483647 h 828"/>
                <a:gd name="T78" fmla="*/ 2147483647 w 780"/>
                <a:gd name="T79" fmla="*/ 2147483647 h 828"/>
                <a:gd name="T80" fmla="*/ 2147483647 w 780"/>
                <a:gd name="T81" fmla="*/ 2147483647 h 828"/>
                <a:gd name="T82" fmla="*/ 2147483647 w 780"/>
                <a:gd name="T83" fmla="*/ 2147483647 h 828"/>
                <a:gd name="T84" fmla="*/ 2147483647 w 780"/>
                <a:gd name="T85" fmla="*/ 2147483647 h 828"/>
                <a:gd name="T86" fmla="*/ 2147483647 w 780"/>
                <a:gd name="T87" fmla="*/ 2147483647 h 828"/>
                <a:gd name="T88" fmla="*/ 2147483647 w 780"/>
                <a:gd name="T89" fmla="*/ 2147483647 h 828"/>
                <a:gd name="T90" fmla="*/ 2147483647 w 780"/>
                <a:gd name="T91" fmla="*/ 2147483647 h 828"/>
                <a:gd name="T92" fmla="*/ 2147483647 w 780"/>
                <a:gd name="T93" fmla="*/ 2147483647 h 828"/>
                <a:gd name="T94" fmla="*/ 2147483647 w 780"/>
                <a:gd name="T95" fmla="*/ 2147483647 h 828"/>
                <a:gd name="T96" fmla="*/ 2147483647 w 780"/>
                <a:gd name="T97" fmla="*/ 2147483647 h 828"/>
                <a:gd name="T98" fmla="*/ 2147483647 w 780"/>
                <a:gd name="T99" fmla="*/ 2147483647 h 828"/>
                <a:gd name="T100" fmla="*/ 2147483647 w 780"/>
                <a:gd name="T101" fmla="*/ 2147483647 h 828"/>
                <a:gd name="T102" fmla="*/ 2147483647 w 780"/>
                <a:gd name="T103" fmla="*/ 2147483647 h 828"/>
                <a:gd name="T104" fmla="*/ 2147483647 w 780"/>
                <a:gd name="T105" fmla="*/ 2147483647 h 828"/>
                <a:gd name="T106" fmla="*/ 2147483647 w 780"/>
                <a:gd name="T107" fmla="*/ 2147483647 h 828"/>
                <a:gd name="T108" fmla="*/ 2147483647 w 780"/>
                <a:gd name="T109" fmla="*/ 2147483647 h 828"/>
                <a:gd name="T110" fmla="*/ 2147483647 w 780"/>
                <a:gd name="T111" fmla="*/ 2147483647 h 828"/>
                <a:gd name="T112" fmla="*/ 2147483647 w 780"/>
                <a:gd name="T113" fmla="*/ 2147483647 h 8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0"/>
                <a:gd name="T172" fmla="*/ 0 h 828"/>
                <a:gd name="T173" fmla="*/ 780 w 780"/>
                <a:gd name="T174" fmla="*/ 828 h 8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0" h="828">
                  <a:moveTo>
                    <a:pt x="570" y="720"/>
                  </a:moveTo>
                  <a:lnTo>
                    <a:pt x="558" y="714"/>
                  </a:lnTo>
                  <a:lnTo>
                    <a:pt x="552" y="708"/>
                  </a:lnTo>
                  <a:lnTo>
                    <a:pt x="540" y="708"/>
                  </a:lnTo>
                  <a:lnTo>
                    <a:pt x="534" y="714"/>
                  </a:lnTo>
                  <a:lnTo>
                    <a:pt x="522" y="720"/>
                  </a:lnTo>
                  <a:lnTo>
                    <a:pt x="516" y="726"/>
                  </a:lnTo>
                  <a:lnTo>
                    <a:pt x="468" y="726"/>
                  </a:lnTo>
                  <a:lnTo>
                    <a:pt x="456" y="720"/>
                  </a:lnTo>
                  <a:lnTo>
                    <a:pt x="444" y="708"/>
                  </a:lnTo>
                  <a:lnTo>
                    <a:pt x="438" y="708"/>
                  </a:lnTo>
                  <a:lnTo>
                    <a:pt x="420" y="726"/>
                  </a:lnTo>
                  <a:lnTo>
                    <a:pt x="402" y="714"/>
                  </a:lnTo>
                  <a:lnTo>
                    <a:pt x="396" y="714"/>
                  </a:lnTo>
                  <a:lnTo>
                    <a:pt x="384" y="726"/>
                  </a:lnTo>
                  <a:lnTo>
                    <a:pt x="384" y="738"/>
                  </a:lnTo>
                  <a:lnTo>
                    <a:pt x="396" y="750"/>
                  </a:lnTo>
                  <a:lnTo>
                    <a:pt x="420" y="762"/>
                  </a:lnTo>
                  <a:lnTo>
                    <a:pt x="426" y="762"/>
                  </a:lnTo>
                  <a:lnTo>
                    <a:pt x="444" y="780"/>
                  </a:lnTo>
                  <a:lnTo>
                    <a:pt x="444" y="786"/>
                  </a:lnTo>
                  <a:lnTo>
                    <a:pt x="456" y="786"/>
                  </a:lnTo>
                  <a:lnTo>
                    <a:pt x="468" y="798"/>
                  </a:lnTo>
                  <a:lnTo>
                    <a:pt x="480" y="804"/>
                  </a:lnTo>
                  <a:lnTo>
                    <a:pt x="498" y="798"/>
                  </a:lnTo>
                  <a:lnTo>
                    <a:pt x="504" y="804"/>
                  </a:lnTo>
                  <a:lnTo>
                    <a:pt x="516" y="810"/>
                  </a:lnTo>
                  <a:lnTo>
                    <a:pt x="522" y="822"/>
                  </a:lnTo>
                  <a:lnTo>
                    <a:pt x="534" y="828"/>
                  </a:lnTo>
                  <a:lnTo>
                    <a:pt x="558" y="828"/>
                  </a:lnTo>
                  <a:lnTo>
                    <a:pt x="570" y="816"/>
                  </a:lnTo>
                  <a:lnTo>
                    <a:pt x="570" y="792"/>
                  </a:lnTo>
                  <a:lnTo>
                    <a:pt x="564" y="780"/>
                  </a:lnTo>
                  <a:lnTo>
                    <a:pt x="564" y="768"/>
                  </a:lnTo>
                  <a:lnTo>
                    <a:pt x="570" y="750"/>
                  </a:lnTo>
                  <a:lnTo>
                    <a:pt x="576" y="738"/>
                  </a:lnTo>
                  <a:lnTo>
                    <a:pt x="582" y="732"/>
                  </a:lnTo>
                  <a:lnTo>
                    <a:pt x="582" y="714"/>
                  </a:lnTo>
                  <a:lnTo>
                    <a:pt x="576" y="702"/>
                  </a:lnTo>
                  <a:lnTo>
                    <a:pt x="570" y="720"/>
                  </a:lnTo>
                  <a:close/>
                  <a:moveTo>
                    <a:pt x="180" y="468"/>
                  </a:moveTo>
                  <a:lnTo>
                    <a:pt x="156" y="480"/>
                  </a:lnTo>
                  <a:lnTo>
                    <a:pt x="150" y="486"/>
                  </a:lnTo>
                  <a:lnTo>
                    <a:pt x="138" y="492"/>
                  </a:lnTo>
                  <a:lnTo>
                    <a:pt x="132" y="498"/>
                  </a:lnTo>
                  <a:lnTo>
                    <a:pt x="126" y="498"/>
                  </a:lnTo>
                  <a:lnTo>
                    <a:pt x="114" y="492"/>
                  </a:lnTo>
                  <a:lnTo>
                    <a:pt x="102" y="480"/>
                  </a:lnTo>
                  <a:lnTo>
                    <a:pt x="96" y="498"/>
                  </a:lnTo>
                  <a:lnTo>
                    <a:pt x="102" y="504"/>
                  </a:lnTo>
                  <a:lnTo>
                    <a:pt x="114" y="510"/>
                  </a:lnTo>
                  <a:lnTo>
                    <a:pt x="120" y="522"/>
                  </a:lnTo>
                  <a:lnTo>
                    <a:pt x="120" y="540"/>
                  </a:lnTo>
                  <a:lnTo>
                    <a:pt x="114" y="558"/>
                  </a:lnTo>
                  <a:lnTo>
                    <a:pt x="114" y="570"/>
                  </a:lnTo>
                  <a:lnTo>
                    <a:pt x="126" y="582"/>
                  </a:lnTo>
                  <a:lnTo>
                    <a:pt x="114" y="588"/>
                  </a:lnTo>
                  <a:lnTo>
                    <a:pt x="120" y="636"/>
                  </a:lnTo>
                  <a:lnTo>
                    <a:pt x="108" y="636"/>
                  </a:lnTo>
                  <a:lnTo>
                    <a:pt x="126" y="654"/>
                  </a:lnTo>
                  <a:lnTo>
                    <a:pt x="138" y="654"/>
                  </a:lnTo>
                  <a:lnTo>
                    <a:pt x="144" y="642"/>
                  </a:lnTo>
                  <a:lnTo>
                    <a:pt x="156" y="630"/>
                  </a:lnTo>
                  <a:lnTo>
                    <a:pt x="156" y="618"/>
                  </a:lnTo>
                  <a:lnTo>
                    <a:pt x="168" y="630"/>
                  </a:lnTo>
                  <a:lnTo>
                    <a:pt x="180" y="636"/>
                  </a:lnTo>
                  <a:lnTo>
                    <a:pt x="186" y="636"/>
                  </a:lnTo>
                  <a:lnTo>
                    <a:pt x="192" y="630"/>
                  </a:lnTo>
                  <a:lnTo>
                    <a:pt x="198" y="618"/>
                  </a:lnTo>
                  <a:lnTo>
                    <a:pt x="198" y="594"/>
                  </a:lnTo>
                  <a:lnTo>
                    <a:pt x="204" y="582"/>
                  </a:lnTo>
                  <a:lnTo>
                    <a:pt x="204" y="558"/>
                  </a:lnTo>
                  <a:lnTo>
                    <a:pt x="198" y="552"/>
                  </a:lnTo>
                  <a:lnTo>
                    <a:pt x="192" y="552"/>
                  </a:lnTo>
                  <a:lnTo>
                    <a:pt x="192" y="546"/>
                  </a:lnTo>
                  <a:lnTo>
                    <a:pt x="198" y="540"/>
                  </a:lnTo>
                  <a:lnTo>
                    <a:pt x="204" y="540"/>
                  </a:lnTo>
                  <a:lnTo>
                    <a:pt x="210" y="534"/>
                  </a:lnTo>
                  <a:lnTo>
                    <a:pt x="210" y="522"/>
                  </a:lnTo>
                  <a:lnTo>
                    <a:pt x="204" y="510"/>
                  </a:lnTo>
                  <a:lnTo>
                    <a:pt x="204" y="492"/>
                  </a:lnTo>
                  <a:lnTo>
                    <a:pt x="198" y="480"/>
                  </a:lnTo>
                  <a:lnTo>
                    <a:pt x="186" y="474"/>
                  </a:lnTo>
                  <a:lnTo>
                    <a:pt x="180" y="468"/>
                  </a:lnTo>
                  <a:close/>
                  <a:moveTo>
                    <a:pt x="774" y="546"/>
                  </a:moveTo>
                  <a:lnTo>
                    <a:pt x="768" y="534"/>
                  </a:lnTo>
                  <a:lnTo>
                    <a:pt x="756" y="528"/>
                  </a:lnTo>
                  <a:lnTo>
                    <a:pt x="738" y="510"/>
                  </a:lnTo>
                  <a:lnTo>
                    <a:pt x="678" y="480"/>
                  </a:lnTo>
                  <a:lnTo>
                    <a:pt x="672" y="480"/>
                  </a:lnTo>
                  <a:lnTo>
                    <a:pt x="660" y="474"/>
                  </a:lnTo>
                  <a:lnTo>
                    <a:pt x="648" y="474"/>
                  </a:lnTo>
                  <a:lnTo>
                    <a:pt x="630" y="468"/>
                  </a:lnTo>
                  <a:lnTo>
                    <a:pt x="606" y="456"/>
                  </a:lnTo>
                  <a:lnTo>
                    <a:pt x="606" y="450"/>
                  </a:lnTo>
                  <a:lnTo>
                    <a:pt x="612" y="438"/>
                  </a:lnTo>
                  <a:lnTo>
                    <a:pt x="624" y="426"/>
                  </a:lnTo>
                  <a:lnTo>
                    <a:pt x="624" y="420"/>
                  </a:lnTo>
                  <a:lnTo>
                    <a:pt x="618" y="414"/>
                  </a:lnTo>
                  <a:lnTo>
                    <a:pt x="612" y="414"/>
                  </a:lnTo>
                  <a:lnTo>
                    <a:pt x="594" y="408"/>
                  </a:lnTo>
                  <a:lnTo>
                    <a:pt x="552" y="408"/>
                  </a:lnTo>
                  <a:lnTo>
                    <a:pt x="540" y="402"/>
                  </a:lnTo>
                  <a:lnTo>
                    <a:pt x="534" y="396"/>
                  </a:lnTo>
                  <a:lnTo>
                    <a:pt x="516" y="384"/>
                  </a:lnTo>
                  <a:lnTo>
                    <a:pt x="492" y="360"/>
                  </a:lnTo>
                  <a:lnTo>
                    <a:pt x="480" y="342"/>
                  </a:lnTo>
                  <a:lnTo>
                    <a:pt x="474" y="336"/>
                  </a:lnTo>
                  <a:lnTo>
                    <a:pt x="468" y="324"/>
                  </a:lnTo>
                  <a:lnTo>
                    <a:pt x="468" y="312"/>
                  </a:lnTo>
                  <a:lnTo>
                    <a:pt x="450" y="276"/>
                  </a:lnTo>
                  <a:lnTo>
                    <a:pt x="438" y="270"/>
                  </a:lnTo>
                  <a:lnTo>
                    <a:pt x="432" y="264"/>
                  </a:lnTo>
                  <a:lnTo>
                    <a:pt x="420" y="258"/>
                  </a:lnTo>
                  <a:lnTo>
                    <a:pt x="414" y="252"/>
                  </a:lnTo>
                  <a:lnTo>
                    <a:pt x="378" y="222"/>
                  </a:lnTo>
                  <a:lnTo>
                    <a:pt x="372" y="210"/>
                  </a:lnTo>
                  <a:lnTo>
                    <a:pt x="360" y="198"/>
                  </a:lnTo>
                  <a:lnTo>
                    <a:pt x="360" y="186"/>
                  </a:lnTo>
                  <a:lnTo>
                    <a:pt x="366" y="180"/>
                  </a:lnTo>
                  <a:lnTo>
                    <a:pt x="384" y="180"/>
                  </a:lnTo>
                  <a:lnTo>
                    <a:pt x="384" y="174"/>
                  </a:lnTo>
                  <a:lnTo>
                    <a:pt x="372" y="162"/>
                  </a:lnTo>
                  <a:lnTo>
                    <a:pt x="366" y="150"/>
                  </a:lnTo>
                  <a:lnTo>
                    <a:pt x="366" y="138"/>
                  </a:lnTo>
                  <a:lnTo>
                    <a:pt x="402" y="120"/>
                  </a:lnTo>
                  <a:lnTo>
                    <a:pt x="408" y="114"/>
                  </a:lnTo>
                  <a:lnTo>
                    <a:pt x="414" y="114"/>
                  </a:lnTo>
                  <a:lnTo>
                    <a:pt x="438" y="108"/>
                  </a:lnTo>
                  <a:lnTo>
                    <a:pt x="444" y="72"/>
                  </a:lnTo>
                  <a:lnTo>
                    <a:pt x="432" y="66"/>
                  </a:lnTo>
                  <a:lnTo>
                    <a:pt x="438" y="60"/>
                  </a:lnTo>
                  <a:lnTo>
                    <a:pt x="438" y="42"/>
                  </a:lnTo>
                  <a:lnTo>
                    <a:pt x="384" y="42"/>
                  </a:lnTo>
                  <a:lnTo>
                    <a:pt x="378" y="24"/>
                  </a:lnTo>
                  <a:lnTo>
                    <a:pt x="366" y="24"/>
                  </a:lnTo>
                  <a:lnTo>
                    <a:pt x="366" y="6"/>
                  </a:lnTo>
                  <a:lnTo>
                    <a:pt x="360" y="0"/>
                  </a:lnTo>
                  <a:lnTo>
                    <a:pt x="342" y="0"/>
                  </a:lnTo>
                  <a:lnTo>
                    <a:pt x="336" y="6"/>
                  </a:lnTo>
                  <a:lnTo>
                    <a:pt x="336" y="12"/>
                  </a:lnTo>
                  <a:lnTo>
                    <a:pt x="294" y="12"/>
                  </a:lnTo>
                  <a:lnTo>
                    <a:pt x="282" y="30"/>
                  </a:lnTo>
                  <a:lnTo>
                    <a:pt x="270" y="24"/>
                  </a:lnTo>
                  <a:lnTo>
                    <a:pt x="252" y="24"/>
                  </a:lnTo>
                  <a:lnTo>
                    <a:pt x="246" y="42"/>
                  </a:lnTo>
                  <a:lnTo>
                    <a:pt x="222" y="42"/>
                  </a:lnTo>
                  <a:lnTo>
                    <a:pt x="222" y="48"/>
                  </a:lnTo>
                  <a:lnTo>
                    <a:pt x="234" y="60"/>
                  </a:lnTo>
                  <a:lnTo>
                    <a:pt x="228" y="72"/>
                  </a:lnTo>
                  <a:lnTo>
                    <a:pt x="210" y="60"/>
                  </a:lnTo>
                  <a:lnTo>
                    <a:pt x="192" y="66"/>
                  </a:lnTo>
                  <a:lnTo>
                    <a:pt x="180" y="48"/>
                  </a:lnTo>
                  <a:lnTo>
                    <a:pt x="174" y="72"/>
                  </a:lnTo>
                  <a:lnTo>
                    <a:pt x="162" y="84"/>
                  </a:lnTo>
                  <a:lnTo>
                    <a:pt x="162" y="102"/>
                  </a:lnTo>
                  <a:lnTo>
                    <a:pt x="138" y="78"/>
                  </a:lnTo>
                  <a:lnTo>
                    <a:pt x="132" y="78"/>
                  </a:lnTo>
                  <a:lnTo>
                    <a:pt x="132" y="72"/>
                  </a:lnTo>
                  <a:lnTo>
                    <a:pt x="126" y="66"/>
                  </a:lnTo>
                  <a:lnTo>
                    <a:pt x="126" y="60"/>
                  </a:lnTo>
                  <a:lnTo>
                    <a:pt x="120" y="54"/>
                  </a:lnTo>
                  <a:lnTo>
                    <a:pt x="108" y="54"/>
                  </a:lnTo>
                  <a:lnTo>
                    <a:pt x="102" y="60"/>
                  </a:lnTo>
                  <a:lnTo>
                    <a:pt x="102" y="78"/>
                  </a:lnTo>
                  <a:lnTo>
                    <a:pt x="84" y="96"/>
                  </a:lnTo>
                  <a:lnTo>
                    <a:pt x="78" y="96"/>
                  </a:lnTo>
                  <a:lnTo>
                    <a:pt x="66" y="84"/>
                  </a:lnTo>
                  <a:lnTo>
                    <a:pt x="54" y="84"/>
                  </a:lnTo>
                  <a:lnTo>
                    <a:pt x="42" y="96"/>
                  </a:lnTo>
                  <a:lnTo>
                    <a:pt x="30" y="96"/>
                  </a:lnTo>
                  <a:lnTo>
                    <a:pt x="30" y="102"/>
                  </a:lnTo>
                  <a:lnTo>
                    <a:pt x="24" y="102"/>
                  </a:lnTo>
                  <a:lnTo>
                    <a:pt x="18" y="108"/>
                  </a:lnTo>
                  <a:lnTo>
                    <a:pt x="42" y="132"/>
                  </a:lnTo>
                  <a:lnTo>
                    <a:pt x="42" y="138"/>
                  </a:lnTo>
                  <a:lnTo>
                    <a:pt x="24" y="156"/>
                  </a:lnTo>
                  <a:lnTo>
                    <a:pt x="0" y="156"/>
                  </a:lnTo>
                  <a:lnTo>
                    <a:pt x="12" y="174"/>
                  </a:lnTo>
                  <a:lnTo>
                    <a:pt x="24" y="174"/>
                  </a:lnTo>
                  <a:lnTo>
                    <a:pt x="30" y="180"/>
                  </a:lnTo>
                  <a:lnTo>
                    <a:pt x="30" y="192"/>
                  </a:lnTo>
                  <a:lnTo>
                    <a:pt x="24" y="198"/>
                  </a:lnTo>
                  <a:lnTo>
                    <a:pt x="24" y="204"/>
                  </a:lnTo>
                  <a:lnTo>
                    <a:pt x="18" y="210"/>
                  </a:lnTo>
                  <a:lnTo>
                    <a:pt x="18" y="216"/>
                  </a:lnTo>
                  <a:lnTo>
                    <a:pt x="24" y="222"/>
                  </a:lnTo>
                  <a:lnTo>
                    <a:pt x="36" y="228"/>
                  </a:lnTo>
                  <a:lnTo>
                    <a:pt x="42" y="228"/>
                  </a:lnTo>
                  <a:lnTo>
                    <a:pt x="42" y="234"/>
                  </a:lnTo>
                  <a:lnTo>
                    <a:pt x="66" y="234"/>
                  </a:lnTo>
                  <a:lnTo>
                    <a:pt x="72" y="240"/>
                  </a:lnTo>
                  <a:lnTo>
                    <a:pt x="72" y="246"/>
                  </a:lnTo>
                  <a:lnTo>
                    <a:pt x="54" y="264"/>
                  </a:lnTo>
                  <a:lnTo>
                    <a:pt x="54" y="270"/>
                  </a:lnTo>
                  <a:lnTo>
                    <a:pt x="66" y="270"/>
                  </a:lnTo>
                  <a:lnTo>
                    <a:pt x="90" y="258"/>
                  </a:lnTo>
                  <a:lnTo>
                    <a:pt x="120" y="228"/>
                  </a:lnTo>
                  <a:lnTo>
                    <a:pt x="144" y="216"/>
                  </a:lnTo>
                  <a:lnTo>
                    <a:pt x="156" y="216"/>
                  </a:lnTo>
                  <a:lnTo>
                    <a:pt x="168" y="222"/>
                  </a:lnTo>
                  <a:lnTo>
                    <a:pt x="204" y="234"/>
                  </a:lnTo>
                  <a:lnTo>
                    <a:pt x="216" y="240"/>
                  </a:lnTo>
                  <a:lnTo>
                    <a:pt x="228" y="252"/>
                  </a:lnTo>
                  <a:lnTo>
                    <a:pt x="234" y="264"/>
                  </a:lnTo>
                  <a:lnTo>
                    <a:pt x="234" y="276"/>
                  </a:lnTo>
                  <a:lnTo>
                    <a:pt x="240" y="282"/>
                  </a:lnTo>
                  <a:lnTo>
                    <a:pt x="240" y="288"/>
                  </a:lnTo>
                  <a:lnTo>
                    <a:pt x="252" y="300"/>
                  </a:lnTo>
                  <a:lnTo>
                    <a:pt x="252" y="306"/>
                  </a:lnTo>
                  <a:lnTo>
                    <a:pt x="246" y="318"/>
                  </a:lnTo>
                  <a:lnTo>
                    <a:pt x="246" y="324"/>
                  </a:lnTo>
                  <a:lnTo>
                    <a:pt x="258" y="336"/>
                  </a:lnTo>
                  <a:lnTo>
                    <a:pt x="282" y="348"/>
                  </a:lnTo>
                  <a:lnTo>
                    <a:pt x="288" y="354"/>
                  </a:lnTo>
                  <a:lnTo>
                    <a:pt x="294" y="354"/>
                  </a:lnTo>
                  <a:lnTo>
                    <a:pt x="300" y="372"/>
                  </a:lnTo>
                  <a:lnTo>
                    <a:pt x="330" y="372"/>
                  </a:lnTo>
                  <a:lnTo>
                    <a:pt x="348" y="390"/>
                  </a:lnTo>
                  <a:lnTo>
                    <a:pt x="354" y="402"/>
                  </a:lnTo>
                  <a:lnTo>
                    <a:pt x="366" y="414"/>
                  </a:lnTo>
                  <a:lnTo>
                    <a:pt x="378" y="420"/>
                  </a:lnTo>
                  <a:lnTo>
                    <a:pt x="384" y="432"/>
                  </a:lnTo>
                  <a:lnTo>
                    <a:pt x="420" y="468"/>
                  </a:lnTo>
                  <a:lnTo>
                    <a:pt x="456" y="468"/>
                  </a:lnTo>
                  <a:lnTo>
                    <a:pt x="462" y="474"/>
                  </a:lnTo>
                  <a:lnTo>
                    <a:pt x="468" y="486"/>
                  </a:lnTo>
                  <a:lnTo>
                    <a:pt x="492" y="498"/>
                  </a:lnTo>
                  <a:lnTo>
                    <a:pt x="510" y="504"/>
                  </a:lnTo>
                  <a:lnTo>
                    <a:pt x="528" y="504"/>
                  </a:lnTo>
                  <a:lnTo>
                    <a:pt x="540" y="510"/>
                  </a:lnTo>
                  <a:lnTo>
                    <a:pt x="546" y="510"/>
                  </a:lnTo>
                  <a:lnTo>
                    <a:pt x="552" y="522"/>
                  </a:lnTo>
                  <a:lnTo>
                    <a:pt x="552" y="534"/>
                  </a:lnTo>
                  <a:lnTo>
                    <a:pt x="564" y="558"/>
                  </a:lnTo>
                  <a:lnTo>
                    <a:pt x="570" y="564"/>
                  </a:lnTo>
                  <a:lnTo>
                    <a:pt x="582" y="564"/>
                  </a:lnTo>
                  <a:lnTo>
                    <a:pt x="594" y="558"/>
                  </a:lnTo>
                  <a:lnTo>
                    <a:pt x="600" y="558"/>
                  </a:lnTo>
                  <a:lnTo>
                    <a:pt x="600" y="570"/>
                  </a:lnTo>
                  <a:lnTo>
                    <a:pt x="606" y="582"/>
                  </a:lnTo>
                  <a:lnTo>
                    <a:pt x="606" y="606"/>
                  </a:lnTo>
                  <a:lnTo>
                    <a:pt x="612" y="618"/>
                  </a:lnTo>
                  <a:lnTo>
                    <a:pt x="630" y="636"/>
                  </a:lnTo>
                  <a:lnTo>
                    <a:pt x="630" y="666"/>
                  </a:lnTo>
                  <a:lnTo>
                    <a:pt x="612" y="666"/>
                  </a:lnTo>
                  <a:lnTo>
                    <a:pt x="612" y="690"/>
                  </a:lnTo>
                  <a:lnTo>
                    <a:pt x="606" y="696"/>
                  </a:lnTo>
                  <a:lnTo>
                    <a:pt x="600" y="708"/>
                  </a:lnTo>
                  <a:lnTo>
                    <a:pt x="594" y="714"/>
                  </a:lnTo>
                  <a:lnTo>
                    <a:pt x="594" y="732"/>
                  </a:lnTo>
                  <a:lnTo>
                    <a:pt x="606" y="732"/>
                  </a:lnTo>
                  <a:lnTo>
                    <a:pt x="618" y="726"/>
                  </a:lnTo>
                  <a:lnTo>
                    <a:pt x="624" y="726"/>
                  </a:lnTo>
                  <a:lnTo>
                    <a:pt x="636" y="702"/>
                  </a:lnTo>
                  <a:lnTo>
                    <a:pt x="654" y="696"/>
                  </a:lnTo>
                  <a:lnTo>
                    <a:pt x="654" y="666"/>
                  </a:lnTo>
                  <a:lnTo>
                    <a:pt x="666" y="654"/>
                  </a:lnTo>
                  <a:lnTo>
                    <a:pt x="678" y="654"/>
                  </a:lnTo>
                  <a:lnTo>
                    <a:pt x="684" y="648"/>
                  </a:lnTo>
                  <a:lnTo>
                    <a:pt x="696" y="648"/>
                  </a:lnTo>
                  <a:lnTo>
                    <a:pt x="696" y="636"/>
                  </a:lnTo>
                  <a:lnTo>
                    <a:pt x="690" y="630"/>
                  </a:lnTo>
                  <a:lnTo>
                    <a:pt x="690" y="618"/>
                  </a:lnTo>
                  <a:lnTo>
                    <a:pt x="678" y="606"/>
                  </a:lnTo>
                  <a:lnTo>
                    <a:pt x="666" y="606"/>
                  </a:lnTo>
                  <a:lnTo>
                    <a:pt x="648" y="588"/>
                  </a:lnTo>
                  <a:lnTo>
                    <a:pt x="654" y="582"/>
                  </a:lnTo>
                  <a:lnTo>
                    <a:pt x="660" y="570"/>
                  </a:lnTo>
                  <a:lnTo>
                    <a:pt x="666" y="552"/>
                  </a:lnTo>
                  <a:lnTo>
                    <a:pt x="672" y="540"/>
                  </a:lnTo>
                  <a:lnTo>
                    <a:pt x="684" y="528"/>
                  </a:lnTo>
                  <a:lnTo>
                    <a:pt x="690" y="534"/>
                  </a:lnTo>
                  <a:lnTo>
                    <a:pt x="702" y="534"/>
                  </a:lnTo>
                  <a:lnTo>
                    <a:pt x="708" y="540"/>
                  </a:lnTo>
                  <a:lnTo>
                    <a:pt x="738" y="540"/>
                  </a:lnTo>
                  <a:lnTo>
                    <a:pt x="738" y="552"/>
                  </a:lnTo>
                  <a:lnTo>
                    <a:pt x="744" y="558"/>
                  </a:lnTo>
                  <a:lnTo>
                    <a:pt x="744" y="564"/>
                  </a:lnTo>
                  <a:lnTo>
                    <a:pt x="750" y="576"/>
                  </a:lnTo>
                  <a:lnTo>
                    <a:pt x="762" y="576"/>
                  </a:lnTo>
                  <a:lnTo>
                    <a:pt x="774" y="570"/>
                  </a:lnTo>
                  <a:lnTo>
                    <a:pt x="780" y="564"/>
                  </a:lnTo>
                  <a:lnTo>
                    <a:pt x="780" y="558"/>
                  </a:lnTo>
                  <a:lnTo>
                    <a:pt x="774" y="546"/>
                  </a:lnTo>
                  <a:close/>
                </a:path>
              </a:pathLst>
            </a:custGeom>
            <a:solidFill>
              <a:schemeClr val="accent1"/>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42" name="Israel" descr="© INSCALE GmbH, 05.05.2010&#10;http://www.presentationload.com/">
              <a:extLst>
                <a:ext uri="{FF2B5EF4-FFF2-40B4-BE49-F238E27FC236}">
                  <a16:creationId xmlns:a16="http://schemas.microsoft.com/office/drawing/2014/main" id="{AF144897-F833-45B7-9891-47125612F155}"/>
                </a:ext>
              </a:extLst>
            </p:cNvPr>
            <p:cNvSpPr>
              <a:spLocks/>
            </p:cNvSpPr>
            <p:nvPr/>
          </p:nvSpPr>
          <p:spPr bwMode="gray">
            <a:xfrm>
              <a:off x="5068604" y="3181670"/>
              <a:ext cx="40769" cy="127010"/>
            </a:xfrm>
            <a:custGeom>
              <a:avLst/>
              <a:gdLst>
                <a:gd name="T0" fmla="*/ 0 w 102"/>
                <a:gd name="T1" fmla="*/ 2147483647 h 324"/>
                <a:gd name="T2" fmla="*/ 2147483647 w 102"/>
                <a:gd name="T3" fmla="*/ 2147483647 h 324"/>
                <a:gd name="T4" fmla="*/ 2147483647 w 102"/>
                <a:gd name="T5" fmla="*/ 2147483647 h 324"/>
                <a:gd name="T6" fmla="*/ 2147483647 w 102"/>
                <a:gd name="T7" fmla="*/ 2147483647 h 324"/>
                <a:gd name="T8" fmla="*/ 2147483647 w 102"/>
                <a:gd name="T9" fmla="*/ 2147483647 h 324"/>
                <a:gd name="T10" fmla="*/ 2147483647 w 102"/>
                <a:gd name="T11" fmla="*/ 2147483647 h 324"/>
                <a:gd name="T12" fmla="*/ 2147483647 w 102"/>
                <a:gd name="T13" fmla="*/ 2147483647 h 324"/>
                <a:gd name="T14" fmla="*/ 2147483647 w 102"/>
                <a:gd name="T15" fmla="*/ 2147483647 h 324"/>
                <a:gd name="T16" fmla="*/ 2147483647 w 102"/>
                <a:gd name="T17" fmla="*/ 2147483647 h 324"/>
                <a:gd name="T18" fmla="*/ 2147483647 w 102"/>
                <a:gd name="T19" fmla="*/ 2147483647 h 324"/>
                <a:gd name="T20" fmla="*/ 2147483647 w 102"/>
                <a:gd name="T21" fmla="*/ 2147483647 h 324"/>
                <a:gd name="T22" fmla="*/ 2147483647 w 102"/>
                <a:gd name="T23" fmla="*/ 2147483647 h 324"/>
                <a:gd name="T24" fmla="*/ 2147483647 w 102"/>
                <a:gd name="T25" fmla="*/ 2147483647 h 324"/>
                <a:gd name="T26" fmla="*/ 2147483647 w 102"/>
                <a:gd name="T27" fmla="*/ 2147483647 h 324"/>
                <a:gd name="T28" fmla="*/ 2147483647 w 102"/>
                <a:gd name="T29" fmla="*/ 2147483647 h 324"/>
                <a:gd name="T30" fmla="*/ 2147483647 w 102"/>
                <a:gd name="T31" fmla="*/ 2147483647 h 324"/>
                <a:gd name="T32" fmla="*/ 2147483647 w 102"/>
                <a:gd name="T33" fmla="*/ 2147483647 h 324"/>
                <a:gd name="T34" fmla="*/ 2147483647 w 102"/>
                <a:gd name="T35" fmla="*/ 2147483647 h 324"/>
                <a:gd name="T36" fmla="*/ 2147483647 w 102"/>
                <a:gd name="T37" fmla="*/ 2147483647 h 324"/>
                <a:gd name="T38" fmla="*/ 2147483647 w 102"/>
                <a:gd name="T39" fmla="*/ 2147483647 h 324"/>
                <a:gd name="T40" fmla="*/ 2147483647 w 102"/>
                <a:gd name="T41" fmla="*/ 2147483647 h 324"/>
                <a:gd name="T42" fmla="*/ 2147483647 w 102"/>
                <a:gd name="T43" fmla="*/ 2147483647 h 324"/>
                <a:gd name="T44" fmla="*/ 2147483647 w 102"/>
                <a:gd name="T45" fmla="*/ 2147483647 h 324"/>
                <a:gd name="T46" fmla="*/ 2147483647 w 102"/>
                <a:gd name="T47" fmla="*/ 2147483647 h 324"/>
                <a:gd name="T48" fmla="*/ 2147483647 w 102"/>
                <a:gd name="T49" fmla="*/ 0 h 324"/>
                <a:gd name="T50" fmla="*/ 2147483647 w 102"/>
                <a:gd name="T51" fmla="*/ 2147483647 h 324"/>
                <a:gd name="T52" fmla="*/ 2147483647 w 102"/>
                <a:gd name="T53" fmla="*/ 2147483647 h 324"/>
                <a:gd name="T54" fmla="*/ 2147483647 w 102"/>
                <a:gd name="T55" fmla="*/ 2147483647 h 324"/>
                <a:gd name="T56" fmla="*/ 2147483647 w 102"/>
                <a:gd name="T57" fmla="*/ 2147483647 h 324"/>
                <a:gd name="T58" fmla="*/ 2147483647 w 102"/>
                <a:gd name="T59" fmla="*/ 2147483647 h 324"/>
                <a:gd name="T60" fmla="*/ 2147483647 w 102"/>
                <a:gd name="T61" fmla="*/ 2147483647 h 324"/>
                <a:gd name="T62" fmla="*/ 2147483647 w 102"/>
                <a:gd name="T63" fmla="*/ 2147483647 h 324"/>
                <a:gd name="T64" fmla="*/ 2147483647 w 102"/>
                <a:gd name="T65" fmla="*/ 2147483647 h 324"/>
                <a:gd name="T66" fmla="*/ 2147483647 w 102"/>
                <a:gd name="T67" fmla="*/ 2147483647 h 324"/>
                <a:gd name="T68" fmla="*/ 2147483647 w 102"/>
                <a:gd name="T69" fmla="*/ 2147483647 h 324"/>
                <a:gd name="T70" fmla="*/ 2147483647 w 102"/>
                <a:gd name="T71" fmla="*/ 2147483647 h 324"/>
                <a:gd name="T72" fmla="*/ 2147483647 w 102"/>
                <a:gd name="T73" fmla="*/ 2147483647 h 324"/>
                <a:gd name="T74" fmla="*/ 2147483647 w 102"/>
                <a:gd name="T75" fmla="*/ 2147483647 h 324"/>
                <a:gd name="T76" fmla="*/ 2147483647 w 102"/>
                <a:gd name="T77" fmla="*/ 2147483647 h 324"/>
                <a:gd name="T78" fmla="*/ 0 w 102"/>
                <a:gd name="T79" fmla="*/ 2147483647 h 3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2"/>
                <a:gd name="T121" fmla="*/ 0 h 324"/>
                <a:gd name="T122" fmla="*/ 102 w 102"/>
                <a:gd name="T123" fmla="*/ 324 h 32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2" h="324">
                  <a:moveTo>
                    <a:pt x="0" y="168"/>
                  </a:moveTo>
                  <a:lnTo>
                    <a:pt x="54" y="312"/>
                  </a:lnTo>
                  <a:lnTo>
                    <a:pt x="60" y="324"/>
                  </a:lnTo>
                  <a:lnTo>
                    <a:pt x="60" y="306"/>
                  </a:lnTo>
                  <a:lnTo>
                    <a:pt x="66" y="294"/>
                  </a:lnTo>
                  <a:lnTo>
                    <a:pt x="66" y="234"/>
                  </a:lnTo>
                  <a:lnTo>
                    <a:pt x="72" y="228"/>
                  </a:lnTo>
                  <a:lnTo>
                    <a:pt x="78" y="216"/>
                  </a:lnTo>
                  <a:lnTo>
                    <a:pt x="84" y="210"/>
                  </a:lnTo>
                  <a:lnTo>
                    <a:pt x="90" y="198"/>
                  </a:lnTo>
                  <a:lnTo>
                    <a:pt x="90" y="186"/>
                  </a:lnTo>
                  <a:lnTo>
                    <a:pt x="78" y="174"/>
                  </a:lnTo>
                  <a:lnTo>
                    <a:pt x="78" y="162"/>
                  </a:lnTo>
                  <a:lnTo>
                    <a:pt x="72" y="156"/>
                  </a:lnTo>
                  <a:lnTo>
                    <a:pt x="66" y="162"/>
                  </a:lnTo>
                  <a:lnTo>
                    <a:pt x="66" y="168"/>
                  </a:lnTo>
                  <a:lnTo>
                    <a:pt x="60" y="168"/>
                  </a:lnTo>
                  <a:lnTo>
                    <a:pt x="54" y="174"/>
                  </a:lnTo>
                  <a:lnTo>
                    <a:pt x="48" y="168"/>
                  </a:lnTo>
                  <a:lnTo>
                    <a:pt x="48" y="96"/>
                  </a:lnTo>
                  <a:lnTo>
                    <a:pt x="66" y="78"/>
                  </a:lnTo>
                  <a:lnTo>
                    <a:pt x="84" y="78"/>
                  </a:lnTo>
                  <a:lnTo>
                    <a:pt x="90" y="60"/>
                  </a:lnTo>
                  <a:lnTo>
                    <a:pt x="84" y="18"/>
                  </a:lnTo>
                  <a:lnTo>
                    <a:pt x="102" y="0"/>
                  </a:lnTo>
                  <a:lnTo>
                    <a:pt x="78" y="6"/>
                  </a:lnTo>
                  <a:lnTo>
                    <a:pt x="78" y="18"/>
                  </a:lnTo>
                  <a:lnTo>
                    <a:pt x="72" y="30"/>
                  </a:lnTo>
                  <a:lnTo>
                    <a:pt x="66" y="36"/>
                  </a:lnTo>
                  <a:lnTo>
                    <a:pt x="60" y="36"/>
                  </a:lnTo>
                  <a:lnTo>
                    <a:pt x="54" y="30"/>
                  </a:lnTo>
                  <a:lnTo>
                    <a:pt x="42" y="54"/>
                  </a:lnTo>
                  <a:lnTo>
                    <a:pt x="30" y="60"/>
                  </a:lnTo>
                  <a:lnTo>
                    <a:pt x="36" y="72"/>
                  </a:lnTo>
                  <a:lnTo>
                    <a:pt x="36" y="84"/>
                  </a:lnTo>
                  <a:lnTo>
                    <a:pt x="42" y="90"/>
                  </a:lnTo>
                  <a:lnTo>
                    <a:pt x="42" y="96"/>
                  </a:lnTo>
                  <a:lnTo>
                    <a:pt x="18" y="138"/>
                  </a:lnTo>
                  <a:lnTo>
                    <a:pt x="18" y="156"/>
                  </a:lnTo>
                  <a:lnTo>
                    <a:pt x="0" y="168"/>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43" name="Island" descr="© INSCALE GmbH, 05.05.2010&#10;http://www.presentationload.com/">
              <a:extLst>
                <a:ext uri="{FF2B5EF4-FFF2-40B4-BE49-F238E27FC236}">
                  <a16:creationId xmlns:a16="http://schemas.microsoft.com/office/drawing/2014/main" id="{A7985E35-11B6-4387-B8F3-ADBE81277525}"/>
                </a:ext>
              </a:extLst>
            </p:cNvPr>
            <p:cNvSpPr>
              <a:spLocks/>
            </p:cNvSpPr>
            <p:nvPr/>
          </p:nvSpPr>
          <p:spPr bwMode="gray">
            <a:xfrm>
              <a:off x="3677769" y="2167158"/>
              <a:ext cx="227363" cy="87809"/>
            </a:xfrm>
            <a:custGeom>
              <a:avLst/>
              <a:gdLst>
                <a:gd name="T0" fmla="*/ 2147483647 w 570"/>
                <a:gd name="T1" fmla="*/ 2147483647 h 222"/>
                <a:gd name="T2" fmla="*/ 2147483647 w 570"/>
                <a:gd name="T3" fmla="*/ 2147483647 h 222"/>
                <a:gd name="T4" fmla="*/ 2147483647 w 570"/>
                <a:gd name="T5" fmla="*/ 2147483647 h 222"/>
                <a:gd name="T6" fmla="*/ 2147483647 w 570"/>
                <a:gd name="T7" fmla="*/ 2147483647 h 222"/>
                <a:gd name="T8" fmla="*/ 2147483647 w 570"/>
                <a:gd name="T9" fmla="*/ 2147483647 h 222"/>
                <a:gd name="T10" fmla="*/ 2147483647 w 570"/>
                <a:gd name="T11" fmla="*/ 2147483647 h 222"/>
                <a:gd name="T12" fmla="*/ 2147483647 w 570"/>
                <a:gd name="T13" fmla="*/ 2147483647 h 222"/>
                <a:gd name="T14" fmla="*/ 2147483647 w 570"/>
                <a:gd name="T15" fmla="*/ 2147483647 h 222"/>
                <a:gd name="T16" fmla="*/ 2147483647 w 570"/>
                <a:gd name="T17" fmla="*/ 2147483647 h 222"/>
                <a:gd name="T18" fmla="*/ 2147483647 w 570"/>
                <a:gd name="T19" fmla="*/ 2147483647 h 222"/>
                <a:gd name="T20" fmla="*/ 2147483647 w 570"/>
                <a:gd name="T21" fmla="*/ 2147483647 h 222"/>
                <a:gd name="T22" fmla="*/ 2147483647 w 570"/>
                <a:gd name="T23" fmla="*/ 2147483647 h 222"/>
                <a:gd name="T24" fmla="*/ 2147483647 w 570"/>
                <a:gd name="T25" fmla="*/ 2147483647 h 222"/>
                <a:gd name="T26" fmla="*/ 2147483647 w 570"/>
                <a:gd name="T27" fmla="*/ 2147483647 h 222"/>
                <a:gd name="T28" fmla="*/ 2147483647 w 570"/>
                <a:gd name="T29" fmla="*/ 2147483647 h 222"/>
                <a:gd name="T30" fmla="*/ 2147483647 w 570"/>
                <a:gd name="T31" fmla="*/ 2147483647 h 222"/>
                <a:gd name="T32" fmla="*/ 2147483647 w 570"/>
                <a:gd name="T33" fmla="*/ 2147483647 h 222"/>
                <a:gd name="T34" fmla="*/ 2147483647 w 570"/>
                <a:gd name="T35" fmla="*/ 2147483647 h 222"/>
                <a:gd name="T36" fmla="*/ 2147483647 w 570"/>
                <a:gd name="T37" fmla="*/ 2147483647 h 222"/>
                <a:gd name="T38" fmla="*/ 2147483647 w 570"/>
                <a:gd name="T39" fmla="*/ 2147483647 h 222"/>
                <a:gd name="T40" fmla="*/ 2147483647 w 570"/>
                <a:gd name="T41" fmla="*/ 2147483647 h 222"/>
                <a:gd name="T42" fmla="*/ 2147483647 w 570"/>
                <a:gd name="T43" fmla="*/ 2147483647 h 222"/>
                <a:gd name="T44" fmla="*/ 2147483647 w 570"/>
                <a:gd name="T45" fmla="*/ 2147483647 h 222"/>
                <a:gd name="T46" fmla="*/ 2147483647 w 570"/>
                <a:gd name="T47" fmla="*/ 2147483647 h 222"/>
                <a:gd name="T48" fmla="*/ 2147483647 w 570"/>
                <a:gd name="T49" fmla="*/ 2147483647 h 222"/>
                <a:gd name="T50" fmla="*/ 2147483647 w 570"/>
                <a:gd name="T51" fmla="*/ 2147483647 h 222"/>
                <a:gd name="T52" fmla="*/ 2147483647 w 570"/>
                <a:gd name="T53" fmla="*/ 2147483647 h 222"/>
                <a:gd name="T54" fmla="*/ 2147483647 w 570"/>
                <a:gd name="T55" fmla="*/ 2147483647 h 222"/>
                <a:gd name="T56" fmla="*/ 2147483647 w 570"/>
                <a:gd name="T57" fmla="*/ 2147483647 h 222"/>
                <a:gd name="T58" fmla="*/ 2147483647 w 570"/>
                <a:gd name="T59" fmla="*/ 2147483647 h 222"/>
                <a:gd name="T60" fmla="*/ 2147483647 w 570"/>
                <a:gd name="T61" fmla="*/ 2147483647 h 222"/>
                <a:gd name="T62" fmla="*/ 2147483647 w 570"/>
                <a:gd name="T63" fmla="*/ 2147483647 h 222"/>
                <a:gd name="T64" fmla="*/ 2147483647 w 570"/>
                <a:gd name="T65" fmla="*/ 2147483647 h 222"/>
                <a:gd name="T66" fmla="*/ 0 w 570"/>
                <a:gd name="T67" fmla="*/ 2147483647 h 222"/>
                <a:gd name="T68" fmla="*/ 2147483647 w 570"/>
                <a:gd name="T69" fmla="*/ 2147483647 h 222"/>
                <a:gd name="T70" fmla="*/ 2147483647 w 570"/>
                <a:gd name="T71" fmla="*/ 2147483647 h 222"/>
                <a:gd name="T72" fmla="*/ 2147483647 w 570"/>
                <a:gd name="T73" fmla="*/ 2147483647 h 222"/>
                <a:gd name="T74" fmla="*/ 2147483647 w 570"/>
                <a:gd name="T75" fmla="*/ 2147483647 h 222"/>
                <a:gd name="T76" fmla="*/ 2147483647 w 570"/>
                <a:gd name="T77" fmla="*/ 2147483647 h 222"/>
                <a:gd name="T78" fmla="*/ 2147483647 w 570"/>
                <a:gd name="T79" fmla="*/ 2147483647 h 222"/>
                <a:gd name="T80" fmla="*/ 2147483647 w 570"/>
                <a:gd name="T81" fmla="*/ 2147483647 h 222"/>
                <a:gd name="T82" fmla="*/ 2147483647 w 570"/>
                <a:gd name="T83" fmla="*/ 2147483647 h 222"/>
                <a:gd name="T84" fmla="*/ 2147483647 w 570"/>
                <a:gd name="T85" fmla="*/ 2147483647 h 222"/>
                <a:gd name="T86" fmla="*/ 2147483647 w 570"/>
                <a:gd name="T87" fmla="*/ 2147483647 h 222"/>
                <a:gd name="T88" fmla="*/ 2147483647 w 570"/>
                <a:gd name="T89" fmla="*/ 2147483647 h 222"/>
                <a:gd name="T90" fmla="*/ 2147483647 w 570"/>
                <a:gd name="T91" fmla="*/ 2147483647 h 222"/>
                <a:gd name="T92" fmla="*/ 2147483647 w 570"/>
                <a:gd name="T93" fmla="*/ 2147483647 h 2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70"/>
                <a:gd name="T142" fmla="*/ 0 h 222"/>
                <a:gd name="T143" fmla="*/ 570 w 570"/>
                <a:gd name="T144" fmla="*/ 222 h 22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70" h="222">
                  <a:moveTo>
                    <a:pt x="252" y="222"/>
                  </a:moveTo>
                  <a:lnTo>
                    <a:pt x="270" y="216"/>
                  </a:lnTo>
                  <a:lnTo>
                    <a:pt x="306" y="216"/>
                  </a:lnTo>
                  <a:lnTo>
                    <a:pt x="312" y="204"/>
                  </a:lnTo>
                  <a:lnTo>
                    <a:pt x="312" y="192"/>
                  </a:lnTo>
                  <a:lnTo>
                    <a:pt x="324" y="198"/>
                  </a:lnTo>
                  <a:lnTo>
                    <a:pt x="330" y="198"/>
                  </a:lnTo>
                  <a:lnTo>
                    <a:pt x="342" y="204"/>
                  </a:lnTo>
                  <a:lnTo>
                    <a:pt x="348" y="204"/>
                  </a:lnTo>
                  <a:lnTo>
                    <a:pt x="360" y="192"/>
                  </a:lnTo>
                  <a:lnTo>
                    <a:pt x="360" y="186"/>
                  </a:lnTo>
                  <a:lnTo>
                    <a:pt x="372" y="186"/>
                  </a:lnTo>
                  <a:lnTo>
                    <a:pt x="378" y="192"/>
                  </a:lnTo>
                  <a:lnTo>
                    <a:pt x="390" y="192"/>
                  </a:lnTo>
                  <a:lnTo>
                    <a:pt x="414" y="180"/>
                  </a:lnTo>
                  <a:lnTo>
                    <a:pt x="432" y="168"/>
                  </a:lnTo>
                  <a:lnTo>
                    <a:pt x="456" y="156"/>
                  </a:lnTo>
                  <a:lnTo>
                    <a:pt x="474" y="156"/>
                  </a:lnTo>
                  <a:lnTo>
                    <a:pt x="480" y="162"/>
                  </a:lnTo>
                  <a:lnTo>
                    <a:pt x="492" y="162"/>
                  </a:lnTo>
                  <a:lnTo>
                    <a:pt x="504" y="156"/>
                  </a:lnTo>
                  <a:lnTo>
                    <a:pt x="510" y="144"/>
                  </a:lnTo>
                  <a:lnTo>
                    <a:pt x="510" y="138"/>
                  </a:lnTo>
                  <a:lnTo>
                    <a:pt x="516" y="126"/>
                  </a:lnTo>
                  <a:lnTo>
                    <a:pt x="528" y="126"/>
                  </a:lnTo>
                  <a:lnTo>
                    <a:pt x="552" y="114"/>
                  </a:lnTo>
                  <a:lnTo>
                    <a:pt x="564" y="102"/>
                  </a:lnTo>
                  <a:lnTo>
                    <a:pt x="570" y="102"/>
                  </a:lnTo>
                  <a:lnTo>
                    <a:pt x="552" y="102"/>
                  </a:lnTo>
                  <a:lnTo>
                    <a:pt x="570" y="84"/>
                  </a:lnTo>
                  <a:lnTo>
                    <a:pt x="570" y="78"/>
                  </a:lnTo>
                  <a:lnTo>
                    <a:pt x="564" y="72"/>
                  </a:lnTo>
                  <a:lnTo>
                    <a:pt x="552" y="66"/>
                  </a:lnTo>
                  <a:lnTo>
                    <a:pt x="540" y="66"/>
                  </a:lnTo>
                  <a:lnTo>
                    <a:pt x="534" y="72"/>
                  </a:lnTo>
                  <a:lnTo>
                    <a:pt x="528" y="72"/>
                  </a:lnTo>
                  <a:lnTo>
                    <a:pt x="534" y="60"/>
                  </a:lnTo>
                  <a:lnTo>
                    <a:pt x="504" y="60"/>
                  </a:lnTo>
                  <a:lnTo>
                    <a:pt x="522" y="36"/>
                  </a:lnTo>
                  <a:lnTo>
                    <a:pt x="504" y="36"/>
                  </a:lnTo>
                  <a:lnTo>
                    <a:pt x="510" y="18"/>
                  </a:lnTo>
                  <a:lnTo>
                    <a:pt x="480" y="24"/>
                  </a:lnTo>
                  <a:lnTo>
                    <a:pt x="474" y="18"/>
                  </a:lnTo>
                  <a:lnTo>
                    <a:pt x="462" y="12"/>
                  </a:lnTo>
                  <a:lnTo>
                    <a:pt x="456" y="6"/>
                  </a:lnTo>
                  <a:lnTo>
                    <a:pt x="444" y="0"/>
                  </a:lnTo>
                  <a:lnTo>
                    <a:pt x="432" y="0"/>
                  </a:lnTo>
                  <a:lnTo>
                    <a:pt x="432" y="24"/>
                  </a:lnTo>
                  <a:lnTo>
                    <a:pt x="414" y="30"/>
                  </a:lnTo>
                  <a:lnTo>
                    <a:pt x="408" y="30"/>
                  </a:lnTo>
                  <a:lnTo>
                    <a:pt x="402" y="24"/>
                  </a:lnTo>
                  <a:lnTo>
                    <a:pt x="378" y="24"/>
                  </a:lnTo>
                  <a:lnTo>
                    <a:pt x="372" y="30"/>
                  </a:lnTo>
                  <a:lnTo>
                    <a:pt x="366" y="42"/>
                  </a:lnTo>
                  <a:lnTo>
                    <a:pt x="360" y="36"/>
                  </a:lnTo>
                  <a:lnTo>
                    <a:pt x="348" y="30"/>
                  </a:lnTo>
                  <a:lnTo>
                    <a:pt x="342" y="24"/>
                  </a:lnTo>
                  <a:lnTo>
                    <a:pt x="336" y="24"/>
                  </a:lnTo>
                  <a:lnTo>
                    <a:pt x="330" y="30"/>
                  </a:lnTo>
                  <a:lnTo>
                    <a:pt x="330" y="60"/>
                  </a:lnTo>
                  <a:lnTo>
                    <a:pt x="324" y="48"/>
                  </a:lnTo>
                  <a:lnTo>
                    <a:pt x="318" y="42"/>
                  </a:lnTo>
                  <a:lnTo>
                    <a:pt x="306" y="36"/>
                  </a:lnTo>
                  <a:lnTo>
                    <a:pt x="300" y="24"/>
                  </a:lnTo>
                  <a:lnTo>
                    <a:pt x="288" y="24"/>
                  </a:lnTo>
                  <a:lnTo>
                    <a:pt x="288" y="30"/>
                  </a:lnTo>
                  <a:lnTo>
                    <a:pt x="270" y="30"/>
                  </a:lnTo>
                  <a:lnTo>
                    <a:pt x="264" y="36"/>
                  </a:lnTo>
                  <a:lnTo>
                    <a:pt x="264" y="54"/>
                  </a:lnTo>
                  <a:lnTo>
                    <a:pt x="252" y="54"/>
                  </a:lnTo>
                  <a:lnTo>
                    <a:pt x="240" y="42"/>
                  </a:lnTo>
                  <a:lnTo>
                    <a:pt x="228" y="36"/>
                  </a:lnTo>
                  <a:lnTo>
                    <a:pt x="222" y="30"/>
                  </a:lnTo>
                  <a:lnTo>
                    <a:pt x="216" y="30"/>
                  </a:lnTo>
                  <a:lnTo>
                    <a:pt x="216" y="48"/>
                  </a:lnTo>
                  <a:lnTo>
                    <a:pt x="210" y="60"/>
                  </a:lnTo>
                  <a:lnTo>
                    <a:pt x="210" y="72"/>
                  </a:lnTo>
                  <a:lnTo>
                    <a:pt x="204" y="72"/>
                  </a:lnTo>
                  <a:lnTo>
                    <a:pt x="192" y="60"/>
                  </a:lnTo>
                  <a:lnTo>
                    <a:pt x="186" y="60"/>
                  </a:lnTo>
                  <a:lnTo>
                    <a:pt x="162" y="84"/>
                  </a:lnTo>
                  <a:lnTo>
                    <a:pt x="162" y="90"/>
                  </a:lnTo>
                  <a:lnTo>
                    <a:pt x="156" y="84"/>
                  </a:lnTo>
                  <a:lnTo>
                    <a:pt x="144" y="60"/>
                  </a:lnTo>
                  <a:lnTo>
                    <a:pt x="162" y="42"/>
                  </a:lnTo>
                  <a:lnTo>
                    <a:pt x="162" y="36"/>
                  </a:lnTo>
                  <a:lnTo>
                    <a:pt x="156" y="30"/>
                  </a:lnTo>
                  <a:lnTo>
                    <a:pt x="108" y="6"/>
                  </a:lnTo>
                  <a:lnTo>
                    <a:pt x="96" y="6"/>
                  </a:lnTo>
                  <a:lnTo>
                    <a:pt x="96" y="36"/>
                  </a:lnTo>
                  <a:lnTo>
                    <a:pt x="90" y="36"/>
                  </a:lnTo>
                  <a:lnTo>
                    <a:pt x="84" y="30"/>
                  </a:lnTo>
                  <a:lnTo>
                    <a:pt x="78" y="30"/>
                  </a:lnTo>
                  <a:lnTo>
                    <a:pt x="66" y="24"/>
                  </a:lnTo>
                  <a:lnTo>
                    <a:pt x="54" y="24"/>
                  </a:lnTo>
                  <a:lnTo>
                    <a:pt x="42" y="30"/>
                  </a:lnTo>
                  <a:lnTo>
                    <a:pt x="30" y="42"/>
                  </a:lnTo>
                  <a:lnTo>
                    <a:pt x="48" y="54"/>
                  </a:lnTo>
                  <a:lnTo>
                    <a:pt x="30" y="54"/>
                  </a:lnTo>
                  <a:lnTo>
                    <a:pt x="18" y="60"/>
                  </a:lnTo>
                  <a:lnTo>
                    <a:pt x="12" y="66"/>
                  </a:lnTo>
                  <a:lnTo>
                    <a:pt x="0" y="66"/>
                  </a:lnTo>
                  <a:lnTo>
                    <a:pt x="6" y="72"/>
                  </a:lnTo>
                  <a:lnTo>
                    <a:pt x="18" y="78"/>
                  </a:lnTo>
                  <a:lnTo>
                    <a:pt x="30" y="78"/>
                  </a:lnTo>
                  <a:lnTo>
                    <a:pt x="54" y="66"/>
                  </a:lnTo>
                  <a:lnTo>
                    <a:pt x="66" y="66"/>
                  </a:lnTo>
                  <a:lnTo>
                    <a:pt x="72" y="60"/>
                  </a:lnTo>
                  <a:lnTo>
                    <a:pt x="78" y="60"/>
                  </a:lnTo>
                  <a:lnTo>
                    <a:pt x="126" y="72"/>
                  </a:lnTo>
                  <a:lnTo>
                    <a:pt x="90" y="90"/>
                  </a:lnTo>
                  <a:lnTo>
                    <a:pt x="102" y="90"/>
                  </a:lnTo>
                  <a:lnTo>
                    <a:pt x="108" y="96"/>
                  </a:lnTo>
                  <a:lnTo>
                    <a:pt x="114" y="96"/>
                  </a:lnTo>
                  <a:lnTo>
                    <a:pt x="120" y="102"/>
                  </a:lnTo>
                  <a:lnTo>
                    <a:pt x="114" y="102"/>
                  </a:lnTo>
                  <a:lnTo>
                    <a:pt x="108" y="108"/>
                  </a:lnTo>
                  <a:lnTo>
                    <a:pt x="6" y="108"/>
                  </a:lnTo>
                  <a:lnTo>
                    <a:pt x="0" y="114"/>
                  </a:lnTo>
                  <a:lnTo>
                    <a:pt x="12" y="120"/>
                  </a:lnTo>
                  <a:lnTo>
                    <a:pt x="60" y="120"/>
                  </a:lnTo>
                  <a:lnTo>
                    <a:pt x="84" y="132"/>
                  </a:lnTo>
                  <a:lnTo>
                    <a:pt x="90" y="138"/>
                  </a:lnTo>
                  <a:lnTo>
                    <a:pt x="126" y="132"/>
                  </a:lnTo>
                  <a:lnTo>
                    <a:pt x="108" y="150"/>
                  </a:lnTo>
                  <a:lnTo>
                    <a:pt x="120" y="156"/>
                  </a:lnTo>
                  <a:lnTo>
                    <a:pt x="114" y="162"/>
                  </a:lnTo>
                  <a:lnTo>
                    <a:pt x="114" y="168"/>
                  </a:lnTo>
                  <a:lnTo>
                    <a:pt x="108" y="174"/>
                  </a:lnTo>
                  <a:lnTo>
                    <a:pt x="90" y="174"/>
                  </a:lnTo>
                  <a:lnTo>
                    <a:pt x="78" y="180"/>
                  </a:lnTo>
                  <a:lnTo>
                    <a:pt x="54" y="180"/>
                  </a:lnTo>
                  <a:lnTo>
                    <a:pt x="54" y="186"/>
                  </a:lnTo>
                  <a:lnTo>
                    <a:pt x="66" y="192"/>
                  </a:lnTo>
                  <a:lnTo>
                    <a:pt x="120" y="192"/>
                  </a:lnTo>
                  <a:lnTo>
                    <a:pt x="132" y="186"/>
                  </a:lnTo>
                  <a:lnTo>
                    <a:pt x="138" y="180"/>
                  </a:lnTo>
                  <a:lnTo>
                    <a:pt x="168" y="198"/>
                  </a:lnTo>
                  <a:lnTo>
                    <a:pt x="180" y="186"/>
                  </a:lnTo>
                  <a:lnTo>
                    <a:pt x="180" y="198"/>
                  </a:lnTo>
                  <a:lnTo>
                    <a:pt x="228" y="222"/>
                  </a:lnTo>
                  <a:lnTo>
                    <a:pt x="252" y="22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44" name="Irland" descr="© INSCALE GmbH, 05.05.2010&#10;http://www.presentationload.com/">
              <a:extLst>
                <a:ext uri="{FF2B5EF4-FFF2-40B4-BE49-F238E27FC236}">
                  <a16:creationId xmlns:a16="http://schemas.microsoft.com/office/drawing/2014/main" id="{521E3B32-51C8-428D-A276-FF1A5B34806E}"/>
                </a:ext>
              </a:extLst>
            </p:cNvPr>
            <p:cNvSpPr>
              <a:spLocks/>
            </p:cNvSpPr>
            <p:nvPr/>
          </p:nvSpPr>
          <p:spPr bwMode="gray">
            <a:xfrm>
              <a:off x="3917676" y="2494876"/>
              <a:ext cx="111329" cy="117602"/>
            </a:xfrm>
            <a:custGeom>
              <a:avLst/>
              <a:gdLst>
                <a:gd name="T0" fmla="*/ 2147483647 w 282"/>
                <a:gd name="T1" fmla="*/ 2147483647 h 300"/>
                <a:gd name="T2" fmla="*/ 2147483647 w 282"/>
                <a:gd name="T3" fmla="*/ 2147483647 h 300"/>
                <a:gd name="T4" fmla="*/ 2147483647 w 282"/>
                <a:gd name="T5" fmla="*/ 2147483647 h 300"/>
                <a:gd name="T6" fmla="*/ 2147483647 w 282"/>
                <a:gd name="T7" fmla="*/ 2147483647 h 300"/>
                <a:gd name="T8" fmla="*/ 2147483647 w 282"/>
                <a:gd name="T9" fmla="*/ 2147483647 h 300"/>
                <a:gd name="T10" fmla="*/ 2147483647 w 282"/>
                <a:gd name="T11" fmla="*/ 2147483647 h 300"/>
                <a:gd name="T12" fmla="*/ 2147483647 w 282"/>
                <a:gd name="T13" fmla="*/ 2147483647 h 300"/>
                <a:gd name="T14" fmla="*/ 2147483647 w 282"/>
                <a:gd name="T15" fmla="*/ 2147483647 h 300"/>
                <a:gd name="T16" fmla="*/ 2147483647 w 282"/>
                <a:gd name="T17" fmla="*/ 2147483647 h 300"/>
                <a:gd name="T18" fmla="*/ 2147483647 w 282"/>
                <a:gd name="T19" fmla="*/ 2147483647 h 300"/>
                <a:gd name="T20" fmla="*/ 2147483647 w 282"/>
                <a:gd name="T21" fmla="*/ 2147483647 h 300"/>
                <a:gd name="T22" fmla="*/ 2147483647 w 282"/>
                <a:gd name="T23" fmla="*/ 2147483647 h 300"/>
                <a:gd name="T24" fmla="*/ 2147483647 w 282"/>
                <a:gd name="T25" fmla="*/ 0 h 300"/>
                <a:gd name="T26" fmla="*/ 2147483647 w 282"/>
                <a:gd name="T27" fmla="*/ 2147483647 h 300"/>
                <a:gd name="T28" fmla="*/ 2147483647 w 282"/>
                <a:gd name="T29" fmla="*/ 2147483647 h 300"/>
                <a:gd name="T30" fmla="*/ 2147483647 w 282"/>
                <a:gd name="T31" fmla="*/ 2147483647 h 300"/>
                <a:gd name="T32" fmla="*/ 2147483647 w 282"/>
                <a:gd name="T33" fmla="*/ 2147483647 h 300"/>
                <a:gd name="T34" fmla="*/ 2147483647 w 282"/>
                <a:gd name="T35" fmla="*/ 2147483647 h 300"/>
                <a:gd name="T36" fmla="*/ 2147483647 w 282"/>
                <a:gd name="T37" fmla="*/ 2147483647 h 300"/>
                <a:gd name="T38" fmla="*/ 2147483647 w 282"/>
                <a:gd name="T39" fmla="*/ 2147483647 h 300"/>
                <a:gd name="T40" fmla="*/ 2147483647 w 282"/>
                <a:gd name="T41" fmla="*/ 2147483647 h 300"/>
                <a:gd name="T42" fmla="*/ 2147483647 w 282"/>
                <a:gd name="T43" fmla="*/ 2147483647 h 300"/>
                <a:gd name="T44" fmla="*/ 2147483647 w 282"/>
                <a:gd name="T45" fmla="*/ 2147483647 h 300"/>
                <a:gd name="T46" fmla="*/ 2147483647 w 282"/>
                <a:gd name="T47" fmla="*/ 2147483647 h 300"/>
                <a:gd name="T48" fmla="*/ 2147483647 w 282"/>
                <a:gd name="T49" fmla="*/ 2147483647 h 300"/>
                <a:gd name="T50" fmla="*/ 2147483647 w 282"/>
                <a:gd name="T51" fmla="*/ 2147483647 h 300"/>
                <a:gd name="T52" fmla="*/ 2147483647 w 282"/>
                <a:gd name="T53" fmla="*/ 2147483647 h 300"/>
                <a:gd name="T54" fmla="*/ 2147483647 w 282"/>
                <a:gd name="T55" fmla="*/ 2147483647 h 300"/>
                <a:gd name="T56" fmla="*/ 2147483647 w 282"/>
                <a:gd name="T57" fmla="*/ 2147483647 h 300"/>
                <a:gd name="T58" fmla="*/ 2147483647 w 282"/>
                <a:gd name="T59" fmla="*/ 2147483647 h 300"/>
                <a:gd name="T60" fmla="*/ 2147483647 w 282"/>
                <a:gd name="T61" fmla="*/ 2147483647 h 300"/>
                <a:gd name="T62" fmla="*/ 2147483647 w 282"/>
                <a:gd name="T63" fmla="*/ 2147483647 h 300"/>
                <a:gd name="T64" fmla="*/ 2147483647 w 282"/>
                <a:gd name="T65" fmla="*/ 2147483647 h 300"/>
                <a:gd name="T66" fmla="*/ 2147483647 w 282"/>
                <a:gd name="T67" fmla="*/ 2147483647 h 300"/>
                <a:gd name="T68" fmla="*/ 2147483647 w 282"/>
                <a:gd name="T69" fmla="*/ 2147483647 h 300"/>
                <a:gd name="T70" fmla="*/ 2147483647 w 282"/>
                <a:gd name="T71" fmla="*/ 2147483647 h 300"/>
                <a:gd name="T72" fmla="*/ 2147483647 w 282"/>
                <a:gd name="T73" fmla="*/ 2147483647 h 300"/>
                <a:gd name="T74" fmla="*/ 2147483647 w 282"/>
                <a:gd name="T75" fmla="*/ 2147483647 h 300"/>
                <a:gd name="T76" fmla="*/ 2147483647 w 282"/>
                <a:gd name="T77" fmla="*/ 2147483647 h 300"/>
                <a:gd name="T78" fmla="*/ 2147483647 w 282"/>
                <a:gd name="T79" fmla="*/ 2147483647 h 300"/>
                <a:gd name="T80" fmla="*/ 0 w 282"/>
                <a:gd name="T81" fmla="*/ 2147483647 h 300"/>
                <a:gd name="T82" fmla="*/ 2147483647 w 282"/>
                <a:gd name="T83" fmla="*/ 2147483647 h 300"/>
                <a:gd name="T84" fmla="*/ 2147483647 w 282"/>
                <a:gd name="T85" fmla="*/ 2147483647 h 300"/>
                <a:gd name="T86" fmla="*/ 2147483647 w 282"/>
                <a:gd name="T87" fmla="*/ 2147483647 h 300"/>
                <a:gd name="T88" fmla="*/ 2147483647 w 282"/>
                <a:gd name="T89" fmla="*/ 2147483647 h 300"/>
                <a:gd name="T90" fmla="*/ 2147483647 w 282"/>
                <a:gd name="T91" fmla="*/ 2147483647 h 300"/>
                <a:gd name="T92" fmla="*/ 2147483647 w 282"/>
                <a:gd name="T93" fmla="*/ 2147483647 h 300"/>
                <a:gd name="T94" fmla="*/ 2147483647 w 282"/>
                <a:gd name="T95" fmla="*/ 2147483647 h 300"/>
                <a:gd name="T96" fmla="*/ 2147483647 w 282"/>
                <a:gd name="T97" fmla="*/ 2147483647 h 300"/>
                <a:gd name="T98" fmla="*/ 2147483647 w 282"/>
                <a:gd name="T99" fmla="*/ 2147483647 h 300"/>
                <a:gd name="T100" fmla="*/ 2147483647 w 282"/>
                <a:gd name="T101" fmla="*/ 2147483647 h 300"/>
                <a:gd name="T102" fmla="*/ 2147483647 w 282"/>
                <a:gd name="T103" fmla="*/ 2147483647 h 300"/>
                <a:gd name="T104" fmla="*/ 2147483647 w 282"/>
                <a:gd name="T105" fmla="*/ 2147483647 h 300"/>
                <a:gd name="T106" fmla="*/ 2147483647 w 282"/>
                <a:gd name="T107" fmla="*/ 2147483647 h 300"/>
                <a:gd name="T108" fmla="*/ 2147483647 w 282"/>
                <a:gd name="T109" fmla="*/ 2147483647 h 300"/>
                <a:gd name="T110" fmla="*/ 2147483647 w 282"/>
                <a:gd name="T111" fmla="*/ 2147483647 h 3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2"/>
                <a:gd name="T169" fmla="*/ 0 h 300"/>
                <a:gd name="T170" fmla="*/ 282 w 282"/>
                <a:gd name="T171" fmla="*/ 300 h 3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2" h="300">
                  <a:moveTo>
                    <a:pt x="276" y="156"/>
                  </a:moveTo>
                  <a:lnTo>
                    <a:pt x="276" y="144"/>
                  </a:lnTo>
                  <a:lnTo>
                    <a:pt x="270" y="132"/>
                  </a:lnTo>
                  <a:lnTo>
                    <a:pt x="264" y="126"/>
                  </a:lnTo>
                  <a:lnTo>
                    <a:pt x="264" y="114"/>
                  </a:lnTo>
                  <a:lnTo>
                    <a:pt x="258" y="108"/>
                  </a:lnTo>
                  <a:lnTo>
                    <a:pt x="258" y="102"/>
                  </a:lnTo>
                  <a:lnTo>
                    <a:pt x="276" y="102"/>
                  </a:lnTo>
                  <a:lnTo>
                    <a:pt x="282" y="96"/>
                  </a:lnTo>
                  <a:lnTo>
                    <a:pt x="246" y="90"/>
                  </a:lnTo>
                  <a:lnTo>
                    <a:pt x="228" y="66"/>
                  </a:lnTo>
                  <a:lnTo>
                    <a:pt x="204" y="90"/>
                  </a:lnTo>
                  <a:lnTo>
                    <a:pt x="192" y="90"/>
                  </a:lnTo>
                  <a:lnTo>
                    <a:pt x="168" y="78"/>
                  </a:lnTo>
                  <a:lnTo>
                    <a:pt x="162" y="72"/>
                  </a:lnTo>
                  <a:lnTo>
                    <a:pt x="174" y="60"/>
                  </a:lnTo>
                  <a:lnTo>
                    <a:pt x="180" y="60"/>
                  </a:lnTo>
                  <a:lnTo>
                    <a:pt x="186" y="54"/>
                  </a:lnTo>
                  <a:lnTo>
                    <a:pt x="192" y="54"/>
                  </a:lnTo>
                  <a:lnTo>
                    <a:pt x="192" y="42"/>
                  </a:lnTo>
                  <a:lnTo>
                    <a:pt x="234" y="18"/>
                  </a:lnTo>
                  <a:lnTo>
                    <a:pt x="240" y="12"/>
                  </a:lnTo>
                  <a:lnTo>
                    <a:pt x="240" y="6"/>
                  </a:lnTo>
                  <a:lnTo>
                    <a:pt x="234" y="6"/>
                  </a:lnTo>
                  <a:lnTo>
                    <a:pt x="228" y="0"/>
                  </a:lnTo>
                  <a:lnTo>
                    <a:pt x="222" y="0"/>
                  </a:lnTo>
                  <a:lnTo>
                    <a:pt x="210" y="6"/>
                  </a:lnTo>
                  <a:lnTo>
                    <a:pt x="204" y="18"/>
                  </a:lnTo>
                  <a:lnTo>
                    <a:pt x="198" y="6"/>
                  </a:lnTo>
                  <a:lnTo>
                    <a:pt x="174" y="6"/>
                  </a:lnTo>
                  <a:lnTo>
                    <a:pt x="162" y="12"/>
                  </a:lnTo>
                  <a:lnTo>
                    <a:pt x="156" y="12"/>
                  </a:lnTo>
                  <a:lnTo>
                    <a:pt x="150" y="18"/>
                  </a:lnTo>
                  <a:lnTo>
                    <a:pt x="150" y="30"/>
                  </a:lnTo>
                  <a:lnTo>
                    <a:pt x="144" y="36"/>
                  </a:lnTo>
                  <a:lnTo>
                    <a:pt x="144" y="42"/>
                  </a:lnTo>
                  <a:lnTo>
                    <a:pt x="126" y="42"/>
                  </a:lnTo>
                  <a:lnTo>
                    <a:pt x="120" y="48"/>
                  </a:lnTo>
                  <a:lnTo>
                    <a:pt x="120" y="54"/>
                  </a:lnTo>
                  <a:lnTo>
                    <a:pt x="138" y="54"/>
                  </a:lnTo>
                  <a:lnTo>
                    <a:pt x="144" y="60"/>
                  </a:lnTo>
                  <a:lnTo>
                    <a:pt x="150" y="60"/>
                  </a:lnTo>
                  <a:lnTo>
                    <a:pt x="150" y="66"/>
                  </a:lnTo>
                  <a:lnTo>
                    <a:pt x="144" y="72"/>
                  </a:lnTo>
                  <a:lnTo>
                    <a:pt x="132" y="72"/>
                  </a:lnTo>
                  <a:lnTo>
                    <a:pt x="132" y="78"/>
                  </a:lnTo>
                  <a:lnTo>
                    <a:pt x="126" y="84"/>
                  </a:lnTo>
                  <a:lnTo>
                    <a:pt x="102" y="84"/>
                  </a:lnTo>
                  <a:lnTo>
                    <a:pt x="102" y="90"/>
                  </a:lnTo>
                  <a:lnTo>
                    <a:pt x="90" y="78"/>
                  </a:lnTo>
                  <a:lnTo>
                    <a:pt x="42" y="78"/>
                  </a:lnTo>
                  <a:lnTo>
                    <a:pt x="42" y="102"/>
                  </a:lnTo>
                  <a:lnTo>
                    <a:pt x="54" y="102"/>
                  </a:lnTo>
                  <a:lnTo>
                    <a:pt x="54" y="108"/>
                  </a:lnTo>
                  <a:lnTo>
                    <a:pt x="60" y="114"/>
                  </a:lnTo>
                  <a:lnTo>
                    <a:pt x="42" y="126"/>
                  </a:lnTo>
                  <a:lnTo>
                    <a:pt x="36" y="126"/>
                  </a:lnTo>
                  <a:lnTo>
                    <a:pt x="30" y="132"/>
                  </a:lnTo>
                  <a:lnTo>
                    <a:pt x="30" y="138"/>
                  </a:lnTo>
                  <a:lnTo>
                    <a:pt x="42" y="150"/>
                  </a:lnTo>
                  <a:lnTo>
                    <a:pt x="54" y="156"/>
                  </a:lnTo>
                  <a:lnTo>
                    <a:pt x="60" y="162"/>
                  </a:lnTo>
                  <a:lnTo>
                    <a:pt x="72" y="162"/>
                  </a:lnTo>
                  <a:lnTo>
                    <a:pt x="78" y="156"/>
                  </a:lnTo>
                  <a:lnTo>
                    <a:pt x="96" y="156"/>
                  </a:lnTo>
                  <a:lnTo>
                    <a:pt x="96" y="168"/>
                  </a:lnTo>
                  <a:lnTo>
                    <a:pt x="90" y="174"/>
                  </a:lnTo>
                  <a:lnTo>
                    <a:pt x="72" y="174"/>
                  </a:lnTo>
                  <a:lnTo>
                    <a:pt x="72" y="192"/>
                  </a:lnTo>
                  <a:lnTo>
                    <a:pt x="54" y="192"/>
                  </a:lnTo>
                  <a:lnTo>
                    <a:pt x="48" y="198"/>
                  </a:lnTo>
                  <a:lnTo>
                    <a:pt x="48" y="210"/>
                  </a:lnTo>
                  <a:lnTo>
                    <a:pt x="42" y="222"/>
                  </a:lnTo>
                  <a:lnTo>
                    <a:pt x="42" y="234"/>
                  </a:lnTo>
                  <a:lnTo>
                    <a:pt x="18" y="234"/>
                  </a:lnTo>
                  <a:lnTo>
                    <a:pt x="12" y="240"/>
                  </a:lnTo>
                  <a:lnTo>
                    <a:pt x="6" y="240"/>
                  </a:lnTo>
                  <a:lnTo>
                    <a:pt x="6" y="246"/>
                  </a:lnTo>
                  <a:lnTo>
                    <a:pt x="12" y="246"/>
                  </a:lnTo>
                  <a:lnTo>
                    <a:pt x="18" y="252"/>
                  </a:lnTo>
                  <a:lnTo>
                    <a:pt x="6" y="252"/>
                  </a:lnTo>
                  <a:lnTo>
                    <a:pt x="0" y="258"/>
                  </a:lnTo>
                  <a:lnTo>
                    <a:pt x="0" y="270"/>
                  </a:lnTo>
                  <a:lnTo>
                    <a:pt x="42" y="270"/>
                  </a:lnTo>
                  <a:lnTo>
                    <a:pt x="24" y="288"/>
                  </a:lnTo>
                  <a:lnTo>
                    <a:pt x="30" y="282"/>
                  </a:lnTo>
                  <a:lnTo>
                    <a:pt x="48" y="282"/>
                  </a:lnTo>
                  <a:lnTo>
                    <a:pt x="48" y="288"/>
                  </a:lnTo>
                  <a:lnTo>
                    <a:pt x="42" y="288"/>
                  </a:lnTo>
                  <a:lnTo>
                    <a:pt x="36" y="294"/>
                  </a:lnTo>
                  <a:lnTo>
                    <a:pt x="30" y="294"/>
                  </a:lnTo>
                  <a:lnTo>
                    <a:pt x="36" y="300"/>
                  </a:lnTo>
                  <a:lnTo>
                    <a:pt x="60" y="300"/>
                  </a:lnTo>
                  <a:lnTo>
                    <a:pt x="96" y="288"/>
                  </a:lnTo>
                  <a:lnTo>
                    <a:pt x="108" y="282"/>
                  </a:lnTo>
                  <a:lnTo>
                    <a:pt x="120" y="270"/>
                  </a:lnTo>
                  <a:lnTo>
                    <a:pt x="120" y="264"/>
                  </a:lnTo>
                  <a:lnTo>
                    <a:pt x="132" y="270"/>
                  </a:lnTo>
                  <a:lnTo>
                    <a:pt x="138" y="270"/>
                  </a:lnTo>
                  <a:lnTo>
                    <a:pt x="150" y="264"/>
                  </a:lnTo>
                  <a:lnTo>
                    <a:pt x="162" y="252"/>
                  </a:lnTo>
                  <a:lnTo>
                    <a:pt x="180" y="246"/>
                  </a:lnTo>
                  <a:lnTo>
                    <a:pt x="204" y="246"/>
                  </a:lnTo>
                  <a:lnTo>
                    <a:pt x="210" y="240"/>
                  </a:lnTo>
                  <a:lnTo>
                    <a:pt x="252" y="240"/>
                  </a:lnTo>
                  <a:lnTo>
                    <a:pt x="246" y="222"/>
                  </a:lnTo>
                  <a:lnTo>
                    <a:pt x="264" y="222"/>
                  </a:lnTo>
                  <a:lnTo>
                    <a:pt x="264" y="198"/>
                  </a:lnTo>
                  <a:lnTo>
                    <a:pt x="270" y="192"/>
                  </a:lnTo>
                  <a:lnTo>
                    <a:pt x="270" y="180"/>
                  </a:lnTo>
                  <a:lnTo>
                    <a:pt x="276" y="168"/>
                  </a:lnTo>
                  <a:lnTo>
                    <a:pt x="276" y="156"/>
                  </a:lnTo>
                  <a:close/>
                </a:path>
              </a:pathLst>
            </a:custGeom>
            <a:solidFill>
              <a:schemeClr val="accent1"/>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45" name="Iran" descr="© INSCALE GmbH, 05.05.2010&#10;http://www.presentationload.com/">
              <a:extLst>
                <a:ext uri="{FF2B5EF4-FFF2-40B4-BE49-F238E27FC236}">
                  <a16:creationId xmlns:a16="http://schemas.microsoft.com/office/drawing/2014/main" id="{C16A57A0-6E08-40BB-9886-1D38F8F37EDE}"/>
                </a:ext>
              </a:extLst>
            </p:cNvPr>
            <p:cNvSpPr>
              <a:spLocks/>
            </p:cNvSpPr>
            <p:nvPr/>
          </p:nvSpPr>
          <p:spPr bwMode="gray">
            <a:xfrm>
              <a:off x="5300672" y="2977827"/>
              <a:ext cx="572328" cy="468840"/>
            </a:xfrm>
            <a:custGeom>
              <a:avLst/>
              <a:gdLst>
                <a:gd name="T0" fmla="*/ 2147483647 w 1440"/>
                <a:gd name="T1" fmla="*/ 2147483647 h 1182"/>
                <a:gd name="T2" fmla="*/ 2147483647 w 1440"/>
                <a:gd name="T3" fmla="*/ 2147483647 h 1182"/>
                <a:gd name="T4" fmla="*/ 2147483647 w 1440"/>
                <a:gd name="T5" fmla="*/ 2147483647 h 1182"/>
                <a:gd name="T6" fmla="*/ 2147483647 w 1440"/>
                <a:gd name="T7" fmla="*/ 2147483647 h 1182"/>
                <a:gd name="T8" fmla="*/ 2147483647 w 1440"/>
                <a:gd name="T9" fmla="*/ 2147483647 h 1182"/>
                <a:gd name="T10" fmla="*/ 2147483647 w 1440"/>
                <a:gd name="T11" fmla="*/ 2147483647 h 1182"/>
                <a:gd name="T12" fmla="*/ 2147483647 w 1440"/>
                <a:gd name="T13" fmla="*/ 2147483647 h 1182"/>
                <a:gd name="T14" fmla="*/ 2147483647 w 1440"/>
                <a:gd name="T15" fmla="*/ 2147483647 h 1182"/>
                <a:gd name="T16" fmla="*/ 2147483647 w 1440"/>
                <a:gd name="T17" fmla="*/ 2147483647 h 1182"/>
                <a:gd name="T18" fmla="*/ 2147483647 w 1440"/>
                <a:gd name="T19" fmla="*/ 2147483647 h 1182"/>
                <a:gd name="T20" fmla="*/ 2147483647 w 1440"/>
                <a:gd name="T21" fmla="*/ 2147483647 h 1182"/>
                <a:gd name="T22" fmla="*/ 2147483647 w 1440"/>
                <a:gd name="T23" fmla="*/ 2147483647 h 1182"/>
                <a:gd name="T24" fmla="*/ 2147483647 w 1440"/>
                <a:gd name="T25" fmla="*/ 2147483647 h 1182"/>
                <a:gd name="T26" fmla="*/ 2147483647 w 1440"/>
                <a:gd name="T27" fmla="*/ 2147483647 h 1182"/>
                <a:gd name="T28" fmla="*/ 2147483647 w 1440"/>
                <a:gd name="T29" fmla="*/ 2147483647 h 1182"/>
                <a:gd name="T30" fmla="*/ 2147483647 w 1440"/>
                <a:gd name="T31" fmla="*/ 2147483647 h 1182"/>
                <a:gd name="T32" fmla="*/ 2147483647 w 1440"/>
                <a:gd name="T33" fmla="*/ 2147483647 h 1182"/>
                <a:gd name="T34" fmla="*/ 2147483647 w 1440"/>
                <a:gd name="T35" fmla="*/ 2147483647 h 1182"/>
                <a:gd name="T36" fmla="*/ 2147483647 w 1440"/>
                <a:gd name="T37" fmla="*/ 2147483647 h 1182"/>
                <a:gd name="T38" fmla="*/ 2147483647 w 1440"/>
                <a:gd name="T39" fmla="*/ 2147483647 h 1182"/>
                <a:gd name="T40" fmla="*/ 2147483647 w 1440"/>
                <a:gd name="T41" fmla="*/ 2147483647 h 1182"/>
                <a:gd name="T42" fmla="*/ 2147483647 w 1440"/>
                <a:gd name="T43" fmla="*/ 2147483647 h 1182"/>
                <a:gd name="T44" fmla="*/ 2147483647 w 1440"/>
                <a:gd name="T45" fmla="*/ 2147483647 h 1182"/>
                <a:gd name="T46" fmla="*/ 2147483647 w 1440"/>
                <a:gd name="T47" fmla="*/ 2147483647 h 1182"/>
                <a:gd name="T48" fmla="*/ 2147483647 w 1440"/>
                <a:gd name="T49" fmla="*/ 2147483647 h 1182"/>
                <a:gd name="T50" fmla="*/ 2147483647 w 1440"/>
                <a:gd name="T51" fmla="*/ 2147483647 h 1182"/>
                <a:gd name="T52" fmla="*/ 2147483647 w 1440"/>
                <a:gd name="T53" fmla="*/ 2147483647 h 1182"/>
                <a:gd name="T54" fmla="*/ 2147483647 w 1440"/>
                <a:gd name="T55" fmla="*/ 2147483647 h 1182"/>
                <a:gd name="T56" fmla="*/ 2147483647 w 1440"/>
                <a:gd name="T57" fmla="*/ 2147483647 h 1182"/>
                <a:gd name="T58" fmla="*/ 2147483647 w 1440"/>
                <a:gd name="T59" fmla="*/ 2147483647 h 1182"/>
                <a:gd name="T60" fmla="*/ 2147483647 w 1440"/>
                <a:gd name="T61" fmla="*/ 0 h 1182"/>
                <a:gd name="T62" fmla="*/ 2147483647 w 1440"/>
                <a:gd name="T63" fmla="*/ 2147483647 h 1182"/>
                <a:gd name="T64" fmla="*/ 2147483647 w 1440"/>
                <a:gd name="T65" fmla="*/ 2147483647 h 1182"/>
                <a:gd name="T66" fmla="*/ 2147483647 w 1440"/>
                <a:gd name="T67" fmla="*/ 2147483647 h 1182"/>
                <a:gd name="T68" fmla="*/ 2147483647 w 1440"/>
                <a:gd name="T69" fmla="*/ 2147483647 h 1182"/>
                <a:gd name="T70" fmla="*/ 2147483647 w 1440"/>
                <a:gd name="T71" fmla="*/ 2147483647 h 1182"/>
                <a:gd name="T72" fmla="*/ 2147483647 w 1440"/>
                <a:gd name="T73" fmla="*/ 2147483647 h 1182"/>
                <a:gd name="T74" fmla="*/ 2147483647 w 1440"/>
                <a:gd name="T75" fmla="*/ 2147483647 h 1182"/>
                <a:gd name="T76" fmla="*/ 2147483647 w 1440"/>
                <a:gd name="T77" fmla="*/ 2147483647 h 1182"/>
                <a:gd name="T78" fmla="*/ 2147483647 w 1440"/>
                <a:gd name="T79" fmla="*/ 2147483647 h 1182"/>
                <a:gd name="T80" fmla="*/ 2147483647 w 1440"/>
                <a:gd name="T81" fmla="*/ 2147483647 h 1182"/>
                <a:gd name="T82" fmla="*/ 2147483647 w 1440"/>
                <a:gd name="T83" fmla="*/ 2147483647 h 1182"/>
                <a:gd name="T84" fmla="*/ 2147483647 w 1440"/>
                <a:gd name="T85" fmla="*/ 2147483647 h 1182"/>
                <a:gd name="T86" fmla="*/ 2147483647 w 1440"/>
                <a:gd name="T87" fmla="*/ 2147483647 h 1182"/>
                <a:gd name="T88" fmla="*/ 2147483647 w 1440"/>
                <a:gd name="T89" fmla="*/ 2147483647 h 1182"/>
                <a:gd name="T90" fmla="*/ 2147483647 w 1440"/>
                <a:gd name="T91" fmla="*/ 2147483647 h 1182"/>
                <a:gd name="T92" fmla="*/ 2147483647 w 1440"/>
                <a:gd name="T93" fmla="*/ 2147483647 h 1182"/>
                <a:gd name="T94" fmla="*/ 2147483647 w 1440"/>
                <a:gd name="T95" fmla="*/ 2147483647 h 1182"/>
                <a:gd name="T96" fmla="*/ 2147483647 w 1440"/>
                <a:gd name="T97" fmla="*/ 2147483647 h 1182"/>
                <a:gd name="T98" fmla="*/ 2147483647 w 1440"/>
                <a:gd name="T99" fmla="*/ 2147483647 h 1182"/>
                <a:gd name="T100" fmla="*/ 2147483647 w 1440"/>
                <a:gd name="T101" fmla="*/ 2147483647 h 1182"/>
                <a:gd name="T102" fmla="*/ 2147483647 w 1440"/>
                <a:gd name="T103" fmla="*/ 2147483647 h 1182"/>
                <a:gd name="T104" fmla="*/ 2147483647 w 1440"/>
                <a:gd name="T105" fmla="*/ 2147483647 h 1182"/>
                <a:gd name="T106" fmla="*/ 2147483647 w 1440"/>
                <a:gd name="T107" fmla="*/ 2147483647 h 1182"/>
                <a:gd name="T108" fmla="*/ 2147483647 w 1440"/>
                <a:gd name="T109" fmla="*/ 2147483647 h 1182"/>
                <a:gd name="T110" fmla="*/ 2147483647 w 1440"/>
                <a:gd name="T111" fmla="*/ 2147483647 h 11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40"/>
                <a:gd name="T169" fmla="*/ 0 h 1182"/>
                <a:gd name="T170" fmla="*/ 1440 w 1440"/>
                <a:gd name="T171" fmla="*/ 1182 h 11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40" h="1182">
                  <a:moveTo>
                    <a:pt x="1338" y="1176"/>
                  </a:moveTo>
                  <a:lnTo>
                    <a:pt x="1338" y="1170"/>
                  </a:lnTo>
                  <a:lnTo>
                    <a:pt x="1332" y="1158"/>
                  </a:lnTo>
                  <a:lnTo>
                    <a:pt x="1332" y="1128"/>
                  </a:lnTo>
                  <a:lnTo>
                    <a:pt x="1344" y="1116"/>
                  </a:lnTo>
                  <a:lnTo>
                    <a:pt x="1344" y="1110"/>
                  </a:lnTo>
                  <a:lnTo>
                    <a:pt x="1350" y="1104"/>
                  </a:lnTo>
                  <a:lnTo>
                    <a:pt x="1356" y="1086"/>
                  </a:lnTo>
                  <a:lnTo>
                    <a:pt x="1368" y="1086"/>
                  </a:lnTo>
                  <a:lnTo>
                    <a:pt x="1374" y="1080"/>
                  </a:lnTo>
                  <a:lnTo>
                    <a:pt x="1374" y="1074"/>
                  </a:lnTo>
                  <a:lnTo>
                    <a:pt x="1380" y="1074"/>
                  </a:lnTo>
                  <a:lnTo>
                    <a:pt x="1380" y="1068"/>
                  </a:lnTo>
                  <a:lnTo>
                    <a:pt x="1386" y="1062"/>
                  </a:lnTo>
                  <a:lnTo>
                    <a:pt x="1398" y="1056"/>
                  </a:lnTo>
                  <a:lnTo>
                    <a:pt x="1428" y="1056"/>
                  </a:lnTo>
                  <a:lnTo>
                    <a:pt x="1428" y="1062"/>
                  </a:lnTo>
                  <a:lnTo>
                    <a:pt x="1434" y="1062"/>
                  </a:lnTo>
                  <a:lnTo>
                    <a:pt x="1440" y="1056"/>
                  </a:lnTo>
                  <a:lnTo>
                    <a:pt x="1440" y="1044"/>
                  </a:lnTo>
                  <a:lnTo>
                    <a:pt x="1434" y="1026"/>
                  </a:lnTo>
                  <a:lnTo>
                    <a:pt x="1428" y="1014"/>
                  </a:lnTo>
                  <a:lnTo>
                    <a:pt x="1422" y="1008"/>
                  </a:lnTo>
                  <a:lnTo>
                    <a:pt x="1404" y="1008"/>
                  </a:lnTo>
                  <a:lnTo>
                    <a:pt x="1404" y="996"/>
                  </a:lnTo>
                  <a:lnTo>
                    <a:pt x="1398" y="984"/>
                  </a:lnTo>
                  <a:lnTo>
                    <a:pt x="1398" y="960"/>
                  </a:lnTo>
                  <a:lnTo>
                    <a:pt x="1392" y="960"/>
                  </a:lnTo>
                  <a:lnTo>
                    <a:pt x="1398" y="930"/>
                  </a:lnTo>
                  <a:lnTo>
                    <a:pt x="1374" y="930"/>
                  </a:lnTo>
                  <a:lnTo>
                    <a:pt x="1362" y="912"/>
                  </a:lnTo>
                  <a:lnTo>
                    <a:pt x="1350" y="918"/>
                  </a:lnTo>
                  <a:lnTo>
                    <a:pt x="1332" y="918"/>
                  </a:lnTo>
                  <a:lnTo>
                    <a:pt x="1326" y="912"/>
                  </a:lnTo>
                  <a:lnTo>
                    <a:pt x="1314" y="894"/>
                  </a:lnTo>
                  <a:lnTo>
                    <a:pt x="1308" y="876"/>
                  </a:lnTo>
                  <a:lnTo>
                    <a:pt x="1296" y="864"/>
                  </a:lnTo>
                  <a:lnTo>
                    <a:pt x="1284" y="846"/>
                  </a:lnTo>
                  <a:lnTo>
                    <a:pt x="1278" y="840"/>
                  </a:lnTo>
                  <a:lnTo>
                    <a:pt x="1272" y="828"/>
                  </a:lnTo>
                  <a:lnTo>
                    <a:pt x="1248" y="804"/>
                  </a:lnTo>
                  <a:lnTo>
                    <a:pt x="1242" y="804"/>
                  </a:lnTo>
                  <a:lnTo>
                    <a:pt x="1242" y="792"/>
                  </a:lnTo>
                  <a:lnTo>
                    <a:pt x="1260" y="774"/>
                  </a:lnTo>
                  <a:lnTo>
                    <a:pt x="1266" y="762"/>
                  </a:lnTo>
                  <a:lnTo>
                    <a:pt x="1272" y="756"/>
                  </a:lnTo>
                  <a:lnTo>
                    <a:pt x="1296" y="708"/>
                  </a:lnTo>
                  <a:lnTo>
                    <a:pt x="1284" y="684"/>
                  </a:lnTo>
                  <a:lnTo>
                    <a:pt x="1278" y="678"/>
                  </a:lnTo>
                  <a:lnTo>
                    <a:pt x="1242" y="678"/>
                  </a:lnTo>
                  <a:lnTo>
                    <a:pt x="1230" y="672"/>
                  </a:lnTo>
                  <a:lnTo>
                    <a:pt x="1224" y="672"/>
                  </a:lnTo>
                  <a:lnTo>
                    <a:pt x="1218" y="666"/>
                  </a:lnTo>
                  <a:lnTo>
                    <a:pt x="1218" y="612"/>
                  </a:lnTo>
                  <a:lnTo>
                    <a:pt x="1212" y="606"/>
                  </a:lnTo>
                  <a:lnTo>
                    <a:pt x="1200" y="582"/>
                  </a:lnTo>
                  <a:lnTo>
                    <a:pt x="1188" y="564"/>
                  </a:lnTo>
                  <a:lnTo>
                    <a:pt x="1176" y="540"/>
                  </a:lnTo>
                  <a:lnTo>
                    <a:pt x="1182" y="528"/>
                  </a:lnTo>
                  <a:lnTo>
                    <a:pt x="1200" y="510"/>
                  </a:lnTo>
                  <a:lnTo>
                    <a:pt x="1200" y="504"/>
                  </a:lnTo>
                  <a:lnTo>
                    <a:pt x="1194" y="498"/>
                  </a:lnTo>
                  <a:lnTo>
                    <a:pt x="1170" y="498"/>
                  </a:lnTo>
                  <a:lnTo>
                    <a:pt x="1170" y="468"/>
                  </a:lnTo>
                  <a:lnTo>
                    <a:pt x="1158" y="456"/>
                  </a:lnTo>
                  <a:lnTo>
                    <a:pt x="1158" y="450"/>
                  </a:lnTo>
                  <a:lnTo>
                    <a:pt x="1164" y="444"/>
                  </a:lnTo>
                  <a:lnTo>
                    <a:pt x="1176" y="438"/>
                  </a:lnTo>
                  <a:lnTo>
                    <a:pt x="1182" y="432"/>
                  </a:lnTo>
                  <a:lnTo>
                    <a:pt x="1188" y="432"/>
                  </a:lnTo>
                  <a:lnTo>
                    <a:pt x="1176" y="414"/>
                  </a:lnTo>
                  <a:lnTo>
                    <a:pt x="1200" y="408"/>
                  </a:lnTo>
                  <a:lnTo>
                    <a:pt x="1200" y="402"/>
                  </a:lnTo>
                  <a:lnTo>
                    <a:pt x="1194" y="396"/>
                  </a:lnTo>
                  <a:lnTo>
                    <a:pt x="1194" y="372"/>
                  </a:lnTo>
                  <a:lnTo>
                    <a:pt x="1188" y="360"/>
                  </a:lnTo>
                  <a:lnTo>
                    <a:pt x="1188" y="354"/>
                  </a:lnTo>
                  <a:lnTo>
                    <a:pt x="1194" y="342"/>
                  </a:lnTo>
                  <a:lnTo>
                    <a:pt x="1200" y="336"/>
                  </a:lnTo>
                  <a:lnTo>
                    <a:pt x="1188" y="306"/>
                  </a:lnTo>
                  <a:lnTo>
                    <a:pt x="1194" y="282"/>
                  </a:lnTo>
                  <a:lnTo>
                    <a:pt x="1182" y="282"/>
                  </a:lnTo>
                  <a:lnTo>
                    <a:pt x="1182" y="246"/>
                  </a:lnTo>
                  <a:lnTo>
                    <a:pt x="1116" y="252"/>
                  </a:lnTo>
                  <a:lnTo>
                    <a:pt x="1110" y="246"/>
                  </a:lnTo>
                  <a:lnTo>
                    <a:pt x="1104" y="234"/>
                  </a:lnTo>
                  <a:lnTo>
                    <a:pt x="1092" y="228"/>
                  </a:lnTo>
                  <a:lnTo>
                    <a:pt x="1080" y="216"/>
                  </a:lnTo>
                  <a:lnTo>
                    <a:pt x="1068" y="216"/>
                  </a:lnTo>
                  <a:lnTo>
                    <a:pt x="1062" y="210"/>
                  </a:lnTo>
                  <a:lnTo>
                    <a:pt x="1056" y="210"/>
                  </a:lnTo>
                  <a:lnTo>
                    <a:pt x="1050" y="204"/>
                  </a:lnTo>
                  <a:lnTo>
                    <a:pt x="1044" y="192"/>
                  </a:lnTo>
                  <a:lnTo>
                    <a:pt x="1044" y="186"/>
                  </a:lnTo>
                  <a:lnTo>
                    <a:pt x="1038" y="180"/>
                  </a:lnTo>
                  <a:lnTo>
                    <a:pt x="1032" y="180"/>
                  </a:lnTo>
                  <a:lnTo>
                    <a:pt x="1020" y="174"/>
                  </a:lnTo>
                  <a:lnTo>
                    <a:pt x="1002" y="174"/>
                  </a:lnTo>
                  <a:lnTo>
                    <a:pt x="990" y="168"/>
                  </a:lnTo>
                  <a:lnTo>
                    <a:pt x="972" y="168"/>
                  </a:lnTo>
                  <a:lnTo>
                    <a:pt x="972" y="174"/>
                  </a:lnTo>
                  <a:lnTo>
                    <a:pt x="960" y="168"/>
                  </a:lnTo>
                  <a:lnTo>
                    <a:pt x="954" y="162"/>
                  </a:lnTo>
                  <a:lnTo>
                    <a:pt x="942" y="156"/>
                  </a:lnTo>
                  <a:lnTo>
                    <a:pt x="936" y="150"/>
                  </a:lnTo>
                  <a:lnTo>
                    <a:pt x="906" y="150"/>
                  </a:lnTo>
                  <a:lnTo>
                    <a:pt x="906" y="138"/>
                  </a:lnTo>
                  <a:lnTo>
                    <a:pt x="894" y="126"/>
                  </a:lnTo>
                  <a:lnTo>
                    <a:pt x="834" y="126"/>
                  </a:lnTo>
                  <a:lnTo>
                    <a:pt x="834" y="132"/>
                  </a:lnTo>
                  <a:lnTo>
                    <a:pt x="828" y="138"/>
                  </a:lnTo>
                  <a:lnTo>
                    <a:pt x="816" y="132"/>
                  </a:lnTo>
                  <a:lnTo>
                    <a:pt x="780" y="132"/>
                  </a:lnTo>
                  <a:lnTo>
                    <a:pt x="768" y="138"/>
                  </a:lnTo>
                  <a:lnTo>
                    <a:pt x="750" y="156"/>
                  </a:lnTo>
                  <a:lnTo>
                    <a:pt x="738" y="162"/>
                  </a:lnTo>
                  <a:lnTo>
                    <a:pt x="732" y="168"/>
                  </a:lnTo>
                  <a:lnTo>
                    <a:pt x="732" y="180"/>
                  </a:lnTo>
                  <a:lnTo>
                    <a:pt x="720" y="186"/>
                  </a:lnTo>
                  <a:lnTo>
                    <a:pt x="708" y="198"/>
                  </a:lnTo>
                  <a:lnTo>
                    <a:pt x="678" y="198"/>
                  </a:lnTo>
                  <a:lnTo>
                    <a:pt x="690" y="210"/>
                  </a:lnTo>
                  <a:lnTo>
                    <a:pt x="690" y="222"/>
                  </a:lnTo>
                  <a:lnTo>
                    <a:pt x="696" y="228"/>
                  </a:lnTo>
                  <a:lnTo>
                    <a:pt x="696" y="234"/>
                  </a:lnTo>
                  <a:lnTo>
                    <a:pt x="690" y="240"/>
                  </a:lnTo>
                  <a:lnTo>
                    <a:pt x="678" y="240"/>
                  </a:lnTo>
                  <a:lnTo>
                    <a:pt x="666" y="234"/>
                  </a:lnTo>
                  <a:lnTo>
                    <a:pt x="660" y="228"/>
                  </a:lnTo>
                  <a:lnTo>
                    <a:pt x="654" y="228"/>
                  </a:lnTo>
                  <a:lnTo>
                    <a:pt x="648" y="234"/>
                  </a:lnTo>
                  <a:lnTo>
                    <a:pt x="624" y="234"/>
                  </a:lnTo>
                  <a:lnTo>
                    <a:pt x="612" y="240"/>
                  </a:lnTo>
                  <a:lnTo>
                    <a:pt x="600" y="240"/>
                  </a:lnTo>
                  <a:lnTo>
                    <a:pt x="582" y="246"/>
                  </a:lnTo>
                  <a:lnTo>
                    <a:pt x="558" y="258"/>
                  </a:lnTo>
                  <a:lnTo>
                    <a:pt x="546" y="252"/>
                  </a:lnTo>
                  <a:lnTo>
                    <a:pt x="534" y="252"/>
                  </a:lnTo>
                  <a:lnTo>
                    <a:pt x="522" y="246"/>
                  </a:lnTo>
                  <a:lnTo>
                    <a:pt x="498" y="246"/>
                  </a:lnTo>
                  <a:lnTo>
                    <a:pt x="480" y="240"/>
                  </a:lnTo>
                  <a:lnTo>
                    <a:pt x="468" y="228"/>
                  </a:lnTo>
                  <a:lnTo>
                    <a:pt x="456" y="222"/>
                  </a:lnTo>
                  <a:lnTo>
                    <a:pt x="444" y="210"/>
                  </a:lnTo>
                  <a:lnTo>
                    <a:pt x="438" y="198"/>
                  </a:lnTo>
                  <a:lnTo>
                    <a:pt x="432" y="192"/>
                  </a:lnTo>
                  <a:lnTo>
                    <a:pt x="432" y="186"/>
                  </a:lnTo>
                  <a:lnTo>
                    <a:pt x="378" y="186"/>
                  </a:lnTo>
                  <a:lnTo>
                    <a:pt x="354" y="162"/>
                  </a:lnTo>
                  <a:lnTo>
                    <a:pt x="336" y="126"/>
                  </a:lnTo>
                  <a:lnTo>
                    <a:pt x="330" y="120"/>
                  </a:lnTo>
                  <a:lnTo>
                    <a:pt x="330" y="114"/>
                  </a:lnTo>
                  <a:lnTo>
                    <a:pt x="312" y="114"/>
                  </a:lnTo>
                  <a:lnTo>
                    <a:pt x="312" y="108"/>
                  </a:lnTo>
                  <a:lnTo>
                    <a:pt x="306" y="102"/>
                  </a:lnTo>
                  <a:lnTo>
                    <a:pt x="300" y="102"/>
                  </a:lnTo>
                  <a:lnTo>
                    <a:pt x="294" y="96"/>
                  </a:lnTo>
                  <a:lnTo>
                    <a:pt x="282" y="90"/>
                  </a:lnTo>
                  <a:lnTo>
                    <a:pt x="270" y="78"/>
                  </a:lnTo>
                  <a:lnTo>
                    <a:pt x="270" y="72"/>
                  </a:lnTo>
                  <a:lnTo>
                    <a:pt x="282" y="72"/>
                  </a:lnTo>
                  <a:lnTo>
                    <a:pt x="288" y="66"/>
                  </a:lnTo>
                  <a:lnTo>
                    <a:pt x="288" y="60"/>
                  </a:lnTo>
                  <a:lnTo>
                    <a:pt x="282" y="54"/>
                  </a:lnTo>
                  <a:lnTo>
                    <a:pt x="276" y="54"/>
                  </a:lnTo>
                  <a:lnTo>
                    <a:pt x="276" y="42"/>
                  </a:lnTo>
                  <a:lnTo>
                    <a:pt x="282" y="36"/>
                  </a:lnTo>
                  <a:lnTo>
                    <a:pt x="282" y="18"/>
                  </a:lnTo>
                  <a:lnTo>
                    <a:pt x="276" y="12"/>
                  </a:lnTo>
                  <a:lnTo>
                    <a:pt x="270" y="0"/>
                  </a:lnTo>
                  <a:lnTo>
                    <a:pt x="258" y="0"/>
                  </a:lnTo>
                  <a:lnTo>
                    <a:pt x="246" y="6"/>
                  </a:lnTo>
                  <a:lnTo>
                    <a:pt x="234" y="18"/>
                  </a:lnTo>
                  <a:lnTo>
                    <a:pt x="222" y="24"/>
                  </a:lnTo>
                  <a:lnTo>
                    <a:pt x="204" y="36"/>
                  </a:lnTo>
                  <a:lnTo>
                    <a:pt x="192" y="48"/>
                  </a:lnTo>
                  <a:lnTo>
                    <a:pt x="192" y="54"/>
                  </a:lnTo>
                  <a:lnTo>
                    <a:pt x="186" y="60"/>
                  </a:lnTo>
                  <a:lnTo>
                    <a:pt x="180" y="72"/>
                  </a:lnTo>
                  <a:lnTo>
                    <a:pt x="132" y="72"/>
                  </a:lnTo>
                  <a:lnTo>
                    <a:pt x="96" y="60"/>
                  </a:lnTo>
                  <a:lnTo>
                    <a:pt x="84" y="54"/>
                  </a:lnTo>
                  <a:lnTo>
                    <a:pt x="66" y="36"/>
                  </a:lnTo>
                  <a:lnTo>
                    <a:pt x="54" y="12"/>
                  </a:lnTo>
                  <a:lnTo>
                    <a:pt x="54" y="6"/>
                  </a:lnTo>
                  <a:lnTo>
                    <a:pt x="48" y="0"/>
                  </a:lnTo>
                  <a:lnTo>
                    <a:pt x="42" y="0"/>
                  </a:lnTo>
                  <a:lnTo>
                    <a:pt x="24" y="18"/>
                  </a:lnTo>
                  <a:lnTo>
                    <a:pt x="24" y="30"/>
                  </a:lnTo>
                  <a:lnTo>
                    <a:pt x="0" y="30"/>
                  </a:lnTo>
                  <a:lnTo>
                    <a:pt x="18" y="54"/>
                  </a:lnTo>
                  <a:lnTo>
                    <a:pt x="18" y="84"/>
                  </a:lnTo>
                  <a:lnTo>
                    <a:pt x="30" y="96"/>
                  </a:lnTo>
                  <a:lnTo>
                    <a:pt x="30" y="108"/>
                  </a:lnTo>
                  <a:lnTo>
                    <a:pt x="36" y="114"/>
                  </a:lnTo>
                  <a:lnTo>
                    <a:pt x="42" y="114"/>
                  </a:lnTo>
                  <a:lnTo>
                    <a:pt x="36" y="120"/>
                  </a:lnTo>
                  <a:lnTo>
                    <a:pt x="36" y="126"/>
                  </a:lnTo>
                  <a:lnTo>
                    <a:pt x="30" y="138"/>
                  </a:lnTo>
                  <a:lnTo>
                    <a:pt x="24" y="144"/>
                  </a:lnTo>
                  <a:lnTo>
                    <a:pt x="60" y="162"/>
                  </a:lnTo>
                  <a:lnTo>
                    <a:pt x="60" y="192"/>
                  </a:lnTo>
                  <a:lnTo>
                    <a:pt x="84" y="198"/>
                  </a:lnTo>
                  <a:lnTo>
                    <a:pt x="84" y="210"/>
                  </a:lnTo>
                  <a:lnTo>
                    <a:pt x="96" y="246"/>
                  </a:lnTo>
                  <a:lnTo>
                    <a:pt x="108" y="270"/>
                  </a:lnTo>
                  <a:lnTo>
                    <a:pt x="120" y="282"/>
                  </a:lnTo>
                  <a:lnTo>
                    <a:pt x="120" y="300"/>
                  </a:lnTo>
                  <a:lnTo>
                    <a:pt x="144" y="306"/>
                  </a:lnTo>
                  <a:lnTo>
                    <a:pt x="156" y="324"/>
                  </a:lnTo>
                  <a:lnTo>
                    <a:pt x="162" y="318"/>
                  </a:lnTo>
                  <a:lnTo>
                    <a:pt x="174" y="312"/>
                  </a:lnTo>
                  <a:lnTo>
                    <a:pt x="186" y="312"/>
                  </a:lnTo>
                  <a:lnTo>
                    <a:pt x="186" y="318"/>
                  </a:lnTo>
                  <a:lnTo>
                    <a:pt x="168" y="336"/>
                  </a:lnTo>
                  <a:lnTo>
                    <a:pt x="168" y="342"/>
                  </a:lnTo>
                  <a:lnTo>
                    <a:pt x="180" y="354"/>
                  </a:lnTo>
                  <a:lnTo>
                    <a:pt x="186" y="366"/>
                  </a:lnTo>
                  <a:lnTo>
                    <a:pt x="186" y="372"/>
                  </a:lnTo>
                  <a:lnTo>
                    <a:pt x="174" y="384"/>
                  </a:lnTo>
                  <a:lnTo>
                    <a:pt x="168" y="384"/>
                  </a:lnTo>
                  <a:lnTo>
                    <a:pt x="168" y="414"/>
                  </a:lnTo>
                  <a:lnTo>
                    <a:pt x="156" y="414"/>
                  </a:lnTo>
                  <a:lnTo>
                    <a:pt x="144" y="426"/>
                  </a:lnTo>
                  <a:lnTo>
                    <a:pt x="144" y="432"/>
                  </a:lnTo>
                  <a:lnTo>
                    <a:pt x="156" y="444"/>
                  </a:lnTo>
                  <a:lnTo>
                    <a:pt x="150" y="450"/>
                  </a:lnTo>
                  <a:lnTo>
                    <a:pt x="144" y="462"/>
                  </a:lnTo>
                  <a:lnTo>
                    <a:pt x="144" y="468"/>
                  </a:lnTo>
                  <a:lnTo>
                    <a:pt x="150" y="474"/>
                  </a:lnTo>
                  <a:lnTo>
                    <a:pt x="162" y="480"/>
                  </a:lnTo>
                  <a:lnTo>
                    <a:pt x="174" y="492"/>
                  </a:lnTo>
                  <a:lnTo>
                    <a:pt x="198" y="504"/>
                  </a:lnTo>
                  <a:lnTo>
                    <a:pt x="204" y="510"/>
                  </a:lnTo>
                  <a:lnTo>
                    <a:pt x="210" y="510"/>
                  </a:lnTo>
                  <a:lnTo>
                    <a:pt x="210" y="552"/>
                  </a:lnTo>
                  <a:lnTo>
                    <a:pt x="234" y="552"/>
                  </a:lnTo>
                  <a:lnTo>
                    <a:pt x="240" y="558"/>
                  </a:lnTo>
                  <a:lnTo>
                    <a:pt x="252" y="564"/>
                  </a:lnTo>
                  <a:lnTo>
                    <a:pt x="270" y="582"/>
                  </a:lnTo>
                  <a:lnTo>
                    <a:pt x="288" y="582"/>
                  </a:lnTo>
                  <a:lnTo>
                    <a:pt x="294" y="588"/>
                  </a:lnTo>
                  <a:lnTo>
                    <a:pt x="300" y="600"/>
                  </a:lnTo>
                  <a:lnTo>
                    <a:pt x="330" y="636"/>
                  </a:lnTo>
                  <a:lnTo>
                    <a:pt x="330" y="648"/>
                  </a:lnTo>
                  <a:lnTo>
                    <a:pt x="324" y="660"/>
                  </a:lnTo>
                  <a:lnTo>
                    <a:pt x="324" y="696"/>
                  </a:lnTo>
                  <a:lnTo>
                    <a:pt x="330" y="702"/>
                  </a:lnTo>
                  <a:lnTo>
                    <a:pt x="342" y="708"/>
                  </a:lnTo>
                  <a:lnTo>
                    <a:pt x="348" y="714"/>
                  </a:lnTo>
                  <a:lnTo>
                    <a:pt x="354" y="714"/>
                  </a:lnTo>
                  <a:lnTo>
                    <a:pt x="360" y="744"/>
                  </a:lnTo>
                  <a:lnTo>
                    <a:pt x="372" y="750"/>
                  </a:lnTo>
                  <a:lnTo>
                    <a:pt x="384" y="762"/>
                  </a:lnTo>
                  <a:lnTo>
                    <a:pt x="384" y="768"/>
                  </a:lnTo>
                  <a:lnTo>
                    <a:pt x="390" y="774"/>
                  </a:lnTo>
                  <a:lnTo>
                    <a:pt x="402" y="780"/>
                  </a:lnTo>
                  <a:lnTo>
                    <a:pt x="408" y="786"/>
                  </a:lnTo>
                  <a:lnTo>
                    <a:pt x="420" y="792"/>
                  </a:lnTo>
                  <a:lnTo>
                    <a:pt x="426" y="786"/>
                  </a:lnTo>
                  <a:lnTo>
                    <a:pt x="426" y="774"/>
                  </a:lnTo>
                  <a:lnTo>
                    <a:pt x="420" y="768"/>
                  </a:lnTo>
                  <a:lnTo>
                    <a:pt x="420" y="762"/>
                  </a:lnTo>
                  <a:lnTo>
                    <a:pt x="426" y="756"/>
                  </a:lnTo>
                  <a:lnTo>
                    <a:pt x="438" y="750"/>
                  </a:lnTo>
                  <a:lnTo>
                    <a:pt x="444" y="756"/>
                  </a:lnTo>
                  <a:lnTo>
                    <a:pt x="450" y="756"/>
                  </a:lnTo>
                  <a:lnTo>
                    <a:pt x="450" y="768"/>
                  </a:lnTo>
                  <a:lnTo>
                    <a:pt x="456" y="780"/>
                  </a:lnTo>
                  <a:lnTo>
                    <a:pt x="474" y="780"/>
                  </a:lnTo>
                  <a:lnTo>
                    <a:pt x="474" y="786"/>
                  </a:lnTo>
                  <a:lnTo>
                    <a:pt x="474" y="780"/>
                  </a:lnTo>
                  <a:lnTo>
                    <a:pt x="480" y="780"/>
                  </a:lnTo>
                  <a:lnTo>
                    <a:pt x="480" y="768"/>
                  </a:lnTo>
                  <a:lnTo>
                    <a:pt x="504" y="768"/>
                  </a:lnTo>
                  <a:lnTo>
                    <a:pt x="504" y="804"/>
                  </a:lnTo>
                  <a:lnTo>
                    <a:pt x="510" y="810"/>
                  </a:lnTo>
                  <a:lnTo>
                    <a:pt x="516" y="810"/>
                  </a:lnTo>
                  <a:lnTo>
                    <a:pt x="528" y="816"/>
                  </a:lnTo>
                  <a:lnTo>
                    <a:pt x="540" y="828"/>
                  </a:lnTo>
                  <a:lnTo>
                    <a:pt x="540" y="846"/>
                  </a:lnTo>
                  <a:lnTo>
                    <a:pt x="552" y="858"/>
                  </a:lnTo>
                  <a:lnTo>
                    <a:pt x="558" y="870"/>
                  </a:lnTo>
                  <a:lnTo>
                    <a:pt x="564" y="876"/>
                  </a:lnTo>
                  <a:lnTo>
                    <a:pt x="570" y="876"/>
                  </a:lnTo>
                  <a:lnTo>
                    <a:pt x="582" y="894"/>
                  </a:lnTo>
                  <a:lnTo>
                    <a:pt x="582" y="906"/>
                  </a:lnTo>
                  <a:lnTo>
                    <a:pt x="594" y="930"/>
                  </a:lnTo>
                  <a:lnTo>
                    <a:pt x="600" y="936"/>
                  </a:lnTo>
                  <a:lnTo>
                    <a:pt x="606" y="936"/>
                  </a:lnTo>
                  <a:lnTo>
                    <a:pt x="612" y="942"/>
                  </a:lnTo>
                  <a:lnTo>
                    <a:pt x="618" y="954"/>
                  </a:lnTo>
                  <a:lnTo>
                    <a:pt x="618" y="960"/>
                  </a:lnTo>
                  <a:lnTo>
                    <a:pt x="648" y="960"/>
                  </a:lnTo>
                  <a:lnTo>
                    <a:pt x="666" y="984"/>
                  </a:lnTo>
                  <a:lnTo>
                    <a:pt x="684" y="978"/>
                  </a:lnTo>
                  <a:lnTo>
                    <a:pt x="702" y="978"/>
                  </a:lnTo>
                  <a:lnTo>
                    <a:pt x="720" y="996"/>
                  </a:lnTo>
                  <a:lnTo>
                    <a:pt x="738" y="1008"/>
                  </a:lnTo>
                  <a:lnTo>
                    <a:pt x="756" y="1026"/>
                  </a:lnTo>
                  <a:lnTo>
                    <a:pt x="792" y="1050"/>
                  </a:lnTo>
                  <a:lnTo>
                    <a:pt x="810" y="1050"/>
                  </a:lnTo>
                  <a:lnTo>
                    <a:pt x="822" y="1056"/>
                  </a:lnTo>
                  <a:lnTo>
                    <a:pt x="834" y="1068"/>
                  </a:lnTo>
                  <a:lnTo>
                    <a:pt x="852" y="1068"/>
                  </a:lnTo>
                  <a:lnTo>
                    <a:pt x="876" y="1056"/>
                  </a:lnTo>
                  <a:lnTo>
                    <a:pt x="876" y="1050"/>
                  </a:lnTo>
                  <a:lnTo>
                    <a:pt x="900" y="1056"/>
                  </a:lnTo>
                  <a:lnTo>
                    <a:pt x="912" y="1032"/>
                  </a:lnTo>
                  <a:lnTo>
                    <a:pt x="930" y="1032"/>
                  </a:lnTo>
                  <a:lnTo>
                    <a:pt x="954" y="1008"/>
                  </a:lnTo>
                  <a:lnTo>
                    <a:pt x="966" y="1020"/>
                  </a:lnTo>
                  <a:lnTo>
                    <a:pt x="972" y="1014"/>
                  </a:lnTo>
                  <a:lnTo>
                    <a:pt x="984" y="1014"/>
                  </a:lnTo>
                  <a:lnTo>
                    <a:pt x="1002" y="1032"/>
                  </a:lnTo>
                  <a:lnTo>
                    <a:pt x="1014" y="1050"/>
                  </a:lnTo>
                  <a:lnTo>
                    <a:pt x="1020" y="1068"/>
                  </a:lnTo>
                  <a:lnTo>
                    <a:pt x="1032" y="1080"/>
                  </a:lnTo>
                  <a:lnTo>
                    <a:pt x="1032" y="1098"/>
                  </a:lnTo>
                  <a:lnTo>
                    <a:pt x="1038" y="1110"/>
                  </a:lnTo>
                  <a:lnTo>
                    <a:pt x="1044" y="1116"/>
                  </a:lnTo>
                  <a:lnTo>
                    <a:pt x="1056" y="1122"/>
                  </a:lnTo>
                  <a:lnTo>
                    <a:pt x="1080" y="1122"/>
                  </a:lnTo>
                  <a:lnTo>
                    <a:pt x="1080" y="1128"/>
                  </a:lnTo>
                  <a:lnTo>
                    <a:pt x="1086" y="1134"/>
                  </a:lnTo>
                  <a:lnTo>
                    <a:pt x="1098" y="1140"/>
                  </a:lnTo>
                  <a:lnTo>
                    <a:pt x="1164" y="1140"/>
                  </a:lnTo>
                  <a:lnTo>
                    <a:pt x="1176" y="1146"/>
                  </a:lnTo>
                  <a:lnTo>
                    <a:pt x="1200" y="1170"/>
                  </a:lnTo>
                  <a:lnTo>
                    <a:pt x="1212" y="1170"/>
                  </a:lnTo>
                  <a:lnTo>
                    <a:pt x="1224" y="1164"/>
                  </a:lnTo>
                  <a:lnTo>
                    <a:pt x="1230" y="1164"/>
                  </a:lnTo>
                  <a:lnTo>
                    <a:pt x="1242" y="1158"/>
                  </a:lnTo>
                  <a:lnTo>
                    <a:pt x="1248" y="1158"/>
                  </a:lnTo>
                  <a:lnTo>
                    <a:pt x="1254" y="1164"/>
                  </a:lnTo>
                  <a:lnTo>
                    <a:pt x="1278" y="1176"/>
                  </a:lnTo>
                  <a:lnTo>
                    <a:pt x="1296" y="1182"/>
                  </a:lnTo>
                  <a:lnTo>
                    <a:pt x="1326" y="1182"/>
                  </a:lnTo>
                  <a:lnTo>
                    <a:pt x="1338" y="1176"/>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46" name="Irak" descr="© INSCALE GmbH, 05.05.2010&#10;http://www.presentationload.com/">
              <a:extLst>
                <a:ext uri="{FF2B5EF4-FFF2-40B4-BE49-F238E27FC236}">
                  <a16:creationId xmlns:a16="http://schemas.microsoft.com/office/drawing/2014/main" id="{BDB9EA10-3C3D-4625-86B9-76F08AF05164}"/>
                </a:ext>
              </a:extLst>
            </p:cNvPr>
            <p:cNvSpPr>
              <a:spLocks/>
            </p:cNvSpPr>
            <p:nvPr/>
          </p:nvSpPr>
          <p:spPr bwMode="gray">
            <a:xfrm>
              <a:off x="5184638" y="3057796"/>
              <a:ext cx="272836" cy="261860"/>
            </a:xfrm>
            <a:custGeom>
              <a:avLst/>
              <a:gdLst>
                <a:gd name="T0" fmla="*/ 2147483647 w 684"/>
                <a:gd name="T1" fmla="*/ 2147483647 h 660"/>
                <a:gd name="T2" fmla="*/ 2147483647 w 684"/>
                <a:gd name="T3" fmla="*/ 2147483647 h 660"/>
                <a:gd name="T4" fmla="*/ 2147483647 w 684"/>
                <a:gd name="T5" fmla="*/ 2147483647 h 660"/>
                <a:gd name="T6" fmla="*/ 2147483647 w 684"/>
                <a:gd name="T7" fmla="*/ 2147483647 h 660"/>
                <a:gd name="T8" fmla="*/ 2147483647 w 684"/>
                <a:gd name="T9" fmla="*/ 2147483647 h 660"/>
                <a:gd name="T10" fmla="*/ 2147483647 w 684"/>
                <a:gd name="T11" fmla="*/ 2147483647 h 660"/>
                <a:gd name="T12" fmla="*/ 2147483647 w 684"/>
                <a:gd name="T13" fmla="*/ 2147483647 h 660"/>
                <a:gd name="T14" fmla="*/ 2147483647 w 684"/>
                <a:gd name="T15" fmla="*/ 2147483647 h 660"/>
                <a:gd name="T16" fmla="*/ 2147483647 w 684"/>
                <a:gd name="T17" fmla="*/ 2147483647 h 660"/>
                <a:gd name="T18" fmla="*/ 2147483647 w 684"/>
                <a:gd name="T19" fmla="*/ 2147483647 h 660"/>
                <a:gd name="T20" fmla="*/ 2147483647 w 684"/>
                <a:gd name="T21" fmla="*/ 2147483647 h 660"/>
                <a:gd name="T22" fmla="*/ 2147483647 w 684"/>
                <a:gd name="T23" fmla="*/ 2147483647 h 660"/>
                <a:gd name="T24" fmla="*/ 2147483647 w 684"/>
                <a:gd name="T25" fmla="*/ 2147483647 h 660"/>
                <a:gd name="T26" fmla="*/ 2147483647 w 684"/>
                <a:gd name="T27" fmla="*/ 2147483647 h 660"/>
                <a:gd name="T28" fmla="*/ 2147483647 w 684"/>
                <a:gd name="T29" fmla="*/ 2147483647 h 660"/>
                <a:gd name="T30" fmla="*/ 2147483647 w 684"/>
                <a:gd name="T31" fmla="*/ 2147483647 h 660"/>
                <a:gd name="T32" fmla="*/ 2147483647 w 684"/>
                <a:gd name="T33" fmla="*/ 2147483647 h 660"/>
                <a:gd name="T34" fmla="*/ 2147483647 w 684"/>
                <a:gd name="T35" fmla="*/ 2147483647 h 660"/>
                <a:gd name="T36" fmla="*/ 2147483647 w 684"/>
                <a:gd name="T37" fmla="*/ 2147483647 h 660"/>
                <a:gd name="T38" fmla="*/ 2147483647 w 684"/>
                <a:gd name="T39" fmla="*/ 2147483647 h 660"/>
                <a:gd name="T40" fmla="*/ 2147483647 w 684"/>
                <a:gd name="T41" fmla="*/ 2147483647 h 660"/>
                <a:gd name="T42" fmla="*/ 2147483647 w 684"/>
                <a:gd name="T43" fmla="*/ 2147483647 h 660"/>
                <a:gd name="T44" fmla="*/ 2147483647 w 684"/>
                <a:gd name="T45" fmla="*/ 2147483647 h 660"/>
                <a:gd name="T46" fmla="*/ 2147483647 w 684"/>
                <a:gd name="T47" fmla="*/ 2147483647 h 660"/>
                <a:gd name="T48" fmla="*/ 2147483647 w 684"/>
                <a:gd name="T49" fmla="*/ 2147483647 h 660"/>
                <a:gd name="T50" fmla="*/ 2147483647 w 684"/>
                <a:gd name="T51" fmla="*/ 2147483647 h 660"/>
                <a:gd name="T52" fmla="*/ 2147483647 w 684"/>
                <a:gd name="T53" fmla="*/ 0 h 660"/>
                <a:gd name="T54" fmla="*/ 2147483647 w 684"/>
                <a:gd name="T55" fmla="*/ 2147483647 h 660"/>
                <a:gd name="T56" fmla="*/ 2147483647 w 684"/>
                <a:gd name="T57" fmla="*/ 2147483647 h 660"/>
                <a:gd name="T58" fmla="*/ 2147483647 w 684"/>
                <a:gd name="T59" fmla="*/ 0 h 660"/>
                <a:gd name="T60" fmla="*/ 2147483647 w 684"/>
                <a:gd name="T61" fmla="*/ 2147483647 h 660"/>
                <a:gd name="T62" fmla="*/ 2147483647 w 684"/>
                <a:gd name="T63" fmla="*/ 2147483647 h 660"/>
                <a:gd name="T64" fmla="*/ 2147483647 w 684"/>
                <a:gd name="T65" fmla="*/ 2147483647 h 660"/>
                <a:gd name="T66" fmla="*/ 2147483647 w 684"/>
                <a:gd name="T67" fmla="*/ 2147483647 h 660"/>
                <a:gd name="T68" fmla="*/ 2147483647 w 684"/>
                <a:gd name="T69" fmla="*/ 2147483647 h 660"/>
                <a:gd name="T70" fmla="*/ 2147483647 w 684"/>
                <a:gd name="T71" fmla="*/ 2147483647 h 660"/>
                <a:gd name="T72" fmla="*/ 2147483647 w 684"/>
                <a:gd name="T73" fmla="*/ 2147483647 h 660"/>
                <a:gd name="T74" fmla="*/ 2147483647 w 684"/>
                <a:gd name="T75" fmla="*/ 2147483647 h 660"/>
                <a:gd name="T76" fmla="*/ 2147483647 w 684"/>
                <a:gd name="T77" fmla="*/ 2147483647 h 660"/>
                <a:gd name="T78" fmla="*/ 2147483647 w 684"/>
                <a:gd name="T79" fmla="*/ 2147483647 h 660"/>
                <a:gd name="T80" fmla="*/ 2147483647 w 684"/>
                <a:gd name="T81" fmla="*/ 2147483647 h 660"/>
                <a:gd name="T82" fmla="*/ 2147483647 w 684"/>
                <a:gd name="T83" fmla="*/ 2147483647 h 660"/>
                <a:gd name="T84" fmla="*/ 2147483647 w 684"/>
                <a:gd name="T85" fmla="*/ 2147483647 h 660"/>
                <a:gd name="T86" fmla="*/ 0 w 684"/>
                <a:gd name="T87" fmla="*/ 2147483647 h 660"/>
                <a:gd name="T88" fmla="*/ 2147483647 w 684"/>
                <a:gd name="T89" fmla="*/ 2147483647 h 660"/>
                <a:gd name="T90" fmla="*/ 2147483647 w 684"/>
                <a:gd name="T91" fmla="*/ 2147483647 h 660"/>
                <a:gd name="T92" fmla="*/ 2147483647 w 684"/>
                <a:gd name="T93" fmla="*/ 2147483647 h 660"/>
                <a:gd name="T94" fmla="*/ 2147483647 w 684"/>
                <a:gd name="T95" fmla="*/ 2147483647 h 660"/>
                <a:gd name="T96" fmla="*/ 2147483647 w 684"/>
                <a:gd name="T97" fmla="*/ 2147483647 h 660"/>
                <a:gd name="T98" fmla="*/ 2147483647 w 684"/>
                <a:gd name="T99" fmla="*/ 2147483647 h 660"/>
                <a:gd name="T100" fmla="*/ 2147483647 w 684"/>
                <a:gd name="T101" fmla="*/ 2147483647 h 660"/>
                <a:gd name="T102" fmla="*/ 2147483647 w 684"/>
                <a:gd name="T103" fmla="*/ 2147483647 h 660"/>
                <a:gd name="T104" fmla="*/ 2147483647 w 684"/>
                <a:gd name="T105" fmla="*/ 2147483647 h 660"/>
                <a:gd name="T106" fmla="*/ 2147483647 w 684"/>
                <a:gd name="T107" fmla="*/ 2147483647 h 660"/>
                <a:gd name="T108" fmla="*/ 2147483647 w 684"/>
                <a:gd name="T109" fmla="*/ 2147483647 h 660"/>
                <a:gd name="T110" fmla="*/ 2147483647 w 684"/>
                <a:gd name="T111" fmla="*/ 2147483647 h 660"/>
                <a:gd name="T112" fmla="*/ 2147483647 w 684"/>
                <a:gd name="T113" fmla="*/ 2147483647 h 660"/>
                <a:gd name="T114" fmla="*/ 2147483647 w 684"/>
                <a:gd name="T115" fmla="*/ 2147483647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84"/>
                <a:gd name="T175" fmla="*/ 0 h 660"/>
                <a:gd name="T176" fmla="*/ 684 w 684"/>
                <a:gd name="T177" fmla="*/ 660 h 6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84" h="660">
                  <a:moveTo>
                    <a:pt x="678" y="564"/>
                  </a:moveTo>
                  <a:lnTo>
                    <a:pt x="666" y="552"/>
                  </a:lnTo>
                  <a:lnTo>
                    <a:pt x="654" y="546"/>
                  </a:lnTo>
                  <a:lnTo>
                    <a:pt x="648" y="516"/>
                  </a:lnTo>
                  <a:lnTo>
                    <a:pt x="642" y="516"/>
                  </a:lnTo>
                  <a:lnTo>
                    <a:pt x="636" y="510"/>
                  </a:lnTo>
                  <a:lnTo>
                    <a:pt x="624" y="504"/>
                  </a:lnTo>
                  <a:lnTo>
                    <a:pt x="618" y="498"/>
                  </a:lnTo>
                  <a:lnTo>
                    <a:pt x="618" y="462"/>
                  </a:lnTo>
                  <a:lnTo>
                    <a:pt x="624" y="450"/>
                  </a:lnTo>
                  <a:lnTo>
                    <a:pt x="624" y="438"/>
                  </a:lnTo>
                  <a:lnTo>
                    <a:pt x="594" y="402"/>
                  </a:lnTo>
                  <a:lnTo>
                    <a:pt x="588" y="390"/>
                  </a:lnTo>
                  <a:lnTo>
                    <a:pt x="582" y="384"/>
                  </a:lnTo>
                  <a:lnTo>
                    <a:pt x="564" y="384"/>
                  </a:lnTo>
                  <a:lnTo>
                    <a:pt x="546" y="366"/>
                  </a:lnTo>
                  <a:lnTo>
                    <a:pt x="534" y="360"/>
                  </a:lnTo>
                  <a:lnTo>
                    <a:pt x="528" y="354"/>
                  </a:lnTo>
                  <a:lnTo>
                    <a:pt x="504" y="354"/>
                  </a:lnTo>
                  <a:lnTo>
                    <a:pt x="504" y="312"/>
                  </a:lnTo>
                  <a:lnTo>
                    <a:pt x="498" y="312"/>
                  </a:lnTo>
                  <a:lnTo>
                    <a:pt x="492" y="306"/>
                  </a:lnTo>
                  <a:lnTo>
                    <a:pt x="468" y="294"/>
                  </a:lnTo>
                  <a:lnTo>
                    <a:pt x="456" y="282"/>
                  </a:lnTo>
                  <a:lnTo>
                    <a:pt x="444" y="276"/>
                  </a:lnTo>
                  <a:lnTo>
                    <a:pt x="438" y="270"/>
                  </a:lnTo>
                  <a:lnTo>
                    <a:pt x="438" y="264"/>
                  </a:lnTo>
                  <a:lnTo>
                    <a:pt x="444" y="252"/>
                  </a:lnTo>
                  <a:lnTo>
                    <a:pt x="450" y="246"/>
                  </a:lnTo>
                  <a:lnTo>
                    <a:pt x="438" y="234"/>
                  </a:lnTo>
                  <a:lnTo>
                    <a:pt x="438" y="228"/>
                  </a:lnTo>
                  <a:lnTo>
                    <a:pt x="450" y="216"/>
                  </a:lnTo>
                  <a:lnTo>
                    <a:pt x="462" y="216"/>
                  </a:lnTo>
                  <a:lnTo>
                    <a:pt x="462" y="186"/>
                  </a:lnTo>
                  <a:lnTo>
                    <a:pt x="468" y="186"/>
                  </a:lnTo>
                  <a:lnTo>
                    <a:pt x="480" y="174"/>
                  </a:lnTo>
                  <a:lnTo>
                    <a:pt x="480" y="168"/>
                  </a:lnTo>
                  <a:lnTo>
                    <a:pt x="474" y="156"/>
                  </a:lnTo>
                  <a:lnTo>
                    <a:pt x="462" y="144"/>
                  </a:lnTo>
                  <a:lnTo>
                    <a:pt x="462" y="138"/>
                  </a:lnTo>
                  <a:lnTo>
                    <a:pt x="480" y="120"/>
                  </a:lnTo>
                  <a:lnTo>
                    <a:pt x="480" y="114"/>
                  </a:lnTo>
                  <a:lnTo>
                    <a:pt x="468" y="114"/>
                  </a:lnTo>
                  <a:lnTo>
                    <a:pt x="456" y="120"/>
                  </a:lnTo>
                  <a:lnTo>
                    <a:pt x="450" y="126"/>
                  </a:lnTo>
                  <a:lnTo>
                    <a:pt x="438" y="108"/>
                  </a:lnTo>
                  <a:lnTo>
                    <a:pt x="414" y="102"/>
                  </a:lnTo>
                  <a:lnTo>
                    <a:pt x="414" y="84"/>
                  </a:lnTo>
                  <a:lnTo>
                    <a:pt x="402" y="72"/>
                  </a:lnTo>
                  <a:lnTo>
                    <a:pt x="378" y="24"/>
                  </a:lnTo>
                  <a:lnTo>
                    <a:pt x="378" y="12"/>
                  </a:lnTo>
                  <a:lnTo>
                    <a:pt x="336" y="24"/>
                  </a:lnTo>
                  <a:lnTo>
                    <a:pt x="336" y="6"/>
                  </a:lnTo>
                  <a:lnTo>
                    <a:pt x="330" y="0"/>
                  </a:lnTo>
                  <a:lnTo>
                    <a:pt x="306" y="0"/>
                  </a:lnTo>
                  <a:lnTo>
                    <a:pt x="306" y="6"/>
                  </a:lnTo>
                  <a:lnTo>
                    <a:pt x="300" y="12"/>
                  </a:lnTo>
                  <a:lnTo>
                    <a:pt x="288" y="12"/>
                  </a:lnTo>
                  <a:lnTo>
                    <a:pt x="276" y="0"/>
                  </a:lnTo>
                  <a:lnTo>
                    <a:pt x="234" y="0"/>
                  </a:lnTo>
                  <a:lnTo>
                    <a:pt x="234" y="12"/>
                  </a:lnTo>
                  <a:lnTo>
                    <a:pt x="228" y="18"/>
                  </a:lnTo>
                  <a:lnTo>
                    <a:pt x="216" y="24"/>
                  </a:lnTo>
                  <a:lnTo>
                    <a:pt x="204" y="36"/>
                  </a:lnTo>
                  <a:lnTo>
                    <a:pt x="198" y="48"/>
                  </a:lnTo>
                  <a:lnTo>
                    <a:pt x="192" y="54"/>
                  </a:lnTo>
                  <a:lnTo>
                    <a:pt x="180" y="54"/>
                  </a:lnTo>
                  <a:lnTo>
                    <a:pt x="168" y="60"/>
                  </a:lnTo>
                  <a:lnTo>
                    <a:pt x="156" y="60"/>
                  </a:lnTo>
                  <a:lnTo>
                    <a:pt x="150" y="66"/>
                  </a:lnTo>
                  <a:lnTo>
                    <a:pt x="144" y="78"/>
                  </a:lnTo>
                  <a:lnTo>
                    <a:pt x="144" y="90"/>
                  </a:lnTo>
                  <a:lnTo>
                    <a:pt x="150" y="102"/>
                  </a:lnTo>
                  <a:lnTo>
                    <a:pt x="156" y="108"/>
                  </a:lnTo>
                  <a:lnTo>
                    <a:pt x="156" y="120"/>
                  </a:lnTo>
                  <a:lnTo>
                    <a:pt x="162" y="132"/>
                  </a:lnTo>
                  <a:lnTo>
                    <a:pt x="162" y="162"/>
                  </a:lnTo>
                  <a:lnTo>
                    <a:pt x="156" y="174"/>
                  </a:lnTo>
                  <a:lnTo>
                    <a:pt x="150" y="192"/>
                  </a:lnTo>
                  <a:lnTo>
                    <a:pt x="150" y="198"/>
                  </a:lnTo>
                  <a:lnTo>
                    <a:pt x="168" y="216"/>
                  </a:lnTo>
                  <a:lnTo>
                    <a:pt x="168" y="222"/>
                  </a:lnTo>
                  <a:lnTo>
                    <a:pt x="162" y="228"/>
                  </a:lnTo>
                  <a:lnTo>
                    <a:pt x="138" y="240"/>
                  </a:lnTo>
                  <a:lnTo>
                    <a:pt x="78" y="264"/>
                  </a:lnTo>
                  <a:lnTo>
                    <a:pt x="66" y="270"/>
                  </a:lnTo>
                  <a:lnTo>
                    <a:pt x="6" y="318"/>
                  </a:lnTo>
                  <a:lnTo>
                    <a:pt x="0" y="318"/>
                  </a:lnTo>
                  <a:lnTo>
                    <a:pt x="0" y="324"/>
                  </a:lnTo>
                  <a:lnTo>
                    <a:pt x="24" y="366"/>
                  </a:lnTo>
                  <a:lnTo>
                    <a:pt x="24" y="384"/>
                  </a:lnTo>
                  <a:lnTo>
                    <a:pt x="48" y="402"/>
                  </a:lnTo>
                  <a:lnTo>
                    <a:pt x="48" y="414"/>
                  </a:lnTo>
                  <a:lnTo>
                    <a:pt x="60" y="426"/>
                  </a:lnTo>
                  <a:lnTo>
                    <a:pt x="126" y="426"/>
                  </a:lnTo>
                  <a:lnTo>
                    <a:pt x="156" y="456"/>
                  </a:lnTo>
                  <a:lnTo>
                    <a:pt x="168" y="462"/>
                  </a:lnTo>
                  <a:lnTo>
                    <a:pt x="180" y="474"/>
                  </a:lnTo>
                  <a:lnTo>
                    <a:pt x="228" y="498"/>
                  </a:lnTo>
                  <a:lnTo>
                    <a:pt x="234" y="504"/>
                  </a:lnTo>
                  <a:lnTo>
                    <a:pt x="246" y="510"/>
                  </a:lnTo>
                  <a:lnTo>
                    <a:pt x="438" y="654"/>
                  </a:lnTo>
                  <a:lnTo>
                    <a:pt x="522" y="654"/>
                  </a:lnTo>
                  <a:lnTo>
                    <a:pt x="570" y="660"/>
                  </a:lnTo>
                  <a:lnTo>
                    <a:pt x="564" y="660"/>
                  </a:lnTo>
                  <a:lnTo>
                    <a:pt x="570" y="654"/>
                  </a:lnTo>
                  <a:lnTo>
                    <a:pt x="588" y="618"/>
                  </a:lnTo>
                  <a:lnTo>
                    <a:pt x="588" y="606"/>
                  </a:lnTo>
                  <a:lnTo>
                    <a:pt x="594" y="600"/>
                  </a:lnTo>
                  <a:lnTo>
                    <a:pt x="600" y="588"/>
                  </a:lnTo>
                  <a:lnTo>
                    <a:pt x="648" y="588"/>
                  </a:lnTo>
                  <a:lnTo>
                    <a:pt x="654" y="594"/>
                  </a:lnTo>
                  <a:lnTo>
                    <a:pt x="678" y="582"/>
                  </a:lnTo>
                  <a:lnTo>
                    <a:pt x="684" y="576"/>
                  </a:lnTo>
                  <a:lnTo>
                    <a:pt x="678" y="570"/>
                  </a:lnTo>
                  <a:lnTo>
                    <a:pt x="678" y="564"/>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47" name="Indonesien" descr="© INSCALE GmbH, 05.05.2010&#10;http://www.presentationload.com/">
              <a:extLst>
                <a:ext uri="{FF2B5EF4-FFF2-40B4-BE49-F238E27FC236}">
                  <a16:creationId xmlns:a16="http://schemas.microsoft.com/office/drawing/2014/main" id="{3B24AFFC-C642-4317-98C1-5ED2D2D0E492}"/>
                </a:ext>
              </a:extLst>
            </p:cNvPr>
            <p:cNvSpPr>
              <a:spLocks noEditPoints="1"/>
            </p:cNvSpPr>
            <p:nvPr/>
          </p:nvSpPr>
          <p:spPr bwMode="gray">
            <a:xfrm>
              <a:off x="6820086" y="4070739"/>
              <a:ext cx="1298323" cy="517448"/>
            </a:xfrm>
            <a:custGeom>
              <a:avLst/>
              <a:gdLst>
                <a:gd name="T0" fmla="*/ 2147483647 w 3264"/>
                <a:gd name="T1" fmla="*/ 2147483647 h 1302"/>
                <a:gd name="T2" fmla="*/ 2147483647 w 3264"/>
                <a:gd name="T3" fmla="*/ 2147483647 h 1302"/>
                <a:gd name="T4" fmla="*/ 2147483647 w 3264"/>
                <a:gd name="T5" fmla="*/ 2147483647 h 1302"/>
                <a:gd name="T6" fmla="*/ 2147483647 w 3264"/>
                <a:gd name="T7" fmla="*/ 2147483647 h 1302"/>
                <a:gd name="T8" fmla="*/ 2147483647 w 3264"/>
                <a:gd name="T9" fmla="*/ 2147483647 h 1302"/>
                <a:gd name="T10" fmla="*/ 2147483647 w 3264"/>
                <a:gd name="T11" fmla="*/ 2147483647 h 1302"/>
                <a:gd name="T12" fmla="*/ 2147483647 w 3264"/>
                <a:gd name="T13" fmla="*/ 2147483647 h 1302"/>
                <a:gd name="T14" fmla="*/ 2147483647 w 3264"/>
                <a:gd name="T15" fmla="*/ 2147483647 h 1302"/>
                <a:gd name="T16" fmla="*/ 2147483647 w 3264"/>
                <a:gd name="T17" fmla="*/ 2147483647 h 1302"/>
                <a:gd name="T18" fmla="*/ 2147483647 w 3264"/>
                <a:gd name="T19" fmla="*/ 2147483647 h 1302"/>
                <a:gd name="T20" fmla="*/ 2147483647 w 3264"/>
                <a:gd name="T21" fmla="*/ 2147483647 h 1302"/>
                <a:gd name="T22" fmla="*/ 2147483647 w 3264"/>
                <a:gd name="T23" fmla="*/ 2147483647 h 1302"/>
                <a:gd name="T24" fmla="*/ 2147483647 w 3264"/>
                <a:gd name="T25" fmla="*/ 2147483647 h 1302"/>
                <a:gd name="T26" fmla="*/ 2147483647 w 3264"/>
                <a:gd name="T27" fmla="*/ 2147483647 h 1302"/>
                <a:gd name="T28" fmla="*/ 2147483647 w 3264"/>
                <a:gd name="T29" fmla="*/ 2147483647 h 1302"/>
                <a:gd name="T30" fmla="*/ 2147483647 w 3264"/>
                <a:gd name="T31" fmla="*/ 2147483647 h 1302"/>
                <a:gd name="T32" fmla="*/ 2147483647 w 3264"/>
                <a:gd name="T33" fmla="*/ 2147483647 h 1302"/>
                <a:gd name="T34" fmla="*/ 2147483647 w 3264"/>
                <a:gd name="T35" fmla="*/ 2147483647 h 1302"/>
                <a:gd name="T36" fmla="*/ 2147483647 w 3264"/>
                <a:gd name="T37" fmla="*/ 2147483647 h 1302"/>
                <a:gd name="T38" fmla="*/ 2147483647 w 3264"/>
                <a:gd name="T39" fmla="*/ 2147483647 h 1302"/>
                <a:gd name="T40" fmla="*/ 2147483647 w 3264"/>
                <a:gd name="T41" fmla="*/ 2147483647 h 1302"/>
                <a:gd name="T42" fmla="*/ 2147483647 w 3264"/>
                <a:gd name="T43" fmla="*/ 2147483647 h 1302"/>
                <a:gd name="T44" fmla="*/ 2147483647 w 3264"/>
                <a:gd name="T45" fmla="*/ 2147483647 h 1302"/>
                <a:gd name="T46" fmla="*/ 2147483647 w 3264"/>
                <a:gd name="T47" fmla="*/ 2147483647 h 1302"/>
                <a:gd name="T48" fmla="*/ 2147483647 w 3264"/>
                <a:gd name="T49" fmla="*/ 2147483647 h 1302"/>
                <a:gd name="T50" fmla="*/ 2147483647 w 3264"/>
                <a:gd name="T51" fmla="*/ 2147483647 h 1302"/>
                <a:gd name="T52" fmla="*/ 2147483647 w 3264"/>
                <a:gd name="T53" fmla="*/ 2147483647 h 1302"/>
                <a:gd name="T54" fmla="*/ 2147483647 w 3264"/>
                <a:gd name="T55" fmla="*/ 2147483647 h 1302"/>
                <a:gd name="T56" fmla="*/ 2147483647 w 3264"/>
                <a:gd name="T57" fmla="*/ 2147483647 h 1302"/>
                <a:gd name="T58" fmla="*/ 2147483647 w 3264"/>
                <a:gd name="T59" fmla="*/ 2147483647 h 1302"/>
                <a:gd name="T60" fmla="*/ 2147483647 w 3264"/>
                <a:gd name="T61" fmla="*/ 2147483647 h 1302"/>
                <a:gd name="T62" fmla="*/ 2147483647 w 3264"/>
                <a:gd name="T63" fmla="*/ 2147483647 h 1302"/>
                <a:gd name="T64" fmla="*/ 2147483647 w 3264"/>
                <a:gd name="T65" fmla="*/ 2147483647 h 1302"/>
                <a:gd name="T66" fmla="*/ 2147483647 w 3264"/>
                <a:gd name="T67" fmla="*/ 2147483647 h 1302"/>
                <a:gd name="T68" fmla="*/ 2147483647 w 3264"/>
                <a:gd name="T69" fmla="*/ 2147483647 h 1302"/>
                <a:gd name="T70" fmla="*/ 2147483647 w 3264"/>
                <a:gd name="T71" fmla="*/ 2147483647 h 1302"/>
                <a:gd name="T72" fmla="*/ 2147483647 w 3264"/>
                <a:gd name="T73" fmla="*/ 2147483647 h 1302"/>
                <a:gd name="T74" fmla="*/ 2147483647 w 3264"/>
                <a:gd name="T75" fmla="*/ 2147483647 h 1302"/>
                <a:gd name="T76" fmla="*/ 2147483647 w 3264"/>
                <a:gd name="T77" fmla="*/ 2147483647 h 1302"/>
                <a:gd name="T78" fmla="*/ 2147483647 w 3264"/>
                <a:gd name="T79" fmla="*/ 2147483647 h 1302"/>
                <a:gd name="T80" fmla="*/ 2147483647 w 3264"/>
                <a:gd name="T81" fmla="*/ 2147483647 h 1302"/>
                <a:gd name="T82" fmla="*/ 2147483647 w 3264"/>
                <a:gd name="T83" fmla="*/ 2147483647 h 1302"/>
                <a:gd name="T84" fmla="*/ 2147483647 w 3264"/>
                <a:gd name="T85" fmla="*/ 2147483647 h 1302"/>
                <a:gd name="T86" fmla="*/ 2147483647 w 3264"/>
                <a:gd name="T87" fmla="*/ 2147483647 h 1302"/>
                <a:gd name="T88" fmla="*/ 2147483647 w 3264"/>
                <a:gd name="T89" fmla="*/ 2147483647 h 1302"/>
                <a:gd name="T90" fmla="*/ 2147483647 w 3264"/>
                <a:gd name="T91" fmla="*/ 2147483647 h 1302"/>
                <a:gd name="T92" fmla="*/ 2147483647 w 3264"/>
                <a:gd name="T93" fmla="*/ 2147483647 h 1302"/>
                <a:gd name="T94" fmla="*/ 2147483647 w 3264"/>
                <a:gd name="T95" fmla="*/ 2147483647 h 1302"/>
                <a:gd name="T96" fmla="*/ 2147483647 w 3264"/>
                <a:gd name="T97" fmla="*/ 2147483647 h 1302"/>
                <a:gd name="T98" fmla="*/ 2147483647 w 3264"/>
                <a:gd name="T99" fmla="*/ 2147483647 h 1302"/>
                <a:gd name="T100" fmla="*/ 2147483647 w 3264"/>
                <a:gd name="T101" fmla="*/ 2147483647 h 1302"/>
                <a:gd name="T102" fmla="*/ 2147483647 w 3264"/>
                <a:gd name="T103" fmla="*/ 2147483647 h 1302"/>
                <a:gd name="T104" fmla="*/ 2147483647 w 3264"/>
                <a:gd name="T105" fmla="*/ 2147483647 h 1302"/>
                <a:gd name="T106" fmla="*/ 2147483647 w 3264"/>
                <a:gd name="T107" fmla="*/ 2147483647 h 1302"/>
                <a:gd name="T108" fmla="*/ 2147483647 w 3264"/>
                <a:gd name="T109" fmla="*/ 2147483647 h 1302"/>
                <a:gd name="T110" fmla="*/ 2147483647 w 3264"/>
                <a:gd name="T111" fmla="*/ 2147483647 h 1302"/>
                <a:gd name="T112" fmla="*/ 2147483647 w 3264"/>
                <a:gd name="T113" fmla="*/ 2147483647 h 1302"/>
                <a:gd name="T114" fmla="*/ 2147483647 w 3264"/>
                <a:gd name="T115" fmla="*/ 2147483647 h 1302"/>
                <a:gd name="T116" fmla="*/ 2147483647 w 3264"/>
                <a:gd name="T117" fmla="*/ 2147483647 h 1302"/>
                <a:gd name="T118" fmla="*/ 2147483647 w 3264"/>
                <a:gd name="T119" fmla="*/ 2147483647 h 1302"/>
                <a:gd name="T120" fmla="*/ 2147483647 w 3264"/>
                <a:gd name="T121" fmla="*/ 2147483647 h 1302"/>
                <a:gd name="T122" fmla="*/ 2147483647 w 3264"/>
                <a:gd name="T123" fmla="*/ 2147483647 h 1302"/>
                <a:gd name="T124" fmla="*/ 2147483647 w 3264"/>
                <a:gd name="T125" fmla="*/ 2147483647 h 13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64"/>
                <a:gd name="T190" fmla="*/ 0 h 1302"/>
                <a:gd name="T191" fmla="*/ 3264 w 3264"/>
                <a:gd name="T192" fmla="*/ 1302 h 13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64" h="1302">
                  <a:moveTo>
                    <a:pt x="1788" y="984"/>
                  </a:moveTo>
                  <a:lnTo>
                    <a:pt x="1806" y="978"/>
                  </a:lnTo>
                  <a:lnTo>
                    <a:pt x="1818" y="954"/>
                  </a:lnTo>
                  <a:lnTo>
                    <a:pt x="1812" y="930"/>
                  </a:lnTo>
                  <a:lnTo>
                    <a:pt x="1788" y="984"/>
                  </a:lnTo>
                  <a:close/>
                  <a:moveTo>
                    <a:pt x="672" y="462"/>
                  </a:moveTo>
                  <a:lnTo>
                    <a:pt x="702" y="480"/>
                  </a:lnTo>
                  <a:lnTo>
                    <a:pt x="702" y="450"/>
                  </a:lnTo>
                  <a:lnTo>
                    <a:pt x="672" y="426"/>
                  </a:lnTo>
                  <a:lnTo>
                    <a:pt x="672" y="462"/>
                  </a:lnTo>
                  <a:close/>
                  <a:moveTo>
                    <a:pt x="678" y="492"/>
                  </a:moveTo>
                  <a:lnTo>
                    <a:pt x="654" y="516"/>
                  </a:lnTo>
                  <a:lnTo>
                    <a:pt x="678" y="546"/>
                  </a:lnTo>
                  <a:lnTo>
                    <a:pt x="678" y="492"/>
                  </a:lnTo>
                  <a:close/>
                  <a:moveTo>
                    <a:pt x="906" y="714"/>
                  </a:moveTo>
                  <a:lnTo>
                    <a:pt x="930" y="732"/>
                  </a:lnTo>
                  <a:lnTo>
                    <a:pt x="936" y="708"/>
                  </a:lnTo>
                  <a:lnTo>
                    <a:pt x="936" y="702"/>
                  </a:lnTo>
                  <a:lnTo>
                    <a:pt x="930" y="696"/>
                  </a:lnTo>
                  <a:lnTo>
                    <a:pt x="930" y="690"/>
                  </a:lnTo>
                  <a:lnTo>
                    <a:pt x="912" y="672"/>
                  </a:lnTo>
                  <a:lnTo>
                    <a:pt x="900" y="666"/>
                  </a:lnTo>
                  <a:lnTo>
                    <a:pt x="888" y="666"/>
                  </a:lnTo>
                  <a:lnTo>
                    <a:pt x="882" y="672"/>
                  </a:lnTo>
                  <a:lnTo>
                    <a:pt x="876" y="684"/>
                  </a:lnTo>
                  <a:lnTo>
                    <a:pt x="882" y="696"/>
                  </a:lnTo>
                  <a:lnTo>
                    <a:pt x="882" y="708"/>
                  </a:lnTo>
                  <a:lnTo>
                    <a:pt x="888" y="720"/>
                  </a:lnTo>
                  <a:lnTo>
                    <a:pt x="906" y="714"/>
                  </a:lnTo>
                  <a:close/>
                  <a:moveTo>
                    <a:pt x="684" y="372"/>
                  </a:moveTo>
                  <a:lnTo>
                    <a:pt x="672" y="360"/>
                  </a:lnTo>
                  <a:lnTo>
                    <a:pt x="660" y="372"/>
                  </a:lnTo>
                  <a:lnTo>
                    <a:pt x="672" y="396"/>
                  </a:lnTo>
                  <a:lnTo>
                    <a:pt x="684" y="396"/>
                  </a:lnTo>
                  <a:lnTo>
                    <a:pt x="684" y="372"/>
                  </a:lnTo>
                  <a:close/>
                  <a:moveTo>
                    <a:pt x="750" y="624"/>
                  </a:moveTo>
                  <a:lnTo>
                    <a:pt x="750" y="630"/>
                  </a:lnTo>
                  <a:lnTo>
                    <a:pt x="756" y="636"/>
                  </a:lnTo>
                  <a:lnTo>
                    <a:pt x="756" y="648"/>
                  </a:lnTo>
                  <a:lnTo>
                    <a:pt x="774" y="684"/>
                  </a:lnTo>
                  <a:lnTo>
                    <a:pt x="786" y="690"/>
                  </a:lnTo>
                  <a:lnTo>
                    <a:pt x="804" y="696"/>
                  </a:lnTo>
                  <a:lnTo>
                    <a:pt x="816" y="702"/>
                  </a:lnTo>
                  <a:lnTo>
                    <a:pt x="834" y="702"/>
                  </a:lnTo>
                  <a:lnTo>
                    <a:pt x="828" y="660"/>
                  </a:lnTo>
                  <a:lnTo>
                    <a:pt x="810" y="648"/>
                  </a:lnTo>
                  <a:lnTo>
                    <a:pt x="810" y="618"/>
                  </a:lnTo>
                  <a:lnTo>
                    <a:pt x="804" y="606"/>
                  </a:lnTo>
                  <a:lnTo>
                    <a:pt x="792" y="600"/>
                  </a:lnTo>
                  <a:lnTo>
                    <a:pt x="786" y="588"/>
                  </a:lnTo>
                  <a:lnTo>
                    <a:pt x="768" y="582"/>
                  </a:lnTo>
                  <a:lnTo>
                    <a:pt x="756" y="576"/>
                  </a:lnTo>
                  <a:lnTo>
                    <a:pt x="732" y="576"/>
                  </a:lnTo>
                  <a:lnTo>
                    <a:pt x="732" y="582"/>
                  </a:lnTo>
                  <a:lnTo>
                    <a:pt x="726" y="588"/>
                  </a:lnTo>
                  <a:lnTo>
                    <a:pt x="726" y="600"/>
                  </a:lnTo>
                  <a:lnTo>
                    <a:pt x="714" y="600"/>
                  </a:lnTo>
                  <a:lnTo>
                    <a:pt x="714" y="606"/>
                  </a:lnTo>
                  <a:lnTo>
                    <a:pt x="708" y="612"/>
                  </a:lnTo>
                  <a:lnTo>
                    <a:pt x="714" y="624"/>
                  </a:lnTo>
                  <a:lnTo>
                    <a:pt x="750" y="624"/>
                  </a:lnTo>
                  <a:close/>
                  <a:moveTo>
                    <a:pt x="246" y="438"/>
                  </a:moveTo>
                  <a:lnTo>
                    <a:pt x="222" y="462"/>
                  </a:lnTo>
                  <a:lnTo>
                    <a:pt x="234" y="492"/>
                  </a:lnTo>
                  <a:lnTo>
                    <a:pt x="234" y="498"/>
                  </a:lnTo>
                  <a:lnTo>
                    <a:pt x="228" y="504"/>
                  </a:lnTo>
                  <a:lnTo>
                    <a:pt x="228" y="510"/>
                  </a:lnTo>
                  <a:lnTo>
                    <a:pt x="240" y="510"/>
                  </a:lnTo>
                  <a:lnTo>
                    <a:pt x="246" y="504"/>
                  </a:lnTo>
                  <a:lnTo>
                    <a:pt x="246" y="468"/>
                  </a:lnTo>
                  <a:lnTo>
                    <a:pt x="252" y="456"/>
                  </a:lnTo>
                  <a:lnTo>
                    <a:pt x="246" y="438"/>
                  </a:lnTo>
                  <a:close/>
                  <a:moveTo>
                    <a:pt x="264" y="534"/>
                  </a:moveTo>
                  <a:lnTo>
                    <a:pt x="258" y="546"/>
                  </a:lnTo>
                  <a:lnTo>
                    <a:pt x="258" y="588"/>
                  </a:lnTo>
                  <a:lnTo>
                    <a:pt x="264" y="600"/>
                  </a:lnTo>
                  <a:lnTo>
                    <a:pt x="276" y="612"/>
                  </a:lnTo>
                  <a:lnTo>
                    <a:pt x="288" y="612"/>
                  </a:lnTo>
                  <a:lnTo>
                    <a:pt x="294" y="606"/>
                  </a:lnTo>
                  <a:lnTo>
                    <a:pt x="294" y="588"/>
                  </a:lnTo>
                  <a:lnTo>
                    <a:pt x="288" y="576"/>
                  </a:lnTo>
                  <a:lnTo>
                    <a:pt x="282" y="558"/>
                  </a:lnTo>
                  <a:lnTo>
                    <a:pt x="282" y="546"/>
                  </a:lnTo>
                  <a:lnTo>
                    <a:pt x="276" y="534"/>
                  </a:lnTo>
                  <a:lnTo>
                    <a:pt x="264" y="534"/>
                  </a:lnTo>
                  <a:close/>
                  <a:moveTo>
                    <a:pt x="48" y="222"/>
                  </a:moveTo>
                  <a:lnTo>
                    <a:pt x="42" y="228"/>
                  </a:lnTo>
                  <a:lnTo>
                    <a:pt x="42" y="246"/>
                  </a:lnTo>
                  <a:lnTo>
                    <a:pt x="48" y="258"/>
                  </a:lnTo>
                  <a:lnTo>
                    <a:pt x="66" y="258"/>
                  </a:lnTo>
                  <a:lnTo>
                    <a:pt x="84" y="276"/>
                  </a:lnTo>
                  <a:lnTo>
                    <a:pt x="90" y="270"/>
                  </a:lnTo>
                  <a:lnTo>
                    <a:pt x="90" y="252"/>
                  </a:lnTo>
                  <a:lnTo>
                    <a:pt x="78" y="246"/>
                  </a:lnTo>
                  <a:lnTo>
                    <a:pt x="72" y="234"/>
                  </a:lnTo>
                  <a:lnTo>
                    <a:pt x="60" y="228"/>
                  </a:lnTo>
                  <a:lnTo>
                    <a:pt x="54" y="222"/>
                  </a:lnTo>
                  <a:lnTo>
                    <a:pt x="48" y="222"/>
                  </a:lnTo>
                  <a:close/>
                  <a:moveTo>
                    <a:pt x="162" y="330"/>
                  </a:moveTo>
                  <a:lnTo>
                    <a:pt x="156" y="330"/>
                  </a:lnTo>
                  <a:lnTo>
                    <a:pt x="144" y="342"/>
                  </a:lnTo>
                  <a:lnTo>
                    <a:pt x="144" y="354"/>
                  </a:lnTo>
                  <a:lnTo>
                    <a:pt x="156" y="366"/>
                  </a:lnTo>
                  <a:lnTo>
                    <a:pt x="162" y="378"/>
                  </a:lnTo>
                  <a:lnTo>
                    <a:pt x="174" y="390"/>
                  </a:lnTo>
                  <a:lnTo>
                    <a:pt x="180" y="402"/>
                  </a:lnTo>
                  <a:lnTo>
                    <a:pt x="192" y="414"/>
                  </a:lnTo>
                  <a:lnTo>
                    <a:pt x="198" y="408"/>
                  </a:lnTo>
                  <a:lnTo>
                    <a:pt x="198" y="402"/>
                  </a:lnTo>
                  <a:lnTo>
                    <a:pt x="204" y="390"/>
                  </a:lnTo>
                  <a:lnTo>
                    <a:pt x="204" y="384"/>
                  </a:lnTo>
                  <a:lnTo>
                    <a:pt x="198" y="372"/>
                  </a:lnTo>
                  <a:lnTo>
                    <a:pt x="198" y="366"/>
                  </a:lnTo>
                  <a:lnTo>
                    <a:pt x="192" y="360"/>
                  </a:lnTo>
                  <a:lnTo>
                    <a:pt x="186" y="348"/>
                  </a:lnTo>
                  <a:lnTo>
                    <a:pt x="180" y="342"/>
                  </a:lnTo>
                  <a:lnTo>
                    <a:pt x="168" y="336"/>
                  </a:lnTo>
                  <a:lnTo>
                    <a:pt x="162" y="330"/>
                  </a:lnTo>
                  <a:close/>
                  <a:moveTo>
                    <a:pt x="2574" y="486"/>
                  </a:moveTo>
                  <a:lnTo>
                    <a:pt x="2574" y="474"/>
                  </a:lnTo>
                  <a:lnTo>
                    <a:pt x="2568" y="474"/>
                  </a:lnTo>
                  <a:lnTo>
                    <a:pt x="2556" y="468"/>
                  </a:lnTo>
                  <a:lnTo>
                    <a:pt x="2520" y="468"/>
                  </a:lnTo>
                  <a:lnTo>
                    <a:pt x="2514" y="474"/>
                  </a:lnTo>
                  <a:lnTo>
                    <a:pt x="2520" y="498"/>
                  </a:lnTo>
                  <a:lnTo>
                    <a:pt x="2526" y="498"/>
                  </a:lnTo>
                  <a:lnTo>
                    <a:pt x="2538" y="492"/>
                  </a:lnTo>
                  <a:lnTo>
                    <a:pt x="2562" y="492"/>
                  </a:lnTo>
                  <a:lnTo>
                    <a:pt x="2568" y="486"/>
                  </a:lnTo>
                  <a:lnTo>
                    <a:pt x="2574" y="486"/>
                  </a:lnTo>
                  <a:close/>
                  <a:moveTo>
                    <a:pt x="336" y="648"/>
                  </a:moveTo>
                  <a:lnTo>
                    <a:pt x="342" y="648"/>
                  </a:lnTo>
                  <a:lnTo>
                    <a:pt x="342" y="636"/>
                  </a:lnTo>
                  <a:lnTo>
                    <a:pt x="330" y="624"/>
                  </a:lnTo>
                  <a:lnTo>
                    <a:pt x="318" y="624"/>
                  </a:lnTo>
                  <a:lnTo>
                    <a:pt x="318" y="636"/>
                  </a:lnTo>
                  <a:lnTo>
                    <a:pt x="330" y="648"/>
                  </a:lnTo>
                  <a:lnTo>
                    <a:pt x="336" y="648"/>
                  </a:lnTo>
                  <a:close/>
                  <a:moveTo>
                    <a:pt x="2472" y="654"/>
                  </a:moveTo>
                  <a:lnTo>
                    <a:pt x="2484" y="648"/>
                  </a:lnTo>
                  <a:lnTo>
                    <a:pt x="2502" y="630"/>
                  </a:lnTo>
                  <a:lnTo>
                    <a:pt x="2502" y="618"/>
                  </a:lnTo>
                  <a:lnTo>
                    <a:pt x="2430" y="612"/>
                  </a:lnTo>
                  <a:lnTo>
                    <a:pt x="2430" y="624"/>
                  </a:lnTo>
                  <a:lnTo>
                    <a:pt x="2436" y="630"/>
                  </a:lnTo>
                  <a:lnTo>
                    <a:pt x="2442" y="642"/>
                  </a:lnTo>
                  <a:lnTo>
                    <a:pt x="2448" y="648"/>
                  </a:lnTo>
                  <a:lnTo>
                    <a:pt x="2460" y="654"/>
                  </a:lnTo>
                  <a:lnTo>
                    <a:pt x="2472" y="654"/>
                  </a:lnTo>
                  <a:close/>
                  <a:moveTo>
                    <a:pt x="2406" y="288"/>
                  </a:moveTo>
                  <a:lnTo>
                    <a:pt x="2418" y="276"/>
                  </a:lnTo>
                  <a:lnTo>
                    <a:pt x="2418" y="264"/>
                  </a:lnTo>
                  <a:lnTo>
                    <a:pt x="2412" y="258"/>
                  </a:lnTo>
                  <a:lnTo>
                    <a:pt x="2400" y="252"/>
                  </a:lnTo>
                  <a:lnTo>
                    <a:pt x="2376" y="252"/>
                  </a:lnTo>
                  <a:lnTo>
                    <a:pt x="2370" y="258"/>
                  </a:lnTo>
                  <a:lnTo>
                    <a:pt x="2370" y="264"/>
                  </a:lnTo>
                  <a:lnTo>
                    <a:pt x="2394" y="288"/>
                  </a:lnTo>
                  <a:lnTo>
                    <a:pt x="2406" y="288"/>
                  </a:lnTo>
                  <a:close/>
                  <a:moveTo>
                    <a:pt x="2868" y="528"/>
                  </a:moveTo>
                  <a:lnTo>
                    <a:pt x="2886" y="534"/>
                  </a:lnTo>
                  <a:lnTo>
                    <a:pt x="2892" y="534"/>
                  </a:lnTo>
                  <a:lnTo>
                    <a:pt x="2898" y="528"/>
                  </a:lnTo>
                  <a:lnTo>
                    <a:pt x="2898" y="522"/>
                  </a:lnTo>
                  <a:lnTo>
                    <a:pt x="2874" y="510"/>
                  </a:lnTo>
                  <a:lnTo>
                    <a:pt x="2868" y="516"/>
                  </a:lnTo>
                  <a:lnTo>
                    <a:pt x="2862" y="516"/>
                  </a:lnTo>
                  <a:lnTo>
                    <a:pt x="2862" y="522"/>
                  </a:lnTo>
                  <a:lnTo>
                    <a:pt x="2868" y="528"/>
                  </a:lnTo>
                  <a:close/>
                  <a:moveTo>
                    <a:pt x="2916" y="618"/>
                  </a:moveTo>
                  <a:lnTo>
                    <a:pt x="2928" y="618"/>
                  </a:lnTo>
                  <a:lnTo>
                    <a:pt x="2940" y="612"/>
                  </a:lnTo>
                  <a:lnTo>
                    <a:pt x="2958" y="612"/>
                  </a:lnTo>
                  <a:lnTo>
                    <a:pt x="2964" y="606"/>
                  </a:lnTo>
                  <a:lnTo>
                    <a:pt x="2970" y="606"/>
                  </a:lnTo>
                  <a:lnTo>
                    <a:pt x="2964" y="606"/>
                  </a:lnTo>
                  <a:lnTo>
                    <a:pt x="2958" y="600"/>
                  </a:lnTo>
                  <a:lnTo>
                    <a:pt x="2946" y="594"/>
                  </a:lnTo>
                  <a:lnTo>
                    <a:pt x="2934" y="594"/>
                  </a:lnTo>
                  <a:lnTo>
                    <a:pt x="2928" y="588"/>
                  </a:lnTo>
                  <a:lnTo>
                    <a:pt x="2922" y="588"/>
                  </a:lnTo>
                  <a:lnTo>
                    <a:pt x="2910" y="594"/>
                  </a:lnTo>
                  <a:lnTo>
                    <a:pt x="2892" y="594"/>
                  </a:lnTo>
                  <a:lnTo>
                    <a:pt x="2886" y="600"/>
                  </a:lnTo>
                  <a:lnTo>
                    <a:pt x="2880" y="600"/>
                  </a:lnTo>
                  <a:lnTo>
                    <a:pt x="2892" y="606"/>
                  </a:lnTo>
                  <a:lnTo>
                    <a:pt x="2898" y="612"/>
                  </a:lnTo>
                  <a:lnTo>
                    <a:pt x="2910" y="618"/>
                  </a:lnTo>
                  <a:lnTo>
                    <a:pt x="2916" y="618"/>
                  </a:lnTo>
                  <a:close/>
                  <a:moveTo>
                    <a:pt x="1710" y="552"/>
                  </a:moveTo>
                  <a:lnTo>
                    <a:pt x="1710" y="564"/>
                  </a:lnTo>
                  <a:lnTo>
                    <a:pt x="1716" y="570"/>
                  </a:lnTo>
                  <a:lnTo>
                    <a:pt x="1716" y="582"/>
                  </a:lnTo>
                  <a:lnTo>
                    <a:pt x="1722" y="594"/>
                  </a:lnTo>
                  <a:lnTo>
                    <a:pt x="1722" y="612"/>
                  </a:lnTo>
                  <a:lnTo>
                    <a:pt x="1716" y="618"/>
                  </a:lnTo>
                  <a:lnTo>
                    <a:pt x="1692" y="630"/>
                  </a:lnTo>
                  <a:lnTo>
                    <a:pt x="1686" y="636"/>
                  </a:lnTo>
                  <a:lnTo>
                    <a:pt x="1674" y="642"/>
                  </a:lnTo>
                  <a:lnTo>
                    <a:pt x="1674" y="678"/>
                  </a:lnTo>
                  <a:lnTo>
                    <a:pt x="1680" y="684"/>
                  </a:lnTo>
                  <a:lnTo>
                    <a:pt x="1686" y="696"/>
                  </a:lnTo>
                  <a:lnTo>
                    <a:pt x="1674" y="708"/>
                  </a:lnTo>
                  <a:lnTo>
                    <a:pt x="1674" y="720"/>
                  </a:lnTo>
                  <a:lnTo>
                    <a:pt x="1680" y="726"/>
                  </a:lnTo>
                  <a:lnTo>
                    <a:pt x="1692" y="732"/>
                  </a:lnTo>
                  <a:lnTo>
                    <a:pt x="1698" y="726"/>
                  </a:lnTo>
                  <a:lnTo>
                    <a:pt x="1722" y="726"/>
                  </a:lnTo>
                  <a:lnTo>
                    <a:pt x="1728" y="732"/>
                  </a:lnTo>
                  <a:lnTo>
                    <a:pt x="1728" y="756"/>
                  </a:lnTo>
                  <a:lnTo>
                    <a:pt x="1722" y="762"/>
                  </a:lnTo>
                  <a:lnTo>
                    <a:pt x="1740" y="780"/>
                  </a:lnTo>
                  <a:lnTo>
                    <a:pt x="1728" y="846"/>
                  </a:lnTo>
                  <a:lnTo>
                    <a:pt x="1710" y="864"/>
                  </a:lnTo>
                  <a:lnTo>
                    <a:pt x="1704" y="876"/>
                  </a:lnTo>
                  <a:lnTo>
                    <a:pt x="1704" y="888"/>
                  </a:lnTo>
                  <a:lnTo>
                    <a:pt x="1710" y="906"/>
                  </a:lnTo>
                  <a:lnTo>
                    <a:pt x="1722" y="924"/>
                  </a:lnTo>
                  <a:lnTo>
                    <a:pt x="1746" y="936"/>
                  </a:lnTo>
                  <a:lnTo>
                    <a:pt x="1764" y="930"/>
                  </a:lnTo>
                  <a:lnTo>
                    <a:pt x="1788" y="906"/>
                  </a:lnTo>
                  <a:lnTo>
                    <a:pt x="1788" y="864"/>
                  </a:lnTo>
                  <a:lnTo>
                    <a:pt x="1782" y="858"/>
                  </a:lnTo>
                  <a:lnTo>
                    <a:pt x="1776" y="846"/>
                  </a:lnTo>
                  <a:lnTo>
                    <a:pt x="1800" y="822"/>
                  </a:lnTo>
                  <a:lnTo>
                    <a:pt x="1806" y="804"/>
                  </a:lnTo>
                  <a:lnTo>
                    <a:pt x="1806" y="774"/>
                  </a:lnTo>
                  <a:lnTo>
                    <a:pt x="1812" y="756"/>
                  </a:lnTo>
                  <a:lnTo>
                    <a:pt x="1812" y="726"/>
                  </a:lnTo>
                  <a:lnTo>
                    <a:pt x="1806" y="714"/>
                  </a:lnTo>
                  <a:lnTo>
                    <a:pt x="1800" y="696"/>
                  </a:lnTo>
                  <a:lnTo>
                    <a:pt x="1794" y="684"/>
                  </a:lnTo>
                  <a:lnTo>
                    <a:pt x="1794" y="636"/>
                  </a:lnTo>
                  <a:lnTo>
                    <a:pt x="1800" y="630"/>
                  </a:lnTo>
                  <a:lnTo>
                    <a:pt x="1800" y="624"/>
                  </a:lnTo>
                  <a:lnTo>
                    <a:pt x="1806" y="618"/>
                  </a:lnTo>
                  <a:lnTo>
                    <a:pt x="1812" y="618"/>
                  </a:lnTo>
                  <a:lnTo>
                    <a:pt x="1818" y="624"/>
                  </a:lnTo>
                  <a:lnTo>
                    <a:pt x="1824" y="642"/>
                  </a:lnTo>
                  <a:lnTo>
                    <a:pt x="1830" y="666"/>
                  </a:lnTo>
                  <a:lnTo>
                    <a:pt x="1836" y="684"/>
                  </a:lnTo>
                  <a:lnTo>
                    <a:pt x="1836" y="702"/>
                  </a:lnTo>
                  <a:lnTo>
                    <a:pt x="1866" y="738"/>
                  </a:lnTo>
                  <a:lnTo>
                    <a:pt x="1866" y="792"/>
                  </a:lnTo>
                  <a:lnTo>
                    <a:pt x="1890" y="822"/>
                  </a:lnTo>
                  <a:lnTo>
                    <a:pt x="1890" y="858"/>
                  </a:lnTo>
                  <a:lnTo>
                    <a:pt x="1902" y="930"/>
                  </a:lnTo>
                  <a:lnTo>
                    <a:pt x="1920" y="918"/>
                  </a:lnTo>
                  <a:lnTo>
                    <a:pt x="1962" y="930"/>
                  </a:lnTo>
                  <a:lnTo>
                    <a:pt x="1962" y="870"/>
                  </a:lnTo>
                  <a:lnTo>
                    <a:pt x="1968" y="864"/>
                  </a:lnTo>
                  <a:lnTo>
                    <a:pt x="1974" y="852"/>
                  </a:lnTo>
                  <a:lnTo>
                    <a:pt x="1980" y="876"/>
                  </a:lnTo>
                  <a:lnTo>
                    <a:pt x="1998" y="876"/>
                  </a:lnTo>
                  <a:lnTo>
                    <a:pt x="2004" y="870"/>
                  </a:lnTo>
                  <a:lnTo>
                    <a:pt x="2010" y="858"/>
                  </a:lnTo>
                  <a:lnTo>
                    <a:pt x="2010" y="828"/>
                  </a:lnTo>
                  <a:lnTo>
                    <a:pt x="2004" y="822"/>
                  </a:lnTo>
                  <a:lnTo>
                    <a:pt x="2004" y="816"/>
                  </a:lnTo>
                  <a:lnTo>
                    <a:pt x="1992" y="810"/>
                  </a:lnTo>
                  <a:lnTo>
                    <a:pt x="1986" y="798"/>
                  </a:lnTo>
                  <a:lnTo>
                    <a:pt x="1974" y="792"/>
                  </a:lnTo>
                  <a:lnTo>
                    <a:pt x="1962" y="780"/>
                  </a:lnTo>
                  <a:lnTo>
                    <a:pt x="1956" y="768"/>
                  </a:lnTo>
                  <a:lnTo>
                    <a:pt x="1944" y="756"/>
                  </a:lnTo>
                  <a:lnTo>
                    <a:pt x="1944" y="750"/>
                  </a:lnTo>
                  <a:lnTo>
                    <a:pt x="1956" y="726"/>
                  </a:lnTo>
                  <a:lnTo>
                    <a:pt x="1968" y="720"/>
                  </a:lnTo>
                  <a:lnTo>
                    <a:pt x="1968" y="708"/>
                  </a:lnTo>
                  <a:lnTo>
                    <a:pt x="1962" y="696"/>
                  </a:lnTo>
                  <a:lnTo>
                    <a:pt x="1938" y="684"/>
                  </a:lnTo>
                  <a:lnTo>
                    <a:pt x="1932" y="672"/>
                  </a:lnTo>
                  <a:lnTo>
                    <a:pt x="1932" y="642"/>
                  </a:lnTo>
                  <a:lnTo>
                    <a:pt x="1938" y="636"/>
                  </a:lnTo>
                  <a:lnTo>
                    <a:pt x="1938" y="630"/>
                  </a:lnTo>
                  <a:lnTo>
                    <a:pt x="1926" y="618"/>
                  </a:lnTo>
                  <a:lnTo>
                    <a:pt x="1914" y="612"/>
                  </a:lnTo>
                  <a:lnTo>
                    <a:pt x="1896" y="594"/>
                  </a:lnTo>
                  <a:lnTo>
                    <a:pt x="1884" y="588"/>
                  </a:lnTo>
                  <a:lnTo>
                    <a:pt x="1878" y="582"/>
                  </a:lnTo>
                  <a:lnTo>
                    <a:pt x="1914" y="582"/>
                  </a:lnTo>
                  <a:lnTo>
                    <a:pt x="1926" y="576"/>
                  </a:lnTo>
                  <a:lnTo>
                    <a:pt x="1932" y="570"/>
                  </a:lnTo>
                  <a:lnTo>
                    <a:pt x="1944" y="546"/>
                  </a:lnTo>
                  <a:lnTo>
                    <a:pt x="1950" y="540"/>
                  </a:lnTo>
                  <a:lnTo>
                    <a:pt x="1956" y="528"/>
                  </a:lnTo>
                  <a:lnTo>
                    <a:pt x="1992" y="528"/>
                  </a:lnTo>
                  <a:lnTo>
                    <a:pt x="2004" y="522"/>
                  </a:lnTo>
                  <a:lnTo>
                    <a:pt x="2010" y="522"/>
                  </a:lnTo>
                  <a:lnTo>
                    <a:pt x="2016" y="516"/>
                  </a:lnTo>
                  <a:lnTo>
                    <a:pt x="2016" y="504"/>
                  </a:lnTo>
                  <a:lnTo>
                    <a:pt x="1998" y="486"/>
                  </a:lnTo>
                  <a:lnTo>
                    <a:pt x="1986" y="480"/>
                  </a:lnTo>
                  <a:lnTo>
                    <a:pt x="1974" y="486"/>
                  </a:lnTo>
                  <a:lnTo>
                    <a:pt x="1956" y="504"/>
                  </a:lnTo>
                  <a:lnTo>
                    <a:pt x="1956" y="510"/>
                  </a:lnTo>
                  <a:lnTo>
                    <a:pt x="1944" y="510"/>
                  </a:lnTo>
                  <a:lnTo>
                    <a:pt x="1932" y="504"/>
                  </a:lnTo>
                  <a:lnTo>
                    <a:pt x="1896" y="504"/>
                  </a:lnTo>
                  <a:lnTo>
                    <a:pt x="1890" y="510"/>
                  </a:lnTo>
                  <a:lnTo>
                    <a:pt x="1884" y="522"/>
                  </a:lnTo>
                  <a:lnTo>
                    <a:pt x="1854" y="552"/>
                  </a:lnTo>
                  <a:lnTo>
                    <a:pt x="1848" y="546"/>
                  </a:lnTo>
                  <a:lnTo>
                    <a:pt x="1836" y="540"/>
                  </a:lnTo>
                  <a:lnTo>
                    <a:pt x="1824" y="516"/>
                  </a:lnTo>
                  <a:lnTo>
                    <a:pt x="1788" y="498"/>
                  </a:lnTo>
                  <a:lnTo>
                    <a:pt x="1776" y="498"/>
                  </a:lnTo>
                  <a:lnTo>
                    <a:pt x="1776" y="486"/>
                  </a:lnTo>
                  <a:lnTo>
                    <a:pt x="1782" y="468"/>
                  </a:lnTo>
                  <a:lnTo>
                    <a:pt x="1782" y="456"/>
                  </a:lnTo>
                  <a:lnTo>
                    <a:pt x="1794" y="420"/>
                  </a:lnTo>
                  <a:lnTo>
                    <a:pt x="1806" y="408"/>
                  </a:lnTo>
                  <a:lnTo>
                    <a:pt x="1824" y="408"/>
                  </a:lnTo>
                  <a:lnTo>
                    <a:pt x="1842" y="414"/>
                  </a:lnTo>
                  <a:lnTo>
                    <a:pt x="1896" y="414"/>
                  </a:lnTo>
                  <a:lnTo>
                    <a:pt x="1902" y="408"/>
                  </a:lnTo>
                  <a:lnTo>
                    <a:pt x="1908" y="408"/>
                  </a:lnTo>
                  <a:lnTo>
                    <a:pt x="1908" y="402"/>
                  </a:lnTo>
                  <a:lnTo>
                    <a:pt x="1914" y="396"/>
                  </a:lnTo>
                  <a:lnTo>
                    <a:pt x="1920" y="396"/>
                  </a:lnTo>
                  <a:lnTo>
                    <a:pt x="1944" y="402"/>
                  </a:lnTo>
                  <a:lnTo>
                    <a:pt x="1980" y="420"/>
                  </a:lnTo>
                  <a:lnTo>
                    <a:pt x="2010" y="432"/>
                  </a:lnTo>
                  <a:lnTo>
                    <a:pt x="2034" y="438"/>
                  </a:lnTo>
                  <a:lnTo>
                    <a:pt x="2040" y="438"/>
                  </a:lnTo>
                  <a:lnTo>
                    <a:pt x="2052" y="432"/>
                  </a:lnTo>
                  <a:lnTo>
                    <a:pt x="2064" y="420"/>
                  </a:lnTo>
                  <a:lnTo>
                    <a:pt x="2082" y="420"/>
                  </a:lnTo>
                  <a:lnTo>
                    <a:pt x="2094" y="414"/>
                  </a:lnTo>
                  <a:lnTo>
                    <a:pt x="2106" y="414"/>
                  </a:lnTo>
                  <a:lnTo>
                    <a:pt x="2112" y="408"/>
                  </a:lnTo>
                  <a:lnTo>
                    <a:pt x="2112" y="402"/>
                  </a:lnTo>
                  <a:lnTo>
                    <a:pt x="2106" y="396"/>
                  </a:lnTo>
                  <a:lnTo>
                    <a:pt x="2106" y="390"/>
                  </a:lnTo>
                  <a:lnTo>
                    <a:pt x="2118" y="378"/>
                  </a:lnTo>
                  <a:lnTo>
                    <a:pt x="2142" y="366"/>
                  </a:lnTo>
                  <a:lnTo>
                    <a:pt x="2148" y="360"/>
                  </a:lnTo>
                  <a:lnTo>
                    <a:pt x="2160" y="354"/>
                  </a:lnTo>
                  <a:lnTo>
                    <a:pt x="2148" y="324"/>
                  </a:lnTo>
                  <a:lnTo>
                    <a:pt x="2070" y="360"/>
                  </a:lnTo>
                  <a:lnTo>
                    <a:pt x="2076" y="366"/>
                  </a:lnTo>
                  <a:lnTo>
                    <a:pt x="2076" y="372"/>
                  </a:lnTo>
                  <a:lnTo>
                    <a:pt x="2070" y="378"/>
                  </a:lnTo>
                  <a:lnTo>
                    <a:pt x="2046" y="378"/>
                  </a:lnTo>
                  <a:lnTo>
                    <a:pt x="2022" y="366"/>
                  </a:lnTo>
                  <a:lnTo>
                    <a:pt x="2004" y="366"/>
                  </a:lnTo>
                  <a:lnTo>
                    <a:pt x="1968" y="384"/>
                  </a:lnTo>
                  <a:lnTo>
                    <a:pt x="1950" y="384"/>
                  </a:lnTo>
                  <a:lnTo>
                    <a:pt x="1938" y="378"/>
                  </a:lnTo>
                  <a:lnTo>
                    <a:pt x="1926" y="378"/>
                  </a:lnTo>
                  <a:lnTo>
                    <a:pt x="1902" y="366"/>
                  </a:lnTo>
                  <a:lnTo>
                    <a:pt x="1860" y="366"/>
                  </a:lnTo>
                  <a:lnTo>
                    <a:pt x="1872" y="348"/>
                  </a:lnTo>
                  <a:lnTo>
                    <a:pt x="1860" y="348"/>
                  </a:lnTo>
                  <a:lnTo>
                    <a:pt x="1848" y="342"/>
                  </a:lnTo>
                  <a:lnTo>
                    <a:pt x="1824" y="342"/>
                  </a:lnTo>
                  <a:lnTo>
                    <a:pt x="1824" y="366"/>
                  </a:lnTo>
                  <a:lnTo>
                    <a:pt x="1812" y="378"/>
                  </a:lnTo>
                  <a:lnTo>
                    <a:pt x="1788" y="390"/>
                  </a:lnTo>
                  <a:lnTo>
                    <a:pt x="1764" y="390"/>
                  </a:lnTo>
                  <a:lnTo>
                    <a:pt x="1758" y="396"/>
                  </a:lnTo>
                  <a:lnTo>
                    <a:pt x="1758" y="426"/>
                  </a:lnTo>
                  <a:lnTo>
                    <a:pt x="1740" y="432"/>
                  </a:lnTo>
                  <a:lnTo>
                    <a:pt x="1752" y="498"/>
                  </a:lnTo>
                  <a:lnTo>
                    <a:pt x="1740" y="498"/>
                  </a:lnTo>
                  <a:lnTo>
                    <a:pt x="1734" y="510"/>
                  </a:lnTo>
                  <a:lnTo>
                    <a:pt x="1728" y="516"/>
                  </a:lnTo>
                  <a:lnTo>
                    <a:pt x="1710" y="552"/>
                  </a:lnTo>
                  <a:close/>
                  <a:moveTo>
                    <a:pt x="1986" y="576"/>
                  </a:moveTo>
                  <a:lnTo>
                    <a:pt x="1986" y="594"/>
                  </a:lnTo>
                  <a:lnTo>
                    <a:pt x="1992" y="600"/>
                  </a:lnTo>
                  <a:lnTo>
                    <a:pt x="2004" y="600"/>
                  </a:lnTo>
                  <a:lnTo>
                    <a:pt x="2016" y="588"/>
                  </a:lnTo>
                  <a:lnTo>
                    <a:pt x="2016" y="576"/>
                  </a:lnTo>
                  <a:lnTo>
                    <a:pt x="1986" y="576"/>
                  </a:lnTo>
                  <a:close/>
                  <a:moveTo>
                    <a:pt x="1686" y="1110"/>
                  </a:moveTo>
                  <a:lnTo>
                    <a:pt x="1674" y="1110"/>
                  </a:lnTo>
                  <a:lnTo>
                    <a:pt x="1668" y="1116"/>
                  </a:lnTo>
                  <a:lnTo>
                    <a:pt x="1662" y="1116"/>
                  </a:lnTo>
                  <a:lnTo>
                    <a:pt x="1614" y="1104"/>
                  </a:lnTo>
                  <a:lnTo>
                    <a:pt x="1644" y="1146"/>
                  </a:lnTo>
                  <a:lnTo>
                    <a:pt x="1650" y="1152"/>
                  </a:lnTo>
                  <a:lnTo>
                    <a:pt x="1662" y="1158"/>
                  </a:lnTo>
                  <a:lnTo>
                    <a:pt x="1668" y="1164"/>
                  </a:lnTo>
                  <a:lnTo>
                    <a:pt x="1680" y="1170"/>
                  </a:lnTo>
                  <a:lnTo>
                    <a:pt x="1692" y="1158"/>
                  </a:lnTo>
                  <a:lnTo>
                    <a:pt x="1698" y="1140"/>
                  </a:lnTo>
                  <a:lnTo>
                    <a:pt x="1698" y="1128"/>
                  </a:lnTo>
                  <a:lnTo>
                    <a:pt x="1692" y="1116"/>
                  </a:lnTo>
                  <a:lnTo>
                    <a:pt x="1686" y="1110"/>
                  </a:lnTo>
                  <a:close/>
                  <a:moveTo>
                    <a:pt x="2094" y="1104"/>
                  </a:moveTo>
                  <a:lnTo>
                    <a:pt x="2064" y="1128"/>
                  </a:lnTo>
                  <a:lnTo>
                    <a:pt x="2094" y="1134"/>
                  </a:lnTo>
                  <a:lnTo>
                    <a:pt x="2094" y="1104"/>
                  </a:lnTo>
                  <a:close/>
                  <a:moveTo>
                    <a:pt x="486" y="294"/>
                  </a:moveTo>
                  <a:lnTo>
                    <a:pt x="474" y="288"/>
                  </a:lnTo>
                  <a:lnTo>
                    <a:pt x="468" y="288"/>
                  </a:lnTo>
                  <a:lnTo>
                    <a:pt x="456" y="294"/>
                  </a:lnTo>
                  <a:lnTo>
                    <a:pt x="456" y="312"/>
                  </a:lnTo>
                  <a:lnTo>
                    <a:pt x="468" y="324"/>
                  </a:lnTo>
                  <a:lnTo>
                    <a:pt x="474" y="318"/>
                  </a:lnTo>
                  <a:lnTo>
                    <a:pt x="486" y="318"/>
                  </a:lnTo>
                  <a:lnTo>
                    <a:pt x="486" y="312"/>
                  </a:lnTo>
                  <a:lnTo>
                    <a:pt x="492" y="300"/>
                  </a:lnTo>
                  <a:lnTo>
                    <a:pt x="486" y="294"/>
                  </a:lnTo>
                  <a:close/>
                  <a:moveTo>
                    <a:pt x="2346" y="588"/>
                  </a:moveTo>
                  <a:lnTo>
                    <a:pt x="2340" y="576"/>
                  </a:lnTo>
                  <a:lnTo>
                    <a:pt x="2328" y="570"/>
                  </a:lnTo>
                  <a:lnTo>
                    <a:pt x="2310" y="552"/>
                  </a:lnTo>
                  <a:lnTo>
                    <a:pt x="2304" y="552"/>
                  </a:lnTo>
                  <a:lnTo>
                    <a:pt x="2304" y="600"/>
                  </a:lnTo>
                  <a:lnTo>
                    <a:pt x="2316" y="600"/>
                  </a:lnTo>
                  <a:lnTo>
                    <a:pt x="2328" y="606"/>
                  </a:lnTo>
                  <a:lnTo>
                    <a:pt x="2334" y="606"/>
                  </a:lnTo>
                  <a:lnTo>
                    <a:pt x="2346" y="600"/>
                  </a:lnTo>
                  <a:lnTo>
                    <a:pt x="2346" y="588"/>
                  </a:lnTo>
                  <a:close/>
                  <a:moveTo>
                    <a:pt x="2310" y="474"/>
                  </a:moveTo>
                  <a:lnTo>
                    <a:pt x="2340" y="504"/>
                  </a:lnTo>
                  <a:lnTo>
                    <a:pt x="2358" y="516"/>
                  </a:lnTo>
                  <a:lnTo>
                    <a:pt x="2382" y="528"/>
                  </a:lnTo>
                  <a:lnTo>
                    <a:pt x="2400" y="528"/>
                  </a:lnTo>
                  <a:lnTo>
                    <a:pt x="2400" y="522"/>
                  </a:lnTo>
                  <a:lnTo>
                    <a:pt x="2358" y="480"/>
                  </a:lnTo>
                  <a:lnTo>
                    <a:pt x="2358" y="468"/>
                  </a:lnTo>
                  <a:lnTo>
                    <a:pt x="2364" y="456"/>
                  </a:lnTo>
                  <a:lnTo>
                    <a:pt x="2376" y="450"/>
                  </a:lnTo>
                  <a:lnTo>
                    <a:pt x="2394" y="450"/>
                  </a:lnTo>
                  <a:lnTo>
                    <a:pt x="2406" y="456"/>
                  </a:lnTo>
                  <a:lnTo>
                    <a:pt x="2424" y="444"/>
                  </a:lnTo>
                  <a:lnTo>
                    <a:pt x="2400" y="432"/>
                  </a:lnTo>
                  <a:lnTo>
                    <a:pt x="2412" y="426"/>
                  </a:lnTo>
                  <a:lnTo>
                    <a:pt x="2424" y="402"/>
                  </a:lnTo>
                  <a:lnTo>
                    <a:pt x="2412" y="378"/>
                  </a:lnTo>
                  <a:lnTo>
                    <a:pt x="2400" y="372"/>
                  </a:lnTo>
                  <a:lnTo>
                    <a:pt x="2382" y="372"/>
                  </a:lnTo>
                  <a:lnTo>
                    <a:pt x="2358" y="396"/>
                  </a:lnTo>
                  <a:lnTo>
                    <a:pt x="2346" y="402"/>
                  </a:lnTo>
                  <a:lnTo>
                    <a:pt x="2340" y="408"/>
                  </a:lnTo>
                  <a:lnTo>
                    <a:pt x="2334" y="408"/>
                  </a:lnTo>
                  <a:lnTo>
                    <a:pt x="2328" y="402"/>
                  </a:lnTo>
                  <a:lnTo>
                    <a:pt x="2328" y="366"/>
                  </a:lnTo>
                  <a:lnTo>
                    <a:pt x="2334" y="360"/>
                  </a:lnTo>
                  <a:lnTo>
                    <a:pt x="2346" y="336"/>
                  </a:lnTo>
                  <a:lnTo>
                    <a:pt x="2346" y="318"/>
                  </a:lnTo>
                  <a:lnTo>
                    <a:pt x="2340" y="312"/>
                  </a:lnTo>
                  <a:lnTo>
                    <a:pt x="2358" y="276"/>
                  </a:lnTo>
                  <a:lnTo>
                    <a:pt x="2316" y="312"/>
                  </a:lnTo>
                  <a:lnTo>
                    <a:pt x="2316" y="342"/>
                  </a:lnTo>
                  <a:lnTo>
                    <a:pt x="2304" y="348"/>
                  </a:lnTo>
                  <a:lnTo>
                    <a:pt x="2298" y="354"/>
                  </a:lnTo>
                  <a:lnTo>
                    <a:pt x="2286" y="378"/>
                  </a:lnTo>
                  <a:lnTo>
                    <a:pt x="2286" y="408"/>
                  </a:lnTo>
                  <a:lnTo>
                    <a:pt x="2298" y="420"/>
                  </a:lnTo>
                  <a:lnTo>
                    <a:pt x="2304" y="432"/>
                  </a:lnTo>
                  <a:lnTo>
                    <a:pt x="2310" y="438"/>
                  </a:lnTo>
                  <a:lnTo>
                    <a:pt x="2310" y="444"/>
                  </a:lnTo>
                  <a:lnTo>
                    <a:pt x="2304" y="450"/>
                  </a:lnTo>
                  <a:lnTo>
                    <a:pt x="2304" y="468"/>
                  </a:lnTo>
                  <a:lnTo>
                    <a:pt x="2310" y="474"/>
                  </a:lnTo>
                  <a:close/>
                  <a:moveTo>
                    <a:pt x="2250" y="708"/>
                  </a:moveTo>
                  <a:lnTo>
                    <a:pt x="2238" y="696"/>
                  </a:lnTo>
                  <a:lnTo>
                    <a:pt x="2214" y="708"/>
                  </a:lnTo>
                  <a:lnTo>
                    <a:pt x="2214" y="732"/>
                  </a:lnTo>
                  <a:lnTo>
                    <a:pt x="2220" y="744"/>
                  </a:lnTo>
                  <a:lnTo>
                    <a:pt x="2226" y="750"/>
                  </a:lnTo>
                  <a:lnTo>
                    <a:pt x="2250" y="762"/>
                  </a:lnTo>
                  <a:lnTo>
                    <a:pt x="2274" y="762"/>
                  </a:lnTo>
                  <a:lnTo>
                    <a:pt x="2280" y="750"/>
                  </a:lnTo>
                  <a:lnTo>
                    <a:pt x="2280" y="738"/>
                  </a:lnTo>
                  <a:lnTo>
                    <a:pt x="2274" y="726"/>
                  </a:lnTo>
                  <a:lnTo>
                    <a:pt x="2274" y="714"/>
                  </a:lnTo>
                  <a:lnTo>
                    <a:pt x="2268" y="708"/>
                  </a:lnTo>
                  <a:lnTo>
                    <a:pt x="2268" y="702"/>
                  </a:lnTo>
                  <a:lnTo>
                    <a:pt x="2250" y="708"/>
                  </a:lnTo>
                  <a:close/>
                  <a:moveTo>
                    <a:pt x="2148" y="1104"/>
                  </a:moveTo>
                  <a:lnTo>
                    <a:pt x="2226" y="1092"/>
                  </a:lnTo>
                  <a:lnTo>
                    <a:pt x="2166" y="1074"/>
                  </a:lnTo>
                  <a:lnTo>
                    <a:pt x="2148" y="1104"/>
                  </a:lnTo>
                  <a:close/>
                  <a:moveTo>
                    <a:pt x="2544" y="750"/>
                  </a:moveTo>
                  <a:lnTo>
                    <a:pt x="2520" y="732"/>
                  </a:lnTo>
                  <a:lnTo>
                    <a:pt x="2526" y="714"/>
                  </a:lnTo>
                  <a:lnTo>
                    <a:pt x="2514" y="702"/>
                  </a:lnTo>
                  <a:lnTo>
                    <a:pt x="2508" y="690"/>
                  </a:lnTo>
                  <a:lnTo>
                    <a:pt x="2490" y="684"/>
                  </a:lnTo>
                  <a:lnTo>
                    <a:pt x="2472" y="672"/>
                  </a:lnTo>
                  <a:lnTo>
                    <a:pt x="2442" y="666"/>
                  </a:lnTo>
                  <a:lnTo>
                    <a:pt x="2424" y="666"/>
                  </a:lnTo>
                  <a:lnTo>
                    <a:pt x="2388" y="684"/>
                  </a:lnTo>
                  <a:lnTo>
                    <a:pt x="2358" y="684"/>
                  </a:lnTo>
                  <a:lnTo>
                    <a:pt x="2346" y="696"/>
                  </a:lnTo>
                  <a:lnTo>
                    <a:pt x="2340" y="708"/>
                  </a:lnTo>
                  <a:lnTo>
                    <a:pt x="2340" y="726"/>
                  </a:lnTo>
                  <a:lnTo>
                    <a:pt x="2346" y="732"/>
                  </a:lnTo>
                  <a:lnTo>
                    <a:pt x="2364" y="714"/>
                  </a:lnTo>
                  <a:lnTo>
                    <a:pt x="2364" y="726"/>
                  </a:lnTo>
                  <a:lnTo>
                    <a:pt x="2370" y="738"/>
                  </a:lnTo>
                  <a:lnTo>
                    <a:pt x="2376" y="744"/>
                  </a:lnTo>
                  <a:lnTo>
                    <a:pt x="2388" y="738"/>
                  </a:lnTo>
                  <a:lnTo>
                    <a:pt x="2394" y="732"/>
                  </a:lnTo>
                  <a:lnTo>
                    <a:pt x="2394" y="726"/>
                  </a:lnTo>
                  <a:lnTo>
                    <a:pt x="2400" y="720"/>
                  </a:lnTo>
                  <a:lnTo>
                    <a:pt x="2400" y="714"/>
                  </a:lnTo>
                  <a:lnTo>
                    <a:pt x="2406" y="726"/>
                  </a:lnTo>
                  <a:lnTo>
                    <a:pt x="2418" y="732"/>
                  </a:lnTo>
                  <a:lnTo>
                    <a:pt x="2430" y="732"/>
                  </a:lnTo>
                  <a:lnTo>
                    <a:pt x="2442" y="720"/>
                  </a:lnTo>
                  <a:lnTo>
                    <a:pt x="2454" y="714"/>
                  </a:lnTo>
                  <a:lnTo>
                    <a:pt x="2460" y="708"/>
                  </a:lnTo>
                  <a:lnTo>
                    <a:pt x="2472" y="762"/>
                  </a:lnTo>
                  <a:lnTo>
                    <a:pt x="2502" y="738"/>
                  </a:lnTo>
                  <a:lnTo>
                    <a:pt x="2538" y="774"/>
                  </a:lnTo>
                  <a:lnTo>
                    <a:pt x="2544" y="750"/>
                  </a:lnTo>
                  <a:close/>
                  <a:moveTo>
                    <a:pt x="3264" y="678"/>
                  </a:moveTo>
                  <a:lnTo>
                    <a:pt x="3222" y="648"/>
                  </a:lnTo>
                  <a:lnTo>
                    <a:pt x="3210" y="648"/>
                  </a:lnTo>
                  <a:lnTo>
                    <a:pt x="3198" y="654"/>
                  </a:lnTo>
                  <a:lnTo>
                    <a:pt x="3180" y="654"/>
                  </a:lnTo>
                  <a:lnTo>
                    <a:pt x="3162" y="648"/>
                  </a:lnTo>
                  <a:lnTo>
                    <a:pt x="3126" y="630"/>
                  </a:lnTo>
                  <a:lnTo>
                    <a:pt x="3096" y="612"/>
                  </a:lnTo>
                  <a:lnTo>
                    <a:pt x="3060" y="594"/>
                  </a:lnTo>
                  <a:lnTo>
                    <a:pt x="3042" y="582"/>
                  </a:lnTo>
                  <a:lnTo>
                    <a:pt x="3030" y="582"/>
                  </a:lnTo>
                  <a:lnTo>
                    <a:pt x="3006" y="594"/>
                  </a:lnTo>
                  <a:lnTo>
                    <a:pt x="3000" y="600"/>
                  </a:lnTo>
                  <a:lnTo>
                    <a:pt x="2988" y="606"/>
                  </a:lnTo>
                  <a:lnTo>
                    <a:pt x="3006" y="630"/>
                  </a:lnTo>
                  <a:lnTo>
                    <a:pt x="2928" y="642"/>
                  </a:lnTo>
                  <a:lnTo>
                    <a:pt x="2934" y="666"/>
                  </a:lnTo>
                  <a:lnTo>
                    <a:pt x="2928" y="678"/>
                  </a:lnTo>
                  <a:lnTo>
                    <a:pt x="2922" y="684"/>
                  </a:lnTo>
                  <a:lnTo>
                    <a:pt x="2916" y="696"/>
                  </a:lnTo>
                  <a:lnTo>
                    <a:pt x="2880" y="720"/>
                  </a:lnTo>
                  <a:lnTo>
                    <a:pt x="2862" y="726"/>
                  </a:lnTo>
                  <a:lnTo>
                    <a:pt x="2844" y="726"/>
                  </a:lnTo>
                  <a:lnTo>
                    <a:pt x="2832" y="720"/>
                  </a:lnTo>
                  <a:lnTo>
                    <a:pt x="2826" y="714"/>
                  </a:lnTo>
                  <a:lnTo>
                    <a:pt x="2820" y="702"/>
                  </a:lnTo>
                  <a:lnTo>
                    <a:pt x="2820" y="678"/>
                  </a:lnTo>
                  <a:lnTo>
                    <a:pt x="2814" y="672"/>
                  </a:lnTo>
                  <a:lnTo>
                    <a:pt x="2814" y="660"/>
                  </a:lnTo>
                  <a:lnTo>
                    <a:pt x="2808" y="666"/>
                  </a:lnTo>
                  <a:lnTo>
                    <a:pt x="2808" y="672"/>
                  </a:lnTo>
                  <a:lnTo>
                    <a:pt x="2802" y="684"/>
                  </a:lnTo>
                  <a:lnTo>
                    <a:pt x="2796" y="690"/>
                  </a:lnTo>
                  <a:lnTo>
                    <a:pt x="2796" y="696"/>
                  </a:lnTo>
                  <a:lnTo>
                    <a:pt x="2796" y="690"/>
                  </a:lnTo>
                  <a:lnTo>
                    <a:pt x="2790" y="684"/>
                  </a:lnTo>
                  <a:lnTo>
                    <a:pt x="2790" y="672"/>
                  </a:lnTo>
                  <a:lnTo>
                    <a:pt x="2784" y="660"/>
                  </a:lnTo>
                  <a:lnTo>
                    <a:pt x="2784" y="576"/>
                  </a:lnTo>
                  <a:lnTo>
                    <a:pt x="2778" y="558"/>
                  </a:lnTo>
                  <a:lnTo>
                    <a:pt x="2760" y="522"/>
                  </a:lnTo>
                  <a:lnTo>
                    <a:pt x="2724" y="522"/>
                  </a:lnTo>
                  <a:lnTo>
                    <a:pt x="2718" y="510"/>
                  </a:lnTo>
                  <a:lnTo>
                    <a:pt x="2694" y="498"/>
                  </a:lnTo>
                  <a:lnTo>
                    <a:pt x="2676" y="486"/>
                  </a:lnTo>
                  <a:lnTo>
                    <a:pt x="2652" y="486"/>
                  </a:lnTo>
                  <a:lnTo>
                    <a:pt x="2634" y="498"/>
                  </a:lnTo>
                  <a:lnTo>
                    <a:pt x="2628" y="504"/>
                  </a:lnTo>
                  <a:lnTo>
                    <a:pt x="2616" y="510"/>
                  </a:lnTo>
                  <a:lnTo>
                    <a:pt x="2610" y="522"/>
                  </a:lnTo>
                  <a:lnTo>
                    <a:pt x="2586" y="528"/>
                  </a:lnTo>
                  <a:lnTo>
                    <a:pt x="2580" y="546"/>
                  </a:lnTo>
                  <a:lnTo>
                    <a:pt x="2562" y="558"/>
                  </a:lnTo>
                  <a:lnTo>
                    <a:pt x="2562" y="540"/>
                  </a:lnTo>
                  <a:lnTo>
                    <a:pt x="2556" y="534"/>
                  </a:lnTo>
                  <a:lnTo>
                    <a:pt x="2532" y="534"/>
                  </a:lnTo>
                  <a:lnTo>
                    <a:pt x="2532" y="546"/>
                  </a:lnTo>
                  <a:lnTo>
                    <a:pt x="2544" y="570"/>
                  </a:lnTo>
                  <a:lnTo>
                    <a:pt x="2568" y="582"/>
                  </a:lnTo>
                  <a:lnTo>
                    <a:pt x="2604" y="582"/>
                  </a:lnTo>
                  <a:lnTo>
                    <a:pt x="2616" y="588"/>
                  </a:lnTo>
                  <a:lnTo>
                    <a:pt x="2622" y="594"/>
                  </a:lnTo>
                  <a:lnTo>
                    <a:pt x="2628" y="594"/>
                  </a:lnTo>
                  <a:lnTo>
                    <a:pt x="2628" y="618"/>
                  </a:lnTo>
                  <a:lnTo>
                    <a:pt x="2634" y="630"/>
                  </a:lnTo>
                  <a:lnTo>
                    <a:pt x="2640" y="636"/>
                  </a:lnTo>
                  <a:lnTo>
                    <a:pt x="2652" y="642"/>
                  </a:lnTo>
                  <a:lnTo>
                    <a:pt x="2694" y="642"/>
                  </a:lnTo>
                  <a:lnTo>
                    <a:pt x="2712" y="636"/>
                  </a:lnTo>
                  <a:lnTo>
                    <a:pt x="2754" y="636"/>
                  </a:lnTo>
                  <a:lnTo>
                    <a:pt x="2760" y="642"/>
                  </a:lnTo>
                  <a:lnTo>
                    <a:pt x="2760" y="660"/>
                  </a:lnTo>
                  <a:lnTo>
                    <a:pt x="2700" y="660"/>
                  </a:lnTo>
                  <a:lnTo>
                    <a:pt x="2688" y="666"/>
                  </a:lnTo>
                  <a:lnTo>
                    <a:pt x="2676" y="678"/>
                  </a:lnTo>
                  <a:lnTo>
                    <a:pt x="2640" y="678"/>
                  </a:lnTo>
                  <a:lnTo>
                    <a:pt x="2616" y="690"/>
                  </a:lnTo>
                  <a:lnTo>
                    <a:pt x="2616" y="696"/>
                  </a:lnTo>
                  <a:lnTo>
                    <a:pt x="2622" y="696"/>
                  </a:lnTo>
                  <a:lnTo>
                    <a:pt x="2646" y="708"/>
                  </a:lnTo>
                  <a:lnTo>
                    <a:pt x="2658" y="708"/>
                  </a:lnTo>
                  <a:lnTo>
                    <a:pt x="2676" y="726"/>
                  </a:lnTo>
                  <a:lnTo>
                    <a:pt x="2682" y="738"/>
                  </a:lnTo>
                  <a:lnTo>
                    <a:pt x="2688" y="744"/>
                  </a:lnTo>
                  <a:lnTo>
                    <a:pt x="2682" y="750"/>
                  </a:lnTo>
                  <a:lnTo>
                    <a:pt x="2676" y="762"/>
                  </a:lnTo>
                  <a:lnTo>
                    <a:pt x="2676" y="774"/>
                  </a:lnTo>
                  <a:lnTo>
                    <a:pt x="2670" y="780"/>
                  </a:lnTo>
                  <a:lnTo>
                    <a:pt x="2676" y="792"/>
                  </a:lnTo>
                  <a:lnTo>
                    <a:pt x="2682" y="798"/>
                  </a:lnTo>
                  <a:lnTo>
                    <a:pt x="2694" y="792"/>
                  </a:lnTo>
                  <a:lnTo>
                    <a:pt x="2706" y="780"/>
                  </a:lnTo>
                  <a:lnTo>
                    <a:pt x="2712" y="768"/>
                  </a:lnTo>
                  <a:lnTo>
                    <a:pt x="2718" y="762"/>
                  </a:lnTo>
                  <a:lnTo>
                    <a:pt x="2718" y="750"/>
                  </a:lnTo>
                  <a:lnTo>
                    <a:pt x="2724" y="744"/>
                  </a:lnTo>
                  <a:lnTo>
                    <a:pt x="2736" y="720"/>
                  </a:lnTo>
                  <a:lnTo>
                    <a:pt x="2742" y="714"/>
                  </a:lnTo>
                  <a:lnTo>
                    <a:pt x="2748" y="702"/>
                  </a:lnTo>
                  <a:lnTo>
                    <a:pt x="2748" y="744"/>
                  </a:lnTo>
                  <a:lnTo>
                    <a:pt x="2754" y="750"/>
                  </a:lnTo>
                  <a:lnTo>
                    <a:pt x="2766" y="756"/>
                  </a:lnTo>
                  <a:lnTo>
                    <a:pt x="2772" y="768"/>
                  </a:lnTo>
                  <a:lnTo>
                    <a:pt x="2784" y="774"/>
                  </a:lnTo>
                  <a:lnTo>
                    <a:pt x="2790" y="780"/>
                  </a:lnTo>
                  <a:lnTo>
                    <a:pt x="2814" y="780"/>
                  </a:lnTo>
                  <a:lnTo>
                    <a:pt x="2820" y="774"/>
                  </a:lnTo>
                  <a:lnTo>
                    <a:pt x="2826" y="774"/>
                  </a:lnTo>
                  <a:lnTo>
                    <a:pt x="2814" y="792"/>
                  </a:lnTo>
                  <a:lnTo>
                    <a:pt x="2844" y="822"/>
                  </a:lnTo>
                  <a:lnTo>
                    <a:pt x="2904" y="822"/>
                  </a:lnTo>
                  <a:lnTo>
                    <a:pt x="2940" y="846"/>
                  </a:lnTo>
                  <a:lnTo>
                    <a:pt x="2976" y="864"/>
                  </a:lnTo>
                  <a:lnTo>
                    <a:pt x="3006" y="876"/>
                  </a:lnTo>
                  <a:lnTo>
                    <a:pt x="3036" y="894"/>
                  </a:lnTo>
                  <a:lnTo>
                    <a:pt x="3066" y="924"/>
                  </a:lnTo>
                  <a:lnTo>
                    <a:pt x="3066" y="972"/>
                  </a:lnTo>
                  <a:lnTo>
                    <a:pt x="3090" y="996"/>
                  </a:lnTo>
                  <a:lnTo>
                    <a:pt x="3102" y="1002"/>
                  </a:lnTo>
                  <a:lnTo>
                    <a:pt x="3096" y="1002"/>
                  </a:lnTo>
                  <a:lnTo>
                    <a:pt x="3084" y="1008"/>
                  </a:lnTo>
                  <a:lnTo>
                    <a:pt x="3078" y="1014"/>
                  </a:lnTo>
                  <a:lnTo>
                    <a:pt x="3078" y="1020"/>
                  </a:lnTo>
                  <a:lnTo>
                    <a:pt x="3090" y="1032"/>
                  </a:lnTo>
                  <a:lnTo>
                    <a:pt x="3114" y="1032"/>
                  </a:lnTo>
                  <a:lnTo>
                    <a:pt x="3090" y="1044"/>
                  </a:lnTo>
                  <a:lnTo>
                    <a:pt x="3090" y="1056"/>
                  </a:lnTo>
                  <a:lnTo>
                    <a:pt x="3102" y="1062"/>
                  </a:lnTo>
                  <a:lnTo>
                    <a:pt x="3108" y="1092"/>
                  </a:lnTo>
                  <a:lnTo>
                    <a:pt x="3096" y="1122"/>
                  </a:lnTo>
                  <a:lnTo>
                    <a:pt x="3120" y="1122"/>
                  </a:lnTo>
                  <a:lnTo>
                    <a:pt x="3126" y="1116"/>
                  </a:lnTo>
                  <a:lnTo>
                    <a:pt x="3138" y="1116"/>
                  </a:lnTo>
                  <a:lnTo>
                    <a:pt x="3150" y="1110"/>
                  </a:lnTo>
                  <a:lnTo>
                    <a:pt x="3162" y="1110"/>
                  </a:lnTo>
                  <a:lnTo>
                    <a:pt x="3168" y="1104"/>
                  </a:lnTo>
                  <a:lnTo>
                    <a:pt x="3174" y="1104"/>
                  </a:lnTo>
                  <a:lnTo>
                    <a:pt x="3174" y="1134"/>
                  </a:lnTo>
                  <a:lnTo>
                    <a:pt x="3234" y="1194"/>
                  </a:lnTo>
                  <a:lnTo>
                    <a:pt x="3240" y="1194"/>
                  </a:lnTo>
                  <a:lnTo>
                    <a:pt x="3240" y="1146"/>
                  </a:lnTo>
                  <a:lnTo>
                    <a:pt x="3234" y="1122"/>
                  </a:lnTo>
                  <a:lnTo>
                    <a:pt x="3234" y="1116"/>
                  </a:lnTo>
                  <a:lnTo>
                    <a:pt x="3240" y="1110"/>
                  </a:lnTo>
                  <a:lnTo>
                    <a:pt x="3240" y="1098"/>
                  </a:lnTo>
                  <a:lnTo>
                    <a:pt x="3246" y="1086"/>
                  </a:lnTo>
                  <a:lnTo>
                    <a:pt x="3246" y="1062"/>
                  </a:lnTo>
                  <a:lnTo>
                    <a:pt x="3252" y="1050"/>
                  </a:lnTo>
                  <a:lnTo>
                    <a:pt x="3252" y="1020"/>
                  </a:lnTo>
                  <a:lnTo>
                    <a:pt x="3240" y="1020"/>
                  </a:lnTo>
                  <a:lnTo>
                    <a:pt x="3228" y="1014"/>
                  </a:lnTo>
                  <a:lnTo>
                    <a:pt x="3222" y="1008"/>
                  </a:lnTo>
                  <a:lnTo>
                    <a:pt x="3222" y="1002"/>
                  </a:lnTo>
                  <a:lnTo>
                    <a:pt x="3234" y="990"/>
                  </a:lnTo>
                  <a:lnTo>
                    <a:pt x="3246" y="984"/>
                  </a:lnTo>
                  <a:lnTo>
                    <a:pt x="3252" y="978"/>
                  </a:lnTo>
                  <a:lnTo>
                    <a:pt x="3252" y="864"/>
                  </a:lnTo>
                  <a:lnTo>
                    <a:pt x="3258" y="846"/>
                  </a:lnTo>
                  <a:lnTo>
                    <a:pt x="3258" y="708"/>
                  </a:lnTo>
                  <a:lnTo>
                    <a:pt x="3264" y="678"/>
                  </a:lnTo>
                  <a:close/>
                  <a:moveTo>
                    <a:pt x="336" y="666"/>
                  </a:moveTo>
                  <a:lnTo>
                    <a:pt x="330" y="672"/>
                  </a:lnTo>
                  <a:lnTo>
                    <a:pt x="354" y="696"/>
                  </a:lnTo>
                  <a:lnTo>
                    <a:pt x="360" y="708"/>
                  </a:lnTo>
                  <a:lnTo>
                    <a:pt x="366" y="714"/>
                  </a:lnTo>
                  <a:lnTo>
                    <a:pt x="378" y="714"/>
                  </a:lnTo>
                  <a:lnTo>
                    <a:pt x="378" y="696"/>
                  </a:lnTo>
                  <a:lnTo>
                    <a:pt x="366" y="690"/>
                  </a:lnTo>
                  <a:lnTo>
                    <a:pt x="360" y="678"/>
                  </a:lnTo>
                  <a:lnTo>
                    <a:pt x="348" y="672"/>
                  </a:lnTo>
                  <a:lnTo>
                    <a:pt x="342" y="666"/>
                  </a:lnTo>
                  <a:lnTo>
                    <a:pt x="336" y="666"/>
                  </a:lnTo>
                  <a:close/>
                  <a:moveTo>
                    <a:pt x="2526" y="1104"/>
                  </a:moveTo>
                  <a:lnTo>
                    <a:pt x="2544" y="1116"/>
                  </a:lnTo>
                  <a:lnTo>
                    <a:pt x="2574" y="1092"/>
                  </a:lnTo>
                  <a:lnTo>
                    <a:pt x="2592" y="1092"/>
                  </a:lnTo>
                  <a:lnTo>
                    <a:pt x="2604" y="1080"/>
                  </a:lnTo>
                  <a:lnTo>
                    <a:pt x="2604" y="1062"/>
                  </a:lnTo>
                  <a:lnTo>
                    <a:pt x="2592" y="1056"/>
                  </a:lnTo>
                  <a:lnTo>
                    <a:pt x="2586" y="1056"/>
                  </a:lnTo>
                  <a:lnTo>
                    <a:pt x="2574" y="1062"/>
                  </a:lnTo>
                  <a:lnTo>
                    <a:pt x="2556" y="1068"/>
                  </a:lnTo>
                  <a:lnTo>
                    <a:pt x="2526" y="1098"/>
                  </a:lnTo>
                  <a:lnTo>
                    <a:pt x="2526" y="1104"/>
                  </a:lnTo>
                  <a:close/>
                  <a:moveTo>
                    <a:pt x="3096" y="1068"/>
                  </a:moveTo>
                  <a:lnTo>
                    <a:pt x="3090" y="1068"/>
                  </a:lnTo>
                  <a:lnTo>
                    <a:pt x="3090" y="1062"/>
                  </a:lnTo>
                  <a:lnTo>
                    <a:pt x="3084" y="1062"/>
                  </a:lnTo>
                  <a:lnTo>
                    <a:pt x="3078" y="1056"/>
                  </a:lnTo>
                  <a:lnTo>
                    <a:pt x="3066" y="1056"/>
                  </a:lnTo>
                  <a:lnTo>
                    <a:pt x="3048" y="1062"/>
                  </a:lnTo>
                  <a:lnTo>
                    <a:pt x="3024" y="1086"/>
                  </a:lnTo>
                  <a:lnTo>
                    <a:pt x="3012" y="1122"/>
                  </a:lnTo>
                  <a:lnTo>
                    <a:pt x="3012" y="1134"/>
                  </a:lnTo>
                  <a:lnTo>
                    <a:pt x="3072" y="1128"/>
                  </a:lnTo>
                  <a:lnTo>
                    <a:pt x="3084" y="1128"/>
                  </a:lnTo>
                  <a:lnTo>
                    <a:pt x="3090" y="1122"/>
                  </a:lnTo>
                  <a:lnTo>
                    <a:pt x="3102" y="1092"/>
                  </a:lnTo>
                  <a:lnTo>
                    <a:pt x="3096" y="1068"/>
                  </a:lnTo>
                  <a:close/>
                  <a:moveTo>
                    <a:pt x="2778" y="942"/>
                  </a:moveTo>
                  <a:lnTo>
                    <a:pt x="2766" y="960"/>
                  </a:lnTo>
                  <a:lnTo>
                    <a:pt x="2766" y="1014"/>
                  </a:lnTo>
                  <a:lnTo>
                    <a:pt x="2784" y="1014"/>
                  </a:lnTo>
                  <a:lnTo>
                    <a:pt x="2778" y="996"/>
                  </a:lnTo>
                  <a:lnTo>
                    <a:pt x="2790" y="990"/>
                  </a:lnTo>
                  <a:lnTo>
                    <a:pt x="2790" y="972"/>
                  </a:lnTo>
                  <a:lnTo>
                    <a:pt x="2778" y="972"/>
                  </a:lnTo>
                  <a:lnTo>
                    <a:pt x="2796" y="936"/>
                  </a:lnTo>
                  <a:lnTo>
                    <a:pt x="2814" y="906"/>
                  </a:lnTo>
                  <a:lnTo>
                    <a:pt x="2784" y="912"/>
                  </a:lnTo>
                  <a:lnTo>
                    <a:pt x="2778" y="942"/>
                  </a:lnTo>
                  <a:close/>
                  <a:moveTo>
                    <a:pt x="2136" y="600"/>
                  </a:moveTo>
                  <a:lnTo>
                    <a:pt x="2124" y="594"/>
                  </a:lnTo>
                  <a:lnTo>
                    <a:pt x="2118" y="594"/>
                  </a:lnTo>
                  <a:lnTo>
                    <a:pt x="2106" y="588"/>
                  </a:lnTo>
                  <a:lnTo>
                    <a:pt x="2088" y="588"/>
                  </a:lnTo>
                  <a:lnTo>
                    <a:pt x="2082" y="594"/>
                  </a:lnTo>
                  <a:lnTo>
                    <a:pt x="2082" y="600"/>
                  </a:lnTo>
                  <a:lnTo>
                    <a:pt x="2076" y="606"/>
                  </a:lnTo>
                  <a:lnTo>
                    <a:pt x="2082" y="612"/>
                  </a:lnTo>
                  <a:lnTo>
                    <a:pt x="2094" y="618"/>
                  </a:lnTo>
                  <a:lnTo>
                    <a:pt x="2136" y="618"/>
                  </a:lnTo>
                  <a:lnTo>
                    <a:pt x="2214" y="606"/>
                  </a:lnTo>
                  <a:lnTo>
                    <a:pt x="2136" y="600"/>
                  </a:lnTo>
                  <a:close/>
                  <a:moveTo>
                    <a:pt x="1308" y="1038"/>
                  </a:moveTo>
                  <a:lnTo>
                    <a:pt x="1368" y="1002"/>
                  </a:lnTo>
                  <a:lnTo>
                    <a:pt x="1362" y="990"/>
                  </a:lnTo>
                  <a:lnTo>
                    <a:pt x="1350" y="990"/>
                  </a:lnTo>
                  <a:lnTo>
                    <a:pt x="1332" y="996"/>
                  </a:lnTo>
                  <a:lnTo>
                    <a:pt x="1320" y="996"/>
                  </a:lnTo>
                  <a:lnTo>
                    <a:pt x="1302" y="1002"/>
                  </a:lnTo>
                  <a:lnTo>
                    <a:pt x="1290" y="1008"/>
                  </a:lnTo>
                  <a:lnTo>
                    <a:pt x="1284" y="1014"/>
                  </a:lnTo>
                  <a:lnTo>
                    <a:pt x="1284" y="1032"/>
                  </a:lnTo>
                  <a:lnTo>
                    <a:pt x="1290" y="1038"/>
                  </a:lnTo>
                  <a:lnTo>
                    <a:pt x="1308" y="1038"/>
                  </a:lnTo>
                  <a:close/>
                  <a:moveTo>
                    <a:pt x="1428" y="1116"/>
                  </a:moveTo>
                  <a:lnTo>
                    <a:pt x="1392" y="1116"/>
                  </a:lnTo>
                  <a:lnTo>
                    <a:pt x="1386" y="1146"/>
                  </a:lnTo>
                  <a:lnTo>
                    <a:pt x="1386" y="1152"/>
                  </a:lnTo>
                  <a:lnTo>
                    <a:pt x="1404" y="1170"/>
                  </a:lnTo>
                  <a:lnTo>
                    <a:pt x="1416" y="1176"/>
                  </a:lnTo>
                  <a:lnTo>
                    <a:pt x="1428" y="1164"/>
                  </a:lnTo>
                  <a:lnTo>
                    <a:pt x="1440" y="1140"/>
                  </a:lnTo>
                  <a:lnTo>
                    <a:pt x="1440" y="1128"/>
                  </a:lnTo>
                  <a:lnTo>
                    <a:pt x="1428" y="1116"/>
                  </a:lnTo>
                  <a:close/>
                  <a:moveTo>
                    <a:pt x="708" y="930"/>
                  </a:moveTo>
                  <a:lnTo>
                    <a:pt x="714" y="924"/>
                  </a:lnTo>
                  <a:lnTo>
                    <a:pt x="714" y="900"/>
                  </a:lnTo>
                  <a:lnTo>
                    <a:pt x="744" y="924"/>
                  </a:lnTo>
                  <a:lnTo>
                    <a:pt x="744" y="918"/>
                  </a:lnTo>
                  <a:lnTo>
                    <a:pt x="750" y="912"/>
                  </a:lnTo>
                  <a:lnTo>
                    <a:pt x="750" y="900"/>
                  </a:lnTo>
                  <a:lnTo>
                    <a:pt x="756" y="882"/>
                  </a:lnTo>
                  <a:lnTo>
                    <a:pt x="756" y="840"/>
                  </a:lnTo>
                  <a:lnTo>
                    <a:pt x="762" y="822"/>
                  </a:lnTo>
                  <a:lnTo>
                    <a:pt x="762" y="810"/>
                  </a:lnTo>
                  <a:lnTo>
                    <a:pt x="768" y="792"/>
                  </a:lnTo>
                  <a:lnTo>
                    <a:pt x="768" y="780"/>
                  </a:lnTo>
                  <a:lnTo>
                    <a:pt x="762" y="774"/>
                  </a:lnTo>
                  <a:lnTo>
                    <a:pt x="756" y="762"/>
                  </a:lnTo>
                  <a:lnTo>
                    <a:pt x="756" y="750"/>
                  </a:lnTo>
                  <a:lnTo>
                    <a:pt x="768" y="726"/>
                  </a:lnTo>
                  <a:lnTo>
                    <a:pt x="774" y="720"/>
                  </a:lnTo>
                  <a:lnTo>
                    <a:pt x="774" y="714"/>
                  </a:lnTo>
                  <a:lnTo>
                    <a:pt x="756" y="696"/>
                  </a:lnTo>
                  <a:lnTo>
                    <a:pt x="744" y="654"/>
                  </a:lnTo>
                  <a:lnTo>
                    <a:pt x="702" y="654"/>
                  </a:lnTo>
                  <a:lnTo>
                    <a:pt x="702" y="618"/>
                  </a:lnTo>
                  <a:lnTo>
                    <a:pt x="666" y="618"/>
                  </a:lnTo>
                  <a:lnTo>
                    <a:pt x="660" y="546"/>
                  </a:lnTo>
                  <a:lnTo>
                    <a:pt x="606" y="546"/>
                  </a:lnTo>
                  <a:lnTo>
                    <a:pt x="594" y="534"/>
                  </a:lnTo>
                  <a:lnTo>
                    <a:pt x="594" y="504"/>
                  </a:lnTo>
                  <a:lnTo>
                    <a:pt x="600" y="498"/>
                  </a:lnTo>
                  <a:lnTo>
                    <a:pt x="606" y="486"/>
                  </a:lnTo>
                  <a:lnTo>
                    <a:pt x="582" y="486"/>
                  </a:lnTo>
                  <a:lnTo>
                    <a:pt x="600" y="468"/>
                  </a:lnTo>
                  <a:lnTo>
                    <a:pt x="606" y="456"/>
                  </a:lnTo>
                  <a:lnTo>
                    <a:pt x="612" y="450"/>
                  </a:lnTo>
                  <a:lnTo>
                    <a:pt x="612" y="438"/>
                  </a:lnTo>
                  <a:lnTo>
                    <a:pt x="600" y="426"/>
                  </a:lnTo>
                  <a:lnTo>
                    <a:pt x="588" y="432"/>
                  </a:lnTo>
                  <a:lnTo>
                    <a:pt x="570" y="432"/>
                  </a:lnTo>
                  <a:lnTo>
                    <a:pt x="552" y="438"/>
                  </a:lnTo>
                  <a:lnTo>
                    <a:pt x="540" y="438"/>
                  </a:lnTo>
                  <a:lnTo>
                    <a:pt x="534" y="444"/>
                  </a:lnTo>
                  <a:lnTo>
                    <a:pt x="528" y="444"/>
                  </a:lnTo>
                  <a:lnTo>
                    <a:pt x="534" y="438"/>
                  </a:lnTo>
                  <a:lnTo>
                    <a:pt x="546" y="432"/>
                  </a:lnTo>
                  <a:lnTo>
                    <a:pt x="552" y="420"/>
                  </a:lnTo>
                  <a:lnTo>
                    <a:pt x="558" y="414"/>
                  </a:lnTo>
                  <a:lnTo>
                    <a:pt x="558" y="402"/>
                  </a:lnTo>
                  <a:lnTo>
                    <a:pt x="546" y="396"/>
                  </a:lnTo>
                  <a:lnTo>
                    <a:pt x="534" y="396"/>
                  </a:lnTo>
                  <a:lnTo>
                    <a:pt x="522" y="390"/>
                  </a:lnTo>
                  <a:lnTo>
                    <a:pt x="510" y="390"/>
                  </a:lnTo>
                  <a:lnTo>
                    <a:pt x="516" y="384"/>
                  </a:lnTo>
                  <a:lnTo>
                    <a:pt x="516" y="378"/>
                  </a:lnTo>
                  <a:lnTo>
                    <a:pt x="504" y="354"/>
                  </a:lnTo>
                  <a:lnTo>
                    <a:pt x="492" y="342"/>
                  </a:lnTo>
                  <a:lnTo>
                    <a:pt x="480" y="336"/>
                  </a:lnTo>
                  <a:lnTo>
                    <a:pt x="462" y="330"/>
                  </a:lnTo>
                  <a:lnTo>
                    <a:pt x="456" y="324"/>
                  </a:lnTo>
                  <a:lnTo>
                    <a:pt x="450" y="324"/>
                  </a:lnTo>
                  <a:lnTo>
                    <a:pt x="450" y="318"/>
                  </a:lnTo>
                  <a:lnTo>
                    <a:pt x="444" y="312"/>
                  </a:lnTo>
                  <a:lnTo>
                    <a:pt x="438" y="300"/>
                  </a:lnTo>
                  <a:lnTo>
                    <a:pt x="438" y="288"/>
                  </a:lnTo>
                  <a:lnTo>
                    <a:pt x="426" y="276"/>
                  </a:lnTo>
                  <a:lnTo>
                    <a:pt x="414" y="276"/>
                  </a:lnTo>
                  <a:lnTo>
                    <a:pt x="408" y="282"/>
                  </a:lnTo>
                  <a:lnTo>
                    <a:pt x="414" y="306"/>
                  </a:lnTo>
                  <a:lnTo>
                    <a:pt x="408" y="300"/>
                  </a:lnTo>
                  <a:lnTo>
                    <a:pt x="396" y="294"/>
                  </a:lnTo>
                  <a:lnTo>
                    <a:pt x="360" y="258"/>
                  </a:lnTo>
                  <a:lnTo>
                    <a:pt x="360" y="246"/>
                  </a:lnTo>
                  <a:lnTo>
                    <a:pt x="354" y="240"/>
                  </a:lnTo>
                  <a:lnTo>
                    <a:pt x="348" y="228"/>
                  </a:lnTo>
                  <a:lnTo>
                    <a:pt x="342" y="222"/>
                  </a:lnTo>
                  <a:lnTo>
                    <a:pt x="342" y="216"/>
                  </a:lnTo>
                  <a:lnTo>
                    <a:pt x="330" y="210"/>
                  </a:lnTo>
                  <a:lnTo>
                    <a:pt x="312" y="192"/>
                  </a:lnTo>
                  <a:lnTo>
                    <a:pt x="294" y="186"/>
                  </a:lnTo>
                  <a:lnTo>
                    <a:pt x="288" y="174"/>
                  </a:lnTo>
                  <a:lnTo>
                    <a:pt x="276" y="168"/>
                  </a:lnTo>
                  <a:lnTo>
                    <a:pt x="264" y="156"/>
                  </a:lnTo>
                  <a:lnTo>
                    <a:pt x="252" y="150"/>
                  </a:lnTo>
                  <a:lnTo>
                    <a:pt x="240" y="138"/>
                  </a:lnTo>
                  <a:lnTo>
                    <a:pt x="234" y="126"/>
                  </a:lnTo>
                  <a:lnTo>
                    <a:pt x="222" y="120"/>
                  </a:lnTo>
                  <a:lnTo>
                    <a:pt x="222" y="102"/>
                  </a:lnTo>
                  <a:lnTo>
                    <a:pt x="204" y="84"/>
                  </a:lnTo>
                  <a:lnTo>
                    <a:pt x="198" y="72"/>
                  </a:lnTo>
                  <a:lnTo>
                    <a:pt x="168" y="42"/>
                  </a:lnTo>
                  <a:lnTo>
                    <a:pt x="150" y="42"/>
                  </a:lnTo>
                  <a:lnTo>
                    <a:pt x="66" y="36"/>
                  </a:lnTo>
                  <a:lnTo>
                    <a:pt x="42" y="12"/>
                  </a:lnTo>
                  <a:lnTo>
                    <a:pt x="30" y="6"/>
                  </a:lnTo>
                  <a:lnTo>
                    <a:pt x="24" y="0"/>
                  </a:lnTo>
                  <a:lnTo>
                    <a:pt x="18" y="0"/>
                  </a:lnTo>
                  <a:lnTo>
                    <a:pt x="6" y="6"/>
                  </a:lnTo>
                  <a:lnTo>
                    <a:pt x="0" y="18"/>
                  </a:lnTo>
                  <a:lnTo>
                    <a:pt x="0" y="48"/>
                  </a:lnTo>
                  <a:lnTo>
                    <a:pt x="6" y="60"/>
                  </a:lnTo>
                  <a:lnTo>
                    <a:pt x="18" y="78"/>
                  </a:lnTo>
                  <a:lnTo>
                    <a:pt x="66" y="126"/>
                  </a:lnTo>
                  <a:lnTo>
                    <a:pt x="96" y="150"/>
                  </a:lnTo>
                  <a:lnTo>
                    <a:pt x="126" y="180"/>
                  </a:lnTo>
                  <a:lnTo>
                    <a:pt x="162" y="234"/>
                  </a:lnTo>
                  <a:lnTo>
                    <a:pt x="174" y="228"/>
                  </a:lnTo>
                  <a:lnTo>
                    <a:pt x="174" y="252"/>
                  </a:lnTo>
                  <a:lnTo>
                    <a:pt x="180" y="264"/>
                  </a:lnTo>
                  <a:lnTo>
                    <a:pt x="186" y="270"/>
                  </a:lnTo>
                  <a:lnTo>
                    <a:pt x="198" y="276"/>
                  </a:lnTo>
                  <a:lnTo>
                    <a:pt x="216" y="288"/>
                  </a:lnTo>
                  <a:lnTo>
                    <a:pt x="228" y="300"/>
                  </a:lnTo>
                  <a:lnTo>
                    <a:pt x="246" y="312"/>
                  </a:lnTo>
                  <a:lnTo>
                    <a:pt x="258" y="324"/>
                  </a:lnTo>
                  <a:lnTo>
                    <a:pt x="264" y="336"/>
                  </a:lnTo>
                  <a:lnTo>
                    <a:pt x="276" y="372"/>
                  </a:lnTo>
                  <a:lnTo>
                    <a:pt x="276" y="384"/>
                  </a:lnTo>
                  <a:lnTo>
                    <a:pt x="282" y="390"/>
                  </a:lnTo>
                  <a:lnTo>
                    <a:pt x="282" y="426"/>
                  </a:lnTo>
                  <a:lnTo>
                    <a:pt x="288" y="438"/>
                  </a:lnTo>
                  <a:lnTo>
                    <a:pt x="288" y="444"/>
                  </a:lnTo>
                  <a:lnTo>
                    <a:pt x="294" y="450"/>
                  </a:lnTo>
                  <a:lnTo>
                    <a:pt x="300" y="450"/>
                  </a:lnTo>
                  <a:lnTo>
                    <a:pt x="312" y="444"/>
                  </a:lnTo>
                  <a:lnTo>
                    <a:pt x="324" y="444"/>
                  </a:lnTo>
                  <a:lnTo>
                    <a:pt x="324" y="450"/>
                  </a:lnTo>
                  <a:lnTo>
                    <a:pt x="330" y="462"/>
                  </a:lnTo>
                  <a:lnTo>
                    <a:pt x="330" y="474"/>
                  </a:lnTo>
                  <a:lnTo>
                    <a:pt x="336" y="480"/>
                  </a:lnTo>
                  <a:lnTo>
                    <a:pt x="336" y="486"/>
                  </a:lnTo>
                  <a:lnTo>
                    <a:pt x="378" y="522"/>
                  </a:lnTo>
                  <a:lnTo>
                    <a:pt x="372" y="546"/>
                  </a:lnTo>
                  <a:lnTo>
                    <a:pt x="408" y="606"/>
                  </a:lnTo>
                  <a:lnTo>
                    <a:pt x="402" y="618"/>
                  </a:lnTo>
                  <a:lnTo>
                    <a:pt x="402" y="636"/>
                  </a:lnTo>
                  <a:lnTo>
                    <a:pt x="408" y="648"/>
                  </a:lnTo>
                  <a:lnTo>
                    <a:pt x="438" y="678"/>
                  </a:lnTo>
                  <a:lnTo>
                    <a:pt x="438" y="684"/>
                  </a:lnTo>
                  <a:lnTo>
                    <a:pt x="444" y="690"/>
                  </a:lnTo>
                  <a:lnTo>
                    <a:pt x="462" y="726"/>
                  </a:lnTo>
                  <a:lnTo>
                    <a:pt x="498" y="744"/>
                  </a:lnTo>
                  <a:lnTo>
                    <a:pt x="504" y="750"/>
                  </a:lnTo>
                  <a:lnTo>
                    <a:pt x="510" y="750"/>
                  </a:lnTo>
                  <a:lnTo>
                    <a:pt x="510" y="786"/>
                  </a:lnTo>
                  <a:lnTo>
                    <a:pt x="522" y="792"/>
                  </a:lnTo>
                  <a:lnTo>
                    <a:pt x="528" y="804"/>
                  </a:lnTo>
                  <a:lnTo>
                    <a:pt x="540" y="810"/>
                  </a:lnTo>
                  <a:lnTo>
                    <a:pt x="564" y="834"/>
                  </a:lnTo>
                  <a:lnTo>
                    <a:pt x="576" y="840"/>
                  </a:lnTo>
                  <a:lnTo>
                    <a:pt x="594" y="858"/>
                  </a:lnTo>
                  <a:lnTo>
                    <a:pt x="600" y="858"/>
                  </a:lnTo>
                  <a:lnTo>
                    <a:pt x="606" y="864"/>
                  </a:lnTo>
                  <a:lnTo>
                    <a:pt x="612" y="864"/>
                  </a:lnTo>
                  <a:lnTo>
                    <a:pt x="612" y="870"/>
                  </a:lnTo>
                  <a:lnTo>
                    <a:pt x="618" y="876"/>
                  </a:lnTo>
                  <a:lnTo>
                    <a:pt x="630" y="900"/>
                  </a:lnTo>
                  <a:lnTo>
                    <a:pt x="642" y="912"/>
                  </a:lnTo>
                  <a:lnTo>
                    <a:pt x="654" y="936"/>
                  </a:lnTo>
                  <a:lnTo>
                    <a:pt x="660" y="942"/>
                  </a:lnTo>
                  <a:lnTo>
                    <a:pt x="660" y="906"/>
                  </a:lnTo>
                  <a:lnTo>
                    <a:pt x="672" y="906"/>
                  </a:lnTo>
                  <a:lnTo>
                    <a:pt x="684" y="918"/>
                  </a:lnTo>
                  <a:lnTo>
                    <a:pt x="696" y="924"/>
                  </a:lnTo>
                  <a:lnTo>
                    <a:pt x="702" y="930"/>
                  </a:lnTo>
                  <a:lnTo>
                    <a:pt x="708" y="930"/>
                  </a:lnTo>
                  <a:close/>
                  <a:moveTo>
                    <a:pt x="2118" y="1194"/>
                  </a:moveTo>
                  <a:lnTo>
                    <a:pt x="2106" y="1176"/>
                  </a:lnTo>
                  <a:lnTo>
                    <a:pt x="2088" y="1176"/>
                  </a:lnTo>
                  <a:lnTo>
                    <a:pt x="2064" y="1200"/>
                  </a:lnTo>
                  <a:lnTo>
                    <a:pt x="2064" y="1212"/>
                  </a:lnTo>
                  <a:lnTo>
                    <a:pt x="2052" y="1212"/>
                  </a:lnTo>
                  <a:lnTo>
                    <a:pt x="2040" y="1218"/>
                  </a:lnTo>
                  <a:lnTo>
                    <a:pt x="2010" y="1248"/>
                  </a:lnTo>
                  <a:lnTo>
                    <a:pt x="1998" y="1272"/>
                  </a:lnTo>
                  <a:lnTo>
                    <a:pt x="1992" y="1278"/>
                  </a:lnTo>
                  <a:lnTo>
                    <a:pt x="1992" y="1290"/>
                  </a:lnTo>
                  <a:lnTo>
                    <a:pt x="2004" y="1302"/>
                  </a:lnTo>
                  <a:lnTo>
                    <a:pt x="2022" y="1302"/>
                  </a:lnTo>
                  <a:lnTo>
                    <a:pt x="2052" y="1284"/>
                  </a:lnTo>
                  <a:lnTo>
                    <a:pt x="2082" y="1260"/>
                  </a:lnTo>
                  <a:lnTo>
                    <a:pt x="2106" y="1242"/>
                  </a:lnTo>
                  <a:lnTo>
                    <a:pt x="2100" y="1236"/>
                  </a:lnTo>
                  <a:lnTo>
                    <a:pt x="2100" y="1224"/>
                  </a:lnTo>
                  <a:lnTo>
                    <a:pt x="2112" y="1200"/>
                  </a:lnTo>
                  <a:lnTo>
                    <a:pt x="2118" y="1194"/>
                  </a:lnTo>
                  <a:close/>
                  <a:moveTo>
                    <a:pt x="1374" y="1128"/>
                  </a:moveTo>
                  <a:lnTo>
                    <a:pt x="1374" y="1116"/>
                  </a:lnTo>
                  <a:lnTo>
                    <a:pt x="1368" y="1110"/>
                  </a:lnTo>
                  <a:lnTo>
                    <a:pt x="1344" y="1098"/>
                  </a:lnTo>
                  <a:lnTo>
                    <a:pt x="1332" y="1098"/>
                  </a:lnTo>
                  <a:lnTo>
                    <a:pt x="1320" y="1092"/>
                  </a:lnTo>
                  <a:lnTo>
                    <a:pt x="1314" y="1092"/>
                  </a:lnTo>
                  <a:lnTo>
                    <a:pt x="1302" y="1098"/>
                  </a:lnTo>
                  <a:lnTo>
                    <a:pt x="1296" y="1104"/>
                  </a:lnTo>
                  <a:lnTo>
                    <a:pt x="1296" y="1116"/>
                  </a:lnTo>
                  <a:lnTo>
                    <a:pt x="1290" y="1122"/>
                  </a:lnTo>
                  <a:lnTo>
                    <a:pt x="1290" y="1134"/>
                  </a:lnTo>
                  <a:lnTo>
                    <a:pt x="1254" y="1104"/>
                  </a:lnTo>
                  <a:lnTo>
                    <a:pt x="1260" y="1092"/>
                  </a:lnTo>
                  <a:lnTo>
                    <a:pt x="1260" y="1080"/>
                  </a:lnTo>
                  <a:lnTo>
                    <a:pt x="1266" y="1068"/>
                  </a:lnTo>
                  <a:lnTo>
                    <a:pt x="1266" y="1050"/>
                  </a:lnTo>
                  <a:lnTo>
                    <a:pt x="1260" y="1038"/>
                  </a:lnTo>
                  <a:lnTo>
                    <a:pt x="1254" y="1032"/>
                  </a:lnTo>
                  <a:lnTo>
                    <a:pt x="1242" y="1026"/>
                  </a:lnTo>
                  <a:lnTo>
                    <a:pt x="1188" y="1026"/>
                  </a:lnTo>
                  <a:lnTo>
                    <a:pt x="1158" y="1008"/>
                  </a:lnTo>
                  <a:lnTo>
                    <a:pt x="1158" y="984"/>
                  </a:lnTo>
                  <a:lnTo>
                    <a:pt x="1116" y="984"/>
                  </a:lnTo>
                  <a:lnTo>
                    <a:pt x="1116" y="996"/>
                  </a:lnTo>
                  <a:lnTo>
                    <a:pt x="1110" y="1008"/>
                  </a:lnTo>
                  <a:lnTo>
                    <a:pt x="1110" y="1026"/>
                  </a:lnTo>
                  <a:lnTo>
                    <a:pt x="1086" y="1026"/>
                  </a:lnTo>
                  <a:lnTo>
                    <a:pt x="1074" y="1020"/>
                  </a:lnTo>
                  <a:lnTo>
                    <a:pt x="1056" y="1014"/>
                  </a:lnTo>
                  <a:lnTo>
                    <a:pt x="1044" y="1014"/>
                  </a:lnTo>
                  <a:lnTo>
                    <a:pt x="1032" y="1008"/>
                  </a:lnTo>
                  <a:lnTo>
                    <a:pt x="966" y="1008"/>
                  </a:lnTo>
                  <a:lnTo>
                    <a:pt x="960" y="996"/>
                  </a:lnTo>
                  <a:lnTo>
                    <a:pt x="948" y="990"/>
                  </a:lnTo>
                  <a:lnTo>
                    <a:pt x="942" y="978"/>
                  </a:lnTo>
                  <a:lnTo>
                    <a:pt x="918" y="954"/>
                  </a:lnTo>
                  <a:lnTo>
                    <a:pt x="900" y="954"/>
                  </a:lnTo>
                  <a:lnTo>
                    <a:pt x="888" y="960"/>
                  </a:lnTo>
                  <a:lnTo>
                    <a:pt x="876" y="954"/>
                  </a:lnTo>
                  <a:lnTo>
                    <a:pt x="870" y="948"/>
                  </a:lnTo>
                  <a:lnTo>
                    <a:pt x="858" y="942"/>
                  </a:lnTo>
                  <a:lnTo>
                    <a:pt x="846" y="942"/>
                  </a:lnTo>
                  <a:lnTo>
                    <a:pt x="840" y="936"/>
                  </a:lnTo>
                  <a:lnTo>
                    <a:pt x="822" y="936"/>
                  </a:lnTo>
                  <a:lnTo>
                    <a:pt x="810" y="930"/>
                  </a:lnTo>
                  <a:lnTo>
                    <a:pt x="792" y="930"/>
                  </a:lnTo>
                  <a:lnTo>
                    <a:pt x="786" y="924"/>
                  </a:lnTo>
                  <a:lnTo>
                    <a:pt x="762" y="924"/>
                  </a:lnTo>
                  <a:lnTo>
                    <a:pt x="750" y="930"/>
                  </a:lnTo>
                  <a:lnTo>
                    <a:pt x="738" y="954"/>
                  </a:lnTo>
                  <a:lnTo>
                    <a:pt x="738" y="966"/>
                  </a:lnTo>
                  <a:lnTo>
                    <a:pt x="732" y="978"/>
                  </a:lnTo>
                  <a:lnTo>
                    <a:pt x="720" y="990"/>
                  </a:lnTo>
                  <a:lnTo>
                    <a:pt x="714" y="990"/>
                  </a:lnTo>
                  <a:lnTo>
                    <a:pt x="702" y="1002"/>
                  </a:lnTo>
                  <a:lnTo>
                    <a:pt x="702" y="1014"/>
                  </a:lnTo>
                  <a:lnTo>
                    <a:pt x="738" y="1008"/>
                  </a:lnTo>
                  <a:lnTo>
                    <a:pt x="786" y="1008"/>
                  </a:lnTo>
                  <a:lnTo>
                    <a:pt x="780" y="1014"/>
                  </a:lnTo>
                  <a:lnTo>
                    <a:pt x="768" y="1020"/>
                  </a:lnTo>
                  <a:lnTo>
                    <a:pt x="762" y="1032"/>
                  </a:lnTo>
                  <a:lnTo>
                    <a:pt x="762" y="1044"/>
                  </a:lnTo>
                  <a:lnTo>
                    <a:pt x="774" y="1050"/>
                  </a:lnTo>
                  <a:lnTo>
                    <a:pt x="780" y="1050"/>
                  </a:lnTo>
                  <a:lnTo>
                    <a:pt x="798" y="1044"/>
                  </a:lnTo>
                  <a:lnTo>
                    <a:pt x="810" y="1044"/>
                  </a:lnTo>
                  <a:lnTo>
                    <a:pt x="816" y="1038"/>
                  </a:lnTo>
                  <a:lnTo>
                    <a:pt x="828" y="1032"/>
                  </a:lnTo>
                  <a:lnTo>
                    <a:pt x="840" y="1038"/>
                  </a:lnTo>
                  <a:lnTo>
                    <a:pt x="870" y="1056"/>
                  </a:lnTo>
                  <a:lnTo>
                    <a:pt x="900" y="1068"/>
                  </a:lnTo>
                  <a:lnTo>
                    <a:pt x="924" y="1080"/>
                  </a:lnTo>
                  <a:lnTo>
                    <a:pt x="960" y="1086"/>
                  </a:lnTo>
                  <a:lnTo>
                    <a:pt x="1014" y="1092"/>
                  </a:lnTo>
                  <a:lnTo>
                    <a:pt x="1062" y="1092"/>
                  </a:lnTo>
                  <a:lnTo>
                    <a:pt x="1080" y="1110"/>
                  </a:lnTo>
                  <a:lnTo>
                    <a:pt x="1086" y="1122"/>
                  </a:lnTo>
                  <a:lnTo>
                    <a:pt x="1098" y="1128"/>
                  </a:lnTo>
                  <a:lnTo>
                    <a:pt x="1110" y="1140"/>
                  </a:lnTo>
                  <a:lnTo>
                    <a:pt x="1128" y="1146"/>
                  </a:lnTo>
                  <a:lnTo>
                    <a:pt x="1152" y="1152"/>
                  </a:lnTo>
                  <a:lnTo>
                    <a:pt x="1170" y="1152"/>
                  </a:lnTo>
                  <a:lnTo>
                    <a:pt x="1182" y="1158"/>
                  </a:lnTo>
                  <a:lnTo>
                    <a:pt x="1248" y="1158"/>
                  </a:lnTo>
                  <a:lnTo>
                    <a:pt x="1260" y="1164"/>
                  </a:lnTo>
                  <a:lnTo>
                    <a:pt x="1278" y="1170"/>
                  </a:lnTo>
                  <a:lnTo>
                    <a:pt x="1290" y="1182"/>
                  </a:lnTo>
                  <a:lnTo>
                    <a:pt x="1302" y="1188"/>
                  </a:lnTo>
                  <a:lnTo>
                    <a:pt x="1320" y="1206"/>
                  </a:lnTo>
                  <a:lnTo>
                    <a:pt x="1338" y="1206"/>
                  </a:lnTo>
                  <a:lnTo>
                    <a:pt x="1350" y="1200"/>
                  </a:lnTo>
                  <a:lnTo>
                    <a:pt x="1356" y="1206"/>
                  </a:lnTo>
                  <a:lnTo>
                    <a:pt x="1374" y="1206"/>
                  </a:lnTo>
                  <a:lnTo>
                    <a:pt x="1374" y="1194"/>
                  </a:lnTo>
                  <a:lnTo>
                    <a:pt x="1368" y="1182"/>
                  </a:lnTo>
                  <a:lnTo>
                    <a:pt x="1362" y="1176"/>
                  </a:lnTo>
                  <a:lnTo>
                    <a:pt x="1356" y="1164"/>
                  </a:lnTo>
                  <a:lnTo>
                    <a:pt x="1374" y="1146"/>
                  </a:lnTo>
                  <a:lnTo>
                    <a:pt x="1374" y="1128"/>
                  </a:lnTo>
                  <a:close/>
                  <a:moveTo>
                    <a:pt x="1500" y="726"/>
                  </a:moveTo>
                  <a:lnTo>
                    <a:pt x="1542" y="684"/>
                  </a:lnTo>
                  <a:lnTo>
                    <a:pt x="1548" y="672"/>
                  </a:lnTo>
                  <a:lnTo>
                    <a:pt x="1554" y="654"/>
                  </a:lnTo>
                  <a:lnTo>
                    <a:pt x="1560" y="642"/>
                  </a:lnTo>
                  <a:lnTo>
                    <a:pt x="1566" y="624"/>
                  </a:lnTo>
                  <a:lnTo>
                    <a:pt x="1566" y="612"/>
                  </a:lnTo>
                  <a:lnTo>
                    <a:pt x="1572" y="606"/>
                  </a:lnTo>
                  <a:lnTo>
                    <a:pt x="1572" y="600"/>
                  </a:lnTo>
                  <a:lnTo>
                    <a:pt x="1566" y="600"/>
                  </a:lnTo>
                  <a:lnTo>
                    <a:pt x="1554" y="594"/>
                  </a:lnTo>
                  <a:lnTo>
                    <a:pt x="1542" y="582"/>
                  </a:lnTo>
                  <a:lnTo>
                    <a:pt x="1542" y="564"/>
                  </a:lnTo>
                  <a:lnTo>
                    <a:pt x="1554" y="516"/>
                  </a:lnTo>
                  <a:lnTo>
                    <a:pt x="1590" y="498"/>
                  </a:lnTo>
                  <a:lnTo>
                    <a:pt x="1626" y="498"/>
                  </a:lnTo>
                  <a:lnTo>
                    <a:pt x="1632" y="486"/>
                  </a:lnTo>
                  <a:lnTo>
                    <a:pt x="1638" y="480"/>
                  </a:lnTo>
                  <a:lnTo>
                    <a:pt x="1644" y="468"/>
                  </a:lnTo>
                  <a:lnTo>
                    <a:pt x="1644" y="444"/>
                  </a:lnTo>
                  <a:lnTo>
                    <a:pt x="1626" y="444"/>
                  </a:lnTo>
                  <a:lnTo>
                    <a:pt x="1620" y="450"/>
                  </a:lnTo>
                  <a:lnTo>
                    <a:pt x="1608" y="450"/>
                  </a:lnTo>
                  <a:lnTo>
                    <a:pt x="1608" y="438"/>
                  </a:lnTo>
                  <a:lnTo>
                    <a:pt x="1614" y="420"/>
                  </a:lnTo>
                  <a:lnTo>
                    <a:pt x="1626" y="408"/>
                  </a:lnTo>
                  <a:lnTo>
                    <a:pt x="1650" y="396"/>
                  </a:lnTo>
                  <a:lnTo>
                    <a:pt x="1662" y="396"/>
                  </a:lnTo>
                  <a:lnTo>
                    <a:pt x="1680" y="402"/>
                  </a:lnTo>
                  <a:lnTo>
                    <a:pt x="1704" y="402"/>
                  </a:lnTo>
                  <a:lnTo>
                    <a:pt x="1716" y="390"/>
                  </a:lnTo>
                  <a:lnTo>
                    <a:pt x="1716" y="384"/>
                  </a:lnTo>
                  <a:lnTo>
                    <a:pt x="1680" y="348"/>
                  </a:lnTo>
                  <a:lnTo>
                    <a:pt x="1680" y="312"/>
                  </a:lnTo>
                  <a:lnTo>
                    <a:pt x="1668" y="312"/>
                  </a:lnTo>
                  <a:lnTo>
                    <a:pt x="1650" y="294"/>
                  </a:lnTo>
                  <a:lnTo>
                    <a:pt x="1650" y="282"/>
                  </a:lnTo>
                  <a:lnTo>
                    <a:pt x="1662" y="270"/>
                  </a:lnTo>
                  <a:lnTo>
                    <a:pt x="1668" y="258"/>
                  </a:lnTo>
                  <a:lnTo>
                    <a:pt x="1668" y="246"/>
                  </a:lnTo>
                  <a:lnTo>
                    <a:pt x="1662" y="240"/>
                  </a:lnTo>
                  <a:lnTo>
                    <a:pt x="1638" y="228"/>
                  </a:lnTo>
                  <a:lnTo>
                    <a:pt x="1614" y="228"/>
                  </a:lnTo>
                  <a:lnTo>
                    <a:pt x="1632" y="198"/>
                  </a:lnTo>
                  <a:lnTo>
                    <a:pt x="1614" y="192"/>
                  </a:lnTo>
                  <a:lnTo>
                    <a:pt x="1620" y="162"/>
                  </a:lnTo>
                  <a:lnTo>
                    <a:pt x="1608" y="144"/>
                  </a:lnTo>
                  <a:lnTo>
                    <a:pt x="1602" y="138"/>
                  </a:lnTo>
                  <a:lnTo>
                    <a:pt x="1590" y="132"/>
                  </a:lnTo>
                  <a:lnTo>
                    <a:pt x="1566" y="108"/>
                  </a:lnTo>
                  <a:lnTo>
                    <a:pt x="1470" y="108"/>
                  </a:lnTo>
                  <a:lnTo>
                    <a:pt x="1464" y="114"/>
                  </a:lnTo>
                  <a:lnTo>
                    <a:pt x="1458" y="126"/>
                  </a:lnTo>
                  <a:lnTo>
                    <a:pt x="1458" y="180"/>
                  </a:lnTo>
                  <a:lnTo>
                    <a:pt x="1452" y="198"/>
                  </a:lnTo>
                  <a:lnTo>
                    <a:pt x="1452" y="204"/>
                  </a:lnTo>
                  <a:lnTo>
                    <a:pt x="1446" y="216"/>
                  </a:lnTo>
                  <a:lnTo>
                    <a:pt x="1428" y="216"/>
                  </a:lnTo>
                  <a:lnTo>
                    <a:pt x="1422" y="222"/>
                  </a:lnTo>
                  <a:lnTo>
                    <a:pt x="1422" y="246"/>
                  </a:lnTo>
                  <a:lnTo>
                    <a:pt x="1428" y="252"/>
                  </a:lnTo>
                  <a:lnTo>
                    <a:pt x="1434" y="264"/>
                  </a:lnTo>
                  <a:lnTo>
                    <a:pt x="1398" y="294"/>
                  </a:lnTo>
                  <a:lnTo>
                    <a:pt x="1404" y="306"/>
                  </a:lnTo>
                  <a:lnTo>
                    <a:pt x="1374" y="342"/>
                  </a:lnTo>
                  <a:lnTo>
                    <a:pt x="1350" y="342"/>
                  </a:lnTo>
                  <a:lnTo>
                    <a:pt x="1344" y="348"/>
                  </a:lnTo>
                  <a:lnTo>
                    <a:pt x="1332" y="354"/>
                  </a:lnTo>
                  <a:lnTo>
                    <a:pt x="1320" y="366"/>
                  </a:lnTo>
                  <a:lnTo>
                    <a:pt x="1314" y="366"/>
                  </a:lnTo>
                  <a:lnTo>
                    <a:pt x="1308" y="360"/>
                  </a:lnTo>
                  <a:lnTo>
                    <a:pt x="1284" y="348"/>
                  </a:lnTo>
                  <a:lnTo>
                    <a:pt x="1272" y="336"/>
                  </a:lnTo>
                  <a:lnTo>
                    <a:pt x="1230" y="336"/>
                  </a:lnTo>
                  <a:lnTo>
                    <a:pt x="1224" y="348"/>
                  </a:lnTo>
                  <a:lnTo>
                    <a:pt x="1194" y="378"/>
                  </a:lnTo>
                  <a:lnTo>
                    <a:pt x="1170" y="378"/>
                  </a:lnTo>
                  <a:lnTo>
                    <a:pt x="1152" y="372"/>
                  </a:lnTo>
                  <a:lnTo>
                    <a:pt x="1128" y="372"/>
                  </a:lnTo>
                  <a:lnTo>
                    <a:pt x="1110" y="390"/>
                  </a:lnTo>
                  <a:lnTo>
                    <a:pt x="1104" y="390"/>
                  </a:lnTo>
                  <a:lnTo>
                    <a:pt x="1080" y="378"/>
                  </a:lnTo>
                  <a:lnTo>
                    <a:pt x="1074" y="372"/>
                  </a:lnTo>
                  <a:lnTo>
                    <a:pt x="1062" y="366"/>
                  </a:lnTo>
                  <a:lnTo>
                    <a:pt x="1050" y="354"/>
                  </a:lnTo>
                  <a:lnTo>
                    <a:pt x="1050" y="342"/>
                  </a:lnTo>
                  <a:lnTo>
                    <a:pt x="1044" y="336"/>
                  </a:lnTo>
                  <a:lnTo>
                    <a:pt x="1032" y="330"/>
                  </a:lnTo>
                  <a:lnTo>
                    <a:pt x="1008" y="330"/>
                  </a:lnTo>
                  <a:lnTo>
                    <a:pt x="996" y="336"/>
                  </a:lnTo>
                  <a:lnTo>
                    <a:pt x="990" y="348"/>
                  </a:lnTo>
                  <a:lnTo>
                    <a:pt x="978" y="366"/>
                  </a:lnTo>
                  <a:lnTo>
                    <a:pt x="972" y="384"/>
                  </a:lnTo>
                  <a:lnTo>
                    <a:pt x="972" y="402"/>
                  </a:lnTo>
                  <a:lnTo>
                    <a:pt x="966" y="408"/>
                  </a:lnTo>
                  <a:lnTo>
                    <a:pt x="966" y="414"/>
                  </a:lnTo>
                  <a:lnTo>
                    <a:pt x="990" y="444"/>
                  </a:lnTo>
                  <a:lnTo>
                    <a:pt x="1002" y="498"/>
                  </a:lnTo>
                  <a:lnTo>
                    <a:pt x="1050" y="528"/>
                  </a:lnTo>
                  <a:lnTo>
                    <a:pt x="1038" y="564"/>
                  </a:lnTo>
                  <a:lnTo>
                    <a:pt x="1068" y="582"/>
                  </a:lnTo>
                  <a:lnTo>
                    <a:pt x="1050" y="606"/>
                  </a:lnTo>
                  <a:lnTo>
                    <a:pt x="1068" y="636"/>
                  </a:lnTo>
                  <a:lnTo>
                    <a:pt x="1056" y="648"/>
                  </a:lnTo>
                  <a:lnTo>
                    <a:pt x="1068" y="702"/>
                  </a:lnTo>
                  <a:lnTo>
                    <a:pt x="1110" y="696"/>
                  </a:lnTo>
                  <a:lnTo>
                    <a:pt x="1140" y="708"/>
                  </a:lnTo>
                  <a:lnTo>
                    <a:pt x="1146" y="696"/>
                  </a:lnTo>
                  <a:lnTo>
                    <a:pt x="1170" y="672"/>
                  </a:lnTo>
                  <a:lnTo>
                    <a:pt x="1182" y="672"/>
                  </a:lnTo>
                  <a:lnTo>
                    <a:pt x="1182" y="690"/>
                  </a:lnTo>
                  <a:lnTo>
                    <a:pt x="1188" y="702"/>
                  </a:lnTo>
                  <a:lnTo>
                    <a:pt x="1188" y="726"/>
                  </a:lnTo>
                  <a:lnTo>
                    <a:pt x="1194" y="738"/>
                  </a:lnTo>
                  <a:lnTo>
                    <a:pt x="1212" y="738"/>
                  </a:lnTo>
                  <a:lnTo>
                    <a:pt x="1218" y="726"/>
                  </a:lnTo>
                  <a:lnTo>
                    <a:pt x="1218" y="720"/>
                  </a:lnTo>
                  <a:lnTo>
                    <a:pt x="1224" y="714"/>
                  </a:lnTo>
                  <a:lnTo>
                    <a:pt x="1224" y="708"/>
                  </a:lnTo>
                  <a:lnTo>
                    <a:pt x="1254" y="726"/>
                  </a:lnTo>
                  <a:lnTo>
                    <a:pt x="1266" y="720"/>
                  </a:lnTo>
                  <a:lnTo>
                    <a:pt x="1272" y="708"/>
                  </a:lnTo>
                  <a:lnTo>
                    <a:pt x="1284" y="702"/>
                  </a:lnTo>
                  <a:lnTo>
                    <a:pt x="1296" y="702"/>
                  </a:lnTo>
                  <a:lnTo>
                    <a:pt x="1296" y="714"/>
                  </a:lnTo>
                  <a:lnTo>
                    <a:pt x="1302" y="720"/>
                  </a:lnTo>
                  <a:lnTo>
                    <a:pt x="1302" y="738"/>
                  </a:lnTo>
                  <a:lnTo>
                    <a:pt x="1308" y="744"/>
                  </a:lnTo>
                  <a:lnTo>
                    <a:pt x="1332" y="744"/>
                  </a:lnTo>
                  <a:lnTo>
                    <a:pt x="1350" y="738"/>
                  </a:lnTo>
                  <a:lnTo>
                    <a:pt x="1362" y="732"/>
                  </a:lnTo>
                  <a:lnTo>
                    <a:pt x="1392" y="732"/>
                  </a:lnTo>
                  <a:lnTo>
                    <a:pt x="1404" y="744"/>
                  </a:lnTo>
                  <a:lnTo>
                    <a:pt x="1404" y="786"/>
                  </a:lnTo>
                  <a:lnTo>
                    <a:pt x="1398" y="798"/>
                  </a:lnTo>
                  <a:lnTo>
                    <a:pt x="1398" y="810"/>
                  </a:lnTo>
                  <a:lnTo>
                    <a:pt x="1404" y="810"/>
                  </a:lnTo>
                  <a:lnTo>
                    <a:pt x="1410" y="804"/>
                  </a:lnTo>
                  <a:lnTo>
                    <a:pt x="1422" y="798"/>
                  </a:lnTo>
                  <a:lnTo>
                    <a:pt x="1440" y="792"/>
                  </a:lnTo>
                  <a:lnTo>
                    <a:pt x="1452" y="786"/>
                  </a:lnTo>
                  <a:lnTo>
                    <a:pt x="1476" y="762"/>
                  </a:lnTo>
                  <a:lnTo>
                    <a:pt x="1482" y="750"/>
                  </a:lnTo>
                  <a:lnTo>
                    <a:pt x="1500" y="732"/>
                  </a:lnTo>
                  <a:lnTo>
                    <a:pt x="1500" y="726"/>
                  </a:lnTo>
                  <a:close/>
                  <a:moveTo>
                    <a:pt x="1476" y="1116"/>
                  </a:moveTo>
                  <a:lnTo>
                    <a:pt x="1470" y="1116"/>
                  </a:lnTo>
                  <a:lnTo>
                    <a:pt x="1458" y="1122"/>
                  </a:lnTo>
                  <a:lnTo>
                    <a:pt x="1452" y="1128"/>
                  </a:lnTo>
                  <a:lnTo>
                    <a:pt x="1458" y="1134"/>
                  </a:lnTo>
                  <a:lnTo>
                    <a:pt x="1470" y="1140"/>
                  </a:lnTo>
                  <a:lnTo>
                    <a:pt x="1476" y="1140"/>
                  </a:lnTo>
                  <a:lnTo>
                    <a:pt x="1488" y="1146"/>
                  </a:lnTo>
                  <a:lnTo>
                    <a:pt x="1500" y="1134"/>
                  </a:lnTo>
                  <a:lnTo>
                    <a:pt x="1500" y="1128"/>
                  </a:lnTo>
                  <a:lnTo>
                    <a:pt x="1488" y="1116"/>
                  </a:lnTo>
                  <a:lnTo>
                    <a:pt x="1476" y="1116"/>
                  </a:lnTo>
                  <a:close/>
                  <a:moveTo>
                    <a:pt x="1716" y="1230"/>
                  </a:moveTo>
                  <a:lnTo>
                    <a:pt x="1680" y="1218"/>
                  </a:lnTo>
                  <a:lnTo>
                    <a:pt x="1674" y="1224"/>
                  </a:lnTo>
                  <a:lnTo>
                    <a:pt x="1674" y="1230"/>
                  </a:lnTo>
                  <a:lnTo>
                    <a:pt x="1686" y="1254"/>
                  </a:lnTo>
                  <a:lnTo>
                    <a:pt x="1692" y="1260"/>
                  </a:lnTo>
                  <a:lnTo>
                    <a:pt x="1704" y="1266"/>
                  </a:lnTo>
                  <a:lnTo>
                    <a:pt x="1716" y="1266"/>
                  </a:lnTo>
                  <a:lnTo>
                    <a:pt x="1722" y="1260"/>
                  </a:lnTo>
                  <a:lnTo>
                    <a:pt x="1740" y="1260"/>
                  </a:lnTo>
                  <a:lnTo>
                    <a:pt x="1746" y="1266"/>
                  </a:lnTo>
                  <a:lnTo>
                    <a:pt x="1746" y="1278"/>
                  </a:lnTo>
                  <a:lnTo>
                    <a:pt x="1752" y="1290"/>
                  </a:lnTo>
                  <a:lnTo>
                    <a:pt x="1764" y="1296"/>
                  </a:lnTo>
                  <a:lnTo>
                    <a:pt x="1788" y="1296"/>
                  </a:lnTo>
                  <a:lnTo>
                    <a:pt x="1794" y="1290"/>
                  </a:lnTo>
                  <a:lnTo>
                    <a:pt x="1800" y="1290"/>
                  </a:lnTo>
                  <a:lnTo>
                    <a:pt x="1800" y="1284"/>
                  </a:lnTo>
                  <a:lnTo>
                    <a:pt x="1794" y="1272"/>
                  </a:lnTo>
                  <a:lnTo>
                    <a:pt x="1782" y="1260"/>
                  </a:lnTo>
                  <a:lnTo>
                    <a:pt x="1770" y="1236"/>
                  </a:lnTo>
                  <a:lnTo>
                    <a:pt x="1746" y="1224"/>
                  </a:lnTo>
                  <a:lnTo>
                    <a:pt x="1728" y="1224"/>
                  </a:lnTo>
                  <a:lnTo>
                    <a:pt x="1716" y="1230"/>
                  </a:lnTo>
                  <a:close/>
                  <a:moveTo>
                    <a:pt x="1962" y="1122"/>
                  </a:moveTo>
                  <a:lnTo>
                    <a:pt x="1932" y="1146"/>
                  </a:lnTo>
                  <a:lnTo>
                    <a:pt x="1920" y="1134"/>
                  </a:lnTo>
                  <a:lnTo>
                    <a:pt x="1890" y="1134"/>
                  </a:lnTo>
                  <a:lnTo>
                    <a:pt x="1884" y="1140"/>
                  </a:lnTo>
                  <a:lnTo>
                    <a:pt x="1872" y="1146"/>
                  </a:lnTo>
                  <a:lnTo>
                    <a:pt x="1866" y="1152"/>
                  </a:lnTo>
                  <a:lnTo>
                    <a:pt x="1860" y="1140"/>
                  </a:lnTo>
                  <a:lnTo>
                    <a:pt x="1836" y="1116"/>
                  </a:lnTo>
                  <a:lnTo>
                    <a:pt x="1824" y="1116"/>
                  </a:lnTo>
                  <a:lnTo>
                    <a:pt x="1800" y="1128"/>
                  </a:lnTo>
                  <a:lnTo>
                    <a:pt x="1764" y="1164"/>
                  </a:lnTo>
                  <a:lnTo>
                    <a:pt x="1728" y="1158"/>
                  </a:lnTo>
                  <a:lnTo>
                    <a:pt x="1716" y="1176"/>
                  </a:lnTo>
                  <a:lnTo>
                    <a:pt x="1746" y="1176"/>
                  </a:lnTo>
                  <a:lnTo>
                    <a:pt x="1752" y="1182"/>
                  </a:lnTo>
                  <a:lnTo>
                    <a:pt x="1764" y="1182"/>
                  </a:lnTo>
                  <a:lnTo>
                    <a:pt x="1776" y="1188"/>
                  </a:lnTo>
                  <a:lnTo>
                    <a:pt x="1788" y="1188"/>
                  </a:lnTo>
                  <a:lnTo>
                    <a:pt x="1794" y="1182"/>
                  </a:lnTo>
                  <a:lnTo>
                    <a:pt x="1806" y="1176"/>
                  </a:lnTo>
                  <a:lnTo>
                    <a:pt x="1812" y="1170"/>
                  </a:lnTo>
                  <a:lnTo>
                    <a:pt x="1908" y="1164"/>
                  </a:lnTo>
                  <a:lnTo>
                    <a:pt x="1956" y="1158"/>
                  </a:lnTo>
                  <a:lnTo>
                    <a:pt x="1992" y="1128"/>
                  </a:lnTo>
                  <a:lnTo>
                    <a:pt x="1992" y="1110"/>
                  </a:lnTo>
                  <a:lnTo>
                    <a:pt x="1962" y="1122"/>
                  </a:lnTo>
                  <a:close/>
                  <a:moveTo>
                    <a:pt x="1578" y="1158"/>
                  </a:moveTo>
                  <a:lnTo>
                    <a:pt x="1566" y="1152"/>
                  </a:lnTo>
                  <a:lnTo>
                    <a:pt x="1560" y="1146"/>
                  </a:lnTo>
                  <a:lnTo>
                    <a:pt x="1548" y="1140"/>
                  </a:lnTo>
                  <a:lnTo>
                    <a:pt x="1536" y="1140"/>
                  </a:lnTo>
                  <a:lnTo>
                    <a:pt x="1512" y="1164"/>
                  </a:lnTo>
                  <a:lnTo>
                    <a:pt x="1506" y="1176"/>
                  </a:lnTo>
                  <a:lnTo>
                    <a:pt x="1500" y="1182"/>
                  </a:lnTo>
                  <a:lnTo>
                    <a:pt x="1554" y="1188"/>
                  </a:lnTo>
                  <a:lnTo>
                    <a:pt x="1554" y="1212"/>
                  </a:lnTo>
                  <a:lnTo>
                    <a:pt x="1578" y="1206"/>
                  </a:lnTo>
                  <a:lnTo>
                    <a:pt x="1590" y="1188"/>
                  </a:lnTo>
                  <a:lnTo>
                    <a:pt x="1614" y="1206"/>
                  </a:lnTo>
                  <a:lnTo>
                    <a:pt x="1644" y="1170"/>
                  </a:lnTo>
                  <a:lnTo>
                    <a:pt x="1596" y="1152"/>
                  </a:lnTo>
                  <a:lnTo>
                    <a:pt x="1578" y="1158"/>
                  </a:lnTo>
                  <a:close/>
                </a:path>
              </a:pathLst>
            </a:custGeom>
            <a:solidFill>
              <a:schemeClr val="accent2"/>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48" name="Indien" descr="© INSCALE GmbH, 05.05.2010&#10;http://www.presentationload.com/">
              <a:extLst>
                <a:ext uri="{FF2B5EF4-FFF2-40B4-BE49-F238E27FC236}">
                  <a16:creationId xmlns:a16="http://schemas.microsoft.com/office/drawing/2014/main" id="{1362E676-1796-4528-BC0B-21952175CF69}"/>
                </a:ext>
              </a:extLst>
            </p:cNvPr>
            <p:cNvSpPr>
              <a:spLocks noEditPoints="1"/>
            </p:cNvSpPr>
            <p:nvPr/>
          </p:nvSpPr>
          <p:spPr bwMode="gray">
            <a:xfrm>
              <a:off x="6025098" y="3098564"/>
              <a:ext cx="776171" cy="937678"/>
            </a:xfrm>
            <a:custGeom>
              <a:avLst/>
              <a:gdLst>
                <a:gd name="T0" fmla="*/ 2147483647 w 1956"/>
                <a:gd name="T1" fmla="*/ 2147483647 h 2358"/>
                <a:gd name="T2" fmla="*/ 2147483647 w 1956"/>
                <a:gd name="T3" fmla="*/ 2147483647 h 2358"/>
                <a:gd name="T4" fmla="*/ 2147483647 w 1956"/>
                <a:gd name="T5" fmla="*/ 2147483647 h 2358"/>
                <a:gd name="T6" fmla="*/ 2147483647 w 1956"/>
                <a:gd name="T7" fmla="*/ 2147483647 h 2358"/>
                <a:gd name="T8" fmla="*/ 2147483647 w 1956"/>
                <a:gd name="T9" fmla="*/ 2147483647 h 2358"/>
                <a:gd name="T10" fmla="*/ 2147483647 w 1956"/>
                <a:gd name="T11" fmla="*/ 2147483647 h 2358"/>
                <a:gd name="T12" fmla="*/ 2147483647 w 1956"/>
                <a:gd name="T13" fmla="*/ 2147483647 h 2358"/>
                <a:gd name="T14" fmla="*/ 2147483647 w 1956"/>
                <a:gd name="T15" fmla="*/ 2147483647 h 2358"/>
                <a:gd name="T16" fmla="*/ 2147483647 w 1956"/>
                <a:gd name="T17" fmla="*/ 2147483647 h 2358"/>
                <a:gd name="T18" fmla="*/ 2147483647 w 1956"/>
                <a:gd name="T19" fmla="*/ 2147483647 h 2358"/>
                <a:gd name="T20" fmla="*/ 2147483647 w 1956"/>
                <a:gd name="T21" fmla="*/ 2147483647 h 2358"/>
                <a:gd name="T22" fmla="*/ 2147483647 w 1956"/>
                <a:gd name="T23" fmla="*/ 2147483647 h 2358"/>
                <a:gd name="T24" fmla="*/ 2147483647 w 1956"/>
                <a:gd name="T25" fmla="*/ 2147483647 h 2358"/>
                <a:gd name="T26" fmla="*/ 2147483647 w 1956"/>
                <a:gd name="T27" fmla="*/ 2147483647 h 2358"/>
                <a:gd name="T28" fmla="*/ 2147483647 w 1956"/>
                <a:gd name="T29" fmla="*/ 2147483647 h 2358"/>
                <a:gd name="T30" fmla="*/ 2147483647 w 1956"/>
                <a:gd name="T31" fmla="*/ 2147483647 h 2358"/>
                <a:gd name="T32" fmla="*/ 2147483647 w 1956"/>
                <a:gd name="T33" fmla="*/ 2147483647 h 2358"/>
                <a:gd name="T34" fmla="*/ 2147483647 w 1956"/>
                <a:gd name="T35" fmla="*/ 2147483647 h 2358"/>
                <a:gd name="T36" fmla="*/ 2147483647 w 1956"/>
                <a:gd name="T37" fmla="*/ 2147483647 h 2358"/>
                <a:gd name="T38" fmla="*/ 2147483647 w 1956"/>
                <a:gd name="T39" fmla="*/ 2147483647 h 2358"/>
                <a:gd name="T40" fmla="*/ 2147483647 w 1956"/>
                <a:gd name="T41" fmla="*/ 2147483647 h 2358"/>
                <a:gd name="T42" fmla="*/ 2147483647 w 1956"/>
                <a:gd name="T43" fmla="*/ 2147483647 h 2358"/>
                <a:gd name="T44" fmla="*/ 2147483647 w 1956"/>
                <a:gd name="T45" fmla="*/ 2147483647 h 2358"/>
                <a:gd name="T46" fmla="*/ 2147483647 w 1956"/>
                <a:gd name="T47" fmla="*/ 2147483647 h 2358"/>
                <a:gd name="T48" fmla="*/ 2147483647 w 1956"/>
                <a:gd name="T49" fmla="*/ 2147483647 h 2358"/>
                <a:gd name="T50" fmla="*/ 2147483647 w 1956"/>
                <a:gd name="T51" fmla="*/ 2147483647 h 2358"/>
                <a:gd name="T52" fmla="*/ 2147483647 w 1956"/>
                <a:gd name="T53" fmla="*/ 2147483647 h 2358"/>
                <a:gd name="T54" fmla="*/ 2147483647 w 1956"/>
                <a:gd name="T55" fmla="*/ 2147483647 h 2358"/>
                <a:gd name="T56" fmla="*/ 2147483647 w 1956"/>
                <a:gd name="T57" fmla="*/ 2147483647 h 2358"/>
                <a:gd name="T58" fmla="*/ 2147483647 w 1956"/>
                <a:gd name="T59" fmla="*/ 2147483647 h 2358"/>
                <a:gd name="T60" fmla="*/ 2147483647 w 1956"/>
                <a:gd name="T61" fmla="*/ 2147483647 h 2358"/>
                <a:gd name="T62" fmla="*/ 2147483647 w 1956"/>
                <a:gd name="T63" fmla="*/ 2147483647 h 2358"/>
                <a:gd name="T64" fmla="*/ 2147483647 w 1956"/>
                <a:gd name="T65" fmla="*/ 2147483647 h 2358"/>
                <a:gd name="T66" fmla="*/ 2147483647 w 1956"/>
                <a:gd name="T67" fmla="*/ 2147483647 h 2358"/>
                <a:gd name="T68" fmla="*/ 2147483647 w 1956"/>
                <a:gd name="T69" fmla="*/ 2147483647 h 2358"/>
                <a:gd name="T70" fmla="*/ 2147483647 w 1956"/>
                <a:gd name="T71" fmla="*/ 2147483647 h 2358"/>
                <a:gd name="T72" fmla="*/ 2147483647 w 1956"/>
                <a:gd name="T73" fmla="*/ 2147483647 h 2358"/>
                <a:gd name="T74" fmla="*/ 2147483647 w 1956"/>
                <a:gd name="T75" fmla="*/ 2147483647 h 2358"/>
                <a:gd name="T76" fmla="*/ 2147483647 w 1956"/>
                <a:gd name="T77" fmla="*/ 2147483647 h 2358"/>
                <a:gd name="T78" fmla="*/ 2147483647 w 1956"/>
                <a:gd name="T79" fmla="*/ 2147483647 h 2358"/>
                <a:gd name="T80" fmla="*/ 2147483647 w 1956"/>
                <a:gd name="T81" fmla="*/ 2147483647 h 2358"/>
                <a:gd name="T82" fmla="*/ 2147483647 w 1956"/>
                <a:gd name="T83" fmla="*/ 2147483647 h 2358"/>
                <a:gd name="T84" fmla="*/ 2147483647 w 1956"/>
                <a:gd name="T85" fmla="*/ 2147483647 h 2358"/>
                <a:gd name="T86" fmla="*/ 2147483647 w 1956"/>
                <a:gd name="T87" fmla="*/ 2147483647 h 2358"/>
                <a:gd name="T88" fmla="*/ 2147483647 w 1956"/>
                <a:gd name="T89" fmla="*/ 2147483647 h 2358"/>
                <a:gd name="T90" fmla="*/ 2147483647 w 1956"/>
                <a:gd name="T91" fmla="*/ 2147483647 h 2358"/>
                <a:gd name="T92" fmla="*/ 2147483647 w 1956"/>
                <a:gd name="T93" fmla="*/ 2147483647 h 2358"/>
                <a:gd name="T94" fmla="*/ 2147483647 w 1956"/>
                <a:gd name="T95" fmla="*/ 2147483647 h 2358"/>
                <a:gd name="T96" fmla="*/ 2147483647 w 1956"/>
                <a:gd name="T97" fmla="*/ 2147483647 h 2358"/>
                <a:gd name="T98" fmla="*/ 2147483647 w 1956"/>
                <a:gd name="T99" fmla="*/ 2147483647 h 2358"/>
                <a:gd name="T100" fmla="*/ 2147483647 w 1956"/>
                <a:gd name="T101" fmla="*/ 2147483647 h 2358"/>
                <a:gd name="T102" fmla="*/ 2147483647 w 1956"/>
                <a:gd name="T103" fmla="*/ 2147483647 h 2358"/>
                <a:gd name="T104" fmla="*/ 2147483647 w 1956"/>
                <a:gd name="T105" fmla="*/ 2147483647 h 2358"/>
                <a:gd name="T106" fmla="*/ 2147483647 w 1956"/>
                <a:gd name="T107" fmla="*/ 2147483647 h 2358"/>
                <a:gd name="T108" fmla="*/ 2147483647 w 1956"/>
                <a:gd name="T109" fmla="*/ 2147483647 h 2358"/>
                <a:gd name="T110" fmla="*/ 2147483647 w 1956"/>
                <a:gd name="T111" fmla="*/ 2147483647 h 2358"/>
                <a:gd name="T112" fmla="*/ 2147483647 w 1956"/>
                <a:gd name="T113" fmla="*/ 2147483647 h 2358"/>
                <a:gd name="T114" fmla="*/ 2147483647 w 1956"/>
                <a:gd name="T115" fmla="*/ 2147483647 h 2358"/>
                <a:gd name="T116" fmla="*/ 2147483647 w 1956"/>
                <a:gd name="T117" fmla="*/ 2147483647 h 2358"/>
                <a:gd name="T118" fmla="*/ 2147483647 w 1956"/>
                <a:gd name="T119" fmla="*/ 2147483647 h 235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56"/>
                <a:gd name="T181" fmla="*/ 0 h 2358"/>
                <a:gd name="T182" fmla="*/ 1956 w 1956"/>
                <a:gd name="T183" fmla="*/ 2358 h 235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56" h="2358">
                  <a:moveTo>
                    <a:pt x="1806" y="1788"/>
                  </a:moveTo>
                  <a:lnTo>
                    <a:pt x="1794" y="1800"/>
                  </a:lnTo>
                  <a:lnTo>
                    <a:pt x="1782" y="1824"/>
                  </a:lnTo>
                  <a:lnTo>
                    <a:pt x="1782" y="1884"/>
                  </a:lnTo>
                  <a:lnTo>
                    <a:pt x="1788" y="1980"/>
                  </a:lnTo>
                  <a:lnTo>
                    <a:pt x="1800" y="1950"/>
                  </a:lnTo>
                  <a:lnTo>
                    <a:pt x="1800" y="1848"/>
                  </a:lnTo>
                  <a:lnTo>
                    <a:pt x="1806" y="1836"/>
                  </a:lnTo>
                  <a:lnTo>
                    <a:pt x="1806" y="1830"/>
                  </a:lnTo>
                  <a:lnTo>
                    <a:pt x="1812" y="1818"/>
                  </a:lnTo>
                  <a:lnTo>
                    <a:pt x="1812" y="1806"/>
                  </a:lnTo>
                  <a:lnTo>
                    <a:pt x="1818" y="1800"/>
                  </a:lnTo>
                  <a:lnTo>
                    <a:pt x="1812" y="1788"/>
                  </a:lnTo>
                  <a:lnTo>
                    <a:pt x="1806" y="1788"/>
                  </a:lnTo>
                  <a:close/>
                  <a:moveTo>
                    <a:pt x="1794" y="2028"/>
                  </a:moveTo>
                  <a:lnTo>
                    <a:pt x="1788" y="2028"/>
                  </a:lnTo>
                  <a:lnTo>
                    <a:pt x="1782" y="2040"/>
                  </a:lnTo>
                  <a:lnTo>
                    <a:pt x="1782" y="2046"/>
                  </a:lnTo>
                  <a:lnTo>
                    <a:pt x="1788" y="2058"/>
                  </a:lnTo>
                  <a:lnTo>
                    <a:pt x="1788" y="2064"/>
                  </a:lnTo>
                  <a:lnTo>
                    <a:pt x="1794" y="2076"/>
                  </a:lnTo>
                  <a:lnTo>
                    <a:pt x="1800" y="2064"/>
                  </a:lnTo>
                  <a:lnTo>
                    <a:pt x="1800" y="2028"/>
                  </a:lnTo>
                  <a:lnTo>
                    <a:pt x="1794" y="2028"/>
                  </a:lnTo>
                  <a:close/>
                  <a:moveTo>
                    <a:pt x="1890" y="2310"/>
                  </a:moveTo>
                  <a:lnTo>
                    <a:pt x="1884" y="2316"/>
                  </a:lnTo>
                  <a:lnTo>
                    <a:pt x="1884" y="2334"/>
                  </a:lnTo>
                  <a:lnTo>
                    <a:pt x="1890" y="2346"/>
                  </a:lnTo>
                  <a:lnTo>
                    <a:pt x="1896" y="2352"/>
                  </a:lnTo>
                  <a:lnTo>
                    <a:pt x="1908" y="2358"/>
                  </a:lnTo>
                  <a:lnTo>
                    <a:pt x="1908" y="2346"/>
                  </a:lnTo>
                  <a:lnTo>
                    <a:pt x="1902" y="2334"/>
                  </a:lnTo>
                  <a:lnTo>
                    <a:pt x="1902" y="2322"/>
                  </a:lnTo>
                  <a:lnTo>
                    <a:pt x="1896" y="2310"/>
                  </a:lnTo>
                  <a:lnTo>
                    <a:pt x="1890" y="2310"/>
                  </a:lnTo>
                  <a:close/>
                  <a:moveTo>
                    <a:pt x="1920" y="672"/>
                  </a:moveTo>
                  <a:lnTo>
                    <a:pt x="1932" y="660"/>
                  </a:lnTo>
                  <a:lnTo>
                    <a:pt x="1944" y="654"/>
                  </a:lnTo>
                  <a:lnTo>
                    <a:pt x="1950" y="648"/>
                  </a:lnTo>
                  <a:lnTo>
                    <a:pt x="1956" y="648"/>
                  </a:lnTo>
                  <a:lnTo>
                    <a:pt x="1956" y="618"/>
                  </a:lnTo>
                  <a:lnTo>
                    <a:pt x="1950" y="618"/>
                  </a:lnTo>
                  <a:lnTo>
                    <a:pt x="1944" y="612"/>
                  </a:lnTo>
                  <a:lnTo>
                    <a:pt x="1878" y="612"/>
                  </a:lnTo>
                  <a:lnTo>
                    <a:pt x="1878" y="606"/>
                  </a:lnTo>
                  <a:lnTo>
                    <a:pt x="1890" y="594"/>
                  </a:lnTo>
                  <a:lnTo>
                    <a:pt x="1896" y="594"/>
                  </a:lnTo>
                  <a:lnTo>
                    <a:pt x="1878" y="564"/>
                  </a:lnTo>
                  <a:lnTo>
                    <a:pt x="1848" y="564"/>
                  </a:lnTo>
                  <a:lnTo>
                    <a:pt x="1842" y="558"/>
                  </a:lnTo>
                  <a:lnTo>
                    <a:pt x="1848" y="558"/>
                  </a:lnTo>
                  <a:lnTo>
                    <a:pt x="1860" y="546"/>
                  </a:lnTo>
                  <a:lnTo>
                    <a:pt x="1854" y="540"/>
                  </a:lnTo>
                  <a:lnTo>
                    <a:pt x="1818" y="522"/>
                  </a:lnTo>
                  <a:lnTo>
                    <a:pt x="1806" y="534"/>
                  </a:lnTo>
                  <a:lnTo>
                    <a:pt x="1806" y="558"/>
                  </a:lnTo>
                  <a:lnTo>
                    <a:pt x="1788" y="558"/>
                  </a:lnTo>
                  <a:lnTo>
                    <a:pt x="1770" y="546"/>
                  </a:lnTo>
                  <a:lnTo>
                    <a:pt x="1758" y="540"/>
                  </a:lnTo>
                  <a:lnTo>
                    <a:pt x="1740" y="540"/>
                  </a:lnTo>
                  <a:lnTo>
                    <a:pt x="1728" y="552"/>
                  </a:lnTo>
                  <a:lnTo>
                    <a:pt x="1716" y="558"/>
                  </a:lnTo>
                  <a:lnTo>
                    <a:pt x="1692" y="582"/>
                  </a:lnTo>
                  <a:lnTo>
                    <a:pt x="1656" y="582"/>
                  </a:lnTo>
                  <a:lnTo>
                    <a:pt x="1656" y="588"/>
                  </a:lnTo>
                  <a:lnTo>
                    <a:pt x="1662" y="594"/>
                  </a:lnTo>
                  <a:lnTo>
                    <a:pt x="1662" y="618"/>
                  </a:lnTo>
                  <a:lnTo>
                    <a:pt x="1656" y="624"/>
                  </a:lnTo>
                  <a:lnTo>
                    <a:pt x="1626" y="624"/>
                  </a:lnTo>
                  <a:lnTo>
                    <a:pt x="1632" y="636"/>
                  </a:lnTo>
                  <a:lnTo>
                    <a:pt x="1632" y="654"/>
                  </a:lnTo>
                  <a:lnTo>
                    <a:pt x="1620" y="666"/>
                  </a:lnTo>
                  <a:lnTo>
                    <a:pt x="1566" y="666"/>
                  </a:lnTo>
                  <a:lnTo>
                    <a:pt x="1566" y="684"/>
                  </a:lnTo>
                  <a:lnTo>
                    <a:pt x="1572" y="690"/>
                  </a:lnTo>
                  <a:lnTo>
                    <a:pt x="1596" y="690"/>
                  </a:lnTo>
                  <a:lnTo>
                    <a:pt x="1596" y="714"/>
                  </a:lnTo>
                  <a:lnTo>
                    <a:pt x="1608" y="726"/>
                  </a:lnTo>
                  <a:lnTo>
                    <a:pt x="1608" y="732"/>
                  </a:lnTo>
                  <a:lnTo>
                    <a:pt x="1584" y="744"/>
                  </a:lnTo>
                  <a:lnTo>
                    <a:pt x="1572" y="744"/>
                  </a:lnTo>
                  <a:lnTo>
                    <a:pt x="1566" y="738"/>
                  </a:lnTo>
                  <a:lnTo>
                    <a:pt x="1554" y="738"/>
                  </a:lnTo>
                  <a:lnTo>
                    <a:pt x="1542" y="744"/>
                  </a:lnTo>
                  <a:lnTo>
                    <a:pt x="1512" y="744"/>
                  </a:lnTo>
                  <a:lnTo>
                    <a:pt x="1500" y="738"/>
                  </a:lnTo>
                  <a:lnTo>
                    <a:pt x="1482" y="738"/>
                  </a:lnTo>
                  <a:lnTo>
                    <a:pt x="1476" y="744"/>
                  </a:lnTo>
                  <a:lnTo>
                    <a:pt x="1464" y="750"/>
                  </a:lnTo>
                  <a:lnTo>
                    <a:pt x="1440" y="750"/>
                  </a:lnTo>
                  <a:lnTo>
                    <a:pt x="1428" y="738"/>
                  </a:lnTo>
                  <a:lnTo>
                    <a:pt x="1428" y="732"/>
                  </a:lnTo>
                  <a:lnTo>
                    <a:pt x="1428" y="738"/>
                  </a:lnTo>
                  <a:lnTo>
                    <a:pt x="1416" y="738"/>
                  </a:lnTo>
                  <a:lnTo>
                    <a:pt x="1392" y="726"/>
                  </a:lnTo>
                  <a:lnTo>
                    <a:pt x="1374" y="708"/>
                  </a:lnTo>
                  <a:lnTo>
                    <a:pt x="1374" y="696"/>
                  </a:lnTo>
                  <a:lnTo>
                    <a:pt x="1380" y="696"/>
                  </a:lnTo>
                  <a:lnTo>
                    <a:pt x="1374" y="696"/>
                  </a:lnTo>
                  <a:lnTo>
                    <a:pt x="1368" y="690"/>
                  </a:lnTo>
                  <a:lnTo>
                    <a:pt x="1368" y="642"/>
                  </a:lnTo>
                  <a:lnTo>
                    <a:pt x="1362" y="636"/>
                  </a:lnTo>
                  <a:lnTo>
                    <a:pt x="1350" y="630"/>
                  </a:lnTo>
                  <a:lnTo>
                    <a:pt x="1338" y="630"/>
                  </a:lnTo>
                  <a:lnTo>
                    <a:pt x="1326" y="642"/>
                  </a:lnTo>
                  <a:lnTo>
                    <a:pt x="1314" y="648"/>
                  </a:lnTo>
                  <a:lnTo>
                    <a:pt x="1326" y="666"/>
                  </a:lnTo>
                  <a:lnTo>
                    <a:pt x="1326" y="714"/>
                  </a:lnTo>
                  <a:lnTo>
                    <a:pt x="1338" y="738"/>
                  </a:lnTo>
                  <a:lnTo>
                    <a:pt x="1338" y="774"/>
                  </a:lnTo>
                  <a:lnTo>
                    <a:pt x="1272" y="774"/>
                  </a:lnTo>
                  <a:lnTo>
                    <a:pt x="1272" y="762"/>
                  </a:lnTo>
                  <a:lnTo>
                    <a:pt x="1266" y="756"/>
                  </a:lnTo>
                  <a:lnTo>
                    <a:pt x="1260" y="756"/>
                  </a:lnTo>
                  <a:lnTo>
                    <a:pt x="1248" y="762"/>
                  </a:lnTo>
                  <a:lnTo>
                    <a:pt x="1242" y="774"/>
                  </a:lnTo>
                  <a:lnTo>
                    <a:pt x="1236" y="762"/>
                  </a:lnTo>
                  <a:lnTo>
                    <a:pt x="1224" y="756"/>
                  </a:lnTo>
                  <a:lnTo>
                    <a:pt x="1206" y="750"/>
                  </a:lnTo>
                  <a:lnTo>
                    <a:pt x="1188" y="750"/>
                  </a:lnTo>
                  <a:lnTo>
                    <a:pt x="1182" y="756"/>
                  </a:lnTo>
                  <a:lnTo>
                    <a:pt x="1152" y="738"/>
                  </a:lnTo>
                  <a:lnTo>
                    <a:pt x="1134" y="750"/>
                  </a:lnTo>
                  <a:lnTo>
                    <a:pt x="1080" y="696"/>
                  </a:lnTo>
                  <a:lnTo>
                    <a:pt x="1056" y="696"/>
                  </a:lnTo>
                  <a:lnTo>
                    <a:pt x="1056" y="690"/>
                  </a:lnTo>
                  <a:lnTo>
                    <a:pt x="1044" y="678"/>
                  </a:lnTo>
                  <a:lnTo>
                    <a:pt x="1038" y="678"/>
                  </a:lnTo>
                  <a:lnTo>
                    <a:pt x="1032" y="684"/>
                  </a:lnTo>
                  <a:lnTo>
                    <a:pt x="1032" y="702"/>
                  </a:lnTo>
                  <a:lnTo>
                    <a:pt x="1032" y="696"/>
                  </a:lnTo>
                  <a:lnTo>
                    <a:pt x="1026" y="690"/>
                  </a:lnTo>
                  <a:lnTo>
                    <a:pt x="1008" y="690"/>
                  </a:lnTo>
                  <a:lnTo>
                    <a:pt x="996" y="702"/>
                  </a:lnTo>
                  <a:lnTo>
                    <a:pt x="990" y="690"/>
                  </a:lnTo>
                  <a:lnTo>
                    <a:pt x="984" y="684"/>
                  </a:lnTo>
                  <a:lnTo>
                    <a:pt x="960" y="684"/>
                  </a:lnTo>
                  <a:lnTo>
                    <a:pt x="954" y="678"/>
                  </a:lnTo>
                  <a:lnTo>
                    <a:pt x="954" y="666"/>
                  </a:lnTo>
                  <a:lnTo>
                    <a:pt x="942" y="666"/>
                  </a:lnTo>
                  <a:lnTo>
                    <a:pt x="936" y="672"/>
                  </a:lnTo>
                  <a:lnTo>
                    <a:pt x="918" y="672"/>
                  </a:lnTo>
                  <a:lnTo>
                    <a:pt x="912" y="666"/>
                  </a:lnTo>
                  <a:lnTo>
                    <a:pt x="906" y="654"/>
                  </a:lnTo>
                  <a:lnTo>
                    <a:pt x="900" y="648"/>
                  </a:lnTo>
                  <a:lnTo>
                    <a:pt x="888" y="648"/>
                  </a:lnTo>
                  <a:lnTo>
                    <a:pt x="846" y="630"/>
                  </a:lnTo>
                  <a:lnTo>
                    <a:pt x="834" y="612"/>
                  </a:lnTo>
                  <a:lnTo>
                    <a:pt x="810" y="612"/>
                  </a:lnTo>
                  <a:lnTo>
                    <a:pt x="792" y="588"/>
                  </a:lnTo>
                  <a:lnTo>
                    <a:pt x="780" y="594"/>
                  </a:lnTo>
                  <a:lnTo>
                    <a:pt x="750" y="564"/>
                  </a:lnTo>
                  <a:lnTo>
                    <a:pt x="750" y="552"/>
                  </a:lnTo>
                  <a:lnTo>
                    <a:pt x="762" y="540"/>
                  </a:lnTo>
                  <a:lnTo>
                    <a:pt x="768" y="540"/>
                  </a:lnTo>
                  <a:lnTo>
                    <a:pt x="756" y="528"/>
                  </a:lnTo>
                  <a:lnTo>
                    <a:pt x="756" y="522"/>
                  </a:lnTo>
                  <a:lnTo>
                    <a:pt x="762" y="516"/>
                  </a:lnTo>
                  <a:lnTo>
                    <a:pt x="756" y="504"/>
                  </a:lnTo>
                  <a:lnTo>
                    <a:pt x="780" y="480"/>
                  </a:lnTo>
                  <a:lnTo>
                    <a:pt x="786" y="456"/>
                  </a:lnTo>
                  <a:lnTo>
                    <a:pt x="762" y="438"/>
                  </a:lnTo>
                  <a:lnTo>
                    <a:pt x="750" y="438"/>
                  </a:lnTo>
                  <a:lnTo>
                    <a:pt x="738" y="432"/>
                  </a:lnTo>
                  <a:lnTo>
                    <a:pt x="738" y="414"/>
                  </a:lnTo>
                  <a:lnTo>
                    <a:pt x="720" y="420"/>
                  </a:lnTo>
                  <a:lnTo>
                    <a:pt x="702" y="402"/>
                  </a:lnTo>
                  <a:lnTo>
                    <a:pt x="696" y="402"/>
                  </a:lnTo>
                  <a:lnTo>
                    <a:pt x="690" y="396"/>
                  </a:lnTo>
                  <a:lnTo>
                    <a:pt x="678" y="396"/>
                  </a:lnTo>
                  <a:lnTo>
                    <a:pt x="666" y="390"/>
                  </a:lnTo>
                  <a:lnTo>
                    <a:pt x="654" y="378"/>
                  </a:lnTo>
                  <a:lnTo>
                    <a:pt x="648" y="366"/>
                  </a:lnTo>
                  <a:lnTo>
                    <a:pt x="618" y="366"/>
                  </a:lnTo>
                  <a:lnTo>
                    <a:pt x="612" y="360"/>
                  </a:lnTo>
                  <a:lnTo>
                    <a:pt x="612" y="342"/>
                  </a:lnTo>
                  <a:lnTo>
                    <a:pt x="618" y="336"/>
                  </a:lnTo>
                  <a:lnTo>
                    <a:pt x="618" y="324"/>
                  </a:lnTo>
                  <a:lnTo>
                    <a:pt x="612" y="324"/>
                  </a:lnTo>
                  <a:lnTo>
                    <a:pt x="600" y="312"/>
                  </a:lnTo>
                  <a:lnTo>
                    <a:pt x="594" y="300"/>
                  </a:lnTo>
                  <a:lnTo>
                    <a:pt x="588" y="294"/>
                  </a:lnTo>
                  <a:lnTo>
                    <a:pt x="588" y="276"/>
                  </a:lnTo>
                  <a:lnTo>
                    <a:pt x="594" y="276"/>
                  </a:lnTo>
                  <a:lnTo>
                    <a:pt x="600" y="270"/>
                  </a:lnTo>
                  <a:lnTo>
                    <a:pt x="612" y="270"/>
                  </a:lnTo>
                  <a:lnTo>
                    <a:pt x="612" y="288"/>
                  </a:lnTo>
                  <a:lnTo>
                    <a:pt x="624" y="300"/>
                  </a:lnTo>
                  <a:lnTo>
                    <a:pt x="636" y="282"/>
                  </a:lnTo>
                  <a:lnTo>
                    <a:pt x="642" y="282"/>
                  </a:lnTo>
                  <a:lnTo>
                    <a:pt x="648" y="276"/>
                  </a:lnTo>
                  <a:lnTo>
                    <a:pt x="660" y="270"/>
                  </a:lnTo>
                  <a:lnTo>
                    <a:pt x="660" y="258"/>
                  </a:lnTo>
                  <a:lnTo>
                    <a:pt x="642" y="240"/>
                  </a:lnTo>
                  <a:lnTo>
                    <a:pt x="636" y="228"/>
                  </a:lnTo>
                  <a:lnTo>
                    <a:pt x="630" y="222"/>
                  </a:lnTo>
                  <a:lnTo>
                    <a:pt x="618" y="222"/>
                  </a:lnTo>
                  <a:lnTo>
                    <a:pt x="594" y="210"/>
                  </a:lnTo>
                  <a:lnTo>
                    <a:pt x="594" y="186"/>
                  </a:lnTo>
                  <a:lnTo>
                    <a:pt x="612" y="180"/>
                  </a:lnTo>
                  <a:lnTo>
                    <a:pt x="594" y="156"/>
                  </a:lnTo>
                  <a:lnTo>
                    <a:pt x="624" y="156"/>
                  </a:lnTo>
                  <a:lnTo>
                    <a:pt x="636" y="150"/>
                  </a:lnTo>
                  <a:lnTo>
                    <a:pt x="642" y="138"/>
                  </a:lnTo>
                  <a:lnTo>
                    <a:pt x="642" y="114"/>
                  </a:lnTo>
                  <a:lnTo>
                    <a:pt x="636" y="108"/>
                  </a:lnTo>
                  <a:lnTo>
                    <a:pt x="636" y="102"/>
                  </a:lnTo>
                  <a:lnTo>
                    <a:pt x="654" y="102"/>
                  </a:lnTo>
                  <a:lnTo>
                    <a:pt x="660" y="96"/>
                  </a:lnTo>
                  <a:lnTo>
                    <a:pt x="660" y="36"/>
                  </a:lnTo>
                  <a:lnTo>
                    <a:pt x="618" y="36"/>
                  </a:lnTo>
                  <a:lnTo>
                    <a:pt x="594" y="12"/>
                  </a:lnTo>
                  <a:lnTo>
                    <a:pt x="576" y="0"/>
                  </a:lnTo>
                  <a:lnTo>
                    <a:pt x="564" y="0"/>
                  </a:lnTo>
                  <a:lnTo>
                    <a:pt x="540" y="12"/>
                  </a:lnTo>
                  <a:lnTo>
                    <a:pt x="522" y="18"/>
                  </a:lnTo>
                  <a:lnTo>
                    <a:pt x="516" y="30"/>
                  </a:lnTo>
                  <a:lnTo>
                    <a:pt x="504" y="36"/>
                  </a:lnTo>
                  <a:lnTo>
                    <a:pt x="480" y="36"/>
                  </a:lnTo>
                  <a:lnTo>
                    <a:pt x="456" y="72"/>
                  </a:lnTo>
                  <a:lnTo>
                    <a:pt x="432" y="78"/>
                  </a:lnTo>
                  <a:lnTo>
                    <a:pt x="432" y="96"/>
                  </a:lnTo>
                  <a:lnTo>
                    <a:pt x="408" y="96"/>
                  </a:lnTo>
                  <a:lnTo>
                    <a:pt x="402" y="102"/>
                  </a:lnTo>
                  <a:lnTo>
                    <a:pt x="396" y="96"/>
                  </a:lnTo>
                  <a:lnTo>
                    <a:pt x="390" y="102"/>
                  </a:lnTo>
                  <a:lnTo>
                    <a:pt x="378" y="108"/>
                  </a:lnTo>
                  <a:lnTo>
                    <a:pt x="372" y="114"/>
                  </a:lnTo>
                  <a:lnTo>
                    <a:pt x="360" y="120"/>
                  </a:lnTo>
                  <a:lnTo>
                    <a:pt x="348" y="120"/>
                  </a:lnTo>
                  <a:lnTo>
                    <a:pt x="348" y="108"/>
                  </a:lnTo>
                  <a:lnTo>
                    <a:pt x="342" y="102"/>
                  </a:lnTo>
                  <a:lnTo>
                    <a:pt x="324" y="102"/>
                  </a:lnTo>
                  <a:lnTo>
                    <a:pt x="306" y="96"/>
                  </a:lnTo>
                  <a:lnTo>
                    <a:pt x="264" y="96"/>
                  </a:lnTo>
                  <a:lnTo>
                    <a:pt x="240" y="108"/>
                  </a:lnTo>
                  <a:lnTo>
                    <a:pt x="234" y="120"/>
                  </a:lnTo>
                  <a:lnTo>
                    <a:pt x="234" y="126"/>
                  </a:lnTo>
                  <a:lnTo>
                    <a:pt x="258" y="144"/>
                  </a:lnTo>
                  <a:lnTo>
                    <a:pt x="252" y="156"/>
                  </a:lnTo>
                  <a:lnTo>
                    <a:pt x="282" y="162"/>
                  </a:lnTo>
                  <a:lnTo>
                    <a:pt x="276" y="168"/>
                  </a:lnTo>
                  <a:lnTo>
                    <a:pt x="270" y="180"/>
                  </a:lnTo>
                  <a:lnTo>
                    <a:pt x="264" y="186"/>
                  </a:lnTo>
                  <a:lnTo>
                    <a:pt x="264" y="192"/>
                  </a:lnTo>
                  <a:lnTo>
                    <a:pt x="276" y="204"/>
                  </a:lnTo>
                  <a:lnTo>
                    <a:pt x="282" y="204"/>
                  </a:lnTo>
                  <a:lnTo>
                    <a:pt x="282" y="210"/>
                  </a:lnTo>
                  <a:lnTo>
                    <a:pt x="276" y="222"/>
                  </a:lnTo>
                  <a:lnTo>
                    <a:pt x="276" y="234"/>
                  </a:lnTo>
                  <a:lnTo>
                    <a:pt x="294" y="234"/>
                  </a:lnTo>
                  <a:lnTo>
                    <a:pt x="306" y="252"/>
                  </a:lnTo>
                  <a:lnTo>
                    <a:pt x="324" y="252"/>
                  </a:lnTo>
                  <a:lnTo>
                    <a:pt x="330" y="288"/>
                  </a:lnTo>
                  <a:lnTo>
                    <a:pt x="366" y="288"/>
                  </a:lnTo>
                  <a:lnTo>
                    <a:pt x="378" y="294"/>
                  </a:lnTo>
                  <a:lnTo>
                    <a:pt x="384" y="300"/>
                  </a:lnTo>
                  <a:lnTo>
                    <a:pt x="384" y="306"/>
                  </a:lnTo>
                  <a:lnTo>
                    <a:pt x="378" y="312"/>
                  </a:lnTo>
                  <a:lnTo>
                    <a:pt x="354" y="324"/>
                  </a:lnTo>
                  <a:lnTo>
                    <a:pt x="342" y="324"/>
                  </a:lnTo>
                  <a:lnTo>
                    <a:pt x="336" y="330"/>
                  </a:lnTo>
                  <a:lnTo>
                    <a:pt x="336" y="366"/>
                  </a:lnTo>
                  <a:lnTo>
                    <a:pt x="342" y="378"/>
                  </a:lnTo>
                  <a:lnTo>
                    <a:pt x="354" y="390"/>
                  </a:lnTo>
                  <a:lnTo>
                    <a:pt x="354" y="396"/>
                  </a:lnTo>
                  <a:lnTo>
                    <a:pt x="324" y="414"/>
                  </a:lnTo>
                  <a:lnTo>
                    <a:pt x="300" y="450"/>
                  </a:lnTo>
                  <a:lnTo>
                    <a:pt x="318" y="474"/>
                  </a:lnTo>
                  <a:lnTo>
                    <a:pt x="306" y="474"/>
                  </a:lnTo>
                  <a:lnTo>
                    <a:pt x="300" y="480"/>
                  </a:lnTo>
                  <a:lnTo>
                    <a:pt x="288" y="486"/>
                  </a:lnTo>
                  <a:lnTo>
                    <a:pt x="282" y="492"/>
                  </a:lnTo>
                  <a:lnTo>
                    <a:pt x="282" y="504"/>
                  </a:lnTo>
                  <a:lnTo>
                    <a:pt x="276" y="522"/>
                  </a:lnTo>
                  <a:lnTo>
                    <a:pt x="276" y="534"/>
                  </a:lnTo>
                  <a:lnTo>
                    <a:pt x="270" y="552"/>
                  </a:lnTo>
                  <a:lnTo>
                    <a:pt x="258" y="564"/>
                  </a:lnTo>
                  <a:lnTo>
                    <a:pt x="234" y="576"/>
                  </a:lnTo>
                  <a:lnTo>
                    <a:pt x="228" y="582"/>
                  </a:lnTo>
                  <a:lnTo>
                    <a:pt x="228" y="588"/>
                  </a:lnTo>
                  <a:lnTo>
                    <a:pt x="222" y="594"/>
                  </a:lnTo>
                  <a:lnTo>
                    <a:pt x="222" y="612"/>
                  </a:lnTo>
                  <a:lnTo>
                    <a:pt x="204" y="624"/>
                  </a:lnTo>
                  <a:lnTo>
                    <a:pt x="204" y="630"/>
                  </a:lnTo>
                  <a:lnTo>
                    <a:pt x="198" y="636"/>
                  </a:lnTo>
                  <a:lnTo>
                    <a:pt x="192" y="648"/>
                  </a:lnTo>
                  <a:lnTo>
                    <a:pt x="186" y="654"/>
                  </a:lnTo>
                  <a:lnTo>
                    <a:pt x="168" y="654"/>
                  </a:lnTo>
                  <a:lnTo>
                    <a:pt x="162" y="648"/>
                  </a:lnTo>
                  <a:lnTo>
                    <a:pt x="156" y="654"/>
                  </a:lnTo>
                  <a:lnTo>
                    <a:pt x="132" y="666"/>
                  </a:lnTo>
                  <a:lnTo>
                    <a:pt x="126" y="666"/>
                  </a:lnTo>
                  <a:lnTo>
                    <a:pt x="120" y="660"/>
                  </a:lnTo>
                  <a:lnTo>
                    <a:pt x="120" y="648"/>
                  </a:lnTo>
                  <a:lnTo>
                    <a:pt x="114" y="642"/>
                  </a:lnTo>
                  <a:lnTo>
                    <a:pt x="108" y="642"/>
                  </a:lnTo>
                  <a:lnTo>
                    <a:pt x="96" y="648"/>
                  </a:lnTo>
                  <a:lnTo>
                    <a:pt x="84" y="660"/>
                  </a:lnTo>
                  <a:lnTo>
                    <a:pt x="84" y="666"/>
                  </a:lnTo>
                  <a:lnTo>
                    <a:pt x="78" y="678"/>
                  </a:lnTo>
                  <a:lnTo>
                    <a:pt x="72" y="684"/>
                  </a:lnTo>
                  <a:lnTo>
                    <a:pt x="66" y="696"/>
                  </a:lnTo>
                  <a:lnTo>
                    <a:pt x="54" y="708"/>
                  </a:lnTo>
                  <a:lnTo>
                    <a:pt x="48" y="720"/>
                  </a:lnTo>
                  <a:lnTo>
                    <a:pt x="48" y="744"/>
                  </a:lnTo>
                  <a:lnTo>
                    <a:pt x="54" y="750"/>
                  </a:lnTo>
                  <a:lnTo>
                    <a:pt x="66" y="756"/>
                  </a:lnTo>
                  <a:lnTo>
                    <a:pt x="72" y="756"/>
                  </a:lnTo>
                  <a:lnTo>
                    <a:pt x="102" y="750"/>
                  </a:lnTo>
                  <a:lnTo>
                    <a:pt x="102" y="768"/>
                  </a:lnTo>
                  <a:lnTo>
                    <a:pt x="96" y="798"/>
                  </a:lnTo>
                  <a:lnTo>
                    <a:pt x="102" y="804"/>
                  </a:lnTo>
                  <a:lnTo>
                    <a:pt x="108" y="816"/>
                  </a:lnTo>
                  <a:lnTo>
                    <a:pt x="120" y="828"/>
                  </a:lnTo>
                  <a:lnTo>
                    <a:pt x="144" y="828"/>
                  </a:lnTo>
                  <a:lnTo>
                    <a:pt x="144" y="852"/>
                  </a:lnTo>
                  <a:lnTo>
                    <a:pt x="168" y="894"/>
                  </a:lnTo>
                  <a:lnTo>
                    <a:pt x="174" y="906"/>
                  </a:lnTo>
                  <a:lnTo>
                    <a:pt x="180" y="912"/>
                  </a:lnTo>
                  <a:lnTo>
                    <a:pt x="180" y="936"/>
                  </a:lnTo>
                  <a:lnTo>
                    <a:pt x="168" y="942"/>
                  </a:lnTo>
                  <a:lnTo>
                    <a:pt x="162" y="948"/>
                  </a:lnTo>
                  <a:lnTo>
                    <a:pt x="144" y="948"/>
                  </a:lnTo>
                  <a:lnTo>
                    <a:pt x="138" y="942"/>
                  </a:lnTo>
                  <a:lnTo>
                    <a:pt x="138" y="930"/>
                  </a:lnTo>
                  <a:lnTo>
                    <a:pt x="132" y="930"/>
                  </a:lnTo>
                  <a:lnTo>
                    <a:pt x="120" y="936"/>
                  </a:lnTo>
                  <a:lnTo>
                    <a:pt x="108" y="948"/>
                  </a:lnTo>
                  <a:lnTo>
                    <a:pt x="84" y="948"/>
                  </a:lnTo>
                  <a:lnTo>
                    <a:pt x="78" y="942"/>
                  </a:lnTo>
                  <a:lnTo>
                    <a:pt x="78" y="936"/>
                  </a:lnTo>
                  <a:lnTo>
                    <a:pt x="54" y="948"/>
                  </a:lnTo>
                  <a:lnTo>
                    <a:pt x="48" y="942"/>
                  </a:lnTo>
                  <a:lnTo>
                    <a:pt x="36" y="936"/>
                  </a:lnTo>
                  <a:lnTo>
                    <a:pt x="24" y="936"/>
                  </a:lnTo>
                  <a:lnTo>
                    <a:pt x="12" y="948"/>
                  </a:lnTo>
                  <a:lnTo>
                    <a:pt x="12" y="960"/>
                  </a:lnTo>
                  <a:lnTo>
                    <a:pt x="18" y="966"/>
                  </a:lnTo>
                  <a:lnTo>
                    <a:pt x="0" y="972"/>
                  </a:lnTo>
                  <a:lnTo>
                    <a:pt x="36" y="972"/>
                  </a:lnTo>
                  <a:lnTo>
                    <a:pt x="30" y="984"/>
                  </a:lnTo>
                  <a:lnTo>
                    <a:pt x="30" y="1014"/>
                  </a:lnTo>
                  <a:lnTo>
                    <a:pt x="36" y="1026"/>
                  </a:lnTo>
                  <a:lnTo>
                    <a:pt x="48" y="1032"/>
                  </a:lnTo>
                  <a:lnTo>
                    <a:pt x="66" y="1038"/>
                  </a:lnTo>
                  <a:lnTo>
                    <a:pt x="120" y="1038"/>
                  </a:lnTo>
                  <a:lnTo>
                    <a:pt x="132" y="1032"/>
                  </a:lnTo>
                  <a:lnTo>
                    <a:pt x="150" y="1014"/>
                  </a:lnTo>
                  <a:lnTo>
                    <a:pt x="162" y="1008"/>
                  </a:lnTo>
                  <a:lnTo>
                    <a:pt x="168" y="1020"/>
                  </a:lnTo>
                  <a:lnTo>
                    <a:pt x="168" y="1026"/>
                  </a:lnTo>
                  <a:lnTo>
                    <a:pt x="162" y="1038"/>
                  </a:lnTo>
                  <a:lnTo>
                    <a:pt x="144" y="1056"/>
                  </a:lnTo>
                  <a:lnTo>
                    <a:pt x="120" y="1068"/>
                  </a:lnTo>
                  <a:lnTo>
                    <a:pt x="114" y="1074"/>
                  </a:lnTo>
                  <a:lnTo>
                    <a:pt x="90" y="1074"/>
                  </a:lnTo>
                  <a:lnTo>
                    <a:pt x="78" y="1080"/>
                  </a:lnTo>
                  <a:lnTo>
                    <a:pt x="60" y="1086"/>
                  </a:lnTo>
                  <a:lnTo>
                    <a:pt x="48" y="1092"/>
                  </a:lnTo>
                  <a:lnTo>
                    <a:pt x="42" y="1098"/>
                  </a:lnTo>
                  <a:lnTo>
                    <a:pt x="54" y="1122"/>
                  </a:lnTo>
                  <a:lnTo>
                    <a:pt x="66" y="1128"/>
                  </a:lnTo>
                  <a:lnTo>
                    <a:pt x="78" y="1140"/>
                  </a:lnTo>
                  <a:lnTo>
                    <a:pt x="96" y="1152"/>
                  </a:lnTo>
                  <a:lnTo>
                    <a:pt x="108" y="1164"/>
                  </a:lnTo>
                  <a:lnTo>
                    <a:pt x="132" y="1182"/>
                  </a:lnTo>
                  <a:lnTo>
                    <a:pt x="162" y="1206"/>
                  </a:lnTo>
                  <a:lnTo>
                    <a:pt x="204" y="1224"/>
                  </a:lnTo>
                  <a:lnTo>
                    <a:pt x="240" y="1218"/>
                  </a:lnTo>
                  <a:lnTo>
                    <a:pt x="270" y="1200"/>
                  </a:lnTo>
                  <a:lnTo>
                    <a:pt x="294" y="1176"/>
                  </a:lnTo>
                  <a:lnTo>
                    <a:pt x="300" y="1158"/>
                  </a:lnTo>
                  <a:lnTo>
                    <a:pt x="300" y="1128"/>
                  </a:lnTo>
                  <a:lnTo>
                    <a:pt x="306" y="1116"/>
                  </a:lnTo>
                  <a:lnTo>
                    <a:pt x="318" y="1104"/>
                  </a:lnTo>
                  <a:lnTo>
                    <a:pt x="324" y="1092"/>
                  </a:lnTo>
                  <a:lnTo>
                    <a:pt x="330" y="1086"/>
                  </a:lnTo>
                  <a:lnTo>
                    <a:pt x="342" y="1086"/>
                  </a:lnTo>
                  <a:lnTo>
                    <a:pt x="348" y="1080"/>
                  </a:lnTo>
                  <a:lnTo>
                    <a:pt x="354" y="1080"/>
                  </a:lnTo>
                  <a:lnTo>
                    <a:pt x="360" y="1086"/>
                  </a:lnTo>
                  <a:lnTo>
                    <a:pt x="360" y="1098"/>
                  </a:lnTo>
                  <a:lnTo>
                    <a:pt x="348" y="1110"/>
                  </a:lnTo>
                  <a:lnTo>
                    <a:pt x="336" y="1128"/>
                  </a:lnTo>
                  <a:lnTo>
                    <a:pt x="324" y="1140"/>
                  </a:lnTo>
                  <a:lnTo>
                    <a:pt x="318" y="1152"/>
                  </a:lnTo>
                  <a:lnTo>
                    <a:pt x="318" y="1164"/>
                  </a:lnTo>
                  <a:lnTo>
                    <a:pt x="324" y="1176"/>
                  </a:lnTo>
                  <a:lnTo>
                    <a:pt x="336" y="1182"/>
                  </a:lnTo>
                  <a:lnTo>
                    <a:pt x="342" y="1182"/>
                  </a:lnTo>
                  <a:lnTo>
                    <a:pt x="354" y="1194"/>
                  </a:lnTo>
                  <a:lnTo>
                    <a:pt x="354" y="1206"/>
                  </a:lnTo>
                  <a:lnTo>
                    <a:pt x="348" y="1242"/>
                  </a:lnTo>
                  <a:lnTo>
                    <a:pt x="342" y="1284"/>
                  </a:lnTo>
                  <a:lnTo>
                    <a:pt x="336" y="1338"/>
                  </a:lnTo>
                  <a:lnTo>
                    <a:pt x="342" y="1398"/>
                  </a:lnTo>
                  <a:lnTo>
                    <a:pt x="354" y="1446"/>
                  </a:lnTo>
                  <a:lnTo>
                    <a:pt x="384" y="1536"/>
                  </a:lnTo>
                  <a:lnTo>
                    <a:pt x="402" y="1554"/>
                  </a:lnTo>
                  <a:lnTo>
                    <a:pt x="402" y="1596"/>
                  </a:lnTo>
                  <a:lnTo>
                    <a:pt x="414" y="1620"/>
                  </a:lnTo>
                  <a:lnTo>
                    <a:pt x="426" y="1626"/>
                  </a:lnTo>
                  <a:lnTo>
                    <a:pt x="438" y="1626"/>
                  </a:lnTo>
                  <a:lnTo>
                    <a:pt x="444" y="1632"/>
                  </a:lnTo>
                  <a:lnTo>
                    <a:pt x="450" y="1632"/>
                  </a:lnTo>
                  <a:lnTo>
                    <a:pt x="450" y="1644"/>
                  </a:lnTo>
                  <a:lnTo>
                    <a:pt x="456" y="1656"/>
                  </a:lnTo>
                  <a:lnTo>
                    <a:pt x="456" y="1674"/>
                  </a:lnTo>
                  <a:lnTo>
                    <a:pt x="474" y="1710"/>
                  </a:lnTo>
                  <a:lnTo>
                    <a:pt x="498" y="1722"/>
                  </a:lnTo>
                  <a:lnTo>
                    <a:pt x="504" y="1728"/>
                  </a:lnTo>
                  <a:lnTo>
                    <a:pt x="510" y="1728"/>
                  </a:lnTo>
                  <a:lnTo>
                    <a:pt x="510" y="1746"/>
                  </a:lnTo>
                  <a:lnTo>
                    <a:pt x="516" y="1782"/>
                  </a:lnTo>
                  <a:lnTo>
                    <a:pt x="522" y="1830"/>
                  </a:lnTo>
                  <a:lnTo>
                    <a:pt x="534" y="1872"/>
                  </a:lnTo>
                  <a:lnTo>
                    <a:pt x="552" y="1908"/>
                  </a:lnTo>
                  <a:lnTo>
                    <a:pt x="576" y="1944"/>
                  </a:lnTo>
                  <a:lnTo>
                    <a:pt x="600" y="1974"/>
                  </a:lnTo>
                  <a:lnTo>
                    <a:pt x="612" y="1998"/>
                  </a:lnTo>
                  <a:lnTo>
                    <a:pt x="618" y="2016"/>
                  </a:lnTo>
                  <a:lnTo>
                    <a:pt x="618" y="2070"/>
                  </a:lnTo>
                  <a:lnTo>
                    <a:pt x="624" y="2094"/>
                  </a:lnTo>
                  <a:lnTo>
                    <a:pt x="642" y="2124"/>
                  </a:lnTo>
                  <a:lnTo>
                    <a:pt x="672" y="2166"/>
                  </a:lnTo>
                  <a:lnTo>
                    <a:pt x="696" y="2202"/>
                  </a:lnTo>
                  <a:lnTo>
                    <a:pt x="714" y="2232"/>
                  </a:lnTo>
                  <a:lnTo>
                    <a:pt x="720" y="2244"/>
                  </a:lnTo>
                  <a:lnTo>
                    <a:pt x="726" y="2244"/>
                  </a:lnTo>
                  <a:lnTo>
                    <a:pt x="732" y="2238"/>
                  </a:lnTo>
                  <a:lnTo>
                    <a:pt x="744" y="2238"/>
                  </a:lnTo>
                  <a:lnTo>
                    <a:pt x="768" y="2226"/>
                  </a:lnTo>
                  <a:lnTo>
                    <a:pt x="774" y="2220"/>
                  </a:lnTo>
                  <a:lnTo>
                    <a:pt x="780" y="2208"/>
                  </a:lnTo>
                  <a:lnTo>
                    <a:pt x="780" y="2172"/>
                  </a:lnTo>
                  <a:lnTo>
                    <a:pt x="786" y="2160"/>
                  </a:lnTo>
                  <a:lnTo>
                    <a:pt x="798" y="2154"/>
                  </a:lnTo>
                  <a:lnTo>
                    <a:pt x="804" y="2154"/>
                  </a:lnTo>
                  <a:lnTo>
                    <a:pt x="810" y="2160"/>
                  </a:lnTo>
                  <a:lnTo>
                    <a:pt x="828" y="2160"/>
                  </a:lnTo>
                  <a:lnTo>
                    <a:pt x="834" y="2154"/>
                  </a:lnTo>
                  <a:lnTo>
                    <a:pt x="846" y="2148"/>
                  </a:lnTo>
                  <a:lnTo>
                    <a:pt x="852" y="2142"/>
                  </a:lnTo>
                  <a:lnTo>
                    <a:pt x="864" y="2136"/>
                  </a:lnTo>
                  <a:lnTo>
                    <a:pt x="852" y="2136"/>
                  </a:lnTo>
                  <a:lnTo>
                    <a:pt x="846" y="2130"/>
                  </a:lnTo>
                  <a:lnTo>
                    <a:pt x="846" y="2118"/>
                  </a:lnTo>
                  <a:lnTo>
                    <a:pt x="852" y="2100"/>
                  </a:lnTo>
                  <a:lnTo>
                    <a:pt x="858" y="2088"/>
                  </a:lnTo>
                  <a:lnTo>
                    <a:pt x="906" y="2064"/>
                  </a:lnTo>
                  <a:lnTo>
                    <a:pt x="918" y="2052"/>
                  </a:lnTo>
                  <a:lnTo>
                    <a:pt x="918" y="2040"/>
                  </a:lnTo>
                  <a:lnTo>
                    <a:pt x="912" y="2028"/>
                  </a:lnTo>
                  <a:lnTo>
                    <a:pt x="912" y="2010"/>
                  </a:lnTo>
                  <a:lnTo>
                    <a:pt x="900" y="1974"/>
                  </a:lnTo>
                  <a:lnTo>
                    <a:pt x="900" y="1908"/>
                  </a:lnTo>
                  <a:lnTo>
                    <a:pt x="906" y="1890"/>
                  </a:lnTo>
                  <a:lnTo>
                    <a:pt x="906" y="1884"/>
                  </a:lnTo>
                  <a:lnTo>
                    <a:pt x="912" y="1878"/>
                  </a:lnTo>
                  <a:lnTo>
                    <a:pt x="912" y="1860"/>
                  </a:lnTo>
                  <a:lnTo>
                    <a:pt x="918" y="1842"/>
                  </a:lnTo>
                  <a:lnTo>
                    <a:pt x="918" y="1800"/>
                  </a:lnTo>
                  <a:lnTo>
                    <a:pt x="906" y="1776"/>
                  </a:lnTo>
                  <a:lnTo>
                    <a:pt x="888" y="1758"/>
                  </a:lnTo>
                  <a:lnTo>
                    <a:pt x="888" y="1728"/>
                  </a:lnTo>
                  <a:lnTo>
                    <a:pt x="894" y="1722"/>
                  </a:lnTo>
                  <a:lnTo>
                    <a:pt x="900" y="1710"/>
                  </a:lnTo>
                  <a:lnTo>
                    <a:pt x="900" y="1698"/>
                  </a:lnTo>
                  <a:lnTo>
                    <a:pt x="894" y="1686"/>
                  </a:lnTo>
                  <a:lnTo>
                    <a:pt x="894" y="1644"/>
                  </a:lnTo>
                  <a:lnTo>
                    <a:pt x="918" y="1632"/>
                  </a:lnTo>
                  <a:lnTo>
                    <a:pt x="924" y="1632"/>
                  </a:lnTo>
                  <a:lnTo>
                    <a:pt x="948" y="1620"/>
                  </a:lnTo>
                  <a:lnTo>
                    <a:pt x="948" y="1596"/>
                  </a:lnTo>
                  <a:lnTo>
                    <a:pt x="954" y="1584"/>
                  </a:lnTo>
                  <a:lnTo>
                    <a:pt x="960" y="1578"/>
                  </a:lnTo>
                  <a:lnTo>
                    <a:pt x="972" y="1572"/>
                  </a:lnTo>
                  <a:lnTo>
                    <a:pt x="990" y="1572"/>
                  </a:lnTo>
                  <a:lnTo>
                    <a:pt x="996" y="1560"/>
                  </a:lnTo>
                  <a:lnTo>
                    <a:pt x="1002" y="1566"/>
                  </a:lnTo>
                  <a:lnTo>
                    <a:pt x="1032" y="1566"/>
                  </a:lnTo>
                  <a:lnTo>
                    <a:pt x="1032" y="1548"/>
                  </a:lnTo>
                  <a:lnTo>
                    <a:pt x="1038" y="1530"/>
                  </a:lnTo>
                  <a:lnTo>
                    <a:pt x="1050" y="1518"/>
                  </a:lnTo>
                  <a:lnTo>
                    <a:pt x="1056" y="1500"/>
                  </a:lnTo>
                  <a:lnTo>
                    <a:pt x="1068" y="1488"/>
                  </a:lnTo>
                  <a:lnTo>
                    <a:pt x="1074" y="1476"/>
                  </a:lnTo>
                  <a:lnTo>
                    <a:pt x="1086" y="1470"/>
                  </a:lnTo>
                  <a:lnTo>
                    <a:pt x="1092" y="1464"/>
                  </a:lnTo>
                  <a:lnTo>
                    <a:pt x="1110" y="1458"/>
                  </a:lnTo>
                  <a:lnTo>
                    <a:pt x="1116" y="1452"/>
                  </a:lnTo>
                  <a:lnTo>
                    <a:pt x="1128" y="1446"/>
                  </a:lnTo>
                  <a:lnTo>
                    <a:pt x="1134" y="1428"/>
                  </a:lnTo>
                  <a:lnTo>
                    <a:pt x="1158" y="1380"/>
                  </a:lnTo>
                  <a:lnTo>
                    <a:pt x="1176" y="1362"/>
                  </a:lnTo>
                  <a:lnTo>
                    <a:pt x="1188" y="1356"/>
                  </a:lnTo>
                  <a:lnTo>
                    <a:pt x="1206" y="1344"/>
                  </a:lnTo>
                  <a:lnTo>
                    <a:pt x="1218" y="1338"/>
                  </a:lnTo>
                  <a:lnTo>
                    <a:pt x="1236" y="1320"/>
                  </a:lnTo>
                  <a:lnTo>
                    <a:pt x="1242" y="1320"/>
                  </a:lnTo>
                  <a:lnTo>
                    <a:pt x="1230" y="1290"/>
                  </a:lnTo>
                  <a:lnTo>
                    <a:pt x="1236" y="1284"/>
                  </a:lnTo>
                  <a:lnTo>
                    <a:pt x="1260" y="1314"/>
                  </a:lnTo>
                  <a:lnTo>
                    <a:pt x="1320" y="1254"/>
                  </a:lnTo>
                  <a:lnTo>
                    <a:pt x="1332" y="1230"/>
                  </a:lnTo>
                  <a:lnTo>
                    <a:pt x="1326" y="1224"/>
                  </a:lnTo>
                  <a:lnTo>
                    <a:pt x="1320" y="1212"/>
                  </a:lnTo>
                  <a:lnTo>
                    <a:pt x="1314" y="1206"/>
                  </a:lnTo>
                  <a:lnTo>
                    <a:pt x="1308" y="1194"/>
                  </a:lnTo>
                  <a:lnTo>
                    <a:pt x="1308" y="1182"/>
                  </a:lnTo>
                  <a:lnTo>
                    <a:pt x="1320" y="1176"/>
                  </a:lnTo>
                  <a:lnTo>
                    <a:pt x="1326" y="1170"/>
                  </a:lnTo>
                  <a:lnTo>
                    <a:pt x="1338" y="1170"/>
                  </a:lnTo>
                  <a:lnTo>
                    <a:pt x="1350" y="1164"/>
                  </a:lnTo>
                  <a:lnTo>
                    <a:pt x="1362" y="1152"/>
                  </a:lnTo>
                  <a:lnTo>
                    <a:pt x="1374" y="1134"/>
                  </a:lnTo>
                  <a:lnTo>
                    <a:pt x="1374" y="1110"/>
                  </a:lnTo>
                  <a:lnTo>
                    <a:pt x="1392" y="1116"/>
                  </a:lnTo>
                  <a:lnTo>
                    <a:pt x="1398" y="1146"/>
                  </a:lnTo>
                  <a:lnTo>
                    <a:pt x="1416" y="1110"/>
                  </a:lnTo>
                  <a:lnTo>
                    <a:pt x="1416" y="1128"/>
                  </a:lnTo>
                  <a:lnTo>
                    <a:pt x="1422" y="1140"/>
                  </a:lnTo>
                  <a:lnTo>
                    <a:pt x="1422" y="1158"/>
                  </a:lnTo>
                  <a:lnTo>
                    <a:pt x="1428" y="1170"/>
                  </a:lnTo>
                  <a:lnTo>
                    <a:pt x="1434" y="1176"/>
                  </a:lnTo>
                  <a:lnTo>
                    <a:pt x="1440" y="1176"/>
                  </a:lnTo>
                  <a:lnTo>
                    <a:pt x="1446" y="1170"/>
                  </a:lnTo>
                  <a:lnTo>
                    <a:pt x="1446" y="1158"/>
                  </a:lnTo>
                  <a:lnTo>
                    <a:pt x="1452" y="1152"/>
                  </a:lnTo>
                  <a:lnTo>
                    <a:pt x="1452" y="1140"/>
                  </a:lnTo>
                  <a:lnTo>
                    <a:pt x="1458" y="1110"/>
                  </a:lnTo>
                  <a:lnTo>
                    <a:pt x="1440" y="1068"/>
                  </a:lnTo>
                  <a:lnTo>
                    <a:pt x="1440" y="1038"/>
                  </a:lnTo>
                  <a:lnTo>
                    <a:pt x="1410" y="1014"/>
                  </a:lnTo>
                  <a:lnTo>
                    <a:pt x="1398" y="984"/>
                  </a:lnTo>
                  <a:lnTo>
                    <a:pt x="1404" y="972"/>
                  </a:lnTo>
                  <a:lnTo>
                    <a:pt x="1410" y="966"/>
                  </a:lnTo>
                  <a:lnTo>
                    <a:pt x="1416" y="948"/>
                  </a:lnTo>
                  <a:lnTo>
                    <a:pt x="1416" y="942"/>
                  </a:lnTo>
                  <a:lnTo>
                    <a:pt x="1410" y="936"/>
                  </a:lnTo>
                  <a:lnTo>
                    <a:pt x="1398" y="930"/>
                  </a:lnTo>
                  <a:lnTo>
                    <a:pt x="1380" y="930"/>
                  </a:lnTo>
                  <a:lnTo>
                    <a:pt x="1368" y="924"/>
                  </a:lnTo>
                  <a:lnTo>
                    <a:pt x="1356" y="912"/>
                  </a:lnTo>
                  <a:lnTo>
                    <a:pt x="1368" y="900"/>
                  </a:lnTo>
                  <a:lnTo>
                    <a:pt x="1374" y="900"/>
                  </a:lnTo>
                  <a:lnTo>
                    <a:pt x="1374" y="870"/>
                  </a:lnTo>
                  <a:lnTo>
                    <a:pt x="1410" y="870"/>
                  </a:lnTo>
                  <a:lnTo>
                    <a:pt x="1410" y="858"/>
                  </a:lnTo>
                  <a:lnTo>
                    <a:pt x="1380" y="840"/>
                  </a:lnTo>
                  <a:lnTo>
                    <a:pt x="1374" y="840"/>
                  </a:lnTo>
                  <a:lnTo>
                    <a:pt x="1362" y="828"/>
                  </a:lnTo>
                  <a:lnTo>
                    <a:pt x="1350" y="822"/>
                  </a:lnTo>
                  <a:lnTo>
                    <a:pt x="1344" y="810"/>
                  </a:lnTo>
                  <a:lnTo>
                    <a:pt x="1344" y="804"/>
                  </a:lnTo>
                  <a:lnTo>
                    <a:pt x="1350" y="792"/>
                  </a:lnTo>
                  <a:lnTo>
                    <a:pt x="1362" y="780"/>
                  </a:lnTo>
                  <a:lnTo>
                    <a:pt x="1350" y="762"/>
                  </a:lnTo>
                  <a:lnTo>
                    <a:pt x="1368" y="762"/>
                  </a:lnTo>
                  <a:lnTo>
                    <a:pt x="1392" y="774"/>
                  </a:lnTo>
                  <a:lnTo>
                    <a:pt x="1386" y="768"/>
                  </a:lnTo>
                  <a:lnTo>
                    <a:pt x="1404" y="762"/>
                  </a:lnTo>
                  <a:lnTo>
                    <a:pt x="1410" y="774"/>
                  </a:lnTo>
                  <a:lnTo>
                    <a:pt x="1410" y="780"/>
                  </a:lnTo>
                  <a:lnTo>
                    <a:pt x="1416" y="792"/>
                  </a:lnTo>
                  <a:lnTo>
                    <a:pt x="1422" y="798"/>
                  </a:lnTo>
                  <a:lnTo>
                    <a:pt x="1434" y="798"/>
                  </a:lnTo>
                  <a:lnTo>
                    <a:pt x="1440" y="804"/>
                  </a:lnTo>
                  <a:lnTo>
                    <a:pt x="1446" y="786"/>
                  </a:lnTo>
                  <a:lnTo>
                    <a:pt x="1452" y="792"/>
                  </a:lnTo>
                  <a:lnTo>
                    <a:pt x="1458" y="792"/>
                  </a:lnTo>
                  <a:lnTo>
                    <a:pt x="1464" y="798"/>
                  </a:lnTo>
                  <a:lnTo>
                    <a:pt x="1464" y="828"/>
                  </a:lnTo>
                  <a:lnTo>
                    <a:pt x="1470" y="828"/>
                  </a:lnTo>
                  <a:lnTo>
                    <a:pt x="1470" y="864"/>
                  </a:lnTo>
                  <a:lnTo>
                    <a:pt x="1476" y="864"/>
                  </a:lnTo>
                  <a:lnTo>
                    <a:pt x="1482" y="870"/>
                  </a:lnTo>
                  <a:lnTo>
                    <a:pt x="1542" y="870"/>
                  </a:lnTo>
                  <a:lnTo>
                    <a:pt x="1554" y="876"/>
                  </a:lnTo>
                  <a:lnTo>
                    <a:pt x="1572" y="876"/>
                  </a:lnTo>
                  <a:lnTo>
                    <a:pt x="1620" y="864"/>
                  </a:lnTo>
                  <a:lnTo>
                    <a:pt x="1626" y="864"/>
                  </a:lnTo>
                  <a:lnTo>
                    <a:pt x="1650" y="888"/>
                  </a:lnTo>
                  <a:lnTo>
                    <a:pt x="1650" y="894"/>
                  </a:lnTo>
                  <a:lnTo>
                    <a:pt x="1644" y="900"/>
                  </a:lnTo>
                  <a:lnTo>
                    <a:pt x="1638" y="900"/>
                  </a:lnTo>
                  <a:lnTo>
                    <a:pt x="1638" y="912"/>
                  </a:lnTo>
                  <a:lnTo>
                    <a:pt x="1632" y="930"/>
                  </a:lnTo>
                  <a:lnTo>
                    <a:pt x="1626" y="942"/>
                  </a:lnTo>
                  <a:lnTo>
                    <a:pt x="1620" y="948"/>
                  </a:lnTo>
                  <a:lnTo>
                    <a:pt x="1614" y="948"/>
                  </a:lnTo>
                  <a:lnTo>
                    <a:pt x="1602" y="954"/>
                  </a:lnTo>
                  <a:lnTo>
                    <a:pt x="1596" y="954"/>
                  </a:lnTo>
                  <a:lnTo>
                    <a:pt x="1584" y="966"/>
                  </a:lnTo>
                  <a:lnTo>
                    <a:pt x="1578" y="978"/>
                  </a:lnTo>
                  <a:lnTo>
                    <a:pt x="1578" y="996"/>
                  </a:lnTo>
                  <a:lnTo>
                    <a:pt x="1584" y="1008"/>
                  </a:lnTo>
                  <a:lnTo>
                    <a:pt x="1602" y="1026"/>
                  </a:lnTo>
                  <a:lnTo>
                    <a:pt x="1608" y="1026"/>
                  </a:lnTo>
                  <a:lnTo>
                    <a:pt x="1626" y="1050"/>
                  </a:lnTo>
                  <a:lnTo>
                    <a:pt x="1632" y="1014"/>
                  </a:lnTo>
                  <a:lnTo>
                    <a:pt x="1632" y="990"/>
                  </a:lnTo>
                  <a:lnTo>
                    <a:pt x="1650" y="990"/>
                  </a:lnTo>
                  <a:lnTo>
                    <a:pt x="1662" y="996"/>
                  </a:lnTo>
                  <a:lnTo>
                    <a:pt x="1668" y="1002"/>
                  </a:lnTo>
                  <a:lnTo>
                    <a:pt x="1668" y="1020"/>
                  </a:lnTo>
                  <a:lnTo>
                    <a:pt x="1674" y="1032"/>
                  </a:lnTo>
                  <a:lnTo>
                    <a:pt x="1674" y="1038"/>
                  </a:lnTo>
                  <a:lnTo>
                    <a:pt x="1680" y="1050"/>
                  </a:lnTo>
                  <a:lnTo>
                    <a:pt x="1680" y="1062"/>
                  </a:lnTo>
                  <a:lnTo>
                    <a:pt x="1686" y="1074"/>
                  </a:lnTo>
                  <a:lnTo>
                    <a:pt x="1692" y="1092"/>
                  </a:lnTo>
                  <a:lnTo>
                    <a:pt x="1698" y="1104"/>
                  </a:lnTo>
                  <a:lnTo>
                    <a:pt x="1704" y="1110"/>
                  </a:lnTo>
                  <a:lnTo>
                    <a:pt x="1704" y="1116"/>
                  </a:lnTo>
                  <a:lnTo>
                    <a:pt x="1722" y="1134"/>
                  </a:lnTo>
                  <a:lnTo>
                    <a:pt x="1722" y="1110"/>
                  </a:lnTo>
                  <a:lnTo>
                    <a:pt x="1728" y="1110"/>
                  </a:lnTo>
                  <a:lnTo>
                    <a:pt x="1734" y="1116"/>
                  </a:lnTo>
                  <a:lnTo>
                    <a:pt x="1746" y="1116"/>
                  </a:lnTo>
                  <a:lnTo>
                    <a:pt x="1746" y="1104"/>
                  </a:lnTo>
                  <a:lnTo>
                    <a:pt x="1728" y="1086"/>
                  </a:lnTo>
                  <a:lnTo>
                    <a:pt x="1728" y="1062"/>
                  </a:lnTo>
                  <a:lnTo>
                    <a:pt x="1722" y="1050"/>
                  </a:lnTo>
                  <a:lnTo>
                    <a:pt x="1740" y="1032"/>
                  </a:lnTo>
                  <a:lnTo>
                    <a:pt x="1746" y="1032"/>
                  </a:lnTo>
                  <a:lnTo>
                    <a:pt x="1740" y="984"/>
                  </a:lnTo>
                  <a:lnTo>
                    <a:pt x="1722" y="966"/>
                  </a:lnTo>
                  <a:lnTo>
                    <a:pt x="1716" y="966"/>
                  </a:lnTo>
                  <a:lnTo>
                    <a:pt x="1770" y="966"/>
                  </a:lnTo>
                  <a:lnTo>
                    <a:pt x="1782" y="972"/>
                  </a:lnTo>
                  <a:lnTo>
                    <a:pt x="1794" y="972"/>
                  </a:lnTo>
                  <a:lnTo>
                    <a:pt x="1794" y="936"/>
                  </a:lnTo>
                  <a:lnTo>
                    <a:pt x="1812" y="882"/>
                  </a:lnTo>
                  <a:lnTo>
                    <a:pt x="1806" y="876"/>
                  </a:lnTo>
                  <a:lnTo>
                    <a:pt x="1800" y="864"/>
                  </a:lnTo>
                  <a:lnTo>
                    <a:pt x="1800" y="846"/>
                  </a:lnTo>
                  <a:lnTo>
                    <a:pt x="1812" y="840"/>
                  </a:lnTo>
                  <a:lnTo>
                    <a:pt x="1818" y="834"/>
                  </a:lnTo>
                  <a:lnTo>
                    <a:pt x="1836" y="804"/>
                  </a:lnTo>
                  <a:lnTo>
                    <a:pt x="1836" y="792"/>
                  </a:lnTo>
                  <a:lnTo>
                    <a:pt x="1830" y="786"/>
                  </a:lnTo>
                  <a:lnTo>
                    <a:pt x="1830" y="780"/>
                  </a:lnTo>
                  <a:lnTo>
                    <a:pt x="1824" y="774"/>
                  </a:lnTo>
                  <a:lnTo>
                    <a:pt x="1824" y="750"/>
                  </a:lnTo>
                  <a:lnTo>
                    <a:pt x="1830" y="750"/>
                  </a:lnTo>
                  <a:lnTo>
                    <a:pt x="1836" y="744"/>
                  </a:lnTo>
                  <a:lnTo>
                    <a:pt x="1848" y="744"/>
                  </a:lnTo>
                  <a:lnTo>
                    <a:pt x="1860" y="738"/>
                  </a:lnTo>
                  <a:lnTo>
                    <a:pt x="1872" y="726"/>
                  </a:lnTo>
                  <a:lnTo>
                    <a:pt x="1872" y="708"/>
                  </a:lnTo>
                  <a:lnTo>
                    <a:pt x="1878" y="708"/>
                  </a:lnTo>
                  <a:lnTo>
                    <a:pt x="1890" y="702"/>
                  </a:lnTo>
                  <a:lnTo>
                    <a:pt x="1926" y="702"/>
                  </a:lnTo>
                  <a:lnTo>
                    <a:pt x="1932" y="708"/>
                  </a:lnTo>
                  <a:lnTo>
                    <a:pt x="1950" y="708"/>
                  </a:lnTo>
                  <a:lnTo>
                    <a:pt x="1950" y="702"/>
                  </a:lnTo>
                  <a:lnTo>
                    <a:pt x="1944" y="696"/>
                  </a:lnTo>
                  <a:lnTo>
                    <a:pt x="1932" y="690"/>
                  </a:lnTo>
                  <a:lnTo>
                    <a:pt x="1926" y="684"/>
                  </a:lnTo>
                  <a:lnTo>
                    <a:pt x="1920" y="67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49" name="Honduras" descr="© INSCALE GmbH, 05.05.2010&#10;http://www.presentationload.com/">
              <a:extLst>
                <a:ext uri="{FF2B5EF4-FFF2-40B4-BE49-F238E27FC236}">
                  <a16:creationId xmlns:a16="http://schemas.microsoft.com/office/drawing/2014/main" id="{9C7D46DA-5A2E-43AC-88A2-04D916C02BE0}"/>
                </a:ext>
              </a:extLst>
            </p:cNvPr>
            <p:cNvSpPr>
              <a:spLocks/>
            </p:cNvSpPr>
            <p:nvPr/>
          </p:nvSpPr>
          <p:spPr bwMode="gray">
            <a:xfrm>
              <a:off x="1625226" y="3739886"/>
              <a:ext cx="177186" cy="97217"/>
            </a:xfrm>
            <a:custGeom>
              <a:avLst/>
              <a:gdLst>
                <a:gd name="T0" fmla="*/ 2147483647 w 444"/>
                <a:gd name="T1" fmla="*/ 2147483647 h 246"/>
                <a:gd name="T2" fmla="*/ 2147483647 w 444"/>
                <a:gd name="T3" fmla="*/ 2147483647 h 246"/>
                <a:gd name="T4" fmla="*/ 2147483647 w 444"/>
                <a:gd name="T5" fmla="*/ 2147483647 h 246"/>
                <a:gd name="T6" fmla="*/ 2147483647 w 444"/>
                <a:gd name="T7" fmla="*/ 2147483647 h 246"/>
                <a:gd name="T8" fmla="*/ 2147483647 w 444"/>
                <a:gd name="T9" fmla="*/ 2147483647 h 246"/>
                <a:gd name="T10" fmla="*/ 2147483647 w 444"/>
                <a:gd name="T11" fmla="*/ 2147483647 h 246"/>
                <a:gd name="T12" fmla="*/ 2147483647 w 444"/>
                <a:gd name="T13" fmla="*/ 2147483647 h 246"/>
                <a:gd name="T14" fmla="*/ 2147483647 w 444"/>
                <a:gd name="T15" fmla="*/ 2147483647 h 246"/>
                <a:gd name="T16" fmla="*/ 2147483647 w 444"/>
                <a:gd name="T17" fmla="*/ 2147483647 h 246"/>
                <a:gd name="T18" fmla="*/ 2147483647 w 444"/>
                <a:gd name="T19" fmla="*/ 2147483647 h 246"/>
                <a:gd name="T20" fmla="*/ 2147483647 w 444"/>
                <a:gd name="T21" fmla="*/ 2147483647 h 246"/>
                <a:gd name="T22" fmla="*/ 2147483647 w 444"/>
                <a:gd name="T23" fmla="*/ 2147483647 h 246"/>
                <a:gd name="T24" fmla="*/ 2147483647 w 444"/>
                <a:gd name="T25" fmla="*/ 2147483647 h 246"/>
                <a:gd name="T26" fmla="*/ 2147483647 w 444"/>
                <a:gd name="T27" fmla="*/ 2147483647 h 246"/>
                <a:gd name="T28" fmla="*/ 2147483647 w 444"/>
                <a:gd name="T29" fmla="*/ 2147483647 h 246"/>
                <a:gd name="T30" fmla="*/ 2147483647 w 444"/>
                <a:gd name="T31" fmla="*/ 2147483647 h 246"/>
                <a:gd name="T32" fmla="*/ 2147483647 w 444"/>
                <a:gd name="T33" fmla="*/ 2147483647 h 246"/>
                <a:gd name="T34" fmla="*/ 2147483647 w 444"/>
                <a:gd name="T35" fmla="*/ 2147483647 h 246"/>
                <a:gd name="T36" fmla="*/ 2147483647 w 444"/>
                <a:gd name="T37" fmla="*/ 2147483647 h 246"/>
                <a:gd name="T38" fmla="*/ 2147483647 w 444"/>
                <a:gd name="T39" fmla="*/ 0 h 246"/>
                <a:gd name="T40" fmla="*/ 2147483647 w 444"/>
                <a:gd name="T41" fmla="*/ 2147483647 h 246"/>
                <a:gd name="T42" fmla="*/ 2147483647 w 444"/>
                <a:gd name="T43" fmla="*/ 2147483647 h 246"/>
                <a:gd name="T44" fmla="*/ 2147483647 w 444"/>
                <a:gd name="T45" fmla="*/ 0 h 246"/>
                <a:gd name="T46" fmla="*/ 2147483647 w 444"/>
                <a:gd name="T47" fmla="*/ 2147483647 h 246"/>
                <a:gd name="T48" fmla="*/ 2147483647 w 444"/>
                <a:gd name="T49" fmla="*/ 2147483647 h 246"/>
                <a:gd name="T50" fmla="*/ 2147483647 w 444"/>
                <a:gd name="T51" fmla="*/ 2147483647 h 246"/>
                <a:gd name="T52" fmla="*/ 2147483647 w 444"/>
                <a:gd name="T53" fmla="*/ 2147483647 h 246"/>
                <a:gd name="T54" fmla="*/ 2147483647 w 444"/>
                <a:gd name="T55" fmla="*/ 2147483647 h 246"/>
                <a:gd name="T56" fmla="*/ 2147483647 w 444"/>
                <a:gd name="T57" fmla="*/ 2147483647 h 246"/>
                <a:gd name="T58" fmla="*/ 2147483647 w 444"/>
                <a:gd name="T59" fmla="*/ 2147483647 h 246"/>
                <a:gd name="T60" fmla="*/ 2147483647 w 444"/>
                <a:gd name="T61" fmla="*/ 0 h 246"/>
                <a:gd name="T62" fmla="*/ 2147483647 w 444"/>
                <a:gd name="T63" fmla="*/ 2147483647 h 246"/>
                <a:gd name="T64" fmla="*/ 2147483647 w 444"/>
                <a:gd name="T65" fmla="*/ 2147483647 h 246"/>
                <a:gd name="T66" fmla="*/ 2147483647 w 444"/>
                <a:gd name="T67" fmla="*/ 2147483647 h 246"/>
                <a:gd name="T68" fmla="*/ 2147483647 w 444"/>
                <a:gd name="T69" fmla="*/ 2147483647 h 246"/>
                <a:gd name="T70" fmla="*/ 2147483647 w 444"/>
                <a:gd name="T71" fmla="*/ 2147483647 h 246"/>
                <a:gd name="T72" fmla="*/ 0 w 444"/>
                <a:gd name="T73" fmla="*/ 2147483647 h 246"/>
                <a:gd name="T74" fmla="*/ 2147483647 w 444"/>
                <a:gd name="T75" fmla="*/ 2147483647 h 246"/>
                <a:gd name="T76" fmla="*/ 2147483647 w 444"/>
                <a:gd name="T77" fmla="*/ 2147483647 h 246"/>
                <a:gd name="T78" fmla="*/ 2147483647 w 444"/>
                <a:gd name="T79" fmla="*/ 2147483647 h 246"/>
                <a:gd name="T80" fmla="*/ 2147483647 w 444"/>
                <a:gd name="T81" fmla="*/ 2147483647 h 246"/>
                <a:gd name="T82" fmla="*/ 2147483647 w 444"/>
                <a:gd name="T83" fmla="*/ 2147483647 h 246"/>
                <a:gd name="T84" fmla="*/ 2147483647 w 444"/>
                <a:gd name="T85" fmla="*/ 2147483647 h 246"/>
                <a:gd name="T86" fmla="*/ 2147483647 w 444"/>
                <a:gd name="T87" fmla="*/ 2147483647 h 2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4"/>
                <a:gd name="T133" fmla="*/ 0 h 246"/>
                <a:gd name="T134" fmla="*/ 444 w 444"/>
                <a:gd name="T135" fmla="*/ 246 h 2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4" h="246">
                  <a:moveTo>
                    <a:pt x="156" y="240"/>
                  </a:moveTo>
                  <a:lnTo>
                    <a:pt x="156" y="222"/>
                  </a:lnTo>
                  <a:lnTo>
                    <a:pt x="174" y="222"/>
                  </a:lnTo>
                  <a:lnTo>
                    <a:pt x="168" y="216"/>
                  </a:lnTo>
                  <a:lnTo>
                    <a:pt x="168" y="204"/>
                  </a:lnTo>
                  <a:lnTo>
                    <a:pt x="162" y="198"/>
                  </a:lnTo>
                  <a:lnTo>
                    <a:pt x="162" y="186"/>
                  </a:lnTo>
                  <a:lnTo>
                    <a:pt x="168" y="180"/>
                  </a:lnTo>
                  <a:lnTo>
                    <a:pt x="204" y="180"/>
                  </a:lnTo>
                  <a:lnTo>
                    <a:pt x="210" y="168"/>
                  </a:lnTo>
                  <a:lnTo>
                    <a:pt x="216" y="162"/>
                  </a:lnTo>
                  <a:lnTo>
                    <a:pt x="228" y="162"/>
                  </a:lnTo>
                  <a:lnTo>
                    <a:pt x="228" y="168"/>
                  </a:lnTo>
                  <a:lnTo>
                    <a:pt x="234" y="174"/>
                  </a:lnTo>
                  <a:lnTo>
                    <a:pt x="252" y="174"/>
                  </a:lnTo>
                  <a:lnTo>
                    <a:pt x="276" y="150"/>
                  </a:lnTo>
                  <a:lnTo>
                    <a:pt x="288" y="126"/>
                  </a:lnTo>
                  <a:lnTo>
                    <a:pt x="306" y="126"/>
                  </a:lnTo>
                  <a:lnTo>
                    <a:pt x="306" y="108"/>
                  </a:lnTo>
                  <a:lnTo>
                    <a:pt x="318" y="96"/>
                  </a:lnTo>
                  <a:lnTo>
                    <a:pt x="330" y="96"/>
                  </a:lnTo>
                  <a:lnTo>
                    <a:pt x="348" y="114"/>
                  </a:lnTo>
                  <a:lnTo>
                    <a:pt x="360" y="114"/>
                  </a:lnTo>
                  <a:lnTo>
                    <a:pt x="372" y="102"/>
                  </a:lnTo>
                  <a:lnTo>
                    <a:pt x="372" y="96"/>
                  </a:lnTo>
                  <a:lnTo>
                    <a:pt x="420" y="96"/>
                  </a:lnTo>
                  <a:lnTo>
                    <a:pt x="426" y="90"/>
                  </a:lnTo>
                  <a:lnTo>
                    <a:pt x="432" y="90"/>
                  </a:lnTo>
                  <a:lnTo>
                    <a:pt x="444" y="84"/>
                  </a:lnTo>
                  <a:lnTo>
                    <a:pt x="444" y="78"/>
                  </a:lnTo>
                  <a:lnTo>
                    <a:pt x="426" y="60"/>
                  </a:lnTo>
                  <a:lnTo>
                    <a:pt x="402" y="48"/>
                  </a:lnTo>
                  <a:lnTo>
                    <a:pt x="396" y="48"/>
                  </a:lnTo>
                  <a:lnTo>
                    <a:pt x="390" y="42"/>
                  </a:lnTo>
                  <a:lnTo>
                    <a:pt x="384" y="30"/>
                  </a:lnTo>
                  <a:lnTo>
                    <a:pt x="372" y="24"/>
                  </a:lnTo>
                  <a:lnTo>
                    <a:pt x="366" y="18"/>
                  </a:lnTo>
                  <a:lnTo>
                    <a:pt x="348" y="18"/>
                  </a:lnTo>
                  <a:lnTo>
                    <a:pt x="342" y="6"/>
                  </a:lnTo>
                  <a:lnTo>
                    <a:pt x="336" y="0"/>
                  </a:lnTo>
                  <a:lnTo>
                    <a:pt x="312" y="0"/>
                  </a:lnTo>
                  <a:lnTo>
                    <a:pt x="300" y="6"/>
                  </a:lnTo>
                  <a:lnTo>
                    <a:pt x="294" y="12"/>
                  </a:lnTo>
                  <a:lnTo>
                    <a:pt x="282" y="12"/>
                  </a:lnTo>
                  <a:lnTo>
                    <a:pt x="270" y="0"/>
                  </a:lnTo>
                  <a:lnTo>
                    <a:pt x="252" y="0"/>
                  </a:lnTo>
                  <a:lnTo>
                    <a:pt x="240" y="6"/>
                  </a:lnTo>
                  <a:lnTo>
                    <a:pt x="234" y="18"/>
                  </a:lnTo>
                  <a:lnTo>
                    <a:pt x="222" y="24"/>
                  </a:lnTo>
                  <a:lnTo>
                    <a:pt x="186" y="24"/>
                  </a:lnTo>
                  <a:lnTo>
                    <a:pt x="174" y="18"/>
                  </a:lnTo>
                  <a:lnTo>
                    <a:pt x="168" y="12"/>
                  </a:lnTo>
                  <a:lnTo>
                    <a:pt x="156" y="12"/>
                  </a:lnTo>
                  <a:lnTo>
                    <a:pt x="150" y="18"/>
                  </a:lnTo>
                  <a:lnTo>
                    <a:pt x="144" y="18"/>
                  </a:lnTo>
                  <a:lnTo>
                    <a:pt x="138" y="24"/>
                  </a:lnTo>
                  <a:lnTo>
                    <a:pt x="132" y="24"/>
                  </a:lnTo>
                  <a:lnTo>
                    <a:pt x="132" y="18"/>
                  </a:lnTo>
                  <a:lnTo>
                    <a:pt x="126" y="12"/>
                  </a:lnTo>
                  <a:lnTo>
                    <a:pt x="126" y="6"/>
                  </a:lnTo>
                  <a:lnTo>
                    <a:pt x="120" y="0"/>
                  </a:lnTo>
                  <a:lnTo>
                    <a:pt x="114" y="0"/>
                  </a:lnTo>
                  <a:lnTo>
                    <a:pt x="96" y="18"/>
                  </a:lnTo>
                  <a:lnTo>
                    <a:pt x="90" y="18"/>
                  </a:lnTo>
                  <a:lnTo>
                    <a:pt x="84" y="30"/>
                  </a:lnTo>
                  <a:lnTo>
                    <a:pt x="72" y="36"/>
                  </a:lnTo>
                  <a:lnTo>
                    <a:pt x="60" y="48"/>
                  </a:lnTo>
                  <a:lnTo>
                    <a:pt x="48" y="54"/>
                  </a:lnTo>
                  <a:lnTo>
                    <a:pt x="36" y="66"/>
                  </a:lnTo>
                  <a:lnTo>
                    <a:pt x="24" y="72"/>
                  </a:lnTo>
                  <a:lnTo>
                    <a:pt x="18" y="84"/>
                  </a:lnTo>
                  <a:lnTo>
                    <a:pt x="18" y="102"/>
                  </a:lnTo>
                  <a:lnTo>
                    <a:pt x="12" y="114"/>
                  </a:lnTo>
                  <a:lnTo>
                    <a:pt x="0" y="126"/>
                  </a:lnTo>
                  <a:lnTo>
                    <a:pt x="6" y="138"/>
                  </a:lnTo>
                  <a:lnTo>
                    <a:pt x="18" y="150"/>
                  </a:lnTo>
                  <a:lnTo>
                    <a:pt x="42" y="150"/>
                  </a:lnTo>
                  <a:lnTo>
                    <a:pt x="42" y="168"/>
                  </a:lnTo>
                  <a:lnTo>
                    <a:pt x="48" y="174"/>
                  </a:lnTo>
                  <a:lnTo>
                    <a:pt x="60" y="174"/>
                  </a:lnTo>
                  <a:lnTo>
                    <a:pt x="66" y="168"/>
                  </a:lnTo>
                  <a:lnTo>
                    <a:pt x="102" y="168"/>
                  </a:lnTo>
                  <a:lnTo>
                    <a:pt x="102" y="210"/>
                  </a:lnTo>
                  <a:lnTo>
                    <a:pt x="126" y="222"/>
                  </a:lnTo>
                  <a:lnTo>
                    <a:pt x="132" y="228"/>
                  </a:lnTo>
                  <a:lnTo>
                    <a:pt x="132" y="246"/>
                  </a:lnTo>
                  <a:lnTo>
                    <a:pt x="144" y="246"/>
                  </a:lnTo>
                  <a:lnTo>
                    <a:pt x="156" y="24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50" name="Haiti" descr="© INSCALE GmbH, 05.05.2010&#10;http://www.presentationload.com/">
              <a:extLst>
                <a:ext uri="{FF2B5EF4-FFF2-40B4-BE49-F238E27FC236}">
                  <a16:creationId xmlns:a16="http://schemas.microsoft.com/office/drawing/2014/main" id="{6F84B0A7-4D24-4510-80C7-134DB7BA8DB4}"/>
                </a:ext>
              </a:extLst>
            </p:cNvPr>
            <p:cNvSpPr>
              <a:spLocks/>
            </p:cNvSpPr>
            <p:nvPr/>
          </p:nvSpPr>
          <p:spPr bwMode="gray">
            <a:xfrm>
              <a:off x="2059569" y="3616012"/>
              <a:ext cx="78401" cy="61153"/>
            </a:xfrm>
            <a:custGeom>
              <a:avLst/>
              <a:gdLst>
                <a:gd name="T0" fmla="*/ 2147483647 w 198"/>
                <a:gd name="T1" fmla="*/ 2147483647 h 156"/>
                <a:gd name="T2" fmla="*/ 2147483647 w 198"/>
                <a:gd name="T3" fmla="*/ 2147483647 h 156"/>
                <a:gd name="T4" fmla="*/ 2147483647 w 198"/>
                <a:gd name="T5" fmla="*/ 2147483647 h 156"/>
                <a:gd name="T6" fmla="*/ 2147483647 w 198"/>
                <a:gd name="T7" fmla="*/ 2147483647 h 156"/>
                <a:gd name="T8" fmla="*/ 2147483647 w 198"/>
                <a:gd name="T9" fmla="*/ 2147483647 h 156"/>
                <a:gd name="T10" fmla="*/ 2147483647 w 198"/>
                <a:gd name="T11" fmla="*/ 2147483647 h 156"/>
                <a:gd name="T12" fmla="*/ 2147483647 w 198"/>
                <a:gd name="T13" fmla="*/ 2147483647 h 156"/>
                <a:gd name="T14" fmla="*/ 2147483647 w 198"/>
                <a:gd name="T15" fmla="*/ 2147483647 h 156"/>
                <a:gd name="T16" fmla="*/ 2147483647 w 198"/>
                <a:gd name="T17" fmla="*/ 2147483647 h 156"/>
                <a:gd name="T18" fmla="*/ 2147483647 w 198"/>
                <a:gd name="T19" fmla="*/ 2147483647 h 156"/>
                <a:gd name="T20" fmla="*/ 2147483647 w 198"/>
                <a:gd name="T21" fmla="*/ 2147483647 h 156"/>
                <a:gd name="T22" fmla="*/ 2147483647 w 198"/>
                <a:gd name="T23" fmla="*/ 2147483647 h 156"/>
                <a:gd name="T24" fmla="*/ 2147483647 w 198"/>
                <a:gd name="T25" fmla="*/ 2147483647 h 156"/>
                <a:gd name="T26" fmla="*/ 2147483647 w 198"/>
                <a:gd name="T27" fmla="*/ 2147483647 h 156"/>
                <a:gd name="T28" fmla="*/ 2147483647 w 198"/>
                <a:gd name="T29" fmla="*/ 2147483647 h 156"/>
                <a:gd name="T30" fmla="*/ 2147483647 w 198"/>
                <a:gd name="T31" fmla="*/ 2147483647 h 156"/>
                <a:gd name="T32" fmla="*/ 2147483647 w 198"/>
                <a:gd name="T33" fmla="*/ 2147483647 h 156"/>
                <a:gd name="T34" fmla="*/ 2147483647 w 198"/>
                <a:gd name="T35" fmla="*/ 0 h 156"/>
                <a:gd name="T36" fmla="*/ 2147483647 w 198"/>
                <a:gd name="T37" fmla="*/ 0 h 156"/>
                <a:gd name="T38" fmla="*/ 2147483647 w 198"/>
                <a:gd name="T39" fmla="*/ 2147483647 h 156"/>
                <a:gd name="T40" fmla="*/ 2147483647 w 198"/>
                <a:gd name="T41" fmla="*/ 2147483647 h 156"/>
                <a:gd name="T42" fmla="*/ 2147483647 w 198"/>
                <a:gd name="T43" fmla="*/ 2147483647 h 156"/>
                <a:gd name="T44" fmla="*/ 2147483647 w 198"/>
                <a:gd name="T45" fmla="*/ 2147483647 h 156"/>
                <a:gd name="T46" fmla="*/ 2147483647 w 198"/>
                <a:gd name="T47" fmla="*/ 2147483647 h 156"/>
                <a:gd name="T48" fmla="*/ 2147483647 w 198"/>
                <a:gd name="T49" fmla="*/ 2147483647 h 156"/>
                <a:gd name="T50" fmla="*/ 2147483647 w 198"/>
                <a:gd name="T51" fmla="*/ 2147483647 h 156"/>
                <a:gd name="T52" fmla="*/ 2147483647 w 198"/>
                <a:gd name="T53" fmla="*/ 2147483647 h 156"/>
                <a:gd name="T54" fmla="*/ 2147483647 w 198"/>
                <a:gd name="T55" fmla="*/ 2147483647 h 156"/>
                <a:gd name="T56" fmla="*/ 2147483647 w 198"/>
                <a:gd name="T57" fmla="*/ 2147483647 h 156"/>
                <a:gd name="T58" fmla="*/ 2147483647 w 198"/>
                <a:gd name="T59" fmla="*/ 2147483647 h 156"/>
                <a:gd name="T60" fmla="*/ 2147483647 w 198"/>
                <a:gd name="T61" fmla="*/ 2147483647 h 156"/>
                <a:gd name="T62" fmla="*/ 2147483647 w 198"/>
                <a:gd name="T63" fmla="*/ 2147483647 h 156"/>
                <a:gd name="T64" fmla="*/ 2147483647 w 198"/>
                <a:gd name="T65" fmla="*/ 2147483647 h 156"/>
                <a:gd name="T66" fmla="*/ 2147483647 w 198"/>
                <a:gd name="T67" fmla="*/ 2147483647 h 156"/>
                <a:gd name="T68" fmla="*/ 2147483647 w 198"/>
                <a:gd name="T69" fmla="*/ 2147483647 h 156"/>
                <a:gd name="T70" fmla="*/ 2147483647 w 198"/>
                <a:gd name="T71" fmla="*/ 2147483647 h 156"/>
                <a:gd name="T72" fmla="*/ 2147483647 w 198"/>
                <a:gd name="T73" fmla="*/ 2147483647 h 156"/>
                <a:gd name="T74" fmla="*/ 2147483647 w 198"/>
                <a:gd name="T75" fmla="*/ 2147483647 h 156"/>
                <a:gd name="T76" fmla="*/ 2147483647 w 198"/>
                <a:gd name="T77" fmla="*/ 2147483647 h 156"/>
                <a:gd name="T78" fmla="*/ 2147483647 w 198"/>
                <a:gd name="T79" fmla="*/ 2147483647 h 156"/>
                <a:gd name="T80" fmla="*/ 2147483647 w 198"/>
                <a:gd name="T81" fmla="*/ 2147483647 h 156"/>
                <a:gd name="T82" fmla="*/ 0 w 198"/>
                <a:gd name="T83" fmla="*/ 2147483647 h 156"/>
                <a:gd name="T84" fmla="*/ 0 w 198"/>
                <a:gd name="T85" fmla="*/ 2147483647 h 156"/>
                <a:gd name="T86" fmla="*/ 2147483647 w 198"/>
                <a:gd name="T87" fmla="*/ 2147483647 h 156"/>
                <a:gd name="T88" fmla="*/ 2147483647 w 198"/>
                <a:gd name="T89" fmla="*/ 2147483647 h 156"/>
                <a:gd name="T90" fmla="*/ 2147483647 w 198"/>
                <a:gd name="T91" fmla="*/ 2147483647 h 156"/>
                <a:gd name="T92" fmla="*/ 2147483647 w 198"/>
                <a:gd name="T93" fmla="*/ 2147483647 h 156"/>
                <a:gd name="T94" fmla="*/ 2147483647 w 198"/>
                <a:gd name="T95" fmla="*/ 2147483647 h 156"/>
                <a:gd name="T96" fmla="*/ 2147483647 w 198"/>
                <a:gd name="T97" fmla="*/ 2147483647 h 156"/>
                <a:gd name="T98" fmla="*/ 2147483647 w 198"/>
                <a:gd name="T99" fmla="*/ 2147483647 h 156"/>
                <a:gd name="T100" fmla="*/ 2147483647 w 198"/>
                <a:gd name="T101" fmla="*/ 2147483647 h 156"/>
                <a:gd name="T102" fmla="*/ 2147483647 w 198"/>
                <a:gd name="T103" fmla="*/ 2147483647 h 156"/>
                <a:gd name="T104" fmla="*/ 2147483647 w 198"/>
                <a:gd name="T105" fmla="*/ 2147483647 h 156"/>
                <a:gd name="T106" fmla="*/ 2147483647 w 198"/>
                <a:gd name="T107" fmla="*/ 2147483647 h 156"/>
                <a:gd name="T108" fmla="*/ 2147483647 w 198"/>
                <a:gd name="T109" fmla="*/ 2147483647 h 156"/>
                <a:gd name="T110" fmla="*/ 2147483647 w 198"/>
                <a:gd name="T111" fmla="*/ 2147483647 h 156"/>
                <a:gd name="T112" fmla="*/ 2147483647 w 198"/>
                <a:gd name="T113" fmla="*/ 2147483647 h 1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8"/>
                <a:gd name="T172" fmla="*/ 0 h 156"/>
                <a:gd name="T173" fmla="*/ 198 w 198"/>
                <a:gd name="T174" fmla="*/ 156 h 1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8" h="156">
                  <a:moveTo>
                    <a:pt x="168" y="114"/>
                  </a:moveTo>
                  <a:lnTo>
                    <a:pt x="168" y="108"/>
                  </a:lnTo>
                  <a:lnTo>
                    <a:pt x="174" y="102"/>
                  </a:lnTo>
                  <a:lnTo>
                    <a:pt x="180" y="90"/>
                  </a:lnTo>
                  <a:lnTo>
                    <a:pt x="180" y="78"/>
                  </a:lnTo>
                  <a:lnTo>
                    <a:pt x="186" y="72"/>
                  </a:lnTo>
                  <a:lnTo>
                    <a:pt x="192" y="60"/>
                  </a:lnTo>
                  <a:lnTo>
                    <a:pt x="198" y="54"/>
                  </a:lnTo>
                  <a:lnTo>
                    <a:pt x="198" y="42"/>
                  </a:lnTo>
                  <a:lnTo>
                    <a:pt x="186" y="6"/>
                  </a:lnTo>
                  <a:lnTo>
                    <a:pt x="180" y="12"/>
                  </a:lnTo>
                  <a:lnTo>
                    <a:pt x="180" y="18"/>
                  </a:lnTo>
                  <a:lnTo>
                    <a:pt x="174" y="18"/>
                  </a:lnTo>
                  <a:lnTo>
                    <a:pt x="168" y="12"/>
                  </a:lnTo>
                  <a:lnTo>
                    <a:pt x="156" y="12"/>
                  </a:lnTo>
                  <a:lnTo>
                    <a:pt x="144" y="6"/>
                  </a:lnTo>
                  <a:lnTo>
                    <a:pt x="126" y="6"/>
                  </a:lnTo>
                  <a:lnTo>
                    <a:pt x="114" y="0"/>
                  </a:lnTo>
                  <a:lnTo>
                    <a:pt x="84" y="0"/>
                  </a:lnTo>
                  <a:lnTo>
                    <a:pt x="72" y="6"/>
                  </a:lnTo>
                  <a:lnTo>
                    <a:pt x="66" y="12"/>
                  </a:lnTo>
                  <a:lnTo>
                    <a:pt x="66" y="18"/>
                  </a:lnTo>
                  <a:lnTo>
                    <a:pt x="72" y="24"/>
                  </a:lnTo>
                  <a:lnTo>
                    <a:pt x="108" y="24"/>
                  </a:lnTo>
                  <a:lnTo>
                    <a:pt x="114" y="30"/>
                  </a:lnTo>
                  <a:lnTo>
                    <a:pt x="120" y="42"/>
                  </a:lnTo>
                  <a:lnTo>
                    <a:pt x="126" y="48"/>
                  </a:lnTo>
                  <a:lnTo>
                    <a:pt x="114" y="54"/>
                  </a:lnTo>
                  <a:lnTo>
                    <a:pt x="108" y="60"/>
                  </a:lnTo>
                  <a:lnTo>
                    <a:pt x="108" y="72"/>
                  </a:lnTo>
                  <a:lnTo>
                    <a:pt x="114" y="84"/>
                  </a:lnTo>
                  <a:lnTo>
                    <a:pt x="114" y="96"/>
                  </a:lnTo>
                  <a:lnTo>
                    <a:pt x="120" y="102"/>
                  </a:lnTo>
                  <a:lnTo>
                    <a:pt x="114" y="108"/>
                  </a:lnTo>
                  <a:lnTo>
                    <a:pt x="96" y="108"/>
                  </a:lnTo>
                  <a:lnTo>
                    <a:pt x="78" y="102"/>
                  </a:lnTo>
                  <a:lnTo>
                    <a:pt x="66" y="102"/>
                  </a:lnTo>
                  <a:lnTo>
                    <a:pt x="54" y="96"/>
                  </a:lnTo>
                  <a:lnTo>
                    <a:pt x="36" y="96"/>
                  </a:lnTo>
                  <a:lnTo>
                    <a:pt x="24" y="102"/>
                  </a:lnTo>
                  <a:lnTo>
                    <a:pt x="6" y="102"/>
                  </a:lnTo>
                  <a:lnTo>
                    <a:pt x="0" y="108"/>
                  </a:lnTo>
                  <a:lnTo>
                    <a:pt x="0" y="114"/>
                  </a:lnTo>
                  <a:lnTo>
                    <a:pt x="6" y="120"/>
                  </a:lnTo>
                  <a:lnTo>
                    <a:pt x="12" y="132"/>
                  </a:lnTo>
                  <a:lnTo>
                    <a:pt x="24" y="138"/>
                  </a:lnTo>
                  <a:lnTo>
                    <a:pt x="30" y="150"/>
                  </a:lnTo>
                  <a:lnTo>
                    <a:pt x="36" y="156"/>
                  </a:lnTo>
                  <a:lnTo>
                    <a:pt x="42" y="156"/>
                  </a:lnTo>
                  <a:lnTo>
                    <a:pt x="48" y="150"/>
                  </a:lnTo>
                  <a:lnTo>
                    <a:pt x="54" y="138"/>
                  </a:lnTo>
                  <a:lnTo>
                    <a:pt x="60" y="132"/>
                  </a:lnTo>
                  <a:lnTo>
                    <a:pt x="138" y="132"/>
                  </a:lnTo>
                  <a:lnTo>
                    <a:pt x="156" y="126"/>
                  </a:lnTo>
                  <a:lnTo>
                    <a:pt x="168" y="126"/>
                  </a:lnTo>
                  <a:lnTo>
                    <a:pt x="180" y="144"/>
                  </a:lnTo>
                  <a:lnTo>
                    <a:pt x="168" y="114"/>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51" name="Guyane (Französisch Guiana)" descr="© INSCALE GmbH, 05.05.2010&#10;http://www.presentationload.com/">
              <a:extLst>
                <a:ext uri="{FF2B5EF4-FFF2-40B4-BE49-F238E27FC236}">
                  <a16:creationId xmlns:a16="http://schemas.microsoft.com/office/drawing/2014/main" id="{E88F1095-EC9B-420D-8AAE-3555FC9C0318}"/>
                </a:ext>
              </a:extLst>
            </p:cNvPr>
            <p:cNvSpPr>
              <a:spLocks/>
            </p:cNvSpPr>
            <p:nvPr/>
          </p:nvSpPr>
          <p:spPr bwMode="gray">
            <a:xfrm>
              <a:off x="2581720" y="4067603"/>
              <a:ext cx="81537" cy="117602"/>
            </a:xfrm>
            <a:custGeom>
              <a:avLst/>
              <a:gdLst>
                <a:gd name="T0" fmla="*/ 2147483647 w 52"/>
                <a:gd name="T1" fmla="*/ 2147483647 h 76"/>
                <a:gd name="T2" fmla="*/ 2147483647 w 52"/>
                <a:gd name="T3" fmla="*/ 2147483647 h 76"/>
                <a:gd name="T4" fmla="*/ 2147483647 w 52"/>
                <a:gd name="T5" fmla="*/ 2147483647 h 76"/>
                <a:gd name="T6" fmla="*/ 2147483647 w 52"/>
                <a:gd name="T7" fmla="*/ 2147483647 h 76"/>
                <a:gd name="T8" fmla="*/ 2147483647 w 52"/>
                <a:gd name="T9" fmla="*/ 2147483647 h 76"/>
                <a:gd name="T10" fmla="*/ 2147483647 w 52"/>
                <a:gd name="T11" fmla="*/ 2147483647 h 76"/>
                <a:gd name="T12" fmla="*/ 2147483647 w 52"/>
                <a:gd name="T13" fmla="*/ 2147483647 h 76"/>
                <a:gd name="T14" fmla="*/ 2147483647 w 52"/>
                <a:gd name="T15" fmla="*/ 2147483647 h 76"/>
                <a:gd name="T16" fmla="*/ 2147483647 w 52"/>
                <a:gd name="T17" fmla="*/ 2147483647 h 76"/>
                <a:gd name="T18" fmla="*/ 2147483647 w 52"/>
                <a:gd name="T19" fmla="*/ 2147483647 h 76"/>
                <a:gd name="T20" fmla="*/ 2147483647 w 52"/>
                <a:gd name="T21" fmla="*/ 2147483647 h 76"/>
                <a:gd name="T22" fmla="*/ 2147483647 w 52"/>
                <a:gd name="T23" fmla="*/ 0 h 76"/>
                <a:gd name="T24" fmla="*/ 2147483647 w 52"/>
                <a:gd name="T25" fmla="*/ 2147483647 h 76"/>
                <a:gd name="T26" fmla="*/ 2147483647 w 52"/>
                <a:gd name="T27" fmla="*/ 2147483647 h 76"/>
                <a:gd name="T28" fmla="*/ 2147483647 w 52"/>
                <a:gd name="T29" fmla="*/ 2147483647 h 76"/>
                <a:gd name="T30" fmla="*/ 2147483647 w 52"/>
                <a:gd name="T31" fmla="*/ 2147483647 h 76"/>
                <a:gd name="T32" fmla="*/ 2147483647 w 52"/>
                <a:gd name="T33" fmla="*/ 2147483647 h 76"/>
                <a:gd name="T34" fmla="*/ 2147483647 w 52"/>
                <a:gd name="T35" fmla="*/ 2147483647 h 76"/>
                <a:gd name="T36" fmla="*/ 2147483647 w 52"/>
                <a:gd name="T37" fmla="*/ 2147483647 h 76"/>
                <a:gd name="T38" fmla="*/ 2147483647 w 52"/>
                <a:gd name="T39" fmla="*/ 2147483647 h 76"/>
                <a:gd name="T40" fmla="*/ 2147483647 w 52"/>
                <a:gd name="T41" fmla="*/ 2147483647 h 76"/>
                <a:gd name="T42" fmla="*/ 2147483647 w 52"/>
                <a:gd name="T43" fmla="*/ 2147483647 h 76"/>
                <a:gd name="T44" fmla="*/ 2147483647 w 52"/>
                <a:gd name="T45" fmla="*/ 2147483647 h 76"/>
                <a:gd name="T46" fmla="*/ 2147483647 w 52"/>
                <a:gd name="T47" fmla="*/ 2147483647 h 76"/>
                <a:gd name="T48" fmla="*/ 2147483647 w 52"/>
                <a:gd name="T49" fmla="*/ 2147483647 h 76"/>
                <a:gd name="T50" fmla="*/ 2147483647 w 52"/>
                <a:gd name="T51" fmla="*/ 2147483647 h 76"/>
                <a:gd name="T52" fmla="*/ 2147483647 w 52"/>
                <a:gd name="T53" fmla="*/ 2147483647 h 76"/>
                <a:gd name="T54" fmla="*/ 2147483647 w 52"/>
                <a:gd name="T55" fmla="*/ 2147483647 h 76"/>
                <a:gd name="T56" fmla="*/ 2147483647 w 52"/>
                <a:gd name="T57" fmla="*/ 2147483647 h 76"/>
                <a:gd name="T58" fmla="*/ 2147483647 w 52"/>
                <a:gd name="T59" fmla="*/ 2147483647 h 76"/>
                <a:gd name="T60" fmla="*/ 2147483647 w 52"/>
                <a:gd name="T61" fmla="*/ 2147483647 h 76"/>
                <a:gd name="T62" fmla="*/ 2147483647 w 52"/>
                <a:gd name="T63" fmla="*/ 2147483647 h 76"/>
                <a:gd name="T64" fmla="*/ 0 w 52"/>
                <a:gd name="T65" fmla="*/ 2147483647 h 76"/>
                <a:gd name="T66" fmla="*/ 0 w 52"/>
                <a:gd name="T67" fmla="*/ 2147483647 h 76"/>
                <a:gd name="T68" fmla="*/ 2147483647 w 52"/>
                <a:gd name="T69" fmla="*/ 2147483647 h 76"/>
                <a:gd name="T70" fmla="*/ 2147483647 w 52"/>
                <a:gd name="T71" fmla="*/ 2147483647 h 76"/>
                <a:gd name="T72" fmla="*/ 2147483647 w 52"/>
                <a:gd name="T73" fmla="*/ 2147483647 h 76"/>
                <a:gd name="T74" fmla="*/ 2147483647 w 52"/>
                <a:gd name="T75" fmla="*/ 2147483647 h 76"/>
                <a:gd name="T76" fmla="*/ 2147483647 w 52"/>
                <a:gd name="T77" fmla="*/ 2147483647 h 76"/>
                <a:gd name="T78" fmla="*/ 2147483647 w 52"/>
                <a:gd name="T79" fmla="*/ 2147483647 h 76"/>
                <a:gd name="T80" fmla="*/ 2147483647 w 52"/>
                <a:gd name="T81" fmla="*/ 2147483647 h 76"/>
                <a:gd name="T82" fmla="*/ 2147483647 w 52"/>
                <a:gd name="T83" fmla="*/ 2147483647 h 76"/>
                <a:gd name="T84" fmla="*/ 2147483647 w 52"/>
                <a:gd name="T85" fmla="*/ 2147483647 h 76"/>
                <a:gd name="T86" fmla="*/ 2147483647 w 52"/>
                <a:gd name="T87" fmla="*/ 2147483647 h 76"/>
                <a:gd name="T88" fmla="*/ 2147483647 w 52"/>
                <a:gd name="T89" fmla="*/ 2147483647 h 76"/>
                <a:gd name="T90" fmla="*/ 2147483647 w 52"/>
                <a:gd name="T91" fmla="*/ 2147483647 h 76"/>
                <a:gd name="T92" fmla="*/ 2147483647 w 52"/>
                <a:gd name="T93" fmla="*/ 2147483647 h 76"/>
                <a:gd name="T94" fmla="*/ 2147483647 w 52"/>
                <a:gd name="T95" fmla="*/ 2147483647 h 76"/>
                <a:gd name="T96" fmla="*/ 2147483647 w 52"/>
                <a:gd name="T97" fmla="*/ 2147483647 h 76"/>
                <a:gd name="T98" fmla="*/ 2147483647 w 52"/>
                <a:gd name="T99" fmla="*/ 2147483647 h 76"/>
                <a:gd name="T100" fmla="*/ 2147483647 w 52"/>
                <a:gd name="T101" fmla="*/ 2147483647 h 76"/>
                <a:gd name="T102" fmla="*/ 2147483647 w 52"/>
                <a:gd name="T103" fmla="*/ 2147483647 h 76"/>
                <a:gd name="T104" fmla="*/ 2147483647 w 52"/>
                <a:gd name="T105" fmla="*/ 2147483647 h 76"/>
                <a:gd name="T106" fmla="*/ 2147483647 w 52"/>
                <a:gd name="T107" fmla="*/ 2147483647 h 76"/>
                <a:gd name="T108" fmla="*/ 2147483647 w 52"/>
                <a:gd name="T109" fmla="*/ 2147483647 h 76"/>
                <a:gd name="T110" fmla="*/ 2147483647 w 52"/>
                <a:gd name="T111" fmla="*/ 2147483647 h 76"/>
                <a:gd name="T112" fmla="*/ 2147483647 w 52"/>
                <a:gd name="T113" fmla="*/ 2147483647 h 76"/>
                <a:gd name="T114" fmla="*/ 2147483647 w 52"/>
                <a:gd name="T115" fmla="*/ 2147483647 h 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
                <a:gd name="T175" fmla="*/ 0 h 76"/>
                <a:gd name="T176" fmla="*/ 52 w 52"/>
                <a:gd name="T177" fmla="*/ 76 h 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 h="76">
                  <a:moveTo>
                    <a:pt x="52" y="32"/>
                  </a:moveTo>
                  <a:lnTo>
                    <a:pt x="50" y="26"/>
                  </a:lnTo>
                  <a:lnTo>
                    <a:pt x="48" y="24"/>
                  </a:lnTo>
                  <a:lnTo>
                    <a:pt x="46" y="22"/>
                  </a:lnTo>
                  <a:lnTo>
                    <a:pt x="46" y="20"/>
                  </a:lnTo>
                  <a:lnTo>
                    <a:pt x="40" y="20"/>
                  </a:lnTo>
                  <a:lnTo>
                    <a:pt x="32" y="6"/>
                  </a:lnTo>
                  <a:lnTo>
                    <a:pt x="24" y="6"/>
                  </a:lnTo>
                  <a:lnTo>
                    <a:pt x="22" y="4"/>
                  </a:lnTo>
                  <a:lnTo>
                    <a:pt x="20" y="4"/>
                  </a:lnTo>
                  <a:lnTo>
                    <a:pt x="16" y="2"/>
                  </a:lnTo>
                  <a:lnTo>
                    <a:pt x="14" y="0"/>
                  </a:lnTo>
                  <a:lnTo>
                    <a:pt x="12" y="4"/>
                  </a:lnTo>
                  <a:lnTo>
                    <a:pt x="12" y="10"/>
                  </a:lnTo>
                  <a:lnTo>
                    <a:pt x="10" y="10"/>
                  </a:lnTo>
                  <a:lnTo>
                    <a:pt x="8" y="12"/>
                  </a:lnTo>
                  <a:lnTo>
                    <a:pt x="6" y="14"/>
                  </a:lnTo>
                  <a:lnTo>
                    <a:pt x="4" y="16"/>
                  </a:lnTo>
                  <a:lnTo>
                    <a:pt x="2" y="20"/>
                  </a:lnTo>
                  <a:lnTo>
                    <a:pt x="2" y="28"/>
                  </a:lnTo>
                  <a:lnTo>
                    <a:pt x="4" y="32"/>
                  </a:lnTo>
                  <a:lnTo>
                    <a:pt x="4" y="36"/>
                  </a:lnTo>
                  <a:lnTo>
                    <a:pt x="6" y="40"/>
                  </a:lnTo>
                  <a:lnTo>
                    <a:pt x="10" y="44"/>
                  </a:lnTo>
                  <a:lnTo>
                    <a:pt x="12" y="46"/>
                  </a:lnTo>
                  <a:lnTo>
                    <a:pt x="12" y="48"/>
                  </a:lnTo>
                  <a:lnTo>
                    <a:pt x="6" y="54"/>
                  </a:lnTo>
                  <a:lnTo>
                    <a:pt x="8" y="62"/>
                  </a:lnTo>
                  <a:lnTo>
                    <a:pt x="6" y="64"/>
                  </a:lnTo>
                  <a:lnTo>
                    <a:pt x="4" y="64"/>
                  </a:lnTo>
                  <a:lnTo>
                    <a:pt x="4" y="66"/>
                  </a:lnTo>
                  <a:lnTo>
                    <a:pt x="2" y="68"/>
                  </a:lnTo>
                  <a:lnTo>
                    <a:pt x="0" y="72"/>
                  </a:lnTo>
                  <a:lnTo>
                    <a:pt x="4" y="76"/>
                  </a:lnTo>
                  <a:lnTo>
                    <a:pt x="10" y="76"/>
                  </a:lnTo>
                  <a:lnTo>
                    <a:pt x="12" y="74"/>
                  </a:lnTo>
                  <a:lnTo>
                    <a:pt x="12" y="72"/>
                  </a:lnTo>
                  <a:lnTo>
                    <a:pt x="14" y="72"/>
                  </a:lnTo>
                  <a:lnTo>
                    <a:pt x="16" y="72"/>
                  </a:lnTo>
                  <a:lnTo>
                    <a:pt x="18" y="72"/>
                  </a:lnTo>
                  <a:lnTo>
                    <a:pt x="20" y="72"/>
                  </a:lnTo>
                  <a:lnTo>
                    <a:pt x="22" y="72"/>
                  </a:lnTo>
                  <a:lnTo>
                    <a:pt x="26" y="74"/>
                  </a:lnTo>
                  <a:lnTo>
                    <a:pt x="30" y="74"/>
                  </a:lnTo>
                  <a:lnTo>
                    <a:pt x="32" y="72"/>
                  </a:lnTo>
                  <a:lnTo>
                    <a:pt x="40" y="64"/>
                  </a:lnTo>
                  <a:lnTo>
                    <a:pt x="40" y="60"/>
                  </a:lnTo>
                  <a:lnTo>
                    <a:pt x="44" y="50"/>
                  </a:lnTo>
                  <a:lnTo>
                    <a:pt x="46" y="46"/>
                  </a:lnTo>
                  <a:lnTo>
                    <a:pt x="48" y="44"/>
                  </a:lnTo>
                  <a:lnTo>
                    <a:pt x="50" y="42"/>
                  </a:lnTo>
                  <a:lnTo>
                    <a:pt x="50" y="40"/>
                  </a:lnTo>
                  <a:lnTo>
                    <a:pt x="52" y="38"/>
                  </a:lnTo>
                  <a:lnTo>
                    <a:pt x="52" y="36"/>
                  </a:lnTo>
                  <a:lnTo>
                    <a:pt x="52" y="34"/>
                  </a:lnTo>
                  <a:lnTo>
                    <a:pt x="52" y="3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52" name="Guyana" descr="© INSCALE GmbH, 05.05.2010&#10;http://www.presentationload.com/">
              <a:extLst>
                <a:ext uri="{FF2B5EF4-FFF2-40B4-BE49-F238E27FC236}">
                  <a16:creationId xmlns:a16="http://schemas.microsoft.com/office/drawing/2014/main" id="{2555699E-C2EA-4A67-9242-87447639C650}"/>
                </a:ext>
              </a:extLst>
            </p:cNvPr>
            <p:cNvSpPr>
              <a:spLocks/>
            </p:cNvSpPr>
            <p:nvPr/>
          </p:nvSpPr>
          <p:spPr bwMode="gray">
            <a:xfrm>
              <a:off x="2391990" y="3981362"/>
              <a:ext cx="130145" cy="232067"/>
            </a:xfrm>
            <a:custGeom>
              <a:avLst/>
              <a:gdLst>
                <a:gd name="T0" fmla="*/ 2147483647 w 324"/>
                <a:gd name="T1" fmla="*/ 2147483647 h 582"/>
                <a:gd name="T2" fmla="*/ 2147483647 w 324"/>
                <a:gd name="T3" fmla="*/ 2147483647 h 582"/>
                <a:gd name="T4" fmla="*/ 2147483647 w 324"/>
                <a:gd name="T5" fmla="*/ 2147483647 h 582"/>
                <a:gd name="T6" fmla="*/ 2147483647 w 324"/>
                <a:gd name="T7" fmla="*/ 2147483647 h 582"/>
                <a:gd name="T8" fmla="*/ 2147483647 w 324"/>
                <a:gd name="T9" fmla="*/ 2147483647 h 582"/>
                <a:gd name="T10" fmla="*/ 2147483647 w 324"/>
                <a:gd name="T11" fmla="*/ 2147483647 h 582"/>
                <a:gd name="T12" fmla="*/ 2147483647 w 324"/>
                <a:gd name="T13" fmla="*/ 2147483647 h 582"/>
                <a:gd name="T14" fmla="*/ 2147483647 w 324"/>
                <a:gd name="T15" fmla="*/ 2147483647 h 582"/>
                <a:gd name="T16" fmla="*/ 0 w 324"/>
                <a:gd name="T17" fmla="*/ 2147483647 h 582"/>
                <a:gd name="T18" fmla="*/ 2147483647 w 324"/>
                <a:gd name="T19" fmla="*/ 2147483647 h 582"/>
                <a:gd name="T20" fmla="*/ 2147483647 w 324"/>
                <a:gd name="T21" fmla="*/ 2147483647 h 582"/>
                <a:gd name="T22" fmla="*/ 2147483647 w 324"/>
                <a:gd name="T23" fmla="*/ 2147483647 h 582"/>
                <a:gd name="T24" fmla="*/ 2147483647 w 324"/>
                <a:gd name="T25" fmla="*/ 2147483647 h 582"/>
                <a:gd name="T26" fmla="*/ 2147483647 w 324"/>
                <a:gd name="T27" fmla="*/ 2147483647 h 582"/>
                <a:gd name="T28" fmla="*/ 2147483647 w 324"/>
                <a:gd name="T29" fmla="*/ 2147483647 h 582"/>
                <a:gd name="T30" fmla="*/ 2147483647 w 324"/>
                <a:gd name="T31" fmla="*/ 2147483647 h 582"/>
                <a:gd name="T32" fmla="*/ 2147483647 w 324"/>
                <a:gd name="T33" fmla="*/ 2147483647 h 582"/>
                <a:gd name="T34" fmla="*/ 2147483647 w 324"/>
                <a:gd name="T35" fmla="*/ 2147483647 h 582"/>
                <a:gd name="T36" fmla="*/ 2147483647 w 324"/>
                <a:gd name="T37" fmla="*/ 2147483647 h 582"/>
                <a:gd name="T38" fmla="*/ 2147483647 w 324"/>
                <a:gd name="T39" fmla="*/ 2147483647 h 582"/>
                <a:gd name="T40" fmla="*/ 2147483647 w 324"/>
                <a:gd name="T41" fmla="*/ 2147483647 h 582"/>
                <a:gd name="T42" fmla="*/ 2147483647 w 324"/>
                <a:gd name="T43" fmla="*/ 2147483647 h 582"/>
                <a:gd name="T44" fmla="*/ 2147483647 w 324"/>
                <a:gd name="T45" fmla="*/ 2147483647 h 582"/>
                <a:gd name="T46" fmla="*/ 2147483647 w 324"/>
                <a:gd name="T47" fmla="*/ 2147483647 h 582"/>
                <a:gd name="T48" fmla="*/ 2147483647 w 324"/>
                <a:gd name="T49" fmla="*/ 2147483647 h 582"/>
                <a:gd name="T50" fmla="*/ 2147483647 w 324"/>
                <a:gd name="T51" fmla="*/ 2147483647 h 582"/>
                <a:gd name="T52" fmla="*/ 2147483647 w 324"/>
                <a:gd name="T53" fmla="*/ 2147483647 h 582"/>
                <a:gd name="T54" fmla="*/ 2147483647 w 324"/>
                <a:gd name="T55" fmla="*/ 2147483647 h 582"/>
                <a:gd name="T56" fmla="*/ 2147483647 w 324"/>
                <a:gd name="T57" fmla="*/ 2147483647 h 582"/>
                <a:gd name="T58" fmla="*/ 2147483647 w 324"/>
                <a:gd name="T59" fmla="*/ 2147483647 h 582"/>
                <a:gd name="T60" fmla="*/ 2147483647 w 324"/>
                <a:gd name="T61" fmla="*/ 2147483647 h 582"/>
                <a:gd name="T62" fmla="*/ 2147483647 w 324"/>
                <a:gd name="T63" fmla="*/ 2147483647 h 582"/>
                <a:gd name="T64" fmla="*/ 2147483647 w 324"/>
                <a:gd name="T65" fmla="*/ 2147483647 h 582"/>
                <a:gd name="T66" fmla="*/ 2147483647 w 324"/>
                <a:gd name="T67" fmla="*/ 2147483647 h 582"/>
                <a:gd name="T68" fmla="*/ 2147483647 w 324"/>
                <a:gd name="T69" fmla="*/ 2147483647 h 582"/>
                <a:gd name="T70" fmla="*/ 2147483647 w 324"/>
                <a:gd name="T71" fmla="*/ 2147483647 h 582"/>
                <a:gd name="T72" fmla="*/ 2147483647 w 324"/>
                <a:gd name="T73" fmla="*/ 2147483647 h 582"/>
                <a:gd name="T74" fmla="*/ 2147483647 w 324"/>
                <a:gd name="T75" fmla="*/ 2147483647 h 582"/>
                <a:gd name="T76" fmla="*/ 2147483647 w 324"/>
                <a:gd name="T77" fmla="*/ 2147483647 h 582"/>
                <a:gd name="T78" fmla="*/ 2147483647 w 324"/>
                <a:gd name="T79" fmla="*/ 2147483647 h 582"/>
                <a:gd name="T80" fmla="*/ 2147483647 w 324"/>
                <a:gd name="T81" fmla="*/ 2147483647 h 582"/>
                <a:gd name="T82" fmla="*/ 2147483647 w 324"/>
                <a:gd name="T83" fmla="*/ 2147483647 h 582"/>
                <a:gd name="T84" fmla="*/ 2147483647 w 324"/>
                <a:gd name="T85" fmla="*/ 2147483647 h 582"/>
                <a:gd name="T86" fmla="*/ 2147483647 w 324"/>
                <a:gd name="T87" fmla="*/ 2147483647 h 582"/>
                <a:gd name="T88" fmla="*/ 2147483647 w 324"/>
                <a:gd name="T89" fmla="*/ 2147483647 h 582"/>
                <a:gd name="T90" fmla="*/ 2147483647 w 324"/>
                <a:gd name="T91" fmla="*/ 2147483647 h 582"/>
                <a:gd name="T92" fmla="*/ 2147483647 w 324"/>
                <a:gd name="T93" fmla="*/ 2147483647 h 582"/>
                <a:gd name="T94" fmla="*/ 2147483647 w 324"/>
                <a:gd name="T95" fmla="*/ 2147483647 h 582"/>
                <a:gd name="T96" fmla="*/ 2147483647 w 324"/>
                <a:gd name="T97" fmla="*/ 2147483647 h 582"/>
                <a:gd name="T98" fmla="*/ 2147483647 w 324"/>
                <a:gd name="T99" fmla="*/ 2147483647 h 582"/>
                <a:gd name="T100" fmla="*/ 2147483647 w 324"/>
                <a:gd name="T101" fmla="*/ 2147483647 h 582"/>
                <a:gd name="T102" fmla="*/ 2147483647 w 324"/>
                <a:gd name="T103" fmla="*/ 2147483647 h 582"/>
                <a:gd name="T104" fmla="*/ 2147483647 w 324"/>
                <a:gd name="T105" fmla="*/ 2147483647 h 582"/>
                <a:gd name="T106" fmla="*/ 2147483647 w 324"/>
                <a:gd name="T107" fmla="*/ 2147483647 h 582"/>
                <a:gd name="T108" fmla="*/ 2147483647 w 324"/>
                <a:gd name="T109" fmla="*/ 2147483647 h 582"/>
                <a:gd name="T110" fmla="*/ 2147483647 w 324"/>
                <a:gd name="T111" fmla="*/ 2147483647 h 582"/>
                <a:gd name="T112" fmla="*/ 2147483647 w 324"/>
                <a:gd name="T113" fmla="*/ 2147483647 h 582"/>
                <a:gd name="T114" fmla="*/ 2147483647 w 324"/>
                <a:gd name="T115" fmla="*/ 2147483647 h 582"/>
                <a:gd name="T116" fmla="*/ 2147483647 w 324"/>
                <a:gd name="T117" fmla="*/ 2147483647 h 582"/>
                <a:gd name="T118" fmla="*/ 2147483647 w 324"/>
                <a:gd name="T119" fmla="*/ 2147483647 h 582"/>
                <a:gd name="T120" fmla="*/ 2147483647 w 324"/>
                <a:gd name="T121" fmla="*/ 2147483647 h 582"/>
                <a:gd name="T122" fmla="*/ 2147483647 w 324"/>
                <a:gd name="T123" fmla="*/ 0 h 582"/>
                <a:gd name="T124" fmla="*/ 2147483647 w 324"/>
                <a:gd name="T125" fmla="*/ 2147483647 h 58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4"/>
                <a:gd name="T190" fmla="*/ 0 h 582"/>
                <a:gd name="T191" fmla="*/ 324 w 324"/>
                <a:gd name="T192" fmla="*/ 582 h 58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4" h="582">
                  <a:moveTo>
                    <a:pt x="90" y="42"/>
                  </a:moveTo>
                  <a:lnTo>
                    <a:pt x="84" y="48"/>
                  </a:lnTo>
                  <a:lnTo>
                    <a:pt x="72" y="48"/>
                  </a:lnTo>
                  <a:lnTo>
                    <a:pt x="60" y="60"/>
                  </a:lnTo>
                  <a:lnTo>
                    <a:pt x="60" y="102"/>
                  </a:lnTo>
                  <a:lnTo>
                    <a:pt x="84" y="102"/>
                  </a:lnTo>
                  <a:lnTo>
                    <a:pt x="84" y="120"/>
                  </a:lnTo>
                  <a:lnTo>
                    <a:pt x="78" y="126"/>
                  </a:lnTo>
                  <a:lnTo>
                    <a:pt x="66" y="132"/>
                  </a:lnTo>
                  <a:lnTo>
                    <a:pt x="54" y="132"/>
                  </a:lnTo>
                  <a:lnTo>
                    <a:pt x="42" y="138"/>
                  </a:lnTo>
                  <a:lnTo>
                    <a:pt x="12" y="138"/>
                  </a:lnTo>
                  <a:lnTo>
                    <a:pt x="12" y="144"/>
                  </a:lnTo>
                  <a:lnTo>
                    <a:pt x="30" y="162"/>
                  </a:lnTo>
                  <a:lnTo>
                    <a:pt x="30" y="180"/>
                  </a:lnTo>
                  <a:lnTo>
                    <a:pt x="18" y="186"/>
                  </a:lnTo>
                  <a:lnTo>
                    <a:pt x="12" y="186"/>
                  </a:lnTo>
                  <a:lnTo>
                    <a:pt x="0" y="192"/>
                  </a:lnTo>
                  <a:lnTo>
                    <a:pt x="0" y="204"/>
                  </a:lnTo>
                  <a:lnTo>
                    <a:pt x="6" y="210"/>
                  </a:lnTo>
                  <a:lnTo>
                    <a:pt x="12" y="222"/>
                  </a:lnTo>
                  <a:lnTo>
                    <a:pt x="48" y="258"/>
                  </a:lnTo>
                  <a:lnTo>
                    <a:pt x="72" y="264"/>
                  </a:lnTo>
                  <a:lnTo>
                    <a:pt x="78" y="252"/>
                  </a:lnTo>
                  <a:lnTo>
                    <a:pt x="90" y="264"/>
                  </a:lnTo>
                  <a:lnTo>
                    <a:pt x="96" y="276"/>
                  </a:lnTo>
                  <a:lnTo>
                    <a:pt x="96" y="294"/>
                  </a:lnTo>
                  <a:lnTo>
                    <a:pt x="90" y="306"/>
                  </a:lnTo>
                  <a:lnTo>
                    <a:pt x="84" y="312"/>
                  </a:lnTo>
                  <a:lnTo>
                    <a:pt x="84" y="318"/>
                  </a:lnTo>
                  <a:lnTo>
                    <a:pt x="90" y="324"/>
                  </a:lnTo>
                  <a:lnTo>
                    <a:pt x="96" y="324"/>
                  </a:lnTo>
                  <a:lnTo>
                    <a:pt x="108" y="318"/>
                  </a:lnTo>
                  <a:lnTo>
                    <a:pt x="114" y="318"/>
                  </a:lnTo>
                  <a:lnTo>
                    <a:pt x="114" y="348"/>
                  </a:lnTo>
                  <a:lnTo>
                    <a:pt x="120" y="354"/>
                  </a:lnTo>
                  <a:lnTo>
                    <a:pt x="126" y="354"/>
                  </a:lnTo>
                  <a:lnTo>
                    <a:pt x="126" y="366"/>
                  </a:lnTo>
                  <a:lnTo>
                    <a:pt x="120" y="378"/>
                  </a:lnTo>
                  <a:lnTo>
                    <a:pt x="108" y="390"/>
                  </a:lnTo>
                  <a:lnTo>
                    <a:pt x="96" y="432"/>
                  </a:lnTo>
                  <a:lnTo>
                    <a:pt x="90" y="444"/>
                  </a:lnTo>
                  <a:lnTo>
                    <a:pt x="90" y="450"/>
                  </a:lnTo>
                  <a:lnTo>
                    <a:pt x="84" y="462"/>
                  </a:lnTo>
                  <a:lnTo>
                    <a:pt x="84" y="468"/>
                  </a:lnTo>
                  <a:lnTo>
                    <a:pt x="90" y="480"/>
                  </a:lnTo>
                  <a:lnTo>
                    <a:pt x="114" y="504"/>
                  </a:lnTo>
                  <a:lnTo>
                    <a:pt x="114" y="534"/>
                  </a:lnTo>
                  <a:lnTo>
                    <a:pt x="144" y="570"/>
                  </a:lnTo>
                  <a:lnTo>
                    <a:pt x="156" y="570"/>
                  </a:lnTo>
                  <a:lnTo>
                    <a:pt x="162" y="582"/>
                  </a:lnTo>
                  <a:lnTo>
                    <a:pt x="198" y="582"/>
                  </a:lnTo>
                  <a:lnTo>
                    <a:pt x="204" y="576"/>
                  </a:lnTo>
                  <a:lnTo>
                    <a:pt x="204" y="564"/>
                  </a:lnTo>
                  <a:lnTo>
                    <a:pt x="216" y="552"/>
                  </a:lnTo>
                  <a:lnTo>
                    <a:pt x="234" y="552"/>
                  </a:lnTo>
                  <a:lnTo>
                    <a:pt x="240" y="540"/>
                  </a:lnTo>
                  <a:lnTo>
                    <a:pt x="270" y="540"/>
                  </a:lnTo>
                  <a:lnTo>
                    <a:pt x="270" y="534"/>
                  </a:lnTo>
                  <a:lnTo>
                    <a:pt x="288" y="516"/>
                  </a:lnTo>
                  <a:lnTo>
                    <a:pt x="300" y="516"/>
                  </a:lnTo>
                  <a:lnTo>
                    <a:pt x="312" y="528"/>
                  </a:lnTo>
                  <a:lnTo>
                    <a:pt x="318" y="528"/>
                  </a:lnTo>
                  <a:lnTo>
                    <a:pt x="324" y="522"/>
                  </a:lnTo>
                  <a:lnTo>
                    <a:pt x="324" y="510"/>
                  </a:lnTo>
                  <a:lnTo>
                    <a:pt x="318" y="504"/>
                  </a:lnTo>
                  <a:lnTo>
                    <a:pt x="312" y="492"/>
                  </a:lnTo>
                  <a:lnTo>
                    <a:pt x="306" y="474"/>
                  </a:lnTo>
                  <a:lnTo>
                    <a:pt x="288" y="456"/>
                  </a:lnTo>
                  <a:lnTo>
                    <a:pt x="282" y="444"/>
                  </a:lnTo>
                  <a:lnTo>
                    <a:pt x="282" y="420"/>
                  </a:lnTo>
                  <a:lnTo>
                    <a:pt x="288" y="414"/>
                  </a:lnTo>
                  <a:lnTo>
                    <a:pt x="288" y="396"/>
                  </a:lnTo>
                  <a:lnTo>
                    <a:pt x="276" y="408"/>
                  </a:lnTo>
                  <a:lnTo>
                    <a:pt x="276" y="414"/>
                  </a:lnTo>
                  <a:lnTo>
                    <a:pt x="264" y="414"/>
                  </a:lnTo>
                  <a:lnTo>
                    <a:pt x="258" y="402"/>
                  </a:lnTo>
                  <a:lnTo>
                    <a:pt x="252" y="396"/>
                  </a:lnTo>
                  <a:lnTo>
                    <a:pt x="246" y="384"/>
                  </a:lnTo>
                  <a:lnTo>
                    <a:pt x="246" y="372"/>
                  </a:lnTo>
                  <a:lnTo>
                    <a:pt x="240" y="372"/>
                  </a:lnTo>
                  <a:lnTo>
                    <a:pt x="240" y="366"/>
                  </a:lnTo>
                  <a:lnTo>
                    <a:pt x="234" y="360"/>
                  </a:lnTo>
                  <a:lnTo>
                    <a:pt x="234" y="348"/>
                  </a:lnTo>
                  <a:lnTo>
                    <a:pt x="240" y="336"/>
                  </a:lnTo>
                  <a:lnTo>
                    <a:pt x="246" y="330"/>
                  </a:lnTo>
                  <a:lnTo>
                    <a:pt x="246" y="288"/>
                  </a:lnTo>
                  <a:lnTo>
                    <a:pt x="252" y="282"/>
                  </a:lnTo>
                  <a:lnTo>
                    <a:pt x="264" y="276"/>
                  </a:lnTo>
                  <a:lnTo>
                    <a:pt x="294" y="276"/>
                  </a:lnTo>
                  <a:lnTo>
                    <a:pt x="300" y="270"/>
                  </a:lnTo>
                  <a:lnTo>
                    <a:pt x="300" y="258"/>
                  </a:lnTo>
                  <a:lnTo>
                    <a:pt x="288" y="246"/>
                  </a:lnTo>
                  <a:lnTo>
                    <a:pt x="288" y="234"/>
                  </a:lnTo>
                  <a:lnTo>
                    <a:pt x="294" y="222"/>
                  </a:lnTo>
                  <a:lnTo>
                    <a:pt x="300" y="216"/>
                  </a:lnTo>
                  <a:lnTo>
                    <a:pt x="306" y="204"/>
                  </a:lnTo>
                  <a:lnTo>
                    <a:pt x="306" y="192"/>
                  </a:lnTo>
                  <a:lnTo>
                    <a:pt x="300" y="180"/>
                  </a:lnTo>
                  <a:lnTo>
                    <a:pt x="294" y="174"/>
                  </a:lnTo>
                  <a:lnTo>
                    <a:pt x="276" y="174"/>
                  </a:lnTo>
                  <a:lnTo>
                    <a:pt x="270" y="180"/>
                  </a:lnTo>
                  <a:lnTo>
                    <a:pt x="270" y="156"/>
                  </a:lnTo>
                  <a:lnTo>
                    <a:pt x="258" y="150"/>
                  </a:lnTo>
                  <a:lnTo>
                    <a:pt x="252" y="138"/>
                  </a:lnTo>
                  <a:lnTo>
                    <a:pt x="234" y="132"/>
                  </a:lnTo>
                  <a:lnTo>
                    <a:pt x="216" y="132"/>
                  </a:lnTo>
                  <a:lnTo>
                    <a:pt x="204" y="138"/>
                  </a:lnTo>
                  <a:lnTo>
                    <a:pt x="198" y="150"/>
                  </a:lnTo>
                  <a:lnTo>
                    <a:pt x="198" y="156"/>
                  </a:lnTo>
                  <a:lnTo>
                    <a:pt x="192" y="162"/>
                  </a:lnTo>
                  <a:lnTo>
                    <a:pt x="192" y="168"/>
                  </a:lnTo>
                  <a:lnTo>
                    <a:pt x="192" y="162"/>
                  </a:lnTo>
                  <a:lnTo>
                    <a:pt x="198" y="156"/>
                  </a:lnTo>
                  <a:lnTo>
                    <a:pt x="198" y="144"/>
                  </a:lnTo>
                  <a:lnTo>
                    <a:pt x="204" y="132"/>
                  </a:lnTo>
                  <a:lnTo>
                    <a:pt x="204" y="114"/>
                  </a:lnTo>
                  <a:lnTo>
                    <a:pt x="210" y="102"/>
                  </a:lnTo>
                  <a:lnTo>
                    <a:pt x="210" y="78"/>
                  </a:lnTo>
                  <a:lnTo>
                    <a:pt x="192" y="42"/>
                  </a:lnTo>
                  <a:lnTo>
                    <a:pt x="180" y="30"/>
                  </a:lnTo>
                  <a:lnTo>
                    <a:pt x="132" y="6"/>
                  </a:lnTo>
                  <a:lnTo>
                    <a:pt x="126" y="0"/>
                  </a:lnTo>
                  <a:lnTo>
                    <a:pt x="120" y="0"/>
                  </a:lnTo>
                  <a:lnTo>
                    <a:pt x="102" y="36"/>
                  </a:lnTo>
                  <a:lnTo>
                    <a:pt x="96" y="42"/>
                  </a:lnTo>
                  <a:lnTo>
                    <a:pt x="90" y="4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53" name="Guinea-Bissau" descr="© INSCALE GmbH, 05.05.2010&#10;http://www.presentationload.com/">
              <a:extLst>
                <a:ext uri="{FF2B5EF4-FFF2-40B4-BE49-F238E27FC236}">
                  <a16:creationId xmlns:a16="http://schemas.microsoft.com/office/drawing/2014/main" id="{A9B5B0D9-3A77-439C-AC92-4B59F0FB242B}"/>
                </a:ext>
              </a:extLst>
            </p:cNvPr>
            <p:cNvSpPr>
              <a:spLocks/>
            </p:cNvSpPr>
            <p:nvPr/>
          </p:nvSpPr>
          <p:spPr bwMode="gray">
            <a:xfrm>
              <a:off x="3671496" y="3843376"/>
              <a:ext cx="73697" cy="62721"/>
            </a:xfrm>
            <a:custGeom>
              <a:avLst/>
              <a:gdLst>
                <a:gd name="T0" fmla="*/ 2147483647 w 186"/>
                <a:gd name="T1" fmla="*/ 2147483647 h 156"/>
                <a:gd name="T2" fmla="*/ 2147483647 w 186"/>
                <a:gd name="T3" fmla="*/ 2147483647 h 156"/>
                <a:gd name="T4" fmla="*/ 2147483647 w 186"/>
                <a:gd name="T5" fmla="*/ 2147483647 h 156"/>
                <a:gd name="T6" fmla="*/ 2147483647 w 186"/>
                <a:gd name="T7" fmla="*/ 2147483647 h 156"/>
                <a:gd name="T8" fmla="*/ 2147483647 w 186"/>
                <a:gd name="T9" fmla="*/ 2147483647 h 156"/>
                <a:gd name="T10" fmla="*/ 2147483647 w 186"/>
                <a:gd name="T11" fmla="*/ 2147483647 h 156"/>
                <a:gd name="T12" fmla="*/ 2147483647 w 186"/>
                <a:gd name="T13" fmla="*/ 2147483647 h 156"/>
                <a:gd name="T14" fmla="*/ 2147483647 w 186"/>
                <a:gd name="T15" fmla="*/ 2147483647 h 156"/>
                <a:gd name="T16" fmla="*/ 2147483647 w 186"/>
                <a:gd name="T17" fmla="*/ 2147483647 h 156"/>
                <a:gd name="T18" fmla="*/ 2147483647 w 186"/>
                <a:gd name="T19" fmla="*/ 2147483647 h 156"/>
                <a:gd name="T20" fmla="*/ 2147483647 w 186"/>
                <a:gd name="T21" fmla="*/ 2147483647 h 156"/>
                <a:gd name="T22" fmla="*/ 2147483647 w 186"/>
                <a:gd name="T23" fmla="*/ 2147483647 h 156"/>
                <a:gd name="T24" fmla="*/ 2147483647 w 186"/>
                <a:gd name="T25" fmla="*/ 2147483647 h 156"/>
                <a:gd name="T26" fmla="*/ 2147483647 w 186"/>
                <a:gd name="T27" fmla="*/ 2147483647 h 156"/>
                <a:gd name="T28" fmla="*/ 2147483647 w 186"/>
                <a:gd name="T29" fmla="*/ 0 h 156"/>
                <a:gd name="T30" fmla="*/ 2147483647 w 186"/>
                <a:gd name="T31" fmla="*/ 2147483647 h 156"/>
                <a:gd name="T32" fmla="*/ 2147483647 w 186"/>
                <a:gd name="T33" fmla="*/ 2147483647 h 156"/>
                <a:gd name="T34" fmla="*/ 2147483647 w 186"/>
                <a:gd name="T35" fmla="*/ 2147483647 h 156"/>
                <a:gd name="T36" fmla="*/ 0 w 186"/>
                <a:gd name="T37" fmla="*/ 2147483647 h 156"/>
                <a:gd name="T38" fmla="*/ 2147483647 w 186"/>
                <a:gd name="T39" fmla="*/ 2147483647 h 156"/>
                <a:gd name="T40" fmla="*/ 2147483647 w 186"/>
                <a:gd name="T41" fmla="*/ 2147483647 h 156"/>
                <a:gd name="T42" fmla="*/ 2147483647 w 186"/>
                <a:gd name="T43" fmla="*/ 2147483647 h 156"/>
                <a:gd name="T44" fmla="*/ 2147483647 w 186"/>
                <a:gd name="T45" fmla="*/ 2147483647 h 156"/>
                <a:gd name="T46" fmla="*/ 2147483647 w 186"/>
                <a:gd name="T47" fmla="*/ 2147483647 h 156"/>
                <a:gd name="T48" fmla="*/ 2147483647 w 186"/>
                <a:gd name="T49" fmla="*/ 2147483647 h 156"/>
                <a:gd name="T50" fmla="*/ 2147483647 w 186"/>
                <a:gd name="T51" fmla="*/ 2147483647 h 156"/>
                <a:gd name="T52" fmla="*/ 2147483647 w 186"/>
                <a:gd name="T53" fmla="*/ 2147483647 h 156"/>
                <a:gd name="T54" fmla="*/ 2147483647 w 186"/>
                <a:gd name="T55" fmla="*/ 2147483647 h 156"/>
                <a:gd name="T56" fmla="*/ 2147483647 w 186"/>
                <a:gd name="T57" fmla="*/ 2147483647 h 156"/>
                <a:gd name="T58" fmla="*/ 2147483647 w 186"/>
                <a:gd name="T59" fmla="*/ 2147483647 h 156"/>
                <a:gd name="T60" fmla="*/ 2147483647 w 186"/>
                <a:gd name="T61" fmla="*/ 2147483647 h 156"/>
                <a:gd name="T62" fmla="*/ 2147483647 w 186"/>
                <a:gd name="T63" fmla="*/ 2147483647 h 156"/>
                <a:gd name="T64" fmla="*/ 2147483647 w 186"/>
                <a:gd name="T65" fmla="*/ 2147483647 h 156"/>
                <a:gd name="T66" fmla="*/ 2147483647 w 186"/>
                <a:gd name="T67" fmla="*/ 2147483647 h 156"/>
                <a:gd name="T68" fmla="*/ 2147483647 w 186"/>
                <a:gd name="T69" fmla="*/ 2147483647 h 156"/>
                <a:gd name="T70" fmla="*/ 2147483647 w 186"/>
                <a:gd name="T71" fmla="*/ 2147483647 h 156"/>
                <a:gd name="T72" fmla="*/ 2147483647 w 186"/>
                <a:gd name="T73" fmla="*/ 2147483647 h 1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56"/>
                <a:gd name="T113" fmla="*/ 186 w 186"/>
                <a:gd name="T114" fmla="*/ 156 h 1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56">
                  <a:moveTo>
                    <a:pt x="126" y="102"/>
                  </a:moveTo>
                  <a:lnTo>
                    <a:pt x="132" y="96"/>
                  </a:lnTo>
                  <a:lnTo>
                    <a:pt x="144" y="90"/>
                  </a:lnTo>
                  <a:lnTo>
                    <a:pt x="174" y="90"/>
                  </a:lnTo>
                  <a:lnTo>
                    <a:pt x="180" y="84"/>
                  </a:lnTo>
                  <a:lnTo>
                    <a:pt x="186" y="72"/>
                  </a:lnTo>
                  <a:lnTo>
                    <a:pt x="186" y="66"/>
                  </a:lnTo>
                  <a:lnTo>
                    <a:pt x="180" y="60"/>
                  </a:lnTo>
                  <a:lnTo>
                    <a:pt x="168" y="54"/>
                  </a:lnTo>
                  <a:lnTo>
                    <a:pt x="162" y="48"/>
                  </a:lnTo>
                  <a:lnTo>
                    <a:pt x="162" y="36"/>
                  </a:lnTo>
                  <a:lnTo>
                    <a:pt x="168" y="30"/>
                  </a:lnTo>
                  <a:lnTo>
                    <a:pt x="186" y="30"/>
                  </a:lnTo>
                  <a:lnTo>
                    <a:pt x="186" y="6"/>
                  </a:lnTo>
                  <a:lnTo>
                    <a:pt x="84" y="0"/>
                  </a:lnTo>
                  <a:lnTo>
                    <a:pt x="54" y="24"/>
                  </a:lnTo>
                  <a:lnTo>
                    <a:pt x="18" y="24"/>
                  </a:lnTo>
                  <a:lnTo>
                    <a:pt x="6" y="36"/>
                  </a:lnTo>
                  <a:lnTo>
                    <a:pt x="0" y="72"/>
                  </a:lnTo>
                  <a:lnTo>
                    <a:pt x="6" y="78"/>
                  </a:lnTo>
                  <a:lnTo>
                    <a:pt x="18" y="78"/>
                  </a:lnTo>
                  <a:lnTo>
                    <a:pt x="42" y="66"/>
                  </a:lnTo>
                  <a:lnTo>
                    <a:pt x="66" y="66"/>
                  </a:lnTo>
                  <a:lnTo>
                    <a:pt x="90" y="60"/>
                  </a:lnTo>
                  <a:lnTo>
                    <a:pt x="90" y="84"/>
                  </a:lnTo>
                  <a:lnTo>
                    <a:pt x="78" y="78"/>
                  </a:lnTo>
                  <a:lnTo>
                    <a:pt x="72" y="78"/>
                  </a:lnTo>
                  <a:lnTo>
                    <a:pt x="66" y="72"/>
                  </a:lnTo>
                  <a:lnTo>
                    <a:pt x="54" y="72"/>
                  </a:lnTo>
                  <a:lnTo>
                    <a:pt x="54" y="96"/>
                  </a:lnTo>
                  <a:lnTo>
                    <a:pt x="60" y="102"/>
                  </a:lnTo>
                  <a:lnTo>
                    <a:pt x="90" y="96"/>
                  </a:lnTo>
                  <a:lnTo>
                    <a:pt x="54" y="114"/>
                  </a:lnTo>
                  <a:lnTo>
                    <a:pt x="84" y="156"/>
                  </a:lnTo>
                  <a:lnTo>
                    <a:pt x="90" y="132"/>
                  </a:lnTo>
                  <a:lnTo>
                    <a:pt x="108" y="102"/>
                  </a:lnTo>
                  <a:lnTo>
                    <a:pt x="126" y="10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54" name="Guinea, Äquatorial" descr="© INSCALE GmbH, 05.05.2010&#10;http://www.presentationload.com/">
              <a:extLst>
                <a:ext uri="{FF2B5EF4-FFF2-40B4-BE49-F238E27FC236}">
                  <a16:creationId xmlns:a16="http://schemas.microsoft.com/office/drawing/2014/main" id="{88668D8E-F81A-49CF-9180-C59F88238AAC}"/>
                </a:ext>
              </a:extLst>
            </p:cNvPr>
            <p:cNvSpPr>
              <a:spLocks/>
            </p:cNvSpPr>
            <p:nvPr/>
          </p:nvSpPr>
          <p:spPr bwMode="gray">
            <a:xfrm>
              <a:off x="4391218" y="4177364"/>
              <a:ext cx="58016" cy="43905"/>
            </a:xfrm>
            <a:custGeom>
              <a:avLst/>
              <a:gdLst>
                <a:gd name="T0" fmla="*/ 2147483647 w 144"/>
                <a:gd name="T1" fmla="*/ 2147483647 h 108"/>
                <a:gd name="T2" fmla="*/ 2147483647 w 144"/>
                <a:gd name="T3" fmla="*/ 2147483647 h 108"/>
                <a:gd name="T4" fmla="*/ 2147483647 w 144"/>
                <a:gd name="T5" fmla="*/ 2147483647 h 108"/>
                <a:gd name="T6" fmla="*/ 2147483647 w 144"/>
                <a:gd name="T7" fmla="*/ 0 h 108"/>
                <a:gd name="T8" fmla="*/ 2147483647 w 144"/>
                <a:gd name="T9" fmla="*/ 2147483647 h 108"/>
                <a:gd name="T10" fmla="*/ 2147483647 w 144"/>
                <a:gd name="T11" fmla="*/ 2147483647 h 108"/>
                <a:gd name="T12" fmla="*/ 2147483647 w 144"/>
                <a:gd name="T13" fmla="*/ 2147483647 h 108"/>
                <a:gd name="T14" fmla="*/ 2147483647 w 144"/>
                <a:gd name="T15" fmla="*/ 2147483647 h 108"/>
                <a:gd name="T16" fmla="*/ 2147483647 w 144"/>
                <a:gd name="T17" fmla="*/ 2147483647 h 108"/>
                <a:gd name="T18" fmla="*/ 0 w 144"/>
                <a:gd name="T19" fmla="*/ 2147483647 h 108"/>
                <a:gd name="T20" fmla="*/ 0 w 144"/>
                <a:gd name="T21" fmla="*/ 2147483647 h 108"/>
                <a:gd name="T22" fmla="*/ 2147483647 w 144"/>
                <a:gd name="T23" fmla="*/ 2147483647 h 108"/>
                <a:gd name="T24" fmla="*/ 2147483647 w 144"/>
                <a:gd name="T25" fmla="*/ 2147483647 h 108"/>
                <a:gd name="T26" fmla="*/ 2147483647 w 144"/>
                <a:gd name="T27" fmla="*/ 2147483647 h 108"/>
                <a:gd name="T28" fmla="*/ 2147483647 w 144"/>
                <a:gd name="T29" fmla="*/ 2147483647 h 108"/>
                <a:gd name="T30" fmla="*/ 2147483647 w 144"/>
                <a:gd name="T31" fmla="*/ 2147483647 h 108"/>
                <a:gd name="T32" fmla="*/ 2147483647 w 144"/>
                <a:gd name="T33" fmla="*/ 2147483647 h 108"/>
                <a:gd name="T34" fmla="*/ 2147483647 w 144"/>
                <a:gd name="T35" fmla="*/ 2147483647 h 108"/>
                <a:gd name="T36" fmla="*/ 2147483647 w 144"/>
                <a:gd name="T37" fmla="*/ 2147483647 h 108"/>
                <a:gd name="T38" fmla="*/ 2147483647 w 144"/>
                <a:gd name="T39" fmla="*/ 2147483647 h 10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08"/>
                <a:gd name="T62" fmla="*/ 144 w 144"/>
                <a:gd name="T63" fmla="*/ 108 h 10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08">
                  <a:moveTo>
                    <a:pt x="138" y="48"/>
                  </a:moveTo>
                  <a:lnTo>
                    <a:pt x="144" y="12"/>
                  </a:lnTo>
                  <a:lnTo>
                    <a:pt x="48" y="12"/>
                  </a:lnTo>
                  <a:lnTo>
                    <a:pt x="36" y="0"/>
                  </a:lnTo>
                  <a:lnTo>
                    <a:pt x="30" y="6"/>
                  </a:lnTo>
                  <a:lnTo>
                    <a:pt x="30" y="42"/>
                  </a:lnTo>
                  <a:lnTo>
                    <a:pt x="18" y="54"/>
                  </a:lnTo>
                  <a:lnTo>
                    <a:pt x="12" y="66"/>
                  </a:lnTo>
                  <a:lnTo>
                    <a:pt x="6" y="72"/>
                  </a:lnTo>
                  <a:lnTo>
                    <a:pt x="0" y="84"/>
                  </a:lnTo>
                  <a:lnTo>
                    <a:pt x="0" y="90"/>
                  </a:lnTo>
                  <a:lnTo>
                    <a:pt x="6" y="96"/>
                  </a:lnTo>
                  <a:lnTo>
                    <a:pt x="18" y="102"/>
                  </a:lnTo>
                  <a:lnTo>
                    <a:pt x="36" y="102"/>
                  </a:lnTo>
                  <a:lnTo>
                    <a:pt x="36" y="108"/>
                  </a:lnTo>
                  <a:lnTo>
                    <a:pt x="138" y="108"/>
                  </a:lnTo>
                  <a:lnTo>
                    <a:pt x="138" y="102"/>
                  </a:lnTo>
                  <a:lnTo>
                    <a:pt x="144" y="84"/>
                  </a:lnTo>
                  <a:lnTo>
                    <a:pt x="144" y="54"/>
                  </a:lnTo>
                  <a:lnTo>
                    <a:pt x="138" y="48"/>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55" name="Guinea" descr="© INSCALE GmbH, 05.05.2010&#10;http://www.presentationload.com/">
              <a:extLst>
                <a:ext uri="{FF2B5EF4-FFF2-40B4-BE49-F238E27FC236}">
                  <a16:creationId xmlns:a16="http://schemas.microsoft.com/office/drawing/2014/main" id="{448B1832-CDB9-42B6-B149-A4227A1EBC56}"/>
                </a:ext>
              </a:extLst>
            </p:cNvPr>
            <p:cNvSpPr>
              <a:spLocks/>
            </p:cNvSpPr>
            <p:nvPr/>
          </p:nvSpPr>
          <p:spPr bwMode="gray">
            <a:xfrm>
              <a:off x="3707560" y="3846512"/>
              <a:ext cx="206979" cy="175619"/>
            </a:xfrm>
            <a:custGeom>
              <a:avLst/>
              <a:gdLst>
                <a:gd name="T0" fmla="*/ 2147483647 w 522"/>
                <a:gd name="T1" fmla="*/ 2147483647 h 444"/>
                <a:gd name="T2" fmla="*/ 2147483647 w 522"/>
                <a:gd name="T3" fmla="*/ 2147483647 h 444"/>
                <a:gd name="T4" fmla="*/ 2147483647 w 522"/>
                <a:gd name="T5" fmla="*/ 2147483647 h 444"/>
                <a:gd name="T6" fmla="*/ 2147483647 w 522"/>
                <a:gd name="T7" fmla="*/ 2147483647 h 444"/>
                <a:gd name="T8" fmla="*/ 2147483647 w 522"/>
                <a:gd name="T9" fmla="*/ 2147483647 h 444"/>
                <a:gd name="T10" fmla="*/ 2147483647 w 522"/>
                <a:gd name="T11" fmla="*/ 2147483647 h 444"/>
                <a:gd name="T12" fmla="*/ 2147483647 w 522"/>
                <a:gd name="T13" fmla="*/ 2147483647 h 444"/>
                <a:gd name="T14" fmla="*/ 2147483647 w 522"/>
                <a:gd name="T15" fmla="*/ 2147483647 h 444"/>
                <a:gd name="T16" fmla="*/ 2147483647 w 522"/>
                <a:gd name="T17" fmla="*/ 2147483647 h 444"/>
                <a:gd name="T18" fmla="*/ 2147483647 w 522"/>
                <a:gd name="T19" fmla="*/ 2147483647 h 444"/>
                <a:gd name="T20" fmla="*/ 2147483647 w 522"/>
                <a:gd name="T21" fmla="*/ 2147483647 h 444"/>
                <a:gd name="T22" fmla="*/ 2147483647 w 522"/>
                <a:gd name="T23" fmla="*/ 2147483647 h 444"/>
                <a:gd name="T24" fmla="*/ 2147483647 w 522"/>
                <a:gd name="T25" fmla="*/ 2147483647 h 444"/>
                <a:gd name="T26" fmla="*/ 2147483647 w 522"/>
                <a:gd name="T27" fmla="*/ 2147483647 h 444"/>
                <a:gd name="T28" fmla="*/ 2147483647 w 522"/>
                <a:gd name="T29" fmla="*/ 2147483647 h 444"/>
                <a:gd name="T30" fmla="*/ 2147483647 w 522"/>
                <a:gd name="T31" fmla="*/ 2147483647 h 444"/>
                <a:gd name="T32" fmla="*/ 2147483647 w 522"/>
                <a:gd name="T33" fmla="*/ 2147483647 h 444"/>
                <a:gd name="T34" fmla="*/ 2147483647 w 522"/>
                <a:gd name="T35" fmla="*/ 2147483647 h 444"/>
                <a:gd name="T36" fmla="*/ 2147483647 w 522"/>
                <a:gd name="T37" fmla="*/ 2147483647 h 444"/>
                <a:gd name="T38" fmla="*/ 2147483647 w 522"/>
                <a:gd name="T39" fmla="*/ 2147483647 h 444"/>
                <a:gd name="T40" fmla="*/ 2147483647 w 522"/>
                <a:gd name="T41" fmla="*/ 2147483647 h 444"/>
                <a:gd name="T42" fmla="*/ 2147483647 w 522"/>
                <a:gd name="T43" fmla="*/ 2147483647 h 444"/>
                <a:gd name="T44" fmla="*/ 2147483647 w 522"/>
                <a:gd name="T45" fmla="*/ 2147483647 h 444"/>
                <a:gd name="T46" fmla="*/ 2147483647 w 522"/>
                <a:gd name="T47" fmla="*/ 2147483647 h 444"/>
                <a:gd name="T48" fmla="*/ 2147483647 w 522"/>
                <a:gd name="T49" fmla="*/ 2147483647 h 444"/>
                <a:gd name="T50" fmla="*/ 2147483647 w 522"/>
                <a:gd name="T51" fmla="*/ 2147483647 h 444"/>
                <a:gd name="T52" fmla="*/ 2147483647 w 522"/>
                <a:gd name="T53" fmla="*/ 2147483647 h 444"/>
                <a:gd name="T54" fmla="*/ 2147483647 w 522"/>
                <a:gd name="T55" fmla="*/ 2147483647 h 444"/>
                <a:gd name="T56" fmla="*/ 2147483647 w 522"/>
                <a:gd name="T57" fmla="*/ 2147483647 h 444"/>
                <a:gd name="T58" fmla="*/ 2147483647 w 522"/>
                <a:gd name="T59" fmla="*/ 2147483647 h 444"/>
                <a:gd name="T60" fmla="*/ 2147483647 w 522"/>
                <a:gd name="T61" fmla="*/ 2147483647 h 444"/>
                <a:gd name="T62" fmla="*/ 2147483647 w 522"/>
                <a:gd name="T63" fmla="*/ 2147483647 h 444"/>
                <a:gd name="T64" fmla="*/ 2147483647 w 522"/>
                <a:gd name="T65" fmla="*/ 2147483647 h 444"/>
                <a:gd name="T66" fmla="*/ 2147483647 w 522"/>
                <a:gd name="T67" fmla="*/ 2147483647 h 444"/>
                <a:gd name="T68" fmla="*/ 2147483647 w 522"/>
                <a:gd name="T69" fmla="*/ 2147483647 h 444"/>
                <a:gd name="T70" fmla="*/ 2147483647 w 522"/>
                <a:gd name="T71" fmla="*/ 2147483647 h 444"/>
                <a:gd name="T72" fmla="*/ 2147483647 w 522"/>
                <a:gd name="T73" fmla="*/ 2147483647 h 444"/>
                <a:gd name="T74" fmla="*/ 2147483647 w 522"/>
                <a:gd name="T75" fmla="*/ 2147483647 h 444"/>
                <a:gd name="T76" fmla="*/ 2147483647 w 522"/>
                <a:gd name="T77" fmla="*/ 2147483647 h 444"/>
                <a:gd name="T78" fmla="*/ 2147483647 w 522"/>
                <a:gd name="T79" fmla="*/ 2147483647 h 444"/>
                <a:gd name="T80" fmla="*/ 2147483647 w 522"/>
                <a:gd name="T81" fmla="*/ 2147483647 h 444"/>
                <a:gd name="T82" fmla="*/ 2147483647 w 522"/>
                <a:gd name="T83" fmla="*/ 2147483647 h 444"/>
                <a:gd name="T84" fmla="*/ 2147483647 w 522"/>
                <a:gd name="T85" fmla="*/ 2147483647 h 444"/>
                <a:gd name="T86" fmla="*/ 2147483647 w 522"/>
                <a:gd name="T87" fmla="*/ 2147483647 h 444"/>
                <a:gd name="T88" fmla="*/ 2147483647 w 522"/>
                <a:gd name="T89" fmla="*/ 2147483647 h 444"/>
                <a:gd name="T90" fmla="*/ 2147483647 w 522"/>
                <a:gd name="T91" fmla="*/ 2147483647 h 444"/>
                <a:gd name="T92" fmla="*/ 2147483647 w 522"/>
                <a:gd name="T93" fmla="*/ 2147483647 h 4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444"/>
                <a:gd name="T143" fmla="*/ 522 w 522"/>
                <a:gd name="T144" fmla="*/ 444 h 44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444">
                  <a:moveTo>
                    <a:pt x="96" y="0"/>
                  </a:moveTo>
                  <a:lnTo>
                    <a:pt x="96" y="24"/>
                  </a:lnTo>
                  <a:lnTo>
                    <a:pt x="78" y="24"/>
                  </a:lnTo>
                  <a:lnTo>
                    <a:pt x="72" y="30"/>
                  </a:lnTo>
                  <a:lnTo>
                    <a:pt x="72" y="42"/>
                  </a:lnTo>
                  <a:lnTo>
                    <a:pt x="78" y="48"/>
                  </a:lnTo>
                  <a:lnTo>
                    <a:pt x="90" y="54"/>
                  </a:lnTo>
                  <a:lnTo>
                    <a:pt x="96" y="60"/>
                  </a:lnTo>
                  <a:lnTo>
                    <a:pt x="96" y="66"/>
                  </a:lnTo>
                  <a:lnTo>
                    <a:pt x="90" y="78"/>
                  </a:lnTo>
                  <a:lnTo>
                    <a:pt x="84" y="84"/>
                  </a:lnTo>
                  <a:lnTo>
                    <a:pt x="54" y="84"/>
                  </a:lnTo>
                  <a:lnTo>
                    <a:pt x="42" y="90"/>
                  </a:lnTo>
                  <a:lnTo>
                    <a:pt x="36" y="96"/>
                  </a:lnTo>
                  <a:lnTo>
                    <a:pt x="18" y="96"/>
                  </a:lnTo>
                  <a:lnTo>
                    <a:pt x="0" y="126"/>
                  </a:lnTo>
                  <a:lnTo>
                    <a:pt x="0" y="132"/>
                  </a:lnTo>
                  <a:lnTo>
                    <a:pt x="18" y="150"/>
                  </a:lnTo>
                  <a:lnTo>
                    <a:pt x="30" y="150"/>
                  </a:lnTo>
                  <a:lnTo>
                    <a:pt x="30" y="162"/>
                  </a:lnTo>
                  <a:lnTo>
                    <a:pt x="24" y="168"/>
                  </a:lnTo>
                  <a:lnTo>
                    <a:pt x="30" y="180"/>
                  </a:lnTo>
                  <a:lnTo>
                    <a:pt x="30" y="192"/>
                  </a:lnTo>
                  <a:lnTo>
                    <a:pt x="54" y="204"/>
                  </a:lnTo>
                  <a:lnTo>
                    <a:pt x="72" y="204"/>
                  </a:lnTo>
                  <a:lnTo>
                    <a:pt x="72" y="228"/>
                  </a:lnTo>
                  <a:lnTo>
                    <a:pt x="84" y="228"/>
                  </a:lnTo>
                  <a:lnTo>
                    <a:pt x="90" y="222"/>
                  </a:lnTo>
                  <a:lnTo>
                    <a:pt x="90" y="234"/>
                  </a:lnTo>
                  <a:lnTo>
                    <a:pt x="96" y="246"/>
                  </a:lnTo>
                  <a:lnTo>
                    <a:pt x="96" y="258"/>
                  </a:lnTo>
                  <a:lnTo>
                    <a:pt x="114" y="276"/>
                  </a:lnTo>
                  <a:lnTo>
                    <a:pt x="126" y="282"/>
                  </a:lnTo>
                  <a:lnTo>
                    <a:pt x="132" y="288"/>
                  </a:lnTo>
                  <a:lnTo>
                    <a:pt x="138" y="282"/>
                  </a:lnTo>
                  <a:lnTo>
                    <a:pt x="150" y="276"/>
                  </a:lnTo>
                  <a:lnTo>
                    <a:pt x="156" y="264"/>
                  </a:lnTo>
                  <a:lnTo>
                    <a:pt x="168" y="252"/>
                  </a:lnTo>
                  <a:lnTo>
                    <a:pt x="174" y="240"/>
                  </a:lnTo>
                  <a:lnTo>
                    <a:pt x="180" y="234"/>
                  </a:lnTo>
                  <a:lnTo>
                    <a:pt x="180" y="228"/>
                  </a:lnTo>
                  <a:lnTo>
                    <a:pt x="216" y="228"/>
                  </a:lnTo>
                  <a:lnTo>
                    <a:pt x="222" y="210"/>
                  </a:lnTo>
                  <a:lnTo>
                    <a:pt x="258" y="210"/>
                  </a:lnTo>
                  <a:lnTo>
                    <a:pt x="300" y="270"/>
                  </a:lnTo>
                  <a:lnTo>
                    <a:pt x="300" y="288"/>
                  </a:lnTo>
                  <a:lnTo>
                    <a:pt x="312" y="300"/>
                  </a:lnTo>
                  <a:lnTo>
                    <a:pt x="312" y="318"/>
                  </a:lnTo>
                  <a:lnTo>
                    <a:pt x="306" y="330"/>
                  </a:lnTo>
                  <a:lnTo>
                    <a:pt x="300" y="336"/>
                  </a:lnTo>
                  <a:lnTo>
                    <a:pt x="294" y="354"/>
                  </a:lnTo>
                  <a:lnTo>
                    <a:pt x="324" y="342"/>
                  </a:lnTo>
                  <a:lnTo>
                    <a:pt x="348" y="348"/>
                  </a:lnTo>
                  <a:lnTo>
                    <a:pt x="348" y="336"/>
                  </a:lnTo>
                  <a:lnTo>
                    <a:pt x="354" y="330"/>
                  </a:lnTo>
                  <a:lnTo>
                    <a:pt x="360" y="330"/>
                  </a:lnTo>
                  <a:lnTo>
                    <a:pt x="372" y="336"/>
                  </a:lnTo>
                  <a:lnTo>
                    <a:pt x="384" y="348"/>
                  </a:lnTo>
                  <a:lnTo>
                    <a:pt x="390" y="366"/>
                  </a:lnTo>
                  <a:lnTo>
                    <a:pt x="390" y="426"/>
                  </a:lnTo>
                  <a:lnTo>
                    <a:pt x="402" y="426"/>
                  </a:lnTo>
                  <a:lnTo>
                    <a:pt x="402" y="432"/>
                  </a:lnTo>
                  <a:lnTo>
                    <a:pt x="414" y="444"/>
                  </a:lnTo>
                  <a:lnTo>
                    <a:pt x="420" y="444"/>
                  </a:lnTo>
                  <a:lnTo>
                    <a:pt x="432" y="432"/>
                  </a:lnTo>
                  <a:lnTo>
                    <a:pt x="432" y="420"/>
                  </a:lnTo>
                  <a:lnTo>
                    <a:pt x="438" y="408"/>
                  </a:lnTo>
                  <a:lnTo>
                    <a:pt x="444" y="402"/>
                  </a:lnTo>
                  <a:lnTo>
                    <a:pt x="456" y="402"/>
                  </a:lnTo>
                  <a:lnTo>
                    <a:pt x="468" y="408"/>
                  </a:lnTo>
                  <a:lnTo>
                    <a:pt x="474" y="414"/>
                  </a:lnTo>
                  <a:lnTo>
                    <a:pt x="480" y="414"/>
                  </a:lnTo>
                  <a:lnTo>
                    <a:pt x="486" y="408"/>
                  </a:lnTo>
                  <a:lnTo>
                    <a:pt x="486" y="390"/>
                  </a:lnTo>
                  <a:lnTo>
                    <a:pt x="480" y="384"/>
                  </a:lnTo>
                  <a:lnTo>
                    <a:pt x="480" y="378"/>
                  </a:lnTo>
                  <a:lnTo>
                    <a:pt x="498" y="378"/>
                  </a:lnTo>
                  <a:lnTo>
                    <a:pt x="492" y="366"/>
                  </a:lnTo>
                  <a:lnTo>
                    <a:pt x="480" y="360"/>
                  </a:lnTo>
                  <a:lnTo>
                    <a:pt x="474" y="348"/>
                  </a:lnTo>
                  <a:lnTo>
                    <a:pt x="474" y="336"/>
                  </a:lnTo>
                  <a:lnTo>
                    <a:pt x="492" y="336"/>
                  </a:lnTo>
                  <a:lnTo>
                    <a:pt x="498" y="342"/>
                  </a:lnTo>
                  <a:lnTo>
                    <a:pt x="510" y="342"/>
                  </a:lnTo>
                  <a:lnTo>
                    <a:pt x="516" y="348"/>
                  </a:lnTo>
                  <a:lnTo>
                    <a:pt x="516" y="342"/>
                  </a:lnTo>
                  <a:lnTo>
                    <a:pt x="522" y="336"/>
                  </a:lnTo>
                  <a:lnTo>
                    <a:pt x="522" y="324"/>
                  </a:lnTo>
                  <a:lnTo>
                    <a:pt x="516" y="324"/>
                  </a:lnTo>
                  <a:lnTo>
                    <a:pt x="504" y="318"/>
                  </a:lnTo>
                  <a:lnTo>
                    <a:pt x="498" y="318"/>
                  </a:lnTo>
                  <a:lnTo>
                    <a:pt x="498" y="306"/>
                  </a:lnTo>
                  <a:lnTo>
                    <a:pt x="504" y="294"/>
                  </a:lnTo>
                  <a:lnTo>
                    <a:pt x="510" y="288"/>
                  </a:lnTo>
                  <a:lnTo>
                    <a:pt x="492" y="282"/>
                  </a:lnTo>
                  <a:lnTo>
                    <a:pt x="504" y="264"/>
                  </a:lnTo>
                  <a:lnTo>
                    <a:pt x="486" y="258"/>
                  </a:lnTo>
                  <a:lnTo>
                    <a:pt x="480" y="222"/>
                  </a:lnTo>
                  <a:lnTo>
                    <a:pt x="498" y="198"/>
                  </a:lnTo>
                  <a:lnTo>
                    <a:pt x="468" y="168"/>
                  </a:lnTo>
                  <a:lnTo>
                    <a:pt x="468" y="132"/>
                  </a:lnTo>
                  <a:lnTo>
                    <a:pt x="444" y="132"/>
                  </a:lnTo>
                  <a:lnTo>
                    <a:pt x="468" y="96"/>
                  </a:lnTo>
                  <a:lnTo>
                    <a:pt x="432" y="78"/>
                  </a:lnTo>
                  <a:lnTo>
                    <a:pt x="444" y="48"/>
                  </a:lnTo>
                  <a:lnTo>
                    <a:pt x="426" y="36"/>
                  </a:lnTo>
                  <a:lnTo>
                    <a:pt x="426" y="18"/>
                  </a:lnTo>
                  <a:lnTo>
                    <a:pt x="414" y="12"/>
                  </a:lnTo>
                  <a:lnTo>
                    <a:pt x="402" y="12"/>
                  </a:lnTo>
                  <a:lnTo>
                    <a:pt x="396" y="18"/>
                  </a:lnTo>
                  <a:lnTo>
                    <a:pt x="396" y="36"/>
                  </a:lnTo>
                  <a:lnTo>
                    <a:pt x="378" y="54"/>
                  </a:lnTo>
                  <a:lnTo>
                    <a:pt x="366" y="48"/>
                  </a:lnTo>
                  <a:lnTo>
                    <a:pt x="360" y="42"/>
                  </a:lnTo>
                  <a:lnTo>
                    <a:pt x="348" y="36"/>
                  </a:lnTo>
                  <a:lnTo>
                    <a:pt x="342" y="36"/>
                  </a:lnTo>
                  <a:lnTo>
                    <a:pt x="336" y="30"/>
                  </a:lnTo>
                  <a:lnTo>
                    <a:pt x="330" y="30"/>
                  </a:lnTo>
                  <a:lnTo>
                    <a:pt x="324" y="42"/>
                  </a:lnTo>
                  <a:lnTo>
                    <a:pt x="312" y="54"/>
                  </a:lnTo>
                  <a:lnTo>
                    <a:pt x="306" y="66"/>
                  </a:lnTo>
                  <a:lnTo>
                    <a:pt x="306" y="54"/>
                  </a:lnTo>
                  <a:lnTo>
                    <a:pt x="300" y="42"/>
                  </a:lnTo>
                  <a:lnTo>
                    <a:pt x="288" y="30"/>
                  </a:lnTo>
                  <a:lnTo>
                    <a:pt x="276" y="42"/>
                  </a:lnTo>
                  <a:lnTo>
                    <a:pt x="270" y="54"/>
                  </a:lnTo>
                  <a:lnTo>
                    <a:pt x="264" y="60"/>
                  </a:lnTo>
                  <a:lnTo>
                    <a:pt x="258" y="54"/>
                  </a:lnTo>
                  <a:lnTo>
                    <a:pt x="258" y="48"/>
                  </a:lnTo>
                  <a:lnTo>
                    <a:pt x="252" y="36"/>
                  </a:lnTo>
                  <a:lnTo>
                    <a:pt x="252" y="24"/>
                  </a:lnTo>
                  <a:lnTo>
                    <a:pt x="210" y="24"/>
                  </a:lnTo>
                  <a:lnTo>
                    <a:pt x="204" y="30"/>
                  </a:lnTo>
                  <a:lnTo>
                    <a:pt x="192" y="36"/>
                  </a:lnTo>
                  <a:lnTo>
                    <a:pt x="180" y="36"/>
                  </a:lnTo>
                  <a:lnTo>
                    <a:pt x="174" y="30"/>
                  </a:lnTo>
                  <a:lnTo>
                    <a:pt x="168" y="18"/>
                  </a:lnTo>
                  <a:lnTo>
                    <a:pt x="162" y="12"/>
                  </a:lnTo>
                  <a:lnTo>
                    <a:pt x="156" y="18"/>
                  </a:lnTo>
                  <a:lnTo>
                    <a:pt x="138" y="18"/>
                  </a:lnTo>
                  <a:lnTo>
                    <a:pt x="132" y="6"/>
                  </a:lnTo>
                  <a:lnTo>
                    <a:pt x="132" y="0"/>
                  </a:lnTo>
                  <a:lnTo>
                    <a:pt x="96" y="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56" name="Guatemala" descr="© INSCALE GmbH, 05.05.2010&#10;http://www.presentationload.com/">
              <a:extLst>
                <a:ext uri="{FF2B5EF4-FFF2-40B4-BE49-F238E27FC236}">
                  <a16:creationId xmlns:a16="http://schemas.microsoft.com/office/drawing/2014/main" id="{0337A6D9-2E98-455B-970B-13822642E35E}"/>
                </a:ext>
              </a:extLst>
            </p:cNvPr>
            <p:cNvSpPr>
              <a:spLocks/>
            </p:cNvSpPr>
            <p:nvPr/>
          </p:nvSpPr>
          <p:spPr bwMode="gray">
            <a:xfrm>
              <a:off x="1542121" y="3678733"/>
              <a:ext cx="117601" cy="133282"/>
            </a:xfrm>
            <a:custGeom>
              <a:avLst/>
              <a:gdLst>
                <a:gd name="T0" fmla="*/ 2147483647 w 300"/>
                <a:gd name="T1" fmla="*/ 2147483647 h 336"/>
                <a:gd name="T2" fmla="*/ 2147483647 w 300"/>
                <a:gd name="T3" fmla="*/ 2147483647 h 336"/>
                <a:gd name="T4" fmla="*/ 2147483647 w 300"/>
                <a:gd name="T5" fmla="*/ 2147483647 h 336"/>
                <a:gd name="T6" fmla="*/ 2147483647 w 300"/>
                <a:gd name="T7" fmla="*/ 2147483647 h 336"/>
                <a:gd name="T8" fmla="*/ 2147483647 w 300"/>
                <a:gd name="T9" fmla="*/ 2147483647 h 336"/>
                <a:gd name="T10" fmla="*/ 2147483647 w 300"/>
                <a:gd name="T11" fmla="*/ 0 h 336"/>
                <a:gd name="T12" fmla="*/ 2147483647 w 300"/>
                <a:gd name="T13" fmla="*/ 2147483647 h 336"/>
                <a:gd name="T14" fmla="*/ 2147483647 w 300"/>
                <a:gd name="T15" fmla="*/ 2147483647 h 336"/>
                <a:gd name="T16" fmla="*/ 2147483647 w 300"/>
                <a:gd name="T17" fmla="*/ 2147483647 h 336"/>
                <a:gd name="T18" fmla="*/ 2147483647 w 300"/>
                <a:gd name="T19" fmla="*/ 2147483647 h 336"/>
                <a:gd name="T20" fmla="*/ 2147483647 w 300"/>
                <a:gd name="T21" fmla="*/ 2147483647 h 336"/>
                <a:gd name="T22" fmla="*/ 2147483647 w 300"/>
                <a:gd name="T23" fmla="*/ 2147483647 h 336"/>
                <a:gd name="T24" fmla="*/ 2147483647 w 300"/>
                <a:gd name="T25" fmla="*/ 2147483647 h 336"/>
                <a:gd name="T26" fmla="*/ 2147483647 w 300"/>
                <a:gd name="T27" fmla="*/ 2147483647 h 336"/>
                <a:gd name="T28" fmla="*/ 2147483647 w 300"/>
                <a:gd name="T29" fmla="*/ 2147483647 h 336"/>
                <a:gd name="T30" fmla="*/ 2147483647 w 300"/>
                <a:gd name="T31" fmla="*/ 2147483647 h 336"/>
                <a:gd name="T32" fmla="*/ 2147483647 w 300"/>
                <a:gd name="T33" fmla="*/ 2147483647 h 336"/>
                <a:gd name="T34" fmla="*/ 2147483647 w 300"/>
                <a:gd name="T35" fmla="*/ 2147483647 h 336"/>
                <a:gd name="T36" fmla="*/ 2147483647 w 300"/>
                <a:gd name="T37" fmla="*/ 2147483647 h 336"/>
                <a:gd name="T38" fmla="*/ 2147483647 w 300"/>
                <a:gd name="T39" fmla="*/ 2147483647 h 336"/>
                <a:gd name="T40" fmla="*/ 2147483647 w 300"/>
                <a:gd name="T41" fmla="*/ 2147483647 h 336"/>
                <a:gd name="T42" fmla="*/ 2147483647 w 300"/>
                <a:gd name="T43" fmla="*/ 2147483647 h 336"/>
                <a:gd name="T44" fmla="*/ 2147483647 w 300"/>
                <a:gd name="T45" fmla="*/ 2147483647 h 336"/>
                <a:gd name="T46" fmla="*/ 2147483647 w 300"/>
                <a:gd name="T47" fmla="*/ 2147483647 h 336"/>
                <a:gd name="T48" fmla="*/ 2147483647 w 300"/>
                <a:gd name="T49" fmla="*/ 2147483647 h 336"/>
                <a:gd name="T50" fmla="*/ 2147483647 w 300"/>
                <a:gd name="T51" fmla="*/ 2147483647 h 336"/>
                <a:gd name="T52" fmla="*/ 2147483647 w 300"/>
                <a:gd name="T53" fmla="*/ 2147483647 h 336"/>
                <a:gd name="T54" fmla="*/ 2147483647 w 300"/>
                <a:gd name="T55" fmla="*/ 2147483647 h 336"/>
                <a:gd name="T56" fmla="*/ 2147483647 w 300"/>
                <a:gd name="T57" fmla="*/ 2147483647 h 336"/>
                <a:gd name="T58" fmla="*/ 0 w 300"/>
                <a:gd name="T59" fmla="*/ 2147483647 h 336"/>
                <a:gd name="T60" fmla="*/ 2147483647 w 300"/>
                <a:gd name="T61" fmla="*/ 2147483647 h 336"/>
                <a:gd name="T62" fmla="*/ 2147483647 w 300"/>
                <a:gd name="T63" fmla="*/ 2147483647 h 336"/>
                <a:gd name="T64" fmla="*/ 2147483647 w 300"/>
                <a:gd name="T65" fmla="*/ 2147483647 h 336"/>
                <a:gd name="T66" fmla="*/ 2147483647 w 300"/>
                <a:gd name="T67" fmla="*/ 2147483647 h 336"/>
                <a:gd name="T68" fmla="*/ 2147483647 w 300"/>
                <a:gd name="T69" fmla="*/ 2147483647 h 336"/>
                <a:gd name="T70" fmla="*/ 2147483647 w 300"/>
                <a:gd name="T71" fmla="*/ 2147483647 h 336"/>
                <a:gd name="T72" fmla="*/ 2147483647 w 300"/>
                <a:gd name="T73" fmla="*/ 2147483647 h 336"/>
                <a:gd name="T74" fmla="*/ 2147483647 w 300"/>
                <a:gd name="T75" fmla="*/ 2147483647 h 336"/>
                <a:gd name="T76" fmla="*/ 2147483647 w 300"/>
                <a:gd name="T77" fmla="*/ 2147483647 h 336"/>
                <a:gd name="T78" fmla="*/ 2147483647 w 300"/>
                <a:gd name="T79" fmla="*/ 2147483647 h 336"/>
                <a:gd name="T80" fmla="*/ 2147483647 w 300"/>
                <a:gd name="T81" fmla="*/ 2147483647 h 336"/>
                <a:gd name="T82" fmla="*/ 2147483647 w 300"/>
                <a:gd name="T83" fmla="*/ 2147483647 h 336"/>
                <a:gd name="T84" fmla="*/ 2147483647 w 300"/>
                <a:gd name="T85" fmla="*/ 2147483647 h 336"/>
                <a:gd name="T86" fmla="*/ 2147483647 w 300"/>
                <a:gd name="T87" fmla="*/ 2147483647 h 336"/>
                <a:gd name="T88" fmla="*/ 2147483647 w 300"/>
                <a:gd name="T89" fmla="*/ 2147483647 h 336"/>
                <a:gd name="T90" fmla="*/ 2147483647 w 300"/>
                <a:gd name="T91" fmla="*/ 2147483647 h 336"/>
                <a:gd name="T92" fmla="*/ 2147483647 w 300"/>
                <a:gd name="T93" fmla="*/ 2147483647 h 336"/>
                <a:gd name="T94" fmla="*/ 2147483647 w 300"/>
                <a:gd name="T95" fmla="*/ 2147483647 h 336"/>
                <a:gd name="T96" fmla="*/ 2147483647 w 300"/>
                <a:gd name="T97" fmla="*/ 2147483647 h 336"/>
                <a:gd name="T98" fmla="*/ 2147483647 w 300"/>
                <a:gd name="T99" fmla="*/ 2147483647 h 336"/>
                <a:gd name="T100" fmla="*/ 2147483647 w 300"/>
                <a:gd name="T101" fmla="*/ 2147483647 h 336"/>
                <a:gd name="T102" fmla="*/ 2147483647 w 300"/>
                <a:gd name="T103" fmla="*/ 2147483647 h 336"/>
                <a:gd name="T104" fmla="*/ 2147483647 w 300"/>
                <a:gd name="T105" fmla="*/ 2147483647 h 336"/>
                <a:gd name="T106" fmla="*/ 2147483647 w 300"/>
                <a:gd name="T107" fmla="*/ 2147483647 h 336"/>
                <a:gd name="T108" fmla="*/ 2147483647 w 300"/>
                <a:gd name="T109" fmla="*/ 2147483647 h 336"/>
                <a:gd name="T110" fmla="*/ 2147483647 w 300"/>
                <a:gd name="T111" fmla="*/ 2147483647 h 336"/>
                <a:gd name="T112" fmla="*/ 2147483647 w 300"/>
                <a:gd name="T113" fmla="*/ 2147483647 h 336"/>
                <a:gd name="T114" fmla="*/ 2147483647 w 300"/>
                <a:gd name="T115" fmla="*/ 2147483647 h 336"/>
                <a:gd name="T116" fmla="*/ 2147483647 w 300"/>
                <a:gd name="T117" fmla="*/ 2147483647 h 336"/>
                <a:gd name="T118" fmla="*/ 2147483647 w 300"/>
                <a:gd name="T119" fmla="*/ 2147483647 h 336"/>
                <a:gd name="T120" fmla="*/ 2147483647 w 300"/>
                <a:gd name="T121" fmla="*/ 2147483647 h 3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0"/>
                <a:gd name="T184" fmla="*/ 0 h 336"/>
                <a:gd name="T185" fmla="*/ 300 w 300"/>
                <a:gd name="T186" fmla="*/ 336 h 3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0" h="336">
                  <a:moveTo>
                    <a:pt x="288" y="156"/>
                  </a:moveTo>
                  <a:lnTo>
                    <a:pt x="270" y="168"/>
                  </a:lnTo>
                  <a:lnTo>
                    <a:pt x="258" y="162"/>
                  </a:lnTo>
                  <a:lnTo>
                    <a:pt x="228" y="162"/>
                  </a:lnTo>
                  <a:lnTo>
                    <a:pt x="252" y="6"/>
                  </a:lnTo>
                  <a:lnTo>
                    <a:pt x="120" y="0"/>
                  </a:lnTo>
                  <a:lnTo>
                    <a:pt x="120" y="12"/>
                  </a:lnTo>
                  <a:lnTo>
                    <a:pt x="126" y="24"/>
                  </a:lnTo>
                  <a:lnTo>
                    <a:pt x="126" y="48"/>
                  </a:lnTo>
                  <a:lnTo>
                    <a:pt x="120" y="48"/>
                  </a:lnTo>
                  <a:lnTo>
                    <a:pt x="108" y="54"/>
                  </a:lnTo>
                  <a:lnTo>
                    <a:pt x="84" y="54"/>
                  </a:lnTo>
                  <a:lnTo>
                    <a:pt x="96" y="60"/>
                  </a:lnTo>
                  <a:lnTo>
                    <a:pt x="96" y="66"/>
                  </a:lnTo>
                  <a:lnTo>
                    <a:pt x="102" y="78"/>
                  </a:lnTo>
                  <a:lnTo>
                    <a:pt x="108" y="84"/>
                  </a:lnTo>
                  <a:lnTo>
                    <a:pt x="114" y="84"/>
                  </a:lnTo>
                  <a:lnTo>
                    <a:pt x="126" y="90"/>
                  </a:lnTo>
                  <a:lnTo>
                    <a:pt x="132" y="90"/>
                  </a:lnTo>
                  <a:lnTo>
                    <a:pt x="138" y="114"/>
                  </a:lnTo>
                  <a:lnTo>
                    <a:pt x="156" y="114"/>
                  </a:lnTo>
                  <a:lnTo>
                    <a:pt x="156" y="126"/>
                  </a:lnTo>
                  <a:lnTo>
                    <a:pt x="150" y="132"/>
                  </a:lnTo>
                  <a:lnTo>
                    <a:pt x="144" y="132"/>
                  </a:lnTo>
                  <a:lnTo>
                    <a:pt x="144" y="150"/>
                  </a:lnTo>
                  <a:lnTo>
                    <a:pt x="54" y="144"/>
                  </a:lnTo>
                  <a:lnTo>
                    <a:pt x="24" y="192"/>
                  </a:lnTo>
                  <a:lnTo>
                    <a:pt x="24" y="264"/>
                  </a:lnTo>
                  <a:lnTo>
                    <a:pt x="18" y="270"/>
                  </a:lnTo>
                  <a:lnTo>
                    <a:pt x="0" y="270"/>
                  </a:lnTo>
                  <a:lnTo>
                    <a:pt x="6" y="282"/>
                  </a:lnTo>
                  <a:lnTo>
                    <a:pt x="12" y="288"/>
                  </a:lnTo>
                  <a:lnTo>
                    <a:pt x="24" y="288"/>
                  </a:lnTo>
                  <a:lnTo>
                    <a:pt x="42" y="300"/>
                  </a:lnTo>
                  <a:lnTo>
                    <a:pt x="60" y="318"/>
                  </a:lnTo>
                  <a:lnTo>
                    <a:pt x="72" y="324"/>
                  </a:lnTo>
                  <a:lnTo>
                    <a:pt x="120" y="324"/>
                  </a:lnTo>
                  <a:lnTo>
                    <a:pt x="126" y="330"/>
                  </a:lnTo>
                  <a:lnTo>
                    <a:pt x="132" y="330"/>
                  </a:lnTo>
                  <a:lnTo>
                    <a:pt x="138" y="336"/>
                  </a:lnTo>
                  <a:lnTo>
                    <a:pt x="150" y="324"/>
                  </a:lnTo>
                  <a:lnTo>
                    <a:pt x="162" y="318"/>
                  </a:lnTo>
                  <a:lnTo>
                    <a:pt x="168" y="312"/>
                  </a:lnTo>
                  <a:lnTo>
                    <a:pt x="174" y="312"/>
                  </a:lnTo>
                  <a:lnTo>
                    <a:pt x="180" y="300"/>
                  </a:lnTo>
                  <a:lnTo>
                    <a:pt x="186" y="294"/>
                  </a:lnTo>
                  <a:lnTo>
                    <a:pt x="186" y="282"/>
                  </a:lnTo>
                  <a:lnTo>
                    <a:pt x="204" y="282"/>
                  </a:lnTo>
                  <a:lnTo>
                    <a:pt x="210" y="276"/>
                  </a:lnTo>
                  <a:lnTo>
                    <a:pt x="222" y="270"/>
                  </a:lnTo>
                  <a:lnTo>
                    <a:pt x="222" y="264"/>
                  </a:lnTo>
                  <a:lnTo>
                    <a:pt x="228" y="252"/>
                  </a:lnTo>
                  <a:lnTo>
                    <a:pt x="228" y="234"/>
                  </a:lnTo>
                  <a:lnTo>
                    <a:pt x="234" y="222"/>
                  </a:lnTo>
                  <a:lnTo>
                    <a:pt x="246" y="216"/>
                  </a:lnTo>
                  <a:lnTo>
                    <a:pt x="258" y="204"/>
                  </a:lnTo>
                  <a:lnTo>
                    <a:pt x="270" y="198"/>
                  </a:lnTo>
                  <a:lnTo>
                    <a:pt x="282" y="186"/>
                  </a:lnTo>
                  <a:lnTo>
                    <a:pt x="294" y="180"/>
                  </a:lnTo>
                  <a:lnTo>
                    <a:pt x="300" y="168"/>
                  </a:lnTo>
                  <a:lnTo>
                    <a:pt x="288" y="156"/>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57" name="Grönland" descr="© INSCALE GmbH, 05.05.2010&#10;http://www.presentationload.com/">
              <a:extLst>
                <a:ext uri="{FF2B5EF4-FFF2-40B4-BE49-F238E27FC236}">
                  <a16:creationId xmlns:a16="http://schemas.microsoft.com/office/drawing/2014/main" id="{9A607148-FC8F-4592-A5F7-60F9EB51FED0}"/>
                </a:ext>
              </a:extLst>
            </p:cNvPr>
            <p:cNvSpPr>
              <a:spLocks noEditPoints="1"/>
            </p:cNvSpPr>
            <p:nvPr/>
          </p:nvSpPr>
          <p:spPr bwMode="gray">
            <a:xfrm>
              <a:off x="2914141" y="1753200"/>
              <a:ext cx="1113296" cy="606826"/>
            </a:xfrm>
            <a:custGeom>
              <a:avLst/>
              <a:gdLst>
                <a:gd name="T0" fmla="*/ 2147483647 w 732"/>
                <a:gd name="T1" fmla="*/ 2147483647 h 398"/>
                <a:gd name="T2" fmla="*/ 2147483647 w 732"/>
                <a:gd name="T3" fmla="*/ 2147483647 h 398"/>
                <a:gd name="T4" fmla="*/ 2147483647 w 732"/>
                <a:gd name="T5" fmla="*/ 2147483647 h 398"/>
                <a:gd name="T6" fmla="*/ 2147483647 w 732"/>
                <a:gd name="T7" fmla="*/ 2147483647 h 398"/>
                <a:gd name="T8" fmla="*/ 2147483647 w 732"/>
                <a:gd name="T9" fmla="*/ 2147483647 h 398"/>
                <a:gd name="T10" fmla="*/ 2147483647 w 732"/>
                <a:gd name="T11" fmla="*/ 2147483647 h 398"/>
                <a:gd name="T12" fmla="*/ 2147483647 w 732"/>
                <a:gd name="T13" fmla="*/ 2147483647 h 398"/>
                <a:gd name="T14" fmla="*/ 2147483647 w 732"/>
                <a:gd name="T15" fmla="*/ 2147483647 h 398"/>
                <a:gd name="T16" fmla="*/ 2147483647 w 732"/>
                <a:gd name="T17" fmla="*/ 2147483647 h 398"/>
                <a:gd name="T18" fmla="*/ 2147483647 w 732"/>
                <a:gd name="T19" fmla="*/ 2147483647 h 398"/>
                <a:gd name="T20" fmla="*/ 2147483647 w 732"/>
                <a:gd name="T21" fmla="*/ 2147483647 h 398"/>
                <a:gd name="T22" fmla="*/ 2147483647 w 732"/>
                <a:gd name="T23" fmla="*/ 2147483647 h 398"/>
                <a:gd name="T24" fmla="*/ 2147483647 w 732"/>
                <a:gd name="T25" fmla="*/ 2147483647 h 398"/>
                <a:gd name="T26" fmla="*/ 2147483647 w 732"/>
                <a:gd name="T27" fmla="*/ 2147483647 h 398"/>
                <a:gd name="T28" fmla="*/ 2147483647 w 732"/>
                <a:gd name="T29" fmla="*/ 2147483647 h 398"/>
                <a:gd name="T30" fmla="*/ 2147483647 w 732"/>
                <a:gd name="T31" fmla="*/ 2147483647 h 398"/>
                <a:gd name="T32" fmla="*/ 2147483647 w 732"/>
                <a:gd name="T33" fmla="*/ 2147483647 h 398"/>
                <a:gd name="T34" fmla="*/ 2147483647 w 732"/>
                <a:gd name="T35" fmla="*/ 2147483647 h 398"/>
                <a:gd name="T36" fmla="*/ 2147483647 w 732"/>
                <a:gd name="T37" fmla="*/ 2147483647 h 398"/>
                <a:gd name="T38" fmla="*/ 2147483647 w 732"/>
                <a:gd name="T39" fmla="*/ 2147483647 h 398"/>
                <a:gd name="T40" fmla="*/ 2147483647 w 732"/>
                <a:gd name="T41" fmla="*/ 2147483647 h 398"/>
                <a:gd name="T42" fmla="*/ 2147483647 w 732"/>
                <a:gd name="T43" fmla="*/ 2147483647 h 398"/>
                <a:gd name="T44" fmla="*/ 2147483647 w 732"/>
                <a:gd name="T45" fmla="*/ 2147483647 h 398"/>
                <a:gd name="T46" fmla="*/ 2147483647 w 732"/>
                <a:gd name="T47" fmla="*/ 2147483647 h 398"/>
                <a:gd name="T48" fmla="*/ 2147483647 w 732"/>
                <a:gd name="T49" fmla="*/ 2147483647 h 398"/>
                <a:gd name="T50" fmla="*/ 2147483647 w 732"/>
                <a:gd name="T51" fmla="*/ 2147483647 h 398"/>
                <a:gd name="T52" fmla="*/ 2147483647 w 732"/>
                <a:gd name="T53" fmla="*/ 2147483647 h 398"/>
                <a:gd name="T54" fmla="*/ 2147483647 w 732"/>
                <a:gd name="T55" fmla="*/ 2147483647 h 398"/>
                <a:gd name="T56" fmla="*/ 2147483647 w 732"/>
                <a:gd name="T57" fmla="*/ 2147483647 h 398"/>
                <a:gd name="T58" fmla="*/ 2147483647 w 732"/>
                <a:gd name="T59" fmla="*/ 2147483647 h 398"/>
                <a:gd name="T60" fmla="*/ 2147483647 w 732"/>
                <a:gd name="T61" fmla="*/ 2147483647 h 398"/>
                <a:gd name="T62" fmla="*/ 2147483647 w 732"/>
                <a:gd name="T63" fmla="*/ 2147483647 h 398"/>
                <a:gd name="T64" fmla="*/ 2147483647 w 732"/>
                <a:gd name="T65" fmla="*/ 2147483647 h 398"/>
                <a:gd name="T66" fmla="*/ 2147483647 w 732"/>
                <a:gd name="T67" fmla="*/ 2147483647 h 398"/>
                <a:gd name="T68" fmla="*/ 2147483647 w 732"/>
                <a:gd name="T69" fmla="*/ 2147483647 h 398"/>
                <a:gd name="T70" fmla="*/ 2147483647 w 732"/>
                <a:gd name="T71" fmla="*/ 2147483647 h 398"/>
                <a:gd name="T72" fmla="*/ 2147483647 w 732"/>
                <a:gd name="T73" fmla="*/ 2147483647 h 398"/>
                <a:gd name="T74" fmla="*/ 2147483647 w 732"/>
                <a:gd name="T75" fmla="*/ 2147483647 h 398"/>
                <a:gd name="T76" fmla="*/ 2147483647 w 732"/>
                <a:gd name="T77" fmla="*/ 2147483647 h 398"/>
                <a:gd name="T78" fmla="*/ 2147483647 w 732"/>
                <a:gd name="T79" fmla="*/ 2147483647 h 398"/>
                <a:gd name="T80" fmla="*/ 2147483647 w 732"/>
                <a:gd name="T81" fmla="*/ 2147483647 h 398"/>
                <a:gd name="T82" fmla="*/ 2147483647 w 732"/>
                <a:gd name="T83" fmla="*/ 2147483647 h 398"/>
                <a:gd name="T84" fmla="*/ 2147483647 w 732"/>
                <a:gd name="T85" fmla="*/ 2147483647 h 398"/>
                <a:gd name="T86" fmla="*/ 2147483647 w 732"/>
                <a:gd name="T87" fmla="*/ 2147483647 h 398"/>
                <a:gd name="T88" fmla="*/ 2147483647 w 732"/>
                <a:gd name="T89" fmla="*/ 2147483647 h 398"/>
                <a:gd name="T90" fmla="*/ 2147483647 w 732"/>
                <a:gd name="T91" fmla="*/ 2147483647 h 398"/>
                <a:gd name="T92" fmla="*/ 2147483647 w 732"/>
                <a:gd name="T93" fmla="*/ 2147483647 h 398"/>
                <a:gd name="T94" fmla="*/ 2147483647 w 732"/>
                <a:gd name="T95" fmla="*/ 2147483647 h 398"/>
                <a:gd name="T96" fmla="*/ 2147483647 w 732"/>
                <a:gd name="T97" fmla="*/ 2147483647 h 398"/>
                <a:gd name="T98" fmla="*/ 2147483647 w 732"/>
                <a:gd name="T99" fmla="*/ 2147483647 h 398"/>
                <a:gd name="T100" fmla="*/ 2147483647 w 732"/>
                <a:gd name="T101" fmla="*/ 2147483647 h 398"/>
                <a:gd name="T102" fmla="*/ 2147483647 w 732"/>
                <a:gd name="T103" fmla="*/ 2147483647 h 398"/>
                <a:gd name="T104" fmla="*/ 2147483647 w 732"/>
                <a:gd name="T105" fmla="*/ 2147483647 h 398"/>
                <a:gd name="T106" fmla="*/ 2147483647 w 732"/>
                <a:gd name="T107" fmla="*/ 2147483647 h 398"/>
                <a:gd name="T108" fmla="*/ 2147483647 w 732"/>
                <a:gd name="T109" fmla="*/ 2147483647 h 398"/>
                <a:gd name="T110" fmla="*/ 2147483647 w 732"/>
                <a:gd name="T111" fmla="*/ 2147483647 h 398"/>
                <a:gd name="T112" fmla="*/ 2147483647 w 732"/>
                <a:gd name="T113" fmla="*/ 2147483647 h 398"/>
                <a:gd name="T114" fmla="*/ 2147483647 w 732"/>
                <a:gd name="T115" fmla="*/ 2147483647 h 398"/>
                <a:gd name="T116" fmla="*/ 2147483647 w 732"/>
                <a:gd name="T117" fmla="*/ 2147483647 h 398"/>
                <a:gd name="T118" fmla="*/ 2147483647 w 732"/>
                <a:gd name="T119" fmla="*/ 2147483647 h 398"/>
                <a:gd name="T120" fmla="*/ 2147483647 w 732"/>
                <a:gd name="T121" fmla="*/ 2147483647 h 398"/>
                <a:gd name="T122" fmla="*/ 2147483647 w 732"/>
                <a:gd name="T123" fmla="*/ 2147483647 h 3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2"/>
                <a:gd name="T187" fmla="*/ 0 h 398"/>
                <a:gd name="T188" fmla="*/ 732 w 732"/>
                <a:gd name="T189" fmla="*/ 398 h 3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2" h="398">
                  <a:moveTo>
                    <a:pt x="730" y="24"/>
                  </a:moveTo>
                  <a:lnTo>
                    <a:pt x="728" y="24"/>
                  </a:lnTo>
                  <a:lnTo>
                    <a:pt x="723" y="24"/>
                  </a:lnTo>
                  <a:lnTo>
                    <a:pt x="718" y="22"/>
                  </a:lnTo>
                  <a:lnTo>
                    <a:pt x="678" y="22"/>
                  </a:lnTo>
                  <a:lnTo>
                    <a:pt x="678" y="24"/>
                  </a:lnTo>
                  <a:lnTo>
                    <a:pt x="670" y="26"/>
                  </a:lnTo>
                  <a:lnTo>
                    <a:pt x="659" y="26"/>
                  </a:lnTo>
                  <a:lnTo>
                    <a:pt x="651" y="24"/>
                  </a:lnTo>
                  <a:lnTo>
                    <a:pt x="637" y="24"/>
                  </a:lnTo>
                  <a:lnTo>
                    <a:pt x="623" y="29"/>
                  </a:lnTo>
                  <a:lnTo>
                    <a:pt x="616" y="34"/>
                  </a:lnTo>
                  <a:lnTo>
                    <a:pt x="611" y="34"/>
                  </a:lnTo>
                  <a:lnTo>
                    <a:pt x="606" y="34"/>
                  </a:lnTo>
                  <a:lnTo>
                    <a:pt x="604" y="36"/>
                  </a:lnTo>
                  <a:lnTo>
                    <a:pt x="602" y="36"/>
                  </a:lnTo>
                  <a:lnTo>
                    <a:pt x="597" y="38"/>
                  </a:lnTo>
                  <a:lnTo>
                    <a:pt x="592" y="38"/>
                  </a:lnTo>
                  <a:lnTo>
                    <a:pt x="599" y="34"/>
                  </a:lnTo>
                  <a:lnTo>
                    <a:pt x="609" y="31"/>
                  </a:lnTo>
                  <a:lnTo>
                    <a:pt x="621" y="26"/>
                  </a:lnTo>
                  <a:lnTo>
                    <a:pt x="623" y="24"/>
                  </a:lnTo>
                  <a:lnTo>
                    <a:pt x="618" y="19"/>
                  </a:lnTo>
                  <a:lnTo>
                    <a:pt x="606" y="19"/>
                  </a:lnTo>
                  <a:lnTo>
                    <a:pt x="604" y="22"/>
                  </a:lnTo>
                  <a:lnTo>
                    <a:pt x="602" y="22"/>
                  </a:lnTo>
                  <a:lnTo>
                    <a:pt x="597" y="24"/>
                  </a:lnTo>
                  <a:lnTo>
                    <a:pt x="594" y="24"/>
                  </a:lnTo>
                  <a:lnTo>
                    <a:pt x="566" y="26"/>
                  </a:lnTo>
                  <a:lnTo>
                    <a:pt x="566" y="29"/>
                  </a:lnTo>
                  <a:lnTo>
                    <a:pt x="563" y="29"/>
                  </a:lnTo>
                  <a:lnTo>
                    <a:pt x="566" y="26"/>
                  </a:lnTo>
                  <a:lnTo>
                    <a:pt x="568" y="26"/>
                  </a:lnTo>
                  <a:lnTo>
                    <a:pt x="573" y="26"/>
                  </a:lnTo>
                  <a:lnTo>
                    <a:pt x="578" y="24"/>
                  </a:lnTo>
                  <a:lnTo>
                    <a:pt x="580" y="24"/>
                  </a:lnTo>
                  <a:lnTo>
                    <a:pt x="582" y="24"/>
                  </a:lnTo>
                  <a:lnTo>
                    <a:pt x="585" y="22"/>
                  </a:lnTo>
                  <a:lnTo>
                    <a:pt x="578" y="19"/>
                  </a:lnTo>
                  <a:lnTo>
                    <a:pt x="552" y="19"/>
                  </a:lnTo>
                  <a:lnTo>
                    <a:pt x="542" y="22"/>
                  </a:lnTo>
                  <a:lnTo>
                    <a:pt x="525" y="19"/>
                  </a:lnTo>
                  <a:lnTo>
                    <a:pt x="523" y="19"/>
                  </a:lnTo>
                  <a:lnTo>
                    <a:pt x="523" y="22"/>
                  </a:lnTo>
                  <a:lnTo>
                    <a:pt x="518" y="22"/>
                  </a:lnTo>
                  <a:lnTo>
                    <a:pt x="514" y="24"/>
                  </a:lnTo>
                  <a:lnTo>
                    <a:pt x="511" y="24"/>
                  </a:lnTo>
                  <a:lnTo>
                    <a:pt x="509" y="24"/>
                  </a:lnTo>
                  <a:lnTo>
                    <a:pt x="506" y="24"/>
                  </a:lnTo>
                  <a:lnTo>
                    <a:pt x="509" y="22"/>
                  </a:lnTo>
                  <a:lnTo>
                    <a:pt x="518" y="19"/>
                  </a:lnTo>
                  <a:lnTo>
                    <a:pt x="530" y="19"/>
                  </a:lnTo>
                  <a:lnTo>
                    <a:pt x="563" y="19"/>
                  </a:lnTo>
                  <a:lnTo>
                    <a:pt x="580" y="17"/>
                  </a:lnTo>
                  <a:lnTo>
                    <a:pt x="625" y="17"/>
                  </a:lnTo>
                  <a:lnTo>
                    <a:pt x="632" y="14"/>
                  </a:lnTo>
                  <a:lnTo>
                    <a:pt x="628" y="12"/>
                  </a:lnTo>
                  <a:lnTo>
                    <a:pt x="618" y="10"/>
                  </a:lnTo>
                  <a:lnTo>
                    <a:pt x="592" y="10"/>
                  </a:lnTo>
                  <a:lnTo>
                    <a:pt x="594" y="10"/>
                  </a:lnTo>
                  <a:lnTo>
                    <a:pt x="597" y="7"/>
                  </a:lnTo>
                  <a:lnTo>
                    <a:pt x="594" y="5"/>
                  </a:lnTo>
                  <a:lnTo>
                    <a:pt x="585" y="5"/>
                  </a:lnTo>
                  <a:lnTo>
                    <a:pt x="582" y="7"/>
                  </a:lnTo>
                  <a:lnTo>
                    <a:pt x="568" y="7"/>
                  </a:lnTo>
                  <a:lnTo>
                    <a:pt x="566" y="5"/>
                  </a:lnTo>
                  <a:lnTo>
                    <a:pt x="571" y="5"/>
                  </a:lnTo>
                  <a:lnTo>
                    <a:pt x="573" y="5"/>
                  </a:lnTo>
                  <a:lnTo>
                    <a:pt x="578" y="5"/>
                  </a:lnTo>
                  <a:lnTo>
                    <a:pt x="578" y="2"/>
                  </a:lnTo>
                  <a:lnTo>
                    <a:pt x="575" y="2"/>
                  </a:lnTo>
                  <a:lnTo>
                    <a:pt x="571" y="0"/>
                  </a:lnTo>
                  <a:lnTo>
                    <a:pt x="537" y="0"/>
                  </a:lnTo>
                  <a:lnTo>
                    <a:pt x="528" y="2"/>
                  </a:lnTo>
                  <a:lnTo>
                    <a:pt x="518" y="2"/>
                  </a:lnTo>
                  <a:lnTo>
                    <a:pt x="509" y="0"/>
                  </a:lnTo>
                  <a:lnTo>
                    <a:pt x="483" y="0"/>
                  </a:lnTo>
                  <a:lnTo>
                    <a:pt x="478" y="2"/>
                  </a:lnTo>
                  <a:lnTo>
                    <a:pt x="454" y="2"/>
                  </a:lnTo>
                  <a:lnTo>
                    <a:pt x="452" y="0"/>
                  </a:lnTo>
                  <a:lnTo>
                    <a:pt x="447" y="0"/>
                  </a:lnTo>
                  <a:lnTo>
                    <a:pt x="445" y="2"/>
                  </a:lnTo>
                  <a:lnTo>
                    <a:pt x="442" y="2"/>
                  </a:lnTo>
                  <a:lnTo>
                    <a:pt x="442" y="5"/>
                  </a:lnTo>
                  <a:lnTo>
                    <a:pt x="445" y="5"/>
                  </a:lnTo>
                  <a:lnTo>
                    <a:pt x="447" y="5"/>
                  </a:lnTo>
                  <a:lnTo>
                    <a:pt x="442" y="7"/>
                  </a:lnTo>
                  <a:lnTo>
                    <a:pt x="428" y="7"/>
                  </a:lnTo>
                  <a:lnTo>
                    <a:pt x="409" y="5"/>
                  </a:lnTo>
                  <a:lnTo>
                    <a:pt x="378" y="5"/>
                  </a:lnTo>
                  <a:lnTo>
                    <a:pt x="373" y="5"/>
                  </a:lnTo>
                  <a:lnTo>
                    <a:pt x="371" y="5"/>
                  </a:lnTo>
                  <a:lnTo>
                    <a:pt x="368" y="7"/>
                  </a:lnTo>
                  <a:lnTo>
                    <a:pt x="366" y="7"/>
                  </a:lnTo>
                  <a:lnTo>
                    <a:pt x="366" y="10"/>
                  </a:lnTo>
                  <a:lnTo>
                    <a:pt x="368" y="10"/>
                  </a:lnTo>
                  <a:lnTo>
                    <a:pt x="378" y="10"/>
                  </a:lnTo>
                  <a:lnTo>
                    <a:pt x="387" y="10"/>
                  </a:lnTo>
                  <a:lnTo>
                    <a:pt x="399" y="12"/>
                  </a:lnTo>
                  <a:lnTo>
                    <a:pt x="404" y="12"/>
                  </a:lnTo>
                  <a:lnTo>
                    <a:pt x="426" y="14"/>
                  </a:lnTo>
                  <a:lnTo>
                    <a:pt x="399" y="14"/>
                  </a:lnTo>
                  <a:lnTo>
                    <a:pt x="395" y="14"/>
                  </a:lnTo>
                  <a:lnTo>
                    <a:pt x="392" y="14"/>
                  </a:lnTo>
                  <a:lnTo>
                    <a:pt x="387" y="12"/>
                  </a:lnTo>
                  <a:lnTo>
                    <a:pt x="378" y="12"/>
                  </a:lnTo>
                  <a:lnTo>
                    <a:pt x="380" y="14"/>
                  </a:lnTo>
                  <a:lnTo>
                    <a:pt x="383" y="14"/>
                  </a:lnTo>
                  <a:lnTo>
                    <a:pt x="385" y="14"/>
                  </a:lnTo>
                  <a:lnTo>
                    <a:pt x="376" y="14"/>
                  </a:lnTo>
                  <a:lnTo>
                    <a:pt x="373" y="17"/>
                  </a:lnTo>
                  <a:lnTo>
                    <a:pt x="373" y="19"/>
                  </a:lnTo>
                  <a:lnTo>
                    <a:pt x="371" y="22"/>
                  </a:lnTo>
                  <a:lnTo>
                    <a:pt x="371" y="24"/>
                  </a:lnTo>
                  <a:lnTo>
                    <a:pt x="368" y="24"/>
                  </a:lnTo>
                  <a:lnTo>
                    <a:pt x="366" y="24"/>
                  </a:lnTo>
                  <a:lnTo>
                    <a:pt x="364" y="24"/>
                  </a:lnTo>
                  <a:lnTo>
                    <a:pt x="359" y="24"/>
                  </a:lnTo>
                  <a:lnTo>
                    <a:pt x="357" y="22"/>
                  </a:lnTo>
                  <a:lnTo>
                    <a:pt x="345" y="19"/>
                  </a:lnTo>
                  <a:lnTo>
                    <a:pt x="330" y="14"/>
                  </a:lnTo>
                  <a:lnTo>
                    <a:pt x="309" y="14"/>
                  </a:lnTo>
                  <a:lnTo>
                    <a:pt x="309" y="24"/>
                  </a:lnTo>
                  <a:lnTo>
                    <a:pt x="297" y="24"/>
                  </a:lnTo>
                  <a:lnTo>
                    <a:pt x="292" y="22"/>
                  </a:lnTo>
                  <a:lnTo>
                    <a:pt x="288" y="22"/>
                  </a:lnTo>
                  <a:lnTo>
                    <a:pt x="285" y="19"/>
                  </a:lnTo>
                  <a:lnTo>
                    <a:pt x="278" y="19"/>
                  </a:lnTo>
                  <a:lnTo>
                    <a:pt x="273" y="22"/>
                  </a:lnTo>
                  <a:lnTo>
                    <a:pt x="273" y="24"/>
                  </a:lnTo>
                  <a:lnTo>
                    <a:pt x="269" y="24"/>
                  </a:lnTo>
                  <a:lnTo>
                    <a:pt x="271" y="19"/>
                  </a:lnTo>
                  <a:lnTo>
                    <a:pt x="269" y="17"/>
                  </a:lnTo>
                  <a:lnTo>
                    <a:pt x="238" y="17"/>
                  </a:lnTo>
                  <a:lnTo>
                    <a:pt x="228" y="19"/>
                  </a:lnTo>
                  <a:lnTo>
                    <a:pt x="209" y="19"/>
                  </a:lnTo>
                  <a:lnTo>
                    <a:pt x="214" y="22"/>
                  </a:lnTo>
                  <a:lnTo>
                    <a:pt x="223" y="26"/>
                  </a:lnTo>
                  <a:lnTo>
                    <a:pt x="226" y="29"/>
                  </a:lnTo>
                  <a:lnTo>
                    <a:pt x="223" y="29"/>
                  </a:lnTo>
                  <a:lnTo>
                    <a:pt x="223" y="26"/>
                  </a:lnTo>
                  <a:lnTo>
                    <a:pt x="214" y="24"/>
                  </a:lnTo>
                  <a:lnTo>
                    <a:pt x="207" y="24"/>
                  </a:lnTo>
                  <a:lnTo>
                    <a:pt x="202" y="22"/>
                  </a:lnTo>
                  <a:lnTo>
                    <a:pt x="197" y="22"/>
                  </a:lnTo>
                  <a:lnTo>
                    <a:pt x="192" y="19"/>
                  </a:lnTo>
                  <a:lnTo>
                    <a:pt x="190" y="19"/>
                  </a:lnTo>
                  <a:lnTo>
                    <a:pt x="188" y="22"/>
                  </a:lnTo>
                  <a:lnTo>
                    <a:pt x="185" y="24"/>
                  </a:lnTo>
                  <a:lnTo>
                    <a:pt x="183" y="26"/>
                  </a:lnTo>
                  <a:lnTo>
                    <a:pt x="178" y="29"/>
                  </a:lnTo>
                  <a:lnTo>
                    <a:pt x="176" y="29"/>
                  </a:lnTo>
                  <a:lnTo>
                    <a:pt x="171" y="31"/>
                  </a:lnTo>
                  <a:lnTo>
                    <a:pt x="150" y="31"/>
                  </a:lnTo>
                  <a:lnTo>
                    <a:pt x="143" y="34"/>
                  </a:lnTo>
                  <a:lnTo>
                    <a:pt x="133" y="36"/>
                  </a:lnTo>
                  <a:lnTo>
                    <a:pt x="124" y="38"/>
                  </a:lnTo>
                  <a:lnTo>
                    <a:pt x="119" y="38"/>
                  </a:lnTo>
                  <a:lnTo>
                    <a:pt x="102" y="41"/>
                  </a:lnTo>
                  <a:lnTo>
                    <a:pt x="97" y="43"/>
                  </a:lnTo>
                  <a:lnTo>
                    <a:pt x="100" y="46"/>
                  </a:lnTo>
                  <a:lnTo>
                    <a:pt x="105" y="48"/>
                  </a:lnTo>
                  <a:lnTo>
                    <a:pt x="126" y="48"/>
                  </a:lnTo>
                  <a:lnTo>
                    <a:pt x="116" y="50"/>
                  </a:lnTo>
                  <a:lnTo>
                    <a:pt x="112" y="55"/>
                  </a:lnTo>
                  <a:lnTo>
                    <a:pt x="109" y="55"/>
                  </a:lnTo>
                  <a:lnTo>
                    <a:pt x="93" y="60"/>
                  </a:lnTo>
                  <a:lnTo>
                    <a:pt x="88" y="60"/>
                  </a:lnTo>
                  <a:lnTo>
                    <a:pt x="66" y="60"/>
                  </a:lnTo>
                  <a:lnTo>
                    <a:pt x="57" y="62"/>
                  </a:lnTo>
                  <a:lnTo>
                    <a:pt x="47" y="65"/>
                  </a:lnTo>
                  <a:lnTo>
                    <a:pt x="45" y="67"/>
                  </a:lnTo>
                  <a:lnTo>
                    <a:pt x="40" y="67"/>
                  </a:lnTo>
                  <a:lnTo>
                    <a:pt x="38" y="65"/>
                  </a:lnTo>
                  <a:lnTo>
                    <a:pt x="31" y="70"/>
                  </a:lnTo>
                  <a:lnTo>
                    <a:pt x="9" y="70"/>
                  </a:lnTo>
                  <a:lnTo>
                    <a:pt x="7" y="70"/>
                  </a:lnTo>
                  <a:lnTo>
                    <a:pt x="2" y="70"/>
                  </a:lnTo>
                  <a:lnTo>
                    <a:pt x="0" y="74"/>
                  </a:lnTo>
                  <a:lnTo>
                    <a:pt x="2" y="74"/>
                  </a:lnTo>
                  <a:lnTo>
                    <a:pt x="9" y="79"/>
                  </a:lnTo>
                  <a:lnTo>
                    <a:pt x="12" y="82"/>
                  </a:lnTo>
                  <a:lnTo>
                    <a:pt x="14" y="84"/>
                  </a:lnTo>
                  <a:lnTo>
                    <a:pt x="24" y="79"/>
                  </a:lnTo>
                  <a:lnTo>
                    <a:pt x="24" y="84"/>
                  </a:lnTo>
                  <a:lnTo>
                    <a:pt x="28" y="86"/>
                  </a:lnTo>
                  <a:lnTo>
                    <a:pt x="33" y="86"/>
                  </a:lnTo>
                  <a:lnTo>
                    <a:pt x="36" y="84"/>
                  </a:lnTo>
                  <a:lnTo>
                    <a:pt x="38" y="84"/>
                  </a:lnTo>
                  <a:lnTo>
                    <a:pt x="40" y="82"/>
                  </a:lnTo>
                  <a:lnTo>
                    <a:pt x="40" y="84"/>
                  </a:lnTo>
                  <a:lnTo>
                    <a:pt x="43" y="86"/>
                  </a:lnTo>
                  <a:lnTo>
                    <a:pt x="45" y="86"/>
                  </a:lnTo>
                  <a:lnTo>
                    <a:pt x="47" y="84"/>
                  </a:lnTo>
                  <a:lnTo>
                    <a:pt x="52" y="84"/>
                  </a:lnTo>
                  <a:lnTo>
                    <a:pt x="57" y="84"/>
                  </a:lnTo>
                  <a:lnTo>
                    <a:pt x="59" y="82"/>
                  </a:lnTo>
                  <a:lnTo>
                    <a:pt x="64" y="82"/>
                  </a:lnTo>
                  <a:lnTo>
                    <a:pt x="64" y="84"/>
                  </a:lnTo>
                  <a:lnTo>
                    <a:pt x="64" y="86"/>
                  </a:lnTo>
                  <a:lnTo>
                    <a:pt x="62" y="86"/>
                  </a:lnTo>
                  <a:lnTo>
                    <a:pt x="57" y="91"/>
                  </a:lnTo>
                  <a:lnTo>
                    <a:pt x="55" y="91"/>
                  </a:lnTo>
                  <a:lnTo>
                    <a:pt x="52" y="89"/>
                  </a:lnTo>
                  <a:lnTo>
                    <a:pt x="40" y="89"/>
                  </a:lnTo>
                  <a:lnTo>
                    <a:pt x="36" y="91"/>
                  </a:lnTo>
                  <a:lnTo>
                    <a:pt x="33" y="91"/>
                  </a:lnTo>
                  <a:lnTo>
                    <a:pt x="21" y="89"/>
                  </a:lnTo>
                  <a:lnTo>
                    <a:pt x="19" y="89"/>
                  </a:lnTo>
                  <a:lnTo>
                    <a:pt x="14" y="86"/>
                  </a:lnTo>
                  <a:lnTo>
                    <a:pt x="7" y="86"/>
                  </a:lnTo>
                  <a:lnTo>
                    <a:pt x="2" y="89"/>
                  </a:lnTo>
                  <a:lnTo>
                    <a:pt x="2" y="93"/>
                  </a:lnTo>
                  <a:lnTo>
                    <a:pt x="2" y="96"/>
                  </a:lnTo>
                  <a:lnTo>
                    <a:pt x="7" y="98"/>
                  </a:lnTo>
                  <a:lnTo>
                    <a:pt x="19" y="98"/>
                  </a:lnTo>
                  <a:lnTo>
                    <a:pt x="17" y="101"/>
                  </a:lnTo>
                  <a:lnTo>
                    <a:pt x="14" y="101"/>
                  </a:lnTo>
                  <a:lnTo>
                    <a:pt x="9" y="101"/>
                  </a:lnTo>
                  <a:lnTo>
                    <a:pt x="12" y="103"/>
                  </a:lnTo>
                  <a:lnTo>
                    <a:pt x="19" y="105"/>
                  </a:lnTo>
                  <a:lnTo>
                    <a:pt x="21" y="105"/>
                  </a:lnTo>
                  <a:lnTo>
                    <a:pt x="24" y="108"/>
                  </a:lnTo>
                  <a:lnTo>
                    <a:pt x="33" y="108"/>
                  </a:lnTo>
                  <a:lnTo>
                    <a:pt x="33" y="105"/>
                  </a:lnTo>
                  <a:lnTo>
                    <a:pt x="36" y="105"/>
                  </a:lnTo>
                  <a:lnTo>
                    <a:pt x="38" y="105"/>
                  </a:lnTo>
                  <a:lnTo>
                    <a:pt x="43" y="108"/>
                  </a:lnTo>
                  <a:lnTo>
                    <a:pt x="52" y="105"/>
                  </a:lnTo>
                  <a:lnTo>
                    <a:pt x="52" y="108"/>
                  </a:lnTo>
                  <a:lnTo>
                    <a:pt x="57" y="108"/>
                  </a:lnTo>
                  <a:lnTo>
                    <a:pt x="62" y="105"/>
                  </a:lnTo>
                  <a:lnTo>
                    <a:pt x="64" y="105"/>
                  </a:lnTo>
                  <a:lnTo>
                    <a:pt x="69" y="103"/>
                  </a:lnTo>
                  <a:lnTo>
                    <a:pt x="76" y="105"/>
                  </a:lnTo>
                  <a:lnTo>
                    <a:pt x="81" y="105"/>
                  </a:lnTo>
                  <a:lnTo>
                    <a:pt x="83" y="105"/>
                  </a:lnTo>
                  <a:lnTo>
                    <a:pt x="85" y="103"/>
                  </a:lnTo>
                  <a:lnTo>
                    <a:pt x="88" y="103"/>
                  </a:lnTo>
                  <a:lnTo>
                    <a:pt x="93" y="105"/>
                  </a:lnTo>
                  <a:lnTo>
                    <a:pt x="97" y="105"/>
                  </a:lnTo>
                  <a:lnTo>
                    <a:pt x="112" y="105"/>
                  </a:lnTo>
                  <a:lnTo>
                    <a:pt x="121" y="110"/>
                  </a:lnTo>
                  <a:lnTo>
                    <a:pt x="124" y="110"/>
                  </a:lnTo>
                  <a:lnTo>
                    <a:pt x="128" y="115"/>
                  </a:lnTo>
                  <a:lnTo>
                    <a:pt x="135" y="115"/>
                  </a:lnTo>
                  <a:lnTo>
                    <a:pt x="133" y="117"/>
                  </a:lnTo>
                  <a:lnTo>
                    <a:pt x="133" y="120"/>
                  </a:lnTo>
                  <a:lnTo>
                    <a:pt x="133" y="125"/>
                  </a:lnTo>
                  <a:lnTo>
                    <a:pt x="138" y="125"/>
                  </a:lnTo>
                  <a:lnTo>
                    <a:pt x="140" y="125"/>
                  </a:lnTo>
                  <a:lnTo>
                    <a:pt x="145" y="127"/>
                  </a:lnTo>
                  <a:lnTo>
                    <a:pt x="147" y="129"/>
                  </a:lnTo>
                  <a:lnTo>
                    <a:pt x="143" y="134"/>
                  </a:lnTo>
                  <a:lnTo>
                    <a:pt x="145" y="141"/>
                  </a:lnTo>
                  <a:lnTo>
                    <a:pt x="152" y="144"/>
                  </a:lnTo>
                  <a:lnTo>
                    <a:pt x="145" y="149"/>
                  </a:lnTo>
                  <a:lnTo>
                    <a:pt x="150" y="151"/>
                  </a:lnTo>
                  <a:lnTo>
                    <a:pt x="147" y="151"/>
                  </a:lnTo>
                  <a:lnTo>
                    <a:pt x="145" y="153"/>
                  </a:lnTo>
                  <a:lnTo>
                    <a:pt x="145" y="156"/>
                  </a:lnTo>
                  <a:lnTo>
                    <a:pt x="150" y="161"/>
                  </a:lnTo>
                  <a:lnTo>
                    <a:pt x="152" y="161"/>
                  </a:lnTo>
                  <a:lnTo>
                    <a:pt x="152" y="163"/>
                  </a:lnTo>
                  <a:lnTo>
                    <a:pt x="147" y="165"/>
                  </a:lnTo>
                  <a:lnTo>
                    <a:pt x="145" y="168"/>
                  </a:lnTo>
                  <a:lnTo>
                    <a:pt x="143" y="168"/>
                  </a:lnTo>
                  <a:lnTo>
                    <a:pt x="147" y="170"/>
                  </a:lnTo>
                  <a:lnTo>
                    <a:pt x="143" y="170"/>
                  </a:lnTo>
                  <a:lnTo>
                    <a:pt x="140" y="170"/>
                  </a:lnTo>
                  <a:lnTo>
                    <a:pt x="138" y="170"/>
                  </a:lnTo>
                  <a:lnTo>
                    <a:pt x="133" y="173"/>
                  </a:lnTo>
                  <a:lnTo>
                    <a:pt x="131" y="173"/>
                  </a:lnTo>
                  <a:lnTo>
                    <a:pt x="131" y="175"/>
                  </a:lnTo>
                  <a:lnTo>
                    <a:pt x="143" y="175"/>
                  </a:lnTo>
                  <a:lnTo>
                    <a:pt x="138" y="180"/>
                  </a:lnTo>
                  <a:lnTo>
                    <a:pt x="126" y="180"/>
                  </a:lnTo>
                  <a:lnTo>
                    <a:pt x="124" y="180"/>
                  </a:lnTo>
                  <a:lnTo>
                    <a:pt x="124" y="182"/>
                  </a:lnTo>
                  <a:lnTo>
                    <a:pt x="133" y="189"/>
                  </a:lnTo>
                  <a:lnTo>
                    <a:pt x="138" y="189"/>
                  </a:lnTo>
                  <a:lnTo>
                    <a:pt x="145" y="184"/>
                  </a:lnTo>
                  <a:lnTo>
                    <a:pt x="147" y="184"/>
                  </a:lnTo>
                  <a:lnTo>
                    <a:pt x="152" y="184"/>
                  </a:lnTo>
                  <a:lnTo>
                    <a:pt x="154" y="182"/>
                  </a:lnTo>
                  <a:lnTo>
                    <a:pt x="157" y="182"/>
                  </a:lnTo>
                  <a:lnTo>
                    <a:pt x="157" y="180"/>
                  </a:lnTo>
                  <a:lnTo>
                    <a:pt x="157" y="175"/>
                  </a:lnTo>
                  <a:lnTo>
                    <a:pt x="159" y="173"/>
                  </a:lnTo>
                  <a:lnTo>
                    <a:pt x="159" y="180"/>
                  </a:lnTo>
                  <a:lnTo>
                    <a:pt x="166" y="175"/>
                  </a:lnTo>
                  <a:lnTo>
                    <a:pt x="164" y="177"/>
                  </a:lnTo>
                  <a:lnTo>
                    <a:pt x="164" y="180"/>
                  </a:lnTo>
                  <a:lnTo>
                    <a:pt x="166" y="180"/>
                  </a:lnTo>
                  <a:lnTo>
                    <a:pt x="169" y="182"/>
                  </a:lnTo>
                  <a:lnTo>
                    <a:pt x="176" y="182"/>
                  </a:lnTo>
                  <a:lnTo>
                    <a:pt x="171" y="187"/>
                  </a:lnTo>
                  <a:lnTo>
                    <a:pt x="171" y="189"/>
                  </a:lnTo>
                  <a:lnTo>
                    <a:pt x="173" y="192"/>
                  </a:lnTo>
                  <a:lnTo>
                    <a:pt x="176" y="194"/>
                  </a:lnTo>
                  <a:lnTo>
                    <a:pt x="178" y="196"/>
                  </a:lnTo>
                  <a:lnTo>
                    <a:pt x="181" y="199"/>
                  </a:lnTo>
                  <a:lnTo>
                    <a:pt x="178" y="201"/>
                  </a:lnTo>
                  <a:lnTo>
                    <a:pt x="173" y="201"/>
                  </a:lnTo>
                  <a:lnTo>
                    <a:pt x="173" y="204"/>
                  </a:lnTo>
                  <a:lnTo>
                    <a:pt x="166" y="204"/>
                  </a:lnTo>
                  <a:lnTo>
                    <a:pt x="164" y="201"/>
                  </a:lnTo>
                  <a:lnTo>
                    <a:pt x="162" y="201"/>
                  </a:lnTo>
                  <a:lnTo>
                    <a:pt x="159" y="201"/>
                  </a:lnTo>
                  <a:lnTo>
                    <a:pt x="157" y="199"/>
                  </a:lnTo>
                  <a:lnTo>
                    <a:pt x="143" y="199"/>
                  </a:lnTo>
                  <a:lnTo>
                    <a:pt x="140" y="196"/>
                  </a:lnTo>
                  <a:lnTo>
                    <a:pt x="138" y="194"/>
                  </a:lnTo>
                  <a:lnTo>
                    <a:pt x="131" y="194"/>
                  </a:lnTo>
                  <a:lnTo>
                    <a:pt x="128" y="199"/>
                  </a:lnTo>
                  <a:lnTo>
                    <a:pt x="128" y="201"/>
                  </a:lnTo>
                  <a:lnTo>
                    <a:pt x="133" y="201"/>
                  </a:lnTo>
                  <a:lnTo>
                    <a:pt x="133" y="204"/>
                  </a:lnTo>
                  <a:lnTo>
                    <a:pt x="140" y="204"/>
                  </a:lnTo>
                  <a:lnTo>
                    <a:pt x="143" y="206"/>
                  </a:lnTo>
                  <a:lnTo>
                    <a:pt x="145" y="206"/>
                  </a:lnTo>
                  <a:lnTo>
                    <a:pt x="147" y="206"/>
                  </a:lnTo>
                  <a:lnTo>
                    <a:pt x="152" y="211"/>
                  </a:lnTo>
                  <a:lnTo>
                    <a:pt x="162" y="211"/>
                  </a:lnTo>
                  <a:lnTo>
                    <a:pt x="164" y="211"/>
                  </a:lnTo>
                  <a:lnTo>
                    <a:pt x="166" y="211"/>
                  </a:lnTo>
                  <a:lnTo>
                    <a:pt x="173" y="213"/>
                  </a:lnTo>
                  <a:lnTo>
                    <a:pt x="178" y="208"/>
                  </a:lnTo>
                  <a:lnTo>
                    <a:pt x="178" y="216"/>
                  </a:lnTo>
                  <a:lnTo>
                    <a:pt x="176" y="213"/>
                  </a:lnTo>
                  <a:lnTo>
                    <a:pt x="173" y="213"/>
                  </a:lnTo>
                  <a:lnTo>
                    <a:pt x="171" y="213"/>
                  </a:lnTo>
                  <a:lnTo>
                    <a:pt x="171" y="216"/>
                  </a:lnTo>
                  <a:lnTo>
                    <a:pt x="173" y="220"/>
                  </a:lnTo>
                  <a:lnTo>
                    <a:pt x="169" y="220"/>
                  </a:lnTo>
                  <a:lnTo>
                    <a:pt x="166" y="220"/>
                  </a:lnTo>
                  <a:lnTo>
                    <a:pt x="164" y="220"/>
                  </a:lnTo>
                  <a:lnTo>
                    <a:pt x="164" y="223"/>
                  </a:lnTo>
                  <a:lnTo>
                    <a:pt x="164" y="225"/>
                  </a:lnTo>
                  <a:lnTo>
                    <a:pt x="173" y="225"/>
                  </a:lnTo>
                  <a:lnTo>
                    <a:pt x="171" y="225"/>
                  </a:lnTo>
                  <a:lnTo>
                    <a:pt x="171" y="228"/>
                  </a:lnTo>
                  <a:lnTo>
                    <a:pt x="169" y="230"/>
                  </a:lnTo>
                  <a:lnTo>
                    <a:pt x="162" y="225"/>
                  </a:lnTo>
                  <a:lnTo>
                    <a:pt x="159" y="225"/>
                  </a:lnTo>
                  <a:lnTo>
                    <a:pt x="159" y="228"/>
                  </a:lnTo>
                  <a:lnTo>
                    <a:pt x="159" y="230"/>
                  </a:lnTo>
                  <a:lnTo>
                    <a:pt x="162" y="232"/>
                  </a:lnTo>
                  <a:lnTo>
                    <a:pt x="157" y="232"/>
                  </a:lnTo>
                  <a:lnTo>
                    <a:pt x="157" y="237"/>
                  </a:lnTo>
                  <a:lnTo>
                    <a:pt x="154" y="237"/>
                  </a:lnTo>
                  <a:lnTo>
                    <a:pt x="152" y="240"/>
                  </a:lnTo>
                  <a:lnTo>
                    <a:pt x="152" y="242"/>
                  </a:lnTo>
                  <a:lnTo>
                    <a:pt x="157" y="247"/>
                  </a:lnTo>
                  <a:lnTo>
                    <a:pt x="159" y="247"/>
                  </a:lnTo>
                  <a:lnTo>
                    <a:pt x="159" y="252"/>
                  </a:lnTo>
                  <a:lnTo>
                    <a:pt x="157" y="252"/>
                  </a:lnTo>
                  <a:lnTo>
                    <a:pt x="154" y="252"/>
                  </a:lnTo>
                  <a:lnTo>
                    <a:pt x="152" y="249"/>
                  </a:lnTo>
                  <a:lnTo>
                    <a:pt x="150" y="244"/>
                  </a:lnTo>
                  <a:lnTo>
                    <a:pt x="147" y="242"/>
                  </a:lnTo>
                  <a:lnTo>
                    <a:pt x="147" y="240"/>
                  </a:lnTo>
                  <a:lnTo>
                    <a:pt x="145" y="237"/>
                  </a:lnTo>
                  <a:lnTo>
                    <a:pt x="143" y="235"/>
                  </a:lnTo>
                  <a:lnTo>
                    <a:pt x="140" y="235"/>
                  </a:lnTo>
                  <a:lnTo>
                    <a:pt x="135" y="235"/>
                  </a:lnTo>
                  <a:lnTo>
                    <a:pt x="133" y="235"/>
                  </a:lnTo>
                  <a:lnTo>
                    <a:pt x="128" y="240"/>
                  </a:lnTo>
                  <a:lnTo>
                    <a:pt x="128" y="242"/>
                  </a:lnTo>
                  <a:lnTo>
                    <a:pt x="133" y="244"/>
                  </a:lnTo>
                  <a:lnTo>
                    <a:pt x="138" y="244"/>
                  </a:lnTo>
                  <a:lnTo>
                    <a:pt x="140" y="247"/>
                  </a:lnTo>
                  <a:lnTo>
                    <a:pt x="135" y="249"/>
                  </a:lnTo>
                  <a:lnTo>
                    <a:pt x="131" y="249"/>
                  </a:lnTo>
                  <a:lnTo>
                    <a:pt x="128" y="247"/>
                  </a:lnTo>
                  <a:lnTo>
                    <a:pt x="121" y="247"/>
                  </a:lnTo>
                  <a:lnTo>
                    <a:pt x="119" y="249"/>
                  </a:lnTo>
                  <a:lnTo>
                    <a:pt x="116" y="249"/>
                  </a:lnTo>
                  <a:lnTo>
                    <a:pt x="114" y="249"/>
                  </a:lnTo>
                  <a:lnTo>
                    <a:pt x="112" y="252"/>
                  </a:lnTo>
                  <a:lnTo>
                    <a:pt x="109" y="252"/>
                  </a:lnTo>
                  <a:lnTo>
                    <a:pt x="121" y="252"/>
                  </a:lnTo>
                  <a:lnTo>
                    <a:pt x="126" y="252"/>
                  </a:lnTo>
                  <a:lnTo>
                    <a:pt x="140" y="252"/>
                  </a:lnTo>
                  <a:lnTo>
                    <a:pt x="143" y="252"/>
                  </a:lnTo>
                  <a:lnTo>
                    <a:pt x="131" y="252"/>
                  </a:lnTo>
                  <a:lnTo>
                    <a:pt x="112" y="256"/>
                  </a:lnTo>
                  <a:lnTo>
                    <a:pt x="107" y="256"/>
                  </a:lnTo>
                  <a:lnTo>
                    <a:pt x="105" y="259"/>
                  </a:lnTo>
                  <a:lnTo>
                    <a:pt x="107" y="259"/>
                  </a:lnTo>
                  <a:lnTo>
                    <a:pt x="107" y="261"/>
                  </a:lnTo>
                  <a:lnTo>
                    <a:pt x="114" y="261"/>
                  </a:lnTo>
                  <a:lnTo>
                    <a:pt x="119" y="259"/>
                  </a:lnTo>
                  <a:lnTo>
                    <a:pt x="124" y="259"/>
                  </a:lnTo>
                  <a:lnTo>
                    <a:pt x="128" y="256"/>
                  </a:lnTo>
                  <a:lnTo>
                    <a:pt x="138" y="256"/>
                  </a:lnTo>
                  <a:lnTo>
                    <a:pt x="140" y="259"/>
                  </a:lnTo>
                  <a:lnTo>
                    <a:pt x="138" y="261"/>
                  </a:lnTo>
                  <a:lnTo>
                    <a:pt x="114" y="261"/>
                  </a:lnTo>
                  <a:lnTo>
                    <a:pt x="112" y="261"/>
                  </a:lnTo>
                  <a:lnTo>
                    <a:pt x="102" y="261"/>
                  </a:lnTo>
                  <a:lnTo>
                    <a:pt x="102" y="264"/>
                  </a:lnTo>
                  <a:lnTo>
                    <a:pt x="107" y="264"/>
                  </a:lnTo>
                  <a:lnTo>
                    <a:pt x="107" y="266"/>
                  </a:lnTo>
                  <a:lnTo>
                    <a:pt x="112" y="266"/>
                  </a:lnTo>
                  <a:lnTo>
                    <a:pt x="114" y="266"/>
                  </a:lnTo>
                  <a:lnTo>
                    <a:pt x="109" y="266"/>
                  </a:lnTo>
                  <a:lnTo>
                    <a:pt x="107" y="268"/>
                  </a:lnTo>
                  <a:lnTo>
                    <a:pt x="107" y="271"/>
                  </a:lnTo>
                  <a:lnTo>
                    <a:pt x="105" y="273"/>
                  </a:lnTo>
                  <a:lnTo>
                    <a:pt x="102" y="273"/>
                  </a:lnTo>
                  <a:lnTo>
                    <a:pt x="100" y="275"/>
                  </a:lnTo>
                  <a:lnTo>
                    <a:pt x="97" y="275"/>
                  </a:lnTo>
                  <a:lnTo>
                    <a:pt x="107" y="278"/>
                  </a:lnTo>
                  <a:lnTo>
                    <a:pt x="97" y="280"/>
                  </a:lnTo>
                  <a:lnTo>
                    <a:pt x="97" y="283"/>
                  </a:lnTo>
                  <a:lnTo>
                    <a:pt x="100" y="285"/>
                  </a:lnTo>
                  <a:lnTo>
                    <a:pt x="105" y="285"/>
                  </a:lnTo>
                  <a:lnTo>
                    <a:pt x="107" y="285"/>
                  </a:lnTo>
                  <a:lnTo>
                    <a:pt x="114" y="285"/>
                  </a:lnTo>
                  <a:lnTo>
                    <a:pt x="112" y="285"/>
                  </a:lnTo>
                  <a:lnTo>
                    <a:pt x="109" y="285"/>
                  </a:lnTo>
                  <a:lnTo>
                    <a:pt x="107" y="287"/>
                  </a:lnTo>
                  <a:lnTo>
                    <a:pt x="102" y="290"/>
                  </a:lnTo>
                  <a:lnTo>
                    <a:pt x="102" y="292"/>
                  </a:lnTo>
                  <a:lnTo>
                    <a:pt x="105" y="295"/>
                  </a:lnTo>
                  <a:lnTo>
                    <a:pt x="107" y="295"/>
                  </a:lnTo>
                  <a:lnTo>
                    <a:pt x="109" y="292"/>
                  </a:lnTo>
                  <a:lnTo>
                    <a:pt x="114" y="290"/>
                  </a:lnTo>
                  <a:lnTo>
                    <a:pt x="112" y="295"/>
                  </a:lnTo>
                  <a:lnTo>
                    <a:pt x="109" y="295"/>
                  </a:lnTo>
                  <a:lnTo>
                    <a:pt x="107" y="299"/>
                  </a:lnTo>
                  <a:lnTo>
                    <a:pt x="107" y="304"/>
                  </a:lnTo>
                  <a:lnTo>
                    <a:pt x="109" y="304"/>
                  </a:lnTo>
                  <a:lnTo>
                    <a:pt x="109" y="302"/>
                  </a:lnTo>
                  <a:lnTo>
                    <a:pt x="114" y="302"/>
                  </a:lnTo>
                  <a:lnTo>
                    <a:pt x="109" y="307"/>
                  </a:lnTo>
                  <a:lnTo>
                    <a:pt x="107" y="307"/>
                  </a:lnTo>
                  <a:lnTo>
                    <a:pt x="105" y="309"/>
                  </a:lnTo>
                  <a:lnTo>
                    <a:pt x="102" y="311"/>
                  </a:lnTo>
                  <a:lnTo>
                    <a:pt x="102" y="316"/>
                  </a:lnTo>
                  <a:lnTo>
                    <a:pt x="105" y="316"/>
                  </a:lnTo>
                  <a:lnTo>
                    <a:pt x="107" y="314"/>
                  </a:lnTo>
                  <a:lnTo>
                    <a:pt x="114" y="307"/>
                  </a:lnTo>
                  <a:lnTo>
                    <a:pt x="124" y="307"/>
                  </a:lnTo>
                  <a:lnTo>
                    <a:pt x="126" y="304"/>
                  </a:lnTo>
                  <a:lnTo>
                    <a:pt x="128" y="304"/>
                  </a:lnTo>
                  <a:lnTo>
                    <a:pt x="128" y="307"/>
                  </a:lnTo>
                  <a:lnTo>
                    <a:pt x="133" y="304"/>
                  </a:lnTo>
                  <a:lnTo>
                    <a:pt x="128" y="311"/>
                  </a:lnTo>
                  <a:lnTo>
                    <a:pt x="135" y="311"/>
                  </a:lnTo>
                  <a:lnTo>
                    <a:pt x="128" y="311"/>
                  </a:lnTo>
                  <a:lnTo>
                    <a:pt x="124" y="314"/>
                  </a:lnTo>
                  <a:lnTo>
                    <a:pt x="124" y="316"/>
                  </a:lnTo>
                  <a:lnTo>
                    <a:pt x="119" y="316"/>
                  </a:lnTo>
                  <a:lnTo>
                    <a:pt x="116" y="316"/>
                  </a:lnTo>
                  <a:lnTo>
                    <a:pt x="114" y="319"/>
                  </a:lnTo>
                  <a:lnTo>
                    <a:pt x="114" y="321"/>
                  </a:lnTo>
                  <a:lnTo>
                    <a:pt x="112" y="321"/>
                  </a:lnTo>
                  <a:lnTo>
                    <a:pt x="107" y="323"/>
                  </a:lnTo>
                  <a:lnTo>
                    <a:pt x="105" y="326"/>
                  </a:lnTo>
                  <a:lnTo>
                    <a:pt x="109" y="326"/>
                  </a:lnTo>
                  <a:lnTo>
                    <a:pt x="107" y="326"/>
                  </a:lnTo>
                  <a:lnTo>
                    <a:pt x="107" y="328"/>
                  </a:lnTo>
                  <a:lnTo>
                    <a:pt x="107" y="331"/>
                  </a:lnTo>
                  <a:lnTo>
                    <a:pt x="109" y="331"/>
                  </a:lnTo>
                  <a:lnTo>
                    <a:pt x="107" y="333"/>
                  </a:lnTo>
                  <a:lnTo>
                    <a:pt x="107" y="335"/>
                  </a:lnTo>
                  <a:lnTo>
                    <a:pt x="116" y="335"/>
                  </a:lnTo>
                  <a:lnTo>
                    <a:pt x="112" y="343"/>
                  </a:lnTo>
                  <a:lnTo>
                    <a:pt x="116" y="340"/>
                  </a:lnTo>
                  <a:lnTo>
                    <a:pt x="119" y="340"/>
                  </a:lnTo>
                  <a:lnTo>
                    <a:pt x="116" y="340"/>
                  </a:lnTo>
                  <a:lnTo>
                    <a:pt x="114" y="343"/>
                  </a:lnTo>
                  <a:lnTo>
                    <a:pt x="114" y="345"/>
                  </a:lnTo>
                  <a:lnTo>
                    <a:pt x="112" y="347"/>
                  </a:lnTo>
                  <a:lnTo>
                    <a:pt x="112" y="352"/>
                  </a:lnTo>
                  <a:lnTo>
                    <a:pt x="114" y="352"/>
                  </a:lnTo>
                  <a:lnTo>
                    <a:pt x="121" y="352"/>
                  </a:lnTo>
                  <a:lnTo>
                    <a:pt x="116" y="359"/>
                  </a:lnTo>
                  <a:lnTo>
                    <a:pt x="126" y="357"/>
                  </a:lnTo>
                  <a:lnTo>
                    <a:pt x="121" y="362"/>
                  </a:lnTo>
                  <a:lnTo>
                    <a:pt x="124" y="366"/>
                  </a:lnTo>
                  <a:lnTo>
                    <a:pt x="128" y="366"/>
                  </a:lnTo>
                  <a:lnTo>
                    <a:pt x="126" y="366"/>
                  </a:lnTo>
                  <a:lnTo>
                    <a:pt x="126" y="369"/>
                  </a:lnTo>
                  <a:lnTo>
                    <a:pt x="128" y="371"/>
                  </a:lnTo>
                  <a:lnTo>
                    <a:pt x="133" y="371"/>
                  </a:lnTo>
                  <a:lnTo>
                    <a:pt x="128" y="376"/>
                  </a:lnTo>
                  <a:lnTo>
                    <a:pt x="135" y="376"/>
                  </a:lnTo>
                  <a:lnTo>
                    <a:pt x="133" y="381"/>
                  </a:lnTo>
                  <a:lnTo>
                    <a:pt x="145" y="378"/>
                  </a:lnTo>
                  <a:lnTo>
                    <a:pt x="147" y="381"/>
                  </a:lnTo>
                  <a:lnTo>
                    <a:pt x="150" y="381"/>
                  </a:lnTo>
                  <a:lnTo>
                    <a:pt x="152" y="378"/>
                  </a:lnTo>
                  <a:lnTo>
                    <a:pt x="162" y="374"/>
                  </a:lnTo>
                  <a:lnTo>
                    <a:pt x="164" y="371"/>
                  </a:lnTo>
                  <a:lnTo>
                    <a:pt x="164" y="374"/>
                  </a:lnTo>
                  <a:lnTo>
                    <a:pt x="162" y="376"/>
                  </a:lnTo>
                  <a:lnTo>
                    <a:pt x="169" y="378"/>
                  </a:lnTo>
                  <a:lnTo>
                    <a:pt x="171" y="376"/>
                  </a:lnTo>
                  <a:lnTo>
                    <a:pt x="173" y="376"/>
                  </a:lnTo>
                  <a:lnTo>
                    <a:pt x="169" y="378"/>
                  </a:lnTo>
                  <a:lnTo>
                    <a:pt x="164" y="381"/>
                  </a:lnTo>
                  <a:lnTo>
                    <a:pt x="162" y="383"/>
                  </a:lnTo>
                  <a:lnTo>
                    <a:pt x="162" y="386"/>
                  </a:lnTo>
                  <a:lnTo>
                    <a:pt x="169" y="386"/>
                  </a:lnTo>
                  <a:lnTo>
                    <a:pt x="173" y="386"/>
                  </a:lnTo>
                  <a:lnTo>
                    <a:pt x="176" y="386"/>
                  </a:lnTo>
                  <a:lnTo>
                    <a:pt x="173" y="386"/>
                  </a:lnTo>
                  <a:lnTo>
                    <a:pt x="171" y="388"/>
                  </a:lnTo>
                  <a:lnTo>
                    <a:pt x="169" y="390"/>
                  </a:lnTo>
                  <a:lnTo>
                    <a:pt x="169" y="393"/>
                  </a:lnTo>
                  <a:lnTo>
                    <a:pt x="169" y="395"/>
                  </a:lnTo>
                  <a:lnTo>
                    <a:pt x="176" y="395"/>
                  </a:lnTo>
                  <a:lnTo>
                    <a:pt x="178" y="393"/>
                  </a:lnTo>
                  <a:lnTo>
                    <a:pt x="178" y="395"/>
                  </a:lnTo>
                  <a:lnTo>
                    <a:pt x="183" y="398"/>
                  </a:lnTo>
                  <a:lnTo>
                    <a:pt x="188" y="398"/>
                  </a:lnTo>
                  <a:lnTo>
                    <a:pt x="192" y="395"/>
                  </a:lnTo>
                  <a:lnTo>
                    <a:pt x="195" y="393"/>
                  </a:lnTo>
                  <a:lnTo>
                    <a:pt x="192" y="390"/>
                  </a:lnTo>
                  <a:lnTo>
                    <a:pt x="192" y="388"/>
                  </a:lnTo>
                  <a:lnTo>
                    <a:pt x="197" y="388"/>
                  </a:lnTo>
                  <a:lnTo>
                    <a:pt x="200" y="386"/>
                  </a:lnTo>
                  <a:lnTo>
                    <a:pt x="200" y="378"/>
                  </a:lnTo>
                  <a:lnTo>
                    <a:pt x="202" y="381"/>
                  </a:lnTo>
                  <a:lnTo>
                    <a:pt x="207" y="381"/>
                  </a:lnTo>
                  <a:lnTo>
                    <a:pt x="207" y="376"/>
                  </a:lnTo>
                  <a:lnTo>
                    <a:pt x="207" y="374"/>
                  </a:lnTo>
                  <a:lnTo>
                    <a:pt x="207" y="371"/>
                  </a:lnTo>
                  <a:lnTo>
                    <a:pt x="207" y="374"/>
                  </a:lnTo>
                  <a:lnTo>
                    <a:pt x="209" y="376"/>
                  </a:lnTo>
                  <a:lnTo>
                    <a:pt x="212" y="376"/>
                  </a:lnTo>
                  <a:lnTo>
                    <a:pt x="214" y="374"/>
                  </a:lnTo>
                  <a:lnTo>
                    <a:pt x="214" y="371"/>
                  </a:lnTo>
                  <a:lnTo>
                    <a:pt x="209" y="366"/>
                  </a:lnTo>
                  <a:lnTo>
                    <a:pt x="216" y="366"/>
                  </a:lnTo>
                  <a:lnTo>
                    <a:pt x="216" y="364"/>
                  </a:lnTo>
                  <a:lnTo>
                    <a:pt x="214" y="362"/>
                  </a:lnTo>
                  <a:lnTo>
                    <a:pt x="223" y="362"/>
                  </a:lnTo>
                  <a:lnTo>
                    <a:pt x="219" y="357"/>
                  </a:lnTo>
                  <a:lnTo>
                    <a:pt x="223" y="355"/>
                  </a:lnTo>
                  <a:lnTo>
                    <a:pt x="219" y="352"/>
                  </a:lnTo>
                  <a:lnTo>
                    <a:pt x="216" y="350"/>
                  </a:lnTo>
                  <a:lnTo>
                    <a:pt x="219" y="350"/>
                  </a:lnTo>
                  <a:lnTo>
                    <a:pt x="221" y="350"/>
                  </a:lnTo>
                  <a:lnTo>
                    <a:pt x="216" y="343"/>
                  </a:lnTo>
                  <a:lnTo>
                    <a:pt x="221" y="347"/>
                  </a:lnTo>
                  <a:lnTo>
                    <a:pt x="223" y="347"/>
                  </a:lnTo>
                  <a:lnTo>
                    <a:pt x="228" y="343"/>
                  </a:lnTo>
                  <a:lnTo>
                    <a:pt x="235" y="343"/>
                  </a:lnTo>
                  <a:lnTo>
                    <a:pt x="235" y="340"/>
                  </a:lnTo>
                  <a:lnTo>
                    <a:pt x="233" y="338"/>
                  </a:lnTo>
                  <a:lnTo>
                    <a:pt x="238" y="338"/>
                  </a:lnTo>
                  <a:lnTo>
                    <a:pt x="242" y="331"/>
                  </a:lnTo>
                  <a:lnTo>
                    <a:pt x="245" y="331"/>
                  </a:lnTo>
                  <a:lnTo>
                    <a:pt x="252" y="331"/>
                  </a:lnTo>
                  <a:lnTo>
                    <a:pt x="252" y="326"/>
                  </a:lnTo>
                  <a:lnTo>
                    <a:pt x="257" y="331"/>
                  </a:lnTo>
                  <a:lnTo>
                    <a:pt x="259" y="326"/>
                  </a:lnTo>
                  <a:lnTo>
                    <a:pt x="259" y="319"/>
                  </a:lnTo>
                  <a:lnTo>
                    <a:pt x="252" y="316"/>
                  </a:lnTo>
                  <a:lnTo>
                    <a:pt x="257" y="316"/>
                  </a:lnTo>
                  <a:lnTo>
                    <a:pt x="264" y="311"/>
                  </a:lnTo>
                  <a:lnTo>
                    <a:pt x="266" y="307"/>
                  </a:lnTo>
                  <a:lnTo>
                    <a:pt x="259" y="304"/>
                  </a:lnTo>
                  <a:lnTo>
                    <a:pt x="264" y="299"/>
                  </a:lnTo>
                  <a:lnTo>
                    <a:pt x="278" y="299"/>
                  </a:lnTo>
                  <a:lnTo>
                    <a:pt x="280" y="297"/>
                  </a:lnTo>
                  <a:lnTo>
                    <a:pt x="280" y="292"/>
                  </a:lnTo>
                  <a:lnTo>
                    <a:pt x="288" y="290"/>
                  </a:lnTo>
                  <a:lnTo>
                    <a:pt x="292" y="290"/>
                  </a:lnTo>
                  <a:lnTo>
                    <a:pt x="295" y="292"/>
                  </a:lnTo>
                  <a:lnTo>
                    <a:pt x="302" y="292"/>
                  </a:lnTo>
                  <a:lnTo>
                    <a:pt x="311" y="283"/>
                  </a:lnTo>
                  <a:lnTo>
                    <a:pt x="311" y="280"/>
                  </a:lnTo>
                  <a:lnTo>
                    <a:pt x="314" y="280"/>
                  </a:lnTo>
                  <a:lnTo>
                    <a:pt x="316" y="278"/>
                  </a:lnTo>
                  <a:lnTo>
                    <a:pt x="319" y="278"/>
                  </a:lnTo>
                  <a:lnTo>
                    <a:pt x="319" y="280"/>
                  </a:lnTo>
                  <a:lnTo>
                    <a:pt x="316" y="283"/>
                  </a:lnTo>
                  <a:lnTo>
                    <a:pt x="314" y="285"/>
                  </a:lnTo>
                  <a:lnTo>
                    <a:pt x="311" y="290"/>
                  </a:lnTo>
                  <a:lnTo>
                    <a:pt x="319" y="290"/>
                  </a:lnTo>
                  <a:lnTo>
                    <a:pt x="319" y="285"/>
                  </a:lnTo>
                  <a:lnTo>
                    <a:pt x="323" y="285"/>
                  </a:lnTo>
                  <a:lnTo>
                    <a:pt x="326" y="283"/>
                  </a:lnTo>
                  <a:lnTo>
                    <a:pt x="328" y="283"/>
                  </a:lnTo>
                  <a:lnTo>
                    <a:pt x="328" y="285"/>
                  </a:lnTo>
                  <a:lnTo>
                    <a:pt x="333" y="285"/>
                  </a:lnTo>
                  <a:lnTo>
                    <a:pt x="335" y="285"/>
                  </a:lnTo>
                  <a:lnTo>
                    <a:pt x="342" y="283"/>
                  </a:lnTo>
                  <a:lnTo>
                    <a:pt x="347" y="278"/>
                  </a:lnTo>
                  <a:lnTo>
                    <a:pt x="349" y="275"/>
                  </a:lnTo>
                  <a:lnTo>
                    <a:pt x="359" y="275"/>
                  </a:lnTo>
                  <a:lnTo>
                    <a:pt x="366" y="275"/>
                  </a:lnTo>
                  <a:lnTo>
                    <a:pt x="371" y="271"/>
                  </a:lnTo>
                  <a:lnTo>
                    <a:pt x="373" y="268"/>
                  </a:lnTo>
                  <a:lnTo>
                    <a:pt x="376" y="266"/>
                  </a:lnTo>
                  <a:lnTo>
                    <a:pt x="383" y="259"/>
                  </a:lnTo>
                  <a:lnTo>
                    <a:pt x="385" y="256"/>
                  </a:lnTo>
                  <a:lnTo>
                    <a:pt x="390" y="254"/>
                  </a:lnTo>
                  <a:lnTo>
                    <a:pt x="399" y="252"/>
                  </a:lnTo>
                  <a:lnTo>
                    <a:pt x="402" y="252"/>
                  </a:lnTo>
                  <a:lnTo>
                    <a:pt x="404" y="249"/>
                  </a:lnTo>
                  <a:lnTo>
                    <a:pt x="407" y="249"/>
                  </a:lnTo>
                  <a:lnTo>
                    <a:pt x="407" y="247"/>
                  </a:lnTo>
                  <a:lnTo>
                    <a:pt x="407" y="244"/>
                  </a:lnTo>
                  <a:lnTo>
                    <a:pt x="407" y="240"/>
                  </a:lnTo>
                  <a:lnTo>
                    <a:pt x="407" y="235"/>
                  </a:lnTo>
                  <a:lnTo>
                    <a:pt x="414" y="242"/>
                  </a:lnTo>
                  <a:lnTo>
                    <a:pt x="416" y="244"/>
                  </a:lnTo>
                  <a:lnTo>
                    <a:pt x="418" y="244"/>
                  </a:lnTo>
                  <a:lnTo>
                    <a:pt x="437" y="244"/>
                  </a:lnTo>
                  <a:lnTo>
                    <a:pt x="447" y="242"/>
                  </a:lnTo>
                  <a:lnTo>
                    <a:pt x="454" y="240"/>
                  </a:lnTo>
                  <a:lnTo>
                    <a:pt x="459" y="240"/>
                  </a:lnTo>
                  <a:lnTo>
                    <a:pt x="468" y="237"/>
                  </a:lnTo>
                  <a:lnTo>
                    <a:pt x="480" y="235"/>
                  </a:lnTo>
                  <a:lnTo>
                    <a:pt x="487" y="235"/>
                  </a:lnTo>
                  <a:lnTo>
                    <a:pt x="492" y="230"/>
                  </a:lnTo>
                  <a:lnTo>
                    <a:pt x="499" y="230"/>
                  </a:lnTo>
                  <a:lnTo>
                    <a:pt x="502" y="228"/>
                  </a:lnTo>
                  <a:lnTo>
                    <a:pt x="509" y="228"/>
                  </a:lnTo>
                  <a:lnTo>
                    <a:pt x="516" y="220"/>
                  </a:lnTo>
                  <a:lnTo>
                    <a:pt x="518" y="220"/>
                  </a:lnTo>
                  <a:lnTo>
                    <a:pt x="518" y="218"/>
                  </a:lnTo>
                  <a:lnTo>
                    <a:pt x="523" y="218"/>
                  </a:lnTo>
                  <a:lnTo>
                    <a:pt x="525" y="216"/>
                  </a:lnTo>
                  <a:lnTo>
                    <a:pt x="528" y="216"/>
                  </a:lnTo>
                  <a:lnTo>
                    <a:pt x="542" y="213"/>
                  </a:lnTo>
                  <a:lnTo>
                    <a:pt x="552" y="211"/>
                  </a:lnTo>
                  <a:lnTo>
                    <a:pt x="552" y="206"/>
                  </a:lnTo>
                  <a:lnTo>
                    <a:pt x="549" y="206"/>
                  </a:lnTo>
                  <a:lnTo>
                    <a:pt x="547" y="208"/>
                  </a:lnTo>
                  <a:lnTo>
                    <a:pt x="537" y="208"/>
                  </a:lnTo>
                  <a:lnTo>
                    <a:pt x="530" y="206"/>
                  </a:lnTo>
                  <a:lnTo>
                    <a:pt x="525" y="206"/>
                  </a:lnTo>
                  <a:lnTo>
                    <a:pt x="521" y="204"/>
                  </a:lnTo>
                  <a:lnTo>
                    <a:pt x="509" y="204"/>
                  </a:lnTo>
                  <a:lnTo>
                    <a:pt x="499" y="206"/>
                  </a:lnTo>
                  <a:lnTo>
                    <a:pt x="490" y="206"/>
                  </a:lnTo>
                  <a:lnTo>
                    <a:pt x="487" y="211"/>
                  </a:lnTo>
                  <a:lnTo>
                    <a:pt x="471" y="211"/>
                  </a:lnTo>
                  <a:lnTo>
                    <a:pt x="485" y="206"/>
                  </a:lnTo>
                  <a:lnTo>
                    <a:pt x="494" y="204"/>
                  </a:lnTo>
                  <a:lnTo>
                    <a:pt x="499" y="204"/>
                  </a:lnTo>
                  <a:lnTo>
                    <a:pt x="502" y="201"/>
                  </a:lnTo>
                  <a:lnTo>
                    <a:pt x="506" y="201"/>
                  </a:lnTo>
                  <a:lnTo>
                    <a:pt x="511" y="199"/>
                  </a:lnTo>
                  <a:lnTo>
                    <a:pt x="514" y="199"/>
                  </a:lnTo>
                  <a:lnTo>
                    <a:pt x="516" y="199"/>
                  </a:lnTo>
                  <a:lnTo>
                    <a:pt x="514" y="196"/>
                  </a:lnTo>
                  <a:lnTo>
                    <a:pt x="509" y="194"/>
                  </a:lnTo>
                  <a:lnTo>
                    <a:pt x="506" y="194"/>
                  </a:lnTo>
                  <a:lnTo>
                    <a:pt x="504" y="194"/>
                  </a:lnTo>
                  <a:lnTo>
                    <a:pt x="497" y="196"/>
                  </a:lnTo>
                  <a:lnTo>
                    <a:pt x="483" y="201"/>
                  </a:lnTo>
                  <a:lnTo>
                    <a:pt x="468" y="201"/>
                  </a:lnTo>
                  <a:lnTo>
                    <a:pt x="478" y="196"/>
                  </a:lnTo>
                  <a:lnTo>
                    <a:pt x="485" y="192"/>
                  </a:lnTo>
                  <a:lnTo>
                    <a:pt x="487" y="192"/>
                  </a:lnTo>
                  <a:lnTo>
                    <a:pt x="492" y="194"/>
                  </a:lnTo>
                  <a:lnTo>
                    <a:pt x="497" y="194"/>
                  </a:lnTo>
                  <a:lnTo>
                    <a:pt x="499" y="192"/>
                  </a:lnTo>
                  <a:lnTo>
                    <a:pt x="504" y="192"/>
                  </a:lnTo>
                  <a:lnTo>
                    <a:pt x="506" y="189"/>
                  </a:lnTo>
                  <a:lnTo>
                    <a:pt x="516" y="189"/>
                  </a:lnTo>
                  <a:lnTo>
                    <a:pt x="518" y="189"/>
                  </a:lnTo>
                  <a:lnTo>
                    <a:pt x="516" y="187"/>
                  </a:lnTo>
                  <a:lnTo>
                    <a:pt x="514" y="187"/>
                  </a:lnTo>
                  <a:lnTo>
                    <a:pt x="509" y="184"/>
                  </a:lnTo>
                  <a:lnTo>
                    <a:pt x="485" y="184"/>
                  </a:lnTo>
                  <a:lnTo>
                    <a:pt x="492" y="182"/>
                  </a:lnTo>
                  <a:lnTo>
                    <a:pt x="485" y="180"/>
                  </a:lnTo>
                  <a:lnTo>
                    <a:pt x="485" y="175"/>
                  </a:lnTo>
                  <a:lnTo>
                    <a:pt x="487" y="175"/>
                  </a:lnTo>
                  <a:lnTo>
                    <a:pt x="490" y="177"/>
                  </a:lnTo>
                  <a:lnTo>
                    <a:pt x="492" y="180"/>
                  </a:lnTo>
                  <a:lnTo>
                    <a:pt x="497" y="182"/>
                  </a:lnTo>
                  <a:lnTo>
                    <a:pt x="504" y="182"/>
                  </a:lnTo>
                  <a:lnTo>
                    <a:pt x="506" y="184"/>
                  </a:lnTo>
                  <a:lnTo>
                    <a:pt x="509" y="184"/>
                  </a:lnTo>
                  <a:lnTo>
                    <a:pt x="514" y="184"/>
                  </a:lnTo>
                  <a:lnTo>
                    <a:pt x="518" y="184"/>
                  </a:lnTo>
                  <a:lnTo>
                    <a:pt x="518" y="187"/>
                  </a:lnTo>
                  <a:lnTo>
                    <a:pt x="523" y="187"/>
                  </a:lnTo>
                  <a:lnTo>
                    <a:pt x="523" y="184"/>
                  </a:lnTo>
                  <a:lnTo>
                    <a:pt x="528" y="184"/>
                  </a:lnTo>
                  <a:lnTo>
                    <a:pt x="528" y="187"/>
                  </a:lnTo>
                  <a:lnTo>
                    <a:pt x="528" y="189"/>
                  </a:lnTo>
                  <a:lnTo>
                    <a:pt x="528" y="192"/>
                  </a:lnTo>
                  <a:lnTo>
                    <a:pt x="528" y="196"/>
                  </a:lnTo>
                  <a:lnTo>
                    <a:pt x="528" y="199"/>
                  </a:lnTo>
                  <a:lnTo>
                    <a:pt x="533" y="199"/>
                  </a:lnTo>
                  <a:lnTo>
                    <a:pt x="537" y="201"/>
                  </a:lnTo>
                  <a:lnTo>
                    <a:pt x="542" y="201"/>
                  </a:lnTo>
                  <a:lnTo>
                    <a:pt x="547" y="201"/>
                  </a:lnTo>
                  <a:lnTo>
                    <a:pt x="549" y="201"/>
                  </a:lnTo>
                  <a:lnTo>
                    <a:pt x="552" y="199"/>
                  </a:lnTo>
                  <a:lnTo>
                    <a:pt x="554" y="199"/>
                  </a:lnTo>
                  <a:lnTo>
                    <a:pt x="554" y="204"/>
                  </a:lnTo>
                  <a:lnTo>
                    <a:pt x="559" y="204"/>
                  </a:lnTo>
                  <a:lnTo>
                    <a:pt x="561" y="201"/>
                  </a:lnTo>
                  <a:lnTo>
                    <a:pt x="563" y="201"/>
                  </a:lnTo>
                  <a:lnTo>
                    <a:pt x="563" y="194"/>
                  </a:lnTo>
                  <a:lnTo>
                    <a:pt x="561" y="194"/>
                  </a:lnTo>
                  <a:lnTo>
                    <a:pt x="563" y="189"/>
                  </a:lnTo>
                  <a:lnTo>
                    <a:pt x="563" y="187"/>
                  </a:lnTo>
                  <a:lnTo>
                    <a:pt x="559" y="187"/>
                  </a:lnTo>
                  <a:lnTo>
                    <a:pt x="556" y="182"/>
                  </a:lnTo>
                  <a:lnTo>
                    <a:pt x="552" y="180"/>
                  </a:lnTo>
                  <a:lnTo>
                    <a:pt x="552" y="175"/>
                  </a:lnTo>
                  <a:lnTo>
                    <a:pt x="533" y="170"/>
                  </a:lnTo>
                  <a:lnTo>
                    <a:pt x="523" y="170"/>
                  </a:lnTo>
                  <a:lnTo>
                    <a:pt x="521" y="170"/>
                  </a:lnTo>
                  <a:lnTo>
                    <a:pt x="528" y="168"/>
                  </a:lnTo>
                  <a:lnTo>
                    <a:pt x="530" y="165"/>
                  </a:lnTo>
                  <a:lnTo>
                    <a:pt x="528" y="165"/>
                  </a:lnTo>
                  <a:lnTo>
                    <a:pt x="525" y="163"/>
                  </a:lnTo>
                  <a:lnTo>
                    <a:pt x="514" y="163"/>
                  </a:lnTo>
                  <a:lnTo>
                    <a:pt x="509" y="161"/>
                  </a:lnTo>
                  <a:lnTo>
                    <a:pt x="504" y="161"/>
                  </a:lnTo>
                  <a:lnTo>
                    <a:pt x="509" y="156"/>
                  </a:lnTo>
                  <a:lnTo>
                    <a:pt x="523" y="156"/>
                  </a:lnTo>
                  <a:lnTo>
                    <a:pt x="528" y="153"/>
                  </a:lnTo>
                  <a:lnTo>
                    <a:pt x="533" y="153"/>
                  </a:lnTo>
                  <a:lnTo>
                    <a:pt x="547" y="156"/>
                  </a:lnTo>
                  <a:lnTo>
                    <a:pt x="552" y="156"/>
                  </a:lnTo>
                  <a:lnTo>
                    <a:pt x="554" y="156"/>
                  </a:lnTo>
                  <a:lnTo>
                    <a:pt x="556" y="158"/>
                  </a:lnTo>
                  <a:lnTo>
                    <a:pt x="559" y="161"/>
                  </a:lnTo>
                  <a:lnTo>
                    <a:pt x="563" y="165"/>
                  </a:lnTo>
                  <a:lnTo>
                    <a:pt x="568" y="165"/>
                  </a:lnTo>
                  <a:lnTo>
                    <a:pt x="568" y="163"/>
                  </a:lnTo>
                  <a:lnTo>
                    <a:pt x="568" y="158"/>
                  </a:lnTo>
                  <a:lnTo>
                    <a:pt x="559" y="156"/>
                  </a:lnTo>
                  <a:lnTo>
                    <a:pt x="552" y="153"/>
                  </a:lnTo>
                  <a:lnTo>
                    <a:pt x="540" y="151"/>
                  </a:lnTo>
                  <a:lnTo>
                    <a:pt x="544" y="149"/>
                  </a:lnTo>
                  <a:lnTo>
                    <a:pt x="547" y="149"/>
                  </a:lnTo>
                  <a:lnTo>
                    <a:pt x="552" y="151"/>
                  </a:lnTo>
                  <a:lnTo>
                    <a:pt x="556" y="151"/>
                  </a:lnTo>
                  <a:lnTo>
                    <a:pt x="559" y="153"/>
                  </a:lnTo>
                  <a:lnTo>
                    <a:pt x="578" y="153"/>
                  </a:lnTo>
                  <a:lnTo>
                    <a:pt x="594" y="151"/>
                  </a:lnTo>
                  <a:lnTo>
                    <a:pt x="594" y="144"/>
                  </a:lnTo>
                  <a:lnTo>
                    <a:pt x="582" y="141"/>
                  </a:lnTo>
                  <a:lnTo>
                    <a:pt x="578" y="146"/>
                  </a:lnTo>
                  <a:lnTo>
                    <a:pt x="573" y="141"/>
                  </a:lnTo>
                  <a:lnTo>
                    <a:pt x="573" y="139"/>
                  </a:lnTo>
                  <a:lnTo>
                    <a:pt x="587" y="139"/>
                  </a:lnTo>
                  <a:lnTo>
                    <a:pt x="599" y="137"/>
                  </a:lnTo>
                  <a:lnTo>
                    <a:pt x="602" y="139"/>
                  </a:lnTo>
                  <a:lnTo>
                    <a:pt x="609" y="139"/>
                  </a:lnTo>
                  <a:lnTo>
                    <a:pt x="616" y="134"/>
                  </a:lnTo>
                  <a:lnTo>
                    <a:pt x="618" y="134"/>
                  </a:lnTo>
                  <a:lnTo>
                    <a:pt x="618" y="132"/>
                  </a:lnTo>
                  <a:lnTo>
                    <a:pt x="599" y="132"/>
                  </a:lnTo>
                  <a:lnTo>
                    <a:pt x="599" y="129"/>
                  </a:lnTo>
                  <a:lnTo>
                    <a:pt x="597" y="129"/>
                  </a:lnTo>
                  <a:lnTo>
                    <a:pt x="597" y="127"/>
                  </a:lnTo>
                  <a:lnTo>
                    <a:pt x="592" y="127"/>
                  </a:lnTo>
                  <a:lnTo>
                    <a:pt x="587" y="125"/>
                  </a:lnTo>
                  <a:lnTo>
                    <a:pt x="592" y="125"/>
                  </a:lnTo>
                  <a:lnTo>
                    <a:pt x="594" y="125"/>
                  </a:lnTo>
                  <a:lnTo>
                    <a:pt x="594" y="122"/>
                  </a:lnTo>
                  <a:lnTo>
                    <a:pt x="592" y="120"/>
                  </a:lnTo>
                  <a:lnTo>
                    <a:pt x="590" y="120"/>
                  </a:lnTo>
                  <a:lnTo>
                    <a:pt x="582" y="117"/>
                  </a:lnTo>
                  <a:lnTo>
                    <a:pt x="592" y="117"/>
                  </a:lnTo>
                  <a:lnTo>
                    <a:pt x="594" y="120"/>
                  </a:lnTo>
                  <a:lnTo>
                    <a:pt x="597" y="120"/>
                  </a:lnTo>
                  <a:lnTo>
                    <a:pt x="602" y="120"/>
                  </a:lnTo>
                  <a:lnTo>
                    <a:pt x="606" y="120"/>
                  </a:lnTo>
                  <a:lnTo>
                    <a:pt x="609" y="125"/>
                  </a:lnTo>
                  <a:lnTo>
                    <a:pt x="613" y="125"/>
                  </a:lnTo>
                  <a:lnTo>
                    <a:pt x="618" y="120"/>
                  </a:lnTo>
                  <a:lnTo>
                    <a:pt x="618" y="113"/>
                  </a:lnTo>
                  <a:lnTo>
                    <a:pt x="616" y="110"/>
                  </a:lnTo>
                  <a:lnTo>
                    <a:pt x="613" y="110"/>
                  </a:lnTo>
                  <a:lnTo>
                    <a:pt x="611" y="108"/>
                  </a:lnTo>
                  <a:lnTo>
                    <a:pt x="609" y="105"/>
                  </a:lnTo>
                  <a:lnTo>
                    <a:pt x="592" y="103"/>
                  </a:lnTo>
                  <a:lnTo>
                    <a:pt x="587" y="101"/>
                  </a:lnTo>
                  <a:lnTo>
                    <a:pt x="587" y="98"/>
                  </a:lnTo>
                  <a:lnTo>
                    <a:pt x="590" y="98"/>
                  </a:lnTo>
                  <a:lnTo>
                    <a:pt x="599" y="98"/>
                  </a:lnTo>
                  <a:lnTo>
                    <a:pt x="611" y="96"/>
                  </a:lnTo>
                  <a:lnTo>
                    <a:pt x="618" y="96"/>
                  </a:lnTo>
                  <a:lnTo>
                    <a:pt x="623" y="98"/>
                  </a:lnTo>
                  <a:lnTo>
                    <a:pt x="632" y="98"/>
                  </a:lnTo>
                  <a:lnTo>
                    <a:pt x="637" y="96"/>
                  </a:lnTo>
                  <a:lnTo>
                    <a:pt x="642" y="93"/>
                  </a:lnTo>
                  <a:lnTo>
                    <a:pt x="642" y="91"/>
                  </a:lnTo>
                  <a:lnTo>
                    <a:pt x="642" y="89"/>
                  </a:lnTo>
                  <a:lnTo>
                    <a:pt x="632" y="89"/>
                  </a:lnTo>
                  <a:lnTo>
                    <a:pt x="625" y="86"/>
                  </a:lnTo>
                  <a:lnTo>
                    <a:pt x="616" y="86"/>
                  </a:lnTo>
                  <a:lnTo>
                    <a:pt x="613" y="84"/>
                  </a:lnTo>
                  <a:lnTo>
                    <a:pt x="623" y="84"/>
                  </a:lnTo>
                  <a:lnTo>
                    <a:pt x="621" y="82"/>
                  </a:lnTo>
                  <a:lnTo>
                    <a:pt x="618" y="79"/>
                  </a:lnTo>
                  <a:lnTo>
                    <a:pt x="618" y="77"/>
                  </a:lnTo>
                  <a:lnTo>
                    <a:pt x="613" y="77"/>
                  </a:lnTo>
                  <a:lnTo>
                    <a:pt x="611" y="79"/>
                  </a:lnTo>
                  <a:lnTo>
                    <a:pt x="611" y="84"/>
                  </a:lnTo>
                  <a:lnTo>
                    <a:pt x="606" y="84"/>
                  </a:lnTo>
                  <a:lnTo>
                    <a:pt x="604" y="84"/>
                  </a:lnTo>
                  <a:lnTo>
                    <a:pt x="602" y="82"/>
                  </a:lnTo>
                  <a:lnTo>
                    <a:pt x="599" y="79"/>
                  </a:lnTo>
                  <a:lnTo>
                    <a:pt x="602" y="79"/>
                  </a:lnTo>
                  <a:lnTo>
                    <a:pt x="606" y="77"/>
                  </a:lnTo>
                  <a:lnTo>
                    <a:pt x="609" y="74"/>
                  </a:lnTo>
                  <a:lnTo>
                    <a:pt x="613" y="70"/>
                  </a:lnTo>
                  <a:lnTo>
                    <a:pt x="616" y="67"/>
                  </a:lnTo>
                  <a:lnTo>
                    <a:pt x="618" y="65"/>
                  </a:lnTo>
                  <a:lnTo>
                    <a:pt x="621" y="65"/>
                  </a:lnTo>
                  <a:lnTo>
                    <a:pt x="623" y="65"/>
                  </a:lnTo>
                  <a:lnTo>
                    <a:pt x="628" y="65"/>
                  </a:lnTo>
                  <a:lnTo>
                    <a:pt x="630" y="65"/>
                  </a:lnTo>
                  <a:lnTo>
                    <a:pt x="632" y="62"/>
                  </a:lnTo>
                  <a:lnTo>
                    <a:pt x="637" y="60"/>
                  </a:lnTo>
                  <a:lnTo>
                    <a:pt x="635" y="55"/>
                  </a:lnTo>
                  <a:lnTo>
                    <a:pt x="637" y="53"/>
                  </a:lnTo>
                  <a:lnTo>
                    <a:pt x="640" y="50"/>
                  </a:lnTo>
                  <a:lnTo>
                    <a:pt x="642" y="50"/>
                  </a:lnTo>
                  <a:lnTo>
                    <a:pt x="647" y="50"/>
                  </a:lnTo>
                  <a:lnTo>
                    <a:pt x="649" y="50"/>
                  </a:lnTo>
                  <a:lnTo>
                    <a:pt x="651" y="53"/>
                  </a:lnTo>
                  <a:lnTo>
                    <a:pt x="656" y="53"/>
                  </a:lnTo>
                  <a:lnTo>
                    <a:pt x="659" y="50"/>
                  </a:lnTo>
                  <a:lnTo>
                    <a:pt x="661" y="50"/>
                  </a:lnTo>
                  <a:lnTo>
                    <a:pt x="663" y="48"/>
                  </a:lnTo>
                  <a:lnTo>
                    <a:pt x="644" y="48"/>
                  </a:lnTo>
                  <a:lnTo>
                    <a:pt x="642" y="48"/>
                  </a:lnTo>
                  <a:lnTo>
                    <a:pt x="637" y="48"/>
                  </a:lnTo>
                  <a:lnTo>
                    <a:pt x="635" y="50"/>
                  </a:lnTo>
                  <a:lnTo>
                    <a:pt x="630" y="50"/>
                  </a:lnTo>
                  <a:lnTo>
                    <a:pt x="630" y="48"/>
                  </a:lnTo>
                  <a:lnTo>
                    <a:pt x="640" y="43"/>
                  </a:lnTo>
                  <a:lnTo>
                    <a:pt x="670" y="43"/>
                  </a:lnTo>
                  <a:lnTo>
                    <a:pt x="675" y="43"/>
                  </a:lnTo>
                  <a:lnTo>
                    <a:pt x="678" y="43"/>
                  </a:lnTo>
                  <a:lnTo>
                    <a:pt x="682" y="41"/>
                  </a:lnTo>
                  <a:lnTo>
                    <a:pt x="678" y="41"/>
                  </a:lnTo>
                  <a:lnTo>
                    <a:pt x="673" y="38"/>
                  </a:lnTo>
                  <a:lnTo>
                    <a:pt x="656" y="38"/>
                  </a:lnTo>
                  <a:lnTo>
                    <a:pt x="651" y="41"/>
                  </a:lnTo>
                  <a:lnTo>
                    <a:pt x="635" y="41"/>
                  </a:lnTo>
                  <a:lnTo>
                    <a:pt x="635" y="38"/>
                  </a:lnTo>
                  <a:lnTo>
                    <a:pt x="637" y="38"/>
                  </a:lnTo>
                  <a:lnTo>
                    <a:pt x="642" y="38"/>
                  </a:lnTo>
                  <a:lnTo>
                    <a:pt x="687" y="38"/>
                  </a:lnTo>
                  <a:lnTo>
                    <a:pt x="692" y="36"/>
                  </a:lnTo>
                  <a:lnTo>
                    <a:pt x="699" y="34"/>
                  </a:lnTo>
                  <a:lnTo>
                    <a:pt x="701" y="31"/>
                  </a:lnTo>
                  <a:lnTo>
                    <a:pt x="718" y="31"/>
                  </a:lnTo>
                  <a:lnTo>
                    <a:pt x="723" y="29"/>
                  </a:lnTo>
                  <a:lnTo>
                    <a:pt x="725" y="29"/>
                  </a:lnTo>
                  <a:lnTo>
                    <a:pt x="730" y="29"/>
                  </a:lnTo>
                  <a:lnTo>
                    <a:pt x="732" y="26"/>
                  </a:lnTo>
                  <a:lnTo>
                    <a:pt x="730" y="24"/>
                  </a:lnTo>
                  <a:close/>
                  <a:moveTo>
                    <a:pt x="119" y="268"/>
                  </a:moveTo>
                  <a:lnTo>
                    <a:pt x="116" y="266"/>
                  </a:lnTo>
                  <a:lnTo>
                    <a:pt x="119" y="268"/>
                  </a:lnTo>
                  <a:close/>
                  <a:moveTo>
                    <a:pt x="128" y="223"/>
                  </a:moveTo>
                  <a:lnTo>
                    <a:pt x="135" y="223"/>
                  </a:lnTo>
                  <a:lnTo>
                    <a:pt x="138" y="220"/>
                  </a:lnTo>
                  <a:lnTo>
                    <a:pt x="145" y="220"/>
                  </a:lnTo>
                  <a:lnTo>
                    <a:pt x="147" y="220"/>
                  </a:lnTo>
                  <a:lnTo>
                    <a:pt x="147" y="216"/>
                  </a:lnTo>
                  <a:lnTo>
                    <a:pt x="150" y="216"/>
                  </a:lnTo>
                  <a:lnTo>
                    <a:pt x="147" y="213"/>
                  </a:lnTo>
                  <a:lnTo>
                    <a:pt x="145" y="211"/>
                  </a:lnTo>
                  <a:lnTo>
                    <a:pt x="143" y="211"/>
                  </a:lnTo>
                  <a:lnTo>
                    <a:pt x="138" y="211"/>
                  </a:lnTo>
                  <a:lnTo>
                    <a:pt x="135" y="206"/>
                  </a:lnTo>
                  <a:lnTo>
                    <a:pt x="119" y="206"/>
                  </a:lnTo>
                  <a:lnTo>
                    <a:pt x="119" y="213"/>
                  </a:lnTo>
                  <a:lnTo>
                    <a:pt x="116" y="216"/>
                  </a:lnTo>
                  <a:lnTo>
                    <a:pt x="114" y="216"/>
                  </a:lnTo>
                  <a:lnTo>
                    <a:pt x="114" y="218"/>
                  </a:lnTo>
                  <a:lnTo>
                    <a:pt x="116" y="220"/>
                  </a:lnTo>
                  <a:lnTo>
                    <a:pt x="119" y="220"/>
                  </a:lnTo>
                  <a:lnTo>
                    <a:pt x="119" y="225"/>
                  </a:lnTo>
                  <a:lnTo>
                    <a:pt x="128" y="223"/>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58" name="Großbritannien" descr="© INSCALE GmbH, 05.05.2010&#10;http://www.presentationload.com/">
              <a:extLst>
                <a:ext uri="{FF2B5EF4-FFF2-40B4-BE49-F238E27FC236}">
                  <a16:creationId xmlns:a16="http://schemas.microsoft.com/office/drawing/2014/main" id="{48D926F5-F6A4-4686-A9A9-848AAC3FE240}"/>
                </a:ext>
              </a:extLst>
            </p:cNvPr>
            <p:cNvSpPr>
              <a:spLocks noEditPoints="1"/>
            </p:cNvSpPr>
            <p:nvPr/>
          </p:nvSpPr>
          <p:spPr bwMode="gray">
            <a:xfrm>
              <a:off x="3981965" y="2331801"/>
              <a:ext cx="228931" cy="327717"/>
            </a:xfrm>
            <a:custGeom>
              <a:avLst/>
              <a:gdLst>
                <a:gd name="T0" fmla="*/ 2147483647 w 576"/>
                <a:gd name="T1" fmla="*/ 2147483647 h 822"/>
                <a:gd name="T2" fmla="*/ 2147483647 w 576"/>
                <a:gd name="T3" fmla="*/ 2147483647 h 822"/>
                <a:gd name="T4" fmla="*/ 2147483647 w 576"/>
                <a:gd name="T5" fmla="*/ 2147483647 h 822"/>
                <a:gd name="T6" fmla="*/ 2147483647 w 576"/>
                <a:gd name="T7" fmla="*/ 2147483647 h 822"/>
                <a:gd name="T8" fmla="*/ 2147483647 w 576"/>
                <a:gd name="T9" fmla="*/ 2147483647 h 822"/>
                <a:gd name="T10" fmla="*/ 2147483647 w 576"/>
                <a:gd name="T11" fmla="*/ 2147483647 h 822"/>
                <a:gd name="T12" fmla="*/ 2147483647 w 576"/>
                <a:gd name="T13" fmla="*/ 2147483647 h 822"/>
                <a:gd name="T14" fmla="*/ 2147483647 w 576"/>
                <a:gd name="T15" fmla="*/ 0 h 822"/>
                <a:gd name="T16" fmla="*/ 2147483647 w 576"/>
                <a:gd name="T17" fmla="*/ 0 h 822"/>
                <a:gd name="T18" fmla="*/ 2147483647 w 576"/>
                <a:gd name="T19" fmla="*/ 2147483647 h 822"/>
                <a:gd name="T20" fmla="*/ 2147483647 w 576"/>
                <a:gd name="T21" fmla="*/ 2147483647 h 822"/>
                <a:gd name="T22" fmla="*/ 2147483647 w 576"/>
                <a:gd name="T23" fmla="*/ 2147483647 h 822"/>
                <a:gd name="T24" fmla="*/ 2147483647 w 576"/>
                <a:gd name="T25" fmla="*/ 2147483647 h 822"/>
                <a:gd name="T26" fmla="*/ 2147483647 w 576"/>
                <a:gd name="T27" fmla="*/ 2147483647 h 822"/>
                <a:gd name="T28" fmla="*/ 2147483647 w 576"/>
                <a:gd name="T29" fmla="*/ 2147483647 h 822"/>
                <a:gd name="T30" fmla="*/ 2147483647 w 576"/>
                <a:gd name="T31" fmla="*/ 2147483647 h 822"/>
                <a:gd name="T32" fmla="*/ 2147483647 w 576"/>
                <a:gd name="T33" fmla="*/ 2147483647 h 822"/>
                <a:gd name="T34" fmla="*/ 2147483647 w 576"/>
                <a:gd name="T35" fmla="*/ 2147483647 h 822"/>
                <a:gd name="T36" fmla="*/ 2147483647 w 576"/>
                <a:gd name="T37" fmla="*/ 2147483647 h 822"/>
                <a:gd name="T38" fmla="*/ 2147483647 w 576"/>
                <a:gd name="T39" fmla="*/ 2147483647 h 822"/>
                <a:gd name="T40" fmla="*/ 2147483647 w 576"/>
                <a:gd name="T41" fmla="*/ 2147483647 h 822"/>
                <a:gd name="T42" fmla="*/ 2147483647 w 576"/>
                <a:gd name="T43" fmla="*/ 2147483647 h 822"/>
                <a:gd name="T44" fmla="*/ 2147483647 w 576"/>
                <a:gd name="T45" fmla="*/ 2147483647 h 822"/>
                <a:gd name="T46" fmla="*/ 2147483647 w 576"/>
                <a:gd name="T47" fmla="*/ 2147483647 h 822"/>
                <a:gd name="T48" fmla="*/ 2147483647 w 576"/>
                <a:gd name="T49" fmla="*/ 2147483647 h 822"/>
                <a:gd name="T50" fmla="*/ 2147483647 w 576"/>
                <a:gd name="T51" fmla="*/ 2147483647 h 822"/>
                <a:gd name="T52" fmla="*/ 2147483647 w 576"/>
                <a:gd name="T53" fmla="*/ 2147483647 h 822"/>
                <a:gd name="T54" fmla="*/ 2147483647 w 576"/>
                <a:gd name="T55" fmla="*/ 2147483647 h 822"/>
                <a:gd name="T56" fmla="*/ 2147483647 w 576"/>
                <a:gd name="T57" fmla="*/ 2147483647 h 822"/>
                <a:gd name="T58" fmla="*/ 2147483647 w 576"/>
                <a:gd name="T59" fmla="*/ 2147483647 h 822"/>
                <a:gd name="T60" fmla="*/ 2147483647 w 576"/>
                <a:gd name="T61" fmla="*/ 2147483647 h 822"/>
                <a:gd name="T62" fmla="*/ 2147483647 w 576"/>
                <a:gd name="T63" fmla="*/ 2147483647 h 822"/>
                <a:gd name="T64" fmla="*/ 2147483647 w 576"/>
                <a:gd name="T65" fmla="*/ 2147483647 h 822"/>
                <a:gd name="T66" fmla="*/ 2147483647 w 576"/>
                <a:gd name="T67" fmla="*/ 2147483647 h 822"/>
                <a:gd name="T68" fmla="*/ 2147483647 w 576"/>
                <a:gd name="T69" fmla="*/ 2147483647 h 822"/>
                <a:gd name="T70" fmla="*/ 2147483647 w 576"/>
                <a:gd name="T71" fmla="*/ 2147483647 h 822"/>
                <a:gd name="T72" fmla="*/ 2147483647 w 576"/>
                <a:gd name="T73" fmla="*/ 2147483647 h 822"/>
                <a:gd name="T74" fmla="*/ 2147483647 w 576"/>
                <a:gd name="T75" fmla="*/ 2147483647 h 822"/>
                <a:gd name="T76" fmla="*/ 2147483647 w 576"/>
                <a:gd name="T77" fmla="*/ 2147483647 h 822"/>
                <a:gd name="T78" fmla="*/ 2147483647 w 576"/>
                <a:gd name="T79" fmla="*/ 2147483647 h 822"/>
                <a:gd name="T80" fmla="*/ 2147483647 w 576"/>
                <a:gd name="T81" fmla="*/ 2147483647 h 822"/>
                <a:gd name="T82" fmla="*/ 2147483647 w 576"/>
                <a:gd name="T83" fmla="*/ 2147483647 h 822"/>
                <a:gd name="T84" fmla="*/ 2147483647 w 576"/>
                <a:gd name="T85" fmla="*/ 2147483647 h 822"/>
                <a:gd name="T86" fmla="*/ 2147483647 w 576"/>
                <a:gd name="T87" fmla="*/ 2147483647 h 822"/>
                <a:gd name="T88" fmla="*/ 2147483647 w 576"/>
                <a:gd name="T89" fmla="*/ 2147483647 h 822"/>
                <a:gd name="T90" fmla="*/ 2147483647 w 576"/>
                <a:gd name="T91" fmla="*/ 2147483647 h 822"/>
                <a:gd name="T92" fmla="*/ 2147483647 w 576"/>
                <a:gd name="T93" fmla="*/ 2147483647 h 822"/>
                <a:gd name="T94" fmla="*/ 2147483647 w 576"/>
                <a:gd name="T95" fmla="*/ 2147483647 h 822"/>
                <a:gd name="T96" fmla="*/ 2147483647 w 576"/>
                <a:gd name="T97" fmla="*/ 2147483647 h 822"/>
                <a:gd name="T98" fmla="*/ 2147483647 w 576"/>
                <a:gd name="T99" fmla="*/ 2147483647 h 822"/>
                <a:gd name="T100" fmla="*/ 2147483647 w 576"/>
                <a:gd name="T101" fmla="*/ 2147483647 h 822"/>
                <a:gd name="T102" fmla="*/ 2147483647 w 576"/>
                <a:gd name="T103" fmla="*/ 2147483647 h 822"/>
                <a:gd name="T104" fmla="*/ 2147483647 w 576"/>
                <a:gd name="T105" fmla="*/ 2147483647 h 822"/>
                <a:gd name="T106" fmla="*/ 2147483647 w 576"/>
                <a:gd name="T107" fmla="*/ 2147483647 h 822"/>
                <a:gd name="T108" fmla="*/ 2147483647 w 576"/>
                <a:gd name="T109" fmla="*/ 2147483647 h 822"/>
                <a:gd name="T110" fmla="*/ 2147483647 w 576"/>
                <a:gd name="T111" fmla="*/ 2147483647 h 822"/>
                <a:gd name="T112" fmla="*/ 2147483647 w 576"/>
                <a:gd name="T113" fmla="*/ 2147483647 h 822"/>
                <a:gd name="T114" fmla="*/ 2147483647 w 576"/>
                <a:gd name="T115" fmla="*/ 2147483647 h 822"/>
                <a:gd name="T116" fmla="*/ 2147483647 w 576"/>
                <a:gd name="T117" fmla="*/ 2147483647 h 822"/>
                <a:gd name="T118" fmla="*/ 2147483647 w 576"/>
                <a:gd name="T119" fmla="*/ 2147483647 h 822"/>
                <a:gd name="T120" fmla="*/ 2147483647 w 576"/>
                <a:gd name="T121" fmla="*/ 2147483647 h 822"/>
                <a:gd name="T122" fmla="*/ 2147483647 w 576"/>
                <a:gd name="T123" fmla="*/ 2147483647 h 8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822"/>
                <a:gd name="T188" fmla="*/ 576 w 576"/>
                <a:gd name="T189" fmla="*/ 822 h 8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822">
                  <a:moveTo>
                    <a:pt x="162" y="378"/>
                  </a:moveTo>
                  <a:lnTo>
                    <a:pt x="156" y="378"/>
                  </a:lnTo>
                  <a:lnTo>
                    <a:pt x="150" y="384"/>
                  </a:lnTo>
                  <a:lnTo>
                    <a:pt x="150" y="396"/>
                  </a:lnTo>
                  <a:lnTo>
                    <a:pt x="144" y="414"/>
                  </a:lnTo>
                  <a:lnTo>
                    <a:pt x="156" y="402"/>
                  </a:lnTo>
                  <a:lnTo>
                    <a:pt x="162" y="390"/>
                  </a:lnTo>
                  <a:lnTo>
                    <a:pt x="162" y="378"/>
                  </a:lnTo>
                  <a:close/>
                  <a:moveTo>
                    <a:pt x="132" y="312"/>
                  </a:moveTo>
                  <a:lnTo>
                    <a:pt x="126" y="312"/>
                  </a:lnTo>
                  <a:lnTo>
                    <a:pt x="126" y="336"/>
                  </a:lnTo>
                  <a:lnTo>
                    <a:pt x="132" y="336"/>
                  </a:lnTo>
                  <a:lnTo>
                    <a:pt x="138" y="330"/>
                  </a:lnTo>
                  <a:lnTo>
                    <a:pt x="150" y="330"/>
                  </a:lnTo>
                  <a:lnTo>
                    <a:pt x="144" y="318"/>
                  </a:lnTo>
                  <a:lnTo>
                    <a:pt x="138" y="312"/>
                  </a:lnTo>
                  <a:lnTo>
                    <a:pt x="132" y="312"/>
                  </a:lnTo>
                  <a:close/>
                  <a:moveTo>
                    <a:pt x="114" y="390"/>
                  </a:moveTo>
                  <a:lnTo>
                    <a:pt x="126" y="390"/>
                  </a:lnTo>
                  <a:lnTo>
                    <a:pt x="138" y="384"/>
                  </a:lnTo>
                  <a:lnTo>
                    <a:pt x="138" y="372"/>
                  </a:lnTo>
                  <a:lnTo>
                    <a:pt x="132" y="366"/>
                  </a:lnTo>
                  <a:lnTo>
                    <a:pt x="120" y="366"/>
                  </a:lnTo>
                  <a:lnTo>
                    <a:pt x="114" y="372"/>
                  </a:lnTo>
                  <a:lnTo>
                    <a:pt x="108" y="384"/>
                  </a:lnTo>
                  <a:lnTo>
                    <a:pt x="108" y="390"/>
                  </a:lnTo>
                  <a:lnTo>
                    <a:pt x="114" y="390"/>
                  </a:lnTo>
                  <a:close/>
                  <a:moveTo>
                    <a:pt x="330" y="120"/>
                  </a:moveTo>
                  <a:lnTo>
                    <a:pt x="324" y="120"/>
                  </a:lnTo>
                  <a:lnTo>
                    <a:pt x="318" y="126"/>
                  </a:lnTo>
                  <a:lnTo>
                    <a:pt x="318" y="138"/>
                  </a:lnTo>
                  <a:lnTo>
                    <a:pt x="330" y="138"/>
                  </a:lnTo>
                  <a:lnTo>
                    <a:pt x="336" y="126"/>
                  </a:lnTo>
                  <a:lnTo>
                    <a:pt x="330" y="120"/>
                  </a:lnTo>
                  <a:close/>
                  <a:moveTo>
                    <a:pt x="138" y="258"/>
                  </a:moveTo>
                  <a:lnTo>
                    <a:pt x="138" y="234"/>
                  </a:lnTo>
                  <a:lnTo>
                    <a:pt x="126" y="234"/>
                  </a:lnTo>
                  <a:lnTo>
                    <a:pt x="120" y="240"/>
                  </a:lnTo>
                  <a:lnTo>
                    <a:pt x="120" y="246"/>
                  </a:lnTo>
                  <a:lnTo>
                    <a:pt x="126" y="252"/>
                  </a:lnTo>
                  <a:lnTo>
                    <a:pt x="108" y="252"/>
                  </a:lnTo>
                  <a:lnTo>
                    <a:pt x="108" y="258"/>
                  </a:lnTo>
                  <a:lnTo>
                    <a:pt x="114" y="264"/>
                  </a:lnTo>
                  <a:lnTo>
                    <a:pt x="120" y="264"/>
                  </a:lnTo>
                  <a:lnTo>
                    <a:pt x="126" y="270"/>
                  </a:lnTo>
                  <a:lnTo>
                    <a:pt x="150" y="270"/>
                  </a:lnTo>
                  <a:lnTo>
                    <a:pt x="138" y="258"/>
                  </a:lnTo>
                  <a:close/>
                  <a:moveTo>
                    <a:pt x="474" y="0"/>
                  </a:moveTo>
                  <a:lnTo>
                    <a:pt x="468" y="0"/>
                  </a:lnTo>
                  <a:lnTo>
                    <a:pt x="456" y="12"/>
                  </a:lnTo>
                  <a:lnTo>
                    <a:pt x="474" y="12"/>
                  </a:lnTo>
                  <a:lnTo>
                    <a:pt x="474" y="6"/>
                  </a:lnTo>
                  <a:lnTo>
                    <a:pt x="480" y="0"/>
                  </a:lnTo>
                  <a:lnTo>
                    <a:pt x="474" y="0"/>
                  </a:lnTo>
                  <a:close/>
                  <a:moveTo>
                    <a:pt x="432" y="48"/>
                  </a:moveTo>
                  <a:lnTo>
                    <a:pt x="432" y="66"/>
                  </a:lnTo>
                  <a:lnTo>
                    <a:pt x="438" y="66"/>
                  </a:lnTo>
                  <a:lnTo>
                    <a:pt x="444" y="60"/>
                  </a:lnTo>
                  <a:lnTo>
                    <a:pt x="450" y="48"/>
                  </a:lnTo>
                  <a:lnTo>
                    <a:pt x="450" y="24"/>
                  </a:lnTo>
                  <a:lnTo>
                    <a:pt x="438" y="12"/>
                  </a:lnTo>
                  <a:lnTo>
                    <a:pt x="432" y="24"/>
                  </a:lnTo>
                  <a:lnTo>
                    <a:pt x="426" y="30"/>
                  </a:lnTo>
                  <a:lnTo>
                    <a:pt x="420" y="30"/>
                  </a:lnTo>
                  <a:lnTo>
                    <a:pt x="420" y="42"/>
                  </a:lnTo>
                  <a:lnTo>
                    <a:pt x="426" y="42"/>
                  </a:lnTo>
                  <a:lnTo>
                    <a:pt x="432" y="48"/>
                  </a:lnTo>
                  <a:close/>
                  <a:moveTo>
                    <a:pt x="342" y="138"/>
                  </a:moveTo>
                  <a:lnTo>
                    <a:pt x="342" y="150"/>
                  </a:lnTo>
                  <a:lnTo>
                    <a:pt x="354" y="138"/>
                  </a:lnTo>
                  <a:lnTo>
                    <a:pt x="342" y="138"/>
                  </a:lnTo>
                  <a:close/>
                  <a:moveTo>
                    <a:pt x="192" y="402"/>
                  </a:moveTo>
                  <a:lnTo>
                    <a:pt x="192" y="390"/>
                  </a:lnTo>
                  <a:lnTo>
                    <a:pt x="186" y="384"/>
                  </a:lnTo>
                  <a:lnTo>
                    <a:pt x="186" y="378"/>
                  </a:lnTo>
                  <a:lnTo>
                    <a:pt x="174" y="390"/>
                  </a:lnTo>
                  <a:lnTo>
                    <a:pt x="174" y="396"/>
                  </a:lnTo>
                  <a:lnTo>
                    <a:pt x="180" y="402"/>
                  </a:lnTo>
                  <a:lnTo>
                    <a:pt x="192" y="402"/>
                  </a:lnTo>
                  <a:close/>
                  <a:moveTo>
                    <a:pt x="504" y="588"/>
                  </a:moveTo>
                  <a:lnTo>
                    <a:pt x="498" y="594"/>
                  </a:lnTo>
                  <a:lnTo>
                    <a:pt x="498" y="600"/>
                  </a:lnTo>
                  <a:lnTo>
                    <a:pt x="480" y="600"/>
                  </a:lnTo>
                  <a:lnTo>
                    <a:pt x="480" y="588"/>
                  </a:lnTo>
                  <a:lnTo>
                    <a:pt x="486" y="576"/>
                  </a:lnTo>
                  <a:lnTo>
                    <a:pt x="498" y="564"/>
                  </a:lnTo>
                  <a:lnTo>
                    <a:pt x="492" y="558"/>
                  </a:lnTo>
                  <a:lnTo>
                    <a:pt x="456" y="540"/>
                  </a:lnTo>
                  <a:lnTo>
                    <a:pt x="450" y="540"/>
                  </a:lnTo>
                  <a:lnTo>
                    <a:pt x="444" y="534"/>
                  </a:lnTo>
                  <a:lnTo>
                    <a:pt x="450" y="534"/>
                  </a:lnTo>
                  <a:lnTo>
                    <a:pt x="456" y="528"/>
                  </a:lnTo>
                  <a:lnTo>
                    <a:pt x="480" y="528"/>
                  </a:lnTo>
                  <a:lnTo>
                    <a:pt x="468" y="516"/>
                  </a:lnTo>
                  <a:lnTo>
                    <a:pt x="468" y="510"/>
                  </a:lnTo>
                  <a:lnTo>
                    <a:pt x="456" y="498"/>
                  </a:lnTo>
                  <a:lnTo>
                    <a:pt x="450" y="486"/>
                  </a:lnTo>
                  <a:lnTo>
                    <a:pt x="432" y="468"/>
                  </a:lnTo>
                  <a:lnTo>
                    <a:pt x="420" y="468"/>
                  </a:lnTo>
                  <a:lnTo>
                    <a:pt x="414" y="456"/>
                  </a:lnTo>
                  <a:lnTo>
                    <a:pt x="402" y="450"/>
                  </a:lnTo>
                  <a:lnTo>
                    <a:pt x="390" y="438"/>
                  </a:lnTo>
                  <a:lnTo>
                    <a:pt x="390" y="414"/>
                  </a:lnTo>
                  <a:lnTo>
                    <a:pt x="396" y="402"/>
                  </a:lnTo>
                  <a:lnTo>
                    <a:pt x="396" y="390"/>
                  </a:lnTo>
                  <a:lnTo>
                    <a:pt x="384" y="390"/>
                  </a:lnTo>
                  <a:lnTo>
                    <a:pt x="378" y="384"/>
                  </a:lnTo>
                  <a:lnTo>
                    <a:pt x="372" y="372"/>
                  </a:lnTo>
                  <a:lnTo>
                    <a:pt x="360" y="360"/>
                  </a:lnTo>
                  <a:lnTo>
                    <a:pt x="342" y="354"/>
                  </a:lnTo>
                  <a:lnTo>
                    <a:pt x="324" y="354"/>
                  </a:lnTo>
                  <a:lnTo>
                    <a:pt x="306" y="360"/>
                  </a:lnTo>
                  <a:lnTo>
                    <a:pt x="294" y="366"/>
                  </a:lnTo>
                  <a:lnTo>
                    <a:pt x="288" y="366"/>
                  </a:lnTo>
                  <a:lnTo>
                    <a:pt x="270" y="348"/>
                  </a:lnTo>
                  <a:lnTo>
                    <a:pt x="282" y="348"/>
                  </a:lnTo>
                  <a:lnTo>
                    <a:pt x="294" y="354"/>
                  </a:lnTo>
                  <a:lnTo>
                    <a:pt x="306" y="354"/>
                  </a:lnTo>
                  <a:lnTo>
                    <a:pt x="330" y="342"/>
                  </a:lnTo>
                  <a:lnTo>
                    <a:pt x="336" y="336"/>
                  </a:lnTo>
                  <a:lnTo>
                    <a:pt x="330" y="336"/>
                  </a:lnTo>
                  <a:lnTo>
                    <a:pt x="324" y="330"/>
                  </a:lnTo>
                  <a:lnTo>
                    <a:pt x="306" y="330"/>
                  </a:lnTo>
                  <a:lnTo>
                    <a:pt x="330" y="324"/>
                  </a:lnTo>
                  <a:lnTo>
                    <a:pt x="336" y="318"/>
                  </a:lnTo>
                  <a:lnTo>
                    <a:pt x="348" y="312"/>
                  </a:lnTo>
                  <a:lnTo>
                    <a:pt x="360" y="300"/>
                  </a:lnTo>
                  <a:lnTo>
                    <a:pt x="360" y="288"/>
                  </a:lnTo>
                  <a:lnTo>
                    <a:pt x="366" y="276"/>
                  </a:lnTo>
                  <a:lnTo>
                    <a:pt x="372" y="270"/>
                  </a:lnTo>
                  <a:lnTo>
                    <a:pt x="378" y="258"/>
                  </a:lnTo>
                  <a:lnTo>
                    <a:pt x="384" y="252"/>
                  </a:lnTo>
                  <a:lnTo>
                    <a:pt x="396" y="246"/>
                  </a:lnTo>
                  <a:lnTo>
                    <a:pt x="402" y="246"/>
                  </a:lnTo>
                  <a:lnTo>
                    <a:pt x="402" y="240"/>
                  </a:lnTo>
                  <a:lnTo>
                    <a:pt x="396" y="234"/>
                  </a:lnTo>
                  <a:lnTo>
                    <a:pt x="318" y="234"/>
                  </a:lnTo>
                  <a:lnTo>
                    <a:pt x="318" y="228"/>
                  </a:lnTo>
                  <a:lnTo>
                    <a:pt x="288" y="228"/>
                  </a:lnTo>
                  <a:lnTo>
                    <a:pt x="276" y="234"/>
                  </a:lnTo>
                  <a:lnTo>
                    <a:pt x="264" y="234"/>
                  </a:lnTo>
                  <a:lnTo>
                    <a:pt x="258" y="240"/>
                  </a:lnTo>
                  <a:lnTo>
                    <a:pt x="252" y="240"/>
                  </a:lnTo>
                  <a:lnTo>
                    <a:pt x="264" y="228"/>
                  </a:lnTo>
                  <a:lnTo>
                    <a:pt x="252" y="216"/>
                  </a:lnTo>
                  <a:lnTo>
                    <a:pt x="270" y="210"/>
                  </a:lnTo>
                  <a:lnTo>
                    <a:pt x="300" y="192"/>
                  </a:lnTo>
                  <a:lnTo>
                    <a:pt x="312" y="186"/>
                  </a:lnTo>
                  <a:lnTo>
                    <a:pt x="324" y="162"/>
                  </a:lnTo>
                  <a:lnTo>
                    <a:pt x="318" y="156"/>
                  </a:lnTo>
                  <a:lnTo>
                    <a:pt x="288" y="156"/>
                  </a:lnTo>
                  <a:lnTo>
                    <a:pt x="276" y="162"/>
                  </a:lnTo>
                  <a:lnTo>
                    <a:pt x="258" y="168"/>
                  </a:lnTo>
                  <a:lnTo>
                    <a:pt x="240" y="168"/>
                  </a:lnTo>
                  <a:lnTo>
                    <a:pt x="228" y="162"/>
                  </a:lnTo>
                  <a:lnTo>
                    <a:pt x="216" y="162"/>
                  </a:lnTo>
                  <a:lnTo>
                    <a:pt x="210" y="168"/>
                  </a:lnTo>
                  <a:lnTo>
                    <a:pt x="210" y="174"/>
                  </a:lnTo>
                  <a:lnTo>
                    <a:pt x="216" y="180"/>
                  </a:lnTo>
                  <a:lnTo>
                    <a:pt x="204" y="180"/>
                  </a:lnTo>
                  <a:lnTo>
                    <a:pt x="192" y="192"/>
                  </a:lnTo>
                  <a:lnTo>
                    <a:pt x="192" y="210"/>
                  </a:lnTo>
                  <a:lnTo>
                    <a:pt x="198" y="216"/>
                  </a:lnTo>
                  <a:lnTo>
                    <a:pt x="156" y="222"/>
                  </a:lnTo>
                  <a:lnTo>
                    <a:pt x="156" y="234"/>
                  </a:lnTo>
                  <a:lnTo>
                    <a:pt x="168" y="240"/>
                  </a:lnTo>
                  <a:lnTo>
                    <a:pt x="180" y="264"/>
                  </a:lnTo>
                  <a:lnTo>
                    <a:pt x="162" y="282"/>
                  </a:lnTo>
                  <a:lnTo>
                    <a:pt x="162" y="294"/>
                  </a:lnTo>
                  <a:lnTo>
                    <a:pt x="144" y="300"/>
                  </a:lnTo>
                  <a:lnTo>
                    <a:pt x="156" y="312"/>
                  </a:lnTo>
                  <a:lnTo>
                    <a:pt x="168" y="312"/>
                  </a:lnTo>
                  <a:lnTo>
                    <a:pt x="180" y="306"/>
                  </a:lnTo>
                  <a:lnTo>
                    <a:pt x="186" y="300"/>
                  </a:lnTo>
                  <a:lnTo>
                    <a:pt x="186" y="318"/>
                  </a:lnTo>
                  <a:lnTo>
                    <a:pt x="180" y="318"/>
                  </a:lnTo>
                  <a:lnTo>
                    <a:pt x="168" y="330"/>
                  </a:lnTo>
                  <a:lnTo>
                    <a:pt x="156" y="336"/>
                  </a:lnTo>
                  <a:lnTo>
                    <a:pt x="156" y="360"/>
                  </a:lnTo>
                  <a:lnTo>
                    <a:pt x="162" y="372"/>
                  </a:lnTo>
                  <a:lnTo>
                    <a:pt x="168" y="366"/>
                  </a:lnTo>
                  <a:lnTo>
                    <a:pt x="198" y="366"/>
                  </a:lnTo>
                  <a:lnTo>
                    <a:pt x="210" y="360"/>
                  </a:lnTo>
                  <a:lnTo>
                    <a:pt x="216" y="354"/>
                  </a:lnTo>
                  <a:lnTo>
                    <a:pt x="198" y="372"/>
                  </a:lnTo>
                  <a:lnTo>
                    <a:pt x="210" y="402"/>
                  </a:lnTo>
                  <a:lnTo>
                    <a:pt x="204" y="408"/>
                  </a:lnTo>
                  <a:lnTo>
                    <a:pt x="198" y="420"/>
                  </a:lnTo>
                  <a:lnTo>
                    <a:pt x="186" y="426"/>
                  </a:lnTo>
                  <a:lnTo>
                    <a:pt x="180" y="438"/>
                  </a:lnTo>
                  <a:lnTo>
                    <a:pt x="180" y="450"/>
                  </a:lnTo>
                  <a:lnTo>
                    <a:pt x="186" y="456"/>
                  </a:lnTo>
                  <a:lnTo>
                    <a:pt x="204" y="456"/>
                  </a:lnTo>
                  <a:lnTo>
                    <a:pt x="216" y="450"/>
                  </a:lnTo>
                  <a:lnTo>
                    <a:pt x="240" y="450"/>
                  </a:lnTo>
                  <a:lnTo>
                    <a:pt x="252" y="444"/>
                  </a:lnTo>
                  <a:lnTo>
                    <a:pt x="258" y="438"/>
                  </a:lnTo>
                  <a:lnTo>
                    <a:pt x="270" y="432"/>
                  </a:lnTo>
                  <a:lnTo>
                    <a:pt x="300" y="438"/>
                  </a:lnTo>
                  <a:lnTo>
                    <a:pt x="288" y="444"/>
                  </a:lnTo>
                  <a:lnTo>
                    <a:pt x="264" y="468"/>
                  </a:lnTo>
                  <a:lnTo>
                    <a:pt x="264" y="474"/>
                  </a:lnTo>
                  <a:lnTo>
                    <a:pt x="282" y="492"/>
                  </a:lnTo>
                  <a:lnTo>
                    <a:pt x="294" y="492"/>
                  </a:lnTo>
                  <a:lnTo>
                    <a:pt x="300" y="498"/>
                  </a:lnTo>
                  <a:lnTo>
                    <a:pt x="306" y="498"/>
                  </a:lnTo>
                  <a:lnTo>
                    <a:pt x="312" y="516"/>
                  </a:lnTo>
                  <a:lnTo>
                    <a:pt x="294" y="534"/>
                  </a:lnTo>
                  <a:lnTo>
                    <a:pt x="294" y="564"/>
                  </a:lnTo>
                  <a:lnTo>
                    <a:pt x="222" y="564"/>
                  </a:lnTo>
                  <a:lnTo>
                    <a:pt x="216" y="558"/>
                  </a:lnTo>
                  <a:lnTo>
                    <a:pt x="198" y="558"/>
                  </a:lnTo>
                  <a:lnTo>
                    <a:pt x="192" y="564"/>
                  </a:lnTo>
                  <a:lnTo>
                    <a:pt x="210" y="582"/>
                  </a:lnTo>
                  <a:lnTo>
                    <a:pt x="186" y="600"/>
                  </a:lnTo>
                  <a:lnTo>
                    <a:pt x="228" y="594"/>
                  </a:lnTo>
                  <a:lnTo>
                    <a:pt x="228" y="618"/>
                  </a:lnTo>
                  <a:lnTo>
                    <a:pt x="216" y="642"/>
                  </a:lnTo>
                  <a:lnTo>
                    <a:pt x="210" y="648"/>
                  </a:lnTo>
                  <a:lnTo>
                    <a:pt x="198" y="654"/>
                  </a:lnTo>
                  <a:lnTo>
                    <a:pt x="180" y="660"/>
                  </a:lnTo>
                  <a:lnTo>
                    <a:pt x="168" y="666"/>
                  </a:lnTo>
                  <a:lnTo>
                    <a:pt x="162" y="666"/>
                  </a:lnTo>
                  <a:lnTo>
                    <a:pt x="162" y="690"/>
                  </a:lnTo>
                  <a:lnTo>
                    <a:pt x="168" y="696"/>
                  </a:lnTo>
                  <a:lnTo>
                    <a:pt x="174" y="696"/>
                  </a:lnTo>
                  <a:lnTo>
                    <a:pt x="180" y="690"/>
                  </a:lnTo>
                  <a:lnTo>
                    <a:pt x="192" y="684"/>
                  </a:lnTo>
                  <a:lnTo>
                    <a:pt x="198" y="678"/>
                  </a:lnTo>
                  <a:lnTo>
                    <a:pt x="204" y="684"/>
                  </a:lnTo>
                  <a:lnTo>
                    <a:pt x="204" y="690"/>
                  </a:lnTo>
                  <a:lnTo>
                    <a:pt x="210" y="696"/>
                  </a:lnTo>
                  <a:lnTo>
                    <a:pt x="234" y="696"/>
                  </a:lnTo>
                  <a:lnTo>
                    <a:pt x="240" y="702"/>
                  </a:lnTo>
                  <a:lnTo>
                    <a:pt x="252" y="708"/>
                  </a:lnTo>
                  <a:lnTo>
                    <a:pt x="258" y="708"/>
                  </a:lnTo>
                  <a:lnTo>
                    <a:pt x="276" y="702"/>
                  </a:lnTo>
                  <a:lnTo>
                    <a:pt x="288" y="696"/>
                  </a:lnTo>
                  <a:lnTo>
                    <a:pt x="294" y="690"/>
                  </a:lnTo>
                  <a:lnTo>
                    <a:pt x="318" y="690"/>
                  </a:lnTo>
                  <a:lnTo>
                    <a:pt x="312" y="696"/>
                  </a:lnTo>
                  <a:lnTo>
                    <a:pt x="300" y="702"/>
                  </a:lnTo>
                  <a:lnTo>
                    <a:pt x="294" y="714"/>
                  </a:lnTo>
                  <a:lnTo>
                    <a:pt x="282" y="720"/>
                  </a:lnTo>
                  <a:lnTo>
                    <a:pt x="276" y="726"/>
                  </a:lnTo>
                  <a:lnTo>
                    <a:pt x="210" y="726"/>
                  </a:lnTo>
                  <a:lnTo>
                    <a:pt x="210" y="738"/>
                  </a:lnTo>
                  <a:lnTo>
                    <a:pt x="198" y="738"/>
                  </a:lnTo>
                  <a:lnTo>
                    <a:pt x="186" y="744"/>
                  </a:lnTo>
                  <a:lnTo>
                    <a:pt x="180" y="750"/>
                  </a:lnTo>
                  <a:lnTo>
                    <a:pt x="180" y="768"/>
                  </a:lnTo>
                  <a:lnTo>
                    <a:pt x="174" y="774"/>
                  </a:lnTo>
                  <a:lnTo>
                    <a:pt x="144" y="774"/>
                  </a:lnTo>
                  <a:lnTo>
                    <a:pt x="144" y="780"/>
                  </a:lnTo>
                  <a:lnTo>
                    <a:pt x="138" y="786"/>
                  </a:lnTo>
                  <a:lnTo>
                    <a:pt x="138" y="792"/>
                  </a:lnTo>
                  <a:lnTo>
                    <a:pt x="126" y="804"/>
                  </a:lnTo>
                  <a:lnTo>
                    <a:pt x="114" y="810"/>
                  </a:lnTo>
                  <a:lnTo>
                    <a:pt x="108" y="810"/>
                  </a:lnTo>
                  <a:lnTo>
                    <a:pt x="108" y="816"/>
                  </a:lnTo>
                  <a:lnTo>
                    <a:pt x="114" y="816"/>
                  </a:lnTo>
                  <a:lnTo>
                    <a:pt x="120" y="822"/>
                  </a:lnTo>
                  <a:lnTo>
                    <a:pt x="150" y="822"/>
                  </a:lnTo>
                  <a:lnTo>
                    <a:pt x="156" y="810"/>
                  </a:lnTo>
                  <a:lnTo>
                    <a:pt x="174" y="792"/>
                  </a:lnTo>
                  <a:lnTo>
                    <a:pt x="210" y="792"/>
                  </a:lnTo>
                  <a:lnTo>
                    <a:pt x="216" y="798"/>
                  </a:lnTo>
                  <a:lnTo>
                    <a:pt x="228" y="804"/>
                  </a:lnTo>
                  <a:lnTo>
                    <a:pt x="240" y="804"/>
                  </a:lnTo>
                  <a:lnTo>
                    <a:pt x="246" y="792"/>
                  </a:lnTo>
                  <a:lnTo>
                    <a:pt x="252" y="786"/>
                  </a:lnTo>
                  <a:lnTo>
                    <a:pt x="258" y="774"/>
                  </a:lnTo>
                  <a:lnTo>
                    <a:pt x="270" y="762"/>
                  </a:lnTo>
                  <a:lnTo>
                    <a:pt x="288" y="762"/>
                  </a:lnTo>
                  <a:lnTo>
                    <a:pt x="300" y="774"/>
                  </a:lnTo>
                  <a:lnTo>
                    <a:pt x="330" y="774"/>
                  </a:lnTo>
                  <a:lnTo>
                    <a:pt x="354" y="762"/>
                  </a:lnTo>
                  <a:lnTo>
                    <a:pt x="360" y="762"/>
                  </a:lnTo>
                  <a:lnTo>
                    <a:pt x="366" y="768"/>
                  </a:lnTo>
                  <a:lnTo>
                    <a:pt x="378" y="768"/>
                  </a:lnTo>
                  <a:lnTo>
                    <a:pt x="390" y="774"/>
                  </a:lnTo>
                  <a:lnTo>
                    <a:pt x="396" y="774"/>
                  </a:lnTo>
                  <a:lnTo>
                    <a:pt x="396" y="768"/>
                  </a:lnTo>
                  <a:lnTo>
                    <a:pt x="390" y="762"/>
                  </a:lnTo>
                  <a:lnTo>
                    <a:pt x="390" y="750"/>
                  </a:lnTo>
                  <a:lnTo>
                    <a:pt x="396" y="750"/>
                  </a:lnTo>
                  <a:lnTo>
                    <a:pt x="408" y="756"/>
                  </a:lnTo>
                  <a:lnTo>
                    <a:pt x="414" y="762"/>
                  </a:lnTo>
                  <a:lnTo>
                    <a:pt x="426" y="756"/>
                  </a:lnTo>
                  <a:lnTo>
                    <a:pt x="498" y="756"/>
                  </a:lnTo>
                  <a:lnTo>
                    <a:pt x="522" y="750"/>
                  </a:lnTo>
                  <a:lnTo>
                    <a:pt x="534" y="744"/>
                  </a:lnTo>
                  <a:lnTo>
                    <a:pt x="540" y="732"/>
                  </a:lnTo>
                  <a:lnTo>
                    <a:pt x="546" y="726"/>
                  </a:lnTo>
                  <a:lnTo>
                    <a:pt x="552" y="714"/>
                  </a:lnTo>
                  <a:lnTo>
                    <a:pt x="498" y="708"/>
                  </a:lnTo>
                  <a:lnTo>
                    <a:pt x="522" y="702"/>
                  </a:lnTo>
                  <a:lnTo>
                    <a:pt x="516" y="684"/>
                  </a:lnTo>
                  <a:lnTo>
                    <a:pt x="528" y="672"/>
                  </a:lnTo>
                  <a:lnTo>
                    <a:pt x="540" y="666"/>
                  </a:lnTo>
                  <a:lnTo>
                    <a:pt x="546" y="666"/>
                  </a:lnTo>
                  <a:lnTo>
                    <a:pt x="558" y="660"/>
                  </a:lnTo>
                  <a:lnTo>
                    <a:pt x="564" y="654"/>
                  </a:lnTo>
                  <a:lnTo>
                    <a:pt x="576" y="618"/>
                  </a:lnTo>
                  <a:lnTo>
                    <a:pt x="570" y="606"/>
                  </a:lnTo>
                  <a:lnTo>
                    <a:pt x="564" y="600"/>
                  </a:lnTo>
                  <a:lnTo>
                    <a:pt x="552" y="594"/>
                  </a:lnTo>
                  <a:lnTo>
                    <a:pt x="540" y="594"/>
                  </a:lnTo>
                  <a:lnTo>
                    <a:pt x="528" y="588"/>
                  </a:lnTo>
                  <a:lnTo>
                    <a:pt x="504" y="588"/>
                  </a:lnTo>
                  <a:close/>
                  <a:moveTo>
                    <a:pt x="222" y="486"/>
                  </a:moveTo>
                  <a:lnTo>
                    <a:pt x="216" y="480"/>
                  </a:lnTo>
                  <a:lnTo>
                    <a:pt x="204" y="480"/>
                  </a:lnTo>
                  <a:lnTo>
                    <a:pt x="204" y="486"/>
                  </a:lnTo>
                  <a:lnTo>
                    <a:pt x="198" y="498"/>
                  </a:lnTo>
                  <a:lnTo>
                    <a:pt x="192" y="504"/>
                  </a:lnTo>
                  <a:lnTo>
                    <a:pt x="210" y="504"/>
                  </a:lnTo>
                  <a:lnTo>
                    <a:pt x="222" y="492"/>
                  </a:lnTo>
                  <a:lnTo>
                    <a:pt x="222" y="486"/>
                  </a:lnTo>
                  <a:close/>
                  <a:moveTo>
                    <a:pt x="126" y="504"/>
                  </a:moveTo>
                  <a:lnTo>
                    <a:pt x="132" y="498"/>
                  </a:lnTo>
                  <a:lnTo>
                    <a:pt x="132" y="492"/>
                  </a:lnTo>
                  <a:lnTo>
                    <a:pt x="144" y="492"/>
                  </a:lnTo>
                  <a:lnTo>
                    <a:pt x="150" y="480"/>
                  </a:lnTo>
                  <a:lnTo>
                    <a:pt x="156" y="474"/>
                  </a:lnTo>
                  <a:lnTo>
                    <a:pt x="156" y="462"/>
                  </a:lnTo>
                  <a:lnTo>
                    <a:pt x="138" y="444"/>
                  </a:lnTo>
                  <a:lnTo>
                    <a:pt x="138" y="432"/>
                  </a:lnTo>
                  <a:lnTo>
                    <a:pt x="132" y="438"/>
                  </a:lnTo>
                  <a:lnTo>
                    <a:pt x="126" y="426"/>
                  </a:lnTo>
                  <a:lnTo>
                    <a:pt x="120" y="420"/>
                  </a:lnTo>
                  <a:lnTo>
                    <a:pt x="78" y="420"/>
                  </a:lnTo>
                  <a:lnTo>
                    <a:pt x="72" y="426"/>
                  </a:lnTo>
                  <a:lnTo>
                    <a:pt x="30" y="450"/>
                  </a:lnTo>
                  <a:lnTo>
                    <a:pt x="30" y="462"/>
                  </a:lnTo>
                  <a:lnTo>
                    <a:pt x="24" y="462"/>
                  </a:lnTo>
                  <a:lnTo>
                    <a:pt x="18" y="468"/>
                  </a:lnTo>
                  <a:lnTo>
                    <a:pt x="12" y="468"/>
                  </a:lnTo>
                  <a:lnTo>
                    <a:pt x="0" y="480"/>
                  </a:lnTo>
                  <a:lnTo>
                    <a:pt x="6" y="486"/>
                  </a:lnTo>
                  <a:lnTo>
                    <a:pt x="30" y="498"/>
                  </a:lnTo>
                  <a:lnTo>
                    <a:pt x="42" y="498"/>
                  </a:lnTo>
                  <a:lnTo>
                    <a:pt x="66" y="474"/>
                  </a:lnTo>
                  <a:lnTo>
                    <a:pt x="84" y="498"/>
                  </a:lnTo>
                  <a:lnTo>
                    <a:pt x="120" y="504"/>
                  </a:lnTo>
                  <a:lnTo>
                    <a:pt x="126" y="504"/>
                  </a:lnTo>
                  <a:close/>
                  <a:moveTo>
                    <a:pt x="78" y="228"/>
                  </a:moveTo>
                  <a:lnTo>
                    <a:pt x="72" y="228"/>
                  </a:lnTo>
                  <a:lnTo>
                    <a:pt x="66" y="234"/>
                  </a:lnTo>
                  <a:lnTo>
                    <a:pt x="66" y="240"/>
                  </a:lnTo>
                  <a:lnTo>
                    <a:pt x="84" y="240"/>
                  </a:lnTo>
                  <a:lnTo>
                    <a:pt x="84" y="228"/>
                  </a:lnTo>
                  <a:lnTo>
                    <a:pt x="78" y="228"/>
                  </a:lnTo>
                  <a:close/>
                  <a:moveTo>
                    <a:pt x="108" y="210"/>
                  </a:moveTo>
                  <a:lnTo>
                    <a:pt x="126" y="210"/>
                  </a:lnTo>
                  <a:lnTo>
                    <a:pt x="132" y="204"/>
                  </a:lnTo>
                  <a:lnTo>
                    <a:pt x="132" y="198"/>
                  </a:lnTo>
                  <a:lnTo>
                    <a:pt x="138" y="186"/>
                  </a:lnTo>
                  <a:lnTo>
                    <a:pt x="150" y="174"/>
                  </a:lnTo>
                  <a:lnTo>
                    <a:pt x="150" y="168"/>
                  </a:lnTo>
                  <a:lnTo>
                    <a:pt x="138" y="174"/>
                  </a:lnTo>
                  <a:lnTo>
                    <a:pt x="132" y="174"/>
                  </a:lnTo>
                  <a:lnTo>
                    <a:pt x="114" y="192"/>
                  </a:lnTo>
                  <a:lnTo>
                    <a:pt x="108" y="186"/>
                  </a:lnTo>
                  <a:lnTo>
                    <a:pt x="96" y="186"/>
                  </a:lnTo>
                  <a:lnTo>
                    <a:pt x="90" y="192"/>
                  </a:lnTo>
                  <a:lnTo>
                    <a:pt x="90" y="210"/>
                  </a:lnTo>
                  <a:lnTo>
                    <a:pt x="96" y="216"/>
                  </a:lnTo>
                  <a:lnTo>
                    <a:pt x="96" y="228"/>
                  </a:lnTo>
                  <a:lnTo>
                    <a:pt x="108" y="210"/>
                  </a:lnTo>
                  <a:close/>
                  <a:moveTo>
                    <a:pt x="72" y="252"/>
                  </a:moveTo>
                  <a:lnTo>
                    <a:pt x="60" y="282"/>
                  </a:lnTo>
                  <a:lnTo>
                    <a:pt x="78" y="258"/>
                  </a:lnTo>
                  <a:lnTo>
                    <a:pt x="72" y="252"/>
                  </a:lnTo>
                  <a:close/>
                </a:path>
              </a:pathLst>
            </a:custGeom>
            <a:solidFill>
              <a:schemeClr val="accent1"/>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59" name="Griechenland" descr="© INSCALE GmbH, 05.05.2010&#10;http://www.presentationload.com/">
              <a:extLst>
                <a:ext uri="{FF2B5EF4-FFF2-40B4-BE49-F238E27FC236}">
                  <a16:creationId xmlns:a16="http://schemas.microsoft.com/office/drawing/2014/main" id="{AA0ADDAA-252A-46A0-9983-02A2F59BAE89}"/>
                </a:ext>
              </a:extLst>
            </p:cNvPr>
            <p:cNvSpPr>
              <a:spLocks noEditPoints="1"/>
            </p:cNvSpPr>
            <p:nvPr/>
          </p:nvSpPr>
          <p:spPr bwMode="gray">
            <a:xfrm>
              <a:off x="4681303" y="2915106"/>
              <a:ext cx="211683" cy="219523"/>
            </a:xfrm>
            <a:custGeom>
              <a:avLst/>
              <a:gdLst>
                <a:gd name="T0" fmla="*/ 0 w 534"/>
                <a:gd name="T1" fmla="*/ 2147483647 h 552"/>
                <a:gd name="T2" fmla="*/ 2147483647 w 534"/>
                <a:gd name="T3" fmla="*/ 2147483647 h 552"/>
                <a:gd name="T4" fmla="*/ 2147483647 w 534"/>
                <a:gd name="T5" fmla="*/ 2147483647 h 552"/>
                <a:gd name="T6" fmla="*/ 2147483647 w 534"/>
                <a:gd name="T7" fmla="*/ 2147483647 h 552"/>
                <a:gd name="T8" fmla="*/ 2147483647 w 534"/>
                <a:gd name="T9" fmla="*/ 2147483647 h 552"/>
                <a:gd name="T10" fmla="*/ 2147483647 w 534"/>
                <a:gd name="T11" fmla="*/ 2147483647 h 552"/>
                <a:gd name="T12" fmla="*/ 2147483647 w 534"/>
                <a:gd name="T13" fmla="*/ 2147483647 h 552"/>
                <a:gd name="T14" fmla="*/ 2147483647 w 534"/>
                <a:gd name="T15" fmla="*/ 2147483647 h 552"/>
                <a:gd name="T16" fmla="*/ 2147483647 w 534"/>
                <a:gd name="T17" fmla="*/ 2147483647 h 552"/>
                <a:gd name="T18" fmla="*/ 2147483647 w 534"/>
                <a:gd name="T19" fmla="*/ 2147483647 h 552"/>
                <a:gd name="T20" fmla="*/ 2147483647 w 534"/>
                <a:gd name="T21" fmla="*/ 2147483647 h 552"/>
                <a:gd name="T22" fmla="*/ 2147483647 w 534"/>
                <a:gd name="T23" fmla="*/ 2147483647 h 552"/>
                <a:gd name="T24" fmla="*/ 2147483647 w 534"/>
                <a:gd name="T25" fmla="*/ 2147483647 h 552"/>
                <a:gd name="T26" fmla="*/ 2147483647 w 534"/>
                <a:gd name="T27" fmla="*/ 2147483647 h 552"/>
                <a:gd name="T28" fmla="*/ 2147483647 w 534"/>
                <a:gd name="T29" fmla="*/ 2147483647 h 552"/>
                <a:gd name="T30" fmla="*/ 2147483647 w 534"/>
                <a:gd name="T31" fmla="*/ 2147483647 h 552"/>
                <a:gd name="T32" fmla="*/ 2147483647 w 534"/>
                <a:gd name="T33" fmla="*/ 2147483647 h 552"/>
                <a:gd name="T34" fmla="*/ 2147483647 w 534"/>
                <a:gd name="T35" fmla="*/ 2147483647 h 552"/>
                <a:gd name="T36" fmla="*/ 2147483647 w 534"/>
                <a:gd name="T37" fmla="*/ 2147483647 h 552"/>
                <a:gd name="T38" fmla="*/ 2147483647 w 534"/>
                <a:gd name="T39" fmla="*/ 2147483647 h 552"/>
                <a:gd name="T40" fmla="*/ 2147483647 w 534"/>
                <a:gd name="T41" fmla="*/ 2147483647 h 552"/>
                <a:gd name="T42" fmla="*/ 2147483647 w 534"/>
                <a:gd name="T43" fmla="*/ 2147483647 h 552"/>
                <a:gd name="T44" fmla="*/ 2147483647 w 534"/>
                <a:gd name="T45" fmla="*/ 2147483647 h 552"/>
                <a:gd name="T46" fmla="*/ 2147483647 w 534"/>
                <a:gd name="T47" fmla="*/ 2147483647 h 552"/>
                <a:gd name="T48" fmla="*/ 2147483647 w 534"/>
                <a:gd name="T49" fmla="*/ 2147483647 h 552"/>
                <a:gd name="T50" fmla="*/ 2147483647 w 534"/>
                <a:gd name="T51" fmla="*/ 2147483647 h 552"/>
                <a:gd name="T52" fmla="*/ 2147483647 w 534"/>
                <a:gd name="T53" fmla="*/ 2147483647 h 552"/>
                <a:gd name="T54" fmla="*/ 2147483647 w 534"/>
                <a:gd name="T55" fmla="*/ 2147483647 h 552"/>
                <a:gd name="T56" fmla="*/ 2147483647 w 534"/>
                <a:gd name="T57" fmla="*/ 2147483647 h 552"/>
                <a:gd name="T58" fmla="*/ 2147483647 w 534"/>
                <a:gd name="T59" fmla="*/ 2147483647 h 552"/>
                <a:gd name="T60" fmla="*/ 2147483647 w 534"/>
                <a:gd name="T61" fmla="*/ 2147483647 h 552"/>
                <a:gd name="T62" fmla="*/ 2147483647 w 534"/>
                <a:gd name="T63" fmla="*/ 2147483647 h 552"/>
                <a:gd name="T64" fmla="*/ 2147483647 w 534"/>
                <a:gd name="T65" fmla="*/ 2147483647 h 552"/>
                <a:gd name="T66" fmla="*/ 2147483647 w 534"/>
                <a:gd name="T67" fmla="*/ 2147483647 h 552"/>
                <a:gd name="T68" fmla="*/ 2147483647 w 534"/>
                <a:gd name="T69" fmla="*/ 2147483647 h 552"/>
                <a:gd name="T70" fmla="*/ 2147483647 w 534"/>
                <a:gd name="T71" fmla="*/ 2147483647 h 552"/>
                <a:gd name="T72" fmla="*/ 2147483647 w 534"/>
                <a:gd name="T73" fmla="*/ 2147483647 h 552"/>
                <a:gd name="T74" fmla="*/ 2147483647 w 534"/>
                <a:gd name="T75" fmla="*/ 2147483647 h 552"/>
                <a:gd name="T76" fmla="*/ 2147483647 w 534"/>
                <a:gd name="T77" fmla="*/ 2147483647 h 552"/>
                <a:gd name="T78" fmla="*/ 2147483647 w 534"/>
                <a:gd name="T79" fmla="*/ 2147483647 h 552"/>
                <a:gd name="T80" fmla="*/ 2147483647 w 534"/>
                <a:gd name="T81" fmla="*/ 2147483647 h 552"/>
                <a:gd name="T82" fmla="*/ 2147483647 w 534"/>
                <a:gd name="T83" fmla="*/ 2147483647 h 552"/>
                <a:gd name="T84" fmla="*/ 2147483647 w 534"/>
                <a:gd name="T85" fmla="*/ 2147483647 h 552"/>
                <a:gd name="T86" fmla="*/ 2147483647 w 534"/>
                <a:gd name="T87" fmla="*/ 2147483647 h 552"/>
                <a:gd name="T88" fmla="*/ 2147483647 w 534"/>
                <a:gd name="T89" fmla="*/ 2147483647 h 552"/>
                <a:gd name="T90" fmla="*/ 2147483647 w 534"/>
                <a:gd name="T91" fmla="*/ 2147483647 h 552"/>
                <a:gd name="T92" fmla="*/ 2147483647 w 534"/>
                <a:gd name="T93" fmla="*/ 2147483647 h 552"/>
                <a:gd name="T94" fmla="*/ 2147483647 w 534"/>
                <a:gd name="T95" fmla="*/ 2147483647 h 552"/>
                <a:gd name="T96" fmla="*/ 2147483647 w 534"/>
                <a:gd name="T97" fmla="*/ 2147483647 h 552"/>
                <a:gd name="T98" fmla="*/ 2147483647 w 534"/>
                <a:gd name="T99" fmla="*/ 2147483647 h 552"/>
                <a:gd name="T100" fmla="*/ 2147483647 w 534"/>
                <a:gd name="T101" fmla="*/ 2147483647 h 552"/>
                <a:gd name="T102" fmla="*/ 2147483647 w 534"/>
                <a:gd name="T103" fmla="*/ 2147483647 h 552"/>
                <a:gd name="T104" fmla="*/ 2147483647 w 534"/>
                <a:gd name="T105" fmla="*/ 2147483647 h 552"/>
                <a:gd name="T106" fmla="*/ 2147483647 w 534"/>
                <a:gd name="T107" fmla="*/ 2147483647 h 5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4"/>
                <a:gd name="T163" fmla="*/ 0 h 552"/>
                <a:gd name="T164" fmla="*/ 534 w 534"/>
                <a:gd name="T165" fmla="*/ 552 h 5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4" h="552">
                  <a:moveTo>
                    <a:pt x="240" y="108"/>
                  </a:moveTo>
                  <a:lnTo>
                    <a:pt x="270" y="126"/>
                  </a:lnTo>
                  <a:lnTo>
                    <a:pt x="282" y="120"/>
                  </a:lnTo>
                  <a:lnTo>
                    <a:pt x="240" y="108"/>
                  </a:lnTo>
                  <a:close/>
                  <a:moveTo>
                    <a:pt x="24" y="258"/>
                  </a:moveTo>
                  <a:lnTo>
                    <a:pt x="0" y="282"/>
                  </a:lnTo>
                  <a:lnTo>
                    <a:pt x="42" y="294"/>
                  </a:lnTo>
                  <a:lnTo>
                    <a:pt x="24" y="258"/>
                  </a:lnTo>
                  <a:close/>
                  <a:moveTo>
                    <a:pt x="312" y="414"/>
                  </a:moveTo>
                  <a:lnTo>
                    <a:pt x="312" y="420"/>
                  </a:lnTo>
                  <a:lnTo>
                    <a:pt x="324" y="420"/>
                  </a:lnTo>
                  <a:lnTo>
                    <a:pt x="324" y="414"/>
                  </a:lnTo>
                  <a:lnTo>
                    <a:pt x="318" y="408"/>
                  </a:lnTo>
                  <a:lnTo>
                    <a:pt x="312" y="408"/>
                  </a:lnTo>
                  <a:lnTo>
                    <a:pt x="312" y="414"/>
                  </a:lnTo>
                  <a:close/>
                  <a:moveTo>
                    <a:pt x="306" y="390"/>
                  </a:moveTo>
                  <a:lnTo>
                    <a:pt x="300" y="378"/>
                  </a:lnTo>
                  <a:lnTo>
                    <a:pt x="294" y="390"/>
                  </a:lnTo>
                  <a:lnTo>
                    <a:pt x="306" y="390"/>
                  </a:lnTo>
                  <a:close/>
                  <a:moveTo>
                    <a:pt x="294" y="294"/>
                  </a:moveTo>
                  <a:lnTo>
                    <a:pt x="318" y="336"/>
                  </a:lnTo>
                  <a:lnTo>
                    <a:pt x="330" y="318"/>
                  </a:lnTo>
                  <a:lnTo>
                    <a:pt x="294" y="294"/>
                  </a:lnTo>
                  <a:close/>
                  <a:moveTo>
                    <a:pt x="108" y="264"/>
                  </a:moveTo>
                  <a:lnTo>
                    <a:pt x="138" y="264"/>
                  </a:lnTo>
                  <a:lnTo>
                    <a:pt x="144" y="270"/>
                  </a:lnTo>
                  <a:lnTo>
                    <a:pt x="156" y="270"/>
                  </a:lnTo>
                  <a:lnTo>
                    <a:pt x="180" y="282"/>
                  </a:lnTo>
                  <a:lnTo>
                    <a:pt x="192" y="282"/>
                  </a:lnTo>
                  <a:lnTo>
                    <a:pt x="198" y="288"/>
                  </a:lnTo>
                  <a:lnTo>
                    <a:pt x="204" y="288"/>
                  </a:lnTo>
                  <a:lnTo>
                    <a:pt x="216" y="300"/>
                  </a:lnTo>
                  <a:lnTo>
                    <a:pt x="228" y="306"/>
                  </a:lnTo>
                  <a:lnTo>
                    <a:pt x="234" y="312"/>
                  </a:lnTo>
                  <a:lnTo>
                    <a:pt x="246" y="312"/>
                  </a:lnTo>
                  <a:lnTo>
                    <a:pt x="252" y="306"/>
                  </a:lnTo>
                  <a:lnTo>
                    <a:pt x="252" y="288"/>
                  </a:lnTo>
                  <a:lnTo>
                    <a:pt x="228" y="264"/>
                  </a:lnTo>
                  <a:lnTo>
                    <a:pt x="216" y="258"/>
                  </a:lnTo>
                  <a:lnTo>
                    <a:pt x="210" y="252"/>
                  </a:lnTo>
                  <a:lnTo>
                    <a:pt x="204" y="252"/>
                  </a:lnTo>
                  <a:lnTo>
                    <a:pt x="198" y="246"/>
                  </a:lnTo>
                  <a:lnTo>
                    <a:pt x="186" y="246"/>
                  </a:lnTo>
                  <a:lnTo>
                    <a:pt x="174" y="234"/>
                  </a:lnTo>
                  <a:lnTo>
                    <a:pt x="168" y="234"/>
                  </a:lnTo>
                  <a:lnTo>
                    <a:pt x="174" y="228"/>
                  </a:lnTo>
                  <a:lnTo>
                    <a:pt x="192" y="228"/>
                  </a:lnTo>
                  <a:lnTo>
                    <a:pt x="198" y="240"/>
                  </a:lnTo>
                  <a:lnTo>
                    <a:pt x="222" y="252"/>
                  </a:lnTo>
                  <a:lnTo>
                    <a:pt x="234" y="264"/>
                  </a:lnTo>
                  <a:lnTo>
                    <a:pt x="258" y="264"/>
                  </a:lnTo>
                  <a:lnTo>
                    <a:pt x="270" y="252"/>
                  </a:lnTo>
                  <a:lnTo>
                    <a:pt x="258" y="240"/>
                  </a:lnTo>
                  <a:lnTo>
                    <a:pt x="246" y="240"/>
                  </a:lnTo>
                  <a:lnTo>
                    <a:pt x="234" y="234"/>
                  </a:lnTo>
                  <a:lnTo>
                    <a:pt x="222" y="234"/>
                  </a:lnTo>
                  <a:lnTo>
                    <a:pt x="210" y="228"/>
                  </a:lnTo>
                  <a:lnTo>
                    <a:pt x="204" y="216"/>
                  </a:lnTo>
                  <a:lnTo>
                    <a:pt x="198" y="210"/>
                  </a:lnTo>
                  <a:lnTo>
                    <a:pt x="198" y="204"/>
                  </a:lnTo>
                  <a:lnTo>
                    <a:pt x="192" y="192"/>
                  </a:lnTo>
                  <a:lnTo>
                    <a:pt x="186" y="186"/>
                  </a:lnTo>
                  <a:lnTo>
                    <a:pt x="174" y="162"/>
                  </a:lnTo>
                  <a:lnTo>
                    <a:pt x="168" y="156"/>
                  </a:lnTo>
                  <a:lnTo>
                    <a:pt x="162" y="144"/>
                  </a:lnTo>
                  <a:lnTo>
                    <a:pt x="150" y="132"/>
                  </a:lnTo>
                  <a:lnTo>
                    <a:pt x="150" y="120"/>
                  </a:lnTo>
                  <a:lnTo>
                    <a:pt x="144" y="114"/>
                  </a:lnTo>
                  <a:lnTo>
                    <a:pt x="144" y="102"/>
                  </a:lnTo>
                  <a:lnTo>
                    <a:pt x="150" y="96"/>
                  </a:lnTo>
                  <a:lnTo>
                    <a:pt x="156" y="96"/>
                  </a:lnTo>
                  <a:lnTo>
                    <a:pt x="162" y="102"/>
                  </a:lnTo>
                  <a:lnTo>
                    <a:pt x="162" y="108"/>
                  </a:lnTo>
                  <a:lnTo>
                    <a:pt x="168" y="114"/>
                  </a:lnTo>
                  <a:lnTo>
                    <a:pt x="180" y="114"/>
                  </a:lnTo>
                  <a:lnTo>
                    <a:pt x="180" y="120"/>
                  </a:lnTo>
                  <a:lnTo>
                    <a:pt x="186" y="120"/>
                  </a:lnTo>
                  <a:lnTo>
                    <a:pt x="198" y="132"/>
                  </a:lnTo>
                  <a:lnTo>
                    <a:pt x="198" y="144"/>
                  </a:lnTo>
                  <a:lnTo>
                    <a:pt x="204" y="144"/>
                  </a:lnTo>
                  <a:lnTo>
                    <a:pt x="210" y="138"/>
                  </a:lnTo>
                  <a:lnTo>
                    <a:pt x="216" y="138"/>
                  </a:lnTo>
                  <a:lnTo>
                    <a:pt x="204" y="120"/>
                  </a:lnTo>
                  <a:lnTo>
                    <a:pt x="210" y="120"/>
                  </a:lnTo>
                  <a:lnTo>
                    <a:pt x="234" y="132"/>
                  </a:lnTo>
                  <a:lnTo>
                    <a:pt x="222" y="114"/>
                  </a:lnTo>
                  <a:lnTo>
                    <a:pt x="228" y="108"/>
                  </a:lnTo>
                  <a:lnTo>
                    <a:pt x="228" y="84"/>
                  </a:lnTo>
                  <a:lnTo>
                    <a:pt x="240" y="72"/>
                  </a:lnTo>
                  <a:lnTo>
                    <a:pt x="270" y="72"/>
                  </a:lnTo>
                  <a:lnTo>
                    <a:pt x="276" y="78"/>
                  </a:lnTo>
                  <a:lnTo>
                    <a:pt x="276" y="90"/>
                  </a:lnTo>
                  <a:lnTo>
                    <a:pt x="288" y="90"/>
                  </a:lnTo>
                  <a:lnTo>
                    <a:pt x="294" y="84"/>
                  </a:lnTo>
                  <a:lnTo>
                    <a:pt x="300" y="72"/>
                  </a:lnTo>
                  <a:lnTo>
                    <a:pt x="306" y="66"/>
                  </a:lnTo>
                  <a:lnTo>
                    <a:pt x="342" y="66"/>
                  </a:lnTo>
                  <a:lnTo>
                    <a:pt x="360" y="72"/>
                  </a:lnTo>
                  <a:lnTo>
                    <a:pt x="372" y="72"/>
                  </a:lnTo>
                  <a:lnTo>
                    <a:pt x="378" y="78"/>
                  </a:lnTo>
                  <a:lnTo>
                    <a:pt x="384" y="78"/>
                  </a:lnTo>
                  <a:lnTo>
                    <a:pt x="384" y="72"/>
                  </a:lnTo>
                  <a:lnTo>
                    <a:pt x="390" y="60"/>
                  </a:lnTo>
                  <a:lnTo>
                    <a:pt x="390" y="48"/>
                  </a:lnTo>
                  <a:lnTo>
                    <a:pt x="384" y="42"/>
                  </a:lnTo>
                  <a:lnTo>
                    <a:pt x="384" y="36"/>
                  </a:lnTo>
                  <a:lnTo>
                    <a:pt x="390" y="30"/>
                  </a:lnTo>
                  <a:lnTo>
                    <a:pt x="408" y="30"/>
                  </a:lnTo>
                  <a:lnTo>
                    <a:pt x="408" y="18"/>
                  </a:lnTo>
                  <a:lnTo>
                    <a:pt x="402" y="12"/>
                  </a:lnTo>
                  <a:lnTo>
                    <a:pt x="402" y="6"/>
                  </a:lnTo>
                  <a:lnTo>
                    <a:pt x="390" y="6"/>
                  </a:lnTo>
                  <a:lnTo>
                    <a:pt x="384" y="0"/>
                  </a:lnTo>
                  <a:lnTo>
                    <a:pt x="366" y="6"/>
                  </a:lnTo>
                  <a:lnTo>
                    <a:pt x="372" y="12"/>
                  </a:lnTo>
                  <a:lnTo>
                    <a:pt x="372" y="30"/>
                  </a:lnTo>
                  <a:lnTo>
                    <a:pt x="366" y="36"/>
                  </a:lnTo>
                  <a:lnTo>
                    <a:pt x="348" y="36"/>
                  </a:lnTo>
                  <a:lnTo>
                    <a:pt x="336" y="24"/>
                  </a:lnTo>
                  <a:lnTo>
                    <a:pt x="324" y="36"/>
                  </a:lnTo>
                  <a:lnTo>
                    <a:pt x="312" y="36"/>
                  </a:lnTo>
                  <a:lnTo>
                    <a:pt x="300" y="24"/>
                  </a:lnTo>
                  <a:lnTo>
                    <a:pt x="294" y="30"/>
                  </a:lnTo>
                  <a:lnTo>
                    <a:pt x="282" y="30"/>
                  </a:lnTo>
                  <a:lnTo>
                    <a:pt x="264" y="12"/>
                  </a:lnTo>
                  <a:lnTo>
                    <a:pt x="264" y="6"/>
                  </a:lnTo>
                  <a:lnTo>
                    <a:pt x="234" y="12"/>
                  </a:lnTo>
                  <a:lnTo>
                    <a:pt x="228" y="30"/>
                  </a:lnTo>
                  <a:lnTo>
                    <a:pt x="204" y="24"/>
                  </a:lnTo>
                  <a:lnTo>
                    <a:pt x="198" y="30"/>
                  </a:lnTo>
                  <a:lnTo>
                    <a:pt x="186" y="36"/>
                  </a:lnTo>
                  <a:lnTo>
                    <a:pt x="174" y="36"/>
                  </a:lnTo>
                  <a:lnTo>
                    <a:pt x="168" y="30"/>
                  </a:lnTo>
                  <a:lnTo>
                    <a:pt x="162" y="30"/>
                  </a:lnTo>
                  <a:lnTo>
                    <a:pt x="150" y="36"/>
                  </a:lnTo>
                  <a:lnTo>
                    <a:pt x="138" y="48"/>
                  </a:lnTo>
                  <a:lnTo>
                    <a:pt x="126" y="54"/>
                  </a:lnTo>
                  <a:lnTo>
                    <a:pt x="102" y="54"/>
                  </a:lnTo>
                  <a:lnTo>
                    <a:pt x="102" y="60"/>
                  </a:lnTo>
                  <a:lnTo>
                    <a:pt x="96" y="72"/>
                  </a:lnTo>
                  <a:lnTo>
                    <a:pt x="72" y="72"/>
                  </a:lnTo>
                  <a:lnTo>
                    <a:pt x="66" y="66"/>
                  </a:lnTo>
                  <a:lnTo>
                    <a:pt x="60" y="66"/>
                  </a:lnTo>
                  <a:lnTo>
                    <a:pt x="48" y="72"/>
                  </a:lnTo>
                  <a:lnTo>
                    <a:pt x="54" y="84"/>
                  </a:lnTo>
                  <a:lnTo>
                    <a:pt x="54" y="90"/>
                  </a:lnTo>
                  <a:lnTo>
                    <a:pt x="42" y="102"/>
                  </a:lnTo>
                  <a:lnTo>
                    <a:pt x="24" y="102"/>
                  </a:lnTo>
                  <a:lnTo>
                    <a:pt x="24" y="126"/>
                  </a:lnTo>
                  <a:lnTo>
                    <a:pt x="12" y="132"/>
                  </a:lnTo>
                  <a:lnTo>
                    <a:pt x="0" y="132"/>
                  </a:lnTo>
                  <a:lnTo>
                    <a:pt x="0" y="198"/>
                  </a:lnTo>
                  <a:lnTo>
                    <a:pt x="6" y="204"/>
                  </a:lnTo>
                  <a:lnTo>
                    <a:pt x="18" y="210"/>
                  </a:lnTo>
                  <a:lnTo>
                    <a:pt x="24" y="216"/>
                  </a:lnTo>
                  <a:lnTo>
                    <a:pt x="30" y="228"/>
                  </a:lnTo>
                  <a:lnTo>
                    <a:pt x="36" y="234"/>
                  </a:lnTo>
                  <a:lnTo>
                    <a:pt x="42" y="246"/>
                  </a:lnTo>
                  <a:lnTo>
                    <a:pt x="54" y="258"/>
                  </a:lnTo>
                  <a:lnTo>
                    <a:pt x="60" y="270"/>
                  </a:lnTo>
                  <a:lnTo>
                    <a:pt x="84" y="270"/>
                  </a:lnTo>
                  <a:lnTo>
                    <a:pt x="96" y="264"/>
                  </a:lnTo>
                  <a:lnTo>
                    <a:pt x="108" y="264"/>
                  </a:lnTo>
                  <a:close/>
                  <a:moveTo>
                    <a:pt x="396" y="252"/>
                  </a:moveTo>
                  <a:lnTo>
                    <a:pt x="372" y="252"/>
                  </a:lnTo>
                  <a:lnTo>
                    <a:pt x="372" y="270"/>
                  </a:lnTo>
                  <a:lnTo>
                    <a:pt x="384" y="294"/>
                  </a:lnTo>
                  <a:lnTo>
                    <a:pt x="396" y="252"/>
                  </a:lnTo>
                  <a:close/>
                  <a:moveTo>
                    <a:pt x="24" y="312"/>
                  </a:moveTo>
                  <a:lnTo>
                    <a:pt x="18" y="318"/>
                  </a:lnTo>
                  <a:lnTo>
                    <a:pt x="24" y="324"/>
                  </a:lnTo>
                  <a:lnTo>
                    <a:pt x="30" y="324"/>
                  </a:lnTo>
                  <a:lnTo>
                    <a:pt x="36" y="330"/>
                  </a:lnTo>
                  <a:lnTo>
                    <a:pt x="42" y="324"/>
                  </a:lnTo>
                  <a:lnTo>
                    <a:pt x="42" y="318"/>
                  </a:lnTo>
                  <a:lnTo>
                    <a:pt x="30" y="306"/>
                  </a:lnTo>
                  <a:lnTo>
                    <a:pt x="24" y="312"/>
                  </a:lnTo>
                  <a:close/>
                  <a:moveTo>
                    <a:pt x="378" y="390"/>
                  </a:moveTo>
                  <a:lnTo>
                    <a:pt x="378" y="408"/>
                  </a:lnTo>
                  <a:lnTo>
                    <a:pt x="390" y="390"/>
                  </a:lnTo>
                  <a:lnTo>
                    <a:pt x="378" y="390"/>
                  </a:lnTo>
                  <a:close/>
                  <a:moveTo>
                    <a:pt x="408" y="330"/>
                  </a:moveTo>
                  <a:lnTo>
                    <a:pt x="396" y="330"/>
                  </a:lnTo>
                  <a:lnTo>
                    <a:pt x="384" y="336"/>
                  </a:lnTo>
                  <a:lnTo>
                    <a:pt x="384" y="342"/>
                  </a:lnTo>
                  <a:lnTo>
                    <a:pt x="396" y="342"/>
                  </a:lnTo>
                  <a:lnTo>
                    <a:pt x="402" y="336"/>
                  </a:lnTo>
                  <a:lnTo>
                    <a:pt x="408" y="336"/>
                  </a:lnTo>
                  <a:lnTo>
                    <a:pt x="408" y="330"/>
                  </a:lnTo>
                  <a:close/>
                  <a:moveTo>
                    <a:pt x="396" y="192"/>
                  </a:moveTo>
                  <a:lnTo>
                    <a:pt x="372" y="198"/>
                  </a:lnTo>
                  <a:lnTo>
                    <a:pt x="372" y="210"/>
                  </a:lnTo>
                  <a:lnTo>
                    <a:pt x="390" y="210"/>
                  </a:lnTo>
                  <a:lnTo>
                    <a:pt x="396" y="216"/>
                  </a:lnTo>
                  <a:lnTo>
                    <a:pt x="396" y="222"/>
                  </a:lnTo>
                  <a:lnTo>
                    <a:pt x="414" y="222"/>
                  </a:lnTo>
                  <a:lnTo>
                    <a:pt x="414" y="210"/>
                  </a:lnTo>
                  <a:lnTo>
                    <a:pt x="396" y="192"/>
                  </a:lnTo>
                  <a:close/>
                  <a:moveTo>
                    <a:pt x="342" y="372"/>
                  </a:moveTo>
                  <a:lnTo>
                    <a:pt x="342" y="378"/>
                  </a:lnTo>
                  <a:lnTo>
                    <a:pt x="348" y="384"/>
                  </a:lnTo>
                  <a:lnTo>
                    <a:pt x="360" y="384"/>
                  </a:lnTo>
                  <a:lnTo>
                    <a:pt x="366" y="378"/>
                  </a:lnTo>
                  <a:lnTo>
                    <a:pt x="366" y="372"/>
                  </a:lnTo>
                  <a:lnTo>
                    <a:pt x="360" y="366"/>
                  </a:lnTo>
                  <a:lnTo>
                    <a:pt x="342" y="366"/>
                  </a:lnTo>
                  <a:lnTo>
                    <a:pt x="342" y="372"/>
                  </a:lnTo>
                  <a:close/>
                  <a:moveTo>
                    <a:pt x="444" y="312"/>
                  </a:moveTo>
                  <a:lnTo>
                    <a:pt x="432" y="312"/>
                  </a:lnTo>
                  <a:lnTo>
                    <a:pt x="432" y="330"/>
                  </a:lnTo>
                  <a:lnTo>
                    <a:pt x="444" y="336"/>
                  </a:lnTo>
                  <a:lnTo>
                    <a:pt x="450" y="330"/>
                  </a:lnTo>
                  <a:lnTo>
                    <a:pt x="450" y="318"/>
                  </a:lnTo>
                  <a:lnTo>
                    <a:pt x="444" y="312"/>
                  </a:lnTo>
                  <a:close/>
                  <a:moveTo>
                    <a:pt x="444" y="372"/>
                  </a:moveTo>
                  <a:lnTo>
                    <a:pt x="456" y="354"/>
                  </a:lnTo>
                  <a:lnTo>
                    <a:pt x="438" y="354"/>
                  </a:lnTo>
                  <a:lnTo>
                    <a:pt x="444" y="372"/>
                  </a:lnTo>
                  <a:close/>
                  <a:moveTo>
                    <a:pt x="276" y="222"/>
                  </a:moveTo>
                  <a:lnTo>
                    <a:pt x="276" y="240"/>
                  </a:lnTo>
                  <a:lnTo>
                    <a:pt x="288" y="240"/>
                  </a:lnTo>
                  <a:lnTo>
                    <a:pt x="276" y="222"/>
                  </a:lnTo>
                  <a:close/>
                  <a:moveTo>
                    <a:pt x="534" y="420"/>
                  </a:moveTo>
                  <a:lnTo>
                    <a:pt x="522" y="420"/>
                  </a:lnTo>
                  <a:lnTo>
                    <a:pt x="516" y="426"/>
                  </a:lnTo>
                  <a:lnTo>
                    <a:pt x="510" y="438"/>
                  </a:lnTo>
                  <a:lnTo>
                    <a:pt x="510" y="468"/>
                  </a:lnTo>
                  <a:lnTo>
                    <a:pt x="516" y="468"/>
                  </a:lnTo>
                  <a:lnTo>
                    <a:pt x="522" y="456"/>
                  </a:lnTo>
                  <a:lnTo>
                    <a:pt x="528" y="450"/>
                  </a:lnTo>
                  <a:lnTo>
                    <a:pt x="534" y="438"/>
                  </a:lnTo>
                  <a:lnTo>
                    <a:pt x="534" y="420"/>
                  </a:lnTo>
                  <a:close/>
                  <a:moveTo>
                    <a:pt x="462" y="384"/>
                  </a:moveTo>
                  <a:lnTo>
                    <a:pt x="456" y="408"/>
                  </a:lnTo>
                  <a:lnTo>
                    <a:pt x="498" y="378"/>
                  </a:lnTo>
                  <a:lnTo>
                    <a:pt x="486" y="372"/>
                  </a:lnTo>
                  <a:lnTo>
                    <a:pt x="462" y="384"/>
                  </a:lnTo>
                  <a:close/>
                  <a:moveTo>
                    <a:pt x="462" y="510"/>
                  </a:moveTo>
                  <a:lnTo>
                    <a:pt x="480" y="510"/>
                  </a:lnTo>
                  <a:lnTo>
                    <a:pt x="468" y="468"/>
                  </a:lnTo>
                  <a:lnTo>
                    <a:pt x="462" y="510"/>
                  </a:lnTo>
                  <a:close/>
                  <a:moveTo>
                    <a:pt x="276" y="330"/>
                  </a:moveTo>
                  <a:lnTo>
                    <a:pt x="270" y="336"/>
                  </a:lnTo>
                  <a:lnTo>
                    <a:pt x="270" y="348"/>
                  </a:lnTo>
                  <a:lnTo>
                    <a:pt x="276" y="348"/>
                  </a:lnTo>
                  <a:lnTo>
                    <a:pt x="288" y="336"/>
                  </a:lnTo>
                  <a:lnTo>
                    <a:pt x="282" y="330"/>
                  </a:lnTo>
                  <a:lnTo>
                    <a:pt x="276" y="330"/>
                  </a:lnTo>
                  <a:close/>
                  <a:moveTo>
                    <a:pt x="186" y="432"/>
                  </a:moveTo>
                  <a:lnTo>
                    <a:pt x="180" y="438"/>
                  </a:lnTo>
                  <a:lnTo>
                    <a:pt x="180" y="450"/>
                  </a:lnTo>
                  <a:lnTo>
                    <a:pt x="186" y="456"/>
                  </a:lnTo>
                  <a:lnTo>
                    <a:pt x="198" y="444"/>
                  </a:lnTo>
                  <a:lnTo>
                    <a:pt x="198" y="438"/>
                  </a:lnTo>
                  <a:lnTo>
                    <a:pt x="192" y="432"/>
                  </a:lnTo>
                  <a:lnTo>
                    <a:pt x="186" y="432"/>
                  </a:lnTo>
                  <a:close/>
                  <a:moveTo>
                    <a:pt x="384" y="528"/>
                  </a:moveTo>
                  <a:lnTo>
                    <a:pt x="378" y="528"/>
                  </a:lnTo>
                  <a:lnTo>
                    <a:pt x="378" y="516"/>
                  </a:lnTo>
                  <a:lnTo>
                    <a:pt x="372" y="510"/>
                  </a:lnTo>
                  <a:lnTo>
                    <a:pt x="342" y="510"/>
                  </a:lnTo>
                  <a:lnTo>
                    <a:pt x="306" y="504"/>
                  </a:lnTo>
                  <a:lnTo>
                    <a:pt x="276" y="504"/>
                  </a:lnTo>
                  <a:lnTo>
                    <a:pt x="246" y="486"/>
                  </a:lnTo>
                  <a:lnTo>
                    <a:pt x="228" y="504"/>
                  </a:lnTo>
                  <a:lnTo>
                    <a:pt x="234" y="510"/>
                  </a:lnTo>
                  <a:lnTo>
                    <a:pt x="246" y="516"/>
                  </a:lnTo>
                  <a:lnTo>
                    <a:pt x="252" y="522"/>
                  </a:lnTo>
                  <a:lnTo>
                    <a:pt x="258" y="516"/>
                  </a:lnTo>
                  <a:lnTo>
                    <a:pt x="264" y="528"/>
                  </a:lnTo>
                  <a:lnTo>
                    <a:pt x="300" y="528"/>
                  </a:lnTo>
                  <a:lnTo>
                    <a:pt x="312" y="552"/>
                  </a:lnTo>
                  <a:lnTo>
                    <a:pt x="354" y="546"/>
                  </a:lnTo>
                  <a:lnTo>
                    <a:pt x="354" y="540"/>
                  </a:lnTo>
                  <a:lnTo>
                    <a:pt x="402" y="540"/>
                  </a:lnTo>
                  <a:lnTo>
                    <a:pt x="414" y="528"/>
                  </a:lnTo>
                  <a:lnTo>
                    <a:pt x="414" y="522"/>
                  </a:lnTo>
                  <a:lnTo>
                    <a:pt x="408" y="516"/>
                  </a:lnTo>
                  <a:lnTo>
                    <a:pt x="402" y="516"/>
                  </a:lnTo>
                  <a:lnTo>
                    <a:pt x="396" y="522"/>
                  </a:lnTo>
                  <a:lnTo>
                    <a:pt x="390" y="522"/>
                  </a:lnTo>
                  <a:lnTo>
                    <a:pt x="384" y="528"/>
                  </a:lnTo>
                  <a:close/>
                  <a:moveTo>
                    <a:pt x="420" y="408"/>
                  </a:moveTo>
                  <a:lnTo>
                    <a:pt x="408" y="408"/>
                  </a:lnTo>
                  <a:lnTo>
                    <a:pt x="408" y="420"/>
                  </a:lnTo>
                  <a:lnTo>
                    <a:pt x="420" y="420"/>
                  </a:lnTo>
                  <a:lnTo>
                    <a:pt x="426" y="414"/>
                  </a:lnTo>
                  <a:lnTo>
                    <a:pt x="420" y="408"/>
                  </a:lnTo>
                  <a:close/>
                  <a:moveTo>
                    <a:pt x="114" y="276"/>
                  </a:moveTo>
                  <a:lnTo>
                    <a:pt x="90" y="288"/>
                  </a:lnTo>
                  <a:lnTo>
                    <a:pt x="84" y="288"/>
                  </a:lnTo>
                  <a:lnTo>
                    <a:pt x="66" y="312"/>
                  </a:lnTo>
                  <a:lnTo>
                    <a:pt x="96" y="336"/>
                  </a:lnTo>
                  <a:lnTo>
                    <a:pt x="96" y="348"/>
                  </a:lnTo>
                  <a:lnTo>
                    <a:pt x="90" y="366"/>
                  </a:lnTo>
                  <a:lnTo>
                    <a:pt x="90" y="384"/>
                  </a:lnTo>
                  <a:lnTo>
                    <a:pt x="96" y="390"/>
                  </a:lnTo>
                  <a:lnTo>
                    <a:pt x="108" y="396"/>
                  </a:lnTo>
                  <a:lnTo>
                    <a:pt x="114" y="396"/>
                  </a:lnTo>
                  <a:lnTo>
                    <a:pt x="114" y="390"/>
                  </a:lnTo>
                  <a:lnTo>
                    <a:pt x="126" y="378"/>
                  </a:lnTo>
                  <a:lnTo>
                    <a:pt x="132" y="378"/>
                  </a:lnTo>
                  <a:lnTo>
                    <a:pt x="156" y="420"/>
                  </a:lnTo>
                  <a:lnTo>
                    <a:pt x="162" y="390"/>
                  </a:lnTo>
                  <a:lnTo>
                    <a:pt x="180" y="414"/>
                  </a:lnTo>
                  <a:lnTo>
                    <a:pt x="204" y="420"/>
                  </a:lnTo>
                  <a:lnTo>
                    <a:pt x="186" y="402"/>
                  </a:lnTo>
                  <a:lnTo>
                    <a:pt x="192" y="396"/>
                  </a:lnTo>
                  <a:lnTo>
                    <a:pt x="192" y="372"/>
                  </a:lnTo>
                  <a:lnTo>
                    <a:pt x="186" y="366"/>
                  </a:lnTo>
                  <a:lnTo>
                    <a:pt x="180" y="354"/>
                  </a:lnTo>
                  <a:lnTo>
                    <a:pt x="174" y="348"/>
                  </a:lnTo>
                  <a:lnTo>
                    <a:pt x="168" y="336"/>
                  </a:lnTo>
                  <a:lnTo>
                    <a:pt x="168" y="330"/>
                  </a:lnTo>
                  <a:lnTo>
                    <a:pt x="186" y="330"/>
                  </a:lnTo>
                  <a:lnTo>
                    <a:pt x="198" y="336"/>
                  </a:lnTo>
                  <a:lnTo>
                    <a:pt x="210" y="348"/>
                  </a:lnTo>
                  <a:lnTo>
                    <a:pt x="222" y="342"/>
                  </a:lnTo>
                  <a:lnTo>
                    <a:pt x="210" y="336"/>
                  </a:lnTo>
                  <a:lnTo>
                    <a:pt x="204" y="324"/>
                  </a:lnTo>
                  <a:lnTo>
                    <a:pt x="192" y="318"/>
                  </a:lnTo>
                  <a:lnTo>
                    <a:pt x="186" y="312"/>
                  </a:lnTo>
                  <a:lnTo>
                    <a:pt x="174" y="306"/>
                  </a:lnTo>
                  <a:lnTo>
                    <a:pt x="156" y="294"/>
                  </a:lnTo>
                  <a:lnTo>
                    <a:pt x="138" y="288"/>
                  </a:lnTo>
                  <a:lnTo>
                    <a:pt x="126" y="282"/>
                  </a:lnTo>
                  <a:lnTo>
                    <a:pt x="120" y="276"/>
                  </a:lnTo>
                  <a:lnTo>
                    <a:pt x="114" y="276"/>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60" name="Ghana" descr="© INSCALE GmbH, 05.05.2010&#10;http://www.presentationload.com/">
              <a:extLst>
                <a:ext uri="{FF2B5EF4-FFF2-40B4-BE49-F238E27FC236}">
                  <a16:creationId xmlns:a16="http://schemas.microsoft.com/office/drawing/2014/main" id="{A2C25964-D361-4705-96FB-723C50F59BE6}"/>
                </a:ext>
              </a:extLst>
            </p:cNvPr>
            <p:cNvSpPr>
              <a:spLocks/>
            </p:cNvSpPr>
            <p:nvPr/>
          </p:nvSpPr>
          <p:spPr bwMode="gray">
            <a:xfrm>
              <a:off x="4033709" y="3896689"/>
              <a:ext cx="130145" cy="205412"/>
            </a:xfrm>
            <a:custGeom>
              <a:avLst/>
              <a:gdLst>
                <a:gd name="T0" fmla="*/ 2147483647 w 324"/>
                <a:gd name="T1" fmla="*/ 2147483647 h 516"/>
                <a:gd name="T2" fmla="*/ 2147483647 w 324"/>
                <a:gd name="T3" fmla="*/ 2147483647 h 516"/>
                <a:gd name="T4" fmla="*/ 2147483647 w 324"/>
                <a:gd name="T5" fmla="*/ 2147483647 h 516"/>
                <a:gd name="T6" fmla="*/ 2147483647 w 324"/>
                <a:gd name="T7" fmla="*/ 2147483647 h 516"/>
                <a:gd name="T8" fmla="*/ 2147483647 w 324"/>
                <a:gd name="T9" fmla="*/ 2147483647 h 516"/>
                <a:gd name="T10" fmla="*/ 2147483647 w 324"/>
                <a:gd name="T11" fmla="*/ 2147483647 h 516"/>
                <a:gd name="T12" fmla="*/ 2147483647 w 324"/>
                <a:gd name="T13" fmla="*/ 2147483647 h 516"/>
                <a:gd name="T14" fmla="*/ 2147483647 w 324"/>
                <a:gd name="T15" fmla="*/ 2147483647 h 516"/>
                <a:gd name="T16" fmla="*/ 2147483647 w 324"/>
                <a:gd name="T17" fmla="*/ 2147483647 h 516"/>
                <a:gd name="T18" fmla="*/ 2147483647 w 324"/>
                <a:gd name="T19" fmla="*/ 2147483647 h 516"/>
                <a:gd name="T20" fmla="*/ 2147483647 w 324"/>
                <a:gd name="T21" fmla="*/ 2147483647 h 516"/>
                <a:gd name="T22" fmla="*/ 2147483647 w 324"/>
                <a:gd name="T23" fmla="*/ 2147483647 h 516"/>
                <a:gd name="T24" fmla="*/ 2147483647 w 324"/>
                <a:gd name="T25" fmla="*/ 2147483647 h 516"/>
                <a:gd name="T26" fmla="*/ 2147483647 w 324"/>
                <a:gd name="T27" fmla="*/ 0 h 516"/>
                <a:gd name="T28" fmla="*/ 2147483647 w 324"/>
                <a:gd name="T29" fmla="*/ 2147483647 h 516"/>
                <a:gd name="T30" fmla="*/ 2147483647 w 324"/>
                <a:gd name="T31" fmla="*/ 2147483647 h 516"/>
                <a:gd name="T32" fmla="*/ 2147483647 w 324"/>
                <a:gd name="T33" fmla="*/ 2147483647 h 516"/>
                <a:gd name="T34" fmla="*/ 2147483647 w 324"/>
                <a:gd name="T35" fmla="*/ 2147483647 h 516"/>
                <a:gd name="T36" fmla="*/ 2147483647 w 324"/>
                <a:gd name="T37" fmla="*/ 2147483647 h 516"/>
                <a:gd name="T38" fmla="*/ 2147483647 w 324"/>
                <a:gd name="T39" fmla="*/ 2147483647 h 516"/>
                <a:gd name="T40" fmla="*/ 2147483647 w 324"/>
                <a:gd name="T41" fmla="*/ 2147483647 h 516"/>
                <a:gd name="T42" fmla="*/ 2147483647 w 324"/>
                <a:gd name="T43" fmla="*/ 2147483647 h 516"/>
                <a:gd name="T44" fmla="*/ 2147483647 w 324"/>
                <a:gd name="T45" fmla="*/ 2147483647 h 516"/>
                <a:gd name="T46" fmla="*/ 2147483647 w 324"/>
                <a:gd name="T47" fmla="*/ 2147483647 h 516"/>
                <a:gd name="T48" fmla="*/ 2147483647 w 324"/>
                <a:gd name="T49" fmla="*/ 2147483647 h 516"/>
                <a:gd name="T50" fmla="*/ 2147483647 w 324"/>
                <a:gd name="T51" fmla="*/ 2147483647 h 516"/>
                <a:gd name="T52" fmla="*/ 2147483647 w 324"/>
                <a:gd name="T53" fmla="*/ 2147483647 h 516"/>
                <a:gd name="T54" fmla="*/ 0 w 324"/>
                <a:gd name="T55" fmla="*/ 2147483647 h 516"/>
                <a:gd name="T56" fmla="*/ 2147483647 w 324"/>
                <a:gd name="T57" fmla="*/ 2147483647 h 516"/>
                <a:gd name="T58" fmla="*/ 2147483647 w 324"/>
                <a:gd name="T59" fmla="*/ 2147483647 h 516"/>
                <a:gd name="T60" fmla="*/ 2147483647 w 324"/>
                <a:gd name="T61" fmla="*/ 2147483647 h 516"/>
                <a:gd name="T62" fmla="*/ 2147483647 w 324"/>
                <a:gd name="T63" fmla="*/ 2147483647 h 516"/>
                <a:gd name="T64" fmla="*/ 2147483647 w 324"/>
                <a:gd name="T65" fmla="*/ 2147483647 h 516"/>
                <a:gd name="T66" fmla="*/ 2147483647 w 324"/>
                <a:gd name="T67" fmla="*/ 2147483647 h 516"/>
                <a:gd name="T68" fmla="*/ 2147483647 w 324"/>
                <a:gd name="T69" fmla="*/ 2147483647 h 516"/>
                <a:gd name="T70" fmla="*/ 2147483647 w 324"/>
                <a:gd name="T71" fmla="*/ 2147483647 h 516"/>
                <a:gd name="T72" fmla="*/ 2147483647 w 324"/>
                <a:gd name="T73" fmla="*/ 2147483647 h 516"/>
                <a:gd name="T74" fmla="*/ 2147483647 w 324"/>
                <a:gd name="T75" fmla="*/ 2147483647 h 516"/>
                <a:gd name="T76" fmla="*/ 2147483647 w 324"/>
                <a:gd name="T77" fmla="*/ 2147483647 h 516"/>
                <a:gd name="T78" fmla="*/ 2147483647 w 324"/>
                <a:gd name="T79" fmla="*/ 2147483647 h 516"/>
                <a:gd name="T80" fmla="*/ 2147483647 w 324"/>
                <a:gd name="T81" fmla="*/ 2147483647 h 516"/>
                <a:gd name="T82" fmla="*/ 2147483647 w 324"/>
                <a:gd name="T83" fmla="*/ 2147483647 h 516"/>
                <a:gd name="T84" fmla="*/ 2147483647 w 324"/>
                <a:gd name="T85" fmla="*/ 2147483647 h 516"/>
                <a:gd name="T86" fmla="*/ 2147483647 w 324"/>
                <a:gd name="T87" fmla="*/ 2147483647 h 5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4"/>
                <a:gd name="T133" fmla="*/ 0 h 516"/>
                <a:gd name="T134" fmla="*/ 324 w 324"/>
                <a:gd name="T135" fmla="*/ 516 h 5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4" h="516">
                  <a:moveTo>
                    <a:pt x="282" y="342"/>
                  </a:moveTo>
                  <a:lnTo>
                    <a:pt x="282" y="330"/>
                  </a:lnTo>
                  <a:lnTo>
                    <a:pt x="288" y="318"/>
                  </a:lnTo>
                  <a:lnTo>
                    <a:pt x="288" y="306"/>
                  </a:lnTo>
                  <a:lnTo>
                    <a:pt x="282" y="300"/>
                  </a:lnTo>
                  <a:lnTo>
                    <a:pt x="276" y="300"/>
                  </a:lnTo>
                  <a:lnTo>
                    <a:pt x="276" y="282"/>
                  </a:lnTo>
                  <a:lnTo>
                    <a:pt x="282" y="276"/>
                  </a:lnTo>
                  <a:lnTo>
                    <a:pt x="282" y="234"/>
                  </a:lnTo>
                  <a:lnTo>
                    <a:pt x="288" y="228"/>
                  </a:lnTo>
                  <a:lnTo>
                    <a:pt x="288" y="216"/>
                  </a:lnTo>
                  <a:lnTo>
                    <a:pt x="282" y="210"/>
                  </a:lnTo>
                  <a:lnTo>
                    <a:pt x="270" y="204"/>
                  </a:lnTo>
                  <a:lnTo>
                    <a:pt x="264" y="198"/>
                  </a:lnTo>
                  <a:lnTo>
                    <a:pt x="276" y="186"/>
                  </a:lnTo>
                  <a:lnTo>
                    <a:pt x="282" y="186"/>
                  </a:lnTo>
                  <a:lnTo>
                    <a:pt x="282" y="180"/>
                  </a:lnTo>
                  <a:lnTo>
                    <a:pt x="270" y="168"/>
                  </a:lnTo>
                  <a:lnTo>
                    <a:pt x="276" y="156"/>
                  </a:lnTo>
                  <a:lnTo>
                    <a:pt x="276" y="132"/>
                  </a:lnTo>
                  <a:lnTo>
                    <a:pt x="270" y="126"/>
                  </a:lnTo>
                  <a:lnTo>
                    <a:pt x="264" y="126"/>
                  </a:lnTo>
                  <a:lnTo>
                    <a:pt x="252" y="138"/>
                  </a:lnTo>
                  <a:lnTo>
                    <a:pt x="264" y="60"/>
                  </a:lnTo>
                  <a:lnTo>
                    <a:pt x="228" y="36"/>
                  </a:lnTo>
                  <a:lnTo>
                    <a:pt x="240" y="24"/>
                  </a:lnTo>
                  <a:lnTo>
                    <a:pt x="240" y="6"/>
                  </a:lnTo>
                  <a:lnTo>
                    <a:pt x="222" y="0"/>
                  </a:lnTo>
                  <a:lnTo>
                    <a:pt x="198" y="12"/>
                  </a:lnTo>
                  <a:lnTo>
                    <a:pt x="42" y="12"/>
                  </a:lnTo>
                  <a:lnTo>
                    <a:pt x="36" y="18"/>
                  </a:lnTo>
                  <a:lnTo>
                    <a:pt x="30" y="30"/>
                  </a:lnTo>
                  <a:lnTo>
                    <a:pt x="30" y="48"/>
                  </a:lnTo>
                  <a:lnTo>
                    <a:pt x="36" y="48"/>
                  </a:lnTo>
                  <a:lnTo>
                    <a:pt x="42" y="78"/>
                  </a:lnTo>
                  <a:lnTo>
                    <a:pt x="42" y="132"/>
                  </a:lnTo>
                  <a:lnTo>
                    <a:pt x="48" y="126"/>
                  </a:lnTo>
                  <a:lnTo>
                    <a:pt x="54" y="156"/>
                  </a:lnTo>
                  <a:lnTo>
                    <a:pt x="42" y="156"/>
                  </a:lnTo>
                  <a:lnTo>
                    <a:pt x="42" y="162"/>
                  </a:lnTo>
                  <a:lnTo>
                    <a:pt x="48" y="168"/>
                  </a:lnTo>
                  <a:lnTo>
                    <a:pt x="48" y="180"/>
                  </a:lnTo>
                  <a:lnTo>
                    <a:pt x="54" y="192"/>
                  </a:lnTo>
                  <a:lnTo>
                    <a:pt x="54" y="204"/>
                  </a:lnTo>
                  <a:lnTo>
                    <a:pt x="60" y="216"/>
                  </a:lnTo>
                  <a:lnTo>
                    <a:pt x="60" y="228"/>
                  </a:lnTo>
                  <a:lnTo>
                    <a:pt x="48" y="252"/>
                  </a:lnTo>
                  <a:lnTo>
                    <a:pt x="42" y="258"/>
                  </a:lnTo>
                  <a:lnTo>
                    <a:pt x="36" y="270"/>
                  </a:lnTo>
                  <a:lnTo>
                    <a:pt x="36" y="288"/>
                  </a:lnTo>
                  <a:lnTo>
                    <a:pt x="30" y="300"/>
                  </a:lnTo>
                  <a:lnTo>
                    <a:pt x="30" y="312"/>
                  </a:lnTo>
                  <a:lnTo>
                    <a:pt x="12" y="330"/>
                  </a:lnTo>
                  <a:lnTo>
                    <a:pt x="6" y="342"/>
                  </a:lnTo>
                  <a:lnTo>
                    <a:pt x="0" y="348"/>
                  </a:lnTo>
                  <a:lnTo>
                    <a:pt x="0" y="372"/>
                  </a:lnTo>
                  <a:lnTo>
                    <a:pt x="6" y="384"/>
                  </a:lnTo>
                  <a:lnTo>
                    <a:pt x="12" y="402"/>
                  </a:lnTo>
                  <a:lnTo>
                    <a:pt x="12" y="414"/>
                  </a:lnTo>
                  <a:lnTo>
                    <a:pt x="18" y="426"/>
                  </a:lnTo>
                  <a:lnTo>
                    <a:pt x="24" y="432"/>
                  </a:lnTo>
                  <a:lnTo>
                    <a:pt x="24" y="438"/>
                  </a:lnTo>
                  <a:lnTo>
                    <a:pt x="48" y="444"/>
                  </a:lnTo>
                  <a:lnTo>
                    <a:pt x="48" y="498"/>
                  </a:lnTo>
                  <a:lnTo>
                    <a:pt x="72" y="498"/>
                  </a:lnTo>
                  <a:lnTo>
                    <a:pt x="78" y="504"/>
                  </a:lnTo>
                  <a:lnTo>
                    <a:pt x="78" y="510"/>
                  </a:lnTo>
                  <a:lnTo>
                    <a:pt x="84" y="516"/>
                  </a:lnTo>
                  <a:lnTo>
                    <a:pt x="96" y="516"/>
                  </a:lnTo>
                  <a:lnTo>
                    <a:pt x="108" y="510"/>
                  </a:lnTo>
                  <a:lnTo>
                    <a:pt x="114" y="504"/>
                  </a:lnTo>
                  <a:lnTo>
                    <a:pt x="132" y="492"/>
                  </a:lnTo>
                  <a:lnTo>
                    <a:pt x="138" y="486"/>
                  </a:lnTo>
                  <a:lnTo>
                    <a:pt x="150" y="480"/>
                  </a:lnTo>
                  <a:lnTo>
                    <a:pt x="180" y="480"/>
                  </a:lnTo>
                  <a:lnTo>
                    <a:pt x="186" y="474"/>
                  </a:lnTo>
                  <a:lnTo>
                    <a:pt x="198" y="468"/>
                  </a:lnTo>
                  <a:lnTo>
                    <a:pt x="216" y="450"/>
                  </a:lnTo>
                  <a:lnTo>
                    <a:pt x="228" y="450"/>
                  </a:lnTo>
                  <a:lnTo>
                    <a:pt x="234" y="444"/>
                  </a:lnTo>
                  <a:lnTo>
                    <a:pt x="240" y="444"/>
                  </a:lnTo>
                  <a:lnTo>
                    <a:pt x="258" y="426"/>
                  </a:lnTo>
                  <a:lnTo>
                    <a:pt x="270" y="426"/>
                  </a:lnTo>
                  <a:lnTo>
                    <a:pt x="276" y="432"/>
                  </a:lnTo>
                  <a:lnTo>
                    <a:pt x="294" y="432"/>
                  </a:lnTo>
                  <a:lnTo>
                    <a:pt x="306" y="426"/>
                  </a:lnTo>
                  <a:lnTo>
                    <a:pt x="324" y="408"/>
                  </a:lnTo>
                  <a:lnTo>
                    <a:pt x="294" y="384"/>
                  </a:lnTo>
                  <a:lnTo>
                    <a:pt x="282" y="34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61" name="Georgien" descr="© INSCALE GmbH, 05.05.2010&#10;http://www.presentationload.com/">
              <a:extLst>
                <a:ext uri="{FF2B5EF4-FFF2-40B4-BE49-F238E27FC236}">
                  <a16:creationId xmlns:a16="http://schemas.microsoft.com/office/drawing/2014/main" id="{2A67B06A-A002-463A-823F-59B0F51F76DA}"/>
                </a:ext>
              </a:extLst>
            </p:cNvPr>
            <p:cNvSpPr>
              <a:spLocks/>
            </p:cNvSpPr>
            <p:nvPr/>
          </p:nvSpPr>
          <p:spPr bwMode="gray">
            <a:xfrm>
              <a:off x="5179934" y="2857089"/>
              <a:ext cx="183458" cy="83106"/>
            </a:xfrm>
            <a:custGeom>
              <a:avLst/>
              <a:gdLst>
                <a:gd name="T0" fmla="*/ 2147483647 w 462"/>
                <a:gd name="T1" fmla="*/ 2147483647 h 210"/>
                <a:gd name="T2" fmla="*/ 2147483647 w 462"/>
                <a:gd name="T3" fmla="*/ 2147483647 h 210"/>
                <a:gd name="T4" fmla="*/ 2147483647 w 462"/>
                <a:gd name="T5" fmla="*/ 2147483647 h 210"/>
                <a:gd name="T6" fmla="*/ 2147483647 w 462"/>
                <a:gd name="T7" fmla="*/ 2147483647 h 210"/>
                <a:gd name="T8" fmla="*/ 2147483647 w 462"/>
                <a:gd name="T9" fmla="*/ 2147483647 h 210"/>
                <a:gd name="T10" fmla="*/ 2147483647 w 462"/>
                <a:gd name="T11" fmla="*/ 2147483647 h 210"/>
                <a:gd name="T12" fmla="*/ 2147483647 w 462"/>
                <a:gd name="T13" fmla="*/ 2147483647 h 210"/>
                <a:gd name="T14" fmla="*/ 2147483647 w 462"/>
                <a:gd name="T15" fmla="*/ 2147483647 h 210"/>
                <a:gd name="T16" fmla="*/ 2147483647 w 462"/>
                <a:gd name="T17" fmla="*/ 2147483647 h 210"/>
                <a:gd name="T18" fmla="*/ 2147483647 w 462"/>
                <a:gd name="T19" fmla="*/ 2147483647 h 210"/>
                <a:gd name="T20" fmla="*/ 2147483647 w 462"/>
                <a:gd name="T21" fmla="*/ 2147483647 h 210"/>
                <a:gd name="T22" fmla="*/ 2147483647 w 462"/>
                <a:gd name="T23" fmla="*/ 2147483647 h 210"/>
                <a:gd name="T24" fmla="*/ 2147483647 w 462"/>
                <a:gd name="T25" fmla="*/ 2147483647 h 210"/>
                <a:gd name="T26" fmla="*/ 2147483647 w 462"/>
                <a:gd name="T27" fmla="*/ 2147483647 h 210"/>
                <a:gd name="T28" fmla="*/ 2147483647 w 462"/>
                <a:gd name="T29" fmla="*/ 2147483647 h 210"/>
                <a:gd name="T30" fmla="*/ 2147483647 w 462"/>
                <a:gd name="T31" fmla="*/ 2147483647 h 210"/>
                <a:gd name="T32" fmla="*/ 2147483647 w 462"/>
                <a:gd name="T33" fmla="*/ 2147483647 h 210"/>
                <a:gd name="T34" fmla="*/ 2147483647 w 462"/>
                <a:gd name="T35" fmla="*/ 2147483647 h 210"/>
                <a:gd name="T36" fmla="*/ 2147483647 w 462"/>
                <a:gd name="T37" fmla="*/ 2147483647 h 210"/>
                <a:gd name="T38" fmla="*/ 2147483647 w 462"/>
                <a:gd name="T39" fmla="*/ 2147483647 h 210"/>
                <a:gd name="T40" fmla="*/ 2147483647 w 462"/>
                <a:gd name="T41" fmla="*/ 2147483647 h 210"/>
                <a:gd name="T42" fmla="*/ 2147483647 w 462"/>
                <a:gd name="T43" fmla="*/ 2147483647 h 210"/>
                <a:gd name="T44" fmla="*/ 2147483647 w 462"/>
                <a:gd name="T45" fmla="*/ 2147483647 h 210"/>
                <a:gd name="T46" fmla="*/ 2147483647 w 462"/>
                <a:gd name="T47" fmla="*/ 2147483647 h 210"/>
                <a:gd name="T48" fmla="*/ 2147483647 w 462"/>
                <a:gd name="T49" fmla="*/ 2147483647 h 210"/>
                <a:gd name="T50" fmla="*/ 2147483647 w 462"/>
                <a:gd name="T51" fmla="*/ 2147483647 h 210"/>
                <a:gd name="T52" fmla="*/ 2147483647 w 462"/>
                <a:gd name="T53" fmla="*/ 2147483647 h 210"/>
                <a:gd name="T54" fmla="*/ 2147483647 w 462"/>
                <a:gd name="T55" fmla="*/ 2147483647 h 210"/>
                <a:gd name="T56" fmla="*/ 2147483647 w 462"/>
                <a:gd name="T57" fmla="*/ 2147483647 h 210"/>
                <a:gd name="T58" fmla="*/ 2147483647 w 462"/>
                <a:gd name="T59" fmla="*/ 2147483647 h 210"/>
                <a:gd name="T60" fmla="*/ 2147483647 w 462"/>
                <a:gd name="T61" fmla="*/ 2147483647 h 210"/>
                <a:gd name="T62" fmla="*/ 2147483647 w 462"/>
                <a:gd name="T63" fmla="*/ 2147483647 h 210"/>
                <a:gd name="T64" fmla="*/ 2147483647 w 462"/>
                <a:gd name="T65" fmla="*/ 2147483647 h 210"/>
                <a:gd name="T66" fmla="*/ 2147483647 w 462"/>
                <a:gd name="T67" fmla="*/ 2147483647 h 210"/>
                <a:gd name="T68" fmla="*/ 2147483647 w 462"/>
                <a:gd name="T69" fmla="*/ 2147483647 h 210"/>
                <a:gd name="T70" fmla="*/ 2147483647 w 462"/>
                <a:gd name="T71" fmla="*/ 2147483647 h 210"/>
                <a:gd name="T72" fmla="*/ 2147483647 w 462"/>
                <a:gd name="T73" fmla="*/ 2147483647 h 210"/>
                <a:gd name="T74" fmla="*/ 2147483647 w 462"/>
                <a:gd name="T75" fmla="*/ 2147483647 h 210"/>
                <a:gd name="T76" fmla="*/ 2147483647 w 462"/>
                <a:gd name="T77" fmla="*/ 2147483647 h 210"/>
                <a:gd name="T78" fmla="*/ 2147483647 w 462"/>
                <a:gd name="T79" fmla="*/ 2147483647 h 210"/>
                <a:gd name="T80" fmla="*/ 2147483647 w 462"/>
                <a:gd name="T81" fmla="*/ 0 h 210"/>
                <a:gd name="T82" fmla="*/ 0 w 462"/>
                <a:gd name="T83" fmla="*/ 2147483647 h 2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62"/>
                <a:gd name="T127" fmla="*/ 0 h 210"/>
                <a:gd name="T128" fmla="*/ 462 w 462"/>
                <a:gd name="T129" fmla="*/ 210 h 21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62" h="210">
                  <a:moveTo>
                    <a:pt x="6" y="18"/>
                  </a:moveTo>
                  <a:lnTo>
                    <a:pt x="12" y="18"/>
                  </a:lnTo>
                  <a:lnTo>
                    <a:pt x="18" y="24"/>
                  </a:lnTo>
                  <a:lnTo>
                    <a:pt x="30" y="30"/>
                  </a:lnTo>
                  <a:lnTo>
                    <a:pt x="42" y="42"/>
                  </a:lnTo>
                  <a:lnTo>
                    <a:pt x="60" y="48"/>
                  </a:lnTo>
                  <a:lnTo>
                    <a:pt x="72" y="54"/>
                  </a:lnTo>
                  <a:lnTo>
                    <a:pt x="78" y="54"/>
                  </a:lnTo>
                  <a:lnTo>
                    <a:pt x="84" y="60"/>
                  </a:lnTo>
                  <a:lnTo>
                    <a:pt x="96" y="66"/>
                  </a:lnTo>
                  <a:lnTo>
                    <a:pt x="102" y="78"/>
                  </a:lnTo>
                  <a:lnTo>
                    <a:pt x="114" y="84"/>
                  </a:lnTo>
                  <a:lnTo>
                    <a:pt x="114" y="96"/>
                  </a:lnTo>
                  <a:lnTo>
                    <a:pt x="120" y="114"/>
                  </a:lnTo>
                  <a:lnTo>
                    <a:pt x="120" y="132"/>
                  </a:lnTo>
                  <a:lnTo>
                    <a:pt x="126" y="138"/>
                  </a:lnTo>
                  <a:lnTo>
                    <a:pt x="132" y="150"/>
                  </a:lnTo>
                  <a:lnTo>
                    <a:pt x="138" y="156"/>
                  </a:lnTo>
                  <a:lnTo>
                    <a:pt x="138" y="162"/>
                  </a:lnTo>
                  <a:lnTo>
                    <a:pt x="132" y="168"/>
                  </a:lnTo>
                  <a:lnTo>
                    <a:pt x="168" y="174"/>
                  </a:lnTo>
                  <a:lnTo>
                    <a:pt x="174" y="168"/>
                  </a:lnTo>
                  <a:lnTo>
                    <a:pt x="186" y="162"/>
                  </a:lnTo>
                  <a:lnTo>
                    <a:pt x="198" y="162"/>
                  </a:lnTo>
                  <a:lnTo>
                    <a:pt x="210" y="168"/>
                  </a:lnTo>
                  <a:lnTo>
                    <a:pt x="216" y="174"/>
                  </a:lnTo>
                  <a:lnTo>
                    <a:pt x="222" y="186"/>
                  </a:lnTo>
                  <a:lnTo>
                    <a:pt x="222" y="192"/>
                  </a:lnTo>
                  <a:lnTo>
                    <a:pt x="246" y="192"/>
                  </a:lnTo>
                  <a:lnTo>
                    <a:pt x="246" y="198"/>
                  </a:lnTo>
                  <a:lnTo>
                    <a:pt x="252" y="204"/>
                  </a:lnTo>
                  <a:lnTo>
                    <a:pt x="276" y="198"/>
                  </a:lnTo>
                  <a:lnTo>
                    <a:pt x="282" y="192"/>
                  </a:lnTo>
                  <a:lnTo>
                    <a:pt x="336" y="198"/>
                  </a:lnTo>
                  <a:lnTo>
                    <a:pt x="336" y="180"/>
                  </a:lnTo>
                  <a:lnTo>
                    <a:pt x="342" y="180"/>
                  </a:lnTo>
                  <a:lnTo>
                    <a:pt x="348" y="186"/>
                  </a:lnTo>
                  <a:lnTo>
                    <a:pt x="354" y="186"/>
                  </a:lnTo>
                  <a:lnTo>
                    <a:pt x="354" y="180"/>
                  </a:lnTo>
                  <a:lnTo>
                    <a:pt x="366" y="168"/>
                  </a:lnTo>
                  <a:lnTo>
                    <a:pt x="390" y="168"/>
                  </a:lnTo>
                  <a:lnTo>
                    <a:pt x="396" y="174"/>
                  </a:lnTo>
                  <a:lnTo>
                    <a:pt x="396" y="180"/>
                  </a:lnTo>
                  <a:lnTo>
                    <a:pt x="414" y="198"/>
                  </a:lnTo>
                  <a:lnTo>
                    <a:pt x="426" y="192"/>
                  </a:lnTo>
                  <a:lnTo>
                    <a:pt x="438" y="192"/>
                  </a:lnTo>
                  <a:lnTo>
                    <a:pt x="456" y="210"/>
                  </a:lnTo>
                  <a:lnTo>
                    <a:pt x="462" y="204"/>
                  </a:lnTo>
                  <a:lnTo>
                    <a:pt x="456" y="192"/>
                  </a:lnTo>
                  <a:lnTo>
                    <a:pt x="450" y="186"/>
                  </a:lnTo>
                  <a:lnTo>
                    <a:pt x="444" y="174"/>
                  </a:lnTo>
                  <a:lnTo>
                    <a:pt x="438" y="168"/>
                  </a:lnTo>
                  <a:lnTo>
                    <a:pt x="432" y="168"/>
                  </a:lnTo>
                  <a:lnTo>
                    <a:pt x="414" y="150"/>
                  </a:lnTo>
                  <a:lnTo>
                    <a:pt x="420" y="144"/>
                  </a:lnTo>
                  <a:lnTo>
                    <a:pt x="432" y="144"/>
                  </a:lnTo>
                  <a:lnTo>
                    <a:pt x="420" y="132"/>
                  </a:lnTo>
                  <a:lnTo>
                    <a:pt x="408" y="126"/>
                  </a:lnTo>
                  <a:lnTo>
                    <a:pt x="396" y="114"/>
                  </a:lnTo>
                  <a:lnTo>
                    <a:pt x="378" y="114"/>
                  </a:lnTo>
                  <a:lnTo>
                    <a:pt x="378" y="108"/>
                  </a:lnTo>
                  <a:lnTo>
                    <a:pt x="384" y="102"/>
                  </a:lnTo>
                  <a:lnTo>
                    <a:pt x="384" y="90"/>
                  </a:lnTo>
                  <a:lnTo>
                    <a:pt x="354" y="84"/>
                  </a:lnTo>
                  <a:lnTo>
                    <a:pt x="342" y="72"/>
                  </a:lnTo>
                  <a:lnTo>
                    <a:pt x="330" y="66"/>
                  </a:lnTo>
                  <a:lnTo>
                    <a:pt x="300" y="66"/>
                  </a:lnTo>
                  <a:lnTo>
                    <a:pt x="300" y="72"/>
                  </a:lnTo>
                  <a:lnTo>
                    <a:pt x="288" y="72"/>
                  </a:lnTo>
                  <a:lnTo>
                    <a:pt x="282" y="78"/>
                  </a:lnTo>
                  <a:lnTo>
                    <a:pt x="258" y="78"/>
                  </a:lnTo>
                  <a:lnTo>
                    <a:pt x="246" y="72"/>
                  </a:lnTo>
                  <a:lnTo>
                    <a:pt x="240" y="72"/>
                  </a:lnTo>
                  <a:lnTo>
                    <a:pt x="240" y="66"/>
                  </a:lnTo>
                  <a:lnTo>
                    <a:pt x="192" y="36"/>
                  </a:lnTo>
                  <a:lnTo>
                    <a:pt x="186" y="36"/>
                  </a:lnTo>
                  <a:lnTo>
                    <a:pt x="180" y="30"/>
                  </a:lnTo>
                  <a:lnTo>
                    <a:pt x="144" y="30"/>
                  </a:lnTo>
                  <a:lnTo>
                    <a:pt x="84" y="18"/>
                  </a:lnTo>
                  <a:lnTo>
                    <a:pt x="66" y="12"/>
                  </a:lnTo>
                  <a:lnTo>
                    <a:pt x="54" y="6"/>
                  </a:lnTo>
                  <a:lnTo>
                    <a:pt x="36" y="0"/>
                  </a:lnTo>
                  <a:lnTo>
                    <a:pt x="24" y="0"/>
                  </a:lnTo>
                  <a:lnTo>
                    <a:pt x="0" y="18"/>
                  </a:lnTo>
                  <a:lnTo>
                    <a:pt x="6" y="18"/>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62" name="Gambia" descr="© INSCALE GmbH, 05.05.2010&#10;http://www.presentationload.com/">
              <a:extLst>
                <a:ext uri="{FF2B5EF4-FFF2-40B4-BE49-F238E27FC236}">
                  <a16:creationId xmlns:a16="http://schemas.microsoft.com/office/drawing/2014/main" id="{87A08947-44F7-45A5-8C27-63AFB51C73D5}"/>
                </a:ext>
              </a:extLst>
            </p:cNvPr>
            <p:cNvSpPr>
              <a:spLocks/>
            </p:cNvSpPr>
            <p:nvPr/>
          </p:nvSpPr>
          <p:spPr bwMode="gray">
            <a:xfrm>
              <a:off x="3658952" y="3810447"/>
              <a:ext cx="84673" cy="20385"/>
            </a:xfrm>
            <a:custGeom>
              <a:avLst/>
              <a:gdLst>
                <a:gd name="T0" fmla="*/ 2147483647 w 216"/>
                <a:gd name="T1" fmla="*/ 2147483647 h 54"/>
                <a:gd name="T2" fmla="*/ 2147483647 w 216"/>
                <a:gd name="T3" fmla="*/ 2147483647 h 54"/>
                <a:gd name="T4" fmla="*/ 2147483647 w 216"/>
                <a:gd name="T5" fmla="*/ 2147483647 h 54"/>
                <a:gd name="T6" fmla="*/ 2147483647 w 216"/>
                <a:gd name="T7" fmla="*/ 2147483647 h 54"/>
                <a:gd name="T8" fmla="*/ 0 w 216"/>
                <a:gd name="T9" fmla="*/ 2147483647 h 54"/>
                <a:gd name="T10" fmla="*/ 0 w 216"/>
                <a:gd name="T11" fmla="*/ 2147483647 h 54"/>
                <a:gd name="T12" fmla="*/ 2147483647 w 216"/>
                <a:gd name="T13" fmla="*/ 2147483647 h 54"/>
                <a:gd name="T14" fmla="*/ 2147483647 w 216"/>
                <a:gd name="T15" fmla="*/ 2147483647 h 54"/>
                <a:gd name="T16" fmla="*/ 2147483647 w 216"/>
                <a:gd name="T17" fmla="*/ 2147483647 h 54"/>
                <a:gd name="T18" fmla="*/ 2147483647 w 216"/>
                <a:gd name="T19" fmla="*/ 2147483647 h 54"/>
                <a:gd name="T20" fmla="*/ 2147483647 w 216"/>
                <a:gd name="T21" fmla="*/ 2147483647 h 54"/>
                <a:gd name="T22" fmla="*/ 2147483647 w 216"/>
                <a:gd name="T23" fmla="*/ 2147483647 h 54"/>
                <a:gd name="T24" fmla="*/ 2147483647 w 216"/>
                <a:gd name="T25" fmla="*/ 2147483647 h 54"/>
                <a:gd name="T26" fmla="*/ 2147483647 w 216"/>
                <a:gd name="T27" fmla="*/ 2147483647 h 54"/>
                <a:gd name="T28" fmla="*/ 2147483647 w 216"/>
                <a:gd name="T29" fmla="*/ 2147483647 h 54"/>
                <a:gd name="T30" fmla="*/ 2147483647 w 216"/>
                <a:gd name="T31" fmla="*/ 2147483647 h 54"/>
                <a:gd name="T32" fmla="*/ 2147483647 w 216"/>
                <a:gd name="T33" fmla="*/ 2147483647 h 54"/>
                <a:gd name="T34" fmla="*/ 2147483647 w 216"/>
                <a:gd name="T35" fmla="*/ 2147483647 h 54"/>
                <a:gd name="T36" fmla="*/ 2147483647 w 216"/>
                <a:gd name="T37" fmla="*/ 2147483647 h 54"/>
                <a:gd name="T38" fmla="*/ 2147483647 w 216"/>
                <a:gd name="T39" fmla="*/ 2147483647 h 54"/>
                <a:gd name="T40" fmla="*/ 2147483647 w 216"/>
                <a:gd name="T41" fmla="*/ 2147483647 h 54"/>
                <a:gd name="T42" fmla="*/ 2147483647 w 216"/>
                <a:gd name="T43" fmla="*/ 2147483647 h 54"/>
                <a:gd name="T44" fmla="*/ 2147483647 w 216"/>
                <a:gd name="T45" fmla="*/ 2147483647 h 54"/>
                <a:gd name="T46" fmla="*/ 2147483647 w 216"/>
                <a:gd name="T47" fmla="*/ 2147483647 h 54"/>
                <a:gd name="T48" fmla="*/ 2147483647 w 216"/>
                <a:gd name="T49" fmla="*/ 2147483647 h 54"/>
                <a:gd name="T50" fmla="*/ 2147483647 w 216"/>
                <a:gd name="T51" fmla="*/ 2147483647 h 54"/>
                <a:gd name="T52" fmla="*/ 2147483647 w 216"/>
                <a:gd name="T53" fmla="*/ 2147483647 h 54"/>
                <a:gd name="T54" fmla="*/ 2147483647 w 216"/>
                <a:gd name="T55" fmla="*/ 2147483647 h 54"/>
                <a:gd name="T56" fmla="*/ 2147483647 w 216"/>
                <a:gd name="T57" fmla="*/ 2147483647 h 54"/>
                <a:gd name="T58" fmla="*/ 2147483647 w 216"/>
                <a:gd name="T59" fmla="*/ 0 h 54"/>
                <a:gd name="T60" fmla="*/ 2147483647 w 216"/>
                <a:gd name="T61" fmla="*/ 0 h 54"/>
                <a:gd name="T62" fmla="*/ 2147483647 w 216"/>
                <a:gd name="T63" fmla="*/ 2147483647 h 54"/>
                <a:gd name="T64" fmla="*/ 2147483647 w 216"/>
                <a:gd name="T65" fmla="*/ 2147483647 h 54"/>
                <a:gd name="T66" fmla="*/ 2147483647 w 216"/>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54"/>
                <a:gd name="T104" fmla="*/ 216 w 216"/>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54">
                  <a:moveTo>
                    <a:pt x="18" y="18"/>
                  </a:moveTo>
                  <a:lnTo>
                    <a:pt x="12" y="24"/>
                  </a:lnTo>
                  <a:lnTo>
                    <a:pt x="6" y="36"/>
                  </a:lnTo>
                  <a:lnTo>
                    <a:pt x="6" y="42"/>
                  </a:lnTo>
                  <a:lnTo>
                    <a:pt x="0" y="48"/>
                  </a:lnTo>
                  <a:lnTo>
                    <a:pt x="0" y="54"/>
                  </a:lnTo>
                  <a:lnTo>
                    <a:pt x="72" y="54"/>
                  </a:lnTo>
                  <a:lnTo>
                    <a:pt x="72" y="42"/>
                  </a:lnTo>
                  <a:lnTo>
                    <a:pt x="84" y="42"/>
                  </a:lnTo>
                  <a:lnTo>
                    <a:pt x="90" y="36"/>
                  </a:lnTo>
                  <a:lnTo>
                    <a:pt x="114" y="36"/>
                  </a:lnTo>
                  <a:lnTo>
                    <a:pt x="120" y="24"/>
                  </a:lnTo>
                  <a:lnTo>
                    <a:pt x="126" y="18"/>
                  </a:lnTo>
                  <a:lnTo>
                    <a:pt x="132" y="24"/>
                  </a:lnTo>
                  <a:lnTo>
                    <a:pt x="144" y="30"/>
                  </a:lnTo>
                  <a:lnTo>
                    <a:pt x="150" y="42"/>
                  </a:lnTo>
                  <a:lnTo>
                    <a:pt x="168" y="48"/>
                  </a:lnTo>
                  <a:lnTo>
                    <a:pt x="192" y="48"/>
                  </a:lnTo>
                  <a:lnTo>
                    <a:pt x="198" y="42"/>
                  </a:lnTo>
                  <a:lnTo>
                    <a:pt x="210" y="36"/>
                  </a:lnTo>
                  <a:lnTo>
                    <a:pt x="216" y="30"/>
                  </a:lnTo>
                  <a:lnTo>
                    <a:pt x="216" y="24"/>
                  </a:lnTo>
                  <a:lnTo>
                    <a:pt x="210" y="18"/>
                  </a:lnTo>
                  <a:lnTo>
                    <a:pt x="186" y="18"/>
                  </a:lnTo>
                  <a:lnTo>
                    <a:pt x="180" y="24"/>
                  </a:lnTo>
                  <a:lnTo>
                    <a:pt x="168" y="24"/>
                  </a:lnTo>
                  <a:lnTo>
                    <a:pt x="162" y="12"/>
                  </a:lnTo>
                  <a:lnTo>
                    <a:pt x="156" y="6"/>
                  </a:lnTo>
                  <a:lnTo>
                    <a:pt x="144" y="12"/>
                  </a:lnTo>
                  <a:lnTo>
                    <a:pt x="144" y="0"/>
                  </a:lnTo>
                  <a:lnTo>
                    <a:pt x="90" y="0"/>
                  </a:lnTo>
                  <a:lnTo>
                    <a:pt x="90" y="12"/>
                  </a:lnTo>
                  <a:lnTo>
                    <a:pt x="18" y="12"/>
                  </a:lnTo>
                  <a:lnTo>
                    <a:pt x="18" y="18"/>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63" name="Gabon" descr="© INSCALE GmbH, 05.05.2010&#10;http://www.presentationload.com/">
              <a:extLst>
                <a:ext uri="{FF2B5EF4-FFF2-40B4-BE49-F238E27FC236}">
                  <a16:creationId xmlns:a16="http://schemas.microsoft.com/office/drawing/2014/main" id="{0BC33E12-1612-411A-BC15-2255E6010B03}"/>
                </a:ext>
              </a:extLst>
            </p:cNvPr>
            <p:cNvSpPr>
              <a:spLocks/>
            </p:cNvSpPr>
            <p:nvPr/>
          </p:nvSpPr>
          <p:spPr bwMode="gray">
            <a:xfrm>
              <a:off x="4373971" y="4174228"/>
              <a:ext cx="166210" cy="203843"/>
            </a:xfrm>
            <a:custGeom>
              <a:avLst/>
              <a:gdLst>
                <a:gd name="T0" fmla="*/ 2147483647 w 420"/>
                <a:gd name="T1" fmla="*/ 2147483647 h 510"/>
                <a:gd name="T2" fmla="*/ 2147483647 w 420"/>
                <a:gd name="T3" fmla="*/ 2147483647 h 510"/>
                <a:gd name="T4" fmla="*/ 2147483647 w 420"/>
                <a:gd name="T5" fmla="*/ 2147483647 h 510"/>
                <a:gd name="T6" fmla="*/ 2147483647 w 420"/>
                <a:gd name="T7" fmla="*/ 2147483647 h 510"/>
                <a:gd name="T8" fmla="*/ 2147483647 w 420"/>
                <a:gd name="T9" fmla="*/ 2147483647 h 510"/>
                <a:gd name="T10" fmla="*/ 2147483647 w 420"/>
                <a:gd name="T11" fmla="*/ 2147483647 h 510"/>
                <a:gd name="T12" fmla="*/ 2147483647 w 420"/>
                <a:gd name="T13" fmla="*/ 2147483647 h 510"/>
                <a:gd name="T14" fmla="*/ 2147483647 w 420"/>
                <a:gd name="T15" fmla="*/ 2147483647 h 510"/>
                <a:gd name="T16" fmla="*/ 2147483647 w 420"/>
                <a:gd name="T17" fmla="*/ 2147483647 h 510"/>
                <a:gd name="T18" fmla="*/ 2147483647 w 420"/>
                <a:gd name="T19" fmla="*/ 2147483647 h 510"/>
                <a:gd name="T20" fmla="*/ 2147483647 w 420"/>
                <a:gd name="T21" fmla="*/ 2147483647 h 510"/>
                <a:gd name="T22" fmla="*/ 2147483647 w 420"/>
                <a:gd name="T23" fmla="*/ 2147483647 h 510"/>
                <a:gd name="T24" fmla="*/ 2147483647 w 420"/>
                <a:gd name="T25" fmla="*/ 2147483647 h 510"/>
                <a:gd name="T26" fmla="*/ 2147483647 w 420"/>
                <a:gd name="T27" fmla="*/ 2147483647 h 510"/>
                <a:gd name="T28" fmla="*/ 2147483647 w 420"/>
                <a:gd name="T29" fmla="*/ 2147483647 h 510"/>
                <a:gd name="T30" fmla="*/ 2147483647 w 420"/>
                <a:gd name="T31" fmla="*/ 2147483647 h 510"/>
                <a:gd name="T32" fmla="*/ 2147483647 w 420"/>
                <a:gd name="T33" fmla="*/ 2147483647 h 510"/>
                <a:gd name="T34" fmla="*/ 2147483647 w 420"/>
                <a:gd name="T35" fmla="*/ 2147483647 h 510"/>
                <a:gd name="T36" fmla="*/ 2147483647 w 420"/>
                <a:gd name="T37" fmla="*/ 2147483647 h 510"/>
                <a:gd name="T38" fmla="*/ 2147483647 w 420"/>
                <a:gd name="T39" fmla="*/ 2147483647 h 510"/>
                <a:gd name="T40" fmla="*/ 2147483647 w 420"/>
                <a:gd name="T41" fmla="*/ 2147483647 h 510"/>
                <a:gd name="T42" fmla="*/ 2147483647 w 420"/>
                <a:gd name="T43" fmla="*/ 2147483647 h 510"/>
                <a:gd name="T44" fmla="*/ 2147483647 w 420"/>
                <a:gd name="T45" fmla="*/ 2147483647 h 510"/>
                <a:gd name="T46" fmla="*/ 2147483647 w 420"/>
                <a:gd name="T47" fmla="*/ 2147483647 h 510"/>
                <a:gd name="T48" fmla="*/ 2147483647 w 420"/>
                <a:gd name="T49" fmla="*/ 2147483647 h 510"/>
                <a:gd name="T50" fmla="*/ 2147483647 w 420"/>
                <a:gd name="T51" fmla="*/ 2147483647 h 510"/>
                <a:gd name="T52" fmla="*/ 2147483647 w 420"/>
                <a:gd name="T53" fmla="*/ 2147483647 h 510"/>
                <a:gd name="T54" fmla="*/ 2147483647 w 420"/>
                <a:gd name="T55" fmla="*/ 2147483647 h 510"/>
                <a:gd name="T56" fmla="*/ 2147483647 w 420"/>
                <a:gd name="T57" fmla="*/ 2147483647 h 510"/>
                <a:gd name="T58" fmla="*/ 2147483647 w 420"/>
                <a:gd name="T59" fmla="*/ 2147483647 h 510"/>
                <a:gd name="T60" fmla="*/ 2147483647 w 420"/>
                <a:gd name="T61" fmla="*/ 2147483647 h 510"/>
                <a:gd name="T62" fmla="*/ 2147483647 w 420"/>
                <a:gd name="T63" fmla="*/ 2147483647 h 510"/>
                <a:gd name="T64" fmla="*/ 2147483647 w 420"/>
                <a:gd name="T65" fmla="*/ 2147483647 h 510"/>
                <a:gd name="T66" fmla="*/ 2147483647 w 420"/>
                <a:gd name="T67" fmla="*/ 2147483647 h 510"/>
                <a:gd name="T68" fmla="*/ 2147483647 w 420"/>
                <a:gd name="T69" fmla="*/ 2147483647 h 510"/>
                <a:gd name="T70" fmla="*/ 2147483647 w 420"/>
                <a:gd name="T71" fmla="*/ 2147483647 h 510"/>
                <a:gd name="T72" fmla="*/ 2147483647 w 420"/>
                <a:gd name="T73" fmla="*/ 2147483647 h 510"/>
                <a:gd name="T74" fmla="*/ 2147483647 w 420"/>
                <a:gd name="T75" fmla="*/ 2147483647 h 510"/>
                <a:gd name="T76" fmla="*/ 2147483647 w 420"/>
                <a:gd name="T77" fmla="*/ 2147483647 h 510"/>
                <a:gd name="T78" fmla="*/ 2147483647 w 420"/>
                <a:gd name="T79" fmla="*/ 2147483647 h 510"/>
                <a:gd name="T80" fmla="*/ 2147483647 w 420"/>
                <a:gd name="T81" fmla="*/ 2147483647 h 510"/>
                <a:gd name="T82" fmla="*/ 2147483647 w 420"/>
                <a:gd name="T83" fmla="*/ 2147483647 h 510"/>
                <a:gd name="T84" fmla="*/ 2147483647 w 420"/>
                <a:gd name="T85" fmla="*/ 2147483647 h 510"/>
                <a:gd name="T86" fmla="*/ 2147483647 w 420"/>
                <a:gd name="T87" fmla="*/ 2147483647 h 510"/>
                <a:gd name="T88" fmla="*/ 2147483647 w 420"/>
                <a:gd name="T89" fmla="*/ 2147483647 h 510"/>
                <a:gd name="T90" fmla="*/ 2147483647 w 420"/>
                <a:gd name="T91" fmla="*/ 2147483647 h 510"/>
                <a:gd name="T92" fmla="*/ 2147483647 w 420"/>
                <a:gd name="T93" fmla="*/ 2147483647 h 510"/>
                <a:gd name="T94" fmla="*/ 2147483647 w 420"/>
                <a:gd name="T95" fmla="*/ 2147483647 h 510"/>
                <a:gd name="T96" fmla="*/ 2147483647 w 420"/>
                <a:gd name="T97" fmla="*/ 2147483647 h 510"/>
                <a:gd name="T98" fmla="*/ 2147483647 w 420"/>
                <a:gd name="T99" fmla="*/ 2147483647 h 510"/>
                <a:gd name="T100" fmla="*/ 2147483647 w 420"/>
                <a:gd name="T101" fmla="*/ 2147483647 h 510"/>
                <a:gd name="T102" fmla="*/ 2147483647 w 420"/>
                <a:gd name="T103" fmla="*/ 2147483647 h 510"/>
                <a:gd name="T104" fmla="*/ 2147483647 w 420"/>
                <a:gd name="T105" fmla="*/ 2147483647 h 510"/>
                <a:gd name="T106" fmla="*/ 2147483647 w 420"/>
                <a:gd name="T107" fmla="*/ 2147483647 h 510"/>
                <a:gd name="T108" fmla="*/ 2147483647 w 420"/>
                <a:gd name="T109" fmla="*/ 2147483647 h 510"/>
                <a:gd name="T110" fmla="*/ 2147483647 w 420"/>
                <a:gd name="T111" fmla="*/ 2147483647 h 51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510"/>
                <a:gd name="T170" fmla="*/ 420 w 420"/>
                <a:gd name="T171" fmla="*/ 510 h 51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510">
                  <a:moveTo>
                    <a:pt x="420" y="240"/>
                  </a:moveTo>
                  <a:lnTo>
                    <a:pt x="414" y="234"/>
                  </a:lnTo>
                  <a:lnTo>
                    <a:pt x="396" y="234"/>
                  </a:lnTo>
                  <a:lnTo>
                    <a:pt x="390" y="216"/>
                  </a:lnTo>
                  <a:lnTo>
                    <a:pt x="372" y="210"/>
                  </a:lnTo>
                  <a:lnTo>
                    <a:pt x="372" y="174"/>
                  </a:lnTo>
                  <a:lnTo>
                    <a:pt x="384" y="150"/>
                  </a:lnTo>
                  <a:lnTo>
                    <a:pt x="396" y="150"/>
                  </a:lnTo>
                  <a:lnTo>
                    <a:pt x="402" y="144"/>
                  </a:lnTo>
                  <a:lnTo>
                    <a:pt x="408" y="132"/>
                  </a:lnTo>
                  <a:lnTo>
                    <a:pt x="414" y="126"/>
                  </a:lnTo>
                  <a:lnTo>
                    <a:pt x="414" y="114"/>
                  </a:lnTo>
                  <a:lnTo>
                    <a:pt x="402" y="108"/>
                  </a:lnTo>
                  <a:lnTo>
                    <a:pt x="402" y="90"/>
                  </a:lnTo>
                  <a:lnTo>
                    <a:pt x="396" y="84"/>
                  </a:lnTo>
                  <a:lnTo>
                    <a:pt x="396" y="78"/>
                  </a:lnTo>
                  <a:lnTo>
                    <a:pt x="384" y="78"/>
                  </a:lnTo>
                  <a:lnTo>
                    <a:pt x="378" y="72"/>
                  </a:lnTo>
                  <a:lnTo>
                    <a:pt x="360" y="72"/>
                  </a:lnTo>
                  <a:lnTo>
                    <a:pt x="360" y="90"/>
                  </a:lnTo>
                  <a:lnTo>
                    <a:pt x="354" y="96"/>
                  </a:lnTo>
                  <a:lnTo>
                    <a:pt x="330" y="96"/>
                  </a:lnTo>
                  <a:lnTo>
                    <a:pt x="324" y="90"/>
                  </a:lnTo>
                  <a:lnTo>
                    <a:pt x="318" y="54"/>
                  </a:lnTo>
                  <a:lnTo>
                    <a:pt x="336" y="24"/>
                  </a:lnTo>
                  <a:lnTo>
                    <a:pt x="336" y="6"/>
                  </a:lnTo>
                  <a:lnTo>
                    <a:pt x="288" y="12"/>
                  </a:lnTo>
                  <a:lnTo>
                    <a:pt x="282" y="12"/>
                  </a:lnTo>
                  <a:lnTo>
                    <a:pt x="270" y="6"/>
                  </a:lnTo>
                  <a:lnTo>
                    <a:pt x="264" y="6"/>
                  </a:lnTo>
                  <a:lnTo>
                    <a:pt x="252" y="18"/>
                  </a:lnTo>
                  <a:lnTo>
                    <a:pt x="222" y="18"/>
                  </a:lnTo>
                  <a:lnTo>
                    <a:pt x="210" y="0"/>
                  </a:lnTo>
                  <a:lnTo>
                    <a:pt x="192" y="18"/>
                  </a:lnTo>
                  <a:lnTo>
                    <a:pt x="186" y="54"/>
                  </a:lnTo>
                  <a:lnTo>
                    <a:pt x="192" y="60"/>
                  </a:lnTo>
                  <a:lnTo>
                    <a:pt x="192" y="90"/>
                  </a:lnTo>
                  <a:lnTo>
                    <a:pt x="186" y="108"/>
                  </a:lnTo>
                  <a:lnTo>
                    <a:pt x="186" y="114"/>
                  </a:lnTo>
                  <a:lnTo>
                    <a:pt x="84" y="114"/>
                  </a:lnTo>
                  <a:lnTo>
                    <a:pt x="84" y="108"/>
                  </a:lnTo>
                  <a:lnTo>
                    <a:pt x="72" y="108"/>
                  </a:lnTo>
                  <a:lnTo>
                    <a:pt x="60" y="120"/>
                  </a:lnTo>
                  <a:lnTo>
                    <a:pt x="60" y="126"/>
                  </a:lnTo>
                  <a:lnTo>
                    <a:pt x="66" y="132"/>
                  </a:lnTo>
                  <a:lnTo>
                    <a:pt x="66" y="144"/>
                  </a:lnTo>
                  <a:lnTo>
                    <a:pt x="72" y="150"/>
                  </a:lnTo>
                  <a:lnTo>
                    <a:pt x="72" y="162"/>
                  </a:lnTo>
                  <a:lnTo>
                    <a:pt x="48" y="162"/>
                  </a:lnTo>
                  <a:lnTo>
                    <a:pt x="48" y="210"/>
                  </a:lnTo>
                  <a:lnTo>
                    <a:pt x="42" y="228"/>
                  </a:lnTo>
                  <a:lnTo>
                    <a:pt x="36" y="240"/>
                  </a:lnTo>
                  <a:lnTo>
                    <a:pt x="30" y="246"/>
                  </a:lnTo>
                  <a:lnTo>
                    <a:pt x="18" y="252"/>
                  </a:lnTo>
                  <a:lnTo>
                    <a:pt x="0" y="252"/>
                  </a:lnTo>
                  <a:lnTo>
                    <a:pt x="30" y="306"/>
                  </a:lnTo>
                  <a:lnTo>
                    <a:pt x="42" y="294"/>
                  </a:lnTo>
                  <a:lnTo>
                    <a:pt x="54" y="312"/>
                  </a:lnTo>
                  <a:lnTo>
                    <a:pt x="48" y="318"/>
                  </a:lnTo>
                  <a:lnTo>
                    <a:pt x="48" y="330"/>
                  </a:lnTo>
                  <a:lnTo>
                    <a:pt x="42" y="336"/>
                  </a:lnTo>
                  <a:lnTo>
                    <a:pt x="42" y="342"/>
                  </a:lnTo>
                  <a:lnTo>
                    <a:pt x="48" y="348"/>
                  </a:lnTo>
                  <a:lnTo>
                    <a:pt x="66" y="348"/>
                  </a:lnTo>
                  <a:lnTo>
                    <a:pt x="72" y="390"/>
                  </a:lnTo>
                  <a:lnTo>
                    <a:pt x="102" y="396"/>
                  </a:lnTo>
                  <a:lnTo>
                    <a:pt x="96" y="408"/>
                  </a:lnTo>
                  <a:lnTo>
                    <a:pt x="144" y="462"/>
                  </a:lnTo>
                  <a:lnTo>
                    <a:pt x="138" y="468"/>
                  </a:lnTo>
                  <a:lnTo>
                    <a:pt x="174" y="510"/>
                  </a:lnTo>
                  <a:lnTo>
                    <a:pt x="180" y="492"/>
                  </a:lnTo>
                  <a:lnTo>
                    <a:pt x="204" y="480"/>
                  </a:lnTo>
                  <a:lnTo>
                    <a:pt x="222" y="498"/>
                  </a:lnTo>
                  <a:lnTo>
                    <a:pt x="228" y="492"/>
                  </a:lnTo>
                  <a:lnTo>
                    <a:pt x="228" y="456"/>
                  </a:lnTo>
                  <a:lnTo>
                    <a:pt x="210" y="444"/>
                  </a:lnTo>
                  <a:lnTo>
                    <a:pt x="228" y="432"/>
                  </a:lnTo>
                  <a:lnTo>
                    <a:pt x="198" y="414"/>
                  </a:lnTo>
                  <a:lnTo>
                    <a:pt x="210" y="414"/>
                  </a:lnTo>
                  <a:lnTo>
                    <a:pt x="210" y="402"/>
                  </a:lnTo>
                  <a:lnTo>
                    <a:pt x="204" y="396"/>
                  </a:lnTo>
                  <a:lnTo>
                    <a:pt x="204" y="378"/>
                  </a:lnTo>
                  <a:lnTo>
                    <a:pt x="210" y="378"/>
                  </a:lnTo>
                  <a:lnTo>
                    <a:pt x="216" y="384"/>
                  </a:lnTo>
                  <a:lnTo>
                    <a:pt x="228" y="384"/>
                  </a:lnTo>
                  <a:lnTo>
                    <a:pt x="240" y="390"/>
                  </a:lnTo>
                  <a:lnTo>
                    <a:pt x="258" y="390"/>
                  </a:lnTo>
                  <a:lnTo>
                    <a:pt x="264" y="384"/>
                  </a:lnTo>
                  <a:lnTo>
                    <a:pt x="270" y="372"/>
                  </a:lnTo>
                  <a:lnTo>
                    <a:pt x="282" y="366"/>
                  </a:lnTo>
                  <a:lnTo>
                    <a:pt x="264" y="348"/>
                  </a:lnTo>
                  <a:lnTo>
                    <a:pt x="264" y="342"/>
                  </a:lnTo>
                  <a:lnTo>
                    <a:pt x="294" y="342"/>
                  </a:lnTo>
                  <a:lnTo>
                    <a:pt x="312" y="384"/>
                  </a:lnTo>
                  <a:lnTo>
                    <a:pt x="342" y="384"/>
                  </a:lnTo>
                  <a:lnTo>
                    <a:pt x="348" y="378"/>
                  </a:lnTo>
                  <a:lnTo>
                    <a:pt x="354" y="366"/>
                  </a:lnTo>
                  <a:lnTo>
                    <a:pt x="360" y="360"/>
                  </a:lnTo>
                  <a:lnTo>
                    <a:pt x="366" y="360"/>
                  </a:lnTo>
                  <a:lnTo>
                    <a:pt x="366" y="390"/>
                  </a:lnTo>
                  <a:lnTo>
                    <a:pt x="372" y="396"/>
                  </a:lnTo>
                  <a:lnTo>
                    <a:pt x="384" y="396"/>
                  </a:lnTo>
                  <a:lnTo>
                    <a:pt x="390" y="390"/>
                  </a:lnTo>
                  <a:lnTo>
                    <a:pt x="396" y="378"/>
                  </a:lnTo>
                  <a:lnTo>
                    <a:pt x="396" y="354"/>
                  </a:lnTo>
                  <a:lnTo>
                    <a:pt x="408" y="348"/>
                  </a:lnTo>
                  <a:lnTo>
                    <a:pt x="414" y="342"/>
                  </a:lnTo>
                  <a:lnTo>
                    <a:pt x="408" y="318"/>
                  </a:lnTo>
                  <a:lnTo>
                    <a:pt x="414" y="306"/>
                  </a:lnTo>
                  <a:lnTo>
                    <a:pt x="414" y="258"/>
                  </a:lnTo>
                  <a:lnTo>
                    <a:pt x="420" y="252"/>
                  </a:lnTo>
                  <a:lnTo>
                    <a:pt x="420" y="24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64" name="Frankreich" descr="© INSCALE GmbH, 05.05.2010&#10;http://www.presentationload.com/">
              <a:extLst>
                <a:ext uri="{FF2B5EF4-FFF2-40B4-BE49-F238E27FC236}">
                  <a16:creationId xmlns:a16="http://schemas.microsoft.com/office/drawing/2014/main" id="{2162A200-35F9-434B-9B7A-500E8EA8E105}"/>
                </a:ext>
              </a:extLst>
            </p:cNvPr>
            <p:cNvSpPr>
              <a:spLocks noEditPoints="1"/>
            </p:cNvSpPr>
            <p:nvPr/>
          </p:nvSpPr>
          <p:spPr bwMode="gray">
            <a:xfrm>
              <a:off x="4038414" y="2618749"/>
              <a:ext cx="362213" cy="312037"/>
            </a:xfrm>
            <a:custGeom>
              <a:avLst/>
              <a:gdLst>
                <a:gd name="T0" fmla="*/ 2147483647 w 230"/>
                <a:gd name="T1" fmla="*/ 2147483647 h 198"/>
                <a:gd name="T2" fmla="*/ 2147483647 w 230"/>
                <a:gd name="T3" fmla="*/ 2147483647 h 198"/>
                <a:gd name="T4" fmla="*/ 2147483647 w 230"/>
                <a:gd name="T5" fmla="*/ 2147483647 h 198"/>
                <a:gd name="T6" fmla="*/ 2147483647 w 230"/>
                <a:gd name="T7" fmla="*/ 2147483647 h 198"/>
                <a:gd name="T8" fmla="*/ 2147483647 w 230"/>
                <a:gd name="T9" fmla="*/ 2147483647 h 198"/>
                <a:gd name="T10" fmla="*/ 2147483647 w 230"/>
                <a:gd name="T11" fmla="*/ 2147483647 h 198"/>
                <a:gd name="T12" fmla="*/ 2147483647 w 230"/>
                <a:gd name="T13" fmla="*/ 2147483647 h 198"/>
                <a:gd name="T14" fmla="*/ 2147483647 w 230"/>
                <a:gd name="T15" fmla="*/ 2147483647 h 198"/>
                <a:gd name="T16" fmla="*/ 2147483647 w 230"/>
                <a:gd name="T17" fmla="*/ 2147483647 h 198"/>
                <a:gd name="T18" fmla="*/ 2147483647 w 230"/>
                <a:gd name="T19" fmla="*/ 2147483647 h 198"/>
                <a:gd name="T20" fmla="*/ 2147483647 w 230"/>
                <a:gd name="T21" fmla="*/ 2147483647 h 198"/>
                <a:gd name="T22" fmla="*/ 2147483647 w 230"/>
                <a:gd name="T23" fmla="*/ 2147483647 h 198"/>
                <a:gd name="T24" fmla="*/ 2147483647 w 230"/>
                <a:gd name="T25" fmla="*/ 2147483647 h 198"/>
                <a:gd name="T26" fmla="*/ 2147483647 w 230"/>
                <a:gd name="T27" fmla="*/ 2147483647 h 198"/>
                <a:gd name="T28" fmla="*/ 2147483647 w 230"/>
                <a:gd name="T29" fmla="*/ 2147483647 h 198"/>
                <a:gd name="T30" fmla="*/ 2147483647 w 230"/>
                <a:gd name="T31" fmla="*/ 2147483647 h 198"/>
                <a:gd name="T32" fmla="*/ 2147483647 w 230"/>
                <a:gd name="T33" fmla="*/ 2147483647 h 198"/>
                <a:gd name="T34" fmla="*/ 2147483647 w 230"/>
                <a:gd name="T35" fmla="*/ 2147483647 h 198"/>
                <a:gd name="T36" fmla="*/ 2147483647 w 230"/>
                <a:gd name="T37" fmla="*/ 2147483647 h 198"/>
                <a:gd name="T38" fmla="*/ 2147483647 w 230"/>
                <a:gd name="T39" fmla="*/ 2147483647 h 198"/>
                <a:gd name="T40" fmla="*/ 2147483647 w 230"/>
                <a:gd name="T41" fmla="*/ 2147483647 h 198"/>
                <a:gd name="T42" fmla="*/ 2147483647 w 230"/>
                <a:gd name="T43" fmla="*/ 2147483647 h 198"/>
                <a:gd name="T44" fmla="*/ 2147483647 w 230"/>
                <a:gd name="T45" fmla="*/ 2147483647 h 198"/>
                <a:gd name="T46" fmla="*/ 2147483647 w 230"/>
                <a:gd name="T47" fmla="*/ 2147483647 h 198"/>
                <a:gd name="T48" fmla="*/ 2147483647 w 230"/>
                <a:gd name="T49" fmla="*/ 2147483647 h 198"/>
                <a:gd name="T50" fmla="*/ 2147483647 w 230"/>
                <a:gd name="T51" fmla="*/ 2147483647 h 198"/>
                <a:gd name="T52" fmla="*/ 2147483647 w 230"/>
                <a:gd name="T53" fmla="*/ 2147483647 h 198"/>
                <a:gd name="T54" fmla="*/ 2147483647 w 230"/>
                <a:gd name="T55" fmla="*/ 2147483647 h 198"/>
                <a:gd name="T56" fmla="*/ 2147483647 w 230"/>
                <a:gd name="T57" fmla="*/ 2147483647 h 198"/>
                <a:gd name="T58" fmla="*/ 2147483647 w 230"/>
                <a:gd name="T59" fmla="*/ 2147483647 h 198"/>
                <a:gd name="T60" fmla="*/ 2147483647 w 230"/>
                <a:gd name="T61" fmla="*/ 2147483647 h 198"/>
                <a:gd name="T62" fmla="*/ 2147483647 w 230"/>
                <a:gd name="T63" fmla="*/ 2147483647 h 198"/>
                <a:gd name="T64" fmla="*/ 2147483647 w 230"/>
                <a:gd name="T65" fmla="*/ 2147483647 h 198"/>
                <a:gd name="T66" fmla="*/ 2147483647 w 230"/>
                <a:gd name="T67" fmla="*/ 2147483647 h 198"/>
                <a:gd name="T68" fmla="*/ 2147483647 w 230"/>
                <a:gd name="T69" fmla="*/ 2147483647 h 198"/>
                <a:gd name="T70" fmla="*/ 2147483647 w 230"/>
                <a:gd name="T71" fmla="*/ 2147483647 h 198"/>
                <a:gd name="T72" fmla="*/ 2147483647 w 230"/>
                <a:gd name="T73" fmla="*/ 2147483647 h 198"/>
                <a:gd name="T74" fmla="*/ 2147483647 w 230"/>
                <a:gd name="T75" fmla="*/ 2147483647 h 198"/>
                <a:gd name="T76" fmla="*/ 2147483647 w 230"/>
                <a:gd name="T77" fmla="*/ 2147483647 h 198"/>
                <a:gd name="T78" fmla="*/ 2147483647 w 230"/>
                <a:gd name="T79" fmla="*/ 2147483647 h 198"/>
                <a:gd name="T80" fmla="*/ 2147483647 w 230"/>
                <a:gd name="T81" fmla="*/ 2147483647 h 198"/>
                <a:gd name="T82" fmla="*/ 2147483647 w 230"/>
                <a:gd name="T83" fmla="*/ 2147483647 h 198"/>
                <a:gd name="T84" fmla="*/ 2147483647 w 230"/>
                <a:gd name="T85" fmla="*/ 2147483647 h 198"/>
                <a:gd name="T86" fmla="*/ 2147483647 w 230"/>
                <a:gd name="T87" fmla="*/ 2147483647 h 198"/>
                <a:gd name="T88" fmla="*/ 2147483647 w 230"/>
                <a:gd name="T89" fmla="*/ 2147483647 h 198"/>
                <a:gd name="T90" fmla="*/ 2147483647 w 230"/>
                <a:gd name="T91" fmla="*/ 2147483647 h 198"/>
                <a:gd name="T92" fmla="*/ 2147483647 w 230"/>
                <a:gd name="T93" fmla="*/ 2147483647 h 198"/>
                <a:gd name="T94" fmla="*/ 2147483647 w 230"/>
                <a:gd name="T95" fmla="*/ 2147483647 h 198"/>
                <a:gd name="T96" fmla="*/ 2147483647 w 230"/>
                <a:gd name="T97" fmla="*/ 2147483647 h 198"/>
                <a:gd name="T98" fmla="*/ 2147483647 w 230"/>
                <a:gd name="T99" fmla="*/ 2147483647 h 198"/>
                <a:gd name="T100" fmla="*/ 2147483647 w 230"/>
                <a:gd name="T101" fmla="*/ 2147483647 h 198"/>
                <a:gd name="T102" fmla="*/ 2147483647 w 230"/>
                <a:gd name="T103" fmla="*/ 2147483647 h 198"/>
                <a:gd name="T104" fmla="*/ 2147483647 w 230"/>
                <a:gd name="T105" fmla="*/ 2147483647 h 198"/>
                <a:gd name="T106" fmla="*/ 2147483647 w 230"/>
                <a:gd name="T107" fmla="*/ 2147483647 h 198"/>
                <a:gd name="T108" fmla="*/ 2147483647 w 230"/>
                <a:gd name="T109" fmla="*/ 2147483647 h 198"/>
                <a:gd name="T110" fmla="*/ 2147483647 w 230"/>
                <a:gd name="T111" fmla="*/ 2147483647 h 198"/>
                <a:gd name="T112" fmla="*/ 2147483647 w 230"/>
                <a:gd name="T113" fmla="*/ 2147483647 h 198"/>
                <a:gd name="T114" fmla="*/ 2147483647 w 230"/>
                <a:gd name="T115" fmla="*/ 2147483647 h 198"/>
                <a:gd name="T116" fmla="*/ 2147483647 w 230"/>
                <a:gd name="T117" fmla="*/ 2147483647 h 198"/>
                <a:gd name="T118" fmla="*/ 2147483647 w 230"/>
                <a:gd name="T119" fmla="*/ 2147483647 h 198"/>
                <a:gd name="T120" fmla="*/ 2147483647 w 230"/>
                <a:gd name="T121" fmla="*/ 2147483647 h 1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198"/>
                <a:gd name="T185" fmla="*/ 230 w 230"/>
                <a:gd name="T186" fmla="*/ 198 h 1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198">
                  <a:moveTo>
                    <a:pt x="230" y="172"/>
                  </a:moveTo>
                  <a:lnTo>
                    <a:pt x="230" y="172"/>
                  </a:lnTo>
                  <a:lnTo>
                    <a:pt x="230" y="166"/>
                  </a:lnTo>
                  <a:lnTo>
                    <a:pt x="228" y="166"/>
                  </a:lnTo>
                  <a:lnTo>
                    <a:pt x="224" y="168"/>
                  </a:lnTo>
                  <a:lnTo>
                    <a:pt x="224" y="170"/>
                  </a:lnTo>
                  <a:lnTo>
                    <a:pt x="220" y="172"/>
                  </a:lnTo>
                  <a:lnTo>
                    <a:pt x="218" y="174"/>
                  </a:lnTo>
                  <a:lnTo>
                    <a:pt x="216" y="178"/>
                  </a:lnTo>
                  <a:lnTo>
                    <a:pt x="216" y="182"/>
                  </a:lnTo>
                  <a:lnTo>
                    <a:pt x="218" y="186"/>
                  </a:lnTo>
                  <a:lnTo>
                    <a:pt x="218" y="190"/>
                  </a:lnTo>
                  <a:lnTo>
                    <a:pt x="218" y="192"/>
                  </a:lnTo>
                  <a:lnTo>
                    <a:pt x="218" y="194"/>
                  </a:lnTo>
                  <a:lnTo>
                    <a:pt x="222" y="196"/>
                  </a:lnTo>
                  <a:lnTo>
                    <a:pt x="224" y="198"/>
                  </a:lnTo>
                  <a:lnTo>
                    <a:pt x="230" y="192"/>
                  </a:lnTo>
                  <a:lnTo>
                    <a:pt x="230" y="186"/>
                  </a:lnTo>
                  <a:lnTo>
                    <a:pt x="228" y="186"/>
                  </a:lnTo>
                  <a:lnTo>
                    <a:pt x="230" y="184"/>
                  </a:lnTo>
                  <a:lnTo>
                    <a:pt x="230" y="172"/>
                  </a:lnTo>
                  <a:close/>
                  <a:moveTo>
                    <a:pt x="198" y="40"/>
                  </a:moveTo>
                  <a:lnTo>
                    <a:pt x="198" y="40"/>
                  </a:lnTo>
                  <a:lnTo>
                    <a:pt x="196" y="40"/>
                  </a:lnTo>
                  <a:lnTo>
                    <a:pt x="192" y="40"/>
                  </a:lnTo>
                  <a:lnTo>
                    <a:pt x="190" y="40"/>
                  </a:lnTo>
                  <a:lnTo>
                    <a:pt x="184" y="40"/>
                  </a:lnTo>
                  <a:lnTo>
                    <a:pt x="184" y="34"/>
                  </a:lnTo>
                  <a:lnTo>
                    <a:pt x="182" y="34"/>
                  </a:lnTo>
                  <a:lnTo>
                    <a:pt x="182" y="32"/>
                  </a:lnTo>
                  <a:lnTo>
                    <a:pt x="178" y="30"/>
                  </a:lnTo>
                  <a:lnTo>
                    <a:pt x="174" y="34"/>
                  </a:lnTo>
                  <a:lnTo>
                    <a:pt x="172" y="32"/>
                  </a:lnTo>
                  <a:lnTo>
                    <a:pt x="166" y="32"/>
                  </a:lnTo>
                  <a:lnTo>
                    <a:pt x="164" y="28"/>
                  </a:lnTo>
                  <a:lnTo>
                    <a:pt x="162" y="28"/>
                  </a:lnTo>
                  <a:lnTo>
                    <a:pt x="158" y="28"/>
                  </a:lnTo>
                  <a:lnTo>
                    <a:pt x="156" y="28"/>
                  </a:lnTo>
                  <a:lnTo>
                    <a:pt x="156" y="22"/>
                  </a:lnTo>
                  <a:lnTo>
                    <a:pt x="152" y="24"/>
                  </a:lnTo>
                  <a:lnTo>
                    <a:pt x="146" y="24"/>
                  </a:lnTo>
                  <a:lnTo>
                    <a:pt x="146" y="18"/>
                  </a:lnTo>
                  <a:lnTo>
                    <a:pt x="144" y="16"/>
                  </a:lnTo>
                  <a:lnTo>
                    <a:pt x="142" y="14"/>
                  </a:lnTo>
                  <a:lnTo>
                    <a:pt x="136" y="14"/>
                  </a:lnTo>
                  <a:lnTo>
                    <a:pt x="132" y="12"/>
                  </a:lnTo>
                  <a:lnTo>
                    <a:pt x="126" y="10"/>
                  </a:lnTo>
                  <a:lnTo>
                    <a:pt x="126" y="6"/>
                  </a:lnTo>
                  <a:lnTo>
                    <a:pt x="126" y="0"/>
                  </a:lnTo>
                  <a:lnTo>
                    <a:pt x="118" y="0"/>
                  </a:lnTo>
                  <a:lnTo>
                    <a:pt x="114" y="2"/>
                  </a:lnTo>
                  <a:lnTo>
                    <a:pt x="112" y="2"/>
                  </a:lnTo>
                  <a:lnTo>
                    <a:pt x="110" y="4"/>
                  </a:lnTo>
                  <a:lnTo>
                    <a:pt x="104" y="4"/>
                  </a:lnTo>
                  <a:lnTo>
                    <a:pt x="104" y="6"/>
                  </a:lnTo>
                  <a:lnTo>
                    <a:pt x="104" y="8"/>
                  </a:lnTo>
                  <a:lnTo>
                    <a:pt x="104" y="12"/>
                  </a:lnTo>
                  <a:lnTo>
                    <a:pt x="106" y="14"/>
                  </a:lnTo>
                  <a:lnTo>
                    <a:pt x="106" y="20"/>
                  </a:lnTo>
                  <a:lnTo>
                    <a:pt x="104" y="22"/>
                  </a:lnTo>
                  <a:lnTo>
                    <a:pt x="98" y="24"/>
                  </a:lnTo>
                  <a:lnTo>
                    <a:pt x="92" y="24"/>
                  </a:lnTo>
                  <a:lnTo>
                    <a:pt x="82" y="32"/>
                  </a:lnTo>
                  <a:lnTo>
                    <a:pt x="86" y="34"/>
                  </a:lnTo>
                  <a:lnTo>
                    <a:pt x="84" y="34"/>
                  </a:lnTo>
                  <a:lnTo>
                    <a:pt x="82" y="34"/>
                  </a:lnTo>
                  <a:lnTo>
                    <a:pt x="76" y="38"/>
                  </a:lnTo>
                  <a:lnTo>
                    <a:pt x="68" y="38"/>
                  </a:lnTo>
                  <a:lnTo>
                    <a:pt x="66" y="36"/>
                  </a:lnTo>
                  <a:lnTo>
                    <a:pt x="60" y="30"/>
                  </a:lnTo>
                  <a:lnTo>
                    <a:pt x="58" y="30"/>
                  </a:lnTo>
                  <a:lnTo>
                    <a:pt x="56" y="28"/>
                  </a:lnTo>
                  <a:lnTo>
                    <a:pt x="52" y="28"/>
                  </a:lnTo>
                  <a:lnTo>
                    <a:pt x="52" y="30"/>
                  </a:lnTo>
                  <a:lnTo>
                    <a:pt x="52" y="34"/>
                  </a:lnTo>
                  <a:lnTo>
                    <a:pt x="54" y="34"/>
                  </a:lnTo>
                  <a:lnTo>
                    <a:pt x="56" y="38"/>
                  </a:lnTo>
                  <a:lnTo>
                    <a:pt x="58" y="40"/>
                  </a:lnTo>
                  <a:lnTo>
                    <a:pt x="58" y="46"/>
                  </a:lnTo>
                  <a:lnTo>
                    <a:pt x="56" y="48"/>
                  </a:lnTo>
                  <a:lnTo>
                    <a:pt x="54" y="48"/>
                  </a:lnTo>
                  <a:lnTo>
                    <a:pt x="48" y="48"/>
                  </a:lnTo>
                  <a:lnTo>
                    <a:pt x="38" y="48"/>
                  </a:lnTo>
                  <a:lnTo>
                    <a:pt x="38" y="54"/>
                  </a:lnTo>
                  <a:lnTo>
                    <a:pt x="36" y="52"/>
                  </a:lnTo>
                  <a:lnTo>
                    <a:pt x="34" y="48"/>
                  </a:lnTo>
                  <a:lnTo>
                    <a:pt x="32" y="48"/>
                  </a:lnTo>
                  <a:lnTo>
                    <a:pt x="30" y="46"/>
                  </a:lnTo>
                  <a:lnTo>
                    <a:pt x="26" y="46"/>
                  </a:lnTo>
                  <a:lnTo>
                    <a:pt x="24" y="48"/>
                  </a:lnTo>
                  <a:lnTo>
                    <a:pt x="22" y="48"/>
                  </a:lnTo>
                  <a:lnTo>
                    <a:pt x="20" y="48"/>
                  </a:lnTo>
                  <a:lnTo>
                    <a:pt x="16" y="48"/>
                  </a:lnTo>
                  <a:lnTo>
                    <a:pt x="12" y="50"/>
                  </a:lnTo>
                  <a:lnTo>
                    <a:pt x="8" y="50"/>
                  </a:lnTo>
                  <a:lnTo>
                    <a:pt x="6" y="52"/>
                  </a:lnTo>
                  <a:lnTo>
                    <a:pt x="4" y="54"/>
                  </a:lnTo>
                  <a:lnTo>
                    <a:pt x="6" y="56"/>
                  </a:lnTo>
                  <a:lnTo>
                    <a:pt x="8" y="56"/>
                  </a:lnTo>
                  <a:lnTo>
                    <a:pt x="10" y="58"/>
                  </a:lnTo>
                  <a:lnTo>
                    <a:pt x="10" y="60"/>
                  </a:lnTo>
                  <a:lnTo>
                    <a:pt x="6" y="60"/>
                  </a:lnTo>
                  <a:lnTo>
                    <a:pt x="2" y="60"/>
                  </a:lnTo>
                  <a:lnTo>
                    <a:pt x="0" y="60"/>
                  </a:lnTo>
                  <a:lnTo>
                    <a:pt x="0" y="62"/>
                  </a:lnTo>
                  <a:lnTo>
                    <a:pt x="6" y="66"/>
                  </a:lnTo>
                  <a:lnTo>
                    <a:pt x="12" y="66"/>
                  </a:lnTo>
                  <a:lnTo>
                    <a:pt x="12" y="64"/>
                  </a:lnTo>
                  <a:lnTo>
                    <a:pt x="26" y="72"/>
                  </a:lnTo>
                  <a:lnTo>
                    <a:pt x="32" y="72"/>
                  </a:lnTo>
                  <a:lnTo>
                    <a:pt x="38" y="76"/>
                  </a:lnTo>
                  <a:lnTo>
                    <a:pt x="48" y="76"/>
                  </a:lnTo>
                  <a:lnTo>
                    <a:pt x="40" y="80"/>
                  </a:lnTo>
                  <a:lnTo>
                    <a:pt x="42" y="84"/>
                  </a:lnTo>
                  <a:lnTo>
                    <a:pt x="44" y="86"/>
                  </a:lnTo>
                  <a:lnTo>
                    <a:pt x="46" y="92"/>
                  </a:lnTo>
                  <a:lnTo>
                    <a:pt x="52" y="96"/>
                  </a:lnTo>
                  <a:lnTo>
                    <a:pt x="58" y="96"/>
                  </a:lnTo>
                  <a:lnTo>
                    <a:pt x="58" y="106"/>
                  </a:lnTo>
                  <a:lnTo>
                    <a:pt x="62" y="114"/>
                  </a:lnTo>
                  <a:lnTo>
                    <a:pt x="66" y="124"/>
                  </a:lnTo>
                  <a:lnTo>
                    <a:pt x="58" y="114"/>
                  </a:lnTo>
                  <a:lnTo>
                    <a:pt x="58" y="118"/>
                  </a:lnTo>
                  <a:lnTo>
                    <a:pt x="56" y="120"/>
                  </a:lnTo>
                  <a:lnTo>
                    <a:pt x="56" y="132"/>
                  </a:lnTo>
                  <a:lnTo>
                    <a:pt x="54" y="134"/>
                  </a:lnTo>
                  <a:lnTo>
                    <a:pt x="52" y="144"/>
                  </a:lnTo>
                  <a:lnTo>
                    <a:pt x="52" y="146"/>
                  </a:lnTo>
                  <a:lnTo>
                    <a:pt x="50" y="150"/>
                  </a:lnTo>
                  <a:lnTo>
                    <a:pt x="50" y="152"/>
                  </a:lnTo>
                  <a:lnTo>
                    <a:pt x="48" y="152"/>
                  </a:lnTo>
                  <a:lnTo>
                    <a:pt x="48" y="154"/>
                  </a:lnTo>
                  <a:lnTo>
                    <a:pt x="46" y="156"/>
                  </a:lnTo>
                  <a:lnTo>
                    <a:pt x="44" y="158"/>
                  </a:lnTo>
                  <a:lnTo>
                    <a:pt x="46" y="160"/>
                  </a:lnTo>
                  <a:lnTo>
                    <a:pt x="46" y="158"/>
                  </a:lnTo>
                  <a:lnTo>
                    <a:pt x="48" y="158"/>
                  </a:lnTo>
                  <a:lnTo>
                    <a:pt x="52" y="160"/>
                  </a:lnTo>
                  <a:lnTo>
                    <a:pt x="52" y="162"/>
                  </a:lnTo>
                  <a:lnTo>
                    <a:pt x="50" y="164"/>
                  </a:lnTo>
                  <a:lnTo>
                    <a:pt x="60" y="164"/>
                  </a:lnTo>
                  <a:lnTo>
                    <a:pt x="64" y="168"/>
                  </a:lnTo>
                  <a:lnTo>
                    <a:pt x="66" y="166"/>
                  </a:lnTo>
                  <a:lnTo>
                    <a:pt x="68" y="166"/>
                  </a:lnTo>
                  <a:lnTo>
                    <a:pt x="72" y="170"/>
                  </a:lnTo>
                  <a:lnTo>
                    <a:pt x="78" y="170"/>
                  </a:lnTo>
                  <a:lnTo>
                    <a:pt x="78" y="172"/>
                  </a:lnTo>
                  <a:lnTo>
                    <a:pt x="84" y="172"/>
                  </a:lnTo>
                  <a:lnTo>
                    <a:pt x="84" y="168"/>
                  </a:lnTo>
                  <a:lnTo>
                    <a:pt x="86" y="166"/>
                  </a:lnTo>
                  <a:lnTo>
                    <a:pt x="90" y="166"/>
                  </a:lnTo>
                  <a:lnTo>
                    <a:pt x="92" y="168"/>
                  </a:lnTo>
                  <a:lnTo>
                    <a:pt x="92" y="170"/>
                  </a:lnTo>
                  <a:lnTo>
                    <a:pt x="96" y="170"/>
                  </a:lnTo>
                  <a:lnTo>
                    <a:pt x="96" y="172"/>
                  </a:lnTo>
                  <a:lnTo>
                    <a:pt x="104" y="172"/>
                  </a:lnTo>
                  <a:lnTo>
                    <a:pt x="104" y="174"/>
                  </a:lnTo>
                  <a:lnTo>
                    <a:pt x="104" y="176"/>
                  </a:lnTo>
                  <a:lnTo>
                    <a:pt x="112" y="176"/>
                  </a:lnTo>
                  <a:lnTo>
                    <a:pt x="112" y="178"/>
                  </a:lnTo>
                  <a:lnTo>
                    <a:pt x="118" y="178"/>
                  </a:lnTo>
                  <a:lnTo>
                    <a:pt x="118" y="176"/>
                  </a:lnTo>
                  <a:lnTo>
                    <a:pt x="118" y="174"/>
                  </a:lnTo>
                  <a:lnTo>
                    <a:pt x="122" y="174"/>
                  </a:lnTo>
                  <a:lnTo>
                    <a:pt x="122" y="170"/>
                  </a:lnTo>
                  <a:lnTo>
                    <a:pt x="126" y="164"/>
                  </a:lnTo>
                  <a:lnTo>
                    <a:pt x="130" y="160"/>
                  </a:lnTo>
                  <a:lnTo>
                    <a:pt x="132" y="158"/>
                  </a:lnTo>
                  <a:lnTo>
                    <a:pt x="134" y="156"/>
                  </a:lnTo>
                  <a:lnTo>
                    <a:pt x="138" y="154"/>
                  </a:lnTo>
                  <a:lnTo>
                    <a:pt x="140" y="152"/>
                  </a:lnTo>
                  <a:lnTo>
                    <a:pt x="144" y="152"/>
                  </a:lnTo>
                  <a:lnTo>
                    <a:pt x="146" y="154"/>
                  </a:lnTo>
                  <a:lnTo>
                    <a:pt x="150" y="154"/>
                  </a:lnTo>
                  <a:lnTo>
                    <a:pt x="152" y="156"/>
                  </a:lnTo>
                  <a:lnTo>
                    <a:pt x="162" y="156"/>
                  </a:lnTo>
                  <a:lnTo>
                    <a:pt x="166" y="160"/>
                  </a:lnTo>
                  <a:lnTo>
                    <a:pt x="166" y="162"/>
                  </a:lnTo>
                  <a:lnTo>
                    <a:pt x="170" y="162"/>
                  </a:lnTo>
                  <a:lnTo>
                    <a:pt x="172" y="164"/>
                  </a:lnTo>
                  <a:lnTo>
                    <a:pt x="178" y="164"/>
                  </a:lnTo>
                  <a:lnTo>
                    <a:pt x="182" y="162"/>
                  </a:lnTo>
                  <a:lnTo>
                    <a:pt x="184" y="160"/>
                  </a:lnTo>
                  <a:lnTo>
                    <a:pt x="186" y="154"/>
                  </a:lnTo>
                  <a:lnTo>
                    <a:pt x="192" y="150"/>
                  </a:lnTo>
                  <a:lnTo>
                    <a:pt x="196" y="150"/>
                  </a:lnTo>
                  <a:lnTo>
                    <a:pt x="196" y="148"/>
                  </a:lnTo>
                  <a:lnTo>
                    <a:pt x="200" y="144"/>
                  </a:lnTo>
                  <a:lnTo>
                    <a:pt x="200" y="142"/>
                  </a:lnTo>
                  <a:lnTo>
                    <a:pt x="198" y="140"/>
                  </a:lnTo>
                  <a:lnTo>
                    <a:pt x="192" y="140"/>
                  </a:lnTo>
                  <a:lnTo>
                    <a:pt x="188" y="138"/>
                  </a:lnTo>
                  <a:lnTo>
                    <a:pt x="186" y="136"/>
                  </a:lnTo>
                  <a:lnTo>
                    <a:pt x="186" y="134"/>
                  </a:lnTo>
                  <a:lnTo>
                    <a:pt x="188" y="132"/>
                  </a:lnTo>
                  <a:lnTo>
                    <a:pt x="190" y="130"/>
                  </a:lnTo>
                  <a:lnTo>
                    <a:pt x="190" y="126"/>
                  </a:lnTo>
                  <a:lnTo>
                    <a:pt x="188" y="126"/>
                  </a:lnTo>
                  <a:lnTo>
                    <a:pt x="184" y="126"/>
                  </a:lnTo>
                  <a:lnTo>
                    <a:pt x="182" y="120"/>
                  </a:lnTo>
                  <a:lnTo>
                    <a:pt x="188" y="120"/>
                  </a:lnTo>
                  <a:lnTo>
                    <a:pt x="192" y="116"/>
                  </a:lnTo>
                  <a:lnTo>
                    <a:pt x="192" y="114"/>
                  </a:lnTo>
                  <a:lnTo>
                    <a:pt x="186" y="108"/>
                  </a:lnTo>
                  <a:lnTo>
                    <a:pt x="188" y="106"/>
                  </a:lnTo>
                  <a:lnTo>
                    <a:pt x="190" y="106"/>
                  </a:lnTo>
                  <a:lnTo>
                    <a:pt x="190" y="104"/>
                  </a:lnTo>
                  <a:lnTo>
                    <a:pt x="186" y="100"/>
                  </a:lnTo>
                  <a:lnTo>
                    <a:pt x="188" y="94"/>
                  </a:lnTo>
                  <a:lnTo>
                    <a:pt x="186" y="94"/>
                  </a:lnTo>
                  <a:lnTo>
                    <a:pt x="182" y="94"/>
                  </a:lnTo>
                  <a:lnTo>
                    <a:pt x="176" y="100"/>
                  </a:lnTo>
                  <a:lnTo>
                    <a:pt x="174" y="100"/>
                  </a:lnTo>
                  <a:lnTo>
                    <a:pt x="174" y="98"/>
                  </a:lnTo>
                  <a:lnTo>
                    <a:pt x="176" y="96"/>
                  </a:lnTo>
                  <a:lnTo>
                    <a:pt x="174" y="94"/>
                  </a:lnTo>
                  <a:lnTo>
                    <a:pt x="178" y="92"/>
                  </a:lnTo>
                  <a:lnTo>
                    <a:pt x="178" y="88"/>
                  </a:lnTo>
                  <a:lnTo>
                    <a:pt x="182" y="86"/>
                  </a:lnTo>
                  <a:lnTo>
                    <a:pt x="182" y="82"/>
                  </a:lnTo>
                  <a:lnTo>
                    <a:pt x="186" y="82"/>
                  </a:lnTo>
                  <a:lnTo>
                    <a:pt x="188" y="80"/>
                  </a:lnTo>
                  <a:lnTo>
                    <a:pt x="190" y="78"/>
                  </a:lnTo>
                  <a:lnTo>
                    <a:pt x="192" y="76"/>
                  </a:lnTo>
                  <a:lnTo>
                    <a:pt x="192" y="74"/>
                  </a:lnTo>
                  <a:lnTo>
                    <a:pt x="198" y="76"/>
                  </a:lnTo>
                  <a:lnTo>
                    <a:pt x="198" y="72"/>
                  </a:lnTo>
                  <a:lnTo>
                    <a:pt x="198" y="60"/>
                  </a:lnTo>
                  <a:lnTo>
                    <a:pt x="200" y="58"/>
                  </a:lnTo>
                  <a:lnTo>
                    <a:pt x="202" y="56"/>
                  </a:lnTo>
                  <a:lnTo>
                    <a:pt x="204" y="54"/>
                  </a:lnTo>
                  <a:lnTo>
                    <a:pt x="204" y="50"/>
                  </a:lnTo>
                  <a:lnTo>
                    <a:pt x="208" y="46"/>
                  </a:lnTo>
                  <a:lnTo>
                    <a:pt x="210" y="42"/>
                  </a:lnTo>
                  <a:lnTo>
                    <a:pt x="204" y="40"/>
                  </a:lnTo>
                  <a:lnTo>
                    <a:pt x="198" y="40"/>
                  </a:lnTo>
                  <a:close/>
                </a:path>
              </a:pathLst>
            </a:custGeom>
            <a:solidFill>
              <a:schemeClr val="accent1"/>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65" name="Finnland" descr="© INSCALE GmbH, 05.05.2010&#10;http://www.presentationload.com/">
              <a:extLst>
                <a:ext uri="{FF2B5EF4-FFF2-40B4-BE49-F238E27FC236}">
                  <a16:creationId xmlns:a16="http://schemas.microsoft.com/office/drawing/2014/main" id="{47744CAB-ED1B-44F4-A46F-18DE14C930A0}"/>
                </a:ext>
              </a:extLst>
            </p:cNvPr>
            <p:cNvSpPr>
              <a:spLocks/>
            </p:cNvSpPr>
            <p:nvPr/>
          </p:nvSpPr>
          <p:spPr bwMode="gray">
            <a:xfrm>
              <a:off x="4632694" y="2071509"/>
              <a:ext cx="250884" cy="285380"/>
            </a:xfrm>
            <a:custGeom>
              <a:avLst/>
              <a:gdLst>
                <a:gd name="T0" fmla="*/ 2147483647 w 630"/>
                <a:gd name="T1" fmla="*/ 2147483647 h 714"/>
                <a:gd name="T2" fmla="*/ 2147483647 w 630"/>
                <a:gd name="T3" fmla="*/ 2147483647 h 714"/>
                <a:gd name="T4" fmla="*/ 2147483647 w 630"/>
                <a:gd name="T5" fmla="*/ 2147483647 h 714"/>
                <a:gd name="T6" fmla="*/ 2147483647 w 630"/>
                <a:gd name="T7" fmla="*/ 2147483647 h 714"/>
                <a:gd name="T8" fmla="*/ 2147483647 w 630"/>
                <a:gd name="T9" fmla="*/ 2147483647 h 714"/>
                <a:gd name="T10" fmla="*/ 2147483647 w 630"/>
                <a:gd name="T11" fmla="*/ 2147483647 h 714"/>
                <a:gd name="T12" fmla="*/ 2147483647 w 630"/>
                <a:gd name="T13" fmla="*/ 2147483647 h 714"/>
                <a:gd name="T14" fmla="*/ 2147483647 w 630"/>
                <a:gd name="T15" fmla="*/ 2147483647 h 714"/>
                <a:gd name="T16" fmla="*/ 2147483647 w 630"/>
                <a:gd name="T17" fmla="*/ 2147483647 h 714"/>
                <a:gd name="T18" fmla="*/ 2147483647 w 630"/>
                <a:gd name="T19" fmla="*/ 2147483647 h 714"/>
                <a:gd name="T20" fmla="*/ 2147483647 w 630"/>
                <a:gd name="T21" fmla="*/ 2147483647 h 714"/>
                <a:gd name="T22" fmla="*/ 2147483647 w 630"/>
                <a:gd name="T23" fmla="*/ 2147483647 h 714"/>
                <a:gd name="T24" fmla="*/ 2147483647 w 630"/>
                <a:gd name="T25" fmla="*/ 2147483647 h 714"/>
                <a:gd name="T26" fmla="*/ 2147483647 w 630"/>
                <a:gd name="T27" fmla="*/ 2147483647 h 714"/>
                <a:gd name="T28" fmla="*/ 2147483647 w 630"/>
                <a:gd name="T29" fmla="*/ 2147483647 h 714"/>
                <a:gd name="T30" fmla="*/ 2147483647 w 630"/>
                <a:gd name="T31" fmla="*/ 2147483647 h 714"/>
                <a:gd name="T32" fmla="*/ 2147483647 w 630"/>
                <a:gd name="T33" fmla="*/ 2147483647 h 714"/>
                <a:gd name="T34" fmla="*/ 2147483647 w 630"/>
                <a:gd name="T35" fmla="*/ 2147483647 h 714"/>
                <a:gd name="T36" fmla="*/ 2147483647 w 630"/>
                <a:gd name="T37" fmla="*/ 2147483647 h 714"/>
                <a:gd name="T38" fmla="*/ 2147483647 w 630"/>
                <a:gd name="T39" fmla="*/ 2147483647 h 714"/>
                <a:gd name="T40" fmla="*/ 2147483647 w 630"/>
                <a:gd name="T41" fmla="*/ 2147483647 h 714"/>
                <a:gd name="T42" fmla="*/ 2147483647 w 630"/>
                <a:gd name="T43" fmla="*/ 2147483647 h 714"/>
                <a:gd name="T44" fmla="*/ 2147483647 w 630"/>
                <a:gd name="T45" fmla="*/ 2147483647 h 714"/>
                <a:gd name="T46" fmla="*/ 2147483647 w 630"/>
                <a:gd name="T47" fmla="*/ 2147483647 h 714"/>
                <a:gd name="T48" fmla="*/ 2147483647 w 630"/>
                <a:gd name="T49" fmla="*/ 2147483647 h 714"/>
                <a:gd name="T50" fmla="*/ 2147483647 w 630"/>
                <a:gd name="T51" fmla="*/ 2147483647 h 714"/>
                <a:gd name="T52" fmla="*/ 2147483647 w 630"/>
                <a:gd name="T53" fmla="*/ 2147483647 h 714"/>
                <a:gd name="T54" fmla="*/ 2147483647 w 630"/>
                <a:gd name="T55" fmla="*/ 2147483647 h 714"/>
                <a:gd name="T56" fmla="*/ 2147483647 w 630"/>
                <a:gd name="T57" fmla="*/ 2147483647 h 714"/>
                <a:gd name="T58" fmla="*/ 2147483647 w 630"/>
                <a:gd name="T59" fmla="*/ 2147483647 h 714"/>
                <a:gd name="T60" fmla="*/ 2147483647 w 630"/>
                <a:gd name="T61" fmla="*/ 2147483647 h 714"/>
                <a:gd name="T62" fmla="*/ 2147483647 w 630"/>
                <a:gd name="T63" fmla="*/ 2147483647 h 714"/>
                <a:gd name="T64" fmla="*/ 2147483647 w 630"/>
                <a:gd name="T65" fmla="*/ 2147483647 h 714"/>
                <a:gd name="T66" fmla="*/ 2147483647 w 630"/>
                <a:gd name="T67" fmla="*/ 2147483647 h 714"/>
                <a:gd name="T68" fmla="*/ 2147483647 w 630"/>
                <a:gd name="T69" fmla="*/ 2147483647 h 714"/>
                <a:gd name="T70" fmla="*/ 2147483647 w 630"/>
                <a:gd name="T71" fmla="*/ 2147483647 h 714"/>
                <a:gd name="T72" fmla="*/ 2147483647 w 630"/>
                <a:gd name="T73" fmla="*/ 2147483647 h 714"/>
                <a:gd name="T74" fmla="*/ 2147483647 w 630"/>
                <a:gd name="T75" fmla="*/ 2147483647 h 714"/>
                <a:gd name="T76" fmla="*/ 2147483647 w 630"/>
                <a:gd name="T77" fmla="*/ 2147483647 h 714"/>
                <a:gd name="T78" fmla="*/ 2147483647 w 630"/>
                <a:gd name="T79" fmla="*/ 2147483647 h 714"/>
                <a:gd name="T80" fmla="*/ 2147483647 w 630"/>
                <a:gd name="T81" fmla="*/ 2147483647 h 714"/>
                <a:gd name="T82" fmla="*/ 2147483647 w 630"/>
                <a:gd name="T83" fmla="*/ 2147483647 h 714"/>
                <a:gd name="T84" fmla="*/ 2147483647 w 630"/>
                <a:gd name="T85" fmla="*/ 2147483647 h 714"/>
                <a:gd name="T86" fmla="*/ 2147483647 w 630"/>
                <a:gd name="T87" fmla="*/ 2147483647 h 714"/>
                <a:gd name="T88" fmla="*/ 2147483647 w 630"/>
                <a:gd name="T89" fmla="*/ 2147483647 h 714"/>
                <a:gd name="T90" fmla="*/ 2147483647 w 630"/>
                <a:gd name="T91" fmla="*/ 2147483647 h 714"/>
                <a:gd name="T92" fmla="*/ 2147483647 w 630"/>
                <a:gd name="T93" fmla="*/ 2147483647 h 714"/>
                <a:gd name="T94" fmla="*/ 2147483647 w 630"/>
                <a:gd name="T95" fmla="*/ 2147483647 h 714"/>
                <a:gd name="T96" fmla="*/ 2147483647 w 630"/>
                <a:gd name="T97" fmla="*/ 2147483647 h 714"/>
                <a:gd name="T98" fmla="*/ 2147483647 w 630"/>
                <a:gd name="T99" fmla="*/ 2147483647 h 714"/>
                <a:gd name="T100" fmla="*/ 2147483647 w 630"/>
                <a:gd name="T101" fmla="*/ 2147483647 h 714"/>
                <a:gd name="T102" fmla="*/ 2147483647 w 630"/>
                <a:gd name="T103" fmla="*/ 2147483647 h 714"/>
                <a:gd name="T104" fmla="*/ 2147483647 w 630"/>
                <a:gd name="T105" fmla="*/ 2147483647 h 714"/>
                <a:gd name="T106" fmla="*/ 2147483647 w 630"/>
                <a:gd name="T107" fmla="*/ 0 h 714"/>
                <a:gd name="T108" fmla="*/ 2147483647 w 630"/>
                <a:gd name="T109" fmla="*/ 2147483647 h 714"/>
                <a:gd name="T110" fmla="*/ 2147483647 w 630"/>
                <a:gd name="T111" fmla="*/ 2147483647 h 714"/>
                <a:gd name="T112" fmla="*/ 2147483647 w 630"/>
                <a:gd name="T113" fmla="*/ 2147483647 h 714"/>
                <a:gd name="T114" fmla="*/ 2147483647 w 630"/>
                <a:gd name="T115" fmla="*/ 2147483647 h 714"/>
                <a:gd name="T116" fmla="*/ 2147483647 w 630"/>
                <a:gd name="T117" fmla="*/ 2147483647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714"/>
                <a:gd name="T179" fmla="*/ 630 w 630"/>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714">
                  <a:moveTo>
                    <a:pt x="162" y="84"/>
                  </a:moveTo>
                  <a:lnTo>
                    <a:pt x="156" y="90"/>
                  </a:lnTo>
                  <a:lnTo>
                    <a:pt x="144" y="96"/>
                  </a:lnTo>
                  <a:lnTo>
                    <a:pt x="132" y="96"/>
                  </a:lnTo>
                  <a:lnTo>
                    <a:pt x="126" y="90"/>
                  </a:lnTo>
                  <a:lnTo>
                    <a:pt x="108" y="90"/>
                  </a:lnTo>
                  <a:lnTo>
                    <a:pt x="96" y="84"/>
                  </a:lnTo>
                  <a:lnTo>
                    <a:pt x="84" y="84"/>
                  </a:lnTo>
                  <a:lnTo>
                    <a:pt x="72" y="72"/>
                  </a:lnTo>
                  <a:lnTo>
                    <a:pt x="60" y="66"/>
                  </a:lnTo>
                  <a:lnTo>
                    <a:pt x="54" y="54"/>
                  </a:lnTo>
                  <a:lnTo>
                    <a:pt x="48" y="48"/>
                  </a:lnTo>
                  <a:lnTo>
                    <a:pt x="30" y="48"/>
                  </a:lnTo>
                  <a:lnTo>
                    <a:pt x="24" y="54"/>
                  </a:lnTo>
                  <a:lnTo>
                    <a:pt x="24" y="66"/>
                  </a:lnTo>
                  <a:lnTo>
                    <a:pt x="6" y="60"/>
                  </a:lnTo>
                  <a:lnTo>
                    <a:pt x="0" y="66"/>
                  </a:lnTo>
                  <a:lnTo>
                    <a:pt x="6" y="72"/>
                  </a:lnTo>
                  <a:lnTo>
                    <a:pt x="18" y="78"/>
                  </a:lnTo>
                  <a:lnTo>
                    <a:pt x="24" y="84"/>
                  </a:lnTo>
                  <a:lnTo>
                    <a:pt x="36" y="90"/>
                  </a:lnTo>
                  <a:lnTo>
                    <a:pt x="48" y="90"/>
                  </a:lnTo>
                  <a:lnTo>
                    <a:pt x="54" y="96"/>
                  </a:lnTo>
                  <a:lnTo>
                    <a:pt x="60" y="96"/>
                  </a:lnTo>
                  <a:lnTo>
                    <a:pt x="72" y="108"/>
                  </a:lnTo>
                  <a:lnTo>
                    <a:pt x="108" y="108"/>
                  </a:lnTo>
                  <a:lnTo>
                    <a:pt x="138" y="126"/>
                  </a:lnTo>
                  <a:lnTo>
                    <a:pt x="150" y="126"/>
                  </a:lnTo>
                  <a:lnTo>
                    <a:pt x="156" y="132"/>
                  </a:lnTo>
                  <a:lnTo>
                    <a:pt x="162" y="132"/>
                  </a:lnTo>
                  <a:lnTo>
                    <a:pt x="162" y="156"/>
                  </a:lnTo>
                  <a:lnTo>
                    <a:pt x="156" y="162"/>
                  </a:lnTo>
                  <a:lnTo>
                    <a:pt x="156" y="168"/>
                  </a:lnTo>
                  <a:lnTo>
                    <a:pt x="168" y="174"/>
                  </a:lnTo>
                  <a:lnTo>
                    <a:pt x="162" y="198"/>
                  </a:lnTo>
                  <a:lnTo>
                    <a:pt x="186" y="210"/>
                  </a:lnTo>
                  <a:lnTo>
                    <a:pt x="180" y="222"/>
                  </a:lnTo>
                  <a:lnTo>
                    <a:pt x="174" y="228"/>
                  </a:lnTo>
                  <a:lnTo>
                    <a:pt x="168" y="240"/>
                  </a:lnTo>
                  <a:lnTo>
                    <a:pt x="168" y="246"/>
                  </a:lnTo>
                  <a:lnTo>
                    <a:pt x="180" y="258"/>
                  </a:lnTo>
                  <a:lnTo>
                    <a:pt x="192" y="264"/>
                  </a:lnTo>
                  <a:lnTo>
                    <a:pt x="198" y="270"/>
                  </a:lnTo>
                  <a:lnTo>
                    <a:pt x="210" y="306"/>
                  </a:lnTo>
                  <a:lnTo>
                    <a:pt x="222" y="294"/>
                  </a:lnTo>
                  <a:lnTo>
                    <a:pt x="228" y="294"/>
                  </a:lnTo>
                  <a:lnTo>
                    <a:pt x="234" y="300"/>
                  </a:lnTo>
                  <a:lnTo>
                    <a:pt x="246" y="300"/>
                  </a:lnTo>
                  <a:lnTo>
                    <a:pt x="270" y="324"/>
                  </a:lnTo>
                  <a:lnTo>
                    <a:pt x="270" y="336"/>
                  </a:lnTo>
                  <a:lnTo>
                    <a:pt x="276" y="348"/>
                  </a:lnTo>
                  <a:lnTo>
                    <a:pt x="276" y="354"/>
                  </a:lnTo>
                  <a:lnTo>
                    <a:pt x="264" y="348"/>
                  </a:lnTo>
                  <a:lnTo>
                    <a:pt x="246" y="348"/>
                  </a:lnTo>
                  <a:lnTo>
                    <a:pt x="240" y="354"/>
                  </a:lnTo>
                  <a:lnTo>
                    <a:pt x="234" y="366"/>
                  </a:lnTo>
                  <a:lnTo>
                    <a:pt x="228" y="372"/>
                  </a:lnTo>
                  <a:lnTo>
                    <a:pt x="222" y="384"/>
                  </a:lnTo>
                  <a:lnTo>
                    <a:pt x="216" y="390"/>
                  </a:lnTo>
                  <a:lnTo>
                    <a:pt x="180" y="420"/>
                  </a:lnTo>
                  <a:lnTo>
                    <a:pt x="144" y="432"/>
                  </a:lnTo>
                  <a:lnTo>
                    <a:pt x="138" y="438"/>
                  </a:lnTo>
                  <a:lnTo>
                    <a:pt x="126" y="444"/>
                  </a:lnTo>
                  <a:lnTo>
                    <a:pt x="120" y="456"/>
                  </a:lnTo>
                  <a:lnTo>
                    <a:pt x="120" y="462"/>
                  </a:lnTo>
                  <a:lnTo>
                    <a:pt x="108" y="474"/>
                  </a:lnTo>
                  <a:lnTo>
                    <a:pt x="90" y="474"/>
                  </a:lnTo>
                  <a:lnTo>
                    <a:pt x="66" y="504"/>
                  </a:lnTo>
                  <a:lnTo>
                    <a:pt x="66" y="534"/>
                  </a:lnTo>
                  <a:lnTo>
                    <a:pt x="72" y="540"/>
                  </a:lnTo>
                  <a:lnTo>
                    <a:pt x="72" y="570"/>
                  </a:lnTo>
                  <a:lnTo>
                    <a:pt x="96" y="588"/>
                  </a:lnTo>
                  <a:lnTo>
                    <a:pt x="96" y="594"/>
                  </a:lnTo>
                  <a:lnTo>
                    <a:pt x="90" y="600"/>
                  </a:lnTo>
                  <a:lnTo>
                    <a:pt x="90" y="612"/>
                  </a:lnTo>
                  <a:lnTo>
                    <a:pt x="84" y="630"/>
                  </a:lnTo>
                  <a:lnTo>
                    <a:pt x="84" y="648"/>
                  </a:lnTo>
                  <a:lnTo>
                    <a:pt x="90" y="654"/>
                  </a:lnTo>
                  <a:lnTo>
                    <a:pt x="96" y="666"/>
                  </a:lnTo>
                  <a:lnTo>
                    <a:pt x="108" y="678"/>
                  </a:lnTo>
                  <a:lnTo>
                    <a:pt x="132" y="690"/>
                  </a:lnTo>
                  <a:lnTo>
                    <a:pt x="174" y="690"/>
                  </a:lnTo>
                  <a:lnTo>
                    <a:pt x="174" y="696"/>
                  </a:lnTo>
                  <a:lnTo>
                    <a:pt x="168" y="702"/>
                  </a:lnTo>
                  <a:lnTo>
                    <a:pt x="168" y="708"/>
                  </a:lnTo>
                  <a:lnTo>
                    <a:pt x="174" y="714"/>
                  </a:lnTo>
                  <a:lnTo>
                    <a:pt x="240" y="714"/>
                  </a:lnTo>
                  <a:lnTo>
                    <a:pt x="252" y="708"/>
                  </a:lnTo>
                  <a:lnTo>
                    <a:pt x="270" y="708"/>
                  </a:lnTo>
                  <a:lnTo>
                    <a:pt x="300" y="696"/>
                  </a:lnTo>
                  <a:lnTo>
                    <a:pt x="336" y="696"/>
                  </a:lnTo>
                  <a:lnTo>
                    <a:pt x="384" y="672"/>
                  </a:lnTo>
                  <a:lnTo>
                    <a:pt x="462" y="672"/>
                  </a:lnTo>
                  <a:lnTo>
                    <a:pt x="456" y="660"/>
                  </a:lnTo>
                  <a:lnTo>
                    <a:pt x="516" y="630"/>
                  </a:lnTo>
                  <a:lnTo>
                    <a:pt x="576" y="570"/>
                  </a:lnTo>
                  <a:lnTo>
                    <a:pt x="582" y="570"/>
                  </a:lnTo>
                  <a:lnTo>
                    <a:pt x="618" y="534"/>
                  </a:lnTo>
                  <a:lnTo>
                    <a:pt x="624" y="522"/>
                  </a:lnTo>
                  <a:lnTo>
                    <a:pt x="630" y="516"/>
                  </a:lnTo>
                  <a:lnTo>
                    <a:pt x="630" y="504"/>
                  </a:lnTo>
                  <a:lnTo>
                    <a:pt x="624" y="492"/>
                  </a:lnTo>
                  <a:lnTo>
                    <a:pt x="618" y="486"/>
                  </a:lnTo>
                  <a:lnTo>
                    <a:pt x="612" y="474"/>
                  </a:lnTo>
                  <a:lnTo>
                    <a:pt x="540" y="438"/>
                  </a:lnTo>
                  <a:lnTo>
                    <a:pt x="546" y="438"/>
                  </a:lnTo>
                  <a:lnTo>
                    <a:pt x="570" y="414"/>
                  </a:lnTo>
                  <a:lnTo>
                    <a:pt x="570" y="408"/>
                  </a:lnTo>
                  <a:lnTo>
                    <a:pt x="564" y="402"/>
                  </a:lnTo>
                  <a:lnTo>
                    <a:pt x="552" y="396"/>
                  </a:lnTo>
                  <a:lnTo>
                    <a:pt x="528" y="390"/>
                  </a:lnTo>
                  <a:lnTo>
                    <a:pt x="534" y="378"/>
                  </a:lnTo>
                  <a:lnTo>
                    <a:pt x="540" y="372"/>
                  </a:lnTo>
                  <a:lnTo>
                    <a:pt x="540" y="366"/>
                  </a:lnTo>
                  <a:lnTo>
                    <a:pt x="534" y="360"/>
                  </a:lnTo>
                  <a:lnTo>
                    <a:pt x="528" y="360"/>
                  </a:lnTo>
                  <a:lnTo>
                    <a:pt x="522" y="354"/>
                  </a:lnTo>
                  <a:lnTo>
                    <a:pt x="510" y="354"/>
                  </a:lnTo>
                  <a:lnTo>
                    <a:pt x="510" y="342"/>
                  </a:lnTo>
                  <a:lnTo>
                    <a:pt x="498" y="330"/>
                  </a:lnTo>
                  <a:lnTo>
                    <a:pt x="504" y="300"/>
                  </a:lnTo>
                  <a:lnTo>
                    <a:pt x="510" y="300"/>
                  </a:lnTo>
                  <a:lnTo>
                    <a:pt x="522" y="306"/>
                  </a:lnTo>
                  <a:lnTo>
                    <a:pt x="534" y="306"/>
                  </a:lnTo>
                  <a:lnTo>
                    <a:pt x="540" y="300"/>
                  </a:lnTo>
                  <a:lnTo>
                    <a:pt x="540" y="294"/>
                  </a:lnTo>
                  <a:lnTo>
                    <a:pt x="534" y="288"/>
                  </a:lnTo>
                  <a:lnTo>
                    <a:pt x="522" y="282"/>
                  </a:lnTo>
                  <a:lnTo>
                    <a:pt x="498" y="258"/>
                  </a:lnTo>
                  <a:lnTo>
                    <a:pt x="486" y="252"/>
                  </a:lnTo>
                  <a:lnTo>
                    <a:pt x="480" y="240"/>
                  </a:lnTo>
                  <a:lnTo>
                    <a:pt x="468" y="234"/>
                  </a:lnTo>
                  <a:lnTo>
                    <a:pt x="450" y="216"/>
                  </a:lnTo>
                  <a:lnTo>
                    <a:pt x="456" y="210"/>
                  </a:lnTo>
                  <a:lnTo>
                    <a:pt x="468" y="204"/>
                  </a:lnTo>
                  <a:lnTo>
                    <a:pt x="474" y="204"/>
                  </a:lnTo>
                  <a:lnTo>
                    <a:pt x="474" y="192"/>
                  </a:lnTo>
                  <a:lnTo>
                    <a:pt x="480" y="192"/>
                  </a:lnTo>
                  <a:lnTo>
                    <a:pt x="492" y="186"/>
                  </a:lnTo>
                  <a:lnTo>
                    <a:pt x="498" y="186"/>
                  </a:lnTo>
                  <a:lnTo>
                    <a:pt x="498" y="174"/>
                  </a:lnTo>
                  <a:lnTo>
                    <a:pt x="450" y="126"/>
                  </a:lnTo>
                  <a:lnTo>
                    <a:pt x="432" y="126"/>
                  </a:lnTo>
                  <a:lnTo>
                    <a:pt x="426" y="132"/>
                  </a:lnTo>
                  <a:lnTo>
                    <a:pt x="420" y="132"/>
                  </a:lnTo>
                  <a:lnTo>
                    <a:pt x="414" y="126"/>
                  </a:lnTo>
                  <a:lnTo>
                    <a:pt x="414" y="120"/>
                  </a:lnTo>
                  <a:lnTo>
                    <a:pt x="408" y="108"/>
                  </a:lnTo>
                  <a:lnTo>
                    <a:pt x="408" y="96"/>
                  </a:lnTo>
                  <a:lnTo>
                    <a:pt x="426" y="96"/>
                  </a:lnTo>
                  <a:lnTo>
                    <a:pt x="426" y="90"/>
                  </a:lnTo>
                  <a:lnTo>
                    <a:pt x="414" y="78"/>
                  </a:lnTo>
                  <a:lnTo>
                    <a:pt x="420" y="54"/>
                  </a:lnTo>
                  <a:lnTo>
                    <a:pt x="426" y="54"/>
                  </a:lnTo>
                  <a:lnTo>
                    <a:pt x="426" y="60"/>
                  </a:lnTo>
                  <a:lnTo>
                    <a:pt x="432" y="60"/>
                  </a:lnTo>
                  <a:lnTo>
                    <a:pt x="432" y="42"/>
                  </a:lnTo>
                  <a:lnTo>
                    <a:pt x="426" y="30"/>
                  </a:lnTo>
                  <a:lnTo>
                    <a:pt x="414" y="18"/>
                  </a:lnTo>
                  <a:lnTo>
                    <a:pt x="408" y="18"/>
                  </a:lnTo>
                  <a:lnTo>
                    <a:pt x="372" y="12"/>
                  </a:lnTo>
                  <a:lnTo>
                    <a:pt x="372" y="0"/>
                  </a:lnTo>
                  <a:lnTo>
                    <a:pt x="336" y="0"/>
                  </a:lnTo>
                  <a:lnTo>
                    <a:pt x="324" y="6"/>
                  </a:lnTo>
                  <a:lnTo>
                    <a:pt x="294" y="6"/>
                  </a:lnTo>
                  <a:lnTo>
                    <a:pt x="282" y="12"/>
                  </a:lnTo>
                  <a:lnTo>
                    <a:pt x="276" y="12"/>
                  </a:lnTo>
                  <a:lnTo>
                    <a:pt x="264" y="18"/>
                  </a:lnTo>
                  <a:lnTo>
                    <a:pt x="264" y="30"/>
                  </a:lnTo>
                  <a:lnTo>
                    <a:pt x="258" y="36"/>
                  </a:lnTo>
                  <a:lnTo>
                    <a:pt x="258" y="72"/>
                  </a:lnTo>
                  <a:lnTo>
                    <a:pt x="234" y="72"/>
                  </a:lnTo>
                  <a:lnTo>
                    <a:pt x="234" y="78"/>
                  </a:lnTo>
                  <a:lnTo>
                    <a:pt x="228" y="84"/>
                  </a:lnTo>
                  <a:lnTo>
                    <a:pt x="228" y="96"/>
                  </a:lnTo>
                  <a:lnTo>
                    <a:pt x="210" y="96"/>
                  </a:lnTo>
                  <a:lnTo>
                    <a:pt x="204" y="90"/>
                  </a:lnTo>
                  <a:lnTo>
                    <a:pt x="192" y="84"/>
                  </a:lnTo>
                  <a:lnTo>
                    <a:pt x="162" y="84"/>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66" name="Estland" descr="© INSCALE GmbH, 05.05.2010&#10;http://www.presentationload.com/">
              <a:extLst>
                <a:ext uri="{FF2B5EF4-FFF2-40B4-BE49-F238E27FC236}">
                  <a16:creationId xmlns:a16="http://schemas.microsoft.com/office/drawing/2014/main" id="{17C735F9-C876-4322-9C4F-AC7606D7C793}"/>
                </a:ext>
              </a:extLst>
            </p:cNvPr>
            <p:cNvSpPr>
              <a:spLocks noEditPoints="1"/>
            </p:cNvSpPr>
            <p:nvPr/>
          </p:nvSpPr>
          <p:spPr bwMode="gray">
            <a:xfrm>
              <a:off x="4682871" y="2366298"/>
              <a:ext cx="137986" cy="61153"/>
            </a:xfrm>
            <a:custGeom>
              <a:avLst/>
              <a:gdLst>
                <a:gd name="T0" fmla="*/ 2147483647 w 348"/>
                <a:gd name="T1" fmla="*/ 2147483647 h 156"/>
                <a:gd name="T2" fmla="*/ 2147483647 w 348"/>
                <a:gd name="T3" fmla="*/ 2147483647 h 156"/>
                <a:gd name="T4" fmla="*/ 2147483647 w 348"/>
                <a:gd name="T5" fmla="*/ 2147483647 h 156"/>
                <a:gd name="T6" fmla="*/ 2147483647 w 348"/>
                <a:gd name="T7" fmla="*/ 2147483647 h 156"/>
                <a:gd name="T8" fmla="*/ 2147483647 w 348"/>
                <a:gd name="T9" fmla="*/ 2147483647 h 156"/>
                <a:gd name="T10" fmla="*/ 2147483647 w 348"/>
                <a:gd name="T11" fmla="*/ 2147483647 h 156"/>
                <a:gd name="T12" fmla="*/ 2147483647 w 348"/>
                <a:gd name="T13" fmla="*/ 2147483647 h 156"/>
                <a:gd name="T14" fmla="*/ 2147483647 w 348"/>
                <a:gd name="T15" fmla="*/ 0 h 156"/>
                <a:gd name="T16" fmla="*/ 2147483647 w 348"/>
                <a:gd name="T17" fmla="*/ 2147483647 h 156"/>
                <a:gd name="T18" fmla="*/ 2147483647 w 348"/>
                <a:gd name="T19" fmla="*/ 2147483647 h 156"/>
                <a:gd name="T20" fmla="*/ 2147483647 w 348"/>
                <a:gd name="T21" fmla="*/ 2147483647 h 156"/>
                <a:gd name="T22" fmla="*/ 2147483647 w 348"/>
                <a:gd name="T23" fmla="*/ 2147483647 h 156"/>
                <a:gd name="T24" fmla="*/ 2147483647 w 348"/>
                <a:gd name="T25" fmla="*/ 2147483647 h 156"/>
                <a:gd name="T26" fmla="*/ 2147483647 w 348"/>
                <a:gd name="T27" fmla="*/ 2147483647 h 156"/>
                <a:gd name="T28" fmla="*/ 2147483647 w 348"/>
                <a:gd name="T29" fmla="*/ 2147483647 h 156"/>
                <a:gd name="T30" fmla="*/ 2147483647 w 348"/>
                <a:gd name="T31" fmla="*/ 2147483647 h 156"/>
                <a:gd name="T32" fmla="*/ 2147483647 w 348"/>
                <a:gd name="T33" fmla="*/ 2147483647 h 156"/>
                <a:gd name="T34" fmla="*/ 2147483647 w 348"/>
                <a:gd name="T35" fmla="*/ 2147483647 h 156"/>
                <a:gd name="T36" fmla="*/ 2147483647 w 348"/>
                <a:gd name="T37" fmla="*/ 2147483647 h 156"/>
                <a:gd name="T38" fmla="*/ 2147483647 w 348"/>
                <a:gd name="T39" fmla="*/ 2147483647 h 156"/>
                <a:gd name="T40" fmla="*/ 2147483647 w 348"/>
                <a:gd name="T41" fmla="*/ 2147483647 h 156"/>
                <a:gd name="T42" fmla="*/ 2147483647 w 348"/>
                <a:gd name="T43" fmla="*/ 2147483647 h 156"/>
                <a:gd name="T44" fmla="*/ 2147483647 w 348"/>
                <a:gd name="T45" fmla="*/ 2147483647 h 156"/>
                <a:gd name="T46" fmla="*/ 2147483647 w 348"/>
                <a:gd name="T47" fmla="*/ 2147483647 h 156"/>
                <a:gd name="T48" fmla="*/ 0 w 348"/>
                <a:gd name="T49" fmla="*/ 2147483647 h 156"/>
                <a:gd name="T50" fmla="*/ 2147483647 w 348"/>
                <a:gd name="T51" fmla="*/ 2147483647 h 156"/>
                <a:gd name="T52" fmla="*/ 2147483647 w 348"/>
                <a:gd name="T53" fmla="*/ 2147483647 h 156"/>
                <a:gd name="T54" fmla="*/ 2147483647 w 348"/>
                <a:gd name="T55" fmla="*/ 2147483647 h 156"/>
                <a:gd name="T56" fmla="*/ 2147483647 w 348"/>
                <a:gd name="T57" fmla="*/ 2147483647 h 156"/>
                <a:gd name="T58" fmla="*/ 2147483647 w 348"/>
                <a:gd name="T59" fmla="*/ 2147483647 h 156"/>
                <a:gd name="T60" fmla="*/ 2147483647 w 348"/>
                <a:gd name="T61" fmla="*/ 2147483647 h 156"/>
                <a:gd name="T62" fmla="*/ 2147483647 w 348"/>
                <a:gd name="T63" fmla="*/ 2147483647 h 156"/>
                <a:gd name="T64" fmla="*/ 2147483647 w 348"/>
                <a:gd name="T65" fmla="*/ 2147483647 h 156"/>
                <a:gd name="T66" fmla="*/ 2147483647 w 348"/>
                <a:gd name="T67" fmla="*/ 2147483647 h 156"/>
                <a:gd name="T68" fmla="*/ 2147483647 w 348"/>
                <a:gd name="T69" fmla="*/ 2147483647 h 156"/>
                <a:gd name="T70" fmla="*/ 2147483647 w 348"/>
                <a:gd name="T71" fmla="*/ 2147483647 h 1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8"/>
                <a:gd name="T109" fmla="*/ 0 h 156"/>
                <a:gd name="T110" fmla="*/ 348 w 348"/>
                <a:gd name="T111" fmla="*/ 156 h 1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8" h="156">
                  <a:moveTo>
                    <a:pt x="336" y="114"/>
                  </a:moveTo>
                  <a:lnTo>
                    <a:pt x="324" y="108"/>
                  </a:lnTo>
                  <a:lnTo>
                    <a:pt x="336" y="84"/>
                  </a:lnTo>
                  <a:lnTo>
                    <a:pt x="318" y="78"/>
                  </a:lnTo>
                  <a:lnTo>
                    <a:pt x="318" y="60"/>
                  </a:lnTo>
                  <a:lnTo>
                    <a:pt x="330" y="48"/>
                  </a:lnTo>
                  <a:lnTo>
                    <a:pt x="336" y="48"/>
                  </a:lnTo>
                  <a:lnTo>
                    <a:pt x="342" y="42"/>
                  </a:lnTo>
                  <a:lnTo>
                    <a:pt x="336" y="30"/>
                  </a:lnTo>
                  <a:lnTo>
                    <a:pt x="342" y="18"/>
                  </a:lnTo>
                  <a:lnTo>
                    <a:pt x="330" y="12"/>
                  </a:lnTo>
                  <a:lnTo>
                    <a:pt x="312" y="12"/>
                  </a:lnTo>
                  <a:lnTo>
                    <a:pt x="294" y="6"/>
                  </a:lnTo>
                  <a:lnTo>
                    <a:pt x="276" y="6"/>
                  </a:lnTo>
                  <a:lnTo>
                    <a:pt x="264" y="0"/>
                  </a:lnTo>
                  <a:lnTo>
                    <a:pt x="204" y="0"/>
                  </a:lnTo>
                  <a:lnTo>
                    <a:pt x="192" y="6"/>
                  </a:lnTo>
                  <a:lnTo>
                    <a:pt x="156" y="6"/>
                  </a:lnTo>
                  <a:lnTo>
                    <a:pt x="150" y="12"/>
                  </a:lnTo>
                  <a:lnTo>
                    <a:pt x="126" y="24"/>
                  </a:lnTo>
                  <a:lnTo>
                    <a:pt x="108" y="30"/>
                  </a:lnTo>
                  <a:lnTo>
                    <a:pt x="96" y="36"/>
                  </a:lnTo>
                  <a:lnTo>
                    <a:pt x="90" y="36"/>
                  </a:lnTo>
                  <a:lnTo>
                    <a:pt x="84" y="42"/>
                  </a:lnTo>
                  <a:lnTo>
                    <a:pt x="84" y="48"/>
                  </a:lnTo>
                  <a:lnTo>
                    <a:pt x="90" y="60"/>
                  </a:lnTo>
                  <a:lnTo>
                    <a:pt x="90" y="72"/>
                  </a:lnTo>
                  <a:lnTo>
                    <a:pt x="96" y="78"/>
                  </a:lnTo>
                  <a:lnTo>
                    <a:pt x="96" y="84"/>
                  </a:lnTo>
                  <a:lnTo>
                    <a:pt x="150" y="90"/>
                  </a:lnTo>
                  <a:lnTo>
                    <a:pt x="138" y="126"/>
                  </a:lnTo>
                  <a:lnTo>
                    <a:pt x="150" y="126"/>
                  </a:lnTo>
                  <a:lnTo>
                    <a:pt x="180" y="114"/>
                  </a:lnTo>
                  <a:lnTo>
                    <a:pt x="210" y="114"/>
                  </a:lnTo>
                  <a:lnTo>
                    <a:pt x="234" y="126"/>
                  </a:lnTo>
                  <a:lnTo>
                    <a:pt x="240" y="132"/>
                  </a:lnTo>
                  <a:lnTo>
                    <a:pt x="252" y="138"/>
                  </a:lnTo>
                  <a:lnTo>
                    <a:pt x="270" y="156"/>
                  </a:lnTo>
                  <a:lnTo>
                    <a:pt x="288" y="156"/>
                  </a:lnTo>
                  <a:lnTo>
                    <a:pt x="294" y="150"/>
                  </a:lnTo>
                  <a:lnTo>
                    <a:pt x="312" y="150"/>
                  </a:lnTo>
                  <a:lnTo>
                    <a:pt x="318" y="156"/>
                  </a:lnTo>
                  <a:lnTo>
                    <a:pt x="330" y="156"/>
                  </a:lnTo>
                  <a:lnTo>
                    <a:pt x="330" y="144"/>
                  </a:lnTo>
                  <a:lnTo>
                    <a:pt x="348" y="132"/>
                  </a:lnTo>
                  <a:lnTo>
                    <a:pt x="336" y="114"/>
                  </a:lnTo>
                  <a:close/>
                  <a:moveTo>
                    <a:pt x="36" y="78"/>
                  </a:moveTo>
                  <a:lnTo>
                    <a:pt x="6" y="78"/>
                  </a:lnTo>
                  <a:lnTo>
                    <a:pt x="0" y="84"/>
                  </a:lnTo>
                  <a:lnTo>
                    <a:pt x="0" y="102"/>
                  </a:lnTo>
                  <a:lnTo>
                    <a:pt x="6" y="108"/>
                  </a:lnTo>
                  <a:lnTo>
                    <a:pt x="18" y="132"/>
                  </a:lnTo>
                  <a:lnTo>
                    <a:pt x="24" y="126"/>
                  </a:lnTo>
                  <a:lnTo>
                    <a:pt x="30" y="114"/>
                  </a:lnTo>
                  <a:lnTo>
                    <a:pt x="42" y="108"/>
                  </a:lnTo>
                  <a:lnTo>
                    <a:pt x="54" y="108"/>
                  </a:lnTo>
                  <a:lnTo>
                    <a:pt x="60" y="102"/>
                  </a:lnTo>
                  <a:lnTo>
                    <a:pt x="72" y="96"/>
                  </a:lnTo>
                  <a:lnTo>
                    <a:pt x="78" y="90"/>
                  </a:lnTo>
                  <a:lnTo>
                    <a:pt x="72" y="72"/>
                  </a:lnTo>
                  <a:lnTo>
                    <a:pt x="36" y="78"/>
                  </a:lnTo>
                  <a:close/>
                  <a:moveTo>
                    <a:pt x="36" y="66"/>
                  </a:moveTo>
                  <a:lnTo>
                    <a:pt x="48" y="66"/>
                  </a:lnTo>
                  <a:lnTo>
                    <a:pt x="54" y="54"/>
                  </a:lnTo>
                  <a:lnTo>
                    <a:pt x="60" y="48"/>
                  </a:lnTo>
                  <a:lnTo>
                    <a:pt x="60" y="42"/>
                  </a:lnTo>
                  <a:lnTo>
                    <a:pt x="54" y="36"/>
                  </a:lnTo>
                  <a:lnTo>
                    <a:pt x="48" y="36"/>
                  </a:lnTo>
                  <a:lnTo>
                    <a:pt x="36" y="42"/>
                  </a:lnTo>
                  <a:lnTo>
                    <a:pt x="30" y="48"/>
                  </a:lnTo>
                  <a:lnTo>
                    <a:pt x="24" y="60"/>
                  </a:lnTo>
                  <a:lnTo>
                    <a:pt x="30" y="66"/>
                  </a:lnTo>
                  <a:lnTo>
                    <a:pt x="36" y="66"/>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67" name="Eritrea" descr="© INSCALE GmbH, 05.05.2010&#10;http://www.presentationload.com/">
              <a:extLst>
                <a:ext uri="{FF2B5EF4-FFF2-40B4-BE49-F238E27FC236}">
                  <a16:creationId xmlns:a16="http://schemas.microsoft.com/office/drawing/2014/main" id="{966D7B21-5AF4-4211-9EDC-5FD984D0A2EE}"/>
                </a:ext>
              </a:extLst>
            </p:cNvPr>
            <p:cNvSpPr>
              <a:spLocks/>
            </p:cNvSpPr>
            <p:nvPr/>
          </p:nvSpPr>
          <p:spPr bwMode="gray">
            <a:xfrm>
              <a:off x="5150142" y="3674029"/>
              <a:ext cx="191299" cy="181891"/>
            </a:xfrm>
            <a:custGeom>
              <a:avLst/>
              <a:gdLst>
                <a:gd name="T0" fmla="*/ 2147483647 w 480"/>
                <a:gd name="T1" fmla="*/ 2147483647 h 456"/>
                <a:gd name="T2" fmla="*/ 2147483647 w 480"/>
                <a:gd name="T3" fmla="*/ 2147483647 h 456"/>
                <a:gd name="T4" fmla="*/ 2147483647 w 480"/>
                <a:gd name="T5" fmla="*/ 2147483647 h 456"/>
                <a:gd name="T6" fmla="*/ 2147483647 w 480"/>
                <a:gd name="T7" fmla="*/ 2147483647 h 456"/>
                <a:gd name="T8" fmla="*/ 2147483647 w 480"/>
                <a:gd name="T9" fmla="*/ 2147483647 h 456"/>
                <a:gd name="T10" fmla="*/ 2147483647 w 480"/>
                <a:gd name="T11" fmla="*/ 2147483647 h 456"/>
                <a:gd name="T12" fmla="*/ 2147483647 w 480"/>
                <a:gd name="T13" fmla="*/ 2147483647 h 456"/>
                <a:gd name="T14" fmla="*/ 2147483647 w 480"/>
                <a:gd name="T15" fmla="*/ 2147483647 h 456"/>
                <a:gd name="T16" fmla="*/ 0 w 480"/>
                <a:gd name="T17" fmla="*/ 2147483647 h 456"/>
                <a:gd name="T18" fmla="*/ 2147483647 w 480"/>
                <a:gd name="T19" fmla="*/ 2147483647 h 456"/>
                <a:gd name="T20" fmla="*/ 2147483647 w 480"/>
                <a:gd name="T21" fmla="*/ 2147483647 h 456"/>
                <a:gd name="T22" fmla="*/ 2147483647 w 480"/>
                <a:gd name="T23" fmla="*/ 2147483647 h 456"/>
                <a:gd name="T24" fmla="*/ 2147483647 w 480"/>
                <a:gd name="T25" fmla="*/ 2147483647 h 456"/>
                <a:gd name="T26" fmla="*/ 2147483647 w 480"/>
                <a:gd name="T27" fmla="*/ 2147483647 h 456"/>
                <a:gd name="T28" fmla="*/ 2147483647 w 480"/>
                <a:gd name="T29" fmla="*/ 2147483647 h 456"/>
                <a:gd name="T30" fmla="*/ 2147483647 w 480"/>
                <a:gd name="T31" fmla="*/ 2147483647 h 456"/>
                <a:gd name="T32" fmla="*/ 2147483647 w 480"/>
                <a:gd name="T33" fmla="*/ 2147483647 h 456"/>
                <a:gd name="T34" fmla="*/ 2147483647 w 480"/>
                <a:gd name="T35" fmla="*/ 2147483647 h 456"/>
                <a:gd name="T36" fmla="*/ 2147483647 w 480"/>
                <a:gd name="T37" fmla="*/ 2147483647 h 456"/>
                <a:gd name="T38" fmla="*/ 2147483647 w 480"/>
                <a:gd name="T39" fmla="*/ 2147483647 h 456"/>
                <a:gd name="T40" fmla="*/ 2147483647 w 480"/>
                <a:gd name="T41" fmla="*/ 2147483647 h 456"/>
                <a:gd name="T42" fmla="*/ 2147483647 w 480"/>
                <a:gd name="T43" fmla="*/ 2147483647 h 456"/>
                <a:gd name="T44" fmla="*/ 2147483647 w 480"/>
                <a:gd name="T45" fmla="*/ 2147483647 h 456"/>
                <a:gd name="T46" fmla="*/ 2147483647 w 480"/>
                <a:gd name="T47" fmla="*/ 2147483647 h 456"/>
                <a:gd name="T48" fmla="*/ 2147483647 w 480"/>
                <a:gd name="T49" fmla="*/ 2147483647 h 456"/>
                <a:gd name="T50" fmla="*/ 2147483647 w 480"/>
                <a:gd name="T51" fmla="*/ 2147483647 h 456"/>
                <a:gd name="T52" fmla="*/ 2147483647 w 480"/>
                <a:gd name="T53" fmla="*/ 2147483647 h 456"/>
                <a:gd name="T54" fmla="*/ 2147483647 w 480"/>
                <a:gd name="T55" fmla="*/ 2147483647 h 456"/>
                <a:gd name="T56" fmla="*/ 2147483647 w 480"/>
                <a:gd name="T57" fmla="*/ 2147483647 h 456"/>
                <a:gd name="T58" fmla="*/ 2147483647 w 480"/>
                <a:gd name="T59" fmla="*/ 2147483647 h 456"/>
                <a:gd name="T60" fmla="*/ 2147483647 w 480"/>
                <a:gd name="T61" fmla="*/ 2147483647 h 456"/>
                <a:gd name="T62" fmla="*/ 2147483647 w 480"/>
                <a:gd name="T63" fmla="*/ 2147483647 h 456"/>
                <a:gd name="T64" fmla="*/ 2147483647 w 480"/>
                <a:gd name="T65" fmla="*/ 2147483647 h 456"/>
                <a:gd name="T66" fmla="*/ 2147483647 w 480"/>
                <a:gd name="T67" fmla="*/ 2147483647 h 456"/>
                <a:gd name="T68" fmla="*/ 2147483647 w 480"/>
                <a:gd name="T69" fmla="*/ 2147483647 h 456"/>
                <a:gd name="T70" fmla="*/ 2147483647 w 480"/>
                <a:gd name="T71" fmla="*/ 2147483647 h 456"/>
                <a:gd name="T72" fmla="*/ 2147483647 w 480"/>
                <a:gd name="T73" fmla="*/ 2147483647 h 456"/>
                <a:gd name="T74" fmla="*/ 2147483647 w 480"/>
                <a:gd name="T75" fmla="*/ 2147483647 h 456"/>
                <a:gd name="T76" fmla="*/ 2147483647 w 480"/>
                <a:gd name="T77" fmla="*/ 2147483647 h 456"/>
                <a:gd name="T78" fmla="*/ 2147483647 w 480"/>
                <a:gd name="T79" fmla="*/ 2147483647 h 456"/>
                <a:gd name="T80" fmla="*/ 2147483647 w 480"/>
                <a:gd name="T81" fmla="*/ 2147483647 h 456"/>
                <a:gd name="T82" fmla="*/ 2147483647 w 480"/>
                <a:gd name="T83" fmla="*/ 2147483647 h 456"/>
                <a:gd name="T84" fmla="*/ 2147483647 w 480"/>
                <a:gd name="T85" fmla="*/ 2147483647 h 456"/>
                <a:gd name="T86" fmla="*/ 2147483647 w 480"/>
                <a:gd name="T87" fmla="*/ 2147483647 h 456"/>
                <a:gd name="T88" fmla="*/ 2147483647 w 480"/>
                <a:gd name="T89" fmla="*/ 2147483647 h 456"/>
                <a:gd name="T90" fmla="*/ 2147483647 w 480"/>
                <a:gd name="T91" fmla="*/ 2147483647 h 456"/>
                <a:gd name="T92" fmla="*/ 2147483647 w 480"/>
                <a:gd name="T93" fmla="*/ 2147483647 h 456"/>
                <a:gd name="T94" fmla="*/ 2147483647 w 480"/>
                <a:gd name="T95" fmla="*/ 2147483647 h 456"/>
                <a:gd name="T96" fmla="*/ 2147483647 w 480"/>
                <a:gd name="T97" fmla="*/ 0 h 456"/>
                <a:gd name="T98" fmla="*/ 2147483647 w 480"/>
                <a:gd name="T99" fmla="*/ 2147483647 h 456"/>
                <a:gd name="T100" fmla="*/ 2147483647 w 480"/>
                <a:gd name="T101" fmla="*/ 2147483647 h 456"/>
                <a:gd name="T102" fmla="*/ 2147483647 w 480"/>
                <a:gd name="T103" fmla="*/ 2147483647 h 4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0"/>
                <a:gd name="T157" fmla="*/ 0 h 456"/>
                <a:gd name="T158" fmla="*/ 480 w 480"/>
                <a:gd name="T159" fmla="*/ 456 h 4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0" h="456">
                  <a:moveTo>
                    <a:pt x="78" y="54"/>
                  </a:moveTo>
                  <a:lnTo>
                    <a:pt x="78" y="66"/>
                  </a:lnTo>
                  <a:lnTo>
                    <a:pt x="72" y="72"/>
                  </a:lnTo>
                  <a:lnTo>
                    <a:pt x="72" y="78"/>
                  </a:lnTo>
                  <a:lnTo>
                    <a:pt x="66" y="84"/>
                  </a:lnTo>
                  <a:lnTo>
                    <a:pt x="48" y="84"/>
                  </a:lnTo>
                  <a:lnTo>
                    <a:pt x="48" y="102"/>
                  </a:lnTo>
                  <a:lnTo>
                    <a:pt x="42" y="108"/>
                  </a:lnTo>
                  <a:lnTo>
                    <a:pt x="30" y="108"/>
                  </a:lnTo>
                  <a:lnTo>
                    <a:pt x="30" y="120"/>
                  </a:lnTo>
                  <a:lnTo>
                    <a:pt x="36" y="126"/>
                  </a:lnTo>
                  <a:lnTo>
                    <a:pt x="36" y="168"/>
                  </a:lnTo>
                  <a:lnTo>
                    <a:pt x="30" y="180"/>
                  </a:lnTo>
                  <a:lnTo>
                    <a:pt x="24" y="186"/>
                  </a:lnTo>
                  <a:lnTo>
                    <a:pt x="18" y="186"/>
                  </a:lnTo>
                  <a:lnTo>
                    <a:pt x="18" y="222"/>
                  </a:lnTo>
                  <a:lnTo>
                    <a:pt x="12" y="222"/>
                  </a:lnTo>
                  <a:lnTo>
                    <a:pt x="0" y="228"/>
                  </a:lnTo>
                  <a:lnTo>
                    <a:pt x="0" y="246"/>
                  </a:lnTo>
                  <a:lnTo>
                    <a:pt x="6" y="252"/>
                  </a:lnTo>
                  <a:lnTo>
                    <a:pt x="12" y="300"/>
                  </a:lnTo>
                  <a:lnTo>
                    <a:pt x="48" y="300"/>
                  </a:lnTo>
                  <a:lnTo>
                    <a:pt x="54" y="294"/>
                  </a:lnTo>
                  <a:lnTo>
                    <a:pt x="54" y="288"/>
                  </a:lnTo>
                  <a:lnTo>
                    <a:pt x="60" y="288"/>
                  </a:lnTo>
                  <a:lnTo>
                    <a:pt x="66" y="294"/>
                  </a:lnTo>
                  <a:lnTo>
                    <a:pt x="66" y="300"/>
                  </a:lnTo>
                  <a:lnTo>
                    <a:pt x="84" y="318"/>
                  </a:lnTo>
                  <a:lnTo>
                    <a:pt x="96" y="306"/>
                  </a:lnTo>
                  <a:lnTo>
                    <a:pt x="96" y="294"/>
                  </a:lnTo>
                  <a:lnTo>
                    <a:pt x="102" y="276"/>
                  </a:lnTo>
                  <a:lnTo>
                    <a:pt x="108" y="264"/>
                  </a:lnTo>
                  <a:lnTo>
                    <a:pt x="108" y="252"/>
                  </a:lnTo>
                  <a:lnTo>
                    <a:pt x="120" y="258"/>
                  </a:lnTo>
                  <a:lnTo>
                    <a:pt x="132" y="270"/>
                  </a:lnTo>
                  <a:lnTo>
                    <a:pt x="138" y="270"/>
                  </a:lnTo>
                  <a:lnTo>
                    <a:pt x="144" y="276"/>
                  </a:lnTo>
                  <a:lnTo>
                    <a:pt x="150" y="288"/>
                  </a:lnTo>
                  <a:lnTo>
                    <a:pt x="180" y="288"/>
                  </a:lnTo>
                  <a:lnTo>
                    <a:pt x="186" y="276"/>
                  </a:lnTo>
                  <a:lnTo>
                    <a:pt x="192" y="270"/>
                  </a:lnTo>
                  <a:lnTo>
                    <a:pt x="198" y="276"/>
                  </a:lnTo>
                  <a:lnTo>
                    <a:pt x="198" y="288"/>
                  </a:lnTo>
                  <a:lnTo>
                    <a:pt x="210" y="288"/>
                  </a:lnTo>
                  <a:lnTo>
                    <a:pt x="222" y="282"/>
                  </a:lnTo>
                  <a:lnTo>
                    <a:pt x="240" y="282"/>
                  </a:lnTo>
                  <a:lnTo>
                    <a:pt x="246" y="288"/>
                  </a:lnTo>
                  <a:lnTo>
                    <a:pt x="276" y="288"/>
                  </a:lnTo>
                  <a:lnTo>
                    <a:pt x="294" y="312"/>
                  </a:lnTo>
                  <a:lnTo>
                    <a:pt x="306" y="312"/>
                  </a:lnTo>
                  <a:lnTo>
                    <a:pt x="312" y="318"/>
                  </a:lnTo>
                  <a:lnTo>
                    <a:pt x="324" y="324"/>
                  </a:lnTo>
                  <a:lnTo>
                    <a:pt x="348" y="360"/>
                  </a:lnTo>
                  <a:lnTo>
                    <a:pt x="354" y="366"/>
                  </a:lnTo>
                  <a:lnTo>
                    <a:pt x="378" y="378"/>
                  </a:lnTo>
                  <a:lnTo>
                    <a:pt x="390" y="390"/>
                  </a:lnTo>
                  <a:lnTo>
                    <a:pt x="390" y="414"/>
                  </a:lnTo>
                  <a:lnTo>
                    <a:pt x="396" y="420"/>
                  </a:lnTo>
                  <a:lnTo>
                    <a:pt x="408" y="426"/>
                  </a:lnTo>
                  <a:lnTo>
                    <a:pt x="420" y="426"/>
                  </a:lnTo>
                  <a:lnTo>
                    <a:pt x="432" y="444"/>
                  </a:lnTo>
                  <a:lnTo>
                    <a:pt x="456" y="456"/>
                  </a:lnTo>
                  <a:lnTo>
                    <a:pt x="468" y="438"/>
                  </a:lnTo>
                  <a:lnTo>
                    <a:pt x="480" y="432"/>
                  </a:lnTo>
                  <a:lnTo>
                    <a:pt x="474" y="420"/>
                  </a:lnTo>
                  <a:lnTo>
                    <a:pt x="456" y="402"/>
                  </a:lnTo>
                  <a:lnTo>
                    <a:pt x="432" y="402"/>
                  </a:lnTo>
                  <a:lnTo>
                    <a:pt x="426" y="396"/>
                  </a:lnTo>
                  <a:lnTo>
                    <a:pt x="426" y="360"/>
                  </a:lnTo>
                  <a:lnTo>
                    <a:pt x="420" y="360"/>
                  </a:lnTo>
                  <a:lnTo>
                    <a:pt x="414" y="354"/>
                  </a:lnTo>
                  <a:lnTo>
                    <a:pt x="366" y="330"/>
                  </a:lnTo>
                  <a:lnTo>
                    <a:pt x="360" y="324"/>
                  </a:lnTo>
                  <a:lnTo>
                    <a:pt x="360" y="312"/>
                  </a:lnTo>
                  <a:lnTo>
                    <a:pt x="354" y="300"/>
                  </a:lnTo>
                  <a:lnTo>
                    <a:pt x="354" y="288"/>
                  </a:lnTo>
                  <a:lnTo>
                    <a:pt x="348" y="276"/>
                  </a:lnTo>
                  <a:lnTo>
                    <a:pt x="348" y="270"/>
                  </a:lnTo>
                  <a:lnTo>
                    <a:pt x="336" y="270"/>
                  </a:lnTo>
                  <a:lnTo>
                    <a:pt x="324" y="264"/>
                  </a:lnTo>
                  <a:lnTo>
                    <a:pt x="306" y="264"/>
                  </a:lnTo>
                  <a:lnTo>
                    <a:pt x="282" y="240"/>
                  </a:lnTo>
                  <a:lnTo>
                    <a:pt x="264" y="246"/>
                  </a:lnTo>
                  <a:lnTo>
                    <a:pt x="252" y="228"/>
                  </a:lnTo>
                  <a:lnTo>
                    <a:pt x="234" y="222"/>
                  </a:lnTo>
                  <a:lnTo>
                    <a:pt x="216" y="204"/>
                  </a:lnTo>
                  <a:lnTo>
                    <a:pt x="210" y="192"/>
                  </a:lnTo>
                  <a:lnTo>
                    <a:pt x="204" y="186"/>
                  </a:lnTo>
                  <a:lnTo>
                    <a:pt x="198" y="174"/>
                  </a:lnTo>
                  <a:lnTo>
                    <a:pt x="198" y="114"/>
                  </a:lnTo>
                  <a:lnTo>
                    <a:pt x="192" y="90"/>
                  </a:lnTo>
                  <a:lnTo>
                    <a:pt x="186" y="78"/>
                  </a:lnTo>
                  <a:lnTo>
                    <a:pt x="180" y="60"/>
                  </a:lnTo>
                  <a:lnTo>
                    <a:pt x="168" y="42"/>
                  </a:lnTo>
                  <a:lnTo>
                    <a:pt x="162" y="24"/>
                  </a:lnTo>
                  <a:lnTo>
                    <a:pt x="156" y="12"/>
                  </a:lnTo>
                  <a:lnTo>
                    <a:pt x="150" y="6"/>
                  </a:lnTo>
                  <a:lnTo>
                    <a:pt x="150" y="0"/>
                  </a:lnTo>
                  <a:lnTo>
                    <a:pt x="144" y="0"/>
                  </a:lnTo>
                  <a:lnTo>
                    <a:pt x="144" y="12"/>
                  </a:lnTo>
                  <a:lnTo>
                    <a:pt x="132" y="36"/>
                  </a:lnTo>
                  <a:lnTo>
                    <a:pt x="108" y="48"/>
                  </a:lnTo>
                  <a:lnTo>
                    <a:pt x="90" y="54"/>
                  </a:lnTo>
                  <a:lnTo>
                    <a:pt x="78" y="54"/>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68" name="El Salvador" descr="© INSCALE GmbH, 05.05.2010&#10;http://www.presentationload.com/">
              <a:extLst>
                <a:ext uri="{FF2B5EF4-FFF2-40B4-BE49-F238E27FC236}">
                  <a16:creationId xmlns:a16="http://schemas.microsoft.com/office/drawing/2014/main" id="{69F2ABC6-7F5B-4AFB-9E94-C138EDAA7CDF}"/>
                </a:ext>
              </a:extLst>
            </p:cNvPr>
            <p:cNvSpPr>
              <a:spLocks/>
            </p:cNvSpPr>
            <p:nvPr/>
          </p:nvSpPr>
          <p:spPr bwMode="gray">
            <a:xfrm>
              <a:off x="1597002" y="3790063"/>
              <a:ext cx="67424" cy="43905"/>
            </a:xfrm>
            <a:custGeom>
              <a:avLst/>
              <a:gdLst>
                <a:gd name="T0" fmla="*/ 2147483647 w 174"/>
                <a:gd name="T1" fmla="*/ 2147483647 h 114"/>
                <a:gd name="T2" fmla="*/ 2147483647 w 174"/>
                <a:gd name="T3" fmla="*/ 2147483647 h 114"/>
                <a:gd name="T4" fmla="*/ 2147483647 w 174"/>
                <a:gd name="T5" fmla="*/ 2147483647 h 114"/>
                <a:gd name="T6" fmla="*/ 2147483647 w 174"/>
                <a:gd name="T7" fmla="*/ 2147483647 h 114"/>
                <a:gd name="T8" fmla="*/ 2147483647 w 174"/>
                <a:gd name="T9" fmla="*/ 2147483647 h 114"/>
                <a:gd name="T10" fmla="*/ 2147483647 w 174"/>
                <a:gd name="T11" fmla="*/ 2147483647 h 114"/>
                <a:gd name="T12" fmla="*/ 2147483647 w 174"/>
                <a:gd name="T13" fmla="*/ 2147483647 h 114"/>
                <a:gd name="T14" fmla="*/ 2147483647 w 174"/>
                <a:gd name="T15" fmla="*/ 2147483647 h 114"/>
                <a:gd name="T16" fmla="*/ 2147483647 w 174"/>
                <a:gd name="T17" fmla="*/ 2147483647 h 114"/>
                <a:gd name="T18" fmla="*/ 2147483647 w 174"/>
                <a:gd name="T19" fmla="*/ 0 h 114"/>
                <a:gd name="T20" fmla="*/ 2147483647 w 174"/>
                <a:gd name="T21" fmla="*/ 2147483647 h 114"/>
                <a:gd name="T22" fmla="*/ 2147483647 w 174"/>
                <a:gd name="T23" fmla="*/ 2147483647 h 114"/>
                <a:gd name="T24" fmla="*/ 2147483647 w 174"/>
                <a:gd name="T25" fmla="*/ 2147483647 h 114"/>
                <a:gd name="T26" fmla="*/ 2147483647 w 174"/>
                <a:gd name="T27" fmla="*/ 2147483647 h 114"/>
                <a:gd name="T28" fmla="*/ 2147483647 w 174"/>
                <a:gd name="T29" fmla="*/ 2147483647 h 114"/>
                <a:gd name="T30" fmla="*/ 2147483647 w 174"/>
                <a:gd name="T31" fmla="*/ 2147483647 h 114"/>
                <a:gd name="T32" fmla="*/ 2147483647 w 174"/>
                <a:gd name="T33" fmla="*/ 2147483647 h 114"/>
                <a:gd name="T34" fmla="*/ 2147483647 w 174"/>
                <a:gd name="T35" fmla="*/ 2147483647 h 114"/>
                <a:gd name="T36" fmla="*/ 0 w 174"/>
                <a:gd name="T37" fmla="*/ 2147483647 h 114"/>
                <a:gd name="T38" fmla="*/ 2147483647 w 174"/>
                <a:gd name="T39" fmla="*/ 2147483647 h 114"/>
                <a:gd name="T40" fmla="*/ 2147483647 w 174"/>
                <a:gd name="T41" fmla="*/ 2147483647 h 114"/>
                <a:gd name="T42" fmla="*/ 2147483647 w 174"/>
                <a:gd name="T43" fmla="*/ 2147483647 h 114"/>
                <a:gd name="T44" fmla="*/ 2147483647 w 174"/>
                <a:gd name="T45" fmla="*/ 2147483647 h 114"/>
                <a:gd name="T46" fmla="*/ 2147483647 w 174"/>
                <a:gd name="T47" fmla="*/ 2147483647 h 114"/>
                <a:gd name="T48" fmla="*/ 2147483647 w 174"/>
                <a:gd name="T49" fmla="*/ 2147483647 h 114"/>
                <a:gd name="T50" fmla="*/ 2147483647 w 174"/>
                <a:gd name="T51" fmla="*/ 2147483647 h 114"/>
                <a:gd name="T52" fmla="*/ 2147483647 w 174"/>
                <a:gd name="T53" fmla="*/ 2147483647 h 114"/>
                <a:gd name="T54" fmla="*/ 2147483647 w 174"/>
                <a:gd name="T55" fmla="*/ 2147483647 h 114"/>
                <a:gd name="T56" fmla="*/ 2147483647 w 174"/>
                <a:gd name="T57" fmla="*/ 2147483647 h 1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4"/>
                <a:gd name="T88" fmla="*/ 0 h 114"/>
                <a:gd name="T89" fmla="*/ 174 w 174"/>
                <a:gd name="T90" fmla="*/ 114 h 1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4" h="114">
                  <a:moveTo>
                    <a:pt x="174" y="84"/>
                  </a:moveTo>
                  <a:lnTo>
                    <a:pt x="174" y="42"/>
                  </a:lnTo>
                  <a:lnTo>
                    <a:pt x="138" y="42"/>
                  </a:lnTo>
                  <a:lnTo>
                    <a:pt x="132" y="48"/>
                  </a:lnTo>
                  <a:lnTo>
                    <a:pt x="120" y="48"/>
                  </a:lnTo>
                  <a:lnTo>
                    <a:pt x="114" y="42"/>
                  </a:lnTo>
                  <a:lnTo>
                    <a:pt x="114" y="24"/>
                  </a:lnTo>
                  <a:lnTo>
                    <a:pt x="90" y="24"/>
                  </a:lnTo>
                  <a:lnTo>
                    <a:pt x="78" y="12"/>
                  </a:lnTo>
                  <a:lnTo>
                    <a:pt x="72" y="0"/>
                  </a:lnTo>
                  <a:lnTo>
                    <a:pt x="60" y="6"/>
                  </a:lnTo>
                  <a:lnTo>
                    <a:pt x="48" y="6"/>
                  </a:lnTo>
                  <a:lnTo>
                    <a:pt x="48" y="18"/>
                  </a:lnTo>
                  <a:lnTo>
                    <a:pt x="42" y="24"/>
                  </a:lnTo>
                  <a:lnTo>
                    <a:pt x="36" y="36"/>
                  </a:lnTo>
                  <a:lnTo>
                    <a:pt x="30" y="36"/>
                  </a:lnTo>
                  <a:lnTo>
                    <a:pt x="24" y="42"/>
                  </a:lnTo>
                  <a:lnTo>
                    <a:pt x="12" y="48"/>
                  </a:lnTo>
                  <a:lnTo>
                    <a:pt x="0" y="60"/>
                  </a:lnTo>
                  <a:lnTo>
                    <a:pt x="6" y="66"/>
                  </a:lnTo>
                  <a:lnTo>
                    <a:pt x="18" y="72"/>
                  </a:lnTo>
                  <a:lnTo>
                    <a:pt x="24" y="78"/>
                  </a:lnTo>
                  <a:lnTo>
                    <a:pt x="72" y="78"/>
                  </a:lnTo>
                  <a:lnTo>
                    <a:pt x="96" y="102"/>
                  </a:lnTo>
                  <a:lnTo>
                    <a:pt x="132" y="96"/>
                  </a:lnTo>
                  <a:lnTo>
                    <a:pt x="150" y="114"/>
                  </a:lnTo>
                  <a:lnTo>
                    <a:pt x="168" y="84"/>
                  </a:lnTo>
                  <a:lnTo>
                    <a:pt x="174" y="90"/>
                  </a:lnTo>
                  <a:lnTo>
                    <a:pt x="174" y="84"/>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69" name="Elfenbeinküste" descr="© INSCALE GmbH, 05.05.2010&#10;http://www.presentationload.com/">
              <a:extLst>
                <a:ext uri="{FF2B5EF4-FFF2-40B4-BE49-F238E27FC236}">
                  <a16:creationId xmlns:a16="http://schemas.microsoft.com/office/drawing/2014/main" id="{E581CBDE-9427-4BE0-85EB-1197B6F7980F}"/>
                </a:ext>
              </a:extLst>
            </p:cNvPr>
            <p:cNvSpPr>
              <a:spLocks/>
            </p:cNvSpPr>
            <p:nvPr/>
          </p:nvSpPr>
          <p:spPr bwMode="gray">
            <a:xfrm>
              <a:off x="3883179" y="3909233"/>
              <a:ext cx="174050" cy="205412"/>
            </a:xfrm>
            <a:custGeom>
              <a:avLst/>
              <a:gdLst>
                <a:gd name="T0" fmla="*/ 2147483647 w 438"/>
                <a:gd name="T1" fmla="*/ 2147483647 h 516"/>
                <a:gd name="T2" fmla="*/ 2147483647 w 438"/>
                <a:gd name="T3" fmla="*/ 2147483647 h 516"/>
                <a:gd name="T4" fmla="*/ 2147483647 w 438"/>
                <a:gd name="T5" fmla="*/ 2147483647 h 516"/>
                <a:gd name="T6" fmla="*/ 2147483647 w 438"/>
                <a:gd name="T7" fmla="*/ 2147483647 h 516"/>
                <a:gd name="T8" fmla="*/ 2147483647 w 438"/>
                <a:gd name="T9" fmla="*/ 2147483647 h 516"/>
                <a:gd name="T10" fmla="*/ 2147483647 w 438"/>
                <a:gd name="T11" fmla="*/ 2147483647 h 516"/>
                <a:gd name="T12" fmla="*/ 2147483647 w 438"/>
                <a:gd name="T13" fmla="*/ 2147483647 h 516"/>
                <a:gd name="T14" fmla="*/ 2147483647 w 438"/>
                <a:gd name="T15" fmla="*/ 2147483647 h 516"/>
                <a:gd name="T16" fmla="*/ 2147483647 w 438"/>
                <a:gd name="T17" fmla="*/ 2147483647 h 516"/>
                <a:gd name="T18" fmla="*/ 2147483647 w 438"/>
                <a:gd name="T19" fmla="*/ 2147483647 h 516"/>
                <a:gd name="T20" fmla="*/ 2147483647 w 438"/>
                <a:gd name="T21" fmla="*/ 2147483647 h 516"/>
                <a:gd name="T22" fmla="*/ 2147483647 w 438"/>
                <a:gd name="T23" fmla="*/ 2147483647 h 516"/>
                <a:gd name="T24" fmla="*/ 2147483647 w 438"/>
                <a:gd name="T25" fmla="*/ 2147483647 h 516"/>
                <a:gd name="T26" fmla="*/ 2147483647 w 438"/>
                <a:gd name="T27" fmla="*/ 2147483647 h 516"/>
                <a:gd name="T28" fmla="*/ 2147483647 w 438"/>
                <a:gd name="T29" fmla="*/ 2147483647 h 516"/>
                <a:gd name="T30" fmla="*/ 2147483647 w 438"/>
                <a:gd name="T31" fmla="*/ 2147483647 h 516"/>
                <a:gd name="T32" fmla="*/ 2147483647 w 438"/>
                <a:gd name="T33" fmla="*/ 0 h 516"/>
                <a:gd name="T34" fmla="*/ 2147483647 w 438"/>
                <a:gd name="T35" fmla="*/ 2147483647 h 516"/>
                <a:gd name="T36" fmla="*/ 2147483647 w 438"/>
                <a:gd name="T37" fmla="*/ 2147483647 h 516"/>
                <a:gd name="T38" fmla="*/ 2147483647 w 438"/>
                <a:gd name="T39" fmla="*/ 2147483647 h 516"/>
                <a:gd name="T40" fmla="*/ 2147483647 w 438"/>
                <a:gd name="T41" fmla="*/ 2147483647 h 516"/>
                <a:gd name="T42" fmla="*/ 2147483647 w 438"/>
                <a:gd name="T43" fmla="*/ 2147483647 h 516"/>
                <a:gd name="T44" fmla="*/ 2147483647 w 438"/>
                <a:gd name="T45" fmla="*/ 2147483647 h 516"/>
                <a:gd name="T46" fmla="*/ 2147483647 w 438"/>
                <a:gd name="T47" fmla="*/ 2147483647 h 516"/>
                <a:gd name="T48" fmla="*/ 2147483647 w 438"/>
                <a:gd name="T49" fmla="*/ 2147483647 h 516"/>
                <a:gd name="T50" fmla="*/ 2147483647 w 438"/>
                <a:gd name="T51" fmla="*/ 2147483647 h 516"/>
                <a:gd name="T52" fmla="*/ 2147483647 w 438"/>
                <a:gd name="T53" fmla="*/ 2147483647 h 516"/>
                <a:gd name="T54" fmla="*/ 2147483647 w 438"/>
                <a:gd name="T55" fmla="*/ 2147483647 h 516"/>
                <a:gd name="T56" fmla="*/ 2147483647 w 438"/>
                <a:gd name="T57" fmla="*/ 2147483647 h 516"/>
                <a:gd name="T58" fmla="*/ 2147483647 w 438"/>
                <a:gd name="T59" fmla="*/ 2147483647 h 516"/>
                <a:gd name="T60" fmla="*/ 2147483647 w 438"/>
                <a:gd name="T61" fmla="*/ 2147483647 h 516"/>
                <a:gd name="T62" fmla="*/ 2147483647 w 438"/>
                <a:gd name="T63" fmla="*/ 2147483647 h 516"/>
                <a:gd name="T64" fmla="*/ 2147483647 w 438"/>
                <a:gd name="T65" fmla="*/ 2147483647 h 516"/>
                <a:gd name="T66" fmla="*/ 2147483647 w 438"/>
                <a:gd name="T67" fmla="*/ 2147483647 h 516"/>
                <a:gd name="T68" fmla="*/ 2147483647 w 438"/>
                <a:gd name="T69" fmla="*/ 2147483647 h 516"/>
                <a:gd name="T70" fmla="*/ 2147483647 w 438"/>
                <a:gd name="T71" fmla="*/ 2147483647 h 516"/>
                <a:gd name="T72" fmla="*/ 2147483647 w 438"/>
                <a:gd name="T73" fmla="*/ 2147483647 h 516"/>
                <a:gd name="T74" fmla="*/ 2147483647 w 438"/>
                <a:gd name="T75" fmla="*/ 2147483647 h 516"/>
                <a:gd name="T76" fmla="*/ 2147483647 w 438"/>
                <a:gd name="T77" fmla="*/ 2147483647 h 516"/>
                <a:gd name="T78" fmla="*/ 2147483647 w 438"/>
                <a:gd name="T79" fmla="*/ 2147483647 h 516"/>
                <a:gd name="T80" fmla="*/ 2147483647 w 438"/>
                <a:gd name="T81" fmla="*/ 2147483647 h 516"/>
                <a:gd name="T82" fmla="*/ 2147483647 w 438"/>
                <a:gd name="T83" fmla="*/ 2147483647 h 516"/>
                <a:gd name="T84" fmla="*/ 2147483647 w 438"/>
                <a:gd name="T85" fmla="*/ 2147483647 h 516"/>
                <a:gd name="T86" fmla="*/ 2147483647 w 438"/>
                <a:gd name="T87" fmla="*/ 2147483647 h 516"/>
                <a:gd name="T88" fmla="*/ 2147483647 w 438"/>
                <a:gd name="T89" fmla="*/ 2147483647 h 5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38"/>
                <a:gd name="T136" fmla="*/ 0 h 516"/>
                <a:gd name="T137" fmla="*/ 438 w 438"/>
                <a:gd name="T138" fmla="*/ 516 h 5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38" h="516">
                  <a:moveTo>
                    <a:pt x="402" y="408"/>
                  </a:moveTo>
                  <a:lnTo>
                    <a:pt x="402" y="402"/>
                  </a:lnTo>
                  <a:lnTo>
                    <a:pt x="396" y="396"/>
                  </a:lnTo>
                  <a:lnTo>
                    <a:pt x="390" y="384"/>
                  </a:lnTo>
                  <a:lnTo>
                    <a:pt x="390" y="372"/>
                  </a:lnTo>
                  <a:lnTo>
                    <a:pt x="384" y="354"/>
                  </a:lnTo>
                  <a:lnTo>
                    <a:pt x="378" y="342"/>
                  </a:lnTo>
                  <a:lnTo>
                    <a:pt x="378" y="318"/>
                  </a:lnTo>
                  <a:lnTo>
                    <a:pt x="384" y="312"/>
                  </a:lnTo>
                  <a:lnTo>
                    <a:pt x="390" y="300"/>
                  </a:lnTo>
                  <a:lnTo>
                    <a:pt x="408" y="282"/>
                  </a:lnTo>
                  <a:lnTo>
                    <a:pt x="408" y="270"/>
                  </a:lnTo>
                  <a:lnTo>
                    <a:pt x="414" y="258"/>
                  </a:lnTo>
                  <a:lnTo>
                    <a:pt x="414" y="240"/>
                  </a:lnTo>
                  <a:lnTo>
                    <a:pt x="420" y="228"/>
                  </a:lnTo>
                  <a:lnTo>
                    <a:pt x="426" y="222"/>
                  </a:lnTo>
                  <a:lnTo>
                    <a:pt x="438" y="198"/>
                  </a:lnTo>
                  <a:lnTo>
                    <a:pt x="438" y="186"/>
                  </a:lnTo>
                  <a:lnTo>
                    <a:pt x="432" y="174"/>
                  </a:lnTo>
                  <a:lnTo>
                    <a:pt x="432" y="162"/>
                  </a:lnTo>
                  <a:lnTo>
                    <a:pt x="426" y="150"/>
                  </a:lnTo>
                  <a:lnTo>
                    <a:pt x="426" y="138"/>
                  </a:lnTo>
                  <a:lnTo>
                    <a:pt x="420" y="132"/>
                  </a:lnTo>
                  <a:lnTo>
                    <a:pt x="420" y="126"/>
                  </a:lnTo>
                  <a:lnTo>
                    <a:pt x="432" y="126"/>
                  </a:lnTo>
                  <a:lnTo>
                    <a:pt x="426" y="96"/>
                  </a:lnTo>
                  <a:lnTo>
                    <a:pt x="408" y="102"/>
                  </a:lnTo>
                  <a:lnTo>
                    <a:pt x="408" y="90"/>
                  </a:lnTo>
                  <a:lnTo>
                    <a:pt x="390" y="72"/>
                  </a:lnTo>
                  <a:lnTo>
                    <a:pt x="372" y="66"/>
                  </a:lnTo>
                  <a:lnTo>
                    <a:pt x="342" y="66"/>
                  </a:lnTo>
                  <a:lnTo>
                    <a:pt x="318" y="78"/>
                  </a:lnTo>
                  <a:lnTo>
                    <a:pt x="318" y="84"/>
                  </a:lnTo>
                  <a:lnTo>
                    <a:pt x="312" y="90"/>
                  </a:lnTo>
                  <a:lnTo>
                    <a:pt x="300" y="90"/>
                  </a:lnTo>
                  <a:lnTo>
                    <a:pt x="294" y="84"/>
                  </a:lnTo>
                  <a:lnTo>
                    <a:pt x="282" y="84"/>
                  </a:lnTo>
                  <a:lnTo>
                    <a:pt x="276" y="78"/>
                  </a:lnTo>
                  <a:lnTo>
                    <a:pt x="264" y="72"/>
                  </a:lnTo>
                  <a:lnTo>
                    <a:pt x="258" y="60"/>
                  </a:lnTo>
                  <a:lnTo>
                    <a:pt x="258" y="48"/>
                  </a:lnTo>
                  <a:lnTo>
                    <a:pt x="252" y="42"/>
                  </a:lnTo>
                  <a:lnTo>
                    <a:pt x="252" y="36"/>
                  </a:lnTo>
                  <a:lnTo>
                    <a:pt x="228" y="42"/>
                  </a:lnTo>
                  <a:lnTo>
                    <a:pt x="228" y="18"/>
                  </a:lnTo>
                  <a:lnTo>
                    <a:pt x="216" y="18"/>
                  </a:lnTo>
                  <a:lnTo>
                    <a:pt x="210" y="24"/>
                  </a:lnTo>
                  <a:lnTo>
                    <a:pt x="204" y="36"/>
                  </a:lnTo>
                  <a:lnTo>
                    <a:pt x="198" y="42"/>
                  </a:lnTo>
                  <a:lnTo>
                    <a:pt x="174" y="36"/>
                  </a:lnTo>
                  <a:lnTo>
                    <a:pt x="174" y="0"/>
                  </a:lnTo>
                  <a:lnTo>
                    <a:pt x="162" y="24"/>
                  </a:lnTo>
                  <a:lnTo>
                    <a:pt x="150" y="6"/>
                  </a:lnTo>
                  <a:lnTo>
                    <a:pt x="144" y="30"/>
                  </a:lnTo>
                  <a:lnTo>
                    <a:pt x="126" y="30"/>
                  </a:lnTo>
                  <a:lnTo>
                    <a:pt x="120" y="48"/>
                  </a:lnTo>
                  <a:lnTo>
                    <a:pt x="102" y="30"/>
                  </a:lnTo>
                  <a:lnTo>
                    <a:pt x="84" y="24"/>
                  </a:lnTo>
                  <a:lnTo>
                    <a:pt x="72" y="24"/>
                  </a:lnTo>
                  <a:lnTo>
                    <a:pt x="66" y="30"/>
                  </a:lnTo>
                  <a:lnTo>
                    <a:pt x="66" y="48"/>
                  </a:lnTo>
                  <a:lnTo>
                    <a:pt x="54" y="42"/>
                  </a:lnTo>
                  <a:lnTo>
                    <a:pt x="36" y="66"/>
                  </a:lnTo>
                  <a:lnTo>
                    <a:pt x="42" y="102"/>
                  </a:lnTo>
                  <a:lnTo>
                    <a:pt x="60" y="108"/>
                  </a:lnTo>
                  <a:lnTo>
                    <a:pt x="48" y="126"/>
                  </a:lnTo>
                  <a:lnTo>
                    <a:pt x="66" y="132"/>
                  </a:lnTo>
                  <a:lnTo>
                    <a:pt x="60" y="138"/>
                  </a:lnTo>
                  <a:lnTo>
                    <a:pt x="54" y="150"/>
                  </a:lnTo>
                  <a:lnTo>
                    <a:pt x="54" y="162"/>
                  </a:lnTo>
                  <a:lnTo>
                    <a:pt x="60" y="162"/>
                  </a:lnTo>
                  <a:lnTo>
                    <a:pt x="72" y="168"/>
                  </a:lnTo>
                  <a:lnTo>
                    <a:pt x="78" y="168"/>
                  </a:lnTo>
                  <a:lnTo>
                    <a:pt x="78" y="180"/>
                  </a:lnTo>
                  <a:lnTo>
                    <a:pt x="72" y="186"/>
                  </a:lnTo>
                  <a:lnTo>
                    <a:pt x="72" y="192"/>
                  </a:lnTo>
                  <a:lnTo>
                    <a:pt x="66" y="186"/>
                  </a:lnTo>
                  <a:lnTo>
                    <a:pt x="54" y="186"/>
                  </a:lnTo>
                  <a:lnTo>
                    <a:pt x="48" y="180"/>
                  </a:lnTo>
                  <a:lnTo>
                    <a:pt x="30" y="180"/>
                  </a:lnTo>
                  <a:lnTo>
                    <a:pt x="30" y="192"/>
                  </a:lnTo>
                  <a:lnTo>
                    <a:pt x="36" y="204"/>
                  </a:lnTo>
                  <a:lnTo>
                    <a:pt x="48" y="210"/>
                  </a:lnTo>
                  <a:lnTo>
                    <a:pt x="54" y="222"/>
                  </a:lnTo>
                  <a:lnTo>
                    <a:pt x="36" y="222"/>
                  </a:lnTo>
                  <a:lnTo>
                    <a:pt x="36" y="228"/>
                  </a:lnTo>
                  <a:lnTo>
                    <a:pt x="42" y="234"/>
                  </a:lnTo>
                  <a:lnTo>
                    <a:pt x="42" y="252"/>
                  </a:lnTo>
                  <a:lnTo>
                    <a:pt x="36" y="258"/>
                  </a:lnTo>
                  <a:lnTo>
                    <a:pt x="30" y="258"/>
                  </a:lnTo>
                  <a:lnTo>
                    <a:pt x="18" y="252"/>
                  </a:lnTo>
                  <a:lnTo>
                    <a:pt x="12" y="246"/>
                  </a:lnTo>
                  <a:lnTo>
                    <a:pt x="6" y="246"/>
                  </a:lnTo>
                  <a:lnTo>
                    <a:pt x="24" y="282"/>
                  </a:lnTo>
                  <a:lnTo>
                    <a:pt x="24" y="306"/>
                  </a:lnTo>
                  <a:lnTo>
                    <a:pt x="18" y="324"/>
                  </a:lnTo>
                  <a:lnTo>
                    <a:pt x="6" y="330"/>
                  </a:lnTo>
                  <a:lnTo>
                    <a:pt x="0" y="342"/>
                  </a:lnTo>
                  <a:lnTo>
                    <a:pt x="6" y="348"/>
                  </a:lnTo>
                  <a:lnTo>
                    <a:pt x="24" y="348"/>
                  </a:lnTo>
                  <a:lnTo>
                    <a:pt x="24" y="360"/>
                  </a:lnTo>
                  <a:lnTo>
                    <a:pt x="60" y="354"/>
                  </a:lnTo>
                  <a:lnTo>
                    <a:pt x="60" y="384"/>
                  </a:lnTo>
                  <a:lnTo>
                    <a:pt x="90" y="414"/>
                  </a:lnTo>
                  <a:lnTo>
                    <a:pt x="90" y="438"/>
                  </a:lnTo>
                  <a:lnTo>
                    <a:pt x="84" y="450"/>
                  </a:lnTo>
                  <a:lnTo>
                    <a:pt x="84" y="462"/>
                  </a:lnTo>
                  <a:lnTo>
                    <a:pt x="78" y="468"/>
                  </a:lnTo>
                  <a:lnTo>
                    <a:pt x="78" y="516"/>
                  </a:lnTo>
                  <a:lnTo>
                    <a:pt x="90" y="516"/>
                  </a:lnTo>
                  <a:lnTo>
                    <a:pt x="96" y="510"/>
                  </a:lnTo>
                  <a:lnTo>
                    <a:pt x="102" y="498"/>
                  </a:lnTo>
                  <a:lnTo>
                    <a:pt x="114" y="498"/>
                  </a:lnTo>
                  <a:lnTo>
                    <a:pt x="126" y="486"/>
                  </a:lnTo>
                  <a:lnTo>
                    <a:pt x="138" y="480"/>
                  </a:lnTo>
                  <a:lnTo>
                    <a:pt x="198" y="456"/>
                  </a:lnTo>
                  <a:lnTo>
                    <a:pt x="228" y="450"/>
                  </a:lnTo>
                  <a:lnTo>
                    <a:pt x="264" y="450"/>
                  </a:lnTo>
                  <a:lnTo>
                    <a:pt x="270" y="444"/>
                  </a:lnTo>
                  <a:lnTo>
                    <a:pt x="282" y="444"/>
                  </a:lnTo>
                  <a:lnTo>
                    <a:pt x="294" y="438"/>
                  </a:lnTo>
                  <a:lnTo>
                    <a:pt x="330" y="438"/>
                  </a:lnTo>
                  <a:lnTo>
                    <a:pt x="336" y="444"/>
                  </a:lnTo>
                  <a:lnTo>
                    <a:pt x="342" y="444"/>
                  </a:lnTo>
                  <a:lnTo>
                    <a:pt x="348" y="450"/>
                  </a:lnTo>
                  <a:lnTo>
                    <a:pt x="366" y="450"/>
                  </a:lnTo>
                  <a:lnTo>
                    <a:pt x="378" y="438"/>
                  </a:lnTo>
                  <a:lnTo>
                    <a:pt x="384" y="438"/>
                  </a:lnTo>
                  <a:lnTo>
                    <a:pt x="384" y="444"/>
                  </a:lnTo>
                  <a:lnTo>
                    <a:pt x="396" y="456"/>
                  </a:lnTo>
                  <a:lnTo>
                    <a:pt x="408" y="462"/>
                  </a:lnTo>
                  <a:lnTo>
                    <a:pt x="420" y="462"/>
                  </a:lnTo>
                  <a:lnTo>
                    <a:pt x="426" y="468"/>
                  </a:lnTo>
                  <a:lnTo>
                    <a:pt x="426" y="414"/>
                  </a:lnTo>
                  <a:lnTo>
                    <a:pt x="402" y="408"/>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70" name="Ecuador" descr="© INSCALE GmbH, 05.05.2010&#10;http://www.presentationload.com/">
              <a:extLst>
                <a:ext uri="{FF2B5EF4-FFF2-40B4-BE49-F238E27FC236}">
                  <a16:creationId xmlns:a16="http://schemas.microsoft.com/office/drawing/2014/main" id="{3814A516-609B-43AE-A6A5-3D3847EB91CE}"/>
                </a:ext>
              </a:extLst>
            </p:cNvPr>
            <p:cNvSpPr>
              <a:spLocks noEditPoints="1"/>
            </p:cNvSpPr>
            <p:nvPr/>
          </p:nvSpPr>
          <p:spPr bwMode="gray">
            <a:xfrm>
              <a:off x="1833774" y="4200885"/>
              <a:ext cx="164642" cy="210115"/>
            </a:xfrm>
            <a:custGeom>
              <a:avLst/>
              <a:gdLst>
                <a:gd name="T0" fmla="*/ 2147483647 w 414"/>
                <a:gd name="T1" fmla="*/ 2147483647 h 528"/>
                <a:gd name="T2" fmla="*/ 2147483647 w 414"/>
                <a:gd name="T3" fmla="*/ 2147483647 h 528"/>
                <a:gd name="T4" fmla="*/ 2147483647 w 414"/>
                <a:gd name="T5" fmla="*/ 2147483647 h 528"/>
                <a:gd name="T6" fmla="*/ 2147483647 w 414"/>
                <a:gd name="T7" fmla="*/ 2147483647 h 528"/>
                <a:gd name="T8" fmla="*/ 2147483647 w 414"/>
                <a:gd name="T9" fmla="*/ 2147483647 h 528"/>
                <a:gd name="T10" fmla="*/ 2147483647 w 414"/>
                <a:gd name="T11" fmla="*/ 2147483647 h 528"/>
                <a:gd name="T12" fmla="*/ 2147483647 w 414"/>
                <a:gd name="T13" fmla="*/ 2147483647 h 528"/>
                <a:gd name="T14" fmla="*/ 2147483647 w 414"/>
                <a:gd name="T15" fmla="*/ 2147483647 h 528"/>
                <a:gd name="T16" fmla="*/ 2147483647 w 414"/>
                <a:gd name="T17" fmla="*/ 2147483647 h 528"/>
                <a:gd name="T18" fmla="*/ 2147483647 w 414"/>
                <a:gd name="T19" fmla="*/ 2147483647 h 528"/>
                <a:gd name="T20" fmla="*/ 2147483647 w 414"/>
                <a:gd name="T21" fmla="*/ 2147483647 h 528"/>
                <a:gd name="T22" fmla="*/ 2147483647 w 414"/>
                <a:gd name="T23" fmla="*/ 2147483647 h 528"/>
                <a:gd name="T24" fmla="*/ 2147483647 w 414"/>
                <a:gd name="T25" fmla="*/ 2147483647 h 528"/>
                <a:gd name="T26" fmla="*/ 2147483647 w 414"/>
                <a:gd name="T27" fmla="*/ 2147483647 h 528"/>
                <a:gd name="T28" fmla="*/ 2147483647 w 414"/>
                <a:gd name="T29" fmla="*/ 2147483647 h 528"/>
                <a:gd name="T30" fmla="*/ 2147483647 w 414"/>
                <a:gd name="T31" fmla="*/ 2147483647 h 528"/>
                <a:gd name="T32" fmla="*/ 2147483647 w 414"/>
                <a:gd name="T33" fmla="*/ 2147483647 h 528"/>
                <a:gd name="T34" fmla="*/ 2147483647 w 414"/>
                <a:gd name="T35" fmla="*/ 2147483647 h 528"/>
                <a:gd name="T36" fmla="*/ 2147483647 w 414"/>
                <a:gd name="T37" fmla="*/ 2147483647 h 528"/>
                <a:gd name="T38" fmla="*/ 2147483647 w 414"/>
                <a:gd name="T39" fmla="*/ 2147483647 h 528"/>
                <a:gd name="T40" fmla="*/ 2147483647 w 414"/>
                <a:gd name="T41" fmla="*/ 2147483647 h 528"/>
                <a:gd name="T42" fmla="*/ 2147483647 w 414"/>
                <a:gd name="T43" fmla="*/ 2147483647 h 528"/>
                <a:gd name="T44" fmla="*/ 2147483647 w 414"/>
                <a:gd name="T45" fmla="*/ 2147483647 h 528"/>
                <a:gd name="T46" fmla="*/ 2147483647 w 414"/>
                <a:gd name="T47" fmla="*/ 2147483647 h 528"/>
                <a:gd name="T48" fmla="*/ 2147483647 w 414"/>
                <a:gd name="T49" fmla="*/ 2147483647 h 528"/>
                <a:gd name="T50" fmla="*/ 2147483647 w 414"/>
                <a:gd name="T51" fmla="*/ 2147483647 h 528"/>
                <a:gd name="T52" fmla="*/ 2147483647 w 414"/>
                <a:gd name="T53" fmla="*/ 2147483647 h 528"/>
                <a:gd name="T54" fmla="*/ 2147483647 w 414"/>
                <a:gd name="T55" fmla="*/ 2147483647 h 528"/>
                <a:gd name="T56" fmla="*/ 2147483647 w 414"/>
                <a:gd name="T57" fmla="*/ 2147483647 h 528"/>
                <a:gd name="T58" fmla="*/ 2147483647 w 414"/>
                <a:gd name="T59" fmla="*/ 2147483647 h 528"/>
                <a:gd name="T60" fmla="*/ 2147483647 w 414"/>
                <a:gd name="T61" fmla="*/ 2147483647 h 528"/>
                <a:gd name="T62" fmla="*/ 2147483647 w 414"/>
                <a:gd name="T63" fmla="*/ 2147483647 h 528"/>
                <a:gd name="T64" fmla="*/ 2147483647 w 414"/>
                <a:gd name="T65" fmla="*/ 2147483647 h 528"/>
                <a:gd name="T66" fmla="*/ 2147483647 w 414"/>
                <a:gd name="T67" fmla="*/ 2147483647 h 528"/>
                <a:gd name="T68" fmla="*/ 2147483647 w 414"/>
                <a:gd name="T69" fmla="*/ 2147483647 h 528"/>
                <a:gd name="T70" fmla="*/ 2147483647 w 414"/>
                <a:gd name="T71" fmla="*/ 2147483647 h 528"/>
                <a:gd name="T72" fmla="*/ 2147483647 w 414"/>
                <a:gd name="T73" fmla="*/ 2147483647 h 528"/>
                <a:gd name="T74" fmla="*/ 2147483647 w 414"/>
                <a:gd name="T75" fmla="*/ 2147483647 h 528"/>
                <a:gd name="T76" fmla="*/ 2147483647 w 414"/>
                <a:gd name="T77" fmla="*/ 2147483647 h 528"/>
                <a:gd name="T78" fmla="*/ 2147483647 w 414"/>
                <a:gd name="T79" fmla="*/ 2147483647 h 528"/>
                <a:gd name="T80" fmla="*/ 2147483647 w 414"/>
                <a:gd name="T81" fmla="*/ 2147483647 h 528"/>
                <a:gd name="T82" fmla="*/ 2147483647 w 414"/>
                <a:gd name="T83" fmla="*/ 2147483647 h 528"/>
                <a:gd name="T84" fmla="*/ 2147483647 w 414"/>
                <a:gd name="T85" fmla="*/ 2147483647 h 528"/>
                <a:gd name="T86" fmla="*/ 2147483647 w 414"/>
                <a:gd name="T87" fmla="*/ 2147483647 h 528"/>
                <a:gd name="T88" fmla="*/ 2147483647 w 414"/>
                <a:gd name="T89" fmla="*/ 2147483647 h 5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4"/>
                <a:gd name="T136" fmla="*/ 0 h 528"/>
                <a:gd name="T137" fmla="*/ 414 w 414"/>
                <a:gd name="T138" fmla="*/ 528 h 5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4" h="528">
                  <a:moveTo>
                    <a:pt x="60" y="372"/>
                  </a:moveTo>
                  <a:lnTo>
                    <a:pt x="72" y="366"/>
                  </a:lnTo>
                  <a:lnTo>
                    <a:pt x="78" y="360"/>
                  </a:lnTo>
                  <a:lnTo>
                    <a:pt x="78" y="342"/>
                  </a:lnTo>
                  <a:lnTo>
                    <a:pt x="72" y="342"/>
                  </a:lnTo>
                  <a:lnTo>
                    <a:pt x="54" y="360"/>
                  </a:lnTo>
                  <a:lnTo>
                    <a:pt x="54" y="372"/>
                  </a:lnTo>
                  <a:lnTo>
                    <a:pt x="60" y="372"/>
                  </a:lnTo>
                  <a:close/>
                  <a:moveTo>
                    <a:pt x="414" y="174"/>
                  </a:moveTo>
                  <a:lnTo>
                    <a:pt x="390" y="156"/>
                  </a:lnTo>
                  <a:lnTo>
                    <a:pt x="396" y="156"/>
                  </a:lnTo>
                  <a:lnTo>
                    <a:pt x="396" y="150"/>
                  </a:lnTo>
                  <a:lnTo>
                    <a:pt x="402" y="150"/>
                  </a:lnTo>
                  <a:lnTo>
                    <a:pt x="402" y="126"/>
                  </a:lnTo>
                  <a:lnTo>
                    <a:pt x="372" y="126"/>
                  </a:lnTo>
                  <a:lnTo>
                    <a:pt x="360" y="114"/>
                  </a:lnTo>
                  <a:lnTo>
                    <a:pt x="360" y="108"/>
                  </a:lnTo>
                  <a:lnTo>
                    <a:pt x="354" y="102"/>
                  </a:lnTo>
                  <a:lnTo>
                    <a:pt x="354" y="96"/>
                  </a:lnTo>
                  <a:lnTo>
                    <a:pt x="342" y="90"/>
                  </a:lnTo>
                  <a:lnTo>
                    <a:pt x="336" y="90"/>
                  </a:lnTo>
                  <a:lnTo>
                    <a:pt x="330" y="96"/>
                  </a:lnTo>
                  <a:lnTo>
                    <a:pt x="330" y="108"/>
                  </a:lnTo>
                  <a:lnTo>
                    <a:pt x="306" y="108"/>
                  </a:lnTo>
                  <a:lnTo>
                    <a:pt x="300" y="102"/>
                  </a:lnTo>
                  <a:lnTo>
                    <a:pt x="288" y="96"/>
                  </a:lnTo>
                  <a:lnTo>
                    <a:pt x="282" y="102"/>
                  </a:lnTo>
                  <a:lnTo>
                    <a:pt x="270" y="102"/>
                  </a:lnTo>
                  <a:lnTo>
                    <a:pt x="258" y="96"/>
                  </a:lnTo>
                  <a:lnTo>
                    <a:pt x="252" y="90"/>
                  </a:lnTo>
                  <a:lnTo>
                    <a:pt x="252" y="84"/>
                  </a:lnTo>
                  <a:lnTo>
                    <a:pt x="246" y="72"/>
                  </a:lnTo>
                  <a:lnTo>
                    <a:pt x="240" y="66"/>
                  </a:lnTo>
                  <a:lnTo>
                    <a:pt x="228" y="60"/>
                  </a:lnTo>
                  <a:lnTo>
                    <a:pt x="210" y="60"/>
                  </a:lnTo>
                  <a:lnTo>
                    <a:pt x="204" y="48"/>
                  </a:lnTo>
                  <a:lnTo>
                    <a:pt x="168" y="30"/>
                  </a:lnTo>
                  <a:lnTo>
                    <a:pt x="162" y="18"/>
                  </a:lnTo>
                  <a:lnTo>
                    <a:pt x="150" y="12"/>
                  </a:lnTo>
                  <a:lnTo>
                    <a:pt x="144" y="0"/>
                  </a:lnTo>
                  <a:lnTo>
                    <a:pt x="144" y="12"/>
                  </a:lnTo>
                  <a:lnTo>
                    <a:pt x="150" y="18"/>
                  </a:lnTo>
                  <a:lnTo>
                    <a:pt x="150" y="36"/>
                  </a:lnTo>
                  <a:lnTo>
                    <a:pt x="144" y="42"/>
                  </a:lnTo>
                  <a:lnTo>
                    <a:pt x="120" y="54"/>
                  </a:lnTo>
                  <a:lnTo>
                    <a:pt x="102" y="54"/>
                  </a:lnTo>
                  <a:lnTo>
                    <a:pt x="96" y="42"/>
                  </a:lnTo>
                  <a:lnTo>
                    <a:pt x="90" y="42"/>
                  </a:lnTo>
                  <a:lnTo>
                    <a:pt x="78" y="54"/>
                  </a:lnTo>
                  <a:lnTo>
                    <a:pt x="66" y="60"/>
                  </a:lnTo>
                  <a:lnTo>
                    <a:pt x="60" y="72"/>
                  </a:lnTo>
                  <a:lnTo>
                    <a:pt x="60" y="84"/>
                  </a:lnTo>
                  <a:lnTo>
                    <a:pt x="66" y="90"/>
                  </a:lnTo>
                  <a:lnTo>
                    <a:pt x="72" y="102"/>
                  </a:lnTo>
                  <a:lnTo>
                    <a:pt x="72" y="120"/>
                  </a:lnTo>
                  <a:lnTo>
                    <a:pt x="66" y="126"/>
                  </a:lnTo>
                  <a:lnTo>
                    <a:pt x="54" y="132"/>
                  </a:lnTo>
                  <a:lnTo>
                    <a:pt x="42" y="144"/>
                  </a:lnTo>
                  <a:lnTo>
                    <a:pt x="42" y="162"/>
                  </a:lnTo>
                  <a:lnTo>
                    <a:pt x="48" y="168"/>
                  </a:lnTo>
                  <a:lnTo>
                    <a:pt x="54" y="180"/>
                  </a:lnTo>
                  <a:lnTo>
                    <a:pt x="36" y="180"/>
                  </a:lnTo>
                  <a:lnTo>
                    <a:pt x="36" y="198"/>
                  </a:lnTo>
                  <a:lnTo>
                    <a:pt x="0" y="216"/>
                  </a:lnTo>
                  <a:lnTo>
                    <a:pt x="24" y="228"/>
                  </a:lnTo>
                  <a:lnTo>
                    <a:pt x="12" y="258"/>
                  </a:lnTo>
                  <a:lnTo>
                    <a:pt x="24" y="270"/>
                  </a:lnTo>
                  <a:lnTo>
                    <a:pt x="24" y="282"/>
                  </a:lnTo>
                  <a:lnTo>
                    <a:pt x="6" y="300"/>
                  </a:lnTo>
                  <a:lnTo>
                    <a:pt x="0" y="300"/>
                  </a:lnTo>
                  <a:lnTo>
                    <a:pt x="12" y="312"/>
                  </a:lnTo>
                  <a:lnTo>
                    <a:pt x="6" y="318"/>
                  </a:lnTo>
                  <a:lnTo>
                    <a:pt x="6" y="324"/>
                  </a:lnTo>
                  <a:lnTo>
                    <a:pt x="18" y="336"/>
                  </a:lnTo>
                  <a:lnTo>
                    <a:pt x="30" y="342"/>
                  </a:lnTo>
                  <a:lnTo>
                    <a:pt x="60" y="342"/>
                  </a:lnTo>
                  <a:lnTo>
                    <a:pt x="72" y="330"/>
                  </a:lnTo>
                  <a:lnTo>
                    <a:pt x="72" y="324"/>
                  </a:lnTo>
                  <a:lnTo>
                    <a:pt x="96" y="330"/>
                  </a:lnTo>
                  <a:lnTo>
                    <a:pt x="102" y="342"/>
                  </a:lnTo>
                  <a:lnTo>
                    <a:pt x="102" y="348"/>
                  </a:lnTo>
                  <a:lnTo>
                    <a:pt x="96" y="366"/>
                  </a:lnTo>
                  <a:lnTo>
                    <a:pt x="90" y="372"/>
                  </a:lnTo>
                  <a:lnTo>
                    <a:pt x="90" y="384"/>
                  </a:lnTo>
                  <a:lnTo>
                    <a:pt x="84" y="396"/>
                  </a:lnTo>
                  <a:lnTo>
                    <a:pt x="72" y="402"/>
                  </a:lnTo>
                  <a:lnTo>
                    <a:pt x="66" y="402"/>
                  </a:lnTo>
                  <a:lnTo>
                    <a:pt x="60" y="408"/>
                  </a:lnTo>
                  <a:lnTo>
                    <a:pt x="54" y="408"/>
                  </a:lnTo>
                  <a:lnTo>
                    <a:pt x="60" y="408"/>
                  </a:lnTo>
                  <a:lnTo>
                    <a:pt x="72" y="414"/>
                  </a:lnTo>
                  <a:lnTo>
                    <a:pt x="78" y="414"/>
                  </a:lnTo>
                  <a:lnTo>
                    <a:pt x="78" y="420"/>
                  </a:lnTo>
                  <a:lnTo>
                    <a:pt x="72" y="426"/>
                  </a:lnTo>
                  <a:lnTo>
                    <a:pt x="66" y="438"/>
                  </a:lnTo>
                  <a:lnTo>
                    <a:pt x="54" y="444"/>
                  </a:lnTo>
                  <a:lnTo>
                    <a:pt x="48" y="456"/>
                  </a:lnTo>
                  <a:lnTo>
                    <a:pt x="42" y="462"/>
                  </a:lnTo>
                  <a:lnTo>
                    <a:pt x="54" y="474"/>
                  </a:lnTo>
                  <a:lnTo>
                    <a:pt x="42" y="486"/>
                  </a:lnTo>
                  <a:lnTo>
                    <a:pt x="48" y="492"/>
                  </a:lnTo>
                  <a:lnTo>
                    <a:pt x="54" y="492"/>
                  </a:lnTo>
                  <a:lnTo>
                    <a:pt x="66" y="486"/>
                  </a:lnTo>
                  <a:lnTo>
                    <a:pt x="78" y="474"/>
                  </a:lnTo>
                  <a:lnTo>
                    <a:pt x="90" y="486"/>
                  </a:lnTo>
                  <a:lnTo>
                    <a:pt x="120" y="486"/>
                  </a:lnTo>
                  <a:lnTo>
                    <a:pt x="120" y="492"/>
                  </a:lnTo>
                  <a:lnTo>
                    <a:pt x="126" y="498"/>
                  </a:lnTo>
                  <a:lnTo>
                    <a:pt x="126" y="516"/>
                  </a:lnTo>
                  <a:lnTo>
                    <a:pt x="132" y="528"/>
                  </a:lnTo>
                  <a:lnTo>
                    <a:pt x="150" y="528"/>
                  </a:lnTo>
                  <a:lnTo>
                    <a:pt x="150" y="522"/>
                  </a:lnTo>
                  <a:lnTo>
                    <a:pt x="156" y="516"/>
                  </a:lnTo>
                  <a:lnTo>
                    <a:pt x="156" y="510"/>
                  </a:lnTo>
                  <a:lnTo>
                    <a:pt x="162" y="504"/>
                  </a:lnTo>
                  <a:lnTo>
                    <a:pt x="180" y="504"/>
                  </a:lnTo>
                  <a:lnTo>
                    <a:pt x="180" y="474"/>
                  </a:lnTo>
                  <a:lnTo>
                    <a:pt x="186" y="462"/>
                  </a:lnTo>
                  <a:lnTo>
                    <a:pt x="186" y="438"/>
                  </a:lnTo>
                  <a:lnTo>
                    <a:pt x="198" y="426"/>
                  </a:lnTo>
                  <a:lnTo>
                    <a:pt x="198" y="408"/>
                  </a:lnTo>
                  <a:lnTo>
                    <a:pt x="210" y="402"/>
                  </a:lnTo>
                  <a:lnTo>
                    <a:pt x="210" y="396"/>
                  </a:lnTo>
                  <a:lnTo>
                    <a:pt x="228" y="378"/>
                  </a:lnTo>
                  <a:lnTo>
                    <a:pt x="246" y="366"/>
                  </a:lnTo>
                  <a:lnTo>
                    <a:pt x="264" y="360"/>
                  </a:lnTo>
                  <a:lnTo>
                    <a:pt x="324" y="330"/>
                  </a:lnTo>
                  <a:lnTo>
                    <a:pt x="342" y="318"/>
                  </a:lnTo>
                  <a:lnTo>
                    <a:pt x="354" y="300"/>
                  </a:lnTo>
                  <a:lnTo>
                    <a:pt x="366" y="288"/>
                  </a:lnTo>
                  <a:lnTo>
                    <a:pt x="372" y="276"/>
                  </a:lnTo>
                  <a:lnTo>
                    <a:pt x="384" y="264"/>
                  </a:lnTo>
                  <a:lnTo>
                    <a:pt x="390" y="252"/>
                  </a:lnTo>
                  <a:lnTo>
                    <a:pt x="402" y="210"/>
                  </a:lnTo>
                  <a:lnTo>
                    <a:pt x="414" y="204"/>
                  </a:lnTo>
                  <a:lnTo>
                    <a:pt x="414" y="174"/>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71" name="Dominikanische Republik" descr="© INSCALE GmbH, 05.05.2010&#10;http://www.presentationload.com/">
              <a:extLst>
                <a:ext uri="{FF2B5EF4-FFF2-40B4-BE49-F238E27FC236}">
                  <a16:creationId xmlns:a16="http://schemas.microsoft.com/office/drawing/2014/main" id="{654B0100-1C9C-4630-A9AC-05165871FD8A}"/>
                </a:ext>
              </a:extLst>
            </p:cNvPr>
            <p:cNvSpPr>
              <a:spLocks/>
            </p:cNvSpPr>
            <p:nvPr/>
          </p:nvSpPr>
          <p:spPr bwMode="gray">
            <a:xfrm>
              <a:off x="2126993" y="3616012"/>
              <a:ext cx="98785" cy="65857"/>
            </a:xfrm>
            <a:custGeom>
              <a:avLst/>
              <a:gdLst>
                <a:gd name="T0" fmla="*/ 2147483647 w 252"/>
                <a:gd name="T1" fmla="*/ 2147483647 h 168"/>
                <a:gd name="T2" fmla="*/ 2147483647 w 252"/>
                <a:gd name="T3" fmla="*/ 2147483647 h 168"/>
                <a:gd name="T4" fmla="*/ 2147483647 w 252"/>
                <a:gd name="T5" fmla="*/ 2147483647 h 168"/>
                <a:gd name="T6" fmla="*/ 2147483647 w 252"/>
                <a:gd name="T7" fmla="*/ 2147483647 h 168"/>
                <a:gd name="T8" fmla="*/ 2147483647 w 252"/>
                <a:gd name="T9" fmla="*/ 2147483647 h 168"/>
                <a:gd name="T10" fmla="*/ 2147483647 w 252"/>
                <a:gd name="T11" fmla="*/ 2147483647 h 168"/>
                <a:gd name="T12" fmla="*/ 2147483647 w 252"/>
                <a:gd name="T13" fmla="*/ 2147483647 h 168"/>
                <a:gd name="T14" fmla="*/ 2147483647 w 252"/>
                <a:gd name="T15" fmla="*/ 2147483647 h 168"/>
                <a:gd name="T16" fmla="*/ 2147483647 w 252"/>
                <a:gd name="T17" fmla="*/ 2147483647 h 168"/>
                <a:gd name="T18" fmla="*/ 2147483647 w 252"/>
                <a:gd name="T19" fmla="*/ 2147483647 h 168"/>
                <a:gd name="T20" fmla="*/ 2147483647 w 252"/>
                <a:gd name="T21" fmla="*/ 0 h 168"/>
                <a:gd name="T22" fmla="*/ 2147483647 w 252"/>
                <a:gd name="T23" fmla="*/ 0 h 168"/>
                <a:gd name="T24" fmla="*/ 2147483647 w 252"/>
                <a:gd name="T25" fmla="*/ 2147483647 h 168"/>
                <a:gd name="T26" fmla="*/ 2147483647 w 252"/>
                <a:gd name="T27" fmla="*/ 2147483647 h 168"/>
                <a:gd name="T28" fmla="*/ 2147483647 w 252"/>
                <a:gd name="T29" fmla="*/ 2147483647 h 168"/>
                <a:gd name="T30" fmla="*/ 2147483647 w 252"/>
                <a:gd name="T31" fmla="*/ 2147483647 h 168"/>
                <a:gd name="T32" fmla="*/ 2147483647 w 252"/>
                <a:gd name="T33" fmla="*/ 2147483647 h 168"/>
                <a:gd name="T34" fmla="*/ 2147483647 w 252"/>
                <a:gd name="T35" fmla="*/ 2147483647 h 168"/>
                <a:gd name="T36" fmla="*/ 2147483647 w 252"/>
                <a:gd name="T37" fmla="*/ 2147483647 h 168"/>
                <a:gd name="T38" fmla="*/ 2147483647 w 252"/>
                <a:gd name="T39" fmla="*/ 2147483647 h 168"/>
                <a:gd name="T40" fmla="*/ 2147483647 w 252"/>
                <a:gd name="T41" fmla="*/ 2147483647 h 168"/>
                <a:gd name="T42" fmla="*/ 0 w 252"/>
                <a:gd name="T43" fmla="*/ 2147483647 h 168"/>
                <a:gd name="T44" fmla="*/ 0 w 252"/>
                <a:gd name="T45" fmla="*/ 2147483647 h 168"/>
                <a:gd name="T46" fmla="*/ 2147483647 w 252"/>
                <a:gd name="T47" fmla="*/ 2147483647 h 168"/>
                <a:gd name="T48" fmla="*/ 0 w 252"/>
                <a:gd name="T49" fmla="*/ 2147483647 h 168"/>
                <a:gd name="T50" fmla="*/ 2147483647 w 252"/>
                <a:gd name="T51" fmla="*/ 2147483647 h 168"/>
                <a:gd name="T52" fmla="*/ 2147483647 w 252"/>
                <a:gd name="T53" fmla="*/ 2147483647 h 168"/>
                <a:gd name="T54" fmla="*/ 2147483647 w 252"/>
                <a:gd name="T55" fmla="*/ 2147483647 h 168"/>
                <a:gd name="T56" fmla="*/ 2147483647 w 252"/>
                <a:gd name="T57" fmla="*/ 2147483647 h 168"/>
                <a:gd name="T58" fmla="*/ 2147483647 w 252"/>
                <a:gd name="T59" fmla="*/ 2147483647 h 168"/>
                <a:gd name="T60" fmla="*/ 2147483647 w 252"/>
                <a:gd name="T61" fmla="*/ 2147483647 h 168"/>
                <a:gd name="T62" fmla="*/ 2147483647 w 252"/>
                <a:gd name="T63" fmla="*/ 2147483647 h 168"/>
                <a:gd name="T64" fmla="*/ 2147483647 w 252"/>
                <a:gd name="T65" fmla="*/ 2147483647 h 168"/>
                <a:gd name="T66" fmla="*/ 2147483647 w 252"/>
                <a:gd name="T67" fmla="*/ 2147483647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2"/>
                <a:gd name="T103" fmla="*/ 0 h 168"/>
                <a:gd name="T104" fmla="*/ 252 w 252"/>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2" h="168">
                  <a:moveTo>
                    <a:pt x="246" y="102"/>
                  </a:moveTo>
                  <a:lnTo>
                    <a:pt x="234" y="96"/>
                  </a:lnTo>
                  <a:lnTo>
                    <a:pt x="216" y="78"/>
                  </a:lnTo>
                  <a:lnTo>
                    <a:pt x="192" y="66"/>
                  </a:lnTo>
                  <a:lnTo>
                    <a:pt x="156" y="54"/>
                  </a:lnTo>
                  <a:lnTo>
                    <a:pt x="132" y="42"/>
                  </a:lnTo>
                  <a:lnTo>
                    <a:pt x="126" y="30"/>
                  </a:lnTo>
                  <a:lnTo>
                    <a:pt x="108" y="12"/>
                  </a:lnTo>
                  <a:lnTo>
                    <a:pt x="96" y="6"/>
                  </a:lnTo>
                  <a:lnTo>
                    <a:pt x="84" y="6"/>
                  </a:lnTo>
                  <a:lnTo>
                    <a:pt x="60" y="0"/>
                  </a:lnTo>
                  <a:lnTo>
                    <a:pt x="30" y="0"/>
                  </a:lnTo>
                  <a:lnTo>
                    <a:pt x="24" y="6"/>
                  </a:lnTo>
                  <a:lnTo>
                    <a:pt x="18" y="6"/>
                  </a:lnTo>
                  <a:lnTo>
                    <a:pt x="30" y="42"/>
                  </a:lnTo>
                  <a:lnTo>
                    <a:pt x="30" y="54"/>
                  </a:lnTo>
                  <a:lnTo>
                    <a:pt x="24" y="60"/>
                  </a:lnTo>
                  <a:lnTo>
                    <a:pt x="18" y="72"/>
                  </a:lnTo>
                  <a:lnTo>
                    <a:pt x="12" y="78"/>
                  </a:lnTo>
                  <a:lnTo>
                    <a:pt x="12" y="90"/>
                  </a:lnTo>
                  <a:lnTo>
                    <a:pt x="6" y="102"/>
                  </a:lnTo>
                  <a:lnTo>
                    <a:pt x="0" y="108"/>
                  </a:lnTo>
                  <a:lnTo>
                    <a:pt x="0" y="114"/>
                  </a:lnTo>
                  <a:lnTo>
                    <a:pt x="12" y="144"/>
                  </a:lnTo>
                  <a:lnTo>
                    <a:pt x="0" y="126"/>
                  </a:lnTo>
                  <a:lnTo>
                    <a:pt x="30" y="168"/>
                  </a:lnTo>
                  <a:lnTo>
                    <a:pt x="78" y="132"/>
                  </a:lnTo>
                  <a:lnTo>
                    <a:pt x="174" y="132"/>
                  </a:lnTo>
                  <a:lnTo>
                    <a:pt x="186" y="138"/>
                  </a:lnTo>
                  <a:lnTo>
                    <a:pt x="240" y="138"/>
                  </a:lnTo>
                  <a:lnTo>
                    <a:pt x="246" y="132"/>
                  </a:lnTo>
                  <a:lnTo>
                    <a:pt x="252" y="120"/>
                  </a:lnTo>
                  <a:lnTo>
                    <a:pt x="252" y="114"/>
                  </a:lnTo>
                  <a:lnTo>
                    <a:pt x="246" y="10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72" name="Djibouti" descr="© INSCALE GmbH, 05.05.2010&#10;http://www.presentationload.com/">
              <a:extLst>
                <a:ext uri="{FF2B5EF4-FFF2-40B4-BE49-F238E27FC236}">
                  <a16:creationId xmlns:a16="http://schemas.microsoft.com/office/drawing/2014/main" id="{18FC090A-9CB3-4AFA-81E3-052DCA5588DE}"/>
                </a:ext>
              </a:extLst>
            </p:cNvPr>
            <p:cNvSpPr>
              <a:spLocks/>
            </p:cNvSpPr>
            <p:nvPr/>
          </p:nvSpPr>
          <p:spPr bwMode="gray">
            <a:xfrm>
              <a:off x="5302240" y="3846512"/>
              <a:ext cx="47041" cy="54881"/>
            </a:xfrm>
            <a:custGeom>
              <a:avLst/>
              <a:gdLst>
                <a:gd name="T0" fmla="*/ 2147483647 w 114"/>
                <a:gd name="T1" fmla="*/ 2147483647 h 138"/>
                <a:gd name="T2" fmla="*/ 2147483647 w 114"/>
                <a:gd name="T3" fmla="*/ 2147483647 h 138"/>
                <a:gd name="T4" fmla="*/ 2147483647 w 114"/>
                <a:gd name="T5" fmla="*/ 2147483647 h 138"/>
                <a:gd name="T6" fmla="*/ 0 w 114"/>
                <a:gd name="T7" fmla="*/ 2147483647 h 138"/>
                <a:gd name="T8" fmla="*/ 0 w 114"/>
                <a:gd name="T9" fmla="*/ 2147483647 h 138"/>
                <a:gd name="T10" fmla="*/ 2147483647 w 114"/>
                <a:gd name="T11" fmla="*/ 2147483647 h 138"/>
                <a:gd name="T12" fmla="*/ 2147483647 w 114"/>
                <a:gd name="T13" fmla="*/ 2147483647 h 138"/>
                <a:gd name="T14" fmla="*/ 2147483647 w 114"/>
                <a:gd name="T15" fmla="*/ 2147483647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2147483647 w 114"/>
                <a:gd name="T29" fmla="*/ 2147483647 h 138"/>
                <a:gd name="T30" fmla="*/ 2147483647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0 h 138"/>
                <a:gd name="T56" fmla="*/ 2147483647 w 114"/>
                <a:gd name="T57" fmla="*/ 2147483647 h 138"/>
                <a:gd name="T58" fmla="*/ 2147483647 w 11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14"/>
                <a:gd name="T91" fmla="*/ 0 h 138"/>
                <a:gd name="T92" fmla="*/ 114 w 11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14" h="138">
                  <a:moveTo>
                    <a:pt x="72" y="24"/>
                  </a:moveTo>
                  <a:lnTo>
                    <a:pt x="48" y="12"/>
                  </a:lnTo>
                  <a:lnTo>
                    <a:pt x="18" y="66"/>
                  </a:lnTo>
                  <a:lnTo>
                    <a:pt x="0" y="84"/>
                  </a:lnTo>
                  <a:lnTo>
                    <a:pt x="0" y="96"/>
                  </a:lnTo>
                  <a:lnTo>
                    <a:pt x="6" y="114"/>
                  </a:lnTo>
                  <a:lnTo>
                    <a:pt x="6" y="126"/>
                  </a:lnTo>
                  <a:lnTo>
                    <a:pt x="18" y="138"/>
                  </a:lnTo>
                  <a:lnTo>
                    <a:pt x="42" y="138"/>
                  </a:lnTo>
                  <a:lnTo>
                    <a:pt x="48" y="132"/>
                  </a:lnTo>
                  <a:lnTo>
                    <a:pt x="54" y="132"/>
                  </a:lnTo>
                  <a:lnTo>
                    <a:pt x="60" y="126"/>
                  </a:lnTo>
                  <a:lnTo>
                    <a:pt x="72" y="126"/>
                  </a:lnTo>
                  <a:lnTo>
                    <a:pt x="84" y="132"/>
                  </a:lnTo>
                  <a:lnTo>
                    <a:pt x="90" y="138"/>
                  </a:lnTo>
                  <a:lnTo>
                    <a:pt x="90" y="132"/>
                  </a:lnTo>
                  <a:lnTo>
                    <a:pt x="114" y="108"/>
                  </a:lnTo>
                  <a:lnTo>
                    <a:pt x="114" y="102"/>
                  </a:lnTo>
                  <a:lnTo>
                    <a:pt x="102" y="90"/>
                  </a:lnTo>
                  <a:lnTo>
                    <a:pt x="66" y="90"/>
                  </a:lnTo>
                  <a:lnTo>
                    <a:pt x="78" y="84"/>
                  </a:lnTo>
                  <a:lnTo>
                    <a:pt x="84" y="72"/>
                  </a:lnTo>
                  <a:lnTo>
                    <a:pt x="96" y="66"/>
                  </a:lnTo>
                  <a:lnTo>
                    <a:pt x="102" y="54"/>
                  </a:lnTo>
                  <a:lnTo>
                    <a:pt x="114" y="42"/>
                  </a:lnTo>
                  <a:lnTo>
                    <a:pt x="114" y="24"/>
                  </a:lnTo>
                  <a:lnTo>
                    <a:pt x="108" y="12"/>
                  </a:lnTo>
                  <a:lnTo>
                    <a:pt x="96" y="0"/>
                  </a:lnTo>
                  <a:lnTo>
                    <a:pt x="84" y="6"/>
                  </a:lnTo>
                  <a:lnTo>
                    <a:pt x="72" y="24"/>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73" name="Deutschland" descr="© INSCALE GmbH, 05.05.2010&#10;http://www.presentationload.com/">
              <a:extLst>
                <a:ext uri="{FF2B5EF4-FFF2-40B4-BE49-F238E27FC236}">
                  <a16:creationId xmlns:a16="http://schemas.microsoft.com/office/drawing/2014/main" id="{6AD71C99-3D85-4A0B-9AAA-1FD39129D526}"/>
                </a:ext>
              </a:extLst>
            </p:cNvPr>
            <p:cNvSpPr>
              <a:spLocks/>
            </p:cNvSpPr>
            <p:nvPr/>
          </p:nvSpPr>
          <p:spPr bwMode="gray">
            <a:xfrm>
              <a:off x="4311250" y="2505851"/>
              <a:ext cx="224227" cy="233636"/>
            </a:xfrm>
            <a:custGeom>
              <a:avLst/>
              <a:gdLst>
                <a:gd name="T0" fmla="*/ 2147483647 w 564"/>
                <a:gd name="T1" fmla="*/ 2147483647 h 588"/>
                <a:gd name="T2" fmla="*/ 2147483647 w 564"/>
                <a:gd name="T3" fmla="*/ 2147483647 h 588"/>
                <a:gd name="T4" fmla="*/ 2147483647 w 564"/>
                <a:gd name="T5" fmla="*/ 2147483647 h 588"/>
                <a:gd name="T6" fmla="*/ 2147483647 w 564"/>
                <a:gd name="T7" fmla="*/ 2147483647 h 588"/>
                <a:gd name="T8" fmla="*/ 2147483647 w 564"/>
                <a:gd name="T9" fmla="*/ 2147483647 h 588"/>
                <a:gd name="T10" fmla="*/ 2147483647 w 564"/>
                <a:gd name="T11" fmla="*/ 2147483647 h 588"/>
                <a:gd name="T12" fmla="*/ 2147483647 w 564"/>
                <a:gd name="T13" fmla="*/ 2147483647 h 588"/>
                <a:gd name="T14" fmla="*/ 2147483647 w 564"/>
                <a:gd name="T15" fmla="*/ 2147483647 h 588"/>
                <a:gd name="T16" fmla="*/ 2147483647 w 564"/>
                <a:gd name="T17" fmla="*/ 2147483647 h 588"/>
                <a:gd name="T18" fmla="*/ 2147483647 w 564"/>
                <a:gd name="T19" fmla="*/ 2147483647 h 588"/>
                <a:gd name="T20" fmla="*/ 2147483647 w 564"/>
                <a:gd name="T21" fmla="*/ 2147483647 h 588"/>
                <a:gd name="T22" fmla="*/ 2147483647 w 564"/>
                <a:gd name="T23" fmla="*/ 2147483647 h 588"/>
                <a:gd name="T24" fmla="*/ 2147483647 w 564"/>
                <a:gd name="T25" fmla="*/ 2147483647 h 588"/>
                <a:gd name="T26" fmla="*/ 2147483647 w 564"/>
                <a:gd name="T27" fmla="*/ 2147483647 h 588"/>
                <a:gd name="T28" fmla="*/ 2147483647 w 564"/>
                <a:gd name="T29" fmla="*/ 2147483647 h 588"/>
                <a:gd name="T30" fmla="*/ 2147483647 w 564"/>
                <a:gd name="T31" fmla="*/ 2147483647 h 588"/>
                <a:gd name="T32" fmla="*/ 2147483647 w 564"/>
                <a:gd name="T33" fmla="*/ 2147483647 h 588"/>
                <a:gd name="T34" fmla="*/ 2147483647 w 564"/>
                <a:gd name="T35" fmla="*/ 2147483647 h 588"/>
                <a:gd name="T36" fmla="*/ 2147483647 w 564"/>
                <a:gd name="T37" fmla="*/ 2147483647 h 588"/>
                <a:gd name="T38" fmla="*/ 2147483647 w 564"/>
                <a:gd name="T39" fmla="*/ 2147483647 h 588"/>
                <a:gd name="T40" fmla="*/ 2147483647 w 564"/>
                <a:gd name="T41" fmla="*/ 2147483647 h 588"/>
                <a:gd name="T42" fmla="*/ 2147483647 w 564"/>
                <a:gd name="T43" fmla="*/ 2147483647 h 588"/>
                <a:gd name="T44" fmla="*/ 2147483647 w 564"/>
                <a:gd name="T45" fmla="*/ 2147483647 h 588"/>
                <a:gd name="T46" fmla="*/ 2147483647 w 564"/>
                <a:gd name="T47" fmla="*/ 2147483647 h 588"/>
                <a:gd name="T48" fmla="*/ 2147483647 w 564"/>
                <a:gd name="T49" fmla="*/ 2147483647 h 588"/>
                <a:gd name="T50" fmla="*/ 2147483647 w 564"/>
                <a:gd name="T51" fmla="*/ 2147483647 h 588"/>
                <a:gd name="T52" fmla="*/ 2147483647 w 564"/>
                <a:gd name="T53" fmla="*/ 2147483647 h 588"/>
                <a:gd name="T54" fmla="*/ 2147483647 w 564"/>
                <a:gd name="T55" fmla="*/ 2147483647 h 588"/>
                <a:gd name="T56" fmla="*/ 2147483647 w 564"/>
                <a:gd name="T57" fmla="*/ 2147483647 h 588"/>
                <a:gd name="T58" fmla="*/ 2147483647 w 564"/>
                <a:gd name="T59" fmla="*/ 2147483647 h 588"/>
                <a:gd name="T60" fmla="*/ 2147483647 w 564"/>
                <a:gd name="T61" fmla="*/ 2147483647 h 588"/>
                <a:gd name="T62" fmla="*/ 2147483647 w 564"/>
                <a:gd name="T63" fmla="*/ 2147483647 h 588"/>
                <a:gd name="T64" fmla="*/ 2147483647 w 564"/>
                <a:gd name="T65" fmla="*/ 2147483647 h 588"/>
                <a:gd name="T66" fmla="*/ 2147483647 w 564"/>
                <a:gd name="T67" fmla="*/ 2147483647 h 588"/>
                <a:gd name="T68" fmla="*/ 2147483647 w 564"/>
                <a:gd name="T69" fmla="*/ 2147483647 h 588"/>
                <a:gd name="T70" fmla="*/ 2147483647 w 564"/>
                <a:gd name="T71" fmla="*/ 2147483647 h 588"/>
                <a:gd name="T72" fmla="*/ 2147483647 w 564"/>
                <a:gd name="T73" fmla="*/ 2147483647 h 588"/>
                <a:gd name="T74" fmla="*/ 2147483647 w 564"/>
                <a:gd name="T75" fmla="*/ 2147483647 h 588"/>
                <a:gd name="T76" fmla="*/ 2147483647 w 564"/>
                <a:gd name="T77" fmla="*/ 2147483647 h 588"/>
                <a:gd name="T78" fmla="*/ 2147483647 w 564"/>
                <a:gd name="T79" fmla="*/ 2147483647 h 588"/>
                <a:gd name="T80" fmla="*/ 2147483647 w 564"/>
                <a:gd name="T81" fmla="*/ 2147483647 h 588"/>
                <a:gd name="T82" fmla="*/ 2147483647 w 564"/>
                <a:gd name="T83" fmla="*/ 0 h 588"/>
                <a:gd name="T84" fmla="*/ 2147483647 w 564"/>
                <a:gd name="T85" fmla="*/ 2147483647 h 588"/>
                <a:gd name="T86" fmla="*/ 2147483647 w 564"/>
                <a:gd name="T87" fmla="*/ 2147483647 h 588"/>
                <a:gd name="T88" fmla="*/ 2147483647 w 564"/>
                <a:gd name="T89" fmla="*/ 2147483647 h 588"/>
                <a:gd name="T90" fmla="*/ 2147483647 w 564"/>
                <a:gd name="T91" fmla="*/ 2147483647 h 588"/>
                <a:gd name="T92" fmla="*/ 2147483647 w 564"/>
                <a:gd name="T93" fmla="*/ 2147483647 h 588"/>
                <a:gd name="T94" fmla="*/ 2147483647 w 564"/>
                <a:gd name="T95" fmla="*/ 2147483647 h 588"/>
                <a:gd name="T96" fmla="*/ 2147483647 w 564"/>
                <a:gd name="T97" fmla="*/ 2147483647 h 588"/>
                <a:gd name="T98" fmla="*/ 2147483647 w 564"/>
                <a:gd name="T99" fmla="*/ 2147483647 h 588"/>
                <a:gd name="T100" fmla="*/ 2147483647 w 564"/>
                <a:gd name="T101" fmla="*/ 2147483647 h 588"/>
                <a:gd name="T102" fmla="*/ 2147483647 w 564"/>
                <a:gd name="T103" fmla="*/ 2147483647 h 588"/>
                <a:gd name="T104" fmla="*/ 0 w 564"/>
                <a:gd name="T105" fmla="*/ 2147483647 h 588"/>
                <a:gd name="T106" fmla="*/ 2147483647 w 564"/>
                <a:gd name="T107" fmla="*/ 2147483647 h 588"/>
                <a:gd name="T108" fmla="*/ 2147483647 w 564"/>
                <a:gd name="T109" fmla="*/ 2147483647 h 588"/>
                <a:gd name="T110" fmla="*/ 2147483647 w 564"/>
                <a:gd name="T111" fmla="*/ 2147483647 h 5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64"/>
                <a:gd name="T169" fmla="*/ 0 h 588"/>
                <a:gd name="T170" fmla="*/ 564 w 564"/>
                <a:gd name="T171" fmla="*/ 588 h 5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64" h="588">
                  <a:moveTo>
                    <a:pt x="30" y="414"/>
                  </a:moveTo>
                  <a:lnTo>
                    <a:pt x="30" y="420"/>
                  </a:lnTo>
                  <a:lnTo>
                    <a:pt x="36" y="420"/>
                  </a:lnTo>
                  <a:lnTo>
                    <a:pt x="36" y="444"/>
                  </a:lnTo>
                  <a:lnTo>
                    <a:pt x="60" y="444"/>
                  </a:lnTo>
                  <a:lnTo>
                    <a:pt x="60" y="450"/>
                  </a:lnTo>
                  <a:lnTo>
                    <a:pt x="72" y="450"/>
                  </a:lnTo>
                  <a:lnTo>
                    <a:pt x="84" y="444"/>
                  </a:lnTo>
                  <a:lnTo>
                    <a:pt x="96" y="444"/>
                  </a:lnTo>
                  <a:lnTo>
                    <a:pt x="96" y="450"/>
                  </a:lnTo>
                  <a:lnTo>
                    <a:pt x="120" y="450"/>
                  </a:lnTo>
                  <a:lnTo>
                    <a:pt x="138" y="456"/>
                  </a:lnTo>
                  <a:lnTo>
                    <a:pt x="132" y="468"/>
                  </a:lnTo>
                  <a:lnTo>
                    <a:pt x="114" y="486"/>
                  </a:lnTo>
                  <a:lnTo>
                    <a:pt x="114" y="498"/>
                  </a:lnTo>
                  <a:lnTo>
                    <a:pt x="108" y="510"/>
                  </a:lnTo>
                  <a:lnTo>
                    <a:pt x="102" y="516"/>
                  </a:lnTo>
                  <a:lnTo>
                    <a:pt x="96" y="528"/>
                  </a:lnTo>
                  <a:lnTo>
                    <a:pt x="96" y="570"/>
                  </a:lnTo>
                  <a:lnTo>
                    <a:pt x="132" y="570"/>
                  </a:lnTo>
                  <a:lnTo>
                    <a:pt x="150" y="564"/>
                  </a:lnTo>
                  <a:lnTo>
                    <a:pt x="156" y="570"/>
                  </a:lnTo>
                  <a:lnTo>
                    <a:pt x="150" y="564"/>
                  </a:lnTo>
                  <a:lnTo>
                    <a:pt x="150" y="552"/>
                  </a:lnTo>
                  <a:lnTo>
                    <a:pt x="156" y="546"/>
                  </a:lnTo>
                  <a:lnTo>
                    <a:pt x="162" y="546"/>
                  </a:lnTo>
                  <a:lnTo>
                    <a:pt x="174" y="552"/>
                  </a:lnTo>
                  <a:lnTo>
                    <a:pt x="180" y="558"/>
                  </a:lnTo>
                  <a:lnTo>
                    <a:pt x="192" y="558"/>
                  </a:lnTo>
                  <a:lnTo>
                    <a:pt x="210" y="564"/>
                  </a:lnTo>
                  <a:lnTo>
                    <a:pt x="216" y="576"/>
                  </a:lnTo>
                  <a:lnTo>
                    <a:pt x="252" y="576"/>
                  </a:lnTo>
                  <a:lnTo>
                    <a:pt x="258" y="582"/>
                  </a:lnTo>
                  <a:lnTo>
                    <a:pt x="258" y="588"/>
                  </a:lnTo>
                  <a:lnTo>
                    <a:pt x="270" y="588"/>
                  </a:lnTo>
                  <a:lnTo>
                    <a:pt x="276" y="582"/>
                  </a:lnTo>
                  <a:lnTo>
                    <a:pt x="276" y="570"/>
                  </a:lnTo>
                  <a:lnTo>
                    <a:pt x="294" y="570"/>
                  </a:lnTo>
                  <a:lnTo>
                    <a:pt x="312" y="588"/>
                  </a:lnTo>
                  <a:lnTo>
                    <a:pt x="330" y="588"/>
                  </a:lnTo>
                  <a:lnTo>
                    <a:pt x="336" y="582"/>
                  </a:lnTo>
                  <a:lnTo>
                    <a:pt x="354" y="570"/>
                  </a:lnTo>
                  <a:lnTo>
                    <a:pt x="372" y="570"/>
                  </a:lnTo>
                  <a:lnTo>
                    <a:pt x="390" y="558"/>
                  </a:lnTo>
                  <a:lnTo>
                    <a:pt x="402" y="564"/>
                  </a:lnTo>
                  <a:lnTo>
                    <a:pt x="420" y="570"/>
                  </a:lnTo>
                  <a:lnTo>
                    <a:pt x="432" y="582"/>
                  </a:lnTo>
                  <a:lnTo>
                    <a:pt x="438" y="582"/>
                  </a:lnTo>
                  <a:lnTo>
                    <a:pt x="438" y="540"/>
                  </a:lnTo>
                  <a:lnTo>
                    <a:pt x="426" y="540"/>
                  </a:lnTo>
                  <a:lnTo>
                    <a:pt x="426" y="534"/>
                  </a:lnTo>
                  <a:lnTo>
                    <a:pt x="432" y="528"/>
                  </a:lnTo>
                  <a:lnTo>
                    <a:pt x="432" y="522"/>
                  </a:lnTo>
                  <a:lnTo>
                    <a:pt x="438" y="516"/>
                  </a:lnTo>
                  <a:lnTo>
                    <a:pt x="456" y="516"/>
                  </a:lnTo>
                  <a:lnTo>
                    <a:pt x="462" y="522"/>
                  </a:lnTo>
                  <a:lnTo>
                    <a:pt x="468" y="522"/>
                  </a:lnTo>
                  <a:lnTo>
                    <a:pt x="468" y="504"/>
                  </a:lnTo>
                  <a:lnTo>
                    <a:pt x="462" y="492"/>
                  </a:lnTo>
                  <a:lnTo>
                    <a:pt x="480" y="492"/>
                  </a:lnTo>
                  <a:lnTo>
                    <a:pt x="486" y="474"/>
                  </a:lnTo>
                  <a:lnTo>
                    <a:pt x="486" y="462"/>
                  </a:lnTo>
                  <a:lnTo>
                    <a:pt x="480" y="462"/>
                  </a:lnTo>
                  <a:lnTo>
                    <a:pt x="474" y="456"/>
                  </a:lnTo>
                  <a:lnTo>
                    <a:pt x="462" y="456"/>
                  </a:lnTo>
                  <a:lnTo>
                    <a:pt x="456" y="444"/>
                  </a:lnTo>
                  <a:lnTo>
                    <a:pt x="450" y="444"/>
                  </a:lnTo>
                  <a:lnTo>
                    <a:pt x="444" y="432"/>
                  </a:lnTo>
                  <a:lnTo>
                    <a:pt x="432" y="432"/>
                  </a:lnTo>
                  <a:lnTo>
                    <a:pt x="420" y="426"/>
                  </a:lnTo>
                  <a:lnTo>
                    <a:pt x="420" y="420"/>
                  </a:lnTo>
                  <a:lnTo>
                    <a:pt x="414" y="420"/>
                  </a:lnTo>
                  <a:lnTo>
                    <a:pt x="408" y="408"/>
                  </a:lnTo>
                  <a:lnTo>
                    <a:pt x="396" y="396"/>
                  </a:lnTo>
                  <a:lnTo>
                    <a:pt x="396" y="390"/>
                  </a:lnTo>
                  <a:lnTo>
                    <a:pt x="402" y="390"/>
                  </a:lnTo>
                  <a:lnTo>
                    <a:pt x="408" y="384"/>
                  </a:lnTo>
                  <a:lnTo>
                    <a:pt x="396" y="372"/>
                  </a:lnTo>
                  <a:lnTo>
                    <a:pt x="390" y="372"/>
                  </a:lnTo>
                  <a:lnTo>
                    <a:pt x="384" y="366"/>
                  </a:lnTo>
                  <a:lnTo>
                    <a:pt x="384" y="354"/>
                  </a:lnTo>
                  <a:lnTo>
                    <a:pt x="390" y="354"/>
                  </a:lnTo>
                  <a:lnTo>
                    <a:pt x="390" y="360"/>
                  </a:lnTo>
                  <a:lnTo>
                    <a:pt x="402" y="360"/>
                  </a:lnTo>
                  <a:lnTo>
                    <a:pt x="402" y="354"/>
                  </a:lnTo>
                  <a:lnTo>
                    <a:pt x="414" y="354"/>
                  </a:lnTo>
                  <a:lnTo>
                    <a:pt x="414" y="348"/>
                  </a:lnTo>
                  <a:lnTo>
                    <a:pt x="420" y="342"/>
                  </a:lnTo>
                  <a:lnTo>
                    <a:pt x="426" y="342"/>
                  </a:lnTo>
                  <a:lnTo>
                    <a:pt x="438" y="348"/>
                  </a:lnTo>
                  <a:lnTo>
                    <a:pt x="450" y="336"/>
                  </a:lnTo>
                  <a:lnTo>
                    <a:pt x="468" y="330"/>
                  </a:lnTo>
                  <a:lnTo>
                    <a:pt x="468" y="324"/>
                  </a:lnTo>
                  <a:lnTo>
                    <a:pt x="492" y="324"/>
                  </a:lnTo>
                  <a:lnTo>
                    <a:pt x="492" y="318"/>
                  </a:lnTo>
                  <a:lnTo>
                    <a:pt x="510" y="318"/>
                  </a:lnTo>
                  <a:lnTo>
                    <a:pt x="510" y="312"/>
                  </a:lnTo>
                  <a:lnTo>
                    <a:pt x="516" y="306"/>
                  </a:lnTo>
                  <a:lnTo>
                    <a:pt x="522" y="306"/>
                  </a:lnTo>
                  <a:lnTo>
                    <a:pt x="528" y="300"/>
                  </a:lnTo>
                  <a:lnTo>
                    <a:pt x="540" y="312"/>
                  </a:lnTo>
                  <a:lnTo>
                    <a:pt x="552" y="312"/>
                  </a:lnTo>
                  <a:lnTo>
                    <a:pt x="558" y="300"/>
                  </a:lnTo>
                  <a:lnTo>
                    <a:pt x="558" y="294"/>
                  </a:lnTo>
                  <a:lnTo>
                    <a:pt x="564" y="288"/>
                  </a:lnTo>
                  <a:lnTo>
                    <a:pt x="564" y="282"/>
                  </a:lnTo>
                  <a:lnTo>
                    <a:pt x="552" y="282"/>
                  </a:lnTo>
                  <a:lnTo>
                    <a:pt x="558" y="276"/>
                  </a:lnTo>
                  <a:lnTo>
                    <a:pt x="558" y="264"/>
                  </a:lnTo>
                  <a:lnTo>
                    <a:pt x="552" y="264"/>
                  </a:lnTo>
                  <a:lnTo>
                    <a:pt x="546" y="270"/>
                  </a:lnTo>
                  <a:lnTo>
                    <a:pt x="546" y="252"/>
                  </a:lnTo>
                  <a:lnTo>
                    <a:pt x="540" y="246"/>
                  </a:lnTo>
                  <a:lnTo>
                    <a:pt x="534" y="246"/>
                  </a:lnTo>
                  <a:lnTo>
                    <a:pt x="528" y="240"/>
                  </a:lnTo>
                  <a:lnTo>
                    <a:pt x="528" y="234"/>
                  </a:lnTo>
                  <a:lnTo>
                    <a:pt x="540" y="228"/>
                  </a:lnTo>
                  <a:lnTo>
                    <a:pt x="546" y="222"/>
                  </a:lnTo>
                  <a:lnTo>
                    <a:pt x="540" y="216"/>
                  </a:lnTo>
                  <a:lnTo>
                    <a:pt x="534" y="216"/>
                  </a:lnTo>
                  <a:lnTo>
                    <a:pt x="540" y="210"/>
                  </a:lnTo>
                  <a:lnTo>
                    <a:pt x="540" y="204"/>
                  </a:lnTo>
                  <a:lnTo>
                    <a:pt x="528" y="204"/>
                  </a:lnTo>
                  <a:lnTo>
                    <a:pt x="528" y="192"/>
                  </a:lnTo>
                  <a:lnTo>
                    <a:pt x="534" y="192"/>
                  </a:lnTo>
                  <a:lnTo>
                    <a:pt x="534" y="174"/>
                  </a:lnTo>
                  <a:lnTo>
                    <a:pt x="522" y="174"/>
                  </a:lnTo>
                  <a:lnTo>
                    <a:pt x="516" y="168"/>
                  </a:lnTo>
                  <a:lnTo>
                    <a:pt x="510" y="168"/>
                  </a:lnTo>
                  <a:lnTo>
                    <a:pt x="504" y="162"/>
                  </a:lnTo>
                  <a:lnTo>
                    <a:pt x="504" y="150"/>
                  </a:lnTo>
                  <a:lnTo>
                    <a:pt x="510" y="150"/>
                  </a:lnTo>
                  <a:lnTo>
                    <a:pt x="522" y="138"/>
                  </a:lnTo>
                  <a:lnTo>
                    <a:pt x="522" y="120"/>
                  </a:lnTo>
                  <a:lnTo>
                    <a:pt x="516" y="114"/>
                  </a:lnTo>
                  <a:lnTo>
                    <a:pt x="510" y="114"/>
                  </a:lnTo>
                  <a:lnTo>
                    <a:pt x="510" y="96"/>
                  </a:lnTo>
                  <a:lnTo>
                    <a:pt x="504" y="90"/>
                  </a:lnTo>
                  <a:lnTo>
                    <a:pt x="486" y="84"/>
                  </a:lnTo>
                  <a:lnTo>
                    <a:pt x="486" y="78"/>
                  </a:lnTo>
                  <a:lnTo>
                    <a:pt x="480" y="66"/>
                  </a:lnTo>
                  <a:lnTo>
                    <a:pt x="474" y="60"/>
                  </a:lnTo>
                  <a:lnTo>
                    <a:pt x="456" y="60"/>
                  </a:lnTo>
                  <a:lnTo>
                    <a:pt x="450" y="54"/>
                  </a:lnTo>
                  <a:lnTo>
                    <a:pt x="444" y="54"/>
                  </a:lnTo>
                  <a:lnTo>
                    <a:pt x="438" y="48"/>
                  </a:lnTo>
                  <a:lnTo>
                    <a:pt x="426" y="48"/>
                  </a:lnTo>
                  <a:lnTo>
                    <a:pt x="420" y="42"/>
                  </a:lnTo>
                  <a:lnTo>
                    <a:pt x="396" y="42"/>
                  </a:lnTo>
                  <a:lnTo>
                    <a:pt x="384" y="54"/>
                  </a:lnTo>
                  <a:lnTo>
                    <a:pt x="342" y="54"/>
                  </a:lnTo>
                  <a:lnTo>
                    <a:pt x="342" y="72"/>
                  </a:lnTo>
                  <a:lnTo>
                    <a:pt x="300" y="72"/>
                  </a:lnTo>
                  <a:lnTo>
                    <a:pt x="300" y="60"/>
                  </a:lnTo>
                  <a:lnTo>
                    <a:pt x="312" y="48"/>
                  </a:lnTo>
                  <a:lnTo>
                    <a:pt x="312" y="42"/>
                  </a:lnTo>
                  <a:lnTo>
                    <a:pt x="318" y="30"/>
                  </a:lnTo>
                  <a:lnTo>
                    <a:pt x="294" y="42"/>
                  </a:lnTo>
                  <a:lnTo>
                    <a:pt x="252" y="36"/>
                  </a:lnTo>
                  <a:lnTo>
                    <a:pt x="246" y="30"/>
                  </a:lnTo>
                  <a:lnTo>
                    <a:pt x="246" y="18"/>
                  </a:lnTo>
                  <a:lnTo>
                    <a:pt x="240" y="6"/>
                  </a:lnTo>
                  <a:lnTo>
                    <a:pt x="234" y="6"/>
                  </a:lnTo>
                  <a:lnTo>
                    <a:pt x="234" y="12"/>
                  </a:lnTo>
                  <a:lnTo>
                    <a:pt x="228" y="6"/>
                  </a:lnTo>
                  <a:lnTo>
                    <a:pt x="204" y="6"/>
                  </a:lnTo>
                  <a:lnTo>
                    <a:pt x="198" y="0"/>
                  </a:lnTo>
                  <a:lnTo>
                    <a:pt x="168" y="0"/>
                  </a:lnTo>
                  <a:lnTo>
                    <a:pt x="192" y="36"/>
                  </a:lnTo>
                  <a:lnTo>
                    <a:pt x="180" y="48"/>
                  </a:lnTo>
                  <a:lnTo>
                    <a:pt x="198" y="72"/>
                  </a:lnTo>
                  <a:lnTo>
                    <a:pt x="216" y="90"/>
                  </a:lnTo>
                  <a:lnTo>
                    <a:pt x="186" y="78"/>
                  </a:lnTo>
                  <a:lnTo>
                    <a:pt x="162" y="84"/>
                  </a:lnTo>
                  <a:lnTo>
                    <a:pt x="162" y="108"/>
                  </a:lnTo>
                  <a:lnTo>
                    <a:pt x="132" y="108"/>
                  </a:lnTo>
                  <a:lnTo>
                    <a:pt x="126" y="96"/>
                  </a:lnTo>
                  <a:lnTo>
                    <a:pt x="84" y="96"/>
                  </a:lnTo>
                  <a:lnTo>
                    <a:pt x="84" y="126"/>
                  </a:lnTo>
                  <a:lnTo>
                    <a:pt x="90" y="126"/>
                  </a:lnTo>
                  <a:lnTo>
                    <a:pt x="84" y="132"/>
                  </a:lnTo>
                  <a:lnTo>
                    <a:pt x="90" y="144"/>
                  </a:lnTo>
                  <a:lnTo>
                    <a:pt x="78" y="150"/>
                  </a:lnTo>
                  <a:lnTo>
                    <a:pt x="72" y="150"/>
                  </a:lnTo>
                  <a:lnTo>
                    <a:pt x="72" y="168"/>
                  </a:lnTo>
                  <a:lnTo>
                    <a:pt x="78" y="174"/>
                  </a:lnTo>
                  <a:lnTo>
                    <a:pt x="66" y="174"/>
                  </a:lnTo>
                  <a:lnTo>
                    <a:pt x="54" y="180"/>
                  </a:lnTo>
                  <a:lnTo>
                    <a:pt x="48" y="180"/>
                  </a:lnTo>
                  <a:lnTo>
                    <a:pt x="48" y="186"/>
                  </a:lnTo>
                  <a:lnTo>
                    <a:pt x="54" y="192"/>
                  </a:lnTo>
                  <a:lnTo>
                    <a:pt x="60" y="192"/>
                  </a:lnTo>
                  <a:lnTo>
                    <a:pt x="72" y="204"/>
                  </a:lnTo>
                  <a:lnTo>
                    <a:pt x="72" y="210"/>
                  </a:lnTo>
                  <a:lnTo>
                    <a:pt x="66" y="210"/>
                  </a:lnTo>
                  <a:lnTo>
                    <a:pt x="60" y="216"/>
                  </a:lnTo>
                  <a:lnTo>
                    <a:pt x="54" y="228"/>
                  </a:lnTo>
                  <a:lnTo>
                    <a:pt x="48" y="228"/>
                  </a:lnTo>
                  <a:lnTo>
                    <a:pt x="42" y="234"/>
                  </a:lnTo>
                  <a:lnTo>
                    <a:pt x="42" y="240"/>
                  </a:lnTo>
                  <a:lnTo>
                    <a:pt x="18" y="240"/>
                  </a:lnTo>
                  <a:lnTo>
                    <a:pt x="12" y="234"/>
                  </a:lnTo>
                  <a:lnTo>
                    <a:pt x="6" y="234"/>
                  </a:lnTo>
                  <a:lnTo>
                    <a:pt x="12" y="258"/>
                  </a:lnTo>
                  <a:lnTo>
                    <a:pt x="12" y="264"/>
                  </a:lnTo>
                  <a:lnTo>
                    <a:pt x="18" y="270"/>
                  </a:lnTo>
                  <a:lnTo>
                    <a:pt x="18" y="276"/>
                  </a:lnTo>
                  <a:lnTo>
                    <a:pt x="6" y="282"/>
                  </a:lnTo>
                  <a:lnTo>
                    <a:pt x="0" y="288"/>
                  </a:lnTo>
                  <a:lnTo>
                    <a:pt x="6" y="294"/>
                  </a:lnTo>
                  <a:lnTo>
                    <a:pt x="6" y="306"/>
                  </a:lnTo>
                  <a:lnTo>
                    <a:pt x="0" y="312"/>
                  </a:lnTo>
                  <a:lnTo>
                    <a:pt x="0" y="324"/>
                  </a:lnTo>
                  <a:lnTo>
                    <a:pt x="12" y="324"/>
                  </a:lnTo>
                  <a:lnTo>
                    <a:pt x="24" y="336"/>
                  </a:lnTo>
                  <a:lnTo>
                    <a:pt x="24" y="354"/>
                  </a:lnTo>
                  <a:lnTo>
                    <a:pt x="30" y="360"/>
                  </a:lnTo>
                  <a:lnTo>
                    <a:pt x="18" y="360"/>
                  </a:lnTo>
                  <a:lnTo>
                    <a:pt x="12" y="366"/>
                  </a:lnTo>
                  <a:lnTo>
                    <a:pt x="12" y="384"/>
                  </a:lnTo>
                  <a:lnTo>
                    <a:pt x="18" y="390"/>
                  </a:lnTo>
                  <a:lnTo>
                    <a:pt x="24" y="390"/>
                  </a:lnTo>
                  <a:lnTo>
                    <a:pt x="36" y="396"/>
                  </a:lnTo>
                  <a:lnTo>
                    <a:pt x="36" y="408"/>
                  </a:lnTo>
                  <a:lnTo>
                    <a:pt x="30" y="414"/>
                  </a:lnTo>
                  <a:close/>
                </a:path>
              </a:pathLst>
            </a:custGeom>
            <a:solidFill>
              <a:schemeClr val="accent1"/>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74" name="Demokratische Republik Kongo" descr="© INSCALE GmbH, 05.05.2010&#10;http://www.presentationload.com/">
              <a:extLst>
                <a:ext uri="{FF2B5EF4-FFF2-40B4-BE49-F238E27FC236}">
                  <a16:creationId xmlns:a16="http://schemas.microsoft.com/office/drawing/2014/main" id="{0555777B-0841-472D-BC54-648308303AED}"/>
                </a:ext>
              </a:extLst>
            </p:cNvPr>
            <p:cNvSpPr>
              <a:spLocks/>
            </p:cNvSpPr>
            <p:nvPr/>
          </p:nvSpPr>
          <p:spPr bwMode="gray">
            <a:xfrm>
              <a:off x="4441395" y="4133460"/>
              <a:ext cx="213251" cy="277541"/>
            </a:xfrm>
            <a:custGeom>
              <a:avLst/>
              <a:gdLst>
                <a:gd name="T0" fmla="*/ 2147483647 w 534"/>
                <a:gd name="T1" fmla="*/ 2147483647 h 702"/>
                <a:gd name="T2" fmla="*/ 2147483647 w 534"/>
                <a:gd name="T3" fmla="*/ 2147483647 h 702"/>
                <a:gd name="T4" fmla="*/ 2147483647 w 534"/>
                <a:gd name="T5" fmla="*/ 2147483647 h 702"/>
                <a:gd name="T6" fmla="*/ 2147483647 w 534"/>
                <a:gd name="T7" fmla="*/ 2147483647 h 702"/>
                <a:gd name="T8" fmla="*/ 2147483647 w 534"/>
                <a:gd name="T9" fmla="*/ 2147483647 h 702"/>
                <a:gd name="T10" fmla="*/ 2147483647 w 534"/>
                <a:gd name="T11" fmla="*/ 2147483647 h 702"/>
                <a:gd name="T12" fmla="*/ 2147483647 w 534"/>
                <a:gd name="T13" fmla="*/ 2147483647 h 702"/>
                <a:gd name="T14" fmla="*/ 2147483647 w 534"/>
                <a:gd name="T15" fmla="*/ 2147483647 h 702"/>
                <a:gd name="T16" fmla="*/ 2147483647 w 534"/>
                <a:gd name="T17" fmla="*/ 2147483647 h 702"/>
                <a:gd name="T18" fmla="*/ 2147483647 w 534"/>
                <a:gd name="T19" fmla="*/ 2147483647 h 702"/>
                <a:gd name="T20" fmla="*/ 2147483647 w 534"/>
                <a:gd name="T21" fmla="*/ 2147483647 h 702"/>
                <a:gd name="T22" fmla="*/ 2147483647 w 534"/>
                <a:gd name="T23" fmla="*/ 2147483647 h 702"/>
                <a:gd name="T24" fmla="*/ 2147483647 w 534"/>
                <a:gd name="T25" fmla="*/ 2147483647 h 702"/>
                <a:gd name="T26" fmla="*/ 2147483647 w 534"/>
                <a:gd name="T27" fmla="*/ 2147483647 h 702"/>
                <a:gd name="T28" fmla="*/ 2147483647 w 534"/>
                <a:gd name="T29" fmla="*/ 2147483647 h 702"/>
                <a:gd name="T30" fmla="*/ 2147483647 w 534"/>
                <a:gd name="T31" fmla="*/ 2147483647 h 702"/>
                <a:gd name="T32" fmla="*/ 2147483647 w 534"/>
                <a:gd name="T33" fmla="*/ 2147483647 h 702"/>
                <a:gd name="T34" fmla="*/ 2147483647 w 534"/>
                <a:gd name="T35" fmla="*/ 2147483647 h 702"/>
                <a:gd name="T36" fmla="*/ 2147483647 w 534"/>
                <a:gd name="T37" fmla="*/ 2147483647 h 702"/>
                <a:gd name="T38" fmla="*/ 2147483647 w 534"/>
                <a:gd name="T39" fmla="*/ 2147483647 h 702"/>
                <a:gd name="T40" fmla="*/ 2147483647 w 534"/>
                <a:gd name="T41" fmla="*/ 2147483647 h 702"/>
                <a:gd name="T42" fmla="*/ 2147483647 w 534"/>
                <a:gd name="T43" fmla="*/ 2147483647 h 702"/>
                <a:gd name="T44" fmla="*/ 2147483647 w 534"/>
                <a:gd name="T45" fmla="*/ 2147483647 h 702"/>
                <a:gd name="T46" fmla="*/ 2147483647 w 534"/>
                <a:gd name="T47" fmla="*/ 2147483647 h 702"/>
                <a:gd name="T48" fmla="*/ 2147483647 w 534"/>
                <a:gd name="T49" fmla="*/ 2147483647 h 702"/>
                <a:gd name="T50" fmla="*/ 0 w 534"/>
                <a:gd name="T51" fmla="*/ 2147483647 h 702"/>
                <a:gd name="T52" fmla="*/ 2147483647 w 534"/>
                <a:gd name="T53" fmla="*/ 2147483647 h 702"/>
                <a:gd name="T54" fmla="*/ 2147483647 w 534"/>
                <a:gd name="T55" fmla="*/ 2147483647 h 702"/>
                <a:gd name="T56" fmla="*/ 2147483647 w 534"/>
                <a:gd name="T57" fmla="*/ 2147483647 h 702"/>
                <a:gd name="T58" fmla="*/ 2147483647 w 534"/>
                <a:gd name="T59" fmla="*/ 2147483647 h 702"/>
                <a:gd name="T60" fmla="*/ 2147483647 w 534"/>
                <a:gd name="T61" fmla="*/ 2147483647 h 702"/>
                <a:gd name="T62" fmla="*/ 2147483647 w 534"/>
                <a:gd name="T63" fmla="*/ 2147483647 h 702"/>
                <a:gd name="T64" fmla="*/ 2147483647 w 534"/>
                <a:gd name="T65" fmla="*/ 2147483647 h 702"/>
                <a:gd name="T66" fmla="*/ 2147483647 w 534"/>
                <a:gd name="T67" fmla="*/ 2147483647 h 702"/>
                <a:gd name="T68" fmla="*/ 2147483647 w 534"/>
                <a:gd name="T69" fmla="*/ 2147483647 h 702"/>
                <a:gd name="T70" fmla="*/ 2147483647 w 534"/>
                <a:gd name="T71" fmla="*/ 2147483647 h 702"/>
                <a:gd name="T72" fmla="*/ 2147483647 w 534"/>
                <a:gd name="T73" fmla="*/ 2147483647 h 702"/>
                <a:gd name="T74" fmla="*/ 2147483647 w 534"/>
                <a:gd name="T75" fmla="*/ 2147483647 h 702"/>
                <a:gd name="T76" fmla="*/ 2147483647 w 534"/>
                <a:gd name="T77" fmla="*/ 2147483647 h 702"/>
                <a:gd name="T78" fmla="*/ 2147483647 w 534"/>
                <a:gd name="T79" fmla="*/ 2147483647 h 702"/>
                <a:gd name="T80" fmla="*/ 2147483647 w 534"/>
                <a:gd name="T81" fmla="*/ 2147483647 h 702"/>
                <a:gd name="T82" fmla="*/ 2147483647 w 534"/>
                <a:gd name="T83" fmla="*/ 2147483647 h 702"/>
                <a:gd name="T84" fmla="*/ 2147483647 w 534"/>
                <a:gd name="T85" fmla="*/ 2147483647 h 702"/>
                <a:gd name="T86" fmla="*/ 2147483647 w 534"/>
                <a:gd name="T87" fmla="*/ 2147483647 h 702"/>
                <a:gd name="T88" fmla="*/ 2147483647 w 534"/>
                <a:gd name="T89" fmla="*/ 2147483647 h 702"/>
                <a:gd name="T90" fmla="*/ 2147483647 w 534"/>
                <a:gd name="T91" fmla="*/ 2147483647 h 702"/>
                <a:gd name="T92" fmla="*/ 2147483647 w 534"/>
                <a:gd name="T93" fmla="*/ 2147483647 h 702"/>
                <a:gd name="T94" fmla="*/ 2147483647 w 534"/>
                <a:gd name="T95" fmla="*/ 2147483647 h 702"/>
                <a:gd name="T96" fmla="*/ 2147483647 w 534"/>
                <a:gd name="T97" fmla="*/ 2147483647 h 702"/>
                <a:gd name="T98" fmla="*/ 2147483647 w 534"/>
                <a:gd name="T99" fmla="*/ 2147483647 h 702"/>
                <a:gd name="T100" fmla="*/ 2147483647 w 534"/>
                <a:gd name="T101" fmla="*/ 2147483647 h 702"/>
                <a:gd name="T102" fmla="*/ 2147483647 w 534"/>
                <a:gd name="T103" fmla="*/ 2147483647 h 7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34"/>
                <a:gd name="T157" fmla="*/ 0 h 702"/>
                <a:gd name="T158" fmla="*/ 534 w 534"/>
                <a:gd name="T159" fmla="*/ 702 h 7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34" h="702">
                  <a:moveTo>
                    <a:pt x="366" y="120"/>
                  </a:moveTo>
                  <a:lnTo>
                    <a:pt x="360" y="126"/>
                  </a:lnTo>
                  <a:lnTo>
                    <a:pt x="354" y="168"/>
                  </a:lnTo>
                  <a:lnTo>
                    <a:pt x="330" y="144"/>
                  </a:lnTo>
                  <a:lnTo>
                    <a:pt x="294" y="144"/>
                  </a:lnTo>
                  <a:lnTo>
                    <a:pt x="288" y="138"/>
                  </a:lnTo>
                  <a:lnTo>
                    <a:pt x="276" y="138"/>
                  </a:lnTo>
                  <a:lnTo>
                    <a:pt x="270" y="132"/>
                  </a:lnTo>
                  <a:lnTo>
                    <a:pt x="258" y="126"/>
                  </a:lnTo>
                  <a:lnTo>
                    <a:pt x="210" y="126"/>
                  </a:lnTo>
                  <a:lnTo>
                    <a:pt x="192" y="132"/>
                  </a:lnTo>
                  <a:lnTo>
                    <a:pt x="162" y="132"/>
                  </a:lnTo>
                  <a:lnTo>
                    <a:pt x="144" y="162"/>
                  </a:lnTo>
                  <a:lnTo>
                    <a:pt x="150" y="198"/>
                  </a:lnTo>
                  <a:lnTo>
                    <a:pt x="156" y="204"/>
                  </a:lnTo>
                  <a:lnTo>
                    <a:pt x="180" y="204"/>
                  </a:lnTo>
                  <a:lnTo>
                    <a:pt x="186" y="198"/>
                  </a:lnTo>
                  <a:lnTo>
                    <a:pt x="186" y="180"/>
                  </a:lnTo>
                  <a:lnTo>
                    <a:pt x="204" y="180"/>
                  </a:lnTo>
                  <a:lnTo>
                    <a:pt x="210" y="186"/>
                  </a:lnTo>
                  <a:lnTo>
                    <a:pt x="222" y="186"/>
                  </a:lnTo>
                  <a:lnTo>
                    <a:pt x="222" y="192"/>
                  </a:lnTo>
                  <a:lnTo>
                    <a:pt x="228" y="198"/>
                  </a:lnTo>
                  <a:lnTo>
                    <a:pt x="228" y="216"/>
                  </a:lnTo>
                  <a:lnTo>
                    <a:pt x="240" y="222"/>
                  </a:lnTo>
                  <a:lnTo>
                    <a:pt x="240" y="234"/>
                  </a:lnTo>
                  <a:lnTo>
                    <a:pt x="234" y="240"/>
                  </a:lnTo>
                  <a:lnTo>
                    <a:pt x="228" y="252"/>
                  </a:lnTo>
                  <a:lnTo>
                    <a:pt x="222" y="258"/>
                  </a:lnTo>
                  <a:lnTo>
                    <a:pt x="210" y="258"/>
                  </a:lnTo>
                  <a:lnTo>
                    <a:pt x="198" y="282"/>
                  </a:lnTo>
                  <a:lnTo>
                    <a:pt x="198" y="318"/>
                  </a:lnTo>
                  <a:lnTo>
                    <a:pt x="216" y="324"/>
                  </a:lnTo>
                  <a:lnTo>
                    <a:pt x="222" y="342"/>
                  </a:lnTo>
                  <a:lnTo>
                    <a:pt x="240" y="342"/>
                  </a:lnTo>
                  <a:lnTo>
                    <a:pt x="246" y="348"/>
                  </a:lnTo>
                  <a:lnTo>
                    <a:pt x="246" y="360"/>
                  </a:lnTo>
                  <a:lnTo>
                    <a:pt x="240" y="366"/>
                  </a:lnTo>
                  <a:lnTo>
                    <a:pt x="240" y="414"/>
                  </a:lnTo>
                  <a:lnTo>
                    <a:pt x="234" y="426"/>
                  </a:lnTo>
                  <a:lnTo>
                    <a:pt x="240" y="450"/>
                  </a:lnTo>
                  <a:lnTo>
                    <a:pt x="234" y="456"/>
                  </a:lnTo>
                  <a:lnTo>
                    <a:pt x="222" y="462"/>
                  </a:lnTo>
                  <a:lnTo>
                    <a:pt x="222" y="486"/>
                  </a:lnTo>
                  <a:lnTo>
                    <a:pt x="216" y="498"/>
                  </a:lnTo>
                  <a:lnTo>
                    <a:pt x="210" y="504"/>
                  </a:lnTo>
                  <a:lnTo>
                    <a:pt x="198" y="504"/>
                  </a:lnTo>
                  <a:lnTo>
                    <a:pt x="192" y="498"/>
                  </a:lnTo>
                  <a:lnTo>
                    <a:pt x="192" y="468"/>
                  </a:lnTo>
                  <a:lnTo>
                    <a:pt x="186" y="468"/>
                  </a:lnTo>
                  <a:lnTo>
                    <a:pt x="180" y="474"/>
                  </a:lnTo>
                  <a:lnTo>
                    <a:pt x="174" y="486"/>
                  </a:lnTo>
                  <a:lnTo>
                    <a:pt x="168" y="492"/>
                  </a:lnTo>
                  <a:lnTo>
                    <a:pt x="138" y="492"/>
                  </a:lnTo>
                  <a:lnTo>
                    <a:pt x="120" y="450"/>
                  </a:lnTo>
                  <a:lnTo>
                    <a:pt x="90" y="450"/>
                  </a:lnTo>
                  <a:lnTo>
                    <a:pt x="90" y="456"/>
                  </a:lnTo>
                  <a:lnTo>
                    <a:pt x="108" y="474"/>
                  </a:lnTo>
                  <a:lnTo>
                    <a:pt x="96" y="480"/>
                  </a:lnTo>
                  <a:lnTo>
                    <a:pt x="90" y="492"/>
                  </a:lnTo>
                  <a:lnTo>
                    <a:pt x="84" y="498"/>
                  </a:lnTo>
                  <a:lnTo>
                    <a:pt x="66" y="498"/>
                  </a:lnTo>
                  <a:lnTo>
                    <a:pt x="54" y="492"/>
                  </a:lnTo>
                  <a:lnTo>
                    <a:pt x="42" y="492"/>
                  </a:lnTo>
                  <a:lnTo>
                    <a:pt x="36" y="486"/>
                  </a:lnTo>
                  <a:lnTo>
                    <a:pt x="30" y="486"/>
                  </a:lnTo>
                  <a:lnTo>
                    <a:pt x="30" y="504"/>
                  </a:lnTo>
                  <a:lnTo>
                    <a:pt x="36" y="510"/>
                  </a:lnTo>
                  <a:lnTo>
                    <a:pt x="36" y="522"/>
                  </a:lnTo>
                  <a:lnTo>
                    <a:pt x="24" y="522"/>
                  </a:lnTo>
                  <a:lnTo>
                    <a:pt x="54" y="540"/>
                  </a:lnTo>
                  <a:lnTo>
                    <a:pt x="36" y="552"/>
                  </a:lnTo>
                  <a:lnTo>
                    <a:pt x="54" y="564"/>
                  </a:lnTo>
                  <a:lnTo>
                    <a:pt x="54" y="600"/>
                  </a:lnTo>
                  <a:lnTo>
                    <a:pt x="48" y="606"/>
                  </a:lnTo>
                  <a:lnTo>
                    <a:pt x="30" y="588"/>
                  </a:lnTo>
                  <a:lnTo>
                    <a:pt x="6" y="600"/>
                  </a:lnTo>
                  <a:lnTo>
                    <a:pt x="0" y="618"/>
                  </a:lnTo>
                  <a:lnTo>
                    <a:pt x="54" y="666"/>
                  </a:lnTo>
                  <a:lnTo>
                    <a:pt x="54" y="684"/>
                  </a:lnTo>
                  <a:lnTo>
                    <a:pt x="72" y="702"/>
                  </a:lnTo>
                  <a:lnTo>
                    <a:pt x="72" y="690"/>
                  </a:lnTo>
                  <a:lnTo>
                    <a:pt x="90" y="690"/>
                  </a:lnTo>
                  <a:lnTo>
                    <a:pt x="90" y="672"/>
                  </a:lnTo>
                  <a:lnTo>
                    <a:pt x="102" y="666"/>
                  </a:lnTo>
                  <a:lnTo>
                    <a:pt x="108" y="660"/>
                  </a:lnTo>
                  <a:lnTo>
                    <a:pt x="120" y="654"/>
                  </a:lnTo>
                  <a:lnTo>
                    <a:pt x="126" y="648"/>
                  </a:lnTo>
                  <a:lnTo>
                    <a:pt x="132" y="654"/>
                  </a:lnTo>
                  <a:lnTo>
                    <a:pt x="132" y="660"/>
                  </a:lnTo>
                  <a:lnTo>
                    <a:pt x="138" y="666"/>
                  </a:lnTo>
                  <a:lnTo>
                    <a:pt x="138" y="672"/>
                  </a:lnTo>
                  <a:lnTo>
                    <a:pt x="150" y="672"/>
                  </a:lnTo>
                  <a:lnTo>
                    <a:pt x="150" y="678"/>
                  </a:lnTo>
                  <a:lnTo>
                    <a:pt x="156" y="684"/>
                  </a:lnTo>
                  <a:lnTo>
                    <a:pt x="156" y="690"/>
                  </a:lnTo>
                  <a:lnTo>
                    <a:pt x="162" y="696"/>
                  </a:lnTo>
                  <a:lnTo>
                    <a:pt x="174" y="696"/>
                  </a:lnTo>
                  <a:lnTo>
                    <a:pt x="180" y="690"/>
                  </a:lnTo>
                  <a:lnTo>
                    <a:pt x="186" y="678"/>
                  </a:lnTo>
                  <a:lnTo>
                    <a:pt x="186" y="660"/>
                  </a:lnTo>
                  <a:lnTo>
                    <a:pt x="210" y="666"/>
                  </a:lnTo>
                  <a:lnTo>
                    <a:pt x="228" y="648"/>
                  </a:lnTo>
                  <a:lnTo>
                    <a:pt x="234" y="648"/>
                  </a:lnTo>
                  <a:lnTo>
                    <a:pt x="234" y="678"/>
                  </a:lnTo>
                  <a:lnTo>
                    <a:pt x="228" y="690"/>
                  </a:lnTo>
                  <a:lnTo>
                    <a:pt x="234" y="696"/>
                  </a:lnTo>
                  <a:lnTo>
                    <a:pt x="252" y="696"/>
                  </a:lnTo>
                  <a:lnTo>
                    <a:pt x="264" y="690"/>
                  </a:lnTo>
                  <a:lnTo>
                    <a:pt x="270" y="684"/>
                  </a:lnTo>
                  <a:lnTo>
                    <a:pt x="276" y="672"/>
                  </a:lnTo>
                  <a:lnTo>
                    <a:pt x="294" y="654"/>
                  </a:lnTo>
                  <a:lnTo>
                    <a:pt x="300" y="642"/>
                  </a:lnTo>
                  <a:lnTo>
                    <a:pt x="312" y="630"/>
                  </a:lnTo>
                  <a:lnTo>
                    <a:pt x="330" y="630"/>
                  </a:lnTo>
                  <a:lnTo>
                    <a:pt x="336" y="624"/>
                  </a:lnTo>
                  <a:lnTo>
                    <a:pt x="366" y="582"/>
                  </a:lnTo>
                  <a:lnTo>
                    <a:pt x="360" y="480"/>
                  </a:lnTo>
                  <a:lnTo>
                    <a:pt x="366" y="480"/>
                  </a:lnTo>
                  <a:lnTo>
                    <a:pt x="390" y="456"/>
                  </a:lnTo>
                  <a:lnTo>
                    <a:pt x="390" y="420"/>
                  </a:lnTo>
                  <a:lnTo>
                    <a:pt x="396" y="408"/>
                  </a:lnTo>
                  <a:lnTo>
                    <a:pt x="402" y="402"/>
                  </a:lnTo>
                  <a:lnTo>
                    <a:pt x="450" y="378"/>
                  </a:lnTo>
                  <a:lnTo>
                    <a:pt x="456" y="366"/>
                  </a:lnTo>
                  <a:lnTo>
                    <a:pt x="468" y="360"/>
                  </a:lnTo>
                  <a:lnTo>
                    <a:pt x="474" y="354"/>
                  </a:lnTo>
                  <a:lnTo>
                    <a:pt x="474" y="300"/>
                  </a:lnTo>
                  <a:lnTo>
                    <a:pt x="486" y="294"/>
                  </a:lnTo>
                  <a:lnTo>
                    <a:pt x="492" y="282"/>
                  </a:lnTo>
                  <a:lnTo>
                    <a:pt x="492" y="258"/>
                  </a:lnTo>
                  <a:lnTo>
                    <a:pt x="486" y="246"/>
                  </a:lnTo>
                  <a:lnTo>
                    <a:pt x="480" y="240"/>
                  </a:lnTo>
                  <a:lnTo>
                    <a:pt x="480" y="228"/>
                  </a:lnTo>
                  <a:lnTo>
                    <a:pt x="498" y="192"/>
                  </a:lnTo>
                  <a:lnTo>
                    <a:pt x="498" y="168"/>
                  </a:lnTo>
                  <a:lnTo>
                    <a:pt x="492" y="156"/>
                  </a:lnTo>
                  <a:lnTo>
                    <a:pt x="492" y="126"/>
                  </a:lnTo>
                  <a:lnTo>
                    <a:pt x="498" y="120"/>
                  </a:lnTo>
                  <a:lnTo>
                    <a:pt x="510" y="96"/>
                  </a:lnTo>
                  <a:lnTo>
                    <a:pt x="522" y="84"/>
                  </a:lnTo>
                  <a:lnTo>
                    <a:pt x="528" y="66"/>
                  </a:lnTo>
                  <a:lnTo>
                    <a:pt x="534" y="54"/>
                  </a:lnTo>
                  <a:lnTo>
                    <a:pt x="534" y="18"/>
                  </a:lnTo>
                  <a:lnTo>
                    <a:pt x="522" y="6"/>
                  </a:lnTo>
                  <a:lnTo>
                    <a:pt x="510" y="18"/>
                  </a:lnTo>
                  <a:lnTo>
                    <a:pt x="498" y="18"/>
                  </a:lnTo>
                  <a:lnTo>
                    <a:pt x="462" y="0"/>
                  </a:lnTo>
                  <a:lnTo>
                    <a:pt x="444" y="0"/>
                  </a:lnTo>
                  <a:lnTo>
                    <a:pt x="426" y="18"/>
                  </a:lnTo>
                  <a:lnTo>
                    <a:pt x="396" y="18"/>
                  </a:lnTo>
                  <a:lnTo>
                    <a:pt x="378" y="48"/>
                  </a:lnTo>
                  <a:lnTo>
                    <a:pt x="390" y="60"/>
                  </a:lnTo>
                  <a:lnTo>
                    <a:pt x="390" y="84"/>
                  </a:lnTo>
                  <a:lnTo>
                    <a:pt x="384" y="96"/>
                  </a:lnTo>
                  <a:lnTo>
                    <a:pt x="378" y="102"/>
                  </a:lnTo>
                  <a:lnTo>
                    <a:pt x="372" y="114"/>
                  </a:lnTo>
                  <a:lnTo>
                    <a:pt x="366" y="12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75" name="Dänemark" descr="© INSCALE GmbH, 05.05.2010&#10;http://www.presentationload.com/">
              <a:extLst>
                <a:ext uri="{FF2B5EF4-FFF2-40B4-BE49-F238E27FC236}">
                  <a16:creationId xmlns:a16="http://schemas.microsoft.com/office/drawing/2014/main" id="{03D9A6FF-358F-4CF3-AC8C-09E2938CAB27}"/>
                </a:ext>
              </a:extLst>
            </p:cNvPr>
            <p:cNvSpPr>
              <a:spLocks noEditPoints="1"/>
            </p:cNvSpPr>
            <p:nvPr/>
          </p:nvSpPr>
          <p:spPr bwMode="gray">
            <a:xfrm>
              <a:off x="4366130" y="2424314"/>
              <a:ext cx="109762" cy="94081"/>
            </a:xfrm>
            <a:custGeom>
              <a:avLst/>
              <a:gdLst>
                <a:gd name="T0" fmla="*/ 2147483647 w 71"/>
                <a:gd name="T1" fmla="*/ 2147483647 h 60"/>
                <a:gd name="T2" fmla="*/ 2147483647 w 71"/>
                <a:gd name="T3" fmla="*/ 2147483647 h 60"/>
                <a:gd name="T4" fmla="*/ 2147483647 w 71"/>
                <a:gd name="T5" fmla="*/ 2147483647 h 60"/>
                <a:gd name="T6" fmla="*/ 2147483647 w 71"/>
                <a:gd name="T7" fmla="*/ 2147483647 h 60"/>
                <a:gd name="T8" fmla="*/ 2147483647 w 71"/>
                <a:gd name="T9" fmla="*/ 2147483647 h 60"/>
                <a:gd name="T10" fmla="*/ 2147483647 w 71"/>
                <a:gd name="T11" fmla="*/ 2147483647 h 60"/>
                <a:gd name="T12" fmla="*/ 2147483647 w 71"/>
                <a:gd name="T13" fmla="*/ 2147483647 h 60"/>
                <a:gd name="T14" fmla="*/ 2147483647 w 71"/>
                <a:gd name="T15" fmla="*/ 2147483647 h 60"/>
                <a:gd name="T16" fmla="*/ 2147483647 w 71"/>
                <a:gd name="T17" fmla="*/ 2147483647 h 60"/>
                <a:gd name="T18" fmla="*/ 2147483647 w 71"/>
                <a:gd name="T19" fmla="*/ 2147483647 h 60"/>
                <a:gd name="T20" fmla="*/ 2147483647 w 71"/>
                <a:gd name="T21" fmla="*/ 2147483647 h 60"/>
                <a:gd name="T22" fmla="*/ 2147483647 w 71"/>
                <a:gd name="T23" fmla="*/ 2147483647 h 60"/>
                <a:gd name="T24" fmla="*/ 2147483647 w 71"/>
                <a:gd name="T25" fmla="*/ 2147483647 h 60"/>
                <a:gd name="T26" fmla="*/ 2147483647 w 71"/>
                <a:gd name="T27" fmla="*/ 2147483647 h 60"/>
                <a:gd name="T28" fmla="*/ 2147483647 w 71"/>
                <a:gd name="T29" fmla="*/ 2147483647 h 60"/>
                <a:gd name="T30" fmla="*/ 2147483647 w 71"/>
                <a:gd name="T31" fmla="*/ 2147483647 h 60"/>
                <a:gd name="T32" fmla="*/ 2147483647 w 71"/>
                <a:gd name="T33" fmla="*/ 2147483647 h 60"/>
                <a:gd name="T34" fmla="*/ 2147483647 w 71"/>
                <a:gd name="T35" fmla="*/ 2147483647 h 60"/>
                <a:gd name="T36" fmla="*/ 2147483647 w 71"/>
                <a:gd name="T37" fmla="*/ 2147483647 h 60"/>
                <a:gd name="T38" fmla="*/ 2147483647 w 71"/>
                <a:gd name="T39" fmla="*/ 2147483647 h 60"/>
                <a:gd name="T40" fmla="*/ 2147483647 w 71"/>
                <a:gd name="T41" fmla="*/ 2147483647 h 60"/>
                <a:gd name="T42" fmla="*/ 2147483647 w 71"/>
                <a:gd name="T43" fmla="*/ 2147483647 h 60"/>
                <a:gd name="T44" fmla="*/ 2147483647 w 71"/>
                <a:gd name="T45" fmla="*/ 2147483647 h 60"/>
                <a:gd name="T46" fmla="*/ 2147483647 w 71"/>
                <a:gd name="T47" fmla="*/ 2147483647 h 60"/>
                <a:gd name="T48" fmla="*/ 2147483647 w 71"/>
                <a:gd name="T49" fmla="*/ 2147483647 h 60"/>
                <a:gd name="T50" fmla="*/ 2147483647 w 71"/>
                <a:gd name="T51" fmla="*/ 2147483647 h 60"/>
                <a:gd name="T52" fmla="*/ 2147483647 w 71"/>
                <a:gd name="T53" fmla="*/ 2147483647 h 60"/>
                <a:gd name="T54" fmla="*/ 2147483647 w 71"/>
                <a:gd name="T55" fmla="*/ 2147483647 h 60"/>
                <a:gd name="T56" fmla="*/ 2147483647 w 71"/>
                <a:gd name="T57" fmla="*/ 2147483647 h 60"/>
                <a:gd name="T58" fmla="*/ 2147483647 w 71"/>
                <a:gd name="T59" fmla="*/ 2147483647 h 60"/>
                <a:gd name="T60" fmla="*/ 2147483647 w 71"/>
                <a:gd name="T61" fmla="*/ 2147483647 h 60"/>
                <a:gd name="T62" fmla="*/ 2147483647 w 71"/>
                <a:gd name="T63" fmla="*/ 0 h 60"/>
                <a:gd name="T64" fmla="*/ 2147483647 w 71"/>
                <a:gd name="T65" fmla="*/ 2147483647 h 60"/>
                <a:gd name="T66" fmla="*/ 2147483647 w 71"/>
                <a:gd name="T67" fmla="*/ 2147483647 h 60"/>
                <a:gd name="T68" fmla="*/ 2147483647 w 71"/>
                <a:gd name="T69" fmla="*/ 2147483647 h 60"/>
                <a:gd name="T70" fmla="*/ 2147483647 w 71"/>
                <a:gd name="T71" fmla="*/ 2147483647 h 60"/>
                <a:gd name="T72" fmla="*/ 2147483647 w 71"/>
                <a:gd name="T73" fmla="*/ 2147483647 h 60"/>
                <a:gd name="T74" fmla="*/ 2147483647 w 71"/>
                <a:gd name="T75" fmla="*/ 2147483647 h 60"/>
                <a:gd name="T76" fmla="*/ 2147483647 w 71"/>
                <a:gd name="T77" fmla="*/ 2147483647 h 60"/>
                <a:gd name="T78" fmla="*/ 2147483647 w 71"/>
                <a:gd name="T79" fmla="*/ 2147483647 h 60"/>
                <a:gd name="T80" fmla="*/ 2147483647 w 71"/>
                <a:gd name="T81" fmla="*/ 2147483647 h 60"/>
                <a:gd name="T82" fmla="*/ 0 w 71"/>
                <a:gd name="T83" fmla="*/ 2147483647 h 60"/>
                <a:gd name="T84" fmla="*/ 0 w 71"/>
                <a:gd name="T85" fmla="*/ 2147483647 h 60"/>
                <a:gd name="T86" fmla="*/ 2147483647 w 71"/>
                <a:gd name="T87" fmla="*/ 2147483647 h 60"/>
                <a:gd name="T88" fmla="*/ 2147483647 w 71"/>
                <a:gd name="T89" fmla="*/ 2147483647 h 60"/>
                <a:gd name="T90" fmla="*/ 2147483647 w 71"/>
                <a:gd name="T91" fmla="*/ 2147483647 h 60"/>
                <a:gd name="T92" fmla="*/ 2147483647 w 71"/>
                <a:gd name="T93" fmla="*/ 2147483647 h 60"/>
                <a:gd name="T94" fmla="*/ 2147483647 w 71"/>
                <a:gd name="T95" fmla="*/ 2147483647 h 60"/>
                <a:gd name="T96" fmla="*/ 2147483647 w 71"/>
                <a:gd name="T97" fmla="*/ 2147483647 h 60"/>
                <a:gd name="T98" fmla="*/ 2147483647 w 71"/>
                <a:gd name="T99" fmla="*/ 2147483647 h 60"/>
                <a:gd name="T100" fmla="*/ 2147483647 w 71"/>
                <a:gd name="T101" fmla="*/ 2147483647 h 60"/>
                <a:gd name="T102" fmla="*/ 2147483647 w 71"/>
                <a:gd name="T103" fmla="*/ 2147483647 h 60"/>
                <a:gd name="T104" fmla="*/ 2147483647 w 71"/>
                <a:gd name="T105" fmla="*/ 2147483647 h 60"/>
                <a:gd name="T106" fmla="*/ 2147483647 w 71"/>
                <a:gd name="T107" fmla="*/ 2147483647 h 60"/>
                <a:gd name="T108" fmla="*/ 2147483647 w 71"/>
                <a:gd name="T109" fmla="*/ 2147483647 h 60"/>
                <a:gd name="T110" fmla="*/ 2147483647 w 71"/>
                <a:gd name="T111" fmla="*/ 2147483647 h 60"/>
                <a:gd name="T112" fmla="*/ 2147483647 w 71"/>
                <a:gd name="T113" fmla="*/ 2147483647 h 60"/>
                <a:gd name="T114" fmla="*/ 2147483647 w 71"/>
                <a:gd name="T115" fmla="*/ 2147483647 h 60"/>
                <a:gd name="T116" fmla="*/ 2147483647 w 71"/>
                <a:gd name="T117" fmla="*/ 2147483647 h 60"/>
                <a:gd name="T118" fmla="*/ 2147483647 w 71"/>
                <a:gd name="T119" fmla="*/ 2147483647 h 60"/>
                <a:gd name="T120" fmla="*/ 2147483647 w 71"/>
                <a:gd name="T121" fmla="*/ 2147483647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60"/>
                <a:gd name="T185" fmla="*/ 71 w 71"/>
                <a:gd name="T186" fmla="*/ 60 h 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60">
                  <a:moveTo>
                    <a:pt x="62" y="48"/>
                  </a:moveTo>
                  <a:lnTo>
                    <a:pt x="67" y="46"/>
                  </a:lnTo>
                  <a:lnTo>
                    <a:pt x="69" y="46"/>
                  </a:lnTo>
                  <a:lnTo>
                    <a:pt x="69" y="43"/>
                  </a:lnTo>
                  <a:lnTo>
                    <a:pt x="67" y="43"/>
                  </a:lnTo>
                  <a:lnTo>
                    <a:pt x="62" y="41"/>
                  </a:lnTo>
                  <a:lnTo>
                    <a:pt x="62" y="38"/>
                  </a:lnTo>
                  <a:lnTo>
                    <a:pt x="64" y="38"/>
                  </a:lnTo>
                  <a:lnTo>
                    <a:pt x="64" y="36"/>
                  </a:lnTo>
                  <a:lnTo>
                    <a:pt x="67" y="34"/>
                  </a:lnTo>
                  <a:lnTo>
                    <a:pt x="67" y="29"/>
                  </a:lnTo>
                  <a:lnTo>
                    <a:pt x="64" y="29"/>
                  </a:lnTo>
                  <a:lnTo>
                    <a:pt x="62" y="29"/>
                  </a:lnTo>
                  <a:lnTo>
                    <a:pt x="60" y="31"/>
                  </a:lnTo>
                  <a:lnTo>
                    <a:pt x="60" y="34"/>
                  </a:lnTo>
                  <a:lnTo>
                    <a:pt x="57" y="36"/>
                  </a:lnTo>
                  <a:lnTo>
                    <a:pt x="57" y="34"/>
                  </a:lnTo>
                  <a:lnTo>
                    <a:pt x="55" y="31"/>
                  </a:lnTo>
                  <a:lnTo>
                    <a:pt x="52" y="34"/>
                  </a:lnTo>
                  <a:lnTo>
                    <a:pt x="45" y="38"/>
                  </a:lnTo>
                  <a:lnTo>
                    <a:pt x="48" y="38"/>
                  </a:lnTo>
                  <a:lnTo>
                    <a:pt x="50" y="41"/>
                  </a:lnTo>
                  <a:lnTo>
                    <a:pt x="50" y="43"/>
                  </a:lnTo>
                  <a:lnTo>
                    <a:pt x="50" y="46"/>
                  </a:lnTo>
                  <a:lnTo>
                    <a:pt x="50" y="48"/>
                  </a:lnTo>
                  <a:lnTo>
                    <a:pt x="48" y="48"/>
                  </a:lnTo>
                  <a:lnTo>
                    <a:pt x="50" y="48"/>
                  </a:lnTo>
                  <a:lnTo>
                    <a:pt x="50" y="50"/>
                  </a:lnTo>
                  <a:lnTo>
                    <a:pt x="55" y="50"/>
                  </a:lnTo>
                  <a:lnTo>
                    <a:pt x="55" y="48"/>
                  </a:lnTo>
                  <a:lnTo>
                    <a:pt x="57" y="48"/>
                  </a:lnTo>
                  <a:lnTo>
                    <a:pt x="57" y="50"/>
                  </a:lnTo>
                  <a:lnTo>
                    <a:pt x="60" y="53"/>
                  </a:lnTo>
                  <a:lnTo>
                    <a:pt x="60" y="55"/>
                  </a:lnTo>
                  <a:lnTo>
                    <a:pt x="62" y="55"/>
                  </a:lnTo>
                  <a:lnTo>
                    <a:pt x="62" y="53"/>
                  </a:lnTo>
                  <a:lnTo>
                    <a:pt x="62" y="48"/>
                  </a:lnTo>
                  <a:close/>
                  <a:moveTo>
                    <a:pt x="71" y="53"/>
                  </a:moveTo>
                  <a:lnTo>
                    <a:pt x="62" y="55"/>
                  </a:lnTo>
                  <a:lnTo>
                    <a:pt x="60" y="58"/>
                  </a:lnTo>
                  <a:lnTo>
                    <a:pt x="57" y="58"/>
                  </a:lnTo>
                  <a:lnTo>
                    <a:pt x="57" y="55"/>
                  </a:lnTo>
                  <a:lnTo>
                    <a:pt x="55" y="55"/>
                  </a:lnTo>
                  <a:lnTo>
                    <a:pt x="50" y="53"/>
                  </a:lnTo>
                  <a:lnTo>
                    <a:pt x="45" y="53"/>
                  </a:lnTo>
                  <a:lnTo>
                    <a:pt x="45" y="58"/>
                  </a:lnTo>
                  <a:lnTo>
                    <a:pt x="50" y="58"/>
                  </a:lnTo>
                  <a:lnTo>
                    <a:pt x="52" y="58"/>
                  </a:lnTo>
                  <a:lnTo>
                    <a:pt x="55" y="60"/>
                  </a:lnTo>
                  <a:lnTo>
                    <a:pt x="57" y="60"/>
                  </a:lnTo>
                  <a:lnTo>
                    <a:pt x="60" y="60"/>
                  </a:lnTo>
                  <a:lnTo>
                    <a:pt x="62" y="60"/>
                  </a:lnTo>
                  <a:lnTo>
                    <a:pt x="69" y="58"/>
                  </a:lnTo>
                  <a:lnTo>
                    <a:pt x="71" y="58"/>
                  </a:lnTo>
                  <a:lnTo>
                    <a:pt x="71" y="53"/>
                  </a:lnTo>
                  <a:close/>
                  <a:moveTo>
                    <a:pt x="31" y="12"/>
                  </a:moveTo>
                  <a:lnTo>
                    <a:pt x="36" y="7"/>
                  </a:lnTo>
                  <a:lnTo>
                    <a:pt x="36" y="3"/>
                  </a:lnTo>
                  <a:lnTo>
                    <a:pt x="36" y="0"/>
                  </a:lnTo>
                  <a:lnTo>
                    <a:pt x="26" y="0"/>
                  </a:lnTo>
                  <a:lnTo>
                    <a:pt x="26" y="3"/>
                  </a:lnTo>
                  <a:lnTo>
                    <a:pt x="21" y="7"/>
                  </a:lnTo>
                  <a:lnTo>
                    <a:pt x="21" y="10"/>
                  </a:lnTo>
                  <a:lnTo>
                    <a:pt x="19" y="10"/>
                  </a:lnTo>
                  <a:lnTo>
                    <a:pt x="19" y="19"/>
                  </a:lnTo>
                  <a:lnTo>
                    <a:pt x="14" y="14"/>
                  </a:lnTo>
                  <a:lnTo>
                    <a:pt x="12" y="7"/>
                  </a:lnTo>
                  <a:lnTo>
                    <a:pt x="7" y="10"/>
                  </a:lnTo>
                  <a:lnTo>
                    <a:pt x="5" y="10"/>
                  </a:lnTo>
                  <a:lnTo>
                    <a:pt x="5" y="12"/>
                  </a:lnTo>
                  <a:lnTo>
                    <a:pt x="5" y="14"/>
                  </a:lnTo>
                  <a:lnTo>
                    <a:pt x="7" y="14"/>
                  </a:lnTo>
                  <a:lnTo>
                    <a:pt x="12" y="19"/>
                  </a:lnTo>
                  <a:lnTo>
                    <a:pt x="12" y="22"/>
                  </a:lnTo>
                  <a:lnTo>
                    <a:pt x="5" y="19"/>
                  </a:lnTo>
                  <a:lnTo>
                    <a:pt x="2" y="24"/>
                  </a:lnTo>
                  <a:lnTo>
                    <a:pt x="0" y="24"/>
                  </a:lnTo>
                  <a:lnTo>
                    <a:pt x="0" y="29"/>
                  </a:lnTo>
                  <a:lnTo>
                    <a:pt x="0" y="31"/>
                  </a:lnTo>
                  <a:lnTo>
                    <a:pt x="5" y="34"/>
                  </a:lnTo>
                  <a:lnTo>
                    <a:pt x="7" y="34"/>
                  </a:lnTo>
                  <a:lnTo>
                    <a:pt x="2" y="38"/>
                  </a:lnTo>
                  <a:lnTo>
                    <a:pt x="2" y="41"/>
                  </a:lnTo>
                  <a:lnTo>
                    <a:pt x="5" y="43"/>
                  </a:lnTo>
                  <a:lnTo>
                    <a:pt x="7" y="43"/>
                  </a:lnTo>
                  <a:lnTo>
                    <a:pt x="7" y="48"/>
                  </a:lnTo>
                  <a:lnTo>
                    <a:pt x="5" y="53"/>
                  </a:lnTo>
                  <a:lnTo>
                    <a:pt x="7" y="53"/>
                  </a:lnTo>
                  <a:lnTo>
                    <a:pt x="17" y="53"/>
                  </a:lnTo>
                  <a:lnTo>
                    <a:pt x="17" y="55"/>
                  </a:lnTo>
                  <a:lnTo>
                    <a:pt x="24" y="55"/>
                  </a:lnTo>
                  <a:lnTo>
                    <a:pt x="26" y="58"/>
                  </a:lnTo>
                  <a:lnTo>
                    <a:pt x="26" y="55"/>
                  </a:lnTo>
                  <a:lnTo>
                    <a:pt x="24" y="53"/>
                  </a:lnTo>
                  <a:lnTo>
                    <a:pt x="24" y="48"/>
                  </a:lnTo>
                  <a:lnTo>
                    <a:pt x="26" y="43"/>
                  </a:lnTo>
                  <a:lnTo>
                    <a:pt x="24" y="41"/>
                  </a:lnTo>
                  <a:lnTo>
                    <a:pt x="24" y="38"/>
                  </a:lnTo>
                  <a:lnTo>
                    <a:pt x="21" y="38"/>
                  </a:lnTo>
                  <a:lnTo>
                    <a:pt x="24" y="38"/>
                  </a:lnTo>
                  <a:lnTo>
                    <a:pt x="31" y="34"/>
                  </a:lnTo>
                  <a:lnTo>
                    <a:pt x="33" y="26"/>
                  </a:lnTo>
                  <a:lnTo>
                    <a:pt x="38" y="26"/>
                  </a:lnTo>
                  <a:lnTo>
                    <a:pt x="41" y="19"/>
                  </a:lnTo>
                  <a:lnTo>
                    <a:pt x="31" y="19"/>
                  </a:lnTo>
                  <a:lnTo>
                    <a:pt x="31" y="12"/>
                  </a:lnTo>
                  <a:close/>
                  <a:moveTo>
                    <a:pt x="29" y="38"/>
                  </a:moveTo>
                  <a:lnTo>
                    <a:pt x="31" y="48"/>
                  </a:lnTo>
                  <a:lnTo>
                    <a:pt x="36" y="53"/>
                  </a:lnTo>
                  <a:lnTo>
                    <a:pt x="38" y="46"/>
                  </a:lnTo>
                  <a:lnTo>
                    <a:pt x="33" y="41"/>
                  </a:lnTo>
                  <a:lnTo>
                    <a:pt x="29" y="38"/>
                  </a:lnTo>
                  <a:close/>
                </a:path>
              </a:pathLst>
            </a:custGeom>
            <a:solidFill>
              <a:schemeClr val="accent1"/>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76" name="Costa Rica" descr="© INSCALE GmbH, 05.05.2010&#10;http://www.presentationload.com/">
              <a:extLst>
                <a:ext uri="{FF2B5EF4-FFF2-40B4-BE49-F238E27FC236}">
                  <a16:creationId xmlns:a16="http://schemas.microsoft.com/office/drawing/2014/main" id="{5696A3F2-FF24-4179-89FD-A2F18164E8E1}"/>
                </a:ext>
              </a:extLst>
            </p:cNvPr>
            <p:cNvSpPr>
              <a:spLocks/>
            </p:cNvSpPr>
            <p:nvPr/>
          </p:nvSpPr>
          <p:spPr bwMode="gray">
            <a:xfrm>
              <a:off x="1706763" y="3893553"/>
              <a:ext cx="95649" cy="90945"/>
            </a:xfrm>
            <a:custGeom>
              <a:avLst/>
              <a:gdLst>
                <a:gd name="T0" fmla="*/ 2147483647 w 240"/>
                <a:gd name="T1" fmla="*/ 2147483647 h 228"/>
                <a:gd name="T2" fmla="*/ 2147483647 w 240"/>
                <a:gd name="T3" fmla="*/ 2147483647 h 228"/>
                <a:gd name="T4" fmla="*/ 2147483647 w 240"/>
                <a:gd name="T5" fmla="*/ 2147483647 h 228"/>
                <a:gd name="T6" fmla="*/ 2147483647 w 240"/>
                <a:gd name="T7" fmla="*/ 2147483647 h 228"/>
                <a:gd name="T8" fmla="*/ 2147483647 w 240"/>
                <a:gd name="T9" fmla="*/ 2147483647 h 228"/>
                <a:gd name="T10" fmla="*/ 2147483647 w 240"/>
                <a:gd name="T11" fmla="*/ 2147483647 h 228"/>
                <a:gd name="T12" fmla="*/ 2147483647 w 240"/>
                <a:gd name="T13" fmla="*/ 2147483647 h 228"/>
                <a:gd name="T14" fmla="*/ 2147483647 w 240"/>
                <a:gd name="T15" fmla="*/ 2147483647 h 228"/>
                <a:gd name="T16" fmla="*/ 2147483647 w 240"/>
                <a:gd name="T17" fmla="*/ 2147483647 h 228"/>
                <a:gd name="T18" fmla="*/ 2147483647 w 240"/>
                <a:gd name="T19" fmla="*/ 2147483647 h 228"/>
                <a:gd name="T20" fmla="*/ 2147483647 w 240"/>
                <a:gd name="T21" fmla="*/ 2147483647 h 228"/>
                <a:gd name="T22" fmla="*/ 2147483647 w 240"/>
                <a:gd name="T23" fmla="*/ 2147483647 h 228"/>
                <a:gd name="T24" fmla="*/ 2147483647 w 240"/>
                <a:gd name="T25" fmla="*/ 2147483647 h 228"/>
                <a:gd name="T26" fmla="*/ 2147483647 w 240"/>
                <a:gd name="T27" fmla="*/ 2147483647 h 228"/>
                <a:gd name="T28" fmla="*/ 2147483647 w 240"/>
                <a:gd name="T29" fmla="*/ 2147483647 h 228"/>
                <a:gd name="T30" fmla="*/ 2147483647 w 240"/>
                <a:gd name="T31" fmla="*/ 0 h 228"/>
                <a:gd name="T32" fmla="*/ 2147483647 w 240"/>
                <a:gd name="T33" fmla="*/ 2147483647 h 228"/>
                <a:gd name="T34" fmla="*/ 2147483647 w 240"/>
                <a:gd name="T35" fmla="*/ 2147483647 h 228"/>
                <a:gd name="T36" fmla="*/ 0 w 240"/>
                <a:gd name="T37" fmla="*/ 2147483647 h 228"/>
                <a:gd name="T38" fmla="*/ 2147483647 w 240"/>
                <a:gd name="T39" fmla="*/ 2147483647 h 228"/>
                <a:gd name="T40" fmla="*/ 2147483647 w 240"/>
                <a:gd name="T41" fmla="*/ 2147483647 h 228"/>
                <a:gd name="T42" fmla="*/ 2147483647 w 240"/>
                <a:gd name="T43" fmla="*/ 2147483647 h 228"/>
                <a:gd name="T44" fmla="*/ 2147483647 w 240"/>
                <a:gd name="T45" fmla="*/ 2147483647 h 228"/>
                <a:gd name="T46" fmla="*/ 2147483647 w 240"/>
                <a:gd name="T47" fmla="*/ 2147483647 h 228"/>
                <a:gd name="T48" fmla="*/ 2147483647 w 240"/>
                <a:gd name="T49" fmla="*/ 2147483647 h 228"/>
                <a:gd name="T50" fmla="*/ 2147483647 w 240"/>
                <a:gd name="T51" fmla="*/ 2147483647 h 228"/>
                <a:gd name="T52" fmla="*/ 2147483647 w 240"/>
                <a:gd name="T53" fmla="*/ 2147483647 h 228"/>
                <a:gd name="T54" fmla="*/ 2147483647 w 240"/>
                <a:gd name="T55" fmla="*/ 2147483647 h 228"/>
                <a:gd name="T56" fmla="*/ 2147483647 w 240"/>
                <a:gd name="T57" fmla="*/ 2147483647 h 228"/>
                <a:gd name="T58" fmla="*/ 2147483647 w 240"/>
                <a:gd name="T59" fmla="*/ 2147483647 h 228"/>
                <a:gd name="T60" fmla="*/ 2147483647 w 240"/>
                <a:gd name="T61" fmla="*/ 2147483647 h 228"/>
                <a:gd name="T62" fmla="*/ 2147483647 w 240"/>
                <a:gd name="T63" fmla="*/ 2147483647 h 228"/>
                <a:gd name="T64" fmla="*/ 2147483647 w 240"/>
                <a:gd name="T65" fmla="*/ 2147483647 h 228"/>
                <a:gd name="T66" fmla="*/ 2147483647 w 240"/>
                <a:gd name="T67" fmla="*/ 2147483647 h 2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0"/>
                <a:gd name="T103" fmla="*/ 0 h 228"/>
                <a:gd name="T104" fmla="*/ 240 w 240"/>
                <a:gd name="T105" fmla="*/ 228 h 2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0" h="228">
                  <a:moveTo>
                    <a:pt x="210" y="198"/>
                  </a:moveTo>
                  <a:lnTo>
                    <a:pt x="216" y="198"/>
                  </a:lnTo>
                  <a:lnTo>
                    <a:pt x="234" y="180"/>
                  </a:lnTo>
                  <a:lnTo>
                    <a:pt x="228" y="174"/>
                  </a:lnTo>
                  <a:lnTo>
                    <a:pt x="210" y="174"/>
                  </a:lnTo>
                  <a:lnTo>
                    <a:pt x="210" y="168"/>
                  </a:lnTo>
                  <a:lnTo>
                    <a:pt x="204" y="162"/>
                  </a:lnTo>
                  <a:lnTo>
                    <a:pt x="204" y="144"/>
                  </a:lnTo>
                  <a:lnTo>
                    <a:pt x="210" y="138"/>
                  </a:lnTo>
                  <a:lnTo>
                    <a:pt x="222" y="138"/>
                  </a:lnTo>
                  <a:lnTo>
                    <a:pt x="228" y="132"/>
                  </a:lnTo>
                  <a:lnTo>
                    <a:pt x="240" y="132"/>
                  </a:lnTo>
                  <a:lnTo>
                    <a:pt x="228" y="126"/>
                  </a:lnTo>
                  <a:lnTo>
                    <a:pt x="210" y="108"/>
                  </a:lnTo>
                  <a:lnTo>
                    <a:pt x="198" y="84"/>
                  </a:lnTo>
                  <a:lnTo>
                    <a:pt x="192" y="78"/>
                  </a:lnTo>
                  <a:lnTo>
                    <a:pt x="186" y="66"/>
                  </a:lnTo>
                  <a:lnTo>
                    <a:pt x="180" y="60"/>
                  </a:lnTo>
                  <a:lnTo>
                    <a:pt x="174" y="36"/>
                  </a:lnTo>
                  <a:lnTo>
                    <a:pt x="138" y="36"/>
                  </a:lnTo>
                  <a:lnTo>
                    <a:pt x="126" y="24"/>
                  </a:lnTo>
                  <a:lnTo>
                    <a:pt x="126" y="18"/>
                  </a:lnTo>
                  <a:lnTo>
                    <a:pt x="120" y="18"/>
                  </a:lnTo>
                  <a:lnTo>
                    <a:pt x="114" y="12"/>
                  </a:lnTo>
                  <a:lnTo>
                    <a:pt x="84" y="12"/>
                  </a:lnTo>
                  <a:lnTo>
                    <a:pt x="84" y="18"/>
                  </a:lnTo>
                  <a:lnTo>
                    <a:pt x="78" y="18"/>
                  </a:lnTo>
                  <a:lnTo>
                    <a:pt x="72" y="12"/>
                  </a:lnTo>
                  <a:lnTo>
                    <a:pt x="60" y="6"/>
                  </a:lnTo>
                  <a:lnTo>
                    <a:pt x="48" y="6"/>
                  </a:lnTo>
                  <a:lnTo>
                    <a:pt x="42" y="0"/>
                  </a:lnTo>
                  <a:lnTo>
                    <a:pt x="24" y="0"/>
                  </a:lnTo>
                  <a:lnTo>
                    <a:pt x="6" y="30"/>
                  </a:lnTo>
                  <a:lnTo>
                    <a:pt x="18" y="42"/>
                  </a:lnTo>
                  <a:lnTo>
                    <a:pt x="24" y="42"/>
                  </a:lnTo>
                  <a:lnTo>
                    <a:pt x="24" y="48"/>
                  </a:lnTo>
                  <a:lnTo>
                    <a:pt x="6" y="66"/>
                  </a:lnTo>
                  <a:lnTo>
                    <a:pt x="0" y="78"/>
                  </a:lnTo>
                  <a:lnTo>
                    <a:pt x="6" y="90"/>
                  </a:lnTo>
                  <a:lnTo>
                    <a:pt x="18" y="102"/>
                  </a:lnTo>
                  <a:lnTo>
                    <a:pt x="30" y="108"/>
                  </a:lnTo>
                  <a:lnTo>
                    <a:pt x="42" y="108"/>
                  </a:lnTo>
                  <a:lnTo>
                    <a:pt x="60" y="126"/>
                  </a:lnTo>
                  <a:lnTo>
                    <a:pt x="72" y="126"/>
                  </a:lnTo>
                  <a:lnTo>
                    <a:pt x="72" y="102"/>
                  </a:lnTo>
                  <a:lnTo>
                    <a:pt x="66" y="96"/>
                  </a:lnTo>
                  <a:lnTo>
                    <a:pt x="54" y="90"/>
                  </a:lnTo>
                  <a:lnTo>
                    <a:pt x="42" y="78"/>
                  </a:lnTo>
                  <a:lnTo>
                    <a:pt x="42" y="72"/>
                  </a:lnTo>
                  <a:lnTo>
                    <a:pt x="48" y="72"/>
                  </a:lnTo>
                  <a:lnTo>
                    <a:pt x="60" y="78"/>
                  </a:lnTo>
                  <a:lnTo>
                    <a:pt x="66" y="84"/>
                  </a:lnTo>
                  <a:lnTo>
                    <a:pt x="90" y="96"/>
                  </a:lnTo>
                  <a:lnTo>
                    <a:pt x="96" y="102"/>
                  </a:lnTo>
                  <a:lnTo>
                    <a:pt x="96" y="132"/>
                  </a:lnTo>
                  <a:lnTo>
                    <a:pt x="114" y="132"/>
                  </a:lnTo>
                  <a:lnTo>
                    <a:pt x="126" y="138"/>
                  </a:lnTo>
                  <a:lnTo>
                    <a:pt x="138" y="138"/>
                  </a:lnTo>
                  <a:lnTo>
                    <a:pt x="156" y="180"/>
                  </a:lnTo>
                  <a:lnTo>
                    <a:pt x="150" y="186"/>
                  </a:lnTo>
                  <a:lnTo>
                    <a:pt x="150" y="198"/>
                  </a:lnTo>
                  <a:lnTo>
                    <a:pt x="168" y="216"/>
                  </a:lnTo>
                  <a:lnTo>
                    <a:pt x="180" y="222"/>
                  </a:lnTo>
                  <a:lnTo>
                    <a:pt x="192" y="222"/>
                  </a:lnTo>
                  <a:lnTo>
                    <a:pt x="174" y="198"/>
                  </a:lnTo>
                  <a:lnTo>
                    <a:pt x="204" y="228"/>
                  </a:lnTo>
                  <a:lnTo>
                    <a:pt x="210" y="222"/>
                  </a:lnTo>
                  <a:lnTo>
                    <a:pt x="210" y="198"/>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77" name="China" descr="© INSCALE GmbH, 05.05.2010&#10;http://www.presentationload.com/">
              <a:extLst>
                <a:ext uri="{FF2B5EF4-FFF2-40B4-BE49-F238E27FC236}">
                  <a16:creationId xmlns:a16="http://schemas.microsoft.com/office/drawing/2014/main" id="{3898CEBB-A59D-4473-A492-2D4E34AD6085}"/>
                </a:ext>
              </a:extLst>
            </p:cNvPr>
            <p:cNvSpPr>
              <a:spLocks noEditPoints="1"/>
            </p:cNvSpPr>
            <p:nvPr/>
          </p:nvSpPr>
          <p:spPr bwMode="gray">
            <a:xfrm>
              <a:off x="6078411" y="2545052"/>
              <a:ext cx="1455125" cy="1122705"/>
            </a:xfrm>
            <a:custGeom>
              <a:avLst/>
              <a:gdLst>
                <a:gd name="T0" fmla="*/ 2147483647 w 3660"/>
                <a:gd name="T1" fmla="*/ 2147483647 h 2826"/>
                <a:gd name="T2" fmla="*/ 2147483647 w 3660"/>
                <a:gd name="T3" fmla="*/ 2147483647 h 2826"/>
                <a:gd name="T4" fmla="*/ 2147483647 w 3660"/>
                <a:gd name="T5" fmla="*/ 2147483647 h 2826"/>
                <a:gd name="T6" fmla="*/ 2147483647 w 3660"/>
                <a:gd name="T7" fmla="*/ 2147483647 h 2826"/>
                <a:gd name="T8" fmla="*/ 2147483647 w 3660"/>
                <a:gd name="T9" fmla="*/ 2147483647 h 2826"/>
                <a:gd name="T10" fmla="*/ 2147483647 w 3660"/>
                <a:gd name="T11" fmla="*/ 2147483647 h 2826"/>
                <a:gd name="T12" fmla="*/ 2147483647 w 3660"/>
                <a:gd name="T13" fmla="*/ 2147483647 h 2826"/>
                <a:gd name="T14" fmla="*/ 2147483647 w 3660"/>
                <a:gd name="T15" fmla="*/ 2147483647 h 2826"/>
                <a:gd name="T16" fmla="*/ 2147483647 w 3660"/>
                <a:gd name="T17" fmla="*/ 2147483647 h 2826"/>
                <a:gd name="T18" fmla="*/ 2147483647 w 3660"/>
                <a:gd name="T19" fmla="*/ 2147483647 h 2826"/>
                <a:gd name="T20" fmla="*/ 2147483647 w 3660"/>
                <a:gd name="T21" fmla="*/ 2147483647 h 2826"/>
                <a:gd name="T22" fmla="*/ 2147483647 w 3660"/>
                <a:gd name="T23" fmla="*/ 2147483647 h 2826"/>
                <a:gd name="T24" fmla="*/ 2147483647 w 3660"/>
                <a:gd name="T25" fmla="*/ 2147483647 h 2826"/>
                <a:gd name="T26" fmla="*/ 2147483647 w 3660"/>
                <a:gd name="T27" fmla="*/ 2147483647 h 2826"/>
                <a:gd name="T28" fmla="*/ 2147483647 w 3660"/>
                <a:gd name="T29" fmla="*/ 2147483647 h 2826"/>
                <a:gd name="T30" fmla="*/ 2147483647 w 3660"/>
                <a:gd name="T31" fmla="*/ 2147483647 h 2826"/>
                <a:gd name="T32" fmla="*/ 2147483647 w 3660"/>
                <a:gd name="T33" fmla="*/ 2147483647 h 2826"/>
                <a:gd name="T34" fmla="*/ 2147483647 w 3660"/>
                <a:gd name="T35" fmla="*/ 2147483647 h 2826"/>
                <a:gd name="T36" fmla="*/ 2147483647 w 3660"/>
                <a:gd name="T37" fmla="*/ 2147483647 h 2826"/>
                <a:gd name="T38" fmla="*/ 2147483647 w 3660"/>
                <a:gd name="T39" fmla="*/ 2147483647 h 2826"/>
                <a:gd name="T40" fmla="*/ 2147483647 w 3660"/>
                <a:gd name="T41" fmla="*/ 2147483647 h 2826"/>
                <a:gd name="T42" fmla="*/ 2147483647 w 3660"/>
                <a:gd name="T43" fmla="*/ 2147483647 h 2826"/>
                <a:gd name="T44" fmla="*/ 2147483647 w 3660"/>
                <a:gd name="T45" fmla="*/ 2147483647 h 2826"/>
                <a:gd name="T46" fmla="*/ 0 w 3660"/>
                <a:gd name="T47" fmla="*/ 2147483647 h 2826"/>
                <a:gd name="T48" fmla="*/ 2147483647 w 3660"/>
                <a:gd name="T49" fmla="*/ 2147483647 h 2826"/>
                <a:gd name="T50" fmla="*/ 2147483647 w 3660"/>
                <a:gd name="T51" fmla="*/ 2147483647 h 2826"/>
                <a:gd name="T52" fmla="*/ 2147483647 w 3660"/>
                <a:gd name="T53" fmla="*/ 2147483647 h 2826"/>
                <a:gd name="T54" fmla="*/ 2147483647 w 3660"/>
                <a:gd name="T55" fmla="*/ 2147483647 h 2826"/>
                <a:gd name="T56" fmla="*/ 2147483647 w 3660"/>
                <a:gd name="T57" fmla="*/ 2147483647 h 2826"/>
                <a:gd name="T58" fmla="*/ 2147483647 w 3660"/>
                <a:gd name="T59" fmla="*/ 2147483647 h 2826"/>
                <a:gd name="T60" fmla="*/ 2147483647 w 3660"/>
                <a:gd name="T61" fmla="*/ 2147483647 h 2826"/>
                <a:gd name="T62" fmla="*/ 2147483647 w 3660"/>
                <a:gd name="T63" fmla="*/ 2147483647 h 2826"/>
                <a:gd name="T64" fmla="*/ 2147483647 w 3660"/>
                <a:gd name="T65" fmla="*/ 2147483647 h 2826"/>
                <a:gd name="T66" fmla="*/ 2147483647 w 3660"/>
                <a:gd name="T67" fmla="*/ 2147483647 h 2826"/>
                <a:gd name="T68" fmla="*/ 2147483647 w 3660"/>
                <a:gd name="T69" fmla="*/ 2147483647 h 2826"/>
                <a:gd name="T70" fmla="*/ 2147483647 w 3660"/>
                <a:gd name="T71" fmla="*/ 2147483647 h 2826"/>
                <a:gd name="T72" fmla="*/ 2147483647 w 3660"/>
                <a:gd name="T73" fmla="*/ 2147483647 h 2826"/>
                <a:gd name="T74" fmla="*/ 2147483647 w 3660"/>
                <a:gd name="T75" fmla="*/ 2147483647 h 2826"/>
                <a:gd name="T76" fmla="*/ 2147483647 w 3660"/>
                <a:gd name="T77" fmla="*/ 2147483647 h 2826"/>
                <a:gd name="T78" fmla="*/ 2147483647 w 3660"/>
                <a:gd name="T79" fmla="*/ 2147483647 h 2826"/>
                <a:gd name="T80" fmla="*/ 2147483647 w 3660"/>
                <a:gd name="T81" fmla="*/ 2147483647 h 2826"/>
                <a:gd name="T82" fmla="*/ 2147483647 w 3660"/>
                <a:gd name="T83" fmla="*/ 2147483647 h 2826"/>
                <a:gd name="T84" fmla="*/ 2147483647 w 3660"/>
                <a:gd name="T85" fmla="*/ 2147483647 h 2826"/>
                <a:gd name="T86" fmla="*/ 2147483647 w 3660"/>
                <a:gd name="T87" fmla="*/ 2147483647 h 2826"/>
                <a:gd name="T88" fmla="*/ 2147483647 w 3660"/>
                <a:gd name="T89" fmla="*/ 2147483647 h 2826"/>
                <a:gd name="T90" fmla="*/ 2147483647 w 3660"/>
                <a:gd name="T91" fmla="*/ 2147483647 h 2826"/>
                <a:gd name="T92" fmla="*/ 2147483647 w 3660"/>
                <a:gd name="T93" fmla="*/ 2147483647 h 2826"/>
                <a:gd name="T94" fmla="*/ 2147483647 w 3660"/>
                <a:gd name="T95" fmla="*/ 2147483647 h 2826"/>
                <a:gd name="T96" fmla="*/ 2147483647 w 3660"/>
                <a:gd name="T97" fmla="*/ 2147483647 h 2826"/>
                <a:gd name="T98" fmla="*/ 2147483647 w 3660"/>
                <a:gd name="T99" fmla="*/ 2147483647 h 2826"/>
                <a:gd name="T100" fmla="*/ 2147483647 w 3660"/>
                <a:gd name="T101" fmla="*/ 2147483647 h 2826"/>
                <a:gd name="T102" fmla="*/ 2147483647 w 3660"/>
                <a:gd name="T103" fmla="*/ 2147483647 h 2826"/>
                <a:gd name="T104" fmla="*/ 2147483647 w 3660"/>
                <a:gd name="T105" fmla="*/ 2147483647 h 2826"/>
                <a:gd name="T106" fmla="*/ 2147483647 w 3660"/>
                <a:gd name="T107" fmla="*/ 2147483647 h 2826"/>
                <a:gd name="T108" fmla="*/ 2147483647 w 3660"/>
                <a:gd name="T109" fmla="*/ 2147483647 h 2826"/>
                <a:gd name="T110" fmla="*/ 2147483647 w 3660"/>
                <a:gd name="T111" fmla="*/ 2147483647 h 2826"/>
                <a:gd name="T112" fmla="*/ 2147483647 w 3660"/>
                <a:gd name="T113" fmla="*/ 2147483647 h 2826"/>
                <a:gd name="T114" fmla="*/ 2147483647 w 3660"/>
                <a:gd name="T115" fmla="*/ 2147483647 h 2826"/>
                <a:gd name="T116" fmla="*/ 2147483647 w 3660"/>
                <a:gd name="T117" fmla="*/ 2147483647 h 2826"/>
                <a:gd name="T118" fmla="*/ 2147483647 w 3660"/>
                <a:gd name="T119" fmla="*/ 2147483647 h 2826"/>
                <a:gd name="T120" fmla="*/ 2147483647 w 3660"/>
                <a:gd name="T121" fmla="*/ 2147483647 h 2826"/>
                <a:gd name="T122" fmla="*/ 2147483647 w 3660"/>
                <a:gd name="T123" fmla="*/ 2147483647 h 28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60"/>
                <a:gd name="T187" fmla="*/ 0 h 2826"/>
                <a:gd name="T188" fmla="*/ 3660 w 3660"/>
                <a:gd name="T189" fmla="*/ 2826 h 28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60" h="2826">
                  <a:moveTo>
                    <a:pt x="2862" y="2688"/>
                  </a:moveTo>
                  <a:lnTo>
                    <a:pt x="2850" y="2682"/>
                  </a:lnTo>
                  <a:lnTo>
                    <a:pt x="2772" y="2682"/>
                  </a:lnTo>
                  <a:lnTo>
                    <a:pt x="2766" y="2700"/>
                  </a:lnTo>
                  <a:lnTo>
                    <a:pt x="2748" y="2694"/>
                  </a:lnTo>
                  <a:lnTo>
                    <a:pt x="2736" y="2718"/>
                  </a:lnTo>
                  <a:lnTo>
                    <a:pt x="2730" y="2724"/>
                  </a:lnTo>
                  <a:lnTo>
                    <a:pt x="2712" y="2760"/>
                  </a:lnTo>
                  <a:lnTo>
                    <a:pt x="2718" y="2772"/>
                  </a:lnTo>
                  <a:lnTo>
                    <a:pt x="2724" y="2790"/>
                  </a:lnTo>
                  <a:lnTo>
                    <a:pt x="2754" y="2820"/>
                  </a:lnTo>
                  <a:lnTo>
                    <a:pt x="2766" y="2826"/>
                  </a:lnTo>
                  <a:lnTo>
                    <a:pt x="2772" y="2826"/>
                  </a:lnTo>
                  <a:lnTo>
                    <a:pt x="2802" y="2820"/>
                  </a:lnTo>
                  <a:lnTo>
                    <a:pt x="2820" y="2820"/>
                  </a:lnTo>
                  <a:lnTo>
                    <a:pt x="2844" y="2808"/>
                  </a:lnTo>
                  <a:lnTo>
                    <a:pt x="2850" y="2802"/>
                  </a:lnTo>
                  <a:lnTo>
                    <a:pt x="2850" y="2754"/>
                  </a:lnTo>
                  <a:lnTo>
                    <a:pt x="2856" y="2742"/>
                  </a:lnTo>
                  <a:lnTo>
                    <a:pt x="2862" y="2736"/>
                  </a:lnTo>
                  <a:lnTo>
                    <a:pt x="2868" y="2724"/>
                  </a:lnTo>
                  <a:lnTo>
                    <a:pt x="2868" y="2700"/>
                  </a:lnTo>
                  <a:lnTo>
                    <a:pt x="2862" y="2688"/>
                  </a:lnTo>
                  <a:close/>
                  <a:moveTo>
                    <a:pt x="3660" y="624"/>
                  </a:moveTo>
                  <a:lnTo>
                    <a:pt x="3654" y="600"/>
                  </a:lnTo>
                  <a:lnTo>
                    <a:pt x="3660" y="570"/>
                  </a:lnTo>
                  <a:lnTo>
                    <a:pt x="3642" y="564"/>
                  </a:lnTo>
                  <a:lnTo>
                    <a:pt x="3642" y="540"/>
                  </a:lnTo>
                  <a:lnTo>
                    <a:pt x="3630" y="528"/>
                  </a:lnTo>
                  <a:lnTo>
                    <a:pt x="3630" y="510"/>
                  </a:lnTo>
                  <a:lnTo>
                    <a:pt x="3618" y="492"/>
                  </a:lnTo>
                  <a:lnTo>
                    <a:pt x="3636" y="486"/>
                  </a:lnTo>
                  <a:lnTo>
                    <a:pt x="3636" y="456"/>
                  </a:lnTo>
                  <a:lnTo>
                    <a:pt x="3612" y="444"/>
                  </a:lnTo>
                  <a:lnTo>
                    <a:pt x="3612" y="426"/>
                  </a:lnTo>
                  <a:lnTo>
                    <a:pt x="3606" y="414"/>
                  </a:lnTo>
                  <a:lnTo>
                    <a:pt x="3594" y="408"/>
                  </a:lnTo>
                  <a:lnTo>
                    <a:pt x="3552" y="408"/>
                  </a:lnTo>
                  <a:lnTo>
                    <a:pt x="3546" y="432"/>
                  </a:lnTo>
                  <a:lnTo>
                    <a:pt x="3516" y="432"/>
                  </a:lnTo>
                  <a:lnTo>
                    <a:pt x="3504" y="438"/>
                  </a:lnTo>
                  <a:lnTo>
                    <a:pt x="3498" y="438"/>
                  </a:lnTo>
                  <a:lnTo>
                    <a:pt x="3492" y="444"/>
                  </a:lnTo>
                  <a:lnTo>
                    <a:pt x="3492" y="462"/>
                  </a:lnTo>
                  <a:lnTo>
                    <a:pt x="3462" y="456"/>
                  </a:lnTo>
                  <a:lnTo>
                    <a:pt x="3462" y="468"/>
                  </a:lnTo>
                  <a:lnTo>
                    <a:pt x="3444" y="468"/>
                  </a:lnTo>
                  <a:lnTo>
                    <a:pt x="3432" y="456"/>
                  </a:lnTo>
                  <a:lnTo>
                    <a:pt x="3408" y="462"/>
                  </a:lnTo>
                  <a:lnTo>
                    <a:pt x="3366" y="432"/>
                  </a:lnTo>
                  <a:lnTo>
                    <a:pt x="3366" y="420"/>
                  </a:lnTo>
                  <a:lnTo>
                    <a:pt x="3360" y="408"/>
                  </a:lnTo>
                  <a:lnTo>
                    <a:pt x="3360" y="402"/>
                  </a:lnTo>
                  <a:lnTo>
                    <a:pt x="3354" y="396"/>
                  </a:lnTo>
                  <a:lnTo>
                    <a:pt x="3336" y="396"/>
                  </a:lnTo>
                  <a:lnTo>
                    <a:pt x="3318" y="366"/>
                  </a:lnTo>
                  <a:lnTo>
                    <a:pt x="3276" y="366"/>
                  </a:lnTo>
                  <a:lnTo>
                    <a:pt x="3258" y="348"/>
                  </a:lnTo>
                  <a:lnTo>
                    <a:pt x="3246" y="342"/>
                  </a:lnTo>
                  <a:lnTo>
                    <a:pt x="3228" y="324"/>
                  </a:lnTo>
                  <a:lnTo>
                    <a:pt x="3216" y="324"/>
                  </a:lnTo>
                  <a:lnTo>
                    <a:pt x="3204" y="336"/>
                  </a:lnTo>
                  <a:lnTo>
                    <a:pt x="3192" y="330"/>
                  </a:lnTo>
                  <a:lnTo>
                    <a:pt x="3186" y="324"/>
                  </a:lnTo>
                  <a:lnTo>
                    <a:pt x="3174" y="318"/>
                  </a:lnTo>
                  <a:lnTo>
                    <a:pt x="3126" y="318"/>
                  </a:lnTo>
                  <a:lnTo>
                    <a:pt x="3114" y="312"/>
                  </a:lnTo>
                  <a:lnTo>
                    <a:pt x="3108" y="306"/>
                  </a:lnTo>
                  <a:lnTo>
                    <a:pt x="3084" y="294"/>
                  </a:lnTo>
                  <a:lnTo>
                    <a:pt x="3078" y="288"/>
                  </a:lnTo>
                  <a:lnTo>
                    <a:pt x="3072" y="288"/>
                  </a:lnTo>
                  <a:lnTo>
                    <a:pt x="3066" y="264"/>
                  </a:lnTo>
                  <a:lnTo>
                    <a:pt x="3054" y="264"/>
                  </a:lnTo>
                  <a:lnTo>
                    <a:pt x="3048" y="252"/>
                  </a:lnTo>
                  <a:lnTo>
                    <a:pt x="3030" y="234"/>
                  </a:lnTo>
                  <a:lnTo>
                    <a:pt x="3024" y="222"/>
                  </a:lnTo>
                  <a:lnTo>
                    <a:pt x="2976" y="198"/>
                  </a:lnTo>
                  <a:lnTo>
                    <a:pt x="2964" y="198"/>
                  </a:lnTo>
                  <a:lnTo>
                    <a:pt x="2952" y="168"/>
                  </a:lnTo>
                  <a:lnTo>
                    <a:pt x="2904" y="144"/>
                  </a:lnTo>
                  <a:lnTo>
                    <a:pt x="2898" y="114"/>
                  </a:lnTo>
                  <a:lnTo>
                    <a:pt x="2892" y="114"/>
                  </a:lnTo>
                  <a:lnTo>
                    <a:pt x="2886" y="108"/>
                  </a:lnTo>
                  <a:lnTo>
                    <a:pt x="2874" y="108"/>
                  </a:lnTo>
                  <a:lnTo>
                    <a:pt x="2862" y="96"/>
                  </a:lnTo>
                  <a:lnTo>
                    <a:pt x="2850" y="90"/>
                  </a:lnTo>
                  <a:lnTo>
                    <a:pt x="2838" y="78"/>
                  </a:lnTo>
                  <a:lnTo>
                    <a:pt x="2832" y="78"/>
                  </a:lnTo>
                  <a:lnTo>
                    <a:pt x="2832" y="66"/>
                  </a:lnTo>
                  <a:lnTo>
                    <a:pt x="2820" y="60"/>
                  </a:lnTo>
                  <a:lnTo>
                    <a:pt x="2814" y="54"/>
                  </a:lnTo>
                  <a:lnTo>
                    <a:pt x="2802" y="48"/>
                  </a:lnTo>
                  <a:lnTo>
                    <a:pt x="2796" y="42"/>
                  </a:lnTo>
                  <a:lnTo>
                    <a:pt x="2724" y="42"/>
                  </a:lnTo>
                  <a:lnTo>
                    <a:pt x="2688" y="18"/>
                  </a:lnTo>
                  <a:lnTo>
                    <a:pt x="2652" y="0"/>
                  </a:lnTo>
                  <a:lnTo>
                    <a:pt x="2598" y="12"/>
                  </a:lnTo>
                  <a:lnTo>
                    <a:pt x="2556" y="6"/>
                  </a:lnTo>
                  <a:lnTo>
                    <a:pt x="2550" y="18"/>
                  </a:lnTo>
                  <a:lnTo>
                    <a:pt x="2514" y="24"/>
                  </a:lnTo>
                  <a:lnTo>
                    <a:pt x="2472" y="66"/>
                  </a:lnTo>
                  <a:lnTo>
                    <a:pt x="2466" y="66"/>
                  </a:lnTo>
                  <a:lnTo>
                    <a:pt x="2466" y="78"/>
                  </a:lnTo>
                  <a:lnTo>
                    <a:pt x="2472" y="78"/>
                  </a:lnTo>
                  <a:lnTo>
                    <a:pt x="2490" y="84"/>
                  </a:lnTo>
                  <a:lnTo>
                    <a:pt x="2502" y="84"/>
                  </a:lnTo>
                  <a:lnTo>
                    <a:pt x="2508" y="90"/>
                  </a:lnTo>
                  <a:lnTo>
                    <a:pt x="2520" y="90"/>
                  </a:lnTo>
                  <a:lnTo>
                    <a:pt x="2532" y="102"/>
                  </a:lnTo>
                  <a:lnTo>
                    <a:pt x="2544" y="108"/>
                  </a:lnTo>
                  <a:lnTo>
                    <a:pt x="2550" y="114"/>
                  </a:lnTo>
                  <a:lnTo>
                    <a:pt x="2550" y="126"/>
                  </a:lnTo>
                  <a:lnTo>
                    <a:pt x="2532" y="144"/>
                  </a:lnTo>
                  <a:lnTo>
                    <a:pt x="2532" y="216"/>
                  </a:lnTo>
                  <a:lnTo>
                    <a:pt x="2538" y="258"/>
                  </a:lnTo>
                  <a:lnTo>
                    <a:pt x="2544" y="264"/>
                  </a:lnTo>
                  <a:lnTo>
                    <a:pt x="2556" y="264"/>
                  </a:lnTo>
                  <a:lnTo>
                    <a:pt x="2556" y="276"/>
                  </a:lnTo>
                  <a:lnTo>
                    <a:pt x="2550" y="282"/>
                  </a:lnTo>
                  <a:lnTo>
                    <a:pt x="2538" y="288"/>
                  </a:lnTo>
                  <a:lnTo>
                    <a:pt x="2514" y="288"/>
                  </a:lnTo>
                  <a:lnTo>
                    <a:pt x="2514" y="300"/>
                  </a:lnTo>
                  <a:lnTo>
                    <a:pt x="2496" y="318"/>
                  </a:lnTo>
                  <a:lnTo>
                    <a:pt x="2484" y="318"/>
                  </a:lnTo>
                  <a:lnTo>
                    <a:pt x="2478" y="312"/>
                  </a:lnTo>
                  <a:lnTo>
                    <a:pt x="2442" y="312"/>
                  </a:lnTo>
                  <a:lnTo>
                    <a:pt x="2406" y="288"/>
                  </a:lnTo>
                  <a:lnTo>
                    <a:pt x="2406" y="372"/>
                  </a:lnTo>
                  <a:lnTo>
                    <a:pt x="2412" y="384"/>
                  </a:lnTo>
                  <a:lnTo>
                    <a:pt x="2418" y="408"/>
                  </a:lnTo>
                  <a:lnTo>
                    <a:pt x="2424" y="420"/>
                  </a:lnTo>
                  <a:lnTo>
                    <a:pt x="2418" y="420"/>
                  </a:lnTo>
                  <a:lnTo>
                    <a:pt x="2418" y="438"/>
                  </a:lnTo>
                  <a:lnTo>
                    <a:pt x="2424" y="450"/>
                  </a:lnTo>
                  <a:lnTo>
                    <a:pt x="2436" y="456"/>
                  </a:lnTo>
                  <a:lnTo>
                    <a:pt x="2442" y="462"/>
                  </a:lnTo>
                  <a:lnTo>
                    <a:pt x="2460" y="462"/>
                  </a:lnTo>
                  <a:lnTo>
                    <a:pt x="2460" y="456"/>
                  </a:lnTo>
                  <a:lnTo>
                    <a:pt x="2454" y="456"/>
                  </a:lnTo>
                  <a:lnTo>
                    <a:pt x="2460" y="450"/>
                  </a:lnTo>
                  <a:lnTo>
                    <a:pt x="2514" y="450"/>
                  </a:lnTo>
                  <a:lnTo>
                    <a:pt x="2526" y="462"/>
                  </a:lnTo>
                  <a:lnTo>
                    <a:pt x="2538" y="468"/>
                  </a:lnTo>
                  <a:lnTo>
                    <a:pt x="2544" y="468"/>
                  </a:lnTo>
                  <a:lnTo>
                    <a:pt x="2550" y="462"/>
                  </a:lnTo>
                  <a:lnTo>
                    <a:pt x="2550" y="438"/>
                  </a:lnTo>
                  <a:lnTo>
                    <a:pt x="2616" y="438"/>
                  </a:lnTo>
                  <a:lnTo>
                    <a:pt x="2616" y="450"/>
                  </a:lnTo>
                  <a:lnTo>
                    <a:pt x="2622" y="456"/>
                  </a:lnTo>
                  <a:lnTo>
                    <a:pt x="2634" y="462"/>
                  </a:lnTo>
                  <a:lnTo>
                    <a:pt x="2652" y="462"/>
                  </a:lnTo>
                  <a:lnTo>
                    <a:pt x="2658" y="468"/>
                  </a:lnTo>
                  <a:lnTo>
                    <a:pt x="2670" y="474"/>
                  </a:lnTo>
                  <a:lnTo>
                    <a:pt x="2682" y="486"/>
                  </a:lnTo>
                  <a:lnTo>
                    <a:pt x="2706" y="498"/>
                  </a:lnTo>
                  <a:lnTo>
                    <a:pt x="2718" y="498"/>
                  </a:lnTo>
                  <a:lnTo>
                    <a:pt x="2724" y="510"/>
                  </a:lnTo>
                  <a:lnTo>
                    <a:pt x="2748" y="534"/>
                  </a:lnTo>
                  <a:lnTo>
                    <a:pt x="2748" y="540"/>
                  </a:lnTo>
                  <a:lnTo>
                    <a:pt x="2742" y="546"/>
                  </a:lnTo>
                  <a:lnTo>
                    <a:pt x="2706" y="546"/>
                  </a:lnTo>
                  <a:lnTo>
                    <a:pt x="2700" y="540"/>
                  </a:lnTo>
                  <a:lnTo>
                    <a:pt x="2688" y="534"/>
                  </a:lnTo>
                  <a:lnTo>
                    <a:pt x="2658" y="534"/>
                  </a:lnTo>
                  <a:lnTo>
                    <a:pt x="2652" y="540"/>
                  </a:lnTo>
                  <a:lnTo>
                    <a:pt x="2646" y="540"/>
                  </a:lnTo>
                  <a:lnTo>
                    <a:pt x="2628" y="558"/>
                  </a:lnTo>
                  <a:lnTo>
                    <a:pt x="2598" y="552"/>
                  </a:lnTo>
                  <a:lnTo>
                    <a:pt x="2598" y="570"/>
                  </a:lnTo>
                  <a:lnTo>
                    <a:pt x="2586" y="570"/>
                  </a:lnTo>
                  <a:lnTo>
                    <a:pt x="2550" y="588"/>
                  </a:lnTo>
                  <a:lnTo>
                    <a:pt x="2544" y="594"/>
                  </a:lnTo>
                  <a:lnTo>
                    <a:pt x="2550" y="606"/>
                  </a:lnTo>
                  <a:lnTo>
                    <a:pt x="2562" y="618"/>
                  </a:lnTo>
                  <a:lnTo>
                    <a:pt x="2538" y="642"/>
                  </a:lnTo>
                  <a:lnTo>
                    <a:pt x="2466" y="642"/>
                  </a:lnTo>
                  <a:lnTo>
                    <a:pt x="2466" y="666"/>
                  </a:lnTo>
                  <a:lnTo>
                    <a:pt x="2460" y="672"/>
                  </a:lnTo>
                  <a:lnTo>
                    <a:pt x="2454" y="684"/>
                  </a:lnTo>
                  <a:lnTo>
                    <a:pt x="2442" y="690"/>
                  </a:lnTo>
                  <a:lnTo>
                    <a:pt x="2424" y="690"/>
                  </a:lnTo>
                  <a:lnTo>
                    <a:pt x="2412" y="696"/>
                  </a:lnTo>
                  <a:lnTo>
                    <a:pt x="2388" y="696"/>
                  </a:lnTo>
                  <a:lnTo>
                    <a:pt x="2376" y="690"/>
                  </a:lnTo>
                  <a:lnTo>
                    <a:pt x="2370" y="684"/>
                  </a:lnTo>
                  <a:lnTo>
                    <a:pt x="2358" y="678"/>
                  </a:lnTo>
                  <a:lnTo>
                    <a:pt x="2352" y="672"/>
                  </a:lnTo>
                  <a:lnTo>
                    <a:pt x="2346" y="672"/>
                  </a:lnTo>
                  <a:lnTo>
                    <a:pt x="2340" y="666"/>
                  </a:lnTo>
                  <a:lnTo>
                    <a:pt x="2316" y="666"/>
                  </a:lnTo>
                  <a:lnTo>
                    <a:pt x="2304" y="672"/>
                  </a:lnTo>
                  <a:lnTo>
                    <a:pt x="2304" y="684"/>
                  </a:lnTo>
                  <a:lnTo>
                    <a:pt x="2298" y="696"/>
                  </a:lnTo>
                  <a:lnTo>
                    <a:pt x="2298" y="708"/>
                  </a:lnTo>
                  <a:lnTo>
                    <a:pt x="2304" y="720"/>
                  </a:lnTo>
                  <a:lnTo>
                    <a:pt x="2322" y="738"/>
                  </a:lnTo>
                  <a:lnTo>
                    <a:pt x="2334" y="744"/>
                  </a:lnTo>
                  <a:lnTo>
                    <a:pt x="2352" y="762"/>
                  </a:lnTo>
                  <a:lnTo>
                    <a:pt x="2364" y="768"/>
                  </a:lnTo>
                  <a:lnTo>
                    <a:pt x="2364" y="774"/>
                  </a:lnTo>
                  <a:lnTo>
                    <a:pt x="2358" y="780"/>
                  </a:lnTo>
                  <a:lnTo>
                    <a:pt x="2352" y="792"/>
                  </a:lnTo>
                  <a:lnTo>
                    <a:pt x="2340" y="804"/>
                  </a:lnTo>
                  <a:lnTo>
                    <a:pt x="2316" y="804"/>
                  </a:lnTo>
                  <a:lnTo>
                    <a:pt x="2316" y="810"/>
                  </a:lnTo>
                  <a:lnTo>
                    <a:pt x="2310" y="822"/>
                  </a:lnTo>
                  <a:lnTo>
                    <a:pt x="2310" y="828"/>
                  </a:lnTo>
                  <a:lnTo>
                    <a:pt x="2298" y="852"/>
                  </a:lnTo>
                  <a:lnTo>
                    <a:pt x="2286" y="858"/>
                  </a:lnTo>
                  <a:lnTo>
                    <a:pt x="2262" y="858"/>
                  </a:lnTo>
                  <a:lnTo>
                    <a:pt x="2244" y="882"/>
                  </a:lnTo>
                  <a:lnTo>
                    <a:pt x="2088" y="882"/>
                  </a:lnTo>
                  <a:lnTo>
                    <a:pt x="2070" y="894"/>
                  </a:lnTo>
                  <a:lnTo>
                    <a:pt x="2010" y="930"/>
                  </a:lnTo>
                  <a:lnTo>
                    <a:pt x="1992" y="942"/>
                  </a:lnTo>
                  <a:lnTo>
                    <a:pt x="1986" y="948"/>
                  </a:lnTo>
                  <a:lnTo>
                    <a:pt x="1968" y="948"/>
                  </a:lnTo>
                  <a:lnTo>
                    <a:pt x="1962" y="942"/>
                  </a:lnTo>
                  <a:lnTo>
                    <a:pt x="1956" y="942"/>
                  </a:lnTo>
                  <a:lnTo>
                    <a:pt x="1950" y="930"/>
                  </a:lnTo>
                  <a:lnTo>
                    <a:pt x="1950" y="924"/>
                  </a:lnTo>
                  <a:lnTo>
                    <a:pt x="1938" y="924"/>
                  </a:lnTo>
                  <a:lnTo>
                    <a:pt x="1926" y="930"/>
                  </a:lnTo>
                  <a:lnTo>
                    <a:pt x="1914" y="930"/>
                  </a:lnTo>
                  <a:lnTo>
                    <a:pt x="1908" y="936"/>
                  </a:lnTo>
                  <a:lnTo>
                    <a:pt x="1896" y="936"/>
                  </a:lnTo>
                  <a:lnTo>
                    <a:pt x="1890" y="930"/>
                  </a:lnTo>
                  <a:lnTo>
                    <a:pt x="1866" y="918"/>
                  </a:lnTo>
                  <a:lnTo>
                    <a:pt x="1848" y="912"/>
                  </a:lnTo>
                  <a:lnTo>
                    <a:pt x="1800" y="912"/>
                  </a:lnTo>
                  <a:lnTo>
                    <a:pt x="1776" y="906"/>
                  </a:lnTo>
                  <a:lnTo>
                    <a:pt x="1764" y="900"/>
                  </a:lnTo>
                  <a:lnTo>
                    <a:pt x="1758" y="888"/>
                  </a:lnTo>
                  <a:lnTo>
                    <a:pt x="1740" y="870"/>
                  </a:lnTo>
                  <a:lnTo>
                    <a:pt x="1728" y="870"/>
                  </a:lnTo>
                  <a:lnTo>
                    <a:pt x="1710" y="864"/>
                  </a:lnTo>
                  <a:lnTo>
                    <a:pt x="1656" y="864"/>
                  </a:lnTo>
                  <a:lnTo>
                    <a:pt x="1650" y="858"/>
                  </a:lnTo>
                  <a:lnTo>
                    <a:pt x="1644" y="858"/>
                  </a:lnTo>
                  <a:lnTo>
                    <a:pt x="1632" y="852"/>
                  </a:lnTo>
                  <a:lnTo>
                    <a:pt x="1620" y="852"/>
                  </a:lnTo>
                  <a:lnTo>
                    <a:pt x="1614" y="858"/>
                  </a:lnTo>
                  <a:lnTo>
                    <a:pt x="1602" y="864"/>
                  </a:lnTo>
                  <a:lnTo>
                    <a:pt x="1596" y="870"/>
                  </a:lnTo>
                  <a:lnTo>
                    <a:pt x="1560" y="864"/>
                  </a:lnTo>
                  <a:lnTo>
                    <a:pt x="1512" y="864"/>
                  </a:lnTo>
                  <a:lnTo>
                    <a:pt x="1458" y="858"/>
                  </a:lnTo>
                  <a:lnTo>
                    <a:pt x="1398" y="864"/>
                  </a:lnTo>
                  <a:lnTo>
                    <a:pt x="1386" y="858"/>
                  </a:lnTo>
                  <a:lnTo>
                    <a:pt x="1380" y="846"/>
                  </a:lnTo>
                  <a:lnTo>
                    <a:pt x="1368" y="840"/>
                  </a:lnTo>
                  <a:lnTo>
                    <a:pt x="1338" y="810"/>
                  </a:lnTo>
                  <a:lnTo>
                    <a:pt x="1332" y="798"/>
                  </a:lnTo>
                  <a:lnTo>
                    <a:pt x="1290" y="756"/>
                  </a:lnTo>
                  <a:lnTo>
                    <a:pt x="1278" y="732"/>
                  </a:lnTo>
                  <a:lnTo>
                    <a:pt x="1242" y="732"/>
                  </a:lnTo>
                  <a:lnTo>
                    <a:pt x="1236" y="726"/>
                  </a:lnTo>
                  <a:lnTo>
                    <a:pt x="1224" y="726"/>
                  </a:lnTo>
                  <a:lnTo>
                    <a:pt x="1200" y="714"/>
                  </a:lnTo>
                  <a:lnTo>
                    <a:pt x="1194" y="714"/>
                  </a:lnTo>
                  <a:lnTo>
                    <a:pt x="1188" y="708"/>
                  </a:lnTo>
                  <a:lnTo>
                    <a:pt x="1182" y="708"/>
                  </a:lnTo>
                  <a:lnTo>
                    <a:pt x="1176" y="696"/>
                  </a:lnTo>
                  <a:lnTo>
                    <a:pt x="1164" y="690"/>
                  </a:lnTo>
                  <a:lnTo>
                    <a:pt x="1158" y="690"/>
                  </a:lnTo>
                  <a:lnTo>
                    <a:pt x="1146" y="684"/>
                  </a:lnTo>
                  <a:lnTo>
                    <a:pt x="1140" y="684"/>
                  </a:lnTo>
                  <a:lnTo>
                    <a:pt x="1134" y="678"/>
                  </a:lnTo>
                  <a:lnTo>
                    <a:pt x="1038" y="678"/>
                  </a:lnTo>
                  <a:lnTo>
                    <a:pt x="1014" y="672"/>
                  </a:lnTo>
                  <a:lnTo>
                    <a:pt x="996" y="666"/>
                  </a:lnTo>
                  <a:lnTo>
                    <a:pt x="990" y="666"/>
                  </a:lnTo>
                  <a:lnTo>
                    <a:pt x="978" y="660"/>
                  </a:lnTo>
                  <a:lnTo>
                    <a:pt x="966" y="660"/>
                  </a:lnTo>
                  <a:lnTo>
                    <a:pt x="954" y="654"/>
                  </a:lnTo>
                  <a:lnTo>
                    <a:pt x="948" y="648"/>
                  </a:lnTo>
                  <a:lnTo>
                    <a:pt x="942" y="636"/>
                  </a:lnTo>
                  <a:lnTo>
                    <a:pt x="936" y="618"/>
                  </a:lnTo>
                  <a:lnTo>
                    <a:pt x="936" y="606"/>
                  </a:lnTo>
                  <a:lnTo>
                    <a:pt x="948" y="594"/>
                  </a:lnTo>
                  <a:lnTo>
                    <a:pt x="948" y="588"/>
                  </a:lnTo>
                  <a:lnTo>
                    <a:pt x="942" y="582"/>
                  </a:lnTo>
                  <a:lnTo>
                    <a:pt x="936" y="570"/>
                  </a:lnTo>
                  <a:lnTo>
                    <a:pt x="930" y="564"/>
                  </a:lnTo>
                  <a:lnTo>
                    <a:pt x="930" y="552"/>
                  </a:lnTo>
                  <a:lnTo>
                    <a:pt x="924" y="540"/>
                  </a:lnTo>
                  <a:lnTo>
                    <a:pt x="912" y="528"/>
                  </a:lnTo>
                  <a:lnTo>
                    <a:pt x="888" y="510"/>
                  </a:lnTo>
                  <a:lnTo>
                    <a:pt x="876" y="492"/>
                  </a:lnTo>
                  <a:lnTo>
                    <a:pt x="870" y="480"/>
                  </a:lnTo>
                  <a:lnTo>
                    <a:pt x="852" y="462"/>
                  </a:lnTo>
                  <a:lnTo>
                    <a:pt x="834" y="456"/>
                  </a:lnTo>
                  <a:lnTo>
                    <a:pt x="822" y="450"/>
                  </a:lnTo>
                  <a:lnTo>
                    <a:pt x="810" y="450"/>
                  </a:lnTo>
                  <a:lnTo>
                    <a:pt x="804" y="444"/>
                  </a:lnTo>
                  <a:lnTo>
                    <a:pt x="786" y="432"/>
                  </a:lnTo>
                  <a:lnTo>
                    <a:pt x="750" y="444"/>
                  </a:lnTo>
                  <a:lnTo>
                    <a:pt x="726" y="420"/>
                  </a:lnTo>
                  <a:lnTo>
                    <a:pt x="720" y="408"/>
                  </a:lnTo>
                  <a:lnTo>
                    <a:pt x="708" y="408"/>
                  </a:lnTo>
                  <a:lnTo>
                    <a:pt x="696" y="402"/>
                  </a:lnTo>
                  <a:lnTo>
                    <a:pt x="684" y="402"/>
                  </a:lnTo>
                  <a:lnTo>
                    <a:pt x="672" y="396"/>
                  </a:lnTo>
                  <a:lnTo>
                    <a:pt x="672" y="378"/>
                  </a:lnTo>
                  <a:lnTo>
                    <a:pt x="648" y="378"/>
                  </a:lnTo>
                  <a:lnTo>
                    <a:pt x="654" y="372"/>
                  </a:lnTo>
                  <a:lnTo>
                    <a:pt x="654" y="360"/>
                  </a:lnTo>
                  <a:lnTo>
                    <a:pt x="648" y="354"/>
                  </a:lnTo>
                  <a:lnTo>
                    <a:pt x="612" y="354"/>
                  </a:lnTo>
                  <a:lnTo>
                    <a:pt x="600" y="348"/>
                  </a:lnTo>
                  <a:lnTo>
                    <a:pt x="582" y="348"/>
                  </a:lnTo>
                  <a:lnTo>
                    <a:pt x="576" y="354"/>
                  </a:lnTo>
                  <a:lnTo>
                    <a:pt x="576" y="360"/>
                  </a:lnTo>
                  <a:lnTo>
                    <a:pt x="594" y="378"/>
                  </a:lnTo>
                  <a:lnTo>
                    <a:pt x="594" y="390"/>
                  </a:lnTo>
                  <a:lnTo>
                    <a:pt x="588" y="396"/>
                  </a:lnTo>
                  <a:lnTo>
                    <a:pt x="546" y="396"/>
                  </a:lnTo>
                  <a:lnTo>
                    <a:pt x="534" y="408"/>
                  </a:lnTo>
                  <a:lnTo>
                    <a:pt x="534" y="426"/>
                  </a:lnTo>
                  <a:lnTo>
                    <a:pt x="546" y="450"/>
                  </a:lnTo>
                  <a:lnTo>
                    <a:pt x="558" y="462"/>
                  </a:lnTo>
                  <a:lnTo>
                    <a:pt x="570" y="486"/>
                  </a:lnTo>
                  <a:lnTo>
                    <a:pt x="570" y="504"/>
                  </a:lnTo>
                  <a:lnTo>
                    <a:pt x="564" y="510"/>
                  </a:lnTo>
                  <a:lnTo>
                    <a:pt x="546" y="510"/>
                  </a:lnTo>
                  <a:lnTo>
                    <a:pt x="528" y="528"/>
                  </a:lnTo>
                  <a:lnTo>
                    <a:pt x="516" y="516"/>
                  </a:lnTo>
                  <a:lnTo>
                    <a:pt x="468" y="516"/>
                  </a:lnTo>
                  <a:lnTo>
                    <a:pt x="444" y="504"/>
                  </a:lnTo>
                  <a:lnTo>
                    <a:pt x="432" y="504"/>
                  </a:lnTo>
                  <a:lnTo>
                    <a:pt x="420" y="498"/>
                  </a:lnTo>
                  <a:lnTo>
                    <a:pt x="408" y="498"/>
                  </a:lnTo>
                  <a:lnTo>
                    <a:pt x="408" y="636"/>
                  </a:lnTo>
                  <a:lnTo>
                    <a:pt x="414" y="636"/>
                  </a:lnTo>
                  <a:lnTo>
                    <a:pt x="420" y="642"/>
                  </a:lnTo>
                  <a:lnTo>
                    <a:pt x="426" y="642"/>
                  </a:lnTo>
                  <a:lnTo>
                    <a:pt x="432" y="648"/>
                  </a:lnTo>
                  <a:lnTo>
                    <a:pt x="432" y="660"/>
                  </a:lnTo>
                  <a:lnTo>
                    <a:pt x="426" y="666"/>
                  </a:lnTo>
                  <a:lnTo>
                    <a:pt x="420" y="666"/>
                  </a:lnTo>
                  <a:lnTo>
                    <a:pt x="408" y="654"/>
                  </a:lnTo>
                  <a:lnTo>
                    <a:pt x="390" y="666"/>
                  </a:lnTo>
                  <a:lnTo>
                    <a:pt x="384" y="660"/>
                  </a:lnTo>
                  <a:lnTo>
                    <a:pt x="378" y="648"/>
                  </a:lnTo>
                  <a:lnTo>
                    <a:pt x="372" y="642"/>
                  </a:lnTo>
                  <a:lnTo>
                    <a:pt x="360" y="642"/>
                  </a:lnTo>
                  <a:lnTo>
                    <a:pt x="324" y="660"/>
                  </a:lnTo>
                  <a:lnTo>
                    <a:pt x="312" y="660"/>
                  </a:lnTo>
                  <a:lnTo>
                    <a:pt x="300" y="666"/>
                  </a:lnTo>
                  <a:lnTo>
                    <a:pt x="288" y="666"/>
                  </a:lnTo>
                  <a:lnTo>
                    <a:pt x="276" y="672"/>
                  </a:lnTo>
                  <a:lnTo>
                    <a:pt x="270" y="678"/>
                  </a:lnTo>
                  <a:lnTo>
                    <a:pt x="270" y="684"/>
                  </a:lnTo>
                  <a:lnTo>
                    <a:pt x="276" y="690"/>
                  </a:lnTo>
                  <a:lnTo>
                    <a:pt x="288" y="696"/>
                  </a:lnTo>
                  <a:lnTo>
                    <a:pt x="306" y="696"/>
                  </a:lnTo>
                  <a:lnTo>
                    <a:pt x="306" y="726"/>
                  </a:lnTo>
                  <a:lnTo>
                    <a:pt x="318" y="750"/>
                  </a:lnTo>
                  <a:lnTo>
                    <a:pt x="360" y="792"/>
                  </a:lnTo>
                  <a:lnTo>
                    <a:pt x="366" y="804"/>
                  </a:lnTo>
                  <a:lnTo>
                    <a:pt x="378" y="810"/>
                  </a:lnTo>
                  <a:lnTo>
                    <a:pt x="378" y="822"/>
                  </a:lnTo>
                  <a:lnTo>
                    <a:pt x="360" y="822"/>
                  </a:lnTo>
                  <a:lnTo>
                    <a:pt x="354" y="828"/>
                  </a:lnTo>
                  <a:lnTo>
                    <a:pt x="354" y="834"/>
                  </a:lnTo>
                  <a:lnTo>
                    <a:pt x="372" y="852"/>
                  </a:lnTo>
                  <a:lnTo>
                    <a:pt x="348" y="852"/>
                  </a:lnTo>
                  <a:lnTo>
                    <a:pt x="348" y="864"/>
                  </a:lnTo>
                  <a:lnTo>
                    <a:pt x="354" y="870"/>
                  </a:lnTo>
                  <a:lnTo>
                    <a:pt x="354" y="882"/>
                  </a:lnTo>
                  <a:lnTo>
                    <a:pt x="372" y="900"/>
                  </a:lnTo>
                  <a:lnTo>
                    <a:pt x="372" y="912"/>
                  </a:lnTo>
                  <a:lnTo>
                    <a:pt x="366" y="918"/>
                  </a:lnTo>
                  <a:lnTo>
                    <a:pt x="342" y="918"/>
                  </a:lnTo>
                  <a:lnTo>
                    <a:pt x="294" y="936"/>
                  </a:lnTo>
                  <a:lnTo>
                    <a:pt x="282" y="948"/>
                  </a:lnTo>
                  <a:lnTo>
                    <a:pt x="270" y="954"/>
                  </a:lnTo>
                  <a:lnTo>
                    <a:pt x="264" y="960"/>
                  </a:lnTo>
                  <a:lnTo>
                    <a:pt x="264" y="978"/>
                  </a:lnTo>
                  <a:lnTo>
                    <a:pt x="258" y="990"/>
                  </a:lnTo>
                  <a:lnTo>
                    <a:pt x="252" y="996"/>
                  </a:lnTo>
                  <a:lnTo>
                    <a:pt x="234" y="996"/>
                  </a:lnTo>
                  <a:lnTo>
                    <a:pt x="216" y="990"/>
                  </a:lnTo>
                  <a:lnTo>
                    <a:pt x="186" y="990"/>
                  </a:lnTo>
                  <a:lnTo>
                    <a:pt x="168" y="1008"/>
                  </a:lnTo>
                  <a:lnTo>
                    <a:pt x="162" y="1020"/>
                  </a:lnTo>
                  <a:lnTo>
                    <a:pt x="162" y="1044"/>
                  </a:lnTo>
                  <a:lnTo>
                    <a:pt x="156" y="1050"/>
                  </a:lnTo>
                  <a:lnTo>
                    <a:pt x="126" y="1044"/>
                  </a:lnTo>
                  <a:lnTo>
                    <a:pt x="114" y="1050"/>
                  </a:lnTo>
                  <a:lnTo>
                    <a:pt x="108" y="1044"/>
                  </a:lnTo>
                  <a:lnTo>
                    <a:pt x="102" y="1032"/>
                  </a:lnTo>
                  <a:lnTo>
                    <a:pt x="96" y="1026"/>
                  </a:lnTo>
                  <a:lnTo>
                    <a:pt x="84" y="1026"/>
                  </a:lnTo>
                  <a:lnTo>
                    <a:pt x="72" y="1038"/>
                  </a:lnTo>
                  <a:lnTo>
                    <a:pt x="48" y="1038"/>
                  </a:lnTo>
                  <a:lnTo>
                    <a:pt x="48" y="1056"/>
                  </a:lnTo>
                  <a:lnTo>
                    <a:pt x="36" y="1062"/>
                  </a:lnTo>
                  <a:lnTo>
                    <a:pt x="30" y="1068"/>
                  </a:lnTo>
                  <a:lnTo>
                    <a:pt x="18" y="1068"/>
                  </a:lnTo>
                  <a:lnTo>
                    <a:pt x="6" y="1074"/>
                  </a:lnTo>
                  <a:lnTo>
                    <a:pt x="0" y="1080"/>
                  </a:lnTo>
                  <a:lnTo>
                    <a:pt x="0" y="1086"/>
                  </a:lnTo>
                  <a:lnTo>
                    <a:pt x="12" y="1092"/>
                  </a:lnTo>
                  <a:lnTo>
                    <a:pt x="18" y="1104"/>
                  </a:lnTo>
                  <a:lnTo>
                    <a:pt x="18" y="1116"/>
                  </a:lnTo>
                  <a:lnTo>
                    <a:pt x="0" y="1116"/>
                  </a:lnTo>
                  <a:lnTo>
                    <a:pt x="0" y="1140"/>
                  </a:lnTo>
                  <a:lnTo>
                    <a:pt x="18" y="1140"/>
                  </a:lnTo>
                  <a:lnTo>
                    <a:pt x="18" y="1152"/>
                  </a:lnTo>
                  <a:lnTo>
                    <a:pt x="12" y="1164"/>
                  </a:lnTo>
                  <a:lnTo>
                    <a:pt x="12" y="1176"/>
                  </a:lnTo>
                  <a:lnTo>
                    <a:pt x="24" y="1188"/>
                  </a:lnTo>
                  <a:lnTo>
                    <a:pt x="36" y="1188"/>
                  </a:lnTo>
                  <a:lnTo>
                    <a:pt x="42" y="1182"/>
                  </a:lnTo>
                  <a:lnTo>
                    <a:pt x="66" y="1182"/>
                  </a:lnTo>
                  <a:lnTo>
                    <a:pt x="78" y="1188"/>
                  </a:lnTo>
                  <a:lnTo>
                    <a:pt x="84" y="1188"/>
                  </a:lnTo>
                  <a:lnTo>
                    <a:pt x="96" y="1194"/>
                  </a:lnTo>
                  <a:lnTo>
                    <a:pt x="102" y="1200"/>
                  </a:lnTo>
                  <a:lnTo>
                    <a:pt x="102" y="1242"/>
                  </a:lnTo>
                  <a:lnTo>
                    <a:pt x="114" y="1266"/>
                  </a:lnTo>
                  <a:lnTo>
                    <a:pt x="120" y="1272"/>
                  </a:lnTo>
                  <a:lnTo>
                    <a:pt x="126" y="1272"/>
                  </a:lnTo>
                  <a:lnTo>
                    <a:pt x="138" y="1284"/>
                  </a:lnTo>
                  <a:lnTo>
                    <a:pt x="132" y="1290"/>
                  </a:lnTo>
                  <a:lnTo>
                    <a:pt x="102" y="1290"/>
                  </a:lnTo>
                  <a:lnTo>
                    <a:pt x="96" y="1296"/>
                  </a:lnTo>
                  <a:lnTo>
                    <a:pt x="96" y="1308"/>
                  </a:lnTo>
                  <a:lnTo>
                    <a:pt x="108" y="1314"/>
                  </a:lnTo>
                  <a:lnTo>
                    <a:pt x="114" y="1320"/>
                  </a:lnTo>
                  <a:lnTo>
                    <a:pt x="162" y="1320"/>
                  </a:lnTo>
                  <a:lnTo>
                    <a:pt x="168" y="1332"/>
                  </a:lnTo>
                  <a:lnTo>
                    <a:pt x="180" y="1332"/>
                  </a:lnTo>
                  <a:lnTo>
                    <a:pt x="192" y="1338"/>
                  </a:lnTo>
                  <a:lnTo>
                    <a:pt x="204" y="1350"/>
                  </a:lnTo>
                  <a:lnTo>
                    <a:pt x="216" y="1374"/>
                  </a:lnTo>
                  <a:lnTo>
                    <a:pt x="216" y="1398"/>
                  </a:lnTo>
                  <a:lnTo>
                    <a:pt x="252" y="1410"/>
                  </a:lnTo>
                  <a:lnTo>
                    <a:pt x="264" y="1404"/>
                  </a:lnTo>
                  <a:lnTo>
                    <a:pt x="264" y="1410"/>
                  </a:lnTo>
                  <a:lnTo>
                    <a:pt x="270" y="1416"/>
                  </a:lnTo>
                  <a:lnTo>
                    <a:pt x="276" y="1428"/>
                  </a:lnTo>
                  <a:lnTo>
                    <a:pt x="288" y="1434"/>
                  </a:lnTo>
                  <a:lnTo>
                    <a:pt x="366" y="1434"/>
                  </a:lnTo>
                  <a:lnTo>
                    <a:pt x="378" y="1428"/>
                  </a:lnTo>
                  <a:lnTo>
                    <a:pt x="384" y="1416"/>
                  </a:lnTo>
                  <a:lnTo>
                    <a:pt x="402" y="1410"/>
                  </a:lnTo>
                  <a:lnTo>
                    <a:pt x="426" y="1398"/>
                  </a:lnTo>
                  <a:lnTo>
                    <a:pt x="438" y="1398"/>
                  </a:lnTo>
                  <a:lnTo>
                    <a:pt x="456" y="1410"/>
                  </a:lnTo>
                  <a:lnTo>
                    <a:pt x="480" y="1434"/>
                  </a:lnTo>
                  <a:lnTo>
                    <a:pt x="522" y="1434"/>
                  </a:lnTo>
                  <a:lnTo>
                    <a:pt x="522" y="1494"/>
                  </a:lnTo>
                  <a:lnTo>
                    <a:pt x="516" y="1500"/>
                  </a:lnTo>
                  <a:lnTo>
                    <a:pt x="498" y="1500"/>
                  </a:lnTo>
                  <a:lnTo>
                    <a:pt x="498" y="1506"/>
                  </a:lnTo>
                  <a:lnTo>
                    <a:pt x="504" y="1512"/>
                  </a:lnTo>
                  <a:lnTo>
                    <a:pt x="504" y="1536"/>
                  </a:lnTo>
                  <a:lnTo>
                    <a:pt x="498" y="1548"/>
                  </a:lnTo>
                  <a:lnTo>
                    <a:pt x="486" y="1554"/>
                  </a:lnTo>
                  <a:lnTo>
                    <a:pt x="456" y="1554"/>
                  </a:lnTo>
                  <a:lnTo>
                    <a:pt x="474" y="1578"/>
                  </a:lnTo>
                  <a:lnTo>
                    <a:pt x="456" y="1584"/>
                  </a:lnTo>
                  <a:lnTo>
                    <a:pt x="456" y="1608"/>
                  </a:lnTo>
                  <a:lnTo>
                    <a:pt x="480" y="1620"/>
                  </a:lnTo>
                  <a:lnTo>
                    <a:pt x="492" y="1620"/>
                  </a:lnTo>
                  <a:lnTo>
                    <a:pt x="498" y="1626"/>
                  </a:lnTo>
                  <a:lnTo>
                    <a:pt x="504" y="1638"/>
                  </a:lnTo>
                  <a:lnTo>
                    <a:pt x="522" y="1656"/>
                  </a:lnTo>
                  <a:lnTo>
                    <a:pt x="522" y="1668"/>
                  </a:lnTo>
                  <a:lnTo>
                    <a:pt x="510" y="1674"/>
                  </a:lnTo>
                  <a:lnTo>
                    <a:pt x="504" y="1680"/>
                  </a:lnTo>
                  <a:lnTo>
                    <a:pt x="498" y="1680"/>
                  </a:lnTo>
                  <a:lnTo>
                    <a:pt x="486" y="1698"/>
                  </a:lnTo>
                  <a:lnTo>
                    <a:pt x="474" y="1686"/>
                  </a:lnTo>
                  <a:lnTo>
                    <a:pt x="474" y="1668"/>
                  </a:lnTo>
                  <a:lnTo>
                    <a:pt x="462" y="1668"/>
                  </a:lnTo>
                  <a:lnTo>
                    <a:pt x="456" y="1674"/>
                  </a:lnTo>
                  <a:lnTo>
                    <a:pt x="450" y="1674"/>
                  </a:lnTo>
                  <a:lnTo>
                    <a:pt x="450" y="1692"/>
                  </a:lnTo>
                  <a:lnTo>
                    <a:pt x="456" y="1698"/>
                  </a:lnTo>
                  <a:lnTo>
                    <a:pt x="462" y="1710"/>
                  </a:lnTo>
                  <a:lnTo>
                    <a:pt x="474" y="1722"/>
                  </a:lnTo>
                  <a:lnTo>
                    <a:pt x="480" y="1722"/>
                  </a:lnTo>
                  <a:lnTo>
                    <a:pt x="480" y="1734"/>
                  </a:lnTo>
                  <a:lnTo>
                    <a:pt x="474" y="1740"/>
                  </a:lnTo>
                  <a:lnTo>
                    <a:pt x="474" y="1758"/>
                  </a:lnTo>
                  <a:lnTo>
                    <a:pt x="480" y="1764"/>
                  </a:lnTo>
                  <a:lnTo>
                    <a:pt x="510" y="1764"/>
                  </a:lnTo>
                  <a:lnTo>
                    <a:pt x="516" y="1776"/>
                  </a:lnTo>
                  <a:lnTo>
                    <a:pt x="528" y="1788"/>
                  </a:lnTo>
                  <a:lnTo>
                    <a:pt x="540" y="1794"/>
                  </a:lnTo>
                  <a:lnTo>
                    <a:pt x="552" y="1794"/>
                  </a:lnTo>
                  <a:lnTo>
                    <a:pt x="558" y="1800"/>
                  </a:lnTo>
                  <a:lnTo>
                    <a:pt x="564" y="1800"/>
                  </a:lnTo>
                  <a:lnTo>
                    <a:pt x="582" y="1818"/>
                  </a:lnTo>
                  <a:lnTo>
                    <a:pt x="600" y="1812"/>
                  </a:lnTo>
                  <a:lnTo>
                    <a:pt x="600" y="1830"/>
                  </a:lnTo>
                  <a:lnTo>
                    <a:pt x="612" y="1836"/>
                  </a:lnTo>
                  <a:lnTo>
                    <a:pt x="624" y="1836"/>
                  </a:lnTo>
                  <a:lnTo>
                    <a:pt x="666" y="1872"/>
                  </a:lnTo>
                  <a:lnTo>
                    <a:pt x="690" y="1854"/>
                  </a:lnTo>
                  <a:lnTo>
                    <a:pt x="696" y="1848"/>
                  </a:lnTo>
                  <a:lnTo>
                    <a:pt x="708" y="1842"/>
                  </a:lnTo>
                  <a:lnTo>
                    <a:pt x="720" y="1842"/>
                  </a:lnTo>
                  <a:lnTo>
                    <a:pt x="732" y="1848"/>
                  </a:lnTo>
                  <a:lnTo>
                    <a:pt x="744" y="1860"/>
                  </a:lnTo>
                  <a:lnTo>
                    <a:pt x="750" y="1872"/>
                  </a:lnTo>
                  <a:lnTo>
                    <a:pt x="762" y="1878"/>
                  </a:lnTo>
                  <a:lnTo>
                    <a:pt x="780" y="1896"/>
                  </a:lnTo>
                  <a:lnTo>
                    <a:pt x="822" y="1902"/>
                  </a:lnTo>
                  <a:lnTo>
                    <a:pt x="828" y="1914"/>
                  </a:lnTo>
                  <a:lnTo>
                    <a:pt x="834" y="1920"/>
                  </a:lnTo>
                  <a:lnTo>
                    <a:pt x="840" y="1932"/>
                  </a:lnTo>
                  <a:lnTo>
                    <a:pt x="846" y="1938"/>
                  </a:lnTo>
                  <a:lnTo>
                    <a:pt x="846" y="1950"/>
                  </a:lnTo>
                  <a:lnTo>
                    <a:pt x="858" y="1950"/>
                  </a:lnTo>
                  <a:lnTo>
                    <a:pt x="858" y="1944"/>
                  </a:lnTo>
                  <a:lnTo>
                    <a:pt x="864" y="1938"/>
                  </a:lnTo>
                  <a:lnTo>
                    <a:pt x="870" y="1926"/>
                  </a:lnTo>
                  <a:lnTo>
                    <a:pt x="882" y="1926"/>
                  </a:lnTo>
                  <a:lnTo>
                    <a:pt x="888" y="1932"/>
                  </a:lnTo>
                  <a:lnTo>
                    <a:pt x="894" y="1944"/>
                  </a:lnTo>
                  <a:lnTo>
                    <a:pt x="894" y="1962"/>
                  </a:lnTo>
                  <a:lnTo>
                    <a:pt x="924" y="1992"/>
                  </a:lnTo>
                  <a:lnTo>
                    <a:pt x="936" y="1998"/>
                  </a:lnTo>
                  <a:lnTo>
                    <a:pt x="942" y="1992"/>
                  </a:lnTo>
                  <a:lnTo>
                    <a:pt x="954" y="1986"/>
                  </a:lnTo>
                  <a:lnTo>
                    <a:pt x="960" y="1986"/>
                  </a:lnTo>
                  <a:lnTo>
                    <a:pt x="966" y="1992"/>
                  </a:lnTo>
                  <a:lnTo>
                    <a:pt x="966" y="1998"/>
                  </a:lnTo>
                  <a:lnTo>
                    <a:pt x="960" y="2004"/>
                  </a:lnTo>
                  <a:lnTo>
                    <a:pt x="960" y="2010"/>
                  </a:lnTo>
                  <a:lnTo>
                    <a:pt x="966" y="2010"/>
                  </a:lnTo>
                  <a:lnTo>
                    <a:pt x="972" y="2016"/>
                  </a:lnTo>
                  <a:lnTo>
                    <a:pt x="990" y="2022"/>
                  </a:lnTo>
                  <a:lnTo>
                    <a:pt x="1002" y="2022"/>
                  </a:lnTo>
                  <a:lnTo>
                    <a:pt x="1008" y="2016"/>
                  </a:lnTo>
                  <a:lnTo>
                    <a:pt x="1014" y="2016"/>
                  </a:lnTo>
                  <a:lnTo>
                    <a:pt x="1014" y="2034"/>
                  </a:lnTo>
                  <a:lnTo>
                    <a:pt x="1020" y="2040"/>
                  </a:lnTo>
                  <a:lnTo>
                    <a:pt x="1032" y="2040"/>
                  </a:lnTo>
                  <a:lnTo>
                    <a:pt x="1044" y="2028"/>
                  </a:lnTo>
                  <a:lnTo>
                    <a:pt x="1044" y="2022"/>
                  </a:lnTo>
                  <a:lnTo>
                    <a:pt x="1044" y="2034"/>
                  </a:lnTo>
                  <a:lnTo>
                    <a:pt x="1050" y="2040"/>
                  </a:lnTo>
                  <a:lnTo>
                    <a:pt x="1068" y="2040"/>
                  </a:lnTo>
                  <a:lnTo>
                    <a:pt x="1074" y="2034"/>
                  </a:lnTo>
                  <a:lnTo>
                    <a:pt x="1074" y="2028"/>
                  </a:lnTo>
                  <a:lnTo>
                    <a:pt x="1086" y="2034"/>
                  </a:lnTo>
                  <a:lnTo>
                    <a:pt x="1092" y="2040"/>
                  </a:lnTo>
                  <a:lnTo>
                    <a:pt x="1110" y="2046"/>
                  </a:lnTo>
                  <a:lnTo>
                    <a:pt x="1134" y="2058"/>
                  </a:lnTo>
                  <a:lnTo>
                    <a:pt x="1158" y="2058"/>
                  </a:lnTo>
                  <a:lnTo>
                    <a:pt x="1176" y="2040"/>
                  </a:lnTo>
                  <a:lnTo>
                    <a:pt x="1194" y="2034"/>
                  </a:lnTo>
                  <a:lnTo>
                    <a:pt x="1206" y="2028"/>
                  </a:lnTo>
                  <a:lnTo>
                    <a:pt x="1212" y="2028"/>
                  </a:lnTo>
                  <a:lnTo>
                    <a:pt x="1224" y="2034"/>
                  </a:lnTo>
                  <a:lnTo>
                    <a:pt x="1230" y="2040"/>
                  </a:lnTo>
                  <a:lnTo>
                    <a:pt x="1230" y="2088"/>
                  </a:lnTo>
                  <a:lnTo>
                    <a:pt x="1236" y="2094"/>
                  </a:lnTo>
                  <a:lnTo>
                    <a:pt x="1242" y="2094"/>
                  </a:lnTo>
                  <a:lnTo>
                    <a:pt x="1242" y="2088"/>
                  </a:lnTo>
                  <a:lnTo>
                    <a:pt x="1248" y="2082"/>
                  </a:lnTo>
                  <a:lnTo>
                    <a:pt x="1254" y="2070"/>
                  </a:lnTo>
                  <a:lnTo>
                    <a:pt x="1266" y="2052"/>
                  </a:lnTo>
                  <a:lnTo>
                    <a:pt x="1272" y="2040"/>
                  </a:lnTo>
                  <a:lnTo>
                    <a:pt x="1284" y="2028"/>
                  </a:lnTo>
                  <a:lnTo>
                    <a:pt x="1290" y="2016"/>
                  </a:lnTo>
                  <a:lnTo>
                    <a:pt x="1302" y="2016"/>
                  </a:lnTo>
                  <a:lnTo>
                    <a:pt x="1314" y="2022"/>
                  </a:lnTo>
                  <a:lnTo>
                    <a:pt x="1338" y="2022"/>
                  </a:lnTo>
                  <a:lnTo>
                    <a:pt x="1338" y="2046"/>
                  </a:lnTo>
                  <a:lnTo>
                    <a:pt x="1344" y="2046"/>
                  </a:lnTo>
                  <a:lnTo>
                    <a:pt x="1350" y="2040"/>
                  </a:lnTo>
                  <a:lnTo>
                    <a:pt x="1362" y="2034"/>
                  </a:lnTo>
                  <a:lnTo>
                    <a:pt x="1374" y="2034"/>
                  </a:lnTo>
                  <a:lnTo>
                    <a:pt x="1386" y="2028"/>
                  </a:lnTo>
                  <a:lnTo>
                    <a:pt x="1398" y="2028"/>
                  </a:lnTo>
                  <a:lnTo>
                    <a:pt x="1410" y="2034"/>
                  </a:lnTo>
                  <a:lnTo>
                    <a:pt x="1422" y="2046"/>
                  </a:lnTo>
                  <a:lnTo>
                    <a:pt x="1428" y="2058"/>
                  </a:lnTo>
                  <a:lnTo>
                    <a:pt x="1428" y="2064"/>
                  </a:lnTo>
                  <a:lnTo>
                    <a:pt x="1482" y="2064"/>
                  </a:lnTo>
                  <a:lnTo>
                    <a:pt x="1494" y="2052"/>
                  </a:lnTo>
                  <a:lnTo>
                    <a:pt x="1494" y="2034"/>
                  </a:lnTo>
                  <a:lnTo>
                    <a:pt x="1488" y="2022"/>
                  </a:lnTo>
                  <a:lnTo>
                    <a:pt x="1518" y="2022"/>
                  </a:lnTo>
                  <a:lnTo>
                    <a:pt x="1524" y="2016"/>
                  </a:lnTo>
                  <a:lnTo>
                    <a:pt x="1524" y="1992"/>
                  </a:lnTo>
                  <a:lnTo>
                    <a:pt x="1518" y="1986"/>
                  </a:lnTo>
                  <a:lnTo>
                    <a:pt x="1518" y="1980"/>
                  </a:lnTo>
                  <a:lnTo>
                    <a:pt x="1554" y="1980"/>
                  </a:lnTo>
                  <a:lnTo>
                    <a:pt x="1578" y="1956"/>
                  </a:lnTo>
                  <a:lnTo>
                    <a:pt x="1590" y="1950"/>
                  </a:lnTo>
                  <a:lnTo>
                    <a:pt x="1602" y="1938"/>
                  </a:lnTo>
                  <a:lnTo>
                    <a:pt x="1620" y="1938"/>
                  </a:lnTo>
                  <a:lnTo>
                    <a:pt x="1632" y="1944"/>
                  </a:lnTo>
                  <a:lnTo>
                    <a:pt x="1650" y="1956"/>
                  </a:lnTo>
                  <a:lnTo>
                    <a:pt x="1668" y="1956"/>
                  </a:lnTo>
                  <a:lnTo>
                    <a:pt x="1668" y="1932"/>
                  </a:lnTo>
                  <a:lnTo>
                    <a:pt x="1680" y="1920"/>
                  </a:lnTo>
                  <a:lnTo>
                    <a:pt x="1716" y="1938"/>
                  </a:lnTo>
                  <a:lnTo>
                    <a:pt x="1722" y="1944"/>
                  </a:lnTo>
                  <a:lnTo>
                    <a:pt x="1710" y="1956"/>
                  </a:lnTo>
                  <a:lnTo>
                    <a:pt x="1704" y="1956"/>
                  </a:lnTo>
                  <a:lnTo>
                    <a:pt x="1710" y="1962"/>
                  </a:lnTo>
                  <a:lnTo>
                    <a:pt x="1740" y="1962"/>
                  </a:lnTo>
                  <a:lnTo>
                    <a:pt x="1758" y="1992"/>
                  </a:lnTo>
                  <a:lnTo>
                    <a:pt x="1752" y="1992"/>
                  </a:lnTo>
                  <a:lnTo>
                    <a:pt x="1740" y="2004"/>
                  </a:lnTo>
                  <a:lnTo>
                    <a:pt x="1740" y="2010"/>
                  </a:lnTo>
                  <a:lnTo>
                    <a:pt x="1806" y="2010"/>
                  </a:lnTo>
                  <a:lnTo>
                    <a:pt x="1812" y="2016"/>
                  </a:lnTo>
                  <a:lnTo>
                    <a:pt x="1818" y="2016"/>
                  </a:lnTo>
                  <a:lnTo>
                    <a:pt x="1824" y="1998"/>
                  </a:lnTo>
                  <a:lnTo>
                    <a:pt x="1830" y="1998"/>
                  </a:lnTo>
                  <a:lnTo>
                    <a:pt x="1836" y="2004"/>
                  </a:lnTo>
                  <a:lnTo>
                    <a:pt x="1842" y="2016"/>
                  </a:lnTo>
                  <a:lnTo>
                    <a:pt x="1854" y="2022"/>
                  </a:lnTo>
                  <a:lnTo>
                    <a:pt x="1872" y="2058"/>
                  </a:lnTo>
                  <a:lnTo>
                    <a:pt x="1878" y="2064"/>
                  </a:lnTo>
                  <a:lnTo>
                    <a:pt x="1878" y="2070"/>
                  </a:lnTo>
                  <a:lnTo>
                    <a:pt x="1914" y="2070"/>
                  </a:lnTo>
                  <a:lnTo>
                    <a:pt x="1920" y="2076"/>
                  </a:lnTo>
                  <a:lnTo>
                    <a:pt x="1920" y="2106"/>
                  </a:lnTo>
                  <a:lnTo>
                    <a:pt x="1932" y="2130"/>
                  </a:lnTo>
                  <a:lnTo>
                    <a:pt x="1944" y="2190"/>
                  </a:lnTo>
                  <a:lnTo>
                    <a:pt x="1932" y="2190"/>
                  </a:lnTo>
                  <a:lnTo>
                    <a:pt x="1926" y="2196"/>
                  </a:lnTo>
                  <a:lnTo>
                    <a:pt x="1914" y="2196"/>
                  </a:lnTo>
                  <a:lnTo>
                    <a:pt x="1932" y="2214"/>
                  </a:lnTo>
                  <a:lnTo>
                    <a:pt x="1932" y="2220"/>
                  </a:lnTo>
                  <a:lnTo>
                    <a:pt x="1926" y="2232"/>
                  </a:lnTo>
                  <a:lnTo>
                    <a:pt x="1920" y="2238"/>
                  </a:lnTo>
                  <a:lnTo>
                    <a:pt x="1908" y="2238"/>
                  </a:lnTo>
                  <a:lnTo>
                    <a:pt x="1902" y="2232"/>
                  </a:lnTo>
                  <a:lnTo>
                    <a:pt x="1902" y="2268"/>
                  </a:lnTo>
                  <a:lnTo>
                    <a:pt x="1896" y="2274"/>
                  </a:lnTo>
                  <a:lnTo>
                    <a:pt x="1884" y="2274"/>
                  </a:lnTo>
                  <a:lnTo>
                    <a:pt x="1890" y="2304"/>
                  </a:lnTo>
                  <a:lnTo>
                    <a:pt x="1878" y="2304"/>
                  </a:lnTo>
                  <a:lnTo>
                    <a:pt x="1878" y="2322"/>
                  </a:lnTo>
                  <a:lnTo>
                    <a:pt x="1896" y="2340"/>
                  </a:lnTo>
                  <a:lnTo>
                    <a:pt x="1902" y="2352"/>
                  </a:lnTo>
                  <a:lnTo>
                    <a:pt x="1890" y="2370"/>
                  </a:lnTo>
                  <a:lnTo>
                    <a:pt x="1902" y="2364"/>
                  </a:lnTo>
                  <a:lnTo>
                    <a:pt x="1908" y="2358"/>
                  </a:lnTo>
                  <a:lnTo>
                    <a:pt x="1920" y="2358"/>
                  </a:lnTo>
                  <a:lnTo>
                    <a:pt x="1926" y="2352"/>
                  </a:lnTo>
                  <a:lnTo>
                    <a:pt x="1986" y="2352"/>
                  </a:lnTo>
                  <a:lnTo>
                    <a:pt x="1956" y="2376"/>
                  </a:lnTo>
                  <a:lnTo>
                    <a:pt x="1980" y="2394"/>
                  </a:lnTo>
                  <a:lnTo>
                    <a:pt x="1992" y="2436"/>
                  </a:lnTo>
                  <a:lnTo>
                    <a:pt x="2022" y="2436"/>
                  </a:lnTo>
                  <a:lnTo>
                    <a:pt x="2034" y="2442"/>
                  </a:lnTo>
                  <a:lnTo>
                    <a:pt x="2040" y="2448"/>
                  </a:lnTo>
                  <a:lnTo>
                    <a:pt x="2040" y="2454"/>
                  </a:lnTo>
                  <a:lnTo>
                    <a:pt x="2034" y="2460"/>
                  </a:lnTo>
                  <a:lnTo>
                    <a:pt x="2022" y="2460"/>
                  </a:lnTo>
                  <a:lnTo>
                    <a:pt x="2016" y="2466"/>
                  </a:lnTo>
                  <a:lnTo>
                    <a:pt x="2028" y="2478"/>
                  </a:lnTo>
                  <a:lnTo>
                    <a:pt x="2028" y="2490"/>
                  </a:lnTo>
                  <a:lnTo>
                    <a:pt x="2022" y="2496"/>
                  </a:lnTo>
                  <a:lnTo>
                    <a:pt x="2022" y="2502"/>
                  </a:lnTo>
                  <a:lnTo>
                    <a:pt x="2016" y="2514"/>
                  </a:lnTo>
                  <a:lnTo>
                    <a:pt x="2070" y="2520"/>
                  </a:lnTo>
                  <a:lnTo>
                    <a:pt x="2082" y="2550"/>
                  </a:lnTo>
                  <a:lnTo>
                    <a:pt x="2094" y="2550"/>
                  </a:lnTo>
                  <a:lnTo>
                    <a:pt x="2094" y="2568"/>
                  </a:lnTo>
                  <a:lnTo>
                    <a:pt x="2136" y="2568"/>
                  </a:lnTo>
                  <a:lnTo>
                    <a:pt x="2136" y="2562"/>
                  </a:lnTo>
                  <a:lnTo>
                    <a:pt x="2154" y="2544"/>
                  </a:lnTo>
                  <a:lnTo>
                    <a:pt x="2166" y="2544"/>
                  </a:lnTo>
                  <a:lnTo>
                    <a:pt x="2172" y="2550"/>
                  </a:lnTo>
                  <a:lnTo>
                    <a:pt x="2172" y="2592"/>
                  </a:lnTo>
                  <a:lnTo>
                    <a:pt x="2214" y="2592"/>
                  </a:lnTo>
                  <a:lnTo>
                    <a:pt x="2214" y="2556"/>
                  </a:lnTo>
                  <a:lnTo>
                    <a:pt x="2190" y="2532"/>
                  </a:lnTo>
                  <a:lnTo>
                    <a:pt x="2190" y="2490"/>
                  </a:lnTo>
                  <a:lnTo>
                    <a:pt x="2196" y="2484"/>
                  </a:lnTo>
                  <a:lnTo>
                    <a:pt x="2232" y="2490"/>
                  </a:lnTo>
                  <a:lnTo>
                    <a:pt x="2232" y="2472"/>
                  </a:lnTo>
                  <a:lnTo>
                    <a:pt x="2238" y="2460"/>
                  </a:lnTo>
                  <a:lnTo>
                    <a:pt x="2250" y="2460"/>
                  </a:lnTo>
                  <a:lnTo>
                    <a:pt x="2274" y="2484"/>
                  </a:lnTo>
                  <a:lnTo>
                    <a:pt x="2286" y="2484"/>
                  </a:lnTo>
                  <a:lnTo>
                    <a:pt x="2292" y="2478"/>
                  </a:lnTo>
                  <a:lnTo>
                    <a:pt x="2298" y="2466"/>
                  </a:lnTo>
                  <a:lnTo>
                    <a:pt x="2304" y="2460"/>
                  </a:lnTo>
                  <a:lnTo>
                    <a:pt x="2322" y="2478"/>
                  </a:lnTo>
                  <a:lnTo>
                    <a:pt x="2322" y="2460"/>
                  </a:lnTo>
                  <a:lnTo>
                    <a:pt x="2328" y="2460"/>
                  </a:lnTo>
                  <a:lnTo>
                    <a:pt x="2340" y="2478"/>
                  </a:lnTo>
                  <a:lnTo>
                    <a:pt x="2346" y="2484"/>
                  </a:lnTo>
                  <a:lnTo>
                    <a:pt x="2364" y="2484"/>
                  </a:lnTo>
                  <a:lnTo>
                    <a:pt x="2364" y="2472"/>
                  </a:lnTo>
                  <a:lnTo>
                    <a:pt x="2352" y="2460"/>
                  </a:lnTo>
                  <a:lnTo>
                    <a:pt x="2370" y="2460"/>
                  </a:lnTo>
                  <a:lnTo>
                    <a:pt x="2376" y="2466"/>
                  </a:lnTo>
                  <a:lnTo>
                    <a:pt x="2382" y="2460"/>
                  </a:lnTo>
                  <a:lnTo>
                    <a:pt x="2400" y="2460"/>
                  </a:lnTo>
                  <a:lnTo>
                    <a:pt x="2400" y="2454"/>
                  </a:lnTo>
                  <a:lnTo>
                    <a:pt x="2406" y="2442"/>
                  </a:lnTo>
                  <a:lnTo>
                    <a:pt x="2406" y="2430"/>
                  </a:lnTo>
                  <a:lnTo>
                    <a:pt x="2412" y="2424"/>
                  </a:lnTo>
                  <a:lnTo>
                    <a:pt x="2424" y="2418"/>
                  </a:lnTo>
                  <a:lnTo>
                    <a:pt x="2430" y="2412"/>
                  </a:lnTo>
                  <a:lnTo>
                    <a:pt x="2436" y="2412"/>
                  </a:lnTo>
                  <a:lnTo>
                    <a:pt x="2466" y="2448"/>
                  </a:lnTo>
                  <a:lnTo>
                    <a:pt x="2496" y="2442"/>
                  </a:lnTo>
                  <a:lnTo>
                    <a:pt x="2508" y="2454"/>
                  </a:lnTo>
                  <a:lnTo>
                    <a:pt x="2538" y="2454"/>
                  </a:lnTo>
                  <a:lnTo>
                    <a:pt x="2544" y="2460"/>
                  </a:lnTo>
                  <a:lnTo>
                    <a:pt x="2544" y="2466"/>
                  </a:lnTo>
                  <a:lnTo>
                    <a:pt x="2526" y="2484"/>
                  </a:lnTo>
                  <a:lnTo>
                    <a:pt x="2532" y="2502"/>
                  </a:lnTo>
                  <a:lnTo>
                    <a:pt x="2544" y="2508"/>
                  </a:lnTo>
                  <a:lnTo>
                    <a:pt x="2544" y="2526"/>
                  </a:lnTo>
                  <a:lnTo>
                    <a:pt x="2562" y="2526"/>
                  </a:lnTo>
                  <a:lnTo>
                    <a:pt x="2568" y="2532"/>
                  </a:lnTo>
                  <a:lnTo>
                    <a:pt x="2574" y="2544"/>
                  </a:lnTo>
                  <a:lnTo>
                    <a:pt x="2586" y="2550"/>
                  </a:lnTo>
                  <a:lnTo>
                    <a:pt x="2616" y="2550"/>
                  </a:lnTo>
                  <a:lnTo>
                    <a:pt x="2622" y="2556"/>
                  </a:lnTo>
                  <a:lnTo>
                    <a:pt x="2628" y="2556"/>
                  </a:lnTo>
                  <a:lnTo>
                    <a:pt x="2676" y="2526"/>
                  </a:lnTo>
                  <a:lnTo>
                    <a:pt x="2694" y="2538"/>
                  </a:lnTo>
                  <a:lnTo>
                    <a:pt x="2718" y="2538"/>
                  </a:lnTo>
                  <a:lnTo>
                    <a:pt x="2736" y="2544"/>
                  </a:lnTo>
                  <a:lnTo>
                    <a:pt x="2748" y="2544"/>
                  </a:lnTo>
                  <a:lnTo>
                    <a:pt x="2760" y="2550"/>
                  </a:lnTo>
                  <a:lnTo>
                    <a:pt x="2766" y="2556"/>
                  </a:lnTo>
                  <a:lnTo>
                    <a:pt x="2772" y="2568"/>
                  </a:lnTo>
                  <a:lnTo>
                    <a:pt x="2766" y="2580"/>
                  </a:lnTo>
                  <a:lnTo>
                    <a:pt x="2766" y="2604"/>
                  </a:lnTo>
                  <a:lnTo>
                    <a:pt x="2760" y="2616"/>
                  </a:lnTo>
                  <a:lnTo>
                    <a:pt x="2766" y="2628"/>
                  </a:lnTo>
                  <a:lnTo>
                    <a:pt x="2772" y="2634"/>
                  </a:lnTo>
                  <a:lnTo>
                    <a:pt x="2784" y="2640"/>
                  </a:lnTo>
                  <a:lnTo>
                    <a:pt x="2790" y="2652"/>
                  </a:lnTo>
                  <a:lnTo>
                    <a:pt x="2802" y="2658"/>
                  </a:lnTo>
                  <a:lnTo>
                    <a:pt x="2808" y="2664"/>
                  </a:lnTo>
                  <a:lnTo>
                    <a:pt x="2826" y="2664"/>
                  </a:lnTo>
                  <a:lnTo>
                    <a:pt x="2832" y="2640"/>
                  </a:lnTo>
                  <a:lnTo>
                    <a:pt x="2832" y="2634"/>
                  </a:lnTo>
                  <a:lnTo>
                    <a:pt x="2826" y="2628"/>
                  </a:lnTo>
                  <a:lnTo>
                    <a:pt x="2826" y="2586"/>
                  </a:lnTo>
                  <a:lnTo>
                    <a:pt x="2832" y="2568"/>
                  </a:lnTo>
                  <a:lnTo>
                    <a:pt x="2844" y="2556"/>
                  </a:lnTo>
                  <a:lnTo>
                    <a:pt x="2856" y="2550"/>
                  </a:lnTo>
                  <a:lnTo>
                    <a:pt x="2886" y="2550"/>
                  </a:lnTo>
                  <a:lnTo>
                    <a:pt x="2898" y="2544"/>
                  </a:lnTo>
                  <a:lnTo>
                    <a:pt x="2910" y="2544"/>
                  </a:lnTo>
                  <a:lnTo>
                    <a:pt x="2922" y="2538"/>
                  </a:lnTo>
                  <a:lnTo>
                    <a:pt x="2940" y="2538"/>
                  </a:lnTo>
                  <a:lnTo>
                    <a:pt x="2964" y="2532"/>
                  </a:lnTo>
                  <a:lnTo>
                    <a:pt x="2982" y="2526"/>
                  </a:lnTo>
                  <a:lnTo>
                    <a:pt x="3000" y="2508"/>
                  </a:lnTo>
                  <a:lnTo>
                    <a:pt x="3000" y="2466"/>
                  </a:lnTo>
                  <a:lnTo>
                    <a:pt x="3006" y="2454"/>
                  </a:lnTo>
                  <a:lnTo>
                    <a:pt x="3012" y="2448"/>
                  </a:lnTo>
                  <a:lnTo>
                    <a:pt x="3024" y="2460"/>
                  </a:lnTo>
                  <a:lnTo>
                    <a:pt x="3036" y="2484"/>
                  </a:lnTo>
                  <a:lnTo>
                    <a:pt x="3042" y="2490"/>
                  </a:lnTo>
                  <a:lnTo>
                    <a:pt x="3048" y="2490"/>
                  </a:lnTo>
                  <a:lnTo>
                    <a:pt x="3054" y="2484"/>
                  </a:lnTo>
                  <a:lnTo>
                    <a:pt x="3066" y="2478"/>
                  </a:lnTo>
                  <a:lnTo>
                    <a:pt x="3072" y="2466"/>
                  </a:lnTo>
                  <a:lnTo>
                    <a:pt x="3090" y="2448"/>
                  </a:lnTo>
                  <a:lnTo>
                    <a:pt x="3096" y="2436"/>
                  </a:lnTo>
                  <a:lnTo>
                    <a:pt x="3114" y="2454"/>
                  </a:lnTo>
                  <a:lnTo>
                    <a:pt x="3144" y="2442"/>
                  </a:lnTo>
                  <a:lnTo>
                    <a:pt x="3150" y="2442"/>
                  </a:lnTo>
                  <a:lnTo>
                    <a:pt x="3156" y="2448"/>
                  </a:lnTo>
                  <a:lnTo>
                    <a:pt x="3186" y="2448"/>
                  </a:lnTo>
                  <a:lnTo>
                    <a:pt x="3234" y="2424"/>
                  </a:lnTo>
                  <a:lnTo>
                    <a:pt x="3288" y="2370"/>
                  </a:lnTo>
                  <a:lnTo>
                    <a:pt x="3294" y="2358"/>
                  </a:lnTo>
                  <a:lnTo>
                    <a:pt x="3300" y="2352"/>
                  </a:lnTo>
                  <a:lnTo>
                    <a:pt x="3294" y="2340"/>
                  </a:lnTo>
                  <a:lnTo>
                    <a:pt x="3294" y="2334"/>
                  </a:lnTo>
                  <a:lnTo>
                    <a:pt x="3288" y="2322"/>
                  </a:lnTo>
                  <a:lnTo>
                    <a:pt x="3282" y="2316"/>
                  </a:lnTo>
                  <a:lnTo>
                    <a:pt x="3300" y="2316"/>
                  </a:lnTo>
                  <a:lnTo>
                    <a:pt x="3312" y="2286"/>
                  </a:lnTo>
                  <a:lnTo>
                    <a:pt x="3336" y="2286"/>
                  </a:lnTo>
                  <a:lnTo>
                    <a:pt x="3348" y="2250"/>
                  </a:lnTo>
                  <a:lnTo>
                    <a:pt x="3360" y="2250"/>
                  </a:lnTo>
                  <a:lnTo>
                    <a:pt x="3360" y="2208"/>
                  </a:lnTo>
                  <a:lnTo>
                    <a:pt x="3372" y="2208"/>
                  </a:lnTo>
                  <a:lnTo>
                    <a:pt x="3384" y="2196"/>
                  </a:lnTo>
                  <a:lnTo>
                    <a:pt x="3384" y="2172"/>
                  </a:lnTo>
                  <a:lnTo>
                    <a:pt x="3378" y="2160"/>
                  </a:lnTo>
                  <a:lnTo>
                    <a:pt x="3372" y="2154"/>
                  </a:lnTo>
                  <a:lnTo>
                    <a:pt x="3372" y="2142"/>
                  </a:lnTo>
                  <a:lnTo>
                    <a:pt x="3378" y="2136"/>
                  </a:lnTo>
                  <a:lnTo>
                    <a:pt x="3384" y="2136"/>
                  </a:lnTo>
                  <a:lnTo>
                    <a:pt x="3390" y="2130"/>
                  </a:lnTo>
                  <a:lnTo>
                    <a:pt x="3402" y="2124"/>
                  </a:lnTo>
                  <a:lnTo>
                    <a:pt x="3408" y="2118"/>
                  </a:lnTo>
                  <a:lnTo>
                    <a:pt x="3408" y="2094"/>
                  </a:lnTo>
                  <a:lnTo>
                    <a:pt x="3390" y="2076"/>
                  </a:lnTo>
                  <a:lnTo>
                    <a:pt x="3390" y="2064"/>
                  </a:lnTo>
                  <a:lnTo>
                    <a:pt x="3402" y="2058"/>
                  </a:lnTo>
                  <a:lnTo>
                    <a:pt x="3408" y="2052"/>
                  </a:lnTo>
                  <a:lnTo>
                    <a:pt x="3408" y="2016"/>
                  </a:lnTo>
                  <a:lnTo>
                    <a:pt x="3414" y="2016"/>
                  </a:lnTo>
                  <a:lnTo>
                    <a:pt x="3420" y="2010"/>
                  </a:lnTo>
                  <a:lnTo>
                    <a:pt x="3456" y="1992"/>
                  </a:lnTo>
                  <a:lnTo>
                    <a:pt x="3462" y="1980"/>
                  </a:lnTo>
                  <a:lnTo>
                    <a:pt x="3462" y="1962"/>
                  </a:lnTo>
                  <a:lnTo>
                    <a:pt x="3456" y="1956"/>
                  </a:lnTo>
                  <a:lnTo>
                    <a:pt x="3444" y="1956"/>
                  </a:lnTo>
                  <a:lnTo>
                    <a:pt x="3450" y="1956"/>
                  </a:lnTo>
                  <a:lnTo>
                    <a:pt x="3456" y="1950"/>
                  </a:lnTo>
                  <a:lnTo>
                    <a:pt x="3468" y="1950"/>
                  </a:lnTo>
                  <a:lnTo>
                    <a:pt x="3480" y="1944"/>
                  </a:lnTo>
                  <a:lnTo>
                    <a:pt x="3492" y="1932"/>
                  </a:lnTo>
                  <a:lnTo>
                    <a:pt x="3474" y="1914"/>
                  </a:lnTo>
                  <a:lnTo>
                    <a:pt x="3468" y="1914"/>
                  </a:lnTo>
                  <a:lnTo>
                    <a:pt x="3486" y="1896"/>
                  </a:lnTo>
                  <a:lnTo>
                    <a:pt x="3498" y="1872"/>
                  </a:lnTo>
                  <a:lnTo>
                    <a:pt x="3504" y="1866"/>
                  </a:lnTo>
                  <a:lnTo>
                    <a:pt x="3504" y="1854"/>
                  </a:lnTo>
                  <a:lnTo>
                    <a:pt x="3498" y="1848"/>
                  </a:lnTo>
                  <a:lnTo>
                    <a:pt x="3474" y="1842"/>
                  </a:lnTo>
                  <a:lnTo>
                    <a:pt x="3438" y="1848"/>
                  </a:lnTo>
                  <a:lnTo>
                    <a:pt x="3396" y="1854"/>
                  </a:lnTo>
                  <a:lnTo>
                    <a:pt x="3366" y="1860"/>
                  </a:lnTo>
                  <a:lnTo>
                    <a:pt x="3354" y="1866"/>
                  </a:lnTo>
                  <a:lnTo>
                    <a:pt x="3336" y="1848"/>
                  </a:lnTo>
                  <a:lnTo>
                    <a:pt x="3378" y="1848"/>
                  </a:lnTo>
                  <a:lnTo>
                    <a:pt x="3378" y="1836"/>
                  </a:lnTo>
                  <a:lnTo>
                    <a:pt x="3384" y="1824"/>
                  </a:lnTo>
                  <a:lnTo>
                    <a:pt x="3390" y="1818"/>
                  </a:lnTo>
                  <a:lnTo>
                    <a:pt x="3402" y="1812"/>
                  </a:lnTo>
                  <a:lnTo>
                    <a:pt x="3432" y="1812"/>
                  </a:lnTo>
                  <a:lnTo>
                    <a:pt x="3426" y="1800"/>
                  </a:lnTo>
                  <a:lnTo>
                    <a:pt x="3420" y="1794"/>
                  </a:lnTo>
                  <a:lnTo>
                    <a:pt x="3414" y="1782"/>
                  </a:lnTo>
                  <a:lnTo>
                    <a:pt x="3414" y="1776"/>
                  </a:lnTo>
                  <a:lnTo>
                    <a:pt x="3408" y="1770"/>
                  </a:lnTo>
                  <a:lnTo>
                    <a:pt x="3390" y="1770"/>
                  </a:lnTo>
                  <a:lnTo>
                    <a:pt x="3378" y="1764"/>
                  </a:lnTo>
                  <a:lnTo>
                    <a:pt x="3366" y="1764"/>
                  </a:lnTo>
                  <a:lnTo>
                    <a:pt x="3354" y="1746"/>
                  </a:lnTo>
                  <a:lnTo>
                    <a:pt x="3342" y="1746"/>
                  </a:lnTo>
                  <a:lnTo>
                    <a:pt x="3336" y="1734"/>
                  </a:lnTo>
                  <a:lnTo>
                    <a:pt x="3324" y="1728"/>
                  </a:lnTo>
                  <a:lnTo>
                    <a:pt x="3294" y="1728"/>
                  </a:lnTo>
                  <a:lnTo>
                    <a:pt x="3288" y="1734"/>
                  </a:lnTo>
                  <a:lnTo>
                    <a:pt x="3282" y="1734"/>
                  </a:lnTo>
                  <a:lnTo>
                    <a:pt x="3246" y="1686"/>
                  </a:lnTo>
                  <a:lnTo>
                    <a:pt x="3252" y="1698"/>
                  </a:lnTo>
                  <a:lnTo>
                    <a:pt x="3264" y="1704"/>
                  </a:lnTo>
                  <a:lnTo>
                    <a:pt x="3270" y="1710"/>
                  </a:lnTo>
                  <a:lnTo>
                    <a:pt x="3282" y="1716"/>
                  </a:lnTo>
                  <a:lnTo>
                    <a:pt x="3294" y="1716"/>
                  </a:lnTo>
                  <a:lnTo>
                    <a:pt x="3300" y="1710"/>
                  </a:lnTo>
                  <a:lnTo>
                    <a:pt x="3306" y="1710"/>
                  </a:lnTo>
                  <a:lnTo>
                    <a:pt x="3336" y="1716"/>
                  </a:lnTo>
                  <a:lnTo>
                    <a:pt x="3348" y="1734"/>
                  </a:lnTo>
                  <a:lnTo>
                    <a:pt x="3366" y="1728"/>
                  </a:lnTo>
                  <a:lnTo>
                    <a:pt x="3408" y="1740"/>
                  </a:lnTo>
                  <a:lnTo>
                    <a:pt x="3390" y="1716"/>
                  </a:lnTo>
                  <a:lnTo>
                    <a:pt x="3372" y="1710"/>
                  </a:lnTo>
                  <a:lnTo>
                    <a:pt x="3372" y="1692"/>
                  </a:lnTo>
                  <a:lnTo>
                    <a:pt x="3360" y="1680"/>
                  </a:lnTo>
                  <a:lnTo>
                    <a:pt x="3348" y="1674"/>
                  </a:lnTo>
                  <a:lnTo>
                    <a:pt x="3330" y="1674"/>
                  </a:lnTo>
                  <a:lnTo>
                    <a:pt x="3318" y="1662"/>
                  </a:lnTo>
                  <a:lnTo>
                    <a:pt x="3318" y="1650"/>
                  </a:lnTo>
                  <a:lnTo>
                    <a:pt x="3312" y="1644"/>
                  </a:lnTo>
                  <a:lnTo>
                    <a:pt x="3312" y="1632"/>
                  </a:lnTo>
                  <a:lnTo>
                    <a:pt x="3234" y="1530"/>
                  </a:lnTo>
                  <a:lnTo>
                    <a:pt x="3198" y="1524"/>
                  </a:lnTo>
                  <a:lnTo>
                    <a:pt x="3162" y="1494"/>
                  </a:lnTo>
                  <a:lnTo>
                    <a:pt x="3144" y="1500"/>
                  </a:lnTo>
                  <a:lnTo>
                    <a:pt x="3138" y="1488"/>
                  </a:lnTo>
                  <a:lnTo>
                    <a:pt x="3132" y="1482"/>
                  </a:lnTo>
                  <a:lnTo>
                    <a:pt x="3132" y="1470"/>
                  </a:lnTo>
                  <a:lnTo>
                    <a:pt x="3126" y="1464"/>
                  </a:lnTo>
                  <a:lnTo>
                    <a:pt x="3138" y="1452"/>
                  </a:lnTo>
                  <a:lnTo>
                    <a:pt x="3150" y="1446"/>
                  </a:lnTo>
                  <a:lnTo>
                    <a:pt x="3156" y="1434"/>
                  </a:lnTo>
                  <a:lnTo>
                    <a:pt x="3162" y="1428"/>
                  </a:lnTo>
                  <a:lnTo>
                    <a:pt x="3168" y="1416"/>
                  </a:lnTo>
                  <a:lnTo>
                    <a:pt x="3168" y="1410"/>
                  </a:lnTo>
                  <a:lnTo>
                    <a:pt x="3162" y="1398"/>
                  </a:lnTo>
                  <a:lnTo>
                    <a:pt x="3162" y="1392"/>
                  </a:lnTo>
                  <a:lnTo>
                    <a:pt x="3156" y="1380"/>
                  </a:lnTo>
                  <a:lnTo>
                    <a:pt x="3168" y="1386"/>
                  </a:lnTo>
                  <a:lnTo>
                    <a:pt x="3174" y="1392"/>
                  </a:lnTo>
                  <a:lnTo>
                    <a:pt x="3186" y="1398"/>
                  </a:lnTo>
                  <a:lnTo>
                    <a:pt x="3198" y="1386"/>
                  </a:lnTo>
                  <a:lnTo>
                    <a:pt x="3198" y="1368"/>
                  </a:lnTo>
                  <a:lnTo>
                    <a:pt x="3192" y="1356"/>
                  </a:lnTo>
                  <a:lnTo>
                    <a:pt x="3192" y="1344"/>
                  </a:lnTo>
                  <a:lnTo>
                    <a:pt x="3216" y="1344"/>
                  </a:lnTo>
                  <a:lnTo>
                    <a:pt x="3252" y="1320"/>
                  </a:lnTo>
                  <a:lnTo>
                    <a:pt x="3264" y="1320"/>
                  </a:lnTo>
                  <a:lnTo>
                    <a:pt x="3270" y="1326"/>
                  </a:lnTo>
                  <a:lnTo>
                    <a:pt x="3294" y="1326"/>
                  </a:lnTo>
                  <a:lnTo>
                    <a:pt x="3294" y="1320"/>
                  </a:lnTo>
                  <a:lnTo>
                    <a:pt x="3288" y="1314"/>
                  </a:lnTo>
                  <a:lnTo>
                    <a:pt x="3288" y="1308"/>
                  </a:lnTo>
                  <a:lnTo>
                    <a:pt x="3282" y="1302"/>
                  </a:lnTo>
                  <a:lnTo>
                    <a:pt x="3288" y="1278"/>
                  </a:lnTo>
                  <a:lnTo>
                    <a:pt x="3258" y="1278"/>
                  </a:lnTo>
                  <a:lnTo>
                    <a:pt x="3246" y="1266"/>
                  </a:lnTo>
                  <a:lnTo>
                    <a:pt x="3240" y="1278"/>
                  </a:lnTo>
                  <a:lnTo>
                    <a:pt x="3204" y="1278"/>
                  </a:lnTo>
                  <a:lnTo>
                    <a:pt x="3198" y="1272"/>
                  </a:lnTo>
                  <a:lnTo>
                    <a:pt x="3192" y="1260"/>
                  </a:lnTo>
                  <a:lnTo>
                    <a:pt x="3180" y="1254"/>
                  </a:lnTo>
                  <a:lnTo>
                    <a:pt x="3174" y="1248"/>
                  </a:lnTo>
                  <a:lnTo>
                    <a:pt x="3150" y="1248"/>
                  </a:lnTo>
                  <a:lnTo>
                    <a:pt x="3144" y="1260"/>
                  </a:lnTo>
                  <a:lnTo>
                    <a:pt x="3132" y="1266"/>
                  </a:lnTo>
                  <a:lnTo>
                    <a:pt x="3114" y="1284"/>
                  </a:lnTo>
                  <a:lnTo>
                    <a:pt x="3114" y="1296"/>
                  </a:lnTo>
                  <a:lnTo>
                    <a:pt x="3108" y="1302"/>
                  </a:lnTo>
                  <a:lnTo>
                    <a:pt x="3108" y="1308"/>
                  </a:lnTo>
                  <a:lnTo>
                    <a:pt x="3078" y="1308"/>
                  </a:lnTo>
                  <a:lnTo>
                    <a:pt x="3054" y="1296"/>
                  </a:lnTo>
                  <a:lnTo>
                    <a:pt x="3048" y="1290"/>
                  </a:lnTo>
                  <a:lnTo>
                    <a:pt x="3042" y="1278"/>
                  </a:lnTo>
                  <a:lnTo>
                    <a:pt x="3030" y="1242"/>
                  </a:lnTo>
                  <a:lnTo>
                    <a:pt x="3024" y="1230"/>
                  </a:lnTo>
                  <a:lnTo>
                    <a:pt x="3018" y="1224"/>
                  </a:lnTo>
                  <a:lnTo>
                    <a:pt x="3006" y="1224"/>
                  </a:lnTo>
                  <a:lnTo>
                    <a:pt x="3000" y="1230"/>
                  </a:lnTo>
                  <a:lnTo>
                    <a:pt x="3000" y="1242"/>
                  </a:lnTo>
                  <a:lnTo>
                    <a:pt x="2988" y="1224"/>
                  </a:lnTo>
                  <a:lnTo>
                    <a:pt x="2952" y="1224"/>
                  </a:lnTo>
                  <a:lnTo>
                    <a:pt x="2940" y="1218"/>
                  </a:lnTo>
                  <a:lnTo>
                    <a:pt x="2934" y="1212"/>
                  </a:lnTo>
                  <a:lnTo>
                    <a:pt x="2928" y="1200"/>
                  </a:lnTo>
                  <a:lnTo>
                    <a:pt x="2916" y="1194"/>
                  </a:lnTo>
                  <a:lnTo>
                    <a:pt x="2910" y="1182"/>
                  </a:lnTo>
                  <a:lnTo>
                    <a:pt x="2910" y="1140"/>
                  </a:lnTo>
                  <a:lnTo>
                    <a:pt x="2928" y="1140"/>
                  </a:lnTo>
                  <a:lnTo>
                    <a:pt x="2940" y="1152"/>
                  </a:lnTo>
                  <a:lnTo>
                    <a:pt x="2946" y="1152"/>
                  </a:lnTo>
                  <a:lnTo>
                    <a:pt x="2952" y="1146"/>
                  </a:lnTo>
                  <a:lnTo>
                    <a:pt x="2952" y="1140"/>
                  </a:lnTo>
                  <a:lnTo>
                    <a:pt x="2958" y="1134"/>
                  </a:lnTo>
                  <a:lnTo>
                    <a:pt x="2964" y="1134"/>
                  </a:lnTo>
                  <a:lnTo>
                    <a:pt x="2970" y="1140"/>
                  </a:lnTo>
                  <a:lnTo>
                    <a:pt x="2982" y="1140"/>
                  </a:lnTo>
                  <a:lnTo>
                    <a:pt x="2994" y="1134"/>
                  </a:lnTo>
                  <a:lnTo>
                    <a:pt x="3000" y="1128"/>
                  </a:lnTo>
                  <a:lnTo>
                    <a:pt x="3000" y="1116"/>
                  </a:lnTo>
                  <a:lnTo>
                    <a:pt x="2994" y="1110"/>
                  </a:lnTo>
                  <a:lnTo>
                    <a:pt x="2994" y="1086"/>
                  </a:lnTo>
                  <a:lnTo>
                    <a:pt x="3000" y="1074"/>
                  </a:lnTo>
                  <a:lnTo>
                    <a:pt x="3000" y="1068"/>
                  </a:lnTo>
                  <a:lnTo>
                    <a:pt x="3036" y="1068"/>
                  </a:lnTo>
                  <a:lnTo>
                    <a:pt x="3042" y="1062"/>
                  </a:lnTo>
                  <a:lnTo>
                    <a:pt x="3048" y="1050"/>
                  </a:lnTo>
                  <a:lnTo>
                    <a:pt x="3048" y="1038"/>
                  </a:lnTo>
                  <a:lnTo>
                    <a:pt x="3054" y="1032"/>
                  </a:lnTo>
                  <a:lnTo>
                    <a:pt x="3054" y="1026"/>
                  </a:lnTo>
                  <a:lnTo>
                    <a:pt x="3072" y="1014"/>
                  </a:lnTo>
                  <a:lnTo>
                    <a:pt x="3060" y="1002"/>
                  </a:lnTo>
                  <a:lnTo>
                    <a:pt x="3096" y="1014"/>
                  </a:lnTo>
                  <a:lnTo>
                    <a:pt x="3114" y="996"/>
                  </a:lnTo>
                  <a:lnTo>
                    <a:pt x="3126" y="1002"/>
                  </a:lnTo>
                  <a:lnTo>
                    <a:pt x="3132" y="1014"/>
                  </a:lnTo>
                  <a:lnTo>
                    <a:pt x="3144" y="1020"/>
                  </a:lnTo>
                  <a:lnTo>
                    <a:pt x="3156" y="1044"/>
                  </a:lnTo>
                  <a:lnTo>
                    <a:pt x="3156" y="1050"/>
                  </a:lnTo>
                  <a:lnTo>
                    <a:pt x="3144" y="1074"/>
                  </a:lnTo>
                  <a:lnTo>
                    <a:pt x="3126" y="1092"/>
                  </a:lnTo>
                  <a:lnTo>
                    <a:pt x="3126" y="1104"/>
                  </a:lnTo>
                  <a:lnTo>
                    <a:pt x="3132" y="1116"/>
                  </a:lnTo>
                  <a:lnTo>
                    <a:pt x="3144" y="1128"/>
                  </a:lnTo>
                  <a:lnTo>
                    <a:pt x="3150" y="1128"/>
                  </a:lnTo>
                  <a:lnTo>
                    <a:pt x="3162" y="1122"/>
                  </a:lnTo>
                  <a:lnTo>
                    <a:pt x="3168" y="1122"/>
                  </a:lnTo>
                  <a:lnTo>
                    <a:pt x="3162" y="1152"/>
                  </a:lnTo>
                  <a:lnTo>
                    <a:pt x="3144" y="1170"/>
                  </a:lnTo>
                  <a:lnTo>
                    <a:pt x="3144" y="1176"/>
                  </a:lnTo>
                  <a:lnTo>
                    <a:pt x="3150" y="1176"/>
                  </a:lnTo>
                  <a:lnTo>
                    <a:pt x="3162" y="1170"/>
                  </a:lnTo>
                  <a:lnTo>
                    <a:pt x="3168" y="1164"/>
                  </a:lnTo>
                  <a:lnTo>
                    <a:pt x="3180" y="1158"/>
                  </a:lnTo>
                  <a:lnTo>
                    <a:pt x="3186" y="1158"/>
                  </a:lnTo>
                  <a:lnTo>
                    <a:pt x="3198" y="1146"/>
                  </a:lnTo>
                  <a:lnTo>
                    <a:pt x="3198" y="1122"/>
                  </a:lnTo>
                  <a:lnTo>
                    <a:pt x="3204" y="1122"/>
                  </a:lnTo>
                  <a:lnTo>
                    <a:pt x="3210" y="1116"/>
                  </a:lnTo>
                  <a:lnTo>
                    <a:pt x="3258" y="1092"/>
                  </a:lnTo>
                  <a:lnTo>
                    <a:pt x="3264" y="1086"/>
                  </a:lnTo>
                  <a:lnTo>
                    <a:pt x="3306" y="1086"/>
                  </a:lnTo>
                  <a:lnTo>
                    <a:pt x="3312" y="1074"/>
                  </a:lnTo>
                  <a:lnTo>
                    <a:pt x="3312" y="1062"/>
                  </a:lnTo>
                  <a:lnTo>
                    <a:pt x="3318" y="1056"/>
                  </a:lnTo>
                  <a:lnTo>
                    <a:pt x="3324" y="1044"/>
                  </a:lnTo>
                  <a:lnTo>
                    <a:pt x="3360" y="1026"/>
                  </a:lnTo>
                  <a:lnTo>
                    <a:pt x="3372" y="1014"/>
                  </a:lnTo>
                  <a:lnTo>
                    <a:pt x="3390" y="978"/>
                  </a:lnTo>
                  <a:lnTo>
                    <a:pt x="3390" y="948"/>
                  </a:lnTo>
                  <a:lnTo>
                    <a:pt x="3396" y="942"/>
                  </a:lnTo>
                  <a:lnTo>
                    <a:pt x="3396" y="936"/>
                  </a:lnTo>
                  <a:lnTo>
                    <a:pt x="3408" y="936"/>
                  </a:lnTo>
                  <a:lnTo>
                    <a:pt x="3420" y="942"/>
                  </a:lnTo>
                  <a:lnTo>
                    <a:pt x="3432" y="954"/>
                  </a:lnTo>
                  <a:lnTo>
                    <a:pt x="3444" y="954"/>
                  </a:lnTo>
                  <a:lnTo>
                    <a:pt x="3456" y="960"/>
                  </a:lnTo>
                  <a:lnTo>
                    <a:pt x="3504" y="960"/>
                  </a:lnTo>
                  <a:lnTo>
                    <a:pt x="3504" y="948"/>
                  </a:lnTo>
                  <a:lnTo>
                    <a:pt x="3498" y="948"/>
                  </a:lnTo>
                  <a:lnTo>
                    <a:pt x="3474" y="924"/>
                  </a:lnTo>
                  <a:lnTo>
                    <a:pt x="3474" y="912"/>
                  </a:lnTo>
                  <a:lnTo>
                    <a:pt x="3480" y="906"/>
                  </a:lnTo>
                  <a:lnTo>
                    <a:pt x="3486" y="912"/>
                  </a:lnTo>
                  <a:lnTo>
                    <a:pt x="3510" y="912"/>
                  </a:lnTo>
                  <a:lnTo>
                    <a:pt x="3522" y="918"/>
                  </a:lnTo>
                  <a:lnTo>
                    <a:pt x="3534" y="912"/>
                  </a:lnTo>
                  <a:lnTo>
                    <a:pt x="3540" y="900"/>
                  </a:lnTo>
                  <a:lnTo>
                    <a:pt x="3540" y="894"/>
                  </a:lnTo>
                  <a:lnTo>
                    <a:pt x="3534" y="882"/>
                  </a:lnTo>
                  <a:lnTo>
                    <a:pt x="3558" y="882"/>
                  </a:lnTo>
                  <a:lnTo>
                    <a:pt x="3558" y="864"/>
                  </a:lnTo>
                  <a:lnTo>
                    <a:pt x="3552" y="852"/>
                  </a:lnTo>
                  <a:lnTo>
                    <a:pt x="3546" y="846"/>
                  </a:lnTo>
                  <a:lnTo>
                    <a:pt x="3546" y="840"/>
                  </a:lnTo>
                  <a:lnTo>
                    <a:pt x="3576" y="840"/>
                  </a:lnTo>
                  <a:lnTo>
                    <a:pt x="3594" y="864"/>
                  </a:lnTo>
                  <a:lnTo>
                    <a:pt x="3600" y="840"/>
                  </a:lnTo>
                  <a:lnTo>
                    <a:pt x="3630" y="846"/>
                  </a:lnTo>
                  <a:lnTo>
                    <a:pt x="3624" y="810"/>
                  </a:lnTo>
                  <a:lnTo>
                    <a:pt x="3618" y="798"/>
                  </a:lnTo>
                  <a:lnTo>
                    <a:pt x="3606" y="786"/>
                  </a:lnTo>
                  <a:lnTo>
                    <a:pt x="3606" y="774"/>
                  </a:lnTo>
                  <a:lnTo>
                    <a:pt x="3600" y="756"/>
                  </a:lnTo>
                  <a:lnTo>
                    <a:pt x="3588" y="744"/>
                  </a:lnTo>
                  <a:lnTo>
                    <a:pt x="3576" y="726"/>
                  </a:lnTo>
                  <a:lnTo>
                    <a:pt x="3564" y="720"/>
                  </a:lnTo>
                  <a:lnTo>
                    <a:pt x="3552" y="708"/>
                  </a:lnTo>
                  <a:lnTo>
                    <a:pt x="3546" y="708"/>
                  </a:lnTo>
                  <a:lnTo>
                    <a:pt x="3540" y="696"/>
                  </a:lnTo>
                  <a:lnTo>
                    <a:pt x="3540" y="684"/>
                  </a:lnTo>
                  <a:lnTo>
                    <a:pt x="3564" y="684"/>
                  </a:lnTo>
                  <a:lnTo>
                    <a:pt x="3564" y="672"/>
                  </a:lnTo>
                  <a:lnTo>
                    <a:pt x="3558" y="666"/>
                  </a:lnTo>
                  <a:lnTo>
                    <a:pt x="3564" y="660"/>
                  </a:lnTo>
                  <a:lnTo>
                    <a:pt x="3588" y="660"/>
                  </a:lnTo>
                  <a:lnTo>
                    <a:pt x="3600" y="666"/>
                  </a:lnTo>
                  <a:lnTo>
                    <a:pt x="3618" y="672"/>
                  </a:lnTo>
                  <a:lnTo>
                    <a:pt x="3630" y="672"/>
                  </a:lnTo>
                  <a:lnTo>
                    <a:pt x="3642" y="678"/>
                  </a:lnTo>
                  <a:lnTo>
                    <a:pt x="3648" y="678"/>
                  </a:lnTo>
                  <a:lnTo>
                    <a:pt x="3654" y="672"/>
                  </a:lnTo>
                  <a:lnTo>
                    <a:pt x="3654" y="660"/>
                  </a:lnTo>
                  <a:lnTo>
                    <a:pt x="3648" y="648"/>
                  </a:lnTo>
                  <a:lnTo>
                    <a:pt x="3648" y="630"/>
                  </a:lnTo>
                  <a:lnTo>
                    <a:pt x="3654" y="630"/>
                  </a:lnTo>
                  <a:lnTo>
                    <a:pt x="3660" y="624"/>
                  </a:lnTo>
                  <a:close/>
                </a:path>
              </a:pathLst>
            </a:custGeom>
            <a:solidFill>
              <a:schemeClr val="accent2"/>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78" name="Chile" descr="© INSCALE GmbH, 05.05.2010&#10;http://www.presentationload.com/">
              <a:extLst>
                <a:ext uri="{FF2B5EF4-FFF2-40B4-BE49-F238E27FC236}">
                  <a16:creationId xmlns:a16="http://schemas.microsoft.com/office/drawing/2014/main" id="{CFAFC88D-9735-4130-8392-5460E3113D0D}"/>
                </a:ext>
              </a:extLst>
            </p:cNvPr>
            <p:cNvSpPr>
              <a:spLocks noEditPoints="1"/>
            </p:cNvSpPr>
            <p:nvPr/>
          </p:nvSpPr>
          <p:spPr bwMode="gray">
            <a:xfrm>
              <a:off x="2169331" y="4817118"/>
              <a:ext cx="459430" cy="1204242"/>
            </a:xfrm>
            <a:custGeom>
              <a:avLst/>
              <a:gdLst>
                <a:gd name="T0" fmla="*/ 2147483647 w 1158"/>
                <a:gd name="T1" fmla="*/ 2147483647 h 3030"/>
                <a:gd name="T2" fmla="*/ 2147483647 w 1158"/>
                <a:gd name="T3" fmla="*/ 2147483647 h 3030"/>
                <a:gd name="T4" fmla="*/ 2147483647 w 1158"/>
                <a:gd name="T5" fmla="*/ 2147483647 h 3030"/>
                <a:gd name="T6" fmla="*/ 2147483647 w 1158"/>
                <a:gd name="T7" fmla="*/ 2147483647 h 3030"/>
                <a:gd name="T8" fmla="*/ 2147483647 w 1158"/>
                <a:gd name="T9" fmla="*/ 2147483647 h 3030"/>
                <a:gd name="T10" fmla="*/ 2147483647 w 1158"/>
                <a:gd name="T11" fmla="*/ 2147483647 h 3030"/>
                <a:gd name="T12" fmla="*/ 2147483647 w 1158"/>
                <a:gd name="T13" fmla="*/ 2147483647 h 3030"/>
                <a:gd name="T14" fmla="*/ 2147483647 w 1158"/>
                <a:gd name="T15" fmla="*/ 2147483647 h 3030"/>
                <a:gd name="T16" fmla="*/ 2147483647 w 1158"/>
                <a:gd name="T17" fmla="*/ 2147483647 h 3030"/>
                <a:gd name="T18" fmla="*/ 2147483647 w 1158"/>
                <a:gd name="T19" fmla="*/ 2147483647 h 3030"/>
                <a:gd name="T20" fmla="*/ 2147483647 w 1158"/>
                <a:gd name="T21" fmla="*/ 2147483647 h 3030"/>
                <a:gd name="T22" fmla="*/ 2147483647 w 1158"/>
                <a:gd name="T23" fmla="*/ 2147483647 h 3030"/>
                <a:gd name="T24" fmla="*/ 2147483647 w 1158"/>
                <a:gd name="T25" fmla="*/ 2147483647 h 3030"/>
                <a:gd name="T26" fmla="*/ 2147483647 w 1158"/>
                <a:gd name="T27" fmla="*/ 2147483647 h 3030"/>
                <a:gd name="T28" fmla="*/ 2147483647 w 1158"/>
                <a:gd name="T29" fmla="*/ 2147483647 h 3030"/>
                <a:gd name="T30" fmla="*/ 2147483647 w 1158"/>
                <a:gd name="T31" fmla="*/ 2147483647 h 3030"/>
                <a:gd name="T32" fmla="*/ 2147483647 w 1158"/>
                <a:gd name="T33" fmla="*/ 2147483647 h 3030"/>
                <a:gd name="T34" fmla="*/ 2147483647 w 1158"/>
                <a:gd name="T35" fmla="*/ 2147483647 h 3030"/>
                <a:gd name="T36" fmla="*/ 2147483647 w 1158"/>
                <a:gd name="T37" fmla="*/ 2147483647 h 3030"/>
                <a:gd name="T38" fmla="*/ 2147483647 w 1158"/>
                <a:gd name="T39" fmla="*/ 2147483647 h 3030"/>
                <a:gd name="T40" fmla="*/ 2147483647 w 1158"/>
                <a:gd name="T41" fmla="*/ 2147483647 h 3030"/>
                <a:gd name="T42" fmla="*/ 2147483647 w 1158"/>
                <a:gd name="T43" fmla="*/ 2147483647 h 3030"/>
                <a:gd name="T44" fmla="*/ 2147483647 w 1158"/>
                <a:gd name="T45" fmla="*/ 2147483647 h 3030"/>
                <a:gd name="T46" fmla="*/ 2147483647 w 1158"/>
                <a:gd name="T47" fmla="*/ 2147483647 h 3030"/>
                <a:gd name="T48" fmla="*/ 2147483647 w 1158"/>
                <a:gd name="T49" fmla="*/ 2147483647 h 3030"/>
                <a:gd name="T50" fmla="*/ 2147483647 w 1158"/>
                <a:gd name="T51" fmla="*/ 2147483647 h 3030"/>
                <a:gd name="T52" fmla="*/ 2147483647 w 1158"/>
                <a:gd name="T53" fmla="*/ 2147483647 h 3030"/>
                <a:gd name="T54" fmla="*/ 2147483647 w 1158"/>
                <a:gd name="T55" fmla="*/ 2147483647 h 3030"/>
                <a:gd name="T56" fmla="*/ 2147483647 w 1158"/>
                <a:gd name="T57" fmla="*/ 2147483647 h 3030"/>
                <a:gd name="T58" fmla="*/ 2147483647 w 1158"/>
                <a:gd name="T59" fmla="*/ 2147483647 h 3030"/>
                <a:gd name="T60" fmla="*/ 2147483647 w 1158"/>
                <a:gd name="T61" fmla="*/ 2147483647 h 3030"/>
                <a:gd name="T62" fmla="*/ 2147483647 w 1158"/>
                <a:gd name="T63" fmla="*/ 2147483647 h 3030"/>
                <a:gd name="T64" fmla="*/ 2147483647 w 1158"/>
                <a:gd name="T65" fmla="*/ 2147483647 h 3030"/>
                <a:gd name="T66" fmla="*/ 2147483647 w 1158"/>
                <a:gd name="T67" fmla="*/ 2147483647 h 3030"/>
                <a:gd name="T68" fmla="*/ 2147483647 w 1158"/>
                <a:gd name="T69" fmla="*/ 2147483647 h 3030"/>
                <a:gd name="T70" fmla="*/ 2147483647 w 1158"/>
                <a:gd name="T71" fmla="*/ 2147483647 h 3030"/>
                <a:gd name="T72" fmla="*/ 2147483647 w 1158"/>
                <a:gd name="T73" fmla="*/ 2147483647 h 3030"/>
                <a:gd name="T74" fmla="*/ 2147483647 w 1158"/>
                <a:gd name="T75" fmla="*/ 2147483647 h 3030"/>
                <a:gd name="T76" fmla="*/ 2147483647 w 1158"/>
                <a:gd name="T77" fmla="*/ 2147483647 h 3030"/>
                <a:gd name="T78" fmla="*/ 0 w 1158"/>
                <a:gd name="T79" fmla="*/ 2147483647 h 3030"/>
                <a:gd name="T80" fmla="*/ 2147483647 w 1158"/>
                <a:gd name="T81" fmla="*/ 2147483647 h 3030"/>
                <a:gd name="T82" fmla="*/ 2147483647 w 1158"/>
                <a:gd name="T83" fmla="*/ 2147483647 h 3030"/>
                <a:gd name="T84" fmla="*/ 2147483647 w 1158"/>
                <a:gd name="T85" fmla="*/ 2147483647 h 3030"/>
                <a:gd name="T86" fmla="*/ 2147483647 w 1158"/>
                <a:gd name="T87" fmla="*/ 2147483647 h 3030"/>
                <a:gd name="T88" fmla="*/ 2147483647 w 1158"/>
                <a:gd name="T89" fmla="*/ 2147483647 h 3030"/>
                <a:gd name="T90" fmla="*/ 2147483647 w 1158"/>
                <a:gd name="T91" fmla="*/ 2147483647 h 3030"/>
                <a:gd name="T92" fmla="*/ 2147483647 w 1158"/>
                <a:gd name="T93" fmla="*/ 2147483647 h 3030"/>
                <a:gd name="T94" fmla="*/ 2147483647 w 1158"/>
                <a:gd name="T95" fmla="*/ 2147483647 h 3030"/>
                <a:gd name="T96" fmla="*/ 2147483647 w 1158"/>
                <a:gd name="T97" fmla="*/ 2147483647 h 3030"/>
                <a:gd name="T98" fmla="*/ 2147483647 w 1158"/>
                <a:gd name="T99" fmla="*/ 2147483647 h 3030"/>
                <a:gd name="T100" fmla="*/ 2147483647 w 1158"/>
                <a:gd name="T101" fmla="*/ 2147483647 h 3030"/>
                <a:gd name="T102" fmla="*/ 2147483647 w 1158"/>
                <a:gd name="T103" fmla="*/ 2147483647 h 3030"/>
                <a:gd name="T104" fmla="*/ 2147483647 w 1158"/>
                <a:gd name="T105" fmla="*/ 2147483647 h 3030"/>
                <a:gd name="T106" fmla="*/ 2147483647 w 1158"/>
                <a:gd name="T107" fmla="*/ 2147483647 h 3030"/>
                <a:gd name="T108" fmla="*/ 2147483647 w 1158"/>
                <a:gd name="T109" fmla="*/ 2147483647 h 3030"/>
                <a:gd name="T110" fmla="*/ 2147483647 w 1158"/>
                <a:gd name="T111" fmla="*/ 2147483647 h 3030"/>
                <a:gd name="T112" fmla="*/ 2147483647 w 1158"/>
                <a:gd name="T113" fmla="*/ 2147483647 h 3030"/>
                <a:gd name="T114" fmla="*/ 2147483647 w 1158"/>
                <a:gd name="T115" fmla="*/ 2147483647 h 3030"/>
                <a:gd name="T116" fmla="*/ 2147483647 w 1158"/>
                <a:gd name="T117" fmla="*/ 2147483647 h 3030"/>
                <a:gd name="T118" fmla="*/ 2147483647 w 1158"/>
                <a:gd name="T119" fmla="*/ 2147483647 h 3030"/>
                <a:gd name="T120" fmla="*/ 2147483647 w 1158"/>
                <a:gd name="T121" fmla="*/ 2147483647 h 3030"/>
                <a:gd name="T122" fmla="*/ 2147483647 w 1158"/>
                <a:gd name="T123" fmla="*/ 2147483647 h 30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58"/>
                <a:gd name="T187" fmla="*/ 0 h 3030"/>
                <a:gd name="T188" fmla="*/ 1158 w 1158"/>
                <a:gd name="T189" fmla="*/ 3030 h 303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58" h="3030">
                  <a:moveTo>
                    <a:pt x="1014" y="2910"/>
                  </a:moveTo>
                  <a:lnTo>
                    <a:pt x="984" y="2898"/>
                  </a:lnTo>
                  <a:lnTo>
                    <a:pt x="966" y="2880"/>
                  </a:lnTo>
                  <a:lnTo>
                    <a:pt x="948" y="2874"/>
                  </a:lnTo>
                  <a:lnTo>
                    <a:pt x="942" y="2862"/>
                  </a:lnTo>
                  <a:lnTo>
                    <a:pt x="936" y="2856"/>
                  </a:lnTo>
                  <a:lnTo>
                    <a:pt x="936" y="2850"/>
                  </a:lnTo>
                  <a:lnTo>
                    <a:pt x="906" y="2850"/>
                  </a:lnTo>
                  <a:lnTo>
                    <a:pt x="912" y="2832"/>
                  </a:lnTo>
                  <a:lnTo>
                    <a:pt x="870" y="2796"/>
                  </a:lnTo>
                  <a:lnTo>
                    <a:pt x="840" y="2802"/>
                  </a:lnTo>
                  <a:lnTo>
                    <a:pt x="828" y="2796"/>
                  </a:lnTo>
                  <a:lnTo>
                    <a:pt x="816" y="2808"/>
                  </a:lnTo>
                  <a:lnTo>
                    <a:pt x="792" y="2814"/>
                  </a:lnTo>
                  <a:lnTo>
                    <a:pt x="798" y="2832"/>
                  </a:lnTo>
                  <a:lnTo>
                    <a:pt x="780" y="2832"/>
                  </a:lnTo>
                  <a:lnTo>
                    <a:pt x="780" y="2862"/>
                  </a:lnTo>
                  <a:lnTo>
                    <a:pt x="786" y="2868"/>
                  </a:lnTo>
                  <a:lnTo>
                    <a:pt x="798" y="2868"/>
                  </a:lnTo>
                  <a:lnTo>
                    <a:pt x="810" y="2862"/>
                  </a:lnTo>
                  <a:lnTo>
                    <a:pt x="816" y="2856"/>
                  </a:lnTo>
                  <a:lnTo>
                    <a:pt x="828" y="2850"/>
                  </a:lnTo>
                  <a:lnTo>
                    <a:pt x="834" y="2844"/>
                  </a:lnTo>
                  <a:lnTo>
                    <a:pt x="858" y="2856"/>
                  </a:lnTo>
                  <a:lnTo>
                    <a:pt x="858" y="2874"/>
                  </a:lnTo>
                  <a:lnTo>
                    <a:pt x="846" y="2880"/>
                  </a:lnTo>
                  <a:lnTo>
                    <a:pt x="828" y="2898"/>
                  </a:lnTo>
                  <a:lnTo>
                    <a:pt x="822" y="2898"/>
                  </a:lnTo>
                  <a:lnTo>
                    <a:pt x="828" y="2904"/>
                  </a:lnTo>
                  <a:lnTo>
                    <a:pt x="882" y="2922"/>
                  </a:lnTo>
                  <a:lnTo>
                    <a:pt x="912" y="2928"/>
                  </a:lnTo>
                  <a:lnTo>
                    <a:pt x="924" y="2934"/>
                  </a:lnTo>
                  <a:lnTo>
                    <a:pt x="906" y="2958"/>
                  </a:lnTo>
                  <a:lnTo>
                    <a:pt x="906" y="2952"/>
                  </a:lnTo>
                  <a:lnTo>
                    <a:pt x="894" y="2940"/>
                  </a:lnTo>
                  <a:lnTo>
                    <a:pt x="876" y="2940"/>
                  </a:lnTo>
                  <a:lnTo>
                    <a:pt x="870" y="2946"/>
                  </a:lnTo>
                  <a:lnTo>
                    <a:pt x="870" y="2952"/>
                  </a:lnTo>
                  <a:lnTo>
                    <a:pt x="852" y="2928"/>
                  </a:lnTo>
                  <a:lnTo>
                    <a:pt x="834" y="2934"/>
                  </a:lnTo>
                  <a:lnTo>
                    <a:pt x="846" y="2946"/>
                  </a:lnTo>
                  <a:lnTo>
                    <a:pt x="816" y="2940"/>
                  </a:lnTo>
                  <a:lnTo>
                    <a:pt x="822" y="2946"/>
                  </a:lnTo>
                  <a:lnTo>
                    <a:pt x="828" y="2958"/>
                  </a:lnTo>
                  <a:lnTo>
                    <a:pt x="834" y="2964"/>
                  </a:lnTo>
                  <a:lnTo>
                    <a:pt x="894" y="2964"/>
                  </a:lnTo>
                  <a:lnTo>
                    <a:pt x="906" y="2970"/>
                  </a:lnTo>
                  <a:lnTo>
                    <a:pt x="1050" y="2970"/>
                  </a:lnTo>
                  <a:lnTo>
                    <a:pt x="1074" y="2982"/>
                  </a:lnTo>
                  <a:lnTo>
                    <a:pt x="1080" y="2988"/>
                  </a:lnTo>
                  <a:lnTo>
                    <a:pt x="1086" y="2988"/>
                  </a:lnTo>
                  <a:lnTo>
                    <a:pt x="1122" y="2970"/>
                  </a:lnTo>
                  <a:lnTo>
                    <a:pt x="1140" y="2976"/>
                  </a:lnTo>
                  <a:lnTo>
                    <a:pt x="1152" y="2976"/>
                  </a:lnTo>
                  <a:lnTo>
                    <a:pt x="1158" y="2952"/>
                  </a:lnTo>
                  <a:lnTo>
                    <a:pt x="1140" y="2952"/>
                  </a:lnTo>
                  <a:lnTo>
                    <a:pt x="1086" y="2940"/>
                  </a:lnTo>
                  <a:lnTo>
                    <a:pt x="1014" y="2910"/>
                  </a:lnTo>
                  <a:close/>
                  <a:moveTo>
                    <a:pt x="990" y="2988"/>
                  </a:moveTo>
                  <a:lnTo>
                    <a:pt x="1014" y="3000"/>
                  </a:lnTo>
                  <a:lnTo>
                    <a:pt x="1068" y="3006"/>
                  </a:lnTo>
                  <a:lnTo>
                    <a:pt x="1038" y="2982"/>
                  </a:lnTo>
                  <a:lnTo>
                    <a:pt x="990" y="2988"/>
                  </a:lnTo>
                  <a:close/>
                  <a:moveTo>
                    <a:pt x="960" y="2994"/>
                  </a:moveTo>
                  <a:lnTo>
                    <a:pt x="966" y="2982"/>
                  </a:lnTo>
                  <a:lnTo>
                    <a:pt x="888" y="2982"/>
                  </a:lnTo>
                  <a:lnTo>
                    <a:pt x="906" y="3012"/>
                  </a:lnTo>
                  <a:lnTo>
                    <a:pt x="936" y="3018"/>
                  </a:lnTo>
                  <a:lnTo>
                    <a:pt x="930" y="3006"/>
                  </a:lnTo>
                  <a:lnTo>
                    <a:pt x="936" y="3000"/>
                  </a:lnTo>
                  <a:lnTo>
                    <a:pt x="948" y="3012"/>
                  </a:lnTo>
                  <a:lnTo>
                    <a:pt x="996" y="3012"/>
                  </a:lnTo>
                  <a:lnTo>
                    <a:pt x="1008" y="3030"/>
                  </a:lnTo>
                  <a:lnTo>
                    <a:pt x="1026" y="3030"/>
                  </a:lnTo>
                  <a:lnTo>
                    <a:pt x="996" y="3000"/>
                  </a:lnTo>
                  <a:lnTo>
                    <a:pt x="960" y="2994"/>
                  </a:lnTo>
                  <a:close/>
                  <a:moveTo>
                    <a:pt x="804" y="2946"/>
                  </a:moveTo>
                  <a:lnTo>
                    <a:pt x="744" y="2940"/>
                  </a:lnTo>
                  <a:lnTo>
                    <a:pt x="750" y="2958"/>
                  </a:lnTo>
                  <a:lnTo>
                    <a:pt x="792" y="2958"/>
                  </a:lnTo>
                  <a:lnTo>
                    <a:pt x="804" y="2976"/>
                  </a:lnTo>
                  <a:lnTo>
                    <a:pt x="864" y="3000"/>
                  </a:lnTo>
                  <a:lnTo>
                    <a:pt x="828" y="2970"/>
                  </a:lnTo>
                  <a:lnTo>
                    <a:pt x="804" y="2946"/>
                  </a:lnTo>
                  <a:close/>
                  <a:moveTo>
                    <a:pt x="804" y="2880"/>
                  </a:moveTo>
                  <a:lnTo>
                    <a:pt x="786" y="2898"/>
                  </a:lnTo>
                  <a:lnTo>
                    <a:pt x="792" y="2928"/>
                  </a:lnTo>
                  <a:lnTo>
                    <a:pt x="816" y="2922"/>
                  </a:lnTo>
                  <a:lnTo>
                    <a:pt x="804" y="2880"/>
                  </a:lnTo>
                  <a:close/>
                  <a:moveTo>
                    <a:pt x="774" y="2928"/>
                  </a:moveTo>
                  <a:lnTo>
                    <a:pt x="768" y="2910"/>
                  </a:lnTo>
                  <a:lnTo>
                    <a:pt x="720" y="2898"/>
                  </a:lnTo>
                  <a:lnTo>
                    <a:pt x="708" y="2916"/>
                  </a:lnTo>
                  <a:lnTo>
                    <a:pt x="708" y="2934"/>
                  </a:lnTo>
                  <a:lnTo>
                    <a:pt x="744" y="2922"/>
                  </a:lnTo>
                  <a:lnTo>
                    <a:pt x="774" y="2928"/>
                  </a:lnTo>
                  <a:close/>
                  <a:moveTo>
                    <a:pt x="612" y="2772"/>
                  </a:moveTo>
                  <a:lnTo>
                    <a:pt x="606" y="2766"/>
                  </a:lnTo>
                  <a:lnTo>
                    <a:pt x="594" y="2766"/>
                  </a:lnTo>
                  <a:lnTo>
                    <a:pt x="588" y="2760"/>
                  </a:lnTo>
                  <a:lnTo>
                    <a:pt x="570" y="2760"/>
                  </a:lnTo>
                  <a:lnTo>
                    <a:pt x="570" y="2766"/>
                  </a:lnTo>
                  <a:lnTo>
                    <a:pt x="564" y="2778"/>
                  </a:lnTo>
                  <a:lnTo>
                    <a:pt x="564" y="2808"/>
                  </a:lnTo>
                  <a:lnTo>
                    <a:pt x="570" y="2808"/>
                  </a:lnTo>
                  <a:lnTo>
                    <a:pt x="576" y="2802"/>
                  </a:lnTo>
                  <a:lnTo>
                    <a:pt x="588" y="2802"/>
                  </a:lnTo>
                  <a:lnTo>
                    <a:pt x="594" y="2796"/>
                  </a:lnTo>
                  <a:lnTo>
                    <a:pt x="600" y="2820"/>
                  </a:lnTo>
                  <a:lnTo>
                    <a:pt x="630" y="2808"/>
                  </a:lnTo>
                  <a:lnTo>
                    <a:pt x="612" y="2790"/>
                  </a:lnTo>
                  <a:lnTo>
                    <a:pt x="618" y="2772"/>
                  </a:lnTo>
                  <a:lnTo>
                    <a:pt x="612" y="2772"/>
                  </a:lnTo>
                  <a:close/>
                  <a:moveTo>
                    <a:pt x="552" y="2826"/>
                  </a:moveTo>
                  <a:lnTo>
                    <a:pt x="516" y="2808"/>
                  </a:lnTo>
                  <a:lnTo>
                    <a:pt x="546" y="2832"/>
                  </a:lnTo>
                  <a:lnTo>
                    <a:pt x="588" y="2844"/>
                  </a:lnTo>
                  <a:lnTo>
                    <a:pt x="606" y="2850"/>
                  </a:lnTo>
                  <a:lnTo>
                    <a:pt x="588" y="2832"/>
                  </a:lnTo>
                  <a:lnTo>
                    <a:pt x="552" y="2826"/>
                  </a:lnTo>
                  <a:close/>
                  <a:moveTo>
                    <a:pt x="552" y="2748"/>
                  </a:moveTo>
                  <a:lnTo>
                    <a:pt x="534" y="2730"/>
                  </a:lnTo>
                  <a:lnTo>
                    <a:pt x="528" y="2766"/>
                  </a:lnTo>
                  <a:lnTo>
                    <a:pt x="504" y="2772"/>
                  </a:lnTo>
                  <a:lnTo>
                    <a:pt x="546" y="2784"/>
                  </a:lnTo>
                  <a:lnTo>
                    <a:pt x="552" y="2748"/>
                  </a:lnTo>
                  <a:close/>
                  <a:moveTo>
                    <a:pt x="444" y="2736"/>
                  </a:moveTo>
                  <a:lnTo>
                    <a:pt x="480" y="2772"/>
                  </a:lnTo>
                  <a:lnTo>
                    <a:pt x="492" y="2760"/>
                  </a:lnTo>
                  <a:lnTo>
                    <a:pt x="462" y="2724"/>
                  </a:lnTo>
                  <a:lnTo>
                    <a:pt x="444" y="2736"/>
                  </a:lnTo>
                  <a:close/>
                  <a:moveTo>
                    <a:pt x="516" y="2724"/>
                  </a:moveTo>
                  <a:lnTo>
                    <a:pt x="504" y="2718"/>
                  </a:lnTo>
                  <a:lnTo>
                    <a:pt x="492" y="2730"/>
                  </a:lnTo>
                  <a:lnTo>
                    <a:pt x="504" y="2748"/>
                  </a:lnTo>
                  <a:lnTo>
                    <a:pt x="516" y="2724"/>
                  </a:lnTo>
                  <a:close/>
                  <a:moveTo>
                    <a:pt x="456" y="2706"/>
                  </a:moveTo>
                  <a:lnTo>
                    <a:pt x="462" y="2676"/>
                  </a:lnTo>
                  <a:lnTo>
                    <a:pt x="456" y="2640"/>
                  </a:lnTo>
                  <a:lnTo>
                    <a:pt x="438" y="2634"/>
                  </a:lnTo>
                  <a:lnTo>
                    <a:pt x="438" y="2652"/>
                  </a:lnTo>
                  <a:lnTo>
                    <a:pt x="408" y="2646"/>
                  </a:lnTo>
                  <a:lnTo>
                    <a:pt x="432" y="2682"/>
                  </a:lnTo>
                  <a:lnTo>
                    <a:pt x="426" y="2724"/>
                  </a:lnTo>
                  <a:lnTo>
                    <a:pt x="456" y="2706"/>
                  </a:lnTo>
                  <a:close/>
                  <a:moveTo>
                    <a:pt x="366" y="2622"/>
                  </a:moveTo>
                  <a:lnTo>
                    <a:pt x="384" y="2628"/>
                  </a:lnTo>
                  <a:lnTo>
                    <a:pt x="390" y="2658"/>
                  </a:lnTo>
                  <a:lnTo>
                    <a:pt x="396" y="2628"/>
                  </a:lnTo>
                  <a:lnTo>
                    <a:pt x="402" y="2604"/>
                  </a:lnTo>
                  <a:lnTo>
                    <a:pt x="372" y="2598"/>
                  </a:lnTo>
                  <a:lnTo>
                    <a:pt x="366" y="2622"/>
                  </a:lnTo>
                  <a:close/>
                  <a:moveTo>
                    <a:pt x="372" y="2586"/>
                  </a:moveTo>
                  <a:lnTo>
                    <a:pt x="378" y="2586"/>
                  </a:lnTo>
                  <a:lnTo>
                    <a:pt x="378" y="2580"/>
                  </a:lnTo>
                  <a:lnTo>
                    <a:pt x="384" y="2574"/>
                  </a:lnTo>
                  <a:lnTo>
                    <a:pt x="414" y="2598"/>
                  </a:lnTo>
                  <a:lnTo>
                    <a:pt x="414" y="2574"/>
                  </a:lnTo>
                  <a:lnTo>
                    <a:pt x="384" y="2544"/>
                  </a:lnTo>
                  <a:lnTo>
                    <a:pt x="378" y="2532"/>
                  </a:lnTo>
                  <a:lnTo>
                    <a:pt x="372" y="2526"/>
                  </a:lnTo>
                  <a:lnTo>
                    <a:pt x="360" y="2502"/>
                  </a:lnTo>
                  <a:lnTo>
                    <a:pt x="360" y="2490"/>
                  </a:lnTo>
                  <a:lnTo>
                    <a:pt x="342" y="2454"/>
                  </a:lnTo>
                  <a:lnTo>
                    <a:pt x="330" y="2448"/>
                  </a:lnTo>
                  <a:lnTo>
                    <a:pt x="324" y="2442"/>
                  </a:lnTo>
                  <a:lnTo>
                    <a:pt x="318" y="2442"/>
                  </a:lnTo>
                  <a:lnTo>
                    <a:pt x="312" y="2448"/>
                  </a:lnTo>
                  <a:lnTo>
                    <a:pt x="312" y="2454"/>
                  </a:lnTo>
                  <a:lnTo>
                    <a:pt x="294" y="2448"/>
                  </a:lnTo>
                  <a:lnTo>
                    <a:pt x="288" y="2454"/>
                  </a:lnTo>
                  <a:lnTo>
                    <a:pt x="288" y="2466"/>
                  </a:lnTo>
                  <a:lnTo>
                    <a:pt x="282" y="2472"/>
                  </a:lnTo>
                  <a:lnTo>
                    <a:pt x="282" y="2490"/>
                  </a:lnTo>
                  <a:lnTo>
                    <a:pt x="330" y="2490"/>
                  </a:lnTo>
                  <a:lnTo>
                    <a:pt x="312" y="2532"/>
                  </a:lnTo>
                  <a:lnTo>
                    <a:pt x="324" y="2532"/>
                  </a:lnTo>
                  <a:lnTo>
                    <a:pt x="348" y="2508"/>
                  </a:lnTo>
                  <a:lnTo>
                    <a:pt x="342" y="2532"/>
                  </a:lnTo>
                  <a:lnTo>
                    <a:pt x="342" y="2538"/>
                  </a:lnTo>
                  <a:lnTo>
                    <a:pt x="348" y="2544"/>
                  </a:lnTo>
                  <a:lnTo>
                    <a:pt x="366" y="2580"/>
                  </a:lnTo>
                  <a:lnTo>
                    <a:pt x="366" y="2586"/>
                  </a:lnTo>
                  <a:lnTo>
                    <a:pt x="372" y="2586"/>
                  </a:lnTo>
                  <a:close/>
                  <a:moveTo>
                    <a:pt x="246" y="2082"/>
                  </a:moveTo>
                  <a:lnTo>
                    <a:pt x="246" y="2034"/>
                  </a:lnTo>
                  <a:lnTo>
                    <a:pt x="216" y="2004"/>
                  </a:lnTo>
                  <a:lnTo>
                    <a:pt x="234" y="1992"/>
                  </a:lnTo>
                  <a:lnTo>
                    <a:pt x="210" y="1968"/>
                  </a:lnTo>
                  <a:lnTo>
                    <a:pt x="174" y="1956"/>
                  </a:lnTo>
                  <a:lnTo>
                    <a:pt x="174" y="1986"/>
                  </a:lnTo>
                  <a:lnTo>
                    <a:pt x="180" y="1998"/>
                  </a:lnTo>
                  <a:lnTo>
                    <a:pt x="180" y="2004"/>
                  </a:lnTo>
                  <a:lnTo>
                    <a:pt x="192" y="2016"/>
                  </a:lnTo>
                  <a:lnTo>
                    <a:pt x="198" y="2028"/>
                  </a:lnTo>
                  <a:lnTo>
                    <a:pt x="204" y="2034"/>
                  </a:lnTo>
                  <a:lnTo>
                    <a:pt x="204" y="2046"/>
                  </a:lnTo>
                  <a:lnTo>
                    <a:pt x="198" y="2064"/>
                  </a:lnTo>
                  <a:lnTo>
                    <a:pt x="246" y="2082"/>
                  </a:lnTo>
                  <a:close/>
                  <a:moveTo>
                    <a:pt x="246" y="2178"/>
                  </a:moveTo>
                  <a:lnTo>
                    <a:pt x="258" y="2190"/>
                  </a:lnTo>
                  <a:lnTo>
                    <a:pt x="282" y="2190"/>
                  </a:lnTo>
                  <a:lnTo>
                    <a:pt x="294" y="2172"/>
                  </a:lnTo>
                  <a:lnTo>
                    <a:pt x="264" y="2178"/>
                  </a:lnTo>
                  <a:lnTo>
                    <a:pt x="246" y="2178"/>
                  </a:lnTo>
                  <a:close/>
                  <a:moveTo>
                    <a:pt x="282" y="2220"/>
                  </a:moveTo>
                  <a:lnTo>
                    <a:pt x="282" y="2238"/>
                  </a:lnTo>
                  <a:lnTo>
                    <a:pt x="306" y="2256"/>
                  </a:lnTo>
                  <a:lnTo>
                    <a:pt x="306" y="2232"/>
                  </a:lnTo>
                  <a:lnTo>
                    <a:pt x="294" y="2208"/>
                  </a:lnTo>
                  <a:lnTo>
                    <a:pt x="258" y="2208"/>
                  </a:lnTo>
                  <a:lnTo>
                    <a:pt x="282" y="2220"/>
                  </a:lnTo>
                  <a:close/>
                  <a:moveTo>
                    <a:pt x="318" y="2190"/>
                  </a:moveTo>
                  <a:lnTo>
                    <a:pt x="324" y="2184"/>
                  </a:lnTo>
                  <a:lnTo>
                    <a:pt x="336" y="2178"/>
                  </a:lnTo>
                  <a:lnTo>
                    <a:pt x="348" y="2166"/>
                  </a:lnTo>
                  <a:lnTo>
                    <a:pt x="336" y="2154"/>
                  </a:lnTo>
                  <a:lnTo>
                    <a:pt x="324" y="2154"/>
                  </a:lnTo>
                  <a:lnTo>
                    <a:pt x="312" y="2160"/>
                  </a:lnTo>
                  <a:lnTo>
                    <a:pt x="306" y="2166"/>
                  </a:lnTo>
                  <a:lnTo>
                    <a:pt x="306" y="2184"/>
                  </a:lnTo>
                  <a:lnTo>
                    <a:pt x="312" y="2190"/>
                  </a:lnTo>
                  <a:lnTo>
                    <a:pt x="318" y="2190"/>
                  </a:lnTo>
                  <a:close/>
                  <a:moveTo>
                    <a:pt x="252" y="2112"/>
                  </a:moveTo>
                  <a:lnTo>
                    <a:pt x="240" y="2118"/>
                  </a:lnTo>
                  <a:lnTo>
                    <a:pt x="240" y="2136"/>
                  </a:lnTo>
                  <a:lnTo>
                    <a:pt x="252" y="2136"/>
                  </a:lnTo>
                  <a:lnTo>
                    <a:pt x="264" y="2124"/>
                  </a:lnTo>
                  <a:lnTo>
                    <a:pt x="264" y="2106"/>
                  </a:lnTo>
                  <a:lnTo>
                    <a:pt x="258" y="2106"/>
                  </a:lnTo>
                  <a:lnTo>
                    <a:pt x="252" y="2112"/>
                  </a:lnTo>
                  <a:close/>
                  <a:moveTo>
                    <a:pt x="234" y="2154"/>
                  </a:moveTo>
                  <a:lnTo>
                    <a:pt x="216" y="2154"/>
                  </a:lnTo>
                  <a:lnTo>
                    <a:pt x="228" y="2178"/>
                  </a:lnTo>
                  <a:lnTo>
                    <a:pt x="234" y="2154"/>
                  </a:lnTo>
                  <a:close/>
                  <a:moveTo>
                    <a:pt x="714" y="2874"/>
                  </a:moveTo>
                  <a:lnTo>
                    <a:pt x="726" y="2874"/>
                  </a:lnTo>
                  <a:lnTo>
                    <a:pt x="726" y="2886"/>
                  </a:lnTo>
                  <a:lnTo>
                    <a:pt x="768" y="2886"/>
                  </a:lnTo>
                  <a:lnTo>
                    <a:pt x="774" y="2880"/>
                  </a:lnTo>
                  <a:lnTo>
                    <a:pt x="774" y="2874"/>
                  </a:lnTo>
                  <a:lnTo>
                    <a:pt x="744" y="2844"/>
                  </a:lnTo>
                  <a:lnTo>
                    <a:pt x="744" y="2808"/>
                  </a:lnTo>
                  <a:lnTo>
                    <a:pt x="786" y="2802"/>
                  </a:lnTo>
                  <a:lnTo>
                    <a:pt x="780" y="2790"/>
                  </a:lnTo>
                  <a:lnTo>
                    <a:pt x="804" y="2790"/>
                  </a:lnTo>
                  <a:lnTo>
                    <a:pt x="816" y="2772"/>
                  </a:lnTo>
                  <a:lnTo>
                    <a:pt x="792" y="2754"/>
                  </a:lnTo>
                  <a:lnTo>
                    <a:pt x="696" y="2754"/>
                  </a:lnTo>
                  <a:lnTo>
                    <a:pt x="684" y="2760"/>
                  </a:lnTo>
                  <a:lnTo>
                    <a:pt x="672" y="2760"/>
                  </a:lnTo>
                  <a:lnTo>
                    <a:pt x="654" y="2742"/>
                  </a:lnTo>
                  <a:lnTo>
                    <a:pt x="618" y="2724"/>
                  </a:lnTo>
                  <a:lnTo>
                    <a:pt x="606" y="2706"/>
                  </a:lnTo>
                  <a:lnTo>
                    <a:pt x="588" y="2682"/>
                  </a:lnTo>
                  <a:lnTo>
                    <a:pt x="588" y="2658"/>
                  </a:lnTo>
                  <a:lnTo>
                    <a:pt x="576" y="2646"/>
                  </a:lnTo>
                  <a:lnTo>
                    <a:pt x="564" y="2640"/>
                  </a:lnTo>
                  <a:lnTo>
                    <a:pt x="546" y="2640"/>
                  </a:lnTo>
                  <a:lnTo>
                    <a:pt x="534" y="2652"/>
                  </a:lnTo>
                  <a:lnTo>
                    <a:pt x="528" y="2652"/>
                  </a:lnTo>
                  <a:lnTo>
                    <a:pt x="516" y="2646"/>
                  </a:lnTo>
                  <a:lnTo>
                    <a:pt x="510" y="2640"/>
                  </a:lnTo>
                  <a:lnTo>
                    <a:pt x="510" y="2628"/>
                  </a:lnTo>
                  <a:lnTo>
                    <a:pt x="504" y="2622"/>
                  </a:lnTo>
                  <a:lnTo>
                    <a:pt x="504" y="2616"/>
                  </a:lnTo>
                  <a:lnTo>
                    <a:pt x="474" y="2610"/>
                  </a:lnTo>
                  <a:lnTo>
                    <a:pt x="474" y="2574"/>
                  </a:lnTo>
                  <a:lnTo>
                    <a:pt x="468" y="2568"/>
                  </a:lnTo>
                  <a:lnTo>
                    <a:pt x="462" y="2556"/>
                  </a:lnTo>
                  <a:lnTo>
                    <a:pt x="462" y="2544"/>
                  </a:lnTo>
                  <a:lnTo>
                    <a:pt x="474" y="2538"/>
                  </a:lnTo>
                  <a:lnTo>
                    <a:pt x="474" y="2514"/>
                  </a:lnTo>
                  <a:lnTo>
                    <a:pt x="480" y="2514"/>
                  </a:lnTo>
                  <a:lnTo>
                    <a:pt x="486" y="2508"/>
                  </a:lnTo>
                  <a:lnTo>
                    <a:pt x="492" y="2508"/>
                  </a:lnTo>
                  <a:lnTo>
                    <a:pt x="498" y="2502"/>
                  </a:lnTo>
                  <a:lnTo>
                    <a:pt x="498" y="2496"/>
                  </a:lnTo>
                  <a:lnTo>
                    <a:pt x="474" y="2472"/>
                  </a:lnTo>
                  <a:lnTo>
                    <a:pt x="480" y="2466"/>
                  </a:lnTo>
                  <a:lnTo>
                    <a:pt x="492" y="2460"/>
                  </a:lnTo>
                  <a:lnTo>
                    <a:pt x="498" y="2460"/>
                  </a:lnTo>
                  <a:lnTo>
                    <a:pt x="498" y="2454"/>
                  </a:lnTo>
                  <a:lnTo>
                    <a:pt x="474" y="2430"/>
                  </a:lnTo>
                  <a:lnTo>
                    <a:pt x="468" y="2430"/>
                  </a:lnTo>
                  <a:lnTo>
                    <a:pt x="474" y="2388"/>
                  </a:lnTo>
                  <a:lnTo>
                    <a:pt x="486" y="2382"/>
                  </a:lnTo>
                  <a:lnTo>
                    <a:pt x="474" y="2358"/>
                  </a:lnTo>
                  <a:lnTo>
                    <a:pt x="480" y="2322"/>
                  </a:lnTo>
                  <a:lnTo>
                    <a:pt x="456" y="2298"/>
                  </a:lnTo>
                  <a:lnTo>
                    <a:pt x="462" y="2274"/>
                  </a:lnTo>
                  <a:lnTo>
                    <a:pt x="438" y="2256"/>
                  </a:lnTo>
                  <a:lnTo>
                    <a:pt x="450" y="2244"/>
                  </a:lnTo>
                  <a:lnTo>
                    <a:pt x="456" y="2232"/>
                  </a:lnTo>
                  <a:lnTo>
                    <a:pt x="462" y="2226"/>
                  </a:lnTo>
                  <a:lnTo>
                    <a:pt x="438" y="2202"/>
                  </a:lnTo>
                  <a:lnTo>
                    <a:pt x="426" y="2202"/>
                  </a:lnTo>
                  <a:lnTo>
                    <a:pt x="420" y="2196"/>
                  </a:lnTo>
                  <a:lnTo>
                    <a:pt x="408" y="2190"/>
                  </a:lnTo>
                  <a:lnTo>
                    <a:pt x="402" y="2190"/>
                  </a:lnTo>
                  <a:lnTo>
                    <a:pt x="396" y="2184"/>
                  </a:lnTo>
                  <a:lnTo>
                    <a:pt x="414" y="2184"/>
                  </a:lnTo>
                  <a:lnTo>
                    <a:pt x="426" y="2178"/>
                  </a:lnTo>
                  <a:lnTo>
                    <a:pt x="438" y="2178"/>
                  </a:lnTo>
                  <a:lnTo>
                    <a:pt x="444" y="2172"/>
                  </a:lnTo>
                  <a:lnTo>
                    <a:pt x="444" y="2166"/>
                  </a:lnTo>
                  <a:lnTo>
                    <a:pt x="432" y="2160"/>
                  </a:lnTo>
                  <a:lnTo>
                    <a:pt x="402" y="2160"/>
                  </a:lnTo>
                  <a:lnTo>
                    <a:pt x="390" y="2148"/>
                  </a:lnTo>
                  <a:lnTo>
                    <a:pt x="390" y="2118"/>
                  </a:lnTo>
                  <a:lnTo>
                    <a:pt x="384" y="2106"/>
                  </a:lnTo>
                  <a:lnTo>
                    <a:pt x="384" y="2100"/>
                  </a:lnTo>
                  <a:lnTo>
                    <a:pt x="378" y="2094"/>
                  </a:lnTo>
                  <a:lnTo>
                    <a:pt x="366" y="2088"/>
                  </a:lnTo>
                  <a:lnTo>
                    <a:pt x="360" y="2088"/>
                  </a:lnTo>
                  <a:lnTo>
                    <a:pt x="366" y="2058"/>
                  </a:lnTo>
                  <a:lnTo>
                    <a:pt x="342" y="2046"/>
                  </a:lnTo>
                  <a:lnTo>
                    <a:pt x="336" y="2040"/>
                  </a:lnTo>
                  <a:lnTo>
                    <a:pt x="336" y="2028"/>
                  </a:lnTo>
                  <a:lnTo>
                    <a:pt x="330" y="2016"/>
                  </a:lnTo>
                  <a:lnTo>
                    <a:pt x="330" y="1998"/>
                  </a:lnTo>
                  <a:lnTo>
                    <a:pt x="324" y="1986"/>
                  </a:lnTo>
                  <a:lnTo>
                    <a:pt x="324" y="1974"/>
                  </a:lnTo>
                  <a:lnTo>
                    <a:pt x="330" y="1968"/>
                  </a:lnTo>
                  <a:lnTo>
                    <a:pt x="342" y="1962"/>
                  </a:lnTo>
                  <a:lnTo>
                    <a:pt x="348" y="1962"/>
                  </a:lnTo>
                  <a:lnTo>
                    <a:pt x="336" y="1950"/>
                  </a:lnTo>
                  <a:lnTo>
                    <a:pt x="324" y="1944"/>
                  </a:lnTo>
                  <a:lnTo>
                    <a:pt x="306" y="1926"/>
                  </a:lnTo>
                  <a:lnTo>
                    <a:pt x="300" y="1914"/>
                  </a:lnTo>
                  <a:lnTo>
                    <a:pt x="300" y="1890"/>
                  </a:lnTo>
                  <a:lnTo>
                    <a:pt x="294" y="1878"/>
                  </a:lnTo>
                  <a:lnTo>
                    <a:pt x="288" y="1872"/>
                  </a:lnTo>
                  <a:lnTo>
                    <a:pt x="288" y="1842"/>
                  </a:lnTo>
                  <a:lnTo>
                    <a:pt x="294" y="1836"/>
                  </a:lnTo>
                  <a:lnTo>
                    <a:pt x="294" y="1824"/>
                  </a:lnTo>
                  <a:lnTo>
                    <a:pt x="276" y="1812"/>
                  </a:lnTo>
                  <a:lnTo>
                    <a:pt x="276" y="1806"/>
                  </a:lnTo>
                  <a:lnTo>
                    <a:pt x="282" y="1794"/>
                  </a:lnTo>
                  <a:lnTo>
                    <a:pt x="282" y="1788"/>
                  </a:lnTo>
                  <a:lnTo>
                    <a:pt x="264" y="1770"/>
                  </a:lnTo>
                  <a:lnTo>
                    <a:pt x="282" y="1758"/>
                  </a:lnTo>
                  <a:lnTo>
                    <a:pt x="270" y="1716"/>
                  </a:lnTo>
                  <a:lnTo>
                    <a:pt x="276" y="1716"/>
                  </a:lnTo>
                  <a:lnTo>
                    <a:pt x="282" y="1710"/>
                  </a:lnTo>
                  <a:lnTo>
                    <a:pt x="294" y="1704"/>
                  </a:lnTo>
                  <a:lnTo>
                    <a:pt x="300" y="1692"/>
                  </a:lnTo>
                  <a:lnTo>
                    <a:pt x="300" y="1686"/>
                  </a:lnTo>
                  <a:lnTo>
                    <a:pt x="282" y="1668"/>
                  </a:lnTo>
                  <a:lnTo>
                    <a:pt x="276" y="1668"/>
                  </a:lnTo>
                  <a:lnTo>
                    <a:pt x="276" y="1650"/>
                  </a:lnTo>
                  <a:lnTo>
                    <a:pt x="246" y="1626"/>
                  </a:lnTo>
                  <a:lnTo>
                    <a:pt x="246" y="1578"/>
                  </a:lnTo>
                  <a:lnTo>
                    <a:pt x="240" y="1566"/>
                  </a:lnTo>
                  <a:lnTo>
                    <a:pt x="234" y="1548"/>
                  </a:lnTo>
                  <a:lnTo>
                    <a:pt x="234" y="1536"/>
                  </a:lnTo>
                  <a:lnTo>
                    <a:pt x="228" y="1530"/>
                  </a:lnTo>
                  <a:lnTo>
                    <a:pt x="228" y="1524"/>
                  </a:lnTo>
                  <a:lnTo>
                    <a:pt x="252" y="1518"/>
                  </a:lnTo>
                  <a:lnTo>
                    <a:pt x="258" y="1500"/>
                  </a:lnTo>
                  <a:lnTo>
                    <a:pt x="258" y="1494"/>
                  </a:lnTo>
                  <a:lnTo>
                    <a:pt x="264" y="1482"/>
                  </a:lnTo>
                  <a:lnTo>
                    <a:pt x="264" y="1470"/>
                  </a:lnTo>
                  <a:lnTo>
                    <a:pt x="258" y="1464"/>
                  </a:lnTo>
                  <a:lnTo>
                    <a:pt x="252" y="1452"/>
                  </a:lnTo>
                  <a:lnTo>
                    <a:pt x="246" y="1446"/>
                  </a:lnTo>
                  <a:lnTo>
                    <a:pt x="240" y="1434"/>
                  </a:lnTo>
                  <a:lnTo>
                    <a:pt x="234" y="1428"/>
                  </a:lnTo>
                  <a:lnTo>
                    <a:pt x="246" y="1428"/>
                  </a:lnTo>
                  <a:lnTo>
                    <a:pt x="246" y="1398"/>
                  </a:lnTo>
                  <a:lnTo>
                    <a:pt x="252" y="1380"/>
                  </a:lnTo>
                  <a:lnTo>
                    <a:pt x="252" y="1356"/>
                  </a:lnTo>
                  <a:lnTo>
                    <a:pt x="270" y="1338"/>
                  </a:lnTo>
                  <a:lnTo>
                    <a:pt x="270" y="1332"/>
                  </a:lnTo>
                  <a:lnTo>
                    <a:pt x="264" y="1320"/>
                  </a:lnTo>
                  <a:lnTo>
                    <a:pt x="258" y="1314"/>
                  </a:lnTo>
                  <a:lnTo>
                    <a:pt x="252" y="1302"/>
                  </a:lnTo>
                  <a:lnTo>
                    <a:pt x="246" y="1260"/>
                  </a:lnTo>
                  <a:lnTo>
                    <a:pt x="222" y="1260"/>
                  </a:lnTo>
                  <a:lnTo>
                    <a:pt x="210" y="1248"/>
                  </a:lnTo>
                  <a:lnTo>
                    <a:pt x="210" y="1236"/>
                  </a:lnTo>
                  <a:lnTo>
                    <a:pt x="216" y="1230"/>
                  </a:lnTo>
                  <a:lnTo>
                    <a:pt x="210" y="1218"/>
                  </a:lnTo>
                  <a:lnTo>
                    <a:pt x="198" y="1188"/>
                  </a:lnTo>
                  <a:lnTo>
                    <a:pt x="180" y="1170"/>
                  </a:lnTo>
                  <a:lnTo>
                    <a:pt x="180" y="1164"/>
                  </a:lnTo>
                  <a:lnTo>
                    <a:pt x="186" y="1158"/>
                  </a:lnTo>
                  <a:lnTo>
                    <a:pt x="186" y="1146"/>
                  </a:lnTo>
                  <a:lnTo>
                    <a:pt x="168" y="1128"/>
                  </a:lnTo>
                  <a:lnTo>
                    <a:pt x="156" y="1122"/>
                  </a:lnTo>
                  <a:lnTo>
                    <a:pt x="156" y="1116"/>
                  </a:lnTo>
                  <a:lnTo>
                    <a:pt x="150" y="1110"/>
                  </a:lnTo>
                  <a:lnTo>
                    <a:pt x="150" y="1086"/>
                  </a:lnTo>
                  <a:lnTo>
                    <a:pt x="156" y="1086"/>
                  </a:lnTo>
                  <a:lnTo>
                    <a:pt x="168" y="1080"/>
                  </a:lnTo>
                  <a:lnTo>
                    <a:pt x="162" y="1026"/>
                  </a:lnTo>
                  <a:lnTo>
                    <a:pt x="186" y="1026"/>
                  </a:lnTo>
                  <a:lnTo>
                    <a:pt x="186" y="1020"/>
                  </a:lnTo>
                  <a:lnTo>
                    <a:pt x="180" y="1008"/>
                  </a:lnTo>
                  <a:lnTo>
                    <a:pt x="168" y="972"/>
                  </a:lnTo>
                  <a:lnTo>
                    <a:pt x="156" y="948"/>
                  </a:lnTo>
                  <a:lnTo>
                    <a:pt x="156" y="936"/>
                  </a:lnTo>
                  <a:lnTo>
                    <a:pt x="168" y="924"/>
                  </a:lnTo>
                  <a:lnTo>
                    <a:pt x="168" y="858"/>
                  </a:lnTo>
                  <a:lnTo>
                    <a:pt x="174" y="852"/>
                  </a:lnTo>
                  <a:lnTo>
                    <a:pt x="180" y="840"/>
                  </a:lnTo>
                  <a:lnTo>
                    <a:pt x="192" y="828"/>
                  </a:lnTo>
                  <a:lnTo>
                    <a:pt x="192" y="816"/>
                  </a:lnTo>
                  <a:lnTo>
                    <a:pt x="198" y="804"/>
                  </a:lnTo>
                  <a:lnTo>
                    <a:pt x="198" y="792"/>
                  </a:lnTo>
                  <a:lnTo>
                    <a:pt x="204" y="774"/>
                  </a:lnTo>
                  <a:lnTo>
                    <a:pt x="204" y="762"/>
                  </a:lnTo>
                  <a:lnTo>
                    <a:pt x="222" y="762"/>
                  </a:lnTo>
                  <a:lnTo>
                    <a:pt x="228" y="756"/>
                  </a:lnTo>
                  <a:lnTo>
                    <a:pt x="240" y="750"/>
                  </a:lnTo>
                  <a:lnTo>
                    <a:pt x="240" y="738"/>
                  </a:lnTo>
                  <a:lnTo>
                    <a:pt x="234" y="726"/>
                  </a:lnTo>
                  <a:lnTo>
                    <a:pt x="210" y="714"/>
                  </a:lnTo>
                  <a:lnTo>
                    <a:pt x="204" y="708"/>
                  </a:lnTo>
                  <a:lnTo>
                    <a:pt x="198" y="708"/>
                  </a:lnTo>
                  <a:lnTo>
                    <a:pt x="204" y="708"/>
                  </a:lnTo>
                  <a:lnTo>
                    <a:pt x="216" y="696"/>
                  </a:lnTo>
                  <a:lnTo>
                    <a:pt x="222" y="684"/>
                  </a:lnTo>
                  <a:lnTo>
                    <a:pt x="228" y="678"/>
                  </a:lnTo>
                  <a:lnTo>
                    <a:pt x="222" y="666"/>
                  </a:lnTo>
                  <a:lnTo>
                    <a:pt x="210" y="654"/>
                  </a:lnTo>
                  <a:lnTo>
                    <a:pt x="198" y="648"/>
                  </a:lnTo>
                  <a:lnTo>
                    <a:pt x="192" y="642"/>
                  </a:lnTo>
                  <a:lnTo>
                    <a:pt x="192" y="624"/>
                  </a:lnTo>
                  <a:lnTo>
                    <a:pt x="216" y="600"/>
                  </a:lnTo>
                  <a:lnTo>
                    <a:pt x="216" y="594"/>
                  </a:lnTo>
                  <a:lnTo>
                    <a:pt x="204" y="594"/>
                  </a:lnTo>
                  <a:lnTo>
                    <a:pt x="192" y="588"/>
                  </a:lnTo>
                  <a:lnTo>
                    <a:pt x="186" y="582"/>
                  </a:lnTo>
                  <a:lnTo>
                    <a:pt x="186" y="576"/>
                  </a:lnTo>
                  <a:lnTo>
                    <a:pt x="192" y="570"/>
                  </a:lnTo>
                  <a:lnTo>
                    <a:pt x="198" y="558"/>
                  </a:lnTo>
                  <a:lnTo>
                    <a:pt x="210" y="552"/>
                  </a:lnTo>
                  <a:lnTo>
                    <a:pt x="222" y="540"/>
                  </a:lnTo>
                  <a:lnTo>
                    <a:pt x="240" y="534"/>
                  </a:lnTo>
                  <a:lnTo>
                    <a:pt x="252" y="528"/>
                  </a:lnTo>
                  <a:lnTo>
                    <a:pt x="258" y="522"/>
                  </a:lnTo>
                  <a:lnTo>
                    <a:pt x="264" y="522"/>
                  </a:lnTo>
                  <a:lnTo>
                    <a:pt x="276" y="438"/>
                  </a:lnTo>
                  <a:lnTo>
                    <a:pt x="264" y="420"/>
                  </a:lnTo>
                  <a:lnTo>
                    <a:pt x="222" y="420"/>
                  </a:lnTo>
                  <a:lnTo>
                    <a:pt x="216" y="408"/>
                  </a:lnTo>
                  <a:lnTo>
                    <a:pt x="216" y="384"/>
                  </a:lnTo>
                  <a:lnTo>
                    <a:pt x="192" y="360"/>
                  </a:lnTo>
                  <a:lnTo>
                    <a:pt x="192" y="294"/>
                  </a:lnTo>
                  <a:lnTo>
                    <a:pt x="186" y="288"/>
                  </a:lnTo>
                  <a:lnTo>
                    <a:pt x="174" y="282"/>
                  </a:lnTo>
                  <a:lnTo>
                    <a:pt x="168" y="276"/>
                  </a:lnTo>
                  <a:lnTo>
                    <a:pt x="156" y="270"/>
                  </a:lnTo>
                  <a:lnTo>
                    <a:pt x="150" y="264"/>
                  </a:lnTo>
                  <a:lnTo>
                    <a:pt x="144" y="264"/>
                  </a:lnTo>
                  <a:lnTo>
                    <a:pt x="144" y="240"/>
                  </a:lnTo>
                  <a:lnTo>
                    <a:pt x="138" y="234"/>
                  </a:lnTo>
                  <a:lnTo>
                    <a:pt x="132" y="222"/>
                  </a:lnTo>
                  <a:lnTo>
                    <a:pt x="132" y="210"/>
                  </a:lnTo>
                  <a:lnTo>
                    <a:pt x="138" y="204"/>
                  </a:lnTo>
                  <a:lnTo>
                    <a:pt x="144" y="192"/>
                  </a:lnTo>
                  <a:lnTo>
                    <a:pt x="150" y="186"/>
                  </a:lnTo>
                  <a:lnTo>
                    <a:pt x="132" y="168"/>
                  </a:lnTo>
                  <a:lnTo>
                    <a:pt x="144" y="156"/>
                  </a:lnTo>
                  <a:lnTo>
                    <a:pt x="150" y="144"/>
                  </a:lnTo>
                  <a:lnTo>
                    <a:pt x="150" y="138"/>
                  </a:lnTo>
                  <a:lnTo>
                    <a:pt x="144" y="126"/>
                  </a:lnTo>
                  <a:lnTo>
                    <a:pt x="120" y="114"/>
                  </a:lnTo>
                  <a:lnTo>
                    <a:pt x="114" y="114"/>
                  </a:lnTo>
                  <a:lnTo>
                    <a:pt x="102" y="108"/>
                  </a:lnTo>
                  <a:lnTo>
                    <a:pt x="90" y="30"/>
                  </a:lnTo>
                  <a:lnTo>
                    <a:pt x="66" y="30"/>
                  </a:lnTo>
                  <a:lnTo>
                    <a:pt x="48" y="0"/>
                  </a:lnTo>
                  <a:lnTo>
                    <a:pt x="36" y="6"/>
                  </a:lnTo>
                  <a:lnTo>
                    <a:pt x="42" y="18"/>
                  </a:lnTo>
                  <a:lnTo>
                    <a:pt x="42" y="36"/>
                  </a:lnTo>
                  <a:lnTo>
                    <a:pt x="36" y="42"/>
                  </a:lnTo>
                  <a:lnTo>
                    <a:pt x="0" y="66"/>
                  </a:lnTo>
                  <a:lnTo>
                    <a:pt x="0" y="108"/>
                  </a:lnTo>
                  <a:lnTo>
                    <a:pt x="24" y="156"/>
                  </a:lnTo>
                  <a:lnTo>
                    <a:pt x="30" y="174"/>
                  </a:lnTo>
                  <a:lnTo>
                    <a:pt x="36" y="228"/>
                  </a:lnTo>
                  <a:lnTo>
                    <a:pt x="36" y="282"/>
                  </a:lnTo>
                  <a:lnTo>
                    <a:pt x="48" y="318"/>
                  </a:lnTo>
                  <a:lnTo>
                    <a:pt x="48" y="360"/>
                  </a:lnTo>
                  <a:lnTo>
                    <a:pt x="54" y="384"/>
                  </a:lnTo>
                  <a:lnTo>
                    <a:pt x="54" y="432"/>
                  </a:lnTo>
                  <a:lnTo>
                    <a:pt x="30" y="444"/>
                  </a:lnTo>
                  <a:lnTo>
                    <a:pt x="36" y="474"/>
                  </a:lnTo>
                  <a:lnTo>
                    <a:pt x="54" y="486"/>
                  </a:lnTo>
                  <a:lnTo>
                    <a:pt x="48" y="582"/>
                  </a:lnTo>
                  <a:lnTo>
                    <a:pt x="72" y="624"/>
                  </a:lnTo>
                  <a:lnTo>
                    <a:pt x="54" y="642"/>
                  </a:lnTo>
                  <a:lnTo>
                    <a:pt x="60" y="702"/>
                  </a:lnTo>
                  <a:lnTo>
                    <a:pt x="66" y="708"/>
                  </a:lnTo>
                  <a:lnTo>
                    <a:pt x="78" y="732"/>
                  </a:lnTo>
                  <a:lnTo>
                    <a:pt x="78" y="744"/>
                  </a:lnTo>
                  <a:lnTo>
                    <a:pt x="72" y="756"/>
                  </a:lnTo>
                  <a:lnTo>
                    <a:pt x="66" y="762"/>
                  </a:lnTo>
                  <a:lnTo>
                    <a:pt x="60" y="762"/>
                  </a:lnTo>
                  <a:lnTo>
                    <a:pt x="60" y="792"/>
                  </a:lnTo>
                  <a:lnTo>
                    <a:pt x="72" y="810"/>
                  </a:lnTo>
                  <a:lnTo>
                    <a:pt x="60" y="822"/>
                  </a:lnTo>
                  <a:lnTo>
                    <a:pt x="48" y="846"/>
                  </a:lnTo>
                  <a:lnTo>
                    <a:pt x="48" y="852"/>
                  </a:lnTo>
                  <a:lnTo>
                    <a:pt x="60" y="852"/>
                  </a:lnTo>
                  <a:lnTo>
                    <a:pt x="60" y="864"/>
                  </a:lnTo>
                  <a:lnTo>
                    <a:pt x="66" y="870"/>
                  </a:lnTo>
                  <a:lnTo>
                    <a:pt x="66" y="888"/>
                  </a:lnTo>
                  <a:lnTo>
                    <a:pt x="54" y="900"/>
                  </a:lnTo>
                  <a:lnTo>
                    <a:pt x="54" y="906"/>
                  </a:lnTo>
                  <a:lnTo>
                    <a:pt x="48" y="912"/>
                  </a:lnTo>
                  <a:lnTo>
                    <a:pt x="48" y="936"/>
                  </a:lnTo>
                  <a:lnTo>
                    <a:pt x="54" y="948"/>
                  </a:lnTo>
                  <a:lnTo>
                    <a:pt x="60" y="954"/>
                  </a:lnTo>
                  <a:lnTo>
                    <a:pt x="66" y="954"/>
                  </a:lnTo>
                  <a:lnTo>
                    <a:pt x="78" y="966"/>
                  </a:lnTo>
                  <a:lnTo>
                    <a:pt x="78" y="1020"/>
                  </a:lnTo>
                  <a:lnTo>
                    <a:pt x="60" y="1020"/>
                  </a:lnTo>
                  <a:lnTo>
                    <a:pt x="60" y="1044"/>
                  </a:lnTo>
                  <a:lnTo>
                    <a:pt x="66" y="1056"/>
                  </a:lnTo>
                  <a:lnTo>
                    <a:pt x="90" y="1128"/>
                  </a:lnTo>
                  <a:lnTo>
                    <a:pt x="96" y="1140"/>
                  </a:lnTo>
                  <a:lnTo>
                    <a:pt x="102" y="1146"/>
                  </a:lnTo>
                  <a:lnTo>
                    <a:pt x="102" y="1164"/>
                  </a:lnTo>
                  <a:lnTo>
                    <a:pt x="108" y="1170"/>
                  </a:lnTo>
                  <a:lnTo>
                    <a:pt x="114" y="1182"/>
                  </a:lnTo>
                  <a:lnTo>
                    <a:pt x="120" y="1188"/>
                  </a:lnTo>
                  <a:lnTo>
                    <a:pt x="120" y="1236"/>
                  </a:lnTo>
                  <a:lnTo>
                    <a:pt x="114" y="1266"/>
                  </a:lnTo>
                  <a:lnTo>
                    <a:pt x="138" y="1290"/>
                  </a:lnTo>
                  <a:lnTo>
                    <a:pt x="138" y="1296"/>
                  </a:lnTo>
                  <a:lnTo>
                    <a:pt x="132" y="1302"/>
                  </a:lnTo>
                  <a:lnTo>
                    <a:pt x="126" y="1314"/>
                  </a:lnTo>
                  <a:lnTo>
                    <a:pt x="126" y="1326"/>
                  </a:lnTo>
                  <a:lnTo>
                    <a:pt x="120" y="1338"/>
                  </a:lnTo>
                  <a:lnTo>
                    <a:pt x="120" y="1416"/>
                  </a:lnTo>
                  <a:lnTo>
                    <a:pt x="102" y="1452"/>
                  </a:lnTo>
                  <a:lnTo>
                    <a:pt x="114" y="1464"/>
                  </a:lnTo>
                  <a:lnTo>
                    <a:pt x="114" y="1470"/>
                  </a:lnTo>
                  <a:lnTo>
                    <a:pt x="108" y="1476"/>
                  </a:lnTo>
                  <a:lnTo>
                    <a:pt x="108" y="1536"/>
                  </a:lnTo>
                  <a:lnTo>
                    <a:pt x="102" y="1554"/>
                  </a:lnTo>
                  <a:lnTo>
                    <a:pt x="102" y="1578"/>
                  </a:lnTo>
                  <a:lnTo>
                    <a:pt x="84" y="1584"/>
                  </a:lnTo>
                  <a:lnTo>
                    <a:pt x="84" y="1608"/>
                  </a:lnTo>
                  <a:lnTo>
                    <a:pt x="108" y="1650"/>
                  </a:lnTo>
                  <a:lnTo>
                    <a:pt x="108" y="1692"/>
                  </a:lnTo>
                  <a:lnTo>
                    <a:pt x="114" y="1704"/>
                  </a:lnTo>
                  <a:lnTo>
                    <a:pt x="144" y="1734"/>
                  </a:lnTo>
                  <a:lnTo>
                    <a:pt x="156" y="1758"/>
                  </a:lnTo>
                  <a:lnTo>
                    <a:pt x="156" y="1800"/>
                  </a:lnTo>
                  <a:lnTo>
                    <a:pt x="150" y="1812"/>
                  </a:lnTo>
                  <a:lnTo>
                    <a:pt x="150" y="1824"/>
                  </a:lnTo>
                  <a:lnTo>
                    <a:pt x="162" y="1836"/>
                  </a:lnTo>
                  <a:lnTo>
                    <a:pt x="162" y="1896"/>
                  </a:lnTo>
                  <a:lnTo>
                    <a:pt x="168" y="1908"/>
                  </a:lnTo>
                  <a:lnTo>
                    <a:pt x="174" y="1914"/>
                  </a:lnTo>
                  <a:lnTo>
                    <a:pt x="186" y="1920"/>
                  </a:lnTo>
                  <a:lnTo>
                    <a:pt x="192" y="1926"/>
                  </a:lnTo>
                  <a:lnTo>
                    <a:pt x="198" y="1926"/>
                  </a:lnTo>
                  <a:lnTo>
                    <a:pt x="192" y="1944"/>
                  </a:lnTo>
                  <a:lnTo>
                    <a:pt x="234" y="1944"/>
                  </a:lnTo>
                  <a:lnTo>
                    <a:pt x="234" y="1914"/>
                  </a:lnTo>
                  <a:lnTo>
                    <a:pt x="246" y="1926"/>
                  </a:lnTo>
                  <a:lnTo>
                    <a:pt x="258" y="1932"/>
                  </a:lnTo>
                  <a:lnTo>
                    <a:pt x="270" y="1932"/>
                  </a:lnTo>
                  <a:lnTo>
                    <a:pt x="276" y="1926"/>
                  </a:lnTo>
                  <a:lnTo>
                    <a:pt x="276" y="1914"/>
                  </a:lnTo>
                  <a:lnTo>
                    <a:pt x="288" y="1932"/>
                  </a:lnTo>
                  <a:lnTo>
                    <a:pt x="282" y="1938"/>
                  </a:lnTo>
                  <a:lnTo>
                    <a:pt x="270" y="1944"/>
                  </a:lnTo>
                  <a:lnTo>
                    <a:pt x="264" y="1956"/>
                  </a:lnTo>
                  <a:lnTo>
                    <a:pt x="258" y="1962"/>
                  </a:lnTo>
                  <a:lnTo>
                    <a:pt x="258" y="1968"/>
                  </a:lnTo>
                  <a:lnTo>
                    <a:pt x="288" y="1968"/>
                  </a:lnTo>
                  <a:lnTo>
                    <a:pt x="294" y="1974"/>
                  </a:lnTo>
                  <a:lnTo>
                    <a:pt x="294" y="1992"/>
                  </a:lnTo>
                  <a:lnTo>
                    <a:pt x="270" y="1986"/>
                  </a:lnTo>
                  <a:lnTo>
                    <a:pt x="288" y="2010"/>
                  </a:lnTo>
                  <a:lnTo>
                    <a:pt x="276" y="2022"/>
                  </a:lnTo>
                  <a:lnTo>
                    <a:pt x="294" y="2046"/>
                  </a:lnTo>
                  <a:lnTo>
                    <a:pt x="276" y="2064"/>
                  </a:lnTo>
                  <a:lnTo>
                    <a:pt x="270" y="2076"/>
                  </a:lnTo>
                  <a:lnTo>
                    <a:pt x="270" y="2082"/>
                  </a:lnTo>
                  <a:lnTo>
                    <a:pt x="276" y="2088"/>
                  </a:lnTo>
                  <a:lnTo>
                    <a:pt x="282" y="2088"/>
                  </a:lnTo>
                  <a:lnTo>
                    <a:pt x="306" y="2100"/>
                  </a:lnTo>
                  <a:lnTo>
                    <a:pt x="318" y="2100"/>
                  </a:lnTo>
                  <a:lnTo>
                    <a:pt x="300" y="2118"/>
                  </a:lnTo>
                  <a:lnTo>
                    <a:pt x="300" y="2130"/>
                  </a:lnTo>
                  <a:lnTo>
                    <a:pt x="312" y="2136"/>
                  </a:lnTo>
                  <a:lnTo>
                    <a:pt x="318" y="2142"/>
                  </a:lnTo>
                  <a:lnTo>
                    <a:pt x="330" y="2148"/>
                  </a:lnTo>
                  <a:lnTo>
                    <a:pt x="354" y="2148"/>
                  </a:lnTo>
                  <a:lnTo>
                    <a:pt x="360" y="2184"/>
                  </a:lnTo>
                  <a:lnTo>
                    <a:pt x="354" y="2184"/>
                  </a:lnTo>
                  <a:lnTo>
                    <a:pt x="324" y="2214"/>
                  </a:lnTo>
                  <a:lnTo>
                    <a:pt x="324" y="2220"/>
                  </a:lnTo>
                  <a:lnTo>
                    <a:pt x="330" y="2226"/>
                  </a:lnTo>
                  <a:lnTo>
                    <a:pt x="354" y="2226"/>
                  </a:lnTo>
                  <a:lnTo>
                    <a:pt x="366" y="2232"/>
                  </a:lnTo>
                  <a:lnTo>
                    <a:pt x="378" y="2244"/>
                  </a:lnTo>
                  <a:lnTo>
                    <a:pt x="348" y="2244"/>
                  </a:lnTo>
                  <a:lnTo>
                    <a:pt x="342" y="2238"/>
                  </a:lnTo>
                  <a:lnTo>
                    <a:pt x="330" y="2238"/>
                  </a:lnTo>
                  <a:lnTo>
                    <a:pt x="324" y="2244"/>
                  </a:lnTo>
                  <a:lnTo>
                    <a:pt x="324" y="2250"/>
                  </a:lnTo>
                  <a:lnTo>
                    <a:pt x="354" y="2256"/>
                  </a:lnTo>
                  <a:lnTo>
                    <a:pt x="330" y="2268"/>
                  </a:lnTo>
                  <a:lnTo>
                    <a:pt x="336" y="2292"/>
                  </a:lnTo>
                  <a:lnTo>
                    <a:pt x="348" y="2292"/>
                  </a:lnTo>
                  <a:lnTo>
                    <a:pt x="348" y="2316"/>
                  </a:lnTo>
                  <a:lnTo>
                    <a:pt x="336" y="2328"/>
                  </a:lnTo>
                  <a:lnTo>
                    <a:pt x="336" y="2322"/>
                  </a:lnTo>
                  <a:lnTo>
                    <a:pt x="330" y="2316"/>
                  </a:lnTo>
                  <a:lnTo>
                    <a:pt x="324" y="2304"/>
                  </a:lnTo>
                  <a:lnTo>
                    <a:pt x="324" y="2298"/>
                  </a:lnTo>
                  <a:lnTo>
                    <a:pt x="288" y="2298"/>
                  </a:lnTo>
                  <a:lnTo>
                    <a:pt x="306" y="2292"/>
                  </a:lnTo>
                  <a:lnTo>
                    <a:pt x="282" y="2268"/>
                  </a:lnTo>
                  <a:lnTo>
                    <a:pt x="276" y="2268"/>
                  </a:lnTo>
                  <a:lnTo>
                    <a:pt x="276" y="2280"/>
                  </a:lnTo>
                  <a:lnTo>
                    <a:pt x="270" y="2268"/>
                  </a:lnTo>
                  <a:lnTo>
                    <a:pt x="228" y="2280"/>
                  </a:lnTo>
                  <a:lnTo>
                    <a:pt x="264" y="2286"/>
                  </a:lnTo>
                  <a:lnTo>
                    <a:pt x="258" y="2292"/>
                  </a:lnTo>
                  <a:lnTo>
                    <a:pt x="252" y="2304"/>
                  </a:lnTo>
                  <a:lnTo>
                    <a:pt x="246" y="2310"/>
                  </a:lnTo>
                  <a:lnTo>
                    <a:pt x="234" y="2316"/>
                  </a:lnTo>
                  <a:lnTo>
                    <a:pt x="228" y="2328"/>
                  </a:lnTo>
                  <a:lnTo>
                    <a:pt x="222" y="2334"/>
                  </a:lnTo>
                  <a:lnTo>
                    <a:pt x="222" y="2340"/>
                  </a:lnTo>
                  <a:lnTo>
                    <a:pt x="228" y="2346"/>
                  </a:lnTo>
                  <a:lnTo>
                    <a:pt x="240" y="2352"/>
                  </a:lnTo>
                  <a:lnTo>
                    <a:pt x="252" y="2352"/>
                  </a:lnTo>
                  <a:lnTo>
                    <a:pt x="252" y="2346"/>
                  </a:lnTo>
                  <a:lnTo>
                    <a:pt x="240" y="2334"/>
                  </a:lnTo>
                  <a:lnTo>
                    <a:pt x="264" y="2328"/>
                  </a:lnTo>
                  <a:lnTo>
                    <a:pt x="282" y="2346"/>
                  </a:lnTo>
                  <a:lnTo>
                    <a:pt x="324" y="2346"/>
                  </a:lnTo>
                  <a:lnTo>
                    <a:pt x="336" y="2352"/>
                  </a:lnTo>
                  <a:lnTo>
                    <a:pt x="342" y="2364"/>
                  </a:lnTo>
                  <a:lnTo>
                    <a:pt x="354" y="2370"/>
                  </a:lnTo>
                  <a:lnTo>
                    <a:pt x="354" y="2376"/>
                  </a:lnTo>
                  <a:lnTo>
                    <a:pt x="336" y="2394"/>
                  </a:lnTo>
                  <a:lnTo>
                    <a:pt x="342" y="2406"/>
                  </a:lnTo>
                  <a:lnTo>
                    <a:pt x="360" y="2406"/>
                  </a:lnTo>
                  <a:lnTo>
                    <a:pt x="360" y="2418"/>
                  </a:lnTo>
                  <a:lnTo>
                    <a:pt x="378" y="2424"/>
                  </a:lnTo>
                  <a:lnTo>
                    <a:pt x="384" y="2406"/>
                  </a:lnTo>
                  <a:lnTo>
                    <a:pt x="402" y="2424"/>
                  </a:lnTo>
                  <a:lnTo>
                    <a:pt x="408" y="2424"/>
                  </a:lnTo>
                  <a:lnTo>
                    <a:pt x="420" y="2430"/>
                  </a:lnTo>
                  <a:lnTo>
                    <a:pt x="426" y="2436"/>
                  </a:lnTo>
                  <a:lnTo>
                    <a:pt x="426" y="2448"/>
                  </a:lnTo>
                  <a:lnTo>
                    <a:pt x="414" y="2460"/>
                  </a:lnTo>
                  <a:lnTo>
                    <a:pt x="408" y="2454"/>
                  </a:lnTo>
                  <a:lnTo>
                    <a:pt x="396" y="2454"/>
                  </a:lnTo>
                  <a:lnTo>
                    <a:pt x="384" y="2448"/>
                  </a:lnTo>
                  <a:lnTo>
                    <a:pt x="378" y="2442"/>
                  </a:lnTo>
                  <a:lnTo>
                    <a:pt x="366" y="2442"/>
                  </a:lnTo>
                  <a:lnTo>
                    <a:pt x="366" y="2454"/>
                  </a:lnTo>
                  <a:lnTo>
                    <a:pt x="372" y="2460"/>
                  </a:lnTo>
                  <a:lnTo>
                    <a:pt x="378" y="2460"/>
                  </a:lnTo>
                  <a:lnTo>
                    <a:pt x="390" y="2472"/>
                  </a:lnTo>
                  <a:lnTo>
                    <a:pt x="402" y="2496"/>
                  </a:lnTo>
                  <a:lnTo>
                    <a:pt x="402" y="2508"/>
                  </a:lnTo>
                  <a:lnTo>
                    <a:pt x="384" y="2508"/>
                  </a:lnTo>
                  <a:lnTo>
                    <a:pt x="396" y="2526"/>
                  </a:lnTo>
                  <a:lnTo>
                    <a:pt x="414" y="2562"/>
                  </a:lnTo>
                  <a:lnTo>
                    <a:pt x="426" y="2520"/>
                  </a:lnTo>
                  <a:lnTo>
                    <a:pt x="426" y="2550"/>
                  </a:lnTo>
                  <a:lnTo>
                    <a:pt x="444" y="2574"/>
                  </a:lnTo>
                  <a:lnTo>
                    <a:pt x="420" y="2574"/>
                  </a:lnTo>
                  <a:lnTo>
                    <a:pt x="426" y="2592"/>
                  </a:lnTo>
                  <a:lnTo>
                    <a:pt x="450" y="2592"/>
                  </a:lnTo>
                  <a:lnTo>
                    <a:pt x="432" y="2604"/>
                  </a:lnTo>
                  <a:lnTo>
                    <a:pt x="462" y="2616"/>
                  </a:lnTo>
                  <a:lnTo>
                    <a:pt x="444" y="2628"/>
                  </a:lnTo>
                  <a:lnTo>
                    <a:pt x="474" y="2640"/>
                  </a:lnTo>
                  <a:lnTo>
                    <a:pt x="462" y="2652"/>
                  </a:lnTo>
                  <a:lnTo>
                    <a:pt x="480" y="2658"/>
                  </a:lnTo>
                  <a:lnTo>
                    <a:pt x="480" y="2652"/>
                  </a:lnTo>
                  <a:lnTo>
                    <a:pt x="486" y="2640"/>
                  </a:lnTo>
                  <a:lnTo>
                    <a:pt x="486" y="2634"/>
                  </a:lnTo>
                  <a:lnTo>
                    <a:pt x="492" y="2634"/>
                  </a:lnTo>
                  <a:lnTo>
                    <a:pt x="498" y="2640"/>
                  </a:lnTo>
                  <a:lnTo>
                    <a:pt x="504" y="2652"/>
                  </a:lnTo>
                  <a:lnTo>
                    <a:pt x="498" y="2658"/>
                  </a:lnTo>
                  <a:lnTo>
                    <a:pt x="498" y="2664"/>
                  </a:lnTo>
                  <a:lnTo>
                    <a:pt x="492" y="2664"/>
                  </a:lnTo>
                  <a:lnTo>
                    <a:pt x="480" y="2676"/>
                  </a:lnTo>
                  <a:lnTo>
                    <a:pt x="480" y="2682"/>
                  </a:lnTo>
                  <a:lnTo>
                    <a:pt x="486" y="2688"/>
                  </a:lnTo>
                  <a:lnTo>
                    <a:pt x="516" y="2688"/>
                  </a:lnTo>
                  <a:lnTo>
                    <a:pt x="516" y="2700"/>
                  </a:lnTo>
                  <a:lnTo>
                    <a:pt x="540" y="2724"/>
                  </a:lnTo>
                  <a:lnTo>
                    <a:pt x="552" y="2730"/>
                  </a:lnTo>
                  <a:lnTo>
                    <a:pt x="558" y="2736"/>
                  </a:lnTo>
                  <a:lnTo>
                    <a:pt x="558" y="2700"/>
                  </a:lnTo>
                  <a:lnTo>
                    <a:pt x="564" y="2700"/>
                  </a:lnTo>
                  <a:lnTo>
                    <a:pt x="570" y="2706"/>
                  </a:lnTo>
                  <a:lnTo>
                    <a:pt x="582" y="2712"/>
                  </a:lnTo>
                  <a:lnTo>
                    <a:pt x="600" y="2718"/>
                  </a:lnTo>
                  <a:lnTo>
                    <a:pt x="624" y="2742"/>
                  </a:lnTo>
                  <a:lnTo>
                    <a:pt x="618" y="2748"/>
                  </a:lnTo>
                  <a:lnTo>
                    <a:pt x="618" y="2754"/>
                  </a:lnTo>
                  <a:lnTo>
                    <a:pt x="612" y="2760"/>
                  </a:lnTo>
                  <a:lnTo>
                    <a:pt x="630" y="2766"/>
                  </a:lnTo>
                  <a:lnTo>
                    <a:pt x="630" y="2790"/>
                  </a:lnTo>
                  <a:lnTo>
                    <a:pt x="684" y="2790"/>
                  </a:lnTo>
                  <a:lnTo>
                    <a:pt x="696" y="2802"/>
                  </a:lnTo>
                  <a:lnTo>
                    <a:pt x="666" y="2802"/>
                  </a:lnTo>
                  <a:lnTo>
                    <a:pt x="654" y="2814"/>
                  </a:lnTo>
                  <a:lnTo>
                    <a:pt x="630" y="2814"/>
                  </a:lnTo>
                  <a:lnTo>
                    <a:pt x="618" y="2832"/>
                  </a:lnTo>
                  <a:lnTo>
                    <a:pt x="648" y="2832"/>
                  </a:lnTo>
                  <a:lnTo>
                    <a:pt x="636" y="2850"/>
                  </a:lnTo>
                  <a:lnTo>
                    <a:pt x="666" y="2844"/>
                  </a:lnTo>
                  <a:lnTo>
                    <a:pt x="666" y="2826"/>
                  </a:lnTo>
                  <a:lnTo>
                    <a:pt x="690" y="2838"/>
                  </a:lnTo>
                  <a:lnTo>
                    <a:pt x="696" y="2826"/>
                  </a:lnTo>
                  <a:lnTo>
                    <a:pt x="702" y="2820"/>
                  </a:lnTo>
                  <a:lnTo>
                    <a:pt x="714" y="2814"/>
                  </a:lnTo>
                  <a:lnTo>
                    <a:pt x="720" y="2808"/>
                  </a:lnTo>
                  <a:lnTo>
                    <a:pt x="732" y="2808"/>
                  </a:lnTo>
                  <a:lnTo>
                    <a:pt x="732" y="2820"/>
                  </a:lnTo>
                  <a:lnTo>
                    <a:pt x="726" y="2832"/>
                  </a:lnTo>
                  <a:lnTo>
                    <a:pt x="702" y="2856"/>
                  </a:lnTo>
                  <a:lnTo>
                    <a:pt x="696" y="2850"/>
                  </a:lnTo>
                  <a:lnTo>
                    <a:pt x="678" y="2850"/>
                  </a:lnTo>
                  <a:lnTo>
                    <a:pt x="678" y="2868"/>
                  </a:lnTo>
                  <a:lnTo>
                    <a:pt x="642" y="2868"/>
                  </a:lnTo>
                  <a:lnTo>
                    <a:pt x="630" y="2880"/>
                  </a:lnTo>
                  <a:lnTo>
                    <a:pt x="642" y="2886"/>
                  </a:lnTo>
                  <a:lnTo>
                    <a:pt x="648" y="2916"/>
                  </a:lnTo>
                  <a:lnTo>
                    <a:pt x="678" y="2898"/>
                  </a:lnTo>
                  <a:lnTo>
                    <a:pt x="684" y="2910"/>
                  </a:lnTo>
                  <a:lnTo>
                    <a:pt x="684" y="2916"/>
                  </a:lnTo>
                  <a:lnTo>
                    <a:pt x="690" y="2916"/>
                  </a:lnTo>
                  <a:lnTo>
                    <a:pt x="696" y="2910"/>
                  </a:lnTo>
                  <a:lnTo>
                    <a:pt x="702" y="2898"/>
                  </a:lnTo>
                  <a:lnTo>
                    <a:pt x="702" y="2892"/>
                  </a:lnTo>
                  <a:lnTo>
                    <a:pt x="708" y="2880"/>
                  </a:lnTo>
                  <a:lnTo>
                    <a:pt x="714" y="2874"/>
                  </a:lnTo>
                  <a:close/>
                </a:path>
              </a:pathLst>
            </a:custGeom>
            <a:solidFill>
              <a:schemeClr val="accent5"/>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79" name="Chad" descr="© INSCALE GmbH, 05.05.2010&#10;http://www.presentationload.com/">
              <a:extLst>
                <a:ext uri="{FF2B5EF4-FFF2-40B4-BE49-F238E27FC236}">
                  <a16:creationId xmlns:a16="http://schemas.microsoft.com/office/drawing/2014/main" id="{611ADAB4-12B4-4B76-991E-23E9D702643D}"/>
                </a:ext>
              </a:extLst>
            </p:cNvPr>
            <p:cNvSpPr>
              <a:spLocks/>
            </p:cNvSpPr>
            <p:nvPr/>
          </p:nvSpPr>
          <p:spPr bwMode="gray">
            <a:xfrm>
              <a:off x="4507252" y="3499978"/>
              <a:ext cx="294788" cy="512744"/>
            </a:xfrm>
            <a:custGeom>
              <a:avLst/>
              <a:gdLst>
                <a:gd name="T0" fmla="*/ 2147483647 w 744"/>
                <a:gd name="T1" fmla="*/ 2147483647 h 1290"/>
                <a:gd name="T2" fmla="*/ 2147483647 w 744"/>
                <a:gd name="T3" fmla="*/ 0 h 1290"/>
                <a:gd name="T4" fmla="*/ 2147483647 w 744"/>
                <a:gd name="T5" fmla="*/ 2147483647 h 1290"/>
                <a:gd name="T6" fmla="*/ 2147483647 w 744"/>
                <a:gd name="T7" fmla="*/ 2147483647 h 1290"/>
                <a:gd name="T8" fmla="*/ 2147483647 w 744"/>
                <a:gd name="T9" fmla="*/ 2147483647 h 1290"/>
                <a:gd name="T10" fmla="*/ 2147483647 w 744"/>
                <a:gd name="T11" fmla="*/ 2147483647 h 1290"/>
                <a:gd name="T12" fmla="*/ 2147483647 w 744"/>
                <a:gd name="T13" fmla="*/ 2147483647 h 1290"/>
                <a:gd name="T14" fmla="*/ 2147483647 w 744"/>
                <a:gd name="T15" fmla="*/ 2147483647 h 1290"/>
                <a:gd name="T16" fmla="*/ 2147483647 w 744"/>
                <a:gd name="T17" fmla="*/ 2147483647 h 1290"/>
                <a:gd name="T18" fmla="*/ 0 w 744"/>
                <a:gd name="T19" fmla="*/ 2147483647 h 1290"/>
                <a:gd name="T20" fmla="*/ 2147483647 w 744"/>
                <a:gd name="T21" fmla="*/ 2147483647 h 1290"/>
                <a:gd name="T22" fmla="*/ 2147483647 w 744"/>
                <a:gd name="T23" fmla="*/ 2147483647 h 1290"/>
                <a:gd name="T24" fmla="*/ 2147483647 w 744"/>
                <a:gd name="T25" fmla="*/ 2147483647 h 1290"/>
                <a:gd name="T26" fmla="*/ 2147483647 w 744"/>
                <a:gd name="T27" fmla="*/ 2147483647 h 1290"/>
                <a:gd name="T28" fmla="*/ 2147483647 w 744"/>
                <a:gd name="T29" fmla="*/ 2147483647 h 1290"/>
                <a:gd name="T30" fmla="*/ 2147483647 w 744"/>
                <a:gd name="T31" fmla="*/ 2147483647 h 1290"/>
                <a:gd name="T32" fmla="*/ 2147483647 w 744"/>
                <a:gd name="T33" fmla="*/ 2147483647 h 1290"/>
                <a:gd name="T34" fmla="*/ 2147483647 w 744"/>
                <a:gd name="T35" fmla="*/ 2147483647 h 1290"/>
                <a:gd name="T36" fmla="*/ 2147483647 w 744"/>
                <a:gd name="T37" fmla="*/ 2147483647 h 1290"/>
                <a:gd name="T38" fmla="*/ 2147483647 w 744"/>
                <a:gd name="T39" fmla="*/ 2147483647 h 1290"/>
                <a:gd name="T40" fmla="*/ 2147483647 w 744"/>
                <a:gd name="T41" fmla="*/ 2147483647 h 1290"/>
                <a:gd name="T42" fmla="*/ 2147483647 w 744"/>
                <a:gd name="T43" fmla="*/ 2147483647 h 1290"/>
                <a:gd name="T44" fmla="*/ 2147483647 w 744"/>
                <a:gd name="T45" fmla="*/ 2147483647 h 1290"/>
                <a:gd name="T46" fmla="*/ 2147483647 w 744"/>
                <a:gd name="T47" fmla="*/ 2147483647 h 1290"/>
                <a:gd name="T48" fmla="*/ 2147483647 w 744"/>
                <a:gd name="T49" fmla="*/ 2147483647 h 1290"/>
                <a:gd name="T50" fmla="*/ 2147483647 w 744"/>
                <a:gd name="T51" fmla="*/ 2147483647 h 1290"/>
                <a:gd name="T52" fmla="*/ 2147483647 w 744"/>
                <a:gd name="T53" fmla="*/ 2147483647 h 1290"/>
                <a:gd name="T54" fmla="*/ 2147483647 w 744"/>
                <a:gd name="T55" fmla="*/ 2147483647 h 1290"/>
                <a:gd name="T56" fmla="*/ 2147483647 w 744"/>
                <a:gd name="T57" fmla="*/ 2147483647 h 1290"/>
                <a:gd name="T58" fmla="*/ 2147483647 w 744"/>
                <a:gd name="T59" fmla="*/ 2147483647 h 1290"/>
                <a:gd name="T60" fmla="*/ 2147483647 w 744"/>
                <a:gd name="T61" fmla="*/ 2147483647 h 1290"/>
                <a:gd name="T62" fmla="*/ 2147483647 w 744"/>
                <a:gd name="T63" fmla="*/ 2147483647 h 1290"/>
                <a:gd name="T64" fmla="*/ 2147483647 w 744"/>
                <a:gd name="T65" fmla="*/ 2147483647 h 1290"/>
                <a:gd name="T66" fmla="*/ 2147483647 w 744"/>
                <a:gd name="T67" fmla="*/ 2147483647 h 1290"/>
                <a:gd name="T68" fmla="*/ 2147483647 w 744"/>
                <a:gd name="T69" fmla="*/ 2147483647 h 1290"/>
                <a:gd name="T70" fmla="*/ 2147483647 w 744"/>
                <a:gd name="T71" fmla="*/ 2147483647 h 1290"/>
                <a:gd name="T72" fmla="*/ 2147483647 w 744"/>
                <a:gd name="T73" fmla="*/ 2147483647 h 1290"/>
                <a:gd name="T74" fmla="*/ 2147483647 w 744"/>
                <a:gd name="T75" fmla="*/ 2147483647 h 1290"/>
                <a:gd name="T76" fmla="*/ 2147483647 w 744"/>
                <a:gd name="T77" fmla="*/ 2147483647 h 1290"/>
                <a:gd name="T78" fmla="*/ 2147483647 w 744"/>
                <a:gd name="T79" fmla="*/ 2147483647 h 1290"/>
                <a:gd name="T80" fmla="*/ 2147483647 w 744"/>
                <a:gd name="T81" fmla="*/ 2147483647 h 1290"/>
                <a:gd name="T82" fmla="*/ 2147483647 w 744"/>
                <a:gd name="T83" fmla="*/ 2147483647 h 1290"/>
                <a:gd name="T84" fmla="*/ 2147483647 w 744"/>
                <a:gd name="T85" fmla="*/ 2147483647 h 1290"/>
                <a:gd name="T86" fmla="*/ 2147483647 w 744"/>
                <a:gd name="T87" fmla="*/ 2147483647 h 1290"/>
                <a:gd name="T88" fmla="*/ 2147483647 w 744"/>
                <a:gd name="T89" fmla="*/ 2147483647 h 1290"/>
                <a:gd name="T90" fmla="*/ 2147483647 w 744"/>
                <a:gd name="T91" fmla="*/ 2147483647 h 1290"/>
                <a:gd name="T92" fmla="*/ 2147483647 w 744"/>
                <a:gd name="T93" fmla="*/ 2147483647 h 129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44"/>
                <a:gd name="T142" fmla="*/ 0 h 1290"/>
                <a:gd name="T143" fmla="*/ 744 w 744"/>
                <a:gd name="T144" fmla="*/ 1290 h 129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44" h="1290">
                  <a:moveTo>
                    <a:pt x="678" y="624"/>
                  </a:moveTo>
                  <a:lnTo>
                    <a:pt x="720" y="624"/>
                  </a:lnTo>
                  <a:lnTo>
                    <a:pt x="732" y="630"/>
                  </a:lnTo>
                  <a:lnTo>
                    <a:pt x="744" y="630"/>
                  </a:lnTo>
                  <a:lnTo>
                    <a:pt x="738" y="324"/>
                  </a:lnTo>
                  <a:lnTo>
                    <a:pt x="180" y="0"/>
                  </a:lnTo>
                  <a:lnTo>
                    <a:pt x="156" y="12"/>
                  </a:lnTo>
                  <a:lnTo>
                    <a:pt x="144" y="24"/>
                  </a:lnTo>
                  <a:lnTo>
                    <a:pt x="126" y="30"/>
                  </a:lnTo>
                  <a:lnTo>
                    <a:pt x="108" y="42"/>
                  </a:lnTo>
                  <a:lnTo>
                    <a:pt x="126" y="108"/>
                  </a:lnTo>
                  <a:lnTo>
                    <a:pt x="114" y="156"/>
                  </a:lnTo>
                  <a:lnTo>
                    <a:pt x="144" y="192"/>
                  </a:lnTo>
                  <a:lnTo>
                    <a:pt x="150" y="216"/>
                  </a:lnTo>
                  <a:lnTo>
                    <a:pt x="180" y="252"/>
                  </a:lnTo>
                  <a:lnTo>
                    <a:pt x="162" y="288"/>
                  </a:lnTo>
                  <a:lnTo>
                    <a:pt x="144" y="534"/>
                  </a:lnTo>
                  <a:lnTo>
                    <a:pt x="138" y="540"/>
                  </a:lnTo>
                  <a:lnTo>
                    <a:pt x="120" y="564"/>
                  </a:lnTo>
                  <a:lnTo>
                    <a:pt x="96" y="588"/>
                  </a:lnTo>
                  <a:lnTo>
                    <a:pt x="72" y="618"/>
                  </a:lnTo>
                  <a:lnTo>
                    <a:pt x="54" y="636"/>
                  </a:lnTo>
                  <a:lnTo>
                    <a:pt x="48" y="648"/>
                  </a:lnTo>
                  <a:lnTo>
                    <a:pt x="36" y="666"/>
                  </a:lnTo>
                  <a:lnTo>
                    <a:pt x="30" y="678"/>
                  </a:lnTo>
                  <a:lnTo>
                    <a:pt x="24" y="696"/>
                  </a:lnTo>
                  <a:lnTo>
                    <a:pt x="24" y="708"/>
                  </a:lnTo>
                  <a:lnTo>
                    <a:pt x="18" y="714"/>
                  </a:lnTo>
                  <a:lnTo>
                    <a:pt x="18" y="720"/>
                  </a:lnTo>
                  <a:lnTo>
                    <a:pt x="0" y="726"/>
                  </a:lnTo>
                  <a:lnTo>
                    <a:pt x="6" y="786"/>
                  </a:lnTo>
                  <a:lnTo>
                    <a:pt x="18" y="786"/>
                  </a:lnTo>
                  <a:lnTo>
                    <a:pt x="48" y="834"/>
                  </a:lnTo>
                  <a:lnTo>
                    <a:pt x="48" y="846"/>
                  </a:lnTo>
                  <a:lnTo>
                    <a:pt x="48" y="840"/>
                  </a:lnTo>
                  <a:lnTo>
                    <a:pt x="72" y="834"/>
                  </a:lnTo>
                  <a:lnTo>
                    <a:pt x="72" y="852"/>
                  </a:lnTo>
                  <a:lnTo>
                    <a:pt x="78" y="864"/>
                  </a:lnTo>
                  <a:lnTo>
                    <a:pt x="84" y="870"/>
                  </a:lnTo>
                  <a:lnTo>
                    <a:pt x="96" y="870"/>
                  </a:lnTo>
                  <a:lnTo>
                    <a:pt x="102" y="876"/>
                  </a:lnTo>
                  <a:lnTo>
                    <a:pt x="108" y="876"/>
                  </a:lnTo>
                  <a:lnTo>
                    <a:pt x="102" y="912"/>
                  </a:lnTo>
                  <a:lnTo>
                    <a:pt x="114" y="918"/>
                  </a:lnTo>
                  <a:lnTo>
                    <a:pt x="120" y="930"/>
                  </a:lnTo>
                  <a:lnTo>
                    <a:pt x="120" y="966"/>
                  </a:lnTo>
                  <a:lnTo>
                    <a:pt x="114" y="966"/>
                  </a:lnTo>
                  <a:lnTo>
                    <a:pt x="114" y="1002"/>
                  </a:lnTo>
                  <a:lnTo>
                    <a:pt x="120" y="1020"/>
                  </a:lnTo>
                  <a:lnTo>
                    <a:pt x="120" y="1038"/>
                  </a:lnTo>
                  <a:lnTo>
                    <a:pt x="126" y="1050"/>
                  </a:lnTo>
                  <a:lnTo>
                    <a:pt x="138" y="1056"/>
                  </a:lnTo>
                  <a:lnTo>
                    <a:pt x="144" y="1068"/>
                  </a:lnTo>
                  <a:lnTo>
                    <a:pt x="162" y="1086"/>
                  </a:lnTo>
                  <a:lnTo>
                    <a:pt x="66" y="1086"/>
                  </a:lnTo>
                  <a:lnTo>
                    <a:pt x="54" y="1092"/>
                  </a:lnTo>
                  <a:lnTo>
                    <a:pt x="48" y="1098"/>
                  </a:lnTo>
                  <a:lnTo>
                    <a:pt x="48" y="1110"/>
                  </a:lnTo>
                  <a:lnTo>
                    <a:pt x="60" y="1134"/>
                  </a:lnTo>
                  <a:lnTo>
                    <a:pt x="72" y="1146"/>
                  </a:lnTo>
                  <a:lnTo>
                    <a:pt x="78" y="1158"/>
                  </a:lnTo>
                  <a:lnTo>
                    <a:pt x="90" y="1170"/>
                  </a:lnTo>
                  <a:lnTo>
                    <a:pt x="108" y="1182"/>
                  </a:lnTo>
                  <a:lnTo>
                    <a:pt x="120" y="1188"/>
                  </a:lnTo>
                  <a:lnTo>
                    <a:pt x="132" y="1200"/>
                  </a:lnTo>
                  <a:lnTo>
                    <a:pt x="144" y="1224"/>
                  </a:lnTo>
                  <a:lnTo>
                    <a:pt x="144" y="1242"/>
                  </a:lnTo>
                  <a:lnTo>
                    <a:pt x="150" y="1254"/>
                  </a:lnTo>
                  <a:lnTo>
                    <a:pt x="156" y="1272"/>
                  </a:lnTo>
                  <a:lnTo>
                    <a:pt x="156" y="1284"/>
                  </a:lnTo>
                  <a:lnTo>
                    <a:pt x="162" y="1284"/>
                  </a:lnTo>
                  <a:lnTo>
                    <a:pt x="168" y="1290"/>
                  </a:lnTo>
                  <a:lnTo>
                    <a:pt x="186" y="1290"/>
                  </a:lnTo>
                  <a:lnTo>
                    <a:pt x="198" y="1284"/>
                  </a:lnTo>
                  <a:lnTo>
                    <a:pt x="216" y="1266"/>
                  </a:lnTo>
                  <a:lnTo>
                    <a:pt x="228" y="1260"/>
                  </a:lnTo>
                  <a:lnTo>
                    <a:pt x="234" y="1254"/>
                  </a:lnTo>
                  <a:lnTo>
                    <a:pt x="234" y="1278"/>
                  </a:lnTo>
                  <a:lnTo>
                    <a:pt x="240" y="1284"/>
                  </a:lnTo>
                  <a:lnTo>
                    <a:pt x="246" y="1284"/>
                  </a:lnTo>
                  <a:lnTo>
                    <a:pt x="258" y="1278"/>
                  </a:lnTo>
                  <a:lnTo>
                    <a:pt x="270" y="1266"/>
                  </a:lnTo>
                  <a:lnTo>
                    <a:pt x="276" y="1254"/>
                  </a:lnTo>
                  <a:lnTo>
                    <a:pt x="282" y="1248"/>
                  </a:lnTo>
                  <a:lnTo>
                    <a:pt x="372" y="1248"/>
                  </a:lnTo>
                  <a:lnTo>
                    <a:pt x="378" y="1242"/>
                  </a:lnTo>
                  <a:lnTo>
                    <a:pt x="384" y="1230"/>
                  </a:lnTo>
                  <a:lnTo>
                    <a:pt x="390" y="1224"/>
                  </a:lnTo>
                  <a:lnTo>
                    <a:pt x="396" y="1212"/>
                  </a:lnTo>
                  <a:lnTo>
                    <a:pt x="402" y="1206"/>
                  </a:lnTo>
                  <a:lnTo>
                    <a:pt x="402" y="1194"/>
                  </a:lnTo>
                  <a:lnTo>
                    <a:pt x="390" y="1182"/>
                  </a:lnTo>
                  <a:lnTo>
                    <a:pt x="384" y="1182"/>
                  </a:lnTo>
                  <a:lnTo>
                    <a:pt x="402" y="1170"/>
                  </a:lnTo>
                  <a:lnTo>
                    <a:pt x="420" y="1170"/>
                  </a:lnTo>
                  <a:lnTo>
                    <a:pt x="462" y="1164"/>
                  </a:lnTo>
                  <a:lnTo>
                    <a:pt x="510" y="1146"/>
                  </a:lnTo>
                  <a:lnTo>
                    <a:pt x="528" y="1134"/>
                  </a:lnTo>
                  <a:lnTo>
                    <a:pt x="552" y="1110"/>
                  </a:lnTo>
                  <a:lnTo>
                    <a:pt x="552" y="1092"/>
                  </a:lnTo>
                  <a:lnTo>
                    <a:pt x="588" y="1068"/>
                  </a:lnTo>
                  <a:lnTo>
                    <a:pt x="594" y="1038"/>
                  </a:lnTo>
                  <a:lnTo>
                    <a:pt x="648" y="1008"/>
                  </a:lnTo>
                  <a:lnTo>
                    <a:pt x="672" y="1008"/>
                  </a:lnTo>
                  <a:lnTo>
                    <a:pt x="672" y="996"/>
                  </a:lnTo>
                  <a:lnTo>
                    <a:pt x="684" y="996"/>
                  </a:lnTo>
                  <a:lnTo>
                    <a:pt x="684" y="990"/>
                  </a:lnTo>
                  <a:lnTo>
                    <a:pt x="678" y="984"/>
                  </a:lnTo>
                  <a:lnTo>
                    <a:pt x="666" y="966"/>
                  </a:lnTo>
                  <a:lnTo>
                    <a:pt x="654" y="960"/>
                  </a:lnTo>
                  <a:lnTo>
                    <a:pt x="648" y="960"/>
                  </a:lnTo>
                  <a:lnTo>
                    <a:pt x="642" y="936"/>
                  </a:lnTo>
                  <a:lnTo>
                    <a:pt x="660" y="930"/>
                  </a:lnTo>
                  <a:lnTo>
                    <a:pt x="642" y="918"/>
                  </a:lnTo>
                  <a:lnTo>
                    <a:pt x="642" y="876"/>
                  </a:lnTo>
                  <a:lnTo>
                    <a:pt x="636" y="870"/>
                  </a:lnTo>
                  <a:lnTo>
                    <a:pt x="624" y="870"/>
                  </a:lnTo>
                  <a:lnTo>
                    <a:pt x="618" y="876"/>
                  </a:lnTo>
                  <a:lnTo>
                    <a:pt x="606" y="876"/>
                  </a:lnTo>
                  <a:lnTo>
                    <a:pt x="600" y="870"/>
                  </a:lnTo>
                  <a:lnTo>
                    <a:pt x="600" y="852"/>
                  </a:lnTo>
                  <a:lnTo>
                    <a:pt x="606" y="840"/>
                  </a:lnTo>
                  <a:lnTo>
                    <a:pt x="618" y="834"/>
                  </a:lnTo>
                  <a:lnTo>
                    <a:pt x="630" y="822"/>
                  </a:lnTo>
                  <a:lnTo>
                    <a:pt x="630" y="810"/>
                  </a:lnTo>
                  <a:lnTo>
                    <a:pt x="618" y="786"/>
                  </a:lnTo>
                  <a:lnTo>
                    <a:pt x="612" y="780"/>
                  </a:lnTo>
                  <a:lnTo>
                    <a:pt x="630" y="762"/>
                  </a:lnTo>
                  <a:lnTo>
                    <a:pt x="648" y="750"/>
                  </a:lnTo>
                  <a:lnTo>
                    <a:pt x="642" y="732"/>
                  </a:lnTo>
                  <a:lnTo>
                    <a:pt x="636" y="708"/>
                  </a:lnTo>
                  <a:lnTo>
                    <a:pt x="648" y="708"/>
                  </a:lnTo>
                  <a:lnTo>
                    <a:pt x="648" y="690"/>
                  </a:lnTo>
                  <a:lnTo>
                    <a:pt x="660" y="678"/>
                  </a:lnTo>
                  <a:lnTo>
                    <a:pt x="672" y="672"/>
                  </a:lnTo>
                  <a:lnTo>
                    <a:pt x="678" y="666"/>
                  </a:lnTo>
                  <a:lnTo>
                    <a:pt x="678" y="660"/>
                  </a:lnTo>
                  <a:lnTo>
                    <a:pt x="672" y="654"/>
                  </a:lnTo>
                  <a:lnTo>
                    <a:pt x="672" y="642"/>
                  </a:lnTo>
                  <a:lnTo>
                    <a:pt x="666" y="636"/>
                  </a:lnTo>
                  <a:lnTo>
                    <a:pt x="678" y="624"/>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80" name="Burundi" descr="© INSCALE GmbH, 05.05.2010&#10;http://www.presentationload.com/">
              <a:extLst>
                <a:ext uri="{FF2B5EF4-FFF2-40B4-BE49-F238E27FC236}">
                  <a16:creationId xmlns:a16="http://schemas.microsoft.com/office/drawing/2014/main" id="{6158EABD-BC50-4061-BC1E-406FF159B607}"/>
                </a:ext>
              </a:extLst>
            </p:cNvPr>
            <p:cNvSpPr>
              <a:spLocks/>
            </p:cNvSpPr>
            <p:nvPr/>
          </p:nvSpPr>
          <p:spPr bwMode="gray">
            <a:xfrm>
              <a:off x="4947867" y="4331031"/>
              <a:ext cx="53313" cy="65857"/>
            </a:xfrm>
            <a:custGeom>
              <a:avLst/>
              <a:gdLst>
                <a:gd name="T0" fmla="*/ 2147483647 w 132"/>
                <a:gd name="T1" fmla="*/ 2147483647 h 168"/>
                <a:gd name="T2" fmla="*/ 2147483647 w 132"/>
                <a:gd name="T3" fmla="*/ 2147483647 h 168"/>
                <a:gd name="T4" fmla="*/ 2147483647 w 132"/>
                <a:gd name="T5" fmla="*/ 2147483647 h 168"/>
                <a:gd name="T6" fmla="*/ 2147483647 w 132"/>
                <a:gd name="T7" fmla="*/ 2147483647 h 168"/>
                <a:gd name="T8" fmla="*/ 2147483647 w 132"/>
                <a:gd name="T9" fmla="*/ 2147483647 h 168"/>
                <a:gd name="T10" fmla="*/ 2147483647 w 132"/>
                <a:gd name="T11" fmla="*/ 2147483647 h 168"/>
                <a:gd name="T12" fmla="*/ 2147483647 w 132"/>
                <a:gd name="T13" fmla="*/ 2147483647 h 168"/>
                <a:gd name="T14" fmla="*/ 2147483647 w 132"/>
                <a:gd name="T15" fmla="*/ 2147483647 h 168"/>
                <a:gd name="T16" fmla="*/ 2147483647 w 132"/>
                <a:gd name="T17" fmla="*/ 2147483647 h 168"/>
                <a:gd name="T18" fmla="*/ 2147483647 w 132"/>
                <a:gd name="T19" fmla="*/ 2147483647 h 168"/>
                <a:gd name="T20" fmla="*/ 2147483647 w 132"/>
                <a:gd name="T21" fmla="*/ 2147483647 h 168"/>
                <a:gd name="T22" fmla="*/ 2147483647 w 132"/>
                <a:gd name="T23" fmla="*/ 2147483647 h 168"/>
                <a:gd name="T24" fmla="*/ 2147483647 w 132"/>
                <a:gd name="T25" fmla="*/ 2147483647 h 168"/>
                <a:gd name="T26" fmla="*/ 2147483647 w 132"/>
                <a:gd name="T27" fmla="*/ 2147483647 h 168"/>
                <a:gd name="T28" fmla="*/ 2147483647 w 132"/>
                <a:gd name="T29" fmla="*/ 2147483647 h 168"/>
                <a:gd name="T30" fmla="*/ 2147483647 w 132"/>
                <a:gd name="T31" fmla="*/ 2147483647 h 168"/>
                <a:gd name="T32" fmla="*/ 2147483647 w 132"/>
                <a:gd name="T33" fmla="*/ 2147483647 h 168"/>
                <a:gd name="T34" fmla="*/ 2147483647 w 132"/>
                <a:gd name="T35" fmla="*/ 2147483647 h 168"/>
                <a:gd name="T36" fmla="*/ 2147483647 w 132"/>
                <a:gd name="T37" fmla="*/ 2147483647 h 168"/>
                <a:gd name="T38" fmla="*/ 2147483647 w 132"/>
                <a:gd name="T39" fmla="*/ 2147483647 h 168"/>
                <a:gd name="T40" fmla="*/ 2147483647 w 132"/>
                <a:gd name="T41" fmla="*/ 2147483647 h 168"/>
                <a:gd name="T42" fmla="*/ 2147483647 w 132"/>
                <a:gd name="T43" fmla="*/ 2147483647 h 168"/>
                <a:gd name="T44" fmla="*/ 2147483647 w 132"/>
                <a:gd name="T45" fmla="*/ 2147483647 h 168"/>
                <a:gd name="T46" fmla="*/ 2147483647 w 132"/>
                <a:gd name="T47" fmla="*/ 0 h 168"/>
                <a:gd name="T48" fmla="*/ 2147483647 w 132"/>
                <a:gd name="T49" fmla="*/ 0 h 168"/>
                <a:gd name="T50" fmla="*/ 2147483647 w 132"/>
                <a:gd name="T51" fmla="*/ 0 h 168"/>
                <a:gd name="T52" fmla="*/ 2147483647 w 132"/>
                <a:gd name="T53" fmla="*/ 2147483647 h 168"/>
                <a:gd name="T54" fmla="*/ 2147483647 w 132"/>
                <a:gd name="T55" fmla="*/ 2147483647 h 168"/>
                <a:gd name="T56" fmla="*/ 2147483647 w 132"/>
                <a:gd name="T57" fmla="*/ 2147483647 h 168"/>
                <a:gd name="T58" fmla="*/ 2147483647 w 132"/>
                <a:gd name="T59" fmla="*/ 2147483647 h 168"/>
                <a:gd name="T60" fmla="*/ 2147483647 w 132"/>
                <a:gd name="T61" fmla="*/ 2147483647 h 168"/>
                <a:gd name="T62" fmla="*/ 2147483647 w 132"/>
                <a:gd name="T63" fmla="*/ 2147483647 h 168"/>
                <a:gd name="T64" fmla="*/ 0 w 132"/>
                <a:gd name="T65" fmla="*/ 2147483647 h 168"/>
                <a:gd name="T66" fmla="*/ 2147483647 w 132"/>
                <a:gd name="T67" fmla="*/ 2147483647 h 168"/>
                <a:gd name="T68" fmla="*/ 2147483647 w 132"/>
                <a:gd name="T69" fmla="*/ 2147483647 h 168"/>
                <a:gd name="T70" fmla="*/ 2147483647 w 132"/>
                <a:gd name="T71" fmla="*/ 2147483647 h 168"/>
                <a:gd name="T72" fmla="*/ 2147483647 w 132"/>
                <a:gd name="T73" fmla="*/ 2147483647 h 168"/>
                <a:gd name="T74" fmla="*/ 2147483647 w 132"/>
                <a:gd name="T75" fmla="*/ 2147483647 h 1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2"/>
                <a:gd name="T115" fmla="*/ 0 h 168"/>
                <a:gd name="T116" fmla="*/ 132 w 132"/>
                <a:gd name="T117" fmla="*/ 168 h 1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2" h="168">
                  <a:moveTo>
                    <a:pt x="36" y="72"/>
                  </a:moveTo>
                  <a:lnTo>
                    <a:pt x="36" y="96"/>
                  </a:lnTo>
                  <a:lnTo>
                    <a:pt x="30" y="102"/>
                  </a:lnTo>
                  <a:lnTo>
                    <a:pt x="30" y="138"/>
                  </a:lnTo>
                  <a:lnTo>
                    <a:pt x="36" y="156"/>
                  </a:lnTo>
                  <a:lnTo>
                    <a:pt x="42" y="168"/>
                  </a:lnTo>
                  <a:lnTo>
                    <a:pt x="54" y="168"/>
                  </a:lnTo>
                  <a:lnTo>
                    <a:pt x="60" y="162"/>
                  </a:lnTo>
                  <a:lnTo>
                    <a:pt x="72" y="156"/>
                  </a:lnTo>
                  <a:lnTo>
                    <a:pt x="84" y="144"/>
                  </a:lnTo>
                  <a:lnTo>
                    <a:pt x="90" y="132"/>
                  </a:lnTo>
                  <a:lnTo>
                    <a:pt x="90" y="114"/>
                  </a:lnTo>
                  <a:lnTo>
                    <a:pt x="96" y="102"/>
                  </a:lnTo>
                  <a:lnTo>
                    <a:pt x="114" y="84"/>
                  </a:lnTo>
                  <a:lnTo>
                    <a:pt x="126" y="84"/>
                  </a:lnTo>
                  <a:lnTo>
                    <a:pt x="120" y="72"/>
                  </a:lnTo>
                  <a:lnTo>
                    <a:pt x="132" y="66"/>
                  </a:lnTo>
                  <a:lnTo>
                    <a:pt x="132" y="48"/>
                  </a:lnTo>
                  <a:lnTo>
                    <a:pt x="114" y="48"/>
                  </a:lnTo>
                  <a:lnTo>
                    <a:pt x="108" y="42"/>
                  </a:lnTo>
                  <a:lnTo>
                    <a:pt x="102" y="42"/>
                  </a:lnTo>
                  <a:lnTo>
                    <a:pt x="102" y="24"/>
                  </a:lnTo>
                  <a:lnTo>
                    <a:pt x="108" y="12"/>
                  </a:lnTo>
                  <a:lnTo>
                    <a:pt x="108" y="0"/>
                  </a:lnTo>
                  <a:lnTo>
                    <a:pt x="120" y="0"/>
                  </a:lnTo>
                  <a:lnTo>
                    <a:pt x="66" y="0"/>
                  </a:lnTo>
                  <a:lnTo>
                    <a:pt x="60" y="24"/>
                  </a:lnTo>
                  <a:lnTo>
                    <a:pt x="48" y="30"/>
                  </a:lnTo>
                  <a:lnTo>
                    <a:pt x="42" y="36"/>
                  </a:lnTo>
                  <a:lnTo>
                    <a:pt x="30" y="36"/>
                  </a:lnTo>
                  <a:lnTo>
                    <a:pt x="24" y="30"/>
                  </a:lnTo>
                  <a:lnTo>
                    <a:pt x="18" y="18"/>
                  </a:lnTo>
                  <a:lnTo>
                    <a:pt x="0" y="18"/>
                  </a:lnTo>
                  <a:lnTo>
                    <a:pt x="12" y="48"/>
                  </a:lnTo>
                  <a:lnTo>
                    <a:pt x="18" y="54"/>
                  </a:lnTo>
                  <a:lnTo>
                    <a:pt x="30" y="60"/>
                  </a:lnTo>
                  <a:lnTo>
                    <a:pt x="36" y="66"/>
                  </a:lnTo>
                  <a:lnTo>
                    <a:pt x="36" y="7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81" name="Burkina Faso" descr="© INSCALE GmbH, 05.05.2010&#10;http://www.presentationload.com/">
              <a:extLst>
                <a:ext uri="{FF2B5EF4-FFF2-40B4-BE49-F238E27FC236}">
                  <a16:creationId xmlns:a16="http://schemas.microsoft.com/office/drawing/2014/main" id="{6B55E295-26E4-451D-8559-5E07B55F924B}"/>
                </a:ext>
              </a:extLst>
            </p:cNvPr>
            <p:cNvSpPr>
              <a:spLocks/>
            </p:cNvSpPr>
            <p:nvPr/>
          </p:nvSpPr>
          <p:spPr bwMode="gray">
            <a:xfrm>
              <a:off x="3972557" y="3771247"/>
              <a:ext cx="227363" cy="178755"/>
            </a:xfrm>
            <a:custGeom>
              <a:avLst/>
              <a:gdLst>
                <a:gd name="T0" fmla="*/ 2147483647 w 570"/>
                <a:gd name="T1" fmla="*/ 2147483647 h 450"/>
                <a:gd name="T2" fmla="*/ 2147483647 w 570"/>
                <a:gd name="T3" fmla="*/ 2147483647 h 450"/>
                <a:gd name="T4" fmla="*/ 2147483647 w 570"/>
                <a:gd name="T5" fmla="*/ 2147483647 h 450"/>
                <a:gd name="T6" fmla="*/ 2147483647 w 570"/>
                <a:gd name="T7" fmla="*/ 2147483647 h 450"/>
                <a:gd name="T8" fmla="*/ 2147483647 w 570"/>
                <a:gd name="T9" fmla="*/ 2147483647 h 450"/>
                <a:gd name="T10" fmla="*/ 2147483647 w 570"/>
                <a:gd name="T11" fmla="*/ 2147483647 h 450"/>
                <a:gd name="T12" fmla="*/ 2147483647 w 570"/>
                <a:gd name="T13" fmla="*/ 2147483647 h 450"/>
                <a:gd name="T14" fmla="*/ 2147483647 w 570"/>
                <a:gd name="T15" fmla="*/ 2147483647 h 450"/>
                <a:gd name="T16" fmla="*/ 2147483647 w 570"/>
                <a:gd name="T17" fmla="*/ 2147483647 h 450"/>
                <a:gd name="T18" fmla="*/ 2147483647 w 570"/>
                <a:gd name="T19" fmla="*/ 2147483647 h 450"/>
                <a:gd name="T20" fmla="*/ 2147483647 w 570"/>
                <a:gd name="T21" fmla="*/ 2147483647 h 450"/>
                <a:gd name="T22" fmla="*/ 2147483647 w 570"/>
                <a:gd name="T23" fmla="*/ 2147483647 h 450"/>
                <a:gd name="T24" fmla="*/ 2147483647 w 570"/>
                <a:gd name="T25" fmla="*/ 2147483647 h 450"/>
                <a:gd name="T26" fmla="*/ 2147483647 w 570"/>
                <a:gd name="T27" fmla="*/ 2147483647 h 450"/>
                <a:gd name="T28" fmla="*/ 2147483647 w 570"/>
                <a:gd name="T29" fmla="*/ 2147483647 h 450"/>
                <a:gd name="T30" fmla="*/ 2147483647 w 570"/>
                <a:gd name="T31" fmla="*/ 2147483647 h 450"/>
                <a:gd name="T32" fmla="*/ 2147483647 w 570"/>
                <a:gd name="T33" fmla="*/ 2147483647 h 450"/>
                <a:gd name="T34" fmla="*/ 2147483647 w 570"/>
                <a:gd name="T35" fmla="*/ 2147483647 h 450"/>
                <a:gd name="T36" fmla="*/ 2147483647 w 570"/>
                <a:gd name="T37" fmla="*/ 2147483647 h 450"/>
                <a:gd name="T38" fmla="*/ 2147483647 w 570"/>
                <a:gd name="T39" fmla="*/ 2147483647 h 450"/>
                <a:gd name="T40" fmla="*/ 2147483647 w 570"/>
                <a:gd name="T41" fmla="*/ 2147483647 h 450"/>
                <a:gd name="T42" fmla="*/ 2147483647 w 570"/>
                <a:gd name="T43" fmla="*/ 2147483647 h 450"/>
                <a:gd name="T44" fmla="*/ 2147483647 w 570"/>
                <a:gd name="T45" fmla="*/ 2147483647 h 450"/>
                <a:gd name="T46" fmla="*/ 2147483647 w 570"/>
                <a:gd name="T47" fmla="*/ 2147483647 h 450"/>
                <a:gd name="T48" fmla="*/ 2147483647 w 570"/>
                <a:gd name="T49" fmla="*/ 2147483647 h 450"/>
                <a:gd name="T50" fmla="*/ 2147483647 w 570"/>
                <a:gd name="T51" fmla="*/ 2147483647 h 450"/>
                <a:gd name="T52" fmla="*/ 2147483647 w 570"/>
                <a:gd name="T53" fmla="*/ 2147483647 h 450"/>
                <a:gd name="T54" fmla="*/ 2147483647 w 570"/>
                <a:gd name="T55" fmla="*/ 2147483647 h 450"/>
                <a:gd name="T56" fmla="*/ 2147483647 w 570"/>
                <a:gd name="T57" fmla="*/ 2147483647 h 450"/>
                <a:gd name="T58" fmla="*/ 2147483647 w 570"/>
                <a:gd name="T59" fmla="*/ 2147483647 h 450"/>
                <a:gd name="T60" fmla="*/ 2147483647 w 570"/>
                <a:gd name="T61" fmla="*/ 2147483647 h 450"/>
                <a:gd name="T62" fmla="*/ 2147483647 w 570"/>
                <a:gd name="T63" fmla="*/ 2147483647 h 450"/>
                <a:gd name="T64" fmla="*/ 2147483647 w 570"/>
                <a:gd name="T65" fmla="*/ 2147483647 h 450"/>
                <a:gd name="T66" fmla="*/ 2147483647 w 570"/>
                <a:gd name="T67" fmla="*/ 0 h 450"/>
                <a:gd name="T68" fmla="*/ 2147483647 w 570"/>
                <a:gd name="T69" fmla="*/ 2147483647 h 450"/>
                <a:gd name="T70" fmla="*/ 2147483647 w 570"/>
                <a:gd name="T71" fmla="*/ 2147483647 h 450"/>
                <a:gd name="T72" fmla="*/ 2147483647 w 570"/>
                <a:gd name="T73" fmla="*/ 2147483647 h 450"/>
                <a:gd name="T74" fmla="*/ 2147483647 w 570"/>
                <a:gd name="T75" fmla="*/ 2147483647 h 450"/>
                <a:gd name="T76" fmla="*/ 2147483647 w 570"/>
                <a:gd name="T77" fmla="*/ 2147483647 h 450"/>
                <a:gd name="T78" fmla="*/ 2147483647 w 570"/>
                <a:gd name="T79" fmla="*/ 2147483647 h 450"/>
                <a:gd name="T80" fmla="*/ 2147483647 w 570"/>
                <a:gd name="T81" fmla="*/ 2147483647 h 450"/>
                <a:gd name="T82" fmla="*/ 2147483647 w 570"/>
                <a:gd name="T83" fmla="*/ 2147483647 h 450"/>
                <a:gd name="T84" fmla="*/ 2147483647 w 570"/>
                <a:gd name="T85" fmla="*/ 2147483647 h 450"/>
                <a:gd name="T86" fmla="*/ 2147483647 w 570"/>
                <a:gd name="T87" fmla="*/ 2147483647 h 450"/>
                <a:gd name="T88" fmla="*/ 2147483647 w 570"/>
                <a:gd name="T89" fmla="*/ 2147483647 h 450"/>
                <a:gd name="T90" fmla="*/ 2147483647 w 570"/>
                <a:gd name="T91" fmla="*/ 2147483647 h 450"/>
                <a:gd name="T92" fmla="*/ 2147483647 w 570"/>
                <a:gd name="T93" fmla="*/ 2147483647 h 450"/>
                <a:gd name="T94" fmla="*/ 2147483647 w 570"/>
                <a:gd name="T95" fmla="*/ 2147483647 h 450"/>
                <a:gd name="T96" fmla="*/ 2147483647 w 570"/>
                <a:gd name="T97" fmla="*/ 2147483647 h 450"/>
                <a:gd name="T98" fmla="*/ 2147483647 w 570"/>
                <a:gd name="T99" fmla="*/ 2147483647 h 450"/>
                <a:gd name="T100" fmla="*/ 2147483647 w 570"/>
                <a:gd name="T101" fmla="*/ 2147483647 h 450"/>
                <a:gd name="T102" fmla="*/ 2147483647 w 570"/>
                <a:gd name="T103" fmla="*/ 2147483647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0"/>
                <a:gd name="T157" fmla="*/ 0 h 450"/>
                <a:gd name="T158" fmla="*/ 570 w 570"/>
                <a:gd name="T159" fmla="*/ 450 h 4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0" h="450">
                  <a:moveTo>
                    <a:pt x="0" y="312"/>
                  </a:moveTo>
                  <a:lnTo>
                    <a:pt x="6" y="366"/>
                  </a:lnTo>
                  <a:lnTo>
                    <a:pt x="6" y="390"/>
                  </a:lnTo>
                  <a:lnTo>
                    <a:pt x="30" y="384"/>
                  </a:lnTo>
                  <a:lnTo>
                    <a:pt x="30" y="390"/>
                  </a:lnTo>
                  <a:lnTo>
                    <a:pt x="36" y="396"/>
                  </a:lnTo>
                  <a:lnTo>
                    <a:pt x="36" y="408"/>
                  </a:lnTo>
                  <a:lnTo>
                    <a:pt x="42" y="420"/>
                  </a:lnTo>
                  <a:lnTo>
                    <a:pt x="54" y="426"/>
                  </a:lnTo>
                  <a:lnTo>
                    <a:pt x="60" y="432"/>
                  </a:lnTo>
                  <a:lnTo>
                    <a:pt x="72" y="432"/>
                  </a:lnTo>
                  <a:lnTo>
                    <a:pt x="78" y="438"/>
                  </a:lnTo>
                  <a:lnTo>
                    <a:pt x="90" y="438"/>
                  </a:lnTo>
                  <a:lnTo>
                    <a:pt x="96" y="432"/>
                  </a:lnTo>
                  <a:lnTo>
                    <a:pt x="96" y="426"/>
                  </a:lnTo>
                  <a:lnTo>
                    <a:pt x="120" y="414"/>
                  </a:lnTo>
                  <a:lnTo>
                    <a:pt x="150" y="414"/>
                  </a:lnTo>
                  <a:lnTo>
                    <a:pt x="168" y="420"/>
                  </a:lnTo>
                  <a:lnTo>
                    <a:pt x="186" y="438"/>
                  </a:lnTo>
                  <a:lnTo>
                    <a:pt x="186" y="450"/>
                  </a:lnTo>
                  <a:lnTo>
                    <a:pt x="204" y="444"/>
                  </a:lnTo>
                  <a:lnTo>
                    <a:pt x="198" y="450"/>
                  </a:lnTo>
                  <a:lnTo>
                    <a:pt x="198" y="396"/>
                  </a:lnTo>
                  <a:lnTo>
                    <a:pt x="192" y="366"/>
                  </a:lnTo>
                  <a:lnTo>
                    <a:pt x="186" y="366"/>
                  </a:lnTo>
                  <a:lnTo>
                    <a:pt x="186" y="348"/>
                  </a:lnTo>
                  <a:lnTo>
                    <a:pt x="192" y="336"/>
                  </a:lnTo>
                  <a:lnTo>
                    <a:pt x="198" y="330"/>
                  </a:lnTo>
                  <a:lnTo>
                    <a:pt x="354" y="330"/>
                  </a:lnTo>
                  <a:lnTo>
                    <a:pt x="378" y="318"/>
                  </a:lnTo>
                  <a:lnTo>
                    <a:pt x="396" y="324"/>
                  </a:lnTo>
                  <a:lnTo>
                    <a:pt x="414" y="324"/>
                  </a:lnTo>
                  <a:lnTo>
                    <a:pt x="438" y="330"/>
                  </a:lnTo>
                  <a:lnTo>
                    <a:pt x="456" y="330"/>
                  </a:lnTo>
                  <a:lnTo>
                    <a:pt x="462" y="318"/>
                  </a:lnTo>
                  <a:lnTo>
                    <a:pt x="474" y="318"/>
                  </a:lnTo>
                  <a:lnTo>
                    <a:pt x="480" y="306"/>
                  </a:lnTo>
                  <a:lnTo>
                    <a:pt x="498" y="288"/>
                  </a:lnTo>
                  <a:lnTo>
                    <a:pt x="528" y="288"/>
                  </a:lnTo>
                  <a:lnTo>
                    <a:pt x="534" y="294"/>
                  </a:lnTo>
                  <a:lnTo>
                    <a:pt x="534" y="282"/>
                  </a:lnTo>
                  <a:lnTo>
                    <a:pt x="540" y="282"/>
                  </a:lnTo>
                  <a:lnTo>
                    <a:pt x="546" y="276"/>
                  </a:lnTo>
                  <a:lnTo>
                    <a:pt x="558" y="276"/>
                  </a:lnTo>
                  <a:lnTo>
                    <a:pt x="564" y="258"/>
                  </a:lnTo>
                  <a:lnTo>
                    <a:pt x="570" y="252"/>
                  </a:lnTo>
                  <a:lnTo>
                    <a:pt x="564" y="252"/>
                  </a:lnTo>
                  <a:lnTo>
                    <a:pt x="540" y="216"/>
                  </a:lnTo>
                  <a:lnTo>
                    <a:pt x="564" y="210"/>
                  </a:lnTo>
                  <a:lnTo>
                    <a:pt x="558" y="198"/>
                  </a:lnTo>
                  <a:lnTo>
                    <a:pt x="546" y="186"/>
                  </a:lnTo>
                  <a:lnTo>
                    <a:pt x="534" y="186"/>
                  </a:lnTo>
                  <a:lnTo>
                    <a:pt x="522" y="198"/>
                  </a:lnTo>
                  <a:lnTo>
                    <a:pt x="504" y="198"/>
                  </a:lnTo>
                  <a:lnTo>
                    <a:pt x="498" y="186"/>
                  </a:lnTo>
                  <a:lnTo>
                    <a:pt x="486" y="180"/>
                  </a:lnTo>
                  <a:lnTo>
                    <a:pt x="462" y="156"/>
                  </a:lnTo>
                  <a:lnTo>
                    <a:pt x="462" y="150"/>
                  </a:lnTo>
                  <a:lnTo>
                    <a:pt x="480" y="132"/>
                  </a:lnTo>
                  <a:lnTo>
                    <a:pt x="468" y="132"/>
                  </a:lnTo>
                  <a:lnTo>
                    <a:pt x="468" y="114"/>
                  </a:lnTo>
                  <a:lnTo>
                    <a:pt x="444" y="114"/>
                  </a:lnTo>
                  <a:lnTo>
                    <a:pt x="432" y="108"/>
                  </a:lnTo>
                  <a:lnTo>
                    <a:pt x="420" y="84"/>
                  </a:lnTo>
                  <a:lnTo>
                    <a:pt x="420" y="60"/>
                  </a:lnTo>
                  <a:lnTo>
                    <a:pt x="414" y="48"/>
                  </a:lnTo>
                  <a:lnTo>
                    <a:pt x="414" y="12"/>
                  </a:lnTo>
                  <a:lnTo>
                    <a:pt x="390" y="0"/>
                  </a:lnTo>
                  <a:lnTo>
                    <a:pt x="342" y="0"/>
                  </a:lnTo>
                  <a:lnTo>
                    <a:pt x="324" y="18"/>
                  </a:lnTo>
                  <a:lnTo>
                    <a:pt x="300" y="18"/>
                  </a:lnTo>
                  <a:lnTo>
                    <a:pt x="282" y="42"/>
                  </a:lnTo>
                  <a:lnTo>
                    <a:pt x="258" y="42"/>
                  </a:lnTo>
                  <a:lnTo>
                    <a:pt x="258" y="60"/>
                  </a:lnTo>
                  <a:lnTo>
                    <a:pt x="252" y="66"/>
                  </a:lnTo>
                  <a:lnTo>
                    <a:pt x="252" y="72"/>
                  </a:lnTo>
                  <a:lnTo>
                    <a:pt x="240" y="72"/>
                  </a:lnTo>
                  <a:lnTo>
                    <a:pt x="228" y="60"/>
                  </a:lnTo>
                  <a:lnTo>
                    <a:pt x="222" y="60"/>
                  </a:lnTo>
                  <a:lnTo>
                    <a:pt x="216" y="66"/>
                  </a:lnTo>
                  <a:lnTo>
                    <a:pt x="210" y="78"/>
                  </a:lnTo>
                  <a:lnTo>
                    <a:pt x="198" y="84"/>
                  </a:lnTo>
                  <a:lnTo>
                    <a:pt x="192" y="96"/>
                  </a:lnTo>
                  <a:lnTo>
                    <a:pt x="186" y="102"/>
                  </a:lnTo>
                  <a:lnTo>
                    <a:pt x="186" y="108"/>
                  </a:lnTo>
                  <a:lnTo>
                    <a:pt x="168" y="108"/>
                  </a:lnTo>
                  <a:lnTo>
                    <a:pt x="168" y="144"/>
                  </a:lnTo>
                  <a:lnTo>
                    <a:pt x="144" y="150"/>
                  </a:lnTo>
                  <a:lnTo>
                    <a:pt x="114" y="120"/>
                  </a:lnTo>
                  <a:lnTo>
                    <a:pt x="96" y="150"/>
                  </a:lnTo>
                  <a:lnTo>
                    <a:pt x="102" y="156"/>
                  </a:lnTo>
                  <a:lnTo>
                    <a:pt x="102" y="186"/>
                  </a:lnTo>
                  <a:lnTo>
                    <a:pt x="84" y="186"/>
                  </a:lnTo>
                  <a:lnTo>
                    <a:pt x="84" y="216"/>
                  </a:lnTo>
                  <a:lnTo>
                    <a:pt x="78" y="222"/>
                  </a:lnTo>
                  <a:lnTo>
                    <a:pt x="72" y="222"/>
                  </a:lnTo>
                  <a:lnTo>
                    <a:pt x="78" y="228"/>
                  </a:lnTo>
                  <a:lnTo>
                    <a:pt x="78" y="240"/>
                  </a:lnTo>
                  <a:lnTo>
                    <a:pt x="42" y="240"/>
                  </a:lnTo>
                  <a:lnTo>
                    <a:pt x="36" y="246"/>
                  </a:lnTo>
                  <a:lnTo>
                    <a:pt x="30" y="246"/>
                  </a:lnTo>
                  <a:lnTo>
                    <a:pt x="12" y="258"/>
                  </a:lnTo>
                  <a:lnTo>
                    <a:pt x="36" y="288"/>
                  </a:lnTo>
                  <a:lnTo>
                    <a:pt x="24" y="312"/>
                  </a:lnTo>
                  <a:lnTo>
                    <a:pt x="0" y="31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82" name="Bulgarien" descr="© INSCALE GmbH, 05.05.2010&#10;http://www.presentationload.com/">
              <a:extLst>
                <a:ext uri="{FF2B5EF4-FFF2-40B4-BE49-F238E27FC236}">
                  <a16:creationId xmlns:a16="http://schemas.microsoft.com/office/drawing/2014/main" id="{E4606204-F193-4D89-9BEB-A64A7D829F06}"/>
                </a:ext>
              </a:extLst>
            </p:cNvPr>
            <p:cNvSpPr>
              <a:spLocks/>
            </p:cNvSpPr>
            <p:nvPr/>
          </p:nvSpPr>
          <p:spPr bwMode="gray">
            <a:xfrm>
              <a:off x="4729911" y="2839841"/>
              <a:ext cx="156802" cy="89378"/>
            </a:xfrm>
            <a:custGeom>
              <a:avLst/>
              <a:gdLst>
                <a:gd name="T0" fmla="*/ 2147483647 w 396"/>
                <a:gd name="T1" fmla="*/ 2147483647 h 228"/>
                <a:gd name="T2" fmla="*/ 2147483647 w 396"/>
                <a:gd name="T3" fmla="*/ 2147483647 h 228"/>
                <a:gd name="T4" fmla="*/ 2147483647 w 396"/>
                <a:gd name="T5" fmla="*/ 2147483647 h 228"/>
                <a:gd name="T6" fmla="*/ 2147483647 w 396"/>
                <a:gd name="T7" fmla="*/ 2147483647 h 228"/>
                <a:gd name="T8" fmla="*/ 2147483647 w 396"/>
                <a:gd name="T9" fmla="*/ 2147483647 h 228"/>
                <a:gd name="T10" fmla="*/ 2147483647 w 396"/>
                <a:gd name="T11" fmla="*/ 2147483647 h 228"/>
                <a:gd name="T12" fmla="*/ 2147483647 w 396"/>
                <a:gd name="T13" fmla="*/ 2147483647 h 228"/>
                <a:gd name="T14" fmla="*/ 2147483647 w 396"/>
                <a:gd name="T15" fmla="*/ 0 h 228"/>
                <a:gd name="T16" fmla="*/ 2147483647 w 396"/>
                <a:gd name="T17" fmla="*/ 2147483647 h 228"/>
                <a:gd name="T18" fmla="*/ 2147483647 w 396"/>
                <a:gd name="T19" fmla="*/ 2147483647 h 228"/>
                <a:gd name="T20" fmla="*/ 2147483647 w 396"/>
                <a:gd name="T21" fmla="*/ 2147483647 h 228"/>
                <a:gd name="T22" fmla="*/ 2147483647 w 396"/>
                <a:gd name="T23" fmla="*/ 2147483647 h 228"/>
                <a:gd name="T24" fmla="*/ 2147483647 w 396"/>
                <a:gd name="T25" fmla="*/ 2147483647 h 228"/>
                <a:gd name="T26" fmla="*/ 2147483647 w 396"/>
                <a:gd name="T27" fmla="*/ 2147483647 h 228"/>
                <a:gd name="T28" fmla="*/ 2147483647 w 396"/>
                <a:gd name="T29" fmla="*/ 2147483647 h 228"/>
                <a:gd name="T30" fmla="*/ 2147483647 w 396"/>
                <a:gd name="T31" fmla="*/ 2147483647 h 228"/>
                <a:gd name="T32" fmla="*/ 2147483647 w 396"/>
                <a:gd name="T33" fmla="*/ 2147483647 h 228"/>
                <a:gd name="T34" fmla="*/ 2147483647 w 396"/>
                <a:gd name="T35" fmla="*/ 2147483647 h 228"/>
                <a:gd name="T36" fmla="*/ 2147483647 w 396"/>
                <a:gd name="T37" fmla="*/ 2147483647 h 228"/>
                <a:gd name="T38" fmla="*/ 2147483647 w 396"/>
                <a:gd name="T39" fmla="*/ 2147483647 h 228"/>
                <a:gd name="T40" fmla="*/ 2147483647 w 396"/>
                <a:gd name="T41" fmla="*/ 2147483647 h 228"/>
                <a:gd name="T42" fmla="*/ 2147483647 w 396"/>
                <a:gd name="T43" fmla="*/ 0 h 228"/>
                <a:gd name="T44" fmla="*/ 0 w 396"/>
                <a:gd name="T45" fmla="*/ 2147483647 h 228"/>
                <a:gd name="T46" fmla="*/ 2147483647 w 396"/>
                <a:gd name="T47" fmla="*/ 2147483647 h 228"/>
                <a:gd name="T48" fmla="*/ 2147483647 w 396"/>
                <a:gd name="T49" fmla="*/ 2147483647 h 228"/>
                <a:gd name="T50" fmla="*/ 2147483647 w 396"/>
                <a:gd name="T51" fmla="*/ 2147483647 h 228"/>
                <a:gd name="T52" fmla="*/ 2147483647 w 396"/>
                <a:gd name="T53" fmla="*/ 2147483647 h 228"/>
                <a:gd name="T54" fmla="*/ 2147483647 w 396"/>
                <a:gd name="T55" fmla="*/ 2147483647 h 228"/>
                <a:gd name="T56" fmla="*/ 0 w 396"/>
                <a:gd name="T57" fmla="*/ 2147483647 h 228"/>
                <a:gd name="T58" fmla="*/ 2147483647 w 396"/>
                <a:gd name="T59" fmla="*/ 2147483647 h 228"/>
                <a:gd name="T60" fmla="*/ 2147483647 w 396"/>
                <a:gd name="T61" fmla="*/ 2147483647 h 228"/>
                <a:gd name="T62" fmla="*/ 2147483647 w 396"/>
                <a:gd name="T63" fmla="*/ 2147483647 h 228"/>
                <a:gd name="T64" fmla="*/ 2147483647 w 396"/>
                <a:gd name="T65" fmla="*/ 2147483647 h 228"/>
                <a:gd name="T66" fmla="*/ 2147483647 w 396"/>
                <a:gd name="T67" fmla="*/ 2147483647 h 228"/>
                <a:gd name="T68" fmla="*/ 2147483647 w 396"/>
                <a:gd name="T69" fmla="*/ 2147483647 h 228"/>
                <a:gd name="T70" fmla="*/ 2147483647 w 396"/>
                <a:gd name="T71" fmla="*/ 2147483647 h 228"/>
                <a:gd name="T72" fmla="*/ 2147483647 w 396"/>
                <a:gd name="T73" fmla="*/ 2147483647 h 228"/>
                <a:gd name="T74" fmla="*/ 2147483647 w 396"/>
                <a:gd name="T75" fmla="*/ 2147483647 h 228"/>
                <a:gd name="T76" fmla="*/ 2147483647 w 396"/>
                <a:gd name="T77" fmla="*/ 2147483647 h 228"/>
                <a:gd name="T78" fmla="*/ 2147483647 w 396"/>
                <a:gd name="T79" fmla="*/ 2147483647 h 228"/>
                <a:gd name="T80" fmla="*/ 2147483647 w 396"/>
                <a:gd name="T81" fmla="*/ 2147483647 h 228"/>
                <a:gd name="T82" fmla="*/ 2147483647 w 396"/>
                <a:gd name="T83" fmla="*/ 2147483647 h 228"/>
                <a:gd name="T84" fmla="*/ 2147483647 w 396"/>
                <a:gd name="T85" fmla="*/ 2147483647 h 228"/>
                <a:gd name="T86" fmla="*/ 2147483647 w 396"/>
                <a:gd name="T87" fmla="*/ 2147483647 h 228"/>
                <a:gd name="T88" fmla="*/ 2147483647 w 396"/>
                <a:gd name="T89" fmla="*/ 2147483647 h 228"/>
                <a:gd name="T90" fmla="*/ 2147483647 w 396"/>
                <a:gd name="T91" fmla="*/ 2147483647 h 228"/>
                <a:gd name="T92" fmla="*/ 2147483647 w 396"/>
                <a:gd name="T93" fmla="*/ 2147483647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6"/>
                <a:gd name="T142" fmla="*/ 0 h 228"/>
                <a:gd name="T143" fmla="*/ 396 w 396"/>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6" h="228">
                  <a:moveTo>
                    <a:pt x="372" y="168"/>
                  </a:moveTo>
                  <a:lnTo>
                    <a:pt x="336" y="126"/>
                  </a:lnTo>
                  <a:lnTo>
                    <a:pt x="354" y="108"/>
                  </a:lnTo>
                  <a:lnTo>
                    <a:pt x="354" y="78"/>
                  </a:lnTo>
                  <a:lnTo>
                    <a:pt x="360" y="72"/>
                  </a:lnTo>
                  <a:lnTo>
                    <a:pt x="372" y="66"/>
                  </a:lnTo>
                  <a:lnTo>
                    <a:pt x="396" y="66"/>
                  </a:lnTo>
                  <a:lnTo>
                    <a:pt x="396" y="48"/>
                  </a:lnTo>
                  <a:lnTo>
                    <a:pt x="390" y="36"/>
                  </a:lnTo>
                  <a:lnTo>
                    <a:pt x="372" y="36"/>
                  </a:lnTo>
                  <a:lnTo>
                    <a:pt x="348" y="12"/>
                  </a:lnTo>
                  <a:lnTo>
                    <a:pt x="324" y="12"/>
                  </a:lnTo>
                  <a:lnTo>
                    <a:pt x="312" y="6"/>
                  </a:lnTo>
                  <a:lnTo>
                    <a:pt x="300" y="6"/>
                  </a:lnTo>
                  <a:lnTo>
                    <a:pt x="288" y="0"/>
                  </a:lnTo>
                  <a:lnTo>
                    <a:pt x="282" y="0"/>
                  </a:lnTo>
                  <a:lnTo>
                    <a:pt x="282" y="12"/>
                  </a:lnTo>
                  <a:lnTo>
                    <a:pt x="252" y="6"/>
                  </a:lnTo>
                  <a:lnTo>
                    <a:pt x="252" y="12"/>
                  </a:lnTo>
                  <a:lnTo>
                    <a:pt x="246" y="12"/>
                  </a:lnTo>
                  <a:lnTo>
                    <a:pt x="234" y="18"/>
                  </a:lnTo>
                  <a:lnTo>
                    <a:pt x="228" y="18"/>
                  </a:lnTo>
                  <a:lnTo>
                    <a:pt x="222" y="24"/>
                  </a:lnTo>
                  <a:lnTo>
                    <a:pt x="222" y="36"/>
                  </a:lnTo>
                  <a:lnTo>
                    <a:pt x="216" y="42"/>
                  </a:lnTo>
                  <a:lnTo>
                    <a:pt x="198" y="42"/>
                  </a:lnTo>
                  <a:lnTo>
                    <a:pt x="186" y="36"/>
                  </a:lnTo>
                  <a:lnTo>
                    <a:pt x="180" y="30"/>
                  </a:lnTo>
                  <a:lnTo>
                    <a:pt x="156" y="30"/>
                  </a:lnTo>
                  <a:lnTo>
                    <a:pt x="138" y="24"/>
                  </a:lnTo>
                  <a:lnTo>
                    <a:pt x="138" y="30"/>
                  </a:lnTo>
                  <a:lnTo>
                    <a:pt x="132" y="36"/>
                  </a:lnTo>
                  <a:lnTo>
                    <a:pt x="108" y="36"/>
                  </a:lnTo>
                  <a:lnTo>
                    <a:pt x="102" y="30"/>
                  </a:lnTo>
                  <a:lnTo>
                    <a:pt x="90" y="30"/>
                  </a:lnTo>
                  <a:lnTo>
                    <a:pt x="66" y="18"/>
                  </a:lnTo>
                  <a:lnTo>
                    <a:pt x="54" y="30"/>
                  </a:lnTo>
                  <a:lnTo>
                    <a:pt x="36" y="30"/>
                  </a:lnTo>
                  <a:lnTo>
                    <a:pt x="30" y="24"/>
                  </a:lnTo>
                  <a:lnTo>
                    <a:pt x="36" y="18"/>
                  </a:lnTo>
                  <a:lnTo>
                    <a:pt x="36" y="12"/>
                  </a:lnTo>
                  <a:lnTo>
                    <a:pt x="42" y="6"/>
                  </a:lnTo>
                  <a:lnTo>
                    <a:pt x="36" y="0"/>
                  </a:lnTo>
                  <a:lnTo>
                    <a:pt x="12" y="0"/>
                  </a:lnTo>
                  <a:lnTo>
                    <a:pt x="12" y="12"/>
                  </a:lnTo>
                  <a:lnTo>
                    <a:pt x="0" y="24"/>
                  </a:lnTo>
                  <a:lnTo>
                    <a:pt x="0" y="42"/>
                  </a:lnTo>
                  <a:lnTo>
                    <a:pt x="18" y="48"/>
                  </a:lnTo>
                  <a:lnTo>
                    <a:pt x="12" y="60"/>
                  </a:lnTo>
                  <a:lnTo>
                    <a:pt x="30" y="66"/>
                  </a:lnTo>
                  <a:lnTo>
                    <a:pt x="36" y="72"/>
                  </a:lnTo>
                  <a:lnTo>
                    <a:pt x="36" y="96"/>
                  </a:lnTo>
                  <a:lnTo>
                    <a:pt x="30" y="102"/>
                  </a:lnTo>
                  <a:lnTo>
                    <a:pt x="6" y="102"/>
                  </a:lnTo>
                  <a:lnTo>
                    <a:pt x="6" y="108"/>
                  </a:lnTo>
                  <a:lnTo>
                    <a:pt x="12" y="114"/>
                  </a:lnTo>
                  <a:lnTo>
                    <a:pt x="12" y="138"/>
                  </a:lnTo>
                  <a:lnTo>
                    <a:pt x="0" y="138"/>
                  </a:lnTo>
                  <a:lnTo>
                    <a:pt x="12" y="156"/>
                  </a:lnTo>
                  <a:lnTo>
                    <a:pt x="18" y="156"/>
                  </a:lnTo>
                  <a:lnTo>
                    <a:pt x="18" y="168"/>
                  </a:lnTo>
                  <a:lnTo>
                    <a:pt x="36" y="180"/>
                  </a:lnTo>
                  <a:lnTo>
                    <a:pt x="42" y="186"/>
                  </a:lnTo>
                  <a:lnTo>
                    <a:pt x="48" y="198"/>
                  </a:lnTo>
                  <a:lnTo>
                    <a:pt x="48" y="210"/>
                  </a:lnTo>
                  <a:lnTo>
                    <a:pt x="42" y="222"/>
                  </a:lnTo>
                  <a:lnTo>
                    <a:pt x="48" y="222"/>
                  </a:lnTo>
                  <a:lnTo>
                    <a:pt x="54" y="228"/>
                  </a:lnTo>
                  <a:lnTo>
                    <a:pt x="66" y="228"/>
                  </a:lnTo>
                  <a:lnTo>
                    <a:pt x="78" y="222"/>
                  </a:lnTo>
                  <a:lnTo>
                    <a:pt x="84" y="216"/>
                  </a:lnTo>
                  <a:lnTo>
                    <a:pt x="108" y="222"/>
                  </a:lnTo>
                  <a:lnTo>
                    <a:pt x="114" y="204"/>
                  </a:lnTo>
                  <a:lnTo>
                    <a:pt x="144" y="198"/>
                  </a:lnTo>
                  <a:lnTo>
                    <a:pt x="144" y="204"/>
                  </a:lnTo>
                  <a:lnTo>
                    <a:pt x="162" y="222"/>
                  </a:lnTo>
                  <a:lnTo>
                    <a:pt x="174" y="222"/>
                  </a:lnTo>
                  <a:lnTo>
                    <a:pt x="180" y="216"/>
                  </a:lnTo>
                  <a:lnTo>
                    <a:pt x="192" y="228"/>
                  </a:lnTo>
                  <a:lnTo>
                    <a:pt x="204" y="228"/>
                  </a:lnTo>
                  <a:lnTo>
                    <a:pt x="216" y="216"/>
                  </a:lnTo>
                  <a:lnTo>
                    <a:pt x="228" y="228"/>
                  </a:lnTo>
                  <a:lnTo>
                    <a:pt x="246" y="228"/>
                  </a:lnTo>
                  <a:lnTo>
                    <a:pt x="252" y="222"/>
                  </a:lnTo>
                  <a:lnTo>
                    <a:pt x="252" y="204"/>
                  </a:lnTo>
                  <a:lnTo>
                    <a:pt x="246" y="198"/>
                  </a:lnTo>
                  <a:lnTo>
                    <a:pt x="264" y="192"/>
                  </a:lnTo>
                  <a:lnTo>
                    <a:pt x="282" y="168"/>
                  </a:lnTo>
                  <a:lnTo>
                    <a:pt x="312" y="174"/>
                  </a:lnTo>
                  <a:lnTo>
                    <a:pt x="324" y="156"/>
                  </a:lnTo>
                  <a:lnTo>
                    <a:pt x="336" y="174"/>
                  </a:lnTo>
                  <a:lnTo>
                    <a:pt x="348" y="174"/>
                  </a:lnTo>
                  <a:lnTo>
                    <a:pt x="360" y="180"/>
                  </a:lnTo>
                  <a:lnTo>
                    <a:pt x="372" y="180"/>
                  </a:lnTo>
                  <a:lnTo>
                    <a:pt x="372" y="168"/>
                  </a:lnTo>
                  <a:close/>
                </a:path>
              </a:pathLst>
            </a:custGeom>
            <a:solidFill>
              <a:schemeClr val="accent1"/>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83" name="Brasilien" descr="© INSCALE GmbH, 05.05.2010&#10;http://www.presentationload.com/">
              <a:extLst>
                <a:ext uri="{FF2B5EF4-FFF2-40B4-BE49-F238E27FC236}">
                  <a16:creationId xmlns:a16="http://schemas.microsoft.com/office/drawing/2014/main" id="{06D9AEEF-3AF7-4798-A08E-747FD7BEA1A5}"/>
                </a:ext>
              </a:extLst>
            </p:cNvPr>
            <p:cNvSpPr>
              <a:spLocks noEditPoints="1"/>
            </p:cNvSpPr>
            <p:nvPr/>
          </p:nvSpPr>
          <p:spPr bwMode="gray">
            <a:xfrm>
              <a:off x="2039184" y="4083283"/>
              <a:ext cx="1107024" cy="1251283"/>
            </a:xfrm>
            <a:custGeom>
              <a:avLst/>
              <a:gdLst>
                <a:gd name="T0" fmla="*/ 2147483647 w 2784"/>
                <a:gd name="T1" fmla="*/ 2147483647 h 3150"/>
                <a:gd name="T2" fmla="*/ 2147483647 w 2784"/>
                <a:gd name="T3" fmla="*/ 2147483647 h 3150"/>
                <a:gd name="T4" fmla="*/ 2147483647 w 2784"/>
                <a:gd name="T5" fmla="*/ 2147483647 h 3150"/>
                <a:gd name="T6" fmla="*/ 2147483647 w 2784"/>
                <a:gd name="T7" fmla="*/ 2147483647 h 3150"/>
                <a:gd name="T8" fmla="*/ 2147483647 w 2784"/>
                <a:gd name="T9" fmla="*/ 2147483647 h 3150"/>
                <a:gd name="T10" fmla="*/ 2147483647 w 2784"/>
                <a:gd name="T11" fmla="*/ 2147483647 h 3150"/>
                <a:gd name="T12" fmla="*/ 2147483647 w 2784"/>
                <a:gd name="T13" fmla="*/ 2147483647 h 3150"/>
                <a:gd name="T14" fmla="*/ 2147483647 w 2784"/>
                <a:gd name="T15" fmla="*/ 2147483647 h 3150"/>
                <a:gd name="T16" fmla="*/ 2147483647 w 2784"/>
                <a:gd name="T17" fmla="*/ 2147483647 h 3150"/>
                <a:gd name="T18" fmla="*/ 2147483647 w 2784"/>
                <a:gd name="T19" fmla="*/ 2147483647 h 3150"/>
                <a:gd name="T20" fmla="*/ 2147483647 w 2784"/>
                <a:gd name="T21" fmla="*/ 2147483647 h 3150"/>
                <a:gd name="T22" fmla="*/ 2147483647 w 2784"/>
                <a:gd name="T23" fmla="*/ 2147483647 h 3150"/>
                <a:gd name="T24" fmla="*/ 2147483647 w 2784"/>
                <a:gd name="T25" fmla="*/ 2147483647 h 3150"/>
                <a:gd name="T26" fmla="*/ 2147483647 w 2784"/>
                <a:gd name="T27" fmla="*/ 2147483647 h 3150"/>
                <a:gd name="T28" fmla="*/ 2147483647 w 2784"/>
                <a:gd name="T29" fmla="*/ 2147483647 h 3150"/>
                <a:gd name="T30" fmla="*/ 2147483647 w 2784"/>
                <a:gd name="T31" fmla="*/ 2147483647 h 3150"/>
                <a:gd name="T32" fmla="*/ 2147483647 w 2784"/>
                <a:gd name="T33" fmla="*/ 2147483647 h 3150"/>
                <a:gd name="T34" fmla="*/ 2147483647 w 2784"/>
                <a:gd name="T35" fmla="*/ 2147483647 h 3150"/>
                <a:gd name="T36" fmla="*/ 2147483647 w 2784"/>
                <a:gd name="T37" fmla="*/ 2147483647 h 3150"/>
                <a:gd name="T38" fmla="*/ 2147483647 w 2784"/>
                <a:gd name="T39" fmla="*/ 2147483647 h 3150"/>
                <a:gd name="T40" fmla="*/ 2147483647 w 2784"/>
                <a:gd name="T41" fmla="*/ 2147483647 h 3150"/>
                <a:gd name="T42" fmla="*/ 2147483647 w 2784"/>
                <a:gd name="T43" fmla="*/ 2147483647 h 3150"/>
                <a:gd name="T44" fmla="*/ 2147483647 w 2784"/>
                <a:gd name="T45" fmla="*/ 2147483647 h 3150"/>
                <a:gd name="T46" fmla="*/ 2147483647 w 2784"/>
                <a:gd name="T47" fmla="*/ 2147483647 h 3150"/>
                <a:gd name="T48" fmla="*/ 2147483647 w 2784"/>
                <a:gd name="T49" fmla="*/ 2147483647 h 3150"/>
                <a:gd name="T50" fmla="*/ 2147483647 w 2784"/>
                <a:gd name="T51" fmla="*/ 2147483647 h 3150"/>
                <a:gd name="T52" fmla="*/ 2147483647 w 2784"/>
                <a:gd name="T53" fmla="*/ 2147483647 h 3150"/>
                <a:gd name="T54" fmla="*/ 2147483647 w 2784"/>
                <a:gd name="T55" fmla="*/ 2147483647 h 3150"/>
                <a:gd name="T56" fmla="*/ 2147483647 w 2784"/>
                <a:gd name="T57" fmla="*/ 2147483647 h 3150"/>
                <a:gd name="T58" fmla="*/ 2147483647 w 2784"/>
                <a:gd name="T59" fmla="*/ 2147483647 h 3150"/>
                <a:gd name="T60" fmla="*/ 2147483647 w 2784"/>
                <a:gd name="T61" fmla="*/ 2147483647 h 3150"/>
                <a:gd name="T62" fmla="*/ 2147483647 w 2784"/>
                <a:gd name="T63" fmla="*/ 2147483647 h 3150"/>
                <a:gd name="T64" fmla="*/ 2147483647 w 2784"/>
                <a:gd name="T65" fmla="*/ 2147483647 h 3150"/>
                <a:gd name="T66" fmla="*/ 2147483647 w 2784"/>
                <a:gd name="T67" fmla="*/ 2147483647 h 3150"/>
                <a:gd name="T68" fmla="*/ 2147483647 w 2784"/>
                <a:gd name="T69" fmla="*/ 2147483647 h 3150"/>
                <a:gd name="T70" fmla="*/ 2147483647 w 2784"/>
                <a:gd name="T71" fmla="*/ 2147483647 h 3150"/>
                <a:gd name="T72" fmla="*/ 2147483647 w 2784"/>
                <a:gd name="T73" fmla="*/ 2147483647 h 3150"/>
                <a:gd name="T74" fmla="*/ 2147483647 w 2784"/>
                <a:gd name="T75" fmla="*/ 2147483647 h 3150"/>
                <a:gd name="T76" fmla="*/ 2147483647 w 2784"/>
                <a:gd name="T77" fmla="*/ 2147483647 h 3150"/>
                <a:gd name="T78" fmla="*/ 2147483647 w 2784"/>
                <a:gd name="T79" fmla="*/ 2147483647 h 3150"/>
                <a:gd name="T80" fmla="*/ 2147483647 w 2784"/>
                <a:gd name="T81" fmla="*/ 2147483647 h 3150"/>
                <a:gd name="T82" fmla="*/ 2147483647 w 2784"/>
                <a:gd name="T83" fmla="*/ 2147483647 h 3150"/>
                <a:gd name="T84" fmla="*/ 2147483647 w 2784"/>
                <a:gd name="T85" fmla="*/ 2147483647 h 3150"/>
                <a:gd name="T86" fmla="*/ 2147483647 w 2784"/>
                <a:gd name="T87" fmla="*/ 2147483647 h 3150"/>
                <a:gd name="T88" fmla="*/ 2147483647 w 2784"/>
                <a:gd name="T89" fmla="*/ 2147483647 h 3150"/>
                <a:gd name="T90" fmla="*/ 2147483647 w 2784"/>
                <a:gd name="T91" fmla="*/ 2147483647 h 3150"/>
                <a:gd name="T92" fmla="*/ 2147483647 w 2784"/>
                <a:gd name="T93" fmla="*/ 2147483647 h 3150"/>
                <a:gd name="T94" fmla="*/ 2147483647 w 2784"/>
                <a:gd name="T95" fmla="*/ 2147483647 h 3150"/>
                <a:gd name="T96" fmla="*/ 2147483647 w 2784"/>
                <a:gd name="T97" fmla="*/ 2147483647 h 3150"/>
                <a:gd name="T98" fmla="*/ 2147483647 w 2784"/>
                <a:gd name="T99" fmla="*/ 2147483647 h 3150"/>
                <a:gd name="T100" fmla="*/ 2147483647 w 2784"/>
                <a:gd name="T101" fmla="*/ 2147483647 h 3150"/>
                <a:gd name="T102" fmla="*/ 2147483647 w 2784"/>
                <a:gd name="T103" fmla="*/ 2147483647 h 3150"/>
                <a:gd name="T104" fmla="*/ 2147483647 w 2784"/>
                <a:gd name="T105" fmla="*/ 2147483647 h 3150"/>
                <a:gd name="T106" fmla="*/ 2147483647 w 2784"/>
                <a:gd name="T107" fmla="*/ 2147483647 h 3150"/>
                <a:gd name="T108" fmla="*/ 2147483647 w 2784"/>
                <a:gd name="T109" fmla="*/ 2147483647 h 3150"/>
                <a:gd name="T110" fmla="*/ 2147483647 w 2784"/>
                <a:gd name="T111" fmla="*/ 2147483647 h 3150"/>
                <a:gd name="T112" fmla="*/ 2147483647 w 2784"/>
                <a:gd name="T113" fmla="*/ 2147483647 h 3150"/>
                <a:gd name="T114" fmla="*/ 2147483647 w 2784"/>
                <a:gd name="T115" fmla="*/ 2147483647 h 3150"/>
                <a:gd name="T116" fmla="*/ 2147483647 w 2784"/>
                <a:gd name="T117" fmla="*/ 2147483647 h 3150"/>
                <a:gd name="T118" fmla="*/ 2147483647 w 2784"/>
                <a:gd name="T119" fmla="*/ 2147483647 h 3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84"/>
                <a:gd name="T181" fmla="*/ 0 h 3150"/>
                <a:gd name="T182" fmla="*/ 2784 w 2784"/>
                <a:gd name="T183" fmla="*/ 3150 h 3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84" h="3150">
                  <a:moveTo>
                    <a:pt x="1716" y="450"/>
                  </a:moveTo>
                  <a:lnTo>
                    <a:pt x="1710" y="450"/>
                  </a:lnTo>
                  <a:lnTo>
                    <a:pt x="1698" y="444"/>
                  </a:lnTo>
                  <a:lnTo>
                    <a:pt x="1680" y="444"/>
                  </a:lnTo>
                  <a:lnTo>
                    <a:pt x="1662" y="438"/>
                  </a:lnTo>
                  <a:lnTo>
                    <a:pt x="1650" y="438"/>
                  </a:lnTo>
                  <a:lnTo>
                    <a:pt x="1644" y="444"/>
                  </a:lnTo>
                  <a:lnTo>
                    <a:pt x="1644" y="450"/>
                  </a:lnTo>
                  <a:lnTo>
                    <a:pt x="1650" y="462"/>
                  </a:lnTo>
                  <a:lnTo>
                    <a:pt x="1650" y="468"/>
                  </a:lnTo>
                  <a:lnTo>
                    <a:pt x="1656" y="480"/>
                  </a:lnTo>
                  <a:lnTo>
                    <a:pt x="1638" y="480"/>
                  </a:lnTo>
                  <a:lnTo>
                    <a:pt x="1638" y="504"/>
                  </a:lnTo>
                  <a:lnTo>
                    <a:pt x="1656" y="516"/>
                  </a:lnTo>
                  <a:lnTo>
                    <a:pt x="1644" y="528"/>
                  </a:lnTo>
                  <a:lnTo>
                    <a:pt x="1644" y="540"/>
                  </a:lnTo>
                  <a:lnTo>
                    <a:pt x="1656" y="564"/>
                  </a:lnTo>
                  <a:lnTo>
                    <a:pt x="1668" y="570"/>
                  </a:lnTo>
                  <a:lnTo>
                    <a:pt x="1674" y="576"/>
                  </a:lnTo>
                  <a:lnTo>
                    <a:pt x="1686" y="576"/>
                  </a:lnTo>
                  <a:lnTo>
                    <a:pt x="1698" y="570"/>
                  </a:lnTo>
                  <a:lnTo>
                    <a:pt x="1710" y="570"/>
                  </a:lnTo>
                  <a:lnTo>
                    <a:pt x="1716" y="564"/>
                  </a:lnTo>
                  <a:lnTo>
                    <a:pt x="1716" y="558"/>
                  </a:lnTo>
                  <a:lnTo>
                    <a:pt x="1728" y="558"/>
                  </a:lnTo>
                  <a:lnTo>
                    <a:pt x="1740" y="552"/>
                  </a:lnTo>
                  <a:lnTo>
                    <a:pt x="1758" y="552"/>
                  </a:lnTo>
                  <a:lnTo>
                    <a:pt x="1770" y="546"/>
                  </a:lnTo>
                  <a:lnTo>
                    <a:pt x="1776" y="534"/>
                  </a:lnTo>
                  <a:lnTo>
                    <a:pt x="1788" y="492"/>
                  </a:lnTo>
                  <a:lnTo>
                    <a:pt x="1794" y="480"/>
                  </a:lnTo>
                  <a:lnTo>
                    <a:pt x="1794" y="474"/>
                  </a:lnTo>
                  <a:lnTo>
                    <a:pt x="1800" y="462"/>
                  </a:lnTo>
                  <a:lnTo>
                    <a:pt x="1800" y="444"/>
                  </a:lnTo>
                  <a:lnTo>
                    <a:pt x="1794" y="438"/>
                  </a:lnTo>
                  <a:lnTo>
                    <a:pt x="1752" y="438"/>
                  </a:lnTo>
                  <a:lnTo>
                    <a:pt x="1740" y="444"/>
                  </a:lnTo>
                  <a:lnTo>
                    <a:pt x="1734" y="444"/>
                  </a:lnTo>
                  <a:lnTo>
                    <a:pt x="1722" y="450"/>
                  </a:lnTo>
                  <a:lnTo>
                    <a:pt x="1716" y="450"/>
                  </a:lnTo>
                  <a:close/>
                  <a:moveTo>
                    <a:pt x="1716" y="438"/>
                  </a:moveTo>
                  <a:lnTo>
                    <a:pt x="1740" y="432"/>
                  </a:lnTo>
                  <a:lnTo>
                    <a:pt x="1722" y="414"/>
                  </a:lnTo>
                  <a:lnTo>
                    <a:pt x="1698" y="438"/>
                  </a:lnTo>
                  <a:lnTo>
                    <a:pt x="1716" y="438"/>
                  </a:lnTo>
                  <a:close/>
                  <a:moveTo>
                    <a:pt x="1686" y="408"/>
                  </a:moveTo>
                  <a:lnTo>
                    <a:pt x="1662" y="408"/>
                  </a:lnTo>
                  <a:lnTo>
                    <a:pt x="1662" y="426"/>
                  </a:lnTo>
                  <a:lnTo>
                    <a:pt x="1698" y="426"/>
                  </a:lnTo>
                  <a:lnTo>
                    <a:pt x="1716" y="402"/>
                  </a:lnTo>
                  <a:lnTo>
                    <a:pt x="1698" y="384"/>
                  </a:lnTo>
                  <a:lnTo>
                    <a:pt x="1686" y="408"/>
                  </a:lnTo>
                  <a:close/>
                  <a:moveTo>
                    <a:pt x="1572" y="492"/>
                  </a:moveTo>
                  <a:lnTo>
                    <a:pt x="1572" y="510"/>
                  </a:lnTo>
                  <a:lnTo>
                    <a:pt x="1554" y="546"/>
                  </a:lnTo>
                  <a:lnTo>
                    <a:pt x="1584" y="528"/>
                  </a:lnTo>
                  <a:lnTo>
                    <a:pt x="1590" y="516"/>
                  </a:lnTo>
                  <a:lnTo>
                    <a:pt x="1596" y="510"/>
                  </a:lnTo>
                  <a:lnTo>
                    <a:pt x="1608" y="486"/>
                  </a:lnTo>
                  <a:lnTo>
                    <a:pt x="1608" y="480"/>
                  </a:lnTo>
                  <a:lnTo>
                    <a:pt x="1602" y="474"/>
                  </a:lnTo>
                  <a:lnTo>
                    <a:pt x="1596" y="474"/>
                  </a:lnTo>
                  <a:lnTo>
                    <a:pt x="1584" y="480"/>
                  </a:lnTo>
                  <a:lnTo>
                    <a:pt x="1572" y="492"/>
                  </a:lnTo>
                  <a:close/>
                  <a:moveTo>
                    <a:pt x="1632" y="426"/>
                  </a:moveTo>
                  <a:lnTo>
                    <a:pt x="1608" y="450"/>
                  </a:lnTo>
                  <a:lnTo>
                    <a:pt x="1626" y="456"/>
                  </a:lnTo>
                  <a:lnTo>
                    <a:pt x="1644" y="432"/>
                  </a:lnTo>
                  <a:lnTo>
                    <a:pt x="1632" y="426"/>
                  </a:lnTo>
                  <a:close/>
                  <a:moveTo>
                    <a:pt x="2778" y="1002"/>
                  </a:moveTo>
                  <a:lnTo>
                    <a:pt x="2778" y="984"/>
                  </a:lnTo>
                  <a:lnTo>
                    <a:pt x="2772" y="972"/>
                  </a:lnTo>
                  <a:lnTo>
                    <a:pt x="2760" y="954"/>
                  </a:lnTo>
                  <a:lnTo>
                    <a:pt x="2754" y="936"/>
                  </a:lnTo>
                  <a:lnTo>
                    <a:pt x="2754" y="870"/>
                  </a:lnTo>
                  <a:lnTo>
                    <a:pt x="2724" y="840"/>
                  </a:lnTo>
                  <a:lnTo>
                    <a:pt x="2694" y="834"/>
                  </a:lnTo>
                  <a:lnTo>
                    <a:pt x="2646" y="840"/>
                  </a:lnTo>
                  <a:lnTo>
                    <a:pt x="2628" y="822"/>
                  </a:lnTo>
                  <a:lnTo>
                    <a:pt x="2610" y="822"/>
                  </a:lnTo>
                  <a:lnTo>
                    <a:pt x="2592" y="798"/>
                  </a:lnTo>
                  <a:lnTo>
                    <a:pt x="2568" y="798"/>
                  </a:lnTo>
                  <a:lnTo>
                    <a:pt x="2538" y="768"/>
                  </a:lnTo>
                  <a:lnTo>
                    <a:pt x="2526" y="750"/>
                  </a:lnTo>
                  <a:lnTo>
                    <a:pt x="2490" y="714"/>
                  </a:lnTo>
                  <a:lnTo>
                    <a:pt x="2418" y="666"/>
                  </a:lnTo>
                  <a:lnTo>
                    <a:pt x="2394" y="660"/>
                  </a:lnTo>
                  <a:lnTo>
                    <a:pt x="2316" y="660"/>
                  </a:lnTo>
                  <a:lnTo>
                    <a:pt x="2316" y="672"/>
                  </a:lnTo>
                  <a:lnTo>
                    <a:pt x="2310" y="672"/>
                  </a:lnTo>
                  <a:lnTo>
                    <a:pt x="2298" y="660"/>
                  </a:lnTo>
                  <a:lnTo>
                    <a:pt x="2286" y="654"/>
                  </a:lnTo>
                  <a:lnTo>
                    <a:pt x="2274" y="654"/>
                  </a:lnTo>
                  <a:lnTo>
                    <a:pt x="2262" y="648"/>
                  </a:lnTo>
                  <a:lnTo>
                    <a:pt x="2232" y="648"/>
                  </a:lnTo>
                  <a:lnTo>
                    <a:pt x="2226" y="642"/>
                  </a:lnTo>
                  <a:lnTo>
                    <a:pt x="2214" y="636"/>
                  </a:lnTo>
                  <a:lnTo>
                    <a:pt x="2196" y="630"/>
                  </a:lnTo>
                  <a:lnTo>
                    <a:pt x="2184" y="624"/>
                  </a:lnTo>
                  <a:lnTo>
                    <a:pt x="2166" y="618"/>
                  </a:lnTo>
                  <a:lnTo>
                    <a:pt x="2154" y="618"/>
                  </a:lnTo>
                  <a:lnTo>
                    <a:pt x="2142" y="624"/>
                  </a:lnTo>
                  <a:lnTo>
                    <a:pt x="2112" y="654"/>
                  </a:lnTo>
                  <a:lnTo>
                    <a:pt x="2106" y="666"/>
                  </a:lnTo>
                  <a:lnTo>
                    <a:pt x="2088" y="642"/>
                  </a:lnTo>
                  <a:lnTo>
                    <a:pt x="2088" y="678"/>
                  </a:lnTo>
                  <a:lnTo>
                    <a:pt x="2058" y="702"/>
                  </a:lnTo>
                  <a:lnTo>
                    <a:pt x="2076" y="636"/>
                  </a:lnTo>
                  <a:lnTo>
                    <a:pt x="2082" y="636"/>
                  </a:lnTo>
                  <a:lnTo>
                    <a:pt x="2094" y="624"/>
                  </a:lnTo>
                  <a:lnTo>
                    <a:pt x="2094" y="606"/>
                  </a:lnTo>
                  <a:lnTo>
                    <a:pt x="2088" y="600"/>
                  </a:lnTo>
                  <a:lnTo>
                    <a:pt x="2082" y="600"/>
                  </a:lnTo>
                  <a:lnTo>
                    <a:pt x="2064" y="618"/>
                  </a:lnTo>
                  <a:lnTo>
                    <a:pt x="2076" y="582"/>
                  </a:lnTo>
                  <a:lnTo>
                    <a:pt x="2070" y="582"/>
                  </a:lnTo>
                  <a:lnTo>
                    <a:pt x="2064" y="576"/>
                  </a:lnTo>
                  <a:lnTo>
                    <a:pt x="2064" y="570"/>
                  </a:lnTo>
                  <a:lnTo>
                    <a:pt x="2040" y="546"/>
                  </a:lnTo>
                  <a:lnTo>
                    <a:pt x="2034" y="546"/>
                  </a:lnTo>
                  <a:lnTo>
                    <a:pt x="2022" y="564"/>
                  </a:lnTo>
                  <a:lnTo>
                    <a:pt x="2016" y="552"/>
                  </a:lnTo>
                  <a:lnTo>
                    <a:pt x="2004" y="546"/>
                  </a:lnTo>
                  <a:lnTo>
                    <a:pt x="1998" y="534"/>
                  </a:lnTo>
                  <a:lnTo>
                    <a:pt x="1986" y="528"/>
                  </a:lnTo>
                  <a:lnTo>
                    <a:pt x="1980" y="522"/>
                  </a:lnTo>
                  <a:lnTo>
                    <a:pt x="1968" y="516"/>
                  </a:lnTo>
                  <a:lnTo>
                    <a:pt x="1944" y="516"/>
                  </a:lnTo>
                  <a:lnTo>
                    <a:pt x="1932" y="510"/>
                  </a:lnTo>
                  <a:lnTo>
                    <a:pt x="1926" y="510"/>
                  </a:lnTo>
                  <a:lnTo>
                    <a:pt x="1914" y="498"/>
                  </a:lnTo>
                  <a:lnTo>
                    <a:pt x="1902" y="492"/>
                  </a:lnTo>
                  <a:lnTo>
                    <a:pt x="1896" y="480"/>
                  </a:lnTo>
                  <a:lnTo>
                    <a:pt x="1884" y="474"/>
                  </a:lnTo>
                  <a:lnTo>
                    <a:pt x="1878" y="486"/>
                  </a:lnTo>
                  <a:lnTo>
                    <a:pt x="1824" y="486"/>
                  </a:lnTo>
                  <a:lnTo>
                    <a:pt x="1812" y="498"/>
                  </a:lnTo>
                  <a:lnTo>
                    <a:pt x="1806" y="510"/>
                  </a:lnTo>
                  <a:lnTo>
                    <a:pt x="1806" y="522"/>
                  </a:lnTo>
                  <a:lnTo>
                    <a:pt x="1800" y="528"/>
                  </a:lnTo>
                  <a:lnTo>
                    <a:pt x="1800" y="534"/>
                  </a:lnTo>
                  <a:lnTo>
                    <a:pt x="1812" y="552"/>
                  </a:lnTo>
                  <a:lnTo>
                    <a:pt x="1776" y="552"/>
                  </a:lnTo>
                  <a:lnTo>
                    <a:pt x="1770" y="564"/>
                  </a:lnTo>
                  <a:lnTo>
                    <a:pt x="1758" y="576"/>
                  </a:lnTo>
                  <a:lnTo>
                    <a:pt x="1752" y="588"/>
                  </a:lnTo>
                  <a:lnTo>
                    <a:pt x="1752" y="594"/>
                  </a:lnTo>
                  <a:lnTo>
                    <a:pt x="1746" y="600"/>
                  </a:lnTo>
                  <a:lnTo>
                    <a:pt x="1746" y="612"/>
                  </a:lnTo>
                  <a:lnTo>
                    <a:pt x="1740" y="624"/>
                  </a:lnTo>
                  <a:lnTo>
                    <a:pt x="1728" y="636"/>
                  </a:lnTo>
                  <a:lnTo>
                    <a:pt x="1722" y="636"/>
                  </a:lnTo>
                  <a:lnTo>
                    <a:pt x="1728" y="630"/>
                  </a:lnTo>
                  <a:lnTo>
                    <a:pt x="1728" y="618"/>
                  </a:lnTo>
                  <a:lnTo>
                    <a:pt x="1734" y="606"/>
                  </a:lnTo>
                  <a:lnTo>
                    <a:pt x="1734" y="600"/>
                  </a:lnTo>
                  <a:lnTo>
                    <a:pt x="1740" y="588"/>
                  </a:lnTo>
                  <a:lnTo>
                    <a:pt x="1740" y="582"/>
                  </a:lnTo>
                  <a:lnTo>
                    <a:pt x="1734" y="576"/>
                  </a:lnTo>
                  <a:lnTo>
                    <a:pt x="1728" y="576"/>
                  </a:lnTo>
                  <a:lnTo>
                    <a:pt x="1722" y="582"/>
                  </a:lnTo>
                  <a:lnTo>
                    <a:pt x="1716" y="582"/>
                  </a:lnTo>
                  <a:lnTo>
                    <a:pt x="1704" y="594"/>
                  </a:lnTo>
                  <a:lnTo>
                    <a:pt x="1692" y="588"/>
                  </a:lnTo>
                  <a:lnTo>
                    <a:pt x="1656" y="588"/>
                  </a:lnTo>
                  <a:lnTo>
                    <a:pt x="1644" y="582"/>
                  </a:lnTo>
                  <a:lnTo>
                    <a:pt x="1632" y="570"/>
                  </a:lnTo>
                  <a:lnTo>
                    <a:pt x="1632" y="522"/>
                  </a:lnTo>
                  <a:lnTo>
                    <a:pt x="1626" y="516"/>
                  </a:lnTo>
                  <a:lnTo>
                    <a:pt x="1626" y="504"/>
                  </a:lnTo>
                  <a:lnTo>
                    <a:pt x="1620" y="504"/>
                  </a:lnTo>
                  <a:lnTo>
                    <a:pt x="1614" y="510"/>
                  </a:lnTo>
                  <a:lnTo>
                    <a:pt x="1602" y="516"/>
                  </a:lnTo>
                  <a:lnTo>
                    <a:pt x="1596" y="522"/>
                  </a:lnTo>
                  <a:lnTo>
                    <a:pt x="1590" y="534"/>
                  </a:lnTo>
                  <a:lnTo>
                    <a:pt x="1584" y="540"/>
                  </a:lnTo>
                  <a:lnTo>
                    <a:pt x="1560" y="552"/>
                  </a:lnTo>
                  <a:lnTo>
                    <a:pt x="1554" y="558"/>
                  </a:lnTo>
                  <a:lnTo>
                    <a:pt x="1512" y="558"/>
                  </a:lnTo>
                  <a:lnTo>
                    <a:pt x="1500" y="552"/>
                  </a:lnTo>
                  <a:lnTo>
                    <a:pt x="1542" y="540"/>
                  </a:lnTo>
                  <a:lnTo>
                    <a:pt x="1548" y="528"/>
                  </a:lnTo>
                  <a:lnTo>
                    <a:pt x="1566" y="510"/>
                  </a:lnTo>
                  <a:lnTo>
                    <a:pt x="1566" y="492"/>
                  </a:lnTo>
                  <a:lnTo>
                    <a:pt x="1572" y="486"/>
                  </a:lnTo>
                  <a:lnTo>
                    <a:pt x="1590" y="450"/>
                  </a:lnTo>
                  <a:lnTo>
                    <a:pt x="1626" y="414"/>
                  </a:lnTo>
                  <a:lnTo>
                    <a:pt x="1638" y="408"/>
                  </a:lnTo>
                  <a:lnTo>
                    <a:pt x="1656" y="390"/>
                  </a:lnTo>
                  <a:lnTo>
                    <a:pt x="1656" y="378"/>
                  </a:lnTo>
                  <a:lnTo>
                    <a:pt x="1662" y="366"/>
                  </a:lnTo>
                  <a:lnTo>
                    <a:pt x="1674" y="354"/>
                  </a:lnTo>
                  <a:lnTo>
                    <a:pt x="1686" y="348"/>
                  </a:lnTo>
                  <a:lnTo>
                    <a:pt x="1692" y="342"/>
                  </a:lnTo>
                  <a:lnTo>
                    <a:pt x="1704" y="336"/>
                  </a:lnTo>
                  <a:lnTo>
                    <a:pt x="1680" y="330"/>
                  </a:lnTo>
                  <a:lnTo>
                    <a:pt x="1698" y="312"/>
                  </a:lnTo>
                  <a:lnTo>
                    <a:pt x="1698" y="294"/>
                  </a:lnTo>
                  <a:lnTo>
                    <a:pt x="1692" y="288"/>
                  </a:lnTo>
                  <a:lnTo>
                    <a:pt x="1680" y="282"/>
                  </a:lnTo>
                  <a:lnTo>
                    <a:pt x="1662" y="282"/>
                  </a:lnTo>
                  <a:lnTo>
                    <a:pt x="1650" y="276"/>
                  </a:lnTo>
                  <a:lnTo>
                    <a:pt x="1644" y="270"/>
                  </a:lnTo>
                  <a:lnTo>
                    <a:pt x="1638" y="252"/>
                  </a:lnTo>
                  <a:lnTo>
                    <a:pt x="1632" y="216"/>
                  </a:lnTo>
                  <a:lnTo>
                    <a:pt x="1626" y="168"/>
                  </a:lnTo>
                  <a:lnTo>
                    <a:pt x="1620" y="138"/>
                  </a:lnTo>
                  <a:lnTo>
                    <a:pt x="1614" y="114"/>
                  </a:lnTo>
                  <a:lnTo>
                    <a:pt x="1608" y="96"/>
                  </a:lnTo>
                  <a:lnTo>
                    <a:pt x="1602" y="84"/>
                  </a:lnTo>
                  <a:lnTo>
                    <a:pt x="1590" y="78"/>
                  </a:lnTo>
                  <a:lnTo>
                    <a:pt x="1584" y="78"/>
                  </a:lnTo>
                  <a:lnTo>
                    <a:pt x="1584" y="90"/>
                  </a:lnTo>
                  <a:lnTo>
                    <a:pt x="1590" y="96"/>
                  </a:lnTo>
                  <a:lnTo>
                    <a:pt x="1590" y="108"/>
                  </a:lnTo>
                  <a:lnTo>
                    <a:pt x="1572" y="108"/>
                  </a:lnTo>
                  <a:lnTo>
                    <a:pt x="1572" y="102"/>
                  </a:lnTo>
                  <a:lnTo>
                    <a:pt x="1566" y="108"/>
                  </a:lnTo>
                  <a:lnTo>
                    <a:pt x="1560" y="120"/>
                  </a:lnTo>
                  <a:lnTo>
                    <a:pt x="1560" y="126"/>
                  </a:lnTo>
                  <a:lnTo>
                    <a:pt x="1554" y="132"/>
                  </a:lnTo>
                  <a:lnTo>
                    <a:pt x="1548" y="144"/>
                  </a:lnTo>
                  <a:lnTo>
                    <a:pt x="1536" y="156"/>
                  </a:lnTo>
                  <a:lnTo>
                    <a:pt x="1518" y="192"/>
                  </a:lnTo>
                  <a:lnTo>
                    <a:pt x="1518" y="210"/>
                  </a:lnTo>
                  <a:lnTo>
                    <a:pt x="1494" y="246"/>
                  </a:lnTo>
                  <a:lnTo>
                    <a:pt x="1488" y="246"/>
                  </a:lnTo>
                  <a:lnTo>
                    <a:pt x="1482" y="252"/>
                  </a:lnTo>
                  <a:lnTo>
                    <a:pt x="1464" y="252"/>
                  </a:lnTo>
                  <a:lnTo>
                    <a:pt x="1452" y="240"/>
                  </a:lnTo>
                  <a:lnTo>
                    <a:pt x="1446" y="246"/>
                  </a:lnTo>
                  <a:lnTo>
                    <a:pt x="1434" y="246"/>
                  </a:lnTo>
                  <a:lnTo>
                    <a:pt x="1428" y="240"/>
                  </a:lnTo>
                  <a:lnTo>
                    <a:pt x="1416" y="240"/>
                  </a:lnTo>
                  <a:lnTo>
                    <a:pt x="1410" y="246"/>
                  </a:lnTo>
                  <a:lnTo>
                    <a:pt x="1410" y="252"/>
                  </a:lnTo>
                  <a:lnTo>
                    <a:pt x="1404" y="258"/>
                  </a:lnTo>
                  <a:lnTo>
                    <a:pt x="1380" y="258"/>
                  </a:lnTo>
                  <a:lnTo>
                    <a:pt x="1368" y="246"/>
                  </a:lnTo>
                  <a:lnTo>
                    <a:pt x="1368" y="240"/>
                  </a:lnTo>
                  <a:lnTo>
                    <a:pt x="1350" y="234"/>
                  </a:lnTo>
                  <a:lnTo>
                    <a:pt x="1344" y="228"/>
                  </a:lnTo>
                  <a:lnTo>
                    <a:pt x="1338" y="216"/>
                  </a:lnTo>
                  <a:lnTo>
                    <a:pt x="1332" y="216"/>
                  </a:lnTo>
                  <a:lnTo>
                    <a:pt x="1320" y="222"/>
                  </a:lnTo>
                  <a:lnTo>
                    <a:pt x="1314" y="228"/>
                  </a:lnTo>
                  <a:lnTo>
                    <a:pt x="1302" y="234"/>
                  </a:lnTo>
                  <a:lnTo>
                    <a:pt x="1278" y="234"/>
                  </a:lnTo>
                  <a:lnTo>
                    <a:pt x="1278" y="222"/>
                  </a:lnTo>
                  <a:lnTo>
                    <a:pt x="1272" y="222"/>
                  </a:lnTo>
                  <a:lnTo>
                    <a:pt x="1260" y="228"/>
                  </a:lnTo>
                  <a:lnTo>
                    <a:pt x="1260" y="252"/>
                  </a:lnTo>
                  <a:lnTo>
                    <a:pt x="1272" y="264"/>
                  </a:lnTo>
                  <a:lnTo>
                    <a:pt x="1272" y="270"/>
                  </a:lnTo>
                  <a:lnTo>
                    <a:pt x="1278" y="276"/>
                  </a:lnTo>
                  <a:lnTo>
                    <a:pt x="1272" y="282"/>
                  </a:lnTo>
                  <a:lnTo>
                    <a:pt x="1254" y="282"/>
                  </a:lnTo>
                  <a:lnTo>
                    <a:pt x="1230" y="270"/>
                  </a:lnTo>
                  <a:lnTo>
                    <a:pt x="1224" y="270"/>
                  </a:lnTo>
                  <a:lnTo>
                    <a:pt x="1212" y="264"/>
                  </a:lnTo>
                  <a:lnTo>
                    <a:pt x="1212" y="270"/>
                  </a:lnTo>
                  <a:lnTo>
                    <a:pt x="1206" y="276"/>
                  </a:lnTo>
                  <a:lnTo>
                    <a:pt x="1200" y="276"/>
                  </a:lnTo>
                  <a:lnTo>
                    <a:pt x="1188" y="264"/>
                  </a:lnTo>
                  <a:lnTo>
                    <a:pt x="1176" y="264"/>
                  </a:lnTo>
                  <a:lnTo>
                    <a:pt x="1158" y="282"/>
                  </a:lnTo>
                  <a:lnTo>
                    <a:pt x="1158" y="288"/>
                  </a:lnTo>
                  <a:lnTo>
                    <a:pt x="1128" y="288"/>
                  </a:lnTo>
                  <a:lnTo>
                    <a:pt x="1122" y="300"/>
                  </a:lnTo>
                  <a:lnTo>
                    <a:pt x="1104" y="300"/>
                  </a:lnTo>
                  <a:lnTo>
                    <a:pt x="1092" y="312"/>
                  </a:lnTo>
                  <a:lnTo>
                    <a:pt x="1092" y="324"/>
                  </a:lnTo>
                  <a:lnTo>
                    <a:pt x="1086" y="330"/>
                  </a:lnTo>
                  <a:lnTo>
                    <a:pt x="1050" y="330"/>
                  </a:lnTo>
                  <a:lnTo>
                    <a:pt x="1044" y="318"/>
                  </a:lnTo>
                  <a:lnTo>
                    <a:pt x="1032" y="318"/>
                  </a:lnTo>
                  <a:lnTo>
                    <a:pt x="1002" y="282"/>
                  </a:lnTo>
                  <a:lnTo>
                    <a:pt x="1002" y="252"/>
                  </a:lnTo>
                  <a:lnTo>
                    <a:pt x="978" y="228"/>
                  </a:lnTo>
                  <a:lnTo>
                    <a:pt x="972" y="216"/>
                  </a:lnTo>
                  <a:lnTo>
                    <a:pt x="972" y="210"/>
                  </a:lnTo>
                  <a:lnTo>
                    <a:pt x="978" y="198"/>
                  </a:lnTo>
                  <a:lnTo>
                    <a:pt x="978" y="192"/>
                  </a:lnTo>
                  <a:lnTo>
                    <a:pt x="984" y="180"/>
                  </a:lnTo>
                  <a:lnTo>
                    <a:pt x="996" y="138"/>
                  </a:lnTo>
                  <a:lnTo>
                    <a:pt x="1008" y="126"/>
                  </a:lnTo>
                  <a:lnTo>
                    <a:pt x="1014" y="114"/>
                  </a:lnTo>
                  <a:lnTo>
                    <a:pt x="1014" y="102"/>
                  </a:lnTo>
                  <a:lnTo>
                    <a:pt x="1008" y="102"/>
                  </a:lnTo>
                  <a:lnTo>
                    <a:pt x="1002" y="96"/>
                  </a:lnTo>
                  <a:lnTo>
                    <a:pt x="1002" y="66"/>
                  </a:lnTo>
                  <a:lnTo>
                    <a:pt x="996" y="66"/>
                  </a:lnTo>
                  <a:lnTo>
                    <a:pt x="984" y="72"/>
                  </a:lnTo>
                  <a:lnTo>
                    <a:pt x="978" y="72"/>
                  </a:lnTo>
                  <a:lnTo>
                    <a:pt x="972" y="66"/>
                  </a:lnTo>
                  <a:lnTo>
                    <a:pt x="972" y="60"/>
                  </a:lnTo>
                  <a:lnTo>
                    <a:pt x="978" y="54"/>
                  </a:lnTo>
                  <a:lnTo>
                    <a:pt x="984" y="42"/>
                  </a:lnTo>
                  <a:lnTo>
                    <a:pt x="984" y="24"/>
                  </a:lnTo>
                  <a:lnTo>
                    <a:pt x="978" y="12"/>
                  </a:lnTo>
                  <a:lnTo>
                    <a:pt x="966" y="0"/>
                  </a:lnTo>
                  <a:lnTo>
                    <a:pt x="960" y="12"/>
                  </a:lnTo>
                  <a:lnTo>
                    <a:pt x="936" y="6"/>
                  </a:lnTo>
                  <a:lnTo>
                    <a:pt x="936" y="42"/>
                  </a:lnTo>
                  <a:lnTo>
                    <a:pt x="930" y="48"/>
                  </a:lnTo>
                  <a:lnTo>
                    <a:pt x="918" y="48"/>
                  </a:lnTo>
                  <a:lnTo>
                    <a:pt x="918" y="60"/>
                  </a:lnTo>
                  <a:lnTo>
                    <a:pt x="894" y="60"/>
                  </a:lnTo>
                  <a:lnTo>
                    <a:pt x="882" y="66"/>
                  </a:lnTo>
                  <a:lnTo>
                    <a:pt x="858" y="90"/>
                  </a:lnTo>
                  <a:lnTo>
                    <a:pt x="846" y="96"/>
                  </a:lnTo>
                  <a:lnTo>
                    <a:pt x="828" y="96"/>
                  </a:lnTo>
                  <a:lnTo>
                    <a:pt x="822" y="90"/>
                  </a:lnTo>
                  <a:lnTo>
                    <a:pt x="804" y="90"/>
                  </a:lnTo>
                  <a:lnTo>
                    <a:pt x="798" y="96"/>
                  </a:lnTo>
                  <a:lnTo>
                    <a:pt x="798" y="108"/>
                  </a:lnTo>
                  <a:lnTo>
                    <a:pt x="792" y="120"/>
                  </a:lnTo>
                  <a:lnTo>
                    <a:pt x="792" y="138"/>
                  </a:lnTo>
                  <a:lnTo>
                    <a:pt x="786" y="144"/>
                  </a:lnTo>
                  <a:lnTo>
                    <a:pt x="774" y="138"/>
                  </a:lnTo>
                  <a:lnTo>
                    <a:pt x="762" y="126"/>
                  </a:lnTo>
                  <a:lnTo>
                    <a:pt x="756" y="114"/>
                  </a:lnTo>
                  <a:lnTo>
                    <a:pt x="750" y="108"/>
                  </a:lnTo>
                  <a:lnTo>
                    <a:pt x="738" y="108"/>
                  </a:lnTo>
                  <a:lnTo>
                    <a:pt x="732" y="114"/>
                  </a:lnTo>
                  <a:lnTo>
                    <a:pt x="720" y="108"/>
                  </a:lnTo>
                  <a:lnTo>
                    <a:pt x="708" y="114"/>
                  </a:lnTo>
                  <a:lnTo>
                    <a:pt x="696" y="114"/>
                  </a:lnTo>
                  <a:lnTo>
                    <a:pt x="696" y="96"/>
                  </a:lnTo>
                  <a:lnTo>
                    <a:pt x="690" y="90"/>
                  </a:lnTo>
                  <a:lnTo>
                    <a:pt x="648" y="90"/>
                  </a:lnTo>
                  <a:lnTo>
                    <a:pt x="648" y="84"/>
                  </a:lnTo>
                  <a:lnTo>
                    <a:pt x="642" y="78"/>
                  </a:lnTo>
                  <a:lnTo>
                    <a:pt x="642" y="108"/>
                  </a:lnTo>
                  <a:lnTo>
                    <a:pt x="660" y="126"/>
                  </a:lnTo>
                  <a:lnTo>
                    <a:pt x="672" y="132"/>
                  </a:lnTo>
                  <a:lnTo>
                    <a:pt x="678" y="138"/>
                  </a:lnTo>
                  <a:lnTo>
                    <a:pt x="678" y="168"/>
                  </a:lnTo>
                  <a:lnTo>
                    <a:pt x="672" y="174"/>
                  </a:lnTo>
                  <a:lnTo>
                    <a:pt x="684" y="186"/>
                  </a:lnTo>
                  <a:lnTo>
                    <a:pt x="690" y="198"/>
                  </a:lnTo>
                  <a:lnTo>
                    <a:pt x="690" y="228"/>
                  </a:lnTo>
                  <a:lnTo>
                    <a:pt x="738" y="234"/>
                  </a:lnTo>
                  <a:lnTo>
                    <a:pt x="744" y="240"/>
                  </a:lnTo>
                  <a:lnTo>
                    <a:pt x="744" y="246"/>
                  </a:lnTo>
                  <a:lnTo>
                    <a:pt x="738" y="258"/>
                  </a:lnTo>
                  <a:lnTo>
                    <a:pt x="732" y="264"/>
                  </a:lnTo>
                  <a:lnTo>
                    <a:pt x="690" y="264"/>
                  </a:lnTo>
                  <a:lnTo>
                    <a:pt x="690" y="294"/>
                  </a:lnTo>
                  <a:lnTo>
                    <a:pt x="684" y="306"/>
                  </a:lnTo>
                  <a:lnTo>
                    <a:pt x="648" y="324"/>
                  </a:lnTo>
                  <a:lnTo>
                    <a:pt x="642" y="330"/>
                  </a:lnTo>
                  <a:lnTo>
                    <a:pt x="624" y="330"/>
                  </a:lnTo>
                  <a:lnTo>
                    <a:pt x="612" y="342"/>
                  </a:lnTo>
                  <a:lnTo>
                    <a:pt x="600" y="366"/>
                  </a:lnTo>
                  <a:lnTo>
                    <a:pt x="588" y="378"/>
                  </a:lnTo>
                  <a:lnTo>
                    <a:pt x="582" y="378"/>
                  </a:lnTo>
                  <a:lnTo>
                    <a:pt x="582" y="354"/>
                  </a:lnTo>
                  <a:lnTo>
                    <a:pt x="576" y="348"/>
                  </a:lnTo>
                  <a:lnTo>
                    <a:pt x="570" y="354"/>
                  </a:lnTo>
                  <a:lnTo>
                    <a:pt x="558" y="360"/>
                  </a:lnTo>
                  <a:lnTo>
                    <a:pt x="552" y="366"/>
                  </a:lnTo>
                  <a:lnTo>
                    <a:pt x="540" y="372"/>
                  </a:lnTo>
                  <a:lnTo>
                    <a:pt x="534" y="372"/>
                  </a:lnTo>
                  <a:lnTo>
                    <a:pt x="522" y="366"/>
                  </a:lnTo>
                  <a:lnTo>
                    <a:pt x="516" y="366"/>
                  </a:lnTo>
                  <a:lnTo>
                    <a:pt x="504" y="354"/>
                  </a:lnTo>
                  <a:lnTo>
                    <a:pt x="504" y="348"/>
                  </a:lnTo>
                  <a:lnTo>
                    <a:pt x="498" y="336"/>
                  </a:lnTo>
                  <a:lnTo>
                    <a:pt x="492" y="330"/>
                  </a:lnTo>
                  <a:lnTo>
                    <a:pt x="468" y="330"/>
                  </a:lnTo>
                  <a:lnTo>
                    <a:pt x="468" y="300"/>
                  </a:lnTo>
                  <a:lnTo>
                    <a:pt x="462" y="288"/>
                  </a:lnTo>
                  <a:lnTo>
                    <a:pt x="462" y="276"/>
                  </a:lnTo>
                  <a:lnTo>
                    <a:pt x="456" y="270"/>
                  </a:lnTo>
                  <a:lnTo>
                    <a:pt x="456" y="258"/>
                  </a:lnTo>
                  <a:lnTo>
                    <a:pt x="450" y="258"/>
                  </a:lnTo>
                  <a:lnTo>
                    <a:pt x="420" y="288"/>
                  </a:lnTo>
                  <a:lnTo>
                    <a:pt x="396" y="264"/>
                  </a:lnTo>
                  <a:lnTo>
                    <a:pt x="390" y="264"/>
                  </a:lnTo>
                  <a:lnTo>
                    <a:pt x="384" y="270"/>
                  </a:lnTo>
                  <a:lnTo>
                    <a:pt x="384" y="288"/>
                  </a:lnTo>
                  <a:lnTo>
                    <a:pt x="318" y="294"/>
                  </a:lnTo>
                  <a:lnTo>
                    <a:pt x="306" y="282"/>
                  </a:lnTo>
                  <a:lnTo>
                    <a:pt x="288" y="282"/>
                  </a:lnTo>
                  <a:lnTo>
                    <a:pt x="282" y="288"/>
                  </a:lnTo>
                  <a:lnTo>
                    <a:pt x="276" y="300"/>
                  </a:lnTo>
                  <a:lnTo>
                    <a:pt x="276" y="312"/>
                  </a:lnTo>
                  <a:lnTo>
                    <a:pt x="282" y="324"/>
                  </a:lnTo>
                  <a:lnTo>
                    <a:pt x="282" y="336"/>
                  </a:lnTo>
                  <a:lnTo>
                    <a:pt x="306" y="348"/>
                  </a:lnTo>
                  <a:lnTo>
                    <a:pt x="318" y="342"/>
                  </a:lnTo>
                  <a:lnTo>
                    <a:pt x="330" y="354"/>
                  </a:lnTo>
                  <a:lnTo>
                    <a:pt x="330" y="360"/>
                  </a:lnTo>
                  <a:lnTo>
                    <a:pt x="336" y="366"/>
                  </a:lnTo>
                  <a:lnTo>
                    <a:pt x="336" y="372"/>
                  </a:lnTo>
                  <a:lnTo>
                    <a:pt x="330" y="378"/>
                  </a:lnTo>
                  <a:lnTo>
                    <a:pt x="300" y="378"/>
                  </a:lnTo>
                  <a:lnTo>
                    <a:pt x="294" y="372"/>
                  </a:lnTo>
                  <a:lnTo>
                    <a:pt x="264" y="378"/>
                  </a:lnTo>
                  <a:lnTo>
                    <a:pt x="258" y="444"/>
                  </a:lnTo>
                  <a:lnTo>
                    <a:pt x="264" y="444"/>
                  </a:lnTo>
                  <a:lnTo>
                    <a:pt x="276" y="456"/>
                  </a:lnTo>
                  <a:lnTo>
                    <a:pt x="288" y="462"/>
                  </a:lnTo>
                  <a:lnTo>
                    <a:pt x="294" y="468"/>
                  </a:lnTo>
                  <a:lnTo>
                    <a:pt x="294" y="492"/>
                  </a:lnTo>
                  <a:lnTo>
                    <a:pt x="300" y="498"/>
                  </a:lnTo>
                  <a:lnTo>
                    <a:pt x="300" y="504"/>
                  </a:lnTo>
                  <a:lnTo>
                    <a:pt x="312" y="516"/>
                  </a:lnTo>
                  <a:lnTo>
                    <a:pt x="318" y="528"/>
                  </a:lnTo>
                  <a:lnTo>
                    <a:pt x="318" y="540"/>
                  </a:lnTo>
                  <a:lnTo>
                    <a:pt x="312" y="552"/>
                  </a:lnTo>
                  <a:lnTo>
                    <a:pt x="300" y="564"/>
                  </a:lnTo>
                  <a:lnTo>
                    <a:pt x="306" y="612"/>
                  </a:lnTo>
                  <a:lnTo>
                    <a:pt x="288" y="660"/>
                  </a:lnTo>
                  <a:lnTo>
                    <a:pt x="282" y="732"/>
                  </a:lnTo>
                  <a:lnTo>
                    <a:pt x="282" y="762"/>
                  </a:lnTo>
                  <a:lnTo>
                    <a:pt x="276" y="774"/>
                  </a:lnTo>
                  <a:lnTo>
                    <a:pt x="270" y="780"/>
                  </a:lnTo>
                  <a:lnTo>
                    <a:pt x="252" y="780"/>
                  </a:lnTo>
                  <a:lnTo>
                    <a:pt x="252" y="774"/>
                  </a:lnTo>
                  <a:lnTo>
                    <a:pt x="240" y="762"/>
                  </a:lnTo>
                  <a:lnTo>
                    <a:pt x="222" y="762"/>
                  </a:lnTo>
                  <a:lnTo>
                    <a:pt x="216" y="768"/>
                  </a:lnTo>
                  <a:lnTo>
                    <a:pt x="210" y="780"/>
                  </a:lnTo>
                  <a:lnTo>
                    <a:pt x="204" y="786"/>
                  </a:lnTo>
                  <a:lnTo>
                    <a:pt x="174" y="780"/>
                  </a:lnTo>
                  <a:lnTo>
                    <a:pt x="168" y="792"/>
                  </a:lnTo>
                  <a:lnTo>
                    <a:pt x="138" y="792"/>
                  </a:lnTo>
                  <a:lnTo>
                    <a:pt x="126" y="798"/>
                  </a:lnTo>
                  <a:lnTo>
                    <a:pt x="120" y="804"/>
                  </a:lnTo>
                  <a:lnTo>
                    <a:pt x="108" y="810"/>
                  </a:lnTo>
                  <a:lnTo>
                    <a:pt x="96" y="822"/>
                  </a:lnTo>
                  <a:lnTo>
                    <a:pt x="96" y="828"/>
                  </a:lnTo>
                  <a:lnTo>
                    <a:pt x="90" y="834"/>
                  </a:lnTo>
                  <a:lnTo>
                    <a:pt x="90" y="840"/>
                  </a:lnTo>
                  <a:lnTo>
                    <a:pt x="66" y="840"/>
                  </a:lnTo>
                  <a:lnTo>
                    <a:pt x="66" y="894"/>
                  </a:lnTo>
                  <a:lnTo>
                    <a:pt x="48" y="912"/>
                  </a:lnTo>
                  <a:lnTo>
                    <a:pt x="48" y="924"/>
                  </a:lnTo>
                  <a:lnTo>
                    <a:pt x="54" y="930"/>
                  </a:lnTo>
                  <a:lnTo>
                    <a:pt x="54" y="948"/>
                  </a:lnTo>
                  <a:lnTo>
                    <a:pt x="60" y="954"/>
                  </a:lnTo>
                  <a:lnTo>
                    <a:pt x="54" y="954"/>
                  </a:lnTo>
                  <a:lnTo>
                    <a:pt x="48" y="948"/>
                  </a:lnTo>
                  <a:lnTo>
                    <a:pt x="18" y="978"/>
                  </a:lnTo>
                  <a:lnTo>
                    <a:pt x="12" y="990"/>
                  </a:lnTo>
                  <a:lnTo>
                    <a:pt x="12" y="1014"/>
                  </a:lnTo>
                  <a:lnTo>
                    <a:pt x="18" y="1020"/>
                  </a:lnTo>
                  <a:lnTo>
                    <a:pt x="6" y="1026"/>
                  </a:lnTo>
                  <a:lnTo>
                    <a:pt x="0" y="1032"/>
                  </a:lnTo>
                  <a:lnTo>
                    <a:pt x="0" y="1044"/>
                  </a:lnTo>
                  <a:lnTo>
                    <a:pt x="6" y="1050"/>
                  </a:lnTo>
                  <a:lnTo>
                    <a:pt x="18" y="1056"/>
                  </a:lnTo>
                  <a:lnTo>
                    <a:pt x="24" y="1080"/>
                  </a:lnTo>
                  <a:lnTo>
                    <a:pt x="24" y="1086"/>
                  </a:lnTo>
                  <a:lnTo>
                    <a:pt x="30" y="1092"/>
                  </a:lnTo>
                  <a:lnTo>
                    <a:pt x="42" y="1116"/>
                  </a:lnTo>
                  <a:lnTo>
                    <a:pt x="54" y="1128"/>
                  </a:lnTo>
                  <a:lnTo>
                    <a:pt x="66" y="1134"/>
                  </a:lnTo>
                  <a:lnTo>
                    <a:pt x="90" y="1158"/>
                  </a:lnTo>
                  <a:lnTo>
                    <a:pt x="84" y="1164"/>
                  </a:lnTo>
                  <a:lnTo>
                    <a:pt x="78" y="1176"/>
                  </a:lnTo>
                  <a:lnTo>
                    <a:pt x="66" y="1182"/>
                  </a:lnTo>
                  <a:lnTo>
                    <a:pt x="60" y="1188"/>
                  </a:lnTo>
                  <a:lnTo>
                    <a:pt x="102" y="1188"/>
                  </a:lnTo>
                  <a:lnTo>
                    <a:pt x="114" y="1194"/>
                  </a:lnTo>
                  <a:lnTo>
                    <a:pt x="120" y="1194"/>
                  </a:lnTo>
                  <a:lnTo>
                    <a:pt x="126" y="1200"/>
                  </a:lnTo>
                  <a:lnTo>
                    <a:pt x="126" y="1212"/>
                  </a:lnTo>
                  <a:lnTo>
                    <a:pt x="132" y="1224"/>
                  </a:lnTo>
                  <a:lnTo>
                    <a:pt x="138" y="1230"/>
                  </a:lnTo>
                  <a:lnTo>
                    <a:pt x="138" y="1236"/>
                  </a:lnTo>
                  <a:lnTo>
                    <a:pt x="198" y="1230"/>
                  </a:lnTo>
                  <a:lnTo>
                    <a:pt x="252" y="1182"/>
                  </a:lnTo>
                  <a:lnTo>
                    <a:pt x="252" y="1194"/>
                  </a:lnTo>
                  <a:lnTo>
                    <a:pt x="258" y="1206"/>
                  </a:lnTo>
                  <a:lnTo>
                    <a:pt x="258" y="1224"/>
                  </a:lnTo>
                  <a:lnTo>
                    <a:pt x="252" y="1230"/>
                  </a:lnTo>
                  <a:lnTo>
                    <a:pt x="252" y="1242"/>
                  </a:lnTo>
                  <a:lnTo>
                    <a:pt x="246" y="1254"/>
                  </a:lnTo>
                  <a:lnTo>
                    <a:pt x="246" y="1266"/>
                  </a:lnTo>
                  <a:lnTo>
                    <a:pt x="252" y="1284"/>
                  </a:lnTo>
                  <a:lnTo>
                    <a:pt x="252" y="1314"/>
                  </a:lnTo>
                  <a:lnTo>
                    <a:pt x="264" y="1308"/>
                  </a:lnTo>
                  <a:lnTo>
                    <a:pt x="264" y="1314"/>
                  </a:lnTo>
                  <a:lnTo>
                    <a:pt x="270" y="1320"/>
                  </a:lnTo>
                  <a:lnTo>
                    <a:pt x="282" y="1320"/>
                  </a:lnTo>
                  <a:lnTo>
                    <a:pt x="282" y="1314"/>
                  </a:lnTo>
                  <a:lnTo>
                    <a:pt x="288" y="1314"/>
                  </a:lnTo>
                  <a:lnTo>
                    <a:pt x="294" y="1308"/>
                  </a:lnTo>
                  <a:lnTo>
                    <a:pt x="324" y="1308"/>
                  </a:lnTo>
                  <a:lnTo>
                    <a:pt x="336" y="1314"/>
                  </a:lnTo>
                  <a:lnTo>
                    <a:pt x="366" y="1314"/>
                  </a:lnTo>
                  <a:lnTo>
                    <a:pt x="372" y="1320"/>
                  </a:lnTo>
                  <a:lnTo>
                    <a:pt x="372" y="1326"/>
                  </a:lnTo>
                  <a:lnTo>
                    <a:pt x="390" y="1326"/>
                  </a:lnTo>
                  <a:lnTo>
                    <a:pt x="414" y="1314"/>
                  </a:lnTo>
                  <a:lnTo>
                    <a:pt x="420" y="1308"/>
                  </a:lnTo>
                  <a:lnTo>
                    <a:pt x="432" y="1290"/>
                  </a:lnTo>
                  <a:lnTo>
                    <a:pt x="468" y="1290"/>
                  </a:lnTo>
                  <a:lnTo>
                    <a:pt x="474" y="1260"/>
                  </a:lnTo>
                  <a:lnTo>
                    <a:pt x="510" y="1260"/>
                  </a:lnTo>
                  <a:lnTo>
                    <a:pt x="510" y="1254"/>
                  </a:lnTo>
                  <a:lnTo>
                    <a:pt x="516" y="1248"/>
                  </a:lnTo>
                  <a:lnTo>
                    <a:pt x="522" y="1236"/>
                  </a:lnTo>
                  <a:lnTo>
                    <a:pt x="528" y="1230"/>
                  </a:lnTo>
                  <a:lnTo>
                    <a:pt x="540" y="1224"/>
                  </a:lnTo>
                  <a:lnTo>
                    <a:pt x="576" y="1224"/>
                  </a:lnTo>
                  <a:lnTo>
                    <a:pt x="588" y="1212"/>
                  </a:lnTo>
                  <a:lnTo>
                    <a:pt x="600" y="1224"/>
                  </a:lnTo>
                  <a:lnTo>
                    <a:pt x="606" y="1224"/>
                  </a:lnTo>
                  <a:lnTo>
                    <a:pt x="606" y="1218"/>
                  </a:lnTo>
                  <a:lnTo>
                    <a:pt x="618" y="1212"/>
                  </a:lnTo>
                  <a:lnTo>
                    <a:pt x="630" y="1212"/>
                  </a:lnTo>
                  <a:lnTo>
                    <a:pt x="630" y="1242"/>
                  </a:lnTo>
                  <a:lnTo>
                    <a:pt x="624" y="1248"/>
                  </a:lnTo>
                  <a:lnTo>
                    <a:pt x="624" y="1254"/>
                  </a:lnTo>
                  <a:lnTo>
                    <a:pt x="618" y="1260"/>
                  </a:lnTo>
                  <a:lnTo>
                    <a:pt x="618" y="1290"/>
                  </a:lnTo>
                  <a:lnTo>
                    <a:pt x="624" y="1296"/>
                  </a:lnTo>
                  <a:lnTo>
                    <a:pt x="630" y="1308"/>
                  </a:lnTo>
                  <a:lnTo>
                    <a:pt x="630" y="1326"/>
                  </a:lnTo>
                  <a:lnTo>
                    <a:pt x="624" y="1332"/>
                  </a:lnTo>
                  <a:lnTo>
                    <a:pt x="624" y="1344"/>
                  </a:lnTo>
                  <a:lnTo>
                    <a:pt x="636" y="1356"/>
                  </a:lnTo>
                  <a:lnTo>
                    <a:pt x="648" y="1362"/>
                  </a:lnTo>
                  <a:lnTo>
                    <a:pt x="654" y="1368"/>
                  </a:lnTo>
                  <a:lnTo>
                    <a:pt x="660" y="1398"/>
                  </a:lnTo>
                  <a:lnTo>
                    <a:pt x="684" y="1398"/>
                  </a:lnTo>
                  <a:lnTo>
                    <a:pt x="690" y="1404"/>
                  </a:lnTo>
                  <a:lnTo>
                    <a:pt x="690" y="1410"/>
                  </a:lnTo>
                  <a:lnTo>
                    <a:pt x="696" y="1422"/>
                  </a:lnTo>
                  <a:lnTo>
                    <a:pt x="696" y="1428"/>
                  </a:lnTo>
                  <a:lnTo>
                    <a:pt x="702" y="1434"/>
                  </a:lnTo>
                  <a:lnTo>
                    <a:pt x="714" y="1440"/>
                  </a:lnTo>
                  <a:lnTo>
                    <a:pt x="744" y="1440"/>
                  </a:lnTo>
                  <a:lnTo>
                    <a:pt x="750" y="1434"/>
                  </a:lnTo>
                  <a:lnTo>
                    <a:pt x="756" y="1446"/>
                  </a:lnTo>
                  <a:lnTo>
                    <a:pt x="768" y="1452"/>
                  </a:lnTo>
                  <a:lnTo>
                    <a:pt x="780" y="1452"/>
                  </a:lnTo>
                  <a:lnTo>
                    <a:pt x="786" y="1446"/>
                  </a:lnTo>
                  <a:lnTo>
                    <a:pt x="798" y="1446"/>
                  </a:lnTo>
                  <a:lnTo>
                    <a:pt x="798" y="1452"/>
                  </a:lnTo>
                  <a:lnTo>
                    <a:pt x="804" y="1464"/>
                  </a:lnTo>
                  <a:lnTo>
                    <a:pt x="816" y="1470"/>
                  </a:lnTo>
                  <a:lnTo>
                    <a:pt x="828" y="1482"/>
                  </a:lnTo>
                  <a:lnTo>
                    <a:pt x="840" y="1488"/>
                  </a:lnTo>
                  <a:lnTo>
                    <a:pt x="864" y="1488"/>
                  </a:lnTo>
                  <a:lnTo>
                    <a:pt x="864" y="1494"/>
                  </a:lnTo>
                  <a:lnTo>
                    <a:pt x="876" y="1506"/>
                  </a:lnTo>
                  <a:lnTo>
                    <a:pt x="888" y="1512"/>
                  </a:lnTo>
                  <a:lnTo>
                    <a:pt x="894" y="1518"/>
                  </a:lnTo>
                  <a:lnTo>
                    <a:pt x="954" y="1518"/>
                  </a:lnTo>
                  <a:lnTo>
                    <a:pt x="978" y="1530"/>
                  </a:lnTo>
                  <a:lnTo>
                    <a:pt x="984" y="1542"/>
                  </a:lnTo>
                  <a:lnTo>
                    <a:pt x="990" y="1548"/>
                  </a:lnTo>
                  <a:lnTo>
                    <a:pt x="990" y="1578"/>
                  </a:lnTo>
                  <a:lnTo>
                    <a:pt x="996" y="1590"/>
                  </a:lnTo>
                  <a:lnTo>
                    <a:pt x="1002" y="1596"/>
                  </a:lnTo>
                  <a:lnTo>
                    <a:pt x="1008" y="1608"/>
                  </a:lnTo>
                  <a:lnTo>
                    <a:pt x="1008" y="1638"/>
                  </a:lnTo>
                  <a:lnTo>
                    <a:pt x="990" y="1638"/>
                  </a:lnTo>
                  <a:lnTo>
                    <a:pt x="990" y="1644"/>
                  </a:lnTo>
                  <a:lnTo>
                    <a:pt x="996" y="1650"/>
                  </a:lnTo>
                  <a:lnTo>
                    <a:pt x="1002" y="1662"/>
                  </a:lnTo>
                  <a:lnTo>
                    <a:pt x="1014" y="1668"/>
                  </a:lnTo>
                  <a:lnTo>
                    <a:pt x="1020" y="1674"/>
                  </a:lnTo>
                  <a:lnTo>
                    <a:pt x="1014" y="1686"/>
                  </a:lnTo>
                  <a:lnTo>
                    <a:pt x="1014" y="1728"/>
                  </a:lnTo>
                  <a:lnTo>
                    <a:pt x="1020" y="1734"/>
                  </a:lnTo>
                  <a:lnTo>
                    <a:pt x="1050" y="1740"/>
                  </a:lnTo>
                  <a:lnTo>
                    <a:pt x="1098" y="1746"/>
                  </a:lnTo>
                  <a:lnTo>
                    <a:pt x="1158" y="1746"/>
                  </a:lnTo>
                  <a:lnTo>
                    <a:pt x="1158" y="1752"/>
                  </a:lnTo>
                  <a:lnTo>
                    <a:pt x="1152" y="1758"/>
                  </a:lnTo>
                  <a:lnTo>
                    <a:pt x="1152" y="1770"/>
                  </a:lnTo>
                  <a:lnTo>
                    <a:pt x="1146" y="1788"/>
                  </a:lnTo>
                  <a:lnTo>
                    <a:pt x="1146" y="1800"/>
                  </a:lnTo>
                  <a:lnTo>
                    <a:pt x="1152" y="1812"/>
                  </a:lnTo>
                  <a:lnTo>
                    <a:pt x="1164" y="1818"/>
                  </a:lnTo>
                  <a:lnTo>
                    <a:pt x="1170" y="1824"/>
                  </a:lnTo>
                  <a:lnTo>
                    <a:pt x="1194" y="1836"/>
                  </a:lnTo>
                  <a:lnTo>
                    <a:pt x="1206" y="1848"/>
                  </a:lnTo>
                  <a:lnTo>
                    <a:pt x="1212" y="1860"/>
                  </a:lnTo>
                  <a:lnTo>
                    <a:pt x="1224" y="1896"/>
                  </a:lnTo>
                  <a:lnTo>
                    <a:pt x="1224" y="1908"/>
                  </a:lnTo>
                  <a:lnTo>
                    <a:pt x="1218" y="1920"/>
                  </a:lnTo>
                  <a:lnTo>
                    <a:pt x="1218" y="1944"/>
                  </a:lnTo>
                  <a:lnTo>
                    <a:pt x="1212" y="1950"/>
                  </a:lnTo>
                  <a:lnTo>
                    <a:pt x="1212" y="1956"/>
                  </a:lnTo>
                  <a:lnTo>
                    <a:pt x="1218" y="1968"/>
                  </a:lnTo>
                  <a:lnTo>
                    <a:pt x="1212" y="1980"/>
                  </a:lnTo>
                  <a:lnTo>
                    <a:pt x="1206" y="1986"/>
                  </a:lnTo>
                  <a:lnTo>
                    <a:pt x="1200" y="1998"/>
                  </a:lnTo>
                  <a:lnTo>
                    <a:pt x="1200" y="2022"/>
                  </a:lnTo>
                  <a:lnTo>
                    <a:pt x="1206" y="2028"/>
                  </a:lnTo>
                  <a:lnTo>
                    <a:pt x="1218" y="2034"/>
                  </a:lnTo>
                  <a:lnTo>
                    <a:pt x="1212" y="2040"/>
                  </a:lnTo>
                  <a:lnTo>
                    <a:pt x="1200" y="2046"/>
                  </a:lnTo>
                  <a:lnTo>
                    <a:pt x="1194" y="2052"/>
                  </a:lnTo>
                  <a:lnTo>
                    <a:pt x="1194" y="2064"/>
                  </a:lnTo>
                  <a:lnTo>
                    <a:pt x="1200" y="2070"/>
                  </a:lnTo>
                  <a:lnTo>
                    <a:pt x="1212" y="2076"/>
                  </a:lnTo>
                  <a:lnTo>
                    <a:pt x="1212" y="2112"/>
                  </a:lnTo>
                  <a:lnTo>
                    <a:pt x="1224" y="2112"/>
                  </a:lnTo>
                  <a:lnTo>
                    <a:pt x="1224" y="2130"/>
                  </a:lnTo>
                  <a:lnTo>
                    <a:pt x="1218" y="2142"/>
                  </a:lnTo>
                  <a:lnTo>
                    <a:pt x="1218" y="2184"/>
                  </a:lnTo>
                  <a:lnTo>
                    <a:pt x="1224" y="2196"/>
                  </a:lnTo>
                  <a:lnTo>
                    <a:pt x="1230" y="2202"/>
                  </a:lnTo>
                  <a:lnTo>
                    <a:pt x="1266" y="2214"/>
                  </a:lnTo>
                  <a:lnTo>
                    <a:pt x="1308" y="2220"/>
                  </a:lnTo>
                  <a:lnTo>
                    <a:pt x="1380" y="2220"/>
                  </a:lnTo>
                  <a:lnTo>
                    <a:pt x="1392" y="2226"/>
                  </a:lnTo>
                  <a:lnTo>
                    <a:pt x="1398" y="2232"/>
                  </a:lnTo>
                  <a:lnTo>
                    <a:pt x="1398" y="2256"/>
                  </a:lnTo>
                  <a:lnTo>
                    <a:pt x="1404" y="2274"/>
                  </a:lnTo>
                  <a:lnTo>
                    <a:pt x="1404" y="2298"/>
                  </a:lnTo>
                  <a:lnTo>
                    <a:pt x="1410" y="2316"/>
                  </a:lnTo>
                  <a:lnTo>
                    <a:pt x="1410" y="2334"/>
                  </a:lnTo>
                  <a:lnTo>
                    <a:pt x="1422" y="2358"/>
                  </a:lnTo>
                  <a:lnTo>
                    <a:pt x="1434" y="2364"/>
                  </a:lnTo>
                  <a:lnTo>
                    <a:pt x="1446" y="2364"/>
                  </a:lnTo>
                  <a:lnTo>
                    <a:pt x="1464" y="2346"/>
                  </a:lnTo>
                  <a:lnTo>
                    <a:pt x="1476" y="2346"/>
                  </a:lnTo>
                  <a:lnTo>
                    <a:pt x="1488" y="2352"/>
                  </a:lnTo>
                  <a:lnTo>
                    <a:pt x="1500" y="2364"/>
                  </a:lnTo>
                  <a:lnTo>
                    <a:pt x="1506" y="2376"/>
                  </a:lnTo>
                  <a:lnTo>
                    <a:pt x="1506" y="2394"/>
                  </a:lnTo>
                  <a:lnTo>
                    <a:pt x="1500" y="2412"/>
                  </a:lnTo>
                  <a:lnTo>
                    <a:pt x="1500" y="2442"/>
                  </a:lnTo>
                  <a:lnTo>
                    <a:pt x="1494" y="2448"/>
                  </a:lnTo>
                  <a:lnTo>
                    <a:pt x="1494" y="2454"/>
                  </a:lnTo>
                  <a:lnTo>
                    <a:pt x="1488" y="2466"/>
                  </a:lnTo>
                  <a:lnTo>
                    <a:pt x="1488" y="2478"/>
                  </a:lnTo>
                  <a:lnTo>
                    <a:pt x="1494" y="2496"/>
                  </a:lnTo>
                  <a:lnTo>
                    <a:pt x="1506" y="2490"/>
                  </a:lnTo>
                  <a:lnTo>
                    <a:pt x="1512" y="2484"/>
                  </a:lnTo>
                  <a:lnTo>
                    <a:pt x="1530" y="2484"/>
                  </a:lnTo>
                  <a:lnTo>
                    <a:pt x="1536" y="2490"/>
                  </a:lnTo>
                  <a:lnTo>
                    <a:pt x="1548" y="2514"/>
                  </a:lnTo>
                  <a:lnTo>
                    <a:pt x="1548" y="2526"/>
                  </a:lnTo>
                  <a:lnTo>
                    <a:pt x="1554" y="2526"/>
                  </a:lnTo>
                  <a:lnTo>
                    <a:pt x="1560" y="2532"/>
                  </a:lnTo>
                  <a:lnTo>
                    <a:pt x="1560" y="2562"/>
                  </a:lnTo>
                  <a:lnTo>
                    <a:pt x="1566" y="2580"/>
                  </a:lnTo>
                  <a:lnTo>
                    <a:pt x="1566" y="2616"/>
                  </a:lnTo>
                  <a:lnTo>
                    <a:pt x="1512" y="2634"/>
                  </a:lnTo>
                  <a:lnTo>
                    <a:pt x="1506" y="2640"/>
                  </a:lnTo>
                  <a:lnTo>
                    <a:pt x="1500" y="2652"/>
                  </a:lnTo>
                  <a:lnTo>
                    <a:pt x="1500" y="2670"/>
                  </a:lnTo>
                  <a:lnTo>
                    <a:pt x="1464" y="2670"/>
                  </a:lnTo>
                  <a:lnTo>
                    <a:pt x="1464" y="2688"/>
                  </a:lnTo>
                  <a:lnTo>
                    <a:pt x="1458" y="2694"/>
                  </a:lnTo>
                  <a:lnTo>
                    <a:pt x="1452" y="2718"/>
                  </a:lnTo>
                  <a:lnTo>
                    <a:pt x="1428" y="2724"/>
                  </a:lnTo>
                  <a:lnTo>
                    <a:pt x="1428" y="2736"/>
                  </a:lnTo>
                  <a:lnTo>
                    <a:pt x="1422" y="2748"/>
                  </a:lnTo>
                  <a:lnTo>
                    <a:pt x="1422" y="2760"/>
                  </a:lnTo>
                  <a:lnTo>
                    <a:pt x="1404" y="2778"/>
                  </a:lnTo>
                  <a:lnTo>
                    <a:pt x="1392" y="2778"/>
                  </a:lnTo>
                  <a:lnTo>
                    <a:pt x="1392" y="2802"/>
                  </a:lnTo>
                  <a:lnTo>
                    <a:pt x="1386" y="2808"/>
                  </a:lnTo>
                  <a:lnTo>
                    <a:pt x="1380" y="2820"/>
                  </a:lnTo>
                  <a:lnTo>
                    <a:pt x="1374" y="2826"/>
                  </a:lnTo>
                  <a:lnTo>
                    <a:pt x="1356" y="2826"/>
                  </a:lnTo>
                  <a:lnTo>
                    <a:pt x="1350" y="2832"/>
                  </a:lnTo>
                  <a:lnTo>
                    <a:pt x="1350" y="2844"/>
                  </a:lnTo>
                  <a:lnTo>
                    <a:pt x="1344" y="2856"/>
                  </a:lnTo>
                  <a:lnTo>
                    <a:pt x="1344" y="2868"/>
                  </a:lnTo>
                  <a:lnTo>
                    <a:pt x="1368" y="2868"/>
                  </a:lnTo>
                  <a:lnTo>
                    <a:pt x="1374" y="2862"/>
                  </a:lnTo>
                  <a:lnTo>
                    <a:pt x="1386" y="2856"/>
                  </a:lnTo>
                  <a:lnTo>
                    <a:pt x="1398" y="2856"/>
                  </a:lnTo>
                  <a:lnTo>
                    <a:pt x="1404" y="2862"/>
                  </a:lnTo>
                  <a:lnTo>
                    <a:pt x="1428" y="2874"/>
                  </a:lnTo>
                  <a:lnTo>
                    <a:pt x="1434" y="2886"/>
                  </a:lnTo>
                  <a:lnTo>
                    <a:pt x="1446" y="2892"/>
                  </a:lnTo>
                  <a:lnTo>
                    <a:pt x="1452" y="2898"/>
                  </a:lnTo>
                  <a:lnTo>
                    <a:pt x="1458" y="2910"/>
                  </a:lnTo>
                  <a:lnTo>
                    <a:pt x="1470" y="2922"/>
                  </a:lnTo>
                  <a:lnTo>
                    <a:pt x="1470" y="2934"/>
                  </a:lnTo>
                  <a:lnTo>
                    <a:pt x="1482" y="2934"/>
                  </a:lnTo>
                  <a:lnTo>
                    <a:pt x="1482" y="2928"/>
                  </a:lnTo>
                  <a:lnTo>
                    <a:pt x="1494" y="2916"/>
                  </a:lnTo>
                  <a:lnTo>
                    <a:pt x="1500" y="2916"/>
                  </a:lnTo>
                  <a:lnTo>
                    <a:pt x="1512" y="2922"/>
                  </a:lnTo>
                  <a:lnTo>
                    <a:pt x="1518" y="2934"/>
                  </a:lnTo>
                  <a:lnTo>
                    <a:pt x="1536" y="2952"/>
                  </a:lnTo>
                  <a:lnTo>
                    <a:pt x="1554" y="2952"/>
                  </a:lnTo>
                  <a:lnTo>
                    <a:pt x="1572" y="2970"/>
                  </a:lnTo>
                  <a:lnTo>
                    <a:pt x="1578" y="2970"/>
                  </a:lnTo>
                  <a:lnTo>
                    <a:pt x="1578" y="2982"/>
                  </a:lnTo>
                  <a:lnTo>
                    <a:pt x="1584" y="2988"/>
                  </a:lnTo>
                  <a:lnTo>
                    <a:pt x="1596" y="2994"/>
                  </a:lnTo>
                  <a:lnTo>
                    <a:pt x="1614" y="3000"/>
                  </a:lnTo>
                  <a:lnTo>
                    <a:pt x="1626" y="3000"/>
                  </a:lnTo>
                  <a:lnTo>
                    <a:pt x="1632" y="3012"/>
                  </a:lnTo>
                  <a:lnTo>
                    <a:pt x="1638" y="3018"/>
                  </a:lnTo>
                  <a:lnTo>
                    <a:pt x="1644" y="3030"/>
                  </a:lnTo>
                  <a:lnTo>
                    <a:pt x="1662" y="3048"/>
                  </a:lnTo>
                  <a:lnTo>
                    <a:pt x="1668" y="3048"/>
                  </a:lnTo>
                  <a:lnTo>
                    <a:pt x="1680" y="3054"/>
                  </a:lnTo>
                  <a:lnTo>
                    <a:pt x="1686" y="3054"/>
                  </a:lnTo>
                  <a:lnTo>
                    <a:pt x="1686" y="3066"/>
                  </a:lnTo>
                  <a:lnTo>
                    <a:pt x="1674" y="3090"/>
                  </a:lnTo>
                  <a:lnTo>
                    <a:pt x="1668" y="3096"/>
                  </a:lnTo>
                  <a:lnTo>
                    <a:pt x="1668" y="3120"/>
                  </a:lnTo>
                  <a:lnTo>
                    <a:pt x="1674" y="3120"/>
                  </a:lnTo>
                  <a:lnTo>
                    <a:pt x="1674" y="3150"/>
                  </a:lnTo>
                  <a:lnTo>
                    <a:pt x="1692" y="3150"/>
                  </a:lnTo>
                  <a:lnTo>
                    <a:pt x="1692" y="3144"/>
                  </a:lnTo>
                  <a:lnTo>
                    <a:pt x="1698" y="3132"/>
                  </a:lnTo>
                  <a:lnTo>
                    <a:pt x="1710" y="3126"/>
                  </a:lnTo>
                  <a:lnTo>
                    <a:pt x="1716" y="3114"/>
                  </a:lnTo>
                  <a:lnTo>
                    <a:pt x="1728" y="3102"/>
                  </a:lnTo>
                  <a:lnTo>
                    <a:pt x="1734" y="3090"/>
                  </a:lnTo>
                  <a:lnTo>
                    <a:pt x="1734" y="3060"/>
                  </a:lnTo>
                  <a:lnTo>
                    <a:pt x="1728" y="3054"/>
                  </a:lnTo>
                  <a:lnTo>
                    <a:pt x="1728" y="3048"/>
                  </a:lnTo>
                  <a:lnTo>
                    <a:pt x="1746" y="3018"/>
                  </a:lnTo>
                  <a:lnTo>
                    <a:pt x="1734" y="3012"/>
                  </a:lnTo>
                  <a:lnTo>
                    <a:pt x="1728" y="3000"/>
                  </a:lnTo>
                  <a:lnTo>
                    <a:pt x="1728" y="2988"/>
                  </a:lnTo>
                  <a:lnTo>
                    <a:pt x="1740" y="2976"/>
                  </a:lnTo>
                  <a:lnTo>
                    <a:pt x="1746" y="2976"/>
                  </a:lnTo>
                  <a:lnTo>
                    <a:pt x="1746" y="2952"/>
                  </a:lnTo>
                  <a:lnTo>
                    <a:pt x="1764" y="2952"/>
                  </a:lnTo>
                  <a:lnTo>
                    <a:pt x="1776" y="2940"/>
                  </a:lnTo>
                  <a:lnTo>
                    <a:pt x="1776" y="2904"/>
                  </a:lnTo>
                  <a:lnTo>
                    <a:pt x="1782" y="2898"/>
                  </a:lnTo>
                  <a:lnTo>
                    <a:pt x="1788" y="2886"/>
                  </a:lnTo>
                  <a:lnTo>
                    <a:pt x="1800" y="2874"/>
                  </a:lnTo>
                  <a:lnTo>
                    <a:pt x="1812" y="2868"/>
                  </a:lnTo>
                  <a:lnTo>
                    <a:pt x="1818" y="2862"/>
                  </a:lnTo>
                  <a:lnTo>
                    <a:pt x="1824" y="2862"/>
                  </a:lnTo>
                  <a:lnTo>
                    <a:pt x="1824" y="2898"/>
                  </a:lnTo>
                  <a:lnTo>
                    <a:pt x="1818" y="2904"/>
                  </a:lnTo>
                  <a:lnTo>
                    <a:pt x="1818" y="2910"/>
                  </a:lnTo>
                  <a:lnTo>
                    <a:pt x="1812" y="2916"/>
                  </a:lnTo>
                  <a:lnTo>
                    <a:pt x="1812" y="2934"/>
                  </a:lnTo>
                  <a:lnTo>
                    <a:pt x="1800" y="2940"/>
                  </a:lnTo>
                  <a:lnTo>
                    <a:pt x="1800" y="2952"/>
                  </a:lnTo>
                  <a:lnTo>
                    <a:pt x="1776" y="2982"/>
                  </a:lnTo>
                  <a:lnTo>
                    <a:pt x="1746" y="3006"/>
                  </a:lnTo>
                  <a:lnTo>
                    <a:pt x="1752" y="3012"/>
                  </a:lnTo>
                  <a:lnTo>
                    <a:pt x="1770" y="3012"/>
                  </a:lnTo>
                  <a:lnTo>
                    <a:pt x="1770" y="2994"/>
                  </a:lnTo>
                  <a:lnTo>
                    <a:pt x="1776" y="2988"/>
                  </a:lnTo>
                  <a:lnTo>
                    <a:pt x="1788" y="2988"/>
                  </a:lnTo>
                  <a:lnTo>
                    <a:pt x="1794" y="2982"/>
                  </a:lnTo>
                  <a:lnTo>
                    <a:pt x="1800" y="2982"/>
                  </a:lnTo>
                  <a:lnTo>
                    <a:pt x="1812" y="2964"/>
                  </a:lnTo>
                  <a:lnTo>
                    <a:pt x="1824" y="2940"/>
                  </a:lnTo>
                  <a:lnTo>
                    <a:pt x="1848" y="2880"/>
                  </a:lnTo>
                  <a:lnTo>
                    <a:pt x="1860" y="2832"/>
                  </a:lnTo>
                  <a:lnTo>
                    <a:pt x="1872" y="2808"/>
                  </a:lnTo>
                  <a:lnTo>
                    <a:pt x="1878" y="2790"/>
                  </a:lnTo>
                  <a:lnTo>
                    <a:pt x="1884" y="2778"/>
                  </a:lnTo>
                  <a:lnTo>
                    <a:pt x="1896" y="2772"/>
                  </a:lnTo>
                  <a:lnTo>
                    <a:pt x="1902" y="2760"/>
                  </a:lnTo>
                  <a:lnTo>
                    <a:pt x="1926" y="2736"/>
                  </a:lnTo>
                  <a:lnTo>
                    <a:pt x="1926" y="2724"/>
                  </a:lnTo>
                  <a:lnTo>
                    <a:pt x="1920" y="2718"/>
                  </a:lnTo>
                  <a:lnTo>
                    <a:pt x="1938" y="2706"/>
                  </a:lnTo>
                  <a:lnTo>
                    <a:pt x="1932" y="2670"/>
                  </a:lnTo>
                  <a:lnTo>
                    <a:pt x="1938" y="2646"/>
                  </a:lnTo>
                  <a:lnTo>
                    <a:pt x="1926" y="2640"/>
                  </a:lnTo>
                  <a:lnTo>
                    <a:pt x="1932" y="2634"/>
                  </a:lnTo>
                  <a:lnTo>
                    <a:pt x="1938" y="2622"/>
                  </a:lnTo>
                  <a:lnTo>
                    <a:pt x="1938" y="2610"/>
                  </a:lnTo>
                  <a:lnTo>
                    <a:pt x="1932" y="2604"/>
                  </a:lnTo>
                  <a:lnTo>
                    <a:pt x="1920" y="2598"/>
                  </a:lnTo>
                  <a:lnTo>
                    <a:pt x="1914" y="2592"/>
                  </a:lnTo>
                  <a:lnTo>
                    <a:pt x="1914" y="2556"/>
                  </a:lnTo>
                  <a:lnTo>
                    <a:pt x="1896" y="2544"/>
                  </a:lnTo>
                  <a:lnTo>
                    <a:pt x="1920" y="2544"/>
                  </a:lnTo>
                  <a:lnTo>
                    <a:pt x="1914" y="2520"/>
                  </a:lnTo>
                  <a:lnTo>
                    <a:pt x="1902" y="2508"/>
                  </a:lnTo>
                  <a:lnTo>
                    <a:pt x="1908" y="2508"/>
                  </a:lnTo>
                  <a:lnTo>
                    <a:pt x="1920" y="2502"/>
                  </a:lnTo>
                  <a:lnTo>
                    <a:pt x="1920" y="2490"/>
                  </a:lnTo>
                  <a:lnTo>
                    <a:pt x="1914" y="2490"/>
                  </a:lnTo>
                  <a:lnTo>
                    <a:pt x="1902" y="2484"/>
                  </a:lnTo>
                  <a:lnTo>
                    <a:pt x="1896" y="2478"/>
                  </a:lnTo>
                  <a:lnTo>
                    <a:pt x="1920" y="2460"/>
                  </a:lnTo>
                  <a:lnTo>
                    <a:pt x="1932" y="2472"/>
                  </a:lnTo>
                  <a:lnTo>
                    <a:pt x="1944" y="2478"/>
                  </a:lnTo>
                  <a:lnTo>
                    <a:pt x="1950" y="2478"/>
                  </a:lnTo>
                  <a:lnTo>
                    <a:pt x="1950" y="2448"/>
                  </a:lnTo>
                  <a:lnTo>
                    <a:pt x="1962" y="2424"/>
                  </a:lnTo>
                  <a:lnTo>
                    <a:pt x="1974" y="2418"/>
                  </a:lnTo>
                  <a:lnTo>
                    <a:pt x="1980" y="2418"/>
                  </a:lnTo>
                  <a:lnTo>
                    <a:pt x="2004" y="2406"/>
                  </a:lnTo>
                  <a:lnTo>
                    <a:pt x="2010" y="2394"/>
                  </a:lnTo>
                  <a:lnTo>
                    <a:pt x="2010" y="2382"/>
                  </a:lnTo>
                  <a:lnTo>
                    <a:pt x="2016" y="2376"/>
                  </a:lnTo>
                  <a:lnTo>
                    <a:pt x="2028" y="2376"/>
                  </a:lnTo>
                  <a:lnTo>
                    <a:pt x="2034" y="2370"/>
                  </a:lnTo>
                  <a:lnTo>
                    <a:pt x="2046" y="2370"/>
                  </a:lnTo>
                  <a:lnTo>
                    <a:pt x="2046" y="2358"/>
                  </a:lnTo>
                  <a:lnTo>
                    <a:pt x="2070" y="2358"/>
                  </a:lnTo>
                  <a:lnTo>
                    <a:pt x="2070" y="2340"/>
                  </a:lnTo>
                  <a:lnTo>
                    <a:pt x="2118" y="2340"/>
                  </a:lnTo>
                  <a:lnTo>
                    <a:pt x="2124" y="2358"/>
                  </a:lnTo>
                  <a:lnTo>
                    <a:pt x="2136" y="2352"/>
                  </a:lnTo>
                  <a:lnTo>
                    <a:pt x="2118" y="2334"/>
                  </a:lnTo>
                  <a:lnTo>
                    <a:pt x="2136" y="2316"/>
                  </a:lnTo>
                  <a:lnTo>
                    <a:pt x="2142" y="2316"/>
                  </a:lnTo>
                  <a:lnTo>
                    <a:pt x="2154" y="2310"/>
                  </a:lnTo>
                  <a:lnTo>
                    <a:pt x="2178" y="2310"/>
                  </a:lnTo>
                  <a:lnTo>
                    <a:pt x="2160" y="2292"/>
                  </a:lnTo>
                  <a:lnTo>
                    <a:pt x="2172" y="2286"/>
                  </a:lnTo>
                  <a:lnTo>
                    <a:pt x="2178" y="2280"/>
                  </a:lnTo>
                  <a:lnTo>
                    <a:pt x="2190" y="2280"/>
                  </a:lnTo>
                  <a:lnTo>
                    <a:pt x="2190" y="2304"/>
                  </a:lnTo>
                  <a:lnTo>
                    <a:pt x="2196" y="2304"/>
                  </a:lnTo>
                  <a:lnTo>
                    <a:pt x="2196" y="2298"/>
                  </a:lnTo>
                  <a:lnTo>
                    <a:pt x="2202" y="2286"/>
                  </a:lnTo>
                  <a:lnTo>
                    <a:pt x="2208" y="2280"/>
                  </a:lnTo>
                  <a:lnTo>
                    <a:pt x="2244" y="2286"/>
                  </a:lnTo>
                  <a:lnTo>
                    <a:pt x="2244" y="2280"/>
                  </a:lnTo>
                  <a:lnTo>
                    <a:pt x="2250" y="2274"/>
                  </a:lnTo>
                  <a:lnTo>
                    <a:pt x="2250" y="2268"/>
                  </a:lnTo>
                  <a:lnTo>
                    <a:pt x="2256" y="2262"/>
                  </a:lnTo>
                  <a:lnTo>
                    <a:pt x="2268" y="2256"/>
                  </a:lnTo>
                  <a:lnTo>
                    <a:pt x="2274" y="2256"/>
                  </a:lnTo>
                  <a:lnTo>
                    <a:pt x="2280" y="2262"/>
                  </a:lnTo>
                  <a:lnTo>
                    <a:pt x="2280" y="2286"/>
                  </a:lnTo>
                  <a:lnTo>
                    <a:pt x="2346" y="2280"/>
                  </a:lnTo>
                  <a:lnTo>
                    <a:pt x="2352" y="2262"/>
                  </a:lnTo>
                  <a:lnTo>
                    <a:pt x="2346" y="2250"/>
                  </a:lnTo>
                  <a:lnTo>
                    <a:pt x="2352" y="2244"/>
                  </a:lnTo>
                  <a:lnTo>
                    <a:pt x="2358" y="2232"/>
                  </a:lnTo>
                  <a:lnTo>
                    <a:pt x="2370" y="2220"/>
                  </a:lnTo>
                  <a:lnTo>
                    <a:pt x="2406" y="2202"/>
                  </a:lnTo>
                  <a:lnTo>
                    <a:pt x="2418" y="2202"/>
                  </a:lnTo>
                  <a:lnTo>
                    <a:pt x="2412" y="2190"/>
                  </a:lnTo>
                  <a:lnTo>
                    <a:pt x="2412" y="2112"/>
                  </a:lnTo>
                  <a:lnTo>
                    <a:pt x="2442" y="2082"/>
                  </a:lnTo>
                  <a:lnTo>
                    <a:pt x="2442" y="2058"/>
                  </a:lnTo>
                  <a:lnTo>
                    <a:pt x="2460" y="2052"/>
                  </a:lnTo>
                  <a:lnTo>
                    <a:pt x="2460" y="2022"/>
                  </a:lnTo>
                  <a:lnTo>
                    <a:pt x="2466" y="2022"/>
                  </a:lnTo>
                  <a:lnTo>
                    <a:pt x="2472" y="2016"/>
                  </a:lnTo>
                  <a:lnTo>
                    <a:pt x="2478" y="2016"/>
                  </a:lnTo>
                  <a:lnTo>
                    <a:pt x="2478" y="2010"/>
                  </a:lnTo>
                  <a:lnTo>
                    <a:pt x="2484" y="2004"/>
                  </a:lnTo>
                  <a:lnTo>
                    <a:pt x="2484" y="1956"/>
                  </a:lnTo>
                  <a:lnTo>
                    <a:pt x="2478" y="1944"/>
                  </a:lnTo>
                  <a:lnTo>
                    <a:pt x="2478" y="1926"/>
                  </a:lnTo>
                  <a:lnTo>
                    <a:pt x="2472" y="1908"/>
                  </a:lnTo>
                  <a:lnTo>
                    <a:pt x="2484" y="1884"/>
                  </a:lnTo>
                  <a:lnTo>
                    <a:pt x="2514" y="1854"/>
                  </a:lnTo>
                  <a:lnTo>
                    <a:pt x="2514" y="1848"/>
                  </a:lnTo>
                  <a:lnTo>
                    <a:pt x="2508" y="1836"/>
                  </a:lnTo>
                  <a:lnTo>
                    <a:pt x="2508" y="1830"/>
                  </a:lnTo>
                  <a:lnTo>
                    <a:pt x="2502" y="1818"/>
                  </a:lnTo>
                  <a:lnTo>
                    <a:pt x="2508" y="1764"/>
                  </a:lnTo>
                  <a:lnTo>
                    <a:pt x="2508" y="1758"/>
                  </a:lnTo>
                  <a:lnTo>
                    <a:pt x="2514" y="1752"/>
                  </a:lnTo>
                  <a:lnTo>
                    <a:pt x="2514" y="1722"/>
                  </a:lnTo>
                  <a:lnTo>
                    <a:pt x="2520" y="1710"/>
                  </a:lnTo>
                  <a:lnTo>
                    <a:pt x="2520" y="1680"/>
                  </a:lnTo>
                  <a:lnTo>
                    <a:pt x="2508" y="1644"/>
                  </a:lnTo>
                  <a:lnTo>
                    <a:pt x="2502" y="1608"/>
                  </a:lnTo>
                  <a:lnTo>
                    <a:pt x="2502" y="1596"/>
                  </a:lnTo>
                  <a:lnTo>
                    <a:pt x="2508" y="1560"/>
                  </a:lnTo>
                  <a:lnTo>
                    <a:pt x="2508" y="1548"/>
                  </a:lnTo>
                  <a:lnTo>
                    <a:pt x="2502" y="1536"/>
                  </a:lnTo>
                  <a:lnTo>
                    <a:pt x="2502" y="1500"/>
                  </a:lnTo>
                  <a:lnTo>
                    <a:pt x="2508" y="1488"/>
                  </a:lnTo>
                  <a:lnTo>
                    <a:pt x="2520" y="1476"/>
                  </a:lnTo>
                  <a:lnTo>
                    <a:pt x="2508" y="1458"/>
                  </a:lnTo>
                  <a:lnTo>
                    <a:pt x="2520" y="1446"/>
                  </a:lnTo>
                  <a:lnTo>
                    <a:pt x="2532" y="1446"/>
                  </a:lnTo>
                  <a:lnTo>
                    <a:pt x="2532" y="1452"/>
                  </a:lnTo>
                  <a:lnTo>
                    <a:pt x="2538" y="1464"/>
                  </a:lnTo>
                  <a:lnTo>
                    <a:pt x="2544" y="1470"/>
                  </a:lnTo>
                  <a:lnTo>
                    <a:pt x="2556" y="1464"/>
                  </a:lnTo>
                  <a:lnTo>
                    <a:pt x="2562" y="1452"/>
                  </a:lnTo>
                  <a:lnTo>
                    <a:pt x="2574" y="1446"/>
                  </a:lnTo>
                  <a:lnTo>
                    <a:pt x="2580" y="1434"/>
                  </a:lnTo>
                  <a:lnTo>
                    <a:pt x="2586" y="1428"/>
                  </a:lnTo>
                  <a:lnTo>
                    <a:pt x="2592" y="1416"/>
                  </a:lnTo>
                  <a:lnTo>
                    <a:pt x="2592" y="1404"/>
                  </a:lnTo>
                  <a:lnTo>
                    <a:pt x="2598" y="1386"/>
                  </a:lnTo>
                  <a:lnTo>
                    <a:pt x="2598" y="1374"/>
                  </a:lnTo>
                  <a:lnTo>
                    <a:pt x="2604" y="1356"/>
                  </a:lnTo>
                  <a:lnTo>
                    <a:pt x="2604" y="1344"/>
                  </a:lnTo>
                  <a:lnTo>
                    <a:pt x="2610" y="1338"/>
                  </a:lnTo>
                  <a:lnTo>
                    <a:pt x="2616" y="1338"/>
                  </a:lnTo>
                  <a:lnTo>
                    <a:pt x="2628" y="1326"/>
                  </a:lnTo>
                  <a:lnTo>
                    <a:pt x="2634" y="1314"/>
                  </a:lnTo>
                  <a:lnTo>
                    <a:pt x="2640" y="1308"/>
                  </a:lnTo>
                  <a:lnTo>
                    <a:pt x="2640" y="1296"/>
                  </a:lnTo>
                  <a:lnTo>
                    <a:pt x="2652" y="1290"/>
                  </a:lnTo>
                  <a:lnTo>
                    <a:pt x="2658" y="1284"/>
                  </a:lnTo>
                  <a:lnTo>
                    <a:pt x="2670" y="1284"/>
                  </a:lnTo>
                  <a:lnTo>
                    <a:pt x="2682" y="1272"/>
                  </a:lnTo>
                  <a:lnTo>
                    <a:pt x="2682" y="1254"/>
                  </a:lnTo>
                  <a:lnTo>
                    <a:pt x="2688" y="1254"/>
                  </a:lnTo>
                  <a:lnTo>
                    <a:pt x="2724" y="1218"/>
                  </a:lnTo>
                  <a:lnTo>
                    <a:pt x="2736" y="1188"/>
                  </a:lnTo>
                  <a:lnTo>
                    <a:pt x="2754" y="1158"/>
                  </a:lnTo>
                  <a:lnTo>
                    <a:pt x="2760" y="1134"/>
                  </a:lnTo>
                  <a:lnTo>
                    <a:pt x="2766" y="1122"/>
                  </a:lnTo>
                  <a:lnTo>
                    <a:pt x="2772" y="1116"/>
                  </a:lnTo>
                  <a:lnTo>
                    <a:pt x="2778" y="1104"/>
                  </a:lnTo>
                  <a:lnTo>
                    <a:pt x="2784" y="1098"/>
                  </a:lnTo>
                  <a:lnTo>
                    <a:pt x="2784" y="1080"/>
                  </a:lnTo>
                  <a:lnTo>
                    <a:pt x="2778" y="1068"/>
                  </a:lnTo>
                  <a:lnTo>
                    <a:pt x="2778" y="1002"/>
                  </a:lnTo>
                  <a:close/>
                </a:path>
              </a:pathLst>
            </a:custGeom>
            <a:solidFill>
              <a:schemeClr val="accent5"/>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84" name="Botswana" descr="© INSCALE GmbH, 05.05.2010&#10;http://www.presentationload.com/">
              <a:extLst>
                <a:ext uri="{FF2B5EF4-FFF2-40B4-BE49-F238E27FC236}">
                  <a16:creationId xmlns:a16="http://schemas.microsoft.com/office/drawing/2014/main" id="{9C901D37-FC55-48AC-9FF0-E620A0F59FA3}"/>
                </a:ext>
              </a:extLst>
            </p:cNvPr>
            <p:cNvSpPr>
              <a:spLocks/>
            </p:cNvSpPr>
            <p:nvPr/>
          </p:nvSpPr>
          <p:spPr bwMode="gray">
            <a:xfrm>
              <a:off x="4686007" y="4821823"/>
              <a:ext cx="257156" cy="290085"/>
            </a:xfrm>
            <a:custGeom>
              <a:avLst/>
              <a:gdLst>
                <a:gd name="T0" fmla="*/ 2147483647 w 648"/>
                <a:gd name="T1" fmla="*/ 2147483647 h 732"/>
                <a:gd name="T2" fmla="*/ 2147483647 w 648"/>
                <a:gd name="T3" fmla="*/ 2147483647 h 732"/>
                <a:gd name="T4" fmla="*/ 2147483647 w 648"/>
                <a:gd name="T5" fmla="*/ 2147483647 h 732"/>
                <a:gd name="T6" fmla="*/ 2147483647 w 648"/>
                <a:gd name="T7" fmla="*/ 2147483647 h 732"/>
                <a:gd name="T8" fmla="*/ 2147483647 w 648"/>
                <a:gd name="T9" fmla="*/ 2147483647 h 732"/>
                <a:gd name="T10" fmla="*/ 2147483647 w 648"/>
                <a:gd name="T11" fmla="*/ 2147483647 h 732"/>
                <a:gd name="T12" fmla="*/ 2147483647 w 648"/>
                <a:gd name="T13" fmla="*/ 2147483647 h 732"/>
                <a:gd name="T14" fmla="*/ 2147483647 w 648"/>
                <a:gd name="T15" fmla="*/ 2147483647 h 732"/>
                <a:gd name="T16" fmla="*/ 2147483647 w 648"/>
                <a:gd name="T17" fmla="*/ 2147483647 h 732"/>
                <a:gd name="T18" fmla="*/ 2147483647 w 648"/>
                <a:gd name="T19" fmla="*/ 2147483647 h 732"/>
                <a:gd name="T20" fmla="*/ 2147483647 w 648"/>
                <a:gd name="T21" fmla="*/ 2147483647 h 732"/>
                <a:gd name="T22" fmla="*/ 2147483647 w 648"/>
                <a:gd name="T23" fmla="*/ 2147483647 h 732"/>
                <a:gd name="T24" fmla="*/ 2147483647 w 648"/>
                <a:gd name="T25" fmla="*/ 2147483647 h 732"/>
                <a:gd name="T26" fmla="*/ 2147483647 w 648"/>
                <a:gd name="T27" fmla="*/ 2147483647 h 732"/>
                <a:gd name="T28" fmla="*/ 2147483647 w 648"/>
                <a:gd name="T29" fmla="*/ 2147483647 h 732"/>
                <a:gd name="T30" fmla="*/ 2147483647 w 648"/>
                <a:gd name="T31" fmla="*/ 2147483647 h 732"/>
                <a:gd name="T32" fmla="*/ 2147483647 w 648"/>
                <a:gd name="T33" fmla="*/ 2147483647 h 732"/>
                <a:gd name="T34" fmla="*/ 2147483647 w 648"/>
                <a:gd name="T35" fmla="*/ 2147483647 h 732"/>
                <a:gd name="T36" fmla="*/ 2147483647 w 648"/>
                <a:gd name="T37" fmla="*/ 2147483647 h 732"/>
                <a:gd name="T38" fmla="*/ 2147483647 w 648"/>
                <a:gd name="T39" fmla="*/ 2147483647 h 732"/>
                <a:gd name="T40" fmla="*/ 2147483647 w 648"/>
                <a:gd name="T41" fmla="*/ 2147483647 h 732"/>
                <a:gd name="T42" fmla="*/ 2147483647 w 648"/>
                <a:gd name="T43" fmla="*/ 2147483647 h 732"/>
                <a:gd name="T44" fmla="*/ 2147483647 w 648"/>
                <a:gd name="T45" fmla="*/ 2147483647 h 732"/>
                <a:gd name="T46" fmla="*/ 2147483647 w 648"/>
                <a:gd name="T47" fmla="*/ 2147483647 h 732"/>
                <a:gd name="T48" fmla="*/ 2147483647 w 648"/>
                <a:gd name="T49" fmla="*/ 2147483647 h 732"/>
                <a:gd name="T50" fmla="*/ 2147483647 w 648"/>
                <a:gd name="T51" fmla="*/ 2147483647 h 732"/>
                <a:gd name="T52" fmla="*/ 2147483647 w 648"/>
                <a:gd name="T53" fmla="*/ 2147483647 h 732"/>
                <a:gd name="T54" fmla="*/ 2147483647 w 648"/>
                <a:gd name="T55" fmla="*/ 2147483647 h 732"/>
                <a:gd name="T56" fmla="*/ 2147483647 w 648"/>
                <a:gd name="T57" fmla="*/ 2147483647 h 732"/>
                <a:gd name="T58" fmla="*/ 2147483647 w 648"/>
                <a:gd name="T59" fmla="*/ 2147483647 h 732"/>
                <a:gd name="T60" fmla="*/ 2147483647 w 648"/>
                <a:gd name="T61" fmla="*/ 2147483647 h 732"/>
                <a:gd name="T62" fmla="*/ 2147483647 w 648"/>
                <a:gd name="T63" fmla="*/ 2147483647 h 732"/>
                <a:gd name="T64" fmla="*/ 2147483647 w 648"/>
                <a:gd name="T65" fmla="*/ 2147483647 h 732"/>
                <a:gd name="T66" fmla="*/ 2147483647 w 648"/>
                <a:gd name="T67" fmla="*/ 2147483647 h 732"/>
                <a:gd name="T68" fmla="*/ 2147483647 w 648"/>
                <a:gd name="T69" fmla="*/ 2147483647 h 732"/>
                <a:gd name="T70" fmla="*/ 2147483647 w 648"/>
                <a:gd name="T71" fmla="*/ 2147483647 h 732"/>
                <a:gd name="T72" fmla="*/ 2147483647 w 648"/>
                <a:gd name="T73" fmla="*/ 2147483647 h 732"/>
                <a:gd name="T74" fmla="*/ 2147483647 w 648"/>
                <a:gd name="T75" fmla="*/ 2147483647 h 732"/>
                <a:gd name="T76" fmla="*/ 2147483647 w 648"/>
                <a:gd name="T77" fmla="*/ 2147483647 h 732"/>
                <a:gd name="T78" fmla="*/ 2147483647 w 648"/>
                <a:gd name="T79" fmla="*/ 2147483647 h 732"/>
                <a:gd name="T80" fmla="*/ 2147483647 w 648"/>
                <a:gd name="T81" fmla="*/ 2147483647 h 732"/>
                <a:gd name="T82" fmla="*/ 2147483647 w 648"/>
                <a:gd name="T83" fmla="*/ 2147483647 h 732"/>
                <a:gd name="T84" fmla="*/ 2147483647 w 648"/>
                <a:gd name="T85" fmla="*/ 2147483647 h 732"/>
                <a:gd name="T86" fmla="*/ 2147483647 w 648"/>
                <a:gd name="T87" fmla="*/ 2147483647 h 732"/>
                <a:gd name="T88" fmla="*/ 2147483647 w 648"/>
                <a:gd name="T89" fmla="*/ 2147483647 h 732"/>
                <a:gd name="T90" fmla="*/ 2147483647 w 648"/>
                <a:gd name="T91" fmla="*/ 2147483647 h 732"/>
                <a:gd name="T92" fmla="*/ 2147483647 w 648"/>
                <a:gd name="T93" fmla="*/ 2147483647 h 732"/>
                <a:gd name="T94" fmla="*/ 2147483647 w 648"/>
                <a:gd name="T95" fmla="*/ 0 h 732"/>
                <a:gd name="T96" fmla="*/ 2147483647 w 648"/>
                <a:gd name="T97" fmla="*/ 2147483647 h 732"/>
                <a:gd name="T98" fmla="*/ 2147483647 w 648"/>
                <a:gd name="T99" fmla="*/ 2147483647 h 732"/>
                <a:gd name="T100" fmla="*/ 2147483647 w 648"/>
                <a:gd name="T101" fmla="*/ 2147483647 h 732"/>
                <a:gd name="T102" fmla="*/ 2147483647 w 648"/>
                <a:gd name="T103" fmla="*/ 2147483647 h 732"/>
                <a:gd name="T104" fmla="*/ 2147483647 w 648"/>
                <a:gd name="T105" fmla="*/ 2147483647 h 732"/>
                <a:gd name="T106" fmla="*/ 2147483647 w 648"/>
                <a:gd name="T107" fmla="*/ 2147483647 h 732"/>
                <a:gd name="T108" fmla="*/ 2147483647 w 648"/>
                <a:gd name="T109" fmla="*/ 2147483647 h 732"/>
                <a:gd name="T110" fmla="*/ 2147483647 w 648"/>
                <a:gd name="T111" fmla="*/ 2147483647 h 732"/>
                <a:gd name="T112" fmla="*/ 2147483647 w 648"/>
                <a:gd name="T113" fmla="*/ 2147483647 h 732"/>
                <a:gd name="T114" fmla="*/ 0 w 648"/>
                <a:gd name="T115" fmla="*/ 2147483647 h 7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8"/>
                <a:gd name="T175" fmla="*/ 0 h 732"/>
                <a:gd name="T176" fmla="*/ 648 w 648"/>
                <a:gd name="T177" fmla="*/ 732 h 7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8" h="732">
                  <a:moveTo>
                    <a:pt x="0" y="570"/>
                  </a:moveTo>
                  <a:lnTo>
                    <a:pt x="12" y="576"/>
                  </a:lnTo>
                  <a:lnTo>
                    <a:pt x="18" y="582"/>
                  </a:lnTo>
                  <a:lnTo>
                    <a:pt x="30" y="588"/>
                  </a:lnTo>
                  <a:lnTo>
                    <a:pt x="36" y="594"/>
                  </a:lnTo>
                  <a:lnTo>
                    <a:pt x="42" y="612"/>
                  </a:lnTo>
                  <a:lnTo>
                    <a:pt x="48" y="624"/>
                  </a:lnTo>
                  <a:lnTo>
                    <a:pt x="48" y="642"/>
                  </a:lnTo>
                  <a:lnTo>
                    <a:pt x="54" y="648"/>
                  </a:lnTo>
                  <a:lnTo>
                    <a:pt x="54" y="672"/>
                  </a:lnTo>
                  <a:lnTo>
                    <a:pt x="48" y="684"/>
                  </a:lnTo>
                  <a:lnTo>
                    <a:pt x="48" y="690"/>
                  </a:lnTo>
                  <a:lnTo>
                    <a:pt x="42" y="702"/>
                  </a:lnTo>
                  <a:lnTo>
                    <a:pt x="42" y="732"/>
                  </a:lnTo>
                  <a:lnTo>
                    <a:pt x="120" y="732"/>
                  </a:lnTo>
                  <a:lnTo>
                    <a:pt x="120" y="714"/>
                  </a:lnTo>
                  <a:lnTo>
                    <a:pt x="144" y="714"/>
                  </a:lnTo>
                  <a:lnTo>
                    <a:pt x="144" y="708"/>
                  </a:lnTo>
                  <a:lnTo>
                    <a:pt x="150" y="702"/>
                  </a:lnTo>
                  <a:lnTo>
                    <a:pt x="156" y="690"/>
                  </a:lnTo>
                  <a:lnTo>
                    <a:pt x="162" y="684"/>
                  </a:lnTo>
                  <a:lnTo>
                    <a:pt x="168" y="684"/>
                  </a:lnTo>
                  <a:lnTo>
                    <a:pt x="174" y="678"/>
                  </a:lnTo>
                  <a:lnTo>
                    <a:pt x="186" y="678"/>
                  </a:lnTo>
                  <a:lnTo>
                    <a:pt x="186" y="654"/>
                  </a:lnTo>
                  <a:lnTo>
                    <a:pt x="192" y="642"/>
                  </a:lnTo>
                  <a:lnTo>
                    <a:pt x="192" y="630"/>
                  </a:lnTo>
                  <a:lnTo>
                    <a:pt x="198" y="618"/>
                  </a:lnTo>
                  <a:lnTo>
                    <a:pt x="204" y="612"/>
                  </a:lnTo>
                  <a:lnTo>
                    <a:pt x="216" y="606"/>
                  </a:lnTo>
                  <a:lnTo>
                    <a:pt x="228" y="606"/>
                  </a:lnTo>
                  <a:lnTo>
                    <a:pt x="240" y="612"/>
                  </a:lnTo>
                  <a:lnTo>
                    <a:pt x="246" y="618"/>
                  </a:lnTo>
                  <a:lnTo>
                    <a:pt x="258" y="624"/>
                  </a:lnTo>
                  <a:lnTo>
                    <a:pt x="270" y="636"/>
                  </a:lnTo>
                  <a:lnTo>
                    <a:pt x="300" y="636"/>
                  </a:lnTo>
                  <a:lnTo>
                    <a:pt x="306" y="642"/>
                  </a:lnTo>
                  <a:lnTo>
                    <a:pt x="318" y="648"/>
                  </a:lnTo>
                  <a:lnTo>
                    <a:pt x="324" y="654"/>
                  </a:lnTo>
                  <a:lnTo>
                    <a:pt x="336" y="654"/>
                  </a:lnTo>
                  <a:lnTo>
                    <a:pt x="348" y="648"/>
                  </a:lnTo>
                  <a:lnTo>
                    <a:pt x="354" y="642"/>
                  </a:lnTo>
                  <a:lnTo>
                    <a:pt x="360" y="648"/>
                  </a:lnTo>
                  <a:lnTo>
                    <a:pt x="372" y="648"/>
                  </a:lnTo>
                  <a:lnTo>
                    <a:pt x="384" y="642"/>
                  </a:lnTo>
                  <a:lnTo>
                    <a:pt x="390" y="636"/>
                  </a:lnTo>
                  <a:lnTo>
                    <a:pt x="396" y="624"/>
                  </a:lnTo>
                  <a:lnTo>
                    <a:pt x="402" y="606"/>
                  </a:lnTo>
                  <a:lnTo>
                    <a:pt x="408" y="594"/>
                  </a:lnTo>
                  <a:lnTo>
                    <a:pt x="408" y="582"/>
                  </a:lnTo>
                  <a:lnTo>
                    <a:pt x="426" y="564"/>
                  </a:lnTo>
                  <a:lnTo>
                    <a:pt x="444" y="558"/>
                  </a:lnTo>
                  <a:lnTo>
                    <a:pt x="456" y="552"/>
                  </a:lnTo>
                  <a:lnTo>
                    <a:pt x="462" y="546"/>
                  </a:lnTo>
                  <a:lnTo>
                    <a:pt x="468" y="534"/>
                  </a:lnTo>
                  <a:lnTo>
                    <a:pt x="480" y="528"/>
                  </a:lnTo>
                  <a:lnTo>
                    <a:pt x="480" y="492"/>
                  </a:lnTo>
                  <a:lnTo>
                    <a:pt x="492" y="468"/>
                  </a:lnTo>
                  <a:lnTo>
                    <a:pt x="504" y="462"/>
                  </a:lnTo>
                  <a:lnTo>
                    <a:pt x="510" y="462"/>
                  </a:lnTo>
                  <a:lnTo>
                    <a:pt x="522" y="456"/>
                  </a:lnTo>
                  <a:lnTo>
                    <a:pt x="564" y="414"/>
                  </a:lnTo>
                  <a:lnTo>
                    <a:pt x="576" y="390"/>
                  </a:lnTo>
                  <a:lnTo>
                    <a:pt x="582" y="384"/>
                  </a:lnTo>
                  <a:lnTo>
                    <a:pt x="594" y="384"/>
                  </a:lnTo>
                  <a:lnTo>
                    <a:pt x="606" y="378"/>
                  </a:lnTo>
                  <a:lnTo>
                    <a:pt x="618" y="378"/>
                  </a:lnTo>
                  <a:lnTo>
                    <a:pt x="630" y="354"/>
                  </a:lnTo>
                  <a:lnTo>
                    <a:pt x="648" y="354"/>
                  </a:lnTo>
                  <a:lnTo>
                    <a:pt x="648" y="348"/>
                  </a:lnTo>
                  <a:lnTo>
                    <a:pt x="642" y="336"/>
                  </a:lnTo>
                  <a:lnTo>
                    <a:pt x="624" y="318"/>
                  </a:lnTo>
                  <a:lnTo>
                    <a:pt x="606" y="312"/>
                  </a:lnTo>
                  <a:lnTo>
                    <a:pt x="594" y="312"/>
                  </a:lnTo>
                  <a:lnTo>
                    <a:pt x="576" y="306"/>
                  </a:lnTo>
                  <a:lnTo>
                    <a:pt x="564" y="306"/>
                  </a:lnTo>
                  <a:lnTo>
                    <a:pt x="564" y="276"/>
                  </a:lnTo>
                  <a:lnTo>
                    <a:pt x="546" y="276"/>
                  </a:lnTo>
                  <a:lnTo>
                    <a:pt x="546" y="246"/>
                  </a:lnTo>
                  <a:lnTo>
                    <a:pt x="552" y="240"/>
                  </a:lnTo>
                  <a:lnTo>
                    <a:pt x="546" y="216"/>
                  </a:lnTo>
                  <a:lnTo>
                    <a:pt x="516" y="216"/>
                  </a:lnTo>
                  <a:lnTo>
                    <a:pt x="516" y="186"/>
                  </a:lnTo>
                  <a:lnTo>
                    <a:pt x="510" y="180"/>
                  </a:lnTo>
                  <a:lnTo>
                    <a:pt x="480" y="180"/>
                  </a:lnTo>
                  <a:lnTo>
                    <a:pt x="462" y="162"/>
                  </a:lnTo>
                  <a:lnTo>
                    <a:pt x="450" y="156"/>
                  </a:lnTo>
                  <a:lnTo>
                    <a:pt x="432" y="120"/>
                  </a:lnTo>
                  <a:lnTo>
                    <a:pt x="432" y="96"/>
                  </a:lnTo>
                  <a:lnTo>
                    <a:pt x="426" y="90"/>
                  </a:lnTo>
                  <a:lnTo>
                    <a:pt x="414" y="66"/>
                  </a:lnTo>
                  <a:lnTo>
                    <a:pt x="408" y="60"/>
                  </a:lnTo>
                  <a:lnTo>
                    <a:pt x="396" y="60"/>
                  </a:lnTo>
                  <a:lnTo>
                    <a:pt x="396" y="30"/>
                  </a:lnTo>
                  <a:lnTo>
                    <a:pt x="384" y="18"/>
                  </a:lnTo>
                  <a:lnTo>
                    <a:pt x="378" y="0"/>
                  </a:lnTo>
                  <a:lnTo>
                    <a:pt x="342" y="6"/>
                  </a:lnTo>
                  <a:lnTo>
                    <a:pt x="330" y="18"/>
                  </a:lnTo>
                  <a:lnTo>
                    <a:pt x="306" y="18"/>
                  </a:lnTo>
                  <a:lnTo>
                    <a:pt x="264" y="60"/>
                  </a:lnTo>
                  <a:lnTo>
                    <a:pt x="258" y="60"/>
                  </a:lnTo>
                  <a:lnTo>
                    <a:pt x="258" y="42"/>
                  </a:lnTo>
                  <a:lnTo>
                    <a:pt x="252" y="42"/>
                  </a:lnTo>
                  <a:lnTo>
                    <a:pt x="252" y="24"/>
                  </a:lnTo>
                  <a:lnTo>
                    <a:pt x="246" y="18"/>
                  </a:lnTo>
                  <a:lnTo>
                    <a:pt x="228" y="18"/>
                  </a:lnTo>
                  <a:lnTo>
                    <a:pt x="216" y="24"/>
                  </a:lnTo>
                  <a:lnTo>
                    <a:pt x="168" y="36"/>
                  </a:lnTo>
                  <a:lnTo>
                    <a:pt x="132" y="36"/>
                  </a:lnTo>
                  <a:lnTo>
                    <a:pt x="114" y="42"/>
                  </a:lnTo>
                  <a:lnTo>
                    <a:pt x="78" y="42"/>
                  </a:lnTo>
                  <a:lnTo>
                    <a:pt x="78" y="216"/>
                  </a:lnTo>
                  <a:lnTo>
                    <a:pt x="72" y="222"/>
                  </a:lnTo>
                  <a:lnTo>
                    <a:pt x="78" y="348"/>
                  </a:lnTo>
                  <a:lnTo>
                    <a:pt x="6" y="348"/>
                  </a:lnTo>
                  <a:lnTo>
                    <a:pt x="0" y="57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85" name="Bosnien und Herzegowina" descr="© INSCALE GmbH, 05.05.2010&#10;http://www.presentationload.com/">
              <a:extLst>
                <a:ext uri="{FF2B5EF4-FFF2-40B4-BE49-F238E27FC236}">
                  <a16:creationId xmlns:a16="http://schemas.microsoft.com/office/drawing/2014/main" id="{363C9209-B0E9-43B7-8AE5-3A50B5D6BD87}"/>
                </a:ext>
              </a:extLst>
            </p:cNvPr>
            <p:cNvSpPr>
              <a:spLocks/>
            </p:cNvSpPr>
            <p:nvPr/>
          </p:nvSpPr>
          <p:spPr bwMode="gray">
            <a:xfrm>
              <a:off x="4552725" y="2803776"/>
              <a:ext cx="105057" cy="94081"/>
            </a:xfrm>
            <a:custGeom>
              <a:avLst/>
              <a:gdLst>
                <a:gd name="T0" fmla="*/ 2147483647 w 264"/>
                <a:gd name="T1" fmla="*/ 2147483647 h 234"/>
                <a:gd name="T2" fmla="*/ 2147483647 w 264"/>
                <a:gd name="T3" fmla="*/ 2147483647 h 234"/>
                <a:gd name="T4" fmla="*/ 2147483647 w 264"/>
                <a:gd name="T5" fmla="*/ 2147483647 h 234"/>
                <a:gd name="T6" fmla="*/ 2147483647 w 264"/>
                <a:gd name="T7" fmla="*/ 2147483647 h 234"/>
                <a:gd name="T8" fmla="*/ 2147483647 w 264"/>
                <a:gd name="T9" fmla="*/ 2147483647 h 234"/>
                <a:gd name="T10" fmla="*/ 2147483647 w 264"/>
                <a:gd name="T11" fmla="*/ 2147483647 h 234"/>
                <a:gd name="T12" fmla="*/ 2147483647 w 264"/>
                <a:gd name="T13" fmla="*/ 2147483647 h 234"/>
                <a:gd name="T14" fmla="*/ 2147483647 w 264"/>
                <a:gd name="T15" fmla="*/ 2147483647 h 234"/>
                <a:gd name="T16" fmla="*/ 2147483647 w 264"/>
                <a:gd name="T17" fmla="*/ 2147483647 h 234"/>
                <a:gd name="T18" fmla="*/ 2147483647 w 264"/>
                <a:gd name="T19" fmla="*/ 2147483647 h 234"/>
                <a:gd name="T20" fmla="*/ 2147483647 w 264"/>
                <a:gd name="T21" fmla="*/ 2147483647 h 234"/>
                <a:gd name="T22" fmla="*/ 2147483647 w 264"/>
                <a:gd name="T23" fmla="*/ 2147483647 h 234"/>
                <a:gd name="T24" fmla="*/ 2147483647 w 264"/>
                <a:gd name="T25" fmla="*/ 2147483647 h 234"/>
                <a:gd name="T26" fmla="*/ 2147483647 w 264"/>
                <a:gd name="T27" fmla="*/ 2147483647 h 234"/>
                <a:gd name="T28" fmla="*/ 2147483647 w 264"/>
                <a:gd name="T29" fmla="*/ 2147483647 h 234"/>
                <a:gd name="T30" fmla="*/ 2147483647 w 264"/>
                <a:gd name="T31" fmla="*/ 2147483647 h 234"/>
                <a:gd name="T32" fmla="*/ 2147483647 w 264"/>
                <a:gd name="T33" fmla="*/ 2147483647 h 234"/>
                <a:gd name="T34" fmla="*/ 2147483647 w 264"/>
                <a:gd name="T35" fmla="*/ 2147483647 h 234"/>
                <a:gd name="T36" fmla="*/ 2147483647 w 264"/>
                <a:gd name="T37" fmla="*/ 2147483647 h 234"/>
                <a:gd name="T38" fmla="*/ 2147483647 w 264"/>
                <a:gd name="T39" fmla="*/ 0 h 234"/>
                <a:gd name="T40" fmla="*/ 2147483647 w 264"/>
                <a:gd name="T41" fmla="*/ 0 h 234"/>
                <a:gd name="T42" fmla="*/ 2147483647 w 264"/>
                <a:gd name="T43" fmla="*/ 2147483647 h 234"/>
                <a:gd name="T44" fmla="*/ 0 w 264"/>
                <a:gd name="T45" fmla="*/ 2147483647 h 234"/>
                <a:gd name="T46" fmla="*/ 2147483647 w 264"/>
                <a:gd name="T47" fmla="*/ 2147483647 h 234"/>
                <a:gd name="T48" fmla="*/ 2147483647 w 264"/>
                <a:gd name="T49" fmla="*/ 2147483647 h 234"/>
                <a:gd name="T50" fmla="*/ 2147483647 w 264"/>
                <a:gd name="T51" fmla="*/ 2147483647 h 234"/>
                <a:gd name="T52" fmla="*/ 2147483647 w 264"/>
                <a:gd name="T53" fmla="*/ 2147483647 h 234"/>
                <a:gd name="T54" fmla="*/ 2147483647 w 264"/>
                <a:gd name="T55" fmla="*/ 2147483647 h 234"/>
                <a:gd name="T56" fmla="*/ 2147483647 w 264"/>
                <a:gd name="T57" fmla="*/ 2147483647 h 234"/>
                <a:gd name="T58" fmla="*/ 2147483647 w 264"/>
                <a:gd name="T59" fmla="*/ 2147483647 h 234"/>
                <a:gd name="T60" fmla="*/ 2147483647 w 264"/>
                <a:gd name="T61" fmla="*/ 2147483647 h 234"/>
                <a:gd name="T62" fmla="*/ 2147483647 w 264"/>
                <a:gd name="T63" fmla="*/ 2147483647 h 234"/>
                <a:gd name="T64" fmla="*/ 2147483647 w 264"/>
                <a:gd name="T65" fmla="*/ 2147483647 h 234"/>
                <a:gd name="T66" fmla="*/ 2147483647 w 264"/>
                <a:gd name="T67" fmla="*/ 2147483647 h 234"/>
                <a:gd name="T68" fmla="*/ 2147483647 w 264"/>
                <a:gd name="T69" fmla="*/ 2147483647 h 234"/>
                <a:gd name="T70" fmla="*/ 2147483647 w 264"/>
                <a:gd name="T71" fmla="*/ 2147483647 h 234"/>
                <a:gd name="T72" fmla="*/ 2147483647 w 264"/>
                <a:gd name="T73" fmla="*/ 2147483647 h 234"/>
                <a:gd name="T74" fmla="*/ 2147483647 w 264"/>
                <a:gd name="T75" fmla="*/ 2147483647 h 234"/>
                <a:gd name="T76" fmla="*/ 2147483647 w 264"/>
                <a:gd name="T77" fmla="*/ 2147483647 h 234"/>
                <a:gd name="T78" fmla="*/ 2147483647 w 264"/>
                <a:gd name="T79" fmla="*/ 2147483647 h 234"/>
                <a:gd name="T80" fmla="*/ 2147483647 w 264"/>
                <a:gd name="T81" fmla="*/ 2147483647 h 234"/>
                <a:gd name="T82" fmla="*/ 2147483647 w 264"/>
                <a:gd name="T83" fmla="*/ 2147483647 h 234"/>
                <a:gd name="T84" fmla="*/ 2147483647 w 264"/>
                <a:gd name="T85" fmla="*/ 2147483647 h 234"/>
                <a:gd name="T86" fmla="*/ 2147483647 w 264"/>
                <a:gd name="T87" fmla="*/ 2147483647 h 234"/>
                <a:gd name="T88" fmla="*/ 2147483647 w 264"/>
                <a:gd name="T89" fmla="*/ 2147483647 h 234"/>
                <a:gd name="T90" fmla="*/ 2147483647 w 264"/>
                <a:gd name="T91" fmla="*/ 2147483647 h 234"/>
                <a:gd name="T92" fmla="*/ 2147483647 w 264"/>
                <a:gd name="T93" fmla="*/ 2147483647 h 234"/>
                <a:gd name="T94" fmla="*/ 2147483647 w 264"/>
                <a:gd name="T95" fmla="*/ 2147483647 h 234"/>
                <a:gd name="T96" fmla="*/ 2147483647 w 264"/>
                <a:gd name="T97" fmla="*/ 2147483647 h 234"/>
                <a:gd name="T98" fmla="*/ 2147483647 w 264"/>
                <a:gd name="T99" fmla="*/ 2147483647 h 234"/>
                <a:gd name="T100" fmla="*/ 2147483647 w 264"/>
                <a:gd name="T101" fmla="*/ 2147483647 h 234"/>
                <a:gd name="T102" fmla="*/ 2147483647 w 264"/>
                <a:gd name="T103" fmla="*/ 2147483647 h 234"/>
                <a:gd name="T104" fmla="*/ 2147483647 w 264"/>
                <a:gd name="T105" fmla="*/ 2147483647 h 234"/>
                <a:gd name="T106" fmla="*/ 2147483647 w 264"/>
                <a:gd name="T107" fmla="*/ 2147483647 h 234"/>
                <a:gd name="T108" fmla="*/ 2147483647 w 264"/>
                <a:gd name="T109" fmla="*/ 2147483647 h 234"/>
                <a:gd name="T110" fmla="*/ 2147483647 w 264"/>
                <a:gd name="T111" fmla="*/ 2147483647 h 234"/>
                <a:gd name="T112" fmla="*/ 2147483647 w 264"/>
                <a:gd name="T113" fmla="*/ 2147483647 h 234"/>
                <a:gd name="T114" fmla="*/ 2147483647 w 264"/>
                <a:gd name="T115" fmla="*/ 2147483647 h 234"/>
                <a:gd name="T116" fmla="*/ 2147483647 w 264"/>
                <a:gd name="T117" fmla="*/ 2147483647 h 234"/>
                <a:gd name="T118" fmla="*/ 2147483647 w 264"/>
                <a:gd name="T119" fmla="*/ 2147483647 h 234"/>
                <a:gd name="T120" fmla="*/ 2147483647 w 264"/>
                <a:gd name="T121" fmla="*/ 2147483647 h 234"/>
                <a:gd name="T122" fmla="*/ 2147483647 w 264"/>
                <a:gd name="T123" fmla="*/ 2147483647 h 234"/>
                <a:gd name="T124" fmla="*/ 2147483647 w 264"/>
                <a:gd name="T125" fmla="*/ 2147483647 h 2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4"/>
                <a:gd name="T190" fmla="*/ 0 h 234"/>
                <a:gd name="T191" fmla="*/ 264 w 264"/>
                <a:gd name="T192" fmla="*/ 234 h 2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4" h="234">
                  <a:moveTo>
                    <a:pt x="246" y="78"/>
                  </a:moveTo>
                  <a:lnTo>
                    <a:pt x="228" y="78"/>
                  </a:lnTo>
                  <a:lnTo>
                    <a:pt x="228" y="60"/>
                  </a:lnTo>
                  <a:lnTo>
                    <a:pt x="246" y="42"/>
                  </a:lnTo>
                  <a:lnTo>
                    <a:pt x="246" y="30"/>
                  </a:lnTo>
                  <a:lnTo>
                    <a:pt x="234" y="30"/>
                  </a:lnTo>
                  <a:lnTo>
                    <a:pt x="222" y="36"/>
                  </a:lnTo>
                  <a:lnTo>
                    <a:pt x="216" y="36"/>
                  </a:lnTo>
                  <a:lnTo>
                    <a:pt x="216" y="30"/>
                  </a:lnTo>
                  <a:lnTo>
                    <a:pt x="204" y="30"/>
                  </a:lnTo>
                  <a:lnTo>
                    <a:pt x="192" y="12"/>
                  </a:lnTo>
                  <a:lnTo>
                    <a:pt x="138" y="12"/>
                  </a:lnTo>
                  <a:lnTo>
                    <a:pt x="132" y="6"/>
                  </a:lnTo>
                  <a:lnTo>
                    <a:pt x="120" y="6"/>
                  </a:lnTo>
                  <a:lnTo>
                    <a:pt x="108" y="12"/>
                  </a:lnTo>
                  <a:lnTo>
                    <a:pt x="90" y="6"/>
                  </a:lnTo>
                  <a:lnTo>
                    <a:pt x="66" y="6"/>
                  </a:lnTo>
                  <a:lnTo>
                    <a:pt x="42" y="12"/>
                  </a:lnTo>
                  <a:lnTo>
                    <a:pt x="30" y="6"/>
                  </a:lnTo>
                  <a:lnTo>
                    <a:pt x="24" y="0"/>
                  </a:lnTo>
                  <a:lnTo>
                    <a:pt x="18" y="0"/>
                  </a:lnTo>
                  <a:lnTo>
                    <a:pt x="18" y="24"/>
                  </a:lnTo>
                  <a:lnTo>
                    <a:pt x="0" y="30"/>
                  </a:lnTo>
                  <a:lnTo>
                    <a:pt x="12" y="42"/>
                  </a:lnTo>
                  <a:lnTo>
                    <a:pt x="30" y="48"/>
                  </a:lnTo>
                  <a:lnTo>
                    <a:pt x="30" y="60"/>
                  </a:lnTo>
                  <a:lnTo>
                    <a:pt x="36" y="60"/>
                  </a:lnTo>
                  <a:lnTo>
                    <a:pt x="42" y="66"/>
                  </a:lnTo>
                  <a:lnTo>
                    <a:pt x="42" y="84"/>
                  </a:lnTo>
                  <a:lnTo>
                    <a:pt x="60" y="90"/>
                  </a:lnTo>
                  <a:lnTo>
                    <a:pt x="72" y="120"/>
                  </a:lnTo>
                  <a:lnTo>
                    <a:pt x="84" y="132"/>
                  </a:lnTo>
                  <a:lnTo>
                    <a:pt x="96" y="138"/>
                  </a:lnTo>
                  <a:lnTo>
                    <a:pt x="114" y="150"/>
                  </a:lnTo>
                  <a:lnTo>
                    <a:pt x="126" y="156"/>
                  </a:lnTo>
                  <a:lnTo>
                    <a:pt x="132" y="168"/>
                  </a:lnTo>
                  <a:lnTo>
                    <a:pt x="132" y="174"/>
                  </a:lnTo>
                  <a:lnTo>
                    <a:pt x="126" y="180"/>
                  </a:lnTo>
                  <a:lnTo>
                    <a:pt x="138" y="180"/>
                  </a:lnTo>
                  <a:lnTo>
                    <a:pt x="156" y="198"/>
                  </a:lnTo>
                  <a:lnTo>
                    <a:pt x="162" y="210"/>
                  </a:lnTo>
                  <a:lnTo>
                    <a:pt x="174" y="216"/>
                  </a:lnTo>
                  <a:lnTo>
                    <a:pt x="192" y="234"/>
                  </a:lnTo>
                  <a:lnTo>
                    <a:pt x="210" y="204"/>
                  </a:lnTo>
                  <a:lnTo>
                    <a:pt x="198" y="198"/>
                  </a:lnTo>
                  <a:lnTo>
                    <a:pt x="192" y="198"/>
                  </a:lnTo>
                  <a:lnTo>
                    <a:pt x="186" y="192"/>
                  </a:lnTo>
                  <a:lnTo>
                    <a:pt x="186" y="186"/>
                  </a:lnTo>
                  <a:lnTo>
                    <a:pt x="192" y="180"/>
                  </a:lnTo>
                  <a:lnTo>
                    <a:pt x="198" y="180"/>
                  </a:lnTo>
                  <a:lnTo>
                    <a:pt x="204" y="168"/>
                  </a:lnTo>
                  <a:lnTo>
                    <a:pt x="204" y="162"/>
                  </a:lnTo>
                  <a:lnTo>
                    <a:pt x="210" y="156"/>
                  </a:lnTo>
                  <a:lnTo>
                    <a:pt x="228" y="156"/>
                  </a:lnTo>
                  <a:lnTo>
                    <a:pt x="228" y="132"/>
                  </a:lnTo>
                  <a:lnTo>
                    <a:pt x="258" y="132"/>
                  </a:lnTo>
                  <a:lnTo>
                    <a:pt x="258" y="126"/>
                  </a:lnTo>
                  <a:lnTo>
                    <a:pt x="252" y="114"/>
                  </a:lnTo>
                  <a:lnTo>
                    <a:pt x="240" y="102"/>
                  </a:lnTo>
                  <a:lnTo>
                    <a:pt x="264" y="96"/>
                  </a:lnTo>
                  <a:lnTo>
                    <a:pt x="258" y="84"/>
                  </a:lnTo>
                  <a:lnTo>
                    <a:pt x="252" y="78"/>
                  </a:lnTo>
                  <a:lnTo>
                    <a:pt x="246" y="78"/>
                  </a:lnTo>
                  <a:close/>
                </a:path>
              </a:pathLst>
            </a:custGeom>
            <a:solidFill>
              <a:schemeClr val="accent1"/>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86" name="Bolivien" descr="© INSCALE GmbH, 05.05.2010&#10;http://www.presentationload.com/">
              <a:extLst>
                <a:ext uri="{FF2B5EF4-FFF2-40B4-BE49-F238E27FC236}">
                  <a16:creationId xmlns:a16="http://schemas.microsoft.com/office/drawing/2014/main" id="{E3B21E86-927B-48F3-9937-32D7B43A7E8F}"/>
                </a:ext>
              </a:extLst>
            </p:cNvPr>
            <p:cNvSpPr>
              <a:spLocks/>
            </p:cNvSpPr>
            <p:nvPr/>
          </p:nvSpPr>
          <p:spPr bwMode="gray">
            <a:xfrm>
              <a:off x="2172467" y="4563098"/>
              <a:ext cx="354373" cy="421799"/>
            </a:xfrm>
            <a:custGeom>
              <a:avLst/>
              <a:gdLst>
                <a:gd name="T0" fmla="*/ 2147483647 w 894"/>
                <a:gd name="T1" fmla="*/ 2147483647 h 1056"/>
                <a:gd name="T2" fmla="*/ 2147483647 w 894"/>
                <a:gd name="T3" fmla="*/ 2147483647 h 1056"/>
                <a:gd name="T4" fmla="*/ 2147483647 w 894"/>
                <a:gd name="T5" fmla="*/ 2147483647 h 1056"/>
                <a:gd name="T6" fmla="*/ 2147483647 w 894"/>
                <a:gd name="T7" fmla="*/ 2147483647 h 1056"/>
                <a:gd name="T8" fmla="*/ 2147483647 w 894"/>
                <a:gd name="T9" fmla="*/ 2147483647 h 1056"/>
                <a:gd name="T10" fmla="*/ 2147483647 w 894"/>
                <a:gd name="T11" fmla="*/ 2147483647 h 1056"/>
                <a:gd name="T12" fmla="*/ 2147483647 w 894"/>
                <a:gd name="T13" fmla="*/ 2147483647 h 1056"/>
                <a:gd name="T14" fmla="*/ 2147483647 w 894"/>
                <a:gd name="T15" fmla="*/ 2147483647 h 1056"/>
                <a:gd name="T16" fmla="*/ 2147483647 w 894"/>
                <a:gd name="T17" fmla="*/ 2147483647 h 1056"/>
                <a:gd name="T18" fmla="*/ 2147483647 w 894"/>
                <a:gd name="T19" fmla="*/ 2147483647 h 1056"/>
                <a:gd name="T20" fmla="*/ 2147483647 w 894"/>
                <a:gd name="T21" fmla="*/ 2147483647 h 1056"/>
                <a:gd name="T22" fmla="*/ 2147483647 w 894"/>
                <a:gd name="T23" fmla="*/ 2147483647 h 1056"/>
                <a:gd name="T24" fmla="*/ 2147483647 w 894"/>
                <a:gd name="T25" fmla="*/ 2147483647 h 1056"/>
                <a:gd name="T26" fmla="*/ 2147483647 w 894"/>
                <a:gd name="T27" fmla="*/ 2147483647 h 1056"/>
                <a:gd name="T28" fmla="*/ 2147483647 w 894"/>
                <a:gd name="T29" fmla="*/ 2147483647 h 1056"/>
                <a:gd name="T30" fmla="*/ 2147483647 w 894"/>
                <a:gd name="T31" fmla="*/ 2147483647 h 1056"/>
                <a:gd name="T32" fmla="*/ 2147483647 w 894"/>
                <a:gd name="T33" fmla="*/ 2147483647 h 1056"/>
                <a:gd name="T34" fmla="*/ 2147483647 w 894"/>
                <a:gd name="T35" fmla="*/ 2147483647 h 1056"/>
                <a:gd name="T36" fmla="*/ 2147483647 w 894"/>
                <a:gd name="T37" fmla="*/ 2147483647 h 1056"/>
                <a:gd name="T38" fmla="*/ 2147483647 w 894"/>
                <a:gd name="T39" fmla="*/ 2147483647 h 1056"/>
                <a:gd name="T40" fmla="*/ 2147483647 w 894"/>
                <a:gd name="T41" fmla="*/ 2147483647 h 1056"/>
                <a:gd name="T42" fmla="*/ 2147483647 w 894"/>
                <a:gd name="T43" fmla="*/ 2147483647 h 1056"/>
                <a:gd name="T44" fmla="*/ 2147483647 w 894"/>
                <a:gd name="T45" fmla="*/ 2147483647 h 1056"/>
                <a:gd name="T46" fmla="*/ 2147483647 w 894"/>
                <a:gd name="T47" fmla="*/ 2147483647 h 1056"/>
                <a:gd name="T48" fmla="*/ 0 w 894"/>
                <a:gd name="T49" fmla="*/ 2147483647 h 1056"/>
                <a:gd name="T50" fmla="*/ 2147483647 w 894"/>
                <a:gd name="T51" fmla="*/ 2147483647 h 1056"/>
                <a:gd name="T52" fmla="*/ 2147483647 w 894"/>
                <a:gd name="T53" fmla="*/ 2147483647 h 1056"/>
                <a:gd name="T54" fmla="*/ 2147483647 w 894"/>
                <a:gd name="T55" fmla="*/ 2147483647 h 1056"/>
                <a:gd name="T56" fmla="*/ 2147483647 w 894"/>
                <a:gd name="T57" fmla="*/ 2147483647 h 1056"/>
                <a:gd name="T58" fmla="*/ 2147483647 w 894"/>
                <a:gd name="T59" fmla="*/ 2147483647 h 1056"/>
                <a:gd name="T60" fmla="*/ 2147483647 w 894"/>
                <a:gd name="T61" fmla="*/ 2147483647 h 1056"/>
                <a:gd name="T62" fmla="*/ 2147483647 w 894"/>
                <a:gd name="T63" fmla="*/ 2147483647 h 1056"/>
                <a:gd name="T64" fmla="*/ 2147483647 w 894"/>
                <a:gd name="T65" fmla="*/ 2147483647 h 1056"/>
                <a:gd name="T66" fmla="*/ 2147483647 w 894"/>
                <a:gd name="T67" fmla="*/ 2147483647 h 1056"/>
                <a:gd name="T68" fmla="*/ 2147483647 w 894"/>
                <a:gd name="T69" fmla="*/ 2147483647 h 1056"/>
                <a:gd name="T70" fmla="*/ 2147483647 w 894"/>
                <a:gd name="T71" fmla="*/ 2147483647 h 1056"/>
                <a:gd name="T72" fmla="*/ 2147483647 w 894"/>
                <a:gd name="T73" fmla="*/ 2147483647 h 1056"/>
                <a:gd name="T74" fmla="*/ 2147483647 w 894"/>
                <a:gd name="T75" fmla="*/ 2147483647 h 1056"/>
                <a:gd name="T76" fmla="*/ 2147483647 w 894"/>
                <a:gd name="T77" fmla="*/ 2147483647 h 1056"/>
                <a:gd name="T78" fmla="*/ 2147483647 w 894"/>
                <a:gd name="T79" fmla="*/ 2147483647 h 1056"/>
                <a:gd name="T80" fmla="*/ 2147483647 w 894"/>
                <a:gd name="T81" fmla="*/ 2147483647 h 1056"/>
                <a:gd name="T82" fmla="*/ 2147483647 w 894"/>
                <a:gd name="T83" fmla="*/ 2147483647 h 1056"/>
                <a:gd name="T84" fmla="*/ 2147483647 w 894"/>
                <a:gd name="T85" fmla="*/ 2147483647 h 1056"/>
                <a:gd name="T86" fmla="*/ 2147483647 w 894"/>
                <a:gd name="T87" fmla="*/ 2147483647 h 1056"/>
                <a:gd name="T88" fmla="*/ 2147483647 w 894"/>
                <a:gd name="T89" fmla="*/ 2147483647 h 1056"/>
                <a:gd name="T90" fmla="*/ 2147483647 w 894"/>
                <a:gd name="T91" fmla="*/ 2147483647 h 1056"/>
                <a:gd name="T92" fmla="*/ 2147483647 w 894"/>
                <a:gd name="T93" fmla="*/ 2147483647 h 1056"/>
                <a:gd name="T94" fmla="*/ 2147483647 w 894"/>
                <a:gd name="T95" fmla="*/ 2147483647 h 1056"/>
                <a:gd name="T96" fmla="*/ 2147483647 w 894"/>
                <a:gd name="T97" fmla="*/ 2147483647 h 1056"/>
                <a:gd name="T98" fmla="*/ 2147483647 w 894"/>
                <a:gd name="T99" fmla="*/ 2147483647 h 1056"/>
                <a:gd name="T100" fmla="*/ 2147483647 w 894"/>
                <a:gd name="T101" fmla="*/ 2147483647 h 10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94"/>
                <a:gd name="T154" fmla="*/ 0 h 1056"/>
                <a:gd name="T155" fmla="*/ 894 w 894"/>
                <a:gd name="T156" fmla="*/ 1056 h 10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94" h="1056">
                  <a:moveTo>
                    <a:pt x="882" y="744"/>
                  </a:moveTo>
                  <a:lnTo>
                    <a:pt x="882" y="738"/>
                  </a:lnTo>
                  <a:lnTo>
                    <a:pt x="888" y="732"/>
                  </a:lnTo>
                  <a:lnTo>
                    <a:pt x="888" y="708"/>
                  </a:lnTo>
                  <a:lnTo>
                    <a:pt x="894" y="696"/>
                  </a:lnTo>
                  <a:lnTo>
                    <a:pt x="894" y="684"/>
                  </a:lnTo>
                  <a:lnTo>
                    <a:pt x="882" y="648"/>
                  </a:lnTo>
                  <a:lnTo>
                    <a:pt x="876" y="636"/>
                  </a:lnTo>
                  <a:lnTo>
                    <a:pt x="864" y="624"/>
                  </a:lnTo>
                  <a:lnTo>
                    <a:pt x="840" y="612"/>
                  </a:lnTo>
                  <a:lnTo>
                    <a:pt x="834" y="606"/>
                  </a:lnTo>
                  <a:lnTo>
                    <a:pt x="822" y="600"/>
                  </a:lnTo>
                  <a:lnTo>
                    <a:pt x="816" y="588"/>
                  </a:lnTo>
                  <a:lnTo>
                    <a:pt x="816" y="576"/>
                  </a:lnTo>
                  <a:lnTo>
                    <a:pt x="822" y="558"/>
                  </a:lnTo>
                  <a:lnTo>
                    <a:pt x="822" y="546"/>
                  </a:lnTo>
                  <a:lnTo>
                    <a:pt x="828" y="540"/>
                  </a:lnTo>
                  <a:lnTo>
                    <a:pt x="828" y="534"/>
                  </a:lnTo>
                  <a:lnTo>
                    <a:pt x="768" y="534"/>
                  </a:lnTo>
                  <a:lnTo>
                    <a:pt x="720" y="528"/>
                  </a:lnTo>
                  <a:lnTo>
                    <a:pt x="690" y="522"/>
                  </a:lnTo>
                  <a:lnTo>
                    <a:pt x="684" y="516"/>
                  </a:lnTo>
                  <a:lnTo>
                    <a:pt x="684" y="474"/>
                  </a:lnTo>
                  <a:lnTo>
                    <a:pt x="690" y="462"/>
                  </a:lnTo>
                  <a:lnTo>
                    <a:pt x="684" y="456"/>
                  </a:lnTo>
                  <a:lnTo>
                    <a:pt x="672" y="450"/>
                  </a:lnTo>
                  <a:lnTo>
                    <a:pt x="666" y="438"/>
                  </a:lnTo>
                  <a:lnTo>
                    <a:pt x="660" y="432"/>
                  </a:lnTo>
                  <a:lnTo>
                    <a:pt x="660" y="426"/>
                  </a:lnTo>
                  <a:lnTo>
                    <a:pt x="678" y="426"/>
                  </a:lnTo>
                  <a:lnTo>
                    <a:pt x="678" y="396"/>
                  </a:lnTo>
                  <a:lnTo>
                    <a:pt x="672" y="384"/>
                  </a:lnTo>
                  <a:lnTo>
                    <a:pt x="666" y="378"/>
                  </a:lnTo>
                  <a:lnTo>
                    <a:pt x="660" y="366"/>
                  </a:lnTo>
                  <a:lnTo>
                    <a:pt x="660" y="336"/>
                  </a:lnTo>
                  <a:lnTo>
                    <a:pt x="654" y="330"/>
                  </a:lnTo>
                  <a:lnTo>
                    <a:pt x="648" y="318"/>
                  </a:lnTo>
                  <a:lnTo>
                    <a:pt x="624" y="306"/>
                  </a:lnTo>
                  <a:lnTo>
                    <a:pt x="564" y="306"/>
                  </a:lnTo>
                  <a:lnTo>
                    <a:pt x="558" y="300"/>
                  </a:lnTo>
                  <a:lnTo>
                    <a:pt x="546" y="294"/>
                  </a:lnTo>
                  <a:lnTo>
                    <a:pt x="534" y="282"/>
                  </a:lnTo>
                  <a:lnTo>
                    <a:pt x="534" y="276"/>
                  </a:lnTo>
                  <a:lnTo>
                    <a:pt x="510" y="276"/>
                  </a:lnTo>
                  <a:lnTo>
                    <a:pt x="498" y="270"/>
                  </a:lnTo>
                  <a:lnTo>
                    <a:pt x="486" y="258"/>
                  </a:lnTo>
                  <a:lnTo>
                    <a:pt x="474" y="252"/>
                  </a:lnTo>
                  <a:lnTo>
                    <a:pt x="468" y="240"/>
                  </a:lnTo>
                  <a:lnTo>
                    <a:pt x="468" y="234"/>
                  </a:lnTo>
                  <a:lnTo>
                    <a:pt x="456" y="234"/>
                  </a:lnTo>
                  <a:lnTo>
                    <a:pt x="450" y="240"/>
                  </a:lnTo>
                  <a:lnTo>
                    <a:pt x="438" y="240"/>
                  </a:lnTo>
                  <a:lnTo>
                    <a:pt x="426" y="234"/>
                  </a:lnTo>
                  <a:lnTo>
                    <a:pt x="420" y="222"/>
                  </a:lnTo>
                  <a:lnTo>
                    <a:pt x="414" y="228"/>
                  </a:lnTo>
                  <a:lnTo>
                    <a:pt x="384" y="228"/>
                  </a:lnTo>
                  <a:lnTo>
                    <a:pt x="372" y="222"/>
                  </a:lnTo>
                  <a:lnTo>
                    <a:pt x="366" y="216"/>
                  </a:lnTo>
                  <a:lnTo>
                    <a:pt x="366" y="210"/>
                  </a:lnTo>
                  <a:lnTo>
                    <a:pt x="360" y="198"/>
                  </a:lnTo>
                  <a:lnTo>
                    <a:pt x="360" y="192"/>
                  </a:lnTo>
                  <a:lnTo>
                    <a:pt x="354" y="186"/>
                  </a:lnTo>
                  <a:lnTo>
                    <a:pt x="330" y="186"/>
                  </a:lnTo>
                  <a:lnTo>
                    <a:pt x="324" y="156"/>
                  </a:lnTo>
                  <a:lnTo>
                    <a:pt x="318" y="150"/>
                  </a:lnTo>
                  <a:lnTo>
                    <a:pt x="306" y="144"/>
                  </a:lnTo>
                  <a:lnTo>
                    <a:pt x="294" y="132"/>
                  </a:lnTo>
                  <a:lnTo>
                    <a:pt x="294" y="120"/>
                  </a:lnTo>
                  <a:lnTo>
                    <a:pt x="300" y="114"/>
                  </a:lnTo>
                  <a:lnTo>
                    <a:pt x="300" y="96"/>
                  </a:lnTo>
                  <a:lnTo>
                    <a:pt x="294" y="84"/>
                  </a:lnTo>
                  <a:lnTo>
                    <a:pt x="288" y="78"/>
                  </a:lnTo>
                  <a:lnTo>
                    <a:pt x="288" y="48"/>
                  </a:lnTo>
                  <a:lnTo>
                    <a:pt x="294" y="42"/>
                  </a:lnTo>
                  <a:lnTo>
                    <a:pt x="294" y="36"/>
                  </a:lnTo>
                  <a:lnTo>
                    <a:pt x="300" y="30"/>
                  </a:lnTo>
                  <a:lnTo>
                    <a:pt x="300" y="0"/>
                  </a:lnTo>
                  <a:lnTo>
                    <a:pt x="288" y="0"/>
                  </a:lnTo>
                  <a:lnTo>
                    <a:pt x="276" y="6"/>
                  </a:lnTo>
                  <a:lnTo>
                    <a:pt x="276" y="12"/>
                  </a:lnTo>
                  <a:lnTo>
                    <a:pt x="270" y="12"/>
                  </a:lnTo>
                  <a:lnTo>
                    <a:pt x="258" y="0"/>
                  </a:lnTo>
                  <a:lnTo>
                    <a:pt x="246" y="12"/>
                  </a:lnTo>
                  <a:lnTo>
                    <a:pt x="210" y="12"/>
                  </a:lnTo>
                  <a:lnTo>
                    <a:pt x="198" y="18"/>
                  </a:lnTo>
                  <a:lnTo>
                    <a:pt x="192" y="24"/>
                  </a:lnTo>
                  <a:lnTo>
                    <a:pt x="186" y="36"/>
                  </a:lnTo>
                  <a:lnTo>
                    <a:pt x="180" y="42"/>
                  </a:lnTo>
                  <a:lnTo>
                    <a:pt x="180" y="48"/>
                  </a:lnTo>
                  <a:lnTo>
                    <a:pt x="144" y="48"/>
                  </a:lnTo>
                  <a:lnTo>
                    <a:pt x="138" y="78"/>
                  </a:lnTo>
                  <a:lnTo>
                    <a:pt x="102" y="78"/>
                  </a:lnTo>
                  <a:lnTo>
                    <a:pt x="90" y="96"/>
                  </a:lnTo>
                  <a:lnTo>
                    <a:pt x="84" y="102"/>
                  </a:lnTo>
                  <a:lnTo>
                    <a:pt x="60" y="114"/>
                  </a:lnTo>
                  <a:lnTo>
                    <a:pt x="42" y="114"/>
                  </a:lnTo>
                  <a:lnTo>
                    <a:pt x="42" y="108"/>
                  </a:lnTo>
                  <a:lnTo>
                    <a:pt x="36" y="102"/>
                  </a:lnTo>
                  <a:lnTo>
                    <a:pt x="12" y="102"/>
                  </a:lnTo>
                  <a:lnTo>
                    <a:pt x="0" y="96"/>
                  </a:lnTo>
                  <a:lnTo>
                    <a:pt x="0" y="114"/>
                  </a:lnTo>
                  <a:lnTo>
                    <a:pt x="6" y="132"/>
                  </a:lnTo>
                  <a:lnTo>
                    <a:pt x="18" y="144"/>
                  </a:lnTo>
                  <a:lnTo>
                    <a:pt x="30" y="162"/>
                  </a:lnTo>
                  <a:lnTo>
                    <a:pt x="42" y="174"/>
                  </a:lnTo>
                  <a:lnTo>
                    <a:pt x="54" y="192"/>
                  </a:lnTo>
                  <a:lnTo>
                    <a:pt x="66" y="216"/>
                  </a:lnTo>
                  <a:lnTo>
                    <a:pt x="66" y="228"/>
                  </a:lnTo>
                  <a:lnTo>
                    <a:pt x="60" y="234"/>
                  </a:lnTo>
                  <a:lnTo>
                    <a:pt x="54" y="246"/>
                  </a:lnTo>
                  <a:lnTo>
                    <a:pt x="48" y="252"/>
                  </a:lnTo>
                  <a:lnTo>
                    <a:pt x="60" y="300"/>
                  </a:lnTo>
                  <a:lnTo>
                    <a:pt x="42" y="330"/>
                  </a:lnTo>
                  <a:lnTo>
                    <a:pt x="48" y="330"/>
                  </a:lnTo>
                  <a:lnTo>
                    <a:pt x="60" y="342"/>
                  </a:lnTo>
                  <a:lnTo>
                    <a:pt x="66" y="354"/>
                  </a:lnTo>
                  <a:lnTo>
                    <a:pt x="66" y="360"/>
                  </a:lnTo>
                  <a:lnTo>
                    <a:pt x="60" y="372"/>
                  </a:lnTo>
                  <a:lnTo>
                    <a:pt x="48" y="384"/>
                  </a:lnTo>
                  <a:lnTo>
                    <a:pt x="36" y="408"/>
                  </a:lnTo>
                  <a:lnTo>
                    <a:pt x="42" y="426"/>
                  </a:lnTo>
                  <a:lnTo>
                    <a:pt x="48" y="438"/>
                  </a:lnTo>
                  <a:lnTo>
                    <a:pt x="54" y="444"/>
                  </a:lnTo>
                  <a:lnTo>
                    <a:pt x="54" y="450"/>
                  </a:lnTo>
                  <a:lnTo>
                    <a:pt x="42" y="468"/>
                  </a:lnTo>
                  <a:lnTo>
                    <a:pt x="54" y="480"/>
                  </a:lnTo>
                  <a:lnTo>
                    <a:pt x="78" y="498"/>
                  </a:lnTo>
                  <a:lnTo>
                    <a:pt x="78" y="516"/>
                  </a:lnTo>
                  <a:lnTo>
                    <a:pt x="102" y="528"/>
                  </a:lnTo>
                  <a:lnTo>
                    <a:pt x="90" y="558"/>
                  </a:lnTo>
                  <a:lnTo>
                    <a:pt x="78" y="546"/>
                  </a:lnTo>
                  <a:lnTo>
                    <a:pt x="78" y="558"/>
                  </a:lnTo>
                  <a:lnTo>
                    <a:pt x="66" y="582"/>
                  </a:lnTo>
                  <a:lnTo>
                    <a:pt x="54" y="588"/>
                  </a:lnTo>
                  <a:lnTo>
                    <a:pt x="36" y="606"/>
                  </a:lnTo>
                  <a:lnTo>
                    <a:pt x="48" y="630"/>
                  </a:lnTo>
                  <a:lnTo>
                    <a:pt x="42" y="636"/>
                  </a:lnTo>
                  <a:lnTo>
                    <a:pt x="60" y="666"/>
                  </a:lnTo>
                  <a:lnTo>
                    <a:pt x="84" y="666"/>
                  </a:lnTo>
                  <a:lnTo>
                    <a:pt x="96" y="744"/>
                  </a:lnTo>
                  <a:lnTo>
                    <a:pt x="108" y="750"/>
                  </a:lnTo>
                  <a:lnTo>
                    <a:pt x="114" y="750"/>
                  </a:lnTo>
                  <a:lnTo>
                    <a:pt x="138" y="762"/>
                  </a:lnTo>
                  <a:lnTo>
                    <a:pt x="144" y="774"/>
                  </a:lnTo>
                  <a:lnTo>
                    <a:pt x="144" y="780"/>
                  </a:lnTo>
                  <a:lnTo>
                    <a:pt x="138" y="792"/>
                  </a:lnTo>
                  <a:lnTo>
                    <a:pt x="126" y="804"/>
                  </a:lnTo>
                  <a:lnTo>
                    <a:pt x="144" y="822"/>
                  </a:lnTo>
                  <a:lnTo>
                    <a:pt x="138" y="828"/>
                  </a:lnTo>
                  <a:lnTo>
                    <a:pt x="132" y="840"/>
                  </a:lnTo>
                  <a:lnTo>
                    <a:pt x="126" y="846"/>
                  </a:lnTo>
                  <a:lnTo>
                    <a:pt x="126" y="858"/>
                  </a:lnTo>
                  <a:lnTo>
                    <a:pt x="132" y="870"/>
                  </a:lnTo>
                  <a:lnTo>
                    <a:pt x="138" y="876"/>
                  </a:lnTo>
                  <a:lnTo>
                    <a:pt x="138" y="900"/>
                  </a:lnTo>
                  <a:lnTo>
                    <a:pt x="144" y="900"/>
                  </a:lnTo>
                  <a:lnTo>
                    <a:pt x="150" y="906"/>
                  </a:lnTo>
                  <a:lnTo>
                    <a:pt x="162" y="912"/>
                  </a:lnTo>
                  <a:lnTo>
                    <a:pt x="168" y="918"/>
                  </a:lnTo>
                  <a:lnTo>
                    <a:pt x="180" y="924"/>
                  </a:lnTo>
                  <a:lnTo>
                    <a:pt x="186" y="930"/>
                  </a:lnTo>
                  <a:lnTo>
                    <a:pt x="186" y="996"/>
                  </a:lnTo>
                  <a:lnTo>
                    <a:pt x="210" y="1020"/>
                  </a:lnTo>
                  <a:lnTo>
                    <a:pt x="210" y="1044"/>
                  </a:lnTo>
                  <a:lnTo>
                    <a:pt x="216" y="1056"/>
                  </a:lnTo>
                  <a:lnTo>
                    <a:pt x="270" y="1056"/>
                  </a:lnTo>
                  <a:lnTo>
                    <a:pt x="270" y="1026"/>
                  </a:lnTo>
                  <a:lnTo>
                    <a:pt x="282" y="1026"/>
                  </a:lnTo>
                  <a:lnTo>
                    <a:pt x="282" y="1008"/>
                  </a:lnTo>
                  <a:lnTo>
                    <a:pt x="306" y="1002"/>
                  </a:lnTo>
                  <a:lnTo>
                    <a:pt x="318" y="978"/>
                  </a:lnTo>
                  <a:lnTo>
                    <a:pt x="324" y="984"/>
                  </a:lnTo>
                  <a:lnTo>
                    <a:pt x="348" y="996"/>
                  </a:lnTo>
                  <a:lnTo>
                    <a:pt x="360" y="996"/>
                  </a:lnTo>
                  <a:lnTo>
                    <a:pt x="378" y="1002"/>
                  </a:lnTo>
                  <a:lnTo>
                    <a:pt x="432" y="1002"/>
                  </a:lnTo>
                  <a:lnTo>
                    <a:pt x="462" y="1050"/>
                  </a:lnTo>
                  <a:lnTo>
                    <a:pt x="474" y="996"/>
                  </a:lnTo>
                  <a:lnTo>
                    <a:pt x="546" y="990"/>
                  </a:lnTo>
                  <a:lnTo>
                    <a:pt x="582" y="1014"/>
                  </a:lnTo>
                  <a:lnTo>
                    <a:pt x="582" y="996"/>
                  </a:lnTo>
                  <a:lnTo>
                    <a:pt x="594" y="924"/>
                  </a:lnTo>
                  <a:lnTo>
                    <a:pt x="594" y="900"/>
                  </a:lnTo>
                  <a:lnTo>
                    <a:pt x="588" y="894"/>
                  </a:lnTo>
                  <a:lnTo>
                    <a:pt x="588" y="888"/>
                  </a:lnTo>
                  <a:lnTo>
                    <a:pt x="576" y="864"/>
                  </a:lnTo>
                  <a:lnTo>
                    <a:pt x="576" y="852"/>
                  </a:lnTo>
                  <a:lnTo>
                    <a:pt x="582" y="846"/>
                  </a:lnTo>
                  <a:lnTo>
                    <a:pt x="594" y="840"/>
                  </a:lnTo>
                  <a:lnTo>
                    <a:pt x="606" y="828"/>
                  </a:lnTo>
                  <a:lnTo>
                    <a:pt x="612" y="798"/>
                  </a:lnTo>
                  <a:lnTo>
                    <a:pt x="714" y="780"/>
                  </a:lnTo>
                  <a:lnTo>
                    <a:pt x="792" y="768"/>
                  </a:lnTo>
                  <a:lnTo>
                    <a:pt x="846" y="810"/>
                  </a:lnTo>
                  <a:lnTo>
                    <a:pt x="864" y="846"/>
                  </a:lnTo>
                  <a:lnTo>
                    <a:pt x="864" y="840"/>
                  </a:lnTo>
                  <a:lnTo>
                    <a:pt x="870" y="834"/>
                  </a:lnTo>
                  <a:lnTo>
                    <a:pt x="882" y="828"/>
                  </a:lnTo>
                  <a:lnTo>
                    <a:pt x="888" y="822"/>
                  </a:lnTo>
                  <a:lnTo>
                    <a:pt x="876" y="816"/>
                  </a:lnTo>
                  <a:lnTo>
                    <a:pt x="870" y="810"/>
                  </a:lnTo>
                  <a:lnTo>
                    <a:pt x="870" y="786"/>
                  </a:lnTo>
                  <a:lnTo>
                    <a:pt x="876" y="774"/>
                  </a:lnTo>
                  <a:lnTo>
                    <a:pt x="882" y="768"/>
                  </a:lnTo>
                  <a:lnTo>
                    <a:pt x="888" y="756"/>
                  </a:lnTo>
                  <a:lnTo>
                    <a:pt x="882" y="744"/>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87" name="Bhutan" descr="© INSCALE GmbH, 05.05.2010&#10;http://www.presentationload.com/">
              <a:extLst>
                <a:ext uri="{FF2B5EF4-FFF2-40B4-BE49-F238E27FC236}">
                  <a16:creationId xmlns:a16="http://schemas.microsoft.com/office/drawing/2014/main" id="{9706C740-E31C-425B-A7AF-09F925E3E122}"/>
                </a:ext>
              </a:extLst>
            </p:cNvPr>
            <p:cNvSpPr>
              <a:spLocks/>
            </p:cNvSpPr>
            <p:nvPr/>
          </p:nvSpPr>
          <p:spPr bwMode="gray">
            <a:xfrm>
              <a:off x="6570770" y="3344744"/>
              <a:ext cx="92513" cy="53313"/>
            </a:xfrm>
            <a:custGeom>
              <a:avLst/>
              <a:gdLst>
                <a:gd name="T0" fmla="*/ 2147483647 w 234"/>
                <a:gd name="T1" fmla="*/ 2147483647 h 132"/>
                <a:gd name="T2" fmla="*/ 2147483647 w 234"/>
                <a:gd name="T3" fmla="*/ 2147483647 h 132"/>
                <a:gd name="T4" fmla="*/ 2147483647 w 234"/>
                <a:gd name="T5" fmla="*/ 2147483647 h 132"/>
                <a:gd name="T6" fmla="*/ 2147483647 w 234"/>
                <a:gd name="T7" fmla="*/ 2147483647 h 132"/>
                <a:gd name="T8" fmla="*/ 2147483647 w 234"/>
                <a:gd name="T9" fmla="*/ 2147483647 h 132"/>
                <a:gd name="T10" fmla="*/ 2147483647 w 234"/>
                <a:gd name="T11" fmla="*/ 2147483647 h 132"/>
                <a:gd name="T12" fmla="*/ 2147483647 w 234"/>
                <a:gd name="T13" fmla="*/ 2147483647 h 132"/>
                <a:gd name="T14" fmla="*/ 2147483647 w 234"/>
                <a:gd name="T15" fmla="*/ 2147483647 h 132"/>
                <a:gd name="T16" fmla="*/ 2147483647 w 234"/>
                <a:gd name="T17" fmla="*/ 2147483647 h 132"/>
                <a:gd name="T18" fmla="*/ 2147483647 w 234"/>
                <a:gd name="T19" fmla="*/ 2147483647 h 132"/>
                <a:gd name="T20" fmla="*/ 2147483647 w 234"/>
                <a:gd name="T21" fmla="*/ 2147483647 h 132"/>
                <a:gd name="T22" fmla="*/ 2147483647 w 234"/>
                <a:gd name="T23" fmla="*/ 2147483647 h 132"/>
                <a:gd name="T24" fmla="*/ 2147483647 w 234"/>
                <a:gd name="T25" fmla="*/ 2147483647 h 132"/>
                <a:gd name="T26" fmla="*/ 2147483647 w 234"/>
                <a:gd name="T27" fmla="*/ 2147483647 h 132"/>
                <a:gd name="T28" fmla="*/ 2147483647 w 234"/>
                <a:gd name="T29" fmla="*/ 2147483647 h 132"/>
                <a:gd name="T30" fmla="*/ 2147483647 w 234"/>
                <a:gd name="T31" fmla="*/ 2147483647 h 132"/>
                <a:gd name="T32" fmla="*/ 2147483647 w 234"/>
                <a:gd name="T33" fmla="*/ 2147483647 h 132"/>
                <a:gd name="T34" fmla="*/ 2147483647 w 234"/>
                <a:gd name="T35" fmla="*/ 2147483647 h 132"/>
                <a:gd name="T36" fmla="*/ 2147483647 w 234"/>
                <a:gd name="T37" fmla="*/ 2147483647 h 132"/>
                <a:gd name="T38" fmla="*/ 2147483647 w 234"/>
                <a:gd name="T39" fmla="*/ 2147483647 h 132"/>
                <a:gd name="T40" fmla="*/ 2147483647 w 234"/>
                <a:gd name="T41" fmla="*/ 2147483647 h 132"/>
                <a:gd name="T42" fmla="*/ 2147483647 w 234"/>
                <a:gd name="T43" fmla="*/ 2147483647 h 132"/>
                <a:gd name="T44" fmla="*/ 2147483647 w 234"/>
                <a:gd name="T45" fmla="*/ 2147483647 h 132"/>
                <a:gd name="T46" fmla="*/ 2147483647 w 234"/>
                <a:gd name="T47" fmla="*/ 2147483647 h 132"/>
                <a:gd name="T48" fmla="*/ 2147483647 w 234"/>
                <a:gd name="T49" fmla="*/ 2147483647 h 132"/>
                <a:gd name="T50" fmla="*/ 2147483647 w 234"/>
                <a:gd name="T51" fmla="*/ 2147483647 h 132"/>
                <a:gd name="T52" fmla="*/ 2147483647 w 234"/>
                <a:gd name="T53" fmla="*/ 2147483647 h 132"/>
                <a:gd name="T54" fmla="*/ 2147483647 w 234"/>
                <a:gd name="T55" fmla="*/ 2147483647 h 132"/>
                <a:gd name="T56" fmla="*/ 2147483647 w 234"/>
                <a:gd name="T57" fmla="*/ 2147483647 h 132"/>
                <a:gd name="T58" fmla="*/ 2147483647 w 234"/>
                <a:gd name="T59" fmla="*/ 0 h 132"/>
                <a:gd name="T60" fmla="*/ 2147483647 w 234"/>
                <a:gd name="T61" fmla="*/ 0 h 132"/>
                <a:gd name="T62" fmla="*/ 2147483647 w 234"/>
                <a:gd name="T63" fmla="*/ 2147483647 h 132"/>
                <a:gd name="T64" fmla="*/ 2147483647 w 234"/>
                <a:gd name="T65" fmla="*/ 2147483647 h 132"/>
                <a:gd name="T66" fmla="*/ 2147483647 w 234"/>
                <a:gd name="T67" fmla="*/ 2147483647 h 132"/>
                <a:gd name="T68" fmla="*/ 2147483647 w 234"/>
                <a:gd name="T69" fmla="*/ 2147483647 h 132"/>
                <a:gd name="T70" fmla="*/ 2147483647 w 234"/>
                <a:gd name="T71" fmla="*/ 2147483647 h 132"/>
                <a:gd name="T72" fmla="*/ 2147483647 w 234"/>
                <a:gd name="T73" fmla="*/ 2147483647 h 132"/>
                <a:gd name="T74" fmla="*/ 2147483647 w 234"/>
                <a:gd name="T75" fmla="*/ 2147483647 h 132"/>
                <a:gd name="T76" fmla="*/ 0 w 234"/>
                <a:gd name="T77" fmla="*/ 2147483647 h 132"/>
                <a:gd name="T78" fmla="*/ 0 w 234"/>
                <a:gd name="T79" fmla="*/ 2147483647 h 132"/>
                <a:gd name="T80" fmla="*/ 2147483647 w 234"/>
                <a:gd name="T81" fmla="*/ 2147483647 h 132"/>
                <a:gd name="T82" fmla="*/ 2147483647 w 234"/>
                <a:gd name="T83" fmla="*/ 2147483647 h 132"/>
                <a:gd name="T84" fmla="*/ 2147483647 w 234"/>
                <a:gd name="T85" fmla="*/ 2147483647 h 132"/>
                <a:gd name="T86" fmla="*/ 2147483647 w 234"/>
                <a:gd name="T87" fmla="*/ 2147483647 h 132"/>
                <a:gd name="T88" fmla="*/ 2147483647 w 234"/>
                <a:gd name="T89" fmla="*/ 2147483647 h 132"/>
                <a:gd name="T90" fmla="*/ 2147483647 w 234"/>
                <a:gd name="T91" fmla="*/ 2147483647 h 132"/>
                <a:gd name="T92" fmla="*/ 2147483647 w 234"/>
                <a:gd name="T93" fmla="*/ 2147483647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4"/>
                <a:gd name="T142" fmla="*/ 0 h 132"/>
                <a:gd name="T143" fmla="*/ 234 w 234"/>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4" h="132">
                  <a:moveTo>
                    <a:pt x="78" y="132"/>
                  </a:moveTo>
                  <a:lnTo>
                    <a:pt x="90" y="132"/>
                  </a:lnTo>
                  <a:lnTo>
                    <a:pt x="102" y="126"/>
                  </a:lnTo>
                  <a:lnTo>
                    <a:pt x="108" y="120"/>
                  </a:lnTo>
                  <a:lnTo>
                    <a:pt x="126" y="120"/>
                  </a:lnTo>
                  <a:lnTo>
                    <a:pt x="138" y="126"/>
                  </a:lnTo>
                  <a:lnTo>
                    <a:pt x="168" y="126"/>
                  </a:lnTo>
                  <a:lnTo>
                    <a:pt x="180" y="120"/>
                  </a:lnTo>
                  <a:lnTo>
                    <a:pt x="192" y="120"/>
                  </a:lnTo>
                  <a:lnTo>
                    <a:pt x="198" y="126"/>
                  </a:lnTo>
                  <a:lnTo>
                    <a:pt x="210" y="126"/>
                  </a:lnTo>
                  <a:lnTo>
                    <a:pt x="234" y="114"/>
                  </a:lnTo>
                  <a:lnTo>
                    <a:pt x="234" y="108"/>
                  </a:lnTo>
                  <a:lnTo>
                    <a:pt x="222" y="96"/>
                  </a:lnTo>
                  <a:lnTo>
                    <a:pt x="222" y="72"/>
                  </a:lnTo>
                  <a:lnTo>
                    <a:pt x="198" y="72"/>
                  </a:lnTo>
                  <a:lnTo>
                    <a:pt x="192" y="66"/>
                  </a:lnTo>
                  <a:lnTo>
                    <a:pt x="192" y="42"/>
                  </a:lnTo>
                  <a:lnTo>
                    <a:pt x="186" y="30"/>
                  </a:lnTo>
                  <a:lnTo>
                    <a:pt x="174" y="18"/>
                  </a:lnTo>
                  <a:lnTo>
                    <a:pt x="162" y="12"/>
                  </a:lnTo>
                  <a:lnTo>
                    <a:pt x="150" y="12"/>
                  </a:lnTo>
                  <a:lnTo>
                    <a:pt x="138" y="18"/>
                  </a:lnTo>
                  <a:lnTo>
                    <a:pt x="126" y="18"/>
                  </a:lnTo>
                  <a:lnTo>
                    <a:pt x="114" y="24"/>
                  </a:lnTo>
                  <a:lnTo>
                    <a:pt x="108" y="30"/>
                  </a:lnTo>
                  <a:lnTo>
                    <a:pt x="102" y="30"/>
                  </a:lnTo>
                  <a:lnTo>
                    <a:pt x="102" y="6"/>
                  </a:lnTo>
                  <a:lnTo>
                    <a:pt x="78" y="6"/>
                  </a:lnTo>
                  <a:lnTo>
                    <a:pt x="66" y="0"/>
                  </a:lnTo>
                  <a:lnTo>
                    <a:pt x="54" y="0"/>
                  </a:lnTo>
                  <a:lnTo>
                    <a:pt x="48" y="12"/>
                  </a:lnTo>
                  <a:lnTo>
                    <a:pt x="36" y="24"/>
                  </a:lnTo>
                  <a:lnTo>
                    <a:pt x="30" y="36"/>
                  </a:lnTo>
                  <a:lnTo>
                    <a:pt x="18" y="54"/>
                  </a:lnTo>
                  <a:lnTo>
                    <a:pt x="12" y="66"/>
                  </a:lnTo>
                  <a:lnTo>
                    <a:pt x="6" y="72"/>
                  </a:lnTo>
                  <a:lnTo>
                    <a:pt x="6" y="78"/>
                  </a:lnTo>
                  <a:lnTo>
                    <a:pt x="0" y="78"/>
                  </a:lnTo>
                  <a:lnTo>
                    <a:pt x="0" y="90"/>
                  </a:lnTo>
                  <a:lnTo>
                    <a:pt x="18" y="108"/>
                  </a:lnTo>
                  <a:lnTo>
                    <a:pt x="42" y="120"/>
                  </a:lnTo>
                  <a:lnTo>
                    <a:pt x="54" y="120"/>
                  </a:lnTo>
                  <a:lnTo>
                    <a:pt x="54" y="114"/>
                  </a:lnTo>
                  <a:lnTo>
                    <a:pt x="54" y="120"/>
                  </a:lnTo>
                  <a:lnTo>
                    <a:pt x="66" y="132"/>
                  </a:lnTo>
                  <a:lnTo>
                    <a:pt x="78" y="13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88" name="Benin" descr="© INSCALE GmbH, 05.05.2010&#10;http://www.presentationload.com/">
              <a:extLst>
                <a:ext uri="{FF2B5EF4-FFF2-40B4-BE49-F238E27FC236}">
                  <a16:creationId xmlns:a16="http://schemas.microsoft.com/office/drawing/2014/main" id="{D43699DA-AAF4-4A4A-85D2-5265536D256D}"/>
                </a:ext>
              </a:extLst>
            </p:cNvPr>
            <p:cNvSpPr>
              <a:spLocks/>
            </p:cNvSpPr>
            <p:nvPr/>
          </p:nvSpPr>
          <p:spPr bwMode="gray">
            <a:xfrm>
              <a:off x="4151311" y="3855920"/>
              <a:ext cx="87809" cy="197571"/>
            </a:xfrm>
            <a:custGeom>
              <a:avLst/>
              <a:gdLst>
                <a:gd name="T0" fmla="*/ 2147483647 w 222"/>
                <a:gd name="T1" fmla="*/ 2147483647 h 498"/>
                <a:gd name="T2" fmla="*/ 2147483647 w 222"/>
                <a:gd name="T3" fmla="*/ 2147483647 h 498"/>
                <a:gd name="T4" fmla="*/ 2147483647 w 222"/>
                <a:gd name="T5" fmla="*/ 2147483647 h 498"/>
                <a:gd name="T6" fmla="*/ 2147483647 w 222"/>
                <a:gd name="T7" fmla="*/ 2147483647 h 498"/>
                <a:gd name="T8" fmla="*/ 2147483647 w 222"/>
                <a:gd name="T9" fmla="*/ 2147483647 h 498"/>
                <a:gd name="T10" fmla="*/ 2147483647 w 222"/>
                <a:gd name="T11" fmla="*/ 2147483647 h 498"/>
                <a:gd name="T12" fmla="*/ 2147483647 w 222"/>
                <a:gd name="T13" fmla="*/ 2147483647 h 498"/>
                <a:gd name="T14" fmla="*/ 2147483647 w 222"/>
                <a:gd name="T15" fmla="*/ 2147483647 h 498"/>
                <a:gd name="T16" fmla="*/ 2147483647 w 222"/>
                <a:gd name="T17" fmla="*/ 2147483647 h 498"/>
                <a:gd name="T18" fmla="*/ 2147483647 w 222"/>
                <a:gd name="T19" fmla="*/ 2147483647 h 498"/>
                <a:gd name="T20" fmla="*/ 2147483647 w 222"/>
                <a:gd name="T21" fmla="*/ 2147483647 h 498"/>
                <a:gd name="T22" fmla="*/ 2147483647 w 222"/>
                <a:gd name="T23" fmla="*/ 2147483647 h 498"/>
                <a:gd name="T24" fmla="*/ 2147483647 w 222"/>
                <a:gd name="T25" fmla="*/ 2147483647 h 498"/>
                <a:gd name="T26" fmla="*/ 2147483647 w 222"/>
                <a:gd name="T27" fmla="*/ 2147483647 h 498"/>
                <a:gd name="T28" fmla="*/ 2147483647 w 222"/>
                <a:gd name="T29" fmla="*/ 2147483647 h 498"/>
                <a:gd name="T30" fmla="*/ 2147483647 w 222"/>
                <a:gd name="T31" fmla="*/ 2147483647 h 498"/>
                <a:gd name="T32" fmla="*/ 2147483647 w 222"/>
                <a:gd name="T33" fmla="*/ 2147483647 h 498"/>
                <a:gd name="T34" fmla="*/ 2147483647 w 222"/>
                <a:gd name="T35" fmla="*/ 2147483647 h 498"/>
                <a:gd name="T36" fmla="*/ 2147483647 w 222"/>
                <a:gd name="T37" fmla="*/ 2147483647 h 498"/>
                <a:gd name="T38" fmla="*/ 2147483647 w 222"/>
                <a:gd name="T39" fmla="*/ 2147483647 h 498"/>
                <a:gd name="T40" fmla="*/ 2147483647 w 222"/>
                <a:gd name="T41" fmla="*/ 2147483647 h 498"/>
                <a:gd name="T42" fmla="*/ 2147483647 w 222"/>
                <a:gd name="T43" fmla="*/ 2147483647 h 498"/>
                <a:gd name="T44" fmla="*/ 2147483647 w 222"/>
                <a:gd name="T45" fmla="*/ 2147483647 h 498"/>
                <a:gd name="T46" fmla="*/ 0 w 222"/>
                <a:gd name="T47" fmla="*/ 2147483647 h 498"/>
                <a:gd name="T48" fmla="*/ 2147483647 w 222"/>
                <a:gd name="T49" fmla="*/ 2147483647 h 498"/>
                <a:gd name="T50" fmla="*/ 2147483647 w 222"/>
                <a:gd name="T51" fmla="*/ 2147483647 h 498"/>
                <a:gd name="T52" fmla="*/ 2147483647 w 222"/>
                <a:gd name="T53" fmla="*/ 2147483647 h 498"/>
                <a:gd name="T54" fmla="*/ 2147483647 w 222"/>
                <a:gd name="T55" fmla="*/ 2147483647 h 498"/>
                <a:gd name="T56" fmla="*/ 2147483647 w 222"/>
                <a:gd name="T57" fmla="*/ 2147483647 h 498"/>
                <a:gd name="T58" fmla="*/ 2147483647 w 222"/>
                <a:gd name="T59" fmla="*/ 2147483647 h 498"/>
                <a:gd name="T60" fmla="*/ 2147483647 w 222"/>
                <a:gd name="T61" fmla="*/ 2147483647 h 498"/>
                <a:gd name="T62" fmla="*/ 2147483647 w 222"/>
                <a:gd name="T63" fmla="*/ 2147483647 h 498"/>
                <a:gd name="T64" fmla="*/ 2147483647 w 222"/>
                <a:gd name="T65" fmla="*/ 2147483647 h 498"/>
                <a:gd name="T66" fmla="*/ 2147483647 w 222"/>
                <a:gd name="T67" fmla="*/ 2147483647 h 498"/>
                <a:gd name="T68" fmla="*/ 2147483647 w 222"/>
                <a:gd name="T69" fmla="*/ 2147483647 h 4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2"/>
                <a:gd name="T106" fmla="*/ 0 h 498"/>
                <a:gd name="T107" fmla="*/ 222 w 222"/>
                <a:gd name="T108" fmla="*/ 498 h 4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2" h="498">
                  <a:moveTo>
                    <a:pt x="138" y="372"/>
                  </a:moveTo>
                  <a:lnTo>
                    <a:pt x="144" y="342"/>
                  </a:lnTo>
                  <a:lnTo>
                    <a:pt x="138" y="306"/>
                  </a:lnTo>
                  <a:lnTo>
                    <a:pt x="144" y="276"/>
                  </a:lnTo>
                  <a:lnTo>
                    <a:pt x="162" y="276"/>
                  </a:lnTo>
                  <a:lnTo>
                    <a:pt x="174" y="252"/>
                  </a:lnTo>
                  <a:lnTo>
                    <a:pt x="174" y="222"/>
                  </a:lnTo>
                  <a:lnTo>
                    <a:pt x="180" y="216"/>
                  </a:lnTo>
                  <a:lnTo>
                    <a:pt x="186" y="204"/>
                  </a:lnTo>
                  <a:lnTo>
                    <a:pt x="198" y="198"/>
                  </a:lnTo>
                  <a:lnTo>
                    <a:pt x="198" y="156"/>
                  </a:lnTo>
                  <a:lnTo>
                    <a:pt x="210" y="150"/>
                  </a:lnTo>
                  <a:lnTo>
                    <a:pt x="216" y="150"/>
                  </a:lnTo>
                  <a:lnTo>
                    <a:pt x="222" y="144"/>
                  </a:lnTo>
                  <a:lnTo>
                    <a:pt x="222" y="132"/>
                  </a:lnTo>
                  <a:lnTo>
                    <a:pt x="216" y="126"/>
                  </a:lnTo>
                  <a:lnTo>
                    <a:pt x="216" y="114"/>
                  </a:lnTo>
                  <a:lnTo>
                    <a:pt x="210" y="102"/>
                  </a:lnTo>
                  <a:lnTo>
                    <a:pt x="204" y="96"/>
                  </a:lnTo>
                  <a:lnTo>
                    <a:pt x="192" y="72"/>
                  </a:lnTo>
                  <a:lnTo>
                    <a:pt x="198" y="66"/>
                  </a:lnTo>
                  <a:lnTo>
                    <a:pt x="198" y="60"/>
                  </a:lnTo>
                  <a:lnTo>
                    <a:pt x="204" y="48"/>
                  </a:lnTo>
                  <a:lnTo>
                    <a:pt x="198" y="42"/>
                  </a:lnTo>
                  <a:lnTo>
                    <a:pt x="186" y="36"/>
                  </a:lnTo>
                  <a:lnTo>
                    <a:pt x="180" y="36"/>
                  </a:lnTo>
                  <a:lnTo>
                    <a:pt x="174" y="30"/>
                  </a:lnTo>
                  <a:lnTo>
                    <a:pt x="168" y="30"/>
                  </a:lnTo>
                  <a:lnTo>
                    <a:pt x="162" y="24"/>
                  </a:lnTo>
                  <a:lnTo>
                    <a:pt x="156" y="12"/>
                  </a:lnTo>
                  <a:lnTo>
                    <a:pt x="144" y="0"/>
                  </a:lnTo>
                  <a:lnTo>
                    <a:pt x="114" y="12"/>
                  </a:lnTo>
                  <a:lnTo>
                    <a:pt x="114" y="36"/>
                  </a:lnTo>
                  <a:lnTo>
                    <a:pt x="120" y="36"/>
                  </a:lnTo>
                  <a:lnTo>
                    <a:pt x="114" y="42"/>
                  </a:lnTo>
                  <a:lnTo>
                    <a:pt x="108" y="60"/>
                  </a:lnTo>
                  <a:lnTo>
                    <a:pt x="96" y="60"/>
                  </a:lnTo>
                  <a:lnTo>
                    <a:pt x="90" y="66"/>
                  </a:lnTo>
                  <a:lnTo>
                    <a:pt x="84" y="66"/>
                  </a:lnTo>
                  <a:lnTo>
                    <a:pt x="84" y="78"/>
                  </a:lnTo>
                  <a:lnTo>
                    <a:pt x="78" y="72"/>
                  </a:lnTo>
                  <a:lnTo>
                    <a:pt x="48" y="72"/>
                  </a:lnTo>
                  <a:lnTo>
                    <a:pt x="30" y="90"/>
                  </a:lnTo>
                  <a:lnTo>
                    <a:pt x="24" y="102"/>
                  </a:lnTo>
                  <a:lnTo>
                    <a:pt x="12" y="102"/>
                  </a:lnTo>
                  <a:lnTo>
                    <a:pt x="6" y="114"/>
                  </a:lnTo>
                  <a:lnTo>
                    <a:pt x="0" y="132"/>
                  </a:lnTo>
                  <a:lnTo>
                    <a:pt x="0" y="162"/>
                  </a:lnTo>
                  <a:lnTo>
                    <a:pt x="12" y="168"/>
                  </a:lnTo>
                  <a:lnTo>
                    <a:pt x="42" y="198"/>
                  </a:lnTo>
                  <a:lnTo>
                    <a:pt x="42" y="240"/>
                  </a:lnTo>
                  <a:lnTo>
                    <a:pt x="54" y="252"/>
                  </a:lnTo>
                  <a:lnTo>
                    <a:pt x="60" y="264"/>
                  </a:lnTo>
                  <a:lnTo>
                    <a:pt x="60" y="294"/>
                  </a:lnTo>
                  <a:lnTo>
                    <a:pt x="66" y="306"/>
                  </a:lnTo>
                  <a:lnTo>
                    <a:pt x="54" y="318"/>
                  </a:lnTo>
                  <a:lnTo>
                    <a:pt x="54" y="378"/>
                  </a:lnTo>
                  <a:lnTo>
                    <a:pt x="66" y="390"/>
                  </a:lnTo>
                  <a:lnTo>
                    <a:pt x="54" y="396"/>
                  </a:lnTo>
                  <a:lnTo>
                    <a:pt x="60" y="462"/>
                  </a:lnTo>
                  <a:lnTo>
                    <a:pt x="60" y="468"/>
                  </a:lnTo>
                  <a:lnTo>
                    <a:pt x="72" y="480"/>
                  </a:lnTo>
                  <a:lnTo>
                    <a:pt x="72" y="492"/>
                  </a:lnTo>
                  <a:lnTo>
                    <a:pt x="84" y="492"/>
                  </a:lnTo>
                  <a:lnTo>
                    <a:pt x="96" y="498"/>
                  </a:lnTo>
                  <a:lnTo>
                    <a:pt x="108" y="498"/>
                  </a:lnTo>
                  <a:lnTo>
                    <a:pt x="120" y="474"/>
                  </a:lnTo>
                  <a:lnTo>
                    <a:pt x="126" y="480"/>
                  </a:lnTo>
                  <a:lnTo>
                    <a:pt x="138" y="486"/>
                  </a:lnTo>
                  <a:lnTo>
                    <a:pt x="138" y="37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89" name="Belize" descr="© INSCALE GmbH, 05.05.2010&#10;http://www.presentationload.com/">
              <a:extLst>
                <a:ext uri="{FF2B5EF4-FFF2-40B4-BE49-F238E27FC236}">
                  <a16:creationId xmlns:a16="http://schemas.microsoft.com/office/drawing/2014/main" id="{877C298E-3641-448E-8BA0-CB2375B8A6B1}"/>
                </a:ext>
              </a:extLst>
            </p:cNvPr>
            <p:cNvSpPr>
              <a:spLocks/>
            </p:cNvSpPr>
            <p:nvPr/>
          </p:nvSpPr>
          <p:spPr bwMode="gray">
            <a:xfrm>
              <a:off x="1633067" y="3659917"/>
              <a:ext cx="42336" cy="84673"/>
            </a:xfrm>
            <a:custGeom>
              <a:avLst/>
              <a:gdLst>
                <a:gd name="T0" fmla="*/ 2147483647 w 108"/>
                <a:gd name="T1" fmla="*/ 2147483647 h 210"/>
                <a:gd name="T2" fmla="*/ 2147483647 w 108"/>
                <a:gd name="T3" fmla="*/ 2147483647 h 210"/>
                <a:gd name="T4" fmla="*/ 2147483647 w 108"/>
                <a:gd name="T5" fmla="*/ 2147483647 h 210"/>
                <a:gd name="T6" fmla="*/ 2147483647 w 108"/>
                <a:gd name="T7" fmla="*/ 2147483647 h 210"/>
                <a:gd name="T8" fmla="*/ 2147483647 w 108"/>
                <a:gd name="T9" fmla="*/ 2147483647 h 210"/>
                <a:gd name="T10" fmla="*/ 2147483647 w 108"/>
                <a:gd name="T11" fmla="*/ 0 h 210"/>
                <a:gd name="T12" fmla="*/ 2147483647 w 108"/>
                <a:gd name="T13" fmla="*/ 2147483647 h 210"/>
                <a:gd name="T14" fmla="*/ 2147483647 w 108"/>
                <a:gd name="T15" fmla="*/ 2147483647 h 210"/>
                <a:gd name="T16" fmla="*/ 2147483647 w 108"/>
                <a:gd name="T17" fmla="*/ 2147483647 h 210"/>
                <a:gd name="T18" fmla="*/ 2147483647 w 108"/>
                <a:gd name="T19" fmla="*/ 2147483647 h 210"/>
                <a:gd name="T20" fmla="*/ 2147483647 w 108"/>
                <a:gd name="T21" fmla="*/ 2147483647 h 210"/>
                <a:gd name="T22" fmla="*/ 2147483647 w 108"/>
                <a:gd name="T23" fmla="*/ 2147483647 h 210"/>
                <a:gd name="T24" fmla="*/ 2147483647 w 108"/>
                <a:gd name="T25" fmla="*/ 2147483647 h 210"/>
                <a:gd name="T26" fmla="*/ 2147483647 w 108"/>
                <a:gd name="T27" fmla="*/ 2147483647 h 210"/>
                <a:gd name="T28" fmla="*/ 2147483647 w 108"/>
                <a:gd name="T29" fmla="*/ 2147483647 h 210"/>
                <a:gd name="T30" fmla="*/ 2147483647 w 108"/>
                <a:gd name="T31" fmla="*/ 2147483647 h 210"/>
                <a:gd name="T32" fmla="*/ 2147483647 w 108"/>
                <a:gd name="T33" fmla="*/ 2147483647 h 210"/>
                <a:gd name="T34" fmla="*/ 2147483647 w 108"/>
                <a:gd name="T35" fmla="*/ 2147483647 h 210"/>
                <a:gd name="T36" fmla="*/ 0 w 108"/>
                <a:gd name="T37" fmla="*/ 2147483647 h 210"/>
                <a:gd name="T38" fmla="*/ 2147483647 w 108"/>
                <a:gd name="T39" fmla="*/ 2147483647 h 210"/>
                <a:gd name="T40" fmla="*/ 2147483647 w 108"/>
                <a:gd name="T41" fmla="*/ 2147483647 h 210"/>
                <a:gd name="T42" fmla="*/ 2147483647 w 108"/>
                <a:gd name="T43" fmla="*/ 2147483647 h 210"/>
                <a:gd name="T44" fmla="*/ 2147483647 w 108"/>
                <a:gd name="T45" fmla="*/ 2147483647 h 210"/>
                <a:gd name="T46" fmla="*/ 2147483647 w 108"/>
                <a:gd name="T47" fmla="*/ 2147483647 h 210"/>
                <a:gd name="T48" fmla="*/ 2147483647 w 108"/>
                <a:gd name="T49" fmla="*/ 2147483647 h 210"/>
                <a:gd name="T50" fmla="*/ 2147483647 w 108"/>
                <a:gd name="T51" fmla="*/ 2147483647 h 210"/>
                <a:gd name="T52" fmla="*/ 2147483647 w 108"/>
                <a:gd name="T53" fmla="*/ 2147483647 h 210"/>
                <a:gd name="T54" fmla="*/ 2147483647 w 108"/>
                <a:gd name="T55" fmla="*/ 2147483647 h 2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8"/>
                <a:gd name="T85" fmla="*/ 0 h 210"/>
                <a:gd name="T86" fmla="*/ 108 w 108"/>
                <a:gd name="T87" fmla="*/ 210 h 2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8" h="210">
                  <a:moveTo>
                    <a:pt x="108" y="30"/>
                  </a:moveTo>
                  <a:lnTo>
                    <a:pt x="108" y="24"/>
                  </a:lnTo>
                  <a:lnTo>
                    <a:pt x="102" y="24"/>
                  </a:lnTo>
                  <a:lnTo>
                    <a:pt x="90" y="18"/>
                  </a:lnTo>
                  <a:lnTo>
                    <a:pt x="84" y="12"/>
                  </a:lnTo>
                  <a:lnTo>
                    <a:pt x="78" y="0"/>
                  </a:lnTo>
                  <a:lnTo>
                    <a:pt x="78" y="6"/>
                  </a:lnTo>
                  <a:lnTo>
                    <a:pt x="72" y="12"/>
                  </a:lnTo>
                  <a:lnTo>
                    <a:pt x="72" y="24"/>
                  </a:lnTo>
                  <a:lnTo>
                    <a:pt x="66" y="36"/>
                  </a:lnTo>
                  <a:lnTo>
                    <a:pt x="54" y="42"/>
                  </a:lnTo>
                  <a:lnTo>
                    <a:pt x="48" y="48"/>
                  </a:lnTo>
                  <a:lnTo>
                    <a:pt x="42" y="48"/>
                  </a:lnTo>
                  <a:lnTo>
                    <a:pt x="42" y="42"/>
                  </a:lnTo>
                  <a:lnTo>
                    <a:pt x="36" y="36"/>
                  </a:lnTo>
                  <a:lnTo>
                    <a:pt x="30" y="36"/>
                  </a:lnTo>
                  <a:lnTo>
                    <a:pt x="30" y="42"/>
                  </a:lnTo>
                  <a:lnTo>
                    <a:pt x="24" y="54"/>
                  </a:lnTo>
                  <a:lnTo>
                    <a:pt x="0" y="210"/>
                  </a:lnTo>
                  <a:lnTo>
                    <a:pt x="30" y="210"/>
                  </a:lnTo>
                  <a:lnTo>
                    <a:pt x="42" y="168"/>
                  </a:lnTo>
                  <a:lnTo>
                    <a:pt x="60" y="174"/>
                  </a:lnTo>
                  <a:lnTo>
                    <a:pt x="84" y="150"/>
                  </a:lnTo>
                  <a:lnTo>
                    <a:pt x="84" y="90"/>
                  </a:lnTo>
                  <a:lnTo>
                    <a:pt x="90" y="78"/>
                  </a:lnTo>
                  <a:lnTo>
                    <a:pt x="96" y="60"/>
                  </a:lnTo>
                  <a:lnTo>
                    <a:pt x="108" y="36"/>
                  </a:lnTo>
                  <a:lnTo>
                    <a:pt x="108" y="30"/>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90" name="Belgien" descr="© INSCALE GmbH, 05.05.2010&#10;http://www.presentationload.com/">
              <a:extLst>
                <a:ext uri="{FF2B5EF4-FFF2-40B4-BE49-F238E27FC236}">
                  <a16:creationId xmlns:a16="http://schemas.microsoft.com/office/drawing/2014/main" id="{4F009A1F-51E0-4B0F-87CF-CE0D36EBAACF}"/>
                </a:ext>
              </a:extLst>
            </p:cNvPr>
            <p:cNvSpPr>
              <a:spLocks/>
            </p:cNvSpPr>
            <p:nvPr/>
          </p:nvSpPr>
          <p:spPr bwMode="gray">
            <a:xfrm>
              <a:off x="4234416" y="2612477"/>
              <a:ext cx="89377" cy="61153"/>
            </a:xfrm>
            <a:custGeom>
              <a:avLst/>
              <a:gdLst>
                <a:gd name="T0" fmla="*/ 0 w 222"/>
                <a:gd name="T1" fmla="*/ 2147483647 h 150"/>
                <a:gd name="T2" fmla="*/ 2147483647 w 222"/>
                <a:gd name="T3" fmla="*/ 2147483647 h 150"/>
                <a:gd name="T4" fmla="*/ 2147483647 w 222"/>
                <a:gd name="T5" fmla="*/ 2147483647 h 150"/>
                <a:gd name="T6" fmla="*/ 2147483647 w 222"/>
                <a:gd name="T7" fmla="*/ 2147483647 h 150"/>
                <a:gd name="T8" fmla="*/ 2147483647 w 222"/>
                <a:gd name="T9" fmla="*/ 2147483647 h 150"/>
                <a:gd name="T10" fmla="*/ 2147483647 w 222"/>
                <a:gd name="T11" fmla="*/ 2147483647 h 150"/>
                <a:gd name="T12" fmla="*/ 2147483647 w 222"/>
                <a:gd name="T13" fmla="*/ 2147483647 h 150"/>
                <a:gd name="T14" fmla="*/ 2147483647 w 222"/>
                <a:gd name="T15" fmla="*/ 2147483647 h 150"/>
                <a:gd name="T16" fmla="*/ 2147483647 w 222"/>
                <a:gd name="T17" fmla="*/ 2147483647 h 150"/>
                <a:gd name="T18" fmla="*/ 2147483647 w 222"/>
                <a:gd name="T19" fmla="*/ 2147483647 h 150"/>
                <a:gd name="T20" fmla="*/ 2147483647 w 222"/>
                <a:gd name="T21" fmla="*/ 2147483647 h 150"/>
                <a:gd name="T22" fmla="*/ 2147483647 w 222"/>
                <a:gd name="T23" fmla="*/ 2147483647 h 150"/>
                <a:gd name="T24" fmla="*/ 2147483647 w 222"/>
                <a:gd name="T25" fmla="*/ 2147483647 h 150"/>
                <a:gd name="T26" fmla="*/ 2147483647 w 222"/>
                <a:gd name="T27" fmla="*/ 2147483647 h 150"/>
                <a:gd name="T28" fmla="*/ 2147483647 w 222"/>
                <a:gd name="T29" fmla="*/ 2147483647 h 150"/>
                <a:gd name="T30" fmla="*/ 2147483647 w 222"/>
                <a:gd name="T31" fmla="*/ 2147483647 h 150"/>
                <a:gd name="T32" fmla="*/ 2147483647 w 222"/>
                <a:gd name="T33" fmla="*/ 2147483647 h 150"/>
                <a:gd name="T34" fmla="*/ 2147483647 w 222"/>
                <a:gd name="T35" fmla="*/ 2147483647 h 150"/>
                <a:gd name="T36" fmla="*/ 2147483647 w 222"/>
                <a:gd name="T37" fmla="*/ 2147483647 h 150"/>
                <a:gd name="T38" fmla="*/ 2147483647 w 222"/>
                <a:gd name="T39" fmla="*/ 2147483647 h 150"/>
                <a:gd name="T40" fmla="*/ 2147483647 w 222"/>
                <a:gd name="T41" fmla="*/ 2147483647 h 150"/>
                <a:gd name="T42" fmla="*/ 2147483647 w 222"/>
                <a:gd name="T43" fmla="*/ 2147483647 h 150"/>
                <a:gd name="T44" fmla="*/ 2147483647 w 222"/>
                <a:gd name="T45" fmla="*/ 2147483647 h 150"/>
                <a:gd name="T46" fmla="*/ 2147483647 w 222"/>
                <a:gd name="T47" fmla="*/ 2147483647 h 150"/>
                <a:gd name="T48" fmla="*/ 2147483647 w 222"/>
                <a:gd name="T49" fmla="*/ 2147483647 h 150"/>
                <a:gd name="T50" fmla="*/ 2147483647 w 222"/>
                <a:gd name="T51" fmla="*/ 2147483647 h 150"/>
                <a:gd name="T52" fmla="*/ 2147483647 w 222"/>
                <a:gd name="T53" fmla="*/ 2147483647 h 150"/>
                <a:gd name="T54" fmla="*/ 2147483647 w 222"/>
                <a:gd name="T55" fmla="*/ 2147483647 h 150"/>
                <a:gd name="T56" fmla="*/ 2147483647 w 222"/>
                <a:gd name="T57" fmla="*/ 2147483647 h 150"/>
                <a:gd name="T58" fmla="*/ 2147483647 w 222"/>
                <a:gd name="T59" fmla="*/ 2147483647 h 150"/>
                <a:gd name="T60" fmla="*/ 2147483647 w 222"/>
                <a:gd name="T61" fmla="*/ 2147483647 h 150"/>
                <a:gd name="T62" fmla="*/ 2147483647 w 222"/>
                <a:gd name="T63" fmla="*/ 2147483647 h 150"/>
                <a:gd name="T64" fmla="*/ 2147483647 w 222"/>
                <a:gd name="T65" fmla="*/ 2147483647 h 150"/>
                <a:gd name="T66" fmla="*/ 2147483647 w 222"/>
                <a:gd name="T67" fmla="*/ 2147483647 h 150"/>
                <a:gd name="T68" fmla="*/ 2147483647 w 222"/>
                <a:gd name="T69" fmla="*/ 2147483647 h 150"/>
                <a:gd name="T70" fmla="*/ 2147483647 w 222"/>
                <a:gd name="T71" fmla="*/ 2147483647 h 150"/>
                <a:gd name="T72" fmla="*/ 2147483647 w 222"/>
                <a:gd name="T73" fmla="*/ 2147483647 h 150"/>
                <a:gd name="T74" fmla="*/ 2147483647 w 222"/>
                <a:gd name="T75" fmla="*/ 2147483647 h 150"/>
                <a:gd name="T76" fmla="*/ 2147483647 w 222"/>
                <a:gd name="T77" fmla="*/ 2147483647 h 150"/>
                <a:gd name="T78" fmla="*/ 2147483647 w 222"/>
                <a:gd name="T79" fmla="*/ 2147483647 h 150"/>
                <a:gd name="T80" fmla="*/ 2147483647 w 222"/>
                <a:gd name="T81" fmla="*/ 0 h 150"/>
                <a:gd name="T82" fmla="*/ 2147483647 w 222"/>
                <a:gd name="T83" fmla="*/ 0 h 150"/>
                <a:gd name="T84" fmla="*/ 2147483647 w 222"/>
                <a:gd name="T85" fmla="*/ 2147483647 h 150"/>
                <a:gd name="T86" fmla="*/ 2147483647 w 222"/>
                <a:gd name="T87" fmla="*/ 0 h 150"/>
                <a:gd name="T88" fmla="*/ 2147483647 w 222"/>
                <a:gd name="T89" fmla="*/ 2147483647 h 150"/>
                <a:gd name="T90" fmla="*/ 2147483647 w 222"/>
                <a:gd name="T91" fmla="*/ 2147483647 h 150"/>
                <a:gd name="T92" fmla="*/ 2147483647 w 222"/>
                <a:gd name="T93" fmla="*/ 2147483647 h 150"/>
                <a:gd name="T94" fmla="*/ 2147483647 w 222"/>
                <a:gd name="T95" fmla="*/ 2147483647 h 150"/>
                <a:gd name="T96" fmla="*/ 2147483647 w 222"/>
                <a:gd name="T97" fmla="*/ 2147483647 h 150"/>
                <a:gd name="T98" fmla="*/ 2147483647 w 222"/>
                <a:gd name="T99" fmla="*/ 2147483647 h 150"/>
                <a:gd name="T100" fmla="*/ 2147483647 w 222"/>
                <a:gd name="T101" fmla="*/ 2147483647 h 150"/>
                <a:gd name="T102" fmla="*/ 0 w 222"/>
                <a:gd name="T103" fmla="*/ 2147483647 h 150"/>
                <a:gd name="T104" fmla="*/ 0 w 222"/>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150"/>
                <a:gd name="T161" fmla="*/ 222 w 222"/>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150">
                  <a:moveTo>
                    <a:pt x="0" y="42"/>
                  </a:moveTo>
                  <a:lnTo>
                    <a:pt x="6" y="60"/>
                  </a:lnTo>
                  <a:lnTo>
                    <a:pt x="30" y="66"/>
                  </a:lnTo>
                  <a:lnTo>
                    <a:pt x="42" y="78"/>
                  </a:lnTo>
                  <a:lnTo>
                    <a:pt x="66" y="78"/>
                  </a:lnTo>
                  <a:lnTo>
                    <a:pt x="78" y="84"/>
                  </a:lnTo>
                  <a:lnTo>
                    <a:pt x="84" y="90"/>
                  </a:lnTo>
                  <a:lnTo>
                    <a:pt x="84" y="114"/>
                  </a:lnTo>
                  <a:lnTo>
                    <a:pt x="108" y="114"/>
                  </a:lnTo>
                  <a:lnTo>
                    <a:pt x="120" y="102"/>
                  </a:lnTo>
                  <a:lnTo>
                    <a:pt x="120" y="126"/>
                  </a:lnTo>
                  <a:lnTo>
                    <a:pt x="132" y="126"/>
                  </a:lnTo>
                  <a:lnTo>
                    <a:pt x="144" y="132"/>
                  </a:lnTo>
                  <a:lnTo>
                    <a:pt x="150" y="132"/>
                  </a:lnTo>
                  <a:lnTo>
                    <a:pt x="162" y="144"/>
                  </a:lnTo>
                  <a:lnTo>
                    <a:pt x="180" y="144"/>
                  </a:lnTo>
                  <a:lnTo>
                    <a:pt x="192" y="150"/>
                  </a:lnTo>
                  <a:lnTo>
                    <a:pt x="192" y="144"/>
                  </a:lnTo>
                  <a:lnTo>
                    <a:pt x="186" y="132"/>
                  </a:lnTo>
                  <a:lnTo>
                    <a:pt x="174" y="120"/>
                  </a:lnTo>
                  <a:lnTo>
                    <a:pt x="174" y="114"/>
                  </a:lnTo>
                  <a:lnTo>
                    <a:pt x="180" y="114"/>
                  </a:lnTo>
                  <a:lnTo>
                    <a:pt x="192" y="108"/>
                  </a:lnTo>
                  <a:lnTo>
                    <a:pt x="198" y="102"/>
                  </a:lnTo>
                  <a:lnTo>
                    <a:pt x="204" y="102"/>
                  </a:lnTo>
                  <a:lnTo>
                    <a:pt x="204" y="96"/>
                  </a:lnTo>
                  <a:lnTo>
                    <a:pt x="210" y="90"/>
                  </a:lnTo>
                  <a:lnTo>
                    <a:pt x="222" y="90"/>
                  </a:lnTo>
                  <a:lnTo>
                    <a:pt x="216" y="84"/>
                  </a:lnTo>
                  <a:lnTo>
                    <a:pt x="216" y="66"/>
                  </a:lnTo>
                  <a:lnTo>
                    <a:pt x="204" y="54"/>
                  </a:lnTo>
                  <a:lnTo>
                    <a:pt x="180" y="54"/>
                  </a:lnTo>
                  <a:lnTo>
                    <a:pt x="180" y="42"/>
                  </a:lnTo>
                  <a:lnTo>
                    <a:pt x="186" y="36"/>
                  </a:lnTo>
                  <a:lnTo>
                    <a:pt x="186" y="18"/>
                  </a:lnTo>
                  <a:lnTo>
                    <a:pt x="180" y="12"/>
                  </a:lnTo>
                  <a:lnTo>
                    <a:pt x="174" y="12"/>
                  </a:lnTo>
                  <a:lnTo>
                    <a:pt x="162" y="18"/>
                  </a:lnTo>
                  <a:lnTo>
                    <a:pt x="150" y="18"/>
                  </a:lnTo>
                  <a:lnTo>
                    <a:pt x="144" y="12"/>
                  </a:lnTo>
                  <a:lnTo>
                    <a:pt x="144" y="0"/>
                  </a:lnTo>
                  <a:lnTo>
                    <a:pt x="108" y="0"/>
                  </a:lnTo>
                  <a:lnTo>
                    <a:pt x="108" y="6"/>
                  </a:lnTo>
                  <a:lnTo>
                    <a:pt x="96" y="0"/>
                  </a:lnTo>
                  <a:lnTo>
                    <a:pt x="96" y="12"/>
                  </a:lnTo>
                  <a:lnTo>
                    <a:pt x="78" y="6"/>
                  </a:lnTo>
                  <a:lnTo>
                    <a:pt x="72" y="18"/>
                  </a:lnTo>
                  <a:lnTo>
                    <a:pt x="66" y="12"/>
                  </a:lnTo>
                  <a:lnTo>
                    <a:pt x="42" y="12"/>
                  </a:lnTo>
                  <a:lnTo>
                    <a:pt x="36" y="6"/>
                  </a:lnTo>
                  <a:lnTo>
                    <a:pt x="24" y="6"/>
                  </a:lnTo>
                  <a:lnTo>
                    <a:pt x="0" y="24"/>
                  </a:lnTo>
                  <a:lnTo>
                    <a:pt x="0" y="42"/>
                  </a:lnTo>
                  <a:close/>
                </a:path>
              </a:pathLst>
            </a:custGeom>
            <a:solidFill>
              <a:schemeClr val="accent1"/>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91" name="Bangladesh" descr="© INSCALE GmbH, 05.05.2010&#10;http://www.presentationload.com/">
              <a:extLst>
                <a:ext uri="{FF2B5EF4-FFF2-40B4-BE49-F238E27FC236}">
                  <a16:creationId xmlns:a16="http://schemas.microsoft.com/office/drawing/2014/main" id="{18D0AAA2-DFCC-490E-8A4D-EB9CCE180F88}"/>
                </a:ext>
              </a:extLst>
            </p:cNvPr>
            <p:cNvSpPr>
              <a:spLocks/>
            </p:cNvSpPr>
            <p:nvPr/>
          </p:nvSpPr>
          <p:spPr bwMode="gray">
            <a:xfrm>
              <a:off x="6558226" y="3402761"/>
              <a:ext cx="148962" cy="169347"/>
            </a:xfrm>
            <a:custGeom>
              <a:avLst/>
              <a:gdLst>
                <a:gd name="T0" fmla="*/ 2147483647 w 372"/>
                <a:gd name="T1" fmla="*/ 2147483647 h 426"/>
                <a:gd name="T2" fmla="*/ 2147483647 w 372"/>
                <a:gd name="T3" fmla="*/ 2147483647 h 426"/>
                <a:gd name="T4" fmla="*/ 2147483647 w 372"/>
                <a:gd name="T5" fmla="*/ 2147483647 h 426"/>
                <a:gd name="T6" fmla="*/ 2147483647 w 372"/>
                <a:gd name="T7" fmla="*/ 2147483647 h 426"/>
                <a:gd name="T8" fmla="*/ 2147483647 w 372"/>
                <a:gd name="T9" fmla="*/ 2147483647 h 426"/>
                <a:gd name="T10" fmla="*/ 2147483647 w 372"/>
                <a:gd name="T11" fmla="*/ 2147483647 h 426"/>
                <a:gd name="T12" fmla="*/ 2147483647 w 372"/>
                <a:gd name="T13" fmla="*/ 2147483647 h 426"/>
                <a:gd name="T14" fmla="*/ 2147483647 w 372"/>
                <a:gd name="T15" fmla="*/ 2147483647 h 426"/>
                <a:gd name="T16" fmla="*/ 2147483647 w 372"/>
                <a:gd name="T17" fmla="*/ 2147483647 h 426"/>
                <a:gd name="T18" fmla="*/ 2147483647 w 372"/>
                <a:gd name="T19" fmla="*/ 2147483647 h 426"/>
                <a:gd name="T20" fmla="*/ 2147483647 w 372"/>
                <a:gd name="T21" fmla="*/ 2147483647 h 426"/>
                <a:gd name="T22" fmla="*/ 2147483647 w 372"/>
                <a:gd name="T23" fmla="*/ 2147483647 h 426"/>
                <a:gd name="T24" fmla="*/ 2147483647 w 372"/>
                <a:gd name="T25" fmla="*/ 2147483647 h 426"/>
                <a:gd name="T26" fmla="*/ 2147483647 w 372"/>
                <a:gd name="T27" fmla="*/ 2147483647 h 426"/>
                <a:gd name="T28" fmla="*/ 2147483647 w 372"/>
                <a:gd name="T29" fmla="*/ 2147483647 h 426"/>
                <a:gd name="T30" fmla="*/ 2147483647 w 372"/>
                <a:gd name="T31" fmla="*/ 2147483647 h 426"/>
                <a:gd name="T32" fmla="*/ 2147483647 w 372"/>
                <a:gd name="T33" fmla="*/ 2147483647 h 426"/>
                <a:gd name="T34" fmla="*/ 2147483647 w 372"/>
                <a:gd name="T35" fmla="*/ 2147483647 h 426"/>
                <a:gd name="T36" fmla="*/ 2147483647 w 372"/>
                <a:gd name="T37" fmla="*/ 2147483647 h 426"/>
                <a:gd name="T38" fmla="*/ 2147483647 w 372"/>
                <a:gd name="T39" fmla="*/ 2147483647 h 426"/>
                <a:gd name="T40" fmla="*/ 2147483647 w 372"/>
                <a:gd name="T41" fmla="*/ 2147483647 h 426"/>
                <a:gd name="T42" fmla="*/ 2147483647 w 372"/>
                <a:gd name="T43" fmla="*/ 2147483647 h 426"/>
                <a:gd name="T44" fmla="*/ 2147483647 w 372"/>
                <a:gd name="T45" fmla="*/ 2147483647 h 426"/>
                <a:gd name="T46" fmla="*/ 2147483647 w 372"/>
                <a:gd name="T47" fmla="*/ 2147483647 h 426"/>
                <a:gd name="T48" fmla="*/ 2147483647 w 372"/>
                <a:gd name="T49" fmla="*/ 2147483647 h 426"/>
                <a:gd name="T50" fmla="*/ 2147483647 w 372"/>
                <a:gd name="T51" fmla="*/ 2147483647 h 426"/>
                <a:gd name="T52" fmla="*/ 2147483647 w 372"/>
                <a:gd name="T53" fmla="*/ 2147483647 h 426"/>
                <a:gd name="T54" fmla="*/ 2147483647 w 372"/>
                <a:gd name="T55" fmla="*/ 2147483647 h 426"/>
                <a:gd name="T56" fmla="*/ 2147483647 w 372"/>
                <a:gd name="T57" fmla="*/ 2147483647 h 426"/>
                <a:gd name="T58" fmla="*/ 2147483647 w 372"/>
                <a:gd name="T59" fmla="*/ 2147483647 h 426"/>
                <a:gd name="T60" fmla="*/ 2147483647 w 372"/>
                <a:gd name="T61" fmla="*/ 2147483647 h 426"/>
                <a:gd name="T62" fmla="*/ 2147483647 w 372"/>
                <a:gd name="T63" fmla="*/ 2147483647 h 426"/>
                <a:gd name="T64" fmla="*/ 2147483647 w 372"/>
                <a:gd name="T65" fmla="*/ 2147483647 h 426"/>
                <a:gd name="T66" fmla="*/ 2147483647 w 372"/>
                <a:gd name="T67" fmla="*/ 2147483647 h 426"/>
                <a:gd name="T68" fmla="*/ 2147483647 w 372"/>
                <a:gd name="T69" fmla="*/ 2147483647 h 426"/>
                <a:gd name="T70" fmla="*/ 2147483647 w 372"/>
                <a:gd name="T71" fmla="*/ 2147483647 h 426"/>
                <a:gd name="T72" fmla="*/ 2147483647 w 372"/>
                <a:gd name="T73" fmla="*/ 2147483647 h 426"/>
                <a:gd name="T74" fmla="*/ 2147483647 w 372"/>
                <a:gd name="T75" fmla="*/ 2147483647 h 426"/>
                <a:gd name="T76" fmla="*/ 2147483647 w 372"/>
                <a:gd name="T77" fmla="*/ 2147483647 h 426"/>
                <a:gd name="T78" fmla="*/ 2147483647 w 372"/>
                <a:gd name="T79" fmla="*/ 2147483647 h 426"/>
                <a:gd name="T80" fmla="*/ 2147483647 w 372"/>
                <a:gd name="T81" fmla="*/ 2147483647 h 426"/>
                <a:gd name="T82" fmla="*/ 2147483647 w 372"/>
                <a:gd name="T83" fmla="*/ 2147483647 h 426"/>
                <a:gd name="T84" fmla="*/ 2147483647 w 372"/>
                <a:gd name="T85" fmla="*/ 0 h 426"/>
                <a:gd name="T86" fmla="*/ 2147483647 w 372"/>
                <a:gd name="T87" fmla="*/ 2147483647 h 426"/>
                <a:gd name="T88" fmla="*/ 0 w 372"/>
                <a:gd name="T89" fmla="*/ 2147483647 h 426"/>
                <a:gd name="T90" fmla="*/ 2147483647 w 372"/>
                <a:gd name="T91" fmla="*/ 2147483647 h 426"/>
                <a:gd name="T92" fmla="*/ 2147483647 w 372"/>
                <a:gd name="T93" fmla="*/ 2147483647 h 426"/>
                <a:gd name="T94" fmla="*/ 2147483647 w 372"/>
                <a:gd name="T95" fmla="*/ 2147483647 h 426"/>
                <a:gd name="T96" fmla="*/ 2147483647 w 372"/>
                <a:gd name="T97" fmla="*/ 2147483647 h 426"/>
                <a:gd name="T98" fmla="*/ 2147483647 w 372"/>
                <a:gd name="T99" fmla="*/ 2147483647 h 426"/>
                <a:gd name="T100" fmla="*/ 2147483647 w 372"/>
                <a:gd name="T101" fmla="*/ 2147483647 h 426"/>
                <a:gd name="T102" fmla="*/ 2147483647 w 372"/>
                <a:gd name="T103" fmla="*/ 2147483647 h 426"/>
                <a:gd name="T104" fmla="*/ 2147483647 w 372"/>
                <a:gd name="T105" fmla="*/ 2147483647 h 426"/>
                <a:gd name="T106" fmla="*/ 2147483647 w 372"/>
                <a:gd name="T107" fmla="*/ 2147483647 h 426"/>
                <a:gd name="T108" fmla="*/ 2147483647 w 372"/>
                <a:gd name="T109" fmla="*/ 2147483647 h 426"/>
                <a:gd name="T110" fmla="*/ 2147483647 w 372"/>
                <a:gd name="T111" fmla="*/ 2147483647 h 426"/>
                <a:gd name="T112" fmla="*/ 2147483647 w 372"/>
                <a:gd name="T113" fmla="*/ 2147483647 h 426"/>
                <a:gd name="T114" fmla="*/ 2147483647 w 372"/>
                <a:gd name="T115" fmla="*/ 2147483647 h 4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2"/>
                <a:gd name="T175" fmla="*/ 0 h 426"/>
                <a:gd name="T176" fmla="*/ 372 w 372"/>
                <a:gd name="T177" fmla="*/ 426 h 4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2" h="426">
                  <a:moveTo>
                    <a:pt x="132" y="414"/>
                  </a:moveTo>
                  <a:lnTo>
                    <a:pt x="138" y="354"/>
                  </a:lnTo>
                  <a:lnTo>
                    <a:pt x="144" y="354"/>
                  </a:lnTo>
                  <a:lnTo>
                    <a:pt x="150" y="360"/>
                  </a:lnTo>
                  <a:lnTo>
                    <a:pt x="162" y="360"/>
                  </a:lnTo>
                  <a:lnTo>
                    <a:pt x="174" y="366"/>
                  </a:lnTo>
                  <a:lnTo>
                    <a:pt x="192" y="372"/>
                  </a:lnTo>
                  <a:lnTo>
                    <a:pt x="216" y="372"/>
                  </a:lnTo>
                  <a:lnTo>
                    <a:pt x="210" y="366"/>
                  </a:lnTo>
                  <a:lnTo>
                    <a:pt x="210" y="348"/>
                  </a:lnTo>
                  <a:lnTo>
                    <a:pt x="204" y="342"/>
                  </a:lnTo>
                  <a:lnTo>
                    <a:pt x="222" y="342"/>
                  </a:lnTo>
                  <a:lnTo>
                    <a:pt x="258" y="360"/>
                  </a:lnTo>
                  <a:lnTo>
                    <a:pt x="270" y="360"/>
                  </a:lnTo>
                  <a:lnTo>
                    <a:pt x="282" y="348"/>
                  </a:lnTo>
                  <a:lnTo>
                    <a:pt x="282" y="336"/>
                  </a:lnTo>
                  <a:lnTo>
                    <a:pt x="270" y="300"/>
                  </a:lnTo>
                  <a:lnTo>
                    <a:pt x="318" y="354"/>
                  </a:lnTo>
                  <a:lnTo>
                    <a:pt x="318" y="360"/>
                  </a:lnTo>
                  <a:lnTo>
                    <a:pt x="312" y="366"/>
                  </a:lnTo>
                  <a:lnTo>
                    <a:pt x="312" y="390"/>
                  </a:lnTo>
                  <a:lnTo>
                    <a:pt x="306" y="402"/>
                  </a:lnTo>
                  <a:lnTo>
                    <a:pt x="306" y="414"/>
                  </a:lnTo>
                  <a:lnTo>
                    <a:pt x="312" y="420"/>
                  </a:lnTo>
                  <a:lnTo>
                    <a:pt x="324" y="420"/>
                  </a:lnTo>
                  <a:lnTo>
                    <a:pt x="330" y="426"/>
                  </a:lnTo>
                  <a:lnTo>
                    <a:pt x="336" y="414"/>
                  </a:lnTo>
                  <a:lnTo>
                    <a:pt x="336" y="408"/>
                  </a:lnTo>
                  <a:lnTo>
                    <a:pt x="372" y="414"/>
                  </a:lnTo>
                  <a:lnTo>
                    <a:pt x="360" y="354"/>
                  </a:lnTo>
                  <a:lnTo>
                    <a:pt x="360" y="348"/>
                  </a:lnTo>
                  <a:lnTo>
                    <a:pt x="354" y="342"/>
                  </a:lnTo>
                  <a:lnTo>
                    <a:pt x="348" y="330"/>
                  </a:lnTo>
                  <a:lnTo>
                    <a:pt x="342" y="312"/>
                  </a:lnTo>
                  <a:lnTo>
                    <a:pt x="336" y="300"/>
                  </a:lnTo>
                  <a:lnTo>
                    <a:pt x="336" y="288"/>
                  </a:lnTo>
                  <a:lnTo>
                    <a:pt x="330" y="276"/>
                  </a:lnTo>
                  <a:lnTo>
                    <a:pt x="330" y="270"/>
                  </a:lnTo>
                  <a:lnTo>
                    <a:pt x="324" y="258"/>
                  </a:lnTo>
                  <a:lnTo>
                    <a:pt x="324" y="240"/>
                  </a:lnTo>
                  <a:lnTo>
                    <a:pt x="318" y="234"/>
                  </a:lnTo>
                  <a:lnTo>
                    <a:pt x="306" y="228"/>
                  </a:lnTo>
                  <a:lnTo>
                    <a:pt x="288" y="228"/>
                  </a:lnTo>
                  <a:lnTo>
                    <a:pt x="288" y="252"/>
                  </a:lnTo>
                  <a:lnTo>
                    <a:pt x="282" y="288"/>
                  </a:lnTo>
                  <a:lnTo>
                    <a:pt x="264" y="264"/>
                  </a:lnTo>
                  <a:lnTo>
                    <a:pt x="258" y="264"/>
                  </a:lnTo>
                  <a:lnTo>
                    <a:pt x="240" y="246"/>
                  </a:lnTo>
                  <a:lnTo>
                    <a:pt x="234" y="234"/>
                  </a:lnTo>
                  <a:lnTo>
                    <a:pt x="234" y="216"/>
                  </a:lnTo>
                  <a:lnTo>
                    <a:pt x="240" y="204"/>
                  </a:lnTo>
                  <a:lnTo>
                    <a:pt x="252" y="192"/>
                  </a:lnTo>
                  <a:lnTo>
                    <a:pt x="258" y="192"/>
                  </a:lnTo>
                  <a:lnTo>
                    <a:pt x="270" y="186"/>
                  </a:lnTo>
                  <a:lnTo>
                    <a:pt x="276" y="186"/>
                  </a:lnTo>
                  <a:lnTo>
                    <a:pt x="282" y="180"/>
                  </a:lnTo>
                  <a:lnTo>
                    <a:pt x="288" y="168"/>
                  </a:lnTo>
                  <a:lnTo>
                    <a:pt x="294" y="150"/>
                  </a:lnTo>
                  <a:lnTo>
                    <a:pt x="294" y="138"/>
                  </a:lnTo>
                  <a:lnTo>
                    <a:pt x="300" y="138"/>
                  </a:lnTo>
                  <a:lnTo>
                    <a:pt x="306" y="132"/>
                  </a:lnTo>
                  <a:lnTo>
                    <a:pt x="306" y="126"/>
                  </a:lnTo>
                  <a:lnTo>
                    <a:pt x="282" y="102"/>
                  </a:lnTo>
                  <a:lnTo>
                    <a:pt x="276" y="102"/>
                  </a:lnTo>
                  <a:lnTo>
                    <a:pt x="228" y="114"/>
                  </a:lnTo>
                  <a:lnTo>
                    <a:pt x="210" y="114"/>
                  </a:lnTo>
                  <a:lnTo>
                    <a:pt x="198" y="108"/>
                  </a:lnTo>
                  <a:lnTo>
                    <a:pt x="138" y="108"/>
                  </a:lnTo>
                  <a:lnTo>
                    <a:pt x="132" y="102"/>
                  </a:lnTo>
                  <a:lnTo>
                    <a:pt x="126" y="102"/>
                  </a:lnTo>
                  <a:lnTo>
                    <a:pt x="126" y="66"/>
                  </a:lnTo>
                  <a:lnTo>
                    <a:pt x="120" y="66"/>
                  </a:lnTo>
                  <a:lnTo>
                    <a:pt x="120" y="36"/>
                  </a:lnTo>
                  <a:lnTo>
                    <a:pt x="114" y="30"/>
                  </a:lnTo>
                  <a:lnTo>
                    <a:pt x="108" y="30"/>
                  </a:lnTo>
                  <a:lnTo>
                    <a:pt x="102" y="24"/>
                  </a:lnTo>
                  <a:lnTo>
                    <a:pt x="96" y="42"/>
                  </a:lnTo>
                  <a:lnTo>
                    <a:pt x="90" y="36"/>
                  </a:lnTo>
                  <a:lnTo>
                    <a:pt x="78" y="36"/>
                  </a:lnTo>
                  <a:lnTo>
                    <a:pt x="72" y="30"/>
                  </a:lnTo>
                  <a:lnTo>
                    <a:pt x="66" y="18"/>
                  </a:lnTo>
                  <a:lnTo>
                    <a:pt x="66" y="12"/>
                  </a:lnTo>
                  <a:lnTo>
                    <a:pt x="60" y="0"/>
                  </a:lnTo>
                  <a:lnTo>
                    <a:pt x="42" y="6"/>
                  </a:lnTo>
                  <a:lnTo>
                    <a:pt x="48" y="12"/>
                  </a:lnTo>
                  <a:lnTo>
                    <a:pt x="24" y="0"/>
                  </a:lnTo>
                  <a:lnTo>
                    <a:pt x="6" y="0"/>
                  </a:lnTo>
                  <a:lnTo>
                    <a:pt x="18" y="18"/>
                  </a:lnTo>
                  <a:lnTo>
                    <a:pt x="6" y="30"/>
                  </a:lnTo>
                  <a:lnTo>
                    <a:pt x="0" y="42"/>
                  </a:lnTo>
                  <a:lnTo>
                    <a:pt x="0" y="48"/>
                  </a:lnTo>
                  <a:lnTo>
                    <a:pt x="6" y="60"/>
                  </a:lnTo>
                  <a:lnTo>
                    <a:pt x="18" y="66"/>
                  </a:lnTo>
                  <a:lnTo>
                    <a:pt x="30" y="78"/>
                  </a:lnTo>
                  <a:lnTo>
                    <a:pt x="36" y="78"/>
                  </a:lnTo>
                  <a:lnTo>
                    <a:pt x="66" y="96"/>
                  </a:lnTo>
                  <a:lnTo>
                    <a:pt x="66" y="108"/>
                  </a:lnTo>
                  <a:lnTo>
                    <a:pt x="30" y="108"/>
                  </a:lnTo>
                  <a:lnTo>
                    <a:pt x="30" y="138"/>
                  </a:lnTo>
                  <a:lnTo>
                    <a:pt x="24" y="138"/>
                  </a:lnTo>
                  <a:lnTo>
                    <a:pt x="12" y="150"/>
                  </a:lnTo>
                  <a:lnTo>
                    <a:pt x="24" y="162"/>
                  </a:lnTo>
                  <a:lnTo>
                    <a:pt x="36" y="168"/>
                  </a:lnTo>
                  <a:lnTo>
                    <a:pt x="54" y="168"/>
                  </a:lnTo>
                  <a:lnTo>
                    <a:pt x="66" y="174"/>
                  </a:lnTo>
                  <a:lnTo>
                    <a:pt x="72" y="180"/>
                  </a:lnTo>
                  <a:lnTo>
                    <a:pt x="72" y="186"/>
                  </a:lnTo>
                  <a:lnTo>
                    <a:pt x="66" y="204"/>
                  </a:lnTo>
                  <a:lnTo>
                    <a:pt x="60" y="210"/>
                  </a:lnTo>
                  <a:lnTo>
                    <a:pt x="54" y="222"/>
                  </a:lnTo>
                  <a:lnTo>
                    <a:pt x="66" y="252"/>
                  </a:lnTo>
                  <a:lnTo>
                    <a:pt x="96" y="276"/>
                  </a:lnTo>
                  <a:lnTo>
                    <a:pt x="96" y="306"/>
                  </a:lnTo>
                  <a:lnTo>
                    <a:pt x="114" y="348"/>
                  </a:lnTo>
                  <a:lnTo>
                    <a:pt x="108" y="378"/>
                  </a:lnTo>
                  <a:lnTo>
                    <a:pt x="132" y="414"/>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92" name="Bahrain" descr="© INSCALE GmbH, 05.05.2010&#10;http://www.presentationload.com/">
              <a:extLst>
                <a:ext uri="{FF2B5EF4-FFF2-40B4-BE49-F238E27FC236}">
                  <a16:creationId xmlns:a16="http://schemas.microsoft.com/office/drawing/2014/main" id="{DA3FCA0E-ED7C-4BDD-BD23-DF6481CB841C}"/>
                </a:ext>
              </a:extLst>
            </p:cNvPr>
            <p:cNvSpPr>
              <a:spLocks/>
            </p:cNvSpPr>
            <p:nvPr/>
          </p:nvSpPr>
          <p:spPr bwMode="gray">
            <a:xfrm>
              <a:off x="5526467" y="3404329"/>
              <a:ext cx="10976" cy="21952"/>
            </a:xfrm>
            <a:custGeom>
              <a:avLst/>
              <a:gdLst>
                <a:gd name="T0" fmla="*/ 2147483647 w 15"/>
                <a:gd name="T1" fmla="*/ 0 h 28"/>
                <a:gd name="T2" fmla="*/ 2147483647 w 15"/>
                <a:gd name="T3" fmla="*/ 2147483647 h 28"/>
                <a:gd name="T4" fmla="*/ 2147483647 w 15"/>
                <a:gd name="T5" fmla="*/ 2147483647 h 28"/>
                <a:gd name="T6" fmla="*/ 2033064304 w 15"/>
                <a:gd name="T7" fmla="*/ 2147483647 h 28"/>
                <a:gd name="T8" fmla="*/ 813445092 w 15"/>
                <a:gd name="T9" fmla="*/ 2147483647 h 28"/>
                <a:gd name="T10" fmla="*/ 2147483647 w 15"/>
                <a:gd name="T11" fmla="*/ 0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9" y="0"/>
                  </a:moveTo>
                  <a:cubicBezTo>
                    <a:pt x="14" y="0"/>
                    <a:pt x="15" y="10"/>
                    <a:pt x="14" y="14"/>
                  </a:cubicBezTo>
                  <a:cubicBezTo>
                    <a:pt x="13" y="18"/>
                    <a:pt x="15" y="28"/>
                    <a:pt x="9" y="28"/>
                  </a:cubicBezTo>
                  <a:cubicBezTo>
                    <a:pt x="4" y="27"/>
                    <a:pt x="5" y="21"/>
                    <a:pt x="5" y="18"/>
                  </a:cubicBezTo>
                  <a:cubicBezTo>
                    <a:pt x="5" y="14"/>
                    <a:pt x="0" y="14"/>
                    <a:pt x="2" y="8"/>
                  </a:cubicBezTo>
                  <a:close/>
                </a:path>
              </a:pathLst>
            </a:custGeom>
            <a:grpFill/>
            <a:ln w="9525">
              <a:solidFill>
                <a:schemeClr val="bg1"/>
              </a:solidFill>
              <a:round/>
              <a:headEnd/>
              <a:tailEnd/>
            </a:ln>
          </p:spPr>
          <p:txBody>
            <a:bodyPr/>
            <a:lstStyle/>
            <a:p>
              <a:endParaRPr lang="en-US" dirty="0"/>
            </a:p>
          </p:txBody>
        </p:sp>
        <p:sp>
          <p:nvSpPr>
            <p:cNvPr id="393" name="Äthiopien" descr="© INSCALE GmbH, 05.05.2010&#10;http://www.presentationload.com/">
              <a:extLst>
                <a:ext uri="{FF2B5EF4-FFF2-40B4-BE49-F238E27FC236}">
                  <a16:creationId xmlns:a16="http://schemas.microsoft.com/office/drawing/2014/main" id="{128894D6-A83C-406A-8C79-E8886B642F8B}"/>
                </a:ext>
              </a:extLst>
            </p:cNvPr>
            <p:cNvSpPr>
              <a:spLocks/>
            </p:cNvSpPr>
            <p:nvPr/>
          </p:nvSpPr>
          <p:spPr bwMode="gray">
            <a:xfrm>
              <a:off x="5062332" y="3775950"/>
              <a:ext cx="420230" cy="366918"/>
            </a:xfrm>
            <a:custGeom>
              <a:avLst/>
              <a:gdLst>
                <a:gd name="T0" fmla="*/ 2147483647 w 1056"/>
                <a:gd name="T1" fmla="*/ 2147483647 h 924"/>
                <a:gd name="T2" fmla="*/ 2147483647 w 1056"/>
                <a:gd name="T3" fmla="*/ 2147483647 h 924"/>
                <a:gd name="T4" fmla="*/ 2147483647 w 1056"/>
                <a:gd name="T5" fmla="*/ 2147483647 h 924"/>
                <a:gd name="T6" fmla="*/ 2147483647 w 1056"/>
                <a:gd name="T7" fmla="*/ 2147483647 h 924"/>
                <a:gd name="T8" fmla="*/ 2147483647 w 1056"/>
                <a:gd name="T9" fmla="*/ 2147483647 h 924"/>
                <a:gd name="T10" fmla="*/ 2147483647 w 1056"/>
                <a:gd name="T11" fmla="*/ 2147483647 h 924"/>
                <a:gd name="T12" fmla="*/ 2147483647 w 1056"/>
                <a:gd name="T13" fmla="*/ 2147483647 h 924"/>
                <a:gd name="T14" fmla="*/ 2147483647 w 1056"/>
                <a:gd name="T15" fmla="*/ 2147483647 h 924"/>
                <a:gd name="T16" fmla="*/ 2147483647 w 1056"/>
                <a:gd name="T17" fmla="*/ 2147483647 h 924"/>
                <a:gd name="T18" fmla="*/ 2147483647 w 1056"/>
                <a:gd name="T19" fmla="*/ 2147483647 h 924"/>
                <a:gd name="T20" fmla="*/ 2147483647 w 1056"/>
                <a:gd name="T21" fmla="*/ 2147483647 h 924"/>
                <a:gd name="T22" fmla="*/ 2147483647 w 1056"/>
                <a:gd name="T23" fmla="*/ 2147483647 h 924"/>
                <a:gd name="T24" fmla="*/ 2147483647 w 1056"/>
                <a:gd name="T25" fmla="*/ 2147483647 h 924"/>
                <a:gd name="T26" fmla="*/ 2147483647 w 1056"/>
                <a:gd name="T27" fmla="*/ 2147483647 h 924"/>
                <a:gd name="T28" fmla="*/ 2147483647 w 1056"/>
                <a:gd name="T29" fmla="*/ 2147483647 h 924"/>
                <a:gd name="T30" fmla="*/ 2147483647 w 1056"/>
                <a:gd name="T31" fmla="*/ 2147483647 h 924"/>
                <a:gd name="T32" fmla="*/ 2147483647 w 1056"/>
                <a:gd name="T33" fmla="*/ 2147483647 h 924"/>
                <a:gd name="T34" fmla="*/ 2147483647 w 1056"/>
                <a:gd name="T35" fmla="*/ 2147483647 h 924"/>
                <a:gd name="T36" fmla="*/ 2147483647 w 1056"/>
                <a:gd name="T37" fmla="*/ 2147483647 h 924"/>
                <a:gd name="T38" fmla="*/ 2147483647 w 1056"/>
                <a:gd name="T39" fmla="*/ 2147483647 h 924"/>
                <a:gd name="T40" fmla="*/ 2147483647 w 1056"/>
                <a:gd name="T41" fmla="*/ 2147483647 h 924"/>
                <a:gd name="T42" fmla="*/ 2147483647 w 1056"/>
                <a:gd name="T43" fmla="*/ 2147483647 h 924"/>
                <a:gd name="T44" fmla="*/ 2147483647 w 1056"/>
                <a:gd name="T45" fmla="*/ 2147483647 h 924"/>
                <a:gd name="T46" fmla="*/ 2147483647 w 1056"/>
                <a:gd name="T47" fmla="*/ 2147483647 h 924"/>
                <a:gd name="T48" fmla="*/ 2147483647 w 1056"/>
                <a:gd name="T49" fmla="*/ 2147483647 h 924"/>
                <a:gd name="T50" fmla="*/ 2147483647 w 1056"/>
                <a:gd name="T51" fmla="*/ 2147483647 h 924"/>
                <a:gd name="T52" fmla="*/ 2147483647 w 1056"/>
                <a:gd name="T53" fmla="*/ 2147483647 h 924"/>
                <a:gd name="T54" fmla="*/ 2147483647 w 1056"/>
                <a:gd name="T55" fmla="*/ 2147483647 h 924"/>
                <a:gd name="T56" fmla="*/ 2147483647 w 1056"/>
                <a:gd name="T57" fmla="*/ 2147483647 h 924"/>
                <a:gd name="T58" fmla="*/ 2147483647 w 1056"/>
                <a:gd name="T59" fmla="*/ 2147483647 h 924"/>
                <a:gd name="T60" fmla="*/ 2147483647 w 1056"/>
                <a:gd name="T61" fmla="*/ 2147483647 h 924"/>
                <a:gd name="T62" fmla="*/ 2147483647 w 1056"/>
                <a:gd name="T63" fmla="*/ 2147483647 h 924"/>
                <a:gd name="T64" fmla="*/ 2147483647 w 1056"/>
                <a:gd name="T65" fmla="*/ 2147483647 h 924"/>
                <a:gd name="T66" fmla="*/ 2147483647 w 1056"/>
                <a:gd name="T67" fmla="*/ 2147483647 h 924"/>
                <a:gd name="T68" fmla="*/ 2147483647 w 1056"/>
                <a:gd name="T69" fmla="*/ 2147483647 h 924"/>
                <a:gd name="T70" fmla="*/ 2147483647 w 1056"/>
                <a:gd name="T71" fmla="*/ 2147483647 h 924"/>
                <a:gd name="T72" fmla="*/ 2147483647 w 1056"/>
                <a:gd name="T73" fmla="*/ 0 h 924"/>
                <a:gd name="T74" fmla="*/ 2147483647 w 1056"/>
                <a:gd name="T75" fmla="*/ 2147483647 h 924"/>
                <a:gd name="T76" fmla="*/ 2147483647 w 1056"/>
                <a:gd name="T77" fmla="*/ 2147483647 h 924"/>
                <a:gd name="T78" fmla="*/ 2147483647 w 1056"/>
                <a:gd name="T79" fmla="*/ 2147483647 h 924"/>
                <a:gd name="T80" fmla="*/ 2147483647 w 1056"/>
                <a:gd name="T81" fmla="*/ 2147483647 h 924"/>
                <a:gd name="T82" fmla="*/ 2147483647 w 1056"/>
                <a:gd name="T83" fmla="*/ 2147483647 h 924"/>
                <a:gd name="T84" fmla="*/ 2147483647 w 1056"/>
                <a:gd name="T85" fmla="*/ 2147483647 h 924"/>
                <a:gd name="T86" fmla="*/ 2147483647 w 1056"/>
                <a:gd name="T87" fmla="*/ 2147483647 h 924"/>
                <a:gd name="T88" fmla="*/ 2147483647 w 1056"/>
                <a:gd name="T89" fmla="*/ 2147483647 h 924"/>
                <a:gd name="T90" fmla="*/ 2147483647 w 1056"/>
                <a:gd name="T91" fmla="*/ 2147483647 h 924"/>
                <a:gd name="T92" fmla="*/ 2147483647 w 1056"/>
                <a:gd name="T93" fmla="*/ 2147483647 h 924"/>
                <a:gd name="T94" fmla="*/ 2147483647 w 1056"/>
                <a:gd name="T95" fmla="*/ 2147483647 h 924"/>
                <a:gd name="T96" fmla="*/ 2147483647 w 1056"/>
                <a:gd name="T97" fmla="*/ 2147483647 h 924"/>
                <a:gd name="T98" fmla="*/ 2147483647 w 1056"/>
                <a:gd name="T99" fmla="*/ 2147483647 h 924"/>
                <a:gd name="T100" fmla="*/ 2147483647 w 1056"/>
                <a:gd name="T101" fmla="*/ 2147483647 h 924"/>
                <a:gd name="T102" fmla="*/ 2147483647 w 1056"/>
                <a:gd name="T103" fmla="*/ 2147483647 h 924"/>
                <a:gd name="T104" fmla="*/ 2147483647 w 1056"/>
                <a:gd name="T105" fmla="*/ 2147483647 h 924"/>
                <a:gd name="T106" fmla="*/ 2147483647 w 1056"/>
                <a:gd name="T107" fmla="*/ 2147483647 h 924"/>
                <a:gd name="T108" fmla="*/ 2147483647 w 1056"/>
                <a:gd name="T109" fmla="*/ 2147483647 h 924"/>
                <a:gd name="T110" fmla="*/ 2147483647 w 1056"/>
                <a:gd name="T111" fmla="*/ 2147483647 h 924"/>
                <a:gd name="T112" fmla="*/ 2147483647 w 1056"/>
                <a:gd name="T113" fmla="*/ 2147483647 h 924"/>
                <a:gd name="T114" fmla="*/ 2147483647 w 1056"/>
                <a:gd name="T115" fmla="*/ 2147483647 h 924"/>
                <a:gd name="T116" fmla="*/ 2147483647 w 1056"/>
                <a:gd name="T117" fmla="*/ 2147483647 h 9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56"/>
                <a:gd name="T178" fmla="*/ 0 h 924"/>
                <a:gd name="T179" fmla="*/ 1056 w 1056"/>
                <a:gd name="T180" fmla="*/ 924 h 9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56" h="924">
                  <a:moveTo>
                    <a:pt x="84" y="642"/>
                  </a:moveTo>
                  <a:lnTo>
                    <a:pt x="108" y="642"/>
                  </a:lnTo>
                  <a:lnTo>
                    <a:pt x="114" y="666"/>
                  </a:lnTo>
                  <a:lnTo>
                    <a:pt x="126" y="666"/>
                  </a:lnTo>
                  <a:lnTo>
                    <a:pt x="126" y="702"/>
                  </a:lnTo>
                  <a:lnTo>
                    <a:pt x="138" y="708"/>
                  </a:lnTo>
                  <a:lnTo>
                    <a:pt x="138" y="726"/>
                  </a:lnTo>
                  <a:lnTo>
                    <a:pt x="156" y="762"/>
                  </a:lnTo>
                  <a:lnTo>
                    <a:pt x="168" y="768"/>
                  </a:lnTo>
                  <a:lnTo>
                    <a:pt x="186" y="768"/>
                  </a:lnTo>
                  <a:lnTo>
                    <a:pt x="192" y="774"/>
                  </a:lnTo>
                  <a:lnTo>
                    <a:pt x="198" y="786"/>
                  </a:lnTo>
                  <a:lnTo>
                    <a:pt x="198" y="804"/>
                  </a:lnTo>
                  <a:lnTo>
                    <a:pt x="210" y="840"/>
                  </a:lnTo>
                  <a:lnTo>
                    <a:pt x="282" y="846"/>
                  </a:lnTo>
                  <a:lnTo>
                    <a:pt x="360" y="906"/>
                  </a:lnTo>
                  <a:lnTo>
                    <a:pt x="390" y="906"/>
                  </a:lnTo>
                  <a:lnTo>
                    <a:pt x="402" y="912"/>
                  </a:lnTo>
                  <a:lnTo>
                    <a:pt x="432" y="912"/>
                  </a:lnTo>
                  <a:lnTo>
                    <a:pt x="444" y="918"/>
                  </a:lnTo>
                  <a:lnTo>
                    <a:pt x="450" y="918"/>
                  </a:lnTo>
                  <a:lnTo>
                    <a:pt x="462" y="924"/>
                  </a:lnTo>
                  <a:lnTo>
                    <a:pt x="486" y="906"/>
                  </a:lnTo>
                  <a:lnTo>
                    <a:pt x="486" y="894"/>
                  </a:lnTo>
                  <a:lnTo>
                    <a:pt x="498" y="882"/>
                  </a:lnTo>
                  <a:lnTo>
                    <a:pt x="510" y="882"/>
                  </a:lnTo>
                  <a:lnTo>
                    <a:pt x="522" y="876"/>
                  </a:lnTo>
                  <a:lnTo>
                    <a:pt x="528" y="870"/>
                  </a:lnTo>
                  <a:lnTo>
                    <a:pt x="534" y="870"/>
                  </a:lnTo>
                  <a:lnTo>
                    <a:pt x="552" y="852"/>
                  </a:lnTo>
                  <a:lnTo>
                    <a:pt x="576" y="882"/>
                  </a:lnTo>
                  <a:lnTo>
                    <a:pt x="606" y="882"/>
                  </a:lnTo>
                  <a:lnTo>
                    <a:pt x="612" y="876"/>
                  </a:lnTo>
                  <a:lnTo>
                    <a:pt x="636" y="882"/>
                  </a:lnTo>
                  <a:lnTo>
                    <a:pt x="636" y="876"/>
                  </a:lnTo>
                  <a:lnTo>
                    <a:pt x="648" y="864"/>
                  </a:lnTo>
                  <a:lnTo>
                    <a:pt x="660" y="864"/>
                  </a:lnTo>
                  <a:lnTo>
                    <a:pt x="672" y="858"/>
                  </a:lnTo>
                  <a:lnTo>
                    <a:pt x="696" y="858"/>
                  </a:lnTo>
                  <a:lnTo>
                    <a:pt x="714" y="840"/>
                  </a:lnTo>
                  <a:lnTo>
                    <a:pt x="714" y="828"/>
                  </a:lnTo>
                  <a:lnTo>
                    <a:pt x="726" y="822"/>
                  </a:lnTo>
                  <a:lnTo>
                    <a:pt x="732" y="816"/>
                  </a:lnTo>
                  <a:lnTo>
                    <a:pt x="744" y="810"/>
                  </a:lnTo>
                  <a:lnTo>
                    <a:pt x="756" y="810"/>
                  </a:lnTo>
                  <a:lnTo>
                    <a:pt x="762" y="804"/>
                  </a:lnTo>
                  <a:lnTo>
                    <a:pt x="846" y="804"/>
                  </a:lnTo>
                  <a:lnTo>
                    <a:pt x="1056" y="558"/>
                  </a:lnTo>
                  <a:lnTo>
                    <a:pt x="984" y="564"/>
                  </a:lnTo>
                  <a:lnTo>
                    <a:pt x="948" y="546"/>
                  </a:lnTo>
                  <a:lnTo>
                    <a:pt x="936" y="534"/>
                  </a:lnTo>
                  <a:lnTo>
                    <a:pt x="918" y="528"/>
                  </a:lnTo>
                  <a:lnTo>
                    <a:pt x="906" y="522"/>
                  </a:lnTo>
                  <a:lnTo>
                    <a:pt x="882" y="516"/>
                  </a:lnTo>
                  <a:lnTo>
                    <a:pt x="810" y="492"/>
                  </a:lnTo>
                  <a:lnTo>
                    <a:pt x="774" y="474"/>
                  </a:lnTo>
                  <a:lnTo>
                    <a:pt x="768" y="462"/>
                  </a:lnTo>
                  <a:lnTo>
                    <a:pt x="762" y="456"/>
                  </a:lnTo>
                  <a:lnTo>
                    <a:pt x="756" y="444"/>
                  </a:lnTo>
                  <a:lnTo>
                    <a:pt x="732" y="444"/>
                  </a:lnTo>
                  <a:lnTo>
                    <a:pt x="732" y="438"/>
                  </a:lnTo>
                  <a:lnTo>
                    <a:pt x="726" y="432"/>
                  </a:lnTo>
                  <a:lnTo>
                    <a:pt x="714" y="408"/>
                  </a:lnTo>
                  <a:lnTo>
                    <a:pt x="708" y="402"/>
                  </a:lnTo>
                  <a:lnTo>
                    <a:pt x="702" y="390"/>
                  </a:lnTo>
                  <a:lnTo>
                    <a:pt x="696" y="384"/>
                  </a:lnTo>
                  <a:lnTo>
                    <a:pt x="690" y="372"/>
                  </a:lnTo>
                  <a:lnTo>
                    <a:pt x="690" y="360"/>
                  </a:lnTo>
                  <a:lnTo>
                    <a:pt x="678" y="348"/>
                  </a:lnTo>
                  <a:lnTo>
                    <a:pt x="696" y="318"/>
                  </a:lnTo>
                  <a:lnTo>
                    <a:pt x="690" y="312"/>
                  </a:lnTo>
                  <a:lnTo>
                    <a:pt x="678" y="306"/>
                  </a:lnTo>
                  <a:lnTo>
                    <a:pt x="666" y="306"/>
                  </a:lnTo>
                  <a:lnTo>
                    <a:pt x="660" y="312"/>
                  </a:lnTo>
                  <a:lnTo>
                    <a:pt x="654" y="312"/>
                  </a:lnTo>
                  <a:lnTo>
                    <a:pt x="648" y="318"/>
                  </a:lnTo>
                  <a:lnTo>
                    <a:pt x="624" y="318"/>
                  </a:lnTo>
                  <a:lnTo>
                    <a:pt x="612" y="306"/>
                  </a:lnTo>
                  <a:lnTo>
                    <a:pt x="612" y="294"/>
                  </a:lnTo>
                  <a:lnTo>
                    <a:pt x="606" y="276"/>
                  </a:lnTo>
                  <a:lnTo>
                    <a:pt x="606" y="264"/>
                  </a:lnTo>
                  <a:lnTo>
                    <a:pt x="624" y="246"/>
                  </a:lnTo>
                  <a:lnTo>
                    <a:pt x="654" y="192"/>
                  </a:lnTo>
                  <a:lnTo>
                    <a:pt x="642" y="174"/>
                  </a:lnTo>
                  <a:lnTo>
                    <a:pt x="630" y="174"/>
                  </a:lnTo>
                  <a:lnTo>
                    <a:pt x="618" y="168"/>
                  </a:lnTo>
                  <a:lnTo>
                    <a:pt x="612" y="162"/>
                  </a:lnTo>
                  <a:lnTo>
                    <a:pt x="612" y="138"/>
                  </a:lnTo>
                  <a:lnTo>
                    <a:pt x="600" y="126"/>
                  </a:lnTo>
                  <a:lnTo>
                    <a:pt x="576" y="114"/>
                  </a:lnTo>
                  <a:lnTo>
                    <a:pt x="570" y="108"/>
                  </a:lnTo>
                  <a:lnTo>
                    <a:pt x="546" y="72"/>
                  </a:lnTo>
                  <a:lnTo>
                    <a:pt x="534" y="66"/>
                  </a:lnTo>
                  <a:lnTo>
                    <a:pt x="528" y="60"/>
                  </a:lnTo>
                  <a:lnTo>
                    <a:pt x="516" y="60"/>
                  </a:lnTo>
                  <a:lnTo>
                    <a:pt x="498" y="36"/>
                  </a:lnTo>
                  <a:lnTo>
                    <a:pt x="468" y="36"/>
                  </a:lnTo>
                  <a:lnTo>
                    <a:pt x="462" y="30"/>
                  </a:lnTo>
                  <a:lnTo>
                    <a:pt x="444" y="30"/>
                  </a:lnTo>
                  <a:lnTo>
                    <a:pt x="432" y="36"/>
                  </a:lnTo>
                  <a:lnTo>
                    <a:pt x="420" y="36"/>
                  </a:lnTo>
                  <a:lnTo>
                    <a:pt x="420" y="24"/>
                  </a:lnTo>
                  <a:lnTo>
                    <a:pt x="414" y="18"/>
                  </a:lnTo>
                  <a:lnTo>
                    <a:pt x="408" y="24"/>
                  </a:lnTo>
                  <a:lnTo>
                    <a:pt x="402" y="36"/>
                  </a:lnTo>
                  <a:lnTo>
                    <a:pt x="372" y="36"/>
                  </a:lnTo>
                  <a:lnTo>
                    <a:pt x="366" y="24"/>
                  </a:lnTo>
                  <a:lnTo>
                    <a:pt x="360" y="18"/>
                  </a:lnTo>
                  <a:lnTo>
                    <a:pt x="354" y="18"/>
                  </a:lnTo>
                  <a:lnTo>
                    <a:pt x="342" y="6"/>
                  </a:lnTo>
                  <a:lnTo>
                    <a:pt x="330" y="0"/>
                  </a:lnTo>
                  <a:lnTo>
                    <a:pt x="330" y="12"/>
                  </a:lnTo>
                  <a:lnTo>
                    <a:pt x="324" y="24"/>
                  </a:lnTo>
                  <a:lnTo>
                    <a:pt x="318" y="42"/>
                  </a:lnTo>
                  <a:lnTo>
                    <a:pt x="318" y="54"/>
                  </a:lnTo>
                  <a:lnTo>
                    <a:pt x="306" y="66"/>
                  </a:lnTo>
                  <a:lnTo>
                    <a:pt x="288" y="48"/>
                  </a:lnTo>
                  <a:lnTo>
                    <a:pt x="288" y="42"/>
                  </a:lnTo>
                  <a:lnTo>
                    <a:pt x="282" y="36"/>
                  </a:lnTo>
                  <a:lnTo>
                    <a:pt x="276" y="36"/>
                  </a:lnTo>
                  <a:lnTo>
                    <a:pt x="276" y="42"/>
                  </a:lnTo>
                  <a:lnTo>
                    <a:pt x="270" y="48"/>
                  </a:lnTo>
                  <a:lnTo>
                    <a:pt x="234" y="48"/>
                  </a:lnTo>
                  <a:lnTo>
                    <a:pt x="234" y="90"/>
                  </a:lnTo>
                  <a:lnTo>
                    <a:pt x="228" y="96"/>
                  </a:lnTo>
                  <a:lnTo>
                    <a:pt x="222" y="108"/>
                  </a:lnTo>
                  <a:lnTo>
                    <a:pt x="216" y="114"/>
                  </a:lnTo>
                  <a:lnTo>
                    <a:pt x="210" y="126"/>
                  </a:lnTo>
                  <a:lnTo>
                    <a:pt x="210" y="174"/>
                  </a:lnTo>
                  <a:lnTo>
                    <a:pt x="180" y="174"/>
                  </a:lnTo>
                  <a:lnTo>
                    <a:pt x="174" y="180"/>
                  </a:lnTo>
                  <a:lnTo>
                    <a:pt x="168" y="192"/>
                  </a:lnTo>
                  <a:lnTo>
                    <a:pt x="162" y="198"/>
                  </a:lnTo>
                  <a:lnTo>
                    <a:pt x="162" y="234"/>
                  </a:lnTo>
                  <a:lnTo>
                    <a:pt x="156" y="240"/>
                  </a:lnTo>
                  <a:lnTo>
                    <a:pt x="144" y="240"/>
                  </a:lnTo>
                  <a:lnTo>
                    <a:pt x="138" y="246"/>
                  </a:lnTo>
                  <a:lnTo>
                    <a:pt x="138" y="270"/>
                  </a:lnTo>
                  <a:lnTo>
                    <a:pt x="126" y="288"/>
                  </a:lnTo>
                  <a:lnTo>
                    <a:pt x="126" y="294"/>
                  </a:lnTo>
                  <a:lnTo>
                    <a:pt x="132" y="300"/>
                  </a:lnTo>
                  <a:lnTo>
                    <a:pt x="132" y="336"/>
                  </a:lnTo>
                  <a:lnTo>
                    <a:pt x="126" y="342"/>
                  </a:lnTo>
                  <a:lnTo>
                    <a:pt x="114" y="342"/>
                  </a:lnTo>
                  <a:lnTo>
                    <a:pt x="108" y="336"/>
                  </a:lnTo>
                  <a:lnTo>
                    <a:pt x="108" y="324"/>
                  </a:lnTo>
                  <a:lnTo>
                    <a:pt x="102" y="324"/>
                  </a:lnTo>
                  <a:lnTo>
                    <a:pt x="84" y="342"/>
                  </a:lnTo>
                  <a:lnTo>
                    <a:pt x="84" y="360"/>
                  </a:lnTo>
                  <a:lnTo>
                    <a:pt x="90" y="372"/>
                  </a:lnTo>
                  <a:lnTo>
                    <a:pt x="90" y="390"/>
                  </a:lnTo>
                  <a:lnTo>
                    <a:pt x="84" y="396"/>
                  </a:lnTo>
                  <a:lnTo>
                    <a:pt x="72" y="402"/>
                  </a:lnTo>
                  <a:lnTo>
                    <a:pt x="66" y="414"/>
                  </a:lnTo>
                  <a:lnTo>
                    <a:pt x="66" y="426"/>
                  </a:lnTo>
                  <a:lnTo>
                    <a:pt x="72" y="438"/>
                  </a:lnTo>
                  <a:lnTo>
                    <a:pt x="72" y="450"/>
                  </a:lnTo>
                  <a:lnTo>
                    <a:pt x="78" y="456"/>
                  </a:lnTo>
                  <a:lnTo>
                    <a:pt x="78" y="492"/>
                  </a:lnTo>
                  <a:lnTo>
                    <a:pt x="72" y="504"/>
                  </a:lnTo>
                  <a:lnTo>
                    <a:pt x="72" y="516"/>
                  </a:lnTo>
                  <a:lnTo>
                    <a:pt x="66" y="522"/>
                  </a:lnTo>
                  <a:lnTo>
                    <a:pt x="54" y="522"/>
                  </a:lnTo>
                  <a:lnTo>
                    <a:pt x="48" y="528"/>
                  </a:lnTo>
                  <a:lnTo>
                    <a:pt x="42" y="522"/>
                  </a:lnTo>
                  <a:lnTo>
                    <a:pt x="6" y="522"/>
                  </a:lnTo>
                  <a:lnTo>
                    <a:pt x="12" y="546"/>
                  </a:lnTo>
                  <a:lnTo>
                    <a:pt x="6" y="552"/>
                  </a:lnTo>
                  <a:lnTo>
                    <a:pt x="0" y="564"/>
                  </a:lnTo>
                  <a:lnTo>
                    <a:pt x="0" y="576"/>
                  </a:lnTo>
                  <a:lnTo>
                    <a:pt x="6" y="576"/>
                  </a:lnTo>
                  <a:lnTo>
                    <a:pt x="18" y="582"/>
                  </a:lnTo>
                  <a:lnTo>
                    <a:pt x="42" y="582"/>
                  </a:lnTo>
                  <a:lnTo>
                    <a:pt x="48" y="588"/>
                  </a:lnTo>
                  <a:lnTo>
                    <a:pt x="60" y="594"/>
                  </a:lnTo>
                  <a:lnTo>
                    <a:pt x="66" y="606"/>
                  </a:lnTo>
                  <a:lnTo>
                    <a:pt x="78" y="612"/>
                  </a:lnTo>
                  <a:lnTo>
                    <a:pt x="78" y="630"/>
                  </a:lnTo>
                  <a:lnTo>
                    <a:pt x="84" y="642"/>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94" name="Ägypten" descr="© INSCALE GmbH, 05.05.2010&#10;http://www.presentationload.com/">
              <a:extLst>
                <a:ext uri="{FF2B5EF4-FFF2-40B4-BE49-F238E27FC236}">
                  <a16:creationId xmlns:a16="http://schemas.microsoft.com/office/drawing/2014/main" id="{715FABFC-78D3-4304-AE3B-94F1E5281BA3}"/>
                </a:ext>
              </a:extLst>
            </p:cNvPr>
            <p:cNvSpPr>
              <a:spLocks/>
            </p:cNvSpPr>
            <p:nvPr/>
          </p:nvSpPr>
          <p:spPr bwMode="gray">
            <a:xfrm>
              <a:off x="4809881" y="3238119"/>
              <a:ext cx="313605" cy="319877"/>
            </a:xfrm>
            <a:custGeom>
              <a:avLst/>
              <a:gdLst>
                <a:gd name="T0" fmla="*/ 2147483647 w 792"/>
                <a:gd name="T1" fmla="*/ 2147483647 h 804"/>
                <a:gd name="T2" fmla="*/ 2147483647 w 792"/>
                <a:gd name="T3" fmla="*/ 2147483647 h 804"/>
                <a:gd name="T4" fmla="*/ 2147483647 w 792"/>
                <a:gd name="T5" fmla="*/ 2147483647 h 804"/>
                <a:gd name="T6" fmla="*/ 2147483647 w 792"/>
                <a:gd name="T7" fmla="*/ 2147483647 h 804"/>
                <a:gd name="T8" fmla="*/ 2147483647 w 792"/>
                <a:gd name="T9" fmla="*/ 2147483647 h 804"/>
                <a:gd name="T10" fmla="*/ 2147483647 w 792"/>
                <a:gd name="T11" fmla="*/ 2147483647 h 804"/>
                <a:gd name="T12" fmla="*/ 2147483647 w 792"/>
                <a:gd name="T13" fmla="*/ 2147483647 h 804"/>
                <a:gd name="T14" fmla="*/ 2147483647 w 792"/>
                <a:gd name="T15" fmla="*/ 2147483647 h 804"/>
                <a:gd name="T16" fmla="*/ 2147483647 w 792"/>
                <a:gd name="T17" fmla="*/ 2147483647 h 804"/>
                <a:gd name="T18" fmla="*/ 2147483647 w 792"/>
                <a:gd name="T19" fmla="*/ 2147483647 h 804"/>
                <a:gd name="T20" fmla="*/ 2147483647 w 792"/>
                <a:gd name="T21" fmla="*/ 2147483647 h 804"/>
                <a:gd name="T22" fmla="*/ 2147483647 w 792"/>
                <a:gd name="T23" fmla="*/ 2147483647 h 804"/>
                <a:gd name="T24" fmla="*/ 2147483647 w 792"/>
                <a:gd name="T25" fmla="*/ 2147483647 h 804"/>
                <a:gd name="T26" fmla="*/ 2147483647 w 792"/>
                <a:gd name="T27" fmla="*/ 2147483647 h 804"/>
                <a:gd name="T28" fmla="*/ 2147483647 w 792"/>
                <a:gd name="T29" fmla="*/ 2147483647 h 804"/>
                <a:gd name="T30" fmla="*/ 2147483647 w 792"/>
                <a:gd name="T31" fmla="*/ 2147483647 h 804"/>
                <a:gd name="T32" fmla="*/ 2147483647 w 792"/>
                <a:gd name="T33" fmla="*/ 2147483647 h 804"/>
                <a:gd name="T34" fmla="*/ 2147483647 w 792"/>
                <a:gd name="T35" fmla="*/ 2147483647 h 804"/>
                <a:gd name="T36" fmla="*/ 2147483647 w 792"/>
                <a:gd name="T37" fmla="*/ 2147483647 h 804"/>
                <a:gd name="T38" fmla="*/ 2147483647 w 792"/>
                <a:gd name="T39" fmla="*/ 2147483647 h 804"/>
                <a:gd name="T40" fmla="*/ 2147483647 w 792"/>
                <a:gd name="T41" fmla="*/ 2147483647 h 804"/>
                <a:gd name="T42" fmla="*/ 2147483647 w 792"/>
                <a:gd name="T43" fmla="*/ 2147483647 h 804"/>
                <a:gd name="T44" fmla="*/ 2147483647 w 792"/>
                <a:gd name="T45" fmla="*/ 2147483647 h 804"/>
                <a:gd name="T46" fmla="*/ 2147483647 w 792"/>
                <a:gd name="T47" fmla="*/ 2147483647 h 804"/>
                <a:gd name="T48" fmla="*/ 2147483647 w 792"/>
                <a:gd name="T49" fmla="*/ 2147483647 h 804"/>
                <a:gd name="T50" fmla="*/ 2147483647 w 792"/>
                <a:gd name="T51" fmla="*/ 2147483647 h 804"/>
                <a:gd name="T52" fmla="*/ 2147483647 w 792"/>
                <a:gd name="T53" fmla="*/ 2147483647 h 804"/>
                <a:gd name="T54" fmla="*/ 2147483647 w 792"/>
                <a:gd name="T55" fmla="*/ 2147483647 h 804"/>
                <a:gd name="T56" fmla="*/ 2147483647 w 792"/>
                <a:gd name="T57" fmla="*/ 2147483647 h 804"/>
                <a:gd name="T58" fmla="*/ 2147483647 w 792"/>
                <a:gd name="T59" fmla="*/ 2147483647 h 804"/>
                <a:gd name="T60" fmla="*/ 2147483647 w 792"/>
                <a:gd name="T61" fmla="*/ 2147483647 h 804"/>
                <a:gd name="T62" fmla="*/ 2147483647 w 792"/>
                <a:gd name="T63" fmla="*/ 2147483647 h 804"/>
                <a:gd name="T64" fmla="*/ 2147483647 w 792"/>
                <a:gd name="T65" fmla="*/ 2147483647 h 804"/>
                <a:gd name="T66" fmla="*/ 2147483647 w 792"/>
                <a:gd name="T67" fmla="*/ 2147483647 h 804"/>
                <a:gd name="T68" fmla="*/ 2147483647 w 792"/>
                <a:gd name="T69" fmla="*/ 2147483647 h 804"/>
                <a:gd name="T70" fmla="*/ 2147483647 w 792"/>
                <a:gd name="T71" fmla="*/ 2147483647 h 804"/>
                <a:gd name="T72" fmla="*/ 2147483647 w 792"/>
                <a:gd name="T73" fmla="*/ 2147483647 h 804"/>
                <a:gd name="T74" fmla="*/ 2147483647 w 792"/>
                <a:gd name="T75" fmla="*/ 2147483647 h 804"/>
                <a:gd name="T76" fmla="*/ 2147483647 w 792"/>
                <a:gd name="T77" fmla="*/ 2147483647 h 804"/>
                <a:gd name="T78" fmla="*/ 2147483647 w 792"/>
                <a:gd name="T79" fmla="*/ 2147483647 h 804"/>
                <a:gd name="T80" fmla="*/ 2147483647 w 792"/>
                <a:gd name="T81" fmla="*/ 2147483647 h 804"/>
                <a:gd name="T82" fmla="*/ 2147483647 w 792"/>
                <a:gd name="T83" fmla="*/ 2147483647 h 804"/>
                <a:gd name="T84" fmla="*/ 2147483647 w 792"/>
                <a:gd name="T85" fmla="*/ 2147483647 h 804"/>
                <a:gd name="T86" fmla="*/ 2147483647 w 792"/>
                <a:gd name="T87" fmla="*/ 2147483647 h 804"/>
                <a:gd name="T88" fmla="*/ 2147483647 w 792"/>
                <a:gd name="T89" fmla="*/ 2147483647 h 804"/>
                <a:gd name="T90" fmla="*/ 2147483647 w 792"/>
                <a:gd name="T91" fmla="*/ 0 h 804"/>
                <a:gd name="T92" fmla="*/ 2147483647 w 792"/>
                <a:gd name="T93" fmla="*/ 2147483647 h 804"/>
                <a:gd name="T94" fmla="*/ 2147483647 w 792"/>
                <a:gd name="T95" fmla="*/ 0 h 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2"/>
                <a:gd name="T145" fmla="*/ 0 h 804"/>
                <a:gd name="T146" fmla="*/ 792 w 792"/>
                <a:gd name="T147" fmla="*/ 804 h 8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92" h="804">
                  <a:moveTo>
                    <a:pt x="12" y="18"/>
                  </a:moveTo>
                  <a:lnTo>
                    <a:pt x="6" y="24"/>
                  </a:lnTo>
                  <a:lnTo>
                    <a:pt x="6" y="54"/>
                  </a:lnTo>
                  <a:lnTo>
                    <a:pt x="18" y="60"/>
                  </a:lnTo>
                  <a:lnTo>
                    <a:pt x="24" y="72"/>
                  </a:lnTo>
                  <a:lnTo>
                    <a:pt x="24" y="78"/>
                  </a:lnTo>
                  <a:lnTo>
                    <a:pt x="18" y="84"/>
                  </a:lnTo>
                  <a:lnTo>
                    <a:pt x="12" y="96"/>
                  </a:lnTo>
                  <a:lnTo>
                    <a:pt x="6" y="102"/>
                  </a:lnTo>
                  <a:lnTo>
                    <a:pt x="0" y="114"/>
                  </a:lnTo>
                  <a:lnTo>
                    <a:pt x="0" y="120"/>
                  </a:lnTo>
                  <a:lnTo>
                    <a:pt x="6" y="132"/>
                  </a:lnTo>
                  <a:lnTo>
                    <a:pt x="18" y="144"/>
                  </a:lnTo>
                  <a:lnTo>
                    <a:pt x="30" y="180"/>
                  </a:lnTo>
                  <a:lnTo>
                    <a:pt x="30" y="264"/>
                  </a:lnTo>
                  <a:lnTo>
                    <a:pt x="36" y="342"/>
                  </a:lnTo>
                  <a:lnTo>
                    <a:pt x="36" y="438"/>
                  </a:lnTo>
                  <a:lnTo>
                    <a:pt x="42" y="534"/>
                  </a:lnTo>
                  <a:lnTo>
                    <a:pt x="42" y="624"/>
                  </a:lnTo>
                  <a:lnTo>
                    <a:pt x="48" y="702"/>
                  </a:lnTo>
                  <a:lnTo>
                    <a:pt x="48" y="774"/>
                  </a:lnTo>
                  <a:lnTo>
                    <a:pt x="474" y="780"/>
                  </a:lnTo>
                  <a:lnTo>
                    <a:pt x="492" y="762"/>
                  </a:lnTo>
                  <a:lnTo>
                    <a:pt x="498" y="762"/>
                  </a:lnTo>
                  <a:lnTo>
                    <a:pt x="498" y="774"/>
                  </a:lnTo>
                  <a:lnTo>
                    <a:pt x="618" y="780"/>
                  </a:lnTo>
                  <a:lnTo>
                    <a:pt x="624" y="786"/>
                  </a:lnTo>
                  <a:lnTo>
                    <a:pt x="630" y="798"/>
                  </a:lnTo>
                  <a:lnTo>
                    <a:pt x="636" y="804"/>
                  </a:lnTo>
                  <a:lnTo>
                    <a:pt x="654" y="804"/>
                  </a:lnTo>
                  <a:lnTo>
                    <a:pt x="660" y="798"/>
                  </a:lnTo>
                  <a:lnTo>
                    <a:pt x="672" y="774"/>
                  </a:lnTo>
                  <a:lnTo>
                    <a:pt x="684" y="762"/>
                  </a:lnTo>
                  <a:lnTo>
                    <a:pt x="696" y="762"/>
                  </a:lnTo>
                  <a:lnTo>
                    <a:pt x="702" y="756"/>
                  </a:lnTo>
                  <a:lnTo>
                    <a:pt x="720" y="756"/>
                  </a:lnTo>
                  <a:lnTo>
                    <a:pt x="726" y="750"/>
                  </a:lnTo>
                  <a:lnTo>
                    <a:pt x="732" y="738"/>
                  </a:lnTo>
                  <a:lnTo>
                    <a:pt x="732" y="714"/>
                  </a:lnTo>
                  <a:lnTo>
                    <a:pt x="762" y="714"/>
                  </a:lnTo>
                  <a:lnTo>
                    <a:pt x="786" y="690"/>
                  </a:lnTo>
                  <a:lnTo>
                    <a:pt x="780" y="684"/>
                  </a:lnTo>
                  <a:lnTo>
                    <a:pt x="774" y="672"/>
                  </a:lnTo>
                  <a:lnTo>
                    <a:pt x="774" y="624"/>
                  </a:lnTo>
                  <a:lnTo>
                    <a:pt x="792" y="618"/>
                  </a:lnTo>
                  <a:lnTo>
                    <a:pt x="786" y="618"/>
                  </a:lnTo>
                  <a:lnTo>
                    <a:pt x="756" y="588"/>
                  </a:lnTo>
                  <a:lnTo>
                    <a:pt x="732" y="552"/>
                  </a:lnTo>
                  <a:lnTo>
                    <a:pt x="726" y="528"/>
                  </a:lnTo>
                  <a:lnTo>
                    <a:pt x="714" y="492"/>
                  </a:lnTo>
                  <a:lnTo>
                    <a:pt x="702" y="468"/>
                  </a:lnTo>
                  <a:lnTo>
                    <a:pt x="690" y="462"/>
                  </a:lnTo>
                  <a:lnTo>
                    <a:pt x="684" y="450"/>
                  </a:lnTo>
                  <a:lnTo>
                    <a:pt x="672" y="444"/>
                  </a:lnTo>
                  <a:lnTo>
                    <a:pt x="666" y="432"/>
                  </a:lnTo>
                  <a:lnTo>
                    <a:pt x="654" y="396"/>
                  </a:lnTo>
                  <a:lnTo>
                    <a:pt x="654" y="378"/>
                  </a:lnTo>
                  <a:lnTo>
                    <a:pt x="618" y="336"/>
                  </a:lnTo>
                  <a:lnTo>
                    <a:pt x="618" y="318"/>
                  </a:lnTo>
                  <a:lnTo>
                    <a:pt x="606" y="294"/>
                  </a:lnTo>
                  <a:lnTo>
                    <a:pt x="594" y="282"/>
                  </a:lnTo>
                  <a:lnTo>
                    <a:pt x="588" y="270"/>
                  </a:lnTo>
                  <a:lnTo>
                    <a:pt x="576" y="258"/>
                  </a:lnTo>
                  <a:lnTo>
                    <a:pt x="570" y="246"/>
                  </a:lnTo>
                  <a:lnTo>
                    <a:pt x="558" y="234"/>
                  </a:lnTo>
                  <a:lnTo>
                    <a:pt x="552" y="222"/>
                  </a:lnTo>
                  <a:lnTo>
                    <a:pt x="546" y="216"/>
                  </a:lnTo>
                  <a:lnTo>
                    <a:pt x="552" y="210"/>
                  </a:lnTo>
                  <a:lnTo>
                    <a:pt x="552" y="198"/>
                  </a:lnTo>
                  <a:lnTo>
                    <a:pt x="540" y="174"/>
                  </a:lnTo>
                  <a:lnTo>
                    <a:pt x="528" y="168"/>
                  </a:lnTo>
                  <a:lnTo>
                    <a:pt x="522" y="168"/>
                  </a:lnTo>
                  <a:lnTo>
                    <a:pt x="540" y="144"/>
                  </a:lnTo>
                  <a:lnTo>
                    <a:pt x="558" y="156"/>
                  </a:lnTo>
                  <a:lnTo>
                    <a:pt x="558" y="174"/>
                  </a:lnTo>
                  <a:lnTo>
                    <a:pt x="564" y="186"/>
                  </a:lnTo>
                  <a:lnTo>
                    <a:pt x="576" y="198"/>
                  </a:lnTo>
                  <a:lnTo>
                    <a:pt x="582" y="210"/>
                  </a:lnTo>
                  <a:lnTo>
                    <a:pt x="588" y="216"/>
                  </a:lnTo>
                  <a:lnTo>
                    <a:pt x="588" y="246"/>
                  </a:lnTo>
                  <a:lnTo>
                    <a:pt x="606" y="264"/>
                  </a:lnTo>
                  <a:lnTo>
                    <a:pt x="612" y="276"/>
                  </a:lnTo>
                  <a:lnTo>
                    <a:pt x="636" y="300"/>
                  </a:lnTo>
                  <a:lnTo>
                    <a:pt x="648" y="306"/>
                  </a:lnTo>
                  <a:lnTo>
                    <a:pt x="654" y="306"/>
                  </a:lnTo>
                  <a:lnTo>
                    <a:pt x="666" y="300"/>
                  </a:lnTo>
                  <a:lnTo>
                    <a:pt x="678" y="288"/>
                  </a:lnTo>
                  <a:lnTo>
                    <a:pt x="672" y="270"/>
                  </a:lnTo>
                  <a:lnTo>
                    <a:pt x="684" y="246"/>
                  </a:lnTo>
                  <a:lnTo>
                    <a:pt x="684" y="234"/>
                  </a:lnTo>
                  <a:lnTo>
                    <a:pt x="690" y="222"/>
                  </a:lnTo>
                  <a:lnTo>
                    <a:pt x="690" y="198"/>
                  </a:lnTo>
                  <a:lnTo>
                    <a:pt x="696" y="186"/>
                  </a:lnTo>
                  <a:lnTo>
                    <a:pt x="696" y="180"/>
                  </a:lnTo>
                  <a:lnTo>
                    <a:pt x="702" y="168"/>
                  </a:lnTo>
                  <a:lnTo>
                    <a:pt x="648" y="24"/>
                  </a:lnTo>
                  <a:lnTo>
                    <a:pt x="642" y="24"/>
                  </a:lnTo>
                  <a:lnTo>
                    <a:pt x="636" y="30"/>
                  </a:lnTo>
                  <a:lnTo>
                    <a:pt x="624" y="30"/>
                  </a:lnTo>
                  <a:lnTo>
                    <a:pt x="600" y="42"/>
                  </a:lnTo>
                  <a:lnTo>
                    <a:pt x="576" y="42"/>
                  </a:lnTo>
                  <a:lnTo>
                    <a:pt x="564" y="36"/>
                  </a:lnTo>
                  <a:lnTo>
                    <a:pt x="558" y="30"/>
                  </a:lnTo>
                  <a:lnTo>
                    <a:pt x="552" y="36"/>
                  </a:lnTo>
                  <a:lnTo>
                    <a:pt x="540" y="42"/>
                  </a:lnTo>
                  <a:lnTo>
                    <a:pt x="534" y="42"/>
                  </a:lnTo>
                  <a:lnTo>
                    <a:pt x="510" y="30"/>
                  </a:lnTo>
                  <a:lnTo>
                    <a:pt x="504" y="24"/>
                  </a:lnTo>
                  <a:lnTo>
                    <a:pt x="504" y="18"/>
                  </a:lnTo>
                  <a:lnTo>
                    <a:pt x="498" y="12"/>
                  </a:lnTo>
                  <a:lnTo>
                    <a:pt x="486" y="6"/>
                  </a:lnTo>
                  <a:lnTo>
                    <a:pt x="468" y="6"/>
                  </a:lnTo>
                  <a:lnTo>
                    <a:pt x="456" y="12"/>
                  </a:lnTo>
                  <a:lnTo>
                    <a:pt x="438" y="12"/>
                  </a:lnTo>
                  <a:lnTo>
                    <a:pt x="432" y="18"/>
                  </a:lnTo>
                  <a:lnTo>
                    <a:pt x="420" y="18"/>
                  </a:lnTo>
                  <a:lnTo>
                    <a:pt x="414" y="12"/>
                  </a:lnTo>
                  <a:lnTo>
                    <a:pt x="390" y="12"/>
                  </a:lnTo>
                  <a:lnTo>
                    <a:pt x="378" y="18"/>
                  </a:lnTo>
                  <a:lnTo>
                    <a:pt x="372" y="24"/>
                  </a:lnTo>
                  <a:lnTo>
                    <a:pt x="366" y="36"/>
                  </a:lnTo>
                  <a:lnTo>
                    <a:pt x="360" y="42"/>
                  </a:lnTo>
                  <a:lnTo>
                    <a:pt x="336" y="42"/>
                  </a:lnTo>
                  <a:lnTo>
                    <a:pt x="324" y="54"/>
                  </a:lnTo>
                  <a:lnTo>
                    <a:pt x="312" y="60"/>
                  </a:lnTo>
                  <a:lnTo>
                    <a:pt x="306" y="60"/>
                  </a:lnTo>
                  <a:lnTo>
                    <a:pt x="300" y="54"/>
                  </a:lnTo>
                  <a:lnTo>
                    <a:pt x="288" y="54"/>
                  </a:lnTo>
                  <a:lnTo>
                    <a:pt x="276" y="48"/>
                  </a:lnTo>
                  <a:lnTo>
                    <a:pt x="264" y="48"/>
                  </a:lnTo>
                  <a:lnTo>
                    <a:pt x="258" y="42"/>
                  </a:lnTo>
                  <a:lnTo>
                    <a:pt x="204" y="42"/>
                  </a:lnTo>
                  <a:lnTo>
                    <a:pt x="198" y="36"/>
                  </a:lnTo>
                  <a:lnTo>
                    <a:pt x="186" y="30"/>
                  </a:lnTo>
                  <a:lnTo>
                    <a:pt x="174" y="18"/>
                  </a:lnTo>
                  <a:lnTo>
                    <a:pt x="126" y="18"/>
                  </a:lnTo>
                  <a:lnTo>
                    <a:pt x="120" y="12"/>
                  </a:lnTo>
                  <a:lnTo>
                    <a:pt x="96" y="0"/>
                  </a:lnTo>
                  <a:lnTo>
                    <a:pt x="78" y="0"/>
                  </a:lnTo>
                  <a:lnTo>
                    <a:pt x="66" y="12"/>
                  </a:lnTo>
                  <a:lnTo>
                    <a:pt x="54" y="12"/>
                  </a:lnTo>
                  <a:lnTo>
                    <a:pt x="42" y="6"/>
                  </a:lnTo>
                  <a:lnTo>
                    <a:pt x="36" y="6"/>
                  </a:lnTo>
                  <a:lnTo>
                    <a:pt x="36" y="0"/>
                  </a:lnTo>
                  <a:lnTo>
                    <a:pt x="30" y="0"/>
                  </a:lnTo>
                  <a:lnTo>
                    <a:pt x="12" y="18"/>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95" name="Azerbaijan" descr="© INSCALE GmbH, 05.05.2010&#10;http://www.presentationload.com/">
              <a:extLst>
                <a:ext uri="{FF2B5EF4-FFF2-40B4-BE49-F238E27FC236}">
                  <a16:creationId xmlns:a16="http://schemas.microsoft.com/office/drawing/2014/main" id="{3A41EE99-7351-4D20-82B0-18F253750FBA}"/>
                </a:ext>
              </a:extLst>
            </p:cNvPr>
            <p:cNvSpPr>
              <a:spLocks noEditPoints="1"/>
            </p:cNvSpPr>
            <p:nvPr/>
          </p:nvSpPr>
          <p:spPr bwMode="gray">
            <a:xfrm>
              <a:off x="5319488" y="2910401"/>
              <a:ext cx="144258" cy="116034"/>
            </a:xfrm>
            <a:custGeom>
              <a:avLst/>
              <a:gdLst>
                <a:gd name="T0" fmla="*/ 2147483647 w 360"/>
                <a:gd name="T1" fmla="*/ 2147483647 h 288"/>
                <a:gd name="T2" fmla="*/ 2147483647 w 360"/>
                <a:gd name="T3" fmla="*/ 2147483647 h 288"/>
                <a:gd name="T4" fmla="*/ 2147483647 w 360"/>
                <a:gd name="T5" fmla="*/ 2147483647 h 288"/>
                <a:gd name="T6" fmla="*/ 2147483647 w 360"/>
                <a:gd name="T7" fmla="*/ 2147483647 h 288"/>
                <a:gd name="T8" fmla="*/ 2147483647 w 360"/>
                <a:gd name="T9" fmla="*/ 2147483647 h 288"/>
                <a:gd name="T10" fmla="*/ 2147483647 w 360"/>
                <a:gd name="T11" fmla="*/ 2147483647 h 288"/>
                <a:gd name="T12" fmla="*/ 2147483647 w 360"/>
                <a:gd name="T13" fmla="*/ 2147483647 h 288"/>
                <a:gd name="T14" fmla="*/ 2147483647 w 360"/>
                <a:gd name="T15" fmla="*/ 2147483647 h 288"/>
                <a:gd name="T16" fmla="*/ 2147483647 w 360"/>
                <a:gd name="T17" fmla="*/ 2147483647 h 288"/>
                <a:gd name="T18" fmla="*/ 2147483647 w 360"/>
                <a:gd name="T19" fmla="*/ 2147483647 h 288"/>
                <a:gd name="T20" fmla="*/ 2147483647 w 360"/>
                <a:gd name="T21" fmla="*/ 2147483647 h 288"/>
                <a:gd name="T22" fmla="*/ 2147483647 w 360"/>
                <a:gd name="T23" fmla="*/ 2147483647 h 288"/>
                <a:gd name="T24" fmla="*/ 2147483647 w 360"/>
                <a:gd name="T25" fmla="*/ 2147483647 h 288"/>
                <a:gd name="T26" fmla="*/ 2147483647 w 360"/>
                <a:gd name="T27" fmla="*/ 0 h 288"/>
                <a:gd name="T28" fmla="*/ 2147483647 w 360"/>
                <a:gd name="T29" fmla="*/ 2147483647 h 288"/>
                <a:gd name="T30" fmla="*/ 2147483647 w 360"/>
                <a:gd name="T31" fmla="*/ 2147483647 h 288"/>
                <a:gd name="T32" fmla="*/ 2147483647 w 360"/>
                <a:gd name="T33" fmla="*/ 2147483647 h 288"/>
                <a:gd name="T34" fmla="*/ 2147483647 w 360"/>
                <a:gd name="T35" fmla="*/ 2147483647 h 288"/>
                <a:gd name="T36" fmla="*/ 2147483647 w 360"/>
                <a:gd name="T37" fmla="*/ 2147483647 h 288"/>
                <a:gd name="T38" fmla="*/ 2147483647 w 360"/>
                <a:gd name="T39" fmla="*/ 0 h 288"/>
                <a:gd name="T40" fmla="*/ 2147483647 w 360"/>
                <a:gd name="T41" fmla="*/ 2147483647 h 288"/>
                <a:gd name="T42" fmla="*/ 2147483647 w 360"/>
                <a:gd name="T43" fmla="*/ 2147483647 h 288"/>
                <a:gd name="T44" fmla="*/ 2147483647 w 360"/>
                <a:gd name="T45" fmla="*/ 2147483647 h 288"/>
                <a:gd name="T46" fmla="*/ 2147483647 w 360"/>
                <a:gd name="T47" fmla="*/ 2147483647 h 288"/>
                <a:gd name="T48" fmla="*/ 2147483647 w 360"/>
                <a:gd name="T49" fmla="*/ 2147483647 h 288"/>
                <a:gd name="T50" fmla="*/ 2147483647 w 360"/>
                <a:gd name="T51" fmla="*/ 2147483647 h 288"/>
                <a:gd name="T52" fmla="*/ 2147483647 w 360"/>
                <a:gd name="T53" fmla="*/ 2147483647 h 288"/>
                <a:gd name="T54" fmla="*/ 0 w 360"/>
                <a:gd name="T55" fmla="*/ 2147483647 h 288"/>
                <a:gd name="T56" fmla="*/ 2147483647 w 360"/>
                <a:gd name="T57" fmla="*/ 2147483647 h 288"/>
                <a:gd name="T58" fmla="*/ 2147483647 w 360"/>
                <a:gd name="T59" fmla="*/ 2147483647 h 288"/>
                <a:gd name="T60" fmla="*/ 2147483647 w 360"/>
                <a:gd name="T61" fmla="*/ 2147483647 h 288"/>
                <a:gd name="T62" fmla="*/ 2147483647 w 360"/>
                <a:gd name="T63" fmla="*/ 2147483647 h 288"/>
                <a:gd name="T64" fmla="*/ 2147483647 w 360"/>
                <a:gd name="T65" fmla="*/ 2147483647 h 288"/>
                <a:gd name="T66" fmla="*/ 2147483647 w 360"/>
                <a:gd name="T67" fmla="*/ 2147483647 h 288"/>
                <a:gd name="T68" fmla="*/ 2147483647 w 360"/>
                <a:gd name="T69" fmla="*/ 2147483647 h 288"/>
                <a:gd name="T70" fmla="*/ 2147483647 w 360"/>
                <a:gd name="T71" fmla="*/ 2147483647 h 288"/>
                <a:gd name="T72" fmla="*/ 2147483647 w 360"/>
                <a:gd name="T73" fmla="*/ 2147483647 h 288"/>
                <a:gd name="T74" fmla="*/ 2147483647 w 360"/>
                <a:gd name="T75" fmla="*/ 2147483647 h 288"/>
                <a:gd name="T76" fmla="*/ 2147483647 w 360"/>
                <a:gd name="T77" fmla="*/ 2147483647 h 288"/>
                <a:gd name="T78" fmla="*/ 2147483647 w 360"/>
                <a:gd name="T79" fmla="*/ 2147483647 h 288"/>
                <a:gd name="T80" fmla="*/ 2147483647 w 360"/>
                <a:gd name="T81" fmla="*/ 2147483647 h 288"/>
                <a:gd name="T82" fmla="*/ 2147483647 w 360"/>
                <a:gd name="T83" fmla="*/ 2147483647 h 288"/>
                <a:gd name="T84" fmla="*/ 2147483647 w 360"/>
                <a:gd name="T85" fmla="*/ 2147483647 h 288"/>
                <a:gd name="T86" fmla="*/ 2147483647 w 360"/>
                <a:gd name="T87" fmla="*/ 2147483647 h 288"/>
                <a:gd name="T88" fmla="*/ 2147483647 w 360"/>
                <a:gd name="T89" fmla="*/ 2147483647 h 288"/>
                <a:gd name="T90" fmla="*/ 2147483647 w 360"/>
                <a:gd name="T91" fmla="*/ 2147483647 h 288"/>
                <a:gd name="T92" fmla="*/ 2147483647 w 360"/>
                <a:gd name="T93" fmla="*/ 2147483647 h 288"/>
                <a:gd name="T94" fmla="*/ 2147483647 w 360"/>
                <a:gd name="T95" fmla="*/ 2147483647 h 288"/>
                <a:gd name="T96" fmla="*/ 2147483647 w 360"/>
                <a:gd name="T97" fmla="*/ 2147483647 h 288"/>
                <a:gd name="T98" fmla="*/ 2147483647 w 360"/>
                <a:gd name="T99" fmla="*/ 2147483647 h 288"/>
                <a:gd name="T100" fmla="*/ 2147483647 w 360"/>
                <a:gd name="T101" fmla="*/ 2147483647 h 288"/>
                <a:gd name="T102" fmla="*/ 2147483647 w 360"/>
                <a:gd name="T103" fmla="*/ 2147483647 h 288"/>
                <a:gd name="T104" fmla="*/ 2147483647 w 360"/>
                <a:gd name="T105" fmla="*/ 2147483647 h 288"/>
                <a:gd name="T106" fmla="*/ 2147483647 w 360"/>
                <a:gd name="T107" fmla="*/ 2147483647 h 288"/>
                <a:gd name="T108" fmla="*/ 2147483647 w 360"/>
                <a:gd name="T109" fmla="*/ 2147483647 h 288"/>
                <a:gd name="T110" fmla="*/ 2147483647 w 360"/>
                <a:gd name="T111" fmla="*/ 2147483647 h 288"/>
                <a:gd name="T112" fmla="*/ 2147483647 w 360"/>
                <a:gd name="T113" fmla="*/ 2147483647 h 288"/>
                <a:gd name="T114" fmla="*/ 2147483647 w 360"/>
                <a:gd name="T115" fmla="*/ 2147483647 h 288"/>
                <a:gd name="T116" fmla="*/ 2147483647 w 360"/>
                <a:gd name="T117" fmla="*/ 2147483647 h 288"/>
                <a:gd name="T118" fmla="*/ 2147483647 w 360"/>
                <a:gd name="T119" fmla="*/ 2147483647 h 288"/>
                <a:gd name="T120" fmla="*/ 2147483647 w 360"/>
                <a:gd name="T121" fmla="*/ 2147483647 h 2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0"/>
                <a:gd name="T184" fmla="*/ 0 h 288"/>
                <a:gd name="T185" fmla="*/ 360 w 360"/>
                <a:gd name="T186" fmla="*/ 288 h 2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0" h="288">
                  <a:moveTo>
                    <a:pt x="66" y="186"/>
                  </a:moveTo>
                  <a:lnTo>
                    <a:pt x="36" y="186"/>
                  </a:lnTo>
                  <a:lnTo>
                    <a:pt x="24" y="174"/>
                  </a:lnTo>
                  <a:lnTo>
                    <a:pt x="6" y="174"/>
                  </a:lnTo>
                  <a:lnTo>
                    <a:pt x="12" y="186"/>
                  </a:lnTo>
                  <a:lnTo>
                    <a:pt x="12" y="192"/>
                  </a:lnTo>
                  <a:lnTo>
                    <a:pt x="18" y="204"/>
                  </a:lnTo>
                  <a:lnTo>
                    <a:pt x="36" y="222"/>
                  </a:lnTo>
                  <a:lnTo>
                    <a:pt x="48" y="228"/>
                  </a:lnTo>
                  <a:lnTo>
                    <a:pt x="84" y="240"/>
                  </a:lnTo>
                  <a:lnTo>
                    <a:pt x="90" y="240"/>
                  </a:lnTo>
                  <a:lnTo>
                    <a:pt x="84" y="234"/>
                  </a:lnTo>
                  <a:lnTo>
                    <a:pt x="84" y="222"/>
                  </a:lnTo>
                  <a:lnTo>
                    <a:pt x="78" y="216"/>
                  </a:lnTo>
                  <a:lnTo>
                    <a:pt x="78" y="204"/>
                  </a:lnTo>
                  <a:lnTo>
                    <a:pt x="72" y="198"/>
                  </a:lnTo>
                  <a:lnTo>
                    <a:pt x="72" y="186"/>
                  </a:lnTo>
                  <a:lnTo>
                    <a:pt x="66" y="186"/>
                  </a:lnTo>
                  <a:close/>
                  <a:moveTo>
                    <a:pt x="354" y="108"/>
                  </a:moveTo>
                  <a:lnTo>
                    <a:pt x="348" y="102"/>
                  </a:lnTo>
                  <a:lnTo>
                    <a:pt x="330" y="102"/>
                  </a:lnTo>
                  <a:lnTo>
                    <a:pt x="318" y="108"/>
                  </a:lnTo>
                  <a:lnTo>
                    <a:pt x="306" y="108"/>
                  </a:lnTo>
                  <a:lnTo>
                    <a:pt x="288" y="90"/>
                  </a:lnTo>
                  <a:lnTo>
                    <a:pt x="288" y="84"/>
                  </a:lnTo>
                  <a:lnTo>
                    <a:pt x="264" y="54"/>
                  </a:lnTo>
                  <a:lnTo>
                    <a:pt x="264" y="42"/>
                  </a:lnTo>
                  <a:lnTo>
                    <a:pt x="216" y="0"/>
                  </a:lnTo>
                  <a:lnTo>
                    <a:pt x="216" y="30"/>
                  </a:lnTo>
                  <a:lnTo>
                    <a:pt x="210" y="36"/>
                  </a:lnTo>
                  <a:lnTo>
                    <a:pt x="192" y="36"/>
                  </a:lnTo>
                  <a:lnTo>
                    <a:pt x="192" y="48"/>
                  </a:lnTo>
                  <a:lnTo>
                    <a:pt x="186" y="54"/>
                  </a:lnTo>
                  <a:lnTo>
                    <a:pt x="162" y="54"/>
                  </a:lnTo>
                  <a:lnTo>
                    <a:pt x="156" y="48"/>
                  </a:lnTo>
                  <a:lnTo>
                    <a:pt x="144" y="42"/>
                  </a:lnTo>
                  <a:lnTo>
                    <a:pt x="138" y="30"/>
                  </a:lnTo>
                  <a:lnTo>
                    <a:pt x="120" y="12"/>
                  </a:lnTo>
                  <a:lnTo>
                    <a:pt x="84" y="0"/>
                  </a:lnTo>
                  <a:lnTo>
                    <a:pt x="72" y="0"/>
                  </a:lnTo>
                  <a:lnTo>
                    <a:pt x="60" y="12"/>
                  </a:lnTo>
                  <a:lnTo>
                    <a:pt x="78" y="30"/>
                  </a:lnTo>
                  <a:lnTo>
                    <a:pt x="84" y="30"/>
                  </a:lnTo>
                  <a:lnTo>
                    <a:pt x="90" y="36"/>
                  </a:lnTo>
                  <a:lnTo>
                    <a:pt x="96" y="48"/>
                  </a:lnTo>
                  <a:lnTo>
                    <a:pt x="102" y="54"/>
                  </a:lnTo>
                  <a:lnTo>
                    <a:pt x="108" y="66"/>
                  </a:lnTo>
                  <a:lnTo>
                    <a:pt x="102" y="72"/>
                  </a:lnTo>
                  <a:lnTo>
                    <a:pt x="84" y="54"/>
                  </a:lnTo>
                  <a:lnTo>
                    <a:pt x="72" y="54"/>
                  </a:lnTo>
                  <a:lnTo>
                    <a:pt x="60" y="60"/>
                  </a:lnTo>
                  <a:lnTo>
                    <a:pt x="42" y="42"/>
                  </a:lnTo>
                  <a:lnTo>
                    <a:pt x="42" y="36"/>
                  </a:lnTo>
                  <a:lnTo>
                    <a:pt x="36" y="30"/>
                  </a:lnTo>
                  <a:lnTo>
                    <a:pt x="12" y="30"/>
                  </a:lnTo>
                  <a:lnTo>
                    <a:pt x="0" y="42"/>
                  </a:lnTo>
                  <a:lnTo>
                    <a:pt x="0" y="48"/>
                  </a:lnTo>
                  <a:lnTo>
                    <a:pt x="6" y="48"/>
                  </a:lnTo>
                  <a:lnTo>
                    <a:pt x="12" y="54"/>
                  </a:lnTo>
                  <a:lnTo>
                    <a:pt x="12" y="66"/>
                  </a:lnTo>
                  <a:lnTo>
                    <a:pt x="30" y="66"/>
                  </a:lnTo>
                  <a:lnTo>
                    <a:pt x="36" y="72"/>
                  </a:lnTo>
                  <a:lnTo>
                    <a:pt x="36" y="96"/>
                  </a:lnTo>
                  <a:lnTo>
                    <a:pt x="30" y="102"/>
                  </a:lnTo>
                  <a:lnTo>
                    <a:pt x="36" y="102"/>
                  </a:lnTo>
                  <a:lnTo>
                    <a:pt x="42" y="108"/>
                  </a:lnTo>
                  <a:lnTo>
                    <a:pt x="66" y="120"/>
                  </a:lnTo>
                  <a:lnTo>
                    <a:pt x="72" y="126"/>
                  </a:lnTo>
                  <a:lnTo>
                    <a:pt x="72" y="132"/>
                  </a:lnTo>
                  <a:lnTo>
                    <a:pt x="54" y="150"/>
                  </a:lnTo>
                  <a:lnTo>
                    <a:pt x="42" y="150"/>
                  </a:lnTo>
                  <a:lnTo>
                    <a:pt x="72" y="162"/>
                  </a:lnTo>
                  <a:lnTo>
                    <a:pt x="84" y="180"/>
                  </a:lnTo>
                  <a:lnTo>
                    <a:pt x="114" y="186"/>
                  </a:lnTo>
                  <a:lnTo>
                    <a:pt x="114" y="198"/>
                  </a:lnTo>
                  <a:lnTo>
                    <a:pt x="120" y="210"/>
                  </a:lnTo>
                  <a:lnTo>
                    <a:pt x="120" y="240"/>
                  </a:lnTo>
                  <a:lnTo>
                    <a:pt x="132" y="240"/>
                  </a:lnTo>
                  <a:lnTo>
                    <a:pt x="138" y="228"/>
                  </a:lnTo>
                  <a:lnTo>
                    <a:pt x="144" y="222"/>
                  </a:lnTo>
                  <a:lnTo>
                    <a:pt x="144" y="216"/>
                  </a:lnTo>
                  <a:lnTo>
                    <a:pt x="156" y="204"/>
                  </a:lnTo>
                  <a:lnTo>
                    <a:pt x="174" y="192"/>
                  </a:lnTo>
                  <a:lnTo>
                    <a:pt x="186" y="186"/>
                  </a:lnTo>
                  <a:lnTo>
                    <a:pt x="198" y="174"/>
                  </a:lnTo>
                  <a:lnTo>
                    <a:pt x="210" y="168"/>
                  </a:lnTo>
                  <a:lnTo>
                    <a:pt x="222" y="168"/>
                  </a:lnTo>
                  <a:lnTo>
                    <a:pt x="228" y="180"/>
                  </a:lnTo>
                  <a:lnTo>
                    <a:pt x="234" y="186"/>
                  </a:lnTo>
                  <a:lnTo>
                    <a:pt x="234" y="204"/>
                  </a:lnTo>
                  <a:lnTo>
                    <a:pt x="228" y="210"/>
                  </a:lnTo>
                  <a:lnTo>
                    <a:pt x="228" y="222"/>
                  </a:lnTo>
                  <a:lnTo>
                    <a:pt x="234" y="222"/>
                  </a:lnTo>
                  <a:lnTo>
                    <a:pt x="240" y="228"/>
                  </a:lnTo>
                  <a:lnTo>
                    <a:pt x="240" y="234"/>
                  </a:lnTo>
                  <a:lnTo>
                    <a:pt x="234" y="240"/>
                  </a:lnTo>
                  <a:lnTo>
                    <a:pt x="222" y="240"/>
                  </a:lnTo>
                  <a:lnTo>
                    <a:pt x="222" y="246"/>
                  </a:lnTo>
                  <a:lnTo>
                    <a:pt x="234" y="258"/>
                  </a:lnTo>
                  <a:lnTo>
                    <a:pt x="246" y="264"/>
                  </a:lnTo>
                  <a:lnTo>
                    <a:pt x="252" y="270"/>
                  </a:lnTo>
                  <a:lnTo>
                    <a:pt x="258" y="270"/>
                  </a:lnTo>
                  <a:lnTo>
                    <a:pt x="264" y="276"/>
                  </a:lnTo>
                  <a:lnTo>
                    <a:pt x="264" y="282"/>
                  </a:lnTo>
                  <a:lnTo>
                    <a:pt x="282" y="282"/>
                  </a:lnTo>
                  <a:lnTo>
                    <a:pt x="282" y="288"/>
                  </a:lnTo>
                  <a:lnTo>
                    <a:pt x="288" y="282"/>
                  </a:lnTo>
                  <a:lnTo>
                    <a:pt x="288" y="258"/>
                  </a:lnTo>
                  <a:lnTo>
                    <a:pt x="282" y="252"/>
                  </a:lnTo>
                  <a:lnTo>
                    <a:pt x="276" y="252"/>
                  </a:lnTo>
                  <a:lnTo>
                    <a:pt x="270" y="246"/>
                  </a:lnTo>
                  <a:lnTo>
                    <a:pt x="288" y="240"/>
                  </a:lnTo>
                  <a:lnTo>
                    <a:pt x="288" y="210"/>
                  </a:lnTo>
                  <a:lnTo>
                    <a:pt x="300" y="222"/>
                  </a:lnTo>
                  <a:lnTo>
                    <a:pt x="306" y="222"/>
                  </a:lnTo>
                  <a:lnTo>
                    <a:pt x="318" y="210"/>
                  </a:lnTo>
                  <a:lnTo>
                    <a:pt x="300" y="192"/>
                  </a:lnTo>
                  <a:lnTo>
                    <a:pt x="300" y="138"/>
                  </a:lnTo>
                  <a:lnTo>
                    <a:pt x="318" y="138"/>
                  </a:lnTo>
                  <a:lnTo>
                    <a:pt x="330" y="126"/>
                  </a:lnTo>
                  <a:lnTo>
                    <a:pt x="360" y="132"/>
                  </a:lnTo>
                  <a:lnTo>
                    <a:pt x="360" y="120"/>
                  </a:lnTo>
                  <a:lnTo>
                    <a:pt x="354" y="108"/>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96" name="Australien" descr="© INSCALE GmbH, 05.05.2010&#10;http://www.presentationload.com/">
              <a:extLst>
                <a:ext uri="{FF2B5EF4-FFF2-40B4-BE49-F238E27FC236}">
                  <a16:creationId xmlns:a16="http://schemas.microsoft.com/office/drawing/2014/main" id="{0D39C67E-D2F1-43E8-9341-DAF7B27FADEA}"/>
                </a:ext>
              </a:extLst>
            </p:cNvPr>
            <p:cNvSpPr>
              <a:spLocks noEditPoints="1"/>
            </p:cNvSpPr>
            <p:nvPr/>
          </p:nvSpPr>
          <p:spPr bwMode="gray">
            <a:xfrm>
              <a:off x="7207387" y="4592891"/>
              <a:ext cx="1128976" cy="1058416"/>
            </a:xfrm>
            <a:custGeom>
              <a:avLst/>
              <a:gdLst>
                <a:gd name="T0" fmla="*/ 2147483647 w 2838"/>
                <a:gd name="T1" fmla="*/ 2147483647 h 2664"/>
                <a:gd name="T2" fmla="*/ 2147483647 w 2838"/>
                <a:gd name="T3" fmla="*/ 2147483647 h 2664"/>
                <a:gd name="T4" fmla="*/ 2147483647 w 2838"/>
                <a:gd name="T5" fmla="*/ 2147483647 h 2664"/>
                <a:gd name="T6" fmla="*/ 2147483647 w 2838"/>
                <a:gd name="T7" fmla="*/ 2147483647 h 2664"/>
                <a:gd name="T8" fmla="*/ 2147483647 w 2838"/>
                <a:gd name="T9" fmla="*/ 2147483647 h 2664"/>
                <a:gd name="T10" fmla="*/ 2147483647 w 2838"/>
                <a:gd name="T11" fmla="*/ 2147483647 h 2664"/>
                <a:gd name="T12" fmla="*/ 2147483647 w 2838"/>
                <a:gd name="T13" fmla="*/ 2147483647 h 2664"/>
                <a:gd name="T14" fmla="*/ 2147483647 w 2838"/>
                <a:gd name="T15" fmla="*/ 2147483647 h 2664"/>
                <a:gd name="T16" fmla="*/ 2147483647 w 2838"/>
                <a:gd name="T17" fmla="*/ 2147483647 h 2664"/>
                <a:gd name="T18" fmla="*/ 2147483647 w 2838"/>
                <a:gd name="T19" fmla="*/ 2147483647 h 2664"/>
                <a:gd name="T20" fmla="*/ 2147483647 w 2838"/>
                <a:gd name="T21" fmla="*/ 2147483647 h 2664"/>
                <a:gd name="T22" fmla="*/ 2147483647 w 2838"/>
                <a:gd name="T23" fmla="*/ 2147483647 h 2664"/>
                <a:gd name="T24" fmla="*/ 2147483647 w 2838"/>
                <a:gd name="T25" fmla="*/ 2147483647 h 2664"/>
                <a:gd name="T26" fmla="*/ 2147483647 w 2838"/>
                <a:gd name="T27" fmla="*/ 2147483647 h 2664"/>
                <a:gd name="T28" fmla="*/ 2147483647 w 2838"/>
                <a:gd name="T29" fmla="*/ 2147483647 h 2664"/>
                <a:gd name="T30" fmla="*/ 2147483647 w 2838"/>
                <a:gd name="T31" fmla="*/ 2147483647 h 2664"/>
                <a:gd name="T32" fmla="*/ 2147483647 w 2838"/>
                <a:gd name="T33" fmla="*/ 2147483647 h 2664"/>
                <a:gd name="T34" fmla="*/ 2147483647 w 2838"/>
                <a:gd name="T35" fmla="*/ 2147483647 h 2664"/>
                <a:gd name="T36" fmla="*/ 2147483647 w 2838"/>
                <a:gd name="T37" fmla="*/ 2147483647 h 2664"/>
                <a:gd name="T38" fmla="*/ 2147483647 w 2838"/>
                <a:gd name="T39" fmla="*/ 2147483647 h 2664"/>
                <a:gd name="T40" fmla="*/ 2147483647 w 2838"/>
                <a:gd name="T41" fmla="*/ 2147483647 h 2664"/>
                <a:gd name="T42" fmla="*/ 2147483647 w 2838"/>
                <a:gd name="T43" fmla="*/ 2147483647 h 2664"/>
                <a:gd name="T44" fmla="*/ 2147483647 w 2838"/>
                <a:gd name="T45" fmla="*/ 2147483647 h 2664"/>
                <a:gd name="T46" fmla="*/ 2147483647 w 2838"/>
                <a:gd name="T47" fmla="*/ 2147483647 h 2664"/>
                <a:gd name="T48" fmla="*/ 2147483647 w 2838"/>
                <a:gd name="T49" fmla="*/ 2147483647 h 2664"/>
                <a:gd name="T50" fmla="*/ 2147483647 w 2838"/>
                <a:gd name="T51" fmla="*/ 2147483647 h 2664"/>
                <a:gd name="T52" fmla="*/ 2147483647 w 2838"/>
                <a:gd name="T53" fmla="*/ 2147483647 h 2664"/>
                <a:gd name="T54" fmla="*/ 2147483647 w 2838"/>
                <a:gd name="T55" fmla="*/ 2147483647 h 2664"/>
                <a:gd name="T56" fmla="*/ 2147483647 w 2838"/>
                <a:gd name="T57" fmla="*/ 2147483647 h 2664"/>
                <a:gd name="T58" fmla="*/ 2147483647 w 2838"/>
                <a:gd name="T59" fmla="*/ 2147483647 h 2664"/>
                <a:gd name="T60" fmla="*/ 2147483647 w 2838"/>
                <a:gd name="T61" fmla="*/ 2147483647 h 2664"/>
                <a:gd name="T62" fmla="*/ 2147483647 w 2838"/>
                <a:gd name="T63" fmla="*/ 2147483647 h 2664"/>
                <a:gd name="T64" fmla="*/ 2147483647 w 2838"/>
                <a:gd name="T65" fmla="*/ 2147483647 h 2664"/>
                <a:gd name="T66" fmla="*/ 2147483647 w 2838"/>
                <a:gd name="T67" fmla="*/ 2147483647 h 2664"/>
                <a:gd name="T68" fmla="*/ 2147483647 w 2838"/>
                <a:gd name="T69" fmla="*/ 2147483647 h 2664"/>
                <a:gd name="T70" fmla="*/ 2147483647 w 2838"/>
                <a:gd name="T71" fmla="*/ 2147483647 h 2664"/>
                <a:gd name="T72" fmla="*/ 2147483647 w 2838"/>
                <a:gd name="T73" fmla="*/ 2147483647 h 2664"/>
                <a:gd name="T74" fmla="*/ 2147483647 w 2838"/>
                <a:gd name="T75" fmla="*/ 2147483647 h 2664"/>
                <a:gd name="T76" fmla="*/ 2147483647 w 2838"/>
                <a:gd name="T77" fmla="*/ 2147483647 h 2664"/>
                <a:gd name="T78" fmla="*/ 2147483647 w 2838"/>
                <a:gd name="T79" fmla="*/ 2147483647 h 2664"/>
                <a:gd name="T80" fmla="*/ 2147483647 w 2838"/>
                <a:gd name="T81" fmla="*/ 2147483647 h 2664"/>
                <a:gd name="T82" fmla="*/ 2147483647 w 2838"/>
                <a:gd name="T83" fmla="*/ 2147483647 h 2664"/>
                <a:gd name="T84" fmla="*/ 2147483647 w 2838"/>
                <a:gd name="T85" fmla="*/ 2147483647 h 2664"/>
                <a:gd name="T86" fmla="*/ 2147483647 w 2838"/>
                <a:gd name="T87" fmla="*/ 2147483647 h 2664"/>
                <a:gd name="T88" fmla="*/ 2147483647 w 2838"/>
                <a:gd name="T89" fmla="*/ 2147483647 h 2664"/>
                <a:gd name="T90" fmla="*/ 2147483647 w 2838"/>
                <a:gd name="T91" fmla="*/ 2147483647 h 2664"/>
                <a:gd name="T92" fmla="*/ 2147483647 w 2838"/>
                <a:gd name="T93" fmla="*/ 2147483647 h 2664"/>
                <a:gd name="T94" fmla="*/ 2147483647 w 2838"/>
                <a:gd name="T95" fmla="*/ 2147483647 h 2664"/>
                <a:gd name="T96" fmla="*/ 2147483647 w 2838"/>
                <a:gd name="T97" fmla="*/ 2147483647 h 2664"/>
                <a:gd name="T98" fmla="*/ 2147483647 w 2838"/>
                <a:gd name="T99" fmla="*/ 2147483647 h 2664"/>
                <a:gd name="T100" fmla="*/ 2147483647 w 2838"/>
                <a:gd name="T101" fmla="*/ 2147483647 h 2664"/>
                <a:gd name="T102" fmla="*/ 2147483647 w 2838"/>
                <a:gd name="T103" fmla="*/ 2147483647 h 2664"/>
                <a:gd name="T104" fmla="*/ 2147483647 w 2838"/>
                <a:gd name="T105" fmla="*/ 2147483647 h 2664"/>
                <a:gd name="T106" fmla="*/ 2147483647 w 2838"/>
                <a:gd name="T107" fmla="*/ 2147483647 h 2664"/>
                <a:gd name="T108" fmla="*/ 2147483647 w 2838"/>
                <a:gd name="T109" fmla="*/ 2147483647 h 2664"/>
                <a:gd name="T110" fmla="*/ 2147483647 w 2838"/>
                <a:gd name="T111" fmla="*/ 2147483647 h 2664"/>
                <a:gd name="T112" fmla="*/ 2147483647 w 2838"/>
                <a:gd name="T113" fmla="*/ 2147483647 h 2664"/>
                <a:gd name="T114" fmla="*/ 2147483647 w 2838"/>
                <a:gd name="T115" fmla="*/ 2147483647 h 2664"/>
                <a:gd name="T116" fmla="*/ 2147483647 w 2838"/>
                <a:gd name="T117" fmla="*/ 2147483647 h 26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38"/>
                <a:gd name="T178" fmla="*/ 0 h 2664"/>
                <a:gd name="T179" fmla="*/ 2838 w 2838"/>
                <a:gd name="T180" fmla="*/ 2664 h 266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38" h="2664">
                  <a:moveTo>
                    <a:pt x="1530" y="66"/>
                  </a:moveTo>
                  <a:lnTo>
                    <a:pt x="1524" y="60"/>
                  </a:lnTo>
                  <a:lnTo>
                    <a:pt x="1518" y="60"/>
                  </a:lnTo>
                  <a:lnTo>
                    <a:pt x="1506" y="66"/>
                  </a:lnTo>
                  <a:lnTo>
                    <a:pt x="1500" y="72"/>
                  </a:lnTo>
                  <a:lnTo>
                    <a:pt x="1494" y="84"/>
                  </a:lnTo>
                  <a:lnTo>
                    <a:pt x="1494" y="102"/>
                  </a:lnTo>
                  <a:lnTo>
                    <a:pt x="1506" y="102"/>
                  </a:lnTo>
                  <a:lnTo>
                    <a:pt x="1512" y="90"/>
                  </a:lnTo>
                  <a:lnTo>
                    <a:pt x="1524" y="78"/>
                  </a:lnTo>
                  <a:lnTo>
                    <a:pt x="1530" y="66"/>
                  </a:lnTo>
                  <a:close/>
                  <a:moveTo>
                    <a:pt x="1476" y="2016"/>
                  </a:moveTo>
                  <a:lnTo>
                    <a:pt x="1464" y="2016"/>
                  </a:lnTo>
                  <a:lnTo>
                    <a:pt x="1440" y="2028"/>
                  </a:lnTo>
                  <a:lnTo>
                    <a:pt x="1440" y="2034"/>
                  </a:lnTo>
                  <a:lnTo>
                    <a:pt x="1452" y="2046"/>
                  </a:lnTo>
                  <a:lnTo>
                    <a:pt x="1452" y="2052"/>
                  </a:lnTo>
                  <a:lnTo>
                    <a:pt x="1470" y="2052"/>
                  </a:lnTo>
                  <a:lnTo>
                    <a:pt x="1482" y="2046"/>
                  </a:lnTo>
                  <a:lnTo>
                    <a:pt x="1488" y="2040"/>
                  </a:lnTo>
                  <a:lnTo>
                    <a:pt x="1506" y="2040"/>
                  </a:lnTo>
                  <a:lnTo>
                    <a:pt x="1512" y="2034"/>
                  </a:lnTo>
                  <a:lnTo>
                    <a:pt x="1530" y="2034"/>
                  </a:lnTo>
                  <a:lnTo>
                    <a:pt x="1536" y="2028"/>
                  </a:lnTo>
                  <a:lnTo>
                    <a:pt x="1512" y="2028"/>
                  </a:lnTo>
                  <a:lnTo>
                    <a:pt x="1500" y="2016"/>
                  </a:lnTo>
                  <a:lnTo>
                    <a:pt x="1476" y="2016"/>
                  </a:lnTo>
                  <a:close/>
                  <a:moveTo>
                    <a:pt x="2802" y="1164"/>
                  </a:moveTo>
                  <a:lnTo>
                    <a:pt x="2802" y="1134"/>
                  </a:lnTo>
                  <a:lnTo>
                    <a:pt x="2796" y="1116"/>
                  </a:lnTo>
                  <a:lnTo>
                    <a:pt x="2796" y="1092"/>
                  </a:lnTo>
                  <a:lnTo>
                    <a:pt x="2790" y="1086"/>
                  </a:lnTo>
                  <a:lnTo>
                    <a:pt x="2778" y="1086"/>
                  </a:lnTo>
                  <a:lnTo>
                    <a:pt x="2772" y="1080"/>
                  </a:lnTo>
                  <a:lnTo>
                    <a:pt x="2760" y="1080"/>
                  </a:lnTo>
                  <a:lnTo>
                    <a:pt x="2760" y="1062"/>
                  </a:lnTo>
                  <a:lnTo>
                    <a:pt x="2742" y="1050"/>
                  </a:lnTo>
                  <a:lnTo>
                    <a:pt x="2742" y="1014"/>
                  </a:lnTo>
                  <a:lnTo>
                    <a:pt x="2736" y="1008"/>
                  </a:lnTo>
                  <a:lnTo>
                    <a:pt x="2724" y="1002"/>
                  </a:lnTo>
                  <a:lnTo>
                    <a:pt x="2718" y="996"/>
                  </a:lnTo>
                  <a:lnTo>
                    <a:pt x="2706" y="996"/>
                  </a:lnTo>
                  <a:lnTo>
                    <a:pt x="2712" y="996"/>
                  </a:lnTo>
                  <a:lnTo>
                    <a:pt x="2718" y="990"/>
                  </a:lnTo>
                  <a:lnTo>
                    <a:pt x="2730" y="990"/>
                  </a:lnTo>
                  <a:lnTo>
                    <a:pt x="2742" y="984"/>
                  </a:lnTo>
                  <a:lnTo>
                    <a:pt x="2760" y="966"/>
                  </a:lnTo>
                  <a:lnTo>
                    <a:pt x="2754" y="954"/>
                  </a:lnTo>
                  <a:lnTo>
                    <a:pt x="2736" y="936"/>
                  </a:lnTo>
                  <a:lnTo>
                    <a:pt x="2730" y="936"/>
                  </a:lnTo>
                  <a:lnTo>
                    <a:pt x="2730" y="930"/>
                  </a:lnTo>
                  <a:lnTo>
                    <a:pt x="2712" y="912"/>
                  </a:lnTo>
                  <a:lnTo>
                    <a:pt x="2700" y="906"/>
                  </a:lnTo>
                  <a:lnTo>
                    <a:pt x="2694" y="912"/>
                  </a:lnTo>
                  <a:lnTo>
                    <a:pt x="2694" y="936"/>
                  </a:lnTo>
                  <a:lnTo>
                    <a:pt x="2670" y="930"/>
                  </a:lnTo>
                  <a:lnTo>
                    <a:pt x="2670" y="924"/>
                  </a:lnTo>
                  <a:lnTo>
                    <a:pt x="2676" y="918"/>
                  </a:lnTo>
                  <a:lnTo>
                    <a:pt x="2676" y="906"/>
                  </a:lnTo>
                  <a:lnTo>
                    <a:pt x="2682" y="894"/>
                  </a:lnTo>
                  <a:lnTo>
                    <a:pt x="2688" y="876"/>
                  </a:lnTo>
                  <a:lnTo>
                    <a:pt x="2688" y="858"/>
                  </a:lnTo>
                  <a:lnTo>
                    <a:pt x="2682" y="852"/>
                  </a:lnTo>
                  <a:lnTo>
                    <a:pt x="2676" y="840"/>
                  </a:lnTo>
                  <a:lnTo>
                    <a:pt x="2670" y="840"/>
                  </a:lnTo>
                  <a:lnTo>
                    <a:pt x="2652" y="822"/>
                  </a:lnTo>
                  <a:lnTo>
                    <a:pt x="2652" y="816"/>
                  </a:lnTo>
                  <a:lnTo>
                    <a:pt x="2658" y="804"/>
                  </a:lnTo>
                  <a:lnTo>
                    <a:pt x="2658" y="792"/>
                  </a:lnTo>
                  <a:lnTo>
                    <a:pt x="2664" y="774"/>
                  </a:lnTo>
                  <a:lnTo>
                    <a:pt x="2664" y="762"/>
                  </a:lnTo>
                  <a:lnTo>
                    <a:pt x="2652" y="750"/>
                  </a:lnTo>
                  <a:lnTo>
                    <a:pt x="2628" y="732"/>
                  </a:lnTo>
                  <a:lnTo>
                    <a:pt x="2598" y="720"/>
                  </a:lnTo>
                  <a:lnTo>
                    <a:pt x="2580" y="708"/>
                  </a:lnTo>
                  <a:lnTo>
                    <a:pt x="2568" y="702"/>
                  </a:lnTo>
                  <a:lnTo>
                    <a:pt x="2556" y="708"/>
                  </a:lnTo>
                  <a:lnTo>
                    <a:pt x="2550" y="696"/>
                  </a:lnTo>
                  <a:lnTo>
                    <a:pt x="2538" y="684"/>
                  </a:lnTo>
                  <a:lnTo>
                    <a:pt x="2532" y="672"/>
                  </a:lnTo>
                  <a:lnTo>
                    <a:pt x="2520" y="660"/>
                  </a:lnTo>
                  <a:lnTo>
                    <a:pt x="2514" y="642"/>
                  </a:lnTo>
                  <a:lnTo>
                    <a:pt x="2514" y="594"/>
                  </a:lnTo>
                  <a:lnTo>
                    <a:pt x="2520" y="576"/>
                  </a:lnTo>
                  <a:lnTo>
                    <a:pt x="2526" y="564"/>
                  </a:lnTo>
                  <a:lnTo>
                    <a:pt x="2526" y="546"/>
                  </a:lnTo>
                  <a:lnTo>
                    <a:pt x="2520" y="504"/>
                  </a:lnTo>
                  <a:lnTo>
                    <a:pt x="2502" y="462"/>
                  </a:lnTo>
                  <a:lnTo>
                    <a:pt x="2490" y="426"/>
                  </a:lnTo>
                  <a:lnTo>
                    <a:pt x="2490" y="402"/>
                  </a:lnTo>
                  <a:lnTo>
                    <a:pt x="2496" y="390"/>
                  </a:lnTo>
                  <a:lnTo>
                    <a:pt x="2502" y="384"/>
                  </a:lnTo>
                  <a:lnTo>
                    <a:pt x="2502" y="324"/>
                  </a:lnTo>
                  <a:lnTo>
                    <a:pt x="2496" y="312"/>
                  </a:lnTo>
                  <a:lnTo>
                    <a:pt x="2496" y="300"/>
                  </a:lnTo>
                  <a:lnTo>
                    <a:pt x="2472" y="294"/>
                  </a:lnTo>
                  <a:lnTo>
                    <a:pt x="2460" y="288"/>
                  </a:lnTo>
                  <a:lnTo>
                    <a:pt x="2454" y="276"/>
                  </a:lnTo>
                  <a:lnTo>
                    <a:pt x="2442" y="270"/>
                  </a:lnTo>
                  <a:lnTo>
                    <a:pt x="2424" y="270"/>
                  </a:lnTo>
                  <a:lnTo>
                    <a:pt x="2418" y="282"/>
                  </a:lnTo>
                  <a:lnTo>
                    <a:pt x="2412" y="288"/>
                  </a:lnTo>
                  <a:lnTo>
                    <a:pt x="2412" y="282"/>
                  </a:lnTo>
                  <a:lnTo>
                    <a:pt x="2406" y="276"/>
                  </a:lnTo>
                  <a:lnTo>
                    <a:pt x="2400" y="264"/>
                  </a:lnTo>
                  <a:lnTo>
                    <a:pt x="2400" y="228"/>
                  </a:lnTo>
                  <a:lnTo>
                    <a:pt x="2406" y="216"/>
                  </a:lnTo>
                  <a:lnTo>
                    <a:pt x="2406" y="204"/>
                  </a:lnTo>
                  <a:lnTo>
                    <a:pt x="2388" y="180"/>
                  </a:lnTo>
                  <a:lnTo>
                    <a:pt x="2394" y="96"/>
                  </a:lnTo>
                  <a:lnTo>
                    <a:pt x="2382" y="90"/>
                  </a:lnTo>
                  <a:lnTo>
                    <a:pt x="2364" y="72"/>
                  </a:lnTo>
                  <a:lnTo>
                    <a:pt x="2364" y="66"/>
                  </a:lnTo>
                  <a:lnTo>
                    <a:pt x="2370" y="48"/>
                  </a:lnTo>
                  <a:lnTo>
                    <a:pt x="2370" y="24"/>
                  </a:lnTo>
                  <a:lnTo>
                    <a:pt x="2364" y="18"/>
                  </a:lnTo>
                  <a:lnTo>
                    <a:pt x="2346" y="18"/>
                  </a:lnTo>
                  <a:lnTo>
                    <a:pt x="2346" y="0"/>
                  </a:lnTo>
                  <a:lnTo>
                    <a:pt x="2316" y="12"/>
                  </a:lnTo>
                  <a:lnTo>
                    <a:pt x="2310" y="30"/>
                  </a:lnTo>
                  <a:lnTo>
                    <a:pt x="2298" y="36"/>
                  </a:lnTo>
                  <a:lnTo>
                    <a:pt x="2292" y="42"/>
                  </a:lnTo>
                  <a:lnTo>
                    <a:pt x="2280" y="48"/>
                  </a:lnTo>
                  <a:lnTo>
                    <a:pt x="2280" y="66"/>
                  </a:lnTo>
                  <a:lnTo>
                    <a:pt x="2286" y="78"/>
                  </a:lnTo>
                  <a:lnTo>
                    <a:pt x="2286" y="90"/>
                  </a:lnTo>
                  <a:lnTo>
                    <a:pt x="2292" y="102"/>
                  </a:lnTo>
                  <a:lnTo>
                    <a:pt x="2292" y="114"/>
                  </a:lnTo>
                  <a:lnTo>
                    <a:pt x="2286" y="126"/>
                  </a:lnTo>
                  <a:lnTo>
                    <a:pt x="2274" y="138"/>
                  </a:lnTo>
                  <a:lnTo>
                    <a:pt x="2268" y="150"/>
                  </a:lnTo>
                  <a:lnTo>
                    <a:pt x="2238" y="180"/>
                  </a:lnTo>
                  <a:lnTo>
                    <a:pt x="2256" y="192"/>
                  </a:lnTo>
                  <a:lnTo>
                    <a:pt x="2256" y="198"/>
                  </a:lnTo>
                  <a:lnTo>
                    <a:pt x="2250" y="204"/>
                  </a:lnTo>
                  <a:lnTo>
                    <a:pt x="2238" y="228"/>
                  </a:lnTo>
                  <a:lnTo>
                    <a:pt x="2232" y="234"/>
                  </a:lnTo>
                  <a:lnTo>
                    <a:pt x="2232" y="264"/>
                  </a:lnTo>
                  <a:lnTo>
                    <a:pt x="2238" y="276"/>
                  </a:lnTo>
                  <a:lnTo>
                    <a:pt x="2238" y="288"/>
                  </a:lnTo>
                  <a:lnTo>
                    <a:pt x="2232" y="300"/>
                  </a:lnTo>
                  <a:lnTo>
                    <a:pt x="2214" y="408"/>
                  </a:lnTo>
                  <a:lnTo>
                    <a:pt x="2208" y="432"/>
                  </a:lnTo>
                  <a:lnTo>
                    <a:pt x="2202" y="438"/>
                  </a:lnTo>
                  <a:lnTo>
                    <a:pt x="2190" y="462"/>
                  </a:lnTo>
                  <a:lnTo>
                    <a:pt x="2178" y="474"/>
                  </a:lnTo>
                  <a:lnTo>
                    <a:pt x="2172" y="486"/>
                  </a:lnTo>
                  <a:lnTo>
                    <a:pt x="2166" y="492"/>
                  </a:lnTo>
                  <a:lnTo>
                    <a:pt x="2166" y="516"/>
                  </a:lnTo>
                  <a:lnTo>
                    <a:pt x="2160" y="534"/>
                  </a:lnTo>
                  <a:lnTo>
                    <a:pt x="2154" y="546"/>
                  </a:lnTo>
                  <a:lnTo>
                    <a:pt x="2142" y="552"/>
                  </a:lnTo>
                  <a:lnTo>
                    <a:pt x="2088" y="570"/>
                  </a:lnTo>
                  <a:lnTo>
                    <a:pt x="2076" y="570"/>
                  </a:lnTo>
                  <a:lnTo>
                    <a:pt x="2064" y="576"/>
                  </a:lnTo>
                  <a:lnTo>
                    <a:pt x="2058" y="576"/>
                  </a:lnTo>
                  <a:lnTo>
                    <a:pt x="2058" y="570"/>
                  </a:lnTo>
                  <a:lnTo>
                    <a:pt x="2052" y="564"/>
                  </a:lnTo>
                  <a:lnTo>
                    <a:pt x="2028" y="516"/>
                  </a:lnTo>
                  <a:lnTo>
                    <a:pt x="2022" y="510"/>
                  </a:lnTo>
                  <a:lnTo>
                    <a:pt x="1998" y="492"/>
                  </a:lnTo>
                  <a:lnTo>
                    <a:pt x="1956" y="474"/>
                  </a:lnTo>
                  <a:lnTo>
                    <a:pt x="1920" y="462"/>
                  </a:lnTo>
                  <a:lnTo>
                    <a:pt x="1908" y="456"/>
                  </a:lnTo>
                  <a:lnTo>
                    <a:pt x="1896" y="438"/>
                  </a:lnTo>
                  <a:lnTo>
                    <a:pt x="1884" y="426"/>
                  </a:lnTo>
                  <a:lnTo>
                    <a:pt x="1872" y="402"/>
                  </a:lnTo>
                  <a:lnTo>
                    <a:pt x="1866" y="396"/>
                  </a:lnTo>
                  <a:lnTo>
                    <a:pt x="1830" y="396"/>
                  </a:lnTo>
                  <a:lnTo>
                    <a:pt x="1806" y="348"/>
                  </a:lnTo>
                  <a:lnTo>
                    <a:pt x="1824" y="330"/>
                  </a:lnTo>
                  <a:lnTo>
                    <a:pt x="1824" y="306"/>
                  </a:lnTo>
                  <a:lnTo>
                    <a:pt x="1830" y="294"/>
                  </a:lnTo>
                  <a:lnTo>
                    <a:pt x="1836" y="288"/>
                  </a:lnTo>
                  <a:lnTo>
                    <a:pt x="1848" y="282"/>
                  </a:lnTo>
                  <a:lnTo>
                    <a:pt x="1854" y="276"/>
                  </a:lnTo>
                  <a:lnTo>
                    <a:pt x="1848" y="228"/>
                  </a:lnTo>
                  <a:lnTo>
                    <a:pt x="1866" y="210"/>
                  </a:lnTo>
                  <a:lnTo>
                    <a:pt x="1872" y="216"/>
                  </a:lnTo>
                  <a:lnTo>
                    <a:pt x="1884" y="216"/>
                  </a:lnTo>
                  <a:lnTo>
                    <a:pt x="1890" y="222"/>
                  </a:lnTo>
                  <a:lnTo>
                    <a:pt x="1896" y="222"/>
                  </a:lnTo>
                  <a:lnTo>
                    <a:pt x="1902" y="216"/>
                  </a:lnTo>
                  <a:lnTo>
                    <a:pt x="1908" y="204"/>
                  </a:lnTo>
                  <a:lnTo>
                    <a:pt x="1908" y="180"/>
                  </a:lnTo>
                  <a:lnTo>
                    <a:pt x="1944" y="144"/>
                  </a:lnTo>
                  <a:lnTo>
                    <a:pt x="1938" y="132"/>
                  </a:lnTo>
                  <a:lnTo>
                    <a:pt x="1914" y="108"/>
                  </a:lnTo>
                  <a:lnTo>
                    <a:pt x="1890" y="108"/>
                  </a:lnTo>
                  <a:lnTo>
                    <a:pt x="1872" y="114"/>
                  </a:lnTo>
                  <a:lnTo>
                    <a:pt x="1848" y="126"/>
                  </a:lnTo>
                  <a:lnTo>
                    <a:pt x="1842" y="138"/>
                  </a:lnTo>
                  <a:lnTo>
                    <a:pt x="1842" y="120"/>
                  </a:lnTo>
                  <a:lnTo>
                    <a:pt x="1812" y="126"/>
                  </a:lnTo>
                  <a:lnTo>
                    <a:pt x="1794" y="138"/>
                  </a:lnTo>
                  <a:lnTo>
                    <a:pt x="1788" y="120"/>
                  </a:lnTo>
                  <a:lnTo>
                    <a:pt x="1752" y="114"/>
                  </a:lnTo>
                  <a:lnTo>
                    <a:pt x="1746" y="108"/>
                  </a:lnTo>
                  <a:lnTo>
                    <a:pt x="1734" y="102"/>
                  </a:lnTo>
                  <a:lnTo>
                    <a:pt x="1728" y="96"/>
                  </a:lnTo>
                  <a:lnTo>
                    <a:pt x="1716" y="90"/>
                  </a:lnTo>
                  <a:lnTo>
                    <a:pt x="1674" y="90"/>
                  </a:lnTo>
                  <a:lnTo>
                    <a:pt x="1662" y="84"/>
                  </a:lnTo>
                  <a:lnTo>
                    <a:pt x="1650" y="84"/>
                  </a:lnTo>
                  <a:lnTo>
                    <a:pt x="1650" y="78"/>
                  </a:lnTo>
                  <a:lnTo>
                    <a:pt x="1644" y="72"/>
                  </a:lnTo>
                  <a:lnTo>
                    <a:pt x="1632" y="48"/>
                  </a:lnTo>
                  <a:lnTo>
                    <a:pt x="1626" y="42"/>
                  </a:lnTo>
                  <a:lnTo>
                    <a:pt x="1620" y="42"/>
                  </a:lnTo>
                  <a:lnTo>
                    <a:pt x="1620" y="54"/>
                  </a:lnTo>
                  <a:lnTo>
                    <a:pt x="1614" y="60"/>
                  </a:lnTo>
                  <a:lnTo>
                    <a:pt x="1602" y="54"/>
                  </a:lnTo>
                  <a:lnTo>
                    <a:pt x="1596" y="54"/>
                  </a:lnTo>
                  <a:lnTo>
                    <a:pt x="1584" y="48"/>
                  </a:lnTo>
                  <a:lnTo>
                    <a:pt x="1566" y="48"/>
                  </a:lnTo>
                  <a:lnTo>
                    <a:pt x="1566" y="60"/>
                  </a:lnTo>
                  <a:lnTo>
                    <a:pt x="1572" y="66"/>
                  </a:lnTo>
                  <a:lnTo>
                    <a:pt x="1554" y="66"/>
                  </a:lnTo>
                  <a:lnTo>
                    <a:pt x="1548" y="72"/>
                  </a:lnTo>
                  <a:lnTo>
                    <a:pt x="1548" y="78"/>
                  </a:lnTo>
                  <a:lnTo>
                    <a:pt x="1554" y="84"/>
                  </a:lnTo>
                  <a:lnTo>
                    <a:pt x="1566" y="84"/>
                  </a:lnTo>
                  <a:lnTo>
                    <a:pt x="1590" y="96"/>
                  </a:lnTo>
                  <a:lnTo>
                    <a:pt x="1596" y="96"/>
                  </a:lnTo>
                  <a:lnTo>
                    <a:pt x="1608" y="90"/>
                  </a:lnTo>
                  <a:lnTo>
                    <a:pt x="1614" y="84"/>
                  </a:lnTo>
                  <a:lnTo>
                    <a:pt x="1644" y="102"/>
                  </a:lnTo>
                  <a:lnTo>
                    <a:pt x="1638" y="102"/>
                  </a:lnTo>
                  <a:lnTo>
                    <a:pt x="1632" y="108"/>
                  </a:lnTo>
                  <a:lnTo>
                    <a:pt x="1596" y="126"/>
                  </a:lnTo>
                  <a:lnTo>
                    <a:pt x="1572" y="126"/>
                  </a:lnTo>
                  <a:lnTo>
                    <a:pt x="1554" y="132"/>
                  </a:lnTo>
                  <a:lnTo>
                    <a:pt x="1512" y="132"/>
                  </a:lnTo>
                  <a:lnTo>
                    <a:pt x="1500" y="138"/>
                  </a:lnTo>
                  <a:lnTo>
                    <a:pt x="1482" y="144"/>
                  </a:lnTo>
                  <a:lnTo>
                    <a:pt x="1470" y="156"/>
                  </a:lnTo>
                  <a:lnTo>
                    <a:pt x="1452" y="162"/>
                  </a:lnTo>
                  <a:lnTo>
                    <a:pt x="1440" y="168"/>
                  </a:lnTo>
                  <a:lnTo>
                    <a:pt x="1434" y="174"/>
                  </a:lnTo>
                  <a:lnTo>
                    <a:pt x="1428" y="174"/>
                  </a:lnTo>
                  <a:lnTo>
                    <a:pt x="1428" y="186"/>
                  </a:lnTo>
                  <a:lnTo>
                    <a:pt x="1422" y="204"/>
                  </a:lnTo>
                  <a:lnTo>
                    <a:pt x="1422" y="228"/>
                  </a:lnTo>
                  <a:lnTo>
                    <a:pt x="1428" y="234"/>
                  </a:lnTo>
                  <a:lnTo>
                    <a:pt x="1440" y="240"/>
                  </a:lnTo>
                  <a:lnTo>
                    <a:pt x="1446" y="246"/>
                  </a:lnTo>
                  <a:lnTo>
                    <a:pt x="1452" y="246"/>
                  </a:lnTo>
                  <a:lnTo>
                    <a:pt x="1398" y="246"/>
                  </a:lnTo>
                  <a:lnTo>
                    <a:pt x="1368" y="282"/>
                  </a:lnTo>
                  <a:lnTo>
                    <a:pt x="1368" y="312"/>
                  </a:lnTo>
                  <a:lnTo>
                    <a:pt x="1362" y="324"/>
                  </a:lnTo>
                  <a:lnTo>
                    <a:pt x="1362" y="330"/>
                  </a:lnTo>
                  <a:lnTo>
                    <a:pt x="1368" y="336"/>
                  </a:lnTo>
                  <a:lnTo>
                    <a:pt x="1380" y="336"/>
                  </a:lnTo>
                  <a:lnTo>
                    <a:pt x="1404" y="348"/>
                  </a:lnTo>
                  <a:lnTo>
                    <a:pt x="1410" y="354"/>
                  </a:lnTo>
                  <a:lnTo>
                    <a:pt x="1410" y="390"/>
                  </a:lnTo>
                  <a:lnTo>
                    <a:pt x="1386" y="366"/>
                  </a:lnTo>
                  <a:lnTo>
                    <a:pt x="1356" y="366"/>
                  </a:lnTo>
                  <a:lnTo>
                    <a:pt x="1344" y="390"/>
                  </a:lnTo>
                  <a:lnTo>
                    <a:pt x="1308" y="354"/>
                  </a:lnTo>
                  <a:lnTo>
                    <a:pt x="1302" y="384"/>
                  </a:lnTo>
                  <a:lnTo>
                    <a:pt x="1278" y="396"/>
                  </a:lnTo>
                  <a:lnTo>
                    <a:pt x="1284" y="420"/>
                  </a:lnTo>
                  <a:lnTo>
                    <a:pt x="1254" y="414"/>
                  </a:lnTo>
                  <a:lnTo>
                    <a:pt x="1284" y="354"/>
                  </a:lnTo>
                  <a:lnTo>
                    <a:pt x="1278" y="348"/>
                  </a:lnTo>
                  <a:lnTo>
                    <a:pt x="1272" y="336"/>
                  </a:lnTo>
                  <a:lnTo>
                    <a:pt x="1272" y="324"/>
                  </a:lnTo>
                  <a:lnTo>
                    <a:pt x="1266" y="318"/>
                  </a:lnTo>
                  <a:lnTo>
                    <a:pt x="1254" y="312"/>
                  </a:lnTo>
                  <a:lnTo>
                    <a:pt x="1236" y="312"/>
                  </a:lnTo>
                  <a:lnTo>
                    <a:pt x="1224" y="282"/>
                  </a:lnTo>
                  <a:lnTo>
                    <a:pt x="1224" y="276"/>
                  </a:lnTo>
                  <a:lnTo>
                    <a:pt x="1230" y="270"/>
                  </a:lnTo>
                  <a:lnTo>
                    <a:pt x="1230" y="258"/>
                  </a:lnTo>
                  <a:lnTo>
                    <a:pt x="1224" y="246"/>
                  </a:lnTo>
                  <a:lnTo>
                    <a:pt x="1218" y="240"/>
                  </a:lnTo>
                  <a:lnTo>
                    <a:pt x="1206" y="234"/>
                  </a:lnTo>
                  <a:lnTo>
                    <a:pt x="1194" y="240"/>
                  </a:lnTo>
                  <a:lnTo>
                    <a:pt x="1188" y="246"/>
                  </a:lnTo>
                  <a:lnTo>
                    <a:pt x="1176" y="252"/>
                  </a:lnTo>
                  <a:lnTo>
                    <a:pt x="1176" y="264"/>
                  </a:lnTo>
                  <a:lnTo>
                    <a:pt x="1182" y="270"/>
                  </a:lnTo>
                  <a:lnTo>
                    <a:pt x="1182" y="282"/>
                  </a:lnTo>
                  <a:lnTo>
                    <a:pt x="1146" y="276"/>
                  </a:lnTo>
                  <a:lnTo>
                    <a:pt x="1152" y="306"/>
                  </a:lnTo>
                  <a:lnTo>
                    <a:pt x="1134" y="300"/>
                  </a:lnTo>
                  <a:lnTo>
                    <a:pt x="1116" y="306"/>
                  </a:lnTo>
                  <a:lnTo>
                    <a:pt x="1122" y="312"/>
                  </a:lnTo>
                  <a:lnTo>
                    <a:pt x="1122" y="330"/>
                  </a:lnTo>
                  <a:lnTo>
                    <a:pt x="1116" y="342"/>
                  </a:lnTo>
                  <a:lnTo>
                    <a:pt x="1110" y="348"/>
                  </a:lnTo>
                  <a:lnTo>
                    <a:pt x="1098" y="354"/>
                  </a:lnTo>
                  <a:lnTo>
                    <a:pt x="1092" y="360"/>
                  </a:lnTo>
                  <a:lnTo>
                    <a:pt x="1104" y="324"/>
                  </a:lnTo>
                  <a:lnTo>
                    <a:pt x="1080" y="348"/>
                  </a:lnTo>
                  <a:lnTo>
                    <a:pt x="1062" y="348"/>
                  </a:lnTo>
                  <a:lnTo>
                    <a:pt x="1056" y="360"/>
                  </a:lnTo>
                  <a:lnTo>
                    <a:pt x="1050" y="366"/>
                  </a:lnTo>
                  <a:lnTo>
                    <a:pt x="1050" y="378"/>
                  </a:lnTo>
                  <a:lnTo>
                    <a:pt x="1056" y="390"/>
                  </a:lnTo>
                  <a:lnTo>
                    <a:pt x="1056" y="396"/>
                  </a:lnTo>
                  <a:lnTo>
                    <a:pt x="1062" y="408"/>
                  </a:lnTo>
                  <a:lnTo>
                    <a:pt x="1014" y="384"/>
                  </a:lnTo>
                  <a:lnTo>
                    <a:pt x="1008" y="420"/>
                  </a:lnTo>
                  <a:lnTo>
                    <a:pt x="996" y="426"/>
                  </a:lnTo>
                  <a:lnTo>
                    <a:pt x="1008" y="450"/>
                  </a:lnTo>
                  <a:lnTo>
                    <a:pt x="1032" y="450"/>
                  </a:lnTo>
                  <a:lnTo>
                    <a:pt x="1026" y="468"/>
                  </a:lnTo>
                  <a:lnTo>
                    <a:pt x="954" y="474"/>
                  </a:lnTo>
                  <a:lnTo>
                    <a:pt x="948" y="468"/>
                  </a:lnTo>
                  <a:lnTo>
                    <a:pt x="936" y="462"/>
                  </a:lnTo>
                  <a:lnTo>
                    <a:pt x="930" y="462"/>
                  </a:lnTo>
                  <a:lnTo>
                    <a:pt x="918" y="468"/>
                  </a:lnTo>
                  <a:lnTo>
                    <a:pt x="912" y="474"/>
                  </a:lnTo>
                  <a:lnTo>
                    <a:pt x="918" y="486"/>
                  </a:lnTo>
                  <a:lnTo>
                    <a:pt x="918" y="492"/>
                  </a:lnTo>
                  <a:lnTo>
                    <a:pt x="924" y="504"/>
                  </a:lnTo>
                  <a:lnTo>
                    <a:pt x="930" y="510"/>
                  </a:lnTo>
                  <a:lnTo>
                    <a:pt x="930" y="540"/>
                  </a:lnTo>
                  <a:lnTo>
                    <a:pt x="924" y="564"/>
                  </a:lnTo>
                  <a:lnTo>
                    <a:pt x="930" y="600"/>
                  </a:lnTo>
                  <a:lnTo>
                    <a:pt x="912" y="600"/>
                  </a:lnTo>
                  <a:lnTo>
                    <a:pt x="906" y="522"/>
                  </a:lnTo>
                  <a:lnTo>
                    <a:pt x="888" y="510"/>
                  </a:lnTo>
                  <a:lnTo>
                    <a:pt x="888" y="480"/>
                  </a:lnTo>
                  <a:lnTo>
                    <a:pt x="870" y="480"/>
                  </a:lnTo>
                  <a:lnTo>
                    <a:pt x="852" y="504"/>
                  </a:lnTo>
                  <a:lnTo>
                    <a:pt x="822" y="534"/>
                  </a:lnTo>
                  <a:lnTo>
                    <a:pt x="804" y="546"/>
                  </a:lnTo>
                  <a:lnTo>
                    <a:pt x="792" y="558"/>
                  </a:lnTo>
                  <a:lnTo>
                    <a:pt x="786" y="570"/>
                  </a:lnTo>
                  <a:lnTo>
                    <a:pt x="786" y="600"/>
                  </a:lnTo>
                  <a:lnTo>
                    <a:pt x="792" y="606"/>
                  </a:lnTo>
                  <a:lnTo>
                    <a:pt x="792" y="618"/>
                  </a:lnTo>
                  <a:lnTo>
                    <a:pt x="798" y="618"/>
                  </a:lnTo>
                  <a:lnTo>
                    <a:pt x="816" y="636"/>
                  </a:lnTo>
                  <a:lnTo>
                    <a:pt x="810" y="648"/>
                  </a:lnTo>
                  <a:lnTo>
                    <a:pt x="792" y="654"/>
                  </a:lnTo>
                  <a:lnTo>
                    <a:pt x="774" y="666"/>
                  </a:lnTo>
                  <a:lnTo>
                    <a:pt x="750" y="678"/>
                  </a:lnTo>
                  <a:lnTo>
                    <a:pt x="750" y="696"/>
                  </a:lnTo>
                  <a:lnTo>
                    <a:pt x="720" y="726"/>
                  </a:lnTo>
                  <a:lnTo>
                    <a:pt x="702" y="732"/>
                  </a:lnTo>
                  <a:lnTo>
                    <a:pt x="690" y="744"/>
                  </a:lnTo>
                  <a:lnTo>
                    <a:pt x="666" y="756"/>
                  </a:lnTo>
                  <a:lnTo>
                    <a:pt x="630" y="762"/>
                  </a:lnTo>
                  <a:lnTo>
                    <a:pt x="600" y="768"/>
                  </a:lnTo>
                  <a:lnTo>
                    <a:pt x="588" y="768"/>
                  </a:lnTo>
                  <a:lnTo>
                    <a:pt x="534" y="762"/>
                  </a:lnTo>
                  <a:lnTo>
                    <a:pt x="492" y="780"/>
                  </a:lnTo>
                  <a:lnTo>
                    <a:pt x="438" y="786"/>
                  </a:lnTo>
                  <a:lnTo>
                    <a:pt x="432" y="798"/>
                  </a:lnTo>
                  <a:lnTo>
                    <a:pt x="414" y="798"/>
                  </a:lnTo>
                  <a:lnTo>
                    <a:pt x="402" y="804"/>
                  </a:lnTo>
                  <a:lnTo>
                    <a:pt x="396" y="810"/>
                  </a:lnTo>
                  <a:lnTo>
                    <a:pt x="384" y="816"/>
                  </a:lnTo>
                  <a:lnTo>
                    <a:pt x="372" y="828"/>
                  </a:lnTo>
                  <a:lnTo>
                    <a:pt x="342" y="828"/>
                  </a:lnTo>
                  <a:lnTo>
                    <a:pt x="324" y="834"/>
                  </a:lnTo>
                  <a:lnTo>
                    <a:pt x="312" y="840"/>
                  </a:lnTo>
                  <a:lnTo>
                    <a:pt x="306" y="852"/>
                  </a:lnTo>
                  <a:lnTo>
                    <a:pt x="294" y="858"/>
                  </a:lnTo>
                  <a:lnTo>
                    <a:pt x="288" y="870"/>
                  </a:lnTo>
                  <a:lnTo>
                    <a:pt x="282" y="876"/>
                  </a:lnTo>
                  <a:lnTo>
                    <a:pt x="282" y="882"/>
                  </a:lnTo>
                  <a:lnTo>
                    <a:pt x="276" y="882"/>
                  </a:lnTo>
                  <a:lnTo>
                    <a:pt x="270" y="888"/>
                  </a:lnTo>
                  <a:lnTo>
                    <a:pt x="252" y="888"/>
                  </a:lnTo>
                  <a:lnTo>
                    <a:pt x="240" y="894"/>
                  </a:lnTo>
                  <a:lnTo>
                    <a:pt x="228" y="894"/>
                  </a:lnTo>
                  <a:lnTo>
                    <a:pt x="216" y="900"/>
                  </a:lnTo>
                  <a:lnTo>
                    <a:pt x="210" y="906"/>
                  </a:lnTo>
                  <a:lnTo>
                    <a:pt x="198" y="912"/>
                  </a:lnTo>
                  <a:lnTo>
                    <a:pt x="192" y="930"/>
                  </a:lnTo>
                  <a:lnTo>
                    <a:pt x="150" y="972"/>
                  </a:lnTo>
                  <a:lnTo>
                    <a:pt x="150" y="978"/>
                  </a:lnTo>
                  <a:lnTo>
                    <a:pt x="162" y="912"/>
                  </a:lnTo>
                  <a:lnTo>
                    <a:pt x="144" y="918"/>
                  </a:lnTo>
                  <a:lnTo>
                    <a:pt x="120" y="978"/>
                  </a:lnTo>
                  <a:lnTo>
                    <a:pt x="90" y="1038"/>
                  </a:lnTo>
                  <a:lnTo>
                    <a:pt x="90" y="1056"/>
                  </a:lnTo>
                  <a:lnTo>
                    <a:pt x="96" y="1062"/>
                  </a:lnTo>
                  <a:lnTo>
                    <a:pt x="108" y="1068"/>
                  </a:lnTo>
                  <a:lnTo>
                    <a:pt x="114" y="1068"/>
                  </a:lnTo>
                  <a:lnTo>
                    <a:pt x="108" y="1080"/>
                  </a:lnTo>
                  <a:lnTo>
                    <a:pt x="96" y="1086"/>
                  </a:lnTo>
                  <a:lnTo>
                    <a:pt x="90" y="1098"/>
                  </a:lnTo>
                  <a:lnTo>
                    <a:pt x="66" y="1122"/>
                  </a:lnTo>
                  <a:lnTo>
                    <a:pt x="66" y="1134"/>
                  </a:lnTo>
                  <a:lnTo>
                    <a:pt x="72" y="1152"/>
                  </a:lnTo>
                  <a:lnTo>
                    <a:pt x="72" y="1164"/>
                  </a:lnTo>
                  <a:lnTo>
                    <a:pt x="84" y="1188"/>
                  </a:lnTo>
                  <a:lnTo>
                    <a:pt x="84" y="1200"/>
                  </a:lnTo>
                  <a:lnTo>
                    <a:pt x="102" y="1236"/>
                  </a:lnTo>
                  <a:lnTo>
                    <a:pt x="108" y="1254"/>
                  </a:lnTo>
                  <a:lnTo>
                    <a:pt x="114" y="1266"/>
                  </a:lnTo>
                  <a:lnTo>
                    <a:pt x="114" y="1278"/>
                  </a:lnTo>
                  <a:lnTo>
                    <a:pt x="108" y="1278"/>
                  </a:lnTo>
                  <a:lnTo>
                    <a:pt x="96" y="1266"/>
                  </a:lnTo>
                  <a:lnTo>
                    <a:pt x="90" y="1254"/>
                  </a:lnTo>
                  <a:lnTo>
                    <a:pt x="72" y="1236"/>
                  </a:lnTo>
                  <a:lnTo>
                    <a:pt x="66" y="1224"/>
                  </a:lnTo>
                  <a:lnTo>
                    <a:pt x="48" y="1218"/>
                  </a:lnTo>
                  <a:lnTo>
                    <a:pt x="66" y="1266"/>
                  </a:lnTo>
                  <a:lnTo>
                    <a:pt x="30" y="1236"/>
                  </a:lnTo>
                  <a:lnTo>
                    <a:pt x="30" y="1290"/>
                  </a:lnTo>
                  <a:lnTo>
                    <a:pt x="60" y="1350"/>
                  </a:lnTo>
                  <a:lnTo>
                    <a:pt x="66" y="1356"/>
                  </a:lnTo>
                  <a:lnTo>
                    <a:pt x="66" y="1368"/>
                  </a:lnTo>
                  <a:lnTo>
                    <a:pt x="60" y="1374"/>
                  </a:lnTo>
                  <a:lnTo>
                    <a:pt x="54" y="1386"/>
                  </a:lnTo>
                  <a:lnTo>
                    <a:pt x="54" y="1398"/>
                  </a:lnTo>
                  <a:lnTo>
                    <a:pt x="48" y="1410"/>
                  </a:lnTo>
                  <a:lnTo>
                    <a:pt x="54" y="1416"/>
                  </a:lnTo>
                  <a:lnTo>
                    <a:pt x="60" y="1428"/>
                  </a:lnTo>
                  <a:lnTo>
                    <a:pt x="78" y="1446"/>
                  </a:lnTo>
                  <a:lnTo>
                    <a:pt x="84" y="1458"/>
                  </a:lnTo>
                  <a:lnTo>
                    <a:pt x="90" y="1464"/>
                  </a:lnTo>
                  <a:lnTo>
                    <a:pt x="96" y="1476"/>
                  </a:lnTo>
                  <a:lnTo>
                    <a:pt x="96" y="1506"/>
                  </a:lnTo>
                  <a:lnTo>
                    <a:pt x="90" y="1518"/>
                  </a:lnTo>
                  <a:lnTo>
                    <a:pt x="84" y="1524"/>
                  </a:lnTo>
                  <a:lnTo>
                    <a:pt x="90" y="1542"/>
                  </a:lnTo>
                  <a:lnTo>
                    <a:pt x="90" y="1554"/>
                  </a:lnTo>
                  <a:lnTo>
                    <a:pt x="96" y="1572"/>
                  </a:lnTo>
                  <a:lnTo>
                    <a:pt x="96" y="1590"/>
                  </a:lnTo>
                  <a:lnTo>
                    <a:pt x="102" y="1596"/>
                  </a:lnTo>
                  <a:lnTo>
                    <a:pt x="102" y="1602"/>
                  </a:lnTo>
                  <a:lnTo>
                    <a:pt x="96" y="1602"/>
                  </a:lnTo>
                  <a:lnTo>
                    <a:pt x="78" y="1620"/>
                  </a:lnTo>
                  <a:lnTo>
                    <a:pt x="84" y="1626"/>
                  </a:lnTo>
                  <a:lnTo>
                    <a:pt x="84" y="1638"/>
                  </a:lnTo>
                  <a:lnTo>
                    <a:pt x="90" y="1650"/>
                  </a:lnTo>
                  <a:lnTo>
                    <a:pt x="90" y="1662"/>
                  </a:lnTo>
                  <a:lnTo>
                    <a:pt x="96" y="1668"/>
                  </a:lnTo>
                  <a:lnTo>
                    <a:pt x="96" y="1674"/>
                  </a:lnTo>
                  <a:lnTo>
                    <a:pt x="102" y="1674"/>
                  </a:lnTo>
                  <a:lnTo>
                    <a:pt x="108" y="1680"/>
                  </a:lnTo>
                  <a:lnTo>
                    <a:pt x="126" y="1716"/>
                  </a:lnTo>
                  <a:lnTo>
                    <a:pt x="126" y="1728"/>
                  </a:lnTo>
                  <a:lnTo>
                    <a:pt x="108" y="1764"/>
                  </a:lnTo>
                  <a:lnTo>
                    <a:pt x="90" y="1782"/>
                  </a:lnTo>
                  <a:lnTo>
                    <a:pt x="90" y="1824"/>
                  </a:lnTo>
                  <a:lnTo>
                    <a:pt x="84" y="1842"/>
                  </a:lnTo>
                  <a:lnTo>
                    <a:pt x="60" y="1866"/>
                  </a:lnTo>
                  <a:lnTo>
                    <a:pt x="42" y="1866"/>
                  </a:lnTo>
                  <a:lnTo>
                    <a:pt x="30" y="1872"/>
                  </a:lnTo>
                  <a:lnTo>
                    <a:pt x="18" y="1866"/>
                  </a:lnTo>
                  <a:lnTo>
                    <a:pt x="6" y="1866"/>
                  </a:lnTo>
                  <a:lnTo>
                    <a:pt x="0" y="1920"/>
                  </a:lnTo>
                  <a:lnTo>
                    <a:pt x="12" y="1920"/>
                  </a:lnTo>
                  <a:lnTo>
                    <a:pt x="24" y="1926"/>
                  </a:lnTo>
                  <a:lnTo>
                    <a:pt x="42" y="1926"/>
                  </a:lnTo>
                  <a:lnTo>
                    <a:pt x="54" y="1932"/>
                  </a:lnTo>
                  <a:lnTo>
                    <a:pt x="72" y="1950"/>
                  </a:lnTo>
                  <a:lnTo>
                    <a:pt x="78" y="1962"/>
                  </a:lnTo>
                  <a:lnTo>
                    <a:pt x="108" y="1956"/>
                  </a:lnTo>
                  <a:lnTo>
                    <a:pt x="114" y="1968"/>
                  </a:lnTo>
                  <a:lnTo>
                    <a:pt x="138" y="1980"/>
                  </a:lnTo>
                  <a:lnTo>
                    <a:pt x="174" y="1980"/>
                  </a:lnTo>
                  <a:lnTo>
                    <a:pt x="210" y="1968"/>
                  </a:lnTo>
                  <a:lnTo>
                    <a:pt x="234" y="1968"/>
                  </a:lnTo>
                  <a:lnTo>
                    <a:pt x="234" y="1950"/>
                  </a:lnTo>
                  <a:lnTo>
                    <a:pt x="228" y="1944"/>
                  </a:lnTo>
                  <a:lnTo>
                    <a:pt x="264" y="1950"/>
                  </a:lnTo>
                  <a:lnTo>
                    <a:pt x="276" y="1932"/>
                  </a:lnTo>
                  <a:lnTo>
                    <a:pt x="318" y="1926"/>
                  </a:lnTo>
                  <a:lnTo>
                    <a:pt x="354" y="1890"/>
                  </a:lnTo>
                  <a:lnTo>
                    <a:pt x="366" y="1884"/>
                  </a:lnTo>
                  <a:lnTo>
                    <a:pt x="372" y="1884"/>
                  </a:lnTo>
                  <a:lnTo>
                    <a:pt x="420" y="1908"/>
                  </a:lnTo>
                  <a:lnTo>
                    <a:pt x="426" y="1902"/>
                  </a:lnTo>
                  <a:lnTo>
                    <a:pt x="474" y="1878"/>
                  </a:lnTo>
                  <a:lnTo>
                    <a:pt x="480" y="1872"/>
                  </a:lnTo>
                  <a:lnTo>
                    <a:pt x="486" y="1872"/>
                  </a:lnTo>
                  <a:lnTo>
                    <a:pt x="498" y="1878"/>
                  </a:lnTo>
                  <a:lnTo>
                    <a:pt x="504" y="1884"/>
                  </a:lnTo>
                  <a:lnTo>
                    <a:pt x="516" y="1884"/>
                  </a:lnTo>
                  <a:lnTo>
                    <a:pt x="528" y="1890"/>
                  </a:lnTo>
                  <a:lnTo>
                    <a:pt x="534" y="1890"/>
                  </a:lnTo>
                  <a:lnTo>
                    <a:pt x="552" y="1884"/>
                  </a:lnTo>
                  <a:lnTo>
                    <a:pt x="576" y="1872"/>
                  </a:lnTo>
                  <a:lnTo>
                    <a:pt x="582" y="1872"/>
                  </a:lnTo>
                  <a:lnTo>
                    <a:pt x="594" y="1878"/>
                  </a:lnTo>
                  <a:lnTo>
                    <a:pt x="606" y="1878"/>
                  </a:lnTo>
                  <a:lnTo>
                    <a:pt x="624" y="1884"/>
                  </a:lnTo>
                  <a:lnTo>
                    <a:pt x="636" y="1884"/>
                  </a:lnTo>
                  <a:lnTo>
                    <a:pt x="648" y="1878"/>
                  </a:lnTo>
                  <a:lnTo>
                    <a:pt x="654" y="1872"/>
                  </a:lnTo>
                  <a:lnTo>
                    <a:pt x="654" y="1848"/>
                  </a:lnTo>
                  <a:lnTo>
                    <a:pt x="666" y="1848"/>
                  </a:lnTo>
                  <a:lnTo>
                    <a:pt x="672" y="1842"/>
                  </a:lnTo>
                  <a:lnTo>
                    <a:pt x="678" y="1842"/>
                  </a:lnTo>
                  <a:lnTo>
                    <a:pt x="684" y="1836"/>
                  </a:lnTo>
                  <a:lnTo>
                    <a:pt x="690" y="1824"/>
                  </a:lnTo>
                  <a:lnTo>
                    <a:pt x="702" y="1788"/>
                  </a:lnTo>
                  <a:lnTo>
                    <a:pt x="714" y="1776"/>
                  </a:lnTo>
                  <a:lnTo>
                    <a:pt x="726" y="1770"/>
                  </a:lnTo>
                  <a:lnTo>
                    <a:pt x="744" y="1764"/>
                  </a:lnTo>
                  <a:lnTo>
                    <a:pt x="756" y="1764"/>
                  </a:lnTo>
                  <a:lnTo>
                    <a:pt x="774" y="1770"/>
                  </a:lnTo>
                  <a:lnTo>
                    <a:pt x="798" y="1770"/>
                  </a:lnTo>
                  <a:lnTo>
                    <a:pt x="822" y="1758"/>
                  </a:lnTo>
                  <a:lnTo>
                    <a:pt x="840" y="1752"/>
                  </a:lnTo>
                  <a:lnTo>
                    <a:pt x="858" y="1740"/>
                  </a:lnTo>
                  <a:lnTo>
                    <a:pt x="876" y="1734"/>
                  </a:lnTo>
                  <a:lnTo>
                    <a:pt x="912" y="1734"/>
                  </a:lnTo>
                  <a:lnTo>
                    <a:pt x="918" y="1740"/>
                  </a:lnTo>
                  <a:lnTo>
                    <a:pt x="930" y="1740"/>
                  </a:lnTo>
                  <a:lnTo>
                    <a:pt x="942" y="1746"/>
                  </a:lnTo>
                  <a:lnTo>
                    <a:pt x="972" y="1740"/>
                  </a:lnTo>
                  <a:lnTo>
                    <a:pt x="1044" y="1704"/>
                  </a:lnTo>
                  <a:lnTo>
                    <a:pt x="1074" y="1692"/>
                  </a:lnTo>
                  <a:lnTo>
                    <a:pt x="1098" y="1686"/>
                  </a:lnTo>
                  <a:lnTo>
                    <a:pt x="1140" y="1680"/>
                  </a:lnTo>
                  <a:lnTo>
                    <a:pt x="1176" y="1674"/>
                  </a:lnTo>
                  <a:lnTo>
                    <a:pt x="1224" y="1674"/>
                  </a:lnTo>
                  <a:lnTo>
                    <a:pt x="1236" y="1662"/>
                  </a:lnTo>
                  <a:lnTo>
                    <a:pt x="1254" y="1680"/>
                  </a:lnTo>
                  <a:lnTo>
                    <a:pt x="1266" y="1686"/>
                  </a:lnTo>
                  <a:lnTo>
                    <a:pt x="1278" y="1698"/>
                  </a:lnTo>
                  <a:lnTo>
                    <a:pt x="1302" y="1710"/>
                  </a:lnTo>
                  <a:lnTo>
                    <a:pt x="1320" y="1716"/>
                  </a:lnTo>
                  <a:lnTo>
                    <a:pt x="1332" y="1716"/>
                  </a:lnTo>
                  <a:lnTo>
                    <a:pt x="1338" y="1710"/>
                  </a:lnTo>
                  <a:lnTo>
                    <a:pt x="1338" y="1716"/>
                  </a:lnTo>
                  <a:lnTo>
                    <a:pt x="1344" y="1722"/>
                  </a:lnTo>
                  <a:lnTo>
                    <a:pt x="1350" y="1734"/>
                  </a:lnTo>
                  <a:lnTo>
                    <a:pt x="1356" y="1740"/>
                  </a:lnTo>
                  <a:lnTo>
                    <a:pt x="1374" y="1740"/>
                  </a:lnTo>
                  <a:lnTo>
                    <a:pt x="1380" y="1734"/>
                  </a:lnTo>
                  <a:lnTo>
                    <a:pt x="1380" y="1752"/>
                  </a:lnTo>
                  <a:lnTo>
                    <a:pt x="1392" y="1752"/>
                  </a:lnTo>
                  <a:lnTo>
                    <a:pt x="1398" y="1758"/>
                  </a:lnTo>
                  <a:lnTo>
                    <a:pt x="1398" y="1770"/>
                  </a:lnTo>
                  <a:lnTo>
                    <a:pt x="1386" y="1794"/>
                  </a:lnTo>
                  <a:lnTo>
                    <a:pt x="1380" y="1800"/>
                  </a:lnTo>
                  <a:lnTo>
                    <a:pt x="1374" y="1812"/>
                  </a:lnTo>
                  <a:lnTo>
                    <a:pt x="1392" y="1842"/>
                  </a:lnTo>
                  <a:lnTo>
                    <a:pt x="1410" y="1830"/>
                  </a:lnTo>
                  <a:lnTo>
                    <a:pt x="1428" y="1866"/>
                  </a:lnTo>
                  <a:lnTo>
                    <a:pt x="1428" y="1872"/>
                  </a:lnTo>
                  <a:lnTo>
                    <a:pt x="1434" y="1878"/>
                  </a:lnTo>
                  <a:lnTo>
                    <a:pt x="1434" y="1902"/>
                  </a:lnTo>
                  <a:lnTo>
                    <a:pt x="1440" y="1914"/>
                  </a:lnTo>
                  <a:lnTo>
                    <a:pt x="1440" y="1926"/>
                  </a:lnTo>
                  <a:lnTo>
                    <a:pt x="1422" y="1926"/>
                  </a:lnTo>
                  <a:lnTo>
                    <a:pt x="1410" y="1920"/>
                  </a:lnTo>
                  <a:lnTo>
                    <a:pt x="1404" y="1920"/>
                  </a:lnTo>
                  <a:lnTo>
                    <a:pt x="1410" y="1956"/>
                  </a:lnTo>
                  <a:lnTo>
                    <a:pt x="1446" y="1956"/>
                  </a:lnTo>
                  <a:lnTo>
                    <a:pt x="1452" y="1962"/>
                  </a:lnTo>
                  <a:lnTo>
                    <a:pt x="1452" y="1968"/>
                  </a:lnTo>
                  <a:lnTo>
                    <a:pt x="1470" y="1968"/>
                  </a:lnTo>
                  <a:lnTo>
                    <a:pt x="1470" y="1956"/>
                  </a:lnTo>
                  <a:lnTo>
                    <a:pt x="1464" y="1938"/>
                  </a:lnTo>
                  <a:lnTo>
                    <a:pt x="1464" y="1926"/>
                  </a:lnTo>
                  <a:lnTo>
                    <a:pt x="1470" y="1914"/>
                  </a:lnTo>
                  <a:lnTo>
                    <a:pt x="1476" y="1908"/>
                  </a:lnTo>
                  <a:lnTo>
                    <a:pt x="1500" y="1896"/>
                  </a:lnTo>
                  <a:lnTo>
                    <a:pt x="1512" y="1896"/>
                  </a:lnTo>
                  <a:lnTo>
                    <a:pt x="1518" y="1890"/>
                  </a:lnTo>
                  <a:lnTo>
                    <a:pt x="1530" y="1884"/>
                  </a:lnTo>
                  <a:lnTo>
                    <a:pt x="1542" y="1872"/>
                  </a:lnTo>
                  <a:lnTo>
                    <a:pt x="1548" y="1860"/>
                  </a:lnTo>
                  <a:lnTo>
                    <a:pt x="1566" y="1842"/>
                  </a:lnTo>
                  <a:lnTo>
                    <a:pt x="1566" y="1836"/>
                  </a:lnTo>
                  <a:lnTo>
                    <a:pt x="1590" y="1842"/>
                  </a:lnTo>
                  <a:lnTo>
                    <a:pt x="1608" y="1788"/>
                  </a:lnTo>
                  <a:lnTo>
                    <a:pt x="1638" y="1788"/>
                  </a:lnTo>
                  <a:lnTo>
                    <a:pt x="1650" y="1782"/>
                  </a:lnTo>
                  <a:lnTo>
                    <a:pt x="1662" y="1770"/>
                  </a:lnTo>
                  <a:lnTo>
                    <a:pt x="1668" y="1752"/>
                  </a:lnTo>
                  <a:lnTo>
                    <a:pt x="1668" y="1740"/>
                  </a:lnTo>
                  <a:lnTo>
                    <a:pt x="1668" y="1746"/>
                  </a:lnTo>
                  <a:lnTo>
                    <a:pt x="1674" y="1752"/>
                  </a:lnTo>
                  <a:lnTo>
                    <a:pt x="1674" y="1764"/>
                  </a:lnTo>
                  <a:lnTo>
                    <a:pt x="1680" y="1776"/>
                  </a:lnTo>
                  <a:lnTo>
                    <a:pt x="1680" y="1782"/>
                  </a:lnTo>
                  <a:lnTo>
                    <a:pt x="1668" y="1794"/>
                  </a:lnTo>
                  <a:lnTo>
                    <a:pt x="1662" y="1806"/>
                  </a:lnTo>
                  <a:lnTo>
                    <a:pt x="1650" y="1812"/>
                  </a:lnTo>
                  <a:lnTo>
                    <a:pt x="1644" y="1818"/>
                  </a:lnTo>
                  <a:lnTo>
                    <a:pt x="1620" y="1818"/>
                  </a:lnTo>
                  <a:lnTo>
                    <a:pt x="1614" y="1830"/>
                  </a:lnTo>
                  <a:lnTo>
                    <a:pt x="1632" y="1866"/>
                  </a:lnTo>
                  <a:lnTo>
                    <a:pt x="1620" y="1866"/>
                  </a:lnTo>
                  <a:lnTo>
                    <a:pt x="1614" y="1872"/>
                  </a:lnTo>
                  <a:lnTo>
                    <a:pt x="1602" y="1878"/>
                  </a:lnTo>
                  <a:lnTo>
                    <a:pt x="1566" y="1914"/>
                  </a:lnTo>
                  <a:lnTo>
                    <a:pt x="1566" y="1926"/>
                  </a:lnTo>
                  <a:lnTo>
                    <a:pt x="1560" y="1932"/>
                  </a:lnTo>
                  <a:lnTo>
                    <a:pt x="1554" y="1944"/>
                  </a:lnTo>
                  <a:lnTo>
                    <a:pt x="1542" y="1956"/>
                  </a:lnTo>
                  <a:lnTo>
                    <a:pt x="1518" y="1968"/>
                  </a:lnTo>
                  <a:lnTo>
                    <a:pt x="1512" y="1974"/>
                  </a:lnTo>
                  <a:lnTo>
                    <a:pt x="1512" y="1980"/>
                  </a:lnTo>
                  <a:lnTo>
                    <a:pt x="1518" y="1986"/>
                  </a:lnTo>
                  <a:lnTo>
                    <a:pt x="1548" y="1986"/>
                  </a:lnTo>
                  <a:lnTo>
                    <a:pt x="1560" y="1980"/>
                  </a:lnTo>
                  <a:lnTo>
                    <a:pt x="1572" y="1980"/>
                  </a:lnTo>
                  <a:lnTo>
                    <a:pt x="1584" y="1968"/>
                  </a:lnTo>
                  <a:lnTo>
                    <a:pt x="1602" y="1932"/>
                  </a:lnTo>
                  <a:lnTo>
                    <a:pt x="1608" y="1926"/>
                  </a:lnTo>
                  <a:lnTo>
                    <a:pt x="1614" y="1914"/>
                  </a:lnTo>
                  <a:lnTo>
                    <a:pt x="1626" y="1908"/>
                  </a:lnTo>
                  <a:lnTo>
                    <a:pt x="1632" y="1902"/>
                  </a:lnTo>
                  <a:lnTo>
                    <a:pt x="1632" y="1920"/>
                  </a:lnTo>
                  <a:lnTo>
                    <a:pt x="1638" y="1932"/>
                  </a:lnTo>
                  <a:lnTo>
                    <a:pt x="1638" y="1956"/>
                  </a:lnTo>
                  <a:lnTo>
                    <a:pt x="1626" y="1968"/>
                  </a:lnTo>
                  <a:lnTo>
                    <a:pt x="1614" y="1974"/>
                  </a:lnTo>
                  <a:lnTo>
                    <a:pt x="1602" y="1986"/>
                  </a:lnTo>
                  <a:lnTo>
                    <a:pt x="1602" y="2004"/>
                  </a:lnTo>
                  <a:lnTo>
                    <a:pt x="1608" y="2010"/>
                  </a:lnTo>
                  <a:lnTo>
                    <a:pt x="1614" y="2010"/>
                  </a:lnTo>
                  <a:lnTo>
                    <a:pt x="1632" y="2016"/>
                  </a:lnTo>
                  <a:lnTo>
                    <a:pt x="1662" y="2016"/>
                  </a:lnTo>
                  <a:lnTo>
                    <a:pt x="1668" y="2028"/>
                  </a:lnTo>
                  <a:lnTo>
                    <a:pt x="1644" y="2052"/>
                  </a:lnTo>
                  <a:lnTo>
                    <a:pt x="1644" y="2058"/>
                  </a:lnTo>
                  <a:lnTo>
                    <a:pt x="1650" y="2064"/>
                  </a:lnTo>
                  <a:lnTo>
                    <a:pt x="1668" y="2100"/>
                  </a:lnTo>
                  <a:lnTo>
                    <a:pt x="1674" y="2106"/>
                  </a:lnTo>
                  <a:lnTo>
                    <a:pt x="1674" y="2118"/>
                  </a:lnTo>
                  <a:lnTo>
                    <a:pt x="1626" y="2166"/>
                  </a:lnTo>
                  <a:lnTo>
                    <a:pt x="1626" y="2178"/>
                  </a:lnTo>
                  <a:lnTo>
                    <a:pt x="1638" y="2190"/>
                  </a:lnTo>
                  <a:lnTo>
                    <a:pt x="1644" y="2202"/>
                  </a:lnTo>
                  <a:lnTo>
                    <a:pt x="1668" y="2214"/>
                  </a:lnTo>
                  <a:lnTo>
                    <a:pt x="1680" y="2226"/>
                  </a:lnTo>
                  <a:lnTo>
                    <a:pt x="1692" y="2232"/>
                  </a:lnTo>
                  <a:lnTo>
                    <a:pt x="1716" y="2256"/>
                  </a:lnTo>
                  <a:lnTo>
                    <a:pt x="1728" y="2262"/>
                  </a:lnTo>
                  <a:lnTo>
                    <a:pt x="1800" y="2262"/>
                  </a:lnTo>
                  <a:lnTo>
                    <a:pt x="1824" y="2286"/>
                  </a:lnTo>
                  <a:lnTo>
                    <a:pt x="1842" y="2292"/>
                  </a:lnTo>
                  <a:lnTo>
                    <a:pt x="1872" y="2286"/>
                  </a:lnTo>
                  <a:lnTo>
                    <a:pt x="1902" y="2274"/>
                  </a:lnTo>
                  <a:lnTo>
                    <a:pt x="1932" y="2256"/>
                  </a:lnTo>
                  <a:lnTo>
                    <a:pt x="1944" y="2250"/>
                  </a:lnTo>
                  <a:lnTo>
                    <a:pt x="1944" y="2226"/>
                  </a:lnTo>
                  <a:lnTo>
                    <a:pt x="1956" y="2214"/>
                  </a:lnTo>
                  <a:lnTo>
                    <a:pt x="1962" y="2214"/>
                  </a:lnTo>
                  <a:lnTo>
                    <a:pt x="1974" y="2226"/>
                  </a:lnTo>
                  <a:lnTo>
                    <a:pt x="1974" y="2256"/>
                  </a:lnTo>
                  <a:lnTo>
                    <a:pt x="1992" y="2256"/>
                  </a:lnTo>
                  <a:lnTo>
                    <a:pt x="1980" y="2280"/>
                  </a:lnTo>
                  <a:lnTo>
                    <a:pt x="1998" y="2280"/>
                  </a:lnTo>
                  <a:lnTo>
                    <a:pt x="1998" y="2292"/>
                  </a:lnTo>
                  <a:lnTo>
                    <a:pt x="2004" y="2298"/>
                  </a:lnTo>
                  <a:lnTo>
                    <a:pt x="2010" y="2310"/>
                  </a:lnTo>
                  <a:lnTo>
                    <a:pt x="2016" y="2316"/>
                  </a:lnTo>
                  <a:lnTo>
                    <a:pt x="2028" y="2316"/>
                  </a:lnTo>
                  <a:lnTo>
                    <a:pt x="2040" y="2304"/>
                  </a:lnTo>
                  <a:lnTo>
                    <a:pt x="2046" y="2304"/>
                  </a:lnTo>
                  <a:lnTo>
                    <a:pt x="2052" y="2298"/>
                  </a:lnTo>
                  <a:lnTo>
                    <a:pt x="2070" y="2292"/>
                  </a:lnTo>
                  <a:lnTo>
                    <a:pt x="2082" y="2286"/>
                  </a:lnTo>
                  <a:lnTo>
                    <a:pt x="2088" y="2280"/>
                  </a:lnTo>
                  <a:lnTo>
                    <a:pt x="2100" y="2274"/>
                  </a:lnTo>
                  <a:lnTo>
                    <a:pt x="2124" y="2250"/>
                  </a:lnTo>
                  <a:lnTo>
                    <a:pt x="2136" y="2244"/>
                  </a:lnTo>
                  <a:lnTo>
                    <a:pt x="2148" y="2232"/>
                  </a:lnTo>
                  <a:lnTo>
                    <a:pt x="2160" y="2226"/>
                  </a:lnTo>
                  <a:lnTo>
                    <a:pt x="2154" y="2214"/>
                  </a:lnTo>
                  <a:lnTo>
                    <a:pt x="2190" y="2202"/>
                  </a:lnTo>
                  <a:lnTo>
                    <a:pt x="2202" y="2214"/>
                  </a:lnTo>
                  <a:lnTo>
                    <a:pt x="2220" y="2214"/>
                  </a:lnTo>
                  <a:lnTo>
                    <a:pt x="2256" y="2208"/>
                  </a:lnTo>
                  <a:lnTo>
                    <a:pt x="2298" y="2196"/>
                  </a:lnTo>
                  <a:lnTo>
                    <a:pt x="2316" y="2178"/>
                  </a:lnTo>
                  <a:lnTo>
                    <a:pt x="2328" y="2148"/>
                  </a:lnTo>
                  <a:lnTo>
                    <a:pt x="2334" y="2118"/>
                  </a:lnTo>
                  <a:lnTo>
                    <a:pt x="2340" y="2100"/>
                  </a:lnTo>
                  <a:lnTo>
                    <a:pt x="2346" y="2088"/>
                  </a:lnTo>
                  <a:lnTo>
                    <a:pt x="2376" y="2058"/>
                  </a:lnTo>
                  <a:lnTo>
                    <a:pt x="2382" y="2058"/>
                  </a:lnTo>
                  <a:lnTo>
                    <a:pt x="2382" y="2034"/>
                  </a:lnTo>
                  <a:lnTo>
                    <a:pt x="2388" y="2034"/>
                  </a:lnTo>
                  <a:lnTo>
                    <a:pt x="2394" y="2028"/>
                  </a:lnTo>
                  <a:lnTo>
                    <a:pt x="2406" y="2022"/>
                  </a:lnTo>
                  <a:lnTo>
                    <a:pt x="2418" y="2010"/>
                  </a:lnTo>
                  <a:lnTo>
                    <a:pt x="2424" y="1998"/>
                  </a:lnTo>
                  <a:lnTo>
                    <a:pt x="2442" y="1980"/>
                  </a:lnTo>
                  <a:lnTo>
                    <a:pt x="2442" y="1956"/>
                  </a:lnTo>
                  <a:lnTo>
                    <a:pt x="2448" y="1944"/>
                  </a:lnTo>
                  <a:lnTo>
                    <a:pt x="2454" y="1926"/>
                  </a:lnTo>
                  <a:lnTo>
                    <a:pt x="2460" y="1914"/>
                  </a:lnTo>
                  <a:lnTo>
                    <a:pt x="2490" y="1884"/>
                  </a:lnTo>
                  <a:lnTo>
                    <a:pt x="2502" y="1866"/>
                  </a:lnTo>
                  <a:lnTo>
                    <a:pt x="2526" y="1842"/>
                  </a:lnTo>
                  <a:lnTo>
                    <a:pt x="2538" y="1836"/>
                  </a:lnTo>
                  <a:lnTo>
                    <a:pt x="2550" y="1824"/>
                  </a:lnTo>
                  <a:lnTo>
                    <a:pt x="2556" y="1812"/>
                  </a:lnTo>
                  <a:lnTo>
                    <a:pt x="2556" y="1800"/>
                  </a:lnTo>
                  <a:lnTo>
                    <a:pt x="2562" y="1788"/>
                  </a:lnTo>
                  <a:lnTo>
                    <a:pt x="2562" y="1782"/>
                  </a:lnTo>
                  <a:lnTo>
                    <a:pt x="2586" y="1782"/>
                  </a:lnTo>
                  <a:lnTo>
                    <a:pt x="2610" y="1770"/>
                  </a:lnTo>
                  <a:lnTo>
                    <a:pt x="2622" y="1752"/>
                  </a:lnTo>
                  <a:lnTo>
                    <a:pt x="2646" y="1728"/>
                  </a:lnTo>
                  <a:lnTo>
                    <a:pt x="2670" y="1698"/>
                  </a:lnTo>
                  <a:lnTo>
                    <a:pt x="2688" y="1674"/>
                  </a:lnTo>
                  <a:lnTo>
                    <a:pt x="2700" y="1662"/>
                  </a:lnTo>
                  <a:lnTo>
                    <a:pt x="2700" y="1656"/>
                  </a:lnTo>
                  <a:lnTo>
                    <a:pt x="2706" y="1638"/>
                  </a:lnTo>
                  <a:lnTo>
                    <a:pt x="2706" y="1614"/>
                  </a:lnTo>
                  <a:lnTo>
                    <a:pt x="2712" y="1596"/>
                  </a:lnTo>
                  <a:lnTo>
                    <a:pt x="2718" y="1590"/>
                  </a:lnTo>
                  <a:lnTo>
                    <a:pt x="2730" y="1572"/>
                  </a:lnTo>
                  <a:lnTo>
                    <a:pt x="2754" y="1542"/>
                  </a:lnTo>
                  <a:lnTo>
                    <a:pt x="2772" y="1494"/>
                  </a:lnTo>
                  <a:lnTo>
                    <a:pt x="2796" y="1458"/>
                  </a:lnTo>
                  <a:lnTo>
                    <a:pt x="2808" y="1428"/>
                  </a:lnTo>
                  <a:lnTo>
                    <a:pt x="2814" y="1416"/>
                  </a:lnTo>
                  <a:lnTo>
                    <a:pt x="2814" y="1386"/>
                  </a:lnTo>
                  <a:lnTo>
                    <a:pt x="2802" y="1362"/>
                  </a:lnTo>
                  <a:lnTo>
                    <a:pt x="2820" y="1308"/>
                  </a:lnTo>
                  <a:lnTo>
                    <a:pt x="2832" y="1290"/>
                  </a:lnTo>
                  <a:lnTo>
                    <a:pt x="2838" y="1266"/>
                  </a:lnTo>
                  <a:lnTo>
                    <a:pt x="2838" y="1224"/>
                  </a:lnTo>
                  <a:lnTo>
                    <a:pt x="2832" y="1194"/>
                  </a:lnTo>
                  <a:lnTo>
                    <a:pt x="2832" y="1176"/>
                  </a:lnTo>
                  <a:lnTo>
                    <a:pt x="2802" y="1164"/>
                  </a:lnTo>
                  <a:close/>
                  <a:moveTo>
                    <a:pt x="2016" y="2436"/>
                  </a:moveTo>
                  <a:lnTo>
                    <a:pt x="2022" y="2442"/>
                  </a:lnTo>
                  <a:lnTo>
                    <a:pt x="2028" y="2442"/>
                  </a:lnTo>
                  <a:lnTo>
                    <a:pt x="2040" y="2436"/>
                  </a:lnTo>
                  <a:lnTo>
                    <a:pt x="2046" y="2430"/>
                  </a:lnTo>
                  <a:lnTo>
                    <a:pt x="2034" y="2418"/>
                  </a:lnTo>
                  <a:lnTo>
                    <a:pt x="2016" y="2436"/>
                  </a:lnTo>
                  <a:close/>
                  <a:moveTo>
                    <a:pt x="1992" y="2454"/>
                  </a:moveTo>
                  <a:lnTo>
                    <a:pt x="1974" y="2454"/>
                  </a:lnTo>
                  <a:lnTo>
                    <a:pt x="1962" y="2466"/>
                  </a:lnTo>
                  <a:lnTo>
                    <a:pt x="1962" y="2472"/>
                  </a:lnTo>
                  <a:lnTo>
                    <a:pt x="1962" y="2460"/>
                  </a:lnTo>
                  <a:lnTo>
                    <a:pt x="1938" y="2460"/>
                  </a:lnTo>
                  <a:lnTo>
                    <a:pt x="1926" y="2466"/>
                  </a:lnTo>
                  <a:lnTo>
                    <a:pt x="1914" y="2466"/>
                  </a:lnTo>
                  <a:lnTo>
                    <a:pt x="1908" y="2478"/>
                  </a:lnTo>
                  <a:lnTo>
                    <a:pt x="1890" y="2460"/>
                  </a:lnTo>
                  <a:lnTo>
                    <a:pt x="1854" y="2460"/>
                  </a:lnTo>
                  <a:lnTo>
                    <a:pt x="1830" y="2430"/>
                  </a:lnTo>
                  <a:lnTo>
                    <a:pt x="1824" y="2436"/>
                  </a:lnTo>
                  <a:lnTo>
                    <a:pt x="1818" y="2436"/>
                  </a:lnTo>
                  <a:lnTo>
                    <a:pt x="1812" y="2442"/>
                  </a:lnTo>
                  <a:lnTo>
                    <a:pt x="1806" y="2442"/>
                  </a:lnTo>
                  <a:lnTo>
                    <a:pt x="1776" y="2412"/>
                  </a:lnTo>
                  <a:lnTo>
                    <a:pt x="1776" y="2424"/>
                  </a:lnTo>
                  <a:lnTo>
                    <a:pt x="1782" y="2448"/>
                  </a:lnTo>
                  <a:lnTo>
                    <a:pt x="1782" y="2472"/>
                  </a:lnTo>
                  <a:lnTo>
                    <a:pt x="1776" y="2478"/>
                  </a:lnTo>
                  <a:lnTo>
                    <a:pt x="1776" y="2484"/>
                  </a:lnTo>
                  <a:lnTo>
                    <a:pt x="1770" y="2490"/>
                  </a:lnTo>
                  <a:lnTo>
                    <a:pt x="1770" y="2502"/>
                  </a:lnTo>
                  <a:lnTo>
                    <a:pt x="1776" y="2514"/>
                  </a:lnTo>
                  <a:lnTo>
                    <a:pt x="1776" y="2532"/>
                  </a:lnTo>
                  <a:lnTo>
                    <a:pt x="1764" y="2538"/>
                  </a:lnTo>
                  <a:lnTo>
                    <a:pt x="1758" y="2544"/>
                  </a:lnTo>
                  <a:lnTo>
                    <a:pt x="1752" y="2544"/>
                  </a:lnTo>
                  <a:lnTo>
                    <a:pt x="1740" y="2532"/>
                  </a:lnTo>
                  <a:lnTo>
                    <a:pt x="1740" y="2538"/>
                  </a:lnTo>
                  <a:lnTo>
                    <a:pt x="1734" y="2544"/>
                  </a:lnTo>
                  <a:lnTo>
                    <a:pt x="1734" y="2556"/>
                  </a:lnTo>
                  <a:lnTo>
                    <a:pt x="1728" y="2574"/>
                  </a:lnTo>
                  <a:lnTo>
                    <a:pt x="1728" y="2586"/>
                  </a:lnTo>
                  <a:lnTo>
                    <a:pt x="1740" y="2610"/>
                  </a:lnTo>
                  <a:lnTo>
                    <a:pt x="1740" y="2616"/>
                  </a:lnTo>
                  <a:lnTo>
                    <a:pt x="1746" y="2628"/>
                  </a:lnTo>
                  <a:lnTo>
                    <a:pt x="1770" y="2628"/>
                  </a:lnTo>
                  <a:lnTo>
                    <a:pt x="1752" y="2640"/>
                  </a:lnTo>
                  <a:lnTo>
                    <a:pt x="1758" y="2664"/>
                  </a:lnTo>
                  <a:lnTo>
                    <a:pt x="1770" y="2658"/>
                  </a:lnTo>
                  <a:lnTo>
                    <a:pt x="1776" y="2658"/>
                  </a:lnTo>
                  <a:lnTo>
                    <a:pt x="1782" y="2652"/>
                  </a:lnTo>
                  <a:lnTo>
                    <a:pt x="1794" y="2652"/>
                  </a:lnTo>
                  <a:lnTo>
                    <a:pt x="1800" y="2658"/>
                  </a:lnTo>
                  <a:lnTo>
                    <a:pt x="1818" y="2658"/>
                  </a:lnTo>
                  <a:lnTo>
                    <a:pt x="1830" y="2652"/>
                  </a:lnTo>
                  <a:lnTo>
                    <a:pt x="1836" y="2646"/>
                  </a:lnTo>
                  <a:lnTo>
                    <a:pt x="1842" y="2634"/>
                  </a:lnTo>
                  <a:lnTo>
                    <a:pt x="1854" y="2634"/>
                  </a:lnTo>
                  <a:lnTo>
                    <a:pt x="1860" y="2640"/>
                  </a:lnTo>
                  <a:lnTo>
                    <a:pt x="1860" y="2646"/>
                  </a:lnTo>
                  <a:lnTo>
                    <a:pt x="1848" y="2658"/>
                  </a:lnTo>
                  <a:lnTo>
                    <a:pt x="1866" y="2664"/>
                  </a:lnTo>
                  <a:lnTo>
                    <a:pt x="1884" y="2646"/>
                  </a:lnTo>
                  <a:lnTo>
                    <a:pt x="1890" y="2634"/>
                  </a:lnTo>
                  <a:lnTo>
                    <a:pt x="1902" y="2628"/>
                  </a:lnTo>
                  <a:lnTo>
                    <a:pt x="1908" y="2616"/>
                  </a:lnTo>
                  <a:lnTo>
                    <a:pt x="1920" y="2604"/>
                  </a:lnTo>
                  <a:lnTo>
                    <a:pt x="1914" y="2604"/>
                  </a:lnTo>
                  <a:lnTo>
                    <a:pt x="1902" y="2592"/>
                  </a:lnTo>
                  <a:lnTo>
                    <a:pt x="1920" y="2562"/>
                  </a:lnTo>
                  <a:lnTo>
                    <a:pt x="1950" y="2562"/>
                  </a:lnTo>
                  <a:lnTo>
                    <a:pt x="1962" y="2538"/>
                  </a:lnTo>
                  <a:lnTo>
                    <a:pt x="1962" y="2514"/>
                  </a:lnTo>
                  <a:lnTo>
                    <a:pt x="1968" y="2502"/>
                  </a:lnTo>
                  <a:lnTo>
                    <a:pt x="1980" y="2496"/>
                  </a:lnTo>
                  <a:lnTo>
                    <a:pt x="1986" y="2484"/>
                  </a:lnTo>
                  <a:lnTo>
                    <a:pt x="1992" y="2478"/>
                  </a:lnTo>
                  <a:lnTo>
                    <a:pt x="1998" y="2466"/>
                  </a:lnTo>
                  <a:lnTo>
                    <a:pt x="1998" y="2460"/>
                  </a:lnTo>
                  <a:lnTo>
                    <a:pt x="1992" y="2454"/>
                  </a:lnTo>
                  <a:close/>
                  <a:moveTo>
                    <a:pt x="1902" y="246"/>
                  </a:moveTo>
                  <a:lnTo>
                    <a:pt x="1890" y="258"/>
                  </a:lnTo>
                  <a:lnTo>
                    <a:pt x="1890" y="270"/>
                  </a:lnTo>
                  <a:lnTo>
                    <a:pt x="1884" y="282"/>
                  </a:lnTo>
                  <a:lnTo>
                    <a:pt x="1884" y="294"/>
                  </a:lnTo>
                  <a:lnTo>
                    <a:pt x="1896" y="300"/>
                  </a:lnTo>
                  <a:lnTo>
                    <a:pt x="1920" y="300"/>
                  </a:lnTo>
                  <a:lnTo>
                    <a:pt x="1926" y="294"/>
                  </a:lnTo>
                  <a:lnTo>
                    <a:pt x="1932" y="294"/>
                  </a:lnTo>
                  <a:lnTo>
                    <a:pt x="1926" y="282"/>
                  </a:lnTo>
                  <a:lnTo>
                    <a:pt x="1932" y="252"/>
                  </a:lnTo>
                  <a:lnTo>
                    <a:pt x="1920" y="252"/>
                  </a:lnTo>
                  <a:lnTo>
                    <a:pt x="1908" y="246"/>
                  </a:lnTo>
                  <a:lnTo>
                    <a:pt x="1902" y="246"/>
                  </a:lnTo>
                  <a:close/>
                  <a:moveTo>
                    <a:pt x="1770" y="2334"/>
                  </a:moveTo>
                  <a:lnTo>
                    <a:pt x="1758" y="2376"/>
                  </a:lnTo>
                  <a:lnTo>
                    <a:pt x="1812" y="2328"/>
                  </a:lnTo>
                  <a:lnTo>
                    <a:pt x="1770" y="2334"/>
                  </a:lnTo>
                  <a:close/>
                  <a:moveTo>
                    <a:pt x="2034" y="2400"/>
                  </a:moveTo>
                  <a:lnTo>
                    <a:pt x="2016" y="2358"/>
                  </a:lnTo>
                  <a:lnTo>
                    <a:pt x="1998" y="2376"/>
                  </a:lnTo>
                  <a:lnTo>
                    <a:pt x="1998" y="2394"/>
                  </a:lnTo>
                  <a:lnTo>
                    <a:pt x="2010" y="2406"/>
                  </a:lnTo>
                  <a:lnTo>
                    <a:pt x="2028" y="2406"/>
                  </a:lnTo>
                  <a:lnTo>
                    <a:pt x="2034" y="2400"/>
                  </a:lnTo>
                  <a:close/>
                </a:path>
              </a:pathLst>
            </a:custGeom>
            <a:solidFill>
              <a:schemeClr val="accent2"/>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97" name="Armenien" descr="© INSCALE GmbH, 05.05.2010&#10;http://www.presentationload.com/">
              <a:extLst>
                <a:ext uri="{FF2B5EF4-FFF2-40B4-BE49-F238E27FC236}">
                  <a16:creationId xmlns:a16="http://schemas.microsoft.com/office/drawing/2014/main" id="{732EFBD8-8E7F-48F3-816F-1AF8DFB6661D}"/>
                </a:ext>
              </a:extLst>
            </p:cNvPr>
            <p:cNvSpPr>
              <a:spLocks/>
            </p:cNvSpPr>
            <p:nvPr/>
          </p:nvSpPr>
          <p:spPr bwMode="gray">
            <a:xfrm>
              <a:off x="5280288" y="2927650"/>
              <a:ext cx="87809" cy="84673"/>
            </a:xfrm>
            <a:custGeom>
              <a:avLst/>
              <a:gdLst>
                <a:gd name="T0" fmla="*/ 2147483647 w 222"/>
                <a:gd name="T1" fmla="*/ 2147483647 h 210"/>
                <a:gd name="T2" fmla="*/ 2147483647 w 222"/>
                <a:gd name="T3" fmla="*/ 2147483647 h 210"/>
                <a:gd name="T4" fmla="*/ 2147483647 w 222"/>
                <a:gd name="T5" fmla="*/ 2147483647 h 210"/>
                <a:gd name="T6" fmla="*/ 2147483647 w 222"/>
                <a:gd name="T7" fmla="*/ 2147483647 h 210"/>
                <a:gd name="T8" fmla="*/ 2147483647 w 222"/>
                <a:gd name="T9" fmla="*/ 2147483647 h 210"/>
                <a:gd name="T10" fmla="*/ 2147483647 w 222"/>
                <a:gd name="T11" fmla="*/ 2147483647 h 210"/>
                <a:gd name="T12" fmla="*/ 2147483647 w 222"/>
                <a:gd name="T13" fmla="*/ 2147483647 h 210"/>
                <a:gd name="T14" fmla="*/ 2147483647 w 222"/>
                <a:gd name="T15" fmla="*/ 2147483647 h 210"/>
                <a:gd name="T16" fmla="*/ 2147483647 w 222"/>
                <a:gd name="T17" fmla="*/ 2147483647 h 210"/>
                <a:gd name="T18" fmla="*/ 2147483647 w 222"/>
                <a:gd name="T19" fmla="*/ 2147483647 h 210"/>
                <a:gd name="T20" fmla="*/ 2147483647 w 222"/>
                <a:gd name="T21" fmla="*/ 2147483647 h 210"/>
                <a:gd name="T22" fmla="*/ 2147483647 w 222"/>
                <a:gd name="T23" fmla="*/ 2147483647 h 210"/>
                <a:gd name="T24" fmla="*/ 2147483647 w 222"/>
                <a:gd name="T25" fmla="*/ 2147483647 h 210"/>
                <a:gd name="T26" fmla="*/ 2147483647 w 222"/>
                <a:gd name="T27" fmla="*/ 2147483647 h 210"/>
                <a:gd name="T28" fmla="*/ 2147483647 w 222"/>
                <a:gd name="T29" fmla="*/ 2147483647 h 210"/>
                <a:gd name="T30" fmla="*/ 2147483647 w 222"/>
                <a:gd name="T31" fmla="*/ 2147483647 h 210"/>
                <a:gd name="T32" fmla="*/ 2147483647 w 222"/>
                <a:gd name="T33" fmla="*/ 2147483647 h 210"/>
                <a:gd name="T34" fmla="*/ 2147483647 w 222"/>
                <a:gd name="T35" fmla="*/ 2147483647 h 210"/>
                <a:gd name="T36" fmla="*/ 2147483647 w 222"/>
                <a:gd name="T37" fmla="*/ 2147483647 h 210"/>
                <a:gd name="T38" fmla="*/ 2147483647 w 222"/>
                <a:gd name="T39" fmla="*/ 0 h 210"/>
                <a:gd name="T40" fmla="*/ 2147483647 w 222"/>
                <a:gd name="T41" fmla="*/ 0 h 210"/>
                <a:gd name="T42" fmla="*/ 2147483647 w 222"/>
                <a:gd name="T43" fmla="*/ 2147483647 h 210"/>
                <a:gd name="T44" fmla="*/ 2147483647 w 222"/>
                <a:gd name="T45" fmla="*/ 2147483647 h 210"/>
                <a:gd name="T46" fmla="*/ 2147483647 w 222"/>
                <a:gd name="T47" fmla="*/ 2147483647 h 210"/>
                <a:gd name="T48" fmla="*/ 0 w 222"/>
                <a:gd name="T49" fmla="*/ 2147483647 h 210"/>
                <a:gd name="T50" fmla="*/ 2147483647 w 222"/>
                <a:gd name="T51" fmla="*/ 2147483647 h 210"/>
                <a:gd name="T52" fmla="*/ 2147483647 w 222"/>
                <a:gd name="T53" fmla="*/ 2147483647 h 210"/>
                <a:gd name="T54" fmla="*/ 2147483647 w 222"/>
                <a:gd name="T55" fmla="*/ 2147483647 h 210"/>
                <a:gd name="T56" fmla="*/ 2147483647 w 222"/>
                <a:gd name="T57" fmla="*/ 2147483647 h 210"/>
                <a:gd name="T58" fmla="*/ 2147483647 w 222"/>
                <a:gd name="T59" fmla="*/ 2147483647 h 210"/>
                <a:gd name="T60" fmla="*/ 2147483647 w 222"/>
                <a:gd name="T61" fmla="*/ 2147483647 h 210"/>
                <a:gd name="T62" fmla="*/ 2147483647 w 222"/>
                <a:gd name="T63" fmla="*/ 2147483647 h 210"/>
                <a:gd name="T64" fmla="*/ 2147483647 w 222"/>
                <a:gd name="T65" fmla="*/ 2147483647 h 210"/>
                <a:gd name="T66" fmla="*/ 2147483647 w 222"/>
                <a:gd name="T67" fmla="*/ 2147483647 h 210"/>
                <a:gd name="T68" fmla="*/ 2147483647 w 222"/>
                <a:gd name="T69" fmla="*/ 2147483647 h 210"/>
                <a:gd name="T70" fmla="*/ 2147483647 w 222"/>
                <a:gd name="T71" fmla="*/ 2147483647 h 210"/>
                <a:gd name="T72" fmla="*/ 2147483647 w 222"/>
                <a:gd name="T73" fmla="*/ 2147483647 h 210"/>
                <a:gd name="T74" fmla="*/ 2147483647 w 222"/>
                <a:gd name="T75" fmla="*/ 2147483647 h 210"/>
                <a:gd name="T76" fmla="*/ 2147483647 w 222"/>
                <a:gd name="T77" fmla="*/ 2147483647 h 210"/>
                <a:gd name="T78" fmla="*/ 2147483647 w 222"/>
                <a:gd name="T79" fmla="*/ 2147483647 h 210"/>
                <a:gd name="T80" fmla="*/ 2147483647 w 222"/>
                <a:gd name="T81" fmla="*/ 2147483647 h 210"/>
                <a:gd name="T82" fmla="*/ 2147483647 w 222"/>
                <a:gd name="T83" fmla="*/ 2147483647 h 210"/>
                <a:gd name="T84" fmla="*/ 2147483647 w 222"/>
                <a:gd name="T85" fmla="*/ 2147483647 h 210"/>
                <a:gd name="T86" fmla="*/ 2147483647 w 222"/>
                <a:gd name="T87" fmla="*/ 2147483647 h 210"/>
                <a:gd name="T88" fmla="*/ 2147483647 w 222"/>
                <a:gd name="T89" fmla="*/ 2147483647 h 210"/>
                <a:gd name="T90" fmla="*/ 2147483647 w 222"/>
                <a:gd name="T91" fmla="*/ 2147483647 h 210"/>
                <a:gd name="T92" fmla="*/ 2147483647 w 222"/>
                <a:gd name="T93" fmla="*/ 2147483647 h 210"/>
                <a:gd name="T94" fmla="*/ 2147483647 w 222"/>
                <a:gd name="T95" fmla="*/ 2147483647 h 210"/>
                <a:gd name="T96" fmla="*/ 2147483647 w 222"/>
                <a:gd name="T97" fmla="*/ 2147483647 h 210"/>
                <a:gd name="T98" fmla="*/ 2147483647 w 222"/>
                <a:gd name="T99" fmla="*/ 2147483647 h 210"/>
                <a:gd name="T100" fmla="*/ 2147483647 w 222"/>
                <a:gd name="T101" fmla="*/ 2147483647 h 210"/>
                <a:gd name="T102" fmla="*/ 2147483647 w 222"/>
                <a:gd name="T103" fmla="*/ 2147483647 h 210"/>
                <a:gd name="T104" fmla="*/ 2147483647 w 222"/>
                <a:gd name="T105" fmla="*/ 2147483647 h 210"/>
                <a:gd name="T106" fmla="*/ 2147483647 w 222"/>
                <a:gd name="T107" fmla="*/ 2147483647 h 2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2"/>
                <a:gd name="T163" fmla="*/ 0 h 210"/>
                <a:gd name="T164" fmla="*/ 222 w 222"/>
                <a:gd name="T165" fmla="*/ 210 h 21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2" h="210">
                  <a:moveTo>
                    <a:pt x="222" y="168"/>
                  </a:moveTo>
                  <a:lnTo>
                    <a:pt x="216" y="156"/>
                  </a:lnTo>
                  <a:lnTo>
                    <a:pt x="216" y="144"/>
                  </a:lnTo>
                  <a:lnTo>
                    <a:pt x="186" y="138"/>
                  </a:lnTo>
                  <a:lnTo>
                    <a:pt x="174" y="120"/>
                  </a:lnTo>
                  <a:lnTo>
                    <a:pt x="144" y="108"/>
                  </a:lnTo>
                  <a:lnTo>
                    <a:pt x="156" y="108"/>
                  </a:lnTo>
                  <a:lnTo>
                    <a:pt x="174" y="90"/>
                  </a:lnTo>
                  <a:lnTo>
                    <a:pt x="174" y="84"/>
                  </a:lnTo>
                  <a:lnTo>
                    <a:pt x="168" y="78"/>
                  </a:lnTo>
                  <a:lnTo>
                    <a:pt x="144" y="66"/>
                  </a:lnTo>
                  <a:lnTo>
                    <a:pt x="138" y="60"/>
                  </a:lnTo>
                  <a:lnTo>
                    <a:pt x="132" y="60"/>
                  </a:lnTo>
                  <a:lnTo>
                    <a:pt x="138" y="54"/>
                  </a:lnTo>
                  <a:lnTo>
                    <a:pt x="138" y="30"/>
                  </a:lnTo>
                  <a:lnTo>
                    <a:pt x="132" y="24"/>
                  </a:lnTo>
                  <a:lnTo>
                    <a:pt x="114" y="24"/>
                  </a:lnTo>
                  <a:lnTo>
                    <a:pt x="114" y="12"/>
                  </a:lnTo>
                  <a:lnTo>
                    <a:pt x="102" y="6"/>
                  </a:lnTo>
                  <a:lnTo>
                    <a:pt x="96" y="0"/>
                  </a:lnTo>
                  <a:lnTo>
                    <a:pt x="84" y="0"/>
                  </a:lnTo>
                  <a:lnTo>
                    <a:pt x="84" y="18"/>
                  </a:lnTo>
                  <a:lnTo>
                    <a:pt x="30" y="12"/>
                  </a:lnTo>
                  <a:lnTo>
                    <a:pt x="24" y="18"/>
                  </a:lnTo>
                  <a:lnTo>
                    <a:pt x="0" y="24"/>
                  </a:lnTo>
                  <a:lnTo>
                    <a:pt x="6" y="30"/>
                  </a:lnTo>
                  <a:lnTo>
                    <a:pt x="6" y="42"/>
                  </a:lnTo>
                  <a:lnTo>
                    <a:pt x="18" y="78"/>
                  </a:lnTo>
                  <a:lnTo>
                    <a:pt x="18" y="90"/>
                  </a:lnTo>
                  <a:lnTo>
                    <a:pt x="24" y="102"/>
                  </a:lnTo>
                  <a:lnTo>
                    <a:pt x="30" y="108"/>
                  </a:lnTo>
                  <a:lnTo>
                    <a:pt x="42" y="114"/>
                  </a:lnTo>
                  <a:lnTo>
                    <a:pt x="54" y="114"/>
                  </a:lnTo>
                  <a:lnTo>
                    <a:pt x="66" y="108"/>
                  </a:lnTo>
                  <a:lnTo>
                    <a:pt x="72" y="108"/>
                  </a:lnTo>
                  <a:lnTo>
                    <a:pt x="72" y="114"/>
                  </a:lnTo>
                  <a:lnTo>
                    <a:pt x="78" y="120"/>
                  </a:lnTo>
                  <a:lnTo>
                    <a:pt x="78" y="132"/>
                  </a:lnTo>
                  <a:lnTo>
                    <a:pt x="84" y="144"/>
                  </a:lnTo>
                  <a:lnTo>
                    <a:pt x="84" y="150"/>
                  </a:lnTo>
                  <a:lnTo>
                    <a:pt x="90" y="156"/>
                  </a:lnTo>
                  <a:lnTo>
                    <a:pt x="108" y="132"/>
                  </a:lnTo>
                  <a:lnTo>
                    <a:pt x="126" y="132"/>
                  </a:lnTo>
                  <a:lnTo>
                    <a:pt x="138" y="144"/>
                  </a:lnTo>
                  <a:lnTo>
                    <a:pt x="174" y="144"/>
                  </a:lnTo>
                  <a:lnTo>
                    <a:pt x="174" y="156"/>
                  </a:lnTo>
                  <a:lnTo>
                    <a:pt x="180" y="162"/>
                  </a:lnTo>
                  <a:lnTo>
                    <a:pt x="180" y="174"/>
                  </a:lnTo>
                  <a:lnTo>
                    <a:pt x="186" y="186"/>
                  </a:lnTo>
                  <a:lnTo>
                    <a:pt x="186" y="198"/>
                  </a:lnTo>
                  <a:lnTo>
                    <a:pt x="192" y="204"/>
                  </a:lnTo>
                  <a:lnTo>
                    <a:pt x="192" y="210"/>
                  </a:lnTo>
                  <a:lnTo>
                    <a:pt x="222" y="210"/>
                  </a:lnTo>
                  <a:lnTo>
                    <a:pt x="222" y="168"/>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98" name="Argentinien" descr="© INSCALE GmbH, 05.05.2010&#10;http://www.presentationload.com/">
              <a:extLst>
                <a:ext uri="{FF2B5EF4-FFF2-40B4-BE49-F238E27FC236}">
                  <a16:creationId xmlns:a16="http://schemas.microsoft.com/office/drawing/2014/main" id="{C16E6200-ACEE-429B-9AE4-522D53FED0D6}"/>
                </a:ext>
              </a:extLst>
            </p:cNvPr>
            <p:cNvSpPr>
              <a:spLocks noEditPoints="1"/>
            </p:cNvSpPr>
            <p:nvPr/>
          </p:nvSpPr>
          <p:spPr bwMode="gray">
            <a:xfrm>
              <a:off x="2228915" y="4953536"/>
              <a:ext cx="434342" cy="970607"/>
            </a:xfrm>
            <a:custGeom>
              <a:avLst/>
              <a:gdLst>
                <a:gd name="T0" fmla="*/ 2147483647 w 1092"/>
                <a:gd name="T1" fmla="*/ 2147483647 h 2442"/>
                <a:gd name="T2" fmla="*/ 2147483647 w 1092"/>
                <a:gd name="T3" fmla="*/ 2147483647 h 2442"/>
                <a:gd name="T4" fmla="*/ 2147483647 w 1092"/>
                <a:gd name="T5" fmla="*/ 2147483647 h 2442"/>
                <a:gd name="T6" fmla="*/ 2147483647 w 1092"/>
                <a:gd name="T7" fmla="*/ 2147483647 h 2442"/>
                <a:gd name="T8" fmla="*/ 2147483647 w 1092"/>
                <a:gd name="T9" fmla="*/ 2147483647 h 2442"/>
                <a:gd name="T10" fmla="*/ 2147483647 w 1092"/>
                <a:gd name="T11" fmla="*/ 2147483647 h 2442"/>
                <a:gd name="T12" fmla="*/ 2147483647 w 1092"/>
                <a:gd name="T13" fmla="*/ 2147483647 h 2442"/>
                <a:gd name="T14" fmla="*/ 2147483647 w 1092"/>
                <a:gd name="T15" fmla="*/ 2147483647 h 2442"/>
                <a:gd name="T16" fmla="*/ 2147483647 w 1092"/>
                <a:gd name="T17" fmla="*/ 2147483647 h 2442"/>
                <a:gd name="T18" fmla="*/ 2147483647 w 1092"/>
                <a:gd name="T19" fmla="*/ 2147483647 h 2442"/>
                <a:gd name="T20" fmla="*/ 2147483647 w 1092"/>
                <a:gd name="T21" fmla="*/ 0 h 2442"/>
                <a:gd name="T22" fmla="*/ 2147483647 w 1092"/>
                <a:gd name="T23" fmla="*/ 2147483647 h 2442"/>
                <a:gd name="T24" fmla="*/ 2147483647 w 1092"/>
                <a:gd name="T25" fmla="*/ 2147483647 h 2442"/>
                <a:gd name="T26" fmla="*/ 2147483647 w 1092"/>
                <a:gd name="T27" fmla="*/ 2147483647 h 2442"/>
                <a:gd name="T28" fmla="*/ 2147483647 w 1092"/>
                <a:gd name="T29" fmla="*/ 2147483647 h 2442"/>
                <a:gd name="T30" fmla="*/ 2147483647 w 1092"/>
                <a:gd name="T31" fmla="*/ 2147483647 h 2442"/>
                <a:gd name="T32" fmla="*/ 2147483647 w 1092"/>
                <a:gd name="T33" fmla="*/ 2147483647 h 2442"/>
                <a:gd name="T34" fmla="*/ 2147483647 w 1092"/>
                <a:gd name="T35" fmla="*/ 2147483647 h 2442"/>
                <a:gd name="T36" fmla="*/ 2147483647 w 1092"/>
                <a:gd name="T37" fmla="*/ 2147483647 h 2442"/>
                <a:gd name="T38" fmla="*/ 2147483647 w 1092"/>
                <a:gd name="T39" fmla="*/ 2147483647 h 2442"/>
                <a:gd name="T40" fmla="*/ 2147483647 w 1092"/>
                <a:gd name="T41" fmla="*/ 2147483647 h 2442"/>
                <a:gd name="T42" fmla="*/ 2147483647 w 1092"/>
                <a:gd name="T43" fmla="*/ 2147483647 h 2442"/>
                <a:gd name="T44" fmla="*/ 2147483647 w 1092"/>
                <a:gd name="T45" fmla="*/ 2147483647 h 2442"/>
                <a:gd name="T46" fmla="*/ 2147483647 w 1092"/>
                <a:gd name="T47" fmla="*/ 2147483647 h 2442"/>
                <a:gd name="T48" fmla="*/ 2147483647 w 1092"/>
                <a:gd name="T49" fmla="*/ 2147483647 h 2442"/>
                <a:gd name="T50" fmla="*/ 2147483647 w 1092"/>
                <a:gd name="T51" fmla="*/ 2147483647 h 2442"/>
                <a:gd name="T52" fmla="*/ 2147483647 w 1092"/>
                <a:gd name="T53" fmla="*/ 2147483647 h 2442"/>
                <a:gd name="T54" fmla="*/ 2147483647 w 1092"/>
                <a:gd name="T55" fmla="*/ 2147483647 h 2442"/>
                <a:gd name="T56" fmla="*/ 2147483647 w 1092"/>
                <a:gd name="T57" fmla="*/ 2147483647 h 2442"/>
                <a:gd name="T58" fmla="*/ 2147483647 w 1092"/>
                <a:gd name="T59" fmla="*/ 2147483647 h 2442"/>
                <a:gd name="T60" fmla="*/ 2147483647 w 1092"/>
                <a:gd name="T61" fmla="*/ 2147483647 h 2442"/>
                <a:gd name="T62" fmla="*/ 2147483647 w 1092"/>
                <a:gd name="T63" fmla="*/ 2147483647 h 2442"/>
                <a:gd name="T64" fmla="*/ 2147483647 w 1092"/>
                <a:gd name="T65" fmla="*/ 2147483647 h 2442"/>
                <a:gd name="T66" fmla="*/ 2147483647 w 1092"/>
                <a:gd name="T67" fmla="*/ 2147483647 h 2442"/>
                <a:gd name="T68" fmla="*/ 2147483647 w 1092"/>
                <a:gd name="T69" fmla="*/ 2147483647 h 2442"/>
                <a:gd name="T70" fmla="*/ 2147483647 w 1092"/>
                <a:gd name="T71" fmla="*/ 2147483647 h 2442"/>
                <a:gd name="T72" fmla="*/ 2147483647 w 1092"/>
                <a:gd name="T73" fmla="*/ 2147483647 h 2442"/>
                <a:gd name="T74" fmla="*/ 2147483647 w 1092"/>
                <a:gd name="T75" fmla="*/ 2147483647 h 2442"/>
                <a:gd name="T76" fmla="*/ 2147483647 w 1092"/>
                <a:gd name="T77" fmla="*/ 2147483647 h 2442"/>
                <a:gd name="T78" fmla="*/ 2147483647 w 1092"/>
                <a:gd name="T79" fmla="*/ 2147483647 h 2442"/>
                <a:gd name="T80" fmla="*/ 2147483647 w 1092"/>
                <a:gd name="T81" fmla="*/ 2147483647 h 2442"/>
                <a:gd name="T82" fmla="*/ 2147483647 w 1092"/>
                <a:gd name="T83" fmla="*/ 2147483647 h 2442"/>
                <a:gd name="T84" fmla="*/ 2147483647 w 1092"/>
                <a:gd name="T85" fmla="*/ 2147483647 h 2442"/>
                <a:gd name="T86" fmla="*/ 2147483647 w 1092"/>
                <a:gd name="T87" fmla="*/ 2147483647 h 2442"/>
                <a:gd name="T88" fmla="*/ 2147483647 w 1092"/>
                <a:gd name="T89" fmla="*/ 2147483647 h 2442"/>
                <a:gd name="T90" fmla="*/ 2147483647 w 1092"/>
                <a:gd name="T91" fmla="*/ 2147483647 h 2442"/>
                <a:gd name="T92" fmla="*/ 2147483647 w 1092"/>
                <a:gd name="T93" fmla="*/ 2147483647 h 2442"/>
                <a:gd name="T94" fmla="*/ 2147483647 w 1092"/>
                <a:gd name="T95" fmla="*/ 2147483647 h 2442"/>
                <a:gd name="T96" fmla="*/ 2147483647 w 1092"/>
                <a:gd name="T97" fmla="*/ 2147483647 h 2442"/>
                <a:gd name="T98" fmla="*/ 2147483647 w 1092"/>
                <a:gd name="T99" fmla="*/ 2147483647 h 2442"/>
                <a:gd name="T100" fmla="*/ 2147483647 w 1092"/>
                <a:gd name="T101" fmla="*/ 2147483647 h 2442"/>
                <a:gd name="T102" fmla="*/ 2147483647 w 1092"/>
                <a:gd name="T103" fmla="*/ 2147483647 h 2442"/>
                <a:gd name="T104" fmla="*/ 2147483647 w 1092"/>
                <a:gd name="T105" fmla="*/ 2147483647 h 2442"/>
                <a:gd name="T106" fmla="*/ 2147483647 w 1092"/>
                <a:gd name="T107" fmla="*/ 2147483647 h 2442"/>
                <a:gd name="T108" fmla="*/ 2147483647 w 1092"/>
                <a:gd name="T109" fmla="*/ 2147483647 h 2442"/>
                <a:gd name="T110" fmla="*/ 2147483647 w 1092"/>
                <a:gd name="T111" fmla="*/ 2147483647 h 2442"/>
                <a:gd name="T112" fmla="*/ 2147483647 w 1092"/>
                <a:gd name="T113" fmla="*/ 2147483647 h 244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2"/>
                <a:gd name="T172" fmla="*/ 0 h 2442"/>
                <a:gd name="T173" fmla="*/ 1092 w 1092"/>
                <a:gd name="T174" fmla="*/ 2442 h 244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2" h="2442">
                  <a:moveTo>
                    <a:pt x="954" y="534"/>
                  </a:moveTo>
                  <a:lnTo>
                    <a:pt x="978" y="528"/>
                  </a:lnTo>
                  <a:lnTo>
                    <a:pt x="984" y="504"/>
                  </a:lnTo>
                  <a:lnTo>
                    <a:pt x="990" y="498"/>
                  </a:lnTo>
                  <a:lnTo>
                    <a:pt x="990" y="480"/>
                  </a:lnTo>
                  <a:lnTo>
                    <a:pt x="1026" y="480"/>
                  </a:lnTo>
                  <a:lnTo>
                    <a:pt x="1026" y="462"/>
                  </a:lnTo>
                  <a:lnTo>
                    <a:pt x="1032" y="450"/>
                  </a:lnTo>
                  <a:lnTo>
                    <a:pt x="1038" y="444"/>
                  </a:lnTo>
                  <a:lnTo>
                    <a:pt x="1092" y="426"/>
                  </a:lnTo>
                  <a:lnTo>
                    <a:pt x="1092" y="390"/>
                  </a:lnTo>
                  <a:lnTo>
                    <a:pt x="1086" y="372"/>
                  </a:lnTo>
                  <a:lnTo>
                    <a:pt x="1086" y="342"/>
                  </a:lnTo>
                  <a:lnTo>
                    <a:pt x="1080" y="336"/>
                  </a:lnTo>
                  <a:lnTo>
                    <a:pt x="1074" y="336"/>
                  </a:lnTo>
                  <a:lnTo>
                    <a:pt x="1074" y="324"/>
                  </a:lnTo>
                  <a:lnTo>
                    <a:pt x="1062" y="300"/>
                  </a:lnTo>
                  <a:lnTo>
                    <a:pt x="1056" y="294"/>
                  </a:lnTo>
                  <a:lnTo>
                    <a:pt x="1038" y="294"/>
                  </a:lnTo>
                  <a:lnTo>
                    <a:pt x="1032" y="300"/>
                  </a:lnTo>
                  <a:lnTo>
                    <a:pt x="1020" y="306"/>
                  </a:lnTo>
                  <a:lnTo>
                    <a:pt x="1020" y="384"/>
                  </a:lnTo>
                  <a:lnTo>
                    <a:pt x="1008" y="390"/>
                  </a:lnTo>
                  <a:lnTo>
                    <a:pt x="1002" y="402"/>
                  </a:lnTo>
                  <a:lnTo>
                    <a:pt x="990" y="408"/>
                  </a:lnTo>
                  <a:lnTo>
                    <a:pt x="984" y="414"/>
                  </a:lnTo>
                  <a:lnTo>
                    <a:pt x="978" y="414"/>
                  </a:lnTo>
                  <a:lnTo>
                    <a:pt x="966" y="426"/>
                  </a:lnTo>
                  <a:lnTo>
                    <a:pt x="954" y="450"/>
                  </a:lnTo>
                  <a:lnTo>
                    <a:pt x="948" y="456"/>
                  </a:lnTo>
                  <a:lnTo>
                    <a:pt x="948" y="450"/>
                  </a:lnTo>
                  <a:lnTo>
                    <a:pt x="942" y="444"/>
                  </a:lnTo>
                  <a:lnTo>
                    <a:pt x="930" y="444"/>
                  </a:lnTo>
                  <a:lnTo>
                    <a:pt x="924" y="450"/>
                  </a:lnTo>
                  <a:lnTo>
                    <a:pt x="924" y="468"/>
                  </a:lnTo>
                  <a:lnTo>
                    <a:pt x="912" y="450"/>
                  </a:lnTo>
                  <a:lnTo>
                    <a:pt x="852" y="450"/>
                  </a:lnTo>
                  <a:lnTo>
                    <a:pt x="834" y="444"/>
                  </a:lnTo>
                  <a:lnTo>
                    <a:pt x="822" y="438"/>
                  </a:lnTo>
                  <a:lnTo>
                    <a:pt x="816" y="432"/>
                  </a:lnTo>
                  <a:lnTo>
                    <a:pt x="804" y="426"/>
                  </a:lnTo>
                  <a:lnTo>
                    <a:pt x="798" y="426"/>
                  </a:lnTo>
                  <a:lnTo>
                    <a:pt x="786" y="432"/>
                  </a:lnTo>
                  <a:lnTo>
                    <a:pt x="762" y="432"/>
                  </a:lnTo>
                  <a:lnTo>
                    <a:pt x="756" y="426"/>
                  </a:lnTo>
                  <a:lnTo>
                    <a:pt x="756" y="414"/>
                  </a:lnTo>
                  <a:lnTo>
                    <a:pt x="762" y="402"/>
                  </a:lnTo>
                  <a:lnTo>
                    <a:pt x="768" y="396"/>
                  </a:lnTo>
                  <a:lnTo>
                    <a:pt x="774" y="384"/>
                  </a:lnTo>
                  <a:lnTo>
                    <a:pt x="780" y="378"/>
                  </a:lnTo>
                  <a:lnTo>
                    <a:pt x="780" y="342"/>
                  </a:lnTo>
                  <a:lnTo>
                    <a:pt x="798" y="342"/>
                  </a:lnTo>
                  <a:lnTo>
                    <a:pt x="804" y="336"/>
                  </a:lnTo>
                  <a:lnTo>
                    <a:pt x="804" y="330"/>
                  </a:lnTo>
                  <a:lnTo>
                    <a:pt x="798" y="318"/>
                  </a:lnTo>
                  <a:lnTo>
                    <a:pt x="792" y="312"/>
                  </a:lnTo>
                  <a:lnTo>
                    <a:pt x="798" y="300"/>
                  </a:lnTo>
                  <a:lnTo>
                    <a:pt x="804" y="294"/>
                  </a:lnTo>
                  <a:lnTo>
                    <a:pt x="804" y="282"/>
                  </a:lnTo>
                  <a:lnTo>
                    <a:pt x="810" y="276"/>
                  </a:lnTo>
                  <a:lnTo>
                    <a:pt x="804" y="270"/>
                  </a:lnTo>
                  <a:lnTo>
                    <a:pt x="792" y="264"/>
                  </a:lnTo>
                  <a:lnTo>
                    <a:pt x="774" y="258"/>
                  </a:lnTo>
                  <a:lnTo>
                    <a:pt x="762" y="252"/>
                  </a:lnTo>
                  <a:lnTo>
                    <a:pt x="750" y="252"/>
                  </a:lnTo>
                  <a:lnTo>
                    <a:pt x="744" y="246"/>
                  </a:lnTo>
                  <a:lnTo>
                    <a:pt x="708" y="228"/>
                  </a:lnTo>
                  <a:lnTo>
                    <a:pt x="690" y="216"/>
                  </a:lnTo>
                  <a:lnTo>
                    <a:pt x="678" y="210"/>
                  </a:lnTo>
                  <a:lnTo>
                    <a:pt x="672" y="204"/>
                  </a:lnTo>
                  <a:lnTo>
                    <a:pt x="666" y="204"/>
                  </a:lnTo>
                  <a:lnTo>
                    <a:pt x="660" y="198"/>
                  </a:lnTo>
                  <a:lnTo>
                    <a:pt x="648" y="192"/>
                  </a:lnTo>
                  <a:lnTo>
                    <a:pt x="642" y="186"/>
                  </a:lnTo>
                  <a:lnTo>
                    <a:pt x="630" y="180"/>
                  </a:lnTo>
                  <a:lnTo>
                    <a:pt x="600" y="180"/>
                  </a:lnTo>
                  <a:lnTo>
                    <a:pt x="564" y="162"/>
                  </a:lnTo>
                  <a:lnTo>
                    <a:pt x="558" y="156"/>
                  </a:lnTo>
                  <a:lnTo>
                    <a:pt x="552" y="156"/>
                  </a:lnTo>
                  <a:lnTo>
                    <a:pt x="546" y="138"/>
                  </a:lnTo>
                  <a:lnTo>
                    <a:pt x="534" y="132"/>
                  </a:lnTo>
                  <a:lnTo>
                    <a:pt x="516" y="114"/>
                  </a:lnTo>
                  <a:lnTo>
                    <a:pt x="492" y="102"/>
                  </a:lnTo>
                  <a:lnTo>
                    <a:pt x="486" y="96"/>
                  </a:lnTo>
                  <a:lnTo>
                    <a:pt x="480" y="84"/>
                  </a:lnTo>
                  <a:lnTo>
                    <a:pt x="468" y="78"/>
                  </a:lnTo>
                  <a:lnTo>
                    <a:pt x="462" y="66"/>
                  </a:lnTo>
                  <a:lnTo>
                    <a:pt x="456" y="60"/>
                  </a:lnTo>
                  <a:lnTo>
                    <a:pt x="456" y="54"/>
                  </a:lnTo>
                  <a:lnTo>
                    <a:pt x="438" y="36"/>
                  </a:lnTo>
                  <a:lnTo>
                    <a:pt x="402" y="12"/>
                  </a:lnTo>
                  <a:lnTo>
                    <a:pt x="330" y="18"/>
                  </a:lnTo>
                  <a:lnTo>
                    <a:pt x="318" y="72"/>
                  </a:lnTo>
                  <a:lnTo>
                    <a:pt x="288" y="24"/>
                  </a:lnTo>
                  <a:lnTo>
                    <a:pt x="234" y="24"/>
                  </a:lnTo>
                  <a:lnTo>
                    <a:pt x="216" y="18"/>
                  </a:lnTo>
                  <a:lnTo>
                    <a:pt x="204" y="18"/>
                  </a:lnTo>
                  <a:lnTo>
                    <a:pt x="180" y="6"/>
                  </a:lnTo>
                  <a:lnTo>
                    <a:pt x="174" y="0"/>
                  </a:lnTo>
                  <a:lnTo>
                    <a:pt x="162" y="24"/>
                  </a:lnTo>
                  <a:lnTo>
                    <a:pt x="138" y="30"/>
                  </a:lnTo>
                  <a:lnTo>
                    <a:pt x="138" y="48"/>
                  </a:lnTo>
                  <a:lnTo>
                    <a:pt x="126" y="48"/>
                  </a:lnTo>
                  <a:lnTo>
                    <a:pt x="126" y="78"/>
                  </a:lnTo>
                  <a:lnTo>
                    <a:pt x="114" y="78"/>
                  </a:lnTo>
                  <a:lnTo>
                    <a:pt x="126" y="96"/>
                  </a:lnTo>
                  <a:lnTo>
                    <a:pt x="114" y="180"/>
                  </a:lnTo>
                  <a:lnTo>
                    <a:pt x="108" y="180"/>
                  </a:lnTo>
                  <a:lnTo>
                    <a:pt x="102" y="186"/>
                  </a:lnTo>
                  <a:lnTo>
                    <a:pt x="90" y="192"/>
                  </a:lnTo>
                  <a:lnTo>
                    <a:pt x="72" y="198"/>
                  </a:lnTo>
                  <a:lnTo>
                    <a:pt x="60" y="210"/>
                  </a:lnTo>
                  <a:lnTo>
                    <a:pt x="48" y="216"/>
                  </a:lnTo>
                  <a:lnTo>
                    <a:pt x="42" y="228"/>
                  </a:lnTo>
                  <a:lnTo>
                    <a:pt x="36" y="234"/>
                  </a:lnTo>
                  <a:lnTo>
                    <a:pt x="36" y="240"/>
                  </a:lnTo>
                  <a:lnTo>
                    <a:pt x="42" y="246"/>
                  </a:lnTo>
                  <a:lnTo>
                    <a:pt x="54" y="252"/>
                  </a:lnTo>
                  <a:lnTo>
                    <a:pt x="66" y="252"/>
                  </a:lnTo>
                  <a:lnTo>
                    <a:pt x="66" y="258"/>
                  </a:lnTo>
                  <a:lnTo>
                    <a:pt x="42" y="282"/>
                  </a:lnTo>
                  <a:lnTo>
                    <a:pt x="42" y="300"/>
                  </a:lnTo>
                  <a:lnTo>
                    <a:pt x="48" y="306"/>
                  </a:lnTo>
                  <a:lnTo>
                    <a:pt x="60" y="312"/>
                  </a:lnTo>
                  <a:lnTo>
                    <a:pt x="72" y="324"/>
                  </a:lnTo>
                  <a:lnTo>
                    <a:pt x="78" y="336"/>
                  </a:lnTo>
                  <a:lnTo>
                    <a:pt x="72" y="342"/>
                  </a:lnTo>
                  <a:lnTo>
                    <a:pt x="66" y="354"/>
                  </a:lnTo>
                  <a:lnTo>
                    <a:pt x="54" y="366"/>
                  </a:lnTo>
                  <a:lnTo>
                    <a:pt x="48" y="366"/>
                  </a:lnTo>
                  <a:lnTo>
                    <a:pt x="54" y="366"/>
                  </a:lnTo>
                  <a:lnTo>
                    <a:pt x="60" y="372"/>
                  </a:lnTo>
                  <a:lnTo>
                    <a:pt x="84" y="384"/>
                  </a:lnTo>
                  <a:lnTo>
                    <a:pt x="90" y="396"/>
                  </a:lnTo>
                  <a:lnTo>
                    <a:pt x="90" y="408"/>
                  </a:lnTo>
                  <a:lnTo>
                    <a:pt x="78" y="414"/>
                  </a:lnTo>
                  <a:lnTo>
                    <a:pt x="72" y="420"/>
                  </a:lnTo>
                  <a:lnTo>
                    <a:pt x="54" y="420"/>
                  </a:lnTo>
                  <a:lnTo>
                    <a:pt x="54" y="432"/>
                  </a:lnTo>
                  <a:lnTo>
                    <a:pt x="48" y="450"/>
                  </a:lnTo>
                  <a:lnTo>
                    <a:pt x="48" y="462"/>
                  </a:lnTo>
                  <a:lnTo>
                    <a:pt x="42" y="474"/>
                  </a:lnTo>
                  <a:lnTo>
                    <a:pt x="42" y="486"/>
                  </a:lnTo>
                  <a:lnTo>
                    <a:pt x="30" y="498"/>
                  </a:lnTo>
                  <a:lnTo>
                    <a:pt x="24" y="510"/>
                  </a:lnTo>
                  <a:lnTo>
                    <a:pt x="18" y="516"/>
                  </a:lnTo>
                  <a:lnTo>
                    <a:pt x="18" y="582"/>
                  </a:lnTo>
                  <a:lnTo>
                    <a:pt x="6" y="594"/>
                  </a:lnTo>
                  <a:lnTo>
                    <a:pt x="6" y="606"/>
                  </a:lnTo>
                  <a:lnTo>
                    <a:pt x="18" y="630"/>
                  </a:lnTo>
                  <a:lnTo>
                    <a:pt x="30" y="666"/>
                  </a:lnTo>
                  <a:lnTo>
                    <a:pt x="36" y="678"/>
                  </a:lnTo>
                  <a:lnTo>
                    <a:pt x="36" y="684"/>
                  </a:lnTo>
                  <a:lnTo>
                    <a:pt x="12" y="684"/>
                  </a:lnTo>
                  <a:lnTo>
                    <a:pt x="18" y="738"/>
                  </a:lnTo>
                  <a:lnTo>
                    <a:pt x="6" y="744"/>
                  </a:lnTo>
                  <a:lnTo>
                    <a:pt x="0" y="744"/>
                  </a:lnTo>
                  <a:lnTo>
                    <a:pt x="0" y="768"/>
                  </a:lnTo>
                  <a:lnTo>
                    <a:pt x="6" y="774"/>
                  </a:lnTo>
                  <a:lnTo>
                    <a:pt x="6" y="780"/>
                  </a:lnTo>
                  <a:lnTo>
                    <a:pt x="18" y="786"/>
                  </a:lnTo>
                  <a:lnTo>
                    <a:pt x="36" y="804"/>
                  </a:lnTo>
                  <a:lnTo>
                    <a:pt x="36" y="816"/>
                  </a:lnTo>
                  <a:lnTo>
                    <a:pt x="30" y="822"/>
                  </a:lnTo>
                  <a:lnTo>
                    <a:pt x="30" y="828"/>
                  </a:lnTo>
                  <a:lnTo>
                    <a:pt x="48" y="846"/>
                  </a:lnTo>
                  <a:lnTo>
                    <a:pt x="60" y="876"/>
                  </a:lnTo>
                  <a:lnTo>
                    <a:pt x="66" y="888"/>
                  </a:lnTo>
                  <a:lnTo>
                    <a:pt x="60" y="894"/>
                  </a:lnTo>
                  <a:lnTo>
                    <a:pt x="60" y="906"/>
                  </a:lnTo>
                  <a:lnTo>
                    <a:pt x="72" y="918"/>
                  </a:lnTo>
                  <a:lnTo>
                    <a:pt x="96" y="918"/>
                  </a:lnTo>
                  <a:lnTo>
                    <a:pt x="102" y="960"/>
                  </a:lnTo>
                  <a:lnTo>
                    <a:pt x="108" y="972"/>
                  </a:lnTo>
                  <a:lnTo>
                    <a:pt x="114" y="978"/>
                  </a:lnTo>
                  <a:lnTo>
                    <a:pt x="120" y="990"/>
                  </a:lnTo>
                  <a:lnTo>
                    <a:pt x="120" y="996"/>
                  </a:lnTo>
                  <a:lnTo>
                    <a:pt x="102" y="1014"/>
                  </a:lnTo>
                  <a:lnTo>
                    <a:pt x="102" y="1038"/>
                  </a:lnTo>
                  <a:lnTo>
                    <a:pt x="96" y="1056"/>
                  </a:lnTo>
                  <a:lnTo>
                    <a:pt x="96" y="1086"/>
                  </a:lnTo>
                  <a:lnTo>
                    <a:pt x="84" y="1086"/>
                  </a:lnTo>
                  <a:lnTo>
                    <a:pt x="90" y="1092"/>
                  </a:lnTo>
                  <a:lnTo>
                    <a:pt x="96" y="1104"/>
                  </a:lnTo>
                  <a:lnTo>
                    <a:pt x="102" y="1110"/>
                  </a:lnTo>
                  <a:lnTo>
                    <a:pt x="108" y="1122"/>
                  </a:lnTo>
                  <a:lnTo>
                    <a:pt x="114" y="1128"/>
                  </a:lnTo>
                  <a:lnTo>
                    <a:pt x="114" y="1140"/>
                  </a:lnTo>
                  <a:lnTo>
                    <a:pt x="108" y="1152"/>
                  </a:lnTo>
                  <a:lnTo>
                    <a:pt x="108" y="1158"/>
                  </a:lnTo>
                  <a:lnTo>
                    <a:pt x="102" y="1176"/>
                  </a:lnTo>
                  <a:lnTo>
                    <a:pt x="78" y="1182"/>
                  </a:lnTo>
                  <a:lnTo>
                    <a:pt x="78" y="1188"/>
                  </a:lnTo>
                  <a:lnTo>
                    <a:pt x="84" y="1194"/>
                  </a:lnTo>
                  <a:lnTo>
                    <a:pt x="84" y="1206"/>
                  </a:lnTo>
                  <a:lnTo>
                    <a:pt x="90" y="1224"/>
                  </a:lnTo>
                  <a:lnTo>
                    <a:pt x="96" y="1236"/>
                  </a:lnTo>
                  <a:lnTo>
                    <a:pt x="96" y="1284"/>
                  </a:lnTo>
                  <a:lnTo>
                    <a:pt x="126" y="1308"/>
                  </a:lnTo>
                  <a:lnTo>
                    <a:pt x="126" y="1326"/>
                  </a:lnTo>
                  <a:lnTo>
                    <a:pt x="132" y="1326"/>
                  </a:lnTo>
                  <a:lnTo>
                    <a:pt x="150" y="1344"/>
                  </a:lnTo>
                  <a:lnTo>
                    <a:pt x="150" y="1350"/>
                  </a:lnTo>
                  <a:lnTo>
                    <a:pt x="144" y="1362"/>
                  </a:lnTo>
                  <a:lnTo>
                    <a:pt x="132" y="1368"/>
                  </a:lnTo>
                  <a:lnTo>
                    <a:pt x="126" y="1374"/>
                  </a:lnTo>
                  <a:lnTo>
                    <a:pt x="120" y="1374"/>
                  </a:lnTo>
                  <a:lnTo>
                    <a:pt x="132" y="1416"/>
                  </a:lnTo>
                  <a:lnTo>
                    <a:pt x="114" y="1428"/>
                  </a:lnTo>
                  <a:lnTo>
                    <a:pt x="132" y="1446"/>
                  </a:lnTo>
                  <a:lnTo>
                    <a:pt x="132" y="1452"/>
                  </a:lnTo>
                  <a:lnTo>
                    <a:pt x="126" y="1464"/>
                  </a:lnTo>
                  <a:lnTo>
                    <a:pt x="126" y="1470"/>
                  </a:lnTo>
                  <a:lnTo>
                    <a:pt x="144" y="1482"/>
                  </a:lnTo>
                  <a:lnTo>
                    <a:pt x="144" y="1494"/>
                  </a:lnTo>
                  <a:lnTo>
                    <a:pt x="138" y="1500"/>
                  </a:lnTo>
                  <a:lnTo>
                    <a:pt x="138" y="1530"/>
                  </a:lnTo>
                  <a:lnTo>
                    <a:pt x="144" y="1536"/>
                  </a:lnTo>
                  <a:lnTo>
                    <a:pt x="150" y="1548"/>
                  </a:lnTo>
                  <a:lnTo>
                    <a:pt x="150" y="1572"/>
                  </a:lnTo>
                  <a:lnTo>
                    <a:pt x="156" y="1584"/>
                  </a:lnTo>
                  <a:lnTo>
                    <a:pt x="174" y="1602"/>
                  </a:lnTo>
                  <a:lnTo>
                    <a:pt x="186" y="1608"/>
                  </a:lnTo>
                  <a:lnTo>
                    <a:pt x="198" y="1620"/>
                  </a:lnTo>
                  <a:lnTo>
                    <a:pt x="192" y="1620"/>
                  </a:lnTo>
                  <a:lnTo>
                    <a:pt x="180" y="1626"/>
                  </a:lnTo>
                  <a:lnTo>
                    <a:pt x="174" y="1632"/>
                  </a:lnTo>
                  <a:lnTo>
                    <a:pt x="174" y="1644"/>
                  </a:lnTo>
                  <a:lnTo>
                    <a:pt x="180" y="1656"/>
                  </a:lnTo>
                  <a:lnTo>
                    <a:pt x="180" y="1674"/>
                  </a:lnTo>
                  <a:lnTo>
                    <a:pt x="186" y="1686"/>
                  </a:lnTo>
                  <a:lnTo>
                    <a:pt x="186" y="1698"/>
                  </a:lnTo>
                  <a:lnTo>
                    <a:pt x="192" y="1704"/>
                  </a:lnTo>
                  <a:lnTo>
                    <a:pt x="216" y="1716"/>
                  </a:lnTo>
                  <a:lnTo>
                    <a:pt x="210" y="1746"/>
                  </a:lnTo>
                  <a:lnTo>
                    <a:pt x="216" y="1746"/>
                  </a:lnTo>
                  <a:lnTo>
                    <a:pt x="228" y="1752"/>
                  </a:lnTo>
                  <a:lnTo>
                    <a:pt x="234" y="1758"/>
                  </a:lnTo>
                  <a:lnTo>
                    <a:pt x="234" y="1764"/>
                  </a:lnTo>
                  <a:lnTo>
                    <a:pt x="240" y="1776"/>
                  </a:lnTo>
                  <a:lnTo>
                    <a:pt x="240" y="1806"/>
                  </a:lnTo>
                  <a:lnTo>
                    <a:pt x="252" y="1818"/>
                  </a:lnTo>
                  <a:lnTo>
                    <a:pt x="282" y="1818"/>
                  </a:lnTo>
                  <a:lnTo>
                    <a:pt x="294" y="1824"/>
                  </a:lnTo>
                  <a:lnTo>
                    <a:pt x="294" y="1830"/>
                  </a:lnTo>
                  <a:lnTo>
                    <a:pt x="288" y="1836"/>
                  </a:lnTo>
                  <a:lnTo>
                    <a:pt x="276" y="1836"/>
                  </a:lnTo>
                  <a:lnTo>
                    <a:pt x="264" y="1842"/>
                  </a:lnTo>
                  <a:lnTo>
                    <a:pt x="246" y="1842"/>
                  </a:lnTo>
                  <a:lnTo>
                    <a:pt x="252" y="1848"/>
                  </a:lnTo>
                  <a:lnTo>
                    <a:pt x="258" y="1848"/>
                  </a:lnTo>
                  <a:lnTo>
                    <a:pt x="270" y="1854"/>
                  </a:lnTo>
                  <a:lnTo>
                    <a:pt x="276" y="1860"/>
                  </a:lnTo>
                  <a:lnTo>
                    <a:pt x="288" y="1860"/>
                  </a:lnTo>
                  <a:lnTo>
                    <a:pt x="312" y="1884"/>
                  </a:lnTo>
                  <a:lnTo>
                    <a:pt x="306" y="1890"/>
                  </a:lnTo>
                  <a:lnTo>
                    <a:pt x="300" y="1902"/>
                  </a:lnTo>
                  <a:lnTo>
                    <a:pt x="288" y="1914"/>
                  </a:lnTo>
                  <a:lnTo>
                    <a:pt x="312" y="1932"/>
                  </a:lnTo>
                  <a:lnTo>
                    <a:pt x="306" y="1956"/>
                  </a:lnTo>
                  <a:lnTo>
                    <a:pt x="330" y="1980"/>
                  </a:lnTo>
                  <a:lnTo>
                    <a:pt x="324" y="2016"/>
                  </a:lnTo>
                  <a:lnTo>
                    <a:pt x="336" y="2040"/>
                  </a:lnTo>
                  <a:lnTo>
                    <a:pt x="324" y="2046"/>
                  </a:lnTo>
                  <a:lnTo>
                    <a:pt x="318" y="2088"/>
                  </a:lnTo>
                  <a:lnTo>
                    <a:pt x="324" y="2088"/>
                  </a:lnTo>
                  <a:lnTo>
                    <a:pt x="348" y="2112"/>
                  </a:lnTo>
                  <a:lnTo>
                    <a:pt x="348" y="2118"/>
                  </a:lnTo>
                  <a:lnTo>
                    <a:pt x="342" y="2118"/>
                  </a:lnTo>
                  <a:lnTo>
                    <a:pt x="330" y="2124"/>
                  </a:lnTo>
                  <a:lnTo>
                    <a:pt x="324" y="2130"/>
                  </a:lnTo>
                  <a:lnTo>
                    <a:pt x="348" y="2154"/>
                  </a:lnTo>
                  <a:lnTo>
                    <a:pt x="348" y="2160"/>
                  </a:lnTo>
                  <a:lnTo>
                    <a:pt x="342" y="2166"/>
                  </a:lnTo>
                  <a:lnTo>
                    <a:pt x="336" y="2166"/>
                  </a:lnTo>
                  <a:lnTo>
                    <a:pt x="330" y="2172"/>
                  </a:lnTo>
                  <a:lnTo>
                    <a:pt x="324" y="2172"/>
                  </a:lnTo>
                  <a:lnTo>
                    <a:pt x="324" y="2196"/>
                  </a:lnTo>
                  <a:lnTo>
                    <a:pt x="312" y="2202"/>
                  </a:lnTo>
                  <a:lnTo>
                    <a:pt x="312" y="2214"/>
                  </a:lnTo>
                  <a:lnTo>
                    <a:pt x="318" y="2226"/>
                  </a:lnTo>
                  <a:lnTo>
                    <a:pt x="324" y="2232"/>
                  </a:lnTo>
                  <a:lnTo>
                    <a:pt x="324" y="2268"/>
                  </a:lnTo>
                  <a:lnTo>
                    <a:pt x="354" y="2274"/>
                  </a:lnTo>
                  <a:lnTo>
                    <a:pt x="354" y="2280"/>
                  </a:lnTo>
                  <a:lnTo>
                    <a:pt x="360" y="2286"/>
                  </a:lnTo>
                  <a:lnTo>
                    <a:pt x="360" y="2298"/>
                  </a:lnTo>
                  <a:lnTo>
                    <a:pt x="366" y="2304"/>
                  </a:lnTo>
                  <a:lnTo>
                    <a:pt x="378" y="2310"/>
                  </a:lnTo>
                  <a:lnTo>
                    <a:pt x="384" y="2310"/>
                  </a:lnTo>
                  <a:lnTo>
                    <a:pt x="396" y="2298"/>
                  </a:lnTo>
                  <a:lnTo>
                    <a:pt x="414" y="2298"/>
                  </a:lnTo>
                  <a:lnTo>
                    <a:pt x="426" y="2304"/>
                  </a:lnTo>
                  <a:lnTo>
                    <a:pt x="438" y="2316"/>
                  </a:lnTo>
                  <a:lnTo>
                    <a:pt x="438" y="2340"/>
                  </a:lnTo>
                  <a:lnTo>
                    <a:pt x="456" y="2364"/>
                  </a:lnTo>
                  <a:lnTo>
                    <a:pt x="468" y="2382"/>
                  </a:lnTo>
                  <a:lnTo>
                    <a:pt x="504" y="2400"/>
                  </a:lnTo>
                  <a:lnTo>
                    <a:pt x="522" y="2418"/>
                  </a:lnTo>
                  <a:lnTo>
                    <a:pt x="534" y="2418"/>
                  </a:lnTo>
                  <a:lnTo>
                    <a:pt x="546" y="2412"/>
                  </a:lnTo>
                  <a:lnTo>
                    <a:pt x="642" y="2412"/>
                  </a:lnTo>
                  <a:lnTo>
                    <a:pt x="666" y="2430"/>
                  </a:lnTo>
                  <a:lnTo>
                    <a:pt x="660" y="2442"/>
                  </a:lnTo>
                  <a:lnTo>
                    <a:pt x="666" y="2424"/>
                  </a:lnTo>
                  <a:lnTo>
                    <a:pt x="672" y="2418"/>
                  </a:lnTo>
                  <a:lnTo>
                    <a:pt x="684" y="2418"/>
                  </a:lnTo>
                  <a:lnTo>
                    <a:pt x="690" y="2424"/>
                  </a:lnTo>
                  <a:lnTo>
                    <a:pt x="702" y="2424"/>
                  </a:lnTo>
                  <a:lnTo>
                    <a:pt x="714" y="2430"/>
                  </a:lnTo>
                  <a:lnTo>
                    <a:pt x="720" y="2436"/>
                  </a:lnTo>
                  <a:lnTo>
                    <a:pt x="678" y="2382"/>
                  </a:lnTo>
                  <a:lnTo>
                    <a:pt x="660" y="2382"/>
                  </a:lnTo>
                  <a:lnTo>
                    <a:pt x="666" y="2370"/>
                  </a:lnTo>
                  <a:lnTo>
                    <a:pt x="630" y="2340"/>
                  </a:lnTo>
                  <a:lnTo>
                    <a:pt x="630" y="2310"/>
                  </a:lnTo>
                  <a:lnTo>
                    <a:pt x="618" y="2298"/>
                  </a:lnTo>
                  <a:lnTo>
                    <a:pt x="624" y="2286"/>
                  </a:lnTo>
                  <a:lnTo>
                    <a:pt x="630" y="2286"/>
                  </a:lnTo>
                  <a:lnTo>
                    <a:pt x="642" y="2274"/>
                  </a:lnTo>
                  <a:lnTo>
                    <a:pt x="642" y="2268"/>
                  </a:lnTo>
                  <a:lnTo>
                    <a:pt x="636" y="2268"/>
                  </a:lnTo>
                  <a:lnTo>
                    <a:pt x="624" y="2262"/>
                  </a:lnTo>
                  <a:lnTo>
                    <a:pt x="606" y="2262"/>
                  </a:lnTo>
                  <a:lnTo>
                    <a:pt x="618" y="2250"/>
                  </a:lnTo>
                  <a:lnTo>
                    <a:pt x="618" y="2232"/>
                  </a:lnTo>
                  <a:lnTo>
                    <a:pt x="636" y="2256"/>
                  </a:lnTo>
                  <a:lnTo>
                    <a:pt x="648" y="2262"/>
                  </a:lnTo>
                  <a:lnTo>
                    <a:pt x="666" y="2262"/>
                  </a:lnTo>
                  <a:lnTo>
                    <a:pt x="672" y="2256"/>
                  </a:lnTo>
                  <a:lnTo>
                    <a:pt x="678" y="2244"/>
                  </a:lnTo>
                  <a:lnTo>
                    <a:pt x="678" y="2226"/>
                  </a:lnTo>
                  <a:lnTo>
                    <a:pt x="672" y="2208"/>
                  </a:lnTo>
                  <a:lnTo>
                    <a:pt x="666" y="2196"/>
                  </a:lnTo>
                  <a:lnTo>
                    <a:pt x="666" y="2178"/>
                  </a:lnTo>
                  <a:lnTo>
                    <a:pt x="678" y="2154"/>
                  </a:lnTo>
                  <a:lnTo>
                    <a:pt x="690" y="2142"/>
                  </a:lnTo>
                  <a:lnTo>
                    <a:pt x="708" y="2130"/>
                  </a:lnTo>
                  <a:lnTo>
                    <a:pt x="738" y="2100"/>
                  </a:lnTo>
                  <a:lnTo>
                    <a:pt x="726" y="2088"/>
                  </a:lnTo>
                  <a:lnTo>
                    <a:pt x="702" y="2088"/>
                  </a:lnTo>
                  <a:lnTo>
                    <a:pt x="726" y="2082"/>
                  </a:lnTo>
                  <a:lnTo>
                    <a:pt x="726" y="2064"/>
                  </a:lnTo>
                  <a:lnTo>
                    <a:pt x="714" y="2040"/>
                  </a:lnTo>
                  <a:lnTo>
                    <a:pt x="708" y="2034"/>
                  </a:lnTo>
                  <a:lnTo>
                    <a:pt x="696" y="2028"/>
                  </a:lnTo>
                  <a:lnTo>
                    <a:pt x="690" y="2028"/>
                  </a:lnTo>
                  <a:lnTo>
                    <a:pt x="684" y="2034"/>
                  </a:lnTo>
                  <a:lnTo>
                    <a:pt x="672" y="2016"/>
                  </a:lnTo>
                  <a:lnTo>
                    <a:pt x="642" y="2016"/>
                  </a:lnTo>
                  <a:lnTo>
                    <a:pt x="636" y="2010"/>
                  </a:lnTo>
                  <a:lnTo>
                    <a:pt x="624" y="2004"/>
                  </a:lnTo>
                  <a:lnTo>
                    <a:pt x="606" y="1992"/>
                  </a:lnTo>
                  <a:lnTo>
                    <a:pt x="582" y="1968"/>
                  </a:lnTo>
                  <a:lnTo>
                    <a:pt x="570" y="1950"/>
                  </a:lnTo>
                  <a:lnTo>
                    <a:pt x="564" y="1938"/>
                  </a:lnTo>
                  <a:lnTo>
                    <a:pt x="564" y="1926"/>
                  </a:lnTo>
                  <a:lnTo>
                    <a:pt x="570" y="1914"/>
                  </a:lnTo>
                  <a:lnTo>
                    <a:pt x="570" y="1908"/>
                  </a:lnTo>
                  <a:lnTo>
                    <a:pt x="576" y="1908"/>
                  </a:lnTo>
                  <a:lnTo>
                    <a:pt x="582" y="1902"/>
                  </a:lnTo>
                  <a:lnTo>
                    <a:pt x="594" y="1878"/>
                  </a:lnTo>
                  <a:lnTo>
                    <a:pt x="606" y="1878"/>
                  </a:lnTo>
                  <a:lnTo>
                    <a:pt x="612" y="1860"/>
                  </a:lnTo>
                  <a:lnTo>
                    <a:pt x="666" y="1860"/>
                  </a:lnTo>
                  <a:lnTo>
                    <a:pt x="654" y="1848"/>
                  </a:lnTo>
                  <a:lnTo>
                    <a:pt x="654" y="1824"/>
                  </a:lnTo>
                  <a:lnTo>
                    <a:pt x="666" y="1824"/>
                  </a:lnTo>
                  <a:lnTo>
                    <a:pt x="666" y="1794"/>
                  </a:lnTo>
                  <a:lnTo>
                    <a:pt x="660" y="1788"/>
                  </a:lnTo>
                  <a:lnTo>
                    <a:pt x="654" y="1776"/>
                  </a:lnTo>
                  <a:lnTo>
                    <a:pt x="642" y="1764"/>
                  </a:lnTo>
                  <a:lnTo>
                    <a:pt x="642" y="1746"/>
                  </a:lnTo>
                  <a:lnTo>
                    <a:pt x="648" y="1728"/>
                  </a:lnTo>
                  <a:lnTo>
                    <a:pt x="654" y="1716"/>
                  </a:lnTo>
                  <a:lnTo>
                    <a:pt x="666" y="1710"/>
                  </a:lnTo>
                  <a:lnTo>
                    <a:pt x="672" y="1704"/>
                  </a:lnTo>
                  <a:lnTo>
                    <a:pt x="684" y="1704"/>
                  </a:lnTo>
                  <a:lnTo>
                    <a:pt x="684" y="1692"/>
                  </a:lnTo>
                  <a:lnTo>
                    <a:pt x="660" y="1692"/>
                  </a:lnTo>
                  <a:lnTo>
                    <a:pt x="648" y="1686"/>
                  </a:lnTo>
                  <a:lnTo>
                    <a:pt x="642" y="1680"/>
                  </a:lnTo>
                  <a:lnTo>
                    <a:pt x="642" y="1674"/>
                  </a:lnTo>
                  <a:lnTo>
                    <a:pt x="654" y="1668"/>
                  </a:lnTo>
                  <a:lnTo>
                    <a:pt x="666" y="1668"/>
                  </a:lnTo>
                  <a:lnTo>
                    <a:pt x="702" y="1686"/>
                  </a:lnTo>
                  <a:lnTo>
                    <a:pt x="708" y="1692"/>
                  </a:lnTo>
                  <a:lnTo>
                    <a:pt x="714" y="1692"/>
                  </a:lnTo>
                  <a:lnTo>
                    <a:pt x="720" y="1686"/>
                  </a:lnTo>
                  <a:lnTo>
                    <a:pt x="732" y="1680"/>
                  </a:lnTo>
                  <a:lnTo>
                    <a:pt x="732" y="1656"/>
                  </a:lnTo>
                  <a:lnTo>
                    <a:pt x="726" y="1644"/>
                  </a:lnTo>
                  <a:lnTo>
                    <a:pt x="708" y="1626"/>
                  </a:lnTo>
                  <a:lnTo>
                    <a:pt x="696" y="1626"/>
                  </a:lnTo>
                  <a:lnTo>
                    <a:pt x="690" y="1632"/>
                  </a:lnTo>
                  <a:lnTo>
                    <a:pt x="690" y="1650"/>
                  </a:lnTo>
                  <a:lnTo>
                    <a:pt x="684" y="1656"/>
                  </a:lnTo>
                  <a:lnTo>
                    <a:pt x="666" y="1656"/>
                  </a:lnTo>
                  <a:lnTo>
                    <a:pt x="654" y="1650"/>
                  </a:lnTo>
                  <a:lnTo>
                    <a:pt x="648" y="1644"/>
                  </a:lnTo>
                  <a:lnTo>
                    <a:pt x="648" y="1638"/>
                  </a:lnTo>
                  <a:lnTo>
                    <a:pt x="612" y="1638"/>
                  </a:lnTo>
                  <a:lnTo>
                    <a:pt x="606" y="1632"/>
                  </a:lnTo>
                  <a:lnTo>
                    <a:pt x="606" y="1572"/>
                  </a:lnTo>
                  <a:lnTo>
                    <a:pt x="600" y="1566"/>
                  </a:lnTo>
                  <a:lnTo>
                    <a:pt x="594" y="1554"/>
                  </a:lnTo>
                  <a:lnTo>
                    <a:pt x="588" y="1536"/>
                  </a:lnTo>
                  <a:lnTo>
                    <a:pt x="588" y="1524"/>
                  </a:lnTo>
                  <a:lnTo>
                    <a:pt x="594" y="1518"/>
                  </a:lnTo>
                  <a:lnTo>
                    <a:pt x="600" y="1518"/>
                  </a:lnTo>
                  <a:lnTo>
                    <a:pt x="606" y="1524"/>
                  </a:lnTo>
                  <a:lnTo>
                    <a:pt x="618" y="1524"/>
                  </a:lnTo>
                  <a:lnTo>
                    <a:pt x="624" y="1530"/>
                  </a:lnTo>
                  <a:lnTo>
                    <a:pt x="636" y="1536"/>
                  </a:lnTo>
                  <a:lnTo>
                    <a:pt x="672" y="1548"/>
                  </a:lnTo>
                  <a:lnTo>
                    <a:pt x="690" y="1560"/>
                  </a:lnTo>
                  <a:lnTo>
                    <a:pt x="708" y="1560"/>
                  </a:lnTo>
                  <a:lnTo>
                    <a:pt x="726" y="1554"/>
                  </a:lnTo>
                  <a:lnTo>
                    <a:pt x="738" y="1542"/>
                  </a:lnTo>
                  <a:lnTo>
                    <a:pt x="750" y="1536"/>
                  </a:lnTo>
                  <a:lnTo>
                    <a:pt x="768" y="1530"/>
                  </a:lnTo>
                  <a:lnTo>
                    <a:pt x="774" y="1524"/>
                  </a:lnTo>
                  <a:lnTo>
                    <a:pt x="774" y="1512"/>
                  </a:lnTo>
                  <a:lnTo>
                    <a:pt x="762" y="1506"/>
                  </a:lnTo>
                  <a:lnTo>
                    <a:pt x="750" y="1494"/>
                  </a:lnTo>
                  <a:lnTo>
                    <a:pt x="738" y="1488"/>
                  </a:lnTo>
                  <a:lnTo>
                    <a:pt x="738" y="1464"/>
                  </a:lnTo>
                  <a:lnTo>
                    <a:pt x="744" y="1452"/>
                  </a:lnTo>
                  <a:lnTo>
                    <a:pt x="750" y="1446"/>
                  </a:lnTo>
                  <a:lnTo>
                    <a:pt x="750" y="1434"/>
                  </a:lnTo>
                  <a:lnTo>
                    <a:pt x="756" y="1422"/>
                  </a:lnTo>
                  <a:lnTo>
                    <a:pt x="744" y="1410"/>
                  </a:lnTo>
                  <a:lnTo>
                    <a:pt x="726" y="1410"/>
                  </a:lnTo>
                  <a:lnTo>
                    <a:pt x="720" y="1386"/>
                  </a:lnTo>
                  <a:lnTo>
                    <a:pt x="714" y="1380"/>
                  </a:lnTo>
                  <a:lnTo>
                    <a:pt x="714" y="1368"/>
                  </a:lnTo>
                  <a:lnTo>
                    <a:pt x="720" y="1362"/>
                  </a:lnTo>
                  <a:lnTo>
                    <a:pt x="726" y="1362"/>
                  </a:lnTo>
                  <a:lnTo>
                    <a:pt x="732" y="1374"/>
                  </a:lnTo>
                  <a:lnTo>
                    <a:pt x="738" y="1380"/>
                  </a:lnTo>
                  <a:lnTo>
                    <a:pt x="738" y="1386"/>
                  </a:lnTo>
                  <a:lnTo>
                    <a:pt x="744" y="1398"/>
                  </a:lnTo>
                  <a:lnTo>
                    <a:pt x="756" y="1398"/>
                  </a:lnTo>
                  <a:lnTo>
                    <a:pt x="750" y="1380"/>
                  </a:lnTo>
                  <a:lnTo>
                    <a:pt x="828" y="1386"/>
                  </a:lnTo>
                  <a:lnTo>
                    <a:pt x="834" y="1380"/>
                  </a:lnTo>
                  <a:lnTo>
                    <a:pt x="840" y="1380"/>
                  </a:lnTo>
                  <a:lnTo>
                    <a:pt x="846" y="1374"/>
                  </a:lnTo>
                  <a:lnTo>
                    <a:pt x="864" y="1368"/>
                  </a:lnTo>
                  <a:lnTo>
                    <a:pt x="894" y="1362"/>
                  </a:lnTo>
                  <a:lnTo>
                    <a:pt x="930" y="1350"/>
                  </a:lnTo>
                  <a:lnTo>
                    <a:pt x="972" y="1338"/>
                  </a:lnTo>
                  <a:lnTo>
                    <a:pt x="1002" y="1326"/>
                  </a:lnTo>
                  <a:lnTo>
                    <a:pt x="1014" y="1320"/>
                  </a:lnTo>
                  <a:lnTo>
                    <a:pt x="1014" y="1284"/>
                  </a:lnTo>
                  <a:lnTo>
                    <a:pt x="1032" y="1272"/>
                  </a:lnTo>
                  <a:lnTo>
                    <a:pt x="1044" y="1218"/>
                  </a:lnTo>
                  <a:lnTo>
                    <a:pt x="1038" y="1194"/>
                  </a:lnTo>
                  <a:lnTo>
                    <a:pt x="1038" y="1170"/>
                  </a:lnTo>
                  <a:lnTo>
                    <a:pt x="1032" y="1170"/>
                  </a:lnTo>
                  <a:lnTo>
                    <a:pt x="1026" y="1164"/>
                  </a:lnTo>
                  <a:lnTo>
                    <a:pt x="1002" y="1152"/>
                  </a:lnTo>
                  <a:lnTo>
                    <a:pt x="990" y="1152"/>
                  </a:lnTo>
                  <a:lnTo>
                    <a:pt x="984" y="1146"/>
                  </a:lnTo>
                  <a:lnTo>
                    <a:pt x="978" y="1146"/>
                  </a:lnTo>
                  <a:lnTo>
                    <a:pt x="972" y="1140"/>
                  </a:lnTo>
                  <a:lnTo>
                    <a:pt x="990" y="1122"/>
                  </a:lnTo>
                  <a:lnTo>
                    <a:pt x="990" y="1092"/>
                  </a:lnTo>
                  <a:lnTo>
                    <a:pt x="984" y="1080"/>
                  </a:lnTo>
                  <a:lnTo>
                    <a:pt x="978" y="1074"/>
                  </a:lnTo>
                  <a:lnTo>
                    <a:pt x="954" y="1062"/>
                  </a:lnTo>
                  <a:lnTo>
                    <a:pt x="918" y="1050"/>
                  </a:lnTo>
                  <a:lnTo>
                    <a:pt x="906" y="1044"/>
                  </a:lnTo>
                  <a:lnTo>
                    <a:pt x="888" y="1032"/>
                  </a:lnTo>
                  <a:lnTo>
                    <a:pt x="876" y="1020"/>
                  </a:lnTo>
                  <a:lnTo>
                    <a:pt x="876" y="1002"/>
                  </a:lnTo>
                  <a:lnTo>
                    <a:pt x="882" y="990"/>
                  </a:lnTo>
                  <a:lnTo>
                    <a:pt x="888" y="990"/>
                  </a:lnTo>
                  <a:lnTo>
                    <a:pt x="888" y="984"/>
                  </a:lnTo>
                  <a:lnTo>
                    <a:pt x="858" y="948"/>
                  </a:lnTo>
                  <a:lnTo>
                    <a:pt x="858" y="900"/>
                  </a:lnTo>
                  <a:lnTo>
                    <a:pt x="882" y="900"/>
                  </a:lnTo>
                  <a:lnTo>
                    <a:pt x="888" y="894"/>
                  </a:lnTo>
                  <a:lnTo>
                    <a:pt x="894" y="894"/>
                  </a:lnTo>
                  <a:lnTo>
                    <a:pt x="894" y="888"/>
                  </a:lnTo>
                  <a:lnTo>
                    <a:pt x="888" y="876"/>
                  </a:lnTo>
                  <a:lnTo>
                    <a:pt x="876" y="870"/>
                  </a:lnTo>
                  <a:lnTo>
                    <a:pt x="870" y="858"/>
                  </a:lnTo>
                  <a:lnTo>
                    <a:pt x="864" y="852"/>
                  </a:lnTo>
                  <a:lnTo>
                    <a:pt x="876" y="834"/>
                  </a:lnTo>
                  <a:lnTo>
                    <a:pt x="864" y="822"/>
                  </a:lnTo>
                  <a:lnTo>
                    <a:pt x="858" y="810"/>
                  </a:lnTo>
                  <a:lnTo>
                    <a:pt x="852" y="804"/>
                  </a:lnTo>
                  <a:lnTo>
                    <a:pt x="864" y="792"/>
                  </a:lnTo>
                  <a:lnTo>
                    <a:pt x="882" y="792"/>
                  </a:lnTo>
                  <a:lnTo>
                    <a:pt x="858" y="774"/>
                  </a:lnTo>
                  <a:lnTo>
                    <a:pt x="858" y="738"/>
                  </a:lnTo>
                  <a:lnTo>
                    <a:pt x="882" y="726"/>
                  </a:lnTo>
                  <a:lnTo>
                    <a:pt x="876" y="726"/>
                  </a:lnTo>
                  <a:lnTo>
                    <a:pt x="852" y="702"/>
                  </a:lnTo>
                  <a:lnTo>
                    <a:pt x="852" y="696"/>
                  </a:lnTo>
                  <a:lnTo>
                    <a:pt x="870" y="678"/>
                  </a:lnTo>
                  <a:lnTo>
                    <a:pt x="870" y="666"/>
                  </a:lnTo>
                  <a:lnTo>
                    <a:pt x="876" y="654"/>
                  </a:lnTo>
                  <a:lnTo>
                    <a:pt x="876" y="642"/>
                  </a:lnTo>
                  <a:lnTo>
                    <a:pt x="882" y="636"/>
                  </a:lnTo>
                  <a:lnTo>
                    <a:pt x="900" y="636"/>
                  </a:lnTo>
                  <a:lnTo>
                    <a:pt x="906" y="630"/>
                  </a:lnTo>
                  <a:lnTo>
                    <a:pt x="912" y="618"/>
                  </a:lnTo>
                  <a:lnTo>
                    <a:pt x="918" y="612"/>
                  </a:lnTo>
                  <a:lnTo>
                    <a:pt x="918" y="588"/>
                  </a:lnTo>
                  <a:lnTo>
                    <a:pt x="930" y="588"/>
                  </a:lnTo>
                  <a:lnTo>
                    <a:pt x="948" y="570"/>
                  </a:lnTo>
                  <a:lnTo>
                    <a:pt x="948" y="558"/>
                  </a:lnTo>
                  <a:lnTo>
                    <a:pt x="954" y="546"/>
                  </a:lnTo>
                  <a:lnTo>
                    <a:pt x="954" y="534"/>
                  </a:lnTo>
                  <a:close/>
                  <a:moveTo>
                    <a:pt x="930" y="1020"/>
                  </a:moveTo>
                  <a:lnTo>
                    <a:pt x="942" y="1020"/>
                  </a:lnTo>
                  <a:lnTo>
                    <a:pt x="930" y="1014"/>
                  </a:lnTo>
                  <a:lnTo>
                    <a:pt x="930" y="1020"/>
                  </a:lnTo>
                  <a:close/>
                </a:path>
              </a:pathLst>
            </a:custGeom>
            <a:solidFill>
              <a:schemeClr val="accent5"/>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99" name="Angola" descr="© INSCALE GmbH, 05.05.2010&#10;http://www.presentationload.com/">
              <a:extLst>
                <a:ext uri="{FF2B5EF4-FFF2-40B4-BE49-F238E27FC236}">
                  <a16:creationId xmlns:a16="http://schemas.microsoft.com/office/drawing/2014/main" id="{7524A064-E4BD-4755-AE31-A0B9E2E03FE1}"/>
                </a:ext>
              </a:extLst>
            </p:cNvPr>
            <p:cNvSpPr>
              <a:spLocks noEditPoints="1"/>
            </p:cNvSpPr>
            <p:nvPr/>
          </p:nvSpPr>
          <p:spPr bwMode="gray">
            <a:xfrm>
              <a:off x="4457075" y="4389048"/>
              <a:ext cx="352805" cy="440615"/>
            </a:xfrm>
            <a:custGeom>
              <a:avLst/>
              <a:gdLst>
                <a:gd name="T0" fmla="*/ 2147483647 w 888"/>
                <a:gd name="T1" fmla="*/ 2147483647 h 1104"/>
                <a:gd name="T2" fmla="*/ 2147483647 w 888"/>
                <a:gd name="T3" fmla="*/ 2147483647 h 1104"/>
                <a:gd name="T4" fmla="*/ 2147483647 w 888"/>
                <a:gd name="T5" fmla="*/ 2147483647 h 1104"/>
                <a:gd name="T6" fmla="*/ 2147483647 w 888"/>
                <a:gd name="T7" fmla="*/ 0 h 1104"/>
                <a:gd name="T8" fmla="*/ 2147483647 w 888"/>
                <a:gd name="T9" fmla="*/ 2147483647 h 1104"/>
                <a:gd name="T10" fmla="*/ 2147483647 w 888"/>
                <a:gd name="T11" fmla="*/ 2147483647 h 1104"/>
                <a:gd name="T12" fmla="*/ 2147483647 w 888"/>
                <a:gd name="T13" fmla="*/ 2147483647 h 1104"/>
                <a:gd name="T14" fmla="*/ 2147483647 w 888"/>
                <a:gd name="T15" fmla="*/ 2147483647 h 1104"/>
                <a:gd name="T16" fmla="*/ 2147483647 w 888"/>
                <a:gd name="T17" fmla="*/ 2147483647 h 1104"/>
                <a:gd name="T18" fmla="*/ 2147483647 w 888"/>
                <a:gd name="T19" fmla="*/ 2147483647 h 1104"/>
                <a:gd name="T20" fmla="*/ 2147483647 w 888"/>
                <a:gd name="T21" fmla="*/ 2147483647 h 1104"/>
                <a:gd name="T22" fmla="*/ 2147483647 w 888"/>
                <a:gd name="T23" fmla="*/ 2147483647 h 1104"/>
                <a:gd name="T24" fmla="*/ 2147483647 w 888"/>
                <a:gd name="T25" fmla="*/ 2147483647 h 1104"/>
                <a:gd name="T26" fmla="*/ 2147483647 w 888"/>
                <a:gd name="T27" fmla="*/ 2147483647 h 1104"/>
                <a:gd name="T28" fmla="*/ 2147483647 w 888"/>
                <a:gd name="T29" fmla="*/ 2147483647 h 1104"/>
                <a:gd name="T30" fmla="*/ 2147483647 w 888"/>
                <a:gd name="T31" fmla="*/ 2147483647 h 1104"/>
                <a:gd name="T32" fmla="*/ 2147483647 w 888"/>
                <a:gd name="T33" fmla="*/ 2147483647 h 1104"/>
                <a:gd name="T34" fmla="*/ 2147483647 w 888"/>
                <a:gd name="T35" fmla="*/ 2147483647 h 1104"/>
                <a:gd name="T36" fmla="*/ 2147483647 w 888"/>
                <a:gd name="T37" fmla="*/ 2147483647 h 1104"/>
                <a:gd name="T38" fmla="*/ 2147483647 w 888"/>
                <a:gd name="T39" fmla="*/ 2147483647 h 1104"/>
                <a:gd name="T40" fmla="*/ 2147483647 w 888"/>
                <a:gd name="T41" fmla="*/ 2147483647 h 1104"/>
                <a:gd name="T42" fmla="*/ 2147483647 w 888"/>
                <a:gd name="T43" fmla="*/ 2147483647 h 1104"/>
                <a:gd name="T44" fmla="*/ 2147483647 w 888"/>
                <a:gd name="T45" fmla="*/ 2147483647 h 1104"/>
                <a:gd name="T46" fmla="*/ 2147483647 w 888"/>
                <a:gd name="T47" fmla="*/ 2147483647 h 1104"/>
                <a:gd name="T48" fmla="*/ 2147483647 w 888"/>
                <a:gd name="T49" fmla="*/ 2147483647 h 1104"/>
                <a:gd name="T50" fmla="*/ 2147483647 w 888"/>
                <a:gd name="T51" fmla="*/ 2147483647 h 1104"/>
                <a:gd name="T52" fmla="*/ 2147483647 w 888"/>
                <a:gd name="T53" fmla="*/ 2147483647 h 1104"/>
                <a:gd name="T54" fmla="*/ 2147483647 w 888"/>
                <a:gd name="T55" fmla="*/ 2147483647 h 1104"/>
                <a:gd name="T56" fmla="*/ 2147483647 w 888"/>
                <a:gd name="T57" fmla="*/ 2147483647 h 1104"/>
                <a:gd name="T58" fmla="*/ 2147483647 w 888"/>
                <a:gd name="T59" fmla="*/ 2147483647 h 1104"/>
                <a:gd name="T60" fmla="*/ 2147483647 w 888"/>
                <a:gd name="T61" fmla="*/ 2147483647 h 1104"/>
                <a:gd name="T62" fmla="*/ 2147483647 w 888"/>
                <a:gd name="T63" fmla="*/ 2147483647 h 1104"/>
                <a:gd name="T64" fmla="*/ 2147483647 w 888"/>
                <a:gd name="T65" fmla="*/ 2147483647 h 1104"/>
                <a:gd name="T66" fmla="*/ 2147483647 w 888"/>
                <a:gd name="T67" fmla="*/ 2147483647 h 1104"/>
                <a:gd name="T68" fmla="*/ 2147483647 w 888"/>
                <a:gd name="T69" fmla="*/ 2147483647 h 1104"/>
                <a:gd name="T70" fmla="*/ 2147483647 w 888"/>
                <a:gd name="T71" fmla="*/ 2147483647 h 1104"/>
                <a:gd name="T72" fmla="*/ 2147483647 w 888"/>
                <a:gd name="T73" fmla="*/ 2147483647 h 1104"/>
                <a:gd name="T74" fmla="*/ 0 w 888"/>
                <a:gd name="T75" fmla="*/ 2147483647 h 1104"/>
                <a:gd name="T76" fmla="*/ 2147483647 w 888"/>
                <a:gd name="T77" fmla="*/ 2147483647 h 1104"/>
                <a:gd name="T78" fmla="*/ 2147483647 w 888"/>
                <a:gd name="T79" fmla="*/ 2147483647 h 1104"/>
                <a:gd name="T80" fmla="*/ 2147483647 w 888"/>
                <a:gd name="T81" fmla="*/ 2147483647 h 1104"/>
                <a:gd name="T82" fmla="*/ 2147483647 w 888"/>
                <a:gd name="T83" fmla="*/ 2147483647 h 1104"/>
                <a:gd name="T84" fmla="*/ 2147483647 w 888"/>
                <a:gd name="T85" fmla="*/ 2147483647 h 1104"/>
                <a:gd name="T86" fmla="*/ 2147483647 w 888"/>
                <a:gd name="T87" fmla="*/ 2147483647 h 1104"/>
                <a:gd name="T88" fmla="*/ 2147483647 w 888"/>
                <a:gd name="T89" fmla="*/ 2147483647 h 1104"/>
                <a:gd name="T90" fmla="*/ 2147483647 w 888"/>
                <a:gd name="T91" fmla="*/ 2147483647 h 1104"/>
                <a:gd name="T92" fmla="*/ 2147483647 w 888"/>
                <a:gd name="T93" fmla="*/ 2147483647 h 1104"/>
                <a:gd name="T94" fmla="*/ 2147483647 w 888"/>
                <a:gd name="T95" fmla="*/ 2147483647 h 11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8"/>
                <a:gd name="T145" fmla="*/ 0 h 1104"/>
                <a:gd name="T146" fmla="*/ 888 w 888"/>
                <a:gd name="T147" fmla="*/ 1104 h 11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8" h="1104">
                  <a:moveTo>
                    <a:pt x="42" y="114"/>
                  </a:moveTo>
                  <a:lnTo>
                    <a:pt x="42" y="120"/>
                  </a:lnTo>
                  <a:lnTo>
                    <a:pt x="48" y="120"/>
                  </a:lnTo>
                  <a:lnTo>
                    <a:pt x="54" y="114"/>
                  </a:lnTo>
                  <a:lnTo>
                    <a:pt x="66" y="108"/>
                  </a:lnTo>
                  <a:lnTo>
                    <a:pt x="72" y="102"/>
                  </a:lnTo>
                  <a:lnTo>
                    <a:pt x="72" y="96"/>
                  </a:lnTo>
                  <a:lnTo>
                    <a:pt x="66" y="84"/>
                  </a:lnTo>
                  <a:lnTo>
                    <a:pt x="66" y="78"/>
                  </a:lnTo>
                  <a:lnTo>
                    <a:pt x="60" y="66"/>
                  </a:lnTo>
                  <a:lnTo>
                    <a:pt x="96" y="36"/>
                  </a:lnTo>
                  <a:lnTo>
                    <a:pt x="102" y="24"/>
                  </a:lnTo>
                  <a:lnTo>
                    <a:pt x="102" y="18"/>
                  </a:lnTo>
                  <a:lnTo>
                    <a:pt x="96" y="12"/>
                  </a:lnTo>
                  <a:lnTo>
                    <a:pt x="96" y="6"/>
                  </a:lnTo>
                  <a:lnTo>
                    <a:pt x="90" y="0"/>
                  </a:lnTo>
                  <a:lnTo>
                    <a:pt x="84" y="6"/>
                  </a:lnTo>
                  <a:lnTo>
                    <a:pt x="72" y="12"/>
                  </a:lnTo>
                  <a:lnTo>
                    <a:pt x="66" y="18"/>
                  </a:lnTo>
                  <a:lnTo>
                    <a:pt x="54" y="24"/>
                  </a:lnTo>
                  <a:lnTo>
                    <a:pt x="54" y="42"/>
                  </a:lnTo>
                  <a:lnTo>
                    <a:pt x="36" y="42"/>
                  </a:lnTo>
                  <a:lnTo>
                    <a:pt x="36" y="60"/>
                  </a:lnTo>
                  <a:lnTo>
                    <a:pt x="42" y="114"/>
                  </a:lnTo>
                  <a:close/>
                  <a:moveTo>
                    <a:pt x="876" y="546"/>
                  </a:moveTo>
                  <a:lnTo>
                    <a:pt x="852" y="546"/>
                  </a:lnTo>
                  <a:lnTo>
                    <a:pt x="840" y="534"/>
                  </a:lnTo>
                  <a:lnTo>
                    <a:pt x="828" y="534"/>
                  </a:lnTo>
                  <a:lnTo>
                    <a:pt x="828" y="546"/>
                  </a:lnTo>
                  <a:lnTo>
                    <a:pt x="804" y="552"/>
                  </a:lnTo>
                  <a:lnTo>
                    <a:pt x="774" y="546"/>
                  </a:lnTo>
                  <a:lnTo>
                    <a:pt x="768" y="564"/>
                  </a:lnTo>
                  <a:lnTo>
                    <a:pt x="762" y="558"/>
                  </a:lnTo>
                  <a:lnTo>
                    <a:pt x="756" y="558"/>
                  </a:lnTo>
                  <a:lnTo>
                    <a:pt x="750" y="552"/>
                  </a:lnTo>
                  <a:lnTo>
                    <a:pt x="750" y="528"/>
                  </a:lnTo>
                  <a:lnTo>
                    <a:pt x="756" y="522"/>
                  </a:lnTo>
                  <a:lnTo>
                    <a:pt x="756" y="510"/>
                  </a:lnTo>
                  <a:lnTo>
                    <a:pt x="762" y="498"/>
                  </a:lnTo>
                  <a:lnTo>
                    <a:pt x="762" y="480"/>
                  </a:lnTo>
                  <a:lnTo>
                    <a:pt x="756" y="474"/>
                  </a:lnTo>
                  <a:lnTo>
                    <a:pt x="744" y="450"/>
                  </a:lnTo>
                  <a:lnTo>
                    <a:pt x="732" y="432"/>
                  </a:lnTo>
                  <a:lnTo>
                    <a:pt x="726" y="414"/>
                  </a:lnTo>
                  <a:lnTo>
                    <a:pt x="726" y="402"/>
                  </a:lnTo>
                  <a:lnTo>
                    <a:pt x="732" y="396"/>
                  </a:lnTo>
                  <a:lnTo>
                    <a:pt x="732" y="384"/>
                  </a:lnTo>
                  <a:lnTo>
                    <a:pt x="726" y="360"/>
                  </a:lnTo>
                  <a:lnTo>
                    <a:pt x="732" y="354"/>
                  </a:lnTo>
                  <a:lnTo>
                    <a:pt x="738" y="342"/>
                  </a:lnTo>
                  <a:lnTo>
                    <a:pt x="738" y="330"/>
                  </a:lnTo>
                  <a:lnTo>
                    <a:pt x="732" y="318"/>
                  </a:lnTo>
                  <a:lnTo>
                    <a:pt x="720" y="306"/>
                  </a:lnTo>
                  <a:lnTo>
                    <a:pt x="714" y="288"/>
                  </a:lnTo>
                  <a:lnTo>
                    <a:pt x="726" y="270"/>
                  </a:lnTo>
                  <a:lnTo>
                    <a:pt x="726" y="246"/>
                  </a:lnTo>
                  <a:lnTo>
                    <a:pt x="636" y="246"/>
                  </a:lnTo>
                  <a:lnTo>
                    <a:pt x="636" y="222"/>
                  </a:lnTo>
                  <a:lnTo>
                    <a:pt x="624" y="216"/>
                  </a:lnTo>
                  <a:lnTo>
                    <a:pt x="612" y="216"/>
                  </a:lnTo>
                  <a:lnTo>
                    <a:pt x="612" y="222"/>
                  </a:lnTo>
                  <a:lnTo>
                    <a:pt x="564" y="222"/>
                  </a:lnTo>
                  <a:lnTo>
                    <a:pt x="558" y="228"/>
                  </a:lnTo>
                  <a:lnTo>
                    <a:pt x="558" y="234"/>
                  </a:lnTo>
                  <a:lnTo>
                    <a:pt x="564" y="240"/>
                  </a:lnTo>
                  <a:lnTo>
                    <a:pt x="570" y="252"/>
                  </a:lnTo>
                  <a:lnTo>
                    <a:pt x="570" y="264"/>
                  </a:lnTo>
                  <a:lnTo>
                    <a:pt x="558" y="264"/>
                  </a:lnTo>
                  <a:lnTo>
                    <a:pt x="558" y="270"/>
                  </a:lnTo>
                  <a:lnTo>
                    <a:pt x="552" y="276"/>
                  </a:lnTo>
                  <a:lnTo>
                    <a:pt x="552" y="294"/>
                  </a:lnTo>
                  <a:lnTo>
                    <a:pt x="510" y="300"/>
                  </a:lnTo>
                  <a:lnTo>
                    <a:pt x="504" y="294"/>
                  </a:lnTo>
                  <a:lnTo>
                    <a:pt x="492" y="300"/>
                  </a:lnTo>
                  <a:lnTo>
                    <a:pt x="468" y="300"/>
                  </a:lnTo>
                  <a:lnTo>
                    <a:pt x="462" y="312"/>
                  </a:lnTo>
                  <a:lnTo>
                    <a:pt x="450" y="306"/>
                  </a:lnTo>
                  <a:lnTo>
                    <a:pt x="420" y="306"/>
                  </a:lnTo>
                  <a:lnTo>
                    <a:pt x="408" y="282"/>
                  </a:lnTo>
                  <a:lnTo>
                    <a:pt x="402" y="276"/>
                  </a:lnTo>
                  <a:lnTo>
                    <a:pt x="402" y="264"/>
                  </a:lnTo>
                  <a:lnTo>
                    <a:pt x="390" y="252"/>
                  </a:lnTo>
                  <a:lnTo>
                    <a:pt x="384" y="252"/>
                  </a:lnTo>
                  <a:lnTo>
                    <a:pt x="378" y="246"/>
                  </a:lnTo>
                  <a:lnTo>
                    <a:pt x="378" y="240"/>
                  </a:lnTo>
                  <a:lnTo>
                    <a:pt x="384" y="234"/>
                  </a:lnTo>
                  <a:lnTo>
                    <a:pt x="384" y="210"/>
                  </a:lnTo>
                  <a:lnTo>
                    <a:pt x="366" y="192"/>
                  </a:lnTo>
                  <a:lnTo>
                    <a:pt x="366" y="150"/>
                  </a:lnTo>
                  <a:lnTo>
                    <a:pt x="354" y="138"/>
                  </a:lnTo>
                  <a:lnTo>
                    <a:pt x="348" y="126"/>
                  </a:lnTo>
                  <a:lnTo>
                    <a:pt x="342" y="120"/>
                  </a:lnTo>
                  <a:lnTo>
                    <a:pt x="324" y="120"/>
                  </a:lnTo>
                  <a:lnTo>
                    <a:pt x="318" y="126"/>
                  </a:lnTo>
                  <a:lnTo>
                    <a:pt x="294" y="126"/>
                  </a:lnTo>
                  <a:lnTo>
                    <a:pt x="276" y="132"/>
                  </a:lnTo>
                  <a:lnTo>
                    <a:pt x="246" y="132"/>
                  </a:lnTo>
                  <a:lnTo>
                    <a:pt x="234" y="126"/>
                  </a:lnTo>
                  <a:lnTo>
                    <a:pt x="222" y="126"/>
                  </a:lnTo>
                  <a:lnTo>
                    <a:pt x="210" y="132"/>
                  </a:lnTo>
                  <a:lnTo>
                    <a:pt x="180" y="132"/>
                  </a:lnTo>
                  <a:lnTo>
                    <a:pt x="168" y="126"/>
                  </a:lnTo>
                  <a:lnTo>
                    <a:pt x="144" y="132"/>
                  </a:lnTo>
                  <a:lnTo>
                    <a:pt x="132" y="126"/>
                  </a:lnTo>
                  <a:lnTo>
                    <a:pt x="126" y="132"/>
                  </a:lnTo>
                  <a:lnTo>
                    <a:pt x="102" y="126"/>
                  </a:lnTo>
                  <a:lnTo>
                    <a:pt x="54" y="150"/>
                  </a:lnTo>
                  <a:lnTo>
                    <a:pt x="48" y="156"/>
                  </a:lnTo>
                  <a:lnTo>
                    <a:pt x="54" y="168"/>
                  </a:lnTo>
                  <a:lnTo>
                    <a:pt x="60" y="174"/>
                  </a:lnTo>
                  <a:lnTo>
                    <a:pt x="66" y="186"/>
                  </a:lnTo>
                  <a:lnTo>
                    <a:pt x="90" y="210"/>
                  </a:lnTo>
                  <a:lnTo>
                    <a:pt x="84" y="234"/>
                  </a:lnTo>
                  <a:lnTo>
                    <a:pt x="90" y="246"/>
                  </a:lnTo>
                  <a:lnTo>
                    <a:pt x="108" y="270"/>
                  </a:lnTo>
                  <a:lnTo>
                    <a:pt x="120" y="300"/>
                  </a:lnTo>
                  <a:lnTo>
                    <a:pt x="126" y="330"/>
                  </a:lnTo>
                  <a:lnTo>
                    <a:pt x="120" y="354"/>
                  </a:lnTo>
                  <a:lnTo>
                    <a:pt x="108" y="378"/>
                  </a:lnTo>
                  <a:lnTo>
                    <a:pt x="102" y="384"/>
                  </a:lnTo>
                  <a:lnTo>
                    <a:pt x="102" y="408"/>
                  </a:lnTo>
                  <a:lnTo>
                    <a:pt x="114" y="408"/>
                  </a:lnTo>
                  <a:lnTo>
                    <a:pt x="114" y="438"/>
                  </a:lnTo>
                  <a:lnTo>
                    <a:pt x="126" y="474"/>
                  </a:lnTo>
                  <a:lnTo>
                    <a:pt x="150" y="510"/>
                  </a:lnTo>
                  <a:lnTo>
                    <a:pt x="162" y="552"/>
                  </a:lnTo>
                  <a:lnTo>
                    <a:pt x="162" y="582"/>
                  </a:lnTo>
                  <a:lnTo>
                    <a:pt x="156" y="594"/>
                  </a:lnTo>
                  <a:lnTo>
                    <a:pt x="150" y="612"/>
                  </a:lnTo>
                  <a:lnTo>
                    <a:pt x="144" y="618"/>
                  </a:lnTo>
                  <a:lnTo>
                    <a:pt x="138" y="630"/>
                  </a:lnTo>
                  <a:lnTo>
                    <a:pt x="144" y="642"/>
                  </a:lnTo>
                  <a:lnTo>
                    <a:pt x="144" y="660"/>
                  </a:lnTo>
                  <a:lnTo>
                    <a:pt x="138" y="666"/>
                  </a:lnTo>
                  <a:lnTo>
                    <a:pt x="126" y="672"/>
                  </a:lnTo>
                  <a:lnTo>
                    <a:pt x="108" y="672"/>
                  </a:lnTo>
                  <a:lnTo>
                    <a:pt x="96" y="690"/>
                  </a:lnTo>
                  <a:lnTo>
                    <a:pt x="102" y="714"/>
                  </a:lnTo>
                  <a:lnTo>
                    <a:pt x="78" y="714"/>
                  </a:lnTo>
                  <a:lnTo>
                    <a:pt x="66" y="720"/>
                  </a:lnTo>
                  <a:lnTo>
                    <a:pt x="66" y="750"/>
                  </a:lnTo>
                  <a:lnTo>
                    <a:pt x="60" y="762"/>
                  </a:lnTo>
                  <a:lnTo>
                    <a:pt x="60" y="774"/>
                  </a:lnTo>
                  <a:lnTo>
                    <a:pt x="48" y="786"/>
                  </a:lnTo>
                  <a:lnTo>
                    <a:pt x="48" y="858"/>
                  </a:lnTo>
                  <a:lnTo>
                    <a:pt x="36" y="864"/>
                  </a:lnTo>
                  <a:lnTo>
                    <a:pt x="30" y="870"/>
                  </a:lnTo>
                  <a:lnTo>
                    <a:pt x="30" y="912"/>
                  </a:lnTo>
                  <a:lnTo>
                    <a:pt x="6" y="930"/>
                  </a:lnTo>
                  <a:lnTo>
                    <a:pt x="6" y="966"/>
                  </a:lnTo>
                  <a:lnTo>
                    <a:pt x="18" y="984"/>
                  </a:lnTo>
                  <a:lnTo>
                    <a:pt x="0" y="1002"/>
                  </a:lnTo>
                  <a:lnTo>
                    <a:pt x="0" y="1044"/>
                  </a:lnTo>
                  <a:lnTo>
                    <a:pt x="18" y="1044"/>
                  </a:lnTo>
                  <a:lnTo>
                    <a:pt x="36" y="1038"/>
                  </a:lnTo>
                  <a:lnTo>
                    <a:pt x="42" y="1044"/>
                  </a:lnTo>
                  <a:lnTo>
                    <a:pt x="72" y="1044"/>
                  </a:lnTo>
                  <a:lnTo>
                    <a:pt x="90" y="1026"/>
                  </a:lnTo>
                  <a:lnTo>
                    <a:pt x="90" y="1020"/>
                  </a:lnTo>
                  <a:lnTo>
                    <a:pt x="120" y="1020"/>
                  </a:lnTo>
                  <a:lnTo>
                    <a:pt x="126" y="1026"/>
                  </a:lnTo>
                  <a:lnTo>
                    <a:pt x="132" y="1038"/>
                  </a:lnTo>
                  <a:lnTo>
                    <a:pt x="156" y="1050"/>
                  </a:lnTo>
                  <a:lnTo>
                    <a:pt x="168" y="1050"/>
                  </a:lnTo>
                  <a:lnTo>
                    <a:pt x="174" y="1056"/>
                  </a:lnTo>
                  <a:lnTo>
                    <a:pt x="480" y="1056"/>
                  </a:lnTo>
                  <a:lnTo>
                    <a:pt x="480" y="1062"/>
                  </a:lnTo>
                  <a:lnTo>
                    <a:pt x="504" y="1086"/>
                  </a:lnTo>
                  <a:lnTo>
                    <a:pt x="540" y="1086"/>
                  </a:lnTo>
                  <a:lnTo>
                    <a:pt x="546" y="1098"/>
                  </a:lnTo>
                  <a:lnTo>
                    <a:pt x="618" y="1092"/>
                  </a:lnTo>
                  <a:lnTo>
                    <a:pt x="624" y="1104"/>
                  </a:lnTo>
                  <a:lnTo>
                    <a:pt x="696" y="1104"/>
                  </a:lnTo>
                  <a:lnTo>
                    <a:pt x="732" y="1098"/>
                  </a:lnTo>
                  <a:lnTo>
                    <a:pt x="780" y="1092"/>
                  </a:lnTo>
                  <a:lnTo>
                    <a:pt x="816" y="1080"/>
                  </a:lnTo>
                  <a:lnTo>
                    <a:pt x="828" y="1074"/>
                  </a:lnTo>
                  <a:lnTo>
                    <a:pt x="738" y="984"/>
                  </a:lnTo>
                  <a:lnTo>
                    <a:pt x="738" y="966"/>
                  </a:lnTo>
                  <a:lnTo>
                    <a:pt x="732" y="954"/>
                  </a:lnTo>
                  <a:lnTo>
                    <a:pt x="732" y="702"/>
                  </a:lnTo>
                  <a:lnTo>
                    <a:pt x="858" y="708"/>
                  </a:lnTo>
                  <a:lnTo>
                    <a:pt x="864" y="708"/>
                  </a:lnTo>
                  <a:lnTo>
                    <a:pt x="876" y="696"/>
                  </a:lnTo>
                  <a:lnTo>
                    <a:pt x="876" y="672"/>
                  </a:lnTo>
                  <a:lnTo>
                    <a:pt x="870" y="666"/>
                  </a:lnTo>
                  <a:lnTo>
                    <a:pt x="870" y="660"/>
                  </a:lnTo>
                  <a:lnTo>
                    <a:pt x="888" y="654"/>
                  </a:lnTo>
                  <a:lnTo>
                    <a:pt x="876" y="642"/>
                  </a:lnTo>
                  <a:lnTo>
                    <a:pt x="876" y="588"/>
                  </a:lnTo>
                  <a:lnTo>
                    <a:pt x="882" y="588"/>
                  </a:lnTo>
                  <a:lnTo>
                    <a:pt x="888" y="582"/>
                  </a:lnTo>
                  <a:lnTo>
                    <a:pt x="888" y="564"/>
                  </a:lnTo>
                  <a:lnTo>
                    <a:pt x="876" y="552"/>
                  </a:lnTo>
                  <a:lnTo>
                    <a:pt x="876" y="546"/>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400" name="Andorra" descr="© INSCALE GmbH, 05.05.2010&#10;http://www.presentationload.com/">
              <a:extLst>
                <a:ext uri="{FF2B5EF4-FFF2-40B4-BE49-F238E27FC236}">
                  <a16:creationId xmlns:a16="http://schemas.microsoft.com/office/drawing/2014/main" id="{E87E9200-9ED5-410E-B878-FB1D813B184E}"/>
                </a:ext>
              </a:extLst>
            </p:cNvPr>
            <p:cNvSpPr>
              <a:spLocks/>
            </p:cNvSpPr>
            <p:nvPr/>
          </p:nvSpPr>
          <p:spPr bwMode="gray">
            <a:xfrm>
              <a:off x="4190512" y="2888449"/>
              <a:ext cx="12544" cy="6272"/>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401" name="Algerien" descr="© INSCALE GmbH, 05.05.2010&#10;http://www.presentationload.com/">
              <a:extLst>
                <a:ext uri="{FF2B5EF4-FFF2-40B4-BE49-F238E27FC236}">
                  <a16:creationId xmlns:a16="http://schemas.microsoft.com/office/drawing/2014/main" id="{44D7D396-64F7-4A1F-AFDC-32CF5B42EB94}"/>
                </a:ext>
              </a:extLst>
            </p:cNvPr>
            <p:cNvSpPr>
              <a:spLocks/>
            </p:cNvSpPr>
            <p:nvPr/>
          </p:nvSpPr>
          <p:spPr bwMode="gray">
            <a:xfrm>
              <a:off x="3878475" y="3062500"/>
              <a:ext cx="588008" cy="580169"/>
            </a:xfrm>
            <a:custGeom>
              <a:avLst/>
              <a:gdLst>
                <a:gd name="T0" fmla="*/ 2147483647 w 1476"/>
                <a:gd name="T1" fmla="*/ 2147483647 h 1464"/>
                <a:gd name="T2" fmla="*/ 2147483647 w 1476"/>
                <a:gd name="T3" fmla="*/ 2147483647 h 1464"/>
                <a:gd name="T4" fmla="*/ 2147483647 w 1476"/>
                <a:gd name="T5" fmla="*/ 2147483647 h 1464"/>
                <a:gd name="T6" fmla="*/ 2147483647 w 1476"/>
                <a:gd name="T7" fmla="*/ 2147483647 h 1464"/>
                <a:gd name="T8" fmla="*/ 2147483647 w 1476"/>
                <a:gd name="T9" fmla="*/ 2147483647 h 1464"/>
                <a:gd name="T10" fmla="*/ 2147483647 w 1476"/>
                <a:gd name="T11" fmla="*/ 2147483647 h 1464"/>
                <a:gd name="T12" fmla="*/ 2147483647 w 1476"/>
                <a:gd name="T13" fmla="*/ 2147483647 h 1464"/>
                <a:gd name="T14" fmla="*/ 2147483647 w 1476"/>
                <a:gd name="T15" fmla="*/ 2147483647 h 1464"/>
                <a:gd name="T16" fmla="*/ 2147483647 w 1476"/>
                <a:gd name="T17" fmla="*/ 2147483647 h 1464"/>
                <a:gd name="T18" fmla="*/ 2147483647 w 1476"/>
                <a:gd name="T19" fmla="*/ 2147483647 h 1464"/>
                <a:gd name="T20" fmla="*/ 2147483647 w 1476"/>
                <a:gd name="T21" fmla="*/ 2147483647 h 1464"/>
                <a:gd name="T22" fmla="*/ 2147483647 w 1476"/>
                <a:gd name="T23" fmla="*/ 2147483647 h 1464"/>
                <a:gd name="T24" fmla="*/ 2147483647 w 1476"/>
                <a:gd name="T25" fmla="*/ 2147483647 h 1464"/>
                <a:gd name="T26" fmla="*/ 2147483647 w 1476"/>
                <a:gd name="T27" fmla="*/ 2147483647 h 1464"/>
                <a:gd name="T28" fmla="*/ 2147483647 w 1476"/>
                <a:gd name="T29" fmla="*/ 2147483647 h 1464"/>
                <a:gd name="T30" fmla="*/ 2147483647 w 1476"/>
                <a:gd name="T31" fmla="*/ 2147483647 h 1464"/>
                <a:gd name="T32" fmla="*/ 2147483647 w 1476"/>
                <a:gd name="T33" fmla="*/ 2147483647 h 1464"/>
                <a:gd name="T34" fmla="*/ 2147483647 w 1476"/>
                <a:gd name="T35" fmla="*/ 2147483647 h 1464"/>
                <a:gd name="T36" fmla="*/ 2147483647 w 1476"/>
                <a:gd name="T37" fmla="*/ 2147483647 h 1464"/>
                <a:gd name="T38" fmla="*/ 2147483647 w 1476"/>
                <a:gd name="T39" fmla="*/ 2147483647 h 1464"/>
                <a:gd name="T40" fmla="*/ 2147483647 w 1476"/>
                <a:gd name="T41" fmla="*/ 2147483647 h 1464"/>
                <a:gd name="T42" fmla="*/ 2147483647 w 1476"/>
                <a:gd name="T43" fmla="*/ 2147483647 h 1464"/>
                <a:gd name="T44" fmla="*/ 2147483647 w 1476"/>
                <a:gd name="T45" fmla="*/ 2147483647 h 1464"/>
                <a:gd name="T46" fmla="*/ 2147483647 w 1476"/>
                <a:gd name="T47" fmla="*/ 2147483647 h 1464"/>
                <a:gd name="T48" fmla="*/ 2147483647 w 1476"/>
                <a:gd name="T49" fmla="*/ 2147483647 h 1464"/>
                <a:gd name="T50" fmla="*/ 2147483647 w 1476"/>
                <a:gd name="T51" fmla="*/ 2147483647 h 1464"/>
                <a:gd name="T52" fmla="*/ 2147483647 w 1476"/>
                <a:gd name="T53" fmla="*/ 2147483647 h 1464"/>
                <a:gd name="T54" fmla="*/ 2147483647 w 1476"/>
                <a:gd name="T55" fmla="*/ 2147483647 h 1464"/>
                <a:gd name="T56" fmla="*/ 2147483647 w 1476"/>
                <a:gd name="T57" fmla="*/ 2147483647 h 1464"/>
                <a:gd name="T58" fmla="*/ 2147483647 w 1476"/>
                <a:gd name="T59" fmla="*/ 2147483647 h 1464"/>
                <a:gd name="T60" fmla="*/ 2147483647 w 1476"/>
                <a:gd name="T61" fmla="*/ 2147483647 h 1464"/>
                <a:gd name="T62" fmla="*/ 2147483647 w 1476"/>
                <a:gd name="T63" fmla="*/ 2147483647 h 1464"/>
                <a:gd name="T64" fmla="*/ 2147483647 w 1476"/>
                <a:gd name="T65" fmla="*/ 2147483647 h 1464"/>
                <a:gd name="T66" fmla="*/ 2147483647 w 1476"/>
                <a:gd name="T67" fmla="*/ 2147483647 h 1464"/>
                <a:gd name="T68" fmla="*/ 2147483647 w 1476"/>
                <a:gd name="T69" fmla="*/ 2147483647 h 1464"/>
                <a:gd name="T70" fmla="*/ 2147483647 w 1476"/>
                <a:gd name="T71" fmla="*/ 2147483647 h 1464"/>
                <a:gd name="T72" fmla="*/ 2147483647 w 1476"/>
                <a:gd name="T73" fmla="*/ 2147483647 h 1464"/>
                <a:gd name="T74" fmla="*/ 2147483647 w 1476"/>
                <a:gd name="T75" fmla="*/ 2147483647 h 1464"/>
                <a:gd name="T76" fmla="*/ 2147483647 w 1476"/>
                <a:gd name="T77" fmla="*/ 2147483647 h 1464"/>
                <a:gd name="T78" fmla="*/ 2147483647 w 1476"/>
                <a:gd name="T79" fmla="*/ 2147483647 h 1464"/>
                <a:gd name="T80" fmla="*/ 2147483647 w 1476"/>
                <a:gd name="T81" fmla="*/ 2147483647 h 1464"/>
                <a:gd name="T82" fmla="*/ 2147483647 w 1476"/>
                <a:gd name="T83" fmla="*/ 2147483647 h 1464"/>
                <a:gd name="T84" fmla="*/ 2147483647 w 1476"/>
                <a:gd name="T85" fmla="*/ 2147483647 h 1464"/>
                <a:gd name="T86" fmla="*/ 2147483647 w 1476"/>
                <a:gd name="T87" fmla="*/ 2147483647 h 1464"/>
                <a:gd name="T88" fmla="*/ 2147483647 w 1476"/>
                <a:gd name="T89" fmla="*/ 2147483647 h 1464"/>
                <a:gd name="T90" fmla="*/ 2147483647 w 1476"/>
                <a:gd name="T91" fmla="*/ 2147483647 h 1464"/>
                <a:gd name="T92" fmla="*/ 2147483647 w 1476"/>
                <a:gd name="T93" fmla="*/ 2147483647 h 1464"/>
                <a:gd name="T94" fmla="*/ 2147483647 w 1476"/>
                <a:gd name="T95" fmla="*/ 2147483647 h 1464"/>
                <a:gd name="T96" fmla="*/ 2147483647 w 1476"/>
                <a:gd name="T97" fmla="*/ 2147483647 h 1464"/>
                <a:gd name="T98" fmla="*/ 2147483647 w 1476"/>
                <a:gd name="T99" fmla="*/ 2147483647 h 1464"/>
                <a:gd name="T100" fmla="*/ 2147483647 w 1476"/>
                <a:gd name="T101" fmla="*/ 2147483647 h 1464"/>
                <a:gd name="T102" fmla="*/ 2147483647 w 1476"/>
                <a:gd name="T103" fmla="*/ 2147483647 h 1464"/>
                <a:gd name="T104" fmla="*/ 2147483647 w 1476"/>
                <a:gd name="T105" fmla="*/ 2147483647 h 14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76"/>
                <a:gd name="T160" fmla="*/ 0 h 1464"/>
                <a:gd name="T161" fmla="*/ 1476 w 1476"/>
                <a:gd name="T162" fmla="*/ 1464 h 14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76" h="1464">
                  <a:moveTo>
                    <a:pt x="360" y="534"/>
                  </a:moveTo>
                  <a:lnTo>
                    <a:pt x="318" y="534"/>
                  </a:lnTo>
                  <a:lnTo>
                    <a:pt x="312" y="546"/>
                  </a:lnTo>
                  <a:lnTo>
                    <a:pt x="306" y="552"/>
                  </a:lnTo>
                  <a:lnTo>
                    <a:pt x="294" y="576"/>
                  </a:lnTo>
                  <a:lnTo>
                    <a:pt x="282" y="588"/>
                  </a:lnTo>
                  <a:lnTo>
                    <a:pt x="258" y="588"/>
                  </a:lnTo>
                  <a:lnTo>
                    <a:pt x="246" y="582"/>
                  </a:lnTo>
                  <a:lnTo>
                    <a:pt x="234" y="582"/>
                  </a:lnTo>
                  <a:lnTo>
                    <a:pt x="228" y="594"/>
                  </a:lnTo>
                  <a:lnTo>
                    <a:pt x="204" y="600"/>
                  </a:lnTo>
                  <a:lnTo>
                    <a:pt x="204" y="606"/>
                  </a:lnTo>
                  <a:lnTo>
                    <a:pt x="198" y="618"/>
                  </a:lnTo>
                  <a:lnTo>
                    <a:pt x="186" y="618"/>
                  </a:lnTo>
                  <a:lnTo>
                    <a:pt x="180" y="612"/>
                  </a:lnTo>
                  <a:lnTo>
                    <a:pt x="168" y="606"/>
                  </a:lnTo>
                  <a:lnTo>
                    <a:pt x="138" y="624"/>
                  </a:lnTo>
                  <a:lnTo>
                    <a:pt x="120" y="624"/>
                  </a:lnTo>
                  <a:lnTo>
                    <a:pt x="120" y="630"/>
                  </a:lnTo>
                  <a:lnTo>
                    <a:pt x="90" y="660"/>
                  </a:lnTo>
                  <a:lnTo>
                    <a:pt x="78" y="666"/>
                  </a:lnTo>
                  <a:lnTo>
                    <a:pt x="72" y="672"/>
                  </a:lnTo>
                  <a:lnTo>
                    <a:pt x="60" y="678"/>
                  </a:lnTo>
                  <a:lnTo>
                    <a:pt x="54" y="708"/>
                  </a:lnTo>
                  <a:lnTo>
                    <a:pt x="54" y="768"/>
                  </a:lnTo>
                  <a:lnTo>
                    <a:pt x="0" y="768"/>
                  </a:lnTo>
                  <a:lnTo>
                    <a:pt x="54" y="768"/>
                  </a:lnTo>
                  <a:lnTo>
                    <a:pt x="54" y="804"/>
                  </a:lnTo>
                  <a:lnTo>
                    <a:pt x="312" y="984"/>
                  </a:lnTo>
                  <a:lnTo>
                    <a:pt x="720" y="1296"/>
                  </a:lnTo>
                  <a:lnTo>
                    <a:pt x="720" y="1320"/>
                  </a:lnTo>
                  <a:lnTo>
                    <a:pt x="744" y="1320"/>
                  </a:lnTo>
                  <a:lnTo>
                    <a:pt x="750" y="1326"/>
                  </a:lnTo>
                  <a:lnTo>
                    <a:pt x="750" y="1344"/>
                  </a:lnTo>
                  <a:lnTo>
                    <a:pt x="762" y="1356"/>
                  </a:lnTo>
                  <a:lnTo>
                    <a:pt x="798" y="1356"/>
                  </a:lnTo>
                  <a:lnTo>
                    <a:pt x="804" y="1386"/>
                  </a:lnTo>
                  <a:lnTo>
                    <a:pt x="810" y="1386"/>
                  </a:lnTo>
                  <a:lnTo>
                    <a:pt x="816" y="1380"/>
                  </a:lnTo>
                  <a:lnTo>
                    <a:pt x="846" y="1380"/>
                  </a:lnTo>
                  <a:lnTo>
                    <a:pt x="858" y="1386"/>
                  </a:lnTo>
                  <a:lnTo>
                    <a:pt x="870" y="1410"/>
                  </a:lnTo>
                  <a:lnTo>
                    <a:pt x="870" y="1428"/>
                  </a:lnTo>
                  <a:lnTo>
                    <a:pt x="852" y="1446"/>
                  </a:lnTo>
                  <a:lnTo>
                    <a:pt x="852" y="1452"/>
                  </a:lnTo>
                  <a:lnTo>
                    <a:pt x="858" y="1458"/>
                  </a:lnTo>
                  <a:lnTo>
                    <a:pt x="870" y="1464"/>
                  </a:lnTo>
                  <a:lnTo>
                    <a:pt x="900" y="1464"/>
                  </a:lnTo>
                  <a:lnTo>
                    <a:pt x="906" y="1458"/>
                  </a:lnTo>
                  <a:lnTo>
                    <a:pt x="924" y="1458"/>
                  </a:lnTo>
                  <a:lnTo>
                    <a:pt x="954" y="1452"/>
                  </a:lnTo>
                  <a:lnTo>
                    <a:pt x="984" y="1440"/>
                  </a:lnTo>
                  <a:lnTo>
                    <a:pt x="1020" y="1434"/>
                  </a:lnTo>
                  <a:lnTo>
                    <a:pt x="1038" y="1434"/>
                  </a:lnTo>
                  <a:lnTo>
                    <a:pt x="1062" y="1416"/>
                  </a:lnTo>
                  <a:lnTo>
                    <a:pt x="1098" y="1386"/>
                  </a:lnTo>
                  <a:lnTo>
                    <a:pt x="1128" y="1350"/>
                  </a:lnTo>
                  <a:lnTo>
                    <a:pt x="1158" y="1326"/>
                  </a:lnTo>
                  <a:lnTo>
                    <a:pt x="1182" y="1314"/>
                  </a:lnTo>
                  <a:lnTo>
                    <a:pt x="1224" y="1284"/>
                  </a:lnTo>
                  <a:lnTo>
                    <a:pt x="1272" y="1248"/>
                  </a:lnTo>
                  <a:lnTo>
                    <a:pt x="1332" y="1206"/>
                  </a:lnTo>
                  <a:lnTo>
                    <a:pt x="1386" y="1170"/>
                  </a:lnTo>
                  <a:lnTo>
                    <a:pt x="1434" y="1134"/>
                  </a:lnTo>
                  <a:lnTo>
                    <a:pt x="1464" y="1110"/>
                  </a:lnTo>
                  <a:lnTo>
                    <a:pt x="1476" y="1104"/>
                  </a:lnTo>
                  <a:lnTo>
                    <a:pt x="1476" y="1098"/>
                  </a:lnTo>
                  <a:lnTo>
                    <a:pt x="1470" y="1092"/>
                  </a:lnTo>
                  <a:lnTo>
                    <a:pt x="1464" y="1080"/>
                  </a:lnTo>
                  <a:lnTo>
                    <a:pt x="1458" y="1062"/>
                  </a:lnTo>
                  <a:lnTo>
                    <a:pt x="1452" y="1050"/>
                  </a:lnTo>
                  <a:lnTo>
                    <a:pt x="1452" y="1044"/>
                  </a:lnTo>
                  <a:lnTo>
                    <a:pt x="1440" y="1032"/>
                  </a:lnTo>
                  <a:lnTo>
                    <a:pt x="1428" y="1032"/>
                  </a:lnTo>
                  <a:lnTo>
                    <a:pt x="1392" y="1014"/>
                  </a:lnTo>
                  <a:lnTo>
                    <a:pt x="1386" y="1014"/>
                  </a:lnTo>
                  <a:lnTo>
                    <a:pt x="1362" y="1026"/>
                  </a:lnTo>
                  <a:lnTo>
                    <a:pt x="1338" y="1002"/>
                  </a:lnTo>
                  <a:lnTo>
                    <a:pt x="1338" y="960"/>
                  </a:lnTo>
                  <a:lnTo>
                    <a:pt x="1332" y="954"/>
                  </a:lnTo>
                  <a:lnTo>
                    <a:pt x="1326" y="942"/>
                  </a:lnTo>
                  <a:lnTo>
                    <a:pt x="1314" y="930"/>
                  </a:lnTo>
                  <a:lnTo>
                    <a:pt x="1308" y="912"/>
                  </a:lnTo>
                  <a:lnTo>
                    <a:pt x="1296" y="900"/>
                  </a:lnTo>
                  <a:lnTo>
                    <a:pt x="1290" y="888"/>
                  </a:lnTo>
                  <a:lnTo>
                    <a:pt x="1290" y="882"/>
                  </a:lnTo>
                  <a:lnTo>
                    <a:pt x="1296" y="876"/>
                  </a:lnTo>
                  <a:lnTo>
                    <a:pt x="1308" y="876"/>
                  </a:lnTo>
                  <a:lnTo>
                    <a:pt x="1320" y="870"/>
                  </a:lnTo>
                  <a:lnTo>
                    <a:pt x="1326" y="864"/>
                  </a:lnTo>
                  <a:lnTo>
                    <a:pt x="1332" y="852"/>
                  </a:lnTo>
                  <a:lnTo>
                    <a:pt x="1332" y="840"/>
                  </a:lnTo>
                  <a:lnTo>
                    <a:pt x="1326" y="834"/>
                  </a:lnTo>
                  <a:lnTo>
                    <a:pt x="1326" y="828"/>
                  </a:lnTo>
                  <a:lnTo>
                    <a:pt x="1320" y="774"/>
                  </a:lnTo>
                  <a:lnTo>
                    <a:pt x="1332" y="750"/>
                  </a:lnTo>
                  <a:lnTo>
                    <a:pt x="1326" y="732"/>
                  </a:lnTo>
                  <a:lnTo>
                    <a:pt x="1326" y="726"/>
                  </a:lnTo>
                  <a:lnTo>
                    <a:pt x="1332" y="720"/>
                  </a:lnTo>
                  <a:lnTo>
                    <a:pt x="1332" y="690"/>
                  </a:lnTo>
                  <a:lnTo>
                    <a:pt x="1338" y="678"/>
                  </a:lnTo>
                  <a:lnTo>
                    <a:pt x="1338" y="672"/>
                  </a:lnTo>
                  <a:lnTo>
                    <a:pt x="1326" y="648"/>
                  </a:lnTo>
                  <a:lnTo>
                    <a:pt x="1302" y="588"/>
                  </a:lnTo>
                  <a:lnTo>
                    <a:pt x="1290" y="570"/>
                  </a:lnTo>
                  <a:lnTo>
                    <a:pt x="1296" y="564"/>
                  </a:lnTo>
                  <a:lnTo>
                    <a:pt x="1308" y="558"/>
                  </a:lnTo>
                  <a:lnTo>
                    <a:pt x="1296" y="528"/>
                  </a:lnTo>
                  <a:lnTo>
                    <a:pt x="1284" y="480"/>
                  </a:lnTo>
                  <a:lnTo>
                    <a:pt x="1278" y="438"/>
                  </a:lnTo>
                  <a:lnTo>
                    <a:pt x="1272" y="414"/>
                  </a:lnTo>
                  <a:lnTo>
                    <a:pt x="1266" y="408"/>
                  </a:lnTo>
                  <a:lnTo>
                    <a:pt x="1260" y="396"/>
                  </a:lnTo>
                  <a:lnTo>
                    <a:pt x="1236" y="384"/>
                  </a:lnTo>
                  <a:lnTo>
                    <a:pt x="1230" y="378"/>
                  </a:lnTo>
                  <a:lnTo>
                    <a:pt x="1224" y="378"/>
                  </a:lnTo>
                  <a:lnTo>
                    <a:pt x="1224" y="336"/>
                  </a:lnTo>
                  <a:lnTo>
                    <a:pt x="1212" y="324"/>
                  </a:lnTo>
                  <a:lnTo>
                    <a:pt x="1194" y="318"/>
                  </a:lnTo>
                  <a:lnTo>
                    <a:pt x="1182" y="318"/>
                  </a:lnTo>
                  <a:lnTo>
                    <a:pt x="1182" y="288"/>
                  </a:lnTo>
                  <a:lnTo>
                    <a:pt x="1170" y="288"/>
                  </a:lnTo>
                  <a:lnTo>
                    <a:pt x="1170" y="246"/>
                  </a:lnTo>
                  <a:lnTo>
                    <a:pt x="1194" y="222"/>
                  </a:lnTo>
                  <a:lnTo>
                    <a:pt x="1218" y="204"/>
                  </a:lnTo>
                  <a:lnTo>
                    <a:pt x="1218" y="198"/>
                  </a:lnTo>
                  <a:lnTo>
                    <a:pt x="1224" y="192"/>
                  </a:lnTo>
                  <a:lnTo>
                    <a:pt x="1224" y="180"/>
                  </a:lnTo>
                  <a:lnTo>
                    <a:pt x="1230" y="168"/>
                  </a:lnTo>
                  <a:lnTo>
                    <a:pt x="1230" y="126"/>
                  </a:lnTo>
                  <a:lnTo>
                    <a:pt x="1224" y="114"/>
                  </a:lnTo>
                  <a:lnTo>
                    <a:pt x="1224" y="78"/>
                  </a:lnTo>
                  <a:lnTo>
                    <a:pt x="1230" y="66"/>
                  </a:lnTo>
                  <a:lnTo>
                    <a:pt x="1230" y="54"/>
                  </a:lnTo>
                  <a:lnTo>
                    <a:pt x="1212" y="48"/>
                  </a:lnTo>
                  <a:lnTo>
                    <a:pt x="1254" y="30"/>
                  </a:lnTo>
                  <a:lnTo>
                    <a:pt x="1254" y="18"/>
                  </a:lnTo>
                  <a:lnTo>
                    <a:pt x="1242" y="18"/>
                  </a:lnTo>
                  <a:lnTo>
                    <a:pt x="1236" y="12"/>
                  </a:lnTo>
                  <a:lnTo>
                    <a:pt x="1224" y="12"/>
                  </a:lnTo>
                  <a:lnTo>
                    <a:pt x="1206" y="24"/>
                  </a:lnTo>
                  <a:lnTo>
                    <a:pt x="1170" y="6"/>
                  </a:lnTo>
                  <a:lnTo>
                    <a:pt x="1152" y="6"/>
                  </a:lnTo>
                  <a:lnTo>
                    <a:pt x="1152" y="18"/>
                  </a:lnTo>
                  <a:lnTo>
                    <a:pt x="1116" y="18"/>
                  </a:lnTo>
                  <a:lnTo>
                    <a:pt x="1092" y="0"/>
                  </a:lnTo>
                  <a:lnTo>
                    <a:pt x="1086" y="30"/>
                  </a:lnTo>
                  <a:lnTo>
                    <a:pt x="1056" y="18"/>
                  </a:lnTo>
                  <a:lnTo>
                    <a:pt x="1026" y="42"/>
                  </a:lnTo>
                  <a:lnTo>
                    <a:pt x="1002" y="30"/>
                  </a:lnTo>
                  <a:lnTo>
                    <a:pt x="984" y="30"/>
                  </a:lnTo>
                  <a:lnTo>
                    <a:pt x="966" y="24"/>
                  </a:lnTo>
                  <a:lnTo>
                    <a:pt x="948" y="24"/>
                  </a:lnTo>
                  <a:lnTo>
                    <a:pt x="924" y="30"/>
                  </a:lnTo>
                  <a:lnTo>
                    <a:pt x="906" y="30"/>
                  </a:lnTo>
                  <a:lnTo>
                    <a:pt x="900" y="36"/>
                  </a:lnTo>
                  <a:lnTo>
                    <a:pt x="888" y="36"/>
                  </a:lnTo>
                  <a:lnTo>
                    <a:pt x="876" y="42"/>
                  </a:lnTo>
                  <a:lnTo>
                    <a:pt x="816" y="42"/>
                  </a:lnTo>
                  <a:lnTo>
                    <a:pt x="810" y="48"/>
                  </a:lnTo>
                  <a:lnTo>
                    <a:pt x="750" y="48"/>
                  </a:lnTo>
                  <a:lnTo>
                    <a:pt x="744" y="54"/>
                  </a:lnTo>
                  <a:lnTo>
                    <a:pt x="726" y="54"/>
                  </a:lnTo>
                  <a:lnTo>
                    <a:pt x="714" y="60"/>
                  </a:lnTo>
                  <a:lnTo>
                    <a:pt x="696" y="66"/>
                  </a:lnTo>
                  <a:lnTo>
                    <a:pt x="684" y="78"/>
                  </a:lnTo>
                  <a:lnTo>
                    <a:pt x="678" y="90"/>
                  </a:lnTo>
                  <a:lnTo>
                    <a:pt x="666" y="102"/>
                  </a:lnTo>
                  <a:lnTo>
                    <a:pt x="666" y="108"/>
                  </a:lnTo>
                  <a:lnTo>
                    <a:pt x="636" y="108"/>
                  </a:lnTo>
                  <a:lnTo>
                    <a:pt x="624" y="114"/>
                  </a:lnTo>
                  <a:lnTo>
                    <a:pt x="606" y="114"/>
                  </a:lnTo>
                  <a:lnTo>
                    <a:pt x="594" y="120"/>
                  </a:lnTo>
                  <a:lnTo>
                    <a:pt x="588" y="126"/>
                  </a:lnTo>
                  <a:lnTo>
                    <a:pt x="588" y="132"/>
                  </a:lnTo>
                  <a:lnTo>
                    <a:pt x="558" y="162"/>
                  </a:lnTo>
                  <a:lnTo>
                    <a:pt x="546" y="168"/>
                  </a:lnTo>
                  <a:lnTo>
                    <a:pt x="522" y="168"/>
                  </a:lnTo>
                  <a:lnTo>
                    <a:pt x="528" y="174"/>
                  </a:lnTo>
                  <a:lnTo>
                    <a:pt x="534" y="186"/>
                  </a:lnTo>
                  <a:lnTo>
                    <a:pt x="546" y="192"/>
                  </a:lnTo>
                  <a:lnTo>
                    <a:pt x="540" y="198"/>
                  </a:lnTo>
                  <a:lnTo>
                    <a:pt x="540" y="210"/>
                  </a:lnTo>
                  <a:lnTo>
                    <a:pt x="552" y="210"/>
                  </a:lnTo>
                  <a:lnTo>
                    <a:pt x="546" y="276"/>
                  </a:lnTo>
                  <a:lnTo>
                    <a:pt x="558" y="294"/>
                  </a:lnTo>
                  <a:lnTo>
                    <a:pt x="546" y="324"/>
                  </a:lnTo>
                  <a:lnTo>
                    <a:pt x="564" y="324"/>
                  </a:lnTo>
                  <a:lnTo>
                    <a:pt x="564" y="354"/>
                  </a:lnTo>
                  <a:lnTo>
                    <a:pt x="588" y="372"/>
                  </a:lnTo>
                  <a:lnTo>
                    <a:pt x="570" y="390"/>
                  </a:lnTo>
                  <a:lnTo>
                    <a:pt x="570" y="402"/>
                  </a:lnTo>
                  <a:lnTo>
                    <a:pt x="516" y="408"/>
                  </a:lnTo>
                  <a:lnTo>
                    <a:pt x="504" y="402"/>
                  </a:lnTo>
                  <a:lnTo>
                    <a:pt x="486" y="402"/>
                  </a:lnTo>
                  <a:lnTo>
                    <a:pt x="486" y="408"/>
                  </a:lnTo>
                  <a:lnTo>
                    <a:pt x="480" y="414"/>
                  </a:lnTo>
                  <a:lnTo>
                    <a:pt x="474" y="408"/>
                  </a:lnTo>
                  <a:lnTo>
                    <a:pt x="462" y="408"/>
                  </a:lnTo>
                  <a:lnTo>
                    <a:pt x="462" y="414"/>
                  </a:lnTo>
                  <a:lnTo>
                    <a:pt x="456" y="420"/>
                  </a:lnTo>
                  <a:lnTo>
                    <a:pt x="456" y="432"/>
                  </a:lnTo>
                  <a:lnTo>
                    <a:pt x="432" y="432"/>
                  </a:lnTo>
                  <a:lnTo>
                    <a:pt x="420" y="438"/>
                  </a:lnTo>
                  <a:lnTo>
                    <a:pt x="396" y="438"/>
                  </a:lnTo>
                  <a:lnTo>
                    <a:pt x="390" y="444"/>
                  </a:lnTo>
                  <a:lnTo>
                    <a:pt x="390" y="456"/>
                  </a:lnTo>
                  <a:lnTo>
                    <a:pt x="396" y="462"/>
                  </a:lnTo>
                  <a:lnTo>
                    <a:pt x="402" y="474"/>
                  </a:lnTo>
                  <a:lnTo>
                    <a:pt x="414" y="492"/>
                  </a:lnTo>
                  <a:lnTo>
                    <a:pt x="390" y="504"/>
                  </a:lnTo>
                  <a:lnTo>
                    <a:pt x="390" y="510"/>
                  </a:lnTo>
                  <a:lnTo>
                    <a:pt x="378" y="522"/>
                  </a:lnTo>
                  <a:lnTo>
                    <a:pt x="366" y="528"/>
                  </a:lnTo>
                  <a:lnTo>
                    <a:pt x="360" y="534"/>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402" name="Albanien" descr="© INSCALE GmbH, 05.05.2010&#10;http://www.presentationload.com/">
              <a:extLst>
                <a:ext uri="{FF2B5EF4-FFF2-40B4-BE49-F238E27FC236}">
                  <a16:creationId xmlns:a16="http://schemas.microsoft.com/office/drawing/2014/main" id="{F8A0C542-1B2D-43EA-800F-0633268C92F4}"/>
                </a:ext>
              </a:extLst>
            </p:cNvPr>
            <p:cNvSpPr>
              <a:spLocks/>
            </p:cNvSpPr>
            <p:nvPr/>
          </p:nvSpPr>
          <p:spPr bwMode="gray">
            <a:xfrm>
              <a:off x="4642102" y="2888449"/>
              <a:ext cx="58016" cy="97217"/>
            </a:xfrm>
            <a:custGeom>
              <a:avLst/>
              <a:gdLst>
                <a:gd name="T0" fmla="*/ 2147483647 w 144"/>
                <a:gd name="T1" fmla="*/ 2147483647 h 246"/>
                <a:gd name="T2" fmla="*/ 2147483647 w 144"/>
                <a:gd name="T3" fmla="*/ 2147483647 h 246"/>
                <a:gd name="T4" fmla="*/ 2147483647 w 144"/>
                <a:gd name="T5" fmla="*/ 2147483647 h 246"/>
                <a:gd name="T6" fmla="*/ 2147483647 w 144"/>
                <a:gd name="T7" fmla="*/ 2147483647 h 246"/>
                <a:gd name="T8" fmla="*/ 2147483647 w 144"/>
                <a:gd name="T9" fmla="*/ 2147483647 h 246"/>
                <a:gd name="T10" fmla="*/ 2147483647 w 144"/>
                <a:gd name="T11" fmla="*/ 2147483647 h 246"/>
                <a:gd name="T12" fmla="*/ 2147483647 w 144"/>
                <a:gd name="T13" fmla="*/ 2147483647 h 246"/>
                <a:gd name="T14" fmla="*/ 2147483647 w 144"/>
                <a:gd name="T15" fmla="*/ 2147483647 h 246"/>
                <a:gd name="T16" fmla="*/ 2147483647 w 144"/>
                <a:gd name="T17" fmla="*/ 2147483647 h 246"/>
                <a:gd name="T18" fmla="*/ 2147483647 w 144"/>
                <a:gd name="T19" fmla="*/ 2147483647 h 246"/>
                <a:gd name="T20" fmla="*/ 2147483647 w 144"/>
                <a:gd name="T21" fmla="*/ 2147483647 h 246"/>
                <a:gd name="T22" fmla="*/ 2147483647 w 144"/>
                <a:gd name="T23" fmla="*/ 2147483647 h 246"/>
                <a:gd name="T24" fmla="*/ 2147483647 w 144"/>
                <a:gd name="T25" fmla="*/ 2147483647 h 246"/>
                <a:gd name="T26" fmla="*/ 2147483647 w 144"/>
                <a:gd name="T27" fmla="*/ 2147483647 h 246"/>
                <a:gd name="T28" fmla="*/ 2147483647 w 144"/>
                <a:gd name="T29" fmla="*/ 2147483647 h 246"/>
                <a:gd name="T30" fmla="*/ 2147483647 w 144"/>
                <a:gd name="T31" fmla="*/ 2147483647 h 246"/>
                <a:gd name="T32" fmla="*/ 2147483647 w 144"/>
                <a:gd name="T33" fmla="*/ 2147483647 h 246"/>
                <a:gd name="T34" fmla="*/ 2147483647 w 144"/>
                <a:gd name="T35" fmla="*/ 2147483647 h 246"/>
                <a:gd name="T36" fmla="*/ 2147483647 w 144"/>
                <a:gd name="T37" fmla="*/ 2147483647 h 246"/>
                <a:gd name="T38" fmla="*/ 2147483647 w 144"/>
                <a:gd name="T39" fmla="*/ 0 h 246"/>
                <a:gd name="T40" fmla="*/ 2147483647 w 144"/>
                <a:gd name="T41" fmla="*/ 2147483647 h 246"/>
                <a:gd name="T42" fmla="*/ 2147483647 w 144"/>
                <a:gd name="T43" fmla="*/ 2147483647 h 246"/>
                <a:gd name="T44" fmla="*/ 0 w 144"/>
                <a:gd name="T45" fmla="*/ 2147483647 h 246"/>
                <a:gd name="T46" fmla="*/ 2147483647 w 144"/>
                <a:gd name="T47" fmla="*/ 2147483647 h 246"/>
                <a:gd name="T48" fmla="*/ 2147483647 w 144"/>
                <a:gd name="T49" fmla="*/ 2147483647 h 246"/>
                <a:gd name="T50" fmla="*/ 2147483647 w 144"/>
                <a:gd name="T51" fmla="*/ 2147483647 h 246"/>
                <a:gd name="T52" fmla="*/ 2147483647 w 144"/>
                <a:gd name="T53" fmla="*/ 2147483647 h 246"/>
                <a:gd name="T54" fmla="*/ 2147483647 w 144"/>
                <a:gd name="T55" fmla="*/ 2147483647 h 246"/>
                <a:gd name="T56" fmla="*/ 2147483647 w 144"/>
                <a:gd name="T57" fmla="*/ 2147483647 h 246"/>
                <a:gd name="T58" fmla="*/ 2147483647 w 144"/>
                <a:gd name="T59" fmla="*/ 2147483647 h 246"/>
                <a:gd name="T60" fmla="*/ 2147483647 w 144"/>
                <a:gd name="T61" fmla="*/ 2147483647 h 246"/>
                <a:gd name="T62" fmla="*/ 2147483647 w 144"/>
                <a:gd name="T63" fmla="*/ 2147483647 h 246"/>
                <a:gd name="T64" fmla="*/ 2147483647 w 144"/>
                <a:gd name="T65" fmla="*/ 2147483647 h 246"/>
                <a:gd name="T66" fmla="*/ 2147483647 w 144"/>
                <a:gd name="T67" fmla="*/ 2147483647 h 246"/>
                <a:gd name="T68" fmla="*/ 2147483647 w 144"/>
                <a:gd name="T69" fmla="*/ 2147483647 h 246"/>
                <a:gd name="T70" fmla="*/ 2147483647 w 144"/>
                <a:gd name="T71" fmla="*/ 2147483647 h 246"/>
                <a:gd name="T72" fmla="*/ 2147483647 w 144"/>
                <a:gd name="T73" fmla="*/ 2147483647 h 246"/>
                <a:gd name="T74" fmla="*/ 2147483647 w 144"/>
                <a:gd name="T75" fmla="*/ 2147483647 h 246"/>
                <a:gd name="T76" fmla="*/ 2147483647 w 144"/>
                <a:gd name="T77" fmla="*/ 2147483647 h 246"/>
                <a:gd name="T78" fmla="*/ 2147483647 w 144"/>
                <a:gd name="T79" fmla="*/ 2147483647 h 246"/>
                <a:gd name="T80" fmla="*/ 2147483647 w 144"/>
                <a:gd name="T81" fmla="*/ 2147483647 h 246"/>
                <a:gd name="T82" fmla="*/ 2147483647 w 144"/>
                <a:gd name="T83" fmla="*/ 2147483647 h 246"/>
                <a:gd name="T84" fmla="*/ 2147483647 w 144"/>
                <a:gd name="T85" fmla="*/ 2147483647 h 246"/>
                <a:gd name="T86" fmla="*/ 2147483647 w 144"/>
                <a:gd name="T87" fmla="*/ 2147483647 h 246"/>
                <a:gd name="T88" fmla="*/ 2147483647 w 144"/>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4"/>
                <a:gd name="T136" fmla="*/ 0 h 246"/>
                <a:gd name="T137" fmla="*/ 144 w 144"/>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4" h="246">
                  <a:moveTo>
                    <a:pt x="96" y="210"/>
                  </a:moveTo>
                  <a:lnTo>
                    <a:pt x="96" y="204"/>
                  </a:lnTo>
                  <a:lnTo>
                    <a:pt x="108" y="204"/>
                  </a:lnTo>
                  <a:lnTo>
                    <a:pt x="120" y="198"/>
                  </a:lnTo>
                  <a:lnTo>
                    <a:pt x="120" y="174"/>
                  </a:lnTo>
                  <a:lnTo>
                    <a:pt x="138" y="174"/>
                  </a:lnTo>
                  <a:lnTo>
                    <a:pt x="144" y="168"/>
                  </a:lnTo>
                  <a:lnTo>
                    <a:pt x="144" y="138"/>
                  </a:lnTo>
                  <a:lnTo>
                    <a:pt x="120" y="144"/>
                  </a:lnTo>
                  <a:lnTo>
                    <a:pt x="120" y="126"/>
                  </a:lnTo>
                  <a:lnTo>
                    <a:pt x="114" y="126"/>
                  </a:lnTo>
                  <a:lnTo>
                    <a:pt x="108" y="120"/>
                  </a:lnTo>
                  <a:lnTo>
                    <a:pt x="108" y="96"/>
                  </a:lnTo>
                  <a:lnTo>
                    <a:pt x="102" y="84"/>
                  </a:lnTo>
                  <a:lnTo>
                    <a:pt x="102" y="42"/>
                  </a:lnTo>
                  <a:lnTo>
                    <a:pt x="96" y="24"/>
                  </a:lnTo>
                  <a:lnTo>
                    <a:pt x="84" y="24"/>
                  </a:lnTo>
                  <a:lnTo>
                    <a:pt x="72" y="6"/>
                  </a:lnTo>
                  <a:lnTo>
                    <a:pt x="66" y="12"/>
                  </a:lnTo>
                  <a:lnTo>
                    <a:pt x="36" y="0"/>
                  </a:lnTo>
                  <a:lnTo>
                    <a:pt x="36" y="18"/>
                  </a:lnTo>
                  <a:lnTo>
                    <a:pt x="24" y="24"/>
                  </a:lnTo>
                  <a:lnTo>
                    <a:pt x="0" y="24"/>
                  </a:lnTo>
                  <a:lnTo>
                    <a:pt x="18" y="36"/>
                  </a:lnTo>
                  <a:lnTo>
                    <a:pt x="24" y="30"/>
                  </a:lnTo>
                  <a:lnTo>
                    <a:pt x="30" y="48"/>
                  </a:lnTo>
                  <a:lnTo>
                    <a:pt x="18" y="60"/>
                  </a:lnTo>
                  <a:lnTo>
                    <a:pt x="24" y="66"/>
                  </a:lnTo>
                  <a:lnTo>
                    <a:pt x="48" y="66"/>
                  </a:lnTo>
                  <a:lnTo>
                    <a:pt x="48" y="84"/>
                  </a:lnTo>
                  <a:lnTo>
                    <a:pt x="42" y="96"/>
                  </a:lnTo>
                  <a:lnTo>
                    <a:pt x="42" y="114"/>
                  </a:lnTo>
                  <a:lnTo>
                    <a:pt x="36" y="132"/>
                  </a:lnTo>
                  <a:lnTo>
                    <a:pt x="36" y="156"/>
                  </a:lnTo>
                  <a:lnTo>
                    <a:pt x="24" y="180"/>
                  </a:lnTo>
                  <a:lnTo>
                    <a:pt x="24" y="186"/>
                  </a:lnTo>
                  <a:lnTo>
                    <a:pt x="42" y="204"/>
                  </a:lnTo>
                  <a:lnTo>
                    <a:pt x="54" y="210"/>
                  </a:lnTo>
                  <a:lnTo>
                    <a:pt x="60" y="216"/>
                  </a:lnTo>
                  <a:lnTo>
                    <a:pt x="60" y="234"/>
                  </a:lnTo>
                  <a:lnTo>
                    <a:pt x="66" y="240"/>
                  </a:lnTo>
                  <a:lnTo>
                    <a:pt x="84" y="240"/>
                  </a:lnTo>
                  <a:lnTo>
                    <a:pt x="90" y="246"/>
                  </a:lnTo>
                  <a:lnTo>
                    <a:pt x="96" y="246"/>
                  </a:lnTo>
                  <a:lnTo>
                    <a:pt x="96" y="210"/>
                  </a:lnTo>
                  <a:close/>
                </a:path>
              </a:pathLst>
            </a:custGeom>
            <a:solidFill>
              <a:schemeClr val="accent1"/>
            </a:solid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403" name="Afghanistan" descr="© INSCALE GmbH, 05.05.2010&#10;http://www.presentationload.com/">
              <a:extLst>
                <a:ext uri="{FF2B5EF4-FFF2-40B4-BE49-F238E27FC236}">
                  <a16:creationId xmlns:a16="http://schemas.microsoft.com/office/drawing/2014/main" id="{95EEC5BA-99E5-423D-B823-BB3787DB1861}"/>
                </a:ext>
              </a:extLst>
            </p:cNvPr>
            <p:cNvSpPr>
              <a:spLocks/>
            </p:cNvSpPr>
            <p:nvPr/>
          </p:nvSpPr>
          <p:spPr bwMode="gray">
            <a:xfrm>
              <a:off x="5761670" y="3018595"/>
              <a:ext cx="360645" cy="293221"/>
            </a:xfrm>
            <a:custGeom>
              <a:avLst/>
              <a:gdLst>
                <a:gd name="T0" fmla="*/ 2147483647 w 906"/>
                <a:gd name="T1" fmla="*/ 2147483647 h 738"/>
                <a:gd name="T2" fmla="*/ 2147483647 w 906"/>
                <a:gd name="T3" fmla="*/ 2147483647 h 738"/>
                <a:gd name="T4" fmla="*/ 2147483647 w 906"/>
                <a:gd name="T5" fmla="*/ 2147483647 h 738"/>
                <a:gd name="T6" fmla="*/ 2147483647 w 906"/>
                <a:gd name="T7" fmla="*/ 2147483647 h 738"/>
                <a:gd name="T8" fmla="*/ 2147483647 w 906"/>
                <a:gd name="T9" fmla="*/ 2147483647 h 738"/>
                <a:gd name="T10" fmla="*/ 2147483647 w 906"/>
                <a:gd name="T11" fmla="*/ 0 h 738"/>
                <a:gd name="T12" fmla="*/ 2147483647 w 906"/>
                <a:gd name="T13" fmla="*/ 2147483647 h 738"/>
                <a:gd name="T14" fmla="*/ 2147483647 w 906"/>
                <a:gd name="T15" fmla="*/ 2147483647 h 738"/>
                <a:gd name="T16" fmla="*/ 2147483647 w 906"/>
                <a:gd name="T17" fmla="*/ 2147483647 h 738"/>
                <a:gd name="T18" fmla="*/ 2147483647 w 906"/>
                <a:gd name="T19" fmla="*/ 2147483647 h 738"/>
                <a:gd name="T20" fmla="*/ 2147483647 w 906"/>
                <a:gd name="T21" fmla="*/ 2147483647 h 738"/>
                <a:gd name="T22" fmla="*/ 2147483647 w 906"/>
                <a:gd name="T23" fmla="*/ 2147483647 h 738"/>
                <a:gd name="T24" fmla="*/ 2147483647 w 906"/>
                <a:gd name="T25" fmla="*/ 2147483647 h 738"/>
                <a:gd name="T26" fmla="*/ 2147483647 w 906"/>
                <a:gd name="T27" fmla="*/ 2147483647 h 738"/>
                <a:gd name="T28" fmla="*/ 2147483647 w 906"/>
                <a:gd name="T29" fmla="*/ 2147483647 h 738"/>
                <a:gd name="T30" fmla="*/ 2147483647 w 906"/>
                <a:gd name="T31" fmla="*/ 2147483647 h 738"/>
                <a:gd name="T32" fmla="*/ 2147483647 w 906"/>
                <a:gd name="T33" fmla="*/ 2147483647 h 738"/>
                <a:gd name="T34" fmla="*/ 2147483647 w 906"/>
                <a:gd name="T35" fmla="*/ 2147483647 h 738"/>
                <a:gd name="T36" fmla="*/ 2147483647 w 906"/>
                <a:gd name="T37" fmla="*/ 2147483647 h 738"/>
                <a:gd name="T38" fmla="*/ 2147483647 w 906"/>
                <a:gd name="T39" fmla="*/ 2147483647 h 738"/>
                <a:gd name="T40" fmla="*/ 2147483647 w 906"/>
                <a:gd name="T41" fmla="*/ 2147483647 h 738"/>
                <a:gd name="T42" fmla="*/ 2147483647 w 906"/>
                <a:gd name="T43" fmla="*/ 2147483647 h 738"/>
                <a:gd name="T44" fmla="*/ 2147483647 w 906"/>
                <a:gd name="T45" fmla="*/ 2147483647 h 738"/>
                <a:gd name="T46" fmla="*/ 0 w 906"/>
                <a:gd name="T47" fmla="*/ 2147483647 h 738"/>
                <a:gd name="T48" fmla="*/ 2147483647 w 906"/>
                <a:gd name="T49" fmla="*/ 2147483647 h 738"/>
                <a:gd name="T50" fmla="*/ 2147483647 w 906"/>
                <a:gd name="T51" fmla="*/ 2147483647 h 738"/>
                <a:gd name="T52" fmla="*/ 2147483647 w 906"/>
                <a:gd name="T53" fmla="*/ 2147483647 h 738"/>
                <a:gd name="T54" fmla="*/ 2147483647 w 906"/>
                <a:gd name="T55" fmla="*/ 2147483647 h 738"/>
                <a:gd name="T56" fmla="*/ 2147483647 w 906"/>
                <a:gd name="T57" fmla="*/ 2147483647 h 738"/>
                <a:gd name="T58" fmla="*/ 2147483647 w 906"/>
                <a:gd name="T59" fmla="*/ 2147483647 h 738"/>
                <a:gd name="T60" fmla="*/ 2147483647 w 906"/>
                <a:gd name="T61" fmla="*/ 2147483647 h 738"/>
                <a:gd name="T62" fmla="*/ 2147483647 w 906"/>
                <a:gd name="T63" fmla="*/ 2147483647 h 738"/>
                <a:gd name="T64" fmla="*/ 2147483647 w 906"/>
                <a:gd name="T65" fmla="*/ 2147483647 h 738"/>
                <a:gd name="T66" fmla="*/ 2147483647 w 906"/>
                <a:gd name="T67" fmla="*/ 2147483647 h 738"/>
                <a:gd name="T68" fmla="*/ 2147483647 w 906"/>
                <a:gd name="T69" fmla="*/ 2147483647 h 738"/>
                <a:gd name="T70" fmla="*/ 2147483647 w 906"/>
                <a:gd name="T71" fmla="*/ 2147483647 h 738"/>
                <a:gd name="T72" fmla="*/ 2147483647 w 906"/>
                <a:gd name="T73" fmla="*/ 2147483647 h 738"/>
                <a:gd name="T74" fmla="*/ 2147483647 w 906"/>
                <a:gd name="T75" fmla="*/ 2147483647 h 738"/>
                <a:gd name="T76" fmla="*/ 2147483647 w 906"/>
                <a:gd name="T77" fmla="*/ 2147483647 h 738"/>
                <a:gd name="T78" fmla="*/ 2147483647 w 906"/>
                <a:gd name="T79" fmla="*/ 2147483647 h 738"/>
                <a:gd name="T80" fmla="*/ 2147483647 w 906"/>
                <a:gd name="T81" fmla="*/ 2147483647 h 738"/>
                <a:gd name="T82" fmla="*/ 2147483647 w 906"/>
                <a:gd name="T83" fmla="*/ 2147483647 h 738"/>
                <a:gd name="T84" fmla="*/ 2147483647 w 906"/>
                <a:gd name="T85" fmla="*/ 2147483647 h 738"/>
                <a:gd name="T86" fmla="*/ 2147483647 w 906"/>
                <a:gd name="T87" fmla="*/ 2147483647 h 738"/>
                <a:gd name="T88" fmla="*/ 2147483647 w 906"/>
                <a:gd name="T89" fmla="*/ 2147483647 h 738"/>
                <a:gd name="T90" fmla="*/ 2147483647 w 906"/>
                <a:gd name="T91" fmla="*/ 2147483647 h 738"/>
                <a:gd name="T92" fmla="*/ 2147483647 w 906"/>
                <a:gd name="T93" fmla="*/ 2147483647 h 738"/>
                <a:gd name="T94" fmla="*/ 2147483647 w 906"/>
                <a:gd name="T95" fmla="*/ 2147483647 h 738"/>
                <a:gd name="T96" fmla="*/ 2147483647 w 906"/>
                <a:gd name="T97" fmla="*/ 2147483647 h 738"/>
                <a:gd name="T98" fmla="*/ 2147483647 w 906"/>
                <a:gd name="T99" fmla="*/ 2147483647 h 738"/>
                <a:gd name="T100" fmla="*/ 2147483647 w 906"/>
                <a:gd name="T101" fmla="*/ 2147483647 h 738"/>
                <a:gd name="T102" fmla="*/ 2147483647 w 906"/>
                <a:gd name="T103" fmla="*/ 2147483647 h 738"/>
                <a:gd name="T104" fmla="*/ 2147483647 w 906"/>
                <a:gd name="T105" fmla="*/ 2147483647 h 738"/>
                <a:gd name="T106" fmla="*/ 2147483647 w 906"/>
                <a:gd name="T107" fmla="*/ 2147483647 h 738"/>
                <a:gd name="T108" fmla="*/ 2147483647 w 906"/>
                <a:gd name="T109" fmla="*/ 2147483647 h 7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6"/>
                <a:gd name="T166" fmla="*/ 0 h 738"/>
                <a:gd name="T167" fmla="*/ 906 w 906"/>
                <a:gd name="T168" fmla="*/ 738 h 7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6" h="738">
                  <a:moveTo>
                    <a:pt x="894" y="108"/>
                  </a:moveTo>
                  <a:lnTo>
                    <a:pt x="894" y="96"/>
                  </a:lnTo>
                  <a:lnTo>
                    <a:pt x="906" y="96"/>
                  </a:lnTo>
                  <a:lnTo>
                    <a:pt x="900" y="90"/>
                  </a:lnTo>
                  <a:lnTo>
                    <a:pt x="876" y="90"/>
                  </a:lnTo>
                  <a:lnTo>
                    <a:pt x="840" y="102"/>
                  </a:lnTo>
                  <a:lnTo>
                    <a:pt x="840" y="84"/>
                  </a:lnTo>
                  <a:lnTo>
                    <a:pt x="816" y="84"/>
                  </a:lnTo>
                  <a:lnTo>
                    <a:pt x="792" y="96"/>
                  </a:lnTo>
                  <a:lnTo>
                    <a:pt x="786" y="102"/>
                  </a:lnTo>
                  <a:lnTo>
                    <a:pt x="780" y="114"/>
                  </a:lnTo>
                  <a:lnTo>
                    <a:pt x="774" y="120"/>
                  </a:lnTo>
                  <a:lnTo>
                    <a:pt x="756" y="120"/>
                  </a:lnTo>
                  <a:lnTo>
                    <a:pt x="750" y="126"/>
                  </a:lnTo>
                  <a:lnTo>
                    <a:pt x="744" y="138"/>
                  </a:lnTo>
                  <a:lnTo>
                    <a:pt x="732" y="144"/>
                  </a:lnTo>
                  <a:lnTo>
                    <a:pt x="726" y="150"/>
                  </a:lnTo>
                  <a:lnTo>
                    <a:pt x="720" y="150"/>
                  </a:lnTo>
                  <a:lnTo>
                    <a:pt x="690" y="120"/>
                  </a:lnTo>
                  <a:lnTo>
                    <a:pt x="690" y="114"/>
                  </a:lnTo>
                  <a:lnTo>
                    <a:pt x="678" y="48"/>
                  </a:lnTo>
                  <a:lnTo>
                    <a:pt x="660" y="48"/>
                  </a:lnTo>
                  <a:lnTo>
                    <a:pt x="660" y="18"/>
                  </a:lnTo>
                  <a:lnTo>
                    <a:pt x="642" y="0"/>
                  </a:lnTo>
                  <a:lnTo>
                    <a:pt x="624" y="0"/>
                  </a:lnTo>
                  <a:lnTo>
                    <a:pt x="618" y="6"/>
                  </a:lnTo>
                  <a:lnTo>
                    <a:pt x="618" y="30"/>
                  </a:lnTo>
                  <a:lnTo>
                    <a:pt x="612" y="36"/>
                  </a:lnTo>
                  <a:lnTo>
                    <a:pt x="606" y="36"/>
                  </a:lnTo>
                  <a:lnTo>
                    <a:pt x="594" y="48"/>
                  </a:lnTo>
                  <a:lnTo>
                    <a:pt x="594" y="54"/>
                  </a:lnTo>
                  <a:lnTo>
                    <a:pt x="600" y="60"/>
                  </a:lnTo>
                  <a:lnTo>
                    <a:pt x="606" y="60"/>
                  </a:lnTo>
                  <a:lnTo>
                    <a:pt x="600" y="84"/>
                  </a:lnTo>
                  <a:lnTo>
                    <a:pt x="588" y="72"/>
                  </a:lnTo>
                  <a:lnTo>
                    <a:pt x="570" y="72"/>
                  </a:lnTo>
                  <a:lnTo>
                    <a:pt x="558" y="78"/>
                  </a:lnTo>
                  <a:lnTo>
                    <a:pt x="546" y="90"/>
                  </a:lnTo>
                  <a:lnTo>
                    <a:pt x="546" y="120"/>
                  </a:lnTo>
                  <a:lnTo>
                    <a:pt x="540" y="120"/>
                  </a:lnTo>
                  <a:lnTo>
                    <a:pt x="534" y="114"/>
                  </a:lnTo>
                  <a:lnTo>
                    <a:pt x="528" y="102"/>
                  </a:lnTo>
                  <a:lnTo>
                    <a:pt x="522" y="96"/>
                  </a:lnTo>
                  <a:lnTo>
                    <a:pt x="510" y="96"/>
                  </a:lnTo>
                  <a:lnTo>
                    <a:pt x="504" y="102"/>
                  </a:lnTo>
                  <a:lnTo>
                    <a:pt x="492" y="108"/>
                  </a:lnTo>
                  <a:lnTo>
                    <a:pt x="474" y="126"/>
                  </a:lnTo>
                  <a:lnTo>
                    <a:pt x="468" y="126"/>
                  </a:lnTo>
                  <a:lnTo>
                    <a:pt x="456" y="114"/>
                  </a:lnTo>
                  <a:lnTo>
                    <a:pt x="444" y="108"/>
                  </a:lnTo>
                  <a:lnTo>
                    <a:pt x="438" y="102"/>
                  </a:lnTo>
                  <a:lnTo>
                    <a:pt x="426" y="102"/>
                  </a:lnTo>
                  <a:lnTo>
                    <a:pt x="414" y="108"/>
                  </a:lnTo>
                  <a:lnTo>
                    <a:pt x="396" y="84"/>
                  </a:lnTo>
                  <a:lnTo>
                    <a:pt x="384" y="96"/>
                  </a:lnTo>
                  <a:lnTo>
                    <a:pt x="342" y="96"/>
                  </a:lnTo>
                  <a:lnTo>
                    <a:pt x="330" y="90"/>
                  </a:lnTo>
                  <a:lnTo>
                    <a:pt x="324" y="84"/>
                  </a:lnTo>
                  <a:lnTo>
                    <a:pt x="312" y="78"/>
                  </a:lnTo>
                  <a:lnTo>
                    <a:pt x="300" y="78"/>
                  </a:lnTo>
                  <a:lnTo>
                    <a:pt x="300" y="102"/>
                  </a:lnTo>
                  <a:lnTo>
                    <a:pt x="264" y="102"/>
                  </a:lnTo>
                  <a:lnTo>
                    <a:pt x="252" y="108"/>
                  </a:lnTo>
                  <a:lnTo>
                    <a:pt x="246" y="120"/>
                  </a:lnTo>
                  <a:lnTo>
                    <a:pt x="246" y="180"/>
                  </a:lnTo>
                  <a:lnTo>
                    <a:pt x="234" y="180"/>
                  </a:lnTo>
                  <a:lnTo>
                    <a:pt x="222" y="186"/>
                  </a:lnTo>
                  <a:lnTo>
                    <a:pt x="216" y="198"/>
                  </a:lnTo>
                  <a:lnTo>
                    <a:pt x="180" y="216"/>
                  </a:lnTo>
                  <a:lnTo>
                    <a:pt x="168" y="216"/>
                  </a:lnTo>
                  <a:lnTo>
                    <a:pt x="168" y="228"/>
                  </a:lnTo>
                  <a:lnTo>
                    <a:pt x="156" y="252"/>
                  </a:lnTo>
                  <a:lnTo>
                    <a:pt x="150" y="258"/>
                  </a:lnTo>
                  <a:lnTo>
                    <a:pt x="138" y="264"/>
                  </a:lnTo>
                  <a:lnTo>
                    <a:pt x="114" y="264"/>
                  </a:lnTo>
                  <a:lnTo>
                    <a:pt x="90" y="240"/>
                  </a:lnTo>
                  <a:lnTo>
                    <a:pt x="84" y="240"/>
                  </a:lnTo>
                  <a:lnTo>
                    <a:pt x="78" y="246"/>
                  </a:lnTo>
                  <a:lnTo>
                    <a:pt x="66" y="246"/>
                  </a:lnTo>
                  <a:lnTo>
                    <a:pt x="60" y="240"/>
                  </a:lnTo>
                  <a:lnTo>
                    <a:pt x="48" y="240"/>
                  </a:lnTo>
                  <a:lnTo>
                    <a:pt x="42" y="234"/>
                  </a:lnTo>
                  <a:lnTo>
                    <a:pt x="36" y="240"/>
                  </a:lnTo>
                  <a:lnTo>
                    <a:pt x="30" y="252"/>
                  </a:lnTo>
                  <a:lnTo>
                    <a:pt x="30" y="258"/>
                  </a:lnTo>
                  <a:lnTo>
                    <a:pt x="36" y="270"/>
                  </a:lnTo>
                  <a:lnTo>
                    <a:pt x="36" y="294"/>
                  </a:lnTo>
                  <a:lnTo>
                    <a:pt x="42" y="300"/>
                  </a:lnTo>
                  <a:lnTo>
                    <a:pt x="42" y="306"/>
                  </a:lnTo>
                  <a:lnTo>
                    <a:pt x="18" y="312"/>
                  </a:lnTo>
                  <a:lnTo>
                    <a:pt x="30" y="330"/>
                  </a:lnTo>
                  <a:lnTo>
                    <a:pt x="24" y="330"/>
                  </a:lnTo>
                  <a:lnTo>
                    <a:pt x="18" y="336"/>
                  </a:lnTo>
                  <a:lnTo>
                    <a:pt x="6" y="342"/>
                  </a:lnTo>
                  <a:lnTo>
                    <a:pt x="0" y="348"/>
                  </a:lnTo>
                  <a:lnTo>
                    <a:pt x="0" y="354"/>
                  </a:lnTo>
                  <a:lnTo>
                    <a:pt x="12" y="366"/>
                  </a:lnTo>
                  <a:lnTo>
                    <a:pt x="12" y="396"/>
                  </a:lnTo>
                  <a:lnTo>
                    <a:pt x="36" y="396"/>
                  </a:lnTo>
                  <a:lnTo>
                    <a:pt x="42" y="402"/>
                  </a:lnTo>
                  <a:lnTo>
                    <a:pt x="42" y="408"/>
                  </a:lnTo>
                  <a:lnTo>
                    <a:pt x="24" y="426"/>
                  </a:lnTo>
                  <a:lnTo>
                    <a:pt x="18" y="438"/>
                  </a:lnTo>
                  <a:lnTo>
                    <a:pt x="30" y="462"/>
                  </a:lnTo>
                  <a:lnTo>
                    <a:pt x="42" y="480"/>
                  </a:lnTo>
                  <a:lnTo>
                    <a:pt x="54" y="504"/>
                  </a:lnTo>
                  <a:lnTo>
                    <a:pt x="60" y="510"/>
                  </a:lnTo>
                  <a:lnTo>
                    <a:pt x="60" y="564"/>
                  </a:lnTo>
                  <a:lnTo>
                    <a:pt x="66" y="570"/>
                  </a:lnTo>
                  <a:lnTo>
                    <a:pt x="72" y="570"/>
                  </a:lnTo>
                  <a:lnTo>
                    <a:pt x="84" y="576"/>
                  </a:lnTo>
                  <a:lnTo>
                    <a:pt x="120" y="576"/>
                  </a:lnTo>
                  <a:lnTo>
                    <a:pt x="126" y="582"/>
                  </a:lnTo>
                  <a:lnTo>
                    <a:pt x="138" y="606"/>
                  </a:lnTo>
                  <a:lnTo>
                    <a:pt x="114" y="654"/>
                  </a:lnTo>
                  <a:lnTo>
                    <a:pt x="108" y="660"/>
                  </a:lnTo>
                  <a:lnTo>
                    <a:pt x="102" y="672"/>
                  </a:lnTo>
                  <a:lnTo>
                    <a:pt x="84" y="690"/>
                  </a:lnTo>
                  <a:lnTo>
                    <a:pt x="84" y="702"/>
                  </a:lnTo>
                  <a:lnTo>
                    <a:pt x="120" y="702"/>
                  </a:lnTo>
                  <a:lnTo>
                    <a:pt x="132" y="708"/>
                  </a:lnTo>
                  <a:lnTo>
                    <a:pt x="150" y="720"/>
                  </a:lnTo>
                  <a:lnTo>
                    <a:pt x="168" y="726"/>
                  </a:lnTo>
                  <a:lnTo>
                    <a:pt x="192" y="738"/>
                  </a:lnTo>
                  <a:lnTo>
                    <a:pt x="210" y="738"/>
                  </a:lnTo>
                  <a:lnTo>
                    <a:pt x="228" y="732"/>
                  </a:lnTo>
                  <a:lnTo>
                    <a:pt x="234" y="732"/>
                  </a:lnTo>
                  <a:lnTo>
                    <a:pt x="240" y="726"/>
                  </a:lnTo>
                  <a:lnTo>
                    <a:pt x="294" y="726"/>
                  </a:lnTo>
                  <a:lnTo>
                    <a:pt x="294" y="732"/>
                  </a:lnTo>
                  <a:lnTo>
                    <a:pt x="318" y="732"/>
                  </a:lnTo>
                  <a:lnTo>
                    <a:pt x="324" y="726"/>
                  </a:lnTo>
                  <a:lnTo>
                    <a:pt x="348" y="726"/>
                  </a:lnTo>
                  <a:lnTo>
                    <a:pt x="366" y="720"/>
                  </a:lnTo>
                  <a:lnTo>
                    <a:pt x="396" y="720"/>
                  </a:lnTo>
                  <a:lnTo>
                    <a:pt x="444" y="696"/>
                  </a:lnTo>
                  <a:lnTo>
                    <a:pt x="450" y="696"/>
                  </a:lnTo>
                  <a:lnTo>
                    <a:pt x="456" y="690"/>
                  </a:lnTo>
                  <a:lnTo>
                    <a:pt x="456" y="660"/>
                  </a:lnTo>
                  <a:lnTo>
                    <a:pt x="450" y="654"/>
                  </a:lnTo>
                  <a:lnTo>
                    <a:pt x="450" y="636"/>
                  </a:lnTo>
                  <a:lnTo>
                    <a:pt x="444" y="624"/>
                  </a:lnTo>
                  <a:lnTo>
                    <a:pt x="444" y="606"/>
                  </a:lnTo>
                  <a:lnTo>
                    <a:pt x="450" y="594"/>
                  </a:lnTo>
                  <a:lnTo>
                    <a:pt x="462" y="588"/>
                  </a:lnTo>
                  <a:lnTo>
                    <a:pt x="468" y="576"/>
                  </a:lnTo>
                  <a:lnTo>
                    <a:pt x="486" y="576"/>
                  </a:lnTo>
                  <a:lnTo>
                    <a:pt x="486" y="588"/>
                  </a:lnTo>
                  <a:lnTo>
                    <a:pt x="528" y="588"/>
                  </a:lnTo>
                  <a:lnTo>
                    <a:pt x="534" y="582"/>
                  </a:lnTo>
                  <a:lnTo>
                    <a:pt x="534" y="576"/>
                  </a:lnTo>
                  <a:lnTo>
                    <a:pt x="528" y="570"/>
                  </a:lnTo>
                  <a:lnTo>
                    <a:pt x="522" y="570"/>
                  </a:lnTo>
                  <a:lnTo>
                    <a:pt x="522" y="564"/>
                  </a:lnTo>
                  <a:lnTo>
                    <a:pt x="528" y="558"/>
                  </a:lnTo>
                  <a:lnTo>
                    <a:pt x="534" y="558"/>
                  </a:lnTo>
                  <a:lnTo>
                    <a:pt x="546" y="552"/>
                  </a:lnTo>
                  <a:lnTo>
                    <a:pt x="552" y="546"/>
                  </a:lnTo>
                  <a:lnTo>
                    <a:pt x="564" y="540"/>
                  </a:lnTo>
                  <a:lnTo>
                    <a:pt x="594" y="540"/>
                  </a:lnTo>
                  <a:lnTo>
                    <a:pt x="594" y="552"/>
                  </a:lnTo>
                  <a:lnTo>
                    <a:pt x="600" y="558"/>
                  </a:lnTo>
                  <a:lnTo>
                    <a:pt x="612" y="558"/>
                  </a:lnTo>
                  <a:lnTo>
                    <a:pt x="624" y="552"/>
                  </a:lnTo>
                  <a:lnTo>
                    <a:pt x="630" y="540"/>
                  </a:lnTo>
                  <a:lnTo>
                    <a:pt x="636" y="534"/>
                  </a:lnTo>
                  <a:lnTo>
                    <a:pt x="636" y="528"/>
                  </a:lnTo>
                  <a:lnTo>
                    <a:pt x="630" y="522"/>
                  </a:lnTo>
                  <a:lnTo>
                    <a:pt x="630" y="510"/>
                  </a:lnTo>
                  <a:lnTo>
                    <a:pt x="624" y="498"/>
                  </a:lnTo>
                  <a:lnTo>
                    <a:pt x="624" y="480"/>
                  </a:lnTo>
                  <a:lnTo>
                    <a:pt x="630" y="474"/>
                  </a:lnTo>
                  <a:lnTo>
                    <a:pt x="636" y="474"/>
                  </a:lnTo>
                  <a:lnTo>
                    <a:pt x="636" y="438"/>
                  </a:lnTo>
                  <a:lnTo>
                    <a:pt x="642" y="432"/>
                  </a:lnTo>
                  <a:lnTo>
                    <a:pt x="660" y="432"/>
                  </a:lnTo>
                  <a:lnTo>
                    <a:pt x="690" y="414"/>
                  </a:lnTo>
                  <a:lnTo>
                    <a:pt x="684" y="414"/>
                  </a:lnTo>
                  <a:lnTo>
                    <a:pt x="672" y="408"/>
                  </a:lnTo>
                  <a:lnTo>
                    <a:pt x="672" y="402"/>
                  </a:lnTo>
                  <a:lnTo>
                    <a:pt x="666" y="396"/>
                  </a:lnTo>
                  <a:lnTo>
                    <a:pt x="666" y="390"/>
                  </a:lnTo>
                  <a:lnTo>
                    <a:pt x="654" y="384"/>
                  </a:lnTo>
                  <a:lnTo>
                    <a:pt x="642" y="372"/>
                  </a:lnTo>
                  <a:lnTo>
                    <a:pt x="642" y="360"/>
                  </a:lnTo>
                  <a:lnTo>
                    <a:pt x="660" y="360"/>
                  </a:lnTo>
                  <a:lnTo>
                    <a:pt x="666" y="366"/>
                  </a:lnTo>
                  <a:lnTo>
                    <a:pt x="684" y="372"/>
                  </a:lnTo>
                  <a:lnTo>
                    <a:pt x="690" y="372"/>
                  </a:lnTo>
                  <a:lnTo>
                    <a:pt x="696" y="366"/>
                  </a:lnTo>
                  <a:lnTo>
                    <a:pt x="714" y="366"/>
                  </a:lnTo>
                  <a:lnTo>
                    <a:pt x="714" y="336"/>
                  </a:lnTo>
                  <a:lnTo>
                    <a:pt x="708" y="330"/>
                  </a:lnTo>
                  <a:lnTo>
                    <a:pt x="708" y="318"/>
                  </a:lnTo>
                  <a:lnTo>
                    <a:pt x="714" y="306"/>
                  </a:lnTo>
                  <a:lnTo>
                    <a:pt x="738" y="282"/>
                  </a:lnTo>
                  <a:lnTo>
                    <a:pt x="738" y="276"/>
                  </a:lnTo>
                  <a:lnTo>
                    <a:pt x="732" y="264"/>
                  </a:lnTo>
                  <a:lnTo>
                    <a:pt x="726" y="258"/>
                  </a:lnTo>
                  <a:lnTo>
                    <a:pt x="726" y="228"/>
                  </a:lnTo>
                  <a:lnTo>
                    <a:pt x="696" y="198"/>
                  </a:lnTo>
                  <a:lnTo>
                    <a:pt x="696" y="192"/>
                  </a:lnTo>
                  <a:lnTo>
                    <a:pt x="702" y="186"/>
                  </a:lnTo>
                  <a:lnTo>
                    <a:pt x="708" y="174"/>
                  </a:lnTo>
                  <a:lnTo>
                    <a:pt x="714" y="168"/>
                  </a:lnTo>
                  <a:lnTo>
                    <a:pt x="738" y="156"/>
                  </a:lnTo>
                  <a:lnTo>
                    <a:pt x="744" y="150"/>
                  </a:lnTo>
                  <a:lnTo>
                    <a:pt x="768" y="138"/>
                  </a:lnTo>
                  <a:lnTo>
                    <a:pt x="774" y="138"/>
                  </a:lnTo>
                  <a:lnTo>
                    <a:pt x="780" y="132"/>
                  </a:lnTo>
                  <a:lnTo>
                    <a:pt x="822" y="132"/>
                  </a:lnTo>
                  <a:lnTo>
                    <a:pt x="828" y="126"/>
                  </a:lnTo>
                  <a:lnTo>
                    <a:pt x="852" y="126"/>
                  </a:lnTo>
                  <a:lnTo>
                    <a:pt x="864" y="132"/>
                  </a:lnTo>
                  <a:lnTo>
                    <a:pt x="876" y="132"/>
                  </a:lnTo>
                  <a:lnTo>
                    <a:pt x="882" y="126"/>
                  </a:lnTo>
                  <a:lnTo>
                    <a:pt x="894" y="126"/>
                  </a:lnTo>
                  <a:lnTo>
                    <a:pt x="900" y="120"/>
                  </a:lnTo>
                  <a:lnTo>
                    <a:pt x="894" y="114"/>
                  </a:lnTo>
                  <a:lnTo>
                    <a:pt x="894" y="108"/>
                  </a:lnTo>
                  <a:close/>
                </a:path>
              </a:pathLst>
            </a:custGeom>
            <a:grpFill/>
            <a:ln w="952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grpSp>
      <p:grpSp>
        <p:nvGrpSpPr>
          <p:cNvPr id="7" name="Gruppieren 6">
            <a:extLst>
              <a:ext uri="{FF2B5EF4-FFF2-40B4-BE49-F238E27FC236}">
                <a16:creationId xmlns:a16="http://schemas.microsoft.com/office/drawing/2014/main" id="{AAB58292-92B0-4CAB-B584-FBD44EC777E7}"/>
              </a:ext>
            </a:extLst>
          </p:cNvPr>
          <p:cNvGrpSpPr/>
          <p:nvPr/>
        </p:nvGrpSpPr>
        <p:grpSpPr bwMode="gray">
          <a:xfrm>
            <a:off x="4727848" y="6209309"/>
            <a:ext cx="2196099" cy="100011"/>
            <a:chOff x="4727848" y="5489229"/>
            <a:chExt cx="2196099" cy="100011"/>
          </a:xfrm>
        </p:grpSpPr>
        <p:sp>
          <p:nvSpPr>
            <p:cNvPr id="4" name="Ellipse 3">
              <a:extLst>
                <a:ext uri="{FF2B5EF4-FFF2-40B4-BE49-F238E27FC236}">
                  <a16:creationId xmlns:a16="http://schemas.microsoft.com/office/drawing/2014/main" id="{023A115D-1B25-4B7F-BA99-78C81CB96037}"/>
                </a:ext>
              </a:extLst>
            </p:cNvPr>
            <p:cNvSpPr/>
            <p:nvPr/>
          </p:nvSpPr>
          <p:spPr bwMode="gray">
            <a:xfrm>
              <a:off x="4727848" y="5489229"/>
              <a:ext cx="100011" cy="10001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r>
                <a:rPr lang="en-US" sz="1200" dirty="0">
                  <a:solidFill>
                    <a:schemeClr val="tx1"/>
                  </a:solidFill>
                </a:rPr>
                <a:t>Area 01</a:t>
              </a:r>
            </a:p>
          </p:txBody>
        </p:sp>
        <p:sp>
          <p:nvSpPr>
            <p:cNvPr id="183" name="Ellipse 182">
              <a:extLst>
                <a:ext uri="{FF2B5EF4-FFF2-40B4-BE49-F238E27FC236}">
                  <a16:creationId xmlns:a16="http://schemas.microsoft.com/office/drawing/2014/main" id="{A0B93F22-68EF-4A55-85E4-343862E8F16D}"/>
                </a:ext>
              </a:extLst>
            </p:cNvPr>
            <p:cNvSpPr/>
            <p:nvPr/>
          </p:nvSpPr>
          <p:spPr bwMode="gray">
            <a:xfrm>
              <a:off x="5771819" y="5489229"/>
              <a:ext cx="100011" cy="100011"/>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r>
                <a:rPr lang="en-US" sz="1200" dirty="0">
                  <a:solidFill>
                    <a:schemeClr val="tx1"/>
                  </a:solidFill>
                </a:rPr>
                <a:t>Area 02</a:t>
              </a:r>
            </a:p>
          </p:txBody>
        </p:sp>
        <p:sp>
          <p:nvSpPr>
            <p:cNvPr id="184" name="Ellipse 183">
              <a:extLst>
                <a:ext uri="{FF2B5EF4-FFF2-40B4-BE49-F238E27FC236}">
                  <a16:creationId xmlns:a16="http://schemas.microsoft.com/office/drawing/2014/main" id="{C1AC86E9-0617-4DD5-A4E3-B5BF8EB05389}"/>
                </a:ext>
              </a:extLst>
            </p:cNvPr>
            <p:cNvSpPr/>
            <p:nvPr/>
          </p:nvSpPr>
          <p:spPr bwMode="gray">
            <a:xfrm>
              <a:off x="6823936" y="5489229"/>
              <a:ext cx="100011" cy="10001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r>
                <a:rPr lang="en-US" sz="1200" dirty="0">
                  <a:solidFill>
                    <a:schemeClr val="tx1"/>
                  </a:solidFill>
                </a:rPr>
                <a:t>Area 03</a:t>
              </a:r>
            </a:p>
          </p:txBody>
        </p:sp>
      </p:grpSp>
      <p:sp>
        <p:nvSpPr>
          <p:cNvPr id="214" name="Rechteck 213">
            <a:extLst>
              <a:ext uri="{FF2B5EF4-FFF2-40B4-BE49-F238E27FC236}">
                <a16:creationId xmlns:a16="http://schemas.microsoft.com/office/drawing/2014/main" id="{566AAA2E-D67E-4F39-8002-57208C04D4F1}"/>
              </a:ext>
            </a:extLst>
          </p:cNvPr>
          <p:cNvSpPr/>
          <p:nvPr/>
        </p:nvSpPr>
        <p:spPr bwMode="gray">
          <a:xfrm>
            <a:off x="12288880" y="188640"/>
            <a:ext cx="1728000" cy="64804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t"/>
          <a:lstStyle/>
          <a:p>
            <a:r>
              <a:rPr lang="en-US" sz="1200" b="1" dirty="0">
                <a:solidFill>
                  <a:schemeClr val="tx1"/>
                </a:solidFill>
              </a:rPr>
              <a:t>Note:</a:t>
            </a:r>
          </a:p>
          <a:p>
            <a:r>
              <a:rPr lang="en-US" sz="1200" dirty="0">
                <a:solidFill>
                  <a:schemeClr val="tx1"/>
                </a:solidFill>
              </a:rPr>
              <a:t>An animation has been added to the world map. Please note that this page only works in combination with the following page.</a:t>
            </a:r>
          </a:p>
          <a:p>
            <a:endParaRPr lang="en-US" sz="1200" dirty="0">
              <a:solidFill>
                <a:schemeClr val="tx1"/>
              </a:solidFill>
            </a:endParaRPr>
          </a:p>
          <a:p>
            <a:r>
              <a:rPr lang="en-US" sz="1200" dirty="0">
                <a:solidFill>
                  <a:schemeClr val="tx1"/>
                </a:solidFill>
              </a:rPr>
              <a:t>The coloring of the countries must be exactly the same as on the following slide.</a:t>
            </a:r>
          </a:p>
        </p:txBody>
      </p:sp>
      <p:sp>
        <p:nvSpPr>
          <p:cNvPr id="5" name="Fußzeilenplatzhalter 4">
            <a:extLst>
              <a:ext uri="{FF2B5EF4-FFF2-40B4-BE49-F238E27FC236}">
                <a16:creationId xmlns:a16="http://schemas.microsoft.com/office/drawing/2014/main" id="{FF5DF5AF-5716-4F0C-B8E7-1947C4EEA05A}"/>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7C5E7BD6-A176-4D3D-80D3-4DAA8A8E7DFB}"/>
              </a:ext>
            </a:extLst>
          </p:cNvPr>
          <p:cNvSpPr>
            <a:spLocks noGrp="1"/>
          </p:cNvSpPr>
          <p:nvPr>
            <p:ph type="sldNum" sz="quarter" idx="12"/>
          </p:nvPr>
        </p:nvSpPr>
        <p:spPr/>
        <p:txBody>
          <a:bodyPr/>
          <a:lstStyle/>
          <a:p>
            <a:fld id="{CE82B8A1-0CCE-4815-9668-383D7DE7D8B4}" type="slidenum">
              <a:rPr lang="en-US" noProof="0" smtClean="0"/>
              <a:t>51</a:t>
            </a:fld>
            <a:endParaRPr lang="en-US" noProof="0" dirty="0"/>
          </a:p>
        </p:txBody>
      </p:sp>
    </p:spTree>
    <p:extLst>
      <p:ext uri="{BB962C8B-B14F-4D97-AF65-F5344CB8AC3E}">
        <p14:creationId xmlns:p14="http://schemas.microsoft.com/office/powerpoint/2010/main" val="1281873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4.58333E-6 -1.11022E-16 L -4.58333E-6 -0.1044 " pathEditMode="relative" rAng="0" ptsTypes="AA">
                                      <p:cBhvr>
                                        <p:cTn id="6" dur="2000" fill="hold"/>
                                        <p:tgtEl>
                                          <p:spTgt spid="7"/>
                                        </p:tgtEl>
                                        <p:attrNameLst>
                                          <p:attrName>ppt_x</p:attrName>
                                          <p:attrName>ppt_y</p:attrName>
                                        </p:attrNameLst>
                                      </p:cBhvr>
                                      <p:rCtr x="0" y="-5231"/>
                                    </p:animMotion>
                                  </p:childTnLst>
                                </p:cTn>
                              </p:par>
                              <p:par>
                                <p:cTn id="7" presetID="6" presetClass="emph" presetSubtype="0" fill="hold" nodeType="withEffect">
                                  <p:stCondLst>
                                    <p:cond delay="0"/>
                                  </p:stCondLst>
                                  <p:childTnLst>
                                    <p:animScale>
                                      <p:cBhvr>
                                        <p:cTn id="8" dur="2000" fill="hold"/>
                                        <p:tgtEl>
                                          <p:spTgt spid="227"/>
                                        </p:tgtEl>
                                      </p:cBhvr>
                                      <p:by x="44500" y="44500"/>
                                    </p:animScale>
                                  </p:childTnLst>
                                </p:cTn>
                              </p:par>
                              <p:par>
                                <p:cTn id="9" presetID="42" presetClass="path" presetSubtype="0" accel="50000" decel="50000" fill="hold" nodeType="withEffect">
                                  <p:stCondLst>
                                    <p:cond delay="0"/>
                                  </p:stCondLst>
                                  <p:childTnLst>
                                    <p:animMotion origin="layout" path="M -4.375E-6 2.96296E-6 L -0.00455 0.01574 " pathEditMode="relative" rAng="0" ptsTypes="AA">
                                      <p:cBhvr>
                                        <p:cTn id="10" dur="2000" fill="hold"/>
                                        <p:tgtEl>
                                          <p:spTgt spid="227"/>
                                        </p:tgtEl>
                                        <p:attrNameLst>
                                          <p:attrName>ppt_x</p:attrName>
                                          <p:attrName>ppt_y</p:attrName>
                                        </p:attrNameLst>
                                      </p:cBhvr>
                                      <p:rCtr x="-234" y="78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llipse 4">
            <a:extLst>
              <a:ext uri="{FF2B5EF4-FFF2-40B4-BE49-F238E27FC236}">
                <a16:creationId xmlns:a16="http://schemas.microsoft.com/office/drawing/2014/main" id="{D6CC290C-E718-4F93-BF4C-357C104C743B}"/>
              </a:ext>
            </a:extLst>
          </p:cNvPr>
          <p:cNvSpPr/>
          <p:nvPr/>
        </p:nvSpPr>
        <p:spPr bwMode="gray">
          <a:xfrm>
            <a:off x="3864256" y="1773238"/>
            <a:ext cx="4536000" cy="4535488"/>
          </a:xfrm>
          <a:custGeom>
            <a:avLst/>
            <a:gdLst>
              <a:gd name="connsiteX0" fmla="*/ 0 w 4536000"/>
              <a:gd name="connsiteY0" fmla="*/ 2267744 h 4535487"/>
              <a:gd name="connsiteX1" fmla="*/ 2268000 w 4536000"/>
              <a:gd name="connsiteY1" fmla="*/ 0 h 4535487"/>
              <a:gd name="connsiteX2" fmla="*/ 4536000 w 4536000"/>
              <a:gd name="connsiteY2" fmla="*/ 2267744 h 4535487"/>
              <a:gd name="connsiteX3" fmla="*/ 2268000 w 4536000"/>
              <a:gd name="connsiteY3" fmla="*/ 4535488 h 4535487"/>
              <a:gd name="connsiteX4" fmla="*/ 0 w 4536000"/>
              <a:gd name="connsiteY4" fmla="*/ 2267744 h 4535487"/>
              <a:gd name="connsiteX0" fmla="*/ 0 w 4536000"/>
              <a:gd name="connsiteY0" fmla="*/ 2267744 h 4535488"/>
              <a:gd name="connsiteX1" fmla="*/ 2268000 w 4536000"/>
              <a:gd name="connsiteY1" fmla="*/ 0 h 4535488"/>
              <a:gd name="connsiteX2" fmla="*/ 4536000 w 4536000"/>
              <a:gd name="connsiteY2" fmla="*/ 2267744 h 4535488"/>
              <a:gd name="connsiteX3" fmla="*/ 2268000 w 4536000"/>
              <a:gd name="connsiteY3" fmla="*/ 4535488 h 4535488"/>
              <a:gd name="connsiteX4" fmla="*/ 0 w 4536000"/>
              <a:gd name="connsiteY4" fmla="*/ 2267744 h 4535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6000" h="4535488">
                <a:moveTo>
                  <a:pt x="0" y="2267744"/>
                </a:moveTo>
                <a:cubicBezTo>
                  <a:pt x="0" y="1015304"/>
                  <a:pt x="1002718" y="0"/>
                  <a:pt x="2268000" y="0"/>
                </a:cubicBezTo>
                <a:cubicBezTo>
                  <a:pt x="3533282" y="0"/>
                  <a:pt x="4536000" y="1015304"/>
                  <a:pt x="4536000" y="2267744"/>
                </a:cubicBezTo>
                <a:cubicBezTo>
                  <a:pt x="4536000" y="3520184"/>
                  <a:pt x="3520582" y="4535488"/>
                  <a:pt x="2268000" y="4535488"/>
                </a:cubicBezTo>
                <a:cubicBezTo>
                  <a:pt x="1015418" y="4535488"/>
                  <a:pt x="0" y="3520184"/>
                  <a:pt x="0" y="2267744"/>
                </a:cubicBezTo>
                <a:close/>
              </a:path>
            </a:pathLst>
          </a:cu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360000" rIns="72000" bIns="360000" rtlCol="0" anchor="t"/>
          <a:lstStyle/>
          <a:p>
            <a:pPr algn="ctr"/>
            <a:r>
              <a:rPr lang="en-US" dirty="0">
                <a:solidFill>
                  <a:schemeClr val="accent5"/>
                </a:solidFill>
                <a:latin typeface="+mj-lt"/>
              </a:rPr>
              <a:t>Lorem ipsum dolor</a:t>
            </a:r>
            <a:br>
              <a:rPr lang="en-US" dirty="0">
                <a:solidFill>
                  <a:schemeClr val="accent5"/>
                </a:solidFill>
                <a:latin typeface="+mj-lt"/>
              </a:rPr>
            </a:br>
            <a:r>
              <a:rPr lang="en-US" dirty="0">
                <a:solidFill>
                  <a:schemeClr val="accent5"/>
                </a:solidFill>
                <a:latin typeface="+mj-lt"/>
              </a:rPr>
              <a:t>sit amet, consectetuer</a:t>
            </a:r>
            <a:br>
              <a:rPr lang="en-US" dirty="0">
                <a:solidFill>
                  <a:schemeClr val="accent5"/>
                </a:solidFill>
                <a:latin typeface="+mj-lt"/>
              </a:rPr>
            </a:br>
            <a:r>
              <a:rPr lang="en-US" dirty="0">
                <a:solidFill>
                  <a:schemeClr val="accent5"/>
                </a:solidFill>
                <a:latin typeface="+mj-lt"/>
              </a:rPr>
              <a:t>adipiscing elit. </a:t>
            </a:r>
          </a:p>
        </p:txBody>
      </p:sp>
      <p:sp>
        <p:nvSpPr>
          <p:cNvPr id="2" name="Titel 1">
            <a:extLst>
              <a:ext uri="{FF2B5EF4-FFF2-40B4-BE49-F238E27FC236}">
                <a16:creationId xmlns:a16="http://schemas.microsoft.com/office/drawing/2014/main" id="{545DC0A9-3E04-45CF-9BC1-35F925C5D275}"/>
              </a:ext>
            </a:extLst>
          </p:cNvPr>
          <p:cNvSpPr>
            <a:spLocks noGrp="1"/>
          </p:cNvSpPr>
          <p:nvPr>
            <p:ph type="title"/>
          </p:nvPr>
        </p:nvSpPr>
        <p:spPr bwMode="gray"/>
        <p:txBody>
          <a:bodyPr/>
          <a:lstStyle/>
          <a:p>
            <a:r>
              <a:rPr lang="en-US" dirty="0"/>
              <a:t>World map with highlighting</a:t>
            </a:r>
            <a:br>
              <a:rPr lang="en-US" dirty="0"/>
            </a:br>
            <a:r>
              <a:rPr lang="en-US" dirty="0"/>
              <a:t>and diagrams</a:t>
            </a:r>
          </a:p>
        </p:txBody>
      </p:sp>
      <p:grpSp>
        <p:nvGrpSpPr>
          <p:cNvPr id="227" name="Gruppieren 226">
            <a:extLst>
              <a:ext uri="{FF2B5EF4-FFF2-40B4-BE49-F238E27FC236}">
                <a16:creationId xmlns:a16="http://schemas.microsoft.com/office/drawing/2014/main" id="{D45389BB-C317-4C58-B43A-1E51E65ADE40}"/>
              </a:ext>
            </a:extLst>
          </p:cNvPr>
          <p:cNvGrpSpPr/>
          <p:nvPr/>
        </p:nvGrpSpPr>
        <p:grpSpPr bwMode="gray">
          <a:xfrm>
            <a:off x="4007768" y="3212976"/>
            <a:ext cx="4132443" cy="2016224"/>
            <a:chOff x="107380" y="1753200"/>
            <a:chExt cx="8748000" cy="4268160"/>
          </a:xfrm>
          <a:solidFill>
            <a:schemeClr val="bg2"/>
          </a:solidFill>
        </p:grpSpPr>
        <p:sp>
          <p:nvSpPr>
            <p:cNvPr id="228" name="Alaska" descr="© INSCALE GmbH, 05.05.2010&#10;http://www.presentationload.com/">
              <a:extLst>
                <a:ext uri="{FF2B5EF4-FFF2-40B4-BE49-F238E27FC236}">
                  <a16:creationId xmlns:a16="http://schemas.microsoft.com/office/drawing/2014/main" id="{40E6B1D0-4544-44A8-96F9-9E9397733D8C}"/>
                </a:ext>
              </a:extLst>
            </p:cNvPr>
            <p:cNvSpPr>
              <a:spLocks noEditPoints="1"/>
            </p:cNvSpPr>
            <p:nvPr/>
          </p:nvSpPr>
          <p:spPr bwMode="gray">
            <a:xfrm>
              <a:off x="107380" y="2038580"/>
              <a:ext cx="1221490" cy="528423"/>
            </a:xfrm>
            <a:custGeom>
              <a:avLst/>
              <a:gdLst>
                <a:gd name="T0" fmla="*/ 2147483647 w 3072"/>
                <a:gd name="T1" fmla="*/ 2147483647 h 1332"/>
                <a:gd name="T2" fmla="*/ 2147483647 w 3072"/>
                <a:gd name="T3" fmla="*/ 2147483647 h 1332"/>
                <a:gd name="T4" fmla="*/ 2147483647 w 3072"/>
                <a:gd name="T5" fmla="*/ 2147483647 h 1332"/>
                <a:gd name="T6" fmla="*/ 2147483647 w 3072"/>
                <a:gd name="T7" fmla="*/ 2147483647 h 1332"/>
                <a:gd name="T8" fmla="*/ 2147483647 w 3072"/>
                <a:gd name="T9" fmla="*/ 2147483647 h 1332"/>
                <a:gd name="T10" fmla="*/ 2147483647 w 3072"/>
                <a:gd name="T11" fmla="*/ 2147483647 h 1332"/>
                <a:gd name="T12" fmla="*/ 2147483647 w 3072"/>
                <a:gd name="T13" fmla="*/ 2147483647 h 1332"/>
                <a:gd name="T14" fmla="*/ 2147483647 w 3072"/>
                <a:gd name="T15" fmla="*/ 2147483647 h 1332"/>
                <a:gd name="T16" fmla="*/ 2147483647 w 3072"/>
                <a:gd name="T17" fmla="*/ 2147483647 h 1332"/>
                <a:gd name="T18" fmla="*/ 2147483647 w 3072"/>
                <a:gd name="T19" fmla="*/ 2147483647 h 1332"/>
                <a:gd name="T20" fmla="*/ 2147483647 w 3072"/>
                <a:gd name="T21" fmla="*/ 2147483647 h 1332"/>
                <a:gd name="T22" fmla="*/ 2147483647 w 3072"/>
                <a:gd name="T23" fmla="*/ 0 h 1332"/>
                <a:gd name="T24" fmla="*/ 2147483647 w 3072"/>
                <a:gd name="T25" fmla="*/ 2147483647 h 1332"/>
                <a:gd name="T26" fmla="*/ 2147483647 w 3072"/>
                <a:gd name="T27" fmla="*/ 2147483647 h 1332"/>
                <a:gd name="T28" fmla="*/ 2147483647 w 3072"/>
                <a:gd name="T29" fmla="*/ 2147483647 h 1332"/>
                <a:gd name="T30" fmla="*/ 2147483647 w 3072"/>
                <a:gd name="T31" fmla="*/ 2147483647 h 1332"/>
                <a:gd name="T32" fmla="*/ 2147483647 w 3072"/>
                <a:gd name="T33" fmla="*/ 2147483647 h 1332"/>
                <a:gd name="T34" fmla="*/ 2147483647 w 3072"/>
                <a:gd name="T35" fmla="*/ 2147483647 h 1332"/>
                <a:gd name="T36" fmla="*/ 2147483647 w 3072"/>
                <a:gd name="T37" fmla="*/ 2147483647 h 1332"/>
                <a:gd name="T38" fmla="*/ 2147483647 w 3072"/>
                <a:gd name="T39" fmla="*/ 2147483647 h 1332"/>
                <a:gd name="T40" fmla="*/ 2147483647 w 3072"/>
                <a:gd name="T41" fmla="*/ 2147483647 h 1332"/>
                <a:gd name="T42" fmla="*/ 2147483647 w 3072"/>
                <a:gd name="T43" fmla="*/ 2147483647 h 1332"/>
                <a:gd name="T44" fmla="*/ 2147483647 w 3072"/>
                <a:gd name="T45" fmla="*/ 2147483647 h 1332"/>
                <a:gd name="T46" fmla="*/ 2147483647 w 3072"/>
                <a:gd name="T47" fmla="*/ 2147483647 h 1332"/>
                <a:gd name="T48" fmla="*/ 2147483647 w 3072"/>
                <a:gd name="T49" fmla="*/ 2147483647 h 1332"/>
                <a:gd name="T50" fmla="*/ 2147483647 w 3072"/>
                <a:gd name="T51" fmla="*/ 2147483647 h 1332"/>
                <a:gd name="T52" fmla="*/ 2147483647 w 3072"/>
                <a:gd name="T53" fmla="*/ 2147483647 h 1332"/>
                <a:gd name="T54" fmla="*/ 2147483647 w 3072"/>
                <a:gd name="T55" fmla="*/ 2147483647 h 1332"/>
                <a:gd name="T56" fmla="*/ 2147483647 w 3072"/>
                <a:gd name="T57" fmla="*/ 2147483647 h 1332"/>
                <a:gd name="T58" fmla="*/ 2147483647 w 3072"/>
                <a:gd name="T59" fmla="*/ 2147483647 h 1332"/>
                <a:gd name="T60" fmla="*/ 2147483647 w 3072"/>
                <a:gd name="T61" fmla="*/ 2147483647 h 1332"/>
                <a:gd name="T62" fmla="*/ 2147483647 w 3072"/>
                <a:gd name="T63" fmla="*/ 2147483647 h 1332"/>
                <a:gd name="T64" fmla="*/ 2147483647 w 3072"/>
                <a:gd name="T65" fmla="*/ 2147483647 h 1332"/>
                <a:gd name="T66" fmla="*/ 2147483647 w 3072"/>
                <a:gd name="T67" fmla="*/ 2147483647 h 1332"/>
                <a:gd name="T68" fmla="*/ 2147483647 w 3072"/>
                <a:gd name="T69" fmla="*/ 2147483647 h 1332"/>
                <a:gd name="T70" fmla="*/ 2147483647 w 3072"/>
                <a:gd name="T71" fmla="*/ 2147483647 h 1332"/>
                <a:gd name="T72" fmla="*/ 2147483647 w 3072"/>
                <a:gd name="T73" fmla="*/ 2147483647 h 1332"/>
                <a:gd name="T74" fmla="*/ 2147483647 w 3072"/>
                <a:gd name="T75" fmla="*/ 2147483647 h 1332"/>
                <a:gd name="T76" fmla="*/ 2147483647 w 3072"/>
                <a:gd name="T77" fmla="*/ 2147483647 h 1332"/>
                <a:gd name="T78" fmla="*/ 2147483647 w 3072"/>
                <a:gd name="T79" fmla="*/ 2147483647 h 1332"/>
                <a:gd name="T80" fmla="*/ 2147483647 w 3072"/>
                <a:gd name="T81" fmla="*/ 2147483647 h 1332"/>
                <a:gd name="T82" fmla="*/ 2147483647 w 3072"/>
                <a:gd name="T83" fmla="*/ 2147483647 h 1332"/>
                <a:gd name="T84" fmla="*/ 2147483647 w 3072"/>
                <a:gd name="T85" fmla="*/ 2147483647 h 1332"/>
                <a:gd name="T86" fmla="*/ 2147483647 w 3072"/>
                <a:gd name="T87" fmla="*/ 2147483647 h 1332"/>
                <a:gd name="T88" fmla="*/ 2147483647 w 3072"/>
                <a:gd name="T89" fmla="*/ 2147483647 h 1332"/>
                <a:gd name="T90" fmla="*/ 2147483647 w 3072"/>
                <a:gd name="T91" fmla="*/ 2147483647 h 1332"/>
                <a:gd name="T92" fmla="*/ 2147483647 w 3072"/>
                <a:gd name="T93" fmla="*/ 2147483647 h 1332"/>
                <a:gd name="T94" fmla="*/ 2147483647 w 3072"/>
                <a:gd name="T95" fmla="*/ 2147483647 h 1332"/>
                <a:gd name="T96" fmla="*/ 2147483647 w 3072"/>
                <a:gd name="T97" fmla="*/ 2147483647 h 1332"/>
                <a:gd name="T98" fmla="*/ 2147483647 w 3072"/>
                <a:gd name="T99" fmla="*/ 2147483647 h 1332"/>
                <a:gd name="T100" fmla="*/ 2147483647 w 3072"/>
                <a:gd name="T101" fmla="*/ 2147483647 h 1332"/>
                <a:gd name="T102" fmla="*/ 2147483647 w 3072"/>
                <a:gd name="T103" fmla="*/ 2147483647 h 1332"/>
                <a:gd name="T104" fmla="*/ 2147483647 w 3072"/>
                <a:gd name="T105" fmla="*/ 2147483647 h 1332"/>
                <a:gd name="T106" fmla="*/ 2147483647 w 3072"/>
                <a:gd name="T107" fmla="*/ 2147483647 h 1332"/>
                <a:gd name="T108" fmla="*/ 2147483647 w 3072"/>
                <a:gd name="T109" fmla="*/ 2147483647 h 1332"/>
                <a:gd name="T110" fmla="*/ 2147483647 w 3072"/>
                <a:gd name="T111" fmla="*/ 2147483647 h 1332"/>
                <a:gd name="T112" fmla="*/ 2147483647 w 3072"/>
                <a:gd name="T113" fmla="*/ 2147483647 h 1332"/>
                <a:gd name="T114" fmla="*/ 2147483647 w 3072"/>
                <a:gd name="T115" fmla="*/ 2147483647 h 1332"/>
                <a:gd name="T116" fmla="*/ 2147483647 w 3072"/>
                <a:gd name="T117" fmla="*/ 2147483647 h 1332"/>
                <a:gd name="T118" fmla="*/ 2147483647 w 3072"/>
                <a:gd name="T119" fmla="*/ 2147483647 h 1332"/>
                <a:gd name="T120" fmla="*/ 2147483647 w 3072"/>
                <a:gd name="T121" fmla="*/ 2147483647 h 13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72"/>
                <a:gd name="T184" fmla="*/ 0 h 1332"/>
                <a:gd name="T185" fmla="*/ 3072 w 3072"/>
                <a:gd name="T186" fmla="*/ 1332 h 13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72" h="1332">
                  <a:moveTo>
                    <a:pt x="2454" y="930"/>
                  </a:moveTo>
                  <a:lnTo>
                    <a:pt x="2418" y="966"/>
                  </a:lnTo>
                  <a:lnTo>
                    <a:pt x="2400" y="1002"/>
                  </a:lnTo>
                  <a:lnTo>
                    <a:pt x="2412" y="1002"/>
                  </a:lnTo>
                  <a:lnTo>
                    <a:pt x="2448" y="984"/>
                  </a:lnTo>
                  <a:lnTo>
                    <a:pt x="2460" y="972"/>
                  </a:lnTo>
                  <a:lnTo>
                    <a:pt x="2460" y="954"/>
                  </a:lnTo>
                  <a:lnTo>
                    <a:pt x="2472" y="942"/>
                  </a:lnTo>
                  <a:lnTo>
                    <a:pt x="2460" y="930"/>
                  </a:lnTo>
                  <a:lnTo>
                    <a:pt x="2454" y="930"/>
                  </a:lnTo>
                  <a:close/>
                  <a:moveTo>
                    <a:pt x="2400" y="930"/>
                  </a:moveTo>
                  <a:lnTo>
                    <a:pt x="2388" y="930"/>
                  </a:lnTo>
                  <a:lnTo>
                    <a:pt x="2376" y="936"/>
                  </a:lnTo>
                  <a:lnTo>
                    <a:pt x="2364" y="948"/>
                  </a:lnTo>
                  <a:lnTo>
                    <a:pt x="2364" y="954"/>
                  </a:lnTo>
                  <a:lnTo>
                    <a:pt x="2370" y="966"/>
                  </a:lnTo>
                  <a:lnTo>
                    <a:pt x="2376" y="972"/>
                  </a:lnTo>
                  <a:lnTo>
                    <a:pt x="2406" y="972"/>
                  </a:lnTo>
                  <a:lnTo>
                    <a:pt x="2412" y="960"/>
                  </a:lnTo>
                  <a:lnTo>
                    <a:pt x="2418" y="954"/>
                  </a:lnTo>
                  <a:lnTo>
                    <a:pt x="2418" y="942"/>
                  </a:lnTo>
                  <a:lnTo>
                    <a:pt x="2406" y="936"/>
                  </a:lnTo>
                  <a:lnTo>
                    <a:pt x="2400" y="930"/>
                  </a:lnTo>
                  <a:close/>
                  <a:moveTo>
                    <a:pt x="2316" y="1188"/>
                  </a:moveTo>
                  <a:lnTo>
                    <a:pt x="2328" y="1188"/>
                  </a:lnTo>
                  <a:lnTo>
                    <a:pt x="2340" y="1152"/>
                  </a:lnTo>
                  <a:lnTo>
                    <a:pt x="2322" y="1158"/>
                  </a:lnTo>
                  <a:lnTo>
                    <a:pt x="2316" y="1188"/>
                  </a:lnTo>
                  <a:close/>
                  <a:moveTo>
                    <a:pt x="2388" y="1074"/>
                  </a:moveTo>
                  <a:lnTo>
                    <a:pt x="2370" y="1086"/>
                  </a:lnTo>
                  <a:lnTo>
                    <a:pt x="2382" y="1098"/>
                  </a:lnTo>
                  <a:lnTo>
                    <a:pt x="2388" y="1098"/>
                  </a:lnTo>
                  <a:lnTo>
                    <a:pt x="2382" y="1104"/>
                  </a:lnTo>
                  <a:lnTo>
                    <a:pt x="2376" y="1104"/>
                  </a:lnTo>
                  <a:lnTo>
                    <a:pt x="2364" y="1116"/>
                  </a:lnTo>
                  <a:lnTo>
                    <a:pt x="2358" y="1116"/>
                  </a:lnTo>
                  <a:lnTo>
                    <a:pt x="2352" y="1122"/>
                  </a:lnTo>
                  <a:lnTo>
                    <a:pt x="2352" y="1152"/>
                  </a:lnTo>
                  <a:lnTo>
                    <a:pt x="2358" y="1164"/>
                  </a:lnTo>
                  <a:lnTo>
                    <a:pt x="2358" y="1188"/>
                  </a:lnTo>
                  <a:lnTo>
                    <a:pt x="2370" y="1182"/>
                  </a:lnTo>
                  <a:lnTo>
                    <a:pt x="2376" y="1170"/>
                  </a:lnTo>
                  <a:lnTo>
                    <a:pt x="2388" y="1164"/>
                  </a:lnTo>
                  <a:lnTo>
                    <a:pt x="2394" y="1158"/>
                  </a:lnTo>
                  <a:lnTo>
                    <a:pt x="2394" y="1146"/>
                  </a:lnTo>
                  <a:lnTo>
                    <a:pt x="2382" y="1134"/>
                  </a:lnTo>
                  <a:lnTo>
                    <a:pt x="2394" y="1134"/>
                  </a:lnTo>
                  <a:lnTo>
                    <a:pt x="2412" y="1116"/>
                  </a:lnTo>
                  <a:lnTo>
                    <a:pt x="2412" y="1098"/>
                  </a:lnTo>
                  <a:lnTo>
                    <a:pt x="2388" y="1074"/>
                  </a:lnTo>
                  <a:close/>
                  <a:moveTo>
                    <a:pt x="2562" y="1080"/>
                  </a:moveTo>
                  <a:lnTo>
                    <a:pt x="2550" y="1080"/>
                  </a:lnTo>
                  <a:lnTo>
                    <a:pt x="2550" y="1074"/>
                  </a:lnTo>
                  <a:lnTo>
                    <a:pt x="2544" y="1068"/>
                  </a:lnTo>
                  <a:lnTo>
                    <a:pt x="2538" y="1068"/>
                  </a:lnTo>
                  <a:lnTo>
                    <a:pt x="2532" y="1062"/>
                  </a:lnTo>
                  <a:lnTo>
                    <a:pt x="2520" y="1056"/>
                  </a:lnTo>
                  <a:lnTo>
                    <a:pt x="2514" y="1050"/>
                  </a:lnTo>
                  <a:lnTo>
                    <a:pt x="2514" y="1044"/>
                  </a:lnTo>
                  <a:lnTo>
                    <a:pt x="2520" y="1032"/>
                  </a:lnTo>
                  <a:lnTo>
                    <a:pt x="2520" y="1020"/>
                  </a:lnTo>
                  <a:lnTo>
                    <a:pt x="2526" y="1008"/>
                  </a:lnTo>
                  <a:lnTo>
                    <a:pt x="2532" y="1002"/>
                  </a:lnTo>
                  <a:lnTo>
                    <a:pt x="2532" y="960"/>
                  </a:lnTo>
                  <a:lnTo>
                    <a:pt x="2550" y="924"/>
                  </a:lnTo>
                  <a:lnTo>
                    <a:pt x="2550" y="906"/>
                  </a:lnTo>
                  <a:lnTo>
                    <a:pt x="2544" y="894"/>
                  </a:lnTo>
                  <a:lnTo>
                    <a:pt x="2526" y="876"/>
                  </a:lnTo>
                  <a:lnTo>
                    <a:pt x="2538" y="864"/>
                  </a:lnTo>
                  <a:lnTo>
                    <a:pt x="2538" y="834"/>
                  </a:lnTo>
                  <a:lnTo>
                    <a:pt x="2544" y="828"/>
                  </a:lnTo>
                  <a:lnTo>
                    <a:pt x="2550" y="828"/>
                  </a:lnTo>
                  <a:lnTo>
                    <a:pt x="2556" y="822"/>
                  </a:lnTo>
                  <a:lnTo>
                    <a:pt x="2550" y="816"/>
                  </a:lnTo>
                  <a:lnTo>
                    <a:pt x="2532" y="810"/>
                  </a:lnTo>
                  <a:lnTo>
                    <a:pt x="2520" y="810"/>
                  </a:lnTo>
                  <a:lnTo>
                    <a:pt x="2502" y="816"/>
                  </a:lnTo>
                  <a:lnTo>
                    <a:pt x="2490" y="816"/>
                  </a:lnTo>
                  <a:lnTo>
                    <a:pt x="2484" y="822"/>
                  </a:lnTo>
                  <a:lnTo>
                    <a:pt x="2478" y="822"/>
                  </a:lnTo>
                  <a:lnTo>
                    <a:pt x="2478" y="834"/>
                  </a:lnTo>
                  <a:lnTo>
                    <a:pt x="2460" y="834"/>
                  </a:lnTo>
                  <a:lnTo>
                    <a:pt x="2454" y="840"/>
                  </a:lnTo>
                  <a:lnTo>
                    <a:pt x="2442" y="846"/>
                  </a:lnTo>
                  <a:lnTo>
                    <a:pt x="2430" y="846"/>
                  </a:lnTo>
                  <a:lnTo>
                    <a:pt x="2418" y="852"/>
                  </a:lnTo>
                  <a:lnTo>
                    <a:pt x="2406" y="852"/>
                  </a:lnTo>
                  <a:lnTo>
                    <a:pt x="2400" y="858"/>
                  </a:lnTo>
                  <a:lnTo>
                    <a:pt x="2394" y="858"/>
                  </a:lnTo>
                  <a:lnTo>
                    <a:pt x="2388" y="864"/>
                  </a:lnTo>
                  <a:lnTo>
                    <a:pt x="2376" y="870"/>
                  </a:lnTo>
                  <a:lnTo>
                    <a:pt x="2370" y="876"/>
                  </a:lnTo>
                  <a:lnTo>
                    <a:pt x="2364" y="876"/>
                  </a:lnTo>
                  <a:lnTo>
                    <a:pt x="2364" y="864"/>
                  </a:lnTo>
                  <a:lnTo>
                    <a:pt x="2382" y="846"/>
                  </a:lnTo>
                  <a:lnTo>
                    <a:pt x="2376" y="840"/>
                  </a:lnTo>
                  <a:lnTo>
                    <a:pt x="2364" y="834"/>
                  </a:lnTo>
                  <a:lnTo>
                    <a:pt x="2358" y="828"/>
                  </a:lnTo>
                  <a:lnTo>
                    <a:pt x="2358" y="810"/>
                  </a:lnTo>
                  <a:lnTo>
                    <a:pt x="2352" y="798"/>
                  </a:lnTo>
                  <a:lnTo>
                    <a:pt x="2352" y="792"/>
                  </a:lnTo>
                  <a:lnTo>
                    <a:pt x="2376" y="768"/>
                  </a:lnTo>
                  <a:lnTo>
                    <a:pt x="2340" y="768"/>
                  </a:lnTo>
                  <a:lnTo>
                    <a:pt x="2328" y="780"/>
                  </a:lnTo>
                  <a:lnTo>
                    <a:pt x="2274" y="780"/>
                  </a:lnTo>
                  <a:lnTo>
                    <a:pt x="2274" y="768"/>
                  </a:lnTo>
                  <a:lnTo>
                    <a:pt x="2280" y="756"/>
                  </a:lnTo>
                  <a:lnTo>
                    <a:pt x="2292" y="750"/>
                  </a:lnTo>
                  <a:lnTo>
                    <a:pt x="2298" y="744"/>
                  </a:lnTo>
                  <a:lnTo>
                    <a:pt x="3072" y="108"/>
                  </a:lnTo>
                  <a:lnTo>
                    <a:pt x="3054" y="108"/>
                  </a:lnTo>
                  <a:lnTo>
                    <a:pt x="3054" y="102"/>
                  </a:lnTo>
                  <a:lnTo>
                    <a:pt x="3048" y="90"/>
                  </a:lnTo>
                  <a:lnTo>
                    <a:pt x="3036" y="84"/>
                  </a:lnTo>
                  <a:lnTo>
                    <a:pt x="3030" y="78"/>
                  </a:lnTo>
                  <a:lnTo>
                    <a:pt x="3012" y="78"/>
                  </a:lnTo>
                  <a:lnTo>
                    <a:pt x="2988" y="84"/>
                  </a:lnTo>
                  <a:lnTo>
                    <a:pt x="2964" y="84"/>
                  </a:lnTo>
                  <a:lnTo>
                    <a:pt x="2928" y="96"/>
                  </a:lnTo>
                  <a:lnTo>
                    <a:pt x="2916" y="96"/>
                  </a:lnTo>
                  <a:lnTo>
                    <a:pt x="2892" y="84"/>
                  </a:lnTo>
                  <a:lnTo>
                    <a:pt x="2886" y="78"/>
                  </a:lnTo>
                  <a:lnTo>
                    <a:pt x="2874" y="72"/>
                  </a:lnTo>
                  <a:lnTo>
                    <a:pt x="2784" y="72"/>
                  </a:lnTo>
                  <a:lnTo>
                    <a:pt x="2772" y="66"/>
                  </a:lnTo>
                  <a:lnTo>
                    <a:pt x="2766" y="60"/>
                  </a:lnTo>
                  <a:lnTo>
                    <a:pt x="2748" y="60"/>
                  </a:lnTo>
                  <a:lnTo>
                    <a:pt x="2736" y="54"/>
                  </a:lnTo>
                  <a:lnTo>
                    <a:pt x="2598" y="54"/>
                  </a:lnTo>
                  <a:lnTo>
                    <a:pt x="2598" y="42"/>
                  </a:lnTo>
                  <a:lnTo>
                    <a:pt x="2604" y="36"/>
                  </a:lnTo>
                  <a:lnTo>
                    <a:pt x="2592" y="36"/>
                  </a:lnTo>
                  <a:lnTo>
                    <a:pt x="2574" y="30"/>
                  </a:lnTo>
                  <a:lnTo>
                    <a:pt x="2562" y="30"/>
                  </a:lnTo>
                  <a:lnTo>
                    <a:pt x="2550" y="24"/>
                  </a:lnTo>
                  <a:lnTo>
                    <a:pt x="2532" y="24"/>
                  </a:lnTo>
                  <a:lnTo>
                    <a:pt x="2520" y="30"/>
                  </a:lnTo>
                  <a:lnTo>
                    <a:pt x="2496" y="30"/>
                  </a:lnTo>
                  <a:lnTo>
                    <a:pt x="2490" y="36"/>
                  </a:lnTo>
                  <a:lnTo>
                    <a:pt x="2484" y="36"/>
                  </a:lnTo>
                  <a:lnTo>
                    <a:pt x="2514" y="0"/>
                  </a:lnTo>
                  <a:lnTo>
                    <a:pt x="2430" y="36"/>
                  </a:lnTo>
                  <a:lnTo>
                    <a:pt x="2460" y="0"/>
                  </a:lnTo>
                  <a:lnTo>
                    <a:pt x="2430" y="0"/>
                  </a:lnTo>
                  <a:lnTo>
                    <a:pt x="2418" y="6"/>
                  </a:lnTo>
                  <a:lnTo>
                    <a:pt x="2412" y="12"/>
                  </a:lnTo>
                  <a:lnTo>
                    <a:pt x="2358" y="30"/>
                  </a:lnTo>
                  <a:lnTo>
                    <a:pt x="2232" y="30"/>
                  </a:lnTo>
                  <a:lnTo>
                    <a:pt x="2214" y="36"/>
                  </a:lnTo>
                  <a:lnTo>
                    <a:pt x="2208" y="42"/>
                  </a:lnTo>
                  <a:lnTo>
                    <a:pt x="2184" y="54"/>
                  </a:lnTo>
                  <a:lnTo>
                    <a:pt x="2172" y="54"/>
                  </a:lnTo>
                  <a:lnTo>
                    <a:pt x="2166" y="60"/>
                  </a:lnTo>
                  <a:lnTo>
                    <a:pt x="2046" y="60"/>
                  </a:lnTo>
                  <a:lnTo>
                    <a:pt x="2004" y="72"/>
                  </a:lnTo>
                  <a:lnTo>
                    <a:pt x="1956" y="102"/>
                  </a:lnTo>
                  <a:lnTo>
                    <a:pt x="1902" y="132"/>
                  </a:lnTo>
                  <a:lnTo>
                    <a:pt x="1854" y="144"/>
                  </a:lnTo>
                  <a:lnTo>
                    <a:pt x="1758" y="156"/>
                  </a:lnTo>
                  <a:lnTo>
                    <a:pt x="1722" y="162"/>
                  </a:lnTo>
                  <a:lnTo>
                    <a:pt x="1704" y="162"/>
                  </a:lnTo>
                  <a:lnTo>
                    <a:pt x="1698" y="168"/>
                  </a:lnTo>
                  <a:lnTo>
                    <a:pt x="1644" y="186"/>
                  </a:lnTo>
                  <a:lnTo>
                    <a:pt x="1632" y="192"/>
                  </a:lnTo>
                  <a:lnTo>
                    <a:pt x="1620" y="192"/>
                  </a:lnTo>
                  <a:lnTo>
                    <a:pt x="1620" y="198"/>
                  </a:lnTo>
                  <a:lnTo>
                    <a:pt x="1626" y="204"/>
                  </a:lnTo>
                  <a:lnTo>
                    <a:pt x="1638" y="210"/>
                  </a:lnTo>
                  <a:lnTo>
                    <a:pt x="1650" y="222"/>
                  </a:lnTo>
                  <a:lnTo>
                    <a:pt x="1656" y="222"/>
                  </a:lnTo>
                  <a:lnTo>
                    <a:pt x="1662" y="234"/>
                  </a:lnTo>
                  <a:lnTo>
                    <a:pt x="1662" y="240"/>
                  </a:lnTo>
                  <a:lnTo>
                    <a:pt x="1668" y="252"/>
                  </a:lnTo>
                  <a:lnTo>
                    <a:pt x="1668" y="264"/>
                  </a:lnTo>
                  <a:lnTo>
                    <a:pt x="1662" y="264"/>
                  </a:lnTo>
                  <a:lnTo>
                    <a:pt x="1650" y="270"/>
                  </a:lnTo>
                  <a:lnTo>
                    <a:pt x="1644" y="282"/>
                  </a:lnTo>
                  <a:lnTo>
                    <a:pt x="1734" y="282"/>
                  </a:lnTo>
                  <a:lnTo>
                    <a:pt x="1704" y="318"/>
                  </a:lnTo>
                  <a:lnTo>
                    <a:pt x="1770" y="318"/>
                  </a:lnTo>
                  <a:lnTo>
                    <a:pt x="1764" y="336"/>
                  </a:lnTo>
                  <a:lnTo>
                    <a:pt x="1710" y="336"/>
                  </a:lnTo>
                  <a:lnTo>
                    <a:pt x="1698" y="348"/>
                  </a:lnTo>
                  <a:lnTo>
                    <a:pt x="1632" y="348"/>
                  </a:lnTo>
                  <a:lnTo>
                    <a:pt x="1614" y="354"/>
                  </a:lnTo>
                  <a:lnTo>
                    <a:pt x="1560" y="354"/>
                  </a:lnTo>
                  <a:lnTo>
                    <a:pt x="1554" y="348"/>
                  </a:lnTo>
                  <a:lnTo>
                    <a:pt x="1548" y="348"/>
                  </a:lnTo>
                  <a:lnTo>
                    <a:pt x="1554" y="342"/>
                  </a:lnTo>
                  <a:lnTo>
                    <a:pt x="1560" y="342"/>
                  </a:lnTo>
                  <a:lnTo>
                    <a:pt x="1572" y="330"/>
                  </a:lnTo>
                  <a:lnTo>
                    <a:pt x="1566" y="324"/>
                  </a:lnTo>
                  <a:lnTo>
                    <a:pt x="1458" y="324"/>
                  </a:lnTo>
                  <a:lnTo>
                    <a:pt x="1452" y="330"/>
                  </a:lnTo>
                  <a:lnTo>
                    <a:pt x="1452" y="348"/>
                  </a:lnTo>
                  <a:lnTo>
                    <a:pt x="1434" y="348"/>
                  </a:lnTo>
                  <a:lnTo>
                    <a:pt x="1422" y="354"/>
                  </a:lnTo>
                  <a:lnTo>
                    <a:pt x="1404" y="354"/>
                  </a:lnTo>
                  <a:lnTo>
                    <a:pt x="1386" y="360"/>
                  </a:lnTo>
                  <a:lnTo>
                    <a:pt x="1338" y="360"/>
                  </a:lnTo>
                  <a:lnTo>
                    <a:pt x="1308" y="366"/>
                  </a:lnTo>
                  <a:lnTo>
                    <a:pt x="1254" y="384"/>
                  </a:lnTo>
                  <a:lnTo>
                    <a:pt x="1254" y="390"/>
                  </a:lnTo>
                  <a:lnTo>
                    <a:pt x="1272" y="396"/>
                  </a:lnTo>
                  <a:lnTo>
                    <a:pt x="1284" y="402"/>
                  </a:lnTo>
                  <a:lnTo>
                    <a:pt x="1314" y="402"/>
                  </a:lnTo>
                  <a:lnTo>
                    <a:pt x="1272" y="420"/>
                  </a:lnTo>
                  <a:lnTo>
                    <a:pt x="1260" y="462"/>
                  </a:lnTo>
                  <a:lnTo>
                    <a:pt x="1272" y="462"/>
                  </a:lnTo>
                  <a:lnTo>
                    <a:pt x="1290" y="468"/>
                  </a:lnTo>
                  <a:lnTo>
                    <a:pt x="1338" y="468"/>
                  </a:lnTo>
                  <a:lnTo>
                    <a:pt x="1350" y="462"/>
                  </a:lnTo>
                  <a:lnTo>
                    <a:pt x="1362" y="462"/>
                  </a:lnTo>
                  <a:lnTo>
                    <a:pt x="1410" y="474"/>
                  </a:lnTo>
                  <a:lnTo>
                    <a:pt x="1422" y="456"/>
                  </a:lnTo>
                  <a:lnTo>
                    <a:pt x="1434" y="474"/>
                  </a:lnTo>
                  <a:lnTo>
                    <a:pt x="1446" y="468"/>
                  </a:lnTo>
                  <a:lnTo>
                    <a:pt x="1452" y="462"/>
                  </a:lnTo>
                  <a:lnTo>
                    <a:pt x="1476" y="450"/>
                  </a:lnTo>
                  <a:lnTo>
                    <a:pt x="1482" y="444"/>
                  </a:lnTo>
                  <a:lnTo>
                    <a:pt x="1494" y="444"/>
                  </a:lnTo>
                  <a:lnTo>
                    <a:pt x="1506" y="450"/>
                  </a:lnTo>
                  <a:lnTo>
                    <a:pt x="1524" y="450"/>
                  </a:lnTo>
                  <a:lnTo>
                    <a:pt x="1536" y="444"/>
                  </a:lnTo>
                  <a:lnTo>
                    <a:pt x="1542" y="438"/>
                  </a:lnTo>
                  <a:lnTo>
                    <a:pt x="1554" y="432"/>
                  </a:lnTo>
                  <a:lnTo>
                    <a:pt x="1560" y="432"/>
                  </a:lnTo>
                  <a:lnTo>
                    <a:pt x="1566" y="426"/>
                  </a:lnTo>
                  <a:lnTo>
                    <a:pt x="1566" y="450"/>
                  </a:lnTo>
                  <a:lnTo>
                    <a:pt x="1560" y="462"/>
                  </a:lnTo>
                  <a:lnTo>
                    <a:pt x="1554" y="468"/>
                  </a:lnTo>
                  <a:lnTo>
                    <a:pt x="1500" y="468"/>
                  </a:lnTo>
                  <a:lnTo>
                    <a:pt x="1506" y="498"/>
                  </a:lnTo>
                  <a:lnTo>
                    <a:pt x="1494" y="504"/>
                  </a:lnTo>
                  <a:lnTo>
                    <a:pt x="1488" y="516"/>
                  </a:lnTo>
                  <a:lnTo>
                    <a:pt x="1476" y="522"/>
                  </a:lnTo>
                  <a:lnTo>
                    <a:pt x="1464" y="534"/>
                  </a:lnTo>
                  <a:lnTo>
                    <a:pt x="1446" y="540"/>
                  </a:lnTo>
                  <a:lnTo>
                    <a:pt x="1380" y="540"/>
                  </a:lnTo>
                  <a:lnTo>
                    <a:pt x="1362" y="522"/>
                  </a:lnTo>
                  <a:lnTo>
                    <a:pt x="1344" y="534"/>
                  </a:lnTo>
                  <a:lnTo>
                    <a:pt x="1344" y="546"/>
                  </a:lnTo>
                  <a:lnTo>
                    <a:pt x="1338" y="546"/>
                  </a:lnTo>
                  <a:lnTo>
                    <a:pt x="1332" y="552"/>
                  </a:lnTo>
                  <a:lnTo>
                    <a:pt x="1320" y="558"/>
                  </a:lnTo>
                  <a:lnTo>
                    <a:pt x="1302" y="564"/>
                  </a:lnTo>
                  <a:lnTo>
                    <a:pt x="1290" y="570"/>
                  </a:lnTo>
                  <a:lnTo>
                    <a:pt x="1266" y="570"/>
                  </a:lnTo>
                  <a:lnTo>
                    <a:pt x="1242" y="558"/>
                  </a:lnTo>
                  <a:lnTo>
                    <a:pt x="1236" y="558"/>
                  </a:lnTo>
                  <a:lnTo>
                    <a:pt x="1140" y="606"/>
                  </a:lnTo>
                  <a:lnTo>
                    <a:pt x="1122" y="624"/>
                  </a:lnTo>
                  <a:lnTo>
                    <a:pt x="1116" y="606"/>
                  </a:lnTo>
                  <a:lnTo>
                    <a:pt x="1080" y="624"/>
                  </a:lnTo>
                  <a:lnTo>
                    <a:pt x="1068" y="624"/>
                  </a:lnTo>
                  <a:lnTo>
                    <a:pt x="1044" y="636"/>
                  </a:lnTo>
                  <a:lnTo>
                    <a:pt x="1020" y="660"/>
                  </a:lnTo>
                  <a:lnTo>
                    <a:pt x="990" y="648"/>
                  </a:lnTo>
                  <a:lnTo>
                    <a:pt x="990" y="672"/>
                  </a:lnTo>
                  <a:lnTo>
                    <a:pt x="984" y="666"/>
                  </a:lnTo>
                  <a:lnTo>
                    <a:pt x="972" y="666"/>
                  </a:lnTo>
                  <a:lnTo>
                    <a:pt x="966" y="672"/>
                  </a:lnTo>
                  <a:lnTo>
                    <a:pt x="966" y="690"/>
                  </a:lnTo>
                  <a:lnTo>
                    <a:pt x="954" y="708"/>
                  </a:lnTo>
                  <a:lnTo>
                    <a:pt x="1014" y="684"/>
                  </a:lnTo>
                  <a:lnTo>
                    <a:pt x="990" y="702"/>
                  </a:lnTo>
                  <a:lnTo>
                    <a:pt x="990" y="714"/>
                  </a:lnTo>
                  <a:lnTo>
                    <a:pt x="972" y="726"/>
                  </a:lnTo>
                  <a:lnTo>
                    <a:pt x="1026" y="726"/>
                  </a:lnTo>
                  <a:lnTo>
                    <a:pt x="1032" y="732"/>
                  </a:lnTo>
                  <a:lnTo>
                    <a:pt x="1032" y="738"/>
                  </a:lnTo>
                  <a:lnTo>
                    <a:pt x="1020" y="744"/>
                  </a:lnTo>
                  <a:lnTo>
                    <a:pt x="984" y="744"/>
                  </a:lnTo>
                  <a:lnTo>
                    <a:pt x="960" y="750"/>
                  </a:lnTo>
                  <a:lnTo>
                    <a:pt x="972" y="738"/>
                  </a:lnTo>
                  <a:lnTo>
                    <a:pt x="960" y="732"/>
                  </a:lnTo>
                  <a:lnTo>
                    <a:pt x="954" y="732"/>
                  </a:lnTo>
                  <a:lnTo>
                    <a:pt x="948" y="738"/>
                  </a:lnTo>
                  <a:lnTo>
                    <a:pt x="936" y="744"/>
                  </a:lnTo>
                  <a:lnTo>
                    <a:pt x="930" y="750"/>
                  </a:lnTo>
                  <a:lnTo>
                    <a:pt x="924" y="750"/>
                  </a:lnTo>
                  <a:lnTo>
                    <a:pt x="918" y="756"/>
                  </a:lnTo>
                  <a:lnTo>
                    <a:pt x="924" y="756"/>
                  </a:lnTo>
                  <a:lnTo>
                    <a:pt x="930" y="762"/>
                  </a:lnTo>
                  <a:lnTo>
                    <a:pt x="930" y="768"/>
                  </a:lnTo>
                  <a:lnTo>
                    <a:pt x="924" y="774"/>
                  </a:lnTo>
                  <a:lnTo>
                    <a:pt x="924" y="780"/>
                  </a:lnTo>
                  <a:lnTo>
                    <a:pt x="918" y="792"/>
                  </a:lnTo>
                  <a:lnTo>
                    <a:pt x="918" y="804"/>
                  </a:lnTo>
                  <a:lnTo>
                    <a:pt x="990" y="804"/>
                  </a:lnTo>
                  <a:lnTo>
                    <a:pt x="1038" y="774"/>
                  </a:lnTo>
                  <a:lnTo>
                    <a:pt x="1104" y="750"/>
                  </a:lnTo>
                  <a:lnTo>
                    <a:pt x="1098" y="750"/>
                  </a:lnTo>
                  <a:lnTo>
                    <a:pt x="1092" y="756"/>
                  </a:lnTo>
                  <a:lnTo>
                    <a:pt x="1080" y="762"/>
                  </a:lnTo>
                  <a:lnTo>
                    <a:pt x="1062" y="768"/>
                  </a:lnTo>
                  <a:lnTo>
                    <a:pt x="1050" y="780"/>
                  </a:lnTo>
                  <a:lnTo>
                    <a:pt x="1038" y="786"/>
                  </a:lnTo>
                  <a:lnTo>
                    <a:pt x="1026" y="798"/>
                  </a:lnTo>
                  <a:lnTo>
                    <a:pt x="1026" y="816"/>
                  </a:lnTo>
                  <a:lnTo>
                    <a:pt x="1020" y="828"/>
                  </a:lnTo>
                  <a:lnTo>
                    <a:pt x="990" y="828"/>
                  </a:lnTo>
                  <a:lnTo>
                    <a:pt x="978" y="834"/>
                  </a:lnTo>
                  <a:lnTo>
                    <a:pt x="972" y="852"/>
                  </a:lnTo>
                  <a:lnTo>
                    <a:pt x="966" y="864"/>
                  </a:lnTo>
                  <a:lnTo>
                    <a:pt x="954" y="870"/>
                  </a:lnTo>
                  <a:lnTo>
                    <a:pt x="942" y="882"/>
                  </a:lnTo>
                  <a:lnTo>
                    <a:pt x="930" y="888"/>
                  </a:lnTo>
                  <a:lnTo>
                    <a:pt x="924" y="894"/>
                  </a:lnTo>
                  <a:lnTo>
                    <a:pt x="978" y="888"/>
                  </a:lnTo>
                  <a:lnTo>
                    <a:pt x="972" y="906"/>
                  </a:lnTo>
                  <a:lnTo>
                    <a:pt x="978" y="894"/>
                  </a:lnTo>
                  <a:lnTo>
                    <a:pt x="990" y="888"/>
                  </a:lnTo>
                  <a:lnTo>
                    <a:pt x="1002" y="876"/>
                  </a:lnTo>
                  <a:lnTo>
                    <a:pt x="1026" y="864"/>
                  </a:lnTo>
                  <a:lnTo>
                    <a:pt x="1038" y="864"/>
                  </a:lnTo>
                  <a:lnTo>
                    <a:pt x="1050" y="870"/>
                  </a:lnTo>
                  <a:lnTo>
                    <a:pt x="1056" y="870"/>
                  </a:lnTo>
                  <a:lnTo>
                    <a:pt x="1056" y="876"/>
                  </a:lnTo>
                  <a:lnTo>
                    <a:pt x="1050" y="876"/>
                  </a:lnTo>
                  <a:lnTo>
                    <a:pt x="1074" y="870"/>
                  </a:lnTo>
                  <a:lnTo>
                    <a:pt x="1068" y="876"/>
                  </a:lnTo>
                  <a:lnTo>
                    <a:pt x="1068" y="906"/>
                  </a:lnTo>
                  <a:lnTo>
                    <a:pt x="1074" y="912"/>
                  </a:lnTo>
                  <a:lnTo>
                    <a:pt x="1092" y="912"/>
                  </a:lnTo>
                  <a:lnTo>
                    <a:pt x="1098" y="900"/>
                  </a:lnTo>
                  <a:lnTo>
                    <a:pt x="1110" y="894"/>
                  </a:lnTo>
                  <a:lnTo>
                    <a:pt x="1116" y="888"/>
                  </a:lnTo>
                  <a:lnTo>
                    <a:pt x="1122" y="876"/>
                  </a:lnTo>
                  <a:lnTo>
                    <a:pt x="1164" y="858"/>
                  </a:lnTo>
                  <a:lnTo>
                    <a:pt x="1176" y="870"/>
                  </a:lnTo>
                  <a:lnTo>
                    <a:pt x="1146" y="870"/>
                  </a:lnTo>
                  <a:lnTo>
                    <a:pt x="1140" y="876"/>
                  </a:lnTo>
                  <a:lnTo>
                    <a:pt x="1140" y="882"/>
                  </a:lnTo>
                  <a:lnTo>
                    <a:pt x="1134" y="888"/>
                  </a:lnTo>
                  <a:lnTo>
                    <a:pt x="1134" y="894"/>
                  </a:lnTo>
                  <a:lnTo>
                    <a:pt x="1152" y="894"/>
                  </a:lnTo>
                  <a:lnTo>
                    <a:pt x="1164" y="888"/>
                  </a:lnTo>
                  <a:lnTo>
                    <a:pt x="1182" y="888"/>
                  </a:lnTo>
                  <a:lnTo>
                    <a:pt x="1200" y="882"/>
                  </a:lnTo>
                  <a:lnTo>
                    <a:pt x="1218" y="882"/>
                  </a:lnTo>
                  <a:lnTo>
                    <a:pt x="1224" y="876"/>
                  </a:lnTo>
                  <a:lnTo>
                    <a:pt x="1230" y="876"/>
                  </a:lnTo>
                  <a:lnTo>
                    <a:pt x="1272" y="858"/>
                  </a:lnTo>
                  <a:lnTo>
                    <a:pt x="1224" y="882"/>
                  </a:lnTo>
                  <a:lnTo>
                    <a:pt x="1224" y="894"/>
                  </a:lnTo>
                  <a:lnTo>
                    <a:pt x="1212" y="894"/>
                  </a:lnTo>
                  <a:lnTo>
                    <a:pt x="1200" y="900"/>
                  </a:lnTo>
                  <a:lnTo>
                    <a:pt x="1188" y="900"/>
                  </a:lnTo>
                  <a:lnTo>
                    <a:pt x="1176" y="906"/>
                  </a:lnTo>
                  <a:lnTo>
                    <a:pt x="1170" y="912"/>
                  </a:lnTo>
                  <a:lnTo>
                    <a:pt x="1158" y="918"/>
                  </a:lnTo>
                  <a:lnTo>
                    <a:pt x="1152" y="930"/>
                  </a:lnTo>
                  <a:lnTo>
                    <a:pt x="1122" y="930"/>
                  </a:lnTo>
                  <a:lnTo>
                    <a:pt x="1086" y="960"/>
                  </a:lnTo>
                  <a:lnTo>
                    <a:pt x="1086" y="978"/>
                  </a:lnTo>
                  <a:lnTo>
                    <a:pt x="1038" y="978"/>
                  </a:lnTo>
                  <a:lnTo>
                    <a:pt x="1032" y="984"/>
                  </a:lnTo>
                  <a:lnTo>
                    <a:pt x="1020" y="984"/>
                  </a:lnTo>
                  <a:lnTo>
                    <a:pt x="1002" y="990"/>
                  </a:lnTo>
                  <a:lnTo>
                    <a:pt x="990" y="996"/>
                  </a:lnTo>
                  <a:lnTo>
                    <a:pt x="978" y="996"/>
                  </a:lnTo>
                  <a:lnTo>
                    <a:pt x="966" y="1008"/>
                  </a:lnTo>
                  <a:lnTo>
                    <a:pt x="966" y="1020"/>
                  </a:lnTo>
                  <a:lnTo>
                    <a:pt x="960" y="1026"/>
                  </a:lnTo>
                  <a:lnTo>
                    <a:pt x="960" y="1038"/>
                  </a:lnTo>
                  <a:lnTo>
                    <a:pt x="876" y="1038"/>
                  </a:lnTo>
                  <a:lnTo>
                    <a:pt x="858" y="1044"/>
                  </a:lnTo>
                  <a:lnTo>
                    <a:pt x="828" y="1062"/>
                  </a:lnTo>
                  <a:lnTo>
                    <a:pt x="804" y="1080"/>
                  </a:lnTo>
                  <a:lnTo>
                    <a:pt x="780" y="1092"/>
                  </a:lnTo>
                  <a:lnTo>
                    <a:pt x="774" y="1098"/>
                  </a:lnTo>
                  <a:lnTo>
                    <a:pt x="750" y="1104"/>
                  </a:lnTo>
                  <a:lnTo>
                    <a:pt x="738" y="1122"/>
                  </a:lnTo>
                  <a:lnTo>
                    <a:pt x="732" y="1104"/>
                  </a:lnTo>
                  <a:lnTo>
                    <a:pt x="672" y="1104"/>
                  </a:lnTo>
                  <a:lnTo>
                    <a:pt x="648" y="1116"/>
                  </a:lnTo>
                  <a:lnTo>
                    <a:pt x="630" y="1122"/>
                  </a:lnTo>
                  <a:lnTo>
                    <a:pt x="624" y="1128"/>
                  </a:lnTo>
                  <a:lnTo>
                    <a:pt x="606" y="1128"/>
                  </a:lnTo>
                  <a:lnTo>
                    <a:pt x="606" y="1140"/>
                  </a:lnTo>
                  <a:lnTo>
                    <a:pt x="576" y="1146"/>
                  </a:lnTo>
                  <a:lnTo>
                    <a:pt x="564" y="1152"/>
                  </a:lnTo>
                  <a:lnTo>
                    <a:pt x="540" y="1152"/>
                  </a:lnTo>
                  <a:lnTo>
                    <a:pt x="516" y="1170"/>
                  </a:lnTo>
                  <a:lnTo>
                    <a:pt x="522" y="1182"/>
                  </a:lnTo>
                  <a:lnTo>
                    <a:pt x="540" y="1164"/>
                  </a:lnTo>
                  <a:lnTo>
                    <a:pt x="558" y="1176"/>
                  </a:lnTo>
                  <a:lnTo>
                    <a:pt x="582" y="1158"/>
                  </a:lnTo>
                  <a:lnTo>
                    <a:pt x="582" y="1170"/>
                  </a:lnTo>
                  <a:lnTo>
                    <a:pt x="594" y="1170"/>
                  </a:lnTo>
                  <a:lnTo>
                    <a:pt x="606" y="1164"/>
                  </a:lnTo>
                  <a:lnTo>
                    <a:pt x="618" y="1164"/>
                  </a:lnTo>
                  <a:lnTo>
                    <a:pt x="642" y="1140"/>
                  </a:lnTo>
                  <a:lnTo>
                    <a:pt x="654" y="1134"/>
                  </a:lnTo>
                  <a:lnTo>
                    <a:pt x="666" y="1122"/>
                  </a:lnTo>
                  <a:lnTo>
                    <a:pt x="684" y="1122"/>
                  </a:lnTo>
                  <a:lnTo>
                    <a:pt x="684" y="1134"/>
                  </a:lnTo>
                  <a:lnTo>
                    <a:pt x="690" y="1140"/>
                  </a:lnTo>
                  <a:lnTo>
                    <a:pt x="708" y="1140"/>
                  </a:lnTo>
                  <a:lnTo>
                    <a:pt x="732" y="1128"/>
                  </a:lnTo>
                  <a:lnTo>
                    <a:pt x="744" y="1128"/>
                  </a:lnTo>
                  <a:lnTo>
                    <a:pt x="756" y="1122"/>
                  </a:lnTo>
                  <a:lnTo>
                    <a:pt x="762" y="1116"/>
                  </a:lnTo>
                  <a:lnTo>
                    <a:pt x="768" y="1116"/>
                  </a:lnTo>
                  <a:lnTo>
                    <a:pt x="804" y="1128"/>
                  </a:lnTo>
                  <a:lnTo>
                    <a:pt x="822" y="1110"/>
                  </a:lnTo>
                  <a:lnTo>
                    <a:pt x="834" y="1110"/>
                  </a:lnTo>
                  <a:lnTo>
                    <a:pt x="852" y="1104"/>
                  </a:lnTo>
                  <a:lnTo>
                    <a:pt x="870" y="1104"/>
                  </a:lnTo>
                  <a:lnTo>
                    <a:pt x="894" y="1092"/>
                  </a:lnTo>
                  <a:lnTo>
                    <a:pt x="918" y="1068"/>
                  </a:lnTo>
                  <a:lnTo>
                    <a:pt x="942" y="1056"/>
                  </a:lnTo>
                  <a:lnTo>
                    <a:pt x="972" y="1056"/>
                  </a:lnTo>
                  <a:lnTo>
                    <a:pt x="978" y="1044"/>
                  </a:lnTo>
                  <a:lnTo>
                    <a:pt x="1014" y="1044"/>
                  </a:lnTo>
                  <a:lnTo>
                    <a:pt x="1026" y="1038"/>
                  </a:lnTo>
                  <a:lnTo>
                    <a:pt x="1032" y="1038"/>
                  </a:lnTo>
                  <a:lnTo>
                    <a:pt x="1038" y="1032"/>
                  </a:lnTo>
                  <a:lnTo>
                    <a:pt x="1050" y="1032"/>
                  </a:lnTo>
                  <a:lnTo>
                    <a:pt x="1086" y="1020"/>
                  </a:lnTo>
                  <a:lnTo>
                    <a:pt x="1110" y="1008"/>
                  </a:lnTo>
                  <a:lnTo>
                    <a:pt x="1122" y="996"/>
                  </a:lnTo>
                  <a:lnTo>
                    <a:pt x="1134" y="990"/>
                  </a:lnTo>
                  <a:lnTo>
                    <a:pt x="1140" y="984"/>
                  </a:lnTo>
                  <a:lnTo>
                    <a:pt x="1206" y="972"/>
                  </a:lnTo>
                  <a:lnTo>
                    <a:pt x="1260" y="942"/>
                  </a:lnTo>
                  <a:lnTo>
                    <a:pt x="1296" y="942"/>
                  </a:lnTo>
                  <a:lnTo>
                    <a:pt x="1314" y="936"/>
                  </a:lnTo>
                  <a:lnTo>
                    <a:pt x="1326" y="936"/>
                  </a:lnTo>
                  <a:lnTo>
                    <a:pt x="1338" y="930"/>
                  </a:lnTo>
                  <a:lnTo>
                    <a:pt x="1368" y="900"/>
                  </a:lnTo>
                  <a:lnTo>
                    <a:pt x="1380" y="900"/>
                  </a:lnTo>
                  <a:lnTo>
                    <a:pt x="1404" y="888"/>
                  </a:lnTo>
                  <a:lnTo>
                    <a:pt x="1416" y="888"/>
                  </a:lnTo>
                  <a:lnTo>
                    <a:pt x="1428" y="882"/>
                  </a:lnTo>
                  <a:lnTo>
                    <a:pt x="1434" y="876"/>
                  </a:lnTo>
                  <a:lnTo>
                    <a:pt x="1434" y="864"/>
                  </a:lnTo>
                  <a:lnTo>
                    <a:pt x="1422" y="864"/>
                  </a:lnTo>
                  <a:lnTo>
                    <a:pt x="1428" y="858"/>
                  </a:lnTo>
                  <a:lnTo>
                    <a:pt x="1452" y="846"/>
                  </a:lnTo>
                  <a:lnTo>
                    <a:pt x="1458" y="840"/>
                  </a:lnTo>
                  <a:lnTo>
                    <a:pt x="1470" y="834"/>
                  </a:lnTo>
                  <a:lnTo>
                    <a:pt x="1476" y="828"/>
                  </a:lnTo>
                  <a:lnTo>
                    <a:pt x="1488" y="828"/>
                  </a:lnTo>
                  <a:lnTo>
                    <a:pt x="1500" y="822"/>
                  </a:lnTo>
                  <a:lnTo>
                    <a:pt x="1512" y="822"/>
                  </a:lnTo>
                  <a:lnTo>
                    <a:pt x="1518" y="816"/>
                  </a:lnTo>
                  <a:lnTo>
                    <a:pt x="1524" y="816"/>
                  </a:lnTo>
                  <a:lnTo>
                    <a:pt x="1596" y="786"/>
                  </a:lnTo>
                  <a:lnTo>
                    <a:pt x="1590" y="768"/>
                  </a:lnTo>
                  <a:lnTo>
                    <a:pt x="1602" y="768"/>
                  </a:lnTo>
                  <a:lnTo>
                    <a:pt x="1608" y="774"/>
                  </a:lnTo>
                  <a:lnTo>
                    <a:pt x="1626" y="774"/>
                  </a:lnTo>
                  <a:lnTo>
                    <a:pt x="1638" y="762"/>
                  </a:lnTo>
                  <a:lnTo>
                    <a:pt x="1650" y="762"/>
                  </a:lnTo>
                  <a:lnTo>
                    <a:pt x="1674" y="750"/>
                  </a:lnTo>
                  <a:lnTo>
                    <a:pt x="1680" y="744"/>
                  </a:lnTo>
                  <a:lnTo>
                    <a:pt x="1704" y="732"/>
                  </a:lnTo>
                  <a:lnTo>
                    <a:pt x="1740" y="720"/>
                  </a:lnTo>
                  <a:lnTo>
                    <a:pt x="1770" y="708"/>
                  </a:lnTo>
                  <a:lnTo>
                    <a:pt x="1794" y="702"/>
                  </a:lnTo>
                  <a:lnTo>
                    <a:pt x="1812" y="702"/>
                  </a:lnTo>
                  <a:lnTo>
                    <a:pt x="1818" y="708"/>
                  </a:lnTo>
                  <a:lnTo>
                    <a:pt x="1842" y="720"/>
                  </a:lnTo>
                  <a:lnTo>
                    <a:pt x="1848" y="726"/>
                  </a:lnTo>
                  <a:lnTo>
                    <a:pt x="1812" y="726"/>
                  </a:lnTo>
                  <a:lnTo>
                    <a:pt x="1794" y="714"/>
                  </a:lnTo>
                  <a:lnTo>
                    <a:pt x="1758" y="738"/>
                  </a:lnTo>
                  <a:lnTo>
                    <a:pt x="1728" y="738"/>
                  </a:lnTo>
                  <a:lnTo>
                    <a:pt x="1722" y="744"/>
                  </a:lnTo>
                  <a:lnTo>
                    <a:pt x="1710" y="750"/>
                  </a:lnTo>
                  <a:lnTo>
                    <a:pt x="1704" y="762"/>
                  </a:lnTo>
                  <a:lnTo>
                    <a:pt x="1692" y="768"/>
                  </a:lnTo>
                  <a:lnTo>
                    <a:pt x="1686" y="774"/>
                  </a:lnTo>
                  <a:lnTo>
                    <a:pt x="1680" y="774"/>
                  </a:lnTo>
                  <a:lnTo>
                    <a:pt x="1668" y="780"/>
                  </a:lnTo>
                  <a:lnTo>
                    <a:pt x="1656" y="780"/>
                  </a:lnTo>
                  <a:lnTo>
                    <a:pt x="1638" y="786"/>
                  </a:lnTo>
                  <a:lnTo>
                    <a:pt x="1614" y="798"/>
                  </a:lnTo>
                  <a:lnTo>
                    <a:pt x="1614" y="804"/>
                  </a:lnTo>
                  <a:lnTo>
                    <a:pt x="1620" y="810"/>
                  </a:lnTo>
                  <a:lnTo>
                    <a:pt x="1632" y="816"/>
                  </a:lnTo>
                  <a:lnTo>
                    <a:pt x="1650" y="816"/>
                  </a:lnTo>
                  <a:lnTo>
                    <a:pt x="1644" y="816"/>
                  </a:lnTo>
                  <a:lnTo>
                    <a:pt x="1638" y="822"/>
                  </a:lnTo>
                  <a:lnTo>
                    <a:pt x="1632" y="822"/>
                  </a:lnTo>
                  <a:lnTo>
                    <a:pt x="1620" y="828"/>
                  </a:lnTo>
                  <a:lnTo>
                    <a:pt x="1572" y="828"/>
                  </a:lnTo>
                  <a:lnTo>
                    <a:pt x="1566" y="834"/>
                  </a:lnTo>
                  <a:lnTo>
                    <a:pt x="1560" y="834"/>
                  </a:lnTo>
                  <a:lnTo>
                    <a:pt x="1560" y="846"/>
                  </a:lnTo>
                  <a:lnTo>
                    <a:pt x="1572" y="858"/>
                  </a:lnTo>
                  <a:lnTo>
                    <a:pt x="1584" y="858"/>
                  </a:lnTo>
                  <a:lnTo>
                    <a:pt x="1596" y="852"/>
                  </a:lnTo>
                  <a:lnTo>
                    <a:pt x="1638" y="834"/>
                  </a:lnTo>
                  <a:lnTo>
                    <a:pt x="1680" y="810"/>
                  </a:lnTo>
                  <a:lnTo>
                    <a:pt x="1722" y="798"/>
                  </a:lnTo>
                  <a:lnTo>
                    <a:pt x="1788" y="798"/>
                  </a:lnTo>
                  <a:lnTo>
                    <a:pt x="1818" y="792"/>
                  </a:lnTo>
                  <a:lnTo>
                    <a:pt x="1824" y="786"/>
                  </a:lnTo>
                  <a:lnTo>
                    <a:pt x="1848" y="774"/>
                  </a:lnTo>
                  <a:lnTo>
                    <a:pt x="1854" y="762"/>
                  </a:lnTo>
                  <a:lnTo>
                    <a:pt x="1866" y="756"/>
                  </a:lnTo>
                  <a:lnTo>
                    <a:pt x="1872" y="750"/>
                  </a:lnTo>
                  <a:lnTo>
                    <a:pt x="1866" y="738"/>
                  </a:lnTo>
                  <a:lnTo>
                    <a:pt x="1878" y="732"/>
                  </a:lnTo>
                  <a:lnTo>
                    <a:pt x="1908" y="720"/>
                  </a:lnTo>
                  <a:lnTo>
                    <a:pt x="1944" y="714"/>
                  </a:lnTo>
                  <a:lnTo>
                    <a:pt x="1962" y="708"/>
                  </a:lnTo>
                  <a:lnTo>
                    <a:pt x="1968" y="708"/>
                  </a:lnTo>
                  <a:lnTo>
                    <a:pt x="1980" y="720"/>
                  </a:lnTo>
                  <a:lnTo>
                    <a:pt x="1980" y="726"/>
                  </a:lnTo>
                  <a:lnTo>
                    <a:pt x="2046" y="702"/>
                  </a:lnTo>
                  <a:lnTo>
                    <a:pt x="2004" y="738"/>
                  </a:lnTo>
                  <a:lnTo>
                    <a:pt x="2022" y="744"/>
                  </a:lnTo>
                  <a:lnTo>
                    <a:pt x="2022" y="762"/>
                  </a:lnTo>
                  <a:lnTo>
                    <a:pt x="2028" y="762"/>
                  </a:lnTo>
                  <a:lnTo>
                    <a:pt x="2034" y="756"/>
                  </a:lnTo>
                  <a:lnTo>
                    <a:pt x="2094" y="726"/>
                  </a:lnTo>
                  <a:lnTo>
                    <a:pt x="2082" y="732"/>
                  </a:lnTo>
                  <a:lnTo>
                    <a:pt x="2076" y="744"/>
                  </a:lnTo>
                  <a:lnTo>
                    <a:pt x="2064" y="750"/>
                  </a:lnTo>
                  <a:lnTo>
                    <a:pt x="2058" y="762"/>
                  </a:lnTo>
                  <a:lnTo>
                    <a:pt x="2046" y="774"/>
                  </a:lnTo>
                  <a:lnTo>
                    <a:pt x="2052" y="780"/>
                  </a:lnTo>
                  <a:lnTo>
                    <a:pt x="2064" y="780"/>
                  </a:lnTo>
                  <a:lnTo>
                    <a:pt x="2076" y="786"/>
                  </a:lnTo>
                  <a:lnTo>
                    <a:pt x="2106" y="786"/>
                  </a:lnTo>
                  <a:lnTo>
                    <a:pt x="2208" y="798"/>
                  </a:lnTo>
                  <a:lnTo>
                    <a:pt x="2238" y="780"/>
                  </a:lnTo>
                  <a:lnTo>
                    <a:pt x="2232" y="786"/>
                  </a:lnTo>
                  <a:lnTo>
                    <a:pt x="2232" y="810"/>
                  </a:lnTo>
                  <a:lnTo>
                    <a:pt x="2298" y="810"/>
                  </a:lnTo>
                  <a:lnTo>
                    <a:pt x="2334" y="804"/>
                  </a:lnTo>
                  <a:lnTo>
                    <a:pt x="2328" y="804"/>
                  </a:lnTo>
                  <a:lnTo>
                    <a:pt x="2322" y="810"/>
                  </a:lnTo>
                  <a:lnTo>
                    <a:pt x="2310" y="810"/>
                  </a:lnTo>
                  <a:lnTo>
                    <a:pt x="2286" y="822"/>
                  </a:lnTo>
                  <a:lnTo>
                    <a:pt x="2280" y="828"/>
                  </a:lnTo>
                  <a:lnTo>
                    <a:pt x="2280" y="834"/>
                  </a:lnTo>
                  <a:lnTo>
                    <a:pt x="2292" y="846"/>
                  </a:lnTo>
                  <a:lnTo>
                    <a:pt x="2304" y="852"/>
                  </a:lnTo>
                  <a:lnTo>
                    <a:pt x="2310" y="858"/>
                  </a:lnTo>
                  <a:lnTo>
                    <a:pt x="2310" y="882"/>
                  </a:lnTo>
                  <a:lnTo>
                    <a:pt x="2316" y="888"/>
                  </a:lnTo>
                  <a:lnTo>
                    <a:pt x="2316" y="900"/>
                  </a:lnTo>
                  <a:lnTo>
                    <a:pt x="2322" y="912"/>
                  </a:lnTo>
                  <a:lnTo>
                    <a:pt x="2358" y="912"/>
                  </a:lnTo>
                  <a:lnTo>
                    <a:pt x="2370" y="906"/>
                  </a:lnTo>
                  <a:lnTo>
                    <a:pt x="2388" y="906"/>
                  </a:lnTo>
                  <a:lnTo>
                    <a:pt x="2382" y="876"/>
                  </a:lnTo>
                  <a:lnTo>
                    <a:pt x="2400" y="870"/>
                  </a:lnTo>
                  <a:lnTo>
                    <a:pt x="2412" y="888"/>
                  </a:lnTo>
                  <a:lnTo>
                    <a:pt x="2442" y="876"/>
                  </a:lnTo>
                  <a:lnTo>
                    <a:pt x="2430" y="888"/>
                  </a:lnTo>
                  <a:lnTo>
                    <a:pt x="2430" y="900"/>
                  </a:lnTo>
                  <a:lnTo>
                    <a:pt x="2424" y="906"/>
                  </a:lnTo>
                  <a:lnTo>
                    <a:pt x="2424" y="912"/>
                  </a:lnTo>
                  <a:lnTo>
                    <a:pt x="2430" y="918"/>
                  </a:lnTo>
                  <a:lnTo>
                    <a:pt x="2436" y="918"/>
                  </a:lnTo>
                  <a:lnTo>
                    <a:pt x="2448" y="912"/>
                  </a:lnTo>
                  <a:lnTo>
                    <a:pt x="2454" y="906"/>
                  </a:lnTo>
                  <a:lnTo>
                    <a:pt x="2460" y="894"/>
                  </a:lnTo>
                  <a:lnTo>
                    <a:pt x="2466" y="888"/>
                  </a:lnTo>
                  <a:lnTo>
                    <a:pt x="2472" y="876"/>
                  </a:lnTo>
                  <a:lnTo>
                    <a:pt x="2502" y="834"/>
                  </a:lnTo>
                  <a:lnTo>
                    <a:pt x="2478" y="900"/>
                  </a:lnTo>
                  <a:lnTo>
                    <a:pt x="2484" y="924"/>
                  </a:lnTo>
                  <a:lnTo>
                    <a:pt x="2520" y="912"/>
                  </a:lnTo>
                  <a:lnTo>
                    <a:pt x="2496" y="936"/>
                  </a:lnTo>
                  <a:lnTo>
                    <a:pt x="2520" y="954"/>
                  </a:lnTo>
                  <a:lnTo>
                    <a:pt x="2502" y="954"/>
                  </a:lnTo>
                  <a:lnTo>
                    <a:pt x="2502" y="972"/>
                  </a:lnTo>
                  <a:lnTo>
                    <a:pt x="2472" y="990"/>
                  </a:lnTo>
                  <a:lnTo>
                    <a:pt x="2454" y="1002"/>
                  </a:lnTo>
                  <a:lnTo>
                    <a:pt x="2484" y="1020"/>
                  </a:lnTo>
                  <a:lnTo>
                    <a:pt x="2478" y="1050"/>
                  </a:lnTo>
                  <a:lnTo>
                    <a:pt x="2460" y="1068"/>
                  </a:lnTo>
                  <a:lnTo>
                    <a:pt x="2478" y="1080"/>
                  </a:lnTo>
                  <a:lnTo>
                    <a:pt x="2460" y="1098"/>
                  </a:lnTo>
                  <a:lnTo>
                    <a:pt x="2490" y="1098"/>
                  </a:lnTo>
                  <a:lnTo>
                    <a:pt x="2526" y="1086"/>
                  </a:lnTo>
                  <a:lnTo>
                    <a:pt x="2496" y="1122"/>
                  </a:lnTo>
                  <a:lnTo>
                    <a:pt x="2478" y="1140"/>
                  </a:lnTo>
                  <a:lnTo>
                    <a:pt x="2502" y="1146"/>
                  </a:lnTo>
                  <a:lnTo>
                    <a:pt x="2454" y="1164"/>
                  </a:lnTo>
                  <a:lnTo>
                    <a:pt x="2436" y="1176"/>
                  </a:lnTo>
                  <a:lnTo>
                    <a:pt x="2454" y="1188"/>
                  </a:lnTo>
                  <a:lnTo>
                    <a:pt x="2454" y="1200"/>
                  </a:lnTo>
                  <a:lnTo>
                    <a:pt x="2472" y="1188"/>
                  </a:lnTo>
                  <a:lnTo>
                    <a:pt x="2490" y="1182"/>
                  </a:lnTo>
                  <a:lnTo>
                    <a:pt x="2502" y="1170"/>
                  </a:lnTo>
                  <a:lnTo>
                    <a:pt x="2514" y="1164"/>
                  </a:lnTo>
                  <a:lnTo>
                    <a:pt x="2532" y="1146"/>
                  </a:lnTo>
                  <a:lnTo>
                    <a:pt x="2538" y="1134"/>
                  </a:lnTo>
                  <a:lnTo>
                    <a:pt x="2538" y="1122"/>
                  </a:lnTo>
                  <a:lnTo>
                    <a:pt x="2550" y="1116"/>
                  </a:lnTo>
                  <a:lnTo>
                    <a:pt x="2562" y="1104"/>
                  </a:lnTo>
                  <a:lnTo>
                    <a:pt x="2574" y="1098"/>
                  </a:lnTo>
                  <a:lnTo>
                    <a:pt x="2574" y="1086"/>
                  </a:lnTo>
                  <a:lnTo>
                    <a:pt x="2568" y="1080"/>
                  </a:lnTo>
                  <a:lnTo>
                    <a:pt x="2562" y="1080"/>
                  </a:lnTo>
                  <a:close/>
                  <a:moveTo>
                    <a:pt x="2394" y="1056"/>
                  </a:moveTo>
                  <a:lnTo>
                    <a:pt x="2400" y="1062"/>
                  </a:lnTo>
                  <a:lnTo>
                    <a:pt x="2418" y="1062"/>
                  </a:lnTo>
                  <a:lnTo>
                    <a:pt x="2436" y="1044"/>
                  </a:lnTo>
                  <a:lnTo>
                    <a:pt x="2460" y="1038"/>
                  </a:lnTo>
                  <a:lnTo>
                    <a:pt x="2454" y="1020"/>
                  </a:lnTo>
                  <a:lnTo>
                    <a:pt x="2430" y="1020"/>
                  </a:lnTo>
                  <a:lnTo>
                    <a:pt x="2418" y="1026"/>
                  </a:lnTo>
                  <a:lnTo>
                    <a:pt x="2412" y="1032"/>
                  </a:lnTo>
                  <a:lnTo>
                    <a:pt x="2406" y="1044"/>
                  </a:lnTo>
                  <a:lnTo>
                    <a:pt x="2394" y="1050"/>
                  </a:lnTo>
                  <a:lnTo>
                    <a:pt x="2394" y="1056"/>
                  </a:lnTo>
                  <a:close/>
                  <a:moveTo>
                    <a:pt x="2376" y="984"/>
                  </a:moveTo>
                  <a:lnTo>
                    <a:pt x="2358" y="984"/>
                  </a:lnTo>
                  <a:lnTo>
                    <a:pt x="2346" y="990"/>
                  </a:lnTo>
                  <a:lnTo>
                    <a:pt x="2334" y="1002"/>
                  </a:lnTo>
                  <a:lnTo>
                    <a:pt x="2334" y="1014"/>
                  </a:lnTo>
                  <a:lnTo>
                    <a:pt x="2322" y="1026"/>
                  </a:lnTo>
                  <a:lnTo>
                    <a:pt x="2322" y="1044"/>
                  </a:lnTo>
                  <a:lnTo>
                    <a:pt x="2310" y="1056"/>
                  </a:lnTo>
                  <a:lnTo>
                    <a:pt x="2310" y="1074"/>
                  </a:lnTo>
                  <a:lnTo>
                    <a:pt x="2316" y="1080"/>
                  </a:lnTo>
                  <a:lnTo>
                    <a:pt x="2322" y="1074"/>
                  </a:lnTo>
                  <a:lnTo>
                    <a:pt x="2328" y="1062"/>
                  </a:lnTo>
                  <a:lnTo>
                    <a:pt x="2340" y="1050"/>
                  </a:lnTo>
                  <a:lnTo>
                    <a:pt x="2352" y="1044"/>
                  </a:lnTo>
                  <a:lnTo>
                    <a:pt x="2376" y="1020"/>
                  </a:lnTo>
                  <a:lnTo>
                    <a:pt x="2382" y="1008"/>
                  </a:lnTo>
                  <a:lnTo>
                    <a:pt x="2382" y="990"/>
                  </a:lnTo>
                  <a:lnTo>
                    <a:pt x="2376" y="984"/>
                  </a:lnTo>
                  <a:close/>
                  <a:moveTo>
                    <a:pt x="786" y="810"/>
                  </a:moveTo>
                  <a:lnTo>
                    <a:pt x="798" y="810"/>
                  </a:lnTo>
                  <a:lnTo>
                    <a:pt x="834" y="798"/>
                  </a:lnTo>
                  <a:lnTo>
                    <a:pt x="858" y="786"/>
                  </a:lnTo>
                  <a:lnTo>
                    <a:pt x="864" y="780"/>
                  </a:lnTo>
                  <a:lnTo>
                    <a:pt x="870" y="780"/>
                  </a:lnTo>
                  <a:lnTo>
                    <a:pt x="864" y="774"/>
                  </a:lnTo>
                  <a:lnTo>
                    <a:pt x="828" y="762"/>
                  </a:lnTo>
                  <a:lnTo>
                    <a:pt x="810" y="762"/>
                  </a:lnTo>
                  <a:lnTo>
                    <a:pt x="798" y="768"/>
                  </a:lnTo>
                  <a:lnTo>
                    <a:pt x="792" y="774"/>
                  </a:lnTo>
                  <a:lnTo>
                    <a:pt x="786" y="768"/>
                  </a:lnTo>
                  <a:lnTo>
                    <a:pt x="774" y="768"/>
                  </a:lnTo>
                  <a:lnTo>
                    <a:pt x="768" y="774"/>
                  </a:lnTo>
                  <a:lnTo>
                    <a:pt x="768" y="804"/>
                  </a:lnTo>
                  <a:lnTo>
                    <a:pt x="774" y="810"/>
                  </a:lnTo>
                  <a:lnTo>
                    <a:pt x="786" y="810"/>
                  </a:lnTo>
                  <a:close/>
                  <a:moveTo>
                    <a:pt x="0" y="1332"/>
                  </a:moveTo>
                  <a:lnTo>
                    <a:pt x="60" y="1320"/>
                  </a:lnTo>
                  <a:lnTo>
                    <a:pt x="72" y="1302"/>
                  </a:lnTo>
                  <a:lnTo>
                    <a:pt x="132" y="1296"/>
                  </a:lnTo>
                  <a:lnTo>
                    <a:pt x="114" y="1272"/>
                  </a:lnTo>
                  <a:lnTo>
                    <a:pt x="0" y="1332"/>
                  </a:lnTo>
                  <a:close/>
                  <a:moveTo>
                    <a:pt x="1362" y="954"/>
                  </a:moveTo>
                  <a:lnTo>
                    <a:pt x="1350" y="954"/>
                  </a:lnTo>
                  <a:lnTo>
                    <a:pt x="1338" y="960"/>
                  </a:lnTo>
                  <a:lnTo>
                    <a:pt x="1332" y="954"/>
                  </a:lnTo>
                  <a:lnTo>
                    <a:pt x="1314" y="954"/>
                  </a:lnTo>
                  <a:lnTo>
                    <a:pt x="1314" y="978"/>
                  </a:lnTo>
                  <a:lnTo>
                    <a:pt x="1290" y="996"/>
                  </a:lnTo>
                  <a:lnTo>
                    <a:pt x="1290" y="972"/>
                  </a:lnTo>
                  <a:lnTo>
                    <a:pt x="1278" y="966"/>
                  </a:lnTo>
                  <a:lnTo>
                    <a:pt x="1272" y="966"/>
                  </a:lnTo>
                  <a:lnTo>
                    <a:pt x="1248" y="978"/>
                  </a:lnTo>
                  <a:lnTo>
                    <a:pt x="1242" y="978"/>
                  </a:lnTo>
                  <a:lnTo>
                    <a:pt x="1230" y="990"/>
                  </a:lnTo>
                  <a:lnTo>
                    <a:pt x="1224" y="1002"/>
                  </a:lnTo>
                  <a:lnTo>
                    <a:pt x="1218" y="1008"/>
                  </a:lnTo>
                  <a:lnTo>
                    <a:pt x="1218" y="1014"/>
                  </a:lnTo>
                  <a:lnTo>
                    <a:pt x="1224" y="1014"/>
                  </a:lnTo>
                  <a:lnTo>
                    <a:pt x="1230" y="1020"/>
                  </a:lnTo>
                  <a:lnTo>
                    <a:pt x="1278" y="1020"/>
                  </a:lnTo>
                  <a:lnTo>
                    <a:pt x="1296" y="1014"/>
                  </a:lnTo>
                  <a:lnTo>
                    <a:pt x="1308" y="1014"/>
                  </a:lnTo>
                  <a:lnTo>
                    <a:pt x="1320" y="1008"/>
                  </a:lnTo>
                  <a:lnTo>
                    <a:pt x="1320" y="996"/>
                  </a:lnTo>
                  <a:lnTo>
                    <a:pt x="1350" y="990"/>
                  </a:lnTo>
                  <a:lnTo>
                    <a:pt x="1350" y="984"/>
                  </a:lnTo>
                  <a:lnTo>
                    <a:pt x="1386" y="978"/>
                  </a:lnTo>
                  <a:lnTo>
                    <a:pt x="1398" y="954"/>
                  </a:lnTo>
                  <a:lnTo>
                    <a:pt x="1380" y="960"/>
                  </a:lnTo>
                  <a:lnTo>
                    <a:pt x="1374" y="954"/>
                  </a:lnTo>
                  <a:lnTo>
                    <a:pt x="1362" y="954"/>
                  </a:lnTo>
                  <a:close/>
                  <a:moveTo>
                    <a:pt x="162" y="1290"/>
                  </a:moveTo>
                  <a:lnTo>
                    <a:pt x="204" y="1290"/>
                  </a:lnTo>
                  <a:lnTo>
                    <a:pt x="240" y="1260"/>
                  </a:lnTo>
                  <a:lnTo>
                    <a:pt x="228" y="1242"/>
                  </a:lnTo>
                  <a:lnTo>
                    <a:pt x="162" y="1290"/>
                  </a:lnTo>
                  <a:close/>
                  <a:moveTo>
                    <a:pt x="2466" y="1140"/>
                  </a:moveTo>
                  <a:lnTo>
                    <a:pt x="2472" y="1128"/>
                  </a:lnTo>
                  <a:lnTo>
                    <a:pt x="2454" y="1110"/>
                  </a:lnTo>
                  <a:lnTo>
                    <a:pt x="2448" y="1110"/>
                  </a:lnTo>
                  <a:lnTo>
                    <a:pt x="2436" y="1122"/>
                  </a:lnTo>
                  <a:lnTo>
                    <a:pt x="2430" y="1134"/>
                  </a:lnTo>
                  <a:lnTo>
                    <a:pt x="2424" y="1152"/>
                  </a:lnTo>
                  <a:lnTo>
                    <a:pt x="2418" y="1164"/>
                  </a:lnTo>
                  <a:lnTo>
                    <a:pt x="2418" y="1176"/>
                  </a:lnTo>
                  <a:lnTo>
                    <a:pt x="2436" y="1158"/>
                  </a:lnTo>
                  <a:lnTo>
                    <a:pt x="2454" y="1158"/>
                  </a:lnTo>
                  <a:lnTo>
                    <a:pt x="2460" y="1152"/>
                  </a:lnTo>
                  <a:lnTo>
                    <a:pt x="2466" y="1140"/>
                  </a:lnTo>
                  <a:close/>
                  <a:moveTo>
                    <a:pt x="1428" y="912"/>
                  </a:moveTo>
                  <a:lnTo>
                    <a:pt x="1404" y="924"/>
                  </a:lnTo>
                  <a:lnTo>
                    <a:pt x="1386" y="942"/>
                  </a:lnTo>
                  <a:lnTo>
                    <a:pt x="1386" y="948"/>
                  </a:lnTo>
                  <a:lnTo>
                    <a:pt x="1398" y="954"/>
                  </a:lnTo>
                  <a:lnTo>
                    <a:pt x="1410" y="954"/>
                  </a:lnTo>
                  <a:lnTo>
                    <a:pt x="1422" y="948"/>
                  </a:lnTo>
                  <a:lnTo>
                    <a:pt x="1428" y="948"/>
                  </a:lnTo>
                  <a:lnTo>
                    <a:pt x="1440" y="942"/>
                  </a:lnTo>
                  <a:lnTo>
                    <a:pt x="1446" y="930"/>
                  </a:lnTo>
                  <a:lnTo>
                    <a:pt x="1470" y="930"/>
                  </a:lnTo>
                  <a:lnTo>
                    <a:pt x="1470" y="924"/>
                  </a:lnTo>
                  <a:lnTo>
                    <a:pt x="1458" y="912"/>
                  </a:lnTo>
                  <a:lnTo>
                    <a:pt x="1452" y="912"/>
                  </a:lnTo>
                  <a:lnTo>
                    <a:pt x="1440" y="906"/>
                  </a:lnTo>
                  <a:lnTo>
                    <a:pt x="1428" y="912"/>
                  </a:lnTo>
                  <a:close/>
                  <a:moveTo>
                    <a:pt x="498" y="1164"/>
                  </a:moveTo>
                  <a:lnTo>
                    <a:pt x="486" y="1164"/>
                  </a:lnTo>
                  <a:lnTo>
                    <a:pt x="474" y="1170"/>
                  </a:lnTo>
                  <a:lnTo>
                    <a:pt x="462" y="1170"/>
                  </a:lnTo>
                  <a:lnTo>
                    <a:pt x="450" y="1176"/>
                  </a:lnTo>
                  <a:lnTo>
                    <a:pt x="444" y="1182"/>
                  </a:lnTo>
                  <a:lnTo>
                    <a:pt x="432" y="1182"/>
                  </a:lnTo>
                  <a:lnTo>
                    <a:pt x="426" y="1188"/>
                  </a:lnTo>
                  <a:lnTo>
                    <a:pt x="414" y="1188"/>
                  </a:lnTo>
                  <a:lnTo>
                    <a:pt x="390" y="1200"/>
                  </a:lnTo>
                  <a:lnTo>
                    <a:pt x="384" y="1206"/>
                  </a:lnTo>
                  <a:lnTo>
                    <a:pt x="384" y="1218"/>
                  </a:lnTo>
                  <a:lnTo>
                    <a:pt x="402" y="1218"/>
                  </a:lnTo>
                  <a:lnTo>
                    <a:pt x="420" y="1212"/>
                  </a:lnTo>
                  <a:lnTo>
                    <a:pt x="432" y="1206"/>
                  </a:lnTo>
                  <a:lnTo>
                    <a:pt x="504" y="1206"/>
                  </a:lnTo>
                  <a:lnTo>
                    <a:pt x="510" y="1200"/>
                  </a:lnTo>
                  <a:lnTo>
                    <a:pt x="510" y="1176"/>
                  </a:lnTo>
                  <a:lnTo>
                    <a:pt x="498" y="1164"/>
                  </a:lnTo>
                  <a:close/>
                  <a:moveTo>
                    <a:pt x="330" y="1242"/>
                  </a:moveTo>
                  <a:lnTo>
                    <a:pt x="330" y="1224"/>
                  </a:lnTo>
                  <a:lnTo>
                    <a:pt x="276" y="1242"/>
                  </a:lnTo>
                  <a:lnTo>
                    <a:pt x="330" y="124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29" name="Zypern" descr="© INSCALE GmbH, 05.05.2010&#10;http://www.presentationload.com/">
              <a:extLst>
                <a:ext uri="{FF2B5EF4-FFF2-40B4-BE49-F238E27FC236}">
                  <a16:creationId xmlns:a16="http://schemas.microsoft.com/office/drawing/2014/main" id="{5244A171-922C-413A-BADB-A24B6524C7B1}"/>
                </a:ext>
              </a:extLst>
            </p:cNvPr>
            <p:cNvSpPr>
              <a:spLocks/>
            </p:cNvSpPr>
            <p:nvPr/>
          </p:nvSpPr>
          <p:spPr bwMode="gray">
            <a:xfrm>
              <a:off x="5002747" y="3111108"/>
              <a:ext cx="59585" cy="34497"/>
            </a:xfrm>
            <a:custGeom>
              <a:avLst/>
              <a:gdLst>
                <a:gd name="T0" fmla="*/ 0 w 150"/>
                <a:gd name="T1" fmla="*/ 2147483647 h 84"/>
                <a:gd name="T2" fmla="*/ 2147483647 w 150"/>
                <a:gd name="T3" fmla="*/ 2147483647 h 84"/>
                <a:gd name="T4" fmla="*/ 2147483647 w 150"/>
                <a:gd name="T5" fmla="*/ 2147483647 h 84"/>
                <a:gd name="T6" fmla="*/ 2147483647 w 150"/>
                <a:gd name="T7" fmla="*/ 2147483647 h 84"/>
                <a:gd name="T8" fmla="*/ 2147483647 w 150"/>
                <a:gd name="T9" fmla="*/ 2147483647 h 84"/>
                <a:gd name="T10" fmla="*/ 2147483647 w 150"/>
                <a:gd name="T11" fmla="*/ 2147483647 h 84"/>
                <a:gd name="T12" fmla="*/ 2147483647 w 150"/>
                <a:gd name="T13" fmla="*/ 2147483647 h 84"/>
                <a:gd name="T14" fmla="*/ 2147483647 w 150"/>
                <a:gd name="T15" fmla="*/ 2147483647 h 84"/>
                <a:gd name="T16" fmla="*/ 2147483647 w 150"/>
                <a:gd name="T17" fmla="*/ 2147483647 h 84"/>
                <a:gd name="T18" fmla="*/ 2147483647 w 150"/>
                <a:gd name="T19" fmla="*/ 2147483647 h 84"/>
                <a:gd name="T20" fmla="*/ 2147483647 w 150"/>
                <a:gd name="T21" fmla="*/ 2147483647 h 84"/>
                <a:gd name="T22" fmla="*/ 2147483647 w 150"/>
                <a:gd name="T23" fmla="*/ 2147483647 h 84"/>
                <a:gd name="T24" fmla="*/ 2147483647 w 150"/>
                <a:gd name="T25" fmla="*/ 2147483647 h 84"/>
                <a:gd name="T26" fmla="*/ 2147483647 w 150"/>
                <a:gd name="T27" fmla="*/ 0 h 84"/>
                <a:gd name="T28" fmla="*/ 2147483647 w 150"/>
                <a:gd name="T29" fmla="*/ 2147483647 h 84"/>
                <a:gd name="T30" fmla="*/ 2147483647 w 150"/>
                <a:gd name="T31" fmla="*/ 2147483647 h 84"/>
                <a:gd name="T32" fmla="*/ 2147483647 w 150"/>
                <a:gd name="T33" fmla="*/ 2147483647 h 84"/>
                <a:gd name="T34" fmla="*/ 2147483647 w 150"/>
                <a:gd name="T35" fmla="*/ 2147483647 h 84"/>
                <a:gd name="T36" fmla="*/ 2147483647 w 150"/>
                <a:gd name="T37" fmla="*/ 2147483647 h 84"/>
                <a:gd name="T38" fmla="*/ 0 w 150"/>
                <a:gd name="T39" fmla="*/ 2147483647 h 84"/>
                <a:gd name="T40" fmla="*/ 0 w 150"/>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84"/>
                <a:gd name="T65" fmla="*/ 150 w 150"/>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84">
                  <a:moveTo>
                    <a:pt x="0" y="48"/>
                  </a:moveTo>
                  <a:lnTo>
                    <a:pt x="6" y="60"/>
                  </a:lnTo>
                  <a:lnTo>
                    <a:pt x="30" y="72"/>
                  </a:lnTo>
                  <a:lnTo>
                    <a:pt x="36" y="84"/>
                  </a:lnTo>
                  <a:lnTo>
                    <a:pt x="54" y="84"/>
                  </a:lnTo>
                  <a:lnTo>
                    <a:pt x="60" y="78"/>
                  </a:lnTo>
                  <a:lnTo>
                    <a:pt x="72" y="72"/>
                  </a:lnTo>
                  <a:lnTo>
                    <a:pt x="78" y="66"/>
                  </a:lnTo>
                  <a:lnTo>
                    <a:pt x="90" y="60"/>
                  </a:lnTo>
                  <a:lnTo>
                    <a:pt x="96" y="54"/>
                  </a:lnTo>
                  <a:lnTo>
                    <a:pt x="102" y="60"/>
                  </a:lnTo>
                  <a:lnTo>
                    <a:pt x="120" y="60"/>
                  </a:lnTo>
                  <a:lnTo>
                    <a:pt x="120" y="36"/>
                  </a:lnTo>
                  <a:lnTo>
                    <a:pt x="150" y="0"/>
                  </a:lnTo>
                  <a:lnTo>
                    <a:pt x="108" y="24"/>
                  </a:lnTo>
                  <a:lnTo>
                    <a:pt x="54" y="24"/>
                  </a:lnTo>
                  <a:lnTo>
                    <a:pt x="48" y="30"/>
                  </a:lnTo>
                  <a:lnTo>
                    <a:pt x="48" y="36"/>
                  </a:lnTo>
                  <a:lnTo>
                    <a:pt x="12" y="36"/>
                  </a:lnTo>
                  <a:lnTo>
                    <a:pt x="0" y="42"/>
                  </a:lnTo>
                  <a:lnTo>
                    <a:pt x="0" y="48"/>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30" name="Zentral Afrikanische Republik" descr="© INSCALE GmbH, 05.05.2010&#10;http://www.presentationload.com/">
              <a:extLst>
                <a:ext uri="{FF2B5EF4-FFF2-40B4-BE49-F238E27FC236}">
                  <a16:creationId xmlns:a16="http://schemas.microsoft.com/office/drawing/2014/main" id="{51E9AA51-F3F2-4ED2-97F5-E348237F99EA}"/>
                </a:ext>
              </a:extLst>
            </p:cNvPr>
            <p:cNvSpPr>
              <a:spLocks/>
            </p:cNvSpPr>
            <p:nvPr/>
          </p:nvSpPr>
          <p:spPr bwMode="gray">
            <a:xfrm>
              <a:off x="4535477" y="3901392"/>
              <a:ext cx="363781" cy="277541"/>
            </a:xfrm>
            <a:custGeom>
              <a:avLst/>
              <a:gdLst>
                <a:gd name="T0" fmla="*/ 2147483647 w 912"/>
                <a:gd name="T1" fmla="*/ 2147483647 h 702"/>
                <a:gd name="T2" fmla="*/ 2147483647 w 912"/>
                <a:gd name="T3" fmla="*/ 2147483647 h 702"/>
                <a:gd name="T4" fmla="*/ 2147483647 w 912"/>
                <a:gd name="T5" fmla="*/ 2147483647 h 702"/>
                <a:gd name="T6" fmla="*/ 2147483647 w 912"/>
                <a:gd name="T7" fmla="*/ 2147483647 h 702"/>
                <a:gd name="T8" fmla="*/ 2147483647 w 912"/>
                <a:gd name="T9" fmla="*/ 2147483647 h 702"/>
                <a:gd name="T10" fmla="*/ 2147483647 w 912"/>
                <a:gd name="T11" fmla="*/ 2147483647 h 702"/>
                <a:gd name="T12" fmla="*/ 2147483647 w 912"/>
                <a:gd name="T13" fmla="*/ 2147483647 h 702"/>
                <a:gd name="T14" fmla="*/ 2147483647 w 912"/>
                <a:gd name="T15" fmla="*/ 2147483647 h 702"/>
                <a:gd name="T16" fmla="*/ 2147483647 w 912"/>
                <a:gd name="T17" fmla="*/ 2147483647 h 702"/>
                <a:gd name="T18" fmla="*/ 2147483647 w 912"/>
                <a:gd name="T19" fmla="*/ 2147483647 h 702"/>
                <a:gd name="T20" fmla="*/ 2147483647 w 912"/>
                <a:gd name="T21" fmla="*/ 2147483647 h 702"/>
                <a:gd name="T22" fmla="*/ 2147483647 w 912"/>
                <a:gd name="T23" fmla="*/ 2147483647 h 702"/>
                <a:gd name="T24" fmla="*/ 2147483647 w 912"/>
                <a:gd name="T25" fmla="*/ 2147483647 h 702"/>
                <a:gd name="T26" fmla="*/ 2147483647 w 912"/>
                <a:gd name="T27" fmla="*/ 2147483647 h 702"/>
                <a:gd name="T28" fmla="*/ 2147483647 w 912"/>
                <a:gd name="T29" fmla="*/ 2147483647 h 702"/>
                <a:gd name="T30" fmla="*/ 2147483647 w 912"/>
                <a:gd name="T31" fmla="*/ 0 h 702"/>
                <a:gd name="T32" fmla="*/ 2147483647 w 912"/>
                <a:gd name="T33" fmla="*/ 2147483647 h 702"/>
                <a:gd name="T34" fmla="*/ 2147483647 w 912"/>
                <a:gd name="T35" fmla="*/ 2147483647 h 702"/>
                <a:gd name="T36" fmla="*/ 2147483647 w 912"/>
                <a:gd name="T37" fmla="*/ 2147483647 h 702"/>
                <a:gd name="T38" fmla="*/ 2147483647 w 912"/>
                <a:gd name="T39" fmla="*/ 2147483647 h 702"/>
                <a:gd name="T40" fmla="*/ 2147483647 w 912"/>
                <a:gd name="T41" fmla="*/ 2147483647 h 702"/>
                <a:gd name="T42" fmla="*/ 2147483647 w 912"/>
                <a:gd name="T43" fmla="*/ 2147483647 h 702"/>
                <a:gd name="T44" fmla="*/ 2147483647 w 912"/>
                <a:gd name="T45" fmla="*/ 2147483647 h 702"/>
                <a:gd name="T46" fmla="*/ 2147483647 w 912"/>
                <a:gd name="T47" fmla="*/ 2147483647 h 702"/>
                <a:gd name="T48" fmla="*/ 2147483647 w 912"/>
                <a:gd name="T49" fmla="*/ 2147483647 h 702"/>
                <a:gd name="T50" fmla="*/ 2147483647 w 912"/>
                <a:gd name="T51" fmla="*/ 2147483647 h 702"/>
                <a:gd name="T52" fmla="*/ 2147483647 w 912"/>
                <a:gd name="T53" fmla="*/ 2147483647 h 702"/>
                <a:gd name="T54" fmla="*/ 2147483647 w 912"/>
                <a:gd name="T55" fmla="*/ 2147483647 h 702"/>
                <a:gd name="T56" fmla="*/ 2147483647 w 912"/>
                <a:gd name="T57" fmla="*/ 2147483647 h 702"/>
                <a:gd name="T58" fmla="*/ 2147483647 w 912"/>
                <a:gd name="T59" fmla="*/ 2147483647 h 702"/>
                <a:gd name="T60" fmla="*/ 0 w 912"/>
                <a:gd name="T61" fmla="*/ 2147483647 h 702"/>
                <a:gd name="T62" fmla="*/ 2147483647 w 912"/>
                <a:gd name="T63" fmla="*/ 2147483647 h 702"/>
                <a:gd name="T64" fmla="*/ 2147483647 w 912"/>
                <a:gd name="T65" fmla="*/ 2147483647 h 702"/>
                <a:gd name="T66" fmla="*/ 2147483647 w 912"/>
                <a:gd name="T67" fmla="*/ 2147483647 h 702"/>
                <a:gd name="T68" fmla="*/ 2147483647 w 912"/>
                <a:gd name="T69" fmla="*/ 2147483647 h 702"/>
                <a:gd name="T70" fmla="*/ 2147483647 w 912"/>
                <a:gd name="T71" fmla="*/ 2147483647 h 702"/>
                <a:gd name="T72" fmla="*/ 2147483647 w 912"/>
                <a:gd name="T73" fmla="*/ 2147483647 h 702"/>
                <a:gd name="T74" fmla="*/ 2147483647 w 912"/>
                <a:gd name="T75" fmla="*/ 2147483647 h 702"/>
                <a:gd name="T76" fmla="*/ 2147483647 w 912"/>
                <a:gd name="T77" fmla="*/ 2147483647 h 702"/>
                <a:gd name="T78" fmla="*/ 2147483647 w 912"/>
                <a:gd name="T79" fmla="*/ 2147483647 h 702"/>
                <a:gd name="T80" fmla="*/ 2147483647 w 912"/>
                <a:gd name="T81" fmla="*/ 2147483647 h 702"/>
                <a:gd name="T82" fmla="*/ 2147483647 w 912"/>
                <a:gd name="T83" fmla="*/ 2147483647 h 702"/>
                <a:gd name="T84" fmla="*/ 2147483647 w 912"/>
                <a:gd name="T85" fmla="*/ 2147483647 h 702"/>
                <a:gd name="T86" fmla="*/ 2147483647 w 912"/>
                <a:gd name="T87" fmla="*/ 2147483647 h 702"/>
                <a:gd name="T88" fmla="*/ 2147483647 w 912"/>
                <a:gd name="T89" fmla="*/ 2147483647 h 702"/>
                <a:gd name="T90" fmla="*/ 2147483647 w 912"/>
                <a:gd name="T91" fmla="*/ 2147483647 h 702"/>
                <a:gd name="T92" fmla="*/ 2147483647 w 912"/>
                <a:gd name="T93" fmla="*/ 2147483647 h 702"/>
                <a:gd name="T94" fmla="*/ 2147483647 w 912"/>
                <a:gd name="T95" fmla="*/ 2147483647 h 702"/>
                <a:gd name="T96" fmla="*/ 2147483647 w 912"/>
                <a:gd name="T97" fmla="*/ 2147483647 h 702"/>
                <a:gd name="T98" fmla="*/ 2147483647 w 912"/>
                <a:gd name="T99" fmla="*/ 2147483647 h 702"/>
                <a:gd name="T100" fmla="*/ 2147483647 w 912"/>
                <a:gd name="T101" fmla="*/ 2147483647 h 702"/>
                <a:gd name="T102" fmla="*/ 2147483647 w 912"/>
                <a:gd name="T103" fmla="*/ 2147483647 h 702"/>
                <a:gd name="T104" fmla="*/ 2147483647 w 912"/>
                <a:gd name="T105" fmla="*/ 2147483647 h 702"/>
                <a:gd name="T106" fmla="*/ 2147483647 w 912"/>
                <a:gd name="T107" fmla="*/ 2147483647 h 702"/>
                <a:gd name="T108" fmla="*/ 2147483647 w 912"/>
                <a:gd name="T109" fmla="*/ 2147483647 h 702"/>
                <a:gd name="T110" fmla="*/ 2147483647 w 912"/>
                <a:gd name="T111" fmla="*/ 2147483647 h 702"/>
                <a:gd name="T112" fmla="*/ 2147483647 w 912"/>
                <a:gd name="T113" fmla="*/ 2147483647 h 702"/>
                <a:gd name="T114" fmla="*/ 2147483647 w 912"/>
                <a:gd name="T115" fmla="*/ 2147483647 h 702"/>
                <a:gd name="T116" fmla="*/ 2147483647 w 912"/>
                <a:gd name="T117" fmla="*/ 2147483647 h 702"/>
                <a:gd name="T118" fmla="*/ 2147483647 w 912"/>
                <a:gd name="T119" fmla="*/ 2147483647 h 702"/>
                <a:gd name="T120" fmla="*/ 2147483647 w 912"/>
                <a:gd name="T121" fmla="*/ 2147483647 h 7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2"/>
                <a:gd name="T184" fmla="*/ 0 h 702"/>
                <a:gd name="T185" fmla="*/ 912 w 912"/>
                <a:gd name="T186" fmla="*/ 702 h 7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2" h="702">
                  <a:moveTo>
                    <a:pt x="906" y="420"/>
                  </a:moveTo>
                  <a:lnTo>
                    <a:pt x="900" y="414"/>
                  </a:lnTo>
                  <a:lnTo>
                    <a:pt x="888" y="408"/>
                  </a:lnTo>
                  <a:lnTo>
                    <a:pt x="882" y="402"/>
                  </a:lnTo>
                  <a:lnTo>
                    <a:pt x="858" y="396"/>
                  </a:lnTo>
                  <a:lnTo>
                    <a:pt x="858" y="378"/>
                  </a:lnTo>
                  <a:lnTo>
                    <a:pt x="846" y="366"/>
                  </a:lnTo>
                  <a:lnTo>
                    <a:pt x="846" y="360"/>
                  </a:lnTo>
                  <a:lnTo>
                    <a:pt x="858" y="360"/>
                  </a:lnTo>
                  <a:lnTo>
                    <a:pt x="858" y="348"/>
                  </a:lnTo>
                  <a:lnTo>
                    <a:pt x="852" y="342"/>
                  </a:lnTo>
                  <a:lnTo>
                    <a:pt x="834" y="342"/>
                  </a:lnTo>
                  <a:lnTo>
                    <a:pt x="834" y="336"/>
                  </a:lnTo>
                  <a:lnTo>
                    <a:pt x="828" y="330"/>
                  </a:lnTo>
                  <a:lnTo>
                    <a:pt x="822" y="318"/>
                  </a:lnTo>
                  <a:lnTo>
                    <a:pt x="810" y="306"/>
                  </a:lnTo>
                  <a:lnTo>
                    <a:pt x="798" y="300"/>
                  </a:lnTo>
                  <a:lnTo>
                    <a:pt x="792" y="300"/>
                  </a:lnTo>
                  <a:lnTo>
                    <a:pt x="780" y="294"/>
                  </a:lnTo>
                  <a:lnTo>
                    <a:pt x="768" y="282"/>
                  </a:lnTo>
                  <a:lnTo>
                    <a:pt x="768" y="276"/>
                  </a:lnTo>
                  <a:lnTo>
                    <a:pt x="774" y="276"/>
                  </a:lnTo>
                  <a:lnTo>
                    <a:pt x="774" y="270"/>
                  </a:lnTo>
                  <a:lnTo>
                    <a:pt x="780" y="270"/>
                  </a:lnTo>
                  <a:lnTo>
                    <a:pt x="780" y="264"/>
                  </a:lnTo>
                  <a:lnTo>
                    <a:pt x="768" y="252"/>
                  </a:lnTo>
                  <a:lnTo>
                    <a:pt x="756" y="246"/>
                  </a:lnTo>
                  <a:lnTo>
                    <a:pt x="750" y="246"/>
                  </a:lnTo>
                  <a:lnTo>
                    <a:pt x="750" y="228"/>
                  </a:lnTo>
                  <a:lnTo>
                    <a:pt x="720" y="228"/>
                  </a:lnTo>
                  <a:lnTo>
                    <a:pt x="696" y="216"/>
                  </a:lnTo>
                  <a:lnTo>
                    <a:pt x="696" y="186"/>
                  </a:lnTo>
                  <a:lnTo>
                    <a:pt x="648" y="180"/>
                  </a:lnTo>
                  <a:lnTo>
                    <a:pt x="654" y="162"/>
                  </a:lnTo>
                  <a:lnTo>
                    <a:pt x="648" y="162"/>
                  </a:lnTo>
                  <a:lnTo>
                    <a:pt x="642" y="156"/>
                  </a:lnTo>
                  <a:lnTo>
                    <a:pt x="642" y="150"/>
                  </a:lnTo>
                  <a:lnTo>
                    <a:pt x="648" y="144"/>
                  </a:lnTo>
                  <a:lnTo>
                    <a:pt x="654" y="132"/>
                  </a:lnTo>
                  <a:lnTo>
                    <a:pt x="660" y="126"/>
                  </a:lnTo>
                  <a:lnTo>
                    <a:pt x="660" y="96"/>
                  </a:lnTo>
                  <a:lnTo>
                    <a:pt x="654" y="84"/>
                  </a:lnTo>
                  <a:lnTo>
                    <a:pt x="648" y="66"/>
                  </a:lnTo>
                  <a:lnTo>
                    <a:pt x="636" y="54"/>
                  </a:lnTo>
                  <a:lnTo>
                    <a:pt x="630" y="42"/>
                  </a:lnTo>
                  <a:lnTo>
                    <a:pt x="600" y="12"/>
                  </a:lnTo>
                  <a:lnTo>
                    <a:pt x="600" y="0"/>
                  </a:lnTo>
                  <a:lnTo>
                    <a:pt x="576" y="0"/>
                  </a:lnTo>
                  <a:lnTo>
                    <a:pt x="522" y="30"/>
                  </a:lnTo>
                  <a:lnTo>
                    <a:pt x="516" y="60"/>
                  </a:lnTo>
                  <a:lnTo>
                    <a:pt x="480" y="84"/>
                  </a:lnTo>
                  <a:lnTo>
                    <a:pt x="480" y="102"/>
                  </a:lnTo>
                  <a:lnTo>
                    <a:pt x="456" y="126"/>
                  </a:lnTo>
                  <a:lnTo>
                    <a:pt x="438" y="138"/>
                  </a:lnTo>
                  <a:lnTo>
                    <a:pt x="390" y="156"/>
                  </a:lnTo>
                  <a:lnTo>
                    <a:pt x="348" y="162"/>
                  </a:lnTo>
                  <a:lnTo>
                    <a:pt x="330" y="162"/>
                  </a:lnTo>
                  <a:lnTo>
                    <a:pt x="312" y="174"/>
                  </a:lnTo>
                  <a:lnTo>
                    <a:pt x="318" y="174"/>
                  </a:lnTo>
                  <a:lnTo>
                    <a:pt x="330" y="186"/>
                  </a:lnTo>
                  <a:lnTo>
                    <a:pt x="330" y="198"/>
                  </a:lnTo>
                  <a:lnTo>
                    <a:pt x="324" y="204"/>
                  </a:lnTo>
                  <a:lnTo>
                    <a:pt x="318" y="216"/>
                  </a:lnTo>
                  <a:lnTo>
                    <a:pt x="312" y="222"/>
                  </a:lnTo>
                  <a:lnTo>
                    <a:pt x="306" y="234"/>
                  </a:lnTo>
                  <a:lnTo>
                    <a:pt x="300" y="240"/>
                  </a:lnTo>
                  <a:lnTo>
                    <a:pt x="210" y="240"/>
                  </a:lnTo>
                  <a:lnTo>
                    <a:pt x="204" y="246"/>
                  </a:lnTo>
                  <a:lnTo>
                    <a:pt x="198" y="258"/>
                  </a:lnTo>
                  <a:lnTo>
                    <a:pt x="186" y="270"/>
                  </a:lnTo>
                  <a:lnTo>
                    <a:pt x="174" y="276"/>
                  </a:lnTo>
                  <a:lnTo>
                    <a:pt x="168" y="276"/>
                  </a:lnTo>
                  <a:lnTo>
                    <a:pt x="162" y="270"/>
                  </a:lnTo>
                  <a:lnTo>
                    <a:pt x="162" y="246"/>
                  </a:lnTo>
                  <a:lnTo>
                    <a:pt x="156" y="252"/>
                  </a:lnTo>
                  <a:lnTo>
                    <a:pt x="144" y="258"/>
                  </a:lnTo>
                  <a:lnTo>
                    <a:pt x="126" y="276"/>
                  </a:lnTo>
                  <a:lnTo>
                    <a:pt x="114" y="282"/>
                  </a:lnTo>
                  <a:lnTo>
                    <a:pt x="96" y="282"/>
                  </a:lnTo>
                  <a:lnTo>
                    <a:pt x="90" y="276"/>
                  </a:lnTo>
                  <a:lnTo>
                    <a:pt x="78" y="276"/>
                  </a:lnTo>
                  <a:lnTo>
                    <a:pt x="66" y="288"/>
                  </a:lnTo>
                  <a:lnTo>
                    <a:pt x="60" y="300"/>
                  </a:lnTo>
                  <a:lnTo>
                    <a:pt x="54" y="306"/>
                  </a:lnTo>
                  <a:lnTo>
                    <a:pt x="54" y="324"/>
                  </a:lnTo>
                  <a:lnTo>
                    <a:pt x="48" y="336"/>
                  </a:lnTo>
                  <a:lnTo>
                    <a:pt x="42" y="336"/>
                  </a:lnTo>
                  <a:lnTo>
                    <a:pt x="36" y="372"/>
                  </a:lnTo>
                  <a:lnTo>
                    <a:pt x="30" y="372"/>
                  </a:lnTo>
                  <a:lnTo>
                    <a:pt x="24" y="378"/>
                  </a:lnTo>
                  <a:lnTo>
                    <a:pt x="12" y="384"/>
                  </a:lnTo>
                  <a:lnTo>
                    <a:pt x="0" y="396"/>
                  </a:lnTo>
                  <a:lnTo>
                    <a:pt x="0" y="402"/>
                  </a:lnTo>
                  <a:lnTo>
                    <a:pt x="12" y="408"/>
                  </a:lnTo>
                  <a:lnTo>
                    <a:pt x="18" y="408"/>
                  </a:lnTo>
                  <a:lnTo>
                    <a:pt x="18" y="444"/>
                  </a:lnTo>
                  <a:lnTo>
                    <a:pt x="6" y="456"/>
                  </a:lnTo>
                  <a:lnTo>
                    <a:pt x="24" y="468"/>
                  </a:lnTo>
                  <a:lnTo>
                    <a:pt x="24" y="516"/>
                  </a:lnTo>
                  <a:lnTo>
                    <a:pt x="30" y="516"/>
                  </a:lnTo>
                  <a:lnTo>
                    <a:pt x="48" y="534"/>
                  </a:lnTo>
                  <a:lnTo>
                    <a:pt x="54" y="534"/>
                  </a:lnTo>
                  <a:lnTo>
                    <a:pt x="54" y="576"/>
                  </a:lnTo>
                  <a:lnTo>
                    <a:pt x="60" y="582"/>
                  </a:lnTo>
                  <a:lnTo>
                    <a:pt x="72" y="606"/>
                  </a:lnTo>
                  <a:lnTo>
                    <a:pt x="84" y="618"/>
                  </a:lnTo>
                  <a:lnTo>
                    <a:pt x="96" y="624"/>
                  </a:lnTo>
                  <a:lnTo>
                    <a:pt x="102" y="636"/>
                  </a:lnTo>
                  <a:lnTo>
                    <a:pt x="114" y="642"/>
                  </a:lnTo>
                  <a:lnTo>
                    <a:pt x="120" y="660"/>
                  </a:lnTo>
                  <a:lnTo>
                    <a:pt x="120" y="690"/>
                  </a:lnTo>
                  <a:lnTo>
                    <a:pt x="132" y="702"/>
                  </a:lnTo>
                  <a:lnTo>
                    <a:pt x="138" y="696"/>
                  </a:lnTo>
                  <a:lnTo>
                    <a:pt x="144" y="684"/>
                  </a:lnTo>
                  <a:lnTo>
                    <a:pt x="150" y="678"/>
                  </a:lnTo>
                  <a:lnTo>
                    <a:pt x="156" y="666"/>
                  </a:lnTo>
                  <a:lnTo>
                    <a:pt x="156" y="642"/>
                  </a:lnTo>
                  <a:lnTo>
                    <a:pt x="144" y="630"/>
                  </a:lnTo>
                  <a:lnTo>
                    <a:pt x="162" y="600"/>
                  </a:lnTo>
                  <a:lnTo>
                    <a:pt x="192" y="600"/>
                  </a:lnTo>
                  <a:lnTo>
                    <a:pt x="210" y="582"/>
                  </a:lnTo>
                  <a:lnTo>
                    <a:pt x="228" y="582"/>
                  </a:lnTo>
                  <a:lnTo>
                    <a:pt x="264" y="600"/>
                  </a:lnTo>
                  <a:lnTo>
                    <a:pt x="276" y="600"/>
                  </a:lnTo>
                  <a:lnTo>
                    <a:pt x="288" y="588"/>
                  </a:lnTo>
                  <a:lnTo>
                    <a:pt x="300" y="570"/>
                  </a:lnTo>
                  <a:lnTo>
                    <a:pt x="300" y="552"/>
                  </a:lnTo>
                  <a:lnTo>
                    <a:pt x="294" y="552"/>
                  </a:lnTo>
                  <a:lnTo>
                    <a:pt x="294" y="540"/>
                  </a:lnTo>
                  <a:lnTo>
                    <a:pt x="306" y="528"/>
                  </a:lnTo>
                  <a:lnTo>
                    <a:pt x="312" y="528"/>
                  </a:lnTo>
                  <a:lnTo>
                    <a:pt x="324" y="516"/>
                  </a:lnTo>
                  <a:lnTo>
                    <a:pt x="330" y="504"/>
                  </a:lnTo>
                  <a:lnTo>
                    <a:pt x="330" y="498"/>
                  </a:lnTo>
                  <a:lnTo>
                    <a:pt x="336" y="486"/>
                  </a:lnTo>
                  <a:lnTo>
                    <a:pt x="336" y="480"/>
                  </a:lnTo>
                  <a:lnTo>
                    <a:pt x="342" y="474"/>
                  </a:lnTo>
                  <a:lnTo>
                    <a:pt x="354" y="468"/>
                  </a:lnTo>
                  <a:lnTo>
                    <a:pt x="366" y="468"/>
                  </a:lnTo>
                  <a:lnTo>
                    <a:pt x="384" y="474"/>
                  </a:lnTo>
                  <a:lnTo>
                    <a:pt x="396" y="474"/>
                  </a:lnTo>
                  <a:lnTo>
                    <a:pt x="408" y="480"/>
                  </a:lnTo>
                  <a:lnTo>
                    <a:pt x="408" y="492"/>
                  </a:lnTo>
                  <a:lnTo>
                    <a:pt x="426" y="492"/>
                  </a:lnTo>
                  <a:lnTo>
                    <a:pt x="432" y="498"/>
                  </a:lnTo>
                  <a:lnTo>
                    <a:pt x="432" y="528"/>
                  </a:lnTo>
                  <a:lnTo>
                    <a:pt x="474" y="528"/>
                  </a:lnTo>
                  <a:lnTo>
                    <a:pt x="480" y="534"/>
                  </a:lnTo>
                  <a:lnTo>
                    <a:pt x="492" y="540"/>
                  </a:lnTo>
                  <a:lnTo>
                    <a:pt x="540" y="540"/>
                  </a:lnTo>
                  <a:lnTo>
                    <a:pt x="552" y="546"/>
                  </a:lnTo>
                  <a:lnTo>
                    <a:pt x="558" y="552"/>
                  </a:lnTo>
                  <a:lnTo>
                    <a:pt x="570" y="558"/>
                  </a:lnTo>
                  <a:lnTo>
                    <a:pt x="576" y="552"/>
                  </a:lnTo>
                  <a:lnTo>
                    <a:pt x="582" y="540"/>
                  </a:lnTo>
                  <a:lnTo>
                    <a:pt x="588" y="534"/>
                  </a:lnTo>
                  <a:lnTo>
                    <a:pt x="588" y="522"/>
                  </a:lnTo>
                  <a:lnTo>
                    <a:pt x="606" y="504"/>
                  </a:lnTo>
                  <a:lnTo>
                    <a:pt x="612" y="492"/>
                  </a:lnTo>
                  <a:lnTo>
                    <a:pt x="636" y="516"/>
                  </a:lnTo>
                  <a:lnTo>
                    <a:pt x="642" y="516"/>
                  </a:lnTo>
                  <a:lnTo>
                    <a:pt x="648" y="510"/>
                  </a:lnTo>
                  <a:lnTo>
                    <a:pt x="660" y="504"/>
                  </a:lnTo>
                  <a:lnTo>
                    <a:pt x="672" y="492"/>
                  </a:lnTo>
                  <a:lnTo>
                    <a:pt x="690" y="492"/>
                  </a:lnTo>
                  <a:lnTo>
                    <a:pt x="714" y="474"/>
                  </a:lnTo>
                  <a:lnTo>
                    <a:pt x="726" y="486"/>
                  </a:lnTo>
                  <a:lnTo>
                    <a:pt x="750" y="486"/>
                  </a:lnTo>
                  <a:lnTo>
                    <a:pt x="756" y="480"/>
                  </a:lnTo>
                  <a:lnTo>
                    <a:pt x="768" y="480"/>
                  </a:lnTo>
                  <a:lnTo>
                    <a:pt x="768" y="468"/>
                  </a:lnTo>
                  <a:lnTo>
                    <a:pt x="786" y="450"/>
                  </a:lnTo>
                  <a:lnTo>
                    <a:pt x="792" y="450"/>
                  </a:lnTo>
                  <a:lnTo>
                    <a:pt x="792" y="456"/>
                  </a:lnTo>
                  <a:lnTo>
                    <a:pt x="804" y="468"/>
                  </a:lnTo>
                  <a:lnTo>
                    <a:pt x="840" y="462"/>
                  </a:lnTo>
                  <a:lnTo>
                    <a:pt x="840" y="468"/>
                  </a:lnTo>
                  <a:lnTo>
                    <a:pt x="852" y="480"/>
                  </a:lnTo>
                  <a:lnTo>
                    <a:pt x="876" y="480"/>
                  </a:lnTo>
                  <a:lnTo>
                    <a:pt x="894" y="474"/>
                  </a:lnTo>
                  <a:lnTo>
                    <a:pt x="912" y="456"/>
                  </a:lnTo>
                  <a:lnTo>
                    <a:pt x="912" y="432"/>
                  </a:lnTo>
                  <a:lnTo>
                    <a:pt x="906" y="42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31" name="West Sahara" descr="© INSCALE GmbH, 05.05.2010&#10;http://www.presentationload.com/">
              <a:extLst>
                <a:ext uri="{FF2B5EF4-FFF2-40B4-BE49-F238E27FC236}">
                  <a16:creationId xmlns:a16="http://schemas.microsoft.com/office/drawing/2014/main" id="{9047FDF1-21FA-4BAB-94AA-0D4A3B61305B}"/>
                </a:ext>
              </a:extLst>
            </p:cNvPr>
            <p:cNvSpPr>
              <a:spLocks/>
            </p:cNvSpPr>
            <p:nvPr/>
          </p:nvSpPr>
          <p:spPr bwMode="gray">
            <a:xfrm>
              <a:off x="3662088" y="3366697"/>
              <a:ext cx="238339" cy="203843"/>
            </a:xfrm>
            <a:custGeom>
              <a:avLst/>
              <a:gdLst>
                <a:gd name="T0" fmla="*/ 2147483647 w 600"/>
                <a:gd name="T1" fmla="*/ 0 h 510"/>
                <a:gd name="T2" fmla="*/ 2147483647 w 600"/>
                <a:gd name="T3" fmla="*/ 0 h 510"/>
                <a:gd name="T4" fmla="*/ 2147483647 w 600"/>
                <a:gd name="T5" fmla="*/ 2147483647 h 510"/>
                <a:gd name="T6" fmla="*/ 2147483647 w 600"/>
                <a:gd name="T7" fmla="*/ 2147483647 h 510"/>
                <a:gd name="T8" fmla="*/ 2147483647 w 600"/>
                <a:gd name="T9" fmla="*/ 2147483647 h 510"/>
                <a:gd name="T10" fmla="*/ 2147483647 w 600"/>
                <a:gd name="T11" fmla="*/ 2147483647 h 510"/>
                <a:gd name="T12" fmla="*/ 2147483647 w 600"/>
                <a:gd name="T13" fmla="*/ 2147483647 h 510"/>
                <a:gd name="T14" fmla="*/ 2147483647 w 600"/>
                <a:gd name="T15" fmla="*/ 2147483647 h 510"/>
                <a:gd name="T16" fmla="*/ 2147483647 w 600"/>
                <a:gd name="T17" fmla="*/ 2147483647 h 510"/>
                <a:gd name="T18" fmla="*/ 2147483647 w 600"/>
                <a:gd name="T19" fmla="*/ 2147483647 h 510"/>
                <a:gd name="T20" fmla="*/ 2147483647 w 600"/>
                <a:gd name="T21" fmla="*/ 2147483647 h 510"/>
                <a:gd name="T22" fmla="*/ 2147483647 w 600"/>
                <a:gd name="T23" fmla="*/ 2147483647 h 510"/>
                <a:gd name="T24" fmla="*/ 2147483647 w 600"/>
                <a:gd name="T25" fmla="*/ 2147483647 h 510"/>
                <a:gd name="T26" fmla="*/ 2147483647 w 600"/>
                <a:gd name="T27" fmla="*/ 2147483647 h 510"/>
                <a:gd name="T28" fmla="*/ 2147483647 w 600"/>
                <a:gd name="T29" fmla="*/ 2147483647 h 510"/>
                <a:gd name="T30" fmla="*/ 2147483647 w 600"/>
                <a:gd name="T31" fmla="*/ 2147483647 h 510"/>
                <a:gd name="T32" fmla="*/ 2147483647 w 600"/>
                <a:gd name="T33" fmla="*/ 2147483647 h 510"/>
                <a:gd name="T34" fmla="*/ 2147483647 w 600"/>
                <a:gd name="T35" fmla="*/ 2147483647 h 510"/>
                <a:gd name="T36" fmla="*/ 2147483647 w 600"/>
                <a:gd name="T37" fmla="*/ 2147483647 h 510"/>
                <a:gd name="T38" fmla="*/ 2147483647 w 600"/>
                <a:gd name="T39" fmla="*/ 2147483647 h 510"/>
                <a:gd name="T40" fmla="*/ 2147483647 w 600"/>
                <a:gd name="T41" fmla="*/ 2147483647 h 510"/>
                <a:gd name="T42" fmla="*/ 2147483647 w 600"/>
                <a:gd name="T43" fmla="*/ 2147483647 h 510"/>
                <a:gd name="T44" fmla="*/ 2147483647 w 600"/>
                <a:gd name="T45" fmla="*/ 2147483647 h 510"/>
                <a:gd name="T46" fmla="*/ 2147483647 w 600"/>
                <a:gd name="T47" fmla="*/ 2147483647 h 510"/>
                <a:gd name="T48" fmla="*/ 2147483647 w 600"/>
                <a:gd name="T49" fmla="*/ 2147483647 h 510"/>
                <a:gd name="T50" fmla="*/ 2147483647 w 600"/>
                <a:gd name="T51" fmla="*/ 2147483647 h 510"/>
                <a:gd name="T52" fmla="*/ 2147483647 w 600"/>
                <a:gd name="T53" fmla="*/ 2147483647 h 510"/>
                <a:gd name="T54" fmla="*/ 2147483647 w 600"/>
                <a:gd name="T55" fmla="*/ 2147483647 h 510"/>
                <a:gd name="T56" fmla="*/ 2147483647 w 600"/>
                <a:gd name="T57" fmla="*/ 2147483647 h 510"/>
                <a:gd name="T58" fmla="*/ 2147483647 w 600"/>
                <a:gd name="T59" fmla="*/ 2147483647 h 510"/>
                <a:gd name="T60" fmla="*/ 2147483647 w 600"/>
                <a:gd name="T61" fmla="*/ 2147483647 h 510"/>
                <a:gd name="T62" fmla="*/ 2147483647 w 600"/>
                <a:gd name="T63" fmla="*/ 2147483647 h 510"/>
                <a:gd name="T64" fmla="*/ 2147483647 w 600"/>
                <a:gd name="T65" fmla="*/ 2147483647 h 510"/>
                <a:gd name="T66" fmla="*/ 2147483647 w 600"/>
                <a:gd name="T67" fmla="*/ 2147483647 h 510"/>
                <a:gd name="T68" fmla="*/ 2147483647 w 600"/>
                <a:gd name="T69" fmla="*/ 2147483647 h 510"/>
                <a:gd name="T70" fmla="*/ 2147483647 w 600"/>
                <a:gd name="T71" fmla="*/ 2147483647 h 510"/>
                <a:gd name="T72" fmla="*/ 2147483647 w 600"/>
                <a:gd name="T73" fmla="*/ 2147483647 h 510"/>
                <a:gd name="T74" fmla="*/ 2147483647 w 600"/>
                <a:gd name="T75" fmla="*/ 2147483647 h 510"/>
                <a:gd name="T76" fmla="*/ 2147483647 w 600"/>
                <a:gd name="T77" fmla="*/ 2147483647 h 510"/>
                <a:gd name="T78" fmla="*/ 0 w 600"/>
                <a:gd name="T79" fmla="*/ 2147483647 h 510"/>
                <a:gd name="T80" fmla="*/ 0 w 600"/>
                <a:gd name="T81" fmla="*/ 2147483647 h 510"/>
                <a:gd name="T82" fmla="*/ 2147483647 w 600"/>
                <a:gd name="T83" fmla="*/ 2147483647 h 510"/>
                <a:gd name="T84" fmla="*/ 2147483647 w 600"/>
                <a:gd name="T85" fmla="*/ 2147483647 h 510"/>
                <a:gd name="T86" fmla="*/ 2147483647 w 600"/>
                <a:gd name="T87" fmla="*/ 2147483647 h 510"/>
                <a:gd name="T88" fmla="*/ 2147483647 w 600"/>
                <a:gd name="T89" fmla="*/ 2147483647 h 510"/>
                <a:gd name="T90" fmla="*/ 2147483647 w 600"/>
                <a:gd name="T91" fmla="*/ 2147483647 h 510"/>
                <a:gd name="T92" fmla="*/ 2147483647 w 600"/>
                <a:gd name="T93" fmla="*/ 2147483647 h 510"/>
                <a:gd name="T94" fmla="*/ 2147483647 w 600"/>
                <a:gd name="T95" fmla="*/ 2147483647 h 510"/>
                <a:gd name="T96" fmla="*/ 2147483647 w 600"/>
                <a:gd name="T97" fmla="*/ 2147483647 h 510"/>
                <a:gd name="T98" fmla="*/ 2147483647 w 600"/>
                <a:gd name="T99" fmla="*/ 2147483647 h 510"/>
                <a:gd name="T100" fmla="*/ 2147483647 w 600"/>
                <a:gd name="T101" fmla="*/ 2147483647 h 510"/>
                <a:gd name="T102" fmla="*/ 2147483647 w 600"/>
                <a:gd name="T103" fmla="*/ 2147483647 h 510"/>
                <a:gd name="T104" fmla="*/ 2147483647 w 600"/>
                <a:gd name="T105" fmla="*/ 2147483647 h 510"/>
                <a:gd name="T106" fmla="*/ 2147483647 w 600"/>
                <a:gd name="T107" fmla="*/ 2147483647 h 510"/>
                <a:gd name="T108" fmla="*/ 2147483647 w 600"/>
                <a:gd name="T109" fmla="*/ 2147483647 h 510"/>
                <a:gd name="T110" fmla="*/ 2147483647 w 600"/>
                <a:gd name="T111" fmla="*/ 2147483647 h 510"/>
                <a:gd name="T112" fmla="*/ 2147483647 w 600"/>
                <a:gd name="T113" fmla="*/ 0 h 510"/>
                <a:gd name="T114" fmla="*/ 2147483647 w 600"/>
                <a:gd name="T115" fmla="*/ 0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0"/>
                <a:gd name="T175" fmla="*/ 0 h 510"/>
                <a:gd name="T176" fmla="*/ 600 w 600"/>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0" h="510">
                  <a:moveTo>
                    <a:pt x="546" y="0"/>
                  </a:moveTo>
                  <a:lnTo>
                    <a:pt x="288" y="0"/>
                  </a:lnTo>
                  <a:lnTo>
                    <a:pt x="282" y="6"/>
                  </a:lnTo>
                  <a:lnTo>
                    <a:pt x="270" y="30"/>
                  </a:lnTo>
                  <a:lnTo>
                    <a:pt x="270" y="42"/>
                  </a:lnTo>
                  <a:lnTo>
                    <a:pt x="264" y="54"/>
                  </a:lnTo>
                  <a:lnTo>
                    <a:pt x="264" y="66"/>
                  </a:lnTo>
                  <a:lnTo>
                    <a:pt x="234" y="96"/>
                  </a:lnTo>
                  <a:lnTo>
                    <a:pt x="198" y="96"/>
                  </a:lnTo>
                  <a:lnTo>
                    <a:pt x="186" y="108"/>
                  </a:lnTo>
                  <a:lnTo>
                    <a:pt x="186" y="144"/>
                  </a:lnTo>
                  <a:lnTo>
                    <a:pt x="156" y="174"/>
                  </a:lnTo>
                  <a:lnTo>
                    <a:pt x="156" y="186"/>
                  </a:lnTo>
                  <a:lnTo>
                    <a:pt x="168" y="210"/>
                  </a:lnTo>
                  <a:lnTo>
                    <a:pt x="168" y="222"/>
                  </a:lnTo>
                  <a:lnTo>
                    <a:pt x="156" y="246"/>
                  </a:lnTo>
                  <a:lnTo>
                    <a:pt x="144" y="252"/>
                  </a:lnTo>
                  <a:lnTo>
                    <a:pt x="138" y="252"/>
                  </a:lnTo>
                  <a:lnTo>
                    <a:pt x="132" y="258"/>
                  </a:lnTo>
                  <a:lnTo>
                    <a:pt x="126" y="270"/>
                  </a:lnTo>
                  <a:lnTo>
                    <a:pt x="114" y="282"/>
                  </a:lnTo>
                  <a:lnTo>
                    <a:pt x="102" y="288"/>
                  </a:lnTo>
                  <a:lnTo>
                    <a:pt x="96" y="294"/>
                  </a:lnTo>
                  <a:lnTo>
                    <a:pt x="84" y="300"/>
                  </a:lnTo>
                  <a:lnTo>
                    <a:pt x="78" y="306"/>
                  </a:lnTo>
                  <a:lnTo>
                    <a:pt x="78" y="318"/>
                  </a:lnTo>
                  <a:lnTo>
                    <a:pt x="90" y="324"/>
                  </a:lnTo>
                  <a:lnTo>
                    <a:pt x="78" y="330"/>
                  </a:lnTo>
                  <a:lnTo>
                    <a:pt x="60" y="366"/>
                  </a:lnTo>
                  <a:lnTo>
                    <a:pt x="60" y="384"/>
                  </a:lnTo>
                  <a:lnTo>
                    <a:pt x="48" y="384"/>
                  </a:lnTo>
                  <a:lnTo>
                    <a:pt x="48" y="390"/>
                  </a:lnTo>
                  <a:lnTo>
                    <a:pt x="54" y="396"/>
                  </a:lnTo>
                  <a:lnTo>
                    <a:pt x="54" y="408"/>
                  </a:lnTo>
                  <a:lnTo>
                    <a:pt x="48" y="420"/>
                  </a:lnTo>
                  <a:lnTo>
                    <a:pt x="36" y="426"/>
                  </a:lnTo>
                  <a:lnTo>
                    <a:pt x="24" y="426"/>
                  </a:lnTo>
                  <a:lnTo>
                    <a:pt x="18" y="432"/>
                  </a:lnTo>
                  <a:lnTo>
                    <a:pt x="6" y="456"/>
                  </a:lnTo>
                  <a:lnTo>
                    <a:pt x="0" y="462"/>
                  </a:lnTo>
                  <a:lnTo>
                    <a:pt x="0" y="510"/>
                  </a:lnTo>
                  <a:lnTo>
                    <a:pt x="276" y="510"/>
                  </a:lnTo>
                  <a:lnTo>
                    <a:pt x="282" y="408"/>
                  </a:lnTo>
                  <a:lnTo>
                    <a:pt x="276" y="396"/>
                  </a:lnTo>
                  <a:lnTo>
                    <a:pt x="276" y="378"/>
                  </a:lnTo>
                  <a:lnTo>
                    <a:pt x="282" y="366"/>
                  </a:lnTo>
                  <a:lnTo>
                    <a:pt x="306" y="354"/>
                  </a:lnTo>
                  <a:lnTo>
                    <a:pt x="336" y="354"/>
                  </a:lnTo>
                  <a:lnTo>
                    <a:pt x="348" y="348"/>
                  </a:lnTo>
                  <a:lnTo>
                    <a:pt x="354" y="342"/>
                  </a:lnTo>
                  <a:lnTo>
                    <a:pt x="354" y="150"/>
                  </a:lnTo>
                  <a:lnTo>
                    <a:pt x="366" y="144"/>
                  </a:lnTo>
                  <a:lnTo>
                    <a:pt x="366" y="132"/>
                  </a:lnTo>
                  <a:lnTo>
                    <a:pt x="588" y="126"/>
                  </a:lnTo>
                  <a:lnTo>
                    <a:pt x="588" y="90"/>
                  </a:lnTo>
                  <a:lnTo>
                    <a:pt x="594" y="84"/>
                  </a:lnTo>
                  <a:lnTo>
                    <a:pt x="600" y="0"/>
                  </a:lnTo>
                  <a:lnTo>
                    <a:pt x="546" y="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32" name="West Bank" descr="© INSCALE GmbH, 05.05.2010&#10;http://www.presentationload.com/">
              <a:extLst>
                <a:ext uri="{FF2B5EF4-FFF2-40B4-BE49-F238E27FC236}">
                  <a16:creationId xmlns:a16="http://schemas.microsoft.com/office/drawing/2014/main" id="{08B75B0B-60B8-436F-AB77-48C5519026C7}"/>
                </a:ext>
              </a:extLst>
            </p:cNvPr>
            <p:cNvSpPr>
              <a:spLocks/>
            </p:cNvSpPr>
            <p:nvPr/>
          </p:nvSpPr>
          <p:spPr bwMode="gray">
            <a:xfrm>
              <a:off x="5087421" y="3213030"/>
              <a:ext cx="17248" cy="37633"/>
            </a:xfrm>
            <a:custGeom>
              <a:avLst/>
              <a:gdLst>
                <a:gd name="T0" fmla="*/ 2147483647 w 42"/>
                <a:gd name="T1" fmla="*/ 2147483647 h 96"/>
                <a:gd name="T2" fmla="*/ 2147483647 w 42"/>
                <a:gd name="T3" fmla="*/ 2147483647 h 96"/>
                <a:gd name="T4" fmla="*/ 2147483647 w 42"/>
                <a:gd name="T5" fmla="*/ 2147483647 h 96"/>
                <a:gd name="T6" fmla="*/ 2147483647 w 42"/>
                <a:gd name="T7" fmla="*/ 0 h 96"/>
                <a:gd name="T8" fmla="*/ 2147483647 w 42"/>
                <a:gd name="T9" fmla="*/ 0 h 96"/>
                <a:gd name="T10" fmla="*/ 0 w 42"/>
                <a:gd name="T11" fmla="*/ 2147483647 h 96"/>
                <a:gd name="T12" fmla="*/ 0 w 42"/>
                <a:gd name="T13" fmla="*/ 2147483647 h 96"/>
                <a:gd name="T14" fmla="*/ 2147483647 w 42"/>
                <a:gd name="T15" fmla="*/ 2147483647 h 96"/>
                <a:gd name="T16" fmla="*/ 2147483647 w 42"/>
                <a:gd name="T17" fmla="*/ 2147483647 h 96"/>
                <a:gd name="T18" fmla="*/ 2147483647 w 42"/>
                <a:gd name="T19" fmla="*/ 2147483647 h 96"/>
                <a:gd name="T20" fmla="*/ 2147483647 w 42"/>
                <a:gd name="T21" fmla="*/ 2147483647 h 96"/>
                <a:gd name="T22" fmla="*/ 2147483647 w 42"/>
                <a:gd name="T23" fmla="*/ 2147483647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96"/>
                <a:gd name="T38" fmla="*/ 42 w 4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96">
                  <a:moveTo>
                    <a:pt x="24" y="78"/>
                  </a:moveTo>
                  <a:lnTo>
                    <a:pt x="30" y="84"/>
                  </a:lnTo>
                  <a:lnTo>
                    <a:pt x="42" y="72"/>
                  </a:lnTo>
                  <a:lnTo>
                    <a:pt x="36" y="0"/>
                  </a:lnTo>
                  <a:lnTo>
                    <a:pt x="18" y="0"/>
                  </a:lnTo>
                  <a:lnTo>
                    <a:pt x="0" y="18"/>
                  </a:lnTo>
                  <a:lnTo>
                    <a:pt x="0" y="90"/>
                  </a:lnTo>
                  <a:lnTo>
                    <a:pt x="6" y="96"/>
                  </a:lnTo>
                  <a:lnTo>
                    <a:pt x="12" y="90"/>
                  </a:lnTo>
                  <a:lnTo>
                    <a:pt x="18" y="90"/>
                  </a:lnTo>
                  <a:lnTo>
                    <a:pt x="18" y="84"/>
                  </a:lnTo>
                  <a:lnTo>
                    <a:pt x="24" y="78"/>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33" name="Weißrussland" descr="© INSCALE GmbH, 05.05.2010&#10;http://www.presentationload.com/">
              <a:extLst>
                <a:ext uri="{FF2B5EF4-FFF2-40B4-BE49-F238E27FC236}">
                  <a16:creationId xmlns:a16="http://schemas.microsoft.com/office/drawing/2014/main" id="{6E90AA62-44D5-4150-9B10-D672183E231D}"/>
                </a:ext>
              </a:extLst>
            </p:cNvPr>
            <p:cNvSpPr>
              <a:spLocks/>
            </p:cNvSpPr>
            <p:nvPr/>
          </p:nvSpPr>
          <p:spPr bwMode="gray">
            <a:xfrm>
              <a:off x="4731480" y="2468219"/>
              <a:ext cx="225795" cy="147394"/>
            </a:xfrm>
            <a:custGeom>
              <a:avLst/>
              <a:gdLst>
                <a:gd name="T0" fmla="*/ 2147483647 w 570"/>
                <a:gd name="T1" fmla="*/ 2147483647 h 372"/>
                <a:gd name="T2" fmla="*/ 2147483647 w 570"/>
                <a:gd name="T3" fmla="*/ 2147483647 h 372"/>
                <a:gd name="T4" fmla="*/ 2147483647 w 570"/>
                <a:gd name="T5" fmla="*/ 2147483647 h 372"/>
                <a:gd name="T6" fmla="*/ 2147483647 w 570"/>
                <a:gd name="T7" fmla="*/ 2147483647 h 372"/>
                <a:gd name="T8" fmla="*/ 2147483647 w 570"/>
                <a:gd name="T9" fmla="*/ 2147483647 h 372"/>
                <a:gd name="T10" fmla="*/ 2147483647 w 570"/>
                <a:gd name="T11" fmla="*/ 2147483647 h 372"/>
                <a:gd name="T12" fmla="*/ 2147483647 w 570"/>
                <a:gd name="T13" fmla="*/ 2147483647 h 372"/>
                <a:gd name="T14" fmla="*/ 2147483647 w 570"/>
                <a:gd name="T15" fmla="*/ 2147483647 h 372"/>
                <a:gd name="T16" fmla="*/ 2147483647 w 570"/>
                <a:gd name="T17" fmla="*/ 2147483647 h 372"/>
                <a:gd name="T18" fmla="*/ 2147483647 w 570"/>
                <a:gd name="T19" fmla="*/ 2147483647 h 372"/>
                <a:gd name="T20" fmla="*/ 2147483647 w 570"/>
                <a:gd name="T21" fmla="*/ 2147483647 h 372"/>
                <a:gd name="T22" fmla="*/ 2147483647 w 570"/>
                <a:gd name="T23" fmla="*/ 2147483647 h 372"/>
                <a:gd name="T24" fmla="*/ 2147483647 w 570"/>
                <a:gd name="T25" fmla="*/ 2147483647 h 372"/>
                <a:gd name="T26" fmla="*/ 2147483647 w 570"/>
                <a:gd name="T27" fmla="*/ 2147483647 h 372"/>
                <a:gd name="T28" fmla="*/ 2147483647 w 570"/>
                <a:gd name="T29" fmla="*/ 2147483647 h 372"/>
                <a:gd name="T30" fmla="*/ 2147483647 w 570"/>
                <a:gd name="T31" fmla="*/ 2147483647 h 372"/>
                <a:gd name="T32" fmla="*/ 2147483647 w 570"/>
                <a:gd name="T33" fmla="*/ 2147483647 h 372"/>
                <a:gd name="T34" fmla="*/ 2147483647 w 570"/>
                <a:gd name="T35" fmla="*/ 2147483647 h 372"/>
                <a:gd name="T36" fmla="*/ 2147483647 w 570"/>
                <a:gd name="T37" fmla="*/ 2147483647 h 372"/>
                <a:gd name="T38" fmla="*/ 2147483647 w 570"/>
                <a:gd name="T39" fmla="*/ 2147483647 h 372"/>
                <a:gd name="T40" fmla="*/ 2147483647 w 570"/>
                <a:gd name="T41" fmla="*/ 2147483647 h 372"/>
                <a:gd name="T42" fmla="*/ 2147483647 w 570"/>
                <a:gd name="T43" fmla="*/ 2147483647 h 372"/>
                <a:gd name="T44" fmla="*/ 2147483647 w 570"/>
                <a:gd name="T45" fmla="*/ 2147483647 h 372"/>
                <a:gd name="T46" fmla="*/ 2147483647 w 570"/>
                <a:gd name="T47" fmla="*/ 2147483647 h 372"/>
                <a:gd name="T48" fmla="*/ 2147483647 w 570"/>
                <a:gd name="T49" fmla="*/ 2147483647 h 372"/>
                <a:gd name="T50" fmla="*/ 2147483647 w 570"/>
                <a:gd name="T51" fmla="*/ 2147483647 h 372"/>
                <a:gd name="T52" fmla="*/ 2147483647 w 570"/>
                <a:gd name="T53" fmla="*/ 2147483647 h 372"/>
                <a:gd name="T54" fmla="*/ 2147483647 w 570"/>
                <a:gd name="T55" fmla="*/ 2147483647 h 372"/>
                <a:gd name="T56" fmla="*/ 2147483647 w 570"/>
                <a:gd name="T57" fmla="*/ 0 h 372"/>
                <a:gd name="T58" fmla="*/ 2147483647 w 570"/>
                <a:gd name="T59" fmla="*/ 2147483647 h 372"/>
                <a:gd name="T60" fmla="*/ 2147483647 w 570"/>
                <a:gd name="T61" fmla="*/ 2147483647 h 372"/>
                <a:gd name="T62" fmla="*/ 2147483647 w 570"/>
                <a:gd name="T63" fmla="*/ 2147483647 h 372"/>
                <a:gd name="T64" fmla="*/ 2147483647 w 570"/>
                <a:gd name="T65" fmla="*/ 2147483647 h 372"/>
                <a:gd name="T66" fmla="*/ 2147483647 w 570"/>
                <a:gd name="T67" fmla="*/ 2147483647 h 372"/>
                <a:gd name="T68" fmla="*/ 2147483647 w 570"/>
                <a:gd name="T69" fmla="*/ 2147483647 h 372"/>
                <a:gd name="T70" fmla="*/ 2147483647 w 570"/>
                <a:gd name="T71" fmla="*/ 2147483647 h 372"/>
                <a:gd name="T72" fmla="*/ 2147483647 w 570"/>
                <a:gd name="T73" fmla="*/ 2147483647 h 372"/>
                <a:gd name="T74" fmla="*/ 2147483647 w 570"/>
                <a:gd name="T75" fmla="*/ 2147483647 h 372"/>
                <a:gd name="T76" fmla="*/ 2147483647 w 570"/>
                <a:gd name="T77" fmla="*/ 2147483647 h 372"/>
                <a:gd name="T78" fmla="*/ 2147483647 w 570"/>
                <a:gd name="T79" fmla="*/ 2147483647 h 372"/>
                <a:gd name="T80" fmla="*/ 2147483647 w 570"/>
                <a:gd name="T81" fmla="*/ 2147483647 h 372"/>
                <a:gd name="T82" fmla="*/ 2147483647 w 570"/>
                <a:gd name="T83" fmla="*/ 2147483647 h 372"/>
                <a:gd name="T84" fmla="*/ 2147483647 w 570"/>
                <a:gd name="T85" fmla="*/ 2147483647 h 372"/>
                <a:gd name="T86" fmla="*/ 2147483647 w 570"/>
                <a:gd name="T87" fmla="*/ 2147483647 h 372"/>
                <a:gd name="T88" fmla="*/ 2147483647 w 570"/>
                <a:gd name="T89" fmla="*/ 2147483647 h 372"/>
                <a:gd name="T90" fmla="*/ 2147483647 w 570"/>
                <a:gd name="T91" fmla="*/ 2147483647 h 372"/>
                <a:gd name="T92" fmla="*/ 2147483647 w 570"/>
                <a:gd name="T93" fmla="*/ 2147483647 h 372"/>
                <a:gd name="T94" fmla="*/ 2147483647 w 570"/>
                <a:gd name="T95" fmla="*/ 2147483647 h 372"/>
                <a:gd name="T96" fmla="*/ 2147483647 w 570"/>
                <a:gd name="T97" fmla="*/ 2147483647 h 3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372"/>
                <a:gd name="T149" fmla="*/ 570 w 570"/>
                <a:gd name="T150" fmla="*/ 372 h 3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372">
                  <a:moveTo>
                    <a:pt x="24" y="312"/>
                  </a:moveTo>
                  <a:lnTo>
                    <a:pt x="24" y="342"/>
                  </a:lnTo>
                  <a:lnTo>
                    <a:pt x="30" y="354"/>
                  </a:lnTo>
                  <a:lnTo>
                    <a:pt x="36" y="360"/>
                  </a:lnTo>
                  <a:lnTo>
                    <a:pt x="48" y="360"/>
                  </a:lnTo>
                  <a:lnTo>
                    <a:pt x="60" y="354"/>
                  </a:lnTo>
                  <a:lnTo>
                    <a:pt x="72" y="342"/>
                  </a:lnTo>
                  <a:lnTo>
                    <a:pt x="72" y="336"/>
                  </a:lnTo>
                  <a:lnTo>
                    <a:pt x="108" y="336"/>
                  </a:lnTo>
                  <a:lnTo>
                    <a:pt x="120" y="330"/>
                  </a:lnTo>
                  <a:lnTo>
                    <a:pt x="126" y="324"/>
                  </a:lnTo>
                  <a:lnTo>
                    <a:pt x="174" y="324"/>
                  </a:lnTo>
                  <a:lnTo>
                    <a:pt x="174" y="330"/>
                  </a:lnTo>
                  <a:lnTo>
                    <a:pt x="180" y="336"/>
                  </a:lnTo>
                  <a:lnTo>
                    <a:pt x="216" y="336"/>
                  </a:lnTo>
                  <a:lnTo>
                    <a:pt x="240" y="342"/>
                  </a:lnTo>
                  <a:lnTo>
                    <a:pt x="258" y="354"/>
                  </a:lnTo>
                  <a:lnTo>
                    <a:pt x="264" y="348"/>
                  </a:lnTo>
                  <a:lnTo>
                    <a:pt x="282" y="360"/>
                  </a:lnTo>
                  <a:lnTo>
                    <a:pt x="294" y="348"/>
                  </a:lnTo>
                  <a:lnTo>
                    <a:pt x="300" y="360"/>
                  </a:lnTo>
                  <a:lnTo>
                    <a:pt x="318" y="354"/>
                  </a:lnTo>
                  <a:lnTo>
                    <a:pt x="324" y="360"/>
                  </a:lnTo>
                  <a:lnTo>
                    <a:pt x="336" y="354"/>
                  </a:lnTo>
                  <a:lnTo>
                    <a:pt x="348" y="366"/>
                  </a:lnTo>
                  <a:lnTo>
                    <a:pt x="348" y="360"/>
                  </a:lnTo>
                  <a:lnTo>
                    <a:pt x="354" y="354"/>
                  </a:lnTo>
                  <a:lnTo>
                    <a:pt x="372" y="354"/>
                  </a:lnTo>
                  <a:lnTo>
                    <a:pt x="378" y="360"/>
                  </a:lnTo>
                  <a:lnTo>
                    <a:pt x="378" y="372"/>
                  </a:lnTo>
                  <a:lnTo>
                    <a:pt x="384" y="372"/>
                  </a:lnTo>
                  <a:lnTo>
                    <a:pt x="396" y="366"/>
                  </a:lnTo>
                  <a:lnTo>
                    <a:pt x="420" y="366"/>
                  </a:lnTo>
                  <a:lnTo>
                    <a:pt x="426" y="372"/>
                  </a:lnTo>
                  <a:lnTo>
                    <a:pt x="444" y="372"/>
                  </a:lnTo>
                  <a:lnTo>
                    <a:pt x="450" y="366"/>
                  </a:lnTo>
                  <a:lnTo>
                    <a:pt x="450" y="354"/>
                  </a:lnTo>
                  <a:lnTo>
                    <a:pt x="444" y="348"/>
                  </a:lnTo>
                  <a:lnTo>
                    <a:pt x="450" y="336"/>
                  </a:lnTo>
                  <a:lnTo>
                    <a:pt x="456" y="330"/>
                  </a:lnTo>
                  <a:lnTo>
                    <a:pt x="468" y="324"/>
                  </a:lnTo>
                  <a:lnTo>
                    <a:pt x="474" y="312"/>
                  </a:lnTo>
                  <a:lnTo>
                    <a:pt x="498" y="312"/>
                  </a:lnTo>
                  <a:lnTo>
                    <a:pt x="516" y="318"/>
                  </a:lnTo>
                  <a:lnTo>
                    <a:pt x="516" y="300"/>
                  </a:lnTo>
                  <a:lnTo>
                    <a:pt x="510" y="288"/>
                  </a:lnTo>
                  <a:lnTo>
                    <a:pt x="504" y="282"/>
                  </a:lnTo>
                  <a:lnTo>
                    <a:pt x="504" y="264"/>
                  </a:lnTo>
                  <a:lnTo>
                    <a:pt x="480" y="240"/>
                  </a:lnTo>
                  <a:lnTo>
                    <a:pt x="480" y="234"/>
                  </a:lnTo>
                  <a:lnTo>
                    <a:pt x="486" y="228"/>
                  </a:lnTo>
                  <a:lnTo>
                    <a:pt x="510" y="228"/>
                  </a:lnTo>
                  <a:lnTo>
                    <a:pt x="510" y="234"/>
                  </a:lnTo>
                  <a:lnTo>
                    <a:pt x="516" y="234"/>
                  </a:lnTo>
                  <a:lnTo>
                    <a:pt x="522" y="240"/>
                  </a:lnTo>
                  <a:lnTo>
                    <a:pt x="528" y="240"/>
                  </a:lnTo>
                  <a:lnTo>
                    <a:pt x="552" y="228"/>
                  </a:lnTo>
                  <a:lnTo>
                    <a:pt x="558" y="216"/>
                  </a:lnTo>
                  <a:lnTo>
                    <a:pt x="570" y="210"/>
                  </a:lnTo>
                  <a:lnTo>
                    <a:pt x="546" y="198"/>
                  </a:lnTo>
                  <a:lnTo>
                    <a:pt x="552" y="192"/>
                  </a:lnTo>
                  <a:lnTo>
                    <a:pt x="552" y="186"/>
                  </a:lnTo>
                  <a:lnTo>
                    <a:pt x="546" y="186"/>
                  </a:lnTo>
                  <a:lnTo>
                    <a:pt x="540" y="180"/>
                  </a:lnTo>
                  <a:lnTo>
                    <a:pt x="504" y="180"/>
                  </a:lnTo>
                  <a:lnTo>
                    <a:pt x="504" y="156"/>
                  </a:lnTo>
                  <a:lnTo>
                    <a:pt x="474" y="144"/>
                  </a:lnTo>
                  <a:lnTo>
                    <a:pt x="474" y="132"/>
                  </a:lnTo>
                  <a:lnTo>
                    <a:pt x="456" y="114"/>
                  </a:lnTo>
                  <a:lnTo>
                    <a:pt x="444" y="108"/>
                  </a:lnTo>
                  <a:lnTo>
                    <a:pt x="438" y="102"/>
                  </a:lnTo>
                  <a:lnTo>
                    <a:pt x="444" y="84"/>
                  </a:lnTo>
                  <a:lnTo>
                    <a:pt x="432" y="66"/>
                  </a:lnTo>
                  <a:lnTo>
                    <a:pt x="438" y="60"/>
                  </a:lnTo>
                  <a:lnTo>
                    <a:pt x="438" y="48"/>
                  </a:lnTo>
                  <a:lnTo>
                    <a:pt x="432" y="42"/>
                  </a:lnTo>
                  <a:lnTo>
                    <a:pt x="396" y="24"/>
                  </a:lnTo>
                  <a:lnTo>
                    <a:pt x="390" y="18"/>
                  </a:lnTo>
                  <a:lnTo>
                    <a:pt x="384" y="18"/>
                  </a:lnTo>
                  <a:lnTo>
                    <a:pt x="354" y="36"/>
                  </a:lnTo>
                  <a:lnTo>
                    <a:pt x="348" y="18"/>
                  </a:lnTo>
                  <a:lnTo>
                    <a:pt x="312" y="12"/>
                  </a:lnTo>
                  <a:lnTo>
                    <a:pt x="300" y="18"/>
                  </a:lnTo>
                  <a:lnTo>
                    <a:pt x="300" y="12"/>
                  </a:lnTo>
                  <a:lnTo>
                    <a:pt x="294" y="6"/>
                  </a:lnTo>
                  <a:lnTo>
                    <a:pt x="276" y="6"/>
                  </a:lnTo>
                  <a:lnTo>
                    <a:pt x="270" y="0"/>
                  </a:lnTo>
                  <a:lnTo>
                    <a:pt x="258" y="0"/>
                  </a:lnTo>
                  <a:lnTo>
                    <a:pt x="252" y="6"/>
                  </a:lnTo>
                  <a:lnTo>
                    <a:pt x="246" y="18"/>
                  </a:lnTo>
                  <a:lnTo>
                    <a:pt x="240" y="24"/>
                  </a:lnTo>
                  <a:lnTo>
                    <a:pt x="234" y="24"/>
                  </a:lnTo>
                  <a:lnTo>
                    <a:pt x="228" y="30"/>
                  </a:lnTo>
                  <a:lnTo>
                    <a:pt x="222" y="24"/>
                  </a:lnTo>
                  <a:lnTo>
                    <a:pt x="198" y="24"/>
                  </a:lnTo>
                  <a:lnTo>
                    <a:pt x="192" y="30"/>
                  </a:lnTo>
                  <a:lnTo>
                    <a:pt x="180" y="36"/>
                  </a:lnTo>
                  <a:lnTo>
                    <a:pt x="174" y="42"/>
                  </a:lnTo>
                  <a:lnTo>
                    <a:pt x="174" y="54"/>
                  </a:lnTo>
                  <a:lnTo>
                    <a:pt x="192" y="72"/>
                  </a:lnTo>
                  <a:lnTo>
                    <a:pt x="186" y="78"/>
                  </a:lnTo>
                  <a:lnTo>
                    <a:pt x="168" y="78"/>
                  </a:lnTo>
                  <a:lnTo>
                    <a:pt x="162" y="72"/>
                  </a:lnTo>
                  <a:lnTo>
                    <a:pt x="156" y="72"/>
                  </a:lnTo>
                  <a:lnTo>
                    <a:pt x="162" y="90"/>
                  </a:lnTo>
                  <a:lnTo>
                    <a:pt x="144" y="90"/>
                  </a:lnTo>
                  <a:lnTo>
                    <a:pt x="138" y="96"/>
                  </a:lnTo>
                  <a:lnTo>
                    <a:pt x="138" y="102"/>
                  </a:lnTo>
                  <a:lnTo>
                    <a:pt x="144" y="114"/>
                  </a:lnTo>
                  <a:lnTo>
                    <a:pt x="144" y="120"/>
                  </a:lnTo>
                  <a:lnTo>
                    <a:pt x="132" y="120"/>
                  </a:lnTo>
                  <a:lnTo>
                    <a:pt x="132" y="126"/>
                  </a:lnTo>
                  <a:lnTo>
                    <a:pt x="138" y="132"/>
                  </a:lnTo>
                  <a:lnTo>
                    <a:pt x="138" y="144"/>
                  </a:lnTo>
                  <a:lnTo>
                    <a:pt x="144" y="150"/>
                  </a:lnTo>
                  <a:lnTo>
                    <a:pt x="144" y="156"/>
                  </a:lnTo>
                  <a:lnTo>
                    <a:pt x="132" y="156"/>
                  </a:lnTo>
                  <a:lnTo>
                    <a:pt x="138" y="150"/>
                  </a:lnTo>
                  <a:lnTo>
                    <a:pt x="138" y="144"/>
                  </a:lnTo>
                  <a:lnTo>
                    <a:pt x="120" y="144"/>
                  </a:lnTo>
                  <a:lnTo>
                    <a:pt x="108" y="150"/>
                  </a:lnTo>
                  <a:lnTo>
                    <a:pt x="102" y="156"/>
                  </a:lnTo>
                  <a:lnTo>
                    <a:pt x="96" y="168"/>
                  </a:lnTo>
                  <a:lnTo>
                    <a:pt x="84" y="156"/>
                  </a:lnTo>
                  <a:lnTo>
                    <a:pt x="84" y="174"/>
                  </a:lnTo>
                  <a:lnTo>
                    <a:pt x="54" y="174"/>
                  </a:lnTo>
                  <a:lnTo>
                    <a:pt x="54" y="168"/>
                  </a:lnTo>
                  <a:lnTo>
                    <a:pt x="48" y="162"/>
                  </a:lnTo>
                  <a:lnTo>
                    <a:pt x="42" y="162"/>
                  </a:lnTo>
                  <a:lnTo>
                    <a:pt x="30" y="168"/>
                  </a:lnTo>
                  <a:lnTo>
                    <a:pt x="18" y="168"/>
                  </a:lnTo>
                  <a:lnTo>
                    <a:pt x="12" y="174"/>
                  </a:lnTo>
                  <a:lnTo>
                    <a:pt x="6" y="174"/>
                  </a:lnTo>
                  <a:lnTo>
                    <a:pt x="12" y="186"/>
                  </a:lnTo>
                  <a:lnTo>
                    <a:pt x="18" y="192"/>
                  </a:lnTo>
                  <a:lnTo>
                    <a:pt x="18" y="204"/>
                  </a:lnTo>
                  <a:lnTo>
                    <a:pt x="24" y="210"/>
                  </a:lnTo>
                  <a:lnTo>
                    <a:pt x="36" y="234"/>
                  </a:lnTo>
                  <a:lnTo>
                    <a:pt x="42" y="240"/>
                  </a:lnTo>
                  <a:lnTo>
                    <a:pt x="42" y="246"/>
                  </a:lnTo>
                  <a:lnTo>
                    <a:pt x="36" y="252"/>
                  </a:lnTo>
                  <a:lnTo>
                    <a:pt x="36" y="264"/>
                  </a:lnTo>
                  <a:lnTo>
                    <a:pt x="12" y="270"/>
                  </a:lnTo>
                  <a:lnTo>
                    <a:pt x="12" y="288"/>
                  </a:lnTo>
                  <a:lnTo>
                    <a:pt x="0" y="288"/>
                  </a:lnTo>
                  <a:lnTo>
                    <a:pt x="0" y="294"/>
                  </a:lnTo>
                  <a:lnTo>
                    <a:pt x="6" y="300"/>
                  </a:lnTo>
                  <a:lnTo>
                    <a:pt x="12" y="300"/>
                  </a:lnTo>
                  <a:lnTo>
                    <a:pt x="24" y="31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34" name="Uzbekistan" descr="© INSCALE GmbH, 05.05.2010&#10;http://www.presentationload.com/">
              <a:extLst>
                <a:ext uri="{FF2B5EF4-FFF2-40B4-BE49-F238E27FC236}">
                  <a16:creationId xmlns:a16="http://schemas.microsoft.com/office/drawing/2014/main" id="{B5B0F321-A85F-4068-88D3-3C5CE9A092C8}"/>
                </a:ext>
              </a:extLst>
            </p:cNvPr>
            <p:cNvSpPr>
              <a:spLocks/>
            </p:cNvSpPr>
            <p:nvPr/>
          </p:nvSpPr>
          <p:spPr bwMode="gray">
            <a:xfrm>
              <a:off x="5579780" y="2797504"/>
              <a:ext cx="470407" cy="264996"/>
            </a:xfrm>
            <a:custGeom>
              <a:avLst/>
              <a:gdLst>
                <a:gd name="T0" fmla="*/ 2147483647 w 1182"/>
                <a:gd name="T1" fmla="*/ 2147483647 h 666"/>
                <a:gd name="T2" fmla="*/ 2147483647 w 1182"/>
                <a:gd name="T3" fmla="*/ 2147483647 h 666"/>
                <a:gd name="T4" fmla="*/ 2147483647 w 1182"/>
                <a:gd name="T5" fmla="*/ 2147483647 h 666"/>
                <a:gd name="T6" fmla="*/ 2147483647 w 1182"/>
                <a:gd name="T7" fmla="*/ 2147483647 h 666"/>
                <a:gd name="T8" fmla="*/ 2147483647 w 1182"/>
                <a:gd name="T9" fmla="*/ 2147483647 h 666"/>
                <a:gd name="T10" fmla="*/ 2147483647 w 1182"/>
                <a:gd name="T11" fmla="*/ 2147483647 h 666"/>
                <a:gd name="T12" fmla="*/ 2147483647 w 1182"/>
                <a:gd name="T13" fmla="*/ 2147483647 h 666"/>
                <a:gd name="T14" fmla="*/ 2147483647 w 1182"/>
                <a:gd name="T15" fmla="*/ 2147483647 h 666"/>
                <a:gd name="T16" fmla="*/ 2147483647 w 1182"/>
                <a:gd name="T17" fmla="*/ 2147483647 h 666"/>
                <a:gd name="T18" fmla="*/ 2147483647 w 1182"/>
                <a:gd name="T19" fmla="*/ 2147483647 h 666"/>
                <a:gd name="T20" fmla="*/ 2147483647 w 1182"/>
                <a:gd name="T21" fmla="*/ 2147483647 h 666"/>
                <a:gd name="T22" fmla="*/ 2147483647 w 1182"/>
                <a:gd name="T23" fmla="*/ 2147483647 h 666"/>
                <a:gd name="T24" fmla="*/ 2147483647 w 1182"/>
                <a:gd name="T25" fmla="*/ 2147483647 h 666"/>
                <a:gd name="T26" fmla="*/ 2147483647 w 1182"/>
                <a:gd name="T27" fmla="*/ 2147483647 h 666"/>
                <a:gd name="T28" fmla="*/ 2147483647 w 1182"/>
                <a:gd name="T29" fmla="*/ 2147483647 h 666"/>
                <a:gd name="T30" fmla="*/ 2147483647 w 1182"/>
                <a:gd name="T31" fmla="*/ 2147483647 h 666"/>
                <a:gd name="T32" fmla="*/ 2147483647 w 1182"/>
                <a:gd name="T33" fmla="*/ 2147483647 h 666"/>
                <a:gd name="T34" fmla="*/ 2147483647 w 1182"/>
                <a:gd name="T35" fmla="*/ 2147483647 h 666"/>
                <a:gd name="T36" fmla="*/ 2147483647 w 1182"/>
                <a:gd name="T37" fmla="*/ 2147483647 h 666"/>
                <a:gd name="T38" fmla="*/ 2147483647 w 1182"/>
                <a:gd name="T39" fmla="*/ 2147483647 h 666"/>
                <a:gd name="T40" fmla="*/ 2147483647 w 1182"/>
                <a:gd name="T41" fmla="*/ 2147483647 h 666"/>
                <a:gd name="T42" fmla="*/ 2147483647 w 1182"/>
                <a:gd name="T43" fmla="*/ 2147483647 h 666"/>
                <a:gd name="T44" fmla="*/ 2147483647 w 1182"/>
                <a:gd name="T45" fmla="*/ 2147483647 h 666"/>
                <a:gd name="T46" fmla="*/ 2147483647 w 1182"/>
                <a:gd name="T47" fmla="*/ 2147483647 h 666"/>
                <a:gd name="T48" fmla="*/ 2147483647 w 1182"/>
                <a:gd name="T49" fmla="*/ 2147483647 h 666"/>
                <a:gd name="T50" fmla="*/ 2147483647 w 1182"/>
                <a:gd name="T51" fmla="*/ 2147483647 h 666"/>
                <a:gd name="T52" fmla="*/ 2147483647 w 1182"/>
                <a:gd name="T53" fmla="*/ 2147483647 h 666"/>
                <a:gd name="T54" fmla="*/ 2147483647 w 1182"/>
                <a:gd name="T55" fmla="*/ 2147483647 h 666"/>
                <a:gd name="T56" fmla="*/ 2147483647 w 1182"/>
                <a:gd name="T57" fmla="*/ 2147483647 h 666"/>
                <a:gd name="T58" fmla="*/ 2147483647 w 1182"/>
                <a:gd name="T59" fmla="*/ 2147483647 h 666"/>
                <a:gd name="T60" fmla="*/ 2147483647 w 1182"/>
                <a:gd name="T61" fmla="*/ 2147483647 h 666"/>
                <a:gd name="T62" fmla="*/ 2147483647 w 1182"/>
                <a:gd name="T63" fmla="*/ 2147483647 h 666"/>
                <a:gd name="T64" fmla="*/ 2147483647 w 1182"/>
                <a:gd name="T65" fmla="*/ 2147483647 h 666"/>
                <a:gd name="T66" fmla="*/ 2147483647 w 1182"/>
                <a:gd name="T67" fmla="*/ 2147483647 h 666"/>
                <a:gd name="T68" fmla="*/ 2147483647 w 1182"/>
                <a:gd name="T69" fmla="*/ 2147483647 h 666"/>
                <a:gd name="T70" fmla="*/ 2147483647 w 1182"/>
                <a:gd name="T71" fmla="*/ 2147483647 h 666"/>
                <a:gd name="T72" fmla="*/ 2147483647 w 1182"/>
                <a:gd name="T73" fmla="*/ 2147483647 h 666"/>
                <a:gd name="T74" fmla="*/ 2147483647 w 1182"/>
                <a:gd name="T75" fmla="*/ 2147483647 h 666"/>
                <a:gd name="T76" fmla="*/ 2147483647 w 1182"/>
                <a:gd name="T77" fmla="*/ 2147483647 h 666"/>
                <a:gd name="T78" fmla="*/ 2147483647 w 1182"/>
                <a:gd name="T79" fmla="*/ 2147483647 h 666"/>
                <a:gd name="T80" fmla="*/ 2147483647 w 1182"/>
                <a:gd name="T81" fmla="*/ 2147483647 h 666"/>
                <a:gd name="T82" fmla="*/ 2147483647 w 1182"/>
                <a:gd name="T83" fmla="*/ 2147483647 h 666"/>
                <a:gd name="T84" fmla="*/ 2147483647 w 1182"/>
                <a:gd name="T85" fmla="*/ 2147483647 h 666"/>
                <a:gd name="T86" fmla="*/ 2147483647 w 1182"/>
                <a:gd name="T87" fmla="*/ 2147483647 h 666"/>
                <a:gd name="T88" fmla="*/ 2147483647 w 1182"/>
                <a:gd name="T89" fmla="*/ 2147483647 h 666"/>
                <a:gd name="T90" fmla="*/ 2147483647 w 1182"/>
                <a:gd name="T91" fmla="*/ 2147483647 h 666"/>
                <a:gd name="T92" fmla="*/ 2147483647 w 1182"/>
                <a:gd name="T93" fmla="*/ 2147483647 h 666"/>
                <a:gd name="T94" fmla="*/ 2147483647 w 1182"/>
                <a:gd name="T95" fmla="*/ 2147483647 h 666"/>
                <a:gd name="T96" fmla="*/ 2147483647 w 1182"/>
                <a:gd name="T97" fmla="*/ 2147483647 h 666"/>
                <a:gd name="T98" fmla="*/ 2147483647 w 1182"/>
                <a:gd name="T99" fmla="*/ 2147483647 h 666"/>
                <a:gd name="T100" fmla="*/ 2147483647 w 1182"/>
                <a:gd name="T101" fmla="*/ 2147483647 h 666"/>
                <a:gd name="T102" fmla="*/ 2147483647 w 1182"/>
                <a:gd name="T103" fmla="*/ 2147483647 h 666"/>
                <a:gd name="T104" fmla="*/ 2147483647 w 1182"/>
                <a:gd name="T105" fmla="*/ 2147483647 h 666"/>
                <a:gd name="T106" fmla="*/ 2147483647 w 1182"/>
                <a:gd name="T107" fmla="*/ 2147483647 h 666"/>
                <a:gd name="T108" fmla="*/ 2147483647 w 1182"/>
                <a:gd name="T109" fmla="*/ 2147483647 h 666"/>
                <a:gd name="T110" fmla="*/ 2147483647 w 1182"/>
                <a:gd name="T111" fmla="*/ 2147483647 h 666"/>
                <a:gd name="T112" fmla="*/ 2147483647 w 1182"/>
                <a:gd name="T113" fmla="*/ 2147483647 h 666"/>
                <a:gd name="T114" fmla="*/ 2147483647 w 1182"/>
                <a:gd name="T115" fmla="*/ 2147483647 h 6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82"/>
                <a:gd name="T175" fmla="*/ 0 h 666"/>
                <a:gd name="T176" fmla="*/ 1182 w 1182"/>
                <a:gd name="T177" fmla="*/ 666 h 66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82" h="666">
                  <a:moveTo>
                    <a:pt x="1152" y="372"/>
                  </a:moveTo>
                  <a:lnTo>
                    <a:pt x="1146" y="360"/>
                  </a:lnTo>
                  <a:lnTo>
                    <a:pt x="1122" y="360"/>
                  </a:lnTo>
                  <a:lnTo>
                    <a:pt x="1116" y="342"/>
                  </a:lnTo>
                  <a:lnTo>
                    <a:pt x="1098" y="342"/>
                  </a:lnTo>
                  <a:lnTo>
                    <a:pt x="1080" y="318"/>
                  </a:lnTo>
                  <a:lnTo>
                    <a:pt x="1080" y="330"/>
                  </a:lnTo>
                  <a:lnTo>
                    <a:pt x="1068" y="330"/>
                  </a:lnTo>
                  <a:lnTo>
                    <a:pt x="1068" y="342"/>
                  </a:lnTo>
                  <a:lnTo>
                    <a:pt x="1032" y="342"/>
                  </a:lnTo>
                  <a:lnTo>
                    <a:pt x="1020" y="330"/>
                  </a:lnTo>
                  <a:lnTo>
                    <a:pt x="990" y="318"/>
                  </a:lnTo>
                  <a:lnTo>
                    <a:pt x="1038" y="270"/>
                  </a:lnTo>
                  <a:lnTo>
                    <a:pt x="1038" y="264"/>
                  </a:lnTo>
                  <a:lnTo>
                    <a:pt x="1032" y="264"/>
                  </a:lnTo>
                  <a:lnTo>
                    <a:pt x="1032" y="258"/>
                  </a:lnTo>
                  <a:lnTo>
                    <a:pt x="1002" y="276"/>
                  </a:lnTo>
                  <a:lnTo>
                    <a:pt x="978" y="276"/>
                  </a:lnTo>
                  <a:lnTo>
                    <a:pt x="966" y="300"/>
                  </a:lnTo>
                  <a:lnTo>
                    <a:pt x="960" y="300"/>
                  </a:lnTo>
                  <a:lnTo>
                    <a:pt x="954" y="306"/>
                  </a:lnTo>
                  <a:lnTo>
                    <a:pt x="942" y="306"/>
                  </a:lnTo>
                  <a:lnTo>
                    <a:pt x="930" y="312"/>
                  </a:lnTo>
                  <a:lnTo>
                    <a:pt x="918" y="324"/>
                  </a:lnTo>
                  <a:lnTo>
                    <a:pt x="918" y="342"/>
                  </a:lnTo>
                  <a:lnTo>
                    <a:pt x="912" y="342"/>
                  </a:lnTo>
                  <a:lnTo>
                    <a:pt x="906" y="348"/>
                  </a:lnTo>
                  <a:lnTo>
                    <a:pt x="894" y="354"/>
                  </a:lnTo>
                  <a:lnTo>
                    <a:pt x="882" y="366"/>
                  </a:lnTo>
                  <a:lnTo>
                    <a:pt x="882" y="378"/>
                  </a:lnTo>
                  <a:lnTo>
                    <a:pt x="888" y="384"/>
                  </a:lnTo>
                  <a:lnTo>
                    <a:pt x="888" y="396"/>
                  </a:lnTo>
                  <a:lnTo>
                    <a:pt x="882" y="390"/>
                  </a:lnTo>
                  <a:lnTo>
                    <a:pt x="870" y="390"/>
                  </a:lnTo>
                  <a:lnTo>
                    <a:pt x="858" y="384"/>
                  </a:lnTo>
                  <a:lnTo>
                    <a:pt x="852" y="384"/>
                  </a:lnTo>
                  <a:lnTo>
                    <a:pt x="852" y="372"/>
                  </a:lnTo>
                  <a:lnTo>
                    <a:pt x="858" y="366"/>
                  </a:lnTo>
                  <a:lnTo>
                    <a:pt x="858" y="348"/>
                  </a:lnTo>
                  <a:lnTo>
                    <a:pt x="840" y="342"/>
                  </a:lnTo>
                  <a:lnTo>
                    <a:pt x="762" y="342"/>
                  </a:lnTo>
                  <a:lnTo>
                    <a:pt x="732" y="282"/>
                  </a:lnTo>
                  <a:lnTo>
                    <a:pt x="726" y="276"/>
                  </a:lnTo>
                  <a:lnTo>
                    <a:pt x="714" y="276"/>
                  </a:lnTo>
                  <a:lnTo>
                    <a:pt x="708" y="282"/>
                  </a:lnTo>
                  <a:lnTo>
                    <a:pt x="702" y="282"/>
                  </a:lnTo>
                  <a:lnTo>
                    <a:pt x="696" y="276"/>
                  </a:lnTo>
                  <a:lnTo>
                    <a:pt x="696" y="234"/>
                  </a:lnTo>
                  <a:lnTo>
                    <a:pt x="690" y="216"/>
                  </a:lnTo>
                  <a:lnTo>
                    <a:pt x="690" y="204"/>
                  </a:lnTo>
                  <a:lnTo>
                    <a:pt x="660" y="204"/>
                  </a:lnTo>
                  <a:lnTo>
                    <a:pt x="654" y="192"/>
                  </a:lnTo>
                  <a:lnTo>
                    <a:pt x="642" y="186"/>
                  </a:lnTo>
                  <a:lnTo>
                    <a:pt x="636" y="168"/>
                  </a:lnTo>
                  <a:lnTo>
                    <a:pt x="618" y="150"/>
                  </a:lnTo>
                  <a:lnTo>
                    <a:pt x="612" y="138"/>
                  </a:lnTo>
                  <a:lnTo>
                    <a:pt x="600" y="138"/>
                  </a:lnTo>
                  <a:lnTo>
                    <a:pt x="576" y="150"/>
                  </a:lnTo>
                  <a:lnTo>
                    <a:pt x="570" y="156"/>
                  </a:lnTo>
                  <a:lnTo>
                    <a:pt x="552" y="156"/>
                  </a:lnTo>
                  <a:lnTo>
                    <a:pt x="534" y="150"/>
                  </a:lnTo>
                  <a:lnTo>
                    <a:pt x="474" y="150"/>
                  </a:lnTo>
                  <a:lnTo>
                    <a:pt x="456" y="156"/>
                  </a:lnTo>
                  <a:lnTo>
                    <a:pt x="420" y="156"/>
                  </a:lnTo>
                  <a:lnTo>
                    <a:pt x="414" y="162"/>
                  </a:lnTo>
                  <a:lnTo>
                    <a:pt x="408" y="162"/>
                  </a:lnTo>
                  <a:lnTo>
                    <a:pt x="330" y="90"/>
                  </a:lnTo>
                  <a:lnTo>
                    <a:pt x="264" y="54"/>
                  </a:lnTo>
                  <a:lnTo>
                    <a:pt x="270" y="66"/>
                  </a:lnTo>
                  <a:lnTo>
                    <a:pt x="270" y="90"/>
                  </a:lnTo>
                  <a:lnTo>
                    <a:pt x="264" y="102"/>
                  </a:lnTo>
                  <a:lnTo>
                    <a:pt x="258" y="108"/>
                  </a:lnTo>
                  <a:lnTo>
                    <a:pt x="240" y="108"/>
                  </a:lnTo>
                  <a:lnTo>
                    <a:pt x="228" y="102"/>
                  </a:lnTo>
                  <a:lnTo>
                    <a:pt x="222" y="96"/>
                  </a:lnTo>
                  <a:lnTo>
                    <a:pt x="222" y="78"/>
                  </a:lnTo>
                  <a:lnTo>
                    <a:pt x="210" y="54"/>
                  </a:lnTo>
                  <a:lnTo>
                    <a:pt x="216" y="36"/>
                  </a:lnTo>
                  <a:lnTo>
                    <a:pt x="162" y="12"/>
                  </a:lnTo>
                  <a:lnTo>
                    <a:pt x="156" y="30"/>
                  </a:lnTo>
                  <a:lnTo>
                    <a:pt x="168" y="36"/>
                  </a:lnTo>
                  <a:lnTo>
                    <a:pt x="174" y="48"/>
                  </a:lnTo>
                  <a:lnTo>
                    <a:pt x="174" y="72"/>
                  </a:lnTo>
                  <a:lnTo>
                    <a:pt x="168" y="78"/>
                  </a:lnTo>
                  <a:lnTo>
                    <a:pt x="156" y="84"/>
                  </a:lnTo>
                  <a:lnTo>
                    <a:pt x="150" y="84"/>
                  </a:lnTo>
                  <a:lnTo>
                    <a:pt x="144" y="78"/>
                  </a:lnTo>
                  <a:lnTo>
                    <a:pt x="144" y="60"/>
                  </a:lnTo>
                  <a:lnTo>
                    <a:pt x="132" y="48"/>
                  </a:lnTo>
                  <a:lnTo>
                    <a:pt x="132" y="42"/>
                  </a:lnTo>
                  <a:lnTo>
                    <a:pt x="144" y="30"/>
                  </a:lnTo>
                  <a:lnTo>
                    <a:pt x="150" y="6"/>
                  </a:lnTo>
                  <a:lnTo>
                    <a:pt x="144" y="0"/>
                  </a:lnTo>
                  <a:lnTo>
                    <a:pt x="0" y="42"/>
                  </a:lnTo>
                  <a:lnTo>
                    <a:pt x="48" y="324"/>
                  </a:lnTo>
                  <a:lnTo>
                    <a:pt x="60" y="324"/>
                  </a:lnTo>
                  <a:lnTo>
                    <a:pt x="72" y="336"/>
                  </a:lnTo>
                  <a:lnTo>
                    <a:pt x="138" y="336"/>
                  </a:lnTo>
                  <a:lnTo>
                    <a:pt x="132" y="324"/>
                  </a:lnTo>
                  <a:lnTo>
                    <a:pt x="120" y="318"/>
                  </a:lnTo>
                  <a:lnTo>
                    <a:pt x="114" y="300"/>
                  </a:lnTo>
                  <a:lnTo>
                    <a:pt x="114" y="288"/>
                  </a:lnTo>
                  <a:lnTo>
                    <a:pt x="132" y="270"/>
                  </a:lnTo>
                  <a:lnTo>
                    <a:pt x="144" y="264"/>
                  </a:lnTo>
                  <a:lnTo>
                    <a:pt x="156" y="264"/>
                  </a:lnTo>
                  <a:lnTo>
                    <a:pt x="162" y="258"/>
                  </a:lnTo>
                  <a:lnTo>
                    <a:pt x="168" y="258"/>
                  </a:lnTo>
                  <a:lnTo>
                    <a:pt x="168" y="246"/>
                  </a:lnTo>
                  <a:lnTo>
                    <a:pt x="174" y="240"/>
                  </a:lnTo>
                  <a:lnTo>
                    <a:pt x="180" y="240"/>
                  </a:lnTo>
                  <a:lnTo>
                    <a:pt x="186" y="246"/>
                  </a:lnTo>
                  <a:lnTo>
                    <a:pt x="198" y="246"/>
                  </a:lnTo>
                  <a:lnTo>
                    <a:pt x="204" y="252"/>
                  </a:lnTo>
                  <a:lnTo>
                    <a:pt x="174" y="222"/>
                  </a:lnTo>
                  <a:lnTo>
                    <a:pt x="204" y="228"/>
                  </a:lnTo>
                  <a:lnTo>
                    <a:pt x="210" y="216"/>
                  </a:lnTo>
                  <a:lnTo>
                    <a:pt x="228" y="240"/>
                  </a:lnTo>
                  <a:lnTo>
                    <a:pt x="252" y="240"/>
                  </a:lnTo>
                  <a:lnTo>
                    <a:pt x="252" y="252"/>
                  </a:lnTo>
                  <a:lnTo>
                    <a:pt x="264" y="258"/>
                  </a:lnTo>
                  <a:lnTo>
                    <a:pt x="300" y="258"/>
                  </a:lnTo>
                  <a:lnTo>
                    <a:pt x="306" y="264"/>
                  </a:lnTo>
                  <a:lnTo>
                    <a:pt x="312" y="276"/>
                  </a:lnTo>
                  <a:lnTo>
                    <a:pt x="312" y="288"/>
                  </a:lnTo>
                  <a:lnTo>
                    <a:pt x="324" y="294"/>
                  </a:lnTo>
                  <a:lnTo>
                    <a:pt x="312" y="306"/>
                  </a:lnTo>
                  <a:lnTo>
                    <a:pt x="312" y="318"/>
                  </a:lnTo>
                  <a:lnTo>
                    <a:pt x="330" y="336"/>
                  </a:lnTo>
                  <a:lnTo>
                    <a:pt x="360" y="336"/>
                  </a:lnTo>
                  <a:lnTo>
                    <a:pt x="414" y="342"/>
                  </a:lnTo>
                  <a:lnTo>
                    <a:pt x="414" y="336"/>
                  </a:lnTo>
                  <a:lnTo>
                    <a:pt x="450" y="354"/>
                  </a:lnTo>
                  <a:lnTo>
                    <a:pt x="468" y="384"/>
                  </a:lnTo>
                  <a:lnTo>
                    <a:pt x="486" y="402"/>
                  </a:lnTo>
                  <a:lnTo>
                    <a:pt x="486" y="408"/>
                  </a:lnTo>
                  <a:lnTo>
                    <a:pt x="492" y="414"/>
                  </a:lnTo>
                  <a:lnTo>
                    <a:pt x="510" y="450"/>
                  </a:lnTo>
                  <a:lnTo>
                    <a:pt x="522" y="462"/>
                  </a:lnTo>
                  <a:lnTo>
                    <a:pt x="534" y="468"/>
                  </a:lnTo>
                  <a:lnTo>
                    <a:pt x="552" y="468"/>
                  </a:lnTo>
                  <a:lnTo>
                    <a:pt x="564" y="474"/>
                  </a:lnTo>
                  <a:lnTo>
                    <a:pt x="570" y="474"/>
                  </a:lnTo>
                  <a:lnTo>
                    <a:pt x="582" y="486"/>
                  </a:lnTo>
                  <a:lnTo>
                    <a:pt x="588" y="498"/>
                  </a:lnTo>
                  <a:lnTo>
                    <a:pt x="594" y="504"/>
                  </a:lnTo>
                  <a:lnTo>
                    <a:pt x="624" y="522"/>
                  </a:lnTo>
                  <a:lnTo>
                    <a:pt x="648" y="522"/>
                  </a:lnTo>
                  <a:lnTo>
                    <a:pt x="666" y="534"/>
                  </a:lnTo>
                  <a:lnTo>
                    <a:pt x="690" y="546"/>
                  </a:lnTo>
                  <a:lnTo>
                    <a:pt x="696" y="552"/>
                  </a:lnTo>
                  <a:lnTo>
                    <a:pt x="708" y="558"/>
                  </a:lnTo>
                  <a:lnTo>
                    <a:pt x="720" y="570"/>
                  </a:lnTo>
                  <a:lnTo>
                    <a:pt x="732" y="570"/>
                  </a:lnTo>
                  <a:lnTo>
                    <a:pt x="744" y="582"/>
                  </a:lnTo>
                  <a:lnTo>
                    <a:pt x="750" y="582"/>
                  </a:lnTo>
                  <a:lnTo>
                    <a:pt x="774" y="576"/>
                  </a:lnTo>
                  <a:lnTo>
                    <a:pt x="822" y="606"/>
                  </a:lnTo>
                  <a:lnTo>
                    <a:pt x="816" y="612"/>
                  </a:lnTo>
                  <a:lnTo>
                    <a:pt x="816" y="630"/>
                  </a:lnTo>
                  <a:lnTo>
                    <a:pt x="828" y="642"/>
                  </a:lnTo>
                  <a:lnTo>
                    <a:pt x="828" y="654"/>
                  </a:lnTo>
                  <a:lnTo>
                    <a:pt x="840" y="654"/>
                  </a:lnTo>
                  <a:lnTo>
                    <a:pt x="852" y="642"/>
                  </a:lnTo>
                  <a:lnTo>
                    <a:pt x="870" y="666"/>
                  </a:lnTo>
                  <a:lnTo>
                    <a:pt x="882" y="660"/>
                  </a:lnTo>
                  <a:lnTo>
                    <a:pt x="894" y="660"/>
                  </a:lnTo>
                  <a:lnTo>
                    <a:pt x="900" y="666"/>
                  </a:lnTo>
                  <a:lnTo>
                    <a:pt x="906" y="666"/>
                  </a:lnTo>
                  <a:lnTo>
                    <a:pt x="900" y="666"/>
                  </a:lnTo>
                  <a:lnTo>
                    <a:pt x="900" y="642"/>
                  </a:lnTo>
                  <a:lnTo>
                    <a:pt x="906" y="636"/>
                  </a:lnTo>
                  <a:lnTo>
                    <a:pt x="912" y="624"/>
                  </a:lnTo>
                  <a:lnTo>
                    <a:pt x="924" y="618"/>
                  </a:lnTo>
                  <a:lnTo>
                    <a:pt x="930" y="606"/>
                  </a:lnTo>
                  <a:lnTo>
                    <a:pt x="930" y="588"/>
                  </a:lnTo>
                  <a:lnTo>
                    <a:pt x="918" y="576"/>
                  </a:lnTo>
                  <a:lnTo>
                    <a:pt x="906" y="570"/>
                  </a:lnTo>
                  <a:lnTo>
                    <a:pt x="900" y="564"/>
                  </a:lnTo>
                  <a:lnTo>
                    <a:pt x="900" y="546"/>
                  </a:lnTo>
                  <a:lnTo>
                    <a:pt x="906" y="540"/>
                  </a:lnTo>
                  <a:lnTo>
                    <a:pt x="906" y="534"/>
                  </a:lnTo>
                  <a:lnTo>
                    <a:pt x="894" y="522"/>
                  </a:lnTo>
                  <a:lnTo>
                    <a:pt x="882" y="522"/>
                  </a:lnTo>
                  <a:lnTo>
                    <a:pt x="876" y="516"/>
                  </a:lnTo>
                  <a:lnTo>
                    <a:pt x="870" y="516"/>
                  </a:lnTo>
                  <a:lnTo>
                    <a:pt x="858" y="504"/>
                  </a:lnTo>
                  <a:lnTo>
                    <a:pt x="840" y="504"/>
                  </a:lnTo>
                  <a:lnTo>
                    <a:pt x="840" y="486"/>
                  </a:lnTo>
                  <a:lnTo>
                    <a:pt x="846" y="480"/>
                  </a:lnTo>
                  <a:lnTo>
                    <a:pt x="894" y="480"/>
                  </a:lnTo>
                  <a:lnTo>
                    <a:pt x="918" y="468"/>
                  </a:lnTo>
                  <a:lnTo>
                    <a:pt x="918" y="456"/>
                  </a:lnTo>
                  <a:lnTo>
                    <a:pt x="912" y="456"/>
                  </a:lnTo>
                  <a:lnTo>
                    <a:pt x="930" y="444"/>
                  </a:lnTo>
                  <a:lnTo>
                    <a:pt x="906" y="420"/>
                  </a:lnTo>
                  <a:lnTo>
                    <a:pt x="948" y="420"/>
                  </a:lnTo>
                  <a:lnTo>
                    <a:pt x="948" y="414"/>
                  </a:lnTo>
                  <a:lnTo>
                    <a:pt x="936" y="402"/>
                  </a:lnTo>
                  <a:lnTo>
                    <a:pt x="936" y="390"/>
                  </a:lnTo>
                  <a:lnTo>
                    <a:pt x="942" y="384"/>
                  </a:lnTo>
                  <a:lnTo>
                    <a:pt x="942" y="372"/>
                  </a:lnTo>
                  <a:lnTo>
                    <a:pt x="954" y="372"/>
                  </a:lnTo>
                  <a:lnTo>
                    <a:pt x="972" y="390"/>
                  </a:lnTo>
                  <a:lnTo>
                    <a:pt x="978" y="390"/>
                  </a:lnTo>
                  <a:lnTo>
                    <a:pt x="984" y="378"/>
                  </a:lnTo>
                  <a:lnTo>
                    <a:pt x="996" y="372"/>
                  </a:lnTo>
                  <a:lnTo>
                    <a:pt x="1002" y="360"/>
                  </a:lnTo>
                  <a:lnTo>
                    <a:pt x="1020" y="360"/>
                  </a:lnTo>
                  <a:lnTo>
                    <a:pt x="1032" y="366"/>
                  </a:lnTo>
                  <a:lnTo>
                    <a:pt x="1038" y="372"/>
                  </a:lnTo>
                  <a:lnTo>
                    <a:pt x="1014" y="408"/>
                  </a:lnTo>
                  <a:lnTo>
                    <a:pt x="1026" y="408"/>
                  </a:lnTo>
                  <a:lnTo>
                    <a:pt x="1032" y="414"/>
                  </a:lnTo>
                  <a:lnTo>
                    <a:pt x="1044" y="414"/>
                  </a:lnTo>
                  <a:lnTo>
                    <a:pt x="1050" y="420"/>
                  </a:lnTo>
                  <a:lnTo>
                    <a:pt x="1056" y="420"/>
                  </a:lnTo>
                  <a:lnTo>
                    <a:pt x="1068" y="414"/>
                  </a:lnTo>
                  <a:lnTo>
                    <a:pt x="1086" y="414"/>
                  </a:lnTo>
                  <a:lnTo>
                    <a:pt x="1092" y="420"/>
                  </a:lnTo>
                  <a:lnTo>
                    <a:pt x="1098" y="420"/>
                  </a:lnTo>
                  <a:lnTo>
                    <a:pt x="1104" y="426"/>
                  </a:lnTo>
                  <a:lnTo>
                    <a:pt x="1110" y="426"/>
                  </a:lnTo>
                  <a:lnTo>
                    <a:pt x="1128" y="408"/>
                  </a:lnTo>
                  <a:lnTo>
                    <a:pt x="1146" y="402"/>
                  </a:lnTo>
                  <a:lnTo>
                    <a:pt x="1146" y="396"/>
                  </a:lnTo>
                  <a:lnTo>
                    <a:pt x="1158" y="396"/>
                  </a:lnTo>
                  <a:lnTo>
                    <a:pt x="1170" y="390"/>
                  </a:lnTo>
                  <a:lnTo>
                    <a:pt x="1182" y="378"/>
                  </a:lnTo>
                  <a:lnTo>
                    <a:pt x="1182" y="366"/>
                  </a:lnTo>
                  <a:lnTo>
                    <a:pt x="1170" y="366"/>
                  </a:lnTo>
                  <a:lnTo>
                    <a:pt x="1158" y="372"/>
                  </a:lnTo>
                  <a:lnTo>
                    <a:pt x="1152" y="37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35" name="Vietnam" descr="© INSCALE GmbH, 05.05.2010&#10;http://www.presentationload.com/">
              <a:extLst>
                <a:ext uri="{FF2B5EF4-FFF2-40B4-BE49-F238E27FC236}">
                  <a16:creationId xmlns:a16="http://schemas.microsoft.com/office/drawing/2014/main" id="{32EA451C-5E21-452A-B685-25D413B59028}"/>
                </a:ext>
              </a:extLst>
            </p:cNvPr>
            <p:cNvSpPr>
              <a:spLocks/>
            </p:cNvSpPr>
            <p:nvPr/>
          </p:nvSpPr>
          <p:spPr bwMode="gray">
            <a:xfrm>
              <a:off x="6965912" y="3503114"/>
              <a:ext cx="241476" cy="473543"/>
            </a:xfrm>
            <a:custGeom>
              <a:avLst/>
              <a:gdLst>
                <a:gd name="T0" fmla="*/ 2147483647 w 606"/>
                <a:gd name="T1" fmla="*/ 2147483647 h 1194"/>
                <a:gd name="T2" fmla="*/ 2147483647 w 606"/>
                <a:gd name="T3" fmla="*/ 2147483647 h 1194"/>
                <a:gd name="T4" fmla="*/ 2147483647 w 606"/>
                <a:gd name="T5" fmla="*/ 2147483647 h 1194"/>
                <a:gd name="T6" fmla="*/ 2147483647 w 606"/>
                <a:gd name="T7" fmla="*/ 2147483647 h 1194"/>
                <a:gd name="T8" fmla="*/ 2147483647 w 606"/>
                <a:gd name="T9" fmla="*/ 2147483647 h 1194"/>
                <a:gd name="T10" fmla="*/ 2147483647 w 606"/>
                <a:gd name="T11" fmla="*/ 2147483647 h 1194"/>
                <a:gd name="T12" fmla="*/ 2147483647 w 606"/>
                <a:gd name="T13" fmla="*/ 2147483647 h 1194"/>
                <a:gd name="T14" fmla="*/ 2147483647 w 606"/>
                <a:gd name="T15" fmla="*/ 2147483647 h 1194"/>
                <a:gd name="T16" fmla="*/ 2147483647 w 606"/>
                <a:gd name="T17" fmla="*/ 2147483647 h 1194"/>
                <a:gd name="T18" fmla="*/ 2147483647 w 606"/>
                <a:gd name="T19" fmla="*/ 2147483647 h 1194"/>
                <a:gd name="T20" fmla="*/ 2147483647 w 606"/>
                <a:gd name="T21" fmla="*/ 2147483647 h 1194"/>
                <a:gd name="T22" fmla="*/ 2147483647 w 606"/>
                <a:gd name="T23" fmla="*/ 2147483647 h 1194"/>
                <a:gd name="T24" fmla="*/ 2147483647 w 606"/>
                <a:gd name="T25" fmla="*/ 2147483647 h 1194"/>
                <a:gd name="T26" fmla="*/ 2147483647 w 606"/>
                <a:gd name="T27" fmla="*/ 2147483647 h 1194"/>
                <a:gd name="T28" fmla="*/ 2147483647 w 606"/>
                <a:gd name="T29" fmla="*/ 2147483647 h 1194"/>
                <a:gd name="T30" fmla="*/ 2147483647 w 606"/>
                <a:gd name="T31" fmla="*/ 2147483647 h 1194"/>
                <a:gd name="T32" fmla="*/ 2147483647 w 606"/>
                <a:gd name="T33" fmla="*/ 2147483647 h 1194"/>
                <a:gd name="T34" fmla="*/ 2147483647 w 606"/>
                <a:gd name="T35" fmla="*/ 2147483647 h 1194"/>
                <a:gd name="T36" fmla="*/ 2147483647 w 606"/>
                <a:gd name="T37" fmla="*/ 2147483647 h 1194"/>
                <a:gd name="T38" fmla="*/ 2147483647 w 606"/>
                <a:gd name="T39" fmla="*/ 2147483647 h 1194"/>
                <a:gd name="T40" fmla="*/ 2147483647 w 606"/>
                <a:gd name="T41" fmla="*/ 2147483647 h 1194"/>
                <a:gd name="T42" fmla="*/ 2147483647 w 606"/>
                <a:gd name="T43" fmla="*/ 2147483647 h 1194"/>
                <a:gd name="T44" fmla="*/ 2147483647 w 606"/>
                <a:gd name="T45" fmla="*/ 2147483647 h 1194"/>
                <a:gd name="T46" fmla="*/ 2147483647 w 606"/>
                <a:gd name="T47" fmla="*/ 2147483647 h 1194"/>
                <a:gd name="T48" fmla="*/ 2147483647 w 606"/>
                <a:gd name="T49" fmla="*/ 2147483647 h 1194"/>
                <a:gd name="T50" fmla="*/ 2147483647 w 606"/>
                <a:gd name="T51" fmla="*/ 2147483647 h 1194"/>
                <a:gd name="T52" fmla="*/ 2147483647 w 606"/>
                <a:gd name="T53" fmla="*/ 2147483647 h 1194"/>
                <a:gd name="T54" fmla="*/ 2147483647 w 606"/>
                <a:gd name="T55" fmla="*/ 2147483647 h 1194"/>
                <a:gd name="T56" fmla="*/ 2147483647 w 606"/>
                <a:gd name="T57" fmla="*/ 2147483647 h 1194"/>
                <a:gd name="T58" fmla="*/ 2147483647 w 606"/>
                <a:gd name="T59" fmla="*/ 2147483647 h 1194"/>
                <a:gd name="T60" fmla="*/ 2147483647 w 606"/>
                <a:gd name="T61" fmla="*/ 2147483647 h 1194"/>
                <a:gd name="T62" fmla="*/ 2147483647 w 606"/>
                <a:gd name="T63" fmla="*/ 2147483647 h 1194"/>
                <a:gd name="T64" fmla="*/ 2147483647 w 606"/>
                <a:gd name="T65" fmla="*/ 2147483647 h 1194"/>
                <a:gd name="T66" fmla="*/ 2147483647 w 606"/>
                <a:gd name="T67" fmla="*/ 2147483647 h 1194"/>
                <a:gd name="T68" fmla="*/ 2147483647 w 606"/>
                <a:gd name="T69" fmla="*/ 2147483647 h 1194"/>
                <a:gd name="T70" fmla="*/ 2147483647 w 606"/>
                <a:gd name="T71" fmla="*/ 2147483647 h 1194"/>
                <a:gd name="T72" fmla="*/ 2147483647 w 606"/>
                <a:gd name="T73" fmla="*/ 2147483647 h 1194"/>
                <a:gd name="T74" fmla="*/ 2147483647 w 606"/>
                <a:gd name="T75" fmla="*/ 2147483647 h 1194"/>
                <a:gd name="T76" fmla="*/ 2147483647 w 606"/>
                <a:gd name="T77" fmla="*/ 2147483647 h 1194"/>
                <a:gd name="T78" fmla="*/ 2147483647 w 606"/>
                <a:gd name="T79" fmla="*/ 2147483647 h 1194"/>
                <a:gd name="T80" fmla="*/ 2147483647 w 606"/>
                <a:gd name="T81" fmla="*/ 2147483647 h 1194"/>
                <a:gd name="T82" fmla="*/ 2147483647 w 606"/>
                <a:gd name="T83" fmla="*/ 2147483647 h 1194"/>
                <a:gd name="T84" fmla="*/ 2147483647 w 606"/>
                <a:gd name="T85" fmla="*/ 2147483647 h 1194"/>
                <a:gd name="T86" fmla="*/ 2147483647 w 606"/>
                <a:gd name="T87" fmla="*/ 2147483647 h 1194"/>
                <a:gd name="T88" fmla="*/ 2147483647 w 606"/>
                <a:gd name="T89" fmla="*/ 2147483647 h 1194"/>
                <a:gd name="T90" fmla="*/ 2147483647 w 606"/>
                <a:gd name="T91" fmla="*/ 2147483647 h 1194"/>
                <a:gd name="T92" fmla="*/ 2147483647 w 606"/>
                <a:gd name="T93" fmla="*/ 2147483647 h 1194"/>
                <a:gd name="T94" fmla="*/ 2147483647 w 606"/>
                <a:gd name="T95" fmla="*/ 2147483647 h 1194"/>
                <a:gd name="T96" fmla="*/ 2147483647 w 606"/>
                <a:gd name="T97" fmla="*/ 2147483647 h 1194"/>
                <a:gd name="T98" fmla="*/ 2147483647 w 606"/>
                <a:gd name="T99" fmla="*/ 2147483647 h 1194"/>
                <a:gd name="T100" fmla="*/ 2147483647 w 606"/>
                <a:gd name="T101" fmla="*/ 2147483647 h 1194"/>
                <a:gd name="T102" fmla="*/ 2147483647 w 606"/>
                <a:gd name="T103" fmla="*/ 2147483647 h 1194"/>
                <a:gd name="T104" fmla="*/ 2147483647 w 606"/>
                <a:gd name="T105" fmla="*/ 2147483647 h 1194"/>
                <a:gd name="T106" fmla="*/ 2147483647 w 606"/>
                <a:gd name="T107" fmla="*/ 2147483647 h 1194"/>
                <a:gd name="T108" fmla="*/ 2147483647 w 606"/>
                <a:gd name="T109" fmla="*/ 2147483647 h 1194"/>
                <a:gd name="T110" fmla="*/ 2147483647 w 606"/>
                <a:gd name="T111" fmla="*/ 2147483647 h 1194"/>
                <a:gd name="T112" fmla="*/ 2147483647 w 606"/>
                <a:gd name="T113" fmla="*/ 2147483647 h 1194"/>
                <a:gd name="T114" fmla="*/ 2147483647 w 606"/>
                <a:gd name="T115" fmla="*/ 2147483647 h 1194"/>
                <a:gd name="T116" fmla="*/ 2147483647 w 606"/>
                <a:gd name="T117" fmla="*/ 2147483647 h 1194"/>
                <a:gd name="T118" fmla="*/ 2147483647 w 606"/>
                <a:gd name="T119" fmla="*/ 2147483647 h 1194"/>
                <a:gd name="T120" fmla="*/ 2147483647 w 606"/>
                <a:gd name="T121" fmla="*/ 2147483647 h 1194"/>
                <a:gd name="T122" fmla="*/ 2147483647 w 606"/>
                <a:gd name="T123" fmla="*/ 2147483647 h 1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6"/>
                <a:gd name="T187" fmla="*/ 0 h 1194"/>
                <a:gd name="T188" fmla="*/ 606 w 606"/>
                <a:gd name="T189" fmla="*/ 1194 h 1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6" h="1194">
                  <a:moveTo>
                    <a:pt x="6" y="48"/>
                  </a:moveTo>
                  <a:lnTo>
                    <a:pt x="0" y="60"/>
                  </a:lnTo>
                  <a:lnTo>
                    <a:pt x="0" y="72"/>
                  </a:lnTo>
                  <a:lnTo>
                    <a:pt x="12" y="96"/>
                  </a:lnTo>
                  <a:lnTo>
                    <a:pt x="18" y="102"/>
                  </a:lnTo>
                  <a:lnTo>
                    <a:pt x="24" y="114"/>
                  </a:lnTo>
                  <a:lnTo>
                    <a:pt x="36" y="120"/>
                  </a:lnTo>
                  <a:lnTo>
                    <a:pt x="42" y="132"/>
                  </a:lnTo>
                  <a:lnTo>
                    <a:pt x="48" y="126"/>
                  </a:lnTo>
                  <a:lnTo>
                    <a:pt x="54" y="126"/>
                  </a:lnTo>
                  <a:lnTo>
                    <a:pt x="54" y="156"/>
                  </a:lnTo>
                  <a:lnTo>
                    <a:pt x="66" y="180"/>
                  </a:lnTo>
                  <a:lnTo>
                    <a:pt x="84" y="198"/>
                  </a:lnTo>
                  <a:lnTo>
                    <a:pt x="90" y="210"/>
                  </a:lnTo>
                  <a:lnTo>
                    <a:pt x="108" y="210"/>
                  </a:lnTo>
                  <a:lnTo>
                    <a:pt x="108" y="216"/>
                  </a:lnTo>
                  <a:lnTo>
                    <a:pt x="120" y="228"/>
                  </a:lnTo>
                  <a:lnTo>
                    <a:pt x="126" y="222"/>
                  </a:lnTo>
                  <a:lnTo>
                    <a:pt x="132" y="210"/>
                  </a:lnTo>
                  <a:lnTo>
                    <a:pt x="132" y="204"/>
                  </a:lnTo>
                  <a:lnTo>
                    <a:pt x="138" y="192"/>
                  </a:lnTo>
                  <a:lnTo>
                    <a:pt x="150" y="192"/>
                  </a:lnTo>
                  <a:lnTo>
                    <a:pt x="162" y="198"/>
                  </a:lnTo>
                  <a:lnTo>
                    <a:pt x="186" y="222"/>
                  </a:lnTo>
                  <a:lnTo>
                    <a:pt x="180" y="222"/>
                  </a:lnTo>
                  <a:lnTo>
                    <a:pt x="174" y="228"/>
                  </a:lnTo>
                  <a:lnTo>
                    <a:pt x="174" y="234"/>
                  </a:lnTo>
                  <a:lnTo>
                    <a:pt x="198" y="246"/>
                  </a:lnTo>
                  <a:lnTo>
                    <a:pt x="216" y="252"/>
                  </a:lnTo>
                  <a:lnTo>
                    <a:pt x="228" y="258"/>
                  </a:lnTo>
                  <a:lnTo>
                    <a:pt x="228" y="270"/>
                  </a:lnTo>
                  <a:lnTo>
                    <a:pt x="222" y="282"/>
                  </a:lnTo>
                  <a:lnTo>
                    <a:pt x="210" y="288"/>
                  </a:lnTo>
                  <a:lnTo>
                    <a:pt x="204" y="300"/>
                  </a:lnTo>
                  <a:lnTo>
                    <a:pt x="198" y="306"/>
                  </a:lnTo>
                  <a:lnTo>
                    <a:pt x="180" y="306"/>
                  </a:lnTo>
                  <a:lnTo>
                    <a:pt x="174" y="300"/>
                  </a:lnTo>
                  <a:lnTo>
                    <a:pt x="150" y="300"/>
                  </a:lnTo>
                  <a:lnTo>
                    <a:pt x="156" y="306"/>
                  </a:lnTo>
                  <a:lnTo>
                    <a:pt x="156" y="324"/>
                  </a:lnTo>
                  <a:lnTo>
                    <a:pt x="168" y="330"/>
                  </a:lnTo>
                  <a:lnTo>
                    <a:pt x="174" y="336"/>
                  </a:lnTo>
                  <a:lnTo>
                    <a:pt x="210" y="354"/>
                  </a:lnTo>
                  <a:lnTo>
                    <a:pt x="222" y="366"/>
                  </a:lnTo>
                  <a:lnTo>
                    <a:pt x="234" y="372"/>
                  </a:lnTo>
                  <a:lnTo>
                    <a:pt x="240" y="378"/>
                  </a:lnTo>
                  <a:lnTo>
                    <a:pt x="252" y="378"/>
                  </a:lnTo>
                  <a:lnTo>
                    <a:pt x="252" y="408"/>
                  </a:lnTo>
                  <a:lnTo>
                    <a:pt x="258" y="414"/>
                  </a:lnTo>
                  <a:lnTo>
                    <a:pt x="270" y="414"/>
                  </a:lnTo>
                  <a:lnTo>
                    <a:pt x="282" y="420"/>
                  </a:lnTo>
                  <a:lnTo>
                    <a:pt x="288" y="426"/>
                  </a:lnTo>
                  <a:lnTo>
                    <a:pt x="294" y="426"/>
                  </a:lnTo>
                  <a:lnTo>
                    <a:pt x="294" y="450"/>
                  </a:lnTo>
                  <a:lnTo>
                    <a:pt x="306" y="474"/>
                  </a:lnTo>
                  <a:lnTo>
                    <a:pt x="324" y="486"/>
                  </a:lnTo>
                  <a:lnTo>
                    <a:pt x="342" y="504"/>
                  </a:lnTo>
                  <a:lnTo>
                    <a:pt x="348" y="522"/>
                  </a:lnTo>
                  <a:lnTo>
                    <a:pt x="366" y="522"/>
                  </a:lnTo>
                  <a:lnTo>
                    <a:pt x="366" y="528"/>
                  </a:lnTo>
                  <a:lnTo>
                    <a:pt x="372" y="534"/>
                  </a:lnTo>
                  <a:lnTo>
                    <a:pt x="384" y="558"/>
                  </a:lnTo>
                  <a:lnTo>
                    <a:pt x="396" y="570"/>
                  </a:lnTo>
                  <a:lnTo>
                    <a:pt x="408" y="570"/>
                  </a:lnTo>
                  <a:lnTo>
                    <a:pt x="414" y="576"/>
                  </a:lnTo>
                  <a:lnTo>
                    <a:pt x="426" y="582"/>
                  </a:lnTo>
                  <a:lnTo>
                    <a:pt x="432" y="588"/>
                  </a:lnTo>
                  <a:lnTo>
                    <a:pt x="432" y="600"/>
                  </a:lnTo>
                  <a:lnTo>
                    <a:pt x="426" y="606"/>
                  </a:lnTo>
                  <a:lnTo>
                    <a:pt x="420" y="606"/>
                  </a:lnTo>
                  <a:lnTo>
                    <a:pt x="414" y="612"/>
                  </a:lnTo>
                  <a:lnTo>
                    <a:pt x="408" y="612"/>
                  </a:lnTo>
                  <a:lnTo>
                    <a:pt x="432" y="636"/>
                  </a:lnTo>
                  <a:lnTo>
                    <a:pt x="456" y="648"/>
                  </a:lnTo>
                  <a:lnTo>
                    <a:pt x="462" y="654"/>
                  </a:lnTo>
                  <a:lnTo>
                    <a:pt x="468" y="654"/>
                  </a:lnTo>
                  <a:lnTo>
                    <a:pt x="450" y="690"/>
                  </a:lnTo>
                  <a:lnTo>
                    <a:pt x="456" y="690"/>
                  </a:lnTo>
                  <a:lnTo>
                    <a:pt x="468" y="702"/>
                  </a:lnTo>
                  <a:lnTo>
                    <a:pt x="468" y="708"/>
                  </a:lnTo>
                  <a:lnTo>
                    <a:pt x="456" y="720"/>
                  </a:lnTo>
                  <a:lnTo>
                    <a:pt x="450" y="720"/>
                  </a:lnTo>
                  <a:lnTo>
                    <a:pt x="450" y="762"/>
                  </a:lnTo>
                  <a:lnTo>
                    <a:pt x="456" y="762"/>
                  </a:lnTo>
                  <a:lnTo>
                    <a:pt x="468" y="774"/>
                  </a:lnTo>
                  <a:lnTo>
                    <a:pt x="480" y="798"/>
                  </a:lnTo>
                  <a:lnTo>
                    <a:pt x="480" y="804"/>
                  </a:lnTo>
                  <a:lnTo>
                    <a:pt x="468" y="816"/>
                  </a:lnTo>
                  <a:lnTo>
                    <a:pt x="462" y="816"/>
                  </a:lnTo>
                  <a:lnTo>
                    <a:pt x="462" y="828"/>
                  </a:lnTo>
                  <a:lnTo>
                    <a:pt x="468" y="834"/>
                  </a:lnTo>
                  <a:lnTo>
                    <a:pt x="468" y="864"/>
                  </a:lnTo>
                  <a:lnTo>
                    <a:pt x="474" y="870"/>
                  </a:lnTo>
                  <a:lnTo>
                    <a:pt x="474" y="900"/>
                  </a:lnTo>
                  <a:lnTo>
                    <a:pt x="462" y="894"/>
                  </a:lnTo>
                  <a:lnTo>
                    <a:pt x="444" y="894"/>
                  </a:lnTo>
                  <a:lnTo>
                    <a:pt x="438" y="900"/>
                  </a:lnTo>
                  <a:lnTo>
                    <a:pt x="438" y="918"/>
                  </a:lnTo>
                  <a:lnTo>
                    <a:pt x="408" y="918"/>
                  </a:lnTo>
                  <a:lnTo>
                    <a:pt x="408" y="942"/>
                  </a:lnTo>
                  <a:lnTo>
                    <a:pt x="366" y="942"/>
                  </a:lnTo>
                  <a:lnTo>
                    <a:pt x="366" y="966"/>
                  </a:lnTo>
                  <a:lnTo>
                    <a:pt x="378" y="990"/>
                  </a:lnTo>
                  <a:lnTo>
                    <a:pt x="396" y="1008"/>
                  </a:lnTo>
                  <a:lnTo>
                    <a:pt x="396" y="1020"/>
                  </a:lnTo>
                  <a:lnTo>
                    <a:pt x="390" y="1014"/>
                  </a:lnTo>
                  <a:lnTo>
                    <a:pt x="378" y="1008"/>
                  </a:lnTo>
                  <a:lnTo>
                    <a:pt x="372" y="1002"/>
                  </a:lnTo>
                  <a:lnTo>
                    <a:pt x="360" y="996"/>
                  </a:lnTo>
                  <a:lnTo>
                    <a:pt x="348" y="996"/>
                  </a:lnTo>
                  <a:lnTo>
                    <a:pt x="342" y="1002"/>
                  </a:lnTo>
                  <a:lnTo>
                    <a:pt x="342" y="1008"/>
                  </a:lnTo>
                  <a:lnTo>
                    <a:pt x="306" y="1008"/>
                  </a:lnTo>
                  <a:lnTo>
                    <a:pt x="312" y="1014"/>
                  </a:lnTo>
                  <a:lnTo>
                    <a:pt x="318" y="1014"/>
                  </a:lnTo>
                  <a:lnTo>
                    <a:pt x="324" y="1020"/>
                  </a:lnTo>
                  <a:lnTo>
                    <a:pt x="324" y="1026"/>
                  </a:lnTo>
                  <a:lnTo>
                    <a:pt x="312" y="1032"/>
                  </a:lnTo>
                  <a:lnTo>
                    <a:pt x="294" y="1032"/>
                  </a:lnTo>
                  <a:lnTo>
                    <a:pt x="276" y="1038"/>
                  </a:lnTo>
                  <a:lnTo>
                    <a:pt x="270" y="1050"/>
                  </a:lnTo>
                  <a:lnTo>
                    <a:pt x="270" y="1056"/>
                  </a:lnTo>
                  <a:lnTo>
                    <a:pt x="288" y="1074"/>
                  </a:lnTo>
                  <a:lnTo>
                    <a:pt x="300" y="1080"/>
                  </a:lnTo>
                  <a:lnTo>
                    <a:pt x="306" y="1086"/>
                  </a:lnTo>
                  <a:lnTo>
                    <a:pt x="312" y="1086"/>
                  </a:lnTo>
                  <a:lnTo>
                    <a:pt x="294" y="1104"/>
                  </a:lnTo>
                  <a:lnTo>
                    <a:pt x="294" y="1110"/>
                  </a:lnTo>
                  <a:lnTo>
                    <a:pt x="300" y="1116"/>
                  </a:lnTo>
                  <a:lnTo>
                    <a:pt x="300" y="1128"/>
                  </a:lnTo>
                  <a:lnTo>
                    <a:pt x="306" y="1140"/>
                  </a:lnTo>
                  <a:lnTo>
                    <a:pt x="306" y="1152"/>
                  </a:lnTo>
                  <a:lnTo>
                    <a:pt x="312" y="1158"/>
                  </a:lnTo>
                  <a:lnTo>
                    <a:pt x="294" y="1176"/>
                  </a:lnTo>
                  <a:lnTo>
                    <a:pt x="294" y="1188"/>
                  </a:lnTo>
                  <a:lnTo>
                    <a:pt x="306" y="1194"/>
                  </a:lnTo>
                  <a:lnTo>
                    <a:pt x="318" y="1194"/>
                  </a:lnTo>
                  <a:lnTo>
                    <a:pt x="330" y="1188"/>
                  </a:lnTo>
                  <a:lnTo>
                    <a:pt x="354" y="1164"/>
                  </a:lnTo>
                  <a:lnTo>
                    <a:pt x="366" y="1158"/>
                  </a:lnTo>
                  <a:lnTo>
                    <a:pt x="378" y="1158"/>
                  </a:lnTo>
                  <a:lnTo>
                    <a:pt x="384" y="1134"/>
                  </a:lnTo>
                  <a:lnTo>
                    <a:pt x="384" y="1110"/>
                  </a:lnTo>
                  <a:lnTo>
                    <a:pt x="396" y="1110"/>
                  </a:lnTo>
                  <a:lnTo>
                    <a:pt x="402" y="1116"/>
                  </a:lnTo>
                  <a:lnTo>
                    <a:pt x="414" y="1116"/>
                  </a:lnTo>
                  <a:lnTo>
                    <a:pt x="426" y="1104"/>
                  </a:lnTo>
                  <a:lnTo>
                    <a:pt x="426" y="1092"/>
                  </a:lnTo>
                  <a:lnTo>
                    <a:pt x="420" y="1086"/>
                  </a:lnTo>
                  <a:lnTo>
                    <a:pt x="414" y="1074"/>
                  </a:lnTo>
                  <a:lnTo>
                    <a:pt x="408" y="1068"/>
                  </a:lnTo>
                  <a:lnTo>
                    <a:pt x="408" y="1062"/>
                  </a:lnTo>
                  <a:lnTo>
                    <a:pt x="414" y="1056"/>
                  </a:lnTo>
                  <a:lnTo>
                    <a:pt x="426" y="1056"/>
                  </a:lnTo>
                  <a:lnTo>
                    <a:pt x="438" y="1050"/>
                  </a:lnTo>
                  <a:lnTo>
                    <a:pt x="444" y="1044"/>
                  </a:lnTo>
                  <a:lnTo>
                    <a:pt x="450" y="1044"/>
                  </a:lnTo>
                  <a:lnTo>
                    <a:pt x="456" y="1050"/>
                  </a:lnTo>
                  <a:lnTo>
                    <a:pt x="468" y="1050"/>
                  </a:lnTo>
                  <a:lnTo>
                    <a:pt x="480" y="1044"/>
                  </a:lnTo>
                  <a:lnTo>
                    <a:pt x="498" y="1038"/>
                  </a:lnTo>
                  <a:lnTo>
                    <a:pt x="546" y="1014"/>
                  </a:lnTo>
                  <a:lnTo>
                    <a:pt x="582" y="978"/>
                  </a:lnTo>
                  <a:lnTo>
                    <a:pt x="588" y="960"/>
                  </a:lnTo>
                  <a:lnTo>
                    <a:pt x="594" y="936"/>
                  </a:lnTo>
                  <a:lnTo>
                    <a:pt x="606" y="876"/>
                  </a:lnTo>
                  <a:lnTo>
                    <a:pt x="606" y="846"/>
                  </a:lnTo>
                  <a:lnTo>
                    <a:pt x="600" y="834"/>
                  </a:lnTo>
                  <a:lnTo>
                    <a:pt x="576" y="810"/>
                  </a:lnTo>
                  <a:lnTo>
                    <a:pt x="594" y="804"/>
                  </a:lnTo>
                  <a:lnTo>
                    <a:pt x="594" y="774"/>
                  </a:lnTo>
                  <a:lnTo>
                    <a:pt x="588" y="756"/>
                  </a:lnTo>
                  <a:lnTo>
                    <a:pt x="588" y="744"/>
                  </a:lnTo>
                  <a:lnTo>
                    <a:pt x="570" y="708"/>
                  </a:lnTo>
                  <a:lnTo>
                    <a:pt x="564" y="690"/>
                  </a:lnTo>
                  <a:lnTo>
                    <a:pt x="558" y="684"/>
                  </a:lnTo>
                  <a:lnTo>
                    <a:pt x="552" y="672"/>
                  </a:lnTo>
                  <a:lnTo>
                    <a:pt x="558" y="666"/>
                  </a:lnTo>
                  <a:lnTo>
                    <a:pt x="558" y="642"/>
                  </a:lnTo>
                  <a:lnTo>
                    <a:pt x="522" y="606"/>
                  </a:lnTo>
                  <a:lnTo>
                    <a:pt x="486" y="576"/>
                  </a:lnTo>
                  <a:lnTo>
                    <a:pt x="456" y="552"/>
                  </a:lnTo>
                  <a:lnTo>
                    <a:pt x="432" y="534"/>
                  </a:lnTo>
                  <a:lnTo>
                    <a:pt x="420" y="528"/>
                  </a:lnTo>
                  <a:lnTo>
                    <a:pt x="402" y="516"/>
                  </a:lnTo>
                  <a:lnTo>
                    <a:pt x="390" y="510"/>
                  </a:lnTo>
                  <a:lnTo>
                    <a:pt x="384" y="504"/>
                  </a:lnTo>
                  <a:lnTo>
                    <a:pt x="384" y="468"/>
                  </a:lnTo>
                  <a:lnTo>
                    <a:pt x="336" y="420"/>
                  </a:lnTo>
                  <a:lnTo>
                    <a:pt x="306" y="384"/>
                  </a:lnTo>
                  <a:lnTo>
                    <a:pt x="288" y="354"/>
                  </a:lnTo>
                  <a:lnTo>
                    <a:pt x="282" y="336"/>
                  </a:lnTo>
                  <a:lnTo>
                    <a:pt x="282" y="318"/>
                  </a:lnTo>
                  <a:lnTo>
                    <a:pt x="276" y="306"/>
                  </a:lnTo>
                  <a:lnTo>
                    <a:pt x="276" y="282"/>
                  </a:lnTo>
                  <a:lnTo>
                    <a:pt x="282" y="276"/>
                  </a:lnTo>
                  <a:lnTo>
                    <a:pt x="294" y="252"/>
                  </a:lnTo>
                  <a:lnTo>
                    <a:pt x="294" y="240"/>
                  </a:lnTo>
                  <a:lnTo>
                    <a:pt x="300" y="240"/>
                  </a:lnTo>
                  <a:lnTo>
                    <a:pt x="312" y="228"/>
                  </a:lnTo>
                  <a:lnTo>
                    <a:pt x="324" y="222"/>
                  </a:lnTo>
                  <a:lnTo>
                    <a:pt x="336" y="210"/>
                  </a:lnTo>
                  <a:lnTo>
                    <a:pt x="336" y="204"/>
                  </a:lnTo>
                  <a:lnTo>
                    <a:pt x="342" y="198"/>
                  </a:lnTo>
                  <a:lnTo>
                    <a:pt x="372" y="198"/>
                  </a:lnTo>
                  <a:lnTo>
                    <a:pt x="384" y="186"/>
                  </a:lnTo>
                  <a:lnTo>
                    <a:pt x="390" y="174"/>
                  </a:lnTo>
                  <a:lnTo>
                    <a:pt x="390" y="156"/>
                  </a:lnTo>
                  <a:lnTo>
                    <a:pt x="396" y="144"/>
                  </a:lnTo>
                  <a:lnTo>
                    <a:pt x="390" y="144"/>
                  </a:lnTo>
                  <a:lnTo>
                    <a:pt x="384" y="138"/>
                  </a:lnTo>
                  <a:lnTo>
                    <a:pt x="354" y="138"/>
                  </a:lnTo>
                  <a:lnTo>
                    <a:pt x="342" y="132"/>
                  </a:lnTo>
                  <a:lnTo>
                    <a:pt x="336" y="120"/>
                  </a:lnTo>
                  <a:lnTo>
                    <a:pt x="330" y="114"/>
                  </a:lnTo>
                  <a:lnTo>
                    <a:pt x="312" y="114"/>
                  </a:lnTo>
                  <a:lnTo>
                    <a:pt x="312" y="96"/>
                  </a:lnTo>
                  <a:lnTo>
                    <a:pt x="300" y="90"/>
                  </a:lnTo>
                  <a:lnTo>
                    <a:pt x="294" y="72"/>
                  </a:lnTo>
                  <a:lnTo>
                    <a:pt x="312" y="54"/>
                  </a:lnTo>
                  <a:lnTo>
                    <a:pt x="312" y="48"/>
                  </a:lnTo>
                  <a:lnTo>
                    <a:pt x="306" y="42"/>
                  </a:lnTo>
                  <a:lnTo>
                    <a:pt x="276" y="42"/>
                  </a:lnTo>
                  <a:lnTo>
                    <a:pt x="264" y="30"/>
                  </a:lnTo>
                  <a:lnTo>
                    <a:pt x="234" y="36"/>
                  </a:lnTo>
                  <a:lnTo>
                    <a:pt x="204" y="0"/>
                  </a:lnTo>
                  <a:lnTo>
                    <a:pt x="198" y="0"/>
                  </a:lnTo>
                  <a:lnTo>
                    <a:pt x="192" y="6"/>
                  </a:lnTo>
                  <a:lnTo>
                    <a:pt x="180" y="12"/>
                  </a:lnTo>
                  <a:lnTo>
                    <a:pt x="174" y="18"/>
                  </a:lnTo>
                  <a:lnTo>
                    <a:pt x="174" y="30"/>
                  </a:lnTo>
                  <a:lnTo>
                    <a:pt x="168" y="42"/>
                  </a:lnTo>
                  <a:lnTo>
                    <a:pt x="168" y="48"/>
                  </a:lnTo>
                  <a:lnTo>
                    <a:pt x="150" y="48"/>
                  </a:lnTo>
                  <a:lnTo>
                    <a:pt x="144" y="54"/>
                  </a:lnTo>
                  <a:lnTo>
                    <a:pt x="138" y="48"/>
                  </a:lnTo>
                  <a:lnTo>
                    <a:pt x="120" y="48"/>
                  </a:lnTo>
                  <a:lnTo>
                    <a:pt x="132" y="60"/>
                  </a:lnTo>
                  <a:lnTo>
                    <a:pt x="132" y="72"/>
                  </a:lnTo>
                  <a:lnTo>
                    <a:pt x="114" y="72"/>
                  </a:lnTo>
                  <a:lnTo>
                    <a:pt x="108" y="66"/>
                  </a:lnTo>
                  <a:lnTo>
                    <a:pt x="96" y="48"/>
                  </a:lnTo>
                  <a:lnTo>
                    <a:pt x="90" y="48"/>
                  </a:lnTo>
                  <a:lnTo>
                    <a:pt x="90" y="66"/>
                  </a:lnTo>
                  <a:lnTo>
                    <a:pt x="72" y="48"/>
                  </a:lnTo>
                  <a:lnTo>
                    <a:pt x="66" y="54"/>
                  </a:lnTo>
                  <a:lnTo>
                    <a:pt x="60" y="66"/>
                  </a:lnTo>
                  <a:lnTo>
                    <a:pt x="54" y="72"/>
                  </a:lnTo>
                  <a:lnTo>
                    <a:pt x="42" y="72"/>
                  </a:lnTo>
                  <a:lnTo>
                    <a:pt x="18" y="48"/>
                  </a:lnTo>
                  <a:lnTo>
                    <a:pt x="6" y="48"/>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36" name="Vereinigte Arababische Emirate" descr="© INSCALE GmbH, 05.05.2010&#10;http://www.presentationload.com/">
              <a:extLst>
                <a:ext uri="{FF2B5EF4-FFF2-40B4-BE49-F238E27FC236}">
                  <a16:creationId xmlns:a16="http://schemas.microsoft.com/office/drawing/2014/main" id="{016B4F6F-5265-445D-8C99-937DD3D90CA9}"/>
                </a:ext>
              </a:extLst>
            </p:cNvPr>
            <p:cNvSpPr>
              <a:spLocks/>
            </p:cNvSpPr>
            <p:nvPr/>
          </p:nvSpPr>
          <p:spPr bwMode="gray">
            <a:xfrm>
              <a:off x="5559396" y="3402761"/>
              <a:ext cx="133281" cy="127010"/>
            </a:xfrm>
            <a:custGeom>
              <a:avLst/>
              <a:gdLst>
                <a:gd name="T0" fmla="*/ 2147483647 w 336"/>
                <a:gd name="T1" fmla="*/ 2147483647 h 318"/>
                <a:gd name="T2" fmla="*/ 2147483647 w 336"/>
                <a:gd name="T3" fmla="*/ 2147483647 h 318"/>
                <a:gd name="T4" fmla="*/ 2147483647 w 336"/>
                <a:gd name="T5" fmla="*/ 2147483647 h 318"/>
                <a:gd name="T6" fmla="*/ 2147483647 w 336"/>
                <a:gd name="T7" fmla="*/ 2147483647 h 318"/>
                <a:gd name="T8" fmla="*/ 2147483647 w 336"/>
                <a:gd name="T9" fmla="*/ 2147483647 h 318"/>
                <a:gd name="T10" fmla="*/ 2147483647 w 336"/>
                <a:gd name="T11" fmla="*/ 0 h 318"/>
                <a:gd name="T12" fmla="*/ 2147483647 w 336"/>
                <a:gd name="T13" fmla="*/ 2147483647 h 318"/>
                <a:gd name="T14" fmla="*/ 2147483647 w 336"/>
                <a:gd name="T15" fmla="*/ 2147483647 h 318"/>
                <a:gd name="T16" fmla="*/ 2147483647 w 336"/>
                <a:gd name="T17" fmla="*/ 2147483647 h 318"/>
                <a:gd name="T18" fmla="*/ 2147483647 w 336"/>
                <a:gd name="T19" fmla="*/ 2147483647 h 318"/>
                <a:gd name="T20" fmla="*/ 2147483647 w 336"/>
                <a:gd name="T21" fmla="*/ 2147483647 h 318"/>
                <a:gd name="T22" fmla="*/ 2147483647 w 336"/>
                <a:gd name="T23" fmla="*/ 2147483647 h 318"/>
                <a:gd name="T24" fmla="*/ 2147483647 w 336"/>
                <a:gd name="T25" fmla="*/ 2147483647 h 318"/>
                <a:gd name="T26" fmla="*/ 2147483647 w 336"/>
                <a:gd name="T27" fmla="*/ 2147483647 h 318"/>
                <a:gd name="T28" fmla="*/ 2147483647 w 336"/>
                <a:gd name="T29" fmla="*/ 2147483647 h 318"/>
                <a:gd name="T30" fmla="*/ 2147483647 w 336"/>
                <a:gd name="T31" fmla="*/ 2147483647 h 318"/>
                <a:gd name="T32" fmla="*/ 2147483647 w 336"/>
                <a:gd name="T33" fmla="*/ 2147483647 h 318"/>
                <a:gd name="T34" fmla="*/ 2147483647 w 336"/>
                <a:gd name="T35" fmla="*/ 2147483647 h 318"/>
                <a:gd name="T36" fmla="*/ 0 w 336"/>
                <a:gd name="T37" fmla="*/ 2147483647 h 318"/>
                <a:gd name="T38" fmla="*/ 2147483647 w 336"/>
                <a:gd name="T39" fmla="*/ 2147483647 h 318"/>
                <a:gd name="T40" fmla="*/ 2147483647 w 336"/>
                <a:gd name="T41" fmla="*/ 2147483647 h 318"/>
                <a:gd name="T42" fmla="*/ 2147483647 w 336"/>
                <a:gd name="T43" fmla="*/ 2147483647 h 318"/>
                <a:gd name="T44" fmla="*/ 2147483647 w 336"/>
                <a:gd name="T45" fmla="*/ 2147483647 h 318"/>
                <a:gd name="T46" fmla="*/ 2147483647 w 336"/>
                <a:gd name="T47" fmla="*/ 2147483647 h 318"/>
                <a:gd name="T48" fmla="*/ 2147483647 w 336"/>
                <a:gd name="T49" fmla="*/ 2147483647 h 318"/>
                <a:gd name="T50" fmla="*/ 2147483647 w 336"/>
                <a:gd name="T51" fmla="*/ 2147483647 h 318"/>
                <a:gd name="T52" fmla="*/ 2147483647 w 336"/>
                <a:gd name="T53" fmla="*/ 2147483647 h 318"/>
                <a:gd name="T54" fmla="*/ 2147483647 w 336"/>
                <a:gd name="T55" fmla="*/ 2147483647 h 318"/>
                <a:gd name="T56" fmla="*/ 2147483647 w 336"/>
                <a:gd name="T57" fmla="*/ 2147483647 h 318"/>
                <a:gd name="T58" fmla="*/ 2147483647 w 336"/>
                <a:gd name="T59" fmla="*/ 2147483647 h 318"/>
                <a:gd name="T60" fmla="*/ 2147483647 w 336"/>
                <a:gd name="T61" fmla="*/ 2147483647 h 318"/>
                <a:gd name="T62" fmla="*/ 2147483647 w 336"/>
                <a:gd name="T63" fmla="*/ 2147483647 h 318"/>
                <a:gd name="T64" fmla="*/ 2147483647 w 336"/>
                <a:gd name="T65" fmla="*/ 2147483647 h 318"/>
                <a:gd name="T66" fmla="*/ 2147483647 w 336"/>
                <a:gd name="T67" fmla="*/ 2147483647 h 318"/>
                <a:gd name="T68" fmla="*/ 2147483647 w 336"/>
                <a:gd name="T69" fmla="*/ 2147483647 h 3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6"/>
                <a:gd name="T106" fmla="*/ 0 h 318"/>
                <a:gd name="T107" fmla="*/ 336 w 336"/>
                <a:gd name="T108" fmla="*/ 318 h 3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6" h="318">
                  <a:moveTo>
                    <a:pt x="300" y="120"/>
                  </a:moveTo>
                  <a:lnTo>
                    <a:pt x="306" y="120"/>
                  </a:lnTo>
                  <a:lnTo>
                    <a:pt x="306" y="126"/>
                  </a:lnTo>
                  <a:lnTo>
                    <a:pt x="312" y="138"/>
                  </a:lnTo>
                  <a:lnTo>
                    <a:pt x="336" y="132"/>
                  </a:lnTo>
                  <a:lnTo>
                    <a:pt x="330" y="120"/>
                  </a:lnTo>
                  <a:lnTo>
                    <a:pt x="324" y="102"/>
                  </a:lnTo>
                  <a:lnTo>
                    <a:pt x="324" y="60"/>
                  </a:lnTo>
                  <a:lnTo>
                    <a:pt x="330" y="42"/>
                  </a:lnTo>
                  <a:lnTo>
                    <a:pt x="330" y="6"/>
                  </a:lnTo>
                  <a:lnTo>
                    <a:pt x="324" y="0"/>
                  </a:lnTo>
                  <a:lnTo>
                    <a:pt x="318" y="0"/>
                  </a:lnTo>
                  <a:lnTo>
                    <a:pt x="312" y="6"/>
                  </a:lnTo>
                  <a:lnTo>
                    <a:pt x="306" y="18"/>
                  </a:lnTo>
                  <a:lnTo>
                    <a:pt x="300" y="36"/>
                  </a:lnTo>
                  <a:lnTo>
                    <a:pt x="288" y="60"/>
                  </a:lnTo>
                  <a:lnTo>
                    <a:pt x="282" y="66"/>
                  </a:lnTo>
                  <a:lnTo>
                    <a:pt x="282" y="72"/>
                  </a:lnTo>
                  <a:lnTo>
                    <a:pt x="276" y="72"/>
                  </a:lnTo>
                  <a:lnTo>
                    <a:pt x="264" y="78"/>
                  </a:lnTo>
                  <a:lnTo>
                    <a:pt x="234" y="108"/>
                  </a:lnTo>
                  <a:lnTo>
                    <a:pt x="228" y="120"/>
                  </a:lnTo>
                  <a:lnTo>
                    <a:pt x="216" y="132"/>
                  </a:lnTo>
                  <a:lnTo>
                    <a:pt x="204" y="138"/>
                  </a:lnTo>
                  <a:lnTo>
                    <a:pt x="198" y="150"/>
                  </a:lnTo>
                  <a:lnTo>
                    <a:pt x="198" y="168"/>
                  </a:lnTo>
                  <a:lnTo>
                    <a:pt x="192" y="180"/>
                  </a:lnTo>
                  <a:lnTo>
                    <a:pt x="192" y="186"/>
                  </a:lnTo>
                  <a:lnTo>
                    <a:pt x="186" y="192"/>
                  </a:lnTo>
                  <a:lnTo>
                    <a:pt x="150" y="192"/>
                  </a:lnTo>
                  <a:lnTo>
                    <a:pt x="132" y="186"/>
                  </a:lnTo>
                  <a:lnTo>
                    <a:pt x="90" y="186"/>
                  </a:lnTo>
                  <a:lnTo>
                    <a:pt x="72" y="192"/>
                  </a:lnTo>
                  <a:lnTo>
                    <a:pt x="48" y="204"/>
                  </a:lnTo>
                  <a:lnTo>
                    <a:pt x="24" y="204"/>
                  </a:lnTo>
                  <a:lnTo>
                    <a:pt x="12" y="192"/>
                  </a:lnTo>
                  <a:lnTo>
                    <a:pt x="0" y="186"/>
                  </a:lnTo>
                  <a:lnTo>
                    <a:pt x="0" y="198"/>
                  </a:lnTo>
                  <a:lnTo>
                    <a:pt x="18" y="216"/>
                  </a:lnTo>
                  <a:lnTo>
                    <a:pt x="30" y="240"/>
                  </a:lnTo>
                  <a:lnTo>
                    <a:pt x="54" y="264"/>
                  </a:lnTo>
                  <a:lnTo>
                    <a:pt x="60" y="276"/>
                  </a:lnTo>
                  <a:lnTo>
                    <a:pt x="72" y="282"/>
                  </a:lnTo>
                  <a:lnTo>
                    <a:pt x="78" y="294"/>
                  </a:lnTo>
                  <a:lnTo>
                    <a:pt x="96" y="294"/>
                  </a:lnTo>
                  <a:lnTo>
                    <a:pt x="132" y="300"/>
                  </a:lnTo>
                  <a:lnTo>
                    <a:pt x="228" y="312"/>
                  </a:lnTo>
                  <a:lnTo>
                    <a:pt x="270" y="318"/>
                  </a:lnTo>
                  <a:lnTo>
                    <a:pt x="264" y="306"/>
                  </a:lnTo>
                  <a:lnTo>
                    <a:pt x="258" y="300"/>
                  </a:lnTo>
                  <a:lnTo>
                    <a:pt x="252" y="288"/>
                  </a:lnTo>
                  <a:lnTo>
                    <a:pt x="252" y="276"/>
                  </a:lnTo>
                  <a:lnTo>
                    <a:pt x="258" y="270"/>
                  </a:lnTo>
                  <a:lnTo>
                    <a:pt x="264" y="258"/>
                  </a:lnTo>
                  <a:lnTo>
                    <a:pt x="270" y="252"/>
                  </a:lnTo>
                  <a:lnTo>
                    <a:pt x="276" y="240"/>
                  </a:lnTo>
                  <a:lnTo>
                    <a:pt x="276" y="228"/>
                  </a:lnTo>
                  <a:lnTo>
                    <a:pt x="282" y="216"/>
                  </a:lnTo>
                  <a:lnTo>
                    <a:pt x="282" y="204"/>
                  </a:lnTo>
                  <a:lnTo>
                    <a:pt x="288" y="198"/>
                  </a:lnTo>
                  <a:lnTo>
                    <a:pt x="288" y="192"/>
                  </a:lnTo>
                  <a:lnTo>
                    <a:pt x="300" y="192"/>
                  </a:lnTo>
                  <a:lnTo>
                    <a:pt x="300" y="198"/>
                  </a:lnTo>
                  <a:lnTo>
                    <a:pt x="306" y="198"/>
                  </a:lnTo>
                  <a:lnTo>
                    <a:pt x="306" y="192"/>
                  </a:lnTo>
                  <a:lnTo>
                    <a:pt x="288" y="174"/>
                  </a:lnTo>
                  <a:lnTo>
                    <a:pt x="288" y="144"/>
                  </a:lnTo>
                  <a:lnTo>
                    <a:pt x="294" y="132"/>
                  </a:lnTo>
                  <a:lnTo>
                    <a:pt x="294" y="126"/>
                  </a:lnTo>
                  <a:lnTo>
                    <a:pt x="300" y="12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37" name="Venezuela" descr="© INSCALE GmbH, 05.05.2010&#10;http://www.presentationload.com/">
              <a:extLst>
                <a:ext uri="{FF2B5EF4-FFF2-40B4-BE49-F238E27FC236}">
                  <a16:creationId xmlns:a16="http://schemas.microsoft.com/office/drawing/2014/main" id="{6DDA8614-5176-4865-98AF-B87D0DE5B02F}"/>
                </a:ext>
              </a:extLst>
            </p:cNvPr>
            <p:cNvSpPr>
              <a:spLocks noEditPoints="1"/>
            </p:cNvSpPr>
            <p:nvPr/>
          </p:nvSpPr>
          <p:spPr bwMode="gray">
            <a:xfrm>
              <a:off x="2061136" y="3862192"/>
              <a:ext cx="379462" cy="370054"/>
            </a:xfrm>
            <a:custGeom>
              <a:avLst/>
              <a:gdLst>
                <a:gd name="T0" fmla="*/ 2147483647 w 954"/>
                <a:gd name="T1" fmla="*/ 2147483647 h 930"/>
                <a:gd name="T2" fmla="*/ 2147483647 w 954"/>
                <a:gd name="T3" fmla="*/ 2147483647 h 930"/>
                <a:gd name="T4" fmla="*/ 2147483647 w 954"/>
                <a:gd name="T5" fmla="*/ 2147483647 h 930"/>
                <a:gd name="T6" fmla="*/ 2147483647 w 954"/>
                <a:gd name="T7" fmla="*/ 2147483647 h 930"/>
                <a:gd name="T8" fmla="*/ 2147483647 w 954"/>
                <a:gd name="T9" fmla="*/ 2147483647 h 930"/>
                <a:gd name="T10" fmla="*/ 2147483647 w 954"/>
                <a:gd name="T11" fmla="*/ 2147483647 h 930"/>
                <a:gd name="T12" fmla="*/ 2147483647 w 954"/>
                <a:gd name="T13" fmla="*/ 2147483647 h 930"/>
                <a:gd name="T14" fmla="*/ 2147483647 w 954"/>
                <a:gd name="T15" fmla="*/ 2147483647 h 930"/>
                <a:gd name="T16" fmla="*/ 2147483647 w 954"/>
                <a:gd name="T17" fmla="*/ 2147483647 h 930"/>
                <a:gd name="T18" fmla="*/ 2147483647 w 954"/>
                <a:gd name="T19" fmla="*/ 2147483647 h 930"/>
                <a:gd name="T20" fmla="*/ 2147483647 w 954"/>
                <a:gd name="T21" fmla="*/ 2147483647 h 930"/>
                <a:gd name="T22" fmla="*/ 2147483647 w 954"/>
                <a:gd name="T23" fmla="*/ 2147483647 h 930"/>
                <a:gd name="T24" fmla="*/ 2147483647 w 954"/>
                <a:gd name="T25" fmla="*/ 2147483647 h 930"/>
                <a:gd name="T26" fmla="*/ 2147483647 w 954"/>
                <a:gd name="T27" fmla="*/ 2147483647 h 930"/>
                <a:gd name="T28" fmla="*/ 2147483647 w 954"/>
                <a:gd name="T29" fmla="*/ 2147483647 h 930"/>
                <a:gd name="T30" fmla="*/ 2147483647 w 954"/>
                <a:gd name="T31" fmla="*/ 2147483647 h 930"/>
                <a:gd name="T32" fmla="*/ 2147483647 w 954"/>
                <a:gd name="T33" fmla="*/ 2147483647 h 930"/>
                <a:gd name="T34" fmla="*/ 2147483647 w 954"/>
                <a:gd name="T35" fmla="*/ 2147483647 h 930"/>
                <a:gd name="T36" fmla="*/ 2147483647 w 954"/>
                <a:gd name="T37" fmla="*/ 2147483647 h 930"/>
                <a:gd name="T38" fmla="*/ 2147483647 w 954"/>
                <a:gd name="T39" fmla="*/ 2147483647 h 930"/>
                <a:gd name="T40" fmla="*/ 2147483647 w 954"/>
                <a:gd name="T41" fmla="*/ 2147483647 h 930"/>
                <a:gd name="T42" fmla="*/ 2147483647 w 954"/>
                <a:gd name="T43" fmla="*/ 2147483647 h 930"/>
                <a:gd name="T44" fmla="*/ 2147483647 w 954"/>
                <a:gd name="T45" fmla="*/ 2147483647 h 930"/>
                <a:gd name="T46" fmla="*/ 2147483647 w 954"/>
                <a:gd name="T47" fmla="*/ 2147483647 h 930"/>
                <a:gd name="T48" fmla="*/ 2147483647 w 954"/>
                <a:gd name="T49" fmla="*/ 2147483647 h 930"/>
                <a:gd name="T50" fmla="*/ 0 w 954"/>
                <a:gd name="T51" fmla="*/ 2147483647 h 930"/>
                <a:gd name="T52" fmla="*/ 2147483647 w 954"/>
                <a:gd name="T53" fmla="*/ 2147483647 h 930"/>
                <a:gd name="T54" fmla="*/ 2147483647 w 954"/>
                <a:gd name="T55" fmla="*/ 2147483647 h 930"/>
                <a:gd name="T56" fmla="*/ 2147483647 w 954"/>
                <a:gd name="T57" fmla="*/ 2147483647 h 930"/>
                <a:gd name="T58" fmla="*/ 2147483647 w 954"/>
                <a:gd name="T59" fmla="*/ 2147483647 h 930"/>
                <a:gd name="T60" fmla="*/ 2147483647 w 954"/>
                <a:gd name="T61" fmla="*/ 2147483647 h 930"/>
                <a:gd name="T62" fmla="*/ 2147483647 w 954"/>
                <a:gd name="T63" fmla="*/ 2147483647 h 930"/>
                <a:gd name="T64" fmla="*/ 2147483647 w 954"/>
                <a:gd name="T65" fmla="*/ 2147483647 h 930"/>
                <a:gd name="T66" fmla="*/ 2147483647 w 954"/>
                <a:gd name="T67" fmla="*/ 2147483647 h 930"/>
                <a:gd name="T68" fmla="*/ 2147483647 w 954"/>
                <a:gd name="T69" fmla="*/ 2147483647 h 930"/>
                <a:gd name="T70" fmla="*/ 2147483647 w 954"/>
                <a:gd name="T71" fmla="*/ 2147483647 h 930"/>
                <a:gd name="T72" fmla="*/ 2147483647 w 954"/>
                <a:gd name="T73" fmla="*/ 2147483647 h 930"/>
                <a:gd name="T74" fmla="*/ 2147483647 w 954"/>
                <a:gd name="T75" fmla="*/ 2147483647 h 930"/>
                <a:gd name="T76" fmla="*/ 2147483647 w 954"/>
                <a:gd name="T77" fmla="*/ 2147483647 h 930"/>
                <a:gd name="T78" fmla="*/ 2147483647 w 954"/>
                <a:gd name="T79" fmla="*/ 2147483647 h 930"/>
                <a:gd name="T80" fmla="*/ 2147483647 w 954"/>
                <a:gd name="T81" fmla="*/ 2147483647 h 930"/>
                <a:gd name="T82" fmla="*/ 2147483647 w 954"/>
                <a:gd name="T83" fmla="*/ 2147483647 h 930"/>
                <a:gd name="T84" fmla="*/ 2147483647 w 954"/>
                <a:gd name="T85" fmla="*/ 2147483647 h 930"/>
                <a:gd name="T86" fmla="*/ 2147483647 w 954"/>
                <a:gd name="T87" fmla="*/ 2147483647 h 930"/>
                <a:gd name="T88" fmla="*/ 2147483647 w 954"/>
                <a:gd name="T89" fmla="*/ 2147483647 h 930"/>
                <a:gd name="T90" fmla="*/ 2147483647 w 954"/>
                <a:gd name="T91" fmla="*/ 2147483647 h 930"/>
                <a:gd name="T92" fmla="*/ 2147483647 w 954"/>
                <a:gd name="T93" fmla="*/ 2147483647 h 930"/>
                <a:gd name="T94" fmla="*/ 2147483647 w 954"/>
                <a:gd name="T95" fmla="*/ 2147483647 h 930"/>
                <a:gd name="T96" fmla="*/ 2147483647 w 954"/>
                <a:gd name="T97" fmla="*/ 2147483647 h 930"/>
                <a:gd name="T98" fmla="*/ 2147483647 w 954"/>
                <a:gd name="T99" fmla="*/ 2147483647 h 930"/>
                <a:gd name="T100" fmla="*/ 2147483647 w 954"/>
                <a:gd name="T101" fmla="*/ 2147483647 h 930"/>
                <a:gd name="T102" fmla="*/ 2147483647 w 954"/>
                <a:gd name="T103" fmla="*/ 2147483647 h 930"/>
                <a:gd name="T104" fmla="*/ 2147483647 w 954"/>
                <a:gd name="T105" fmla="*/ 2147483647 h 930"/>
                <a:gd name="T106" fmla="*/ 2147483647 w 954"/>
                <a:gd name="T107" fmla="*/ 2147483647 h 930"/>
                <a:gd name="T108" fmla="*/ 2147483647 w 954"/>
                <a:gd name="T109" fmla="*/ 2147483647 h 930"/>
                <a:gd name="T110" fmla="*/ 2147483647 w 954"/>
                <a:gd name="T111" fmla="*/ 2147483647 h 930"/>
                <a:gd name="T112" fmla="*/ 2147483647 w 954"/>
                <a:gd name="T113" fmla="*/ 2147483647 h 930"/>
                <a:gd name="T114" fmla="*/ 2147483647 w 954"/>
                <a:gd name="T115" fmla="*/ 2147483647 h 930"/>
                <a:gd name="T116" fmla="*/ 2147483647 w 954"/>
                <a:gd name="T117" fmla="*/ 2147483647 h 930"/>
                <a:gd name="T118" fmla="*/ 2147483647 w 954"/>
                <a:gd name="T119" fmla="*/ 214748364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30"/>
                <a:gd name="T182" fmla="*/ 954 w 954"/>
                <a:gd name="T183" fmla="*/ 930 h 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30">
                  <a:moveTo>
                    <a:pt x="264" y="42"/>
                  </a:moveTo>
                  <a:lnTo>
                    <a:pt x="264" y="12"/>
                  </a:lnTo>
                  <a:lnTo>
                    <a:pt x="252" y="0"/>
                  </a:lnTo>
                  <a:lnTo>
                    <a:pt x="234" y="0"/>
                  </a:lnTo>
                  <a:lnTo>
                    <a:pt x="228" y="6"/>
                  </a:lnTo>
                  <a:lnTo>
                    <a:pt x="228" y="18"/>
                  </a:lnTo>
                  <a:lnTo>
                    <a:pt x="234" y="24"/>
                  </a:lnTo>
                  <a:lnTo>
                    <a:pt x="234" y="36"/>
                  </a:lnTo>
                  <a:lnTo>
                    <a:pt x="240" y="42"/>
                  </a:lnTo>
                  <a:lnTo>
                    <a:pt x="264" y="42"/>
                  </a:lnTo>
                  <a:close/>
                  <a:moveTo>
                    <a:pt x="936" y="276"/>
                  </a:moveTo>
                  <a:lnTo>
                    <a:pt x="930" y="276"/>
                  </a:lnTo>
                  <a:lnTo>
                    <a:pt x="924" y="282"/>
                  </a:lnTo>
                  <a:lnTo>
                    <a:pt x="912" y="288"/>
                  </a:lnTo>
                  <a:lnTo>
                    <a:pt x="906" y="294"/>
                  </a:lnTo>
                  <a:lnTo>
                    <a:pt x="900" y="288"/>
                  </a:lnTo>
                  <a:lnTo>
                    <a:pt x="888" y="288"/>
                  </a:lnTo>
                  <a:lnTo>
                    <a:pt x="882" y="282"/>
                  </a:lnTo>
                  <a:lnTo>
                    <a:pt x="876" y="282"/>
                  </a:lnTo>
                  <a:lnTo>
                    <a:pt x="852" y="306"/>
                  </a:lnTo>
                  <a:lnTo>
                    <a:pt x="822" y="282"/>
                  </a:lnTo>
                  <a:lnTo>
                    <a:pt x="846" y="282"/>
                  </a:lnTo>
                  <a:lnTo>
                    <a:pt x="858" y="276"/>
                  </a:lnTo>
                  <a:lnTo>
                    <a:pt x="864" y="276"/>
                  </a:lnTo>
                  <a:lnTo>
                    <a:pt x="870" y="264"/>
                  </a:lnTo>
                  <a:lnTo>
                    <a:pt x="870" y="246"/>
                  </a:lnTo>
                  <a:lnTo>
                    <a:pt x="882" y="234"/>
                  </a:lnTo>
                  <a:lnTo>
                    <a:pt x="888" y="222"/>
                  </a:lnTo>
                  <a:lnTo>
                    <a:pt x="876" y="210"/>
                  </a:lnTo>
                  <a:lnTo>
                    <a:pt x="846" y="210"/>
                  </a:lnTo>
                  <a:lnTo>
                    <a:pt x="846" y="204"/>
                  </a:lnTo>
                  <a:lnTo>
                    <a:pt x="840" y="198"/>
                  </a:lnTo>
                  <a:lnTo>
                    <a:pt x="840" y="192"/>
                  </a:lnTo>
                  <a:lnTo>
                    <a:pt x="834" y="186"/>
                  </a:lnTo>
                  <a:lnTo>
                    <a:pt x="828" y="186"/>
                  </a:lnTo>
                  <a:lnTo>
                    <a:pt x="822" y="192"/>
                  </a:lnTo>
                  <a:lnTo>
                    <a:pt x="822" y="210"/>
                  </a:lnTo>
                  <a:lnTo>
                    <a:pt x="816" y="198"/>
                  </a:lnTo>
                  <a:lnTo>
                    <a:pt x="816" y="180"/>
                  </a:lnTo>
                  <a:lnTo>
                    <a:pt x="792" y="180"/>
                  </a:lnTo>
                  <a:lnTo>
                    <a:pt x="786" y="210"/>
                  </a:lnTo>
                  <a:lnTo>
                    <a:pt x="780" y="204"/>
                  </a:lnTo>
                  <a:lnTo>
                    <a:pt x="774" y="192"/>
                  </a:lnTo>
                  <a:lnTo>
                    <a:pt x="774" y="186"/>
                  </a:lnTo>
                  <a:lnTo>
                    <a:pt x="768" y="180"/>
                  </a:lnTo>
                  <a:lnTo>
                    <a:pt x="768" y="156"/>
                  </a:lnTo>
                  <a:lnTo>
                    <a:pt x="738" y="168"/>
                  </a:lnTo>
                  <a:lnTo>
                    <a:pt x="744" y="162"/>
                  </a:lnTo>
                  <a:lnTo>
                    <a:pt x="756" y="156"/>
                  </a:lnTo>
                  <a:lnTo>
                    <a:pt x="762" y="156"/>
                  </a:lnTo>
                  <a:lnTo>
                    <a:pt x="762" y="144"/>
                  </a:lnTo>
                  <a:lnTo>
                    <a:pt x="750" y="138"/>
                  </a:lnTo>
                  <a:lnTo>
                    <a:pt x="744" y="138"/>
                  </a:lnTo>
                  <a:lnTo>
                    <a:pt x="744" y="132"/>
                  </a:lnTo>
                  <a:lnTo>
                    <a:pt x="750" y="132"/>
                  </a:lnTo>
                  <a:lnTo>
                    <a:pt x="762" y="126"/>
                  </a:lnTo>
                  <a:lnTo>
                    <a:pt x="774" y="126"/>
                  </a:lnTo>
                  <a:lnTo>
                    <a:pt x="792" y="120"/>
                  </a:lnTo>
                  <a:lnTo>
                    <a:pt x="804" y="120"/>
                  </a:lnTo>
                  <a:lnTo>
                    <a:pt x="810" y="114"/>
                  </a:lnTo>
                  <a:lnTo>
                    <a:pt x="726" y="114"/>
                  </a:lnTo>
                  <a:lnTo>
                    <a:pt x="690" y="120"/>
                  </a:lnTo>
                  <a:lnTo>
                    <a:pt x="678" y="120"/>
                  </a:lnTo>
                  <a:lnTo>
                    <a:pt x="690" y="132"/>
                  </a:lnTo>
                  <a:lnTo>
                    <a:pt x="678" y="132"/>
                  </a:lnTo>
                  <a:lnTo>
                    <a:pt x="666" y="138"/>
                  </a:lnTo>
                  <a:lnTo>
                    <a:pt x="654" y="138"/>
                  </a:lnTo>
                  <a:lnTo>
                    <a:pt x="642" y="144"/>
                  </a:lnTo>
                  <a:lnTo>
                    <a:pt x="636" y="144"/>
                  </a:lnTo>
                  <a:lnTo>
                    <a:pt x="624" y="150"/>
                  </a:lnTo>
                  <a:lnTo>
                    <a:pt x="606" y="168"/>
                  </a:lnTo>
                  <a:lnTo>
                    <a:pt x="594" y="174"/>
                  </a:lnTo>
                  <a:lnTo>
                    <a:pt x="576" y="174"/>
                  </a:lnTo>
                  <a:lnTo>
                    <a:pt x="564" y="162"/>
                  </a:lnTo>
                  <a:lnTo>
                    <a:pt x="546" y="156"/>
                  </a:lnTo>
                  <a:lnTo>
                    <a:pt x="534" y="144"/>
                  </a:lnTo>
                  <a:lnTo>
                    <a:pt x="522" y="138"/>
                  </a:lnTo>
                  <a:lnTo>
                    <a:pt x="510" y="126"/>
                  </a:lnTo>
                  <a:lnTo>
                    <a:pt x="492" y="126"/>
                  </a:lnTo>
                  <a:lnTo>
                    <a:pt x="450" y="132"/>
                  </a:lnTo>
                  <a:lnTo>
                    <a:pt x="372" y="132"/>
                  </a:lnTo>
                  <a:lnTo>
                    <a:pt x="360" y="120"/>
                  </a:lnTo>
                  <a:lnTo>
                    <a:pt x="354" y="108"/>
                  </a:lnTo>
                  <a:lnTo>
                    <a:pt x="354" y="84"/>
                  </a:lnTo>
                  <a:lnTo>
                    <a:pt x="348" y="72"/>
                  </a:lnTo>
                  <a:lnTo>
                    <a:pt x="336" y="60"/>
                  </a:lnTo>
                  <a:lnTo>
                    <a:pt x="324" y="54"/>
                  </a:lnTo>
                  <a:lnTo>
                    <a:pt x="276" y="54"/>
                  </a:lnTo>
                  <a:lnTo>
                    <a:pt x="240" y="60"/>
                  </a:lnTo>
                  <a:lnTo>
                    <a:pt x="222" y="72"/>
                  </a:lnTo>
                  <a:lnTo>
                    <a:pt x="210" y="78"/>
                  </a:lnTo>
                  <a:lnTo>
                    <a:pt x="204" y="78"/>
                  </a:lnTo>
                  <a:lnTo>
                    <a:pt x="180" y="90"/>
                  </a:lnTo>
                  <a:lnTo>
                    <a:pt x="162" y="96"/>
                  </a:lnTo>
                  <a:lnTo>
                    <a:pt x="144" y="108"/>
                  </a:lnTo>
                  <a:lnTo>
                    <a:pt x="138" y="120"/>
                  </a:lnTo>
                  <a:lnTo>
                    <a:pt x="138" y="144"/>
                  </a:lnTo>
                  <a:lnTo>
                    <a:pt x="150" y="168"/>
                  </a:lnTo>
                  <a:lnTo>
                    <a:pt x="156" y="186"/>
                  </a:lnTo>
                  <a:lnTo>
                    <a:pt x="162" y="198"/>
                  </a:lnTo>
                  <a:lnTo>
                    <a:pt x="156" y="210"/>
                  </a:lnTo>
                  <a:lnTo>
                    <a:pt x="150" y="228"/>
                  </a:lnTo>
                  <a:lnTo>
                    <a:pt x="138" y="234"/>
                  </a:lnTo>
                  <a:lnTo>
                    <a:pt x="132" y="246"/>
                  </a:lnTo>
                  <a:lnTo>
                    <a:pt x="126" y="252"/>
                  </a:lnTo>
                  <a:lnTo>
                    <a:pt x="120" y="252"/>
                  </a:lnTo>
                  <a:lnTo>
                    <a:pt x="126" y="222"/>
                  </a:lnTo>
                  <a:lnTo>
                    <a:pt x="114" y="222"/>
                  </a:lnTo>
                  <a:lnTo>
                    <a:pt x="108" y="216"/>
                  </a:lnTo>
                  <a:lnTo>
                    <a:pt x="96" y="210"/>
                  </a:lnTo>
                  <a:lnTo>
                    <a:pt x="90" y="204"/>
                  </a:lnTo>
                  <a:lnTo>
                    <a:pt x="84" y="192"/>
                  </a:lnTo>
                  <a:lnTo>
                    <a:pt x="96" y="168"/>
                  </a:lnTo>
                  <a:lnTo>
                    <a:pt x="108" y="156"/>
                  </a:lnTo>
                  <a:lnTo>
                    <a:pt x="120" y="132"/>
                  </a:lnTo>
                  <a:lnTo>
                    <a:pt x="120" y="78"/>
                  </a:lnTo>
                  <a:lnTo>
                    <a:pt x="114" y="66"/>
                  </a:lnTo>
                  <a:lnTo>
                    <a:pt x="114" y="54"/>
                  </a:lnTo>
                  <a:lnTo>
                    <a:pt x="108" y="48"/>
                  </a:lnTo>
                  <a:lnTo>
                    <a:pt x="108" y="54"/>
                  </a:lnTo>
                  <a:lnTo>
                    <a:pt x="102" y="66"/>
                  </a:lnTo>
                  <a:lnTo>
                    <a:pt x="90" y="78"/>
                  </a:lnTo>
                  <a:lnTo>
                    <a:pt x="72" y="84"/>
                  </a:lnTo>
                  <a:lnTo>
                    <a:pt x="48" y="108"/>
                  </a:lnTo>
                  <a:lnTo>
                    <a:pt x="36" y="144"/>
                  </a:lnTo>
                  <a:lnTo>
                    <a:pt x="36" y="162"/>
                  </a:lnTo>
                  <a:lnTo>
                    <a:pt x="30" y="168"/>
                  </a:lnTo>
                  <a:lnTo>
                    <a:pt x="30" y="192"/>
                  </a:lnTo>
                  <a:lnTo>
                    <a:pt x="6" y="216"/>
                  </a:lnTo>
                  <a:lnTo>
                    <a:pt x="0" y="228"/>
                  </a:lnTo>
                  <a:lnTo>
                    <a:pt x="0" y="240"/>
                  </a:lnTo>
                  <a:lnTo>
                    <a:pt x="6" y="246"/>
                  </a:lnTo>
                  <a:lnTo>
                    <a:pt x="6" y="240"/>
                  </a:lnTo>
                  <a:lnTo>
                    <a:pt x="18" y="228"/>
                  </a:lnTo>
                  <a:lnTo>
                    <a:pt x="24" y="228"/>
                  </a:lnTo>
                  <a:lnTo>
                    <a:pt x="36" y="240"/>
                  </a:lnTo>
                  <a:lnTo>
                    <a:pt x="42" y="252"/>
                  </a:lnTo>
                  <a:lnTo>
                    <a:pt x="42" y="288"/>
                  </a:lnTo>
                  <a:lnTo>
                    <a:pt x="48" y="294"/>
                  </a:lnTo>
                  <a:lnTo>
                    <a:pt x="60" y="300"/>
                  </a:lnTo>
                  <a:lnTo>
                    <a:pt x="66" y="306"/>
                  </a:lnTo>
                  <a:lnTo>
                    <a:pt x="66" y="318"/>
                  </a:lnTo>
                  <a:lnTo>
                    <a:pt x="54" y="342"/>
                  </a:lnTo>
                  <a:lnTo>
                    <a:pt x="54" y="384"/>
                  </a:lnTo>
                  <a:lnTo>
                    <a:pt x="66" y="384"/>
                  </a:lnTo>
                  <a:lnTo>
                    <a:pt x="66" y="396"/>
                  </a:lnTo>
                  <a:lnTo>
                    <a:pt x="72" y="408"/>
                  </a:lnTo>
                  <a:lnTo>
                    <a:pt x="78" y="414"/>
                  </a:lnTo>
                  <a:lnTo>
                    <a:pt x="102" y="414"/>
                  </a:lnTo>
                  <a:lnTo>
                    <a:pt x="108" y="408"/>
                  </a:lnTo>
                  <a:lnTo>
                    <a:pt x="120" y="408"/>
                  </a:lnTo>
                  <a:lnTo>
                    <a:pt x="132" y="414"/>
                  </a:lnTo>
                  <a:lnTo>
                    <a:pt x="138" y="414"/>
                  </a:lnTo>
                  <a:lnTo>
                    <a:pt x="150" y="420"/>
                  </a:lnTo>
                  <a:lnTo>
                    <a:pt x="162" y="420"/>
                  </a:lnTo>
                  <a:lnTo>
                    <a:pt x="168" y="414"/>
                  </a:lnTo>
                  <a:lnTo>
                    <a:pt x="168" y="408"/>
                  </a:lnTo>
                  <a:lnTo>
                    <a:pt x="180" y="408"/>
                  </a:lnTo>
                  <a:lnTo>
                    <a:pt x="186" y="414"/>
                  </a:lnTo>
                  <a:lnTo>
                    <a:pt x="198" y="420"/>
                  </a:lnTo>
                  <a:lnTo>
                    <a:pt x="222" y="420"/>
                  </a:lnTo>
                  <a:lnTo>
                    <a:pt x="222" y="426"/>
                  </a:lnTo>
                  <a:lnTo>
                    <a:pt x="228" y="432"/>
                  </a:lnTo>
                  <a:lnTo>
                    <a:pt x="234" y="444"/>
                  </a:lnTo>
                  <a:lnTo>
                    <a:pt x="240" y="462"/>
                  </a:lnTo>
                  <a:lnTo>
                    <a:pt x="264" y="486"/>
                  </a:lnTo>
                  <a:lnTo>
                    <a:pt x="288" y="486"/>
                  </a:lnTo>
                  <a:lnTo>
                    <a:pt x="288" y="480"/>
                  </a:lnTo>
                  <a:lnTo>
                    <a:pt x="306" y="480"/>
                  </a:lnTo>
                  <a:lnTo>
                    <a:pt x="312" y="486"/>
                  </a:lnTo>
                  <a:lnTo>
                    <a:pt x="336" y="486"/>
                  </a:lnTo>
                  <a:lnTo>
                    <a:pt x="342" y="480"/>
                  </a:lnTo>
                  <a:lnTo>
                    <a:pt x="366" y="486"/>
                  </a:lnTo>
                  <a:lnTo>
                    <a:pt x="372" y="480"/>
                  </a:lnTo>
                  <a:lnTo>
                    <a:pt x="384" y="474"/>
                  </a:lnTo>
                  <a:lnTo>
                    <a:pt x="402" y="474"/>
                  </a:lnTo>
                  <a:lnTo>
                    <a:pt x="408" y="480"/>
                  </a:lnTo>
                  <a:lnTo>
                    <a:pt x="408" y="492"/>
                  </a:lnTo>
                  <a:lnTo>
                    <a:pt x="390" y="510"/>
                  </a:lnTo>
                  <a:lnTo>
                    <a:pt x="390" y="534"/>
                  </a:lnTo>
                  <a:lnTo>
                    <a:pt x="384" y="540"/>
                  </a:lnTo>
                  <a:lnTo>
                    <a:pt x="378" y="540"/>
                  </a:lnTo>
                  <a:lnTo>
                    <a:pt x="366" y="552"/>
                  </a:lnTo>
                  <a:lnTo>
                    <a:pt x="366" y="576"/>
                  </a:lnTo>
                  <a:lnTo>
                    <a:pt x="372" y="588"/>
                  </a:lnTo>
                  <a:lnTo>
                    <a:pt x="372" y="618"/>
                  </a:lnTo>
                  <a:lnTo>
                    <a:pt x="366" y="630"/>
                  </a:lnTo>
                  <a:lnTo>
                    <a:pt x="366" y="642"/>
                  </a:lnTo>
                  <a:lnTo>
                    <a:pt x="372" y="648"/>
                  </a:lnTo>
                  <a:lnTo>
                    <a:pt x="384" y="648"/>
                  </a:lnTo>
                  <a:lnTo>
                    <a:pt x="384" y="672"/>
                  </a:lnTo>
                  <a:lnTo>
                    <a:pt x="390" y="684"/>
                  </a:lnTo>
                  <a:lnTo>
                    <a:pt x="402" y="690"/>
                  </a:lnTo>
                  <a:lnTo>
                    <a:pt x="408" y="702"/>
                  </a:lnTo>
                  <a:lnTo>
                    <a:pt x="408" y="708"/>
                  </a:lnTo>
                  <a:lnTo>
                    <a:pt x="402" y="720"/>
                  </a:lnTo>
                  <a:lnTo>
                    <a:pt x="372" y="750"/>
                  </a:lnTo>
                  <a:lnTo>
                    <a:pt x="366" y="750"/>
                  </a:lnTo>
                  <a:lnTo>
                    <a:pt x="390" y="762"/>
                  </a:lnTo>
                  <a:lnTo>
                    <a:pt x="402" y="774"/>
                  </a:lnTo>
                  <a:lnTo>
                    <a:pt x="414" y="774"/>
                  </a:lnTo>
                  <a:lnTo>
                    <a:pt x="414" y="798"/>
                  </a:lnTo>
                  <a:lnTo>
                    <a:pt x="420" y="804"/>
                  </a:lnTo>
                  <a:lnTo>
                    <a:pt x="420" y="822"/>
                  </a:lnTo>
                  <a:lnTo>
                    <a:pt x="426" y="828"/>
                  </a:lnTo>
                  <a:lnTo>
                    <a:pt x="426" y="846"/>
                  </a:lnTo>
                  <a:lnTo>
                    <a:pt x="432" y="858"/>
                  </a:lnTo>
                  <a:lnTo>
                    <a:pt x="432" y="876"/>
                  </a:lnTo>
                  <a:lnTo>
                    <a:pt x="444" y="888"/>
                  </a:lnTo>
                  <a:lnTo>
                    <a:pt x="450" y="900"/>
                  </a:lnTo>
                  <a:lnTo>
                    <a:pt x="450" y="906"/>
                  </a:lnTo>
                  <a:lnTo>
                    <a:pt x="462" y="918"/>
                  </a:lnTo>
                  <a:lnTo>
                    <a:pt x="468" y="918"/>
                  </a:lnTo>
                  <a:lnTo>
                    <a:pt x="480" y="924"/>
                  </a:lnTo>
                  <a:lnTo>
                    <a:pt x="486" y="924"/>
                  </a:lnTo>
                  <a:lnTo>
                    <a:pt x="498" y="918"/>
                  </a:lnTo>
                  <a:lnTo>
                    <a:pt x="504" y="912"/>
                  </a:lnTo>
                  <a:lnTo>
                    <a:pt x="516" y="906"/>
                  </a:lnTo>
                  <a:lnTo>
                    <a:pt x="522" y="900"/>
                  </a:lnTo>
                  <a:lnTo>
                    <a:pt x="528" y="906"/>
                  </a:lnTo>
                  <a:lnTo>
                    <a:pt x="528" y="930"/>
                  </a:lnTo>
                  <a:lnTo>
                    <a:pt x="534" y="930"/>
                  </a:lnTo>
                  <a:lnTo>
                    <a:pt x="546" y="918"/>
                  </a:lnTo>
                  <a:lnTo>
                    <a:pt x="558" y="894"/>
                  </a:lnTo>
                  <a:lnTo>
                    <a:pt x="570" y="882"/>
                  </a:lnTo>
                  <a:lnTo>
                    <a:pt x="588" y="882"/>
                  </a:lnTo>
                  <a:lnTo>
                    <a:pt x="594" y="876"/>
                  </a:lnTo>
                  <a:lnTo>
                    <a:pt x="630" y="858"/>
                  </a:lnTo>
                  <a:lnTo>
                    <a:pt x="636" y="846"/>
                  </a:lnTo>
                  <a:lnTo>
                    <a:pt x="636" y="816"/>
                  </a:lnTo>
                  <a:lnTo>
                    <a:pt x="678" y="816"/>
                  </a:lnTo>
                  <a:lnTo>
                    <a:pt x="684" y="810"/>
                  </a:lnTo>
                  <a:lnTo>
                    <a:pt x="690" y="798"/>
                  </a:lnTo>
                  <a:lnTo>
                    <a:pt x="690" y="792"/>
                  </a:lnTo>
                  <a:lnTo>
                    <a:pt x="684" y="786"/>
                  </a:lnTo>
                  <a:lnTo>
                    <a:pt x="636" y="780"/>
                  </a:lnTo>
                  <a:lnTo>
                    <a:pt x="636" y="750"/>
                  </a:lnTo>
                  <a:lnTo>
                    <a:pt x="630" y="738"/>
                  </a:lnTo>
                  <a:lnTo>
                    <a:pt x="618" y="726"/>
                  </a:lnTo>
                  <a:lnTo>
                    <a:pt x="624" y="720"/>
                  </a:lnTo>
                  <a:lnTo>
                    <a:pt x="624" y="690"/>
                  </a:lnTo>
                  <a:lnTo>
                    <a:pt x="618" y="684"/>
                  </a:lnTo>
                  <a:lnTo>
                    <a:pt x="606" y="678"/>
                  </a:lnTo>
                  <a:lnTo>
                    <a:pt x="588" y="660"/>
                  </a:lnTo>
                  <a:lnTo>
                    <a:pt x="588" y="630"/>
                  </a:lnTo>
                  <a:lnTo>
                    <a:pt x="594" y="636"/>
                  </a:lnTo>
                  <a:lnTo>
                    <a:pt x="594" y="642"/>
                  </a:lnTo>
                  <a:lnTo>
                    <a:pt x="636" y="642"/>
                  </a:lnTo>
                  <a:lnTo>
                    <a:pt x="642" y="648"/>
                  </a:lnTo>
                  <a:lnTo>
                    <a:pt x="642" y="666"/>
                  </a:lnTo>
                  <a:lnTo>
                    <a:pt x="654" y="666"/>
                  </a:lnTo>
                  <a:lnTo>
                    <a:pt x="666" y="660"/>
                  </a:lnTo>
                  <a:lnTo>
                    <a:pt x="678" y="666"/>
                  </a:lnTo>
                  <a:lnTo>
                    <a:pt x="684" y="660"/>
                  </a:lnTo>
                  <a:lnTo>
                    <a:pt x="696" y="660"/>
                  </a:lnTo>
                  <a:lnTo>
                    <a:pt x="702" y="666"/>
                  </a:lnTo>
                  <a:lnTo>
                    <a:pt x="708" y="678"/>
                  </a:lnTo>
                  <a:lnTo>
                    <a:pt x="720" y="690"/>
                  </a:lnTo>
                  <a:lnTo>
                    <a:pt x="732" y="696"/>
                  </a:lnTo>
                  <a:lnTo>
                    <a:pt x="738" y="690"/>
                  </a:lnTo>
                  <a:lnTo>
                    <a:pt x="738" y="672"/>
                  </a:lnTo>
                  <a:lnTo>
                    <a:pt x="744" y="660"/>
                  </a:lnTo>
                  <a:lnTo>
                    <a:pt x="744" y="648"/>
                  </a:lnTo>
                  <a:lnTo>
                    <a:pt x="750" y="642"/>
                  </a:lnTo>
                  <a:lnTo>
                    <a:pt x="768" y="642"/>
                  </a:lnTo>
                  <a:lnTo>
                    <a:pt x="774" y="648"/>
                  </a:lnTo>
                  <a:lnTo>
                    <a:pt x="792" y="648"/>
                  </a:lnTo>
                  <a:lnTo>
                    <a:pt x="804" y="642"/>
                  </a:lnTo>
                  <a:lnTo>
                    <a:pt x="828" y="618"/>
                  </a:lnTo>
                  <a:lnTo>
                    <a:pt x="840" y="612"/>
                  </a:lnTo>
                  <a:lnTo>
                    <a:pt x="864" y="612"/>
                  </a:lnTo>
                  <a:lnTo>
                    <a:pt x="864" y="600"/>
                  </a:lnTo>
                  <a:lnTo>
                    <a:pt x="876" y="600"/>
                  </a:lnTo>
                  <a:lnTo>
                    <a:pt x="882" y="594"/>
                  </a:lnTo>
                  <a:lnTo>
                    <a:pt x="882" y="558"/>
                  </a:lnTo>
                  <a:lnTo>
                    <a:pt x="846" y="522"/>
                  </a:lnTo>
                  <a:lnTo>
                    <a:pt x="840" y="510"/>
                  </a:lnTo>
                  <a:lnTo>
                    <a:pt x="834" y="504"/>
                  </a:lnTo>
                  <a:lnTo>
                    <a:pt x="834" y="492"/>
                  </a:lnTo>
                  <a:lnTo>
                    <a:pt x="846" y="486"/>
                  </a:lnTo>
                  <a:lnTo>
                    <a:pt x="852" y="486"/>
                  </a:lnTo>
                  <a:lnTo>
                    <a:pt x="864" y="480"/>
                  </a:lnTo>
                  <a:lnTo>
                    <a:pt x="864" y="462"/>
                  </a:lnTo>
                  <a:lnTo>
                    <a:pt x="846" y="444"/>
                  </a:lnTo>
                  <a:lnTo>
                    <a:pt x="846" y="438"/>
                  </a:lnTo>
                  <a:lnTo>
                    <a:pt x="876" y="438"/>
                  </a:lnTo>
                  <a:lnTo>
                    <a:pt x="888" y="432"/>
                  </a:lnTo>
                  <a:lnTo>
                    <a:pt x="900" y="432"/>
                  </a:lnTo>
                  <a:lnTo>
                    <a:pt x="912" y="426"/>
                  </a:lnTo>
                  <a:lnTo>
                    <a:pt x="918" y="420"/>
                  </a:lnTo>
                  <a:lnTo>
                    <a:pt x="918" y="402"/>
                  </a:lnTo>
                  <a:lnTo>
                    <a:pt x="894" y="402"/>
                  </a:lnTo>
                  <a:lnTo>
                    <a:pt x="894" y="360"/>
                  </a:lnTo>
                  <a:lnTo>
                    <a:pt x="906" y="348"/>
                  </a:lnTo>
                  <a:lnTo>
                    <a:pt x="918" y="348"/>
                  </a:lnTo>
                  <a:lnTo>
                    <a:pt x="924" y="342"/>
                  </a:lnTo>
                  <a:lnTo>
                    <a:pt x="930" y="342"/>
                  </a:lnTo>
                  <a:lnTo>
                    <a:pt x="936" y="336"/>
                  </a:lnTo>
                  <a:lnTo>
                    <a:pt x="954" y="300"/>
                  </a:lnTo>
                  <a:lnTo>
                    <a:pt x="948" y="294"/>
                  </a:lnTo>
                  <a:lnTo>
                    <a:pt x="942" y="282"/>
                  </a:lnTo>
                  <a:lnTo>
                    <a:pt x="936" y="276"/>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38" name="USA" descr="© INSCALE GmbH, 05.05.2010&#10;http://www.presentationload.com/">
              <a:extLst>
                <a:ext uri="{FF2B5EF4-FFF2-40B4-BE49-F238E27FC236}">
                  <a16:creationId xmlns:a16="http://schemas.microsoft.com/office/drawing/2014/main" id="{5405DDCC-EB16-47DA-85C5-286230510004}"/>
                </a:ext>
              </a:extLst>
            </p:cNvPr>
            <p:cNvSpPr>
              <a:spLocks noEditPoints="1"/>
            </p:cNvSpPr>
            <p:nvPr/>
          </p:nvSpPr>
          <p:spPr bwMode="gray">
            <a:xfrm>
              <a:off x="905504" y="2675198"/>
              <a:ext cx="1557046" cy="771468"/>
            </a:xfrm>
            <a:custGeom>
              <a:avLst/>
              <a:gdLst>
                <a:gd name="T0" fmla="*/ 2147483647 w 3918"/>
                <a:gd name="T1" fmla="*/ 2147483647 h 1944"/>
                <a:gd name="T2" fmla="*/ 2147483647 w 3918"/>
                <a:gd name="T3" fmla="*/ 2147483647 h 1944"/>
                <a:gd name="T4" fmla="*/ 2147483647 w 3918"/>
                <a:gd name="T5" fmla="*/ 2147483647 h 1944"/>
                <a:gd name="T6" fmla="*/ 2147483647 w 3918"/>
                <a:gd name="T7" fmla="*/ 2147483647 h 1944"/>
                <a:gd name="T8" fmla="*/ 2147483647 w 3918"/>
                <a:gd name="T9" fmla="*/ 2147483647 h 1944"/>
                <a:gd name="T10" fmla="*/ 2147483647 w 3918"/>
                <a:gd name="T11" fmla="*/ 2147483647 h 1944"/>
                <a:gd name="T12" fmla="*/ 2147483647 w 3918"/>
                <a:gd name="T13" fmla="*/ 2147483647 h 1944"/>
                <a:gd name="T14" fmla="*/ 2147483647 w 3918"/>
                <a:gd name="T15" fmla="*/ 2147483647 h 1944"/>
                <a:gd name="T16" fmla="*/ 2147483647 w 3918"/>
                <a:gd name="T17" fmla="*/ 2147483647 h 1944"/>
                <a:gd name="T18" fmla="*/ 2147483647 w 3918"/>
                <a:gd name="T19" fmla="*/ 2147483647 h 1944"/>
                <a:gd name="T20" fmla="*/ 2147483647 w 3918"/>
                <a:gd name="T21" fmla="*/ 2147483647 h 1944"/>
                <a:gd name="T22" fmla="*/ 2147483647 w 3918"/>
                <a:gd name="T23" fmla="*/ 2147483647 h 1944"/>
                <a:gd name="T24" fmla="*/ 2147483647 w 3918"/>
                <a:gd name="T25" fmla="*/ 2147483647 h 1944"/>
                <a:gd name="T26" fmla="*/ 2147483647 w 3918"/>
                <a:gd name="T27" fmla="*/ 2147483647 h 1944"/>
                <a:gd name="T28" fmla="*/ 2147483647 w 3918"/>
                <a:gd name="T29" fmla="*/ 2147483647 h 1944"/>
                <a:gd name="T30" fmla="*/ 2147483647 w 3918"/>
                <a:gd name="T31" fmla="*/ 2147483647 h 1944"/>
                <a:gd name="T32" fmla="*/ 2147483647 w 3918"/>
                <a:gd name="T33" fmla="*/ 2147483647 h 1944"/>
                <a:gd name="T34" fmla="*/ 2147483647 w 3918"/>
                <a:gd name="T35" fmla="*/ 2147483647 h 1944"/>
                <a:gd name="T36" fmla="*/ 2147483647 w 3918"/>
                <a:gd name="T37" fmla="*/ 2147483647 h 1944"/>
                <a:gd name="T38" fmla="*/ 2147483647 w 3918"/>
                <a:gd name="T39" fmla="*/ 2147483647 h 1944"/>
                <a:gd name="T40" fmla="*/ 2147483647 w 3918"/>
                <a:gd name="T41" fmla="*/ 2147483647 h 1944"/>
                <a:gd name="T42" fmla="*/ 2147483647 w 3918"/>
                <a:gd name="T43" fmla="*/ 2147483647 h 1944"/>
                <a:gd name="T44" fmla="*/ 2147483647 w 3918"/>
                <a:gd name="T45" fmla="*/ 2147483647 h 1944"/>
                <a:gd name="T46" fmla="*/ 2147483647 w 3918"/>
                <a:gd name="T47" fmla="*/ 2147483647 h 1944"/>
                <a:gd name="T48" fmla="*/ 2147483647 w 3918"/>
                <a:gd name="T49" fmla="*/ 2147483647 h 1944"/>
                <a:gd name="T50" fmla="*/ 2147483647 w 3918"/>
                <a:gd name="T51" fmla="*/ 2147483647 h 1944"/>
                <a:gd name="T52" fmla="*/ 2147483647 w 3918"/>
                <a:gd name="T53" fmla="*/ 2147483647 h 1944"/>
                <a:gd name="T54" fmla="*/ 2147483647 w 3918"/>
                <a:gd name="T55" fmla="*/ 2147483647 h 1944"/>
                <a:gd name="T56" fmla="*/ 2147483647 w 3918"/>
                <a:gd name="T57" fmla="*/ 2147483647 h 1944"/>
                <a:gd name="T58" fmla="*/ 2147483647 w 3918"/>
                <a:gd name="T59" fmla="*/ 2147483647 h 1944"/>
                <a:gd name="T60" fmla="*/ 2147483647 w 3918"/>
                <a:gd name="T61" fmla="*/ 2147483647 h 1944"/>
                <a:gd name="T62" fmla="*/ 2147483647 w 3918"/>
                <a:gd name="T63" fmla="*/ 2147483647 h 1944"/>
                <a:gd name="T64" fmla="*/ 2147483647 w 3918"/>
                <a:gd name="T65" fmla="*/ 2147483647 h 1944"/>
                <a:gd name="T66" fmla="*/ 2147483647 w 3918"/>
                <a:gd name="T67" fmla="*/ 2147483647 h 1944"/>
                <a:gd name="T68" fmla="*/ 2147483647 w 3918"/>
                <a:gd name="T69" fmla="*/ 2147483647 h 1944"/>
                <a:gd name="T70" fmla="*/ 2147483647 w 3918"/>
                <a:gd name="T71" fmla="*/ 2147483647 h 1944"/>
                <a:gd name="T72" fmla="*/ 2147483647 w 3918"/>
                <a:gd name="T73" fmla="*/ 2147483647 h 1944"/>
                <a:gd name="T74" fmla="*/ 2147483647 w 3918"/>
                <a:gd name="T75" fmla="*/ 2147483647 h 1944"/>
                <a:gd name="T76" fmla="*/ 2147483647 w 3918"/>
                <a:gd name="T77" fmla="*/ 2147483647 h 1944"/>
                <a:gd name="T78" fmla="*/ 2147483647 w 3918"/>
                <a:gd name="T79" fmla="*/ 2147483647 h 1944"/>
                <a:gd name="T80" fmla="*/ 2147483647 w 3918"/>
                <a:gd name="T81" fmla="*/ 2147483647 h 1944"/>
                <a:gd name="T82" fmla="*/ 2147483647 w 3918"/>
                <a:gd name="T83" fmla="*/ 2147483647 h 1944"/>
                <a:gd name="T84" fmla="*/ 2147483647 w 3918"/>
                <a:gd name="T85" fmla="*/ 2147483647 h 1944"/>
                <a:gd name="T86" fmla="*/ 2147483647 w 3918"/>
                <a:gd name="T87" fmla="*/ 2147483647 h 1944"/>
                <a:gd name="T88" fmla="*/ 2147483647 w 3918"/>
                <a:gd name="T89" fmla="*/ 2147483647 h 1944"/>
                <a:gd name="T90" fmla="*/ 2147483647 w 3918"/>
                <a:gd name="T91" fmla="*/ 2147483647 h 1944"/>
                <a:gd name="T92" fmla="*/ 2147483647 w 3918"/>
                <a:gd name="T93" fmla="*/ 2147483647 h 1944"/>
                <a:gd name="T94" fmla="*/ 2147483647 w 3918"/>
                <a:gd name="T95" fmla="*/ 2147483647 h 1944"/>
                <a:gd name="T96" fmla="*/ 2147483647 w 3918"/>
                <a:gd name="T97" fmla="*/ 2147483647 h 1944"/>
                <a:gd name="T98" fmla="*/ 2147483647 w 3918"/>
                <a:gd name="T99" fmla="*/ 2147483647 h 1944"/>
                <a:gd name="T100" fmla="*/ 2147483647 w 3918"/>
                <a:gd name="T101" fmla="*/ 2147483647 h 1944"/>
                <a:gd name="T102" fmla="*/ 2147483647 w 3918"/>
                <a:gd name="T103" fmla="*/ 2147483647 h 1944"/>
                <a:gd name="T104" fmla="*/ 2147483647 w 3918"/>
                <a:gd name="T105" fmla="*/ 2147483647 h 1944"/>
                <a:gd name="T106" fmla="*/ 2147483647 w 3918"/>
                <a:gd name="T107" fmla="*/ 2147483647 h 1944"/>
                <a:gd name="T108" fmla="*/ 2147483647 w 3918"/>
                <a:gd name="T109" fmla="*/ 2147483647 h 1944"/>
                <a:gd name="T110" fmla="*/ 2147483647 w 3918"/>
                <a:gd name="T111" fmla="*/ 2147483647 h 1944"/>
                <a:gd name="T112" fmla="*/ 2147483647 w 3918"/>
                <a:gd name="T113" fmla="*/ 2147483647 h 1944"/>
                <a:gd name="T114" fmla="*/ 2147483647 w 3918"/>
                <a:gd name="T115" fmla="*/ 2147483647 h 1944"/>
                <a:gd name="T116" fmla="*/ 2147483647 w 3918"/>
                <a:gd name="T117" fmla="*/ 2147483647 h 1944"/>
                <a:gd name="T118" fmla="*/ 2147483647 w 3918"/>
                <a:gd name="T119" fmla="*/ 2147483647 h 1944"/>
                <a:gd name="T120" fmla="*/ 2147483647 w 3918"/>
                <a:gd name="T121" fmla="*/ 2147483647 h 1944"/>
                <a:gd name="T122" fmla="*/ 2147483647 w 3918"/>
                <a:gd name="T123" fmla="*/ 2147483647 h 1944"/>
                <a:gd name="T124" fmla="*/ 2147483647 w 3918"/>
                <a:gd name="T125" fmla="*/ 2147483647 h 19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18"/>
                <a:gd name="T190" fmla="*/ 0 h 1944"/>
                <a:gd name="T191" fmla="*/ 3918 w 3918"/>
                <a:gd name="T192" fmla="*/ 1944 h 19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18" h="1944">
                  <a:moveTo>
                    <a:pt x="3858" y="168"/>
                  </a:moveTo>
                  <a:lnTo>
                    <a:pt x="3852" y="168"/>
                  </a:lnTo>
                  <a:lnTo>
                    <a:pt x="3846" y="162"/>
                  </a:lnTo>
                  <a:lnTo>
                    <a:pt x="3846" y="156"/>
                  </a:lnTo>
                  <a:lnTo>
                    <a:pt x="3840" y="150"/>
                  </a:lnTo>
                  <a:lnTo>
                    <a:pt x="3828" y="150"/>
                  </a:lnTo>
                  <a:lnTo>
                    <a:pt x="3804" y="174"/>
                  </a:lnTo>
                  <a:lnTo>
                    <a:pt x="3798" y="186"/>
                  </a:lnTo>
                  <a:lnTo>
                    <a:pt x="3756" y="210"/>
                  </a:lnTo>
                  <a:lnTo>
                    <a:pt x="3756" y="234"/>
                  </a:lnTo>
                  <a:lnTo>
                    <a:pt x="3744" y="246"/>
                  </a:lnTo>
                  <a:lnTo>
                    <a:pt x="3738" y="246"/>
                  </a:lnTo>
                  <a:lnTo>
                    <a:pt x="3726" y="258"/>
                  </a:lnTo>
                  <a:lnTo>
                    <a:pt x="3720" y="270"/>
                  </a:lnTo>
                  <a:lnTo>
                    <a:pt x="3720" y="294"/>
                  </a:lnTo>
                  <a:lnTo>
                    <a:pt x="3714" y="294"/>
                  </a:lnTo>
                  <a:lnTo>
                    <a:pt x="3708" y="288"/>
                  </a:lnTo>
                  <a:lnTo>
                    <a:pt x="3696" y="288"/>
                  </a:lnTo>
                  <a:lnTo>
                    <a:pt x="3690" y="294"/>
                  </a:lnTo>
                  <a:lnTo>
                    <a:pt x="3678" y="300"/>
                  </a:lnTo>
                  <a:lnTo>
                    <a:pt x="3666" y="312"/>
                  </a:lnTo>
                  <a:lnTo>
                    <a:pt x="3666" y="318"/>
                  </a:lnTo>
                  <a:lnTo>
                    <a:pt x="3660" y="318"/>
                  </a:lnTo>
                  <a:lnTo>
                    <a:pt x="3648" y="324"/>
                  </a:lnTo>
                  <a:lnTo>
                    <a:pt x="3630" y="324"/>
                  </a:lnTo>
                  <a:lnTo>
                    <a:pt x="3618" y="336"/>
                  </a:lnTo>
                  <a:lnTo>
                    <a:pt x="3618" y="342"/>
                  </a:lnTo>
                  <a:lnTo>
                    <a:pt x="3384" y="342"/>
                  </a:lnTo>
                  <a:lnTo>
                    <a:pt x="3372" y="354"/>
                  </a:lnTo>
                  <a:lnTo>
                    <a:pt x="3360" y="360"/>
                  </a:lnTo>
                  <a:lnTo>
                    <a:pt x="3336" y="384"/>
                  </a:lnTo>
                  <a:lnTo>
                    <a:pt x="3324" y="390"/>
                  </a:lnTo>
                  <a:lnTo>
                    <a:pt x="3312" y="402"/>
                  </a:lnTo>
                  <a:lnTo>
                    <a:pt x="3282" y="402"/>
                  </a:lnTo>
                  <a:lnTo>
                    <a:pt x="3282" y="408"/>
                  </a:lnTo>
                  <a:lnTo>
                    <a:pt x="3276" y="408"/>
                  </a:lnTo>
                  <a:lnTo>
                    <a:pt x="3282" y="414"/>
                  </a:lnTo>
                  <a:lnTo>
                    <a:pt x="3282" y="420"/>
                  </a:lnTo>
                  <a:lnTo>
                    <a:pt x="3288" y="426"/>
                  </a:lnTo>
                  <a:lnTo>
                    <a:pt x="3282" y="432"/>
                  </a:lnTo>
                  <a:lnTo>
                    <a:pt x="3282" y="438"/>
                  </a:lnTo>
                  <a:lnTo>
                    <a:pt x="3276" y="444"/>
                  </a:lnTo>
                  <a:lnTo>
                    <a:pt x="3270" y="456"/>
                  </a:lnTo>
                  <a:lnTo>
                    <a:pt x="3264" y="462"/>
                  </a:lnTo>
                  <a:lnTo>
                    <a:pt x="3264" y="468"/>
                  </a:lnTo>
                  <a:lnTo>
                    <a:pt x="3246" y="468"/>
                  </a:lnTo>
                  <a:lnTo>
                    <a:pt x="3246" y="474"/>
                  </a:lnTo>
                  <a:lnTo>
                    <a:pt x="3240" y="474"/>
                  </a:lnTo>
                  <a:lnTo>
                    <a:pt x="3228" y="480"/>
                  </a:lnTo>
                  <a:lnTo>
                    <a:pt x="3204" y="480"/>
                  </a:lnTo>
                  <a:lnTo>
                    <a:pt x="3198" y="474"/>
                  </a:lnTo>
                  <a:lnTo>
                    <a:pt x="3186" y="486"/>
                  </a:lnTo>
                  <a:lnTo>
                    <a:pt x="3162" y="486"/>
                  </a:lnTo>
                  <a:lnTo>
                    <a:pt x="3150" y="480"/>
                  </a:lnTo>
                  <a:lnTo>
                    <a:pt x="3144" y="474"/>
                  </a:lnTo>
                  <a:lnTo>
                    <a:pt x="3114" y="474"/>
                  </a:lnTo>
                  <a:lnTo>
                    <a:pt x="3096" y="486"/>
                  </a:lnTo>
                  <a:lnTo>
                    <a:pt x="3078" y="492"/>
                  </a:lnTo>
                  <a:lnTo>
                    <a:pt x="3072" y="492"/>
                  </a:lnTo>
                  <a:lnTo>
                    <a:pt x="3072" y="516"/>
                  </a:lnTo>
                  <a:lnTo>
                    <a:pt x="3066" y="522"/>
                  </a:lnTo>
                  <a:lnTo>
                    <a:pt x="3078" y="522"/>
                  </a:lnTo>
                  <a:lnTo>
                    <a:pt x="3066" y="528"/>
                  </a:lnTo>
                  <a:lnTo>
                    <a:pt x="3036" y="546"/>
                  </a:lnTo>
                  <a:lnTo>
                    <a:pt x="3000" y="564"/>
                  </a:lnTo>
                  <a:lnTo>
                    <a:pt x="2964" y="576"/>
                  </a:lnTo>
                  <a:lnTo>
                    <a:pt x="2946" y="588"/>
                  </a:lnTo>
                  <a:lnTo>
                    <a:pt x="2934" y="594"/>
                  </a:lnTo>
                  <a:lnTo>
                    <a:pt x="2928" y="594"/>
                  </a:lnTo>
                  <a:lnTo>
                    <a:pt x="2856" y="618"/>
                  </a:lnTo>
                  <a:lnTo>
                    <a:pt x="2850" y="624"/>
                  </a:lnTo>
                  <a:lnTo>
                    <a:pt x="2838" y="624"/>
                  </a:lnTo>
                  <a:lnTo>
                    <a:pt x="2826" y="630"/>
                  </a:lnTo>
                  <a:lnTo>
                    <a:pt x="2808" y="630"/>
                  </a:lnTo>
                  <a:lnTo>
                    <a:pt x="2802" y="636"/>
                  </a:lnTo>
                  <a:lnTo>
                    <a:pt x="2778" y="636"/>
                  </a:lnTo>
                  <a:lnTo>
                    <a:pt x="2772" y="630"/>
                  </a:lnTo>
                  <a:lnTo>
                    <a:pt x="2772" y="624"/>
                  </a:lnTo>
                  <a:lnTo>
                    <a:pt x="2760" y="624"/>
                  </a:lnTo>
                  <a:lnTo>
                    <a:pt x="2748" y="618"/>
                  </a:lnTo>
                  <a:lnTo>
                    <a:pt x="2736" y="606"/>
                  </a:lnTo>
                  <a:lnTo>
                    <a:pt x="2742" y="606"/>
                  </a:lnTo>
                  <a:lnTo>
                    <a:pt x="2748" y="600"/>
                  </a:lnTo>
                  <a:lnTo>
                    <a:pt x="2772" y="588"/>
                  </a:lnTo>
                  <a:lnTo>
                    <a:pt x="2772" y="582"/>
                  </a:lnTo>
                  <a:lnTo>
                    <a:pt x="2796" y="558"/>
                  </a:lnTo>
                  <a:lnTo>
                    <a:pt x="2832" y="540"/>
                  </a:lnTo>
                  <a:lnTo>
                    <a:pt x="2838" y="540"/>
                  </a:lnTo>
                  <a:lnTo>
                    <a:pt x="2844" y="534"/>
                  </a:lnTo>
                  <a:lnTo>
                    <a:pt x="2844" y="510"/>
                  </a:lnTo>
                  <a:lnTo>
                    <a:pt x="2850" y="504"/>
                  </a:lnTo>
                  <a:lnTo>
                    <a:pt x="2856" y="492"/>
                  </a:lnTo>
                  <a:lnTo>
                    <a:pt x="2850" y="486"/>
                  </a:lnTo>
                  <a:lnTo>
                    <a:pt x="2850" y="480"/>
                  </a:lnTo>
                  <a:lnTo>
                    <a:pt x="2856" y="468"/>
                  </a:lnTo>
                  <a:lnTo>
                    <a:pt x="2856" y="444"/>
                  </a:lnTo>
                  <a:lnTo>
                    <a:pt x="2862" y="432"/>
                  </a:lnTo>
                  <a:lnTo>
                    <a:pt x="2862" y="426"/>
                  </a:lnTo>
                  <a:lnTo>
                    <a:pt x="2856" y="420"/>
                  </a:lnTo>
                  <a:lnTo>
                    <a:pt x="2850" y="420"/>
                  </a:lnTo>
                  <a:lnTo>
                    <a:pt x="2844" y="426"/>
                  </a:lnTo>
                  <a:lnTo>
                    <a:pt x="2832" y="426"/>
                  </a:lnTo>
                  <a:lnTo>
                    <a:pt x="2814" y="444"/>
                  </a:lnTo>
                  <a:lnTo>
                    <a:pt x="2802" y="450"/>
                  </a:lnTo>
                  <a:lnTo>
                    <a:pt x="2796" y="456"/>
                  </a:lnTo>
                  <a:lnTo>
                    <a:pt x="2778" y="456"/>
                  </a:lnTo>
                  <a:lnTo>
                    <a:pt x="2772" y="450"/>
                  </a:lnTo>
                  <a:lnTo>
                    <a:pt x="2778" y="444"/>
                  </a:lnTo>
                  <a:lnTo>
                    <a:pt x="2784" y="432"/>
                  </a:lnTo>
                  <a:lnTo>
                    <a:pt x="2808" y="420"/>
                  </a:lnTo>
                  <a:lnTo>
                    <a:pt x="2826" y="402"/>
                  </a:lnTo>
                  <a:lnTo>
                    <a:pt x="2850" y="390"/>
                  </a:lnTo>
                  <a:lnTo>
                    <a:pt x="2856" y="384"/>
                  </a:lnTo>
                  <a:lnTo>
                    <a:pt x="2856" y="366"/>
                  </a:lnTo>
                  <a:lnTo>
                    <a:pt x="2850" y="360"/>
                  </a:lnTo>
                  <a:lnTo>
                    <a:pt x="2850" y="348"/>
                  </a:lnTo>
                  <a:lnTo>
                    <a:pt x="2856" y="348"/>
                  </a:lnTo>
                  <a:lnTo>
                    <a:pt x="2862" y="342"/>
                  </a:lnTo>
                  <a:lnTo>
                    <a:pt x="2868" y="330"/>
                  </a:lnTo>
                  <a:lnTo>
                    <a:pt x="2868" y="318"/>
                  </a:lnTo>
                  <a:lnTo>
                    <a:pt x="2862" y="312"/>
                  </a:lnTo>
                  <a:lnTo>
                    <a:pt x="2850" y="312"/>
                  </a:lnTo>
                  <a:lnTo>
                    <a:pt x="2838" y="306"/>
                  </a:lnTo>
                  <a:lnTo>
                    <a:pt x="2832" y="306"/>
                  </a:lnTo>
                  <a:lnTo>
                    <a:pt x="2826" y="294"/>
                  </a:lnTo>
                  <a:lnTo>
                    <a:pt x="2820" y="288"/>
                  </a:lnTo>
                  <a:lnTo>
                    <a:pt x="2820" y="282"/>
                  </a:lnTo>
                  <a:lnTo>
                    <a:pt x="2814" y="288"/>
                  </a:lnTo>
                  <a:lnTo>
                    <a:pt x="2808" y="288"/>
                  </a:lnTo>
                  <a:lnTo>
                    <a:pt x="2808" y="264"/>
                  </a:lnTo>
                  <a:lnTo>
                    <a:pt x="2844" y="270"/>
                  </a:lnTo>
                  <a:lnTo>
                    <a:pt x="2850" y="264"/>
                  </a:lnTo>
                  <a:lnTo>
                    <a:pt x="2850" y="246"/>
                  </a:lnTo>
                  <a:lnTo>
                    <a:pt x="2862" y="246"/>
                  </a:lnTo>
                  <a:lnTo>
                    <a:pt x="2868" y="228"/>
                  </a:lnTo>
                  <a:lnTo>
                    <a:pt x="2850" y="228"/>
                  </a:lnTo>
                  <a:lnTo>
                    <a:pt x="2844" y="240"/>
                  </a:lnTo>
                  <a:lnTo>
                    <a:pt x="2820" y="228"/>
                  </a:lnTo>
                  <a:lnTo>
                    <a:pt x="2820" y="210"/>
                  </a:lnTo>
                  <a:lnTo>
                    <a:pt x="2802" y="210"/>
                  </a:lnTo>
                  <a:lnTo>
                    <a:pt x="2790" y="216"/>
                  </a:lnTo>
                  <a:lnTo>
                    <a:pt x="2736" y="216"/>
                  </a:lnTo>
                  <a:lnTo>
                    <a:pt x="2724" y="222"/>
                  </a:lnTo>
                  <a:lnTo>
                    <a:pt x="2712" y="222"/>
                  </a:lnTo>
                  <a:lnTo>
                    <a:pt x="2700" y="228"/>
                  </a:lnTo>
                  <a:lnTo>
                    <a:pt x="2682" y="228"/>
                  </a:lnTo>
                  <a:lnTo>
                    <a:pt x="2658" y="216"/>
                  </a:lnTo>
                  <a:lnTo>
                    <a:pt x="2658" y="210"/>
                  </a:lnTo>
                  <a:lnTo>
                    <a:pt x="2652" y="204"/>
                  </a:lnTo>
                  <a:lnTo>
                    <a:pt x="2652" y="198"/>
                  </a:lnTo>
                  <a:lnTo>
                    <a:pt x="2646" y="192"/>
                  </a:lnTo>
                  <a:lnTo>
                    <a:pt x="2628" y="192"/>
                  </a:lnTo>
                  <a:lnTo>
                    <a:pt x="2622" y="198"/>
                  </a:lnTo>
                  <a:lnTo>
                    <a:pt x="2616" y="198"/>
                  </a:lnTo>
                  <a:lnTo>
                    <a:pt x="2610" y="192"/>
                  </a:lnTo>
                  <a:lnTo>
                    <a:pt x="2670" y="162"/>
                  </a:lnTo>
                  <a:lnTo>
                    <a:pt x="2658" y="150"/>
                  </a:lnTo>
                  <a:lnTo>
                    <a:pt x="2640" y="150"/>
                  </a:lnTo>
                  <a:lnTo>
                    <a:pt x="2628" y="162"/>
                  </a:lnTo>
                  <a:lnTo>
                    <a:pt x="2616" y="168"/>
                  </a:lnTo>
                  <a:lnTo>
                    <a:pt x="2610" y="174"/>
                  </a:lnTo>
                  <a:lnTo>
                    <a:pt x="2604" y="174"/>
                  </a:lnTo>
                  <a:lnTo>
                    <a:pt x="2580" y="186"/>
                  </a:lnTo>
                  <a:lnTo>
                    <a:pt x="2562" y="192"/>
                  </a:lnTo>
                  <a:lnTo>
                    <a:pt x="2538" y="204"/>
                  </a:lnTo>
                  <a:lnTo>
                    <a:pt x="2508" y="204"/>
                  </a:lnTo>
                  <a:lnTo>
                    <a:pt x="2496" y="216"/>
                  </a:lnTo>
                  <a:lnTo>
                    <a:pt x="2448" y="216"/>
                  </a:lnTo>
                  <a:lnTo>
                    <a:pt x="2448" y="210"/>
                  </a:lnTo>
                  <a:lnTo>
                    <a:pt x="2454" y="204"/>
                  </a:lnTo>
                  <a:lnTo>
                    <a:pt x="2460" y="204"/>
                  </a:lnTo>
                  <a:lnTo>
                    <a:pt x="2472" y="192"/>
                  </a:lnTo>
                  <a:lnTo>
                    <a:pt x="2460" y="192"/>
                  </a:lnTo>
                  <a:lnTo>
                    <a:pt x="2448" y="198"/>
                  </a:lnTo>
                  <a:lnTo>
                    <a:pt x="2412" y="198"/>
                  </a:lnTo>
                  <a:lnTo>
                    <a:pt x="2400" y="204"/>
                  </a:lnTo>
                  <a:lnTo>
                    <a:pt x="2394" y="210"/>
                  </a:lnTo>
                  <a:lnTo>
                    <a:pt x="2370" y="210"/>
                  </a:lnTo>
                  <a:lnTo>
                    <a:pt x="2370" y="198"/>
                  </a:lnTo>
                  <a:lnTo>
                    <a:pt x="2400" y="180"/>
                  </a:lnTo>
                  <a:lnTo>
                    <a:pt x="2442" y="168"/>
                  </a:lnTo>
                  <a:lnTo>
                    <a:pt x="2502" y="138"/>
                  </a:lnTo>
                  <a:lnTo>
                    <a:pt x="2520" y="126"/>
                  </a:lnTo>
                  <a:lnTo>
                    <a:pt x="2544" y="120"/>
                  </a:lnTo>
                  <a:lnTo>
                    <a:pt x="2574" y="114"/>
                  </a:lnTo>
                  <a:lnTo>
                    <a:pt x="2580" y="114"/>
                  </a:lnTo>
                  <a:lnTo>
                    <a:pt x="2592" y="108"/>
                  </a:lnTo>
                  <a:lnTo>
                    <a:pt x="2574" y="108"/>
                  </a:lnTo>
                  <a:lnTo>
                    <a:pt x="2562" y="102"/>
                  </a:lnTo>
                  <a:lnTo>
                    <a:pt x="2556" y="102"/>
                  </a:lnTo>
                  <a:lnTo>
                    <a:pt x="2556" y="96"/>
                  </a:lnTo>
                  <a:lnTo>
                    <a:pt x="2508" y="102"/>
                  </a:lnTo>
                  <a:lnTo>
                    <a:pt x="2508" y="84"/>
                  </a:lnTo>
                  <a:lnTo>
                    <a:pt x="2502" y="90"/>
                  </a:lnTo>
                  <a:lnTo>
                    <a:pt x="2490" y="96"/>
                  </a:lnTo>
                  <a:lnTo>
                    <a:pt x="2478" y="108"/>
                  </a:lnTo>
                  <a:lnTo>
                    <a:pt x="2466" y="108"/>
                  </a:lnTo>
                  <a:lnTo>
                    <a:pt x="2448" y="90"/>
                  </a:lnTo>
                  <a:lnTo>
                    <a:pt x="2418" y="90"/>
                  </a:lnTo>
                  <a:lnTo>
                    <a:pt x="2412" y="84"/>
                  </a:lnTo>
                  <a:lnTo>
                    <a:pt x="2412" y="78"/>
                  </a:lnTo>
                  <a:lnTo>
                    <a:pt x="2400" y="66"/>
                  </a:lnTo>
                  <a:lnTo>
                    <a:pt x="2388" y="60"/>
                  </a:lnTo>
                  <a:lnTo>
                    <a:pt x="2376" y="60"/>
                  </a:lnTo>
                  <a:lnTo>
                    <a:pt x="2364" y="72"/>
                  </a:lnTo>
                  <a:lnTo>
                    <a:pt x="2364" y="78"/>
                  </a:lnTo>
                  <a:lnTo>
                    <a:pt x="2352" y="78"/>
                  </a:lnTo>
                  <a:lnTo>
                    <a:pt x="2334" y="60"/>
                  </a:lnTo>
                  <a:lnTo>
                    <a:pt x="2322" y="60"/>
                  </a:lnTo>
                  <a:lnTo>
                    <a:pt x="2304" y="54"/>
                  </a:lnTo>
                  <a:lnTo>
                    <a:pt x="2292" y="48"/>
                  </a:lnTo>
                  <a:lnTo>
                    <a:pt x="2292" y="36"/>
                  </a:lnTo>
                  <a:lnTo>
                    <a:pt x="2298" y="24"/>
                  </a:lnTo>
                  <a:lnTo>
                    <a:pt x="2310" y="12"/>
                  </a:lnTo>
                  <a:lnTo>
                    <a:pt x="2298" y="0"/>
                  </a:lnTo>
                  <a:lnTo>
                    <a:pt x="2286" y="6"/>
                  </a:lnTo>
                  <a:lnTo>
                    <a:pt x="2280" y="12"/>
                  </a:lnTo>
                  <a:lnTo>
                    <a:pt x="2274" y="24"/>
                  </a:lnTo>
                  <a:lnTo>
                    <a:pt x="2274" y="30"/>
                  </a:lnTo>
                  <a:lnTo>
                    <a:pt x="2268" y="42"/>
                  </a:lnTo>
                  <a:lnTo>
                    <a:pt x="558" y="42"/>
                  </a:lnTo>
                  <a:lnTo>
                    <a:pt x="552" y="54"/>
                  </a:lnTo>
                  <a:lnTo>
                    <a:pt x="552" y="60"/>
                  </a:lnTo>
                  <a:lnTo>
                    <a:pt x="546" y="60"/>
                  </a:lnTo>
                  <a:lnTo>
                    <a:pt x="546" y="72"/>
                  </a:lnTo>
                  <a:lnTo>
                    <a:pt x="540" y="84"/>
                  </a:lnTo>
                  <a:lnTo>
                    <a:pt x="540" y="108"/>
                  </a:lnTo>
                  <a:lnTo>
                    <a:pt x="510" y="126"/>
                  </a:lnTo>
                  <a:lnTo>
                    <a:pt x="504" y="144"/>
                  </a:lnTo>
                  <a:lnTo>
                    <a:pt x="486" y="168"/>
                  </a:lnTo>
                  <a:lnTo>
                    <a:pt x="438" y="180"/>
                  </a:lnTo>
                  <a:lnTo>
                    <a:pt x="474" y="162"/>
                  </a:lnTo>
                  <a:lnTo>
                    <a:pt x="450" y="162"/>
                  </a:lnTo>
                  <a:lnTo>
                    <a:pt x="456" y="156"/>
                  </a:lnTo>
                  <a:lnTo>
                    <a:pt x="462" y="144"/>
                  </a:lnTo>
                  <a:lnTo>
                    <a:pt x="486" y="120"/>
                  </a:lnTo>
                  <a:lnTo>
                    <a:pt x="492" y="120"/>
                  </a:lnTo>
                  <a:lnTo>
                    <a:pt x="504" y="108"/>
                  </a:lnTo>
                  <a:lnTo>
                    <a:pt x="504" y="102"/>
                  </a:lnTo>
                  <a:lnTo>
                    <a:pt x="456" y="102"/>
                  </a:lnTo>
                  <a:lnTo>
                    <a:pt x="450" y="96"/>
                  </a:lnTo>
                  <a:lnTo>
                    <a:pt x="438" y="90"/>
                  </a:lnTo>
                  <a:lnTo>
                    <a:pt x="432" y="84"/>
                  </a:lnTo>
                  <a:lnTo>
                    <a:pt x="420" y="78"/>
                  </a:lnTo>
                  <a:lnTo>
                    <a:pt x="402" y="78"/>
                  </a:lnTo>
                  <a:lnTo>
                    <a:pt x="390" y="90"/>
                  </a:lnTo>
                  <a:lnTo>
                    <a:pt x="384" y="102"/>
                  </a:lnTo>
                  <a:lnTo>
                    <a:pt x="384" y="150"/>
                  </a:lnTo>
                  <a:lnTo>
                    <a:pt x="378" y="156"/>
                  </a:lnTo>
                  <a:lnTo>
                    <a:pt x="378" y="162"/>
                  </a:lnTo>
                  <a:lnTo>
                    <a:pt x="360" y="180"/>
                  </a:lnTo>
                  <a:lnTo>
                    <a:pt x="390" y="186"/>
                  </a:lnTo>
                  <a:lnTo>
                    <a:pt x="360" y="192"/>
                  </a:lnTo>
                  <a:lnTo>
                    <a:pt x="366" y="210"/>
                  </a:lnTo>
                  <a:lnTo>
                    <a:pt x="348" y="234"/>
                  </a:lnTo>
                  <a:lnTo>
                    <a:pt x="354" y="234"/>
                  </a:lnTo>
                  <a:lnTo>
                    <a:pt x="366" y="246"/>
                  </a:lnTo>
                  <a:lnTo>
                    <a:pt x="372" y="246"/>
                  </a:lnTo>
                  <a:lnTo>
                    <a:pt x="378" y="252"/>
                  </a:lnTo>
                  <a:lnTo>
                    <a:pt x="330" y="252"/>
                  </a:lnTo>
                  <a:lnTo>
                    <a:pt x="324" y="264"/>
                  </a:lnTo>
                  <a:lnTo>
                    <a:pt x="306" y="282"/>
                  </a:lnTo>
                  <a:lnTo>
                    <a:pt x="270" y="342"/>
                  </a:lnTo>
                  <a:lnTo>
                    <a:pt x="258" y="360"/>
                  </a:lnTo>
                  <a:lnTo>
                    <a:pt x="216" y="402"/>
                  </a:lnTo>
                  <a:lnTo>
                    <a:pt x="192" y="432"/>
                  </a:lnTo>
                  <a:lnTo>
                    <a:pt x="174" y="456"/>
                  </a:lnTo>
                  <a:lnTo>
                    <a:pt x="168" y="462"/>
                  </a:lnTo>
                  <a:lnTo>
                    <a:pt x="174" y="480"/>
                  </a:lnTo>
                  <a:lnTo>
                    <a:pt x="168" y="480"/>
                  </a:lnTo>
                  <a:lnTo>
                    <a:pt x="162" y="486"/>
                  </a:lnTo>
                  <a:lnTo>
                    <a:pt x="150" y="492"/>
                  </a:lnTo>
                  <a:lnTo>
                    <a:pt x="126" y="516"/>
                  </a:lnTo>
                  <a:lnTo>
                    <a:pt x="120" y="534"/>
                  </a:lnTo>
                  <a:lnTo>
                    <a:pt x="120" y="546"/>
                  </a:lnTo>
                  <a:lnTo>
                    <a:pt x="102" y="570"/>
                  </a:lnTo>
                  <a:lnTo>
                    <a:pt x="96" y="618"/>
                  </a:lnTo>
                  <a:lnTo>
                    <a:pt x="90" y="630"/>
                  </a:lnTo>
                  <a:lnTo>
                    <a:pt x="72" y="648"/>
                  </a:lnTo>
                  <a:lnTo>
                    <a:pt x="60" y="672"/>
                  </a:lnTo>
                  <a:lnTo>
                    <a:pt x="54" y="678"/>
                  </a:lnTo>
                  <a:lnTo>
                    <a:pt x="42" y="684"/>
                  </a:lnTo>
                  <a:lnTo>
                    <a:pt x="18" y="708"/>
                  </a:lnTo>
                  <a:lnTo>
                    <a:pt x="12" y="720"/>
                  </a:lnTo>
                  <a:lnTo>
                    <a:pt x="18" y="732"/>
                  </a:lnTo>
                  <a:lnTo>
                    <a:pt x="36" y="750"/>
                  </a:lnTo>
                  <a:lnTo>
                    <a:pt x="36" y="762"/>
                  </a:lnTo>
                  <a:lnTo>
                    <a:pt x="30" y="774"/>
                  </a:lnTo>
                  <a:lnTo>
                    <a:pt x="18" y="786"/>
                  </a:lnTo>
                  <a:lnTo>
                    <a:pt x="12" y="798"/>
                  </a:lnTo>
                  <a:lnTo>
                    <a:pt x="6" y="816"/>
                  </a:lnTo>
                  <a:lnTo>
                    <a:pt x="0" y="828"/>
                  </a:lnTo>
                  <a:lnTo>
                    <a:pt x="0" y="840"/>
                  </a:lnTo>
                  <a:lnTo>
                    <a:pt x="6" y="852"/>
                  </a:lnTo>
                  <a:lnTo>
                    <a:pt x="12" y="870"/>
                  </a:lnTo>
                  <a:lnTo>
                    <a:pt x="12" y="882"/>
                  </a:lnTo>
                  <a:lnTo>
                    <a:pt x="18" y="900"/>
                  </a:lnTo>
                  <a:lnTo>
                    <a:pt x="24" y="906"/>
                  </a:lnTo>
                  <a:lnTo>
                    <a:pt x="24" y="912"/>
                  </a:lnTo>
                  <a:lnTo>
                    <a:pt x="48" y="894"/>
                  </a:lnTo>
                  <a:lnTo>
                    <a:pt x="114" y="900"/>
                  </a:lnTo>
                  <a:lnTo>
                    <a:pt x="78" y="900"/>
                  </a:lnTo>
                  <a:lnTo>
                    <a:pt x="66" y="906"/>
                  </a:lnTo>
                  <a:lnTo>
                    <a:pt x="60" y="906"/>
                  </a:lnTo>
                  <a:lnTo>
                    <a:pt x="48" y="918"/>
                  </a:lnTo>
                  <a:lnTo>
                    <a:pt x="48" y="942"/>
                  </a:lnTo>
                  <a:lnTo>
                    <a:pt x="30" y="924"/>
                  </a:lnTo>
                  <a:lnTo>
                    <a:pt x="24" y="924"/>
                  </a:lnTo>
                  <a:lnTo>
                    <a:pt x="18" y="936"/>
                  </a:lnTo>
                  <a:lnTo>
                    <a:pt x="18" y="942"/>
                  </a:lnTo>
                  <a:lnTo>
                    <a:pt x="12" y="960"/>
                  </a:lnTo>
                  <a:lnTo>
                    <a:pt x="12" y="978"/>
                  </a:lnTo>
                  <a:lnTo>
                    <a:pt x="18" y="984"/>
                  </a:lnTo>
                  <a:lnTo>
                    <a:pt x="30" y="990"/>
                  </a:lnTo>
                  <a:lnTo>
                    <a:pt x="42" y="990"/>
                  </a:lnTo>
                  <a:lnTo>
                    <a:pt x="42" y="1002"/>
                  </a:lnTo>
                  <a:lnTo>
                    <a:pt x="36" y="1008"/>
                  </a:lnTo>
                  <a:lnTo>
                    <a:pt x="36" y="1014"/>
                  </a:lnTo>
                  <a:lnTo>
                    <a:pt x="18" y="1032"/>
                  </a:lnTo>
                  <a:lnTo>
                    <a:pt x="12" y="1044"/>
                  </a:lnTo>
                  <a:lnTo>
                    <a:pt x="12" y="1056"/>
                  </a:lnTo>
                  <a:lnTo>
                    <a:pt x="18" y="1068"/>
                  </a:lnTo>
                  <a:lnTo>
                    <a:pt x="24" y="1074"/>
                  </a:lnTo>
                  <a:lnTo>
                    <a:pt x="36" y="1098"/>
                  </a:lnTo>
                  <a:lnTo>
                    <a:pt x="42" y="1104"/>
                  </a:lnTo>
                  <a:lnTo>
                    <a:pt x="54" y="1128"/>
                  </a:lnTo>
                  <a:lnTo>
                    <a:pt x="60" y="1134"/>
                  </a:lnTo>
                  <a:lnTo>
                    <a:pt x="60" y="1146"/>
                  </a:lnTo>
                  <a:lnTo>
                    <a:pt x="54" y="1152"/>
                  </a:lnTo>
                  <a:lnTo>
                    <a:pt x="42" y="1176"/>
                  </a:lnTo>
                  <a:lnTo>
                    <a:pt x="36" y="1182"/>
                  </a:lnTo>
                  <a:lnTo>
                    <a:pt x="36" y="1188"/>
                  </a:lnTo>
                  <a:lnTo>
                    <a:pt x="42" y="1194"/>
                  </a:lnTo>
                  <a:lnTo>
                    <a:pt x="54" y="1194"/>
                  </a:lnTo>
                  <a:lnTo>
                    <a:pt x="72" y="1200"/>
                  </a:lnTo>
                  <a:lnTo>
                    <a:pt x="102" y="1200"/>
                  </a:lnTo>
                  <a:lnTo>
                    <a:pt x="102" y="1212"/>
                  </a:lnTo>
                  <a:lnTo>
                    <a:pt x="120" y="1230"/>
                  </a:lnTo>
                  <a:lnTo>
                    <a:pt x="132" y="1230"/>
                  </a:lnTo>
                  <a:lnTo>
                    <a:pt x="144" y="1224"/>
                  </a:lnTo>
                  <a:lnTo>
                    <a:pt x="150" y="1224"/>
                  </a:lnTo>
                  <a:lnTo>
                    <a:pt x="162" y="1218"/>
                  </a:lnTo>
                  <a:lnTo>
                    <a:pt x="168" y="1248"/>
                  </a:lnTo>
                  <a:lnTo>
                    <a:pt x="174" y="1248"/>
                  </a:lnTo>
                  <a:lnTo>
                    <a:pt x="180" y="1254"/>
                  </a:lnTo>
                  <a:lnTo>
                    <a:pt x="204" y="1266"/>
                  </a:lnTo>
                  <a:lnTo>
                    <a:pt x="216" y="1290"/>
                  </a:lnTo>
                  <a:lnTo>
                    <a:pt x="216" y="1314"/>
                  </a:lnTo>
                  <a:lnTo>
                    <a:pt x="210" y="1338"/>
                  </a:lnTo>
                  <a:lnTo>
                    <a:pt x="216" y="1344"/>
                  </a:lnTo>
                  <a:lnTo>
                    <a:pt x="360" y="1338"/>
                  </a:lnTo>
                  <a:lnTo>
                    <a:pt x="354" y="1344"/>
                  </a:lnTo>
                  <a:lnTo>
                    <a:pt x="354" y="1350"/>
                  </a:lnTo>
                  <a:lnTo>
                    <a:pt x="360" y="1350"/>
                  </a:lnTo>
                  <a:lnTo>
                    <a:pt x="570" y="1446"/>
                  </a:lnTo>
                  <a:lnTo>
                    <a:pt x="774" y="1446"/>
                  </a:lnTo>
                  <a:lnTo>
                    <a:pt x="774" y="1440"/>
                  </a:lnTo>
                  <a:lnTo>
                    <a:pt x="780" y="1428"/>
                  </a:lnTo>
                  <a:lnTo>
                    <a:pt x="780" y="1410"/>
                  </a:lnTo>
                  <a:lnTo>
                    <a:pt x="786" y="1404"/>
                  </a:lnTo>
                  <a:lnTo>
                    <a:pt x="900" y="1404"/>
                  </a:lnTo>
                  <a:lnTo>
                    <a:pt x="912" y="1416"/>
                  </a:lnTo>
                  <a:lnTo>
                    <a:pt x="912" y="1440"/>
                  </a:lnTo>
                  <a:lnTo>
                    <a:pt x="942" y="1452"/>
                  </a:lnTo>
                  <a:lnTo>
                    <a:pt x="948" y="1482"/>
                  </a:lnTo>
                  <a:lnTo>
                    <a:pt x="960" y="1482"/>
                  </a:lnTo>
                  <a:lnTo>
                    <a:pt x="972" y="1488"/>
                  </a:lnTo>
                  <a:lnTo>
                    <a:pt x="984" y="1500"/>
                  </a:lnTo>
                  <a:lnTo>
                    <a:pt x="990" y="1512"/>
                  </a:lnTo>
                  <a:lnTo>
                    <a:pt x="990" y="1554"/>
                  </a:lnTo>
                  <a:lnTo>
                    <a:pt x="984" y="1566"/>
                  </a:lnTo>
                  <a:lnTo>
                    <a:pt x="984" y="1578"/>
                  </a:lnTo>
                  <a:lnTo>
                    <a:pt x="1014" y="1608"/>
                  </a:lnTo>
                  <a:lnTo>
                    <a:pt x="1026" y="1614"/>
                  </a:lnTo>
                  <a:lnTo>
                    <a:pt x="1044" y="1626"/>
                  </a:lnTo>
                  <a:lnTo>
                    <a:pt x="1056" y="1626"/>
                  </a:lnTo>
                  <a:lnTo>
                    <a:pt x="1080" y="1614"/>
                  </a:lnTo>
                  <a:lnTo>
                    <a:pt x="1092" y="1602"/>
                  </a:lnTo>
                  <a:lnTo>
                    <a:pt x="1104" y="1578"/>
                  </a:lnTo>
                  <a:lnTo>
                    <a:pt x="1116" y="1566"/>
                  </a:lnTo>
                  <a:lnTo>
                    <a:pt x="1134" y="1566"/>
                  </a:lnTo>
                  <a:lnTo>
                    <a:pt x="1134" y="1560"/>
                  </a:lnTo>
                  <a:lnTo>
                    <a:pt x="1152" y="1566"/>
                  </a:lnTo>
                  <a:lnTo>
                    <a:pt x="1194" y="1566"/>
                  </a:lnTo>
                  <a:lnTo>
                    <a:pt x="1200" y="1578"/>
                  </a:lnTo>
                  <a:lnTo>
                    <a:pt x="1206" y="1584"/>
                  </a:lnTo>
                  <a:lnTo>
                    <a:pt x="1212" y="1596"/>
                  </a:lnTo>
                  <a:lnTo>
                    <a:pt x="1224" y="1608"/>
                  </a:lnTo>
                  <a:lnTo>
                    <a:pt x="1230" y="1620"/>
                  </a:lnTo>
                  <a:lnTo>
                    <a:pt x="1242" y="1632"/>
                  </a:lnTo>
                  <a:lnTo>
                    <a:pt x="1242" y="1656"/>
                  </a:lnTo>
                  <a:lnTo>
                    <a:pt x="1236" y="1668"/>
                  </a:lnTo>
                  <a:lnTo>
                    <a:pt x="1236" y="1680"/>
                  </a:lnTo>
                  <a:lnTo>
                    <a:pt x="1242" y="1692"/>
                  </a:lnTo>
                  <a:lnTo>
                    <a:pt x="1254" y="1698"/>
                  </a:lnTo>
                  <a:lnTo>
                    <a:pt x="1254" y="1722"/>
                  </a:lnTo>
                  <a:lnTo>
                    <a:pt x="1260" y="1728"/>
                  </a:lnTo>
                  <a:lnTo>
                    <a:pt x="1272" y="1734"/>
                  </a:lnTo>
                  <a:lnTo>
                    <a:pt x="1284" y="1746"/>
                  </a:lnTo>
                  <a:lnTo>
                    <a:pt x="1284" y="1752"/>
                  </a:lnTo>
                  <a:lnTo>
                    <a:pt x="1278" y="1758"/>
                  </a:lnTo>
                  <a:lnTo>
                    <a:pt x="1272" y="1758"/>
                  </a:lnTo>
                  <a:lnTo>
                    <a:pt x="1272" y="1794"/>
                  </a:lnTo>
                  <a:lnTo>
                    <a:pt x="1284" y="1806"/>
                  </a:lnTo>
                  <a:lnTo>
                    <a:pt x="1284" y="1836"/>
                  </a:lnTo>
                  <a:lnTo>
                    <a:pt x="1296" y="1848"/>
                  </a:lnTo>
                  <a:lnTo>
                    <a:pt x="1314" y="1854"/>
                  </a:lnTo>
                  <a:lnTo>
                    <a:pt x="1326" y="1854"/>
                  </a:lnTo>
                  <a:lnTo>
                    <a:pt x="1338" y="1866"/>
                  </a:lnTo>
                  <a:lnTo>
                    <a:pt x="1380" y="1866"/>
                  </a:lnTo>
                  <a:lnTo>
                    <a:pt x="1380" y="1872"/>
                  </a:lnTo>
                  <a:lnTo>
                    <a:pt x="1386" y="1884"/>
                  </a:lnTo>
                  <a:lnTo>
                    <a:pt x="1410" y="1884"/>
                  </a:lnTo>
                  <a:lnTo>
                    <a:pt x="1410" y="1878"/>
                  </a:lnTo>
                  <a:lnTo>
                    <a:pt x="1398" y="1806"/>
                  </a:lnTo>
                  <a:lnTo>
                    <a:pt x="1416" y="1788"/>
                  </a:lnTo>
                  <a:lnTo>
                    <a:pt x="1398" y="1776"/>
                  </a:lnTo>
                  <a:lnTo>
                    <a:pt x="1398" y="1758"/>
                  </a:lnTo>
                  <a:lnTo>
                    <a:pt x="1404" y="1764"/>
                  </a:lnTo>
                  <a:lnTo>
                    <a:pt x="1422" y="1764"/>
                  </a:lnTo>
                  <a:lnTo>
                    <a:pt x="1428" y="1758"/>
                  </a:lnTo>
                  <a:lnTo>
                    <a:pt x="1428" y="1728"/>
                  </a:lnTo>
                  <a:lnTo>
                    <a:pt x="1452" y="1722"/>
                  </a:lnTo>
                  <a:lnTo>
                    <a:pt x="1458" y="1698"/>
                  </a:lnTo>
                  <a:lnTo>
                    <a:pt x="1476" y="1704"/>
                  </a:lnTo>
                  <a:lnTo>
                    <a:pt x="1494" y="1692"/>
                  </a:lnTo>
                  <a:lnTo>
                    <a:pt x="1488" y="1668"/>
                  </a:lnTo>
                  <a:lnTo>
                    <a:pt x="1500" y="1680"/>
                  </a:lnTo>
                  <a:lnTo>
                    <a:pt x="1500" y="1668"/>
                  </a:lnTo>
                  <a:lnTo>
                    <a:pt x="1506" y="1656"/>
                  </a:lnTo>
                  <a:lnTo>
                    <a:pt x="1512" y="1650"/>
                  </a:lnTo>
                  <a:lnTo>
                    <a:pt x="1518" y="1650"/>
                  </a:lnTo>
                  <a:lnTo>
                    <a:pt x="1524" y="1656"/>
                  </a:lnTo>
                  <a:lnTo>
                    <a:pt x="1524" y="1668"/>
                  </a:lnTo>
                  <a:lnTo>
                    <a:pt x="1542" y="1668"/>
                  </a:lnTo>
                  <a:lnTo>
                    <a:pt x="1554" y="1662"/>
                  </a:lnTo>
                  <a:lnTo>
                    <a:pt x="1572" y="1656"/>
                  </a:lnTo>
                  <a:lnTo>
                    <a:pt x="1596" y="1644"/>
                  </a:lnTo>
                  <a:lnTo>
                    <a:pt x="1602" y="1638"/>
                  </a:lnTo>
                  <a:lnTo>
                    <a:pt x="1608" y="1626"/>
                  </a:lnTo>
                  <a:lnTo>
                    <a:pt x="1620" y="1620"/>
                  </a:lnTo>
                  <a:lnTo>
                    <a:pt x="1626" y="1608"/>
                  </a:lnTo>
                  <a:lnTo>
                    <a:pt x="1632" y="1602"/>
                  </a:lnTo>
                  <a:lnTo>
                    <a:pt x="1632" y="1590"/>
                  </a:lnTo>
                  <a:lnTo>
                    <a:pt x="1626" y="1584"/>
                  </a:lnTo>
                  <a:lnTo>
                    <a:pt x="1626" y="1566"/>
                  </a:lnTo>
                  <a:lnTo>
                    <a:pt x="1632" y="1566"/>
                  </a:lnTo>
                  <a:lnTo>
                    <a:pt x="1656" y="1578"/>
                  </a:lnTo>
                  <a:lnTo>
                    <a:pt x="1662" y="1584"/>
                  </a:lnTo>
                  <a:lnTo>
                    <a:pt x="1674" y="1590"/>
                  </a:lnTo>
                  <a:lnTo>
                    <a:pt x="1686" y="1590"/>
                  </a:lnTo>
                  <a:lnTo>
                    <a:pt x="1692" y="1584"/>
                  </a:lnTo>
                  <a:lnTo>
                    <a:pt x="1710" y="1548"/>
                  </a:lnTo>
                  <a:lnTo>
                    <a:pt x="1716" y="1548"/>
                  </a:lnTo>
                  <a:lnTo>
                    <a:pt x="1734" y="1566"/>
                  </a:lnTo>
                  <a:lnTo>
                    <a:pt x="1746" y="1566"/>
                  </a:lnTo>
                  <a:lnTo>
                    <a:pt x="1752" y="1560"/>
                  </a:lnTo>
                  <a:lnTo>
                    <a:pt x="1758" y="1548"/>
                  </a:lnTo>
                  <a:lnTo>
                    <a:pt x="1764" y="1542"/>
                  </a:lnTo>
                  <a:lnTo>
                    <a:pt x="1770" y="1554"/>
                  </a:lnTo>
                  <a:lnTo>
                    <a:pt x="1776" y="1560"/>
                  </a:lnTo>
                  <a:lnTo>
                    <a:pt x="1782" y="1572"/>
                  </a:lnTo>
                  <a:lnTo>
                    <a:pt x="1794" y="1578"/>
                  </a:lnTo>
                  <a:lnTo>
                    <a:pt x="1800" y="1584"/>
                  </a:lnTo>
                  <a:lnTo>
                    <a:pt x="1818" y="1584"/>
                  </a:lnTo>
                  <a:lnTo>
                    <a:pt x="1824" y="1578"/>
                  </a:lnTo>
                  <a:lnTo>
                    <a:pt x="1830" y="1566"/>
                  </a:lnTo>
                  <a:lnTo>
                    <a:pt x="1842" y="1554"/>
                  </a:lnTo>
                  <a:lnTo>
                    <a:pt x="1848" y="1554"/>
                  </a:lnTo>
                  <a:lnTo>
                    <a:pt x="1860" y="1560"/>
                  </a:lnTo>
                  <a:lnTo>
                    <a:pt x="1872" y="1572"/>
                  </a:lnTo>
                  <a:lnTo>
                    <a:pt x="1872" y="1584"/>
                  </a:lnTo>
                  <a:lnTo>
                    <a:pt x="1878" y="1596"/>
                  </a:lnTo>
                  <a:lnTo>
                    <a:pt x="1878" y="1614"/>
                  </a:lnTo>
                  <a:lnTo>
                    <a:pt x="1914" y="1614"/>
                  </a:lnTo>
                  <a:lnTo>
                    <a:pt x="1920" y="1620"/>
                  </a:lnTo>
                  <a:lnTo>
                    <a:pt x="1926" y="1620"/>
                  </a:lnTo>
                  <a:lnTo>
                    <a:pt x="1926" y="1608"/>
                  </a:lnTo>
                  <a:lnTo>
                    <a:pt x="1932" y="1602"/>
                  </a:lnTo>
                  <a:lnTo>
                    <a:pt x="1932" y="1608"/>
                  </a:lnTo>
                  <a:lnTo>
                    <a:pt x="1956" y="1632"/>
                  </a:lnTo>
                  <a:lnTo>
                    <a:pt x="1962" y="1626"/>
                  </a:lnTo>
                  <a:lnTo>
                    <a:pt x="1968" y="1614"/>
                  </a:lnTo>
                  <a:lnTo>
                    <a:pt x="1968" y="1596"/>
                  </a:lnTo>
                  <a:lnTo>
                    <a:pt x="1962" y="1584"/>
                  </a:lnTo>
                  <a:lnTo>
                    <a:pt x="1980" y="1590"/>
                  </a:lnTo>
                  <a:lnTo>
                    <a:pt x="1992" y="1608"/>
                  </a:lnTo>
                  <a:lnTo>
                    <a:pt x="2004" y="1614"/>
                  </a:lnTo>
                  <a:lnTo>
                    <a:pt x="2004" y="1626"/>
                  </a:lnTo>
                  <a:lnTo>
                    <a:pt x="2010" y="1626"/>
                  </a:lnTo>
                  <a:lnTo>
                    <a:pt x="2016" y="1632"/>
                  </a:lnTo>
                  <a:lnTo>
                    <a:pt x="2028" y="1632"/>
                  </a:lnTo>
                  <a:lnTo>
                    <a:pt x="2034" y="1626"/>
                  </a:lnTo>
                  <a:lnTo>
                    <a:pt x="2034" y="1620"/>
                  </a:lnTo>
                  <a:lnTo>
                    <a:pt x="2028" y="1608"/>
                  </a:lnTo>
                  <a:lnTo>
                    <a:pt x="2022" y="1602"/>
                  </a:lnTo>
                  <a:lnTo>
                    <a:pt x="2010" y="1596"/>
                  </a:lnTo>
                  <a:lnTo>
                    <a:pt x="2004" y="1590"/>
                  </a:lnTo>
                  <a:lnTo>
                    <a:pt x="1998" y="1578"/>
                  </a:lnTo>
                  <a:lnTo>
                    <a:pt x="2010" y="1578"/>
                  </a:lnTo>
                  <a:lnTo>
                    <a:pt x="2022" y="1566"/>
                  </a:lnTo>
                  <a:lnTo>
                    <a:pt x="2022" y="1554"/>
                  </a:lnTo>
                  <a:lnTo>
                    <a:pt x="2016" y="1548"/>
                  </a:lnTo>
                  <a:lnTo>
                    <a:pt x="1968" y="1548"/>
                  </a:lnTo>
                  <a:lnTo>
                    <a:pt x="1962" y="1542"/>
                  </a:lnTo>
                  <a:lnTo>
                    <a:pt x="1962" y="1530"/>
                  </a:lnTo>
                  <a:lnTo>
                    <a:pt x="1968" y="1524"/>
                  </a:lnTo>
                  <a:lnTo>
                    <a:pt x="1986" y="1524"/>
                  </a:lnTo>
                  <a:lnTo>
                    <a:pt x="1998" y="1530"/>
                  </a:lnTo>
                  <a:lnTo>
                    <a:pt x="2004" y="1530"/>
                  </a:lnTo>
                  <a:lnTo>
                    <a:pt x="2016" y="1536"/>
                  </a:lnTo>
                  <a:lnTo>
                    <a:pt x="2028" y="1536"/>
                  </a:lnTo>
                  <a:lnTo>
                    <a:pt x="2064" y="1518"/>
                  </a:lnTo>
                  <a:lnTo>
                    <a:pt x="2070" y="1512"/>
                  </a:lnTo>
                  <a:lnTo>
                    <a:pt x="2082" y="1512"/>
                  </a:lnTo>
                  <a:lnTo>
                    <a:pt x="2082" y="1518"/>
                  </a:lnTo>
                  <a:lnTo>
                    <a:pt x="2106" y="1518"/>
                  </a:lnTo>
                  <a:lnTo>
                    <a:pt x="2118" y="1512"/>
                  </a:lnTo>
                  <a:lnTo>
                    <a:pt x="2124" y="1512"/>
                  </a:lnTo>
                  <a:lnTo>
                    <a:pt x="2130" y="1506"/>
                  </a:lnTo>
                  <a:lnTo>
                    <a:pt x="2130" y="1500"/>
                  </a:lnTo>
                  <a:lnTo>
                    <a:pt x="2136" y="1488"/>
                  </a:lnTo>
                  <a:lnTo>
                    <a:pt x="2136" y="1482"/>
                  </a:lnTo>
                  <a:lnTo>
                    <a:pt x="2142" y="1482"/>
                  </a:lnTo>
                  <a:lnTo>
                    <a:pt x="2142" y="1488"/>
                  </a:lnTo>
                  <a:lnTo>
                    <a:pt x="2148" y="1500"/>
                  </a:lnTo>
                  <a:lnTo>
                    <a:pt x="2148" y="1524"/>
                  </a:lnTo>
                  <a:lnTo>
                    <a:pt x="2154" y="1524"/>
                  </a:lnTo>
                  <a:lnTo>
                    <a:pt x="2160" y="1518"/>
                  </a:lnTo>
                  <a:lnTo>
                    <a:pt x="2172" y="1512"/>
                  </a:lnTo>
                  <a:lnTo>
                    <a:pt x="2190" y="1512"/>
                  </a:lnTo>
                  <a:lnTo>
                    <a:pt x="2202" y="1506"/>
                  </a:lnTo>
                  <a:lnTo>
                    <a:pt x="2214" y="1506"/>
                  </a:lnTo>
                  <a:lnTo>
                    <a:pt x="2226" y="1512"/>
                  </a:lnTo>
                  <a:lnTo>
                    <a:pt x="2232" y="1524"/>
                  </a:lnTo>
                  <a:lnTo>
                    <a:pt x="2232" y="1506"/>
                  </a:lnTo>
                  <a:lnTo>
                    <a:pt x="2244" y="1506"/>
                  </a:lnTo>
                  <a:lnTo>
                    <a:pt x="2256" y="1518"/>
                  </a:lnTo>
                  <a:lnTo>
                    <a:pt x="2256" y="1530"/>
                  </a:lnTo>
                  <a:lnTo>
                    <a:pt x="2286" y="1524"/>
                  </a:lnTo>
                  <a:lnTo>
                    <a:pt x="2280" y="1536"/>
                  </a:lnTo>
                  <a:lnTo>
                    <a:pt x="2280" y="1548"/>
                  </a:lnTo>
                  <a:lnTo>
                    <a:pt x="2286" y="1554"/>
                  </a:lnTo>
                  <a:lnTo>
                    <a:pt x="2286" y="1566"/>
                  </a:lnTo>
                  <a:lnTo>
                    <a:pt x="2298" y="1578"/>
                  </a:lnTo>
                  <a:lnTo>
                    <a:pt x="2310" y="1578"/>
                  </a:lnTo>
                  <a:lnTo>
                    <a:pt x="2328" y="1572"/>
                  </a:lnTo>
                  <a:lnTo>
                    <a:pt x="2352" y="1548"/>
                  </a:lnTo>
                  <a:lnTo>
                    <a:pt x="2370" y="1542"/>
                  </a:lnTo>
                  <a:lnTo>
                    <a:pt x="2382" y="1542"/>
                  </a:lnTo>
                  <a:lnTo>
                    <a:pt x="2394" y="1548"/>
                  </a:lnTo>
                  <a:lnTo>
                    <a:pt x="2400" y="1554"/>
                  </a:lnTo>
                  <a:lnTo>
                    <a:pt x="2418" y="1590"/>
                  </a:lnTo>
                  <a:lnTo>
                    <a:pt x="2418" y="1602"/>
                  </a:lnTo>
                  <a:lnTo>
                    <a:pt x="2424" y="1608"/>
                  </a:lnTo>
                  <a:lnTo>
                    <a:pt x="2436" y="1614"/>
                  </a:lnTo>
                  <a:lnTo>
                    <a:pt x="2466" y="1614"/>
                  </a:lnTo>
                  <a:lnTo>
                    <a:pt x="2460" y="1656"/>
                  </a:lnTo>
                  <a:lnTo>
                    <a:pt x="2460" y="1662"/>
                  </a:lnTo>
                  <a:lnTo>
                    <a:pt x="2454" y="1668"/>
                  </a:lnTo>
                  <a:lnTo>
                    <a:pt x="2436" y="1704"/>
                  </a:lnTo>
                  <a:lnTo>
                    <a:pt x="2436" y="1710"/>
                  </a:lnTo>
                  <a:lnTo>
                    <a:pt x="2448" y="1722"/>
                  </a:lnTo>
                  <a:lnTo>
                    <a:pt x="2454" y="1722"/>
                  </a:lnTo>
                  <a:lnTo>
                    <a:pt x="2460" y="1734"/>
                  </a:lnTo>
                  <a:lnTo>
                    <a:pt x="2436" y="1758"/>
                  </a:lnTo>
                  <a:lnTo>
                    <a:pt x="2454" y="1806"/>
                  </a:lnTo>
                  <a:lnTo>
                    <a:pt x="2472" y="1788"/>
                  </a:lnTo>
                  <a:lnTo>
                    <a:pt x="2478" y="1788"/>
                  </a:lnTo>
                  <a:lnTo>
                    <a:pt x="2478" y="1794"/>
                  </a:lnTo>
                  <a:lnTo>
                    <a:pt x="2472" y="1800"/>
                  </a:lnTo>
                  <a:lnTo>
                    <a:pt x="2466" y="1812"/>
                  </a:lnTo>
                  <a:lnTo>
                    <a:pt x="2466" y="1818"/>
                  </a:lnTo>
                  <a:lnTo>
                    <a:pt x="2460" y="1830"/>
                  </a:lnTo>
                  <a:lnTo>
                    <a:pt x="2478" y="1830"/>
                  </a:lnTo>
                  <a:lnTo>
                    <a:pt x="2478" y="1878"/>
                  </a:lnTo>
                  <a:lnTo>
                    <a:pt x="2496" y="1878"/>
                  </a:lnTo>
                  <a:lnTo>
                    <a:pt x="2502" y="1884"/>
                  </a:lnTo>
                  <a:lnTo>
                    <a:pt x="2508" y="1884"/>
                  </a:lnTo>
                  <a:lnTo>
                    <a:pt x="2508" y="1896"/>
                  </a:lnTo>
                  <a:lnTo>
                    <a:pt x="2502" y="1908"/>
                  </a:lnTo>
                  <a:lnTo>
                    <a:pt x="2502" y="1920"/>
                  </a:lnTo>
                  <a:lnTo>
                    <a:pt x="2526" y="1944"/>
                  </a:lnTo>
                  <a:lnTo>
                    <a:pt x="2532" y="1944"/>
                  </a:lnTo>
                  <a:lnTo>
                    <a:pt x="2538" y="1938"/>
                  </a:lnTo>
                  <a:lnTo>
                    <a:pt x="2550" y="1932"/>
                  </a:lnTo>
                  <a:lnTo>
                    <a:pt x="2556" y="1932"/>
                  </a:lnTo>
                  <a:lnTo>
                    <a:pt x="2562" y="1926"/>
                  </a:lnTo>
                  <a:lnTo>
                    <a:pt x="2568" y="1914"/>
                  </a:lnTo>
                  <a:lnTo>
                    <a:pt x="2568" y="1896"/>
                  </a:lnTo>
                  <a:lnTo>
                    <a:pt x="2586" y="1896"/>
                  </a:lnTo>
                  <a:lnTo>
                    <a:pt x="2586" y="1872"/>
                  </a:lnTo>
                  <a:lnTo>
                    <a:pt x="2604" y="1836"/>
                  </a:lnTo>
                  <a:lnTo>
                    <a:pt x="2604" y="1818"/>
                  </a:lnTo>
                  <a:lnTo>
                    <a:pt x="2610" y="1806"/>
                  </a:lnTo>
                  <a:lnTo>
                    <a:pt x="2610" y="1794"/>
                  </a:lnTo>
                  <a:lnTo>
                    <a:pt x="2604" y="1782"/>
                  </a:lnTo>
                  <a:lnTo>
                    <a:pt x="2604" y="1770"/>
                  </a:lnTo>
                  <a:lnTo>
                    <a:pt x="2598" y="1752"/>
                  </a:lnTo>
                  <a:lnTo>
                    <a:pt x="2592" y="1740"/>
                  </a:lnTo>
                  <a:lnTo>
                    <a:pt x="2586" y="1722"/>
                  </a:lnTo>
                  <a:lnTo>
                    <a:pt x="2586" y="1704"/>
                  </a:lnTo>
                  <a:lnTo>
                    <a:pt x="2592" y="1686"/>
                  </a:lnTo>
                  <a:lnTo>
                    <a:pt x="2598" y="1674"/>
                  </a:lnTo>
                  <a:lnTo>
                    <a:pt x="2598" y="1644"/>
                  </a:lnTo>
                  <a:lnTo>
                    <a:pt x="2592" y="1626"/>
                  </a:lnTo>
                  <a:lnTo>
                    <a:pt x="2586" y="1614"/>
                  </a:lnTo>
                  <a:lnTo>
                    <a:pt x="2580" y="1596"/>
                  </a:lnTo>
                  <a:lnTo>
                    <a:pt x="2574" y="1584"/>
                  </a:lnTo>
                  <a:lnTo>
                    <a:pt x="2574" y="1518"/>
                  </a:lnTo>
                  <a:lnTo>
                    <a:pt x="2580" y="1488"/>
                  </a:lnTo>
                  <a:lnTo>
                    <a:pt x="2586" y="1470"/>
                  </a:lnTo>
                  <a:lnTo>
                    <a:pt x="2598" y="1452"/>
                  </a:lnTo>
                  <a:lnTo>
                    <a:pt x="2604" y="1440"/>
                  </a:lnTo>
                  <a:lnTo>
                    <a:pt x="2610" y="1422"/>
                  </a:lnTo>
                  <a:lnTo>
                    <a:pt x="2616" y="1416"/>
                  </a:lnTo>
                  <a:lnTo>
                    <a:pt x="2616" y="1410"/>
                  </a:lnTo>
                  <a:lnTo>
                    <a:pt x="2628" y="1398"/>
                  </a:lnTo>
                  <a:lnTo>
                    <a:pt x="2652" y="1380"/>
                  </a:lnTo>
                  <a:lnTo>
                    <a:pt x="2658" y="1356"/>
                  </a:lnTo>
                  <a:lnTo>
                    <a:pt x="2670" y="1368"/>
                  </a:lnTo>
                  <a:lnTo>
                    <a:pt x="2676" y="1344"/>
                  </a:lnTo>
                  <a:lnTo>
                    <a:pt x="2730" y="1344"/>
                  </a:lnTo>
                  <a:lnTo>
                    <a:pt x="2730" y="1314"/>
                  </a:lnTo>
                  <a:lnTo>
                    <a:pt x="2748" y="1320"/>
                  </a:lnTo>
                  <a:lnTo>
                    <a:pt x="2754" y="1308"/>
                  </a:lnTo>
                  <a:lnTo>
                    <a:pt x="2772" y="1308"/>
                  </a:lnTo>
                  <a:lnTo>
                    <a:pt x="2796" y="1278"/>
                  </a:lnTo>
                  <a:lnTo>
                    <a:pt x="2796" y="1272"/>
                  </a:lnTo>
                  <a:lnTo>
                    <a:pt x="2802" y="1266"/>
                  </a:lnTo>
                  <a:lnTo>
                    <a:pt x="2814" y="1242"/>
                  </a:lnTo>
                  <a:lnTo>
                    <a:pt x="2832" y="1236"/>
                  </a:lnTo>
                  <a:lnTo>
                    <a:pt x="2862" y="1236"/>
                  </a:lnTo>
                  <a:lnTo>
                    <a:pt x="2874" y="1242"/>
                  </a:lnTo>
                  <a:lnTo>
                    <a:pt x="2886" y="1242"/>
                  </a:lnTo>
                  <a:lnTo>
                    <a:pt x="2892" y="1236"/>
                  </a:lnTo>
                  <a:lnTo>
                    <a:pt x="2904" y="1212"/>
                  </a:lnTo>
                  <a:lnTo>
                    <a:pt x="2910" y="1206"/>
                  </a:lnTo>
                  <a:lnTo>
                    <a:pt x="2916" y="1194"/>
                  </a:lnTo>
                  <a:lnTo>
                    <a:pt x="2928" y="1200"/>
                  </a:lnTo>
                  <a:lnTo>
                    <a:pt x="2934" y="1176"/>
                  </a:lnTo>
                  <a:lnTo>
                    <a:pt x="3018" y="1170"/>
                  </a:lnTo>
                  <a:lnTo>
                    <a:pt x="3024" y="1146"/>
                  </a:lnTo>
                  <a:lnTo>
                    <a:pt x="2982" y="1152"/>
                  </a:lnTo>
                  <a:lnTo>
                    <a:pt x="2988" y="1146"/>
                  </a:lnTo>
                  <a:lnTo>
                    <a:pt x="3000" y="1140"/>
                  </a:lnTo>
                  <a:lnTo>
                    <a:pt x="3006" y="1140"/>
                  </a:lnTo>
                  <a:lnTo>
                    <a:pt x="3006" y="1134"/>
                  </a:lnTo>
                  <a:lnTo>
                    <a:pt x="3000" y="1128"/>
                  </a:lnTo>
                  <a:lnTo>
                    <a:pt x="2994" y="1116"/>
                  </a:lnTo>
                  <a:lnTo>
                    <a:pt x="2988" y="1110"/>
                  </a:lnTo>
                  <a:lnTo>
                    <a:pt x="3024" y="1104"/>
                  </a:lnTo>
                  <a:lnTo>
                    <a:pt x="3048" y="1116"/>
                  </a:lnTo>
                  <a:lnTo>
                    <a:pt x="3078" y="1080"/>
                  </a:lnTo>
                  <a:lnTo>
                    <a:pt x="3024" y="1074"/>
                  </a:lnTo>
                  <a:lnTo>
                    <a:pt x="3024" y="1050"/>
                  </a:lnTo>
                  <a:lnTo>
                    <a:pt x="3036" y="1062"/>
                  </a:lnTo>
                  <a:lnTo>
                    <a:pt x="3078" y="1050"/>
                  </a:lnTo>
                  <a:lnTo>
                    <a:pt x="3084" y="990"/>
                  </a:lnTo>
                  <a:lnTo>
                    <a:pt x="3054" y="1002"/>
                  </a:lnTo>
                  <a:lnTo>
                    <a:pt x="3048" y="972"/>
                  </a:lnTo>
                  <a:lnTo>
                    <a:pt x="3024" y="960"/>
                  </a:lnTo>
                  <a:lnTo>
                    <a:pt x="3072" y="978"/>
                  </a:lnTo>
                  <a:lnTo>
                    <a:pt x="3078" y="972"/>
                  </a:lnTo>
                  <a:lnTo>
                    <a:pt x="3060" y="954"/>
                  </a:lnTo>
                  <a:lnTo>
                    <a:pt x="3090" y="954"/>
                  </a:lnTo>
                  <a:lnTo>
                    <a:pt x="3084" y="948"/>
                  </a:lnTo>
                  <a:lnTo>
                    <a:pt x="3078" y="936"/>
                  </a:lnTo>
                  <a:lnTo>
                    <a:pt x="3060" y="918"/>
                  </a:lnTo>
                  <a:lnTo>
                    <a:pt x="3054" y="906"/>
                  </a:lnTo>
                  <a:lnTo>
                    <a:pt x="3054" y="894"/>
                  </a:lnTo>
                  <a:lnTo>
                    <a:pt x="3060" y="888"/>
                  </a:lnTo>
                  <a:lnTo>
                    <a:pt x="3042" y="870"/>
                  </a:lnTo>
                  <a:lnTo>
                    <a:pt x="3042" y="864"/>
                  </a:lnTo>
                  <a:lnTo>
                    <a:pt x="3048" y="864"/>
                  </a:lnTo>
                  <a:lnTo>
                    <a:pt x="3066" y="846"/>
                  </a:lnTo>
                  <a:lnTo>
                    <a:pt x="3072" y="846"/>
                  </a:lnTo>
                  <a:lnTo>
                    <a:pt x="3066" y="870"/>
                  </a:lnTo>
                  <a:lnTo>
                    <a:pt x="3096" y="894"/>
                  </a:lnTo>
                  <a:lnTo>
                    <a:pt x="3096" y="888"/>
                  </a:lnTo>
                  <a:lnTo>
                    <a:pt x="3102" y="882"/>
                  </a:lnTo>
                  <a:lnTo>
                    <a:pt x="3102" y="864"/>
                  </a:lnTo>
                  <a:lnTo>
                    <a:pt x="3108" y="852"/>
                  </a:lnTo>
                  <a:lnTo>
                    <a:pt x="3108" y="834"/>
                  </a:lnTo>
                  <a:lnTo>
                    <a:pt x="3114" y="822"/>
                  </a:lnTo>
                  <a:lnTo>
                    <a:pt x="3144" y="792"/>
                  </a:lnTo>
                  <a:lnTo>
                    <a:pt x="3156" y="786"/>
                  </a:lnTo>
                  <a:lnTo>
                    <a:pt x="3162" y="786"/>
                  </a:lnTo>
                  <a:lnTo>
                    <a:pt x="3162" y="792"/>
                  </a:lnTo>
                  <a:lnTo>
                    <a:pt x="3150" y="816"/>
                  </a:lnTo>
                  <a:lnTo>
                    <a:pt x="3132" y="834"/>
                  </a:lnTo>
                  <a:lnTo>
                    <a:pt x="3126" y="846"/>
                  </a:lnTo>
                  <a:lnTo>
                    <a:pt x="3120" y="882"/>
                  </a:lnTo>
                  <a:lnTo>
                    <a:pt x="3138" y="882"/>
                  </a:lnTo>
                  <a:lnTo>
                    <a:pt x="3138" y="894"/>
                  </a:lnTo>
                  <a:lnTo>
                    <a:pt x="3132" y="906"/>
                  </a:lnTo>
                  <a:lnTo>
                    <a:pt x="3132" y="918"/>
                  </a:lnTo>
                  <a:lnTo>
                    <a:pt x="3114" y="936"/>
                  </a:lnTo>
                  <a:lnTo>
                    <a:pt x="3102" y="960"/>
                  </a:lnTo>
                  <a:lnTo>
                    <a:pt x="3102" y="978"/>
                  </a:lnTo>
                  <a:lnTo>
                    <a:pt x="3126" y="954"/>
                  </a:lnTo>
                  <a:lnTo>
                    <a:pt x="3132" y="942"/>
                  </a:lnTo>
                  <a:lnTo>
                    <a:pt x="3144" y="930"/>
                  </a:lnTo>
                  <a:lnTo>
                    <a:pt x="3168" y="918"/>
                  </a:lnTo>
                  <a:lnTo>
                    <a:pt x="3180" y="906"/>
                  </a:lnTo>
                  <a:lnTo>
                    <a:pt x="3192" y="882"/>
                  </a:lnTo>
                  <a:lnTo>
                    <a:pt x="3192" y="798"/>
                  </a:lnTo>
                  <a:lnTo>
                    <a:pt x="3198" y="780"/>
                  </a:lnTo>
                  <a:lnTo>
                    <a:pt x="3198" y="768"/>
                  </a:lnTo>
                  <a:lnTo>
                    <a:pt x="3204" y="756"/>
                  </a:lnTo>
                  <a:lnTo>
                    <a:pt x="3210" y="756"/>
                  </a:lnTo>
                  <a:lnTo>
                    <a:pt x="3210" y="768"/>
                  </a:lnTo>
                  <a:lnTo>
                    <a:pt x="3204" y="780"/>
                  </a:lnTo>
                  <a:lnTo>
                    <a:pt x="3204" y="798"/>
                  </a:lnTo>
                  <a:lnTo>
                    <a:pt x="3210" y="798"/>
                  </a:lnTo>
                  <a:lnTo>
                    <a:pt x="3216" y="804"/>
                  </a:lnTo>
                  <a:lnTo>
                    <a:pt x="3216" y="840"/>
                  </a:lnTo>
                  <a:lnTo>
                    <a:pt x="3234" y="822"/>
                  </a:lnTo>
                  <a:lnTo>
                    <a:pt x="3240" y="810"/>
                  </a:lnTo>
                  <a:lnTo>
                    <a:pt x="3288" y="762"/>
                  </a:lnTo>
                  <a:lnTo>
                    <a:pt x="3300" y="756"/>
                  </a:lnTo>
                  <a:lnTo>
                    <a:pt x="3324" y="732"/>
                  </a:lnTo>
                  <a:lnTo>
                    <a:pt x="3324" y="726"/>
                  </a:lnTo>
                  <a:lnTo>
                    <a:pt x="3318" y="720"/>
                  </a:lnTo>
                  <a:lnTo>
                    <a:pt x="3312" y="720"/>
                  </a:lnTo>
                  <a:lnTo>
                    <a:pt x="3306" y="714"/>
                  </a:lnTo>
                  <a:lnTo>
                    <a:pt x="3306" y="702"/>
                  </a:lnTo>
                  <a:lnTo>
                    <a:pt x="3312" y="696"/>
                  </a:lnTo>
                  <a:lnTo>
                    <a:pt x="3324" y="696"/>
                  </a:lnTo>
                  <a:lnTo>
                    <a:pt x="3330" y="702"/>
                  </a:lnTo>
                  <a:lnTo>
                    <a:pt x="3360" y="702"/>
                  </a:lnTo>
                  <a:lnTo>
                    <a:pt x="3390" y="696"/>
                  </a:lnTo>
                  <a:lnTo>
                    <a:pt x="3450" y="672"/>
                  </a:lnTo>
                  <a:lnTo>
                    <a:pt x="3462" y="666"/>
                  </a:lnTo>
                  <a:lnTo>
                    <a:pt x="3444" y="660"/>
                  </a:lnTo>
                  <a:lnTo>
                    <a:pt x="3438" y="660"/>
                  </a:lnTo>
                  <a:lnTo>
                    <a:pt x="3432" y="666"/>
                  </a:lnTo>
                  <a:lnTo>
                    <a:pt x="3414" y="672"/>
                  </a:lnTo>
                  <a:lnTo>
                    <a:pt x="3402" y="672"/>
                  </a:lnTo>
                  <a:lnTo>
                    <a:pt x="3390" y="678"/>
                  </a:lnTo>
                  <a:lnTo>
                    <a:pt x="3372" y="678"/>
                  </a:lnTo>
                  <a:lnTo>
                    <a:pt x="3360" y="684"/>
                  </a:lnTo>
                  <a:lnTo>
                    <a:pt x="3348" y="684"/>
                  </a:lnTo>
                  <a:lnTo>
                    <a:pt x="3342" y="678"/>
                  </a:lnTo>
                  <a:lnTo>
                    <a:pt x="3342" y="672"/>
                  </a:lnTo>
                  <a:lnTo>
                    <a:pt x="3348" y="666"/>
                  </a:lnTo>
                  <a:lnTo>
                    <a:pt x="3354" y="654"/>
                  </a:lnTo>
                  <a:lnTo>
                    <a:pt x="3366" y="654"/>
                  </a:lnTo>
                  <a:lnTo>
                    <a:pt x="3378" y="648"/>
                  </a:lnTo>
                  <a:lnTo>
                    <a:pt x="3402" y="648"/>
                  </a:lnTo>
                  <a:lnTo>
                    <a:pt x="3492" y="642"/>
                  </a:lnTo>
                  <a:lnTo>
                    <a:pt x="3534" y="606"/>
                  </a:lnTo>
                  <a:lnTo>
                    <a:pt x="3546" y="618"/>
                  </a:lnTo>
                  <a:lnTo>
                    <a:pt x="3570" y="606"/>
                  </a:lnTo>
                  <a:lnTo>
                    <a:pt x="3570" y="642"/>
                  </a:lnTo>
                  <a:lnTo>
                    <a:pt x="3600" y="618"/>
                  </a:lnTo>
                  <a:lnTo>
                    <a:pt x="3624" y="612"/>
                  </a:lnTo>
                  <a:lnTo>
                    <a:pt x="3630" y="582"/>
                  </a:lnTo>
                  <a:lnTo>
                    <a:pt x="3618" y="570"/>
                  </a:lnTo>
                  <a:lnTo>
                    <a:pt x="3612" y="600"/>
                  </a:lnTo>
                  <a:lnTo>
                    <a:pt x="3588" y="600"/>
                  </a:lnTo>
                  <a:lnTo>
                    <a:pt x="3588" y="576"/>
                  </a:lnTo>
                  <a:lnTo>
                    <a:pt x="3570" y="552"/>
                  </a:lnTo>
                  <a:lnTo>
                    <a:pt x="3594" y="540"/>
                  </a:lnTo>
                  <a:lnTo>
                    <a:pt x="3600" y="504"/>
                  </a:lnTo>
                  <a:lnTo>
                    <a:pt x="3612" y="498"/>
                  </a:lnTo>
                  <a:lnTo>
                    <a:pt x="3618" y="486"/>
                  </a:lnTo>
                  <a:lnTo>
                    <a:pt x="3630" y="480"/>
                  </a:lnTo>
                  <a:lnTo>
                    <a:pt x="3636" y="474"/>
                  </a:lnTo>
                  <a:lnTo>
                    <a:pt x="3648" y="468"/>
                  </a:lnTo>
                  <a:lnTo>
                    <a:pt x="3654" y="456"/>
                  </a:lnTo>
                  <a:lnTo>
                    <a:pt x="3654" y="450"/>
                  </a:lnTo>
                  <a:lnTo>
                    <a:pt x="3660" y="444"/>
                  </a:lnTo>
                  <a:lnTo>
                    <a:pt x="3660" y="438"/>
                  </a:lnTo>
                  <a:lnTo>
                    <a:pt x="3690" y="444"/>
                  </a:lnTo>
                  <a:lnTo>
                    <a:pt x="3702" y="426"/>
                  </a:lnTo>
                  <a:lnTo>
                    <a:pt x="3708" y="432"/>
                  </a:lnTo>
                  <a:lnTo>
                    <a:pt x="3720" y="432"/>
                  </a:lnTo>
                  <a:lnTo>
                    <a:pt x="3726" y="426"/>
                  </a:lnTo>
                  <a:lnTo>
                    <a:pt x="3738" y="420"/>
                  </a:lnTo>
                  <a:lnTo>
                    <a:pt x="3744" y="408"/>
                  </a:lnTo>
                  <a:lnTo>
                    <a:pt x="3756" y="402"/>
                  </a:lnTo>
                  <a:lnTo>
                    <a:pt x="3774" y="384"/>
                  </a:lnTo>
                  <a:lnTo>
                    <a:pt x="3774" y="414"/>
                  </a:lnTo>
                  <a:lnTo>
                    <a:pt x="3786" y="408"/>
                  </a:lnTo>
                  <a:lnTo>
                    <a:pt x="3792" y="402"/>
                  </a:lnTo>
                  <a:lnTo>
                    <a:pt x="3828" y="384"/>
                  </a:lnTo>
                  <a:lnTo>
                    <a:pt x="3834" y="378"/>
                  </a:lnTo>
                  <a:lnTo>
                    <a:pt x="3846" y="378"/>
                  </a:lnTo>
                  <a:lnTo>
                    <a:pt x="3858" y="372"/>
                  </a:lnTo>
                  <a:lnTo>
                    <a:pt x="3876" y="372"/>
                  </a:lnTo>
                  <a:lnTo>
                    <a:pt x="3888" y="366"/>
                  </a:lnTo>
                  <a:lnTo>
                    <a:pt x="3900" y="366"/>
                  </a:lnTo>
                  <a:lnTo>
                    <a:pt x="3900" y="330"/>
                  </a:lnTo>
                  <a:lnTo>
                    <a:pt x="3876" y="330"/>
                  </a:lnTo>
                  <a:lnTo>
                    <a:pt x="3876" y="324"/>
                  </a:lnTo>
                  <a:lnTo>
                    <a:pt x="3882" y="312"/>
                  </a:lnTo>
                  <a:lnTo>
                    <a:pt x="3894" y="300"/>
                  </a:lnTo>
                  <a:lnTo>
                    <a:pt x="3888" y="294"/>
                  </a:lnTo>
                  <a:lnTo>
                    <a:pt x="3882" y="294"/>
                  </a:lnTo>
                  <a:lnTo>
                    <a:pt x="3876" y="288"/>
                  </a:lnTo>
                  <a:lnTo>
                    <a:pt x="3876" y="276"/>
                  </a:lnTo>
                  <a:lnTo>
                    <a:pt x="3888" y="252"/>
                  </a:lnTo>
                  <a:lnTo>
                    <a:pt x="3900" y="222"/>
                  </a:lnTo>
                  <a:lnTo>
                    <a:pt x="3912" y="198"/>
                  </a:lnTo>
                  <a:lnTo>
                    <a:pt x="3918" y="174"/>
                  </a:lnTo>
                  <a:lnTo>
                    <a:pt x="3918" y="168"/>
                  </a:lnTo>
                  <a:lnTo>
                    <a:pt x="3912" y="162"/>
                  </a:lnTo>
                  <a:lnTo>
                    <a:pt x="3876" y="162"/>
                  </a:lnTo>
                  <a:lnTo>
                    <a:pt x="3864" y="168"/>
                  </a:lnTo>
                  <a:lnTo>
                    <a:pt x="3858" y="168"/>
                  </a:lnTo>
                  <a:close/>
                  <a:moveTo>
                    <a:pt x="2718" y="366"/>
                  </a:moveTo>
                  <a:lnTo>
                    <a:pt x="2712" y="366"/>
                  </a:lnTo>
                  <a:lnTo>
                    <a:pt x="2712" y="354"/>
                  </a:lnTo>
                  <a:lnTo>
                    <a:pt x="2718" y="348"/>
                  </a:lnTo>
                  <a:lnTo>
                    <a:pt x="2718" y="336"/>
                  </a:lnTo>
                  <a:lnTo>
                    <a:pt x="2712" y="336"/>
                  </a:lnTo>
                  <a:lnTo>
                    <a:pt x="2700" y="342"/>
                  </a:lnTo>
                  <a:lnTo>
                    <a:pt x="2694" y="348"/>
                  </a:lnTo>
                  <a:lnTo>
                    <a:pt x="2682" y="354"/>
                  </a:lnTo>
                  <a:lnTo>
                    <a:pt x="2676" y="372"/>
                  </a:lnTo>
                  <a:lnTo>
                    <a:pt x="2664" y="366"/>
                  </a:lnTo>
                  <a:lnTo>
                    <a:pt x="2664" y="378"/>
                  </a:lnTo>
                  <a:lnTo>
                    <a:pt x="2652" y="402"/>
                  </a:lnTo>
                  <a:lnTo>
                    <a:pt x="2628" y="414"/>
                  </a:lnTo>
                  <a:lnTo>
                    <a:pt x="2628" y="426"/>
                  </a:lnTo>
                  <a:lnTo>
                    <a:pt x="2634" y="432"/>
                  </a:lnTo>
                  <a:lnTo>
                    <a:pt x="2628" y="432"/>
                  </a:lnTo>
                  <a:lnTo>
                    <a:pt x="2598" y="462"/>
                  </a:lnTo>
                  <a:lnTo>
                    <a:pt x="2598" y="468"/>
                  </a:lnTo>
                  <a:lnTo>
                    <a:pt x="2604" y="474"/>
                  </a:lnTo>
                  <a:lnTo>
                    <a:pt x="2610" y="474"/>
                  </a:lnTo>
                  <a:lnTo>
                    <a:pt x="2616" y="480"/>
                  </a:lnTo>
                  <a:lnTo>
                    <a:pt x="2616" y="492"/>
                  </a:lnTo>
                  <a:lnTo>
                    <a:pt x="2610" y="498"/>
                  </a:lnTo>
                  <a:lnTo>
                    <a:pt x="2604" y="498"/>
                  </a:lnTo>
                  <a:lnTo>
                    <a:pt x="2604" y="510"/>
                  </a:lnTo>
                  <a:lnTo>
                    <a:pt x="2592" y="534"/>
                  </a:lnTo>
                  <a:lnTo>
                    <a:pt x="2580" y="552"/>
                  </a:lnTo>
                  <a:lnTo>
                    <a:pt x="2550" y="582"/>
                  </a:lnTo>
                  <a:lnTo>
                    <a:pt x="2478" y="618"/>
                  </a:lnTo>
                  <a:lnTo>
                    <a:pt x="2484" y="588"/>
                  </a:lnTo>
                  <a:lnTo>
                    <a:pt x="2478" y="582"/>
                  </a:lnTo>
                  <a:lnTo>
                    <a:pt x="2478" y="576"/>
                  </a:lnTo>
                  <a:lnTo>
                    <a:pt x="2472" y="570"/>
                  </a:lnTo>
                  <a:lnTo>
                    <a:pt x="2472" y="564"/>
                  </a:lnTo>
                  <a:lnTo>
                    <a:pt x="2478" y="552"/>
                  </a:lnTo>
                  <a:lnTo>
                    <a:pt x="2496" y="534"/>
                  </a:lnTo>
                  <a:lnTo>
                    <a:pt x="2502" y="522"/>
                  </a:lnTo>
                  <a:lnTo>
                    <a:pt x="2502" y="516"/>
                  </a:lnTo>
                  <a:lnTo>
                    <a:pt x="2496" y="510"/>
                  </a:lnTo>
                  <a:lnTo>
                    <a:pt x="2496" y="492"/>
                  </a:lnTo>
                  <a:lnTo>
                    <a:pt x="2502" y="480"/>
                  </a:lnTo>
                  <a:lnTo>
                    <a:pt x="2508" y="474"/>
                  </a:lnTo>
                  <a:lnTo>
                    <a:pt x="2514" y="462"/>
                  </a:lnTo>
                  <a:lnTo>
                    <a:pt x="2526" y="456"/>
                  </a:lnTo>
                  <a:lnTo>
                    <a:pt x="2532" y="450"/>
                  </a:lnTo>
                  <a:lnTo>
                    <a:pt x="2532" y="432"/>
                  </a:lnTo>
                  <a:lnTo>
                    <a:pt x="2538" y="432"/>
                  </a:lnTo>
                  <a:lnTo>
                    <a:pt x="2622" y="348"/>
                  </a:lnTo>
                  <a:lnTo>
                    <a:pt x="2592" y="354"/>
                  </a:lnTo>
                  <a:lnTo>
                    <a:pt x="2580" y="360"/>
                  </a:lnTo>
                  <a:lnTo>
                    <a:pt x="2574" y="366"/>
                  </a:lnTo>
                  <a:lnTo>
                    <a:pt x="2562" y="372"/>
                  </a:lnTo>
                  <a:lnTo>
                    <a:pt x="2556" y="378"/>
                  </a:lnTo>
                  <a:lnTo>
                    <a:pt x="2550" y="378"/>
                  </a:lnTo>
                  <a:lnTo>
                    <a:pt x="2550" y="372"/>
                  </a:lnTo>
                  <a:lnTo>
                    <a:pt x="2556" y="366"/>
                  </a:lnTo>
                  <a:lnTo>
                    <a:pt x="2568" y="360"/>
                  </a:lnTo>
                  <a:lnTo>
                    <a:pt x="2592" y="336"/>
                  </a:lnTo>
                  <a:lnTo>
                    <a:pt x="2604" y="330"/>
                  </a:lnTo>
                  <a:lnTo>
                    <a:pt x="2658" y="276"/>
                  </a:lnTo>
                  <a:lnTo>
                    <a:pt x="2670" y="288"/>
                  </a:lnTo>
                  <a:lnTo>
                    <a:pt x="2682" y="276"/>
                  </a:lnTo>
                  <a:lnTo>
                    <a:pt x="2682" y="288"/>
                  </a:lnTo>
                  <a:lnTo>
                    <a:pt x="2694" y="288"/>
                  </a:lnTo>
                  <a:lnTo>
                    <a:pt x="2700" y="282"/>
                  </a:lnTo>
                  <a:lnTo>
                    <a:pt x="2700" y="270"/>
                  </a:lnTo>
                  <a:lnTo>
                    <a:pt x="2724" y="276"/>
                  </a:lnTo>
                  <a:lnTo>
                    <a:pt x="2736" y="270"/>
                  </a:lnTo>
                  <a:lnTo>
                    <a:pt x="2742" y="270"/>
                  </a:lnTo>
                  <a:lnTo>
                    <a:pt x="2754" y="264"/>
                  </a:lnTo>
                  <a:lnTo>
                    <a:pt x="2772" y="264"/>
                  </a:lnTo>
                  <a:lnTo>
                    <a:pt x="2784" y="270"/>
                  </a:lnTo>
                  <a:lnTo>
                    <a:pt x="2790" y="276"/>
                  </a:lnTo>
                  <a:lnTo>
                    <a:pt x="2796" y="288"/>
                  </a:lnTo>
                  <a:lnTo>
                    <a:pt x="2772" y="294"/>
                  </a:lnTo>
                  <a:lnTo>
                    <a:pt x="2772" y="318"/>
                  </a:lnTo>
                  <a:lnTo>
                    <a:pt x="2742" y="318"/>
                  </a:lnTo>
                  <a:lnTo>
                    <a:pt x="2736" y="324"/>
                  </a:lnTo>
                  <a:lnTo>
                    <a:pt x="2736" y="360"/>
                  </a:lnTo>
                  <a:lnTo>
                    <a:pt x="2730" y="366"/>
                  </a:lnTo>
                  <a:lnTo>
                    <a:pt x="2718" y="366"/>
                  </a:lnTo>
                  <a:close/>
                </a:path>
              </a:pathLst>
            </a:custGeom>
            <a:solidFill>
              <a:schemeClr val="accent5"/>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39" name="Uruguay" descr="© INSCALE GmbH, 05.05.2010&#10;http://www.presentationload.com/">
              <a:extLst>
                <a:ext uri="{FF2B5EF4-FFF2-40B4-BE49-F238E27FC236}">
                  <a16:creationId xmlns:a16="http://schemas.microsoft.com/office/drawing/2014/main" id="{93F339AA-4A95-40D5-8986-336BBC8FE90E}"/>
                </a:ext>
              </a:extLst>
            </p:cNvPr>
            <p:cNvSpPr>
              <a:spLocks/>
            </p:cNvSpPr>
            <p:nvPr/>
          </p:nvSpPr>
          <p:spPr bwMode="gray">
            <a:xfrm>
              <a:off x="2566040" y="5218532"/>
              <a:ext cx="147394" cy="152099"/>
            </a:xfrm>
            <a:custGeom>
              <a:avLst/>
              <a:gdLst>
                <a:gd name="T0" fmla="*/ 2147483647 w 366"/>
                <a:gd name="T1" fmla="*/ 2147483647 h 384"/>
                <a:gd name="T2" fmla="*/ 2147483647 w 366"/>
                <a:gd name="T3" fmla="*/ 2147483647 h 384"/>
                <a:gd name="T4" fmla="*/ 2147483647 w 366"/>
                <a:gd name="T5" fmla="*/ 2147483647 h 384"/>
                <a:gd name="T6" fmla="*/ 2147483647 w 366"/>
                <a:gd name="T7" fmla="*/ 2147483647 h 384"/>
                <a:gd name="T8" fmla="*/ 2147483647 w 366"/>
                <a:gd name="T9" fmla="*/ 2147483647 h 384"/>
                <a:gd name="T10" fmla="*/ 2147483647 w 366"/>
                <a:gd name="T11" fmla="*/ 2147483647 h 384"/>
                <a:gd name="T12" fmla="*/ 2147483647 w 366"/>
                <a:gd name="T13" fmla="*/ 2147483647 h 384"/>
                <a:gd name="T14" fmla="*/ 2147483647 w 366"/>
                <a:gd name="T15" fmla="*/ 2147483647 h 384"/>
                <a:gd name="T16" fmla="*/ 2147483647 w 366"/>
                <a:gd name="T17" fmla="*/ 2147483647 h 384"/>
                <a:gd name="T18" fmla="*/ 2147483647 w 366"/>
                <a:gd name="T19" fmla="*/ 2147483647 h 384"/>
                <a:gd name="T20" fmla="*/ 2147483647 w 366"/>
                <a:gd name="T21" fmla="*/ 2147483647 h 384"/>
                <a:gd name="T22" fmla="*/ 2147483647 w 366"/>
                <a:gd name="T23" fmla="*/ 2147483647 h 384"/>
                <a:gd name="T24" fmla="*/ 2147483647 w 366"/>
                <a:gd name="T25" fmla="*/ 2147483647 h 384"/>
                <a:gd name="T26" fmla="*/ 2147483647 w 366"/>
                <a:gd name="T27" fmla="*/ 2147483647 h 384"/>
                <a:gd name="T28" fmla="*/ 2147483647 w 366"/>
                <a:gd name="T29" fmla="*/ 2147483647 h 384"/>
                <a:gd name="T30" fmla="*/ 2147483647 w 366"/>
                <a:gd name="T31" fmla="*/ 2147483647 h 384"/>
                <a:gd name="T32" fmla="*/ 2147483647 w 366"/>
                <a:gd name="T33" fmla="*/ 2147483647 h 384"/>
                <a:gd name="T34" fmla="*/ 2147483647 w 366"/>
                <a:gd name="T35" fmla="*/ 2147483647 h 384"/>
                <a:gd name="T36" fmla="*/ 2147483647 w 366"/>
                <a:gd name="T37" fmla="*/ 2147483647 h 384"/>
                <a:gd name="T38" fmla="*/ 2147483647 w 366"/>
                <a:gd name="T39" fmla="*/ 2147483647 h 384"/>
                <a:gd name="T40" fmla="*/ 2147483647 w 366"/>
                <a:gd name="T41" fmla="*/ 2147483647 h 384"/>
                <a:gd name="T42" fmla="*/ 2147483647 w 366"/>
                <a:gd name="T43" fmla="*/ 2147483647 h 384"/>
                <a:gd name="T44" fmla="*/ 2147483647 w 366"/>
                <a:gd name="T45" fmla="*/ 0 h 384"/>
                <a:gd name="T46" fmla="*/ 2147483647 w 366"/>
                <a:gd name="T47" fmla="*/ 2147483647 h 384"/>
                <a:gd name="T48" fmla="*/ 2147483647 w 366"/>
                <a:gd name="T49" fmla="*/ 2147483647 h 384"/>
                <a:gd name="T50" fmla="*/ 0 w 366"/>
                <a:gd name="T51" fmla="*/ 2147483647 h 384"/>
                <a:gd name="T52" fmla="*/ 2147483647 w 366"/>
                <a:gd name="T53" fmla="*/ 2147483647 h 384"/>
                <a:gd name="T54" fmla="*/ 2147483647 w 366"/>
                <a:gd name="T55" fmla="*/ 2147483647 h 384"/>
                <a:gd name="T56" fmla="*/ 2147483647 w 366"/>
                <a:gd name="T57" fmla="*/ 2147483647 h 384"/>
                <a:gd name="T58" fmla="*/ 2147483647 w 366"/>
                <a:gd name="T59" fmla="*/ 2147483647 h 384"/>
                <a:gd name="T60" fmla="*/ 2147483647 w 366"/>
                <a:gd name="T61" fmla="*/ 2147483647 h 384"/>
                <a:gd name="T62" fmla="*/ 2147483647 w 366"/>
                <a:gd name="T63" fmla="*/ 2147483647 h 384"/>
                <a:gd name="T64" fmla="*/ 2147483647 w 366"/>
                <a:gd name="T65" fmla="*/ 2147483647 h 384"/>
                <a:gd name="T66" fmla="*/ 2147483647 w 366"/>
                <a:gd name="T67" fmla="*/ 2147483647 h 384"/>
                <a:gd name="T68" fmla="*/ 2147483647 w 366"/>
                <a:gd name="T69" fmla="*/ 2147483647 h 384"/>
                <a:gd name="T70" fmla="*/ 2147483647 w 366"/>
                <a:gd name="T71" fmla="*/ 2147483647 h 384"/>
                <a:gd name="T72" fmla="*/ 2147483647 w 366"/>
                <a:gd name="T73" fmla="*/ 2147483647 h 384"/>
                <a:gd name="T74" fmla="*/ 2147483647 w 366"/>
                <a:gd name="T75" fmla="*/ 2147483647 h 384"/>
                <a:gd name="T76" fmla="*/ 2147483647 w 366"/>
                <a:gd name="T77" fmla="*/ 2147483647 h 3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66"/>
                <a:gd name="T118" fmla="*/ 0 h 384"/>
                <a:gd name="T119" fmla="*/ 366 w 366"/>
                <a:gd name="T120" fmla="*/ 384 h 3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66" h="384">
                  <a:moveTo>
                    <a:pt x="138" y="372"/>
                  </a:moveTo>
                  <a:lnTo>
                    <a:pt x="174" y="372"/>
                  </a:lnTo>
                  <a:lnTo>
                    <a:pt x="198" y="378"/>
                  </a:lnTo>
                  <a:lnTo>
                    <a:pt x="228" y="378"/>
                  </a:lnTo>
                  <a:lnTo>
                    <a:pt x="288" y="384"/>
                  </a:lnTo>
                  <a:lnTo>
                    <a:pt x="330" y="366"/>
                  </a:lnTo>
                  <a:lnTo>
                    <a:pt x="342" y="354"/>
                  </a:lnTo>
                  <a:lnTo>
                    <a:pt x="360" y="300"/>
                  </a:lnTo>
                  <a:lnTo>
                    <a:pt x="366" y="294"/>
                  </a:lnTo>
                  <a:lnTo>
                    <a:pt x="348" y="294"/>
                  </a:lnTo>
                  <a:lnTo>
                    <a:pt x="348" y="264"/>
                  </a:lnTo>
                  <a:lnTo>
                    <a:pt x="342" y="264"/>
                  </a:lnTo>
                  <a:lnTo>
                    <a:pt x="342" y="240"/>
                  </a:lnTo>
                  <a:lnTo>
                    <a:pt x="348" y="234"/>
                  </a:lnTo>
                  <a:lnTo>
                    <a:pt x="360" y="210"/>
                  </a:lnTo>
                  <a:lnTo>
                    <a:pt x="360" y="198"/>
                  </a:lnTo>
                  <a:lnTo>
                    <a:pt x="354" y="198"/>
                  </a:lnTo>
                  <a:lnTo>
                    <a:pt x="342" y="192"/>
                  </a:lnTo>
                  <a:lnTo>
                    <a:pt x="336" y="192"/>
                  </a:lnTo>
                  <a:lnTo>
                    <a:pt x="318" y="174"/>
                  </a:lnTo>
                  <a:lnTo>
                    <a:pt x="312" y="162"/>
                  </a:lnTo>
                  <a:lnTo>
                    <a:pt x="306" y="156"/>
                  </a:lnTo>
                  <a:lnTo>
                    <a:pt x="300" y="144"/>
                  </a:lnTo>
                  <a:lnTo>
                    <a:pt x="288" y="144"/>
                  </a:lnTo>
                  <a:lnTo>
                    <a:pt x="270" y="138"/>
                  </a:lnTo>
                  <a:lnTo>
                    <a:pt x="258" y="132"/>
                  </a:lnTo>
                  <a:lnTo>
                    <a:pt x="252" y="126"/>
                  </a:lnTo>
                  <a:lnTo>
                    <a:pt x="252" y="114"/>
                  </a:lnTo>
                  <a:lnTo>
                    <a:pt x="246" y="114"/>
                  </a:lnTo>
                  <a:lnTo>
                    <a:pt x="228" y="96"/>
                  </a:lnTo>
                  <a:lnTo>
                    <a:pt x="210" y="96"/>
                  </a:lnTo>
                  <a:lnTo>
                    <a:pt x="192" y="78"/>
                  </a:lnTo>
                  <a:lnTo>
                    <a:pt x="186" y="66"/>
                  </a:lnTo>
                  <a:lnTo>
                    <a:pt x="174" y="60"/>
                  </a:lnTo>
                  <a:lnTo>
                    <a:pt x="168" y="60"/>
                  </a:lnTo>
                  <a:lnTo>
                    <a:pt x="156" y="72"/>
                  </a:lnTo>
                  <a:lnTo>
                    <a:pt x="156" y="78"/>
                  </a:lnTo>
                  <a:lnTo>
                    <a:pt x="144" y="78"/>
                  </a:lnTo>
                  <a:lnTo>
                    <a:pt x="144" y="66"/>
                  </a:lnTo>
                  <a:lnTo>
                    <a:pt x="132" y="54"/>
                  </a:lnTo>
                  <a:lnTo>
                    <a:pt x="126" y="42"/>
                  </a:lnTo>
                  <a:lnTo>
                    <a:pt x="120" y="36"/>
                  </a:lnTo>
                  <a:lnTo>
                    <a:pt x="108" y="30"/>
                  </a:lnTo>
                  <a:lnTo>
                    <a:pt x="102" y="18"/>
                  </a:lnTo>
                  <a:lnTo>
                    <a:pt x="78" y="6"/>
                  </a:lnTo>
                  <a:lnTo>
                    <a:pt x="72" y="0"/>
                  </a:lnTo>
                  <a:lnTo>
                    <a:pt x="60" y="0"/>
                  </a:lnTo>
                  <a:lnTo>
                    <a:pt x="48" y="6"/>
                  </a:lnTo>
                  <a:lnTo>
                    <a:pt x="42" y="12"/>
                  </a:lnTo>
                  <a:lnTo>
                    <a:pt x="18" y="12"/>
                  </a:lnTo>
                  <a:lnTo>
                    <a:pt x="0" y="30"/>
                  </a:lnTo>
                  <a:lnTo>
                    <a:pt x="0" y="36"/>
                  </a:lnTo>
                  <a:lnTo>
                    <a:pt x="24" y="60"/>
                  </a:lnTo>
                  <a:lnTo>
                    <a:pt x="30" y="60"/>
                  </a:lnTo>
                  <a:lnTo>
                    <a:pt x="6" y="72"/>
                  </a:lnTo>
                  <a:lnTo>
                    <a:pt x="6" y="108"/>
                  </a:lnTo>
                  <a:lnTo>
                    <a:pt x="30" y="126"/>
                  </a:lnTo>
                  <a:lnTo>
                    <a:pt x="12" y="126"/>
                  </a:lnTo>
                  <a:lnTo>
                    <a:pt x="0" y="138"/>
                  </a:lnTo>
                  <a:lnTo>
                    <a:pt x="6" y="144"/>
                  </a:lnTo>
                  <a:lnTo>
                    <a:pt x="12" y="156"/>
                  </a:lnTo>
                  <a:lnTo>
                    <a:pt x="24" y="168"/>
                  </a:lnTo>
                  <a:lnTo>
                    <a:pt x="12" y="186"/>
                  </a:lnTo>
                  <a:lnTo>
                    <a:pt x="18" y="192"/>
                  </a:lnTo>
                  <a:lnTo>
                    <a:pt x="24" y="204"/>
                  </a:lnTo>
                  <a:lnTo>
                    <a:pt x="36" y="210"/>
                  </a:lnTo>
                  <a:lnTo>
                    <a:pt x="42" y="222"/>
                  </a:lnTo>
                  <a:lnTo>
                    <a:pt x="42" y="228"/>
                  </a:lnTo>
                  <a:lnTo>
                    <a:pt x="36" y="228"/>
                  </a:lnTo>
                  <a:lnTo>
                    <a:pt x="30" y="234"/>
                  </a:lnTo>
                  <a:lnTo>
                    <a:pt x="6" y="234"/>
                  </a:lnTo>
                  <a:lnTo>
                    <a:pt x="6" y="282"/>
                  </a:lnTo>
                  <a:lnTo>
                    <a:pt x="36" y="318"/>
                  </a:lnTo>
                  <a:lnTo>
                    <a:pt x="42" y="318"/>
                  </a:lnTo>
                  <a:lnTo>
                    <a:pt x="54" y="324"/>
                  </a:lnTo>
                  <a:lnTo>
                    <a:pt x="78" y="348"/>
                  </a:lnTo>
                  <a:lnTo>
                    <a:pt x="90" y="354"/>
                  </a:lnTo>
                  <a:lnTo>
                    <a:pt x="126" y="354"/>
                  </a:lnTo>
                  <a:lnTo>
                    <a:pt x="138" y="37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40" name="Ungarn" descr="© INSCALE GmbH, 05.05.2010&#10;http://www.presentationload.com/">
              <a:extLst>
                <a:ext uri="{FF2B5EF4-FFF2-40B4-BE49-F238E27FC236}">
                  <a16:creationId xmlns:a16="http://schemas.microsoft.com/office/drawing/2014/main" id="{62D2B6BD-D0F6-49E1-A5F4-2637628384F9}"/>
                </a:ext>
              </a:extLst>
            </p:cNvPr>
            <p:cNvSpPr>
              <a:spLocks/>
            </p:cNvSpPr>
            <p:nvPr/>
          </p:nvSpPr>
          <p:spPr bwMode="gray">
            <a:xfrm>
              <a:off x="4566837" y="2701855"/>
              <a:ext cx="169346" cy="87809"/>
            </a:xfrm>
            <a:custGeom>
              <a:avLst/>
              <a:gdLst>
                <a:gd name="T0" fmla="*/ 2147483647 w 426"/>
                <a:gd name="T1" fmla="*/ 2147483647 h 222"/>
                <a:gd name="T2" fmla="*/ 2147483647 w 426"/>
                <a:gd name="T3" fmla="*/ 2147483647 h 222"/>
                <a:gd name="T4" fmla="*/ 2147483647 w 426"/>
                <a:gd name="T5" fmla="*/ 2147483647 h 222"/>
                <a:gd name="T6" fmla="*/ 0 w 426"/>
                <a:gd name="T7" fmla="*/ 2147483647 h 222"/>
                <a:gd name="T8" fmla="*/ 2147483647 w 426"/>
                <a:gd name="T9" fmla="*/ 2147483647 h 222"/>
                <a:gd name="T10" fmla="*/ 2147483647 w 426"/>
                <a:gd name="T11" fmla="*/ 2147483647 h 222"/>
                <a:gd name="T12" fmla="*/ 2147483647 w 426"/>
                <a:gd name="T13" fmla="*/ 2147483647 h 222"/>
                <a:gd name="T14" fmla="*/ 2147483647 w 426"/>
                <a:gd name="T15" fmla="*/ 2147483647 h 222"/>
                <a:gd name="T16" fmla="*/ 2147483647 w 426"/>
                <a:gd name="T17" fmla="*/ 2147483647 h 222"/>
                <a:gd name="T18" fmla="*/ 2147483647 w 426"/>
                <a:gd name="T19" fmla="*/ 2147483647 h 222"/>
                <a:gd name="T20" fmla="*/ 2147483647 w 426"/>
                <a:gd name="T21" fmla="*/ 2147483647 h 222"/>
                <a:gd name="T22" fmla="*/ 2147483647 w 426"/>
                <a:gd name="T23" fmla="*/ 2147483647 h 222"/>
                <a:gd name="T24" fmla="*/ 2147483647 w 426"/>
                <a:gd name="T25" fmla="*/ 2147483647 h 222"/>
                <a:gd name="T26" fmla="*/ 2147483647 w 426"/>
                <a:gd name="T27" fmla="*/ 2147483647 h 222"/>
                <a:gd name="T28" fmla="*/ 2147483647 w 426"/>
                <a:gd name="T29" fmla="*/ 2147483647 h 222"/>
                <a:gd name="T30" fmla="*/ 2147483647 w 426"/>
                <a:gd name="T31" fmla="*/ 2147483647 h 222"/>
                <a:gd name="T32" fmla="*/ 2147483647 w 426"/>
                <a:gd name="T33" fmla="*/ 2147483647 h 222"/>
                <a:gd name="T34" fmla="*/ 2147483647 w 426"/>
                <a:gd name="T35" fmla="*/ 2147483647 h 222"/>
                <a:gd name="T36" fmla="*/ 2147483647 w 426"/>
                <a:gd name="T37" fmla="*/ 2147483647 h 222"/>
                <a:gd name="T38" fmla="*/ 2147483647 w 426"/>
                <a:gd name="T39" fmla="*/ 2147483647 h 222"/>
                <a:gd name="T40" fmla="*/ 2147483647 w 426"/>
                <a:gd name="T41" fmla="*/ 2147483647 h 222"/>
                <a:gd name="T42" fmla="*/ 2147483647 w 426"/>
                <a:gd name="T43" fmla="*/ 2147483647 h 222"/>
                <a:gd name="T44" fmla="*/ 2147483647 w 426"/>
                <a:gd name="T45" fmla="*/ 2147483647 h 222"/>
                <a:gd name="T46" fmla="*/ 2147483647 w 426"/>
                <a:gd name="T47" fmla="*/ 2147483647 h 222"/>
                <a:gd name="T48" fmla="*/ 2147483647 w 426"/>
                <a:gd name="T49" fmla="*/ 0 h 222"/>
                <a:gd name="T50" fmla="*/ 2147483647 w 426"/>
                <a:gd name="T51" fmla="*/ 2147483647 h 222"/>
                <a:gd name="T52" fmla="*/ 2147483647 w 426"/>
                <a:gd name="T53" fmla="*/ 0 h 222"/>
                <a:gd name="T54" fmla="*/ 2147483647 w 426"/>
                <a:gd name="T55" fmla="*/ 2147483647 h 222"/>
                <a:gd name="T56" fmla="*/ 2147483647 w 426"/>
                <a:gd name="T57" fmla="*/ 2147483647 h 222"/>
                <a:gd name="T58" fmla="*/ 2147483647 w 426"/>
                <a:gd name="T59" fmla="*/ 2147483647 h 222"/>
                <a:gd name="T60" fmla="*/ 2147483647 w 426"/>
                <a:gd name="T61" fmla="*/ 2147483647 h 222"/>
                <a:gd name="T62" fmla="*/ 2147483647 w 426"/>
                <a:gd name="T63" fmla="*/ 2147483647 h 222"/>
                <a:gd name="T64" fmla="*/ 2147483647 w 426"/>
                <a:gd name="T65" fmla="*/ 2147483647 h 222"/>
                <a:gd name="T66" fmla="*/ 2147483647 w 426"/>
                <a:gd name="T67" fmla="*/ 2147483647 h 222"/>
                <a:gd name="T68" fmla="*/ 2147483647 w 426"/>
                <a:gd name="T69" fmla="*/ 2147483647 h 222"/>
                <a:gd name="T70" fmla="*/ 2147483647 w 426"/>
                <a:gd name="T71" fmla="*/ 2147483647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6"/>
                <a:gd name="T109" fmla="*/ 0 h 222"/>
                <a:gd name="T110" fmla="*/ 426 w 426"/>
                <a:gd name="T111" fmla="*/ 222 h 2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6" h="222">
                  <a:moveTo>
                    <a:pt x="42" y="66"/>
                  </a:moveTo>
                  <a:lnTo>
                    <a:pt x="24" y="66"/>
                  </a:lnTo>
                  <a:lnTo>
                    <a:pt x="18" y="78"/>
                  </a:lnTo>
                  <a:lnTo>
                    <a:pt x="30" y="78"/>
                  </a:lnTo>
                  <a:lnTo>
                    <a:pt x="18" y="96"/>
                  </a:lnTo>
                  <a:lnTo>
                    <a:pt x="18" y="120"/>
                  </a:lnTo>
                  <a:lnTo>
                    <a:pt x="0" y="120"/>
                  </a:lnTo>
                  <a:lnTo>
                    <a:pt x="0" y="126"/>
                  </a:lnTo>
                  <a:lnTo>
                    <a:pt x="6" y="132"/>
                  </a:lnTo>
                  <a:lnTo>
                    <a:pt x="12" y="150"/>
                  </a:lnTo>
                  <a:lnTo>
                    <a:pt x="30" y="162"/>
                  </a:lnTo>
                  <a:lnTo>
                    <a:pt x="42" y="168"/>
                  </a:lnTo>
                  <a:lnTo>
                    <a:pt x="48" y="174"/>
                  </a:lnTo>
                  <a:lnTo>
                    <a:pt x="48" y="180"/>
                  </a:lnTo>
                  <a:lnTo>
                    <a:pt x="60" y="192"/>
                  </a:lnTo>
                  <a:lnTo>
                    <a:pt x="72" y="198"/>
                  </a:lnTo>
                  <a:lnTo>
                    <a:pt x="78" y="204"/>
                  </a:lnTo>
                  <a:lnTo>
                    <a:pt x="90" y="210"/>
                  </a:lnTo>
                  <a:lnTo>
                    <a:pt x="108" y="210"/>
                  </a:lnTo>
                  <a:lnTo>
                    <a:pt x="114" y="222"/>
                  </a:lnTo>
                  <a:lnTo>
                    <a:pt x="156" y="216"/>
                  </a:lnTo>
                  <a:lnTo>
                    <a:pt x="168" y="210"/>
                  </a:lnTo>
                  <a:lnTo>
                    <a:pt x="174" y="204"/>
                  </a:lnTo>
                  <a:lnTo>
                    <a:pt x="198" y="204"/>
                  </a:lnTo>
                  <a:lnTo>
                    <a:pt x="216" y="186"/>
                  </a:lnTo>
                  <a:lnTo>
                    <a:pt x="240" y="186"/>
                  </a:lnTo>
                  <a:lnTo>
                    <a:pt x="258" y="198"/>
                  </a:lnTo>
                  <a:lnTo>
                    <a:pt x="288" y="192"/>
                  </a:lnTo>
                  <a:lnTo>
                    <a:pt x="288" y="174"/>
                  </a:lnTo>
                  <a:lnTo>
                    <a:pt x="306" y="180"/>
                  </a:lnTo>
                  <a:lnTo>
                    <a:pt x="312" y="174"/>
                  </a:lnTo>
                  <a:lnTo>
                    <a:pt x="324" y="168"/>
                  </a:lnTo>
                  <a:lnTo>
                    <a:pt x="330" y="162"/>
                  </a:lnTo>
                  <a:lnTo>
                    <a:pt x="330" y="144"/>
                  </a:lnTo>
                  <a:lnTo>
                    <a:pt x="336" y="138"/>
                  </a:lnTo>
                  <a:lnTo>
                    <a:pt x="348" y="132"/>
                  </a:lnTo>
                  <a:lnTo>
                    <a:pt x="366" y="114"/>
                  </a:lnTo>
                  <a:lnTo>
                    <a:pt x="366" y="72"/>
                  </a:lnTo>
                  <a:lnTo>
                    <a:pt x="378" y="60"/>
                  </a:lnTo>
                  <a:lnTo>
                    <a:pt x="408" y="60"/>
                  </a:lnTo>
                  <a:lnTo>
                    <a:pt x="426" y="42"/>
                  </a:lnTo>
                  <a:lnTo>
                    <a:pt x="420" y="36"/>
                  </a:lnTo>
                  <a:lnTo>
                    <a:pt x="408" y="36"/>
                  </a:lnTo>
                  <a:lnTo>
                    <a:pt x="402" y="30"/>
                  </a:lnTo>
                  <a:lnTo>
                    <a:pt x="396" y="30"/>
                  </a:lnTo>
                  <a:lnTo>
                    <a:pt x="372" y="6"/>
                  </a:lnTo>
                  <a:lnTo>
                    <a:pt x="348" y="6"/>
                  </a:lnTo>
                  <a:lnTo>
                    <a:pt x="336" y="12"/>
                  </a:lnTo>
                  <a:lnTo>
                    <a:pt x="324" y="12"/>
                  </a:lnTo>
                  <a:lnTo>
                    <a:pt x="324" y="0"/>
                  </a:lnTo>
                  <a:lnTo>
                    <a:pt x="312" y="0"/>
                  </a:lnTo>
                  <a:lnTo>
                    <a:pt x="312" y="18"/>
                  </a:lnTo>
                  <a:lnTo>
                    <a:pt x="294" y="12"/>
                  </a:lnTo>
                  <a:lnTo>
                    <a:pt x="294" y="0"/>
                  </a:lnTo>
                  <a:lnTo>
                    <a:pt x="270" y="0"/>
                  </a:lnTo>
                  <a:lnTo>
                    <a:pt x="264" y="12"/>
                  </a:lnTo>
                  <a:lnTo>
                    <a:pt x="252" y="24"/>
                  </a:lnTo>
                  <a:lnTo>
                    <a:pt x="246" y="24"/>
                  </a:lnTo>
                  <a:lnTo>
                    <a:pt x="234" y="30"/>
                  </a:lnTo>
                  <a:lnTo>
                    <a:pt x="210" y="30"/>
                  </a:lnTo>
                  <a:lnTo>
                    <a:pt x="204" y="42"/>
                  </a:lnTo>
                  <a:lnTo>
                    <a:pt x="168" y="36"/>
                  </a:lnTo>
                  <a:lnTo>
                    <a:pt x="156" y="60"/>
                  </a:lnTo>
                  <a:lnTo>
                    <a:pt x="144" y="60"/>
                  </a:lnTo>
                  <a:lnTo>
                    <a:pt x="126" y="66"/>
                  </a:lnTo>
                  <a:lnTo>
                    <a:pt x="84" y="66"/>
                  </a:lnTo>
                  <a:lnTo>
                    <a:pt x="78" y="60"/>
                  </a:lnTo>
                  <a:lnTo>
                    <a:pt x="72" y="48"/>
                  </a:lnTo>
                  <a:lnTo>
                    <a:pt x="66" y="42"/>
                  </a:lnTo>
                  <a:lnTo>
                    <a:pt x="54" y="60"/>
                  </a:lnTo>
                  <a:lnTo>
                    <a:pt x="42" y="54"/>
                  </a:lnTo>
                  <a:lnTo>
                    <a:pt x="42" y="66"/>
                  </a:lnTo>
                  <a:close/>
                </a:path>
              </a:pathLst>
            </a:custGeom>
            <a:solidFill>
              <a:schemeClr val="accent1"/>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41" name="Ukraine" descr="© INSCALE GmbH, 05.05.2010&#10;http://www.presentationload.com/">
              <a:extLst>
                <a:ext uri="{FF2B5EF4-FFF2-40B4-BE49-F238E27FC236}">
                  <a16:creationId xmlns:a16="http://schemas.microsoft.com/office/drawing/2014/main" id="{08BBBDA7-149D-4AFE-9A46-B6BCA546B522}"/>
                </a:ext>
              </a:extLst>
            </p:cNvPr>
            <p:cNvSpPr>
              <a:spLocks/>
            </p:cNvSpPr>
            <p:nvPr/>
          </p:nvSpPr>
          <p:spPr bwMode="gray">
            <a:xfrm>
              <a:off x="4714231" y="2584252"/>
              <a:ext cx="443750" cy="249316"/>
            </a:xfrm>
            <a:custGeom>
              <a:avLst/>
              <a:gdLst>
                <a:gd name="T0" fmla="*/ 2147483647 w 1116"/>
                <a:gd name="T1" fmla="*/ 2147483647 h 624"/>
                <a:gd name="T2" fmla="*/ 2147483647 w 1116"/>
                <a:gd name="T3" fmla="*/ 2147483647 h 624"/>
                <a:gd name="T4" fmla="*/ 2147483647 w 1116"/>
                <a:gd name="T5" fmla="*/ 2147483647 h 624"/>
                <a:gd name="T6" fmla="*/ 2147483647 w 1116"/>
                <a:gd name="T7" fmla="*/ 2147483647 h 624"/>
                <a:gd name="T8" fmla="*/ 2147483647 w 1116"/>
                <a:gd name="T9" fmla="*/ 2147483647 h 624"/>
                <a:gd name="T10" fmla="*/ 2147483647 w 1116"/>
                <a:gd name="T11" fmla="*/ 2147483647 h 624"/>
                <a:gd name="T12" fmla="*/ 2147483647 w 1116"/>
                <a:gd name="T13" fmla="*/ 2147483647 h 624"/>
                <a:gd name="T14" fmla="*/ 2147483647 w 1116"/>
                <a:gd name="T15" fmla="*/ 2147483647 h 624"/>
                <a:gd name="T16" fmla="*/ 2147483647 w 1116"/>
                <a:gd name="T17" fmla="*/ 2147483647 h 624"/>
                <a:gd name="T18" fmla="*/ 2147483647 w 1116"/>
                <a:gd name="T19" fmla="*/ 2147483647 h 624"/>
                <a:gd name="T20" fmla="*/ 2147483647 w 1116"/>
                <a:gd name="T21" fmla="*/ 2147483647 h 624"/>
                <a:gd name="T22" fmla="*/ 2147483647 w 1116"/>
                <a:gd name="T23" fmla="*/ 2147483647 h 624"/>
                <a:gd name="T24" fmla="*/ 2147483647 w 1116"/>
                <a:gd name="T25" fmla="*/ 2147483647 h 624"/>
                <a:gd name="T26" fmla="*/ 2147483647 w 1116"/>
                <a:gd name="T27" fmla="*/ 2147483647 h 624"/>
                <a:gd name="T28" fmla="*/ 2147483647 w 1116"/>
                <a:gd name="T29" fmla="*/ 2147483647 h 624"/>
                <a:gd name="T30" fmla="*/ 2147483647 w 1116"/>
                <a:gd name="T31" fmla="*/ 2147483647 h 624"/>
                <a:gd name="T32" fmla="*/ 2147483647 w 1116"/>
                <a:gd name="T33" fmla="*/ 2147483647 h 624"/>
                <a:gd name="T34" fmla="*/ 2147483647 w 1116"/>
                <a:gd name="T35" fmla="*/ 2147483647 h 624"/>
                <a:gd name="T36" fmla="*/ 2147483647 w 1116"/>
                <a:gd name="T37" fmla="*/ 2147483647 h 624"/>
                <a:gd name="T38" fmla="*/ 2147483647 w 1116"/>
                <a:gd name="T39" fmla="*/ 2147483647 h 624"/>
                <a:gd name="T40" fmla="*/ 2147483647 w 1116"/>
                <a:gd name="T41" fmla="*/ 2147483647 h 624"/>
                <a:gd name="T42" fmla="*/ 2147483647 w 1116"/>
                <a:gd name="T43" fmla="*/ 2147483647 h 624"/>
                <a:gd name="T44" fmla="*/ 2147483647 w 1116"/>
                <a:gd name="T45" fmla="*/ 2147483647 h 624"/>
                <a:gd name="T46" fmla="*/ 2147483647 w 1116"/>
                <a:gd name="T47" fmla="*/ 2147483647 h 624"/>
                <a:gd name="T48" fmla="*/ 2147483647 w 1116"/>
                <a:gd name="T49" fmla="*/ 2147483647 h 624"/>
                <a:gd name="T50" fmla="*/ 2147483647 w 1116"/>
                <a:gd name="T51" fmla="*/ 2147483647 h 624"/>
                <a:gd name="T52" fmla="*/ 2147483647 w 1116"/>
                <a:gd name="T53" fmla="*/ 2147483647 h 624"/>
                <a:gd name="T54" fmla="*/ 2147483647 w 1116"/>
                <a:gd name="T55" fmla="*/ 2147483647 h 624"/>
                <a:gd name="T56" fmla="*/ 2147483647 w 1116"/>
                <a:gd name="T57" fmla="*/ 2147483647 h 624"/>
                <a:gd name="T58" fmla="*/ 2147483647 w 1116"/>
                <a:gd name="T59" fmla="*/ 2147483647 h 624"/>
                <a:gd name="T60" fmla="*/ 2147483647 w 1116"/>
                <a:gd name="T61" fmla="*/ 2147483647 h 624"/>
                <a:gd name="T62" fmla="*/ 2147483647 w 1116"/>
                <a:gd name="T63" fmla="*/ 2147483647 h 624"/>
                <a:gd name="T64" fmla="*/ 2147483647 w 1116"/>
                <a:gd name="T65" fmla="*/ 2147483647 h 624"/>
                <a:gd name="T66" fmla="*/ 2147483647 w 1116"/>
                <a:gd name="T67" fmla="*/ 2147483647 h 624"/>
                <a:gd name="T68" fmla="*/ 2147483647 w 1116"/>
                <a:gd name="T69" fmla="*/ 2147483647 h 624"/>
                <a:gd name="T70" fmla="*/ 2147483647 w 1116"/>
                <a:gd name="T71" fmla="*/ 2147483647 h 624"/>
                <a:gd name="T72" fmla="*/ 2147483647 w 1116"/>
                <a:gd name="T73" fmla="*/ 2147483647 h 624"/>
                <a:gd name="T74" fmla="*/ 2147483647 w 1116"/>
                <a:gd name="T75" fmla="*/ 2147483647 h 624"/>
                <a:gd name="T76" fmla="*/ 2147483647 w 1116"/>
                <a:gd name="T77" fmla="*/ 2147483647 h 624"/>
                <a:gd name="T78" fmla="*/ 2147483647 w 1116"/>
                <a:gd name="T79" fmla="*/ 2147483647 h 624"/>
                <a:gd name="T80" fmla="*/ 2147483647 w 1116"/>
                <a:gd name="T81" fmla="*/ 2147483647 h 624"/>
                <a:gd name="T82" fmla="*/ 2147483647 w 1116"/>
                <a:gd name="T83" fmla="*/ 2147483647 h 624"/>
                <a:gd name="T84" fmla="*/ 2147483647 w 1116"/>
                <a:gd name="T85" fmla="*/ 2147483647 h 624"/>
                <a:gd name="T86" fmla="*/ 2147483647 w 1116"/>
                <a:gd name="T87" fmla="*/ 2147483647 h 624"/>
                <a:gd name="T88" fmla="*/ 2147483647 w 1116"/>
                <a:gd name="T89" fmla="*/ 0 h 624"/>
                <a:gd name="T90" fmla="*/ 2147483647 w 1116"/>
                <a:gd name="T91" fmla="*/ 2147483647 h 624"/>
                <a:gd name="T92" fmla="*/ 2147483647 w 1116"/>
                <a:gd name="T93" fmla="*/ 2147483647 h 624"/>
                <a:gd name="T94" fmla="*/ 2147483647 w 1116"/>
                <a:gd name="T95" fmla="*/ 2147483647 h 624"/>
                <a:gd name="T96" fmla="*/ 2147483647 w 1116"/>
                <a:gd name="T97" fmla="*/ 2147483647 h 624"/>
                <a:gd name="T98" fmla="*/ 2147483647 w 1116"/>
                <a:gd name="T99" fmla="*/ 2147483647 h 624"/>
                <a:gd name="T100" fmla="*/ 2147483647 w 1116"/>
                <a:gd name="T101" fmla="*/ 2147483647 h 624"/>
                <a:gd name="T102" fmla="*/ 2147483647 w 1116"/>
                <a:gd name="T103" fmla="*/ 2147483647 h 624"/>
                <a:gd name="T104" fmla="*/ 2147483647 w 1116"/>
                <a:gd name="T105" fmla="*/ 2147483647 h 624"/>
                <a:gd name="T106" fmla="*/ 2147483647 w 1116"/>
                <a:gd name="T107" fmla="*/ 2147483647 h 624"/>
                <a:gd name="T108" fmla="*/ 2147483647 w 1116"/>
                <a:gd name="T109" fmla="*/ 2147483647 h 624"/>
                <a:gd name="T110" fmla="*/ 2147483647 w 1116"/>
                <a:gd name="T111" fmla="*/ 2147483647 h 624"/>
                <a:gd name="T112" fmla="*/ 2147483647 w 1116"/>
                <a:gd name="T113" fmla="*/ 2147483647 h 624"/>
                <a:gd name="T114" fmla="*/ 2147483647 w 1116"/>
                <a:gd name="T115" fmla="*/ 2147483647 h 624"/>
                <a:gd name="T116" fmla="*/ 2147483647 w 1116"/>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16"/>
                <a:gd name="T178" fmla="*/ 0 h 624"/>
                <a:gd name="T179" fmla="*/ 1116 w 1116"/>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16" h="624">
                  <a:moveTo>
                    <a:pt x="24" y="324"/>
                  </a:moveTo>
                  <a:lnTo>
                    <a:pt x="30" y="324"/>
                  </a:lnTo>
                  <a:lnTo>
                    <a:pt x="36" y="330"/>
                  </a:lnTo>
                  <a:lnTo>
                    <a:pt x="48" y="330"/>
                  </a:lnTo>
                  <a:lnTo>
                    <a:pt x="54" y="336"/>
                  </a:lnTo>
                  <a:lnTo>
                    <a:pt x="78" y="336"/>
                  </a:lnTo>
                  <a:lnTo>
                    <a:pt x="84" y="342"/>
                  </a:lnTo>
                  <a:lnTo>
                    <a:pt x="108" y="342"/>
                  </a:lnTo>
                  <a:lnTo>
                    <a:pt x="114" y="348"/>
                  </a:lnTo>
                  <a:lnTo>
                    <a:pt x="126" y="342"/>
                  </a:lnTo>
                  <a:lnTo>
                    <a:pt x="132" y="342"/>
                  </a:lnTo>
                  <a:lnTo>
                    <a:pt x="144" y="336"/>
                  </a:lnTo>
                  <a:lnTo>
                    <a:pt x="150" y="336"/>
                  </a:lnTo>
                  <a:lnTo>
                    <a:pt x="174" y="360"/>
                  </a:lnTo>
                  <a:lnTo>
                    <a:pt x="186" y="360"/>
                  </a:lnTo>
                  <a:lnTo>
                    <a:pt x="198" y="348"/>
                  </a:lnTo>
                  <a:lnTo>
                    <a:pt x="198" y="342"/>
                  </a:lnTo>
                  <a:lnTo>
                    <a:pt x="222" y="348"/>
                  </a:lnTo>
                  <a:lnTo>
                    <a:pt x="228" y="336"/>
                  </a:lnTo>
                  <a:lnTo>
                    <a:pt x="234" y="342"/>
                  </a:lnTo>
                  <a:lnTo>
                    <a:pt x="252" y="342"/>
                  </a:lnTo>
                  <a:lnTo>
                    <a:pt x="258" y="336"/>
                  </a:lnTo>
                  <a:lnTo>
                    <a:pt x="258" y="330"/>
                  </a:lnTo>
                  <a:lnTo>
                    <a:pt x="270" y="318"/>
                  </a:lnTo>
                  <a:lnTo>
                    <a:pt x="282" y="318"/>
                  </a:lnTo>
                  <a:lnTo>
                    <a:pt x="288" y="306"/>
                  </a:lnTo>
                  <a:lnTo>
                    <a:pt x="294" y="306"/>
                  </a:lnTo>
                  <a:lnTo>
                    <a:pt x="306" y="312"/>
                  </a:lnTo>
                  <a:lnTo>
                    <a:pt x="318" y="312"/>
                  </a:lnTo>
                  <a:lnTo>
                    <a:pt x="318" y="306"/>
                  </a:lnTo>
                  <a:lnTo>
                    <a:pt x="324" y="306"/>
                  </a:lnTo>
                  <a:lnTo>
                    <a:pt x="336" y="300"/>
                  </a:lnTo>
                  <a:lnTo>
                    <a:pt x="342" y="300"/>
                  </a:lnTo>
                  <a:lnTo>
                    <a:pt x="354" y="312"/>
                  </a:lnTo>
                  <a:lnTo>
                    <a:pt x="360" y="312"/>
                  </a:lnTo>
                  <a:lnTo>
                    <a:pt x="360" y="318"/>
                  </a:lnTo>
                  <a:lnTo>
                    <a:pt x="402" y="318"/>
                  </a:lnTo>
                  <a:lnTo>
                    <a:pt x="408" y="324"/>
                  </a:lnTo>
                  <a:lnTo>
                    <a:pt x="408" y="336"/>
                  </a:lnTo>
                  <a:lnTo>
                    <a:pt x="426" y="336"/>
                  </a:lnTo>
                  <a:lnTo>
                    <a:pt x="438" y="342"/>
                  </a:lnTo>
                  <a:lnTo>
                    <a:pt x="444" y="348"/>
                  </a:lnTo>
                  <a:lnTo>
                    <a:pt x="450" y="360"/>
                  </a:lnTo>
                  <a:lnTo>
                    <a:pt x="444" y="366"/>
                  </a:lnTo>
                  <a:lnTo>
                    <a:pt x="444" y="390"/>
                  </a:lnTo>
                  <a:lnTo>
                    <a:pt x="456" y="384"/>
                  </a:lnTo>
                  <a:lnTo>
                    <a:pt x="462" y="384"/>
                  </a:lnTo>
                  <a:lnTo>
                    <a:pt x="468" y="390"/>
                  </a:lnTo>
                  <a:lnTo>
                    <a:pt x="462" y="396"/>
                  </a:lnTo>
                  <a:lnTo>
                    <a:pt x="462" y="414"/>
                  </a:lnTo>
                  <a:lnTo>
                    <a:pt x="474" y="414"/>
                  </a:lnTo>
                  <a:lnTo>
                    <a:pt x="480" y="420"/>
                  </a:lnTo>
                  <a:lnTo>
                    <a:pt x="492" y="420"/>
                  </a:lnTo>
                  <a:lnTo>
                    <a:pt x="498" y="426"/>
                  </a:lnTo>
                  <a:lnTo>
                    <a:pt x="498" y="456"/>
                  </a:lnTo>
                  <a:lnTo>
                    <a:pt x="492" y="456"/>
                  </a:lnTo>
                  <a:lnTo>
                    <a:pt x="480" y="462"/>
                  </a:lnTo>
                  <a:lnTo>
                    <a:pt x="462" y="462"/>
                  </a:lnTo>
                  <a:lnTo>
                    <a:pt x="456" y="456"/>
                  </a:lnTo>
                  <a:lnTo>
                    <a:pt x="438" y="456"/>
                  </a:lnTo>
                  <a:lnTo>
                    <a:pt x="432" y="462"/>
                  </a:lnTo>
                  <a:lnTo>
                    <a:pt x="432" y="468"/>
                  </a:lnTo>
                  <a:lnTo>
                    <a:pt x="438" y="468"/>
                  </a:lnTo>
                  <a:lnTo>
                    <a:pt x="450" y="474"/>
                  </a:lnTo>
                  <a:lnTo>
                    <a:pt x="456" y="480"/>
                  </a:lnTo>
                  <a:lnTo>
                    <a:pt x="438" y="492"/>
                  </a:lnTo>
                  <a:lnTo>
                    <a:pt x="432" y="498"/>
                  </a:lnTo>
                  <a:lnTo>
                    <a:pt x="420" y="504"/>
                  </a:lnTo>
                  <a:lnTo>
                    <a:pt x="414" y="504"/>
                  </a:lnTo>
                  <a:lnTo>
                    <a:pt x="414" y="516"/>
                  </a:lnTo>
                  <a:lnTo>
                    <a:pt x="420" y="522"/>
                  </a:lnTo>
                  <a:lnTo>
                    <a:pt x="420" y="534"/>
                  </a:lnTo>
                  <a:lnTo>
                    <a:pt x="396" y="540"/>
                  </a:lnTo>
                  <a:lnTo>
                    <a:pt x="390" y="528"/>
                  </a:lnTo>
                  <a:lnTo>
                    <a:pt x="390" y="516"/>
                  </a:lnTo>
                  <a:lnTo>
                    <a:pt x="390" y="528"/>
                  </a:lnTo>
                  <a:lnTo>
                    <a:pt x="396" y="540"/>
                  </a:lnTo>
                  <a:lnTo>
                    <a:pt x="396" y="546"/>
                  </a:lnTo>
                  <a:lnTo>
                    <a:pt x="408" y="552"/>
                  </a:lnTo>
                  <a:lnTo>
                    <a:pt x="438" y="552"/>
                  </a:lnTo>
                  <a:lnTo>
                    <a:pt x="444" y="546"/>
                  </a:lnTo>
                  <a:lnTo>
                    <a:pt x="450" y="546"/>
                  </a:lnTo>
                  <a:lnTo>
                    <a:pt x="456" y="540"/>
                  </a:lnTo>
                  <a:lnTo>
                    <a:pt x="474" y="540"/>
                  </a:lnTo>
                  <a:lnTo>
                    <a:pt x="480" y="534"/>
                  </a:lnTo>
                  <a:lnTo>
                    <a:pt x="486" y="534"/>
                  </a:lnTo>
                  <a:lnTo>
                    <a:pt x="480" y="528"/>
                  </a:lnTo>
                  <a:lnTo>
                    <a:pt x="486" y="528"/>
                  </a:lnTo>
                  <a:lnTo>
                    <a:pt x="492" y="522"/>
                  </a:lnTo>
                  <a:lnTo>
                    <a:pt x="510" y="516"/>
                  </a:lnTo>
                  <a:lnTo>
                    <a:pt x="522" y="510"/>
                  </a:lnTo>
                  <a:lnTo>
                    <a:pt x="528" y="504"/>
                  </a:lnTo>
                  <a:lnTo>
                    <a:pt x="534" y="492"/>
                  </a:lnTo>
                  <a:lnTo>
                    <a:pt x="540" y="486"/>
                  </a:lnTo>
                  <a:lnTo>
                    <a:pt x="546" y="474"/>
                  </a:lnTo>
                  <a:lnTo>
                    <a:pt x="552" y="468"/>
                  </a:lnTo>
                  <a:lnTo>
                    <a:pt x="552" y="462"/>
                  </a:lnTo>
                  <a:lnTo>
                    <a:pt x="582" y="450"/>
                  </a:lnTo>
                  <a:lnTo>
                    <a:pt x="600" y="438"/>
                  </a:lnTo>
                  <a:lnTo>
                    <a:pt x="612" y="444"/>
                  </a:lnTo>
                  <a:lnTo>
                    <a:pt x="624" y="444"/>
                  </a:lnTo>
                  <a:lnTo>
                    <a:pt x="636" y="450"/>
                  </a:lnTo>
                  <a:lnTo>
                    <a:pt x="654" y="450"/>
                  </a:lnTo>
                  <a:lnTo>
                    <a:pt x="666" y="438"/>
                  </a:lnTo>
                  <a:lnTo>
                    <a:pt x="648" y="462"/>
                  </a:lnTo>
                  <a:lnTo>
                    <a:pt x="624" y="462"/>
                  </a:lnTo>
                  <a:lnTo>
                    <a:pt x="630" y="468"/>
                  </a:lnTo>
                  <a:lnTo>
                    <a:pt x="642" y="474"/>
                  </a:lnTo>
                  <a:lnTo>
                    <a:pt x="654" y="486"/>
                  </a:lnTo>
                  <a:lnTo>
                    <a:pt x="726" y="486"/>
                  </a:lnTo>
                  <a:lnTo>
                    <a:pt x="738" y="504"/>
                  </a:lnTo>
                  <a:lnTo>
                    <a:pt x="726" y="510"/>
                  </a:lnTo>
                  <a:lnTo>
                    <a:pt x="720" y="516"/>
                  </a:lnTo>
                  <a:lnTo>
                    <a:pt x="684" y="534"/>
                  </a:lnTo>
                  <a:lnTo>
                    <a:pt x="678" y="540"/>
                  </a:lnTo>
                  <a:lnTo>
                    <a:pt x="678" y="546"/>
                  </a:lnTo>
                  <a:lnTo>
                    <a:pt x="684" y="546"/>
                  </a:lnTo>
                  <a:lnTo>
                    <a:pt x="690" y="552"/>
                  </a:lnTo>
                  <a:lnTo>
                    <a:pt x="720" y="552"/>
                  </a:lnTo>
                  <a:lnTo>
                    <a:pt x="732" y="558"/>
                  </a:lnTo>
                  <a:lnTo>
                    <a:pt x="744" y="570"/>
                  </a:lnTo>
                  <a:lnTo>
                    <a:pt x="744" y="594"/>
                  </a:lnTo>
                  <a:lnTo>
                    <a:pt x="738" y="606"/>
                  </a:lnTo>
                  <a:lnTo>
                    <a:pt x="738" y="618"/>
                  </a:lnTo>
                  <a:lnTo>
                    <a:pt x="756" y="618"/>
                  </a:lnTo>
                  <a:lnTo>
                    <a:pt x="768" y="624"/>
                  </a:lnTo>
                  <a:lnTo>
                    <a:pt x="780" y="624"/>
                  </a:lnTo>
                  <a:lnTo>
                    <a:pt x="780" y="618"/>
                  </a:lnTo>
                  <a:lnTo>
                    <a:pt x="792" y="606"/>
                  </a:lnTo>
                  <a:lnTo>
                    <a:pt x="804" y="600"/>
                  </a:lnTo>
                  <a:lnTo>
                    <a:pt x="810" y="594"/>
                  </a:lnTo>
                  <a:lnTo>
                    <a:pt x="840" y="594"/>
                  </a:lnTo>
                  <a:lnTo>
                    <a:pt x="858" y="576"/>
                  </a:lnTo>
                  <a:lnTo>
                    <a:pt x="858" y="570"/>
                  </a:lnTo>
                  <a:lnTo>
                    <a:pt x="864" y="564"/>
                  </a:lnTo>
                  <a:lnTo>
                    <a:pt x="870" y="564"/>
                  </a:lnTo>
                  <a:lnTo>
                    <a:pt x="882" y="576"/>
                  </a:lnTo>
                  <a:lnTo>
                    <a:pt x="918" y="570"/>
                  </a:lnTo>
                  <a:lnTo>
                    <a:pt x="918" y="552"/>
                  </a:lnTo>
                  <a:lnTo>
                    <a:pt x="930" y="540"/>
                  </a:lnTo>
                  <a:lnTo>
                    <a:pt x="900" y="540"/>
                  </a:lnTo>
                  <a:lnTo>
                    <a:pt x="894" y="546"/>
                  </a:lnTo>
                  <a:lnTo>
                    <a:pt x="882" y="552"/>
                  </a:lnTo>
                  <a:lnTo>
                    <a:pt x="852" y="552"/>
                  </a:lnTo>
                  <a:lnTo>
                    <a:pt x="846" y="546"/>
                  </a:lnTo>
                  <a:lnTo>
                    <a:pt x="834" y="540"/>
                  </a:lnTo>
                  <a:lnTo>
                    <a:pt x="828" y="534"/>
                  </a:lnTo>
                  <a:lnTo>
                    <a:pt x="828" y="522"/>
                  </a:lnTo>
                  <a:lnTo>
                    <a:pt x="822" y="516"/>
                  </a:lnTo>
                  <a:lnTo>
                    <a:pt x="810" y="516"/>
                  </a:lnTo>
                  <a:lnTo>
                    <a:pt x="786" y="498"/>
                  </a:lnTo>
                  <a:lnTo>
                    <a:pt x="750" y="492"/>
                  </a:lnTo>
                  <a:lnTo>
                    <a:pt x="744" y="480"/>
                  </a:lnTo>
                  <a:lnTo>
                    <a:pt x="810" y="480"/>
                  </a:lnTo>
                  <a:lnTo>
                    <a:pt x="822" y="474"/>
                  </a:lnTo>
                  <a:lnTo>
                    <a:pt x="834" y="462"/>
                  </a:lnTo>
                  <a:lnTo>
                    <a:pt x="846" y="468"/>
                  </a:lnTo>
                  <a:lnTo>
                    <a:pt x="852" y="462"/>
                  </a:lnTo>
                  <a:lnTo>
                    <a:pt x="864" y="456"/>
                  </a:lnTo>
                  <a:lnTo>
                    <a:pt x="870" y="450"/>
                  </a:lnTo>
                  <a:lnTo>
                    <a:pt x="882" y="444"/>
                  </a:lnTo>
                  <a:lnTo>
                    <a:pt x="906" y="444"/>
                  </a:lnTo>
                  <a:lnTo>
                    <a:pt x="918" y="438"/>
                  </a:lnTo>
                  <a:lnTo>
                    <a:pt x="930" y="438"/>
                  </a:lnTo>
                  <a:lnTo>
                    <a:pt x="978" y="408"/>
                  </a:lnTo>
                  <a:lnTo>
                    <a:pt x="1014" y="408"/>
                  </a:lnTo>
                  <a:lnTo>
                    <a:pt x="1014" y="372"/>
                  </a:lnTo>
                  <a:lnTo>
                    <a:pt x="1032" y="372"/>
                  </a:lnTo>
                  <a:lnTo>
                    <a:pt x="1038" y="366"/>
                  </a:lnTo>
                  <a:lnTo>
                    <a:pt x="1038" y="360"/>
                  </a:lnTo>
                  <a:lnTo>
                    <a:pt x="1050" y="348"/>
                  </a:lnTo>
                  <a:lnTo>
                    <a:pt x="1080" y="348"/>
                  </a:lnTo>
                  <a:lnTo>
                    <a:pt x="1092" y="342"/>
                  </a:lnTo>
                  <a:lnTo>
                    <a:pt x="1104" y="342"/>
                  </a:lnTo>
                  <a:lnTo>
                    <a:pt x="1116" y="330"/>
                  </a:lnTo>
                  <a:lnTo>
                    <a:pt x="1116" y="324"/>
                  </a:lnTo>
                  <a:lnTo>
                    <a:pt x="1110" y="312"/>
                  </a:lnTo>
                  <a:lnTo>
                    <a:pt x="1110" y="300"/>
                  </a:lnTo>
                  <a:lnTo>
                    <a:pt x="1098" y="294"/>
                  </a:lnTo>
                  <a:lnTo>
                    <a:pt x="1086" y="282"/>
                  </a:lnTo>
                  <a:lnTo>
                    <a:pt x="1092" y="276"/>
                  </a:lnTo>
                  <a:lnTo>
                    <a:pt x="1110" y="276"/>
                  </a:lnTo>
                  <a:lnTo>
                    <a:pt x="1116" y="270"/>
                  </a:lnTo>
                  <a:lnTo>
                    <a:pt x="1110" y="264"/>
                  </a:lnTo>
                  <a:lnTo>
                    <a:pt x="1104" y="264"/>
                  </a:lnTo>
                  <a:lnTo>
                    <a:pt x="1098" y="258"/>
                  </a:lnTo>
                  <a:lnTo>
                    <a:pt x="1092" y="258"/>
                  </a:lnTo>
                  <a:lnTo>
                    <a:pt x="1110" y="246"/>
                  </a:lnTo>
                  <a:lnTo>
                    <a:pt x="1110" y="222"/>
                  </a:lnTo>
                  <a:lnTo>
                    <a:pt x="1104" y="216"/>
                  </a:lnTo>
                  <a:lnTo>
                    <a:pt x="1080" y="216"/>
                  </a:lnTo>
                  <a:lnTo>
                    <a:pt x="1062" y="204"/>
                  </a:lnTo>
                  <a:lnTo>
                    <a:pt x="1056" y="198"/>
                  </a:lnTo>
                  <a:lnTo>
                    <a:pt x="1056" y="192"/>
                  </a:lnTo>
                  <a:lnTo>
                    <a:pt x="1014" y="192"/>
                  </a:lnTo>
                  <a:lnTo>
                    <a:pt x="1002" y="186"/>
                  </a:lnTo>
                  <a:lnTo>
                    <a:pt x="996" y="180"/>
                  </a:lnTo>
                  <a:lnTo>
                    <a:pt x="978" y="180"/>
                  </a:lnTo>
                  <a:lnTo>
                    <a:pt x="966" y="186"/>
                  </a:lnTo>
                  <a:lnTo>
                    <a:pt x="942" y="162"/>
                  </a:lnTo>
                  <a:lnTo>
                    <a:pt x="936" y="150"/>
                  </a:lnTo>
                  <a:lnTo>
                    <a:pt x="924" y="150"/>
                  </a:lnTo>
                  <a:lnTo>
                    <a:pt x="918" y="156"/>
                  </a:lnTo>
                  <a:lnTo>
                    <a:pt x="918" y="162"/>
                  </a:lnTo>
                  <a:lnTo>
                    <a:pt x="912" y="156"/>
                  </a:lnTo>
                  <a:lnTo>
                    <a:pt x="864" y="156"/>
                  </a:lnTo>
                  <a:lnTo>
                    <a:pt x="858" y="150"/>
                  </a:lnTo>
                  <a:lnTo>
                    <a:pt x="846" y="150"/>
                  </a:lnTo>
                  <a:lnTo>
                    <a:pt x="840" y="144"/>
                  </a:lnTo>
                  <a:lnTo>
                    <a:pt x="816" y="150"/>
                  </a:lnTo>
                  <a:lnTo>
                    <a:pt x="810" y="150"/>
                  </a:lnTo>
                  <a:lnTo>
                    <a:pt x="798" y="102"/>
                  </a:lnTo>
                  <a:lnTo>
                    <a:pt x="756" y="84"/>
                  </a:lnTo>
                  <a:lnTo>
                    <a:pt x="720" y="84"/>
                  </a:lnTo>
                  <a:lnTo>
                    <a:pt x="720" y="66"/>
                  </a:lnTo>
                  <a:lnTo>
                    <a:pt x="714" y="48"/>
                  </a:lnTo>
                  <a:lnTo>
                    <a:pt x="720" y="48"/>
                  </a:lnTo>
                  <a:lnTo>
                    <a:pt x="726" y="42"/>
                  </a:lnTo>
                  <a:lnTo>
                    <a:pt x="726" y="30"/>
                  </a:lnTo>
                  <a:lnTo>
                    <a:pt x="720" y="30"/>
                  </a:lnTo>
                  <a:lnTo>
                    <a:pt x="708" y="24"/>
                  </a:lnTo>
                  <a:lnTo>
                    <a:pt x="702" y="18"/>
                  </a:lnTo>
                  <a:lnTo>
                    <a:pt x="696" y="18"/>
                  </a:lnTo>
                  <a:lnTo>
                    <a:pt x="690" y="0"/>
                  </a:lnTo>
                  <a:lnTo>
                    <a:pt x="642" y="0"/>
                  </a:lnTo>
                  <a:lnTo>
                    <a:pt x="630" y="6"/>
                  </a:lnTo>
                  <a:lnTo>
                    <a:pt x="600" y="6"/>
                  </a:lnTo>
                  <a:lnTo>
                    <a:pt x="600" y="18"/>
                  </a:lnTo>
                  <a:lnTo>
                    <a:pt x="594" y="24"/>
                  </a:lnTo>
                  <a:lnTo>
                    <a:pt x="558" y="24"/>
                  </a:lnTo>
                  <a:lnTo>
                    <a:pt x="546" y="18"/>
                  </a:lnTo>
                  <a:lnTo>
                    <a:pt x="516" y="18"/>
                  </a:lnTo>
                  <a:lnTo>
                    <a:pt x="510" y="30"/>
                  </a:lnTo>
                  <a:lnTo>
                    <a:pt x="498" y="36"/>
                  </a:lnTo>
                  <a:lnTo>
                    <a:pt x="492" y="42"/>
                  </a:lnTo>
                  <a:lnTo>
                    <a:pt x="486" y="54"/>
                  </a:lnTo>
                  <a:lnTo>
                    <a:pt x="492" y="60"/>
                  </a:lnTo>
                  <a:lnTo>
                    <a:pt x="492" y="72"/>
                  </a:lnTo>
                  <a:lnTo>
                    <a:pt x="486" y="78"/>
                  </a:lnTo>
                  <a:lnTo>
                    <a:pt x="468" y="78"/>
                  </a:lnTo>
                  <a:lnTo>
                    <a:pt x="462" y="72"/>
                  </a:lnTo>
                  <a:lnTo>
                    <a:pt x="438" y="72"/>
                  </a:lnTo>
                  <a:lnTo>
                    <a:pt x="426" y="78"/>
                  </a:lnTo>
                  <a:lnTo>
                    <a:pt x="420" y="78"/>
                  </a:lnTo>
                  <a:lnTo>
                    <a:pt x="420" y="66"/>
                  </a:lnTo>
                  <a:lnTo>
                    <a:pt x="414" y="60"/>
                  </a:lnTo>
                  <a:lnTo>
                    <a:pt x="396" y="60"/>
                  </a:lnTo>
                  <a:lnTo>
                    <a:pt x="390" y="66"/>
                  </a:lnTo>
                  <a:lnTo>
                    <a:pt x="390" y="72"/>
                  </a:lnTo>
                  <a:lnTo>
                    <a:pt x="378" y="60"/>
                  </a:lnTo>
                  <a:lnTo>
                    <a:pt x="366" y="66"/>
                  </a:lnTo>
                  <a:lnTo>
                    <a:pt x="360" y="60"/>
                  </a:lnTo>
                  <a:lnTo>
                    <a:pt x="342" y="66"/>
                  </a:lnTo>
                  <a:lnTo>
                    <a:pt x="336" y="54"/>
                  </a:lnTo>
                  <a:lnTo>
                    <a:pt x="324" y="66"/>
                  </a:lnTo>
                  <a:lnTo>
                    <a:pt x="306" y="54"/>
                  </a:lnTo>
                  <a:lnTo>
                    <a:pt x="300" y="60"/>
                  </a:lnTo>
                  <a:lnTo>
                    <a:pt x="282" y="48"/>
                  </a:lnTo>
                  <a:lnTo>
                    <a:pt x="258" y="42"/>
                  </a:lnTo>
                  <a:lnTo>
                    <a:pt x="222" y="42"/>
                  </a:lnTo>
                  <a:lnTo>
                    <a:pt x="216" y="36"/>
                  </a:lnTo>
                  <a:lnTo>
                    <a:pt x="216" y="30"/>
                  </a:lnTo>
                  <a:lnTo>
                    <a:pt x="168" y="30"/>
                  </a:lnTo>
                  <a:lnTo>
                    <a:pt x="162" y="36"/>
                  </a:lnTo>
                  <a:lnTo>
                    <a:pt x="150" y="42"/>
                  </a:lnTo>
                  <a:lnTo>
                    <a:pt x="114" y="42"/>
                  </a:lnTo>
                  <a:lnTo>
                    <a:pt x="114" y="48"/>
                  </a:lnTo>
                  <a:lnTo>
                    <a:pt x="96" y="66"/>
                  </a:lnTo>
                  <a:lnTo>
                    <a:pt x="78" y="66"/>
                  </a:lnTo>
                  <a:lnTo>
                    <a:pt x="66" y="60"/>
                  </a:lnTo>
                  <a:lnTo>
                    <a:pt x="72" y="78"/>
                  </a:lnTo>
                  <a:lnTo>
                    <a:pt x="90" y="96"/>
                  </a:lnTo>
                  <a:lnTo>
                    <a:pt x="90" y="102"/>
                  </a:lnTo>
                  <a:lnTo>
                    <a:pt x="102" y="108"/>
                  </a:lnTo>
                  <a:lnTo>
                    <a:pt x="108" y="114"/>
                  </a:lnTo>
                  <a:lnTo>
                    <a:pt x="102" y="126"/>
                  </a:lnTo>
                  <a:lnTo>
                    <a:pt x="108" y="132"/>
                  </a:lnTo>
                  <a:lnTo>
                    <a:pt x="108" y="138"/>
                  </a:lnTo>
                  <a:lnTo>
                    <a:pt x="114" y="144"/>
                  </a:lnTo>
                  <a:lnTo>
                    <a:pt x="108" y="150"/>
                  </a:lnTo>
                  <a:lnTo>
                    <a:pt x="102" y="150"/>
                  </a:lnTo>
                  <a:lnTo>
                    <a:pt x="96" y="156"/>
                  </a:lnTo>
                  <a:lnTo>
                    <a:pt x="84" y="156"/>
                  </a:lnTo>
                  <a:lnTo>
                    <a:pt x="30" y="204"/>
                  </a:lnTo>
                  <a:lnTo>
                    <a:pt x="30" y="246"/>
                  </a:lnTo>
                  <a:lnTo>
                    <a:pt x="42" y="258"/>
                  </a:lnTo>
                  <a:lnTo>
                    <a:pt x="18" y="258"/>
                  </a:lnTo>
                  <a:lnTo>
                    <a:pt x="18" y="270"/>
                  </a:lnTo>
                  <a:lnTo>
                    <a:pt x="12" y="276"/>
                  </a:lnTo>
                  <a:lnTo>
                    <a:pt x="12" y="282"/>
                  </a:lnTo>
                  <a:lnTo>
                    <a:pt x="6" y="288"/>
                  </a:lnTo>
                  <a:lnTo>
                    <a:pt x="0" y="288"/>
                  </a:lnTo>
                  <a:lnTo>
                    <a:pt x="0" y="306"/>
                  </a:lnTo>
                  <a:lnTo>
                    <a:pt x="6" y="306"/>
                  </a:lnTo>
                  <a:lnTo>
                    <a:pt x="24" y="324"/>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42" name="Uganda" descr="© INSCALE GmbH, 05.05.2010&#10;http://www.presentationload.com/">
              <a:extLst>
                <a:ext uri="{FF2B5EF4-FFF2-40B4-BE49-F238E27FC236}">
                  <a16:creationId xmlns:a16="http://schemas.microsoft.com/office/drawing/2014/main" id="{5DCCAF0A-AF5A-4980-A79C-E19F8EC24934}"/>
                </a:ext>
              </a:extLst>
            </p:cNvPr>
            <p:cNvSpPr>
              <a:spLocks noEditPoints="1"/>
            </p:cNvSpPr>
            <p:nvPr/>
          </p:nvSpPr>
          <p:spPr bwMode="gray">
            <a:xfrm>
              <a:off x="4966683" y="4119348"/>
              <a:ext cx="155234" cy="183459"/>
            </a:xfrm>
            <a:custGeom>
              <a:avLst/>
              <a:gdLst>
                <a:gd name="T0" fmla="*/ 2147483647 w 390"/>
                <a:gd name="T1" fmla="*/ 2147483647 h 462"/>
                <a:gd name="T2" fmla="*/ 2147483647 w 390"/>
                <a:gd name="T3" fmla="*/ 2147483647 h 462"/>
                <a:gd name="T4" fmla="*/ 2147483647 w 390"/>
                <a:gd name="T5" fmla="*/ 2147483647 h 462"/>
                <a:gd name="T6" fmla="*/ 2147483647 w 390"/>
                <a:gd name="T7" fmla="*/ 2147483647 h 462"/>
                <a:gd name="T8" fmla="*/ 2147483647 w 390"/>
                <a:gd name="T9" fmla="*/ 2147483647 h 462"/>
                <a:gd name="T10" fmla="*/ 2147483647 w 390"/>
                <a:gd name="T11" fmla="*/ 2147483647 h 462"/>
                <a:gd name="T12" fmla="*/ 2147483647 w 390"/>
                <a:gd name="T13" fmla="*/ 2147483647 h 462"/>
                <a:gd name="T14" fmla="*/ 2147483647 w 390"/>
                <a:gd name="T15" fmla="*/ 2147483647 h 462"/>
                <a:gd name="T16" fmla="*/ 2147483647 w 390"/>
                <a:gd name="T17" fmla="*/ 2147483647 h 462"/>
                <a:gd name="T18" fmla="*/ 2147483647 w 390"/>
                <a:gd name="T19" fmla="*/ 2147483647 h 462"/>
                <a:gd name="T20" fmla="*/ 2147483647 w 390"/>
                <a:gd name="T21" fmla="*/ 2147483647 h 462"/>
                <a:gd name="T22" fmla="*/ 2147483647 w 390"/>
                <a:gd name="T23" fmla="*/ 2147483647 h 462"/>
                <a:gd name="T24" fmla="*/ 2147483647 w 390"/>
                <a:gd name="T25" fmla="*/ 0 h 462"/>
                <a:gd name="T26" fmla="*/ 2147483647 w 390"/>
                <a:gd name="T27" fmla="*/ 2147483647 h 462"/>
                <a:gd name="T28" fmla="*/ 2147483647 w 390"/>
                <a:gd name="T29" fmla="*/ 2147483647 h 462"/>
                <a:gd name="T30" fmla="*/ 2147483647 w 390"/>
                <a:gd name="T31" fmla="*/ 2147483647 h 462"/>
                <a:gd name="T32" fmla="*/ 2147483647 w 390"/>
                <a:gd name="T33" fmla="*/ 2147483647 h 462"/>
                <a:gd name="T34" fmla="*/ 2147483647 w 390"/>
                <a:gd name="T35" fmla="*/ 2147483647 h 462"/>
                <a:gd name="T36" fmla="*/ 2147483647 w 390"/>
                <a:gd name="T37" fmla="*/ 2147483647 h 462"/>
                <a:gd name="T38" fmla="*/ 2147483647 w 390"/>
                <a:gd name="T39" fmla="*/ 2147483647 h 462"/>
                <a:gd name="T40" fmla="*/ 2147483647 w 390"/>
                <a:gd name="T41" fmla="*/ 2147483647 h 462"/>
                <a:gd name="T42" fmla="*/ 2147483647 w 390"/>
                <a:gd name="T43" fmla="*/ 2147483647 h 462"/>
                <a:gd name="T44" fmla="*/ 2147483647 w 390"/>
                <a:gd name="T45" fmla="*/ 2147483647 h 462"/>
                <a:gd name="T46" fmla="*/ 2147483647 w 390"/>
                <a:gd name="T47" fmla="*/ 2147483647 h 462"/>
                <a:gd name="T48" fmla="*/ 2147483647 w 390"/>
                <a:gd name="T49" fmla="*/ 2147483647 h 462"/>
                <a:gd name="T50" fmla="*/ 2147483647 w 390"/>
                <a:gd name="T51" fmla="*/ 2147483647 h 462"/>
                <a:gd name="T52" fmla="*/ 2147483647 w 390"/>
                <a:gd name="T53" fmla="*/ 2147483647 h 462"/>
                <a:gd name="T54" fmla="*/ 2147483647 w 390"/>
                <a:gd name="T55" fmla="*/ 2147483647 h 462"/>
                <a:gd name="T56" fmla="*/ 2147483647 w 390"/>
                <a:gd name="T57" fmla="*/ 2147483647 h 462"/>
                <a:gd name="T58" fmla="*/ 2147483647 w 390"/>
                <a:gd name="T59" fmla="*/ 2147483647 h 462"/>
                <a:gd name="T60" fmla="*/ 2147483647 w 390"/>
                <a:gd name="T61" fmla="*/ 2147483647 h 462"/>
                <a:gd name="T62" fmla="*/ 2147483647 w 390"/>
                <a:gd name="T63" fmla="*/ 2147483647 h 462"/>
                <a:gd name="T64" fmla="*/ 2147483647 w 390"/>
                <a:gd name="T65" fmla="*/ 2147483647 h 462"/>
                <a:gd name="T66" fmla="*/ 2147483647 w 390"/>
                <a:gd name="T67" fmla="*/ 2147483647 h 462"/>
                <a:gd name="T68" fmla="*/ 2147483647 w 390"/>
                <a:gd name="T69" fmla="*/ 2147483647 h 462"/>
                <a:gd name="T70" fmla="*/ 2147483647 w 390"/>
                <a:gd name="T71" fmla="*/ 2147483647 h 462"/>
                <a:gd name="T72" fmla="*/ 2147483647 w 390"/>
                <a:gd name="T73" fmla="*/ 2147483647 h 462"/>
                <a:gd name="T74" fmla="*/ 2147483647 w 390"/>
                <a:gd name="T75" fmla="*/ 2147483647 h 462"/>
                <a:gd name="T76" fmla="*/ 2147483647 w 390"/>
                <a:gd name="T77" fmla="*/ 2147483647 h 462"/>
                <a:gd name="T78" fmla="*/ 2147483647 w 390"/>
                <a:gd name="T79" fmla="*/ 2147483647 h 462"/>
                <a:gd name="T80" fmla="*/ 2147483647 w 390"/>
                <a:gd name="T81" fmla="*/ 2147483647 h 462"/>
                <a:gd name="T82" fmla="*/ 2147483647 w 390"/>
                <a:gd name="T83" fmla="*/ 2147483647 h 462"/>
                <a:gd name="T84" fmla="*/ 2147483647 w 390"/>
                <a:gd name="T85" fmla="*/ 2147483647 h 462"/>
                <a:gd name="T86" fmla="*/ 2147483647 w 390"/>
                <a:gd name="T87" fmla="*/ 2147483647 h 462"/>
                <a:gd name="T88" fmla="*/ 2147483647 w 390"/>
                <a:gd name="T89" fmla="*/ 2147483647 h 462"/>
                <a:gd name="T90" fmla="*/ 2147483647 w 390"/>
                <a:gd name="T91" fmla="*/ 2147483647 h 462"/>
                <a:gd name="T92" fmla="*/ 2147483647 w 390"/>
                <a:gd name="T93" fmla="*/ 2147483647 h 462"/>
                <a:gd name="T94" fmla="*/ 2147483647 w 390"/>
                <a:gd name="T95" fmla="*/ 2147483647 h 462"/>
                <a:gd name="T96" fmla="*/ 2147483647 w 390"/>
                <a:gd name="T97" fmla="*/ 2147483647 h 462"/>
                <a:gd name="T98" fmla="*/ 2147483647 w 390"/>
                <a:gd name="T99" fmla="*/ 2147483647 h 462"/>
                <a:gd name="T100" fmla="*/ 2147483647 w 390"/>
                <a:gd name="T101" fmla="*/ 2147483647 h 462"/>
                <a:gd name="T102" fmla="*/ 2147483647 w 390"/>
                <a:gd name="T103" fmla="*/ 2147483647 h 462"/>
                <a:gd name="T104" fmla="*/ 2147483647 w 390"/>
                <a:gd name="T105" fmla="*/ 2147483647 h 462"/>
                <a:gd name="T106" fmla="*/ 2147483647 w 390"/>
                <a:gd name="T107" fmla="*/ 2147483647 h 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0"/>
                <a:gd name="T163" fmla="*/ 0 h 462"/>
                <a:gd name="T164" fmla="*/ 390 w 390"/>
                <a:gd name="T165" fmla="*/ 462 h 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0" h="462">
                  <a:moveTo>
                    <a:pt x="306" y="426"/>
                  </a:moveTo>
                  <a:lnTo>
                    <a:pt x="318" y="426"/>
                  </a:lnTo>
                  <a:lnTo>
                    <a:pt x="318" y="420"/>
                  </a:lnTo>
                  <a:lnTo>
                    <a:pt x="306" y="420"/>
                  </a:lnTo>
                  <a:lnTo>
                    <a:pt x="306" y="426"/>
                  </a:lnTo>
                  <a:close/>
                  <a:moveTo>
                    <a:pt x="390" y="192"/>
                  </a:moveTo>
                  <a:lnTo>
                    <a:pt x="384" y="180"/>
                  </a:lnTo>
                  <a:lnTo>
                    <a:pt x="378" y="174"/>
                  </a:lnTo>
                  <a:lnTo>
                    <a:pt x="366" y="150"/>
                  </a:lnTo>
                  <a:lnTo>
                    <a:pt x="366" y="144"/>
                  </a:lnTo>
                  <a:lnTo>
                    <a:pt x="372" y="138"/>
                  </a:lnTo>
                  <a:lnTo>
                    <a:pt x="378" y="138"/>
                  </a:lnTo>
                  <a:lnTo>
                    <a:pt x="384" y="132"/>
                  </a:lnTo>
                  <a:lnTo>
                    <a:pt x="348" y="90"/>
                  </a:lnTo>
                  <a:lnTo>
                    <a:pt x="354" y="84"/>
                  </a:lnTo>
                  <a:lnTo>
                    <a:pt x="336" y="66"/>
                  </a:lnTo>
                  <a:lnTo>
                    <a:pt x="336" y="60"/>
                  </a:lnTo>
                  <a:lnTo>
                    <a:pt x="342" y="54"/>
                  </a:lnTo>
                  <a:lnTo>
                    <a:pt x="342" y="42"/>
                  </a:lnTo>
                  <a:lnTo>
                    <a:pt x="336" y="42"/>
                  </a:lnTo>
                  <a:lnTo>
                    <a:pt x="336" y="48"/>
                  </a:lnTo>
                  <a:lnTo>
                    <a:pt x="330" y="42"/>
                  </a:lnTo>
                  <a:lnTo>
                    <a:pt x="324" y="42"/>
                  </a:lnTo>
                  <a:lnTo>
                    <a:pt x="324" y="18"/>
                  </a:lnTo>
                  <a:lnTo>
                    <a:pt x="318" y="6"/>
                  </a:lnTo>
                  <a:lnTo>
                    <a:pt x="312" y="0"/>
                  </a:lnTo>
                  <a:lnTo>
                    <a:pt x="300" y="0"/>
                  </a:lnTo>
                  <a:lnTo>
                    <a:pt x="300" y="6"/>
                  </a:lnTo>
                  <a:lnTo>
                    <a:pt x="294" y="12"/>
                  </a:lnTo>
                  <a:lnTo>
                    <a:pt x="294" y="18"/>
                  </a:lnTo>
                  <a:lnTo>
                    <a:pt x="276" y="36"/>
                  </a:lnTo>
                  <a:lnTo>
                    <a:pt x="252" y="36"/>
                  </a:lnTo>
                  <a:lnTo>
                    <a:pt x="246" y="30"/>
                  </a:lnTo>
                  <a:lnTo>
                    <a:pt x="246" y="24"/>
                  </a:lnTo>
                  <a:lnTo>
                    <a:pt x="234" y="24"/>
                  </a:lnTo>
                  <a:lnTo>
                    <a:pt x="222" y="36"/>
                  </a:lnTo>
                  <a:lnTo>
                    <a:pt x="198" y="36"/>
                  </a:lnTo>
                  <a:lnTo>
                    <a:pt x="180" y="60"/>
                  </a:lnTo>
                  <a:lnTo>
                    <a:pt x="156" y="30"/>
                  </a:lnTo>
                  <a:lnTo>
                    <a:pt x="150" y="30"/>
                  </a:lnTo>
                  <a:lnTo>
                    <a:pt x="144" y="36"/>
                  </a:lnTo>
                  <a:lnTo>
                    <a:pt x="144" y="42"/>
                  </a:lnTo>
                  <a:lnTo>
                    <a:pt x="132" y="42"/>
                  </a:lnTo>
                  <a:lnTo>
                    <a:pt x="120" y="36"/>
                  </a:lnTo>
                  <a:lnTo>
                    <a:pt x="114" y="30"/>
                  </a:lnTo>
                  <a:lnTo>
                    <a:pt x="102" y="30"/>
                  </a:lnTo>
                  <a:lnTo>
                    <a:pt x="84" y="48"/>
                  </a:lnTo>
                  <a:lnTo>
                    <a:pt x="90" y="72"/>
                  </a:lnTo>
                  <a:lnTo>
                    <a:pt x="72" y="90"/>
                  </a:lnTo>
                  <a:lnTo>
                    <a:pt x="84" y="96"/>
                  </a:lnTo>
                  <a:lnTo>
                    <a:pt x="90" y="102"/>
                  </a:lnTo>
                  <a:lnTo>
                    <a:pt x="90" y="108"/>
                  </a:lnTo>
                  <a:lnTo>
                    <a:pt x="84" y="114"/>
                  </a:lnTo>
                  <a:lnTo>
                    <a:pt x="78" y="126"/>
                  </a:lnTo>
                  <a:lnTo>
                    <a:pt x="78" y="138"/>
                  </a:lnTo>
                  <a:lnTo>
                    <a:pt x="84" y="144"/>
                  </a:lnTo>
                  <a:lnTo>
                    <a:pt x="96" y="144"/>
                  </a:lnTo>
                  <a:lnTo>
                    <a:pt x="108" y="150"/>
                  </a:lnTo>
                  <a:lnTo>
                    <a:pt x="114" y="156"/>
                  </a:lnTo>
                  <a:lnTo>
                    <a:pt x="114" y="168"/>
                  </a:lnTo>
                  <a:lnTo>
                    <a:pt x="108" y="180"/>
                  </a:lnTo>
                  <a:lnTo>
                    <a:pt x="96" y="192"/>
                  </a:lnTo>
                  <a:lnTo>
                    <a:pt x="84" y="216"/>
                  </a:lnTo>
                  <a:lnTo>
                    <a:pt x="72" y="222"/>
                  </a:lnTo>
                  <a:lnTo>
                    <a:pt x="66" y="234"/>
                  </a:lnTo>
                  <a:lnTo>
                    <a:pt x="42" y="246"/>
                  </a:lnTo>
                  <a:lnTo>
                    <a:pt x="42" y="258"/>
                  </a:lnTo>
                  <a:lnTo>
                    <a:pt x="24" y="270"/>
                  </a:lnTo>
                  <a:lnTo>
                    <a:pt x="6" y="342"/>
                  </a:lnTo>
                  <a:lnTo>
                    <a:pt x="6" y="372"/>
                  </a:lnTo>
                  <a:lnTo>
                    <a:pt x="0" y="450"/>
                  </a:lnTo>
                  <a:lnTo>
                    <a:pt x="12" y="450"/>
                  </a:lnTo>
                  <a:lnTo>
                    <a:pt x="24" y="462"/>
                  </a:lnTo>
                  <a:lnTo>
                    <a:pt x="30" y="462"/>
                  </a:lnTo>
                  <a:lnTo>
                    <a:pt x="42" y="438"/>
                  </a:lnTo>
                  <a:lnTo>
                    <a:pt x="48" y="432"/>
                  </a:lnTo>
                  <a:lnTo>
                    <a:pt x="48" y="426"/>
                  </a:lnTo>
                  <a:lnTo>
                    <a:pt x="72" y="420"/>
                  </a:lnTo>
                  <a:lnTo>
                    <a:pt x="162" y="426"/>
                  </a:lnTo>
                  <a:lnTo>
                    <a:pt x="162" y="414"/>
                  </a:lnTo>
                  <a:lnTo>
                    <a:pt x="156" y="408"/>
                  </a:lnTo>
                  <a:lnTo>
                    <a:pt x="150" y="396"/>
                  </a:lnTo>
                  <a:lnTo>
                    <a:pt x="162" y="372"/>
                  </a:lnTo>
                  <a:lnTo>
                    <a:pt x="168" y="366"/>
                  </a:lnTo>
                  <a:lnTo>
                    <a:pt x="168" y="342"/>
                  </a:lnTo>
                  <a:lnTo>
                    <a:pt x="174" y="336"/>
                  </a:lnTo>
                  <a:lnTo>
                    <a:pt x="186" y="330"/>
                  </a:lnTo>
                  <a:lnTo>
                    <a:pt x="204" y="324"/>
                  </a:lnTo>
                  <a:lnTo>
                    <a:pt x="240" y="324"/>
                  </a:lnTo>
                  <a:lnTo>
                    <a:pt x="252" y="312"/>
                  </a:lnTo>
                  <a:lnTo>
                    <a:pt x="258" y="300"/>
                  </a:lnTo>
                  <a:lnTo>
                    <a:pt x="264" y="300"/>
                  </a:lnTo>
                  <a:lnTo>
                    <a:pt x="264" y="306"/>
                  </a:lnTo>
                  <a:lnTo>
                    <a:pt x="270" y="312"/>
                  </a:lnTo>
                  <a:lnTo>
                    <a:pt x="270" y="330"/>
                  </a:lnTo>
                  <a:lnTo>
                    <a:pt x="276" y="324"/>
                  </a:lnTo>
                  <a:lnTo>
                    <a:pt x="312" y="324"/>
                  </a:lnTo>
                  <a:lnTo>
                    <a:pt x="312" y="330"/>
                  </a:lnTo>
                  <a:lnTo>
                    <a:pt x="312" y="318"/>
                  </a:lnTo>
                  <a:lnTo>
                    <a:pt x="318" y="306"/>
                  </a:lnTo>
                  <a:lnTo>
                    <a:pt x="324" y="300"/>
                  </a:lnTo>
                  <a:lnTo>
                    <a:pt x="330" y="282"/>
                  </a:lnTo>
                  <a:lnTo>
                    <a:pt x="348" y="270"/>
                  </a:lnTo>
                  <a:lnTo>
                    <a:pt x="348" y="246"/>
                  </a:lnTo>
                  <a:lnTo>
                    <a:pt x="354" y="240"/>
                  </a:lnTo>
                  <a:lnTo>
                    <a:pt x="372" y="240"/>
                  </a:lnTo>
                  <a:lnTo>
                    <a:pt x="378" y="216"/>
                  </a:lnTo>
                  <a:lnTo>
                    <a:pt x="390" y="204"/>
                  </a:lnTo>
                  <a:lnTo>
                    <a:pt x="390" y="19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43" name="Türkei" descr="© INSCALE GmbH, 05.05.2010&#10;http://www.presentationload.com/">
              <a:extLst>
                <a:ext uri="{FF2B5EF4-FFF2-40B4-BE49-F238E27FC236}">
                  <a16:creationId xmlns:a16="http://schemas.microsoft.com/office/drawing/2014/main" id="{60E56999-0BFA-4823-A2B4-58CEE2A8CA75}"/>
                </a:ext>
              </a:extLst>
            </p:cNvPr>
            <p:cNvSpPr>
              <a:spLocks noEditPoints="1"/>
            </p:cNvSpPr>
            <p:nvPr/>
          </p:nvSpPr>
          <p:spPr bwMode="gray">
            <a:xfrm>
              <a:off x="4805176" y="2902562"/>
              <a:ext cx="528423" cy="200707"/>
            </a:xfrm>
            <a:custGeom>
              <a:avLst/>
              <a:gdLst>
                <a:gd name="T0" fmla="*/ 2147483647 w 1332"/>
                <a:gd name="T1" fmla="*/ 2147483647 h 510"/>
                <a:gd name="T2" fmla="*/ 2147483647 w 1332"/>
                <a:gd name="T3" fmla="*/ 2147483647 h 510"/>
                <a:gd name="T4" fmla="*/ 2147483647 w 1332"/>
                <a:gd name="T5" fmla="*/ 2147483647 h 510"/>
                <a:gd name="T6" fmla="*/ 2147483647 w 1332"/>
                <a:gd name="T7" fmla="*/ 2147483647 h 510"/>
                <a:gd name="T8" fmla="*/ 2147483647 w 1332"/>
                <a:gd name="T9" fmla="*/ 2147483647 h 510"/>
                <a:gd name="T10" fmla="*/ 2147483647 w 1332"/>
                <a:gd name="T11" fmla="*/ 2147483647 h 510"/>
                <a:gd name="T12" fmla="*/ 2147483647 w 1332"/>
                <a:gd name="T13" fmla="*/ 2147483647 h 510"/>
                <a:gd name="T14" fmla="*/ 2147483647 w 1332"/>
                <a:gd name="T15" fmla="*/ 2147483647 h 510"/>
                <a:gd name="T16" fmla="*/ 2147483647 w 1332"/>
                <a:gd name="T17" fmla="*/ 2147483647 h 510"/>
                <a:gd name="T18" fmla="*/ 2147483647 w 1332"/>
                <a:gd name="T19" fmla="*/ 2147483647 h 510"/>
                <a:gd name="T20" fmla="*/ 2147483647 w 1332"/>
                <a:gd name="T21" fmla="*/ 2147483647 h 510"/>
                <a:gd name="T22" fmla="*/ 2147483647 w 1332"/>
                <a:gd name="T23" fmla="*/ 2147483647 h 510"/>
                <a:gd name="T24" fmla="*/ 2147483647 w 1332"/>
                <a:gd name="T25" fmla="*/ 2147483647 h 510"/>
                <a:gd name="T26" fmla="*/ 2147483647 w 1332"/>
                <a:gd name="T27" fmla="*/ 2147483647 h 510"/>
                <a:gd name="T28" fmla="*/ 2147483647 w 1332"/>
                <a:gd name="T29" fmla="*/ 2147483647 h 510"/>
                <a:gd name="T30" fmla="*/ 2147483647 w 1332"/>
                <a:gd name="T31" fmla="*/ 2147483647 h 510"/>
                <a:gd name="T32" fmla="*/ 2147483647 w 1332"/>
                <a:gd name="T33" fmla="*/ 2147483647 h 510"/>
                <a:gd name="T34" fmla="*/ 2147483647 w 1332"/>
                <a:gd name="T35" fmla="*/ 2147483647 h 510"/>
                <a:gd name="T36" fmla="*/ 2147483647 w 1332"/>
                <a:gd name="T37" fmla="*/ 2147483647 h 510"/>
                <a:gd name="T38" fmla="*/ 2147483647 w 1332"/>
                <a:gd name="T39" fmla="*/ 2147483647 h 510"/>
                <a:gd name="T40" fmla="*/ 2147483647 w 1332"/>
                <a:gd name="T41" fmla="*/ 2147483647 h 510"/>
                <a:gd name="T42" fmla="*/ 2147483647 w 1332"/>
                <a:gd name="T43" fmla="*/ 2147483647 h 510"/>
                <a:gd name="T44" fmla="*/ 2147483647 w 1332"/>
                <a:gd name="T45" fmla="*/ 2147483647 h 510"/>
                <a:gd name="T46" fmla="*/ 2147483647 w 1332"/>
                <a:gd name="T47" fmla="*/ 2147483647 h 510"/>
                <a:gd name="T48" fmla="*/ 2147483647 w 1332"/>
                <a:gd name="T49" fmla="*/ 2147483647 h 510"/>
                <a:gd name="T50" fmla="*/ 2147483647 w 1332"/>
                <a:gd name="T51" fmla="*/ 2147483647 h 510"/>
                <a:gd name="T52" fmla="*/ 2147483647 w 1332"/>
                <a:gd name="T53" fmla="*/ 2147483647 h 510"/>
                <a:gd name="T54" fmla="*/ 2147483647 w 1332"/>
                <a:gd name="T55" fmla="*/ 2147483647 h 510"/>
                <a:gd name="T56" fmla="*/ 2147483647 w 1332"/>
                <a:gd name="T57" fmla="*/ 2147483647 h 510"/>
                <a:gd name="T58" fmla="*/ 2147483647 w 1332"/>
                <a:gd name="T59" fmla="*/ 2147483647 h 510"/>
                <a:gd name="T60" fmla="*/ 2147483647 w 1332"/>
                <a:gd name="T61" fmla="*/ 2147483647 h 510"/>
                <a:gd name="T62" fmla="*/ 2147483647 w 1332"/>
                <a:gd name="T63" fmla="*/ 2147483647 h 510"/>
                <a:gd name="T64" fmla="*/ 2147483647 w 1332"/>
                <a:gd name="T65" fmla="*/ 2147483647 h 510"/>
                <a:gd name="T66" fmla="*/ 2147483647 w 1332"/>
                <a:gd name="T67" fmla="*/ 2147483647 h 510"/>
                <a:gd name="T68" fmla="*/ 2147483647 w 1332"/>
                <a:gd name="T69" fmla="*/ 2147483647 h 510"/>
                <a:gd name="T70" fmla="*/ 2147483647 w 1332"/>
                <a:gd name="T71" fmla="*/ 2147483647 h 510"/>
                <a:gd name="T72" fmla="*/ 2147483647 w 1332"/>
                <a:gd name="T73" fmla="*/ 2147483647 h 510"/>
                <a:gd name="T74" fmla="*/ 2147483647 w 1332"/>
                <a:gd name="T75" fmla="*/ 2147483647 h 510"/>
                <a:gd name="T76" fmla="*/ 2147483647 w 1332"/>
                <a:gd name="T77" fmla="*/ 2147483647 h 510"/>
                <a:gd name="T78" fmla="*/ 2147483647 w 1332"/>
                <a:gd name="T79" fmla="*/ 2147483647 h 510"/>
                <a:gd name="T80" fmla="*/ 2147483647 w 1332"/>
                <a:gd name="T81" fmla="*/ 2147483647 h 510"/>
                <a:gd name="T82" fmla="*/ 2147483647 w 1332"/>
                <a:gd name="T83" fmla="*/ 2147483647 h 510"/>
                <a:gd name="T84" fmla="*/ 2147483647 w 1332"/>
                <a:gd name="T85" fmla="*/ 2147483647 h 510"/>
                <a:gd name="T86" fmla="*/ 2147483647 w 1332"/>
                <a:gd name="T87" fmla="*/ 2147483647 h 510"/>
                <a:gd name="T88" fmla="*/ 2147483647 w 1332"/>
                <a:gd name="T89" fmla="*/ 2147483647 h 510"/>
                <a:gd name="T90" fmla="*/ 2147483647 w 1332"/>
                <a:gd name="T91" fmla="*/ 2147483647 h 510"/>
                <a:gd name="T92" fmla="*/ 2147483647 w 1332"/>
                <a:gd name="T93" fmla="*/ 2147483647 h 510"/>
                <a:gd name="T94" fmla="*/ 2147483647 w 1332"/>
                <a:gd name="T95" fmla="*/ 2147483647 h 510"/>
                <a:gd name="T96" fmla="*/ 2147483647 w 1332"/>
                <a:gd name="T97" fmla="*/ 2147483647 h 510"/>
                <a:gd name="T98" fmla="*/ 2147483647 w 1332"/>
                <a:gd name="T99" fmla="*/ 2147483647 h 510"/>
                <a:gd name="T100" fmla="*/ 2147483647 w 1332"/>
                <a:gd name="T101" fmla="*/ 2147483647 h 510"/>
                <a:gd name="T102" fmla="*/ 2147483647 w 1332"/>
                <a:gd name="T103" fmla="*/ 2147483647 h 510"/>
                <a:gd name="T104" fmla="*/ 2147483647 w 1332"/>
                <a:gd name="T105" fmla="*/ 2147483647 h 510"/>
                <a:gd name="T106" fmla="*/ 2147483647 w 1332"/>
                <a:gd name="T107" fmla="*/ 2147483647 h 510"/>
                <a:gd name="T108" fmla="*/ 2147483647 w 1332"/>
                <a:gd name="T109" fmla="*/ 2147483647 h 510"/>
                <a:gd name="T110" fmla="*/ 2147483647 w 1332"/>
                <a:gd name="T111" fmla="*/ 2147483647 h 510"/>
                <a:gd name="T112" fmla="*/ 2147483647 w 1332"/>
                <a:gd name="T113" fmla="*/ 2147483647 h 510"/>
                <a:gd name="T114" fmla="*/ 2147483647 w 1332"/>
                <a:gd name="T115" fmla="*/ 2147483647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32"/>
                <a:gd name="T175" fmla="*/ 0 h 510"/>
                <a:gd name="T176" fmla="*/ 1332 w 1332"/>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32" h="510">
                  <a:moveTo>
                    <a:pt x="6" y="192"/>
                  </a:moveTo>
                  <a:lnTo>
                    <a:pt x="24" y="186"/>
                  </a:lnTo>
                  <a:lnTo>
                    <a:pt x="30" y="174"/>
                  </a:lnTo>
                  <a:lnTo>
                    <a:pt x="0" y="174"/>
                  </a:lnTo>
                  <a:lnTo>
                    <a:pt x="6" y="192"/>
                  </a:lnTo>
                  <a:close/>
                  <a:moveTo>
                    <a:pt x="42" y="162"/>
                  </a:moveTo>
                  <a:lnTo>
                    <a:pt x="42" y="168"/>
                  </a:lnTo>
                  <a:lnTo>
                    <a:pt x="48" y="174"/>
                  </a:lnTo>
                  <a:lnTo>
                    <a:pt x="60" y="174"/>
                  </a:lnTo>
                  <a:lnTo>
                    <a:pt x="60" y="162"/>
                  </a:lnTo>
                  <a:lnTo>
                    <a:pt x="54" y="156"/>
                  </a:lnTo>
                  <a:lnTo>
                    <a:pt x="54" y="150"/>
                  </a:lnTo>
                  <a:lnTo>
                    <a:pt x="48" y="150"/>
                  </a:lnTo>
                  <a:lnTo>
                    <a:pt x="48" y="156"/>
                  </a:lnTo>
                  <a:lnTo>
                    <a:pt x="42" y="162"/>
                  </a:lnTo>
                  <a:close/>
                  <a:moveTo>
                    <a:pt x="96" y="138"/>
                  </a:moveTo>
                  <a:lnTo>
                    <a:pt x="66" y="138"/>
                  </a:lnTo>
                  <a:lnTo>
                    <a:pt x="66" y="174"/>
                  </a:lnTo>
                  <a:lnTo>
                    <a:pt x="78" y="150"/>
                  </a:lnTo>
                  <a:lnTo>
                    <a:pt x="96" y="138"/>
                  </a:lnTo>
                  <a:close/>
                  <a:moveTo>
                    <a:pt x="1332" y="402"/>
                  </a:moveTo>
                  <a:lnTo>
                    <a:pt x="1332" y="390"/>
                  </a:lnTo>
                  <a:lnTo>
                    <a:pt x="1308" y="384"/>
                  </a:lnTo>
                  <a:lnTo>
                    <a:pt x="1308" y="354"/>
                  </a:lnTo>
                  <a:lnTo>
                    <a:pt x="1272" y="336"/>
                  </a:lnTo>
                  <a:lnTo>
                    <a:pt x="1278" y="330"/>
                  </a:lnTo>
                  <a:lnTo>
                    <a:pt x="1284" y="318"/>
                  </a:lnTo>
                  <a:lnTo>
                    <a:pt x="1284" y="312"/>
                  </a:lnTo>
                  <a:lnTo>
                    <a:pt x="1290" y="306"/>
                  </a:lnTo>
                  <a:lnTo>
                    <a:pt x="1284" y="306"/>
                  </a:lnTo>
                  <a:lnTo>
                    <a:pt x="1278" y="300"/>
                  </a:lnTo>
                  <a:lnTo>
                    <a:pt x="1278" y="288"/>
                  </a:lnTo>
                  <a:lnTo>
                    <a:pt x="1266" y="276"/>
                  </a:lnTo>
                  <a:lnTo>
                    <a:pt x="1266" y="246"/>
                  </a:lnTo>
                  <a:lnTo>
                    <a:pt x="1248" y="222"/>
                  </a:lnTo>
                  <a:lnTo>
                    <a:pt x="1272" y="222"/>
                  </a:lnTo>
                  <a:lnTo>
                    <a:pt x="1272" y="216"/>
                  </a:lnTo>
                  <a:lnTo>
                    <a:pt x="1278" y="210"/>
                  </a:lnTo>
                  <a:lnTo>
                    <a:pt x="1272" y="198"/>
                  </a:lnTo>
                  <a:lnTo>
                    <a:pt x="1272" y="186"/>
                  </a:lnTo>
                  <a:lnTo>
                    <a:pt x="1266" y="180"/>
                  </a:lnTo>
                  <a:lnTo>
                    <a:pt x="1266" y="174"/>
                  </a:lnTo>
                  <a:lnTo>
                    <a:pt x="1260" y="174"/>
                  </a:lnTo>
                  <a:lnTo>
                    <a:pt x="1248" y="180"/>
                  </a:lnTo>
                  <a:lnTo>
                    <a:pt x="1236" y="180"/>
                  </a:lnTo>
                  <a:lnTo>
                    <a:pt x="1224" y="174"/>
                  </a:lnTo>
                  <a:lnTo>
                    <a:pt x="1218" y="168"/>
                  </a:lnTo>
                  <a:lnTo>
                    <a:pt x="1212" y="156"/>
                  </a:lnTo>
                  <a:lnTo>
                    <a:pt x="1212" y="144"/>
                  </a:lnTo>
                  <a:lnTo>
                    <a:pt x="1200" y="108"/>
                  </a:lnTo>
                  <a:lnTo>
                    <a:pt x="1194" y="96"/>
                  </a:lnTo>
                  <a:lnTo>
                    <a:pt x="1194" y="84"/>
                  </a:lnTo>
                  <a:lnTo>
                    <a:pt x="1188" y="78"/>
                  </a:lnTo>
                  <a:lnTo>
                    <a:pt x="1164" y="78"/>
                  </a:lnTo>
                  <a:lnTo>
                    <a:pt x="1164" y="72"/>
                  </a:lnTo>
                  <a:lnTo>
                    <a:pt x="1158" y="60"/>
                  </a:lnTo>
                  <a:lnTo>
                    <a:pt x="1152" y="54"/>
                  </a:lnTo>
                  <a:lnTo>
                    <a:pt x="1140" y="48"/>
                  </a:lnTo>
                  <a:lnTo>
                    <a:pt x="1128" y="48"/>
                  </a:lnTo>
                  <a:lnTo>
                    <a:pt x="1116" y="54"/>
                  </a:lnTo>
                  <a:lnTo>
                    <a:pt x="1110" y="60"/>
                  </a:lnTo>
                  <a:lnTo>
                    <a:pt x="1074" y="54"/>
                  </a:lnTo>
                  <a:lnTo>
                    <a:pt x="1062" y="66"/>
                  </a:lnTo>
                  <a:lnTo>
                    <a:pt x="1026" y="90"/>
                  </a:lnTo>
                  <a:lnTo>
                    <a:pt x="1014" y="96"/>
                  </a:lnTo>
                  <a:lnTo>
                    <a:pt x="930" y="96"/>
                  </a:lnTo>
                  <a:lnTo>
                    <a:pt x="876" y="108"/>
                  </a:lnTo>
                  <a:lnTo>
                    <a:pt x="810" y="84"/>
                  </a:lnTo>
                  <a:lnTo>
                    <a:pt x="786" y="96"/>
                  </a:lnTo>
                  <a:lnTo>
                    <a:pt x="786" y="90"/>
                  </a:lnTo>
                  <a:lnTo>
                    <a:pt x="780" y="84"/>
                  </a:lnTo>
                  <a:lnTo>
                    <a:pt x="774" y="72"/>
                  </a:lnTo>
                  <a:lnTo>
                    <a:pt x="768" y="66"/>
                  </a:lnTo>
                  <a:lnTo>
                    <a:pt x="756" y="66"/>
                  </a:lnTo>
                  <a:lnTo>
                    <a:pt x="744" y="72"/>
                  </a:lnTo>
                  <a:lnTo>
                    <a:pt x="738" y="78"/>
                  </a:lnTo>
                  <a:lnTo>
                    <a:pt x="708" y="60"/>
                  </a:lnTo>
                  <a:lnTo>
                    <a:pt x="708" y="36"/>
                  </a:lnTo>
                  <a:lnTo>
                    <a:pt x="660" y="48"/>
                  </a:lnTo>
                  <a:lnTo>
                    <a:pt x="636" y="30"/>
                  </a:lnTo>
                  <a:lnTo>
                    <a:pt x="630" y="12"/>
                  </a:lnTo>
                  <a:lnTo>
                    <a:pt x="624" y="12"/>
                  </a:lnTo>
                  <a:lnTo>
                    <a:pt x="618" y="18"/>
                  </a:lnTo>
                  <a:lnTo>
                    <a:pt x="600" y="18"/>
                  </a:lnTo>
                  <a:lnTo>
                    <a:pt x="588" y="24"/>
                  </a:lnTo>
                  <a:lnTo>
                    <a:pt x="558" y="24"/>
                  </a:lnTo>
                  <a:lnTo>
                    <a:pt x="534" y="18"/>
                  </a:lnTo>
                  <a:lnTo>
                    <a:pt x="504" y="18"/>
                  </a:lnTo>
                  <a:lnTo>
                    <a:pt x="492" y="24"/>
                  </a:lnTo>
                  <a:lnTo>
                    <a:pt x="456" y="36"/>
                  </a:lnTo>
                  <a:lnTo>
                    <a:pt x="444" y="42"/>
                  </a:lnTo>
                  <a:lnTo>
                    <a:pt x="438" y="48"/>
                  </a:lnTo>
                  <a:lnTo>
                    <a:pt x="426" y="54"/>
                  </a:lnTo>
                  <a:lnTo>
                    <a:pt x="414" y="66"/>
                  </a:lnTo>
                  <a:lnTo>
                    <a:pt x="408" y="66"/>
                  </a:lnTo>
                  <a:lnTo>
                    <a:pt x="396" y="90"/>
                  </a:lnTo>
                  <a:lnTo>
                    <a:pt x="378" y="90"/>
                  </a:lnTo>
                  <a:lnTo>
                    <a:pt x="354" y="84"/>
                  </a:lnTo>
                  <a:lnTo>
                    <a:pt x="294" y="84"/>
                  </a:lnTo>
                  <a:lnTo>
                    <a:pt x="282" y="78"/>
                  </a:lnTo>
                  <a:lnTo>
                    <a:pt x="264" y="78"/>
                  </a:lnTo>
                  <a:lnTo>
                    <a:pt x="252" y="72"/>
                  </a:lnTo>
                  <a:lnTo>
                    <a:pt x="240" y="72"/>
                  </a:lnTo>
                  <a:lnTo>
                    <a:pt x="234" y="66"/>
                  </a:lnTo>
                  <a:lnTo>
                    <a:pt x="198" y="66"/>
                  </a:lnTo>
                  <a:lnTo>
                    <a:pt x="186" y="54"/>
                  </a:lnTo>
                  <a:lnTo>
                    <a:pt x="180" y="36"/>
                  </a:lnTo>
                  <a:lnTo>
                    <a:pt x="180" y="24"/>
                  </a:lnTo>
                  <a:lnTo>
                    <a:pt x="168" y="24"/>
                  </a:lnTo>
                  <a:lnTo>
                    <a:pt x="156" y="18"/>
                  </a:lnTo>
                  <a:lnTo>
                    <a:pt x="144" y="18"/>
                  </a:lnTo>
                  <a:lnTo>
                    <a:pt x="132" y="0"/>
                  </a:lnTo>
                  <a:lnTo>
                    <a:pt x="120" y="18"/>
                  </a:lnTo>
                  <a:lnTo>
                    <a:pt x="90" y="12"/>
                  </a:lnTo>
                  <a:lnTo>
                    <a:pt x="72" y="36"/>
                  </a:lnTo>
                  <a:lnTo>
                    <a:pt x="78" y="42"/>
                  </a:lnTo>
                  <a:lnTo>
                    <a:pt x="90" y="42"/>
                  </a:lnTo>
                  <a:lnTo>
                    <a:pt x="90" y="48"/>
                  </a:lnTo>
                  <a:lnTo>
                    <a:pt x="96" y="54"/>
                  </a:lnTo>
                  <a:lnTo>
                    <a:pt x="96" y="66"/>
                  </a:lnTo>
                  <a:lnTo>
                    <a:pt x="78" y="66"/>
                  </a:lnTo>
                  <a:lnTo>
                    <a:pt x="72" y="72"/>
                  </a:lnTo>
                  <a:lnTo>
                    <a:pt x="72" y="78"/>
                  </a:lnTo>
                  <a:lnTo>
                    <a:pt x="78" y="84"/>
                  </a:lnTo>
                  <a:lnTo>
                    <a:pt x="78" y="96"/>
                  </a:lnTo>
                  <a:lnTo>
                    <a:pt x="72" y="108"/>
                  </a:lnTo>
                  <a:lnTo>
                    <a:pt x="72" y="114"/>
                  </a:lnTo>
                  <a:lnTo>
                    <a:pt x="66" y="120"/>
                  </a:lnTo>
                  <a:lnTo>
                    <a:pt x="66" y="132"/>
                  </a:lnTo>
                  <a:lnTo>
                    <a:pt x="72" y="132"/>
                  </a:lnTo>
                  <a:lnTo>
                    <a:pt x="90" y="126"/>
                  </a:lnTo>
                  <a:lnTo>
                    <a:pt x="102" y="126"/>
                  </a:lnTo>
                  <a:lnTo>
                    <a:pt x="108" y="120"/>
                  </a:lnTo>
                  <a:lnTo>
                    <a:pt x="114" y="120"/>
                  </a:lnTo>
                  <a:lnTo>
                    <a:pt x="114" y="132"/>
                  </a:lnTo>
                  <a:lnTo>
                    <a:pt x="120" y="132"/>
                  </a:lnTo>
                  <a:lnTo>
                    <a:pt x="126" y="126"/>
                  </a:lnTo>
                  <a:lnTo>
                    <a:pt x="138" y="120"/>
                  </a:lnTo>
                  <a:lnTo>
                    <a:pt x="162" y="96"/>
                  </a:lnTo>
                  <a:lnTo>
                    <a:pt x="168" y="96"/>
                  </a:lnTo>
                  <a:lnTo>
                    <a:pt x="174" y="90"/>
                  </a:lnTo>
                  <a:lnTo>
                    <a:pt x="186" y="90"/>
                  </a:lnTo>
                  <a:lnTo>
                    <a:pt x="204" y="84"/>
                  </a:lnTo>
                  <a:lnTo>
                    <a:pt x="216" y="84"/>
                  </a:lnTo>
                  <a:lnTo>
                    <a:pt x="252" y="102"/>
                  </a:lnTo>
                  <a:lnTo>
                    <a:pt x="270" y="108"/>
                  </a:lnTo>
                  <a:lnTo>
                    <a:pt x="282" y="108"/>
                  </a:lnTo>
                  <a:lnTo>
                    <a:pt x="288" y="114"/>
                  </a:lnTo>
                  <a:lnTo>
                    <a:pt x="294" y="114"/>
                  </a:lnTo>
                  <a:lnTo>
                    <a:pt x="270" y="114"/>
                  </a:lnTo>
                  <a:lnTo>
                    <a:pt x="258" y="120"/>
                  </a:lnTo>
                  <a:lnTo>
                    <a:pt x="246" y="120"/>
                  </a:lnTo>
                  <a:lnTo>
                    <a:pt x="246" y="132"/>
                  </a:lnTo>
                  <a:lnTo>
                    <a:pt x="240" y="138"/>
                  </a:lnTo>
                  <a:lnTo>
                    <a:pt x="186" y="144"/>
                  </a:lnTo>
                  <a:lnTo>
                    <a:pt x="138" y="138"/>
                  </a:lnTo>
                  <a:lnTo>
                    <a:pt x="120" y="138"/>
                  </a:lnTo>
                  <a:lnTo>
                    <a:pt x="96" y="150"/>
                  </a:lnTo>
                  <a:lnTo>
                    <a:pt x="84" y="162"/>
                  </a:lnTo>
                  <a:lnTo>
                    <a:pt x="84" y="174"/>
                  </a:lnTo>
                  <a:lnTo>
                    <a:pt x="78" y="192"/>
                  </a:lnTo>
                  <a:lnTo>
                    <a:pt x="78" y="204"/>
                  </a:lnTo>
                  <a:lnTo>
                    <a:pt x="72" y="210"/>
                  </a:lnTo>
                  <a:lnTo>
                    <a:pt x="72" y="216"/>
                  </a:lnTo>
                  <a:lnTo>
                    <a:pt x="114" y="216"/>
                  </a:lnTo>
                  <a:lnTo>
                    <a:pt x="114" y="240"/>
                  </a:lnTo>
                  <a:lnTo>
                    <a:pt x="120" y="246"/>
                  </a:lnTo>
                  <a:lnTo>
                    <a:pt x="126" y="258"/>
                  </a:lnTo>
                  <a:lnTo>
                    <a:pt x="132" y="264"/>
                  </a:lnTo>
                  <a:lnTo>
                    <a:pt x="126" y="282"/>
                  </a:lnTo>
                  <a:lnTo>
                    <a:pt x="138" y="300"/>
                  </a:lnTo>
                  <a:lnTo>
                    <a:pt x="126" y="318"/>
                  </a:lnTo>
                  <a:lnTo>
                    <a:pt x="162" y="354"/>
                  </a:lnTo>
                  <a:lnTo>
                    <a:pt x="156" y="390"/>
                  </a:lnTo>
                  <a:lnTo>
                    <a:pt x="210" y="414"/>
                  </a:lnTo>
                  <a:lnTo>
                    <a:pt x="216" y="444"/>
                  </a:lnTo>
                  <a:lnTo>
                    <a:pt x="216" y="438"/>
                  </a:lnTo>
                  <a:lnTo>
                    <a:pt x="222" y="438"/>
                  </a:lnTo>
                  <a:lnTo>
                    <a:pt x="222" y="432"/>
                  </a:lnTo>
                  <a:lnTo>
                    <a:pt x="228" y="432"/>
                  </a:lnTo>
                  <a:lnTo>
                    <a:pt x="252" y="444"/>
                  </a:lnTo>
                  <a:lnTo>
                    <a:pt x="258" y="444"/>
                  </a:lnTo>
                  <a:lnTo>
                    <a:pt x="264" y="450"/>
                  </a:lnTo>
                  <a:lnTo>
                    <a:pt x="270" y="462"/>
                  </a:lnTo>
                  <a:lnTo>
                    <a:pt x="282" y="468"/>
                  </a:lnTo>
                  <a:lnTo>
                    <a:pt x="294" y="468"/>
                  </a:lnTo>
                  <a:lnTo>
                    <a:pt x="312" y="474"/>
                  </a:lnTo>
                  <a:lnTo>
                    <a:pt x="372" y="474"/>
                  </a:lnTo>
                  <a:lnTo>
                    <a:pt x="372" y="450"/>
                  </a:lnTo>
                  <a:lnTo>
                    <a:pt x="378" y="438"/>
                  </a:lnTo>
                  <a:lnTo>
                    <a:pt x="390" y="426"/>
                  </a:lnTo>
                  <a:lnTo>
                    <a:pt x="408" y="426"/>
                  </a:lnTo>
                  <a:lnTo>
                    <a:pt x="432" y="432"/>
                  </a:lnTo>
                  <a:lnTo>
                    <a:pt x="468" y="444"/>
                  </a:lnTo>
                  <a:lnTo>
                    <a:pt x="474" y="450"/>
                  </a:lnTo>
                  <a:lnTo>
                    <a:pt x="480" y="450"/>
                  </a:lnTo>
                  <a:lnTo>
                    <a:pt x="480" y="456"/>
                  </a:lnTo>
                  <a:lnTo>
                    <a:pt x="486" y="468"/>
                  </a:lnTo>
                  <a:lnTo>
                    <a:pt x="486" y="474"/>
                  </a:lnTo>
                  <a:lnTo>
                    <a:pt x="492" y="480"/>
                  </a:lnTo>
                  <a:lnTo>
                    <a:pt x="504" y="486"/>
                  </a:lnTo>
                  <a:lnTo>
                    <a:pt x="564" y="486"/>
                  </a:lnTo>
                  <a:lnTo>
                    <a:pt x="576" y="480"/>
                  </a:lnTo>
                  <a:lnTo>
                    <a:pt x="594" y="474"/>
                  </a:lnTo>
                  <a:lnTo>
                    <a:pt x="606" y="462"/>
                  </a:lnTo>
                  <a:lnTo>
                    <a:pt x="618" y="456"/>
                  </a:lnTo>
                  <a:lnTo>
                    <a:pt x="630" y="444"/>
                  </a:lnTo>
                  <a:lnTo>
                    <a:pt x="648" y="438"/>
                  </a:lnTo>
                  <a:lnTo>
                    <a:pt x="660" y="432"/>
                  </a:lnTo>
                  <a:lnTo>
                    <a:pt x="672" y="432"/>
                  </a:lnTo>
                  <a:lnTo>
                    <a:pt x="684" y="438"/>
                  </a:lnTo>
                  <a:lnTo>
                    <a:pt x="690" y="444"/>
                  </a:lnTo>
                  <a:lnTo>
                    <a:pt x="696" y="444"/>
                  </a:lnTo>
                  <a:lnTo>
                    <a:pt x="702" y="450"/>
                  </a:lnTo>
                  <a:lnTo>
                    <a:pt x="714" y="450"/>
                  </a:lnTo>
                  <a:lnTo>
                    <a:pt x="726" y="444"/>
                  </a:lnTo>
                  <a:lnTo>
                    <a:pt x="732" y="432"/>
                  </a:lnTo>
                  <a:lnTo>
                    <a:pt x="744" y="420"/>
                  </a:lnTo>
                  <a:lnTo>
                    <a:pt x="756" y="432"/>
                  </a:lnTo>
                  <a:lnTo>
                    <a:pt x="756" y="444"/>
                  </a:lnTo>
                  <a:lnTo>
                    <a:pt x="750" y="450"/>
                  </a:lnTo>
                  <a:lnTo>
                    <a:pt x="744" y="462"/>
                  </a:lnTo>
                  <a:lnTo>
                    <a:pt x="744" y="468"/>
                  </a:lnTo>
                  <a:lnTo>
                    <a:pt x="738" y="474"/>
                  </a:lnTo>
                  <a:lnTo>
                    <a:pt x="738" y="486"/>
                  </a:lnTo>
                  <a:lnTo>
                    <a:pt x="744" y="492"/>
                  </a:lnTo>
                  <a:lnTo>
                    <a:pt x="744" y="498"/>
                  </a:lnTo>
                  <a:lnTo>
                    <a:pt x="756" y="510"/>
                  </a:lnTo>
                  <a:lnTo>
                    <a:pt x="768" y="510"/>
                  </a:lnTo>
                  <a:lnTo>
                    <a:pt x="768" y="504"/>
                  </a:lnTo>
                  <a:lnTo>
                    <a:pt x="774" y="498"/>
                  </a:lnTo>
                  <a:lnTo>
                    <a:pt x="774" y="480"/>
                  </a:lnTo>
                  <a:lnTo>
                    <a:pt x="780" y="486"/>
                  </a:lnTo>
                  <a:lnTo>
                    <a:pt x="792" y="486"/>
                  </a:lnTo>
                  <a:lnTo>
                    <a:pt x="792" y="462"/>
                  </a:lnTo>
                  <a:lnTo>
                    <a:pt x="786" y="462"/>
                  </a:lnTo>
                  <a:lnTo>
                    <a:pt x="786" y="432"/>
                  </a:lnTo>
                  <a:lnTo>
                    <a:pt x="810" y="432"/>
                  </a:lnTo>
                  <a:lnTo>
                    <a:pt x="804" y="438"/>
                  </a:lnTo>
                  <a:lnTo>
                    <a:pt x="804" y="444"/>
                  </a:lnTo>
                  <a:lnTo>
                    <a:pt x="840" y="444"/>
                  </a:lnTo>
                  <a:lnTo>
                    <a:pt x="858" y="438"/>
                  </a:lnTo>
                  <a:lnTo>
                    <a:pt x="864" y="432"/>
                  </a:lnTo>
                  <a:lnTo>
                    <a:pt x="870" y="432"/>
                  </a:lnTo>
                  <a:lnTo>
                    <a:pt x="888" y="414"/>
                  </a:lnTo>
                  <a:lnTo>
                    <a:pt x="894" y="414"/>
                  </a:lnTo>
                  <a:lnTo>
                    <a:pt x="900" y="420"/>
                  </a:lnTo>
                  <a:lnTo>
                    <a:pt x="912" y="426"/>
                  </a:lnTo>
                  <a:lnTo>
                    <a:pt x="924" y="438"/>
                  </a:lnTo>
                  <a:lnTo>
                    <a:pt x="942" y="438"/>
                  </a:lnTo>
                  <a:lnTo>
                    <a:pt x="954" y="444"/>
                  </a:lnTo>
                  <a:lnTo>
                    <a:pt x="966" y="444"/>
                  </a:lnTo>
                  <a:lnTo>
                    <a:pt x="978" y="438"/>
                  </a:lnTo>
                  <a:lnTo>
                    <a:pt x="996" y="438"/>
                  </a:lnTo>
                  <a:lnTo>
                    <a:pt x="1002" y="432"/>
                  </a:lnTo>
                  <a:lnTo>
                    <a:pt x="1014" y="426"/>
                  </a:lnTo>
                  <a:lnTo>
                    <a:pt x="1026" y="414"/>
                  </a:lnTo>
                  <a:lnTo>
                    <a:pt x="1038" y="408"/>
                  </a:lnTo>
                  <a:lnTo>
                    <a:pt x="1086" y="408"/>
                  </a:lnTo>
                  <a:lnTo>
                    <a:pt x="1092" y="414"/>
                  </a:lnTo>
                  <a:lnTo>
                    <a:pt x="1110" y="414"/>
                  </a:lnTo>
                  <a:lnTo>
                    <a:pt x="1122" y="402"/>
                  </a:lnTo>
                  <a:lnTo>
                    <a:pt x="1146" y="402"/>
                  </a:lnTo>
                  <a:lnTo>
                    <a:pt x="1152" y="390"/>
                  </a:lnTo>
                  <a:lnTo>
                    <a:pt x="1152" y="384"/>
                  </a:lnTo>
                  <a:lnTo>
                    <a:pt x="1158" y="384"/>
                  </a:lnTo>
                  <a:lnTo>
                    <a:pt x="1158" y="408"/>
                  </a:lnTo>
                  <a:lnTo>
                    <a:pt x="1164" y="414"/>
                  </a:lnTo>
                  <a:lnTo>
                    <a:pt x="1170" y="414"/>
                  </a:lnTo>
                  <a:lnTo>
                    <a:pt x="1182" y="408"/>
                  </a:lnTo>
                  <a:lnTo>
                    <a:pt x="1188" y="402"/>
                  </a:lnTo>
                  <a:lnTo>
                    <a:pt x="1188" y="390"/>
                  </a:lnTo>
                  <a:lnTo>
                    <a:pt x="1230" y="390"/>
                  </a:lnTo>
                  <a:lnTo>
                    <a:pt x="1242" y="402"/>
                  </a:lnTo>
                  <a:lnTo>
                    <a:pt x="1254" y="402"/>
                  </a:lnTo>
                  <a:lnTo>
                    <a:pt x="1260" y="396"/>
                  </a:lnTo>
                  <a:lnTo>
                    <a:pt x="1260" y="390"/>
                  </a:lnTo>
                  <a:lnTo>
                    <a:pt x="1284" y="390"/>
                  </a:lnTo>
                  <a:lnTo>
                    <a:pt x="1290" y="396"/>
                  </a:lnTo>
                  <a:lnTo>
                    <a:pt x="1290" y="414"/>
                  </a:lnTo>
                  <a:lnTo>
                    <a:pt x="1332" y="402"/>
                  </a:lnTo>
                  <a:close/>
                  <a:moveTo>
                    <a:pt x="102" y="282"/>
                  </a:moveTo>
                  <a:lnTo>
                    <a:pt x="96" y="282"/>
                  </a:lnTo>
                  <a:lnTo>
                    <a:pt x="96" y="312"/>
                  </a:lnTo>
                  <a:lnTo>
                    <a:pt x="102" y="324"/>
                  </a:lnTo>
                  <a:lnTo>
                    <a:pt x="108" y="330"/>
                  </a:lnTo>
                  <a:lnTo>
                    <a:pt x="114" y="324"/>
                  </a:lnTo>
                  <a:lnTo>
                    <a:pt x="114" y="318"/>
                  </a:lnTo>
                  <a:lnTo>
                    <a:pt x="120" y="312"/>
                  </a:lnTo>
                  <a:lnTo>
                    <a:pt x="120" y="300"/>
                  </a:lnTo>
                  <a:lnTo>
                    <a:pt x="102" y="28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44" name="Turkmenistan" descr="© INSCALE GmbH, 05.05.2010&#10;http://www.presentationload.com/">
              <a:extLst>
                <a:ext uri="{FF2B5EF4-FFF2-40B4-BE49-F238E27FC236}">
                  <a16:creationId xmlns:a16="http://schemas.microsoft.com/office/drawing/2014/main" id="{3B91FA71-D8E9-40B0-8E60-A0B6B8579C0E}"/>
                </a:ext>
              </a:extLst>
            </p:cNvPr>
            <p:cNvSpPr>
              <a:spLocks/>
            </p:cNvSpPr>
            <p:nvPr/>
          </p:nvSpPr>
          <p:spPr bwMode="gray">
            <a:xfrm>
              <a:off x="5507651" y="2883745"/>
              <a:ext cx="401414" cy="239908"/>
            </a:xfrm>
            <a:custGeom>
              <a:avLst/>
              <a:gdLst>
                <a:gd name="T0" fmla="*/ 2147483647 w 1008"/>
                <a:gd name="T1" fmla="*/ 2147483647 h 606"/>
                <a:gd name="T2" fmla="*/ 2147483647 w 1008"/>
                <a:gd name="T3" fmla="*/ 2147483647 h 606"/>
                <a:gd name="T4" fmla="*/ 2147483647 w 1008"/>
                <a:gd name="T5" fmla="*/ 2147483647 h 606"/>
                <a:gd name="T6" fmla="*/ 2147483647 w 1008"/>
                <a:gd name="T7" fmla="*/ 2147483647 h 606"/>
                <a:gd name="T8" fmla="*/ 2147483647 w 1008"/>
                <a:gd name="T9" fmla="*/ 2147483647 h 606"/>
                <a:gd name="T10" fmla="*/ 2147483647 w 1008"/>
                <a:gd name="T11" fmla="*/ 2147483647 h 606"/>
                <a:gd name="T12" fmla="*/ 2147483647 w 1008"/>
                <a:gd name="T13" fmla="*/ 2147483647 h 606"/>
                <a:gd name="T14" fmla="*/ 2147483647 w 1008"/>
                <a:gd name="T15" fmla="*/ 2147483647 h 606"/>
                <a:gd name="T16" fmla="*/ 2147483647 w 1008"/>
                <a:gd name="T17" fmla="*/ 2147483647 h 606"/>
                <a:gd name="T18" fmla="*/ 2147483647 w 1008"/>
                <a:gd name="T19" fmla="*/ 2147483647 h 606"/>
                <a:gd name="T20" fmla="*/ 2147483647 w 1008"/>
                <a:gd name="T21" fmla="*/ 2147483647 h 606"/>
                <a:gd name="T22" fmla="*/ 2147483647 w 1008"/>
                <a:gd name="T23" fmla="*/ 2147483647 h 606"/>
                <a:gd name="T24" fmla="*/ 2147483647 w 1008"/>
                <a:gd name="T25" fmla="*/ 2147483647 h 606"/>
                <a:gd name="T26" fmla="*/ 2147483647 w 1008"/>
                <a:gd name="T27" fmla="*/ 2147483647 h 606"/>
                <a:gd name="T28" fmla="*/ 2147483647 w 1008"/>
                <a:gd name="T29" fmla="*/ 2147483647 h 606"/>
                <a:gd name="T30" fmla="*/ 2147483647 w 1008"/>
                <a:gd name="T31" fmla="*/ 2147483647 h 606"/>
                <a:gd name="T32" fmla="*/ 2147483647 w 1008"/>
                <a:gd name="T33" fmla="*/ 2147483647 h 606"/>
                <a:gd name="T34" fmla="*/ 2147483647 w 1008"/>
                <a:gd name="T35" fmla="*/ 2147483647 h 606"/>
                <a:gd name="T36" fmla="*/ 2147483647 w 1008"/>
                <a:gd name="T37" fmla="*/ 2147483647 h 606"/>
                <a:gd name="T38" fmla="*/ 2147483647 w 1008"/>
                <a:gd name="T39" fmla="*/ 2147483647 h 606"/>
                <a:gd name="T40" fmla="*/ 2147483647 w 1008"/>
                <a:gd name="T41" fmla="*/ 2147483647 h 606"/>
                <a:gd name="T42" fmla="*/ 2147483647 w 1008"/>
                <a:gd name="T43" fmla="*/ 2147483647 h 606"/>
                <a:gd name="T44" fmla="*/ 2147483647 w 1008"/>
                <a:gd name="T45" fmla="*/ 2147483647 h 606"/>
                <a:gd name="T46" fmla="*/ 2147483647 w 1008"/>
                <a:gd name="T47" fmla="*/ 2147483647 h 606"/>
                <a:gd name="T48" fmla="*/ 2147483647 w 1008"/>
                <a:gd name="T49" fmla="*/ 2147483647 h 606"/>
                <a:gd name="T50" fmla="*/ 2147483647 w 1008"/>
                <a:gd name="T51" fmla="*/ 2147483647 h 606"/>
                <a:gd name="T52" fmla="*/ 2147483647 w 1008"/>
                <a:gd name="T53" fmla="*/ 2147483647 h 606"/>
                <a:gd name="T54" fmla="*/ 2147483647 w 1008"/>
                <a:gd name="T55" fmla="*/ 2147483647 h 606"/>
                <a:gd name="T56" fmla="*/ 2147483647 w 1008"/>
                <a:gd name="T57" fmla="*/ 2147483647 h 606"/>
                <a:gd name="T58" fmla="*/ 2147483647 w 1008"/>
                <a:gd name="T59" fmla="*/ 2147483647 h 606"/>
                <a:gd name="T60" fmla="*/ 2147483647 w 1008"/>
                <a:gd name="T61" fmla="*/ 2147483647 h 606"/>
                <a:gd name="T62" fmla="*/ 2147483647 w 1008"/>
                <a:gd name="T63" fmla="*/ 2147483647 h 606"/>
                <a:gd name="T64" fmla="*/ 2147483647 w 1008"/>
                <a:gd name="T65" fmla="*/ 2147483647 h 606"/>
                <a:gd name="T66" fmla="*/ 2147483647 w 1008"/>
                <a:gd name="T67" fmla="*/ 2147483647 h 606"/>
                <a:gd name="T68" fmla="*/ 2147483647 w 1008"/>
                <a:gd name="T69" fmla="*/ 2147483647 h 606"/>
                <a:gd name="T70" fmla="*/ 2147483647 w 1008"/>
                <a:gd name="T71" fmla="*/ 2147483647 h 606"/>
                <a:gd name="T72" fmla="*/ 2147483647 w 1008"/>
                <a:gd name="T73" fmla="*/ 2147483647 h 606"/>
                <a:gd name="T74" fmla="*/ 2147483647 w 1008"/>
                <a:gd name="T75" fmla="*/ 2147483647 h 606"/>
                <a:gd name="T76" fmla="*/ 2147483647 w 1008"/>
                <a:gd name="T77" fmla="*/ 2147483647 h 606"/>
                <a:gd name="T78" fmla="*/ 2147483647 w 1008"/>
                <a:gd name="T79" fmla="*/ 2147483647 h 606"/>
                <a:gd name="T80" fmla="*/ 2147483647 w 1008"/>
                <a:gd name="T81" fmla="*/ 2147483647 h 606"/>
                <a:gd name="T82" fmla="*/ 2147483647 w 1008"/>
                <a:gd name="T83" fmla="*/ 2147483647 h 606"/>
                <a:gd name="T84" fmla="*/ 2147483647 w 1008"/>
                <a:gd name="T85" fmla="*/ 2147483647 h 606"/>
                <a:gd name="T86" fmla="*/ 2147483647 w 1008"/>
                <a:gd name="T87" fmla="*/ 2147483647 h 606"/>
                <a:gd name="T88" fmla="*/ 2147483647 w 1008"/>
                <a:gd name="T89" fmla="*/ 2147483647 h 606"/>
                <a:gd name="T90" fmla="*/ 2147483647 w 1008"/>
                <a:gd name="T91" fmla="*/ 2147483647 h 606"/>
                <a:gd name="T92" fmla="*/ 2147483647 w 1008"/>
                <a:gd name="T93" fmla="*/ 2147483647 h 606"/>
                <a:gd name="T94" fmla="*/ 2147483647 w 1008"/>
                <a:gd name="T95" fmla="*/ 2147483647 h 606"/>
                <a:gd name="T96" fmla="*/ 2147483647 w 1008"/>
                <a:gd name="T97" fmla="*/ 2147483647 h 606"/>
                <a:gd name="T98" fmla="*/ 2147483647 w 1008"/>
                <a:gd name="T99" fmla="*/ 2147483647 h 606"/>
                <a:gd name="T100" fmla="*/ 2147483647 w 1008"/>
                <a:gd name="T101" fmla="*/ 2147483647 h 606"/>
                <a:gd name="T102" fmla="*/ 2147483647 w 1008"/>
                <a:gd name="T103" fmla="*/ 2147483647 h 606"/>
                <a:gd name="T104" fmla="*/ 0 w 1008"/>
                <a:gd name="T105" fmla="*/ 2147483647 h 606"/>
                <a:gd name="T106" fmla="*/ 2147483647 w 1008"/>
                <a:gd name="T107" fmla="*/ 2147483647 h 606"/>
                <a:gd name="T108" fmla="*/ 2147483647 w 1008"/>
                <a:gd name="T109" fmla="*/ 2147483647 h 6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08"/>
                <a:gd name="T166" fmla="*/ 0 h 606"/>
                <a:gd name="T167" fmla="*/ 1008 w 1008"/>
                <a:gd name="T168" fmla="*/ 606 h 6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08" h="606">
                  <a:moveTo>
                    <a:pt x="48" y="150"/>
                  </a:moveTo>
                  <a:lnTo>
                    <a:pt x="48" y="156"/>
                  </a:lnTo>
                  <a:lnTo>
                    <a:pt x="42" y="162"/>
                  </a:lnTo>
                  <a:lnTo>
                    <a:pt x="36" y="174"/>
                  </a:lnTo>
                  <a:lnTo>
                    <a:pt x="36" y="186"/>
                  </a:lnTo>
                  <a:lnTo>
                    <a:pt x="42" y="198"/>
                  </a:lnTo>
                  <a:lnTo>
                    <a:pt x="48" y="204"/>
                  </a:lnTo>
                  <a:lnTo>
                    <a:pt x="54" y="216"/>
                  </a:lnTo>
                  <a:lnTo>
                    <a:pt x="60" y="222"/>
                  </a:lnTo>
                  <a:lnTo>
                    <a:pt x="60" y="228"/>
                  </a:lnTo>
                  <a:lnTo>
                    <a:pt x="90" y="222"/>
                  </a:lnTo>
                  <a:lnTo>
                    <a:pt x="90" y="246"/>
                  </a:lnTo>
                  <a:lnTo>
                    <a:pt x="114" y="258"/>
                  </a:lnTo>
                  <a:lnTo>
                    <a:pt x="90" y="258"/>
                  </a:lnTo>
                  <a:lnTo>
                    <a:pt x="78" y="264"/>
                  </a:lnTo>
                  <a:lnTo>
                    <a:pt x="72" y="264"/>
                  </a:lnTo>
                  <a:lnTo>
                    <a:pt x="72" y="270"/>
                  </a:lnTo>
                  <a:lnTo>
                    <a:pt x="78" y="276"/>
                  </a:lnTo>
                  <a:lnTo>
                    <a:pt x="90" y="276"/>
                  </a:lnTo>
                  <a:lnTo>
                    <a:pt x="96" y="282"/>
                  </a:lnTo>
                  <a:lnTo>
                    <a:pt x="114" y="282"/>
                  </a:lnTo>
                  <a:lnTo>
                    <a:pt x="120" y="288"/>
                  </a:lnTo>
                  <a:lnTo>
                    <a:pt x="126" y="300"/>
                  </a:lnTo>
                  <a:lnTo>
                    <a:pt x="132" y="306"/>
                  </a:lnTo>
                  <a:lnTo>
                    <a:pt x="138" y="354"/>
                  </a:lnTo>
                  <a:lnTo>
                    <a:pt x="150" y="360"/>
                  </a:lnTo>
                  <a:lnTo>
                    <a:pt x="150" y="372"/>
                  </a:lnTo>
                  <a:lnTo>
                    <a:pt x="144" y="378"/>
                  </a:lnTo>
                  <a:lnTo>
                    <a:pt x="144" y="402"/>
                  </a:lnTo>
                  <a:lnTo>
                    <a:pt x="150" y="414"/>
                  </a:lnTo>
                  <a:lnTo>
                    <a:pt x="150" y="426"/>
                  </a:lnTo>
                  <a:lnTo>
                    <a:pt x="156" y="432"/>
                  </a:lnTo>
                  <a:lnTo>
                    <a:pt x="156" y="438"/>
                  </a:lnTo>
                  <a:lnTo>
                    <a:pt x="186" y="438"/>
                  </a:lnTo>
                  <a:lnTo>
                    <a:pt x="198" y="426"/>
                  </a:lnTo>
                  <a:lnTo>
                    <a:pt x="210" y="420"/>
                  </a:lnTo>
                  <a:lnTo>
                    <a:pt x="210" y="408"/>
                  </a:lnTo>
                  <a:lnTo>
                    <a:pt x="216" y="402"/>
                  </a:lnTo>
                  <a:lnTo>
                    <a:pt x="228" y="396"/>
                  </a:lnTo>
                  <a:lnTo>
                    <a:pt x="246" y="378"/>
                  </a:lnTo>
                  <a:lnTo>
                    <a:pt x="258" y="372"/>
                  </a:lnTo>
                  <a:lnTo>
                    <a:pt x="294" y="372"/>
                  </a:lnTo>
                  <a:lnTo>
                    <a:pt x="306" y="378"/>
                  </a:lnTo>
                  <a:lnTo>
                    <a:pt x="312" y="372"/>
                  </a:lnTo>
                  <a:lnTo>
                    <a:pt x="312" y="366"/>
                  </a:lnTo>
                  <a:lnTo>
                    <a:pt x="372" y="366"/>
                  </a:lnTo>
                  <a:lnTo>
                    <a:pt x="384" y="378"/>
                  </a:lnTo>
                  <a:lnTo>
                    <a:pt x="384" y="390"/>
                  </a:lnTo>
                  <a:lnTo>
                    <a:pt x="414" y="390"/>
                  </a:lnTo>
                  <a:lnTo>
                    <a:pt x="420" y="396"/>
                  </a:lnTo>
                  <a:lnTo>
                    <a:pt x="432" y="402"/>
                  </a:lnTo>
                  <a:lnTo>
                    <a:pt x="438" y="408"/>
                  </a:lnTo>
                  <a:lnTo>
                    <a:pt x="450" y="414"/>
                  </a:lnTo>
                  <a:lnTo>
                    <a:pt x="450" y="408"/>
                  </a:lnTo>
                  <a:lnTo>
                    <a:pt x="468" y="408"/>
                  </a:lnTo>
                  <a:lnTo>
                    <a:pt x="480" y="414"/>
                  </a:lnTo>
                  <a:lnTo>
                    <a:pt x="498" y="414"/>
                  </a:lnTo>
                  <a:lnTo>
                    <a:pt x="510" y="420"/>
                  </a:lnTo>
                  <a:lnTo>
                    <a:pt x="516" y="420"/>
                  </a:lnTo>
                  <a:lnTo>
                    <a:pt x="522" y="426"/>
                  </a:lnTo>
                  <a:lnTo>
                    <a:pt x="522" y="432"/>
                  </a:lnTo>
                  <a:lnTo>
                    <a:pt x="528" y="444"/>
                  </a:lnTo>
                  <a:lnTo>
                    <a:pt x="534" y="450"/>
                  </a:lnTo>
                  <a:lnTo>
                    <a:pt x="540" y="450"/>
                  </a:lnTo>
                  <a:lnTo>
                    <a:pt x="546" y="456"/>
                  </a:lnTo>
                  <a:lnTo>
                    <a:pt x="558" y="456"/>
                  </a:lnTo>
                  <a:lnTo>
                    <a:pt x="570" y="468"/>
                  </a:lnTo>
                  <a:lnTo>
                    <a:pt x="582" y="474"/>
                  </a:lnTo>
                  <a:lnTo>
                    <a:pt x="588" y="486"/>
                  </a:lnTo>
                  <a:lnTo>
                    <a:pt x="594" y="492"/>
                  </a:lnTo>
                  <a:lnTo>
                    <a:pt x="660" y="486"/>
                  </a:lnTo>
                  <a:lnTo>
                    <a:pt x="660" y="522"/>
                  </a:lnTo>
                  <a:lnTo>
                    <a:pt x="672" y="522"/>
                  </a:lnTo>
                  <a:lnTo>
                    <a:pt x="666" y="546"/>
                  </a:lnTo>
                  <a:lnTo>
                    <a:pt x="678" y="576"/>
                  </a:lnTo>
                  <a:lnTo>
                    <a:pt x="684" y="582"/>
                  </a:lnTo>
                  <a:lnTo>
                    <a:pt x="696" y="582"/>
                  </a:lnTo>
                  <a:lnTo>
                    <a:pt x="702" y="588"/>
                  </a:lnTo>
                  <a:lnTo>
                    <a:pt x="714" y="588"/>
                  </a:lnTo>
                  <a:lnTo>
                    <a:pt x="720" y="582"/>
                  </a:lnTo>
                  <a:lnTo>
                    <a:pt x="726" y="582"/>
                  </a:lnTo>
                  <a:lnTo>
                    <a:pt x="750" y="606"/>
                  </a:lnTo>
                  <a:lnTo>
                    <a:pt x="774" y="606"/>
                  </a:lnTo>
                  <a:lnTo>
                    <a:pt x="786" y="600"/>
                  </a:lnTo>
                  <a:lnTo>
                    <a:pt x="792" y="594"/>
                  </a:lnTo>
                  <a:lnTo>
                    <a:pt x="804" y="570"/>
                  </a:lnTo>
                  <a:lnTo>
                    <a:pt x="804" y="558"/>
                  </a:lnTo>
                  <a:lnTo>
                    <a:pt x="816" y="558"/>
                  </a:lnTo>
                  <a:lnTo>
                    <a:pt x="852" y="540"/>
                  </a:lnTo>
                  <a:lnTo>
                    <a:pt x="858" y="528"/>
                  </a:lnTo>
                  <a:lnTo>
                    <a:pt x="870" y="522"/>
                  </a:lnTo>
                  <a:lnTo>
                    <a:pt x="882" y="522"/>
                  </a:lnTo>
                  <a:lnTo>
                    <a:pt x="882" y="462"/>
                  </a:lnTo>
                  <a:lnTo>
                    <a:pt x="888" y="450"/>
                  </a:lnTo>
                  <a:lnTo>
                    <a:pt x="900" y="444"/>
                  </a:lnTo>
                  <a:lnTo>
                    <a:pt x="936" y="444"/>
                  </a:lnTo>
                  <a:lnTo>
                    <a:pt x="936" y="420"/>
                  </a:lnTo>
                  <a:lnTo>
                    <a:pt x="948" y="420"/>
                  </a:lnTo>
                  <a:lnTo>
                    <a:pt x="960" y="426"/>
                  </a:lnTo>
                  <a:lnTo>
                    <a:pt x="966" y="432"/>
                  </a:lnTo>
                  <a:lnTo>
                    <a:pt x="978" y="438"/>
                  </a:lnTo>
                  <a:lnTo>
                    <a:pt x="1008" y="438"/>
                  </a:lnTo>
                  <a:lnTo>
                    <a:pt x="1008" y="426"/>
                  </a:lnTo>
                  <a:lnTo>
                    <a:pt x="996" y="414"/>
                  </a:lnTo>
                  <a:lnTo>
                    <a:pt x="996" y="396"/>
                  </a:lnTo>
                  <a:lnTo>
                    <a:pt x="1002" y="390"/>
                  </a:lnTo>
                  <a:lnTo>
                    <a:pt x="954" y="360"/>
                  </a:lnTo>
                  <a:lnTo>
                    <a:pt x="930" y="366"/>
                  </a:lnTo>
                  <a:lnTo>
                    <a:pt x="924" y="366"/>
                  </a:lnTo>
                  <a:lnTo>
                    <a:pt x="912" y="354"/>
                  </a:lnTo>
                  <a:lnTo>
                    <a:pt x="900" y="354"/>
                  </a:lnTo>
                  <a:lnTo>
                    <a:pt x="888" y="342"/>
                  </a:lnTo>
                  <a:lnTo>
                    <a:pt x="876" y="336"/>
                  </a:lnTo>
                  <a:lnTo>
                    <a:pt x="870" y="330"/>
                  </a:lnTo>
                  <a:lnTo>
                    <a:pt x="846" y="318"/>
                  </a:lnTo>
                  <a:lnTo>
                    <a:pt x="828" y="306"/>
                  </a:lnTo>
                  <a:lnTo>
                    <a:pt x="804" y="306"/>
                  </a:lnTo>
                  <a:lnTo>
                    <a:pt x="774" y="288"/>
                  </a:lnTo>
                  <a:lnTo>
                    <a:pt x="768" y="282"/>
                  </a:lnTo>
                  <a:lnTo>
                    <a:pt x="762" y="270"/>
                  </a:lnTo>
                  <a:lnTo>
                    <a:pt x="750" y="258"/>
                  </a:lnTo>
                  <a:lnTo>
                    <a:pt x="744" y="258"/>
                  </a:lnTo>
                  <a:lnTo>
                    <a:pt x="732" y="252"/>
                  </a:lnTo>
                  <a:lnTo>
                    <a:pt x="714" y="252"/>
                  </a:lnTo>
                  <a:lnTo>
                    <a:pt x="702" y="246"/>
                  </a:lnTo>
                  <a:lnTo>
                    <a:pt x="690" y="234"/>
                  </a:lnTo>
                  <a:lnTo>
                    <a:pt x="672" y="198"/>
                  </a:lnTo>
                  <a:lnTo>
                    <a:pt x="666" y="192"/>
                  </a:lnTo>
                  <a:lnTo>
                    <a:pt x="666" y="186"/>
                  </a:lnTo>
                  <a:lnTo>
                    <a:pt x="648" y="168"/>
                  </a:lnTo>
                  <a:lnTo>
                    <a:pt x="630" y="138"/>
                  </a:lnTo>
                  <a:lnTo>
                    <a:pt x="594" y="120"/>
                  </a:lnTo>
                  <a:lnTo>
                    <a:pt x="594" y="126"/>
                  </a:lnTo>
                  <a:lnTo>
                    <a:pt x="540" y="120"/>
                  </a:lnTo>
                  <a:lnTo>
                    <a:pt x="510" y="120"/>
                  </a:lnTo>
                  <a:lnTo>
                    <a:pt x="492" y="102"/>
                  </a:lnTo>
                  <a:lnTo>
                    <a:pt x="492" y="90"/>
                  </a:lnTo>
                  <a:lnTo>
                    <a:pt x="504" y="78"/>
                  </a:lnTo>
                  <a:lnTo>
                    <a:pt x="492" y="72"/>
                  </a:lnTo>
                  <a:lnTo>
                    <a:pt x="492" y="60"/>
                  </a:lnTo>
                  <a:lnTo>
                    <a:pt x="486" y="48"/>
                  </a:lnTo>
                  <a:lnTo>
                    <a:pt x="480" y="42"/>
                  </a:lnTo>
                  <a:lnTo>
                    <a:pt x="444" y="42"/>
                  </a:lnTo>
                  <a:lnTo>
                    <a:pt x="432" y="36"/>
                  </a:lnTo>
                  <a:lnTo>
                    <a:pt x="432" y="24"/>
                  </a:lnTo>
                  <a:lnTo>
                    <a:pt x="408" y="24"/>
                  </a:lnTo>
                  <a:lnTo>
                    <a:pt x="390" y="0"/>
                  </a:lnTo>
                  <a:lnTo>
                    <a:pt x="384" y="12"/>
                  </a:lnTo>
                  <a:lnTo>
                    <a:pt x="354" y="6"/>
                  </a:lnTo>
                  <a:lnTo>
                    <a:pt x="384" y="36"/>
                  </a:lnTo>
                  <a:lnTo>
                    <a:pt x="378" y="30"/>
                  </a:lnTo>
                  <a:lnTo>
                    <a:pt x="366" y="30"/>
                  </a:lnTo>
                  <a:lnTo>
                    <a:pt x="360" y="24"/>
                  </a:lnTo>
                  <a:lnTo>
                    <a:pt x="354" y="24"/>
                  </a:lnTo>
                  <a:lnTo>
                    <a:pt x="348" y="30"/>
                  </a:lnTo>
                  <a:lnTo>
                    <a:pt x="348" y="42"/>
                  </a:lnTo>
                  <a:lnTo>
                    <a:pt x="342" y="42"/>
                  </a:lnTo>
                  <a:lnTo>
                    <a:pt x="336" y="48"/>
                  </a:lnTo>
                  <a:lnTo>
                    <a:pt x="324" y="48"/>
                  </a:lnTo>
                  <a:lnTo>
                    <a:pt x="312" y="54"/>
                  </a:lnTo>
                  <a:lnTo>
                    <a:pt x="294" y="72"/>
                  </a:lnTo>
                  <a:lnTo>
                    <a:pt x="294" y="84"/>
                  </a:lnTo>
                  <a:lnTo>
                    <a:pt x="300" y="102"/>
                  </a:lnTo>
                  <a:lnTo>
                    <a:pt x="312" y="108"/>
                  </a:lnTo>
                  <a:lnTo>
                    <a:pt x="318" y="120"/>
                  </a:lnTo>
                  <a:lnTo>
                    <a:pt x="252" y="120"/>
                  </a:lnTo>
                  <a:lnTo>
                    <a:pt x="240" y="108"/>
                  </a:lnTo>
                  <a:lnTo>
                    <a:pt x="228" y="108"/>
                  </a:lnTo>
                  <a:lnTo>
                    <a:pt x="228" y="114"/>
                  </a:lnTo>
                  <a:lnTo>
                    <a:pt x="216" y="126"/>
                  </a:lnTo>
                  <a:lnTo>
                    <a:pt x="210" y="120"/>
                  </a:lnTo>
                  <a:lnTo>
                    <a:pt x="198" y="114"/>
                  </a:lnTo>
                  <a:lnTo>
                    <a:pt x="174" y="90"/>
                  </a:lnTo>
                  <a:lnTo>
                    <a:pt x="168" y="78"/>
                  </a:lnTo>
                  <a:lnTo>
                    <a:pt x="162" y="72"/>
                  </a:lnTo>
                  <a:lnTo>
                    <a:pt x="156" y="60"/>
                  </a:lnTo>
                  <a:lnTo>
                    <a:pt x="144" y="54"/>
                  </a:lnTo>
                  <a:lnTo>
                    <a:pt x="132" y="42"/>
                  </a:lnTo>
                  <a:lnTo>
                    <a:pt x="120" y="42"/>
                  </a:lnTo>
                  <a:lnTo>
                    <a:pt x="96" y="30"/>
                  </a:lnTo>
                  <a:lnTo>
                    <a:pt x="78" y="30"/>
                  </a:lnTo>
                  <a:lnTo>
                    <a:pt x="72" y="36"/>
                  </a:lnTo>
                  <a:lnTo>
                    <a:pt x="72" y="48"/>
                  </a:lnTo>
                  <a:lnTo>
                    <a:pt x="84" y="54"/>
                  </a:lnTo>
                  <a:lnTo>
                    <a:pt x="90" y="54"/>
                  </a:lnTo>
                  <a:lnTo>
                    <a:pt x="90" y="66"/>
                  </a:lnTo>
                  <a:lnTo>
                    <a:pt x="96" y="66"/>
                  </a:lnTo>
                  <a:lnTo>
                    <a:pt x="96" y="72"/>
                  </a:lnTo>
                  <a:lnTo>
                    <a:pt x="102" y="84"/>
                  </a:lnTo>
                  <a:lnTo>
                    <a:pt x="114" y="90"/>
                  </a:lnTo>
                  <a:lnTo>
                    <a:pt x="126" y="102"/>
                  </a:lnTo>
                  <a:lnTo>
                    <a:pt x="138" y="108"/>
                  </a:lnTo>
                  <a:lnTo>
                    <a:pt x="150" y="120"/>
                  </a:lnTo>
                  <a:lnTo>
                    <a:pt x="162" y="126"/>
                  </a:lnTo>
                  <a:lnTo>
                    <a:pt x="162" y="150"/>
                  </a:lnTo>
                  <a:lnTo>
                    <a:pt x="156" y="156"/>
                  </a:lnTo>
                  <a:lnTo>
                    <a:pt x="144" y="156"/>
                  </a:lnTo>
                  <a:lnTo>
                    <a:pt x="132" y="150"/>
                  </a:lnTo>
                  <a:lnTo>
                    <a:pt x="120" y="138"/>
                  </a:lnTo>
                  <a:lnTo>
                    <a:pt x="120" y="162"/>
                  </a:lnTo>
                  <a:lnTo>
                    <a:pt x="78" y="162"/>
                  </a:lnTo>
                  <a:lnTo>
                    <a:pt x="66" y="144"/>
                  </a:lnTo>
                  <a:lnTo>
                    <a:pt x="60" y="150"/>
                  </a:lnTo>
                  <a:lnTo>
                    <a:pt x="48" y="138"/>
                  </a:lnTo>
                  <a:lnTo>
                    <a:pt x="42" y="126"/>
                  </a:lnTo>
                  <a:lnTo>
                    <a:pt x="36" y="120"/>
                  </a:lnTo>
                  <a:lnTo>
                    <a:pt x="36" y="102"/>
                  </a:lnTo>
                  <a:lnTo>
                    <a:pt x="30" y="96"/>
                  </a:lnTo>
                  <a:lnTo>
                    <a:pt x="30" y="84"/>
                  </a:lnTo>
                  <a:lnTo>
                    <a:pt x="24" y="78"/>
                  </a:lnTo>
                  <a:lnTo>
                    <a:pt x="0" y="78"/>
                  </a:lnTo>
                  <a:lnTo>
                    <a:pt x="0" y="84"/>
                  </a:lnTo>
                  <a:lnTo>
                    <a:pt x="6" y="90"/>
                  </a:lnTo>
                  <a:lnTo>
                    <a:pt x="12" y="102"/>
                  </a:lnTo>
                  <a:lnTo>
                    <a:pt x="18" y="108"/>
                  </a:lnTo>
                  <a:lnTo>
                    <a:pt x="24" y="120"/>
                  </a:lnTo>
                  <a:lnTo>
                    <a:pt x="36" y="126"/>
                  </a:lnTo>
                  <a:lnTo>
                    <a:pt x="42" y="138"/>
                  </a:lnTo>
                  <a:lnTo>
                    <a:pt x="48" y="144"/>
                  </a:lnTo>
                  <a:lnTo>
                    <a:pt x="48" y="15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45" name="Tunesien" descr="© INSCALE GmbH, 05.05.2010&#10;http://www.presentationload.com/">
              <a:extLst>
                <a:ext uri="{FF2B5EF4-FFF2-40B4-BE49-F238E27FC236}">
                  <a16:creationId xmlns:a16="http://schemas.microsoft.com/office/drawing/2014/main" id="{71C8ACFA-078D-44C2-BCE5-80011BC59946}"/>
                </a:ext>
              </a:extLst>
            </p:cNvPr>
            <p:cNvSpPr>
              <a:spLocks/>
            </p:cNvSpPr>
            <p:nvPr/>
          </p:nvSpPr>
          <p:spPr bwMode="gray">
            <a:xfrm>
              <a:off x="4345746" y="3057796"/>
              <a:ext cx="108193" cy="225795"/>
            </a:xfrm>
            <a:custGeom>
              <a:avLst/>
              <a:gdLst>
                <a:gd name="T0" fmla="*/ 2147483647 w 276"/>
                <a:gd name="T1" fmla="*/ 2147483647 h 570"/>
                <a:gd name="T2" fmla="*/ 2147483647 w 276"/>
                <a:gd name="T3" fmla="*/ 2147483647 h 570"/>
                <a:gd name="T4" fmla="*/ 2147483647 w 276"/>
                <a:gd name="T5" fmla="*/ 2147483647 h 570"/>
                <a:gd name="T6" fmla="*/ 2147483647 w 276"/>
                <a:gd name="T7" fmla="*/ 2147483647 h 570"/>
                <a:gd name="T8" fmla="*/ 2147483647 w 276"/>
                <a:gd name="T9" fmla="*/ 2147483647 h 570"/>
                <a:gd name="T10" fmla="*/ 2147483647 w 276"/>
                <a:gd name="T11" fmla="*/ 2147483647 h 570"/>
                <a:gd name="T12" fmla="*/ 0 w 276"/>
                <a:gd name="T13" fmla="*/ 2147483647 h 570"/>
                <a:gd name="T14" fmla="*/ 2147483647 w 276"/>
                <a:gd name="T15" fmla="*/ 2147483647 h 570"/>
                <a:gd name="T16" fmla="*/ 2147483647 w 276"/>
                <a:gd name="T17" fmla="*/ 2147483647 h 570"/>
                <a:gd name="T18" fmla="*/ 2147483647 w 276"/>
                <a:gd name="T19" fmla="*/ 2147483647 h 570"/>
                <a:gd name="T20" fmla="*/ 2147483647 w 276"/>
                <a:gd name="T21" fmla="*/ 2147483647 h 570"/>
                <a:gd name="T22" fmla="*/ 2147483647 w 276"/>
                <a:gd name="T23" fmla="*/ 2147483647 h 570"/>
                <a:gd name="T24" fmla="*/ 2147483647 w 276"/>
                <a:gd name="T25" fmla="*/ 2147483647 h 570"/>
                <a:gd name="T26" fmla="*/ 2147483647 w 276"/>
                <a:gd name="T27" fmla="*/ 2147483647 h 570"/>
                <a:gd name="T28" fmla="*/ 2147483647 w 276"/>
                <a:gd name="T29" fmla="*/ 2147483647 h 570"/>
                <a:gd name="T30" fmla="*/ 2147483647 w 276"/>
                <a:gd name="T31" fmla="*/ 2147483647 h 570"/>
                <a:gd name="T32" fmla="*/ 2147483647 w 276"/>
                <a:gd name="T33" fmla="*/ 2147483647 h 570"/>
                <a:gd name="T34" fmla="*/ 2147483647 w 276"/>
                <a:gd name="T35" fmla="*/ 2147483647 h 570"/>
                <a:gd name="T36" fmla="*/ 2147483647 w 276"/>
                <a:gd name="T37" fmla="*/ 2147483647 h 570"/>
                <a:gd name="T38" fmla="*/ 2147483647 w 276"/>
                <a:gd name="T39" fmla="*/ 2147483647 h 570"/>
                <a:gd name="T40" fmla="*/ 2147483647 w 276"/>
                <a:gd name="T41" fmla="*/ 2147483647 h 570"/>
                <a:gd name="T42" fmla="*/ 2147483647 w 276"/>
                <a:gd name="T43" fmla="*/ 2147483647 h 570"/>
                <a:gd name="T44" fmla="*/ 2147483647 w 276"/>
                <a:gd name="T45" fmla="*/ 2147483647 h 570"/>
                <a:gd name="T46" fmla="*/ 2147483647 w 276"/>
                <a:gd name="T47" fmla="*/ 2147483647 h 570"/>
                <a:gd name="T48" fmla="*/ 2147483647 w 276"/>
                <a:gd name="T49" fmla="*/ 2147483647 h 570"/>
                <a:gd name="T50" fmla="*/ 2147483647 w 276"/>
                <a:gd name="T51" fmla="*/ 2147483647 h 570"/>
                <a:gd name="T52" fmla="*/ 2147483647 w 276"/>
                <a:gd name="T53" fmla="*/ 2147483647 h 570"/>
                <a:gd name="T54" fmla="*/ 2147483647 w 276"/>
                <a:gd name="T55" fmla="*/ 2147483647 h 570"/>
                <a:gd name="T56" fmla="*/ 2147483647 w 276"/>
                <a:gd name="T57" fmla="*/ 2147483647 h 570"/>
                <a:gd name="T58" fmla="*/ 2147483647 w 276"/>
                <a:gd name="T59" fmla="*/ 2147483647 h 570"/>
                <a:gd name="T60" fmla="*/ 2147483647 w 276"/>
                <a:gd name="T61" fmla="*/ 2147483647 h 570"/>
                <a:gd name="T62" fmla="*/ 2147483647 w 276"/>
                <a:gd name="T63" fmla="*/ 2147483647 h 570"/>
                <a:gd name="T64" fmla="*/ 2147483647 w 276"/>
                <a:gd name="T65" fmla="*/ 2147483647 h 570"/>
                <a:gd name="T66" fmla="*/ 2147483647 w 276"/>
                <a:gd name="T67" fmla="*/ 2147483647 h 570"/>
                <a:gd name="T68" fmla="*/ 2147483647 w 276"/>
                <a:gd name="T69" fmla="*/ 2147483647 h 570"/>
                <a:gd name="T70" fmla="*/ 2147483647 w 276"/>
                <a:gd name="T71" fmla="*/ 2147483647 h 570"/>
                <a:gd name="T72" fmla="*/ 2147483647 w 276"/>
                <a:gd name="T73" fmla="*/ 2147483647 h 570"/>
                <a:gd name="T74" fmla="*/ 2147483647 w 276"/>
                <a:gd name="T75" fmla="*/ 2147483647 h 570"/>
                <a:gd name="T76" fmla="*/ 2147483647 w 276"/>
                <a:gd name="T77" fmla="*/ 2147483647 h 570"/>
                <a:gd name="T78" fmla="*/ 2147483647 w 276"/>
                <a:gd name="T79" fmla="*/ 2147483647 h 570"/>
                <a:gd name="T80" fmla="*/ 2147483647 w 276"/>
                <a:gd name="T81" fmla="*/ 2147483647 h 570"/>
                <a:gd name="T82" fmla="*/ 2147483647 w 276"/>
                <a:gd name="T83" fmla="*/ 2147483647 h 570"/>
                <a:gd name="T84" fmla="*/ 2147483647 w 276"/>
                <a:gd name="T85" fmla="*/ 2147483647 h 570"/>
                <a:gd name="T86" fmla="*/ 2147483647 w 276"/>
                <a:gd name="T87" fmla="*/ 2147483647 h 570"/>
                <a:gd name="T88" fmla="*/ 2147483647 w 276"/>
                <a:gd name="T89" fmla="*/ 0 h 570"/>
                <a:gd name="T90" fmla="*/ 2147483647 w 276"/>
                <a:gd name="T91" fmla="*/ 2147483647 h 570"/>
                <a:gd name="T92" fmla="*/ 2147483647 w 276"/>
                <a:gd name="T93" fmla="*/ 2147483647 h 570"/>
                <a:gd name="T94" fmla="*/ 2147483647 w 276"/>
                <a:gd name="T95" fmla="*/ 2147483647 h 5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6"/>
                <a:gd name="T145" fmla="*/ 0 h 570"/>
                <a:gd name="T146" fmla="*/ 276 w 276"/>
                <a:gd name="T147" fmla="*/ 570 h 5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6" h="570">
                  <a:moveTo>
                    <a:pt x="42" y="60"/>
                  </a:moveTo>
                  <a:lnTo>
                    <a:pt x="60" y="66"/>
                  </a:lnTo>
                  <a:lnTo>
                    <a:pt x="60" y="78"/>
                  </a:lnTo>
                  <a:lnTo>
                    <a:pt x="54" y="90"/>
                  </a:lnTo>
                  <a:lnTo>
                    <a:pt x="54" y="126"/>
                  </a:lnTo>
                  <a:lnTo>
                    <a:pt x="60" y="138"/>
                  </a:lnTo>
                  <a:lnTo>
                    <a:pt x="60" y="180"/>
                  </a:lnTo>
                  <a:lnTo>
                    <a:pt x="54" y="192"/>
                  </a:lnTo>
                  <a:lnTo>
                    <a:pt x="54" y="204"/>
                  </a:lnTo>
                  <a:lnTo>
                    <a:pt x="48" y="210"/>
                  </a:lnTo>
                  <a:lnTo>
                    <a:pt x="48" y="216"/>
                  </a:lnTo>
                  <a:lnTo>
                    <a:pt x="24" y="234"/>
                  </a:lnTo>
                  <a:lnTo>
                    <a:pt x="0" y="258"/>
                  </a:lnTo>
                  <a:lnTo>
                    <a:pt x="0" y="300"/>
                  </a:lnTo>
                  <a:lnTo>
                    <a:pt x="12" y="300"/>
                  </a:lnTo>
                  <a:lnTo>
                    <a:pt x="12" y="330"/>
                  </a:lnTo>
                  <a:lnTo>
                    <a:pt x="24" y="330"/>
                  </a:lnTo>
                  <a:lnTo>
                    <a:pt x="42" y="336"/>
                  </a:lnTo>
                  <a:lnTo>
                    <a:pt x="54" y="348"/>
                  </a:lnTo>
                  <a:lnTo>
                    <a:pt x="54" y="390"/>
                  </a:lnTo>
                  <a:lnTo>
                    <a:pt x="60" y="390"/>
                  </a:lnTo>
                  <a:lnTo>
                    <a:pt x="66" y="396"/>
                  </a:lnTo>
                  <a:lnTo>
                    <a:pt x="90" y="408"/>
                  </a:lnTo>
                  <a:lnTo>
                    <a:pt x="96" y="420"/>
                  </a:lnTo>
                  <a:lnTo>
                    <a:pt x="102" y="426"/>
                  </a:lnTo>
                  <a:lnTo>
                    <a:pt x="108" y="450"/>
                  </a:lnTo>
                  <a:lnTo>
                    <a:pt x="114" y="492"/>
                  </a:lnTo>
                  <a:lnTo>
                    <a:pt x="126" y="540"/>
                  </a:lnTo>
                  <a:lnTo>
                    <a:pt x="138" y="570"/>
                  </a:lnTo>
                  <a:lnTo>
                    <a:pt x="144" y="564"/>
                  </a:lnTo>
                  <a:lnTo>
                    <a:pt x="156" y="564"/>
                  </a:lnTo>
                  <a:lnTo>
                    <a:pt x="186" y="534"/>
                  </a:lnTo>
                  <a:lnTo>
                    <a:pt x="186" y="510"/>
                  </a:lnTo>
                  <a:lnTo>
                    <a:pt x="174" y="486"/>
                  </a:lnTo>
                  <a:lnTo>
                    <a:pt x="174" y="468"/>
                  </a:lnTo>
                  <a:lnTo>
                    <a:pt x="192" y="450"/>
                  </a:lnTo>
                  <a:lnTo>
                    <a:pt x="198" y="450"/>
                  </a:lnTo>
                  <a:lnTo>
                    <a:pt x="204" y="438"/>
                  </a:lnTo>
                  <a:lnTo>
                    <a:pt x="210" y="432"/>
                  </a:lnTo>
                  <a:lnTo>
                    <a:pt x="216" y="420"/>
                  </a:lnTo>
                  <a:lnTo>
                    <a:pt x="222" y="414"/>
                  </a:lnTo>
                  <a:lnTo>
                    <a:pt x="234" y="408"/>
                  </a:lnTo>
                  <a:lnTo>
                    <a:pt x="246" y="408"/>
                  </a:lnTo>
                  <a:lnTo>
                    <a:pt x="270" y="396"/>
                  </a:lnTo>
                  <a:lnTo>
                    <a:pt x="276" y="390"/>
                  </a:lnTo>
                  <a:lnTo>
                    <a:pt x="276" y="384"/>
                  </a:lnTo>
                  <a:lnTo>
                    <a:pt x="264" y="372"/>
                  </a:lnTo>
                  <a:lnTo>
                    <a:pt x="258" y="372"/>
                  </a:lnTo>
                  <a:lnTo>
                    <a:pt x="264" y="330"/>
                  </a:lnTo>
                  <a:lnTo>
                    <a:pt x="252" y="330"/>
                  </a:lnTo>
                  <a:lnTo>
                    <a:pt x="240" y="300"/>
                  </a:lnTo>
                  <a:lnTo>
                    <a:pt x="228" y="294"/>
                  </a:lnTo>
                  <a:lnTo>
                    <a:pt x="222" y="306"/>
                  </a:lnTo>
                  <a:lnTo>
                    <a:pt x="216" y="294"/>
                  </a:lnTo>
                  <a:lnTo>
                    <a:pt x="198" y="294"/>
                  </a:lnTo>
                  <a:lnTo>
                    <a:pt x="186" y="288"/>
                  </a:lnTo>
                  <a:lnTo>
                    <a:pt x="180" y="282"/>
                  </a:lnTo>
                  <a:lnTo>
                    <a:pt x="168" y="276"/>
                  </a:lnTo>
                  <a:lnTo>
                    <a:pt x="168" y="246"/>
                  </a:lnTo>
                  <a:lnTo>
                    <a:pt x="174" y="240"/>
                  </a:lnTo>
                  <a:lnTo>
                    <a:pt x="180" y="240"/>
                  </a:lnTo>
                  <a:lnTo>
                    <a:pt x="234" y="186"/>
                  </a:lnTo>
                  <a:lnTo>
                    <a:pt x="240" y="174"/>
                  </a:lnTo>
                  <a:lnTo>
                    <a:pt x="240" y="156"/>
                  </a:lnTo>
                  <a:lnTo>
                    <a:pt x="234" y="144"/>
                  </a:lnTo>
                  <a:lnTo>
                    <a:pt x="216" y="126"/>
                  </a:lnTo>
                  <a:lnTo>
                    <a:pt x="204" y="120"/>
                  </a:lnTo>
                  <a:lnTo>
                    <a:pt x="198" y="120"/>
                  </a:lnTo>
                  <a:lnTo>
                    <a:pt x="198" y="102"/>
                  </a:lnTo>
                  <a:lnTo>
                    <a:pt x="204" y="90"/>
                  </a:lnTo>
                  <a:lnTo>
                    <a:pt x="204" y="78"/>
                  </a:lnTo>
                  <a:lnTo>
                    <a:pt x="210" y="72"/>
                  </a:lnTo>
                  <a:lnTo>
                    <a:pt x="222" y="66"/>
                  </a:lnTo>
                  <a:lnTo>
                    <a:pt x="228" y="60"/>
                  </a:lnTo>
                  <a:lnTo>
                    <a:pt x="234" y="48"/>
                  </a:lnTo>
                  <a:lnTo>
                    <a:pt x="234" y="36"/>
                  </a:lnTo>
                  <a:lnTo>
                    <a:pt x="240" y="30"/>
                  </a:lnTo>
                  <a:lnTo>
                    <a:pt x="240" y="18"/>
                  </a:lnTo>
                  <a:lnTo>
                    <a:pt x="228" y="18"/>
                  </a:lnTo>
                  <a:lnTo>
                    <a:pt x="222" y="30"/>
                  </a:lnTo>
                  <a:lnTo>
                    <a:pt x="210" y="36"/>
                  </a:lnTo>
                  <a:lnTo>
                    <a:pt x="204" y="48"/>
                  </a:lnTo>
                  <a:lnTo>
                    <a:pt x="192" y="60"/>
                  </a:lnTo>
                  <a:lnTo>
                    <a:pt x="186" y="60"/>
                  </a:lnTo>
                  <a:lnTo>
                    <a:pt x="174" y="54"/>
                  </a:lnTo>
                  <a:lnTo>
                    <a:pt x="162" y="42"/>
                  </a:lnTo>
                  <a:lnTo>
                    <a:pt x="174" y="30"/>
                  </a:lnTo>
                  <a:lnTo>
                    <a:pt x="174" y="24"/>
                  </a:lnTo>
                  <a:lnTo>
                    <a:pt x="180" y="12"/>
                  </a:lnTo>
                  <a:lnTo>
                    <a:pt x="168" y="0"/>
                  </a:lnTo>
                  <a:lnTo>
                    <a:pt x="138" y="0"/>
                  </a:lnTo>
                  <a:lnTo>
                    <a:pt x="126" y="6"/>
                  </a:lnTo>
                  <a:lnTo>
                    <a:pt x="108" y="12"/>
                  </a:lnTo>
                  <a:lnTo>
                    <a:pt x="96" y="18"/>
                  </a:lnTo>
                  <a:lnTo>
                    <a:pt x="84" y="30"/>
                  </a:lnTo>
                  <a:lnTo>
                    <a:pt x="84" y="42"/>
                  </a:lnTo>
                  <a:lnTo>
                    <a:pt x="42" y="6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46" name="Tschechien" descr="© INSCALE GmbH, 05.05.2010&#10;http://www.presentationload.com/">
              <a:extLst>
                <a:ext uri="{FF2B5EF4-FFF2-40B4-BE49-F238E27FC236}">
                  <a16:creationId xmlns:a16="http://schemas.microsoft.com/office/drawing/2014/main" id="{52552827-6989-4F2D-B62F-71DB809C0807}"/>
                </a:ext>
              </a:extLst>
            </p:cNvPr>
            <p:cNvSpPr>
              <a:spLocks/>
            </p:cNvSpPr>
            <p:nvPr/>
          </p:nvSpPr>
          <p:spPr bwMode="gray">
            <a:xfrm>
              <a:off x="4463347" y="2625021"/>
              <a:ext cx="167778" cy="76834"/>
            </a:xfrm>
            <a:custGeom>
              <a:avLst/>
              <a:gdLst>
                <a:gd name="T0" fmla="*/ 2147483647 w 420"/>
                <a:gd name="T1" fmla="*/ 2147483647 h 192"/>
                <a:gd name="T2" fmla="*/ 2147483647 w 420"/>
                <a:gd name="T3" fmla="*/ 2147483647 h 192"/>
                <a:gd name="T4" fmla="*/ 2147483647 w 420"/>
                <a:gd name="T5" fmla="*/ 2147483647 h 192"/>
                <a:gd name="T6" fmla="*/ 2147483647 w 420"/>
                <a:gd name="T7" fmla="*/ 2147483647 h 192"/>
                <a:gd name="T8" fmla="*/ 2147483647 w 420"/>
                <a:gd name="T9" fmla="*/ 2147483647 h 192"/>
                <a:gd name="T10" fmla="*/ 2147483647 w 420"/>
                <a:gd name="T11" fmla="*/ 2147483647 h 192"/>
                <a:gd name="T12" fmla="*/ 2147483647 w 420"/>
                <a:gd name="T13" fmla="*/ 2147483647 h 192"/>
                <a:gd name="T14" fmla="*/ 2147483647 w 420"/>
                <a:gd name="T15" fmla="*/ 2147483647 h 192"/>
                <a:gd name="T16" fmla="*/ 2147483647 w 420"/>
                <a:gd name="T17" fmla="*/ 2147483647 h 192"/>
                <a:gd name="T18" fmla="*/ 2147483647 w 420"/>
                <a:gd name="T19" fmla="*/ 2147483647 h 192"/>
                <a:gd name="T20" fmla="*/ 2147483647 w 420"/>
                <a:gd name="T21" fmla="*/ 2147483647 h 192"/>
                <a:gd name="T22" fmla="*/ 2147483647 w 420"/>
                <a:gd name="T23" fmla="*/ 2147483647 h 192"/>
                <a:gd name="T24" fmla="*/ 2147483647 w 420"/>
                <a:gd name="T25" fmla="*/ 2147483647 h 192"/>
                <a:gd name="T26" fmla="*/ 2147483647 w 420"/>
                <a:gd name="T27" fmla="*/ 2147483647 h 192"/>
                <a:gd name="T28" fmla="*/ 2147483647 w 420"/>
                <a:gd name="T29" fmla="*/ 0 h 192"/>
                <a:gd name="T30" fmla="*/ 2147483647 w 420"/>
                <a:gd name="T31" fmla="*/ 2147483647 h 192"/>
                <a:gd name="T32" fmla="*/ 2147483647 w 420"/>
                <a:gd name="T33" fmla="*/ 0 h 192"/>
                <a:gd name="T34" fmla="*/ 2147483647 w 420"/>
                <a:gd name="T35" fmla="*/ 2147483647 h 192"/>
                <a:gd name="T36" fmla="*/ 2147483647 w 420"/>
                <a:gd name="T37" fmla="*/ 2147483647 h 192"/>
                <a:gd name="T38" fmla="*/ 2147483647 w 420"/>
                <a:gd name="T39" fmla="*/ 2147483647 h 192"/>
                <a:gd name="T40" fmla="*/ 2147483647 w 420"/>
                <a:gd name="T41" fmla="*/ 2147483647 h 192"/>
                <a:gd name="T42" fmla="*/ 2147483647 w 420"/>
                <a:gd name="T43" fmla="*/ 2147483647 h 192"/>
                <a:gd name="T44" fmla="*/ 2147483647 w 420"/>
                <a:gd name="T45" fmla="*/ 2147483647 h 192"/>
                <a:gd name="T46" fmla="*/ 2147483647 w 420"/>
                <a:gd name="T47" fmla="*/ 2147483647 h 192"/>
                <a:gd name="T48" fmla="*/ 2147483647 w 420"/>
                <a:gd name="T49" fmla="*/ 2147483647 h 192"/>
                <a:gd name="T50" fmla="*/ 2147483647 w 420"/>
                <a:gd name="T51" fmla="*/ 2147483647 h 192"/>
                <a:gd name="T52" fmla="*/ 0 w 420"/>
                <a:gd name="T53" fmla="*/ 2147483647 h 192"/>
                <a:gd name="T54" fmla="*/ 2147483647 w 420"/>
                <a:gd name="T55" fmla="*/ 2147483647 h 192"/>
                <a:gd name="T56" fmla="*/ 2147483647 w 420"/>
                <a:gd name="T57" fmla="*/ 2147483647 h 192"/>
                <a:gd name="T58" fmla="*/ 2147483647 w 420"/>
                <a:gd name="T59" fmla="*/ 2147483647 h 192"/>
                <a:gd name="T60" fmla="*/ 2147483647 w 420"/>
                <a:gd name="T61" fmla="*/ 2147483647 h 192"/>
                <a:gd name="T62" fmla="*/ 2147483647 w 420"/>
                <a:gd name="T63" fmla="*/ 2147483647 h 192"/>
                <a:gd name="T64" fmla="*/ 2147483647 w 420"/>
                <a:gd name="T65" fmla="*/ 2147483647 h 192"/>
                <a:gd name="T66" fmla="*/ 2147483647 w 420"/>
                <a:gd name="T67" fmla="*/ 2147483647 h 192"/>
                <a:gd name="T68" fmla="*/ 2147483647 w 420"/>
                <a:gd name="T69" fmla="*/ 2147483647 h 192"/>
                <a:gd name="T70" fmla="*/ 2147483647 w 420"/>
                <a:gd name="T71" fmla="*/ 2147483647 h 192"/>
                <a:gd name="T72" fmla="*/ 2147483647 w 420"/>
                <a:gd name="T73" fmla="*/ 2147483647 h 192"/>
                <a:gd name="T74" fmla="*/ 2147483647 w 420"/>
                <a:gd name="T75" fmla="*/ 2147483647 h 192"/>
                <a:gd name="T76" fmla="*/ 2147483647 w 420"/>
                <a:gd name="T77" fmla="*/ 2147483647 h 192"/>
                <a:gd name="T78" fmla="*/ 2147483647 w 420"/>
                <a:gd name="T79" fmla="*/ 2147483647 h 192"/>
                <a:gd name="T80" fmla="*/ 2147483647 w 420"/>
                <a:gd name="T81" fmla="*/ 2147483647 h 192"/>
                <a:gd name="T82" fmla="*/ 2147483647 w 420"/>
                <a:gd name="T83" fmla="*/ 2147483647 h 192"/>
                <a:gd name="T84" fmla="*/ 2147483647 w 420"/>
                <a:gd name="T85" fmla="*/ 2147483647 h 192"/>
                <a:gd name="T86" fmla="*/ 2147483647 w 420"/>
                <a:gd name="T87" fmla="*/ 2147483647 h 192"/>
                <a:gd name="T88" fmla="*/ 2147483647 w 420"/>
                <a:gd name="T89" fmla="*/ 2147483647 h 192"/>
                <a:gd name="T90" fmla="*/ 2147483647 w 420"/>
                <a:gd name="T91" fmla="*/ 2147483647 h 192"/>
                <a:gd name="T92" fmla="*/ 2147483647 w 420"/>
                <a:gd name="T93" fmla="*/ 2147483647 h 192"/>
                <a:gd name="T94" fmla="*/ 2147483647 w 420"/>
                <a:gd name="T95" fmla="*/ 2147483647 h 192"/>
                <a:gd name="T96" fmla="*/ 2147483647 w 420"/>
                <a:gd name="T97" fmla="*/ 2147483647 h 192"/>
                <a:gd name="T98" fmla="*/ 2147483647 w 420"/>
                <a:gd name="T99" fmla="*/ 2147483647 h 192"/>
                <a:gd name="T100" fmla="*/ 2147483647 w 420"/>
                <a:gd name="T101" fmla="*/ 2147483647 h 192"/>
                <a:gd name="T102" fmla="*/ 2147483647 w 420"/>
                <a:gd name="T103" fmla="*/ 2147483647 h 192"/>
                <a:gd name="T104" fmla="*/ 2147483647 w 420"/>
                <a:gd name="T105" fmla="*/ 2147483647 h 1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0"/>
                <a:gd name="T160" fmla="*/ 0 h 192"/>
                <a:gd name="T161" fmla="*/ 420 w 420"/>
                <a:gd name="T162" fmla="*/ 192 h 1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0" h="192">
                  <a:moveTo>
                    <a:pt x="408" y="108"/>
                  </a:moveTo>
                  <a:lnTo>
                    <a:pt x="402" y="96"/>
                  </a:lnTo>
                  <a:lnTo>
                    <a:pt x="402" y="90"/>
                  </a:lnTo>
                  <a:lnTo>
                    <a:pt x="390" y="84"/>
                  </a:lnTo>
                  <a:lnTo>
                    <a:pt x="372" y="84"/>
                  </a:lnTo>
                  <a:lnTo>
                    <a:pt x="372" y="78"/>
                  </a:lnTo>
                  <a:lnTo>
                    <a:pt x="366" y="72"/>
                  </a:lnTo>
                  <a:lnTo>
                    <a:pt x="360" y="84"/>
                  </a:lnTo>
                  <a:lnTo>
                    <a:pt x="354" y="78"/>
                  </a:lnTo>
                  <a:lnTo>
                    <a:pt x="348" y="66"/>
                  </a:lnTo>
                  <a:lnTo>
                    <a:pt x="342" y="60"/>
                  </a:lnTo>
                  <a:lnTo>
                    <a:pt x="324" y="60"/>
                  </a:lnTo>
                  <a:lnTo>
                    <a:pt x="330" y="54"/>
                  </a:lnTo>
                  <a:lnTo>
                    <a:pt x="312" y="54"/>
                  </a:lnTo>
                  <a:lnTo>
                    <a:pt x="300" y="60"/>
                  </a:lnTo>
                  <a:lnTo>
                    <a:pt x="294" y="60"/>
                  </a:lnTo>
                  <a:lnTo>
                    <a:pt x="294" y="66"/>
                  </a:lnTo>
                  <a:lnTo>
                    <a:pt x="276" y="66"/>
                  </a:lnTo>
                  <a:lnTo>
                    <a:pt x="270" y="60"/>
                  </a:lnTo>
                  <a:lnTo>
                    <a:pt x="264" y="60"/>
                  </a:lnTo>
                  <a:lnTo>
                    <a:pt x="264" y="48"/>
                  </a:lnTo>
                  <a:lnTo>
                    <a:pt x="252" y="42"/>
                  </a:lnTo>
                  <a:lnTo>
                    <a:pt x="264" y="36"/>
                  </a:lnTo>
                  <a:lnTo>
                    <a:pt x="258" y="30"/>
                  </a:lnTo>
                  <a:lnTo>
                    <a:pt x="234" y="30"/>
                  </a:lnTo>
                  <a:lnTo>
                    <a:pt x="234" y="24"/>
                  </a:lnTo>
                  <a:lnTo>
                    <a:pt x="228" y="24"/>
                  </a:lnTo>
                  <a:lnTo>
                    <a:pt x="216" y="18"/>
                  </a:lnTo>
                  <a:lnTo>
                    <a:pt x="198" y="18"/>
                  </a:lnTo>
                  <a:lnTo>
                    <a:pt x="192" y="0"/>
                  </a:lnTo>
                  <a:lnTo>
                    <a:pt x="174" y="0"/>
                  </a:lnTo>
                  <a:lnTo>
                    <a:pt x="162" y="12"/>
                  </a:lnTo>
                  <a:lnTo>
                    <a:pt x="156" y="12"/>
                  </a:lnTo>
                  <a:lnTo>
                    <a:pt x="144" y="0"/>
                  </a:lnTo>
                  <a:lnTo>
                    <a:pt x="138" y="6"/>
                  </a:lnTo>
                  <a:lnTo>
                    <a:pt x="132" y="6"/>
                  </a:lnTo>
                  <a:lnTo>
                    <a:pt x="126" y="12"/>
                  </a:lnTo>
                  <a:lnTo>
                    <a:pt x="126" y="18"/>
                  </a:lnTo>
                  <a:lnTo>
                    <a:pt x="108" y="18"/>
                  </a:lnTo>
                  <a:lnTo>
                    <a:pt x="108" y="24"/>
                  </a:lnTo>
                  <a:lnTo>
                    <a:pt x="84" y="24"/>
                  </a:lnTo>
                  <a:lnTo>
                    <a:pt x="84" y="30"/>
                  </a:lnTo>
                  <a:lnTo>
                    <a:pt x="66" y="36"/>
                  </a:lnTo>
                  <a:lnTo>
                    <a:pt x="54" y="48"/>
                  </a:lnTo>
                  <a:lnTo>
                    <a:pt x="42" y="42"/>
                  </a:lnTo>
                  <a:lnTo>
                    <a:pt x="36" y="42"/>
                  </a:lnTo>
                  <a:lnTo>
                    <a:pt x="30" y="48"/>
                  </a:lnTo>
                  <a:lnTo>
                    <a:pt x="30" y="54"/>
                  </a:lnTo>
                  <a:lnTo>
                    <a:pt x="18" y="54"/>
                  </a:lnTo>
                  <a:lnTo>
                    <a:pt x="18" y="60"/>
                  </a:lnTo>
                  <a:lnTo>
                    <a:pt x="6" y="60"/>
                  </a:lnTo>
                  <a:lnTo>
                    <a:pt x="6" y="54"/>
                  </a:lnTo>
                  <a:lnTo>
                    <a:pt x="0" y="54"/>
                  </a:lnTo>
                  <a:lnTo>
                    <a:pt x="0" y="66"/>
                  </a:lnTo>
                  <a:lnTo>
                    <a:pt x="6" y="72"/>
                  </a:lnTo>
                  <a:lnTo>
                    <a:pt x="12" y="72"/>
                  </a:lnTo>
                  <a:lnTo>
                    <a:pt x="24" y="84"/>
                  </a:lnTo>
                  <a:lnTo>
                    <a:pt x="18" y="90"/>
                  </a:lnTo>
                  <a:lnTo>
                    <a:pt x="12" y="90"/>
                  </a:lnTo>
                  <a:lnTo>
                    <a:pt x="12" y="96"/>
                  </a:lnTo>
                  <a:lnTo>
                    <a:pt x="24" y="108"/>
                  </a:lnTo>
                  <a:lnTo>
                    <a:pt x="30" y="120"/>
                  </a:lnTo>
                  <a:lnTo>
                    <a:pt x="36" y="120"/>
                  </a:lnTo>
                  <a:lnTo>
                    <a:pt x="36" y="126"/>
                  </a:lnTo>
                  <a:lnTo>
                    <a:pt x="48" y="132"/>
                  </a:lnTo>
                  <a:lnTo>
                    <a:pt x="60" y="132"/>
                  </a:lnTo>
                  <a:lnTo>
                    <a:pt x="66" y="144"/>
                  </a:lnTo>
                  <a:lnTo>
                    <a:pt x="72" y="144"/>
                  </a:lnTo>
                  <a:lnTo>
                    <a:pt x="78" y="156"/>
                  </a:lnTo>
                  <a:lnTo>
                    <a:pt x="90" y="156"/>
                  </a:lnTo>
                  <a:lnTo>
                    <a:pt x="96" y="162"/>
                  </a:lnTo>
                  <a:lnTo>
                    <a:pt x="102" y="162"/>
                  </a:lnTo>
                  <a:lnTo>
                    <a:pt x="102" y="174"/>
                  </a:lnTo>
                  <a:lnTo>
                    <a:pt x="120" y="192"/>
                  </a:lnTo>
                  <a:lnTo>
                    <a:pt x="132" y="192"/>
                  </a:lnTo>
                  <a:lnTo>
                    <a:pt x="144" y="186"/>
                  </a:lnTo>
                  <a:lnTo>
                    <a:pt x="150" y="186"/>
                  </a:lnTo>
                  <a:lnTo>
                    <a:pt x="162" y="192"/>
                  </a:lnTo>
                  <a:lnTo>
                    <a:pt x="162" y="174"/>
                  </a:lnTo>
                  <a:lnTo>
                    <a:pt x="168" y="174"/>
                  </a:lnTo>
                  <a:lnTo>
                    <a:pt x="174" y="162"/>
                  </a:lnTo>
                  <a:lnTo>
                    <a:pt x="180" y="156"/>
                  </a:lnTo>
                  <a:lnTo>
                    <a:pt x="198" y="156"/>
                  </a:lnTo>
                  <a:lnTo>
                    <a:pt x="210" y="162"/>
                  </a:lnTo>
                  <a:lnTo>
                    <a:pt x="222" y="174"/>
                  </a:lnTo>
                  <a:lnTo>
                    <a:pt x="234" y="168"/>
                  </a:lnTo>
                  <a:lnTo>
                    <a:pt x="246" y="180"/>
                  </a:lnTo>
                  <a:lnTo>
                    <a:pt x="258" y="174"/>
                  </a:lnTo>
                  <a:lnTo>
                    <a:pt x="264" y="168"/>
                  </a:lnTo>
                  <a:lnTo>
                    <a:pt x="276" y="168"/>
                  </a:lnTo>
                  <a:lnTo>
                    <a:pt x="282" y="174"/>
                  </a:lnTo>
                  <a:lnTo>
                    <a:pt x="288" y="174"/>
                  </a:lnTo>
                  <a:lnTo>
                    <a:pt x="300" y="180"/>
                  </a:lnTo>
                  <a:lnTo>
                    <a:pt x="306" y="174"/>
                  </a:lnTo>
                  <a:lnTo>
                    <a:pt x="324" y="174"/>
                  </a:lnTo>
                  <a:lnTo>
                    <a:pt x="330" y="168"/>
                  </a:lnTo>
                  <a:lnTo>
                    <a:pt x="330" y="174"/>
                  </a:lnTo>
                  <a:lnTo>
                    <a:pt x="348" y="174"/>
                  </a:lnTo>
                  <a:lnTo>
                    <a:pt x="360" y="168"/>
                  </a:lnTo>
                  <a:lnTo>
                    <a:pt x="366" y="162"/>
                  </a:lnTo>
                  <a:lnTo>
                    <a:pt x="378" y="156"/>
                  </a:lnTo>
                  <a:lnTo>
                    <a:pt x="378" y="132"/>
                  </a:lnTo>
                  <a:lnTo>
                    <a:pt x="402" y="126"/>
                  </a:lnTo>
                  <a:lnTo>
                    <a:pt x="420" y="114"/>
                  </a:lnTo>
                  <a:lnTo>
                    <a:pt x="414" y="108"/>
                  </a:lnTo>
                  <a:lnTo>
                    <a:pt x="408" y="108"/>
                  </a:lnTo>
                  <a:close/>
                </a:path>
              </a:pathLst>
            </a:custGeom>
            <a:solidFill>
              <a:schemeClr val="accent1"/>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47" name="Togo" descr="© INSCALE GmbH, 05.05.2010&#10;http://www.presentationload.com/">
              <a:extLst>
                <a:ext uri="{FF2B5EF4-FFF2-40B4-BE49-F238E27FC236}">
                  <a16:creationId xmlns:a16="http://schemas.microsoft.com/office/drawing/2014/main" id="{B99470FD-0832-42A3-94DA-B6F475EA825B}"/>
                </a:ext>
              </a:extLst>
            </p:cNvPr>
            <p:cNvSpPr>
              <a:spLocks/>
            </p:cNvSpPr>
            <p:nvPr/>
          </p:nvSpPr>
          <p:spPr bwMode="gray">
            <a:xfrm>
              <a:off x="4124655" y="3898256"/>
              <a:ext cx="56449" cy="159938"/>
            </a:xfrm>
            <a:custGeom>
              <a:avLst/>
              <a:gdLst>
                <a:gd name="T0" fmla="*/ 2147483647 w 138"/>
                <a:gd name="T1" fmla="*/ 2147483647 h 402"/>
                <a:gd name="T2" fmla="*/ 2147483647 w 138"/>
                <a:gd name="T3" fmla="*/ 2147483647 h 402"/>
                <a:gd name="T4" fmla="*/ 2147483647 w 138"/>
                <a:gd name="T5" fmla="*/ 2147483647 h 402"/>
                <a:gd name="T6" fmla="*/ 2147483647 w 138"/>
                <a:gd name="T7" fmla="*/ 2147483647 h 402"/>
                <a:gd name="T8" fmla="*/ 2147483647 w 138"/>
                <a:gd name="T9" fmla="*/ 2147483647 h 402"/>
                <a:gd name="T10" fmla="*/ 2147483647 w 138"/>
                <a:gd name="T11" fmla="*/ 2147483647 h 402"/>
                <a:gd name="T12" fmla="*/ 2147483647 w 138"/>
                <a:gd name="T13" fmla="*/ 2147483647 h 402"/>
                <a:gd name="T14" fmla="*/ 2147483647 w 138"/>
                <a:gd name="T15" fmla="*/ 2147483647 h 402"/>
                <a:gd name="T16" fmla="*/ 2147483647 w 138"/>
                <a:gd name="T17" fmla="*/ 2147483647 h 402"/>
                <a:gd name="T18" fmla="*/ 2147483647 w 138"/>
                <a:gd name="T19" fmla="*/ 2147483647 h 402"/>
                <a:gd name="T20" fmla="*/ 2147483647 w 138"/>
                <a:gd name="T21" fmla="*/ 2147483647 h 402"/>
                <a:gd name="T22" fmla="*/ 2147483647 w 138"/>
                <a:gd name="T23" fmla="*/ 2147483647 h 402"/>
                <a:gd name="T24" fmla="*/ 2147483647 w 138"/>
                <a:gd name="T25" fmla="*/ 2147483647 h 402"/>
                <a:gd name="T26" fmla="*/ 2147483647 w 138"/>
                <a:gd name="T27" fmla="*/ 2147483647 h 402"/>
                <a:gd name="T28" fmla="*/ 2147483647 w 138"/>
                <a:gd name="T29" fmla="*/ 2147483647 h 402"/>
                <a:gd name="T30" fmla="*/ 2147483647 w 138"/>
                <a:gd name="T31" fmla="*/ 2147483647 h 402"/>
                <a:gd name="T32" fmla="*/ 2147483647 w 138"/>
                <a:gd name="T33" fmla="*/ 0 h 402"/>
                <a:gd name="T34" fmla="*/ 2147483647 w 138"/>
                <a:gd name="T35" fmla="*/ 0 h 402"/>
                <a:gd name="T36" fmla="*/ 2147483647 w 138"/>
                <a:gd name="T37" fmla="*/ 2147483647 h 402"/>
                <a:gd name="T38" fmla="*/ 0 w 138"/>
                <a:gd name="T39" fmla="*/ 2147483647 h 402"/>
                <a:gd name="T40" fmla="*/ 2147483647 w 138"/>
                <a:gd name="T41" fmla="*/ 2147483647 h 402"/>
                <a:gd name="T42" fmla="*/ 2147483647 w 138"/>
                <a:gd name="T43" fmla="*/ 2147483647 h 402"/>
                <a:gd name="T44" fmla="*/ 2147483647 w 138"/>
                <a:gd name="T45" fmla="*/ 2147483647 h 402"/>
                <a:gd name="T46" fmla="*/ 2147483647 w 138"/>
                <a:gd name="T47" fmla="*/ 2147483647 h 402"/>
                <a:gd name="T48" fmla="*/ 2147483647 w 138"/>
                <a:gd name="T49" fmla="*/ 2147483647 h 402"/>
                <a:gd name="T50" fmla="*/ 2147483647 w 138"/>
                <a:gd name="T51" fmla="*/ 2147483647 h 402"/>
                <a:gd name="T52" fmla="*/ 2147483647 w 138"/>
                <a:gd name="T53" fmla="*/ 2147483647 h 402"/>
                <a:gd name="T54" fmla="*/ 2147483647 w 138"/>
                <a:gd name="T55" fmla="*/ 2147483647 h 402"/>
                <a:gd name="T56" fmla="*/ 2147483647 w 138"/>
                <a:gd name="T57" fmla="*/ 2147483647 h 402"/>
                <a:gd name="T58" fmla="*/ 2147483647 w 138"/>
                <a:gd name="T59" fmla="*/ 2147483647 h 402"/>
                <a:gd name="T60" fmla="*/ 2147483647 w 138"/>
                <a:gd name="T61" fmla="*/ 2147483647 h 402"/>
                <a:gd name="T62" fmla="*/ 2147483647 w 138"/>
                <a:gd name="T63" fmla="*/ 2147483647 h 402"/>
                <a:gd name="T64" fmla="*/ 2147483647 w 138"/>
                <a:gd name="T65" fmla="*/ 2147483647 h 402"/>
                <a:gd name="T66" fmla="*/ 2147483647 w 138"/>
                <a:gd name="T67" fmla="*/ 2147483647 h 402"/>
                <a:gd name="T68" fmla="*/ 2147483647 w 138"/>
                <a:gd name="T69" fmla="*/ 2147483647 h 402"/>
                <a:gd name="T70" fmla="*/ 2147483647 w 138"/>
                <a:gd name="T71" fmla="*/ 2147483647 h 402"/>
                <a:gd name="T72" fmla="*/ 2147483647 w 138"/>
                <a:gd name="T73" fmla="*/ 2147483647 h 402"/>
                <a:gd name="T74" fmla="*/ 2147483647 w 138"/>
                <a:gd name="T75" fmla="*/ 2147483647 h 402"/>
                <a:gd name="T76" fmla="*/ 2147483647 w 138"/>
                <a:gd name="T77" fmla="*/ 2147483647 h 402"/>
                <a:gd name="T78" fmla="*/ 2147483647 w 138"/>
                <a:gd name="T79" fmla="*/ 2147483647 h 402"/>
                <a:gd name="T80" fmla="*/ 2147483647 w 138"/>
                <a:gd name="T81" fmla="*/ 2147483647 h 402"/>
                <a:gd name="T82" fmla="*/ 2147483647 w 138"/>
                <a:gd name="T83" fmla="*/ 2147483647 h 402"/>
                <a:gd name="T84" fmla="*/ 2147483647 w 138"/>
                <a:gd name="T85" fmla="*/ 2147483647 h 402"/>
                <a:gd name="T86" fmla="*/ 2147483647 w 138"/>
                <a:gd name="T87" fmla="*/ 2147483647 h 402"/>
                <a:gd name="T88" fmla="*/ 2147483647 w 138"/>
                <a:gd name="T89" fmla="*/ 2147483647 h 402"/>
                <a:gd name="T90" fmla="*/ 2147483647 w 138"/>
                <a:gd name="T91" fmla="*/ 2147483647 h 402"/>
                <a:gd name="T92" fmla="*/ 2147483647 w 138"/>
                <a:gd name="T93" fmla="*/ 2147483647 h 402"/>
                <a:gd name="T94" fmla="*/ 2147483647 w 138"/>
                <a:gd name="T95" fmla="*/ 2147483647 h 402"/>
                <a:gd name="T96" fmla="*/ 2147483647 w 138"/>
                <a:gd name="T97" fmla="*/ 2147483647 h 402"/>
                <a:gd name="T98" fmla="*/ 2147483647 w 138"/>
                <a:gd name="T99" fmla="*/ 2147483647 h 402"/>
                <a:gd name="T100" fmla="*/ 2147483647 w 138"/>
                <a:gd name="T101" fmla="*/ 2147483647 h 402"/>
                <a:gd name="T102" fmla="*/ 2147483647 w 138"/>
                <a:gd name="T103" fmla="*/ 2147483647 h 4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8"/>
                <a:gd name="T157" fmla="*/ 0 h 402"/>
                <a:gd name="T158" fmla="*/ 138 w 138"/>
                <a:gd name="T159" fmla="*/ 402 h 4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8" h="402">
                  <a:moveTo>
                    <a:pt x="126" y="354"/>
                  </a:moveTo>
                  <a:lnTo>
                    <a:pt x="120" y="288"/>
                  </a:lnTo>
                  <a:lnTo>
                    <a:pt x="132" y="282"/>
                  </a:lnTo>
                  <a:lnTo>
                    <a:pt x="120" y="270"/>
                  </a:lnTo>
                  <a:lnTo>
                    <a:pt x="120" y="210"/>
                  </a:lnTo>
                  <a:lnTo>
                    <a:pt x="132" y="198"/>
                  </a:lnTo>
                  <a:lnTo>
                    <a:pt x="126" y="186"/>
                  </a:lnTo>
                  <a:lnTo>
                    <a:pt x="126" y="156"/>
                  </a:lnTo>
                  <a:lnTo>
                    <a:pt x="120" y="144"/>
                  </a:lnTo>
                  <a:lnTo>
                    <a:pt x="108" y="132"/>
                  </a:lnTo>
                  <a:lnTo>
                    <a:pt x="108" y="90"/>
                  </a:lnTo>
                  <a:lnTo>
                    <a:pt x="78" y="60"/>
                  </a:lnTo>
                  <a:lnTo>
                    <a:pt x="66" y="54"/>
                  </a:lnTo>
                  <a:lnTo>
                    <a:pt x="66" y="24"/>
                  </a:lnTo>
                  <a:lnTo>
                    <a:pt x="72" y="6"/>
                  </a:lnTo>
                  <a:lnTo>
                    <a:pt x="54" y="6"/>
                  </a:lnTo>
                  <a:lnTo>
                    <a:pt x="30" y="0"/>
                  </a:lnTo>
                  <a:lnTo>
                    <a:pt x="12" y="0"/>
                  </a:lnTo>
                  <a:lnTo>
                    <a:pt x="12" y="18"/>
                  </a:lnTo>
                  <a:lnTo>
                    <a:pt x="0" y="30"/>
                  </a:lnTo>
                  <a:lnTo>
                    <a:pt x="36" y="54"/>
                  </a:lnTo>
                  <a:lnTo>
                    <a:pt x="24" y="132"/>
                  </a:lnTo>
                  <a:lnTo>
                    <a:pt x="36" y="120"/>
                  </a:lnTo>
                  <a:lnTo>
                    <a:pt x="42" y="120"/>
                  </a:lnTo>
                  <a:lnTo>
                    <a:pt x="48" y="126"/>
                  </a:lnTo>
                  <a:lnTo>
                    <a:pt x="48" y="150"/>
                  </a:lnTo>
                  <a:lnTo>
                    <a:pt x="42" y="162"/>
                  </a:lnTo>
                  <a:lnTo>
                    <a:pt x="54" y="174"/>
                  </a:lnTo>
                  <a:lnTo>
                    <a:pt x="54" y="180"/>
                  </a:lnTo>
                  <a:lnTo>
                    <a:pt x="48" y="180"/>
                  </a:lnTo>
                  <a:lnTo>
                    <a:pt x="36" y="192"/>
                  </a:lnTo>
                  <a:lnTo>
                    <a:pt x="42" y="198"/>
                  </a:lnTo>
                  <a:lnTo>
                    <a:pt x="54" y="204"/>
                  </a:lnTo>
                  <a:lnTo>
                    <a:pt x="60" y="210"/>
                  </a:lnTo>
                  <a:lnTo>
                    <a:pt x="60" y="222"/>
                  </a:lnTo>
                  <a:lnTo>
                    <a:pt x="54" y="228"/>
                  </a:lnTo>
                  <a:lnTo>
                    <a:pt x="54" y="270"/>
                  </a:lnTo>
                  <a:lnTo>
                    <a:pt x="48" y="276"/>
                  </a:lnTo>
                  <a:lnTo>
                    <a:pt x="48" y="294"/>
                  </a:lnTo>
                  <a:lnTo>
                    <a:pt x="54" y="294"/>
                  </a:lnTo>
                  <a:lnTo>
                    <a:pt x="60" y="300"/>
                  </a:lnTo>
                  <a:lnTo>
                    <a:pt x="60" y="312"/>
                  </a:lnTo>
                  <a:lnTo>
                    <a:pt x="54" y="324"/>
                  </a:lnTo>
                  <a:lnTo>
                    <a:pt x="54" y="336"/>
                  </a:lnTo>
                  <a:lnTo>
                    <a:pt x="66" y="378"/>
                  </a:lnTo>
                  <a:lnTo>
                    <a:pt x="96" y="402"/>
                  </a:lnTo>
                  <a:lnTo>
                    <a:pt x="108" y="396"/>
                  </a:lnTo>
                  <a:lnTo>
                    <a:pt x="120" y="384"/>
                  </a:lnTo>
                  <a:lnTo>
                    <a:pt x="138" y="384"/>
                  </a:lnTo>
                  <a:lnTo>
                    <a:pt x="138" y="372"/>
                  </a:lnTo>
                  <a:lnTo>
                    <a:pt x="126" y="360"/>
                  </a:lnTo>
                  <a:lnTo>
                    <a:pt x="126" y="354"/>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48" name="Thailand" descr="© INSCALE GmbH, 05.05.2010&#10;http://www.presentationload.com/">
              <a:extLst>
                <a:ext uri="{FF2B5EF4-FFF2-40B4-BE49-F238E27FC236}">
                  <a16:creationId xmlns:a16="http://schemas.microsoft.com/office/drawing/2014/main" id="{FDEEA8C7-9D50-4DB3-A56B-C7ACEF401487}"/>
                </a:ext>
              </a:extLst>
            </p:cNvPr>
            <p:cNvSpPr>
              <a:spLocks/>
            </p:cNvSpPr>
            <p:nvPr/>
          </p:nvSpPr>
          <p:spPr bwMode="gray">
            <a:xfrm>
              <a:off x="6849878" y="3598764"/>
              <a:ext cx="246179" cy="471976"/>
            </a:xfrm>
            <a:custGeom>
              <a:avLst/>
              <a:gdLst>
                <a:gd name="T0" fmla="*/ 2147483647 w 618"/>
                <a:gd name="T1" fmla="*/ 2147483647 h 1188"/>
                <a:gd name="T2" fmla="*/ 2147483647 w 618"/>
                <a:gd name="T3" fmla="*/ 2147483647 h 1188"/>
                <a:gd name="T4" fmla="*/ 2147483647 w 618"/>
                <a:gd name="T5" fmla="*/ 2147483647 h 1188"/>
                <a:gd name="T6" fmla="*/ 2147483647 w 618"/>
                <a:gd name="T7" fmla="*/ 2147483647 h 1188"/>
                <a:gd name="T8" fmla="*/ 2147483647 w 618"/>
                <a:gd name="T9" fmla="*/ 2147483647 h 1188"/>
                <a:gd name="T10" fmla="*/ 2147483647 w 618"/>
                <a:gd name="T11" fmla="*/ 2147483647 h 1188"/>
                <a:gd name="T12" fmla="*/ 2147483647 w 618"/>
                <a:gd name="T13" fmla="*/ 2147483647 h 1188"/>
                <a:gd name="T14" fmla="*/ 2147483647 w 618"/>
                <a:gd name="T15" fmla="*/ 2147483647 h 1188"/>
                <a:gd name="T16" fmla="*/ 2147483647 w 618"/>
                <a:gd name="T17" fmla="*/ 2147483647 h 1188"/>
                <a:gd name="T18" fmla="*/ 2147483647 w 618"/>
                <a:gd name="T19" fmla="*/ 2147483647 h 1188"/>
                <a:gd name="T20" fmla="*/ 2147483647 w 618"/>
                <a:gd name="T21" fmla="*/ 2147483647 h 1188"/>
                <a:gd name="T22" fmla="*/ 2147483647 w 618"/>
                <a:gd name="T23" fmla="*/ 2147483647 h 1188"/>
                <a:gd name="T24" fmla="*/ 2147483647 w 618"/>
                <a:gd name="T25" fmla="*/ 0 h 1188"/>
                <a:gd name="T26" fmla="*/ 2147483647 w 618"/>
                <a:gd name="T27" fmla="*/ 2147483647 h 1188"/>
                <a:gd name="T28" fmla="*/ 2147483647 w 618"/>
                <a:gd name="T29" fmla="*/ 2147483647 h 1188"/>
                <a:gd name="T30" fmla="*/ 2147483647 w 618"/>
                <a:gd name="T31" fmla="*/ 2147483647 h 1188"/>
                <a:gd name="T32" fmla="*/ 0 w 618"/>
                <a:gd name="T33" fmla="*/ 2147483647 h 1188"/>
                <a:gd name="T34" fmla="*/ 2147483647 w 618"/>
                <a:gd name="T35" fmla="*/ 2147483647 h 1188"/>
                <a:gd name="T36" fmla="*/ 2147483647 w 618"/>
                <a:gd name="T37" fmla="*/ 2147483647 h 1188"/>
                <a:gd name="T38" fmla="*/ 2147483647 w 618"/>
                <a:gd name="T39" fmla="*/ 2147483647 h 1188"/>
                <a:gd name="T40" fmla="*/ 2147483647 w 618"/>
                <a:gd name="T41" fmla="*/ 2147483647 h 1188"/>
                <a:gd name="T42" fmla="*/ 2147483647 w 618"/>
                <a:gd name="T43" fmla="*/ 2147483647 h 1188"/>
                <a:gd name="T44" fmla="*/ 2147483647 w 618"/>
                <a:gd name="T45" fmla="*/ 2147483647 h 1188"/>
                <a:gd name="T46" fmla="*/ 2147483647 w 618"/>
                <a:gd name="T47" fmla="*/ 2147483647 h 1188"/>
                <a:gd name="T48" fmla="*/ 2147483647 w 618"/>
                <a:gd name="T49" fmla="*/ 2147483647 h 1188"/>
                <a:gd name="T50" fmla="*/ 2147483647 w 618"/>
                <a:gd name="T51" fmla="*/ 2147483647 h 1188"/>
                <a:gd name="T52" fmla="*/ 2147483647 w 618"/>
                <a:gd name="T53" fmla="*/ 2147483647 h 1188"/>
                <a:gd name="T54" fmla="*/ 2147483647 w 618"/>
                <a:gd name="T55" fmla="*/ 2147483647 h 1188"/>
                <a:gd name="T56" fmla="*/ 2147483647 w 618"/>
                <a:gd name="T57" fmla="*/ 2147483647 h 1188"/>
                <a:gd name="T58" fmla="*/ 2147483647 w 618"/>
                <a:gd name="T59" fmla="*/ 2147483647 h 1188"/>
                <a:gd name="T60" fmla="*/ 2147483647 w 618"/>
                <a:gd name="T61" fmla="*/ 2147483647 h 1188"/>
                <a:gd name="T62" fmla="*/ 2147483647 w 618"/>
                <a:gd name="T63" fmla="*/ 2147483647 h 1188"/>
                <a:gd name="T64" fmla="*/ 2147483647 w 618"/>
                <a:gd name="T65" fmla="*/ 2147483647 h 1188"/>
                <a:gd name="T66" fmla="*/ 2147483647 w 618"/>
                <a:gd name="T67" fmla="*/ 2147483647 h 1188"/>
                <a:gd name="T68" fmla="*/ 2147483647 w 618"/>
                <a:gd name="T69" fmla="*/ 2147483647 h 1188"/>
                <a:gd name="T70" fmla="*/ 2147483647 w 618"/>
                <a:gd name="T71" fmla="*/ 2147483647 h 1188"/>
                <a:gd name="T72" fmla="*/ 2147483647 w 618"/>
                <a:gd name="T73" fmla="*/ 2147483647 h 1188"/>
                <a:gd name="T74" fmla="*/ 2147483647 w 618"/>
                <a:gd name="T75" fmla="*/ 2147483647 h 1188"/>
                <a:gd name="T76" fmla="*/ 2147483647 w 618"/>
                <a:gd name="T77" fmla="*/ 2147483647 h 1188"/>
                <a:gd name="T78" fmla="*/ 2147483647 w 618"/>
                <a:gd name="T79" fmla="*/ 2147483647 h 1188"/>
                <a:gd name="T80" fmla="*/ 2147483647 w 618"/>
                <a:gd name="T81" fmla="*/ 2147483647 h 1188"/>
                <a:gd name="T82" fmla="*/ 2147483647 w 618"/>
                <a:gd name="T83" fmla="*/ 2147483647 h 1188"/>
                <a:gd name="T84" fmla="*/ 2147483647 w 618"/>
                <a:gd name="T85" fmla="*/ 2147483647 h 1188"/>
                <a:gd name="T86" fmla="*/ 2147483647 w 618"/>
                <a:gd name="T87" fmla="*/ 2147483647 h 1188"/>
                <a:gd name="T88" fmla="*/ 2147483647 w 618"/>
                <a:gd name="T89" fmla="*/ 2147483647 h 1188"/>
                <a:gd name="T90" fmla="*/ 2147483647 w 618"/>
                <a:gd name="T91" fmla="*/ 2147483647 h 1188"/>
                <a:gd name="T92" fmla="*/ 2147483647 w 618"/>
                <a:gd name="T93" fmla="*/ 2147483647 h 1188"/>
                <a:gd name="T94" fmla="*/ 2147483647 w 618"/>
                <a:gd name="T95" fmla="*/ 2147483647 h 1188"/>
                <a:gd name="T96" fmla="*/ 2147483647 w 618"/>
                <a:gd name="T97" fmla="*/ 2147483647 h 1188"/>
                <a:gd name="T98" fmla="*/ 2147483647 w 618"/>
                <a:gd name="T99" fmla="*/ 2147483647 h 1188"/>
                <a:gd name="T100" fmla="*/ 2147483647 w 618"/>
                <a:gd name="T101" fmla="*/ 2147483647 h 1188"/>
                <a:gd name="T102" fmla="*/ 2147483647 w 618"/>
                <a:gd name="T103" fmla="*/ 2147483647 h 1188"/>
                <a:gd name="T104" fmla="*/ 2147483647 w 618"/>
                <a:gd name="T105" fmla="*/ 2147483647 h 1188"/>
                <a:gd name="T106" fmla="*/ 2147483647 w 618"/>
                <a:gd name="T107" fmla="*/ 2147483647 h 1188"/>
                <a:gd name="T108" fmla="*/ 2147483647 w 618"/>
                <a:gd name="T109" fmla="*/ 2147483647 h 1188"/>
                <a:gd name="T110" fmla="*/ 2147483647 w 618"/>
                <a:gd name="T111" fmla="*/ 2147483647 h 1188"/>
                <a:gd name="T112" fmla="*/ 2147483647 w 618"/>
                <a:gd name="T113" fmla="*/ 2147483647 h 1188"/>
                <a:gd name="T114" fmla="*/ 2147483647 w 618"/>
                <a:gd name="T115" fmla="*/ 2147483647 h 1188"/>
                <a:gd name="T116" fmla="*/ 2147483647 w 618"/>
                <a:gd name="T117" fmla="*/ 2147483647 h 11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8"/>
                <a:gd name="T178" fmla="*/ 0 h 1188"/>
                <a:gd name="T179" fmla="*/ 618 w 618"/>
                <a:gd name="T180" fmla="*/ 1188 h 11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8" h="1188">
                  <a:moveTo>
                    <a:pt x="588" y="426"/>
                  </a:moveTo>
                  <a:lnTo>
                    <a:pt x="588" y="420"/>
                  </a:lnTo>
                  <a:lnTo>
                    <a:pt x="594" y="414"/>
                  </a:lnTo>
                  <a:lnTo>
                    <a:pt x="606" y="390"/>
                  </a:lnTo>
                  <a:lnTo>
                    <a:pt x="594" y="378"/>
                  </a:lnTo>
                  <a:lnTo>
                    <a:pt x="594" y="372"/>
                  </a:lnTo>
                  <a:lnTo>
                    <a:pt x="588" y="378"/>
                  </a:lnTo>
                  <a:lnTo>
                    <a:pt x="588" y="366"/>
                  </a:lnTo>
                  <a:lnTo>
                    <a:pt x="582" y="360"/>
                  </a:lnTo>
                  <a:lnTo>
                    <a:pt x="582" y="354"/>
                  </a:lnTo>
                  <a:lnTo>
                    <a:pt x="546" y="318"/>
                  </a:lnTo>
                  <a:lnTo>
                    <a:pt x="534" y="294"/>
                  </a:lnTo>
                  <a:lnTo>
                    <a:pt x="534" y="282"/>
                  </a:lnTo>
                  <a:lnTo>
                    <a:pt x="528" y="240"/>
                  </a:lnTo>
                  <a:lnTo>
                    <a:pt x="510" y="222"/>
                  </a:lnTo>
                  <a:lnTo>
                    <a:pt x="498" y="216"/>
                  </a:lnTo>
                  <a:lnTo>
                    <a:pt x="480" y="204"/>
                  </a:lnTo>
                  <a:lnTo>
                    <a:pt x="468" y="192"/>
                  </a:lnTo>
                  <a:lnTo>
                    <a:pt x="468" y="180"/>
                  </a:lnTo>
                  <a:lnTo>
                    <a:pt x="462" y="174"/>
                  </a:lnTo>
                  <a:lnTo>
                    <a:pt x="438" y="174"/>
                  </a:lnTo>
                  <a:lnTo>
                    <a:pt x="426" y="168"/>
                  </a:lnTo>
                  <a:lnTo>
                    <a:pt x="420" y="162"/>
                  </a:lnTo>
                  <a:lnTo>
                    <a:pt x="402" y="162"/>
                  </a:lnTo>
                  <a:lnTo>
                    <a:pt x="396" y="168"/>
                  </a:lnTo>
                  <a:lnTo>
                    <a:pt x="396" y="180"/>
                  </a:lnTo>
                  <a:lnTo>
                    <a:pt x="378" y="198"/>
                  </a:lnTo>
                  <a:lnTo>
                    <a:pt x="360" y="198"/>
                  </a:lnTo>
                  <a:lnTo>
                    <a:pt x="336" y="186"/>
                  </a:lnTo>
                  <a:lnTo>
                    <a:pt x="330" y="180"/>
                  </a:lnTo>
                  <a:lnTo>
                    <a:pt x="318" y="180"/>
                  </a:lnTo>
                  <a:lnTo>
                    <a:pt x="312" y="186"/>
                  </a:lnTo>
                  <a:lnTo>
                    <a:pt x="306" y="198"/>
                  </a:lnTo>
                  <a:lnTo>
                    <a:pt x="294" y="210"/>
                  </a:lnTo>
                  <a:lnTo>
                    <a:pt x="294" y="216"/>
                  </a:lnTo>
                  <a:lnTo>
                    <a:pt x="288" y="222"/>
                  </a:lnTo>
                  <a:lnTo>
                    <a:pt x="264" y="234"/>
                  </a:lnTo>
                  <a:lnTo>
                    <a:pt x="246" y="234"/>
                  </a:lnTo>
                  <a:lnTo>
                    <a:pt x="246" y="222"/>
                  </a:lnTo>
                  <a:lnTo>
                    <a:pt x="270" y="174"/>
                  </a:lnTo>
                  <a:lnTo>
                    <a:pt x="270" y="162"/>
                  </a:lnTo>
                  <a:lnTo>
                    <a:pt x="264" y="156"/>
                  </a:lnTo>
                  <a:lnTo>
                    <a:pt x="252" y="156"/>
                  </a:lnTo>
                  <a:lnTo>
                    <a:pt x="264" y="144"/>
                  </a:lnTo>
                  <a:lnTo>
                    <a:pt x="270" y="132"/>
                  </a:lnTo>
                  <a:lnTo>
                    <a:pt x="270" y="120"/>
                  </a:lnTo>
                  <a:lnTo>
                    <a:pt x="264" y="108"/>
                  </a:lnTo>
                  <a:lnTo>
                    <a:pt x="258" y="102"/>
                  </a:lnTo>
                  <a:lnTo>
                    <a:pt x="264" y="96"/>
                  </a:lnTo>
                  <a:lnTo>
                    <a:pt x="264" y="66"/>
                  </a:lnTo>
                  <a:lnTo>
                    <a:pt x="252" y="60"/>
                  </a:lnTo>
                  <a:lnTo>
                    <a:pt x="246" y="60"/>
                  </a:lnTo>
                  <a:lnTo>
                    <a:pt x="240" y="66"/>
                  </a:lnTo>
                  <a:lnTo>
                    <a:pt x="228" y="66"/>
                  </a:lnTo>
                  <a:lnTo>
                    <a:pt x="228" y="78"/>
                  </a:lnTo>
                  <a:lnTo>
                    <a:pt x="210" y="78"/>
                  </a:lnTo>
                  <a:lnTo>
                    <a:pt x="204" y="72"/>
                  </a:lnTo>
                  <a:lnTo>
                    <a:pt x="198" y="60"/>
                  </a:lnTo>
                  <a:lnTo>
                    <a:pt x="198" y="36"/>
                  </a:lnTo>
                  <a:lnTo>
                    <a:pt x="204" y="30"/>
                  </a:lnTo>
                  <a:lnTo>
                    <a:pt x="204" y="18"/>
                  </a:lnTo>
                  <a:lnTo>
                    <a:pt x="198" y="12"/>
                  </a:lnTo>
                  <a:lnTo>
                    <a:pt x="186" y="12"/>
                  </a:lnTo>
                  <a:lnTo>
                    <a:pt x="174" y="6"/>
                  </a:lnTo>
                  <a:lnTo>
                    <a:pt x="168" y="0"/>
                  </a:lnTo>
                  <a:lnTo>
                    <a:pt x="138" y="0"/>
                  </a:lnTo>
                  <a:lnTo>
                    <a:pt x="132" y="6"/>
                  </a:lnTo>
                  <a:lnTo>
                    <a:pt x="126" y="6"/>
                  </a:lnTo>
                  <a:lnTo>
                    <a:pt x="120" y="30"/>
                  </a:lnTo>
                  <a:lnTo>
                    <a:pt x="96" y="30"/>
                  </a:lnTo>
                  <a:lnTo>
                    <a:pt x="96" y="36"/>
                  </a:lnTo>
                  <a:lnTo>
                    <a:pt x="90" y="42"/>
                  </a:lnTo>
                  <a:lnTo>
                    <a:pt x="84" y="54"/>
                  </a:lnTo>
                  <a:lnTo>
                    <a:pt x="78" y="60"/>
                  </a:lnTo>
                  <a:lnTo>
                    <a:pt x="66" y="60"/>
                  </a:lnTo>
                  <a:lnTo>
                    <a:pt x="54" y="54"/>
                  </a:lnTo>
                  <a:lnTo>
                    <a:pt x="24" y="54"/>
                  </a:lnTo>
                  <a:lnTo>
                    <a:pt x="24" y="102"/>
                  </a:lnTo>
                  <a:lnTo>
                    <a:pt x="18" y="108"/>
                  </a:lnTo>
                  <a:lnTo>
                    <a:pt x="12" y="108"/>
                  </a:lnTo>
                  <a:lnTo>
                    <a:pt x="6" y="114"/>
                  </a:lnTo>
                  <a:lnTo>
                    <a:pt x="6" y="120"/>
                  </a:lnTo>
                  <a:lnTo>
                    <a:pt x="24" y="138"/>
                  </a:lnTo>
                  <a:lnTo>
                    <a:pt x="24" y="156"/>
                  </a:lnTo>
                  <a:lnTo>
                    <a:pt x="0" y="156"/>
                  </a:lnTo>
                  <a:lnTo>
                    <a:pt x="0" y="162"/>
                  </a:lnTo>
                  <a:lnTo>
                    <a:pt x="24" y="186"/>
                  </a:lnTo>
                  <a:lnTo>
                    <a:pt x="36" y="192"/>
                  </a:lnTo>
                  <a:lnTo>
                    <a:pt x="30" y="216"/>
                  </a:lnTo>
                  <a:lnTo>
                    <a:pt x="36" y="216"/>
                  </a:lnTo>
                  <a:lnTo>
                    <a:pt x="36" y="222"/>
                  </a:lnTo>
                  <a:lnTo>
                    <a:pt x="42" y="234"/>
                  </a:lnTo>
                  <a:lnTo>
                    <a:pt x="60" y="252"/>
                  </a:lnTo>
                  <a:lnTo>
                    <a:pt x="72" y="258"/>
                  </a:lnTo>
                  <a:lnTo>
                    <a:pt x="84" y="270"/>
                  </a:lnTo>
                  <a:lnTo>
                    <a:pt x="96" y="276"/>
                  </a:lnTo>
                  <a:lnTo>
                    <a:pt x="102" y="282"/>
                  </a:lnTo>
                  <a:lnTo>
                    <a:pt x="102" y="288"/>
                  </a:lnTo>
                  <a:lnTo>
                    <a:pt x="96" y="288"/>
                  </a:lnTo>
                  <a:lnTo>
                    <a:pt x="96" y="306"/>
                  </a:lnTo>
                  <a:lnTo>
                    <a:pt x="102" y="318"/>
                  </a:lnTo>
                  <a:lnTo>
                    <a:pt x="108" y="324"/>
                  </a:lnTo>
                  <a:lnTo>
                    <a:pt x="114" y="324"/>
                  </a:lnTo>
                  <a:lnTo>
                    <a:pt x="120" y="318"/>
                  </a:lnTo>
                  <a:lnTo>
                    <a:pt x="126" y="324"/>
                  </a:lnTo>
                  <a:lnTo>
                    <a:pt x="126" y="342"/>
                  </a:lnTo>
                  <a:lnTo>
                    <a:pt x="120" y="348"/>
                  </a:lnTo>
                  <a:lnTo>
                    <a:pt x="108" y="348"/>
                  </a:lnTo>
                  <a:lnTo>
                    <a:pt x="114" y="360"/>
                  </a:lnTo>
                  <a:lnTo>
                    <a:pt x="114" y="384"/>
                  </a:lnTo>
                  <a:lnTo>
                    <a:pt x="108" y="396"/>
                  </a:lnTo>
                  <a:lnTo>
                    <a:pt x="102" y="402"/>
                  </a:lnTo>
                  <a:lnTo>
                    <a:pt x="84" y="438"/>
                  </a:lnTo>
                  <a:lnTo>
                    <a:pt x="90" y="444"/>
                  </a:lnTo>
                  <a:lnTo>
                    <a:pt x="90" y="450"/>
                  </a:lnTo>
                  <a:lnTo>
                    <a:pt x="96" y="456"/>
                  </a:lnTo>
                  <a:lnTo>
                    <a:pt x="102" y="468"/>
                  </a:lnTo>
                  <a:lnTo>
                    <a:pt x="108" y="474"/>
                  </a:lnTo>
                  <a:lnTo>
                    <a:pt x="114" y="486"/>
                  </a:lnTo>
                  <a:lnTo>
                    <a:pt x="156" y="528"/>
                  </a:lnTo>
                  <a:lnTo>
                    <a:pt x="162" y="540"/>
                  </a:lnTo>
                  <a:lnTo>
                    <a:pt x="162" y="570"/>
                  </a:lnTo>
                  <a:lnTo>
                    <a:pt x="168" y="588"/>
                  </a:lnTo>
                  <a:lnTo>
                    <a:pt x="168" y="612"/>
                  </a:lnTo>
                  <a:lnTo>
                    <a:pt x="192" y="636"/>
                  </a:lnTo>
                  <a:lnTo>
                    <a:pt x="192" y="660"/>
                  </a:lnTo>
                  <a:lnTo>
                    <a:pt x="198" y="672"/>
                  </a:lnTo>
                  <a:lnTo>
                    <a:pt x="198" y="702"/>
                  </a:lnTo>
                  <a:lnTo>
                    <a:pt x="192" y="714"/>
                  </a:lnTo>
                  <a:lnTo>
                    <a:pt x="192" y="732"/>
                  </a:lnTo>
                  <a:lnTo>
                    <a:pt x="174" y="768"/>
                  </a:lnTo>
                  <a:lnTo>
                    <a:pt x="156" y="786"/>
                  </a:lnTo>
                  <a:lnTo>
                    <a:pt x="156" y="798"/>
                  </a:lnTo>
                  <a:lnTo>
                    <a:pt x="162" y="804"/>
                  </a:lnTo>
                  <a:lnTo>
                    <a:pt x="162" y="816"/>
                  </a:lnTo>
                  <a:lnTo>
                    <a:pt x="156" y="828"/>
                  </a:lnTo>
                  <a:lnTo>
                    <a:pt x="150" y="834"/>
                  </a:lnTo>
                  <a:lnTo>
                    <a:pt x="144" y="846"/>
                  </a:lnTo>
                  <a:lnTo>
                    <a:pt x="144" y="852"/>
                  </a:lnTo>
                  <a:lnTo>
                    <a:pt x="138" y="858"/>
                  </a:lnTo>
                  <a:lnTo>
                    <a:pt x="132" y="876"/>
                  </a:lnTo>
                  <a:lnTo>
                    <a:pt x="126" y="888"/>
                  </a:lnTo>
                  <a:lnTo>
                    <a:pt x="126" y="906"/>
                  </a:lnTo>
                  <a:lnTo>
                    <a:pt x="120" y="918"/>
                  </a:lnTo>
                  <a:lnTo>
                    <a:pt x="120" y="966"/>
                  </a:lnTo>
                  <a:lnTo>
                    <a:pt x="126" y="978"/>
                  </a:lnTo>
                  <a:lnTo>
                    <a:pt x="126" y="1008"/>
                  </a:lnTo>
                  <a:lnTo>
                    <a:pt x="132" y="1014"/>
                  </a:lnTo>
                  <a:lnTo>
                    <a:pt x="132" y="1020"/>
                  </a:lnTo>
                  <a:lnTo>
                    <a:pt x="138" y="1020"/>
                  </a:lnTo>
                  <a:lnTo>
                    <a:pt x="138" y="1002"/>
                  </a:lnTo>
                  <a:lnTo>
                    <a:pt x="144" y="990"/>
                  </a:lnTo>
                  <a:lnTo>
                    <a:pt x="144" y="978"/>
                  </a:lnTo>
                  <a:lnTo>
                    <a:pt x="150" y="972"/>
                  </a:lnTo>
                  <a:lnTo>
                    <a:pt x="150" y="996"/>
                  </a:lnTo>
                  <a:lnTo>
                    <a:pt x="162" y="996"/>
                  </a:lnTo>
                  <a:lnTo>
                    <a:pt x="186" y="1020"/>
                  </a:lnTo>
                  <a:lnTo>
                    <a:pt x="192" y="1032"/>
                  </a:lnTo>
                  <a:lnTo>
                    <a:pt x="198" y="1038"/>
                  </a:lnTo>
                  <a:lnTo>
                    <a:pt x="198" y="1044"/>
                  </a:lnTo>
                  <a:lnTo>
                    <a:pt x="228" y="1074"/>
                  </a:lnTo>
                  <a:lnTo>
                    <a:pt x="228" y="1098"/>
                  </a:lnTo>
                  <a:lnTo>
                    <a:pt x="234" y="1110"/>
                  </a:lnTo>
                  <a:lnTo>
                    <a:pt x="246" y="1128"/>
                  </a:lnTo>
                  <a:lnTo>
                    <a:pt x="264" y="1146"/>
                  </a:lnTo>
                  <a:lnTo>
                    <a:pt x="270" y="1140"/>
                  </a:lnTo>
                  <a:lnTo>
                    <a:pt x="276" y="1128"/>
                  </a:lnTo>
                  <a:lnTo>
                    <a:pt x="270" y="1122"/>
                  </a:lnTo>
                  <a:lnTo>
                    <a:pt x="270" y="1110"/>
                  </a:lnTo>
                  <a:lnTo>
                    <a:pt x="276" y="1104"/>
                  </a:lnTo>
                  <a:lnTo>
                    <a:pt x="288" y="1104"/>
                  </a:lnTo>
                  <a:lnTo>
                    <a:pt x="294" y="1116"/>
                  </a:lnTo>
                  <a:lnTo>
                    <a:pt x="294" y="1122"/>
                  </a:lnTo>
                  <a:lnTo>
                    <a:pt x="312" y="1122"/>
                  </a:lnTo>
                  <a:lnTo>
                    <a:pt x="324" y="1128"/>
                  </a:lnTo>
                  <a:lnTo>
                    <a:pt x="330" y="1134"/>
                  </a:lnTo>
                  <a:lnTo>
                    <a:pt x="330" y="1146"/>
                  </a:lnTo>
                  <a:lnTo>
                    <a:pt x="342" y="1146"/>
                  </a:lnTo>
                  <a:lnTo>
                    <a:pt x="342" y="1158"/>
                  </a:lnTo>
                  <a:lnTo>
                    <a:pt x="330" y="1170"/>
                  </a:lnTo>
                  <a:lnTo>
                    <a:pt x="330" y="1176"/>
                  </a:lnTo>
                  <a:lnTo>
                    <a:pt x="336" y="1182"/>
                  </a:lnTo>
                  <a:lnTo>
                    <a:pt x="354" y="1182"/>
                  </a:lnTo>
                  <a:lnTo>
                    <a:pt x="354" y="1176"/>
                  </a:lnTo>
                  <a:lnTo>
                    <a:pt x="366" y="1176"/>
                  </a:lnTo>
                  <a:lnTo>
                    <a:pt x="372" y="1170"/>
                  </a:lnTo>
                  <a:lnTo>
                    <a:pt x="378" y="1170"/>
                  </a:lnTo>
                  <a:lnTo>
                    <a:pt x="396" y="1188"/>
                  </a:lnTo>
                  <a:lnTo>
                    <a:pt x="402" y="1182"/>
                  </a:lnTo>
                  <a:lnTo>
                    <a:pt x="402" y="1176"/>
                  </a:lnTo>
                  <a:lnTo>
                    <a:pt x="408" y="1164"/>
                  </a:lnTo>
                  <a:lnTo>
                    <a:pt x="414" y="1158"/>
                  </a:lnTo>
                  <a:lnTo>
                    <a:pt x="420" y="1146"/>
                  </a:lnTo>
                  <a:lnTo>
                    <a:pt x="396" y="1134"/>
                  </a:lnTo>
                  <a:lnTo>
                    <a:pt x="390" y="1128"/>
                  </a:lnTo>
                  <a:lnTo>
                    <a:pt x="390" y="1116"/>
                  </a:lnTo>
                  <a:lnTo>
                    <a:pt x="384" y="1104"/>
                  </a:lnTo>
                  <a:lnTo>
                    <a:pt x="384" y="1092"/>
                  </a:lnTo>
                  <a:lnTo>
                    <a:pt x="378" y="1080"/>
                  </a:lnTo>
                  <a:lnTo>
                    <a:pt x="372" y="1074"/>
                  </a:lnTo>
                  <a:lnTo>
                    <a:pt x="354" y="1074"/>
                  </a:lnTo>
                  <a:lnTo>
                    <a:pt x="342" y="1080"/>
                  </a:lnTo>
                  <a:lnTo>
                    <a:pt x="336" y="1086"/>
                  </a:lnTo>
                  <a:lnTo>
                    <a:pt x="318" y="1086"/>
                  </a:lnTo>
                  <a:lnTo>
                    <a:pt x="312" y="1080"/>
                  </a:lnTo>
                  <a:lnTo>
                    <a:pt x="306" y="1068"/>
                  </a:lnTo>
                  <a:lnTo>
                    <a:pt x="306" y="1056"/>
                  </a:lnTo>
                  <a:lnTo>
                    <a:pt x="294" y="1032"/>
                  </a:lnTo>
                  <a:lnTo>
                    <a:pt x="288" y="1032"/>
                  </a:lnTo>
                  <a:lnTo>
                    <a:pt x="288" y="1050"/>
                  </a:lnTo>
                  <a:lnTo>
                    <a:pt x="282" y="1056"/>
                  </a:lnTo>
                  <a:lnTo>
                    <a:pt x="276" y="1056"/>
                  </a:lnTo>
                  <a:lnTo>
                    <a:pt x="270" y="1044"/>
                  </a:lnTo>
                  <a:lnTo>
                    <a:pt x="264" y="1038"/>
                  </a:lnTo>
                  <a:lnTo>
                    <a:pt x="258" y="1026"/>
                  </a:lnTo>
                  <a:lnTo>
                    <a:pt x="258" y="1014"/>
                  </a:lnTo>
                  <a:lnTo>
                    <a:pt x="270" y="1002"/>
                  </a:lnTo>
                  <a:lnTo>
                    <a:pt x="270" y="1008"/>
                  </a:lnTo>
                  <a:lnTo>
                    <a:pt x="276" y="1008"/>
                  </a:lnTo>
                  <a:lnTo>
                    <a:pt x="276" y="1014"/>
                  </a:lnTo>
                  <a:lnTo>
                    <a:pt x="282" y="1014"/>
                  </a:lnTo>
                  <a:lnTo>
                    <a:pt x="288" y="1008"/>
                  </a:lnTo>
                  <a:lnTo>
                    <a:pt x="282" y="1002"/>
                  </a:lnTo>
                  <a:lnTo>
                    <a:pt x="282" y="990"/>
                  </a:lnTo>
                  <a:lnTo>
                    <a:pt x="276" y="978"/>
                  </a:lnTo>
                  <a:lnTo>
                    <a:pt x="270" y="972"/>
                  </a:lnTo>
                  <a:lnTo>
                    <a:pt x="270" y="960"/>
                  </a:lnTo>
                  <a:lnTo>
                    <a:pt x="258" y="948"/>
                  </a:lnTo>
                  <a:lnTo>
                    <a:pt x="246" y="948"/>
                  </a:lnTo>
                  <a:lnTo>
                    <a:pt x="246" y="894"/>
                  </a:lnTo>
                  <a:lnTo>
                    <a:pt x="192" y="906"/>
                  </a:lnTo>
                  <a:lnTo>
                    <a:pt x="192" y="864"/>
                  </a:lnTo>
                  <a:lnTo>
                    <a:pt x="186" y="828"/>
                  </a:lnTo>
                  <a:lnTo>
                    <a:pt x="186" y="804"/>
                  </a:lnTo>
                  <a:lnTo>
                    <a:pt x="180" y="792"/>
                  </a:lnTo>
                  <a:lnTo>
                    <a:pt x="174" y="786"/>
                  </a:lnTo>
                  <a:lnTo>
                    <a:pt x="180" y="786"/>
                  </a:lnTo>
                  <a:lnTo>
                    <a:pt x="192" y="774"/>
                  </a:lnTo>
                  <a:lnTo>
                    <a:pt x="198" y="762"/>
                  </a:lnTo>
                  <a:lnTo>
                    <a:pt x="204" y="744"/>
                  </a:lnTo>
                  <a:lnTo>
                    <a:pt x="204" y="678"/>
                  </a:lnTo>
                  <a:lnTo>
                    <a:pt x="210" y="678"/>
                  </a:lnTo>
                  <a:lnTo>
                    <a:pt x="216" y="672"/>
                  </a:lnTo>
                  <a:lnTo>
                    <a:pt x="222" y="660"/>
                  </a:lnTo>
                  <a:lnTo>
                    <a:pt x="228" y="654"/>
                  </a:lnTo>
                  <a:lnTo>
                    <a:pt x="228" y="612"/>
                  </a:lnTo>
                  <a:lnTo>
                    <a:pt x="222" y="600"/>
                  </a:lnTo>
                  <a:lnTo>
                    <a:pt x="222" y="594"/>
                  </a:lnTo>
                  <a:lnTo>
                    <a:pt x="216" y="588"/>
                  </a:lnTo>
                  <a:lnTo>
                    <a:pt x="222" y="558"/>
                  </a:lnTo>
                  <a:lnTo>
                    <a:pt x="234" y="558"/>
                  </a:lnTo>
                  <a:lnTo>
                    <a:pt x="234" y="552"/>
                  </a:lnTo>
                  <a:lnTo>
                    <a:pt x="240" y="546"/>
                  </a:lnTo>
                  <a:lnTo>
                    <a:pt x="264" y="546"/>
                  </a:lnTo>
                  <a:lnTo>
                    <a:pt x="270" y="552"/>
                  </a:lnTo>
                  <a:lnTo>
                    <a:pt x="294" y="564"/>
                  </a:lnTo>
                  <a:lnTo>
                    <a:pt x="300" y="570"/>
                  </a:lnTo>
                  <a:lnTo>
                    <a:pt x="288" y="576"/>
                  </a:lnTo>
                  <a:lnTo>
                    <a:pt x="288" y="588"/>
                  </a:lnTo>
                  <a:lnTo>
                    <a:pt x="282" y="594"/>
                  </a:lnTo>
                  <a:lnTo>
                    <a:pt x="282" y="612"/>
                  </a:lnTo>
                  <a:lnTo>
                    <a:pt x="288" y="624"/>
                  </a:lnTo>
                  <a:lnTo>
                    <a:pt x="306" y="624"/>
                  </a:lnTo>
                  <a:lnTo>
                    <a:pt x="330" y="612"/>
                  </a:lnTo>
                  <a:lnTo>
                    <a:pt x="342" y="612"/>
                  </a:lnTo>
                  <a:lnTo>
                    <a:pt x="354" y="606"/>
                  </a:lnTo>
                  <a:lnTo>
                    <a:pt x="360" y="600"/>
                  </a:lnTo>
                  <a:lnTo>
                    <a:pt x="366" y="600"/>
                  </a:lnTo>
                  <a:lnTo>
                    <a:pt x="396" y="684"/>
                  </a:lnTo>
                  <a:lnTo>
                    <a:pt x="402" y="678"/>
                  </a:lnTo>
                  <a:lnTo>
                    <a:pt x="414" y="672"/>
                  </a:lnTo>
                  <a:lnTo>
                    <a:pt x="426" y="672"/>
                  </a:lnTo>
                  <a:lnTo>
                    <a:pt x="426" y="642"/>
                  </a:lnTo>
                  <a:lnTo>
                    <a:pt x="414" y="630"/>
                  </a:lnTo>
                  <a:lnTo>
                    <a:pt x="414" y="600"/>
                  </a:lnTo>
                  <a:lnTo>
                    <a:pt x="402" y="588"/>
                  </a:lnTo>
                  <a:lnTo>
                    <a:pt x="396" y="552"/>
                  </a:lnTo>
                  <a:lnTo>
                    <a:pt x="426" y="522"/>
                  </a:lnTo>
                  <a:lnTo>
                    <a:pt x="426" y="516"/>
                  </a:lnTo>
                  <a:lnTo>
                    <a:pt x="432" y="504"/>
                  </a:lnTo>
                  <a:lnTo>
                    <a:pt x="438" y="498"/>
                  </a:lnTo>
                  <a:lnTo>
                    <a:pt x="450" y="492"/>
                  </a:lnTo>
                  <a:lnTo>
                    <a:pt x="468" y="486"/>
                  </a:lnTo>
                  <a:lnTo>
                    <a:pt x="504" y="486"/>
                  </a:lnTo>
                  <a:lnTo>
                    <a:pt x="510" y="492"/>
                  </a:lnTo>
                  <a:lnTo>
                    <a:pt x="522" y="492"/>
                  </a:lnTo>
                  <a:lnTo>
                    <a:pt x="534" y="486"/>
                  </a:lnTo>
                  <a:lnTo>
                    <a:pt x="564" y="486"/>
                  </a:lnTo>
                  <a:lnTo>
                    <a:pt x="576" y="492"/>
                  </a:lnTo>
                  <a:lnTo>
                    <a:pt x="582" y="498"/>
                  </a:lnTo>
                  <a:lnTo>
                    <a:pt x="588" y="498"/>
                  </a:lnTo>
                  <a:lnTo>
                    <a:pt x="594" y="492"/>
                  </a:lnTo>
                  <a:lnTo>
                    <a:pt x="600" y="480"/>
                  </a:lnTo>
                  <a:lnTo>
                    <a:pt x="618" y="462"/>
                  </a:lnTo>
                  <a:lnTo>
                    <a:pt x="618" y="450"/>
                  </a:lnTo>
                  <a:lnTo>
                    <a:pt x="612" y="444"/>
                  </a:lnTo>
                  <a:lnTo>
                    <a:pt x="600" y="438"/>
                  </a:lnTo>
                  <a:lnTo>
                    <a:pt x="588" y="426"/>
                  </a:lnTo>
                  <a:close/>
                </a:path>
              </a:pathLst>
            </a:custGeom>
            <a:solidFill>
              <a:schemeClr val="accent2"/>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49" name="Tanzania" descr="© INSCALE GmbH, 05.05.2010&#10;http://www.presentationload.com/">
              <a:extLst>
                <a:ext uri="{FF2B5EF4-FFF2-40B4-BE49-F238E27FC236}">
                  <a16:creationId xmlns:a16="http://schemas.microsoft.com/office/drawing/2014/main" id="{0459311B-C818-4A73-9961-22A6BE1B0815}"/>
                </a:ext>
              </a:extLst>
            </p:cNvPr>
            <p:cNvSpPr>
              <a:spLocks noEditPoints="1"/>
            </p:cNvSpPr>
            <p:nvPr/>
          </p:nvSpPr>
          <p:spPr bwMode="gray">
            <a:xfrm>
              <a:off x="4965115" y="4285558"/>
              <a:ext cx="305764" cy="344965"/>
            </a:xfrm>
            <a:custGeom>
              <a:avLst/>
              <a:gdLst>
                <a:gd name="T0" fmla="*/ 2147483647 w 768"/>
                <a:gd name="T1" fmla="*/ 2147483647 h 870"/>
                <a:gd name="T2" fmla="*/ 2147483647 w 768"/>
                <a:gd name="T3" fmla="*/ 2147483647 h 870"/>
                <a:gd name="T4" fmla="*/ 2147483647 w 768"/>
                <a:gd name="T5" fmla="*/ 2147483647 h 870"/>
                <a:gd name="T6" fmla="*/ 2147483647 w 768"/>
                <a:gd name="T7" fmla="*/ 2147483647 h 870"/>
                <a:gd name="T8" fmla="*/ 2147483647 w 768"/>
                <a:gd name="T9" fmla="*/ 2147483647 h 870"/>
                <a:gd name="T10" fmla="*/ 2147483647 w 768"/>
                <a:gd name="T11" fmla="*/ 2147483647 h 870"/>
                <a:gd name="T12" fmla="*/ 2147483647 w 768"/>
                <a:gd name="T13" fmla="*/ 2147483647 h 870"/>
                <a:gd name="T14" fmla="*/ 2147483647 w 768"/>
                <a:gd name="T15" fmla="*/ 2147483647 h 870"/>
                <a:gd name="T16" fmla="*/ 2147483647 w 768"/>
                <a:gd name="T17" fmla="*/ 2147483647 h 870"/>
                <a:gd name="T18" fmla="*/ 2147483647 w 768"/>
                <a:gd name="T19" fmla="*/ 2147483647 h 870"/>
                <a:gd name="T20" fmla="*/ 2147483647 w 768"/>
                <a:gd name="T21" fmla="*/ 2147483647 h 870"/>
                <a:gd name="T22" fmla="*/ 2147483647 w 768"/>
                <a:gd name="T23" fmla="*/ 2147483647 h 870"/>
                <a:gd name="T24" fmla="*/ 2147483647 w 768"/>
                <a:gd name="T25" fmla="*/ 2147483647 h 870"/>
                <a:gd name="T26" fmla="*/ 2147483647 w 768"/>
                <a:gd name="T27" fmla="*/ 2147483647 h 870"/>
                <a:gd name="T28" fmla="*/ 2147483647 w 768"/>
                <a:gd name="T29" fmla="*/ 2147483647 h 870"/>
                <a:gd name="T30" fmla="*/ 2147483647 w 768"/>
                <a:gd name="T31" fmla="*/ 2147483647 h 870"/>
                <a:gd name="T32" fmla="*/ 2147483647 w 768"/>
                <a:gd name="T33" fmla="*/ 2147483647 h 870"/>
                <a:gd name="T34" fmla="*/ 2147483647 w 768"/>
                <a:gd name="T35" fmla="*/ 2147483647 h 870"/>
                <a:gd name="T36" fmla="*/ 2147483647 w 768"/>
                <a:gd name="T37" fmla="*/ 2147483647 h 870"/>
                <a:gd name="T38" fmla="*/ 2147483647 w 768"/>
                <a:gd name="T39" fmla="*/ 2147483647 h 870"/>
                <a:gd name="T40" fmla="*/ 2147483647 w 768"/>
                <a:gd name="T41" fmla="*/ 2147483647 h 870"/>
                <a:gd name="T42" fmla="*/ 2147483647 w 768"/>
                <a:gd name="T43" fmla="*/ 2147483647 h 870"/>
                <a:gd name="T44" fmla="*/ 2147483647 w 768"/>
                <a:gd name="T45" fmla="*/ 2147483647 h 870"/>
                <a:gd name="T46" fmla="*/ 2147483647 w 768"/>
                <a:gd name="T47" fmla="*/ 2147483647 h 870"/>
                <a:gd name="T48" fmla="*/ 2147483647 w 768"/>
                <a:gd name="T49" fmla="*/ 2147483647 h 870"/>
                <a:gd name="T50" fmla="*/ 2147483647 w 768"/>
                <a:gd name="T51" fmla="*/ 2147483647 h 870"/>
                <a:gd name="T52" fmla="*/ 2147483647 w 768"/>
                <a:gd name="T53" fmla="*/ 2147483647 h 870"/>
                <a:gd name="T54" fmla="*/ 2147483647 w 768"/>
                <a:gd name="T55" fmla="*/ 2147483647 h 870"/>
                <a:gd name="T56" fmla="*/ 2147483647 w 768"/>
                <a:gd name="T57" fmla="*/ 2147483647 h 870"/>
                <a:gd name="T58" fmla="*/ 2147483647 w 768"/>
                <a:gd name="T59" fmla="*/ 2147483647 h 870"/>
                <a:gd name="T60" fmla="*/ 2147483647 w 768"/>
                <a:gd name="T61" fmla="*/ 2147483647 h 870"/>
                <a:gd name="T62" fmla="*/ 2147483647 w 768"/>
                <a:gd name="T63" fmla="*/ 2147483647 h 870"/>
                <a:gd name="T64" fmla="*/ 2147483647 w 768"/>
                <a:gd name="T65" fmla="*/ 2147483647 h 870"/>
                <a:gd name="T66" fmla="*/ 2147483647 w 768"/>
                <a:gd name="T67" fmla="*/ 2147483647 h 870"/>
                <a:gd name="T68" fmla="*/ 2147483647 w 768"/>
                <a:gd name="T69" fmla="*/ 2147483647 h 870"/>
                <a:gd name="T70" fmla="*/ 2147483647 w 768"/>
                <a:gd name="T71" fmla="*/ 2147483647 h 870"/>
                <a:gd name="T72" fmla="*/ 2147483647 w 768"/>
                <a:gd name="T73" fmla="*/ 2147483647 h 870"/>
                <a:gd name="T74" fmla="*/ 2147483647 w 768"/>
                <a:gd name="T75" fmla="*/ 2147483647 h 870"/>
                <a:gd name="T76" fmla="*/ 2147483647 w 768"/>
                <a:gd name="T77" fmla="*/ 2147483647 h 870"/>
                <a:gd name="T78" fmla="*/ 2147483647 w 768"/>
                <a:gd name="T79" fmla="*/ 2147483647 h 870"/>
                <a:gd name="T80" fmla="*/ 2147483647 w 768"/>
                <a:gd name="T81" fmla="*/ 2147483647 h 870"/>
                <a:gd name="T82" fmla="*/ 2147483647 w 768"/>
                <a:gd name="T83" fmla="*/ 2147483647 h 870"/>
                <a:gd name="T84" fmla="*/ 2147483647 w 768"/>
                <a:gd name="T85" fmla="*/ 2147483647 h 870"/>
                <a:gd name="T86" fmla="*/ 2147483647 w 768"/>
                <a:gd name="T87" fmla="*/ 2147483647 h 870"/>
                <a:gd name="T88" fmla="*/ 2147483647 w 768"/>
                <a:gd name="T89" fmla="*/ 2147483647 h 870"/>
                <a:gd name="T90" fmla="*/ 2147483647 w 768"/>
                <a:gd name="T91" fmla="*/ 2147483647 h 870"/>
                <a:gd name="T92" fmla="*/ 2147483647 w 768"/>
                <a:gd name="T93" fmla="*/ 2147483647 h 870"/>
                <a:gd name="T94" fmla="*/ 2147483647 w 768"/>
                <a:gd name="T95" fmla="*/ 2147483647 h 870"/>
                <a:gd name="T96" fmla="*/ 2147483647 w 768"/>
                <a:gd name="T97" fmla="*/ 2147483647 h 870"/>
                <a:gd name="T98" fmla="*/ 2147483647 w 768"/>
                <a:gd name="T99" fmla="*/ 2147483647 h 870"/>
                <a:gd name="T100" fmla="*/ 2147483647 w 768"/>
                <a:gd name="T101" fmla="*/ 2147483647 h 870"/>
                <a:gd name="T102" fmla="*/ 2147483647 w 768"/>
                <a:gd name="T103" fmla="*/ 2147483647 h 8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68"/>
                <a:gd name="T157" fmla="*/ 0 h 870"/>
                <a:gd name="T158" fmla="*/ 768 w 768"/>
                <a:gd name="T159" fmla="*/ 870 h 8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68" h="870">
                  <a:moveTo>
                    <a:pt x="762" y="744"/>
                  </a:moveTo>
                  <a:lnTo>
                    <a:pt x="750" y="744"/>
                  </a:lnTo>
                  <a:lnTo>
                    <a:pt x="744" y="738"/>
                  </a:lnTo>
                  <a:lnTo>
                    <a:pt x="732" y="732"/>
                  </a:lnTo>
                  <a:lnTo>
                    <a:pt x="720" y="720"/>
                  </a:lnTo>
                  <a:lnTo>
                    <a:pt x="720" y="708"/>
                  </a:lnTo>
                  <a:lnTo>
                    <a:pt x="714" y="690"/>
                  </a:lnTo>
                  <a:lnTo>
                    <a:pt x="714" y="654"/>
                  </a:lnTo>
                  <a:lnTo>
                    <a:pt x="690" y="612"/>
                  </a:lnTo>
                  <a:lnTo>
                    <a:pt x="702" y="564"/>
                  </a:lnTo>
                  <a:lnTo>
                    <a:pt x="684" y="540"/>
                  </a:lnTo>
                  <a:lnTo>
                    <a:pt x="690" y="528"/>
                  </a:lnTo>
                  <a:lnTo>
                    <a:pt x="696" y="522"/>
                  </a:lnTo>
                  <a:lnTo>
                    <a:pt x="708" y="498"/>
                  </a:lnTo>
                  <a:lnTo>
                    <a:pt x="708" y="480"/>
                  </a:lnTo>
                  <a:lnTo>
                    <a:pt x="702" y="474"/>
                  </a:lnTo>
                  <a:lnTo>
                    <a:pt x="690" y="468"/>
                  </a:lnTo>
                  <a:lnTo>
                    <a:pt x="672" y="456"/>
                  </a:lnTo>
                  <a:lnTo>
                    <a:pt x="660" y="450"/>
                  </a:lnTo>
                  <a:lnTo>
                    <a:pt x="654" y="438"/>
                  </a:lnTo>
                  <a:lnTo>
                    <a:pt x="654" y="426"/>
                  </a:lnTo>
                  <a:lnTo>
                    <a:pt x="660" y="414"/>
                  </a:lnTo>
                  <a:lnTo>
                    <a:pt x="666" y="396"/>
                  </a:lnTo>
                  <a:lnTo>
                    <a:pt x="666" y="384"/>
                  </a:lnTo>
                  <a:lnTo>
                    <a:pt x="672" y="366"/>
                  </a:lnTo>
                  <a:lnTo>
                    <a:pt x="678" y="354"/>
                  </a:lnTo>
                  <a:lnTo>
                    <a:pt x="678" y="330"/>
                  </a:lnTo>
                  <a:lnTo>
                    <a:pt x="684" y="318"/>
                  </a:lnTo>
                  <a:lnTo>
                    <a:pt x="684" y="300"/>
                  </a:lnTo>
                  <a:lnTo>
                    <a:pt x="570" y="192"/>
                  </a:lnTo>
                  <a:lnTo>
                    <a:pt x="576" y="186"/>
                  </a:lnTo>
                  <a:lnTo>
                    <a:pt x="582" y="186"/>
                  </a:lnTo>
                  <a:lnTo>
                    <a:pt x="588" y="180"/>
                  </a:lnTo>
                  <a:lnTo>
                    <a:pt x="588" y="174"/>
                  </a:lnTo>
                  <a:lnTo>
                    <a:pt x="576" y="162"/>
                  </a:lnTo>
                  <a:lnTo>
                    <a:pt x="324" y="6"/>
                  </a:lnTo>
                  <a:lnTo>
                    <a:pt x="312" y="6"/>
                  </a:lnTo>
                  <a:lnTo>
                    <a:pt x="312" y="18"/>
                  </a:lnTo>
                  <a:lnTo>
                    <a:pt x="318" y="24"/>
                  </a:lnTo>
                  <a:lnTo>
                    <a:pt x="318" y="36"/>
                  </a:lnTo>
                  <a:lnTo>
                    <a:pt x="294" y="48"/>
                  </a:lnTo>
                  <a:lnTo>
                    <a:pt x="276" y="66"/>
                  </a:lnTo>
                  <a:lnTo>
                    <a:pt x="264" y="84"/>
                  </a:lnTo>
                  <a:lnTo>
                    <a:pt x="264" y="90"/>
                  </a:lnTo>
                  <a:lnTo>
                    <a:pt x="270" y="96"/>
                  </a:lnTo>
                  <a:lnTo>
                    <a:pt x="294" y="96"/>
                  </a:lnTo>
                  <a:lnTo>
                    <a:pt x="306" y="90"/>
                  </a:lnTo>
                  <a:lnTo>
                    <a:pt x="312" y="90"/>
                  </a:lnTo>
                  <a:lnTo>
                    <a:pt x="306" y="96"/>
                  </a:lnTo>
                  <a:lnTo>
                    <a:pt x="294" y="102"/>
                  </a:lnTo>
                  <a:lnTo>
                    <a:pt x="276" y="120"/>
                  </a:lnTo>
                  <a:lnTo>
                    <a:pt x="270" y="120"/>
                  </a:lnTo>
                  <a:lnTo>
                    <a:pt x="264" y="114"/>
                  </a:lnTo>
                  <a:lnTo>
                    <a:pt x="252" y="108"/>
                  </a:lnTo>
                  <a:lnTo>
                    <a:pt x="246" y="108"/>
                  </a:lnTo>
                  <a:lnTo>
                    <a:pt x="234" y="120"/>
                  </a:lnTo>
                  <a:lnTo>
                    <a:pt x="234" y="138"/>
                  </a:lnTo>
                  <a:lnTo>
                    <a:pt x="246" y="150"/>
                  </a:lnTo>
                  <a:lnTo>
                    <a:pt x="216" y="150"/>
                  </a:lnTo>
                  <a:lnTo>
                    <a:pt x="216" y="138"/>
                  </a:lnTo>
                  <a:lnTo>
                    <a:pt x="222" y="132"/>
                  </a:lnTo>
                  <a:lnTo>
                    <a:pt x="222" y="126"/>
                  </a:lnTo>
                  <a:lnTo>
                    <a:pt x="228" y="114"/>
                  </a:lnTo>
                  <a:lnTo>
                    <a:pt x="210" y="120"/>
                  </a:lnTo>
                  <a:lnTo>
                    <a:pt x="192" y="102"/>
                  </a:lnTo>
                  <a:lnTo>
                    <a:pt x="186" y="102"/>
                  </a:lnTo>
                  <a:lnTo>
                    <a:pt x="174" y="114"/>
                  </a:lnTo>
                  <a:lnTo>
                    <a:pt x="174" y="132"/>
                  </a:lnTo>
                  <a:lnTo>
                    <a:pt x="168" y="138"/>
                  </a:lnTo>
                  <a:lnTo>
                    <a:pt x="162" y="138"/>
                  </a:lnTo>
                  <a:lnTo>
                    <a:pt x="156" y="132"/>
                  </a:lnTo>
                  <a:lnTo>
                    <a:pt x="156" y="48"/>
                  </a:lnTo>
                  <a:lnTo>
                    <a:pt x="162" y="36"/>
                  </a:lnTo>
                  <a:lnTo>
                    <a:pt x="162" y="24"/>
                  </a:lnTo>
                  <a:lnTo>
                    <a:pt x="168" y="12"/>
                  </a:lnTo>
                  <a:lnTo>
                    <a:pt x="168" y="6"/>
                  </a:lnTo>
                  <a:lnTo>
                    <a:pt x="78" y="0"/>
                  </a:lnTo>
                  <a:lnTo>
                    <a:pt x="72" y="24"/>
                  </a:lnTo>
                  <a:lnTo>
                    <a:pt x="78" y="30"/>
                  </a:lnTo>
                  <a:lnTo>
                    <a:pt x="84" y="42"/>
                  </a:lnTo>
                  <a:lnTo>
                    <a:pt x="90" y="48"/>
                  </a:lnTo>
                  <a:lnTo>
                    <a:pt x="90" y="66"/>
                  </a:lnTo>
                  <a:lnTo>
                    <a:pt x="96" y="72"/>
                  </a:lnTo>
                  <a:lnTo>
                    <a:pt x="96" y="96"/>
                  </a:lnTo>
                  <a:lnTo>
                    <a:pt x="78" y="114"/>
                  </a:lnTo>
                  <a:lnTo>
                    <a:pt x="66" y="114"/>
                  </a:lnTo>
                  <a:lnTo>
                    <a:pt x="66" y="126"/>
                  </a:lnTo>
                  <a:lnTo>
                    <a:pt x="60" y="138"/>
                  </a:lnTo>
                  <a:lnTo>
                    <a:pt x="60" y="156"/>
                  </a:lnTo>
                  <a:lnTo>
                    <a:pt x="66" y="156"/>
                  </a:lnTo>
                  <a:lnTo>
                    <a:pt x="72" y="162"/>
                  </a:lnTo>
                  <a:lnTo>
                    <a:pt x="90" y="162"/>
                  </a:lnTo>
                  <a:lnTo>
                    <a:pt x="90" y="180"/>
                  </a:lnTo>
                  <a:lnTo>
                    <a:pt x="78" y="186"/>
                  </a:lnTo>
                  <a:lnTo>
                    <a:pt x="84" y="198"/>
                  </a:lnTo>
                  <a:lnTo>
                    <a:pt x="72" y="198"/>
                  </a:lnTo>
                  <a:lnTo>
                    <a:pt x="54" y="216"/>
                  </a:lnTo>
                  <a:lnTo>
                    <a:pt x="48" y="228"/>
                  </a:lnTo>
                  <a:lnTo>
                    <a:pt x="48" y="246"/>
                  </a:lnTo>
                  <a:lnTo>
                    <a:pt x="42" y="258"/>
                  </a:lnTo>
                  <a:lnTo>
                    <a:pt x="30" y="270"/>
                  </a:lnTo>
                  <a:lnTo>
                    <a:pt x="6" y="282"/>
                  </a:lnTo>
                  <a:lnTo>
                    <a:pt x="0" y="294"/>
                  </a:lnTo>
                  <a:lnTo>
                    <a:pt x="6" y="306"/>
                  </a:lnTo>
                  <a:lnTo>
                    <a:pt x="18" y="318"/>
                  </a:lnTo>
                  <a:lnTo>
                    <a:pt x="18" y="330"/>
                  </a:lnTo>
                  <a:lnTo>
                    <a:pt x="12" y="342"/>
                  </a:lnTo>
                  <a:lnTo>
                    <a:pt x="12" y="348"/>
                  </a:lnTo>
                  <a:lnTo>
                    <a:pt x="18" y="354"/>
                  </a:lnTo>
                  <a:lnTo>
                    <a:pt x="18" y="366"/>
                  </a:lnTo>
                  <a:lnTo>
                    <a:pt x="24" y="378"/>
                  </a:lnTo>
                  <a:lnTo>
                    <a:pt x="24" y="396"/>
                  </a:lnTo>
                  <a:lnTo>
                    <a:pt x="18" y="402"/>
                  </a:lnTo>
                  <a:lnTo>
                    <a:pt x="18" y="432"/>
                  </a:lnTo>
                  <a:lnTo>
                    <a:pt x="30" y="444"/>
                  </a:lnTo>
                  <a:lnTo>
                    <a:pt x="36" y="444"/>
                  </a:lnTo>
                  <a:lnTo>
                    <a:pt x="48" y="450"/>
                  </a:lnTo>
                  <a:lnTo>
                    <a:pt x="72" y="474"/>
                  </a:lnTo>
                  <a:lnTo>
                    <a:pt x="78" y="486"/>
                  </a:lnTo>
                  <a:lnTo>
                    <a:pt x="78" y="546"/>
                  </a:lnTo>
                  <a:lnTo>
                    <a:pt x="84" y="558"/>
                  </a:lnTo>
                  <a:lnTo>
                    <a:pt x="114" y="594"/>
                  </a:lnTo>
                  <a:lnTo>
                    <a:pt x="114" y="600"/>
                  </a:lnTo>
                  <a:lnTo>
                    <a:pt x="108" y="612"/>
                  </a:lnTo>
                  <a:lnTo>
                    <a:pt x="108" y="618"/>
                  </a:lnTo>
                  <a:lnTo>
                    <a:pt x="126" y="618"/>
                  </a:lnTo>
                  <a:lnTo>
                    <a:pt x="138" y="612"/>
                  </a:lnTo>
                  <a:lnTo>
                    <a:pt x="138" y="630"/>
                  </a:lnTo>
                  <a:lnTo>
                    <a:pt x="144" y="636"/>
                  </a:lnTo>
                  <a:lnTo>
                    <a:pt x="162" y="636"/>
                  </a:lnTo>
                  <a:lnTo>
                    <a:pt x="180" y="654"/>
                  </a:lnTo>
                  <a:lnTo>
                    <a:pt x="192" y="654"/>
                  </a:lnTo>
                  <a:lnTo>
                    <a:pt x="204" y="648"/>
                  </a:lnTo>
                  <a:lnTo>
                    <a:pt x="204" y="666"/>
                  </a:lnTo>
                  <a:lnTo>
                    <a:pt x="222" y="666"/>
                  </a:lnTo>
                  <a:lnTo>
                    <a:pt x="240" y="678"/>
                  </a:lnTo>
                  <a:lnTo>
                    <a:pt x="264" y="678"/>
                  </a:lnTo>
                  <a:lnTo>
                    <a:pt x="270" y="696"/>
                  </a:lnTo>
                  <a:lnTo>
                    <a:pt x="300" y="696"/>
                  </a:lnTo>
                  <a:lnTo>
                    <a:pt x="300" y="690"/>
                  </a:lnTo>
                  <a:lnTo>
                    <a:pt x="312" y="678"/>
                  </a:lnTo>
                  <a:lnTo>
                    <a:pt x="318" y="684"/>
                  </a:lnTo>
                  <a:lnTo>
                    <a:pt x="330" y="690"/>
                  </a:lnTo>
                  <a:lnTo>
                    <a:pt x="336" y="702"/>
                  </a:lnTo>
                  <a:lnTo>
                    <a:pt x="348" y="714"/>
                  </a:lnTo>
                  <a:lnTo>
                    <a:pt x="348" y="774"/>
                  </a:lnTo>
                  <a:lnTo>
                    <a:pt x="354" y="774"/>
                  </a:lnTo>
                  <a:lnTo>
                    <a:pt x="360" y="780"/>
                  </a:lnTo>
                  <a:lnTo>
                    <a:pt x="360" y="792"/>
                  </a:lnTo>
                  <a:lnTo>
                    <a:pt x="354" y="798"/>
                  </a:lnTo>
                  <a:lnTo>
                    <a:pt x="354" y="804"/>
                  </a:lnTo>
                  <a:lnTo>
                    <a:pt x="348" y="810"/>
                  </a:lnTo>
                  <a:lnTo>
                    <a:pt x="348" y="816"/>
                  </a:lnTo>
                  <a:lnTo>
                    <a:pt x="366" y="834"/>
                  </a:lnTo>
                  <a:lnTo>
                    <a:pt x="378" y="840"/>
                  </a:lnTo>
                  <a:lnTo>
                    <a:pt x="372" y="858"/>
                  </a:lnTo>
                  <a:lnTo>
                    <a:pt x="408" y="858"/>
                  </a:lnTo>
                  <a:lnTo>
                    <a:pt x="414" y="852"/>
                  </a:lnTo>
                  <a:lnTo>
                    <a:pt x="420" y="852"/>
                  </a:lnTo>
                  <a:lnTo>
                    <a:pt x="432" y="840"/>
                  </a:lnTo>
                  <a:lnTo>
                    <a:pt x="444" y="840"/>
                  </a:lnTo>
                  <a:lnTo>
                    <a:pt x="456" y="846"/>
                  </a:lnTo>
                  <a:lnTo>
                    <a:pt x="462" y="858"/>
                  </a:lnTo>
                  <a:lnTo>
                    <a:pt x="474" y="864"/>
                  </a:lnTo>
                  <a:lnTo>
                    <a:pt x="480" y="870"/>
                  </a:lnTo>
                  <a:lnTo>
                    <a:pt x="492" y="870"/>
                  </a:lnTo>
                  <a:lnTo>
                    <a:pt x="510" y="852"/>
                  </a:lnTo>
                  <a:lnTo>
                    <a:pt x="516" y="852"/>
                  </a:lnTo>
                  <a:lnTo>
                    <a:pt x="522" y="858"/>
                  </a:lnTo>
                  <a:lnTo>
                    <a:pt x="534" y="864"/>
                  </a:lnTo>
                  <a:lnTo>
                    <a:pt x="552" y="864"/>
                  </a:lnTo>
                  <a:lnTo>
                    <a:pt x="564" y="852"/>
                  </a:lnTo>
                  <a:lnTo>
                    <a:pt x="576" y="846"/>
                  </a:lnTo>
                  <a:lnTo>
                    <a:pt x="582" y="834"/>
                  </a:lnTo>
                  <a:lnTo>
                    <a:pt x="588" y="828"/>
                  </a:lnTo>
                  <a:lnTo>
                    <a:pt x="612" y="828"/>
                  </a:lnTo>
                  <a:lnTo>
                    <a:pt x="618" y="834"/>
                  </a:lnTo>
                  <a:lnTo>
                    <a:pt x="618" y="840"/>
                  </a:lnTo>
                  <a:lnTo>
                    <a:pt x="630" y="840"/>
                  </a:lnTo>
                  <a:lnTo>
                    <a:pt x="642" y="834"/>
                  </a:lnTo>
                  <a:lnTo>
                    <a:pt x="654" y="822"/>
                  </a:lnTo>
                  <a:lnTo>
                    <a:pt x="660" y="822"/>
                  </a:lnTo>
                  <a:lnTo>
                    <a:pt x="690" y="816"/>
                  </a:lnTo>
                  <a:lnTo>
                    <a:pt x="768" y="762"/>
                  </a:lnTo>
                  <a:lnTo>
                    <a:pt x="762" y="744"/>
                  </a:lnTo>
                  <a:close/>
                  <a:moveTo>
                    <a:pt x="726" y="360"/>
                  </a:moveTo>
                  <a:lnTo>
                    <a:pt x="732" y="354"/>
                  </a:lnTo>
                  <a:lnTo>
                    <a:pt x="732" y="324"/>
                  </a:lnTo>
                  <a:lnTo>
                    <a:pt x="720" y="312"/>
                  </a:lnTo>
                  <a:lnTo>
                    <a:pt x="714" y="312"/>
                  </a:lnTo>
                  <a:lnTo>
                    <a:pt x="708" y="318"/>
                  </a:lnTo>
                  <a:lnTo>
                    <a:pt x="708" y="348"/>
                  </a:lnTo>
                  <a:lnTo>
                    <a:pt x="714" y="354"/>
                  </a:lnTo>
                  <a:lnTo>
                    <a:pt x="726" y="360"/>
                  </a:lnTo>
                  <a:close/>
                  <a:moveTo>
                    <a:pt x="678" y="420"/>
                  </a:moveTo>
                  <a:lnTo>
                    <a:pt x="690" y="426"/>
                  </a:lnTo>
                  <a:lnTo>
                    <a:pt x="696" y="438"/>
                  </a:lnTo>
                  <a:lnTo>
                    <a:pt x="708" y="444"/>
                  </a:lnTo>
                  <a:lnTo>
                    <a:pt x="720" y="444"/>
                  </a:lnTo>
                  <a:lnTo>
                    <a:pt x="726" y="438"/>
                  </a:lnTo>
                  <a:lnTo>
                    <a:pt x="720" y="432"/>
                  </a:lnTo>
                  <a:lnTo>
                    <a:pt x="720" y="426"/>
                  </a:lnTo>
                  <a:lnTo>
                    <a:pt x="708" y="414"/>
                  </a:lnTo>
                  <a:lnTo>
                    <a:pt x="708" y="390"/>
                  </a:lnTo>
                  <a:lnTo>
                    <a:pt x="702" y="378"/>
                  </a:lnTo>
                  <a:lnTo>
                    <a:pt x="684" y="378"/>
                  </a:lnTo>
                  <a:lnTo>
                    <a:pt x="678" y="384"/>
                  </a:lnTo>
                  <a:lnTo>
                    <a:pt x="678" y="42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50" name="Tajikistan" descr="© INSCALE GmbH, 05.05.2010&#10;http://www.presentationload.com/">
              <a:extLst>
                <a:ext uri="{FF2B5EF4-FFF2-40B4-BE49-F238E27FC236}">
                  <a16:creationId xmlns:a16="http://schemas.microsoft.com/office/drawing/2014/main" id="{295D0A22-E5CB-4C88-AB97-3F997653A728}"/>
                </a:ext>
              </a:extLst>
            </p:cNvPr>
            <p:cNvSpPr>
              <a:spLocks/>
            </p:cNvSpPr>
            <p:nvPr/>
          </p:nvSpPr>
          <p:spPr bwMode="gray">
            <a:xfrm>
              <a:off x="5913769" y="2940194"/>
              <a:ext cx="219523" cy="139555"/>
            </a:xfrm>
            <a:custGeom>
              <a:avLst/>
              <a:gdLst>
                <a:gd name="T0" fmla="*/ 2147483647 w 552"/>
                <a:gd name="T1" fmla="*/ 2147483647 h 348"/>
                <a:gd name="T2" fmla="*/ 2147483647 w 552"/>
                <a:gd name="T3" fmla="*/ 2147483647 h 348"/>
                <a:gd name="T4" fmla="*/ 2147483647 w 552"/>
                <a:gd name="T5" fmla="*/ 2147483647 h 348"/>
                <a:gd name="T6" fmla="*/ 2147483647 w 552"/>
                <a:gd name="T7" fmla="*/ 2147483647 h 348"/>
                <a:gd name="T8" fmla="*/ 2147483647 w 552"/>
                <a:gd name="T9" fmla="*/ 2147483647 h 348"/>
                <a:gd name="T10" fmla="*/ 2147483647 w 552"/>
                <a:gd name="T11" fmla="*/ 2147483647 h 348"/>
                <a:gd name="T12" fmla="*/ 2147483647 w 552"/>
                <a:gd name="T13" fmla="*/ 2147483647 h 348"/>
                <a:gd name="T14" fmla="*/ 2147483647 w 552"/>
                <a:gd name="T15" fmla="*/ 2147483647 h 348"/>
                <a:gd name="T16" fmla="*/ 2147483647 w 552"/>
                <a:gd name="T17" fmla="*/ 2147483647 h 348"/>
                <a:gd name="T18" fmla="*/ 2147483647 w 552"/>
                <a:gd name="T19" fmla="*/ 2147483647 h 348"/>
                <a:gd name="T20" fmla="*/ 2147483647 w 552"/>
                <a:gd name="T21" fmla="*/ 2147483647 h 348"/>
                <a:gd name="T22" fmla="*/ 2147483647 w 552"/>
                <a:gd name="T23" fmla="*/ 2147483647 h 348"/>
                <a:gd name="T24" fmla="*/ 2147483647 w 552"/>
                <a:gd name="T25" fmla="*/ 2147483647 h 348"/>
                <a:gd name="T26" fmla="*/ 2147483647 w 552"/>
                <a:gd name="T27" fmla="*/ 2147483647 h 348"/>
                <a:gd name="T28" fmla="*/ 2147483647 w 552"/>
                <a:gd name="T29" fmla="*/ 2147483647 h 348"/>
                <a:gd name="T30" fmla="*/ 2147483647 w 552"/>
                <a:gd name="T31" fmla="*/ 2147483647 h 348"/>
                <a:gd name="T32" fmla="*/ 2147483647 w 552"/>
                <a:gd name="T33" fmla="*/ 2147483647 h 348"/>
                <a:gd name="T34" fmla="*/ 2147483647 w 552"/>
                <a:gd name="T35" fmla="*/ 2147483647 h 348"/>
                <a:gd name="T36" fmla="*/ 2147483647 w 552"/>
                <a:gd name="T37" fmla="*/ 2147483647 h 348"/>
                <a:gd name="T38" fmla="*/ 2147483647 w 552"/>
                <a:gd name="T39" fmla="*/ 0 h 348"/>
                <a:gd name="T40" fmla="*/ 2147483647 w 552"/>
                <a:gd name="T41" fmla="*/ 2147483647 h 348"/>
                <a:gd name="T42" fmla="*/ 2147483647 w 552"/>
                <a:gd name="T43" fmla="*/ 2147483647 h 348"/>
                <a:gd name="T44" fmla="*/ 2147483647 w 552"/>
                <a:gd name="T45" fmla="*/ 2147483647 h 348"/>
                <a:gd name="T46" fmla="*/ 2147483647 w 552"/>
                <a:gd name="T47" fmla="*/ 2147483647 h 348"/>
                <a:gd name="T48" fmla="*/ 2147483647 w 552"/>
                <a:gd name="T49" fmla="*/ 2147483647 h 348"/>
                <a:gd name="T50" fmla="*/ 2147483647 w 552"/>
                <a:gd name="T51" fmla="*/ 2147483647 h 348"/>
                <a:gd name="T52" fmla="*/ 2147483647 w 552"/>
                <a:gd name="T53" fmla="*/ 2147483647 h 348"/>
                <a:gd name="T54" fmla="*/ 2147483647 w 552"/>
                <a:gd name="T55" fmla="*/ 2147483647 h 348"/>
                <a:gd name="T56" fmla="*/ 2147483647 w 552"/>
                <a:gd name="T57" fmla="*/ 2147483647 h 348"/>
                <a:gd name="T58" fmla="*/ 2147483647 w 552"/>
                <a:gd name="T59" fmla="*/ 2147483647 h 348"/>
                <a:gd name="T60" fmla="*/ 2147483647 w 552"/>
                <a:gd name="T61" fmla="*/ 2147483647 h 348"/>
                <a:gd name="T62" fmla="*/ 2147483647 w 552"/>
                <a:gd name="T63" fmla="*/ 2147483647 h 348"/>
                <a:gd name="T64" fmla="*/ 2147483647 w 552"/>
                <a:gd name="T65" fmla="*/ 2147483647 h 348"/>
                <a:gd name="T66" fmla="*/ 2147483647 w 552"/>
                <a:gd name="T67" fmla="*/ 2147483647 h 348"/>
                <a:gd name="T68" fmla="*/ 2147483647 w 552"/>
                <a:gd name="T69" fmla="*/ 2147483647 h 348"/>
                <a:gd name="T70" fmla="*/ 2147483647 w 552"/>
                <a:gd name="T71" fmla="*/ 2147483647 h 348"/>
                <a:gd name="T72" fmla="*/ 2147483647 w 552"/>
                <a:gd name="T73" fmla="*/ 2147483647 h 348"/>
                <a:gd name="T74" fmla="*/ 2147483647 w 552"/>
                <a:gd name="T75" fmla="*/ 2147483647 h 348"/>
                <a:gd name="T76" fmla="*/ 2147483647 w 552"/>
                <a:gd name="T77" fmla="*/ 2147483647 h 348"/>
                <a:gd name="T78" fmla="*/ 2147483647 w 552"/>
                <a:gd name="T79" fmla="*/ 2147483647 h 348"/>
                <a:gd name="T80" fmla="*/ 2147483647 w 552"/>
                <a:gd name="T81" fmla="*/ 2147483647 h 348"/>
                <a:gd name="T82" fmla="*/ 2147483647 w 552"/>
                <a:gd name="T83" fmla="*/ 2147483647 h 348"/>
                <a:gd name="T84" fmla="*/ 2147483647 w 552"/>
                <a:gd name="T85" fmla="*/ 2147483647 h 348"/>
                <a:gd name="T86" fmla="*/ 2147483647 w 552"/>
                <a:gd name="T87" fmla="*/ 2147483647 h 348"/>
                <a:gd name="T88" fmla="*/ 2147483647 w 552"/>
                <a:gd name="T89" fmla="*/ 2147483647 h 348"/>
                <a:gd name="T90" fmla="*/ 2147483647 w 552"/>
                <a:gd name="T91" fmla="*/ 2147483647 h 348"/>
                <a:gd name="T92" fmla="*/ 2147483647 w 552"/>
                <a:gd name="T93" fmla="*/ 2147483647 h 348"/>
                <a:gd name="T94" fmla="*/ 2147483647 w 552"/>
                <a:gd name="T95" fmla="*/ 2147483647 h 348"/>
                <a:gd name="T96" fmla="*/ 2147483647 w 552"/>
                <a:gd name="T97" fmla="*/ 2147483647 h 348"/>
                <a:gd name="T98" fmla="*/ 2147483647 w 552"/>
                <a:gd name="T99" fmla="*/ 2147483647 h 3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52"/>
                <a:gd name="T151" fmla="*/ 0 h 348"/>
                <a:gd name="T152" fmla="*/ 552 w 552"/>
                <a:gd name="T153" fmla="*/ 348 h 3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52" h="348">
                  <a:moveTo>
                    <a:pt x="528" y="270"/>
                  </a:moveTo>
                  <a:lnTo>
                    <a:pt x="516" y="246"/>
                  </a:lnTo>
                  <a:lnTo>
                    <a:pt x="516" y="204"/>
                  </a:lnTo>
                  <a:lnTo>
                    <a:pt x="510" y="198"/>
                  </a:lnTo>
                  <a:lnTo>
                    <a:pt x="498" y="192"/>
                  </a:lnTo>
                  <a:lnTo>
                    <a:pt x="492" y="192"/>
                  </a:lnTo>
                  <a:lnTo>
                    <a:pt x="480" y="186"/>
                  </a:lnTo>
                  <a:lnTo>
                    <a:pt x="456" y="186"/>
                  </a:lnTo>
                  <a:lnTo>
                    <a:pt x="450" y="192"/>
                  </a:lnTo>
                  <a:lnTo>
                    <a:pt x="438" y="192"/>
                  </a:lnTo>
                  <a:lnTo>
                    <a:pt x="426" y="180"/>
                  </a:lnTo>
                  <a:lnTo>
                    <a:pt x="426" y="168"/>
                  </a:lnTo>
                  <a:lnTo>
                    <a:pt x="432" y="156"/>
                  </a:lnTo>
                  <a:lnTo>
                    <a:pt x="432" y="144"/>
                  </a:lnTo>
                  <a:lnTo>
                    <a:pt x="414" y="144"/>
                  </a:lnTo>
                  <a:lnTo>
                    <a:pt x="414" y="120"/>
                  </a:lnTo>
                  <a:lnTo>
                    <a:pt x="396" y="114"/>
                  </a:lnTo>
                  <a:lnTo>
                    <a:pt x="384" y="126"/>
                  </a:lnTo>
                  <a:lnTo>
                    <a:pt x="342" y="126"/>
                  </a:lnTo>
                  <a:lnTo>
                    <a:pt x="336" y="132"/>
                  </a:lnTo>
                  <a:lnTo>
                    <a:pt x="324" y="138"/>
                  </a:lnTo>
                  <a:lnTo>
                    <a:pt x="312" y="138"/>
                  </a:lnTo>
                  <a:lnTo>
                    <a:pt x="312" y="132"/>
                  </a:lnTo>
                  <a:lnTo>
                    <a:pt x="306" y="132"/>
                  </a:lnTo>
                  <a:lnTo>
                    <a:pt x="294" y="138"/>
                  </a:lnTo>
                  <a:lnTo>
                    <a:pt x="264" y="108"/>
                  </a:lnTo>
                  <a:lnTo>
                    <a:pt x="258" y="114"/>
                  </a:lnTo>
                  <a:lnTo>
                    <a:pt x="246" y="120"/>
                  </a:lnTo>
                  <a:lnTo>
                    <a:pt x="240" y="126"/>
                  </a:lnTo>
                  <a:lnTo>
                    <a:pt x="222" y="126"/>
                  </a:lnTo>
                  <a:lnTo>
                    <a:pt x="210" y="114"/>
                  </a:lnTo>
                  <a:lnTo>
                    <a:pt x="186" y="114"/>
                  </a:lnTo>
                  <a:lnTo>
                    <a:pt x="174" y="108"/>
                  </a:lnTo>
                  <a:lnTo>
                    <a:pt x="156" y="108"/>
                  </a:lnTo>
                  <a:lnTo>
                    <a:pt x="150" y="114"/>
                  </a:lnTo>
                  <a:lnTo>
                    <a:pt x="138" y="114"/>
                  </a:lnTo>
                  <a:lnTo>
                    <a:pt x="126" y="120"/>
                  </a:lnTo>
                  <a:lnTo>
                    <a:pt x="120" y="114"/>
                  </a:lnTo>
                  <a:lnTo>
                    <a:pt x="120" y="108"/>
                  </a:lnTo>
                  <a:lnTo>
                    <a:pt x="114" y="102"/>
                  </a:lnTo>
                  <a:lnTo>
                    <a:pt x="114" y="90"/>
                  </a:lnTo>
                  <a:lnTo>
                    <a:pt x="126" y="84"/>
                  </a:lnTo>
                  <a:lnTo>
                    <a:pt x="132" y="78"/>
                  </a:lnTo>
                  <a:lnTo>
                    <a:pt x="132" y="66"/>
                  </a:lnTo>
                  <a:lnTo>
                    <a:pt x="138" y="60"/>
                  </a:lnTo>
                  <a:lnTo>
                    <a:pt x="150" y="60"/>
                  </a:lnTo>
                  <a:lnTo>
                    <a:pt x="186" y="72"/>
                  </a:lnTo>
                  <a:lnTo>
                    <a:pt x="198" y="78"/>
                  </a:lnTo>
                  <a:lnTo>
                    <a:pt x="204" y="78"/>
                  </a:lnTo>
                  <a:lnTo>
                    <a:pt x="210" y="72"/>
                  </a:lnTo>
                  <a:lnTo>
                    <a:pt x="210" y="66"/>
                  </a:lnTo>
                  <a:lnTo>
                    <a:pt x="204" y="60"/>
                  </a:lnTo>
                  <a:lnTo>
                    <a:pt x="198" y="60"/>
                  </a:lnTo>
                  <a:lnTo>
                    <a:pt x="186" y="54"/>
                  </a:lnTo>
                  <a:lnTo>
                    <a:pt x="180" y="48"/>
                  </a:lnTo>
                  <a:lnTo>
                    <a:pt x="174" y="48"/>
                  </a:lnTo>
                  <a:lnTo>
                    <a:pt x="198" y="12"/>
                  </a:lnTo>
                  <a:lnTo>
                    <a:pt x="192" y="6"/>
                  </a:lnTo>
                  <a:lnTo>
                    <a:pt x="180" y="0"/>
                  </a:lnTo>
                  <a:lnTo>
                    <a:pt x="162" y="0"/>
                  </a:lnTo>
                  <a:lnTo>
                    <a:pt x="156" y="12"/>
                  </a:lnTo>
                  <a:lnTo>
                    <a:pt x="144" y="18"/>
                  </a:lnTo>
                  <a:lnTo>
                    <a:pt x="138" y="30"/>
                  </a:lnTo>
                  <a:lnTo>
                    <a:pt x="132" y="30"/>
                  </a:lnTo>
                  <a:lnTo>
                    <a:pt x="114" y="12"/>
                  </a:lnTo>
                  <a:lnTo>
                    <a:pt x="102" y="12"/>
                  </a:lnTo>
                  <a:lnTo>
                    <a:pt x="102" y="24"/>
                  </a:lnTo>
                  <a:lnTo>
                    <a:pt x="96" y="30"/>
                  </a:lnTo>
                  <a:lnTo>
                    <a:pt x="96" y="42"/>
                  </a:lnTo>
                  <a:lnTo>
                    <a:pt x="108" y="54"/>
                  </a:lnTo>
                  <a:lnTo>
                    <a:pt x="108" y="60"/>
                  </a:lnTo>
                  <a:lnTo>
                    <a:pt x="66" y="60"/>
                  </a:lnTo>
                  <a:lnTo>
                    <a:pt x="90" y="84"/>
                  </a:lnTo>
                  <a:lnTo>
                    <a:pt x="72" y="96"/>
                  </a:lnTo>
                  <a:lnTo>
                    <a:pt x="78" y="96"/>
                  </a:lnTo>
                  <a:lnTo>
                    <a:pt x="78" y="108"/>
                  </a:lnTo>
                  <a:lnTo>
                    <a:pt x="54" y="120"/>
                  </a:lnTo>
                  <a:lnTo>
                    <a:pt x="6" y="120"/>
                  </a:lnTo>
                  <a:lnTo>
                    <a:pt x="0" y="126"/>
                  </a:lnTo>
                  <a:lnTo>
                    <a:pt x="0" y="144"/>
                  </a:lnTo>
                  <a:lnTo>
                    <a:pt x="18" y="144"/>
                  </a:lnTo>
                  <a:lnTo>
                    <a:pt x="30" y="156"/>
                  </a:lnTo>
                  <a:lnTo>
                    <a:pt x="36" y="156"/>
                  </a:lnTo>
                  <a:lnTo>
                    <a:pt x="42" y="162"/>
                  </a:lnTo>
                  <a:lnTo>
                    <a:pt x="54" y="162"/>
                  </a:lnTo>
                  <a:lnTo>
                    <a:pt x="66" y="174"/>
                  </a:lnTo>
                  <a:lnTo>
                    <a:pt x="66" y="180"/>
                  </a:lnTo>
                  <a:lnTo>
                    <a:pt x="60" y="186"/>
                  </a:lnTo>
                  <a:lnTo>
                    <a:pt x="60" y="204"/>
                  </a:lnTo>
                  <a:lnTo>
                    <a:pt x="66" y="210"/>
                  </a:lnTo>
                  <a:lnTo>
                    <a:pt x="78" y="216"/>
                  </a:lnTo>
                  <a:lnTo>
                    <a:pt x="90" y="228"/>
                  </a:lnTo>
                  <a:lnTo>
                    <a:pt x="90" y="246"/>
                  </a:lnTo>
                  <a:lnTo>
                    <a:pt x="84" y="258"/>
                  </a:lnTo>
                  <a:lnTo>
                    <a:pt x="72" y="264"/>
                  </a:lnTo>
                  <a:lnTo>
                    <a:pt x="66" y="276"/>
                  </a:lnTo>
                  <a:lnTo>
                    <a:pt x="60" y="282"/>
                  </a:lnTo>
                  <a:lnTo>
                    <a:pt x="60" y="306"/>
                  </a:lnTo>
                  <a:lnTo>
                    <a:pt x="66" y="312"/>
                  </a:lnTo>
                  <a:lnTo>
                    <a:pt x="78" y="318"/>
                  </a:lnTo>
                  <a:lnTo>
                    <a:pt x="84" y="324"/>
                  </a:lnTo>
                  <a:lnTo>
                    <a:pt x="90" y="324"/>
                  </a:lnTo>
                  <a:lnTo>
                    <a:pt x="108" y="306"/>
                  </a:lnTo>
                  <a:lnTo>
                    <a:pt x="120" y="300"/>
                  </a:lnTo>
                  <a:lnTo>
                    <a:pt x="126" y="294"/>
                  </a:lnTo>
                  <a:lnTo>
                    <a:pt x="138" y="294"/>
                  </a:lnTo>
                  <a:lnTo>
                    <a:pt x="144" y="300"/>
                  </a:lnTo>
                  <a:lnTo>
                    <a:pt x="150" y="312"/>
                  </a:lnTo>
                  <a:lnTo>
                    <a:pt x="156" y="318"/>
                  </a:lnTo>
                  <a:lnTo>
                    <a:pt x="162" y="318"/>
                  </a:lnTo>
                  <a:lnTo>
                    <a:pt x="162" y="288"/>
                  </a:lnTo>
                  <a:lnTo>
                    <a:pt x="174" y="276"/>
                  </a:lnTo>
                  <a:lnTo>
                    <a:pt x="186" y="270"/>
                  </a:lnTo>
                  <a:lnTo>
                    <a:pt x="204" y="270"/>
                  </a:lnTo>
                  <a:lnTo>
                    <a:pt x="216" y="282"/>
                  </a:lnTo>
                  <a:lnTo>
                    <a:pt x="222" y="258"/>
                  </a:lnTo>
                  <a:lnTo>
                    <a:pt x="216" y="258"/>
                  </a:lnTo>
                  <a:lnTo>
                    <a:pt x="210" y="252"/>
                  </a:lnTo>
                  <a:lnTo>
                    <a:pt x="210" y="246"/>
                  </a:lnTo>
                  <a:lnTo>
                    <a:pt x="222" y="234"/>
                  </a:lnTo>
                  <a:lnTo>
                    <a:pt x="228" y="234"/>
                  </a:lnTo>
                  <a:lnTo>
                    <a:pt x="234" y="228"/>
                  </a:lnTo>
                  <a:lnTo>
                    <a:pt x="234" y="204"/>
                  </a:lnTo>
                  <a:lnTo>
                    <a:pt x="240" y="198"/>
                  </a:lnTo>
                  <a:lnTo>
                    <a:pt x="258" y="198"/>
                  </a:lnTo>
                  <a:lnTo>
                    <a:pt x="276" y="216"/>
                  </a:lnTo>
                  <a:lnTo>
                    <a:pt x="276" y="246"/>
                  </a:lnTo>
                  <a:lnTo>
                    <a:pt x="294" y="246"/>
                  </a:lnTo>
                  <a:lnTo>
                    <a:pt x="306" y="312"/>
                  </a:lnTo>
                  <a:lnTo>
                    <a:pt x="306" y="318"/>
                  </a:lnTo>
                  <a:lnTo>
                    <a:pt x="336" y="348"/>
                  </a:lnTo>
                  <a:lnTo>
                    <a:pt x="342" y="348"/>
                  </a:lnTo>
                  <a:lnTo>
                    <a:pt x="348" y="342"/>
                  </a:lnTo>
                  <a:lnTo>
                    <a:pt x="360" y="336"/>
                  </a:lnTo>
                  <a:lnTo>
                    <a:pt x="366" y="324"/>
                  </a:lnTo>
                  <a:lnTo>
                    <a:pt x="372" y="318"/>
                  </a:lnTo>
                  <a:lnTo>
                    <a:pt x="390" y="318"/>
                  </a:lnTo>
                  <a:lnTo>
                    <a:pt x="396" y="312"/>
                  </a:lnTo>
                  <a:lnTo>
                    <a:pt x="402" y="300"/>
                  </a:lnTo>
                  <a:lnTo>
                    <a:pt x="408" y="294"/>
                  </a:lnTo>
                  <a:lnTo>
                    <a:pt x="432" y="282"/>
                  </a:lnTo>
                  <a:lnTo>
                    <a:pt x="456" y="282"/>
                  </a:lnTo>
                  <a:lnTo>
                    <a:pt x="456" y="300"/>
                  </a:lnTo>
                  <a:lnTo>
                    <a:pt x="492" y="288"/>
                  </a:lnTo>
                  <a:lnTo>
                    <a:pt x="516" y="288"/>
                  </a:lnTo>
                  <a:lnTo>
                    <a:pt x="522" y="294"/>
                  </a:lnTo>
                  <a:lnTo>
                    <a:pt x="546" y="294"/>
                  </a:lnTo>
                  <a:lnTo>
                    <a:pt x="552" y="288"/>
                  </a:lnTo>
                  <a:lnTo>
                    <a:pt x="540" y="276"/>
                  </a:lnTo>
                  <a:lnTo>
                    <a:pt x="534" y="276"/>
                  </a:lnTo>
                  <a:lnTo>
                    <a:pt x="528" y="27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51" name="Taiwan" descr="© INSCALE GmbH, 05.05.2010&#10;http://www.presentationload.com/">
              <a:extLst>
                <a:ext uri="{FF2B5EF4-FFF2-40B4-BE49-F238E27FC236}">
                  <a16:creationId xmlns:a16="http://schemas.microsoft.com/office/drawing/2014/main" id="{4BA75CEE-A6F1-47B5-8B62-8201260877F7}"/>
                </a:ext>
              </a:extLst>
            </p:cNvPr>
            <p:cNvSpPr>
              <a:spLocks/>
            </p:cNvSpPr>
            <p:nvPr/>
          </p:nvSpPr>
          <p:spPr bwMode="gray">
            <a:xfrm>
              <a:off x="7450432" y="3441962"/>
              <a:ext cx="47041" cy="106626"/>
            </a:xfrm>
            <a:custGeom>
              <a:avLst/>
              <a:gdLst>
                <a:gd name="T0" fmla="*/ 2147483647 w 120"/>
                <a:gd name="T1" fmla="*/ 2147483647 h 270"/>
                <a:gd name="T2" fmla="*/ 2147483647 w 120"/>
                <a:gd name="T3" fmla="*/ 2147483647 h 270"/>
                <a:gd name="T4" fmla="*/ 2147483647 w 120"/>
                <a:gd name="T5" fmla="*/ 2147483647 h 270"/>
                <a:gd name="T6" fmla="*/ 2147483647 w 120"/>
                <a:gd name="T7" fmla="*/ 2147483647 h 270"/>
                <a:gd name="T8" fmla="*/ 2147483647 w 120"/>
                <a:gd name="T9" fmla="*/ 2147483647 h 270"/>
                <a:gd name="T10" fmla="*/ 2147483647 w 120"/>
                <a:gd name="T11" fmla="*/ 2147483647 h 270"/>
                <a:gd name="T12" fmla="*/ 2147483647 w 120"/>
                <a:gd name="T13" fmla="*/ 2147483647 h 270"/>
                <a:gd name="T14" fmla="*/ 2147483647 w 120"/>
                <a:gd name="T15" fmla="*/ 2147483647 h 270"/>
                <a:gd name="T16" fmla="*/ 2147483647 w 120"/>
                <a:gd name="T17" fmla="*/ 2147483647 h 270"/>
                <a:gd name="T18" fmla="*/ 2147483647 w 120"/>
                <a:gd name="T19" fmla="*/ 2147483647 h 270"/>
                <a:gd name="T20" fmla="*/ 2147483647 w 120"/>
                <a:gd name="T21" fmla="*/ 0 h 270"/>
                <a:gd name="T22" fmla="*/ 2147483647 w 120"/>
                <a:gd name="T23" fmla="*/ 2147483647 h 270"/>
                <a:gd name="T24" fmla="*/ 2147483647 w 120"/>
                <a:gd name="T25" fmla="*/ 2147483647 h 270"/>
                <a:gd name="T26" fmla="*/ 2147483647 w 120"/>
                <a:gd name="T27" fmla="*/ 2147483647 h 270"/>
                <a:gd name="T28" fmla="*/ 2147483647 w 120"/>
                <a:gd name="T29" fmla="*/ 2147483647 h 270"/>
                <a:gd name="T30" fmla="*/ 0 w 120"/>
                <a:gd name="T31" fmla="*/ 2147483647 h 270"/>
                <a:gd name="T32" fmla="*/ 0 w 120"/>
                <a:gd name="T33" fmla="*/ 2147483647 h 270"/>
                <a:gd name="T34" fmla="*/ 2147483647 w 120"/>
                <a:gd name="T35" fmla="*/ 2147483647 h 270"/>
                <a:gd name="T36" fmla="*/ 2147483647 w 120"/>
                <a:gd name="T37" fmla="*/ 2147483647 h 270"/>
                <a:gd name="T38" fmla="*/ 2147483647 w 120"/>
                <a:gd name="T39" fmla="*/ 2147483647 h 270"/>
                <a:gd name="T40" fmla="*/ 2147483647 w 120"/>
                <a:gd name="T41" fmla="*/ 2147483647 h 270"/>
                <a:gd name="T42" fmla="*/ 2147483647 w 120"/>
                <a:gd name="T43" fmla="*/ 2147483647 h 270"/>
                <a:gd name="T44" fmla="*/ 2147483647 w 120"/>
                <a:gd name="T45" fmla="*/ 2147483647 h 270"/>
                <a:gd name="T46" fmla="*/ 2147483647 w 120"/>
                <a:gd name="T47" fmla="*/ 2147483647 h 270"/>
                <a:gd name="T48" fmla="*/ 2147483647 w 120"/>
                <a:gd name="T49" fmla="*/ 2147483647 h 270"/>
                <a:gd name="T50" fmla="*/ 2147483647 w 120"/>
                <a:gd name="T51" fmla="*/ 2147483647 h 2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270"/>
                <a:gd name="T80" fmla="*/ 120 w 120"/>
                <a:gd name="T81" fmla="*/ 270 h 27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270">
                  <a:moveTo>
                    <a:pt x="84" y="270"/>
                  </a:moveTo>
                  <a:lnTo>
                    <a:pt x="84" y="222"/>
                  </a:lnTo>
                  <a:lnTo>
                    <a:pt x="90" y="216"/>
                  </a:lnTo>
                  <a:lnTo>
                    <a:pt x="102" y="192"/>
                  </a:lnTo>
                  <a:lnTo>
                    <a:pt x="102" y="102"/>
                  </a:lnTo>
                  <a:lnTo>
                    <a:pt x="108" y="96"/>
                  </a:lnTo>
                  <a:lnTo>
                    <a:pt x="114" y="84"/>
                  </a:lnTo>
                  <a:lnTo>
                    <a:pt x="114" y="54"/>
                  </a:lnTo>
                  <a:lnTo>
                    <a:pt x="120" y="36"/>
                  </a:lnTo>
                  <a:lnTo>
                    <a:pt x="120" y="24"/>
                  </a:lnTo>
                  <a:lnTo>
                    <a:pt x="72" y="0"/>
                  </a:lnTo>
                  <a:lnTo>
                    <a:pt x="48" y="30"/>
                  </a:lnTo>
                  <a:lnTo>
                    <a:pt x="42" y="42"/>
                  </a:lnTo>
                  <a:lnTo>
                    <a:pt x="30" y="78"/>
                  </a:lnTo>
                  <a:lnTo>
                    <a:pt x="12" y="114"/>
                  </a:lnTo>
                  <a:lnTo>
                    <a:pt x="0" y="150"/>
                  </a:lnTo>
                  <a:lnTo>
                    <a:pt x="0" y="168"/>
                  </a:lnTo>
                  <a:lnTo>
                    <a:pt x="6" y="180"/>
                  </a:lnTo>
                  <a:lnTo>
                    <a:pt x="18" y="192"/>
                  </a:lnTo>
                  <a:lnTo>
                    <a:pt x="24" y="204"/>
                  </a:lnTo>
                  <a:lnTo>
                    <a:pt x="36" y="210"/>
                  </a:lnTo>
                  <a:lnTo>
                    <a:pt x="42" y="222"/>
                  </a:lnTo>
                  <a:lnTo>
                    <a:pt x="42" y="228"/>
                  </a:lnTo>
                  <a:lnTo>
                    <a:pt x="48" y="234"/>
                  </a:lnTo>
                  <a:lnTo>
                    <a:pt x="60" y="258"/>
                  </a:lnTo>
                  <a:lnTo>
                    <a:pt x="84" y="27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52" name="Syrien" descr="© INSCALE GmbH, 05.05.2010&#10;http://www.presentationload.com/">
              <a:extLst>
                <a:ext uri="{FF2B5EF4-FFF2-40B4-BE49-F238E27FC236}">
                  <a16:creationId xmlns:a16="http://schemas.microsoft.com/office/drawing/2014/main" id="{A587F16E-A3EE-4041-932B-8437C04B1DAA}"/>
                </a:ext>
              </a:extLst>
            </p:cNvPr>
            <p:cNvSpPr>
              <a:spLocks/>
            </p:cNvSpPr>
            <p:nvPr/>
          </p:nvSpPr>
          <p:spPr bwMode="gray">
            <a:xfrm>
              <a:off x="5092125" y="3054660"/>
              <a:ext cx="178755" cy="164643"/>
            </a:xfrm>
            <a:custGeom>
              <a:avLst/>
              <a:gdLst>
                <a:gd name="T0" fmla="*/ 2147483647 w 450"/>
                <a:gd name="T1" fmla="*/ 2147483647 h 414"/>
                <a:gd name="T2" fmla="*/ 2147483647 w 450"/>
                <a:gd name="T3" fmla="*/ 2147483647 h 414"/>
                <a:gd name="T4" fmla="*/ 2147483647 w 450"/>
                <a:gd name="T5" fmla="*/ 2147483647 h 414"/>
                <a:gd name="T6" fmla="*/ 2147483647 w 450"/>
                <a:gd name="T7" fmla="*/ 0 h 414"/>
                <a:gd name="T8" fmla="*/ 2147483647 w 450"/>
                <a:gd name="T9" fmla="*/ 2147483647 h 414"/>
                <a:gd name="T10" fmla="*/ 2147483647 w 450"/>
                <a:gd name="T11" fmla="*/ 2147483647 h 414"/>
                <a:gd name="T12" fmla="*/ 2147483647 w 450"/>
                <a:gd name="T13" fmla="*/ 2147483647 h 414"/>
                <a:gd name="T14" fmla="*/ 2147483647 w 450"/>
                <a:gd name="T15" fmla="*/ 2147483647 h 414"/>
                <a:gd name="T16" fmla="*/ 2147483647 w 450"/>
                <a:gd name="T17" fmla="*/ 2147483647 h 414"/>
                <a:gd name="T18" fmla="*/ 2147483647 w 450"/>
                <a:gd name="T19" fmla="*/ 2147483647 h 414"/>
                <a:gd name="T20" fmla="*/ 2147483647 w 450"/>
                <a:gd name="T21" fmla="*/ 2147483647 h 414"/>
                <a:gd name="T22" fmla="*/ 2147483647 w 450"/>
                <a:gd name="T23" fmla="*/ 2147483647 h 414"/>
                <a:gd name="T24" fmla="*/ 2147483647 w 450"/>
                <a:gd name="T25" fmla="*/ 2147483647 h 414"/>
                <a:gd name="T26" fmla="*/ 2147483647 w 450"/>
                <a:gd name="T27" fmla="*/ 2147483647 h 414"/>
                <a:gd name="T28" fmla="*/ 2147483647 w 450"/>
                <a:gd name="T29" fmla="*/ 2147483647 h 414"/>
                <a:gd name="T30" fmla="*/ 2147483647 w 450"/>
                <a:gd name="T31" fmla="*/ 2147483647 h 414"/>
                <a:gd name="T32" fmla="*/ 2147483647 w 450"/>
                <a:gd name="T33" fmla="*/ 2147483647 h 414"/>
                <a:gd name="T34" fmla="*/ 2147483647 w 450"/>
                <a:gd name="T35" fmla="*/ 2147483647 h 414"/>
                <a:gd name="T36" fmla="*/ 2147483647 w 450"/>
                <a:gd name="T37" fmla="*/ 2147483647 h 414"/>
                <a:gd name="T38" fmla="*/ 2147483647 w 450"/>
                <a:gd name="T39" fmla="*/ 2147483647 h 414"/>
                <a:gd name="T40" fmla="*/ 2147483647 w 450"/>
                <a:gd name="T41" fmla="*/ 2147483647 h 414"/>
                <a:gd name="T42" fmla="*/ 2147483647 w 450"/>
                <a:gd name="T43" fmla="*/ 2147483647 h 414"/>
                <a:gd name="T44" fmla="*/ 2147483647 w 450"/>
                <a:gd name="T45" fmla="*/ 2147483647 h 414"/>
                <a:gd name="T46" fmla="*/ 2147483647 w 450"/>
                <a:gd name="T47" fmla="*/ 2147483647 h 414"/>
                <a:gd name="T48" fmla="*/ 2147483647 w 450"/>
                <a:gd name="T49" fmla="*/ 2147483647 h 414"/>
                <a:gd name="T50" fmla="*/ 2147483647 w 450"/>
                <a:gd name="T51" fmla="*/ 2147483647 h 414"/>
                <a:gd name="T52" fmla="*/ 2147483647 w 450"/>
                <a:gd name="T53" fmla="*/ 2147483647 h 414"/>
                <a:gd name="T54" fmla="*/ 2147483647 w 450"/>
                <a:gd name="T55" fmla="*/ 2147483647 h 414"/>
                <a:gd name="T56" fmla="*/ 2147483647 w 450"/>
                <a:gd name="T57" fmla="*/ 2147483647 h 414"/>
                <a:gd name="T58" fmla="*/ 2147483647 w 450"/>
                <a:gd name="T59" fmla="*/ 2147483647 h 414"/>
                <a:gd name="T60" fmla="*/ 2147483647 w 450"/>
                <a:gd name="T61" fmla="*/ 2147483647 h 414"/>
                <a:gd name="T62" fmla="*/ 2147483647 w 450"/>
                <a:gd name="T63" fmla="*/ 2147483647 h 414"/>
                <a:gd name="T64" fmla="*/ 2147483647 w 450"/>
                <a:gd name="T65" fmla="*/ 2147483647 h 414"/>
                <a:gd name="T66" fmla="*/ 2147483647 w 450"/>
                <a:gd name="T67" fmla="*/ 2147483647 h 414"/>
                <a:gd name="T68" fmla="*/ 2147483647 w 450"/>
                <a:gd name="T69" fmla="*/ 2147483647 h 414"/>
                <a:gd name="T70" fmla="*/ 2147483647 w 450"/>
                <a:gd name="T71" fmla="*/ 2147483647 h 414"/>
                <a:gd name="T72" fmla="*/ 2147483647 w 450"/>
                <a:gd name="T73" fmla="*/ 2147483647 h 414"/>
                <a:gd name="T74" fmla="*/ 2147483647 w 450"/>
                <a:gd name="T75" fmla="*/ 2147483647 h 414"/>
                <a:gd name="T76" fmla="*/ 2147483647 w 450"/>
                <a:gd name="T77" fmla="*/ 2147483647 h 414"/>
                <a:gd name="T78" fmla="*/ 2147483647 w 450"/>
                <a:gd name="T79" fmla="*/ 2147483647 h 414"/>
                <a:gd name="T80" fmla="*/ 2147483647 w 450"/>
                <a:gd name="T81" fmla="*/ 2147483647 h 414"/>
                <a:gd name="T82" fmla="*/ 2147483647 w 450"/>
                <a:gd name="T83" fmla="*/ 2147483647 h 414"/>
                <a:gd name="T84" fmla="*/ 2147483647 w 450"/>
                <a:gd name="T85" fmla="*/ 2147483647 h 414"/>
                <a:gd name="T86" fmla="*/ 2147483647 w 450"/>
                <a:gd name="T87" fmla="*/ 2147483647 h 414"/>
                <a:gd name="T88" fmla="*/ 2147483647 w 450"/>
                <a:gd name="T89" fmla="*/ 2147483647 h 414"/>
                <a:gd name="T90" fmla="*/ 2147483647 w 450"/>
                <a:gd name="T91" fmla="*/ 2147483647 h 414"/>
                <a:gd name="T92" fmla="*/ 2147483647 w 450"/>
                <a:gd name="T93" fmla="*/ 2147483647 h 414"/>
                <a:gd name="T94" fmla="*/ 2147483647 w 450"/>
                <a:gd name="T95" fmla="*/ 2147483647 h 414"/>
                <a:gd name="T96" fmla="*/ 2147483647 w 450"/>
                <a:gd name="T97" fmla="*/ 2147483647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0"/>
                <a:gd name="T148" fmla="*/ 0 h 414"/>
                <a:gd name="T149" fmla="*/ 450 w 450"/>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0" h="414">
                  <a:moveTo>
                    <a:pt x="426" y="60"/>
                  </a:moveTo>
                  <a:lnTo>
                    <a:pt x="432" y="54"/>
                  </a:lnTo>
                  <a:lnTo>
                    <a:pt x="438" y="42"/>
                  </a:lnTo>
                  <a:lnTo>
                    <a:pt x="450" y="30"/>
                  </a:lnTo>
                  <a:lnTo>
                    <a:pt x="444" y="30"/>
                  </a:lnTo>
                  <a:lnTo>
                    <a:pt x="438" y="24"/>
                  </a:lnTo>
                  <a:lnTo>
                    <a:pt x="438" y="0"/>
                  </a:lnTo>
                  <a:lnTo>
                    <a:pt x="432" y="0"/>
                  </a:lnTo>
                  <a:lnTo>
                    <a:pt x="432" y="6"/>
                  </a:lnTo>
                  <a:lnTo>
                    <a:pt x="426" y="18"/>
                  </a:lnTo>
                  <a:lnTo>
                    <a:pt x="402" y="18"/>
                  </a:lnTo>
                  <a:lnTo>
                    <a:pt x="390" y="30"/>
                  </a:lnTo>
                  <a:lnTo>
                    <a:pt x="372" y="30"/>
                  </a:lnTo>
                  <a:lnTo>
                    <a:pt x="366" y="24"/>
                  </a:lnTo>
                  <a:lnTo>
                    <a:pt x="318" y="24"/>
                  </a:lnTo>
                  <a:lnTo>
                    <a:pt x="306" y="30"/>
                  </a:lnTo>
                  <a:lnTo>
                    <a:pt x="294" y="42"/>
                  </a:lnTo>
                  <a:lnTo>
                    <a:pt x="282" y="48"/>
                  </a:lnTo>
                  <a:lnTo>
                    <a:pt x="276" y="54"/>
                  </a:lnTo>
                  <a:lnTo>
                    <a:pt x="258" y="54"/>
                  </a:lnTo>
                  <a:lnTo>
                    <a:pt x="246" y="60"/>
                  </a:lnTo>
                  <a:lnTo>
                    <a:pt x="234" y="60"/>
                  </a:lnTo>
                  <a:lnTo>
                    <a:pt x="222" y="54"/>
                  </a:lnTo>
                  <a:lnTo>
                    <a:pt x="204" y="54"/>
                  </a:lnTo>
                  <a:lnTo>
                    <a:pt x="192" y="42"/>
                  </a:lnTo>
                  <a:lnTo>
                    <a:pt x="180" y="36"/>
                  </a:lnTo>
                  <a:lnTo>
                    <a:pt x="174" y="30"/>
                  </a:lnTo>
                  <a:lnTo>
                    <a:pt x="168" y="30"/>
                  </a:lnTo>
                  <a:lnTo>
                    <a:pt x="150" y="48"/>
                  </a:lnTo>
                  <a:lnTo>
                    <a:pt x="144" y="48"/>
                  </a:lnTo>
                  <a:lnTo>
                    <a:pt x="138" y="54"/>
                  </a:lnTo>
                  <a:lnTo>
                    <a:pt x="120" y="60"/>
                  </a:lnTo>
                  <a:lnTo>
                    <a:pt x="84" y="60"/>
                  </a:lnTo>
                  <a:lnTo>
                    <a:pt x="84" y="54"/>
                  </a:lnTo>
                  <a:lnTo>
                    <a:pt x="90" y="48"/>
                  </a:lnTo>
                  <a:lnTo>
                    <a:pt x="66" y="48"/>
                  </a:lnTo>
                  <a:lnTo>
                    <a:pt x="66" y="78"/>
                  </a:lnTo>
                  <a:lnTo>
                    <a:pt x="72" y="78"/>
                  </a:lnTo>
                  <a:lnTo>
                    <a:pt x="72" y="102"/>
                  </a:lnTo>
                  <a:lnTo>
                    <a:pt x="60" y="102"/>
                  </a:lnTo>
                  <a:lnTo>
                    <a:pt x="54" y="96"/>
                  </a:lnTo>
                  <a:lnTo>
                    <a:pt x="54" y="114"/>
                  </a:lnTo>
                  <a:lnTo>
                    <a:pt x="48" y="120"/>
                  </a:lnTo>
                  <a:lnTo>
                    <a:pt x="48" y="126"/>
                  </a:lnTo>
                  <a:lnTo>
                    <a:pt x="36" y="126"/>
                  </a:lnTo>
                  <a:lnTo>
                    <a:pt x="24" y="114"/>
                  </a:lnTo>
                  <a:lnTo>
                    <a:pt x="18" y="120"/>
                  </a:lnTo>
                  <a:lnTo>
                    <a:pt x="12" y="132"/>
                  </a:lnTo>
                  <a:lnTo>
                    <a:pt x="12" y="150"/>
                  </a:lnTo>
                  <a:lnTo>
                    <a:pt x="6" y="150"/>
                  </a:lnTo>
                  <a:lnTo>
                    <a:pt x="0" y="198"/>
                  </a:lnTo>
                  <a:lnTo>
                    <a:pt x="6" y="204"/>
                  </a:lnTo>
                  <a:lnTo>
                    <a:pt x="18" y="210"/>
                  </a:lnTo>
                  <a:lnTo>
                    <a:pt x="24" y="216"/>
                  </a:lnTo>
                  <a:lnTo>
                    <a:pt x="24" y="222"/>
                  </a:lnTo>
                  <a:lnTo>
                    <a:pt x="72" y="222"/>
                  </a:lnTo>
                  <a:lnTo>
                    <a:pt x="66" y="234"/>
                  </a:lnTo>
                  <a:lnTo>
                    <a:pt x="72" y="240"/>
                  </a:lnTo>
                  <a:lnTo>
                    <a:pt x="78" y="252"/>
                  </a:lnTo>
                  <a:lnTo>
                    <a:pt x="78" y="270"/>
                  </a:lnTo>
                  <a:lnTo>
                    <a:pt x="72" y="282"/>
                  </a:lnTo>
                  <a:lnTo>
                    <a:pt x="66" y="282"/>
                  </a:lnTo>
                  <a:lnTo>
                    <a:pt x="54" y="288"/>
                  </a:lnTo>
                  <a:lnTo>
                    <a:pt x="48" y="288"/>
                  </a:lnTo>
                  <a:lnTo>
                    <a:pt x="42" y="294"/>
                  </a:lnTo>
                  <a:lnTo>
                    <a:pt x="42" y="318"/>
                  </a:lnTo>
                  <a:lnTo>
                    <a:pt x="24" y="336"/>
                  </a:lnTo>
                  <a:lnTo>
                    <a:pt x="30" y="378"/>
                  </a:lnTo>
                  <a:lnTo>
                    <a:pt x="36" y="378"/>
                  </a:lnTo>
                  <a:lnTo>
                    <a:pt x="72" y="396"/>
                  </a:lnTo>
                  <a:lnTo>
                    <a:pt x="84" y="408"/>
                  </a:lnTo>
                  <a:lnTo>
                    <a:pt x="96" y="414"/>
                  </a:lnTo>
                  <a:lnTo>
                    <a:pt x="114" y="414"/>
                  </a:lnTo>
                  <a:lnTo>
                    <a:pt x="174" y="384"/>
                  </a:lnTo>
                  <a:lnTo>
                    <a:pt x="204" y="354"/>
                  </a:lnTo>
                  <a:lnTo>
                    <a:pt x="228" y="336"/>
                  </a:lnTo>
                  <a:lnTo>
                    <a:pt x="240" y="324"/>
                  </a:lnTo>
                  <a:lnTo>
                    <a:pt x="300" y="276"/>
                  </a:lnTo>
                  <a:lnTo>
                    <a:pt x="312" y="270"/>
                  </a:lnTo>
                  <a:lnTo>
                    <a:pt x="372" y="246"/>
                  </a:lnTo>
                  <a:lnTo>
                    <a:pt x="396" y="234"/>
                  </a:lnTo>
                  <a:lnTo>
                    <a:pt x="402" y="228"/>
                  </a:lnTo>
                  <a:lnTo>
                    <a:pt x="402" y="222"/>
                  </a:lnTo>
                  <a:lnTo>
                    <a:pt x="384" y="204"/>
                  </a:lnTo>
                  <a:lnTo>
                    <a:pt x="384" y="198"/>
                  </a:lnTo>
                  <a:lnTo>
                    <a:pt x="390" y="180"/>
                  </a:lnTo>
                  <a:lnTo>
                    <a:pt x="396" y="168"/>
                  </a:lnTo>
                  <a:lnTo>
                    <a:pt x="396" y="138"/>
                  </a:lnTo>
                  <a:lnTo>
                    <a:pt x="390" y="126"/>
                  </a:lnTo>
                  <a:lnTo>
                    <a:pt x="390" y="114"/>
                  </a:lnTo>
                  <a:lnTo>
                    <a:pt x="384" y="108"/>
                  </a:lnTo>
                  <a:lnTo>
                    <a:pt x="378" y="96"/>
                  </a:lnTo>
                  <a:lnTo>
                    <a:pt x="378" y="84"/>
                  </a:lnTo>
                  <a:lnTo>
                    <a:pt x="384" y="72"/>
                  </a:lnTo>
                  <a:lnTo>
                    <a:pt x="390" y="66"/>
                  </a:lnTo>
                  <a:lnTo>
                    <a:pt x="402" y="66"/>
                  </a:lnTo>
                  <a:lnTo>
                    <a:pt x="414" y="60"/>
                  </a:lnTo>
                  <a:lnTo>
                    <a:pt x="426" y="6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53" name="Swasiland" descr="© INSCALE GmbH, 05.05.2010&#10;http://www.presentationload.com/">
              <a:extLst>
                <a:ext uri="{FF2B5EF4-FFF2-40B4-BE49-F238E27FC236}">
                  <a16:creationId xmlns:a16="http://schemas.microsoft.com/office/drawing/2014/main" id="{60D44B37-A4A4-46EE-B57B-1BB6D22E6E13}"/>
                </a:ext>
              </a:extLst>
            </p:cNvPr>
            <p:cNvSpPr>
              <a:spLocks/>
            </p:cNvSpPr>
            <p:nvPr/>
          </p:nvSpPr>
          <p:spPr bwMode="gray">
            <a:xfrm>
              <a:off x="4983931" y="5075842"/>
              <a:ext cx="40769" cy="53313"/>
            </a:xfrm>
            <a:custGeom>
              <a:avLst/>
              <a:gdLst>
                <a:gd name="T0" fmla="*/ 2147483647 w 102"/>
                <a:gd name="T1" fmla="*/ 2147483647 h 132"/>
                <a:gd name="T2" fmla="*/ 2147483647 w 102"/>
                <a:gd name="T3" fmla="*/ 2147483647 h 132"/>
                <a:gd name="T4" fmla="*/ 2147483647 w 102"/>
                <a:gd name="T5" fmla="*/ 2147483647 h 132"/>
                <a:gd name="T6" fmla="*/ 2147483647 w 102"/>
                <a:gd name="T7" fmla="*/ 2147483647 h 132"/>
                <a:gd name="T8" fmla="*/ 2147483647 w 102"/>
                <a:gd name="T9" fmla="*/ 2147483647 h 132"/>
                <a:gd name="T10" fmla="*/ 2147483647 w 102"/>
                <a:gd name="T11" fmla="*/ 0 h 132"/>
                <a:gd name="T12" fmla="*/ 2147483647 w 102"/>
                <a:gd name="T13" fmla="*/ 0 h 132"/>
                <a:gd name="T14" fmla="*/ 2147483647 w 102"/>
                <a:gd name="T15" fmla="*/ 2147483647 h 132"/>
                <a:gd name="T16" fmla="*/ 2147483647 w 102"/>
                <a:gd name="T17" fmla="*/ 2147483647 h 132"/>
                <a:gd name="T18" fmla="*/ 2147483647 w 102"/>
                <a:gd name="T19" fmla="*/ 2147483647 h 132"/>
                <a:gd name="T20" fmla="*/ 2147483647 w 102"/>
                <a:gd name="T21" fmla="*/ 2147483647 h 132"/>
                <a:gd name="T22" fmla="*/ 0 w 102"/>
                <a:gd name="T23" fmla="*/ 2147483647 h 132"/>
                <a:gd name="T24" fmla="*/ 0 w 102"/>
                <a:gd name="T25" fmla="*/ 2147483647 h 132"/>
                <a:gd name="T26" fmla="*/ 2147483647 w 102"/>
                <a:gd name="T27" fmla="*/ 2147483647 h 132"/>
                <a:gd name="T28" fmla="*/ 2147483647 w 102"/>
                <a:gd name="T29" fmla="*/ 2147483647 h 132"/>
                <a:gd name="T30" fmla="*/ 2147483647 w 102"/>
                <a:gd name="T31" fmla="*/ 2147483647 h 132"/>
                <a:gd name="T32" fmla="*/ 2147483647 w 102"/>
                <a:gd name="T33" fmla="*/ 2147483647 h 132"/>
                <a:gd name="T34" fmla="*/ 2147483647 w 102"/>
                <a:gd name="T35" fmla="*/ 2147483647 h 132"/>
                <a:gd name="T36" fmla="*/ 2147483647 w 102"/>
                <a:gd name="T37" fmla="*/ 2147483647 h 132"/>
                <a:gd name="T38" fmla="*/ 2147483647 w 102"/>
                <a:gd name="T39" fmla="*/ 2147483647 h 132"/>
                <a:gd name="T40" fmla="*/ 2147483647 w 102"/>
                <a:gd name="T41" fmla="*/ 2147483647 h 132"/>
                <a:gd name="T42" fmla="*/ 2147483647 w 102"/>
                <a:gd name="T43" fmla="*/ 2147483647 h 132"/>
                <a:gd name="T44" fmla="*/ 2147483647 w 102"/>
                <a:gd name="T45" fmla="*/ 2147483647 h 132"/>
                <a:gd name="T46" fmla="*/ 2147483647 w 102"/>
                <a:gd name="T47" fmla="*/ 2147483647 h 132"/>
                <a:gd name="T48" fmla="*/ 2147483647 w 102"/>
                <a:gd name="T49" fmla="*/ 2147483647 h 1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132"/>
                <a:gd name="T77" fmla="*/ 102 w 102"/>
                <a:gd name="T78" fmla="*/ 132 h 1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132">
                  <a:moveTo>
                    <a:pt x="84" y="54"/>
                  </a:moveTo>
                  <a:lnTo>
                    <a:pt x="84" y="30"/>
                  </a:lnTo>
                  <a:lnTo>
                    <a:pt x="90" y="18"/>
                  </a:lnTo>
                  <a:lnTo>
                    <a:pt x="66" y="18"/>
                  </a:lnTo>
                  <a:lnTo>
                    <a:pt x="54" y="6"/>
                  </a:lnTo>
                  <a:lnTo>
                    <a:pt x="42" y="0"/>
                  </a:lnTo>
                  <a:lnTo>
                    <a:pt x="36" y="0"/>
                  </a:lnTo>
                  <a:lnTo>
                    <a:pt x="24" y="12"/>
                  </a:lnTo>
                  <a:lnTo>
                    <a:pt x="18" y="24"/>
                  </a:lnTo>
                  <a:lnTo>
                    <a:pt x="18" y="36"/>
                  </a:lnTo>
                  <a:lnTo>
                    <a:pt x="6" y="48"/>
                  </a:lnTo>
                  <a:lnTo>
                    <a:pt x="0" y="60"/>
                  </a:lnTo>
                  <a:lnTo>
                    <a:pt x="0" y="84"/>
                  </a:lnTo>
                  <a:lnTo>
                    <a:pt x="12" y="108"/>
                  </a:lnTo>
                  <a:lnTo>
                    <a:pt x="24" y="114"/>
                  </a:lnTo>
                  <a:lnTo>
                    <a:pt x="36" y="126"/>
                  </a:lnTo>
                  <a:lnTo>
                    <a:pt x="54" y="126"/>
                  </a:lnTo>
                  <a:lnTo>
                    <a:pt x="66" y="132"/>
                  </a:lnTo>
                  <a:lnTo>
                    <a:pt x="78" y="132"/>
                  </a:lnTo>
                  <a:lnTo>
                    <a:pt x="90" y="90"/>
                  </a:lnTo>
                  <a:lnTo>
                    <a:pt x="96" y="90"/>
                  </a:lnTo>
                  <a:lnTo>
                    <a:pt x="102" y="84"/>
                  </a:lnTo>
                  <a:lnTo>
                    <a:pt x="96" y="60"/>
                  </a:lnTo>
                  <a:lnTo>
                    <a:pt x="90" y="60"/>
                  </a:lnTo>
                  <a:lnTo>
                    <a:pt x="84" y="54"/>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54" name="Surinam" descr="© INSCALE GmbH, 05.05.2010&#10;http://www.presentationload.com/">
              <a:extLst>
                <a:ext uri="{FF2B5EF4-FFF2-40B4-BE49-F238E27FC236}">
                  <a16:creationId xmlns:a16="http://schemas.microsoft.com/office/drawing/2014/main" id="{6AA6397D-8175-45B9-9AF1-9F50403D52A3}"/>
                </a:ext>
              </a:extLst>
            </p:cNvPr>
            <p:cNvSpPr>
              <a:spLocks/>
            </p:cNvSpPr>
            <p:nvPr/>
          </p:nvSpPr>
          <p:spPr bwMode="gray">
            <a:xfrm>
              <a:off x="2486071" y="4061331"/>
              <a:ext cx="116034" cy="133282"/>
            </a:xfrm>
            <a:custGeom>
              <a:avLst/>
              <a:gdLst>
                <a:gd name="T0" fmla="*/ 2147483647 w 294"/>
                <a:gd name="T1" fmla="*/ 2147483647 h 336"/>
                <a:gd name="T2" fmla="*/ 2147483647 w 294"/>
                <a:gd name="T3" fmla="*/ 2147483647 h 336"/>
                <a:gd name="T4" fmla="*/ 2147483647 w 294"/>
                <a:gd name="T5" fmla="*/ 2147483647 h 336"/>
                <a:gd name="T6" fmla="*/ 0 w 294"/>
                <a:gd name="T7" fmla="*/ 2147483647 h 336"/>
                <a:gd name="T8" fmla="*/ 2147483647 w 294"/>
                <a:gd name="T9" fmla="*/ 2147483647 h 336"/>
                <a:gd name="T10" fmla="*/ 2147483647 w 294"/>
                <a:gd name="T11" fmla="*/ 2147483647 h 336"/>
                <a:gd name="T12" fmla="*/ 2147483647 w 294"/>
                <a:gd name="T13" fmla="*/ 2147483647 h 336"/>
                <a:gd name="T14" fmla="*/ 2147483647 w 294"/>
                <a:gd name="T15" fmla="*/ 2147483647 h 336"/>
                <a:gd name="T16" fmla="*/ 2147483647 w 294"/>
                <a:gd name="T17" fmla="*/ 2147483647 h 336"/>
                <a:gd name="T18" fmla="*/ 2147483647 w 294"/>
                <a:gd name="T19" fmla="*/ 2147483647 h 336"/>
                <a:gd name="T20" fmla="*/ 2147483647 w 294"/>
                <a:gd name="T21" fmla="*/ 2147483647 h 336"/>
                <a:gd name="T22" fmla="*/ 2147483647 w 294"/>
                <a:gd name="T23" fmla="*/ 2147483647 h 336"/>
                <a:gd name="T24" fmla="*/ 2147483647 w 294"/>
                <a:gd name="T25" fmla="*/ 2147483647 h 336"/>
                <a:gd name="T26" fmla="*/ 2147483647 w 294"/>
                <a:gd name="T27" fmla="*/ 2147483647 h 336"/>
                <a:gd name="T28" fmla="*/ 2147483647 w 294"/>
                <a:gd name="T29" fmla="*/ 2147483647 h 336"/>
                <a:gd name="T30" fmla="*/ 2147483647 w 294"/>
                <a:gd name="T31" fmla="*/ 2147483647 h 336"/>
                <a:gd name="T32" fmla="*/ 2147483647 w 294"/>
                <a:gd name="T33" fmla="*/ 2147483647 h 336"/>
                <a:gd name="T34" fmla="*/ 2147483647 w 294"/>
                <a:gd name="T35" fmla="*/ 2147483647 h 336"/>
                <a:gd name="T36" fmla="*/ 2147483647 w 294"/>
                <a:gd name="T37" fmla="*/ 2147483647 h 336"/>
                <a:gd name="T38" fmla="*/ 2147483647 w 294"/>
                <a:gd name="T39" fmla="*/ 2147483647 h 336"/>
                <a:gd name="T40" fmla="*/ 2147483647 w 294"/>
                <a:gd name="T41" fmla="*/ 2147483647 h 336"/>
                <a:gd name="T42" fmla="*/ 2147483647 w 294"/>
                <a:gd name="T43" fmla="*/ 2147483647 h 336"/>
                <a:gd name="T44" fmla="*/ 2147483647 w 294"/>
                <a:gd name="T45" fmla="*/ 2147483647 h 336"/>
                <a:gd name="T46" fmla="*/ 2147483647 w 294"/>
                <a:gd name="T47" fmla="*/ 2147483647 h 336"/>
                <a:gd name="T48" fmla="*/ 2147483647 w 294"/>
                <a:gd name="T49" fmla="*/ 2147483647 h 336"/>
                <a:gd name="T50" fmla="*/ 2147483647 w 294"/>
                <a:gd name="T51" fmla="*/ 2147483647 h 336"/>
                <a:gd name="T52" fmla="*/ 2147483647 w 294"/>
                <a:gd name="T53" fmla="*/ 2147483647 h 336"/>
                <a:gd name="T54" fmla="*/ 2147483647 w 294"/>
                <a:gd name="T55" fmla="*/ 2147483647 h 336"/>
                <a:gd name="T56" fmla="*/ 2147483647 w 294"/>
                <a:gd name="T57" fmla="*/ 2147483647 h 336"/>
                <a:gd name="T58" fmla="*/ 2147483647 w 294"/>
                <a:gd name="T59" fmla="*/ 2147483647 h 336"/>
                <a:gd name="T60" fmla="*/ 2147483647 w 294"/>
                <a:gd name="T61" fmla="*/ 2147483647 h 336"/>
                <a:gd name="T62" fmla="*/ 2147483647 w 294"/>
                <a:gd name="T63" fmla="*/ 2147483647 h 336"/>
                <a:gd name="T64" fmla="*/ 2147483647 w 294"/>
                <a:gd name="T65" fmla="*/ 2147483647 h 336"/>
                <a:gd name="T66" fmla="*/ 2147483647 w 294"/>
                <a:gd name="T67" fmla="*/ 2147483647 h 336"/>
                <a:gd name="T68" fmla="*/ 2147483647 w 294"/>
                <a:gd name="T69" fmla="*/ 2147483647 h 336"/>
                <a:gd name="T70" fmla="*/ 2147483647 w 294"/>
                <a:gd name="T71" fmla="*/ 0 h 336"/>
                <a:gd name="T72" fmla="*/ 2147483647 w 294"/>
                <a:gd name="T73" fmla="*/ 2147483647 h 336"/>
                <a:gd name="T74" fmla="*/ 2147483647 w 294"/>
                <a:gd name="T75" fmla="*/ 2147483647 h 336"/>
                <a:gd name="T76" fmla="*/ 2147483647 w 294"/>
                <a:gd name="T77" fmla="*/ 2147483647 h 336"/>
                <a:gd name="T78" fmla="*/ 2147483647 w 294"/>
                <a:gd name="T79" fmla="*/ 2147483647 h 336"/>
                <a:gd name="T80" fmla="*/ 2147483647 w 294"/>
                <a:gd name="T81" fmla="*/ 2147483647 h 336"/>
                <a:gd name="T82" fmla="*/ 2147483647 w 294"/>
                <a:gd name="T83" fmla="*/ 2147483647 h 3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4"/>
                <a:gd name="T127" fmla="*/ 0 h 336"/>
                <a:gd name="T128" fmla="*/ 294 w 294"/>
                <a:gd name="T129" fmla="*/ 336 h 3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4" h="336">
                  <a:moveTo>
                    <a:pt x="60" y="78"/>
                  </a:moveTo>
                  <a:lnTo>
                    <a:pt x="30" y="78"/>
                  </a:lnTo>
                  <a:lnTo>
                    <a:pt x="18" y="84"/>
                  </a:lnTo>
                  <a:lnTo>
                    <a:pt x="12" y="90"/>
                  </a:lnTo>
                  <a:lnTo>
                    <a:pt x="12" y="132"/>
                  </a:lnTo>
                  <a:lnTo>
                    <a:pt x="6" y="138"/>
                  </a:lnTo>
                  <a:lnTo>
                    <a:pt x="0" y="150"/>
                  </a:lnTo>
                  <a:lnTo>
                    <a:pt x="0" y="162"/>
                  </a:lnTo>
                  <a:lnTo>
                    <a:pt x="6" y="168"/>
                  </a:lnTo>
                  <a:lnTo>
                    <a:pt x="6" y="174"/>
                  </a:lnTo>
                  <a:lnTo>
                    <a:pt x="12" y="174"/>
                  </a:lnTo>
                  <a:lnTo>
                    <a:pt x="12" y="186"/>
                  </a:lnTo>
                  <a:lnTo>
                    <a:pt x="18" y="198"/>
                  </a:lnTo>
                  <a:lnTo>
                    <a:pt x="24" y="204"/>
                  </a:lnTo>
                  <a:lnTo>
                    <a:pt x="30" y="216"/>
                  </a:lnTo>
                  <a:lnTo>
                    <a:pt x="42" y="216"/>
                  </a:lnTo>
                  <a:lnTo>
                    <a:pt x="42" y="210"/>
                  </a:lnTo>
                  <a:lnTo>
                    <a:pt x="54" y="198"/>
                  </a:lnTo>
                  <a:lnTo>
                    <a:pt x="54" y="216"/>
                  </a:lnTo>
                  <a:lnTo>
                    <a:pt x="48" y="222"/>
                  </a:lnTo>
                  <a:lnTo>
                    <a:pt x="48" y="246"/>
                  </a:lnTo>
                  <a:lnTo>
                    <a:pt x="54" y="258"/>
                  </a:lnTo>
                  <a:lnTo>
                    <a:pt x="72" y="276"/>
                  </a:lnTo>
                  <a:lnTo>
                    <a:pt x="78" y="294"/>
                  </a:lnTo>
                  <a:lnTo>
                    <a:pt x="84" y="306"/>
                  </a:lnTo>
                  <a:lnTo>
                    <a:pt x="90" y="312"/>
                  </a:lnTo>
                  <a:lnTo>
                    <a:pt x="90" y="318"/>
                  </a:lnTo>
                  <a:lnTo>
                    <a:pt x="102" y="324"/>
                  </a:lnTo>
                  <a:lnTo>
                    <a:pt x="108" y="324"/>
                  </a:lnTo>
                  <a:lnTo>
                    <a:pt x="132" y="336"/>
                  </a:lnTo>
                  <a:lnTo>
                    <a:pt x="150" y="336"/>
                  </a:lnTo>
                  <a:lnTo>
                    <a:pt x="156" y="330"/>
                  </a:lnTo>
                  <a:lnTo>
                    <a:pt x="150" y="324"/>
                  </a:lnTo>
                  <a:lnTo>
                    <a:pt x="150" y="318"/>
                  </a:lnTo>
                  <a:lnTo>
                    <a:pt x="138" y="306"/>
                  </a:lnTo>
                  <a:lnTo>
                    <a:pt x="138" y="282"/>
                  </a:lnTo>
                  <a:lnTo>
                    <a:pt x="150" y="276"/>
                  </a:lnTo>
                  <a:lnTo>
                    <a:pt x="156" y="276"/>
                  </a:lnTo>
                  <a:lnTo>
                    <a:pt x="156" y="288"/>
                  </a:lnTo>
                  <a:lnTo>
                    <a:pt x="180" y="288"/>
                  </a:lnTo>
                  <a:lnTo>
                    <a:pt x="192" y="282"/>
                  </a:lnTo>
                  <a:lnTo>
                    <a:pt x="198" y="276"/>
                  </a:lnTo>
                  <a:lnTo>
                    <a:pt x="210" y="270"/>
                  </a:lnTo>
                  <a:lnTo>
                    <a:pt x="216" y="270"/>
                  </a:lnTo>
                  <a:lnTo>
                    <a:pt x="222" y="282"/>
                  </a:lnTo>
                  <a:lnTo>
                    <a:pt x="228" y="288"/>
                  </a:lnTo>
                  <a:lnTo>
                    <a:pt x="246" y="294"/>
                  </a:lnTo>
                  <a:lnTo>
                    <a:pt x="252" y="282"/>
                  </a:lnTo>
                  <a:lnTo>
                    <a:pt x="258" y="276"/>
                  </a:lnTo>
                  <a:lnTo>
                    <a:pt x="258" y="264"/>
                  </a:lnTo>
                  <a:lnTo>
                    <a:pt x="264" y="264"/>
                  </a:lnTo>
                  <a:lnTo>
                    <a:pt x="276" y="258"/>
                  </a:lnTo>
                  <a:lnTo>
                    <a:pt x="270" y="222"/>
                  </a:lnTo>
                  <a:lnTo>
                    <a:pt x="288" y="204"/>
                  </a:lnTo>
                  <a:lnTo>
                    <a:pt x="288" y="198"/>
                  </a:lnTo>
                  <a:lnTo>
                    <a:pt x="282" y="186"/>
                  </a:lnTo>
                  <a:lnTo>
                    <a:pt x="264" y="168"/>
                  </a:lnTo>
                  <a:lnTo>
                    <a:pt x="258" y="156"/>
                  </a:lnTo>
                  <a:lnTo>
                    <a:pt x="258" y="144"/>
                  </a:lnTo>
                  <a:lnTo>
                    <a:pt x="252" y="126"/>
                  </a:lnTo>
                  <a:lnTo>
                    <a:pt x="252" y="96"/>
                  </a:lnTo>
                  <a:lnTo>
                    <a:pt x="258" y="78"/>
                  </a:lnTo>
                  <a:lnTo>
                    <a:pt x="264" y="66"/>
                  </a:lnTo>
                  <a:lnTo>
                    <a:pt x="276" y="60"/>
                  </a:lnTo>
                  <a:lnTo>
                    <a:pt x="282" y="54"/>
                  </a:lnTo>
                  <a:lnTo>
                    <a:pt x="288" y="54"/>
                  </a:lnTo>
                  <a:lnTo>
                    <a:pt x="288" y="30"/>
                  </a:lnTo>
                  <a:lnTo>
                    <a:pt x="294" y="12"/>
                  </a:lnTo>
                  <a:lnTo>
                    <a:pt x="288" y="12"/>
                  </a:lnTo>
                  <a:lnTo>
                    <a:pt x="282" y="6"/>
                  </a:lnTo>
                  <a:lnTo>
                    <a:pt x="270" y="6"/>
                  </a:lnTo>
                  <a:lnTo>
                    <a:pt x="252" y="0"/>
                  </a:lnTo>
                  <a:lnTo>
                    <a:pt x="210" y="0"/>
                  </a:lnTo>
                  <a:lnTo>
                    <a:pt x="204" y="12"/>
                  </a:lnTo>
                  <a:lnTo>
                    <a:pt x="156" y="6"/>
                  </a:lnTo>
                  <a:lnTo>
                    <a:pt x="156" y="18"/>
                  </a:lnTo>
                  <a:lnTo>
                    <a:pt x="96" y="0"/>
                  </a:lnTo>
                  <a:lnTo>
                    <a:pt x="72" y="6"/>
                  </a:lnTo>
                  <a:lnTo>
                    <a:pt x="66" y="18"/>
                  </a:lnTo>
                  <a:lnTo>
                    <a:pt x="60" y="24"/>
                  </a:lnTo>
                  <a:lnTo>
                    <a:pt x="54" y="36"/>
                  </a:lnTo>
                  <a:lnTo>
                    <a:pt x="54" y="48"/>
                  </a:lnTo>
                  <a:lnTo>
                    <a:pt x="66" y="60"/>
                  </a:lnTo>
                  <a:lnTo>
                    <a:pt x="66" y="72"/>
                  </a:lnTo>
                  <a:lnTo>
                    <a:pt x="60" y="78"/>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55" name="Südsudan">
              <a:extLst>
                <a:ext uri="{FF2B5EF4-FFF2-40B4-BE49-F238E27FC236}">
                  <a16:creationId xmlns:a16="http://schemas.microsoft.com/office/drawing/2014/main" id="{2E24BB15-FB86-49C1-B8A7-5AF0BC22C407}"/>
                </a:ext>
              </a:extLst>
            </p:cNvPr>
            <p:cNvSpPr>
              <a:spLocks/>
            </p:cNvSpPr>
            <p:nvPr/>
          </p:nvSpPr>
          <p:spPr bwMode="gray">
            <a:xfrm>
              <a:off x="4803903" y="3856924"/>
              <a:ext cx="340656" cy="285796"/>
            </a:xfrm>
            <a:custGeom>
              <a:avLst/>
              <a:gdLst/>
              <a:ahLst/>
              <a:cxnLst>
                <a:cxn ang="0">
                  <a:pos x="269" y="52"/>
                </a:cxn>
                <a:cxn ang="0">
                  <a:pos x="265" y="38"/>
                </a:cxn>
                <a:cxn ang="0">
                  <a:pos x="262" y="19"/>
                </a:cxn>
                <a:cxn ang="0">
                  <a:pos x="253" y="3"/>
                </a:cxn>
                <a:cxn ang="0">
                  <a:pos x="241" y="17"/>
                </a:cxn>
                <a:cxn ang="0">
                  <a:pos x="229" y="50"/>
                </a:cxn>
                <a:cxn ang="0">
                  <a:pos x="194" y="83"/>
                </a:cxn>
                <a:cxn ang="0">
                  <a:pos x="156" y="71"/>
                </a:cxn>
                <a:cxn ang="0">
                  <a:pos x="130" y="95"/>
                </a:cxn>
                <a:cxn ang="0">
                  <a:pos x="109" y="88"/>
                </a:cxn>
                <a:cxn ang="0">
                  <a:pos x="71" y="93"/>
                </a:cxn>
                <a:cxn ang="0">
                  <a:pos x="57" y="76"/>
                </a:cxn>
                <a:cxn ang="0">
                  <a:pos x="49" y="69"/>
                </a:cxn>
                <a:cxn ang="0">
                  <a:pos x="26" y="64"/>
                </a:cxn>
                <a:cxn ang="0">
                  <a:pos x="16" y="90"/>
                </a:cxn>
                <a:cxn ang="0">
                  <a:pos x="7" y="104"/>
                </a:cxn>
                <a:cxn ang="0">
                  <a:pos x="7" y="109"/>
                </a:cxn>
                <a:cxn ang="0">
                  <a:pos x="0" y="119"/>
                </a:cxn>
                <a:cxn ang="0">
                  <a:pos x="12" y="135"/>
                </a:cxn>
                <a:cxn ang="0">
                  <a:pos x="28" y="142"/>
                </a:cxn>
                <a:cxn ang="0">
                  <a:pos x="38" y="152"/>
                </a:cxn>
                <a:cxn ang="0">
                  <a:pos x="33" y="154"/>
                </a:cxn>
                <a:cxn ang="0">
                  <a:pos x="42" y="164"/>
                </a:cxn>
                <a:cxn ang="0">
                  <a:pos x="54" y="173"/>
                </a:cxn>
                <a:cxn ang="0">
                  <a:pos x="59" y="182"/>
                </a:cxn>
                <a:cxn ang="0">
                  <a:pos x="68" y="190"/>
                </a:cxn>
                <a:cxn ang="0">
                  <a:pos x="68" y="197"/>
                </a:cxn>
                <a:cxn ang="0">
                  <a:pos x="83" y="208"/>
                </a:cxn>
                <a:cxn ang="0">
                  <a:pos x="92" y="218"/>
                </a:cxn>
                <a:cxn ang="0">
                  <a:pos x="106" y="241"/>
                </a:cxn>
                <a:cxn ang="0">
                  <a:pos x="127" y="258"/>
                </a:cxn>
                <a:cxn ang="0">
                  <a:pos x="137" y="251"/>
                </a:cxn>
                <a:cxn ang="0">
                  <a:pos x="146" y="258"/>
                </a:cxn>
                <a:cxn ang="0">
                  <a:pos x="156" y="251"/>
                </a:cxn>
                <a:cxn ang="0">
                  <a:pos x="168" y="251"/>
                </a:cxn>
                <a:cxn ang="0">
                  <a:pos x="177" y="267"/>
                </a:cxn>
                <a:cxn ang="0">
                  <a:pos x="187" y="272"/>
                </a:cxn>
                <a:cxn ang="0">
                  <a:pos x="203" y="275"/>
                </a:cxn>
                <a:cxn ang="0">
                  <a:pos x="215" y="279"/>
                </a:cxn>
                <a:cxn ang="0">
                  <a:pos x="222" y="275"/>
                </a:cxn>
                <a:cxn ang="0">
                  <a:pos x="243" y="277"/>
                </a:cxn>
                <a:cxn ang="0">
                  <a:pos x="262" y="272"/>
                </a:cxn>
                <a:cxn ang="0">
                  <a:pos x="274" y="277"/>
                </a:cxn>
                <a:cxn ang="0">
                  <a:pos x="283" y="265"/>
                </a:cxn>
                <a:cxn ang="0">
                  <a:pos x="295" y="251"/>
                </a:cxn>
                <a:cxn ang="0">
                  <a:pos x="340" y="239"/>
                </a:cxn>
                <a:cxn ang="0">
                  <a:pos x="335" y="225"/>
                </a:cxn>
                <a:cxn ang="0">
                  <a:pos x="316" y="208"/>
                </a:cxn>
                <a:cxn ang="0">
                  <a:pos x="312" y="185"/>
                </a:cxn>
                <a:cxn ang="0">
                  <a:pos x="293" y="175"/>
                </a:cxn>
                <a:cxn ang="0">
                  <a:pos x="286" y="159"/>
                </a:cxn>
                <a:cxn ang="0">
                  <a:pos x="276" y="149"/>
                </a:cxn>
                <a:cxn ang="0">
                  <a:pos x="260" y="147"/>
                </a:cxn>
                <a:cxn ang="0">
                  <a:pos x="265" y="135"/>
                </a:cxn>
                <a:cxn ang="0">
                  <a:pos x="279" y="128"/>
                </a:cxn>
                <a:cxn ang="0">
                  <a:pos x="288" y="123"/>
                </a:cxn>
                <a:cxn ang="0">
                  <a:pos x="291" y="100"/>
                </a:cxn>
                <a:cxn ang="0">
                  <a:pos x="286" y="88"/>
                </a:cxn>
                <a:cxn ang="0">
                  <a:pos x="291" y="76"/>
                </a:cxn>
              </a:cxnLst>
              <a:rect l="0" t="0" r="r" b="b"/>
              <a:pathLst>
                <a:path w="342" h="286">
                  <a:moveTo>
                    <a:pt x="286" y="67"/>
                  </a:moveTo>
                  <a:lnTo>
                    <a:pt x="279" y="60"/>
                  </a:lnTo>
                  <a:lnTo>
                    <a:pt x="269" y="52"/>
                  </a:lnTo>
                  <a:lnTo>
                    <a:pt x="262" y="48"/>
                  </a:lnTo>
                  <a:lnTo>
                    <a:pt x="265" y="43"/>
                  </a:lnTo>
                  <a:lnTo>
                    <a:pt x="265" y="38"/>
                  </a:lnTo>
                  <a:lnTo>
                    <a:pt x="262" y="31"/>
                  </a:lnTo>
                  <a:lnTo>
                    <a:pt x="260" y="22"/>
                  </a:lnTo>
                  <a:lnTo>
                    <a:pt x="262" y="19"/>
                  </a:lnTo>
                  <a:lnTo>
                    <a:pt x="262" y="10"/>
                  </a:lnTo>
                  <a:lnTo>
                    <a:pt x="265" y="0"/>
                  </a:lnTo>
                  <a:lnTo>
                    <a:pt x="253" y="3"/>
                  </a:lnTo>
                  <a:lnTo>
                    <a:pt x="253" y="10"/>
                  </a:lnTo>
                  <a:lnTo>
                    <a:pt x="234" y="10"/>
                  </a:lnTo>
                  <a:lnTo>
                    <a:pt x="241" y="17"/>
                  </a:lnTo>
                  <a:lnTo>
                    <a:pt x="241" y="34"/>
                  </a:lnTo>
                  <a:lnTo>
                    <a:pt x="243" y="41"/>
                  </a:lnTo>
                  <a:lnTo>
                    <a:pt x="229" y="50"/>
                  </a:lnTo>
                  <a:lnTo>
                    <a:pt x="224" y="62"/>
                  </a:lnTo>
                  <a:lnTo>
                    <a:pt x="208" y="83"/>
                  </a:lnTo>
                  <a:lnTo>
                    <a:pt x="194" y="83"/>
                  </a:lnTo>
                  <a:lnTo>
                    <a:pt x="184" y="74"/>
                  </a:lnTo>
                  <a:lnTo>
                    <a:pt x="168" y="64"/>
                  </a:lnTo>
                  <a:lnTo>
                    <a:pt x="156" y="71"/>
                  </a:lnTo>
                  <a:lnTo>
                    <a:pt x="153" y="83"/>
                  </a:lnTo>
                  <a:lnTo>
                    <a:pt x="139" y="83"/>
                  </a:lnTo>
                  <a:lnTo>
                    <a:pt x="130" y="95"/>
                  </a:lnTo>
                  <a:lnTo>
                    <a:pt x="111" y="95"/>
                  </a:lnTo>
                  <a:lnTo>
                    <a:pt x="111" y="95"/>
                  </a:lnTo>
                  <a:lnTo>
                    <a:pt x="109" y="88"/>
                  </a:lnTo>
                  <a:lnTo>
                    <a:pt x="104" y="86"/>
                  </a:lnTo>
                  <a:lnTo>
                    <a:pt x="80" y="88"/>
                  </a:lnTo>
                  <a:lnTo>
                    <a:pt x="71" y="93"/>
                  </a:lnTo>
                  <a:lnTo>
                    <a:pt x="61" y="86"/>
                  </a:lnTo>
                  <a:lnTo>
                    <a:pt x="59" y="83"/>
                  </a:lnTo>
                  <a:lnTo>
                    <a:pt x="57" y="76"/>
                  </a:lnTo>
                  <a:lnTo>
                    <a:pt x="57" y="74"/>
                  </a:lnTo>
                  <a:lnTo>
                    <a:pt x="52" y="71"/>
                  </a:lnTo>
                  <a:lnTo>
                    <a:pt x="49" y="69"/>
                  </a:lnTo>
                  <a:lnTo>
                    <a:pt x="47" y="60"/>
                  </a:lnTo>
                  <a:lnTo>
                    <a:pt x="35" y="62"/>
                  </a:lnTo>
                  <a:lnTo>
                    <a:pt x="26" y="64"/>
                  </a:lnTo>
                  <a:lnTo>
                    <a:pt x="23" y="71"/>
                  </a:lnTo>
                  <a:lnTo>
                    <a:pt x="16" y="81"/>
                  </a:lnTo>
                  <a:lnTo>
                    <a:pt x="16" y="90"/>
                  </a:lnTo>
                  <a:lnTo>
                    <a:pt x="12" y="90"/>
                  </a:lnTo>
                  <a:lnTo>
                    <a:pt x="12" y="100"/>
                  </a:lnTo>
                  <a:lnTo>
                    <a:pt x="7" y="104"/>
                  </a:lnTo>
                  <a:lnTo>
                    <a:pt x="7" y="107"/>
                  </a:lnTo>
                  <a:lnTo>
                    <a:pt x="7" y="109"/>
                  </a:lnTo>
                  <a:lnTo>
                    <a:pt x="7" y="109"/>
                  </a:lnTo>
                  <a:lnTo>
                    <a:pt x="2" y="112"/>
                  </a:lnTo>
                  <a:lnTo>
                    <a:pt x="0" y="114"/>
                  </a:lnTo>
                  <a:lnTo>
                    <a:pt x="0" y="119"/>
                  </a:lnTo>
                  <a:lnTo>
                    <a:pt x="2" y="119"/>
                  </a:lnTo>
                  <a:lnTo>
                    <a:pt x="2" y="130"/>
                  </a:lnTo>
                  <a:lnTo>
                    <a:pt x="12" y="135"/>
                  </a:lnTo>
                  <a:lnTo>
                    <a:pt x="26" y="135"/>
                  </a:lnTo>
                  <a:lnTo>
                    <a:pt x="26" y="142"/>
                  </a:lnTo>
                  <a:lnTo>
                    <a:pt x="28" y="142"/>
                  </a:lnTo>
                  <a:lnTo>
                    <a:pt x="33" y="145"/>
                  </a:lnTo>
                  <a:lnTo>
                    <a:pt x="38" y="149"/>
                  </a:lnTo>
                  <a:lnTo>
                    <a:pt x="38" y="152"/>
                  </a:lnTo>
                  <a:lnTo>
                    <a:pt x="35" y="152"/>
                  </a:lnTo>
                  <a:lnTo>
                    <a:pt x="35" y="154"/>
                  </a:lnTo>
                  <a:lnTo>
                    <a:pt x="33" y="154"/>
                  </a:lnTo>
                  <a:lnTo>
                    <a:pt x="33" y="156"/>
                  </a:lnTo>
                  <a:lnTo>
                    <a:pt x="38" y="161"/>
                  </a:lnTo>
                  <a:lnTo>
                    <a:pt x="42" y="164"/>
                  </a:lnTo>
                  <a:lnTo>
                    <a:pt x="45" y="164"/>
                  </a:lnTo>
                  <a:lnTo>
                    <a:pt x="49" y="166"/>
                  </a:lnTo>
                  <a:lnTo>
                    <a:pt x="54" y="173"/>
                  </a:lnTo>
                  <a:lnTo>
                    <a:pt x="57" y="178"/>
                  </a:lnTo>
                  <a:lnTo>
                    <a:pt x="59" y="180"/>
                  </a:lnTo>
                  <a:lnTo>
                    <a:pt x="59" y="182"/>
                  </a:lnTo>
                  <a:lnTo>
                    <a:pt x="66" y="182"/>
                  </a:lnTo>
                  <a:lnTo>
                    <a:pt x="68" y="185"/>
                  </a:lnTo>
                  <a:lnTo>
                    <a:pt x="68" y="190"/>
                  </a:lnTo>
                  <a:lnTo>
                    <a:pt x="64" y="190"/>
                  </a:lnTo>
                  <a:lnTo>
                    <a:pt x="64" y="192"/>
                  </a:lnTo>
                  <a:lnTo>
                    <a:pt x="68" y="197"/>
                  </a:lnTo>
                  <a:lnTo>
                    <a:pt x="68" y="204"/>
                  </a:lnTo>
                  <a:lnTo>
                    <a:pt x="80" y="206"/>
                  </a:lnTo>
                  <a:lnTo>
                    <a:pt x="83" y="208"/>
                  </a:lnTo>
                  <a:lnTo>
                    <a:pt x="87" y="211"/>
                  </a:lnTo>
                  <a:lnTo>
                    <a:pt x="90" y="213"/>
                  </a:lnTo>
                  <a:lnTo>
                    <a:pt x="92" y="218"/>
                  </a:lnTo>
                  <a:lnTo>
                    <a:pt x="92" y="227"/>
                  </a:lnTo>
                  <a:lnTo>
                    <a:pt x="94" y="232"/>
                  </a:lnTo>
                  <a:lnTo>
                    <a:pt x="106" y="241"/>
                  </a:lnTo>
                  <a:lnTo>
                    <a:pt x="106" y="251"/>
                  </a:lnTo>
                  <a:lnTo>
                    <a:pt x="125" y="260"/>
                  </a:lnTo>
                  <a:lnTo>
                    <a:pt x="127" y="258"/>
                  </a:lnTo>
                  <a:lnTo>
                    <a:pt x="130" y="253"/>
                  </a:lnTo>
                  <a:lnTo>
                    <a:pt x="132" y="251"/>
                  </a:lnTo>
                  <a:lnTo>
                    <a:pt x="137" y="251"/>
                  </a:lnTo>
                  <a:lnTo>
                    <a:pt x="142" y="253"/>
                  </a:lnTo>
                  <a:lnTo>
                    <a:pt x="142" y="256"/>
                  </a:lnTo>
                  <a:lnTo>
                    <a:pt x="146" y="258"/>
                  </a:lnTo>
                  <a:lnTo>
                    <a:pt x="149" y="258"/>
                  </a:lnTo>
                  <a:lnTo>
                    <a:pt x="156" y="253"/>
                  </a:lnTo>
                  <a:lnTo>
                    <a:pt x="156" y="251"/>
                  </a:lnTo>
                  <a:lnTo>
                    <a:pt x="161" y="246"/>
                  </a:lnTo>
                  <a:lnTo>
                    <a:pt x="163" y="249"/>
                  </a:lnTo>
                  <a:lnTo>
                    <a:pt x="168" y="251"/>
                  </a:lnTo>
                  <a:lnTo>
                    <a:pt x="170" y="258"/>
                  </a:lnTo>
                  <a:lnTo>
                    <a:pt x="172" y="263"/>
                  </a:lnTo>
                  <a:lnTo>
                    <a:pt x="177" y="267"/>
                  </a:lnTo>
                  <a:lnTo>
                    <a:pt x="182" y="270"/>
                  </a:lnTo>
                  <a:lnTo>
                    <a:pt x="184" y="272"/>
                  </a:lnTo>
                  <a:lnTo>
                    <a:pt x="187" y="272"/>
                  </a:lnTo>
                  <a:lnTo>
                    <a:pt x="189" y="282"/>
                  </a:lnTo>
                  <a:lnTo>
                    <a:pt x="196" y="282"/>
                  </a:lnTo>
                  <a:lnTo>
                    <a:pt x="203" y="275"/>
                  </a:lnTo>
                  <a:lnTo>
                    <a:pt x="208" y="275"/>
                  </a:lnTo>
                  <a:lnTo>
                    <a:pt x="210" y="277"/>
                  </a:lnTo>
                  <a:lnTo>
                    <a:pt x="215" y="279"/>
                  </a:lnTo>
                  <a:lnTo>
                    <a:pt x="220" y="279"/>
                  </a:lnTo>
                  <a:lnTo>
                    <a:pt x="220" y="277"/>
                  </a:lnTo>
                  <a:lnTo>
                    <a:pt x="222" y="275"/>
                  </a:lnTo>
                  <a:lnTo>
                    <a:pt x="224" y="275"/>
                  </a:lnTo>
                  <a:lnTo>
                    <a:pt x="236" y="286"/>
                  </a:lnTo>
                  <a:lnTo>
                    <a:pt x="243" y="277"/>
                  </a:lnTo>
                  <a:lnTo>
                    <a:pt x="253" y="277"/>
                  </a:lnTo>
                  <a:lnTo>
                    <a:pt x="257" y="272"/>
                  </a:lnTo>
                  <a:lnTo>
                    <a:pt x="262" y="272"/>
                  </a:lnTo>
                  <a:lnTo>
                    <a:pt x="262" y="275"/>
                  </a:lnTo>
                  <a:lnTo>
                    <a:pt x="265" y="277"/>
                  </a:lnTo>
                  <a:lnTo>
                    <a:pt x="274" y="277"/>
                  </a:lnTo>
                  <a:lnTo>
                    <a:pt x="281" y="270"/>
                  </a:lnTo>
                  <a:lnTo>
                    <a:pt x="281" y="267"/>
                  </a:lnTo>
                  <a:lnTo>
                    <a:pt x="283" y="265"/>
                  </a:lnTo>
                  <a:lnTo>
                    <a:pt x="283" y="263"/>
                  </a:lnTo>
                  <a:lnTo>
                    <a:pt x="288" y="263"/>
                  </a:lnTo>
                  <a:lnTo>
                    <a:pt x="295" y="251"/>
                  </a:lnTo>
                  <a:lnTo>
                    <a:pt x="333" y="251"/>
                  </a:lnTo>
                  <a:lnTo>
                    <a:pt x="342" y="246"/>
                  </a:lnTo>
                  <a:lnTo>
                    <a:pt x="340" y="239"/>
                  </a:lnTo>
                  <a:lnTo>
                    <a:pt x="340" y="232"/>
                  </a:lnTo>
                  <a:lnTo>
                    <a:pt x="338" y="227"/>
                  </a:lnTo>
                  <a:lnTo>
                    <a:pt x="335" y="225"/>
                  </a:lnTo>
                  <a:lnTo>
                    <a:pt x="328" y="225"/>
                  </a:lnTo>
                  <a:lnTo>
                    <a:pt x="324" y="223"/>
                  </a:lnTo>
                  <a:lnTo>
                    <a:pt x="316" y="208"/>
                  </a:lnTo>
                  <a:lnTo>
                    <a:pt x="316" y="201"/>
                  </a:lnTo>
                  <a:lnTo>
                    <a:pt x="312" y="199"/>
                  </a:lnTo>
                  <a:lnTo>
                    <a:pt x="312" y="185"/>
                  </a:lnTo>
                  <a:lnTo>
                    <a:pt x="305" y="185"/>
                  </a:lnTo>
                  <a:lnTo>
                    <a:pt x="302" y="175"/>
                  </a:lnTo>
                  <a:lnTo>
                    <a:pt x="293" y="175"/>
                  </a:lnTo>
                  <a:lnTo>
                    <a:pt x="291" y="168"/>
                  </a:lnTo>
                  <a:lnTo>
                    <a:pt x="291" y="161"/>
                  </a:lnTo>
                  <a:lnTo>
                    <a:pt x="286" y="159"/>
                  </a:lnTo>
                  <a:lnTo>
                    <a:pt x="283" y="154"/>
                  </a:lnTo>
                  <a:lnTo>
                    <a:pt x="279" y="152"/>
                  </a:lnTo>
                  <a:lnTo>
                    <a:pt x="276" y="149"/>
                  </a:lnTo>
                  <a:lnTo>
                    <a:pt x="267" y="149"/>
                  </a:lnTo>
                  <a:lnTo>
                    <a:pt x="262" y="147"/>
                  </a:lnTo>
                  <a:lnTo>
                    <a:pt x="260" y="147"/>
                  </a:lnTo>
                  <a:lnTo>
                    <a:pt x="260" y="142"/>
                  </a:lnTo>
                  <a:lnTo>
                    <a:pt x="262" y="138"/>
                  </a:lnTo>
                  <a:lnTo>
                    <a:pt x="265" y="135"/>
                  </a:lnTo>
                  <a:lnTo>
                    <a:pt x="262" y="126"/>
                  </a:lnTo>
                  <a:lnTo>
                    <a:pt x="276" y="126"/>
                  </a:lnTo>
                  <a:lnTo>
                    <a:pt x="279" y="128"/>
                  </a:lnTo>
                  <a:lnTo>
                    <a:pt x="281" y="126"/>
                  </a:lnTo>
                  <a:lnTo>
                    <a:pt x="286" y="126"/>
                  </a:lnTo>
                  <a:lnTo>
                    <a:pt x="288" y="123"/>
                  </a:lnTo>
                  <a:lnTo>
                    <a:pt x="288" y="119"/>
                  </a:lnTo>
                  <a:lnTo>
                    <a:pt x="291" y="114"/>
                  </a:lnTo>
                  <a:lnTo>
                    <a:pt x="291" y="100"/>
                  </a:lnTo>
                  <a:lnTo>
                    <a:pt x="288" y="97"/>
                  </a:lnTo>
                  <a:lnTo>
                    <a:pt x="288" y="93"/>
                  </a:lnTo>
                  <a:lnTo>
                    <a:pt x="286" y="88"/>
                  </a:lnTo>
                  <a:lnTo>
                    <a:pt x="286" y="83"/>
                  </a:lnTo>
                  <a:lnTo>
                    <a:pt x="288" y="78"/>
                  </a:lnTo>
                  <a:lnTo>
                    <a:pt x="291" y="76"/>
                  </a:lnTo>
                  <a:lnTo>
                    <a:pt x="288" y="71"/>
                  </a:lnTo>
                  <a:lnTo>
                    <a:pt x="286" y="67"/>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56" name="Süd Africa" descr="© INSCALE GmbH, 05.05.2010&#10;http://www.presentationload.com/">
              <a:extLst>
                <a:ext uri="{FF2B5EF4-FFF2-40B4-BE49-F238E27FC236}">
                  <a16:creationId xmlns:a16="http://schemas.microsoft.com/office/drawing/2014/main" id="{3E8A9A20-AB5A-4A3D-98A5-C3AE04439E30}"/>
                </a:ext>
              </a:extLst>
            </p:cNvPr>
            <p:cNvSpPr>
              <a:spLocks noEditPoints="1"/>
            </p:cNvSpPr>
            <p:nvPr/>
          </p:nvSpPr>
          <p:spPr bwMode="gray">
            <a:xfrm>
              <a:off x="4587222" y="4962945"/>
              <a:ext cx="451591" cy="406119"/>
            </a:xfrm>
            <a:custGeom>
              <a:avLst/>
              <a:gdLst>
                <a:gd name="T0" fmla="*/ 2147483647 w 1134"/>
                <a:gd name="T1" fmla="*/ 2147483647 h 1020"/>
                <a:gd name="T2" fmla="*/ 2147483647 w 1134"/>
                <a:gd name="T3" fmla="*/ 2147483647 h 1020"/>
                <a:gd name="T4" fmla="*/ 2147483647 w 1134"/>
                <a:gd name="T5" fmla="*/ 2147483647 h 1020"/>
                <a:gd name="T6" fmla="*/ 2147483647 w 1134"/>
                <a:gd name="T7" fmla="*/ 2147483647 h 1020"/>
                <a:gd name="T8" fmla="*/ 2147483647 w 1134"/>
                <a:gd name="T9" fmla="*/ 2147483647 h 1020"/>
                <a:gd name="T10" fmla="*/ 2147483647 w 1134"/>
                <a:gd name="T11" fmla="*/ 2147483647 h 1020"/>
                <a:gd name="T12" fmla="*/ 2147483647 w 1134"/>
                <a:gd name="T13" fmla="*/ 2147483647 h 1020"/>
                <a:gd name="T14" fmla="*/ 2147483647 w 1134"/>
                <a:gd name="T15" fmla="*/ 2147483647 h 1020"/>
                <a:gd name="T16" fmla="*/ 2147483647 w 1134"/>
                <a:gd name="T17" fmla="*/ 2147483647 h 1020"/>
                <a:gd name="T18" fmla="*/ 2147483647 w 1134"/>
                <a:gd name="T19" fmla="*/ 2147483647 h 1020"/>
                <a:gd name="T20" fmla="*/ 2147483647 w 1134"/>
                <a:gd name="T21" fmla="*/ 2147483647 h 1020"/>
                <a:gd name="T22" fmla="*/ 2147483647 w 1134"/>
                <a:gd name="T23" fmla="*/ 2147483647 h 1020"/>
                <a:gd name="T24" fmla="*/ 2147483647 w 1134"/>
                <a:gd name="T25" fmla="*/ 2147483647 h 1020"/>
                <a:gd name="T26" fmla="*/ 2147483647 w 1134"/>
                <a:gd name="T27" fmla="*/ 2147483647 h 1020"/>
                <a:gd name="T28" fmla="*/ 2147483647 w 1134"/>
                <a:gd name="T29" fmla="*/ 2147483647 h 1020"/>
                <a:gd name="T30" fmla="*/ 2147483647 w 1134"/>
                <a:gd name="T31" fmla="*/ 2147483647 h 1020"/>
                <a:gd name="T32" fmla="*/ 2147483647 w 1134"/>
                <a:gd name="T33" fmla="*/ 2147483647 h 1020"/>
                <a:gd name="T34" fmla="*/ 2147483647 w 1134"/>
                <a:gd name="T35" fmla="*/ 2147483647 h 1020"/>
                <a:gd name="T36" fmla="*/ 2147483647 w 1134"/>
                <a:gd name="T37" fmla="*/ 2147483647 h 1020"/>
                <a:gd name="T38" fmla="*/ 2147483647 w 1134"/>
                <a:gd name="T39" fmla="*/ 2147483647 h 1020"/>
                <a:gd name="T40" fmla="*/ 2147483647 w 1134"/>
                <a:gd name="T41" fmla="*/ 2147483647 h 1020"/>
                <a:gd name="T42" fmla="*/ 2147483647 w 1134"/>
                <a:gd name="T43" fmla="*/ 2147483647 h 1020"/>
                <a:gd name="T44" fmla="*/ 2147483647 w 1134"/>
                <a:gd name="T45" fmla="*/ 2147483647 h 1020"/>
                <a:gd name="T46" fmla="*/ 2147483647 w 1134"/>
                <a:gd name="T47" fmla="*/ 2147483647 h 1020"/>
                <a:gd name="T48" fmla="*/ 2147483647 w 1134"/>
                <a:gd name="T49" fmla="*/ 2147483647 h 1020"/>
                <a:gd name="T50" fmla="*/ 2147483647 w 1134"/>
                <a:gd name="T51" fmla="*/ 2147483647 h 1020"/>
                <a:gd name="T52" fmla="*/ 2147483647 w 1134"/>
                <a:gd name="T53" fmla="*/ 2147483647 h 1020"/>
                <a:gd name="T54" fmla="*/ 2147483647 w 1134"/>
                <a:gd name="T55" fmla="*/ 2147483647 h 1020"/>
                <a:gd name="T56" fmla="*/ 2147483647 w 1134"/>
                <a:gd name="T57" fmla="*/ 2147483647 h 1020"/>
                <a:gd name="T58" fmla="*/ 2147483647 w 1134"/>
                <a:gd name="T59" fmla="*/ 2147483647 h 1020"/>
                <a:gd name="T60" fmla="*/ 2147483647 w 1134"/>
                <a:gd name="T61" fmla="*/ 2147483647 h 1020"/>
                <a:gd name="T62" fmla="*/ 0 w 1134"/>
                <a:gd name="T63" fmla="*/ 2147483647 h 1020"/>
                <a:gd name="T64" fmla="*/ 2147483647 w 1134"/>
                <a:gd name="T65" fmla="*/ 2147483647 h 1020"/>
                <a:gd name="T66" fmla="*/ 2147483647 w 1134"/>
                <a:gd name="T67" fmla="*/ 2147483647 h 1020"/>
                <a:gd name="T68" fmla="*/ 2147483647 w 1134"/>
                <a:gd name="T69" fmla="*/ 2147483647 h 1020"/>
                <a:gd name="T70" fmla="*/ 2147483647 w 1134"/>
                <a:gd name="T71" fmla="*/ 2147483647 h 1020"/>
                <a:gd name="T72" fmla="*/ 2147483647 w 1134"/>
                <a:gd name="T73" fmla="*/ 2147483647 h 1020"/>
                <a:gd name="T74" fmla="*/ 2147483647 w 1134"/>
                <a:gd name="T75" fmla="*/ 2147483647 h 1020"/>
                <a:gd name="T76" fmla="*/ 2147483647 w 1134"/>
                <a:gd name="T77" fmla="*/ 2147483647 h 1020"/>
                <a:gd name="T78" fmla="*/ 2147483647 w 1134"/>
                <a:gd name="T79" fmla="*/ 2147483647 h 1020"/>
                <a:gd name="T80" fmla="*/ 2147483647 w 1134"/>
                <a:gd name="T81" fmla="*/ 2147483647 h 1020"/>
                <a:gd name="T82" fmla="*/ 2147483647 w 1134"/>
                <a:gd name="T83" fmla="*/ 2147483647 h 1020"/>
                <a:gd name="T84" fmla="*/ 2147483647 w 1134"/>
                <a:gd name="T85" fmla="*/ 2147483647 h 1020"/>
                <a:gd name="T86" fmla="*/ 2147483647 w 1134"/>
                <a:gd name="T87" fmla="*/ 2147483647 h 1020"/>
                <a:gd name="T88" fmla="*/ 2147483647 w 1134"/>
                <a:gd name="T89" fmla="*/ 2147483647 h 1020"/>
                <a:gd name="T90" fmla="*/ 2147483647 w 1134"/>
                <a:gd name="T91" fmla="*/ 2147483647 h 1020"/>
                <a:gd name="T92" fmla="*/ 2147483647 w 1134"/>
                <a:gd name="T93" fmla="*/ 2147483647 h 1020"/>
                <a:gd name="T94" fmla="*/ 2147483647 w 1134"/>
                <a:gd name="T95" fmla="*/ 2147483647 h 1020"/>
                <a:gd name="T96" fmla="*/ 2147483647 w 1134"/>
                <a:gd name="T97" fmla="*/ 2147483647 h 1020"/>
                <a:gd name="T98" fmla="*/ 2147483647 w 1134"/>
                <a:gd name="T99" fmla="*/ 2147483647 h 1020"/>
                <a:gd name="T100" fmla="*/ 2147483647 w 1134"/>
                <a:gd name="T101" fmla="*/ 2147483647 h 1020"/>
                <a:gd name="T102" fmla="*/ 2147483647 w 1134"/>
                <a:gd name="T103" fmla="*/ 2147483647 h 1020"/>
                <a:gd name="T104" fmla="*/ 2147483647 w 1134"/>
                <a:gd name="T105" fmla="*/ 2147483647 h 1020"/>
                <a:gd name="T106" fmla="*/ 2147483647 w 1134"/>
                <a:gd name="T107" fmla="*/ 2147483647 h 1020"/>
                <a:gd name="T108" fmla="*/ 2147483647 w 1134"/>
                <a:gd name="T109" fmla="*/ 2147483647 h 1020"/>
                <a:gd name="T110" fmla="*/ 2147483647 w 1134"/>
                <a:gd name="T111" fmla="*/ 2147483647 h 1020"/>
                <a:gd name="T112" fmla="*/ 2147483647 w 1134"/>
                <a:gd name="T113" fmla="*/ 2147483647 h 1020"/>
                <a:gd name="T114" fmla="*/ 2147483647 w 1134"/>
                <a:gd name="T115" fmla="*/ 2147483647 h 1020"/>
                <a:gd name="T116" fmla="*/ 2147483647 w 1134"/>
                <a:gd name="T117" fmla="*/ 2147483647 h 1020"/>
                <a:gd name="T118" fmla="*/ 2147483647 w 1134"/>
                <a:gd name="T119" fmla="*/ 2147483647 h 1020"/>
                <a:gd name="T120" fmla="*/ 2147483647 w 1134"/>
                <a:gd name="T121" fmla="*/ 2147483647 h 1020"/>
                <a:gd name="T122" fmla="*/ 2147483647 w 1134"/>
                <a:gd name="T123" fmla="*/ 2147483647 h 1020"/>
                <a:gd name="T124" fmla="*/ 2147483647 w 1134"/>
                <a:gd name="T125" fmla="*/ 2147483647 h 10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34"/>
                <a:gd name="T190" fmla="*/ 0 h 1020"/>
                <a:gd name="T191" fmla="*/ 1134 w 1134"/>
                <a:gd name="T192" fmla="*/ 1020 h 102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34" h="1020">
                  <a:moveTo>
                    <a:pt x="1116" y="372"/>
                  </a:moveTo>
                  <a:lnTo>
                    <a:pt x="1098" y="372"/>
                  </a:lnTo>
                  <a:lnTo>
                    <a:pt x="1092" y="378"/>
                  </a:lnTo>
                  <a:lnTo>
                    <a:pt x="1086" y="378"/>
                  </a:lnTo>
                  <a:lnTo>
                    <a:pt x="1074" y="420"/>
                  </a:lnTo>
                  <a:lnTo>
                    <a:pt x="1062" y="420"/>
                  </a:lnTo>
                  <a:lnTo>
                    <a:pt x="1050" y="414"/>
                  </a:lnTo>
                  <a:lnTo>
                    <a:pt x="1032" y="414"/>
                  </a:lnTo>
                  <a:lnTo>
                    <a:pt x="1020" y="402"/>
                  </a:lnTo>
                  <a:lnTo>
                    <a:pt x="1008" y="396"/>
                  </a:lnTo>
                  <a:lnTo>
                    <a:pt x="996" y="372"/>
                  </a:lnTo>
                  <a:lnTo>
                    <a:pt x="996" y="348"/>
                  </a:lnTo>
                  <a:lnTo>
                    <a:pt x="1002" y="336"/>
                  </a:lnTo>
                  <a:lnTo>
                    <a:pt x="1014" y="324"/>
                  </a:lnTo>
                  <a:lnTo>
                    <a:pt x="1014" y="312"/>
                  </a:lnTo>
                  <a:lnTo>
                    <a:pt x="1020" y="300"/>
                  </a:lnTo>
                  <a:lnTo>
                    <a:pt x="1032" y="288"/>
                  </a:lnTo>
                  <a:lnTo>
                    <a:pt x="1038" y="288"/>
                  </a:lnTo>
                  <a:lnTo>
                    <a:pt x="1050" y="294"/>
                  </a:lnTo>
                  <a:lnTo>
                    <a:pt x="1062" y="306"/>
                  </a:lnTo>
                  <a:lnTo>
                    <a:pt x="1086" y="270"/>
                  </a:lnTo>
                  <a:lnTo>
                    <a:pt x="1086" y="180"/>
                  </a:lnTo>
                  <a:lnTo>
                    <a:pt x="1056" y="120"/>
                  </a:lnTo>
                  <a:lnTo>
                    <a:pt x="1056" y="102"/>
                  </a:lnTo>
                  <a:lnTo>
                    <a:pt x="1050" y="90"/>
                  </a:lnTo>
                  <a:lnTo>
                    <a:pt x="1050" y="72"/>
                  </a:lnTo>
                  <a:lnTo>
                    <a:pt x="1044" y="54"/>
                  </a:lnTo>
                  <a:lnTo>
                    <a:pt x="1044" y="24"/>
                  </a:lnTo>
                  <a:lnTo>
                    <a:pt x="1026" y="12"/>
                  </a:lnTo>
                  <a:lnTo>
                    <a:pt x="966" y="12"/>
                  </a:lnTo>
                  <a:lnTo>
                    <a:pt x="954" y="6"/>
                  </a:lnTo>
                  <a:lnTo>
                    <a:pt x="948" y="6"/>
                  </a:lnTo>
                  <a:lnTo>
                    <a:pt x="936" y="0"/>
                  </a:lnTo>
                  <a:lnTo>
                    <a:pt x="876" y="0"/>
                  </a:lnTo>
                  <a:lnTo>
                    <a:pt x="864" y="24"/>
                  </a:lnTo>
                  <a:lnTo>
                    <a:pt x="852" y="24"/>
                  </a:lnTo>
                  <a:lnTo>
                    <a:pt x="840" y="30"/>
                  </a:lnTo>
                  <a:lnTo>
                    <a:pt x="828" y="30"/>
                  </a:lnTo>
                  <a:lnTo>
                    <a:pt x="822" y="36"/>
                  </a:lnTo>
                  <a:lnTo>
                    <a:pt x="810" y="60"/>
                  </a:lnTo>
                  <a:lnTo>
                    <a:pt x="768" y="102"/>
                  </a:lnTo>
                  <a:lnTo>
                    <a:pt x="756" y="108"/>
                  </a:lnTo>
                  <a:lnTo>
                    <a:pt x="750" y="108"/>
                  </a:lnTo>
                  <a:lnTo>
                    <a:pt x="738" y="114"/>
                  </a:lnTo>
                  <a:lnTo>
                    <a:pt x="726" y="138"/>
                  </a:lnTo>
                  <a:lnTo>
                    <a:pt x="726" y="174"/>
                  </a:lnTo>
                  <a:lnTo>
                    <a:pt x="714" y="180"/>
                  </a:lnTo>
                  <a:lnTo>
                    <a:pt x="708" y="192"/>
                  </a:lnTo>
                  <a:lnTo>
                    <a:pt x="702" y="198"/>
                  </a:lnTo>
                  <a:lnTo>
                    <a:pt x="690" y="204"/>
                  </a:lnTo>
                  <a:lnTo>
                    <a:pt x="672" y="210"/>
                  </a:lnTo>
                  <a:lnTo>
                    <a:pt x="654" y="228"/>
                  </a:lnTo>
                  <a:lnTo>
                    <a:pt x="654" y="240"/>
                  </a:lnTo>
                  <a:lnTo>
                    <a:pt x="648" y="252"/>
                  </a:lnTo>
                  <a:lnTo>
                    <a:pt x="642" y="270"/>
                  </a:lnTo>
                  <a:lnTo>
                    <a:pt x="636" y="282"/>
                  </a:lnTo>
                  <a:lnTo>
                    <a:pt x="630" y="288"/>
                  </a:lnTo>
                  <a:lnTo>
                    <a:pt x="618" y="294"/>
                  </a:lnTo>
                  <a:lnTo>
                    <a:pt x="606" y="294"/>
                  </a:lnTo>
                  <a:lnTo>
                    <a:pt x="600" y="288"/>
                  </a:lnTo>
                  <a:lnTo>
                    <a:pt x="594" y="294"/>
                  </a:lnTo>
                  <a:lnTo>
                    <a:pt x="582" y="300"/>
                  </a:lnTo>
                  <a:lnTo>
                    <a:pt x="570" y="300"/>
                  </a:lnTo>
                  <a:lnTo>
                    <a:pt x="564" y="294"/>
                  </a:lnTo>
                  <a:lnTo>
                    <a:pt x="552" y="288"/>
                  </a:lnTo>
                  <a:lnTo>
                    <a:pt x="546" y="282"/>
                  </a:lnTo>
                  <a:lnTo>
                    <a:pt x="516" y="282"/>
                  </a:lnTo>
                  <a:lnTo>
                    <a:pt x="504" y="270"/>
                  </a:lnTo>
                  <a:lnTo>
                    <a:pt x="492" y="264"/>
                  </a:lnTo>
                  <a:lnTo>
                    <a:pt x="486" y="258"/>
                  </a:lnTo>
                  <a:lnTo>
                    <a:pt x="474" y="252"/>
                  </a:lnTo>
                  <a:lnTo>
                    <a:pt x="462" y="252"/>
                  </a:lnTo>
                  <a:lnTo>
                    <a:pt x="450" y="258"/>
                  </a:lnTo>
                  <a:lnTo>
                    <a:pt x="444" y="264"/>
                  </a:lnTo>
                  <a:lnTo>
                    <a:pt x="438" y="276"/>
                  </a:lnTo>
                  <a:lnTo>
                    <a:pt x="438" y="288"/>
                  </a:lnTo>
                  <a:lnTo>
                    <a:pt x="432" y="300"/>
                  </a:lnTo>
                  <a:lnTo>
                    <a:pt x="432" y="324"/>
                  </a:lnTo>
                  <a:lnTo>
                    <a:pt x="420" y="324"/>
                  </a:lnTo>
                  <a:lnTo>
                    <a:pt x="414" y="330"/>
                  </a:lnTo>
                  <a:lnTo>
                    <a:pt x="408" y="330"/>
                  </a:lnTo>
                  <a:lnTo>
                    <a:pt x="402" y="336"/>
                  </a:lnTo>
                  <a:lnTo>
                    <a:pt x="396" y="348"/>
                  </a:lnTo>
                  <a:lnTo>
                    <a:pt x="390" y="354"/>
                  </a:lnTo>
                  <a:lnTo>
                    <a:pt x="390" y="360"/>
                  </a:lnTo>
                  <a:lnTo>
                    <a:pt x="366" y="360"/>
                  </a:lnTo>
                  <a:lnTo>
                    <a:pt x="366" y="378"/>
                  </a:lnTo>
                  <a:lnTo>
                    <a:pt x="288" y="378"/>
                  </a:lnTo>
                  <a:lnTo>
                    <a:pt x="288" y="348"/>
                  </a:lnTo>
                  <a:lnTo>
                    <a:pt x="294" y="336"/>
                  </a:lnTo>
                  <a:lnTo>
                    <a:pt x="294" y="330"/>
                  </a:lnTo>
                  <a:lnTo>
                    <a:pt x="300" y="318"/>
                  </a:lnTo>
                  <a:lnTo>
                    <a:pt x="300" y="294"/>
                  </a:lnTo>
                  <a:lnTo>
                    <a:pt x="294" y="288"/>
                  </a:lnTo>
                  <a:lnTo>
                    <a:pt x="294" y="270"/>
                  </a:lnTo>
                  <a:lnTo>
                    <a:pt x="288" y="258"/>
                  </a:lnTo>
                  <a:lnTo>
                    <a:pt x="282" y="240"/>
                  </a:lnTo>
                  <a:lnTo>
                    <a:pt x="276" y="234"/>
                  </a:lnTo>
                  <a:lnTo>
                    <a:pt x="264" y="228"/>
                  </a:lnTo>
                  <a:lnTo>
                    <a:pt x="258" y="222"/>
                  </a:lnTo>
                  <a:lnTo>
                    <a:pt x="246" y="216"/>
                  </a:lnTo>
                  <a:lnTo>
                    <a:pt x="240" y="510"/>
                  </a:lnTo>
                  <a:lnTo>
                    <a:pt x="222" y="510"/>
                  </a:lnTo>
                  <a:lnTo>
                    <a:pt x="210" y="516"/>
                  </a:lnTo>
                  <a:lnTo>
                    <a:pt x="204" y="522"/>
                  </a:lnTo>
                  <a:lnTo>
                    <a:pt x="204" y="528"/>
                  </a:lnTo>
                  <a:lnTo>
                    <a:pt x="192" y="528"/>
                  </a:lnTo>
                  <a:lnTo>
                    <a:pt x="192" y="552"/>
                  </a:lnTo>
                  <a:lnTo>
                    <a:pt x="168" y="552"/>
                  </a:lnTo>
                  <a:lnTo>
                    <a:pt x="156" y="540"/>
                  </a:lnTo>
                  <a:lnTo>
                    <a:pt x="144" y="540"/>
                  </a:lnTo>
                  <a:lnTo>
                    <a:pt x="132" y="552"/>
                  </a:lnTo>
                  <a:lnTo>
                    <a:pt x="108" y="552"/>
                  </a:lnTo>
                  <a:lnTo>
                    <a:pt x="102" y="546"/>
                  </a:lnTo>
                  <a:lnTo>
                    <a:pt x="102" y="540"/>
                  </a:lnTo>
                  <a:lnTo>
                    <a:pt x="96" y="534"/>
                  </a:lnTo>
                  <a:lnTo>
                    <a:pt x="72" y="534"/>
                  </a:lnTo>
                  <a:lnTo>
                    <a:pt x="66" y="528"/>
                  </a:lnTo>
                  <a:lnTo>
                    <a:pt x="60" y="516"/>
                  </a:lnTo>
                  <a:lnTo>
                    <a:pt x="60" y="492"/>
                  </a:lnTo>
                  <a:lnTo>
                    <a:pt x="42" y="474"/>
                  </a:lnTo>
                  <a:lnTo>
                    <a:pt x="36" y="474"/>
                  </a:lnTo>
                  <a:lnTo>
                    <a:pt x="30" y="480"/>
                  </a:lnTo>
                  <a:lnTo>
                    <a:pt x="30" y="486"/>
                  </a:lnTo>
                  <a:lnTo>
                    <a:pt x="24" y="498"/>
                  </a:lnTo>
                  <a:lnTo>
                    <a:pt x="18" y="504"/>
                  </a:lnTo>
                  <a:lnTo>
                    <a:pt x="18" y="510"/>
                  </a:lnTo>
                  <a:lnTo>
                    <a:pt x="0" y="522"/>
                  </a:lnTo>
                  <a:lnTo>
                    <a:pt x="0" y="516"/>
                  </a:lnTo>
                  <a:lnTo>
                    <a:pt x="0" y="528"/>
                  </a:lnTo>
                  <a:lnTo>
                    <a:pt x="6" y="540"/>
                  </a:lnTo>
                  <a:lnTo>
                    <a:pt x="6" y="552"/>
                  </a:lnTo>
                  <a:lnTo>
                    <a:pt x="36" y="582"/>
                  </a:lnTo>
                  <a:lnTo>
                    <a:pt x="42" y="600"/>
                  </a:lnTo>
                  <a:lnTo>
                    <a:pt x="42" y="648"/>
                  </a:lnTo>
                  <a:lnTo>
                    <a:pt x="48" y="672"/>
                  </a:lnTo>
                  <a:lnTo>
                    <a:pt x="54" y="690"/>
                  </a:lnTo>
                  <a:lnTo>
                    <a:pt x="72" y="714"/>
                  </a:lnTo>
                  <a:lnTo>
                    <a:pt x="96" y="738"/>
                  </a:lnTo>
                  <a:lnTo>
                    <a:pt x="114" y="762"/>
                  </a:lnTo>
                  <a:lnTo>
                    <a:pt x="120" y="786"/>
                  </a:lnTo>
                  <a:lnTo>
                    <a:pt x="120" y="834"/>
                  </a:lnTo>
                  <a:lnTo>
                    <a:pt x="114" y="846"/>
                  </a:lnTo>
                  <a:lnTo>
                    <a:pt x="114" y="852"/>
                  </a:lnTo>
                  <a:lnTo>
                    <a:pt x="90" y="852"/>
                  </a:lnTo>
                  <a:lnTo>
                    <a:pt x="90" y="876"/>
                  </a:lnTo>
                  <a:lnTo>
                    <a:pt x="96" y="888"/>
                  </a:lnTo>
                  <a:lnTo>
                    <a:pt x="108" y="906"/>
                  </a:lnTo>
                  <a:lnTo>
                    <a:pt x="114" y="918"/>
                  </a:lnTo>
                  <a:lnTo>
                    <a:pt x="114" y="960"/>
                  </a:lnTo>
                  <a:lnTo>
                    <a:pt x="120" y="972"/>
                  </a:lnTo>
                  <a:lnTo>
                    <a:pt x="120" y="978"/>
                  </a:lnTo>
                  <a:lnTo>
                    <a:pt x="126" y="978"/>
                  </a:lnTo>
                  <a:lnTo>
                    <a:pt x="126" y="972"/>
                  </a:lnTo>
                  <a:lnTo>
                    <a:pt x="132" y="966"/>
                  </a:lnTo>
                  <a:lnTo>
                    <a:pt x="144" y="966"/>
                  </a:lnTo>
                  <a:lnTo>
                    <a:pt x="150" y="972"/>
                  </a:lnTo>
                  <a:lnTo>
                    <a:pt x="180" y="984"/>
                  </a:lnTo>
                  <a:lnTo>
                    <a:pt x="180" y="996"/>
                  </a:lnTo>
                  <a:lnTo>
                    <a:pt x="204" y="1020"/>
                  </a:lnTo>
                  <a:lnTo>
                    <a:pt x="216" y="1020"/>
                  </a:lnTo>
                  <a:lnTo>
                    <a:pt x="240" y="1008"/>
                  </a:lnTo>
                  <a:lnTo>
                    <a:pt x="246" y="996"/>
                  </a:lnTo>
                  <a:lnTo>
                    <a:pt x="252" y="990"/>
                  </a:lnTo>
                  <a:lnTo>
                    <a:pt x="264" y="984"/>
                  </a:lnTo>
                  <a:lnTo>
                    <a:pt x="294" y="984"/>
                  </a:lnTo>
                  <a:lnTo>
                    <a:pt x="306" y="990"/>
                  </a:lnTo>
                  <a:lnTo>
                    <a:pt x="354" y="990"/>
                  </a:lnTo>
                  <a:lnTo>
                    <a:pt x="354" y="984"/>
                  </a:lnTo>
                  <a:lnTo>
                    <a:pt x="360" y="978"/>
                  </a:lnTo>
                  <a:lnTo>
                    <a:pt x="360" y="966"/>
                  </a:lnTo>
                  <a:lnTo>
                    <a:pt x="366" y="960"/>
                  </a:lnTo>
                  <a:lnTo>
                    <a:pt x="378" y="954"/>
                  </a:lnTo>
                  <a:lnTo>
                    <a:pt x="408" y="954"/>
                  </a:lnTo>
                  <a:lnTo>
                    <a:pt x="420" y="960"/>
                  </a:lnTo>
                  <a:lnTo>
                    <a:pt x="432" y="960"/>
                  </a:lnTo>
                  <a:lnTo>
                    <a:pt x="438" y="966"/>
                  </a:lnTo>
                  <a:lnTo>
                    <a:pt x="444" y="960"/>
                  </a:lnTo>
                  <a:lnTo>
                    <a:pt x="456" y="960"/>
                  </a:lnTo>
                  <a:lnTo>
                    <a:pt x="468" y="954"/>
                  </a:lnTo>
                  <a:lnTo>
                    <a:pt x="504" y="954"/>
                  </a:lnTo>
                  <a:lnTo>
                    <a:pt x="522" y="960"/>
                  </a:lnTo>
                  <a:lnTo>
                    <a:pt x="534" y="966"/>
                  </a:lnTo>
                  <a:lnTo>
                    <a:pt x="552" y="966"/>
                  </a:lnTo>
                  <a:lnTo>
                    <a:pt x="558" y="960"/>
                  </a:lnTo>
                  <a:lnTo>
                    <a:pt x="570" y="954"/>
                  </a:lnTo>
                  <a:lnTo>
                    <a:pt x="606" y="954"/>
                  </a:lnTo>
                  <a:lnTo>
                    <a:pt x="618" y="948"/>
                  </a:lnTo>
                  <a:lnTo>
                    <a:pt x="624" y="942"/>
                  </a:lnTo>
                  <a:lnTo>
                    <a:pt x="636" y="936"/>
                  </a:lnTo>
                  <a:lnTo>
                    <a:pt x="684" y="936"/>
                  </a:lnTo>
                  <a:lnTo>
                    <a:pt x="708" y="924"/>
                  </a:lnTo>
                  <a:lnTo>
                    <a:pt x="720" y="912"/>
                  </a:lnTo>
                  <a:lnTo>
                    <a:pt x="738" y="900"/>
                  </a:lnTo>
                  <a:lnTo>
                    <a:pt x="774" y="864"/>
                  </a:lnTo>
                  <a:lnTo>
                    <a:pt x="786" y="858"/>
                  </a:lnTo>
                  <a:lnTo>
                    <a:pt x="804" y="846"/>
                  </a:lnTo>
                  <a:lnTo>
                    <a:pt x="900" y="750"/>
                  </a:lnTo>
                  <a:lnTo>
                    <a:pt x="918" y="750"/>
                  </a:lnTo>
                  <a:lnTo>
                    <a:pt x="924" y="744"/>
                  </a:lnTo>
                  <a:lnTo>
                    <a:pt x="960" y="696"/>
                  </a:lnTo>
                  <a:lnTo>
                    <a:pt x="972" y="672"/>
                  </a:lnTo>
                  <a:lnTo>
                    <a:pt x="984" y="654"/>
                  </a:lnTo>
                  <a:lnTo>
                    <a:pt x="990" y="642"/>
                  </a:lnTo>
                  <a:lnTo>
                    <a:pt x="1002" y="606"/>
                  </a:lnTo>
                  <a:lnTo>
                    <a:pt x="1014" y="588"/>
                  </a:lnTo>
                  <a:lnTo>
                    <a:pt x="1020" y="576"/>
                  </a:lnTo>
                  <a:lnTo>
                    <a:pt x="1026" y="570"/>
                  </a:lnTo>
                  <a:lnTo>
                    <a:pt x="1038" y="564"/>
                  </a:lnTo>
                  <a:lnTo>
                    <a:pt x="1050" y="552"/>
                  </a:lnTo>
                  <a:lnTo>
                    <a:pt x="1068" y="546"/>
                  </a:lnTo>
                  <a:lnTo>
                    <a:pt x="1086" y="534"/>
                  </a:lnTo>
                  <a:lnTo>
                    <a:pt x="1098" y="510"/>
                  </a:lnTo>
                  <a:lnTo>
                    <a:pt x="1098" y="498"/>
                  </a:lnTo>
                  <a:lnTo>
                    <a:pt x="1104" y="486"/>
                  </a:lnTo>
                  <a:lnTo>
                    <a:pt x="1110" y="468"/>
                  </a:lnTo>
                  <a:lnTo>
                    <a:pt x="1116" y="456"/>
                  </a:lnTo>
                  <a:lnTo>
                    <a:pt x="1122" y="450"/>
                  </a:lnTo>
                  <a:lnTo>
                    <a:pt x="1122" y="438"/>
                  </a:lnTo>
                  <a:lnTo>
                    <a:pt x="1128" y="432"/>
                  </a:lnTo>
                  <a:lnTo>
                    <a:pt x="1128" y="414"/>
                  </a:lnTo>
                  <a:lnTo>
                    <a:pt x="1134" y="396"/>
                  </a:lnTo>
                  <a:lnTo>
                    <a:pt x="1128" y="384"/>
                  </a:lnTo>
                  <a:lnTo>
                    <a:pt x="1116" y="372"/>
                  </a:lnTo>
                  <a:close/>
                  <a:moveTo>
                    <a:pt x="870" y="624"/>
                  </a:moveTo>
                  <a:lnTo>
                    <a:pt x="858" y="630"/>
                  </a:lnTo>
                  <a:lnTo>
                    <a:pt x="852" y="636"/>
                  </a:lnTo>
                  <a:lnTo>
                    <a:pt x="840" y="642"/>
                  </a:lnTo>
                  <a:lnTo>
                    <a:pt x="822" y="642"/>
                  </a:lnTo>
                  <a:lnTo>
                    <a:pt x="810" y="648"/>
                  </a:lnTo>
                  <a:lnTo>
                    <a:pt x="804" y="654"/>
                  </a:lnTo>
                  <a:lnTo>
                    <a:pt x="798" y="666"/>
                  </a:lnTo>
                  <a:lnTo>
                    <a:pt x="792" y="672"/>
                  </a:lnTo>
                  <a:lnTo>
                    <a:pt x="792" y="684"/>
                  </a:lnTo>
                  <a:lnTo>
                    <a:pt x="774" y="684"/>
                  </a:lnTo>
                  <a:lnTo>
                    <a:pt x="744" y="654"/>
                  </a:lnTo>
                  <a:lnTo>
                    <a:pt x="744" y="636"/>
                  </a:lnTo>
                  <a:lnTo>
                    <a:pt x="720" y="600"/>
                  </a:lnTo>
                  <a:lnTo>
                    <a:pt x="744" y="600"/>
                  </a:lnTo>
                  <a:lnTo>
                    <a:pt x="750" y="582"/>
                  </a:lnTo>
                  <a:lnTo>
                    <a:pt x="768" y="564"/>
                  </a:lnTo>
                  <a:lnTo>
                    <a:pt x="768" y="546"/>
                  </a:lnTo>
                  <a:lnTo>
                    <a:pt x="774" y="540"/>
                  </a:lnTo>
                  <a:lnTo>
                    <a:pt x="798" y="540"/>
                  </a:lnTo>
                  <a:lnTo>
                    <a:pt x="798" y="528"/>
                  </a:lnTo>
                  <a:lnTo>
                    <a:pt x="810" y="522"/>
                  </a:lnTo>
                  <a:lnTo>
                    <a:pt x="846" y="522"/>
                  </a:lnTo>
                  <a:lnTo>
                    <a:pt x="852" y="528"/>
                  </a:lnTo>
                  <a:lnTo>
                    <a:pt x="858" y="540"/>
                  </a:lnTo>
                  <a:lnTo>
                    <a:pt x="864" y="546"/>
                  </a:lnTo>
                  <a:lnTo>
                    <a:pt x="870" y="558"/>
                  </a:lnTo>
                  <a:lnTo>
                    <a:pt x="882" y="564"/>
                  </a:lnTo>
                  <a:lnTo>
                    <a:pt x="888" y="588"/>
                  </a:lnTo>
                  <a:lnTo>
                    <a:pt x="864" y="606"/>
                  </a:lnTo>
                  <a:lnTo>
                    <a:pt x="870" y="624"/>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57" name="Sudan">
              <a:extLst>
                <a:ext uri="{FF2B5EF4-FFF2-40B4-BE49-F238E27FC236}">
                  <a16:creationId xmlns:a16="http://schemas.microsoft.com/office/drawing/2014/main" id="{75983542-B3FD-4A52-ABFB-C6D58565FF43}"/>
                </a:ext>
              </a:extLst>
            </p:cNvPr>
            <p:cNvSpPr>
              <a:spLocks/>
            </p:cNvSpPr>
            <p:nvPr/>
          </p:nvSpPr>
          <p:spPr bwMode="gray">
            <a:xfrm>
              <a:off x="4738163" y="3510170"/>
              <a:ext cx="473133" cy="465669"/>
            </a:xfrm>
            <a:custGeom>
              <a:avLst/>
              <a:gdLst/>
              <a:ahLst/>
              <a:cxnLst>
                <a:cxn ang="0">
                  <a:pos x="442" y="199"/>
                </a:cxn>
                <a:cxn ang="0">
                  <a:pos x="446" y="187"/>
                </a:cxn>
                <a:cxn ang="0">
                  <a:pos x="475" y="170"/>
                </a:cxn>
                <a:cxn ang="0">
                  <a:pos x="458" y="149"/>
                </a:cxn>
                <a:cxn ang="0">
                  <a:pos x="439" y="137"/>
                </a:cxn>
                <a:cxn ang="0">
                  <a:pos x="434" y="114"/>
                </a:cxn>
                <a:cxn ang="0">
                  <a:pos x="430" y="90"/>
                </a:cxn>
                <a:cxn ang="0">
                  <a:pos x="423" y="55"/>
                </a:cxn>
                <a:cxn ang="0">
                  <a:pos x="413" y="29"/>
                </a:cxn>
                <a:cxn ang="0">
                  <a:pos x="387" y="0"/>
                </a:cxn>
                <a:cxn ang="0">
                  <a:pos x="361" y="26"/>
                </a:cxn>
                <a:cxn ang="0">
                  <a:pos x="345" y="31"/>
                </a:cxn>
                <a:cxn ang="0">
                  <a:pos x="326" y="47"/>
                </a:cxn>
                <a:cxn ang="0">
                  <a:pos x="269" y="36"/>
                </a:cxn>
                <a:cxn ang="0">
                  <a:pos x="87" y="36"/>
                </a:cxn>
                <a:cxn ang="0">
                  <a:pos x="54" y="241"/>
                </a:cxn>
                <a:cxn ang="0">
                  <a:pos x="30" y="246"/>
                </a:cxn>
                <a:cxn ang="0">
                  <a:pos x="30" y="258"/>
                </a:cxn>
                <a:cxn ang="0">
                  <a:pos x="16" y="272"/>
                </a:cxn>
                <a:cxn ang="0">
                  <a:pos x="7" y="300"/>
                </a:cxn>
                <a:cxn ang="0">
                  <a:pos x="9" y="322"/>
                </a:cxn>
                <a:cxn ang="0">
                  <a:pos x="4" y="338"/>
                </a:cxn>
                <a:cxn ang="0">
                  <a:pos x="19" y="338"/>
                </a:cxn>
                <a:cxn ang="0">
                  <a:pos x="21" y="373"/>
                </a:cxn>
                <a:cxn ang="0">
                  <a:pos x="35" y="385"/>
                </a:cxn>
                <a:cxn ang="0">
                  <a:pos x="42" y="409"/>
                </a:cxn>
                <a:cxn ang="0">
                  <a:pos x="54" y="430"/>
                </a:cxn>
                <a:cxn ang="0">
                  <a:pos x="47" y="451"/>
                </a:cxn>
                <a:cxn ang="0">
                  <a:pos x="49" y="463"/>
                </a:cxn>
                <a:cxn ang="0">
                  <a:pos x="73" y="456"/>
                </a:cxn>
                <a:cxn ang="0">
                  <a:pos x="78" y="447"/>
                </a:cxn>
                <a:cxn ang="0">
                  <a:pos x="89" y="418"/>
                </a:cxn>
                <a:cxn ang="0">
                  <a:pos x="115" y="416"/>
                </a:cxn>
                <a:cxn ang="0">
                  <a:pos x="125" y="430"/>
                </a:cxn>
                <a:cxn ang="0">
                  <a:pos x="170" y="433"/>
                </a:cxn>
                <a:cxn ang="0">
                  <a:pos x="196" y="442"/>
                </a:cxn>
                <a:cxn ang="0">
                  <a:pos x="234" y="411"/>
                </a:cxn>
                <a:cxn ang="0">
                  <a:pos x="290" y="409"/>
                </a:cxn>
                <a:cxn ang="0">
                  <a:pos x="307" y="364"/>
                </a:cxn>
                <a:cxn ang="0">
                  <a:pos x="331" y="347"/>
                </a:cxn>
                <a:cxn ang="0">
                  <a:pos x="328" y="378"/>
                </a:cxn>
                <a:cxn ang="0">
                  <a:pos x="335" y="399"/>
                </a:cxn>
                <a:cxn ang="0">
                  <a:pos x="357" y="423"/>
                </a:cxn>
                <a:cxn ang="0">
                  <a:pos x="359" y="409"/>
                </a:cxn>
                <a:cxn ang="0">
                  <a:pos x="368" y="399"/>
                </a:cxn>
                <a:cxn ang="0">
                  <a:pos x="380" y="385"/>
                </a:cxn>
                <a:cxn ang="0">
                  <a:pos x="382" y="364"/>
                </a:cxn>
                <a:cxn ang="0">
                  <a:pos x="392" y="343"/>
                </a:cxn>
                <a:cxn ang="0">
                  <a:pos x="411" y="333"/>
                </a:cxn>
                <a:cxn ang="0">
                  <a:pos x="418" y="303"/>
                </a:cxn>
                <a:cxn ang="0">
                  <a:pos x="416" y="262"/>
                </a:cxn>
                <a:cxn ang="0">
                  <a:pos x="423" y="239"/>
                </a:cxn>
                <a:cxn ang="0">
                  <a:pos x="430" y="215"/>
                </a:cxn>
              </a:cxnLst>
              <a:rect l="0" t="0" r="r" b="b"/>
              <a:pathLst>
                <a:path w="475" h="466">
                  <a:moveTo>
                    <a:pt x="432" y="208"/>
                  </a:moveTo>
                  <a:lnTo>
                    <a:pt x="434" y="206"/>
                  </a:lnTo>
                  <a:lnTo>
                    <a:pt x="434" y="199"/>
                  </a:lnTo>
                  <a:lnTo>
                    <a:pt x="442" y="199"/>
                  </a:lnTo>
                  <a:lnTo>
                    <a:pt x="444" y="196"/>
                  </a:lnTo>
                  <a:lnTo>
                    <a:pt x="444" y="194"/>
                  </a:lnTo>
                  <a:lnTo>
                    <a:pt x="446" y="192"/>
                  </a:lnTo>
                  <a:lnTo>
                    <a:pt x="446" y="187"/>
                  </a:lnTo>
                  <a:lnTo>
                    <a:pt x="451" y="187"/>
                  </a:lnTo>
                  <a:lnTo>
                    <a:pt x="460" y="184"/>
                  </a:lnTo>
                  <a:lnTo>
                    <a:pt x="470" y="180"/>
                  </a:lnTo>
                  <a:lnTo>
                    <a:pt x="475" y="170"/>
                  </a:lnTo>
                  <a:lnTo>
                    <a:pt x="475" y="166"/>
                  </a:lnTo>
                  <a:lnTo>
                    <a:pt x="460" y="154"/>
                  </a:lnTo>
                  <a:lnTo>
                    <a:pt x="460" y="151"/>
                  </a:lnTo>
                  <a:lnTo>
                    <a:pt x="458" y="149"/>
                  </a:lnTo>
                  <a:lnTo>
                    <a:pt x="458" y="144"/>
                  </a:lnTo>
                  <a:lnTo>
                    <a:pt x="453" y="142"/>
                  </a:lnTo>
                  <a:lnTo>
                    <a:pt x="444" y="142"/>
                  </a:lnTo>
                  <a:lnTo>
                    <a:pt x="439" y="137"/>
                  </a:lnTo>
                  <a:lnTo>
                    <a:pt x="439" y="132"/>
                  </a:lnTo>
                  <a:lnTo>
                    <a:pt x="437" y="125"/>
                  </a:lnTo>
                  <a:lnTo>
                    <a:pt x="437" y="118"/>
                  </a:lnTo>
                  <a:lnTo>
                    <a:pt x="434" y="114"/>
                  </a:lnTo>
                  <a:lnTo>
                    <a:pt x="434" y="107"/>
                  </a:lnTo>
                  <a:lnTo>
                    <a:pt x="432" y="107"/>
                  </a:lnTo>
                  <a:lnTo>
                    <a:pt x="432" y="97"/>
                  </a:lnTo>
                  <a:lnTo>
                    <a:pt x="430" y="90"/>
                  </a:lnTo>
                  <a:lnTo>
                    <a:pt x="430" y="73"/>
                  </a:lnTo>
                  <a:lnTo>
                    <a:pt x="427" y="69"/>
                  </a:lnTo>
                  <a:lnTo>
                    <a:pt x="434" y="66"/>
                  </a:lnTo>
                  <a:lnTo>
                    <a:pt x="423" y="55"/>
                  </a:lnTo>
                  <a:lnTo>
                    <a:pt x="423" y="38"/>
                  </a:lnTo>
                  <a:lnTo>
                    <a:pt x="420" y="33"/>
                  </a:lnTo>
                  <a:lnTo>
                    <a:pt x="418" y="31"/>
                  </a:lnTo>
                  <a:lnTo>
                    <a:pt x="413" y="29"/>
                  </a:lnTo>
                  <a:lnTo>
                    <a:pt x="401" y="17"/>
                  </a:lnTo>
                  <a:lnTo>
                    <a:pt x="397" y="17"/>
                  </a:lnTo>
                  <a:lnTo>
                    <a:pt x="390" y="10"/>
                  </a:lnTo>
                  <a:lnTo>
                    <a:pt x="387" y="0"/>
                  </a:lnTo>
                  <a:lnTo>
                    <a:pt x="378" y="12"/>
                  </a:lnTo>
                  <a:lnTo>
                    <a:pt x="364" y="12"/>
                  </a:lnTo>
                  <a:lnTo>
                    <a:pt x="364" y="21"/>
                  </a:lnTo>
                  <a:lnTo>
                    <a:pt x="361" y="26"/>
                  </a:lnTo>
                  <a:lnTo>
                    <a:pt x="359" y="29"/>
                  </a:lnTo>
                  <a:lnTo>
                    <a:pt x="352" y="29"/>
                  </a:lnTo>
                  <a:lnTo>
                    <a:pt x="349" y="31"/>
                  </a:lnTo>
                  <a:lnTo>
                    <a:pt x="345" y="31"/>
                  </a:lnTo>
                  <a:lnTo>
                    <a:pt x="340" y="36"/>
                  </a:lnTo>
                  <a:lnTo>
                    <a:pt x="335" y="45"/>
                  </a:lnTo>
                  <a:lnTo>
                    <a:pt x="333" y="47"/>
                  </a:lnTo>
                  <a:lnTo>
                    <a:pt x="326" y="47"/>
                  </a:lnTo>
                  <a:lnTo>
                    <a:pt x="323" y="45"/>
                  </a:lnTo>
                  <a:lnTo>
                    <a:pt x="321" y="40"/>
                  </a:lnTo>
                  <a:lnTo>
                    <a:pt x="319" y="38"/>
                  </a:lnTo>
                  <a:lnTo>
                    <a:pt x="269" y="36"/>
                  </a:lnTo>
                  <a:lnTo>
                    <a:pt x="269" y="31"/>
                  </a:lnTo>
                  <a:lnTo>
                    <a:pt x="267" y="31"/>
                  </a:lnTo>
                  <a:lnTo>
                    <a:pt x="260" y="38"/>
                  </a:lnTo>
                  <a:lnTo>
                    <a:pt x="87" y="36"/>
                  </a:lnTo>
                  <a:lnTo>
                    <a:pt x="87" y="99"/>
                  </a:lnTo>
                  <a:lnTo>
                    <a:pt x="56" y="99"/>
                  </a:lnTo>
                  <a:lnTo>
                    <a:pt x="59" y="241"/>
                  </a:lnTo>
                  <a:lnTo>
                    <a:pt x="54" y="241"/>
                  </a:lnTo>
                  <a:lnTo>
                    <a:pt x="49" y="239"/>
                  </a:lnTo>
                  <a:lnTo>
                    <a:pt x="33" y="239"/>
                  </a:lnTo>
                  <a:lnTo>
                    <a:pt x="28" y="244"/>
                  </a:lnTo>
                  <a:lnTo>
                    <a:pt x="30" y="246"/>
                  </a:lnTo>
                  <a:lnTo>
                    <a:pt x="30" y="251"/>
                  </a:lnTo>
                  <a:lnTo>
                    <a:pt x="33" y="253"/>
                  </a:lnTo>
                  <a:lnTo>
                    <a:pt x="33" y="255"/>
                  </a:lnTo>
                  <a:lnTo>
                    <a:pt x="30" y="258"/>
                  </a:lnTo>
                  <a:lnTo>
                    <a:pt x="26" y="260"/>
                  </a:lnTo>
                  <a:lnTo>
                    <a:pt x="21" y="265"/>
                  </a:lnTo>
                  <a:lnTo>
                    <a:pt x="21" y="272"/>
                  </a:lnTo>
                  <a:lnTo>
                    <a:pt x="16" y="272"/>
                  </a:lnTo>
                  <a:lnTo>
                    <a:pt x="19" y="281"/>
                  </a:lnTo>
                  <a:lnTo>
                    <a:pt x="21" y="288"/>
                  </a:lnTo>
                  <a:lnTo>
                    <a:pt x="14" y="293"/>
                  </a:lnTo>
                  <a:lnTo>
                    <a:pt x="7" y="300"/>
                  </a:lnTo>
                  <a:lnTo>
                    <a:pt x="9" y="303"/>
                  </a:lnTo>
                  <a:lnTo>
                    <a:pt x="14" y="312"/>
                  </a:lnTo>
                  <a:lnTo>
                    <a:pt x="14" y="317"/>
                  </a:lnTo>
                  <a:lnTo>
                    <a:pt x="9" y="322"/>
                  </a:lnTo>
                  <a:lnTo>
                    <a:pt x="4" y="324"/>
                  </a:lnTo>
                  <a:lnTo>
                    <a:pt x="0" y="329"/>
                  </a:lnTo>
                  <a:lnTo>
                    <a:pt x="0" y="336"/>
                  </a:lnTo>
                  <a:lnTo>
                    <a:pt x="4" y="338"/>
                  </a:lnTo>
                  <a:lnTo>
                    <a:pt x="9" y="338"/>
                  </a:lnTo>
                  <a:lnTo>
                    <a:pt x="12" y="336"/>
                  </a:lnTo>
                  <a:lnTo>
                    <a:pt x="16" y="336"/>
                  </a:lnTo>
                  <a:lnTo>
                    <a:pt x="19" y="338"/>
                  </a:lnTo>
                  <a:lnTo>
                    <a:pt x="19" y="355"/>
                  </a:lnTo>
                  <a:lnTo>
                    <a:pt x="26" y="362"/>
                  </a:lnTo>
                  <a:lnTo>
                    <a:pt x="19" y="364"/>
                  </a:lnTo>
                  <a:lnTo>
                    <a:pt x="21" y="373"/>
                  </a:lnTo>
                  <a:lnTo>
                    <a:pt x="23" y="373"/>
                  </a:lnTo>
                  <a:lnTo>
                    <a:pt x="28" y="376"/>
                  </a:lnTo>
                  <a:lnTo>
                    <a:pt x="33" y="383"/>
                  </a:lnTo>
                  <a:lnTo>
                    <a:pt x="35" y="385"/>
                  </a:lnTo>
                  <a:lnTo>
                    <a:pt x="35" y="388"/>
                  </a:lnTo>
                  <a:lnTo>
                    <a:pt x="30" y="388"/>
                  </a:lnTo>
                  <a:lnTo>
                    <a:pt x="30" y="397"/>
                  </a:lnTo>
                  <a:lnTo>
                    <a:pt x="42" y="409"/>
                  </a:lnTo>
                  <a:lnTo>
                    <a:pt x="45" y="414"/>
                  </a:lnTo>
                  <a:lnTo>
                    <a:pt x="49" y="418"/>
                  </a:lnTo>
                  <a:lnTo>
                    <a:pt x="52" y="425"/>
                  </a:lnTo>
                  <a:lnTo>
                    <a:pt x="54" y="430"/>
                  </a:lnTo>
                  <a:lnTo>
                    <a:pt x="54" y="442"/>
                  </a:lnTo>
                  <a:lnTo>
                    <a:pt x="52" y="444"/>
                  </a:lnTo>
                  <a:lnTo>
                    <a:pt x="49" y="449"/>
                  </a:lnTo>
                  <a:lnTo>
                    <a:pt x="47" y="451"/>
                  </a:lnTo>
                  <a:lnTo>
                    <a:pt x="47" y="454"/>
                  </a:lnTo>
                  <a:lnTo>
                    <a:pt x="49" y="456"/>
                  </a:lnTo>
                  <a:lnTo>
                    <a:pt x="52" y="456"/>
                  </a:lnTo>
                  <a:lnTo>
                    <a:pt x="49" y="463"/>
                  </a:lnTo>
                  <a:lnTo>
                    <a:pt x="66" y="466"/>
                  </a:lnTo>
                  <a:lnTo>
                    <a:pt x="66" y="461"/>
                  </a:lnTo>
                  <a:lnTo>
                    <a:pt x="68" y="459"/>
                  </a:lnTo>
                  <a:lnTo>
                    <a:pt x="73" y="456"/>
                  </a:lnTo>
                  <a:lnTo>
                    <a:pt x="73" y="456"/>
                  </a:lnTo>
                  <a:lnTo>
                    <a:pt x="73" y="454"/>
                  </a:lnTo>
                  <a:lnTo>
                    <a:pt x="73" y="451"/>
                  </a:lnTo>
                  <a:lnTo>
                    <a:pt x="78" y="447"/>
                  </a:lnTo>
                  <a:lnTo>
                    <a:pt x="78" y="437"/>
                  </a:lnTo>
                  <a:lnTo>
                    <a:pt x="82" y="437"/>
                  </a:lnTo>
                  <a:lnTo>
                    <a:pt x="82" y="428"/>
                  </a:lnTo>
                  <a:lnTo>
                    <a:pt x="89" y="418"/>
                  </a:lnTo>
                  <a:lnTo>
                    <a:pt x="92" y="411"/>
                  </a:lnTo>
                  <a:lnTo>
                    <a:pt x="101" y="409"/>
                  </a:lnTo>
                  <a:lnTo>
                    <a:pt x="113" y="407"/>
                  </a:lnTo>
                  <a:lnTo>
                    <a:pt x="115" y="416"/>
                  </a:lnTo>
                  <a:lnTo>
                    <a:pt x="118" y="418"/>
                  </a:lnTo>
                  <a:lnTo>
                    <a:pt x="123" y="421"/>
                  </a:lnTo>
                  <a:lnTo>
                    <a:pt x="123" y="423"/>
                  </a:lnTo>
                  <a:lnTo>
                    <a:pt x="125" y="430"/>
                  </a:lnTo>
                  <a:lnTo>
                    <a:pt x="127" y="433"/>
                  </a:lnTo>
                  <a:lnTo>
                    <a:pt x="137" y="440"/>
                  </a:lnTo>
                  <a:lnTo>
                    <a:pt x="146" y="435"/>
                  </a:lnTo>
                  <a:lnTo>
                    <a:pt x="170" y="433"/>
                  </a:lnTo>
                  <a:lnTo>
                    <a:pt x="175" y="435"/>
                  </a:lnTo>
                  <a:lnTo>
                    <a:pt x="177" y="442"/>
                  </a:lnTo>
                  <a:lnTo>
                    <a:pt x="177" y="442"/>
                  </a:lnTo>
                  <a:lnTo>
                    <a:pt x="196" y="442"/>
                  </a:lnTo>
                  <a:lnTo>
                    <a:pt x="205" y="430"/>
                  </a:lnTo>
                  <a:lnTo>
                    <a:pt x="219" y="430"/>
                  </a:lnTo>
                  <a:lnTo>
                    <a:pt x="222" y="418"/>
                  </a:lnTo>
                  <a:lnTo>
                    <a:pt x="234" y="411"/>
                  </a:lnTo>
                  <a:lnTo>
                    <a:pt x="250" y="421"/>
                  </a:lnTo>
                  <a:lnTo>
                    <a:pt x="260" y="430"/>
                  </a:lnTo>
                  <a:lnTo>
                    <a:pt x="274" y="430"/>
                  </a:lnTo>
                  <a:lnTo>
                    <a:pt x="290" y="409"/>
                  </a:lnTo>
                  <a:lnTo>
                    <a:pt x="295" y="397"/>
                  </a:lnTo>
                  <a:lnTo>
                    <a:pt x="309" y="388"/>
                  </a:lnTo>
                  <a:lnTo>
                    <a:pt x="307" y="381"/>
                  </a:lnTo>
                  <a:lnTo>
                    <a:pt x="307" y="364"/>
                  </a:lnTo>
                  <a:lnTo>
                    <a:pt x="300" y="357"/>
                  </a:lnTo>
                  <a:lnTo>
                    <a:pt x="319" y="357"/>
                  </a:lnTo>
                  <a:lnTo>
                    <a:pt x="319" y="350"/>
                  </a:lnTo>
                  <a:lnTo>
                    <a:pt x="331" y="347"/>
                  </a:lnTo>
                  <a:lnTo>
                    <a:pt x="328" y="357"/>
                  </a:lnTo>
                  <a:lnTo>
                    <a:pt x="328" y="366"/>
                  </a:lnTo>
                  <a:lnTo>
                    <a:pt x="326" y="369"/>
                  </a:lnTo>
                  <a:lnTo>
                    <a:pt x="328" y="378"/>
                  </a:lnTo>
                  <a:lnTo>
                    <a:pt x="331" y="385"/>
                  </a:lnTo>
                  <a:lnTo>
                    <a:pt x="331" y="390"/>
                  </a:lnTo>
                  <a:lnTo>
                    <a:pt x="328" y="395"/>
                  </a:lnTo>
                  <a:lnTo>
                    <a:pt x="335" y="399"/>
                  </a:lnTo>
                  <a:lnTo>
                    <a:pt x="345" y="407"/>
                  </a:lnTo>
                  <a:lnTo>
                    <a:pt x="352" y="414"/>
                  </a:lnTo>
                  <a:lnTo>
                    <a:pt x="354" y="418"/>
                  </a:lnTo>
                  <a:lnTo>
                    <a:pt x="357" y="423"/>
                  </a:lnTo>
                  <a:lnTo>
                    <a:pt x="359" y="423"/>
                  </a:lnTo>
                  <a:lnTo>
                    <a:pt x="361" y="421"/>
                  </a:lnTo>
                  <a:lnTo>
                    <a:pt x="361" y="414"/>
                  </a:lnTo>
                  <a:lnTo>
                    <a:pt x="359" y="409"/>
                  </a:lnTo>
                  <a:lnTo>
                    <a:pt x="359" y="402"/>
                  </a:lnTo>
                  <a:lnTo>
                    <a:pt x="366" y="395"/>
                  </a:lnTo>
                  <a:lnTo>
                    <a:pt x="368" y="395"/>
                  </a:lnTo>
                  <a:lnTo>
                    <a:pt x="368" y="399"/>
                  </a:lnTo>
                  <a:lnTo>
                    <a:pt x="371" y="402"/>
                  </a:lnTo>
                  <a:lnTo>
                    <a:pt x="378" y="402"/>
                  </a:lnTo>
                  <a:lnTo>
                    <a:pt x="380" y="399"/>
                  </a:lnTo>
                  <a:lnTo>
                    <a:pt x="380" y="385"/>
                  </a:lnTo>
                  <a:lnTo>
                    <a:pt x="378" y="383"/>
                  </a:lnTo>
                  <a:lnTo>
                    <a:pt x="378" y="381"/>
                  </a:lnTo>
                  <a:lnTo>
                    <a:pt x="382" y="373"/>
                  </a:lnTo>
                  <a:lnTo>
                    <a:pt x="382" y="364"/>
                  </a:lnTo>
                  <a:lnTo>
                    <a:pt x="385" y="362"/>
                  </a:lnTo>
                  <a:lnTo>
                    <a:pt x="390" y="362"/>
                  </a:lnTo>
                  <a:lnTo>
                    <a:pt x="392" y="357"/>
                  </a:lnTo>
                  <a:lnTo>
                    <a:pt x="392" y="343"/>
                  </a:lnTo>
                  <a:lnTo>
                    <a:pt x="394" y="340"/>
                  </a:lnTo>
                  <a:lnTo>
                    <a:pt x="397" y="336"/>
                  </a:lnTo>
                  <a:lnTo>
                    <a:pt x="399" y="333"/>
                  </a:lnTo>
                  <a:lnTo>
                    <a:pt x="411" y="333"/>
                  </a:lnTo>
                  <a:lnTo>
                    <a:pt x="411" y="314"/>
                  </a:lnTo>
                  <a:lnTo>
                    <a:pt x="413" y="310"/>
                  </a:lnTo>
                  <a:lnTo>
                    <a:pt x="416" y="307"/>
                  </a:lnTo>
                  <a:lnTo>
                    <a:pt x="418" y="303"/>
                  </a:lnTo>
                  <a:lnTo>
                    <a:pt x="420" y="300"/>
                  </a:lnTo>
                  <a:lnTo>
                    <a:pt x="420" y="284"/>
                  </a:lnTo>
                  <a:lnTo>
                    <a:pt x="418" y="265"/>
                  </a:lnTo>
                  <a:lnTo>
                    <a:pt x="416" y="262"/>
                  </a:lnTo>
                  <a:lnTo>
                    <a:pt x="416" y="255"/>
                  </a:lnTo>
                  <a:lnTo>
                    <a:pt x="420" y="253"/>
                  </a:lnTo>
                  <a:lnTo>
                    <a:pt x="423" y="253"/>
                  </a:lnTo>
                  <a:lnTo>
                    <a:pt x="423" y="239"/>
                  </a:lnTo>
                  <a:lnTo>
                    <a:pt x="425" y="239"/>
                  </a:lnTo>
                  <a:lnTo>
                    <a:pt x="427" y="236"/>
                  </a:lnTo>
                  <a:lnTo>
                    <a:pt x="430" y="232"/>
                  </a:lnTo>
                  <a:lnTo>
                    <a:pt x="430" y="215"/>
                  </a:lnTo>
                  <a:lnTo>
                    <a:pt x="427" y="213"/>
                  </a:lnTo>
                  <a:lnTo>
                    <a:pt x="427" y="208"/>
                  </a:lnTo>
                  <a:lnTo>
                    <a:pt x="432" y="208"/>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58" name="Sri Lanka" descr="© INSCALE GmbH, 05.05.2010&#10;http://www.presentationload.com/">
              <a:extLst>
                <a:ext uri="{FF2B5EF4-FFF2-40B4-BE49-F238E27FC236}">
                  <a16:creationId xmlns:a16="http://schemas.microsoft.com/office/drawing/2014/main" id="{5FAFDE62-E585-4056-8220-8951E51482B8}"/>
                </a:ext>
              </a:extLst>
            </p:cNvPr>
            <p:cNvSpPr>
              <a:spLocks/>
            </p:cNvSpPr>
            <p:nvPr/>
          </p:nvSpPr>
          <p:spPr bwMode="gray">
            <a:xfrm>
              <a:off x="6377904" y="3945297"/>
              <a:ext cx="67424" cy="120738"/>
            </a:xfrm>
            <a:custGeom>
              <a:avLst/>
              <a:gdLst>
                <a:gd name="T0" fmla="*/ 2147483647 w 174"/>
                <a:gd name="T1" fmla="*/ 2147483647 h 306"/>
                <a:gd name="T2" fmla="*/ 2147483647 w 174"/>
                <a:gd name="T3" fmla="*/ 0 h 306"/>
                <a:gd name="T4" fmla="*/ 2147483647 w 174"/>
                <a:gd name="T5" fmla="*/ 0 h 306"/>
                <a:gd name="T6" fmla="*/ 2147483647 w 174"/>
                <a:gd name="T7" fmla="*/ 2147483647 h 306"/>
                <a:gd name="T8" fmla="*/ 2147483647 w 174"/>
                <a:gd name="T9" fmla="*/ 2147483647 h 306"/>
                <a:gd name="T10" fmla="*/ 2147483647 w 174"/>
                <a:gd name="T11" fmla="*/ 2147483647 h 306"/>
                <a:gd name="T12" fmla="*/ 2147483647 w 174"/>
                <a:gd name="T13" fmla="*/ 2147483647 h 306"/>
                <a:gd name="T14" fmla="*/ 2147483647 w 174"/>
                <a:gd name="T15" fmla="*/ 2147483647 h 306"/>
                <a:gd name="T16" fmla="*/ 2147483647 w 174"/>
                <a:gd name="T17" fmla="*/ 2147483647 h 306"/>
                <a:gd name="T18" fmla="*/ 2147483647 w 174"/>
                <a:gd name="T19" fmla="*/ 2147483647 h 306"/>
                <a:gd name="T20" fmla="*/ 2147483647 w 174"/>
                <a:gd name="T21" fmla="*/ 2147483647 h 306"/>
                <a:gd name="T22" fmla="*/ 2147483647 w 174"/>
                <a:gd name="T23" fmla="*/ 2147483647 h 306"/>
                <a:gd name="T24" fmla="*/ 2147483647 w 174"/>
                <a:gd name="T25" fmla="*/ 2147483647 h 306"/>
                <a:gd name="T26" fmla="*/ 2147483647 w 174"/>
                <a:gd name="T27" fmla="*/ 2147483647 h 306"/>
                <a:gd name="T28" fmla="*/ 2147483647 w 174"/>
                <a:gd name="T29" fmla="*/ 2147483647 h 306"/>
                <a:gd name="T30" fmla="*/ 2147483647 w 174"/>
                <a:gd name="T31" fmla="*/ 2147483647 h 306"/>
                <a:gd name="T32" fmla="*/ 2147483647 w 174"/>
                <a:gd name="T33" fmla="*/ 2147483647 h 306"/>
                <a:gd name="T34" fmla="*/ 2147483647 w 174"/>
                <a:gd name="T35" fmla="*/ 2147483647 h 306"/>
                <a:gd name="T36" fmla="*/ 2147483647 w 174"/>
                <a:gd name="T37" fmla="*/ 2147483647 h 306"/>
                <a:gd name="T38" fmla="*/ 2147483647 w 174"/>
                <a:gd name="T39" fmla="*/ 2147483647 h 306"/>
                <a:gd name="T40" fmla="*/ 0 w 174"/>
                <a:gd name="T41" fmla="*/ 2147483647 h 306"/>
                <a:gd name="T42" fmla="*/ 0 w 174"/>
                <a:gd name="T43" fmla="*/ 2147483647 h 306"/>
                <a:gd name="T44" fmla="*/ 2147483647 w 174"/>
                <a:gd name="T45" fmla="*/ 2147483647 h 306"/>
                <a:gd name="T46" fmla="*/ 2147483647 w 174"/>
                <a:gd name="T47" fmla="*/ 2147483647 h 306"/>
                <a:gd name="T48" fmla="*/ 2147483647 w 174"/>
                <a:gd name="T49" fmla="*/ 2147483647 h 306"/>
                <a:gd name="T50" fmla="*/ 2147483647 w 174"/>
                <a:gd name="T51" fmla="*/ 2147483647 h 306"/>
                <a:gd name="T52" fmla="*/ 2147483647 w 174"/>
                <a:gd name="T53" fmla="*/ 2147483647 h 306"/>
                <a:gd name="T54" fmla="*/ 0 w 174"/>
                <a:gd name="T55" fmla="*/ 2147483647 h 306"/>
                <a:gd name="T56" fmla="*/ 2147483647 w 174"/>
                <a:gd name="T57" fmla="*/ 2147483647 h 306"/>
                <a:gd name="T58" fmla="*/ 2147483647 w 174"/>
                <a:gd name="T59" fmla="*/ 2147483647 h 3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306"/>
                <a:gd name="T92" fmla="*/ 174 w 174"/>
                <a:gd name="T93" fmla="*/ 306 h 3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306">
                  <a:moveTo>
                    <a:pt x="24" y="6"/>
                  </a:moveTo>
                  <a:lnTo>
                    <a:pt x="36" y="0"/>
                  </a:lnTo>
                  <a:lnTo>
                    <a:pt x="48" y="0"/>
                  </a:lnTo>
                  <a:lnTo>
                    <a:pt x="66" y="6"/>
                  </a:lnTo>
                  <a:lnTo>
                    <a:pt x="78" y="12"/>
                  </a:lnTo>
                  <a:lnTo>
                    <a:pt x="114" y="66"/>
                  </a:lnTo>
                  <a:lnTo>
                    <a:pt x="132" y="84"/>
                  </a:lnTo>
                  <a:lnTo>
                    <a:pt x="126" y="120"/>
                  </a:lnTo>
                  <a:lnTo>
                    <a:pt x="150" y="114"/>
                  </a:lnTo>
                  <a:lnTo>
                    <a:pt x="156" y="168"/>
                  </a:lnTo>
                  <a:lnTo>
                    <a:pt x="162" y="174"/>
                  </a:lnTo>
                  <a:lnTo>
                    <a:pt x="168" y="198"/>
                  </a:lnTo>
                  <a:lnTo>
                    <a:pt x="174" y="228"/>
                  </a:lnTo>
                  <a:lnTo>
                    <a:pt x="174" y="258"/>
                  </a:lnTo>
                  <a:lnTo>
                    <a:pt x="156" y="276"/>
                  </a:lnTo>
                  <a:lnTo>
                    <a:pt x="120" y="294"/>
                  </a:lnTo>
                  <a:lnTo>
                    <a:pt x="84" y="306"/>
                  </a:lnTo>
                  <a:lnTo>
                    <a:pt x="48" y="306"/>
                  </a:lnTo>
                  <a:lnTo>
                    <a:pt x="24" y="282"/>
                  </a:lnTo>
                  <a:lnTo>
                    <a:pt x="12" y="240"/>
                  </a:lnTo>
                  <a:lnTo>
                    <a:pt x="0" y="192"/>
                  </a:lnTo>
                  <a:lnTo>
                    <a:pt x="0" y="156"/>
                  </a:lnTo>
                  <a:lnTo>
                    <a:pt x="12" y="138"/>
                  </a:lnTo>
                  <a:lnTo>
                    <a:pt x="18" y="132"/>
                  </a:lnTo>
                  <a:lnTo>
                    <a:pt x="24" y="120"/>
                  </a:lnTo>
                  <a:lnTo>
                    <a:pt x="30" y="102"/>
                  </a:lnTo>
                  <a:lnTo>
                    <a:pt x="30" y="78"/>
                  </a:lnTo>
                  <a:lnTo>
                    <a:pt x="0" y="36"/>
                  </a:lnTo>
                  <a:lnTo>
                    <a:pt x="24" y="36"/>
                  </a:lnTo>
                  <a:lnTo>
                    <a:pt x="24" y="6"/>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59" name="Spanien" descr="© INSCALE GmbH, 05.05.2010&#10;http://www.presentationload.com/">
              <a:extLst>
                <a:ext uri="{FF2B5EF4-FFF2-40B4-BE49-F238E27FC236}">
                  <a16:creationId xmlns:a16="http://schemas.microsoft.com/office/drawing/2014/main" id="{A82760D6-01A3-4A2D-B1FB-2CE8319E7092}"/>
                </a:ext>
              </a:extLst>
            </p:cNvPr>
            <p:cNvSpPr>
              <a:spLocks noEditPoints="1"/>
            </p:cNvSpPr>
            <p:nvPr/>
          </p:nvSpPr>
          <p:spPr bwMode="gray">
            <a:xfrm>
              <a:off x="3914539" y="2852385"/>
              <a:ext cx="348101" cy="244612"/>
            </a:xfrm>
            <a:custGeom>
              <a:avLst/>
              <a:gdLst>
                <a:gd name="T0" fmla="*/ 2147483647 w 876"/>
                <a:gd name="T1" fmla="*/ 2147483647 h 618"/>
                <a:gd name="T2" fmla="*/ 2147483647 w 876"/>
                <a:gd name="T3" fmla="*/ 2147483647 h 618"/>
                <a:gd name="T4" fmla="*/ 2147483647 w 876"/>
                <a:gd name="T5" fmla="*/ 2147483647 h 618"/>
                <a:gd name="T6" fmla="*/ 2147483647 w 876"/>
                <a:gd name="T7" fmla="*/ 2147483647 h 618"/>
                <a:gd name="T8" fmla="*/ 2147483647 w 876"/>
                <a:gd name="T9" fmla="*/ 2147483647 h 618"/>
                <a:gd name="T10" fmla="*/ 2147483647 w 876"/>
                <a:gd name="T11" fmla="*/ 2147483647 h 618"/>
                <a:gd name="T12" fmla="*/ 2147483647 w 876"/>
                <a:gd name="T13" fmla="*/ 2147483647 h 618"/>
                <a:gd name="T14" fmla="*/ 2147483647 w 876"/>
                <a:gd name="T15" fmla="*/ 2147483647 h 618"/>
                <a:gd name="T16" fmla="*/ 2147483647 w 876"/>
                <a:gd name="T17" fmla="*/ 2147483647 h 618"/>
                <a:gd name="T18" fmla="*/ 2147483647 w 876"/>
                <a:gd name="T19" fmla="*/ 2147483647 h 618"/>
                <a:gd name="T20" fmla="*/ 2147483647 w 876"/>
                <a:gd name="T21" fmla="*/ 2147483647 h 618"/>
                <a:gd name="T22" fmla="*/ 2147483647 w 876"/>
                <a:gd name="T23" fmla="*/ 2147483647 h 618"/>
                <a:gd name="T24" fmla="*/ 2147483647 w 876"/>
                <a:gd name="T25" fmla="*/ 2147483647 h 618"/>
                <a:gd name="T26" fmla="*/ 2147483647 w 876"/>
                <a:gd name="T27" fmla="*/ 2147483647 h 618"/>
                <a:gd name="T28" fmla="*/ 2147483647 w 876"/>
                <a:gd name="T29" fmla="*/ 2147483647 h 618"/>
                <a:gd name="T30" fmla="*/ 2147483647 w 876"/>
                <a:gd name="T31" fmla="*/ 2147483647 h 618"/>
                <a:gd name="T32" fmla="*/ 2147483647 w 876"/>
                <a:gd name="T33" fmla="*/ 2147483647 h 618"/>
                <a:gd name="T34" fmla="*/ 2147483647 w 876"/>
                <a:gd name="T35" fmla="*/ 2147483647 h 618"/>
                <a:gd name="T36" fmla="*/ 2147483647 w 876"/>
                <a:gd name="T37" fmla="*/ 2147483647 h 618"/>
                <a:gd name="T38" fmla="*/ 2147483647 w 876"/>
                <a:gd name="T39" fmla="*/ 2147483647 h 618"/>
                <a:gd name="T40" fmla="*/ 2147483647 w 876"/>
                <a:gd name="T41" fmla="*/ 0 h 618"/>
                <a:gd name="T42" fmla="*/ 2147483647 w 876"/>
                <a:gd name="T43" fmla="*/ 2147483647 h 618"/>
                <a:gd name="T44" fmla="*/ 0 w 876"/>
                <a:gd name="T45" fmla="*/ 2147483647 h 618"/>
                <a:gd name="T46" fmla="*/ 2147483647 w 876"/>
                <a:gd name="T47" fmla="*/ 2147483647 h 618"/>
                <a:gd name="T48" fmla="*/ 2147483647 w 876"/>
                <a:gd name="T49" fmla="*/ 2147483647 h 618"/>
                <a:gd name="T50" fmla="*/ 2147483647 w 876"/>
                <a:gd name="T51" fmla="*/ 2147483647 h 618"/>
                <a:gd name="T52" fmla="*/ 2147483647 w 876"/>
                <a:gd name="T53" fmla="*/ 2147483647 h 618"/>
                <a:gd name="T54" fmla="*/ 2147483647 w 876"/>
                <a:gd name="T55" fmla="*/ 2147483647 h 618"/>
                <a:gd name="T56" fmla="*/ 2147483647 w 876"/>
                <a:gd name="T57" fmla="*/ 2147483647 h 618"/>
                <a:gd name="T58" fmla="*/ 2147483647 w 876"/>
                <a:gd name="T59" fmla="*/ 2147483647 h 618"/>
                <a:gd name="T60" fmla="*/ 2147483647 w 876"/>
                <a:gd name="T61" fmla="*/ 2147483647 h 618"/>
                <a:gd name="T62" fmla="*/ 2147483647 w 876"/>
                <a:gd name="T63" fmla="*/ 2147483647 h 618"/>
                <a:gd name="T64" fmla="*/ 2147483647 w 876"/>
                <a:gd name="T65" fmla="*/ 2147483647 h 618"/>
                <a:gd name="T66" fmla="*/ 2147483647 w 876"/>
                <a:gd name="T67" fmla="*/ 2147483647 h 618"/>
                <a:gd name="T68" fmla="*/ 2147483647 w 876"/>
                <a:gd name="T69" fmla="*/ 2147483647 h 618"/>
                <a:gd name="T70" fmla="*/ 2147483647 w 876"/>
                <a:gd name="T71" fmla="*/ 2147483647 h 618"/>
                <a:gd name="T72" fmla="*/ 2147483647 w 876"/>
                <a:gd name="T73" fmla="*/ 2147483647 h 618"/>
                <a:gd name="T74" fmla="*/ 2147483647 w 876"/>
                <a:gd name="T75" fmla="*/ 2147483647 h 618"/>
                <a:gd name="T76" fmla="*/ 2147483647 w 876"/>
                <a:gd name="T77" fmla="*/ 2147483647 h 618"/>
                <a:gd name="T78" fmla="*/ 2147483647 w 876"/>
                <a:gd name="T79" fmla="*/ 2147483647 h 618"/>
                <a:gd name="T80" fmla="*/ 2147483647 w 876"/>
                <a:gd name="T81" fmla="*/ 2147483647 h 618"/>
                <a:gd name="T82" fmla="*/ 2147483647 w 876"/>
                <a:gd name="T83" fmla="*/ 2147483647 h 618"/>
                <a:gd name="T84" fmla="*/ 2147483647 w 876"/>
                <a:gd name="T85" fmla="*/ 2147483647 h 618"/>
                <a:gd name="T86" fmla="*/ 2147483647 w 876"/>
                <a:gd name="T87" fmla="*/ 2147483647 h 618"/>
                <a:gd name="T88" fmla="*/ 2147483647 w 876"/>
                <a:gd name="T89" fmla="*/ 2147483647 h 618"/>
                <a:gd name="T90" fmla="*/ 2147483647 w 876"/>
                <a:gd name="T91" fmla="*/ 2147483647 h 618"/>
                <a:gd name="T92" fmla="*/ 2147483647 w 876"/>
                <a:gd name="T93" fmla="*/ 2147483647 h 618"/>
                <a:gd name="T94" fmla="*/ 2147483647 w 876"/>
                <a:gd name="T95" fmla="*/ 2147483647 h 618"/>
                <a:gd name="T96" fmla="*/ 2147483647 w 876"/>
                <a:gd name="T97" fmla="*/ 2147483647 h 618"/>
                <a:gd name="T98" fmla="*/ 2147483647 w 876"/>
                <a:gd name="T99" fmla="*/ 2147483647 h 618"/>
                <a:gd name="T100" fmla="*/ 2147483647 w 876"/>
                <a:gd name="T101" fmla="*/ 2147483647 h 618"/>
                <a:gd name="T102" fmla="*/ 2147483647 w 876"/>
                <a:gd name="T103" fmla="*/ 2147483647 h 618"/>
                <a:gd name="T104" fmla="*/ 2147483647 w 876"/>
                <a:gd name="T105" fmla="*/ 2147483647 h 618"/>
                <a:gd name="T106" fmla="*/ 2147483647 w 876"/>
                <a:gd name="T107" fmla="*/ 2147483647 h 618"/>
                <a:gd name="T108" fmla="*/ 2147483647 w 876"/>
                <a:gd name="T109" fmla="*/ 2147483647 h 6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6"/>
                <a:gd name="T166" fmla="*/ 0 h 618"/>
                <a:gd name="T167" fmla="*/ 876 w 876"/>
                <a:gd name="T168" fmla="*/ 618 h 6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6" h="618">
                  <a:moveTo>
                    <a:pt x="804" y="318"/>
                  </a:moveTo>
                  <a:lnTo>
                    <a:pt x="798" y="312"/>
                  </a:lnTo>
                  <a:lnTo>
                    <a:pt x="798" y="306"/>
                  </a:lnTo>
                  <a:lnTo>
                    <a:pt x="786" y="306"/>
                  </a:lnTo>
                  <a:lnTo>
                    <a:pt x="762" y="318"/>
                  </a:lnTo>
                  <a:lnTo>
                    <a:pt x="750" y="330"/>
                  </a:lnTo>
                  <a:lnTo>
                    <a:pt x="750" y="336"/>
                  </a:lnTo>
                  <a:lnTo>
                    <a:pt x="756" y="342"/>
                  </a:lnTo>
                  <a:lnTo>
                    <a:pt x="768" y="342"/>
                  </a:lnTo>
                  <a:lnTo>
                    <a:pt x="774" y="348"/>
                  </a:lnTo>
                  <a:lnTo>
                    <a:pt x="774" y="354"/>
                  </a:lnTo>
                  <a:lnTo>
                    <a:pt x="804" y="354"/>
                  </a:lnTo>
                  <a:lnTo>
                    <a:pt x="816" y="342"/>
                  </a:lnTo>
                  <a:lnTo>
                    <a:pt x="816" y="324"/>
                  </a:lnTo>
                  <a:lnTo>
                    <a:pt x="810" y="318"/>
                  </a:lnTo>
                  <a:lnTo>
                    <a:pt x="804" y="318"/>
                  </a:lnTo>
                  <a:close/>
                  <a:moveTo>
                    <a:pt x="672" y="390"/>
                  </a:moveTo>
                  <a:lnTo>
                    <a:pt x="678" y="396"/>
                  </a:lnTo>
                  <a:lnTo>
                    <a:pt x="684" y="396"/>
                  </a:lnTo>
                  <a:lnTo>
                    <a:pt x="690" y="390"/>
                  </a:lnTo>
                  <a:lnTo>
                    <a:pt x="690" y="372"/>
                  </a:lnTo>
                  <a:lnTo>
                    <a:pt x="684" y="372"/>
                  </a:lnTo>
                  <a:lnTo>
                    <a:pt x="672" y="384"/>
                  </a:lnTo>
                  <a:lnTo>
                    <a:pt x="672" y="390"/>
                  </a:lnTo>
                  <a:close/>
                  <a:moveTo>
                    <a:pt x="840" y="300"/>
                  </a:moveTo>
                  <a:lnTo>
                    <a:pt x="840" y="306"/>
                  </a:lnTo>
                  <a:lnTo>
                    <a:pt x="852" y="318"/>
                  </a:lnTo>
                  <a:lnTo>
                    <a:pt x="870" y="318"/>
                  </a:lnTo>
                  <a:lnTo>
                    <a:pt x="876" y="312"/>
                  </a:lnTo>
                  <a:lnTo>
                    <a:pt x="864" y="300"/>
                  </a:lnTo>
                  <a:lnTo>
                    <a:pt x="852" y="300"/>
                  </a:lnTo>
                  <a:lnTo>
                    <a:pt x="846" y="294"/>
                  </a:lnTo>
                  <a:lnTo>
                    <a:pt x="840" y="300"/>
                  </a:lnTo>
                  <a:close/>
                  <a:moveTo>
                    <a:pt x="804" y="150"/>
                  </a:moveTo>
                  <a:lnTo>
                    <a:pt x="798" y="138"/>
                  </a:lnTo>
                  <a:lnTo>
                    <a:pt x="798" y="132"/>
                  </a:lnTo>
                  <a:lnTo>
                    <a:pt x="810" y="120"/>
                  </a:lnTo>
                  <a:lnTo>
                    <a:pt x="798" y="114"/>
                  </a:lnTo>
                  <a:lnTo>
                    <a:pt x="792" y="108"/>
                  </a:lnTo>
                  <a:lnTo>
                    <a:pt x="792" y="102"/>
                  </a:lnTo>
                  <a:lnTo>
                    <a:pt x="780" y="102"/>
                  </a:lnTo>
                  <a:lnTo>
                    <a:pt x="780" y="108"/>
                  </a:lnTo>
                  <a:lnTo>
                    <a:pt x="774" y="114"/>
                  </a:lnTo>
                  <a:lnTo>
                    <a:pt x="756" y="114"/>
                  </a:lnTo>
                  <a:lnTo>
                    <a:pt x="750" y="108"/>
                  </a:lnTo>
                  <a:lnTo>
                    <a:pt x="726" y="108"/>
                  </a:lnTo>
                  <a:lnTo>
                    <a:pt x="726" y="102"/>
                  </a:lnTo>
                  <a:lnTo>
                    <a:pt x="708" y="102"/>
                  </a:lnTo>
                  <a:lnTo>
                    <a:pt x="696" y="108"/>
                  </a:lnTo>
                  <a:lnTo>
                    <a:pt x="690" y="84"/>
                  </a:lnTo>
                  <a:lnTo>
                    <a:pt x="672" y="84"/>
                  </a:lnTo>
                  <a:lnTo>
                    <a:pt x="672" y="78"/>
                  </a:lnTo>
                  <a:lnTo>
                    <a:pt x="666" y="72"/>
                  </a:lnTo>
                  <a:lnTo>
                    <a:pt x="648" y="72"/>
                  </a:lnTo>
                  <a:lnTo>
                    <a:pt x="642" y="78"/>
                  </a:lnTo>
                  <a:lnTo>
                    <a:pt x="642" y="90"/>
                  </a:lnTo>
                  <a:lnTo>
                    <a:pt x="624" y="96"/>
                  </a:lnTo>
                  <a:lnTo>
                    <a:pt x="624" y="84"/>
                  </a:lnTo>
                  <a:lnTo>
                    <a:pt x="594" y="84"/>
                  </a:lnTo>
                  <a:lnTo>
                    <a:pt x="582" y="72"/>
                  </a:lnTo>
                  <a:lnTo>
                    <a:pt x="570" y="72"/>
                  </a:lnTo>
                  <a:lnTo>
                    <a:pt x="564" y="78"/>
                  </a:lnTo>
                  <a:lnTo>
                    <a:pt x="546" y="60"/>
                  </a:lnTo>
                  <a:lnTo>
                    <a:pt x="510" y="60"/>
                  </a:lnTo>
                  <a:lnTo>
                    <a:pt x="516" y="54"/>
                  </a:lnTo>
                  <a:lnTo>
                    <a:pt x="516" y="48"/>
                  </a:lnTo>
                  <a:lnTo>
                    <a:pt x="504" y="36"/>
                  </a:lnTo>
                  <a:lnTo>
                    <a:pt x="498" y="36"/>
                  </a:lnTo>
                  <a:lnTo>
                    <a:pt x="492" y="42"/>
                  </a:lnTo>
                  <a:lnTo>
                    <a:pt x="486" y="36"/>
                  </a:lnTo>
                  <a:lnTo>
                    <a:pt x="450" y="36"/>
                  </a:lnTo>
                  <a:lnTo>
                    <a:pt x="390" y="24"/>
                  </a:lnTo>
                  <a:lnTo>
                    <a:pt x="378" y="24"/>
                  </a:lnTo>
                  <a:lnTo>
                    <a:pt x="348" y="36"/>
                  </a:lnTo>
                  <a:lnTo>
                    <a:pt x="294" y="30"/>
                  </a:lnTo>
                  <a:lnTo>
                    <a:pt x="258" y="12"/>
                  </a:lnTo>
                  <a:lnTo>
                    <a:pt x="234" y="12"/>
                  </a:lnTo>
                  <a:lnTo>
                    <a:pt x="216" y="18"/>
                  </a:lnTo>
                  <a:lnTo>
                    <a:pt x="162" y="18"/>
                  </a:lnTo>
                  <a:lnTo>
                    <a:pt x="150" y="12"/>
                  </a:lnTo>
                  <a:lnTo>
                    <a:pt x="138" y="12"/>
                  </a:lnTo>
                  <a:lnTo>
                    <a:pt x="126" y="6"/>
                  </a:lnTo>
                  <a:lnTo>
                    <a:pt x="120" y="0"/>
                  </a:lnTo>
                  <a:lnTo>
                    <a:pt x="108" y="0"/>
                  </a:lnTo>
                  <a:lnTo>
                    <a:pt x="96" y="6"/>
                  </a:lnTo>
                  <a:lnTo>
                    <a:pt x="72" y="30"/>
                  </a:lnTo>
                  <a:lnTo>
                    <a:pt x="60" y="30"/>
                  </a:lnTo>
                  <a:lnTo>
                    <a:pt x="48" y="36"/>
                  </a:lnTo>
                  <a:lnTo>
                    <a:pt x="30" y="36"/>
                  </a:lnTo>
                  <a:lnTo>
                    <a:pt x="6" y="48"/>
                  </a:lnTo>
                  <a:lnTo>
                    <a:pt x="0" y="60"/>
                  </a:lnTo>
                  <a:lnTo>
                    <a:pt x="0" y="72"/>
                  </a:lnTo>
                  <a:lnTo>
                    <a:pt x="6" y="78"/>
                  </a:lnTo>
                  <a:lnTo>
                    <a:pt x="12" y="90"/>
                  </a:lnTo>
                  <a:lnTo>
                    <a:pt x="24" y="96"/>
                  </a:lnTo>
                  <a:lnTo>
                    <a:pt x="30" y="102"/>
                  </a:lnTo>
                  <a:lnTo>
                    <a:pt x="18" y="138"/>
                  </a:lnTo>
                  <a:lnTo>
                    <a:pt x="24" y="144"/>
                  </a:lnTo>
                  <a:lnTo>
                    <a:pt x="24" y="150"/>
                  </a:lnTo>
                  <a:lnTo>
                    <a:pt x="30" y="144"/>
                  </a:lnTo>
                  <a:lnTo>
                    <a:pt x="54" y="132"/>
                  </a:lnTo>
                  <a:lnTo>
                    <a:pt x="78" y="132"/>
                  </a:lnTo>
                  <a:lnTo>
                    <a:pt x="78" y="138"/>
                  </a:lnTo>
                  <a:lnTo>
                    <a:pt x="66" y="150"/>
                  </a:lnTo>
                  <a:lnTo>
                    <a:pt x="60" y="150"/>
                  </a:lnTo>
                  <a:lnTo>
                    <a:pt x="60" y="156"/>
                  </a:lnTo>
                  <a:lnTo>
                    <a:pt x="72" y="156"/>
                  </a:lnTo>
                  <a:lnTo>
                    <a:pt x="78" y="150"/>
                  </a:lnTo>
                  <a:lnTo>
                    <a:pt x="96" y="150"/>
                  </a:lnTo>
                  <a:lnTo>
                    <a:pt x="102" y="156"/>
                  </a:lnTo>
                  <a:lnTo>
                    <a:pt x="114" y="156"/>
                  </a:lnTo>
                  <a:lnTo>
                    <a:pt x="120" y="150"/>
                  </a:lnTo>
                  <a:lnTo>
                    <a:pt x="120" y="144"/>
                  </a:lnTo>
                  <a:lnTo>
                    <a:pt x="174" y="144"/>
                  </a:lnTo>
                  <a:lnTo>
                    <a:pt x="174" y="162"/>
                  </a:lnTo>
                  <a:lnTo>
                    <a:pt x="180" y="162"/>
                  </a:lnTo>
                  <a:lnTo>
                    <a:pt x="192" y="168"/>
                  </a:lnTo>
                  <a:lnTo>
                    <a:pt x="192" y="174"/>
                  </a:lnTo>
                  <a:lnTo>
                    <a:pt x="168" y="198"/>
                  </a:lnTo>
                  <a:lnTo>
                    <a:pt x="144" y="210"/>
                  </a:lnTo>
                  <a:lnTo>
                    <a:pt x="138" y="216"/>
                  </a:lnTo>
                  <a:lnTo>
                    <a:pt x="138" y="222"/>
                  </a:lnTo>
                  <a:lnTo>
                    <a:pt x="144" y="222"/>
                  </a:lnTo>
                  <a:lnTo>
                    <a:pt x="150" y="228"/>
                  </a:lnTo>
                  <a:lnTo>
                    <a:pt x="150" y="240"/>
                  </a:lnTo>
                  <a:lnTo>
                    <a:pt x="144" y="258"/>
                  </a:lnTo>
                  <a:lnTo>
                    <a:pt x="144" y="276"/>
                  </a:lnTo>
                  <a:lnTo>
                    <a:pt x="138" y="276"/>
                  </a:lnTo>
                  <a:lnTo>
                    <a:pt x="132" y="282"/>
                  </a:lnTo>
                  <a:lnTo>
                    <a:pt x="132" y="294"/>
                  </a:lnTo>
                  <a:lnTo>
                    <a:pt x="138" y="300"/>
                  </a:lnTo>
                  <a:lnTo>
                    <a:pt x="138" y="312"/>
                  </a:lnTo>
                  <a:lnTo>
                    <a:pt x="126" y="324"/>
                  </a:lnTo>
                  <a:lnTo>
                    <a:pt x="90" y="324"/>
                  </a:lnTo>
                  <a:lnTo>
                    <a:pt x="114" y="348"/>
                  </a:lnTo>
                  <a:lnTo>
                    <a:pt x="114" y="360"/>
                  </a:lnTo>
                  <a:lnTo>
                    <a:pt x="120" y="366"/>
                  </a:lnTo>
                  <a:lnTo>
                    <a:pt x="132" y="372"/>
                  </a:lnTo>
                  <a:lnTo>
                    <a:pt x="132" y="378"/>
                  </a:lnTo>
                  <a:lnTo>
                    <a:pt x="120" y="390"/>
                  </a:lnTo>
                  <a:lnTo>
                    <a:pt x="108" y="396"/>
                  </a:lnTo>
                  <a:lnTo>
                    <a:pt x="96" y="408"/>
                  </a:lnTo>
                  <a:lnTo>
                    <a:pt x="96" y="414"/>
                  </a:lnTo>
                  <a:lnTo>
                    <a:pt x="102" y="420"/>
                  </a:lnTo>
                  <a:lnTo>
                    <a:pt x="102" y="426"/>
                  </a:lnTo>
                  <a:lnTo>
                    <a:pt x="108" y="438"/>
                  </a:lnTo>
                  <a:lnTo>
                    <a:pt x="114" y="444"/>
                  </a:lnTo>
                  <a:lnTo>
                    <a:pt x="126" y="444"/>
                  </a:lnTo>
                  <a:lnTo>
                    <a:pt x="126" y="450"/>
                  </a:lnTo>
                  <a:lnTo>
                    <a:pt x="114" y="462"/>
                  </a:lnTo>
                  <a:lnTo>
                    <a:pt x="102" y="462"/>
                  </a:lnTo>
                  <a:lnTo>
                    <a:pt x="96" y="474"/>
                  </a:lnTo>
                  <a:lnTo>
                    <a:pt x="90" y="480"/>
                  </a:lnTo>
                  <a:lnTo>
                    <a:pt x="90" y="528"/>
                  </a:lnTo>
                  <a:lnTo>
                    <a:pt x="120" y="528"/>
                  </a:lnTo>
                  <a:lnTo>
                    <a:pt x="144" y="546"/>
                  </a:lnTo>
                  <a:lnTo>
                    <a:pt x="162" y="546"/>
                  </a:lnTo>
                  <a:lnTo>
                    <a:pt x="156" y="576"/>
                  </a:lnTo>
                  <a:lnTo>
                    <a:pt x="162" y="576"/>
                  </a:lnTo>
                  <a:lnTo>
                    <a:pt x="162" y="594"/>
                  </a:lnTo>
                  <a:lnTo>
                    <a:pt x="168" y="606"/>
                  </a:lnTo>
                  <a:lnTo>
                    <a:pt x="174" y="612"/>
                  </a:lnTo>
                  <a:lnTo>
                    <a:pt x="192" y="612"/>
                  </a:lnTo>
                  <a:lnTo>
                    <a:pt x="198" y="618"/>
                  </a:lnTo>
                  <a:lnTo>
                    <a:pt x="204" y="618"/>
                  </a:lnTo>
                  <a:lnTo>
                    <a:pt x="210" y="612"/>
                  </a:lnTo>
                  <a:lnTo>
                    <a:pt x="222" y="606"/>
                  </a:lnTo>
                  <a:lnTo>
                    <a:pt x="240" y="588"/>
                  </a:lnTo>
                  <a:lnTo>
                    <a:pt x="252" y="582"/>
                  </a:lnTo>
                  <a:lnTo>
                    <a:pt x="264" y="582"/>
                  </a:lnTo>
                  <a:lnTo>
                    <a:pt x="294" y="564"/>
                  </a:lnTo>
                  <a:lnTo>
                    <a:pt x="360" y="564"/>
                  </a:lnTo>
                  <a:lnTo>
                    <a:pt x="366" y="558"/>
                  </a:lnTo>
                  <a:lnTo>
                    <a:pt x="378" y="558"/>
                  </a:lnTo>
                  <a:lnTo>
                    <a:pt x="390" y="570"/>
                  </a:lnTo>
                  <a:lnTo>
                    <a:pt x="396" y="570"/>
                  </a:lnTo>
                  <a:lnTo>
                    <a:pt x="408" y="564"/>
                  </a:lnTo>
                  <a:lnTo>
                    <a:pt x="420" y="564"/>
                  </a:lnTo>
                  <a:lnTo>
                    <a:pt x="426" y="558"/>
                  </a:lnTo>
                  <a:lnTo>
                    <a:pt x="432" y="558"/>
                  </a:lnTo>
                  <a:lnTo>
                    <a:pt x="432" y="570"/>
                  </a:lnTo>
                  <a:lnTo>
                    <a:pt x="438" y="570"/>
                  </a:lnTo>
                  <a:lnTo>
                    <a:pt x="450" y="558"/>
                  </a:lnTo>
                  <a:lnTo>
                    <a:pt x="462" y="534"/>
                  </a:lnTo>
                  <a:lnTo>
                    <a:pt x="462" y="522"/>
                  </a:lnTo>
                  <a:lnTo>
                    <a:pt x="498" y="492"/>
                  </a:lnTo>
                  <a:lnTo>
                    <a:pt x="528" y="492"/>
                  </a:lnTo>
                  <a:lnTo>
                    <a:pt x="534" y="474"/>
                  </a:lnTo>
                  <a:lnTo>
                    <a:pt x="534" y="468"/>
                  </a:lnTo>
                  <a:lnTo>
                    <a:pt x="540" y="462"/>
                  </a:lnTo>
                  <a:lnTo>
                    <a:pt x="540" y="450"/>
                  </a:lnTo>
                  <a:lnTo>
                    <a:pt x="546" y="444"/>
                  </a:lnTo>
                  <a:lnTo>
                    <a:pt x="552" y="432"/>
                  </a:lnTo>
                  <a:lnTo>
                    <a:pt x="552" y="426"/>
                  </a:lnTo>
                  <a:lnTo>
                    <a:pt x="570" y="426"/>
                  </a:lnTo>
                  <a:lnTo>
                    <a:pt x="594" y="414"/>
                  </a:lnTo>
                  <a:lnTo>
                    <a:pt x="600" y="408"/>
                  </a:lnTo>
                  <a:lnTo>
                    <a:pt x="594" y="396"/>
                  </a:lnTo>
                  <a:lnTo>
                    <a:pt x="588" y="390"/>
                  </a:lnTo>
                  <a:lnTo>
                    <a:pt x="582" y="378"/>
                  </a:lnTo>
                  <a:lnTo>
                    <a:pt x="576" y="372"/>
                  </a:lnTo>
                  <a:lnTo>
                    <a:pt x="570" y="372"/>
                  </a:lnTo>
                  <a:lnTo>
                    <a:pt x="570" y="336"/>
                  </a:lnTo>
                  <a:lnTo>
                    <a:pt x="582" y="312"/>
                  </a:lnTo>
                  <a:lnTo>
                    <a:pt x="594" y="306"/>
                  </a:lnTo>
                  <a:lnTo>
                    <a:pt x="600" y="294"/>
                  </a:lnTo>
                  <a:lnTo>
                    <a:pt x="612" y="282"/>
                  </a:lnTo>
                  <a:lnTo>
                    <a:pt x="618" y="270"/>
                  </a:lnTo>
                  <a:lnTo>
                    <a:pt x="630" y="258"/>
                  </a:lnTo>
                  <a:lnTo>
                    <a:pt x="642" y="258"/>
                  </a:lnTo>
                  <a:lnTo>
                    <a:pt x="654" y="246"/>
                  </a:lnTo>
                  <a:lnTo>
                    <a:pt x="654" y="240"/>
                  </a:lnTo>
                  <a:lnTo>
                    <a:pt x="648" y="240"/>
                  </a:lnTo>
                  <a:lnTo>
                    <a:pt x="648" y="228"/>
                  </a:lnTo>
                  <a:lnTo>
                    <a:pt x="654" y="222"/>
                  </a:lnTo>
                  <a:lnTo>
                    <a:pt x="726" y="198"/>
                  </a:lnTo>
                  <a:lnTo>
                    <a:pt x="750" y="186"/>
                  </a:lnTo>
                  <a:lnTo>
                    <a:pt x="756" y="174"/>
                  </a:lnTo>
                  <a:lnTo>
                    <a:pt x="768" y="168"/>
                  </a:lnTo>
                  <a:lnTo>
                    <a:pt x="774" y="168"/>
                  </a:lnTo>
                  <a:lnTo>
                    <a:pt x="786" y="156"/>
                  </a:lnTo>
                  <a:lnTo>
                    <a:pt x="798" y="156"/>
                  </a:lnTo>
                  <a:lnTo>
                    <a:pt x="804" y="150"/>
                  </a:lnTo>
                  <a:close/>
                </a:path>
              </a:pathLst>
            </a:custGeom>
            <a:solidFill>
              <a:schemeClr val="accent1"/>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60" name="Somalia" descr="© INSCALE GmbH, 05.05.2010&#10;http://www.presentationload.com/">
              <a:extLst>
                <a:ext uri="{FF2B5EF4-FFF2-40B4-BE49-F238E27FC236}">
                  <a16:creationId xmlns:a16="http://schemas.microsoft.com/office/drawing/2014/main" id="{8D90C75D-B132-4E62-BE88-A7FCE1DDE2F2}"/>
                </a:ext>
              </a:extLst>
            </p:cNvPr>
            <p:cNvSpPr>
              <a:spLocks/>
            </p:cNvSpPr>
            <p:nvPr/>
          </p:nvSpPr>
          <p:spPr bwMode="gray">
            <a:xfrm>
              <a:off x="5289696" y="3866896"/>
              <a:ext cx="283812" cy="440615"/>
            </a:xfrm>
            <a:custGeom>
              <a:avLst/>
              <a:gdLst>
                <a:gd name="T0" fmla="*/ 2147483647 w 714"/>
                <a:gd name="T1" fmla="*/ 2147483647 h 1104"/>
                <a:gd name="T2" fmla="*/ 2147483647 w 714"/>
                <a:gd name="T3" fmla="*/ 2147483647 h 1104"/>
                <a:gd name="T4" fmla="*/ 2147483647 w 714"/>
                <a:gd name="T5" fmla="*/ 2147483647 h 1104"/>
                <a:gd name="T6" fmla="*/ 2147483647 w 714"/>
                <a:gd name="T7" fmla="*/ 2147483647 h 1104"/>
                <a:gd name="T8" fmla="*/ 2147483647 w 714"/>
                <a:gd name="T9" fmla="*/ 2147483647 h 1104"/>
                <a:gd name="T10" fmla="*/ 2147483647 w 714"/>
                <a:gd name="T11" fmla="*/ 2147483647 h 1104"/>
                <a:gd name="T12" fmla="*/ 2147483647 w 714"/>
                <a:gd name="T13" fmla="*/ 2147483647 h 1104"/>
                <a:gd name="T14" fmla="*/ 2147483647 w 714"/>
                <a:gd name="T15" fmla="*/ 2147483647 h 1104"/>
                <a:gd name="T16" fmla="*/ 2147483647 w 714"/>
                <a:gd name="T17" fmla="*/ 2147483647 h 1104"/>
                <a:gd name="T18" fmla="*/ 2147483647 w 714"/>
                <a:gd name="T19" fmla="*/ 2147483647 h 1104"/>
                <a:gd name="T20" fmla="*/ 2147483647 w 714"/>
                <a:gd name="T21" fmla="*/ 2147483647 h 1104"/>
                <a:gd name="T22" fmla="*/ 2147483647 w 714"/>
                <a:gd name="T23" fmla="*/ 2147483647 h 1104"/>
                <a:gd name="T24" fmla="*/ 0 w 714"/>
                <a:gd name="T25" fmla="*/ 2147483647 h 1104"/>
                <a:gd name="T26" fmla="*/ 2147483647 w 714"/>
                <a:gd name="T27" fmla="*/ 2147483647 h 1104"/>
                <a:gd name="T28" fmla="*/ 2147483647 w 714"/>
                <a:gd name="T29" fmla="*/ 2147483647 h 1104"/>
                <a:gd name="T30" fmla="*/ 2147483647 w 714"/>
                <a:gd name="T31" fmla="*/ 2147483647 h 1104"/>
                <a:gd name="T32" fmla="*/ 2147483647 w 714"/>
                <a:gd name="T33" fmla="*/ 2147483647 h 1104"/>
                <a:gd name="T34" fmla="*/ 2147483647 w 714"/>
                <a:gd name="T35" fmla="*/ 2147483647 h 1104"/>
                <a:gd name="T36" fmla="*/ 2147483647 w 714"/>
                <a:gd name="T37" fmla="*/ 2147483647 h 1104"/>
                <a:gd name="T38" fmla="*/ 2147483647 w 714"/>
                <a:gd name="T39" fmla="*/ 2147483647 h 1104"/>
                <a:gd name="T40" fmla="*/ 2147483647 w 714"/>
                <a:gd name="T41" fmla="*/ 2147483647 h 1104"/>
                <a:gd name="T42" fmla="*/ 2147483647 w 714"/>
                <a:gd name="T43" fmla="*/ 2147483647 h 1104"/>
                <a:gd name="T44" fmla="*/ 2147483647 w 714"/>
                <a:gd name="T45" fmla="*/ 2147483647 h 1104"/>
                <a:gd name="T46" fmla="*/ 2147483647 w 714"/>
                <a:gd name="T47" fmla="*/ 2147483647 h 1104"/>
                <a:gd name="T48" fmla="*/ 2147483647 w 714"/>
                <a:gd name="T49" fmla="*/ 2147483647 h 1104"/>
                <a:gd name="T50" fmla="*/ 2147483647 w 714"/>
                <a:gd name="T51" fmla="*/ 2147483647 h 1104"/>
                <a:gd name="T52" fmla="*/ 2147483647 w 714"/>
                <a:gd name="T53" fmla="*/ 2147483647 h 1104"/>
                <a:gd name="T54" fmla="*/ 2147483647 w 714"/>
                <a:gd name="T55" fmla="*/ 2147483647 h 1104"/>
                <a:gd name="T56" fmla="*/ 2147483647 w 714"/>
                <a:gd name="T57" fmla="*/ 2147483647 h 1104"/>
                <a:gd name="T58" fmla="*/ 2147483647 w 714"/>
                <a:gd name="T59" fmla="*/ 2147483647 h 1104"/>
                <a:gd name="T60" fmla="*/ 2147483647 w 714"/>
                <a:gd name="T61" fmla="*/ 2147483647 h 1104"/>
                <a:gd name="T62" fmla="*/ 2147483647 w 714"/>
                <a:gd name="T63" fmla="*/ 2147483647 h 1104"/>
                <a:gd name="T64" fmla="*/ 2147483647 w 714"/>
                <a:gd name="T65" fmla="*/ 2147483647 h 1104"/>
                <a:gd name="T66" fmla="*/ 2147483647 w 714"/>
                <a:gd name="T67" fmla="*/ 2147483647 h 1104"/>
                <a:gd name="T68" fmla="*/ 2147483647 w 714"/>
                <a:gd name="T69" fmla="*/ 2147483647 h 1104"/>
                <a:gd name="T70" fmla="*/ 2147483647 w 714"/>
                <a:gd name="T71" fmla="*/ 2147483647 h 1104"/>
                <a:gd name="T72" fmla="*/ 2147483647 w 714"/>
                <a:gd name="T73" fmla="*/ 2147483647 h 1104"/>
                <a:gd name="T74" fmla="*/ 2147483647 w 714"/>
                <a:gd name="T75" fmla="*/ 2147483647 h 1104"/>
                <a:gd name="T76" fmla="*/ 2147483647 w 714"/>
                <a:gd name="T77" fmla="*/ 2147483647 h 1104"/>
                <a:gd name="T78" fmla="*/ 2147483647 w 714"/>
                <a:gd name="T79" fmla="*/ 2147483647 h 1104"/>
                <a:gd name="T80" fmla="*/ 2147483647 w 714"/>
                <a:gd name="T81" fmla="*/ 2147483647 h 1104"/>
                <a:gd name="T82" fmla="*/ 2147483647 w 714"/>
                <a:gd name="T83" fmla="*/ 2147483647 h 1104"/>
                <a:gd name="T84" fmla="*/ 2147483647 w 714"/>
                <a:gd name="T85" fmla="*/ 2147483647 h 1104"/>
                <a:gd name="T86" fmla="*/ 2147483647 w 714"/>
                <a:gd name="T87" fmla="*/ 2147483647 h 11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4"/>
                <a:gd name="T133" fmla="*/ 0 h 1104"/>
                <a:gd name="T134" fmla="*/ 714 w 714"/>
                <a:gd name="T135" fmla="*/ 1104 h 110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4" h="1104">
                  <a:moveTo>
                    <a:pt x="108" y="114"/>
                  </a:moveTo>
                  <a:lnTo>
                    <a:pt x="120" y="126"/>
                  </a:lnTo>
                  <a:lnTo>
                    <a:pt x="120" y="138"/>
                  </a:lnTo>
                  <a:lnTo>
                    <a:pt x="126" y="150"/>
                  </a:lnTo>
                  <a:lnTo>
                    <a:pt x="132" y="156"/>
                  </a:lnTo>
                  <a:lnTo>
                    <a:pt x="138" y="168"/>
                  </a:lnTo>
                  <a:lnTo>
                    <a:pt x="144" y="174"/>
                  </a:lnTo>
                  <a:lnTo>
                    <a:pt x="156" y="198"/>
                  </a:lnTo>
                  <a:lnTo>
                    <a:pt x="162" y="204"/>
                  </a:lnTo>
                  <a:lnTo>
                    <a:pt x="162" y="210"/>
                  </a:lnTo>
                  <a:lnTo>
                    <a:pt x="186" y="210"/>
                  </a:lnTo>
                  <a:lnTo>
                    <a:pt x="192" y="222"/>
                  </a:lnTo>
                  <a:lnTo>
                    <a:pt x="198" y="228"/>
                  </a:lnTo>
                  <a:lnTo>
                    <a:pt x="204" y="240"/>
                  </a:lnTo>
                  <a:lnTo>
                    <a:pt x="240" y="258"/>
                  </a:lnTo>
                  <a:lnTo>
                    <a:pt x="312" y="282"/>
                  </a:lnTo>
                  <a:lnTo>
                    <a:pt x="336" y="288"/>
                  </a:lnTo>
                  <a:lnTo>
                    <a:pt x="348" y="294"/>
                  </a:lnTo>
                  <a:lnTo>
                    <a:pt x="366" y="300"/>
                  </a:lnTo>
                  <a:lnTo>
                    <a:pt x="378" y="312"/>
                  </a:lnTo>
                  <a:lnTo>
                    <a:pt x="414" y="330"/>
                  </a:lnTo>
                  <a:lnTo>
                    <a:pt x="486" y="324"/>
                  </a:lnTo>
                  <a:lnTo>
                    <a:pt x="276" y="570"/>
                  </a:lnTo>
                  <a:lnTo>
                    <a:pt x="192" y="570"/>
                  </a:lnTo>
                  <a:lnTo>
                    <a:pt x="186" y="576"/>
                  </a:lnTo>
                  <a:lnTo>
                    <a:pt x="174" y="576"/>
                  </a:lnTo>
                  <a:lnTo>
                    <a:pt x="162" y="582"/>
                  </a:lnTo>
                  <a:lnTo>
                    <a:pt x="156" y="588"/>
                  </a:lnTo>
                  <a:lnTo>
                    <a:pt x="144" y="594"/>
                  </a:lnTo>
                  <a:lnTo>
                    <a:pt x="144" y="606"/>
                  </a:lnTo>
                  <a:lnTo>
                    <a:pt x="126" y="624"/>
                  </a:lnTo>
                  <a:lnTo>
                    <a:pt x="102" y="624"/>
                  </a:lnTo>
                  <a:lnTo>
                    <a:pt x="90" y="630"/>
                  </a:lnTo>
                  <a:lnTo>
                    <a:pt x="78" y="630"/>
                  </a:lnTo>
                  <a:lnTo>
                    <a:pt x="66" y="642"/>
                  </a:lnTo>
                  <a:lnTo>
                    <a:pt x="66" y="654"/>
                  </a:lnTo>
                  <a:lnTo>
                    <a:pt x="60" y="660"/>
                  </a:lnTo>
                  <a:lnTo>
                    <a:pt x="42" y="696"/>
                  </a:lnTo>
                  <a:lnTo>
                    <a:pt x="0" y="738"/>
                  </a:lnTo>
                  <a:lnTo>
                    <a:pt x="0" y="1038"/>
                  </a:lnTo>
                  <a:lnTo>
                    <a:pt x="42" y="1104"/>
                  </a:lnTo>
                  <a:lnTo>
                    <a:pt x="48" y="1086"/>
                  </a:lnTo>
                  <a:lnTo>
                    <a:pt x="84" y="1032"/>
                  </a:lnTo>
                  <a:lnTo>
                    <a:pt x="96" y="1008"/>
                  </a:lnTo>
                  <a:lnTo>
                    <a:pt x="114" y="996"/>
                  </a:lnTo>
                  <a:lnTo>
                    <a:pt x="144" y="966"/>
                  </a:lnTo>
                  <a:lnTo>
                    <a:pt x="150" y="954"/>
                  </a:lnTo>
                  <a:lnTo>
                    <a:pt x="162" y="936"/>
                  </a:lnTo>
                  <a:lnTo>
                    <a:pt x="192" y="906"/>
                  </a:lnTo>
                  <a:lnTo>
                    <a:pt x="216" y="876"/>
                  </a:lnTo>
                  <a:lnTo>
                    <a:pt x="246" y="846"/>
                  </a:lnTo>
                  <a:lnTo>
                    <a:pt x="264" y="840"/>
                  </a:lnTo>
                  <a:lnTo>
                    <a:pt x="276" y="828"/>
                  </a:lnTo>
                  <a:lnTo>
                    <a:pt x="294" y="816"/>
                  </a:lnTo>
                  <a:lnTo>
                    <a:pt x="318" y="804"/>
                  </a:lnTo>
                  <a:lnTo>
                    <a:pt x="336" y="786"/>
                  </a:lnTo>
                  <a:lnTo>
                    <a:pt x="372" y="756"/>
                  </a:lnTo>
                  <a:lnTo>
                    <a:pt x="420" y="708"/>
                  </a:lnTo>
                  <a:lnTo>
                    <a:pt x="438" y="684"/>
                  </a:lnTo>
                  <a:lnTo>
                    <a:pt x="462" y="654"/>
                  </a:lnTo>
                  <a:lnTo>
                    <a:pt x="492" y="618"/>
                  </a:lnTo>
                  <a:lnTo>
                    <a:pt x="516" y="570"/>
                  </a:lnTo>
                  <a:lnTo>
                    <a:pt x="528" y="540"/>
                  </a:lnTo>
                  <a:lnTo>
                    <a:pt x="546" y="516"/>
                  </a:lnTo>
                  <a:lnTo>
                    <a:pt x="558" y="498"/>
                  </a:lnTo>
                  <a:lnTo>
                    <a:pt x="564" y="492"/>
                  </a:lnTo>
                  <a:lnTo>
                    <a:pt x="570" y="480"/>
                  </a:lnTo>
                  <a:lnTo>
                    <a:pt x="576" y="474"/>
                  </a:lnTo>
                  <a:lnTo>
                    <a:pt x="576" y="450"/>
                  </a:lnTo>
                  <a:lnTo>
                    <a:pt x="582" y="432"/>
                  </a:lnTo>
                  <a:lnTo>
                    <a:pt x="588" y="420"/>
                  </a:lnTo>
                  <a:lnTo>
                    <a:pt x="588" y="402"/>
                  </a:lnTo>
                  <a:lnTo>
                    <a:pt x="594" y="390"/>
                  </a:lnTo>
                  <a:lnTo>
                    <a:pt x="606" y="378"/>
                  </a:lnTo>
                  <a:lnTo>
                    <a:pt x="612" y="366"/>
                  </a:lnTo>
                  <a:lnTo>
                    <a:pt x="624" y="354"/>
                  </a:lnTo>
                  <a:lnTo>
                    <a:pt x="624" y="324"/>
                  </a:lnTo>
                  <a:lnTo>
                    <a:pt x="636" y="318"/>
                  </a:lnTo>
                  <a:lnTo>
                    <a:pt x="642" y="306"/>
                  </a:lnTo>
                  <a:lnTo>
                    <a:pt x="660" y="252"/>
                  </a:lnTo>
                  <a:lnTo>
                    <a:pt x="672" y="252"/>
                  </a:lnTo>
                  <a:lnTo>
                    <a:pt x="672" y="246"/>
                  </a:lnTo>
                  <a:lnTo>
                    <a:pt x="684" y="234"/>
                  </a:lnTo>
                  <a:lnTo>
                    <a:pt x="684" y="138"/>
                  </a:lnTo>
                  <a:lnTo>
                    <a:pt x="708" y="126"/>
                  </a:lnTo>
                  <a:lnTo>
                    <a:pt x="702" y="54"/>
                  </a:lnTo>
                  <a:lnTo>
                    <a:pt x="708" y="42"/>
                  </a:lnTo>
                  <a:lnTo>
                    <a:pt x="708" y="36"/>
                  </a:lnTo>
                  <a:lnTo>
                    <a:pt x="714" y="24"/>
                  </a:lnTo>
                  <a:lnTo>
                    <a:pt x="714" y="12"/>
                  </a:lnTo>
                  <a:lnTo>
                    <a:pt x="690" y="0"/>
                  </a:lnTo>
                  <a:lnTo>
                    <a:pt x="672" y="0"/>
                  </a:lnTo>
                  <a:lnTo>
                    <a:pt x="666" y="12"/>
                  </a:lnTo>
                  <a:lnTo>
                    <a:pt x="654" y="18"/>
                  </a:lnTo>
                  <a:lnTo>
                    <a:pt x="648" y="30"/>
                  </a:lnTo>
                  <a:lnTo>
                    <a:pt x="624" y="42"/>
                  </a:lnTo>
                  <a:lnTo>
                    <a:pt x="612" y="42"/>
                  </a:lnTo>
                  <a:lnTo>
                    <a:pt x="594" y="48"/>
                  </a:lnTo>
                  <a:lnTo>
                    <a:pt x="582" y="54"/>
                  </a:lnTo>
                  <a:lnTo>
                    <a:pt x="564" y="54"/>
                  </a:lnTo>
                  <a:lnTo>
                    <a:pt x="546" y="48"/>
                  </a:lnTo>
                  <a:lnTo>
                    <a:pt x="534" y="42"/>
                  </a:lnTo>
                  <a:lnTo>
                    <a:pt x="516" y="48"/>
                  </a:lnTo>
                  <a:lnTo>
                    <a:pt x="510" y="54"/>
                  </a:lnTo>
                  <a:lnTo>
                    <a:pt x="498" y="60"/>
                  </a:lnTo>
                  <a:lnTo>
                    <a:pt x="492" y="72"/>
                  </a:lnTo>
                  <a:lnTo>
                    <a:pt x="486" y="78"/>
                  </a:lnTo>
                  <a:lnTo>
                    <a:pt x="474" y="78"/>
                  </a:lnTo>
                  <a:lnTo>
                    <a:pt x="462" y="72"/>
                  </a:lnTo>
                  <a:lnTo>
                    <a:pt x="456" y="60"/>
                  </a:lnTo>
                  <a:lnTo>
                    <a:pt x="444" y="60"/>
                  </a:lnTo>
                  <a:lnTo>
                    <a:pt x="438" y="66"/>
                  </a:lnTo>
                  <a:lnTo>
                    <a:pt x="426" y="72"/>
                  </a:lnTo>
                  <a:lnTo>
                    <a:pt x="396" y="102"/>
                  </a:lnTo>
                  <a:lnTo>
                    <a:pt x="384" y="108"/>
                  </a:lnTo>
                  <a:lnTo>
                    <a:pt x="372" y="108"/>
                  </a:lnTo>
                  <a:lnTo>
                    <a:pt x="360" y="102"/>
                  </a:lnTo>
                  <a:lnTo>
                    <a:pt x="354" y="96"/>
                  </a:lnTo>
                  <a:lnTo>
                    <a:pt x="342" y="90"/>
                  </a:lnTo>
                  <a:lnTo>
                    <a:pt x="330" y="90"/>
                  </a:lnTo>
                  <a:lnTo>
                    <a:pt x="306" y="102"/>
                  </a:lnTo>
                  <a:lnTo>
                    <a:pt x="294" y="114"/>
                  </a:lnTo>
                  <a:lnTo>
                    <a:pt x="270" y="126"/>
                  </a:lnTo>
                  <a:lnTo>
                    <a:pt x="210" y="126"/>
                  </a:lnTo>
                  <a:lnTo>
                    <a:pt x="192" y="108"/>
                  </a:lnTo>
                  <a:lnTo>
                    <a:pt x="186" y="96"/>
                  </a:lnTo>
                  <a:lnTo>
                    <a:pt x="174" y="90"/>
                  </a:lnTo>
                  <a:lnTo>
                    <a:pt x="168" y="78"/>
                  </a:lnTo>
                  <a:lnTo>
                    <a:pt x="168" y="66"/>
                  </a:lnTo>
                  <a:lnTo>
                    <a:pt x="156" y="54"/>
                  </a:lnTo>
                  <a:lnTo>
                    <a:pt x="150" y="54"/>
                  </a:lnTo>
                  <a:lnTo>
                    <a:pt x="126" y="78"/>
                  </a:lnTo>
                  <a:lnTo>
                    <a:pt x="108" y="114"/>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61" name="Solomon Inseln" descr="© INSCALE GmbH, 05.05.2010&#10;http://www.presentationload.com/">
              <a:extLst>
                <a:ext uri="{FF2B5EF4-FFF2-40B4-BE49-F238E27FC236}">
                  <a16:creationId xmlns:a16="http://schemas.microsoft.com/office/drawing/2014/main" id="{34882767-9ACF-4941-9CE3-236DE5A8D864}"/>
                </a:ext>
              </a:extLst>
            </p:cNvPr>
            <p:cNvSpPr>
              <a:spLocks noEditPoints="1"/>
            </p:cNvSpPr>
            <p:nvPr/>
          </p:nvSpPr>
          <p:spPr bwMode="gray">
            <a:xfrm>
              <a:off x="8552751" y="4467449"/>
              <a:ext cx="147394" cy="137986"/>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62" name="Slovenien" descr="© INSCALE GmbH, 05.05.2010&#10;http://www.presentationload.com/">
              <a:extLst>
                <a:ext uri="{FF2B5EF4-FFF2-40B4-BE49-F238E27FC236}">
                  <a16:creationId xmlns:a16="http://schemas.microsoft.com/office/drawing/2014/main" id="{2532CFD0-4839-40CA-9542-FCD5B4343517}"/>
                </a:ext>
              </a:extLst>
            </p:cNvPr>
            <p:cNvSpPr>
              <a:spLocks/>
            </p:cNvSpPr>
            <p:nvPr/>
          </p:nvSpPr>
          <p:spPr bwMode="gray">
            <a:xfrm>
              <a:off x="4494708" y="2750463"/>
              <a:ext cx="83105" cy="48609"/>
            </a:xfrm>
            <a:custGeom>
              <a:avLst/>
              <a:gdLst>
                <a:gd name="T0" fmla="*/ 2147483647 w 210"/>
                <a:gd name="T1" fmla="*/ 2147483647 h 120"/>
                <a:gd name="T2" fmla="*/ 2147483647 w 210"/>
                <a:gd name="T3" fmla="*/ 2147483647 h 120"/>
                <a:gd name="T4" fmla="*/ 2147483647 w 210"/>
                <a:gd name="T5" fmla="*/ 2147483647 h 120"/>
                <a:gd name="T6" fmla="*/ 2147483647 w 210"/>
                <a:gd name="T7" fmla="*/ 2147483647 h 120"/>
                <a:gd name="T8" fmla="*/ 2147483647 w 210"/>
                <a:gd name="T9" fmla="*/ 2147483647 h 120"/>
                <a:gd name="T10" fmla="*/ 2147483647 w 210"/>
                <a:gd name="T11" fmla="*/ 2147483647 h 120"/>
                <a:gd name="T12" fmla="*/ 2147483647 w 210"/>
                <a:gd name="T13" fmla="*/ 2147483647 h 120"/>
                <a:gd name="T14" fmla="*/ 2147483647 w 210"/>
                <a:gd name="T15" fmla="*/ 2147483647 h 120"/>
                <a:gd name="T16" fmla="*/ 2147483647 w 210"/>
                <a:gd name="T17" fmla="*/ 2147483647 h 120"/>
                <a:gd name="T18" fmla="*/ 2147483647 w 210"/>
                <a:gd name="T19" fmla="*/ 2147483647 h 120"/>
                <a:gd name="T20" fmla="*/ 2147483647 w 210"/>
                <a:gd name="T21" fmla="*/ 2147483647 h 120"/>
                <a:gd name="T22" fmla="*/ 2147483647 w 210"/>
                <a:gd name="T23" fmla="*/ 2147483647 h 120"/>
                <a:gd name="T24" fmla="*/ 2147483647 w 210"/>
                <a:gd name="T25" fmla="*/ 2147483647 h 120"/>
                <a:gd name="T26" fmla="*/ 2147483647 w 210"/>
                <a:gd name="T27" fmla="*/ 2147483647 h 120"/>
                <a:gd name="T28" fmla="*/ 2147483647 w 210"/>
                <a:gd name="T29" fmla="*/ 2147483647 h 120"/>
                <a:gd name="T30" fmla="*/ 2147483647 w 210"/>
                <a:gd name="T31" fmla="*/ 2147483647 h 120"/>
                <a:gd name="T32" fmla="*/ 2147483647 w 210"/>
                <a:gd name="T33" fmla="*/ 2147483647 h 120"/>
                <a:gd name="T34" fmla="*/ 2147483647 w 210"/>
                <a:gd name="T35" fmla="*/ 2147483647 h 120"/>
                <a:gd name="T36" fmla="*/ 2147483647 w 210"/>
                <a:gd name="T37" fmla="*/ 2147483647 h 120"/>
                <a:gd name="T38" fmla="*/ 2147483647 w 210"/>
                <a:gd name="T39" fmla="*/ 2147483647 h 120"/>
                <a:gd name="T40" fmla="*/ 2147483647 w 210"/>
                <a:gd name="T41" fmla="*/ 2147483647 h 120"/>
                <a:gd name="T42" fmla="*/ 2147483647 w 210"/>
                <a:gd name="T43" fmla="*/ 0 h 120"/>
                <a:gd name="T44" fmla="*/ 2147483647 w 210"/>
                <a:gd name="T45" fmla="*/ 2147483647 h 120"/>
                <a:gd name="T46" fmla="*/ 2147483647 w 210"/>
                <a:gd name="T47" fmla="*/ 2147483647 h 120"/>
                <a:gd name="T48" fmla="*/ 2147483647 w 210"/>
                <a:gd name="T49" fmla="*/ 2147483647 h 120"/>
                <a:gd name="T50" fmla="*/ 2147483647 w 210"/>
                <a:gd name="T51" fmla="*/ 2147483647 h 120"/>
                <a:gd name="T52" fmla="*/ 2147483647 w 210"/>
                <a:gd name="T53" fmla="*/ 2147483647 h 120"/>
                <a:gd name="T54" fmla="*/ 2147483647 w 210"/>
                <a:gd name="T55" fmla="*/ 2147483647 h 120"/>
                <a:gd name="T56" fmla="*/ 2147483647 w 210"/>
                <a:gd name="T57" fmla="*/ 2147483647 h 120"/>
                <a:gd name="T58" fmla="*/ 2147483647 w 210"/>
                <a:gd name="T59" fmla="*/ 2147483647 h 120"/>
                <a:gd name="T60" fmla="*/ 2147483647 w 210"/>
                <a:gd name="T61" fmla="*/ 2147483647 h 120"/>
                <a:gd name="T62" fmla="*/ 2147483647 w 210"/>
                <a:gd name="T63" fmla="*/ 2147483647 h 120"/>
                <a:gd name="T64" fmla="*/ 2147483647 w 210"/>
                <a:gd name="T65" fmla="*/ 2147483647 h 120"/>
                <a:gd name="T66" fmla="*/ 2147483647 w 210"/>
                <a:gd name="T67" fmla="*/ 2147483647 h 120"/>
                <a:gd name="T68" fmla="*/ 0 w 210"/>
                <a:gd name="T69" fmla="*/ 2147483647 h 120"/>
                <a:gd name="T70" fmla="*/ 2147483647 w 210"/>
                <a:gd name="T71" fmla="*/ 2147483647 h 120"/>
                <a:gd name="T72" fmla="*/ 2147483647 w 210"/>
                <a:gd name="T73" fmla="*/ 2147483647 h 120"/>
                <a:gd name="T74" fmla="*/ 2147483647 w 210"/>
                <a:gd name="T75" fmla="*/ 2147483647 h 120"/>
                <a:gd name="T76" fmla="*/ 2147483647 w 210"/>
                <a:gd name="T77" fmla="*/ 2147483647 h 120"/>
                <a:gd name="T78" fmla="*/ 2147483647 w 210"/>
                <a:gd name="T79" fmla="*/ 2147483647 h 120"/>
                <a:gd name="T80" fmla="*/ 2147483647 w 210"/>
                <a:gd name="T81" fmla="*/ 2147483647 h 120"/>
                <a:gd name="T82" fmla="*/ 2147483647 w 210"/>
                <a:gd name="T83" fmla="*/ 2147483647 h 120"/>
                <a:gd name="T84" fmla="*/ 2147483647 w 210"/>
                <a:gd name="T85" fmla="*/ 2147483647 h 120"/>
                <a:gd name="T86" fmla="*/ 2147483647 w 210"/>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120"/>
                <a:gd name="T134" fmla="*/ 210 w 210"/>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120">
                  <a:moveTo>
                    <a:pt x="24" y="120"/>
                  </a:moveTo>
                  <a:lnTo>
                    <a:pt x="42" y="120"/>
                  </a:lnTo>
                  <a:lnTo>
                    <a:pt x="42" y="108"/>
                  </a:lnTo>
                  <a:lnTo>
                    <a:pt x="54" y="114"/>
                  </a:lnTo>
                  <a:lnTo>
                    <a:pt x="72" y="114"/>
                  </a:lnTo>
                  <a:lnTo>
                    <a:pt x="78" y="102"/>
                  </a:lnTo>
                  <a:lnTo>
                    <a:pt x="78" y="108"/>
                  </a:lnTo>
                  <a:lnTo>
                    <a:pt x="84" y="114"/>
                  </a:lnTo>
                  <a:lnTo>
                    <a:pt x="126" y="114"/>
                  </a:lnTo>
                  <a:lnTo>
                    <a:pt x="126" y="96"/>
                  </a:lnTo>
                  <a:lnTo>
                    <a:pt x="138" y="90"/>
                  </a:lnTo>
                  <a:lnTo>
                    <a:pt x="150" y="78"/>
                  </a:lnTo>
                  <a:lnTo>
                    <a:pt x="150" y="72"/>
                  </a:lnTo>
                  <a:lnTo>
                    <a:pt x="144" y="66"/>
                  </a:lnTo>
                  <a:lnTo>
                    <a:pt x="144" y="54"/>
                  </a:lnTo>
                  <a:lnTo>
                    <a:pt x="174" y="54"/>
                  </a:lnTo>
                  <a:lnTo>
                    <a:pt x="186" y="48"/>
                  </a:lnTo>
                  <a:lnTo>
                    <a:pt x="186" y="36"/>
                  </a:lnTo>
                  <a:lnTo>
                    <a:pt x="210" y="36"/>
                  </a:lnTo>
                  <a:lnTo>
                    <a:pt x="192" y="24"/>
                  </a:lnTo>
                  <a:lnTo>
                    <a:pt x="186" y="6"/>
                  </a:lnTo>
                  <a:lnTo>
                    <a:pt x="180" y="0"/>
                  </a:lnTo>
                  <a:lnTo>
                    <a:pt x="174" y="12"/>
                  </a:lnTo>
                  <a:lnTo>
                    <a:pt x="168" y="30"/>
                  </a:lnTo>
                  <a:lnTo>
                    <a:pt x="144" y="24"/>
                  </a:lnTo>
                  <a:lnTo>
                    <a:pt x="132" y="30"/>
                  </a:lnTo>
                  <a:lnTo>
                    <a:pt x="84" y="30"/>
                  </a:lnTo>
                  <a:lnTo>
                    <a:pt x="84" y="42"/>
                  </a:lnTo>
                  <a:lnTo>
                    <a:pt x="54" y="42"/>
                  </a:lnTo>
                  <a:lnTo>
                    <a:pt x="48" y="36"/>
                  </a:lnTo>
                  <a:lnTo>
                    <a:pt x="30" y="36"/>
                  </a:lnTo>
                  <a:lnTo>
                    <a:pt x="24" y="42"/>
                  </a:lnTo>
                  <a:lnTo>
                    <a:pt x="6" y="42"/>
                  </a:lnTo>
                  <a:lnTo>
                    <a:pt x="6" y="48"/>
                  </a:lnTo>
                  <a:lnTo>
                    <a:pt x="0" y="54"/>
                  </a:lnTo>
                  <a:lnTo>
                    <a:pt x="12" y="60"/>
                  </a:lnTo>
                  <a:lnTo>
                    <a:pt x="6" y="96"/>
                  </a:lnTo>
                  <a:lnTo>
                    <a:pt x="18" y="96"/>
                  </a:lnTo>
                  <a:lnTo>
                    <a:pt x="30" y="102"/>
                  </a:lnTo>
                  <a:lnTo>
                    <a:pt x="36" y="102"/>
                  </a:lnTo>
                  <a:lnTo>
                    <a:pt x="36" y="108"/>
                  </a:lnTo>
                  <a:lnTo>
                    <a:pt x="30" y="108"/>
                  </a:lnTo>
                  <a:lnTo>
                    <a:pt x="30" y="114"/>
                  </a:lnTo>
                  <a:lnTo>
                    <a:pt x="24" y="120"/>
                  </a:lnTo>
                  <a:close/>
                </a:path>
              </a:pathLst>
            </a:custGeom>
            <a:solidFill>
              <a:schemeClr val="accent1"/>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63" name="Slovakei" descr="© INSCALE GmbH, 05.05.2010&#10;http://www.presentationload.com/">
              <a:extLst>
                <a:ext uri="{FF2B5EF4-FFF2-40B4-BE49-F238E27FC236}">
                  <a16:creationId xmlns:a16="http://schemas.microsoft.com/office/drawing/2014/main" id="{ACD258F0-EC19-43F6-A830-76BE59429A17}"/>
                </a:ext>
              </a:extLst>
            </p:cNvPr>
            <p:cNvSpPr>
              <a:spLocks/>
            </p:cNvSpPr>
            <p:nvPr/>
          </p:nvSpPr>
          <p:spPr bwMode="gray">
            <a:xfrm>
              <a:off x="4579381" y="2670494"/>
              <a:ext cx="142690" cy="58017"/>
            </a:xfrm>
            <a:custGeom>
              <a:avLst/>
              <a:gdLst>
                <a:gd name="T0" fmla="*/ 2147483647 w 354"/>
                <a:gd name="T1" fmla="*/ 2147483647 h 144"/>
                <a:gd name="T2" fmla="*/ 2147483647 w 354"/>
                <a:gd name="T3" fmla="*/ 2147483647 h 144"/>
                <a:gd name="T4" fmla="*/ 2147483647 w 354"/>
                <a:gd name="T5" fmla="*/ 2147483647 h 144"/>
                <a:gd name="T6" fmla="*/ 2147483647 w 354"/>
                <a:gd name="T7" fmla="*/ 2147483647 h 144"/>
                <a:gd name="T8" fmla="*/ 2147483647 w 354"/>
                <a:gd name="T9" fmla="*/ 2147483647 h 144"/>
                <a:gd name="T10" fmla="*/ 2147483647 w 354"/>
                <a:gd name="T11" fmla="*/ 2147483647 h 144"/>
                <a:gd name="T12" fmla="*/ 2147483647 w 354"/>
                <a:gd name="T13" fmla="*/ 2147483647 h 144"/>
                <a:gd name="T14" fmla="*/ 2147483647 w 354"/>
                <a:gd name="T15" fmla="*/ 0 h 144"/>
                <a:gd name="T16" fmla="*/ 2147483647 w 354"/>
                <a:gd name="T17" fmla="*/ 2147483647 h 144"/>
                <a:gd name="T18" fmla="*/ 2147483647 w 354"/>
                <a:gd name="T19" fmla="*/ 0 h 144"/>
                <a:gd name="T20" fmla="*/ 2147483647 w 354"/>
                <a:gd name="T21" fmla="*/ 2147483647 h 144"/>
                <a:gd name="T22" fmla="*/ 2147483647 w 354"/>
                <a:gd name="T23" fmla="*/ 2147483647 h 144"/>
                <a:gd name="T24" fmla="*/ 2147483647 w 354"/>
                <a:gd name="T25" fmla="*/ 2147483647 h 144"/>
                <a:gd name="T26" fmla="*/ 2147483647 w 354"/>
                <a:gd name="T27" fmla="*/ 2147483647 h 144"/>
                <a:gd name="T28" fmla="*/ 2147483647 w 354"/>
                <a:gd name="T29" fmla="*/ 2147483647 h 144"/>
                <a:gd name="T30" fmla="*/ 0 w 354"/>
                <a:gd name="T31" fmla="*/ 2147483647 h 144"/>
                <a:gd name="T32" fmla="*/ 2147483647 w 354"/>
                <a:gd name="T33" fmla="*/ 2147483647 h 144"/>
                <a:gd name="T34" fmla="*/ 2147483647 w 354"/>
                <a:gd name="T35" fmla="*/ 2147483647 h 144"/>
                <a:gd name="T36" fmla="*/ 2147483647 w 354"/>
                <a:gd name="T37" fmla="*/ 2147483647 h 144"/>
                <a:gd name="T38" fmla="*/ 2147483647 w 354"/>
                <a:gd name="T39" fmla="*/ 2147483647 h 144"/>
                <a:gd name="T40" fmla="*/ 2147483647 w 354"/>
                <a:gd name="T41" fmla="*/ 2147483647 h 144"/>
                <a:gd name="T42" fmla="*/ 2147483647 w 354"/>
                <a:gd name="T43" fmla="*/ 2147483647 h 144"/>
                <a:gd name="T44" fmla="*/ 2147483647 w 354"/>
                <a:gd name="T45" fmla="*/ 2147483647 h 144"/>
                <a:gd name="T46" fmla="*/ 2147483647 w 354"/>
                <a:gd name="T47" fmla="*/ 2147483647 h 144"/>
                <a:gd name="T48" fmla="*/ 2147483647 w 354"/>
                <a:gd name="T49" fmla="*/ 2147483647 h 144"/>
                <a:gd name="T50" fmla="*/ 2147483647 w 354"/>
                <a:gd name="T51" fmla="*/ 2147483647 h 144"/>
                <a:gd name="T52" fmla="*/ 2147483647 w 354"/>
                <a:gd name="T53" fmla="*/ 2147483647 h 144"/>
                <a:gd name="T54" fmla="*/ 2147483647 w 354"/>
                <a:gd name="T55" fmla="*/ 2147483647 h 144"/>
                <a:gd name="T56" fmla="*/ 2147483647 w 354"/>
                <a:gd name="T57" fmla="*/ 2147483647 h 144"/>
                <a:gd name="T58" fmla="*/ 2147483647 w 354"/>
                <a:gd name="T59" fmla="*/ 2147483647 h 144"/>
                <a:gd name="T60" fmla="*/ 2147483647 w 354"/>
                <a:gd name="T61" fmla="*/ 2147483647 h 144"/>
                <a:gd name="T62" fmla="*/ 2147483647 w 354"/>
                <a:gd name="T63" fmla="*/ 2147483647 h 144"/>
                <a:gd name="T64" fmla="*/ 2147483647 w 354"/>
                <a:gd name="T65" fmla="*/ 2147483647 h 144"/>
                <a:gd name="T66" fmla="*/ 2147483647 w 354"/>
                <a:gd name="T67" fmla="*/ 2147483647 h 144"/>
                <a:gd name="T68" fmla="*/ 2147483647 w 354"/>
                <a:gd name="T69" fmla="*/ 2147483647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144"/>
                <a:gd name="T107" fmla="*/ 354 w 354"/>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144">
                  <a:moveTo>
                    <a:pt x="348" y="30"/>
                  </a:moveTo>
                  <a:lnTo>
                    <a:pt x="324" y="30"/>
                  </a:lnTo>
                  <a:lnTo>
                    <a:pt x="300" y="6"/>
                  </a:lnTo>
                  <a:lnTo>
                    <a:pt x="276" y="6"/>
                  </a:lnTo>
                  <a:lnTo>
                    <a:pt x="270" y="12"/>
                  </a:lnTo>
                  <a:lnTo>
                    <a:pt x="258" y="18"/>
                  </a:lnTo>
                  <a:lnTo>
                    <a:pt x="246" y="18"/>
                  </a:lnTo>
                  <a:lnTo>
                    <a:pt x="240" y="12"/>
                  </a:lnTo>
                  <a:lnTo>
                    <a:pt x="210" y="12"/>
                  </a:lnTo>
                  <a:lnTo>
                    <a:pt x="210" y="18"/>
                  </a:lnTo>
                  <a:lnTo>
                    <a:pt x="204" y="24"/>
                  </a:lnTo>
                  <a:lnTo>
                    <a:pt x="192" y="24"/>
                  </a:lnTo>
                  <a:lnTo>
                    <a:pt x="186" y="18"/>
                  </a:lnTo>
                  <a:lnTo>
                    <a:pt x="186" y="12"/>
                  </a:lnTo>
                  <a:lnTo>
                    <a:pt x="180" y="12"/>
                  </a:lnTo>
                  <a:lnTo>
                    <a:pt x="168" y="0"/>
                  </a:lnTo>
                  <a:lnTo>
                    <a:pt x="156" y="0"/>
                  </a:lnTo>
                  <a:lnTo>
                    <a:pt x="144" y="12"/>
                  </a:lnTo>
                  <a:lnTo>
                    <a:pt x="138" y="12"/>
                  </a:lnTo>
                  <a:lnTo>
                    <a:pt x="126" y="0"/>
                  </a:lnTo>
                  <a:lnTo>
                    <a:pt x="108" y="12"/>
                  </a:lnTo>
                  <a:lnTo>
                    <a:pt x="84" y="18"/>
                  </a:lnTo>
                  <a:lnTo>
                    <a:pt x="84" y="42"/>
                  </a:lnTo>
                  <a:lnTo>
                    <a:pt x="72" y="48"/>
                  </a:lnTo>
                  <a:lnTo>
                    <a:pt x="66" y="54"/>
                  </a:lnTo>
                  <a:lnTo>
                    <a:pt x="54" y="60"/>
                  </a:lnTo>
                  <a:lnTo>
                    <a:pt x="36" y="60"/>
                  </a:lnTo>
                  <a:lnTo>
                    <a:pt x="36" y="54"/>
                  </a:lnTo>
                  <a:lnTo>
                    <a:pt x="30" y="60"/>
                  </a:lnTo>
                  <a:lnTo>
                    <a:pt x="12" y="60"/>
                  </a:lnTo>
                  <a:lnTo>
                    <a:pt x="6" y="66"/>
                  </a:lnTo>
                  <a:lnTo>
                    <a:pt x="0" y="90"/>
                  </a:lnTo>
                  <a:lnTo>
                    <a:pt x="0" y="102"/>
                  </a:lnTo>
                  <a:lnTo>
                    <a:pt x="6" y="102"/>
                  </a:lnTo>
                  <a:lnTo>
                    <a:pt x="6" y="114"/>
                  </a:lnTo>
                  <a:lnTo>
                    <a:pt x="12" y="114"/>
                  </a:lnTo>
                  <a:lnTo>
                    <a:pt x="12" y="126"/>
                  </a:lnTo>
                  <a:lnTo>
                    <a:pt x="6" y="132"/>
                  </a:lnTo>
                  <a:lnTo>
                    <a:pt x="18" y="138"/>
                  </a:lnTo>
                  <a:lnTo>
                    <a:pt x="30" y="120"/>
                  </a:lnTo>
                  <a:lnTo>
                    <a:pt x="36" y="126"/>
                  </a:lnTo>
                  <a:lnTo>
                    <a:pt x="42" y="138"/>
                  </a:lnTo>
                  <a:lnTo>
                    <a:pt x="48" y="144"/>
                  </a:lnTo>
                  <a:lnTo>
                    <a:pt x="90" y="144"/>
                  </a:lnTo>
                  <a:lnTo>
                    <a:pt x="108" y="138"/>
                  </a:lnTo>
                  <a:lnTo>
                    <a:pt x="120" y="138"/>
                  </a:lnTo>
                  <a:lnTo>
                    <a:pt x="132" y="114"/>
                  </a:lnTo>
                  <a:lnTo>
                    <a:pt x="168" y="120"/>
                  </a:lnTo>
                  <a:lnTo>
                    <a:pt x="174" y="108"/>
                  </a:lnTo>
                  <a:lnTo>
                    <a:pt x="198" y="108"/>
                  </a:lnTo>
                  <a:lnTo>
                    <a:pt x="210" y="102"/>
                  </a:lnTo>
                  <a:lnTo>
                    <a:pt x="216" y="102"/>
                  </a:lnTo>
                  <a:lnTo>
                    <a:pt x="228" y="90"/>
                  </a:lnTo>
                  <a:lnTo>
                    <a:pt x="234" y="78"/>
                  </a:lnTo>
                  <a:lnTo>
                    <a:pt x="258" y="78"/>
                  </a:lnTo>
                  <a:lnTo>
                    <a:pt x="258" y="90"/>
                  </a:lnTo>
                  <a:lnTo>
                    <a:pt x="276" y="96"/>
                  </a:lnTo>
                  <a:lnTo>
                    <a:pt x="276" y="78"/>
                  </a:lnTo>
                  <a:lnTo>
                    <a:pt x="288" y="78"/>
                  </a:lnTo>
                  <a:lnTo>
                    <a:pt x="288" y="90"/>
                  </a:lnTo>
                  <a:lnTo>
                    <a:pt x="300" y="90"/>
                  </a:lnTo>
                  <a:lnTo>
                    <a:pt x="312" y="84"/>
                  </a:lnTo>
                  <a:lnTo>
                    <a:pt x="336" y="84"/>
                  </a:lnTo>
                  <a:lnTo>
                    <a:pt x="336" y="90"/>
                  </a:lnTo>
                  <a:lnTo>
                    <a:pt x="336" y="72"/>
                  </a:lnTo>
                  <a:lnTo>
                    <a:pt x="342" y="72"/>
                  </a:lnTo>
                  <a:lnTo>
                    <a:pt x="348" y="66"/>
                  </a:lnTo>
                  <a:lnTo>
                    <a:pt x="348" y="60"/>
                  </a:lnTo>
                  <a:lnTo>
                    <a:pt x="354" y="54"/>
                  </a:lnTo>
                  <a:lnTo>
                    <a:pt x="354" y="30"/>
                  </a:lnTo>
                  <a:lnTo>
                    <a:pt x="348" y="30"/>
                  </a:lnTo>
                  <a:close/>
                </a:path>
              </a:pathLst>
            </a:custGeom>
            <a:solidFill>
              <a:schemeClr val="accent1"/>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64" name="Simbabwe" descr="© INSCALE GmbH, 05.05.2010&#10;http://www.presentationload.com/">
              <a:extLst>
                <a:ext uri="{FF2B5EF4-FFF2-40B4-BE49-F238E27FC236}">
                  <a16:creationId xmlns:a16="http://schemas.microsoft.com/office/drawing/2014/main" id="{9D8CF65B-C48B-4218-8A99-2DE514DEB044}"/>
                </a:ext>
              </a:extLst>
            </p:cNvPr>
            <p:cNvSpPr>
              <a:spLocks/>
            </p:cNvSpPr>
            <p:nvPr/>
          </p:nvSpPr>
          <p:spPr bwMode="gray">
            <a:xfrm>
              <a:off x="4836537" y="4752829"/>
              <a:ext cx="219523" cy="219523"/>
            </a:xfrm>
            <a:custGeom>
              <a:avLst/>
              <a:gdLst>
                <a:gd name="T0" fmla="*/ 2147483647 w 552"/>
                <a:gd name="T1" fmla="*/ 2147483647 h 552"/>
                <a:gd name="T2" fmla="*/ 2147483647 w 552"/>
                <a:gd name="T3" fmla="*/ 2147483647 h 552"/>
                <a:gd name="T4" fmla="*/ 2147483647 w 552"/>
                <a:gd name="T5" fmla="*/ 2147483647 h 552"/>
                <a:gd name="T6" fmla="*/ 2147483647 w 552"/>
                <a:gd name="T7" fmla="*/ 2147483647 h 552"/>
                <a:gd name="T8" fmla="*/ 2147483647 w 552"/>
                <a:gd name="T9" fmla="*/ 2147483647 h 552"/>
                <a:gd name="T10" fmla="*/ 2147483647 w 552"/>
                <a:gd name="T11" fmla="*/ 2147483647 h 552"/>
                <a:gd name="T12" fmla="*/ 2147483647 w 552"/>
                <a:gd name="T13" fmla="*/ 2147483647 h 552"/>
                <a:gd name="T14" fmla="*/ 2147483647 w 552"/>
                <a:gd name="T15" fmla="*/ 2147483647 h 552"/>
                <a:gd name="T16" fmla="*/ 2147483647 w 552"/>
                <a:gd name="T17" fmla="*/ 2147483647 h 552"/>
                <a:gd name="T18" fmla="*/ 2147483647 w 552"/>
                <a:gd name="T19" fmla="*/ 2147483647 h 552"/>
                <a:gd name="T20" fmla="*/ 2147483647 w 552"/>
                <a:gd name="T21" fmla="*/ 2147483647 h 552"/>
                <a:gd name="T22" fmla="*/ 2147483647 w 552"/>
                <a:gd name="T23" fmla="*/ 2147483647 h 552"/>
                <a:gd name="T24" fmla="*/ 2147483647 w 552"/>
                <a:gd name="T25" fmla="*/ 2147483647 h 552"/>
                <a:gd name="T26" fmla="*/ 2147483647 w 552"/>
                <a:gd name="T27" fmla="*/ 2147483647 h 552"/>
                <a:gd name="T28" fmla="*/ 2147483647 w 552"/>
                <a:gd name="T29" fmla="*/ 2147483647 h 552"/>
                <a:gd name="T30" fmla="*/ 2147483647 w 552"/>
                <a:gd name="T31" fmla="*/ 2147483647 h 552"/>
                <a:gd name="T32" fmla="*/ 2147483647 w 552"/>
                <a:gd name="T33" fmla="*/ 2147483647 h 552"/>
                <a:gd name="T34" fmla="*/ 2147483647 w 552"/>
                <a:gd name="T35" fmla="*/ 2147483647 h 552"/>
                <a:gd name="T36" fmla="*/ 2147483647 w 552"/>
                <a:gd name="T37" fmla="*/ 2147483647 h 552"/>
                <a:gd name="T38" fmla="*/ 2147483647 w 552"/>
                <a:gd name="T39" fmla="*/ 2147483647 h 552"/>
                <a:gd name="T40" fmla="*/ 2147483647 w 552"/>
                <a:gd name="T41" fmla="*/ 2147483647 h 552"/>
                <a:gd name="T42" fmla="*/ 2147483647 w 552"/>
                <a:gd name="T43" fmla="*/ 2147483647 h 552"/>
                <a:gd name="T44" fmla="*/ 2147483647 w 552"/>
                <a:gd name="T45" fmla="*/ 2147483647 h 552"/>
                <a:gd name="T46" fmla="*/ 2147483647 w 552"/>
                <a:gd name="T47" fmla="*/ 2147483647 h 552"/>
                <a:gd name="T48" fmla="*/ 2147483647 w 552"/>
                <a:gd name="T49" fmla="*/ 2147483647 h 552"/>
                <a:gd name="T50" fmla="*/ 2147483647 w 552"/>
                <a:gd name="T51" fmla="*/ 2147483647 h 552"/>
                <a:gd name="T52" fmla="*/ 2147483647 w 552"/>
                <a:gd name="T53" fmla="*/ 2147483647 h 552"/>
                <a:gd name="T54" fmla="*/ 2147483647 w 552"/>
                <a:gd name="T55" fmla="*/ 2147483647 h 552"/>
                <a:gd name="T56" fmla="*/ 2147483647 w 552"/>
                <a:gd name="T57" fmla="*/ 2147483647 h 552"/>
                <a:gd name="T58" fmla="*/ 2147483647 w 552"/>
                <a:gd name="T59" fmla="*/ 2147483647 h 552"/>
                <a:gd name="T60" fmla="*/ 2147483647 w 552"/>
                <a:gd name="T61" fmla="*/ 2147483647 h 552"/>
                <a:gd name="T62" fmla="*/ 2147483647 w 552"/>
                <a:gd name="T63" fmla="*/ 2147483647 h 552"/>
                <a:gd name="T64" fmla="*/ 2147483647 w 552"/>
                <a:gd name="T65" fmla="*/ 2147483647 h 552"/>
                <a:gd name="T66" fmla="*/ 2147483647 w 552"/>
                <a:gd name="T67" fmla="*/ 2147483647 h 552"/>
                <a:gd name="T68" fmla="*/ 2147483647 w 552"/>
                <a:gd name="T69" fmla="*/ 2147483647 h 552"/>
                <a:gd name="T70" fmla="*/ 2147483647 w 552"/>
                <a:gd name="T71" fmla="*/ 2147483647 h 552"/>
                <a:gd name="T72" fmla="*/ 2147483647 w 552"/>
                <a:gd name="T73" fmla="*/ 2147483647 h 552"/>
                <a:gd name="T74" fmla="*/ 2147483647 w 552"/>
                <a:gd name="T75" fmla="*/ 0 h 552"/>
                <a:gd name="T76" fmla="*/ 2147483647 w 552"/>
                <a:gd name="T77" fmla="*/ 2147483647 h 552"/>
                <a:gd name="T78" fmla="*/ 2147483647 w 552"/>
                <a:gd name="T79" fmla="*/ 2147483647 h 552"/>
                <a:gd name="T80" fmla="*/ 2147483647 w 552"/>
                <a:gd name="T81" fmla="*/ 2147483647 h 552"/>
                <a:gd name="T82" fmla="*/ 2147483647 w 552"/>
                <a:gd name="T83" fmla="*/ 2147483647 h 552"/>
                <a:gd name="T84" fmla="*/ 2147483647 w 552"/>
                <a:gd name="T85" fmla="*/ 2147483647 h 552"/>
                <a:gd name="T86" fmla="*/ 2147483647 w 552"/>
                <a:gd name="T87" fmla="*/ 2147483647 h 552"/>
                <a:gd name="T88" fmla="*/ 2147483647 w 552"/>
                <a:gd name="T89" fmla="*/ 2147483647 h 552"/>
                <a:gd name="T90" fmla="*/ 2147483647 w 552"/>
                <a:gd name="T91" fmla="*/ 2147483647 h 552"/>
                <a:gd name="T92" fmla="*/ 2147483647 w 552"/>
                <a:gd name="T93" fmla="*/ 2147483647 h 552"/>
                <a:gd name="T94" fmla="*/ 2147483647 w 552"/>
                <a:gd name="T95" fmla="*/ 2147483647 h 552"/>
                <a:gd name="T96" fmla="*/ 2147483647 w 552"/>
                <a:gd name="T97" fmla="*/ 2147483647 h 552"/>
                <a:gd name="T98" fmla="*/ 2147483647 w 552"/>
                <a:gd name="T99" fmla="*/ 2147483647 h 552"/>
                <a:gd name="T100" fmla="*/ 2147483647 w 552"/>
                <a:gd name="T101" fmla="*/ 2147483647 h 552"/>
                <a:gd name="T102" fmla="*/ 2147483647 w 552"/>
                <a:gd name="T103" fmla="*/ 2147483647 h 5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52"/>
                <a:gd name="T157" fmla="*/ 0 h 552"/>
                <a:gd name="T158" fmla="*/ 552 w 552"/>
                <a:gd name="T159" fmla="*/ 552 h 5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52" h="552">
                  <a:moveTo>
                    <a:pt x="18" y="204"/>
                  </a:moveTo>
                  <a:lnTo>
                    <a:pt x="18" y="234"/>
                  </a:lnTo>
                  <a:lnTo>
                    <a:pt x="30" y="234"/>
                  </a:lnTo>
                  <a:lnTo>
                    <a:pt x="36" y="240"/>
                  </a:lnTo>
                  <a:lnTo>
                    <a:pt x="48" y="264"/>
                  </a:lnTo>
                  <a:lnTo>
                    <a:pt x="54" y="270"/>
                  </a:lnTo>
                  <a:lnTo>
                    <a:pt x="54" y="294"/>
                  </a:lnTo>
                  <a:lnTo>
                    <a:pt x="72" y="330"/>
                  </a:lnTo>
                  <a:lnTo>
                    <a:pt x="84" y="336"/>
                  </a:lnTo>
                  <a:lnTo>
                    <a:pt x="102" y="354"/>
                  </a:lnTo>
                  <a:lnTo>
                    <a:pt x="132" y="354"/>
                  </a:lnTo>
                  <a:lnTo>
                    <a:pt x="138" y="360"/>
                  </a:lnTo>
                  <a:lnTo>
                    <a:pt x="138" y="390"/>
                  </a:lnTo>
                  <a:lnTo>
                    <a:pt x="168" y="390"/>
                  </a:lnTo>
                  <a:lnTo>
                    <a:pt x="174" y="414"/>
                  </a:lnTo>
                  <a:lnTo>
                    <a:pt x="168" y="420"/>
                  </a:lnTo>
                  <a:lnTo>
                    <a:pt x="168" y="450"/>
                  </a:lnTo>
                  <a:lnTo>
                    <a:pt x="186" y="450"/>
                  </a:lnTo>
                  <a:lnTo>
                    <a:pt x="186" y="480"/>
                  </a:lnTo>
                  <a:lnTo>
                    <a:pt x="198" y="480"/>
                  </a:lnTo>
                  <a:lnTo>
                    <a:pt x="216" y="486"/>
                  </a:lnTo>
                  <a:lnTo>
                    <a:pt x="228" y="486"/>
                  </a:lnTo>
                  <a:lnTo>
                    <a:pt x="246" y="492"/>
                  </a:lnTo>
                  <a:lnTo>
                    <a:pt x="264" y="510"/>
                  </a:lnTo>
                  <a:lnTo>
                    <a:pt x="270" y="522"/>
                  </a:lnTo>
                  <a:lnTo>
                    <a:pt x="270" y="528"/>
                  </a:lnTo>
                  <a:lnTo>
                    <a:pt x="252" y="528"/>
                  </a:lnTo>
                  <a:lnTo>
                    <a:pt x="312" y="528"/>
                  </a:lnTo>
                  <a:lnTo>
                    <a:pt x="324" y="534"/>
                  </a:lnTo>
                  <a:lnTo>
                    <a:pt x="330" y="534"/>
                  </a:lnTo>
                  <a:lnTo>
                    <a:pt x="342" y="540"/>
                  </a:lnTo>
                  <a:lnTo>
                    <a:pt x="402" y="540"/>
                  </a:lnTo>
                  <a:lnTo>
                    <a:pt x="420" y="552"/>
                  </a:lnTo>
                  <a:lnTo>
                    <a:pt x="486" y="468"/>
                  </a:lnTo>
                  <a:lnTo>
                    <a:pt x="504" y="462"/>
                  </a:lnTo>
                  <a:lnTo>
                    <a:pt x="492" y="444"/>
                  </a:lnTo>
                  <a:lnTo>
                    <a:pt x="504" y="432"/>
                  </a:lnTo>
                  <a:lnTo>
                    <a:pt x="504" y="402"/>
                  </a:lnTo>
                  <a:lnTo>
                    <a:pt x="516" y="396"/>
                  </a:lnTo>
                  <a:lnTo>
                    <a:pt x="528" y="384"/>
                  </a:lnTo>
                  <a:lnTo>
                    <a:pt x="528" y="372"/>
                  </a:lnTo>
                  <a:lnTo>
                    <a:pt x="540" y="360"/>
                  </a:lnTo>
                  <a:lnTo>
                    <a:pt x="546" y="348"/>
                  </a:lnTo>
                  <a:lnTo>
                    <a:pt x="546" y="342"/>
                  </a:lnTo>
                  <a:lnTo>
                    <a:pt x="522" y="318"/>
                  </a:lnTo>
                  <a:lnTo>
                    <a:pt x="522" y="306"/>
                  </a:lnTo>
                  <a:lnTo>
                    <a:pt x="540" y="288"/>
                  </a:lnTo>
                  <a:lnTo>
                    <a:pt x="522" y="264"/>
                  </a:lnTo>
                  <a:lnTo>
                    <a:pt x="540" y="252"/>
                  </a:lnTo>
                  <a:lnTo>
                    <a:pt x="540" y="240"/>
                  </a:lnTo>
                  <a:lnTo>
                    <a:pt x="546" y="240"/>
                  </a:lnTo>
                  <a:lnTo>
                    <a:pt x="546" y="234"/>
                  </a:lnTo>
                  <a:lnTo>
                    <a:pt x="552" y="228"/>
                  </a:lnTo>
                  <a:lnTo>
                    <a:pt x="552" y="216"/>
                  </a:lnTo>
                  <a:lnTo>
                    <a:pt x="540" y="192"/>
                  </a:lnTo>
                  <a:lnTo>
                    <a:pt x="540" y="180"/>
                  </a:lnTo>
                  <a:lnTo>
                    <a:pt x="546" y="174"/>
                  </a:lnTo>
                  <a:lnTo>
                    <a:pt x="546" y="168"/>
                  </a:lnTo>
                  <a:lnTo>
                    <a:pt x="552" y="162"/>
                  </a:lnTo>
                  <a:lnTo>
                    <a:pt x="540" y="150"/>
                  </a:lnTo>
                  <a:lnTo>
                    <a:pt x="552" y="138"/>
                  </a:lnTo>
                  <a:lnTo>
                    <a:pt x="540" y="120"/>
                  </a:lnTo>
                  <a:lnTo>
                    <a:pt x="546" y="114"/>
                  </a:lnTo>
                  <a:lnTo>
                    <a:pt x="552" y="102"/>
                  </a:lnTo>
                  <a:lnTo>
                    <a:pt x="552" y="96"/>
                  </a:lnTo>
                  <a:lnTo>
                    <a:pt x="540" y="84"/>
                  </a:lnTo>
                  <a:lnTo>
                    <a:pt x="528" y="84"/>
                  </a:lnTo>
                  <a:lnTo>
                    <a:pt x="510" y="66"/>
                  </a:lnTo>
                  <a:lnTo>
                    <a:pt x="498" y="66"/>
                  </a:lnTo>
                  <a:lnTo>
                    <a:pt x="486" y="72"/>
                  </a:lnTo>
                  <a:lnTo>
                    <a:pt x="480" y="72"/>
                  </a:lnTo>
                  <a:lnTo>
                    <a:pt x="462" y="48"/>
                  </a:lnTo>
                  <a:lnTo>
                    <a:pt x="444" y="48"/>
                  </a:lnTo>
                  <a:lnTo>
                    <a:pt x="432" y="30"/>
                  </a:lnTo>
                  <a:lnTo>
                    <a:pt x="372" y="30"/>
                  </a:lnTo>
                  <a:lnTo>
                    <a:pt x="366" y="0"/>
                  </a:lnTo>
                  <a:lnTo>
                    <a:pt x="330" y="0"/>
                  </a:lnTo>
                  <a:lnTo>
                    <a:pt x="294" y="12"/>
                  </a:lnTo>
                  <a:lnTo>
                    <a:pt x="282" y="24"/>
                  </a:lnTo>
                  <a:lnTo>
                    <a:pt x="258" y="36"/>
                  </a:lnTo>
                  <a:lnTo>
                    <a:pt x="258" y="72"/>
                  </a:lnTo>
                  <a:lnTo>
                    <a:pt x="252" y="78"/>
                  </a:lnTo>
                  <a:lnTo>
                    <a:pt x="240" y="78"/>
                  </a:lnTo>
                  <a:lnTo>
                    <a:pt x="228" y="84"/>
                  </a:lnTo>
                  <a:lnTo>
                    <a:pt x="210" y="90"/>
                  </a:lnTo>
                  <a:lnTo>
                    <a:pt x="198" y="96"/>
                  </a:lnTo>
                  <a:lnTo>
                    <a:pt x="192" y="102"/>
                  </a:lnTo>
                  <a:lnTo>
                    <a:pt x="180" y="126"/>
                  </a:lnTo>
                  <a:lnTo>
                    <a:pt x="174" y="132"/>
                  </a:lnTo>
                  <a:lnTo>
                    <a:pt x="174" y="138"/>
                  </a:lnTo>
                  <a:lnTo>
                    <a:pt x="168" y="144"/>
                  </a:lnTo>
                  <a:lnTo>
                    <a:pt x="162" y="156"/>
                  </a:lnTo>
                  <a:lnTo>
                    <a:pt x="132" y="186"/>
                  </a:lnTo>
                  <a:lnTo>
                    <a:pt x="108" y="198"/>
                  </a:lnTo>
                  <a:lnTo>
                    <a:pt x="90" y="198"/>
                  </a:lnTo>
                  <a:lnTo>
                    <a:pt x="90" y="192"/>
                  </a:lnTo>
                  <a:lnTo>
                    <a:pt x="78" y="180"/>
                  </a:lnTo>
                  <a:lnTo>
                    <a:pt x="66" y="180"/>
                  </a:lnTo>
                  <a:lnTo>
                    <a:pt x="66" y="192"/>
                  </a:lnTo>
                  <a:lnTo>
                    <a:pt x="54" y="192"/>
                  </a:lnTo>
                  <a:lnTo>
                    <a:pt x="42" y="180"/>
                  </a:lnTo>
                  <a:lnTo>
                    <a:pt x="42" y="174"/>
                  </a:lnTo>
                  <a:lnTo>
                    <a:pt x="0" y="174"/>
                  </a:lnTo>
                  <a:lnTo>
                    <a:pt x="6" y="192"/>
                  </a:lnTo>
                  <a:lnTo>
                    <a:pt x="18" y="204"/>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65" name="Sierra Leone" descr="© INSCALE GmbH, 05.05.2010&#10;http://www.presentationload.com/">
              <a:extLst>
                <a:ext uri="{FF2B5EF4-FFF2-40B4-BE49-F238E27FC236}">
                  <a16:creationId xmlns:a16="http://schemas.microsoft.com/office/drawing/2014/main" id="{93D7634D-60EB-41BD-88F1-26DEDE6C5992}"/>
                </a:ext>
              </a:extLst>
            </p:cNvPr>
            <p:cNvSpPr>
              <a:spLocks/>
            </p:cNvSpPr>
            <p:nvPr/>
          </p:nvSpPr>
          <p:spPr bwMode="gray">
            <a:xfrm>
              <a:off x="3756170" y="3929617"/>
              <a:ext cx="83105" cy="106626"/>
            </a:xfrm>
            <a:custGeom>
              <a:avLst/>
              <a:gdLst>
                <a:gd name="T0" fmla="*/ 2147483647 w 210"/>
                <a:gd name="T1" fmla="*/ 2147483647 h 270"/>
                <a:gd name="T2" fmla="*/ 2147483647 w 210"/>
                <a:gd name="T3" fmla="*/ 2147483647 h 270"/>
                <a:gd name="T4" fmla="*/ 2147483647 w 210"/>
                <a:gd name="T5" fmla="*/ 2147483647 h 270"/>
                <a:gd name="T6" fmla="*/ 2147483647 w 210"/>
                <a:gd name="T7" fmla="*/ 2147483647 h 270"/>
                <a:gd name="T8" fmla="*/ 2147483647 w 210"/>
                <a:gd name="T9" fmla="*/ 2147483647 h 270"/>
                <a:gd name="T10" fmla="*/ 2147483647 w 210"/>
                <a:gd name="T11" fmla="*/ 2147483647 h 270"/>
                <a:gd name="T12" fmla="*/ 2147483647 w 210"/>
                <a:gd name="T13" fmla="*/ 2147483647 h 270"/>
                <a:gd name="T14" fmla="*/ 2147483647 w 210"/>
                <a:gd name="T15" fmla="*/ 2147483647 h 270"/>
                <a:gd name="T16" fmla="*/ 2147483647 w 210"/>
                <a:gd name="T17" fmla="*/ 2147483647 h 270"/>
                <a:gd name="T18" fmla="*/ 2147483647 w 210"/>
                <a:gd name="T19" fmla="*/ 2147483647 h 270"/>
                <a:gd name="T20" fmla="*/ 2147483647 w 210"/>
                <a:gd name="T21" fmla="*/ 2147483647 h 270"/>
                <a:gd name="T22" fmla="*/ 2147483647 w 210"/>
                <a:gd name="T23" fmla="*/ 0 h 270"/>
                <a:gd name="T24" fmla="*/ 2147483647 w 210"/>
                <a:gd name="T25" fmla="*/ 0 h 270"/>
                <a:gd name="T26" fmla="*/ 2147483647 w 210"/>
                <a:gd name="T27" fmla="*/ 2147483647 h 270"/>
                <a:gd name="T28" fmla="*/ 2147483647 w 210"/>
                <a:gd name="T29" fmla="*/ 2147483647 h 270"/>
                <a:gd name="T30" fmla="*/ 2147483647 w 210"/>
                <a:gd name="T31" fmla="*/ 2147483647 h 270"/>
                <a:gd name="T32" fmla="*/ 2147483647 w 210"/>
                <a:gd name="T33" fmla="*/ 2147483647 h 270"/>
                <a:gd name="T34" fmla="*/ 2147483647 w 210"/>
                <a:gd name="T35" fmla="*/ 2147483647 h 270"/>
                <a:gd name="T36" fmla="*/ 2147483647 w 210"/>
                <a:gd name="T37" fmla="*/ 2147483647 h 270"/>
                <a:gd name="T38" fmla="*/ 2147483647 w 210"/>
                <a:gd name="T39" fmla="*/ 2147483647 h 270"/>
                <a:gd name="T40" fmla="*/ 2147483647 w 210"/>
                <a:gd name="T41" fmla="*/ 2147483647 h 270"/>
                <a:gd name="T42" fmla="*/ 2147483647 w 210"/>
                <a:gd name="T43" fmla="*/ 2147483647 h 270"/>
                <a:gd name="T44" fmla="*/ 0 w 210"/>
                <a:gd name="T45" fmla="*/ 2147483647 h 270"/>
                <a:gd name="T46" fmla="*/ 2147483647 w 210"/>
                <a:gd name="T47" fmla="*/ 2147483647 h 270"/>
                <a:gd name="T48" fmla="*/ 2147483647 w 210"/>
                <a:gd name="T49" fmla="*/ 2147483647 h 270"/>
                <a:gd name="T50" fmla="*/ 0 w 210"/>
                <a:gd name="T51" fmla="*/ 2147483647 h 270"/>
                <a:gd name="T52" fmla="*/ 0 w 210"/>
                <a:gd name="T53" fmla="*/ 2147483647 h 270"/>
                <a:gd name="T54" fmla="*/ 2147483647 w 210"/>
                <a:gd name="T55" fmla="*/ 2147483647 h 270"/>
                <a:gd name="T56" fmla="*/ 2147483647 w 210"/>
                <a:gd name="T57" fmla="*/ 2147483647 h 270"/>
                <a:gd name="T58" fmla="*/ 2147483647 w 210"/>
                <a:gd name="T59" fmla="*/ 2147483647 h 270"/>
                <a:gd name="T60" fmla="*/ 2147483647 w 210"/>
                <a:gd name="T61" fmla="*/ 2147483647 h 270"/>
                <a:gd name="T62" fmla="*/ 2147483647 w 210"/>
                <a:gd name="T63" fmla="*/ 2147483647 h 270"/>
                <a:gd name="T64" fmla="*/ 2147483647 w 210"/>
                <a:gd name="T65" fmla="*/ 2147483647 h 270"/>
                <a:gd name="T66" fmla="*/ 2147483647 w 210"/>
                <a:gd name="T67" fmla="*/ 2147483647 h 270"/>
                <a:gd name="T68" fmla="*/ 2147483647 w 210"/>
                <a:gd name="T69" fmla="*/ 2147483647 h 270"/>
                <a:gd name="T70" fmla="*/ 2147483647 w 210"/>
                <a:gd name="T71" fmla="*/ 2147483647 h 270"/>
                <a:gd name="T72" fmla="*/ 2147483647 w 210"/>
                <a:gd name="T73" fmla="*/ 2147483647 h 270"/>
                <a:gd name="T74" fmla="*/ 2147483647 w 210"/>
                <a:gd name="T75" fmla="*/ 2147483647 h 270"/>
                <a:gd name="T76" fmla="*/ 2147483647 w 210"/>
                <a:gd name="T77" fmla="*/ 2147483647 h 270"/>
                <a:gd name="T78" fmla="*/ 2147483647 w 210"/>
                <a:gd name="T79" fmla="*/ 2147483647 h 270"/>
                <a:gd name="T80" fmla="*/ 2147483647 w 210"/>
                <a:gd name="T81" fmla="*/ 2147483647 h 270"/>
                <a:gd name="T82" fmla="*/ 2147483647 w 210"/>
                <a:gd name="T83" fmla="*/ 2147483647 h 270"/>
                <a:gd name="T84" fmla="*/ 2147483647 w 210"/>
                <a:gd name="T85" fmla="*/ 2147483647 h 270"/>
                <a:gd name="T86" fmla="*/ 2147483647 w 210"/>
                <a:gd name="T87" fmla="*/ 2147483647 h 27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270"/>
                <a:gd name="T134" fmla="*/ 210 w 210"/>
                <a:gd name="T135" fmla="*/ 270 h 27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270">
                  <a:moveTo>
                    <a:pt x="186" y="180"/>
                  </a:moveTo>
                  <a:lnTo>
                    <a:pt x="186" y="162"/>
                  </a:lnTo>
                  <a:lnTo>
                    <a:pt x="210" y="156"/>
                  </a:lnTo>
                  <a:lnTo>
                    <a:pt x="204" y="132"/>
                  </a:lnTo>
                  <a:lnTo>
                    <a:pt x="174" y="144"/>
                  </a:lnTo>
                  <a:lnTo>
                    <a:pt x="180" y="126"/>
                  </a:lnTo>
                  <a:lnTo>
                    <a:pt x="186" y="120"/>
                  </a:lnTo>
                  <a:lnTo>
                    <a:pt x="192" y="108"/>
                  </a:lnTo>
                  <a:lnTo>
                    <a:pt x="192" y="90"/>
                  </a:lnTo>
                  <a:lnTo>
                    <a:pt x="180" y="78"/>
                  </a:lnTo>
                  <a:lnTo>
                    <a:pt x="180" y="60"/>
                  </a:lnTo>
                  <a:lnTo>
                    <a:pt x="138" y="0"/>
                  </a:lnTo>
                  <a:lnTo>
                    <a:pt x="102" y="0"/>
                  </a:lnTo>
                  <a:lnTo>
                    <a:pt x="96" y="18"/>
                  </a:lnTo>
                  <a:lnTo>
                    <a:pt x="60" y="18"/>
                  </a:lnTo>
                  <a:lnTo>
                    <a:pt x="60" y="24"/>
                  </a:lnTo>
                  <a:lnTo>
                    <a:pt x="54" y="30"/>
                  </a:lnTo>
                  <a:lnTo>
                    <a:pt x="48" y="42"/>
                  </a:lnTo>
                  <a:lnTo>
                    <a:pt x="36" y="54"/>
                  </a:lnTo>
                  <a:lnTo>
                    <a:pt x="30" y="66"/>
                  </a:lnTo>
                  <a:lnTo>
                    <a:pt x="18" y="72"/>
                  </a:lnTo>
                  <a:lnTo>
                    <a:pt x="12" y="78"/>
                  </a:lnTo>
                  <a:lnTo>
                    <a:pt x="0" y="84"/>
                  </a:lnTo>
                  <a:lnTo>
                    <a:pt x="12" y="96"/>
                  </a:lnTo>
                  <a:lnTo>
                    <a:pt x="6" y="102"/>
                  </a:lnTo>
                  <a:lnTo>
                    <a:pt x="0" y="114"/>
                  </a:lnTo>
                  <a:lnTo>
                    <a:pt x="0" y="132"/>
                  </a:lnTo>
                  <a:lnTo>
                    <a:pt x="6" y="138"/>
                  </a:lnTo>
                  <a:lnTo>
                    <a:pt x="18" y="144"/>
                  </a:lnTo>
                  <a:lnTo>
                    <a:pt x="24" y="150"/>
                  </a:lnTo>
                  <a:lnTo>
                    <a:pt x="18" y="180"/>
                  </a:lnTo>
                  <a:lnTo>
                    <a:pt x="42" y="198"/>
                  </a:lnTo>
                  <a:lnTo>
                    <a:pt x="42" y="204"/>
                  </a:lnTo>
                  <a:lnTo>
                    <a:pt x="48" y="210"/>
                  </a:lnTo>
                  <a:lnTo>
                    <a:pt x="54" y="222"/>
                  </a:lnTo>
                  <a:lnTo>
                    <a:pt x="78" y="234"/>
                  </a:lnTo>
                  <a:lnTo>
                    <a:pt x="96" y="234"/>
                  </a:lnTo>
                  <a:lnTo>
                    <a:pt x="126" y="270"/>
                  </a:lnTo>
                  <a:lnTo>
                    <a:pt x="126" y="234"/>
                  </a:lnTo>
                  <a:lnTo>
                    <a:pt x="144" y="216"/>
                  </a:lnTo>
                  <a:lnTo>
                    <a:pt x="156" y="210"/>
                  </a:lnTo>
                  <a:lnTo>
                    <a:pt x="168" y="198"/>
                  </a:lnTo>
                  <a:lnTo>
                    <a:pt x="180" y="192"/>
                  </a:lnTo>
                  <a:lnTo>
                    <a:pt x="186" y="18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66" name="Serbien" descr="© INSCALE GmbH, 05.05.2010&#10;http://www.presentationload.com/">
              <a:extLst>
                <a:ext uri="{FF2B5EF4-FFF2-40B4-BE49-F238E27FC236}">
                  <a16:creationId xmlns:a16="http://schemas.microsoft.com/office/drawing/2014/main" id="{6E306460-8BA7-4B91-9C47-94B3B4EA08A5}"/>
                </a:ext>
              </a:extLst>
            </p:cNvPr>
            <p:cNvSpPr>
              <a:spLocks/>
            </p:cNvSpPr>
            <p:nvPr/>
          </p:nvSpPr>
          <p:spPr bwMode="gray">
            <a:xfrm>
              <a:off x="4632694" y="2777120"/>
              <a:ext cx="109762" cy="120341"/>
            </a:xfrm>
            <a:custGeom>
              <a:avLst/>
              <a:gdLst/>
              <a:ahLst/>
              <a:cxnLst>
                <a:cxn ang="0">
                  <a:pos x="464" y="374"/>
                </a:cxn>
                <a:cxn ang="0">
                  <a:pos x="453" y="310"/>
                </a:cxn>
                <a:cxn ang="0">
                  <a:pos x="453" y="235"/>
                </a:cxn>
                <a:cxn ang="0">
                  <a:pos x="378" y="224"/>
                </a:cxn>
                <a:cxn ang="0">
                  <a:pos x="302" y="171"/>
                </a:cxn>
                <a:cxn ang="0">
                  <a:pos x="291" y="118"/>
                </a:cxn>
                <a:cxn ang="0">
                  <a:pos x="259" y="128"/>
                </a:cxn>
                <a:cxn ang="0">
                  <a:pos x="216" y="53"/>
                </a:cxn>
                <a:cxn ang="0">
                  <a:pos x="87" y="0"/>
                </a:cxn>
                <a:cxn ang="0">
                  <a:pos x="0" y="43"/>
                </a:cxn>
                <a:cxn ang="0">
                  <a:pos x="32" y="96"/>
                </a:cxn>
                <a:cxn ang="0">
                  <a:pos x="65" y="139"/>
                </a:cxn>
                <a:cxn ang="0">
                  <a:pos x="54" y="150"/>
                </a:cxn>
                <a:cxn ang="0">
                  <a:pos x="32" y="181"/>
                </a:cxn>
                <a:cxn ang="0">
                  <a:pos x="32" y="192"/>
                </a:cxn>
                <a:cxn ang="0">
                  <a:pos x="76" y="203"/>
                </a:cxn>
                <a:cxn ang="0">
                  <a:pos x="87" y="267"/>
                </a:cxn>
                <a:cxn ang="0">
                  <a:pos x="65" y="310"/>
                </a:cxn>
                <a:cxn ang="0">
                  <a:pos x="98" y="363"/>
                </a:cxn>
                <a:cxn ang="0">
                  <a:pos x="119" y="395"/>
                </a:cxn>
                <a:cxn ang="0">
                  <a:pos x="157" y="442"/>
                </a:cxn>
                <a:cxn ang="0">
                  <a:pos x="173" y="438"/>
                </a:cxn>
                <a:cxn ang="0">
                  <a:pos x="180" y="444"/>
                </a:cxn>
                <a:cxn ang="0">
                  <a:pos x="230" y="446"/>
                </a:cxn>
                <a:cxn ang="0">
                  <a:pos x="237" y="431"/>
                </a:cxn>
                <a:cxn ang="0">
                  <a:pos x="258" y="416"/>
                </a:cxn>
                <a:cxn ang="0">
                  <a:pos x="266" y="418"/>
                </a:cxn>
                <a:cxn ang="0">
                  <a:pos x="268" y="407"/>
                </a:cxn>
                <a:cxn ang="0">
                  <a:pos x="267" y="399"/>
                </a:cxn>
                <a:cxn ang="0">
                  <a:pos x="254" y="388"/>
                </a:cxn>
                <a:cxn ang="0">
                  <a:pos x="262" y="387"/>
                </a:cxn>
                <a:cxn ang="0">
                  <a:pos x="279" y="380"/>
                </a:cxn>
                <a:cxn ang="0">
                  <a:pos x="288" y="372"/>
                </a:cxn>
                <a:cxn ang="0">
                  <a:pos x="298" y="389"/>
                </a:cxn>
                <a:cxn ang="0">
                  <a:pos x="292" y="399"/>
                </a:cxn>
                <a:cxn ang="0">
                  <a:pos x="309" y="402"/>
                </a:cxn>
                <a:cxn ang="0">
                  <a:pos x="321" y="404"/>
                </a:cxn>
                <a:cxn ang="0">
                  <a:pos x="326" y="408"/>
                </a:cxn>
                <a:cxn ang="0">
                  <a:pos x="328" y="433"/>
                </a:cxn>
                <a:cxn ang="0">
                  <a:pos x="334" y="429"/>
                </a:cxn>
                <a:cxn ang="0">
                  <a:pos x="335" y="448"/>
                </a:cxn>
                <a:cxn ang="0">
                  <a:pos x="348" y="452"/>
                </a:cxn>
                <a:cxn ang="0">
                  <a:pos x="356" y="467"/>
                </a:cxn>
                <a:cxn ang="0">
                  <a:pos x="354" y="478"/>
                </a:cxn>
                <a:cxn ang="0">
                  <a:pos x="356" y="482"/>
                </a:cxn>
                <a:cxn ang="0">
                  <a:pos x="369" y="485"/>
                </a:cxn>
                <a:cxn ang="0">
                  <a:pos x="381" y="492"/>
                </a:cxn>
                <a:cxn ang="0">
                  <a:pos x="390" y="496"/>
                </a:cxn>
                <a:cxn ang="0">
                  <a:pos x="399" y="501"/>
                </a:cxn>
                <a:cxn ang="0">
                  <a:pos x="392" y="513"/>
                </a:cxn>
                <a:cxn ang="0">
                  <a:pos x="384" y="528"/>
                </a:cxn>
                <a:cxn ang="0">
                  <a:pos x="376" y="542"/>
                </a:cxn>
                <a:cxn ang="0">
                  <a:pos x="453" y="492"/>
                </a:cxn>
                <a:cxn ang="0">
                  <a:pos x="486" y="470"/>
                </a:cxn>
                <a:cxn ang="0">
                  <a:pos x="486" y="406"/>
                </a:cxn>
              </a:cxnLst>
              <a:rect l="0" t="0" r="r" b="b"/>
              <a:pathLst>
                <a:path w="496" h="542">
                  <a:moveTo>
                    <a:pt x="486" y="406"/>
                  </a:moveTo>
                  <a:cubicBezTo>
                    <a:pt x="453" y="395"/>
                    <a:pt x="453" y="395"/>
                    <a:pt x="453" y="395"/>
                  </a:cubicBezTo>
                  <a:cubicBezTo>
                    <a:pt x="464" y="374"/>
                    <a:pt x="464" y="374"/>
                    <a:pt x="464" y="374"/>
                  </a:cubicBezTo>
                  <a:cubicBezTo>
                    <a:pt x="432" y="363"/>
                    <a:pt x="432" y="363"/>
                    <a:pt x="432" y="363"/>
                  </a:cubicBezTo>
                  <a:cubicBezTo>
                    <a:pt x="432" y="331"/>
                    <a:pt x="432" y="331"/>
                    <a:pt x="432" y="331"/>
                  </a:cubicBezTo>
                  <a:cubicBezTo>
                    <a:pt x="453" y="310"/>
                    <a:pt x="453" y="310"/>
                    <a:pt x="453" y="310"/>
                  </a:cubicBezTo>
                  <a:cubicBezTo>
                    <a:pt x="453" y="267"/>
                    <a:pt x="453" y="267"/>
                    <a:pt x="453" y="267"/>
                  </a:cubicBezTo>
                  <a:cubicBezTo>
                    <a:pt x="442" y="256"/>
                    <a:pt x="442" y="256"/>
                    <a:pt x="442" y="256"/>
                  </a:cubicBezTo>
                  <a:cubicBezTo>
                    <a:pt x="453" y="235"/>
                    <a:pt x="453" y="235"/>
                    <a:pt x="453" y="235"/>
                  </a:cubicBezTo>
                  <a:cubicBezTo>
                    <a:pt x="464" y="224"/>
                    <a:pt x="464" y="224"/>
                    <a:pt x="464" y="224"/>
                  </a:cubicBezTo>
                  <a:cubicBezTo>
                    <a:pt x="421" y="213"/>
                    <a:pt x="421" y="213"/>
                    <a:pt x="421" y="213"/>
                  </a:cubicBezTo>
                  <a:cubicBezTo>
                    <a:pt x="378" y="224"/>
                    <a:pt x="378" y="224"/>
                    <a:pt x="378" y="224"/>
                  </a:cubicBezTo>
                  <a:cubicBezTo>
                    <a:pt x="367" y="213"/>
                    <a:pt x="367" y="213"/>
                    <a:pt x="367" y="213"/>
                  </a:cubicBezTo>
                  <a:cubicBezTo>
                    <a:pt x="324" y="203"/>
                    <a:pt x="324" y="203"/>
                    <a:pt x="324" y="203"/>
                  </a:cubicBezTo>
                  <a:cubicBezTo>
                    <a:pt x="302" y="171"/>
                    <a:pt x="302" y="171"/>
                    <a:pt x="302" y="171"/>
                  </a:cubicBezTo>
                  <a:cubicBezTo>
                    <a:pt x="313" y="160"/>
                    <a:pt x="313" y="160"/>
                    <a:pt x="313" y="160"/>
                  </a:cubicBezTo>
                  <a:cubicBezTo>
                    <a:pt x="313" y="128"/>
                    <a:pt x="313" y="128"/>
                    <a:pt x="313" y="128"/>
                  </a:cubicBezTo>
                  <a:cubicBezTo>
                    <a:pt x="291" y="118"/>
                    <a:pt x="291" y="118"/>
                    <a:pt x="291" y="118"/>
                  </a:cubicBezTo>
                  <a:cubicBezTo>
                    <a:pt x="280" y="118"/>
                    <a:pt x="280" y="118"/>
                    <a:pt x="280" y="118"/>
                  </a:cubicBezTo>
                  <a:cubicBezTo>
                    <a:pt x="270" y="128"/>
                    <a:pt x="270" y="128"/>
                    <a:pt x="270" y="128"/>
                  </a:cubicBezTo>
                  <a:cubicBezTo>
                    <a:pt x="259" y="128"/>
                    <a:pt x="259" y="128"/>
                    <a:pt x="259" y="128"/>
                  </a:cubicBezTo>
                  <a:cubicBezTo>
                    <a:pt x="249" y="118"/>
                    <a:pt x="249" y="118"/>
                    <a:pt x="249" y="118"/>
                  </a:cubicBezTo>
                  <a:cubicBezTo>
                    <a:pt x="227" y="53"/>
                    <a:pt x="227" y="53"/>
                    <a:pt x="227" y="53"/>
                  </a:cubicBezTo>
                  <a:cubicBezTo>
                    <a:pt x="216" y="53"/>
                    <a:pt x="216" y="53"/>
                    <a:pt x="216" y="53"/>
                  </a:cubicBezTo>
                  <a:cubicBezTo>
                    <a:pt x="173" y="21"/>
                    <a:pt x="173" y="21"/>
                    <a:pt x="173" y="21"/>
                  </a:cubicBezTo>
                  <a:cubicBezTo>
                    <a:pt x="129" y="0"/>
                    <a:pt x="129" y="0"/>
                    <a:pt x="129" y="0"/>
                  </a:cubicBezTo>
                  <a:cubicBezTo>
                    <a:pt x="87" y="0"/>
                    <a:pt x="87" y="0"/>
                    <a:pt x="87" y="0"/>
                  </a:cubicBezTo>
                  <a:cubicBezTo>
                    <a:pt x="54" y="32"/>
                    <a:pt x="54" y="32"/>
                    <a:pt x="54" y="32"/>
                  </a:cubicBezTo>
                  <a:cubicBezTo>
                    <a:pt x="11" y="32"/>
                    <a:pt x="11" y="32"/>
                    <a:pt x="11" y="32"/>
                  </a:cubicBezTo>
                  <a:cubicBezTo>
                    <a:pt x="0" y="43"/>
                    <a:pt x="0" y="43"/>
                    <a:pt x="0" y="43"/>
                  </a:cubicBezTo>
                  <a:cubicBezTo>
                    <a:pt x="11" y="43"/>
                    <a:pt x="11" y="43"/>
                    <a:pt x="11" y="43"/>
                  </a:cubicBezTo>
                  <a:cubicBezTo>
                    <a:pt x="22" y="96"/>
                    <a:pt x="22" y="96"/>
                    <a:pt x="22" y="96"/>
                  </a:cubicBezTo>
                  <a:cubicBezTo>
                    <a:pt x="32" y="96"/>
                    <a:pt x="32" y="96"/>
                    <a:pt x="32" y="96"/>
                  </a:cubicBezTo>
                  <a:cubicBezTo>
                    <a:pt x="22" y="128"/>
                    <a:pt x="22" y="128"/>
                    <a:pt x="22" y="128"/>
                  </a:cubicBezTo>
                  <a:cubicBezTo>
                    <a:pt x="43" y="128"/>
                    <a:pt x="43" y="128"/>
                    <a:pt x="43" y="128"/>
                  </a:cubicBezTo>
                  <a:cubicBezTo>
                    <a:pt x="65" y="139"/>
                    <a:pt x="65" y="139"/>
                    <a:pt x="65" y="139"/>
                  </a:cubicBezTo>
                  <a:cubicBezTo>
                    <a:pt x="76" y="139"/>
                    <a:pt x="76" y="139"/>
                    <a:pt x="76" y="139"/>
                  </a:cubicBezTo>
                  <a:cubicBezTo>
                    <a:pt x="65" y="150"/>
                    <a:pt x="65" y="150"/>
                    <a:pt x="65" y="150"/>
                  </a:cubicBezTo>
                  <a:cubicBezTo>
                    <a:pt x="54" y="150"/>
                    <a:pt x="54" y="150"/>
                    <a:pt x="54" y="150"/>
                  </a:cubicBezTo>
                  <a:cubicBezTo>
                    <a:pt x="43" y="160"/>
                    <a:pt x="43" y="160"/>
                    <a:pt x="43" y="160"/>
                  </a:cubicBezTo>
                  <a:cubicBezTo>
                    <a:pt x="32" y="160"/>
                    <a:pt x="32" y="160"/>
                    <a:pt x="32" y="160"/>
                  </a:cubicBezTo>
                  <a:cubicBezTo>
                    <a:pt x="32" y="181"/>
                    <a:pt x="32" y="181"/>
                    <a:pt x="32" y="181"/>
                  </a:cubicBezTo>
                  <a:cubicBezTo>
                    <a:pt x="22" y="181"/>
                    <a:pt x="22" y="181"/>
                    <a:pt x="22" y="181"/>
                  </a:cubicBezTo>
                  <a:cubicBezTo>
                    <a:pt x="22" y="192"/>
                    <a:pt x="22" y="192"/>
                    <a:pt x="22" y="192"/>
                  </a:cubicBezTo>
                  <a:cubicBezTo>
                    <a:pt x="32" y="192"/>
                    <a:pt x="32" y="192"/>
                    <a:pt x="32" y="192"/>
                  </a:cubicBezTo>
                  <a:cubicBezTo>
                    <a:pt x="54" y="181"/>
                    <a:pt x="54" y="181"/>
                    <a:pt x="54" y="181"/>
                  </a:cubicBezTo>
                  <a:cubicBezTo>
                    <a:pt x="76" y="181"/>
                    <a:pt x="76" y="181"/>
                    <a:pt x="76" y="181"/>
                  </a:cubicBezTo>
                  <a:cubicBezTo>
                    <a:pt x="76" y="203"/>
                    <a:pt x="76" y="203"/>
                    <a:pt x="76" y="203"/>
                  </a:cubicBezTo>
                  <a:cubicBezTo>
                    <a:pt x="43" y="235"/>
                    <a:pt x="43" y="235"/>
                    <a:pt x="43" y="235"/>
                  </a:cubicBezTo>
                  <a:cubicBezTo>
                    <a:pt x="43" y="267"/>
                    <a:pt x="43" y="267"/>
                    <a:pt x="43" y="267"/>
                  </a:cubicBezTo>
                  <a:cubicBezTo>
                    <a:pt x="87" y="267"/>
                    <a:pt x="87" y="267"/>
                    <a:pt x="87" y="267"/>
                  </a:cubicBezTo>
                  <a:cubicBezTo>
                    <a:pt x="98" y="278"/>
                    <a:pt x="98" y="278"/>
                    <a:pt x="98" y="278"/>
                  </a:cubicBezTo>
                  <a:cubicBezTo>
                    <a:pt x="108" y="299"/>
                    <a:pt x="108" y="299"/>
                    <a:pt x="108" y="299"/>
                  </a:cubicBezTo>
                  <a:cubicBezTo>
                    <a:pt x="65" y="310"/>
                    <a:pt x="65" y="310"/>
                    <a:pt x="65" y="310"/>
                  </a:cubicBezTo>
                  <a:cubicBezTo>
                    <a:pt x="87" y="331"/>
                    <a:pt x="87" y="331"/>
                    <a:pt x="87" y="331"/>
                  </a:cubicBezTo>
                  <a:cubicBezTo>
                    <a:pt x="98" y="353"/>
                    <a:pt x="98" y="353"/>
                    <a:pt x="98" y="353"/>
                  </a:cubicBezTo>
                  <a:cubicBezTo>
                    <a:pt x="98" y="363"/>
                    <a:pt x="98" y="363"/>
                    <a:pt x="98" y="363"/>
                  </a:cubicBezTo>
                  <a:cubicBezTo>
                    <a:pt x="87" y="363"/>
                    <a:pt x="87" y="363"/>
                    <a:pt x="87" y="363"/>
                  </a:cubicBezTo>
                  <a:cubicBezTo>
                    <a:pt x="87" y="374"/>
                    <a:pt x="87" y="374"/>
                    <a:pt x="87" y="374"/>
                  </a:cubicBezTo>
                  <a:cubicBezTo>
                    <a:pt x="119" y="395"/>
                    <a:pt x="119" y="395"/>
                    <a:pt x="119" y="395"/>
                  </a:cubicBezTo>
                  <a:cubicBezTo>
                    <a:pt x="140" y="417"/>
                    <a:pt x="140" y="417"/>
                    <a:pt x="140" y="417"/>
                  </a:cubicBezTo>
                  <a:cubicBezTo>
                    <a:pt x="157" y="442"/>
                    <a:pt x="157" y="442"/>
                    <a:pt x="157" y="442"/>
                  </a:cubicBezTo>
                  <a:cubicBezTo>
                    <a:pt x="157" y="442"/>
                    <a:pt x="157" y="442"/>
                    <a:pt x="157" y="442"/>
                  </a:cubicBezTo>
                  <a:cubicBezTo>
                    <a:pt x="159" y="442"/>
                    <a:pt x="161" y="443"/>
                    <a:pt x="166" y="444"/>
                  </a:cubicBezTo>
                  <a:cubicBezTo>
                    <a:pt x="166" y="444"/>
                    <a:pt x="166" y="444"/>
                    <a:pt x="167" y="444"/>
                  </a:cubicBezTo>
                  <a:cubicBezTo>
                    <a:pt x="173" y="438"/>
                    <a:pt x="173" y="438"/>
                    <a:pt x="173" y="438"/>
                  </a:cubicBezTo>
                  <a:cubicBezTo>
                    <a:pt x="173" y="447"/>
                    <a:pt x="173" y="447"/>
                    <a:pt x="173" y="447"/>
                  </a:cubicBezTo>
                  <a:cubicBezTo>
                    <a:pt x="174" y="448"/>
                    <a:pt x="175" y="448"/>
                    <a:pt x="176" y="449"/>
                  </a:cubicBezTo>
                  <a:cubicBezTo>
                    <a:pt x="176" y="449"/>
                    <a:pt x="176" y="449"/>
                    <a:pt x="180" y="444"/>
                  </a:cubicBezTo>
                  <a:cubicBezTo>
                    <a:pt x="180" y="444"/>
                    <a:pt x="180" y="444"/>
                    <a:pt x="199" y="447"/>
                  </a:cubicBezTo>
                  <a:cubicBezTo>
                    <a:pt x="199" y="447"/>
                    <a:pt x="199" y="447"/>
                    <a:pt x="212" y="446"/>
                  </a:cubicBezTo>
                  <a:cubicBezTo>
                    <a:pt x="212" y="446"/>
                    <a:pt x="212" y="446"/>
                    <a:pt x="230" y="446"/>
                  </a:cubicBezTo>
                  <a:cubicBezTo>
                    <a:pt x="230" y="446"/>
                    <a:pt x="230" y="446"/>
                    <a:pt x="240" y="443"/>
                  </a:cubicBezTo>
                  <a:cubicBezTo>
                    <a:pt x="240" y="443"/>
                    <a:pt x="240" y="443"/>
                    <a:pt x="239" y="437"/>
                  </a:cubicBezTo>
                  <a:cubicBezTo>
                    <a:pt x="239" y="437"/>
                    <a:pt x="239" y="437"/>
                    <a:pt x="237" y="431"/>
                  </a:cubicBezTo>
                  <a:cubicBezTo>
                    <a:pt x="237" y="431"/>
                    <a:pt x="237" y="431"/>
                    <a:pt x="245" y="425"/>
                  </a:cubicBezTo>
                  <a:cubicBezTo>
                    <a:pt x="245" y="425"/>
                    <a:pt x="245" y="425"/>
                    <a:pt x="255" y="417"/>
                  </a:cubicBezTo>
                  <a:cubicBezTo>
                    <a:pt x="255" y="417"/>
                    <a:pt x="255" y="417"/>
                    <a:pt x="258" y="416"/>
                  </a:cubicBezTo>
                  <a:cubicBezTo>
                    <a:pt x="258" y="416"/>
                    <a:pt x="258" y="416"/>
                    <a:pt x="258" y="421"/>
                  </a:cubicBezTo>
                  <a:cubicBezTo>
                    <a:pt x="258" y="421"/>
                    <a:pt x="258" y="421"/>
                    <a:pt x="262" y="419"/>
                  </a:cubicBezTo>
                  <a:cubicBezTo>
                    <a:pt x="262" y="419"/>
                    <a:pt x="262" y="419"/>
                    <a:pt x="266" y="418"/>
                  </a:cubicBezTo>
                  <a:cubicBezTo>
                    <a:pt x="266" y="418"/>
                    <a:pt x="266" y="418"/>
                    <a:pt x="263" y="414"/>
                  </a:cubicBezTo>
                  <a:cubicBezTo>
                    <a:pt x="263" y="414"/>
                    <a:pt x="263" y="414"/>
                    <a:pt x="267" y="412"/>
                  </a:cubicBezTo>
                  <a:cubicBezTo>
                    <a:pt x="267" y="412"/>
                    <a:pt x="267" y="412"/>
                    <a:pt x="268" y="407"/>
                  </a:cubicBezTo>
                  <a:cubicBezTo>
                    <a:pt x="268" y="407"/>
                    <a:pt x="268" y="407"/>
                    <a:pt x="264" y="405"/>
                  </a:cubicBezTo>
                  <a:cubicBezTo>
                    <a:pt x="264" y="405"/>
                    <a:pt x="264" y="405"/>
                    <a:pt x="264" y="402"/>
                  </a:cubicBezTo>
                  <a:cubicBezTo>
                    <a:pt x="264" y="402"/>
                    <a:pt x="264" y="402"/>
                    <a:pt x="267" y="399"/>
                  </a:cubicBezTo>
                  <a:cubicBezTo>
                    <a:pt x="267" y="399"/>
                    <a:pt x="267" y="399"/>
                    <a:pt x="266" y="396"/>
                  </a:cubicBezTo>
                  <a:cubicBezTo>
                    <a:pt x="266" y="396"/>
                    <a:pt x="266" y="396"/>
                    <a:pt x="258" y="394"/>
                  </a:cubicBezTo>
                  <a:cubicBezTo>
                    <a:pt x="258" y="394"/>
                    <a:pt x="258" y="394"/>
                    <a:pt x="254" y="388"/>
                  </a:cubicBezTo>
                  <a:cubicBezTo>
                    <a:pt x="254" y="388"/>
                    <a:pt x="254" y="388"/>
                    <a:pt x="256" y="385"/>
                  </a:cubicBezTo>
                  <a:cubicBezTo>
                    <a:pt x="256" y="385"/>
                    <a:pt x="256" y="385"/>
                    <a:pt x="259" y="389"/>
                  </a:cubicBezTo>
                  <a:cubicBezTo>
                    <a:pt x="259" y="389"/>
                    <a:pt x="259" y="389"/>
                    <a:pt x="262" y="387"/>
                  </a:cubicBezTo>
                  <a:cubicBezTo>
                    <a:pt x="262" y="387"/>
                    <a:pt x="262" y="387"/>
                    <a:pt x="267" y="388"/>
                  </a:cubicBezTo>
                  <a:cubicBezTo>
                    <a:pt x="267" y="388"/>
                    <a:pt x="267" y="388"/>
                    <a:pt x="271" y="385"/>
                  </a:cubicBezTo>
                  <a:cubicBezTo>
                    <a:pt x="271" y="385"/>
                    <a:pt x="271" y="385"/>
                    <a:pt x="279" y="380"/>
                  </a:cubicBezTo>
                  <a:cubicBezTo>
                    <a:pt x="279" y="380"/>
                    <a:pt x="279" y="380"/>
                    <a:pt x="282" y="378"/>
                  </a:cubicBezTo>
                  <a:cubicBezTo>
                    <a:pt x="282" y="378"/>
                    <a:pt x="282" y="378"/>
                    <a:pt x="283" y="374"/>
                  </a:cubicBezTo>
                  <a:cubicBezTo>
                    <a:pt x="283" y="374"/>
                    <a:pt x="283" y="374"/>
                    <a:pt x="288" y="372"/>
                  </a:cubicBezTo>
                  <a:cubicBezTo>
                    <a:pt x="288" y="372"/>
                    <a:pt x="288" y="372"/>
                    <a:pt x="293" y="377"/>
                  </a:cubicBezTo>
                  <a:cubicBezTo>
                    <a:pt x="293" y="377"/>
                    <a:pt x="293" y="377"/>
                    <a:pt x="297" y="384"/>
                  </a:cubicBezTo>
                  <a:cubicBezTo>
                    <a:pt x="297" y="384"/>
                    <a:pt x="297" y="384"/>
                    <a:pt x="298" y="389"/>
                  </a:cubicBezTo>
                  <a:cubicBezTo>
                    <a:pt x="298" y="389"/>
                    <a:pt x="298" y="389"/>
                    <a:pt x="298" y="392"/>
                  </a:cubicBezTo>
                  <a:cubicBezTo>
                    <a:pt x="298" y="392"/>
                    <a:pt x="298" y="392"/>
                    <a:pt x="291" y="396"/>
                  </a:cubicBezTo>
                  <a:cubicBezTo>
                    <a:pt x="291" y="396"/>
                    <a:pt x="291" y="396"/>
                    <a:pt x="292" y="399"/>
                  </a:cubicBezTo>
                  <a:cubicBezTo>
                    <a:pt x="292" y="399"/>
                    <a:pt x="292" y="399"/>
                    <a:pt x="299" y="400"/>
                  </a:cubicBezTo>
                  <a:cubicBezTo>
                    <a:pt x="299" y="400"/>
                    <a:pt x="299" y="400"/>
                    <a:pt x="303" y="404"/>
                  </a:cubicBezTo>
                  <a:cubicBezTo>
                    <a:pt x="303" y="404"/>
                    <a:pt x="303" y="404"/>
                    <a:pt x="309" y="402"/>
                  </a:cubicBezTo>
                  <a:cubicBezTo>
                    <a:pt x="309" y="402"/>
                    <a:pt x="309" y="402"/>
                    <a:pt x="314" y="404"/>
                  </a:cubicBezTo>
                  <a:cubicBezTo>
                    <a:pt x="314" y="404"/>
                    <a:pt x="314" y="404"/>
                    <a:pt x="319" y="401"/>
                  </a:cubicBezTo>
                  <a:cubicBezTo>
                    <a:pt x="319" y="401"/>
                    <a:pt x="319" y="401"/>
                    <a:pt x="321" y="404"/>
                  </a:cubicBezTo>
                  <a:cubicBezTo>
                    <a:pt x="321" y="404"/>
                    <a:pt x="321" y="404"/>
                    <a:pt x="318" y="408"/>
                  </a:cubicBezTo>
                  <a:cubicBezTo>
                    <a:pt x="318" y="408"/>
                    <a:pt x="318" y="408"/>
                    <a:pt x="324" y="407"/>
                  </a:cubicBezTo>
                  <a:cubicBezTo>
                    <a:pt x="324" y="407"/>
                    <a:pt x="324" y="407"/>
                    <a:pt x="326" y="408"/>
                  </a:cubicBezTo>
                  <a:cubicBezTo>
                    <a:pt x="326" y="408"/>
                    <a:pt x="326" y="408"/>
                    <a:pt x="324" y="425"/>
                  </a:cubicBezTo>
                  <a:cubicBezTo>
                    <a:pt x="324" y="425"/>
                    <a:pt x="324" y="425"/>
                    <a:pt x="324" y="432"/>
                  </a:cubicBezTo>
                  <a:cubicBezTo>
                    <a:pt x="324" y="432"/>
                    <a:pt x="324" y="432"/>
                    <a:pt x="328" y="433"/>
                  </a:cubicBezTo>
                  <a:cubicBezTo>
                    <a:pt x="328" y="433"/>
                    <a:pt x="328" y="433"/>
                    <a:pt x="330" y="431"/>
                  </a:cubicBezTo>
                  <a:cubicBezTo>
                    <a:pt x="330" y="431"/>
                    <a:pt x="330" y="431"/>
                    <a:pt x="331" y="428"/>
                  </a:cubicBezTo>
                  <a:cubicBezTo>
                    <a:pt x="331" y="428"/>
                    <a:pt x="331" y="428"/>
                    <a:pt x="334" y="429"/>
                  </a:cubicBezTo>
                  <a:cubicBezTo>
                    <a:pt x="334" y="429"/>
                    <a:pt x="334" y="429"/>
                    <a:pt x="336" y="433"/>
                  </a:cubicBezTo>
                  <a:cubicBezTo>
                    <a:pt x="336" y="433"/>
                    <a:pt x="336" y="433"/>
                    <a:pt x="336" y="443"/>
                  </a:cubicBezTo>
                  <a:cubicBezTo>
                    <a:pt x="336" y="443"/>
                    <a:pt x="336" y="443"/>
                    <a:pt x="335" y="448"/>
                  </a:cubicBezTo>
                  <a:cubicBezTo>
                    <a:pt x="335" y="448"/>
                    <a:pt x="335" y="448"/>
                    <a:pt x="339" y="450"/>
                  </a:cubicBezTo>
                  <a:cubicBezTo>
                    <a:pt x="339" y="450"/>
                    <a:pt x="339" y="450"/>
                    <a:pt x="344" y="450"/>
                  </a:cubicBezTo>
                  <a:cubicBezTo>
                    <a:pt x="344" y="450"/>
                    <a:pt x="344" y="450"/>
                    <a:pt x="348" y="452"/>
                  </a:cubicBezTo>
                  <a:cubicBezTo>
                    <a:pt x="348" y="452"/>
                    <a:pt x="348" y="452"/>
                    <a:pt x="353" y="456"/>
                  </a:cubicBezTo>
                  <a:cubicBezTo>
                    <a:pt x="353" y="456"/>
                    <a:pt x="353" y="456"/>
                    <a:pt x="357" y="457"/>
                  </a:cubicBezTo>
                  <a:cubicBezTo>
                    <a:pt x="357" y="457"/>
                    <a:pt x="357" y="457"/>
                    <a:pt x="356" y="467"/>
                  </a:cubicBezTo>
                  <a:cubicBezTo>
                    <a:pt x="356" y="467"/>
                    <a:pt x="356" y="467"/>
                    <a:pt x="356" y="472"/>
                  </a:cubicBezTo>
                  <a:cubicBezTo>
                    <a:pt x="356" y="472"/>
                    <a:pt x="356" y="472"/>
                    <a:pt x="352" y="473"/>
                  </a:cubicBezTo>
                  <a:cubicBezTo>
                    <a:pt x="352" y="473"/>
                    <a:pt x="352" y="473"/>
                    <a:pt x="354" y="478"/>
                  </a:cubicBezTo>
                  <a:cubicBezTo>
                    <a:pt x="354" y="478"/>
                    <a:pt x="354" y="478"/>
                    <a:pt x="351" y="482"/>
                  </a:cubicBezTo>
                  <a:cubicBezTo>
                    <a:pt x="351" y="482"/>
                    <a:pt x="351" y="482"/>
                    <a:pt x="353" y="483"/>
                  </a:cubicBezTo>
                  <a:cubicBezTo>
                    <a:pt x="353" y="483"/>
                    <a:pt x="353" y="483"/>
                    <a:pt x="356" y="482"/>
                  </a:cubicBezTo>
                  <a:cubicBezTo>
                    <a:pt x="356" y="482"/>
                    <a:pt x="356" y="482"/>
                    <a:pt x="361" y="485"/>
                  </a:cubicBezTo>
                  <a:cubicBezTo>
                    <a:pt x="361" y="485"/>
                    <a:pt x="361" y="485"/>
                    <a:pt x="364" y="483"/>
                  </a:cubicBezTo>
                  <a:cubicBezTo>
                    <a:pt x="364" y="483"/>
                    <a:pt x="364" y="483"/>
                    <a:pt x="369" y="485"/>
                  </a:cubicBezTo>
                  <a:cubicBezTo>
                    <a:pt x="369" y="485"/>
                    <a:pt x="369" y="485"/>
                    <a:pt x="372" y="485"/>
                  </a:cubicBezTo>
                  <a:cubicBezTo>
                    <a:pt x="372" y="485"/>
                    <a:pt x="372" y="485"/>
                    <a:pt x="377" y="489"/>
                  </a:cubicBezTo>
                  <a:cubicBezTo>
                    <a:pt x="377" y="489"/>
                    <a:pt x="377" y="489"/>
                    <a:pt x="381" y="492"/>
                  </a:cubicBezTo>
                  <a:cubicBezTo>
                    <a:pt x="381" y="492"/>
                    <a:pt x="381" y="492"/>
                    <a:pt x="383" y="496"/>
                  </a:cubicBezTo>
                  <a:cubicBezTo>
                    <a:pt x="383" y="496"/>
                    <a:pt x="383" y="496"/>
                    <a:pt x="385" y="499"/>
                  </a:cubicBezTo>
                  <a:cubicBezTo>
                    <a:pt x="385" y="499"/>
                    <a:pt x="385" y="499"/>
                    <a:pt x="390" y="496"/>
                  </a:cubicBezTo>
                  <a:cubicBezTo>
                    <a:pt x="390" y="496"/>
                    <a:pt x="390" y="496"/>
                    <a:pt x="394" y="494"/>
                  </a:cubicBezTo>
                  <a:cubicBezTo>
                    <a:pt x="394" y="494"/>
                    <a:pt x="394" y="494"/>
                    <a:pt x="398" y="496"/>
                  </a:cubicBezTo>
                  <a:cubicBezTo>
                    <a:pt x="398" y="496"/>
                    <a:pt x="398" y="496"/>
                    <a:pt x="399" y="501"/>
                  </a:cubicBezTo>
                  <a:cubicBezTo>
                    <a:pt x="399" y="501"/>
                    <a:pt x="399" y="501"/>
                    <a:pt x="395" y="505"/>
                  </a:cubicBezTo>
                  <a:cubicBezTo>
                    <a:pt x="395" y="505"/>
                    <a:pt x="395" y="505"/>
                    <a:pt x="395" y="509"/>
                  </a:cubicBezTo>
                  <a:cubicBezTo>
                    <a:pt x="395" y="509"/>
                    <a:pt x="395" y="509"/>
                    <a:pt x="392" y="513"/>
                  </a:cubicBezTo>
                  <a:cubicBezTo>
                    <a:pt x="392" y="513"/>
                    <a:pt x="392" y="513"/>
                    <a:pt x="392" y="516"/>
                  </a:cubicBezTo>
                  <a:cubicBezTo>
                    <a:pt x="392" y="516"/>
                    <a:pt x="392" y="516"/>
                    <a:pt x="386" y="519"/>
                  </a:cubicBezTo>
                  <a:cubicBezTo>
                    <a:pt x="386" y="519"/>
                    <a:pt x="386" y="519"/>
                    <a:pt x="384" y="528"/>
                  </a:cubicBezTo>
                  <a:cubicBezTo>
                    <a:pt x="384" y="528"/>
                    <a:pt x="384" y="528"/>
                    <a:pt x="379" y="531"/>
                  </a:cubicBezTo>
                  <a:cubicBezTo>
                    <a:pt x="379" y="531"/>
                    <a:pt x="379" y="531"/>
                    <a:pt x="376" y="535"/>
                  </a:cubicBezTo>
                  <a:cubicBezTo>
                    <a:pt x="376" y="535"/>
                    <a:pt x="376" y="535"/>
                    <a:pt x="376" y="542"/>
                  </a:cubicBezTo>
                  <a:cubicBezTo>
                    <a:pt x="432" y="535"/>
                    <a:pt x="432" y="535"/>
                    <a:pt x="432" y="535"/>
                  </a:cubicBezTo>
                  <a:cubicBezTo>
                    <a:pt x="453" y="535"/>
                    <a:pt x="453" y="535"/>
                    <a:pt x="453" y="535"/>
                  </a:cubicBezTo>
                  <a:cubicBezTo>
                    <a:pt x="453" y="492"/>
                    <a:pt x="453" y="492"/>
                    <a:pt x="453" y="492"/>
                  </a:cubicBezTo>
                  <a:cubicBezTo>
                    <a:pt x="442" y="481"/>
                    <a:pt x="442" y="481"/>
                    <a:pt x="442" y="481"/>
                  </a:cubicBezTo>
                  <a:cubicBezTo>
                    <a:pt x="442" y="470"/>
                    <a:pt x="442" y="470"/>
                    <a:pt x="442" y="470"/>
                  </a:cubicBezTo>
                  <a:cubicBezTo>
                    <a:pt x="486" y="470"/>
                    <a:pt x="486" y="470"/>
                    <a:pt x="486" y="470"/>
                  </a:cubicBezTo>
                  <a:cubicBezTo>
                    <a:pt x="496" y="460"/>
                    <a:pt x="496" y="460"/>
                    <a:pt x="496" y="460"/>
                  </a:cubicBezTo>
                  <a:cubicBezTo>
                    <a:pt x="496" y="417"/>
                    <a:pt x="496" y="417"/>
                    <a:pt x="496" y="417"/>
                  </a:cubicBezTo>
                  <a:lnTo>
                    <a:pt x="486" y="406"/>
                  </a:lnTo>
                  <a:close/>
                </a:path>
              </a:pathLst>
            </a:custGeom>
            <a:solidFill>
              <a:schemeClr val="accent1"/>
            </a:solidFill>
            <a:ln w="3175" cap="flat" cmpd="sng">
              <a:solidFill>
                <a:schemeClr val="bg1"/>
              </a:solidFill>
              <a:prstDash val="solid"/>
              <a:round/>
              <a:headEnd type="none" w="med" len="med"/>
              <a:tailEnd type="none" w="med" len="med"/>
            </a:ln>
            <a:effectLst/>
          </p:spPr>
          <p:txBody>
            <a:bodyPr/>
            <a:lstStyle/>
            <a:p>
              <a:endParaRPr lang="en-US" dirty="0"/>
            </a:p>
          </p:txBody>
        </p:sp>
        <p:sp>
          <p:nvSpPr>
            <p:cNvPr id="267" name="Senegal" descr="© INSCALE GmbH, 05.05.2010&#10;http://www.presentationload.com/">
              <a:extLst>
                <a:ext uri="{FF2B5EF4-FFF2-40B4-BE49-F238E27FC236}">
                  <a16:creationId xmlns:a16="http://schemas.microsoft.com/office/drawing/2014/main" id="{E26B7785-8B84-4B43-B9DF-F5AA4DAAFF76}"/>
                </a:ext>
              </a:extLst>
            </p:cNvPr>
            <p:cNvSpPr>
              <a:spLocks/>
            </p:cNvSpPr>
            <p:nvPr/>
          </p:nvSpPr>
          <p:spPr bwMode="gray">
            <a:xfrm>
              <a:off x="3673064" y="3713229"/>
              <a:ext cx="166210" cy="145827"/>
            </a:xfrm>
            <a:custGeom>
              <a:avLst/>
              <a:gdLst>
                <a:gd name="T0" fmla="*/ 2147483647 w 414"/>
                <a:gd name="T1" fmla="*/ 2147483647 h 366"/>
                <a:gd name="T2" fmla="*/ 2147483647 w 414"/>
                <a:gd name="T3" fmla="*/ 2147483647 h 366"/>
                <a:gd name="T4" fmla="*/ 2147483647 w 414"/>
                <a:gd name="T5" fmla="*/ 2147483647 h 366"/>
                <a:gd name="T6" fmla="*/ 2147483647 w 414"/>
                <a:gd name="T7" fmla="*/ 2147483647 h 366"/>
                <a:gd name="T8" fmla="*/ 2147483647 w 414"/>
                <a:gd name="T9" fmla="*/ 2147483647 h 366"/>
                <a:gd name="T10" fmla="*/ 2147483647 w 414"/>
                <a:gd name="T11" fmla="*/ 2147483647 h 366"/>
                <a:gd name="T12" fmla="*/ 2147483647 w 414"/>
                <a:gd name="T13" fmla="*/ 2147483647 h 366"/>
                <a:gd name="T14" fmla="*/ 2147483647 w 414"/>
                <a:gd name="T15" fmla="*/ 2147483647 h 366"/>
                <a:gd name="T16" fmla="*/ 2147483647 w 414"/>
                <a:gd name="T17" fmla="*/ 2147483647 h 366"/>
                <a:gd name="T18" fmla="*/ 2147483647 w 414"/>
                <a:gd name="T19" fmla="*/ 2147483647 h 366"/>
                <a:gd name="T20" fmla="*/ 2147483647 w 414"/>
                <a:gd name="T21" fmla="*/ 2147483647 h 366"/>
                <a:gd name="T22" fmla="*/ 2147483647 w 414"/>
                <a:gd name="T23" fmla="*/ 2147483647 h 366"/>
                <a:gd name="T24" fmla="*/ 2147483647 w 414"/>
                <a:gd name="T25" fmla="*/ 2147483647 h 366"/>
                <a:gd name="T26" fmla="*/ 2147483647 w 414"/>
                <a:gd name="T27" fmla="*/ 2147483647 h 366"/>
                <a:gd name="T28" fmla="*/ 2147483647 w 414"/>
                <a:gd name="T29" fmla="*/ 0 h 366"/>
                <a:gd name="T30" fmla="*/ 2147483647 w 414"/>
                <a:gd name="T31" fmla="*/ 2147483647 h 366"/>
                <a:gd name="T32" fmla="*/ 2147483647 w 414"/>
                <a:gd name="T33" fmla="*/ 2147483647 h 366"/>
                <a:gd name="T34" fmla="*/ 2147483647 w 414"/>
                <a:gd name="T35" fmla="*/ 2147483647 h 366"/>
                <a:gd name="T36" fmla="*/ 2147483647 w 414"/>
                <a:gd name="T37" fmla="*/ 2147483647 h 366"/>
                <a:gd name="T38" fmla="*/ 2147483647 w 414"/>
                <a:gd name="T39" fmla="*/ 2147483647 h 366"/>
                <a:gd name="T40" fmla="*/ 2147483647 w 414"/>
                <a:gd name="T41" fmla="*/ 2147483647 h 366"/>
                <a:gd name="T42" fmla="*/ 0 w 414"/>
                <a:gd name="T43" fmla="*/ 2147483647 h 366"/>
                <a:gd name="T44" fmla="*/ 2147483647 w 414"/>
                <a:gd name="T45" fmla="*/ 2147483647 h 366"/>
                <a:gd name="T46" fmla="*/ 2147483647 w 414"/>
                <a:gd name="T47" fmla="*/ 2147483647 h 366"/>
                <a:gd name="T48" fmla="*/ 2147483647 w 414"/>
                <a:gd name="T49" fmla="*/ 2147483647 h 366"/>
                <a:gd name="T50" fmla="*/ 2147483647 w 414"/>
                <a:gd name="T51" fmla="*/ 2147483647 h 366"/>
                <a:gd name="T52" fmla="*/ 2147483647 w 414"/>
                <a:gd name="T53" fmla="*/ 2147483647 h 366"/>
                <a:gd name="T54" fmla="*/ 2147483647 w 414"/>
                <a:gd name="T55" fmla="*/ 2147483647 h 366"/>
                <a:gd name="T56" fmla="*/ 2147483647 w 414"/>
                <a:gd name="T57" fmla="*/ 2147483647 h 366"/>
                <a:gd name="T58" fmla="*/ 2147483647 w 414"/>
                <a:gd name="T59" fmla="*/ 2147483647 h 366"/>
                <a:gd name="T60" fmla="*/ 2147483647 w 414"/>
                <a:gd name="T61" fmla="*/ 2147483647 h 366"/>
                <a:gd name="T62" fmla="*/ 2147483647 w 414"/>
                <a:gd name="T63" fmla="*/ 2147483647 h 366"/>
                <a:gd name="T64" fmla="*/ 2147483647 w 414"/>
                <a:gd name="T65" fmla="*/ 2147483647 h 366"/>
                <a:gd name="T66" fmla="*/ 2147483647 w 414"/>
                <a:gd name="T67" fmla="*/ 2147483647 h 366"/>
                <a:gd name="T68" fmla="*/ 2147483647 w 414"/>
                <a:gd name="T69" fmla="*/ 2147483647 h 366"/>
                <a:gd name="T70" fmla="*/ 2147483647 w 414"/>
                <a:gd name="T71" fmla="*/ 2147483647 h 366"/>
                <a:gd name="T72" fmla="*/ 2147483647 w 414"/>
                <a:gd name="T73" fmla="*/ 2147483647 h 366"/>
                <a:gd name="T74" fmla="*/ 2147483647 w 414"/>
                <a:gd name="T75" fmla="*/ 2147483647 h 366"/>
                <a:gd name="T76" fmla="*/ 2147483647 w 414"/>
                <a:gd name="T77" fmla="*/ 2147483647 h 366"/>
                <a:gd name="T78" fmla="*/ 2147483647 w 414"/>
                <a:gd name="T79" fmla="*/ 2147483647 h 366"/>
                <a:gd name="T80" fmla="*/ 2147483647 w 414"/>
                <a:gd name="T81" fmla="*/ 2147483647 h 366"/>
                <a:gd name="T82" fmla="*/ 2147483647 w 414"/>
                <a:gd name="T83" fmla="*/ 2147483647 h 366"/>
                <a:gd name="T84" fmla="*/ 2147483647 w 414"/>
                <a:gd name="T85" fmla="*/ 2147483647 h 366"/>
                <a:gd name="T86" fmla="*/ 2147483647 w 414"/>
                <a:gd name="T87" fmla="*/ 2147483647 h 366"/>
                <a:gd name="T88" fmla="*/ 2147483647 w 414"/>
                <a:gd name="T89" fmla="*/ 2147483647 h 366"/>
                <a:gd name="T90" fmla="*/ 2147483647 w 414"/>
                <a:gd name="T91" fmla="*/ 2147483647 h 366"/>
                <a:gd name="T92" fmla="*/ 2147483647 w 414"/>
                <a:gd name="T93" fmla="*/ 2147483647 h 366"/>
                <a:gd name="T94" fmla="*/ 2147483647 w 414"/>
                <a:gd name="T95" fmla="*/ 2147483647 h 366"/>
                <a:gd name="T96" fmla="*/ 2147483647 w 414"/>
                <a:gd name="T97" fmla="*/ 2147483647 h 366"/>
                <a:gd name="T98" fmla="*/ 2147483647 w 414"/>
                <a:gd name="T99" fmla="*/ 2147483647 h 366"/>
                <a:gd name="T100" fmla="*/ 2147483647 w 414"/>
                <a:gd name="T101" fmla="*/ 2147483647 h 366"/>
                <a:gd name="T102" fmla="*/ 2147483647 w 414"/>
                <a:gd name="T103" fmla="*/ 2147483647 h 366"/>
                <a:gd name="T104" fmla="*/ 2147483647 w 414"/>
                <a:gd name="T105" fmla="*/ 2147483647 h 3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14"/>
                <a:gd name="T160" fmla="*/ 0 h 366"/>
                <a:gd name="T161" fmla="*/ 414 w 414"/>
                <a:gd name="T162" fmla="*/ 366 h 3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14" h="366">
                  <a:moveTo>
                    <a:pt x="402" y="270"/>
                  </a:moveTo>
                  <a:lnTo>
                    <a:pt x="396" y="270"/>
                  </a:lnTo>
                  <a:lnTo>
                    <a:pt x="396" y="276"/>
                  </a:lnTo>
                  <a:lnTo>
                    <a:pt x="384" y="276"/>
                  </a:lnTo>
                  <a:lnTo>
                    <a:pt x="378" y="270"/>
                  </a:lnTo>
                  <a:lnTo>
                    <a:pt x="378" y="246"/>
                  </a:lnTo>
                  <a:lnTo>
                    <a:pt x="384" y="240"/>
                  </a:lnTo>
                  <a:lnTo>
                    <a:pt x="384" y="222"/>
                  </a:lnTo>
                  <a:lnTo>
                    <a:pt x="372" y="210"/>
                  </a:lnTo>
                  <a:lnTo>
                    <a:pt x="372" y="204"/>
                  </a:lnTo>
                  <a:lnTo>
                    <a:pt x="360" y="186"/>
                  </a:lnTo>
                  <a:lnTo>
                    <a:pt x="360" y="162"/>
                  </a:lnTo>
                  <a:lnTo>
                    <a:pt x="348" y="138"/>
                  </a:lnTo>
                  <a:lnTo>
                    <a:pt x="318" y="132"/>
                  </a:lnTo>
                  <a:lnTo>
                    <a:pt x="318" y="108"/>
                  </a:lnTo>
                  <a:lnTo>
                    <a:pt x="312" y="102"/>
                  </a:lnTo>
                  <a:lnTo>
                    <a:pt x="294" y="102"/>
                  </a:lnTo>
                  <a:lnTo>
                    <a:pt x="294" y="72"/>
                  </a:lnTo>
                  <a:lnTo>
                    <a:pt x="288" y="60"/>
                  </a:lnTo>
                  <a:lnTo>
                    <a:pt x="288" y="54"/>
                  </a:lnTo>
                  <a:lnTo>
                    <a:pt x="282" y="48"/>
                  </a:lnTo>
                  <a:lnTo>
                    <a:pt x="264" y="48"/>
                  </a:lnTo>
                  <a:lnTo>
                    <a:pt x="252" y="54"/>
                  </a:lnTo>
                  <a:lnTo>
                    <a:pt x="246" y="42"/>
                  </a:lnTo>
                  <a:lnTo>
                    <a:pt x="234" y="30"/>
                  </a:lnTo>
                  <a:lnTo>
                    <a:pt x="228" y="18"/>
                  </a:lnTo>
                  <a:lnTo>
                    <a:pt x="222" y="18"/>
                  </a:lnTo>
                  <a:lnTo>
                    <a:pt x="210" y="12"/>
                  </a:lnTo>
                  <a:lnTo>
                    <a:pt x="186" y="12"/>
                  </a:lnTo>
                  <a:lnTo>
                    <a:pt x="162" y="0"/>
                  </a:lnTo>
                  <a:lnTo>
                    <a:pt x="162" y="18"/>
                  </a:lnTo>
                  <a:lnTo>
                    <a:pt x="132" y="12"/>
                  </a:lnTo>
                  <a:lnTo>
                    <a:pt x="120" y="18"/>
                  </a:lnTo>
                  <a:lnTo>
                    <a:pt x="114" y="18"/>
                  </a:lnTo>
                  <a:lnTo>
                    <a:pt x="108" y="12"/>
                  </a:lnTo>
                  <a:lnTo>
                    <a:pt x="102" y="12"/>
                  </a:lnTo>
                  <a:lnTo>
                    <a:pt x="90" y="18"/>
                  </a:lnTo>
                  <a:lnTo>
                    <a:pt x="84" y="24"/>
                  </a:lnTo>
                  <a:lnTo>
                    <a:pt x="66" y="60"/>
                  </a:lnTo>
                  <a:lnTo>
                    <a:pt x="60" y="66"/>
                  </a:lnTo>
                  <a:lnTo>
                    <a:pt x="60" y="90"/>
                  </a:lnTo>
                  <a:lnTo>
                    <a:pt x="48" y="96"/>
                  </a:lnTo>
                  <a:lnTo>
                    <a:pt x="30" y="132"/>
                  </a:lnTo>
                  <a:lnTo>
                    <a:pt x="0" y="162"/>
                  </a:lnTo>
                  <a:lnTo>
                    <a:pt x="6" y="168"/>
                  </a:lnTo>
                  <a:lnTo>
                    <a:pt x="12" y="168"/>
                  </a:lnTo>
                  <a:lnTo>
                    <a:pt x="18" y="174"/>
                  </a:lnTo>
                  <a:lnTo>
                    <a:pt x="24" y="186"/>
                  </a:lnTo>
                  <a:lnTo>
                    <a:pt x="24" y="204"/>
                  </a:lnTo>
                  <a:lnTo>
                    <a:pt x="42" y="222"/>
                  </a:lnTo>
                  <a:lnTo>
                    <a:pt x="42" y="246"/>
                  </a:lnTo>
                  <a:lnTo>
                    <a:pt x="48" y="252"/>
                  </a:lnTo>
                  <a:lnTo>
                    <a:pt x="126" y="252"/>
                  </a:lnTo>
                  <a:lnTo>
                    <a:pt x="126" y="240"/>
                  </a:lnTo>
                  <a:lnTo>
                    <a:pt x="180" y="240"/>
                  </a:lnTo>
                  <a:lnTo>
                    <a:pt x="180" y="252"/>
                  </a:lnTo>
                  <a:lnTo>
                    <a:pt x="192" y="246"/>
                  </a:lnTo>
                  <a:lnTo>
                    <a:pt x="198" y="252"/>
                  </a:lnTo>
                  <a:lnTo>
                    <a:pt x="204" y="264"/>
                  </a:lnTo>
                  <a:lnTo>
                    <a:pt x="216" y="264"/>
                  </a:lnTo>
                  <a:lnTo>
                    <a:pt x="222" y="258"/>
                  </a:lnTo>
                  <a:lnTo>
                    <a:pt x="246" y="258"/>
                  </a:lnTo>
                  <a:lnTo>
                    <a:pt x="252" y="264"/>
                  </a:lnTo>
                  <a:lnTo>
                    <a:pt x="252" y="270"/>
                  </a:lnTo>
                  <a:lnTo>
                    <a:pt x="246" y="276"/>
                  </a:lnTo>
                  <a:lnTo>
                    <a:pt x="234" y="282"/>
                  </a:lnTo>
                  <a:lnTo>
                    <a:pt x="228" y="288"/>
                  </a:lnTo>
                  <a:lnTo>
                    <a:pt x="204" y="288"/>
                  </a:lnTo>
                  <a:lnTo>
                    <a:pt x="186" y="282"/>
                  </a:lnTo>
                  <a:lnTo>
                    <a:pt x="180" y="270"/>
                  </a:lnTo>
                  <a:lnTo>
                    <a:pt x="168" y="264"/>
                  </a:lnTo>
                  <a:lnTo>
                    <a:pt x="162" y="258"/>
                  </a:lnTo>
                  <a:lnTo>
                    <a:pt x="156" y="264"/>
                  </a:lnTo>
                  <a:lnTo>
                    <a:pt x="150" y="276"/>
                  </a:lnTo>
                  <a:lnTo>
                    <a:pt x="126" y="276"/>
                  </a:lnTo>
                  <a:lnTo>
                    <a:pt x="120" y="282"/>
                  </a:lnTo>
                  <a:lnTo>
                    <a:pt x="108" y="282"/>
                  </a:lnTo>
                  <a:lnTo>
                    <a:pt x="108" y="294"/>
                  </a:lnTo>
                  <a:lnTo>
                    <a:pt x="36" y="294"/>
                  </a:lnTo>
                  <a:lnTo>
                    <a:pt x="36" y="318"/>
                  </a:lnTo>
                  <a:lnTo>
                    <a:pt x="30" y="324"/>
                  </a:lnTo>
                  <a:lnTo>
                    <a:pt x="30" y="336"/>
                  </a:lnTo>
                  <a:lnTo>
                    <a:pt x="36" y="342"/>
                  </a:lnTo>
                  <a:lnTo>
                    <a:pt x="42" y="354"/>
                  </a:lnTo>
                  <a:lnTo>
                    <a:pt x="48" y="360"/>
                  </a:lnTo>
                  <a:lnTo>
                    <a:pt x="60" y="366"/>
                  </a:lnTo>
                  <a:lnTo>
                    <a:pt x="66" y="366"/>
                  </a:lnTo>
                  <a:lnTo>
                    <a:pt x="72" y="360"/>
                  </a:lnTo>
                  <a:lnTo>
                    <a:pt x="78" y="360"/>
                  </a:lnTo>
                  <a:lnTo>
                    <a:pt x="90" y="348"/>
                  </a:lnTo>
                  <a:lnTo>
                    <a:pt x="126" y="348"/>
                  </a:lnTo>
                  <a:lnTo>
                    <a:pt x="156" y="324"/>
                  </a:lnTo>
                  <a:lnTo>
                    <a:pt x="294" y="330"/>
                  </a:lnTo>
                  <a:lnTo>
                    <a:pt x="294" y="336"/>
                  </a:lnTo>
                  <a:lnTo>
                    <a:pt x="300" y="348"/>
                  </a:lnTo>
                  <a:lnTo>
                    <a:pt x="318" y="348"/>
                  </a:lnTo>
                  <a:lnTo>
                    <a:pt x="324" y="342"/>
                  </a:lnTo>
                  <a:lnTo>
                    <a:pt x="330" y="348"/>
                  </a:lnTo>
                  <a:lnTo>
                    <a:pt x="336" y="360"/>
                  </a:lnTo>
                  <a:lnTo>
                    <a:pt x="342" y="366"/>
                  </a:lnTo>
                  <a:lnTo>
                    <a:pt x="354" y="366"/>
                  </a:lnTo>
                  <a:lnTo>
                    <a:pt x="366" y="360"/>
                  </a:lnTo>
                  <a:lnTo>
                    <a:pt x="372" y="354"/>
                  </a:lnTo>
                  <a:lnTo>
                    <a:pt x="414" y="354"/>
                  </a:lnTo>
                  <a:lnTo>
                    <a:pt x="414" y="288"/>
                  </a:lnTo>
                  <a:lnTo>
                    <a:pt x="408" y="276"/>
                  </a:lnTo>
                  <a:lnTo>
                    <a:pt x="402" y="27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68" name="Schweiz" descr="© INSCALE GmbH, 05.05.2010&#10;http://www.presentationload.com/">
              <a:extLst>
                <a:ext uri="{FF2B5EF4-FFF2-40B4-BE49-F238E27FC236}">
                  <a16:creationId xmlns:a16="http://schemas.microsoft.com/office/drawing/2014/main" id="{0AE84672-75F8-4BDB-BBED-94ABF4939257}"/>
                </a:ext>
              </a:extLst>
            </p:cNvPr>
            <p:cNvSpPr>
              <a:spLocks/>
            </p:cNvSpPr>
            <p:nvPr/>
          </p:nvSpPr>
          <p:spPr bwMode="gray">
            <a:xfrm>
              <a:off x="4311250" y="2723807"/>
              <a:ext cx="114465" cy="62721"/>
            </a:xfrm>
            <a:custGeom>
              <a:avLst/>
              <a:gdLst>
                <a:gd name="T0" fmla="*/ 2147483647 w 288"/>
                <a:gd name="T1" fmla="*/ 2147483647 h 162"/>
                <a:gd name="T2" fmla="*/ 2147483647 w 288"/>
                <a:gd name="T3" fmla="*/ 2147483647 h 162"/>
                <a:gd name="T4" fmla="*/ 2147483647 w 288"/>
                <a:gd name="T5" fmla="*/ 2147483647 h 162"/>
                <a:gd name="T6" fmla="*/ 2147483647 w 288"/>
                <a:gd name="T7" fmla="*/ 2147483647 h 162"/>
                <a:gd name="T8" fmla="*/ 2147483647 w 288"/>
                <a:gd name="T9" fmla="*/ 2147483647 h 162"/>
                <a:gd name="T10" fmla="*/ 2147483647 w 288"/>
                <a:gd name="T11" fmla="*/ 2147483647 h 162"/>
                <a:gd name="T12" fmla="*/ 2147483647 w 288"/>
                <a:gd name="T13" fmla="*/ 2147483647 h 162"/>
                <a:gd name="T14" fmla="*/ 0 w 288"/>
                <a:gd name="T15" fmla="*/ 2147483647 h 162"/>
                <a:gd name="T16" fmla="*/ 2147483647 w 288"/>
                <a:gd name="T17" fmla="*/ 2147483647 h 162"/>
                <a:gd name="T18" fmla="*/ 2147483647 w 288"/>
                <a:gd name="T19" fmla="*/ 2147483647 h 162"/>
                <a:gd name="T20" fmla="*/ 2147483647 w 288"/>
                <a:gd name="T21" fmla="*/ 2147483647 h 162"/>
                <a:gd name="T22" fmla="*/ 2147483647 w 288"/>
                <a:gd name="T23" fmla="*/ 2147483647 h 162"/>
                <a:gd name="T24" fmla="*/ 2147483647 w 288"/>
                <a:gd name="T25" fmla="*/ 2147483647 h 162"/>
                <a:gd name="T26" fmla="*/ 2147483647 w 288"/>
                <a:gd name="T27" fmla="*/ 2147483647 h 162"/>
                <a:gd name="T28" fmla="*/ 2147483647 w 288"/>
                <a:gd name="T29" fmla="*/ 2147483647 h 162"/>
                <a:gd name="T30" fmla="*/ 2147483647 w 288"/>
                <a:gd name="T31" fmla="*/ 2147483647 h 162"/>
                <a:gd name="T32" fmla="*/ 2147483647 w 288"/>
                <a:gd name="T33" fmla="*/ 2147483647 h 162"/>
                <a:gd name="T34" fmla="*/ 2147483647 w 288"/>
                <a:gd name="T35" fmla="*/ 2147483647 h 162"/>
                <a:gd name="T36" fmla="*/ 2147483647 w 288"/>
                <a:gd name="T37" fmla="*/ 2147483647 h 162"/>
                <a:gd name="T38" fmla="*/ 2147483647 w 288"/>
                <a:gd name="T39" fmla="*/ 2147483647 h 162"/>
                <a:gd name="T40" fmla="*/ 2147483647 w 288"/>
                <a:gd name="T41" fmla="*/ 2147483647 h 162"/>
                <a:gd name="T42" fmla="*/ 2147483647 w 288"/>
                <a:gd name="T43" fmla="*/ 2147483647 h 162"/>
                <a:gd name="T44" fmla="*/ 2147483647 w 288"/>
                <a:gd name="T45" fmla="*/ 2147483647 h 162"/>
                <a:gd name="T46" fmla="*/ 2147483647 w 288"/>
                <a:gd name="T47" fmla="*/ 2147483647 h 162"/>
                <a:gd name="T48" fmla="*/ 2147483647 w 288"/>
                <a:gd name="T49" fmla="*/ 2147483647 h 162"/>
                <a:gd name="T50" fmla="*/ 2147483647 w 288"/>
                <a:gd name="T51" fmla="*/ 2147483647 h 162"/>
                <a:gd name="T52" fmla="*/ 2147483647 w 288"/>
                <a:gd name="T53" fmla="*/ 2147483647 h 162"/>
                <a:gd name="T54" fmla="*/ 2147483647 w 288"/>
                <a:gd name="T55" fmla="*/ 2147483647 h 162"/>
                <a:gd name="T56" fmla="*/ 2147483647 w 288"/>
                <a:gd name="T57" fmla="*/ 2147483647 h 162"/>
                <a:gd name="T58" fmla="*/ 2147483647 w 288"/>
                <a:gd name="T59" fmla="*/ 2147483647 h 162"/>
                <a:gd name="T60" fmla="*/ 2147483647 w 288"/>
                <a:gd name="T61" fmla="*/ 2147483647 h 162"/>
                <a:gd name="T62" fmla="*/ 2147483647 w 288"/>
                <a:gd name="T63" fmla="*/ 2147483647 h 162"/>
                <a:gd name="T64" fmla="*/ 2147483647 w 288"/>
                <a:gd name="T65" fmla="*/ 2147483647 h 162"/>
                <a:gd name="T66" fmla="*/ 2147483647 w 288"/>
                <a:gd name="T67" fmla="*/ 0 h 162"/>
                <a:gd name="T68" fmla="*/ 2147483647 w 288"/>
                <a:gd name="T69" fmla="*/ 2147483647 h 162"/>
                <a:gd name="T70" fmla="*/ 2147483647 w 288"/>
                <a:gd name="T71" fmla="*/ 2147483647 h 162"/>
                <a:gd name="T72" fmla="*/ 2147483647 w 288"/>
                <a:gd name="T73" fmla="*/ 2147483647 h 1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162"/>
                <a:gd name="T113" fmla="*/ 288 w 288"/>
                <a:gd name="T114" fmla="*/ 162 h 1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162">
                  <a:moveTo>
                    <a:pt x="132" y="24"/>
                  </a:moveTo>
                  <a:lnTo>
                    <a:pt x="96" y="24"/>
                  </a:lnTo>
                  <a:lnTo>
                    <a:pt x="90" y="42"/>
                  </a:lnTo>
                  <a:lnTo>
                    <a:pt x="72" y="30"/>
                  </a:lnTo>
                  <a:lnTo>
                    <a:pt x="66" y="42"/>
                  </a:lnTo>
                  <a:lnTo>
                    <a:pt x="60" y="48"/>
                  </a:lnTo>
                  <a:lnTo>
                    <a:pt x="54" y="60"/>
                  </a:lnTo>
                  <a:lnTo>
                    <a:pt x="48" y="66"/>
                  </a:lnTo>
                  <a:lnTo>
                    <a:pt x="30" y="66"/>
                  </a:lnTo>
                  <a:lnTo>
                    <a:pt x="30" y="78"/>
                  </a:lnTo>
                  <a:lnTo>
                    <a:pt x="18" y="90"/>
                  </a:lnTo>
                  <a:lnTo>
                    <a:pt x="12" y="102"/>
                  </a:lnTo>
                  <a:lnTo>
                    <a:pt x="0" y="108"/>
                  </a:lnTo>
                  <a:lnTo>
                    <a:pt x="6" y="120"/>
                  </a:lnTo>
                  <a:lnTo>
                    <a:pt x="0" y="126"/>
                  </a:lnTo>
                  <a:lnTo>
                    <a:pt x="0" y="132"/>
                  </a:lnTo>
                  <a:lnTo>
                    <a:pt x="6" y="132"/>
                  </a:lnTo>
                  <a:lnTo>
                    <a:pt x="30" y="108"/>
                  </a:lnTo>
                  <a:lnTo>
                    <a:pt x="48" y="108"/>
                  </a:lnTo>
                  <a:lnTo>
                    <a:pt x="54" y="114"/>
                  </a:lnTo>
                  <a:lnTo>
                    <a:pt x="48" y="138"/>
                  </a:lnTo>
                  <a:lnTo>
                    <a:pt x="60" y="150"/>
                  </a:lnTo>
                  <a:lnTo>
                    <a:pt x="60" y="156"/>
                  </a:lnTo>
                  <a:lnTo>
                    <a:pt x="72" y="156"/>
                  </a:lnTo>
                  <a:lnTo>
                    <a:pt x="84" y="144"/>
                  </a:lnTo>
                  <a:lnTo>
                    <a:pt x="96" y="144"/>
                  </a:lnTo>
                  <a:lnTo>
                    <a:pt x="108" y="156"/>
                  </a:lnTo>
                  <a:lnTo>
                    <a:pt x="114" y="156"/>
                  </a:lnTo>
                  <a:lnTo>
                    <a:pt x="132" y="138"/>
                  </a:lnTo>
                  <a:lnTo>
                    <a:pt x="132" y="120"/>
                  </a:lnTo>
                  <a:lnTo>
                    <a:pt x="138" y="114"/>
                  </a:lnTo>
                  <a:lnTo>
                    <a:pt x="150" y="114"/>
                  </a:lnTo>
                  <a:lnTo>
                    <a:pt x="156" y="120"/>
                  </a:lnTo>
                  <a:lnTo>
                    <a:pt x="156" y="126"/>
                  </a:lnTo>
                  <a:lnTo>
                    <a:pt x="162" y="132"/>
                  </a:lnTo>
                  <a:lnTo>
                    <a:pt x="162" y="138"/>
                  </a:lnTo>
                  <a:lnTo>
                    <a:pt x="168" y="138"/>
                  </a:lnTo>
                  <a:lnTo>
                    <a:pt x="192" y="162"/>
                  </a:lnTo>
                  <a:lnTo>
                    <a:pt x="192" y="144"/>
                  </a:lnTo>
                  <a:lnTo>
                    <a:pt x="204" y="132"/>
                  </a:lnTo>
                  <a:lnTo>
                    <a:pt x="210" y="108"/>
                  </a:lnTo>
                  <a:lnTo>
                    <a:pt x="222" y="126"/>
                  </a:lnTo>
                  <a:lnTo>
                    <a:pt x="240" y="120"/>
                  </a:lnTo>
                  <a:lnTo>
                    <a:pt x="258" y="132"/>
                  </a:lnTo>
                  <a:lnTo>
                    <a:pt x="264" y="120"/>
                  </a:lnTo>
                  <a:lnTo>
                    <a:pt x="252" y="108"/>
                  </a:lnTo>
                  <a:lnTo>
                    <a:pt x="252" y="102"/>
                  </a:lnTo>
                  <a:lnTo>
                    <a:pt x="276" y="102"/>
                  </a:lnTo>
                  <a:lnTo>
                    <a:pt x="282" y="84"/>
                  </a:lnTo>
                  <a:lnTo>
                    <a:pt x="288" y="84"/>
                  </a:lnTo>
                  <a:lnTo>
                    <a:pt x="288" y="78"/>
                  </a:lnTo>
                  <a:lnTo>
                    <a:pt x="276" y="66"/>
                  </a:lnTo>
                  <a:lnTo>
                    <a:pt x="270" y="66"/>
                  </a:lnTo>
                  <a:lnTo>
                    <a:pt x="252" y="84"/>
                  </a:lnTo>
                  <a:lnTo>
                    <a:pt x="246" y="84"/>
                  </a:lnTo>
                  <a:lnTo>
                    <a:pt x="246" y="66"/>
                  </a:lnTo>
                  <a:lnTo>
                    <a:pt x="210" y="66"/>
                  </a:lnTo>
                  <a:lnTo>
                    <a:pt x="210" y="60"/>
                  </a:lnTo>
                  <a:lnTo>
                    <a:pt x="216" y="48"/>
                  </a:lnTo>
                  <a:lnTo>
                    <a:pt x="222" y="42"/>
                  </a:lnTo>
                  <a:lnTo>
                    <a:pt x="228" y="42"/>
                  </a:lnTo>
                  <a:lnTo>
                    <a:pt x="228" y="30"/>
                  </a:lnTo>
                  <a:lnTo>
                    <a:pt x="216" y="30"/>
                  </a:lnTo>
                  <a:lnTo>
                    <a:pt x="210" y="18"/>
                  </a:lnTo>
                  <a:lnTo>
                    <a:pt x="192" y="12"/>
                  </a:lnTo>
                  <a:lnTo>
                    <a:pt x="180" y="12"/>
                  </a:lnTo>
                  <a:lnTo>
                    <a:pt x="174" y="6"/>
                  </a:lnTo>
                  <a:lnTo>
                    <a:pt x="162" y="0"/>
                  </a:lnTo>
                  <a:lnTo>
                    <a:pt x="156" y="0"/>
                  </a:lnTo>
                  <a:lnTo>
                    <a:pt x="150" y="6"/>
                  </a:lnTo>
                  <a:lnTo>
                    <a:pt x="150" y="18"/>
                  </a:lnTo>
                  <a:lnTo>
                    <a:pt x="156" y="24"/>
                  </a:lnTo>
                  <a:lnTo>
                    <a:pt x="150" y="18"/>
                  </a:lnTo>
                  <a:lnTo>
                    <a:pt x="132" y="24"/>
                  </a:lnTo>
                  <a:close/>
                </a:path>
              </a:pathLst>
            </a:custGeom>
            <a:solidFill>
              <a:schemeClr val="accent1"/>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69" name="Schweden" descr="© INSCALE GmbH, 05.05.2010&#10;http://www.presentationload.com/">
              <a:extLst>
                <a:ext uri="{FF2B5EF4-FFF2-40B4-BE49-F238E27FC236}">
                  <a16:creationId xmlns:a16="http://schemas.microsoft.com/office/drawing/2014/main" id="{6924055E-1C16-4ECF-8455-7AE5852E36E5}"/>
                </a:ext>
              </a:extLst>
            </p:cNvPr>
            <p:cNvSpPr>
              <a:spLocks noEditPoints="1"/>
            </p:cNvSpPr>
            <p:nvPr/>
          </p:nvSpPr>
          <p:spPr bwMode="gray">
            <a:xfrm>
              <a:off x="4441395" y="2098165"/>
              <a:ext cx="275972" cy="393574"/>
            </a:xfrm>
            <a:custGeom>
              <a:avLst/>
              <a:gdLst>
                <a:gd name="T0" fmla="*/ 2147483647 w 690"/>
                <a:gd name="T1" fmla="*/ 2147483647 h 990"/>
                <a:gd name="T2" fmla="*/ 2147483647 w 690"/>
                <a:gd name="T3" fmla="*/ 2147483647 h 990"/>
                <a:gd name="T4" fmla="*/ 2147483647 w 690"/>
                <a:gd name="T5" fmla="*/ 2147483647 h 990"/>
                <a:gd name="T6" fmla="*/ 2147483647 w 690"/>
                <a:gd name="T7" fmla="*/ 2147483647 h 990"/>
                <a:gd name="T8" fmla="*/ 2147483647 w 690"/>
                <a:gd name="T9" fmla="*/ 2147483647 h 990"/>
                <a:gd name="T10" fmla="*/ 2147483647 w 690"/>
                <a:gd name="T11" fmla="*/ 2147483647 h 990"/>
                <a:gd name="T12" fmla="*/ 2147483647 w 690"/>
                <a:gd name="T13" fmla="*/ 2147483647 h 990"/>
                <a:gd name="T14" fmla="*/ 2147483647 w 690"/>
                <a:gd name="T15" fmla="*/ 2147483647 h 990"/>
                <a:gd name="T16" fmla="*/ 2147483647 w 690"/>
                <a:gd name="T17" fmla="*/ 2147483647 h 990"/>
                <a:gd name="T18" fmla="*/ 2147483647 w 690"/>
                <a:gd name="T19" fmla="*/ 2147483647 h 990"/>
                <a:gd name="T20" fmla="*/ 2147483647 w 690"/>
                <a:gd name="T21" fmla="*/ 2147483647 h 990"/>
                <a:gd name="T22" fmla="*/ 2147483647 w 690"/>
                <a:gd name="T23" fmla="*/ 2147483647 h 990"/>
                <a:gd name="T24" fmla="*/ 2147483647 w 690"/>
                <a:gd name="T25" fmla="*/ 2147483647 h 990"/>
                <a:gd name="T26" fmla="*/ 2147483647 w 690"/>
                <a:gd name="T27" fmla="*/ 2147483647 h 990"/>
                <a:gd name="T28" fmla="*/ 2147483647 w 690"/>
                <a:gd name="T29" fmla="*/ 2147483647 h 990"/>
                <a:gd name="T30" fmla="*/ 2147483647 w 690"/>
                <a:gd name="T31" fmla="*/ 2147483647 h 990"/>
                <a:gd name="T32" fmla="*/ 2147483647 w 690"/>
                <a:gd name="T33" fmla="*/ 2147483647 h 990"/>
                <a:gd name="T34" fmla="*/ 2147483647 w 690"/>
                <a:gd name="T35" fmla="*/ 2147483647 h 990"/>
                <a:gd name="T36" fmla="*/ 2147483647 w 690"/>
                <a:gd name="T37" fmla="*/ 2147483647 h 990"/>
                <a:gd name="T38" fmla="*/ 2147483647 w 690"/>
                <a:gd name="T39" fmla="*/ 2147483647 h 990"/>
                <a:gd name="T40" fmla="*/ 2147483647 w 690"/>
                <a:gd name="T41" fmla="*/ 2147483647 h 990"/>
                <a:gd name="T42" fmla="*/ 2147483647 w 690"/>
                <a:gd name="T43" fmla="*/ 2147483647 h 990"/>
                <a:gd name="T44" fmla="*/ 2147483647 w 690"/>
                <a:gd name="T45" fmla="*/ 2147483647 h 990"/>
                <a:gd name="T46" fmla="*/ 0 w 690"/>
                <a:gd name="T47" fmla="*/ 2147483647 h 990"/>
                <a:gd name="T48" fmla="*/ 2147483647 w 690"/>
                <a:gd name="T49" fmla="*/ 2147483647 h 990"/>
                <a:gd name="T50" fmla="*/ 2147483647 w 690"/>
                <a:gd name="T51" fmla="*/ 2147483647 h 990"/>
                <a:gd name="T52" fmla="*/ 2147483647 w 690"/>
                <a:gd name="T53" fmla="*/ 2147483647 h 990"/>
                <a:gd name="T54" fmla="*/ 2147483647 w 690"/>
                <a:gd name="T55" fmla="*/ 2147483647 h 990"/>
                <a:gd name="T56" fmla="*/ 2147483647 w 690"/>
                <a:gd name="T57" fmla="*/ 2147483647 h 990"/>
                <a:gd name="T58" fmla="*/ 2147483647 w 690"/>
                <a:gd name="T59" fmla="*/ 2147483647 h 990"/>
                <a:gd name="T60" fmla="*/ 2147483647 w 690"/>
                <a:gd name="T61" fmla="*/ 2147483647 h 990"/>
                <a:gd name="T62" fmla="*/ 2147483647 w 690"/>
                <a:gd name="T63" fmla="*/ 2147483647 h 990"/>
                <a:gd name="T64" fmla="*/ 2147483647 w 690"/>
                <a:gd name="T65" fmla="*/ 2147483647 h 990"/>
                <a:gd name="T66" fmla="*/ 2147483647 w 690"/>
                <a:gd name="T67" fmla="*/ 2147483647 h 990"/>
                <a:gd name="T68" fmla="*/ 2147483647 w 690"/>
                <a:gd name="T69" fmla="*/ 2147483647 h 990"/>
                <a:gd name="T70" fmla="*/ 2147483647 w 690"/>
                <a:gd name="T71" fmla="*/ 2147483647 h 990"/>
                <a:gd name="T72" fmla="*/ 2147483647 w 690"/>
                <a:gd name="T73" fmla="*/ 2147483647 h 990"/>
                <a:gd name="T74" fmla="*/ 2147483647 w 690"/>
                <a:gd name="T75" fmla="*/ 2147483647 h 990"/>
                <a:gd name="T76" fmla="*/ 2147483647 w 690"/>
                <a:gd name="T77" fmla="*/ 2147483647 h 990"/>
                <a:gd name="T78" fmla="*/ 2147483647 w 690"/>
                <a:gd name="T79" fmla="*/ 2147483647 h 990"/>
                <a:gd name="T80" fmla="*/ 2147483647 w 690"/>
                <a:gd name="T81" fmla="*/ 2147483647 h 990"/>
                <a:gd name="T82" fmla="*/ 2147483647 w 690"/>
                <a:gd name="T83" fmla="*/ 2147483647 h 990"/>
                <a:gd name="T84" fmla="*/ 2147483647 w 690"/>
                <a:gd name="T85" fmla="*/ 2147483647 h 990"/>
                <a:gd name="T86" fmla="*/ 2147483647 w 690"/>
                <a:gd name="T87" fmla="*/ 2147483647 h 990"/>
                <a:gd name="T88" fmla="*/ 2147483647 w 690"/>
                <a:gd name="T89" fmla="*/ 2147483647 h 990"/>
                <a:gd name="T90" fmla="*/ 2147483647 w 690"/>
                <a:gd name="T91" fmla="*/ 2147483647 h 990"/>
                <a:gd name="T92" fmla="*/ 2147483647 w 690"/>
                <a:gd name="T93" fmla="*/ 2147483647 h 990"/>
                <a:gd name="T94" fmla="*/ 2147483647 w 690"/>
                <a:gd name="T95" fmla="*/ 2147483647 h 990"/>
                <a:gd name="T96" fmla="*/ 2147483647 w 690"/>
                <a:gd name="T97" fmla="*/ 2147483647 h 990"/>
                <a:gd name="T98" fmla="*/ 2147483647 w 690"/>
                <a:gd name="T99" fmla="*/ 2147483647 h 990"/>
                <a:gd name="T100" fmla="*/ 2147483647 w 690"/>
                <a:gd name="T101" fmla="*/ 2147483647 h 9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0"/>
                <a:gd name="T154" fmla="*/ 0 h 990"/>
                <a:gd name="T155" fmla="*/ 690 w 690"/>
                <a:gd name="T156" fmla="*/ 990 h 9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0" h="990">
                  <a:moveTo>
                    <a:pt x="678" y="204"/>
                  </a:moveTo>
                  <a:lnTo>
                    <a:pt x="672" y="198"/>
                  </a:lnTo>
                  <a:lnTo>
                    <a:pt x="660" y="192"/>
                  </a:lnTo>
                  <a:lnTo>
                    <a:pt x="648" y="180"/>
                  </a:lnTo>
                  <a:lnTo>
                    <a:pt x="648" y="174"/>
                  </a:lnTo>
                  <a:lnTo>
                    <a:pt x="654" y="162"/>
                  </a:lnTo>
                  <a:lnTo>
                    <a:pt x="660" y="156"/>
                  </a:lnTo>
                  <a:lnTo>
                    <a:pt x="666" y="144"/>
                  </a:lnTo>
                  <a:lnTo>
                    <a:pt x="642" y="132"/>
                  </a:lnTo>
                  <a:lnTo>
                    <a:pt x="648" y="108"/>
                  </a:lnTo>
                  <a:lnTo>
                    <a:pt x="636" y="102"/>
                  </a:lnTo>
                  <a:lnTo>
                    <a:pt x="636" y="96"/>
                  </a:lnTo>
                  <a:lnTo>
                    <a:pt x="642" y="90"/>
                  </a:lnTo>
                  <a:lnTo>
                    <a:pt x="642" y="66"/>
                  </a:lnTo>
                  <a:lnTo>
                    <a:pt x="636" y="66"/>
                  </a:lnTo>
                  <a:lnTo>
                    <a:pt x="630" y="60"/>
                  </a:lnTo>
                  <a:lnTo>
                    <a:pt x="618" y="60"/>
                  </a:lnTo>
                  <a:lnTo>
                    <a:pt x="588" y="42"/>
                  </a:lnTo>
                  <a:lnTo>
                    <a:pt x="552" y="42"/>
                  </a:lnTo>
                  <a:lnTo>
                    <a:pt x="540" y="30"/>
                  </a:lnTo>
                  <a:lnTo>
                    <a:pt x="534" y="30"/>
                  </a:lnTo>
                  <a:lnTo>
                    <a:pt x="528" y="24"/>
                  </a:lnTo>
                  <a:lnTo>
                    <a:pt x="516" y="24"/>
                  </a:lnTo>
                  <a:lnTo>
                    <a:pt x="504" y="18"/>
                  </a:lnTo>
                  <a:lnTo>
                    <a:pt x="498" y="12"/>
                  </a:lnTo>
                  <a:lnTo>
                    <a:pt x="486" y="6"/>
                  </a:lnTo>
                  <a:lnTo>
                    <a:pt x="456" y="0"/>
                  </a:lnTo>
                  <a:lnTo>
                    <a:pt x="456" y="24"/>
                  </a:lnTo>
                  <a:lnTo>
                    <a:pt x="444" y="24"/>
                  </a:lnTo>
                  <a:lnTo>
                    <a:pt x="444" y="30"/>
                  </a:lnTo>
                  <a:lnTo>
                    <a:pt x="456" y="42"/>
                  </a:lnTo>
                  <a:lnTo>
                    <a:pt x="462" y="42"/>
                  </a:lnTo>
                  <a:lnTo>
                    <a:pt x="456" y="48"/>
                  </a:lnTo>
                  <a:lnTo>
                    <a:pt x="444" y="48"/>
                  </a:lnTo>
                  <a:lnTo>
                    <a:pt x="438" y="42"/>
                  </a:lnTo>
                  <a:lnTo>
                    <a:pt x="414" y="42"/>
                  </a:lnTo>
                  <a:lnTo>
                    <a:pt x="390" y="36"/>
                  </a:lnTo>
                  <a:lnTo>
                    <a:pt x="366" y="42"/>
                  </a:lnTo>
                  <a:lnTo>
                    <a:pt x="366" y="30"/>
                  </a:lnTo>
                  <a:lnTo>
                    <a:pt x="360" y="24"/>
                  </a:lnTo>
                  <a:lnTo>
                    <a:pt x="348" y="36"/>
                  </a:lnTo>
                  <a:lnTo>
                    <a:pt x="348" y="66"/>
                  </a:lnTo>
                  <a:lnTo>
                    <a:pt x="342" y="72"/>
                  </a:lnTo>
                  <a:lnTo>
                    <a:pt x="324" y="72"/>
                  </a:lnTo>
                  <a:lnTo>
                    <a:pt x="282" y="78"/>
                  </a:lnTo>
                  <a:lnTo>
                    <a:pt x="264" y="96"/>
                  </a:lnTo>
                  <a:lnTo>
                    <a:pt x="252" y="102"/>
                  </a:lnTo>
                  <a:lnTo>
                    <a:pt x="246" y="102"/>
                  </a:lnTo>
                  <a:lnTo>
                    <a:pt x="246" y="114"/>
                  </a:lnTo>
                  <a:lnTo>
                    <a:pt x="258" y="120"/>
                  </a:lnTo>
                  <a:lnTo>
                    <a:pt x="264" y="126"/>
                  </a:lnTo>
                  <a:lnTo>
                    <a:pt x="258" y="144"/>
                  </a:lnTo>
                  <a:lnTo>
                    <a:pt x="252" y="144"/>
                  </a:lnTo>
                  <a:lnTo>
                    <a:pt x="240" y="150"/>
                  </a:lnTo>
                  <a:lnTo>
                    <a:pt x="234" y="156"/>
                  </a:lnTo>
                  <a:lnTo>
                    <a:pt x="234" y="162"/>
                  </a:lnTo>
                  <a:lnTo>
                    <a:pt x="228" y="168"/>
                  </a:lnTo>
                  <a:lnTo>
                    <a:pt x="210" y="168"/>
                  </a:lnTo>
                  <a:lnTo>
                    <a:pt x="216" y="174"/>
                  </a:lnTo>
                  <a:lnTo>
                    <a:pt x="216" y="180"/>
                  </a:lnTo>
                  <a:lnTo>
                    <a:pt x="222" y="186"/>
                  </a:lnTo>
                  <a:lnTo>
                    <a:pt x="222" y="192"/>
                  </a:lnTo>
                  <a:lnTo>
                    <a:pt x="216" y="192"/>
                  </a:lnTo>
                  <a:lnTo>
                    <a:pt x="210" y="198"/>
                  </a:lnTo>
                  <a:lnTo>
                    <a:pt x="204" y="198"/>
                  </a:lnTo>
                  <a:lnTo>
                    <a:pt x="192" y="204"/>
                  </a:lnTo>
                  <a:lnTo>
                    <a:pt x="174" y="192"/>
                  </a:lnTo>
                  <a:lnTo>
                    <a:pt x="174" y="228"/>
                  </a:lnTo>
                  <a:lnTo>
                    <a:pt x="168" y="270"/>
                  </a:lnTo>
                  <a:lnTo>
                    <a:pt x="138" y="300"/>
                  </a:lnTo>
                  <a:lnTo>
                    <a:pt x="132" y="300"/>
                  </a:lnTo>
                  <a:lnTo>
                    <a:pt x="120" y="306"/>
                  </a:lnTo>
                  <a:lnTo>
                    <a:pt x="132" y="312"/>
                  </a:lnTo>
                  <a:lnTo>
                    <a:pt x="150" y="330"/>
                  </a:lnTo>
                  <a:lnTo>
                    <a:pt x="150" y="336"/>
                  </a:lnTo>
                  <a:lnTo>
                    <a:pt x="144" y="342"/>
                  </a:lnTo>
                  <a:lnTo>
                    <a:pt x="102" y="342"/>
                  </a:lnTo>
                  <a:lnTo>
                    <a:pt x="90" y="348"/>
                  </a:lnTo>
                  <a:lnTo>
                    <a:pt x="84" y="354"/>
                  </a:lnTo>
                  <a:lnTo>
                    <a:pt x="72" y="360"/>
                  </a:lnTo>
                  <a:lnTo>
                    <a:pt x="30" y="402"/>
                  </a:lnTo>
                  <a:lnTo>
                    <a:pt x="36" y="408"/>
                  </a:lnTo>
                  <a:lnTo>
                    <a:pt x="42" y="408"/>
                  </a:lnTo>
                  <a:lnTo>
                    <a:pt x="48" y="414"/>
                  </a:lnTo>
                  <a:lnTo>
                    <a:pt x="48" y="420"/>
                  </a:lnTo>
                  <a:lnTo>
                    <a:pt x="42" y="426"/>
                  </a:lnTo>
                  <a:lnTo>
                    <a:pt x="36" y="426"/>
                  </a:lnTo>
                  <a:lnTo>
                    <a:pt x="30" y="432"/>
                  </a:lnTo>
                  <a:lnTo>
                    <a:pt x="30" y="444"/>
                  </a:lnTo>
                  <a:lnTo>
                    <a:pt x="54" y="468"/>
                  </a:lnTo>
                  <a:lnTo>
                    <a:pt x="54" y="480"/>
                  </a:lnTo>
                  <a:lnTo>
                    <a:pt x="48" y="492"/>
                  </a:lnTo>
                  <a:lnTo>
                    <a:pt x="48" y="510"/>
                  </a:lnTo>
                  <a:lnTo>
                    <a:pt x="60" y="522"/>
                  </a:lnTo>
                  <a:lnTo>
                    <a:pt x="66" y="522"/>
                  </a:lnTo>
                  <a:lnTo>
                    <a:pt x="84" y="540"/>
                  </a:lnTo>
                  <a:lnTo>
                    <a:pt x="84" y="552"/>
                  </a:lnTo>
                  <a:lnTo>
                    <a:pt x="72" y="564"/>
                  </a:lnTo>
                  <a:lnTo>
                    <a:pt x="48" y="570"/>
                  </a:lnTo>
                  <a:lnTo>
                    <a:pt x="54" y="576"/>
                  </a:lnTo>
                  <a:lnTo>
                    <a:pt x="60" y="588"/>
                  </a:lnTo>
                  <a:lnTo>
                    <a:pt x="60" y="594"/>
                  </a:lnTo>
                  <a:lnTo>
                    <a:pt x="66" y="600"/>
                  </a:lnTo>
                  <a:lnTo>
                    <a:pt x="66" y="606"/>
                  </a:lnTo>
                  <a:lnTo>
                    <a:pt x="72" y="618"/>
                  </a:lnTo>
                  <a:lnTo>
                    <a:pt x="66" y="618"/>
                  </a:lnTo>
                  <a:lnTo>
                    <a:pt x="66" y="642"/>
                  </a:lnTo>
                  <a:lnTo>
                    <a:pt x="60" y="648"/>
                  </a:lnTo>
                  <a:lnTo>
                    <a:pt x="24" y="648"/>
                  </a:lnTo>
                  <a:lnTo>
                    <a:pt x="30" y="660"/>
                  </a:lnTo>
                  <a:lnTo>
                    <a:pt x="30" y="666"/>
                  </a:lnTo>
                  <a:lnTo>
                    <a:pt x="24" y="666"/>
                  </a:lnTo>
                  <a:lnTo>
                    <a:pt x="18" y="672"/>
                  </a:lnTo>
                  <a:lnTo>
                    <a:pt x="18" y="678"/>
                  </a:lnTo>
                  <a:lnTo>
                    <a:pt x="30" y="690"/>
                  </a:lnTo>
                  <a:lnTo>
                    <a:pt x="30" y="708"/>
                  </a:lnTo>
                  <a:lnTo>
                    <a:pt x="24" y="714"/>
                  </a:lnTo>
                  <a:lnTo>
                    <a:pt x="18" y="726"/>
                  </a:lnTo>
                  <a:lnTo>
                    <a:pt x="0" y="708"/>
                  </a:lnTo>
                  <a:lnTo>
                    <a:pt x="0" y="768"/>
                  </a:lnTo>
                  <a:lnTo>
                    <a:pt x="6" y="762"/>
                  </a:lnTo>
                  <a:lnTo>
                    <a:pt x="24" y="762"/>
                  </a:lnTo>
                  <a:lnTo>
                    <a:pt x="36" y="774"/>
                  </a:lnTo>
                  <a:lnTo>
                    <a:pt x="36" y="780"/>
                  </a:lnTo>
                  <a:lnTo>
                    <a:pt x="30" y="780"/>
                  </a:lnTo>
                  <a:lnTo>
                    <a:pt x="30" y="774"/>
                  </a:lnTo>
                  <a:lnTo>
                    <a:pt x="24" y="774"/>
                  </a:lnTo>
                  <a:lnTo>
                    <a:pt x="24" y="834"/>
                  </a:lnTo>
                  <a:lnTo>
                    <a:pt x="30" y="840"/>
                  </a:lnTo>
                  <a:lnTo>
                    <a:pt x="36" y="840"/>
                  </a:lnTo>
                  <a:lnTo>
                    <a:pt x="48" y="846"/>
                  </a:lnTo>
                  <a:lnTo>
                    <a:pt x="54" y="858"/>
                  </a:lnTo>
                  <a:lnTo>
                    <a:pt x="60" y="864"/>
                  </a:lnTo>
                  <a:lnTo>
                    <a:pt x="66" y="876"/>
                  </a:lnTo>
                  <a:lnTo>
                    <a:pt x="90" y="900"/>
                  </a:lnTo>
                  <a:lnTo>
                    <a:pt x="96" y="900"/>
                  </a:lnTo>
                  <a:lnTo>
                    <a:pt x="96" y="912"/>
                  </a:lnTo>
                  <a:lnTo>
                    <a:pt x="78" y="912"/>
                  </a:lnTo>
                  <a:lnTo>
                    <a:pt x="78" y="942"/>
                  </a:lnTo>
                  <a:lnTo>
                    <a:pt x="90" y="954"/>
                  </a:lnTo>
                  <a:lnTo>
                    <a:pt x="102" y="960"/>
                  </a:lnTo>
                  <a:lnTo>
                    <a:pt x="96" y="966"/>
                  </a:lnTo>
                  <a:lnTo>
                    <a:pt x="96" y="984"/>
                  </a:lnTo>
                  <a:lnTo>
                    <a:pt x="102" y="984"/>
                  </a:lnTo>
                  <a:lnTo>
                    <a:pt x="108" y="990"/>
                  </a:lnTo>
                  <a:lnTo>
                    <a:pt x="174" y="990"/>
                  </a:lnTo>
                  <a:lnTo>
                    <a:pt x="180" y="984"/>
                  </a:lnTo>
                  <a:lnTo>
                    <a:pt x="180" y="948"/>
                  </a:lnTo>
                  <a:lnTo>
                    <a:pt x="198" y="942"/>
                  </a:lnTo>
                  <a:lnTo>
                    <a:pt x="198" y="924"/>
                  </a:lnTo>
                  <a:lnTo>
                    <a:pt x="264" y="930"/>
                  </a:lnTo>
                  <a:lnTo>
                    <a:pt x="276" y="936"/>
                  </a:lnTo>
                  <a:lnTo>
                    <a:pt x="300" y="876"/>
                  </a:lnTo>
                  <a:lnTo>
                    <a:pt x="300" y="864"/>
                  </a:lnTo>
                  <a:lnTo>
                    <a:pt x="306" y="852"/>
                  </a:lnTo>
                  <a:lnTo>
                    <a:pt x="306" y="816"/>
                  </a:lnTo>
                  <a:lnTo>
                    <a:pt x="300" y="810"/>
                  </a:lnTo>
                  <a:lnTo>
                    <a:pt x="294" y="798"/>
                  </a:lnTo>
                  <a:lnTo>
                    <a:pt x="312" y="798"/>
                  </a:lnTo>
                  <a:lnTo>
                    <a:pt x="324" y="786"/>
                  </a:lnTo>
                  <a:lnTo>
                    <a:pt x="324" y="780"/>
                  </a:lnTo>
                  <a:lnTo>
                    <a:pt x="306" y="762"/>
                  </a:lnTo>
                  <a:lnTo>
                    <a:pt x="294" y="762"/>
                  </a:lnTo>
                  <a:lnTo>
                    <a:pt x="312" y="756"/>
                  </a:lnTo>
                  <a:lnTo>
                    <a:pt x="300" y="750"/>
                  </a:lnTo>
                  <a:lnTo>
                    <a:pt x="324" y="750"/>
                  </a:lnTo>
                  <a:lnTo>
                    <a:pt x="336" y="744"/>
                  </a:lnTo>
                  <a:lnTo>
                    <a:pt x="348" y="744"/>
                  </a:lnTo>
                  <a:lnTo>
                    <a:pt x="354" y="738"/>
                  </a:lnTo>
                  <a:lnTo>
                    <a:pt x="360" y="726"/>
                  </a:lnTo>
                  <a:lnTo>
                    <a:pt x="360" y="714"/>
                  </a:lnTo>
                  <a:lnTo>
                    <a:pt x="366" y="708"/>
                  </a:lnTo>
                  <a:lnTo>
                    <a:pt x="384" y="726"/>
                  </a:lnTo>
                  <a:lnTo>
                    <a:pt x="390" y="726"/>
                  </a:lnTo>
                  <a:lnTo>
                    <a:pt x="396" y="720"/>
                  </a:lnTo>
                  <a:lnTo>
                    <a:pt x="408" y="696"/>
                  </a:lnTo>
                  <a:lnTo>
                    <a:pt x="402" y="690"/>
                  </a:lnTo>
                  <a:lnTo>
                    <a:pt x="402" y="684"/>
                  </a:lnTo>
                  <a:lnTo>
                    <a:pt x="414" y="684"/>
                  </a:lnTo>
                  <a:lnTo>
                    <a:pt x="420" y="678"/>
                  </a:lnTo>
                  <a:lnTo>
                    <a:pt x="432" y="672"/>
                  </a:lnTo>
                  <a:lnTo>
                    <a:pt x="432" y="660"/>
                  </a:lnTo>
                  <a:lnTo>
                    <a:pt x="420" y="636"/>
                  </a:lnTo>
                  <a:lnTo>
                    <a:pt x="408" y="630"/>
                  </a:lnTo>
                  <a:lnTo>
                    <a:pt x="408" y="618"/>
                  </a:lnTo>
                  <a:lnTo>
                    <a:pt x="372" y="600"/>
                  </a:lnTo>
                  <a:lnTo>
                    <a:pt x="360" y="606"/>
                  </a:lnTo>
                  <a:lnTo>
                    <a:pt x="354" y="606"/>
                  </a:lnTo>
                  <a:lnTo>
                    <a:pt x="342" y="600"/>
                  </a:lnTo>
                  <a:lnTo>
                    <a:pt x="330" y="576"/>
                  </a:lnTo>
                  <a:lnTo>
                    <a:pt x="330" y="558"/>
                  </a:lnTo>
                  <a:lnTo>
                    <a:pt x="324" y="546"/>
                  </a:lnTo>
                  <a:lnTo>
                    <a:pt x="324" y="528"/>
                  </a:lnTo>
                  <a:lnTo>
                    <a:pt x="336" y="516"/>
                  </a:lnTo>
                  <a:lnTo>
                    <a:pt x="342" y="504"/>
                  </a:lnTo>
                  <a:lnTo>
                    <a:pt x="342" y="486"/>
                  </a:lnTo>
                  <a:lnTo>
                    <a:pt x="336" y="474"/>
                  </a:lnTo>
                  <a:lnTo>
                    <a:pt x="330" y="468"/>
                  </a:lnTo>
                  <a:lnTo>
                    <a:pt x="330" y="462"/>
                  </a:lnTo>
                  <a:lnTo>
                    <a:pt x="348" y="462"/>
                  </a:lnTo>
                  <a:lnTo>
                    <a:pt x="354" y="456"/>
                  </a:lnTo>
                  <a:lnTo>
                    <a:pt x="354" y="438"/>
                  </a:lnTo>
                  <a:lnTo>
                    <a:pt x="348" y="426"/>
                  </a:lnTo>
                  <a:lnTo>
                    <a:pt x="354" y="432"/>
                  </a:lnTo>
                  <a:lnTo>
                    <a:pt x="378" y="432"/>
                  </a:lnTo>
                  <a:lnTo>
                    <a:pt x="384" y="426"/>
                  </a:lnTo>
                  <a:lnTo>
                    <a:pt x="396" y="420"/>
                  </a:lnTo>
                  <a:lnTo>
                    <a:pt x="408" y="408"/>
                  </a:lnTo>
                  <a:lnTo>
                    <a:pt x="438" y="414"/>
                  </a:lnTo>
                  <a:lnTo>
                    <a:pt x="450" y="390"/>
                  </a:lnTo>
                  <a:lnTo>
                    <a:pt x="480" y="390"/>
                  </a:lnTo>
                  <a:lnTo>
                    <a:pt x="498" y="384"/>
                  </a:lnTo>
                  <a:lnTo>
                    <a:pt x="510" y="378"/>
                  </a:lnTo>
                  <a:lnTo>
                    <a:pt x="522" y="354"/>
                  </a:lnTo>
                  <a:lnTo>
                    <a:pt x="540" y="336"/>
                  </a:lnTo>
                  <a:lnTo>
                    <a:pt x="546" y="324"/>
                  </a:lnTo>
                  <a:lnTo>
                    <a:pt x="528" y="300"/>
                  </a:lnTo>
                  <a:lnTo>
                    <a:pt x="558" y="264"/>
                  </a:lnTo>
                  <a:lnTo>
                    <a:pt x="540" y="246"/>
                  </a:lnTo>
                  <a:lnTo>
                    <a:pt x="576" y="234"/>
                  </a:lnTo>
                  <a:lnTo>
                    <a:pt x="594" y="216"/>
                  </a:lnTo>
                  <a:lnTo>
                    <a:pt x="672" y="222"/>
                  </a:lnTo>
                  <a:lnTo>
                    <a:pt x="684" y="240"/>
                  </a:lnTo>
                  <a:lnTo>
                    <a:pt x="690" y="240"/>
                  </a:lnTo>
                  <a:lnTo>
                    <a:pt x="678" y="204"/>
                  </a:lnTo>
                  <a:close/>
                  <a:moveTo>
                    <a:pt x="390" y="828"/>
                  </a:moveTo>
                  <a:lnTo>
                    <a:pt x="390" y="840"/>
                  </a:lnTo>
                  <a:lnTo>
                    <a:pt x="396" y="852"/>
                  </a:lnTo>
                  <a:lnTo>
                    <a:pt x="396" y="864"/>
                  </a:lnTo>
                  <a:lnTo>
                    <a:pt x="402" y="870"/>
                  </a:lnTo>
                  <a:lnTo>
                    <a:pt x="402" y="876"/>
                  </a:lnTo>
                  <a:lnTo>
                    <a:pt x="414" y="852"/>
                  </a:lnTo>
                  <a:lnTo>
                    <a:pt x="426" y="852"/>
                  </a:lnTo>
                  <a:lnTo>
                    <a:pt x="432" y="846"/>
                  </a:lnTo>
                  <a:lnTo>
                    <a:pt x="438" y="834"/>
                  </a:lnTo>
                  <a:lnTo>
                    <a:pt x="438" y="822"/>
                  </a:lnTo>
                  <a:lnTo>
                    <a:pt x="432" y="816"/>
                  </a:lnTo>
                  <a:lnTo>
                    <a:pt x="450" y="798"/>
                  </a:lnTo>
                  <a:lnTo>
                    <a:pt x="444" y="798"/>
                  </a:lnTo>
                  <a:lnTo>
                    <a:pt x="438" y="804"/>
                  </a:lnTo>
                  <a:lnTo>
                    <a:pt x="420" y="804"/>
                  </a:lnTo>
                  <a:lnTo>
                    <a:pt x="408" y="810"/>
                  </a:lnTo>
                  <a:lnTo>
                    <a:pt x="390" y="828"/>
                  </a:lnTo>
                  <a:close/>
                  <a:moveTo>
                    <a:pt x="300" y="900"/>
                  </a:moveTo>
                  <a:lnTo>
                    <a:pt x="300" y="912"/>
                  </a:lnTo>
                  <a:lnTo>
                    <a:pt x="294" y="924"/>
                  </a:lnTo>
                  <a:lnTo>
                    <a:pt x="300" y="918"/>
                  </a:lnTo>
                  <a:lnTo>
                    <a:pt x="312" y="912"/>
                  </a:lnTo>
                  <a:lnTo>
                    <a:pt x="318" y="900"/>
                  </a:lnTo>
                  <a:lnTo>
                    <a:pt x="318" y="894"/>
                  </a:lnTo>
                  <a:lnTo>
                    <a:pt x="324" y="888"/>
                  </a:lnTo>
                  <a:lnTo>
                    <a:pt x="324" y="882"/>
                  </a:lnTo>
                  <a:lnTo>
                    <a:pt x="342" y="858"/>
                  </a:lnTo>
                  <a:lnTo>
                    <a:pt x="336" y="840"/>
                  </a:lnTo>
                  <a:lnTo>
                    <a:pt x="330" y="852"/>
                  </a:lnTo>
                  <a:lnTo>
                    <a:pt x="312" y="870"/>
                  </a:lnTo>
                  <a:lnTo>
                    <a:pt x="300" y="894"/>
                  </a:lnTo>
                  <a:lnTo>
                    <a:pt x="300" y="900"/>
                  </a:lnTo>
                  <a:close/>
                </a:path>
              </a:pathLst>
            </a:custGeom>
            <a:solidFill>
              <a:schemeClr val="accent1"/>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70" name="Saudi Arabien" descr="© INSCALE GmbH, 05.05.2010&#10;http://www.presentationload.com/">
              <a:extLst>
                <a:ext uri="{FF2B5EF4-FFF2-40B4-BE49-F238E27FC236}">
                  <a16:creationId xmlns:a16="http://schemas.microsoft.com/office/drawing/2014/main" id="{01C46D9F-4BA8-45D1-8A8F-72C87141C921}"/>
                </a:ext>
              </a:extLst>
            </p:cNvPr>
            <p:cNvSpPr>
              <a:spLocks/>
            </p:cNvSpPr>
            <p:nvPr/>
          </p:nvSpPr>
          <p:spPr bwMode="gray">
            <a:xfrm>
              <a:off x="5087421" y="3222439"/>
              <a:ext cx="589577" cy="506472"/>
            </a:xfrm>
            <a:custGeom>
              <a:avLst/>
              <a:gdLst>
                <a:gd name="T0" fmla="*/ 2147483647 w 1488"/>
                <a:gd name="T1" fmla="*/ 2147483647 h 1278"/>
                <a:gd name="T2" fmla="*/ 2147483647 w 1488"/>
                <a:gd name="T3" fmla="*/ 2147483647 h 1278"/>
                <a:gd name="T4" fmla="*/ 2147483647 w 1488"/>
                <a:gd name="T5" fmla="*/ 2147483647 h 1278"/>
                <a:gd name="T6" fmla="*/ 2147483647 w 1488"/>
                <a:gd name="T7" fmla="*/ 2147483647 h 1278"/>
                <a:gd name="T8" fmla="*/ 2147483647 w 1488"/>
                <a:gd name="T9" fmla="*/ 2147483647 h 1278"/>
                <a:gd name="T10" fmla="*/ 2147483647 w 1488"/>
                <a:gd name="T11" fmla="*/ 2147483647 h 1278"/>
                <a:gd name="T12" fmla="*/ 2147483647 w 1488"/>
                <a:gd name="T13" fmla="*/ 2147483647 h 1278"/>
                <a:gd name="T14" fmla="*/ 2147483647 w 1488"/>
                <a:gd name="T15" fmla="*/ 2147483647 h 1278"/>
                <a:gd name="T16" fmla="*/ 2147483647 w 1488"/>
                <a:gd name="T17" fmla="*/ 2147483647 h 1278"/>
                <a:gd name="T18" fmla="*/ 2147483647 w 1488"/>
                <a:gd name="T19" fmla="*/ 2147483647 h 1278"/>
                <a:gd name="T20" fmla="*/ 2147483647 w 1488"/>
                <a:gd name="T21" fmla="*/ 2147483647 h 1278"/>
                <a:gd name="T22" fmla="*/ 2147483647 w 1488"/>
                <a:gd name="T23" fmla="*/ 2147483647 h 1278"/>
                <a:gd name="T24" fmla="*/ 2147483647 w 1488"/>
                <a:gd name="T25" fmla="*/ 2147483647 h 1278"/>
                <a:gd name="T26" fmla="*/ 2147483647 w 1488"/>
                <a:gd name="T27" fmla="*/ 2147483647 h 1278"/>
                <a:gd name="T28" fmla="*/ 2147483647 w 1488"/>
                <a:gd name="T29" fmla="*/ 2147483647 h 1278"/>
                <a:gd name="T30" fmla="*/ 2147483647 w 1488"/>
                <a:gd name="T31" fmla="*/ 2147483647 h 1278"/>
                <a:gd name="T32" fmla="*/ 2147483647 w 1488"/>
                <a:gd name="T33" fmla="*/ 2147483647 h 1278"/>
                <a:gd name="T34" fmla="*/ 2147483647 w 1488"/>
                <a:gd name="T35" fmla="*/ 2147483647 h 1278"/>
                <a:gd name="T36" fmla="*/ 2147483647 w 1488"/>
                <a:gd name="T37" fmla="*/ 2147483647 h 1278"/>
                <a:gd name="T38" fmla="*/ 2147483647 w 1488"/>
                <a:gd name="T39" fmla="*/ 0 h 1278"/>
                <a:gd name="T40" fmla="*/ 2147483647 w 1488"/>
                <a:gd name="T41" fmla="*/ 2147483647 h 1278"/>
                <a:gd name="T42" fmla="*/ 2147483647 w 1488"/>
                <a:gd name="T43" fmla="*/ 2147483647 h 1278"/>
                <a:gd name="T44" fmla="*/ 2147483647 w 1488"/>
                <a:gd name="T45" fmla="*/ 2147483647 h 1278"/>
                <a:gd name="T46" fmla="*/ 2147483647 w 1488"/>
                <a:gd name="T47" fmla="*/ 2147483647 h 1278"/>
                <a:gd name="T48" fmla="*/ 2147483647 w 1488"/>
                <a:gd name="T49" fmla="*/ 2147483647 h 1278"/>
                <a:gd name="T50" fmla="*/ 2147483647 w 1488"/>
                <a:gd name="T51" fmla="*/ 2147483647 h 1278"/>
                <a:gd name="T52" fmla="*/ 2147483647 w 1488"/>
                <a:gd name="T53" fmla="*/ 2147483647 h 1278"/>
                <a:gd name="T54" fmla="*/ 2147483647 w 1488"/>
                <a:gd name="T55" fmla="*/ 2147483647 h 1278"/>
                <a:gd name="T56" fmla="*/ 2147483647 w 1488"/>
                <a:gd name="T57" fmla="*/ 2147483647 h 1278"/>
                <a:gd name="T58" fmla="*/ 2147483647 w 1488"/>
                <a:gd name="T59" fmla="*/ 2147483647 h 1278"/>
                <a:gd name="T60" fmla="*/ 2147483647 w 1488"/>
                <a:gd name="T61" fmla="*/ 2147483647 h 1278"/>
                <a:gd name="T62" fmla="*/ 0 w 1488"/>
                <a:gd name="T63" fmla="*/ 2147483647 h 1278"/>
                <a:gd name="T64" fmla="*/ 2147483647 w 1488"/>
                <a:gd name="T65" fmla="*/ 2147483647 h 1278"/>
                <a:gd name="T66" fmla="*/ 2147483647 w 1488"/>
                <a:gd name="T67" fmla="*/ 2147483647 h 1278"/>
                <a:gd name="T68" fmla="*/ 2147483647 w 1488"/>
                <a:gd name="T69" fmla="*/ 2147483647 h 1278"/>
                <a:gd name="T70" fmla="*/ 2147483647 w 1488"/>
                <a:gd name="T71" fmla="*/ 2147483647 h 1278"/>
                <a:gd name="T72" fmla="*/ 2147483647 w 1488"/>
                <a:gd name="T73" fmla="*/ 2147483647 h 1278"/>
                <a:gd name="T74" fmla="*/ 2147483647 w 1488"/>
                <a:gd name="T75" fmla="*/ 2147483647 h 1278"/>
                <a:gd name="T76" fmla="*/ 2147483647 w 1488"/>
                <a:gd name="T77" fmla="*/ 2147483647 h 1278"/>
                <a:gd name="T78" fmla="*/ 2147483647 w 1488"/>
                <a:gd name="T79" fmla="*/ 2147483647 h 1278"/>
                <a:gd name="T80" fmla="*/ 2147483647 w 1488"/>
                <a:gd name="T81" fmla="*/ 2147483647 h 1278"/>
                <a:gd name="T82" fmla="*/ 2147483647 w 1488"/>
                <a:gd name="T83" fmla="*/ 2147483647 h 1278"/>
                <a:gd name="T84" fmla="*/ 2147483647 w 1488"/>
                <a:gd name="T85" fmla="*/ 2147483647 h 1278"/>
                <a:gd name="T86" fmla="*/ 2147483647 w 1488"/>
                <a:gd name="T87" fmla="*/ 2147483647 h 1278"/>
                <a:gd name="T88" fmla="*/ 2147483647 w 1488"/>
                <a:gd name="T89" fmla="*/ 2147483647 h 1278"/>
                <a:gd name="T90" fmla="*/ 2147483647 w 1488"/>
                <a:gd name="T91" fmla="*/ 2147483647 h 1278"/>
                <a:gd name="T92" fmla="*/ 2147483647 w 1488"/>
                <a:gd name="T93" fmla="*/ 2147483647 h 1278"/>
                <a:gd name="T94" fmla="*/ 2147483647 w 1488"/>
                <a:gd name="T95" fmla="*/ 2147483647 h 1278"/>
                <a:gd name="T96" fmla="*/ 2147483647 w 1488"/>
                <a:gd name="T97" fmla="*/ 2147483647 h 1278"/>
                <a:gd name="T98" fmla="*/ 2147483647 w 1488"/>
                <a:gd name="T99" fmla="*/ 2147483647 h 1278"/>
                <a:gd name="T100" fmla="*/ 2147483647 w 1488"/>
                <a:gd name="T101" fmla="*/ 2147483647 h 1278"/>
                <a:gd name="T102" fmla="*/ 2147483647 w 1488"/>
                <a:gd name="T103" fmla="*/ 2147483647 h 1278"/>
                <a:gd name="T104" fmla="*/ 2147483647 w 1488"/>
                <a:gd name="T105" fmla="*/ 2147483647 h 1278"/>
                <a:gd name="T106" fmla="*/ 2147483647 w 1488"/>
                <a:gd name="T107" fmla="*/ 2147483647 h 1278"/>
                <a:gd name="T108" fmla="*/ 2147483647 w 1488"/>
                <a:gd name="T109" fmla="*/ 2147483647 h 1278"/>
                <a:gd name="T110" fmla="*/ 2147483647 w 1488"/>
                <a:gd name="T111" fmla="*/ 2147483647 h 1278"/>
                <a:gd name="T112" fmla="*/ 2147483647 w 1488"/>
                <a:gd name="T113" fmla="*/ 2147483647 h 1278"/>
                <a:gd name="T114" fmla="*/ 2147483647 w 1488"/>
                <a:gd name="T115" fmla="*/ 2147483647 h 1278"/>
                <a:gd name="T116" fmla="*/ 2147483647 w 1488"/>
                <a:gd name="T117" fmla="*/ 2147483647 h 12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88"/>
                <a:gd name="T178" fmla="*/ 0 h 1278"/>
                <a:gd name="T179" fmla="*/ 1488 w 1488"/>
                <a:gd name="T180" fmla="*/ 1278 h 12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88" h="1278">
                  <a:moveTo>
                    <a:pt x="1464" y="792"/>
                  </a:moveTo>
                  <a:lnTo>
                    <a:pt x="1464" y="780"/>
                  </a:lnTo>
                  <a:lnTo>
                    <a:pt x="1458" y="774"/>
                  </a:lnTo>
                  <a:lnTo>
                    <a:pt x="1416" y="768"/>
                  </a:lnTo>
                  <a:lnTo>
                    <a:pt x="1320" y="756"/>
                  </a:lnTo>
                  <a:lnTo>
                    <a:pt x="1284" y="750"/>
                  </a:lnTo>
                  <a:lnTo>
                    <a:pt x="1266" y="750"/>
                  </a:lnTo>
                  <a:lnTo>
                    <a:pt x="1260" y="738"/>
                  </a:lnTo>
                  <a:lnTo>
                    <a:pt x="1248" y="732"/>
                  </a:lnTo>
                  <a:lnTo>
                    <a:pt x="1242" y="720"/>
                  </a:lnTo>
                  <a:lnTo>
                    <a:pt x="1218" y="696"/>
                  </a:lnTo>
                  <a:lnTo>
                    <a:pt x="1206" y="672"/>
                  </a:lnTo>
                  <a:lnTo>
                    <a:pt x="1188" y="654"/>
                  </a:lnTo>
                  <a:lnTo>
                    <a:pt x="1188" y="642"/>
                  </a:lnTo>
                  <a:lnTo>
                    <a:pt x="1182" y="636"/>
                  </a:lnTo>
                  <a:lnTo>
                    <a:pt x="1182" y="618"/>
                  </a:lnTo>
                  <a:lnTo>
                    <a:pt x="1176" y="624"/>
                  </a:lnTo>
                  <a:lnTo>
                    <a:pt x="1164" y="612"/>
                  </a:lnTo>
                  <a:lnTo>
                    <a:pt x="1146" y="612"/>
                  </a:lnTo>
                  <a:lnTo>
                    <a:pt x="1140" y="600"/>
                  </a:lnTo>
                  <a:lnTo>
                    <a:pt x="1134" y="594"/>
                  </a:lnTo>
                  <a:lnTo>
                    <a:pt x="1128" y="582"/>
                  </a:lnTo>
                  <a:lnTo>
                    <a:pt x="1122" y="564"/>
                  </a:lnTo>
                  <a:lnTo>
                    <a:pt x="1116" y="552"/>
                  </a:lnTo>
                  <a:lnTo>
                    <a:pt x="1116" y="540"/>
                  </a:lnTo>
                  <a:lnTo>
                    <a:pt x="1110" y="534"/>
                  </a:lnTo>
                  <a:lnTo>
                    <a:pt x="1098" y="528"/>
                  </a:lnTo>
                  <a:lnTo>
                    <a:pt x="1086" y="516"/>
                  </a:lnTo>
                  <a:lnTo>
                    <a:pt x="1074" y="510"/>
                  </a:lnTo>
                  <a:lnTo>
                    <a:pt x="1068" y="498"/>
                  </a:lnTo>
                  <a:lnTo>
                    <a:pt x="1068" y="462"/>
                  </a:lnTo>
                  <a:lnTo>
                    <a:pt x="1062" y="450"/>
                  </a:lnTo>
                  <a:lnTo>
                    <a:pt x="1062" y="438"/>
                  </a:lnTo>
                  <a:lnTo>
                    <a:pt x="1050" y="426"/>
                  </a:lnTo>
                  <a:lnTo>
                    <a:pt x="1002" y="402"/>
                  </a:lnTo>
                  <a:lnTo>
                    <a:pt x="996" y="396"/>
                  </a:lnTo>
                  <a:lnTo>
                    <a:pt x="990" y="384"/>
                  </a:lnTo>
                  <a:lnTo>
                    <a:pt x="990" y="360"/>
                  </a:lnTo>
                  <a:lnTo>
                    <a:pt x="972" y="342"/>
                  </a:lnTo>
                  <a:lnTo>
                    <a:pt x="966" y="330"/>
                  </a:lnTo>
                  <a:lnTo>
                    <a:pt x="960" y="324"/>
                  </a:lnTo>
                  <a:lnTo>
                    <a:pt x="960" y="300"/>
                  </a:lnTo>
                  <a:lnTo>
                    <a:pt x="954" y="300"/>
                  </a:lnTo>
                  <a:lnTo>
                    <a:pt x="948" y="294"/>
                  </a:lnTo>
                  <a:lnTo>
                    <a:pt x="882" y="294"/>
                  </a:lnTo>
                  <a:lnTo>
                    <a:pt x="876" y="288"/>
                  </a:lnTo>
                  <a:lnTo>
                    <a:pt x="876" y="252"/>
                  </a:lnTo>
                  <a:lnTo>
                    <a:pt x="852" y="246"/>
                  </a:lnTo>
                  <a:lnTo>
                    <a:pt x="804" y="246"/>
                  </a:lnTo>
                  <a:lnTo>
                    <a:pt x="750" y="240"/>
                  </a:lnTo>
                  <a:lnTo>
                    <a:pt x="684" y="240"/>
                  </a:lnTo>
                  <a:lnTo>
                    <a:pt x="492" y="96"/>
                  </a:lnTo>
                  <a:lnTo>
                    <a:pt x="480" y="90"/>
                  </a:lnTo>
                  <a:lnTo>
                    <a:pt x="474" y="84"/>
                  </a:lnTo>
                  <a:lnTo>
                    <a:pt x="426" y="60"/>
                  </a:lnTo>
                  <a:lnTo>
                    <a:pt x="414" y="48"/>
                  </a:lnTo>
                  <a:lnTo>
                    <a:pt x="402" y="42"/>
                  </a:lnTo>
                  <a:lnTo>
                    <a:pt x="372" y="12"/>
                  </a:lnTo>
                  <a:lnTo>
                    <a:pt x="306" y="12"/>
                  </a:lnTo>
                  <a:lnTo>
                    <a:pt x="294" y="0"/>
                  </a:lnTo>
                  <a:lnTo>
                    <a:pt x="288" y="6"/>
                  </a:lnTo>
                  <a:lnTo>
                    <a:pt x="276" y="12"/>
                  </a:lnTo>
                  <a:lnTo>
                    <a:pt x="270" y="12"/>
                  </a:lnTo>
                  <a:lnTo>
                    <a:pt x="264" y="18"/>
                  </a:lnTo>
                  <a:lnTo>
                    <a:pt x="252" y="24"/>
                  </a:lnTo>
                  <a:lnTo>
                    <a:pt x="210" y="24"/>
                  </a:lnTo>
                  <a:lnTo>
                    <a:pt x="198" y="48"/>
                  </a:lnTo>
                  <a:lnTo>
                    <a:pt x="132" y="48"/>
                  </a:lnTo>
                  <a:lnTo>
                    <a:pt x="120" y="54"/>
                  </a:lnTo>
                  <a:lnTo>
                    <a:pt x="108" y="54"/>
                  </a:lnTo>
                  <a:lnTo>
                    <a:pt x="108" y="60"/>
                  </a:lnTo>
                  <a:lnTo>
                    <a:pt x="132" y="60"/>
                  </a:lnTo>
                  <a:lnTo>
                    <a:pt x="144" y="66"/>
                  </a:lnTo>
                  <a:lnTo>
                    <a:pt x="156" y="66"/>
                  </a:lnTo>
                  <a:lnTo>
                    <a:pt x="180" y="90"/>
                  </a:lnTo>
                  <a:lnTo>
                    <a:pt x="192" y="114"/>
                  </a:lnTo>
                  <a:lnTo>
                    <a:pt x="198" y="120"/>
                  </a:lnTo>
                  <a:lnTo>
                    <a:pt x="198" y="132"/>
                  </a:lnTo>
                  <a:lnTo>
                    <a:pt x="192" y="138"/>
                  </a:lnTo>
                  <a:lnTo>
                    <a:pt x="192" y="150"/>
                  </a:lnTo>
                  <a:lnTo>
                    <a:pt x="186" y="156"/>
                  </a:lnTo>
                  <a:lnTo>
                    <a:pt x="180" y="168"/>
                  </a:lnTo>
                  <a:lnTo>
                    <a:pt x="174" y="174"/>
                  </a:lnTo>
                  <a:lnTo>
                    <a:pt x="162" y="180"/>
                  </a:lnTo>
                  <a:lnTo>
                    <a:pt x="150" y="180"/>
                  </a:lnTo>
                  <a:lnTo>
                    <a:pt x="138" y="186"/>
                  </a:lnTo>
                  <a:lnTo>
                    <a:pt x="132" y="186"/>
                  </a:lnTo>
                  <a:lnTo>
                    <a:pt x="120" y="198"/>
                  </a:lnTo>
                  <a:lnTo>
                    <a:pt x="120" y="210"/>
                  </a:lnTo>
                  <a:lnTo>
                    <a:pt x="108" y="234"/>
                  </a:lnTo>
                  <a:lnTo>
                    <a:pt x="96" y="246"/>
                  </a:lnTo>
                  <a:lnTo>
                    <a:pt x="60" y="246"/>
                  </a:lnTo>
                  <a:lnTo>
                    <a:pt x="36" y="234"/>
                  </a:lnTo>
                  <a:lnTo>
                    <a:pt x="6" y="234"/>
                  </a:lnTo>
                  <a:lnTo>
                    <a:pt x="6" y="264"/>
                  </a:lnTo>
                  <a:lnTo>
                    <a:pt x="0" y="306"/>
                  </a:lnTo>
                  <a:lnTo>
                    <a:pt x="0" y="348"/>
                  </a:lnTo>
                  <a:lnTo>
                    <a:pt x="6" y="372"/>
                  </a:lnTo>
                  <a:lnTo>
                    <a:pt x="24" y="378"/>
                  </a:lnTo>
                  <a:lnTo>
                    <a:pt x="36" y="390"/>
                  </a:lnTo>
                  <a:lnTo>
                    <a:pt x="54" y="390"/>
                  </a:lnTo>
                  <a:lnTo>
                    <a:pt x="72" y="408"/>
                  </a:lnTo>
                  <a:lnTo>
                    <a:pt x="90" y="438"/>
                  </a:lnTo>
                  <a:lnTo>
                    <a:pt x="102" y="474"/>
                  </a:lnTo>
                  <a:lnTo>
                    <a:pt x="120" y="504"/>
                  </a:lnTo>
                  <a:lnTo>
                    <a:pt x="132" y="516"/>
                  </a:lnTo>
                  <a:lnTo>
                    <a:pt x="150" y="528"/>
                  </a:lnTo>
                  <a:lnTo>
                    <a:pt x="162" y="540"/>
                  </a:lnTo>
                  <a:lnTo>
                    <a:pt x="174" y="558"/>
                  </a:lnTo>
                  <a:lnTo>
                    <a:pt x="180" y="570"/>
                  </a:lnTo>
                  <a:lnTo>
                    <a:pt x="186" y="594"/>
                  </a:lnTo>
                  <a:lnTo>
                    <a:pt x="192" y="612"/>
                  </a:lnTo>
                  <a:lnTo>
                    <a:pt x="198" y="636"/>
                  </a:lnTo>
                  <a:lnTo>
                    <a:pt x="210" y="648"/>
                  </a:lnTo>
                  <a:lnTo>
                    <a:pt x="234" y="660"/>
                  </a:lnTo>
                  <a:lnTo>
                    <a:pt x="264" y="660"/>
                  </a:lnTo>
                  <a:lnTo>
                    <a:pt x="282" y="666"/>
                  </a:lnTo>
                  <a:lnTo>
                    <a:pt x="294" y="678"/>
                  </a:lnTo>
                  <a:lnTo>
                    <a:pt x="312" y="708"/>
                  </a:lnTo>
                  <a:lnTo>
                    <a:pt x="330" y="756"/>
                  </a:lnTo>
                  <a:lnTo>
                    <a:pt x="336" y="804"/>
                  </a:lnTo>
                  <a:lnTo>
                    <a:pt x="342" y="840"/>
                  </a:lnTo>
                  <a:lnTo>
                    <a:pt x="348" y="870"/>
                  </a:lnTo>
                  <a:lnTo>
                    <a:pt x="366" y="906"/>
                  </a:lnTo>
                  <a:lnTo>
                    <a:pt x="384" y="924"/>
                  </a:lnTo>
                  <a:lnTo>
                    <a:pt x="390" y="936"/>
                  </a:lnTo>
                  <a:lnTo>
                    <a:pt x="414" y="936"/>
                  </a:lnTo>
                  <a:lnTo>
                    <a:pt x="438" y="948"/>
                  </a:lnTo>
                  <a:lnTo>
                    <a:pt x="456" y="972"/>
                  </a:lnTo>
                  <a:lnTo>
                    <a:pt x="480" y="1008"/>
                  </a:lnTo>
                  <a:lnTo>
                    <a:pt x="504" y="1056"/>
                  </a:lnTo>
                  <a:lnTo>
                    <a:pt x="552" y="1128"/>
                  </a:lnTo>
                  <a:lnTo>
                    <a:pt x="582" y="1170"/>
                  </a:lnTo>
                  <a:lnTo>
                    <a:pt x="606" y="1206"/>
                  </a:lnTo>
                  <a:lnTo>
                    <a:pt x="618" y="1236"/>
                  </a:lnTo>
                  <a:lnTo>
                    <a:pt x="618" y="1266"/>
                  </a:lnTo>
                  <a:lnTo>
                    <a:pt x="612" y="1278"/>
                  </a:lnTo>
                  <a:lnTo>
                    <a:pt x="624" y="1266"/>
                  </a:lnTo>
                  <a:lnTo>
                    <a:pt x="630" y="1254"/>
                  </a:lnTo>
                  <a:lnTo>
                    <a:pt x="636" y="1248"/>
                  </a:lnTo>
                  <a:lnTo>
                    <a:pt x="636" y="1200"/>
                  </a:lnTo>
                  <a:lnTo>
                    <a:pt x="642" y="1188"/>
                  </a:lnTo>
                  <a:lnTo>
                    <a:pt x="648" y="1182"/>
                  </a:lnTo>
                  <a:lnTo>
                    <a:pt x="654" y="1182"/>
                  </a:lnTo>
                  <a:lnTo>
                    <a:pt x="672" y="1200"/>
                  </a:lnTo>
                  <a:lnTo>
                    <a:pt x="696" y="1194"/>
                  </a:lnTo>
                  <a:lnTo>
                    <a:pt x="702" y="1188"/>
                  </a:lnTo>
                  <a:lnTo>
                    <a:pt x="792" y="1188"/>
                  </a:lnTo>
                  <a:lnTo>
                    <a:pt x="804" y="1194"/>
                  </a:lnTo>
                  <a:lnTo>
                    <a:pt x="810" y="1200"/>
                  </a:lnTo>
                  <a:lnTo>
                    <a:pt x="888" y="1200"/>
                  </a:lnTo>
                  <a:lnTo>
                    <a:pt x="894" y="1206"/>
                  </a:lnTo>
                  <a:lnTo>
                    <a:pt x="900" y="1218"/>
                  </a:lnTo>
                  <a:lnTo>
                    <a:pt x="912" y="1224"/>
                  </a:lnTo>
                  <a:lnTo>
                    <a:pt x="924" y="1224"/>
                  </a:lnTo>
                  <a:lnTo>
                    <a:pt x="930" y="1212"/>
                  </a:lnTo>
                  <a:lnTo>
                    <a:pt x="936" y="1206"/>
                  </a:lnTo>
                  <a:lnTo>
                    <a:pt x="936" y="1188"/>
                  </a:lnTo>
                  <a:lnTo>
                    <a:pt x="942" y="1176"/>
                  </a:lnTo>
                  <a:lnTo>
                    <a:pt x="948" y="1170"/>
                  </a:lnTo>
                  <a:lnTo>
                    <a:pt x="954" y="1158"/>
                  </a:lnTo>
                  <a:lnTo>
                    <a:pt x="966" y="1146"/>
                  </a:lnTo>
                  <a:lnTo>
                    <a:pt x="972" y="1134"/>
                  </a:lnTo>
                  <a:lnTo>
                    <a:pt x="990" y="1116"/>
                  </a:lnTo>
                  <a:lnTo>
                    <a:pt x="1020" y="1098"/>
                  </a:lnTo>
                  <a:lnTo>
                    <a:pt x="1050" y="1092"/>
                  </a:lnTo>
                  <a:lnTo>
                    <a:pt x="1068" y="1086"/>
                  </a:lnTo>
                  <a:lnTo>
                    <a:pt x="1092" y="1086"/>
                  </a:lnTo>
                  <a:lnTo>
                    <a:pt x="1140" y="1080"/>
                  </a:lnTo>
                  <a:lnTo>
                    <a:pt x="1188" y="1068"/>
                  </a:lnTo>
                  <a:lnTo>
                    <a:pt x="1230" y="1062"/>
                  </a:lnTo>
                  <a:lnTo>
                    <a:pt x="1248" y="1062"/>
                  </a:lnTo>
                  <a:lnTo>
                    <a:pt x="1452" y="990"/>
                  </a:lnTo>
                  <a:lnTo>
                    <a:pt x="1488" y="816"/>
                  </a:lnTo>
                  <a:lnTo>
                    <a:pt x="1482" y="810"/>
                  </a:lnTo>
                  <a:lnTo>
                    <a:pt x="1470" y="804"/>
                  </a:lnTo>
                  <a:lnTo>
                    <a:pt x="1464" y="798"/>
                  </a:lnTo>
                  <a:lnTo>
                    <a:pt x="1464" y="79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71" name="Sambia" descr="© INSCALE GmbH, 05.05.2010&#10;http://www.presentationload.com/">
              <a:extLst>
                <a:ext uri="{FF2B5EF4-FFF2-40B4-BE49-F238E27FC236}">
                  <a16:creationId xmlns:a16="http://schemas.microsoft.com/office/drawing/2014/main" id="{A72635D8-0EBB-4ADB-9B5D-883D58EDCCCB}"/>
                </a:ext>
              </a:extLst>
            </p:cNvPr>
            <p:cNvSpPr>
              <a:spLocks/>
            </p:cNvSpPr>
            <p:nvPr/>
          </p:nvSpPr>
          <p:spPr bwMode="gray">
            <a:xfrm>
              <a:off x="4748728" y="4512921"/>
              <a:ext cx="330852" cy="318309"/>
            </a:xfrm>
            <a:custGeom>
              <a:avLst/>
              <a:gdLst>
                <a:gd name="T0" fmla="*/ 2147483647 w 834"/>
                <a:gd name="T1" fmla="*/ 2147483647 h 798"/>
                <a:gd name="T2" fmla="*/ 2147483647 w 834"/>
                <a:gd name="T3" fmla="*/ 2147483647 h 798"/>
                <a:gd name="T4" fmla="*/ 2147483647 w 834"/>
                <a:gd name="T5" fmla="*/ 2147483647 h 798"/>
                <a:gd name="T6" fmla="*/ 2147483647 w 834"/>
                <a:gd name="T7" fmla="*/ 2147483647 h 798"/>
                <a:gd name="T8" fmla="*/ 2147483647 w 834"/>
                <a:gd name="T9" fmla="*/ 2147483647 h 798"/>
                <a:gd name="T10" fmla="*/ 2147483647 w 834"/>
                <a:gd name="T11" fmla="*/ 2147483647 h 798"/>
                <a:gd name="T12" fmla="*/ 2147483647 w 834"/>
                <a:gd name="T13" fmla="*/ 2147483647 h 798"/>
                <a:gd name="T14" fmla="*/ 2147483647 w 834"/>
                <a:gd name="T15" fmla="*/ 2147483647 h 798"/>
                <a:gd name="T16" fmla="*/ 2147483647 w 834"/>
                <a:gd name="T17" fmla="*/ 2147483647 h 798"/>
                <a:gd name="T18" fmla="*/ 2147483647 w 834"/>
                <a:gd name="T19" fmla="*/ 2147483647 h 798"/>
                <a:gd name="T20" fmla="*/ 2147483647 w 834"/>
                <a:gd name="T21" fmla="*/ 2147483647 h 798"/>
                <a:gd name="T22" fmla="*/ 2147483647 w 834"/>
                <a:gd name="T23" fmla="*/ 2147483647 h 798"/>
                <a:gd name="T24" fmla="*/ 2147483647 w 834"/>
                <a:gd name="T25" fmla="*/ 2147483647 h 798"/>
                <a:gd name="T26" fmla="*/ 2147483647 w 834"/>
                <a:gd name="T27" fmla="*/ 2147483647 h 798"/>
                <a:gd name="T28" fmla="*/ 2147483647 w 834"/>
                <a:gd name="T29" fmla="*/ 2147483647 h 798"/>
                <a:gd name="T30" fmla="*/ 2147483647 w 834"/>
                <a:gd name="T31" fmla="*/ 2147483647 h 798"/>
                <a:gd name="T32" fmla="*/ 2147483647 w 834"/>
                <a:gd name="T33" fmla="*/ 2147483647 h 798"/>
                <a:gd name="T34" fmla="*/ 2147483647 w 834"/>
                <a:gd name="T35" fmla="*/ 2147483647 h 798"/>
                <a:gd name="T36" fmla="*/ 2147483647 w 834"/>
                <a:gd name="T37" fmla="*/ 2147483647 h 798"/>
                <a:gd name="T38" fmla="*/ 2147483647 w 834"/>
                <a:gd name="T39" fmla="*/ 2147483647 h 798"/>
                <a:gd name="T40" fmla="*/ 2147483647 w 834"/>
                <a:gd name="T41" fmla="*/ 2147483647 h 798"/>
                <a:gd name="T42" fmla="*/ 2147483647 w 834"/>
                <a:gd name="T43" fmla="*/ 2147483647 h 798"/>
                <a:gd name="T44" fmla="*/ 2147483647 w 834"/>
                <a:gd name="T45" fmla="*/ 2147483647 h 798"/>
                <a:gd name="T46" fmla="*/ 2147483647 w 834"/>
                <a:gd name="T47" fmla="*/ 2147483647 h 798"/>
                <a:gd name="T48" fmla="*/ 2147483647 w 834"/>
                <a:gd name="T49" fmla="*/ 2147483647 h 798"/>
                <a:gd name="T50" fmla="*/ 2147483647 w 834"/>
                <a:gd name="T51" fmla="*/ 2147483647 h 798"/>
                <a:gd name="T52" fmla="*/ 2147483647 w 834"/>
                <a:gd name="T53" fmla="*/ 2147483647 h 798"/>
                <a:gd name="T54" fmla="*/ 2147483647 w 834"/>
                <a:gd name="T55" fmla="*/ 2147483647 h 798"/>
                <a:gd name="T56" fmla="*/ 2147483647 w 834"/>
                <a:gd name="T57" fmla="*/ 2147483647 h 798"/>
                <a:gd name="T58" fmla="*/ 2147483647 w 834"/>
                <a:gd name="T59" fmla="*/ 2147483647 h 798"/>
                <a:gd name="T60" fmla="*/ 2147483647 w 834"/>
                <a:gd name="T61" fmla="*/ 2147483647 h 798"/>
                <a:gd name="T62" fmla="*/ 2147483647 w 834"/>
                <a:gd name="T63" fmla="*/ 2147483647 h 798"/>
                <a:gd name="T64" fmla="*/ 2147483647 w 834"/>
                <a:gd name="T65" fmla="*/ 2147483647 h 798"/>
                <a:gd name="T66" fmla="*/ 2147483647 w 834"/>
                <a:gd name="T67" fmla="*/ 2147483647 h 798"/>
                <a:gd name="T68" fmla="*/ 2147483647 w 834"/>
                <a:gd name="T69" fmla="*/ 2147483647 h 798"/>
                <a:gd name="T70" fmla="*/ 2147483647 w 834"/>
                <a:gd name="T71" fmla="*/ 2147483647 h 798"/>
                <a:gd name="T72" fmla="*/ 2147483647 w 834"/>
                <a:gd name="T73" fmla="*/ 2147483647 h 798"/>
                <a:gd name="T74" fmla="*/ 2147483647 w 834"/>
                <a:gd name="T75" fmla="*/ 2147483647 h 798"/>
                <a:gd name="T76" fmla="*/ 2147483647 w 834"/>
                <a:gd name="T77" fmla="*/ 2147483647 h 798"/>
                <a:gd name="T78" fmla="*/ 2147483647 w 834"/>
                <a:gd name="T79" fmla="*/ 2147483647 h 798"/>
                <a:gd name="T80" fmla="*/ 2147483647 w 834"/>
                <a:gd name="T81" fmla="*/ 2147483647 h 798"/>
                <a:gd name="T82" fmla="*/ 2147483647 w 834"/>
                <a:gd name="T83" fmla="*/ 2147483647 h 798"/>
                <a:gd name="T84" fmla="*/ 2147483647 w 834"/>
                <a:gd name="T85" fmla="*/ 2147483647 h 798"/>
                <a:gd name="T86" fmla="*/ 2147483647 w 834"/>
                <a:gd name="T87" fmla="*/ 2147483647 h 798"/>
                <a:gd name="T88" fmla="*/ 2147483647 w 834"/>
                <a:gd name="T89" fmla="*/ 2147483647 h 798"/>
                <a:gd name="T90" fmla="*/ 2147483647 w 834"/>
                <a:gd name="T91" fmla="*/ 2147483647 h 798"/>
                <a:gd name="T92" fmla="*/ 2147483647 w 834"/>
                <a:gd name="T93" fmla="*/ 2147483647 h 798"/>
                <a:gd name="T94" fmla="*/ 2147483647 w 834"/>
                <a:gd name="T95" fmla="*/ 2147483647 h 798"/>
                <a:gd name="T96" fmla="*/ 2147483647 w 834"/>
                <a:gd name="T97" fmla="*/ 2147483647 h 798"/>
                <a:gd name="T98" fmla="*/ 2147483647 w 834"/>
                <a:gd name="T99" fmla="*/ 2147483647 h 798"/>
                <a:gd name="T100" fmla="*/ 2147483647 w 834"/>
                <a:gd name="T101" fmla="*/ 2147483647 h 798"/>
                <a:gd name="T102" fmla="*/ 2147483647 w 834"/>
                <a:gd name="T103" fmla="*/ 2147483647 h 79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34"/>
                <a:gd name="T157" fmla="*/ 0 h 798"/>
                <a:gd name="T158" fmla="*/ 834 w 834"/>
                <a:gd name="T159" fmla="*/ 798 h 79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34" h="798">
                  <a:moveTo>
                    <a:pt x="822" y="186"/>
                  </a:moveTo>
                  <a:lnTo>
                    <a:pt x="822" y="162"/>
                  </a:lnTo>
                  <a:lnTo>
                    <a:pt x="816" y="168"/>
                  </a:lnTo>
                  <a:lnTo>
                    <a:pt x="810" y="168"/>
                  </a:lnTo>
                  <a:lnTo>
                    <a:pt x="810" y="126"/>
                  </a:lnTo>
                  <a:lnTo>
                    <a:pt x="798" y="114"/>
                  </a:lnTo>
                  <a:lnTo>
                    <a:pt x="786" y="114"/>
                  </a:lnTo>
                  <a:lnTo>
                    <a:pt x="786" y="102"/>
                  </a:lnTo>
                  <a:lnTo>
                    <a:pt x="768" y="90"/>
                  </a:lnTo>
                  <a:lnTo>
                    <a:pt x="750" y="90"/>
                  </a:lnTo>
                  <a:lnTo>
                    <a:pt x="750" y="72"/>
                  </a:lnTo>
                  <a:lnTo>
                    <a:pt x="738" y="78"/>
                  </a:lnTo>
                  <a:lnTo>
                    <a:pt x="726" y="78"/>
                  </a:lnTo>
                  <a:lnTo>
                    <a:pt x="708" y="60"/>
                  </a:lnTo>
                  <a:lnTo>
                    <a:pt x="690" y="60"/>
                  </a:lnTo>
                  <a:lnTo>
                    <a:pt x="684" y="54"/>
                  </a:lnTo>
                  <a:lnTo>
                    <a:pt x="684" y="36"/>
                  </a:lnTo>
                  <a:lnTo>
                    <a:pt x="672" y="42"/>
                  </a:lnTo>
                  <a:lnTo>
                    <a:pt x="654" y="42"/>
                  </a:lnTo>
                  <a:lnTo>
                    <a:pt x="648" y="54"/>
                  </a:lnTo>
                  <a:lnTo>
                    <a:pt x="642" y="60"/>
                  </a:lnTo>
                  <a:lnTo>
                    <a:pt x="636" y="60"/>
                  </a:lnTo>
                  <a:lnTo>
                    <a:pt x="624" y="48"/>
                  </a:lnTo>
                  <a:lnTo>
                    <a:pt x="624" y="36"/>
                  </a:lnTo>
                  <a:lnTo>
                    <a:pt x="618" y="30"/>
                  </a:lnTo>
                  <a:lnTo>
                    <a:pt x="606" y="30"/>
                  </a:lnTo>
                  <a:lnTo>
                    <a:pt x="600" y="24"/>
                  </a:lnTo>
                  <a:lnTo>
                    <a:pt x="594" y="24"/>
                  </a:lnTo>
                  <a:lnTo>
                    <a:pt x="594" y="6"/>
                  </a:lnTo>
                  <a:lnTo>
                    <a:pt x="600" y="0"/>
                  </a:lnTo>
                  <a:lnTo>
                    <a:pt x="576" y="12"/>
                  </a:lnTo>
                  <a:lnTo>
                    <a:pt x="558" y="12"/>
                  </a:lnTo>
                  <a:lnTo>
                    <a:pt x="546" y="18"/>
                  </a:lnTo>
                  <a:lnTo>
                    <a:pt x="528" y="18"/>
                  </a:lnTo>
                  <a:lnTo>
                    <a:pt x="510" y="24"/>
                  </a:lnTo>
                  <a:lnTo>
                    <a:pt x="498" y="24"/>
                  </a:lnTo>
                  <a:lnTo>
                    <a:pt x="498" y="54"/>
                  </a:lnTo>
                  <a:lnTo>
                    <a:pt x="480" y="72"/>
                  </a:lnTo>
                  <a:lnTo>
                    <a:pt x="468" y="78"/>
                  </a:lnTo>
                  <a:lnTo>
                    <a:pt x="462" y="84"/>
                  </a:lnTo>
                  <a:lnTo>
                    <a:pt x="456" y="84"/>
                  </a:lnTo>
                  <a:lnTo>
                    <a:pt x="468" y="96"/>
                  </a:lnTo>
                  <a:lnTo>
                    <a:pt x="468" y="102"/>
                  </a:lnTo>
                  <a:lnTo>
                    <a:pt x="474" y="108"/>
                  </a:lnTo>
                  <a:lnTo>
                    <a:pt x="474" y="114"/>
                  </a:lnTo>
                  <a:lnTo>
                    <a:pt x="480" y="120"/>
                  </a:lnTo>
                  <a:lnTo>
                    <a:pt x="480" y="144"/>
                  </a:lnTo>
                  <a:lnTo>
                    <a:pt x="486" y="162"/>
                  </a:lnTo>
                  <a:lnTo>
                    <a:pt x="486" y="216"/>
                  </a:lnTo>
                  <a:lnTo>
                    <a:pt x="474" y="228"/>
                  </a:lnTo>
                  <a:lnTo>
                    <a:pt x="468" y="240"/>
                  </a:lnTo>
                  <a:lnTo>
                    <a:pt x="462" y="258"/>
                  </a:lnTo>
                  <a:lnTo>
                    <a:pt x="456" y="270"/>
                  </a:lnTo>
                  <a:lnTo>
                    <a:pt x="456" y="294"/>
                  </a:lnTo>
                  <a:lnTo>
                    <a:pt x="468" y="306"/>
                  </a:lnTo>
                  <a:lnTo>
                    <a:pt x="474" y="306"/>
                  </a:lnTo>
                  <a:lnTo>
                    <a:pt x="474" y="312"/>
                  </a:lnTo>
                  <a:lnTo>
                    <a:pt x="480" y="312"/>
                  </a:lnTo>
                  <a:lnTo>
                    <a:pt x="510" y="342"/>
                  </a:lnTo>
                  <a:lnTo>
                    <a:pt x="522" y="348"/>
                  </a:lnTo>
                  <a:lnTo>
                    <a:pt x="528" y="348"/>
                  </a:lnTo>
                  <a:lnTo>
                    <a:pt x="534" y="342"/>
                  </a:lnTo>
                  <a:lnTo>
                    <a:pt x="534" y="324"/>
                  </a:lnTo>
                  <a:lnTo>
                    <a:pt x="558" y="324"/>
                  </a:lnTo>
                  <a:lnTo>
                    <a:pt x="558" y="372"/>
                  </a:lnTo>
                  <a:lnTo>
                    <a:pt x="552" y="408"/>
                  </a:lnTo>
                  <a:lnTo>
                    <a:pt x="546" y="426"/>
                  </a:lnTo>
                  <a:lnTo>
                    <a:pt x="540" y="426"/>
                  </a:lnTo>
                  <a:lnTo>
                    <a:pt x="540" y="420"/>
                  </a:lnTo>
                  <a:lnTo>
                    <a:pt x="534" y="408"/>
                  </a:lnTo>
                  <a:lnTo>
                    <a:pt x="516" y="420"/>
                  </a:lnTo>
                  <a:lnTo>
                    <a:pt x="498" y="420"/>
                  </a:lnTo>
                  <a:lnTo>
                    <a:pt x="498" y="408"/>
                  </a:lnTo>
                  <a:lnTo>
                    <a:pt x="492" y="396"/>
                  </a:lnTo>
                  <a:lnTo>
                    <a:pt x="492" y="384"/>
                  </a:lnTo>
                  <a:lnTo>
                    <a:pt x="480" y="372"/>
                  </a:lnTo>
                  <a:lnTo>
                    <a:pt x="468" y="372"/>
                  </a:lnTo>
                  <a:lnTo>
                    <a:pt x="462" y="360"/>
                  </a:lnTo>
                  <a:lnTo>
                    <a:pt x="462" y="354"/>
                  </a:lnTo>
                  <a:lnTo>
                    <a:pt x="456" y="342"/>
                  </a:lnTo>
                  <a:lnTo>
                    <a:pt x="450" y="336"/>
                  </a:lnTo>
                  <a:lnTo>
                    <a:pt x="444" y="336"/>
                  </a:lnTo>
                  <a:lnTo>
                    <a:pt x="438" y="342"/>
                  </a:lnTo>
                  <a:lnTo>
                    <a:pt x="426" y="342"/>
                  </a:lnTo>
                  <a:lnTo>
                    <a:pt x="426" y="330"/>
                  </a:lnTo>
                  <a:lnTo>
                    <a:pt x="420" y="324"/>
                  </a:lnTo>
                  <a:lnTo>
                    <a:pt x="390" y="324"/>
                  </a:lnTo>
                  <a:lnTo>
                    <a:pt x="390" y="312"/>
                  </a:lnTo>
                  <a:lnTo>
                    <a:pt x="396" y="312"/>
                  </a:lnTo>
                  <a:lnTo>
                    <a:pt x="396" y="300"/>
                  </a:lnTo>
                  <a:lnTo>
                    <a:pt x="384" y="300"/>
                  </a:lnTo>
                  <a:lnTo>
                    <a:pt x="378" y="294"/>
                  </a:lnTo>
                  <a:lnTo>
                    <a:pt x="378" y="282"/>
                  </a:lnTo>
                  <a:lnTo>
                    <a:pt x="366" y="270"/>
                  </a:lnTo>
                  <a:lnTo>
                    <a:pt x="360" y="270"/>
                  </a:lnTo>
                  <a:lnTo>
                    <a:pt x="354" y="276"/>
                  </a:lnTo>
                  <a:lnTo>
                    <a:pt x="354" y="294"/>
                  </a:lnTo>
                  <a:lnTo>
                    <a:pt x="348" y="300"/>
                  </a:lnTo>
                  <a:lnTo>
                    <a:pt x="348" y="306"/>
                  </a:lnTo>
                  <a:lnTo>
                    <a:pt x="330" y="306"/>
                  </a:lnTo>
                  <a:lnTo>
                    <a:pt x="300" y="300"/>
                  </a:lnTo>
                  <a:lnTo>
                    <a:pt x="264" y="294"/>
                  </a:lnTo>
                  <a:lnTo>
                    <a:pt x="246" y="282"/>
                  </a:lnTo>
                  <a:lnTo>
                    <a:pt x="240" y="276"/>
                  </a:lnTo>
                  <a:lnTo>
                    <a:pt x="234" y="264"/>
                  </a:lnTo>
                  <a:lnTo>
                    <a:pt x="234" y="246"/>
                  </a:lnTo>
                  <a:lnTo>
                    <a:pt x="192" y="252"/>
                  </a:lnTo>
                  <a:lnTo>
                    <a:pt x="198" y="258"/>
                  </a:lnTo>
                  <a:lnTo>
                    <a:pt x="198" y="264"/>
                  </a:lnTo>
                  <a:lnTo>
                    <a:pt x="180" y="264"/>
                  </a:lnTo>
                  <a:lnTo>
                    <a:pt x="174" y="258"/>
                  </a:lnTo>
                  <a:lnTo>
                    <a:pt x="174" y="228"/>
                  </a:lnTo>
                  <a:lnTo>
                    <a:pt x="156" y="228"/>
                  </a:lnTo>
                  <a:lnTo>
                    <a:pt x="150" y="216"/>
                  </a:lnTo>
                  <a:lnTo>
                    <a:pt x="144" y="234"/>
                  </a:lnTo>
                  <a:lnTo>
                    <a:pt x="144" y="240"/>
                  </a:lnTo>
                  <a:lnTo>
                    <a:pt x="156" y="252"/>
                  </a:lnTo>
                  <a:lnTo>
                    <a:pt x="156" y="270"/>
                  </a:lnTo>
                  <a:lnTo>
                    <a:pt x="150" y="276"/>
                  </a:lnTo>
                  <a:lnTo>
                    <a:pt x="144" y="276"/>
                  </a:lnTo>
                  <a:lnTo>
                    <a:pt x="144" y="330"/>
                  </a:lnTo>
                  <a:lnTo>
                    <a:pt x="156" y="342"/>
                  </a:lnTo>
                  <a:lnTo>
                    <a:pt x="138" y="348"/>
                  </a:lnTo>
                  <a:lnTo>
                    <a:pt x="138" y="354"/>
                  </a:lnTo>
                  <a:lnTo>
                    <a:pt x="144" y="360"/>
                  </a:lnTo>
                  <a:lnTo>
                    <a:pt x="144" y="384"/>
                  </a:lnTo>
                  <a:lnTo>
                    <a:pt x="132" y="396"/>
                  </a:lnTo>
                  <a:lnTo>
                    <a:pt x="126" y="396"/>
                  </a:lnTo>
                  <a:lnTo>
                    <a:pt x="0" y="390"/>
                  </a:lnTo>
                  <a:lnTo>
                    <a:pt x="0" y="642"/>
                  </a:lnTo>
                  <a:lnTo>
                    <a:pt x="6" y="654"/>
                  </a:lnTo>
                  <a:lnTo>
                    <a:pt x="6" y="672"/>
                  </a:lnTo>
                  <a:lnTo>
                    <a:pt x="96" y="762"/>
                  </a:lnTo>
                  <a:lnTo>
                    <a:pt x="114" y="768"/>
                  </a:lnTo>
                  <a:lnTo>
                    <a:pt x="138" y="756"/>
                  </a:lnTo>
                  <a:lnTo>
                    <a:pt x="144" y="756"/>
                  </a:lnTo>
                  <a:lnTo>
                    <a:pt x="150" y="750"/>
                  </a:lnTo>
                  <a:lnTo>
                    <a:pt x="168" y="750"/>
                  </a:lnTo>
                  <a:lnTo>
                    <a:pt x="174" y="756"/>
                  </a:lnTo>
                  <a:lnTo>
                    <a:pt x="174" y="762"/>
                  </a:lnTo>
                  <a:lnTo>
                    <a:pt x="204" y="756"/>
                  </a:lnTo>
                  <a:lnTo>
                    <a:pt x="222" y="774"/>
                  </a:lnTo>
                  <a:lnTo>
                    <a:pt x="264" y="774"/>
                  </a:lnTo>
                  <a:lnTo>
                    <a:pt x="264" y="780"/>
                  </a:lnTo>
                  <a:lnTo>
                    <a:pt x="276" y="792"/>
                  </a:lnTo>
                  <a:lnTo>
                    <a:pt x="288" y="792"/>
                  </a:lnTo>
                  <a:lnTo>
                    <a:pt x="288" y="780"/>
                  </a:lnTo>
                  <a:lnTo>
                    <a:pt x="300" y="780"/>
                  </a:lnTo>
                  <a:lnTo>
                    <a:pt x="312" y="792"/>
                  </a:lnTo>
                  <a:lnTo>
                    <a:pt x="312" y="798"/>
                  </a:lnTo>
                  <a:lnTo>
                    <a:pt x="330" y="798"/>
                  </a:lnTo>
                  <a:lnTo>
                    <a:pt x="354" y="786"/>
                  </a:lnTo>
                  <a:lnTo>
                    <a:pt x="384" y="756"/>
                  </a:lnTo>
                  <a:lnTo>
                    <a:pt x="390" y="744"/>
                  </a:lnTo>
                  <a:lnTo>
                    <a:pt x="396" y="738"/>
                  </a:lnTo>
                  <a:lnTo>
                    <a:pt x="396" y="732"/>
                  </a:lnTo>
                  <a:lnTo>
                    <a:pt x="402" y="726"/>
                  </a:lnTo>
                  <a:lnTo>
                    <a:pt x="414" y="702"/>
                  </a:lnTo>
                  <a:lnTo>
                    <a:pt x="420" y="696"/>
                  </a:lnTo>
                  <a:lnTo>
                    <a:pt x="432" y="690"/>
                  </a:lnTo>
                  <a:lnTo>
                    <a:pt x="450" y="684"/>
                  </a:lnTo>
                  <a:lnTo>
                    <a:pt x="462" y="678"/>
                  </a:lnTo>
                  <a:lnTo>
                    <a:pt x="474" y="678"/>
                  </a:lnTo>
                  <a:lnTo>
                    <a:pt x="480" y="672"/>
                  </a:lnTo>
                  <a:lnTo>
                    <a:pt x="480" y="636"/>
                  </a:lnTo>
                  <a:lnTo>
                    <a:pt x="504" y="624"/>
                  </a:lnTo>
                  <a:lnTo>
                    <a:pt x="516" y="612"/>
                  </a:lnTo>
                  <a:lnTo>
                    <a:pt x="552" y="600"/>
                  </a:lnTo>
                  <a:lnTo>
                    <a:pt x="588" y="600"/>
                  </a:lnTo>
                  <a:lnTo>
                    <a:pt x="588" y="576"/>
                  </a:lnTo>
                  <a:lnTo>
                    <a:pt x="570" y="558"/>
                  </a:lnTo>
                  <a:lnTo>
                    <a:pt x="582" y="546"/>
                  </a:lnTo>
                  <a:lnTo>
                    <a:pt x="612" y="546"/>
                  </a:lnTo>
                  <a:lnTo>
                    <a:pt x="630" y="528"/>
                  </a:lnTo>
                  <a:lnTo>
                    <a:pt x="642" y="528"/>
                  </a:lnTo>
                  <a:lnTo>
                    <a:pt x="654" y="522"/>
                  </a:lnTo>
                  <a:lnTo>
                    <a:pt x="672" y="522"/>
                  </a:lnTo>
                  <a:lnTo>
                    <a:pt x="690" y="516"/>
                  </a:lnTo>
                  <a:lnTo>
                    <a:pt x="702" y="510"/>
                  </a:lnTo>
                  <a:lnTo>
                    <a:pt x="708" y="510"/>
                  </a:lnTo>
                  <a:lnTo>
                    <a:pt x="732" y="498"/>
                  </a:lnTo>
                  <a:lnTo>
                    <a:pt x="750" y="486"/>
                  </a:lnTo>
                  <a:lnTo>
                    <a:pt x="762" y="480"/>
                  </a:lnTo>
                  <a:lnTo>
                    <a:pt x="780" y="474"/>
                  </a:lnTo>
                  <a:lnTo>
                    <a:pt x="786" y="468"/>
                  </a:lnTo>
                  <a:lnTo>
                    <a:pt x="792" y="468"/>
                  </a:lnTo>
                  <a:lnTo>
                    <a:pt x="780" y="462"/>
                  </a:lnTo>
                  <a:lnTo>
                    <a:pt x="768" y="450"/>
                  </a:lnTo>
                  <a:lnTo>
                    <a:pt x="756" y="444"/>
                  </a:lnTo>
                  <a:lnTo>
                    <a:pt x="756" y="438"/>
                  </a:lnTo>
                  <a:lnTo>
                    <a:pt x="762" y="432"/>
                  </a:lnTo>
                  <a:lnTo>
                    <a:pt x="768" y="420"/>
                  </a:lnTo>
                  <a:lnTo>
                    <a:pt x="774" y="414"/>
                  </a:lnTo>
                  <a:lnTo>
                    <a:pt x="780" y="402"/>
                  </a:lnTo>
                  <a:lnTo>
                    <a:pt x="774" y="366"/>
                  </a:lnTo>
                  <a:lnTo>
                    <a:pt x="780" y="366"/>
                  </a:lnTo>
                  <a:lnTo>
                    <a:pt x="786" y="360"/>
                  </a:lnTo>
                  <a:lnTo>
                    <a:pt x="798" y="354"/>
                  </a:lnTo>
                  <a:lnTo>
                    <a:pt x="816" y="336"/>
                  </a:lnTo>
                  <a:lnTo>
                    <a:pt x="816" y="330"/>
                  </a:lnTo>
                  <a:lnTo>
                    <a:pt x="804" y="330"/>
                  </a:lnTo>
                  <a:lnTo>
                    <a:pt x="804" y="258"/>
                  </a:lnTo>
                  <a:lnTo>
                    <a:pt x="810" y="240"/>
                  </a:lnTo>
                  <a:lnTo>
                    <a:pt x="798" y="234"/>
                  </a:lnTo>
                  <a:lnTo>
                    <a:pt x="798" y="216"/>
                  </a:lnTo>
                  <a:lnTo>
                    <a:pt x="804" y="216"/>
                  </a:lnTo>
                  <a:lnTo>
                    <a:pt x="810" y="210"/>
                  </a:lnTo>
                  <a:lnTo>
                    <a:pt x="834" y="198"/>
                  </a:lnTo>
                  <a:lnTo>
                    <a:pt x="834" y="186"/>
                  </a:lnTo>
                  <a:lnTo>
                    <a:pt x="822" y="186"/>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72" name="Rumänien" descr="© INSCALE GmbH, 05.05.2010&#10;http://www.presentationload.com/">
              <a:extLst>
                <a:ext uri="{FF2B5EF4-FFF2-40B4-BE49-F238E27FC236}">
                  <a16:creationId xmlns:a16="http://schemas.microsoft.com/office/drawing/2014/main" id="{D3759B5A-1FE6-4FC0-A746-70A7470D2DB1}"/>
                </a:ext>
              </a:extLst>
            </p:cNvPr>
            <p:cNvSpPr>
              <a:spLocks/>
            </p:cNvSpPr>
            <p:nvPr/>
          </p:nvSpPr>
          <p:spPr bwMode="gray">
            <a:xfrm>
              <a:off x="4668759" y="2711263"/>
              <a:ext cx="244612" cy="145827"/>
            </a:xfrm>
            <a:custGeom>
              <a:avLst/>
              <a:gdLst>
                <a:gd name="T0" fmla="*/ 2147483647 w 612"/>
                <a:gd name="T1" fmla="*/ 2147483647 h 366"/>
                <a:gd name="T2" fmla="*/ 2147483647 w 612"/>
                <a:gd name="T3" fmla="*/ 2147483647 h 366"/>
                <a:gd name="T4" fmla="*/ 2147483647 w 612"/>
                <a:gd name="T5" fmla="*/ 2147483647 h 366"/>
                <a:gd name="T6" fmla="*/ 2147483647 w 612"/>
                <a:gd name="T7" fmla="*/ 2147483647 h 366"/>
                <a:gd name="T8" fmla="*/ 2147483647 w 612"/>
                <a:gd name="T9" fmla="*/ 2147483647 h 366"/>
                <a:gd name="T10" fmla="*/ 2147483647 w 612"/>
                <a:gd name="T11" fmla="*/ 2147483647 h 366"/>
                <a:gd name="T12" fmla="*/ 2147483647 w 612"/>
                <a:gd name="T13" fmla="*/ 2147483647 h 366"/>
                <a:gd name="T14" fmla="*/ 2147483647 w 612"/>
                <a:gd name="T15" fmla="*/ 2147483647 h 366"/>
                <a:gd name="T16" fmla="*/ 2147483647 w 612"/>
                <a:gd name="T17" fmla="*/ 2147483647 h 366"/>
                <a:gd name="T18" fmla="*/ 2147483647 w 612"/>
                <a:gd name="T19" fmla="*/ 2147483647 h 366"/>
                <a:gd name="T20" fmla="*/ 2147483647 w 612"/>
                <a:gd name="T21" fmla="*/ 2147483647 h 366"/>
                <a:gd name="T22" fmla="*/ 2147483647 w 612"/>
                <a:gd name="T23" fmla="*/ 2147483647 h 366"/>
                <a:gd name="T24" fmla="*/ 2147483647 w 612"/>
                <a:gd name="T25" fmla="*/ 2147483647 h 366"/>
                <a:gd name="T26" fmla="*/ 2147483647 w 612"/>
                <a:gd name="T27" fmla="*/ 0 h 366"/>
                <a:gd name="T28" fmla="*/ 2147483647 w 612"/>
                <a:gd name="T29" fmla="*/ 2147483647 h 366"/>
                <a:gd name="T30" fmla="*/ 2147483647 w 612"/>
                <a:gd name="T31" fmla="*/ 2147483647 h 366"/>
                <a:gd name="T32" fmla="*/ 2147483647 w 612"/>
                <a:gd name="T33" fmla="*/ 2147483647 h 366"/>
                <a:gd name="T34" fmla="*/ 2147483647 w 612"/>
                <a:gd name="T35" fmla="*/ 2147483647 h 366"/>
                <a:gd name="T36" fmla="*/ 2147483647 w 612"/>
                <a:gd name="T37" fmla="*/ 2147483647 h 366"/>
                <a:gd name="T38" fmla="*/ 2147483647 w 612"/>
                <a:gd name="T39" fmla="*/ 2147483647 h 366"/>
                <a:gd name="T40" fmla="*/ 2147483647 w 612"/>
                <a:gd name="T41" fmla="*/ 2147483647 h 366"/>
                <a:gd name="T42" fmla="*/ 2147483647 w 612"/>
                <a:gd name="T43" fmla="*/ 2147483647 h 366"/>
                <a:gd name="T44" fmla="*/ 2147483647 w 612"/>
                <a:gd name="T45" fmla="*/ 2147483647 h 366"/>
                <a:gd name="T46" fmla="*/ 2147483647 w 612"/>
                <a:gd name="T47" fmla="*/ 2147483647 h 366"/>
                <a:gd name="T48" fmla="*/ 0 w 612"/>
                <a:gd name="T49" fmla="*/ 2147483647 h 366"/>
                <a:gd name="T50" fmla="*/ 2147483647 w 612"/>
                <a:gd name="T51" fmla="*/ 2147483647 h 366"/>
                <a:gd name="T52" fmla="*/ 2147483647 w 612"/>
                <a:gd name="T53" fmla="*/ 2147483647 h 366"/>
                <a:gd name="T54" fmla="*/ 2147483647 w 612"/>
                <a:gd name="T55" fmla="*/ 2147483647 h 366"/>
                <a:gd name="T56" fmla="*/ 2147483647 w 612"/>
                <a:gd name="T57" fmla="*/ 2147483647 h 366"/>
                <a:gd name="T58" fmla="*/ 2147483647 w 612"/>
                <a:gd name="T59" fmla="*/ 2147483647 h 366"/>
                <a:gd name="T60" fmla="*/ 2147483647 w 612"/>
                <a:gd name="T61" fmla="*/ 2147483647 h 366"/>
                <a:gd name="T62" fmla="*/ 2147483647 w 612"/>
                <a:gd name="T63" fmla="*/ 2147483647 h 366"/>
                <a:gd name="T64" fmla="*/ 2147483647 w 612"/>
                <a:gd name="T65" fmla="*/ 2147483647 h 366"/>
                <a:gd name="T66" fmla="*/ 2147483647 w 612"/>
                <a:gd name="T67" fmla="*/ 2147483647 h 366"/>
                <a:gd name="T68" fmla="*/ 2147483647 w 612"/>
                <a:gd name="T69" fmla="*/ 2147483647 h 366"/>
                <a:gd name="T70" fmla="*/ 2147483647 w 612"/>
                <a:gd name="T71" fmla="*/ 2147483647 h 366"/>
                <a:gd name="T72" fmla="*/ 2147483647 w 612"/>
                <a:gd name="T73" fmla="*/ 2147483647 h 366"/>
                <a:gd name="T74" fmla="*/ 2147483647 w 612"/>
                <a:gd name="T75" fmla="*/ 2147483647 h 366"/>
                <a:gd name="T76" fmla="*/ 2147483647 w 612"/>
                <a:gd name="T77" fmla="*/ 2147483647 h 366"/>
                <a:gd name="T78" fmla="*/ 2147483647 w 612"/>
                <a:gd name="T79" fmla="*/ 2147483647 h 366"/>
                <a:gd name="T80" fmla="*/ 2147483647 w 612"/>
                <a:gd name="T81" fmla="*/ 2147483647 h 366"/>
                <a:gd name="T82" fmla="*/ 2147483647 w 612"/>
                <a:gd name="T83" fmla="*/ 2147483647 h 366"/>
                <a:gd name="T84" fmla="*/ 2147483647 w 612"/>
                <a:gd name="T85" fmla="*/ 2147483647 h 3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2"/>
                <a:gd name="T130" fmla="*/ 0 h 366"/>
                <a:gd name="T131" fmla="*/ 612 w 612"/>
                <a:gd name="T132" fmla="*/ 366 h 3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2" h="366">
                  <a:moveTo>
                    <a:pt x="516" y="354"/>
                  </a:moveTo>
                  <a:lnTo>
                    <a:pt x="522" y="360"/>
                  </a:lnTo>
                  <a:lnTo>
                    <a:pt x="540" y="360"/>
                  </a:lnTo>
                  <a:lnTo>
                    <a:pt x="540" y="318"/>
                  </a:lnTo>
                  <a:lnTo>
                    <a:pt x="546" y="312"/>
                  </a:lnTo>
                  <a:lnTo>
                    <a:pt x="558" y="294"/>
                  </a:lnTo>
                  <a:lnTo>
                    <a:pt x="564" y="282"/>
                  </a:lnTo>
                  <a:lnTo>
                    <a:pt x="570" y="276"/>
                  </a:lnTo>
                  <a:lnTo>
                    <a:pt x="606" y="276"/>
                  </a:lnTo>
                  <a:lnTo>
                    <a:pt x="612" y="270"/>
                  </a:lnTo>
                  <a:lnTo>
                    <a:pt x="612" y="258"/>
                  </a:lnTo>
                  <a:lnTo>
                    <a:pt x="600" y="222"/>
                  </a:lnTo>
                  <a:lnTo>
                    <a:pt x="600" y="216"/>
                  </a:lnTo>
                  <a:lnTo>
                    <a:pt x="594" y="216"/>
                  </a:lnTo>
                  <a:lnTo>
                    <a:pt x="588" y="222"/>
                  </a:lnTo>
                  <a:lnTo>
                    <a:pt x="570" y="222"/>
                  </a:lnTo>
                  <a:lnTo>
                    <a:pt x="564" y="228"/>
                  </a:lnTo>
                  <a:lnTo>
                    <a:pt x="558" y="228"/>
                  </a:lnTo>
                  <a:lnTo>
                    <a:pt x="552" y="234"/>
                  </a:lnTo>
                  <a:lnTo>
                    <a:pt x="522" y="234"/>
                  </a:lnTo>
                  <a:lnTo>
                    <a:pt x="510" y="222"/>
                  </a:lnTo>
                  <a:lnTo>
                    <a:pt x="510" y="198"/>
                  </a:lnTo>
                  <a:lnTo>
                    <a:pt x="504" y="192"/>
                  </a:lnTo>
                  <a:lnTo>
                    <a:pt x="498" y="180"/>
                  </a:lnTo>
                  <a:lnTo>
                    <a:pt x="498" y="168"/>
                  </a:lnTo>
                  <a:lnTo>
                    <a:pt x="504" y="162"/>
                  </a:lnTo>
                  <a:lnTo>
                    <a:pt x="504" y="150"/>
                  </a:lnTo>
                  <a:lnTo>
                    <a:pt x="510" y="144"/>
                  </a:lnTo>
                  <a:lnTo>
                    <a:pt x="504" y="144"/>
                  </a:lnTo>
                  <a:lnTo>
                    <a:pt x="504" y="102"/>
                  </a:lnTo>
                  <a:lnTo>
                    <a:pt x="498" y="96"/>
                  </a:lnTo>
                  <a:lnTo>
                    <a:pt x="480" y="96"/>
                  </a:lnTo>
                  <a:lnTo>
                    <a:pt x="474" y="78"/>
                  </a:lnTo>
                  <a:lnTo>
                    <a:pt x="462" y="78"/>
                  </a:lnTo>
                  <a:lnTo>
                    <a:pt x="456" y="54"/>
                  </a:lnTo>
                  <a:lnTo>
                    <a:pt x="432" y="42"/>
                  </a:lnTo>
                  <a:lnTo>
                    <a:pt x="432" y="30"/>
                  </a:lnTo>
                  <a:lnTo>
                    <a:pt x="426" y="24"/>
                  </a:lnTo>
                  <a:lnTo>
                    <a:pt x="420" y="12"/>
                  </a:lnTo>
                  <a:lnTo>
                    <a:pt x="414" y="6"/>
                  </a:lnTo>
                  <a:lnTo>
                    <a:pt x="396" y="0"/>
                  </a:lnTo>
                  <a:lnTo>
                    <a:pt x="384" y="0"/>
                  </a:lnTo>
                  <a:lnTo>
                    <a:pt x="378" y="6"/>
                  </a:lnTo>
                  <a:lnTo>
                    <a:pt x="378" y="12"/>
                  </a:lnTo>
                  <a:lnTo>
                    <a:pt x="366" y="24"/>
                  </a:lnTo>
                  <a:lnTo>
                    <a:pt x="348" y="24"/>
                  </a:lnTo>
                  <a:lnTo>
                    <a:pt x="342" y="18"/>
                  </a:lnTo>
                  <a:lnTo>
                    <a:pt x="336" y="30"/>
                  </a:lnTo>
                  <a:lnTo>
                    <a:pt x="312" y="24"/>
                  </a:lnTo>
                  <a:lnTo>
                    <a:pt x="312" y="30"/>
                  </a:lnTo>
                  <a:lnTo>
                    <a:pt x="300" y="42"/>
                  </a:lnTo>
                  <a:lnTo>
                    <a:pt x="288" y="42"/>
                  </a:lnTo>
                  <a:lnTo>
                    <a:pt x="264" y="18"/>
                  </a:lnTo>
                  <a:lnTo>
                    <a:pt x="258" y="18"/>
                  </a:lnTo>
                  <a:lnTo>
                    <a:pt x="246" y="24"/>
                  </a:lnTo>
                  <a:lnTo>
                    <a:pt x="240" y="24"/>
                  </a:lnTo>
                  <a:lnTo>
                    <a:pt x="228" y="30"/>
                  </a:lnTo>
                  <a:lnTo>
                    <a:pt x="222" y="24"/>
                  </a:lnTo>
                  <a:lnTo>
                    <a:pt x="198" y="24"/>
                  </a:lnTo>
                  <a:lnTo>
                    <a:pt x="192" y="18"/>
                  </a:lnTo>
                  <a:lnTo>
                    <a:pt x="168" y="18"/>
                  </a:lnTo>
                  <a:lnTo>
                    <a:pt x="150" y="36"/>
                  </a:lnTo>
                  <a:lnTo>
                    <a:pt x="120" y="36"/>
                  </a:lnTo>
                  <a:lnTo>
                    <a:pt x="108" y="48"/>
                  </a:lnTo>
                  <a:lnTo>
                    <a:pt x="108" y="90"/>
                  </a:lnTo>
                  <a:lnTo>
                    <a:pt x="90" y="108"/>
                  </a:lnTo>
                  <a:lnTo>
                    <a:pt x="78" y="114"/>
                  </a:lnTo>
                  <a:lnTo>
                    <a:pt x="72" y="120"/>
                  </a:lnTo>
                  <a:lnTo>
                    <a:pt x="72" y="138"/>
                  </a:lnTo>
                  <a:lnTo>
                    <a:pt x="66" y="144"/>
                  </a:lnTo>
                  <a:lnTo>
                    <a:pt x="54" y="150"/>
                  </a:lnTo>
                  <a:lnTo>
                    <a:pt x="48" y="156"/>
                  </a:lnTo>
                  <a:lnTo>
                    <a:pt x="30" y="150"/>
                  </a:lnTo>
                  <a:lnTo>
                    <a:pt x="30" y="168"/>
                  </a:lnTo>
                  <a:lnTo>
                    <a:pt x="0" y="174"/>
                  </a:lnTo>
                  <a:lnTo>
                    <a:pt x="6" y="174"/>
                  </a:lnTo>
                  <a:lnTo>
                    <a:pt x="30" y="192"/>
                  </a:lnTo>
                  <a:lnTo>
                    <a:pt x="36" y="192"/>
                  </a:lnTo>
                  <a:lnTo>
                    <a:pt x="48" y="228"/>
                  </a:lnTo>
                  <a:lnTo>
                    <a:pt x="54" y="234"/>
                  </a:lnTo>
                  <a:lnTo>
                    <a:pt x="60" y="234"/>
                  </a:lnTo>
                  <a:lnTo>
                    <a:pt x="66" y="228"/>
                  </a:lnTo>
                  <a:lnTo>
                    <a:pt x="72" y="228"/>
                  </a:lnTo>
                  <a:lnTo>
                    <a:pt x="84" y="234"/>
                  </a:lnTo>
                  <a:lnTo>
                    <a:pt x="84" y="252"/>
                  </a:lnTo>
                  <a:lnTo>
                    <a:pt x="78" y="258"/>
                  </a:lnTo>
                  <a:lnTo>
                    <a:pt x="90" y="276"/>
                  </a:lnTo>
                  <a:lnTo>
                    <a:pt x="114" y="282"/>
                  </a:lnTo>
                  <a:lnTo>
                    <a:pt x="120" y="288"/>
                  </a:lnTo>
                  <a:lnTo>
                    <a:pt x="144" y="282"/>
                  </a:lnTo>
                  <a:lnTo>
                    <a:pt x="168" y="288"/>
                  </a:lnTo>
                  <a:lnTo>
                    <a:pt x="162" y="294"/>
                  </a:lnTo>
                  <a:lnTo>
                    <a:pt x="156" y="306"/>
                  </a:lnTo>
                  <a:lnTo>
                    <a:pt x="162" y="312"/>
                  </a:lnTo>
                  <a:lnTo>
                    <a:pt x="162" y="324"/>
                  </a:lnTo>
                  <a:lnTo>
                    <a:pt x="186" y="324"/>
                  </a:lnTo>
                  <a:lnTo>
                    <a:pt x="192" y="330"/>
                  </a:lnTo>
                  <a:lnTo>
                    <a:pt x="186" y="336"/>
                  </a:lnTo>
                  <a:lnTo>
                    <a:pt x="186" y="342"/>
                  </a:lnTo>
                  <a:lnTo>
                    <a:pt x="180" y="348"/>
                  </a:lnTo>
                  <a:lnTo>
                    <a:pt x="186" y="354"/>
                  </a:lnTo>
                  <a:lnTo>
                    <a:pt x="204" y="354"/>
                  </a:lnTo>
                  <a:lnTo>
                    <a:pt x="216" y="342"/>
                  </a:lnTo>
                  <a:lnTo>
                    <a:pt x="240" y="354"/>
                  </a:lnTo>
                  <a:lnTo>
                    <a:pt x="252" y="354"/>
                  </a:lnTo>
                  <a:lnTo>
                    <a:pt x="258" y="360"/>
                  </a:lnTo>
                  <a:lnTo>
                    <a:pt x="282" y="360"/>
                  </a:lnTo>
                  <a:lnTo>
                    <a:pt x="288" y="354"/>
                  </a:lnTo>
                  <a:lnTo>
                    <a:pt x="288" y="348"/>
                  </a:lnTo>
                  <a:lnTo>
                    <a:pt x="306" y="354"/>
                  </a:lnTo>
                  <a:lnTo>
                    <a:pt x="330" y="354"/>
                  </a:lnTo>
                  <a:lnTo>
                    <a:pt x="336" y="360"/>
                  </a:lnTo>
                  <a:lnTo>
                    <a:pt x="348" y="366"/>
                  </a:lnTo>
                  <a:lnTo>
                    <a:pt x="366" y="366"/>
                  </a:lnTo>
                  <a:lnTo>
                    <a:pt x="372" y="360"/>
                  </a:lnTo>
                  <a:lnTo>
                    <a:pt x="372" y="348"/>
                  </a:lnTo>
                  <a:lnTo>
                    <a:pt x="378" y="342"/>
                  </a:lnTo>
                  <a:lnTo>
                    <a:pt x="384" y="342"/>
                  </a:lnTo>
                  <a:lnTo>
                    <a:pt x="396" y="336"/>
                  </a:lnTo>
                  <a:lnTo>
                    <a:pt x="402" y="336"/>
                  </a:lnTo>
                  <a:lnTo>
                    <a:pt x="402" y="330"/>
                  </a:lnTo>
                  <a:lnTo>
                    <a:pt x="432" y="336"/>
                  </a:lnTo>
                  <a:lnTo>
                    <a:pt x="432" y="324"/>
                  </a:lnTo>
                  <a:lnTo>
                    <a:pt x="438" y="324"/>
                  </a:lnTo>
                  <a:lnTo>
                    <a:pt x="450" y="330"/>
                  </a:lnTo>
                  <a:lnTo>
                    <a:pt x="462" y="330"/>
                  </a:lnTo>
                  <a:lnTo>
                    <a:pt x="474" y="336"/>
                  </a:lnTo>
                  <a:lnTo>
                    <a:pt x="498" y="336"/>
                  </a:lnTo>
                  <a:lnTo>
                    <a:pt x="516" y="354"/>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73" name="Ruanda" descr="© INSCALE GmbH, 05.05.2010&#10;http://www.presentationload.com/">
              <a:extLst>
                <a:ext uri="{FF2B5EF4-FFF2-40B4-BE49-F238E27FC236}">
                  <a16:creationId xmlns:a16="http://schemas.microsoft.com/office/drawing/2014/main" id="{1D914C3A-818D-4A59-B5EB-D33D5738EA93}"/>
                </a:ext>
              </a:extLst>
            </p:cNvPr>
            <p:cNvSpPr>
              <a:spLocks/>
            </p:cNvSpPr>
            <p:nvPr/>
          </p:nvSpPr>
          <p:spPr bwMode="gray">
            <a:xfrm>
              <a:off x="4943162" y="4285558"/>
              <a:ext cx="59585" cy="58017"/>
            </a:xfrm>
            <a:custGeom>
              <a:avLst/>
              <a:gdLst>
                <a:gd name="T0" fmla="*/ 2147483647 w 150"/>
                <a:gd name="T1" fmla="*/ 2147483647 h 150"/>
                <a:gd name="T2" fmla="*/ 2147483647 w 150"/>
                <a:gd name="T3" fmla="*/ 2147483647 h 150"/>
                <a:gd name="T4" fmla="*/ 2147483647 w 150"/>
                <a:gd name="T5" fmla="*/ 2147483647 h 150"/>
                <a:gd name="T6" fmla="*/ 2147483647 w 150"/>
                <a:gd name="T7" fmla="*/ 2147483647 h 150"/>
                <a:gd name="T8" fmla="*/ 2147483647 w 150"/>
                <a:gd name="T9" fmla="*/ 2147483647 h 150"/>
                <a:gd name="T10" fmla="*/ 2147483647 w 150"/>
                <a:gd name="T11" fmla="*/ 2147483647 h 150"/>
                <a:gd name="T12" fmla="*/ 2147483647 w 150"/>
                <a:gd name="T13" fmla="*/ 2147483647 h 150"/>
                <a:gd name="T14" fmla="*/ 2147483647 w 150"/>
                <a:gd name="T15" fmla="*/ 2147483647 h 150"/>
                <a:gd name="T16" fmla="*/ 2147483647 w 150"/>
                <a:gd name="T17" fmla="*/ 2147483647 h 150"/>
                <a:gd name="T18" fmla="*/ 2147483647 w 150"/>
                <a:gd name="T19" fmla="*/ 2147483647 h 150"/>
                <a:gd name="T20" fmla="*/ 2147483647 w 150"/>
                <a:gd name="T21" fmla="*/ 2147483647 h 150"/>
                <a:gd name="T22" fmla="*/ 2147483647 w 150"/>
                <a:gd name="T23" fmla="*/ 2147483647 h 150"/>
                <a:gd name="T24" fmla="*/ 2147483647 w 150"/>
                <a:gd name="T25" fmla="*/ 2147483647 h 150"/>
                <a:gd name="T26" fmla="*/ 2147483647 w 150"/>
                <a:gd name="T27" fmla="*/ 0 h 150"/>
                <a:gd name="T28" fmla="*/ 2147483647 w 150"/>
                <a:gd name="T29" fmla="*/ 2147483647 h 150"/>
                <a:gd name="T30" fmla="*/ 2147483647 w 150"/>
                <a:gd name="T31" fmla="*/ 2147483647 h 150"/>
                <a:gd name="T32" fmla="*/ 2147483647 w 150"/>
                <a:gd name="T33" fmla="*/ 2147483647 h 150"/>
                <a:gd name="T34" fmla="*/ 2147483647 w 150"/>
                <a:gd name="T35" fmla="*/ 2147483647 h 150"/>
                <a:gd name="T36" fmla="*/ 2147483647 w 150"/>
                <a:gd name="T37" fmla="*/ 2147483647 h 150"/>
                <a:gd name="T38" fmla="*/ 2147483647 w 150"/>
                <a:gd name="T39" fmla="*/ 2147483647 h 150"/>
                <a:gd name="T40" fmla="*/ 2147483647 w 150"/>
                <a:gd name="T41" fmla="*/ 2147483647 h 150"/>
                <a:gd name="T42" fmla="*/ 2147483647 w 150"/>
                <a:gd name="T43" fmla="*/ 2147483647 h 150"/>
                <a:gd name="T44" fmla="*/ 2147483647 w 150"/>
                <a:gd name="T45" fmla="*/ 2147483647 h 150"/>
                <a:gd name="T46" fmla="*/ 2147483647 w 150"/>
                <a:gd name="T47" fmla="*/ 2147483647 h 150"/>
                <a:gd name="T48" fmla="*/ 2147483647 w 150"/>
                <a:gd name="T49" fmla="*/ 2147483647 h 150"/>
                <a:gd name="T50" fmla="*/ 2147483647 w 150"/>
                <a:gd name="T51" fmla="*/ 2147483647 h 150"/>
                <a:gd name="T52" fmla="*/ 2147483647 w 150"/>
                <a:gd name="T53" fmla="*/ 2147483647 h 150"/>
                <a:gd name="T54" fmla="*/ 2147483647 w 150"/>
                <a:gd name="T55" fmla="*/ 2147483647 h 150"/>
                <a:gd name="T56" fmla="*/ 2147483647 w 150"/>
                <a:gd name="T57" fmla="*/ 2147483647 h 150"/>
                <a:gd name="T58" fmla="*/ 2147483647 w 150"/>
                <a:gd name="T59" fmla="*/ 2147483647 h 150"/>
                <a:gd name="T60" fmla="*/ 0 w 150"/>
                <a:gd name="T61" fmla="*/ 2147483647 h 150"/>
                <a:gd name="T62" fmla="*/ 0 w 150"/>
                <a:gd name="T63" fmla="*/ 2147483647 h 150"/>
                <a:gd name="T64" fmla="*/ 2147483647 w 150"/>
                <a:gd name="T65" fmla="*/ 2147483647 h 150"/>
                <a:gd name="T66" fmla="*/ 2147483647 w 150"/>
                <a:gd name="T67" fmla="*/ 2147483647 h 150"/>
                <a:gd name="T68" fmla="*/ 2147483647 w 150"/>
                <a:gd name="T69" fmla="*/ 2147483647 h 150"/>
                <a:gd name="T70" fmla="*/ 2147483647 w 150"/>
                <a:gd name="T71" fmla="*/ 2147483647 h 150"/>
                <a:gd name="T72" fmla="*/ 2147483647 w 150"/>
                <a:gd name="T73" fmla="*/ 2147483647 h 1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0"/>
                <a:gd name="T112" fmla="*/ 0 h 150"/>
                <a:gd name="T113" fmla="*/ 150 w 150"/>
                <a:gd name="T114" fmla="*/ 150 h 1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0" h="150">
                  <a:moveTo>
                    <a:pt x="48" y="150"/>
                  </a:moveTo>
                  <a:lnTo>
                    <a:pt x="54" y="150"/>
                  </a:lnTo>
                  <a:lnTo>
                    <a:pt x="60" y="144"/>
                  </a:lnTo>
                  <a:lnTo>
                    <a:pt x="72" y="138"/>
                  </a:lnTo>
                  <a:lnTo>
                    <a:pt x="78" y="114"/>
                  </a:lnTo>
                  <a:lnTo>
                    <a:pt x="138" y="114"/>
                  </a:lnTo>
                  <a:lnTo>
                    <a:pt x="150" y="102"/>
                  </a:lnTo>
                  <a:lnTo>
                    <a:pt x="150" y="72"/>
                  </a:lnTo>
                  <a:lnTo>
                    <a:pt x="144" y="66"/>
                  </a:lnTo>
                  <a:lnTo>
                    <a:pt x="144" y="48"/>
                  </a:lnTo>
                  <a:lnTo>
                    <a:pt x="138" y="42"/>
                  </a:lnTo>
                  <a:lnTo>
                    <a:pt x="132" y="30"/>
                  </a:lnTo>
                  <a:lnTo>
                    <a:pt x="126" y="24"/>
                  </a:lnTo>
                  <a:lnTo>
                    <a:pt x="132" y="0"/>
                  </a:lnTo>
                  <a:lnTo>
                    <a:pt x="108" y="6"/>
                  </a:lnTo>
                  <a:lnTo>
                    <a:pt x="108" y="12"/>
                  </a:lnTo>
                  <a:lnTo>
                    <a:pt x="102" y="18"/>
                  </a:lnTo>
                  <a:lnTo>
                    <a:pt x="90" y="42"/>
                  </a:lnTo>
                  <a:lnTo>
                    <a:pt x="84" y="42"/>
                  </a:lnTo>
                  <a:lnTo>
                    <a:pt x="72" y="30"/>
                  </a:lnTo>
                  <a:lnTo>
                    <a:pt x="54" y="30"/>
                  </a:lnTo>
                  <a:lnTo>
                    <a:pt x="48" y="36"/>
                  </a:lnTo>
                  <a:lnTo>
                    <a:pt x="24" y="48"/>
                  </a:lnTo>
                  <a:lnTo>
                    <a:pt x="18" y="54"/>
                  </a:lnTo>
                  <a:lnTo>
                    <a:pt x="18" y="60"/>
                  </a:lnTo>
                  <a:lnTo>
                    <a:pt x="24" y="72"/>
                  </a:lnTo>
                  <a:lnTo>
                    <a:pt x="30" y="78"/>
                  </a:lnTo>
                  <a:lnTo>
                    <a:pt x="30" y="90"/>
                  </a:lnTo>
                  <a:lnTo>
                    <a:pt x="18" y="102"/>
                  </a:lnTo>
                  <a:lnTo>
                    <a:pt x="6" y="108"/>
                  </a:lnTo>
                  <a:lnTo>
                    <a:pt x="0" y="120"/>
                  </a:lnTo>
                  <a:lnTo>
                    <a:pt x="0" y="126"/>
                  </a:lnTo>
                  <a:lnTo>
                    <a:pt x="6" y="132"/>
                  </a:lnTo>
                  <a:lnTo>
                    <a:pt x="30" y="132"/>
                  </a:lnTo>
                  <a:lnTo>
                    <a:pt x="36" y="144"/>
                  </a:lnTo>
                  <a:lnTo>
                    <a:pt x="42" y="150"/>
                  </a:lnTo>
                  <a:lnTo>
                    <a:pt x="48" y="15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74" name="Russland (Urup,Simushir)" descr="© INSCALE GmbH, 05.05.2010&#10;http://www.presentationload.com/">
              <a:extLst>
                <a:ext uri="{FF2B5EF4-FFF2-40B4-BE49-F238E27FC236}">
                  <a16:creationId xmlns:a16="http://schemas.microsoft.com/office/drawing/2014/main" id="{B4B1DEAE-86B0-45C9-AB21-CB9FFD8890D0}"/>
                </a:ext>
              </a:extLst>
            </p:cNvPr>
            <p:cNvSpPr>
              <a:spLocks noEditPoints="1"/>
            </p:cNvSpPr>
            <p:nvPr/>
          </p:nvSpPr>
          <p:spPr bwMode="gray">
            <a:xfrm>
              <a:off x="7872229" y="2375706"/>
              <a:ext cx="120737" cy="476679"/>
            </a:xfrm>
            <a:custGeom>
              <a:avLst/>
              <a:gdLst>
                <a:gd name="T0" fmla="*/ 0 w 300"/>
                <a:gd name="T1" fmla="*/ 2147483647 h 1194"/>
                <a:gd name="T2" fmla="*/ 2147483647 w 300"/>
                <a:gd name="T3" fmla="*/ 2147483647 h 1194"/>
                <a:gd name="T4" fmla="*/ 2147483647 w 300"/>
                <a:gd name="T5" fmla="*/ 2147483647 h 1194"/>
                <a:gd name="T6" fmla="*/ 2147483647 w 300"/>
                <a:gd name="T7" fmla="*/ 2147483647 h 1194"/>
                <a:gd name="T8" fmla="*/ 0 w 300"/>
                <a:gd name="T9" fmla="*/ 2147483647 h 1194"/>
                <a:gd name="T10" fmla="*/ 2147483647 w 300"/>
                <a:gd name="T11" fmla="*/ 2147483647 h 1194"/>
                <a:gd name="T12" fmla="*/ 2147483647 w 300"/>
                <a:gd name="T13" fmla="*/ 2147483647 h 1194"/>
                <a:gd name="T14" fmla="*/ 2147483647 w 300"/>
                <a:gd name="T15" fmla="*/ 2147483647 h 1194"/>
                <a:gd name="T16" fmla="*/ 2147483647 w 300"/>
                <a:gd name="T17" fmla="*/ 2147483647 h 1194"/>
                <a:gd name="T18" fmla="*/ 2147483647 w 300"/>
                <a:gd name="T19" fmla="*/ 2147483647 h 1194"/>
                <a:gd name="T20" fmla="*/ 2147483647 w 300"/>
                <a:gd name="T21" fmla="*/ 2147483647 h 1194"/>
                <a:gd name="T22" fmla="*/ 2147483647 w 300"/>
                <a:gd name="T23" fmla="*/ 2147483647 h 1194"/>
                <a:gd name="T24" fmla="*/ 2147483647 w 300"/>
                <a:gd name="T25" fmla="*/ 2147483647 h 1194"/>
                <a:gd name="T26" fmla="*/ 2147483647 w 300"/>
                <a:gd name="T27" fmla="*/ 2147483647 h 1194"/>
                <a:gd name="T28" fmla="*/ 2147483647 w 300"/>
                <a:gd name="T29" fmla="*/ 2147483647 h 1194"/>
                <a:gd name="T30" fmla="*/ 2147483647 w 300"/>
                <a:gd name="T31" fmla="*/ 2147483647 h 1194"/>
                <a:gd name="T32" fmla="*/ 2147483647 w 300"/>
                <a:gd name="T33" fmla="*/ 2147483647 h 1194"/>
                <a:gd name="T34" fmla="*/ 2147483647 w 300"/>
                <a:gd name="T35" fmla="*/ 2147483647 h 1194"/>
                <a:gd name="T36" fmla="*/ 2147483647 w 300"/>
                <a:gd name="T37" fmla="*/ 2147483647 h 1194"/>
                <a:gd name="T38" fmla="*/ 2147483647 w 300"/>
                <a:gd name="T39" fmla="*/ 2147483647 h 1194"/>
                <a:gd name="T40" fmla="*/ 2147483647 w 300"/>
                <a:gd name="T41" fmla="*/ 2147483647 h 1194"/>
                <a:gd name="T42" fmla="*/ 2147483647 w 300"/>
                <a:gd name="T43" fmla="*/ 2147483647 h 1194"/>
                <a:gd name="T44" fmla="*/ 2147483647 w 300"/>
                <a:gd name="T45" fmla="*/ 2147483647 h 1194"/>
                <a:gd name="T46" fmla="*/ 2147483647 w 300"/>
                <a:gd name="T47" fmla="*/ 2147483647 h 1194"/>
                <a:gd name="T48" fmla="*/ 2147483647 w 300"/>
                <a:gd name="T49" fmla="*/ 2147483647 h 1194"/>
                <a:gd name="T50" fmla="*/ 2147483647 w 300"/>
                <a:gd name="T51" fmla="*/ 2147483647 h 1194"/>
                <a:gd name="T52" fmla="*/ 2147483647 w 300"/>
                <a:gd name="T53" fmla="*/ 2147483647 h 1194"/>
                <a:gd name="T54" fmla="*/ 2147483647 w 300"/>
                <a:gd name="T55" fmla="*/ 2147483647 h 1194"/>
                <a:gd name="T56" fmla="*/ 2147483647 w 300"/>
                <a:gd name="T57" fmla="*/ 2147483647 h 1194"/>
                <a:gd name="T58" fmla="*/ 2147483647 w 300"/>
                <a:gd name="T59" fmla="*/ 2147483647 h 1194"/>
                <a:gd name="T60" fmla="*/ 2147483647 w 300"/>
                <a:gd name="T61" fmla="*/ 2147483647 h 1194"/>
                <a:gd name="T62" fmla="*/ 2147483647 w 300"/>
                <a:gd name="T63" fmla="*/ 2147483647 h 1194"/>
                <a:gd name="T64" fmla="*/ 2147483647 w 300"/>
                <a:gd name="T65" fmla="*/ 2147483647 h 1194"/>
                <a:gd name="T66" fmla="*/ 2147483647 w 300"/>
                <a:gd name="T67" fmla="*/ 2147483647 h 1194"/>
                <a:gd name="T68" fmla="*/ 2147483647 w 300"/>
                <a:gd name="T69" fmla="*/ 2147483647 h 1194"/>
                <a:gd name="T70" fmla="*/ 2147483647 w 300"/>
                <a:gd name="T71" fmla="*/ 2147483647 h 1194"/>
                <a:gd name="T72" fmla="*/ 2147483647 w 300"/>
                <a:gd name="T73" fmla="*/ 2147483647 h 1194"/>
                <a:gd name="T74" fmla="*/ 2147483647 w 300"/>
                <a:gd name="T75" fmla="*/ 2147483647 h 1194"/>
                <a:gd name="T76" fmla="*/ 2147483647 w 300"/>
                <a:gd name="T77" fmla="*/ 2147483647 h 1194"/>
                <a:gd name="T78" fmla="*/ 2147483647 w 300"/>
                <a:gd name="T79" fmla="*/ 2147483647 h 1194"/>
                <a:gd name="T80" fmla="*/ 2147483647 w 300"/>
                <a:gd name="T81" fmla="*/ 2147483647 h 1194"/>
                <a:gd name="T82" fmla="*/ 2147483647 w 300"/>
                <a:gd name="T83" fmla="*/ 2147483647 h 1194"/>
                <a:gd name="T84" fmla="*/ 2147483647 w 300"/>
                <a:gd name="T85" fmla="*/ 2147483647 h 1194"/>
                <a:gd name="T86" fmla="*/ 2147483647 w 300"/>
                <a:gd name="T87" fmla="*/ 2147483647 h 1194"/>
                <a:gd name="T88" fmla="*/ 2147483647 w 300"/>
                <a:gd name="T89" fmla="*/ 2147483647 h 1194"/>
                <a:gd name="T90" fmla="*/ 2147483647 w 300"/>
                <a:gd name="T91" fmla="*/ 2147483647 h 1194"/>
                <a:gd name="T92" fmla="*/ 2147483647 w 300"/>
                <a:gd name="T93" fmla="*/ 2147483647 h 1194"/>
                <a:gd name="T94" fmla="*/ 2147483647 w 300"/>
                <a:gd name="T95" fmla="*/ 2147483647 h 1194"/>
                <a:gd name="T96" fmla="*/ 2147483647 w 300"/>
                <a:gd name="T97" fmla="*/ 2147483647 h 1194"/>
                <a:gd name="T98" fmla="*/ 2147483647 w 300"/>
                <a:gd name="T99" fmla="*/ 0 h 1194"/>
                <a:gd name="T100" fmla="*/ 2147483647 w 300"/>
                <a:gd name="T101" fmla="*/ 2147483647 h 11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0"/>
                <a:gd name="T154" fmla="*/ 0 h 1194"/>
                <a:gd name="T155" fmla="*/ 300 w 300"/>
                <a:gd name="T156" fmla="*/ 1194 h 11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0" h="1194">
                  <a:moveTo>
                    <a:pt x="0" y="1194"/>
                  </a:moveTo>
                  <a:lnTo>
                    <a:pt x="12" y="1188"/>
                  </a:lnTo>
                  <a:lnTo>
                    <a:pt x="36" y="1146"/>
                  </a:lnTo>
                  <a:lnTo>
                    <a:pt x="18" y="1134"/>
                  </a:lnTo>
                  <a:lnTo>
                    <a:pt x="0" y="1194"/>
                  </a:lnTo>
                  <a:close/>
                  <a:moveTo>
                    <a:pt x="114" y="1068"/>
                  </a:moveTo>
                  <a:lnTo>
                    <a:pt x="72" y="1062"/>
                  </a:lnTo>
                  <a:lnTo>
                    <a:pt x="54" y="1134"/>
                  </a:lnTo>
                  <a:lnTo>
                    <a:pt x="66" y="1134"/>
                  </a:lnTo>
                  <a:lnTo>
                    <a:pt x="84" y="1104"/>
                  </a:lnTo>
                  <a:lnTo>
                    <a:pt x="132" y="1074"/>
                  </a:lnTo>
                  <a:lnTo>
                    <a:pt x="120" y="1050"/>
                  </a:lnTo>
                  <a:lnTo>
                    <a:pt x="114" y="1068"/>
                  </a:lnTo>
                  <a:close/>
                  <a:moveTo>
                    <a:pt x="192" y="1008"/>
                  </a:moveTo>
                  <a:lnTo>
                    <a:pt x="186" y="1008"/>
                  </a:lnTo>
                  <a:lnTo>
                    <a:pt x="180" y="1020"/>
                  </a:lnTo>
                  <a:lnTo>
                    <a:pt x="174" y="1026"/>
                  </a:lnTo>
                  <a:lnTo>
                    <a:pt x="168" y="1038"/>
                  </a:lnTo>
                  <a:lnTo>
                    <a:pt x="168" y="1044"/>
                  </a:lnTo>
                  <a:lnTo>
                    <a:pt x="174" y="1050"/>
                  </a:lnTo>
                  <a:lnTo>
                    <a:pt x="180" y="1050"/>
                  </a:lnTo>
                  <a:lnTo>
                    <a:pt x="198" y="1032"/>
                  </a:lnTo>
                  <a:lnTo>
                    <a:pt x="198" y="1014"/>
                  </a:lnTo>
                  <a:lnTo>
                    <a:pt x="192" y="1008"/>
                  </a:lnTo>
                  <a:close/>
                  <a:moveTo>
                    <a:pt x="282" y="636"/>
                  </a:moveTo>
                  <a:lnTo>
                    <a:pt x="264" y="654"/>
                  </a:lnTo>
                  <a:lnTo>
                    <a:pt x="276" y="678"/>
                  </a:lnTo>
                  <a:lnTo>
                    <a:pt x="258" y="678"/>
                  </a:lnTo>
                  <a:lnTo>
                    <a:pt x="258" y="702"/>
                  </a:lnTo>
                  <a:lnTo>
                    <a:pt x="282" y="702"/>
                  </a:lnTo>
                  <a:lnTo>
                    <a:pt x="294" y="684"/>
                  </a:lnTo>
                  <a:lnTo>
                    <a:pt x="282" y="654"/>
                  </a:lnTo>
                  <a:lnTo>
                    <a:pt x="300" y="654"/>
                  </a:lnTo>
                  <a:lnTo>
                    <a:pt x="282" y="636"/>
                  </a:lnTo>
                  <a:close/>
                  <a:moveTo>
                    <a:pt x="276" y="768"/>
                  </a:moveTo>
                  <a:lnTo>
                    <a:pt x="294" y="750"/>
                  </a:lnTo>
                  <a:lnTo>
                    <a:pt x="270" y="732"/>
                  </a:lnTo>
                  <a:lnTo>
                    <a:pt x="276" y="768"/>
                  </a:lnTo>
                  <a:close/>
                  <a:moveTo>
                    <a:pt x="258" y="954"/>
                  </a:moveTo>
                  <a:lnTo>
                    <a:pt x="258" y="924"/>
                  </a:lnTo>
                  <a:lnTo>
                    <a:pt x="240" y="948"/>
                  </a:lnTo>
                  <a:lnTo>
                    <a:pt x="258" y="954"/>
                  </a:lnTo>
                  <a:close/>
                  <a:moveTo>
                    <a:pt x="252" y="858"/>
                  </a:moveTo>
                  <a:lnTo>
                    <a:pt x="270" y="858"/>
                  </a:lnTo>
                  <a:lnTo>
                    <a:pt x="252" y="840"/>
                  </a:lnTo>
                  <a:lnTo>
                    <a:pt x="252" y="858"/>
                  </a:lnTo>
                  <a:close/>
                  <a:moveTo>
                    <a:pt x="126" y="24"/>
                  </a:moveTo>
                  <a:lnTo>
                    <a:pt x="144" y="60"/>
                  </a:lnTo>
                  <a:lnTo>
                    <a:pt x="174" y="24"/>
                  </a:lnTo>
                  <a:lnTo>
                    <a:pt x="162" y="0"/>
                  </a:lnTo>
                  <a:lnTo>
                    <a:pt x="126" y="24"/>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75" name="Russland" descr="© INSCALE GmbH, 05.05.2010&#10;http://www.presentationload.com/">
              <a:extLst>
                <a:ext uri="{FF2B5EF4-FFF2-40B4-BE49-F238E27FC236}">
                  <a16:creationId xmlns:a16="http://schemas.microsoft.com/office/drawing/2014/main" id="{664B4EB6-37CB-432C-BBD6-795667F33867}"/>
                </a:ext>
              </a:extLst>
            </p:cNvPr>
            <p:cNvSpPr>
              <a:spLocks noEditPoints="1"/>
            </p:cNvSpPr>
            <p:nvPr/>
          </p:nvSpPr>
          <p:spPr bwMode="gray">
            <a:xfrm>
              <a:off x="4645238" y="1787697"/>
              <a:ext cx="3597044" cy="1144657"/>
            </a:xfrm>
            <a:custGeom>
              <a:avLst/>
              <a:gdLst>
                <a:gd name="T0" fmla="*/ 2147483647 w 9048"/>
                <a:gd name="T1" fmla="*/ 2147483647 h 2880"/>
                <a:gd name="T2" fmla="*/ 2147483647 w 9048"/>
                <a:gd name="T3" fmla="*/ 2147483647 h 2880"/>
                <a:gd name="T4" fmla="*/ 2147483647 w 9048"/>
                <a:gd name="T5" fmla="*/ 2147483647 h 2880"/>
                <a:gd name="T6" fmla="*/ 2147483647 w 9048"/>
                <a:gd name="T7" fmla="*/ 2147483647 h 2880"/>
                <a:gd name="T8" fmla="*/ 2147483647 w 9048"/>
                <a:gd name="T9" fmla="*/ 2147483647 h 2880"/>
                <a:gd name="T10" fmla="*/ 2147483647 w 9048"/>
                <a:gd name="T11" fmla="*/ 2147483647 h 2880"/>
                <a:gd name="T12" fmla="*/ 2147483647 w 9048"/>
                <a:gd name="T13" fmla="*/ 2147483647 h 2880"/>
                <a:gd name="T14" fmla="*/ 2147483647 w 9048"/>
                <a:gd name="T15" fmla="*/ 2147483647 h 2880"/>
                <a:gd name="T16" fmla="*/ 2147483647 w 9048"/>
                <a:gd name="T17" fmla="*/ 2147483647 h 2880"/>
                <a:gd name="T18" fmla="*/ 2147483647 w 9048"/>
                <a:gd name="T19" fmla="*/ 2147483647 h 2880"/>
                <a:gd name="T20" fmla="*/ 2147483647 w 9048"/>
                <a:gd name="T21" fmla="*/ 2147483647 h 2880"/>
                <a:gd name="T22" fmla="*/ 2147483647 w 9048"/>
                <a:gd name="T23" fmla="*/ 2147483647 h 2880"/>
                <a:gd name="T24" fmla="*/ 2147483647 w 9048"/>
                <a:gd name="T25" fmla="*/ 2147483647 h 2880"/>
                <a:gd name="T26" fmla="*/ 2147483647 w 9048"/>
                <a:gd name="T27" fmla="*/ 2147483647 h 2880"/>
                <a:gd name="T28" fmla="*/ 2147483647 w 9048"/>
                <a:gd name="T29" fmla="*/ 2147483647 h 2880"/>
                <a:gd name="T30" fmla="*/ 2147483647 w 9048"/>
                <a:gd name="T31" fmla="*/ 2147483647 h 2880"/>
                <a:gd name="T32" fmla="*/ 2147483647 w 9048"/>
                <a:gd name="T33" fmla="*/ 2147483647 h 2880"/>
                <a:gd name="T34" fmla="*/ 2147483647 w 9048"/>
                <a:gd name="T35" fmla="*/ 2147483647 h 2880"/>
                <a:gd name="T36" fmla="*/ 2147483647 w 9048"/>
                <a:gd name="T37" fmla="*/ 2147483647 h 2880"/>
                <a:gd name="T38" fmla="*/ 2147483647 w 9048"/>
                <a:gd name="T39" fmla="*/ 2147483647 h 2880"/>
                <a:gd name="T40" fmla="*/ 2147483647 w 9048"/>
                <a:gd name="T41" fmla="*/ 2147483647 h 2880"/>
                <a:gd name="T42" fmla="*/ 2147483647 w 9048"/>
                <a:gd name="T43" fmla="*/ 2147483647 h 2880"/>
                <a:gd name="T44" fmla="*/ 2147483647 w 9048"/>
                <a:gd name="T45" fmla="*/ 2147483647 h 2880"/>
                <a:gd name="T46" fmla="*/ 2147483647 w 9048"/>
                <a:gd name="T47" fmla="*/ 2147483647 h 2880"/>
                <a:gd name="T48" fmla="*/ 2147483647 w 9048"/>
                <a:gd name="T49" fmla="*/ 2147483647 h 2880"/>
                <a:gd name="T50" fmla="*/ 2147483647 w 9048"/>
                <a:gd name="T51" fmla="*/ 2147483647 h 2880"/>
                <a:gd name="T52" fmla="*/ 2147483647 w 9048"/>
                <a:gd name="T53" fmla="*/ 2147483647 h 2880"/>
                <a:gd name="T54" fmla="*/ 2147483647 w 9048"/>
                <a:gd name="T55" fmla="*/ 2147483647 h 2880"/>
                <a:gd name="T56" fmla="*/ 2147483647 w 9048"/>
                <a:gd name="T57" fmla="*/ 2147483647 h 2880"/>
                <a:gd name="T58" fmla="*/ 2147483647 w 9048"/>
                <a:gd name="T59" fmla="*/ 2147483647 h 2880"/>
                <a:gd name="T60" fmla="*/ 2147483647 w 9048"/>
                <a:gd name="T61" fmla="*/ 2147483647 h 2880"/>
                <a:gd name="T62" fmla="*/ 2147483647 w 9048"/>
                <a:gd name="T63" fmla="*/ 2147483647 h 2880"/>
                <a:gd name="T64" fmla="*/ 2147483647 w 9048"/>
                <a:gd name="T65" fmla="*/ 2147483647 h 2880"/>
                <a:gd name="T66" fmla="*/ 2147483647 w 9048"/>
                <a:gd name="T67" fmla="*/ 2147483647 h 2880"/>
                <a:gd name="T68" fmla="*/ 2147483647 w 9048"/>
                <a:gd name="T69" fmla="*/ 2147483647 h 2880"/>
                <a:gd name="T70" fmla="*/ 2147483647 w 9048"/>
                <a:gd name="T71" fmla="*/ 2147483647 h 2880"/>
                <a:gd name="T72" fmla="*/ 2147483647 w 9048"/>
                <a:gd name="T73" fmla="*/ 2147483647 h 2880"/>
                <a:gd name="T74" fmla="*/ 2147483647 w 9048"/>
                <a:gd name="T75" fmla="*/ 2147483647 h 2880"/>
                <a:gd name="T76" fmla="*/ 2147483647 w 9048"/>
                <a:gd name="T77" fmla="*/ 2147483647 h 2880"/>
                <a:gd name="T78" fmla="*/ 2147483647 w 9048"/>
                <a:gd name="T79" fmla="*/ 2147483647 h 2880"/>
                <a:gd name="T80" fmla="*/ 2147483647 w 9048"/>
                <a:gd name="T81" fmla="*/ 2147483647 h 2880"/>
                <a:gd name="T82" fmla="*/ 2147483647 w 9048"/>
                <a:gd name="T83" fmla="*/ 2147483647 h 2880"/>
                <a:gd name="T84" fmla="*/ 2147483647 w 9048"/>
                <a:gd name="T85" fmla="*/ 2147483647 h 2880"/>
                <a:gd name="T86" fmla="*/ 2147483647 w 9048"/>
                <a:gd name="T87" fmla="*/ 2147483647 h 2880"/>
                <a:gd name="T88" fmla="*/ 2147483647 w 9048"/>
                <a:gd name="T89" fmla="*/ 2147483647 h 2880"/>
                <a:gd name="T90" fmla="*/ 2147483647 w 9048"/>
                <a:gd name="T91" fmla="*/ 2147483647 h 2880"/>
                <a:gd name="T92" fmla="*/ 2147483647 w 9048"/>
                <a:gd name="T93" fmla="*/ 2147483647 h 2880"/>
                <a:gd name="T94" fmla="*/ 2147483647 w 9048"/>
                <a:gd name="T95" fmla="*/ 2147483647 h 2880"/>
                <a:gd name="T96" fmla="*/ 2147483647 w 9048"/>
                <a:gd name="T97" fmla="*/ 2147483647 h 2880"/>
                <a:gd name="T98" fmla="*/ 2147483647 w 9048"/>
                <a:gd name="T99" fmla="*/ 2147483647 h 2880"/>
                <a:gd name="T100" fmla="*/ 2147483647 w 9048"/>
                <a:gd name="T101" fmla="*/ 2147483647 h 2880"/>
                <a:gd name="T102" fmla="*/ 2147483647 w 9048"/>
                <a:gd name="T103" fmla="*/ 2147483647 h 2880"/>
                <a:gd name="T104" fmla="*/ 2147483647 w 9048"/>
                <a:gd name="T105" fmla="*/ 2147483647 h 2880"/>
                <a:gd name="T106" fmla="*/ 2147483647 w 9048"/>
                <a:gd name="T107" fmla="*/ 2147483647 h 2880"/>
                <a:gd name="T108" fmla="*/ 2147483647 w 9048"/>
                <a:gd name="T109" fmla="*/ 2147483647 h 2880"/>
                <a:gd name="T110" fmla="*/ 2147483647 w 9048"/>
                <a:gd name="T111" fmla="*/ 2147483647 h 2880"/>
                <a:gd name="T112" fmla="*/ 2147483647 w 9048"/>
                <a:gd name="T113" fmla="*/ 2147483647 h 2880"/>
                <a:gd name="T114" fmla="*/ 2147483647 w 9048"/>
                <a:gd name="T115" fmla="*/ 2147483647 h 2880"/>
                <a:gd name="T116" fmla="*/ 2147483647 w 9048"/>
                <a:gd name="T117" fmla="*/ 2147483647 h 2880"/>
                <a:gd name="T118" fmla="*/ 2147483647 w 9048"/>
                <a:gd name="T119" fmla="*/ 2147483647 h 2880"/>
                <a:gd name="T120" fmla="*/ 2147483647 w 9048"/>
                <a:gd name="T121" fmla="*/ 2147483647 h 2880"/>
                <a:gd name="T122" fmla="*/ 2147483647 w 9048"/>
                <a:gd name="T123" fmla="*/ 2147483647 h 2880"/>
                <a:gd name="T124" fmla="*/ 2147483647 w 9048"/>
                <a:gd name="T125" fmla="*/ 2147483647 h 28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48"/>
                <a:gd name="T190" fmla="*/ 0 h 2880"/>
                <a:gd name="T191" fmla="*/ 9048 w 9048"/>
                <a:gd name="T192" fmla="*/ 2880 h 28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48" h="2880">
                  <a:moveTo>
                    <a:pt x="2790" y="546"/>
                  </a:moveTo>
                  <a:lnTo>
                    <a:pt x="2760" y="540"/>
                  </a:lnTo>
                  <a:lnTo>
                    <a:pt x="2736" y="558"/>
                  </a:lnTo>
                  <a:lnTo>
                    <a:pt x="2778" y="570"/>
                  </a:lnTo>
                  <a:lnTo>
                    <a:pt x="2790" y="546"/>
                  </a:lnTo>
                  <a:close/>
                  <a:moveTo>
                    <a:pt x="2832" y="522"/>
                  </a:moveTo>
                  <a:lnTo>
                    <a:pt x="2820" y="516"/>
                  </a:lnTo>
                  <a:lnTo>
                    <a:pt x="2814" y="510"/>
                  </a:lnTo>
                  <a:lnTo>
                    <a:pt x="2808" y="510"/>
                  </a:lnTo>
                  <a:lnTo>
                    <a:pt x="2808" y="528"/>
                  </a:lnTo>
                  <a:lnTo>
                    <a:pt x="2820" y="534"/>
                  </a:lnTo>
                  <a:lnTo>
                    <a:pt x="2832" y="534"/>
                  </a:lnTo>
                  <a:lnTo>
                    <a:pt x="2844" y="540"/>
                  </a:lnTo>
                  <a:lnTo>
                    <a:pt x="2850" y="540"/>
                  </a:lnTo>
                  <a:lnTo>
                    <a:pt x="2850" y="534"/>
                  </a:lnTo>
                  <a:lnTo>
                    <a:pt x="2844" y="528"/>
                  </a:lnTo>
                  <a:lnTo>
                    <a:pt x="2832" y="522"/>
                  </a:lnTo>
                  <a:close/>
                  <a:moveTo>
                    <a:pt x="1704" y="18"/>
                  </a:moveTo>
                  <a:lnTo>
                    <a:pt x="1710" y="18"/>
                  </a:lnTo>
                  <a:lnTo>
                    <a:pt x="1716" y="12"/>
                  </a:lnTo>
                  <a:lnTo>
                    <a:pt x="1728" y="6"/>
                  </a:lnTo>
                  <a:lnTo>
                    <a:pt x="1734" y="0"/>
                  </a:lnTo>
                  <a:lnTo>
                    <a:pt x="1644" y="0"/>
                  </a:lnTo>
                  <a:lnTo>
                    <a:pt x="1638" y="12"/>
                  </a:lnTo>
                  <a:lnTo>
                    <a:pt x="1680" y="12"/>
                  </a:lnTo>
                  <a:lnTo>
                    <a:pt x="1686" y="18"/>
                  </a:lnTo>
                  <a:lnTo>
                    <a:pt x="1704" y="18"/>
                  </a:lnTo>
                  <a:close/>
                  <a:moveTo>
                    <a:pt x="1740" y="60"/>
                  </a:moveTo>
                  <a:lnTo>
                    <a:pt x="1746" y="60"/>
                  </a:lnTo>
                  <a:lnTo>
                    <a:pt x="1758" y="48"/>
                  </a:lnTo>
                  <a:lnTo>
                    <a:pt x="1764" y="48"/>
                  </a:lnTo>
                  <a:lnTo>
                    <a:pt x="1770" y="54"/>
                  </a:lnTo>
                  <a:lnTo>
                    <a:pt x="1782" y="54"/>
                  </a:lnTo>
                  <a:lnTo>
                    <a:pt x="1788" y="60"/>
                  </a:lnTo>
                  <a:lnTo>
                    <a:pt x="1800" y="60"/>
                  </a:lnTo>
                  <a:lnTo>
                    <a:pt x="1812" y="48"/>
                  </a:lnTo>
                  <a:lnTo>
                    <a:pt x="1812" y="36"/>
                  </a:lnTo>
                  <a:lnTo>
                    <a:pt x="1806" y="30"/>
                  </a:lnTo>
                  <a:lnTo>
                    <a:pt x="1794" y="24"/>
                  </a:lnTo>
                  <a:lnTo>
                    <a:pt x="1758" y="24"/>
                  </a:lnTo>
                  <a:lnTo>
                    <a:pt x="1710" y="48"/>
                  </a:lnTo>
                  <a:lnTo>
                    <a:pt x="1716" y="54"/>
                  </a:lnTo>
                  <a:lnTo>
                    <a:pt x="1728" y="60"/>
                  </a:lnTo>
                  <a:lnTo>
                    <a:pt x="1740" y="60"/>
                  </a:lnTo>
                  <a:close/>
                  <a:moveTo>
                    <a:pt x="2382" y="510"/>
                  </a:moveTo>
                  <a:lnTo>
                    <a:pt x="2400" y="504"/>
                  </a:lnTo>
                  <a:lnTo>
                    <a:pt x="2412" y="498"/>
                  </a:lnTo>
                  <a:lnTo>
                    <a:pt x="2412" y="486"/>
                  </a:lnTo>
                  <a:lnTo>
                    <a:pt x="2406" y="486"/>
                  </a:lnTo>
                  <a:lnTo>
                    <a:pt x="2400" y="480"/>
                  </a:lnTo>
                  <a:lnTo>
                    <a:pt x="2346" y="480"/>
                  </a:lnTo>
                  <a:lnTo>
                    <a:pt x="2346" y="492"/>
                  </a:lnTo>
                  <a:lnTo>
                    <a:pt x="2358" y="504"/>
                  </a:lnTo>
                  <a:lnTo>
                    <a:pt x="2370" y="510"/>
                  </a:lnTo>
                  <a:lnTo>
                    <a:pt x="2382" y="510"/>
                  </a:lnTo>
                  <a:close/>
                  <a:moveTo>
                    <a:pt x="1590" y="30"/>
                  </a:moveTo>
                  <a:lnTo>
                    <a:pt x="1548" y="24"/>
                  </a:lnTo>
                  <a:lnTo>
                    <a:pt x="1554" y="36"/>
                  </a:lnTo>
                  <a:lnTo>
                    <a:pt x="1590" y="30"/>
                  </a:lnTo>
                  <a:close/>
                  <a:moveTo>
                    <a:pt x="1890" y="696"/>
                  </a:moveTo>
                  <a:lnTo>
                    <a:pt x="1896" y="708"/>
                  </a:lnTo>
                  <a:lnTo>
                    <a:pt x="1920" y="720"/>
                  </a:lnTo>
                  <a:lnTo>
                    <a:pt x="1950" y="738"/>
                  </a:lnTo>
                  <a:lnTo>
                    <a:pt x="1974" y="744"/>
                  </a:lnTo>
                  <a:lnTo>
                    <a:pt x="1992" y="738"/>
                  </a:lnTo>
                  <a:lnTo>
                    <a:pt x="1980" y="720"/>
                  </a:lnTo>
                  <a:lnTo>
                    <a:pt x="1950" y="702"/>
                  </a:lnTo>
                  <a:lnTo>
                    <a:pt x="1914" y="696"/>
                  </a:lnTo>
                  <a:lnTo>
                    <a:pt x="1890" y="696"/>
                  </a:lnTo>
                  <a:close/>
                  <a:moveTo>
                    <a:pt x="3108" y="126"/>
                  </a:moveTo>
                  <a:lnTo>
                    <a:pt x="3120" y="108"/>
                  </a:lnTo>
                  <a:lnTo>
                    <a:pt x="3030" y="108"/>
                  </a:lnTo>
                  <a:lnTo>
                    <a:pt x="3108" y="126"/>
                  </a:lnTo>
                  <a:close/>
                  <a:moveTo>
                    <a:pt x="1560" y="102"/>
                  </a:moveTo>
                  <a:lnTo>
                    <a:pt x="1632" y="102"/>
                  </a:lnTo>
                  <a:lnTo>
                    <a:pt x="1608" y="84"/>
                  </a:lnTo>
                  <a:lnTo>
                    <a:pt x="1560" y="102"/>
                  </a:lnTo>
                  <a:close/>
                  <a:moveTo>
                    <a:pt x="1572" y="60"/>
                  </a:moveTo>
                  <a:lnTo>
                    <a:pt x="1584" y="66"/>
                  </a:lnTo>
                  <a:lnTo>
                    <a:pt x="1596" y="78"/>
                  </a:lnTo>
                  <a:lnTo>
                    <a:pt x="1620" y="66"/>
                  </a:lnTo>
                  <a:lnTo>
                    <a:pt x="1620" y="72"/>
                  </a:lnTo>
                  <a:lnTo>
                    <a:pt x="1644" y="72"/>
                  </a:lnTo>
                  <a:lnTo>
                    <a:pt x="1668" y="60"/>
                  </a:lnTo>
                  <a:lnTo>
                    <a:pt x="1674" y="54"/>
                  </a:lnTo>
                  <a:lnTo>
                    <a:pt x="1680" y="54"/>
                  </a:lnTo>
                  <a:lnTo>
                    <a:pt x="1626" y="48"/>
                  </a:lnTo>
                  <a:lnTo>
                    <a:pt x="1614" y="54"/>
                  </a:lnTo>
                  <a:lnTo>
                    <a:pt x="1608" y="54"/>
                  </a:lnTo>
                  <a:lnTo>
                    <a:pt x="1602" y="48"/>
                  </a:lnTo>
                  <a:lnTo>
                    <a:pt x="1584" y="48"/>
                  </a:lnTo>
                  <a:lnTo>
                    <a:pt x="1572" y="60"/>
                  </a:lnTo>
                  <a:close/>
                  <a:moveTo>
                    <a:pt x="1662" y="36"/>
                  </a:moveTo>
                  <a:lnTo>
                    <a:pt x="1602" y="36"/>
                  </a:lnTo>
                  <a:lnTo>
                    <a:pt x="1650" y="48"/>
                  </a:lnTo>
                  <a:lnTo>
                    <a:pt x="1662" y="36"/>
                  </a:lnTo>
                  <a:close/>
                  <a:moveTo>
                    <a:pt x="1542" y="522"/>
                  </a:moveTo>
                  <a:lnTo>
                    <a:pt x="1500" y="528"/>
                  </a:lnTo>
                  <a:lnTo>
                    <a:pt x="1512" y="552"/>
                  </a:lnTo>
                  <a:lnTo>
                    <a:pt x="1542" y="534"/>
                  </a:lnTo>
                  <a:lnTo>
                    <a:pt x="1524" y="558"/>
                  </a:lnTo>
                  <a:lnTo>
                    <a:pt x="1518" y="558"/>
                  </a:lnTo>
                  <a:lnTo>
                    <a:pt x="1512" y="564"/>
                  </a:lnTo>
                  <a:lnTo>
                    <a:pt x="1506" y="564"/>
                  </a:lnTo>
                  <a:lnTo>
                    <a:pt x="1494" y="570"/>
                  </a:lnTo>
                  <a:lnTo>
                    <a:pt x="1488" y="576"/>
                  </a:lnTo>
                  <a:lnTo>
                    <a:pt x="1488" y="582"/>
                  </a:lnTo>
                  <a:lnTo>
                    <a:pt x="1500" y="594"/>
                  </a:lnTo>
                  <a:lnTo>
                    <a:pt x="1524" y="606"/>
                  </a:lnTo>
                  <a:lnTo>
                    <a:pt x="1566" y="606"/>
                  </a:lnTo>
                  <a:lnTo>
                    <a:pt x="1590" y="612"/>
                  </a:lnTo>
                  <a:lnTo>
                    <a:pt x="1608" y="618"/>
                  </a:lnTo>
                  <a:lnTo>
                    <a:pt x="1614" y="624"/>
                  </a:lnTo>
                  <a:lnTo>
                    <a:pt x="1620" y="636"/>
                  </a:lnTo>
                  <a:lnTo>
                    <a:pt x="1620" y="648"/>
                  </a:lnTo>
                  <a:lnTo>
                    <a:pt x="1626" y="654"/>
                  </a:lnTo>
                  <a:lnTo>
                    <a:pt x="1626" y="660"/>
                  </a:lnTo>
                  <a:lnTo>
                    <a:pt x="1644" y="660"/>
                  </a:lnTo>
                  <a:lnTo>
                    <a:pt x="1662" y="666"/>
                  </a:lnTo>
                  <a:lnTo>
                    <a:pt x="1674" y="666"/>
                  </a:lnTo>
                  <a:lnTo>
                    <a:pt x="1692" y="672"/>
                  </a:lnTo>
                  <a:lnTo>
                    <a:pt x="1704" y="672"/>
                  </a:lnTo>
                  <a:lnTo>
                    <a:pt x="1818" y="666"/>
                  </a:lnTo>
                  <a:lnTo>
                    <a:pt x="1806" y="666"/>
                  </a:lnTo>
                  <a:lnTo>
                    <a:pt x="1734" y="642"/>
                  </a:lnTo>
                  <a:lnTo>
                    <a:pt x="1704" y="618"/>
                  </a:lnTo>
                  <a:lnTo>
                    <a:pt x="1692" y="600"/>
                  </a:lnTo>
                  <a:lnTo>
                    <a:pt x="1686" y="588"/>
                  </a:lnTo>
                  <a:lnTo>
                    <a:pt x="1674" y="582"/>
                  </a:lnTo>
                  <a:lnTo>
                    <a:pt x="1674" y="570"/>
                  </a:lnTo>
                  <a:lnTo>
                    <a:pt x="1668" y="564"/>
                  </a:lnTo>
                  <a:lnTo>
                    <a:pt x="1692" y="516"/>
                  </a:lnTo>
                  <a:lnTo>
                    <a:pt x="1686" y="510"/>
                  </a:lnTo>
                  <a:lnTo>
                    <a:pt x="1686" y="504"/>
                  </a:lnTo>
                  <a:lnTo>
                    <a:pt x="1674" y="504"/>
                  </a:lnTo>
                  <a:lnTo>
                    <a:pt x="1710" y="498"/>
                  </a:lnTo>
                  <a:lnTo>
                    <a:pt x="1698" y="480"/>
                  </a:lnTo>
                  <a:lnTo>
                    <a:pt x="1734" y="480"/>
                  </a:lnTo>
                  <a:lnTo>
                    <a:pt x="1710" y="468"/>
                  </a:lnTo>
                  <a:lnTo>
                    <a:pt x="1734" y="474"/>
                  </a:lnTo>
                  <a:lnTo>
                    <a:pt x="1740" y="462"/>
                  </a:lnTo>
                  <a:lnTo>
                    <a:pt x="1722" y="450"/>
                  </a:lnTo>
                  <a:lnTo>
                    <a:pt x="1764" y="450"/>
                  </a:lnTo>
                  <a:lnTo>
                    <a:pt x="1770" y="444"/>
                  </a:lnTo>
                  <a:lnTo>
                    <a:pt x="1752" y="426"/>
                  </a:lnTo>
                  <a:lnTo>
                    <a:pt x="1782" y="432"/>
                  </a:lnTo>
                  <a:lnTo>
                    <a:pt x="1782" y="402"/>
                  </a:lnTo>
                  <a:lnTo>
                    <a:pt x="1788" y="408"/>
                  </a:lnTo>
                  <a:lnTo>
                    <a:pt x="1800" y="414"/>
                  </a:lnTo>
                  <a:lnTo>
                    <a:pt x="1812" y="414"/>
                  </a:lnTo>
                  <a:lnTo>
                    <a:pt x="1830" y="408"/>
                  </a:lnTo>
                  <a:lnTo>
                    <a:pt x="1842" y="402"/>
                  </a:lnTo>
                  <a:lnTo>
                    <a:pt x="1860" y="390"/>
                  </a:lnTo>
                  <a:lnTo>
                    <a:pt x="1878" y="372"/>
                  </a:lnTo>
                  <a:lnTo>
                    <a:pt x="1896" y="372"/>
                  </a:lnTo>
                  <a:lnTo>
                    <a:pt x="1938" y="366"/>
                  </a:lnTo>
                  <a:lnTo>
                    <a:pt x="1992" y="354"/>
                  </a:lnTo>
                  <a:lnTo>
                    <a:pt x="2046" y="348"/>
                  </a:lnTo>
                  <a:lnTo>
                    <a:pt x="2094" y="336"/>
                  </a:lnTo>
                  <a:lnTo>
                    <a:pt x="2124" y="330"/>
                  </a:lnTo>
                  <a:lnTo>
                    <a:pt x="2136" y="324"/>
                  </a:lnTo>
                  <a:lnTo>
                    <a:pt x="2154" y="318"/>
                  </a:lnTo>
                  <a:lnTo>
                    <a:pt x="2160" y="312"/>
                  </a:lnTo>
                  <a:lnTo>
                    <a:pt x="2166" y="300"/>
                  </a:lnTo>
                  <a:lnTo>
                    <a:pt x="2166" y="294"/>
                  </a:lnTo>
                  <a:lnTo>
                    <a:pt x="2154" y="282"/>
                  </a:lnTo>
                  <a:lnTo>
                    <a:pt x="2136" y="276"/>
                  </a:lnTo>
                  <a:lnTo>
                    <a:pt x="2088" y="270"/>
                  </a:lnTo>
                  <a:lnTo>
                    <a:pt x="2046" y="276"/>
                  </a:lnTo>
                  <a:lnTo>
                    <a:pt x="2016" y="288"/>
                  </a:lnTo>
                  <a:lnTo>
                    <a:pt x="1980" y="300"/>
                  </a:lnTo>
                  <a:lnTo>
                    <a:pt x="1938" y="318"/>
                  </a:lnTo>
                  <a:lnTo>
                    <a:pt x="1860" y="318"/>
                  </a:lnTo>
                  <a:lnTo>
                    <a:pt x="1842" y="312"/>
                  </a:lnTo>
                  <a:lnTo>
                    <a:pt x="1824" y="312"/>
                  </a:lnTo>
                  <a:lnTo>
                    <a:pt x="1806" y="336"/>
                  </a:lnTo>
                  <a:lnTo>
                    <a:pt x="1782" y="318"/>
                  </a:lnTo>
                  <a:lnTo>
                    <a:pt x="1728" y="342"/>
                  </a:lnTo>
                  <a:lnTo>
                    <a:pt x="1698" y="342"/>
                  </a:lnTo>
                  <a:lnTo>
                    <a:pt x="1668" y="366"/>
                  </a:lnTo>
                  <a:lnTo>
                    <a:pt x="1692" y="372"/>
                  </a:lnTo>
                  <a:lnTo>
                    <a:pt x="1644" y="372"/>
                  </a:lnTo>
                  <a:lnTo>
                    <a:pt x="1614" y="378"/>
                  </a:lnTo>
                  <a:lnTo>
                    <a:pt x="1614" y="396"/>
                  </a:lnTo>
                  <a:lnTo>
                    <a:pt x="1638" y="378"/>
                  </a:lnTo>
                  <a:lnTo>
                    <a:pt x="1644" y="396"/>
                  </a:lnTo>
                  <a:lnTo>
                    <a:pt x="1668" y="396"/>
                  </a:lnTo>
                  <a:lnTo>
                    <a:pt x="1662" y="408"/>
                  </a:lnTo>
                  <a:lnTo>
                    <a:pt x="1620" y="408"/>
                  </a:lnTo>
                  <a:lnTo>
                    <a:pt x="1614" y="420"/>
                  </a:lnTo>
                  <a:lnTo>
                    <a:pt x="1644" y="426"/>
                  </a:lnTo>
                  <a:lnTo>
                    <a:pt x="1596" y="432"/>
                  </a:lnTo>
                  <a:lnTo>
                    <a:pt x="1632" y="438"/>
                  </a:lnTo>
                  <a:lnTo>
                    <a:pt x="1584" y="444"/>
                  </a:lnTo>
                  <a:lnTo>
                    <a:pt x="1584" y="462"/>
                  </a:lnTo>
                  <a:lnTo>
                    <a:pt x="1554" y="474"/>
                  </a:lnTo>
                  <a:lnTo>
                    <a:pt x="1560" y="486"/>
                  </a:lnTo>
                  <a:lnTo>
                    <a:pt x="1602" y="468"/>
                  </a:lnTo>
                  <a:lnTo>
                    <a:pt x="1590" y="498"/>
                  </a:lnTo>
                  <a:lnTo>
                    <a:pt x="1554" y="498"/>
                  </a:lnTo>
                  <a:lnTo>
                    <a:pt x="1542" y="504"/>
                  </a:lnTo>
                  <a:lnTo>
                    <a:pt x="1542" y="522"/>
                  </a:lnTo>
                  <a:close/>
                  <a:moveTo>
                    <a:pt x="5778" y="498"/>
                  </a:moveTo>
                  <a:lnTo>
                    <a:pt x="5850" y="486"/>
                  </a:lnTo>
                  <a:lnTo>
                    <a:pt x="5958" y="504"/>
                  </a:lnTo>
                  <a:lnTo>
                    <a:pt x="5952" y="492"/>
                  </a:lnTo>
                  <a:lnTo>
                    <a:pt x="5940" y="486"/>
                  </a:lnTo>
                  <a:lnTo>
                    <a:pt x="5928" y="474"/>
                  </a:lnTo>
                  <a:lnTo>
                    <a:pt x="5904" y="462"/>
                  </a:lnTo>
                  <a:lnTo>
                    <a:pt x="5844" y="462"/>
                  </a:lnTo>
                  <a:lnTo>
                    <a:pt x="5808" y="468"/>
                  </a:lnTo>
                  <a:lnTo>
                    <a:pt x="5796" y="468"/>
                  </a:lnTo>
                  <a:lnTo>
                    <a:pt x="5778" y="498"/>
                  </a:lnTo>
                  <a:close/>
                  <a:moveTo>
                    <a:pt x="5784" y="378"/>
                  </a:moveTo>
                  <a:lnTo>
                    <a:pt x="5838" y="384"/>
                  </a:lnTo>
                  <a:lnTo>
                    <a:pt x="5844" y="378"/>
                  </a:lnTo>
                  <a:lnTo>
                    <a:pt x="5850" y="366"/>
                  </a:lnTo>
                  <a:lnTo>
                    <a:pt x="5838" y="354"/>
                  </a:lnTo>
                  <a:lnTo>
                    <a:pt x="5802" y="354"/>
                  </a:lnTo>
                  <a:lnTo>
                    <a:pt x="5742" y="342"/>
                  </a:lnTo>
                  <a:lnTo>
                    <a:pt x="5724" y="342"/>
                  </a:lnTo>
                  <a:lnTo>
                    <a:pt x="5718" y="348"/>
                  </a:lnTo>
                  <a:lnTo>
                    <a:pt x="5730" y="354"/>
                  </a:lnTo>
                  <a:lnTo>
                    <a:pt x="5742" y="366"/>
                  </a:lnTo>
                  <a:lnTo>
                    <a:pt x="5754" y="372"/>
                  </a:lnTo>
                  <a:lnTo>
                    <a:pt x="5772" y="372"/>
                  </a:lnTo>
                  <a:lnTo>
                    <a:pt x="5778" y="378"/>
                  </a:lnTo>
                  <a:lnTo>
                    <a:pt x="5784" y="378"/>
                  </a:lnTo>
                  <a:close/>
                  <a:moveTo>
                    <a:pt x="5724" y="432"/>
                  </a:moveTo>
                  <a:lnTo>
                    <a:pt x="5712" y="444"/>
                  </a:lnTo>
                  <a:lnTo>
                    <a:pt x="5712" y="456"/>
                  </a:lnTo>
                  <a:lnTo>
                    <a:pt x="5724" y="462"/>
                  </a:lnTo>
                  <a:lnTo>
                    <a:pt x="5772" y="462"/>
                  </a:lnTo>
                  <a:lnTo>
                    <a:pt x="5778" y="456"/>
                  </a:lnTo>
                  <a:lnTo>
                    <a:pt x="5778" y="450"/>
                  </a:lnTo>
                  <a:lnTo>
                    <a:pt x="5766" y="438"/>
                  </a:lnTo>
                  <a:lnTo>
                    <a:pt x="5742" y="426"/>
                  </a:lnTo>
                  <a:lnTo>
                    <a:pt x="5730" y="426"/>
                  </a:lnTo>
                  <a:lnTo>
                    <a:pt x="5724" y="432"/>
                  </a:lnTo>
                  <a:close/>
                  <a:moveTo>
                    <a:pt x="3072" y="96"/>
                  </a:moveTo>
                  <a:lnTo>
                    <a:pt x="3192" y="96"/>
                  </a:lnTo>
                  <a:lnTo>
                    <a:pt x="3204" y="90"/>
                  </a:lnTo>
                  <a:lnTo>
                    <a:pt x="3228" y="90"/>
                  </a:lnTo>
                  <a:lnTo>
                    <a:pt x="3240" y="84"/>
                  </a:lnTo>
                  <a:lnTo>
                    <a:pt x="3240" y="72"/>
                  </a:lnTo>
                  <a:lnTo>
                    <a:pt x="3222" y="60"/>
                  </a:lnTo>
                  <a:lnTo>
                    <a:pt x="3192" y="42"/>
                  </a:lnTo>
                  <a:lnTo>
                    <a:pt x="3156" y="30"/>
                  </a:lnTo>
                  <a:lnTo>
                    <a:pt x="3132" y="24"/>
                  </a:lnTo>
                  <a:lnTo>
                    <a:pt x="3120" y="18"/>
                  </a:lnTo>
                  <a:lnTo>
                    <a:pt x="3108" y="18"/>
                  </a:lnTo>
                  <a:lnTo>
                    <a:pt x="3096" y="12"/>
                  </a:lnTo>
                  <a:lnTo>
                    <a:pt x="3060" y="12"/>
                  </a:lnTo>
                  <a:lnTo>
                    <a:pt x="3048" y="18"/>
                  </a:lnTo>
                  <a:lnTo>
                    <a:pt x="3036" y="18"/>
                  </a:lnTo>
                  <a:lnTo>
                    <a:pt x="3030" y="30"/>
                  </a:lnTo>
                  <a:lnTo>
                    <a:pt x="3030" y="42"/>
                  </a:lnTo>
                  <a:lnTo>
                    <a:pt x="3036" y="54"/>
                  </a:lnTo>
                  <a:lnTo>
                    <a:pt x="3048" y="66"/>
                  </a:lnTo>
                  <a:lnTo>
                    <a:pt x="3054" y="78"/>
                  </a:lnTo>
                  <a:lnTo>
                    <a:pt x="3072" y="96"/>
                  </a:lnTo>
                  <a:close/>
                  <a:moveTo>
                    <a:pt x="6138" y="408"/>
                  </a:moveTo>
                  <a:lnTo>
                    <a:pt x="6144" y="402"/>
                  </a:lnTo>
                  <a:lnTo>
                    <a:pt x="6132" y="396"/>
                  </a:lnTo>
                  <a:lnTo>
                    <a:pt x="6102" y="390"/>
                  </a:lnTo>
                  <a:lnTo>
                    <a:pt x="6036" y="390"/>
                  </a:lnTo>
                  <a:lnTo>
                    <a:pt x="6012" y="366"/>
                  </a:lnTo>
                  <a:lnTo>
                    <a:pt x="6000" y="360"/>
                  </a:lnTo>
                  <a:lnTo>
                    <a:pt x="5970" y="360"/>
                  </a:lnTo>
                  <a:lnTo>
                    <a:pt x="5958" y="366"/>
                  </a:lnTo>
                  <a:lnTo>
                    <a:pt x="5910" y="366"/>
                  </a:lnTo>
                  <a:lnTo>
                    <a:pt x="5946" y="390"/>
                  </a:lnTo>
                  <a:lnTo>
                    <a:pt x="5964" y="396"/>
                  </a:lnTo>
                  <a:lnTo>
                    <a:pt x="6000" y="402"/>
                  </a:lnTo>
                  <a:lnTo>
                    <a:pt x="6054" y="414"/>
                  </a:lnTo>
                  <a:lnTo>
                    <a:pt x="6102" y="414"/>
                  </a:lnTo>
                  <a:lnTo>
                    <a:pt x="6138" y="408"/>
                  </a:lnTo>
                  <a:close/>
                  <a:moveTo>
                    <a:pt x="7602" y="744"/>
                  </a:moveTo>
                  <a:lnTo>
                    <a:pt x="7596" y="732"/>
                  </a:lnTo>
                  <a:lnTo>
                    <a:pt x="7572" y="726"/>
                  </a:lnTo>
                  <a:lnTo>
                    <a:pt x="7512" y="714"/>
                  </a:lnTo>
                  <a:lnTo>
                    <a:pt x="7500" y="714"/>
                  </a:lnTo>
                  <a:lnTo>
                    <a:pt x="7512" y="726"/>
                  </a:lnTo>
                  <a:lnTo>
                    <a:pt x="7548" y="738"/>
                  </a:lnTo>
                  <a:lnTo>
                    <a:pt x="7584" y="744"/>
                  </a:lnTo>
                  <a:lnTo>
                    <a:pt x="7602" y="744"/>
                  </a:lnTo>
                  <a:close/>
                  <a:moveTo>
                    <a:pt x="3162" y="120"/>
                  </a:moveTo>
                  <a:lnTo>
                    <a:pt x="3216" y="138"/>
                  </a:lnTo>
                  <a:lnTo>
                    <a:pt x="3246" y="144"/>
                  </a:lnTo>
                  <a:lnTo>
                    <a:pt x="3264" y="144"/>
                  </a:lnTo>
                  <a:lnTo>
                    <a:pt x="3312" y="138"/>
                  </a:lnTo>
                  <a:lnTo>
                    <a:pt x="3372" y="156"/>
                  </a:lnTo>
                  <a:lnTo>
                    <a:pt x="3432" y="156"/>
                  </a:lnTo>
                  <a:lnTo>
                    <a:pt x="3426" y="138"/>
                  </a:lnTo>
                  <a:lnTo>
                    <a:pt x="3402" y="102"/>
                  </a:lnTo>
                  <a:lnTo>
                    <a:pt x="3384" y="96"/>
                  </a:lnTo>
                  <a:lnTo>
                    <a:pt x="3372" y="90"/>
                  </a:lnTo>
                  <a:lnTo>
                    <a:pt x="3354" y="96"/>
                  </a:lnTo>
                  <a:lnTo>
                    <a:pt x="3318" y="114"/>
                  </a:lnTo>
                  <a:lnTo>
                    <a:pt x="3294" y="90"/>
                  </a:lnTo>
                  <a:lnTo>
                    <a:pt x="3282" y="90"/>
                  </a:lnTo>
                  <a:lnTo>
                    <a:pt x="3210" y="102"/>
                  </a:lnTo>
                  <a:lnTo>
                    <a:pt x="3174" y="114"/>
                  </a:lnTo>
                  <a:lnTo>
                    <a:pt x="3162" y="120"/>
                  </a:lnTo>
                  <a:close/>
                  <a:moveTo>
                    <a:pt x="3582" y="198"/>
                  </a:moveTo>
                  <a:lnTo>
                    <a:pt x="3744" y="192"/>
                  </a:lnTo>
                  <a:lnTo>
                    <a:pt x="3702" y="168"/>
                  </a:lnTo>
                  <a:lnTo>
                    <a:pt x="3696" y="168"/>
                  </a:lnTo>
                  <a:lnTo>
                    <a:pt x="3690" y="162"/>
                  </a:lnTo>
                  <a:lnTo>
                    <a:pt x="3666" y="150"/>
                  </a:lnTo>
                  <a:lnTo>
                    <a:pt x="3648" y="144"/>
                  </a:lnTo>
                  <a:lnTo>
                    <a:pt x="3636" y="138"/>
                  </a:lnTo>
                  <a:lnTo>
                    <a:pt x="3618" y="138"/>
                  </a:lnTo>
                  <a:lnTo>
                    <a:pt x="3606" y="144"/>
                  </a:lnTo>
                  <a:lnTo>
                    <a:pt x="3600" y="150"/>
                  </a:lnTo>
                  <a:lnTo>
                    <a:pt x="3588" y="156"/>
                  </a:lnTo>
                  <a:lnTo>
                    <a:pt x="3588" y="150"/>
                  </a:lnTo>
                  <a:lnTo>
                    <a:pt x="3582" y="144"/>
                  </a:lnTo>
                  <a:lnTo>
                    <a:pt x="3576" y="132"/>
                  </a:lnTo>
                  <a:lnTo>
                    <a:pt x="3570" y="126"/>
                  </a:lnTo>
                  <a:lnTo>
                    <a:pt x="3546" y="114"/>
                  </a:lnTo>
                  <a:lnTo>
                    <a:pt x="3522" y="126"/>
                  </a:lnTo>
                  <a:lnTo>
                    <a:pt x="3504" y="162"/>
                  </a:lnTo>
                  <a:lnTo>
                    <a:pt x="3498" y="192"/>
                  </a:lnTo>
                  <a:lnTo>
                    <a:pt x="3492" y="210"/>
                  </a:lnTo>
                  <a:lnTo>
                    <a:pt x="3516" y="222"/>
                  </a:lnTo>
                  <a:lnTo>
                    <a:pt x="3534" y="216"/>
                  </a:lnTo>
                  <a:lnTo>
                    <a:pt x="3546" y="216"/>
                  </a:lnTo>
                  <a:lnTo>
                    <a:pt x="3582" y="198"/>
                  </a:lnTo>
                  <a:close/>
                  <a:moveTo>
                    <a:pt x="5622" y="420"/>
                  </a:moveTo>
                  <a:lnTo>
                    <a:pt x="5640" y="390"/>
                  </a:lnTo>
                  <a:lnTo>
                    <a:pt x="5754" y="390"/>
                  </a:lnTo>
                  <a:lnTo>
                    <a:pt x="5688" y="360"/>
                  </a:lnTo>
                  <a:lnTo>
                    <a:pt x="5700" y="336"/>
                  </a:lnTo>
                  <a:lnTo>
                    <a:pt x="5610" y="318"/>
                  </a:lnTo>
                  <a:lnTo>
                    <a:pt x="5628" y="348"/>
                  </a:lnTo>
                  <a:lnTo>
                    <a:pt x="5616" y="342"/>
                  </a:lnTo>
                  <a:lnTo>
                    <a:pt x="5592" y="336"/>
                  </a:lnTo>
                  <a:lnTo>
                    <a:pt x="5556" y="330"/>
                  </a:lnTo>
                  <a:lnTo>
                    <a:pt x="5514" y="318"/>
                  </a:lnTo>
                  <a:lnTo>
                    <a:pt x="5454" y="318"/>
                  </a:lnTo>
                  <a:lnTo>
                    <a:pt x="5448" y="330"/>
                  </a:lnTo>
                  <a:lnTo>
                    <a:pt x="5460" y="354"/>
                  </a:lnTo>
                  <a:lnTo>
                    <a:pt x="5496" y="372"/>
                  </a:lnTo>
                  <a:lnTo>
                    <a:pt x="5538" y="390"/>
                  </a:lnTo>
                  <a:lnTo>
                    <a:pt x="5574" y="408"/>
                  </a:lnTo>
                  <a:lnTo>
                    <a:pt x="5610" y="414"/>
                  </a:lnTo>
                  <a:lnTo>
                    <a:pt x="5622" y="420"/>
                  </a:lnTo>
                  <a:close/>
                  <a:moveTo>
                    <a:pt x="4320" y="432"/>
                  </a:moveTo>
                  <a:lnTo>
                    <a:pt x="4368" y="444"/>
                  </a:lnTo>
                  <a:lnTo>
                    <a:pt x="4380" y="444"/>
                  </a:lnTo>
                  <a:lnTo>
                    <a:pt x="4392" y="438"/>
                  </a:lnTo>
                  <a:lnTo>
                    <a:pt x="4398" y="438"/>
                  </a:lnTo>
                  <a:lnTo>
                    <a:pt x="4404" y="432"/>
                  </a:lnTo>
                  <a:lnTo>
                    <a:pt x="4404" y="426"/>
                  </a:lnTo>
                  <a:lnTo>
                    <a:pt x="4398" y="426"/>
                  </a:lnTo>
                  <a:lnTo>
                    <a:pt x="4362" y="414"/>
                  </a:lnTo>
                  <a:lnTo>
                    <a:pt x="4344" y="420"/>
                  </a:lnTo>
                  <a:lnTo>
                    <a:pt x="4332" y="420"/>
                  </a:lnTo>
                  <a:lnTo>
                    <a:pt x="4320" y="432"/>
                  </a:lnTo>
                  <a:close/>
                  <a:moveTo>
                    <a:pt x="5424" y="354"/>
                  </a:moveTo>
                  <a:lnTo>
                    <a:pt x="5370" y="336"/>
                  </a:lnTo>
                  <a:lnTo>
                    <a:pt x="5394" y="366"/>
                  </a:lnTo>
                  <a:lnTo>
                    <a:pt x="5424" y="354"/>
                  </a:lnTo>
                  <a:close/>
                  <a:moveTo>
                    <a:pt x="7986" y="666"/>
                  </a:moveTo>
                  <a:lnTo>
                    <a:pt x="8034" y="654"/>
                  </a:lnTo>
                  <a:lnTo>
                    <a:pt x="8088" y="654"/>
                  </a:lnTo>
                  <a:lnTo>
                    <a:pt x="8100" y="648"/>
                  </a:lnTo>
                  <a:lnTo>
                    <a:pt x="8106" y="642"/>
                  </a:lnTo>
                  <a:lnTo>
                    <a:pt x="8106" y="636"/>
                  </a:lnTo>
                  <a:lnTo>
                    <a:pt x="8100" y="630"/>
                  </a:lnTo>
                  <a:lnTo>
                    <a:pt x="8088" y="630"/>
                  </a:lnTo>
                  <a:lnTo>
                    <a:pt x="8052" y="618"/>
                  </a:lnTo>
                  <a:lnTo>
                    <a:pt x="8028" y="612"/>
                  </a:lnTo>
                  <a:lnTo>
                    <a:pt x="8010" y="606"/>
                  </a:lnTo>
                  <a:lnTo>
                    <a:pt x="7968" y="606"/>
                  </a:lnTo>
                  <a:lnTo>
                    <a:pt x="7944" y="618"/>
                  </a:lnTo>
                  <a:lnTo>
                    <a:pt x="7938" y="630"/>
                  </a:lnTo>
                  <a:lnTo>
                    <a:pt x="7938" y="654"/>
                  </a:lnTo>
                  <a:lnTo>
                    <a:pt x="7944" y="666"/>
                  </a:lnTo>
                  <a:lnTo>
                    <a:pt x="7950" y="666"/>
                  </a:lnTo>
                  <a:lnTo>
                    <a:pt x="7962" y="672"/>
                  </a:lnTo>
                  <a:lnTo>
                    <a:pt x="7968" y="672"/>
                  </a:lnTo>
                  <a:lnTo>
                    <a:pt x="7980" y="666"/>
                  </a:lnTo>
                  <a:lnTo>
                    <a:pt x="7986" y="666"/>
                  </a:lnTo>
                  <a:close/>
                  <a:moveTo>
                    <a:pt x="162" y="1788"/>
                  </a:moveTo>
                  <a:lnTo>
                    <a:pt x="150" y="1788"/>
                  </a:lnTo>
                  <a:lnTo>
                    <a:pt x="138" y="1794"/>
                  </a:lnTo>
                  <a:lnTo>
                    <a:pt x="114" y="1794"/>
                  </a:lnTo>
                  <a:lnTo>
                    <a:pt x="108" y="1788"/>
                  </a:lnTo>
                  <a:lnTo>
                    <a:pt x="96" y="1788"/>
                  </a:lnTo>
                  <a:lnTo>
                    <a:pt x="96" y="1782"/>
                  </a:lnTo>
                  <a:lnTo>
                    <a:pt x="84" y="1782"/>
                  </a:lnTo>
                  <a:lnTo>
                    <a:pt x="84" y="1788"/>
                  </a:lnTo>
                  <a:lnTo>
                    <a:pt x="72" y="1800"/>
                  </a:lnTo>
                  <a:lnTo>
                    <a:pt x="12" y="1800"/>
                  </a:lnTo>
                  <a:lnTo>
                    <a:pt x="0" y="1812"/>
                  </a:lnTo>
                  <a:lnTo>
                    <a:pt x="0" y="1818"/>
                  </a:lnTo>
                  <a:lnTo>
                    <a:pt x="12" y="1830"/>
                  </a:lnTo>
                  <a:lnTo>
                    <a:pt x="6" y="1842"/>
                  </a:lnTo>
                  <a:lnTo>
                    <a:pt x="12" y="1848"/>
                  </a:lnTo>
                  <a:lnTo>
                    <a:pt x="18" y="1848"/>
                  </a:lnTo>
                  <a:lnTo>
                    <a:pt x="24" y="1842"/>
                  </a:lnTo>
                  <a:lnTo>
                    <a:pt x="48" y="1842"/>
                  </a:lnTo>
                  <a:lnTo>
                    <a:pt x="54" y="1848"/>
                  </a:lnTo>
                  <a:lnTo>
                    <a:pt x="66" y="1848"/>
                  </a:lnTo>
                  <a:lnTo>
                    <a:pt x="72" y="1854"/>
                  </a:lnTo>
                  <a:lnTo>
                    <a:pt x="162" y="1854"/>
                  </a:lnTo>
                  <a:lnTo>
                    <a:pt x="162" y="1848"/>
                  </a:lnTo>
                  <a:lnTo>
                    <a:pt x="168" y="1848"/>
                  </a:lnTo>
                  <a:lnTo>
                    <a:pt x="162" y="1830"/>
                  </a:lnTo>
                  <a:lnTo>
                    <a:pt x="174" y="1818"/>
                  </a:lnTo>
                  <a:lnTo>
                    <a:pt x="174" y="1800"/>
                  </a:lnTo>
                  <a:lnTo>
                    <a:pt x="168" y="1788"/>
                  </a:lnTo>
                  <a:lnTo>
                    <a:pt x="162" y="1788"/>
                  </a:lnTo>
                  <a:close/>
                  <a:moveTo>
                    <a:pt x="1038" y="90"/>
                  </a:moveTo>
                  <a:lnTo>
                    <a:pt x="1062" y="72"/>
                  </a:lnTo>
                  <a:lnTo>
                    <a:pt x="1032" y="72"/>
                  </a:lnTo>
                  <a:lnTo>
                    <a:pt x="1032" y="84"/>
                  </a:lnTo>
                  <a:lnTo>
                    <a:pt x="1038" y="90"/>
                  </a:lnTo>
                  <a:close/>
                  <a:moveTo>
                    <a:pt x="990" y="72"/>
                  </a:moveTo>
                  <a:lnTo>
                    <a:pt x="1074" y="54"/>
                  </a:lnTo>
                  <a:lnTo>
                    <a:pt x="1044" y="42"/>
                  </a:lnTo>
                  <a:lnTo>
                    <a:pt x="996" y="54"/>
                  </a:lnTo>
                  <a:lnTo>
                    <a:pt x="948" y="54"/>
                  </a:lnTo>
                  <a:lnTo>
                    <a:pt x="966" y="66"/>
                  </a:lnTo>
                  <a:lnTo>
                    <a:pt x="990" y="72"/>
                  </a:lnTo>
                  <a:close/>
                  <a:moveTo>
                    <a:pt x="1122" y="90"/>
                  </a:moveTo>
                  <a:lnTo>
                    <a:pt x="1128" y="78"/>
                  </a:lnTo>
                  <a:lnTo>
                    <a:pt x="1152" y="78"/>
                  </a:lnTo>
                  <a:lnTo>
                    <a:pt x="1164" y="66"/>
                  </a:lnTo>
                  <a:lnTo>
                    <a:pt x="1218" y="66"/>
                  </a:lnTo>
                  <a:lnTo>
                    <a:pt x="1218" y="60"/>
                  </a:lnTo>
                  <a:lnTo>
                    <a:pt x="1206" y="54"/>
                  </a:lnTo>
                  <a:lnTo>
                    <a:pt x="1182" y="54"/>
                  </a:lnTo>
                  <a:lnTo>
                    <a:pt x="1182" y="48"/>
                  </a:lnTo>
                  <a:lnTo>
                    <a:pt x="1176" y="48"/>
                  </a:lnTo>
                  <a:lnTo>
                    <a:pt x="1164" y="42"/>
                  </a:lnTo>
                  <a:lnTo>
                    <a:pt x="1140" y="42"/>
                  </a:lnTo>
                  <a:lnTo>
                    <a:pt x="1134" y="48"/>
                  </a:lnTo>
                  <a:lnTo>
                    <a:pt x="1128" y="60"/>
                  </a:lnTo>
                  <a:lnTo>
                    <a:pt x="1128" y="66"/>
                  </a:lnTo>
                  <a:lnTo>
                    <a:pt x="1122" y="66"/>
                  </a:lnTo>
                  <a:lnTo>
                    <a:pt x="1116" y="72"/>
                  </a:lnTo>
                  <a:lnTo>
                    <a:pt x="1104" y="72"/>
                  </a:lnTo>
                  <a:lnTo>
                    <a:pt x="1086" y="78"/>
                  </a:lnTo>
                  <a:lnTo>
                    <a:pt x="1080" y="78"/>
                  </a:lnTo>
                  <a:lnTo>
                    <a:pt x="1074" y="84"/>
                  </a:lnTo>
                  <a:lnTo>
                    <a:pt x="1080" y="84"/>
                  </a:lnTo>
                  <a:lnTo>
                    <a:pt x="1092" y="90"/>
                  </a:lnTo>
                  <a:lnTo>
                    <a:pt x="1122" y="90"/>
                  </a:lnTo>
                  <a:close/>
                  <a:moveTo>
                    <a:pt x="1176" y="78"/>
                  </a:moveTo>
                  <a:lnTo>
                    <a:pt x="1158" y="90"/>
                  </a:lnTo>
                  <a:lnTo>
                    <a:pt x="1176" y="102"/>
                  </a:lnTo>
                  <a:lnTo>
                    <a:pt x="1194" y="108"/>
                  </a:lnTo>
                  <a:lnTo>
                    <a:pt x="1248" y="102"/>
                  </a:lnTo>
                  <a:lnTo>
                    <a:pt x="1242" y="90"/>
                  </a:lnTo>
                  <a:lnTo>
                    <a:pt x="1212" y="90"/>
                  </a:lnTo>
                  <a:lnTo>
                    <a:pt x="1176" y="78"/>
                  </a:lnTo>
                  <a:close/>
                  <a:moveTo>
                    <a:pt x="7812" y="2436"/>
                  </a:moveTo>
                  <a:lnTo>
                    <a:pt x="7782" y="2400"/>
                  </a:lnTo>
                  <a:lnTo>
                    <a:pt x="7776" y="2400"/>
                  </a:lnTo>
                  <a:lnTo>
                    <a:pt x="7770" y="2394"/>
                  </a:lnTo>
                  <a:lnTo>
                    <a:pt x="7752" y="2388"/>
                  </a:lnTo>
                  <a:lnTo>
                    <a:pt x="7728" y="2364"/>
                  </a:lnTo>
                  <a:lnTo>
                    <a:pt x="7722" y="2352"/>
                  </a:lnTo>
                  <a:lnTo>
                    <a:pt x="7704" y="2298"/>
                  </a:lnTo>
                  <a:lnTo>
                    <a:pt x="7698" y="2286"/>
                  </a:lnTo>
                  <a:lnTo>
                    <a:pt x="7698" y="2274"/>
                  </a:lnTo>
                  <a:lnTo>
                    <a:pt x="7674" y="2250"/>
                  </a:lnTo>
                  <a:lnTo>
                    <a:pt x="7680" y="2244"/>
                  </a:lnTo>
                  <a:lnTo>
                    <a:pt x="7698" y="2244"/>
                  </a:lnTo>
                  <a:lnTo>
                    <a:pt x="7770" y="2268"/>
                  </a:lnTo>
                  <a:lnTo>
                    <a:pt x="7800" y="2280"/>
                  </a:lnTo>
                  <a:lnTo>
                    <a:pt x="7812" y="2286"/>
                  </a:lnTo>
                  <a:lnTo>
                    <a:pt x="7740" y="2232"/>
                  </a:lnTo>
                  <a:lnTo>
                    <a:pt x="7734" y="2226"/>
                  </a:lnTo>
                  <a:lnTo>
                    <a:pt x="7722" y="2202"/>
                  </a:lnTo>
                  <a:lnTo>
                    <a:pt x="7710" y="2196"/>
                  </a:lnTo>
                  <a:lnTo>
                    <a:pt x="7704" y="2184"/>
                  </a:lnTo>
                  <a:lnTo>
                    <a:pt x="7698" y="2178"/>
                  </a:lnTo>
                  <a:lnTo>
                    <a:pt x="7674" y="2166"/>
                  </a:lnTo>
                  <a:lnTo>
                    <a:pt x="7668" y="2160"/>
                  </a:lnTo>
                  <a:lnTo>
                    <a:pt x="7656" y="2154"/>
                  </a:lnTo>
                  <a:lnTo>
                    <a:pt x="7578" y="2070"/>
                  </a:lnTo>
                  <a:lnTo>
                    <a:pt x="7554" y="2070"/>
                  </a:lnTo>
                  <a:lnTo>
                    <a:pt x="7542" y="2040"/>
                  </a:lnTo>
                  <a:lnTo>
                    <a:pt x="7524" y="2040"/>
                  </a:lnTo>
                  <a:lnTo>
                    <a:pt x="7512" y="2028"/>
                  </a:lnTo>
                  <a:lnTo>
                    <a:pt x="7500" y="2004"/>
                  </a:lnTo>
                  <a:lnTo>
                    <a:pt x="7500" y="1980"/>
                  </a:lnTo>
                  <a:lnTo>
                    <a:pt x="7470" y="1944"/>
                  </a:lnTo>
                  <a:lnTo>
                    <a:pt x="7446" y="1950"/>
                  </a:lnTo>
                  <a:lnTo>
                    <a:pt x="7434" y="1920"/>
                  </a:lnTo>
                  <a:lnTo>
                    <a:pt x="7392" y="1890"/>
                  </a:lnTo>
                  <a:lnTo>
                    <a:pt x="7380" y="1866"/>
                  </a:lnTo>
                  <a:lnTo>
                    <a:pt x="7368" y="1860"/>
                  </a:lnTo>
                  <a:lnTo>
                    <a:pt x="7362" y="1854"/>
                  </a:lnTo>
                  <a:lnTo>
                    <a:pt x="7344" y="1854"/>
                  </a:lnTo>
                  <a:lnTo>
                    <a:pt x="7344" y="1860"/>
                  </a:lnTo>
                  <a:lnTo>
                    <a:pt x="7392" y="1908"/>
                  </a:lnTo>
                  <a:lnTo>
                    <a:pt x="7392" y="1914"/>
                  </a:lnTo>
                  <a:lnTo>
                    <a:pt x="7386" y="1914"/>
                  </a:lnTo>
                  <a:lnTo>
                    <a:pt x="7380" y="1908"/>
                  </a:lnTo>
                  <a:lnTo>
                    <a:pt x="7368" y="1908"/>
                  </a:lnTo>
                  <a:lnTo>
                    <a:pt x="7362" y="1914"/>
                  </a:lnTo>
                  <a:lnTo>
                    <a:pt x="7362" y="1926"/>
                  </a:lnTo>
                  <a:lnTo>
                    <a:pt x="7374" y="1950"/>
                  </a:lnTo>
                  <a:lnTo>
                    <a:pt x="7386" y="1962"/>
                  </a:lnTo>
                  <a:lnTo>
                    <a:pt x="7392" y="1974"/>
                  </a:lnTo>
                  <a:lnTo>
                    <a:pt x="7404" y="1980"/>
                  </a:lnTo>
                  <a:lnTo>
                    <a:pt x="7404" y="1992"/>
                  </a:lnTo>
                  <a:lnTo>
                    <a:pt x="7416" y="2016"/>
                  </a:lnTo>
                  <a:lnTo>
                    <a:pt x="7422" y="2022"/>
                  </a:lnTo>
                  <a:lnTo>
                    <a:pt x="7440" y="2034"/>
                  </a:lnTo>
                  <a:lnTo>
                    <a:pt x="7470" y="2052"/>
                  </a:lnTo>
                  <a:lnTo>
                    <a:pt x="7500" y="2076"/>
                  </a:lnTo>
                  <a:lnTo>
                    <a:pt x="7518" y="2100"/>
                  </a:lnTo>
                  <a:lnTo>
                    <a:pt x="7524" y="2112"/>
                  </a:lnTo>
                  <a:lnTo>
                    <a:pt x="7536" y="2130"/>
                  </a:lnTo>
                  <a:lnTo>
                    <a:pt x="7536" y="2142"/>
                  </a:lnTo>
                  <a:lnTo>
                    <a:pt x="7548" y="2154"/>
                  </a:lnTo>
                  <a:lnTo>
                    <a:pt x="7554" y="2166"/>
                  </a:lnTo>
                  <a:lnTo>
                    <a:pt x="7572" y="2184"/>
                  </a:lnTo>
                  <a:lnTo>
                    <a:pt x="7590" y="2208"/>
                  </a:lnTo>
                  <a:lnTo>
                    <a:pt x="7608" y="2238"/>
                  </a:lnTo>
                  <a:lnTo>
                    <a:pt x="7620" y="2262"/>
                  </a:lnTo>
                  <a:lnTo>
                    <a:pt x="7626" y="2268"/>
                  </a:lnTo>
                  <a:lnTo>
                    <a:pt x="7626" y="2280"/>
                  </a:lnTo>
                  <a:lnTo>
                    <a:pt x="7632" y="2292"/>
                  </a:lnTo>
                  <a:lnTo>
                    <a:pt x="7644" y="2304"/>
                  </a:lnTo>
                  <a:lnTo>
                    <a:pt x="7656" y="2304"/>
                  </a:lnTo>
                  <a:lnTo>
                    <a:pt x="7668" y="2310"/>
                  </a:lnTo>
                  <a:lnTo>
                    <a:pt x="7674" y="2322"/>
                  </a:lnTo>
                  <a:lnTo>
                    <a:pt x="7686" y="2334"/>
                  </a:lnTo>
                  <a:lnTo>
                    <a:pt x="7698" y="2358"/>
                  </a:lnTo>
                  <a:lnTo>
                    <a:pt x="7698" y="2376"/>
                  </a:lnTo>
                  <a:lnTo>
                    <a:pt x="7740" y="2412"/>
                  </a:lnTo>
                  <a:lnTo>
                    <a:pt x="7752" y="2466"/>
                  </a:lnTo>
                  <a:lnTo>
                    <a:pt x="7794" y="2508"/>
                  </a:lnTo>
                  <a:lnTo>
                    <a:pt x="7794" y="2502"/>
                  </a:lnTo>
                  <a:lnTo>
                    <a:pt x="7788" y="2496"/>
                  </a:lnTo>
                  <a:lnTo>
                    <a:pt x="7788" y="2484"/>
                  </a:lnTo>
                  <a:lnTo>
                    <a:pt x="7782" y="2472"/>
                  </a:lnTo>
                  <a:lnTo>
                    <a:pt x="7782" y="2460"/>
                  </a:lnTo>
                  <a:lnTo>
                    <a:pt x="7776" y="2448"/>
                  </a:lnTo>
                  <a:lnTo>
                    <a:pt x="7782" y="2442"/>
                  </a:lnTo>
                  <a:lnTo>
                    <a:pt x="7788" y="2442"/>
                  </a:lnTo>
                  <a:lnTo>
                    <a:pt x="7800" y="2454"/>
                  </a:lnTo>
                  <a:lnTo>
                    <a:pt x="7830" y="2454"/>
                  </a:lnTo>
                  <a:lnTo>
                    <a:pt x="7866" y="2496"/>
                  </a:lnTo>
                  <a:lnTo>
                    <a:pt x="7866" y="2472"/>
                  </a:lnTo>
                  <a:lnTo>
                    <a:pt x="7836" y="2430"/>
                  </a:lnTo>
                  <a:lnTo>
                    <a:pt x="7812" y="2436"/>
                  </a:lnTo>
                  <a:close/>
                  <a:moveTo>
                    <a:pt x="1344" y="84"/>
                  </a:moveTo>
                  <a:lnTo>
                    <a:pt x="1350" y="72"/>
                  </a:lnTo>
                  <a:lnTo>
                    <a:pt x="1308" y="66"/>
                  </a:lnTo>
                  <a:lnTo>
                    <a:pt x="1284" y="78"/>
                  </a:lnTo>
                  <a:lnTo>
                    <a:pt x="1290" y="90"/>
                  </a:lnTo>
                  <a:lnTo>
                    <a:pt x="1344" y="84"/>
                  </a:lnTo>
                  <a:close/>
                  <a:moveTo>
                    <a:pt x="9048" y="996"/>
                  </a:moveTo>
                  <a:lnTo>
                    <a:pt x="9036" y="984"/>
                  </a:lnTo>
                  <a:lnTo>
                    <a:pt x="9024" y="978"/>
                  </a:lnTo>
                  <a:lnTo>
                    <a:pt x="9006" y="972"/>
                  </a:lnTo>
                  <a:lnTo>
                    <a:pt x="8994" y="966"/>
                  </a:lnTo>
                  <a:lnTo>
                    <a:pt x="8982" y="966"/>
                  </a:lnTo>
                  <a:lnTo>
                    <a:pt x="8940" y="948"/>
                  </a:lnTo>
                  <a:lnTo>
                    <a:pt x="8898" y="948"/>
                  </a:lnTo>
                  <a:lnTo>
                    <a:pt x="8868" y="930"/>
                  </a:lnTo>
                  <a:lnTo>
                    <a:pt x="8778" y="924"/>
                  </a:lnTo>
                  <a:lnTo>
                    <a:pt x="8736" y="906"/>
                  </a:lnTo>
                  <a:lnTo>
                    <a:pt x="8700" y="906"/>
                  </a:lnTo>
                  <a:lnTo>
                    <a:pt x="8754" y="942"/>
                  </a:lnTo>
                  <a:lnTo>
                    <a:pt x="8808" y="966"/>
                  </a:lnTo>
                  <a:lnTo>
                    <a:pt x="8796" y="966"/>
                  </a:lnTo>
                  <a:lnTo>
                    <a:pt x="8784" y="972"/>
                  </a:lnTo>
                  <a:lnTo>
                    <a:pt x="8754" y="972"/>
                  </a:lnTo>
                  <a:lnTo>
                    <a:pt x="8730" y="960"/>
                  </a:lnTo>
                  <a:lnTo>
                    <a:pt x="8676" y="906"/>
                  </a:lnTo>
                  <a:lnTo>
                    <a:pt x="8580" y="870"/>
                  </a:lnTo>
                  <a:lnTo>
                    <a:pt x="8496" y="846"/>
                  </a:lnTo>
                  <a:lnTo>
                    <a:pt x="8442" y="834"/>
                  </a:lnTo>
                  <a:lnTo>
                    <a:pt x="8370" y="822"/>
                  </a:lnTo>
                  <a:lnTo>
                    <a:pt x="8280" y="804"/>
                  </a:lnTo>
                  <a:lnTo>
                    <a:pt x="8190" y="780"/>
                  </a:lnTo>
                  <a:lnTo>
                    <a:pt x="8112" y="762"/>
                  </a:lnTo>
                  <a:lnTo>
                    <a:pt x="8052" y="750"/>
                  </a:lnTo>
                  <a:lnTo>
                    <a:pt x="7998" y="738"/>
                  </a:lnTo>
                  <a:lnTo>
                    <a:pt x="7956" y="732"/>
                  </a:lnTo>
                  <a:lnTo>
                    <a:pt x="7758" y="732"/>
                  </a:lnTo>
                  <a:lnTo>
                    <a:pt x="7746" y="714"/>
                  </a:lnTo>
                  <a:lnTo>
                    <a:pt x="7698" y="720"/>
                  </a:lnTo>
                  <a:lnTo>
                    <a:pt x="7680" y="708"/>
                  </a:lnTo>
                  <a:lnTo>
                    <a:pt x="7626" y="708"/>
                  </a:lnTo>
                  <a:lnTo>
                    <a:pt x="7650" y="726"/>
                  </a:lnTo>
                  <a:lnTo>
                    <a:pt x="7644" y="744"/>
                  </a:lnTo>
                  <a:lnTo>
                    <a:pt x="7656" y="744"/>
                  </a:lnTo>
                  <a:lnTo>
                    <a:pt x="7680" y="756"/>
                  </a:lnTo>
                  <a:lnTo>
                    <a:pt x="7716" y="762"/>
                  </a:lnTo>
                  <a:lnTo>
                    <a:pt x="7740" y="774"/>
                  </a:lnTo>
                  <a:lnTo>
                    <a:pt x="7758" y="786"/>
                  </a:lnTo>
                  <a:lnTo>
                    <a:pt x="7752" y="798"/>
                  </a:lnTo>
                  <a:lnTo>
                    <a:pt x="7728" y="804"/>
                  </a:lnTo>
                  <a:lnTo>
                    <a:pt x="7698" y="804"/>
                  </a:lnTo>
                  <a:lnTo>
                    <a:pt x="7686" y="798"/>
                  </a:lnTo>
                  <a:lnTo>
                    <a:pt x="7680" y="792"/>
                  </a:lnTo>
                  <a:lnTo>
                    <a:pt x="7656" y="774"/>
                  </a:lnTo>
                  <a:lnTo>
                    <a:pt x="7584" y="774"/>
                  </a:lnTo>
                  <a:lnTo>
                    <a:pt x="7530" y="738"/>
                  </a:lnTo>
                  <a:lnTo>
                    <a:pt x="7524" y="738"/>
                  </a:lnTo>
                  <a:lnTo>
                    <a:pt x="7518" y="744"/>
                  </a:lnTo>
                  <a:lnTo>
                    <a:pt x="7506" y="744"/>
                  </a:lnTo>
                  <a:lnTo>
                    <a:pt x="7500" y="750"/>
                  </a:lnTo>
                  <a:lnTo>
                    <a:pt x="7446" y="750"/>
                  </a:lnTo>
                  <a:lnTo>
                    <a:pt x="7440" y="738"/>
                  </a:lnTo>
                  <a:lnTo>
                    <a:pt x="7344" y="744"/>
                  </a:lnTo>
                  <a:lnTo>
                    <a:pt x="7320" y="726"/>
                  </a:lnTo>
                  <a:lnTo>
                    <a:pt x="7314" y="732"/>
                  </a:lnTo>
                  <a:lnTo>
                    <a:pt x="7212" y="732"/>
                  </a:lnTo>
                  <a:lnTo>
                    <a:pt x="7206" y="738"/>
                  </a:lnTo>
                  <a:lnTo>
                    <a:pt x="7212" y="744"/>
                  </a:lnTo>
                  <a:lnTo>
                    <a:pt x="7218" y="756"/>
                  </a:lnTo>
                  <a:lnTo>
                    <a:pt x="7254" y="792"/>
                  </a:lnTo>
                  <a:lnTo>
                    <a:pt x="7248" y="792"/>
                  </a:lnTo>
                  <a:lnTo>
                    <a:pt x="7242" y="786"/>
                  </a:lnTo>
                  <a:lnTo>
                    <a:pt x="7230" y="780"/>
                  </a:lnTo>
                  <a:lnTo>
                    <a:pt x="7218" y="768"/>
                  </a:lnTo>
                  <a:lnTo>
                    <a:pt x="7206" y="762"/>
                  </a:lnTo>
                  <a:lnTo>
                    <a:pt x="7194" y="750"/>
                  </a:lnTo>
                  <a:lnTo>
                    <a:pt x="7176" y="744"/>
                  </a:lnTo>
                  <a:lnTo>
                    <a:pt x="7104" y="732"/>
                  </a:lnTo>
                  <a:lnTo>
                    <a:pt x="7086" y="732"/>
                  </a:lnTo>
                  <a:lnTo>
                    <a:pt x="7086" y="726"/>
                  </a:lnTo>
                  <a:lnTo>
                    <a:pt x="7056" y="696"/>
                  </a:lnTo>
                  <a:lnTo>
                    <a:pt x="7032" y="684"/>
                  </a:lnTo>
                  <a:lnTo>
                    <a:pt x="6990" y="666"/>
                  </a:lnTo>
                  <a:lnTo>
                    <a:pt x="6948" y="660"/>
                  </a:lnTo>
                  <a:lnTo>
                    <a:pt x="6912" y="654"/>
                  </a:lnTo>
                  <a:lnTo>
                    <a:pt x="6882" y="654"/>
                  </a:lnTo>
                  <a:lnTo>
                    <a:pt x="6864" y="648"/>
                  </a:lnTo>
                  <a:lnTo>
                    <a:pt x="6834" y="648"/>
                  </a:lnTo>
                  <a:lnTo>
                    <a:pt x="6786" y="636"/>
                  </a:lnTo>
                  <a:lnTo>
                    <a:pt x="6774" y="642"/>
                  </a:lnTo>
                  <a:lnTo>
                    <a:pt x="6714" y="642"/>
                  </a:lnTo>
                  <a:lnTo>
                    <a:pt x="6696" y="660"/>
                  </a:lnTo>
                  <a:lnTo>
                    <a:pt x="6684" y="666"/>
                  </a:lnTo>
                  <a:lnTo>
                    <a:pt x="6648" y="666"/>
                  </a:lnTo>
                  <a:lnTo>
                    <a:pt x="6630" y="660"/>
                  </a:lnTo>
                  <a:lnTo>
                    <a:pt x="6594" y="660"/>
                  </a:lnTo>
                  <a:lnTo>
                    <a:pt x="6582" y="654"/>
                  </a:lnTo>
                  <a:lnTo>
                    <a:pt x="6576" y="648"/>
                  </a:lnTo>
                  <a:lnTo>
                    <a:pt x="6552" y="636"/>
                  </a:lnTo>
                  <a:lnTo>
                    <a:pt x="6534" y="630"/>
                  </a:lnTo>
                  <a:lnTo>
                    <a:pt x="6522" y="624"/>
                  </a:lnTo>
                  <a:lnTo>
                    <a:pt x="6498" y="624"/>
                  </a:lnTo>
                  <a:lnTo>
                    <a:pt x="6486" y="630"/>
                  </a:lnTo>
                  <a:lnTo>
                    <a:pt x="6474" y="612"/>
                  </a:lnTo>
                  <a:lnTo>
                    <a:pt x="6438" y="612"/>
                  </a:lnTo>
                  <a:lnTo>
                    <a:pt x="6372" y="606"/>
                  </a:lnTo>
                  <a:lnTo>
                    <a:pt x="6408" y="594"/>
                  </a:lnTo>
                  <a:lnTo>
                    <a:pt x="6372" y="570"/>
                  </a:lnTo>
                  <a:lnTo>
                    <a:pt x="6360" y="570"/>
                  </a:lnTo>
                  <a:lnTo>
                    <a:pt x="6324" y="564"/>
                  </a:lnTo>
                  <a:lnTo>
                    <a:pt x="6282" y="558"/>
                  </a:lnTo>
                  <a:lnTo>
                    <a:pt x="6246" y="558"/>
                  </a:lnTo>
                  <a:lnTo>
                    <a:pt x="6228" y="564"/>
                  </a:lnTo>
                  <a:lnTo>
                    <a:pt x="6228" y="594"/>
                  </a:lnTo>
                  <a:lnTo>
                    <a:pt x="6222" y="600"/>
                  </a:lnTo>
                  <a:lnTo>
                    <a:pt x="6192" y="600"/>
                  </a:lnTo>
                  <a:lnTo>
                    <a:pt x="6180" y="594"/>
                  </a:lnTo>
                  <a:lnTo>
                    <a:pt x="6168" y="594"/>
                  </a:lnTo>
                  <a:lnTo>
                    <a:pt x="6186" y="582"/>
                  </a:lnTo>
                  <a:lnTo>
                    <a:pt x="6168" y="570"/>
                  </a:lnTo>
                  <a:lnTo>
                    <a:pt x="6096" y="570"/>
                  </a:lnTo>
                  <a:lnTo>
                    <a:pt x="6114" y="558"/>
                  </a:lnTo>
                  <a:lnTo>
                    <a:pt x="6156" y="558"/>
                  </a:lnTo>
                  <a:lnTo>
                    <a:pt x="6216" y="588"/>
                  </a:lnTo>
                  <a:lnTo>
                    <a:pt x="6216" y="564"/>
                  </a:lnTo>
                  <a:lnTo>
                    <a:pt x="6162" y="540"/>
                  </a:lnTo>
                  <a:lnTo>
                    <a:pt x="6048" y="546"/>
                  </a:lnTo>
                  <a:lnTo>
                    <a:pt x="6048" y="534"/>
                  </a:lnTo>
                  <a:lnTo>
                    <a:pt x="5928" y="540"/>
                  </a:lnTo>
                  <a:lnTo>
                    <a:pt x="5880" y="522"/>
                  </a:lnTo>
                  <a:lnTo>
                    <a:pt x="5862" y="522"/>
                  </a:lnTo>
                  <a:lnTo>
                    <a:pt x="5898" y="546"/>
                  </a:lnTo>
                  <a:lnTo>
                    <a:pt x="5850" y="546"/>
                  </a:lnTo>
                  <a:lnTo>
                    <a:pt x="5838" y="552"/>
                  </a:lnTo>
                  <a:lnTo>
                    <a:pt x="5832" y="552"/>
                  </a:lnTo>
                  <a:lnTo>
                    <a:pt x="5832" y="558"/>
                  </a:lnTo>
                  <a:lnTo>
                    <a:pt x="5844" y="564"/>
                  </a:lnTo>
                  <a:lnTo>
                    <a:pt x="5850" y="570"/>
                  </a:lnTo>
                  <a:lnTo>
                    <a:pt x="5862" y="576"/>
                  </a:lnTo>
                  <a:lnTo>
                    <a:pt x="5892" y="576"/>
                  </a:lnTo>
                  <a:lnTo>
                    <a:pt x="5892" y="582"/>
                  </a:lnTo>
                  <a:lnTo>
                    <a:pt x="5952" y="618"/>
                  </a:lnTo>
                  <a:lnTo>
                    <a:pt x="5904" y="618"/>
                  </a:lnTo>
                  <a:lnTo>
                    <a:pt x="5898" y="612"/>
                  </a:lnTo>
                  <a:lnTo>
                    <a:pt x="5886" y="606"/>
                  </a:lnTo>
                  <a:lnTo>
                    <a:pt x="5874" y="606"/>
                  </a:lnTo>
                  <a:lnTo>
                    <a:pt x="5862" y="600"/>
                  </a:lnTo>
                  <a:lnTo>
                    <a:pt x="5844" y="618"/>
                  </a:lnTo>
                  <a:lnTo>
                    <a:pt x="5868" y="636"/>
                  </a:lnTo>
                  <a:lnTo>
                    <a:pt x="5814" y="630"/>
                  </a:lnTo>
                  <a:lnTo>
                    <a:pt x="5808" y="630"/>
                  </a:lnTo>
                  <a:lnTo>
                    <a:pt x="5802" y="624"/>
                  </a:lnTo>
                  <a:lnTo>
                    <a:pt x="5784" y="618"/>
                  </a:lnTo>
                  <a:lnTo>
                    <a:pt x="5766" y="618"/>
                  </a:lnTo>
                  <a:lnTo>
                    <a:pt x="5754" y="612"/>
                  </a:lnTo>
                  <a:lnTo>
                    <a:pt x="5736" y="606"/>
                  </a:lnTo>
                  <a:lnTo>
                    <a:pt x="5724" y="606"/>
                  </a:lnTo>
                  <a:lnTo>
                    <a:pt x="5712" y="612"/>
                  </a:lnTo>
                  <a:lnTo>
                    <a:pt x="5700" y="612"/>
                  </a:lnTo>
                  <a:lnTo>
                    <a:pt x="5688" y="618"/>
                  </a:lnTo>
                  <a:lnTo>
                    <a:pt x="5682" y="624"/>
                  </a:lnTo>
                  <a:lnTo>
                    <a:pt x="5676" y="624"/>
                  </a:lnTo>
                  <a:lnTo>
                    <a:pt x="5610" y="618"/>
                  </a:lnTo>
                  <a:lnTo>
                    <a:pt x="5604" y="618"/>
                  </a:lnTo>
                  <a:lnTo>
                    <a:pt x="5598" y="612"/>
                  </a:lnTo>
                  <a:lnTo>
                    <a:pt x="5562" y="594"/>
                  </a:lnTo>
                  <a:lnTo>
                    <a:pt x="5556" y="594"/>
                  </a:lnTo>
                  <a:lnTo>
                    <a:pt x="5550" y="588"/>
                  </a:lnTo>
                  <a:lnTo>
                    <a:pt x="5538" y="588"/>
                  </a:lnTo>
                  <a:lnTo>
                    <a:pt x="5538" y="606"/>
                  </a:lnTo>
                  <a:lnTo>
                    <a:pt x="5544" y="612"/>
                  </a:lnTo>
                  <a:lnTo>
                    <a:pt x="5550" y="624"/>
                  </a:lnTo>
                  <a:lnTo>
                    <a:pt x="5556" y="630"/>
                  </a:lnTo>
                  <a:lnTo>
                    <a:pt x="5562" y="642"/>
                  </a:lnTo>
                  <a:lnTo>
                    <a:pt x="5562" y="660"/>
                  </a:lnTo>
                  <a:lnTo>
                    <a:pt x="5556" y="666"/>
                  </a:lnTo>
                  <a:lnTo>
                    <a:pt x="5532" y="660"/>
                  </a:lnTo>
                  <a:lnTo>
                    <a:pt x="5424" y="624"/>
                  </a:lnTo>
                  <a:lnTo>
                    <a:pt x="5412" y="618"/>
                  </a:lnTo>
                  <a:lnTo>
                    <a:pt x="5406" y="618"/>
                  </a:lnTo>
                  <a:lnTo>
                    <a:pt x="5400" y="612"/>
                  </a:lnTo>
                  <a:lnTo>
                    <a:pt x="5394" y="600"/>
                  </a:lnTo>
                  <a:lnTo>
                    <a:pt x="5382" y="594"/>
                  </a:lnTo>
                  <a:lnTo>
                    <a:pt x="5376" y="588"/>
                  </a:lnTo>
                  <a:lnTo>
                    <a:pt x="5376" y="606"/>
                  </a:lnTo>
                  <a:lnTo>
                    <a:pt x="5322" y="588"/>
                  </a:lnTo>
                  <a:lnTo>
                    <a:pt x="5292" y="570"/>
                  </a:lnTo>
                  <a:lnTo>
                    <a:pt x="5298" y="570"/>
                  </a:lnTo>
                  <a:lnTo>
                    <a:pt x="5304" y="576"/>
                  </a:lnTo>
                  <a:lnTo>
                    <a:pt x="5328" y="576"/>
                  </a:lnTo>
                  <a:lnTo>
                    <a:pt x="5340" y="582"/>
                  </a:lnTo>
                  <a:lnTo>
                    <a:pt x="5352" y="582"/>
                  </a:lnTo>
                  <a:lnTo>
                    <a:pt x="5358" y="576"/>
                  </a:lnTo>
                  <a:lnTo>
                    <a:pt x="5358" y="570"/>
                  </a:lnTo>
                  <a:lnTo>
                    <a:pt x="5346" y="564"/>
                  </a:lnTo>
                  <a:lnTo>
                    <a:pt x="5334" y="552"/>
                  </a:lnTo>
                  <a:lnTo>
                    <a:pt x="5292" y="552"/>
                  </a:lnTo>
                  <a:lnTo>
                    <a:pt x="5304" y="540"/>
                  </a:lnTo>
                  <a:lnTo>
                    <a:pt x="5298" y="534"/>
                  </a:lnTo>
                  <a:lnTo>
                    <a:pt x="5286" y="528"/>
                  </a:lnTo>
                  <a:lnTo>
                    <a:pt x="5256" y="528"/>
                  </a:lnTo>
                  <a:lnTo>
                    <a:pt x="5268" y="510"/>
                  </a:lnTo>
                  <a:lnTo>
                    <a:pt x="5262" y="510"/>
                  </a:lnTo>
                  <a:lnTo>
                    <a:pt x="5256" y="504"/>
                  </a:lnTo>
                  <a:lnTo>
                    <a:pt x="5232" y="504"/>
                  </a:lnTo>
                  <a:lnTo>
                    <a:pt x="5220" y="498"/>
                  </a:lnTo>
                  <a:lnTo>
                    <a:pt x="5208" y="498"/>
                  </a:lnTo>
                  <a:lnTo>
                    <a:pt x="5202" y="492"/>
                  </a:lnTo>
                  <a:lnTo>
                    <a:pt x="5190" y="492"/>
                  </a:lnTo>
                  <a:lnTo>
                    <a:pt x="5184" y="486"/>
                  </a:lnTo>
                  <a:lnTo>
                    <a:pt x="5142" y="486"/>
                  </a:lnTo>
                  <a:lnTo>
                    <a:pt x="5130" y="492"/>
                  </a:lnTo>
                  <a:lnTo>
                    <a:pt x="5094" y="492"/>
                  </a:lnTo>
                  <a:lnTo>
                    <a:pt x="5076" y="486"/>
                  </a:lnTo>
                  <a:lnTo>
                    <a:pt x="5070" y="480"/>
                  </a:lnTo>
                  <a:lnTo>
                    <a:pt x="5064" y="480"/>
                  </a:lnTo>
                  <a:lnTo>
                    <a:pt x="5040" y="486"/>
                  </a:lnTo>
                  <a:lnTo>
                    <a:pt x="5040" y="474"/>
                  </a:lnTo>
                  <a:lnTo>
                    <a:pt x="4992" y="468"/>
                  </a:lnTo>
                  <a:lnTo>
                    <a:pt x="4980" y="456"/>
                  </a:lnTo>
                  <a:lnTo>
                    <a:pt x="4974" y="474"/>
                  </a:lnTo>
                  <a:lnTo>
                    <a:pt x="4956" y="480"/>
                  </a:lnTo>
                  <a:lnTo>
                    <a:pt x="4986" y="498"/>
                  </a:lnTo>
                  <a:lnTo>
                    <a:pt x="5010" y="528"/>
                  </a:lnTo>
                  <a:lnTo>
                    <a:pt x="4962" y="522"/>
                  </a:lnTo>
                  <a:lnTo>
                    <a:pt x="4956" y="516"/>
                  </a:lnTo>
                  <a:lnTo>
                    <a:pt x="4890" y="522"/>
                  </a:lnTo>
                  <a:lnTo>
                    <a:pt x="4872" y="528"/>
                  </a:lnTo>
                  <a:lnTo>
                    <a:pt x="4872" y="516"/>
                  </a:lnTo>
                  <a:lnTo>
                    <a:pt x="4824" y="522"/>
                  </a:lnTo>
                  <a:lnTo>
                    <a:pt x="4818" y="510"/>
                  </a:lnTo>
                  <a:lnTo>
                    <a:pt x="4764" y="510"/>
                  </a:lnTo>
                  <a:lnTo>
                    <a:pt x="4728" y="504"/>
                  </a:lnTo>
                  <a:lnTo>
                    <a:pt x="4746" y="480"/>
                  </a:lnTo>
                  <a:lnTo>
                    <a:pt x="4620" y="480"/>
                  </a:lnTo>
                  <a:lnTo>
                    <a:pt x="4608" y="468"/>
                  </a:lnTo>
                  <a:lnTo>
                    <a:pt x="4602" y="474"/>
                  </a:lnTo>
                  <a:lnTo>
                    <a:pt x="4590" y="468"/>
                  </a:lnTo>
                  <a:lnTo>
                    <a:pt x="4542" y="474"/>
                  </a:lnTo>
                  <a:lnTo>
                    <a:pt x="4548" y="486"/>
                  </a:lnTo>
                  <a:lnTo>
                    <a:pt x="4488" y="480"/>
                  </a:lnTo>
                  <a:lnTo>
                    <a:pt x="4476" y="486"/>
                  </a:lnTo>
                  <a:lnTo>
                    <a:pt x="4506" y="498"/>
                  </a:lnTo>
                  <a:lnTo>
                    <a:pt x="4464" y="492"/>
                  </a:lnTo>
                  <a:lnTo>
                    <a:pt x="4464" y="474"/>
                  </a:lnTo>
                  <a:lnTo>
                    <a:pt x="4434" y="456"/>
                  </a:lnTo>
                  <a:lnTo>
                    <a:pt x="4416" y="456"/>
                  </a:lnTo>
                  <a:lnTo>
                    <a:pt x="4428" y="474"/>
                  </a:lnTo>
                  <a:lnTo>
                    <a:pt x="4374" y="474"/>
                  </a:lnTo>
                  <a:lnTo>
                    <a:pt x="4368" y="468"/>
                  </a:lnTo>
                  <a:lnTo>
                    <a:pt x="4356" y="468"/>
                  </a:lnTo>
                  <a:lnTo>
                    <a:pt x="4350" y="456"/>
                  </a:lnTo>
                  <a:lnTo>
                    <a:pt x="4320" y="456"/>
                  </a:lnTo>
                  <a:lnTo>
                    <a:pt x="4296" y="444"/>
                  </a:lnTo>
                  <a:lnTo>
                    <a:pt x="4266" y="468"/>
                  </a:lnTo>
                  <a:lnTo>
                    <a:pt x="4320" y="474"/>
                  </a:lnTo>
                  <a:lnTo>
                    <a:pt x="4332" y="474"/>
                  </a:lnTo>
                  <a:lnTo>
                    <a:pt x="4326" y="480"/>
                  </a:lnTo>
                  <a:lnTo>
                    <a:pt x="4314" y="486"/>
                  </a:lnTo>
                  <a:lnTo>
                    <a:pt x="4308" y="492"/>
                  </a:lnTo>
                  <a:lnTo>
                    <a:pt x="4272" y="492"/>
                  </a:lnTo>
                  <a:lnTo>
                    <a:pt x="4266" y="498"/>
                  </a:lnTo>
                  <a:lnTo>
                    <a:pt x="4254" y="504"/>
                  </a:lnTo>
                  <a:lnTo>
                    <a:pt x="4182" y="504"/>
                  </a:lnTo>
                  <a:lnTo>
                    <a:pt x="4146" y="510"/>
                  </a:lnTo>
                  <a:lnTo>
                    <a:pt x="4134" y="534"/>
                  </a:lnTo>
                  <a:lnTo>
                    <a:pt x="4110" y="528"/>
                  </a:lnTo>
                  <a:lnTo>
                    <a:pt x="4110" y="516"/>
                  </a:lnTo>
                  <a:lnTo>
                    <a:pt x="4116" y="504"/>
                  </a:lnTo>
                  <a:lnTo>
                    <a:pt x="4122" y="498"/>
                  </a:lnTo>
                  <a:lnTo>
                    <a:pt x="4134" y="492"/>
                  </a:lnTo>
                  <a:lnTo>
                    <a:pt x="4152" y="492"/>
                  </a:lnTo>
                  <a:lnTo>
                    <a:pt x="4164" y="480"/>
                  </a:lnTo>
                  <a:lnTo>
                    <a:pt x="4206" y="474"/>
                  </a:lnTo>
                  <a:lnTo>
                    <a:pt x="4248" y="438"/>
                  </a:lnTo>
                  <a:lnTo>
                    <a:pt x="4248" y="426"/>
                  </a:lnTo>
                  <a:lnTo>
                    <a:pt x="4254" y="420"/>
                  </a:lnTo>
                  <a:lnTo>
                    <a:pt x="4266" y="414"/>
                  </a:lnTo>
                  <a:lnTo>
                    <a:pt x="4278" y="414"/>
                  </a:lnTo>
                  <a:lnTo>
                    <a:pt x="4290" y="408"/>
                  </a:lnTo>
                  <a:lnTo>
                    <a:pt x="4302" y="408"/>
                  </a:lnTo>
                  <a:lnTo>
                    <a:pt x="4320" y="402"/>
                  </a:lnTo>
                  <a:lnTo>
                    <a:pt x="4332" y="402"/>
                  </a:lnTo>
                  <a:lnTo>
                    <a:pt x="4344" y="396"/>
                  </a:lnTo>
                  <a:lnTo>
                    <a:pt x="4350" y="390"/>
                  </a:lnTo>
                  <a:lnTo>
                    <a:pt x="4356" y="378"/>
                  </a:lnTo>
                  <a:lnTo>
                    <a:pt x="4350" y="366"/>
                  </a:lnTo>
                  <a:lnTo>
                    <a:pt x="4344" y="360"/>
                  </a:lnTo>
                  <a:lnTo>
                    <a:pt x="4332" y="354"/>
                  </a:lnTo>
                  <a:lnTo>
                    <a:pt x="4326" y="348"/>
                  </a:lnTo>
                  <a:lnTo>
                    <a:pt x="4290" y="348"/>
                  </a:lnTo>
                  <a:lnTo>
                    <a:pt x="4320" y="336"/>
                  </a:lnTo>
                  <a:lnTo>
                    <a:pt x="4314" y="330"/>
                  </a:lnTo>
                  <a:lnTo>
                    <a:pt x="4302" y="324"/>
                  </a:lnTo>
                  <a:lnTo>
                    <a:pt x="4290" y="312"/>
                  </a:lnTo>
                  <a:lnTo>
                    <a:pt x="4284" y="312"/>
                  </a:lnTo>
                  <a:lnTo>
                    <a:pt x="4278" y="318"/>
                  </a:lnTo>
                  <a:lnTo>
                    <a:pt x="4254" y="318"/>
                  </a:lnTo>
                  <a:lnTo>
                    <a:pt x="4248" y="312"/>
                  </a:lnTo>
                  <a:lnTo>
                    <a:pt x="4242" y="300"/>
                  </a:lnTo>
                  <a:lnTo>
                    <a:pt x="4236" y="294"/>
                  </a:lnTo>
                  <a:lnTo>
                    <a:pt x="4194" y="294"/>
                  </a:lnTo>
                  <a:lnTo>
                    <a:pt x="4188" y="300"/>
                  </a:lnTo>
                  <a:lnTo>
                    <a:pt x="4182" y="300"/>
                  </a:lnTo>
                  <a:lnTo>
                    <a:pt x="4128" y="288"/>
                  </a:lnTo>
                  <a:lnTo>
                    <a:pt x="3990" y="282"/>
                  </a:lnTo>
                  <a:lnTo>
                    <a:pt x="3990" y="300"/>
                  </a:lnTo>
                  <a:lnTo>
                    <a:pt x="3924" y="300"/>
                  </a:lnTo>
                  <a:lnTo>
                    <a:pt x="3942" y="282"/>
                  </a:lnTo>
                  <a:lnTo>
                    <a:pt x="3942" y="276"/>
                  </a:lnTo>
                  <a:lnTo>
                    <a:pt x="3936" y="270"/>
                  </a:lnTo>
                  <a:lnTo>
                    <a:pt x="3912" y="264"/>
                  </a:lnTo>
                  <a:lnTo>
                    <a:pt x="3882" y="264"/>
                  </a:lnTo>
                  <a:lnTo>
                    <a:pt x="3852" y="270"/>
                  </a:lnTo>
                  <a:lnTo>
                    <a:pt x="3840" y="270"/>
                  </a:lnTo>
                  <a:lnTo>
                    <a:pt x="3780" y="264"/>
                  </a:lnTo>
                  <a:lnTo>
                    <a:pt x="3792" y="264"/>
                  </a:lnTo>
                  <a:lnTo>
                    <a:pt x="3810" y="258"/>
                  </a:lnTo>
                  <a:lnTo>
                    <a:pt x="3822" y="258"/>
                  </a:lnTo>
                  <a:lnTo>
                    <a:pt x="3834" y="252"/>
                  </a:lnTo>
                  <a:lnTo>
                    <a:pt x="3840" y="252"/>
                  </a:lnTo>
                  <a:lnTo>
                    <a:pt x="3840" y="246"/>
                  </a:lnTo>
                  <a:lnTo>
                    <a:pt x="3834" y="240"/>
                  </a:lnTo>
                  <a:lnTo>
                    <a:pt x="3822" y="240"/>
                  </a:lnTo>
                  <a:lnTo>
                    <a:pt x="3804" y="234"/>
                  </a:lnTo>
                  <a:lnTo>
                    <a:pt x="3762" y="234"/>
                  </a:lnTo>
                  <a:lnTo>
                    <a:pt x="3720" y="228"/>
                  </a:lnTo>
                  <a:lnTo>
                    <a:pt x="3714" y="240"/>
                  </a:lnTo>
                  <a:lnTo>
                    <a:pt x="3684" y="240"/>
                  </a:lnTo>
                  <a:lnTo>
                    <a:pt x="3672" y="246"/>
                  </a:lnTo>
                  <a:lnTo>
                    <a:pt x="3660" y="246"/>
                  </a:lnTo>
                  <a:lnTo>
                    <a:pt x="3648" y="252"/>
                  </a:lnTo>
                  <a:lnTo>
                    <a:pt x="3648" y="258"/>
                  </a:lnTo>
                  <a:lnTo>
                    <a:pt x="3654" y="270"/>
                  </a:lnTo>
                  <a:lnTo>
                    <a:pt x="3678" y="282"/>
                  </a:lnTo>
                  <a:lnTo>
                    <a:pt x="3696" y="294"/>
                  </a:lnTo>
                  <a:lnTo>
                    <a:pt x="3708" y="294"/>
                  </a:lnTo>
                  <a:lnTo>
                    <a:pt x="3714" y="300"/>
                  </a:lnTo>
                  <a:lnTo>
                    <a:pt x="3720" y="300"/>
                  </a:lnTo>
                  <a:lnTo>
                    <a:pt x="3576" y="294"/>
                  </a:lnTo>
                  <a:lnTo>
                    <a:pt x="3630" y="312"/>
                  </a:lnTo>
                  <a:lnTo>
                    <a:pt x="3576" y="324"/>
                  </a:lnTo>
                  <a:lnTo>
                    <a:pt x="3564" y="330"/>
                  </a:lnTo>
                  <a:lnTo>
                    <a:pt x="3534" y="336"/>
                  </a:lnTo>
                  <a:lnTo>
                    <a:pt x="3498" y="342"/>
                  </a:lnTo>
                  <a:lnTo>
                    <a:pt x="3474" y="342"/>
                  </a:lnTo>
                  <a:lnTo>
                    <a:pt x="3468" y="336"/>
                  </a:lnTo>
                  <a:lnTo>
                    <a:pt x="3474" y="324"/>
                  </a:lnTo>
                  <a:lnTo>
                    <a:pt x="3486" y="312"/>
                  </a:lnTo>
                  <a:lnTo>
                    <a:pt x="3420" y="312"/>
                  </a:lnTo>
                  <a:lnTo>
                    <a:pt x="3408" y="318"/>
                  </a:lnTo>
                  <a:lnTo>
                    <a:pt x="3390" y="318"/>
                  </a:lnTo>
                  <a:lnTo>
                    <a:pt x="3378" y="324"/>
                  </a:lnTo>
                  <a:lnTo>
                    <a:pt x="3366" y="336"/>
                  </a:lnTo>
                  <a:lnTo>
                    <a:pt x="3348" y="336"/>
                  </a:lnTo>
                  <a:lnTo>
                    <a:pt x="3318" y="342"/>
                  </a:lnTo>
                  <a:lnTo>
                    <a:pt x="3276" y="342"/>
                  </a:lnTo>
                  <a:lnTo>
                    <a:pt x="3246" y="348"/>
                  </a:lnTo>
                  <a:lnTo>
                    <a:pt x="3234" y="354"/>
                  </a:lnTo>
                  <a:lnTo>
                    <a:pt x="3216" y="354"/>
                  </a:lnTo>
                  <a:lnTo>
                    <a:pt x="3204" y="360"/>
                  </a:lnTo>
                  <a:lnTo>
                    <a:pt x="3186" y="360"/>
                  </a:lnTo>
                  <a:lnTo>
                    <a:pt x="3180" y="366"/>
                  </a:lnTo>
                  <a:lnTo>
                    <a:pt x="3174" y="366"/>
                  </a:lnTo>
                  <a:lnTo>
                    <a:pt x="3132" y="396"/>
                  </a:lnTo>
                  <a:lnTo>
                    <a:pt x="3114" y="396"/>
                  </a:lnTo>
                  <a:lnTo>
                    <a:pt x="3108" y="402"/>
                  </a:lnTo>
                  <a:lnTo>
                    <a:pt x="3102" y="402"/>
                  </a:lnTo>
                  <a:lnTo>
                    <a:pt x="3096" y="408"/>
                  </a:lnTo>
                  <a:lnTo>
                    <a:pt x="3102" y="414"/>
                  </a:lnTo>
                  <a:lnTo>
                    <a:pt x="3120" y="426"/>
                  </a:lnTo>
                  <a:lnTo>
                    <a:pt x="3132" y="438"/>
                  </a:lnTo>
                  <a:lnTo>
                    <a:pt x="3150" y="444"/>
                  </a:lnTo>
                  <a:lnTo>
                    <a:pt x="3156" y="450"/>
                  </a:lnTo>
                  <a:lnTo>
                    <a:pt x="3162" y="450"/>
                  </a:lnTo>
                  <a:lnTo>
                    <a:pt x="3120" y="462"/>
                  </a:lnTo>
                  <a:lnTo>
                    <a:pt x="3096" y="474"/>
                  </a:lnTo>
                  <a:lnTo>
                    <a:pt x="2994" y="474"/>
                  </a:lnTo>
                  <a:lnTo>
                    <a:pt x="2988" y="480"/>
                  </a:lnTo>
                  <a:lnTo>
                    <a:pt x="2952" y="468"/>
                  </a:lnTo>
                  <a:lnTo>
                    <a:pt x="2934" y="474"/>
                  </a:lnTo>
                  <a:lnTo>
                    <a:pt x="2880" y="474"/>
                  </a:lnTo>
                  <a:lnTo>
                    <a:pt x="2874" y="480"/>
                  </a:lnTo>
                  <a:lnTo>
                    <a:pt x="2874" y="498"/>
                  </a:lnTo>
                  <a:lnTo>
                    <a:pt x="2880" y="510"/>
                  </a:lnTo>
                  <a:lnTo>
                    <a:pt x="2892" y="522"/>
                  </a:lnTo>
                  <a:lnTo>
                    <a:pt x="2898" y="522"/>
                  </a:lnTo>
                  <a:lnTo>
                    <a:pt x="2904" y="528"/>
                  </a:lnTo>
                  <a:lnTo>
                    <a:pt x="2910" y="540"/>
                  </a:lnTo>
                  <a:lnTo>
                    <a:pt x="2916" y="546"/>
                  </a:lnTo>
                  <a:lnTo>
                    <a:pt x="2922" y="546"/>
                  </a:lnTo>
                  <a:lnTo>
                    <a:pt x="2928" y="552"/>
                  </a:lnTo>
                  <a:lnTo>
                    <a:pt x="2940" y="552"/>
                  </a:lnTo>
                  <a:lnTo>
                    <a:pt x="2952" y="558"/>
                  </a:lnTo>
                  <a:lnTo>
                    <a:pt x="2964" y="558"/>
                  </a:lnTo>
                  <a:lnTo>
                    <a:pt x="2976" y="564"/>
                  </a:lnTo>
                  <a:lnTo>
                    <a:pt x="2994" y="564"/>
                  </a:lnTo>
                  <a:lnTo>
                    <a:pt x="3012" y="570"/>
                  </a:lnTo>
                  <a:lnTo>
                    <a:pt x="3024" y="570"/>
                  </a:lnTo>
                  <a:lnTo>
                    <a:pt x="3036" y="576"/>
                  </a:lnTo>
                  <a:lnTo>
                    <a:pt x="3042" y="576"/>
                  </a:lnTo>
                  <a:lnTo>
                    <a:pt x="3054" y="588"/>
                  </a:lnTo>
                  <a:lnTo>
                    <a:pt x="3054" y="594"/>
                  </a:lnTo>
                  <a:lnTo>
                    <a:pt x="3060" y="600"/>
                  </a:lnTo>
                  <a:lnTo>
                    <a:pt x="3030" y="600"/>
                  </a:lnTo>
                  <a:lnTo>
                    <a:pt x="3012" y="606"/>
                  </a:lnTo>
                  <a:lnTo>
                    <a:pt x="3000" y="606"/>
                  </a:lnTo>
                  <a:lnTo>
                    <a:pt x="2964" y="588"/>
                  </a:lnTo>
                  <a:lnTo>
                    <a:pt x="2928" y="576"/>
                  </a:lnTo>
                  <a:lnTo>
                    <a:pt x="2904" y="570"/>
                  </a:lnTo>
                  <a:lnTo>
                    <a:pt x="2886" y="564"/>
                  </a:lnTo>
                  <a:lnTo>
                    <a:pt x="2862" y="564"/>
                  </a:lnTo>
                  <a:lnTo>
                    <a:pt x="2844" y="558"/>
                  </a:lnTo>
                  <a:lnTo>
                    <a:pt x="2802" y="558"/>
                  </a:lnTo>
                  <a:lnTo>
                    <a:pt x="2796" y="564"/>
                  </a:lnTo>
                  <a:lnTo>
                    <a:pt x="2796" y="576"/>
                  </a:lnTo>
                  <a:lnTo>
                    <a:pt x="2802" y="582"/>
                  </a:lnTo>
                  <a:lnTo>
                    <a:pt x="2808" y="582"/>
                  </a:lnTo>
                  <a:lnTo>
                    <a:pt x="2820" y="594"/>
                  </a:lnTo>
                  <a:lnTo>
                    <a:pt x="2784" y="594"/>
                  </a:lnTo>
                  <a:lnTo>
                    <a:pt x="2772" y="582"/>
                  </a:lnTo>
                  <a:lnTo>
                    <a:pt x="2754" y="582"/>
                  </a:lnTo>
                  <a:lnTo>
                    <a:pt x="2748" y="576"/>
                  </a:lnTo>
                  <a:lnTo>
                    <a:pt x="2724" y="576"/>
                  </a:lnTo>
                  <a:lnTo>
                    <a:pt x="2724" y="582"/>
                  </a:lnTo>
                  <a:lnTo>
                    <a:pt x="2730" y="600"/>
                  </a:lnTo>
                  <a:lnTo>
                    <a:pt x="2736" y="612"/>
                  </a:lnTo>
                  <a:lnTo>
                    <a:pt x="2748" y="618"/>
                  </a:lnTo>
                  <a:lnTo>
                    <a:pt x="2766" y="624"/>
                  </a:lnTo>
                  <a:lnTo>
                    <a:pt x="2802" y="624"/>
                  </a:lnTo>
                  <a:lnTo>
                    <a:pt x="2820" y="630"/>
                  </a:lnTo>
                  <a:lnTo>
                    <a:pt x="2844" y="630"/>
                  </a:lnTo>
                  <a:lnTo>
                    <a:pt x="2856" y="636"/>
                  </a:lnTo>
                  <a:lnTo>
                    <a:pt x="2862" y="648"/>
                  </a:lnTo>
                  <a:lnTo>
                    <a:pt x="2874" y="654"/>
                  </a:lnTo>
                  <a:lnTo>
                    <a:pt x="2844" y="654"/>
                  </a:lnTo>
                  <a:lnTo>
                    <a:pt x="2838" y="648"/>
                  </a:lnTo>
                  <a:lnTo>
                    <a:pt x="2826" y="642"/>
                  </a:lnTo>
                  <a:lnTo>
                    <a:pt x="2772" y="642"/>
                  </a:lnTo>
                  <a:lnTo>
                    <a:pt x="2760" y="636"/>
                  </a:lnTo>
                  <a:lnTo>
                    <a:pt x="2730" y="636"/>
                  </a:lnTo>
                  <a:lnTo>
                    <a:pt x="2724" y="624"/>
                  </a:lnTo>
                  <a:lnTo>
                    <a:pt x="2700" y="624"/>
                  </a:lnTo>
                  <a:lnTo>
                    <a:pt x="2694" y="606"/>
                  </a:lnTo>
                  <a:lnTo>
                    <a:pt x="2664" y="594"/>
                  </a:lnTo>
                  <a:lnTo>
                    <a:pt x="2670" y="588"/>
                  </a:lnTo>
                  <a:lnTo>
                    <a:pt x="2682" y="582"/>
                  </a:lnTo>
                  <a:lnTo>
                    <a:pt x="2688" y="576"/>
                  </a:lnTo>
                  <a:lnTo>
                    <a:pt x="2688" y="564"/>
                  </a:lnTo>
                  <a:lnTo>
                    <a:pt x="2658" y="534"/>
                  </a:lnTo>
                  <a:lnTo>
                    <a:pt x="2646" y="528"/>
                  </a:lnTo>
                  <a:lnTo>
                    <a:pt x="2616" y="528"/>
                  </a:lnTo>
                  <a:lnTo>
                    <a:pt x="2628" y="534"/>
                  </a:lnTo>
                  <a:lnTo>
                    <a:pt x="2652" y="558"/>
                  </a:lnTo>
                  <a:lnTo>
                    <a:pt x="2640" y="570"/>
                  </a:lnTo>
                  <a:lnTo>
                    <a:pt x="2616" y="582"/>
                  </a:lnTo>
                  <a:lnTo>
                    <a:pt x="2604" y="582"/>
                  </a:lnTo>
                  <a:lnTo>
                    <a:pt x="2586" y="624"/>
                  </a:lnTo>
                  <a:lnTo>
                    <a:pt x="2658" y="660"/>
                  </a:lnTo>
                  <a:lnTo>
                    <a:pt x="2676" y="660"/>
                  </a:lnTo>
                  <a:lnTo>
                    <a:pt x="2676" y="696"/>
                  </a:lnTo>
                  <a:lnTo>
                    <a:pt x="2670" y="708"/>
                  </a:lnTo>
                  <a:lnTo>
                    <a:pt x="2670" y="720"/>
                  </a:lnTo>
                  <a:lnTo>
                    <a:pt x="2676" y="738"/>
                  </a:lnTo>
                  <a:lnTo>
                    <a:pt x="2712" y="744"/>
                  </a:lnTo>
                  <a:lnTo>
                    <a:pt x="2712" y="768"/>
                  </a:lnTo>
                  <a:lnTo>
                    <a:pt x="2772" y="780"/>
                  </a:lnTo>
                  <a:lnTo>
                    <a:pt x="2778" y="780"/>
                  </a:lnTo>
                  <a:lnTo>
                    <a:pt x="2784" y="774"/>
                  </a:lnTo>
                  <a:lnTo>
                    <a:pt x="2796" y="774"/>
                  </a:lnTo>
                  <a:lnTo>
                    <a:pt x="2814" y="768"/>
                  </a:lnTo>
                  <a:lnTo>
                    <a:pt x="2850" y="768"/>
                  </a:lnTo>
                  <a:lnTo>
                    <a:pt x="2868" y="774"/>
                  </a:lnTo>
                  <a:lnTo>
                    <a:pt x="2874" y="780"/>
                  </a:lnTo>
                  <a:lnTo>
                    <a:pt x="2886" y="786"/>
                  </a:lnTo>
                  <a:lnTo>
                    <a:pt x="2904" y="786"/>
                  </a:lnTo>
                  <a:lnTo>
                    <a:pt x="2916" y="792"/>
                  </a:lnTo>
                  <a:lnTo>
                    <a:pt x="2952" y="804"/>
                  </a:lnTo>
                  <a:lnTo>
                    <a:pt x="2976" y="828"/>
                  </a:lnTo>
                  <a:lnTo>
                    <a:pt x="2976" y="834"/>
                  </a:lnTo>
                  <a:lnTo>
                    <a:pt x="2964" y="834"/>
                  </a:lnTo>
                  <a:lnTo>
                    <a:pt x="2958" y="840"/>
                  </a:lnTo>
                  <a:lnTo>
                    <a:pt x="2946" y="840"/>
                  </a:lnTo>
                  <a:lnTo>
                    <a:pt x="2940" y="846"/>
                  </a:lnTo>
                  <a:lnTo>
                    <a:pt x="2946" y="852"/>
                  </a:lnTo>
                  <a:lnTo>
                    <a:pt x="2958" y="858"/>
                  </a:lnTo>
                  <a:lnTo>
                    <a:pt x="2976" y="876"/>
                  </a:lnTo>
                  <a:lnTo>
                    <a:pt x="3024" y="876"/>
                  </a:lnTo>
                  <a:lnTo>
                    <a:pt x="3012" y="882"/>
                  </a:lnTo>
                  <a:lnTo>
                    <a:pt x="3006" y="882"/>
                  </a:lnTo>
                  <a:lnTo>
                    <a:pt x="2994" y="888"/>
                  </a:lnTo>
                  <a:lnTo>
                    <a:pt x="2970" y="888"/>
                  </a:lnTo>
                  <a:lnTo>
                    <a:pt x="2958" y="882"/>
                  </a:lnTo>
                  <a:lnTo>
                    <a:pt x="2952" y="876"/>
                  </a:lnTo>
                  <a:lnTo>
                    <a:pt x="2940" y="870"/>
                  </a:lnTo>
                  <a:lnTo>
                    <a:pt x="2940" y="858"/>
                  </a:lnTo>
                  <a:lnTo>
                    <a:pt x="2928" y="834"/>
                  </a:lnTo>
                  <a:lnTo>
                    <a:pt x="2916" y="822"/>
                  </a:lnTo>
                  <a:lnTo>
                    <a:pt x="2892" y="810"/>
                  </a:lnTo>
                  <a:lnTo>
                    <a:pt x="2886" y="804"/>
                  </a:lnTo>
                  <a:lnTo>
                    <a:pt x="2880" y="804"/>
                  </a:lnTo>
                  <a:lnTo>
                    <a:pt x="2874" y="798"/>
                  </a:lnTo>
                  <a:lnTo>
                    <a:pt x="2874" y="786"/>
                  </a:lnTo>
                  <a:lnTo>
                    <a:pt x="2868" y="780"/>
                  </a:lnTo>
                  <a:lnTo>
                    <a:pt x="2844" y="780"/>
                  </a:lnTo>
                  <a:lnTo>
                    <a:pt x="2832" y="786"/>
                  </a:lnTo>
                  <a:lnTo>
                    <a:pt x="2814" y="786"/>
                  </a:lnTo>
                  <a:lnTo>
                    <a:pt x="2802" y="792"/>
                  </a:lnTo>
                  <a:lnTo>
                    <a:pt x="2778" y="792"/>
                  </a:lnTo>
                  <a:lnTo>
                    <a:pt x="2760" y="810"/>
                  </a:lnTo>
                  <a:lnTo>
                    <a:pt x="2766" y="816"/>
                  </a:lnTo>
                  <a:lnTo>
                    <a:pt x="2772" y="828"/>
                  </a:lnTo>
                  <a:lnTo>
                    <a:pt x="2784" y="834"/>
                  </a:lnTo>
                  <a:lnTo>
                    <a:pt x="2802" y="852"/>
                  </a:lnTo>
                  <a:lnTo>
                    <a:pt x="2814" y="858"/>
                  </a:lnTo>
                  <a:lnTo>
                    <a:pt x="2814" y="864"/>
                  </a:lnTo>
                  <a:lnTo>
                    <a:pt x="2790" y="888"/>
                  </a:lnTo>
                  <a:lnTo>
                    <a:pt x="2784" y="888"/>
                  </a:lnTo>
                  <a:lnTo>
                    <a:pt x="2778" y="930"/>
                  </a:lnTo>
                  <a:lnTo>
                    <a:pt x="2736" y="948"/>
                  </a:lnTo>
                  <a:lnTo>
                    <a:pt x="2736" y="954"/>
                  </a:lnTo>
                  <a:lnTo>
                    <a:pt x="2730" y="966"/>
                  </a:lnTo>
                  <a:lnTo>
                    <a:pt x="2724" y="972"/>
                  </a:lnTo>
                  <a:lnTo>
                    <a:pt x="2694" y="972"/>
                  </a:lnTo>
                  <a:lnTo>
                    <a:pt x="2682" y="966"/>
                  </a:lnTo>
                  <a:lnTo>
                    <a:pt x="2652" y="966"/>
                  </a:lnTo>
                  <a:lnTo>
                    <a:pt x="2592" y="960"/>
                  </a:lnTo>
                  <a:lnTo>
                    <a:pt x="2586" y="960"/>
                  </a:lnTo>
                  <a:lnTo>
                    <a:pt x="2580" y="954"/>
                  </a:lnTo>
                  <a:lnTo>
                    <a:pt x="2568" y="948"/>
                  </a:lnTo>
                  <a:lnTo>
                    <a:pt x="2556" y="948"/>
                  </a:lnTo>
                  <a:lnTo>
                    <a:pt x="2544" y="936"/>
                  </a:lnTo>
                  <a:lnTo>
                    <a:pt x="2598" y="936"/>
                  </a:lnTo>
                  <a:lnTo>
                    <a:pt x="2616" y="942"/>
                  </a:lnTo>
                  <a:lnTo>
                    <a:pt x="2640" y="924"/>
                  </a:lnTo>
                  <a:lnTo>
                    <a:pt x="2652" y="924"/>
                  </a:lnTo>
                  <a:lnTo>
                    <a:pt x="2664" y="930"/>
                  </a:lnTo>
                  <a:lnTo>
                    <a:pt x="2682" y="930"/>
                  </a:lnTo>
                  <a:lnTo>
                    <a:pt x="2694" y="924"/>
                  </a:lnTo>
                  <a:lnTo>
                    <a:pt x="2694" y="906"/>
                  </a:lnTo>
                  <a:lnTo>
                    <a:pt x="2700" y="894"/>
                  </a:lnTo>
                  <a:lnTo>
                    <a:pt x="2700" y="882"/>
                  </a:lnTo>
                  <a:lnTo>
                    <a:pt x="2724" y="876"/>
                  </a:lnTo>
                  <a:lnTo>
                    <a:pt x="2724" y="852"/>
                  </a:lnTo>
                  <a:lnTo>
                    <a:pt x="2712" y="852"/>
                  </a:lnTo>
                  <a:lnTo>
                    <a:pt x="2718" y="846"/>
                  </a:lnTo>
                  <a:lnTo>
                    <a:pt x="2724" y="834"/>
                  </a:lnTo>
                  <a:lnTo>
                    <a:pt x="2724" y="822"/>
                  </a:lnTo>
                  <a:lnTo>
                    <a:pt x="2718" y="816"/>
                  </a:lnTo>
                  <a:lnTo>
                    <a:pt x="2712" y="816"/>
                  </a:lnTo>
                  <a:lnTo>
                    <a:pt x="2700" y="810"/>
                  </a:lnTo>
                  <a:lnTo>
                    <a:pt x="2682" y="810"/>
                  </a:lnTo>
                  <a:lnTo>
                    <a:pt x="2664" y="804"/>
                  </a:lnTo>
                  <a:lnTo>
                    <a:pt x="2652" y="804"/>
                  </a:lnTo>
                  <a:lnTo>
                    <a:pt x="2634" y="786"/>
                  </a:lnTo>
                  <a:lnTo>
                    <a:pt x="2634" y="744"/>
                  </a:lnTo>
                  <a:lnTo>
                    <a:pt x="2628" y="732"/>
                  </a:lnTo>
                  <a:lnTo>
                    <a:pt x="2616" y="720"/>
                  </a:lnTo>
                  <a:lnTo>
                    <a:pt x="2604" y="714"/>
                  </a:lnTo>
                  <a:lnTo>
                    <a:pt x="2598" y="702"/>
                  </a:lnTo>
                  <a:lnTo>
                    <a:pt x="2592" y="696"/>
                  </a:lnTo>
                  <a:lnTo>
                    <a:pt x="2586" y="660"/>
                  </a:lnTo>
                  <a:lnTo>
                    <a:pt x="2520" y="624"/>
                  </a:lnTo>
                  <a:lnTo>
                    <a:pt x="2532" y="612"/>
                  </a:lnTo>
                  <a:lnTo>
                    <a:pt x="2544" y="588"/>
                  </a:lnTo>
                  <a:lnTo>
                    <a:pt x="2544" y="576"/>
                  </a:lnTo>
                  <a:lnTo>
                    <a:pt x="2538" y="564"/>
                  </a:lnTo>
                  <a:lnTo>
                    <a:pt x="2514" y="540"/>
                  </a:lnTo>
                  <a:lnTo>
                    <a:pt x="2496" y="540"/>
                  </a:lnTo>
                  <a:lnTo>
                    <a:pt x="2484" y="534"/>
                  </a:lnTo>
                  <a:lnTo>
                    <a:pt x="2472" y="534"/>
                  </a:lnTo>
                  <a:lnTo>
                    <a:pt x="2340" y="522"/>
                  </a:lnTo>
                  <a:lnTo>
                    <a:pt x="2328" y="552"/>
                  </a:lnTo>
                  <a:lnTo>
                    <a:pt x="2346" y="570"/>
                  </a:lnTo>
                  <a:lnTo>
                    <a:pt x="2334" y="600"/>
                  </a:lnTo>
                  <a:lnTo>
                    <a:pt x="2280" y="624"/>
                  </a:lnTo>
                  <a:lnTo>
                    <a:pt x="2268" y="654"/>
                  </a:lnTo>
                  <a:lnTo>
                    <a:pt x="2304" y="660"/>
                  </a:lnTo>
                  <a:lnTo>
                    <a:pt x="2334" y="708"/>
                  </a:lnTo>
                  <a:lnTo>
                    <a:pt x="2322" y="726"/>
                  </a:lnTo>
                  <a:lnTo>
                    <a:pt x="2352" y="750"/>
                  </a:lnTo>
                  <a:lnTo>
                    <a:pt x="2388" y="744"/>
                  </a:lnTo>
                  <a:lnTo>
                    <a:pt x="2394" y="750"/>
                  </a:lnTo>
                  <a:lnTo>
                    <a:pt x="2400" y="762"/>
                  </a:lnTo>
                  <a:lnTo>
                    <a:pt x="2412" y="768"/>
                  </a:lnTo>
                  <a:lnTo>
                    <a:pt x="2418" y="774"/>
                  </a:lnTo>
                  <a:lnTo>
                    <a:pt x="2430" y="780"/>
                  </a:lnTo>
                  <a:lnTo>
                    <a:pt x="2472" y="780"/>
                  </a:lnTo>
                  <a:lnTo>
                    <a:pt x="2466" y="840"/>
                  </a:lnTo>
                  <a:lnTo>
                    <a:pt x="2448" y="816"/>
                  </a:lnTo>
                  <a:lnTo>
                    <a:pt x="2430" y="828"/>
                  </a:lnTo>
                  <a:lnTo>
                    <a:pt x="2418" y="822"/>
                  </a:lnTo>
                  <a:lnTo>
                    <a:pt x="2388" y="804"/>
                  </a:lnTo>
                  <a:lnTo>
                    <a:pt x="2352" y="792"/>
                  </a:lnTo>
                  <a:lnTo>
                    <a:pt x="2328" y="780"/>
                  </a:lnTo>
                  <a:lnTo>
                    <a:pt x="2268" y="780"/>
                  </a:lnTo>
                  <a:lnTo>
                    <a:pt x="2250" y="762"/>
                  </a:lnTo>
                  <a:lnTo>
                    <a:pt x="2244" y="780"/>
                  </a:lnTo>
                  <a:lnTo>
                    <a:pt x="2220" y="756"/>
                  </a:lnTo>
                  <a:lnTo>
                    <a:pt x="2214" y="756"/>
                  </a:lnTo>
                  <a:lnTo>
                    <a:pt x="2208" y="750"/>
                  </a:lnTo>
                  <a:lnTo>
                    <a:pt x="2196" y="744"/>
                  </a:lnTo>
                  <a:lnTo>
                    <a:pt x="2178" y="744"/>
                  </a:lnTo>
                  <a:lnTo>
                    <a:pt x="2154" y="732"/>
                  </a:lnTo>
                  <a:lnTo>
                    <a:pt x="2130" y="732"/>
                  </a:lnTo>
                  <a:lnTo>
                    <a:pt x="2118" y="738"/>
                  </a:lnTo>
                  <a:lnTo>
                    <a:pt x="2088" y="738"/>
                  </a:lnTo>
                  <a:lnTo>
                    <a:pt x="2076" y="732"/>
                  </a:lnTo>
                  <a:lnTo>
                    <a:pt x="2022" y="732"/>
                  </a:lnTo>
                  <a:lnTo>
                    <a:pt x="2016" y="738"/>
                  </a:lnTo>
                  <a:lnTo>
                    <a:pt x="2010" y="738"/>
                  </a:lnTo>
                  <a:lnTo>
                    <a:pt x="2004" y="744"/>
                  </a:lnTo>
                  <a:lnTo>
                    <a:pt x="2004" y="750"/>
                  </a:lnTo>
                  <a:lnTo>
                    <a:pt x="2016" y="762"/>
                  </a:lnTo>
                  <a:lnTo>
                    <a:pt x="2028" y="768"/>
                  </a:lnTo>
                  <a:lnTo>
                    <a:pt x="2040" y="780"/>
                  </a:lnTo>
                  <a:lnTo>
                    <a:pt x="2046" y="780"/>
                  </a:lnTo>
                  <a:lnTo>
                    <a:pt x="2022" y="810"/>
                  </a:lnTo>
                  <a:lnTo>
                    <a:pt x="2010" y="798"/>
                  </a:lnTo>
                  <a:lnTo>
                    <a:pt x="2010" y="828"/>
                  </a:lnTo>
                  <a:lnTo>
                    <a:pt x="1998" y="828"/>
                  </a:lnTo>
                  <a:lnTo>
                    <a:pt x="1986" y="822"/>
                  </a:lnTo>
                  <a:lnTo>
                    <a:pt x="1980" y="822"/>
                  </a:lnTo>
                  <a:lnTo>
                    <a:pt x="1974" y="816"/>
                  </a:lnTo>
                  <a:lnTo>
                    <a:pt x="1974" y="786"/>
                  </a:lnTo>
                  <a:lnTo>
                    <a:pt x="1968" y="780"/>
                  </a:lnTo>
                  <a:lnTo>
                    <a:pt x="1950" y="780"/>
                  </a:lnTo>
                  <a:lnTo>
                    <a:pt x="1938" y="786"/>
                  </a:lnTo>
                  <a:lnTo>
                    <a:pt x="1920" y="792"/>
                  </a:lnTo>
                  <a:lnTo>
                    <a:pt x="1908" y="804"/>
                  </a:lnTo>
                  <a:lnTo>
                    <a:pt x="1884" y="816"/>
                  </a:lnTo>
                  <a:lnTo>
                    <a:pt x="1866" y="816"/>
                  </a:lnTo>
                  <a:lnTo>
                    <a:pt x="1842" y="804"/>
                  </a:lnTo>
                  <a:lnTo>
                    <a:pt x="1824" y="804"/>
                  </a:lnTo>
                  <a:lnTo>
                    <a:pt x="1800" y="810"/>
                  </a:lnTo>
                  <a:lnTo>
                    <a:pt x="1782" y="816"/>
                  </a:lnTo>
                  <a:lnTo>
                    <a:pt x="1764" y="828"/>
                  </a:lnTo>
                  <a:lnTo>
                    <a:pt x="1752" y="834"/>
                  </a:lnTo>
                  <a:lnTo>
                    <a:pt x="1746" y="840"/>
                  </a:lnTo>
                  <a:lnTo>
                    <a:pt x="1680" y="840"/>
                  </a:lnTo>
                  <a:lnTo>
                    <a:pt x="1692" y="816"/>
                  </a:lnTo>
                  <a:lnTo>
                    <a:pt x="1692" y="780"/>
                  </a:lnTo>
                  <a:lnTo>
                    <a:pt x="1680" y="780"/>
                  </a:lnTo>
                  <a:lnTo>
                    <a:pt x="1668" y="786"/>
                  </a:lnTo>
                  <a:lnTo>
                    <a:pt x="1650" y="792"/>
                  </a:lnTo>
                  <a:lnTo>
                    <a:pt x="1638" y="792"/>
                  </a:lnTo>
                  <a:lnTo>
                    <a:pt x="1626" y="804"/>
                  </a:lnTo>
                  <a:lnTo>
                    <a:pt x="1626" y="816"/>
                  </a:lnTo>
                  <a:lnTo>
                    <a:pt x="1632" y="822"/>
                  </a:lnTo>
                  <a:lnTo>
                    <a:pt x="1632" y="828"/>
                  </a:lnTo>
                  <a:lnTo>
                    <a:pt x="1608" y="834"/>
                  </a:lnTo>
                  <a:lnTo>
                    <a:pt x="1608" y="810"/>
                  </a:lnTo>
                  <a:lnTo>
                    <a:pt x="1584" y="816"/>
                  </a:lnTo>
                  <a:lnTo>
                    <a:pt x="1530" y="822"/>
                  </a:lnTo>
                  <a:lnTo>
                    <a:pt x="1488" y="852"/>
                  </a:lnTo>
                  <a:lnTo>
                    <a:pt x="1440" y="858"/>
                  </a:lnTo>
                  <a:lnTo>
                    <a:pt x="1452" y="876"/>
                  </a:lnTo>
                  <a:lnTo>
                    <a:pt x="1440" y="876"/>
                  </a:lnTo>
                  <a:lnTo>
                    <a:pt x="1428" y="870"/>
                  </a:lnTo>
                  <a:lnTo>
                    <a:pt x="1422" y="870"/>
                  </a:lnTo>
                  <a:lnTo>
                    <a:pt x="1410" y="876"/>
                  </a:lnTo>
                  <a:lnTo>
                    <a:pt x="1404" y="882"/>
                  </a:lnTo>
                  <a:lnTo>
                    <a:pt x="1404" y="924"/>
                  </a:lnTo>
                  <a:lnTo>
                    <a:pt x="1332" y="930"/>
                  </a:lnTo>
                  <a:lnTo>
                    <a:pt x="1326" y="924"/>
                  </a:lnTo>
                  <a:lnTo>
                    <a:pt x="1314" y="918"/>
                  </a:lnTo>
                  <a:lnTo>
                    <a:pt x="1308" y="912"/>
                  </a:lnTo>
                  <a:lnTo>
                    <a:pt x="1266" y="912"/>
                  </a:lnTo>
                  <a:lnTo>
                    <a:pt x="1260" y="906"/>
                  </a:lnTo>
                  <a:lnTo>
                    <a:pt x="1260" y="876"/>
                  </a:lnTo>
                  <a:lnTo>
                    <a:pt x="1266" y="870"/>
                  </a:lnTo>
                  <a:lnTo>
                    <a:pt x="1266" y="864"/>
                  </a:lnTo>
                  <a:lnTo>
                    <a:pt x="1272" y="858"/>
                  </a:lnTo>
                  <a:lnTo>
                    <a:pt x="1284" y="864"/>
                  </a:lnTo>
                  <a:lnTo>
                    <a:pt x="1344" y="864"/>
                  </a:lnTo>
                  <a:lnTo>
                    <a:pt x="1332" y="858"/>
                  </a:lnTo>
                  <a:lnTo>
                    <a:pt x="1326" y="846"/>
                  </a:lnTo>
                  <a:lnTo>
                    <a:pt x="1314" y="840"/>
                  </a:lnTo>
                  <a:lnTo>
                    <a:pt x="1302" y="828"/>
                  </a:lnTo>
                  <a:lnTo>
                    <a:pt x="1290" y="822"/>
                  </a:lnTo>
                  <a:lnTo>
                    <a:pt x="1278" y="810"/>
                  </a:lnTo>
                  <a:lnTo>
                    <a:pt x="1152" y="810"/>
                  </a:lnTo>
                  <a:lnTo>
                    <a:pt x="1164" y="822"/>
                  </a:lnTo>
                  <a:lnTo>
                    <a:pt x="1188" y="822"/>
                  </a:lnTo>
                  <a:lnTo>
                    <a:pt x="1200" y="828"/>
                  </a:lnTo>
                  <a:lnTo>
                    <a:pt x="1200" y="846"/>
                  </a:lnTo>
                  <a:lnTo>
                    <a:pt x="1194" y="864"/>
                  </a:lnTo>
                  <a:lnTo>
                    <a:pt x="1194" y="876"/>
                  </a:lnTo>
                  <a:lnTo>
                    <a:pt x="1188" y="894"/>
                  </a:lnTo>
                  <a:lnTo>
                    <a:pt x="1188" y="918"/>
                  </a:lnTo>
                  <a:lnTo>
                    <a:pt x="1194" y="918"/>
                  </a:lnTo>
                  <a:lnTo>
                    <a:pt x="1206" y="924"/>
                  </a:lnTo>
                  <a:lnTo>
                    <a:pt x="1230" y="924"/>
                  </a:lnTo>
                  <a:lnTo>
                    <a:pt x="1236" y="930"/>
                  </a:lnTo>
                  <a:lnTo>
                    <a:pt x="1242" y="930"/>
                  </a:lnTo>
                  <a:lnTo>
                    <a:pt x="1236" y="966"/>
                  </a:lnTo>
                  <a:lnTo>
                    <a:pt x="1248" y="996"/>
                  </a:lnTo>
                  <a:lnTo>
                    <a:pt x="1212" y="972"/>
                  </a:lnTo>
                  <a:lnTo>
                    <a:pt x="1194" y="996"/>
                  </a:lnTo>
                  <a:lnTo>
                    <a:pt x="1188" y="966"/>
                  </a:lnTo>
                  <a:lnTo>
                    <a:pt x="1116" y="948"/>
                  </a:lnTo>
                  <a:lnTo>
                    <a:pt x="1086" y="984"/>
                  </a:lnTo>
                  <a:lnTo>
                    <a:pt x="1062" y="984"/>
                  </a:lnTo>
                  <a:lnTo>
                    <a:pt x="1056" y="996"/>
                  </a:lnTo>
                  <a:lnTo>
                    <a:pt x="1044" y="1002"/>
                  </a:lnTo>
                  <a:lnTo>
                    <a:pt x="1038" y="1008"/>
                  </a:lnTo>
                  <a:lnTo>
                    <a:pt x="1026" y="1014"/>
                  </a:lnTo>
                  <a:lnTo>
                    <a:pt x="1014" y="1014"/>
                  </a:lnTo>
                  <a:lnTo>
                    <a:pt x="1002" y="1020"/>
                  </a:lnTo>
                  <a:lnTo>
                    <a:pt x="1002" y="1032"/>
                  </a:lnTo>
                  <a:lnTo>
                    <a:pt x="1008" y="1038"/>
                  </a:lnTo>
                  <a:lnTo>
                    <a:pt x="1020" y="1044"/>
                  </a:lnTo>
                  <a:lnTo>
                    <a:pt x="1032" y="1056"/>
                  </a:lnTo>
                  <a:lnTo>
                    <a:pt x="1044" y="1062"/>
                  </a:lnTo>
                  <a:lnTo>
                    <a:pt x="1050" y="1068"/>
                  </a:lnTo>
                  <a:lnTo>
                    <a:pt x="1062" y="1074"/>
                  </a:lnTo>
                  <a:lnTo>
                    <a:pt x="1080" y="1104"/>
                  </a:lnTo>
                  <a:lnTo>
                    <a:pt x="1050" y="1086"/>
                  </a:lnTo>
                  <a:lnTo>
                    <a:pt x="1038" y="1092"/>
                  </a:lnTo>
                  <a:lnTo>
                    <a:pt x="1032" y="1098"/>
                  </a:lnTo>
                  <a:lnTo>
                    <a:pt x="1020" y="1098"/>
                  </a:lnTo>
                  <a:lnTo>
                    <a:pt x="1008" y="1092"/>
                  </a:lnTo>
                  <a:lnTo>
                    <a:pt x="996" y="1092"/>
                  </a:lnTo>
                  <a:lnTo>
                    <a:pt x="978" y="1086"/>
                  </a:lnTo>
                  <a:lnTo>
                    <a:pt x="966" y="1080"/>
                  </a:lnTo>
                  <a:lnTo>
                    <a:pt x="948" y="1080"/>
                  </a:lnTo>
                  <a:lnTo>
                    <a:pt x="936" y="1074"/>
                  </a:lnTo>
                  <a:lnTo>
                    <a:pt x="924" y="1074"/>
                  </a:lnTo>
                  <a:lnTo>
                    <a:pt x="918" y="1068"/>
                  </a:lnTo>
                  <a:lnTo>
                    <a:pt x="918" y="1056"/>
                  </a:lnTo>
                  <a:lnTo>
                    <a:pt x="906" y="1050"/>
                  </a:lnTo>
                  <a:lnTo>
                    <a:pt x="888" y="1050"/>
                  </a:lnTo>
                  <a:lnTo>
                    <a:pt x="864" y="1062"/>
                  </a:lnTo>
                  <a:lnTo>
                    <a:pt x="858" y="1068"/>
                  </a:lnTo>
                  <a:lnTo>
                    <a:pt x="840" y="1068"/>
                  </a:lnTo>
                  <a:lnTo>
                    <a:pt x="882" y="1104"/>
                  </a:lnTo>
                  <a:lnTo>
                    <a:pt x="900" y="1104"/>
                  </a:lnTo>
                  <a:lnTo>
                    <a:pt x="912" y="1110"/>
                  </a:lnTo>
                  <a:lnTo>
                    <a:pt x="924" y="1110"/>
                  </a:lnTo>
                  <a:lnTo>
                    <a:pt x="936" y="1116"/>
                  </a:lnTo>
                  <a:lnTo>
                    <a:pt x="942" y="1116"/>
                  </a:lnTo>
                  <a:lnTo>
                    <a:pt x="942" y="1122"/>
                  </a:lnTo>
                  <a:lnTo>
                    <a:pt x="936" y="1134"/>
                  </a:lnTo>
                  <a:lnTo>
                    <a:pt x="924" y="1140"/>
                  </a:lnTo>
                  <a:lnTo>
                    <a:pt x="918" y="1146"/>
                  </a:lnTo>
                  <a:lnTo>
                    <a:pt x="852" y="1128"/>
                  </a:lnTo>
                  <a:lnTo>
                    <a:pt x="840" y="1122"/>
                  </a:lnTo>
                  <a:lnTo>
                    <a:pt x="834" y="1116"/>
                  </a:lnTo>
                  <a:lnTo>
                    <a:pt x="822" y="1110"/>
                  </a:lnTo>
                  <a:lnTo>
                    <a:pt x="762" y="1110"/>
                  </a:lnTo>
                  <a:lnTo>
                    <a:pt x="756" y="1104"/>
                  </a:lnTo>
                  <a:lnTo>
                    <a:pt x="756" y="1056"/>
                  </a:lnTo>
                  <a:lnTo>
                    <a:pt x="738" y="1044"/>
                  </a:lnTo>
                  <a:lnTo>
                    <a:pt x="750" y="1032"/>
                  </a:lnTo>
                  <a:lnTo>
                    <a:pt x="756" y="1020"/>
                  </a:lnTo>
                  <a:lnTo>
                    <a:pt x="756" y="1002"/>
                  </a:lnTo>
                  <a:lnTo>
                    <a:pt x="738" y="990"/>
                  </a:lnTo>
                  <a:lnTo>
                    <a:pt x="702" y="978"/>
                  </a:lnTo>
                  <a:lnTo>
                    <a:pt x="672" y="972"/>
                  </a:lnTo>
                  <a:lnTo>
                    <a:pt x="660" y="966"/>
                  </a:lnTo>
                  <a:lnTo>
                    <a:pt x="630" y="948"/>
                  </a:lnTo>
                  <a:lnTo>
                    <a:pt x="606" y="930"/>
                  </a:lnTo>
                  <a:lnTo>
                    <a:pt x="594" y="912"/>
                  </a:lnTo>
                  <a:lnTo>
                    <a:pt x="630" y="912"/>
                  </a:lnTo>
                  <a:lnTo>
                    <a:pt x="630" y="924"/>
                  </a:lnTo>
                  <a:lnTo>
                    <a:pt x="642" y="924"/>
                  </a:lnTo>
                  <a:lnTo>
                    <a:pt x="654" y="930"/>
                  </a:lnTo>
                  <a:lnTo>
                    <a:pt x="672" y="930"/>
                  </a:lnTo>
                  <a:lnTo>
                    <a:pt x="690" y="936"/>
                  </a:lnTo>
                  <a:lnTo>
                    <a:pt x="720" y="936"/>
                  </a:lnTo>
                  <a:lnTo>
                    <a:pt x="732" y="942"/>
                  </a:lnTo>
                  <a:lnTo>
                    <a:pt x="738" y="954"/>
                  </a:lnTo>
                  <a:lnTo>
                    <a:pt x="762" y="966"/>
                  </a:lnTo>
                  <a:lnTo>
                    <a:pt x="816" y="966"/>
                  </a:lnTo>
                  <a:lnTo>
                    <a:pt x="846" y="972"/>
                  </a:lnTo>
                  <a:lnTo>
                    <a:pt x="858" y="972"/>
                  </a:lnTo>
                  <a:lnTo>
                    <a:pt x="870" y="978"/>
                  </a:lnTo>
                  <a:lnTo>
                    <a:pt x="894" y="984"/>
                  </a:lnTo>
                  <a:lnTo>
                    <a:pt x="930" y="990"/>
                  </a:lnTo>
                  <a:lnTo>
                    <a:pt x="978" y="984"/>
                  </a:lnTo>
                  <a:lnTo>
                    <a:pt x="1026" y="972"/>
                  </a:lnTo>
                  <a:lnTo>
                    <a:pt x="1062" y="954"/>
                  </a:lnTo>
                  <a:lnTo>
                    <a:pt x="1080" y="936"/>
                  </a:lnTo>
                  <a:lnTo>
                    <a:pt x="1074" y="912"/>
                  </a:lnTo>
                  <a:lnTo>
                    <a:pt x="1032" y="870"/>
                  </a:lnTo>
                  <a:lnTo>
                    <a:pt x="1014" y="858"/>
                  </a:lnTo>
                  <a:lnTo>
                    <a:pt x="996" y="852"/>
                  </a:lnTo>
                  <a:lnTo>
                    <a:pt x="948" y="840"/>
                  </a:lnTo>
                  <a:lnTo>
                    <a:pt x="900" y="822"/>
                  </a:lnTo>
                  <a:lnTo>
                    <a:pt x="828" y="798"/>
                  </a:lnTo>
                  <a:lnTo>
                    <a:pt x="792" y="780"/>
                  </a:lnTo>
                  <a:lnTo>
                    <a:pt x="756" y="774"/>
                  </a:lnTo>
                  <a:lnTo>
                    <a:pt x="624" y="774"/>
                  </a:lnTo>
                  <a:lnTo>
                    <a:pt x="612" y="756"/>
                  </a:lnTo>
                  <a:lnTo>
                    <a:pt x="588" y="762"/>
                  </a:lnTo>
                  <a:lnTo>
                    <a:pt x="552" y="744"/>
                  </a:lnTo>
                  <a:lnTo>
                    <a:pt x="588" y="738"/>
                  </a:lnTo>
                  <a:lnTo>
                    <a:pt x="606" y="726"/>
                  </a:lnTo>
                  <a:lnTo>
                    <a:pt x="600" y="726"/>
                  </a:lnTo>
                  <a:lnTo>
                    <a:pt x="594" y="720"/>
                  </a:lnTo>
                  <a:lnTo>
                    <a:pt x="582" y="720"/>
                  </a:lnTo>
                  <a:lnTo>
                    <a:pt x="564" y="714"/>
                  </a:lnTo>
                  <a:lnTo>
                    <a:pt x="546" y="714"/>
                  </a:lnTo>
                  <a:lnTo>
                    <a:pt x="534" y="708"/>
                  </a:lnTo>
                  <a:lnTo>
                    <a:pt x="522" y="720"/>
                  </a:lnTo>
                  <a:lnTo>
                    <a:pt x="522" y="726"/>
                  </a:lnTo>
                  <a:lnTo>
                    <a:pt x="516" y="732"/>
                  </a:lnTo>
                  <a:lnTo>
                    <a:pt x="498" y="732"/>
                  </a:lnTo>
                  <a:lnTo>
                    <a:pt x="486" y="744"/>
                  </a:lnTo>
                  <a:lnTo>
                    <a:pt x="450" y="744"/>
                  </a:lnTo>
                  <a:lnTo>
                    <a:pt x="444" y="756"/>
                  </a:lnTo>
                  <a:lnTo>
                    <a:pt x="420" y="762"/>
                  </a:lnTo>
                  <a:lnTo>
                    <a:pt x="420" y="768"/>
                  </a:lnTo>
                  <a:lnTo>
                    <a:pt x="414" y="780"/>
                  </a:lnTo>
                  <a:lnTo>
                    <a:pt x="390" y="780"/>
                  </a:lnTo>
                  <a:lnTo>
                    <a:pt x="384" y="792"/>
                  </a:lnTo>
                  <a:lnTo>
                    <a:pt x="396" y="804"/>
                  </a:lnTo>
                  <a:lnTo>
                    <a:pt x="396" y="810"/>
                  </a:lnTo>
                  <a:lnTo>
                    <a:pt x="378" y="810"/>
                  </a:lnTo>
                  <a:lnTo>
                    <a:pt x="378" y="822"/>
                  </a:lnTo>
                  <a:lnTo>
                    <a:pt x="384" y="834"/>
                  </a:lnTo>
                  <a:lnTo>
                    <a:pt x="384" y="840"/>
                  </a:lnTo>
                  <a:lnTo>
                    <a:pt x="390" y="846"/>
                  </a:lnTo>
                  <a:lnTo>
                    <a:pt x="396" y="846"/>
                  </a:lnTo>
                  <a:lnTo>
                    <a:pt x="402" y="840"/>
                  </a:lnTo>
                  <a:lnTo>
                    <a:pt x="420" y="840"/>
                  </a:lnTo>
                  <a:lnTo>
                    <a:pt x="468" y="888"/>
                  </a:lnTo>
                  <a:lnTo>
                    <a:pt x="468" y="900"/>
                  </a:lnTo>
                  <a:lnTo>
                    <a:pt x="462" y="900"/>
                  </a:lnTo>
                  <a:lnTo>
                    <a:pt x="450" y="906"/>
                  </a:lnTo>
                  <a:lnTo>
                    <a:pt x="444" y="906"/>
                  </a:lnTo>
                  <a:lnTo>
                    <a:pt x="444" y="918"/>
                  </a:lnTo>
                  <a:lnTo>
                    <a:pt x="438" y="918"/>
                  </a:lnTo>
                  <a:lnTo>
                    <a:pt x="426" y="924"/>
                  </a:lnTo>
                  <a:lnTo>
                    <a:pt x="420" y="930"/>
                  </a:lnTo>
                  <a:lnTo>
                    <a:pt x="438" y="948"/>
                  </a:lnTo>
                  <a:lnTo>
                    <a:pt x="450" y="954"/>
                  </a:lnTo>
                  <a:lnTo>
                    <a:pt x="456" y="966"/>
                  </a:lnTo>
                  <a:lnTo>
                    <a:pt x="468" y="972"/>
                  </a:lnTo>
                  <a:lnTo>
                    <a:pt x="492" y="996"/>
                  </a:lnTo>
                  <a:lnTo>
                    <a:pt x="504" y="1002"/>
                  </a:lnTo>
                  <a:lnTo>
                    <a:pt x="510" y="1008"/>
                  </a:lnTo>
                  <a:lnTo>
                    <a:pt x="510" y="1014"/>
                  </a:lnTo>
                  <a:lnTo>
                    <a:pt x="504" y="1020"/>
                  </a:lnTo>
                  <a:lnTo>
                    <a:pt x="492" y="1020"/>
                  </a:lnTo>
                  <a:lnTo>
                    <a:pt x="480" y="1014"/>
                  </a:lnTo>
                  <a:lnTo>
                    <a:pt x="474" y="1014"/>
                  </a:lnTo>
                  <a:lnTo>
                    <a:pt x="468" y="1044"/>
                  </a:lnTo>
                  <a:lnTo>
                    <a:pt x="480" y="1056"/>
                  </a:lnTo>
                  <a:lnTo>
                    <a:pt x="480" y="1068"/>
                  </a:lnTo>
                  <a:lnTo>
                    <a:pt x="492" y="1068"/>
                  </a:lnTo>
                  <a:lnTo>
                    <a:pt x="498" y="1074"/>
                  </a:lnTo>
                  <a:lnTo>
                    <a:pt x="504" y="1074"/>
                  </a:lnTo>
                  <a:lnTo>
                    <a:pt x="510" y="1080"/>
                  </a:lnTo>
                  <a:lnTo>
                    <a:pt x="510" y="1086"/>
                  </a:lnTo>
                  <a:lnTo>
                    <a:pt x="504" y="1092"/>
                  </a:lnTo>
                  <a:lnTo>
                    <a:pt x="498" y="1104"/>
                  </a:lnTo>
                  <a:lnTo>
                    <a:pt x="522" y="1110"/>
                  </a:lnTo>
                  <a:lnTo>
                    <a:pt x="534" y="1116"/>
                  </a:lnTo>
                  <a:lnTo>
                    <a:pt x="540" y="1122"/>
                  </a:lnTo>
                  <a:lnTo>
                    <a:pt x="540" y="1128"/>
                  </a:lnTo>
                  <a:lnTo>
                    <a:pt x="516" y="1152"/>
                  </a:lnTo>
                  <a:lnTo>
                    <a:pt x="510" y="1152"/>
                  </a:lnTo>
                  <a:lnTo>
                    <a:pt x="582" y="1188"/>
                  </a:lnTo>
                  <a:lnTo>
                    <a:pt x="588" y="1200"/>
                  </a:lnTo>
                  <a:lnTo>
                    <a:pt x="594" y="1206"/>
                  </a:lnTo>
                  <a:lnTo>
                    <a:pt x="600" y="1218"/>
                  </a:lnTo>
                  <a:lnTo>
                    <a:pt x="600" y="1230"/>
                  </a:lnTo>
                  <a:lnTo>
                    <a:pt x="594" y="1236"/>
                  </a:lnTo>
                  <a:lnTo>
                    <a:pt x="588" y="1248"/>
                  </a:lnTo>
                  <a:lnTo>
                    <a:pt x="552" y="1284"/>
                  </a:lnTo>
                  <a:lnTo>
                    <a:pt x="546" y="1284"/>
                  </a:lnTo>
                  <a:lnTo>
                    <a:pt x="486" y="1344"/>
                  </a:lnTo>
                  <a:lnTo>
                    <a:pt x="426" y="1374"/>
                  </a:lnTo>
                  <a:lnTo>
                    <a:pt x="432" y="1386"/>
                  </a:lnTo>
                  <a:lnTo>
                    <a:pt x="462" y="1368"/>
                  </a:lnTo>
                  <a:lnTo>
                    <a:pt x="468" y="1386"/>
                  </a:lnTo>
                  <a:lnTo>
                    <a:pt x="480" y="1398"/>
                  </a:lnTo>
                  <a:lnTo>
                    <a:pt x="492" y="1404"/>
                  </a:lnTo>
                  <a:lnTo>
                    <a:pt x="498" y="1410"/>
                  </a:lnTo>
                  <a:lnTo>
                    <a:pt x="546" y="1410"/>
                  </a:lnTo>
                  <a:lnTo>
                    <a:pt x="558" y="1428"/>
                  </a:lnTo>
                  <a:lnTo>
                    <a:pt x="546" y="1428"/>
                  </a:lnTo>
                  <a:lnTo>
                    <a:pt x="534" y="1422"/>
                  </a:lnTo>
                  <a:lnTo>
                    <a:pt x="504" y="1422"/>
                  </a:lnTo>
                  <a:lnTo>
                    <a:pt x="492" y="1434"/>
                  </a:lnTo>
                  <a:lnTo>
                    <a:pt x="492" y="1440"/>
                  </a:lnTo>
                  <a:lnTo>
                    <a:pt x="456" y="1440"/>
                  </a:lnTo>
                  <a:lnTo>
                    <a:pt x="450" y="1470"/>
                  </a:lnTo>
                  <a:lnTo>
                    <a:pt x="438" y="1470"/>
                  </a:lnTo>
                  <a:lnTo>
                    <a:pt x="432" y="1482"/>
                  </a:lnTo>
                  <a:lnTo>
                    <a:pt x="438" y="1494"/>
                  </a:lnTo>
                  <a:lnTo>
                    <a:pt x="432" y="1500"/>
                  </a:lnTo>
                  <a:lnTo>
                    <a:pt x="426" y="1500"/>
                  </a:lnTo>
                  <a:lnTo>
                    <a:pt x="414" y="1512"/>
                  </a:lnTo>
                  <a:lnTo>
                    <a:pt x="414" y="1530"/>
                  </a:lnTo>
                  <a:lnTo>
                    <a:pt x="432" y="1536"/>
                  </a:lnTo>
                  <a:lnTo>
                    <a:pt x="420" y="1560"/>
                  </a:lnTo>
                  <a:lnTo>
                    <a:pt x="432" y="1566"/>
                  </a:lnTo>
                  <a:lnTo>
                    <a:pt x="444" y="1584"/>
                  </a:lnTo>
                  <a:lnTo>
                    <a:pt x="426" y="1596"/>
                  </a:lnTo>
                  <a:lnTo>
                    <a:pt x="426" y="1608"/>
                  </a:lnTo>
                  <a:lnTo>
                    <a:pt x="432" y="1608"/>
                  </a:lnTo>
                  <a:lnTo>
                    <a:pt x="444" y="1620"/>
                  </a:lnTo>
                  <a:lnTo>
                    <a:pt x="456" y="1626"/>
                  </a:lnTo>
                  <a:lnTo>
                    <a:pt x="462" y="1632"/>
                  </a:lnTo>
                  <a:lnTo>
                    <a:pt x="462" y="1638"/>
                  </a:lnTo>
                  <a:lnTo>
                    <a:pt x="444" y="1638"/>
                  </a:lnTo>
                  <a:lnTo>
                    <a:pt x="438" y="1656"/>
                  </a:lnTo>
                  <a:lnTo>
                    <a:pt x="462" y="1662"/>
                  </a:lnTo>
                  <a:lnTo>
                    <a:pt x="468" y="1668"/>
                  </a:lnTo>
                  <a:lnTo>
                    <a:pt x="474" y="1680"/>
                  </a:lnTo>
                  <a:lnTo>
                    <a:pt x="486" y="1692"/>
                  </a:lnTo>
                  <a:lnTo>
                    <a:pt x="486" y="1716"/>
                  </a:lnTo>
                  <a:lnTo>
                    <a:pt x="510" y="1716"/>
                  </a:lnTo>
                  <a:lnTo>
                    <a:pt x="516" y="1722"/>
                  </a:lnTo>
                  <a:lnTo>
                    <a:pt x="516" y="1728"/>
                  </a:lnTo>
                  <a:lnTo>
                    <a:pt x="528" y="1722"/>
                  </a:lnTo>
                  <a:lnTo>
                    <a:pt x="564" y="1728"/>
                  </a:lnTo>
                  <a:lnTo>
                    <a:pt x="570" y="1746"/>
                  </a:lnTo>
                  <a:lnTo>
                    <a:pt x="600" y="1728"/>
                  </a:lnTo>
                  <a:lnTo>
                    <a:pt x="606" y="1728"/>
                  </a:lnTo>
                  <a:lnTo>
                    <a:pt x="612" y="1734"/>
                  </a:lnTo>
                  <a:lnTo>
                    <a:pt x="648" y="1752"/>
                  </a:lnTo>
                  <a:lnTo>
                    <a:pt x="654" y="1758"/>
                  </a:lnTo>
                  <a:lnTo>
                    <a:pt x="654" y="1770"/>
                  </a:lnTo>
                  <a:lnTo>
                    <a:pt x="648" y="1776"/>
                  </a:lnTo>
                  <a:lnTo>
                    <a:pt x="660" y="1794"/>
                  </a:lnTo>
                  <a:lnTo>
                    <a:pt x="654" y="1812"/>
                  </a:lnTo>
                  <a:lnTo>
                    <a:pt x="660" y="1818"/>
                  </a:lnTo>
                  <a:lnTo>
                    <a:pt x="672" y="1824"/>
                  </a:lnTo>
                  <a:lnTo>
                    <a:pt x="690" y="1842"/>
                  </a:lnTo>
                  <a:lnTo>
                    <a:pt x="690" y="1854"/>
                  </a:lnTo>
                  <a:lnTo>
                    <a:pt x="720" y="1866"/>
                  </a:lnTo>
                  <a:lnTo>
                    <a:pt x="720" y="1890"/>
                  </a:lnTo>
                  <a:lnTo>
                    <a:pt x="756" y="1890"/>
                  </a:lnTo>
                  <a:lnTo>
                    <a:pt x="762" y="1896"/>
                  </a:lnTo>
                  <a:lnTo>
                    <a:pt x="768" y="1896"/>
                  </a:lnTo>
                  <a:lnTo>
                    <a:pt x="768" y="1902"/>
                  </a:lnTo>
                  <a:lnTo>
                    <a:pt x="762" y="1908"/>
                  </a:lnTo>
                  <a:lnTo>
                    <a:pt x="786" y="1920"/>
                  </a:lnTo>
                  <a:lnTo>
                    <a:pt x="774" y="1926"/>
                  </a:lnTo>
                  <a:lnTo>
                    <a:pt x="768" y="1938"/>
                  </a:lnTo>
                  <a:lnTo>
                    <a:pt x="744" y="1950"/>
                  </a:lnTo>
                  <a:lnTo>
                    <a:pt x="738" y="1950"/>
                  </a:lnTo>
                  <a:lnTo>
                    <a:pt x="732" y="1944"/>
                  </a:lnTo>
                  <a:lnTo>
                    <a:pt x="726" y="1944"/>
                  </a:lnTo>
                  <a:lnTo>
                    <a:pt x="726" y="1938"/>
                  </a:lnTo>
                  <a:lnTo>
                    <a:pt x="702" y="1938"/>
                  </a:lnTo>
                  <a:lnTo>
                    <a:pt x="696" y="1944"/>
                  </a:lnTo>
                  <a:lnTo>
                    <a:pt x="696" y="1950"/>
                  </a:lnTo>
                  <a:lnTo>
                    <a:pt x="720" y="1974"/>
                  </a:lnTo>
                  <a:lnTo>
                    <a:pt x="720" y="1992"/>
                  </a:lnTo>
                  <a:lnTo>
                    <a:pt x="726" y="1998"/>
                  </a:lnTo>
                  <a:lnTo>
                    <a:pt x="732" y="2010"/>
                  </a:lnTo>
                  <a:lnTo>
                    <a:pt x="732" y="2028"/>
                  </a:lnTo>
                  <a:lnTo>
                    <a:pt x="720" y="2028"/>
                  </a:lnTo>
                  <a:lnTo>
                    <a:pt x="714" y="2022"/>
                  </a:lnTo>
                  <a:lnTo>
                    <a:pt x="708" y="2022"/>
                  </a:lnTo>
                  <a:lnTo>
                    <a:pt x="720" y="2028"/>
                  </a:lnTo>
                  <a:lnTo>
                    <a:pt x="768" y="2028"/>
                  </a:lnTo>
                  <a:lnTo>
                    <a:pt x="774" y="2022"/>
                  </a:lnTo>
                  <a:lnTo>
                    <a:pt x="774" y="2010"/>
                  </a:lnTo>
                  <a:lnTo>
                    <a:pt x="804" y="2010"/>
                  </a:lnTo>
                  <a:lnTo>
                    <a:pt x="816" y="2004"/>
                  </a:lnTo>
                  <a:lnTo>
                    <a:pt x="864" y="2004"/>
                  </a:lnTo>
                  <a:lnTo>
                    <a:pt x="870" y="2022"/>
                  </a:lnTo>
                  <a:lnTo>
                    <a:pt x="876" y="2022"/>
                  </a:lnTo>
                  <a:lnTo>
                    <a:pt x="882" y="2028"/>
                  </a:lnTo>
                  <a:lnTo>
                    <a:pt x="894" y="2034"/>
                  </a:lnTo>
                  <a:lnTo>
                    <a:pt x="900" y="2034"/>
                  </a:lnTo>
                  <a:lnTo>
                    <a:pt x="900" y="2046"/>
                  </a:lnTo>
                  <a:lnTo>
                    <a:pt x="894" y="2052"/>
                  </a:lnTo>
                  <a:lnTo>
                    <a:pt x="888" y="2052"/>
                  </a:lnTo>
                  <a:lnTo>
                    <a:pt x="894" y="2070"/>
                  </a:lnTo>
                  <a:lnTo>
                    <a:pt x="894" y="2088"/>
                  </a:lnTo>
                  <a:lnTo>
                    <a:pt x="930" y="2088"/>
                  </a:lnTo>
                  <a:lnTo>
                    <a:pt x="972" y="2106"/>
                  </a:lnTo>
                  <a:lnTo>
                    <a:pt x="984" y="2154"/>
                  </a:lnTo>
                  <a:lnTo>
                    <a:pt x="990" y="2154"/>
                  </a:lnTo>
                  <a:lnTo>
                    <a:pt x="1014" y="2148"/>
                  </a:lnTo>
                  <a:lnTo>
                    <a:pt x="1020" y="2154"/>
                  </a:lnTo>
                  <a:lnTo>
                    <a:pt x="1032" y="2154"/>
                  </a:lnTo>
                  <a:lnTo>
                    <a:pt x="1038" y="2160"/>
                  </a:lnTo>
                  <a:lnTo>
                    <a:pt x="1086" y="2160"/>
                  </a:lnTo>
                  <a:lnTo>
                    <a:pt x="1092" y="2166"/>
                  </a:lnTo>
                  <a:lnTo>
                    <a:pt x="1092" y="2160"/>
                  </a:lnTo>
                  <a:lnTo>
                    <a:pt x="1098" y="2154"/>
                  </a:lnTo>
                  <a:lnTo>
                    <a:pt x="1110" y="2154"/>
                  </a:lnTo>
                  <a:lnTo>
                    <a:pt x="1116" y="2166"/>
                  </a:lnTo>
                  <a:lnTo>
                    <a:pt x="1140" y="2190"/>
                  </a:lnTo>
                  <a:lnTo>
                    <a:pt x="1152" y="2184"/>
                  </a:lnTo>
                  <a:lnTo>
                    <a:pt x="1170" y="2184"/>
                  </a:lnTo>
                  <a:lnTo>
                    <a:pt x="1176" y="2190"/>
                  </a:lnTo>
                  <a:lnTo>
                    <a:pt x="1188" y="2196"/>
                  </a:lnTo>
                  <a:lnTo>
                    <a:pt x="1230" y="2196"/>
                  </a:lnTo>
                  <a:lnTo>
                    <a:pt x="1230" y="2202"/>
                  </a:lnTo>
                  <a:lnTo>
                    <a:pt x="1236" y="2208"/>
                  </a:lnTo>
                  <a:lnTo>
                    <a:pt x="1254" y="2220"/>
                  </a:lnTo>
                  <a:lnTo>
                    <a:pt x="1278" y="2220"/>
                  </a:lnTo>
                  <a:lnTo>
                    <a:pt x="1284" y="2226"/>
                  </a:lnTo>
                  <a:lnTo>
                    <a:pt x="1284" y="2250"/>
                  </a:lnTo>
                  <a:lnTo>
                    <a:pt x="1266" y="2262"/>
                  </a:lnTo>
                  <a:lnTo>
                    <a:pt x="1272" y="2262"/>
                  </a:lnTo>
                  <a:lnTo>
                    <a:pt x="1278" y="2268"/>
                  </a:lnTo>
                  <a:lnTo>
                    <a:pt x="1284" y="2268"/>
                  </a:lnTo>
                  <a:lnTo>
                    <a:pt x="1290" y="2274"/>
                  </a:lnTo>
                  <a:lnTo>
                    <a:pt x="1284" y="2280"/>
                  </a:lnTo>
                  <a:lnTo>
                    <a:pt x="1266" y="2280"/>
                  </a:lnTo>
                  <a:lnTo>
                    <a:pt x="1260" y="2286"/>
                  </a:lnTo>
                  <a:lnTo>
                    <a:pt x="1272" y="2298"/>
                  </a:lnTo>
                  <a:lnTo>
                    <a:pt x="1284" y="2304"/>
                  </a:lnTo>
                  <a:lnTo>
                    <a:pt x="1284" y="2316"/>
                  </a:lnTo>
                  <a:lnTo>
                    <a:pt x="1290" y="2328"/>
                  </a:lnTo>
                  <a:lnTo>
                    <a:pt x="1290" y="2334"/>
                  </a:lnTo>
                  <a:lnTo>
                    <a:pt x="1278" y="2346"/>
                  </a:lnTo>
                  <a:lnTo>
                    <a:pt x="1266" y="2346"/>
                  </a:lnTo>
                  <a:lnTo>
                    <a:pt x="1254" y="2352"/>
                  </a:lnTo>
                  <a:lnTo>
                    <a:pt x="1224" y="2352"/>
                  </a:lnTo>
                  <a:lnTo>
                    <a:pt x="1212" y="2364"/>
                  </a:lnTo>
                  <a:lnTo>
                    <a:pt x="1212" y="2370"/>
                  </a:lnTo>
                  <a:lnTo>
                    <a:pt x="1206" y="2376"/>
                  </a:lnTo>
                  <a:lnTo>
                    <a:pt x="1188" y="2376"/>
                  </a:lnTo>
                  <a:lnTo>
                    <a:pt x="1188" y="2412"/>
                  </a:lnTo>
                  <a:lnTo>
                    <a:pt x="1194" y="2412"/>
                  </a:lnTo>
                  <a:lnTo>
                    <a:pt x="1200" y="2406"/>
                  </a:lnTo>
                  <a:lnTo>
                    <a:pt x="1212" y="2406"/>
                  </a:lnTo>
                  <a:lnTo>
                    <a:pt x="1224" y="2400"/>
                  </a:lnTo>
                  <a:lnTo>
                    <a:pt x="1254" y="2400"/>
                  </a:lnTo>
                  <a:lnTo>
                    <a:pt x="1254" y="2412"/>
                  </a:lnTo>
                  <a:lnTo>
                    <a:pt x="1248" y="2418"/>
                  </a:lnTo>
                  <a:lnTo>
                    <a:pt x="1242" y="2430"/>
                  </a:lnTo>
                  <a:lnTo>
                    <a:pt x="1230" y="2436"/>
                  </a:lnTo>
                  <a:lnTo>
                    <a:pt x="1224" y="2442"/>
                  </a:lnTo>
                  <a:lnTo>
                    <a:pt x="1170" y="2454"/>
                  </a:lnTo>
                  <a:lnTo>
                    <a:pt x="1218" y="2490"/>
                  </a:lnTo>
                  <a:lnTo>
                    <a:pt x="1212" y="2490"/>
                  </a:lnTo>
                  <a:lnTo>
                    <a:pt x="1206" y="2496"/>
                  </a:lnTo>
                  <a:lnTo>
                    <a:pt x="1194" y="2496"/>
                  </a:lnTo>
                  <a:lnTo>
                    <a:pt x="1188" y="2502"/>
                  </a:lnTo>
                  <a:lnTo>
                    <a:pt x="1176" y="2526"/>
                  </a:lnTo>
                  <a:lnTo>
                    <a:pt x="1176" y="2544"/>
                  </a:lnTo>
                  <a:lnTo>
                    <a:pt x="1164" y="2550"/>
                  </a:lnTo>
                  <a:lnTo>
                    <a:pt x="1158" y="2556"/>
                  </a:lnTo>
                  <a:lnTo>
                    <a:pt x="1146" y="2556"/>
                  </a:lnTo>
                  <a:lnTo>
                    <a:pt x="1140" y="2550"/>
                  </a:lnTo>
                  <a:lnTo>
                    <a:pt x="1128" y="2544"/>
                  </a:lnTo>
                  <a:lnTo>
                    <a:pt x="1122" y="2538"/>
                  </a:lnTo>
                  <a:lnTo>
                    <a:pt x="1116" y="2556"/>
                  </a:lnTo>
                  <a:lnTo>
                    <a:pt x="1122" y="2562"/>
                  </a:lnTo>
                  <a:lnTo>
                    <a:pt x="1128" y="2574"/>
                  </a:lnTo>
                  <a:lnTo>
                    <a:pt x="1134" y="2580"/>
                  </a:lnTo>
                  <a:lnTo>
                    <a:pt x="1146" y="2580"/>
                  </a:lnTo>
                  <a:lnTo>
                    <a:pt x="1146" y="2586"/>
                  </a:lnTo>
                  <a:lnTo>
                    <a:pt x="1152" y="2598"/>
                  </a:lnTo>
                  <a:lnTo>
                    <a:pt x="1158" y="2604"/>
                  </a:lnTo>
                  <a:lnTo>
                    <a:pt x="1194" y="2604"/>
                  </a:lnTo>
                  <a:lnTo>
                    <a:pt x="1200" y="2610"/>
                  </a:lnTo>
                  <a:lnTo>
                    <a:pt x="1212" y="2616"/>
                  </a:lnTo>
                  <a:lnTo>
                    <a:pt x="1218" y="2628"/>
                  </a:lnTo>
                  <a:lnTo>
                    <a:pt x="1224" y="2634"/>
                  </a:lnTo>
                  <a:lnTo>
                    <a:pt x="1254" y="2634"/>
                  </a:lnTo>
                  <a:lnTo>
                    <a:pt x="1272" y="2652"/>
                  </a:lnTo>
                  <a:lnTo>
                    <a:pt x="1278" y="2664"/>
                  </a:lnTo>
                  <a:lnTo>
                    <a:pt x="1290" y="2670"/>
                  </a:lnTo>
                  <a:lnTo>
                    <a:pt x="1314" y="2694"/>
                  </a:lnTo>
                  <a:lnTo>
                    <a:pt x="1320" y="2694"/>
                  </a:lnTo>
                  <a:lnTo>
                    <a:pt x="1332" y="2700"/>
                  </a:lnTo>
                  <a:lnTo>
                    <a:pt x="1338" y="2700"/>
                  </a:lnTo>
                  <a:lnTo>
                    <a:pt x="1350" y="2706"/>
                  </a:lnTo>
                  <a:lnTo>
                    <a:pt x="1344" y="2706"/>
                  </a:lnTo>
                  <a:lnTo>
                    <a:pt x="1368" y="2688"/>
                  </a:lnTo>
                  <a:lnTo>
                    <a:pt x="1380" y="2688"/>
                  </a:lnTo>
                  <a:lnTo>
                    <a:pt x="1398" y="2694"/>
                  </a:lnTo>
                  <a:lnTo>
                    <a:pt x="1410" y="2700"/>
                  </a:lnTo>
                  <a:lnTo>
                    <a:pt x="1428" y="2706"/>
                  </a:lnTo>
                  <a:lnTo>
                    <a:pt x="1488" y="2718"/>
                  </a:lnTo>
                  <a:lnTo>
                    <a:pt x="1524" y="2718"/>
                  </a:lnTo>
                  <a:lnTo>
                    <a:pt x="1530" y="2724"/>
                  </a:lnTo>
                  <a:lnTo>
                    <a:pt x="1536" y="2724"/>
                  </a:lnTo>
                  <a:lnTo>
                    <a:pt x="1584" y="2754"/>
                  </a:lnTo>
                  <a:lnTo>
                    <a:pt x="1584" y="2760"/>
                  </a:lnTo>
                  <a:lnTo>
                    <a:pt x="1590" y="2760"/>
                  </a:lnTo>
                  <a:lnTo>
                    <a:pt x="1602" y="2766"/>
                  </a:lnTo>
                  <a:lnTo>
                    <a:pt x="1626" y="2766"/>
                  </a:lnTo>
                  <a:lnTo>
                    <a:pt x="1632" y="2760"/>
                  </a:lnTo>
                  <a:lnTo>
                    <a:pt x="1644" y="2760"/>
                  </a:lnTo>
                  <a:lnTo>
                    <a:pt x="1644" y="2754"/>
                  </a:lnTo>
                  <a:lnTo>
                    <a:pt x="1674" y="2754"/>
                  </a:lnTo>
                  <a:lnTo>
                    <a:pt x="1686" y="2760"/>
                  </a:lnTo>
                  <a:lnTo>
                    <a:pt x="1698" y="2772"/>
                  </a:lnTo>
                  <a:lnTo>
                    <a:pt x="1728" y="2778"/>
                  </a:lnTo>
                  <a:lnTo>
                    <a:pt x="1728" y="2790"/>
                  </a:lnTo>
                  <a:lnTo>
                    <a:pt x="1722" y="2796"/>
                  </a:lnTo>
                  <a:lnTo>
                    <a:pt x="1722" y="2802"/>
                  </a:lnTo>
                  <a:lnTo>
                    <a:pt x="1740" y="2802"/>
                  </a:lnTo>
                  <a:lnTo>
                    <a:pt x="1752" y="2814"/>
                  </a:lnTo>
                  <a:lnTo>
                    <a:pt x="1764" y="2820"/>
                  </a:lnTo>
                  <a:lnTo>
                    <a:pt x="1776" y="2832"/>
                  </a:lnTo>
                  <a:lnTo>
                    <a:pt x="1788" y="2826"/>
                  </a:lnTo>
                  <a:lnTo>
                    <a:pt x="1794" y="2826"/>
                  </a:lnTo>
                  <a:lnTo>
                    <a:pt x="1818" y="2838"/>
                  </a:lnTo>
                  <a:lnTo>
                    <a:pt x="1836" y="2856"/>
                  </a:lnTo>
                  <a:lnTo>
                    <a:pt x="1842" y="2868"/>
                  </a:lnTo>
                  <a:lnTo>
                    <a:pt x="1854" y="2874"/>
                  </a:lnTo>
                  <a:lnTo>
                    <a:pt x="1860" y="2880"/>
                  </a:lnTo>
                  <a:lnTo>
                    <a:pt x="1884" y="2880"/>
                  </a:lnTo>
                  <a:lnTo>
                    <a:pt x="1890" y="2874"/>
                  </a:lnTo>
                  <a:lnTo>
                    <a:pt x="1890" y="2862"/>
                  </a:lnTo>
                  <a:lnTo>
                    <a:pt x="1908" y="2862"/>
                  </a:lnTo>
                  <a:lnTo>
                    <a:pt x="1914" y="2856"/>
                  </a:lnTo>
                  <a:lnTo>
                    <a:pt x="1914" y="2826"/>
                  </a:lnTo>
                  <a:lnTo>
                    <a:pt x="1908" y="2820"/>
                  </a:lnTo>
                  <a:lnTo>
                    <a:pt x="1908" y="2814"/>
                  </a:lnTo>
                  <a:lnTo>
                    <a:pt x="1896" y="2802"/>
                  </a:lnTo>
                  <a:lnTo>
                    <a:pt x="1890" y="2790"/>
                  </a:lnTo>
                  <a:lnTo>
                    <a:pt x="1884" y="2784"/>
                  </a:lnTo>
                  <a:lnTo>
                    <a:pt x="1872" y="2778"/>
                  </a:lnTo>
                  <a:lnTo>
                    <a:pt x="1866" y="2772"/>
                  </a:lnTo>
                  <a:lnTo>
                    <a:pt x="1854" y="2772"/>
                  </a:lnTo>
                  <a:lnTo>
                    <a:pt x="1854" y="2748"/>
                  </a:lnTo>
                  <a:lnTo>
                    <a:pt x="1848" y="2742"/>
                  </a:lnTo>
                  <a:lnTo>
                    <a:pt x="1836" y="2736"/>
                  </a:lnTo>
                  <a:lnTo>
                    <a:pt x="1830" y="2724"/>
                  </a:lnTo>
                  <a:lnTo>
                    <a:pt x="1824" y="2718"/>
                  </a:lnTo>
                  <a:lnTo>
                    <a:pt x="1824" y="2706"/>
                  </a:lnTo>
                  <a:lnTo>
                    <a:pt x="1830" y="2694"/>
                  </a:lnTo>
                  <a:lnTo>
                    <a:pt x="1830" y="2682"/>
                  </a:lnTo>
                  <a:lnTo>
                    <a:pt x="1818" y="2658"/>
                  </a:lnTo>
                  <a:lnTo>
                    <a:pt x="1812" y="2652"/>
                  </a:lnTo>
                  <a:lnTo>
                    <a:pt x="1806" y="2640"/>
                  </a:lnTo>
                  <a:lnTo>
                    <a:pt x="1794" y="2634"/>
                  </a:lnTo>
                  <a:lnTo>
                    <a:pt x="1788" y="2628"/>
                  </a:lnTo>
                  <a:lnTo>
                    <a:pt x="1776" y="2628"/>
                  </a:lnTo>
                  <a:lnTo>
                    <a:pt x="1758" y="2622"/>
                  </a:lnTo>
                  <a:lnTo>
                    <a:pt x="1758" y="2604"/>
                  </a:lnTo>
                  <a:lnTo>
                    <a:pt x="1794" y="2568"/>
                  </a:lnTo>
                  <a:lnTo>
                    <a:pt x="1800" y="2556"/>
                  </a:lnTo>
                  <a:lnTo>
                    <a:pt x="1806" y="2550"/>
                  </a:lnTo>
                  <a:lnTo>
                    <a:pt x="1806" y="2544"/>
                  </a:lnTo>
                  <a:lnTo>
                    <a:pt x="1800" y="2532"/>
                  </a:lnTo>
                  <a:lnTo>
                    <a:pt x="1788" y="2520"/>
                  </a:lnTo>
                  <a:lnTo>
                    <a:pt x="1800" y="2520"/>
                  </a:lnTo>
                  <a:lnTo>
                    <a:pt x="1812" y="2526"/>
                  </a:lnTo>
                  <a:lnTo>
                    <a:pt x="1830" y="2526"/>
                  </a:lnTo>
                  <a:lnTo>
                    <a:pt x="1842" y="2514"/>
                  </a:lnTo>
                  <a:lnTo>
                    <a:pt x="1872" y="2514"/>
                  </a:lnTo>
                  <a:lnTo>
                    <a:pt x="1878" y="2508"/>
                  </a:lnTo>
                  <a:lnTo>
                    <a:pt x="1860" y="2490"/>
                  </a:lnTo>
                  <a:lnTo>
                    <a:pt x="1890" y="2490"/>
                  </a:lnTo>
                  <a:lnTo>
                    <a:pt x="1890" y="2472"/>
                  </a:lnTo>
                  <a:lnTo>
                    <a:pt x="1878" y="2472"/>
                  </a:lnTo>
                  <a:lnTo>
                    <a:pt x="1854" y="2460"/>
                  </a:lnTo>
                  <a:lnTo>
                    <a:pt x="1842" y="2448"/>
                  </a:lnTo>
                  <a:lnTo>
                    <a:pt x="1842" y="2442"/>
                  </a:lnTo>
                  <a:lnTo>
                    <a:pt x="1878" y="2442"/>
                  </a:lnTo>
                  <a:lnTo>
                    <a:pt x="1878" y="2430"/>
                  </a:lnTo>
                  <a:lnTo>
                    <a:pt x="1866" y="2418"/>
                  </a:lnTo>
                  <a:lnTo>
                    <a:pt x="1860" y="2406"/>
                  </a:lnTo>
                  <a:lnTo>
                    <a:pt x="1812" y="2358"/>
                  </a:lnTo>
                  <a:lnTo>
                    <a:pt x="1800" y="2358"/>
                  </a:lnTo>
                  <a:lnTo>
                    <a:pt x="1788" y="2364"/>
                  </a:lnTo>
                  <a:lnTo>
                    <a:pt x="1746" y="2364"/>
                  </a:lnTo>
                  <a:lnTo>
                    <a:pt x="1740" y="2358"/>
                  </a:lnTo>
                  <a:lnTo>
                    <a:pt x="1740" y="2328"/>
                  </a:lnTo>
                  <a:lnTo>
                    <a:pt x="1734" y="2322"/>
                  </a:lnTo>
                  <a:lnTo>
                    <a:pt x="1710" y="2322"/>
                  </a:lnTo>
                  <a:lnTo>
                    <a:pt x="1704" y="2316"/>
                  </a:lnTo>
                  <a:lnTo>
                    <a:pt x="1698" y="2316"/>
                  </a:lnTo>
                  <a:lnTo>
                    <a:pt x="1698" y="2286"/>
                  </a:lnTo>
                  <a:lnTo>
                    <a:pt x="1710" y="2262"/>
                  </a:lnTo>
                  <a:lnTo>
                    <a:pt x="1710" y="2238"/>
                  </a:lnTo>
                  <a:lnTo>
                    <a:pt x="1704" y="2232"/>
                  </a:lnTo>
                  <a:lnTo>
                    <a:pt x="1698" y="2196"/>
                  </a:lnTo>
                  <a:lnTo>
                    <a:pt x="1722" y="2196"/>
                  </a:lnTo>
                  <a:lnTo>
                    <a:pt x="1722" y="2172"/>
                  </a:lnTo>
                  <a:lnTo>
                    <a:pt x="1716" y="2166"/>
                  </a:lnTo>
                  <a:lnTo>
                    <a:pt x="1716" y="2154"/>
                  </a:lnTo>
                  <a:lnTo>
                    <a:pt x="1722" y="2148"/>
                  </a:lnTo>
                  <a:lnTo>
                    <a:pt x="1734" y="2148"/>
                  </a:lnTo>
                  <a:lnTo>
                    <a:pt x="1746" y="2154"/>
                  </a:lnTo>
                  <a:lnTo>
                    <a:pt x="1758" y="2166"/>
                  </a:lnTo>
                  <a:lnTo>
                    <a:pt x="1770" y="2172"/>
                  </a:lnTo>
                  <a:lnTo>
                    <a:pt x="1776" y="2184"/>
                  </a:lnTo>
                  <a:lnTo>
                    <a:pt x="1788" y="2190"/>
                  </a:lnTo>
                  <a:lnTo>
                    <a:pt x="1800" y="2190"/>
                  </a:lnTo>
                  <a:lnTo>
                    <a:pt x="1806" y="2184"/>
                  </a:lnTo>
                  <a:lnTo>
                    <a:pt x="1812" y="2172"/>
                  </a:lnTo>
                  <a:lnTo>
                    <a:pt x="1818" y="2166"/>
                  </a:lnTo>
                  <a:lnTo>
                    <a:pt x="1812" y="2154"/>
                  </a:lnTo>
                  <a:lnTo>
                    <a:pt x="1800" y="2142"/>
                  </a:lnTo>
                  <a:lnTo>
                    <a:pt x="1830" y="2130"/>
                  </a:lnTo>
                  <a:lnTo>
                    <a:pt x="1830" y="2106"/>
                  </a:lnTo>
                  <a:lnTo>
                    <a:pt x="1836" y="2106"/>
                  </a:lnTo>
                  <a:lnTo>
                    <a:pt x="1848" y="2100"/>
                  </a:lnTo>
                  <a:lnTo>
                    <a:pt x="1860" y="2100"/>
                  </a:lnTo>
                  <a:lnTo>
                    <a:pt x="1872" y="2094"/>
                  </a:lnTo>
                  <a:lnTo>
                    <a:pt x="1884" y="2082"/>
                  </a:lnTo>
                  <a:lnTo>
                    <a:pt x="1884" y="2064"/>
                  </a:lnTo>
                  <a:lnTo>
                    <a:pt x="1878" y="2058"/>
                  </a:lnTo>
                  <a:lnTo>
                    <a:pt x="1878" y="2052"/>
                  </a:lnTo>
                  <a:lnTo>
                    <a:pt x="1908" y="2052"/>
                  </a:lnTo>
                  <a:lnTo>
                    <a:pt x="1920" y="2058"/>
                  </a:lnTo>
                  <a:lnTo>
                    <a:pt x="1926" y="2058"/>
                  </a:lnTo>
                  <a:lnTo>
                    <a:pt x="1926" y="2064"/>
                  </a:lnTo>
                  <a:lnTo>
                    <a:pt x="1932" y="2070"/>
                  </a:lnTo>
                  <a:lnTo>
                    <a:pt x="1962" y="2070"/>
                  </a:lnTo>
                  <a:lnTo>
                    <a:pt x="1974" y="2058"/>
                  </a:lnTo>
                  <a:lnTo>
                    <a:pt x="1986" y="2052"/>
                  </a:lnTo>
                  <a:lnTo>
                    <a:pt x="2004" y="2052"/>
                  </a:lnTo>
                  <a:lnTo>
                    <a:pt x="2010" y="2058"/>
                  </a:lnTo>
                  <a:lnTo>
                    <a:pt x="2016" y="2070"/>
                  </a:lnTo>
                  <a:lnTo>
                    <a:pt x="2076" y="2070"/>
                  </a:lnTo>
                  <a:lnTo>
                    <a:pt x="2082" y="2076"/>
                  </a:lnTo>
                  <a:lnTo>
                    <a:pt x="2082" y="2082"/>
                  </a:lnTo>
                  <a:lnTo>
                    <a:pt x="2088" y="2094"/>
                  </a:lnTo>
                  <a:lnTo>
                    <a:pt x="2124" y="2094"/>
                  </a:lnTo>
                  <a:lnTo>
                    <a:pt x="2136" y="2124"/>
                  </a:lnTo>
                  <a:lnTo>
                    <a:pt x="2136" y="2130"/>
                  </a:lnTo>
                  <a:lnTo>
                    <a:pt x="2148" y="2142"/>
                  </a:lnTo>
                  <a:lnTo>
                    <a:pt x="2160" y="2142"/>
                  </a:lnTo>
                  <a:lnTo>
                    <a:pt x="2160" y="2124"/>
                  </a:lnTo>
                  <a:lnTo>
                    <a:pt x="2148" y="2112"/>
                  </a:lnTo>
                  <a:lnTo>
                    <a:pt x="2148" y="2106"/>
                  </a:lnTo>
                  <a:lnTo>
                    <a:pt x="2160" y="2106"/>
                  </a:lnTo>
                  <a:lnTo>
                    <a:pt x="2232" y="2142"/>
                  </a:lnTo>
                  <a:lnTo>
                    <a:pt x="2238" y="2136"/>
                  </a:lnTo>
                  <a:lnTo>
                    <a:pt x="2244" y="2124"/>
                  </a:lnTo>
                  <a:lnTo>
                    <a:pt x="2256" y="2118"/>
                  </a:lnTo>
                  <a:lnTo>
                    <a:pt x="2268" y="2106"/>
                  </a:lnTo>
                  <a:lnTo>
                    <a:pt x="2280" y="2100"/>
                  </a:lnTo>
                  <a:lnTo>
                    <a:pt x="2286" y="2100"/>
                  </a:lnTo>
                  <a:lnTo>
                    <a:pt x="2322" y="2118"/>
                  </a:lnTo>
                  <a:lnTo>
                    <a:pt x="2334" y="2118"/>
                  </a:lnTo>
                  <a:lnTo>
                    <a:pt x="2352" y="2112"/>
                  </a:lnTo>
                  <a:lnTo>
                    <a:pt x="2364" y="2106"/>
                  </a:lnTo>
                  <a:lnTo>
                    <a:pt x="2370" y="2100"/>
                  </a:lnTo>
                  <a:lnTo>
                    <a:pt x="2382" y="2100"/>
                  </a:lnTo>
                  <a:lnTo>
                    <a:pt x="2388" y="2106"/>
                  </a:lnTo>
                  <a:lnTo>
                    <a:pt x="2400" y="2112"/>
                  </a:lnTo>
                  <a:lnTo>
                    <a:pt x="2406" y="2124"/>
                  </a:lnTo>
                  <a:lnTo>
                    <a:pt x="2430" y="2136"/>
                  </a:lnTo>
                  <a:lnTo>
                    <a:pt x="2454" y="2136"/>
                  </a:lnTo>
                  <a:lnTo>
                    <a:pt x="2466" y="2142"/>
                  </a:lnTo>
                  <a:lnTo>
                    <a:pt x="2478" y="2142"/>
                  </a:lnTo>
                  <a:lnTo>
                    <a:pt x="2490" y="2118"/>
                  </a:lnTo>
                  <a:lnTo>
                    <a:pt x="2496" y="2124"/>
                  </a:lnTo>
                  <a:lnTo>
                    <a:pt x="2508" y="2124"/>
                  </a:lnTo>
                  <a:lnTo>
                    <a:pt x="2514" y="2130"/>
                  </a:lnTo>
                  <a:lnTo>
                    <a:pt x="2526" y="2136"/>
                  </a:lnTo>
                  <a:lnTo>
                    <a:pt x="2562" y="2136"/>
                  </a:lnTo>
                  <a:lnTo>
                    <a:pt x="2568" y="2130"/>
                  </a:lnTo>
                  <a:lnTo>
                    <a:pt x="2574" y="2118"/>
                  </a:lnTo>
                  <a:lnTo>
                    <a:pt x="2574" y="2106"/>
                  </a:lnTo>
                  <a:lnTo>
                    <a:pt x="2568" y="2088"/>
                  </a:lnTo>
                  <a:lnTo>
                    <a:pt x="2544" y="2064"/>
                  </a:lnTo>
                  <a:lnTo>
                    <a:pt x="2532" y="2058"/>
                  </a:lnTo>
                  <a:lnTo>
                    <a:pt x="2514" y="2052"/>
                  </a:lnTo>
                  <a:lnTo>
                    <a:pt x="2490" y="2052"/>
                  </a:lnTo>
                  <a:lnTo>
                    <a:pt x="2460" y="2022"/>
                  </a:lnTo>
                  <a:lnTo>
                    <a:pt x="2472" y="2022"/>
                  </a:lnTo>
                  <a:lnTo>
                    <a:pt x="2484" y="2016"/>
                  </a:lnTo>
                  <a:lnTo>
                    <a:pt x="2496" y="2016"/>
                  </a:lnTo>
                  <a:lnTo>
                    <a:pt x="2508" y="2004"/>
                  </a:lnTo>
                  <a:lnTo>
                    <a:pt x="2508" y="1992"/>
                  </a:lnTo>
                  <a:lnTo>
                    <a:pt x="2502" y="1986"/>
                  </a:lnTo>
                  <a:lnTo>
                    <a:pt x="2496" y="1974"/>
                  </a:lnTo>
                  <a:lnTo>
                    <a:pt x="2490" y="1968"/>
                  </a:lnTo>
                  <a:lnTo>
                    <a:pt x="2502" y="1956"/>
                  </a:lnTo>
                  <a:lnTo>
                    <a:pt x="2556" y="1956"/>
                  </a:lnTo>
                  <a:lnTo>
                    <a:pt x="2544" y="1944"/>
                  </a:lnTo>
                  <a:lnTo>
                    <a:pt x="2532" y="1944"/>
                  </a:lnTo>
                  <a:lnTo>
                    <a:pt x="2508" y="1932"/>
                  </a:lnTo>
                  <a:lnTo>
                    <a:pt x="2496" y="1932"/>
                  </a:lnTo>
                  <a:lnTo>
                    <a:pt x="2508" y="1914"/>
                  </a:lnTo>
                  <a:lnTo>
                    <a:pt x="2484" y="1914"/>
                  </a:lnTo>
                  <a:lnTo>
                    <a:pt x="2484" y="1908"/>
                  </a:lnTo>
                  <a:lnTo>
                    <a:pt x="2478" y="1902"/>
                  </a:lnTo>
                  <a:lnTo>
                    <a:pt x="2478" y="1896"/>
                  </a:lnTo>
                  <a:lnTo>
                    <a:pt x="2490" y="1884"/>
                  </a:lnTo>
                  <a:lnTo>
                    <a:pt x="2526" y="1872"/>
                  </a:lnTo>
                  <a:lnTo>
                    <a:pt x="2586" y="1866"/>
                  </a:lnTo>
                  <a:lnTo>
                    <a:pt x="2640" y="1866"/>
                  </a:lnTo>
                  <a:lnTo>
                    <a:pt x="2646" y="1848"/>
                  </a:lnTo>
                  <a:lnTo>
                    <a:pt x="2712" y="1848"/>
                  </a:lnTo>
                  <a:lnTo>
                    <a:pt x="2712" y="1830"/>
                  </a:lnTo>
                  <a:lnTo>
                    <a:pt x="2718" y="1824"/>
                  </a:lnTo>
                  <a:lnTo>
                    <a:pt x="2808" y="1824"/>
                  </a:lnTo>
                  <a:lnTo>
                    <a:pt x="2862" y="1806"/>
                  </a:lnTo>
                  <a:lnTo>
                    <a:pt x="2874" y="1806"/>
                  </a:lnTo>
                  <a:lnTo>
                    <a:pt x="2874" y="1794"/>
                  </a:lnTo>
                  <a:lnTo>
                    <a:pt x="2886" y="1782"/>
                  </a:lnTo>
                  <a:lnTo>
                    <a:pt x="2898" y="1776"/>
                  </a:lnTo>
                  <a:lnTo>
                    <a:pt x="2916" y="1770"/>
                  </a:lnTo>
                  <a:lnTo>
                    <a:pt x="2940" y="1770"/>
                  </a:lnTo>
                  <a:lnTo>
                    <a:pt x="2958" y="1776"/>
                  </a:lnTo>
                  <a:lnTo>
                    <a:pt x="2976" y="1776"/>
                  </a:lnTo>
                  <a:lnTo>
                    <a:pt x="2988" y="1788"/>
                  </a:lnTo>
                  <a:lnTo>
                    <a:pt x="3000" y="1788"/>
                  </a:lnTo>
                  <a:lnTo>
                    <a:pt x="3012" y="1776"/>
                  </a:lnTo>
                  <a:lnTo>
                    <a:pt x="3018" y="1776"/>
                  </a:lnTo>
                  <a:lnTo>
                    <a:pt x="3036" y="1794"/>
                  </a:lnTo>
                  <a:lnTo>
                    <a:pt x="3042" y="1806"/>
                  </a:lnTo>
                  <a:lnTo>
                    <a:pt x="3048" y="1812"/>
                  </a:lnTo>
                  <a:lnTo>
                    <a:pt x="3060" y="1812"/>
                  </a:lnTo>
                  <a:lnTo>
                    <a:pt x="3066" y="1818"/>
                  </a:lnTo>
                  <a:lnTo>
                    <a:pt x="3066" y="1860"/>
                  </a:lnTo>
                  <a:lnTo>
                    <a:pt x="3072" y="1866"/>
                  </a:lnTo>
                  <a:lnTo>
                    <a:pt x="3090" y="1866"/>
                  </a:lnTo>
                  <a:lnTo>
                    <a:pt x="3102" y="1860"/>
                  </a:lnTo>
                  <a:lnTo>
                    <a:pt x="3120" y="1860"/>
                  </a:lnTo>
                  <a:lnTo>
                    <a:pt x="3132" y="1842"/>
                  </a:lnTo>
                  <a:lnTo>
                    <a:pt x="3156" y="1878"/>
                  </a:lnTo>
                  <a:lnTo>
                    <a:pt x="3180" y="1866"/>
                  </a:lnTo>
                  <a:lnTo>
                    <a:pt x="3204" y="1878"/>
                  </a:lnTo>
                  <a:lnTo>
                    <a:pt x="3210" y="1872"/>
                  </a:lnTo>
                  <a:lnTo>
                    <a:pt x="3216" y="1872"/>
                  </a:lnTo>
                  <a:lnTo>
                    <a:pt x="3228" y="1878"/>
                  </a:lnTo>
                  <a:lnTo>
                    <a:pt x="3228" y="1902"/>
                  </a:lnTo>
                  <a:lnTo>
                    <a:pt x="3222" y="1908"/>
                  </a:lnTo>
                  <a:lnTo>
                    <a:pt x="3222" y="1914"/>
                  </a:lnTo>
                  <a:lnTo>
                    <a:pt x="3228" y="1914"/>
                  </a:lnTo>
                  <a:lnTo>
                    <a:pt x="3234" y="1908"/>
                  </a:lnTo>
                  <a:lnTo>
                    <a:pt x="3240" y="1908"/>
                  </a:lnTo>
                  <a:lnTo>
                    <a:pt x="3246" y="1902"/>
                  </a:lnTo>
                  <a:lnTo>
                    <a:pt x="3252" y="1902"/>
                  </a:lnTo>
                  <a:lnTo>
                    <a:pt x="3258" y="1908"/>
                  </a:lnTo>
                  <a:lnTo>
                    <a:pt x="3270" y="1914"/>
                  </a:lnTo>
                  <a:lnTo>
                    <a:pt x="3276" y="1920"/>
                  </a:lnTo>
                  <a:lnTo>
                    <a:pt x="3288" y="1926"/>
                  </a:lnTo>
                  <a:lnTo>
                    <a:pt x="3300" y="1914"/>
                  </a:lnTo>
                  <a:lnTo>
                    <a:pt x="3300" y="1896"/>
                  </a:lnTo>
                  <a:lnTo>
                    <a:pt x="3306" y="1890"/>
                  </a:lnTo>
                  <a:lnTo>
                    <a:pt x="3318" y="1884"/>
                  </a:lnTo>
                  <a:lnTo>
                    <a:pt x="3330" y="1884"/>
                  </a:lnTo>
                  <a:lnTo>
                    <a:pt x="3342" y="1866"/>
                  </a:lnTo>
                  <a:lnTo>
                    <a:pt x="3378" y="1854"/>
                  </a:lnTo>
                  <a:lnTo>
                    <a:pt x="3396" y="1836"/>
                  </a:lnTo>
                  <a:lnTo>
                    <a:pt x="3402" y="1836"/>
                  </a:lnTo>
                  <a:lnTo>
                    <a:pt x="3408" y="1842"/>
                  </a:lnTo>
                  <a:lnTo>
                    <a:pt x="3408" y="1860"/>
                  </a:lnTo>
                  <a:lnTo>
                    <a:pt x="3396" y="1872"/>
                  </a:lnTo>
                  <a:lnTo>
                    <a:pt x="3390" y="1872"/>
                  </a:lnTo>
                  <a:lnTo>
                    <a:pt x="3426" y="1890"/>
                  </a:lnTo>
                  <a:lnTo>
                    <a:pt x="3456" y="1902"/>
                  </a:lnTo>
                  <a:lnTo>
                    <a:pt x="3486" y="1920"/>
                  </a:lnTo>
                  <a:lnTo>
                    <a:pt x="3498" y="1926"/>
                  </a:lnTo>
                  <a:lnTo>
                    <a:pt x="3516" y="1938"/>
                  </a:lnTo>
                  <a:lnTo>
                    <a:pt x="3546" y="1968"/>
                  </a:lnTo>
                  <a:lnTo>
                    <a:pt x="3618" y="2028"/>
                  </a:lnTo>
                  <a:lnTo>
                    <a:pt x="3636" y="2052"/>
                  </a:lnTo>
                  <a:lnTo>
                    <a:pt x="3672" y="2088"/>
                  </a:lnTo>
                  <a:lnTo>
                    <a:pt x="3684" y="2106"/>
                  </a:lnTo>
                  <a:lnTo>
                    <a:pt x="3696" y="2118"/>
                  </a:lnTo>
                  <a:lnTo>
                    <a:pt x="3708" y="2124"/>
                  </a:lnTo>
                  <a:lnTo>
                    <a:pt x="3720" y="2124"/>
                  </a:lnTo>
                  <a:lnTo>
                    <a:pt x="3732" y="2118"/>
                  </a:lnTo>
                  <a:lnTo>
                    <a:pt x="3744" y="2106"/>
                  </a:lnTo>
                  <a:lnTo>
                    <a:pt x="3744" y="2094"/>
                  </a:lnTo>
                  <a:lnTo>
                    <a:pt x="3750" y="2088"/>
                  </a:lnTo>
                  <a:lnTo>
                    <a:pt x="3750" y="2082"/>
                  </a:lnTo>
                  <a:lnTo>
                    <a:pt x="3762" y="2082"/>
                  </a:lnTo>
                  <a:lnTo>
                    <a:pt x="3768" y="2088"/>
                  </a:lnTo>
                  <a:lnTo>
                    <a:pt x="3768" y="2100"/>
                  </a:lnTo>
                  <a:lnTo>
                    <a:pt x="3774" y="2106"/>
                  </a:lnTo>
                  <a:lnTo>
                    <a:pt x="3774" y="2112"/>
                  </a:lnTo>
                  <a:lnTo>
                    <a:pt x="3804" y="2112"/>
                  </a:lnTo>
                  <a:lnTo>
                    <a:pt x="3816" y="2118"/>
                  </a:lnTo>
                  <a:lnTo>
                    <a:pt x="3822" y="2130"/>
                  </a:lnTo>
                  <a:lnTo>
                    <a:pt x="3834" y="2136"/>
                  </a:lnTo>
                  <a:lnTo>
                    <a:pt x="3858" y="2136"/>
                  </a:lnTo>
                  <a:lnTo>
                    <a:pt x="3864" y="2124"/>
                  </a:lnTo>
                  <a:lnTo>
                    <a:pt x="3876" y="2118"/>
                  </a:lnTo>
                  <a:lnTo>
                    <a:pt x="3894" y="2112"/>
                  </a:lnTo>
                  <a:lnTo>
                    <a:pt x="3906" y="2106"/>
                  </a:lnTo>
                  <a:lnTo>
                    <a:pt x="3924" y="2106"/>
                  </a:lnTo>
                  <a:lnTo>
                    <a:pt x="3948" y="2118"/>
                  </a:lnTo>
                  <a:lnTo>
                    <a:pt x="3972" y="2142"/>
                  </a:lnTo>
                  <a:lnTo>
                    <a:pt x="3984" y="2148"/>
                  </a:lnTo>
                  <a:lnTo>
                    <a:pt x="3990" y="2160"/>
                  </a:lnTo>
                  <a:lnTo>
                    <a:pt x="4002" y="2160"/>
                  </a:lnTo>
                  <a:lnTo>
                    <a:pt x="4014" y="2166"/>
                  </a:lnTo>
                  <a:lnTo>
                    <a:pt x="4026" y="2166"/>
                  </a:lnTo>
                  <a:lnTo>
                    <a:pt x="4038" y="2172"/>
                  </a:lnTo>
                  <a:lnTo>
                    <a:pt x="4044" y="2172"/>
                  </a:lnTo>
                  <a:lnTo>
                    <a:pt x="4044" y="2178"/>
                  </a:lnTo>
                  <a:lnTo>
                    <a:pt x="4050" y="2190"/>
                  </a:lnTo>
                  <a:lnTo>
                    <a:pt x="4056" y="2196"/>
                  </a:lnTo>
                  <a:lnTo>
                    <a:pt x="4062" y="2208"/>
                  </a:lnTo>
                  <a:lnTo>
                    <a:pt x="4068" y="2214"/>
                  </a:lnTo>
                  <a:lnTo>
                    <a:pt x="4068" y="2220"/>
                  </a:lnTo>
                  <a:lnTo>
                    <a:pt x="4140" y="2226"/>
                  </a:lnTo>
                  <a:lnTo>
                    <a:pt x="4152" y="2190"/>
                  </a:lnTo>
                  <a:lnTo>
                    <a:pt x="4176" y="2214"/>
                  </a:lnTo>
                  <a:lnTo>
                    <a:pt x="4212" y="2256"/>
                  </a:lnTo>
                  <a:lnTo>
                    <a:pt x="4254" y="2256"/>
                  </a:lnTo>
                  <a:lnTo>
                    <a:pt x="4266" y="2244"/>
                  </a:lnTo>
                  <a:lnTo>
                    <a:pt x="4266" y="2226"/>
                  </a:lnTo>
                  <a:lnTo>
                    <a:pt x="4326" y="2226"/>
                  </a:lnTo>
                  <a:lnTo>
                    <a:pt x="4320" y="2214"/>
                  </a:lnTo>
                  <a:lnTo>
                    <a:pt x="4344" y="2214"/>
                  </a:lnTo>
                  <a:lnTo>
                    <a:pt x="4338" y="2208"/>
                  </a:lnTo>
                  <a:lnTo>
                    <a:pt x="4338" y="2202"/>
                  </a:lnTo>
                  <a:lnTo>
                    <a:pt x="4374" y="2166"/>
                  </a:lnTo>
                  <a:lnTo>
                    <a:pt x="4392" y="2166"/>
                  </a:lnTo>
                  <a:lnTo>
                    <a:pt x="4404" y="2148"/>
                  </a:lnTo>
                  <a:lnTo>
                    <a:pt x="4428" y="2148"/>
                  </a:lnTo>
                  <a:lnTo>
                    <a:pt x="4428" y="2142"/>
                  </a:lnTo>
                  <a:lnTo>
                    <a:pt x="4434" y="2136"/>
                  </a:lnTo>
                  <a:lnTo>
                    <a:pt x="4434" y="2130"/>
                  </a:lnTo>
                  <a:lnTo>
                    <a:pt x="4440" y="2124"/>
                  </a:lnTo>
                  <a:lnTo>
                    <a:pt x="4458" y="2124"/>
                  </a:lnTo>
                  <a:lnTo>
                    <a:pt x="4464" y="2130"/>
                  </a:lnTo>
                  <a:lnTo>
                    <a:pt x="4482" y="2124"/>
                  </a:lnTo>
                  <a:lnTo>
                    <a:pt x="4482" y="2130"/>
                  </a:lnTo>
                  <a:lnTo>
                    <a:pt x="4518" y="2130"/>
                  </a:lnTo>
                  <a:lnTo>
                    <a:pt x="4524" y="2148"/>
                  </a:lnTo>
                  <a:lnTo>
                    <a:pt x="4548" y="2148"/>
                  </a:lnTo>
                  <a:lnTo>
                    <a:pt x="4566" y="2142"/>
                  </a:lnTo>
                  <a:lnTo>
                    <a:pt x="4608" y="2142"/>
                  </a:lnTo>
                  <a:lnTo>
                    <a:pt x="4608" y="2148"/>
                  </a:lnTo>
                  <a:lnTo>
                    <a:pt x="4614" y="2154"/>
                  </a:lnTo>
                  <a:lnTo>
                    <a:pt x="4614" y="2166"/>
                  </a:lnTo>
                  <a:lnTo>
                    <a:pt x="4620" y="2172"/>
                  </a:lnTo>
                  <a:lnTo>
                    <a:pt x="4638" y="2178"/>
                  </a:lnTo>
                  <a:lnTo>
                    <a:pt x="4668" y="2178"/>
                  </a:lnTo>
                  <a:lnTo>
                    <a:pt x="4674" y="2190"/>
                  </a:lnTo>
                  <a:lnTo>
                    <a:pt x="4698" y="2184"/>
                  </a:lnTo>
                  <a:lnTo>
                    <a:pt x="4704" y="2196"/>
                  </a:lnTo>
                  <a:lnTo>
                    <a:pt x="4704" y="2190"/>
                  </a:lnTo>
                  <a:lnTo>
                    <a:pt x="4710" y="2184"/>
                  </a:lnTo>
                  <a:lnTo>
                    <a:pt x="4752" y="2184"/>
                  </a:lnTo>
                  <a:lnTo>
                    <a:pt x="4752" y="2196"/>
                  </a:lnTo>
                  <a:lnTo>
                    <a:pt x="4800" y="2190"/>
                  </a:lnTo>
                  <a:lnTo>
                    <a:pt x="4800" y="2202"/>
                  </a:lnTo>
                  <a:lnTo>
                    <a:pt x="4806" y="2208"/>
                  </a:lnTo>
                  <a:lnTo>
                    <a:pt x="4830" y="2196"/>
                  </a:lnTo>
                  <a:lnTo>
                    <a:pt x="4836" y="2190"/>
                  </a:lnTo>
                  <a:lnTo>
                    <a:pt x="4836" y="2184"/>
                  </a:lnTo>
                  <a:lnTo>
                    <a:pt x="4854" y="2184"/>
                  </a:lnTo>
                  <a:lnTo>
                    <a:pt x="4854" y="2160"/>
                  </a:lnTo>
                  <a:lnTo>
                    <a:pt x="4848" y="2148"/>
                  </a:lnTo>
                  <a:lnTo>
                    <a:pt x="4842" y="2142"/>
                  </a:lnTo>
                  <a:lnTo>
                    <a:pt x="4836" y="2142"/>
                  </a:lnTo>
                  <a:lnTo>
                    <a:pt x="4812" y="2106"/>
                  </a:lnTo>
                  <a:lnTo>
                    <a:pt x="4806" y="2088"/>
                  </a:lnTo>
                  <a:lnTo>
                    <a:pt x="4794" y="2076"/>
                  </a:lnTo>
                  <a:lnTo>
                    <a:pt x="4794" y="2064"/>
                  </a:lnTo>
                  <a:lnTo>
                    <a:pt x="4812" y="2064"/>
                  </a:lnTo>
                  <a:lnTo>
                    <a:pt x="4806" y="2052"/>
                  </a:lnTo>
                  <a:lnTo>
                    <a:pt x="4812" y="2052"/>
                  </a:lnTo>
                  <a:lnTo>
                    <a:pt x="4824" y="2046"/>
                  </a:lnTo>
                  <a:lnTo>
                    <a:pt x="4830" y="2034"/>
                  </a:lnTo>
                  <a:lnTo>
                    <a:pt x="4830" y="2016"/>
                  </a:lnTo>
                  <a:lnTo>
                    <a:pt x="4890" y="2046"/>
                  </a:lnTo>
                  <a:lnTo>
                    <a:pt x="4902" y="2046"/>
                  </a:lnTo>
                  <a:lnTo>
                    <a:pt x="4926" y="2052"/>
                  </a:lnTo>
                  <a:lnTo>
                    <a:pt x="4962" y="2052"/>
                  </a:lnTo>
                  <a:lnTo>
                    <a:pt x="4974" y="2058"/>
                  </a:lnTo>
                  <a:lnTo>
                    <a:pt x="4980" y="2064"/>
                  </a:lnTo>
                  <a:lnTo>
                    <a:pt x="5004" y="2076"/>
                  </a:lnTo>
                  <a:lnTo>
                    <a:pt x="5010" y="2076"/>
                  </a:lnTo>
                  <a:lnTo>
                    <a:pt x="5022" y="2070"/>
                  </a:lnTo>
                  <a:lnTo>
                    <a:pt x="5040" y="2070"/>
                  </a:lnTo>
                  <a:lnTo>
                    <a:pt x="5052" y="2076"/>
                  </a:lnTo>
                  <a:lnTo>
                    <a:pt x="5058" y="2082"/>
                  </a:lnTo>
                  <a:lnTo>
                    <a:pt x="5064" y="2094"/>
                  </a:lnTo>
                  <a:lnTo>
                    <a:pt x="5076" y="2106"/>
                  </a:lnTo>
                  <a:lnTo>
                    <a:pt x="5088" y="2130"/>
                  </a:lnTo>
                  <a:lnTo>
                    <a:pt x="5094" y="2136"/>
                  </a:lnTo>
                  <a:lnTo>
                    <a:pt x="5094" y="2142"/>
                  </a:lnTo>
                  <a:lnTo>
                    <a:pt x="5118" y="2136"/>
                  </a:lnTo>
                  <a:lnTo>
                    <a:pt x="5118" y="2142"/>
                  </a:lnTo>
                  <a:lnTo>
                    <a:pt x="5136" y="2160"/>
                  </a:lnTo>
                  <a:lnTo>
                    <a:pt x="5166" y="2160"/>
                  </a:lnTo>
                  <a:lnTo>
                    <a:pt x="5172" y="2166"/>
                  </a:lnTo>
                  <a:lnTo>
                    <a:pt x="5184" y="2166"/>
                  </a:lnTo>
                  <a:lnTo>
                    <a:pt x="5196" y="2172"/>
                  </a:lnTo>
                  <a:lnTo>
                    <a:pt x="5208" y="2172"/>
                  </a:lnTo>
                  <a:lnTo>
                    <a:pt x="5220" y="2166"/>
                  </a:lnTo>
                  <a:lnTo>
                    <a:pt x="5274" y="2148"/>
                  </a:lnTo>
                  <a:lnTo>
                    <a:pt x="5322" y="2148"/>
                  </a:lnTo>
                  <a:lnTo>
                    <a:pt x="5334" y="2154"/>
                  </a:lnTo>
                  <a:lnTo>
                    <a:pt x="5340" y="2154"/>
                  </a:lnTo>
                  <a:lnTo>
                    <a:pt x="5346" y="2160"/>
                  </a:lnTo>
                  <a:lnTo>
                    <a:pt x="5382" y="2160"/>
                  </a:lnTo>
                  <a:lnTo>
                    <a:pt x="5406" y="2184"/>
                  </a:lnTo>
                  <a:lnTo>
                    <a:pt x="5466" y="2184"/>
                  </a:lnTo>
                  <a:lnTo>
                    <a:pt x="5472" y="2190"/>
                  </a:lnTo>
                  <a:lnTo>
                    <a:pt x="5472" y="2196"/>
                  </a:lnTo>
                  <a:lnTo>
                    <a:pt x="5484" y="2208"/>
                  </a:lnTo>
                  <a:lnTo>
                    <a:pt x="5484" y="2214"/>
                  </a:lnTo>
                  <a:lnTo>
                    <a:pt x="5502" y="2214"/>
                  </a:lnTo>
                  <a:lnTo>
                    <a:pt x="5514" y="2220"/>
                  </a:lnTo>
                  <a:lnTo>
                    <a:pt x="5514" y="2232"/>
                  </a:lnTo>
                  <a:lnTo>
                    <a:pt x="5520" y="2238"/>
                  </a:lnTo>
                  <a:lnTo>
                    <a:pt x="5586" y="2238"/>
                  </a:lnTo>
                  <a:lnTo>
                    <a:pt x="5592" y="2244"/>
                  </a:lnTo>
                  <a:lnTo>
                    <a:pt x="5598" y="2244"/>
                  </a:lnTo>
                  <a:lnTo>
                    <a:pt x="5610" y="2250"/>
                  </a:lnTo>
                  <a:lnTo>
                    <a:pt x="5634" y="2250"/>
                  </a:lnTo>
                  <a:lnTo>
                    <a:pt x="5646" y="2244"/>
                  </a:lnTo>
                  <a:lnTo>
                    <a:pt x="5664" y="2244"/>
                  </a:lnTo>
                  <a:lnTo>
                    <a:pt x="5670" y="2250"/>
                  </a:lnTo>
                  <a:lnTo>
                    <a:pt x="5670" y="2256"/>
                  </a:lnTo>
                  <a:lnTo>
                    <a:pt x="5676" y="2256"/>
                  </a:lnTo>
                  <a:lnTo>
                    <a:pt x="5694" y="2238"/>
                  </a:lnTo>
                  <a:lnTo>
                    <a:pt x="5694" y="2232"/>
                  </a:lnTo>
                  <a:lnTo>
                    <a:pt x="5742" y="2232"/>
                  </a:lnTo>
                  <a:lnTo>
                    <a:pt x="5754" y="2220"/>
                  </a:lnTo>
                  <a:lnTo>
                    <a:pt x="5790" y="2220"/>
                  </a:lnTo>
                  <a:lnTo>
                    <a:pt x="5802" y="2208"/>
                  </a:lnTo>
                  <a:lnTo>
                    <a:pt x="5802" y="2196"/>
                  </a:lnTo>
                  <a:lnTo>
                    <a:pt x="5832" y="2166"/>
                  </a:lnTo>
                  <a:lnTo>
                    <a:pt x="5850" y="2166"/>
                  </a:lnTo>
                  <a:lnTo>
                    <a:pt x="5862" y="2172"/>
                  </a:lnTo>
                  <a:lnTo>
                    <a:pt x="5898" y="2172"/>
                  </a:lnTo>
                  <a:lnTo>
                    <a:pt x="5916" y="2190"/>
                  </a:lnTo>
                  <a:lnTo>
                    <a:pt x="5928" y="2196"/>
                  </a:lnTo>
                  <a:lnTo>
                    <a:pt x="5952" y="2196"/>
                  </a:lnTo>
                  <a:lnTo>
                    <a:pt x="5964" y="2190"/>
                  </a:lnTo>
                  <a:lnTo>
                    <a:pt x="5970" y="2184"/>
                  </a:lnTo>
                  <a:lnTo>
                    <a:pt x="5994" y="2190"/>
                  </a:lnTo>
                  <a:lnTo>
                    <a:pt x="6012" y="2190"/>
                  </a:lnTo>
                  <a:lnTo>
                    <a:pt x="6048" y="2214"/>
                  </a:lnTo>
                  <a:lnTo>
                    <a:pt x="6084" y="2214"/>
                  </a:lnTo>
                  <a:lnTo>
                    <a:pt x="6090" y="2220"/>
                  </a:lnTo>
                  <a:lnTo>
                    <a:pt x="6102" y="2220"/>
                  </a:lnTo>
                  <a:lnTo>
                    <a:pt x="6120" y="2202"/>
                  </a:lnTo>
                  <a:lnTo>
                    <a:pt x="6120" y="2190"/>
                  </a:lnTo>
                  <a:lnTo>
                    <a:pt x="6144" y="2190"/>
                  </a:lnTo>
                  <a:lnTo>
                    <a:pt x="6156" y="2184"/>
                  </a:lnTo>
                  <a:lnTo>
                    <a:pt x="6162" y="2178"/>
                  </a:lnTo>
                  <a:lnTo>
                    <a:pt x="6162" y="2166"/>
                  </a:lnTo>
                  <a:lnTo>
                    <a:pt x="6150" y="2166"/>
                  </a:lnTo>
                  <a:lnTo>
                    <a:pt x="6144" y="2160"/>
                  </a:lnTo>
                  <a:lnTo>
                    <a:pt x="6138" y="2118"/>
                  </a:lnTo>
                  <a:lnTo>
                    <a:pt x="6138" y="2046"/>
                  </a:lnTo>
                  <a:lnTo>
                    <a:pt x="6156" y="2028"/>
                  </a:lnTo>
                  <a:lnTo>
                    <a:pt x="6156" y="2016"/>
                  </a:lnTo>
                  <a:lnTo>
                    <a:pt x="6150" y="2010"/>
                  </a:lnTo>
                  <a:lnTo>
                    <a:pt x="6138" y="2004"/>
                  </a:lnTo>
                  <a:lnTo>
                    <a:pt x="6126" y="1992"/>
                  </a:lnTo>
                  <a:lnTo>
                    <a:pt x="6114" y="1992"/>
                  </a:lnTo>
                  <a:lnTo>
                    <a:pt x="6108" y="1986"/>
                  </a:lnTo>
                  <a:lnTo>
                    <a:pt x="6096" y="1986"/>
                  </a:lnTo>
                  <a:lnTo>
                    <a:pt x="6078" y="1980"/>
                  </a:lnTo>
                  <a:lnTo>
                    <a:pt x="6072" y="1980"/>
                  </a:lnTo>
                  <a:lnTo>
                    <a:pt x="6072" y="1968"/>
                  </a:lnTo>
                  <a:lnTo>
                    <a:pt x="6078" y="1968"/>
                  </a:lnTo>
                  <a:lnTo>
                    <a:pt x="6120" y="1926"/>
                  </a:lnTo>
                  <a:lnTo>
                    <a:pt x="6156" y="1920"/>
                  </a:lnTo>
                  <a:lnTo>
                    <a:pt x="6162" y="1908"/>
                  </a:lnTo>
                  <a:lnTo>
                    <a:pt x="6204" y="1914"/>
                  </a:lnTo>
                  <a:lnTo>
                    <a:pt x="6258" y="1902"/>
                  </a:lnTo>
                  <a:lnTo>
                    <a:pt x="6294" y="1920"/>
                  </a:lnTo>
                  <a:lnTo>
                    <a:pt x="6330" y="1944"/>
                  </a:lnTo>
                  <a:lnTo>
                    <a:pt x="6402" y="1944"/>
                  </a:lnTo>
                  <a:lnTo>
                    <a:pt x="6408" y="1950"/>
                  </a:lnTo>
                  <a:lnTo>
                    <a:pt x="6420" y="1956"/>
                  </a:lnTo>
                  <a:lnTo>
                    <a:pt x="6426" y="1962"/>
                  </a:lnTo>
                  <a:lnTo>
                    <a:pt x="6438" y="1968"/>
                  </a:lnTo>
                  <a:lnTo>
                    <a:pt x="6438" y="1980"/>
                  </a:lnTo>
                  <a:lnTo>
                    <a:pt x="6444" y="1980"/>
                  </a:lnTo>
                  <a:lnTo>
                    <a:pt x="6456" y="1992"/>
                  </a:lnTo>
                  <a:lnTo>
                    <a:pt x="6468" y="1998"/>
                  </a:lnTo>
                  <a:lnTo>
                    <a:pt x="6480" y="2010"/>
                  </a:lnTo>
                  <a:lnTo>
                    <a:pt x="6492" y="2010"/>
                  </a:lnTo>
                  <a:lnTo>
                    <a:pt x="6498" y="2016"/>
                  </a:lnTo>
                  <a:lnTo>
                    <a:pt x="6504" y="2016"/>
                  </a:lnTo>
                  <a:lnTo>
                    <a:pt x="6510" y="2046"/>
                  </a:lnTo>
                  <a:lnTo>
                    <a:pt x="6558" y="2070"/>
                  </a:lnTo>
                  <a:lnTo>
                    <a:pt x="6570" y="2100"/>
                  </a:lnTo>
                  <a:lnTo>
                    <a:pt x="6582" y="2100"/>
                  </a:lnTo>
                  <a:lnTo>
                    <a:pt x="6630" y="2124"/>
                  </a:lnTo>
                  <a:lnTo>
                    <a:pt x="6636" y="2136"/>
                  </a:lnTo>
                  <a:lnTo>
                    <a:pt x="6654" y="2154"/>
                  </a:lnTo>
                  <a:lnTo>
                    <a:pt x="6660" y="2166"/>
                  </a:lnTo>
                  <a:lnTo>
                    <a:pt x="6672" y="2166"/>
                  </a:lnTo>
                  <a:lnTo>
                    <a:pt x="6678" y="2190"/>
                  </a:lnTo>
                  <a:lnTo>
                    <a:pt x="6684" y="2190"/>
                  </a:lnTo>
                  <a:lnTo>
                    <a:pt x="6690" y="2196"/>
                  </a:lnTo>
                  <a:lnTo>
                    <a:pt x="6714" y="2208"/>
                  </a:lnTo>
                  <a:lnTo>
                    <a:pt x="6720" y="2214"/>
                  </a:lnTo>
                  <a:lnTo>
                    <a:pt x="6732" y="2220"/>
                  </a:lnTo>
                  <a:lnTo>
                    <a:pt x="6780" y="2220"/>
                  </a:lnTo>
                  <a:lnTo>
                    <a:pt x="6792" y="2226"/>
                  </a:lnTo>
                  <a:lnTo>
                    <a:pt x="6798" y="2232"/>
                  </a:lnTo>
                  <a:lnTo>
                    <a:pt x="6810" y="2238"/>
                  </a:lnTo>
                  <a:lnTo>
                    <a:pt x="6822" y="2226"/>
                  </a:lnTo>
                  <a:lnTo>
                    <a:pt x="6834" y="2226"/>
                  </a:lnTo>
                  <a:lnTo>
                    <a:pt x="6852" y="2244"/>
                  </a:lnTo>
                  <a:lnTo>
                    <a:pt x="6864" y="2250"/>
                  </a:lnTo>
                  <a:lnTo>
                    <a:pt x="6882" y="2268"/>
                  </a:lnTo>
                  <a:lnTo>
                    <a:pt x="6924" y="2268"/>
                  </a:lnTo>
                  <a:lnTo>
                    <a:pt x="6942" y="2298"/>
                  </a:lnTo>
                  <a:lnTo>
                    <a:pt x="6960" y="2298"/>
                  </a:lnTo>
                  <a:lnTo>
                    <a:pt x="6966" y="2304"/>
                  </a:lnTo>
                  <a:lnTo>
                    <a:pt x="6966" y="2310"/>
                  </a:lnTo>
                  <a:lnTo>
                    <a:pt x="6972" y="2322"/>
                  </a:lnTo>
                  <a:lnTo>
                    <a:pt x="6972" y="2334"/>
                  </a:lnTo>
                  <a:lnTo>
                    <a:pt x="7014" y="2364"/>
                  </a:lnTo>
                  <a:lnTo>
                    <a:pt x="7038" y="2358"/>
                  </a:lnTo>
                  <a:lnTo>
                    <a:pt x="7050" y="2370"/>
                  </a:lnTo>
                  <a:lnTo>
                    <a:pt x="7068" y="2370"/>
                  </a:lnTo>
                  <a:lnTo>
                    <a:pt x="7068" y="2358"/>
                  </a:lnTo>
                  <a:lnTo>
                    <a:pt x="7098" y="2364"/>
                  </a:lnTo>
                  <a:lnTo>
                    <a:pt x="7098" y="2346"/>
                  </a:lnTo>
                  <a:lnTo>
                    <a:pt x="7104" y="2340"/>
                  </a:lnTo>
                  <a:lnTo>
                    <a:pt x="7110" y="2340"/>
                  </a:lnTo>
                  <a:lnTo>
                    <a:pt x="7122" y="2334"/>
                  </a:lnTo>
                  <a:lnTo>
                    <a:pt x="7152" y="2334"/>
                  </a:lnTo>
                  <a:lnTo>
                    <a:pt x="7158" y="2310"/>
                  </a:lnTo>
                  <a:lnTo>
                    <a:pt x="7200" y="2310"/>
                  </a:lnTo>
                  <a:lnTo>
                    <a:pt x="7212" y="2316"/>
                  </a:lnTo>
                  <a:lnTo>
                    <a:pt x="7218" y="2328"/>
                  </a:lnTo>
                  <a:lnTo>
                    <a:pt x="7218" y="2346"/>
                  </a:lnTo>
                  <a:lnTo>
                    <a:pt x="7242" y="2358"/>
                  </a:lnTo>
                  <a:lnTo>
                    <a:pt x="7242" y="2388"/>
                  </a:lnTo>
                  <a:lnTo>
                    <a:pt x="7224" y="2394"/>
                  </a:lnTo>
                  <a:lnTo>
                    <a:pt x="7236" y="2412"/>
                  </a:lnTo>
                  <a:lnTo>
                    <a:pt x="7236" y="2430"/>
                  </a:lnTo>
                  <a:lnTo>
                    <a:pt x="7248" y="2442"/>
                  </a:lnTo>
                  <a:lnTo>
                    <a:pt x="7248" y="2466"/>
                  </a:lnTo>
                  <a:lnTo>
                    <a:pt x="7266" y="2472"/>
                  </a:lnTo>
                  <a:lnTo>
                    <a:pt x="7260" y="2502"/>
                  </a:lnTo>
                  <a:lnTo>
                    <a:pt x="7266" y="2526"/>
                  </a:lnTo>
                  <a:lnTo>
                    <a:pt x="7260" y="2532"/>
                  </a:lnTo>
                  <a:lnTo>
                    <a:pt x="7254" y="2532"/>
                  </a:lnTo>
                  <a:lnTo>
                    <a:pt x="7254" y="2550"/>
                  </a:lnTo>
                  <a:lnTo>
                    <a:pt x="7260" y="2562"/>
                  </a:lnTo>
                  <a:lnTo>
                    <a:pt x="7260" y="2574"/>
                  </a:lnTo>
                  <a:lnTo>
                    <a:pt x="7254" y="2580"/>
                  </a:lnTo>
                  <a:lnTo>
                    <a:pt x="7248" y="2580"/>
                  </a:lnTo>
                  <a:lnTo>
                    <a:pt x="7236" y="2574"/>
                  </a:lnTo>
                  <a:lnTo>
                    <a:pt x="7224" y="2574"/>
                  </a:lnTo>
                  <a:lnTo>
                    <a:pt x="7206" y="2568"/>
                  </a:lnTo>
                  <a:lnTo>
                    <a:pt x="7194" y="2562"/>
                  </a:lnTo>
                  <a:lnTo>
                    <a:pt x="7170" y="2562"/>
                  </a:lnTo>
                  <a:lnTo>
                    <a:pt x="7164" y="2568"/>
                  </a:lnTo>
                  <a:lnTo>
                    <a:pt x="7170" y="2574"/>
                  </a:lnTo>
                  <a:lnTo>
                    <a:pt x="7170" y="2586"/>
                  </a:lnTo>
                  <a:lnTo>
                    <a:pt x="7146" y="2586"/>
                  </a:lnTo>
                  <a:lnTo>
                    <a:pt x="7146" y="2598"/>
                  </a:lnTo>
                  <a:lnTo>
                    <a:pt x="7152" y="2610"/>
                  </a:lnTo>
                  <a:lnTo>
                    <a:pt x="7158" y="2610"/>
                  </a:lnTo>
                  <a:lnTo>
                    <a:pt x="7170" y="2622"/>
                  </a:lnTo>
                  <a:lnTo>
                    <a:pt x="7182" y="2628"/>
                  </a:lnTo>
                  <a:lnTo>
                    <a:pt x="7194" y="2646"/>
                  </a:lnTo>
                  <a:lnTo>
                    <a:pt x="7206" y="2658"/>
                  </a:lnTo>
                  <a:lnTo>
                    <a:pt x="7212" y="2676"/>
                  </a:lnTo>
                  <a:lnTo>
                    <a:pt x="7212" y="2688"/>
                  </a:lnTo>
                  <a:lnTo>
                    <a:pt x="7224" y="2700"/>
                  </a:lnTo>
                  <a:lnTo>
                    <a:pt x="7230" y="2712"/>
                  </a:lnTo>
                  <a:lnTo>
                    <a:pt x="7236" y="2748"/>
                  </a:lnTo>
                  <a:lnTo>
                    <a:pt x="7206" y="2742"/>
                  </a:lnTo>
                  <a:lnTo>
                    <a:pt x="7200" y="2766"/>
                  </a:lnTo>
                  <a:lnTo>
                    <a:pt x="7224" y="2778"/>
                  </a:lnTo>
                  <a:lnTo>
                    <a:pt x="7260" y="2778"/>
                  </a:lnTo>
                  <a:lnTo>
                    <a:pt x="7260" y="2718"/>
                  </a:lnTo>
                  <a:lnTo>
                    <a:pt x="7266" y="2712"/>
                  </a:lnTo>
                  <a:lnTo>
                    <a:pt x="7272" y="2712"/>
                  </a:lnTo>
                  <a:lnTo>
                    <a:pt x="7284" y="2718"/>
                  </a:lnTo>
                  <a:lnTo>
                    <a:pt x="7290" y="2724"/>
                  </a:lnTo>
                  <a:lnTo>
                    <a:pt x="7302" y="2712"/>
                  </a:lnTo>
                  <a:lnTo>
                    <a:pt x="7308" y="2724"/>
                  </a:lnTo>
                  <a:lnTo>
                    <a:pt x="7314" y="2730"/>
                  </a:lnTo>
                  <a:lnTo>
                    <a:pt x="7320" y="2742"/>
                  </a:lnTo>
                  <a:lnTo>
                    <a:pt x="7332" y="2754"/>
                  </a:lnTo>
                  <a:lnTo>
                    <a:pt x="7344" y="2754"/>
                  </a:lnTo>
                  <a:lnTo>
                    <a:pt x="7356" y="2748"/>
                  </a:lnTo>
                  <a:lnTo>
                    <a:pt x="7368" y="2748"/>
                  </a:lnTo>
                  <a:lnTo>
                    <a:pt x="7374" y="2742"/>
                  </a:lnTo>
                  <a:lnTo>
                    <a:pt x="7380" y="2742"/>
                  </a:lnTo>
                  <a:lnTo>
                    <a:pt x="7380" y="2760"/>
                  </a:lnTo>
                  <a:lnTo>
                    <a:pt x="7386" y="2760"/>
                  </a:lnTo>
                  <a:lnTo>
                    <a:pt x="7392" y="2754"/>
                  </a:lnTo>
                  <a:lnTo>
                    <a:pt x="7404" y="2748"/>
                  </a:lnTo>
                  <a:lnTo>
                    <a:pt x="7422" y="2742"/>
                  </a:lnTo>
                  <a:lnTo>
                    <a:pt x="7440" y="2730"/>
                  </a:lnTo>
                  <a:lnTo>
                    <a:pt x="7452" y="2724"/>
                  </a:lnTo>
                  <a:lnTo>
                    <a:pt x="7464" y="2700"/>
                  </a:lnTo>
                  <a:lnTo>
                    <a:pt x="7464" y="2682"/>
                  </a:lnTo>
                  <a:lnTo>
                    <a:pt x="7470" y="2664"/>
                  </a:lnTo>
                  <a:lnTo>
                    <a:pt x="7470" y="2628"/>
                  </a:lnTo>
                  <a:lnTo>
                    <a:pt x="7494" y="2622"/>
                  </a:lnTo>
                  <a:lnTo>
                    <a:pt x="7494" y="2562"/>
                  </a:lnTo>
                  <a:lnTo>
                    <a:pt x="7500" y="2550"/>
                  </a:lnTo>
                  <a:lnTo>
                    <a:pt x="7506" y="2544"/>
                  </a:lnTo>
                  <a:lnTo>
                    <a:pt x="7518" y="2520"/>
                  </a:lnTo>
                  <a:lnTo>
                    <a:pt x="7518" y="2490"/>
                  </a:lnTo>
                  <a:lnTo>
                    <a:pt x="7524" y="2472"/>
                  </a:lnTo>
                  <a:lnTo>
                    <a:pt x="7524" y="2454"/>
                  </a:lnTo>
                  <a:lnTo>
                    <a:pt x="7518" y="2442"/>
                  </a:lnTo>
                  <a:lnTo>
                    <a:pt x="7518" y="2424"/>
                  </a:lnTo>
                  <a:lnTo>
                    <a:pt x="7512" y="2418"/>
                  </a:lnTo>
                  <a:lnTo>
                    <a:pt x="7512" y="2412"/>
                  </a:lnTo>
                  <a:lnTo>
                    <a:pt x="7518" y="2400"/>
                  </a:lnTo>
                  <a:lnTo>
                    <a:pt x="7524" y="2394"/>
                  </a:lnTo>
                  <a:lnTo>
                    <a:pt x="7524" y="2382"/>
                  </a:lnTo>
                  <a:lnTo>
                    <a:pt x="7530" y="2376"/>
                  </a:lnTo>
                  <a:lnTo>
                    <a:pt x="7530" y="2364"/>
                  </a:lnTo>
                  <a:lnTo>
                    <a:pt x="7524" y="2358"/>
                  </a:lnTo>
                  <a:lnTo>
                    <a:pt x="7518" y="2346"/>
                  </a:lnTo>
                  <a:lnTo>
                    <a:pt x="7524" y="2334"/>
                  </a:lnTo>
                  <a:lnTo>
                    <a:pt x="7530" y="2328"/>
                  </a:lnTo>
                  <a:lnTo>
                    <a:pt x="7536" y="2316"/>
                  </a:lnTo>
                  <a:lnTo>
                    <a:pt x="7536" y="2298"/>
                  </a:lnTo>
                  <a:lnTo>
                    <a:pt x="7530" y="2292"/>
                  </a:lnTo>
                  <a:lnTo>
                    <a:pt x="7530" y="2280"/>
                  </a:lnTo>
                  <a:lnTo>
                    <a:pt x="7518" y="2256"/>
                  </a:lnTo>
                  <a:lnTo>
                    <a:pt x="7512" y="2250"/>
                  </a:lnTo>
                  <a:lnTo>
                    <a:pt x="7512" y="2238"/>
                  </a:lnTo>
                  <a:lnTo>
                    <a:pt x="7506" y="2232"/>
                  </a:lnTo>
                  <a:lnTo>
                    <a:pt x="7506" y="2220"/>
                  </a:lnTo>
                  <a:lnTo>
                    <a:pt x="7500" y="2214"/>
                  </a:lnTo>
                  <a:lnTo>
                    <a:pt x="7500" y="2202"/>
                  </a:lnTo>
                  <a:lnTo>
                    <a:pt x="7494" y="2196"/>
                  </a:lnTo>
                  <a:lnTo>
                    <a:pt x="7482" y="2190"/>
                  </a:lnTo>
                  <a:lnTo>
                    <a:pt x="7476" y="2184"/>
                  </a:lnTo>
                  <a:lnTo>
                    <a:pt x="7482" y="2178"/>
                  </a:lnTo>
                  <a:lnTo>
                    <a:pt x="7476" y="2178"/>
                  </a:lnTo>
                  <a:lnTo>
                    <a:pt x="7470" y="2172"/>
                  </a:lnTo>
                  <a:lnTo>
                    <a:pt x="7458" y="2166"/>
                  </a:lnTo>
                  <a:lnTo>
                    <a:pt x="7446" y="2154"/>
                  </a:lnTo>
                  <a:lnTo>
                    <a:pt x="7440" y="2142"/>
                  </a:lnTo>
                  <a:lnTo>
                    <a:pt x="7434" y="2124"/>
                  </a:lnTo>
                  <a:lnTo>
                    <a:pt x="7434" y="2112"/>
                  </a:lnTo>
                  <a:lnTo>
                    <a:pt x="7428" y="2106"/>
                  </a:lnTo>
                  <a:lnTo>
                    <a:pt x="7428" y="2100"/>
                  </a:lnTo>
                  <a:lnTo>
                    <a:pt x="7416" y="2094"/>
                  </a:lnTo>
                  <a:lnTo>
                    <a:pt x="7416" y="2082"/>
                  </a:lnTo>
                  <a:lnTo>
                    <a:pt x="7422" y="2070"/>
                  </a:lnTo>
                  <a:lnTo>
                    <a:pt x="7422" y="2040"/>
                  </a:lnTo>
                  <a:lnTo>
                    <a:pt x="7410" y="2028"/>
                  </a:lnTo>
                  <a:lnTo>
                    <a:pt x="7404" y="2016"/>
                  </a:lnTo>
                  <a:lnTo>
                    <a:pt x="7398" y="2010"/>
                  </a:lnTo>
                  <a:lnTo>
                    <a:pt x="7380" y="2004"/>
                  </a:lnTo>
                  <a:lnTo>
                    <a:pt x="7380" y="1998"/>
                  </a:lnTo>
                  <a:lnTo>
                    <a:pt x="7374" y="1992"/>
                  </a:lnTo>
                  <a:lnTo>
                    <a:pt x="7368" y="1980"/>
                  </a:lnTo>
                  <a:lnTo>
                    <a:pt x="7356" y="1968"/>
                  </a:lnTo>
                  <a:lnTo>
                    <a:pt x="7344" y="1968"/>
                  </a:lnTo>
                  <a:lnTo>
                    <a:pt x="7332" y="1956"/>
                  </a:lnTo>
                  <a:lnTo>
                    <a:pt x="7326" y="1956"/>
                  </a:lnTo>
                  <a:lnTo>
                    <a:pt x="7308" y="1950"/>
                  </a:lnTo>
                  <a:lnTo>
                    <a:pt x="7302" y="1938"/>
                  </a:lnTo>
                  <a:lnTo>
                    <a:pt x="7308" y="1938"/>
                  </a:lnTo>
                  <a:lnTo>
                    <a:pt x="7314" y="1944"/>
                  </a:lnTo>
                  <a:lnTo>
                    <a:pt x="7326" y="1944"/>
                  </a:lnTo>
                  <a:lnTo>
                    <a:pt x="7332" y="1950"/>
                  </a:lnTo>
                  <a:lnTo>
                    <a:pt x="7344" y="1950"/>
                  </a:lnTo>
                  <a:lnTo>
                    <a:pt x="7350" y="1944"/>
                  </a:lnTo>
                  <a:lnTo>
                    <a:pt x="7350" y="1938"/>
                  </a:lnTo>
                  <a:lnTo>
                    <a:pt x="7344" y="1938"/>
                  </a:lnTo>
                  <a:lnTo>
                    <a:pt x="7332" y="1932"/>
                  </a:lnTo>
                  <a:lnTo>
                    <a:pt x="7326" y="1926"/>
                  </a:lnTo>
                  <a:lnTo>
                    <a:pt x="7320" y="1926"/>
                  </a:lnTo>
                  <a:lnTo>
                    <a:pt x="7242" y="1890"/>
                  </a:lnTo>
                  <a:lnTo>
                    <a:pt x="7236" y="1890"/>
                  </a:lnTo>
                  <a:lnTo>
                    <a:pt x="7230" y="1884"/>
                  </a:lnTo>
                  <a:lnTo>
                    <a:pt x="7218" y="1878"/>
                  </a:lnTo>
                  <a:lnTo>
                    <a:pt x="7206" y="1866"/>
                  </a:lnTo>
                  <a:lnTo>
                    <a:pt x="7194" y="1860"/>
                  </a:lnTo>
                  <a:lnTo>
                    <a:pt x="7188" y="1854"/>
                  </a:lnTo>
                  <a:lnTo>
                    <a:pt x="7170" y="1854"/>
                  </a:lnTo>
                  <a:lnTo>
                    <a:pt x="7164" y="1860"/>
                  </a:lnTo>
                  <a:lnTo>
                    <a:pt x="7152" y="1866"/>
                  </a:lnTo>
                  <a:lnTo>
                    <a:pt x="7116" y="1854"/>
                  </a:lnTo>
                  <a:lnTo>
                    <a:pt x="7152" y="1896"/>
                  </a:lnTo>
                  <a:lnTo>
                    <a:pt x="7146" y="1920"/>
                  </a:lnTo>
                  <a:lnTo>
                    <a:pt x="7134" y="1920"/>
                  </a:lnTo>
                  <a:lnTo>
                    <a:pt x="7134" y="1890"/>
                  </a:lnTo>
                  <a:lnTo>
                    <a:pt x="7116" y="1878"/>
                  </a:lnTo>
                  <a:lnTo>
                    <a:pt x="7116" y="1908"/>
                  </a:lnTo>
                  <a:lnTo>
                    <a:pt x="7068" y="1908"/>
                  </a:lnTo>
                  <a:lnTo>
                    <a:pt x="7074" y="1902"/>
                  </a:lnTo>
                  <a:lnTo>
                    <a:pt x="7074" y="1884"/>
                  </a:lnTo>
                  <a:lnTo>
                    <a:pt x="7068" y="1878"/>
                  </a:lnTo>
                  <a:lnTo>
                    <a:pt x="7044" y="1878"/>
                  </a:lnTo>
                  <a:lnTo>
                    <a:pt x="7038" y="1890"/>
                  </a:lnTo>
                  <a:lnTo>
                    <a:pt x="7014" y="1890"/>
                  </a:lnTo>
                  <a:lnTo>
                    <a:pt x="7002" y="1854"/>
                  </a:lnTo>
                  <a:lnTo>
                    <a:pt x="6996" y="1854"/>
                  </a:lnTo>
                  <a:lnTo>
                    <a:pt x="6984" y="1830"/>
                  </a:lnTo>
                  <a:lnTo>
                    <a:pt x="6912" y="1836"/>
                  </a:lnTo>
                  <a:lnTo>
                    <a:pt x="6906" y="1824"/>
                  </a:lnTo>
                  <a:lnTo>
                    <a:pt x="6882" y="1824"/>
                  </a:lnTo>
                  <a:lnTo>
                    <a:pt x="6870" y="1818"/>
                  </a:lnTo>
                  <a:lnTo>
                    <a:pt x="6864" y="1812"/>
                  </a:lnTo>
                  <a:lnTo>
                    <a:pt x="6864" y="1794"/>
                  </a:lnTo>
                  <a:lnTo>
                    <a:pt x="6876" y="1788"/>
                  </a:lnTo>
                  <a:lnTo>
                    <a:pt x="6888" y="1776"/>
                  </a:lnTo>
                  <a:lnTo>
                    <a:pt x="6900" y="1776"/>
                  </a:lnTo>
                  <a:lnTo>
                    <a:pt x="6900" y="1752"/>
                  </a:lnTo>
                  <a:lnTo>
                    <a:pt x="6906" y="1752"/>
                  </a:lnTo>
                  <a:lnTo>
                    <a:pt x="6918" y="1746"/>
                  </a:lnTo>
                  <a:lnTo>
                    <a:pt x="6930" y="1734"/>
                  </a:lnTo>
                  <a:lnTo>
                    <a:pt x="6930" y="1728"/>
                  </a:lnTo>
                  <a:lnTo>
                    <a:pt x="6936" y="1716"/>
                  </a:lnTo>
                  <a:lnTo>
                    <a:pt x="6936" y="1710"/>
                  </a:lnTo>
                  <a:lnTo>
                    <a:pt x="6942" y="1698"/>
                  </a:lnTo>
                  <a:lnTo>
                    <a:pt x="6930" y="1686"/>
                  </a:lnTo>
                  <a:lnTo>
                    <a:pt x="6942" y="1662"/>
                  </a:lnTo>
                  <a:lnTo>
                    <a:pt x="6930" y="1650"/>
                  </a:lnTo>
                  <a:lnTo>
                    <a:pt x="6948" y="1632"/>
                  </a:lnTo>
                  <a:lnTo>
                    <a:pt x="6972" y="1626"/>
                  </a:lnTo>
                  <a:lnTo>
                    <a:pt x="6960" y="1596"/>
                  </a:lnTo>
                  <a:lnTo>
                    <a:pt x="6984" y="1590"/>
                  </a:lnTo>
                  <a:lnTo>
                    <a:pt x="6960" y="1554"/>
                  </a:lnTo>
                  <a:lnTo>
                    <a:pt x="6990" y="1542"/>
                  </a:lnTo>
                  <a:lnTo>
                    <a:pt x="6990" y="1500"/>
                  </a:lnTo>
                  <a:lnTo>
                    <a:pt x="6996" y="1488"/>
                  </a:lnTo>
                  <a:lnTo>
                    <a:pt x="7002" y="1482"/>
                  </a:lnTo>
                  <a:lnTo>
                    <a:pt x="7020" y="1470"/>
                  </a:lnTo>
                  <a:lnTo>
                    <a:pt x="7032" y="1464"/>
                  </a:lnTo>
                  <a:lnTo>
                    <a:pt x="7050" y="1464"/>
                  </a:lnTo>
                  <a:lnTo>
                    <a:pt x="7068" y="1470"/>
                  </a:lnTo>
                  <a:lnTo>
                    <a:pt x="7188" y="1470"/>
                  </a:lnTo>
                  <a:lnTo>
                    <a:pt x="7206" y="1488"/>
                  </a:lnTo>
                  <a:lnTo>
                    <a:pt x="7224" y="1482"/>
                  </a:lnTo>
                  <a:lnTo>
                    <a:pt x="7218" y="1464"/>
                  </a:lnTo>
                  <a:lnTo>
                    <a:pt x="7290" y="1482"/>
                  </a:lnTo>
                  <a:lnTo>
                    <a:pt x="7320" y="1464"/>
                  </a:lnTo>
                  <a:lnTo>
                    <a:pt x="7350" y="1488"/>
                  </a:lnTo>
                  <a:lnTo>
                    <a:pt x="7356" y="1452"/>
                  </a:lnTo>
                  <a:lnTo>
                    <a:pt x="7434" y="1452"/>
                  </a:lnTo>
                  <a:lnTo>
                    <a:pt x="7446" y="1458"/>
                  </a:lnTo>
                  <a:lnTo>
                    <a:pt x="7452" y="1470"/>
                  </a:lnTo>
                  <a:lnTo>
                    <a:pt x="7458" y="1470"/>
                  </a:lnTo>
                  <a:lnTo>
                    <a:pt x="7464" y="1464"/>
                  </a:lnTo>
                  <a:lnTo>
                    <a:pt x="7476" y="1464"/>
                  </a:lnTo>
                  <a:lnTo>
                    <a:pt x="7482" y="1458"/>
                  </a:lnTo>
                  <a:lnTo>
                    <a:pt x="7494" y="1452"/>
                  </a:lnTo>
                  <a:lnTo>
                    <a:pt x="7518" y="1470"/>
                  </a:lnTo>
                  <a:lnTo>
                    <a:pt x="7560" y="1476"/>
                  </a:lnTo>
                  <a:lnTo>
                    <a:pt x="7506" y="1488"/>
                  </a:lnTo>
                  <a:lnTo>
                    <a:pt x="7506" y="1494"/>
                  </a:lnTo>
                  <a:lnTo>
                    <a:pt x="7512" y="1500"/>
                  </a:lnTo>
                  <a:lnTo>
                    <a:pt x="7524" y="1506"/>
                  </a:lnTo>
                  <a:lnTo>
                    <a:pt x="7530" y="1512"/>
                  </a:lnTo>
                  <a:lnTo>
                    <a:pt x="7542" y="1512"/>
                  </a:lnTo>
                  <a:lnTo>
                    <a:pt x="7548" y="1506"/>
                  </a:lnTo>
                  <a:lnTo>
                    <a:pt x="7560" y="1506"/>
                  </a:lnTo>
                  <a:lnTo>
                    <a:pt x="7572" y="1500"/>
                  </a:lnTo>
                  <a:lnTo>
                    <a:pt x="7578" y="1494"/>
                  </a:lnTo>
                  <a:lnTo>
                    <a:pt x="7584" y="1494"/>
                  </a:lnTo>
                  <a:lnTo>
                    <a:pt x="7614" y="1506"/>
                  </a:lnTo>
                  <a:lnTo>
                    <a:pt x="7638" y="1488"/>
                  </a:lnTo>
                  <a:lnTo>
                    <a:pt x="7644" y="1488"/>
                  </a:lnTo>
                  <a:lnTo>
                    <a:pt x="7650" y="1494"/>
                  </a:lnTo>
                  <a:lnTo>
                    <a:pt x="7686" y="1494"/>
                  </a:lnTo>
                  <a:lnTo>
                    <a:pt x="7692" y="1488"/>
                  </a:lnTo>
                  <a:lnTo>
                    <a:pt x="7692" y="1476"/>
                  </a:lnTo>
                  <a:lnTo>
                    <a:pt x="7728" y="1482"/>
                  </a:lnTo>
                  <a:lnTo>
                    <a:pt x="7680" y="1452"/>
                  </a:lnTo>
                  <a:lnTo>
                    <a:pt x="7650" y="1464"/>
                  </a:lnTo>
                  <a:lnTo>
                    <a:pt x="7644" y="1446"/>
                  </a:lnTo>
                  <a:lnTo>
                    <a:pt x="7638" y="1434"/>
                  </a:lnTo>
                  <a:lnTo>
                    <a:pt x="7632" y="1428"/>
                  </a:lnTo>
                  <a:lnTo>
                    <a:pt x="7626" y="1416"/>
                  </a:lnTo>
                  <a:lnTo>
                    <a:pt x="7626" y="1398"/>
                  </a:lnTo>
                  <a:lnTo>
                    <a:pt x="7650" y="1374"/>
                  </a:lnTo>
                  <a:lnTo>
                    <a:pt x="7644" y="1344"/>
                  </a:lnTo>
                  <a:lnTo>
                    <a:pt x="7662" y="1332"/>
                  </a:lnTo>
                  <a:lnTo>
                    <a:pt x="7650" y="1326"/>
                  </a:lnTo>
                  <a:lnTo>
                    <a:pt x="7638" y="1314"/>
                  </a:lnTo>
                  <a:lnTo>
                    <a:pt x="7638" y="1302"/>
                  </a:lnTo>
                  <a:lnTo>
                    <a:pt x="7644" y="1296"/>
                  </a:lnTo>
                  <a:lnTo>
                    <a:pt x="7662" y="1290"/>
                  </a:lnTo>
                  <a:lnTo>
                    <a:pt x="7698" y="1290"/>
                  </a:lnTo>
                  <a:lnTo>
                    <a:pt x="7710" y="1296"/>
                  </a:lnTo>
                  <a:lnTo>
                    <a:pt x="7728" y="1296"/>
                  </a:lnTo>
                  <a:lnTo>
                    <a:pt x="7746" y="1278"/>
                  </a:lnTo>
                  <a:lnTo>
                    <a:pt x="7782" y="1308"/>
                  </a:lnTo>
                  <a:lnTo>
                    <a:pt x="7806" y="1290"/>
                  </a:lnTo>
                  <a:lnTo>
                    <a:pt x="7812" y="1302"/>
                  </a:lnTo>
                  <a:lnTo>
                    <a:pt x="7818" y="1308"/>
                  </a:lnTo>
                  <a:lnTo>
                    <a:pt x="7830" y="1332"/>
                  </a:lnTo>
                  <a:lnTo>
                    <a:pt x="7830" y="1338"/>
                  </a:lnTo>
                  <a:lnTo>
                    <a:pt x="7836" y="1344"/>
                  </a:lnTo>
                  <a:lnTo>
                    <a:pt x="7878" y="1344"/>
                  </a:lnTo>
                  <a:lnTo>
                    <a:pt x="7878" y="1362"/>
                  </a:lnTo>
                  <a:lnTo>
                    <a:pt x="7884" y="1374"/>
                  </a:lnTo>
                  <a:lnTo>
                    <a:pt x="7890" y="1380"/>
                  </a:lnTo>
                  <a:lnTo>
                    <a:pt x="7896" y="1380"/>
                  </a:lnTo>
                  <a:lnTo>
                    <a:pt x="7914" y="1362"/>
                  </a:lnTo>
                  <a:lnTo>
                    <a:pt x="7932" y="1326"/>
                  </a:lnTo>
                  <a:lnTo>
                    <a:pt x="7938" y="1320"/>
                  </a:lnTo>
                  <a:lnTo>
                    <a:pt x="7938" y="1314"/>
                  </a:lnTo>
                  <a:lnTo>
                    <a:pt x="7962" y="1302"/>
                  </a:lnTo>
                  <a:lnTo>
                    <a:pt x="7992" y="1314"/>
                  </a:lnTo>
                  <a:lnTo>
                    <a:pt x="7986" y="1302"/>
                  </a:lnTo>
                  <a:lnTo>
                    <a:pt x="7962" y="1284"/>
                  </a:lnTo>
                  <a:lnTo>
                    <a:pt x="7956" y="1278"/>
                  </a:lnTo>
                  <a:lnTo>
                    <a:pt x="7932" y="1266"/>
                  </a:lnTo>
                  <a:lnTo>
                    <a:pt x="7926" y="1254"/>
                  </a:lnTo>
                  <a:lnTo>
                    <a:pt x="7914" y="1248"/>
                  </a:lnTo>
                  <a:lnTo>
                    <a:pt x="7908" y="1242"/>
                  </a:lnTo>
                  <a:lnTo>
                    <a:pt x="7908" y="1230"/>
                  </a:lnTo>
                  <a:lnTo>
                    <a:pt x="7962" y="1230"/>
                  </a:lnTo>
                  <a:lnTo>
                    <a:pt x="7992" y="1236"/>
                  </a:lnTo>
                  <a:lnTo>
                    <a:pt x="8052" y="1236"/>
                  </a:lnTo>
                  <a:lnTo>
                    <a:pt x="8052" y="1254"/>
                  </a:lnTo>
                  <a:lnTo>
                    <a:pt x="8040" y="1254"/>
                  </a:lnTo>
                  <a:lnTo>
                    <a:pt x="8028" y="1248"/>
                  </a:lnTo>
                  <a:lnTo>
                    <a:pt x="7992" y="1248"/>
                  </a:lnTo>
                  <a:lnTo>
                    <a:pt x="7992" y="1266"/>
                  </a:lnTo>
                  <a:lnTo>
                    <a:pt x="8016" y="1290"/>
                  </a:lnTo>
                  <a:lnTo>
                    <a:pt x="8028" y="1296"/>
                  </a:lnTo>
                  <a:lnTo>
                    <a:pt x="8034" y="1320"/>
                  </a:lnTo>
                  <a:lnTo>
                    <a:pt x="8064" y="1326"/>
                  </a:lnTo>
                  <a:lnTo>
                    <a:pt x="8058" y="1344"/>
                  </a:lnTo>
                  <a:lnTo>
                    <a:pt x="8076" y="1362"/>
                  </a:lnTo>
                  <a:lnTo>
                    <a:pt x="8046" y="1368"/>
                  </a:lnTo>
                  <a:lnTo>
                    <a:pt x="8040" y="1380"/>
                  </a:lnTo>
                  <a:lnTo>
                    <a:pt x="8022" y="1386"/>
                  </a:lnTo>
                  <a:lnTo>
                    <a:pt x="8028" y="1398"/>
                  </a:lnTo>
                  <a:lnTo>
                    <a:pt x="8028" y="1404"/>
                  </a:lnTo>
                  <a:lnTo>
                    <a:pt x="8034" y="1416"/>
                  </a:lnTo>
                  <a:lnTo>
                    <a:pt x="8034" y="1440"/>
                  </a:lnTo>
                  <a:lnTo>
                    <a:pt x="8028" y="1452"/>
                  </a:lnTo>
                  <a:lnTo>
                    <a:pt x="8016" y="1464"/>
                  </a:lnTo>
                  <a:lnTo>
                    <a:pt x="8004" y="1488"/>
                  </a:lnTo>
                  <a:lnTo>
                    <a:pt x="8004" y="1506"/>
                  </a:lnTo>
                  <a:lnTo>
                    <a:pt x="8010" y="1506"/>
                  </a:lnTo>
                  <a:lnTo>
                    <a:pt x="8016" y="1512"/>
                  </a:lnTo>
                  <a:lnTo>
                    <a:pt x="8022" y="1524"/>
                  </a:lnTo>
                  <a:lnTo>
                    <a:pt x="8016" y="1530"/>
                  </a:lnTo>
                  <a:lnTo>
                    <a:pt x="8010" y="1542"/>
                  </a:lnTo>
                  <a:lnTo>
                    <a:pt x="7986" y="1566"/>
                  </a:lnTo>
                  <a:lnTo>
                    <a:pt x="7974" y="1572"/>
                  </a:lnTo>
                  <a:lnTo>
                    <a:pt x="7968" y="1578"/>
                  </a:lnTo>
                  <a:lnTo>
                    <a:pt x="7962" y="1578"/>
                  </a:lnTo>
                  <a:lnTo>
                    <a:pt x="7962" y="1596"/>
                  </a:lnTo>
                  <a:lnTo>
                    <a:pt x="7944" y="1596"/>
                  </a:lnTo>
                  <a:lnTo>
                    <a:pt x="7950" y="1596"/>
                  </a:lnTo>
                  <a:lnTo>
                    <a:pt x="7956" y="1602"/>
                  </a:lnTo>
                  <a:lnTo>
                    <a:pt x="7968" y="1608"/>
                  </a:lnTo>
                  <a:lnTo>
                    <a:pt x="7980" y="1632"/>
                  </a:lnTo>
                  <a:lnTo>
                    <a:pt x="7974" y="1650"/>
                  </a:lnTo>
                  <a:lnTo>
                    <a:pt x="7974" y="1662"/>
                  </a:lnTo>
                  <a:lnTo>
                    <a:pt x="7968" y="1674"/>
                  </a:lnTo>
                  <a:lnTo>
                    <a:pt x="7968" y="1686"/>
                  </a:lnTo>
                  <a:lnTo>
                    <a:pt x="7974" y="1704"/>
                  </a:lnTo>
                  <a:lnTo>
                    <a:pt x="7992" y="1722"/>
                  </a:lnTo>
                  <a:lnTo>
                    <a:pt x="8016" y="1752"/>
                  </a:lnTo>
                  <a:lnTo>
                    <a:pt x="8046" y="1776"/>
                  </a:lnTo>
                  <a:lnTo>
                    <a:pt x="8070" y="1800"/>
                  </a:lnTo>
                  <a:lnTo>
                    <a:pt x="8082" y="1806"/>
                  </a:lnTo>
                  <a:lnTo>
                    <a:pt x="8142" y="1872"/>
                  </a:lnTo>
                  <a:lnTo>
                    <a:pt x="8154" y="1866"/>
                  </a:lnTo>
                  <a:lnTo>
                    <a:pt x="8238" y="1962"/>
                  </a:lnTo>
                  <a:lnTo>
                    <a:pt x="8286" y="1980"/>
                  </a:lnTo>
                  <a:lnTo>
                    <a:pt x="8310" y="2004"/>
                  </a:lnTo>
                  <a:lnTo>
                    <a:pt x="8316" y="2016"/>
                  </a:lnTo>
                  <a:lnTo>
                    <a:pt x="8328" y="2022"/>
                  </a:lnTo>
                  <a:lnTo>
                    <a:pt x="8334" y="2034"/>
                  </a:lnTo>
                  <a:lnTo>
                    <a:pt x="8388" y="2088"/>
                  </a:lnTo>
                  <a:lnTo>
                    <a:pt x="8406" y="2088"/>
                  </a:lnTo>
                  <a:lnTo>
                    <a:pt x="8406" y="2106"/>
                  </a:lnTo>
                  <a:lnTo>
                    <a:pt x="8418" y="2106"/>
                  </a:lnTo>
                  <a:lnTo>
                    <a:pt x="8430" y="2100"/>
                  </a:lnTo>
                  <a:lnTo>
                    <a:pt x="8436" y="2094"/>
                  </a:lnTo>
                  <a:lnTo>
                    <a:pt x="8442" y="2082"/>
                  </a:lnTo>
                  <a:lnTo>
                    <a:pt x="8442" y="2076"/>
                  </a:lnTo>
                  <a:lnTo>
                    <a:pt x="8430" y="2064"/>
                  </a:lnTo>
                  <a:lnTo>
                    <a:pt x="8436" y="2058"/>
                  </a:lnTo>
                  <a:lnTo>
                    <a:pt x="8442" y="2046"/>
                  </a:lnTo>
                  <a:lnTo>
                    <a:pt x="8448" y="2040"/>
                  </a:lnTo>
                  <a:lnTo>
                    <a:pt x="8448" y="2022"/>
                  </a:lnTo>
                  <a:lnTo>
                    <a:pt x="8430" y="2004"/>
                  </a:lnTo>
                  <a:lnTo>
                    <a:pt x="8418" y="1998"/>
                  </a:lnTo>
                  <a:lnTo>
                    <a:pt x="8406" y="1974"/>
                  </a:lnTo>
                  <a:lnTo>
                    <a:pt x="8406" y="1962"/>
                  </a:lnTo>
                  <a:lnTo>
                    <a:pt x="8412" y="1950"/>
                  </a:lnTo>
                  <a:lnTo>
                    <a:pt x="8430" y="1932"/>
                  </a:lnTo>
                  <a:lnTo>
                    <a:pt x="8442" y="1932"/>
                  </a:lnTo>
                  <a:lnTo>
                    <a:pt x="8454" y="1938"/>
                  </a:lnTo>
                  <a:lnTo>
                    <a:pt x="8460" y="1938"/>
                  </a:lnTo>
                  <a:lnTo>
                    <a:pt x="8466" y="1944"/>
                  </a:lnTo>
                  <a:lnTo>
                    <a:pt x="8472" y="1944"/>
                  </a:lnTo>
                  <a:lnTo>
                    <a:pt x="8466" y="1938"/>
                  </a:lnTo>
                  <a:lnTo>
                    <a:pt x="8460" y="1926"/>
                  </a:lnTo>
                  <a:lnTo>
                    <a:pt x="8448" y="1920"/>
                  </a:lnTo>
                  <a:lnTo>
                    <a:pt x="8442" y="1908"/>
                  </a:lnTo>
                  <a:lnTo>
                    <a:pt x="8424" y="1890"/>
                  </a:lnTo>
                  <a:lnTo>
                    <a:pt x="8412" y="1890"/>
                  </a:lnTo>
                  <a:lnTo>
                    <a:pt x="8406" y="1884"/>
                  </a:lnTo>
                  <a:lnTo>
                    <a:pt x="8400" y="1872"/>
                  </a:lnTo>
                  <a:lnTo>
                    <a:pt x="8400" y="1860"/>
                  </a:lnTo>
                  <a:lnTo>
                    <a:pt x="8406" y="1848"/>
                  </a:lnTo>
                  <a:lnTo>
                    <a:pt x="8412" y="1842"/>
                  </a:lnTo>
                  <a:lnTo>
                    <a:pt x="8424" y="1836"/>
                  </a:lnTo>
                  <a:lnTo>
                    <a:pt x="8430" y="1830"/>
                  </a:lnTo>
                  <a:lnTo>
                    <a:pt x="8442" y="1836"/>
                  </a:lnTo>
                  <a:lnTo>
                    <a:pt x="8466" y="1836"/>
                  </a:lnTo>
                  <a:lnTo>
                    <a:pt x="8472" y="1830"/>
                  </a:lnTo>
                  <a:lnTo>
                    <a:pt x="8472" y="1812"/>
                  </a:lnTo>
                  <a:lnTo>
                    <a:pt x="8454" y="1794"/>
                  </a:lnTo>
                  <a:lnTo>
                    <a:pt x="8436" y="1788"/>
                  </a:lnTo>
                  <a:lnTo>
                    <a:pt x="8424" y="1782"/>
                  </a:lnTo>
                  <a:lnTo>
                    <a:pt x="8406" y="1770"/>
                  </a:lnTo>
                  <a:lnTo>
                    <a:pt x="8394" y="1758"/>
                  </a:lnTo>
                  <a:lnTo>
                    <a:pt x="8388" y="1740"/>
                  </a:lnTo>
                  <a:lnTo>
                    <a:pt x="8376" y="1716"/>
                  </a:lnTo>
                  <a:lnTo>
                    <a:pt x="8376" y="1704"/>
                  </a:lnTo>
                  <a:lnTo>
                    <a:pt x="8370" y="1698"/>
                  </a:lnTo>
                  <a:lnTo>
                    <a:pt x="8370" y="1692"/>
                  </a:lnTo>
                  <a:lnTo>
                    <a:pt x="8382" y="1686"/>
                  </a:lnTo>
                  <a:lnTo>
                    <a:pt x="8406" y="1710"/>
                  </a:lnTo>
                  <a:lnTo>
                    <a:pt x="8418" y="1716"/>
                  </a:lnTo>
                  <a:lnTo>
                    <a:pt x="8430" y="1716"/>
                  </a:lnTo>
                  <a:lnTo>
                    <a:pt x="8430" y="1710"/>
                  </a:lnTo>
                  <a:lnTo>
                    <a:pt x="8424" y="1704"/>
                  </a:lnTo>
                  <a:lnTo>
                    <a:pt x="8418" y="1692"/>
                  </a:lnTo>
                  <a:lnTo>
                    <a:pt x="8412" y="1686"/>
                  </a:lnTo>
                  <a:lnTo>
                    <a:pt x="8406" y="1674"/>
                  </a:lnTo>
                  <a:lnTo>
                    <a:pt x="8400" y="1668"/>
                  </a:lnTo>
                  <a:lnTo>
                    <a:pt x="8364" y="1668"/>
                  </a:lnTo>
                  <a:lnTo>
                    <a:pt x="8316" y="1626"/>
                  </a:lnTo>
                  <a:lnTo>
                    <a:pt x="8316" y="1596"/>
                  </a:lnTo>
                  <a:lnTo>
                    <a:pt x="8310" y="1590"/>
                  </a:lnTo>
                  <a:lnTo>
                    <a:pt x="8298" y="1584"/>
                  </a:lnTo>
                  <a:lnTo>
                    <a:pt x="8280" y="1578"/>
                  </a:lnTo>
                  <a:lnTo>
                    <a:pt x="8268" y="1572"/>
                  </a:lnTo>
                  <a:lnTo>
                    <a:pt x="8256" y="1572"/>
                  </a:lnTo>
                  <a:lnTo>
                    <a:pt x="8256" y="1590"/>
                  </a:lnTo>
                  <a:lnTo>
                    <a:pt x="8250" y="1590"/>
                  </a:lnTo>
                  <a:lnTo>
                    <a:pt x="8244" y="1584"/>
                  </a:lnTo>
                  <a:lnTo>
                    <a:pt x="8232" y="1584"/>
                  </a:lnTo>
                  <a:lnTo>
                    <a:pt x="8214" y="1572"/>
                  </a:lnTo>
                  <a:lnTo>
                    <a:pt x="8202" y="1566"/>
                  </a:lnTo>
                  <a:lnTo>
                    <a:pt x="8196" y="1560"/>
                  </a:lnTo>
                  <a:lnTo>
                    <a:pt x="8190" y="1548"/>
                  </a:lnTo>
                  <a:lnTo>
                    <a:pt x="8190" y="1536"/>
                  </a:lnTo>
                  <a:lnTo>
                    <a:pt x="8196" y="1524"/>
                  </a:lnTo>
                  <a:lnTo>
                    <a:pt x="8196" y="1500"/>
                  </a:lnTo>
                  <a:lnTo>
                    <a:pt x="8184" y="1476"/>
                  </a:lnTo>
                  <a:lnTo>
                    <a:pt x="8166" y="1458"/>
                  </a:lnTo>
                  <a:lnTo>
                    <a:pt x="8154" y="1452"/>
                  </a:lnTo>
                  <a:lnTo>
                    <a:pt x="8154" y="1434"/>
                  </a:lnTo>
                  <a:lnTo>
                    <a:pt x="8160" y="1428"/>
                  </a:lnTo>
                  <a:lnTo>
                    <a:pt x="8172" y="1428"/>
                  </a:lnTo>
                  <a:lnTo>
                    <a:pt x="8184" y="1434"/>
                  </a:lnTo>
                  <a:lnTo>
                    <a:pt x="8196" y="1416"/>
                  </a:lnTo>
                  <a:lnTo>
                    <a:pt x="8232" y="1446"/>
                  </a:lnTo>
                  <a:lnTo>
                    <a:pt x="8238" y="1440"/>
                  </a:lnTo>
                  <a:lnTo>
                    <a:pt x="8226" y="1428"/>
                  </a:lnTo>
                  <a:lnTo>
                    <a:pt x="8226" y="1422"/>
                  </a:lnTo>
                  <a:lnTo>
                    <a:pt x="8232" y="1416"/>
                  </a:lnTo>
                  <a:lnTo>
                    <a:pt x="8232" y="1404"/>
                  </a:lnTo>
                  <a:lnTo>
                    <a:pt x="8238" y="1392"/>
                  </a:lnTo>
                  <a:lnTo>
                    <a:pt x="8250" y="1386"/>
                  </a:lnTo>
                  <a:lnTo>
                    <a:pt x="8256" y="1386"/>
                  </a:lnTo>
                  <a:lnTo>
                    <a:pt x="8274" y="1404"/>
                  </a:lnTo>
                  <a:lnTo>
                    <a:pt x="8280" y="1416"/>
                  </a:lnTo>
                  <a:lnTo>
                    <a:pt x="8292" y="1428"/>
                  </a:lnTo>
                  <a:lnTo>
                    <a:pt x="8304" y="1434"/>
                  </a:lnTo>
                  <a:lnTo>
                    <a:pt x="8310" y="1446"/>
                  </a:lnTo>
                  <a:lnTo>
                    <a:pt x="8322" y="1398"/>
                  </a:lnTo>
                  <a:lnTo>
                    <a:pt x="8334" y="1398"/>
                  </a:lnTo>
                  <a:lnTo>
                    <a:pt x="8364" y="1392"/>
                  </a:lnTo>
                  <a:lnTo>
                    <a:pt x="8400" y="1386"/>
                  </a:lnTo>
                  <a:lnTo>
                    <a:pt x="8430" y="1386"/>
                  </a:lnTo>
                  <a:lnTo>
                    <a:pt x="8478" y="1410"/>
                  </a:lnTo>
                  <a:lnTo>
                    <a:pt x="8484" y="1416"/>
                  </a:lnTo>
                  <a:lnTo>
                    <a:pt x="8490" y="1416"/>
                  </a:lnTo>
                  <a:lnTo>
                    <a:pt x="8532" y="1434"/>
                  </a:lnTo>
                  <a:lnTo>
                    <a:pt x="8502" y="1374"/>
                  </a:lnTo>
                  <a:lnTo>
                    <a:pt x="8526" y="1374"/>
                  </a:lnTo>
                  <a:lnTo>
                    <a:pt x="8538" y="1368"/>
                  </a:lnTo>
                  <a:lnTo>
                    <a:pt x="8550" y="1356"/>
                  </a:lnTo>
                  <a:lnTo>
                    <a:pt x="8550" y="1332"/>
                  </a:lnTo>
                  <a:lnTo>
                    <a:pt x="8544" y="1326"/>
                  </a:lnTo>
                  <a:lnTo>
                    <a:pt x="8538" y="1314"/>
                  </a:lnTo>
                  <a:lnTo>
                    <a:pt x="8562" y="1314"/>
                  </a:lnTo>
                  <a:lnTo>
                    <a:pt x="8562" y="1290"/>
                  </a:lnTo>
                  <a:lnTo>
                    <a:pt x="8574" y="1290"/>
                  </a:lnTo>
                  <a:lnTo>
                    <a:pt x="8586" y="1296"/>
                  </a:lnTo>
                  <a:lnTo>
                    <a:pt x="8616" y="1296"/>
                  </a:lnTo>
                  <a:lnTo>
                    <a:pt x="8628" y="1290"/>
                  </a:lnTo>
                  <a:lnTo>
                    <a:pt x="8634" y="1284"/>
                  </a:lnTo>
                  <a:lnTo>
                    <a:pt x="8640" y="1272"/>
                  </a:lnTo>
                  <a:lnTo>
                    <a:pt x="8652" y="1260"/>
                  </a:lnTo>
                  <a:lnTo>
                    <a:pt x="8658" y="1248"/>
                  </a:lnTo>
                  <a:lnTo>
                    <a:pt x="8664" y="1242"/>
                  </a:lnTo>
                  <a:lnTo>
                    <a:pt x="8670" y="1242"/>
                  </a:lnTo>
                  <a:lnTo>
                    <a:pt x="8652" y="1218"/>
                  </a:lnTo>
                  <a:lnTo>
                    <a:pt x="8682" y="1218"/>
                  </a:lnTo>
                  <a:lnTo>
                    <a:pt x="8688" y="1236"/>
                  </a:lnTo>
                  <a:lnTo>
                    <a:pt x="8748" y="1242"/>
                  </a:lnTo>
                  <a:lnTo>
                    <a:pt x="8760" y="1242"/>
                  </a:lnTo>
                  <a:lnTo>
                    <a:pt x="8772" y="1248"/>
                  </a:lnTo>
                  <a:lnTo>
                    <a:pt x="8808" y="1248"/>
                  </a:lnTo>
                  <a:lnTo>
                    <a:pt x="8808" y="1230"/>
                  </a:lnTo>
                  <a:lnTo>
                    <a:pt x="8802" y="1218"/>
                  </a:lnTo>
                  <a:lnTo>
                    <a:pt x="8766" y="1218"/>
                  </a:lnTo>
                  <a:lnTo>
                    <a:pt x="8760" y="1194"/>
                  </a:lnTo>
                  <a:lnTo>
                    <a:pt x="8754" y="1194"/>
                  </a:lnTo>
                  <a:lnTo>
                    <a:pt x="8748" y="1188"/>
                  </a:lnTo>
                  <a:lnTo>
                    <a:pt x="8736" y="1188"/>
                  </a:lnTo>
                  <a:lnTo>
                    <a:pt x="8712" y="1176"/>
                  </a:lnTo>
                  <a:lnTo>
                    <a:pt x="8700" y="1176"/>
                  </a:lnTo>
                  <a:lnTo>
                    <a:pt x="8688" y="1170"/>
                  </a:lnTo>
                  <a:lnTo>
                    <a:pt x="8658" y="1170"/>
                  </a:lnTo>
                  <a:lnTo>
                    <a:pt x="8664" y="1152"/>
                  </a:lnTo>
                  <a:lnTo>
                    <a:pt x="8592" y="1104"/>
                  </a:lnTo>
                  <a:lnTo>
                    <a:pt x="8574" y="1122"/>
                  </a:lnTo>
                  <a:lnTo>
                    <a:pt x="8568" y="1122"/>
                  </a:lnTo>
                  <a:lnTo>
                    <a:pt x="8562" y="1116"/>
                  </a:lnTo>
                  <a:lnTo>
                    <a:pt x="8550" y="1116"/>
                  </a:lnTo>
                  <a:lnTo>
                    <a:pt x="8538" y="1110"/>
                  </a:lnTo>
                  <a:lnTo>
                    <a:pt x="8532" y="1110"/>
                  </a:lnTo>
                  <a:lnTo>
                    <a:pt x="8520" y="1104"/>
                  </a:lnTo>
                  <a:lnTo>
                    <a:pt x="8508" y="1092"/>
                  </a:lnTo>
                  <a:lnTo>
                    <a:pt x="8502" y="1092"/>
                  </a:lnTo>
                  <a:lnTo>
                    <a:pt x="8466" y="1098"/>
                  </a:lnTo>
                  <a:lnTo>
                    <a:pt x="8442" y="1092"/>
                  </a:lnTo>
                  <a:lnTo>
                    <a:pt x="8430" y="1086"/>
                  </a:lnTo>
                  <a:lnTo>
                    <a:pt x="8412" y="1068"/>
                  </a:lnTo>
                  <a:lnTo>
                    <a:pt x="8406" y="1068"/>
                  </a:lnTo>
                  <a:lnTo>
                    <a:pt x="8412" y="1062"/>
                  </a:lnTo>
                  <a:lnTo>
                    <a:pt x="8436" y="1062"/>
                  </a:lnTo>
                  <a:lnTo>
                    <a:pt x="8460" y="1074"/>
                  </a:lnTo>
                  <a:lnTo>
                    <a:pt x="8478" y="1074"/>
                  </a:lnTo>
                  <a:lnTo>
                    <a:pt x="8496" y="1080"/>
                  </a:lnTo>
                  <a:lnTo>
                    <a:pt x="8514" y="1080"/>
                  </a:lnTo>
                  <a:lnTo>
                    <a:pt x="8526" y="1086"/>
                  </a:lnTo>
                  <a:lnTo>
                    <a:pt x="8544" y="1086"/>
                  </a:lnTo>
                  <a:lnTo>
                    <a:pt x="8550" y="1080"/>
                  </a:lnTo>
                  <a:lnTo>
                    <a:pt x="8562" y="1080"/>
                  </a:lnTo>
                  <a:lnTo>
                    <a:pt x="8580" y="1074"/>
                  </a:lnTo>
                  <a:lnTo>
                    <a:pt x="8604" y="1062"/>
                  </a:lnTo>
                  <a:lnTo>
                    <a:pt x="8616" y="1050"/>
                  </a:lnTo>
                  <a:lnTo>
                    <a:pt x="8604" y="1038"/>
                  </a:lnTo>
                  <a:lnTo>
                    <a:pt x="8592" y="1032"/>
                  </a:lnTo>
                  <a:lnTo>
                    <a:pt x="8586" y="1026"/>
                  </a:lnTo>
                  <a:lnTo>
                    <a:pt x="8574" y="1020"/>
                  </a:lnTo>
                  <a:lnTo>
                    <a:pt x="8568" y="1014"/>
                  </a:lnTo>
                  <a:lnTo>
                    <a:pt x="8562" y="1014"/>
                  </a:lnTo>
                  <a:lnTo>
                    <a:pt x="8556" y="1008"/>
                  </a:lnTo>
                  <a:lnTo>
                    <a:pt x="8520" y="990"/>
                  </a:lnTo>
                  <a:lnTo>
                    <a:pt x="8508" y="978"/>
                  </a:lnTo>
                  <a:lnTo>
                    <a:pt x="8514" y="972"/>
                  </a:lnTo>
                  <a:lnTo>
                    <a:pt x="8538" y="972"/>
                  </a:lnTo>
                  <a:lnTo>
                    <a:pt x="8556" y="978"/>
                  </a:lnTo>
                  <a:lnTo>
                    <a:pt x="8562" y="984"/>
                  </a:lnTo>
                  <a:lnTo>
                    <a:pt x="8574" y="990"/>
                  </a:lnTo>
                  <a:lnTo>
                    <a:pt x="8580" y="990"/>
                  </a:lnTo>
                  <a:lnTo>
                    <a:pt x="8586" y="996"/>
                  </a:lnTo>
                  <a:lnTo>
                    <a:pt x="8610" y="1008"/>
                  </a:lnTo>
                  <a:lnTo>
                    <a:pt x="8628" y="1020"/>
                  </a:lnTo>
                  <a:lnTo>
                    <a:pt x="8652" y="1032"/>
                  </a:lnTo>
                  <a:lnTo>
                    <a:pt x="8664" y="1032"/>
                  </a:lnTo>
                  <a:lnTo>
                    <a:pt x="8676" y="1026"/>
                  </a:lnTo>
                  <a:lnTo>
                    <a:pt x="8682" y="1026"/>
                  </a:lnTo>
                  <a:lnTo>
                    <a:pt x="8688" y="1020"/>
                  </a:lnTo>
                  <a:lnTo>
                    <a:pt x="8730" y="1020"/>
                  </a:lnTo>
                  <a:lnTo>
                    <a:pt x="8754" y="1026"/>
                  </a:lnTo>
                  <a:lnTo>
                    <a:pt x="8808" y="1044"/>
                  </a:lnTo>
                  <a:lnTo>
                    <a:pt x="8850" y="1062"/>
                  </a:lnTo>
                  <a:lnTo>
                    <a:pt x="8880" y="1068"/>
                  </a:lnTo>
                  <a:lnTo>
                    <a:pt x="8886" y="1074"/>
                  </a:lnTo>
                  <a:lnTo>
                    <a:pt x="8898" y="1074"/>
                  </a:lnTo>
                  <a:lnTo>
                    <a:pt x="8934" y="1086"/>
                  </a:lnTo>
                  <a:lnTo>
                    <a:pt x="8946" y="1086"/>
                  </a:lnTo>
                  <a:lnTo>
                    <a:pt x="8952" y="1092"/>
                  </a:lnTo>
                  <a:lnTo>
                    <a:pt x="8958" y="1092"/>
                  </a:lnTo>
                  <a:lnTo>
                    <a:pt x="8970" y="1098"/>
                  </a:lnTo>
                  <a:lnTo>
                    <a:pt x="8976" y="1104"/>
                  </a:lnTo>
                  <a:lnTo>
                    <a:pt x="8988" y="1110"/>
                  </a:lnTo>
                  <a:lnTo>
                    <a:pt x="9000" y="1110"/>
                  </a:lnTo>
                  <a:lnTo>
                    <a:pt x="9018" y="1116"/>
                  </a:lnTo>
                  <a:lnTo>
                    <a:pt x="9024" y="1122"/>
                  </a:lnTo>
                  <a:lnTo>
                    <a:pt x="9042" y="1122"/>
                  </a:lnTo>
                  <a:lnTo>
                    <a:pt x="9042" y="1116"/>
                  </a:lnTo>
                  <a:lnTo>
                    <a:pt x="9036" y="1098"/>
                  </a:lnTo>
                  <a:lnTo>
                    <a:pt x="9012" y="1074"/>
                  </a:lnTo>
                  <a:lnTo>
                    <a:pt x="9006" y="1074"/>
                  </a:lnTo>
                  <a:lnTo>
                    <a:pt x="9024" y="1056"/>
                  </a:lnTo>
                  <a:lnTo>
                    <a:pt x="8976" y="1038"/>
                  </a:lnTo>
                  <a:lnTo>
                    <a:pt x="8988" y="1032"/>
                  </a:lnTo>
                  <a:lnTo>
                    <a:pt x="8940" y="1008"/>
                  </a:lnTo>
                  <a:lnTo>
                    <a:pt x="8994" y="1020"/>
                  </a:lnTo>
                  <a:lnTo>
                    <a:pt x="8988" y="996"/>
                  </a:lnTo>
                  <a:lnTo>
                    <a:pt x="9000" y="996"/>
                  </a:lnTo>
                  <a:lnTo>
                    <a:pt x="9012" y="1002"/>
                  </a:lnTo>
                  <a:lnTo>
                    <a:pt x="9048" y="1002"/>
                  </a:lnTo>
                  <a:lnTo>
                    <a:pt x="9048" y="996"/>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76" name="Republik Kongo" descr="© INSCALE GmbH, 05.05.2010&#10;http://www.presentationload.com/">
              <a:extLst>
                <a:ext uri="{FF2B5EF4-FFF2-40B4-BE49-F238E27FC236}">
                  <a16:creationId xmlns:a16="http://schemas.microsoft.com/office/drawing/2014/main" id="{C10E9E7C-8123-410E-AD30-520D01524D3F}"/>
                </a:ext>
              </a:extLst>
            </p:cNvPr>
            <p:cNvSpPr>
              <a:spLocks/>
            </p:cNvSpPr>
            <p:nvPr/>
          </p:nvSpPr>
          <p:spPr bwMode="gray">
            <a:xfrm>
              <a:off x="4475892" y="4080147"/>
              <a:ext cx="536264" cy="603690"/>
            </a:xfrm>
            <a:custGeom>
              <a:avLst/>
              <a:gdLst>
                <a:gd name="T0" fmla="*/ 2147483647 w 1350"/>
                <a:gd name="T1" fmla="*/ 2147483647 h 1518"/>
                <a:gd name="T2" fmla="*/ 2147483647 w 1350"/>
                <a:gd name="T3" fmla="*/ 2147483647 h 1518"/>
                <a:gd name="T4" fmla="*/ 2147483647 w 1350"/>
                <a:gd name="T5" fmla="*/ 2147483647 h 1518"/>
                <a:gd name="T6" fmla="*/ 2147483647 w 1350"/>
                <a:gd name="T7" fmla="*/ 2147483647 h 1518"/>
                <a:gd name="T8" fmla="*/ 2147483647 w 1350"/>
                <a:gd name="T9" fmla="*/ 2147483647 h 1518"/>
                <a:gd name="T10" fmla="*/ 2147483647 w 1350"/>
                <a:gd name="T11" fmla="*/ 2147483647 h 1518"/>
                <a:gd name="T12" fmla="*/ 2147483647 w 1350"/>
                <a:gd name="T13" fmla="*/ 2147483647 h 1518"/>
                <a:gd name="T14" fmla="*/ 2147483647 w 1350"/>
                <a:gd name="T15" fmla="*/ 2147483647 h 1518"/>
                <a:gd name="T16" fmla="*/ 2147483647 w 1350"/>
                <a:gd name="T17" fmla="*/ 2147483647 h 1518"/>
                <a:gd name="T18" fmla="*/ 2147483647 w 1350"/>
                <a:gd name="T19" fmla="*/ 2147483647 h 1518"/>
                <a:gd name="T20" fmla="*/ 2147483647 w 1350"/>
                <a:gd name="T21" fmla="*/ 2147483647 h 1518"/>
                <a:gd name="T22" fmla="*/ 2147483647 w 1350"/>
                <a:gd name="T23" fmla="*/ 2147483647 h 1518"/>
                <a:gd name="T24" fmla="*/ 2147483647 w 1350"/>
                <a:gd name="T25" fmla="*/ 2147483647 h 1518"/>
                <a:gd name="T26" fmla="*/ 2147483647 w 1350"/>
                <a:gd name="T27" fmla="*/ 2147483647 h 1518"/>
                <a:gd name="T28" fmla="*/ 2147483647 w 1350"/>
                <a:gd name="T29" fmla="*/ 2147483647 h 1518"/>
                <a:gd name="T30" fmla="*/ 2147483647 w 1350"/>
                <a:gd name="T31" fmla="*/ 2147483647 h 1518"/>
                <a:gd name="T32" fmla="*/ 2147483647 w 1350"/>
                <a:gd name="T33" fmla="*/ 2147483647 h 1518"/>
                <a:gd name="T34" fmla="*/ 2147483647 w 1350"/>
                <a:gd name="T35" fmla="*/ 2147483647 h 1518"/>
                <a:gd name="T36" fmla="*/ 2147483647 w 1350"/>
                <a:gd name="T37" fmla="*/ 2147483647 h 1518"/>
                <a:gd name="T38" fmla="*/ 2147483647 w 1350"/>
                <a:gd name="T39" fmla="*/ 2147483647 h 1518"/>
                <a:gd name="T40" fmla="*/ 2147483647 w 1350"/>
                <a:gd name="T41" fmla="*/ 2147483647 h 1518"/>
                <a:gd name="T42" fmla="*/ 2147483647 w 1350"/>
                <a:gd name="T43" fmla="*/ 2147483647 h 1518"/>
                <a:gd name="T44" fmla="*/ 2147483647 w 1350"/>
                <a:gd name="T45" fmla="*/ 2147483647 h 1518"/>
                <a:gd name="T46" fmla="*/ 2147483647 w 1350"/>
                <a:gd name="T47" fmla="*/ 2147483647 h 1518"/>
                <a:gd name="T48" fmla="*/ 2147483647 w 1350"/>
                <a:gd name="T49" fmla="*/ 2147483647 h 1518"/>
                <a:gd name="T50" fmla="*/ 2147483647 w 1350"/>
                <a:gd name="T51" fmla="*/ 2147483647 h 1518"/>
                <a:gd name="T52" fmla="*/ 2147483647 w 1350"/>
                <a:gd name="T53" fmla="*/ 2147483647 h 1518"/>
                <a:gd name="T54" fmla="*/ 2147483647 w 1350"/>
                <a:gd name="T55" fmla="*/ 2147483647 h 1518"/>
                <a:gd name="T56" fmla="*/ 2147483647 w 1350"/>
                <a:gd name="T57" fmla="*/ 2147483647 h 1518"/>
                <a:gd name="T58" fmla="*/ 2147483647 w 1350"/>
                <a:gd name="T59" fmla="*/ 2147483647 h 1518"/>
                <a:gd name="T60" fmla="*/ 2147483647 w 1350"/>
                <a:gd name="T61" fmla="*/ 2147483647 h 1518"/>
                <a:gd name="T62" fmla="*/ 2147483647 w 1350"/>
                <a:gd name="T63" fmla="*/ 2147483647 h 1518"/>
                <a:gd name="T64" fmla="*/ 2147483647 w 1350"/>
                <a:gd name="T65" fmla="*/ 2147483647 h 1518"/>
                <a:gd name="T66" fmla="*/ 2147483647 w 1350"/>
                <a:gd name="T67" fmla="*/ 2147483647 h 1518"/>
                <a:gd name="T68" fmla="*/ 2147483647 w 1350"/>
                <a:gd name="T69" fmla="*/ 2147483647 h 1518"/>
                <a:gd name="T70" fmla="*/ 2147483647 w 1350"/>
                <a:gd name="T71" fmla="*/ 2147483647 h 1518"/>
                <a:gd name="T72" fmla="*/ 2147483647 w 1350"/>
                <a:gd name="T73" fmla="*/ 2147483647 h 1518"/>
                <a:gd name="T74" fmla="*/ 2147483647 w 1350"/>
                <a:gd name="T75" fmla="*/ 2147483647 h 1518"/>
                <a:gd name="T76" fmla="*/ 2147483647 w 1350"/>
                <a:gd name="T77" fmla="*/ 2147483647 h 1518"/>
                <a:gd name="T78" fmla="*/ 2147483647 w 1350"/>
                <a:gd name="T79" fmla="*/ 2147483647 h 1518"/>
                <a:gd name="T80" fmla="*/ 2147483647 w 1350"/>
                <a:gd name="T81" fmla="*/ 2147483647 h 1518"/>
                <a:gd name="T82" fmla="*/ 2147483647 w 1350"/>
                <a:gd name="T83" fmla="*/ 2147483647 h 1518"/>
                <a:gd name="T84" fmla="*/ 2147483647 w 1350"/>
                <a:gd name="T85" fmla="*/ 2147483647 h 1518"/>
                <a:gd name="T86" fmla="*/ 2147483647 w 1350"/>
                <a:gd name="T87" fmla="*/ 2147483647 h 1518"/>
                <a:gd name="T88" fmla="*/ 2147483647 w 1350"/>
                <a:gd name="T89" fmla="*/ 2147483647 h 1518"/>
                <a:gd name="T90" fmla="*/ 2147483647 w 1350"/>
                <a:gd name="T91" fmla="*/ 2147483647 h 1518"/>
                <a:gd name="T92" fmla="*/ 2147483647 w 1350"/>
                <a:gd name="T93" fmla="*/ 2147483647 h 1518"/>
                <a:gd name="T94" fmla="*/ 2147483647 w 1350"/>
                <a:gd name="T95" fmla="*/ 2147483647 h 1518"/>
                <a:gd name="T96" fmla="*/ 2147483647 w 1350"/>
                <a:gd name="T97" fmla="*/ 2147483647 h 1518"/>
                <a:gd name="T98" fmla="*/ 2147483647 w 1350"/>
                <a:gd name="T99" fmla="*/ 2147483647 h 1518"/>
                <a:gd name="T100" fmla="*/ 2147483647 w 1350"/>
                <a:gd name="T101" fmla="*/ 2147483647 h 1518"/>
                <a:gd name="T102" fmla="*/ 2147483647 w 1350"/>
                <a:gd name="T103" fmla="*/ 2147483647 h 1518"/>
                <a:gd name="T104" fmla="*/ 2147483647 w 1350"/>
                <a:gd name="T105" fmla="*/ 2147483647 h 1518"/>
                <a:gd name="T106" fmla="*/ 2147483647 w 1350"/>
                <a:gd name="T107" fmla="*/ 2147483647 h 1518"/>
                <a:gd name="T108" fmla="*/ 2147483647 w 1350"/>
                <a:gd name="T109" fmla="*/ 2147483647 h 1518"/>
                <a:gd name="T110" fmla="*/ 2147483647 w 1350"/>
                <a:gd name="T111" fmla="*/ 2147483647 h 1518"/>
                <a:gd name="T112" fmla="*/ 2147483647 w 1350"/>
                <a:gd name="T113" fmla="*/ 2147483647 h 1518"/>
                <a:gd name="T114" fmla="*/ 2147483647 w 1350"/>
                <a:gd name="T115" fmla="*/ 2147483647 h 1518"/>
                <a:gd name="T116" fmla="*/ 2147483647 w 1350"/>
                <a:gd name="T117" fmla="*/ 2147483647 h 1518"/>
                <a:gd name="T118" fmla="*/ 2147483647 w 1350"/>
                <a:gd name="T119" fmla="*/ 2147483647 h 1518"/>
                <a:gd name="T120" fmla="*/ 2147483647 w 1350"/>
                <a:gd name="T121" fmla="*/ 2147483647 h 1518"/>
                <a:gd name="T122" fmla="*/ 2147483647 w 1350"/>
                <a:gd name="T123" fmla="*/ 2147483647 h 1518"/>
                <a:gd name="T124" fmla="*/ 2147483647 w 1350"/>
                <a:gd name="T125" fmla="*/ 2147483647 h 151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50"/>
                <a:gd name="T190" fmla="*/ 0 h 1518"/>
                <a:gd name="T191" fmla="*/ 1350 w 1350"/>
                <a:gd name="T192" fmla="*/ 1518 h 151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50" h="1518">
                  <a:moveTo>
                    <a:pt x="1242" y="468"/>
                  </a:moveTo>
                  <a:lnTo>
                    <a:pt x="1242" y="438"/>
                  </a:lnTo>
                  <a:lnTo>
                    <a:pt x="1260" y="366"/>
                  </a:lnTo>
                  <a:lnTo>
                    <a:pt x="1278" y="354"/>
                  </a:lnTo>
                  <a:lnTo>
                    <a:pt x="1278" y="342"/>
                  </a:lnTo>
                  <a:lnTo>
                    <a:pt x="1302" y="330"/>
                  </a:lnTo>
                  <a:lnTo>
                    <a:pt x="1308" y="318"/>
                  </a:lnTo>
                  <a:lnTo>
                    <a:pt x="1320" y="312"/>
                  </a:lnTo>
                  <a:lnTo>
                    <a:pt x="1332" y="288"/>
                  </a:lnTo>
                  <a:lnTo>
                    <a:pt x="1344" y="276"/>
                  </a:lnTo>
                  <a:lnTo>
                    <a:pt x="1350" y="264"/>
                  </a:lnTo>
                  <a:lnTo>
                    <a:pt x="1350" y="252"/>
                  </a:lnTo>
                  <a:lnTo>
                    <a:pt x="1344" y="246"/>
                  </a:lnTo>
                  <a:lnTo>
                    <a:pt x="1332" y="240"/>
                  </a:lnTo>
                  <a:lnTo>
                    <a:pt x="1320" y="240"/>
                  </a:lnTo>
                  <a:lnTo>
                    <a:pt x="1314" y="234"/>
                  </a:lnTo>
                  <a:lnTo>
                    <a:pt x="1314" y="222"/>
                  </a:lnTo>
                  <a:lnTo>
                    <a:pt x="1320" y="210"/>
                  </a:lnTo>
                  <a:lnTo>
                    <a:pt x="1326" y="204"/>
                  </a:lnTo>
                  <a:lnTo>
                    <a:pt x="1326" y="198"/>
                  </a:lnTo>
                  <a:lnTo>
                    <a:pt x="1320" y="192"/>
                  </a:lnTo>
                  <a:lnTo>
                    <a:pt x="1308" y="186"/>
                  </a:lnTo>
                  <a:lnTo>
                    <a:pt x="1326" y="168"/>
                  </a:lnTo>
                  <a:lnTo>
                    <a:pt x="1320" y="144"/>
                  </a:lnTo>
                  <a:lnTo>
                    <a:pt x="1302" y="144"/>
                  </a:lnTo>
                  <a:lnTo>
                    <a:pt x="1296" y="120"/>
                  </a:lnTo>
                  <a:lnTo>
                    <a:pt x="1290" y="120"/>
                  </a:lnTo>
                  <a:lnTo>
                    <a:pt x="1284" y="114"/>
                  </a:lnTo>
                  <a:lnTo>
                    <a:pt x="1272" y="108"/>
                  </a:lnTo>
                  <a:lnTo>
                    <a:pt x="1260" y="96"/>
                  </a:lnTo>
                  <a:lnTo>
                    <a:pt x="1254" y="84"/>
                  </a:lnTo>
                  <a:lnTo>
                    <a:pt x="1248" y="66"/>
                  </a:lnTo>
                  <a:lnTo>
                    <a:pt x="1236" y="60"/>
                  </a:lnTo>
                  <a:lnTo>
                    <a:pt x="1230" y="54"/>
                  </a:lnTo>
                  <a:lnTo>
                    <a:pt x="1218" y="66"/>
                  </a:lnTo>
                  <a:lnTo>
                    <a:pt x="1218" y="72"/>
                  </a:lnTo>
                  <a:lnTo>
                    <a:pt x="1206" y="84"/>
                  </a:lnTo>
                  <a:lnTo>
                    <a:pt x="1200" y="84"/>
                  </a:lnTo>
                  <a:lnTo>
                    <a:pt x="1188" y="78"/>
                  </a:lnTo>
                  <a:lnTo>
                    <a:pt x="1188" y="72"/>
                  </a:lnTo>
                  <a:lnTo>
                    <a:pt x="1176" y="66"/>
                  </a:lnTo>
                  <a:lnTo>
                    <a:pt x="1164" y="66"/>
                  </a:lnTo>
                  <a:lnTo>
                    <a:pt x="1158" y="72"/>
                  </a:lnTo>
                  <a:lnTo>
                    <a:pt x="1152" y="84"/>
                  </a:lnTo>
                  <a:lnTo>
                    <a:pt x="1146" y="90"/>
                  </a:lnTo>
                  <a:lnTo>
                    <a:pt x="1098" y="66"/>
                  </a:lnTo>
                  <a:lnTo>
                    <a:pt x="1098" y="42"/>
                  </a:lnTo>
                  <a:lnTo>
                    <a:pt x="1068" y="18"/>
                  </a:lnTo>
                  <a:lnTo>
                    <a:pt x="1062" y="6"/>
                  </a:lnTo>
                  <a:lnTo>
                    <a:pt x="1044" y="24"/>
                  </a:lnTo>
                  <a:lnTo>
                    <a:pt x="1026" y="30"/>
                  </a:lnTo>
                  <a:lnTo>
                    <a:pt x="1002" y="30"/>
                  </a:lnTo>
                  <a:lnTo>
                    <a:pt x="990" y="18"/>
                  </a:lnTo>
                  <a:lnTo>
                    <a:pt x="990" y="12"/>
                  </a:lnTo>
                  <a:lnTo>
                    <a:pt x="954" y="18"/>
                  </a:lnTo>
                  <a:lnTo>
                    <a:pt x="942" y="6"/>
                  </a:lnTo>
                  <a:lnTo>
                    <a:pt x="942" y="0"/>
                  </a:lnTo>
                  <a:lnTo>
                    <a:pt x="936" y="0"/>
                  </a:lnTo>
                  <a:lnTo>
                    <a:pt x="918" y="18"/>
                  </a:lnTo>
                  <a:lnTo>
                    <a:pt x="918" y="30"/>
                  </a:lnTo>
                  <a:lnTo>
                    <a:pt x="906" y="30"/>
                  </a:lnTo>
                  <a:lnTo>
                    <a:pt x="900" y="36"/>
                  </a:lnTo>
                  <a:lnTo>
                    <a:pt x="876" y="36"/>
                  </a:lnTo>
                  <a:lnTo>
                    <a:pt x="864" y="24"/>
                  </a:lnTo>
                  <a:lnTo>
                    <a:pt x="840" y="42"/>
                  </a:lnTo>
                  <a:lnTo>
                    <a:pt x="822" y="42"/>
                  </a:lnTo>
                  <a:lnTo>
                    <a:pt x="810" y="54"/>
                  </a:lnTo>
                  <a:lnTo>
                    <a:pt x="798" y="60"/>
                  </a:lnTo>
                  <a:lnTo>
                    <a:pt x="792" y="66"/>
                  </a:lnTo>
                  <a:lnTo>
                    <a:pt x="786" y="66"/>
                  </a:lnTo>
                  <a:lnTo>
                    <a:pt x="762" y="42"/>
                  </a:lnTo>
                  <a:lnTo>
                    <a:pt x="756" y="54"/>
                  </a:lnTo>
                  <a:lnTo>
                    <a:pt x="738" y="72"/>
                  </a:lnTo>
                  <a:lnTo>
                    <a:pt x="738" y="84"/>
                  </a:lnTo>
                  <a:lnTo>
                    <a:pt x="732" y="90"/>
                  </a:lnTo>
                  <a:lnTo>
                    <a:pt x="726" y="102"/>
                  </a:lnTo>
                  <a:lnTo>
                    <a:pt x="720" y="108"/>
                  </a:lnTo>
                  <a:lnTo>
                    <a:pt x="708" y="102"/>
                  </a:lnTo>
                  <a:lnTo>
                    <a:pt x="702" y="96"/>
                  </a:lnTo>
                  <a:lnTo>
                    <a:pt x="690" y="90"/>
                  </a:lnTo>
                  <a:lnTo>
                    <a:pt x="642" y="90"/>
                  </a:lnTo>
                  <a:lnTo>
                    <a:pt x="630" y="84"/>
                  </a:lnTo>
                  <a:lnTo>
                    <a:pt x="624" y="78"/>
                  </a:lnTo>
                  <a:lnTo>
                    <a:pt x="582" y="78"/>
                  </a:lnTo>
                  <a:lnTo>
                    <a:pt x="582" y="48"/>
                  </a:lnTo>
                  <a:lnTo>
                    <a:pt x="576" y="42"/>
                  </a:lnTo>
                  <a:lnTo>
                    <a:pt x="558" y="42"/>
                  </a:lnTo>
                  <a:lnTo>
                    <a:pt x="558" y="30"/>
                  </a:lnTo>
                  <a:lnTo>
                    <a:pt x="546" y="24"/>
                  </a:lnTo>
                  <a:lnTo>
                    <a:pt x="534" y="24"/>
                  </a:lnTo>
                  <a:lnTo>
                    <a:pt x="516" y="18"/>
                  </a:lnTo>
                  <a:lnTo>
                    <a:pt x="504" y="18"/>
                  </a:lnTo>
                  <a:lnTo>
                    <a:pt x="492" y="24"/>
                  </a:lnTo>
                  <a:lnTo>
                    <a:pt x="486" y="30"/>
                  </a:lnTo>
                  <a:lnTo>
                    <a:pt x="486" y="36"/>
                  </a:lnTo>
                  <a:lnTo>
                    <a:pt x="480" y="48"/>
                  </a:lnTo>
                  <a:lnTo>
                    <a:pt x="480" y="54"/>
                  </a:lnTo>
                  <a:lnTo>
                    <a:pt x="474" y="66"/>
                  </a:lnTo>
                  <a:lnTo>
                    <a:pt x="462" y="78"/>
                  </a:lnTo>
                  <a:lnTo>
                    <a:pt x="456" y="78"/>
                  </a:lnTo>
                  <a:lnTo>
                    <a:pt x="444" y="90"/>
                  </a:lnTo>
                  <a:lnTo>
                    <a:pt x="444" y="102"/>
                  </a:lnTo>
                  <a:lnTo>
                    <a:pt x="450" y="102"/>
                  </a:lnTo>
                  <a:lnTo>
                    <a:pt x="450" y="120"/>
                  </a:lnTo>
                  <a:lnTo>
                    <a:pt x="438" y="138"/>
                  </a:lnTo>
                  <a:lnTo>
                    <a:pt x="450" y="150"/>
                  </a:lnTo>
                  <a:lnTo>
                    <a:pt x="450" y="186"/>
                  </a:lnTo>
                  <a:lnTo>
                    <a:pt x="444" y="198"/>
                  </a:lnTo>
                  <a:lnTo>
                    <a:pt x="438" y="216"/>
                  </a:lnTo>
                  <a:lnTo>
                    <a:pt x="426" y="228"/>
                  </a:lnTo>
                  <a:lnTo>
                    <a:pt x="414" y="252"/>
                  </a:lnTo>
                  <a:lnTo>
                    <a:pt x="408" y="258"/>
                  </a:lnTo>
                  <a:lnTo>
                    <a:pt x="408" y="288"/>
                  </a:lnTo>
                  <a:lnTo>
                    <a:pt x="414" y="300"/>
                  </a:lnTo>
                  <a:lnTo>
                    <a:pt x="414" y="324"/>
                  </a:lnTo>
                  <a:lnTo>
                    <a:pt x="396" y="360"/>
                  </a:lnTo>
                  <a:lnTo>
                    <a:pt x="396" y="372"/>
                  </a:lnTo>
                  <a:lnTo>
                    <a:pt x="402" y="378"/>
                  </a:lnTo>
                  <a:lnTo>
                    <a:pt x="408" y="390"/>
                  </a:lnTo>
                  <a:lnTo>
                    <a:pt x="408" y="414"/>
                  </a:lnTo>
                  <a:lnTo>
                    <a:pt x="402" y="426"/>
                  </a:lnTo>
                  <a:lnTo>
                    <a:pt x="390" y="432"/>
                  </a:lnTo>
                  <a:lnTo>
                    <a:pt x="390" y="486"/>
                  </a:lnTo>
                  <a:lnTo>
                    <a:pt x="384" y="492"/>
                  </a:lnTo>
                  <a:lnTo>
                    <a:pt x="372" y="498"/>
                  </a:lnTo>
                  <a:lnTo>
                    <a:pt x="366" y="510"/>
                  </a:lnTo>
                  <a:lnTo>
                    <a:pt x="318" y="534"/>
                  </a:lnTo>
                  <a:lnTo>
                    <a:pt x="312" y="540"/>
                  </a:lnTo>
                  <a:lnTo>
                    <a:pt x="306" y="552"/>
                  </a:lnTo>
                  <a:lnTo>
                    <a:pt x="306" y="588"/>
                  </a:lnTo>
                  <a:lnTo>
                    <a:pt x="282" y="612"/>
                  </a:lnTo>
                  <a:lnTo>
                    <a:pt x="276" y="612"/>
                  </a:lnTo>
                  <a:lnTo>
                    <a:pt x="282" y="714"/>
                  </a:lnTo>
                  <a:lnTo>
                    <a:pt x="252" y="756"/>
                  </a:lnTo>
                  <a:lnTo>
                    <a:pt x="246" y="762"/>
                  </a:lnTo>
                  <a:lnTo>
                    <a:pt x="228" y="762"/>
                  </a:lnTo>
                  <a:lnTo>
                    <a:pt x="216" y="774"/>
                  </a:lnTo>
                  <a:lnTo>
                    <a:pt x="210" y="786"/>
                  </a:lnTo>
                  <a:lnTo>
                    <a:pt x="192" y="804"/>
                  </a:lnTo>
                  <a:lnTo>
                    <a:pt x="186" y="816"/>
                  </a:lnTo>
                  <a:lnTo>
                    <a:pt x="180" y="822"/>
                  </a:lnTo>
                  <a:lnTo>
                    <a:pt x="168" y="828"/>
                  </a:lnTo>
                  <a:lnTo>
                    <a:pt x="150" y="828"/>
                  </a:lnTo>
                  <a:lnTo>
                    <a:pt x="144" y="822"/>
                  </a:lnTo>
                  <a:lnTo>
                    <a:pt x="150" y="810"/>
                  </a:lnTo>
                  <a:lnTo>
                    <a:pt x="150" y="780"/>
                  </a:lnTo>
                  <a:lnTo>
                    <a:pt x="144" y="780"/>
                  </a:lnTo>
                  <a:lnTo>
                    <a:pt x="126" y="798"/>
                  </a:lnTo>
                  <a:lnTo>
                    <a:pt x="102" y="792"/>
                  </a:lnTo>
                  <a:lnTo>
                    <a:pt x="102" y="810"/>
                  </a:lnTo>
                  <a:lnTo>
                    <a:pt x="96" y="822"/>
                  </a:lnTo>
                  <a:lnTo>
                    <a:pt x="90" y="828"/>
                  </a:lnTo>
                  <a:lnTo>
                    <a:pt x="78" y="828"/>
                  </a:lnTo>
                  <a:lnTo>
                    <a:pt x="72" y="822"/>
                  </a:lnTo>
                  <a:lnTo>
                    <a:pt x="72" y="816"/>
                  </a:lnTo>
                  <a:lnTo>
                    <a:pt x="66" y="810"/>
                  </a:lnTo>
                  <a:lnTo>
                    <a:pt x="66" y="804"/>
                  </a:lnTo>
                  <a:lnTo>
                    <a:pt x="54" y="804"/>
                  </a:lnTo>
                  <a:lnTo>
                    <a:pt x="48" y="816"/>
                  </a:lnTo>
                  <a:lnTo>
                    <a:pt x="12" y="846"/>
                  </a:lnTo>
                  <a:lnTo>
                    <a:pt x="18" y="858"/>
                  </a:lnTo>
                  <a:lnTo>
                    <a:pt x="18" y="864"/>
                  </a:lnTo>
                  <a:lnTo>
                    <a:pt x="24" y="876"/>
                  </a:lnTo>
                  <a:lnTo>
                    <a:pt x="24" y="882"/>
                  </a:lnTo>
                  <a:lnTo>
                    <a:pt x="18" y="888"/>
                  </a:lnTo>
                  <a:lnTo>
                    <a:pt x="6" y="894"/>
                  </a:lnTo>
                  <a:lnTo>
                    <a:pt x="0" y="900"/>
                  </a:lnTo>
                  <a:lnTo>
                    <a:pt x="6" y="906"/>
                  </a:lnTo>
                  <a:lnTo>
                    <a:pt x="6" y="912"/>
                  </a:lnTo>
                  <a:lnTo>
                    <a:pt x="18" y="918"/>
                  </a:lnTo>
                  <a:lnTo>
                    <a:pt x="18" y="924"/>
                  </a:lnTo>
                  <a:lnTo>
                    <a:pt x="54" y="906"/>
                  </a:lnTo>
                  <a:lnTo>
                    <a:pt x="78" y="912"/>
                  </a:lnTo>
                  <a:lnTo>
                    <a:pt x="84" y="906"/>
                  </a:lnTo>
                  <a:lnTo>
                    <a:pt x="96" y="912"/>
                  </a:lnTo>
                  <a:lnTo>
                    <a:pt x="120" y="906"/>
                  </a:lnTo>
                  <a:lnTo>
                    <a:pt x="132" y="912"/>
                  </a:lnTo>
                  <a:lnTo>
                    <a:pt x="162" y="912"/>
                  </a:lnTo>
                  <a:lnTo>
                    <a:pt x="174" y="906"/>
                  </a:lnTo>
                  <a:lnTo>
                    <a:pt x="186" y="906"/>
                  </a:lnTo>
                  <a:lnTo>
                    <a:pt x="198" y="912"/>
                  </a:lnTo>
                  <a:lnTo>
                    <a:pt x="228" y="912"/>
                  </a:lnTo>
                  <a:lnTo>
                    <a:pt x="246" y="906"/>
                  </a:lnTo>
                  <a:lnTo>
                    <a:pt x="270" y="906"/>
                  </a:lnTo>
                  <a:lnTo>
                    <a:pt x="276" y="900"/>
                  </a:lnTo>
                  <a:lnTo>
                    <a:pt x="294" y="900"/>
                  </a:lnTo>
                  <a:lnTo>
                    <a:pt x="300" y="906"/>
                  </a:lnTo>
                  <a:lnTo>
                    <a:pt x="306" y="918"/>
                  </a:lnTo>
                  <a:lnTo>
                    <a:pt x="318" y="930"/>
                  </a:lnTo>
                  <a:lnTo>
                    <a:pt x="318" y="972"/>
                  </a:lnTo>
                  <a:lnTo>
                    <a:pt x="336" y="990"/>
                  </a:lnTo>
                  <a:lnTo>
                    <a:pt x="336" y="1014"/>
                  </a:lnTo>
                  <a:lnTo>
                    <a:pt x="330" y="1020"/>
                  </a:lnTo>
                  <a:lnTo>
                    <a:pt x="330" y="1026"/>
                  </a:lnTo>
                  <a:lnTo>
                    <a:pt x="336" y="1032"/>
                  </a:lnTo>
                  <a:lnTo>
                    <a:pt x="342" y="1032"/>
                  </a:lnTo>
                  <a:lnTo>
                    <a:pt x="354" y="1044"/>
                  </a:lnTo>
                  <a:lnTo>
                    <a:pt x="354" y="1056"/>
                  </a:lnTo>
                  <a:lnTo>
                    <a:pt x="360" y="1062"/>
                  </a:lnTo>
                  <a:lnTo>
                    <a:pt x="372" y="1086"/>
                  </a:lnTo>
                  <a:lnTo>
                    <a:pt x="402" y="1086"/>
                  </a:lnTo>
                  <a:lnTo>
                    <a:pt x="414" y="1092"/>
                  </a:lnTo>
                  <a:lnTo>
                    <a:pt x="420" y="1080"/>
                  </a:lnTo>
                  <a:lnTo>
                    <a:pt x="444" y="1080"/>
                  </a:lnTo>
                  <a:lnTo>
                    <a:pt x="456" y="1074"/>
                  </a:lnTo>
                  <a:lnTo>
                    <a:pt x="462" y="1080"/>
                  </a:lnTo>
                  <a:lnTo>
                    <a:pt x="504" y="1074"/>
                  </a:lnTo>
                  <a:lnTo>
                    <a:pt x="504" y="1056"/>
                  </a:lnTo>
                  <a:lnTo>
                    <a:pt x="510" y="1050"/>
                  </a:lnTo>
                  <a:lnTo>
                    <a:pt x="510" y="1044"/>
                  </a:lnTo>
                  <a:lnTo>
                    <a:pt x="522" y="1044"/>
                  </a:lnTo>
                  <a:lnTo>
                    <a:pt x="522" y="1032"/>
                  </a:lnTo>
                  <a:lnTo>
                    <a:pt x="516" y="1020"/>
                  </a:lnTo>
                  <a:lnTo>
                    <a:pt x="510" y="1014"/>
                  </a:lnTo>
                  <a:lnTo>
                    <a:pt x="510" y="1008"/>
                  </a:lnTo>
                  <a:lnTo>
                    <a:pt x="516" y="1002"/>
                  </a:lnTo>
                  <a:lnTo>
                    <a:pt x="564" y="1002"/>
                  </a:lnTo>
                  <a:lnTo>
                    <a:pt x="564" y="996"/>
                  </a:lnTo>
                  <a:lnTo>
                    <a:pt x="576" y="996"/>
                  </a:lnTo>
                  <a:lnTo>
                    <a:pt x="588" y="1002"/>
                  </a:lnTo>
                  <a:lnTo>
                    <a:pt x="588" y="1026"/>
                  </a:lnTo>
                  <a:lnTo>
                    <a:pt x="678" y="1026"/>
                  </a:lnTo>
                  <a:lnTo>
                    <a:pt x="678" y="1050"/>
                  </a:lnTo>
                  <a:lnTo>
                    <a:pt x="666" y="1068"/>
                  </a:lnTo>
                  <a:lnTo>
                    <a:pt x="672" y="1086"/>
                  </a:lnTo>
                  <a:lnTo>
                    <a:pt x="684" y="1098"/>
                  </a:lnTo>
                  <a:lnTo>
                    <a:pt x="690" y="1110"/>
                  </a:lnTo>
                  <a:lnTo>
                    <a:pt x="690" y="1122"/>
                  </a:lnTo>
                  <a:lnTo>
                    <a:pt x="684" y="1134"/>
                  </a:lnTo>
                  <a:lnTo>
                    <a:pt x="678" y="1140"/>
                  </a:lnTo>
                  <a:lnTo>
                    <a:pt x="684" y="1164"/>
                  </a:lnTo>
                  <a:lnTo>
                    <a:pt x="684" y="1176"/>
                  </a:lnTo>
                  <a:lnTo>
                    <a:pt x="678" y="1182"/>
                  </a:lnTo>
                  <a:lnTo>
                    <a:pt x="678" y="1194"/>
                  </a:lnTo>
                  <a:lnTo>
                    <a:pt x="684" y="1212"/>
                  </a:lnTo>
                  <a:lnTo>
                    <a:pt x="696" y="1230"/>
                  </a:lnTo>
                  <a:lnTo>
                    <a:pt x="708" y="1254"/>
                  </a:lnTo>
                  <a:lnTo>
                    <a:pt x="714" y="1260"/>
                  </a:lnTo>
                  <a:lnTo>
                    <a:pt x="714" y="1278"/>
                  </a:lnTo>
                  <a:lnTo>
                    <a:pt x="708" y="1290"/>
                  </a:lnTo>
                  <a:lnTo>
                    <a:pt x="708" y="1302"/>
                  </a:lnTo>
                  <a:lnTo>
                    <a:pt x="702" y="1308"/>
                  </a:lnTo>
                  <a:lnTo>
                    <a:pt x="702" y="1332"/>
                  </a:lnTo>
                  <a:lnTo>
                    <a:pt x="708" y="1338"/>
                  </a:lnTo>
                  <a:lnTo>
                    <a:pt x="714" y="1338"/>
                  </a:lnTo>
                  <a:lnTo>
                    <a:pt x="720" y="1344"/>
                  </a:lnTo>
                  <a:lnTo>
                    <a:pt x="726" y="1326"/>
                  </a:lnTo>
                  <a:lnTo>
                    <a:pt x="756" y="1332"/>
                  </a:lnTo>
                  <a:lnTo>
                    <a:pt x="780" y="1326"/>
                  </a:lnTo>
                  <a:lnTo>
                    <a:pt x="780" y="1314"/>
                  </a:lnTo>
                  <a:lnTo>
                    <a:pt x="792" y="1314"/>
                  </a:lnTo>
                  <a:lnTo>
                    <a:pt x="804" y="1326"/>
                  </a:lnTo>
                  <a:lnTo>
                    <a:pt x="828" y="1326"/>
                  </a:lnTo>
                  <a:lnTo>
                    <a:pt x="834" y="1308"/>
                  </a:lnTo>
                  <a:lnTo>
                    <a:pt x="840" y="1320"/>
                  </a:lnTo>
                  <a:lnTo>
                    <a:pt x="858" y="1320"/>
                  </a:lnTo>
                  <a:lnTo>
                    <a:pt x="858" y="1350"/>
                  </a:lnTo>
                  <a:lnTo>
                    <a:pt x="864" y="1356"/>
                  </a:lnTo>
                  <a:lnTo>
                    <a:pt x="882" y="1356"/>
                  </a:lnTo>
                  <a:lnTo>
                    <a:pt x="882" y="1350"/>
                  </a:lnTo>
                  <a:lnTo>
                    <a:pt x="876" y="1344"/>
                  </a:lnTo>
                  <a:lnTo>
                    <a:pt x="918" y="1338"/>
                  </a:lnTo>
                  <a:lnTo>
                    <a:pt x="918" y="1356"/>
                  </a:lnTo>
                  <a:lnTo>
                    <a:pt x="924" y="1368"/>
                  </a:lnTo>
                  <a:lnTo>
                    <a:pt x="930" y="1374"/>
                  </a:lnTo>
                  <a:lnTo>
                    <a:pt x="948" y="1386"/>
                  </a:lnTo>
                  <a:lnTo>
                    <a:pt x="984" y="1392"/>
                  </a:lnTo>
                  <a:lnTo>
                    <a:pt x="1014" y="1398"/>
                  </a:lnTo>
                  <a:lnTo>
                    <a:pt x="1032" y="1398"/>
                  </a:lnTo>
                  <a:lnTo>
                    <a:pt x="1032" y="1392"/>
                  </a:lnTo>
                  <a:lnTo>
                    <a:pt x="1038" y="1386"/>
                  </a:lnTo>
                  <a:lnTo>
                    <a:pt x="1038" y="1368"/>
                  </a:lnTo>
                  <a:lnTo>
                    <a:pt x="1044" y="1362"/>
                  </a:lnTo>
                  <a:lnTo>
                    <a:pt x="1050" y="1362"/>
                  </a:lnTo>
                  <a:lnTo>
                    <a:pt x="1062" y="1374"/>
                  </a:lnTo>
                  <a:lnTo>
                    <a:pt x="1062" y="1386"/>
                  </a:lnTo>
                  <a:lnTo>
                    <a:pt x="1068" y="1392"/>
                  </a:lnTo>
                  <a:lnTo>
                    <a:pt x="1080" y="1392"/>
                  </a:lnTo>
                  <a:lnTo>
                    <a:pt x="1080" y="1404"/>
                  </a:lnTo>
                  <a:lnTo>
                    <a:pt x="1074" y="1404"/>
                  </a:lnTo>
                  <a:lnTo>
                    <a:pt x="1074" y="1416"/>
                  </a:lnTo>
                  <a:lnTo>
                    <a:pt x="1104" y="1416"/>
                  </a:lnTo>
                  <a:lnTo>
                    <a:pt x="1110" y="1422"/>
                  </a:lnTo>
                  <a:lnTo>
                    <a:pt x="1110" y="1434"/>
                  </a:lnTo>
                  <a:lnTo>
                    <a:pt x="1122" y="1434"/>
                  </a:lnTo>
                  <a:lnTo>
                    <a:pt x="1128" y="1428"/>
                  </a:lnTo>
                  <a:lnTo>
                    <a:pt x="1134" y="1428"/>
                  </a:lnTo>
                  <a:lnTo>
                    <a:pt x="1140" y="1434"/>
                  </a:lnTo>
                  <a:lnTo>
                    <a:pt x="1146" y="1446"/>
                  </a:lnTo>
                  <a:lnTo>
                    <a:pt x="1146" y="1452"/>
                  </a:lnTo>
                  <a:lnTo>
                    <a:pt x="1152" y="1464"/>
                  </a:lnTo>
                  <a:lnTo>
                    <a:pt x="1164" y="1464"/>
                  </a:lnTo>
                  <a:lnTo>
                    <a:pt x="1176" y="1476"/>
                  </a:lnTo>
                  <a:lnTo>
                    <a:pt x="1176" y="1488"/>
                  </a:lnTo>
                  <a:lnTo>
                    <a:pt x="1182" y="1500"/>
                  </a:lnTo>
                  <a:lnTo>
                    <a:pt x="1182" y="1512"/>
                  </a:lnTo>
                  <a:lnTo>
                    <a:pt x="1200" y="1512"/>
                  </a:lnTo>
                  <a:lnTo>
                    <a:pt x="1218" y="1500"/>
                  </a:lnTo>
                  <a:lnTo>
                    <a:pt x="1224" y="1512"/>
                  </a:lnTo>
                  <a:lnTo>
                    <a:pt x="1224" y="1518"/>
                  </a:lnTo>
                  <a:lnTo>
                    <a:pt x="1230" y="1518"/>
                  </a:lnTo>
                  <a:lnTo>
                    <a:pt x="1236" y="1500"/>
                  </a:lnTo>
                  <a:lnTo>
                    <a:pt x="1242" y="1464"/>
                  </a:lnTo>
                  <a:lnTo>
                    <a:pt x="1242" y="1416"/>
                  </a:lnTo>
                  <a:lnTo>
                    <a:pt x="1218" y="1416"/>
                  </a:lnTo>
                  <a:lnTo>
                    <a:pt x="1218" y="1434"/>
                  </a:lnTo>
                  <a:lnTo>
                    <a:pt x="1212" y="1440"/>
                  </a:lnTo>
                  <a:lnTo>
                    <a:pt x="1206" y="1440"/>
                  </a:lnTo>
                  <a:lnTo>
                    <a:pt x="1194" y="1434"/>
                  </a:lnTo>
                  <a:lnTo>
                    <a:pt x="1164" y="1404"/>
                  </a:lnTo>
                  <a:lnTo>
                    <a:pt x="1158" y="1404"/>
                  </a:lnTo>
                  <a:lnTo>
                    <a:pt x="1158" y="1398"/>
                  </a:lnTo>
                  <a:lnTo>
                    <a:pt x="1152" y="1398"/>
                  </a:lnTo>
                  <a:lnTo>
                    <a:pt x="1140" y="1386"/>
                  </a:lnTo>
                  <a:lnTo>
                    <a:pt x="1140" y="1362"/>
                  </a:lnTo>
                  <a:lnTo>
                    <a:pt x="1146" y="1350"/>
                  </a:lnTo>
                  <a:lnTo>
                    <a:pt x="1152" y="1332"/>
                  </a:lnTo>
                  <a:lnTo>
                    <a:pt x="1158" y="1320"/>
                  </a:lnTo>
                  <a:lnTo>
                    <a:pt x="1170" y="1308"/>
                  </a:lnTo>
                  <a:lnTo>
                    <a:pt x="1170" y="1254"/>
                  </a:lnTo>
                  <a:lnTo>
                    <a:pt x="1164" y="1236"/>
                  </a:lnTo>
                  <a:lnTo>
                    <a:pt x="1164" y="1212"/>
                  </a:lnTo>
                  <a:lnTo>
                    <a:pt x="1158" y="1206"/>
                  </a:lnTo>
                  <a:lnTo>
                    <a:pt x="1158" y="1200"/>
                  </a:lnTo>
                  <a:lnTo>
                    <a:pt x="1152" y="1194"/>
                  </a:lnTo>
                  <a:lnTo>
                    <a:pt x="1152" y="1188"/>
                  </a:lnTo>
                  <a:lnTo>
                    <a:pt x="1140" y="1176"/>
                  </a:lnTo>
                  <a:lnTo>
                    <a:pt x="1146" y="1176"/>
                  </a:lnTo>
                  <a:lnTo>
                    <a:pt x="1152" y="1170"/>
                  </a:lnTo>
                  <a:lnTo>
                    <a:pt x="1164" y="1164"/>
                  </a:lnTo>
                  <a:lnTo>
                    <a:pt x="1182" y="1146"/>
                  </a:lnTo>
                  <a:lnTo>
                    <a:pt x="1182" y="1116"/>
                  </a:lnTo>
                  <a:lnTo>
                    <a:pt x="1194" y="1116"/>
                  </a:lnTo>
                  <a:lnTo>
                    <a:pt x="1212" y="1110"/>
                  </a:lnTo>
                  <a:lnTo>
                    <a:pt x="1230" y="1110"/>
                  </a:lnTo>
                  <a:lnTo>
                    <a:pt x="1242" y="1104"/>
                  </a:lnTo>
                  <a:lnTo>
                    <a:pt x="1260" y="1104"/>
                  </a:lnTo>
                  <a:lnTo>
                    <a:pt x="1284" y="1092"/>
                  </a:lnTo>
                  <a:lnTo>
                    <a:pt x="1290" y="1092"/>
                  </a:lnTo>
                  <a:lnTo>
                    <a:pt x="1290" y="1086"/>
                  </a:lnTo>
                  <a:lnTo>
                    <a:pt x="1284" y="1074"/>
                  </a:lnTo>
                  <a:lnTo>
                    <a:pt x="1272" y="1062"/>
                  </a:lnTo>
                  <a:lnTo>
                    <a:pt x="1272" y="1014"/>
                  </a:lnTo>
                  <a:lnTo>
                    <a:pt x="1248" y="1014"/>
                  </a:lnTo>
                  <a:lnTo>
                    <a:pt x="1248" y="1008"/>
                  </a:lnTo>
                  <a:lnTo>
                    <a:pt x="1242" y="996"/>
                  </a:lnTo>
                  <a:lnTo>
                    <a:pt x="1242" y="978"/>
                  </a:lnTo>
                  <a:lnTo>
                    <a:pt x="1236" y="972"/>
                  </a:lnTo>
                  <a:lnTo>
                    <a:pt x="1224" y="966"/>
                  </a:lnTo>
                  <a:lnTo>
                    <a:pt x="1218" y="960"/>
                  </a:lnTo>
                  <a:lnTo>
                    <a:pt x="1206" y="936"/>
                  </a:lnTo>
                  <a:lnTo>
                    <a:pt x="1206" y="906"/>
                  </a:lnTo>
                  <a:lnTo>
                    <a:pt x="1212" y="900"/>
                  </a:lnTo>
                  <a:lnTo>
                    <a:pt x="1212" y="876"/>
                  </a:lnTo>
                  <a:lnTo>
                    <a:pt x="1200" y="864"/>
                  </a:lnTo>
                  <a:lnTo>
                    <a:pt x="1194" y="852"/>
                  </a:lnTo>
                  <a:lnTo>
                    <a:pt x="1194" y="804"/>
                  </a:lnTo>
                  <a:lnTo>
                    <a:pt x="1200" y="780"/>
                  </a:lnTo>
                  <a:lnTo>
                    <a:pt x="1200" y="750"/>
                  </a:lnTo>
                  <a:lnTo>
                    <a:pt x="1212" y="738"/>
                  </a:lnTo>
                  <a:lnTo>
                    <a:pt x="1218" y="744"/>
                  </a:lnTo>
                  <a:lnTo>
                    <a:pt x="1218" y="732"/>
                  </a:lnTo>
                  <a:lnTo>
                    <a:pt x="1224" y="726"/>
                  </a:lnTo>
                  <a:lnTo>
                    <a:pt x="1224" y="696"/>
                  </a:lnTo>
                  <a:lnTo>
                    <a:pt x="1218" y="690"/>
                  </a:lnTo>
                  <a:lnTo>
                    <a:pt x="1206" y="684"/>
                  </a:lnTo>
                  <a:lnTo>
                    <a:pt x="1200" y="678"/>
                  </a:lnTo>
                  <a:lnTo>
                    <a:pt x="1188" y="648"/>
                  </a:lnTo>
                  <a:lnTo>
                    <a:pt x="1182" y="642"/>
                  </a:lnTo>
                  <a:lnTo>
                    <a:pt x="1176" y="642"/>
                  </a:lnTo>
                  <a:lnTo>
                    <a:pt x="1176" y="636"/>
                  </a:lnTo>
                  <a:lnTo>
                    <a:pt x="1182" y="624"/>
                  </a:lnTo>
                  <a:lnTo>
                    <a:pt x="1194" y="618"/>
                  </a:lnTo>
                  <a:lnTo>
                    <a:pt x="1206" y="606"/>
                  </a:lnTo>
                  <a:lnTo>
                    <a:pt x="1206" y="594"/>
                  </a:lnTo>
                  <a:lnTo>
                    <a:pt x="1200" y="588"/>
                  </a:lnTo>
                  <a:lnTo>
                    <a:pt x="1194" y="576"/>
                  </a:lnTo>
                  <a:lnTo>
                    <a:pt x="1194" y="570"/>
                  </a:lnTo>
                  <a:lnTo>
                    <a:pt x="1200" y="564"/>
                  </a:lnTo>
                  <a:lnTo>
                    <a:pt x="1224" y="552"/>
                  </a:lnTo>
                  <a:lnTo>
                    <a:pt x="1230" y="546"/>
                  </a:lnTo>
                  <a:lnTo>
                    <a:pt x="1236" y="546"/>
                  </a:lnTo>
                  <a:lnTo>
                    <a:pt x="1242" y="468"/>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77" name="Puerto Rico" descr="© INSCALE GmbH, 05.05.2010&#10;http://www.presentationload.com/">
              <a:extLst>
                <a:ext uri="{FF2B5EF4-FFF2-40B4-BE49-F238E27FC236}">
                  <a16:creationId xmlns:a16="http://schemas.microsoft.com/office/drawing/2014/main" id="{D6B3F6A0-D446-4F9E-B6A9-4F0FAFF1C670}"/>
                </a:ext>
              </a:extLst>
            </p:cNvPr>
            <p:cNvSpPr>
              <a:spLocks/>
            </p:cNvSpPr>
            <p:nvPr/>
          </p:nvSpPr>
          <p:spPr bwMode="gray">
            <a:xfrm>
              <a:off x="2260276" y="3663053"/>
              <a:ext cx="54880" cy="23521"/>
            </a:xfrm>
            <a:custGeom>
              <a:avLst/>
              <a:gdLst>
                <a:gd name="T0" fmla="*/ 2147483647 w 138"/>
                <a:gd name="T1" fmla="*/ 2147483647 h 60"/>
                <a:gd name="T2" fmla="*/ 2147483647 w 138"/>
                <a:gd name="T3" fmla="*/ 2147483647 h 60"/>
                <a:gd name="T4" fmla="*/ 2147483647 w 138"/>
                <a:gd name="T5" fmla="*/ 0 h 60"/>
                <a:gd name="T6" fmla="*/ 2147483647 w 138"/>
                <a:gd name="T7" fmla="*/ 0 h 60"/>
                <a:gd name="T8" fmla="*/ 2147483647 w 138"/>
                <a:gd name="T9" fmla="*/ 2147483647 h 60"/>
                <a:gd name="T10" fmla="*/ 0 w 138"/>
                <a:gd name="T11" fmla="*/ 2147483647 h 60"/>
                <a:gd name="T12" fmla="*/ 0 w 138"/>
                <a:gd name="T13" fmla="*/ 2147483647 h 60"/>
                <a:gd name="T14" fmla="*/ 2147483647 w 138"/>
                <a:gd name="T15" fmla="*/ 2147483647 h 60"/>
                <a:gd name="T16" fmla="*/ 2147483647 w 138"/>
                <a:gd name="T17" fmla="*/ 2147483647 h 60"/>
                <a:gd name="T18" fmla="*/ 2147483647 w 138"/>
                <a:gd name="T19" fmla="*/ 2147483647 h 60"/>
                <a:gd name="T20" fmla="*/ 2147483647 w 138"/>
                <a:gd name="T21" fmla="*/ 2147483647 h 60"/>
                <a:gd name="T22" fmla="*/ 2147483647 w 138"/>
                <a:gd name="T23" fmla="*/ 2147483647 h 60"/>
                <a:gd name="T24" fmla="*/ 2147483647 w 138"/>
                <a:gd name="T25" fmla="*/ 2147483647 h 60"/>
                <a:gd name="T26" fmla="*/ 2147483647 w 138"/>
                <a:gd name="T27" fmla="*/ 2147483647 h 60"/>
                <a:gd name="T28" fmla="*/ 2147483647 w 138"/>
                <a:gd name="T29" fmla="*/ 2147483647 h 60"/>
                <a:gd name="T30" fmla="*/ 2147483647 w 138"/>
                <a:gd name="T31" fmla="*/ 2147483647 h 60"/>
                <a:gd name="T32" fmla="*/ 2147483647 w 138"/>
                <a:gd name="T33" fmla="*/ 2147483647 h 60"/>
                <a:gd name="T34" fmla="*/ 2147483647 w 138"/>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8"/>
                <a:gd name="T55" fmla="*/ 0 h 60"/>
                <a:gd name="T56" fmla="*/ 138 w 138"/>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8" h="60">
                  <a:moveTo>
                    <a:pt x="84" y="12"/>
                  </a:moveTo>
                  <a:lnTo>
                    <a:pt x="72" y="12"/>
                  </a:lnTo>
                  <a:lnTo>
                    <a:pt x="36" y="0"/>
                  </a:lnTo>
                  <a:lnTo>
                    <a:pt x="12" y="0"/>
                  </a:lnTo>
                  <a:lnTo>
                    <a:pt x="6" y="12"/>
                  </a:lnTo>
                  <a:lnTo>
                    <a:pt x="0" y="18"/>
                  </a:lnTo>
                  <a:lnTo>
                    <a:pt x="0" y="48"/>
                  </a:lnTo>
                  <a:lnTo>
                    <a:pt x="36" y="60"/>
                  </a:lnTo>
                  <a:lnTo>
                    <a:pt x="48" y="48"/>
                  </a:lnTo>
                  <a:lnTo>
                    <a:pt x="102" y="48"/>
                  </a:lnTo>
                  <a:lnTo>
                    <a:pt x="120" y="36"/>
                  </a:lnTo>
                  <a:lnTo>
                    <a:pt x="132" y="30"/>
                  </a:lnTo>
                  <a:lnTo>
                    <a:pt x="138" y="18"/>
                  </a:lnTo>
                  <a:lnTo>
                    <a:pt x="138" y="12"/>
                  </a:lnTo>
                  <a:lnTo>
                    <a:pt x="132" y="6"/>
                  </a:lnTo>
                  <a:lnTo>
                    <a:pt x="114" y="6"/>
                  </a:lnTo>
                  <a:lnTo>
                    <a:pt x="102" y="12"/>
                  </a:lnTo>
                  <a:lnTo>
                    <a:pt x="84" y="1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78" name="Portugal" descr="© INSCALE GmbH, 05.05.2010&#10;http://www.presentationload.com/">
              <a:extLst>
                <a:ext uri="{FF2B5EF4-FFF2-40B4-BE49-F238E27FC236}">
                  <a16:creationId xmlns:a16="http://schemas.microsoft.com/office/drawing/2014/main" id="{4C681048-F8FF-4285-AC18-6307B0E55572}"/>
                </a:ext>
              </a:extLst>
            </p:cNvPr>
            <p:cNvSpPr>
              <a:spLocks/>
            </p:cNvSpPr>
            <p:nvPr/>
          </p:nvSpPr>
          <p:spPr bwMode="gray">
            <a:xfrm>
              <a:off x="3900428" y="2905698"/>
              <a:ext cx="90945" cy="163074"/>
            </a:xfrm>
            <a:custGeom>
              <a:avLst/>
              <a:gdLst>
                <a:gd name="T0" fmla="*/ 2147483647 w 228"/>
                <a:gd name="T1" fmla="*/ 2147483647 h 414"/>
                <a:gd name="T2" fmla="*/ 2147483647 w 228"/>
                <a:gd name="T3" fmla="*/ 2147483647 h 414"/>
                <a:gd name="T4" fmla="*/ 2147483647 w 228"/>
                <a:gd name="T5" fmla="*/ 2147483647 h 414"/>
                <a:gd name="T6" fmla="*/ 2147483647 w 228"/>
                <a:gd name="T7" fmla="*/ 2147483647 h 414"/>
                <a:gd name="T8" fmla="*/ 2147483647 w 228"/>
                <a:gd name="T9" fmla="*/ 2147483647 h 414"/>
                <a:gd name="T10" fmla="*/ 2147483647 w 228"/>
                <a:gd name="T11" fmla="*/ 2147483647 h 414"/>
                <a:gd name="T12" fmla="*/ 2147483647 w 228"/>
                <a:gd name="T13" fmla="*/ 0 h 414"/>
                <a:gd name="T14" fmla="*/ 2147483647 w 228"/>
                <a:gd name="T15" fmla="*/ 2147483647 h 414"/>
                <a:gd name="T16" fmla="*/ 2147483647 w 228"/>
                <a:gd name="T17" fmla="*/ 2147483647 h 414"/>
                <a:gd name="T18" fmla="*/ 2147483647 w 228"/>
                <a:gd name="T19" fmla="*/ 2147483647 h 414"/>
                <a:gd name="T20" fmla="*/ 2147483647 w 228"/>
                <a:gd name="T21" fmla="*/ 2147483647 h 414"/>
                <a:gd name="T22" fmla="*/ 2147483647 w 228"/>
                <a:gd name="T23" fmla="*/ 2147483647 h 414"/>
                <a:gd name="T24" fmla="*/ 2147483647 w 228"/>
                <a:gd name="T25" fmla="*/ 2147483647 h 414"/>
                <a:gd name="T26" fmla="*/ 0 w 228"/>
                <a:gd name="T27" fmla="*/ 2147483647 h 414"/>
                <a:gd name="T28" fmla="*/ 2147483647 w 228"/>
                <a:gd name="T29" fmla="*/ 2147483647 h 414"/>
                <a:gd name="T30" fmla="*/ 2147483647 w 228"/>
                <a:gd name="T31" fmla="*/ 2147483647 h 414"/>
                <a:gd name="T32" fmla="*/ 2147483647 w 228"/>
                <a:gd name="T33" fmla="*/ 2147483647 h 414"/>
                <a:gd name="T34" fmla="*/ 2147483647 w 228"/>
                <a:gd name="T35" fmla="*/ 2147483647 h 414"/>
                <a:gd name="T36" fmla="*/ 2147483647 w 228"/>
                <a:gd name="T37" fmla="*/ 2147483647 h 414"/>
                <a:gd name="T38" fmla="*/ 2147483647 w 228"/>
                <a:gd name="T39" fmla="*/ 2147483647 h 414"/>
                <a:gd name="T40" fmla="*/ 2147483647 w 228"/>
                <a:gd name="T41" fmla="*/ 2147483647 h 414"/>
                <a:gd name="T42" fmla="*/ 2147483647 w 228"/>
                <a:gd name="T43" fmla="*/ 2147483647 h 414"/>
                <a:gd name="T44" fmla="*/ 2147483647 w 228"/>
                <a:gd name="T45" fmla="*/ 2147483647 h 414"/>
                <a:gd name="T46" fmla="*/ 2147483647 w 228"/>
                <a:gd name="T47" fmla="*/ 2147483647 h 414"/>
                <a:gd name="T48" fmla="*/ 2147483647 w 228"/>
                <a:gd name="T49" fmla="*/ 2147483647 h 414"/>
                <a:gd name="T50" fmla="*/ 2147483647 w 228"/>
                <a:gd name="T51" fmla="*/ 2147483647 h 414"/>
                <a:gd name="T52" fmla="*/ 2147483647 w 228"/>
                <a:gd name="T53" fmla="*/ 2147483647 h 414"/>
                <a:gd name="T54" fmla="*/ 2147483647 w 228"/>
                <a:gd name="T55" fmla="*/ 2147483647 h 414"/>
                <a:gd name="T56" fmla="*/ 2147483647 w 228"/>
                <a:gd name="T57" fmla="*/ 2147483647 h 414"/>
                <a:gd name="T58" fmla="*/ 2147483647 w 228"/>
                <a:gd name="T59" fmla="*/ 2147483647 h 414"/>
                <a:gd name="T60" fmla="*/ 2147483647 w 228"/>
                <a:gd name="T61" fmla="*/ 2147483647 h 414"/>
                <a:gd name="T62" fmla="*/ 2147483647 w 228"/>
                <a:gd name="T63" fmla="*/ 2147483647 h 414"/>
                <a:gd name="T64" fmla="*/ 2147483647 w 228"/>
                <a:gd name="T65" fmla="*/ 2147483647 h 414"/>
                <a:gd name="T66" fmla="*/ 2147483647 w 228"/>
                <a:gd name="T67" fmla="*/ 2147483647 h 414"/>
                <a:gd name="T68" fmla="*/ 2147483647 w 228"/>
                <a:gd name="T69" fmla="*/ 2147483647 h 414"/>
                <a:gd name="T70" fmla="*/ 2147483647 w 228"/>
                <a:gd name="T71" fmla="*/ 2147483647 h 414"/>
                <a:gd name="T72" fmla="*/ 2147483647 w 228"/>
                <a:gd name="T73" fmla="*/ 2147483647 h 414"/>
                <a:gd name="T74" fmla="*/ 2147483647 w 228"/>
                <a:gd name="T75" fmla="*/ 2147483647 h 414"/>
                <a:gd name="T76" fmla="*/ 2147483647 w 228"/>
                <a:gd name="T77" fmla="*/ 2147483647 h 414"/>
                <a:gd name="T78" fmla="*/ 2147483647 w 228"/>
                <a:gd name="T79" fmla="*/ 2147483647 h 414"/>
                <a:gd name="T80" fmla="*/ 2147483647 w 228"/>
                <a:gd name="T81" fmla="*/ 2147483647 h 414"/>
                <a:gd name="T82" fmla="*/ 2147483647 w 228"/>
                <a:gd name="T83" fmla="*/ 2147483647 h 4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414"/>
                <a:gd name="T128" fmla="*/ 228 w 228"/>
                <a:gd name="T129" fmla="*/ 414 h 4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414">
                  <a:moveTo>
                    <a:pt x="210" y="30"/>
                  </a:moveTo>
                  <a:lnTo>
                    <a:pt x="210" y="12"/>
                  </a:lnTo>
                  <a:lnTo>
                    <a:pt x="156" y="12"/>
                  </a:lnTo>
                  <a:lnTo>
                    <a:pt x="156" y="18"/>
                  </a:lnTo>
                  <a:lnTo>
                    <a:pt x="150" y="24"/>
                  </a:lnTo>
                  <a:lnTo>
                    <a:pt x="138" y="24"/>
                  </a:lnTo>
                  <a:lnTo>
                    <a:pt x="132" y="18"/>
                  </a:lnTo>
                  <a:lnTo>
                    <a:pt x="114" y="18"/>
                  </a:lnTo>
                  <a:lnTo>
                    <a:pt x="108" y="24"/>
                  </a:lnTo>
                  <a:lnTo>
                    <a:pt x="96" y="24"/>
                  </a:lnTo>
                  <a:lnTo>
                    <a:pt x="96" y="18"/>
                  </a:lnTo>
                  <a:lnTo>
                    <a:pt x="102" y="18"/>
                  </a:lnTo>
                  <a:lnTo>
                    <a:pt x="114" y="6"/>
                  </a:lnTo>
                  <a:lnTo>
                    <a:pt x="114" y="0"/>
                  </a:lnTo>
                  <a:lnTo>
                    <a:pt x="90" y="0"/>
                  </a:lnTo>
                  <a:lnTo>
                    <a:pt x="66" y="12"/>
                  </a:lnTo>
                  <a:lnTo>
                    <a:pt x="60" y="18"/>
                  </a:lnTo>
                  <a:lnTo>
                    <a:pt x="60" y="36"/>
                  </a:lnTo>
                  <a:lnTo>
                    <a:pt x="66" y="60"/>
                  </a:lnTo>
                  <a:lnTo>
                    <a:pt x="66" y="78"/>
                  </a:lnTo>
                  <a:lnTo>
                    <a:pt x="60" y="108"/>
                  </a:lnTo>
                  <a:lnTo>
                    <a:pt x="48" y="138"/>
                  </a:lnTo>
                  <a:lnTo>
                    <a:pt x="30" y="174"/>
                  </a:lnTo>
                  <a:lnTo>
                    <a:pt x="12" y="222"/>
                  </a:lnTo>
                  <a:lnTo>
                    <a:pt x="6" y="234"/>
                  </a:lnTo>
                  <a:lnTo>
                    <a:pt x="6" y="240"/>
                  </a:lnTo>
                  <a:lnTo>
                    <a:pt x="0" y="252"/>
                  </a:lnTo>
                  <a:lnTo>
                    <a:pt x="0" y="264"/>
                  </a:lnTo>
                  <a:lnTo>
                    <a:pt x="18" y="282"/>
                  </a:lnTo>
                  <a:lnTo>
                    <a:pt x="30" y="288"/>
                  </a:lnTo>
                  <a:lnTo>
                    <a:pt x="42" y="342"/>
                  </a:lnTo>
                  <a:lnTo>
                    <a:pt x="42" y="348"/>
                  </a:lnTo>
                  <a:lnTo>
                    <a:pt x="36" y="354"/>
                  </a:lnTo>
                  <a:lnTo>
                    <a:pt x="36" y="366"/>
                  </a:lnTo>
                  <a:lnTo>
                    <a:pt x="30" y="384"/>
                  </a:lnTo>
                  <a:lnTo>
                    <a:pt x="24" y="396"/>
                  </a:lnTo>
                  <a:lnTo>
                    <a:pt x="24" y="408"/>
                  </a:lnTo>
                  <a:lnTo>
                    <a:pt x="48" y="408"/>
                  </a:lnTo>
                  <a:lnTo>
                    <a:pt x="60" y="402"/>
                  </a:lnTo>
                  <a:lnTo>
                    <a:pt x="72" y="402"/>
                  </a:lnTo>
                  <a:lnTo>
                    <a:pt x="84" y="414"/>
                  </a:lnTo>
                  <a:lnTo>
                    <a:pt x="96" y="414"/>
                  </a:lnTo>
                  <a:lnTo>
                    <a:pt x="108" y="408"/>
                  </a:lnTo>
                  <a:lnTo>
                    <a:pt x="114" y="402"/>
                  </a:lnTo>
                  <a:lnTo>
                    <a:pt x="120" y="402"/>
                  </a:lnTo>
                  <a:lnTo>
                    <a:pt x="126" y="396"/>
                  </a:lnTo>
                  <a:lnTo>
                    <a:pt x="126" y="348"/>
                  </a:lnTo>
                  <a:lnTo>
                    <a:pt x="132" y="342"/>
                  </a:lnTo>
                  <a:lnTo>
                    <a:pt x="138" y="330"/>
                  </a:lnTo>
                  <a:lnTo>
                    <a:pt x="150" y="330"/>
                  </a:lnTo>
                  <a:lnTo>
                    <a:pt x="162" y="318"/>
                  </a:lnTo>
                  <a:lnTo>
                    <a:pt x="162" y="312"/>
                  </a:lnTo>
                  <a:lnTo>
                    <a:pt x="150" y="312"/>
                  </a:lnTo>
                  <a:lnTo>
                    <a:pt x="144" y="306"/>
                  </a:lnTo>
                  <a:lnTo>
                    <a:pt x="138" y="294"/>
                  </a:lnTo>
                  <a:lnTo>
                    <a:pt x="138" y="288"/>
                  </a:lnTo>
                  <a:lnTo>
                    <a:pt x="132" y="282"/>
                  </a:lnTo>
                  <a:lnTo>
                    <a:pt x="132" y="276"/>
                  </a:lnTo>
                  <a:lnTo>
                    <a:pt x="144" y="264"/>
                  </a:lnTo>
                  <a:lnTo>
                    <a:pt x="156" y="258"/>
                  </a:lnTo>
                  <a:lnTo>
                    <a:pt x="168" y="246"/>
                  </a:lnTo>
                  <a:lnTo>
                    <a:pt x="168" y="240"/>
                  </a:lnTo>
                  <a:lnTo>
                    <a:pt x="156" y="234"/>
                  </a:lnTo>
                  <a:lnTo>
                    <a:pt x="150" y="228"/>
                  </a:lnTo>
                  <a:lnTo>
                    <a:pt x="150" y="216"/>
                  </a:lnTo>
                  <a:lnTo>
                    <a:pt x="126" y="192"/>
                  </a:lnTo>
                  <a:lnTo>
                    <a:pt x="162" y="192"/>
                  </a:lnTo>
                  <a:lnTo>
                    <a:pt x="174" y="180"/>
                  </a:lnTo>
                  <a:lnTo>
                    <a:pt x="174" y="168"/>
                  </a:lnTo>
                  <a:lnTo>
                    <a:pt x="168" y="162"/>
                  </a:lnTo>
                  <a:lnTo>
                    <a:pt x="168" y="150"/>
                  </a:lnTo>
                  <a:lnTo>
                    <a:pt x="174" y="144"/>
                  </a:lnTo>
                  <a:lnTo>
                    <a:pt x="180" y="144"/>
                  </a:lnTo>
                  <a:lnTo>
                    <a:pt x="180" y="126"/>
                  </a:lnTo>
                  <a:lnTo>
                    <a:pt x="186" y="108"/>
                  </a:lnTo>
                  <a:lnTo>
                    <a:pt x="186" y="96"/>
                  </a:lnTo>
                  <a:lnTo>
                    <a:pt x="180" y="90"/>
                  </a:lnTo>
                  <a:lnTo>
                    <a:pt x="174" y="90"/>
                  </a:lnTo>
                  <a:lnTo>
                    <a:pt x="174" y="84"/>
                  </a:lnTo>
                  <a:lnTo>
                    <a:pt x="180" y="78"/>
                  </a:lnTo>
                  <a:lnTo>
                    <a:pt x="204" y="66"/>
                  </a:lnTo>
                  <a:lnTo>
                    <a:pt x="228" y="42"/>
                  </a:lnTo>
                  <a:lnTo>
                    <a:pt x="228" y="36"/>
                  </a:lnTo>
                  <a:lnTo>
                    <a:pt x="216" y="30"/>
                  </a:lnTo>
                  <a:lnTo>
                    <a:pt x="210" y="30"/>
                  </a:lnTo>
                  <a:close/>
                </a:path>
              </a:pathLst>
            </a:custGeom>
            <a:solidFill>
              <a:schemeClr val="accent1"/>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79" name="Polen" descr="© INSCALE GmbH, 05.05.2010&#10;http://www.presentationload.com/">
              <a:extLst>
                <a:ext uri="{FF2B5EF4-FFF2-40B4-BE49-F238E27FC236}">
                  <a16:creationId xmlns:a16="http://schemas.microsoft.com/office/drawing/2014/main" id="{CA7BE801-A57C-4AAB-AA4E-FBFB8B567C80}"/>
                </a:ext>
              </a:extLst>
            </p:cNvPr>
            <p:cNvSpPr>
              <a:spLocks/>
            </p:cNvSpPr>
            <p:nvPr/>
          </p:nvSpPr>
          <p:spPr bwMode="gray">
            <a:xfrm>
              <a:off x="4511957" y="2508987"/>
              <a:ext cx="247748" cy="178755"/>
            </a:xfrm>
            <a:custGeom>
              <a:avLst/>
              <a:gdLst>
                <a:gd name="T0" fmla="*/ 2147483647 w 624"/>
                <a:gd name="T1" fmla="*/ 2147483647 h 450"/>
                <a:gd name="T2" fmla="*/ 2147483647 w 624"/>
                <a:gd name="T3" fmla="*/ 2147483647 h 450"/>
                <a:gd name="T4" fmla="*/ 2147483647 w 624"/>
                <a:gd name="T5" fmla="*/ 2147483647 h 450"/>
                <a:gd name="T6" fmla="*/ 2147483647 w 624"/>
                <a:gd name="T7" fmla="*/ 2147483647 h 450"/>
                <a:gd name="T8" fmla="*/ 2147483647 w 624"/>
                <a:gd name="T9" fmla="*/ 2147483647 h 450"/>
                <a:gd name="T10" fmla="*/ 2147483647 w 624"/>
                <a:gd name="T11" fmla="*/ 2147483647 h 450"/>
                <a:gd name="T12" fmla="*/ 2147483647 w 624"/>
                <a:gd name="T13" fmla="*/ 2147483647 h 450"/>
                <a:gd name="T14" fmla="*/ 2147483647 w 624"/>
                <a:gd name="T15" fmla="*/ 2147483647 h 450"/>
                <a:gd name="T16" fmla="*/ 2147483647 w 624"/>
                <a:gd name="T17" fmla="*/ 2147483647 h 450"/>
                <a:gd name="T18" fmla="*/ 2147483647 w 624"/>
                <a:gd name="T19" fmla="*/ 2147483647 h 450"/>
                <a:gd name="T20" fmla="*/ 2147483647 w 624"/>
                <a:gd name="T21" fmla="*/ 2147483647 h 450"/>
                <a:gd name="T22" fmla="*/ 2147483647 w 624"/>
                <a:gd name="T23" fmla="*/ 2147483647 h 450"/>
                <a:gd name="T24" fmla="*/ 2147483647 w 624"/>
                <a:gd name="T25" fmla="*/ 2147483647 h 450"/>
                <a:gd name="T26" fmla="*/ 2147483647 w 624"/>
                <a:gd name="T27" fmla="*/ 2147483647 h 450"/>
                <a:gd name="T28" fmla="*/ 2147483647 w 624"/>
                <a:gd name="T29" fmla="*/ 2147483647 h 450"/>
                <a:gd name="T30" fmla="*/ 2147483647 w 624"/>
                <a:gd name="T31" fmla="*/ 2147483647 h 450"/>
                <a:gd name="T32" fmla="*/ 2147483647 w 624"/>
                <a:gd name="T33" fmla="*/ 2147483647 h 450"/>
                <a:gd name="T34" fmla="*/ 2147483647 w 624"/>
                <a:gd name="T35" fmla="*/ 2147483647 h 450"/>
                <a:gd name="T36" fmla="*/ 2147483647 w 624"/>
                <a:gd name="T37" fmla="*/ 2147483647 h 450"/>
                <a:gd name="T38" fmla="*/ 2147483647 w 624"/>
                <a:gd name="T39" fmla="*/ 2147483647 h 450"/>
                <a:gd name="T40" fmla="*/ 2147483647 w 624"/>
                <a:gd name="T41" fmla="*/ 2147483647 h 450"/>
                <a:gd name="T42" fmla="*/ 2147483647 w 624"/>
                <a:gd name="T43" fmla="*/ 2147483647 h 450"/>
                <a:gd name="T44" fmla="*/ 2147483647 w 624"/>
                <a:gd name="T45" fmla="*/ 2147483647 h 450"/>
                <a:gd name="T46" fmla="*/ 2147483647 w 624"/>
                <a:gd name="T47" fmla="*/ 2147483647 h 450"/>
                <a:gd name="T48" fmla="*/ 2147483647 w 624"/>
                <a:gd name="T49" fmla="*/ 2147483647 h 450"/>
                <a:gd name="T50" fmla="*/ 2147483647 w 624"/>
                <a:gd name="T51" fmla="*/ 2147483647 h 450"/>
                <a:gd name="T52" fmla="*/ 2147483647 w 624"/>
                <a:gd name="T53" fmla="*/ 2147483647 h 450"/>
                <a:gd name="T54" fmla="*/ 2147483647 w 624"/>
                <a:gd name="T55" fmla="*/ 2147483647 h 450"/>
                <a:gd name="T56" fmla="*/ 2147483647 w 624"/>
                <a:gd name="T57" fmla="*/ 2147483647 h 450"/>
                <a:gd name="T58" fmla="*/ 0 w 624"/>
                <a:gd name="T59" fmla="*/ 2147483647 h 450"/>
                <a:gd name="T60" fmla="*/ 2147483647 w 624"/>
                <a:gd name="T61" fmla="*/ 2147483647 h 450"/>
                <a:gd name="T62" fmla="*/ 2147483647 w 624"/>
                <a:gd name="T63" fmla="*/ 2147483647 h 450"/>
                <a:gd name="T64" fmla="*/ 2147483647 w 624"/>
                <a:gd name="T65" fmla="*/ 2147483647 h 450"/>
                <a:gd name="T66" fmla="*/ 2147483647 w 624"/>
                <a:gd name="T67" fmla="*/ 2147483647 h 450"/>
                <a:gd name="T68" fmla="*/ 2147483647 w 624"/>
                <a:gd name="T69" fmla="*/ 2147483647 h 450"/>
                <a:gd name="T70" fmla="*/ 2147483647 w 624"/>
                <a:gd name="T71" fmla="*/ 2147483647 h 450"/>
                <a:gd name="T72" fmla="*/ 2147483647 w 624"/>
                <a:gd name="T73" fmla="*/ 2147483647 h 450"/>
                <a:gd name="T74" fmla="*/ 2147483647 w 624"/>
                <a:gd name="T75" fmla="*/ 2147483647 h 450"/>
                <a:gd name="T76" fmla="*/ 2147483647 w 624"/>
                <a:gd name="T77" fmla="*/ 2147483647 h 450"/>
                <a:gd name="T78" fmla="*/ 2147483647 w 624"/>
                <a:gd name="T79" fmla="*/ 2147483647 h 450"/>
                <a:gd name="T80" fmla="*/ 2147483647 w 624"/>
                <a:gd name="T81" fmla="*/ 2147483647 h 450"/>
                <a:gd name="T82" fmla="*/ 2147483647 w 624"/>
                <a:gd name="T83" fmla="*/ 2147483647 h 450"/>
                <a:gd name="T84" fmla="*/ 2147483647 w 624"/>
                <a:gd name="T85" fmla="*/ 2147483647 h 450"/>
                <a:gd name="T86" fmla="*/ 2147483647 w 624"/>
                <a:gd name="T87" fmla="*/ 2147483647 h 450"/>
                <a:gd name="T88" fmla="*/ 2147483647 w 624"/>
                <a:gd name="T89" fmla="*/ 2147483647 h 450"/>
                <a:gd name="T90" fmla="*/ 2147483647 w 624"/>
                <a:gd name="T91" fmla="*/ 2147483647 h 450"/>
                <a:gd name="T92" fmla="*/ 2147483647 w 624"/>
                <a:gd name="T93" fmla="*/ 2147483647 h 450"/>
                <a:gd name="T94" fmla="*/ 2147483647 w 624"/>
                <a:gd name="T95" fmla="*/ 2147483647 h 450"/>
                <a:gd name="T96" fmla="*/ 2147483647 w 624"/>
                <a:gd name="T97" fmla="*/ 2147483647 h 450"/>
                <a:gd name="T98" fmla="*/ 2147483647 w 624"/>
                <a:gd name="T99" fmla="*/ 2147483647 h 450"/>
                <a:gd name="T100" fmla="*/ 2147483647 w 624"/>
                <a:gd name="T101" fmla="*/ 2147483647 h 450"/>
                <a:gd name="T102" fmla="*/ 2147483647 w 624"/>
                <a:gd name="T103" fmla="*/ 2147483647 h 450"/>
                <a:gd name="T104" fmla="*/ 2147483647 w 624"/>
                <a:gd name="T105" fmla="*/ 2147483647 h 450"/>
                <a:gd name="T106" fmla="*/ 2147483647 w 624"/>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4"/>
                <a:gd name="T163" fmla="*/ 0 h 450"/>
                <a:gd name="T164" fmla="*/ 624 w 624"/>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4" h="450">
                  <a:moveTo>
                    <a:pt x="426" y="426"/>
                  </a:moveTo>
                  <a:lnTo>
                    <a:pt x="432" y="426"/>
                  </a:lnTo>
                  <a:lnTo>
                    <a:pt x="444" y="420"/>
                  </a:lnTo>
                  <a:lnTo>
                    <a:pt x="450" y="414"/>
                  </a:lnTo>
                  <a:lnTo>
                    <a:pt x="474" y="414"/>
                  </a:lnTo>
                  <a:lnTo>
                    <a:pt x="498" y="438"/>
                  </a:lnTo>
                  <a:lnTo>
                    <a:pt x="528" y="438"/>
                  </a:lnTo>
                  <a:lnTo>
                    <a:pt x="528" y="450"/>
                  </a:lnTo>
                  <a:lnTo>
                    <a:pt x="552" y="450"/>
                  </a:lnTo>
                  <a:lnTo>
                    <a:pt x="540" y="438"/>
                  </a:lnTo>
                  <a:lnTo>
                    <a:pt x="540" y="396"/>
                  </a:lnTo>
                  <a:lnTo>
                    <a:pt x="594" y="348"/>
                  </a:lnTo>
                  <a:lnTo>
                    <a:pt x="606" y="348"/>
                  </a:lnTo>
                  <a:lnTo>
                    <a:pt x="612" y="342"/>
                  </a:lnTo>
                  <a:lnTo>
                    <a:pt x="618" y="342"/>
                  </a:lnTo>
                  <a:lnTo>
                    <a:pt x="624" y="336"/>
                  </a:lnTo>
                  <a:lnTo>
                    <a:pt x="618" y="330"/>
                  </a:lnTo>
                  <a:lnTo>
                    <a:pt x="618" y="324"/>
                  </a:lnTo>
                  <a:lnTo>
                    <a:pt x="612" y="318"/>
                  </a:lnTo>
                  <a:lnTo>
                    <a:pt x="618" y="306"/>
                  </a:lnTo>
                  <a:lnTo>
                    <a:pt x="612" y="300"/>
                  </a:lnTo>
                  <a:lnTo>
                    <a:pt x="600" y="294"/>
                  </a:lnTo>
                  <a:lnTo>
                    <a:pt x="600" y="288"/>
                  </a:lnTo>
                  <a:lnTo>
                    <a:pt x="582" y="270"/>
                  </a:lnTo>
                  <a:lnTo>
                    <a:pt x="576" y="252"/>
                  </a:lnTo>
                  <a:lnTo>
                    <a:pt x="582" y="252"/>
                  </a:lnTo>
                  <a:lnTo>
                    <a:pt x="576" y="240"/>
                  </a:lnTo>
                  <a:lnTo>
                    <a:pt x="576" y="210"/>
                  </a:lnTo>
                  <a:lnTo>
                    <a:pt x="564" y="198"/>
                  </a:lnTo>
                  <a:lnTo>
                    <a:pt x="558" y="198"/>
                  </a:lnTo>
                  <a:lnTo>
                    <a:pt x="552" y="192"/>
                  </a:lnTo>
                  <a:lnTo>
                    <a:pt x="552" y="186"/>
                  </a:lnTo>
                  <a:lnTo>
                    <a:pt x="564" y="186"/>
                  </a:lnTo>
                  <a:lnTo>
                    <a:pt x="564" y="168"/>
                  </a:lnTo>
                  <a:lnTo>
                    <a:pt x="588" y="162"/>
                  </a:lnTo>
                  <a:lnTo>
                    <a:pt x="588" y="150"/>
                  </a:lnTo>
                  <a:lnTo>
                    <a:pt x="594" y="144"/>
                  </a:lnTo>
                  <a:lnTo>
                    <a:pt x="594" y="138"/>
                  </a:lnTo>
                  <a:lnTo>
                    <a:pt x="588" y="132"/>
                  </a:lnTo>
                  <a:lnTo>
                    <a:pt x="576" y="108"/>
                  </a:lnTo>
                  <a:lnTo>
                    <a:pt x="570" y="102"/>
                  </a:lnTo>
                  <a:lnTo>
                    <a:pt x="570" y="90"/>
                  </a:lnTo>
                  <a:lnTo>
                    <a:pt x="564" y="84"/>
                  </a:lnTo>
                  <a:lnTo>
                    <a:pt x="558" y="72"/>
                  </a:lnTo>
                  <a:lnTo>
                    <a:pt x="558" y="48"/>
                  </a:lnTo>
                  <a:lnTo>
                    <a:pt x="546" y="42"/>
                  </a:lnTo>
                  <a:lnTo>
                    <a:pt x="540" y="42"/>
                  </a:lnTo>
                  <a:lnTo>
                    <a:pt x="522" y="36"/>
                  </a:lnTo>
                  <a:lnTo>
                    <a:pt x="498" y="36"/>
                  </a:lnTo>
                  <a:lnTo>
                    <a:pt x="498" y="42"/>
                  </a:lnTo>
                  <a:lnTo>
                    <a:pt x="408" y="42"/>
                  </a:lnTo>
                  <a:lnTo>
                    <a:pt x="402" y="36"/>
                  </a:lnTo>
                  <a:lnTo>
                    <a:pt x="390" y="36"/>
                  </a:lnTo>
                  <a:lnTo>
                    <a:pt x="384" y="30"/>
                  </a:lnTo>
                  <a:lnTo>
                    <a:pt x="360" y="30"/>
                  </a:lnTo>
                  <a:lnTo>
                    <a:pt x="354" y="36"/>
                  </a:lnTo>
                  <a:lnTo>
                    <a:pt x="348" y="36"/>
                  </a:lnTo>
                  <a:lnTo>
                    <a:pt x="342" y="30"/>
                  </a:lnTo>
                  <a:lnTo>
                    <a:pt x="312" y="30"/>
                  </a:lnTo>
                  <a:lnTo>
                    <a:pt x="300" y="36"/>
                  </a:lnTo>
                  <a:lnTo>
                    <a:pt x="282" y="36"/>
                  </a:lnTo>
                  <a:lnTo>
                    <a:pt x="276" y="30"/>
                  </a:lnTo>
                  <a:lnTo>
                    <a:pt x="270" y="18"/>
                  </a:lnTo>
                  <a:lnTo>
                    <a:pt x="264" y="12"/>
                  </a:lnTo>
                  <a:lnTo>
                    <a:pt x="264" y="6"/>
                  </a:lnTo>
                  <a:lnTo>
                    <a:pt x="258" y="6"/>
                  </a:lnTo>
                  <a:lnTo>
                    <a:pt x="252" y="0"/>
                  </a:lnTo>
                  <a:lnTo>
                    <a:pt x="210" y="0"/>
                  </a:lnTo>
                  <a:lnTo>
                    <a:pt x="192" y="6"/>
                  </a:lnTo>
                  <a:lnTo>
                    <a:pt x="180" y="12"/>
                  </a:lnTo>
                  <a:lnTo>
                    <a:pt x="162" y="12"/>
                  </a:lnTo>
                  <a:lnTo>
                    <a:pt x="150" y="18"/>
                  </a:lnTo>
                  <a:lnTo>
                    <a:pt x="144" y="24"/>
                  </a:lnTo>
                  <a:lnTo>
                    <a:pt x="138" y="24"/>
                  </a:lnTo>
                  <a:lnTo>
                    <a:pt x="120" y="42"/>
                  </a:lnTo>
                  <a:lnTo>
                    <a:pt x="60" y="48"/>
                  </a:lnTo>
                  <a:lnTo>
                    <a:pt x="54" y="48"/>
                  </a:lnTo>
                  <a:lnTo>
                    <a:pt x="48" y="54"/>
                  </a:lnTo>
                  <a:lnTo>
                    <a:pt x="24" y="66"/>
                  </a:lnTo>
                  <a:lnTo>
                    <a:pt x="18" y="66"/>
                  </a:lnTo>
                  <a:lnTo>
                    <a:pt x="12" y="72"/>
                  </a:lnTo>
                  <a:lnTo>
                    <a:pt x="18" y="78"/>
                  </a:lnTo>
                  <a:lnTo>
                    <a:pt x="18" y="96"/>
                  </a:lnTo>
                  <a:lnTo>
                    <a:pt x="6" y="90"/>
                  </a:lnTo>
                  <a:lnTo>
                    <a:pt x="6" y="108"/>
                  </a:lnTo>
                  <a:lnTo>
                    <a:pt x="12" y="108"/>
                  </a:lnTo>
                  <a:lnTo>
                    <a:pt x="18" y="114"/>
                  </a:lnTo>
                  <a:lnTo>
                    <a:pt x="18" y="132"/>
                  </a:lnTo>
                  <a:lnTo>
                    <a:pt x="6" y="144"/>
                  </a:lnTo>
                  <a:lnTo>
                    <a:pt x="0" y="144"/>
                  </a:lnTo>
                  <a:lnTo>
                    <a:pt x="0" y="156"/>
                  </a:lnTo>
                  <a:lnTo>
                    <a:pt x="6" y="162"/>
                  </a:lnTo>
                  <a:lnTo>
                    <a:pt x="12" y="162"/>
                  </a:lnTo>
                  <a:lnTo>
                    <a:pt x="18" y="168"/>
                  </a:lnTo>
                  <a:lnTo>
                    <a:pt x="30" y="168"/>
                  </a:lnTo>
                  <a:lnTo>
                    <a:pt x="30" y="186"/>
                  </a:lnTo>
                  <a:lnTo>
                    <a:pt x="24" y="186"/>
                  </a:lnTo>
                  <a:lnTo>
                    <a:pt x="24" y="198"/>
                  </a:lnTo>
                  <a:lnTo>
                    <a:pt x="36" y="198"/>
                  </a:lnTo>
                  <a:lnTo>
                    <a:pt x="36" y="204"/>
                  </a:lnTo>
                  <a:lnTo>
                    <a:pt x="30" y="210"/>
                  </a:lnTo>
                  <a:lnTo>
                    <a:pt x="36" y="210"/>
                  </a:lnTo>
                  <a:lnTo>
                    <a:pt x="42" y="216"/>
                  </a:lnTo>
                  <a:lnTo>
                    <a:pt x="36" y="222"/>
                  </a:lnTo>
                  <a:lnTo>
                    <a:pt x="24" y="228"/>
                  </a:lnTo>
                  <a:lnTo>
                    <a:pt x="24" y="234"/>
                  </a:lnTo>
                  <a:lnTo>
                    <a:pt x="30" y="240"/>
                  </a:lnTo>
                  <a:lnTo>
                    <a:pt x="36" y="240"/>
                  </a:lnTo>
                  <a:lnTo>
                    <a:pt x="42" y="246"/>
                  </a:lnTo>
                  <a:lnTo>
                    <a:pt x="42" y="264"/>
                  </a:lnTo>
                  <a:lnTo>
                    <a:pt x="48" y="258"/>
                  </a:lnTo>
                  <a:lnTo>
                    <a:pt x="54" y="258"/>
                  </a:lnTo>
                  <a:lnTo>
                    <a:pt x="54" y="270"/>
                  </a:lnTo>
                  <a:lnTo>
                    <a:pt x="48" y="276"/>
                  </a:lnTo>
                  <a:lnTo>
                    <a:pt x="60" y="276"/>
                  </a:lnTo>
                  <a:lnTo>
                    <a:pt x="60" y="282"/>
                  </a:lnTo>
                  <a:lnTo>
                    <a:pt x="54" y="282"/>
                  </a:lnTo>
                  <a:lnTo>
                    <a:pt x="54" y="294"/>
                  </a:lnTo>
                  <a:lnTo>
                    <a:pt x="72" y="294"/>
                  </a:lnTo>
                  <a:lnTo>
                    <a:pt x="78" y="312"/>
                  </a:lnTo>
                  <a:lnTo>
                    <a:pt x="96" y="312"/>
                  </a:lnTo>
                  <a:lnTo>
                    <a:pt x="108" y="318"/>
                  </a:lnTo>
                  <a:lnTo>
                    <a:pt x="114" y="318"/>
                  </a:lnTo>
                  <a:lnTo>
                    <a:pt x="114" y="324"/>
                  </a:lnTo>
                  <a:lnTo>
                    <a:pt x="138" y="324"/>
                  </a:lnTo>
                  <a:lnTo>
                    <a:pt x="144" y="330"/>
                  </a:lnTo>
                  <a:lnTo>
                    <a:pt x="132" y="336"/>
                  </a:lnTo>
                  <a:lnTo>
                    <a:pt x="144" y="342"/>
                  </a:lnTo>
                  <a:lnTo>
                    <a:pt x="144" y="354"/>
                  </a:lnTo>
                  <a:lnTo>
                    <a:pt x="150" y="354"/>
                  </a:lnTo>
                  <a:lnTo>
                    <a:pt x="156" y="360"/>
                  </a:lnTo>
                  <a:lnTo>
                    <a:pt x="174" y="360"/>
                  </a:lnTo>
                  <a:lnTo>
                    <a:pt x="174" y="354"/>
                  </a:lnTo>
                  <a:lnTo>
                    <a:pt x="180" y="354"/>
                  </a:lnTo>
                  <a:lnTo>
                    <a:pt x="192" y="348"/>
                  </a:lnTo>
                  <a:lnTo>
                    <a:pt x="210" y="348"/>
                  </a:lnTo>
                  <a:lnTo>
                    <a:pt x="204" y="354"/>
                  </a:lnTo>
                  <a:lnTo>
                    <a:pt x="222" y="354"/>
                  </a:lnTo>
                  <a:lnTo>
                    <a:pt x="228" y="360"/>
                  </a:lnTo>
                  <a:lnTo>
                    <a:pt x="234" y="372"/>
                  </a:lnTo>
                  <a:lnTo>
                    <a:pt x="240" y="378"/>
                  </a:lnTo>
                  <a:lnTo>
                    <a:pt x="246" y="366"/>
                  </a:lnTo>
                  <a:lnTo>
                    <a:pt x="252" y="372"/>
                  </a:lnTo>
                  <a:lnTo>
                    <a:pt x="252" y="378"/>
                  </a:lnTo>
                  <a:lnTo>
                    <a:pt x="270" y="378"/>
                  </a:lnTo>
                  <a:lnTo>
                    <a:pt x="282" y="384"/>
                  </a:lnTo>
                  <a:lnTo>
                    <a:pt x="282" y="390"/>
                  </a:lnTo>
                  <a:lnTo>
                    <a:pt x="288" y="402"/>
                  </a:lnTo>
                  <a:lnTo>
                    <a:pt x="306" y="420"/>
                  </a:lnTo>
                  <a:lnTo>
                    <a:pt x="318" y="420"/>
                  </a:lnTo>
                  <a:lnTo>
                    <a:pt x="330" y="408"/>
                  </a:lnTo>
                  <a:lnTo>
                    <a:pt x="342" y="408"/>
                  </a:lnTo>
                  <a:lnTo>
                    <a:pt x="354" y="420"/>
                  </a:lnTo>
                  <a:lnTo>
                    <a:pt x="360" y="420"/>
                  </a:lnTo>
                  <a:lnTo>
                    <a:pt x="360" y="426"/>
                  </a:lnTo>
                  <a:lnTo>
                    <a:pt x="366" y="432"/>
                  </a:lnTo>
                  <a:lnTo>
                    <a:pt x="378" y="432"/>
                  </a:lnTo>
                  <a:lnTo>
                    <a:pt x="384" y="426"/>
                  </a:lnTo>
                  <a:lnTo>
                    <a:pt x="384" y="420"/>
                  </a:lnTo>
                  <a:lnTo>
                    <a:pt x="414" y="420"/>
                  </a:lnTo>
                  <a:lnTo>
                    <a:pt x="420" y="426"/>
                  </a:lnTo>
                  <a:lnTo>
                    <a:pt x="426" y="426"/>
                  </a:lnTo>
                  <a:close/>
                </a:path>
              </a:pathLst>
            </a:custGeom>
            <a:solidFill>
              <a:schemeClr val="accent1"/>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80" name="Philippinen" descr="© INSCALE GmbH, 05.05.2010&#10;http://www.presentationload.com/">
              <a:extLst>
                <a:ext uri="{FF2B5EF4-FFF2-40B4-BE49-F238E27FC236}">
                  <a16:creationId xmlns:a16="http://schemas.microsoft.com/office/drawing/2014/main" id="{C0C8BE44-F148-42A8-80A6-6578DEBAB4FA}"/>
                </a:ext>
              </a:extLst>
            </p:cNvPr>
            <p:cNvSpPr>
              <a:spLocks noEditPoints="1"/>
            </p:cNvSpPr>
            <p:nvPr/>
          </p:nvSpPr>
          <p:spPr bwMode="gray">
            <a:xfrm>
              <a:off x="7436319" y="3652077"/>
              <a:ext cx="283812" cy="478248"/>
            </a:xfrm>
            <a:custGeom>
              <a:avLst/>
              <a:gdLst>
                <a:gd name="T0" fmla="*/ 2147483647 w 714"/>
                <a:gd name="T1" fmla="*/ 2147483647 h 1200"/>
                <a:gd name="T2" fmla="*/ 2147483647 w 714"/>
                <a:gd name="T3" fmla="*/ 2147483647 h 1200"/>
                <a:gd name="T4" fmla="*/ 2147483647 w 714"/>
                <a:gd name="T5" fmla="*/ 2147483647 h 1200"/>
                <a:gd name="T6" fmla="*/ 2147483647 w 714"/>
                <a:gd name="T7" fmla="*/ 2147483647 h 1200"/>
                <a:gd name="T8" fmla="*/ 2147483647 w 714"/>
                <a:gd name="T9" fmla="*/ 2147483647 h 1200"/>
                <a:gd name="T10" fmla="*/ 2147483647 w 714"/>
                <a:gd name="T11" fmla="*/ 2147483647 h 1200"/>
                <a:gd name="T12" fmla="*/ 2147483647 w 714"/>
                <a:gd name="T13" fmla="*/ 2147483647 h 1200"/>
                <a:gd name="T14" fmla="*/ 2147483647 w 714"/>
                <a:gd name="T15" fmla="*/ 2147483647 h 1200"/>
                <a:gd name="T16" fmla="*/ 2147483647 w 714"/>
                <a:gd name="T17" fmla="*/ 2147483647 h 1200"/>
                <a:gd name="T18" fmla="*/ 2147483647 w 714"/>
                <a:gd name="T19" fmla="*/ 2147483647 h 1200"/>
                <a:gd name="T20" fmla="*/ 2147483647 w 714"/>
                <a:gd name="T21" fmla="*/ 2147483647 h 1200"/>
                <a:gd name="T22" fmla="*/ 2147483647 w 714"/>
                <a:gd name="T23" fmla="*/ 2147483647 h 1200"/>
                <a:gd name="T24" fmla="*/ 2147483647 w 714"/>
                <a:gd name="T25" fmla="*/ 2147483647 h 1200"/>
                <a:gd name="T26" fmla="*/ 2147483647 w 714"/>
                <a:gd name="T27" fmla="*/ 2147483647 h 1200"/>
                <a:gd name="T28" fmla="*/ 2147483647 w 714"/>
                <a:gd name="T29" fmla="*/ 2147483647 h 1200"/>
                <a:gd name="T30" fmla="*/ 2147483647 w 714"/>
                <a:gd name="T31" fmla="*/ 2147483647 h 1200"/>
                <a:gd name="T32" fmla="*/ 2147483647 w 714"/>
                <a:gd name="T33" fmla="*/ 2147483647 h 1200"/>
                <a:gd name="T34" fmla="*/ 2147483647 w 714"/>
                <a:gd name="T35" fmla="*/ 2147483647 h 1200"/>
                <a:gd name="T36" fmla="*/ 2147483647 w 714"/>
                <a:gd name="T37" fmla="*/ 2147483647 h 1200"/>
                <a:gd name="T38" fmla="*/ 2147483647 w 714"/>
                <a:gd name="T39" fmla="*/ 2147483647 h 1200"/>
                <a:gd name="T40" fmla="*/ 2147483647 w 714"/>
                <a:gd name="T41" fmla="*/ 2147483647 h 1200"/>
                <a:gd name="T42" fmla="*/ 2147483647 w 714"/>
                <a:gd name="T43" fmla="*/ 2147483647 h 1200"/>
                <a:gd name="T44" fmla="*/ 2147483647 w 714"/>
                <a:gd name="T45" fmla="*/ 2147483647 h 1200"/>
                <a:gd name="T46" fmla="*/ 2147483647 w 714"/>
                <a:gd name="T47" fmla="*/ 2147483647 h 1200"/>
                <a:gd name="T48" fmla="*/ 2147483647 w 714"/>
                <a:gd name="T49" fmla="*/ 2147483647 h 1200"/>
                <a:gd name="T50" fmla="*/ 2147483647 w 714"/>
                <a:gd name="T51" fmla="*/ 2147483647 h 1200"/>
                <a:gd name="T52" fmla="*/ 2147483647 w 714"/>
                <a:gd name="T53" fmla="*/ 2147483647 h 1200"/>
                <a:gd name="T54" fmla="*/ 2147483647 w 714"/>
                <a:gd name="T55" fmla="*/ 2147483647 h 1200"/>
                <a:gd name="T56" fmla="*/ 2147483647 w 714"/>
                <a:gd name="T57" fmla="*/ 2147483647 h 1200"/>
                <a:gd name="T58" fmla="*/ 2147483647 w 714"/>
                <a:gd name="T59" fmla="*/ 2147483647 h 1200"/>
                <a:gd name="T60" fmla="*/ 2147483647 w 714"/>
                <a:gd name="T61" fmla="*/ 2147483647 h 1200"/>
                <a:gd name="T62" fmla="*/ 2147483647 w 714"/>
                <a:gd name="T63" fmla="*/ 2147483647 h 1200"/>
                <a:gd name="T64" fmla="*/ 2147483647 w 714"/>
                <a:gd name="T65" fmla="*/ 2147483647 h 1200"/>
                <a:gd name="T66" fmla="*/ 2147483647 w 714"/>
                <a:gd name="T67" fmla="*/ 2147483647 h 1200"/>
                <a:gd name="T68" fmla="*/ 2147483647 w 714"/>
                <a:gd name="T69" fmla="*/ 2147483647 h 1200"/>
                <a:gd name="T70" fmla="*/ 2147483647 w 714"/>
                <a:gd name="T71" fmla="*/ 2147483647 h 1200"/>
                <a:gd name="T72" fmla="*/ 2147483647 w 714"/>
                <a:gd name="T73" fmla="*/ 2147483647 h 1200"/>
                <a:gd name="T74" fmla="*/ 2147483647 w 714"/>
                <a:gd name="T75" fmla="*/ 2147483647 h 1200"/>
                <a:gd name="T76" fmla="*/ 2147483647 w 714"/>
                <a:gd name="T77" fmla="*/ 2147483647 h 1200"/>
                <a:gd name="T78" fmla="*/ 2147483647 w 714"/>
                <a:gd name="T79" fmla="*/ 0 h 1200"/>
                <a:gd name="T80" fmla="*/ 2147483647 w 714"/>
                <a:gd name="T81" fmla="*/ 2147483647 h 1200"/>
                <a:gd name="T82" fmla="*/ 2147483647 w 714"/>
                <a:gd name="T83" fmla="*/ 2147483647 h 1200"/>
                <a:gd name="T84" fmla="*/ 2147483647 w 714"/>
                <a:gd name="T85" fmla="*/ 2147483647 h 1200"/>
                <a:gd name="T86" fmla="*/ 2147483647 w 714"/>
                <a:gd name="T87" fmla="*/ 2147483647 h 1200"/>
                <a:gd name="T88" fmla="*/ 2147483647 w 714"/>
                <a:gd name="T89" fmla="*/ 2147483647 h 1200"/>
                <a:gd name="T90" fmla="*/ 2147483647 w 714"/>
                <a:gd name="T91" fmla="*/ 2147483647 h 1200"/>
                <a:gd name="T92" fmla="*/ 2147483647 w 714"/>
                <a:gd name="T93" fmla="*/ 2147483647 h 1200"/>
                <a:gd name="T94" fmla="*/ 2147483647 w 714"/>
                <a:gd name="T95" fmla="*/ 2147483647 h 1200"/>
                <a:gd name="T96" fmla="*/ 2147483647 w 714"/>
                <a:gd name="T97" fmla="*/ 2147483647 h 1200"/>
                <a:gd name="T98" fmla="*/ 2147483647 w 714"/>
                <a:gd name="T99" fmla="*/ 2147483647 h 1200"/>
                <a:gd name="T100" fmla="*/ 2147483647 w 714"/>
                <a:gd name="T101" fmla="*/ 2147483647 h 1200"/>
                <a:gd name="T102" fmla="*/ 2147483647 w 714"/>
                <a:gd name="T103" fmla="*/ 2147483647 h 1200"/>
                <a:gd name="T104" fmla="*/ 2147483647 w 714"/>
                <a:gd name="T105" fmla="*/ 2147483647 h 1200"/>
                <a:gd name="T106" fmla="*/ 2147483647 w 714"/>
                <a:gd name="T107" fmla="*/ 2147483647 h 1200"/>
                <a:gd name="T108" fmla="*/ 2147483647 w 714"/>
                <a:gd name="T109" fmla="*/ 2147483647 h 1200"/>
                <a:gd name="T110" fmla="*/ 2147483647 w 714"/>
                <a:gd name="T111" fmla="*/ 2147483647 h 1200"/>
                <a:gd name="T112" fmla="*/ 2147483647 w 714"/>
                <a:gd name="T113" fmla="*/ 2147483647 h 1200"/>
                <a:gd name="T114" fmla="*/ 2147483647 w 714"/>
                <a:gd name="T115" fmla="*/ 2147483647 h 1200"/>
                <a:gd name="T116" fmla="*/ 2147483647 w 714"/>
                <a:gd name="T117" fmla="*/ 2147483647 h 12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14"/>
                <a:gd name="T178" fmla="*/ 0 h 1200"/>
                <a:gd name="T179" fmla="*/ 714 w 714"/>
                <a:gd name="T180" fmla="*/ 1200 h 12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14" h="1200">
                  <a:moveTo>
                    <a:pt x="702" y="1140"/>
                  </a:moveTo>
                  <a:lnTo>
                    <a:pt x="690" y="1170"/>
                  </a:lnTo>
                  <a:lnTo>
                    <a:pt x="696" y="1200"/>
                  </a:lnTo>
                  <a:lnTo>
                    <a:pt x="714" y="1182"/>
                  </a:lnTo>
                  <a:lnTo>
                    <a:pt x="714" y="1140"/>
                  </a:lnTo>
                  <a:lnTo>
                    <a:pt x="702" y="1140"/>
                  </a:lnTo>
                  <a:close/>
                  <a:moveTo>
                    <a:pt x="582" y="1176"/>
                  </a:moveTo>
                  <a:lnTo>
                    <a:pt x="600" y="1140"/>
                  </a:lnTo>
                  <a:lnTo>
                    <a:pt x="576" y="1134"/>
                  </a:lnTo>
                  <a:lnTo>
                    <a:pt x="582" y="1176"/>
                  </a:lnTo>
                  <a:close/>
                  <a:moveTo>
                    <a:pt x="246" y="1038"/>
                  </a:moveTo>
                  <a:lnTo>
                    <a:pt x="264" y="1050"/>
                  </a:lnTo>
                  <a:lnTo>
                    <a:pt x="282" y="1020"/>
                  </a:lnTo>
                  <a:lnTo>
                    <a:pt x="258" y="1008"/>
                  </a:lnTo>
                  <a:lnTo>
                    <a:pt x="246" y="1038"/>
                  </a:lnTo>
                  <a:close/>
                  <a:moveTo>
                    <a:pt x="504" y="558"/>
                  </a:moveTo>
                  <a:lnTo>
                    <a:pt x="540" y="576"/>
                  </a:lnTo>
                  <a:lnTo>
                    <a:pt x="540" y="582"/>
                  </a:lnTo>
                  <a:lnTo>
                    <a:pt x="534" y="588"/>
                  </a:lnTo>
                  <a:lnTo>
                    <a:pt x="504" y="588"/>
                  </a:lnTo>
                  <a:lnTo>
                    <a:pt x="570" y="642"/>
                  </a:lnTo>
                  <a:lnTo>
                    <a:pt x="570" y="618"/>
                  </a:lnTo>
                  <a:lnTo>
                    <a:pt x="600" y="624"/>
                  </a:lnTo>
                  <a:lnTo>
                    <a:pt x="576" y="588"/>
                  </a:lnTo>
                  <a:lnTo>
                    <a:pt x="576" y="582"/>
                  </a:lnTo>
                  <a:lnTo>
                    <a:pt x="570" y="576"/>
                  </a:lnTo>
                  <a:lnTo>
                    <a:pt x="570" y="558"/>
                  </a:lnTo>
                  <a:lnTo>
                    <a:pt x="564" y="546"/>
                  </a:lnTo>
                  <a:lnTo>
                    <a:pt x="534" y="516"/>
                  </a:lnTo>
                  <a:lnTo>
                    <a:pt x="522" y="510"/>
                  </a:lnTo>
                  <a:lnTo>
                    <a:pt x="504" y="504"/>
                  </a:lnTo>
                  <a:lnTo>
                    <a:pt x="492" y="498"/>
                  </a:lnTo>
                  <a:lnTo>
                    <a:pt x="474" y="498"/>
                  </a:lnTo>
                  <a:lnTo>
                    <a:pt x="468" y="504"/>
                  </a:lnTo>
                  <a:lnTo>
                    <a:pt x="468" y="528"/>
                  </a:lnTo>
                  <a:lnTo>
                    <a:pt x="492" y="552"/>
                  </a:lnTo>
                  <a:lnTo>
                    <a:pt x="504" y="558"/>
                  </a:lnTo>
                  <a:close/>
                  <a:moveTo>
                    <a:pt x="462" y="666"/>
                  </a:moveTo>
                  <a:lnTo>
                    <a:pt x="474" y="750"/>
                  </a:lnTo>
                  <a:lnTo>
                    <a:pt x="486" y="672"/>
                  </a:lnTo>
                  <a:lnTo>
                    <a:pt x="462" y="618"/>
                  </a:lnTo>
                  <a:lnTo>
                    <a:pt x="438" y="618"/>
                  </a:lnTo>
                  <a:lnTo>
                    <a:pt x="462" y="666"/>
                  </a:lnTo>
                  <a:close/>
                  <a:moveTo>
                    <a:pt x="492" y="738"/>
                  </a:moveTo>
                  <a:lnTo>
                    <a:pt x="522" y="738"/>
                  </a:lnTo>
                  <a:lnTo>
                    <a:pt x="528" y="708"/>
                  </a:lnTo>
                  <a:lnTo>
                    <a:pt x="498" y="702"/>
                  </a:lnTo>
                  <a:lnTo>
                    <a:pt x="492" y="738"/>
                  </a:lnTo>
                  <a:close/>
                  <a:moveTo>
                    <a:pt x="570" y="660"/>
                  </a:moveTo>
                  <a:lnTo>
                    <a:pt x="546" y="648"/>
                  </a:lnTo>
                  <a:lnTo>
                    <a:pt x="528" y="630"/>
                  </a:lnTo>
                  <a:lnTo>
                    <a:pt x="528" y="624"/>
                  </a:lnTo>
                  <a:lnTo>
                    <a:pt x="522" y="618"/>
                  </a:lnTo>
                  <a:lnTo>
                    <a:pt x="486" y="618"/>
                  </a:lnTo>
                  <a:lnTo>
                    <a:pt x="492" y="660"/>
                  </a:lnTo>
                  <a:lnTo>
                    <a:pt x="510" y="654"/>
                  </a:lnTo>
                  <a:lnTo>
                    <a:pt x="522" y="678"/>
                  </a:lnTo>
                  <a:lnTo>
                    <a:pt x="570" y="714"/>
                  </a:lnTo>
                  <a:lnTo>
                    <a:pt x="570" y="660"/>
                  </a:lnTo>
                  <a:close/>
                  <a:moveTo>
                    <a:pt x="162" y="600"/>
                  </a:moveTo>
                  <a:lnTo>
                    <a:pt x="144" y="582"/>
                  </a:lnTo>
                  <a:lnTo>
                    <a:pt x="138" y="606"/>
                  </a:lnTo>
                  <a:lnTo>
                    <a:pt x="132" y="618"/>
                  </a:lnTo>
                  <a:lnTo>
                    <a:pt x="126" y="624"/>
                  </a:lnTo>
                  <a:lnTo>
                    <a:pt x="120" y="642"/>
                  </a:lnTo>
                  <a:lnTo>
                    <a:pt x="120" y="654"/>
                  </a:lnTo>
                  <a:lnTo>
                    <a:pt x="126" y="660"/>
                  </a:lnTo>
                  <a:lnTo>
                    <a:pt x="138" y="666"/>
                  </a:lnTo>
                  <a:lnTo>
                    <a:pt x="150" y="678"/>
                  </a:lnTo>
                  <a:lnTo>
                    <a:pt x="144" y="684"/>
                  </a:lnTo>
                  <a:lnTo>
                    <a:pt x="120" y="696"/>
                  </a:lnTo>
                  <a:lnTo>
                    <a:pt x="114" y="702"/>
                  </a:lnTo>
                  <a:lnTo>
                    <a:pt x="102" y="708"/>
                  </a:lnTo>
                  <a:lnTo>
                    <a:pt x="96" y="732"/>
                  </a:lnTo>
                  <a:lnTo>
                    <a:pt x="72" y="750"/>
                  </a:lnTo>
                  <a:lnTo>
                    <a:pt x="72" y="762"/>
                  </a:lnTo>
                  <a:lnTo>
                    <a:pt x="60" y="774"/>
                  </a:lnTo>
                  <a:lnTo>
                    <a:pt x="48" y="780"/>
                  </a:lnTo>
                  <a:lnTo>
                    <a:pt x="42" y="786"/>
                  </a:lnTo>
                  <a:lnTo>
                    <a:pt x="30" y="792"/>
                  </a:lnTo>
                  <a:lnTo>
                    <a:pt x="24" y="798"/>
                  </a:lnTo>
                  <a:lnTo>
                    <a:pt x="18" y="798"/>
                  </a:lnTo>
                  <a:lnTo>
                    <a:pt x="18" y="804"/>
                  </a:lnTo>
                  <a:lnTo>
                    <a:pt x="12" y="810"/>
                  </a:lnTo>
                  <a:lnTo>
                    <a:pt x="0" y="834"/>
                  </a:lnTo>
                  <a:lnTo>
                    <a:pt x="0" y="864"/>
                  </a:lnTo>
                  <a:lnTo>
                    <a:pt x="30" y="834"/>
                  </a:lnTo>
                  <a:lnTo>
                    <a:pt x="30" y="816"/>
                  </a:lnTo>
                  <a:lnTo>
                    <a:pt x="36" y="810"/>
                  </a:lnTo>
                  <a:lnTo>
                    <a:pt x="42" y="810"/>
                  </a:lnTo>
                  <a:lnTo>
                    <a:pt x="78" y="798"/>
                  </a:lnTo>
                  <a:lnTo>
                    <a:pt x="84" y="792"/>
                  </a:lnTo>
                  <a:lnTo>
                    <a:pt x="84" y="762"/>
                  </a:lnTo>
                  <a:lnTo>
                    <a:pt x="90" y="750"/>
                  </a:lnTo>
                  <a:lnTo>
                    <a:pt x="96" y="744"/>
                  </a:lnTo>
                  <a:lnTo>
                    <a:pt x="114" y="738"/>
                  </a:lnTo>
                  <a:lnTo>
                    <a:pt x="126" y="732"/>
                  </a:lnTo>
                  <a:lnTo>
                    <a:pt x="144" y="720"/>
                  </a:lnTo>
                  <a:lnTo>
                    <a:pt x="162" y="714"/>
                  </a:lnTo>
                  <a:lnTo>
                    <a:pt x="168" y="702"/>
                  </a:lnTo>
                  <a:lnTo>
                    <a:pt x="174" y="696"/>
                  </a:lnTo>
                  <a:lnTo>
                    <a:pt x="174" y="684"/>
                  </a:lnTo>
                  <a:lnTo>
                    <a:pt x="156" y="648"/>
                  </a:lnTo>
                  <a:lnTo>
                    <a:pt x="156" y="624"/>
                  </a:lnTo>
                  <a:lnTo>
                    <a:pt x="162" y="612"/>
                  </a:lnTo>
                  <a:lnTo>
                    <a:pt x="162" y="600"/>
                  </a:lnTo>
                  <a:close/>
                  <a:moveTo>
                    <a:pt x="330" y="1026"/>
                  </a:moveTo>
                  <a:lnTo>
                    <a:pt x="372" y="1056"/>
                  </a:lnTo>
                  <a:lnTo>
                    <a:pt x="372" y="1020"/>
                  </a:lnTo>
                  <a:lnTo>
                    <a:pt x="348" y="1002"/>
                  </a:lnTo>
                  <a:lnTo>
                    <a:pt x="330" y="1026"/>
                  </a:lnTo>
                  <a:close/>
                  <a:moveTo>
                    <a:pt x="660" y="840"/>
                  </a:moveTo>
                  <a:lnTo>
                    <a:pt x="660" y="816"/>
                  </a:lnTo>
                  <a:lnTo>
                    <a:pt x="654" y="804"/>
                  </a:lnTo>
                  <a:lnTo>
                    <a:pt x="654" y="792"/>
                  </a:lnTo>
                  <a:lnTo>
                    <a:pt x="642" y="780"/>
                  </a:lnTo>
                  <a:lnTo>
                    <a:pt x="630" y="774"/>
                  </a:lnTo>
                  <a:lnTo>
                    <a:pt x="600" y="744"/>
                  </a:lnTo>
                  <a:lnTo>
                    <a:pt x="588" y="738"/>
                  </a:lnTo>
                  <a:lnTo>
                    <a:pt x="582" y="738"/>
                  </a:lnTo>
                  <a:lnTo>
                    <a:pt x="576" y="744"/>
                  </a:lnTo>
                  <a:lnTo>
                    <a:pt x="582" y="750"/>
                  </a:lnTo>
                  <a:lnTo>
                    <a:pt x="588" y="762"/>
                  </a:lnTo>
                  <a:lnTo>
                    <a:pt x="594" y="768"/>
                  </a:lnTo>
                  <a:lnTo>
                    <a:pt x="606" y="774"/>
                  </a:lnTo>
                  <a:lnTo>
                    <a:pt x="606" y="786"/>
                  </a:lnTo>
                  <a:lnTo>
                    <a:pt x="600" y="786"/>
                  </a:lnTo>
                  <a:lnTo>
                    <a:pt x="588" y="792"/>
                  </a:lnTo>
                  <a:lnTo>
                    <a:pt x="570" y="792"/>
                  </a:lnTo>
                  <a:lnTo>
                    <a:pt x="558" y="798"/>
                  </a:lnTo>
                  <a:lnTo>
                    <a:pt x="546" y="798"/>
                  </a:lnTo>
                  <a:lnTo>
                    <a:pt x="546" y="828"/>
                  </a:lnTo>
                  <a:lnTo>
                    <a:pt x="528" y="828"/>
                  </a:lnTo>
                  <a:lnTo>
                    <a:pt x="522" y="846"/>
                  </a:lnTo>
                  <a:lnTo>
                    <a:pt x="498" y="864"/>
                  </a:lnTo>
                  <a:lnTo>
                    <a:pt x="492" y="864"/>
                  </a:lnTo>
                  <a:lnTo>
                    <a:pt x="486" y="858"/>
                  </a:lnTo>
                  <a:lnTo>
                    <a:pt x="474" y="852"/>
                  </a:lnTo>
                  <a:lnTo>
                    <a:pt x="462" y="852"/>
                  </a:lnTo>
                  <a:lnTo>
                    <a:pt x="450" y="846"/>
                  </a:lnTo>
                  <a:lnTo>
                    <a:pt x="438" y="858"/>
                  </a:lnTo>
                  <a:lnTo>
                    <a:pt x="432" y="870"/>
                  </a:lnTo>
                  <a:lnTo>
                    <a:pt x="420" y="882"/>
                  </a:lnTo>
                  <a:lnTo>
                    <a:pt x="414" y="894"/>
                  </a:lnTo>
                  <a:lnTo>
                    <a:pt x="408" y="900"/>
                  </a:lnTo>
                  <a:lnTo>
                    <a:pt x="408" y="906"/>
                  </a:lnTo>
                  <a:lnTo>
                    <a:pt x="408" y="900"/>
                  </a:lnTo>
                  <a:lnTo>
                    <a:pt x="396" y="888"/>
                  </a:lnTo>
                  <a:lnTo>
                    <a:pt x="384" y="888"/>
                  </a:lnTo>
                  <a:lnTo>
                    <a:pt x="378" y="900"/>
                  </a:lnTo>
                  <a:lnTo>
                    <a:pt x="378" y="912"/>
                  </a:lnTo>
                  <a:lnTo>
                    <a:pt x="372" y="924"/>
                  </a:lnTo>
                  <a:lnTo>
                    <a:pt x="366" y="930"/>
                  </a:lnTo>
                  <a:lnTo>
                    <a:pt x="360" y="942"/>
                  </a:lnTo>
                  <a:lnTo>
                    <a:pt x="384" y="960"/>
                  </a:lnTo>
                  <a:lnTo>
                    <a:pt x="402" y="942"/>
                  </a:lnTo>
                  <a:lnTo>
                    <a:pt x="414" y="966"/>
                  </a:lnTo>
                  <a:lnTo>
                    <a:pt x="420" y="960"/>
                  </a:lnTo>
                  <a:lnTo>
                    <a:pt x="432" y="954"/>
                  </a:lnTo>
                  <a:lnTo>
                    <a:pt x="450" y="936"/>
                  </a:lnTo>
                  <a:lnTo>
                    <a:pt x="462" y="930"/>
                  </a:lnTo>
                  <a:lnTo>
                    <a:pt x="474" y="930"/>
                  </a:lnTo>
                  <a:lnTo>
                    <a:pt x="498" y="954"/>
                  </a:lnTo>
                  <a:lnTo>
                    <a:pt x="510" y="960"/>
                  </a:lnTo>
                  <a:lnTo>
                    <a:pt x="492" y="978"/>
                  </a:lnTo>
                  <a:lnTo>
                    <a:pt x="492" y="990"/>
                  </a:lnTo>
                  <a:lnTo>
                    <a:pt x="510" y="1026"/>
                  </a:lnTo>
                  <a:lnTo>
                    <a:pt x="522" y="1044"/>
                  </a:lnTo>
                  <a:lnTo>
                    <a:pt x="534" y="1056"/>
                  </a:lnTo>
                  <a:lnTo>
                    <a:pt x="546" y="1062"/>
                  </a:lnTo>
                  <a:lnTo>
                    <a:pt x="558" y="1062"/>
                  </a:lnTo>
                  <a:lnTo>
                    <a:pt x="570" y="1068"/>
                  </a:lnTo>
                  <a:lnTo>
                    <a:pt x="582" y="1068"/>
                  </a:lnTo>
                  <a:lnTo>
                    <a:pt x="606" y="1050"/>
                  </a:lnTo>
                  <a:lnTo>
                    <a:pt x="606" y="1074"/>
                  </a:lnTo>
                  <a:lnTo>
                    <a:pt x="630" y="1074"/>
                  </a:lnTo>
                  <a:lnTo>
                    <a:pt x="630" y="1038"/>
                  </a:lnTo>
                  <a:lnTo>
                    <a:pt x="624" y="1032"/>
                  </a:lnTo>
                  <a:lnTo>
                    <a:pt x="606" y="996"/>
                  </a:lnTo>
                  <a:lnTo>
                    <a:pt x="606" y="984"/>
                  </a:lnTo>
                  <a:lnTo>
                    <a:pt x="612" y="972"/>
                  </a:lnTo>
                  <a:lnTo>
                    <a:pt x="624" y="960"/>
                  </a:lnTo>
                  <a:lnTo>
                    <a:pt x="654" y="1014"/>
                  </a:lnTo>
                  <a:lnTo>
                    <a:pt x="654" y="1008"/>
                  </a:lnTo>
                  <a:lnTo>
                    <a:pt x="660" y="1002"/>
                  </a:lnTo>
                  <a:lnTo>
                    <a:pt x="672" y="978"/>
                  </a:lnTo>
                  <a:lnTo>
                    <a:pt x="678" y="960"/>
                  </a:lnTo>
                  <a:lnTo>
                    <a:pt x="678" y="936"/>
                  </a:lnTo>
                  <a:lnTo>
                    <a:pt x="672" y="918"/>
                  </a:lnTo>
                  <a:lnTo>
                    <a:pt x="666" y="912"/>
                  </a:lnTo>
                  <a:lnTo>
                    <a:pt x="660" y="900"/>
                  </a:lnTo>
                  <a:lnTo>
                    <a:pt x="660" y="840"/>
                  </a:lnTo>
                  <a:close/>
                  <a:moveTo>
                    <a:pt x="330" y="384"/>
                  </a:moveTo>
                  <a:lnTo>
                    <a:pt x="348" y="384"/>
                  </a:lnTo>
                  <a:lnTo>
                    <a:pt x="354" y="390"/>
                  </a:lnTo>
                  <a:lnTo>
                    <a:pt x="366" y="396"/>
                  </a:lnTo>
                  <a:lnTo>
                    <a:pt x="366" y="408"/>
                  </a:lnTo>
                  <a:lnTo>
                    <a:pt x="372" y="420"/>
                  </a:lnTo>
                  <a:lnTo>
                    <a:pt x="384" y="438"/>
                  </a:lnTo>
                  <a:lnTo>
                    <a:pt x="396" y="450"/>
                  </a:lnTo>
                  <a:lnTo>
                    <a:pt x="414" y="462"/>
                  </a:lnTo>
                  <a:lnTo>
                    <a:pt x="432" y="462"/>
                  </a:lnTo>
                  <a:lnTo>
                    <a:pt x="444" y="438"/>
                  </a:lnTo>
                  <a:lnTo>
                    <a:pt x="444" y="426"/>
                  </a:lnTo>
                  <a:lnTo>
                    <a:pt x="432" y="402"/>
                  </a:lnTo>
                  <a:lnTo>
                    <a:pt x="420" y="396"/>
                  </a:lnTo>
                  <a:lnTo>
                    <a:pt x="408" y="396"/>
                  </a:lnTo>
                  <a:lnTo>
                    <a:pt x="408" y="390"/>
                  </a:lnTo>
                  <a:lnTo>
                    <a:pt x="414" y="384"/>
                  </a:lnTo>
                  <a:lnTo>
                    <a:pt x="414" y="378"/>
                  </a:lnTo>
                  <a:lnTo>
                    <a:pt x="420" y="372"/>
                  </a:lnTo>
                  <a:lnTo>
                    <a:pt x="408" y="372"/>
                  </a:lnTo>
                  <a:lnTo>
                    <a:pt x="396" y="366"/>
                  </a:lnTo>
                  <a:lnTo>
                    <a:pt x="390" y="360"/>
                  </a:lnTo>
                  <a:lnTo>
                    <a:pt x="372" y="360"/>
                  </a:lnTo>
                  <a:lnTo>
                    <a:pt x="366" y="366"/>
                  </a:lnTo>
                  <a:lnTo>
                    <a:pt x="354" y="372"/>
                  </a:lnTo>
                  <a:lnTo>
                    <a:pt x="342" y="360"/>
                  </a:lnTo>
                  <a:lnTo>
                    <a:pt x="330" y="354"/>
                  </a:lnTo>
                  <a:lnTo>
                    <a:pt x="312" y="354"/>
                  </a:lnTo>
                  <a:lnTo>
                    <a:pt x="300" y="366"/>
                  </a:lnTo>
                  <a:lnTo>
                    <a:pt x="288" y="372"/>
                  </a:lnTo>
                  <a:lnTo>
                    <a:pt x="282" y="372"/>
                  </a:lnTo>
                  <a:lnTo>
                    <a:pt x="264" y="354"/>
                  </a:lnTo>
                  <a:lnTo>
                    <a:pt x="258" y="342"/>
                  </a:lnTo>
                  <a:lnTo>
                    <a:pt x="258" y="252"/>
                  </a:lnTo>
                  <a:lnTo>
                    <a:pt x="270" y="228"/>
                  </a:lnTo>
                  <a:lnTo>
                    <a:pt x="270" y="222"/>
                  </a:lnTo>
                  <a:lnTo>
                    <a:pt x="288" y="204"/>
                  </a:lnTo>
                  <a:lnTo>
                    <a:pt x="288" y="174"/>
                  </a:lnTo>
                  <a:lnTo>
                    <a:pt x="276" y="150"/>
                  </a:lnTo>
                  <a:lnTo>
                    <a:pt x="276" y="126"/>
                  </a:lnTo>
                  <a:lnTo>
                    <a:pt x="282" y="108"/>
                  </a:lnTo>
                  <a:lnTo>
                    <a:pt x="282" y="72"/>
                  </a:lnTo>
                  <a:lnTo>
                    <a:pt x="264" y="54"/>
                  </a:lnTo>
                  <a:lnTo>
                    <a:pt x="264" y="36"/>
                  </a:lnTo>
                  <a:lnTo>
                    <a:pt x="258" y="30"/>
                  </a:lnTo>
                  <a:lnTo>
                    <a:pt x="258" y="6"/>
                  </a:lnTo>
                  <a:lnTo>
                    <a:pt x="252" y="0"/>
                  </a:lnTo>
                  <a:lnTo>
                    <a:pt x="240" y="0"/>
                  </a:lnTo>
                  <a:lnTo>
                    <a:pt x="234" y="6"/>
                  </a:lnTo>
                  <a:lnTo>
                    <a:pt x="234" y="12"/>
                  </a:lnTo>
                  <a:lnTo>
                    <a:pt x="228" y="18"/>
                  </a:lnTo>
                  <a:lnTo>
                    <a:pt x="216" y="24"/>
                  </a:lnTo>
                  <a:lnTo>
                    <a:pt x="204" y="24"/>
                  </a:lnTo>
                  <a:lnTo>
                    <a:pt x="192" y="18"/>
                  </a:lnTo>
                  <a:lnTo>
                    <a:pt x="186" y="12"/>
                  </a:lnTo>
                  <a:lnTo>
                    <a:pt x="174" y="12"/>
                  </a:lnTo>
                  <a:lnTo>
                    <a:pt x="162" y="18"/>
                  </a:lnTo>
                  <a:lnTo>
                    <a:pt x="162" y="36"/>
                  </a:lnTo>
                  <a:lnTo>
                    <a:pt x="156" y="42"/>
                  </a:lnTo>
                  <a:lnTo>
                    <a:pt x="156" y="48"/>
                  </a:lnTo>
                  <a:lnTo>
                    <a:pt x="144" y="72"/>
                  </a:lnTo>
                  <a:lnTo>
                    <a:pt x="132" y="84"/>
                  </a:lnTo>
                  <a:lnTo>
                    <a:pt x="132" y="96"/>
                  </a:lnTo>
                  <a:lnTo>
                    <a:pt x="138" y="102"/>
                  </a:lnTo>
                  <a:lnTo>
                    <a:pt x="144" y="114"/>
                  </a:lnTo>
                  <a:lnTo>
                    <a:pt x="150" y="132"/>
                  </a:lnTo>
                  <a:lnTo>
                    <a:pt x="156" y="138"/>
                  </a:lnTo>
                  <a:lnTo>
                    <a:pt x="156" y="150"/>
                  </a:lnTo>
                  <a:lnTo>
                    <a:pt x="150" y="162"/>
                  </a:lnTo>
                  <a:lnTo>
                    <a:pt x="150" y="168"/>
                  </a:lnTo>
                  <a:lnTo>
                    <a:pt x="144" y="174"/>
                  </a:lnTo>
                  <a:lnTo>
                    <a:pt x="138" y="186"/>
                  </a:lnTo>
                  <a:lnTo>
                    <a:pt x="138" y="198"/>
                  </a:lnTo>
                  <a:lnTo>
                    <a:pt x="150" y="210"/>
                  </a:lnTo>
                  <a:lnTo>
                    <a:pt x="150" y="216"/>
                  </a:lnTo>
                  <a:lnTo>
                    <a:pt x="144" y="222"/>
                  </a:lnTo>
                  <a:lnTo>
                    <a:pt x="138" y="222"/>
                  </a:lnTo>
                  <a:lnTo>
                    <a:pt x="126" y="228"/>
                  </a:lnTo>
                  <a:lnTo>
                    <a:pt x="120" y="228"/>
                  </a:lnTo>
                  <a:lnTo>
                    <a:pt x="120" y="210"/>
                  </a:lnTo>
                  <a:lnTo>
                    <a:pt x="114" y="204"/>
                  </a:lnTo>
                  <a:lnTo>
                    <a:pt x="114" y="252"/>
                  </a:lnTo>
                  <a:lnTo>
                    <a:pt x="150" y="306"/>
                  </a:lnTo>
                  <a:lnTo>
                    <a:pt x="174" y="330"/>
                  </a:lnTo>
                  <a:lnTo>
                    <a:pt x="186" y="348"/>
                  </a:lnTo>
                  <a:lnTo>
                    <a:pt x="204" y="384"/>
                  </a:lnTo>
                  <a:lnTo>
                    <a:pt x="216" y="402"/>
                  </a:lnTo>
                  <a:lnTo>
                    <a:pt x="228" y="408"/>
                  </a:lnTo>
                  <a:lnTo>
                    <a:pt x="252" y="408"/>
                  </a:lnTo>
                  <a:lnTo>
                    <a:pt x="258" y="396"/>
                  </a:lnTo>
                  <a:lnTo>
                    <a:pt x="270" y="390"/>
                  </a:lnTo>
                  <a:lnTo>
                    <a:pt x="276" y="384"/>
                  </a:lnTo>
                  <a:lnTo>
                    <a:pt x="288" y="384"/>
                  </a:lnTo>
                  <a:lnTo>
                    <a:pt x="294" y="396"/>
                  </a:lnTo>
                  <a:lnTo>
                    <a:pt x="306" y="402"/>
                  </a:lnTo>
                  <a:lnTo>
                    <a:pt x="324" y="420"/>
                  </a:lnTo>
                  <a:lnTo>
                    <a:pt x="342" y="420"/>
                  </a:lnTo>
                  <a:lnTo>
                    <a:pt x="342" y="402"/>
                  </a:lnTo>
                  <a:lnTo>
                    <a:pt x="336" y="396"/>
                  </a:lnTo>
                  <a:lnTo>
                    <a:pt x="330" y="384"/>
                  </a:lnTo>
                  <a:close/>
                  <a:moveTo>
                    <a:pt x="258" y="432"/>
                  </a:moveTo>
                  <a:lnTo>
                    <a:pt x="246" y="426"/>
                  </a:lnTo>
                  <a:lnTo>
                    <a:pt x="204" y="426"/>
                  </a:lnTo>
                  <a:lnTo>
                    <a:pt x="234" y="468"/>
                  </a:lnTo>
                  <a:lnTo>
                    <a:pt x="258" y="534"/>
                  </a:lnTo>
                  <a:lnTo>
                    <a:pt x="270" y="528"/>
                  </a:lnTo>
                  <a:lnTo>
                    <a:pt x="276" y="516"/>
                  </a:lnTo>
                  <a:lnTo>
                    <a:pt x="282" y="510"/>
                  </a:lnTo>
                  <a:lnTo>
                    <a:pt x="282" y="486"/>
                  </a:lnTo>
                  <a:lnTo>
                    <a:pt x="276" y="480"/>
                  </a:lnTo>
                  <a:lnTo>
                    <a:pt x="270" y="468"/>
                  </a:lnTo>
                  <a:lnTo>
                    <a:pt x="270" y="450"/>
                  </a:lnTo>
                  <a:lnTo>
                    <a:pt x="264" y="438"/>
                  </a:lnTo>
                  <a:lnTo>
                    <a:pt x="258" y="432"/>
                  </a:lnTo>
                  <a:close/>
                  <a:moveTo>
                    <a:pt x="330" y="648"/>
                  </a:moveTo>
                  <a:lnTo>
                    <a:pt x="336" y="660"/>
                  </a:lnTo>
                  <a:lnTo>
                    <a:pt x="354" y="678"/>
                  </a:lnTo>
                  <a:lnTo>
                    <a:pt x="360" y="672"/>
                  </a:lnTo>
                  <a:lnTo>
                    <a:pt x="372" y="666"/>
                  </a:lnTo>
                  <a:lnTo>
                    <a:pt x="378" y="660"/>
                  </a:lnTo>
                  <a:lnTo>
                    <a:pt x="384" y="660"/>
                  </a:lnTo>
                  <a:lnTo>
                    <a:pt x="390" y="666"/>
                  </a:lnTo>
                  <a:lnTo>
                    <a:pt x="390" y="696"/>
                  </a:lnTo>
                  <a:lnTo>
                    <a:pt x="402" y="708"/>
                  </a:lnTo>
                  <a:lnTo>
                    <a:pt x="396" y="720"/>
                  </a:lnTo>
                  <a:lnTo>
                    <a:pt x="390" y="726"/>
                  </a:lnTo>
                  <a:lnTo>
                    <a:pt x="372" y="762"/>
                  </a:lnTo>
                  <a:lnTo>
                    <a:pt x="372" y="786"/>
                  </a:lnTo>
                  <a:lnTo>
                    <a:pt x="378" y="792"/>
                  </a:lnTo>
                  <a:lnTo>
                    <a:pt x="384" y="804"/>
                  </a:lnTo>
                  <a:lnTo>
                    <a:pt x="396" y="804"/>
                  </a:lnTo>
                  <a:lnTo>
                    <a:pt x="408" y="798"/>
                  </a:lnTo>
                  <a:lnTo>
                    <a:pt x="420" y="798"/>
                  </a:lnTo>
                  <a:lnTo>
                    <a:pt x="432" y="792"/>
                  </a:lnTo>
                  <a:lnTo>
                    <a:pt x="438" y="786"/>
                  </a:lnTo>
                  <a:lnTo>
                    <a:pt x="438" y="768"/>
                  </a:lnTo>
                  <a:lnTo>
                    <a:pt x="432" y="756"/>
                  </a:lnTo>
                  <a:lnTo>
                    <a:pt x="426" y="738"/>
                  </a:lnTo>
                  <a:lnTo>
                    <a:pt x="426" y="726"/>
                  </a:lnTo>
                  <a:lnTo>
                    <a:pt x="432" y="714"/>
                  </a:lnTo>
                  <a:lnTo>
                    <a:pt x="444" y="678"/>
                  </a:lnTo>
                  <a:lnTo>
                    <a:pt x="444" y="660"/>
                  </a:lnTo>
                  <a:lnTo>
                    <a:pt x="438" y="648"/>
                  </a:lnTo>
                  <a:lnTo>
                    <a:pt x="432" y="642"/>
                  </a:lnTo>
                  <a:lnTo>
                    <a:pt x="426" y="642"/>
                  </a:lnTo>
                  <a:lnTo>
                    <a:pt x="414" y="654"/>
                  </a:lnTo>
                  <a:lnTo>
                    <a:pt x="402" y="660"/>
                  </a:lnTo>
                  <a:lnTo>
                    <a:pt x="396" y="660"/>
                  </a:lnTo>
                  <a:lnTo>
                    <a:pt x="396" y="648"/>
                  </a:lnTo>
                  <a:lnTo>
                    <a:pt x="408" y="624"/>
                  </a:lnTo>
                  <a:lnTo>
                    <a:pt x="408" y="612"/>
                  </a:lnTo>
                  <a:lnTo>
                    <a:pt x="414" y="600"/>
                  </a:lnTo>
                  <a:lnTo>
                    <a:pt x="414" y="594"/>
                  </a:lnTo>
                  <a:lnTo>
                    <a:pt x="408" y="588"/>
                  </a:lnTo>
                  <a:lnTo>
                    <a:pt x="372" y="570"/>
                  </a:lnTo>
                  <a:lnTo>
                    <a:pt x="366" y="564"/>
                  </a:lnTo>
                  <a:lnTo>
                    <a:pt x="330" y="564"/>
                  </a:lnTo>
                  <a:lnTo>
                    <a:pt x="324" y="570"/>
                  </a:lnTo>
                  <a:lnTo>
                    <a:pt x="324" y="576"/>
                  </a:lnTo>
                  <a:lnTo>
                    <a:pt x="330" y="582"/>
                  </a:lnTo>
                  <a:lnTo>
                    <a:pt x="336" y="582"/>
                  </a:lnTo>
                  <a:lnTo>
                    <a:pt x="342" y="594"/>
                  </a:lnTo>
                  <a:lnTo>
                    <a:pt x="342" y="600"/>
                  </a:lnTo>
                  <a:lnTo>
                    <a:pt x="336" y="606"/>
                  </a:lnTo>
                  <a:lnTo>
                    <a:pt x="336" y="618"/>
                  </a:lnTo>
                  <a:lnTo>
                    <a:pt x="330" y="630"/>
                  </a:lnTo>
                  <a:lnTo>
                    <a:pt x="330" y="648"/>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81" name="Peru" descr="© INSCALE GmbH, 05.05.2010&#10;http://www.presentationload.com/">
              <a:extLst>
                <a:ext uri="{FF2B5EF4-FFF2-40B4-BE49-F238E27FC236}">
                  <a16:creationId xmlns:a16="http://schemas.microsoft.com/office/drawing/2014/main" id="{CC77B11F-9637-4403-B6C9-A8A9CDDC169C}"/>
                </a:ext>
              </a:extLst>
            </p:cNvPr>
            <p:cNvSpPr>
              <a:spLocks/>
            </p:cNvSpPr>
            <p:nvPr/>
          </p:nvSpPr>
          <p:spPr bwMode="gray">
            <a:xfrm>
              <a:off x="1829069" y="4251062"/>
              <a:ext cx="373189" cy="592713"/>
            </a:xfrm>
            <a:custGeom>
              <a:avLst/>
              <a:gdLst>
                <a:gd name="T0" fmla="*/ 2147483647 w 942"/>
                <a:gd name="T1" fmla="*/ 2147483647 h 1488"/>
                <a:gd name="T2" fmla="*/ 2147483647 w 942"/>
                <a:gd name="T3" fmla="*/ 2147483647 h 1488"/>
                <a:gd name="T4" fmla="*/ 2147483647 w 942"/>
                <a:gd name="T5" fmla="*/ 2147483647 h 1488"/>
                <a:gd name="T6" fmla="*/ 2147483647 w 942"/>
                <a:gd name="T7" fmla="*/ 2147483647 h 1488"/>
                <a:gd name="T8" fmla="*/ 2147483647 w 942"/>
                <a:gd name="T9" fmla="*/ 2147483647 h 1488"/>
                <a:gd name="T10" fmla="*/ 2147483647 w 942"/>
                <a:gd name="T11" fmla="*/ 2147483647 h 1488"/>
                <a:gd name="T12" fmla="*/ 2147483647 w 942"/>
                <a:gd name="T13" fmla="*/ 2147483647 h 1488"/>
                <a:gd name="T14" fmla="*/ 2147483647 w 942"/>
                <a:gd name="T15" fmla="*/ 2147483647 h 1488"/>
                <a:gd name="T16" fmla="*/ 2147483647 w 942"/>
                <a:gd name="T17" fmla="*/ 2147483647 h 1488"/>
                <a:gd name="T18" fmla="*/ 2147483647 w 942"/>
                <a:gd name="T19" fmla="*/ 2147483647 h 1488"/>
                <a:gd name="T20" fmla="*/ 2147483647 w 942"/>
                <a:gd name="T21" fmla="*/ 2147483647 h 1488"/>
                <a:gd name="T22" fmla="*/ 2147483647 w 942"/>
                <a:gd name="T23" fmla="*/ 2147483647 h 1488"/>
                <a:gd name="T24" fmla="*/ 2147483647 w 942"/>
                <a:gd name="T25" fmla="*/ 2147483647 h 1488"/>
                <a:gd name="T26" fmla="*/ 2147483647 w 942"/>
                <a:gd name="T27" fmla="*/ 2147483647 h 1488"/>
                <a:gd name="T28" fmla="*/ 2147483647 w 942"/>
                <a:gd name="T29" fmla="*/ 2147483647 h 1488"/>
                <a:gd name="T30" fmla="*/ 2147483647 w 942"/>
                <a:gd name="T31" fmla="*/ 2147483647 h 1488"/>
                <a:gd name="T32" fmla="*/ 2147483647 w 942"/>
                <a:gd name="T33" fmla="*/ 2147483647 h 1488"/>
                <a:gd name="T34" fmla="*/ 2147483647 w 942"/>
                <a:gd name="T35" fmla="*/ 2147483647 h 1488"/>
                <a:gd name="T36" fmla="*/ 2147483647 w 942"/>
                <a:gd name="T37" fmla="*/ 2147483647 h 1488"/>
                <a:gd name="T38" fmla="*/ 2147483647 w 942"/>
                <a:gd name="T39" fmla="*/ 2147483647 h 1488"/>
                <a:gd name="T40" fmla="*/ 2147483647 w 942"/>
                <a:gd name="T41" fmla="*/ 2147483647 h 1488"/>
                <a:gd name="T42" fmla="*/ 2147483647 w 942"/>
                <a:gd name="T43" fmla="*/ 2147483647 h 1488"/>
                <a:gd name="T44" fmla="*/ 2147483647 w 942"/>
                <a:gd name="T45" fmla="*/ 2147483647 h 1488"/>
                <a:gd name="T46" fmla="*/ 2147483647 w 942"/>
                <a:gd name="T47" fmla="*/ 2147483647 h 1488"/>
                <a:gd name="T48" fmla="*/ 2147483647 w 942"/>
                <a:gd name="T49" fmla="*/ 2147483647 h 1488"/>
                <a:gd name="T50" fmla="*/ 2147483647 w 942"/>
                <a:gd name="T51" fmla="*/ 2147483647 h 1488"/>
                <a:gd name="T52" fmla="*/ 2147483647 w 942"/>
                <a:gd name="T53" fmla="*/ 2147483647 h 1488"/>
                <a:gd name="T54" fmla="*/ 2147483647 w 942"/>
                <a:gd name="T55" fmla="*/ 2147483647 h 1488"/>
                <a:gd name="T56" fmla="*/ 2147483647 w 942"/>
                <a:gd name="T57" fmla="*/ 2147483647 h 1488"/>
                <a:gd name="T58" fmla="*/ 2147483647 w 942"/>
                <a:gd name="T59" fmla="*/ 2147483647 h 1488"/>
                <a:gd name="T60" fmla="*/ 2147483647 w 942"/>
                <a:gd name="T61" fmla="*/ 2147483647 h 1488"/>
                <a:gd name="T62" fmla="*/ 2147483647 w 942"/>
                <a:gd name="T63" fmla="*/ 0 h 1488"/>
                <a:gd name="T64" fmla="*/ 2147483647 w 942"/>
                <a:gd name="T65" fmla="*/ 2147483647 h 1488"/>
                <a:gd name="T66" fmla="*/ 2147483647 w 942"/>
                <a:gd name="T67" fmla="*/ 2147483647 h 1488"/>
                <a:gd name="T68" fmla="*/ 2147483647 w 942"/>
                <a:gd name="T69" fmla="*/ 2147483647 h 1488"/>
                <a:gd name="T70" fmla="*/ 2147483647 w 942"/>
                <a:gd name="T71" fmla="*/ 2147483647 h 1488"/>
                <a:gd name="T72" fmla="*/ 2147483647 w 942"/>
                <a:gd name="T73" fmla="*/ 2147483647 h 1488"/>
                <a:gd name="T74" fmla="*/ 2147483647 w 942"/>
                <a:gd name="T75" fmla="*/ 2147483647 h 1488"/>
                <a:gd name="T76" fmla="*/ 2147483647 w 942"/>
                <a:gd name="T77" fmla="*/ 2147483647 h 1488"/>
                <a:gd name="T78" fmla="*/ 2147483647 w 942"/>
                <a:gd name="T79" fmla="*/ 2147483647 h 1488"/>
                <a:gd name="T80" fmla="*/ 2147483647 w 942"/>
                <a:gd name="T81" fmla="*/ 2147483647 h 1488"/>
                <a:gd name="T82" fmla="*/ 2147483647 w 942"/>
                <a:gd name="T83" fmla="*/ 2147483647 h 1488"/>
                <a:gd name="T84" fmla="*/ 0 w 942"/>
                <a:gd name="T85" fmla="*/ 2147483647 h 1488"/>
                <a:gd name="T86" fmla="*/ 2147483647 w 942"/>
                <a:gd name="T87" fmla="*/ 2147483647 h 1488"/>
                <a:gd name="T88" fmla="*/ 2147483647 w 942"/>
                <a:gd name="T89" fmla="*/ 2147483647 h 1488"/>
                <a:gd name="T90" fmla="*/ 2147483647 w 942"/>
                <a:gd name="T91" fmla="*/ 2147483647 h 1488"/>
                <a:gd name="T92" fmla="*/ 2147483647 w 942"/>
                <a:gd name="T93" fmla="*/ 2147483647 h 1488"/>
                <a:gd name="T94" fmla="*/ 2147483647 w 942"/>
                <a:gd name="T95" fmla="*/ 2147483647 h 1488"/>
                <a:gd name="T96" fmla="*/ 2147483647 w 942"/>
                <a:gd name="T97" fmla="*/ 2147483647 h 1488"/>
                <a:gd name="T98" fmla="*/ 2147483647 w 942"/>
                <a:gd name="T99" fmla="*/ 2147483647 h 1488"/>
                <a:gd name="T100" fmla="*/ 2147483647 w 942"/>
                <a:gd name="T101" fmla="*/ 2147483647 h 1488"/>
                <a:gd name="T102" fmla="*/ 2147483647 w 942"/>
                <a:gd name="T103" fmla="*/ 2147483647 h 1488"/>
                <a:gd name="T104" fmla="*/ 2147483647 w 942"/>
                <a:gd name="T105" fmla="*/ 2147483647 h 1488"/>
                <a:gd name="T106" fmla="*/ 2147483647 w 942"/>
                <a:gd name="T107" fmla="*/ 2147483647 h 1488"/>
                <a:gd name="T108" fmla="*/ 2147483647 w 942"/>
                <a:gd name="T109" fmla="*/ 2147483647 h 1488"/>
                <a:gd name="T110" fmla="*/ 2147483647 w 942"/>
                <a:gd name="T111" fmla="*/ 2147483647 h 1488"/>
                <a:gd name="T112" fmla="*/ 2147483647 w 942"/>
                <a:gd name="T113" fmla="*/ 2147483647 h 1488"/>
                <a:gd name="T114" fmla="*/ 2147483647 w 942"/>
                <a:gd name="T115" fmla="*/ 2147483647 h 1488"/>
                <a:gd name="T116" fmla="*/ 2147483647 w 942"/>
                <a:gd name="T117" fmla="*/ 2147483647 h 1488"/>
                <a:gd name="T118" fmla="*/ 2147483647 w 942"/>
                <a:gd name="T119" fmla="*/ 2147483647 h 1488"/>
                <a:gd name="T120" fmla="*/ 2147483647 w 942"/>
                <a:gd name="T121" fmla="*/ 2147483647 h 14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42"/>
                <a:gd name="T184" fmla="*/ 0 h 1488"/>
                <a:gd name="T185" fmla="*/ 942 w 942"/>
                <a:gd name="T186" fmla="*/ 1488 h 14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42" h="1488">
                  <a:moveTo>
                    <a:pt x="930" y="1320"/>
                  </a:moveTo>
                  <a:lnTo>
                    <a:pt x="924" y="1314"/>
                  </a:lnTo>
                  <a:lnTo>
                    <a:pt x="912" y="1308"/>
                  </a:lnTo>
                  <a:lnTo>
                    <a:pt x="888" y="1284"/>
                  </a:lnTo>
                  <a:lnTo>
                    <a:pt x="864" y="1284"/>
                  </a:lnTo>
                  <a:lnTo>
                    <a:pt x="858" y="1278"/>
                  </a:lnTo>
                  <a:lnTo>
                    <a:pt x="870" y="1260"/>
                  </a:lnTo>
                  <a:lnTo>
                    <a:pt x="870" y="1230"/>
                  </a:lnTo>
                  <a:lnTo>
                    <a:pt x="882" y="1230"/>
                  </a:lnTo>
                  <a:lnTo>
                    <a:pt x="906" y="1254"/>
                  </a:lnTo>
                  <a:lnTo>
                    <a:pt x="918" y="1236"/>
                  </a:lnTo>
                  <a:lnTo>
                    <a:pt x="918" y="1230"/>
                  </a:lnTo>
                  <a:lnTo>
                    <a:pt x="912" y="1224"/>
                  </a:lnTo>
                  <a:lnTo>
                    <a:pt x="906" y="1212"/>
                  </a:lnTo>
                  <a:lnTo>
                    <a:pt x="900" y="1194"/>
                  </a:lnTo>
                  <a:lnTo>
                    <a:pt x="912" y="1170"/>
                  </a:lnTo>
                  <a:lnTo>
                    <a:pt x="924" y="1158"/>
                  </a:lnTo>
                  <a:lnTo>
                    <a:pt x="930" y="1146"/>
                  </a:lnTo>
                  <a:lnTo>
                    <a:pt x="930" y="1140"/>
                  </a:lnTo>
                  <a:lnTo>
                    <a:pt x="924" y="1128"/>
                  </a:lnTo>
                  <a:lnTo>
                    <a:pt x="912" y="1116"/>
                  </a:lnTo>
                  <a:lnTo>
                    <a:pt x="906" y="1116"/>
                  </a:lnTo>
                  <a:lnTo>
                    <a:pt x="924" y="1086"/>
                  </a:lnTo>
                  <a:lnTo>
                    <a:pt x="912" y="1038"/>
                  </a:lnTo>
                  <a:lnTo>
                    <a:pt x="918" y="1032"/>
                  </a:lnTo>
                  <a:lnTo>
                    <a:pt x="924" y="1020"/>
                  </a:lnTo>
                  <a:lnTo>
                    <a:pt x="930" y="1014"/>
                  </a:lnTo>
                  <a:lnTo>
                    <a:pt x="930" y="1002"/>
                  </a:lnTo>
                  <a:lnTo>
                    <a:pt x="918" y="978"/>
                  </a:lnTo>
                  <a:lnTo>
                    <a:pt x="906" y="960"/>
                  </a:lnTo>
                  <a:lnTo>
                    <a:pt x="894" y="948"/>
                  </a:lnTo>
                  <a:lnTo>
                    <a:pt x="882" y="930"/>
                  </a:lnTo>
                  <a:lnTo>
                    <a:pt x="870" y="918"/>
                  </a:lnTo>
                  <a:lnTo>
                    <a:pt x="864" y="900"/>
                  </a:lnTo>
                  <a:lnTo>
                    <a:pt x="864" y="882"/>
                  </a:lnTo>
                  <a:lnTo>
                    <a:pt x="828" y="882"/>
                  </a:lnTo>
                  <a:lnTo>
                    <a:pt x="822" y="888"/>
                  </a:lnTo>
                  <a:lnTo>
                    <a:pt x="816" y="888"/>
                  </a:lnTo>
                  <a:lnTo>
                    <a:pt x="816" y="894"/>
                  </a:lnTo>
                  <a:lnTo>
                    <a:pt x="804" y="894"/>
                  </a:lnTo>
                  <a:lnTo>
                    <a:pt x="798" y="888"/>
                  </a:lnTo>
                  <a:lnTo>
                    <a:pt x="798" y="882"/>
                  </a:lnTo>
                  <a:lnTo>
                    <a:pt x="786" y="888"/>
                  </a:lnTo>
                  <a:lnTo>
                    <a:pt x="786" y="858"/>
                  </a:lnTo>
                  <a:lnTo>
                    <a:pt x="780" y="840"/>
                  </a:lnTo>
                  <a:lnTo>
                    <a:pt x="780" y="828"/>
                  </a:lnTo>
                  <a:lnTo>
                    <a:pt x="786" y="816"/>
                  </a:lnTo>
                  <a:lnTo>
                    <a:pt x="786" y="804"/>
                  </a:lnTo>
                  <a:lnTo>
                    <a:pt x="792" y="798"/>
                  </a:lnTo>
                  <a:lnTo>
                    <a:pt x="792" y="780"/>
                  </a:lnTo>
                  <a:lnTo>
                    <a:pt x="786" y="768"/>
                  </a:lnTo>
                  <a:lnTo>
                    <a:pt x="786" y="756"/>
                  </a:lnTo>
                  <a:lnTo>
                    <a:pt x="732" y="804"/>
                  </a:lnTo>
                  <a:lnTo>
                    <a:pt x="672" y="810"/>
                  </a:lnTo>
                  <a:lnTo>
                    <a:pt x="672" y="804"/>
                  </a:lnTo>
                  <a:lnTo>
                    <a:pt x="666" y="798"/>
                  </a:lnTo>
                  <a:lnTo>
                    <a:pt x="660" y="786"/>
                  </a:lnTo>
                  <a:lnTo>
                    <a:pt x="660" y="774"/>
                  </a:lnTo>
                  <a:lnTo>
                    <a:pt x="654" y="768"/>
                  </a:lnTo>
                  <a:lnTo>
                    <a:pt x="648" y="768"/>
                  </a:lnTo>
                  <a:lnTo>
                    <a:pt x="636" y="762"/>
                  </a:lnTo>
                  <a:lnTo>
                    <a:pt x="594" y="762"/>
                  </a:lnTo>
                  <a:lnTo>
                    <a:pt x="600" y="756"/>
                  </a:lnTo>
                  <a:lnTo>
                    <a:pt x="612" y="750"/>
                  </a:lnTo>
                  <a:lnTo>
                    <a:pt x="618" y="738"/>
                  </a:lnTo>
                  <a:lnTo>
                    <a:pt x="624" y="732"/>
                  </a:lnTo>
                  <a:lnTo>
                    <a:pt x="600" y="708"/>
                  </a:lnTo>
                  <a:lnTo>
                    <a:pt x="588" y="702"/>
                  </a:lnTo>
                  <a:lnTo>
                    <a:pt x="576" y="690"/>
                  </a:lnTo>
                  <a:lnTo>
                    <a:pt x="564" y="666"/>
                  </a:lnTo>
                  <a:lnTo>
                    <a:pt x="558" y="660"/>
                  </a:lnTo>
                  <a:lnTo>
                    <a:pt x="558" y="654"/>
                  </a:lnTo>
                  <a:lnTo>
                    <a:pt x="552" y="630"/>
                  </a:lnTo>
                  <a:lnTo>
                    <a:pt x="540" y="624"/>
                  </a:lnTo>
                  <a:lnTo>
                    <a:pt x="534" y="618"/>
                  </a:lnTo>
                  <a:lnTo>
                    <a:pt x="534" y="606"/>
                  </a:lnTo>
                  <a:lnTo>
                    <a:pt x="540" y="600"/>
                  </a:lnTo>
                  <a:lnTo>
                    <a:pt x="552" y="594"/>
                  </a:lnTo>
                  <a:lnTo>
                    <a:pt x="546" y="588"/>
                  </a:lnTo>
                  <a:lnTo>
                    <a:pt x="546" y="564"/>
                  </a:lnTo>
                  <a:lnTo>
                    <a:pt x="552" y="552"/>
                  </a:lnTo>
                  <a:lnTo>
                    <a:pt x="582" y="522"/>
                  </a:lnTo>
                  <a:lnTo>
                    <a:pt x="588" y="528"/>
                  </a:lnTo>
                  <a:lnTo>
                    <a:pt x="594" y="528"/>
                  </a:lnTo>
                  <a:lnTo>
                    <a:pt x="588" y="522"/>
                  </a:lnTo>
                  <a:lnTo>
                    <a:pt x="588" y="504"/>
                  </a:lnTo>
                  <a:lnTo>
                    <a:pt x="582" y="498"/>
                  </a:lnTo>
                  <a:lnTo>
                    <a:pt x="582" y="486"/>
                  </a:lnTo>
                  <a:lnTo>
                    <a:pt x="600" y="468"/>
                  </a:lnTo>
                  <a:lnTo>
                    <a:pt x="600" y="414"/>
                  </a:lnTo>
                  <a:lnTo>
                    <a:pt x="624" y="414"/>
                  </a:lnTo>
                  <a:lnTo>
                    <a:pt x="624" y="408"/>
                  </a:lnTo>
                  <a:lnTo>
                    <a:pt x="630" y="402"/>
                  </a:lnTo>
                  <a:lnTo>
                    <a:pt x="630" y="396"/>
                  </a:lnTo>
                  <a:lnTo>
                    <a:pt x="642" y="384"/>
                  </a:lnTo>
                  <a:lnTo>
                    <a:pt x="654" y="378"/>
                  </a:lnTo>
                  <a:lnTo>
                    <a:pt x="660" y="372"/>
                  </a:lnTo>
                  <a:lnTo>
                    <a:pt x="672" y="366"/>
                  </a:lnTo>
                  <a:lnTo>
                    <a:pt x="702" y="366"/>
                  </a:lnTo>
                  <a:lnTo>
                    <a:pt x="708" y="354"/>
                  </a:lnTo>
                  <a:lnTo>
                    <a:pt x="738" y="360"/>
                  </a:lnTo>
                  <a:lnTo>
                    <a:pt x="744" y="354"/>
                  </a:lnTo>
                  <a:lnTo>
                    <a:pt x="750" y="342"/>
                  </a:lnTo>
                  <a:lnTo>
                    <a:pt x="756" y="336"/>
                  </a:lnTo>
                  <a:lnTo>
                    <a:pt x="774" y="336"/>
                  </a:lnTo>
                  <a:lnTo>
                    <a:pt x="786" y="348"/>
                  </a:lnTo>
                  <a:lnTo>
                    <a:pt x="786" y="354"/>
                  </a:lnTo>
                  <a:lnTo>
                    <a:pt x="804" y="354"/>
                  </a:lnTo>
                  <a:lnTo>
                    <a:pt x="816" y="342"/>
                  </a:lnTo>
                  <a:lnTo>
                    <a:pt x="798" y="330"/>
                  </a:lnTo>
                  <a:lnTo>
                    <a:pt x="786" y="312"/>
                  </a:lnTo>
                  <a:lnTo>
                    <a:pt x="768" y="312"/>
                  </a:lnTo>
                  <a:lnTo>
                    <a:pt x="762" y="306"/>
                  </a:lnTo>
                  <a:lnTo>
                    <a:pt x="762" y="288"/>
                  </a:lnTo>
                  <a:lnTo>
                    <a:pt x="774" y="264"/>
                  </a:lnTo>
                  <a:lnTo>
                    <a:pt x="774" y="258"/>
                  </a:lnTo>
                  <a:lnTo>
                    <a:pt x="780" y="252"/>
                  </a:lnTo>
                  <a:lnTo>
                    <a:pt x="786" y="252"/>
                  </a:lnTo>
                  <a:lnTo>
                    <a:pt x="792" y="246"/>
                  </a:lnTo>
                  <a:lnTo>
                    <a:pt x="798" y="234"/>
                  </a:lnTo>
                  <a:lnTo>
                    <a:pt x="798" y="216"/>
                  </a:lnTo>
                  <a:lnTo>
                    <a:pt x="792" y="210"/>
                  </a:lnTo>
                  <a:lnTo>
                    <a:pt x="780" y="204"/>
                  </a:lnTo>
                  <a:lnTo>
                    <a:pt x="756" y="204"/>
                  </a:lnTo>
                  <a:lnTo>
                    <a:pt x="750" y="198"/>
                  </a:lnTo>
                  <a:lnTo>
                    <a:pt x="744" y="186"/>
                  </a:lnTo>
                  <a:lnTo>
                    <a:pt x="744" y="180"/>
                  </a:lnTo>
                  <a:lnTo>
                    <a:pt x="732" y="180"/>
                  </a:lnTo>
                  <a:lnTo>
                    <a:pt x="726" y="186"/>
                  </a:lnTo>
                  <a:lnTo>
                    <a:pt x="714" y="192"/>
                  </a:lnTo>
                  <a:lnTo>
                    <a:pt x="702" y="192"/>
                  </a:lnTo>
                  <a:lnTo>
                    <a:pt x="696" y="186"/>
                  </a:lnTo>
                  <a:lnTo>
                    <a:pt x="690" y="186"/>
                  </a:lnTo>
                  <a:lnTo>
                    <a:pt x="684" y="180"/>
                  </a:lnTo>
                  <a:lnTo>
                    <a:pt x="660" y="180"/>
                  </a:lnTo>
                  <a:lnTo>
                    <a:pt x="648" y="192"/>
                  </a:lnTo>
                  <a:lnTo>
                    <a:pt x="648" y="204"/>
                  </a:lnTo>
                  <a:lnTo>
                    <a:pt x="612" y="204"/>
                  </a:lnTo>
                  <a:lnTo>
                    <a:pt x="588" y="198"/>
                  </a:lnTo>
                  <a:lnTo>
                    <a:pt x="576" y="192"/>
                  </a:lnTo>
                  <a:lnTo>
                    <a:pt x="576" y="168"/>
                  </a:lnTo>
                  <a:lnTo>
                    <a:pt x="582" y="162"/>
                  </a:lnTo>
                  <a:lnTo>
                    <a:pt x="582" y="156"/>
                  </a:lnTo>
                  <a:lnTo>
                    <a:pt x="576" y="150"/>
                  </a:lnTo>
                  <a:lnTo>
                    <a:pt x="564" y="144"/>
                  </a:lnTo>
                  <a:lnTo>
                    <a:pt x="552" y="144"/>
                  </a:lnTo>
                  <a:lnTo>
                    <a:pt x="552" y="138"/>
                  </a:lnTo>
                  <a:lnTo>
                    <a:pt x="546" y="132"/>
                  </a:lnTo>
                  <a:lnTo>
                    <a:pt x="546" y="108"/>
                  </a:lnTo>
                  <a:lnTo>
                    <a:pt x="540" y="102"/>
                  </a:lnTo>
                  <a:lnTo>
                    <a:pt x="528" y="102"/>
                  </a:lnTo>
                  <a:lnTo>
                    <a:pt x="516" y="84"/>
                  </a:lnTo>
                  <a:lnTo>
                    <a:pt x="498" y="84"/>
                  </a:lnTo>
                  <a:lnTo>
                    <a:pt x="486" y="48"/>
                  </a:lnTo>
                  <a:lnTo>
                    <a:pt x="480" y="42"/>
                  </a:lnTo>
                  <a:lnTo>
                    <a:pt x="468" y="36"/>
                  </a:lnTo>
                  <a:lnTo>
                    <a:pt x="450" y="18"/>
                  </a:lnTo>
                  <a:lnTo>
                    <a:pt x="438" y="12"/>
                  </a:lnTo>
                  <a:lnTo>
                    <a:pt x="426" y="0"/>
                  </a:lnTo>
                  <a:lnTo>
                    <a:pt x="396" y="0"/>
                  </a:lnTo>
                  <a:lnTo>
                    <a:pt x="414" y="0"/>
                  </a:lnTo>
                  <a:lnTo>
                    <a:pt x="414" y="24"/>
                  </a:lnTo>
                  <a:lnTo>
                    <a:pt x="408" y="24"/>
                  </a:lnTo>
                  <a:lnTo>
                    <a:pt x="408" y="30"/>
                  </a:lnTo>
                  <a:lnTo>
                    <a:pt x="402" y="30"/>
                  </a:lnTo>
                  <a:lnTo>
                    <a:pt x="426" y="48"/>
                  </a:lnTo>
                  <a:lnTo>
                    <a:pt x="426" y="78"/>
                  </a:lnTo>
                  <a:lnTo>
                    <a:pt x="414" y="84"/>
                  </a:lnTo>
                  <a:lnTo>
                    <a:pt x="402" y="126"/>
                  </a:lnTo>
                  <a:lnTo>
                    <a:pt x="396" y="138"/>
                  </a:lnTo>
                  <a:lnTo>
                    <a:pt x="384" y="150"/>
                  </a:lnTo>
                  <a:lnTo>
                    <a:pt x="378" y="162"/>
                  </a:lnTo>
                  <a:lnTo>
                    <a:pt x="366" y="174"/>
                  </a:lnTo>
                  <a:lnTo>
                    <a:pt x="354" y="192"/>
                  </a:lnTo>
                  <a:lnTo>
                    <a:pt x="336" y="204"/>
                  </a:lnTo>
                  <a:lnTo>
                    <a:pt x="276" y="234"/>
                  </a:lnTo>
                  <a:lnTo>
                    <a:pt x="258" y="240"/>
                  </a:lnTo>
                  <a:lnTo>
                    <a:pt x="240" y="252"/>
                  </a:lnTo>
                  <a:lnTo>
                    <a:pt x="222" y="270"/>
                  </a:lnTo>
                  <a:lnTo>
                    <a:pt x="222" y="276"/>
                  </a:lnTo>
                  <a:lnTo>
                    <a:pt x="210" y="282"/>
                  </a:lnTo>
                  <a:lnTo>
                    <a:pt x="210" y="300"/>
                  </a:lnTo>
                  <a:lnTo>
                    <a:pt x="198" y="312"/>
                  </a:lnTo>
                  <a:lnTo>
                    <a:pt x="198" y="336"/>
                  </a:lnTo>
                  <a:lnTo>
                    <a:pt x="192" y="348"/>
                  </a:lnTo>
                  <a:lnTo>
                    <a:pt x="192" y="378"/>
                  </a:lnTo>
                  <a:lnTo>
                    <a:pt x="174" y="378"/>
                  </a:lnTo>
                  <a:lnTo>
                    <a:pt x="168" y="384"/>
                  </a:lnTo>
                  <a:lnTo>
                    <a:pt x="168" y="390"/>
                  </a:lnTo>
                  <a:lnTo>
                    <a:pt x="162" y="396"/>
                  </a:lnTo>
                  <a:lnTo>
                    <a:pt x="162" y="402"/>
                  </a:lnTo>
                  <a:lnTo>
                    <a:pt x="144" y="402"/>
                  </a:lnTo>
                  <a:lnTo>
                    <a:pt x="138" y="390"/>
                  </a:lnTo>
                  <a:lnTo>
                    <a:pt x="138" y="372"/>
                  </a:lnTo>
                  <a:lnTo>
                    <a:pt x="132" y="366"/>
                  </a:lnTo>
                  <a:lnTo>
                    <a:pt x="132" y="360"/>
                  </a:lnTo>
                  <a:lnTo>
                    <a:pt x="102" y="360"/>
                  </a:lnTo>
                  <a:lnTo>
                    <a:pt x="90" y="348"/>
                  </a:lnTo>
                  <a:lnTo>
                    <a:pt x="78" y="360"/>
                  </a:lnTo>
                  <a:lnTo>
                    <a:pt x="66" y="366"/>
                  </a:lnTo>
                  <a:lnTo>
                    <a:pt x="60" y="366"/>
                  </a:lnTo>
                  <a:lnTo>
                    <a:pt x="54" y="360"/>
                  </a:lnTo>
                  <a:lnTo>
                    <a:pt x="66" y="348"/>
                  </a:lnTo>
                  <a:lnTo>
                    <a:pt x="54" y="336"/>
                  </a:lnTo>
                  <a:lnTo>
                    <a:pt x="60" y="330"/>
                  </a:lnTo>
                  <a:lnTo>
                    <a:pt x="66" y="318"/>
                  </a:lnTo>
                  <a:lnTo>
                    <a:pt x="78" y="312"/>
                  </a:lnTo>
                  <a:lnTo>
                    <a:pt x="84" y="300"/>
                  </a:lnTo>
                  <a:lnTo>
                    <a:pt x="90" y="294"/>
                  </a:lnTo>
                  <a:lnTo>
                    <a:pt x="90" y="288"/>
                  </a:lnTo>
                  <a:lnTo>
                    <a:pt x="84" y="288"/>
                  </a:lnTo>
                  <a:lnTo>
                    <a:pt x="72" y="282"/>
                  </a:lnTo>
                  <a:lnTo>
                    <a:pt x="66" y="282"/>
                  </a:lnTo>
                  <a:lnTo>
                    <a:pt x="6" y="342"/>
                  </a:lnTo>
                  <a:lnTo>
                    <a:pt x="0" y="354"/>
                  </a:lnTo>
                  <a:lnTo>
                    <a:pt x="0" y="390"/>
                  </a:lnTo>
                  <a:lnTo>
                    <a:pt x="6" y="396"/>
                  </a:lnTo>
                  <a:lnTo>
                    <a:pt x="18" y="396"/>
                  </a:lnTo>
                  <a:lnTo>
                    <a:pt x="12" y="420"/>
                  </a:lnTo>
                  <a:lnTo>
                    <a:pt x="36" y="444"/>
                  </a:lnTo>
                  <a:lnTo>
                    <a:pt x="36" y="462"/>
                  </a:lnTo>
                  <a:lnTo>
                    <a:pt x="12" y="486"/>
                  </a:lnTo>
                  <a:lnTo>
                    <a:pt x="12" y="492"/>
                  </a:lnTo>
                  <a:lnTo>
                    <a:pt x="18" y="504"/>
                  </a:lnTo>
                  <a:lnTo>
                    <a:pt x="24" y="510"/>
                  </a:lnTo>
                  <a:lnTo>
                    <a:pt x="36" y="516"/>
                  </a:lnTo>
                  <a:lnTo>
                    <a:pt x="54" y="522"/>
                  </a:lnTo>
                  <a:lnTo>
                    <a:pt x="66" y="522"/>
                  </a:lnTo>
                  <a:lnTo>
                    <a:pt x="108" y="564"/>
                  </a:lnTo>
                  <a:lnTo>
                    <a:pt x="114" y="576"/>
                  </a:lnTo>
                  <a:lnTo>
                    <a:pt x="132" y="594"/>
                  </a:lnTo>
                  <a:lnTo>
                    <a:pt x="138" y="612"/>
                  </a:lnTo>
                  <a:lnTo>
                    <a:pt x="144" y="624"/>
                  </a:lnTo>
                  <a:lnTo>
                    <a:pt x="144" y="642"/>
                  </a:lnTo>
                  <a:lnTo>
                    <a:pt x="150" y="648"/>
                  </a:lnTo>
                  <a:lnTo>
                    <a:pt x="156" y="660"/>
                  </a:lnTo>
                  <a:lnTo>
                    <a:pt x="168" y="666"/>
                  </a:lnTo>
                  <a:lnTo>
                    <a:pt x="174" y="678"/>
                  </a:lnTo>
                  <a:lnTo>
                    <a:pt x="192" y="696"/>
                  </a:lnTo>
                  <a:lnTo>
                    <a:pt x="204" y="720"/>
                  </a:lnTo>
                  <a:lnTo>
                    <a:pt x="216" y="732"/>
                  </a:lnTo>
                  <a:lnTo>
                    <a:pt x="222" y="744"/>
                  </a:lnTo>
                  <a:lnTo>
                    <a:pt x="234" y="762"/>
                  </a:lnTo>
                  <a:lnTo>
                    <a:pt x="240" y="768"/>
                  </a:lnTo>
                  <a:lnTo>
                    <a:pt x="246" y="780"/>
                  </a:lnTo>
                  <a:lnTo>
                    <a:pt x="252" y="822"/>
                  </a:lnTo>
                  <a:lnTo>
                    <a:pt x="252" y="828"/>
                  </a:lnTo>
                  <a:lnTo>
                    <a:pt x="258" y="834"/>
                  </a:lnTo>
                  <a:lnTo>
                    <a:pt x="264" y="846"/>
                  </a:lnTo>
                  <a:lnTo>
                    <a:pt x="270" y="864"/>
                  </a:lnTo>
                  <a:lnTo>
                    <a:pt x="282" y="876"/>
                  </a:lnTo>
                  <a:lnTo>
                    <a:pt x="288" y="894"/>
                  </a:lnTo>
                  <a:lnTo>
                    <a:pt x="294" y="906"/>
                  </a:lnTo>
                  <a:lnTo>
                    <a:pt x="294" y="918"/>
                  </a:lnTo>
                  <a:lnTo>
                    <a:pt x="300" y="924"/>
                  </a:lnTo>
                  <a:lnTo>
                    <a:pt x="312" y="924"/>
                  </a:lnTo>
                  <a:lnTo>
                    <a:pt x="324" y="936"/>
                  </a:lnTo>
                  <a:lnTo>
                    <a:pt x="324" y="948"/>
                  </a:lnTo>
                  <a:lnTo>
                    <a:pt x="330" y="954"/>
                  </a:lnTo>
                  <a:lnTo>
                    <a:pt x="330" y="966"/>
                  </a:lnTo>
                  <a:lnTo>
                    <a:pt x="336" y="984"/>
                  </a:lnTo>
                  <a:lnTo>
                    <a:pt x="360" y="1014"/>
                  </a:lnTo>
                  <a:lnTo>
                    <a:pt x="378" y="1050"/>
                  </a:lnTo>
                  <a:lnTo>
                    <a:pt x="396" y="1074"/>
                  </a:lnTo>
                  <a:lnTo>
                    <a:pt x="402" y="1086"/>
                  </a:lnTo>
                  <a:lnTo>
                    <a:pt x="408" y="1104"/>
                  </a:lnTo>
                  <a:lnTo>
                    <a:pt x="408" y="1116"/>
                  </a:lnTo>
                  <a:lnTo>
                    <a:pt x="402" y="1128"/>
                  </a:lnTo>
                  <a:lnTo>
                    <a:pt x="402" y="1146"/>
                  </a:lnTo>
                  <a:lnTo>
                    <a:pt x="414" y="1158"/>
                  </a:lnTo>
                  <a:lnTo>
                    <a:pt x="420" y="1170"/>
                  </a:lnTo>
                  <a:lnTo>
                    <a:pt x="444" y="1194"/>
                  </a:lnTo>
                  <a:lnTo>
                    <a:pt x="456" y="1200"/>
                  </a:lnTo>
                  <a:lnTo>
                    <a:pt x="468" y="1212"/>
                  </a:lnTo>
                  <a:lnTo>
                    <a:pt x="474" y="1224"/>
                  </a:lnTo>
                  <a:lnTo>
                    <a:pt x="498" y="1248"/>
                  </a:lnTo>
                  <a:lnTo>
                    <a:pt x="516" y="1260"/>
                  </a:lnTo>
                  <a:lnTo>
                    <a:pt x="546" y="1278"/>
                  </a:lnTo>
                  <a:lnTo>
                    <a:pt x="576" y="1290"/>
                  </a:lnTo>
                  <a:lnTo>
                    <a:pt x="600" y="1302"/>
                  </a:lnTo>
                  <a:lnTo>
                    <a:pt x="642" y="1320"/>
                  </a:lnTo>
                  <a:lnTo>
                    <a:pt x="696" y="1350"/>
                  </a:lnTo>
                  <a:lnTo>
                    <a:pt x="708" y="1362"/>
                  </a:lnTo>
                  <a:lnTo>
                    <a:pt x="726" y="1374"/>
                  </a:lnTo>
                  <a:lnTo>
                    <a:pt x="738" y="1380"/>
                  </a:lnTo>
                  <a:lnTo>
                    <a:pt x="750" y="1392"/>
                  </a:lnTo>
                  <a:lnTo>
                    <a:pt x="774" y="1404"/>
                  </a:lnTo>
                  <a:lnTo>
                    <a:pt x="780" y="1428"/>
                  </a:lnTo>
                  <a:lnTo>
                    <a:pt x="792" y="1434"/>
                  </a:lnTo>
                  <a:lnTo>
                    <a:pt x="798" y="1446"/>
                  </a:lnTo>
                  <a:lnTo>
                    <a:pt x="810" y="1452"/>
                  </a:lnTo>
                  <a:lnTo>
                    <a:pt x="816" y="1458"/>
                  </a:lnTo>
                  <a:lnTo>
                    <a:pt x="840" y="1470"/>
                  </a:lnTo>
                  <a:lnTo>
                    <a:pt x="846" y="1482"/>
                  </a:lnTo>
                  <a:lnTo>
                    <a:pt x="858" y="1488"/>
                  </a:lnTo>
                  <a:lnTo>
                    <a:pt x="894" y="1464"/>
                  </a:lnTo>
                  <a:lnTo>
                    <a:pt x="900" y="1458"/>
                  </a:lnTo>
                  <a:lnTo>
                    <a:pt x="900" y="1440"/>
                  </a:lnTo>
                  <a:lnTo>
                    <a:pt x="894" y="1428"/>
                  </a:lnTo>
                  <a:lnTo>
                    <a:pt x="912" y="1416"/>
                  </a:lnTo>
                  <a:lnTo>
                    <a:pt x="900" y="1392"/>
                  </a:lnTo>
                  <a:lnTo>
                    <a:pt x="918" y="1374"/>
                  </a:lnTo>
                  <a:lnTo>
                    <a:pt x="930" y="1368"/>
                  </a:lnTo>
                  <a:lnTo>
                    <a:pt x="942" y="1344"/>
                  </a:lnTo>
                  <a:lnTo>
                    <a:pt x="942" y="1332"/>
                  </a:lnTo>
                  <a:lnTo>
                    <a:pt x="930" y="1320"/>
                  </a:lnTo>
                  <a:close/>
                </a:path>
              </a:pathLst>
            </a:custGeom>
            <a:solidFill>
              <a:schemeClr val="accent5"/>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82" name="Paraguay" descr="© INSCALE GmbH, 05.05.2010&#10;http://www.presentationload.com/">
              <a:extLst>
                <a:ext uri="{FF2B5EF4-FFF2-40B4-BE49-F238E27FC236}">
                  <a16:creationId xmlns:a16="http://schemas.microsoft.com/office/drawing/2014/main" id="{FAD58958-8A95-4BFC-8A90-413C15182C18}"/>
                </a:ext>
              </a:extLst>
            </p:cNvPr>
            <p:cNvSpPr>
              <a:spLocks/>
            </p:cNvSpPr>
            <p:nvPr/>
          </p:nvSpPr>
          <p:spPr bwMode="gray">
            <a:xfrm>
              <a:off x="2399829" y="4868863"/>
              <a:ext cx="238339" cy="269700"/>
            </a:xfrm>
            <a:custGeom>
              <a:avLst/>
              <a:gdLst>
                <a:gd name="T0" fmla="*/ 2147483647 w 600"/>
                <a:gd name="T1" fmla="*/ 2147483647 h 678"/>
                <a:gd name="T2" fmla="*/ 2147483647 w 600"/>
                <a:gd name="T3" fmla="*/ 2147483647 h 678"/>
                <a:gd name="T4" fmla="*/ 2147483647 w 600"/>
                <a:gd name="T5" fmla="*/ 2147483647 h 678"/>
                <a:gd name="T6" fmla="*/ 2147483647 w 600"/>
                <a:gd name="T7" fmla="*/ 2147483647 h 678"/>
                <a:gd name="T8" fmla="*/ 2147483647 w 600"/>
                <a:gd name="T9" fmla="*/ 2147483647 h 678"/>
                <a:gd name="T10" fmla="*/ 2147483647 w 600"/>
                <a:gd name="T11" fmla="*/ 2147483647 h 678"/>
                <a:gd name="T12" fmla="*/ 2147483647 w 600"/>
                <a:gd name="T13" fmla="*/ 2147483647 h 678"/>
                <a:gd name="T14" fmla="*/ 2147483647 w 600"/>
                <a:gd name="T15" fmla="*/ 2147483647 h 678"/>
                <a:gd name="T16" fmla="*/ 2147483647 w 600"/>
                <a:gd name="T17" fmla="*/ 2147483647 h 678"/>
                <a:gd name="T18" fmla="*/ 2147483647 w 600"/>
                <a:gd name="T19" fmla="*/ 2147483647 h 678"/>
                <a:gd name="T20" fmla="*/ 2147483647 w 600"/>
                <a:gd name="T21" fmla="*/ 2147483647 h 678"/>
                <a:gd name="T22" fmla="*/ 2147483647 w 600"/>
                <a:gd name="T23" fmla="*/ 2147483647 h 678"/>
                <a:gd name="T24" fmla="*/ 2147483647 w 600"/>
                <a:gd name="T25" fmla="*/ 2147483647 h 678"/>
                <a:gd name="T26" fmla="*/ 2147483647 w 600"/>
                <a:gd name="T27" fmla="*/ 2147483647 h 678"/>
                <a:gd name="T28" fmla="*/ 2147483647 w 600"/>
                <a:gd name="T29" fmla="*/ 2147483647 h 678"/>
                <a:gd name="T30" fmla="*/ 2147483647 w 600"/>
                <a:gd name="T31" fmla="*/ 2147483647 h 678"/>
                <a:gd name="T32" fmla="*/ 2147483647 w 600"/>
                <a:gd name="T33" fmla="*/ 2147483647 h 678"/>
                <a:gd name="T34" fmla="*/ 2147483647 w 600"/>
                <a:gd name="T35" fmla="*/ 2147483647 h 678"/>
                <a:gd name="T36" fmla="*/ 2147483647 w 600"/>
                <a:gd name="T37" fmla="*/ 2147483647 h 678"/>
                <a:gd name="T38" fmla="*/ 2147483647 w 600"/>
                <a:gd name="T39" fmla="*/ 2147483647 h 678"/>
                <a:gd name="T40" fmla="*/ 2147483647 w 600"/>
                <a:gd name="T41" fmla="*/ 2147483647 h 678"/>
                <a:gd name="T42" fmla="*/ 2147483647 w 600"/>
                <a:gd name="T43" fmla="*/ 2147483647 h 678"/>
                <a:gd name="T44" fmla="*/ 2147483647 w 600"/>
                <a:gd name="T45" fmla="*/ 2147483647 h 678"/>
                <a:gd name="T46" fmla="*/ 2147483647 w 600"/>
                <a:gd name="T47" fmla="*/ 2147483647 h 678"/>
                <a:gd name="T48" fmla="*/ 2147483647 w 600"/>
                <a:gd name="T49" fmla="*/ 2147483647 h 678"/>
                <a:gd name="T50" fmla="*/ 2147483647 w 600"/>
                <a:gd name="T51" fmla="*/ 2147483647 h 678"/>
                <a:gd name="T52" fmla="*/ 2147483647 w 600"/>
                <a:gd name="T53" fmla="*/ 0 h 678"/>
                <a:gd name="T54" fmla="*/ 2147483647 w 600"/>
                <a:gd name="T55" fmla="*/ 2147483647 h 678"/>
                <a:gd name="T56" fmla="*/ 2147483647 w 600"/>
                <a:gd name="T57" fmla="*/ 2147483647 h 678"/>
                <a:gd name="T58" fmla="*/ 0 w 600"/>
                <a:gd name="T59" fmla="*/ 2147483647 h 678"/>
                <a:gd name="T60" fmla="*/ 2147483647 w 600"/>
                <a:gd name="T61" fmla="*/ 2147483647 h 678"/>
                <a:gd name="T62" fmla="*/ 2147483647 w 600"/>
                <a:gd name="T63" fmla="*/ 2147483647 h 678"/>
                <a:gd name="T64" fmla="*/ 2147483647 w 600"/>
                <a:gd name="T65" fmla="*/ 2147483647 h 678"/>
                <a:gd name="T66" fmla="*/ 2147483647 w 600"/>
                <a:gd name="T67" fmla="*/ 2147483647 h 678"/>
                <a:gd name="T68" fmla="*/ 2147483647 w 600"/>
                <a:gd name="T69" fmla="*/ 2147483647 h 678"/>
                <a:gd name="T70" fmla="*/ 2147483647 w 600"/>
                <a:gd name="T71" fmla="*/ 2147483647 h 678"/>
                <a:gd name="T72" fmla="*/ 2147483647 w 600"/>
                <a:gd name="T73" fmla="*/ 2147483647 h 678"/>
                <a:gd name="T74" fmla="*/ 2147483647 w 600"/>
                <a:gd name="T75" fmla="*/ 2147483647 h 678"/>
                <a:gd name="T76" fmla="*/ 2147483647 w 600"/>
                <a:gd name="T77" fmla="*/ 2147483647 h 678"/>
                <a:gd name="T78" fmla="*/ 2147483647 w 600"/>
                <a:gd name="T79" fmla="*/ 2147483647 h 678"/>
                <a:gd name="T80" fmla="*/ 2147483647 w 600"/>
                <a:gd name="T81" fmla="*/ 2147483647 h 678"/>
                <a:gd name="T82" fmla="*/ 2147483647 w 600"/>
                <a:gd name="T83" fmla="*/ 2147483647 h 678"/>
                <a:gd name="T84" fmla="*/ 2147483647 w 600"/>
                <a:gd name="T85" fmla="*/ 2147483647 h 678"/>
                <a:gd name="T86" fmla="*/ 2147483647 w 600"/>
                <a:gd name="T87" fmla="*/ 2147483647 h 678"/>
                <a:gd name="T88" fmla="*/ 2147483647 w 600"/>
                <a:gd name="T89" fmla="*/ 2147483647 h 678"/>
                <a:gd name="T90" fmla="*/ 2147483647 w 600"/>
                <a:gd name="T91" fmla="*/ 2147483647 h 678"/>
                <a:gd name="T92" fmla="*/ 2147483647 w 600"/>
                <a:gd name="T93" fmla="*/ 2147483647 h 678"/>
                <a:gd name="T94" fmla="*/ 2147483647 w 600"/>
                <a:gd name="T95" fmla="*/ 2147483647 h 678"/>
                <a:gd name="T96" fmla="*/ 2147483647 w 600"/>
                <a:gd name="T97" fmla="*/ 2147483647 h 678"/>
                <a:gd name="T98" fmla="*/ 2147483647 w 600"/>
                <a:gd name="T99" fmla="*/ 2147483647 h 678"/>
                <a:gd name="T100" fmla="*/ 2147483647 w 600"/>
                <a:gd name="T101" fmla="*/ 2147483647 h 678"/>
                <a:gd name="T102" fmla="*/ 2147483647 w 600"/>
                <a:gd name="T103" fmla="*/ 2147483647 h 678"/>
                <a:gd name="T104" fmla="*/ 2147483647 w 600"/>
                <a:gd name="T105" fmla="*/ 2147483647 h 678"/>
                <a:gd name="T106" fmla="*/ 2147483647 w 600"/>
                <a:gd name="T107" fmla="*/ 2147483647 h 678"/>
                <a:gd name="T108" fmla="*/ 2147483647 w 600"/>
                <a:gd name="T109" fmla="*/ 2147483647 h 678"/>
                <a:gd name="T110" fmla="*/ 2147483647 w 600"/>
                <a:gd name="T111" fmla="*/ 2147483647 h 678"/>
                <a:gd name="T112" fmla="*/ 2147483647 w 600"/>
                <a:gd name="T113" fmla="*/ 2147483647 h 678"/>
                <a:gd name="T114" fmla="*/ 2147483647 w 600"/>
                <a:gd name="T115" fmla="*/ 2147483647 h 678"/>
                <a:gd name="T116" fmla="*/ 2147483647 w 600"/>
                <a:gd name="T117" fmla="*/ 2147483647 h 678"/>
                <a:gd name="T118" fmla="*/ 2147483647 w 600"/>
                <a:gd name="T119" fmla="*/ 2147483647 h 6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0"/>
                <a:gd name="T181" fmla="*/ 0 h 678"/>
                <a:gd name="T182" fmla="*/ 600 w 600"/>
                <a:gd name="T183" fmla="*/ 678 h 67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0" h="678">
                  <a:moveTo>
                    <a:pt x="480" y="660"/>
                  </a:moveTo>
                  <a:lnTo>
                    <a:pt x="492" y="678"/>
                  </a:lnTo>
                  <a:lnTo>
                    <a:pt x="492" y="660"/>
                  </a:lnTo>
                  <a:lnTo>
                    <a:pt x="498" y="654"/>
                  </a:lnTo>
                  <a:lnTo>
                    <a:pt x="510" y="654"/>
                  </a:lnTo>
                  <a:lnTo>
                    <a:pt x="516" y="660"/>
                  </a:lnTo>
                  <a:lnTo>
                    <a:pt x="516" y="666"/>
                  </a:lnTo>
                  <a:lnTo>
                    <a:pt x="522" y="660"/>
                  </a:lnTo>
                  <a:lnTo>
                    <a:pt x="534" y="636"/>
                  </a:lnTo>
                  <a:lnTo>
                    <a:pt x="546" y="624"/>
                  </a:lnTo>
                  <a:lnTo>
                    <a:pt x="552" y="624"/>
                  </a:lnTo>
                  <a:lnTo>
                    <a:pt x="558" y="618"/>
                  </a:lnTo>
                  <a:lnTo>
                    <a:pt x="570" y="612"/>
                  </a:lnTo>
                  <a:lnTo>
                    <a:pt x="576" y="600"/>
                  </a:lnTo>
                  <a:lnTo>
                    <a:pt x="588" y="594"/>
                  </a:lnTo>
                  <a:lnTo>
                    <a:pt x="588" y="516"/>
                  </a:lnTo>
                  <a:lnTo>
                    <a:pt x="582" y="498"/>
                  </a:lnTo>
                  <a:lnTo>
                    <a:pt x="582" y="486"/>
                  </a:lnTo>
                  <a:lnTo>
                    <a:pt x="588" y="474"/>
                  </a:lnTo>
                  <a:lnTo>
                    <a:pt x="588" y="468"/>
                  </a:lnTo>
                  <a:lnTo>
                    <a:pt x="594" y="462"/>
                  </a:lnTo>
                  <a:lnTo>
                    <a:pt x="594" y="432"/>
                  </a:lnTo>
                  <a:lnTo>
                    <a:pt x="600" y="414"/>
                  </a:lnTo>
                  <a:lnTo>
                    <a:pt x="600" y="396"/>
                  </a:lnTo>
                  <a:lnTo>
                    <a:pt x="594" y="384"/>
                  </a:lnTo>
                  <a:lnTo>
                    <a:pt x="582" y="372"/>
                  </a:lnTo>
                  <a:lnTo>
                    <a:pt x="570" y="366"/>
                  </a:lnTo>
                  <a:lnTo>
                    <a:pt x="558" y="366"/>
                  </a:lnTo>
                  <a:lnTo>
                    <a:pt x="540" y="384"/>
                  </a:lnTo>
                  <a:lnTo>
                    <a:pt x="528" y="384"/>
                  </a:lnTo>
                  <a:lnTo>
                    <a:pt x="516" y="378"/>
                  </a:lnTo>
                  <a:lnTo>
                    <a:pt x="504" y="354"/>
                  </a:lnTo>
                  <a:lnTo>
                    <a:pt x="504" y="336"/>
                  </a:lnTo>
                  <a:lnTo>
                    <a:pt x="498" y="318"/>
                  </a:lnTo>
                  <a:lnTo>
                    <a:pt x="498" y="294"/>
                  </a:lnTo>
                  <a:lnTo>
                    <a:pt x="492" y="276"/>
                  </a:lnTo>
                  <a:lnTo>
                    <a:pt x="492" y="252"/>
                  </a:lnTo>
                  <a:lnTo>
                    <a:pt x="486" y="246"/>
                  </a:lnTo>
                  <a:lnTo>
                    <a:pt x="474" y="240"/>
                  </a:lnTo>
                  <a:lnTo>
                    <a:pt x="402" y="240"/>
                  </a:lnTo>
                  <a:lnTo>
                    <a:pt x="360" y="234"/>
                  </a:lnTo>
                  <a:lnTo>
                    <a:pt x="324" y="222"/>
                  </a:lnTo>
                  <a:lnTo>
                    <a:pt x="318" y="216"/>
                  </a:lnTo>
                  <a:lnTo>
                    <a:pt x="312" y="204"/>
                  </a:lnTo>
                  <a:lnTo>
                    <a:pt x="312" y="162"/>
                  </a:lnTo>
                  <a:lnTo>
                    <a:pt x="318" y="150"/>
                  </a:lnTo>
                  <a:lnTo>
                    <a:pt x="318" y="132"/>
                  </a:lnTo>
                  <a:lnTo>
                    <a:pt x="306" y="132"/>
                  </a:lnTo>
                  <a:lnTo>
                    <a:pt x="306" y="96"/>
                  </a:lnTo>
                  <a:lnTo>
                    <a:pt x="294" y="90"/>
                  </a:lnTo>
                  <a:lnTo>
                    <a:pt x="288" y="84"/>
                  </a:lnTo>
                  <a:lnTo>
                    <a:pt x="288" y="78"/>
                  </a:lnTo>
                  <a:lnTo>
                    <a:pt x="270" y="42"/>
                  </a:lnTo>
                  <a:lnTo>
                    <a:pt x="216" y="0"/>
                  </a:lnTo>
                  <a:lnTo>
                    <a:pt x="138" y="12"/>
                  </a:lnTo>
                  <a:lnTo>
                    <a:pt x="36" y="30"/>
                  </a:lnTo>
                  <a:lnTo>
                    <a:pt x="30" y="60"/>
                  </a:lnTo>
                  <a:lnTo>
                    <a:pt x="18" y="72"/>
                  </a:lnTo>
                  <a:lnTo>
                    <a:pt x="6" y="78"/>
                  </a:lnTo>
                  <a:lnTo>
                    <a:pt x="0" y="84"/>
                  </a:lnTo>
                  <a:lnTo>
                    <a:pt x="0" y="96"/>
                  </a:lnTo>
                  <a:lnTo>
                    <a:pt x="12" y="120"/>
                  </a:lnTo>
                  <a:lnTo>
                    <a:pt x="12" y="126"/>
                  </a:lnTo>
                  <a:lnTo>
                    <a:pt x="18" y="132"/>
                  </a:lnTo>
                  <a:lnTo>
                    <a:pt x="18" y="156"/>
                  </a:lnTo>
                  <a:lnTo>
                    <a:pt x="6" y="228"/>
                  </a:lnTo>
                  <a:lnTo>
                    <a:pt x="6" y="246"/>
                  </a:lnTo>
                  <a:lnTo>
                    <a:pt x="24" y="264"/>
                  </a:lnTo>
                  <a:lnTo>
                    <a:pt x="24" y="270"/>
                  </a:lnTo>
                  <a:lnTo>
                    <a:pt x="30" y="276"/>
                  </a:lnTo>
                  <a:lnTo>
                    <a:pt x="36" y="288"/>
                  </a:lnTo>
                  <a:lnTo>
                    <a:pt x="48" y="294"/>
                  </a:lnTo>
                  <a:lnTo>
                    <a:pt x="54" y="306"/>
                  </a:lnTo>
                  <a:lnTo>
                    <a:pt x="60" y="312"/>
                  </a:lnTo>
                  <a:lnTo>
                    <a:pt x="84" y="324"/>
                  </a:lnTo>
                  <a:lnTo>
                    <a:pt x="102" y="342"/>
                  </a:lnTo>
                  <a:lnTo>
                    <a:pt x="114" y="348"/>
                  </a:lnTo>
                  <a:lnTo>
                    <a:pt x="120" y="366"/>
                  </a:lnTo>
                  <a:lnTo>
                    <a:pt x="126" y="366"/>
                  </a:lnTo>
                  <a:lnTo>
                    <a:pt x="132" y="372"/>
                  </a:lnTo>
                  <a:lnTo>
                    <a:pt x="168" y="390"/>
                  </a:lnTo>
                  <a:lnTo>
                    <a:pt x="198" y="390"/>
                  </a:lnTo>
                  <a:lnTo>
                    <a:pt x="210" y="396"/>
                  </a:lnTo>
                  <a:lnTo>
                    <a:pt x="216" y="402"/>
                  </a:lnTo>
                  <a:lnTo>
                    <a:pt x="228" y="408"/>
                  </a:lnTo>
                  <a:lnTo>
                    <a:pt x="234" y="414"/>
                  </a:lnTo>
                  <a:lnTo>
                    <a:pt x="240" y="414"/>
                  </a:lnTo>
                  <a:lnTo>
                    <a:pt x="246" y="420"/>
                  </a:lnTo>
                  <a:lnTo>
                    <a:pt x="258" y="426"/>
                  </a:lnTo>
                  <a:lnTo>
                    <a:pt x="276" y="438"/>
                  </a:lnTo>
                  <a:lnTo>
                    <a:pt x="312" y="456"/>
                  </a:lnTo>
                  <a:lnTo>
                    <a:pt x="318" y="462"/>
                  </a:lnTo>
                  <a:lnTo>
                    <a:pt x="330" y="462"/>
                  </a:lnTo>
                  <a:lnTo>
                    <a:pt x="342" y="468"/>
                  </a:lnTo>
                  <a:lnTo>
                    <a:pt x="360" y="474"/>
                  </a:lnTo>
                  <a:lnTo>
                    <a:pt x="372" y="480"/>
                  </a:lnTo>
                  <a:lnTo>
                    <a:pt x="378" y="486"/>
                  </a:lnTo>
                  <a:lnTo>
                    <a:pt x="372" y="492"/>
                  </a:lnTo>
                  <a:lnTo>
                    <a:pt x="372" y="504"/>
                  </a:lnTo>
                  <a:lnTo>
                    <a:pt x="366" y="510"/>
                  </a:lnTo>
                  <a:lnTo>
                    <a:pt x="360" y="522"/>
                  </a:lnTo>
                  <a:lnTo>
                    <a:pt x="366" y="528"/>
                  </a:lnTo>
                  <a:lnTo>
                    <a:pt x="372" y="540"/>
                  </a:lnTo>
                  <a:lnTo>
                    <a:pt x="372" y="546"/>
                  </a:lnTo>
                  <a:lnTo>
                    <a:pt x="366" y="552"/>
                  </a:lnTo>
                  <a:lnTo>
                    <a:pt x="348" y="552"/>
                  </a:lnTo>
                  <a:lnTo>
                    <a:pt x="348" y="588"/>
                  </a:lnTo>
                  <a:lnTo>
                    <a:pt x="342" y="594"/>
                  </a:lnTo>
                  <a:lnTo>
                    <a:pt x="336" y="606"/>
                  </a:lnTo>
                  <a:lnTo>
                    <a:pt x="330" y="612"/>
                  </a:lnTo>
                  <a:lnTo>
                    <a:pt x="324" y="624"/>
                  </a:lnTo>
                  <a:lnTo>
                    <a:pt x="324" y="636"/>
                  </a:lnTo>
                  <a:lnTo>
                    <a:pt x="330" y="642"/>
                  </a:lnTo>
                  <a:lnTo>
                    <a:pt x="354" y="642"/>
                  </a:lnTo>
                  <a:lnTo>
                    <a:pt x="366" y="636"/>
                  </a:lnTo>
                  <a:lnTo>
                    <a:pt x="372" y="636"/>
                  </a:lnTo>
                  <a:lnTo>
                    <a:pt x="384" y="642"/>
                  </a:lnTo>
                  <a:lnTo>
                    <a:pt x="390" y="648"/>
                  </a:lnTo>
                  <a:lnTo>
                    <a:pt x="402" y="654"/>
                  </a:lnTo>
                  <a:lnTo>
                    <a:pt x="420" y="660"/>
                  </a:lnTo>
                  <a:lnTo>
                    <a:pt x="480" y="66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83" name="Papua New Guinea" descr="© INSCALE GmbH, 05.05.2010&#10;http://www.presentationload.com/">
              <a:extLst>
                <a:ext uri="{FF2B5EF4-FFF2-40B4-BE49-F238E27FC236}">
                  <a16:creationId xmlns:a16="http://schemas.microsoft.com/office/drawing/2014/main" id="{3CF14C4F-30CD-460A-AACF-5CEEC8976C63}"/>
                </a:ext>
              </a:extLst>
            </p:cNvPr>
            <p:cNvSpPr>
              <a:spLocks noEditPoints="1"/>
            </p:cNvSpPr>
            <p:nvPr/>
          </p:nvSpPr>
          <p:spPr bwMode="gray">
            <a:xfrm>
              <a:off x="8101161" y="4312214"/>
              <a:ext cx="432774" cy="288516"/>
            </a:xfrm>
            <a:custGeom>
              <a:avLst/>
              <a:gdLst>
                <a:gd name="T0" fmla="*/ 2147483647 w 1086"/>
                <a:gd name="T1" fmla="*/ 2147483647 h 726"/>
                <a:gd name="T2" fmla="*/ 2147483647 w 1086"/>
                <a:gd name="T3" fmla="*/ 2147483647 h 726"/>
                <a:gd name="T4" fmla="*/ 2147483647 w 1086"/>
                <a:gd name="T5" fmla="*/ 2147483647 h 726"/>
                <a:gd name="T6" fmla="*/ 2147483647 w 1086"/>
                <a:gd name="T7" fmla="*/ 2147483647 h 726"/>
                <a:gd name="T8" fmla="*/ 2147483647 w 1086"/>
                <a:gd name="T9" fmla="*/ 2147483647 h 726"/>
                <a:gd name="T10" fmla="*/ 2147483647 w 1086"/>
                <a:gd name="T11" fmla="*/ 2147483647 h 726"/>
                <a:gd name="T12" fmla="*/ 2147483647 w 1086"/>
                <a:gd name="T13" fmla="*/ 2147483647 h 726"/>
                <a:gd name="T14" fmla="*/ 2147483647 w 1086"/>
                <a:gd name="T15" fmla="*/ 2147483647 h 726"/>
                <a:gd name="T16" fmla="*/ 2147483647 w 1086"/>
                <a:gd name="T17" fmla="*/ 2147483647 h 726"/>
                <a:gd name="T18" fmla="*/ 2147483647 w 1086"/>
                <a:gd name="T19" fmla="*/ 2147483647 h 726"/>
                <a:gd name="T20" fmla="*/ 2147483647 w 1086"/>
                <a:gd name="T21" fmla="*/ 2147483647 h 726"/>
                <a:gd name="T22" fmla="*/ 2147483647 w 1086"/>
                <a:gd name="T23" fmla="*/ 2147483647 h 726"/>
                <a:gd name="T24" fmla="*/ 2147483647 w 1086"/>
                <a:gd name="T25" fmla="*/ 2147483647 h 726"/>
                <a:gd name="T26" fmla="*/ 2147483647 w 1086"/>
                <a:gd name="T27" fmla="*/ 2147483647 h 726"/>
                <a:gd name="T28" fmla="*/ 2147483647 w 1086"/>
                <a:gd name="T29" fmla="*/ 2147483647 h 726"/>
                <a:gd name="T30" fmla="*/ 2147483647 w 1086"/>
                <a:gd name="T31" fmla="*/ 2147483647 h 726"/>
                <a:gd name="T32" fmla="*/ 2147483647 w 1086"/>
                <a:gd name="T33" fmla="*/ 2147483647 h 726"/>
                <a:gd name="T34" fmla="*/ 2147483647 w 1086"/>
                <a:gd name="T35" fmla="*/ 2147483647 h 726"/>
                <a:gd name="T36" fmla="*/ 2147483647 w 1086"/>
                <a:gd name="T37" fmla="*/ 2147483647 h 726"/>
                <a:gd name="T38" fmla="*/ 2147483647 w 1086"/>
                <a:gd name="T39" fmla="*/ 2147483647 h 726"/>
                <a:gd name="T40" fmla="*/ 2147483647 w 1086"/>
                <a:gd name="T41" fmla="*/ 2147483647 h 726"/>
                <a:gd name="T42" fmla="*/ 2147483647 w 1086"/>
                <a:gd name="T43" fmla="*/ 2147483647 h 726"/>
                <a:gd name="T44" fmla="*/ 2147483647 w 1086"/>
                <a:gd name="T45" fmla="*/ 2147483647 h 726"/>
                <a:gd name="T46" fmla="*/ 2147483647 w 1086"/>
                <a:gd name="T47" fmla="*/ 2147483647 h 726"/>
                <a:gd name="T48" fmla="*/ 2147483647 w 1086"/>
                <a:gd name="T49" fmla="*/ 2147483647 h 726"/>
                <a:gd name="T50" fmla="*/ 2147483647 w 1086"/>
                <a:gd name="T51" fmla="*/ 2147483647 h 726"/>
                <a:gd name="T52" fmla="*/ 2147483647 w 1086"/>
                <a:gd name="T53" fmla="*/ 2147483647 h 726"/>
                <a:gd name="T54" fmla="*/ 2147483647 w 1086"/>
                <a:gd name="T55" fmla="*/ 2147483647 h 726"/>
                <a:gd name="T56" fmla="*/ 2147483647 w 1086"/>
                <a:gd name="T57" fmla="*/ 2147483647 h 726"/>
                <a:gd name="T58" fmla="*/ 2147483647 w 1086"/>
                <a:gd name="T59" fmla="*/ 2147483647 h 726"/>
                <a:gd name="T60" fmla="*/ 2147483647 w 1086"/>
                <a:gd name="T61" fmla="*/ 2147483647 h 726"/>
                <a:gd name="T62" fmla="*/ 2147483647 w 1086"/>
                <a:gd name="T63" fmla="*/ 2147483647 h 726"/>
                <a:gd name="T64" fmla="*/ 2147483647 w 1086"/>
                <a:gd name="T65" fmla="*/ 2147483647 h 726"/>
                <a:gd name="T66" fmla="*/ 2147483647 w 1086"/>
                <a:gd name="T67" fmla="*/ 2147483647 h 726"/>
                <a:gd name="T68" fmla="*/ 2147483647 w 1086"/>
                <a:gd name="T69" fmla="*/ 2147483647 h 726"/>
                <a:gd name="T70" fmla="*/ 2147483647 w 1086"/>
                <a:gd name="T71" fmla="*/ 2147483647 h 726"/>
                <a:gd name="T72" fmla="*/ 2147483647 w 1086"/>
                <a:gd name="T73" fmla="*/ 2147483647 h 726"/>
                <a:gd name="T74" fmla="*/ 2147483647 w 1086"/>
                <a:gd name="T75" fmla="*/ 2147483647 h 726"/>
                <a:gd name="T76" fmla="*/ 2147483647 w 1086"/>
                <a:gd name="T77" fmla="*/ 2147483647 h 726"/>
                <a:gd name="T78" fmla="*/ 2147483647 w 1086"/>
                <a:gd name="T79" fmla="*/ 2147483647 h 726"/>
                <a:gd name="T80" fmla="*/ 2147483647 w 1086"/>
                <a:gd name="T81" fmla="*/ 2147483647 h 726"/>
                <a:gd name="T82" fmla="*/ 2147483647 w 1086"/>
                <a:gd name="T83" fmla="*/ 2147483647 h 726"/>
                <a:gd name="T84" fmla="*/ 2147483647 w 1086"/>
                <a:gd name="T85" fmla="*/ 2147483647 h 726"/>
                <a:gd name="T86" fmla="*/ 2147483647 w 1086"/>
                <a:gd name="T87" fmla="*/ 2147483647 h 726"/>
                <a:gd name="T88" fmla="*/ 2147483647 w 1086"/>
                <a:gd name="T89" fmla="*/ 2147483647 h 726"/>
                <a:gd name="T90" fmla="*/ 2147483647 w 1086"/>
                <a:gd name="T91" fmla="*/ 2147483647 h 726"/>
                <a:gd name="T92" fmla="*/ 2147483647 w 1086"/>
                <a:gd name="T93" fmla="*/ 2147483647 h 726"/>
                <a:gd name="T94" fmla="*/ 2147483647 w 1086"/>
                <a:gd name="T95" fmla="*/ 2147483647 h 726"/>
                <a:gd name="T96" fmla="*/ 2147483647 w 1086"/>
                <a:gd name="T97" fmla="*/ 2147483647 h 726"/>
                <a:gd name="T98" fmla="*/ 2147483647 w 1086"/>
                <a:gd name="T99" fmla="*/ 2147483647 h 726"/>
                <a:gd name="T100" fmla="*/ 2147483647 w 1086"/>
                <a:gd name="T101" fmla="*/ 2147483647 h 726"/>
                <a:gd name="T102" fmla="*/ 2147483647 w 1086"/>
                <a:gd name="T103" fmla="*/ 2147483647 h 726"/>
                <a:gd name="T104" fmla="*/ 2147483647 w 1086"/>
                <a:gd name="T105" fmla="*/ 2147483647 h 726"/>
                <a:gd name="T106" fmla="*/ 2147483647 w 1086"/>
                <a:gd name="T107" fmla="*/ 2147483647 h 726"/>
                <a:gd name="T108" fmla="*/ 2147483647 w 1086"/>
                <a:gd name="T109" fmla="*/ 2147483647 h 726"/>
                <a:gd name="T110" fmla="*/ 2147483647 w 1086"/>
                <a:gd name="T111" fmla="*/ 2147483647 h 726"/>
                <a:gd name="T112" fmla="*/ 2147483647 w 1086"/>
                <a:gd name="T113" fmla="*/ 2147483647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86"/>
                <a:gd name="T172" fmla="*/ 0 h 726"/>
                <a:gd name="T173" fmla="*/ 1086 w 1086"/>
                <a:gd name="T174" fmla="*/ 726 h 7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86" h="726">
                  <a:moveTo>
                    <a:pt x="486" y="0"/>
                  </a:moveTo>
                  <a:lnTo>
                    <a:pt x="462" y="0"/>
                  </a:lnTo>
                  <a:lnTo>
                    <a:pt x="450" y="6"/>
                  </a:lnTo>
                  <a:lnTo>
                    <a:pt x="444" y="12"/>
                  </a:lnTo>
                  <a:lnTo>
                    <a:pt x="432" y="18"/>
                  </a:lnTo>
                  <a:lnTo>
                    <a:pt x="462" y="36"/>
                  </a:lnTo>
                  <a:lnTo>
                    <a:pt x="474" y="36"/>
                  </a:lnTo>
                  <a:lnTo>
                    <a:pt x="486" y="30"/>
                  </a:lnTo>
                  <a:lnTo>
                    <a:pt x="498" y="18"/>
                  </a:lnTo>
                  <a:lnTo>
                    <a:pt x="492" y="6"/>
                  </a:lnTo>
                  <a:lnTo>
                    <a:pt x="486" y="0"/>
                  </a:lnTo>
                  <a:close/>
                  <a:moveTo>
                    <a:pt x="756" y="216"/>
                  </a:moveTo>
                  <a:lnTo>
                    <a:pt x="750" y="222"/>
                  </a:lnTo>
                  <a:lnTo>
                    <a:pt x="750" y="228"/>
                  </a:lnTo>
                  <a:lnTo>
                    <a:pt x="756" y="234"/>
                  </a:lnTo>
                  <a:lnTo>
                    <a:pt x="768" y="240"/>
                  </a:lnTo>
                  <a:lnTo>
                    <a:pt x="774" y="246"/>
                  </a:lnTo>
                  <a:lnTo>
                    <a:pt x="774" y="264"/>
                  </a:lnTo>
                  <a:lnTo>
                    <a:pt x="702" y="300"/>
                  </a:lnTo>
                  <a:lnTo>
                    <a:pt x="666" y="300"/>
                  </a:lnTo>
                  <a:lnTo>
                    <a:pt x="630" y="312"/>
                  </a:lnTo>
                  <a:lnTo>
                    <a:pt x="594" y="330"/>
                  </a:lnTo>
                  <a:lnTo>
                    <a:pt x="588" y="336"/>
                  </a:lnTo>
                  <a:lnTo>
                    <a:pt x="570" y="336"/>
                  </a:lnTo>
                  <a:lnTo>
                    <a:pt x="564" y="342"/>
                  </a:lnTo>
                  <a:lnTo>
                    <a:pt x="588" y="378"/>
                  </a:lnTo>
                  <a:lnTo>
                    <a:pt x="684" y="378"/>
                  </a:lnTo>
                  <a:lnTo>
                    <a:pt x="702" y="366"/>
                  </a:lnTo>
                  <a:lnTo>
                    <a:pt x="738" y="366"/>
                  </a:lnTo>
                  <a:lnTo>
                    <a:pt x="750" y="360"/>
                  </a:lnTo>
                  <a:lnTo>
                    <a:pt x="774" y="336"/>
                  </a:lnTo>
                  <a:lnTo>
                    <a:pt x="774" y="330"/>
                  </a:lnTo>
                  <a:lnTo>
                    <a:pt x="804" y="324"/>
                  </a:lnTo>
                  <a:lnTo>
                    <a:pt x="798" y="300"/>
                  </a:lnTo>
                  <a:lnTo>
                    <a:pt x="822" y="300"/>
                  </a:lnTo>
                  <a:lnTo>
                    <a:pt x="822" y="288"/>
                  </a:lnTo>
                  <a:lnTo>
                    <a:pt x="828" y="258"/>
                  </a:lnTo>
                  <a:lnTo>
                    <a:pt x="828" y="228"/>
                  </a:lnTo>
                  <a:lnTo>
                    <a:pt x="822" y="198"/>
                  </a:lnTo>
                  <a:lnTo>
                    <a:pt x="816" y="192"/>
                  </a:lnTo>
                  <a:lnTo>
                    <a:pt x="804" y="186"/>
                  </a:lnTo>
                  <a:lnTo>
                    <a:pt x="792" y="192"/>
                  </a:lnTo>
                  <a:lnTo>
                    <a:pt x="786" y="198"/>
                  </a:lnTo>
                  <a:lnTo>
                    <a:pt x="762" y="210"/>
                  </a:lnTo>
                  <a:lnTo>
                    <a:pt x="756" y="216"/>
                  </a:lnTo>
                  <a:close/>
                  <a:moveTo>
                    <a:pt x="834" y="132"/>
                  </a:moveTo>
                  <a:lnTo>
                    <a:pt x="822" y="132"/>
                  </a:lnTo>
                  <a:lnTo>
                    <a:pt x="816" y="120"/>
                  </a:lnTo>
                  <a:lnTo>
                    <a:pt x="804" y="108"/>
                  </a:lnTo>
                  <a:lnTo>
                    <a:pt x="792" y="102"/>
                  </a:lnTo>
                  <a:lnTo>
                    <a:pt x="786" y="90"/>
                  </a:lnTo>
                  <a:lnTo>
                    <a:pt x="774" y="78"/>
                  </a:lnTo>
                  <a:lnTo>
                    <a:pt x="768" y="78"/>
                  </a:lnTo>
                  <a:lnTo>
                    <a:pt x="762" y="72"/>
                  </a:lnTo>
                  <a:lnTo>
                    <a:pt x="756" y="72"/>
                  </a:lnTo>
                  <a:lnTo>
                    <a:pt x="732" y="36"/>
                  </a:lnTo>
                  <a:lnTo>
                    <a:pt x="720" y="84"/>
                  </a:lnTo>
                  <a:lnTo>
                    <a:pt x="762" y="96"/>
                  </a:lnTo>
                  <a:lnTo>
                    <a:pt x="816" y="150"/>
                  </a:lnTo>
                  <a:lnTo>
                    <a:pt x="828" y="150"/>
                  </a:lnTo>
                  <a:lnTo>
                    <a:pt x="834" y="156"/>
                  </a:lnTo>
                  <a:lnTo>
                    <a:pt x="846" y="162"/>
                  </a:lnTo>
                  <a:lnTo>
                    <a:pt x="852" y="174"/>
                  </a:lnTo>
                  <a:lnTo>
                    <a:pt x="852" y="180"/>
                  </a:lnTo>
                  <a:lnTo>
                    <a:pt x="858" y="192"/>
                  </a:lnTo>
                  <a:lnTo>
                    <a:pt x="852" y="204"/>
                  </a:lnTo>
                  <a:lnTo>
                    <a:pt x="852" y="240"/>
                  </a:lnTo>
                  <a:lnTo>
                    <a:pt x="858" y="252"/>
                  </a:lnTo>
                  <a:lnTo>
                    <a:pt x="864" y="258"/>
                  </a:lnTo>
                  <a:lnTo>
                    <a:pt x="882" y="258"/>
                  </a:lnTo>
                  <a:lnTo>
                    <a:pt x="894" y="246"/>
                  </a:lnTo>
                  <a:lnTo>
                    <a:pt x="900" y="234"/>
                  </a:lnTo>
                  <a:lnTo>
                    <a:pt x="900" y="222"/>
                  </a:lnTo>
                  <a:lnTo>
                    <a:pt x="888" y="186"/>
                  </a:lnTo>
                  <a:lnTo>
                    <a:pt x="876" y="174"/>
                  </a:lnTo>
                  <a:lnTo>
                    <a:pt x="864" y="156"/>
                  </a:lnTo>
                  <a:lnTo>
                    <a:pt x="852" y="150"/>
                  </a:lnTo>
                  <a:lnTo>
                    <a:pt x="846" y="138"/>
                  </a:lnTo>
                  <a:lnTo>
                    <a:pt x="834" y="132"/>
                  </a:lnTo>
                  <a:close/>
                  <a:moveTo>
                    <a:pt x="1086" y="360"/>
                  </a:moveTo>
                  <a:lnTo>
                    <a:pt x="1020" y="294"/>
                  </a:lnTo>
                  <a:lnTo>
                    <a:pt x="1020" y="288"/>
                  </a:lnTo>
                  <a:lnTo>
                    <a:pt x="1002" y="270"/>
                  </a:lnTo>
                  <a:lnTo>
                    <a:pt x="984" y="270"/>
                  </a:lnTo>
                  <a:lnTo>
                    <a:pt x="978" y="276"/>
                  </a:lnTo>
                  <a:lnTo>
                    <a:pt x="978" y="300"/>
                  </a:lnTo>
                  <a:lnTo>
                    <a:pt x="996" y="330"/>
                  </a:lnTo>
                  <a:lnTo>
                    <a:pt x="1020" y="378"/>
                  </a:lnTo>
                  <a:lnTo>
                    <a:pt x="1086" y="438"/>
                  </a:lnTo>
                  <a:lnTo>
                    <a:pt x="1086" y="360"/>
                  </a:lnTo>
                  <a:close/>
                  <a:moveTo>
                    <a:pt x="672" y="672"/>
                  </a:moveTo>
                  <a:lnTo>
                    <a:pt x="630" y="642"/>
                  </a:lnTo>
                  <a:lnTo>
                    <a:pt x="648" y="630"/>
                  </a:lnTo>
                  <a:lnTo>
                    <a:pt x="636" y="630"/>
                  </a:lnTo>
                  <a:lnTo>
                    <a:pt x="624" y="624"/>
                  </a:lnTo>
                  <a:lnTo>
                    <a:pt x="612" y="624"/>
                  </a:lnTo>
                  <a:lnTo>
                    <a:pt x="600" y="618"/>
                  </a:lnTo>
                  <a:lnTo>
                    <a:pt x="594" y="606"/>
                  </a:lnTo>
                  <a:lnTo>
                    <a:pt x="594" y="594"/>
                  </a:lnTo>
                  <a:lnTo>
                    <a:pt x="600" y="582"/>
                  </a:lnTo>
                  <a:lnTo>
                    <a:pt x="600" y="564"/>
                  </a:lnTo>
                  <a:lnTo>
                    <a:pt x="588" y="570"/>
                  </a:lnTo>
                  <a:lnTo>
                    <a:pt x="582" y="570"/>
                  </a:lnTo>
                  <a:lnTo>
                    <a:pt x="570" y="576"/>
                  </a:lnTo>
                  <a:lnTo>
                    <a:pt x="564" y="576"/>
                  </a:lnTo>
                  <a:lnTo>
                    <a:pt x="552" y="582"/>
                  </a:lnTo>
                  <a:lnTo>
                    <a:pt x="552" y="552"/>
                  </a:lnTo>
                  <a:lnTo>
                    <a:pt x="528" y="540"/>
                  </a:lnTo>
                  <a:lnTo>
                    <a:pt x="528" y="492"/>
                  </a:lnTo>
                  <a:lnTo>
                    <a:pt x="474" y="456"/>
                  </a:lnTo>
                  <a:lnTo>
                    <a:pt x="450" y="402"/>
                  </a:lnTo>
                  <a:lnTo>
                    <a:pt x="474" y="390"/>
                  </a:lnTo>
                  <a:lnTo>
                    <a:pt x="480" y="384"/>
                  </a:lnTo>
                  <a:lnTo>
                    <a:pt x="492" y="378"/>
                  </a:lnTo>
                  <a:lnTo>
                    <a:pt x="504" y="366"/>
                  </a:lnTo>
                  <a:lnTo>
                    <a:pt x="504" y="360"/>
                  </a:lnTo>
                  <a:lnTo>
                    <a:pt x="492" y="336"/>
                  </a:lnTo>
                  <a:lnTo>
                    <a:pt x="468" y="324"/>
                  </a:lnTo>
                  <a:lnTo>
                    <a:pt x="462" y="318"/>
                  </a:lnTo>
                  <a:lnTo>
                    <a:pt x="456" y="318"/>
                  </a:lnTo>
                  <a:lnTo>
                    <a:pt x="450" y="312"/>
                  </a:lnTo>
                  <a:lnTo>
                    <a:pt x="438" y="312"/>
                  </a:lnTo>
                  <a:lnTo>
                    <a:pt x="402" y="300"/>
                  </a:lnTo>
                  <a:lnTo>
                    <a:pt x="390" y="300"/>
                  </a:lnTo>
                  <a:lnTo>
                    <a:pt x="378" y="294"/>
                  </a:lnTo>
                  <a:lnTo>
                    <a:pt x="372" y="294"/>
                  </a:lnTo>
                  <a:lnTo>
                    <a:pt x="372" y="234"/>
                  </a:lnTo>
                  <a:lnTo>
                    <a:pt x="366" y="222"/>
                  </a:lnTo>
                  <a:lnTo>
                    <a:pt x="354" y="210"/>
                  </a:lnTo>
                  <a:lnTo>
                    <a:pt x="342" y="210"/>
                  </a:lnTo>
                  <a:lnTo>
                    <a:pt x="288" y="156"/>
                  </a:lnTo>
                  <a:lnTo>
                    <a:pt x="252" y="162"/>
                  </a:lnTo>
                  <a:lnTo>
                    <a:pt x="216" y="126"/>
                  </a:lnTo>
                  <a:lnTo>
                    <a:pt x="186" y="120"/>
                  </a:lnTo>
                  <a:lnTo>
                    <a:pt x="66" y="60"/>
                  </a:lnTo>
                  <a:lnTo>
                    <a:pt x="42" y="72"/>
                  </a:lnTo>
                  <a:lnTo>
                    <a:pt x="0" y="42"/>
                  </a:lnTo>
                  <a:lnTo>
                    <a:pt x="42" y="72"/>
                  </a:lnTo>
                  <a:lnTo>
                    <a:pt x="36" y="102"/>
                  </a:lnTo>
                  <a:lnTo>
                    <a:pt x="36" y="240"/>
                  </a:lnTo>
                  <a:lnTo>
                    <a:pt x="30" y="258"/>
                  </a:lnTo>
                  <a:lnTo>
                    <a:pt x="30" y="372"/>
                  </a:lnTo>
                  <a:lnTo>
                    <a:pt x="24" y="378"/>
                  </a:lnTo>
                  <a:lnTo>
                    <a:pt x="12" y="384"/>
                  </a:lnTo>
                  <a:lnTo>
                    <a:pt x="0" y="396"/>
                  </a:lnTo>
                  <a:lnTo>
                    <a:pt x="0" y="402"/>
                  </a:lnTo>
                  <a:lnTo>
                    <a:pt x="6" y="408"/>
                  </a:lnTo>
                  <a:lnTo>
                    <a:pt x="18" y="414"/>
                  </a:lnTo>
                  <a:lnTo>
                    <a:pt x="30" y="414"/>
                  </a:lnTo>
                  <a:lnTo>
                    <a:pt x="30" y="444"/>
                  </a:lnTo>
                  <a:lnTo>
                    <a:pt x="24" y="456"/>
                  </a:lnTo>
                  <a:lnTo>
                    <a:pt x="24" y="480"/>
                  </a:lnTo>
                  <a:lnTo>
                    <a:pt x="18" y="492"/>
                  </a:lnTo>
                  <a:lnTo>
                    <a:pt x="18" y="504"/>
                  </a:lnTo>
                  <a:lnTo>
                    <a:pt x="12" y="510"/>
                  </a:lnTo>
                  <a:lnTo>
                    <a:pt x="12" y="516"/>
                  </a:lnTo>
                  <a:lnTo>
                    <a:pt x="18" y="540"/>
                  </a:lnTo>
                  <a:lnTo>
                    <a:pt x="18" y="588"/>
                  </a:lnTo>
                  <a:lnTo>
                    <a:pt x="30" y="594"/>
                  </a:lnTo>
                  <a:lnTo>
                    <a:pt x="48" y="594"/>
                  </a:lnTo>
                  <a:lnTo>
                    <a:pt x="60" y="588"/>
                  </a:lnTo>
                  <a:lnTo>
                    <a:pt x="90" y="588"/>
                  </a:lnTo>
                  <a:lnTo>
                    <a:pt x="96" y="582"/>
                  </a:lnTo>
                  <a:lnTo>
                    <a:pt x="102" y="582"/>
                  </a:lnTo>
                  <a:lnTo>
                    <a:pt x="126" y="600"/>
                  </a:lnTo>
                  <a:lnTo>
                    <a:pt x="132" y="600"/>
                  </a:lnTo>
                  <a:lnTo>
                    <a:pt x="138" y="594"/>
                  </a:lnTo>
                  <a:lnTo>
                    <a:pt x="156" y="588"/>
                  </a:lnTo>
                  <a:lnTo>
                    <a:pt x="168" y="582"/>
                  </a:lnTo>
                  <a:lnTo>
                    <a:pt x="180" y="570"/>
                  </a:lnTo>
                  <a:lnTo>
                    <a:pt x="180" y="564"/>
                  </a:lnTo>
                  <a:lnTo>
                    <a:pt x="168" y="552"/>
                  </a:lnTo>
                  <a:lnTo>
                    <a:pt x="150" y="540"/>
                  </a:lnTo>
                  <a:lnTo>
                    <a:pt x="138" y="534"/>
                  </a:lnTo>
                  <a:lnTo>
                    <a:pt x="120" y="522"/>
                  </a:lnTo>
                  <a:lnTo>
                    <a:pt x="108" y="516"/>
                  </a:lnTo>
                  <a:lnTo>
                    <a:pt x="102" y="510"/>
                  </a:lnTo>
                  <a:lnTo>
                    <a:pt x="96" y="510"/>
                  </a:lnTo>
                  <a:lnTo>
                    <a:pt x="108" y="510"/>
                  </a:lnTo>
                  <a:lnTo>
                    <a:pt x="138" y="516"/>
                  </a:lnTo>
                  <a:lnTo>
                    <a:pt x="204" y="516"/>
                  </a:lnTo>
                  <a:lnTo>
                    <a:pt x="204" y="510"/>
                  </a:lnTo>
                  <a:lnTo>
                    <a:pt x="198" y="504"/>
                  </a:lnTo>
                  <a:lnTo>
                    <a:pt x="198" y="498"/>
                  </a:lnTo>
                  <a:lnTo>
                    <a:pt x="186" y="486"/>
                  </a:lnTo>
                  <a:lnTo>
                    <a:pt x="192" y="492"/>
                  </a:lnTo>
                  <a:lnTo>
                    <a:pt x="204" y="492"/>
                  </a:lnTo>
                  <a:lnTo>
                    <a:pt x="210" y="498"/>
                  </a:lnTo>
                  <a:lnTo>
                    <a:pt x="216" y="498"/>
                  </a:lnTo>
                  <a:lnTo>
                    <a:pt x="222" y="492"/>
                  </a:lnTo>
                  <a:lnTo>
                    <a:pt x="222" y="486"/>
                  </a:lnTo>
                  <a:lnTo>
                    <a:pt x="216" y="480"/>
                  </a:lnTo>
                  <a:lnTo>
                    <a:pt x="216" y="468"/>
                  </a:lnTo>
                  <a:lnTo>
                    <a:pt x="210" y="462"/>
                  </a:lnTo>
                  <a:lnTo>
                    <a:pt x="222" y="468"/>
                  </a:lnTo>
                  <a:lnTo>
                    <a:pt x="228" y="474"/>
                  </a:lnTo>
                  <a:lnTo>
                    <a:pt x="246" y="474"/>
                  </a:lnTo>
                  <a:lnTo>
                    <a:pt x="252" y="468"/>
                  </a:lnTo>
                  <a:lnTo>
                    <a:pt x="264" y="462"/>
                  </a:lnTo>
                  <a:lnTo>
                    <a:pt x="270" y="456"/>
                  </a:lnTo>
                  <a:lnTo>
                    <a:pt x="288" y="474"/>
                  </a:lnTo>
                  <a:lnTo>
                    <a:pt x="300" y="480"/>
                  </a:lnTo>
                  <a:lnTo>
                    <a:pt x="306" y="486"/>
                  </a:lnTo>
                  <a:lnTo>
                    <a:pt x="312" y="486"/>
                  </a:lnTo>
                  <a:lnTo>
                    <a:pt x="330" y="492"/>
                  </a:lnTo>
                  <a:lnTo>
                    <a:pt x="342" y="492"/>
                  </a:lnTo>
                  <a:lnTo>
                    <a:pt x="378" y="504"/>
                  </a:lnTo>
                  <a:lnTo>
                    <a:pt x="390" y="510"/>
                  </a:lnTo>
                  <a:lnTo>
                    <a:pt x="402" y="534"/>
                  </a:lnTo>
                  <a:lnTo>
                    <a:pt x="402" y="558"/>
                  </a:lnTo>
                  <a:lnTo>
                    <a:pt x="408" y="570"/>
                  </a:lnTo>
                  <a:lnTo>
                    <a:pt x="420" y="582"/>
                  </a:lnTo>
                  <a:lnTo>
                    <a:pt x="438" y="582"/>
                  </a:lnTo>
                  <a:lnTo>
                    <a:pt x="450" y="594"/>
                  </a:lnTo>
                  <a:lnTo>
                    <a:pt x="450" y="606"/>
                  </a:lnTo>
                  <a:lnTo>
                    <a:pt x="456" y="618"/>
                  </a:lnTo>
                  <a:lnTo>
                    <a:pt x="468" y="654"/>
                  </a:lnTo>
                  <a:lnTo>
                    <a:pt x="486" y="672"/>
                  </a:lnTo>
                  <a:lnTo>
                    <a:pt x="516" y="678"/>
                  </a:lnTo>
                  <a:lnTo>
                    <a:pt x="558" y="684"/>
                  </a:lnTo>
                  <a:lnTo>
                    <a:pt x="618" y="684"/>
                  </a:lnTo>
                  <a:lnTo>
                    <a:pt x="630" y="690"/>
                  </a:lnTo>
                  <a:lnTo>
                    <a:pt x="654" y="714"/>
                  </a:lnTo>
                  <a:lnTo>
                    <a:pt x="678" y="726"/>
                  </a:lnTo>
                  <a:lnTo>
                    <a:pt x="684" y="726"/>
                  </a:lnTo>
                  <a:lnTo>
                    <a:pt x="684" y="720"/>
                  </a:lnTo>
                  <a:lnTo>
                    <a:pt x="678" y="708"/>
                  </a:lnTo>
                  <a:lnTo>
                    <a:pt x="678" y="702"/>
                  </a:lnTo>
                  <a:lnTo>
                    <a:pt x="672" y="690"/>
                  </a:lnTo>
                  <a:lnTo>
                    <a:pt x="666" y="684"/>
                  </a:lnTo>
                  <a:lnTo>
                    <a:pt x="672" y="67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84" name="Panama" descr="© INSCALE GmbH, 05.05.2010&#10;http://www.presentationload.com/">
              <a:extLst>
                <a:ext uri="{FF2B5EF4-FFF2-40B4-BE49-F238E27FC236}">
                  <a16:creationId xmlns:a16="http://schemas.microsoft.com/office/drawing/2014/main" id="{1DD40572-901E-4039-9D80-E0C0E26381C0}"/>
                </a:ext>
              </a:extLst>
            </p:cNvPr>
            <p:cNvSpPr>
              <a:spLocks/>
            </p:cNvSpPr>
            <p:nvPr/>
          </p:nvSpPr>
          <p:spPr bwMode="gray">
            <a:xfrm>
              <a:off x="1788301" y="3945297"/>
              <a:ext cx="161506" cy="76834"/>
            </a:xfrm>
            <a:custGeom>
              <a:avLst/>
              <a:gdLst>
                <a:gd name="T0" fmla="*/ 2147483647 w 408"/>
                <a:gd name="T1" fmla="*/ 2147483647 h 198"/>
                <a:gd name="T2" fmla="*/ 2147483647 w 408"/>
                <a:gd name="T3" fmla="*/ 2147483647 h 198"/>
                <a:gd name="T4" fmla="*/ 2147483647 w 408"/>
                <a:gd name="T5" fmla="*/ 2147483647 h 198"/>
                <a:gd name="T6" fmla="*/ 2147483647 w 408"/>
                <a:gd name="T7" fmla="*/ 2147483647 h 198"/>
                <a:gd name="T8" fmla="*/ 2147483647 w 408"/>
                <a:gd name="T9" fmla="*/ 2147483647 h 198"/>
                <a:gd name="T10" fmla="*/ 2147483647 w 408"/>
                <a:gd name="T11" fmla="*/ 2147483647 h 198"/>
                <a:gd name="T12" fmla="*/ 2147483647 w 408"/>
                <a:gd name="T13" fmla="*/ 2147483647 h 198"/>
                <a:gd name="T14" fmla="*/ 2147483647 w 408"/>
                <a:gd name="T15" fmla="*/ 2147483647 h 198"/>
                <a:gd name="T16" fmla="*/ 2147483647 w 408"/>
                <a:gd name="T17" fmla="*/ 2147483647 h 198"/>
                <a:gd name="T18" fmla="*/ 2147483647 w 408"/>
                <a:gd name="T19" fmla="*/ 2147483647 h 198"/>
                <a:gd name="T20" fmla="*/ 2147483647 w 408"/>
                <a:gd name="T21" fmla="*/ 2147483647 h 198"/>
                <a:gd name="T22" fmla="*/ 2147483647 w 408"/>
                <a:gd name="T23" fmla="*/ 2147483647 h 198"/>
                <a:gd name="T24" fmla="*/ 2147483647 w 408"/>
                <a:gd name="T25" fmla="*/ 2147483647 h 198"/>
                <a:gd name="T26" fmla="*/ 2147483647 w 408"/>
                <a:gd name="T27" fmla="*/ 2147483647 h 198"/>
                <a:gd name="T28" fmla="*/ 2147483647 w 408"/>
                <a:gd name="T29" fmla="*/ 2147483647 h 198"/>
                <a:gd name="T30" fmla="*/ 2147483647 w 408"/>
                <a:gd name="T31" fmla="*/ 2147483647 h 198"/>
                <a:gd name="T32" fmla="*/ 2147483647 w 408"/>
                <a:gd name="T33" fmla="*/ 0 h 198"/>
                <a:gd name="T34" fmla="*/ 2147483647 w 408"/>
                <a:gd name="T35" fmla="*/ 2147483647 h 198"/>
                <a:gd name="T36" fmla="*/ 2147483647 w 408"/>
                <a:gd name="T37" fmla="*/ 2147483647 h 198"/>
                <a:gd name="T38" fmla="*/ 2147483647 w 408"/>
                <a:gd name="T39" fmla="*/ 2147483647 h 198"/>
                <a:gd name="T40" fmla="*/ 2147483647 w 408"/>
                <a:gd name="T41" fmla="*/ 2147483647 h 198"/>
                <a:gd name="T42" fmla="*/ 2147483647 w 408"/>
                <a:gd name="T43" fmla="*/ 2147483647 h 198"/>
                <a:gd name="T44" fmla="*/ 2147483647 w 408"/>
                <a:gd name="T45" fmla="*/ 2147483647 h 198"/>
                <a:gd name="T46" fmla="*/ 2147483647 w 408"/>
                <a:gd name="T47" fmla="*/ 2147483647 h 198"/>
                <a:gd name="T48" fmla="*/ 2147483647 w 408"/>
                <a:gd name="T49" fmla="*/ 2147483647 h 198"/>
                <a:gd name="T50" fmla="*/ 2147483647 w 408"/>
                <a:gd name="T51" fmla="*/ 2147483647 h 198"/>
                <a:gd name="T52" fmla="*/ 2147483647 w 408"/>
                <a:gd name="T53" fmla="*/ 2147483647 h 198"/>
                <a:gd name="T54" fmla="*/ 2147483647 w 408"/>
                <a:gd name="T55" fmla="*/ 2147483647 h 198"/>
                <a:gd name="T56" fmla="*/ 0 w 408"/>
                <a:gd name="T57" fmla="*/ 2147483647 h 198"/>
                <a:gd name="T58" fmla="*/ 2147483647 w 408"/>
                <a:gd name="T59" fmla="*/ 2147483647 h 198"/>
                <a:gd name="T60" fmla="*/ 2147483647 w 408"/>
                <a:gd name="T61" fmla="*/ 2147483647 h 198"/>
                <a:gd name="T62" fmla="*/ 2147483647 w 408"/>
                <a:gd name="T63" fmla="*/ 2147483647 h 198"/>
                <a:gd name="T64" fmla="*/ 0 w 408"/>
                <a:gd name="T65" fmla="*/ 2147483647 h 198"/>
                <a:gd name="T66" fmla="*/ 2147483647 w 408"/>
                <a:gd name="T67" fmla="*/ 2147483647 h 198"/>
                <a:gd name="T68" fmla="*/ 2147483647 w 408"/>
                <a:gd name="T69" fmla="*/ 2147483647 h 198"/>
                <a:gd name="T70" fmla="*/ 2147483647 w 408"/>
                <a:gd name="T71" fmla="*/ 2147483647 h 198"/>
                <a:gd name="T72" fmla="*/ 2147483647 w 408"/>
                <a:gd name="T73" fmla="*/ 2147483647 h 198"/>
                <a:gd name="T74" fmla="*/ 2147483647 w 408"/>
                <a:gd name="T75" fmla="*/ 2147483647 h 198"/>
                <a:gd name="T76" fmla="*/ 2147483647 w 408"/>
                <a:gd name="T77" fmla="*/ 2147483647 h 198"/>
                <a:gd name="T78" fmla="*/ 2147483647 w 408"/>
                <a:gd name="T79" fmla="*/ 2147483647 h 198"/>
                <a:gd name="T80" fmla="*/ 2147483647 w 408"/>
                <a:gd name="T81" fmla="*/ 2147483647 h 198"/>
                <a:gd name="T82" fmla="*/ 2147483647 w 408"/>
                <a:gd name="T83" fmla="*/ 2147483647 h 198"/>
                <a:gd name="T84" fmla="*/ 2147483647 w 408"/>
                <a:gd name="T85" fmla="*/ 2147483647 h 198"/>
                <a:gd name="T86" fmla="*/ 2147483647 w 408"/>
                <a:gd name="T87" fmla="*/ 2147483647 h 198"/>
                <a:gd name="T88" fmla="*/ 2147483647 w 408"/>
                <a:gd name="T89" fmla="*/ 2147483647 h 198"/>
                <a:gd name="T90" fmla="*/ 2147483647 w 408"/>
                <a:gd name="T91" fmla="*/ 2147483647 h 198"/>
                <a:gd name="T92" fmla="*/ 2147483647 w 408"/>
                <a:gd name="T93" fmla="*/ 2147483647 h 198"/>
                <a:gd name="T94" fmla="*/ 2147483647 w 408"/>
                <a:gd name="T95" fmla="*/ 2147483647 h 198"/>
                <a:gd name="T96" fmla="*/ 2147483647 w 408"/>
                <a:gd name="T97" fmla="*/ 2147483647 h 198"/>
                <a:gd name="T98" fmla="*/ 2147483647 w 408"/>
                <a:gd name="T99" fmla="*/ 2147483647 h 198"/>
                <a:gd name="T100" fmla="*/ 2147483647 w 408"/>
                <a:gd name="T101" fmla="*/ 2147483647 h 1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8"/>
                <a:gd name="T154" fmla="*/ 0 h 198"/>
                <a:gd name="T155" fmla="*/ 408 w 408"/>
                <a:gd name="T156" fmla="*/ 198 h 1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8" h="198">
                  <a:moveTo>
                    <a:pt x="306" y="66"/>
                  </a:moveTo>
                  <a:lnTo>
                    <a:pt x="318" y="78"/>
                  </a:lnTo>
                  <a:lnTo>
                    <a:pt x="324" y="90"/>
                  </a:lnTo>
                  <a:lnTo>
                    <a:pt x="330" y="96"/>
                  </a:lnTo>
                  <a:lnTo>
                    <a:pt x="342" y="90"/>
                  </a:lnTo>
                  <a:lnTo>
                    <a:pt x="372" y="120"/>
                  </a:lnTo>
                  <a:lnTo>
                    <a:pt x="342" y="102"/>
                  </a:lnTo>
                  <a:lnTo>
                    <a:pt x="342" y="120"/>
                  </a:lnTo>
                  <a:lnTo>
                    <a:pt x="336" y="132"/>
                  </a:lnTo>
                  <a:lnTo>
                    <a:pt x="336" y="162"/>
                  </a:lnTo>
                  <a:lnTo>
                    <a:pt x="342" y="168"/>
                  </a:lnTo>
                  <a:lnTo>
                    <a:pt x="348" y="180"/>
                  </a:lnTo>
                  <a:lnTo>
                    <a:pt x="354" y="186"/>
                  </a:lnTo>
                  <a:lnTo>
                    <a:pt x="360" y="186"/>
                  </a:lnTo>
                  <a:lnTo>
                    <a:pt x="372" y="156"/>
                  </a:lnTo>
                  <a:lnTo>
                    <a:pt x="378" y="162"/>
                  </a:lnTo>
                  <a:lnTo>
                    <a:pt x="390" y="168"/>
                  </a:lnTo>
                  <a:lnTo>
                    <a:pt x="396" y="162"/>
                  </a:lnTo>
                  <a:lnTo>
                    <a:pt x="408" y="138"/>
                  </a:lnTo>
                  <a:lnTo>
                    <a:pt x="408" y="126"/>
                  </a:lnTo>
                  <a:lnTo>
                    <a:pt x="396" y="120"/>
                  </a:lnTo>
                  <a:lnTo>
                    <a:pt x="390" y="108"/>
                  </a:lnTo>
                  <a:lnTo>
                    <a:pt x="390" y="90"/>
                  </a:lnTo>
                  <a:lnTo>
                    <a:pt x="396" y="84"/>
                  </a:lnTo>
                  <a:lnTo>
                    <a:pt x="372" y="66"/>
                  </a:lnTo>
                  <a:lnTo>
                    <a:pt x="372" y="60"/>
                  </a:lnTo>
                  <a:lnTo>
                    <a:pt x="366" y="54"/>
                  </a:lnTo>
                  <a:lnTo>
                    <a:pt x="366" y="42"/>
                  </a:lnTo>
                  <a:lnTo>
                    <a:pt x="360" y="30"/>
                  </a:lnTo>
                  <a:lnTo>
                    <a:pt x="348" y="24"/>
                  </a:lnTo>
                  <a:lnTo>
                    <a:pt x="330" y="18"/>
                  </a:lnTo>
                  <a:lnTo>
                    <a:pt x="288" y="18"/>
                  </a:lnTo>
                  <a:lnTo>
                    <a:pt x="282" y="0"/>
                  </a:lnTo>
                  <a:lnTo>
                    <a:pt x="246" y="0"/>
                  </a:lnTo>
                  <a:lnTo>
                    <a:pt x="234" y="6"/>
                  </a:lnTo>
                  <a:lnTo>
                    <a:pt x="228" y="12"/>
                  </a:lnTo>
                  <a:lnTo>
                    <a:pt x="222" y="24"/>
                  </a:lnTo>
                  <a:lnTo>
                    <a:pt x="210" y="36"/>
                  </a:lnTo>
                  <a:lnTo>
                    <a:pt x="204" y="36"/>
                  </a:lnTo>
                  <a:lnTo>
                    <a:pt x="198" y="30"/>
                  </a:lnTo>
                  <a:lnTo>
                    <a:pt x="192" y="30"/>
                  </a:lnTo>
                  <a:lnTo>
                    <a:pt x="168" y="42"/>
                  </a:lnTo>
                  <a:lnTo>
                    <a:pt x="144" y="66"/>
                  </a:lnTo>
                  <a:lnTo>
                    <a:pt x="132" y="72"/>
                  </a:lnTo>
                  <a:lnTo>
                    <a:pt x="120" y="72"/>
                  </a:lnTo>
                  <a:lnTo>
                    <a:pt x="114" y="66"/>
                  </a:lnTo>
                  <a:lnTo>
                    <a:pt x="102" y="60"/>
                  </a:lnTo>
                  <a:lnTo>
                    <a:pt x="90" y="42"/>
                  </a:lnTo>
                  <a:lnTo>
                    <a:pt x="78" y="54"/>
                  </a:lnTo>
                  <a:lnTo>
                    <a:pt x="60" y="54"/>
                  </a:lnTo>
                  <a:lnTo>
                    <a:pt x="48" y="42"/>
                  </a:lnTo>
                  <a:lnTo>
                    <a:pt x="48" y="18"/>
                  </a:lnTo>
                  <a:lnTo>
                    <a:pt x="36" y="6"/>
                  </a:lnTo>
                  <a:lnTo>
                    <a:pt x="24" y="6"/>
                  </a:lnTo>
                  <a:lnTo>
                    <a:pt x="18" y="12"/>
                  </a:lnTo>
                  <a:lnTo>
                    <a:pt x="6" y="12"/>
                  </a:lnTo>
                  <a:lnTo>
                    <a:pt x="0" y="18"/>
                  </a:lnTo>
                  <a:lnTo>
                    <a:pt x="0" y="36"/>
                  </a:lnTo>
                  <a:lnTo>
                    <a:pt x="6" y="42"/>
                  </a:lnTo>
                  <a:lnTo>
                    <a:pt x="6" y="48"/>
                  </a:lnTo>
                  <a:lnTo>
                    <a:pt x="24" y="48"/>
                  </a:lnTo>
                  <a:lnTo>
                    <a:pt x="30" y="54"/>
                  </a:lnTo>
                  <a:lnTo>
                    <a:pt x="12" y="72"/>
                  </a:lnTo>
                  <a:lnTo>
                    <a:pt x="6" y="72"/>
                  </a:lnTo>
                  <a:lnTo>
                    <a:pt x="6" y="96"/>
                  </a:lnTo>
                  <a:lnTo>
                    <a:pt x="0" y="102"/>
                  </a:lnTo>
                  <a:lnTo>
                    <a:pt x="6" y="108"/>
                  </a:lnTo>
                  <a:lnTo>
                    <a:pt x="48" y="102"/>
                  </a:lnTo>
                  <a:lnTo>
                    <a:pt x="60" y="120"/>
                  </a:lnTo>
                  <a:lnTo>
                    <a:pt x="90" y="114"/>
                  </a:lnTo>
                  <a:lnTo>
                    <a:pt x="90" y="126"/>
                  </a:lnTo>
                  <a:lnTo>
                    <a:pt x="84" y="132"/>
                  </a:lnTo>
                  <a:lnTo>
                    <a:pt x="84" y="150"/>
                  </a:lnTo>
                  <a:lnTo>
                    <a:pt x="90" y="156"/>
                  </a:lnTo>
                  <a:lnTo>
                    <a:pt x="108" y="156"/>
                  </a:lnTo>
                  <a:lnTo>
                    <a:pt x="114" y="150"/>
                  </a:lnTo>
                  <a:lnTo>
                    <a:pt x="120" y="150"/>
                  </a:lnTo>
                  <a:lnTo>
                    <a:pt x="120" y="132"/>
                  </a:lnTo>
                  <a:lnTo>
                    <a:pt x="138" y="126"/>
                  </a:lnTo>
                  <a:lnTo>
                    <a:pt x="138" y="150"/>
                  </a:lnTo>
                  <a:lnTo>
                    <a:pt x="144" y="168"/>
                  </a:lnTo>
                  <a:lnTo>
                    <a:pt x="144" y="180"/>
                  </a:lnTo>
                  <a:lnTo>
                    <a:pt x="150" y="192"/>
                  </a:lnTo>
                  <a:lnTo>
                    <a:pt x="156" y="198"/>
                  </a:lnTo>
                  <a:lnTo>
                    <a:pt x="162" y="198"/>
                  </a:lnTo>
                  <a:lnTo>
                    <a:pt x="180" y="192"/>
                  </a:lnTo>
                  <a:lnTo>
                    <a:pt x="198" y="174"/>
                  </a:lnTo>
                  <a:lnTo>
                    <a:pt x="204" y="174"/>
                  </a:lnTo>
                  <a:lnTo>
                    <a:pt x="198" y="168"/>
                  </a:lnTo>
                  <a:lnTo>
                    <a:pt x="186" y="162"/>
                  </a:lnTo>
                  <a:lnTo>
                    <a:pt x="180" y="150"/>
                  </a:lnTo>
                  <a:lnTo>
                    <a:pt x="174" y="144"/>
                  </a:lnTo>
                  <a:lnTo>
                    <a:pt x="168" y="132"/>
                  </a:lnTo>
                  <a:lnTo>
                    <a:pt x="162" y="126"/>
                  </a:lnTo>
                  <a:lnTo>
                    <a:pt x="186" y="102"/>
                  </a:lnTo>
                  <a:lnTo>
                    <a:pt x="222" y="84"/>
                  </a:lnTo>
                  <a:lnTo>
                    <a:pt x="228" y="72"/>
                  </a:lnTo>
                  <a:lnTo>
                    <a:pt x="246" y="54"/>
                  </a:lnTo>
                  <a:lnTo>
                    <a:pt x="258" y="48"/>
                  </a:lnTo>
                  <a:lnTo>
                    <a:pt x="276" y="54"/>
                  </a:lnTo>
                  <a:lnTo>
                    <a:pt x="288" y="60"/>
                  </a:lnTo>
                  <a:lnTo>
                    <a:pt x="306" y="66"/>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85" name="Pakistan" descr="© INSCALE GmbH, 05.05.2010&#10;http://www.presentationload.com/">
              <a:extLst>
                <a:ext uri="{FF2B5EF4-FFF2-40B4-BE49-F238E27FC236}">
                  <a16:creationId xmlns:a16="http://schemas.microsoft.com/office/drawing/2014/main" id="{EB52EAC5-5D46-4A7D-BA8D-854ECBC19653}"/>
                </a:ext>
              </a:extLst>
            </p:cNvPr>
            <p:cNvSpPr>
              <a:spLocks/>
            </p:cNvSpPr>
            <p:nvPr/>
          </p:nvSpPr>
          <p:spPr bwMode="gray">
            <a:xfrm>
              <a:off x="5797735" y="3067204"/>
              <a:ext cx="417094" cy="418663"/>
            </a:xfrm>
            <a:custGeom>
              <a:avLst/>
              <a:gdLst>
                <a:gd name="T0" fmla="*/ 2147483647 w 1050"/>
                <a:gd name="T1" fmla="*/ 2147483647 h 1056"/>
                <a:gd name="T2" fmla="*/ 2147483647 w 1050"/>
                <a:gd name="T3" fmla="*/ 2147483647 h 1056"/>
                <a:gd name="T4" fmla="*/ 2147483647 w 1050"/>
                <a:gd name="T5" fmla="*/ 2147483647 h 1056"/>
                <a:gd name="T6" fmla="*/ 2147483647 w 1050"/>
                <a:gd name="T7" fmla="*/ 2147483647 h 1056"/>
                <a:gd name="T8" fmla="*/ 2147483647 w 1050"/>
                <a:gd name="T9" fmla="*/ 2147483647 h 1056"/>
                <a:gd name="T10" fmla="*/ 2147483647 w 1050"/>
                <a:gd name="T11" fmla="*/ 2147483647 h 1056"/>
                <a:gd name="T12" fmla="*/ 2147483647 w 1050"/>
                <a:gd name="T13" fmla="*/ 2147483647 h 1056"/>
                <a:gd name="T14" fmla="*/ 2147483647 w 1050"/>
                <a:gd name="T15" fmla="*/ 2147483647 h 1056"/>
                <a:gd name="T16" fmla="*/ 2147483647 w 1050"/>
                <a:gd name="T17" fmla="*/ 2147483647 h 1056"/>
                <a:gd name="T18" fmla="*/ 2147483647 w 1050"/>
                <a:gd name="T19" fmla="*/ 2147483647 h 1056"/>
                <a:gd name="T20" fmla="*/ 2147483647 w 1050"/>
                <a:gd name="T21" fmla="*/ 2147483647 h 1056"/>
                <a:gd name="T22" fmla="*/ 2147483647 w 1050"/>
                <a:gd name="T23" fmla="*/ 2147483647 h 1056"/>
                <a:gd name="T24" fmla="*/ 2147483647 w 1050"/>
                <a:gd name="T25" fmla="*/ 2147483647 h 1056"/>
                <a:gd name="T26" fmla="*/ 2147483647 w 1050"/>
                <a:gd name="T27" fmla="*/ 2147483647 h 1056"/>
                <a:gd name="T28" fmla="*/ 2147483647 w 1050"/>
                <a:gd name="T29" fmla="*/ 2147483647 h 1056"/>
                <a:gd name="T30" fmla="*/ 2147483647 w 1050"/>
                <a:gd name="T31" fmla="*/ 2147483647 h 1056"/>
                <a:gd name="T32" fmla="*/ 2147483647 w 1050"/>
                <a:gd name="T33" fmla="*/ 2147483647 h 1056"/>
                <a:gd name="T34" fmla="*/ 2147483647 w 1050"/>
                <a:gd name="T35" fmla="*/ 2147483647 h 1056"/>
                <a:gd name="T36" fmla="*/ 2147483647 w 1050"/>
                <a:gd name="T37" fmla="*/ 2147483647 h 1056"/>
                <a:gd name="T38" fmla="*/ 2147483647 w 1050"/>
                <a:gd name="T39" fmla="*/ 2147483647 h 1056"/>
                <a:gd name="T40" fmla="*/ 2147483647 w 1050"/>
                <a:gd name="T41" fmla="*/ 2147483647 h 1056"/>
                <a:gd name="T42" fmla="*/ 2147483647 w 1050"/>
                <a:gd name="T43" fmla="*/ 2147483647 h 1056"/>
                <a:gd name="T44" fmla="*/ 0 w 1050"/>
                <a:gd name="T45" fmla="*/ 2147483647 h 1056"/>
                <a:gd name="T46" fmla="*/ 2147483647 w 1050"/>
                <a:gd name="T47" fmla="*/ 2147483647 h 1056"/>
                <a:gd name="T48" fmla="*/ 2147483647 w 1050"/>
                <a:gd name="T49" fmla="*/ 2147483647 h 1056"/>
                <a:gd name="T50" fmla="*/ 2147483647 w 1050"/>
                <a:gd name="T51" fmla="*/ 2147483647 h 1056"/>
                <a:gd name="T52" fmla="*/ 2147483647 w 1050"/>
                <a:gd name="T53" fmla="*/ 2147483647 h 1056"/>
                <a:gd name="T54" fmla="*/ 2147483647 w 1050"/>
                <a:gd name="T55" fmla="*/ 2147483647 h 1056"/>
                <a:gd name="T56" fmla="*/ 2147483647 w 1050"/>
                <a:gd name="T57" fmla="*/ 2147483647 h 1056"/>
                <a:gd name="T58" fmla="*/ 2147483647 w 1050"/>
                <a:gd name="T59" fmla="*/ 2147483647 h 1056"/>
                <a:gd name="T60" fmla="*/ 2147483647 w 1050"/>
                <a:gd name="T61" fmla="*/ 2147483647 h 1056"/>
                <a:gd name="T62" fmla="*/ 2147483647 w 1050"/>
                <a:gd name="T63" fmla="*/ 2147483647 h 1056"/>
                <a:gd name="T64" fmla="*/ 2147483647 w 1050"/>
                <a:gd name="T65" fmla="*/ 2147483647 h 1056"/>
                <a:gd name="T66" fmla="*/ 2147483647 w 1050"/>
                <a:gd name="T67" fmla="*/ 2147483647 h 1056"/>
                <a:gd name="T68" fmla="*/ 2147483647 w 1050"/>
                <a:gd name="T69" fmla="*/ 2147483647 h 1056"/>
                <a:gd name="T70" fmla="*/ 2147483647 w 1050"/>
                <a:gd name="T71" fmla="*/ 2147483647 h 1056"/>
                <a:gd name="T72" fmla="*/ 2147483647 w 1050"/>
                <a:gd name="T73" fmla="*/ 2147483647 h 1056"/>
                <a:gd name="T74" fmla="*/ 2147483647 w 1050"/>
                <a:gd name="T75" fmla="*/ 2147483647 h 1056"/>
                <a:gd name="T76" fmla="*/ 2147483647 w 1050"/>
                <a:gd name="T77" fmla="*/ 2147483647 h 1056"/>
                <a:gd name="T78" fmla="*/ 2147483647 w 1050"/>
                <a:gd name="T79" fmla="*/ 2147483647 h 1056"/>
                <a:gd name="T80" fmla="*/ 2147483647 w 1050"/>
                <a:gd name="T81" fmla="*/ 2147483647 h 1056"/>
                <a:gd name="T82" fmla="*/ 2147483647 w 1050"/>
                <a:gd name="T83" fmla="*/ 2147483647 h 1056"/>
                <a:gd name="T84" fmla="*/ 2147483647 w 1050"/>
                <a:gd name="T85" fmla="*/ 2147483647 h 1056"/>
                <a:gd name="T86" fmla="*/ 2147483647 w 1050"/>
                <a:gd name="T87" fmla="*/ 2147483647 h 1056"/>
                <a:gd name="T88" fmla="*/ 2147483647 w 1050"/>
                <a:gd name="T89" fmla="*/ 2147483647 h 1056"/>
                <a:gd name="T90" fmla="*/ 2147483647 w 1050"/>
                <a:gd name="T91" fmla="*/ 2147483647 h 1056"/>
                <a:gd name="T92" fmla="*/ 2147483647 w 1050"/>
                <a:gd name="T93" fmla="*/ 2147483647 h 1056"/>
                <a:gd name="T94" fmla="*/ 2147483647 w 1050"/>
                <a:gd name="T95" fmla="*/ 2147483647 h 1056"/>
                <a:gd name="T96" fmla="*/ 2147483647 w 1050"/>
                <a:gd name="T97" fmla="*/ 2147483647 h 1056"/>
                <a:gd name="T98" fmla="*/ 2147483647 w 1050"/>
                <a:gd name="T99" fmla="*/ 2147483647 h 1056"/>
                <a:gd name="T100" fmla="*/ 2147483647 w 1050"/>
                <a:gd name="T101" fmla="*/ 2147483647 h 1056"/>
                <a:gd name="T102" fmla="*/ 2147483647 w 1050"/>
                <a:gd name="T103" fmla="*/ 2147483647 h 1056"/>
                <a:gd name="T104" fmla="*/ 2147483647 w 1050"/>
                <a:gd name="T105" fmla="*/ 2147483647 h 1056"/>
                <a:gd name="T106" fmla="*/ 2147483647 w 1050"/>
                <a:gd name="T107" fmla="*/ 2147483647 h 1056"/>
                <a:gd name="T108" fmla="*/ 2147483647 w 1050"/>
                <a:gd name="T109" fmla="*/ 2147483647 h 1056"/>
                <a:gd name="T110" fmla="*/ 2147483647 w 1050"/>
                <a:gd name="T111" fmla="*/ 2147483647 h 1056"/>
                <a:gd name="T112" fmla="*/ 2147483647 w 1050"/>
                <a:gd name="T113" fmla="*/ 2147483647 h 1056"/>
                <a:gd name="T114" fmla="*/ 2147483647 w 1050"/>
                <a:gd name="T115" fmla="*/ 2147483647 h 1056"/>
                <a:gd name="T116" fmla="*/ 2147483647 w 1050"/>
                <a:gd name="T117" fmla="*/ 2147483647 h 1056"/>
                <a:gd name="T118" fmla="*/ 2147483647 w 1050"/>
                <a:gd name="T119" fmla="*/ 2147483647 h 1056"/>
                <a:gd name="T120" fmla="*/ 2147483647 w 1050"/>
                <a:gd name="T121" fmla="*/ 2147483647 h 1056"/>
                <a:gd name="T122" fmla="*/ 2147483647 w 1050"/>
                <a:gd name="T123" fmla="*/ 2147483647 h 10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0"/>
                <a:gd name="T187" fmla="*/ 0 h 1056"/>
                <a:gd name="T188" fmla="*/ 1050 w 1050"/>
                <a:gd name="T189" fmla="*/ 1056 h 10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0" h="1056">
                  <a:moveTo>
                    <a:pt x="1008" y="120"/>
                  </a:moveTo>
                  <a:lnTo>
                    <a:pt x="996" y="120"/>
                  </a:lnTo>
                  <a:lnTo>
                    <a:pt x="984" y="114"/>
                  </a:lnTo>
                  <a:lnTo>
                    <a:pt x="978" y="102"/>
                  </a:lnTo>
                  <a:lnTo>
                    <a:pt x="972" y="96"/>
                  </a:lnTo>
                  <a:lnTo>
                    <a:pt x="972" y="90"/>
                  </a:lnTo>
                  <a:lnTo>
                    <a:pt x="960" y="96"/>
                  </a:lnTo>
                  <a:lnTo>
                    <a:pt x="924" y="84"/>
                  </a:lnTo>
                  <a:lnTo>
                    <a:pt x="924" y="60"/>
                  </a:lnTo>
                  <a:lnTo>
                    <a:pt x="912" y="36"/>
                  </a:lnTo>
                  <a:lnTo>
                    <a:pt x="900" y="24"/>
                  </a:lnTo>
                  <a:lnTo>
                    <a:pt x="888" y="18"/>
                  </a:lnTo>
                  <a:lnTo>
                    <a:pt x="876" y="18"/>
                  </a:lnTo>
                  <a:lnTo>
                    <a:pt x="870" y="6"/>
                  </a:lnTo>
                  <a:lnTo>
                    <a:pt x="822" y="6"/>
                  </a:lnTo>
                  <a:lnTo>
                    <a:pt x="810" y="0"/>
                  </a:lnTo>
                  <a:lnTo>
                    <a:pt x="804" y="6"/>
                  </a:lnTo>
                  <a:lnTo>
                    <a:pt x="792" y="6"/>
                  </a:lnTo>
                  <a:lnTo>
                    <a:pt x="786" y="12"/>
                  </a:lnTo>
                  <a:lnTo>
                    <a:pt x="774" y="12"/>
                  </a:lnTo>
                  <a:lnTo>
                    <a:pt x="762" y="6"/>
                  </a:lnTo>
                  <a:lnTo>
                    <a:pt x="738" y="6"/>
                  </a:lnTo>
                  <a:lnTo>
                    <a:pt x="732" y="12"/>
                  </a:lnTo>
                  <a:lnTo>
                    <a:pt x="690" y="12"/>
                  </a:lnTo>
                  <a:lnTo>
                    <a:pt x="684" y="18"/>
                  </a:lnTo>
                  <a:lnTo>
                    <a:pt x="678" y="18"/>
                  </a:lnTo>
                  <a:lnTo>
                    <a:pt x="654" y="30"/>
                  </a:lnTo>
                  <a:lnTo>
                    <a:pt x="648" y="36"/>
                  </a:lnTo>
                  <a:lnTo>
                    <a:pt x="624" y="48"/>
                  </a:lnTo>
                  <a:lnTo>
                    <a:pt x="618" y="54"/>
                  </a:lnTo>
                  <a:lnTo>
                    <a:pt x="612" y="66"/>
                  </a:lnTo>
                  <a:lnTo>
                    <a:pt x="606" y="72"/>
                  </a:lnTo>
                  <a:lnTo>
                    <a:pt x="606" y="78"/>
                  </a:lnTo>
                  <a:lnTo>
                    <a:pt x="636" y="108"/>
                  </a:lnTo>
                  <a:lnTo>
                    <a:pt x="636" y="138"/>
                  </a:lnTo>
                  <a:lnTo>
                    <a:pt x="642" y="144"/>
                  </a:lnTo>
                  <a:lnTo>
                    <a:pt x="648" y="156"/>
                  </a:lnTo>
                  <a:lnTo>
                    <a:pt x="648" y="162"/>
                  </a:lnTo>
                  <a:lnTo>
                    <a:pt x="624" y="186"/>
                  </a:lnTo>
                  <a:lnTo>
                    <a:pt x="618" y="198"/>
                  </a:lnTo>
                  <a:lnTo>
                    <a:pt x="618" y="210"/>
                  </a:lnTo>
                  <a:lnTo>
                    <a:pt x="624" y="216"/>
                  </a:lnTo>
                  <a:lnTo>
                    <a:pt x="624" y="246"/>
                  </a:lnTo>
                  <a:lnTo>
                    <a:pt x="606" y="246"/>
                  </a:lnTo>
                  <a:lnTo>
                    <a:pt x="600" y="252"/>
                  </a:lnTo>
                  <a:lnTo>
                    <a:pt x="594" y="252"/>
                  </a:lnTo>
                  <a:lnTo>
                    <a:pt x="576" y="246"/>
                  </a:lnTo>
                  <a:lnTo>
                    <a:pt x="570" y="240"/>
                  </a:lnTo>
                  <a:lnTo>
                    <a:pt x="552" y="240"/>
                  </a:lnTo>
                  <a:lnTo>
                    <a:pt x="552" y="252"/>
                  </a:lnTo>
                  <a:lnTo>
                    <a:pt x="564" y="264"/>
                  </a:lnTo>
                  <a:lnTo>
                    <a:pt x="576" y="270"/>
                  </a:lnTo>
                  <a:lnTo>
                    <a:pt x="576" y="276"/>
                  </a:lnTo>
                  <a:lnTo>
                    <a:pt x="582" y="282"/>
                  </a:lnTo>
                  <a:lnTo>
                    <a:pt x="582" y="288"/>
                  </a:lnTo>
                  <a:lnTo>
                    <a:pt x="594" y="294"/>
                  </a:lnTo>
                  <a:lnTo>
                    <a:pt x="600" y="294"/>
                  </a:lnTo>
                  <a:lnTo>
                    <a:pt x="570" y="312"/>
                  </a:lnTo>
                  <a:lnTo>
                    <a:pt x="552" y="312"/>
                  </a:lnTo>
                  <a:lnTo>
                    <a:pt x="546" y="318"/>
                  </a:lnTo>
                  <a:lnTo>
                    <a:pt x="546" y="354"/>
                  </a:lnTo>
                  <a:lnTo>
                    <a:pt x="540" y="354"/>
                  </a:lnTo>
                  <a:lnTo>
                    <a:pt x="534" y="360"/>
                  </a:lnTo>
                  <a:lnTo>
                    <a:pt x="534" y="378"/>
                  </a:lnTo>
                  <a:lnTo>
                    <a:pt x="540" y="390"/>
                  </a:lnTo>
                  <a:lnTo>
                    <a:pt x="540" y="402"/>
                  </a:lnTo>
                  <a:lnTo>
                    <a:pt x="546" y="408"/>
                  </a:lnTo>
                  <a:lnTo>
                    <a:pt x="546" y="414"/>
                  </a:lnTo>
                  <a:lnTo>
                    <a:pt x="540" y="420"/>
                  </a:lnTo>
                  <a:lnTo>
                    <a:pt x="534" y="432"/>
                  </a:lnTo>
                  <a:lnTo>
                    <a:pt x="522" y="438"/>
                  </a:lnTo>
                  <a:lnTo>
                    <a:pt x="510" y="438"/>
                  </a:lnTo>
                  <a:lnTo>
                    <a:pt x="504" y="432"/>
                  </a:lnTo>
                  <a:lnTo>
                    <a:pt x="504" y="420"/>
                  </a:lnTo>
                  <a:lnTo>
                    <a:pt x="474" y="420"/>
                  </a:lnTo>
                  <a:lnTo>
                    <a:pt x="462" y="426"/>
                  </a:lnTo>
                  <a:lnTo>
                    <a:pt x="456" y="432"/>
                  </a:lnTo>
                  <a:lnTo>
                    <a:pt x="444" y="438"/>
                  </a:lnTo>
                  <a:lnTo>
                    <a:pt x="438" y="438"/>
                  </a:lnTo>
                  <a:lnTo>
                    <a:pt x="432" y="444"/>
                  </a:lnTo>
                  <a:lnTo>
                    <a:pt x="432" y="450"/>
                  </a:lnTo>
                  <a:lnTo>
                    <a:pt x="438" y="450"/>
                  </a:lnTo>
                  <a:lnTo>
                    <a:pt x="444" y="456"/>
                  </a:lnTo>
                  <a:lnTo>
                    <a:pt x="444" y="462"/>
                  </a:lnTo>
                  <a:lnTo>
                    <a:pt x="438" y="468"/>
                  </a:lnTo>
                  <a:lnTo>
                    <a:pt x="396" y="468"/>
                  </a:lnTo>
                  <a:lnTo>
                    <a:pt x="396" y="456"/>
                  </a:lnTo>
                  <a:lnTo>
                    <a:pt x="378" y="456"/>
                  </a:lnTo>
                  <a:lnTo>
                    <a:pt x="372" y="468"/>
                  </a:lnTo>
                  <a:lnTo>
                    <a:pt x="360" y="474"/>
                  </a:lnTo>
                  <a:lnTo>
                    <a:pt x="354" y="486"/>
                  </a:lnTo>
                  <a:lnTo>
                    <a:pt x="354" y="504"/>
                  </a:lnTo>
                  <a:lnTo>
                    <a:pt x="360" y="516"/>
                  </a:lnTo>
                  <a:lnTo>
                    <a:pt x="360" y="534"/>
                  </a:lnTo>
                  <a:lnTo>
                    <a:pt x="366" y="540"/>
                  </a:lnTo>
                  <a:lnTo>
                    <a:pt x="366" y="570"/>
                  </a:lnTo>
                  <a:lnTo>
                    <a:pt x="360" y="576"/>
                  </a:lnTo>
                  <a:lnTo>
                    <a:pt x="354" y="576"/>
                  </a:lnTo>
                  <a:lnTo>
                    <a:pt x="306" y="600"/>
                  </a:lnTo>
                  <a:lnTo>
                    <a:pt x="276" y="600"/>
                  </a:lnTo>
                  <a:lnTo>
                    <a:pt x="258" y="606"/>
                  </a:lnTo>
                  <a:lnTo>
                    <a:pt x="234" y="606"/>
                  </a:lnTo>
                  <a:lnTo>
                    <a:pt x="228" y="612"/>
                  </a:lnTo>
                  <a:lnTo>
                    <a:pt x="204" y="612"/>
                  </a:lnTo>
                  <a:lnTo>
                    <a:pt x="204" y="606"/>
                  </a:lnTo>
                  <a:lnTo>
                    <a:pt x="150" y="606"/>
                  </a:lnTo>
                  <a:lnTo>
                    <a:pt x="144" y="612"/>
                  </a:lnTo>
                  <a:lnTo>
                    <a:pt x="138" y="612"/>
                  </a:lnTo>
                  <a:lnTo>
                    <a:pt x="120" y="618"/>
                  </a:lnTo>
                  <a:lnTo>
                    <a:pt x="102" y="618"/>
                  </a:lnTo>
                  <a:lnTo>
                    <a:pt x="78" y="606"/>
                  </a:lnTo>
                  <a:lnTo>
                    <a:pt x="60" y="600"/>
                  </a:lnTo>
                  <a:lnTo>
                    <a:pt x="42" y="588"/>
                  </a:lnTo>
                  <a:lnTo>
                    <a:pt x="30" y="582"/>
                  </a:lnTo>
                  <a:lnTo>
                    <a:pt x="0" y="582"/>
                  </a:lnTo>
                  <a:lnTo>
                    <a:pt x="24" y="606"/>
                  </a:lnTo>
                  <a:lnTo>
                    <a:pt x="30" y="618"/>
                  </a:lnTo>
                  <a:lnTo>
                    <a:pt x="36" y="624"/>
                  </a:lnTo>
                  <a:lnTo>
                    <a:pt x="48" y="642"/>
                  </a:lnTo>
                  <a:lnTo>
                    <a:pt x="60" y="654"/>
                  </a:lnTo>
                  <a:lnTo>
                    <a:pt x="66" y="672"/>
                  </a:lnTo>
                  <a:lnTo>
                    <a:pt x="78" y="690"/>
                  </a:lnTo>
                  <a:lnTo>
                    <a:pt x="84" y="696"/>
                  </a:lnTo>
                  <a:lnTo>
                    <a:pt x="102" y="696"/>
                  </a:lnTo>
                  <a:lnTo>
                    <a:pt x="114" y="690"/>
                  </a:lnTo>
                  <a:lnTo>
                    <a:pt x="126" y="708"/>
                  </a:lnTo>
                  <a:lnTo>
                    <a:pt x="150" y="708"/>
                  </a:lnTo>
                  <a:lnTo>
                    <a:pt x="144" y="738"/>
                  </a:lnTo>
                  <a:lnTo>
                    <a:pt x="150" y="738"/>
                  </a:lnTo>
                  <a:lnTo>
                    <a:pt x="150" y="762"/>
                  </a:lnTo>
                  <a:lnTo>
                    <a:pt x="156" y="774"/>
                  </a:lnTo>
                  <a:lnTo>
                    <a:pt x="156" y="786"/>
                  </a:lnTo>
                  <a:lnTo>
                    <a:pt x="174" y="786"/>
                  </a:lnTo>
                  <a:lnTo>
                    <a:pt x="180" y="792"/>
                  </a:lnTo>
                  <a:lnTo>
                    <a:pt x="186" y="804"/>
                  </a:lnTo>
                  <a:lnTo>
                    <a:pt x="192" y="822"/>
                  </a:lnTo>
                  <a:lnTo>
                    <a:pt x="192" y="834"/>
                  </a:lnTo>
                  <a:lnTo>
                    <a:pt x="186" y="840"/>
                  </a:lnTo>
                  <a:lnTo>
                    <a:pt x="180" y="840"/>
                  </a:lnTo>
                  <a:lnTo>
                    <a:pt x="180" y="834"/>
                  </a:lnTo>
                  <a:lnTo>
                    <a:pt x="150" y="834"/>
                  </a:lnTo>
                  <a:lnTo>
                    <a:pt x="138" y="840"/>
                  </a:lnTo>
                  <a:lnTo>
                    <a:pt x="132" y="846"/>
                  </a:lnTo>
                  <a:lnTo>
                    <a:pt x="132" y="852"/>
                  </a:lnTo>
                  <a:lnTo>
                    <a:pt x="126" y="852"/>
                  </a:lnTo>
                  <a:lnTo>
                    <a:pt x="126" y="858"/>
                  </a:lnTo>
                  <a:lnTo>
                    <a:pt x="120" y="864"/>
                  </a:lnTo>
                  <a:lnTo>
                    <a:pt x="108" y="864"/>
                  </a:lnTo>
                  <a:lnTo>
                    <a:pt x="102" y="882"/>
                  </a:lnTo>
                  <a:lnTo>
                    <a:pt x="96" y="888"/>
                  </a:lnTo>
                  <a:lnTo>
                    <a:pt x="96" y="894"/>
                  </a:lnTo>
                  <a:lnTo>
                    <a:pt x="84" y="906"/>
                  </a:lnTo>
                  <a:lnTo>
                    <a:pt x="84" y="936"/>
                  </a:lnTo>
                  <a:lnTo>
                    <a:pt x="90" y="948"/>
                  </a:lnTo>
                  <a:lnTo>
                    <a:pt x="90" y="954"/>
                  </a:lnTo>
                  <a:lnTo>
                    <a:pt x="96" y="948"/>
                  </a:lnTo>
                  <a:lnTo>
                    <a:pt x="108" y="948"/>
                  </a:lnTo>
                  <a:lnTo>
                    <a:pt x="114" y="942"/>
                  </a:lnTo>
                  <a:lnTo>
                    <a:pt x="120" y="942"/>
                  </a:lnTo>
                  <a:lnTo>
                    <a:pt x="126" y="948"/>
                  </a:lnTo>
                  <a:lnTo>
                    <a:pt x="138" y="948"/>
                  </a:lnTo>
                  <a:lnTo>
                    <a:pt x="150" y="954"/>
                  </a:lnTo>
                  <a:lnTo>
                    <a:pt x="174" y="954"/>
                  </a:lnTo>
                  <a:lnTo>
                    <a:pt x="210" y="936"/>
                  </a:lnTo>
                  <a:lnTo>
                    <a:pt x="216" y="930"/>
                  </a:lnTo>
                  <a:lnTo>
                    <a:pt x="222" y="930"/>
                  </a:lnTo>
                  <a:lnTo>
                    <a:pt x="234" y="936"/>
                  </a:lnTo>
                  <a:lnTo>
                    <a:pt x="276" y="936"/>
                  </a:lnTo>
                  <a:lnTo>
                    <a:pt x="288" y="930"/>
                  </a:lnTo>
                  <a:lnTo>
                    <a:pt x="300" y="930"/>
                  </a:lnTo>
                  <a:lnTo>
                    <a:pt x="306" y="924"/>
                  </a:lnTo>
                  <a:lnTo>
                    <a:pt x="312" y="924"/>
                  </a:lnTo>
                  <a:lnTo>
                    <a:pt x="348" y="930"/>
                  </a:lnTo>
                  <a:lnTo>
                    <a:pt x="354" y="924"/>
                  </a:lnTo>
                  <a:lnTo>
                    <a:pt x="366" y="918"/>
                  </a:lnTo>
                  <a:lnTo>
                    <a:pt x="372" y="912"/>
                  </a:lnTo>
                  <a:lnTo>
                    <a:pt x="384" y="912"/>
                  </a:lnTo>
                  <a:lnTo>
                    <a:pt x="396" y="918"/>
                  </a:lnTo>
                  <a:lnTo>
                    <a:pt x="408" y="930"/>
                  </a:lnTo>
                  <a:lnTo>
                    <a:pt x="432" y="978"/>
                  </a:lnTo>
                  <a:lnTo>
                    <a:pt x="444" y="984"/>
                  </a:lnTo>
                  <a:lnTo>
                    <a:pt x="450" y="990"/>
                  </a:lnTo>
                  <a:lnTo>
                    <a:pt x="468" y="996"/>
                  </a:lnTo>
                  <a:lnTo>
                    <a:pt x="486" y="996"/>
                  </a:lnTo>
                  <a:lnTo>
                    <a:pt x="522" y="1008"/>
                  </a:lnTo>
                  <a:lnTo>
                    <a:pt x="540" y="1044"/>
                  </a:lnTo>
                  <a:lnTo>
                    <a:pt x="552" y="1056"/>
                  </a:lnTo>
                  <a:lnTo>
                    <a:pt x="570" y="1056"/>
                  </a:lnTo>
                  <a:lnTo>
                    <a:pt x="588" y="1050"/>
                  </a:lnTo>
                  <a:lnTo>
                    <a:pt x="582" y="1044"/>
                  </a:lnTo>
                  <a:lnTo>
                    <a:pt x="582" y="1032"/>
                  </a:lnTo>
                  <a:lnTo>
                    <a:pt x="594" y="1020"/>
                  </a:lnTo>
                  <a:lnTo>
                    <a:pt x="606" y="1020"/>
                  </a:lnTo>
                  <a:lnTo>
                    <a:pt x="618" y="1026"/>
                  </a:lnTo>
                  <a:lnTo>
                    <a:pt x="624" y="1032"/>
                  </a:lnTo>
                  <a:lnTo>
                    <a:pt x="648" y="1020"/>
                  </a:lnTo>
                  <a:lnTo>
                    <a:pt x="648" y="1026"/>
                  </a:lnTo>
                  <a:lnTo>
                    <a:pt x="654" y="1032"/>
                  </a:lnTo>
                  <a:lnTo>
                    <a:pt x="678" y="1032"/>
                  </a:lnTo>
                  <a:lnTo>
                    <a:pt x="690" y="1020"/>
                  </a:lnTo>
                  <a:lnTo>
                    <a:pt x="702" y="1014"/>
                  </a:lnTo>
                  <a:lnTo>
                    <a:pt x="708" y="1014"/>
                  </a:lnTo>
                  <a:lnTo>
                    <a:pt x="708" y="1026"/>
                  </a:lnTo>
                  <a:lnTo>
                    <a:pt x="714" y="1032"/>
                  </a:lnTo>
                  <a:lnTo>
                    <a:pt x="732" y="1032"/>
                  </a:lnTo>
                  <a:lnTo>
                    <a:pt x="738" y="1026"/>
                  </a:lnTo>
                  <a:lnTo>
                    <a:pt x="750" y="1020"/>
                  </a:lnTo>
                  <a:lnTo>
                    <a:pt x="750" y="996"/>
                  </a:lnTo>
                  <a:lnTo>
                    <a:pt x="744" y="990"/>
                  </a:lnTo>
                  <a:lnTo>
                    <a:pt x="738" y="978"/>
                  </a:lnTo>
                  <a:lnTo>
                    <a:pt x="714" y="936"/>
                  </a:lnTo>
                  <a:lnTo>
                    <a:pt x="714" y="912"/>
                  </a:lnTo>
                  <a:lnTo>
                    <a:pt x="690" y="912"/>
                  </a:lnTo>
                  <a:lnTo>
                    <a:pt x="678" y="900"/>
                  </a:lnTo>
                  <a:lnTo>
                    <a:pt x="672" y="888"/>
                  </a:lnTo>
                  <a:lnTo>
                    <a:pt x="666" y="882"/>
                  </a:lnTo>
                  <a:lnTo>
                    <a:pt x="672" y="852"/>
                  </a:lnTo>
                  <a:lnTo>
                    <a:pt x="672" y="834"/>
                  </a:lnTo>
                  <a:lnTo>
                    <a:pt x="642" y="840"/>
                  </a:lnTo>
                  <a:lnTo>
                    <a:pt x="636" y="840"/>
                  </a:lnTo>
                  <a:lnTo>
                    <a:pt x="624" y="834"/>
                  </a:lnTo>
                  <a:lnTo>
                    <a:pt x="618" y="828"/>
                  </a:lnTo>
                  <a:lnTo>
                    <a:pt x="618" y="804"/>
                  </a:lnTo>
                  <a:lnTo>
                    <a:pt x="624" y="792"/>
                  </a:lnTo>
                  <a:lnTo>
                    <a:pt x="636" y="780"/>
                  </a:lnTo>
                  <a:lnTo>
                    <a:pt x="642" y="768"/>
                  </a:lnTo>
                  <a:lnTo>
                    <a:pt x="648" y="762"/>
                  </a:lnTo>
                  <a:lnTo>
                    <a:pt x="654" y="750"/>
                  </a:lnTo>
                  <a:lnTo>
                    <a:pt x="654" y="744"/>
                  </a:lnTo>
                  <a:lnTo>
                    <a:pt x="666" y="732"/>
                  </a:lnTo>
                  <a:lnTo>
                    <a:pt x="678" y="726"/>
                  </a:lnTo>
                  <a:lnTo>
                    <a:pt x="684" y="726"/>
                  </a:lnTo>
                  <a:lnTo>
                    <a:pt x="690" y="732"/>
                  </a:lnTo>
                  <a:lnTo>
                    <a:pt x="690" y="744"/>
                  </a:lnTo>
                  <a:lnTo>
                    <a:pt x="696" y="750"/>
                  </a:lnTo>
                  <a:lnTo>
                    <a:pt x="702" y="750"/>
                  </a:lnTo>
                  <a:lnTo>
                    <a:pt x="726" y="738"/>
                  </a:lnTo>
                  <a:lnTo>
                    <a:pt x="732" y="732"/>
                  </a:lnTo>
                  <a:lnTo>
                    <a:pt x="738" y="738"/>
                  </a:lnTo>
                  <a:lnTo>
                    <a:pt x="756" y="738"/>
                  </a:lnTo>
                  <a:lnTo>
                    <a:pt x="762" y="732"/>
                  </a:lnTo>
                  <a:lnTo>
                    <a:pt x="768" y="720"/>
                  </a:lnTo>
                  <a:lnTo>
                    <a:pt x="774" y="714"/>
                  </a:lnTo>
                  <a:lnTo>
                    <a:pt x="774" y="708"/>
                  </a:lnTo>
                  <a:lnTo>
                    <a:pt x="792" y="696"/>
                  </a:lnTo>
                  <a:lnTo>
                    <a:pt x="792" y="678"/>
                  </a:lnTo>
                  <a:lnTo>
                    <a:pt x="798" y="672"/>
                  </a:lnTo>
                  <a:lnTo>
                    <a:pt x="798" y="666"/>
                  </a:lnTo>
                  <a:lnTo>
                    <a:pt x="804" y="660"/>
                  </a:lnTo>
                  <a:lnTo>
                    <a:pt x="828" y="648"/>
                  </a:lnTo>
                  <a:lnTo>
                    <a:pt x="840" y="636"/>
                  </a:lnTo>
                  <a:lnTo>
                    <a:pt x="846" y="618"/>
                  </a:lnTo>
                  <a:lnTo>
                    <a:pt x="846" y="606"/>
                  </a:lnTo>
                  <a:lnTo>
                    <a:pt x="852" y="588"/>
                  </a:lnTo>
                  <a:lnTo>
                    <a:pt x="852" y="576"/>
                  </a:lnTo>
                  <a:lnTo>
                    <a:pt x="858" y="570"/>
                  </a:lnTo>
                  <a:lnTo>
                    <a:pt x="870" y="564"/>
                  </a:lnTo>
                  <a:lnTo>
                    <a:pt x="876" y="558"/>
                  </a:lnTo>
                  <a:lnTo>
                    <a:pt x="888" y="558"/>
                  </a:lnTo>
                  <a:lnTo>
                    <a:pt x="870" y="534"/>
                  </a:lnTo>
                  <a:lnTo>
                    <a:pt x="894" y="498"/>
                  </a:lnTo>
                  <a:lnTo>
                    <a:pt x="924" y="480"/>
                  </a:lnTo>
                  <a:lnTo>
                    <a:pt x="924" y="474"/>
                  </a:lnTo>
                  <a:lnTo>
                    <a:pt x="912" y="462"/>
                  </a:lnTo>
                  <a:lnTo>
                    <a:pt x="906" y="450"/>
                  </a:lnTo>
                  <a:lnTo>
                    <a:pt x="906" y="414"/>
                  </a:lnTo>
                  <a:lnTo>
                    <a:pt x="912" y="408"/>
                  </a:lnTo>
                  <a:lnTo>
                    <a:pt x="924" y="408"/>
                  </a:lnTo>
                  <a:lnTo>
                    <a:pt x="948" y="396"/>
                  </a:lnTo>
                  <a:lnTo>
                    <a:pt x="954" y="390"/>
                  </a:lnTo>
                  <a:lnTo>
                    <a:pt x="954" y="384"/>
                  </a:lnTo>
                  <a:lnTo>
                    <a:pt x="948" y="378"/>
                  </a:lnTo>
                  <a:lnTo>
                    <a:pt x="936" y="372"/>
                  </a:lnTo>
                  <a:lnTo>
                    <a:pt x="900" y="372"/>
                  </a:lnTo>
                  <a:lnTo>
                    <a:pt x="894" y="336"/>
                  </a:lnTo>
                  <a:lnTo>
                    <a:pt x="876" y="336"/>
                  </a:lnTo>
                  <a:lnTo>
                    <a:pt x="864" y="318"/>
                  </a:lnTo>
                  <a:lnTo>
                    <a:pt x="846" y="318"/>
                  </a:lnTo>
                  <a:lnTo>
                    <a:pt x="846" y="306"/>
                  </a:lnTo>
                  <a:lnTo>
                    <a:pt x="852" y="294"/>
                  </a:lnTo>
                  <a:lnTo>
                    <a:pt x="852" y="288"/>
                  </a:lnTo>
                  <a:lnTo>
                    <a:pt x="846" y="288"/>
                  </a:lnTo>
                  <a:lnTo>
                    <a:pt x="834" y="276"/>
                  </a:lnTo>
                  <a:lnTo>
                    <a:pt x="834" y="270"/>
                  </a:lnTo>
                  <a:lnTo>
                    <a:pt x="840" y="264"/>
                  </a:lnTo>
                  <a:lnTo>
                    <a:pt x="846" y="252"/>
                  </a:lnTo>
                  <a:lnTo>
                    <a:pt x="852" y="246"/>
                  </a:lnTo>
                  <a:lnTo>
                    <a:pt x="822" y="240"/>
                  </a:lnTo>
                  <a:lnTo>
                    <a:pt x="828" y="228"/>
                  </a:lnTo>
                  <a:lnTo>
                    <a:pt x="804" y="210"/>
                  </a:lnTo>
                  <a:lnTo>
                    <a:pt x="804" y="204"/>
                  </a:lnTo>
                  <a:lnTo>
                    <a:pt x="810" y="192"/>
                  </a:lnTo>
                  <a:lnTo>
                    <a:pt x="834" y="180"/>
                  </a:lnTo>
                  <a:lnTo>
                    <a:pt x="876" y="180"/>
                  </a:lnTo>
                  <a:lnTo>
                    <a:pt x="894" y="186"/>
                  </a:lnTo>
                  <a:lnTo>
                    <a:pt x="912" y="186"/>
                  </a:lnTo>
                  <a:lnTo>
                    <a:pt x="918" y="192"/>
                  </a:lnTo>
                  <a:lnTo>
                    <a:pt x="918" y="204"/>
                  </a:lnTo>
                  <a:lnTo>
                    <a:pt x="930" y="204"/>
                  </a:lnTo>
                  <a:lnTo>
                    <a:pt x="942" y="198"/>
                  </a:lnTo>
                  <a:lnTo>
                    <a:pt x="948" y="192"/>
                  </a:lnTo>
                  <a:lnTo>
                    <a:pt x="960" y="186"/>
                  </a:lnTo>
                  <a:lnTo>
                    <a:pt x="966" y="180"/>
                  </a:lnTo>
                  <a:lnTo>
                    <a:pt x="972" y="186"/>
                  </a:lnTo>
                  <a:lnTo>
                    <a:pt x="978" y="180"/>
                  </a:lnTo>
                  <a:lnTo>
                    <a:pt x="1002" y="180"/>
                  </a:lnTo>
                  <a:lnTo>
                    <a:pt x="1002" y="162"/>
                  </a:lnTo>
                  <a:lnTo>
                    <a:pt x="1026" y="156"/>
                  </a:lnTo>
                  <a:lnTo>
                    <a:pt x="1050" y="120"/>
                  </a:lnTo>
                  <a:lnTo>
                    <a:pt x="1008" y="12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86" name="Parcel Inseln" descr="© INSCALE GmbH, 05.05.2010&#10;http://www.presentationload.com/">
              <a:extLst>
                <a:ext uri="{FF2B5EF4-FFF2-40B4-BE49-F238E27FC236}">
                  <a16:creationId xmlns:a16="http://schemas.microsoft.com/office/drawing/2014/main" id="{1D341604-ADC2-46D5-9476-8D70AD259ADF}"/>
                </a:ext>
              </a:extLst>
            </p:cNvPr>
            <p:cNvSpPr>
              <a:spLocks noEditPoints="1"/>
            </p:cNvSpPr>
            <p:nvPr/>
          </p:nvSpPr>
          <p:spPr bwMode="gray">
            <a:xfrm>
              <a:off x="7243453" y="3699118"/>
              <a:ext cx="37633" cy="25088"/>
            </a:xfrm>
            <a:custGeom>
              <a:avLst/>
              <a:gdLst>
                <a:gd name="T0" fmla="*/ 2147483647 w 96"/>
                <a:gd name="T1" fmla="*/ 2147483647 h 66"/>
                <a:gd name="T2" fmla="*/ 2147483647 w 96"/>
                <a:gd name="T3" fmla="*/ 2147483647 h 66"/>
                <a:gd name="T4" fmla="*/ 0 w 96"/>
                <a:gd name="T5" fmla="*/ 2147483647 h 66"/>
                <a:gd name="T6" fmla="*/ 0 w 96"/>
                <a:gd name="T7" fmla="*/ 2147483647 h 66"/>
                <a:gd name="T8" fmla="*/ 2147483647 w 96"/>
                <a:gd name="T9" fmla="*/ 2147483647 h 66"/>
                <a:gd name="T10" fmla="*/ 2147483647 w 96"/>
                <a:gd name="T11" fmla="*/ 2147483647 h 66"/>
                <a:gd name="T12" fmla="*/ 2147483647 w 96"/>
                <a:gd name="T13" fmla="*/ 2147483647 h 66"/>
                <a:gd name="T14" fmla="*/ 2147483647 w 96"/>
                <a:gd name="T15" fmla="*/ 2147483647 h 66"/>
                <a:gd name="T16" fmla="*/ 2147483647 w 96"/>
                <a:gd name="T17" fmla="*/ 2147483647 h 66"/>
                <a:gd name="T18" fmla="*/ 2147483647 w 96"/>
                <a:gd name="T19" fmla="*/ 0 h 66"/>
                <a:gd name="T20" fmla="*/ 2147483647 w 96"/>
                <a:gd name="T21" fmla="*/ 2147483647 h 66"/>
                <a:gd name="T22" fmla="*/ 2147483647 w 96"/>
                <a:gd name="T23" fmla="*/ 2147483647 h 66"/>
                <a:gd name="T24" fmla="*/ 2147483647 w 96"/>
                <a:gd name="T25" fmla="*/ 2147483647 h 66"/>
                <a:gd name="T26" fmla="*/ 2147483647 w 96"/>
                <a:gd name="T27" fmla="*/ 2147483647 h 66"/>
                <a:gd name="T28" fmla="*/ 2147483647 w 96"/>
                <a:gd name="T29" fmla="*/ 0 h 66"/>
                <a:gd name="T30" fmla="*/ 2147483647 w 96"/>
                <a:gd name="T31" fmla="*/ 0 h 66"/>
                <a:gd name="T32" fmla="*/ 2147483647 w 96"/>
                <a:gd name="T33" fmla="*/ 2147483647 h 66"/>
                <a:gd name="T34" fmla="*/ 2147483647 w 96"/>
                <a:gd name="T35" fmla="*/ 2147483647 h 66"/>
                <a:gd name="T36" fmla="*/ 2147483647 w 96"/>
                <a:gd name="T37" fmla="*/ 2147483647 h 66"/>
                <a:gd name="T38" fmla="*/ 2147483647 w 96"/>
                <a:gd name="T39" fmla="*/ 2147483647 h 66"/>
                <a:gd name="T40" fmla="*/ 2147483647 w 96"/>
                <a:gd name="T41" fmla="*/ 2147483647 h 66"/>
                <a:gd name="T42" fmla="*/ 2147483647 w 96"/>
                <a:gd name="T43" fmla="*/ 2147483647 h 66"/>
                <a:gd name="T44" fmla="*/ 2147483647 w 96"/>
                <a:gd name="T45" fmla="*/ 2147483647 h 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66"/>
                <a:gd name="T71" fmla="*/ 96 w 96"/>
                <a:gd name="T72" fmla="*/ 66 h 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66">
                  <a:moveTo>
                    <a:pt x="12" y="42"/>
                  </a:moveTo>
                  <a:lnTo>
                    <a:pt x="6" y="42"/>
                  </a:lnTo>
                  <a:lnTo>
                    <a:pt x="0" y="48"/>
                  </a:lnTo>
                  <a:lnTo>
                    <a:pt x="0" y="60"/>
                  </a:lnTo>
                  <a:lnTo>
                    <a:pt x="6" y="66"/>
                  </a:lnTo>
                  <a:lnTo>
                    <a:pt x="12" y="66"/>
                  </a:lnTo>
                  <a:lnTo>
                    <a:pt x="24" y="54"/>
                  </a:lnTo>
                  <a:lnTo>
                    <a:pt x="24" y="42"/>
                  </a:lnTo>
                  <a:lnTo>
                    <a:pt x="12" y="42"/>
                  </a:lnTo>
                  <a:close/>
                  <a:moveTo>
                    <a:pt x="42" y="0"/>
                  </a:moveTo>
                  <a:lnTo>
                    <a:pt x="42" y="18"/>
                  </a:lnTo>
                  <a:lnTo>
                    <a:pt x="54" y="30"/>
                  </a:lnTo>
                  <a:lnTo>
                    <a:pt x="60" y="30"/>
                  </a:lnTo>
                  <a:lnTo>
                    <a:pt x="72" y="24"/>
                  </a:lnTo>
                  <a:lnTo>
                    <a:pt x="48" y="0"/>
                  </a:lnTo>
                  <a:lnTo>
                    <a:pt x="42" y="0"/>
                  </a:lnTo>
                  <a:close/>
                  <a:moveTo>
                    <a:pt x="96" y="36"/>
                  </a:moveTo>
                  <a:lnTo>
                    <a:pt x="78" y="36"/>
                  </a:lnTo>
                  <a:lnTo>
                    <a:pt x="72" y="42"/>
                  </a:lnTo>
                  <a:lnTo>
                    <a:pt x="72" y="54"/>
                  </a:lnTo>
                  <a:lnTo>
                    <a:pt x="84" y="60"/>
                  </a:lnTo>
                  <a:lnTo>
                    <a:pt x="96" y="48"/>
                  </a:lnTo>
                  <a:lnTo>
                    <a:pt x="96" y="36"/>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87" name="Österreich" descr="© INSCALE GmbH, 05.05.2010&#10;http://www.presentationload.com/">
              <a:extLst>
                <a:ext uri="{FF2B5EF4-FFF2-40B4-BE49-F238E27FC236}">
                  <a16:creationId xmlns:a16="http://schemas.microsoft.com/office/drawing/2014/main" id="{947D35F5-DE00-4089-9829-EDE1AD68C515}"/>
                </a:ext>
              </a:extLst>
            </p:cNvPr>
            <p:cNvSpPr>
              <a:spLocks/>
            </p:cNvSpPr>
            <p:nvPr/>
          </p:nvSpPr>
          <p:spPr bwMode="gray">
            <a:xfrm>
              <a:off x="4400627" y="2687742"/>
              <a:ext cx="181891" cy="79970"/>
            </a:xfrm>
            <a:custGeom>
              <a:avLst/>
              <a:gdLst>
                <a:gd name="T0" fmla="*/ 2147483647 w 456"/>
                <a:gd name="T1" fmla="*/ 2147483647 h 204"/>
                <a:gd name="T2" fmla="*/ 2147483647 w 456"/>
                <a:gd name="T3" fmla="*/ 2147483647 h 204"/>
                <a:gd name="T4" fmla="*/ 2147483647 w 456"/>
                <a:gd name="T5" fmla="*/ 2147483647 h 204"/>
                <a:gd name="T6" fmla="*/ 2147483647 w 456"/>
                <a:gd name="T7" fmla="*/ 2147483647 h 204"/>
                <a:gd name="T8" fmla="*/ 2147483647 w 456"/>
                <a:gd name="T9" fmla="*/ 2147483647 h 204"/>
                <a:gd name="T10" fmla="*/ 2147483647 w 456"/>
                <a:gd name="T11" fmla="*/ 2147483647 h 204"/>
                <a:gd name="T12" fmla="*/ 2147483647 w 456"/>
                <a:gd name="T13" fmla="*/ 2147483647 h 204"/>
                <a:gd name="T14" fmla="*/ 2147483647 w 456"/>
                <a:gd name="T15" fmla="*/ 0 h 204"/>
                <a:gd name="T16" fmla="*/ 2147483647 w 456"/>
                <a:gd name="T17" fmla="*/ 2147483647 h 204"/>
                <a:gd name="T18" fmla="*/ 2147483647 w 456"/>
                <a:gd name="T19" fmla="*/ 2147483647 h 204"/>
                <a:gd name="T20" fmla="*/ 2147483647 w 456"/>
                <a:gd name="T21" fmla="*/ 2147483647 h 204"/>
                <a:gd name="T22" fmla="*/ 2147483647 w 456"/>
                <a:gd name="T23" fmla="*/ 2147483647 h 204"/>
                <a:gd name="T24" fmla="*/ 2147483647 w 456"/>
                <a:gd name="T25" fmla="*/ 2147483647 h 204"/>
                <a:gd name="T26" fmla="*/ 2147483647 w 456"/>
                <a:gd name="T27" fmla="*/ 2147483647 h 204"/>
                <a:gd name="T28" fmla="*/ 2147483647 w 456"/>
                <a:gd name="T29" fmla="*/ 2147483647 h 204"/>
                <a:gd name="T30" fmla="*/ 2147483647 w 456"/>
                <a:gd name="T31" fmla="*/ 2147483647 h 204"/>
                <a:gd name="T32" fmla="*/ 2147483647 w 456"/>
                <a:gd name="T33" fmla="*/ 2147483647 h 204"/>
                <a:gd name="T34" fmla="*/ 2147483647 w 456"/>
                <a:gd name="T35" fmla="*/ 2147483647 h 204"/>
                <a:gd name="T36" fmla="*/ 2147483647 w 456"/>
                <a:gd name="T37" fmla="*/ 2147483647 h 204"/>
                <a:gd name="T38" fmla="*/ 2147483647 w 456"/>
                <a:gd name="T39" fmla="*/ 2147483647 h 204"/>
                <a:gd name="T40" fmla="*/ 2147483647 w 456"/>
                <a:gd name="T41" fmla="*/ 2147483647 h 204"/>
                <a:gd name="T42" fmla="*/ 2147483647 w 456"/>
                <a:gd name="T43" fmla="*/ 2147483647 h 204"/>
                <a:gd name="T44" fmla="*/ 2147483647 w 456"/>
                <a:gd name="T45" fmla="*/ 2147483647 h 204"/>
                <a:gd name="T46" fmla="*/ 2147483647 w 456"/>
                <a:gd name="T47" fmla="*/ 2147483647 h 204"/>
                <a:gd name="T48" fmla="*/ 2147483647 w 456"/>
                <a:gd name="T49" fmla="*/ 2147483647 h 204"/>
                <a:gd name="T50" fmla="*/ 2147483647 w 456"/>
                <a:gd name="T51" fmla="*/ 2147483647 h 204"/>
                <a:gd name="T52" fmla="*/ 2147483647 w 456"/>
                <a:gd name="T53" fmla="*/ 2147483647 h 204"/>
                <a:gd name="T54" fmla="*/ 0 w 456"/>
                <a:gd name="T55" fmla="*/ 2147483647 h 204"/>
                <a:gd name="T56" fmla="*/ 2147483647 w 456"/>
                <a:gd name="T57" fmla="*/ 2147483647 h 204"/>
                <a:gd name="T58" fmla="*/ 2147483647 w 456"/>
                <a:gd name="T59" fmla="*/ 2147483647 h 204"/>
                <a:gd name="T60" fmla="*/ 2147483647 w 456"/>
                <a:gd name="T61" fmla="*/ 2147483647 h 204"/>
                <a:gd name="T62" fmla="*/ 2147483647 w 456"/>
                <a:gd name="T63" fmla="*/ 2147483647 h 204"/>
                <a:gd name="T64" fmla="*/ 2147483647 w 456"/>
                <a:gd name="T65" fmla="*/ 2147483647 h 204"/>
                <a:gd name="T66" fmla="*/ 2147483647 w 456"/>
                <a:gd name="T67" fmla="*/ 2147483647 h 204"/>
                <a:gd name="T68" fmla="*/ 2147483647 w 456"/>
                <a:gd name="T69" fmla="*/ 2147483647 h 204"/>
                <a:gd name="T70" fmla="*/ 2147483647 w 456"/>
                <a:gd name="T71" fmla="*/ 2147483647 h 204"/>
                <a:gd name="T72" fmla="*/ 2147483647 w 456"/>
                <a:gd name="T73" fmla="*/ 2147483647 h 204"/>
                <a:gd name="T74" fmla="*/ 2147483647 w 456"/>
                <a:gd name="T75" fmla="*/ 2147483647 h 204"/>
                <a:gd name="T76" fmla="*/ 2147483647 w 456"/>
                <a:gd name="T77" fmla="*/ 2147483647 h 204"/>
                <a:gd name="T78" fmla="*/ 2147483647 w 456"/>
                <a:gd name="T79" fmla="*/ 2147483647 h 204"/>
                <a:gd name="T80" fmla="*/ 2147483647 w 456"/>
                <a:gd name="T81" fmla="*/ 2147483647 h 204"/>
                <a:gd name="T82" fmla="*/ 2147483647 w 456"/>
                <a:gd name="T83" fmla="*/ 2147483647 h 204"/>
                <a:gd name="T84" fmla="*/ 2147483647 w 456"/>
                <a:gd name="T85" fmla="*/ 2147483647 h 204"/>
                <a:gd name="T86" fmla="*/ 2147483647 w 456"/>
                <a:gd name="T87" fmla="*/ 2147483647 h 204"/>
                <a:gd name="T88" fmla="*/ 2147483647 w 456"/>
                <a:gd name="T89" fmla="*/ 2147483647 h 204"/>
                <a:gd name="T90" fmla="*/ 2147483647 w 456"/>
                <a:gd name="T91" fmla="*/ 2147483647 h 2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6"/>
                <a:gd name="T139" fmla="*/ 0 h 204"/>
                <a:gd name="T140" fmla="*/ 456 w 456"/>
                <a:gd name="T141" fmla="*/ 204 h 2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6" h="204">
                  <a:moveTo>
                    <a:pt x="456" y="102"/>
                  </a:moveTo>
                  <a:lnTo>
                    <a:pt x="456" y="60"/>
                  </a:lnTo>
                  <a:lnTo>
                    <a:pt x="450" y="60"/>
                  </a:lnTo>
                  <a:lnTo>
                    <a:pt x="450" y="48"/>
                  </a:lnTo>
                  <a:lnTo>
                    <a:pt x="456" y="24"/>
                  </a:lnTo>
                  <a:lnTo>
                    <a:pt x="444" y="18"/>
                  </a:lnTo>
                  <a:lnTo>
                    <a:pt x="438" y="18"/>
                  </a:lnTo>
                  <a:lnTo>
                    <a:pt x="432" y="12"/>
                  </a:lnTo>
                  <a:lnTo>
                    <a:pt x="420" y="12"/>
                  </a:lnTo>
                  <a:lnTo>
                    <a:pt x="414" y="18"/>
                  </a:lnTo>
                  <a:lnTo>
                    <a:pt x="402" y="24"/>
                  </a:lnTo>
                  <a:lnTo>
                    <a:pt x="390" y="12"/>
                  </a:lnTo>
                  <a:lnTo>
                    <a:pt x="378" y="18"/>
                  </a:lnTo>
                  <a:lnTo>
                    <a:pt x="366" y="6"/>
                  </a:lnTo>
                  <a:lnTo>
                    <a:pt x="354" y="0"/>
                  </a:lnTo>
                  <a:lnTo>
                    <a:pt x="336" y="0"/>
                  </a:lnTo>
                  <a:lnTo>
                    <a:pt x="330" y="6"/>
                  </a:lnTo>
                  <a:lnTo>
                    <a:pt x="324" y="18"/>
                  </a:lnTo>
                  <a:lnTo>
                    <a:pt x="318" y="18"/>
                  </a:lnTo>
                  <a:lnTo>
                    <a:pt x="318" y="36"/>
                  </a:lnTo>
                  <a:lnTo>
                    <a:pt x="306" y="30"/>
                  </a:lnTo>
                  <a:lnTo>
                    <a:pt x="300" y="30"/>
                  </a:lnTo>
                  <a:lnTo>
                    <a:pt x="288" y="36"/>
                  </a:lnTo>
                  <a:lnTo>
                    <a:pt x="276" y="36"/>
                  </a:lnTo>
                  <a:lnTo>
                    <a:pt x="258" y="18"/>
                  </a:lnTo>
                  <a:lnTo>
                    <a:pt x="252" y="36"/>
                  </a:lnTo>
                  <a:lnTo>
                    <a:pt x="234" y="36"/>
                  </a:lnTo>
                  <a:lnTo>
                    <a:pt x="240" y="48"/>
                  </a:lnTo>
                  <a:lnTo>
                    <a:pt x="240" y="66"/>
                  </a:lnTo>
                  <a:lnTo>
                    <a:pt x="234" y="66"/>
                  </a:lnTo>
                  <a:lnTo>
                    <a:pt x="228" y="60"/>
                  </a:lnTo>
                  <a:lnTo>
                    <a:pt x="210" y="60"/>
                  </a:lnTo>
                  <a:lnTo>
                    <a:pt x="204" y="66"/>
                  </a:lnTo>
                  <a:lnTo>
                    <a:pt x="204" y="72"/>
                  </a:lnTo>
                  <a:lnTo>
                    <a:pt x="198" y="78"/>
                  </a:lnTo>
                  <a:lnTo>
                    <a:pt x="198" y="84"/>
                  </a:lnTo>
                  <a:lnTo>
                    <a:pt x="210" y="84"/>
                  </a:lnTo>
                  <a:lnTo>
                    <a:pt x="210" y="126"/>
                  </a:lnTo>
                  <a:lnTo>
                    <a:pt x="204" y="126"/>
                  </a:lnTo>
                  <a:lnTo>
                    <a:pt x="192" y="114"/>
                  </a:lnTo>
                  <a:lnTo>
                    <a:pt x="174" y="108"/>
                  </a:lnTo>
                  <a:lnTo>
                    <a:pt x="162" y="102"/>
                  </a:lnTo>
                  <a:lnTo>
                    <a:pt x="144" y="114"/>
                  </a:lnTo>
                  <a:lnTo>
                    <a:pt x="126" y="114"/>
                  </a:lnTo>
                  <a:lnTo>
                    <a:pt x="108" y="126"/>
                  </a:lnTo>
                  <a:lnTo>
                    <a:pt x="102" y="132"/>
                  </a:lnTo>
                  <a:lnTo>
                    <a:pt x="84" y="132"/>
                  </a:lnTo>
                  <a:lnTo>
                    <a:pt x="66" y="114"/>
                  </a:lnTo>
                  <a:lnTo>
                    <a:pt x="48" y="114"/>
                  </a:lnTo>
                  <a:lnTo>
                    <a:pt x="48" y="126"/>
                  </a:lnTo>
                  <a:lnTo>
                    <a:pt x="42" y="132"/>
                  </a:lnTo>
                  <a:lnTo>
                    <a:pt x="30" y="132"/>
                  </a:lnTo>
                  <a:lnTo>
                    <a:pt x="30" y="126"/>
                  </a:lnTo>
                  <a:lnTo>
                    <a:pt x="24" y="120"/>
                  </a:lnTo>
                  <a:lnTo>
                    <a:pt x="0" y="120"/>
                  </a:lnTo>
                  <a:lnTo>
                    <a:pt x="0" y="156"/>
                  </a:lnTo>
                  <a:lnTo>
                    <a:pt x="18" y="156"/>
                  </a:lnTo>
                  <a:lnTo>
                    <a:pt x="18" y="174"/>
                  </a:lnTo>
                  <a:lnTo>
                    <a:pt x="24" y="174"/>
                  </a:lnTo>
                  <a:lnTo>
                    <a:pt x="42" y="156"/>
                  </a:lnTo>
                  <a:lnTo>
                    <a:pt x="48" y="156"/>
                  </a:lnTo>
                  <a:lnTo>
                    <a:pt x="60" y="168"/>
                  </a:lnTo>
                  <a:lnTo>
                    <a:pt x="60" y="174"/>
                  </a:lnTo>
                  <a:lnTo>
                    <a:pt x="72" y="174"/>
                  </a:lnTo>
                  <a:lnTo>
                    <a:pt x="84" y="180"/>
                  </a:lnTo>
                  <a:lnTo>
                    <a:pt x="96" y="162"/>
                  </a:lnTo>
                  <a:lnTo>
                    <a:pt x="138" y="162"/>
                  </a:lnTo>
                  <a:lnTo>
                    <a:pt x="138" y="156"/>
                  </a:lnTo>
                  <a:lnTo>
                    <a:pt x="144" y="150"/>
                  </a:lnTo>
                  <a:lnTo>
                    <a:pt x="162" y="150"/>
                  </a:lnTo>
                  <a:lnTo>
                    <a:pt x="168" y="156"/>
                  </a:lnTo>
                  <a:lnTo>
                    <a:pt x="168" y="174"/>
                  </a:lnTo>
                  <a:lnTo>
                    <a:pt x="180" y="174"/>
                  </a:lnTo>
                  <a:lnTo>
                    <a:pt x="186" y="192"/>
                  </a:lnTo>
                  <a:lnTo>
                    <a:pt x="240" y="192"/>
                  </a:lnTo>
                  <a:lnTo>
                    <a:pt x="240" y="204"/>
                  </a:lnTo>
                  <a:lnTo>
                    <a:pt x="258" y="204"/>
                  </a:lnTo>
                  <a:lnTo>
                    <a:pt x="264" y="198"/>
                  </a:lnTo>
                  <a:lnTo>
                    <a:pt x="282" y="198"/>
                  </a:lnTo>
                  <a:lnTo>
                    <a:pt x="288" y="204"/>
                  </a:lnTo>
                  <a:lnTo>
                    <a:pt x="318" y="204"/>
                  </a:lnTo>
                  <a:lnTo>
                    <a:pt x="318" y="192"/>
                  </a:lnTo>
                  <a:lnTo>
                    <a:pt x="366" y="192"/>
                  </a:lnTo>
                  <a:lnTo>
                    <a:pt x="378" y="186"/>
                  </a:lnTo>
                  <a:lnTo>
                    <a:pt x="402" y="192"/>
                  </a:lnTo>
                  <a:lnTo>
                    <a:pt x="414" y="156"/>
                  </a:lnTo>
                  <a:lnTo>
                    <a:pt x="432" y="156"/>
                  </a:lnTo>
                  <a:lnTo>
                    <a:pt x="432" y="132"/>
                  </a:lnTo>
                  <a:lnTo>
                    <a:pt x="444" y="114"/>
                  </a:lnTo>
                  <a:lnTo>
                    <a:pt x="432" y="114"/>
                  </a:lnTo>
                  <a:lnTo>
                    <a:pt x="438" y="102"/>
                  </a:lnTo>
                  <a:lnTo>
                    <a:pt x="456" y="102"/>
                  </a:lnTo>
                  <a:close/>
                </a:path>
              </a:pathLst>
            </a:custGeom>
            <a:solidFill>
              <a:schemeClr val="accent1"/>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88" name="Ost Timor" descr="© INSCALE GmbH, 05.05.2010&#10;http://www.presentationload.com/">
              <a:extLst>
                <a:ext uri="{FF2B5EF4-FFF2-40B4-BE49-F238E27FC236}">
                  <a16:creationId xmlns:a16="http://schemas.microsoft.com/office/drawing/2014/main" id="{5A9F42C2-7238-4FA0-A0EA-F02E876CC4BE}"/>
                </a:ext>
              </a:extLst>
            </p:cNvPr>
            <p:cNvSpPr>
              <a:spLocks noEditPoints="1"/>
            </p:cNvSpPr>
            <p:nvPr/>
          </p:nvSpPr>
          <p:spPr bwMode="gray">
            <a:xfrm>
              <a:off x="7627618" y="4516057"/>
              <a:ext cx="98785" cy="47041"/>
            </a:xfrm>
            <a:custGeom>
              <a:avLst/>
              <a:gdLst>
                <a:gd name="T0" fmla="*/ 2147483647 w 252"/>
                <a:gd name="T1" fmla="*/ 0 h 120"/>
                <a:gd name="T2" fmla="*/ 2147483647 w 252"/>
                <a:gd name="T3" fmla="*/ 2147483647 h 120"/>
                <a:gd name="T4" fmla="*/ 2147483647 w 252"/>
                <a:gd name="T5" fmla="*/ 2147483647 h 120"/>
                <a:gd name="T6" fmla="*/ 2147483647 w 252"/>
                <a:gd name="T7" fmla="*/ 2147483647 h 120"/>
                <a:gd name="T8" fmla="*/ 2147483647 w 252"/>
                <a:gd name="T9" fmla="*/ 2147483647 h 120"/>
                <a:gd name="T10" fmla="*/ 2147483647 w 252"/>
                <a:gd name="T11" fmla="*/ 2147483647 h 120"/>
                <a:gd name="T12" fmla="*/ 2147483647 w 252"/>
                <a:gd name="T13" fmla="*/ 2147483647 h 120"/>
                <a:gd name="T14" fmla="*/ 2147483647 w 252"/>
                <a:gd name="T15" fmla="*/ 2147483647 h 120"/>
                <a:gd name="T16" fmla="*/ 2147483647 w 252"/>
                <a:gd name="T17" fmla="*/ 2147483647 h 120"/>
                <a:gd name="T18" fmla="*/ 2147483647 w 252"/>
                <a:gd name="T19" fmla="*/ 2147483647 h 120"/>
                <a:gd name="T20" fmla="*/ 2147483647 w 252"/>
                <a:gd name="T21" fmla="*/ 2147483647 h 120"/>
                <a:gd name="T22" fmla="*/ 2147483647 w 252"/>
                <a:gd name="T23" fmla="*/ 2147483647 h 120"/>
                <a:gd name="T24" fmla="*/ 2147483647 w 252"/>
                <a:gd name="T25" fmla="*/ 2147483647 h 120"/>
                <a:gd name="T26" fmla="*/ 2147483647 w 252"/>
                <a:gd name="T27" fmla="*/ 2147483647 h 120"/>
                <a:gd name="T28" fmla="*/ 2147483647 w 252"/>
                <a:gd name="T29" fmla="*/ 2147483647 h 120"/>
                <a:gd name="T30" fmla="*/ 2147483647 w 252"/>
                <a:gd name="T31" fmla="*/ 2147483647 h 120"/>
                <a:gd name="T32" fmla="*/ 2147483647 w 252"/>
                <a:gd name="T33" fmla="*/ 2147483647 h 120"/>
                <a:gd name="T34" fmla="*/ 2147483647 w 252"/>
                <a:gd name="T35" fmla="*/ 2147483647 h 120"/>
                <a:gd name="T36" fmla="*/ 2147483647 w 252"/>
                <a:gd name="T37" fmla="*/ 2147483647 h 120"/>
                <a:gd name="T38" fmla="*/ 2147483647 w 252"/>
                <a:gd name="T39" fmla="*/ 2147483647 h 120"/>
                <a:gd name="T40" fmla="*/ 2147483647 w 252"/>
                <a:gd name="T41" fmla="*/ 2147483647 h 120"/>
                <a:gd name="T42" fmla="*/ 2147483647 w 252"/>
                <a:gd name="T43" fmla="*/ 2147483647 h 120"/>
                <a:gd name="T44" fmla="*/ 2147483647 w 252"/>
                <a:gd name="T45" fmla="*/ 2147483647 h 120"/>
                <a:gd name="T46" fmla="*/ 2147483647 w 252"/>
                <a:gd name="T47" fmla="*/ 0 h 120"/>
                <a:gd name="T48" fmla="*/ 0 w 252"/>
                <a:gd name="T49" fmla="*/ 2147483647 h 120"/>
                <a:gd name="T50" fmla="*/ 2147483647 w 252"/>
                <a:gd name="T51" fmla="*/ 2147483647 h 120"/>
                <a:gd name="T52" fmla="*/ 2147483647 w 252"/>
                <a:gd name="T53" fmla="*/ 2147483647 h 120"/>
                <a:gd name="T54" fmla="*/ 2147483647 w 252"/>
                <a:gd name="T55" fmla="*/ 2147483647 h 120"/>
                <a:gd name="T56" fmla="*/ 2147483647 w 252"/>
                <a:gd name="T57" fmla="*/ 2147483647 h 120"/>
                <a:gd name="T58" fmla="*/ 2147483647 w 252"/>
                <a:gd name="T59" fmla="*/ 2147483647 h 120"/>
                <a:gd name="T60" fmla="*/ 2147483647 w 252"/>
                <a:gd name="T61" fmla="*/ 2147483647 h 120"/>
                <a:gd name="T62" fmla="*/ 2147483647 w 252"/>
                <a:gd name="T63" fmla="*/ 2147483647 h 120"/>
                <a:gd name="T64" fmla="*/ 0 w 252"/>
                <a:gd name="T65" fmla="*/ 2147483647 h 1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2"/>
                <a:gd name="T100" fmla="*/ 0 h 120"/>
                <a:gd name="T101" fmla="*/ 252 w 252"/>
                <a:gd name="T102" fmla="*/ 120 h 1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2" h="120">
                  <a:moveTo>
                    <a:pt x="228" y="0"/>
                  </a:moveTo>
                  <a:lnTo>
                    <a:pt x="204" y="24"/>
                  </a:lnTo>
                  <a:lnTo>
                    <a:pt x="114" y="24"/>
                  </a:lnTo>
                  <a:lnTo>
                    <a:pt x="108" y="30"/>
                  </a:lnTo>
                  <a:lnTo>
                    <a:pt x="102" y="42"/>
                  </a:lnTo>
                  <a:lnTo>
                    <a:pt x="96" y="48"/>
                  </a:lnTo>
                  <a:lnTo>
                    <a:pt x="90" y="48"/>
                  </a:lnTo>
                  <a:lnTo>
                    <a:pt x="78" y="54"/>
                  </a:lnTo>
                  <a:lnTo>
                    <a:pt x="90" y="72"/>
                  </a:lnTo>
                  <a:lnTo>
                    <a:pt x="84" y="78"/>
                  </a:lnTo>
                  <a:lnTo>
                    <a:pt x="72" y="102"/>
                  </a:lnTo>
                  <a:lnTo>
                    <a:pt x="72" y="114"/>
                  </a:lnTo>
                  <a:lnTo>
                    <a:pt x="78" y="120"/>
                  </a:lnTo>
                  <a:lnTo>
                    <a:pt x="78" y="114"/>
                  </a:lnTo>
                  <a:lnTo>
                    <a:pt x="84" y="108"/>
                  </a:lnTo>
                  <a:lnTo>
                    <a:pt x="96" y="108"/>
                  </a:lnTo>
                  <a:lnTo>
                    <a:pt x="132" y="84"/>
                  </a:lnTo>
                  <a:lnTo>
                    <a:pt x="138" y="90"/>
                  </a:lnTo>
                  <a:lnTo>
                    <a:pt x="162" y="90"/>
                  </a:lnTo>
                  <a:lnTo>
                    <a:pt x="186" y="78"/>
                  </a:lnTo>
                  <a:lnTo>
                    <a:pt x="198" y="66"/>
                  </a:lnTo>
                  <a:lnTo>
                    <a:pt x="210" y="60"/>
                  </a:lnTo>
                  <a:lnTo>
                    <a:pt x="252" y="18"/>
                  </a:lnTo>
                  <a:lnTo>
                    <a:pt x="228" y="0"/>
                  </a:lnTo>
                  <a:close/>
                  <a:moveTo>
                    <a:pt x="0" y="90"/>
                  </a:moveTo>
                  <a:lnTo>
                    <a:pt x="6" y="102"/>
                  </a:lnTo>
                  <a:lnTo>
                    <a:pt x="18" y="96"/>
                  </a:lnTo>
                  <a:lnTo>
                    <a:pt x="24" y="90"/>
                  </a:lnTo>
                  <a:lnTo>
                    <a:pt x="36" y="90"/>
                  </a:lnTo>
                  <a:lnTo>
                    <a:pt x="36" y="84"/>
                  </a:lnTo>
                  <a:lnTo>
                    <a:pt x="42" y="72"/>
                  </a:lnTo>
                  <a:lnTo>
                    <a:pt x="18" y="72"/>
                  </a:lnTo>
                  <a:lnTo>
                    <a:pt x="0" y="9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89" name="Oman" descr="© INSCALE GmbH, 05.05.2010&#10;http://www.presentationload.com/">
              <a:extLst>
                <a:ext uri="{FF2B5EF4-FFF2-40B4-BE49-F238E27FC236}">
                  <a16:creationId xmlns:a16="http://schemas.microsoft.com/office/drawing/2014/main" id="{7C90C080-5291-4775-8B0C-2DAD5AC14D0B}"/>
                </a:ext>
              </a:extLst>
            </p:cNvPr>
            <p:cNvSpPr>
              <a:spLocks/>
            </p:cNvSpPr>
            <p:nvPr/>
          </p:nvSpPr>
          <p:spPr bwMode="gray">
            <a:xfrm>
              <a:off x="5582916" y="3449801"/>
              <a:ext cx="214819" cy="268133"/>
            </a:xfrm>
            <a:custGeom>
              <a:avLst/>
              <a:gdLst>
                <a:gd name="T0" fmla="*/ 2147483647 w 540"/>
                <a:gd name="T1" fmla="*/ 2147483647 h 672"/>
                <a:gd name="T2" fmla="*/ 2147483647 w 540"/>
                <a:gd name="T3" fmla="*/ 2147483647 h 672"/>
                <a:gd name="T4" fmla="*/ 2147483647 w 540"/>
                <a:gd name="T5" fmla="*/ 2147483647 h 672"/>
                <a:gd name="T6" fmla="*/ 2147483647 w 540"/>
                <a:gd name="T7" fmla="*/ 2147483647 h 672"/>
                <a:gd name="T8" fmla="*/ 2147483647 w 540"/>
                <a:gd name="T9" fmla="*/ 2147483647 h 672"/>
                <a:gd name="T10" fmla="*/ 2147483647 w 540"/>
                <a:gd name="T11" fmla="*/ 2147483647 h 672"/>
                <a:gd name="T12" fmla="*/ 2147483647 w 540"/>
                <a:gd name="T13" fmla="*/ 2147483647 h 672"/>
                <a:gd name="T14" fmla="*/ 2147483647 w 540"/>
                <a:gd name="T15" fmla="*/ 2147483647 h 672"/>
                <a:gd name="T16" fmla="*/ 2147483647 w 540"/>
                <a:gd name="T17" fmla="*/ 2147483647 h 672"/>
                <a:gd name="T18" fmla="*/ 2147483647 w 540"/>
                <a:gd name="T19" fmla="*/ 2147483647 h 672"/>
                <a:gd name="T20" fmla="*/ 2147483647 w 540"/>
                <a:gd name="T21" fmla="*/ 2147483647 h 672"/>
                <a:gd name="T22" fmla="*/ 2147483647 w 540"/>
                <a:gd name="T23" fmla="*/ 2147483647 h 672"/>
                <a:gd name="T24" fmla="*/ 2147483647 w 540"/>
                <a:gd name="T25" fmla="*/ 2147483647 h 672"/>
                <a:gd name="T26" fmla="*/ 2147483647 w 540"/>
                <a:gd name="T27" fmla="*/ 2147483647 h 672"/>
                <a:gd name="T28" fmla="*/ 2147483647 w 540"/>
                <a:gd name="T29" fmla="*/ 2147483647 h 672"/>
                <a:gd name="T30" fmla="*/ 2147483647 w 540"/>
                <a:gd name="T31" fmla="*/ 2147483647 h 672"/>
                <a:gd name="T32" fmla="*/ 2147483647 w 540"/>
                <a:gd name="T33" fmla="*/ 2147483647 h 672"/>
                <a:gd name="T34" fmla="*/ 2147483647 w 540"/>
                <a:gd name="T35" fmla="*/ 2147483647 h 672"/>
                <a:gd name="T36" fmla="*/ 2147483647 w 540"/>
                <a:gd name="T37" fmla="*/ 2147483647 h 672"/>
                <a:gd name="T38" fmla="*/ 2147483647 w 540"/>
                <a:gd name="T39" fmla="*/ 2147483647 h 672"/>
                <a:gd name="T40" fmla="*/ 2147483647 w 540"/>
                <a:gd name="T41" fmla="*/ 2147483647 h 672"/>
                <a:gd name="T42" fmla="*/ 2147483647 w 540"/>
                <a:gd name="T43" fmla="*/ 2147483647 h 672"/>
                <a:gd name="T44" fmla="*/ 2147483647 w 540"/>
                <a:gd name="T45" fmla="*/ 2147483647 h 672"/>
                <a:gd name="T46" fmla="*/ 2147483647 w 540"/>
                <a:gd name="T47" fmla="*/ 2147483647 h 672"/>
                <a:gd name="T48" fmla="*/ 2147483647 w 540"/>
                <a:gd name="T49" fmla="*/ 2147483647 h 672"/>
                <a:gd name="T50" fmla="*/ 2147483647 w 540"/>
                <a:gd name="T51" fmla="*/ 0 h 672"/>
                <a:gd name="T52" fmla="*/ 2147483647 w 540"/>
                <a:gd name="T53" fmla="*/ 2147483647 h 672"/>
                <a:gd name="T54" fmla="*/ 2147483647 w 540"/>
                <a:gd name="T55" fmla="*/ 2147483647 h 672"/>
                <a:gd name="T56" fmla="*/ 2147483647 w 540"/>
                <a:gd name="T57" fmla="*/ 2147483647 h 672"/>
                <a:gd name="T58" fmla="*/ 2147483647 w 540"/>
                <a:gd name="T59" fmla="*/ 2147483647 h 672"/>
                <a:gd name="T60" fmla="*/ 2147483647 w 540"/>
                <a:gd name="T61" fmla="*/ 2147483647 h 672"/>
                <a:gd name="T62" fmla="*/ 2147483647 w 540"/>
                <a:gd name="T63" fmla="*/ 2147483647 h 672"/>
                <a:gd name="T64" fmla="*/ 2147483647 w 540"/>
                <a:gd name="T65" fmla="*/ 2147483647 h 672"/>
                <a:gd name="T66" fmla="*/ 2147483647 w 540"/>
                <a:gd name="T67" fmla="*/ 2147483647 h 672"/>
                <a:gd name="T68" fmla="*/ 2147483647 w 540"/>
                <a:gd name="T69" fmla="*/ 2147483647 h 672"/>
                <a:gd name="T70" fmla="*/ 2147483647 w 540"/>
                <a:gd name="T71" fmla="*/ 2147483647 h 672"/>
                <a:gd name="T72" fmla="*/ 2147483647 w 540"/>
                <a:gd name="T73" fmla="*/ 2147483647 h 672"/>
                <a:gd name="T74" fmla="*/ 2147483647 w 540"/>
                <a:gd name="T75" fmla="*/ 2147483647 h 672"/>
                <a:gd name="T76" fmla="*/ 2147483647 w 540"/>
                <a:gd name="T77" fmla="*/ 2147483647 h 672"/>
                <a:gd name="T78" fmla="*/ 2147483647 w 540"/>
                <a:gd name="T79" fmla="*/ 2147483647 h 672"/>
                <a:gd name="T80" fmla="*/ 2147483647 w 540"/>
                <a:gd name="T81" fmla="*/ 2147483647 h 672"/>
                <a:gd name="T82" fmla="*/ 2147483647 w 540"/>
                <a:gd name="T83" fmla="*/ 2147483647 h 672"/>
                <a:gd name="T84" fmla="*/ 2147483647 w 540"/>
                <a:gd name="T85" fmla="*/ 2147483647 h 672"/>
                <a:gd name="T86" fmla="*/ 2147483647 w 540"/>
                <a:gd name="T87" fmla="*/ 2147483647 h 6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40"/>
                <a:gd name="T133" fmla="*/ 0 h 672"/>
                <a:gd name="T134" fmla="*/ 540 w 540"/>
                <a:gd name="T135" fmla="*/ 672 h 6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40" h="672">
                  <a:moveTo>
                    <a:pt x="258" y="564"/>
                  </a:moveTo>
                  <a:lnTo>
                    <a:pt x="276" y="564"/>
                  </a:lnTo>
                  <a:lnTo>
                    <a:pt x="288" y="558"/>
                  </a:lnTo>
                  <a:lnTo>
                    <a:pt x="306" y="552"/>
                  </a:lnTo>
                  <a:lnTo>
                    <a:pt x="330" y="540"/>
                  </a:lnTo>
                  <a:lnTo>
                    <a:pt x="336" y="528"/>
                  </a:lnTo>
                  <a:lnTo>
                    <a:pt x="342" y="510"/>
                  </a:lnTo>
                  <a:lnTo>
                    <a:pt x="342" y="498"/>
                  </a:lnTo>
                  <a:lnTo>
                    <a:pt x="348" y="498"/>
                  </a:lnTo>
                  <a:lnTo>
                    <a:pt x="354" y="492"/>
                  </a:lnTo>
                  <a:lnTo>
                    <a:pt x="366" y="486"/>
                  </a:lnTo>
                  <a:lnTo>
                    <a:pt x="384" y="480"/>
                  </a:lnTo>
                  <a:lnTo>
                    <a:pt x="408" y="456"/>
                  </a:lnTo>
                  <a:lnTo>
                    <a:pt x="414" y="444"/>
                  </a:lnTo>
                  <a:lnTo>
                    <a:pt x="414" y="426"/>
                  </a:lnTo>
                  <a:lnTo>
                    <a:pt x="420" y="408"/>
                  </a:lnTo>
                  <a:lnTo>
                    <a:pt x="420" y="378"/>
                  </a:lnTo>
                  <a:lnTo>
                    <a:pt x="426" y="372"/>
                  </a:lnTo>
                  <a:lnTo>
                    <a:pt x="432" y="372"/>
                  </a:lnTo>
                  <a:lnTo>
                    <a:pt x="444" y="378"/>
                  </a:lnTo>
                  <a:lnTo>
                    <a:pt x="450" y="384"/>
                  </a:lnTo>
                  <a:lnTo>
                    <a:pt x="462" y="384"/>
                  </a:lnTo>
                  <a:lnTo>
                    <a:pt x="468" y="378"/>
                  </a:lnTo>
                  <a:lnTo>
                    <a:pt x="480" y="354"/>
                  </a:lnTo>
                  <a:lnTo>
                    <a:pt x="480" y="330"/>
                  </a:lnTo>
                  <a:lnTo>
                    <a:pt x="534" y="276"/>
                  </a:lnTo>
                  <a:lnTo>
                    <a:pt x="534" y="264"/>
                  </a:lnTo>
                  <a:lnTo>
                    <a:pt x="540" y="252"/>
                  </a:lnTo>
                  <a:lnTo>
                    <a:pt x="540" y="204"/>
                  </a:lnTo>
                  <a:lnTo>
                    <a:pt x="528" y="192"/>
                  </a:lnTo>
                  <a:lnTo>
                    <a:pt x="510" y="192"/>
                  </a:lnTo>
                  <a:lnTo>
                    <a:pt x="510" y="186"/>
                  </a:lnTo>
                  <a:lnTo>
                    <a:pt x="492" y="168"/>
                  </a:lnTo>
                  <a:lnTo>
                    <a:pt x="486" y="150"/>
                  </a:lnTo>
                  <a:lnTo>
                    <a:pt x="462" y="126"/>
                  </a:lnTo>
                  <a:lnTo>
                    <a:pt x="456" y="114"/>
                  </a:lnTo>
                  <a:lnTo>
                    <a:pt x="432" y="96"/>
                  </a:lnTo>
                  <a:lnTo>
                    <a:pt x="396" y="84"/>
                  </a:lnTo>
                  <a:lnTo>
                    <a:pt x="366" y="78"/>
                  </a:lnTo>
                  <a:lnTo>
                    <a:pt x="348" y="78"/>
                  </a:lnTo>
                  <a:lnTo>
                    <a:pt x="342" y="72"/>
                  </a:lnTo>
                  <a:lnTo>
                    <a:pt x="330" y="72"/>
                  </a:lnTo>
                  <a:lnTo>
                    <a:pt x="318" y="60"/>
                  </a:lnTo>
                  <a:lnTo>
                    <a:pt x="294" y="48"/>
                  </a:lnTo>
                  <a:lnTo>
                    <a:pt x="288" y="36"/>
                  </a:lnTo>
                  <a:lnTo>
                    <a:pt x="288" y="30"/>
                  </a:lnTo>
                  <a:lnTo>
                    <a:pt x="282" y="18"/>
                  </a:lnTo>
                  <a:lnTo>
                    <a:pt x="276" y="12"/>
                  </a:lnTo>
                  <a:lnTo>
                    <a:pt x="252" y="18"/>
                  </a:lnTo>
                  <a:lnTo>
                    <a:pt x="246" y="6"/>
                  </a:lnTo>
                  <a:lnTo>
                    <a:pt x="246" y="0"/>
                  </a:lnTo>
                  <a:lnTo>
                    <a:pt x="240" y="0"/>
                  </a:lnTo>
                  <a:lnTo>
                    <a:pt x="234" y="6"/>
                  </a:lnTo>
                  <a:lnTo>
                    <a:pt x="234" y="12"/>
                  </a:lnTo>
                  <a:lnTo>
                    <a:pt x="228" y="24"/>
                  </a:lnTo>
                  <a:lnTo>
                    <a:pt x="228" y="54"/>
                  </a:lnTo>
                  <a:lnTo>
                    <a:pt x="246" y="72"/>
                  </a:lnTo>
                  <a:lnTo>
                    <a:pt x="246" y="78"/>
                  </a:lnTo>
                  <a:lnTo>
                    <a:pt x="240" y="78"/>
                  </a:lnTo>
                  <a:lnTo>
                    <a:pt x="240" y="72"/>
                  </a:lnTo>
                  <a:lnTo>
                    <a:pt x="228" y="72"/>
                  </a:lnTo>
                  <a:lnTo>
                    <a:pt x="228" y="78"/>
                  </a:lnTo>
                  <a:lnTo>
                    <a:pt x="222" y="84"/>
                  </a:lnTo>
                  <a:lnTo>
                    <a:pt x="222" y="96"/>
                  </a:lnTo>
                  <a:lnTo>
                    <a:pt x="216" y="108"/>
                  </a:lnTo>
                  <a:lnTo>
                    <a:pt x="216" y="120"/>
                  </a:lnTo>
                  <a:lnTo>
                    <a:pt x="210" y="132"/>
                  </a:lnTo>
                  <a:lnTo>
                    <a:pt x="204" y="138"/>
                  </a:lnTo>
                  <a:lnTo>
                    <a:pt x="198" y="150"/>
                  </a:lnTo>
                  <a:lnTo>
                    <a:pt x="192" y="156"/>
                  </a:lnTo>
                  <a:lnTo>
                    <a:pt x="192" y="168"/>
                  </a:lnTo>
                  <a:lnTo>
                    <a:pt x="210" y="204"/>
                  </a:lnTo>
                  <a:lnTo>
                    <a:pt x="216" y="210"/>
                  </a:lnTo>
                  <a:lnTo>
                    <a:pt x="216" y="222"/>
                  </a:lnTo>
                  <a:lnTo>
                    <a:pt x="222" y="228"/>
                  </a:lnTo>
                  <a:lnTo>
                    <a:pt x="234" y="234"/>
                  </a:lnTo>
                  <a:lnTo>
                    <a:pt x="240" y="240"/>
                  </a:lnTo>
                  <a:lnTo>
                    <a:pt x="204" y="414"/>
                  </a:lnTo>
                  <a:lnTo>
                    <a:pt x="0" y="486"/>
                  </a:lnTo>
                  <a:lnTo>
                    <a:pt x="84" y="672"/>
                  </a:lnTo>
                  <a:lnTo>
                    <a:pt x="114" y="660"/>
                  </a:lnTo>
                  <a:lnTo>
                    <a:pt x="198" y="636"/>
                  </a:lnTo>
                  <a:lnTo>
                    <a:pt x="228" y="624"/>
                  </a:lnTo>
                  <a:lnTo>
                    <a:pt x="246" y="618"/>
                  </a:lnTo>
                  <a:lnTo>
                    <a:pt x="252" y="606"/>
                  </a:lnTo>
                  <a:lnTo>
                    <a:pt x="252" y="594"/>
                  </a:lnTo>
                  <a:lnTo>
                    <a:pt x="258" y="582"/>
                  </a:lnTo>
                  <a:lnTo>
                    <a:pt x="258" y="564"/>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90" name="Norwegen" descr="© INSCALE GmbH, 05.05.2010&#10;http://www.presentationload.com/">
              <a:extLst>
                <a:ext uri="{FF2B5EF4-FFF2-40B4-BE49-F238E27FC236}">
                  <a16:creationId xmlns:a16="http://schemas.microsoft.com/office/drawing/2014/main" id="{4A7B8479-D1B2-496B-8D1E-A88F787872AC}"/>
                </a:ext>
              </a:extLst>
            </p:cNvPr>
            <p:cNvSpPr>
              <a:spLocks noEditPoints="1"/>
            </p:cNvSpPr>
            <p:nvPr/>
          </p:nvSpPr>
          <p:spPr bwMode="gray">
            <a:xfrm>
              <a:off x="4301842" y="1817489"/>
              <a:ext cx="540967" cy="594281"/>
            </a:xfrm>
            <a:custGeom>
              <a:avLst/>
              <a:gdLst>
                <a:gd name="T0" fmla="*/ 2147483647 w 1362"/>
                <a:gd name="T1" fmla="*/ 2147483647 h 1500"/>
                <a:gd name="T2" fmla="*/ 2147483647 w 1362"/>
                <a:gd name="T3" fmla="*/ 2147483647 h 1500"/>
                <a:gd name="T4" fmla="*/ 2147483647 w 1362"/>
                <a:gd name="T5" fmla="*/ 2147483647 h 1500"/>
                <a:gd name="T6" fmla="*/ 2147483647 w 1362"/>
                <a:gd name="T7" fmla="*/ 2147483647 h 1500"/>
                <a:gd name="T8" fmla="*/ 2147483647 w 1362"/>
                <a:gd name="T9" fmla="*/ 0 h 1500"/>
                <a:gd name="T10" fmla="*/ 2147483647 w 1362"/>
                <a:gd name="T11" fmla="*/ 2147483647 h 1500"/>
                <a:gd name="T12" fmla="*/ 2147483647 w 1362"/>
                <a:gd name="T13" fmla="*/ 2147483647 h 1500"/>
                <a:gd name="T14" fmla="*/ 2147483647 w 1362"/>
                <a:gd name="T15" fmla="*/ 2147483647 h 1500"/>
                <a:gd name="T16" fmla="*/ 2147483647 w 1362"/>
                <a:gd name="T17" fmla="*/ 2147483647 h 1500"/>
                <a:gd name="T18" fmla="*/ 2147483647 w 1362"/>
                <a:gd name="T19" fmla="*/ 2147483647 h 1500"/>
                <a:gd name="T20" fmla="*/ 2147483647 w 1362"/>
                <a:gd name="T21" fmla="*/ 2147483647 h 1500"/>
                <a:gd name="T22" fmla="*/ 2147483647 w 1362"/>
                <a:gd name="T23" fmla="*/ 2147483647 h 1500"/>
                <a:gd name="T24" fmla="*/ 2147483647 w 1362"/>
                <a:gd name="T25" fmla="*/ 2147483647 h 1500"/>
                <a:gd name="T26" fmla="*/ 2147483647 w 1362"/>
                <a:gd name="T27" fmla="*/ 2147483647 h 1500"/>
                <a:gd name="T28" fmla="*/ 2147483647 w 1362"/>
                <a:gd name="T29" fmla="*/ 2147483647 h 1500"/>
                <a:gd name="T30" fmla="*/ 2147483647 w 1362"/>
                <a:gd name="T31" fmla="*/ 2147483647 h 1500"/>
                <a:gd name="T32" fmla="*/ 2147483647 w 1362"/>
                <a:gd name="T33" fmla="*/ 2147483647 h 1500"/>
                <a:gd name="T34" fmla="*/ 2147483647 w 1362"/>
                <a:gd name="T35" fmla="*/ 2147483647 h 1500"/>
                <a:gd name="T36" fmla="*/ 2147483647 w 1362"/>
                <a:gd name="T37" fmla="*/ 2147483647 h 1500"/>
                <a:gd name="T38" fmla="*/ 2147483647 w 1362"/>
                <a:gd name="T39" fmla="*/ 2147483647 h 1500"/>
                <a:gd name="T40" fmla="*/ 2147483647 w 1362"/>
                <a:gd name="T41" fmla="*/ 2147483647 h 1500"/>
                <a:gd name="T42" fmla="*/ 2147483647 w 1362"/>
                <a:gd name="T43" fmla="*/ 2147483647 h 1500"/>
                <a:gd name="T44" fmla="*/ 2147483647 w 1362"/>
                <a:gd name="T45" fmla="*/ 2147483647 h 1500"/>
                <a:gd name="T46" fmla="*/ 2147483647 w 1362"/>
                <a:gd name="T47" fmla="*/ 2147483647 h 1500"/>
                <a:gd name="T48" fmla="*/ 2147483647 w 1362"/>
                <a:gd name="T49" fmla="*/ 2147483647 h 1500"/>
                <a:gd name="T50" fmla="*/ 2147483647 w 1362"/>
                <a:gd name="T51" fmla="*/ 2147483647 h 1500"/>
                <a:gd name="T52" fmla="*/ 2147483647 w 1362"/>
                <a:gd name="T53" fmla="*/ 2147483647 h 1500"/>
                <a:gd name="T54" fmla="*/ 2147483647 w 1362"/>
                <a:gd name="T55" fmla="*/ 2147483647 h 1500"/>
                <a:gd name="T56" fmla="*/ 2147483647 w 1362"/>
                <a:gd name="T57" fmla="*/ 2147483647 h 1500"/>
                <a:gd name="T58" fmla="*/ 2147483647 w 1362"/>
                <a:gd name="T59" fmla="*/ 2147483647 h 1500"/>
                <a:gd name="T60" fmla="*/ 2147483647 w 1362"/>
                <a:gd name="T61" fmla="*/ 2147483647 h 1500"/>
                <a:gd name="T62" fmla="*/ 2147483647 w 1362"/>
                <a:gd name="T63" fmla="*/ 2147483647 h 1500"/>
                <a:gd name="T64" fmla="*/ 2147483647 w 1362"/>
                <a:gd name="T65" fmla="*/ 2147483647 h 1500"/>
                <a:gd name="T66" fmla="*/ 2147483647 w 1362"/>
                <a:gd name="T67" fmla="*/ 2147483647 h 1500"/>
                <a:gd name="T68" fmla="*/ 2147483647 w 1362"/>
                <a:gd name="T69" fmla="*/ 2147483647 h 1500"/>
                <a:gd name="T70" fmla="*/ 2147483647 w 1362"/>
                <a:gd name="T71" fmla="*/ 2147483647 h 1500"/>
                <a:gd name="T72" fmla="*/ 2147483647 w 1362"/>
                <a:gd name="T73" fmla="*/ 2147483647 h 1500"/>
                <a:gd name="T74" fmla="*/ 2147483647 w 1362"/>
                <a:gd name="T75" fmla="*/ 2147483647 h 1500"/>
                <a:gd name="T76" fmla="*/ 2147483647 w 1362"/>
                <a:gd name="T77" fmla="*/ 2147483647 h 1500"/>
                <a:gd name="T78" fmla="*/ 2147483647 w 1362"/>
                <a:gd name="T79" fmla="*/ 2147483647 h 1500"/>
                <a:gd name="T80" fmla="*/ 2147483647 w 1362"/>
                <a:gd name="T81" fmla="*/ 2147483647 h 1500"/>
                <a:gd name="T82" fmla="*/ 2147483647 w 1362"/>
                <a:gd name="T83" fmla="*/ 2147483647 h 1500"/>
                <a:gd name="T84" fmla="*/ 2147483647 w 1362"/>
                <a:gd name="T85" fmla="*/ 2147483647 h 1500"/>
                <a:gd name="T86" fmla="*/ 2147483647 w 1362"/>
                <a:gd name="T87" fmla="*/ 2147483647 h 1500"/>
                <a:gd name="T88" fmla="*/ 2147483647 w 1362"/>
                <a:gd name="T89" fmla="*/ 2147483647 h 1500"/>
                <a:gd name="T90" fmla="*/ 2147483647 w 1362"/>
                <a:gd name="T91" fmla="*/ 2147483647 h 1500"/>
                <a:gd name="T92" fmla="*/ 2147483647 w 1362"/>
                <a:gd name="T93" fmla="*/ 2147483647 h 1500"/>
                <a:gd name="T94" fmla="*/ 2147483647 w 1362"/>
                <a:gd name="T95" fmla="*/ 2147483647 h 1500"/>
                <a:gd name="T96" fmla="*/ 2147483647 w 1362"/>
                <a:gd name="T97" fmla="*/ 2147483647 h 1500"/>
                <a:gd name="T98" fmla="*/ 2147483647 w 1362"/>
                <a:gd name="T99" fmla="*/ 2147483647 h 1500"/>
                <a:gd name="T100" fmla="*/ 2147483647 w 1362"/>
                <a:gd name="T101" fmla="*/ 2147483647 h 1500"/>
                <a:gd name="T102" fmla="*/ 2147483647 w 1362"/>
                <a:gd name="T103" fmla="*/ 2147483647 h 1500"/>
                <a:gd name="T104" fmla="*/ 2147483647 w 1362"/>
                <a:gd name="T105" fmla="*/ 2147483647 h 1500"/>
                <a:gd name="T106" fmla="*/ 2147483647 w 1362"/>
                <a:gd name="T107" fmla="*/ 2147483647 h 1500"/>
                <a:gd name="T108" fmla="*/ 2147483647 w 1362"/>
                <a:gd name="T109" fmla="*/ 2147483647 h 1500"/>
                <a:gd name="T110" fmla="*/ 2147483647 w 1362"/>
                <a:gd name="T111" fmla="*/ 2147483647 h 1500"/>
                <a:gd name="T112" fmla="*/ 2147483647 w 1362"/>
                <a:gd name="T113" fmla="*/ 2147483647 h 1500"/>
                <a:gd name="T114" fmla="*/ 2147483647 w 1362"/>
                <a:gd name="T115" fmla="*/ 2147483647 h 15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62"/>
                <a:gd name="T175" fmla="*/ 0 h 1500"/>
                <a:gd name="T176" fmla="*/ 1362 w 1362"/>
                <a:gd name="T177" fmla="*/ 1500 h 15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62" h="1500">
                  <a:moveTo>
                    <a:pt x="324" y="120"/>
                  </a:moveTo>
                  <a:lnTo>
                    <a:pt x="336" y="126"/>
                  </a:lnTo>
                  <a:lnTo>
                    <a:pt x="354" y="132"/>
                  </a:lnTo>
                  <a:lnTo>
                    <a:pt x="378" y="132"/>
                  </a:lnTo>
                  <a:lnTo>
                    <a:pt x="294" y="90"/>
                  </a:lnTo>
                  <a:lnTo>
                    <a:pt x="294" y="102"/>
                  </a:lnTo>
                  <a:lnTo>
                    <a:pt x="306" y="108"/>
                  </a:lnTo>
                  <a:lnTo>
                    <a:pt x="312" y="114"/>
                  </a:lnTo>
                  <a:lnTo>
                    <a:pt x="324" y="120"/>
                  </a:lnTo>
                  <a:close/>
                  <a:moveTo>
                    <a:pt x="684" y="48"/>
                  </a:moveTo>
                  <a:lnTo>
                    <a:pt x="732" y="48"/>
                  </a:lnTo>
                  <a:lnTo>
                    <a:pt x="738" y="54"/>
                  </a:lnTo>
                  <a:lnTo>
                    <a:pt x="750" y="54"/>
                  </a:lnTo>
                  <a:lnTo>
                    <a:pt x="774" y="66"/>
                  </a:lnTo>
                  <a:lnTo>
                    <a:pt x="786" y="66"/>
                  </a:lnTo>
                  <a:lnTo>
                    <a:pt x="798" y="60"/>
                  </a:lnTo>
                  <a:lnTo>
                    <a:pt x="804" y="60"/>
                  </a:lnTo>
                  <a:lnTo>
                    <a:pt x="816" y="54"/>
                  </a:lnTo>
                  <a:lnTo>
                    <a:pt x="828" y="54"/>
                  </a:lnTo>
                  <a:lnTo>
                    <a:pt x="840" y="60"/>
                  </a:lnTo>
                  <a:lnTo>
                    <a:pt x="876" y="72"/>
                  </a:lnTo>
                  <a:lnTo>
                    <a:pt x="888" y="78"/>
                  </a:lnTo>
                  <a:lnTo>
                    <a:pt x="894" y="84"/>
                  </a:lnTo>
                  <a:lnTo>
                    <a:pt x="900" y="84"/>
                  </a:lnTo>
                  <a:lnTo>
                    <a:pt x="924" y="60"/>
                  </a:lnTo>
                  <a:lnTo>
                    <a:pt x="984" y="66"/>
                  </a:lnTo>
                  <a:lnTo>
                    <a:pt x="984" y="42"/>
                  </a:lnTo>
                  <a:lnTo>
                    <a:pt x="1014" y="42"/>
                  </a:lnTo>
                  <a:lnTo>
                    <a:pt x="1026" y="36"/>
                  </a:lnTo>
                  <a:lnTo>
                    <a:pt x="1032" y="24"/>
                  </a:lnTo>
                  <a:lnTo>
                    <a:pt x="1038" y="18"/>
                  </a:lnTo>
                  <a:lnTo>
                    <a:pt x="1032" y="12"/>
                  </a:lnTo>
                  <a:lnTo>
                    <a:pt x="1002" y="12"/>
                  </a:lnTo>
                  <a:lnTo>
                    <a:pt x="990" y="18"/>
                  </a:lnTo>
                  <a:lnTo>
                    <a:pt x="984" y="18"/>
                  </a:lnTo>
                  <a:lnTo>
                    <a:pt x="972" y="6"/>
                  </a:lnTo>
                  <a:lnTo>
                    <a:pt x="960" y="0"/>
                  </a:lnTo>
                  <a:lnTo>
                    <a:pt x="918" y="0"/>
                  </a:lnTo>
                  <a:lnTo>
                    <a:pt x="900" y="6"/>
                  </a:lnTo>
                  <a:lnTo>
                    <a:pt x="882" y="18"/>
                  </a:lnTo>
                  <a:lnTo>
                    <a:pt x="870" y="18"/>
                  </a:lnTo>
                  <a:lnTo>
                    <a:pt x="864" y="12"/>
                  </a:lnTo>
                  <a:lnTo>
                    <a:pt x="864" y="6"/>
                  </a:lnTo>
                  <a:lnTo>
                    <a:pt x="858" y="6"/>
                  </a:lnTo>
                  <a:lnTo>
                    <a:pt x="852" y="0"/>
                  </a:lnTo>
                  <a:lnTo>
                    <a:pt x="822" y="0"/>
                  </a:lnTo>
                  <a:lnTo>
                    <a:pt x="804" y="18"/>
                  </a:lnTo>
                  <a:lnTo>
                    <a:pt x="738" y="0"/>
                  </a:lnTo>
                  <a:lnTo>
                    <a:pt x="726" y="0"/>
                  </a:lnTo>
                  <a:lnTo>
                    <a:pt x="708" y="6"/>
                  </a:lnTo>
                  <a:lnTo>
                    <a:pt x="690" y="6"/>
                  </a:lnTo>
                  <a:lnTo>
                    <a:pt x="672" y="12"/>
                  </a:lnTo>
                  <a:lnTo>
                    <a:pt x="660" y="12"/>
                  </a:lnTo>
                  <a:lnTo>
                    <a:pt x="660" y="6"/>
                  </a:lnTo>
                  <a:lnTo>
                    <a:pt x="666" y="0"/>
                  </a:lnTo>
                  <a:lnTo>
                    <a:pt x="630" y="12"/>
                  </a:lnTo>
                  <a:lnTo>
                    <a:pt x="648" y="36"/>
                  </a:lnTo>
                  <a:lnTo>
                    <a:pt x="684" y="48"/>
                  </a:lnTo>
                  <a:close/>
                  <a:moveTo>
                    <a:pt x="324" y="66"/>
                  </a:moveTo>
                  <a:lnTo>
                    <a:pt x="342" y="66"/>
                  </a:lnTo>
                  <a:lnTo>
                    <a:pt x="348" y="72"/>
                  </a:lnTo>
                  <a:lnTo>
                    <a:pt x="360" y="72"/>
                  </a:lnTo>
                  <a:lnTo>
                    <a:pt x="360" y="78"/>
                  </a:lnTo>
                  <a:lnTo>
                    <a:pt x="342" y="96"/>
                  </a:lnTo>
                  <a:lnTo>
                    <a:pt x="336" y="96"/>
                  </a:lnTo>
                  <a:lnTo>
                    <a:pt x="378" y="114"/>
                  </a:lnTo>
                  <a:lnTo>
                    <a:pt x="390" y="120"/>
                  </a:lnTo>
                  <a:lnTo>
                    <a:pt x="396" y="126"/>
                  </a:lnTo>
                  <a:lnTo>
                    <a:pt x="414" y="126"/>
                  </a:lnTo>
                  <a:lnTo>
                    <a:pt x="426" y="132"/>
                  </a:lnTo>
                  <a:lnTo>
                    <a:pt x="438" y="132"/>
                  </a:lnTo>
                  <a:lnTo>
                    <a:pt x="462" y="108"/>
                  </a:lnTo>
                  <a:lnTo>
                    <a:pt x="504" y="96"/>
                  </a:lnTo>
                  <a:lnTo>
                    <a:pt x="534" y="120"/>
                  </a:lnTo>
                  <a:lnTo>
                    <a:pt x="528" y="120"/>
                  </a:lnTo>
                  <a:lnTo>
                    <a:pt x="516" y="126"/>
                  </a:lnTo>
                  <a:lnTo>
                    <a:pt x="504" y="126"/>
                  </a:lnTo>
                  <a:lnTo>
                    <a:pt x="480" y="132"/>
                  </a:lnTo>
                  <a:lnTo>
                    <a:pt x="468" y="138"/>
                  </a:lnTo>
                  <a:lnTo>
                    <a:pt x="456" y="150"/>
                  </a:lnTo>
                  <a:lnTo>
                    <a:pt x="486" y="150"/>
                  </a:lnTo>
                  <a:lnTo>
                    <a:pt x="498" y="156"/>
                  </a:lnTo>
                  <a:lnTo>
                    <a:pt x="522" y="156"/>
                  </a:lnTo>
                  <a:lnTo>
                    <a:pt x="516" y="162"/>
                  </a:lnTo>
                  <a:lnTo>
                    <a:pt x="504" y="162"/>
                  </a:lnTo>
                  <a:lnTo>
                    <a:pt x="486" y="168"/>
                  </a:lnTo>
                  <a:lnTo>
                    <a:pt x="474" y="174"/>
                  </a:lnTo>
                  <a:lnTo>
                    <a:pt x="468" y="180"/>
                  </a:lnTo>
                  <a:lnTo>
                    <a:pt x="462" y="180"/>
                  </a:lnTo>
                  <a:lnTo>
                    <a:pt x="516" y="198"/>
                  </a:lnTo>
                  <a:lnTo>
                    <a:pt x="522" y="198"/>
                  </a:lnTo>
                  <a:lnTo>
                    <a:pt x="528" y="204"/>
                  </a:lnTo>
                  <a:lnTo>
                    <a:pt x="540" y="210"/>
                  </a:lnTo>
                  <a:lnTo>
                    <a:pt x="558" y="210"/>
                  </a:lnTo>
                  <a:lnTo>
                    <a:pt x="576" y="216"/>
                  </a:lnTo>
                  <a:lnTo>
                    <a:pt x="594" y="210"/>
                  </a:lnTo>
                  <a:lnTo>
                    <a:pt x="606" y="204"/>
                  </a:lnTo>
                  <a:lnTo>
                    <a:pt x="612" y="204"/>
                  </a:lnTo>
                  <a:lnTo>
                    <a:pt x="618" y="198"/>
                  </a:lnTo>
                  <a:lnTo>
                    <a:pt x="612" y="192"/>
                  </a:lnTo>
                  <a:lnTo>
                    <a:pt x="612" y="186"/>
                  </a:lnTo>
                  <a:lnTo>
                    <a:pt x="606" y="180"/>
                  </a:lnTo>
                  <a:lnTo>
                    <a:pt x="606" y="174"/>
                  </a:lnTo>
                  <a:lnTo>
                    <a:pt x="612" y="168"/>
                  </a:lnTo>
                  <a:lnTo>
                    <a:pt x="618" y="168"/>
                  </a:lnTo>
                  <a:lnTo>
                    <a:pt x="630" y="162"/>
                  </a:lnTo>
                  <a:lnTo>
                    <a:pt x="648" y="162"/>
                  </a:lnTo>
                  <a:lnTo>
                    <a:pt x="648" y="144"/>
                  </a:lnTo>
                  <a:lnTo>
                    <a:pt x="678" y="132"/>
                  </a:lnTo>
                  <a:lnTo>
                    <a:pt x="690" y="102"/>
                  </a:lnTo>
                  <a:lnTo>
                    <a:pt x="714" y="114"/>
                  </a:lnTo>
                  <a:lnTo>
                    <a:pt x="738" y="102"/>
                  </a:lnTo>
                  <a:lnTo>
                    <a:pt x="750" y="114"/>
                  </a:lnTo>
                  <a:lnTo>
                    <a:pt x="762" y="120"/>
                  </a:lnTo>
                  <a:lnTo>
                    <a:pt x="780" y="126"/>
                  </a:lnTo>
                  <a:lnTo>
                    <a:pt x="792" y="138"/>
                  </a:lnTo>
                  <a:lnTo>
                    <a:pt x="792" y="144"/>
                  </a:lnTo>
                  <a:lnTo>
                    <a:pt x="786" y="150"/>
                  </a:lnTo>
                  <a:lnTo>
                    <a:pt x="786" y="162"/>
                  </a:lnTo>
                  <a:lnTo>
                    <a:pt x="774" y="174"/>
                  </a:lnTo>
                  <a:lnTo>
                    <a:pt x="828" y="174"/>
                  </a:lnTo>
                  <a:lnTo>
                    <a:pt x="834" y="180"/>
                  </a:lnTo>
                  <a:lnTo>
                    <a:pt x="846" y="186"/>
                  </a:lnTo>
                  <a:lnTo>
                    <a:pt x="852" y="192"/>
                  </a:lnTo>
                  <a:lnTo>
                    <a:pt x="858" y="192"/>
                  </a:lnTo>
                  <a:lnTo>
                    <a:pt x="864" y="186"/>
                  </a:lnTo>
                  <a:lnTo>
                    <a:pt x="876" y="186"/>
                  </a:lnTo>
                  <a:lnTo>
                    <a:pt x="894" y="174"/>
                  </a:lnTo>
                  <a:lnTo>
                    <a:pt x="906" y="168"/>
                  </a:lnTo>
                  <a:lnTo>
                    <a:pt x="924" y="162"/>
                  </a:lnTo>
                  <a:lnTo>
                    <a:pt x="936" y="156"/>
                  </a:lnTo>
                  <a:lnTo>
                    <a:pt x="942" y="150"/>
                  </a:lnTo>
                  <a:lnTo>
                    <a:pt x="942" y="144"/>
                  </a:lnTo>
                  <a:lnTo>
                    <a:pt x="936" y="144"/>
                  </a:lnTo>
                  <a:lnTo>
                    <a:pt x="924" y="138"/>
                  </a:lnTo>
                  <a:lnTo>
                    <a:pt x="888" y="138"/>
                  </a:lnTo>
                  <a:lnTo>
                    <a:pt x="882" y="120"/>
                  </a:lnTo>
                  <a:lnTo>
                    <a:pt x="828" y="114"/>
                  </a:lnTo>
                  <a:lnTo>
                    <a:pt x="828" y="96"/>
                  </a:lnTo>
                  <a:lnTo>
                    <a:pt x="798" y="102"/>
                  </a:lnTo>
                  <a:lnTo>
                    <a:pt x="798" y="84"/>
                  </a:lnTo>
                  <a:lnTo>
                    <a:pt x="726" y="84"/>
                  </a:lnTo>
                  <a:lnTo>
                    <a:pt x="720" y="72"/>
                  </a:lnTo>
                  <a:lnTo>
                    <a:pt x="684" y="72"/>
                  </a:lnTo>
                  <a:lnTo>
                    <a:pt x="678" y="60"/>
                  </a:lnTo>
                  <a:lnTo>
                    <a:pt x="654" y="48"/>
                  </a:lnTo>
                  <a:lnTo>
                    <a:pt x="624" y="48"/>
                  </a:lnTo>
                  <a:lnTo>
                    <a:pt x="624" y="30"/>
                  </a:lnTo>
                  <a:lnTo>
                    <a:pt x="618" y="30"/>
                  </a:lnTo>
                  <a:lnTo>
                    <a:pt x="612" y="24"/>
                  </a:lnTo>
                  <a:lnTo>
                    <a:pt x="540" y="24"/>
                  </a:lnTo>
                  <a:lnTo>
                    <a:pt x="534" y="30"/>
                  </a:lnTo>
                  <a:lnTo>
                    <a:pt x="534" y="36"/>
                  </a:lnTo>
                  <a:lnTo>
                    <a:pt x="540" y="42"/>
                  </a:lnTo>
                  <a:lnTo>
                    <a:pt x="546" y="54"/>
                  </a:lnTo>
                  <a:lnTo>
                    <a:pt x="564" y="72"/>
                  </a:lnTo>
                  <a:lnTo>
                    <a:pt x="552" y="66"/>
                  </a:lnTo>
                  <a:lnTo>
                    <a:pt x="546" y="60"/>
                  </a:lnTo>
                  <a:lnTo>
                    <a:pt x="528" y="48"/>
                  </a:lnTo>
                  <a:lnTo>
                    <a:pt x="492" y="30"/>
                  </a:lnTo>
                  <a:lnTo>
                    <a:pt x="480" y="30"/>
                  </a:lnTo>
                  <a:lnTo>
                    <a:pt x="474" y="36"/>
                  </a:lnTo>
                  <a:lnTo>
                    <a:pt x="468" y="48"/>
                  </a:lnTo>
                  <a:lnTo>
                    <a:pt x="462" y="54"/>
                  </a:lnTo>
                  <a:lnTo>
                    <a:pt x="450" y="54"/>
                  </a:lnTo>
                  <a:lnTo>
                    <a:pt x="438" y="48"/>
                  </a:lnTo>
                  <a:lnTo>
                    <a:pt x="420" y="48"/>
                  </a:lnTo>
                  <a:lnTo>
                    <a:pt x="420" y="42"/>
                  </a:lnTo>
                  <a:lnTo>
                    <a:pt x="426" y="42"/>
                  </a:lnTo>
                  <a:lnTo>
                    <a:pt x="438" y="30"/>
                  </a:lnTo>
                  <a:lnTo>
                    <a:pt x="384" y="30"/>
                  </a:lnTo>
                  <a:lnTo>
                    <a:pt x="372" y="42"/>
                  </a:lnTo>
                  <a:lnTo>
                    <a:pt x="366" y="30"/>
                  </a:lnTo>
                  <a:lnTo>
                    <a:pt x="354" y="30"/>
                  </a:lnTo>
                  <a:lnTo>
                    <a:pt x="318" y="48"/>
                  </a:lnTo>
                  <a:lnTo>
                    <a:pt x="318" y="60"/>
                  </a:lnTo>
                  <a:lnTo>
                    <a:pt x="324" y="66"/>
                  </a:lnTo>
                  <a:close/>
                  <a:moveTo>
                    <a:pt x="642" y="708"/>
                  </a:moveTo>
                  <a:lnTo>
                    <a:pt x="666" y="696"/>
                  </a:lnTo>
                  <a:lnTo>
                    <a:pt x="666" y="690"/>
                  </a:lnTo>
                  <a:lnTo>
                    <a:pt x="678" y="690"/>
                  </a:lnTo>
                  <a:lnTo>
                    <a:pt x="678" y="678"/>
                  </a:lnTo>
                  <a:lnTo>
                    <a:pt x="672" y="672"/>
                  </a:lnTo>
                  <a:lnTo>
                    <a:pt x="630" y="690"/>
                  </a:lnTo>
                  <a:lnTo>
                    <a:pt x="642" y="708"/>
                  </a:lnTo>
                  <a:close/>
                  <a:moveTo>
                    <a:pt x="774" y="648"/>
                  </a:moveTo>
                  <a:lnTo>
                    <a:pt x="780" y="642"/>
                  </a:lnTo>
                  <a:lnTo>
                    <a:pt x="786" y="642"/>
                  </a:lnTo>
                  <a:lnTo>
                    <a:pt x="792" y="636"/>
                  </a:lnTo>
                  <a:lnTo>
                    <a:pt x="792" y="630"/>
                  </a:lnTo>
                  <a:lnTo>
                    <a:pt x="786" y="624"/>
                  </a:lnTo>
                  <a:lnTo>
                    <a:pt x="774" y="624"/>
                  </a:lnTo>
                  <a:lnTo>
                    <a:pt x="768" y="630"/>
                  </a:lnTo>
                  <a:lnTo>
                    <a:pt x="768" y="642"/>
                  </a:lnTo>
                  <a:lnTo>
                    <a:pt x="774" y="648"/>
                  </a:lnTo>
                  <a:close/>
                  <a:moveTo>
                    <a:pt x="594" y="696"/>
                  </a:moveTo>
                  <a:lnTo>
                    <a:pt x="576" y="696"/>
                  </a:lnTo>
                  <a:lnTo>
                    <a:pt x="552" y="708"/>
                  </a:lnTo>
                  <a:lnTo>
                    <a:pt x="546" y="714"/>
                  </a:lnTo>
                  <a:lnTo>
                    <a:pt x="570" y="720"/>
                  </a:lnTo>
                  <a:lnTo>
                    <a:pt x="576" y="714"/>
                  </a:lnTo>
                  <a:lnTo>
                    <a:pt x="588" y="714"/>
                  </a:lnTo>
                  <a:lnTo>
                    <a:pt x="600" y="702"/>
                  </a:lnTo>
                  <a:lnTo>
                    <a:pt x="594" y="696"/>
                  </a:lnTo>
                  <a:close/>
                  <a:moveTo>
                    <a:pt x="918" y="612"/>
                  </a:moveTo>
                  <a:lnTo>
                    <a:pt x="936" y="618"/>
                  </a:lnTo>
                  <a:lnTo>
                    <a:pt x="942" y="606"/>
                  </a:lnTo>
                  <a:lnTo>
                    <a:pt x="948" y="600"/>
                  </a:lnTo>
                  <a:lnTo>
                    <a:pt x="948" y="594"/>
                  </a:lnTo>
                  <a:lnTo>
                    <a:pt x="918" y="594"/>
                  </a:lnTo>
                  <a:lnTo>
                    <a:pt x="918" y="612"/>
                  </a:lnTo>
                  <a:close/>
                  <a:moveTo>
                    <a:pt x="486" y="756"/>
                  </a:moveTo>
                  <a:lnTo>
                    <a:pt x="474" y="756"/>
                  </a:lnTo>
                  <a:lnTo>
                    <a:pt x="438" y="774"/>
                  </a:lnTo>
                  <a:lnTo>
                    <a:pt x="432" y="780"/>
                  </a:lnTo>
                  <a:lnTo>
                    <a:pt x="432" y="786"/>
                  </a:lnTo>
                  <a:lnTo>
                    <a:pt x="444" y="786"/>
                  </a:lnTo>
                  <a:lnTo>
                    <a:pt x="456" y="780"/>
                  </a:lnTo>
                  <a:lnTo>
                    <a:pt x="462" y="774"/>
                  </a:lnTo>
                  <a:lnTo>
                    <a:pt x="474" y="768"/>
                  </a:lnTo>
                  <a:lnTo>
                    <a:pt x="510" y="768"/>
                  </a:lnTo>
                  <a:lnTo>
                    <a:pt x="510" y="762"/>
                  </a:lnTo>
                  <a:lnTo>
                    <a:pt x="504" y="762"/>
                  </a:lnTo>
                  <a:lnTo>
                    <a:pt x="504" y="756"/>
                  </a:lnTo>
                  <a:lnTo>
                    <a:pt x="486" y="756"/>
                  </a:lnTo>
                  <a:close/>
                  <a:moveTo>
                    <a:pt x="1356" y="660"/>
                  </a:moveTo>
                  <a:lnTo>
                    <a:pt x="1326" y="666"/>
                  </a:lnTo>
                  <a:lnTo>
                    <a:pt x="1290" y="654"/>
                  </a:lnTo>
                  <a:lnTo>
                    <a:pt x="1260" y="642"/>
                  </a:lnTo>
                  <a:lnTo>
                    <a:pt x="1302" y="642"/>
                  </a:lnTo>
                  <a:lnTo>
                    <a:pt x="1326" y="630"/>
                  </a:lnTo>
                  <a:lnTo>
                    <a:pt x="1344" y="630"/>
                  </a:lnTo>
                  <a:lnTo>
                    <a:pt x="1350" y="624"/>
                  </a:lnTo>
                  <a:lnTo>
                    <a:pt x="1356" y="624"/>
                  </a:lnTo>
                  <a:lnTo>
                    <a:pt x="1344" y="618"/>
                  </a:lnTo>
                  <a:lnTo>
                    <a:pt x="1338" y="612"/>
                  </a:lnTo>
                  <a:lnTo>
                    <a:pt x="1320" y="606"/>
                  </a:lnTo>
                  <a:lnTo>
                    <a:pt x="1308" y="600"/>
                  </a:lnTo>
                  <a:lnTo>
                    <a:pt x="1284" y="600"/>
                  </a:lnTo>
                  <a:lnTo>
                    <a:pt x="1260" y="588"/>
                  </a:lnTo>
                  <a:lnTo>
                    <a:pt x="1254" y="588"/>
                  </a:lnTo>
                  <a:lnTo>
                    <a:pt x="1242" y="582"/>
                  </a:lnTo>
                  <a:lnTo>
                    <a:pt x="1242" y="588"/>
                  </a:lnTo>
                  <a:lnTo>
                    <a:pt x="1236" y="594"/>
                  </a:lnTo>
                  <a:lnTo>
                    <a:pt x="1236" y="600"/>
                  </a:lnTo>
                  <a:lnTo>
                    <a:pt x="1218" y="618"/>
                  </a:lnTo>
                  <a:lnTo>
                    <a:pt x="1206" y="618"/>
                  </a:lnTo>
                  <a:lnTo>
                    <a:pt x="1200" y="612"/>
                  </a:lnTo>
                  <a:lnTo>
                    <a:pt x="1224" y="588"/>
                  </a:lnTo>
                  <a:lnTo>
                    <a:pt x="1158" y="564"/>
                  </a:lnTo>
                  <a:lnTo>
                    <a:pt x="1158" y="576"/>
                  </a:lnTo>
                  <a:lnTo>
                    <a:pt x="1152" y="594"/>
                  </a:lnTo>
                  <a:lnTo>
                    <a:pt x="1134" y="630"/>
                  </a:lnTo>
                  <a:lnTo>
                    <a:pt x="1128" y="630"/>
                  </a:lnTo>
                  <a:lnTo>
                    <a:pt x="1122" y="624"/>
                  </a:lnTo>
                  <a:lnTo>
                    <a:pt x="1116" y="612"/>
                  </a:lnTo>
                  <a:lnTo>
                    <a:pt x="1116" y="594"/>
                  </a:lnTo>
                  <a:lnTo>
                    <a:pt x="1122" y="582"/>
                  </a:lnTo>
                  <a:lnTo>
                    <a:pt x="1116" y="594"/>
                  </a:lnTo>
                  <a:lnTo>
                    <a:pt x="1104" y="600"/>
                  </a:lnTo>
                  <a:lnTo>
                    <a:pt x="1080" y="624"/>
                  </a:lnTo>
                  <a:lnTo>
                    <a:pt x="1056" y="636"/>
                  </a:lnTo>
                  <a:lnTo>
                    <a:pt x="1050" y="636"/>
                  </a:lnTo>
                  <a:lnTo>
                    <a:pt x="1050" y="630"/>
                  </a:lnTo>
                  <a:lnTo>
                    <a:pt x="1056" y="618"/>
                  </a:lnTo>
                  <a:lnTo>
                    <a:pt x="1086" y="588"/>
                  </a:lnTo>
                  <a:lnTo>
                    <a:pt x="1092" y="576"/>
                  </a:lnTo>
                  <a:lnTo>
                    <a:pt x="1104" y="570"/>
                  </a:lnTo>
                  <a:lnTo>
                    <a:pt x="1068" y="570"/>
                  </a:lnTo>
                  <a:lnTo>
                    <a:pt x="1050" y="582"/>
                  </a:lnTo>
                  <a:lnTo>
                    <a:pt x="1026" y="582"/>
                  </a:lnTo>
                  <a:lnTo>
                    <a:pt x="984" y="606"/>
                  </a:lnTo>
                  <a:lnTo>
                    <a:pt x="960" y="606"/>
                  </a:lnTo>
                  <a:lnTo>
                    <a:pt x="954" y="636"/>
                  </a:lnTo>
                  <a:lnTo>
                    <a:pt x="918" y="624"/>
                  </a:lnTo>
                  <a:lnTo>
                    <a:pt x="882" y="630"/>
                  </a:lnTo>
                  <a:lnTo>
                    <a:pt x="894" y="660"/>
                  </a:lnTo>
                  <a:lnTo>
                    <a:pt x="846" y="648"/>
                  </a:lnTo>
                  <a:lnTo>
                    <a:pt x="828" y="654"/>
                  </a:lnTo>
                  <a:lnTo>
                    <a:pt x="834" y="678"/>
                  </a:lnTo>
                  <a:lnTo>
                    <a:pt x="792" y="690"/>
                  </a:lnTo>
                  <a:lnTo>
                    <a:pt x="792" y="654"/>
                  </a:lnTo>
                  <a:lnTo>
                    <a:pt x="762" y="654"/>
                  </a:lnTo>
                  <a:lnTo>
                    <a:pt x="774" y="678"/>
                  </a:lnTo>
                  <a:lnTo>
                    <a:pt x="750" y="660"/>
                  </a:lnTo>
                  <a:lnTo>
                    <a:pt x="750" y="690"/>
                  </a:lnTo>
                  <a:lnTo>
                    <a:pt x="726" y="690"/>
                  </a:lnTo>
                  <a:lnTo>
                    <a:pt x="726" y="660"/>
                  </a:lnTo>
                  <a:lnTo>
                    <a:pt x="738" y="654"/>
                  </a:lnTo>
                  <a:lnTo>
                    <a:pt x="744" y="648"/>
                  </a:lnTo>
                  <a:lnTo>
                    <a:pt x="708" y="642"/>
                  </a:lnTo>
                  <a:lnTo>
                    <a:pt x="708" y="684"/>
                  </a:lnTo>
                  <a:lnTo>
                    <a:pt x="678" y="696"/>
                  </a:lnTo>
                  <a:lnTo>
                    <a:pt x="696" y="708"/>
                  </a:lnTo>
                  <a:lnTo>
                    <a:pt x="660" y="714"/>
                  </a:lnTo>
                  <a:lnTo>
                    <a:pt x="672" y="726"/>
                  </a:lnTo>
                  <a:lnTo>
                    <a:pt x="630" y="726"/>
                  </a:lnTo>
                  <a:lnTo>
                    <a:pt x="630" y="738"/>
                  </a:lnTo>
                  <a:lnTo>
                    <a:pt x="660" y="750"/>
                  </a:lnTo>
                  <a:lnTo>
                    <a:pt x="654" y="762"/>
                  </a:lnTo>
                  <a:lnTo>
                    <a:pt x="618" y="744"/>
                  </a:lnTo>
                  <a:lnTo>
                    <a:pt x="600" y="750"/>
                  </a:lnTo>
                  <a:lnTo>
                    <a:pt x="624" y="762"/>
                  </a:lnTo>
                  <a:lnTo>
                    <a:pt x="606" y="780"/>
                  </a:lnTo>
                  <a:lnTo>
                    <a:pt x="594" y="762"/>
                  </a:lnTo>
                  <a:lnTo>
                    <a:pt x="576" y="768"/>
                  </a:lnTo>
                  <a:lnTo>
                    <a:pt x="576" y="780"/>
                  </a:lnTo>
                  <a:lnTo>
                    <a:pt x="546" y="780"/>
                  </a:lnTo>
                  <a:lnTo>
                    <a:pt x="540" y="792"/>
                  </a:lnTo>
                  <a:lnTo>
                    <a:pt x="564" y="804"/>
                  </a:lnTo>
                  <a:lnTo>
                    <a:pt x="564" y="822"/>
                  </a:lnTo>
                  <a:lnTo>
                    <a:pt x="528" y="810"/>
                  </a:lnTo>
                  <a:lnTo>
                    <a:pt x="522" y="822"/>
                  </a:lnTo>
                  <a:lnTo>
                    <a:pt x="552" y="834"/>
                  </a:lnTo>
                  <a:lnTo>
                    <a:pt x="504" y="834"/>
                  </a:lnTo>
                  <a:lnTo>
                    <a:pt x="504" y="852"/>
                  </a:lnTo>
                  <a:lnTo>
                    <a:pt x="492" y="846"/>
                  </a:lnTo>
                  <a:lnTo>
                    <a:pt x="486" y="846"/>
                  </a:lnTo>
                  <a:lnTo>
                    <a:pt x="474" y="852"/>
                  </a:lnTo>
                  <a:lnTo>
                    <a:pt x="468" y="858"/>
                  </a:lnTo>
                  <a:lnTo>
                    <a:pt x="456" y="858"/>
                  </a:lnTo>
                  <a:lnTo>
                    <a:pt x="456" y="870"/>
                  </a:lnTo>
                  <a:lnTo>
                    <a:pt x="462" y="876"/>
                  </a:lnTo>
                  <a:lnTo>
                    <a:pt x="456" y="876"/>
                  </a:lnTo>
                  <a:lnTo>
                    <a:pt x="450" y="882"/>
                  </a:lnTo>
                  <a:lnTo>
                    <a:pt x="444" y="882"/>
                  </a:lnTo>
                  <a:lnTo>
                    <a:pt x="444" y="900"/>
                  </a:lnTo>
                  <a:lnTo>
                    <a:pt x="480" y="900"/>
                  </a:lnTo>
                  <a:lnTo>
                    <a:pt x="468" y="912"/>
                  </a:lnTo>
                  <a:lnTo>
                    <a:pt x="432" y="906"/>
                  </a:lnTo>
                  <a:lnTo>
                    <a:pt x="420" y="912"/>
                  </a:lnTo>
                  <a:lnTo>
                    <a:pt x="414" y="918"/>
                  </a:lnTo>
                  <a:lnTo>
                    <a:pt x="414" y="930"/>
                  </a:lnTo>
                  <a:lnTo>
                    <a:pt x="420" y="936"/>
                  </a:lnTo>
                  <a:lnTo>
                    <a:pt x="420" y="948"/>
                  </a:lnTo>
                  <a:lnTo>
                    <a:pt x="408" y="954"/>
                  </a:lnTo>
                  <a:lnTo>
                    <a:pt x="390" y="954"/>
                  </a:lnTo>
                  <a:lnTo>
                    <a:pt x="390" y="972"/>
                  </a:lnTo>
                  <a:lnTo>
                    <a:pt x="408" y="990"/>
                  </a:lnTo>
                  <a:lnTo>
                    <a:pt x="408" y="996"/>
                  </a:lnTo>
                  <a:lnTo>
                    <a:pt x="402" y="1002"/>
                  </a:lnTo>
                  <a:lnTo>
                    <a:pt x="366" y="1002"/>
                  </a:lnTo>
                  <a:lnTo>
                    <a:pt x="360" y="1008"/>
                  </a:lnTo>
                  <a:lnTo>
                    <a:pt x="360" y="1026"/>
                  </a:lnTo>
                  <a:lnTo>
                    <a:pt x="354" y="1032"/>
                  </a:lnTo>
                  <a:lnTo>
                    <a:pt x="342" y="1032"/>
                  </a:lnTo>
                  <a:lnTo>
                    <a:pt x="336" y="1026"/>
                  </a:lnTo>
                  <a:lnTo>
                    <a:pt x="318" y="1026"/>
                  </a:lnTo>
                  <a:lnTo>
                    <a:pt x="294" y="1050"/>
                  </a:lnTo>
                  <a:lnTo>
                    <a:pt x="282" y="1050"/>
                  </a:lnTo>
                  <a:lnTo>
                    <a:pt x="270" y="1062"/>
                  </a:lnTo>
                  <a:lnTo>
                    <a:pt x="270" y="1068"/>
                  </a:lnTo>
                  <a:lnTo>
                    <a:pt x="276" y="1074"/>
                  </a:lnTo>
                  <a:lnTo>
                    <a:pt x="276" y="1080"/>
                  </a:lnTo>
                  <a:lnTo>
                    <a:pt x="264" y="1092"/>
                  </a:lnTo>
                  <a:lnTo>
                    <a:pt x="252" y="1092"/>
                  </a:lnTo>
                  <a:lnTo>
                    <a:pt x="246" y="1086"/>
                  </a:lnTo>
                  <a:lnTo>
                    <a:pt x="234" y="1080"/>
                  </a:lnTo>
                  <a:lnTo>
                    <a:pt x="234" y="1074"/>
                  </a:lnTo>
                  <a:lnTo>
                    <a:pt x="228" y="1074"/>
                  </a:lnTo>
                  <a:lnTo>
                    <a:pt x="204" y="1086"/>
                  </a:lnTo>
                  <a:lnTo>
                    <a:pt x="198" y="1092"/>
                  </a:lnTo>
                  <a:lnTo>
                    <a:pt x="180" y="1092"/>
                  </a:lnTo>
                  <a:lnTo>
                    <a:pt x="180" y="1110"/>
                  </a:lnTo>
                  <a:lnTo>
                    <a:pt x="186" y="1116"/>
                  </a:lnTo>
                  <a:lnTo>
                    <a:pt x="192" y="1116"/>
                  </a:lnTo>
                  <a:lnTo>
                    <a:pt x="192" y="1128"/>
                  </a:lnTo>
                  <a:lnTo>
                    <a:pt x="186" y="1128"/>
                  </a:lnTo>
                  <a:lnTo>
                    <a:pt x="174" y="1116"/>
                  </a:lnTo>
                  <a:lnTo>
                    <a:pt x="162" y="1116"/>
                  </a:lnTo>
                  <a:lnTo>
                    <a:pt x="156" y="1122"/>
                  </a:lnTo>
                  <a:lnTo>
                    <a:pt x="156" y="1134"/>
                  </a:lnTo>
                  <a:lnTo>
                    <a:pt x="168" y="1134"/>
                  </a:lnTo>
                  <a:lnTo>
                    <a:pt x="174" y="1140"/>
                  </a:lnTo>
                  <a:lnTo>
                    <a:pt x="180" y="1140"/>
                  </a:lnTo>
                  <a:lnTo>
                    <a:pt x="180" y="1152"/>
                  </a:lnTo>
                  <a:lnTo>
                    <a:pt x="138" y="1152"/>
                  </a:lnTo>
                  <a:lnTo>
                    <a:pt x="138" y="1146"/>
                  </a:lnTo>
                  <a:lnTo>
                    <a:pt x="132" y="1146"/>
                  </a:lnTo>
                  <a:lnTo>
                    <a:pt x="126" y="1158"/>
                  </a:lnTo>
                  <a:lnTo>
                    <a:pt x="126" y="1170"/>
                  </a:lnTo>
                  <a:lnTo>
                    <a:pt x="120" y="1164"/>
                  </a:lnTo>
                  <a:lnTo>
                    <a:pt x="102" y="1164"/>
                  </a:lnTo>
                  <a:lnTo>
                    <a:pt x="96" y="1158"/>
                  </a:lnTo>
                  <a:lnTo>
                    <a:pt x="90" y="1158"/>
                  </a:lnTo>
                  <a:lnTo>
                    <a:pt x="90" y="1164"/>
                  </a:lnTo>
                  <a:lnTo>
                    <a:pt x="96" y="1170"/>
                  </a:lnTo>
                  <a:lnTo>
                    <a:pt x="120" y="1182"/>
                  </a:lnTo>
                  <a:lnTo>
                    <a:pt x="132" y="1182"/>
                  </a:lnTo>
                  <a:lnTo>
                    <a:pt x="108" y="1200"/>
                  </a:lnTo>
                  <a:lnTo>
                    <a:pt x="108" y="1188"/>
                  </a:lnTo>
                  <a:lnTo>
                    <a:pt x="90" y="1188"/>
                  </a:lnTo>
                  <a:lnTo>
                    <a:pt x="84" y="1194"/>
                  </a:lnTo>
                  <a:lnTo>
                    <a:pt x="60" y="1182"/>
                  </a:lnTo>
                  <a:lnTo>
                    <a:pt x="54" y="1194"/>
                  </a:lnTo>
                  <a:lnTo>
                    <a:pt x="66" y="1200"/>
                  </a:lnTo>
                  <a:lnTo>
                    <a:pt x="30" y="1194"/>
                  </a:lnTo>
                  <a:lnTo>
                    <a:pt x="30" y="1212"/>
                  </a:lnTo>
                  <a:lnTo>
                    <a:pt x="78" y="1212"/>
                  </a:lnTo>
                  <a:lnTo>
                    <a:pt x="54" y="1218"/>
                  </a:lnTo>
                  <a:lnTo>
                    <a:pt x="18" y="1212"/>
                  </a:lnTo>
                  <a:lnTo>
                    <a:pt x="6" y="1224"/>
                  </a:lnTo>
                  <a:lnTo>
                    <a:pt x="6" y="1230"/>
                  </a:lnTo>
                  <a:lnTo>
                    <a:pt x="18" y="1242"/>
                  </a:lnTo>
                  <a:lnTo>
                    <a:pt x="36" y="1242"/>
                  </a:lnTo>
                  <a:lnTo>
                    <a:pt x="18" y="1248"/>
                  </a:lnTo>
                  <a:lnTo>
                    <a:pt x="12" y="1254"/>
                  </a:lnTo>
                  <a:lnTo>
                    <a:pt x="12" y="1260"/>
                  </a:lnTo>
                  <a:lnTo>
                    <a:pt x="66" y="1260"/>
                  </a:lnTo>
                  <a:lnTo>
                    <a:pt x="78" y="1272"/>
                  </a:lnTo>
                  <a:lnTo>
                    <a:pt x="96" y="1260"/>
                  </a:lnTo>
                  <a:lnTo>
                    <a:pt x="108" y="1272"/>
                  </a:lnTo>
                  <a:lnTo>
                    <a:pt x="138" y="1260"/>
                  </a:lnTo>
                  <a:lnTo>
                    <a:pt x="132" y="1266"/>
                  </a:lnTo>
                  <a:lnTo>
                    <a:pt x="126" y="1278"/>
                  </a:lnTo>
                  <a:lnTo>
                    <a:pt x="60" y="1278"/>
                  </a:lnTo>
                  <a:lnTo>
                    <a:pt x="54" y="1272"/>
                  </a:lnTo>
                  <a:lnTo>
                    <a:pt x="24" y="1272"/>
                  </a:lnTo>
                  <a:lnTo>
                    <a:pt x="12" y="1278"/>
                  </a:lnTo>
                  <a:lnTo>
                    <a:pt x="0" y="1278"/>
                  </a:lnTo>
                  <a:lnTo>
                    <a:pt x="6" y="1284"/>
                  </a:lnTo>
                  <a:lnTo>
                    <a:pt x="6" y="1296"/>
                  </a:lnTo>
                  <a:lnTo>
                    <a:pt x="12" y="1296"/>
                  </a:lnTo>
                  <a:lnTo>
                    <a:pt x="18" y="1302"/>
                  </a:lnTo>
                  <a:lnTo>
                    <a:pt x="30" y="1302"/>
                  </a:lnTo>
                  <a:lnTo>
                    <a:pt x="24" y="1308"/>
                  </a:lnTo>
                  <a:lnTo>
                    <a:pt x="18" y="1320"/>
                  </a:lnTo>
                  <a:lnTo>
                    <a:pt x="36" y="1338"/>
                  </a:lnTo>
                  <a:lnTo>
                    <a:pt x="48" y="1338"/>
                  </a:lnTo>
                  <a:lnTo>
                    <a:pt x="72" y="1320"/>
                  </a:lnTo>
                  <a:lnTo>
                    <a:pt x="102" y="1314"/>
                  </a:lnTo>
                  <a:lnTo>
                    <a:pt x="90" y="1338"/>
                  </a:lnTo>
                  <a:lnTo>
                    <a:pt x="78" y="1332"/>
                  </a:lnTo>
                  <a:lnTo>
                    <a:pt x="66" y="1350"/>
                  </a:lnTo>
                  <a:lnTo>
                    <a:pt x="30" y="1350"/>
                  </a:lnTo>
                  <a:lnTo>
                    <a:pt x="48" y="1368"/>
                  </a:lnTo>
                  <a:lnTo>
                    <a:pt x="24" y="1380"/>
                  </a:lnTo>
                  <a:lnTo>
                    <a:pt x="6" y="1380"/>
                  </a:lnTo>
                  <a:lnTo>
                    <a:pt x="6" y="1398"/>
                  </a:lnTo>
                  <a:lnTo>
                    <a:pt x="66" y="1398"/>
                  </a:lnTo>
                  <a:lnTo>
                    <a:pt x="54" y="1422"/>
                  </a:lnTo>
                  <a:lnTo>
                    <a:pt x="66" y="1422"/>
                  </a:lnTo>
                  <a:lnTo>
                    <a:pt x="54" y="1440"/>
                  </a:lnTo>
                  <a:lnTo>
                    <a:pt x="42" y="1434"/>
                  </a:lnTo>
                  <a:lnTo>
                    <a:pt x="36" y="1434"/>
                  </a:lnTo>
                  <a:lnTo>
                    <a:pt x="30" y="1428"/>
                  </a:lnTo>
                  <a:lnTo>
                    <a:pt x="18" y="1428"/>
                  </a:lnTo>
                  <a:lnTo>
                    <a:pt x="18" y="1440"/>
                  </a:lnTo>
                  <a:lnTo>
                    <a:pt x="24" y="1452"/>
                  </a:lnTo>
                  <a:lnTo>
                    <a:pt x="36" y="1464"/>
                  </a:lnTo>
                  <a:lnTo>
                    <a:pt x="84" y="1482"/>
                  </a:lnTo>
                  <a:lnTo>
                    <a:pt x="78" y="1488"/>
                  </a:lnTo>
                  <a:lnTo>
                    <a:pt x="84" y="1494"/>
                  </a:lnTo>
                  <a:lnTo>
                    <a:pt x="126" y="1494"/>
                  </a:lnTo>
                  <a:lnTo>
                    <a:pt x="132" y="1500"/>
                  </a:lnTo>
                  <a:lnTo>
                    <a:pt x="144" y="1500"/>
                  </a:lnTo>
                  <a:lnTo>
                    <a:pt x="192" y="1476"/>
                  </a:lnTo>
                  <a:lnTo>
                    <a:pt x="204" y="1464"/>
                  </a:lnTo>
                  <a:lnTo>
                    <a:pt x="216" y="1458"/>
                  </a:lnTo>
                  <a:lnTo>
                    <a:pt x="222" y="1452"/>
                  </a:lnTo>
                  <a:lnTo>
                    <a:pt x="258" y="1422"/>
                  </a:lnTo>
                  <a:lnTo>
                    <a:pt x="282" y="1422"/>
                  </a:lnTo>
                  <a:lnTo>
                    <a:pt x="294" y="1416"/>
                  </a:lnTo>
                  <a:lnTo>
                    <a:pt x="300" y="1410"/>
                  </a:lnTo>
                  <a:lnTo>
                    <a:pt x="300" y="1386"/>
                  </a:lnTo>
                  <a:lnTo>
                    <a:pt x="294" y="1380"/>
                  </a:lnTo>
                  <a:lnTo>
                    <a:pt x="294" y="1374"/>
                  </a:lnTo>
                  <a:lnTo>
                    <a:pt x="312" y="1368"/>
                  </a:lnTo>
                  <a:lnTo>
                    <a:pt x="306" y="1374"/>
                  </a:lnTo>
                  <a:lnTo>
                    <a:pt x="306" y="1380"/>
                  </a:lnTo>
                  <a:lnTo>
                    <a:pt x="300" y="1386"/>
                  </a:lnTo>
                  <a:lnTo>
                    <a:pt x="300" y="1392"/>
                  </a:lnTo>
                  <a:lnTo>
                    <a:pt x="312" y="1404"/>
                  </a:lnTo>
                  <a:lnTo>
                    <a:pt x="330" y="1410"/>
                  </a:lnTo>
                  <a:lnTo>
                    <a:pt x="342" y="1410"/>
                  </a:lnTo>
                  <a:lnTo>
                    <a:pt x="348" y="1416"/>
                  </a:lnTo>
                  <a:lnTo>
                    <a:pt x="354" y="1416"/>
                  </a:lnTo>
                  <a:lnTo>
                    <a:pt x="372" y="1434"/>
                  </a:lnTo>
                  <a:lnTo>
                    <a:pt x="378" y="1422"/>
                  </a:lnTo>
                  <a:lnTo>
                    <a:pt x="384" y="1416"/>
                  </a:lnTo>
                  <a:lnTo>
                    <a:pt x="384" y="1398"/>
                  </a:lnTo>
                  <a:lnTo>
                    <a:pt x="372" y="1386"/>
                  </a:lnTo>
                  <a:lnTo>
                    <a:pt x="372" y="1380"/>
                  </a:lnTo>
                  <a:lnTo>
                    <a:pt x="378" y="1374"/>
                  </a:lnTo>
                  <a:lnTo>
                    <a:pt x="384" y="1374"/>
                  </a:lnTo>
                  <a:lnTo>
                    <a:pt x="384" y="1368"/>
                  </a:lnTo>
                  <a:lnTo>
                    <a:pt x="378" y="1356"/>
                  </a:lnTo>
                  <a:lnTo>
                    <a:pt x="414" y="1356"/>
                  </a:lnTo>
                  <a:lnTo>
                    <a:pt x="420" y="1350"/>
                  </a:lnTo>
                  <a:lnTo>
                    <a:pt x="420" y="1326"/>
                  </a:lnTo>
                  <a:lnTo>
                    <a:pt x="426" y="1326"/>
                  </a:lnTo>
                  <a:lnTo>
                    <a:pt x="420" y="1314"/>
                  </a:lnTo>
                  <a:lnTo>
                    <a:pt x="420" y="1308"/>
                  </a:lnTo>
                  <a:lnTo>
                    <a:pt x="414" y="1302"/>
                  </a:lnTo>
                  <a:lnTo>
                    <a:pt x="414" y="1296"/>
                  </a:lnTo>
                  <a:lnTo>
                    <a:pt x="408" y="1284"/>
                  </a:lnTo>
                  <a:lnTo>
                    <a:pt x="402" y="1278"/>
                  </a:lnTo>
                  <a:lnTo>
                    <a:pt x="426" y="1272"/>
                  </a:lnTo>
                  <a:lnTo>
                    <a:pt x="438" y="1260"/>
                  </a:lnTo>
                  <a:lnTo>
                    <a:pt x="438" y="1248"/>
                  </a:lnTo>
                  <a:lnTo>
                    <a:pt x="420" y="1230"/>
                  </a:lnTo>
                  <a:lnTo>
                    <a:pt x="414" y="1230"/>
                  </a:lnTo>
                  <a:lnTo>
                    <a:pt x="402" y="1218"/>
                  </a:lnTo>
                  <a:lnTo>
                    <a:pt x="402" y="1200"/>
                  </a:lnTo>
                  <a:lnTo>
                    <a:pt x="408" y="1188"/>
                  </a:lnTo>
                  <a:lnTo>
                    <a:pt x="408" y="1176"/>
                  </a:lnTo>
                  <a:lnTo>
                    <a:pt x="384" y="1152"/>
                  </a:lnTo>
                  <a:lnTo>
                    <a:pt x="384" y="1140"/>
                  </a:lnTo>
                  <a:lnTo>
                    <a:pt x="390" y="1134"/>
                  </a:lnTo>
                  <a:lnTo>
                    <a:pt x="396" y="1134"/>
                  </a:lnTo>
                  <a:lnTo>
                    <a:pt x="402" y="1128"/>
                  </a:lnTo>
                  <a:lnTo>
                    <a:pt x="402" y="1122"/>
                  </a:lnTo>
                  <a:lnTo>
                    <a:pt x="396" y="1116"/>
                  </a:lnTo>
                  <a:lnTo>
                    <a:pt x="390" y="1116"/>
                  </a:lnTo>
                  <a:lnTo>
                    <a:pt x="384" y="1110"/>
                  </a:lnTo>
                  <a:lnTo>
                    <a:pt x="426" y="1068"/>
                  </a:lnTo>
                  <a:lnTo>
                    <a:pt x="438" y="1062"/>
                  </a:lnTo>
                  <a:lnTo>
                    <a:pt x="444" y="1056"/>
                  </a:lnTo>
                  <a:lnTo>
                    <a:pt x="456" y="1050"/>
                  </a:lnTo>
                  <a:lnTo>
                    <a:pt x="498" y="1050"/>
                  </a:lnTo>
                  <a:lnTo>
                    <a:pt x="504" y="1044"/>
                  </a:lnTo>
                  <a:lnTo>
                    <a:pt x="504" y="1038"/>
                  </a:lnTo>
                  <a:lnTo>
                    <a:pt x="486" y="1020"/>
                  </a:lnTo>
                  <a:lnTo>
                    <a:pt x="474" y="1014"/>
                  </a:lnTo>
                  <a:lnTo>
                    <a:pt x="486" y="1008"/>
                  </a:lnTo>
                  <a:lnTo>
                    <a:pt x="492" y="1008"/>
                  </a:lnTo>
                  <a:lnTo>
                    <a:pt x="522" y="978"/>
                  </a:lnTo>
                  <a:lnTo>
                    <a:pt x="528" y="936"/>
                  </a:lnTo>
                  <a:lnTo>
                    <a:pt x="528" y="900"/>
                  </a:lnTo>
                  <a:lnTo>
                    <a:pt x="546" y="912"/>
                  </a:lnTo>
                  <a:lnTo>
                    <a:pt x="558" y="906"/>
                  </a:lnTo>
                  <a:lnTo>
                    <a:pt x="564" y="906"/>
                  </a:lnTo>
                  <a:lnTo>
                    <a:pt x="570" y="900"/>
                  </a:lnTo>
                  <a:lnTo>
                    <a:pt x="576" y="900"/>
                  </a:lnTo>
                  <a:lnTo>
                    <a:pt x="576" y="894"/>
                  </a:lnTo>
                  <a:lnTo>
                    <a:pt x="570" y="888"/>
                  </a:lnTo>
                  <a:lnTo>
                    <a:pt x="570" y="882"/>
                  </a:lnTo>
                  <a:lnTo>
                    <a:pt x="564" y="876"/>
                  </a:lnTo>
                  <a:lnTo>
                    <a:pt x="582" y="876"/>
                  </a:lnTo>
                  <a:lnTo>
                    <a:pt x="588" y="870"/>
                  </a:lnTo>
                  <a:lnTo>
                    <a:pt x="588" y="864"/>
                  </a:lnTo>
                  <a:lnTo>
                    <a:pt x="594" y="858"/>
                  </a:lnTo>
                  <a:lnTo>
                    <a:pt x="606" y="852"/>
                  </a:lnTo>
                  <a:lnTo>
                    <a:pt x="612" y="852"/>
                  </a:lnTo>
                  <a:lnTo>
                    <a:pt x="618" y="834"/>
                  </a:lnTo>
                  <a:lnTo>
                    <a:pt x="612" y="828"/>
                  </a:lnTo>
                  <a:lnTo>
                    <a:pt x="600" y="822"/>
                  </a:lnTo>
                  <a:lnTo>
                    <a:pt x="600" y="810"/>
                  </a:lnTo>
                  <a:lnTo>
                    <a:pt x="606" y="810"/>
                  </a:lnTo>
                  <a:lnTo>
                    <a:pt x="618" y="804"/>
                  </a:lnTo>
                  <a:lnTo>
                    <a:pt x="636" y="786"/>
                  </a:lnTo>
                  <a:lnTo>
                    <a:pt x="678" y="780"/>
                  </a:lnTo>
                  <a:lnTo>
                    <a:pt x="696" y="780"/>
                  </a:lnTo>
                  <a:lnTo>
                    <a:pt x="702" y="774"/>
                  </a:lnTo>
                  <a:lnTo>
                    <a:pt x="702" y="744"/>
                  </a:lnTo>
                  <a:lnTo>
                    <a:pt x="714" y="732"/>
                  </a:lnTo>
                  <a:lnTo>
                    <a:pt x="720" y="738"/>
                  </a:lnTo>
                  <a:lnTo>
                    <a:pt x="720" y="750"/>
                  </a:lnTo>
                  <a:lnTo>
                    <a:pt x="744" y="744"/>
                  </a:lnTo>
                  <a:lnTo>
                    <a:pt x="768" y="750"/>
                  </a:lnTo>
                  <a:lnTo>
                    <a:pt x="792" y="750"/>
                  </a:lnTo>
                  <a:lnTo>
                    <a:pt x="798" y="756"/>
                  </a:lnTo>
                  <a:lnTo>
                    <a:pt x="810" y="756"/>
                  </a:lnTo>
                  <a:lnTo>
                    <a:pt x="816" y="750"/>
                  </a:lnTo>
                  <a:lnTo>
                    <a:pt x="810" y="750"/>
                  </a:lnTo>
                  <a:lnTo>
                    <a:pt x="798" y="738"/>
                  </a:lnTo>
                  <a:lnTo>
                    <a:pt x="798" y="732"/>
                  </a:lnTo>
                  <a:lnTo>
                    <a:pt x="810" y="732"/>
                  </a:lnTo>
                  <a:lnTo>
                    <a:pt x="810" y="708"/>
                  </a:lnTo>
                  <a:lnTo>
                    <a:pt x="840" y="714"/>
                  </a:lnTo>
                  <a:lnTo>
                    <a:pt x="834" y="708"/>
                  </a:lnTo>
                  <a:lnTo>
                    <a:pt x="840" y="702"/>
                  </a:lnTo>
                  <a:lnTo>
                    <a:pt x="858" y="708"/>
                  </a:lnTo>
                  <a:lnTo>
                    <a:pt x="858" y="696"/>
                  </a:lnTo>
                  <a:lnTo>
                    <a:pt x="864" y="690"/>
                  </a:lnTo>
                  <a:lnTo>
                    <a:pt x="882" y="690"/>
                  </a:lnTo>
                  <a:lnTo>
                    <a:pt x="888" y="696"/>
                  </a:lnTo>
                  <a:lnTo>
                    <a:pt x="894" y="708"/>
                  </a:lnTo>
                  <a:lnTo>
                    <a:pt x="906" y="714"/>
                  </a:lnTo>
                  <a:lnTo>
                    <a:pt x="918" y="726"/>
                  </a:lnTo>
                  <a:lnTo>
                    <a:pt x="930" y="726"/>
                  </a:lnTo>
                  <a:lnTo>
                    <a:pt x="942" y="732"/>
                  </a:lnTo>
                  <a:lnTo>
                    <a:pt x="960" y="732"/>
                  </a:lnTo>
                  <a:lnTo>
                    <a:pt x="966" y="738"/>
                  </a:lnTo>
                  <a:lnTo>
                    <a:pt x="978" y="738"/>
                  </a:lnTo>
                  <a:lnTo>
                    <a:pt x="990" y="732"/>
                  </a:lnTo>
                  <a:lnTo>
                    <a:pt x="996" y="726"/>
                  </a:lnTo>
                  <a:lnTo>
                    <a:pt x="1026" y="726"/>
                  </a:lnTo>
                  <a:lnTo>
                    <a:pt x="1038" y="732"/>
                  </a:lnTo>
                  <a:lnTo>
                    <a:pt x="1044" y="738"/>
                  </a:lnTo>
                  <a:lnTo>
                    <a:pt x="1062" y="738"/>
                  </a:lnTo>
                  <a:lnTo>
                    <a:pt x="1062" y="726"/>
                  </a:lnTo>
                  <a:lnTo>
                    <a:pt x="1068" y="720"/>
                  </a:lnTo>
                  <a:lnTo>
                    <a:pt x="1068" y="714"/>
                  </a:lnTo>
                  <a:lnTo>
                    <a:pt x="1092" y="714"/>
                  </a:lnTo>
                  <a:lnTo>
                    <a:pt x="1092" y="678"/>
                  </a:lnTo>
                  <a:lnTo>
                    <a:pt x="1098" y="672"/>
                  </a:lnTo>
                  <a:lnTo>
                    <a:pt x="1098" y="660"/>
                  </a:lnTo>
                  <a:lnTo>
                    <a:pt x="1110" y="654"/>
                  </a:lnTo>
                  <a:lnTo>
                    <a:pt x="1116" y="654"/>
                  </a:lnTo>
                  <a:lnTo>
                    <a:pt x="1128" y="648"/>
                  </a:lnTo>
                  <a:lnTo>
                    <a:pt x="1158" y="648"/>
                  </a:lnTo>
                  <a:lnTo>
                    <a:pt x="1170" y="642"/>
                  </a:lnTo>
                  <a:lnTo>
                    <a:pt x="1206" y="642"/>
                  </a:lnTo>
                  <a:lnTo>
                    <a:pt x="1206" y="654"/>
                  </a:lnTo>
                  <a:lnTo>
                    <a:pt x="1242" y="660"/>
                  </a:lnTo>
                  <a:lnTo>
                    <a:pt x="1248" y="660"/>
                  </a:lnTo>
                  <a:lnTo>
                    <a:pt x="1260" y="672"/>
                  </a:lnTo>
                  <a:lnTo>
                    <a:pt x="1266" y="684"/>
                  </a:lnTo>
                  <a:lnTo>
                    <a:pt x="1266" y="702"/>
                  </a:lnTo>
                  <a:lnTo>
                    <a:pt x="1260" y="702"/>
                  </a:lnTo>
                  <a:lnTo>
                    <a:pt x="1260" y="696"/>
                  </a:lnTo>
                  <a:lnTo>
                    <a:pt x="1254" y="696"/>
                  </a:lnTo>
                  <a:lnTo>
                    <a:pt x="1254" y="708"/>
                  </a:lnTo>
                  <a:lnTo>
                    <a:pt x="1278" y="708"/>
                  </a:lnTo>
                  <a:lnTo>
                    <a:pt x="1284" y="696"/>
                  </a:lnTo>
                  <a:lnTo>
                    <a:pt x="1284" y="690"/>
                  </a:lnTo>
                  <a:lnTo>
                    <a:pt x="1308" y="684"/>
                  </a:lnTo>
                  <a:lnTo>
                    <a:pt x="1314" y="672"/>
                  </a:lnTo>
                  <a:lnTo>
                    <a:pt x="1350" y="672"/>
                  </a:lnTo>
                  <a:lnTo>
                    <a:pt x="1362" y="660"/>
                  </a:lnTo>
                  <a:lnTo>
                    <a:pt x="1356" y="660"/>
                  </a:lnTo>
                  <a:close/>
                  <a:moveTo>
                    <a:pt x="564" y="726"/>
                  </a:moveTo>
                  <a:lnTo>
                    <a:pt x="540" y="738"/>
                  </a:lnTo>
                  <a:lnTo>
                    <a:pt x="546" y="756"/>
                  </a:lnTo>
                  <a:lnTo>
                    <a:pt x="576" y="756"/>
                  </a:lnTo>
                  <a:lnTo>
                    <a:pt x="570" y="738"/>
                  </a:lnTo>
                  <a:lnTo>
                    <a:pt x="564" y="726"/>
                  </a:lnTo>
                  <a:close/>
                  <a:moveTo>
                    <a:pt x="522" y="714"/>
                  </a:moveTo>
                  <a:lnTo>
                    <a:pt x="516" y="720"/>
                  </a:lnTo>
                  <a:lnTo>
                    <a:pt x="510" y="732"/>
                  </a:lnTo>
                  <a:lnTo>
                    <a:pt x="510" y="750"/>
                  </a:lnTo>
                  <a:lnTo>
                    <a:pt x="528" y="768"/>
                  </a:lnTo>
                  <a:lnTo>
                    <a:pt x="528" y="756"/>
                  </a:lnTo>
                  <a:lnTo>
                    <a:pt x="534" y="744"/>
                  </a:lnTo>
                  <a:lnTo>
                    <a:pt x="534" y="720"/>
                  </a:lnTo>
                  <a:lnTo>
                    <a:pt x="528" y="714"/>
                  </a:lnTo>
                  <a:lnTo>
                    <a:pt x="522" y="714"/>
                  </a:lnTo>
                  <a:close/>
                  <a:moveTo>
                    <a:pt x="606" y="738"/>
                  </a:moveTo>
                  <a:lnTo>
                    <a:pt x="618" y="732"/>
                  </a:lnTo>
                  <a:lnTo>
                    <a:pt x="624" y="732"/>
                  </a:lnTo>
                  <a:lnTo>
                    <a:pt x="630" y="726"/>
                  </a:lnTo>
                  <a:lnTo>
                    <a:pt x="618" y="720"/>
                  </a:lnTo>
                  <a:lnTo>
                    <a:pt x="588" y="720"/>
                  </a:lnTo>
                  <a:lnTo>
                    <a:pt x="576" y="732"/>
                  </a:lnTo>
                  <a:lnTo>
                    <a:pt x="582" y="744"/>
                  </a:lnTo>
                  <a:lnTo>
                    <a:pt x="606" y="738"/>
                  </a:lnTo>
                  <a:close/>
                </a:path>
              </a:pathLst>
            </a:custGeom>
            <a:solidFill>
              <a:schemeClr val="accent1"/>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91" name="Nigerien" descr="© INSCALE GmbH, 05.05.2010&#10;http://www.presentationload.com/">
              <a:extLst>
                <a:ext uri="{FF2B5EF4-FFF2-40B4-BE49-F238E27FC236}">
                  <a16:creationId xmlns:a16="http://schemas.microsoft.com/office/drawing/2014/main" id="{C215A3D9-DDFD-4FEF-A863-613597A89820}"/>
                </a:ext>
              </a:extLst>
            </p:cNvPr>
            <p:cNvSpPr>
              <a:spLocks/>
            </p:cNvSpPr>
            <p:nvPr/>
          </p:nvSpPr>
          <p:spPr bwMode="gray">
            <a:xfrm>
              <a:off x="4207760" y="3807311"/>
              <a:ext cx="332421" cy="307333"/>
            </a:xfrm>
            <a:custGeom>
              <a:avLst/>
              <a:gdLst>
                <a:gd name="T0" fmla="*/ 2147483647 w 840"/>
                <a:gd name="T1" fmla="*/ 2147483647 h 768"/>
                <a:gd name="T2" fmla="*/ 2147483647 w 840"/>
                <a:gd name="T3" fmla="*/ 2147483647 h 768"/>
                <a:gd name="T4" fmla="*/ 2147483647 w 840"/>
                <a:gd name="T5" fmla="*/ 2147483647 h 768"/>
                <a:gd name="T6" fmla="*/ 2147483647 w 840"/>
                <a:gd name="T7" fmla="*/ 2147483647 h 768"/>
                <a:gd name="T8" fmla="*/ 2147483647 w 840"/>
                <a:gd name="T9" fmla="*/ 2147483647 h 768"/>
                <a:gd name="T10" fmla="*/ 2147483647 w 840"/>
                <a:gd name="T11" fmla="*/ 2147483647 h 768"/>
                <a:gd name="T12" fmla="*/ 2147483647 w 840"/>
                <a:gd name="T13" fmla="*/ 2147483647 h 768"/>
                <a:gd name="T14" fmla="*/ 2147483647 w 840"/>
                <a:gd name="T15" fmla="*/ 2147483647 h 768"/>
                <a:gd name="T16" fmla="*/ 2147483647 w 840"/>
                <a:gd name="T17" fmla="*/ 2147483647 h 768"/>
                <a:gd name="T18" fmla="*/ 2147483647 w 840"/>
                <a:gd name="T19" fmla="*/ 2147483647 h 768"/>
                <a:gd name="T20" fmla="*/ 2147483647 w 840"/>
                <a:gd name="T21" fmla="*/ 2147483647 h 768"/>
                <a:gd name="T22" fmla="*/ 2147483647 w 840"/>
                <a:gd name="T23" fmla="*/ 2147483647 h 768"/>
                <a:gd name="T24" fmla="*/ 2147483647 w 840"/>
                <a:gd name="T25" fmla="*/ 2147483647 h 768"/>
                <a:gd name="T26" fmla="*/ 2147483647 w 840"/>
                <a:gd name="T27" fmla="*/ 2147483647 h 768"/>
                <a:gd name="T28" fmla="*/ 2147483647 w 840"/>
                <a:gd name="T29" fmla="*/ 2147483647 h 768"/>
                <a:gd name="T30" fmla="*/ 2147483647 w 840"/>
                <a:gd name="T31" fmla="*/ 2147483647 h 768"/>
                <a:gd name="T32" fmla="*/ 2147483647 w 840"/>
                <a:gd name="T33" fmla="*/ 2147483647 h 768"/>
                <a:gd name="T34" fmla="*/ 2147483647 w 840"/>
                <a:gd name="T35" fmla="*/ 2147483647 h 768"/>
                <a:gd name="T36" fmla="*/ 2147483647 w 840"/>
                <a:gd name="T37" fmla="*/ 2147483647 h 768"/>
                <a:gd name="T38" fmla="*/ 2147483647 w 840"/>
                <a:gd name="T39" fmla="*/ 2147483647 h 768"/>
                <a:gd name="T40" fmla="*/ 2147483647 w 840"/>
                <a:gd name="T41" fmla="*/ 2147483647 h 768"/>
                <a:gd name="T42" fmla="*/ 2147483647 w 840"/>
                <a:gd name="T43" fmla="*/ 2147483647 h 768"/>
                <a:gd name="T44" fmla="*/ 2147483647 w 840"/>
                <a:gd name="T45" fmla="*/ 2147483647 h 768"/>
                <a:gd name="T46" fmla="*/ 2147483647 w 840"/>
                <a:gd name="T47" fmla="*/ 2147483647 h 768"/>
                <a:gd name="T48" fmla="*/ 2147483647 w 840"/>
                <a:gd name="T49" fmla="*/ 2147483647 h 768"/>
                <a:gd name="T50" fmla="*/ 2147483647 w 840"/>
                <a:gd name="T51" fmla="*/ 2147483647 h 768"/>
                <a:gd name="T52" fmla="*/ 2147483647 w 840"/>
                <a:gd name="T53" fmla="*/ 2147483647 h 768"/>
                <a:gd name="T54" fmla="*/ 2147483647 w 840"/>
                <a:gd name="T55" fmla="*/ 2147483647 h 768"/>
                <a:gd name="T56" fmla="*/ 2147483647 w 840"/>
                <a:gd name="T57" fmla="*/ 2147483647 h 768"/>
                <a:gd name="T58" fmla="*/ 2147483647 w 840"/>
                <a:gd name="T59" fmla="*/ 2147483647 h 768"/>
                <a:gd name="T60" fmla="*/ 2147483647 w 840"/>
                <a:gd name="T61" fmla="*/ 2147483647 h 768"/>
                <a:gd name="T62" fmla="*/ 2147483647 w 840"/>
                <a:gd name="T63" fmla="*/ 2147483647 h 768"/>
                <a:gd name="T64" fmla="*/ 2147483647 w 840"/>
                <a:gd name="T65" fmla="*/ 2147483647 h 768"/>
                <a:gd name="T66" fmla="*/ 2147483647 w 840"/>
                <a:gd name="T67" fmla="*/ 2147483647 h 768"/>
                <a:gd name="T68" fmla="*/ 2147483647 w 840"/>
                <a:gd name="T69" fmla="*/ 2147483647 h 768"/>
                <a:gd name="T70" fmla="*/ 2147483647 w 840"/>
                <a:gd name="T71" fmla="*/ 2147483647 h 768"/>
                <a:gd name="T72" fmla="*/ 2147483647 w 840"/>
                <a:gd name="T73" fmla="*/ 2147483647 h 768"/>
                <a:gd name="T74" fmla="*/ 2147483647 w 840"/>
                <a:gd name="T75" fmla="*/ 2147483647 h 768"/>
                <a:gd name="T76" fmla="*/ 2147483647 w 840"/>
                <a:gd name="T77" fmla="*/ 2147483647 h 768"/>
                <a:gd name="T78" fmla="*/ 2147483647 w 840"/>
                <a:gd name="T79" fmla="*/ 2147483647 h 768"/>
                <a:gd name="T80" fmla="*/ 2147483647 w 840"/>
                <a:gd name="T81" fmla="*/ 2147483647 h 768"/>
                <a:gd name="T82" fmla="*/ 2147483647 w 840"/>
                <a:gd name="T83" fmla="*/ 2147483647 h 768"/>
                <a:gd name="T84" fmla="*/ 2147483647 w 840"/>
                <a:gd name="T85" fmla="*/ 2147483647 h 768"/>
                <a:gd name="T86" fmla="*/ 2147483647 w 840"/>
                <a:gd name="T87" fmla="*/ 2147483647 h 768"/>
                <a:gd name="T88" fmla="*/ 2147483647 w 840"/>
                <a:gd name="T89" fmla="*/ 2147483647 h 768"/>
                <a:gd name="T90" fmla="*/ 2147483647 w 840"/>
                <a:gd name="T91" fmla="*/ 2147483647 h 768"/>
                <a:gd name="T92" fmla="*/ 2147483647 w 840"/>
                <a:gd name="T93" fmla="*/ 2147483647 h 768"/>
                <a:gd name="T94" fmla="*/ 2147483647 w 840"/>
                <a:gd name="T95" fmla="*/ 2147483647 h 768"/>
                <a:gd name="T96" fmla="*/ 2147483647 w 840"/>
                <a:gd name="T97" fmla="*/ 2147483647 h 768"/>
                <a:gd name="T98" fmla="*/ 2147483647 w 840"/>
                <a:gd name="T99" fmla="*/ 2147483647 h 768"/>
                <a:gd name="T100" fmla="*/ 2147483647 w 840"/>
                <a:gd name="T101" fmla="*/ 2147483647 h 768"/>
                <a:gd name="T102" fmla="*/ 2147483647 w 840"/>
                <a:gd name="T103" fmla="*/ 2147483647 h 768"/>
                <a:gd name="T104" fmla="*/ 2147483647 w 840"/>
                <a:gd name="T105" fmla="*/ 2147483647 h 768"/>
                <a:gd name="T106" fmla="*/ 2147483647 w 840"/>
                <a:gd name="T107" fmla="*/ 2147483647 h 768"/>
                <a:gd name="T108" fmla="*/ 2147483647 w 840"/>
                <a:gd name="T109" fmla="*/ 2147483647 h 768"/>
                <a:gd name="T110" fmla="*/ 2147483647 w 840"/>
                <a:gd name="T111" fmla="*/ 2147483647 h 768"/>
                <a:gd name="T112" fmla="*/ 2147483647 w 840"/>
                <a:gd name="T113" fmla="*/ 2147483647 h 768"/>
                <a:gd name="T114" fmla="*/ 2147483647 w 840"/>
                <a:gd name="T115" fmla="*/ 2147483647 h 768"/>
                <a:gd name="T116" fmla="*/ 2147483647 w 840"/>
                <a:gd name="T117" fmla="*/ 2147483647 h 768"/>
                <a:gd name="T118" fmla="*/ 2147483647 w 840"/>
                <a:gd name="T119" fmla="*/ 2147483647 h 76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40"/>
                <a:gd name="T181" fmla="*/ 0 h 768"/>
                <a:gd name="T182" fmla="*/ 840 w 840"/>
                <a:gd name="T183" fmla="*/ 768 h 76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40" h="768">
                  <a:moveTo>
                    <a:pt x="420" y="738"/>
                  </a:moveTo>
                  <a:lnTo>
                    <a:pt x="420" y="732"/>
                  </a:lnTo>
                  <a:lnTo>
                    <a:pt x="426" y="726"/>
                  </a:lnTo>
                  <a:lnTo>
                    <a:pt x="426" y="714"/>
                  </a:lnTo>
                  <a:lnTo>
                    <a:pt x="432" y="702"/>
                  </a:lnTo>
                  <a:lnTo>
                    <a:pt x="432" y="648"/>
                  </a:lnTo>
                  <a:lnTo>
                    <a:pt x="498" y="594"/>
                  </a:lnTo>
                  <a:lnTo>
                    <a:pt x="498" y="588"/>
                  </a:lnTo>
                  <a:lnTo>
                    <a:pt x="504" y="582"/>
                  </a:lnTo>
                  <a:lnTo>
                    <a:pt x="516" y="558"/>
                  </a:lnTo>
                  <a:lnTo>
                    <a:pt x="522" y="552"/>
                  </a:lnTo>
                  <a:lnTo>
                    <a:pt x="528" y="552"/>
                  </a:lnTo>
                  <a:lnTo>
                    <a:pt x="534" y="558"/>
                  </a:lnTo>
                  <a:lnTo>
                    <a:pt x="546" y="564"/>
                  </a:lnTo>
                  <a:lnTo>
                    <a:pt x="552" y="564"/>
                  </a:lnTo>
                  <a:lnTo>
                    <a:pt x="558" y="558"/>
                  </a:lnTo>
                  <a:lnTo>
                    <a:pt x="558" y="546"/>
                  </a:lnTo>
                  <a:lnTo>
                    <a:pt x="552" y="540"/>
                  </a:lnTo>
                  <a:lnTo>
                    <a:pt x="564" y="540"/>
                  </a:lnTo>
                  <a:lnTo>
                    <a:pt x="570" y="552"/>
                  </a:lnTo>
                  <a:lnTo>
                    <a:pt x="582" y="564"/>
                  </a:lnTo>
                  <a:lnTo>
                    <a:pt x="588" y="576"/>
                  </a:lnTo>
                  <a:lnTo>
                    <a:pt x="588" y="582"/>
                  </a:lnTo>
                  <a:lnTo>
                    <a:pt x="594" y="594"/>
                  </a:lnTo>
                  <a:lnTo>
                    <a:pt x="600" y="600"/>
                  </a:lnTo>
                  <a:lnTo>
                    <a:pt x="606" y="600"/>
                  </a:lnTo>
                  <a:lnTo>
                    <a:pt x="624" y="582"/>
                  </a:lnTo>
                  <a:lnTo>
                    <a:pt x="624" y="570"/>
                  </a:lnTo>
                  <a:lnTo>
                    <a:pt x="630" y="558"/>
                  </a:lnTo>
                  <a:lnTo>
                    <a:pt x="642" y="552"/>
                  </a:lnTo>
                  <a:lnTo>
                    <a:pt x="648" y="546"/>
                  </a:lnTo>
                  <a:lnTo>
                    <a:pt x="648" y="516"/>
                  </a:lnTo>
                  <a:lnTo>
                    <a:pt x="672" y="486"/>
                  </a:lnTo>
                  <a:lnTo>
                    <a:pt x="684" y="438"/>
                  </a:lnTo>
                  <a:lnTo>
                    <a:pt x="696" y="432"/>
                  </a:lnTo>
                  <a:lnTo>
                    <a:pt x="702" y="426"/>
                  </a:lnTo>
                  <a:lnTo>
                    <a:pt x="714" y="420"/>
                  </a:lnTo>
                  <a:lnTo>
                    <a:pt x="720" y="414"/>
                  </a:lnTo>
                  <a:lnTo>
                    <a:pt x="720" y="402"/>
                  </a:lnTo>
                  <a:lnTo>
                    <a:pt x="726" y="384"/>
                  </a:lnTo>
                  <a:lnTo>
                    <a:pt x="726" y="354"/>
                  </a:lnTo>
                  <a:lnTo>
                    <a:pt x="744" y="354"/>
                  </a:lnTo>
                  <a:lnTo>
                    <a:pt x="750" y="348"/>
                  </a:lnTo>
                  <a:lnTo>
                    <a:pt x="756" y="330"/>
                  </a:lnTo>
                  <a:lnTo>
                    <a:pt x="756" y="300"/>
                  </a:lnTo>
                  <a:lnTo>
                    <a:pt x="762" y="294"/>
                  </a:lnTo>
                  <a:lnTo>
                    <a:pt x="768" y="264"/>
                  </a:lnTo>
                  <a:lnTo>
                    <a:pt x="774" y="252"/>
                  </a:lnTo>
                  <a:lnTo>
                    <a:pt x="786" y="240"/>
                  </a:lnTo>
                  <a:lnTo>
                    <a:pt x="786" y="234"/>
                  </a:lnTo>
                  <a:lnTo>
                    <a:pt x="792" y="228"/>
                  </a:lnTo>
                  <a:lnTo>
                    <a:pt x="792" y="222"/>
                  </a:lnTo>
                  <a:lnTo>
                    <a:pt x="798" y="216"/>
                  </a:lnTo>
                  <a:lnTo>
                    <a:pt x="798" y="210"/>
                  </a:lnTo>
                  <a:lnTo>
                    <a:pt x="810" y="210"/>
                  </a:lnTo>
                  <a:lnTo>
                    <a:pt x="822" y="204"/>
                  </a:lnTo>
                  <a:lnTo>
                    <a:pt x="840" y="186"/>
                  </a:lnTo>
                  <a:lnTo>
                    <a:pt x="840" y="174"/>
                  </a:lnTo>
                  <a:lnTo>
                    <a:pt x="834" y="168"/>
                  </a:lnTo>
                  <a:lnTo>
                    <a:pt x="834" y="162"/>
                  </a:lnTo>
                  <a:lnTo>
                    <a:pt x="840" y="156"/>
                  </a:lnTo>
                  <a:lnTo>
                    <a:pt x="840" y="126"/>
                  </a:lnTo>
                  <a:lnTo>
                    <a:pt x="810" y="126"/>
                  </a:lnTo>
                  <a:lnTo>
                    <a:pt x="810" y="120"/>
                  </a:lnTo>
                  <a:lnTo>
                    <a:pt x="804" y="108"/>
                  </a:lnTo>
                  <a:lnTo>
                    <a:pt x="804" y="60"/>
                  </a:lnTo>
                  <a:lnTo>
                    <a:pt x="774" y="12"/>
                  </a:lnTo>
                  <a:lnTo>
                    <a:pt x="756" y="12"/>
                  </a:lnTo>
                  <a:lnTo>
                    <a:pt x="750" y="18"/>
                  </a:lnTo>
                  <a:lnTo>
                    <a:pt x="750" y="24"/>
                  </a:lnTo>
                  <a:lnTo>
                    <a:pt x="744" y="30"/>
                  </a:lnTo>
                  <a:lnTo>
                    <a:pt x="744" y="36"/>
                  </a:lnTo>
                  <a:lnTo>
                    <a:pt x="720" y="36"/>
                  </a:lnTo>
                  <a:lnTo>
                    <a:pt x="714" y="42"/>
                  </a:lnTo>
                  <a:lnTo>
                    <a:pt x="702" y="48"/>
                  </a:lnTo>
                  <a:lnTo>
                    <a:pt x="696" y="54"/>
                  </a:lnTo>
                  <a:lnTo>
                    <a:pt x="684" y="60"/>
                  </a:lnTo>
                  <a:lnTo>
                    <a:pt x="654" y="60"/>
                  </a:lnTo>
                  <a:lnTo>
                    <a:pt x="648" y="54"/>
                  </a:lnTo>
                  <a:lnTo>
                    <a:pt x="636" y="48"/>
                  </a:lnTo>
                  <a:lnTo>
                    <a:pt x="600" y="36"/>
                  </a:lnTo>
                  <a:lnTo>
                    <a:pt x="546" y="36"/>
                  </a:lnTo>
                  <a:lnTo>
                    <a:pt x="528" y="42"/>
                  </a:lnTo>
                  <a:lnTo>
                    <a:pt x="516" y="54"/>
                  </a:lnTo>
                  <a:lnTo>
                    <a:pt x="504" y="60"/>
                  </a:lnTo>
                  <a:lnTo>
                    <a:pt x="492" y="84"/>
                  </a:lnTo>
                  <a:lnTo>
                    <a:pt x="486" y="90"/>
                  </a:lnTo>
                  <a:lnTo>
                    <a:pt x="480" y="90"/>
                  </a:lnTo>
                  <a:lnTo>
                    <a:pt x="468" y="84"/>
                  </a:lnTo>
                  <a:lnTo>
                    <a:pt x="438" y="84"/>
                  </a:lnTo>
                  <a:lnTo>
                    <a:pt x="414" y="72"/>
                  </a:lnTo>
                  <a:lnTo>
                    <a:pt x="402" y="60"/>
                  </a:lnTo>
                  <a:lnTo>
                    <a:pt x="390" y="54"/>
                  </a:lnTo>
                  <a:lnTo>
                    <a:pt x="384" y="48"/>
                  </a:lnTo>
                  <a:lnTo>
                    <a:pt x="372" y="42"/>
                  </a:lnTo>
                  <a:lnTo>
                    <a:pt x="360" y="42"/>
                  </a:lnTo>
                  <a:lnTo>
                    <a:pt x="336" y="54"/>
                  </a:lnTo>
                  <a:lnTo>
                    <a:pt x="324" y="66"/>
                  </a:lnTo>
                  <a:lnTo>
                    <a:pt x="312" y="72"/>
                  </a:lnTo>
                  <a:lnTo>
                    <a:pt x="306" y="72"/>
                  </a:lnTo>
                  <a:lnTo>
                    <a:pt x="294" y="66"/>
                  </a:lnTo>
                  <a:lnTo>
                    <a:pt x="288" y="60"/>
                  </a:lnTo>
                  <a:lnTo>
                    <a:pt x="288" y="54"/>
                  </a:lnTo>
                  <a:lnTo>
                    <a:pt x="282" y="48"/>
                  </a:lnTo>
                  <a:lnTo>
                    <a:pt x="282" y="42"/>
                  </a:lnTo>
                  <a:lnTo>
                    <a:pt x="258" y="18"/>
                  </a:lnTo>
                  <a:lnTo>
                    <a:pt x="222" y="18"/>
                  </a:lnTo>
                  <a:lnTo>
                    <a:pt x="222" y="12"/>
                  </a:lnTo>
                  <a:lnTo>
                    <a:pt x="210" y="0"/>
                  </a:lnTo>
                  <a:lnTo>
                    <a:pt x="198" y="0"/>
                  </a:lnTo>
                  <a:lnTo>
                    <a:pt x="186" y="6"/>
                  </a:lnTo>
                  <a:lnTo>
                    <a:pt x="180" y="6"/>
                  </a:lnTo>
                  <a:lnTo>
                    <a:pt x="180" y="12"/>
                  </a:lnTo>
                  <a:lnTo>
                    <a:pt x="126" y="12"/>
                  </a:lnTo>
                  <a:lnTo>
                    <a:pt x="102" y="36"/>
                  </a:lnTo>
                  <a:lnTo>
                    <a:pt x="102" y="60"/>
                  </a:lnTo>
                  <a:lnTo>
                    <a:pt x="96" y="78"/>
                  </a:lnTo>
                  <a:lnTo>
                    <a:pt x="90" y="90"/>
                  </a:lnTo>
                  <a:lnTo>
                    <a:pt x="84" y="96"/>
                  </a:lnTo>
                  <a:lnTo>
                    <a:pt x="78" y="108"/>
                  </a:lnTo>
                  <a:lnTo>
                    <a:pt x="72" y="114"/>
                  </a:lnTo>
                  <a:lnTo>
                    <a:pt x="66" y="114"/>
                  </a:lnTo>
                  <a:lnTo>
                    <a:pt x="66" y="168"/>
                  </a:lnTo>
                  <a:lnTo>
                    <a:pt x="60" y="180"/>
                  </a:lnTo>
                  <a:lnTo>
                    <a:pt x="60" y="186"/>
                  </a:lnTo>
                  <a:lnTo>
                    <a:pt x="54" y="192"/>
                  </a:lnTo>
                  <a:lnTo>
                    <a:pt x="66" y="216"/>
                  </a:lnTo>
                  <a:lnTo>
                    <a:pt x="72" y="222"/>
                  </a:lnTo>
                  <a:lnTo>
                    <a:pt x="78" y="234"/>
                  </a:lnTo>
                  <a:lnTo>
                    <a:pt x="78" y="246"/>
                  </a:lnTo>
                  <a:lnTo>
                    <a:pt x="84" y="252"/>
                  </a:lnTo>
                  <a:lnTo>
                    <a:pt x="84" y="264"/>
                  </a:lnTo>
                  <a:lnTo>
                    <a:pt x="78" y="270"/>
                  </a:lnTo>
                  <a:lnTo>
                    <a:pt x="72" y="270"/>
                  </a:lnTo>
                  <a:lnTo>
                    <a:pt x="60" y="276"/>
                  </a:lnTo>
                  <a:lnTo>
                    <a:pt x="60" y="318"/>
                  </a:lnTo>
                  <a:lnTo>
                    <a:pt x="48" y="324"/>
                  </a:lnTo>
                  <a:lnTo>
                    <a:pt x="42" y="336"/>
                  </a:lnTo>
                  <a:lnTo>
                    <a:pt x="36" y="342"/>
                  </a:lnTo>
                  <a:lnTo>
                    <a:pt x="36" y="372"/>
                  </a:lnTo>
                  <a:lnTo>
                    <a:pt x="24" y="396"/>
                  </a:lnTo>
                  <a:lnTo>
                    <a:pt x="6" y="396"/>
                  </a:lnTo>
                  <a:lnTo>
                    <a:pt x="0" y="426"/>
                  </a:lnTo>
                  <a:lnTo>
                    <a:pt x="6" y="462"/>
                  </a:lnTo>
                  <a:lnTo>
                    <a:pt x="0" y="492"/>
                  </a:lnTo>
                  <a:lnTo>
                    <a:pt x="0" y="606"/>
                  </a:lnTo>
                  <a:lnTo>
                    <a:pt x="6" y="612"/>
                  </a:lnTo>
                  <a:lnTo>
                    <a:pt x="30" y="612"/>
                  </a:lnTo>
                  <a:lnTo>
                    <a:pt x="54" y="600"/>
                  </a:lnTo>
                  <a:lnTo>
                    <a:pt x="60" y="594"/>
                  </a:lnTo>
                  <a:lnTo>
                    <a:pt x="66" y="600"/>
                  </a:lnTo>
                  <a:lnTo>
                    <a:pt x="108" y="600"/>
                  </a:lnTo>
                  <a:lnTo>
                    <a:pt x="126" y="606"/>
                  </a:lnTo>
                  <a:lnTo>
                    <a:pt x="138" y="618"/>
                  </a:lnTo>
                  <a:lnTo>
                    <a:pt x="150" y="636"/>
                  </a:lnTo>
                  <a:lnTo>
                    <a:pt x="156" y="648"/>
                  </a:lnTo>
                  <a:lnTo>
                    <a:pt x="168" y="660"/>
                  </a:lnTo>
                  <a:lnTo>
                    <a:pt x="186" y="660"/>
                  </a:lnTo>
                  <a:lnTo>
                    <a:pt x="180" y="666"/>
                  </a:lnTo>
                  <a:lnTo>
                    <a:pt x="180" y="678"/>
                  </a:lnTo>
                  <a:lnTo>
                    <a:pt x="174" y="684"/>
                  </a:lnTo>
                  <a:lnTo>
                    <a:pt x="186" y="684"/>
                  </a:lnTo>
                  <a:lnTo>
                    <a:pt x="198" y="678"/>
                  </a:lnTo>
                  <a:lnTo>
                    <a:pt x="198" y="684"/>
                  </a:lnTo>
                  <a:lnTo>
                    <a:pt x="192" y="690"/>
                  </a:lnTo>
                  <a:lnTo>
                    <a:pt x="186" y="702"/>
                  </a:lnTo>
                  <a:lnTo>
                    <a:pt x="186" y="714"/>
                  </a:lnTo>
                  <a:lnTo>
                    <a:pt x="204" y="750"/>
                  </a:lnTo>
                  <a:lnTo>
                    <a:pt x="216" y="762"/>
                  </a:lnTo>
                  <a:lnTo>
                    <a:pt x="234" y="768"/>
                  </a:lnTo>
                  <a:lnTo>
                    <a:pt x="270" y="768"/>
                  </a:lnTo>
                  <a:lnTo>
                    <a:pt x="276" y="762"/>
                  </a:lnTo>
                  <a:lnTo>
                    <a:pt x="282" y="762"/>
                  </a:lnTo>
                  <a:lnTo>
                    <a:pt x="288" y="738"/>
                  </a:lnTo>
                  <a:lnTo>
                    <a:pt x="312" y="750"/>
                  </a:lnTo>
                  <a:lnTo>
                    <a:pt x="336" y="744"/>
                  </a:lnTo>
                  <a:lnTo>
                    <a:pt x="354" y="756"/>
                  </a:lnTo>
                  <a:lnTo>
                    <a:pt x="396" y="756"/>
                  </a:lnTo>
                  <a:lnTo>
                    <a:pt x="396" y="732"/>
                  </a:lnTo>
                  <a:lnTo>
                    <a:pt x="420" y="732"/>
                  </a:lnTo>
                  <a:lnTo>
                    <a:pt x="420" y="738"/>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92" name="Niger" descr="© INSCALE GmbH, 05.05.2010&#10;http://www.presentationload.com/">
              <a:extLst>
                <a:ext uri="{FF2B5EF4-FFF2-40B4-BE49-F238E27FC236}">
                  <a16:creationId xmlns:a16="http://schemas.microsoft.com/office/drawing/2014/main" id="{D5CE168A-7733-454B-9048-2B16E1212672}"/>
                </a:ext>
              </a:extLst>
            </p:cNvPr>
            <p:cNvSpPr>
              <a:spLocks/>
            </p:cNvSpPr>
            <p:nvPr/>
          </p:nvSpPr>
          <p:spPr bwMode="gray">
            <a:xfrm>
              <a:off x="4137199" y="3499978"/>
              <a:ext cx="440614" cy="374758"/>
            </a:xfrm>
            <a:custGeom>
              <a:avLst/>
              <a:gdLst>
                <a:gd name="T0" fmla="*/ 2147483647 w 1110"/>
                <a:gd name="T1" fmla="*/ 2147483647 h 942"/>
                <a:gd name="T2" fmla="*/ 2147483647 w 1110"/>
                <a:gd name="T3" fmla="*/ 2147483647 h 942"/>
                <a:gd name="T4" fmla="*/ 2147483647 w 1110"/>
                <a:gd name="T5" fmla="*/ 2147483647 h 942"/>
                <a:gd name="T6" fmla="*/ 2147483647 w 1110"/>
                <a:gd name="T7" fmla="*/ 2147483647 h 942"/>
                <a:gd name="T8" fmla="*/ 2147483647 w 1110"/>
                <a:gd name="T9" fmla="*/ 2147483647 h 942"/>
                <a:gd name="T10" fmla="*/ 2147483647 w 1110"/>
                <a:gd name="T11" fmla="*/ 2147483647 h 942"/>
                <a:gd name="T12" fmla="*/ 2147483647 w 1110"/>
                <a:gd name="T13" fmla="*/ 2147483647 h 942"/>
                <a:gd name="T14" fmla="*/ 2147483647 w 1110"/>
                <a:gd name="T15" fmla="*/ 2147483647 h 942"/>
                <a:gd name="T16" fmla="*/ 2147483647 w 1110"/>
                <a:gd name="T17" fmla="*/ 2147483647 h 942"/>
                <a:gd name="T18" fmla="*/ 2147483647 w 1110"/>
                <a:gd name="T19" fmla="*/ 2147483647 h 942"/>
                <a:gd name="T20" fmla="*/ 2147483647 w 1110"/>
                <a:gd name="T21" fmla="*/ 2147483647 h 942"/>
                <a:gd name="T22" fmla="*/ 2147483647 w 1110"/>
                <a:gd name="T23" fmla="*/ 2147483647 h 942"/>
                <a:gd name="T24" fmla="*/ 2147483647 w 1110"/>
                <a:gd name="T25" fmla="*/ 2147483647 h 942"/>
                <a:gd name="T26" fmla="*/ 2147483647 w 1110"/>
                <a:gd name="T27" fmla="*/ 2147483647 h 942"/>
                <a:gd name="T28" fmla="*/ 2147483647 w 1110"/>
                <a:gd name="T29" fmla="*/ 2147483647 h 942"/>
                <a:gd name="T30" fmla="*/ 2147483647 w 1110"/>
                <a:gd name="T31" fmla="*/ 2147483647 h 942"/>
                <a:gd name="T32" fmla="*/ 2147483647 w 1110"/>
                <a:gd name="T33" fmla="*/ 2147483647 h 942"/>
                <a:gd name="T34" fmla="*/ 2147483647 w 1110"/>
                <a:gd name="T35" fmla="*/ 2147483647 h 942"/>
                <a:gd name="T36" fmla="*/ 2147483647 w 1110"/>
                <a:gd name="T37" fmla="*/ 2147483647 h 942"/>
                <a:gd name="T38" fmla="*/ 2147483647 w 1110"/>
                <a:gd name="T39" fmla="*/ 2147483647 h 942"/>
                <a:gd name="T40" fmla="*/ 2147483647 w 1110"/>
                <a:gd name="T41" fmla="*/ 2147483647 h 942"/>
                <a:gd name="T42" fmla="*/ 2147483647 w 1110"/>
                <a:gd name="T43" fmla="*/ 2147483647 h 942"/>
                <a:gd name="T44" fmla="*/ 2147483647 w 1110"/>
                <a:gd name="T45" fmla="*/ 2147483647 h 942"/>
                <a:gd name="T46" fmla="*/ 2147483647 w 1110"/>
                <a:gd name="T47" fmla="*/ 2147483647 h 942"/>
                <a:gd name="T48" fmla="*/ 2147483647 w 1110"/>
                <a:gd name="T49" fmla="*/ 2147483647 h 942"/>
                <a:gd name="T50" fmla="*/ 2147483647 w 1110"/>
                <a:gd name="T51" fmla="*/ 2147483647 h 942"/>
                <a:gd name="T52" fmla="*/ 2147483647 w 1110"/>
                <a:gd name="T53" fmla="*/ 2147483647 h 942"/>
                <a:gd name="T54" fmla="*/ 2147483647 w 1110"/>
                <a:gd name="T55" fmla="*/ 2147483647 h 942"/>
                <a:gd name="T56" fmla="*/ 2147483647 w 1110"/>
                <a:gd name="T57" fmla="*/ 2147483647 h 942"/>
                <a:gd name="T58" fmla="*/ 2147483647 w 1110"/>
                <a:gd name="T59" fmla="*/ 2147483647 h 942"/>
                <a:gd name="T60" fmla="*/ 2147483647 w 1110"/>
                <a:gd name="T61" fmla="*/ 2147483647 h 942"/>
                <a:gd name="T62" fmla="*/ 2147483647 w 1110"/>
                <a:gd name="T63" fmla="*/ 2147483647 h 942"/>
                <a:gd name="T64" fmla="*/ 2147483647 w 1110"/>
                <a:gd name="T65" fmla="*/ 2147483647 h 942"/>
                <a:gd name="T66" fmla="*/ 2147483647 w 1110"/>
                <a:gd name="T67" fmla="*/ 2147483647 h 942"/>
                <a:gd name="T68" fmla="*/ 2147483647 w 1110"/>
                <a:gd name="T69" fmla="*/ 2147483647 h 942"/>
                <a:gd name="T70" fmla="*/ 2147483647 w 1110"/>
                <a:gd name="T71" fmla="*/ 2147483647 h 942"/>
                <a:gd name="T72" fmla="*/ 2147483647 w 1110"/>
                <a:gd name="T73" fmla="*/ 2147483647 h 942"/>
                <a:gd name="T74" fmla="*/ 2147483647 w 1110"/>
                <a:gd name="T75" fmla="*/ 2147483647 h 942"/>
                <a:gd name="T76" fmla="*/ 2147483647 w 1110"/>
                <a:gd name="T77" fmla="*/ 2147483647 h 942"/>
                <a:gd name="T78" fmla="*/ 2147483647 w 1110"/>
                <a:gd name="T79" fmla="*/ 2147483647 h 942"/>
                <a:gd name="T80" fmla="*/ 2147483647 w 1110"/>
                <a:gd name="T81" fmla="*/ 2147483647 h 942"/>
                <a:gd name="T82" fmla="*/ 2147483647 w 1110"/>
                <a:gd name="T83" fmla="*/ 2147483647 h 942"/>
                <a:gd name="T84" fmla="*/ 2147483647 w 1110"/>
                <a:gd name="T85" fmla="*/ 2147483647 h 942"/>
                <a:gd name="T86" fmla="*/ 2147483647 w 1110"/>
                <a:gd name="T87" fmla="*/ 2147483647 h 942"/>
                <a:gd name="T88" fmla="*/ 2147483647 w 1110"/>
                <a:gd name="T89" fmla="*/ 2147483647 h 942"/>
                <a:gd name="T90" fmla="*/ 2147483647 w 1110"/>
                <a:gd name="T91" fmla="*/ 2147483647 h 942"/>
                <a:gd name="T92" fmla="*/ 2147483647 w 1110"/>
                <a:gd name="T93" fmla="*/ 2147483647 h 942"/>
                <a:gd name="T94" fmla="*/ 2147483647 w 1110"/>
                <a:gd name="T95" fmla="*/ 2147483647 h 942"/>
                <a:gd name="T96" fmla="*/ 2147483647 w 1110"/>
                <a:gd name="T97" fmla="*/ 2147483647 h 942"/>
                <a:gd name="T98" fmla="*/ 0 w 1110"/>
                <a:gd name="T99" fmla="*/ 2147483647 h 942"/>
                <a:gd name="T100" fmla="*/ 2147483647 w 1110"/>
                <a:gd name="T101" fmla="*/ 2147483647 h 9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10"/>
                <a:gd name="T154" fmla="*/ 0 h 942"/>
                <a:gd name="T155" fmla="*/ 1110 w 1110"/>
                <a:gd name="T156" fmla="*/ 942 h 9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10" h="942">
                  <a:moveTo>
                    <a:pt x="54" y="792"/>
                  </a:moveTo>
                  <a:lnTo>
                    <a:pt x="54" y="810"/>
                  </a:lnTo>
                  <a:lnTo>
                    <a:pt x="66" y="810"/>
                  </a:lnTo>
                  <a:lnTo>
                    <a:pt x="48" y="828"/>
                  </a:lnTo>
                  <a:lnTo>
                    <a:pt x="48" y="834"/>
                  </a:lnTo>
                  <a:lnTo>
                    <a:pt x="72" y="858"/>
                  </a:lnTo>
                  <a:lnTo>
                    <a:pt x="84" y="864"/>
                  </a:lnTo>
                  <a:lnTo>
                    <a:pt x="90" y="876"/>
                  </a:lnTo>
                  <a:lnTo>
                    <a:pt x="108" y="876"/>
                  </a:lnTo>
                  <a:lnTo>
                    <a:pt x="120" y="864"/>
                  </a:lnTo>
                  <a:lnTo>
                    <a:pt x="132" y="864"/>
                  </a:lnTo>
                  <a:lnTo>
                    <a:pt x="144" y="876"/>
                  </a:lnTo>
                  <a:lnTo>
                    <a:pt x="150" y="888"/>
                  </a:lnTo>
                  <a:lnTo>
                    <a:pt x="126" y="894"/>
                  </a:lnTo>
                  <a:lnTo>
                    <a:pt x="150" y="930"/>
                  </a:lnTo>
                  <a:lnTo>
                    <a:pt x="150" y="906"/>
                  </a:lnTo>
                  <a:lnTo>
                    <a:pt x="180" y="894"/>
                  </a:lnTo>
                  <a:lnTo>
                    <a:pt x="192" y="906"/>
                  </a:lnTo>
                  <a:lnTo>
                    <a:pt x="198" y="918"/>
                  </a:lnTo>
                  <a:lnTo>
                    <a:pt x="204" y="924"/>
                  </a:lnTo>
                  <a:lnTo>
                    <a:pt x="210" y="924"/>
                  </a:lnTo>
                  <a:lnTo>
                    <a:pt x="216" y="930"/>
                  </a:lnTo>
                  <a:lnTo>
                    <a:pt x="222" y="930"/>
                  </a:lnTo>
                  <a:lnTo>
                    <a:pt x="234" y="936"/>
                  </a:lnTo>
                  <a:lnTo>
                    <a:pt x="240" y="942"/>
                  </a:lnTo>
                  <a:lnTo>
                    <a:pt x="240" y="888"/>
                  </a:lnTo>
                  <a:lnTo>
                    <a:pt x="246" y="888"/>
                  </a:lnTo>
                  <a:lnTo>
                    <a:pt x="252" y="882"/>
                  </a:lnTo>
                  <a:lnTo>
                    <a:pt x="258" y="870"/>
                  </a:lnTo>
                  <a:lnTo>
                    <a:pt x="264" y="864"/>
                  </a:lnTo>
                  <a:lnTo>
                    <a:pt x="270" y="852"/>
                  </a:lnTo>
                  <a:lnTo>
                    <a:pt x="276" y="834"/>
                  </a:lnTo>
                  <a:lnTo>
                    <a:pt x="276" y="810"/>
                  </a:lnTo>
                  <a:lnTo>
                    <a:pt x="300" y="786"/>
                  </a:lnTo>
                  <a:lnTo>
                    <a:pt x="354" y="786"/>
                  </a:lnTo>
                  <a:lnTo>
                    <a:pt x="354" y="780"/>
                  </a:lnTo>
                  <a:lnTo>
                    <a:pt x="360" y="780"/>
                  </a:lnTo>
                  <a:lnTo>
                    <a:pt x="372" y="774"/>
                  </a:lnTo>
                  <a:lnTo>
                    <a:pt x="384" y="774"/>
                  </a:lnTo>
                  <a:lnTo>
                    <a:pt x="396" y="786"/>
                  </a:lnTo>
                  <a:lnTo>
                    <a:pt x="396" y="792"/>
                  </a:lnTo>
                  <a:lnTo>
                    <a:pt x="432" y="792"/>
                  </a:lnTo>
                  <a:lnTo>
                    <a:pt x="456" y="816"/>
                  </a:lnTo>
                  <a:lnTo>
                    <a:pt x="456" y="822"/>
                  </a:lnTo>
                  <a:lnTo>
                    <a:pt x="462" y="828"/>
                  </a:lnTo>
                  <a:lnTo>
                    <a:pt x="462" y="834"/>
                  </a:lnTo>
                  <a:lnTo>
                    <a:pt x="468" y="840"/>
                  </a:lnTo>
                  <a:lnTo>
                    <a:pt x="480" y="846"/>
                  </a:lnTo>
                  <a:lnTo>
                    <a:pt x="486" y="846"/>
                  </a:lnTo>
                  <a:lnTo>
                    <a:pt x="498" y="840"/>
                  </a:lnTo>
                  <a:lnTo>
                    <a:pt x="510" y="828"/>
                  </a:lnTo>
                  <a:lnTo>
                    <a:pt x="534" y="816"/>
                  </a:lnTo>
                  <a:lnTo>
                    <a:pt x="546" y="816"/>
                  </a:lnTo>
                  <a:lnTo>
                    <a:pt x="558" y="822"/>
                  </a:lnTo>
                  <a:lnTo>
                    <a:pt x="564" y="828"/>
                  </a:lnTo>
                  <a:lnTo>
                    <a:pt x="576" y="834"/>
                  </a:lnTo>
                  <a:lnTo>
                    <a:pt x="588" y="846"/>
                  </a:lnTo>
                  <a:lnTo>
                    <a:pt x="612" y="858"/>
                  </a:lnTo>
                  <a:lnTo>
                    <a:pt x="642" y="858"/>
                  </a:lnTo>
                  <a:lnTo>
                    <a:pt x="654" y="864"/>
                  </a:lnTo>
                  <a:lnTo>
                    <a:pt x="660" y="864"/>
                  </a:lnTo>
                  <a:lnTo>
                    <a:pt x="666" y="858"/>
                  </a:lnTo>
                  <a:lnTo>
                    <a:pt x="678" y="834"/>
                  </a:lnTo>
                  <a:lnTo>
                    <a:pt x="690" y="828"/>
                  </a:lnTo>
                  <a:lnTo>
                    <a:pt x="702" y="816"/>
                  </a:lnTo>
                  <a:lnTo>
                    <a:pt x="720" y="810"/>
                  </a:lnTo>
                  <a:lnTo>
                    <a:pt x="774" y="810"/>
                  </a:lnTo>
                  <a:lnTo>
                    <a:pt x="810" y="822"/>
                  </a:lnTo>
                  <a:lnTo>
                    <a:pt x="822" y="828"/>
                  </a:lnTo>
                  <a:lnTo>
                    <a:pt x="828" y="834"/>
                  </a:lnTo>
                  <a:lnTo>
                    <a:pt x="858" y="834"/>
                  </a:lnTo>
                  <a:lnTo>
                    <a:pt x="870" y="828"/>
                  </a:lnTo>
                  <a:lnTo>
                    <a:pt x="876" y="822"/>
                  </a:lnTo>
                  <a:lnTo>
                    <a:pt x="888" y="816"/>
                  </a:lnTo>
                  <a:lnTo>
                    <a:pt x="894" y="810"/>
                  </a:lnTo>
                  <a:lnTo>
                    <a:pt x="918" y="810"/>
                  </a:lnTo>
                  <a:lnTo>
                    <a:pt x="918" y="804"/>
                  </a:lnTo>
                  <a:lnTo>
                    <a:pt x="924" y="798"/>
                  </a:lnTo>
                  <a:lnTo>
                    <a:pt x="924" y="792"/>
                  </a:lnTo>
                  <a:lnTo>
                    <a:pt x="930" y="786"/>
                  </a:lnTo>
                  <a:lnTo>
                    <a:pt x="936" y="786"/>
                  </a:lnTo>
                  <a:lnTo>
                    <a:pt x="930" y="726"/>
                  </a:lnTo>
                  <a:lnTo>
                    <a:pt x="948" y="720"/>
                  </a:lnTo>
                  <a:lnTo>
                    <a:pt x="948" y="714"/>
                  </a:lnTo>
                  <a:lnTo>
                    <a:pt x="954" y="708"/>
                  </a:lnTo>
                  <a:lnTo>
                    <a:pt x="954" y="696"/>
                  </a:lnTo>
                  <a:lnTo>
                    <a:pt x="960" y="678"/>
                  </a:lnTo>
                  <a:lnTo>
                    <a:pt x="966" y="666"/>
                  </a:lnTo>
                  <a:lnTo>
                    <a:pt x="978" y="648"/>
                  </a:lnTo>
                  <a:lnTo>
                    <a:pt x="984" y="636"/>
                  </a:lnTo>
                  <a:lnTo>
                    <a:pt x="1002" y="618"/>
                  </a:lnTo>
                  <a:lnTo>
                    <a:pt x="1026" y="588"/>
                  </a:lnTo>
                  <a:lnTo>
                    <a:pt x="1050" y="564"/>
                  </a:lnTo>
                  <a:lnTo>
                    <a:pt x="1068" y="540"/>
                  </a:lnTo>
                  <a:lnTo>
                    <a:pt x="1074" y="534"/>
                  </a:lnTo>
                  <a:lnTo>
                    <a:pt x="1092" y="288"/>
                  </a:lnTo>
                  <a:lnTo>
                    <a:pt x="1110" y="252"/>
                  </a:lnTo>
                  <a:lnTo>
                    <a:pt x="1080" y="216"/>
                  </a:lnTo>
                  <a:lnTo>
                    <a:pt x="1074" y="192"/>
                  </a:lnTo>
                  <a:lnTo>
                    <a:pt x="1044" y="156"/>
                  </a:lnTo>
                  <a:lnTo>
                    <a:pt x="1056" y="108"/>
                  </a:lnTo>
                  <a:lnTo>
                    <a:pt x="1038" y="42"/>
                  </a:lnTo>
                  <a:lnTo>
                    <a:pt x="1020" y="48"/>
                  </a:lnTo>
                  <a:lnTo>
                    <a:pt x="1002" y="60"/>
                  </a:lnTo>
                  <a:lnTo>
                    <a:pt x="990" y="66"/>
                  </a:lnTo>
                  <a:lnTo>
                    <a:pt x="984" y="66"/>
                  </a:lnTo>
                  <a:lnTo>
                    <a:pt x="978" y="60"/>
                  </a:lnTo>
                  <a:lnTo>
                    <a:pt x="966" y="54"/>
                  </a:lnTo>
                  <a:lnTo>
                    <a:pt x="960" y="42"/>
                  </a:lnTo>
                  <a:lnTo>
                    <a:pt x="954" y="36"/>
                  </a:lnTo>
                  <a:lnTo>
                    <a:pt x="942" y="30"/>
                  </a:lnTo>
                  <a:lnTo>
                    <a:pt x="936" y="24"/>
                  </a:lnTo>
                  <a:lnTo>
                    <a:pt x="930" y="24"/>
                  </a:lnTo>
                  <a:lnTo>
                    <a:pt x="918" y="18"/>
                  </a:lnTo>
                  <a:lnTo>
                    <a:pt x="900" y="12"/>
                  </a:lnTo>
                  <a:lnTo>
                    <a:pt x="888" y="12"/>
                  </a:lnTo>
                  <a:lnTo>
                    <a:pt x="876" y="6"/>
                  </a:lnTo>
                  <a:lnTo>
                    <a:pt x="864" y="6"/>
                  </a:lnTo>
                  <a:lnTo>
                    <a:pt x="828" y="0"/>
                  </a:lnTo>
                  <a:lnTo>
                    <a:pt x="816" y="6"/>
                  </a:lnTo>
                  <a:lnTo>
                    <a:pt x="786" y="30"/>
                  </a:lnTo>
                  <a:lnTo>
                    <a:pt x="738" y="66"/>
                  </a:lnTo>
                  <a:lnTo>
                    <a:pt x="684" y="102"/>
                  </a:lnTo>
                  <a:lnTo>
                    <a:pt x="624" y="144"/>
                  </a:lnTo>
                  <a:lnTo>
                    <a:pt x="576" y="180"/>
                  </a:lnTo>
                  <a:lnTo>
                    <a:pt x="534" y="210"/>
                  </a:lnTo>
                  <a:lnTo>
                    <a:pt x="510" y="222"/>
                  </a:lnTo>
                  <a:lnTo>
                    <a:pt x="480" y="246"/>
                  </a:lnTo>
                  <a:lnTo>
                    <a:pt x="450" y="282"/>
                  </a:lnTo>
                  <a:lnTo>
                    <a:pt x="414" y="312"/>
                  </a:lnTo>
                  <a:lnTo>
                    <a:pt x="390" y="330"/>
                  </a:lnTo>
                  <a:lnTo>
                    <a:pt x="366" y="336"/>
                  </a:lnTo>
                  <a:lnTo>
                    <a:pt x="324" y="342"/>
                  </a:lnTo>
                  <a:lnTo>
                    <a:pt x="282" y="354"/>
                  </a:lnTo>
                  <a:lnTo>
                    <a:pt x="282" y="558"/>
                  </a:lnTo>
                  <a:lnTo>
                    <a:pt x="264" y="582"/>
                  </a:lnTo>
                  <a:lnTo>
                    <a:pt x="264" y="594"/>
                  </a:lnTo>
                  <a:lnTo>
                    <a:pt x="258" y="606"/>
                  </a:lnTo>
                  <a:lnTo>
                    <a:pt x="258" y="624"/>
                  </a:lnTo>
                  <a:lnTo>
                    <a:pt x="252" y="636"/>
                  </a:lnTo>
                  <a:lnTo>
                    <a:pt x="240" y="642"/>
                  </a:lnTo>
                  <a:lnTo>
                    <a:pt x="222" y="648"/>
                  </a:lnTo>
                  <a:lnTo>
                    <a:pt x="198" y="648"/>
                  </a:lnTo>
                  <a:lnTo>
                    <a:pt x="186" y="654"/>
                  </a:lnTo>
                  <a:lnTo>
                    <a:pt x="138" y="648"/>
                  </a:lnTo>
                  <a:lnTo>
                    <a:pt x="138" y="666"/>
                  </a:lnTo>
                  <a:lnTo>
                    <a:pt x="72" y="660"/>
                  </a:lnTo>
                  <a:lnTo>
                    <a:pt x="48" y="678"/>
                  </a:lnTo>
                  <a:lnTo>
                    <a:pt x="0" y="690"/>
                  </a:lnTo>
                  <a:lnTo>
                    <a:pt x="0" y="726"/>
                  </a:lnTo>
                  <a:lnTo>
                    <a:pt x="6" y="738"/>
                  </a:lnTo>
                  <a:lnTo>
                    <a:pt x="6" y="762"/>
                  </a:lnTo>
                  <a:lnTo>
                    <a:pt x="18" y="786"/>
                  </a:lnTo>
                  <a:lnTo>
                    <a:pt x="30" y="792"/>
                  </a:lnTo>
                  <a:lnTo>
                    <a:pt x="54" y="79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93" name="Niederlande" descr="© INSCALE GmbH, 05.05.2010&#10;http://www.presentationload.com/">
              <a:extLst>
                <a:ext uri="{FF2B5EF4-FFF2-40B4-BE49-F238E27FC236}">
                  <a16:creationId xmlns:a16="http://schemas.microsoft.com/office/drawing/2014/main" id="{B84171B8-23A6-49B6-BC97-E05230C5BC53}"/>
                </a:ext>
              </a:extLst>
            </p:cNvPr>
            <p:cNvSpPr>
              <a:spLocks/>
            </p:cNvSpPr>
            <p:nvPr/>
          </p:nvSpPr>
          <p:spPr bwMode="gray">
            <a:xfrm>
              <a:off x="4239121" y="2551324"/>
              <a:ext cx="108193" cy="83106"/>
            </a:xfrm>
            <a:custGeom>
              <a:avLst/>
              <a:gdLst>
                <a:gd name="T0" fmla="*/ 0 w 270"/>
                <a:gd name="T1" fmla="*/ 2147483647 h 210"/>
                <a:gd name="T2" fmla="*/ 2147483647 w 270"/>
                <a:gd name="T3" fmla="*/ 2147483647 h 210"/>
                <a:gd name="T4" fmla="*/ 2147483647 w 270"/>
                <a:gd name="T5" fmla="*/ 2147483647 h 210"/>
                <a:gd name="T6" fmla="*/ 2147483647 w 270"/>
                <a:gd name="T7" fmla="*/ 2147483647 h 210"/>
                <a:gd name="T8" fmla="*/ 2147483647 w 270"/>
                <a:gd name="T9" fmla="*/ 2147483647 h 210"/>
                <a:gd name="T10" fmla="*/ 2147483647 w 270"/>
                <a:gd name="T11" fmla="*/ 2147483647 h 210"/>
                <a:gd name="T12" fmla="*/ 2147483647 w 270"/>
                <a:gd name="T13" fmla="*/ 2147483647 h 210"/>
                <a:gd name="T14" fmla="*/ 2147483647 w 270"/>
                <a:gd name="T15" fmla="*/ 2147483647 h 210"/>
                <a:gd name="T16" fmla="*/ 2147483647 w 270"/>
                <a:gd name="T17" fmla="*/ 2147483647 h 210"/>
                <a:gd name="T18" fmla="*/ 2147483647 w 270"/>
                <a:gd name="T19" fmla="*/ 2147483647 h 210"/>
                <a:gd name="T20" fmla="*/ 2147483647 w 270"/>
                <a:gd name="T21" fmla="*/ 2147483647 h 210"/>
                <a:gd name="T22" fmla="*/ 2147483647 w 270"/>
                <a:gd name="T23" fmla="*/ 2147483647 h 210"/>
                <a:gd name="T24" fmla="*/ 2147483647 w 270"/>
                <a:gd name="T25" fmla="*/ 2147483647 h 210"/>
                <a:gd name="T26" fmla="*/ 2147483647 w 270"/>
                <a:gd name="T27" fmla="*/ 2147483647 h 210"/>
                <a:gd name="T28" fmla="*/ 2147483647 w 270"/>
                <a:gd name="T29" fmla="*/ 2147483647 h 210"/>
                <a:gd name="T30" fmla="*/ 2147483647 w 270"/>
                <a:gd name="T31" fmla="*/ 2147483647 h 210"/>
                <a:gd name="T32" fmla="*/ 2147483647 w 270"/>
                <a:gd name="T33" fmla="*/ 2147483647 h 210"/>
                <a:gd name="T34" fmla="*/ 2147483647 w 270"/>
                <a:gd name="T35" fmla="*/ 2147483647 h 210"/>
                <a:gd name="T36" fmla="*/ 2147483647 w 270"/>
                <a:gd name="T37" fmla="*/ 2147483647 h 210"/>
                <a:gd name="T38" fmla="*/ 2147483647 w 270"/>
                <a:gd name="T39" fmla="*/ 2147483647 h 210"/>
                <a:gd name="T40" fmla="*/ 2147483647 w 270"/>
                <a:gd name="T41" fmla="*/ 2147483647 h 210"/>
                <a:gd name="T42" fmla="*/ 2147483647 w 270"/>
                <a:gd name="T43" fmla="*/ 2147483647 h 210"/>
                <a:gd name="T44" fmla="*/ 2147483647 w 270"/>
                <a:gd name="T45" fmla="*/ 2147483647 h 210"/>
                <a:gd name="T46" fmla="*/ 2147483647 w 270"/>
                <a:gd name="T47" fmla="*/ 2147483647 h 210"/>
                <a:gd name="T48" fmla="*/ 2147483647 w 270"/>
                <a:gd name="T49" fmla="*/ 2147483647 h 210"/>
                <a:gd name="T50" fmla="*/ 2147483647 w 270"/>
                <a:gd name="T51" fmla="*/ 2147483647 h 210"/>
                <a:gd name="T52" fmla="*/ 2147483647 w 270"/>
                <a:gd name="T53" fmla="*/ 2147483647 h 210"/>
                <a:gd name="T54" fmla="*/ 2147483647 w 270"/>
                <a:gd name="T55" fmla="*/ 2147483647 h 210"/>
                <a:gd name="T56" fmla="*/ 2147483647 w 270"/>
                <a:gd name="T57" fmla="*/ 2147483647 h 210"/>
                <a:gd name="T58" fmla="*/ 2147483647 w 270"/>
                <a:gd name="T59" fmla="*/ 0 h 210"/>
                <a:gd name="T60" fmla="*/ 2147483647 w 270"/>
                <a:gd name="T61" fmla="*/ 2147483647 h 210"/>
                <a:gd name="T62" fmla="*/ 2147483647 w 270"/>
                <a:gd name="T63" fmla="*/ 2147483647 h 210"/>
                <a:gd name="T64" fmla="*/ 2147483647 w 270"/>
                <a:gd name="T65" fmla="*/ 2147483647 h 210"/>
                <a:gd name="T66" fmla="*/ 2147483647 w 270"/>
                <a:gd name="T67" fmla="*/ 2147483647 h 210"/>
                <a:gd name="T68" fmla="*/ 2147483647 w 270"/>
                <a:gd name="T69" fmla="*/ 2147483647 h 210"/>
                <a:gd name="T70" fmla="*/ 2147483647 w 270"/>
                <a:gd name="T71" fmla="*/ 2147483647 h 210"/>
                <a:gd name="T72" fmla="*/ 2147483647 w 270"/>
                <a:gd name="T73" fmla="*/ 2147483647 h 210"/>
                <a:gd name="T74" fmla="*/ 2147483647 w 270"/>
                <a:gd name="T75" fmla="*/ 2147483647 h 210"/>
                <a:gd name="T76" fmla="*/ 2147483647 w 270"/>
                <a:gd name="T77" fmla="*/ 2147483647 h 210"/>
                <a:gd name="T78" fmla="*/ 2147483647 w 270"/>
                <a:gd name="T79" fmla="*/ 2147483647 h 210"/>
                <a:gd name="T80" fmla="*/ 2147483647 w 270"/>
                <a:gd name="T81" fmla="*/ 2147483647 h 210"/>
                <a:gd name="T82" fmla="*/ 2147483647 w 270"/>
                <a:gd name="T83" fmla="*/ 2147483647 h 210"/>
                <a:gd name="T84" fmla="*/ 2147483647 w 270"/>
                <a:gd name="T85" fmla="*/ 2147483647 h 210"/>
                <a:gd name="T86" fmla="*/ 2147483647 w 270"/>
                <a:gd name="T87" fmla="*/ 2147483647 h 210"/>
                <a:gd name="T88" fmla="*/ 2147483647 w 270"/>
                <a:gd name="T89" fmla="*/ 2147483647 h 2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210"/>
                <a:gd name="T137" fmla="*/ 270 w 270"/>
                <a:gd name="T138" fmla="*/ 210 h 2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210">
                  <a:moveTo>
                    <a:pt x="18" y="156"/>
                  </a:moveTo>
                  <a:lnTo>
                    <a:pt x="0" y="174"/>
                  </a:lnTo>
                  <a:lnTo>
                    <a:pt x="12" y="162"/>
                  </a:lnTo>
                  <a:lnTo>
                    <a:pt x="24" y="162"/>
                  </a:lnTo>
                  <a:lnTo>
                    <a:pt x="30" y="168"/>
                  </a:lnTo>
                  <a:lnTo>
                    <a:pt x="54" y="168"/>
                  </a:lnTo>
                  <a:lnTo>
                    <a:pt x="60" y="174"/>
                  </a:lnTo>
                  <a:lnTo>
                    <a:pt x="66" y="162"/>
                  </a:lnTo>
                  <a:lnTo>
                    <a:pt x="84" y="168"/>
                  </a:lnTo>
                  <a:lnTo>
                    <a:pt x="84" y="156"/>
                  </a:lnTo>
                  <a:lnTo>
                    <a:pt x="96" y="162"/>
                  </a:lnTo>
                  <a:lnTo>
                    <a:pt x="96" y="156"/>
                  </a:lnTo>
                  <a:lnTo>
                    <a:pt x="132" y="156"/>
                  </a:lnTo>
                  <a:lnTo>
                    <a:pt x="132" y="168"/>
                  </a:lnTo>
                  <a:lnTo>
                    <a:pt x="138" y="174"/>
                  </a:lnTo>
                  <a:lnTo>
                    <a:pt x="150" y="174"/>
                  </a:lnTo>
                  <a:lnTo>
                    <a:pt x="162" y="168"/>
                  </a:lnTo>
                  <a:lnTo>
                    <a:pt x="168" y="168"/>
                  </a:lnTo>
                  <a:lnTo>
                    <a:pt x="174" y="174"/>
                  </a:lnTo>
                  <a:lnTo>
                    <a:pt x="174" y="192"/>
                  </a:lnTo>
                  <a:lnTo>
                    <a:pt x="168" y="198"/>
                  </a:lnTo>
                  <a:lnTo>
                    <a:pt x="168" y="210"/>
                  </a:lnTo>
                  <a:lnTo>
                    <a:pt x="180" y="210"/>
                  </a:lnTo>
                  <a:lnTo>
                    <a:pt x="180" y="198"/>
                  </a:lnTo>
                  <a:lnTo>
                    <a:pt x="186" y="192"/>
                  </a:lnTo>
                  <a:lnTo>
                    <a:pt x="186" y="180"/>
                  </a:lnTo>
                  <a:lnTo>
                    <a:pt x="180" y="174"/>
                  </a:lnTo>
                  <a:lnTo>
                    <a:pt x="186" y="168"/>
                  </a:lnTo>
                  <a:lnTo>
                    <a:pt x="198" y="162"/>
                  </a:lnTo>
                  <a:lnTo>
                    <a:pt x="198" y="156"/>
                  </a:lnTo>
                  <a:lnTo>
                    <a:pt x="192" y="150"/>
                  </a:lnTo>
                  <a:lnTo>
                    <a:pt x="192" y="144"/>
                  </a:lnTo>
                  <a:lnTo>
                    <a:pt x="186" y="120"/>
                  </a:lnTo>
                  <a:lnTo>
                    <a:pt x="192" y="120"/>
                  </a:lnTo>
                  <a:lnTo>
                    <a:pt x="198" y="126"/>
                  </a:lnTo>
                  <a:lnTo>
                    <a:pt x="222" y="126"/>
                  </a:lnTo>
                  <a:lnTo>
                    <a:pt x="222" y="120"/>
                  </a:lnTo>
                  <a:lnTo>
                    <a:pt x="228" y="114"/>
                  </a:lnTo>
                  <a:lnTo>
                    <a:pt x="234" y="114"/>
                  </a:lnTo>
                  <a:lnTo>
                    <a:pt x="240" y="102"/>
                  </a:lnTo>
                  <a:lnTo>
                    <a:pt x="246" y="96"/>
                  </a:lnTo>
                  <a:lnTo>
                    <a:pt x="252" y="96"/>
                  </a:lnTo>
                  <a:lnTo>
                    <a:pt x="252" y="90"/>
                  </a:lnTo>
                  <a:lnTo>
                    <a:pt x="240" y="78"/>
                  </a:lnTo>
                  <a:lnTo>
                    <a:pt x="234" y="78"/>
                  </a:lnTo>
                  <a:lnTo>
                    <a:pt x="228" y="72"/>
                  </a:lnTo>
                  <a:lnTo>
                    <a:pt x="228" y="66"/>
                  </a:lnTo>
                  <a:lnTo>
                    <a:pt x="234" y="66"/>
                  </a:lnTo>
                  <a:lnTo>
                    <a:pt x="246" y="60"/>
                  </a:lnTo>
                  <a:lnTo>
                    <a:pt x="258" y="60"/>
                  </a:lnTo>
                  <a:lnTo>
                    <a:pt x="252" y="54"/>
                  </a:lnTo>
                  <a:lnTo>
                    <a:pt x="252" y="36"/>
                  </a:lnTo>
                  <a:lnTo>
                    <a:pt x="258" y="36"/>
                  </a:lnTo>
                  <a:lnTo>
                    <a:pt x="270" y="30"/>
                  </a:lnTo>
                  <a:lnTo>
                    <a:pt x="264" y="18"/>
                  </a:lnTo>
                  <a:lnTo>
                    <a:pt x="270" y="12"/>
                  </a:lnTo>
                  <a:lnTo>
                    <a:pt x="264" y="12"/>
                  </a:lnTo>
                  <a:lnTo>
                    <a:pt x="252" y="6"/>
                  </a:lnTo>
                  <a:lnTo>
                    <a:pt x="246" y="6"/>
                  </a:lnTo>
                  <a:lnTo>
                    <a:pt x="234" y="0"/>
                  </a:lnTo>
                  <a:lnTo>
                    <a:pt x="180" y="0"/>
                  </a:lnTo>
                  <a:lnTo>
                    <a:pt x="168" y="12"/>
                  </a:lnTo>
                  <a:lnTo>
                    <a:pt x="156" y="18"/>
                  </a:lnTo>
                  <a:lnTo>
                    <a:pt x="156" y="30"/>
                  </a:lnTo>
                  <a:lnTo>
                    <a:pt x="162" y="36"/>
                  </a:lnTo>
                  <a:lnTo>
                    <a:pt x="162" y="54"/>
                  </a:lnTo>
                  <a:lnTo>
                    <a:pt x="168" y="60"/>
                  </a:lnTo>
                  <a:lnTo>
                    <a:pt x="174" y="60"/>
                  </a:lnTo>
                  <a:lnTo>
                    <a:pt x="180" y="66"/>
                  </a:lnTo>
                  <a:lnTo>
                    <a:pt x="180" y="78"/>
                  </a:lnTo>
                  <a:lnTo>
                    <a:pt x="168" y="84"/>
                  </a:lnTo>
                  <a:lnTo>
                    <a:pt x="162" y="90"/>
                  </a:lnTo>
                  <a:lnTo>
                    <a:pt x="144" y="90"/>
                  </a:lnTo>
                  <a:lnTo>
                    <a:pt x="138" y="84"/>
                  </a:lnTo>
                  <a:lnTo>
                    <a:pt x="138" y="66"/>
                  </a:lnTo>
                  <a:lnTo>
                    <a:pt x="150" y="54"/>
                  </a:lnTo>
                  <a:lnTo>
                    <a:pt x="150" y="36"/>
                  </a:lnTo>
                  <a:lnTo>
                    <a:pt x="144" y="30"/>
                  </a:lnTo>
                  <a:lnTo>
                    <a:pt x="144" y="24"/>
                  </a:lnTo>
                  <a:lnTo>
                    <a:pt x="132" y="36"/>
                  </a:lnTo>
                  <a:lnTo>
                    <a:pt x="120" y="42"/>
                  </a:lnTo>
                  <a:lnTo>
                    <a:pt x="114" y="48"/>
                  </a:lnTo>
                  <a:lnTo>
                    <a:pt x="102" y="54"/>
                  </a:lnTo>
                  <a:lnTo>
                    <a:pt x="96" y="66"/>
                  </a:lnTo>
                  <a:lnTo>
                    <a:pt x="96" y="84"/>
                  </a:lnTo>
                  <a:lnTo>
                    <a:pt x="90" y="90"/>
                  </a:lnTo>
                  <a:lnTo>
                    <a:pt x="90" y="102"/>
                  </a:lnTo>
                  <a:lnTo>
                    <a:pt x="60" y="132"/>
                  </a:lnTo>
                  <a:lnTo>
                    <a:pt x="72" y="144"/>
                  </a:lnTo>
                  <a:lnTo>
                    <a:pt x="42" y="144"/>
                  </a:lnTo>
                  <a:lnTo>
                    <a:pt x="18" y="156"/>
                  </a:lnTo>
                  <a:close/>
                </a:path>
              </a:pathLst>
            </a:custGeom>
            <a:solidFill>
              <a:schemeClr val="accent1"/>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94" name="Nicaragua" descr="© INSCALE GmbH, 05.05.2010&#10;http://www.presentationload.com/">
              <a:extLst>
                <a:ext uri="{FF2B5EF4-FFF2-40B4-BE49-F238E27FC236}">
                  <a16:creationId xmlns:a16="http://schemas.microsoft.com/office/drawing/2014/main" id="{62DC6B0F-41C0-492B-874D-713D190B40E7}"/>
                </a:ext>
              </a:extLst>
            </p:cNvPr>
            <p:cNvSpPr>
              <a:spLocks/>
            </p:cNvSpPr>
            <p:nvPr/>
          </p:nvSpPr>
          <p:spPr bwMode="gray">
            <a:xfrm>
              <a:off x="1667563" y="3777519"/>
              <a:ext cx="130145" cy="131714"/>
            </a:xfrm>
            <a:custGeom>
              <a:avLst/>
              <a:gdLst>
                <a:gd name="T0" fmla="*/ 2147483647 w 324"/>
                <a:gd name="T1" fmla="*/ 2147483647 h 330"/>
                <a:gd name="T2" fmla="*/ 2147483647 w 324"/>
                <a:gd name="T3" fmla="*/ 0 h 330"/>
                <a:gd name="T4" fmla="*/ 2147483647 w 324"/>
                <a:gd name="T5" fmla="*/ 2147483647 h 330"/>
                <a:gd name="T6" fmla="*/ 2147483647 w 324"/>
                <a:gd name="T7" fmla="*/ 2147483647 h 330"/>
                <a:gd name="T8" fmla="*/ 2147483647 w 324"/>
                <a:gd name="T9" fmla="*/ 0 h 330"/>
                <a:gd name="T10" fmla="*/ 2147483647 w 324"/>
                <a:gd name="T11" fmla="*/ 2147483647 h 330"/>
                <a:gd name="T12" fmla="*/ 2147483647 w 324"/>
                <a:gd name="T13" fmla="*/ 2147483647 h 330"/>
                <a:gd name="T14" fmla="*/ 2147483647 w 324"/>
                <a:gd name="T15" fmla="*/ 2147483647 h 330"/>
                <a:gd name="T16" fmla="*/ 2147483647 w 324"/>
                <a:gd name="T17" fmla="*/ 2147483647 h 330"/>
                <a:gd name="T18" fmla="*/ 2147483647 w 324"/>
                <a:gd name="T19" fmla="*/ 2147483647 h 330"/>
                <a:gd name="T20" fmla="*/ 2147483647 w 324"/>
                <a:gd name="T21" fmla="*/ 2147483647 h 330"/>
                <a:gd name="T22" fmla="*/ 2147483647 w 324"/>
                <a:gd name="T23" fmla="*/ 2147483647 h 330"/>
                <a:gd name="T24" fmla="*/ 2147483647 w 324"/>
                <a:gd name="T25" fmla="*/ 2147483647 h 330"/>
                <a:gd name="T26" fmla="*/ 2147483647 w 324"/>
                <a:gd name="T27" fmla="*/ 2147483647 h 330"/>
                <a:gd name="T28" fmla="*/ 2147483647 w 324"/>
                <a:gd name="T29" fmla="*/ 2147483647 h 330"/>
                <a:gd name="T30" fmla="*/ 2147483647 w 324"/>
                <a:gd name="T31" fmla="*/ 2147483647 h 330"/>
                <a:gd name="T32" fmla="*/ 2147483647 w 324"/>
                <a:gd name="T33" fmla="*/ 2147483647 h 330"/>
                <a:gd name="T34" fmla="*/ 2147483647 w 324"/>
                <a:gd name="T35" fmla="*/ 2147483647 h 330"/>
                <a:gd name="T36" fmla="*/ 2147483647 w 324"/>
                <a:gd name="T37" fmla="*/ 2147483647 h 330"/>
                <a:gd name="T38" fmla="*/ 2147483647 w 324"/>
                <a:gd name="T39" fmla="*/ 2147483647 h 330"/>
                <a:gd name="T40" fmla="*/ 2147483647 w 324"/>
                <a:gd name="T41" fmla="*/ 2147483647 h 330"/>
                <a:gd name="T42" fmla="*/ 2147483647 w 324"/>
                <a:gd name="T43" fmla="*/ 2147483647 h 330"/>
                <a:gd name="T44" fmla="*/ 2147483647 w 324"/>
                <a:gd name="T45" fmla="*/ 2147483647 h 330"/>
                <a:gd name="T46" fmla="*/ 2147483647 w 324"/>
                <a:gd name="T47" fmla="*/ 2147483647 h 330"/>
                <a:gd name="T48" fmla="*/ 2147483647 w 324"/>
                <a:gd name="T49" fmla="*/ 2147483647 h 330"/>
                <a:gd name="T50" fmla="*/ 2147483647 w 324"/>
                <a:gd name="T51" fmla="*/ 2147483647 h 330"/>
                <a:gd name="T52" fmla="*/ 2147483647 w 324"/>
                <a:gd name="T53" fmla="*/ 2147483647 h 330"/>
                <a:gd name="T54" fmla="*/ 2147483647 w 324"/>
                <a:gd name="T55" fmla="*/ 2147483647 h 330"/>
                <a:gd name="T56" fmla="*/ 2147483647 w 324"/>
                <a:gd name="T57" fmla="*/ 2147483647 h 330"/>
                <a:gd name="T58" fmla="*/ 2147483647 w 324"/>
                <a:gd name="T59" fmla="*/ 2147483647 h 330"/>
                <a:gd name="T60" fmla="*/ 2147483647 w 324"/>
                <a:gd name="T61" fmla="*/ 2147483647 h 330"/>
                <a:gd name="T62" fmla="*/ 2147483647 w 324"/>
                <a:gd name="T63" fmla="*/ 2147483647 h 330"/>
                <a:gd name="T64" fmla="*/ 2147483647 w 324"/>
                <a:gd name="T65" fmla="*/ 2147483647 h 330"/>
                <a:gd name="T66" fmla="*/ 2147483647 w 324"/>
                <a:gd name="T67" fmla="*/ 2147483647 h 330"/>
                <a:gd name="T68" fmla="*/ 2147483647 w 324"/>
                <a:gd name="T69" fmla="*/ 2147483647 h 330"/>
                <a:gd name="T70" fmla="*/ 2147483647 w 324"/>
                <a:gd name="T71" fmla="*/ 2147483647 h 330"/>
                <a:gd name="T72" fmla="*/ 2147483647 w 324"/>
                <a:gd name="T73" fmla="*/ 2147483647 h 330"/>
                <a:gd name="T74" fmla="*/ 2147483647 w 324"/>
                <a:gd name="T75" fmla="*/ 2147483647 h 330"/>
                <a:gd name="T76" fmla="*/ 2147483647 w 324"/>
                <a:gd name="T77" fmla="*/ 2147483647 h 330"/>
                <a:gd name="T78" fmla="*/ 2147483647 w 324"/>
                <a:gd name="T79" fmla="*/ 2147483647 h 330"/>
                <a:gd name="T80" fmla="*/ 2147483647 w 324"/>
                <a:gd name="T81" fmla="*/ 2147483647 h 3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4"/>
                <a:gd name="T124" fmla="*/ 0 h 330"/>
                <a:gd name="T125" fmla="*/ 324 w 324"/>
                <a:gd name="T126" fmla="*/ 330 h 33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4" h="330">
                  <a:moveTo>
                    <a:pt x="324" y="18"/>
                  </a:moveTo>
                  <a:lnTo>
                    <a:pt x="318" y="12"/>
                  </a:lnTo>
                  <a:lnTo>
                    <a:pt x="318" y="6"/>
                  </a:lnTo>
                  <a:lnTo>
                    <a:pt x="312" y="0"/>
                  </a:lnTo>
                  <a:lnTo>
                    <a:pt x="264" y="0"/>
                  </a:lnTo>
                  <a:lnTo>
                    <a:pt x="264" y="6"/>
                  </a:lnTo>
                  <a:lnTo>
                    <a:pt x="252" y="18"/>
                  </a:lnTo>
                  <a:lnTo>
                    <a:pt x="240" y="18"/>
                  </a:lnTo>
                  <a:lnTo>
                    <a:pt x="222" y="0"/>
                  </a:lnTo>
                  <a:lnTo>
                    <a:pt x="210" y="0"/>
                  </a:lnTo>
                  <a:lnTo>
                    <a:pt x="198" y="12"/>
                  </a:lnTo>
                  <a:lnTo>
                    <a:pt x="198" y="30"/>
                  </a:lnTo>
                  <a:lnTo>
                    <a:pt x="180" y="30"/>
                  </a:lnTo>
                  <a:lnTo>
                    <a:pt x="168" y="54"/>
                  </a:lnTo>
                  <a:lnTo>
                    <a:pt x="144" y="78"/>
                  </a:lnTo>
                  <a:lnTo>
                    <a:pt x="126" y="78"/>
                  </a:lnTo>
                  <a:lnTo>
                    <a:pt x="120" y="72"/>
                  </a:lnTo>
                  <a:lnTo>
                    <a:pt x="120" y="66"/>
                  </a:lnTo>
                  <a:lnTo>
                    <a:pt x="108" y="66"/>
                  </a:lnTo>
                  <a:lnTo>
                    <a:pt x="102" y="72"/>
                  </a:lnTo>
                  <a:lnTo>
                    <a:pt x="96" y="84"/>
                  </a:lnTo>
                  <a:lnTo>
                    <a:pt x="60" y="84"/>
                  </a:lnTo>
                  <a:lnTo>
                    <a:pt x="54" y="90"/>
                  </a:lnTo>
                  <a:lnTo>
                    <a:pt x="54" y="102"/>
                  </a:lnTo>
                  <a:lnTo>
                    <a:pt x="60" y="108"/>
                  </a:lnTo>
                  <a:lnTo>
                    <a:pt x="60" y="120"/>
                  </a:lnTo>
                  <a:lnTo>
                    <a:pt x="66" y="126"/>
                  </a:lnTo>
                  <a:lnTo>
                    <a:pt x="48" y="126"/>
                  </a:lnTo>
                  <a:lnTo>
                    <a:pt x="48" y="144"/>
                  </a:lnTo>
                  <a:lnTo>
                    <a:pt x="36" y="150"/>
                  </a:lnTo>
                  <a:lnTo>
                    <a:pt x="0" y="150"/>
                  </a:lnTo>
                  <a:lnTo>
                    <a:pt x="48" y="204"/>
                  </a:lnTo>
                  <a:lnTo>
                    <a:pt x="48" y="210"/>
                  </a:lnTo>
                  <a:lnTo>
                    <a:pt x="54" y="216"/>
                  </a:lnTo>
                  <a:lnTo>
                    <a:pt x="54" y="228"/>
                  </a:lnTo>
                  <a:lnTo>
                    <a:pt x="66" y="252"/>
                  </a:lnTo>
                  <a:lnTo>
                    <a:pt x="72" y="258"/>
                  </a:lnTo>
                  <a:lnTo>
                    <a:pt x="96" y="270"/>
                  </a:lnTo>
                  <a:lnTo>
                    <a:pt x="108" y="282"/>
                  </a:lnTo>
                  <a:lnTo>
                    <a:pt x="114" y="294"/>
                  </a:lnTo>
                  <a:lnTo>
                    <a:pt x="138" y="294"/>
                  </a:lnTo>
                  <a:lnTo>
                    <a:pt x="132" y="294"/>
                  </a:lnTo>
                  <a:lnTo>
                    <a:pt x="120" y="282"/>
                  </a:lnTo>
                  <a:lnTo>
                    <a:pt x="120" y="276"/>
                  </a:lnTo>
                  <a:lnTo>
                    <a:pt x="126" y="270"/>
                  </a:lnTo>
                  <a:lnTo>
                    <a:pt x="138" y="270"/>
                  </a:lnTo>
                  <a:lnTo>
                    <a:pt x="138" y="264"/>
                  </a:lnTo>
                  <a:lnTo>
                    <a:pt x="132" y="258"/>
                  </a:lnTo>
                  <a:lnTo>
                    <a:pt x="126" y="258"/>
                  </a:lnTo>
                  <a:lnTo>
                    <a:pt x="120" y="264"/>
                  </a:lnTo>
                  <a:lnTo>
                    <a:pt x="114" y="264"/>
                  </a:lnTo>
                  <a:lnTo>
                    <a:pt x="114" y="222"/>
                  </a:lnTo>
                  <a:lnTo>
                    <a:pt x="120" y="222"/>
                  </a:lnTo>
                  <a:lnTo>
                    <a:pt x="132" y="228"/>
                  </a:lnTo>
                  <a:lnTo>
                    <a:pt x="144" y="240"/>
                  </a:lnTo>
                  <a:lnTo>
                    <a:pt x="156" y="246"/>
                  </a:lnTo>
                  <a:lnTo>
                    <a:pt x="180" y="270"/>
                  </a:lnTo>
                  <a:lnTo>
                    <a:pt x="192" y="306"/>
                  </a:lnTo>
                  <a:lnTo>
                    <a:pt x="210" y="306"/>
                  </a:lnTo>
                  <a:lnTo>
                    <a:pt x="216" y="312"/>
                  </a:lnTo>
                  <a:lnTo>
                    <a:pt x="222" y="312"/>
                  </a:lnTo>
                  <a:lnTo>
                    <a:pt x="222" y="318"/>
                  </a:lnTo>
                  <a:lnTo>
                    <a:pt x="234" y="330"/>
                  </a:lnTo>
                  <a:lnTo>
                    <a:pt x="270" y="330"/>
                  </a:lnTo>
                  <a:lnTo>
                    <a:pt x="270" y="324"/>
                  </a:lnTo>
                  <a:lnTo>
                    <a:pt x="258" y="312"/>
                  </a:lnTo>
                  <a:lnTo>
                    <a:pt x="252" y="300"/>
                  </a:lnTo>
                  <a:lnTo>
                    <a:pt x="252" y="276"/>
                  </a:lnTo>
                  <a:lnTo>
                    <a:pt x="264" y="264"/>
                  </a:lnTo>
                  <a:lnTo>
                    <a:pt x="270" y="264"/>
                  </a:lnTo>
                  <a:lnTo>
                    <a:pt x="270" y="246"/>
                  </a:lnTo>
                  <a:lnTo>
                    <a:pt x="264" y="234"/>
                  </a:lnTo>
                  <a:lnTo>
                    <a:pt x="264" y="222"/>
                  </a:lnTo>
                  <a:lnTo>
                    <a:pt x="270" y="174"/>
                  </a:lnTo>
                  <a:lnTo>
                    <a:pt x="282" y="192"/>
                  </a:lnTo>
                  <a:lnTo>
                    <a:pt x="288" y="108"/>
                  </a:lnTo>
                  <a:lnTo>
                    <a:pt x="288" y="102"/>
                  </a:lnTo>
                  <a:lnTo>
                    <a:pt x="294" y="96"/>
                  </a:lnTo>
                  <a:lnTo>
                    <a:pt x="306" y="72"/>
                  </a:lnTo>
                  <a:lnTo>
                    <a:pt x="312" y="66"/>
                  </a:lnTo>
                  <a:lnTo>
                    <a:pt x="324" y="42"/>
                  </a:lnTo>
                  <a:lnTo>
                    <a:pt x="324" y="18"/>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95" name="Neu Seeland" descr="© INSCALE GmbH, 05.05.2010&#10;http://www.presentationload.com/">
              <a:extLst>
                <a:ext uri="{FF2B5EF4-FFF2-40B4-BE49-F238E27FC236}">
                  <a16:creationId xmlns:a16="http://schemas.microsoft.com/office/drawing/2014/main" id="{DBEF31AB-83C9-43D3-B40F-950A3CA72BA3}"/>
                </a:ext>
              </a:extLst>
            </p:cNvPr>
            <p:cNvSpPr>
              <a:spLocks noEditPoints="1"/>
            </p:cNvSpPr>
            <p:nvPr/>
          </p:nvSpPr>
          <p:spPr bwMode="gray">
            <a:xfrm>
              <a:off x="8350477" y="5351814"/>
              <a:ext cx="504903" cy="390438"/>
            </a:xfrm>
            <a:custGeom>
              <a:avLst/>
              <a:gdLst>
                <a:gd name="T0" fmla="*/ 2147483647 w 1272"/>
                <a:gd name="T1" fmla="*/ 2147483647 h 984"/>
                <a:gd name="T2" fmla="*/ 2147483647 w 1272"/>
                <a:gd name="T3" fmla="*/ 2147483647 h 984"/>
                <a:gd name="T4" fmla="*/ 2147483647 w 1272"/>
                <a:gd name="T5" fmla="*/ 2147483647 h 984"/>
                <a:gd name="T6" fmla="*/ 2147483647 w 1272"/>
                <a:gd name="T7" fmla="*/ 2147483647 h 984"/>
                <a:gd name="T8" fmla="*/ 2147483647 w 1272"/>
                <a:gd name="T9" fmla="*/ 2147483647 h 984"/>
                <a:gd name="T10" fmla="*/ 2147483647 w 1272"/>
                <a:gd name="T11" fmla="*/ 2147483647 h 984"/>
                <a:gd name="T12" fmla="*/ 2147483647 w 1272"/>
                <a:gd name="T13" fmla="*/ 2147483647 h 984"/>
                <a:gd name="T14" fmla="*/ 2147483647 w 1272"/>
                <a:gd name="T15" fmla="*/ 2147483647 h 984"/>
                <a:gd name="T16" fmla="*/ 2147483647 w 1272"/>
                <a:gd name="T17" fmla="*/ 2147483647 h 984"/>
                <a:gd name="T18" fmla="*/ 2147483647 w 1272"/>
                <a:gd name="T19" fmla="*/ 2147483647 h 984"/>
                <a:gd name="T20" fmla="*/ 2147483647 w 1272"/>
                <a:gd name="T21" fmla="*/ 2147483647 h 984"/>
                <a:gd name="T22" fmla="*/ 2147483647 w 1272"/>
                <a:gd name="T23" fmla="*/ 2147483647 h 984"/>
                <a:gd name="T24" fmla="*/ 2147483647 w 1272"/>
                <a:gd name="T25" fmla="*/ 2147483647 h 984"/>
                <a:gd name="T26" fmla="*/ 2147483647 w 1272"/>
                <a:gd name="T27" fmla="*/ 2147483647 h 984"/>
                <a:gd name="T28" fmla="*/ 2147483647 w 1272"/>
                <a:gd name="T29" fmla="*/ 2147483647 h 984"/>
                <a:gd name="T30" fmla="*/ 2147483647 w 1272"/>
                <a:gd name="T31" fmla="*/ 2147483647 h 984"/>
                <a:gd name="T32" fmla="*/ 2147483647 w 1272"/>
                <a:gd name="T33" fmla="*/ 2147483647 h 984"/>
                <a:gd name="T34" fmla="*/ 2147483647 w 1272"/>
                <a:gd name="T35" fmla="*/ 2147483647 h 984"/>
                <a:gd name="T36" fmla="*/ 2147483647 w 1272"/>
                <a:gd name="T37" fmla="*/ 2147483647 h 984"/>
                <a:gd name="T38" fmla="*/ 2147483647 w 1272"/>
                <a:gd name="T39" fmla="*/ 2147483647 h 984"/>
                <a:gd name="T40" fmla="*/ 2147483647 w 1272"/>
                <a:gd name="T41" fmla="*/ 2147483647 h 984"/>
                <a:gd name="T42" fmla="*/ 2147483647 w 1272"/>
                <a:gd name="T43" fmla="*/ 2147483647 h 984"/>
                <a:gd name="T44" fmla="*/ 2147483647 w 1272"/>
                <a:gd name="T45" fmla="*/ 2147483647 h 984"/>
                <a:gd name="T46" fmla="*/ 2147483647 w 1272"/>
                <a:gd name="T47" fmla="*/ 2147483647 h 984"/>
                <a:gd name="T48" fmla="*/ 2147483647 w 1272"/>
                <a:gd name="T49" fmla="*/ 2147483647 h 984"/>
                <a:gd name="T50" fmla="*/ 2147483647 w 1272"/>
                <a:gd name="T51" fmla="*/ 2147483647 h 984"/>
                <a:gd name="T52" fmla="*/ 2147483647 w 1272"/>
                <a:gd name="T53" fmla="*/ 2147483647 h 984"/>
                <a:gd name="T54" fmla="*/ 2147483647 w 1272"/>
                <a:gd name="T55" fmla="*/ 2147483647 h 984"/>
                <a:gd name="T56" fmla="*/ 2147483647 w 1272"/>
                <a:gd name="T57" fmla="*/ 2147483647 h 984"/>
                <a:gd name="T58" fmla="*/ 2147483647 w 1272"/>
                <a:gd name="T59" fmla="*/ 2147483647 h 984"/>
                <a:gd name="T60" fmla="*/ 2147483647 w 1272"/>
                <a:gd name="T61" fmla="*/ 2147483647 h 984"/>
                <a:gd name="T62" fmla="*/ 2147483647 w 1272"/>
                <a:gd name="T63" fmla="*/ 2147483647 h 984"/>
                <a:gd name="T64" fmla="*/ 2147483647 w 1272"/>
                <a:gd name="T65" fmla="*/ 2147483647 h 984"/>
                <a:gd name="T66" fmla="*/ 2147483647 w 1272"/>
                <a:gd name="T67" fmla="*/ 2147483647 h 984"/>
                <a:gd name="T68" fmla="*/ 2147483647 w 1272"/>
                <a:gd name="T69" fmla="*/ 2147483647 h 984"/>
                <a:gd name="T70" fmla="*/ 2147483647 w 1272"/>
                <a:gd name="T71" fmla="*/ 2147483647 h 984"/>
                <a:gd name="T72" fmla="*/ 2147483647 w 1272"/>
                <a:gd name="T73" fmla="*/ 2147483647 h 984"/>
                <a:gd name="T74" fmla="*/ 2147483647 w 1272"/>
                <a:gd name="T75" fmla="*/ 2147483647 h 984"/>
                <a:gd name="T76" fmla="*/ 2147483647 w 1272"/>
                <a:gd name="T77" fmla="*/ 2147483647 h 984"/>
                <a:gd name="T78" fmla="*/ 2147483647 w 1272"/>
                <a:gd name="T79" fmla="*/ 2147483647 h 984"/>
                <a:gd name="T80" fmla="*/ 2147483647 w 1272"/>
                <a:gd name="T81" fmla="*/ 2147483647 h 984"/>
                <a:gd name="T82" fmla="*/ 2147483647 w 1272"/>
                <a:gd name="T83" fmla="*/ 2147483647 h 984"/>
                <a:gd name="T84" fmla="*/ 2147483647 w 1272"/>
                <a:gd name="T85" fmla="*/ 2147483647 h 984"/>
                <a:gd name="T86" fmla="*/ 2147483647 w 1272"/>
                <a:gd name="T87" fmla="*/ 2147483647 h 984"/>
                <a:gd name="T88" fmla="*/ 2147483647 w 1272"/>
                <a:gd name="T89" fmla="*/ 2147483647 h 984"/>
                <a:gd name="T90" fmla="*/ 2147483647 w 1272"/>
                <a:gd name="T91" fmla="*/ 2147483647 h 984"/>
                <a:gd name="T92" fmla="*/ 2147483647 w 1272"/>
                <a:gd name="T93" fmla="*/ 2147483647 h 984"/>
                <a:gd name="T94" fmla="*/ 2147483647 w 1272"/>
                <a:gd name="T95" fmla="*/ 2147483647 h 984"/>
                <a:gd name="T96" fmla="*/ 2147483647 w 1272"/>
                <a:gd name="T97" fmla="*/ 2147483647 h 984"/>
                <a:gd name="T98" fmla="*/ 2147483647 w 1272"/>
                <a:gd name="T99" fmla="*/ 2147483647 h 984"/>
                <a:gd name="T100" fmla="*/ 2147483647 w 1272"/>
                <a:gd name="T101" fmla="*/ 2147483647 h 984"/>
                <a:gd name="T102" fmla="*/ 2147483647 w 1272"/>
                <a:gd name="T103" fmla="*/ 2147483647 h 984"/>
                <a:gd name="T104" fmla="*/ 2147483647 w 1272"/>
                <a:gd name="T105" fmla="*/ 2147483647 h 984"/>
                <a:gd name="T106" fmla="*/ 2147483647 w 1272"/>
                <a:gd name="T107" fmla="*/ 2147483647 h 984"/>
                <a:gd name="T108" fmla="*/ 2147483647 w 1272"/>
                <a:gd name="T109" fmla="*/ 2147483647 h 984"/>
                <a:gd name="T110" fmla="*/ 2147483647 w 1272"/>
                <a:gd name="T111" fmla="*/ 2147483647 h 984"/>
                <a:gd name="T112" fmla="*/ 2147483647 w 1272"/>
                <a:gd name="T113" fmla="*/ 2147483647 h 984"/>
                <a:gd name="T114" fmla="*/ 2147483647 w 1272"/>
                <a:gd name="T115" fmla="*/ 2147483647 h 984"/>
                <a:gd name="T116" fmla="*/ 2147483647 w 1272"/>
                <a:gd name="T117" fmla="*/ 2147483647 h 984"/>
                <a:gd name="T118" fmla="*/ 2147483647 w 1272"/>
                <a:gd name="T119" fmla="*/ 2147483647 h 984"/>
                <a:gd name="T120" fmla="*/ 2147483647 w 1272"/>
                <a:gd name="T121" fmla="*/ 2147483647 h 9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72"/>
                <a:gd name="T184" fmla="*/ 0 h 984"/>
                <a:gd name="T185" fmla="*/ 1272 w 1272"/>
                <a:gd name="T186" fmla="*/ 984 h 98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72" h="984">
                  <a:moveTo>
                    <a:pt x="750" y="564"/>
                  </a:moveTo>
                  <a:lnTo>
                    <a:pt x="738" y="564"/>
                  </a:lnTo>
                  <a:lnTo>
                    <a:pt x="744" y="528"/>
                  </a:lnTo>
                  <a:lnTo>
                    <a:pt x="720" y="546"/>
                  </a:lnTo>
                  <a:lnTo>
                    <a:pt x="726" y="540"/>
                  </a:lnTo>
                  <a:lnTo>
                    <a:pt x="726" y="504"/>
                  </a:lnTo>
                  <a:lnTo>
                    <a:pt x="708" y="504"/>
                  </a:lnTo>
                  <a:lnTo>
                    <a:pt x="702" y="510"/>
                  </a:lnTo>
                  <a:lnTo>
                    <a:pt x="696" y="522"/>
                  </a:lnTo>
                  <a:lnTo>
                    <a:pt x="690" y="528"/>
                  </a:lnTo>
                  <a:lnTo>
                    <a:pt x="672" y="540"/>
                  </a:lnTo>
                  <a:lnTo>
                    <a:pt x="660" y="546"/>
                  </a:lnTo>
                  <a:lnTo>
                    <a:pt x="654" y="558"/>
                  </a:lnTo>
                  <a:lnTo>
                    <a:pt x="642" y="570"/>
                  </a:lnTo>
                  <a:lnTo>
                    <a:pt x="630" y="576"/>
                  </a:lnTo>
                  <a:lnTo>
                    <a:pt x="618" y="588"/>
                  </a:lnTo>
                  <a:lnTo>
                    <a:pt x="606" y="588"/>
                  </a:lnTo>
                  <a:lnTo>
                    <a:pt x="588" y="600"/>
                  </a:lnTo>
                  <a:lnTo>
                    <a:pt x="576" y="606"/>
                  </a:lnTo>
                  <a:lnTo>
                    <a:pt x="546" y="636"/>
                  </a:lnTo>
                  <a:lnTo>
                    <a:pt x="540" y="648"/>
                  </a:lnTo>
                  <a:lnTo>
                    <a:pt x="534" y="648"/>
                  </a:lnTo>
                  <a:lnTo>
                    <a:pt x="528" y="654"/>
                  </a:lnTo>
                  <a:lnTo>
                    <a:pt x="510" y="660"/>
                  </a:lnTo>
                  <a:lnTo>
                    <a:pt x="498" y="666"/>
                  </a:lnTo>
                  <a:lnTo>
                    <a:pt x="462" y="678"/>
                  </a:lnTo>
                  <a:lnTo>
                    <a:pt x="438" y="690"/>
                  </a:lnTo>
                  <a:lnTo>
                    <a:pt x="426" y="702"/>
                  </a:lnTo>
                  <a:lnTo>
                    <a:pt x="414" y="708"/>
                  </a:lnTo>
                  <a:lnTo>
                    <a:pt x="408" y="720"/>
                  </a:lnTo>
                  <a:lnTo>
                    <a:pt x="396" y="726"/>
                  </a:lnTo>
                  <a:lnTo>
                    <a:pt x="378" y="726"/>
                  </a:lnTo>
                  <a:lnTo>
                    <a:pt x="366" y="732"/>
                  </a:lnTo>
                  <a:lnTo>
                    <a:pt x="312" y="750"/>
                  </a:lnTo>
                  <a:lnTo>
                    <a:pt x="288" y="762"/>
                  </a:lnTo>
                  <a:lnTo>
                    <a:pt x="270" y="774"/>
                  </a:lnTo>
                  <a:lnTo>
                    <a:pt x="246" y="786"/>
                  </a:lnTo>
                  <a:lnTo>
                    <a:pt x="222" y="792"/>
                  </a:lnTo>
                  <a:lnTo>
                    <a:pt x="198" y="804"/>
                  </a:lnTo>
                  <a:lnTo>
                    <a:pt x="180" y="810"/>
                  </a:lnTo>
                  <a:lnTo>
                    <a:pt x="174" y="816"/>
                  </a:lnTo>
                  <a:lnTo>
                    <a:pt x="168" y="828"/>
                  </a:lnTo>
                  <a:lnTo>
                    <a:pt x="168" y="846"/>
                  </a:lnTo>
                  <a:lnTo>
                    <a:pt x="156" y="834"/>
                  </a:lnTo>
                  <a:lnTo>
                    <a:pt x="150" y="834"/>
                  </a:lnTo>
                  <a:lnTo>
                    <a:pt x="144" y="840"/>
                  </a:lnTo>
                  <a:lnTo>
                    <a:pt x="120" y="852"/>
                  </a:lnTo>
                  <a:lnTo>
                    <a:pt x="108" y="864"/>
                  </a:lnTo>
                  <a:lnTo>
                    <a:pt x="72" y="882"/>
                  </a:lnTo>
                  <a:lnTo>
                    <a:pt x="66" y="882"/>
                  </a:lnTo>
                  <a:lnTo>
                    <a:pt x="54" y="888"/>
                  </a:lnTo>
                  <a:lnTo>
                    <a:pt x="36" y="888"/>
                  </a:lnTo>
                  <a:lnTo>
                    <a:pt x="18" y="894"/>
                  </a:lnTo>
                  <a:lnTo>
                    <a:pt x="12" y="906"/>
                  </a:lnTo>
                  <a:lnTo>
                    <a:pt x="0" y="912"/>
                  </a:lnTo>
                  <a:lnTo>
                    <a:pt x="18" y="912"/>
                  </a:lnTo>
                  <a:lnTo>
                    <a:pt x="24" y="918"/>
                  </a:lnTo>
                  <a:lnTo>
                    <a:pt x="30" y="918"/>
                  </a:lnTo>
                  <a:lnTo>
                    <a:pt x="24" y="924"/>
                  </a:lnTo>
                  <a:lnTo>
                    <a:pt x="24" y="942"/>
                  </a:lnTo>
                  <a:lnTo>
                    <a:pt x="30" y="948"/>
                  </a:lnTo>
                  <a:lnTo>
                    <a:pt x="42" y="948"/>
                  </a:lnTo>
                  <a:lnTo>
                    <a:pt x="54" y="942"/>
                  </a:lnTo>
                  <a:lnTo>
                    <a:pt x="60" y="936"/>
                  </a:lnTo>
                  <a:lnTo>
                    <a:pt x="72" y="948"/>
                  </a:lnTo>
                  <a:lnTo>
                    <a:pt x="96" y="948"/>
                  </a:lnTo>
                  <a:lnTo>
                    <a:pt x="102" y="954"/>
                  </a:lnTo>
                  <a:lnTo>
                    <a:pt x="132" y="954"/>
                  </a:lnTo>
                  <a:lnTo>
                    <a:pt x="150" y="972"/>
                  </a:lnTo>
                  <a:lnTo>
                    <a:pt x="180" y="966"/>
                  </a:lnTo>
                  <a:lnTo>
                    <a:pt x="192" y="972"/>
                  </a:lnTo>
                  <a:lnTo>
                    <a:pt x="198" y="978"/>
                  </a:lnTo>
                  <a:lnTo>
                    <a:pt x="216" y="984"/>
                  </a:lnTo>
                  <a:lnTo>
                    <a:pt x="228" y="984"/>
                  </a:lnTo>
                  <a:lnTo>
                    <a:pt x="252" y="972"/>
                  </a:lnTo>
                  <a:lnTo>
                    <a:pt x="264" y="948"/>
                  </a:lnTo>
                  <a:lnTo>
                    <a:pt x="288" y="936"/>
                  </a:lnTo>
                  <a:lnTo>
                    <a:pt x="312" y="936"/>
                  </a:lnTo>
                  <a:lnTo>
                    <a:pt x="336" y="924"/>
                  </a:lnTo>
                  <a:lnTo>
                    <a:pt x="342" y="912"/>
                  </a:lnTo>
                  <a:lnTo>
                    <a:pt x="342" y="894"/>
                  </a:lnTo>
                  <a:lnTo>
                    <a:pt x="348" y="882"/>
                  </a:lnTo>
                  <a:lnTo>
                    <a:pt x="372" y="870"/>
                  </a:lnTo>
                  <a:lnTo>
                    <a:pt x="396" y="870"/>
                  </a:lnTo>
                  <a:lnTo>
                    <a:pt x="408" y="858"/>
                  </a:lnTo>
                  <a:lnTo>
                    <a:pt x="408" y="846"/>
                  </a:lnTo>
                  <a:lnTo>
                    <a:pt x="402" y="840"/>
                  </a:lnTo>
                  <a:lnTo>
                    <a:pt x="420" y="840"/>
                  </a:lnTo>
                  <a:lnTo>
                    <a:pt x="480" y="792"/>
                  </a:lnTo>
                  <a:lnTo>
                    <a:pt x="462" y="774"/>
                  </a:lnTo>
                  <a:lnTo>
                    <a:pt x="504" y="792"/>
                  </a:lnTo>
                  <a:lnTo>
                    <a:pt x="504" y="774"/>
                  </a:lnTo>
                  <a:lnTo>
                    <a:pt x="510" y="768"/>
                  </a:lnTo>
                  <a:lnTo>
                    <a:pt x="540" y="768"/>
                  </a:lnTo>
                  <a:lnTo>
                    <a:pt x="546" y="774"/>
                  </a:lnTo>
                  <a:lnTo>
                    <a:pt x="558" y="780"/>
                  </a:lnTo>
                  <a:lnTo>
                    <a:pt x="570" y="780"/>
                  </a:lnTo>
                  <a:lnTo>
                    <a:pt x="576" y="774"/>
                  </a:lnTo>
                  <a:lnTo>
                    <a:pt x="576" y="768"/>
                  </a:lnTo>
                  <a:lnTo>
                    <a:pt x="582" y="762"/>
                  </a:lnTo>
                  <a:lnTo>
                    <a:pt x="582" y="756"/>
                  </a:lnTo>
                  <a:lnTo>
                    <a:pt x="570" y="744"/>
                  </a:lnTo>
                  <a:lnTo>
                    <a:pt x="612" y="702"/>
                  </a:lnTo>
                  <a:lnTo>
                    <a:pt x="618" y="702"/>
                  </a:lnTo>
                  <a:lnTo>
                    <a:pt x="624" y="696"/>
                  </a:lnTo>
                  <a:lnTo>
                    <a:pt x="660" y="678"/>
                  </a:lnTo>
                  <a:lnTo>
                    <a:pt x="666" y="666"/>
                  </a:lnTo>
                  <a:lnTo>
                    <a:pt x="672" y="660"/>
                  </a:lnTo>
                  <a:lnTo>
                    <a:pt x="672" y="654"/>
                  </a:lnTo>
                  <a:lnTo>
                    <a:pt x="696" y="654"/>
                  </a:lnTo>
                  <a:lnTo>
                    <a:pt x="708" y="648"/>
                  </a:lnTo>
                  <a:lnTo>
                    <a:pt x="738" y="618"/>
                  </a:lnTo>
                  <a:lnTo>
                    <a:pt x="738" y="612"/>
                  </a:lnTo>
                  <a:lnTo>
                    <a:pt x="744" y="612"/>
                  </a:lnTo>
                  <a:lnTo>
                    <a:pt x="750" y="606"/>
                  </a:lnTo>
                  <a:lnTo>
                    <a:pt x="768" y="594"/>
                  </a:lnTo>
                  <a:lnTo>
                    <a:pt x="780" y="582"/>
                  </a:lnTo>
                  <a:lnTo>
                    <a:pt x="786" y="570"/>
                  </a:lnTo>
                  <a:lnTo>
                    <a:pt x="786" y="546"/>
                  </a:lnTo>
                  <a:lnTo>
                    <a:pt x="780" y="540"/>
                  </a:lnTo>
                  <a:lnTo>
                    <a:pt x="780" y="534"/>
                  </a:lnTo>
                  <a:lnTo>
                    <a:pt x="750" y="564"/>
                  </a:lnTo>
                  <a:close/>
                  <a:moveTo>
                    <a:pt x="1224" y="324"/>
                  </a:moveTo>
                  <a:lnTo>
                    <a:pt x="1236" y="318"/>
                  </a:lnTo>
                  <a:lnTo>
                    <a:pt x="1242" y="318"/>
                  </a:lnTo>
                  <a:lnTo>
                    <a:pt x="1266" y="306"/>
                  </a:lnTo>
                  <a:lnTo>
                    <a:pt x="1272" y="300"/>
                  </a:lnTo>
                  <a:lnTo>
                    <a:pt x="1272" y="282"/>
                  </a:lnTo>
                  <a:lnTo>
                    <a:pt x="1266" y="270"/>
                  </a:lnTo>
                  <a:lnTo>
                    <a:pt x="1260" y="264"/>
                  </a:lnTo>
                  <a:lnTo>
                    <a:pt x="1248" y="264"/>
                  </a:lnTo>
                  <a:lnTo>
                    <a:pt x="1236" y="276"/>
                  </a:lnTo>
                  <a:lnTo>
                    <a:pt x="1236" y="282"/>
                  </a:lnTo>
                  <a:lnTo>
                    <a:pt x="1224" y="282"/>
                  </a:lnTo>
                  <a:lnTo>
                    <a:pt x="1212" y="276"/>
                  </a:lnTo>
                  <a:lnTo>
                    <a:pt x="1200" y="276"/>
                  </a:lnTo>
                  <a:lnTo>
                    <a:pt x="1194" y="282"/>
                  </a:lnTo>
                  <a:lnTo>
                    <a:pt x="1176" y="288"/>
                  </a:lnTo>
                  <a:lnTo>
                    <a:pt x="1158" y="288"/>
                  </a:lnTo>
                  <a:lnTo>
                    <a:pt x="1146" y="276"/>
                  </a:lnTo>
                  <a:lnTo>
                    <a:pt x="1146" y="222"/>
                  </a:lnTo>
                  <a:lnTo>
                    <a:pt x="1170" y="180"/>
                  </a:lnTo>
                  <a:lnTo>
                    <a:pt x="1170" y="174"/>
                  </a:lnTo>
                  <a:lnTo>
                    <a:pt x="1164" y="162"/>
                  </a:lnTo>
                  <a:lnTo>
                    <a:pt x="1158" y="156"/>
                  </a:lnTo>
                  <a:lnTo>
                    <a:pt x="1146" y="156"/>
                  </a:lnTo>
                  <a:lnTo>
                    <a:pt x="1140" y="168"/>
                  </a:lnTo>
                  <a:lnTo>
                    <a:pt x="1134" y="174"/>
                  </a:lnTo>
                  <a:lnTo>
                    <a:pt x="1134" y="204"/>
                  </a:lnTo>
                  <a:lnTo>
                    <a:pt x="1128" y="216"/>
                  </a:lnTo>
                  <a:lnTo>
                    <a:pt x="1116" y="222"/>
                  </a:lnTo>
                  <a:lnTo>
                    <a:pt x="1116" y="192"/>
                  </a:lnTo>
                  <a:lnTo>
                    <a:pt x="1092" y="174"/>
                  </a:lnTo>
                  <a:lnTo>
                    <a:pt x="1104" y="150"/>
                  </a:lnTo>
                  <a:lnTo>
                    <a:pt x="1116" y="138"/>
                  </a:lnTo>
                  <a:lnTo>
                    <a:pt x="1122" y="126"/>
                  </a:lnTo>
                  <a:lnTo>
                    <a:pt x="1128" y="108"/>
                  </a:lnTo>
                  <a:lnTo>
                    <a:pt x="1128" y="84"/>
                  </a:lnTo>
                  <a:lnTo>
                    <a:pt x="1116" y="78"/>
                  </a:lnTo>
                  <a:lnTo>
                    <a:pt x="1110" y="72"/>
                  </a:lnTo>
                  <a:lnTo>
                    <a:pt x="1098" y="66"/>
                  </a:lnTo>
                  <a:lnTo>
                    <a:pt x="1092" y="60"/>
                  </a:lnTo>
                  <a:lnTo>
                    <a:pt x="1080" y="60"/>
                  </a:lnTo>
                  <a:lnTo>
                    <a:pt x="1086" y="42"/>
                  </a:lnTo>
                  <a:lnTo>
                    <a:pt x="1062" y="42"/>
                  </a:lnTo>
                  <a:lnTo>
                    <a:pt x="1044" y="18"/>
                  </a:lnTo>
                  <a:lnTo>
                    <a:pt x="1050" y="0"/>
                  </a:lnTo>
                  <a:lnTo>
                    <a:pt x="1020" y="18"/>
                  </a:lnTo>
                  <a:lnTo>
                    <a:pt x="1044" y="54"/>
                  </a:lnTo>
                  <a:lnTo>
                    <a:pt x="1032" y="90"/>
                  </a:lnTo>
                  <a:lnTo>
                    <a:pt x="1056" y="102"/>
                  </a:lnTo>
                  <a:lnTo>
                    <a:pt x="1044" y="108"/>
                  </a:lnTo>
                  <a:lnTo>
                    <a:pt x="1044" y="126"/>
                  </a:lnTo>
                  <a:lnTo>
                    <a:pt x="1068" y="132"/>
                  </a:lnTo>
                  <a:lnTo>
                    <a:pt x="1044" y="150"/>
                  </a:lnTo>
                  <a:lnTo>
                    <a:pt x="1062" y="156"/>
                  </a:lnTo>
                  <a:lnTo>
                    <a:pt x="1062" y="168"/>
                  </a:lnTo>
                  <a:lnTo>
                    <a:pt x="1056" y="174"/>
                  </a:lnTo>
                  <a:lnTo>
                    <a:pt x="1056" y="192"/>
                  </a:lnTo>
                  <a:lnTo>
                    <a:pt x="1068" y="198"/>
                  </a:lnTo>
                  <a:lnTo>
                    <a:pt x="1074" y="204"/>
                  </a:lnTo>
                  <a:lnTo>
                    <a:pt x="1056" y="210"/>
                  </a:lnTo>
                  <a:lnTo>
                    <a:pt x="1044" y="222"/>
                  </a:lnTo>
                  <a:lnTo>
                    <a:pt x="1062" y="234"/>
                  </a:lnTo>
                  <a:lnTo>
                    <a:pt x="1038" y="258"/>
                  </a:lnTo>
                  <a:lnTo>
                    <a:pt x="1032" y="270"/>
                  </a:lnTo>
                  <a:lnTo>
                    <a:pt x="1026" y="276"/>
                  </a:lnTo>
                  <a:lnTo>
                    <a:pt x="1026" y="288"/>
                  </a:lnTo>
                  <a:lnTo>
                    <a:pt x="1038" y="300"/>
                  </a:lnTo>
                  <a:lnTo>
                    <a:pt x="1026" y="300"/>
                  </a:lnTo>
                  <a:lnTo>
                    <a:pt x="1014" y="306"/>
                  </a:lnTo>
                  <a:lnTo>
                    <a:pt x="1002" y="306"/>
                  </a:lnTo>
                  <a:lnTo>
                    <a:pt x="978" y="318"/>
                  </a:lnTo>
                  <a:lnTo>
                    <a:pt x="948" y="348"/>
                  </a:lnTo>
                  <a:lnTo>
                    <a:pt x="930" y="360"/>
                  </a:lnTo>
                  <a:lnTo>
                    <a:pt x="894" y="372"/>
                  </a:lnTo>
                  <a:lnTo>
                    <a:pt x="870" y="384"/>
                  </a:lnTo>
                  <a:lnTo>
                    <a:pt x="858" y="396"/>
                  </a:lnTo>
                  <a:lnTo>
                    <a:pt x="858" y="432"/>
                  </a:lnTo>
                  <a:lnTo>
                    <a:pt x="864" y="444"/>
                  </a:lnTo>
                  <a:lnTo>
                    <a:pt x="870" y="450"/>
                  </a:lnTo>
                  <a:lnTo>
                    <a:pt x="870" y="456"/>
                  </a:lnTo>
                  <a:lnTo>
                    <a:pt x="924" y="456"/>
                  </a:lnTo>
                  <a:lnTo>
                    <a:pt x="924" y="474"/>
                  </a:lnTo>
                  <a:lnTo>
                    <a:pt x="918" y="486"/>
                  </a:lnTo>
                  <a:lnTo>
                    <a:pt x="918" y="522"/>
                  </a:lnTo>
                  <a:lnTo>
                    <a:pt x="894" y="534"/>
                  </a:lnTo>
                  <a:lnTo>
                    <a:pt x="882" y="534"/>
                  </a:lnTo>
                  <a:lnTo>
                    <a:pt x="864" y="540"/>
                  </a:lnTo>
                  <a:lnTo>
                    <a:pt x="852" y="546"/>
                  </a:lnTo>
                  <a:lnTo>
                    <a:pt x="852" y="558"/>
                  </a:lnTo>
                  <a:lnTo>
                    <a:pt x="840" y="570"/>
                  </a:lnTo>
                  <a:lnTo>
                    <a:pt x="852" y="576"/>
                  </a:lnTo>
                  <a:lnTo>
                    <a:pt x="858" y="582"/>
                  </a:lnTo>
                  <a:lnTo>
                    <a:pt x="876" y="588"/>
                  </a:lnTo>
                  <a:lnTo>
                    <a:pt x="888" y="588"/>
                  </a:lnTo>
                  <a:lnTo>
                    <a:pt x="912" y="576"/>
                  </a:lnTo>
                  <a:lnTo>
                    <a:pt x="924" y="558"/>
                  </a:lnTo>
                  <a:lnTo>
                    <a:pt x="972" y="510"/>
                  </a:lnTo>
                  <a:lnTo>
                    <a:pt x="996" y="498"/>
                  </a:lnTo>
                  <a:lnTo>
                    <a:pt x="1014" y="492"/>
                  </a:lnTo>
                  <a:lnTo>
                    <a:pt x="1026" y="486"/>
                  </a:lnTo>
                  <a:lnTo>
                    <a:pt x="1032" y="480"/>
                  </a:lnTo>
                  <a:lnTo>
                    <a:pt x="1038" y="480"/>
                  </a:lnTo>
                  <a:lnTo>
                    <a:pt x="1044" y="474"/>
                  </a:lnTo>
                  <a:lnTo>
                    <a:pt x="1050" y="462"/>
                  </a:lnTo>
                  <a:lnTo>
                    <a:pt x="1056" y="462"/>
                  </a:lnTo>
                  <a:lnTo>
                    <a:pt x="1062" y="456"/>
                  </a:lnTo>
                  <a:lnTo>
                    <a:pt x="1074" y="450"/>
                  </a:lnTo>
                  <a:lnTo>
                    <a:pt x="1080" y="444"/>
                  </a:lnTo>
                  <a:lnTo>
                    <a:pt x="1080" y="420"/>
                  </a:lnTo>
                  <a:lnTo>
                    <a:pt x="1074" y="414"/>
                  </a:lnTo>
                  <a:lnTo>
                    <a:pt x="1080" y="414"/>
                  </a:lnTo>
                  <a:lnTo>
                    <a:pt x="1086" y="408"/>
                  </a:lnTo>
                  <a:lnTo>
                    <a:pt x="1110" y="396"/>
                  </a:lnTo>
                  <a:lnTo>
                    <a:pt x="1140" y="396"/>
                  </a:lnTo>
                  <a:lnTo>
                    <a:pt x="1152" y="402"/>
                  </a:lnTo>
                  <a:lnTo>
                    <a:pt x="1164" y="402"/>
                  </a:lnTo>
                  <a:lnTo>
                    <a:pt x="1176" y="390"/>
                  </a:lnTo>
                  <a:lnTo>
                    <a:pt x="1176" y="360"/>
                  </a:lnTo>
                  <a:lnTo>
                    <a:pt x="1200" y="360"/>
                  </a:lnTo>
                  <a:lnTo>
                    <a:pt x="1212" y="354"/>
                  </a:lnTo>
                  <a:lnTo>
                    <a:pt x="1218" y="354"/>
                  </a:lnTo>
                  <a:lnTo>
                    <a:pt x="1224" y="348"/>
                  </a:lnTo>
                  <a:lnTo>
                    <a:pt x="1224" y="324"/>
                  </a:lnTo>
                  <a:close/>
                </a:path>
              </a:pathLst>
            </a:custGeom>
            <a:solidFill>
              <a:schemeClr val="accent2"/>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96" name="Neufundland" descr="© INSCALE GmbH, 05.05.2010&#10;http://www.presentationload.com/">
              <a:extLst>
                <a:ext uri="{FF2B5EF4-FFF2-40B4-BE49-F238E27FC236}">
                  <a16:creationId xmlns:a16="http://schemas.microsoft.com/office/drawing/2014/main" id="{899B10B8-EFA4-4CC9-8DE2-79D7CBC9392B}"/>
                </a:ext>
              </a:extLst>
            </p:cNvPr>
            <p:cNvSpPr>
              <a:spLocks/>
            </p:cNvSpPr>
            <p:nvPr/>
          </p:nvSpPr>
          <p:spPr bwMode="gray">
            <a:xfrm>
              <a:off x="2682074" y="2610909"/>
              <a:ext cx="169346" cy="152099"/>
            </a:xfrm>
            <a:custGeom>
              <a:avLst/>
              <a:gdLst>
                <a:gd name="T0" fmla="*/ 2147483647 w 426"/>
                <a:gd name="T1" fmla="*/ 2147483647 h 384"/>
                <a:gd name="T2" fmla="*/ 2147483647 w 426"/>
                <a:gd name="T3" fmla="*/ 2147483647 h 384"/>
                <a:gd name="T4" fmla="*/ 2147483647 w 426"/>
                <a:gd name="T5" fmla="*/ 0 h 384"/>
                <a:gd name="T6" fmla="*/ 2147483647 w 426"/>
                <a:gd name="T7" fmla="*/ 2147483647 h 384"/>
                <a:gd name="T8" fmla="*/ 2147483647 w 426"/>
                <a:gd name="T9" fmla="*/ 2147483647 h 384"/>
                <a:gd name="T10" fmla="*/ 2147483647 w 426"/>
                <a:gd name="T11" fmla="*/ 2147483647 h 384"/>
                <a:gd name="T12" fmla="*/ 2147483647 w 426"/>
                <a:gd name="T13" fmla="*/ 2147483647 h 384"/>
                <a:gd name="T14" fmla="*/ 2147483647 w 426"/>
                <a:gd name="T15" fmla="*/ 2147483647 h 384"/>
                <a:gd name="T16" fmla="*/ 2147483647 w 426"/>
                <a:gd name="T17" fmla="*/ 2147483647 h 384"/>
                <a:gd name="T18" fmla="*/ 2147483647 w 426"/>
                <a:gd name="T19" fmla="*/ 2147483647 h 384"/>
                <a:gd name="T20" fmla="*/ 2147483647 w 426"/>
                <a:gd name="T21" fmla="*/ 2147483647 h 384"/>
                <a:gd name="T22" fmla="*/ 2147483647 w 426"/>
                <a:gd name="T23" fmla="*/ 2147483647 h 384"/>
                <a:gd name="T24" fmla="*/ 2147483647 w 426"/>
                <a:gd name="T25" fmla="*/ 2147483647 h 384"/>
                <a:gd name="T26" fmla="*/ 2147483647 w 426"/>
                <a:gd name="T27" fmla="*/ 2147483647 h 384"/>
                <a:gd name="T28" fmla="*/ 2147483647 w 426"/>
                <a:gd name="T29" fmla="*/ 2147483647 h 384"/>
                <a:gd name="T30" fmla="*/ 2147483647 w 426"/>
                <a:gd name="T31" fmla="*/ 2147483647 h 384"/>
                <a:gd name="T32" fmla="*/ 2147483647 w 426"/>
                <a:gd name="T33" fmla="*/ 2147483647 h 384"/>
                <a:gd name="T34" fmla="*/ 2147483647 w 426"/>
                <a:gd name="T35" fmla="*/ 2147483647 h 384"/>
                <a:gd name="T36" fmla="*/ 2147483647 w 426"/>
                <a:gd name="T37" fmla="*/ 2147483647 h 384"/>
                <a:gd name="T38" fmla="*/ 2147483647 w 426"/>
                <a:gd name="T39" fmla="*/ 2147483647 h 384"/>
                <a:gd name="T40" fmla="*/ 2147483647 w 426"/>
                <a:gd name="T41" fmla="*/ 2147483647 h 384"/>
                <a:gd name="T42" fmla="*/ 2147483647 w 426"/>
                <a:gd name="T43" fmla="*/ 2147483647 h 384"/>
                <a:gd name="T44" fmla="*/ 2147483647 w 426"/>
                <a:gd name="T45" fmla="*/ 2147483647 h 384"/>
                <a:gd name="T46" fmla="*/ 2147483647 w 426"/>
                <a:gd name="T47" fmla="*/ 2147483647 h 384"/>
                <a:gd name="T48" fmla="*/ 2147483647 w 426"/>
                <a:gd name="T49" fmla="*/ 2147483647 h 384"/>
                <a:gd name="T50" fmla="*/ 2147483647 w 426"/>
                <a:gd name="T51" fmla="*/ 2147483647 h 384"/>
                <a:gd name="T52" fmla="*/ 2147483647 w 426"/>
                <a:gd name="T53" fmla="*/ 2147483647 h 384"/>
                <a:gd name="T54" fmla="*/ 2147483647 w 426"/>
                <a:gd name="T55" fmla="*/ 2147483647 h 384"/>
                <a:gd name="T56" fmla="*/ 2147483647 w 426"/>
                <a:gd name="T57" fmla="*/ 2147483647 h 384"/>
                <a:gd name="T58" fmla="*/ 2147483647 w 426"/>
                <a:gd name="T59" fmla="*/ 2147483647 h 384"/>
                <a:gd name="T60" fmla="*/ 2147483647 w 426"/>
                <a:gd name="T61" fmla="*/ 2147483647 h 384"/>
                <a:gd name="T62" fmla="*/ 2147483647 w 426"/>
                <a:gd name="T63" fmla="*/ 2147483647 h 384"/>
                <a:gd name="T64" fmla="*/ 2147483647 w 426"/>
                <a:gd name="T65" fmla="*/ 2147483647 h 384"/>
                <a:gd name="T66" fmla="*/ 2147483647 w 426"/>
                <a:gd name="T67" fmla="*/ 2147483647 h 384"/>
                <a:gd name="T68" fmla="*/ 2147483647 w 426"/>
                <a:gd name="T69" fmla="*/ 2147483647 h 384"/>
                <a:gd name="T70" fmla="*/ 2147483647 w 426"/>
                <a:gd name="T71" fmla="*/ 2147483647 h 384"/>
                <a:gd name="T72" fmla="*/ 2147483647 w 426"/>
                <a:gd name="T73" fmla="*/ 2147483647 h 384"/>
                <a:gd name="T74" fmla="*/ 2147483647 w 426"/>
                <a:gd name="T75" fmla="*/ 2147483647 h 384"/>
                <a:gd name="T76" fmla="*/ 2147483647 w 426"/>
                <a:gd name="T77" fmla="*/ 2147483647 h 384"/>
                <a:gd name="T78" fmla="*/ 2147483647 w 426"/>
                <a:gd name="T79" fmla="*/ 2147483647 h 384"/>
                <a:gd name="T80" fmla="*/ 2147483647 w 426"/>
                <a:gd name="T81" fmla="*/ 2147483647 h 384"/>
                <a:gd name="T82" fmla="*/ 2147483647 w 426"/>
                <a:gd name="T83" fmla="*/ 2147483647 h 38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26"/>
                <a:gd name="T127" fmla="*/ 0 h 384"/>
                <a:gd name="T128" fmla="*/ 426 w 426"/>
                <a:gd name="T129" fmla="*/ 384 h 38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26" h="384">
                  <a:moveTo>
                    <a:pt x="258" y="18"/>
                  </a:moveTo>
                  <a:lnTo>
                    <a:pt x="270" y="12"/>
                  </a:lnTo>
                  <a:lnTo>
                    <a:pt x="276" y="12"/>
                  </a:lnTo>
                  <a:lnTo>
                    <a:pt x="294" y="6"/>
                  </a:lnTo>
                  <a:lnTo>
                    <a:pt x="306" y="0"/>
                  </a:lnTo>
                  <a:lnTo>
                    <a:pt x="330" y="0"/>
                  </a:lnTo>
                  <a:lnTo>
                    <a:pt x="342" y="6"/>
                  </a:lnTo>
                  <a:lnTo>
                    <a:pt x="342" y="18"/>
                  </a:lnTo>
                  <a:lnTo>
                    <a:pt x="336" y="24"/>
                  </a:lnTo>
                  <a:lnTo>
                    <a:pt x="312" y="42"/>
                  </a:lnTo>
                  <a:lnTo>
                    <a:pt x="312" y="48"/>
                  </a:lnTo>
                  <a:lnTo>
                    <a:pt x="306" y="54"/>
                  </a:lnTo>
                  <a:lnTo>
                    <a:pt x="300" y="72"/>
                  </a:lnTo>
                  <a:lnTo>
                    <a:pt x="276" y="96"/>
                  </a:lnTo>
                  <a:lnTo>
                    <a:pt x="258" y="102"/>
                  </a:lnTo>
                  <a:lnTo>
                    <a:pt x="246" y="102"/>
                  </a:lnTo>
                  <a:lnTo>
                    <a:pt x="210" y="150"/>
                  </a:lnTo>
                  <a:lnTo>
                    <a:pt x="210" y="174"/>
                  </a:lnTo>
                  <a:lnTo>
                    <a:pt x="234" y="156"/>
                  </a:lnTo>
                  <a:lnTo>
                    <a:pt x="264" y="108"/>
                  </a:lnTo>
                  <a:lnTo>
                    <a:pt x="282" y="126"/>
                  </a:lnTo>
                  <a:lnTo>
                    <a:pt x="306" y="138"/>
                  </a:lnTo>
                  <a:lnTo>
                    <a:pt x="294" y="168"/>
                  </a:lnTo>
                  <a:lnTo>
                    <a:pt x="324" y="168"/>
                  </a:lnTo>
                  <a:lnTo>
                    <a:pt x="330" y="192"/>
                  </a:lnTo>
                  <a:lnTo>
                    <a:pt x="384" y="162"/>
                  </a:lnTo>
                  <a:lnTo>
                    <a:pt x="402" y="174"/>
                  </a:lnTo>
                  <a:lnTo>
                    <a:pt x="396" y="180"/>
                  </a:lnTo>
                  <a:lnTo>
                    <a:pt x="390" y="192"/>
                  </a:lnTo>
                  <a:lnTo>
                    <a:pt x="378" y="204"/>
                  </a:lnTo>
                  <a:lnTo>
                    <a:pt x="372" y="204"/>
                  </a:lnTo>
                  <a:lnTo>
                    <a:pt x="384" y="204"/>
                  </a:lnTo>
                  <a:lnTo>
                    <a:pt x="396" y="210"/>
                  </a:lnTo>
                  <a:lnTo>
                    <a:pt x="408" y="210"/>
                  </a:lnTo>
                  <a:lnTo>
                    <a:pt x="408" y="216"/>
                  </a:lnTo>
                  <a:lnTo>
                    <a:pt x="396" y="240"/>
                  </a:lnTo>
                  <a:lnTo>
                    <a:pt x="384" y="252"/>
                  </a:lnTo>
                  <a:lnTo>
                    <a:pt x="378" y="264"/>
                  </a:lnTo>
                  <a:lnTo>
                    <a:pt x="366" y="276"/>
                  </a:lnTo>
                  <a:lnTo>
                    <a:pt x="360" y="288"/>
                  </a:lnTo>
                  <a:lnTo>
                    <a:pt x="354" y="294"/>
                  </a:lnTo>
                  <a:lnTo>
                    <a:pt x="390" y="294"/>
                  </a:lnTo>
                  <a:lnTo>
                    <a:pt x="354" y="312"/>
                  </a:lnTo>
                  <a:lnTo>
                    <a:pt x="384" y="312"/>
                  </a:lnTo>
                  <a:lnTo>
                    <a:pt x="420" y="300"/>
                  </a:lnTo>
                  <a:lnTo>
                    <a:pt x="426" y="324"/>
                  </a:lnTo>
                  <a:lnTo>
                    <a:pt x="360" y="384"/>
                  </a:lnTo>
                  <a:lnTo>
                    <a:pt x="318" y="378"/>
                  </a:lnTo>
                  <a:lnTo>
                    <a:pt x="336" y="354"/>
                  </a:lnTo>
                  <a:lnTo>
                    <a:pt x="306" y="360"/>
                  </a:lnTo>
                  <a:lnTo>
                    <a:pt x="300" y="348"/>
                  </a:lnTo>
                  <a:lnTo>
                    <a:pt x="228" y="360"/>
                  </a:lnTo>
                  <a:lnTo>
                    <a:pt x="192" y="354"/>
                  </a:lnTo>
                  <a:lnTo>
                    <a:pt x="186" y="348"/>
                  </a:lnTo>
                  <a:lnTo>
                    <a:pt x="228" y="336"/>
                  </a:lnTo>
                  <a:lnTo>
                    <a:pt x="234" y="330"/>
                  </a:lnTo>
                  <a:lnTo>
                    <a:pt x="234" y="324"/>
                  </a:lnTo>
                  <a:lnTo>
                    <a:pt x="228" y="324"/>
                  </a:lnTo>
                  <a:lnTo>
                    <a:pt x="222" y="318"/>
                  </a:lnTo>
                  <a:lnTo>
                    <a:pt x="198" y="318"/>
                  </a:lnTo>
                  <a:lnTo>
                    <a:pt x="162" y="312"/>
                  </a:lnTo>
                  <a:lnTo>
                    <a:pt x="126" y="300"/>
                  </a:lnTo>
                  <a:lnTo>
                    <a:pt x="96" y="294"/>
                  </a:lnTo>
                  <a:lnTo>
                    <a:pt x="78" y="294"/>
                  </a:lnTo>
                  <a:lnTo>
                    <a:pt x="72" y="300"/>
                  </a:lnTo>
                  <a:lnTo>
                    <a:pt x="48" y="300"/>
                  </a:lnTo>
                  <a:lnTo>
                    <a:pt x="36" y="306"/>
                  </a:lnTo>
                  <a:lnTo>
                    <a:pt x="24" y="306"/>
                  </a:lnTo>
                  <a:lnTo>
                    <a:pt x="12" y="300"/>
                  </a:lnTo>
                  <a:lnTo>
                    <a:pt x="6" y="294"/>
                  </a:lnTo>
                  <a:lnTo>
                    <a:pt x="18" y="282"/>
                  </a:lnTo>
                  <a:lnTo>
                    <a:pt x="24" y="282"/>
                  </a:lnTo>
                  <a:lnTo>
                    <a:pt x="30" y="276"/>
                  </a:lnTo>
                  <a:lnTo>
                    <a:pt x="42" y="276"/>
                  </a:lnTo>
                  <a:lnTo>
                    <a:pt x="30" y="276"/>
                  </a:lnTo>
                  <a:lnTo>
                    <a:pt x="12" y="270"/>
                  </a:lnTo>
                  <a:lnTo>
                    <a:pt x="0" y="258"/>
                  </a:lnTo>
                  <a:lnTo>
                    <a:pt x="6" y="252"/>
                  </a:lnTo>
                  <a:lnTo>
                    <a:pt x="18" y="252"/>
                  </a:lnTo>
                  <a:lnTo>
                    <a:pt x="54" y="234"/>
                  </a:lnTo>
                  <a:lnTo>
                    <a:pt x="60" y="228"/>
                  </a:lnTo>
                  <a:lnTo>
                    <a:pt x="66" y="228"/>
                  </a:lnTo>
                  <a:lnTo>
                    <a:pt x="204" y="90"/>
                  </a:lnTo>
                  <a:lnTo>
                    <a:pt x="258" y="18"/>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97" name="Nepal" descr="© INSCALE GmbH, 05.05.2010&#10;http://www.presentationload.com/">
              <a:extLst>
                <a:ext uri="{FF2B5EF4-FFF2-40B4-BE49-F238E27FC236}">
                  <a16:creationId xmlns:a16="http://schemas.microsoft.com/office/drawing/2014/main" id="{11898A42-916A-4AE0-BC2D-20E3C8229A48}"/>
                </a:ext>
              </a:extLst>
            </p:cNvPr>
            <p:cNvSpPr>
              <a:spLocks/>
            </p:cNvSpPr>
            <p:nvPr/>
          </p:nvSpPr>
          <p:spPr bwMode="gray">
            <a:xfrm>
              <a:off x="6323023" y="3275751"/>
              <a:ext cx="233635" cy="131714"/>
            </a:xfrm>
            <a:custGeom>
              <a:avLst/>
              <a:gdLst>
                <a:gd name="T0" fmla="*/ 2147483647 w 588"/>
                <a:gd name="T1" fmla="*/ 2147483647 h 330"/>
                <a:gd name="T2" fmla="*/ 2147483647 w 588"/>
                <a:gd name="T3" fmla="*/ 2147483647 h 330"/>
                <a:gd name="T4" fmla="*/ 2147483647 w 588"/>
                <a:gd name="T5" fmla="*/ 2147483647 h 330"/>
                <a:gd name="T6" fmla="*/ 2147483647 w 588"/>
                <a:gd name="T7" fmla="*/ 2147483647 h 330"/>
                <a:gd name="T8" fmla="*/ 2147483647 w 588"/>
                <a:gd name="T9" fmla="*/ 2147483647 h 330"/>
                <a:gd name="T10" fmla="*/ 2147483647 w 588"/>
                <a:gd name="T11" fmla="*/ 2147483647 h 330"/>
                <a:gd name="T12" fmla="*/ 2147483647 w 588"/>
                <a:gd name="T13" fmla="*/ 2147483647 h 330"/>
                <a:gd name="T14" fmla="*/ 2147483647 w 588"/>
                <a:gd name="T15" fmla="*/ 2147483647 h 330"/>
                <a:gd name="T16" fmla="*/ 2147483647 w 588"/>
                <a:gd name="T17" fmla="*/ 2147483647 h 330"/>
                <a:gd name="T18" fmla="*/ 2147483647 w 588"/>
                <a:gd name="T19" fmla="*/ 2147483647 h 330"/>
                <a:gd name="T20" fmla="*/ 2147483647 w 588"/>
                <a:gd name="T21" fmla="*/ 2147483647 h 330"/>
                <a:gd name="T22" fmla="*/ 2147483647 w 588"/>
                <a:gd name="T23" fmla="*/ 2147483647 h 330"/>
                <a:gd name="T24" fmla="*/ 2147483647 w 588"/>
                <a:gd name="T25" fmla="*/ 2147483647 h 330"/>
                <a:gd name="T26" fmla="*/ 2147483647 w 588"/>
                <a:gd name="T27" fmla="*/ 2147483647 h 330"/>
                <a:gd name="T28" fmla="*/ 2147483647 w 588"/>
                <a:gd name="T29" fmla="*/ 2147483647 h 330"/>
                <a:gd name="T30" fmla="*/ 2147483647 w 588"/>
                <a:gd name="T31" fmla="*/ 2147483647 h 330"/>
                <a:gd name="T32" fmla="*/ 2147483647 w 588"/>
                <a:gd name="T33" fmla="*/ 2147483647 h 330"/>
                <a:gd name="T34" fmla="*/ 2147483647 w 588"/>
                <a:gd name="T35" fmla="*/ 2147483647 h 330"/>
                <a:gd name="T36" fmla="*/ 2147483647 w 588"/>
                <a:gd name="T37" fmla="*/ 2147483647 h 330"/>
                <a:gd name="T38" fmla="*/ 2147483647 w 588"/>
                <a:gd name="T39" fmla="*/ 2147483647 h 330"/>
                <a:gd name="T40" fmla="*/ 2147483647 w 588"/>
                <a:gd name="T41" fmla="*/ 2147483647 h 330"/>
                <a:gd name="T42" fmla="*/ 2147483647 w 588"/>
                <a:gd name="T43" fmla="*/ 2147483647 h 330"/>
                <a:gd name="T44" fmla="*/ 2147483647 w 588"/>
                <a:gd name="T45" fmla="*/ 2147483647 h 330"/>
                <a:gd name="T46" fmla="*/ 2147483647 w 588"/>
                <a:gd name="T47" fmla="*/ 2147483647 h 330"/>
                <a:gd name="T48" fmla="*/ 2147483647 w 588"/>
                <a:gd name="T49" fmla="*/ 2147483647 h 330"/>
                <a:gd name="T50" fmla="*/ 2147483647 w 588"/>
                <a:gd name="T51" fmla="*/ 2147483647 h 330"/>
                <a:gd name="T52" fmla="*/ 2147483647 w 588"/>
                <a:gd name="T53" fmla="*/ 2147483647 h 330"/>
                <a:gd name="T54" fmla="*/ 2147483647 w 588"/>
                <a:gd name="T55" fmla="*/ 2147483647 h 330"/>
                <a:gd name="T56" fmla="*/ 2147483647 w 588"/>
                <a:gd name="T57" fmla="*/ 2147483647 h 330"/>
                <a:gd name="T58" fmla="*/ 2147483647 w 588"/>
                <a:gd name="T59" fmla="*/ 2147483647 h 330"/>
                <a:gd name="T60" fmla="*/ 2147483647 w 588"/>
                <a:gd name="T61" fmla="*/ 2147483647 h 330"/>
                <a:gd name="T62" fmla="*/ 2147483647 w 588"/>
                <a:gd name="T63" fmla="*/ 2147483647 h 330"/>
                <a:gd name="T64" fmla="*/ 2147483647 w 588"/>
                <a:gd name="T65" fmla="*/ 2147483647 h 330"/>
                <a:gd name="T66" fmla="*/ 2147483647 w 588"/>
                <a:gd name="T67" fmla="*/ 2147483647 h 330"/>
                <a:gd name="T68" fmla="*/ 2147483647 w 588"/>
                <a:gd name="T69" fmla="*/ 2147483647 h 330"/>
                <a:gd name="T70" fmla="*/ 2147483647 w 588"/>
                <a:gd name="T71" fmla="*/ 0 h 330"/>
                <a:gd name="T72" fmla="*/ 2147483647 w 588"/>
                <a:gd name="T73" fmla="*/ 2147483647 h 330"/>
                <a:gd name="T74" fmla="*/ 2147483647 w 588"/>
                <a:gd name="T75" fmla="*/ 2147483647 h 330"/>
                <a:gd name="T76" fmla="*/ 2147483647 w 588"/>
                <a:gd name="T77" fmla="*/ 2147483647 h 330"/>
                <a:gd name="T78" fmla="*/ 2147483647 w 588"/>
                <a:gd name="T79" fmla="*/ 2147483647 h 330"/>
                <a:gd name="T80" fmla="*/ 2147483647 w 588"/>
                <a:gd name="T81" fmla="*/ 2147483647 h 330"/>
                <a:gd name="T82" fmla="*/ 2147483647 w 588"/>
                <a:gd name="T83" fmla="*/ 2147483647 h 330"/>
                <a:gd name="T84" fmla="*/ 0 w 588"/>
                <a:gd name="T85" fmla="*/ 2147483647 h 330"/>
                <a:gd name="T86" fmla="*/ 2147483647 w 588"/>
                <a:gd name="T87" fmla="*/ 2147483647 h 330"/>
                <a:gd name="T88" fmla="*/ 2147483647 w 588"/>
                <a:gd name="T89" fmla="*/ 2147483647 h 330"/>
                <a:gd name="T90" fmla="*/ 2147483647 w 588"/>
                <a:gd name="T91" fmla="*/ 2147483647 h 330"/>
                <a:gd name="T92" fmla="*/ 2147483647 w 588"/>
                <a:gd name="T93" fmla="*/ 2147483647 h 330"/>
                <a:gd name="T94" fmla="*/ 2147483647 w 588"/>
                <a:gd name="T95" fmla="*/ 2147483647 h 330"/>
                <a:gd name="T96" fmla="*/ 2147483647 w 588"/>
                <a:gd name="T97" fmla="*/ 2147483647 h 330"/>
                <a:gd name="T98" fmla="*/ 2147483647 w 588"/>
                <a:gd name="T99" fmla="*/ 2147483647 h 330"/>
                <a:gd name="T100" fmla="*/ 2147483647 w 588"/>
                <a:gd name="T101" fmla="*/ 2147483647 h 330"/>
                <a:gd name="T102" fmla="*/ 2147483647 w 588"/>
                <a:gd name="T103" fmla="*/ 2147483647 h 330"/>
                <a:gd name="T104" fmla="*/ 2147483647 w 588"/>
                <a:gd name="T105" fmla="*/ 2147483647 h 330"/>
                <a:gd name="T106" fmla="*/ 2147483647 w 588"/>
                <a:gd name="T107" fmla="*/ 2147483647 h 330"/>
                <a:gd name="T108" fmla="*/ 2147483647 w 588"/>
                <a:gd name="T109" fmla="*/ 2147483647 h 3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8"/>
                <a:gd name="T166" fmla="*/ 0 h 330"/>
                <a:gd name="T167" fmla="*/ 588 w 588"/>
                <a:gd name="T168" fmla="*/ 330 h 3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8" h="330">
                  <a:moveTo>
                    <a:pt x="294" y="234"/>
                  </a:moveTo>
                  <a:lnTo>
                    <a:pt x="306" y="246"/>
                  </a:lnTo>
                  <a:lnTo>
                    <a:pt x="306" y="252"/>
                  </a:lnTo>
                  <a:lnTo>
                    <a:pt x="330" y="252"/>
                  </a:lnTo>
                  <a:lnTo>
                    <a:pt x="384" y="306"/>
                  </a:lnTo>
                  <a:lnTo>
                    <a:pt x="402" y="294"/>
                  </a:lnTo>
                  <a:lnTo>
                    <a:pt x="432" y="312"/>
                  </a:lnTo>
                  <a:lnTo>
                    <a:pt x="438" y="306"/>
                  </a:lnTo>
                  <a:lnTo>
                    <a:pt x="456" y="306"/>
                  </a:lnTo>
                  <a:lnTo>
                    <a:pt x="474" y="312"/>
                  </a:lnTo>
                  <a:lnTo>
                    <a:pt x="486" y="318"/>
                  </a:lnTo>
                  <a:lnTo>
                    <a:pt x="492" y="330"/>
                  </a:lnTo>
                  <a:lnTo>
                    <a:pt x="498" y="318"/>
                  </a:lnTo>
                  <a:lnTo>
                    <a:pt x="510" y="312"/>
                  </a:lnTo>
                  <a:lnTo>
                    <a:pt x="516" y="312"/>
                  </a:lnTo>
                  <a:lnTo>
                    <a:pt x="522" y="318"/>
                  </a:lnTo>
                  <a:lnTo>
                    <a:pt x="522" y="330"/>
                  </a:lnTo>
                  <a:lnTo>
                    <a:pt x="588" y="330"/>
                  </a:lnTo>
                  <a:lnTo>
                    <a:pt x="588" y="294"/>
                  </a:lnTo>
                  <a:lnTo>
                    <a:pt x="576" y="270"/>
                  </a:lnTo>
                  <a:lnTo>
                    <a:pt x="576" y="222"/>
                  </a:lnTo>
                  <a:lnTo>
                    <a:pt x="564" y="204"/>
                  </a:lnTo>
                  <a:lnTo>
                    <a:pt x="540" y="216"/>
                  </a:lnTo>
                  <a:lnTo>
                    <a:pt x="522" y="216"/>
                  </a:lnTo>
                  <a:lnTo>
                    <a:pt x="498" y="204"/>
                  </a:lnTo>
                  <a:lnTo>
                    <a:pt x="480" y="198"/>
                  </a:lnTo>
                  <a:lnTo>
                    <a:pt x="474" y="192"/>
                  </a:lnTo>
                  <a:lnTo>
                    <a:pt x="462" y="186"/>
                  </a:lnTo>
                  <a:lnTo>
                    <a:pt x="462" y="192"/>
                  </a:lnTo>
                  <a:lnTo>
                    <a:pt x="456" y="198"/>
                  </a:lnTo>
                  <a:lnTo>
                    <a:pt x="438" y="198"/>
                  </a:lnTo>
                  <a:lnTo>
                    <a:pt x="432" y="192"/>
                  </a:lnTo>
                  <a:lnTo>
                    <a:pt x="432" y="180"/>
                  </a:lnTo>
                  <a:lnTo>
                    <a:pt x="432" y="186"/>
                  </a:lnTo>
                  <a:lnTo>
                    <a:pt x="420" y="198"/>
                  </a:lnTo>
                  <a:lnTo>
                    <a:pt x="408" y="198"/>
                  </a:lnTo>
                  <a:lnTo>
                    <a:pt x="402" y="192"/>
                  </a:lnTo>
                  <a:lnTo>
                    <a:pt x="402" y="174"/>
                  </a:lnTo>
                  <a:lnTo>
                    <a:pt x="396" y="174"/>
                  </a:lnTo>
                  <a:lnTo>
                    <a:pt x="390" y="180"/>
                  </a:lnTo>
                  <a:lnTo>
                    <a:pt x="378" y="180"/>
                  </a:lnTo>
                  <a:lnTo>
                    <a:pt x="360" y="174"/>
                  </a:lnTo>
                  <a:lnTo>
                    <a:pt x="354" y="168"/>
                  </a:lnTo>
                  <a:lnTo>
                    <a:pt x="348" y="168"/>
                  </a:lnTo>
                  <a:lnTo>
                    <a:pt x="348" y="162"/>
                  </a:lnTo>
                  <a:lnTo>
                    <a:pt x="354" y="156"/>
                  </a:lnTo>
                  <a:lnTo>
                    <a:pt x="354" y="150"/>
                  </a:lnTo>
                  <a:lnTo>
                    <a:pt x="348" y="144"/>
                  </a:lnTo>
                  <a:lnTo>
                    <a:pt x="342" y="144"/>
                  </a:lnTo>
                  <a:lnTo>
                    <a:pt x="330" y="150"/>
                  </a:lnTo>
                  <a:lnTo>
                    <a:pt x="324" y="156"/>
                  </a:lnTo>
                  <a:lnTo>
                    <a:pt x="312" y="150"/>
                  </a:lnTo>
                  <a:lnTo>
                    <a:pt x="282" y="120"/>
                  </a:lnTo>
                  <a:lnTo>
                    <a:pt x="282" y="102"/>
                  </a:lnTo>
                  <a:lnTo>
                    <a:pt x="276" y="90"/>
                  </a:lnTo>
                  <a:lnTo>
                    <a:pt x="270" y="84"/>
                  </a:lnTo>
                  <a:lnTo>
                    <a:pt x="258" y="84"/>
                  </a:lnTo>
                  <a:lnTo>
                    <a:pt x="252" y="96"/>
                  </a:lnTo>
                  <a:lnTo>
                    <a:pt x="246" y="102"/>
                  </a:lnTo>
                  <a:lnTo>
                    <a:pt x="246" y="108"/>
                  </a:lnTo>
                  <a:lnTo>
                    <a:pt x="234" y="108"/>
                  </a:lnTo>
                  <a:lnTo>
                    <a:pt x="234" y="96"/>
                  </a:lnTo>
                  <a:lnTo>
                    <a:pt x="228" y="90"/>
                  </a:lnTo>
                  <a:lnTo>
                    <a:pt x="222" y="78"/>
                  </a:lnTo>
                  <a:lnTo>
                    <a:pt x="216" y="72"/>
                  </a:lnTo>
                  <a:lnTo>
                    <a:pt x="210" y="60"/>
                  </a:lnTo>
                  <a:lnTo>
                    <a:pt x="168" y="54"/>
                  </a:lnTo>
                  <a:lnTo>
                    <a:pt x="150" y="36"/>
                  </a:lnTo>
                  <a:lnTo>
                    <a:pt x="138" y="30"/>
                  </a:lnTo>
                  <a:lnTo>
                    <a:pt x="132" y="18"/>
                  </a:lnTo>
                  <a:lnTo>
                    <a:pt x="120" y="6"/>
                  </a:lnTo>
                  <a:lnTo>
                    <a:pt x="108" y="0"/>
                  </a:lnTo>
                  <a:lnTo>
                    <a:pt x="96" y="0"/>
                  </a:lnTo>
                  <a:lnTo>
                    <a:pt x="84" y="6"/>
                  </a:lnTo>
                  <a:lnTo>
                    <a:pt x="78" y="12"/>
                  </a:lnTo>
                  <a:lnTo>
                    <a:pt x="54" y="30"/>
                  </a:lnTo>
                  <a:lnTo>
                    <a:pt x="36" y="12"/>
                  </a:lnTo>
                  <a:lnTo>
                    <a:pt x="30" y="36"/>
                  </a:lnTo>
                  <a:lnTo>
                    <a:pt x="6" y="60"/>
                  </a:lnTo>
                  <a:lnTo>
                    <a:pt x="12" y="72"/>
                  </a:lnTo>
                  <a:lnTo>
                    <a:pt x="6" y="78"/>
                  </a:lnTo>
                  <a:lnTo>
                    <a:pt x="6" y="84"/>
                  </a:lnTo>
                  <a:lnTo>
                    <a:pt x="18" y="96"/>
                  </a:lnTo>
                  <a:lnTo>
                    <a:pt x="12" y="96"/>
                  </a:lnTo>
                  <a:lnTo>
                    <a:pt x="0" y="108"/>
                  </a:lnTo>
                  <a:lnTo>
                    <a:pt x="0" y="120"/>
                  </a:lnTo>
                  <a:lnTo>
                    <a:pt x="30" y="150"/>
                  </a:lnTo>
                  <a:lnTo>
                    <a:pt x="42" y="144"/>
                  </a:lnTo>
                  <a:lnTo>
                    <a:pt x="60" y="168"/>
                  </a:lnTo>
                  <a:lnTo>
                    <a:pt x="84" y="168"/>
                  </a:lnTo>
                  <a:lnTo>
                    <a:pt x="96" y="186"/>
                  </a:lnTo>
                  <a:lnTo>
                    <a:pt x="138" y="204"/>
                  </a:lnTo>
                  <a:lnTo>
                    <a:pt x="150" y="204"/>
                  </a:lnTo>
                  <a:lnTo>
                    <a:pt x="156" y="210"/>
                  </a:lnTo>
                  <a:lnTo>
                    <a:pt x="162" y="222"/>
                  </a:lnTo>
                  <a:lnTo>
                    <a:pt x="168" y="228"/>
                  </a:lnTo>
                  <a:lnTo>
                    <a:pt x="186" y="228"/>
                  </a:lnTo>
                  <a:lnTo>
                    <a:pt x="192" y="222"/>
                  </a:lnTo>
                  <a:lnTo>
                    <a:pt x="204" y="222"/>
                  </a:lnTo>
                  <a:lnTo>
                    <a:pt x="204" y="234"/>
                  </a:lnTo>
                  <a:lnTo>
                    <a:pt x="210" y="240"/>
                  </a:lnTo>
                  <a:lnTo>
                    <a:pt x="234" y="240"/>
                  </a:lnTo>
                  <a:lnTo>
                    <a:pt x="240" y="246"/>
                  </a:lnTo>
                  <a:lnTo>
                    <a:pt x="246" y="258"/>
                  </a:lnTo>
                  <a:lnTo>
                    <a:pt x="258" y="246"/>
                  </a:lnTo>
                  <a:lnTo>
                    <a:pt x="276" y="246"/>
                  </a:lnTo>
                  <a:lnTo>
                    <a:pt x="282" y="252"/>
                  </a:lnTo>
                  <a:lnTo>
                    <a:pt x="282" y="258"/>
                  </a:lnTo>
                  <a:lnTo>
                    <a:pt x="282" y="240"/>
                  </a:lnTo>
                  <a:lnTo>
                    <a:pt x="288" y="234"/>
                  </a:lnTo>
                  <a:lnTo>
                    <a:pt x="294" y="234"/>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98" name="Namibien" descr="© INSCALE GmbH, 05.05.2010&#10;http://www.presentationload.com/">
              <a:extLst>
                <a:ext uri="{FF2B5EF4-FFF2-40B4-BE49-F238E27FC236}">
                  <a16:creationId xmlns:a16="http://schemas.microsoft.com/office/drawing/2014/main" id="{A5B778CB-D3C2-4129-822A-9EE3B49A87B6}"/>
                </a:ext>
              </a:extLst>
            </p:cNvPr>
            <p:cNvSpPr>
              <a:spLocks/>
            </p:cNvSpPr>
            <p:nvPr/>
          </p:nvSpPr>
          <p:spPr bwMode="gray">
            <a:xfrm>
              <a:off x="4457075" y="4795166"/>
              <a:ext cx="379462" cy="387302"/>
            </a:xfrm>
            <a:custGeom>
              <a:avLst/>
              <a:gdLst>
                <a:gd name="T0" fmla="*/ 2147483647 w 954"/>
                <a:gd name="T1" fmla="*/ 2147483647 h 972"/>
                <a:gd name="T2" fmla="*/ 2147483647 w 954"/>
                <a:gd name="T3" fmla="*/ 2147483647 h 972"/>
                <a:gd name="T4" fmla="*/ 2147483647 w 954"/>
                <a:gd name="T5" fmla="*/ 2147483647 h 972"/>
                <a:gd name="T6" fmla="*/ 2147483647 w 954"/>
                <a:gd name="T7" fmla="*/ 2147483647 h 972"/>
                <a:gd name="T8" fmla="*/ 2147483647 w 954"/>
                <a:gd name="T9" fmla="*/ 2147483647 h 972"/>
                <a:gd name="T10" fmla="*/ 2147483647 w 954"/>
                <a:gd name="T11" fmla="*/ 2147483647 h 972"/>
                <a:gd name="T12" fmla="*/ 2147483647 w 954"/>
                <a:gd name="T13" fmla="*/ 2147483647 h 972"/>
                <a:gd name="T14" fmla="*/ 2147483647 w 954"/>
                <a:gd name="T15" fmla="*/ 2147483647 h 972"/>
                <a:gd name="T16" fmla="*/ 2147483647 w 954"/>
                <a:gd name="T17" fmla="*/ 2147483647 h 972"/>
                <a:gd name="T18" fmla="*/ 2147483647 w 954"/>
                <a:gd name="T19" fmla="*/ 2147483647 h 972"/>
                <a:gd name="T20" fmla="*/ 2147483647 w 954"/>
                <a:gd name="T21" fmla="*/ 2147483647 h 972"/>
                <a:gd name="T22" fmla="*/ 2147483647 w 954"/>
                <a:gd name="T23" fmla="*/ 2147483647 h 972"/>
                <a:gd name="T24" fmla="*/ 2147483647 w 954"/>
                <a:gd name="T25" fmla="*/ 2147483647 h 972"/>
                <a:gd name="T26" fmla="*/ 2147483647 w 954"/>
                <a:gd name="T27" fmla="*/ 2147483647 h 972"/>
                <a:gd name="T28" fmla="*/ 2147483647 w 954"/>
                <a:gd name="T29" fmla="*/ 2147483647 h 972"/>
                <a:gd name="T30" fmla="*/ 2147483647 w 954"/>
                <a:gd name="T31" fmla="*/ 2147483647 h 972"/>
                <a:gd name="T32" fmla="*/ 2147483647 w 954"/>
                <a:gd name="T33" fmla="*/ 2147483647 h 972"/>
                <a:gd name="T34" fmla="*/ 2147483647 w 954"/>
                <a:gd name="T35" fmla="*/ 2147483647 h 972"/>
                <a:gd name="T36" fmla="*/ 2147483647 w 954"/>
                <a:gd name="T37" fmla="*/ 2147483647 h 972"/>
                <a:gd name="T38" fmla="*/ 2147483647 w 954"/>
                <a:gd name="T39" fmla="*/ 2147483647 h 972"/>
                <a:gd name="T40" fmla="*/ 2147483647 w 954"/>
                <a:gd name="T41" fmla="*/ 2147483647 h 972"/>
                <a:gd name="T42" fmla="*/ 2147483647 w 954"/>
                <a:gd name="T43" fmla="*/ 2147483647 h 972"/>
                <a:gd name="T44" fmla="*/ 2147483647 w 954"/>
                <a:gd name="T45" fmla="*/ 2147483647 h 972"/>
                <a:gd name="T46" fmla="*/ 2147483647 w 954"/>
                <a:gd name="T47" fmla="*/ 2147483647 h 972"/>
                <a:gd name="T48" fmla="*/ 2147483647 w 954"/>
                <a:gd name="T49" fmla="*/ 2147483647 h 972"/>
                <a:gd name="T50" fmla="*/ 2147483647 w 954"/>
                <a:gd name="T51" fmla="*/ 2147483647 h 972"/>
                <a:gd name="T52" fmla="*/ 2147483647 w 954"/>
                <a:gd name="T53" fmla="*/ 2147483647 h 972"/>
                <a:gd name="T54" fmla="*/ 2147483647 w 954"/>
                <a:gd name="T55" fmla="*/ 2147483647 h 972"/>
                <a:gd name="T56" fmla="*/ 2147483647 w 954"/>
                <a:gd name="T57" fmla="*/ 2147483647 h 972"/>
                <a:gd name="T58" fmla="*/ 2147483647 w 954"/>
                <a:gd name="T59" fmla="*/ 2147483647 h 972"/>
                <a:gd name="T60" fmla="*/ 2147483647 w 954"/>
                <a:gd name="T61" fmla="*/ 2147483647 h 972"/>
                <a:gd name="T62" fmla="*/ 2147483647 w 954"/>
                <a:gd name="T63" fmla="*/ 2147483647 h 972"/>
                <a:gd name="T64" fmla="*/ 2147483647 w 954"/>
                <a:gd name="T65" fmla="*/ 2147483647 h 972"/>
                <a:gd name="T66" fmla="*/ 2147483647 w 954"/>
                <a:gd name="T67" fmla="*/ 0 h 972"/>
                <a:gd name="T68" fmla="*/ 2147483647 w 954"/>
                <a:gd name="T69" fmla="*/ 2147483647 h 972"/>
                <a:gd name="T70" fmla="*/ 2147483647 w 954"/>
                <a:gd name="T71" fmla="*/ 2147483647 h 972"/>
                <a:gd name="T72" fmla="*/ 0 w 954"/>
                <a:gd name="T73" fmla="*/ 2147483647 h 972"/>
                <a:gd name="T74" fmla="*/ 2147483647 w 954"/>
                <a:gd name="T75" fmla="*/ 2147483647 h 972"/>
                <a:gd name="T76" fmla="*/ 2147483647 w 954"/>
                <a:gd name="T77" fmla="*/ 2147483647 h 972"/>
                <a:gd name="T78" fmla="*/ 2147483647 w 954"/>
                <a:gd name="T79" fmla="*/ 2147483647 h 972"/>
                <a:gd name="T80" fmla="*/ 2147483647 w 954"/>
                <a:gd name="T81" fmla="*/ 2147483647 h 972"/>
                <a:gd name="T82" fmla="*/ 2147483647 w 954"/>
                <a:gd name="T83" fmla="*/ 2147483647 h 972"/>
                <a:gd name="T84" fmla="*/ 2147483647 w 954"/>
                <a:gd name="T85" fmla="*/ 2147483647 h 972"/>
                <a:gd name="T86" fmla="*/ 2147483647 w 954"/>
                <a:gd name="T87" fmla="*/ 2147483647 h 972"/>
                <a:gd name="T88" fmla="*/ 2147483647 w 954"/>
                <a:gd name="T89" fmla="*/ 2147483647 h 972"/>
                <a:gd name="T90" fmla="*/ 2147483647 w 954"/>
                <a:gd name="T91" fmla="*/ 2147483647 h 972"/>
                <a:gd name="T92" fmla="*/ 2147483647 w 954"/>
                <a:gd name="T93" fmla="*/ 2147483647 h 972"/>
                <a:gd name="T94" fmla="*/ 2147483647 w 954"/>
                <a:gd name="T95" fmla="*/ 2147483647 h 972"/>
                <a:gd name="T96" fmla="*/ 2147483647 w 954"/>
                <a:gd name="T97" fmla="*/ 2147483647 h 972"/>
                <a:gd name="T98" fmla="*/ 2147483647 w 954"/>
                <a:gd name="T99" fmla="*/ 2147483647 h 972"/>
                <a:gd name="T100" fmla="*/ 2147483647 w 954"/>
                <a:gd name="T101" fmla="*/ 2147483647 h 972"/>
                <a:gd name="T102" fmla="*/ 2147483647 w 954"/>
                <a:gd name="T103" fmla="*/ 2147483647 h 972"/>
                <a:gd name="T104" fmla="*/ 2147483647 w 954"/>
                <a:gd name="T105" fmla="*/ 2147483647 h 972"/>
                <a:gd name="T106" fmla="*/ 2147483647 w 954"/>
                <a:gd name="T107" fmla="*/ 2147483647 h 972"/>
                <a:gd name="T108" fmla="*/ 2147483647 w 954"/>
                <a:gd name="T109" fmla="*/ 2147483647 h 972"/>
                <a:gd name="T110" fmla="*/ 2147483647 w 954"/>
                <a:gd name="T111" fmla="*/ 2147483647 h 972"/>
                <a:gd name="T112" fmla="*/ 2147483647 w 954"/>
                <a:gd name="T113" fmla="*/ 2147483647 h 972"/>
                <a:gd name="T114" fmla="*/ 2147483647 w 954"/>
                <a:gd name="T115" fmla="*/ 2147483647 h 972"/>
                <a:gd name="T116" fmla="*/ 2147483647 w 954"/>
                <a:gd name="T117" fmla="*/ 2147483647 h 972"/>
                <a:gd name="T118" fmla="*/ 2147483647 w 954"/>
                <a:gd name="T119" fmla="*/ 2147483647 h 9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72"/>
                <a:gd name="T182" fmla="*/ 954 w 954"/>
                <a:gd name="T183" fmla="*/ 972 h 9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72">
                  <a:moveTo>
                    <a:pt x="366" y="894"/>
                  </a:moveTo>
                  <a:lnTo>
                    <a:pt x="372" y="894"/>
                  </a:lnTo>
                  <a:lnTo>
                    <a:pt x="390" y="912"/>
                  </a:lnTo>
                  <a:lnTo>
                    <a:pt x="390" y="936"/>
                  </a:lnTo>
                  <a:lnTo>
                    <a:pt x="396" y="948"/>
                  </a:lnTo>
                  <a:lnTo>
                    <a:pt x="402" y="954"/>
                  </a:lnTo>
                  <a:lnTo>
                    <a:pt x="426" y="954"/>
                  </a:lnTo>
                  <a:lnTo>
                    <a:pt x="432" y="960"/>
                  </a:lnTo>
                  <a:lnTo>
                    <a:pt x="432" y="966"/>
                  </a:lnTo>
                  <a:lnTo>
                    <a:pt x="438" y="972"/>
                  </a:lnTo>
                  <a:lnTo>
                    <a:pt x="462" y="972"/>
                  </a:lnTo>
                  <a:lnTo>
                    <a:pt x="474" y="960"/>
                  </a:lnTo>
                  <a:lnTo>
                    <a:pt x="486" y="960"/>
                  </a:lnTo>
                  <a:lnTo>
                    <a:pt x="498" y="972"/>
                  </a:lnTo>
                  <a:lnTo>
                    <a:pt x="522" y="972"/>
                  </a:lnTo>
                  <a:lnTo>
                    <a:pt x="522" y="948"/>
                  </a:lnTo>
                  <a:lnTo>
                    <a:pt x="534" y="948"/>
                  </a:lnTo>
                  <a:lnTo>
                    <a:pt x="534" y="942"/>
                  </a:lnTo>
                  <a:lnTo>
                    <a:pt x="540" y="936"/>
                  </a:lnTo>
                  <a:lnTo>
                    <a:pt x="552" y="930"/>
                  </a:lnTo>
                  <a:lnTo>
                    <a:pt x="570" y="930"/>
                  </a:lnTo>
                  <a:lnTo>
                    <a:pt x="582" y="414"/>
                  </a:lnTo>
                  <a:lnTo>
                    <a:pt x="654" y="414"/>
                  </a:lnTo>
                  <a:lnTo>
                    <a:pt x="648" y="288"/>
                  </a:lnTo>
                  <a:lnTo>
                    <a:pt x="654" y="282"/>
                  </a:lnTo>
                  <a:lnTo>
                    <a:pt x="654" y="108"/>
                  </a:lnTo>
                  <a:lnTo>
                    <a:pt x="690" y="108"/>
                  </a:lnTo>
                  <a:lnTo>
                    <a:pt x="708" y="102"/>
                  </a:lnTo>
                  <a:lnTo>
                    <a:pt x="744" y="102"/>
                  </a:lnTo>
                  <a:lnTo>
                    <a:pt x="792" y="90"/>
                  </a:lnTo>
                  <a:lnTo>
                    <a:pt x="804" y="84"/>
                  </a:lnTo>
                  <a:lnTo>
                    <a:pt x="822" y="84"/>
                  </a:lnTo>
                  <a:lnTo>
                    <a:pt x="828" y="90"/>
                  </a:lnTo>
                  <a:lnTo>
                    <a:pt x="828" y="108"/>
                  </a:lnTo>
                  <a:lnTo>
                    <a:pt x="834" y="108"/>
                  </a:lnTo>
                  <a:lnTo>
                    <a:pt x="834" y="126"/>
                  </a:lnTo>
                  <a:lnTo>
                    <a:pt x="840" y="126"/>
                  </a:lnTo>
                  <a:lnTo>
                    <a:pt x="882" y="84"/>
                  </a:lnTo>
                  <a:lnTo>
                    <a:pt x="906" y="84"/>
                  </a:lnTo>
                  <a:lnTo>
                    <a:pt x="918" y="72"/>
                  </a:lnTo>
                  <a:lnTo>
                    <a:pt x="954" y="66"/>
                  </a:lnTo>
                  <a:lnTo>
                    <a:pt x="936" y="48"/>
                  </a:lnTo>
                  <a:lnTo>
                    <a:pt x="906" y="54"/>
                  </a:lnTo>
                  <a:lnTo>
                    <a:pt x="906" y="48"/>
                  </a:lnTo>
                  <a:lnTo>
                    <a:pt x="900" y="42"/>
                  </a:lnTo>
                  <a:lnTo>
                    <a:pt x="882" y="42"/>
                  </a:lnTo>
                  <a:lnTo>
                    <a:pt x="876" y="48"/>
                  </a:lnTo>
                  <a:lnTo>
                    <a:pt x="870" y="48"/>
                  </a:lnTo>
                  <a:lnTo>
                    <a:pt x="846" y="60"/>
                  </a:lnTo>
                  <a:lnTo>
                    <a:pt x="828" y="54"/>
                  </a:lnTo>
                  <a:lnTo>
                    <a:pt x="816" y="60"/>
                  </a:lnTo>
                  <a:lnTo>
                    <a:pt x="780" y="72"/>
                  </a:lnTo>
                  <a:lnTo>
                    <a:pt x="732" y="78"/>
                  </a:lnTo>
                  <a:lnTo>
                    <a:pt x="696" y="84"/>
                  </a:lnTo>
                  <a:lnTo>
                    <a:pt x="624" y="84"/>
                  </a:lnTo>
                  <a:lnTo>
                    <a:pt x="618" y="72"/>
                  </a:lnTo>
                  <a:lnTo>
                    <a:pt x="546" y="78"/>
                  </a:lnTo>
                  <a:lnTo>
                    <a:pt x="540" y="66"/>
                  </a:lnTo>
                  <a:lnTo>
                    <a:pt x="504" y="66"/>
                  </a:lnTo>
                  <a:lnTo>
                    <a:pt x="480" y="42"/>
                  </a:lnTo>
                  <a:lnTo>
                    <a:pt x="480" y="36"/>
                  </a:lnTo>
                  <a:lnTo>
                    <a:pt x="174" y="36"/>
                  </a:lnTo>
                  <a:lnTo>
                    <a:pt x="168" y="30"/>
                  </a:lnTo>
                  <a:lnTo>
                    <a:pt x="156" y="30"/>
                  </a:lnTo>
                  <a:lnTo>
                    <a:pt x="132" y="18"/>
                  </a:lnTo>
                  <a:lnTo>
                    <a:pt x="126" y="6"/>
                  </a:lnTo>
                  <a:lnTo>
                    <a:pt x="120" y="0"/>
                  </a:lnTo>
                  <a:lnTo>
                    <a:pt x="90" y="0"/>
                  </a:lnTo>
                  <a:lnTo>
                    <a:pt x="90" y="6"/>
                  </a:lnTo>
                  <a:lnTo>
                    <a:pt x="72" y="24"/>
                  </a:lnTo>
                  <a:lnTo>
                    <a:pt x="42" y="24"/>
                  </a:lnTo>
                  <a:lnTo>
                    <a:pt x="36" y="18"/>
                  </a:lnTo>
                  <a:lnTo>
                    <a:pt x="18" y="24"/>
                  </a:lnTo>
                  <a:lnTo>
                    <a:pt x="0" y="24"/>
                  </a:lnTo>
                  <a:lnTo>
                    <a:pt x="6" y="96"/>
                  </a:lnTo>
                  <a:lnTo>
                    <a:pt x="12" y="108"/>
                  </a:lnTo>
                  <a:lnTo>
                    <a:pt x="30" y="126"/>
                  </a:lnTo>
                  <a:lnTo>
                    <a:pt x="36" y="138"/>
                  </a:lnTo>
                  <a:lnTo>
                    <a:pt x="54" y="162"/>
                  </a:lnTo>
                  <a:lnTo>
                    <a:pt x="72" y="192"/>
                  </a:lnTo>
                  <a:lnTo>
                    <a:pt x="96" y="228"/>
                  </a:lnTo>
                  <a:lnTo>
                    <a:pt x="102" y="258"/>
                  </a:lnTo>
                  <a:lnTo>
                    <a:pt x="102" y="276"/>
                  </a:lnTo>
                  <a:lnTo>
                    <a:pt x="114" y="294"/>
                  </a:lnTo>
                  <a:lnTo>
                    <a:pt x="120" y="312"/>
                  </a:lnTo>
                  <a:lnTo>
                    <a:pt x="138" y="348"/>
                  </a:lnTo>
                  <a:lnTo>
                    <a:pt x="156" y="366"/>
                  </a:lnTo>
                  <a:lnTo>
                    <a:pt x="156" y="390"/>
                  </a:lnTo>
                  <a:lnTo>
                    <a:pt x="162" y="396"/>
                  </a:lnTo>
                  <a:lnTo>
                    <a:pt x="174" y="402"/>
                  </a:lnTo>
                  <a:lnTo>
                    <a:pt x="180" y="414"/>
                  </a:lnTo>
                  <a:lnTo>
                    <a:pt x="192" y="420"/>
                  </a:lnTo>
                  <a:lnTo>
                    <a:pt x="198" y="432"/>
                  </a:lnTo>
                  <a:lnTo>
                    <a:pt x="198" y="582"/>
                  </a:lnTo>
                  <a:lnTo>
                    <a:pt x="222" y="630"/>
                  </a:lnTo>
                  <a:lnTo>
                    <a:pt x="222" y="678"/>
                  </a:lnTo>
                  <a:lnTo>
                    <a:pt x="216" y="678"/>
                  </a:lnTo>
                  <a:lnTo>
                    <a:pt x="228" y="726"/>
                  </a:lnTo>
                  <a:lnTo>
                    <a:pt x="228" y="762"/>
                  </a:lnTo>
                  <a:lnTo>
                    <a:pt x="240" y="762"/>
                  </a:lnTo>
                  <a:lnTo>
                    <a:pt x="240" y="804"/>
                  </a:lnTo>
                  <a:lnTo>
                    <a:pt x="252" y="810"/>
                  </a:lnTo>
                  <a:lnTo>
                    <a:pt x="258" y="816"/>
                  </a:lnTo>
                  <a:lnTo>
                    <a:pt x="258" y="846"/>
                  </a:lnTo>
                  <a:lnTo>
                    <a:pt x="264" y="858"/>
                  </a:lnTo>
                  <a:lnTo>
                    <a:pt x="270" y="864"/>
                  </a:lnTo>
                  <a:lnTo>
                    <a:pt x="276" y="876"/>
                  </a:lnTo>
                  <a:lnTo>
                    <a:pt x="282" y="894"/>
                  </a:lnTo>
                  <a:lnTo>
                    <a:pt x="282" y="900"/>
                  </a:lnTo>
                  <a:lnTo>
                    <a:pt x="288" y="912"/>
                  </a:lnTo>
                  <a:lnTo>
                    <a:pt x="294" y="918"/>
                  </a:lnTo>
                  <a:lnTo>
                    <a:pt x="318" y="930"/>
                  </a:lnTo>
                  <a:lnTo>
                    <a:pt x="324" y="936"/>
                  </a:lnTo>
                  <a:lnTo>
                    <a:pt x="330" y="936"/>
                  </a:lnTo>
                  <a:lnTo>
                    <a:pt x="330" y="942"/>
                  </a:lnTo>
                  <a:lnTo>
                    <a:pt x="348" y="930"/>
                  </a:lnTo>
                  <a:lnTo>
                    <a:pt x="348" y="924"/>
                  </a:lnTo>
                  <a:lnTo>
                    <a:pt x="354" y="918"/>
                  </a:lnTo>
                  <a:lnTo>
                    <a:pt x="360" y="906"/>
                  </a:lnTo>
                  <a:lnTo>
                    <a:pt x="360" y="900"/>
                  </a:lnTo>
                  <a:lnTo>
                    <a:pt x="366" y="894"/>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299" name="Myanmar" descr="© INSCALE GmbH, 05.05.2010&#10;http://www.presentationload.com/">
              <a:extLst>
                <a:ext uri="{FF2B5EF4-FFF2-40B4-BE49-F238E27FC236}">
                  <a16:creationId xmlns:a16="http://schemas.microsoft.com/office/drawing/2014/main" id="{2F0B7988-5940-46D4-B0E7-B8AACEA24C87}"/>
                </a:ext>
              </a:extLst>
            </p:cNvPr>
            <p:cNvSpPr>
              <a:spLocks/>
            </p:cNvSpPr>
            <p:nvPr/>
          </p:nvSpPr>
          <p:spPr bwMode="gray">
            <a:xfrm>
              <a:off x="6689940" y="3338472"/>
              <a:ext cx="252451" cy="595849"/>
            </a:xfrm>
            <a:custGeom>
              <a:avLst/>
              <a:gdLst>
                <a:gd name="T0" fmla="*/ 2147483647 w 636"/>
                <a:gd name="T1" fmla="*/ 2147483647 h 1500"/>
                <a:gd name="T2" fmla="*/ 2147483647 w 636"/>
                <a:gd name="T3" fmla="*/ 2147483647 h 1500"/>
                <a:gd name="T4" fmla="*/ 2147483647 w 636"/>
                <a:gd name="T5" fmla="*/ 2147483647 h 1500"/>
                <a:gd name="T6" fmla="*/ 2147483647 w 636"/>
                <a:gd name="T7" fmla="*/ 2147483647 h 1500"/>
                <a:gd name="T8" fmla="*/ 2147483647 w 636"/>
                <a:gd name="T9" fmla="*/ 2147483647 h 1500"/>
                <a:gd name="T10" fmla="*/ 2147483647 w 636"/>
                <a:gd name="T11" fmla="*/ 2147483647 h 1500"/>
                <a:gd name="T12" fmla="*/ 2147483647 w 636"/>
                <a:gd name="T13" fmla="*/ 2147483647 h 1500"/>
                <a:gd name="T14" fmla="*/ 2147483647 w 636"/>
                <a:gd name="T15" fmla="*/ 2147483647 h 1500"/>
                <a:gd name="T16" fmla="*/ 2147483647 w 636"/>
                <a:gd name="T17" fmla="*/ 2147483647 h 1500"/>
                <a:gd name="T18" fmla="*/ 2147483647 w 636"/>
                <a:gd name="T19" fmla="*/ 2147483647 h 1500"/>
                <a:gd name="T20" fmla="*/ 2147483647 w 636"/>
                <a:gd name="T21" fmla="*/ 2147483647 h 1500"/>
                <a:gd name="T22" fmla="*/ 2147483647 w 636"/>
                <a:gd name="T23" fmla="*/ 2147483647 h 1500"/>
                <a:gd name="T24" fmla="*/ 2147483647 w 636"/>
                <a:gd name="T25" fmla="*/ 2147483647 h 1500"/>
                <a:gd name="T26" fmla="*/ 2147483647 w 636"/>
                <a:gd name="T27" fmla="*/ 2147483647 h 1500"/>
                <a:gd name="T28" fmla="*/ 2147483647 w 636"/>
                <a:gd name="T29" fmla="*/ 2147483647 h 1500"/>
                <a:gd name="T30" fmla="*/ 2147483647 w 636"/>
                <a:gd name="T31" fmla="*/ 2147483647 h 1500"/>
                <a:gd name="T32" fmla="*/ 2147483647 w 636"/>
                <a:gd name="T33" fmla="*/ 2147483647 h 1500"/>
                <a:gd name="T34" fmla="*/ 2147483647 w 636"/>
                <a:gd name="T35" fmla="*/ 2147483647 h 1500"/>
                <a:gd name="T36" fmla="*/ 2147483647 w 636"/>
                <a:gd name="T37" fmla="*/ 2147483647 h 1500"/>
                <a:gd name="T38" fmla="*/ 2147483647 w 636"/>
                <a:gd name="T39" fmla="*/ 2147483647 h 1500"/>
                <a:gd name="T40" fmla="*/ 2147483647 w 636"/>
                <a:gd name="T41" fmla="*/ 2147483647 h 1500"/>
                <a:gd name="T42" fmla="*/ 2147483647 w 636"/>
                <a:gd name="T43" fmla="*/ 2147483647 h 1500"/>
                <a:gd name="T44" fmla="*/ 2147483647 w 636"/>
                <a:gd name="T45" fmla="*/ 2147483647 h 1500"/>
                <a:gd name="T46" fmla="*/ 2147483647 w 636"/>
                <a:gd name="T47" fmla="*/ 2147483647 h 1500"/>
                <a:gd name="T48" fmla="*/ 2147483647 w 636"/>
                <a:gd name="T49" fmla="*/ 2147483647 h 1500"/>
                <a:gd name="T50" fmla="*/ 2147483647 w 636"/>
                <a:gd name="T51" fmla="*/ 2147483647 h 1500"/>
                <a:gd name="T52" fmla="*/ 2147483647 w 636"/>
                <a:gd name="T53" fmla="*/ 2147483647 h 1500"/>
                <a:gd name="T54" fmla="*/ 2147483647 w 636"/>
                <a:gd name="T55" fmla="*/ 2147483647 h 1500"/>
                <a:gd name="T56" fmla="*/ 2147483647 w 636"/>
                <a:gd name="T57" fmla="*/ 2147483647 h 1500"/>
                <a:gd name="T58" fmla="*/ 2147483647 w 636"/>
                <a:gd name="T59" fmla="*/ 2147483647 h 1500"/>
                <a:gd name="T60" fmla="*/ 2147483647 w 636"/>
                <a:gd name="T61" fmla="*/ 2147483647 h 1500"/>
                <a:gd name="T62" fmla="*/ 2147483647 w 636"/>
                <a:gd name="T63" fmla="*/ 2147483647 h 1500"/>
                <a:gd name="T64" fmla="*/ 2147483647 w 636"/>
                <a:gd name="T65" fmla="*/ 2147483647 h 1500"/>
                <a:gd name="T66" fmla="*/ 2147483647 w 636"/>
                <a:gd name="T67" fmla="*/ 2147483647 h 1500"/>
                <a:gd name="T68" fmla="*/ 2147483647 w 636"/>
                <a:gd name="T69" fmla="*/ 2147483647 h 1500"/>
                <a:gd name="T70" fmla="*/ 2147483647 w 636"/>
                <a:gd name="T71" fmla="*/ 2147483647 h 1500"/>
                <a:gd name="T72" fmla="*/ 2147483647 w 636"/>
                <a:gd name="T73" fmla="*/ 2147483647 h 1500"/>
                <a:gd name="T74" fmla="*/ 2147483647 w 636"/>
                <a:gd name="T75" fmla="*/ 2147483647 h 1500"/>
                <a:gd name="T76" fmla="*/ 2147483647 w 636"/>
                <a:gd name="T77" fmla="*/ 2147483647 h 1500"/>
                <a:gd name="T78" fmla="*/ 2147483647 w 636"/>
                <a:gd name="T79" fmla="*/ 2147483647 h 1500"/>
                <a:gd name="T80" fmla="*/ 2147483647 w 636"/>
                <a:gd name="T81" fmla="*/ 2147483647 h 1500"/>
                <a:gd name="T82" fmla="*/ 2147483647 w 636"/>
                <a:gd name="T83" fmla="*/ 2147483647 h 1500"/>
                <a:gd name="T84" fmla="*/ 2147483647 w 636"/>
                <a:gd name="T85" fmla="*/ 2147483647 h 1500"/>
                <a:gd name="T86" fmla="*/ 2147483647 w 636"/>
                <a:gd name="T87" fmla="*/ 0 h 1500"/>
                <a:gd name="T88" fmla="*/ 2147483647 w 636"/>
                <a:gd name="T89" fmla="*/ 2147483647 h 1500"/>
                <a:gd name="T90" fmla="*/ 2147483647 w 636"/>
                <a:gd name="T91" fmla="*/ 2147483647 h 1500"/>
                <a:gd name="T92" fmla="*/ 2147483647 w 636"/>
                <a:gd name="T93" fmla="*/ 2147483647 h 1500"/>
                <a:gd name="T94" fmla="*/ 2147483647 w 636"/>
                <a:gd name="T95" fmla="*/ 2147483647 h 1500"/>
                <a:gd name="T96" fmla="*/ 2147483647 w 636"/>
                <a:gd name="T97" fmla="*/ 2147483647 h 1500"/>
                <a:gd name="T98" fmla="*/ 2147483647 w 636"/>
                <a:gd name="T99" fmla="*/ 2147483647 h 1500"/>
                <a:gd name="T100" fmla="*/ 2147483647 w 636"/>
                <a:gd name="T101" fmla="*/ 2147483647 h 1500"/>
                <a:gd name="T102" fmla="*/ 2147483647 w 636"/>
                <a:gd name="T103" fmla="*/ 2147483647 h 1500"/>
                <a:gd name="T104" fmla="*/ 2147483647 w 636"/>
                <a:gd name="T105" fmla="*/ 2147483647 h 1500"/>
                <a:gd name="T106" fmla="*/ 2147483647 w 636"/>
                <a:gd name="T107" fmla="*/ 2147483647 h 1500"/>
                <a:gd name="T108" fmla="*/ 2147483647 w 636"/>
                <a:gd name="T109" fmla="*/ 2147483647 h 15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36"/>
                <a:gd name="T166" fmla="*/ 0 h 1500"/>
                <a:gd name="T167" fmla="*/ 636 w 636"/>
                <a:gd name="T168" fmla="*/ 1500 h 15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36" h="1500">
                  <a:moveTo>
                    <a:pt x="0" y="588"/>
                  </a:moveTo>
                  <a:lnTo>
                    <a:pt x="18" y="588"/>
                  </a:lnTo>
                  <a:lnTo>
                    <a:pt x="12" y="630"/>
                  </a:lnTo>
                  <a:lnTo>
                    <a:pt x="18" y="630"/>
                  </a:lnTo>
                  <a:lnTo>
                    <a:pt x="24" y="636"/>
                  </a:lnTo>
                  <a:lnTo>
                    <a:pt x="42" y="642"/>
                  </a:lnTo>
                  <a:lnTo>
                    <a:pt x="54" y="648"/>
                  </a:lnTo>
                  <a:lnTo>
                    <a:pt x="72" y="666"/>
                  </a:lnTo>
                  <a:lnTo>
                    <a:pt x="84" y="690"/>
                  </a:lnTo>
                  <a:lnTo>
                    <a:pt x="90" y="696"/>
                  </a:lnTo>
                  <a:lnTo>
                    <a:pt x="90" y="702"/>
                  </a:lnTo>
                  <a:lnTo>
                    <a:pt x="126" y="696"/>
                  </a:lnTo>
                  <a:lnTo>
                    <a:pt x="102" y="738"/>
                  </a:lnTo>
                  <a:lnTo>
                    <a:pt x="108" y="738"/>
                  </a:lnTo>
                  <a:lnTo>
                    <a:pt x="114" y="744"/>
                  </a:lnTo>
                  <a:lnTo>
                    <a:pt x="126" y="744"/>
                  </a:lnTo>
                  <a:lnTo>
                    <a:pt x="144" y="750"/>
                  </a:lnTo>
                  <a:lnTo>
                    <a:pt x="156" y="762"/>
                  </a:lnTo>
                  <a:lnTo>
                    <a:pt x="168" y="768"/>
                  </a:lnTo>
                  <a:lnTo>
                    <a:pt x="174" y="780"/>
                  </a:lnTo>
                  <a:lnTo>
                    <a:pt x="186" y="792"/>
                  </a:lnTo>
                  <a:lnTo>
                    <a:pt x="192" y="804"/>
                  </a:lnTo>
                  <a:lnTo>
                    <a:pt x="192" y="822"/>
                  </a:lnTo>
                  <a:lnTo>
                    <a:pt x="198" y="834"/>
                  </a:lnTo>
                  <a:lnTo>
                    <a:pt x="198" y="840"/>
                  </a:lnTo>
                  <a:lnTo>
                    <a:pt x="204" y="846"/>
                  </a:lnTo>
                  <a:lnTo>
                    <a:pt x="210" y="858"/>
                  </a:lnTo>
                  <a:lnTo>
                    <a:pt x="222" y="870"/>
                  </a:lnTo>
                  <a:lnTo>
                    <a:pt x="210" y="888"/>
                  </a:lnTo>
                  <a:lnTo>
                    <a:pt x="216" y="978"/>
                  </a:lnTo>
                  <a:lnTo>
                    <a:pt x="204" y="990"/>
                  </a:lnTo>
                  <a:lnTo>
                    <a:pt x="204" y="1002"/>
                  </a:lnTo>
                  <a:lnTo>
                    <a:pt x="222" y="1020"/>
                  </a:lnTo>
                  <a:lnTo>
                    <a:pt x="234" y="1020"/>
                  </a:lnTo>
                  <a:lnTo>
                    <a:pt x="246" y="1014"/>
                  </a:lnTo>
                  <a:lnTo>
                    <a:pt x="252" y="1008"/>
                  </a:lnTo>
                  <a:lnTo>
                    <a:pt x="258" y="1014"/>
                  </a:lnTo>
                  <a:lnTo>
                    <a:pt x="258" y="1020"/>
                  </a:lnTo>
                  <a:lnTo>
                    <a:pt x="276" y="1020"/>
                  </a:lnTo>
                  <a:lnTo>
                    <a:pt x="282" y="1014"/>
                  </a:lnTo>
                  <a:lnTo>
                    <a:pt x="294" y="1008"/>
                  </a:lnTo>
                  <a:lnTo>
                    <a:pt x="300" y="996"/>
                  </a:lnTo>
                  <a:lnTo>
                    <a:pt x="306" y="990"/>
                  </a:lnTo>
                  <a:lnTo>
                    <a:pt x="312" y="978"/>
                  </a:lnTo>
                  <a:lnTo>
                    <a:pt x="324" y="978"/>
                  </a:lnTo>
                  <a:lnTo>
                    <a:pt x="360" y="960"/>
                  </a:lnTo>
                  <a:lnTo>
                    <a:pt x="366" y="954"/>
                  </a:lnTo>
                  <a:lnTo>
                    <a:pt x="366" y="900"/>
                  </a:lnTo>
                  <a:lnTo>
                    <a:pt x="372" y="894"/>
                  </a:lnTo>
                  <a:lnTo>
                    <a:pt x="378" y="894"/>
                  </a:lnTo>
                  <a:lnTo>
                    <a:pt x="396" y="912"/>
                  </a:lnTo>
                  <a:lnTo>
                    <a:pt x="402" y="924"/>
                  </a:lnTo>
                  <a:lnTo>
                    <a:pt x="402" y="954"/>
                  </a:lnTo>
                  <a:lnTo>
                    <a:pt x="408" y="954"/>
                  </a:lnTo>
                  <a:lnTo>
                    <a:pt x="426" y="972"/>
                  </a:lnTo>
                  <a:lnTo>
                    <a:pt x="432" y="984"/>
                  </a:lnTo>
                  <a:lnTo>
                    <a:pt x="444" y="1014"/>
                  </a:lnTo>
                  <a:lnTo>
                    <a:pt x="450" y="1050"/>
                  </a:lnTo>
                  <a:lnTo>
                    <a:pt x="450" y="1074"/>
                  </a:lnTo>
                  <a:lnTo>
                    <a:pt x="456" y="1092"/>
                  </a:lnTo>
                  <a:lnTo>
                    <a:pt x="456" y="1128"/>
                  </a:lnTo>
                  <a:lnTo>
                    <a:pt x="462" y="1134"/>
                  </a:lnTo>
                  <a:lnTo>
                    <a:pt x="480" y="1170"/>
                  </a:lnTo>
                  <a:lnTo>
                    <a:pt x="486" y="1176"/>
                  </a:lnTo>
                  <a:lnTo>
                    <a:pt x="486" y="1182"/>
                  </a:lnTo>
                  <a:lnTo>
                    <a:pt x="528" y="1272"/>
                  </a:lnTo>
                  <a:lnTo>
                    <a:pt x="540" y="1320"/>
                  </a:lnTo>
                  <a:lnTo>
                    <a:pt x="522" y="1320"/>
                  </a:lnTo>
                  <a:lnTo>
                    <a:pt x="516" y="1326"/>
                  </a:lnTo>
                  <a:lnTo>
                    <a:pt x="516" y="1350"/>
                  </a:lnTo>
                  <a:lnTo>
                    <a:pt x="510" y="1362"/>
                  </a:lnTo>
                  <a:lnTo>
                    <a:pt x="510" y="1374"/>
                  </a:lnTo>
                  <a:lnTo>
                    <a:pt x="552" y="1362"/>
                  </a:lnTo>
                  <a:lnTo>
                    <a:pt x="540" y="1416"/>
                  </a:lnTo>
                  <a:lnTo>
                    <a:pt x="540" y="1428"/>
                  </a:lnTo>
                  <a:lnTo>
                    <a:pt x="534" y="1440"/>
                  </a:lnTo>
                  <a:lnTo>
                    <a:pt x="534" y="1464"/>
                  </a:lnTo>
                  <a:lnTo>
                    <a:pt x="540" y="1482"/>
                  </a:lnTo>
                  <a:lnTo>
                    <a:pt x="540" y="1488"/>
                  </a:lnTo>
                  <a:lnTo>
                    <a:pt x="546" y="1500"/>
                  </a:lnTo>
                  <a:lnTo>
                    <a:pt x="552" y="1488"/>
                  </a:lnTo>
                  <a:lnTo>
                    <a:pt x="558" y="1482"/>
                  </a:lnTo>
                  <a:lnTo>
                    <a:pt x="564" y="1470"/>
                  </a:lnTo>
                  <a:lnTo>
                    <a:pt x="564" y="1458"/>
                  </a:lnTo>
                  <a:lnTo>
                    <a:pt x="558" y="1452"/>
                  </a:lnTo>
                  <a:lnTo>
                    <a:pt x="558" y="1440"/>
                  </a:lnTo>
                  <a:lnTo>
                    <a:pt x="576" y="1422"/>
                  </a:lnTo>
                  <a:lnTo>
                    <a:pt x="594" y="1386"/>
                  </a:lnTo>
                  <a:lnTo>
                    <a:pt x="594" y="1368"/>
                  </a:lnTo>
                  <a:lnTo>
                    <a:pt x="600" y="1356"/>
                  </a:lnTo>
                  <a:lnTo>
                    <a:pt x="600" y="1326"/>
                  </a:lnTo>
                  <a:lnTo>
                    <a:pt x="594" y="1314"/>
                  </a:lnTo>
                  <a:lnTo>
                    <a:pt x="594" y="1290"/>
                  </a:lnTo>
                  <a:lnTo>
                    <a:pt x="570" y="1266"/>
                  </a:lnTo>
                  <a:lnTo>
                    <a:pt x="570" y="1242"/>
                  </a:lnTo>
                  <a:lnTo>
                    <a:pt x="564" y="1224"/>
                  </a:lnTo>
                  <a:lnTo>
                    <a:pt x="564" y="1194"/>
                  </a:lnTo>
                  <a:lnTo>
                    <a:pt x="558" y="1182"/>
                  </a:lnTo>
                  <a:lnTo>
                    <a:pt x="516" y="1140"/>
                  </a:lnTo>
                  <a:lnTo>
                    <a:pt x="510" y="1128"/>
                  </a:lnTo>
                  <a:lnTo>
                    <a:pt x="504" y="1122"/>
                  </a:lnTo>
                  <a:lnTo>
                    <a:pt x="498" y="1110"/>
                  </a:lnTo>
                  <a:lnTo>
                    <a:pt x="492" y="1104"/>
                  </a:lnTo>
                  <a:lnTo>
                    <a:pt x="492" y="1098"/>
                  </a:lnTo>
                  <a:lnTo>
                    <a:pt x="486" y="1092"/>
                  </a:lnTo>
                  <a:lnTo>
                    <a:pt x="504" y="1056"/>
                  </a:lnTo>
                  <a:lnTo>
                    <a:pt x="510" y="1050"/>
                  </a:lnTo>
                  <a:lnTo>
                    <a:pt x="516" y="1038"/>
                  </a:lnTo>
                  <a:lnTo>
                    <a:pt x="516" y="1014"/>
                  </a:lnTo>
                  <a:lnTo>
                    <a:pt x="510" y="1002"/>
                  </a:lnTo>
                  <a:lnTo>
                    <a:pt x="522" y="1002"/>
                  </a:lnTo>
                  <a:lnTo>
                    <a:pt x="528" y="996"/>
                  </a:lnTo>
                  <a:lnTo>
                    <a:pt x="528" y="978"/>
                  </a:lnTo>
                  <a:lnTo>
                    <a:pt x="522" y="972"/>
                  </a:lnTo>
                  <a:lnTo>
                    <a:pt x="516" y="978"/>
                  </a:lnTo>
                  <a:lnTo>
                    <a:pt x="510" y="978"/>
                  </a:lnTo>
                  <a:lnTo>
                    <a:pt x="504" y="972"/>
                  </a:lnTo>
                  <a:lnTo>
                    <a:pt x="498" y="960"/>
                  </a:lnTo>
                  <a:lnTo>
                    <a:pt x="498" y="942"/>
                  </a:lnTo>
                  <a:lnTo>
                    <a:pt x="504" y="942"/>
                  </a:lnTo>
                  <a:lnTo>
                    <a:pt x="504" y="936"/>
                  </a:lnTo>
                  <a:lnTo>
                    <a:pt x="498" y="930"/>
                  </a:lnTo>
                  <a:lnTo>
                    <a:pt x="486" y="924"/>
                  </a:lnTo>
                  <a:lnTo>
                    <a:pt x="474" y="912"/>
                  </a:lnTo>
                  <a:lnTo>
                    <a:pt x="462" y="906"/>
                  </a:lnTo>
                  <a:lnTo>
                    <a:pt x="444" y="888"/>
                  </a:lnTo>
                  <a:lnTo>
                    <a:pt x="438" y="876"/>
                  </a:lnTo>
                  <a:lnTo>
                    <a:pt x="438" y="870"/>
                  </a:lnTo>
                  <a:lnTo>
                    <a:pt x="432" y="870"/>
                  </a:lnTo>
                  <a:lnTo>
                    <a:pt x="438" y="846"/>
                  </a:lnTo>
                  <a:lnTo>
                    <a:pt x="426" y="840"/>
                  </a:lnTo>
                  <a:lnTo>
                    <a:pt x="402" y="816"/>
                  </a:lnTo>
                  <a:lnTo>
                    <a:pt x="402" y="810"/>
                  </a:lnTo>
                  <a:lnTo>
                    <a:pt x="426" y="810"/>
                  </a:lnTo>
                  <a:lnTo>
                    <a:pt x="426" y="792"/>
                  </a:lnTo>
                  <a:lnTo>
                    <a:pt x="408" y="774"/>
                  </a:lnTo>
                  <a:lnTo>
                    <a:pt x="408" y="768"/>
                  </a:lnTo>
                  <a:lnTo>
                    <a:pt x="414" y="762"/>
                  </a:lnTo>
                  <a:lnTo>
                    <a:pt x="420" y="762"/>
                  </a:lnTo>
                  <a:lnTo>
                    <a:pt x="426" y="756"/>
                  </a:lnTo>
                  <a:lnTo>
                    <a:pt x="426" y="708"/>
                  </a:lnTo>
                  <a:lnTo>
                    <a:pt x="456" y="708"/>
                  </a:lnTo>
                  <a:lnTo>
                    <a:pt x="468" y="714"/>
                  </a:lnTo>
                  <a:lnTo>
                    <a:pt x="480" y="714"/>
                  </a:lnTo>
                  <a:lnTo>
                    <a:pt x="486" y="708"/>
                  </a:lnTo>
                  <a:lnTo>
                    <a:pt x="492" y="696"/>
                  </a:lnTo>
                  <a:lnTo>
                    <a:pt x="498" y="690"/>
                  </a:lnTo>
                  <a:lnTo>
                    <a:pt x="498" y="684"/>
                  </a:lnTo>
                  <a:lnTo>
                    <a:pt x="522" y="684"/>
                  </a:lnTo>
                  <a:lnTo>
                    <a:pt x="528" y="660"/>
                  </a:lnTo>
                  <a:lnTo>
                    <a:pt x="534" y="660"/>
                  </a:lnTo>
                  <a:lnTo>
                    <a:pt x="540" y="654"/>
                  </a:lnTo>
                  <a:lnTo>
                    <a:pt x="564" y="654"/>
                  </a:lnTo>
                  <a:lnTo>
                    <a:pt x="564" y="642"/>
                  </a:lnTo>
                  <a:lnTo>
                    <a:pt x="582" y="624"/>
                  </a:lnTo>
                  <a:lnTo>
                    <a:pt x="594" y="624"/>
                  </a:lnTo>
                  <a:lnTo>
                    <a:pt x="600" y="618"/>
                  </a:lnTo>
                  <a:lnTo>
                    <a:pt x="594" y="612"/>
                  </a:lnTo>
                  <a:lnTo>
                    <a:pt x="600" y="600"/>
                  </a:lnTo>
                  <a:lnTo>
                    <a:pt x="600" y="588"/>
                  </a:lnTo>
                  <a:lnTo>
                    <a:pt x="636" y="570"/>
                  </a:lnTo>
                  <a:lnTo>
                    <a:pt x="636" y="552"/>
                  </a:lnTo>
                  <a:lnTo>
                    <a:pt x="630" y="546"/>
                  </a:lnTo>
                  <a:lnTo>
                    <a:pt x="618" y="546"/>
                  </a:lnTo>
                  <a:lnTo>
                    <a:pt x="600" y="564"/>
                  </a:lnTo>
                  <a:lnTo>
                    <a:pt x="600" y="570"/>
                  </a:lnTo>
                  <a:lnTo>
                    <a:pt x="558" y="570"/>
                  </a:lnTo>
                  <a:lnTo>
                    <a:pt x="558" y="552"/>
                  </a:lnTo>
                  <a:lnTo>
                    <a:pt x="546" y="552"/>
                  </a:lnTo>
                  <a:lnTo>
                    <a:pt x="534" y="522"/>
                  </a:lnTo>
                  <a:lnTo>
                    <a:pt x="480" y="516"/>
                  </a:lnTo>
                  <a:lnTo>
                    <a:pt x="486" y="504"/>
                  </a:lnTo>
                  <a:lnTo>
                    <a:pt x="486" y="498"/>
                  </a:lnTo>
                  <a:lnTo>
                    <a:pt x="492" y="492"/>
                  </a:lnTo>
                  <a:lnTo>
                    <a:pt x="492" y="480"/>
                  </a:lnTo>
                  <a:lnTo>
                    <a:pt x="480" y="468"/>
                  </a:lnTo>
                  <a:lnTo>
                    <a:pt x="486" y="462"/>
                  </a:lnTo>
                  <a:lnTo>
                    <a:pt x="498" y="462"/>
                  </a:lnTo>
                  <a:lnTo>
                    <a:pt x="504" y="456"/>
                  </a:lnTo>
                  <a:lnTo>
                    <a:pt x="504" y="450"/>
                  </a:lnTo>
                  <a:lnTo>
                    <a:pt x="498" y="444"/>
                  </a:lnTo>
                  <a:lnTo>
                    <a:pt x="486" y="438"/>
                  </a:lnTo>
                  <a:lnTo>
                    <a:pt x="456" y="438"/>
                  </a:lnTo>
                  <a:lnTo>
                    <a:pt x="444" y="396"/>
                  </a:lnTo>
                  <a:lnTo>
                    <a:pt x="420" y="378"/>
                  </a:lnTo>
                  <a:lnTo>
                    <a:pt x="450" y="354"/>
                  </a:lnTo>
                  <a:lnTo>
                    <a:pt x="390" y="354"/>
                  </a:lnTo>
                  <a:lnTo>
                    <a:pt x="384" y="360"/>
                  </a:lnTo>
                  <a:lnTo>
                    <a:pt x="372" y="360"/>
                  </a:lnTo>
                  <a:lnTo>
                    <a:pt x="366" y="366"/>
                  </a:lnTo>
                  <a:lnTo>
                    <a:pt x="354" y="372"/>
                  </a:lnTo>
                  <a:lnTo>
                    <a:pt x="366" y="354"/>
                  </a:lnTo>
                  <a:lnTo>
                    <a:pt x="360" y="342"/>
                  </a:lnTo>
                  <a:lnTo>
                    <a:pt x="342" y="324"/>
                  </a:lnTo>
                  <a:lnTo>
                    <a:pt x="342" y="306"/>
                  </a:lnTo>
                  <a:lnTo>
                    <a:pt x="354" y="306"/>
                  </a:lnTo>
                  <a:lnTo>
                    <a:pt x="348" y="276"/>
                  </a:lnTo>
                  <a:lnTo>
                    <a:pt x="360" y="276"/>
                  </a:lnTo>
                  <a:lnTo>
                    <a:pt x="366" y="270"/>
                  </a:lnTo>
                  <a:lnTo>
                    <a:pt x="366" y="234"/>
                  </a:lnTo>
                  <a:lnTo>
                    <a:pt x="372" y="240"/>
                  </a:lnTo>
                  <a:lnTo>
                    <a:pt x="384" y="240"/>
                  </a:lnTo>
                  <a:lnTo>
                    <a:pt x="390" y="234"/>
                  </a:lnTo>
                  <a:lnTo>
                    <a:pt x="396" y="222"/>
                  </a:lnTo>
                  <a:lnTo>
                    <a:pt x="396" y="216"/>
                  </a:lnTo>
                  <a:lnTo>
                    <a:pt x="378" y="198"/>
                  </a:lnTo>
                  <a:lnTo>
                    <a:pt x="390" y="198"/>
                  </a:lnTo>
                  <a:lnTo>
                    <a:pt x="396" y="192"/>
                  </a:lnTo>
                  <a:lnTo>
                    <a:pt x="408" y="192"/>
                  </a:lnTo>
                  <a:lnTo>
                    <a:pt x="396" y="132"/>
                  </a:lnTo>
                  <a:lnTo>
                    <a:pt x="384" y="108"/>
                  </a:lnTo>
                  <a:lnTo>
                    <a:pt x="384" y="78"/>
                  </a:lnTo>
                  <a:lnTo>
                    <a:pt x="378" y="72"/>
                  </a:lnTo>
                  <a:lnTo>
                    <a:pt x="342" y="72"/>
                  </a:lnTo>
                  <a:lnTo>
                    <a:pt x="342" y="66"/>
                  </a:lnTo>
                  <a:lnTo>
                    <a:pt x="336" y="60"/>
                  </a:lnTo>
                  <a:lnTo>
                    <a:pt x="318" y="24"/>
                  </a:lnTo>
                  <a:lnTo>
                    <a:pt x="306" y="18"/>
                  </a:lnTo>
                  <a:lnTo>
                    <a:pt x="300" y="6"/>
                  </a:lnTo>
                  <a:lnTo>
                    <a:pt x="294" y="0"/>
                  </a:lnTo>
                  <a:lnTo>
                    <a:pt x="288" y="0"/>
                  </a:lnTo>
                  <a:lnTo>
                    <a:pt x="282" y="18"/>
                  </a:lnTo>
                  <a:lnTo>
                    <a:pt x="282" y="48"/>
                  </a:lnTo>
                  <a:lnTo>
                    <a:pt x="276" y="48"/>
                  </a:lnTo>
                  <a:lnTo>
                    <a:pt x="270" y="54"/>
                  </a:lnTo>
                  <a:lnTo>
                    <a:pt x="258" y="60"/>
                  </a:lnTo>
                  <a:lnTo>
                    <a:pt x="246" y="72"/>
                  </a:lnTo>
                  <a:lnTo>
                    <a:pt x="252" y="84"/>
                  </a:lnTo>
                  <a:lnTo>
                    <a:pt x="258" y="90"/>
                  </a:lnTo>
                  <a:lnTo>
                    <a:pt x="270" y="96"/>
                  </a:lnTo>
                  <a:lnTo>
                    <a:pt x="276" y="102"/>
                  </a:lnTo>
                  <a:lnTo>
                    <a:pt x="276" y="108"/>
                  </a:lnTo>
                  <a:lnTo>
                    <a:pt x="258" y="108"/>
                  </a:lnTo>
                  <a:lnTo>
                    <a:pt x="252" y="102"/>
                  </a:lnTo>
                  <a:lnTo>
                    <a:pt x="216" y="102"/>
                  </a:lnTo>
                  <a:lnTo>
                    <a:pt x="204" y="108"/>
                  </a:lnTo>
                  <a:lnTo>
                    <a:pt x="198" y="108"/>
                  </a:lnTo>
                  <a:lnTo>
                    <a:pt x="198" y="126"/>
                  </a:lnTo>
                  <a:lnTo>
                    <a:pt x="186" y="138"/>
                  </a:lnTo>
                  <a:lnTo>
                    <a:pt x="174" y="144"/>
                  </a:lnTo>
                  <a:lnTo>
                    <a:pt x="162" y="144"/>
                  </a:lnTo>
                  <a:lnTo>
                    <a:pt x="156" y="150"/>
                  </a:lnTo>
                  <a:lnTo>
                    <a:pt x="150" y="150"/>
                  </a:lnTo>
                  <a:lnTo>
                    <a:pt x="150" y="174"/>
                  </a:lnTo>
                  <a:lnTo>
                    <a:pt x="156" y="180"/>
                  </a:lnTo>
                  <a:lnTo>
                    <a:pt x="156" y="186"/>
                  </a:lnTo>
                  <a:lnTo>
                    <a:pt x="162" y="192"/>
                  </a:lnTo>
                  <a:lnTo>
                    <a:pt x="162" y="204"/>
                  </a:lnTo>
                  <a:lnTo>
                    <a:pt x="144" y="234"/>
                  </a:lnTo>
                  <a:lnTo>
                    <a:pt x="138" y="240"/>
                  </a:lnTo>
                  <a:lnTo>
                    <a:pt x="126" y="246"/>
                  </a:lnTo>
                  <a:lnTo>
                    <a:pt x="126" y="264"/>
                  </a:lnTo>
                  <a:lnTo>
                    <a:pt x="132" y="276"/>
                  </a:lnTo>
                  <a:lnTo>
                    <a:pt x="138" y="282"/>
                  </a:lnTo>
                  <a:lnTo>
                    <a:pt x="120" y="336"/>
                  </a:lnTo>
                  <a:lnTo>
                    <a:pt x="120" y="372"/>
                  </a:lnTo>
                  <a:lnTo>
                    <a:pt x="108" y="372"/>
                  </a:lnTo>
                  <a:lnTo>
                    <a:pt x="96" y="366"/>
                  </a:lnTo>
                  <a:lnTo>
                    <a:pt x="42" y="366"/>
                  </a:lnTo>
                  <a:lnTo>
                    <a:pt x="48" y="366"/>
                  </a:lnTo>
                  <a:lnTo>
                    <a:pt x="66" y="384"/>
                  </a:lnTo>
                  <a:lnTo>
                    <a:pt x="72" y="432"/>
                  </a:lnTo>
                  <a:lnTo>
                    <a:pt x="66" y="432"/>
                  </a:lnTo>
                  <a:lnTo>
                    <a:pt x="48" y="450"/>
                  </a:lnTo>
                  <a:lnTo>
                    <a:pt x="54" y="462"/>
                  </a:lnTo>
                  <a:lnTo>
                    <a:pt x="54" y="486"/>
                  </a:lnTo>
                  <a:lnTo>
                    <a:pt x="72" y="504"/>
                  </a:lnTo>
                  <a:lnTo>
                    <a:pt x="72" y="516"/>
                  </a:lnTo>
                  <a:lnTo>
                    <a:pt x="60" y="516"/>
                  </a:lnTo>
                  <a:lnTo>
                    <a:pt x="54" y="510"/>
                  </a:lnTo>
                  <a:lnTo>
                    <a:pt x="48" y="510"/>
                  </a:lnTo>
                  <a:lnTo>
                    <a:pt x="48" y="534"/>
                  </a:lnTo>
                  <a:lnTo>
                    <a:pt x="30" y="516"/>
                  </a:lnTo>
                  <a:lnTo>
                    <a:pt x="42" y="576"/>
                  </a:lnTo>
                  <a:lnTo>
                    <a:pt x="6" y="570"/>
                  </a:lnTo>
                  <a:lnTo>
                    <a:pt x="6" y="576"/>
                  </a:lnTo>
                  <a:lnTo>
                    <a:pt x="0" y="588"/>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00" name="Mosambik" descr="© INSCALE GmbH, 05.05.2010&#10;http://www.presentationload.com/">
              <a:extLst>
                <a:ext uri="{FF2B5EF4-FFF2-40B4-BE49-F238E27FC236}">
                  <a16:creationId xmlns:a16="http://schemas.microsoft.com/office/drawing/2014/main" id="{162FD954-7C4E-468E-82E3-8960C7ADDB7C}"/>
                </a:ext>
              </a:extLst>
            </p:cNvPr>
            <p:cNvSpPr>
              <a:spLocks/>
            </p:cNvSpPr>
            <p:nvPr/>
          </p:nvSpPr>
          <p:spPr bwMode="gray">
            <a:xfrm>
              <a:off x="4974523" y="4588187"/>
              <a:ext cx="304196" cy="531560"/>
            </a:xfrm>
            <a:custGeom>
              <a:avLst/>
              <a:gdLst>
                <a:gd name="T0" fmla="*/ 2147483647 w 762"/>
                <a:gd name="T1" fmla="*/ 2147483647 h 1338"/>
                <a:gd name="T2" fmla="*/ 2147483647 w 762"/>
                <a:gd name="T3" fmla="*/ 2147483647 h 1338"/>
                <a:gd name="T4" fmla="*/ 2147483647 w 762"/>
                <a:gd name="T5" fmla="*/ 2147483647 h 1338"/>
                <a:gd name="T6" fmla="*/ 2147483647 w 762"/>
                <a:gd name="T7" fmla="*/ 2147483647 h 1338"/>
                <a:gd name="T8" fmla="*/ 2147483647 w 762"/>
                <a:gd name="T9" fmla="*/ 2147483647 h 1338"/>
                <a:gd name="T10" fmla="*/ 2147483647 w 762"/>
                <a:gd name="T11" fmla="*/ 2147483647 h 1338"/>
                <a:gd name="T12" fmla="*/ 2147483647 w 762"/>
                <a:gd name="T13" fmla="*/ 2147483647 h 1338"/>
                <a:gd name="T14" fmla="*/ 2147483647 w 762"/>
                <a:gd name="T15" fmla="*/ 2147483647 h 1338"/>
                <a:gd name="T16" fmla="*/ 2147483647 w 762"/>
                <a:gd name="T17" fmla="*/ 2147483647 h 1338"/>
                <a:gd name="T18" fmla="*/ 2147483647 w 762"/>
                <a:gd name="T19" fmla="*/ 2147483647 h 1338"/>
                <a:gd name="T20" fmla="*/ 2147483647 w 762"/>
                <a:gd name="T21" fmla="*/ 2147483647 h 1338"/>
                <a:gd name="T22" fmla="*/ 2147483647 w 762"/>
                <a:gd name="T23" fmla="*/ 2147483647 h 1338"/>
                <a:gd name="T24" fmla="*/ 2147483647 w 762"/>
                <a:gd name="T25" fmla="*/ 2147483647 h 1338"/>
                <a:gd name="T26" fmla="*/ 2147483647 w 762"/>
                <a:gd name="T27" fmla="*/ 2147483647 h 1338"/>
                <a:gd name="T28" fmla="*/ 2147483647 w 762"/>
                <a:gd name="T29" fmla="*/ 2147483647 h 1338"/>
                <a:gd name="T30" fmla="*/ 2147483647 w 762"/>
                <a:gd name="T31" fmla="*/ 2147483647 h 1338"/>
                <a:gd name="T32" fmla="*/ 2147483647 w 762"/>
                <a:gd name="T33" fmla="*/ 2147483647 h 1338"/>
                <a:gd name="T34" fmla="*/ 2147483647 w 762"/>
                <a:gd name="T35" fmla="*/ 2147483647 h 1338"/>
                <a:gd name="T36" fmla="*/ 2147483647 w 762"/>
                <a:gd name="T37" fmla="*/ 2147483647 h 1338"/>
                <a:gd name="T38" fmla="*/ 2147483647 w 762"/>
                <a:gd name="T39" fmla="*/ 2147483647 h 1338"/>
                <a:gd name="T40" fmla="*/ 2147483647 w 762"/>
                <a:gd name="T41" fmla="*/ 2147483647 h 1338"/>
                <a:gd name="T42" fmla="*/ 2147483647 w 762"/>
                <a:gd name="T43" fmla="*/ 2147483647 h 1338"/>
                <a:gd name="T44" fmla="*/ 2147483647 w 762"/>
                <a:gd name="T45" fmla="*/ 2147483647 h 1338"/>
                <a:gd name="T46" fmla="*/ 2147483647 w 762"/>
                <a:gd name="T47" fmla="*/ 2147483647 h 1338"/>
                <a:gd name="T48" fmla="*/ 2147483647 w 762"/>
                <a:gd name="T49" fmla="*/ 2147483647 h 1338"/>
                <a:gd name="T50" fmla="*/ 2147483647 w 762"/>
                <a:gd name="T51" fmla="*/ 2147483647 h 1338"/>
                <a:gd name="T52" fmla="*/ 2147483647 w 762"/>
                <a:gd name="T53" fmla="*/ 2147483647 h 1338"/>
                <a:gd name="T54" fmla="*/ 2147483647 w 762"/>
                <a:gd name="T55" fmla="*/ 2147483647 h 1338"/>
                <a:gd name="T56" fmla="*/ 0 w 762"/>
                <a:gd name="T57" fmla="*/ 2147483647 h 1338"/>
                <a:gd name="T58" fmla="*/ 2147483647 w 762"/>
                <a:gd name="T59" fmla="*/ 2147483647 h 1338"/>
                <a:gd name="T60" fmla="*/ 2147483647 w 762"/>
                <a:gd name="T61" fmla="*/ 2147483647 h 1338"/>
                <a:gd name="T62" fmla="*/ 2147483647 w 762"/>
                <a:gd name="T63" fmla="*/ 2147483647 h 1338"/>
                <a:gd name="T64" fmla="*/ 2147483647 w 762"/>
                <a:gd name="T65" fmla="*/ 2147483647 h 1338"/>
                <a:gd name="T66" fmla="*/ 2147483647 w 762"/>
                <a:gd name="T67" fmla="*/ 2147483647 h 1338"/>
                <a:gd name="T68" fmla="*/ 2147483647 w 762"/>
                <a:gd name="T69" fmla="*/ 2147483647 h 1338"/>
                <a:gd name="T70" fmla="*/ 2147483647 w 762"/>
                <a:gd name="T71" fmla="*/ 2147483647 h 1338"/>
                <a:gd name="T72" fmla="*/ 2147483647 w 762"/>
                <a:gd name="T73" fmla="*/ 2147483647 h 1338"/>
                <a:gd name="T74" fmla="*/ 2147483647 w 762"/>
                <a:gd name="T75" fmla="*/ 2147483647 h 1338"/>
                <a:gd name="T76" fmla="*/ 2147483647 w 762"/>
                <a:gd name="T77" fmla="*/ 2147483647 h 1338"/>
                <a:gd name="T78" fmla="*/ 2147483647 w 762"/>
                <a:gd name="T79" fmla="*/ 2147483647 h 1338"/>
                <a:gd name="T80" fmla="*/ 2147483647 w 762"/>
                <a:gd name="T81" fmla="*/ 2147483647 h 1338"/>
                <a:gd name="T82" fmla="*/ 2147483647 w 762"/>
                <a:gd name="T83" fmla="*/ 2147483647 h 1338"/>
                <a:gd name="T84" fmla="*/ 2147483647 w 762"/>
                <a:gd name="T85" fmla="*/ 2147483647 h 1338"/>
                <a:gd name="T86" fmla="*/ 2147483647 w 762"/>
                <a:gd name="T87" fmla="*/ 2147483647 h 1338"/>
                <a:gd name="T88" fmla="*/ 2147483647 w 762"/>
                <a:gd name="T89" fmla="*/ 2147483647 h 1338"/>
                <a:gd name="T90" fmla="*/ 2147483647 w 762"/>
                <a:gd name="T91" fmla="*/ 2147483647 h 1338"/>
                <a:gd name="T92" fmla="*/ 2147483647 w 762"/>
                <a:gd name="T93" fmla="*/ 2147483647 h 1338"/>
                <a:gd name="T94" fmla="*/ 2147483647 w 762"/>
                <a:gd name="T95" fmla="*/ 2147483647 h 1338"/>
                <a:gd name="T96" fmla="*/ 2147483647 w 762"/>
                <a:gd name="T97" fmla="*/ 2147483647 h 1338"/>
                <a:gd name="T98" fmla="*/ 2147483647 w 762"/>
                <a:gd name="T99" fmla="*/ 2147483647 h 1338"/>
                <a:gd name="T100" fmla="*/ 2147483647 w 762"/>
                <a:gd name="T101" fmla="*/ 2147483647 h 1338"/>
                <a:gd name="T102" fmla="*/ 2147483647 w 762"/>
                <a:gd name="T103" fmla="*/ 2147483647 h 1338"/>
                <a:gd name="T104" fmla="*/ 2147483647 w 762"/>
                <a:gd name="T105" fmla="*/ 2147483647 h 1338"/>
                <a:gd name="T106" fmla="*/ 2147483647 w 762"/>
                <a:gd name="T107" fmla="*/ 2147483647 h 1338"/>
                <a:gd name="T108" fmla="*/ 2147483647 w 762"/>
                <a:gd name="T109" fmla="*/ 2147483647 h 1338"/>
                <a:gd name="T110" fmla="*/ 2147483647 w 762"/>
                <a:gd name="T111" fmla="*/ 2147483647 h 1338"/>
                <a:gd name="T112" fmla="*/ 2147483647 w 762"/>
                <a:gd name="T113" fmla="*/ 2147483647 h 1338"/>
                <a:gd name="T114" fmla="*/ 2147483647 w 762"/>
                <a:gd name="T115" fmla="*/ 2147483647 h 1338"/>
                <a:gd name="T116" fmla="*/ 2147483647 w 762"/>
                <a:gd name="T117" fmla="*/ 2147483647 h 1338"/>
                <a:gd name="T118" fmla="*/ 2147483647 w 762"/>
                <a:gd name="T119" fmla="*/ 2147483647 h 1338"/>
                <a:gd name="T120" fmla="*/ 2147483647 w 762"/>
                <a:gd name="T121" fmla="*/ 2147483647 h 1338"/>
                <a:gd name="T122" fmla="*/ 2147483647 w 762"/>
                <a:gd name="T123" fmla="*/ 2147483647 h 13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2"/>
                <a:gd name="T187" fmla="*/ 0 h 1338"/>
                <a:gd name="T188" fmla="*/ 762 w 762"/>
                <a:gd name="T189" fmla="*/ 1338 h 133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2" h="1338">
                  <a:moveTo>
                    <a:pt x="762" y="342"/>
                  </a:moveTo>
                  <a:lnTo>
                    <a:pt x="762" y="324"/>
                  </a:lnTo>
                  <a:lnTo>
                    <a:pt x="756" y="318"/>
                  </a:lnTo>
                  <a:lnTo>
                    <a:pt x="744" y="318"/>
                  </a:lnTo>
                  <a:lnTo>
                    <a:pt x="744" y="258"/>
                  </a:lnTo>
                  <a:lnTo>
                    <a:pt x="732" y="246"/>
                  </a:lnTo>
                  <a:lnTo>
                    <a:pt x="750" y="234"/>
                  </a:lnTo>
                  <a:lnTo>
                    <a:pt x="738" y="186"/>
                  </a:lnTo>
                  <a:lnTo>
                    <a:pt x="750" y="156"/>
                  </a:lnTo>
                  <a:lnTo>
                    <a:pt x="738" y="120"/>
                  </a:lnTo>
                  <a:lnTo>
                    <a:pt x="738" y="108"/>
                  </a:lnTo>
                  <a:lnTo>
                    <a:pt x="750" y="72"/>
                  </a:lnTo>
                  <a:lnTo>
                    <a:pt x="756" y="42"/>
                  </a:lnTo>
                  <a:lnTo>
                    <a:pt x="756" y="12"/>
                  </a:lnTo>
                  <a:lnTo>
                    <a:pt x="744" y="0"/>
                  </a:lnTo>
                  <a:lnTo>
                    <a:pt x="666" y="54"/>
                  </a:lnTo>
                  <a:lnTo>
                    <a:pt x="636" y="60"/>
                  </a:lnTo>
                  <a:lnTo>
                    <a:pt x="630" y="60"/>
                  </a:lnTo>
                  <a:lnTo>
                    <a:pt x="618" y="72"/>
                  </a:lnTo>
                  <a:lnTo>
                    <a:pt x="606" y="78"/>
                  </a:lnTo>
                  <a:lnTo>
                    <a:pt x="594" y="78"/>
                  </a:lnTo>
                  <a:lnTo>
                    <a:pt x="594" y="72"/>
                  </a:lnTo>
                  <a:lnTo>
                    <a:pt x="588" y="66"/>
                  </a:lnTo>
                  <a:lnTo>
                    <a:pt x="564" y="66"/>
                  </a:lnTo>
                  <a:lnTo>
                    <a:pt x="558" y="72"/>
                  </a:lnTo>
                  <a:lnTo>
                    <a:pt x="552" y="84"/>
                  </a:lnTo>
                  <a:lnTo>
                    <a:pt x="540" y="90"/>
                  </a:lnTo>
                  <a:lnTo>
                    <a:pt x="528" y="102"/>
                  </a:lnTo>
                  <a:lnTo>
                    <a:pt x="510" y="102"/>
                  </a:lnTo>
                  <a:lnTo>
                    <a:pt x="498" y="96"/>
                  </a:lnTo>
                  <a:lnTo>
                    <a:pt x="492" y="90"/>
                  </a:lnTo>
                  <a:lnTo>
                    <a:pt x="486" y="90"/>
                  </a:lnTo>
                  <a:lnTo>
                    <a:pt x="468" y="108"/>
                  </a:lnTo>
                  <a:lnTo>
                    <a:pt x="456" y="108"/>
                  </a:lnTo>
                  <a:lnTo>
                    <a:pt x="450" y="102"/>
                  </a:lnTo>
                  <a:lnTo>
                    <a:pt x="438" y="96"/>
                  </a:lnTo>
                  <a:lnTo>
                    <a:pt x="432" y="84"/>
                  </a:lnTo>
                  <a:lnTo>
                    <a:pt x="420" y="78"/>
                  </a:lnTo>
                  <a:lnTo>
                    <a:pt x="408" y="78"/>
                  </a:lnTo>
                  <a:lnTo>
                    <a:pt x="396" y="90"/>
                  </a:lnTo>
                  <a:lnTo>
                    <a:pt x="390" y="90"/>
                  </a:lnTo>
                  <a:lnTo>
                    <a:pt x="384" y="96"/>
                  </a:lnTo>
                  <a:lnTo>
                    <a:pt x="354" y="96"/>
                  </a:lnTo>
                  <a:lnTo>
                    <a:pt x="354" y="114"/>
                  </a:lnTo>
                  <a:lnTo>
                    <a:pt x="330" y="138"/>
                  </a:lnTo>
                  <a:lnTo>
                    <a:pt x="330" y="150"/>
                  </a:lnTo>
                  <a:lnTo>
                    <a:pt x="342" y="162"/>
                  </a:lnTo>
                  <a:lnTo>
                    <a:pt x="348" y="174"/>
                  </a:lnTo>
                  <a:lnTo>
                    <a:pt x="348" y="204"/>
                  </a:lnTo>
                  <a:lnTo>
                    <a:pt x="342" y="216"/>
                  </a:lnTo>
                  <a:lnTo>
                    <a:pt x="336" y="234"/>
                  </a:lnTo>
                  <a:lnTo>
                    <a:pt x="336" y="246"/>
                  </a:lnTo>
                  <a:lnTo>
                    <a:pt x="342" y="246"/>
                  </a:lnTo>
                  <a:lnTo>
                    <a:pt x="342" y="252"/>
                  </a:lnTo>
                  <a:lnTo>
                    <a:pt x="348" y="252"/>
                  </a:lnTo>
                  <a:lnTo>
                    <a:pt x="372" y="276"/>
                  </a:lnTo>
                  <a:lnTo>
                    <a:pt x="384" y="300"/>
                  </a:lnTo>
                  <a:lnTo>
                    <a:pt x="390" y="306"/>
                  </a:lnTo>
                  <a:lnTo>
                    <a:pt x="396" y="318"/>
                  </a:lnTo>
                  <a:lnTo>
                    <a:pt x="408" y="336"/>
                  </a:lnTo>
                  <a:lnTo>
                    <a:pt x="420" y="348"/>
                  </a:lnTo>
                  <a:lnTo>
                    <a:pt x="420" y="366"/>
                  </a:lnTo>
                  <a:lnTo>
                    <a:pt x="414" y="372"/>
                  </a:lnTo>
                  <a:lnTo>
                    <a:pt x="408" y="384"/>
                  </a:lnTo>
                  <a:lnTo>
                    <a:pt x="402" y="390"/>
                  </a:lnTo>
                  <a:lnTo>
                    <a:pt x="402" y="450"/>
                  </a:lnTo>
                  <a:lnTo>
                    <a:pt x="396" y="456"/>
                  </a:lnTo>
                  <a:lnTo>
                    <a:pt x="372" y="456"/>
                  </a:lnTo>
                  <a:lnTo>
                    <a:pt x="360" y="462"/>
                  </a:lnTo>
                  <a:lnTo>
                    <a:pt x="354" y="474"/>
                  </a:lnTo>
                  <a:lnTo>
                    <a:pt x="354" y="492"/>
                  </a:lnTo>
                  <a:lnTo>
                    <a:pt x="360" y="492"/>
                  </a:lnTo>
                  <a:lnTo>
                    <a:pt x="366" y="498"/>
                  </a:lnTo>
                  <a:lnTo>
                    <a:pt x="366" y="528"/>
                  </a:lnTo>
                  <a:lnTo>
                    <a:pt x="354" y="534"/>
                  </a:lnTo>
                  <a:lnTo>
                    <a:pt x="348" y="540"/>
                  </a:lnTo>
                  <a:lnTo>
                    <a:pt x="342" y="534"/>
                  </a:lnTo>
                  <a:lnTo>
                    <a:pt x="342" y="522"/>
                  </a:lnTo>
                  <a:lnTo>
                    <a:pt x="348" y="516"/>
                  </a:lnTo>
                  <a:lnTo>
                    <a:pt x="348" y="504"/>
                  </a:lnTo>
                  <a:lnTo>
                    <a:pt x="336" y="498"/>
                  </a:lnTo>
                  <a:lnTo>
                    <a:pt x="330" y="492"/>
                  </a:lnTo>
                  <a:lnTo>
                    <a:pt x="318" y="486"/>
                  </a:lnTo>
                  <a:lnTo>
                    <a:pt x="312" y="480"/>
                  </a:lnTo>
                  <a:lnTo>
                    <a:pt x="300" y="474"/>
                  </a:lnTo>
                  <a:lnTo>
                    <a:pt x="300" y="444"/>
                  </a:lnTo>
                  <a:lnTo>
                    <a:pt x="288" y="444"/>
                  </a:lnTo>
                  <a:lnTo>
                    <a:pt x="288" y="438"/>
                  </a:lnTo>
                  <a:lnTo>
                    <a:pt x="294" y="432"/>
                  </a:lnTo>
                  <a:lnTo>
                    <a:pt x="306" y="426"/>
                  </a:lnTo>
                  <a:lnTo>
                    <a:pt x="312" y="420"/>
                  </a:lnTo>
                  <a:lnTo>
                    <a:pt x="300" y="402"/>
                  </a:lnTo>
                  <a:lnTo>
                    <a:pt x="312" y="396"/>
                  </a:lnTo>
                  <a:lnTo>
                    <a:pt x="318" y="366"/>
                  </a:lnTo>
                  <a:lnTo>
                    <a:pt x="312" y="366"/>
                  </a:lnTo>
                  <a:lnTo>
                    <a:pt x="312" y="330"/>
                  </a:lnTo>
                  <a:lnTo>
                    <a:pt x="306" y="324"/>
                  </a:lnTo>
                  <a:lnTo>
                    <a:pt x="288" y="324"/>
                  </a:lnTo>
                  <a:lnTo>
                    <a:pt x="282" y="330"/>
                  </a:lnTo>
                  <a:lnTo>
                    <a:pt x="252" y="330"/>
                  </a:lnTo>
                  <a:lnTo>
                    <a:pt x="222" y="282"/>
                  </a:lnTo>
                  <a:lnTo>
                    <a:pt x="216" y="282"/>
                  </a:lnTo>
                  <a:lnTo>
                    <a:pt x="210" y="288"/>
                  </a:lnTo>
                  <a:lnTo>
                    <a:pt x="192" y="294"/>
                  </a:lnTo>
                  <a:lnTo>
                    <a:pt x="180" y="300"/>
                  </a:lnTo>
                  <a:lnTo>
                    <a:pt x="162" y="312"/>
                  </a:lnTo>
                  <a:lnTo>
                    <a:pt x="138" y="324"/>
                  </a:lnTo>
                  <a:lnTo>
                    <a:pt x="132" y="324"/>
                  </a:lnTo>
                  <a:lnTo>
                    <a:pt x="120" y="330"/>
                  </a:lnTo>
                  <a:lnTo>
                    <a:pt x="102" y="336"/>
                  </a:lnTo>
                  <a:lnTo>
                    <a:pt x="84" y="336"/>
                  </a:lnTo>
                  <a:lnTo>
                    <a:pt x="72" y="342"/>
                  </a:lnTo>
                  <a:lnTo>
                    <a:pt x="60" y="342"/>
                  </a:lnTo>
                  <a:lnTo>
                    <a:pt x="42" y="360"/>
                  </a:lnTo>
                  <a:lnTo>
                    <a:pt x="12" y="360"/>
                  </a:lnTo>
                  <a:lnTo>
                    <a:pt x="0" y="372"/>
                  </a:lnTo>
                  <a:lnTo>
                    <a:pt x="18" y="390"/>
                  </a:lnTo>
                  <a:lnTo>
                    <a:pt x="24" y="444"/>
                  </a:lnTo>
                  <a:lnTo>
                    <a:pt x="84" y="444"/>
                  </a:lnTo>
                  <a:lnTo>
                    <a:pt x="96" y="462"/>
                  </a:lnTo>
                  <a:lnTo>
                    <a:pt x="114" y="462"/>
                  </a:lnTo>
                  <a:lnTo>
                    <a:pt x="132" y="486"/>
                  </a:lnTo>
                  <a:lnTo>
                    <a:pt x="138" y="486"/>
                  </a:lnTo>
                  <a:lnTo>
                    <a:pt x="150" y="480"/>
                  </a:lnTo>
                  <a:lnTo>
                    <a:pt x="162" y="480"/>
                  </a:lnTo>
                  <a:lnTo>
                    <a:pt x="180" y="498"/>
                  </a:lnTo>
                  <a:lnTo>
                    <a:pt x="192" y="498"/>
                  </a:lnTo>
                  <a:lnTo>
                    <a:pt x="204" y="510"/>
                  </a:lnTo>
                  <a:lnTo>
                    <a:pt x="204" y="516"/>
                  </a:lnTo>
                  <a:lnTo>
                    <a:pt x="198" y="528"/>
                  </a:lnTo>
                  <a:lnTo>
                    <a:pt x="192" y="534"/>
                  </a:lnTo>
                  <a:lnTo>
                    <a:pt x="204" y="552"/>
                  </a:lnTo>
                  <a:lnTo>
                    <a:pt x="192" y="564"/>
                  </a:lnTo>
                  <a:lnTo>
                    <a:pt x="204" y="576"/>
                  </a:lnTo>
                  <a:lnTo>
                    <a:pt x="198" y="582"/>
                  </a:lnTo>
                  <a:lnTo>
                    <a:pt x="198" y="588"/>
                  </a:lnTo>
                  <a:lnTo>
                    <a:pt x="192" y="594"/>
                  </a:lnTo>
                  <a:lnTo>
                    <a:pt x="192" y="606"/>
                  </a:lnTo>
                  <a:lnTo>
                    <a:pt x="204" y="630"/>
                  </a:lnTo>
                  <a:lnTo>
                    <a:pt x="204" y="642"/>
                  </a:lnTo>
                  <a:lnTo>
                    <a:pt x="198" y="648"/>
                  </a:lnTo>
                  <a:lnTo>
                    <a:pt x="198" y="654"/>
                  </a:lnTo>
                  <a:lnTo>
                    <a:pt x="192" y="654"/>
                  </a:lnTo>
                  <a:lnTo>
                    <a:pt x="192" y="666"/>
                  </a:lnTo>
                  <a:lnTo>
                    <a:pt x="174" y="678"/>
                  </a:lnTo>
                  <a:lnTo>
                    <a:pt x="192" y="702"/>
                  </a:lnTo>
                  <a:lnTo>
                    <a:pt x="174" y="720"/>
                  </a:lnTo>
                  <a:lnTo>
                    <a:pt x="174" y="732"/>
                  </a:lnTo>
                  <a:lnTo>
                    <a:pt x="198" y="756"/>
                  </a:lnTo>
                  <a:lnTo>
                    <a:pt x="198" y="762"/>
                  </a:lnTo>
                  <a:lnTo>
                    <a:pt x="192" y="774"/>
                  </a:lnTo>
                  <a:lnTo>
                    <a:pt x="180" y="786"/>
                  </a:lnTo>
                  <a:lnTo>
                    <a:pt x="180" y="798"/>
                  </a:lnTo>
                  <a:lnTo>
                    <a:pt x="168" y="810"/>
                  </a:lnTo>
                  <a:lnTo>
                    <a:pt x="156" y="816"/>
                  </a:lnTo>
                  <a:lnTo>
                    <a:pt x="156" y="846"/>
                  </a:lnTo>
                  <a:lnTo>
                    <a:pt x="144" y="858"/>
                  </a:lnTo>
                  <a:lnTo>
                    <a:pt x="156" y="876"/>
                  </a:lnTo>
                  <a:lnTo>
                    <a:pt x="138" y="882"/>
                  </a:lnTo>
                  <a:lnTo>
                    <a:pt x="72" y="966"/>
                  </a:lnTo>
                  <a:lnTo>
                    <a:pt x="72" y="996"/>
                  </a:lnTo>
                  <a:lnTo>
                    <a:pt x="78" y="1014"/>
                  </a:lnTo>
                  <a:lnTo>
                    <a:pt x="78" y="1032"/>
                  </a:lnTo>
                  <a:lnTo>
                    <a:pt x="84" y="1044"/>
                  </a:lnTo>
                  <a:lnTo>
                    <a:pt x="84" y="1062"/>
                  </a:lnTo>
                  <a:lnTo>
                    <a:pt x="114" y="1122"/>
                  </a:lnTo>
                  <a:lnTo>
                    <a:pt x="114" y="1212"/>
                  </a:lnTo>
                  <a:lnTo>
                    <a:pt x="90" y="1248"/>
                  </a:lnTo>
                  <a:lnTo>
                    <a:pt x="114" y="1248"/>
                  </a:lnTo>
                  <a:lnTo>
                    <a:pt x="108" y="1260"/>
                  </a:lnTo>
                  <a:lnTo>
                    <a:pt x="108" y="1284"/>
                  </a:lnTo>
                  <a:lnTo>
                    <a:pt x="114" y="1290"/>
                  </a:lnTo>
                  <a:lnTo>
                    <a:pt x="120" y="1290"/>
                  </a:lnTo>
                  <a:lnTo>
                    <a:pt x="126" y="1314"/>
                  </a:lnTo>
                  <a:lnTo>
                    <a:pt x="144" y="1314"/>
                  </a:lnTo>
                  <a:lnTo>
                    <a:pt x="156" y="1326"/>
                  </a:lnTo>
                  <a:lnTo>
                    <a:pt x="162" y="1338"/>
                  </a:lnTo>
                  <a:lnTo>
                    <a:pt x="168" y="1320"/>
                  </a:lnTo>
                  <a:lnTo>
                    <a:pt x="168" y="1284"/>
                  </a:lnTo>
                  <a:lnTo>
                    <a:pt x="162" y="1272"/>
                  </a:lnTo>
                  <a:lnTo>
                    <a:pt x="156" y="1266"/>
                  </a:lnTo>
                  <a:lnTo>
                    <a:pt x="150" y="1266"/>
                  </a:lnTo>
                  <a:lnTo>
                    <a:pt x="150" y="1242"/>
                  </a:lnTo>
                  <a:lnTo>
                    <a:pt x="162" y="1230"/>
                  </a:lnTo>
                  <a:lnTo>
                    <a:pt x="222" y="1188"/>
                  </a:lnTo>
                  <a:lnTo>
                    <a:pt x="276" y="1158"/>
                  </a:lnTo>
                  <a:lnTo>
                    <a:pt x="294" y="1146"/>
                  </a:lnTo>
                  <a:lnTo>
                    <a:pt x="312" y="1140"/>
                  </a:lnTo>
                  <a:lnTo>
                    <a:pt x="330" y="1128"/>
                  </a:lnTo>
                  <a:lnTo>
                    <a:pt x="342" y="1122"/>
                  </a:lnTo>
                  <a:lnTo>
                    <a:pt x="360" y="1104"/>
                  </a:lnTo>
                  <a:lnTo>
                    <a:pt x="360" y="1080"/>
                  </a:lnTo>
                  <a:lnTo>
                    <a:pt x="354" y="1080"/>
                  </a:lnTo>
                  <a:lnTo>
                    <a:pt x="354" y="1086"/>
                  </a:lnTo>
                  <a:lnTo>
                    <a:pt x="348" y="1080"/>
                  </a:lnTo>
                  <a:lnTo>
                    <a:pt x="342" y="1080"/>
                  </a:lnTo>
                  <a:lnTo>
                    <a:pt x="342" y="1068"/>
                  </a:lnTo>
                  <a:lnTo>
                    <a:pt x="366" y="1020"/>
                  </a:lnTo>
                  <a:lnTo>
                    <a:pt x="366" y="990"/>
                  </a:lnTo>
                  <a:lnTo>
                    <a:pt x="360" y="984"/>
                  </a:lnTo>
                  <a:lnTo>
                    <a:pt x="360" y="978"/>
                  </a:lnTo>
                  <a:lnTo>
                    <a:pt x="372" y="948"/>
                  </a:lnTo>
                  <a:lnTo>
                    <a:pt x="366" y="942"/>
                  </a:lnTo>
                  <a:lnTo>
                    <a:pt x="348" y="960"/>
                  </a:lnTo>
                  <a:lnTo>
                    <a:pt x="354" y="918"/>
                  </a:lnTo>
                  <a:lnTo>
                    <a:pt x="348" y="906"/>
                  </a:lnTo>
                  <a:lnTo>
                    <a:pt x="336" y="900"/>
                  </a:lnTo>
                  <a:lnTo>
                    <a:pt x="330" y="888"/>
                  </a:lnTo>
                  <a:lnTo>
                    <a:pt x="330" y="870"/>
                  </a:lnTo>
                  <a:lnTo>
                    <a:pt x="336" y="858"/>
                  </a:lnTo>
                  <a:lnTo>
                    <a:pt x="336" y="834"/>
                  </a:lnTo>
                  <a:lnTo>
                    <a:pt x="324" y="822"/>
                  </a:lnTo>
                  <a:lnTo>
                    <a:pt x="318" y="822"/>
                  </a:lnTo>
                  <a:lnTo>
                    <a:pt x="312" y="816"/>
                  </a:lnTo>
                  <a:lnTo>
                    <a:pt x="312" y="792"/>
                  </a:lnTo>
                  <a:lnTo>
                    <a:pt x="318" y="780"/>
                  </a:lnTo>
                  <a:lnTo>
                    <a:pt x="324" y="762"/>
                  </a:lnTo>
                  <a:lnTo>
                    <a:pt x="336" y="750"/>
                  </a:lnTo>
                  <a:lnTo>
                    <a:pt x="372" y="732"/>
                  </a:lnTo>
                  <a:lnTo>
                    <a:pt x="378" y="726"/>
                  </a:lnTo>
                  <a:lnTo>
                    <a:pt x="378" y="714"/>
                  </a:lnTo>
                  <a:lnTo>
                    <a:pt x="390" y="690"/>
                  </a:lnTo>
                  <a:lnTo>
                    <a:pt x="396" y="684"/>
                  </a:lnTo>
                  <a:lnTo>
                    <a:pt x="402" y="684"/>
                  </a:lnTo>
                  <a:lnTo>
                    <a:pt x="414" y="678"/>
                  </a:lnTo>
                  <a:lnTo>
                    <a:pt x="420" y="678"/>
                  </a:lnTo>
                  <a:lnTo>
                    <a:pt x="426" y="672"/>
                  </a:lnTo>
                  <a:lnTo>
                    <a:pt x="450" y="660"/>
                  </a:lnTo>
                  <a:lnTo>
                    <a:pt x="462" y="648"/>
                  </a:lnTo>
                  <a:lnTo>
                    <a:pt x="474" y="612"/>
                  </a:lnTo>
                  <a:lnTo>
                    <a:pt x="498" y="576"/>
                  </a:lnTo>
                  <a:lnTo>
                    <a:pt x="522" y="564"/>
                  </a:lnTo>
                  <a:lnTo>
                    <a:pt x="558" y="552"/>
                  </a:lnTo>
                  <a:lnTo>
                    <a:pt x="600" y="534"/>
                  </a:lnTo>
                  <a:lnTo>
                    <a:pt x="624" y="522"/>
                  </a:lnTo>
                  <a:lnTo>
                    <a:pt x="630" y="516"/>
                  </a:lnTo>
                  <a:lnTo>
                    <a:pt x="666" y="498"/>
                  </a:lnTo>
                  <a:lnTo>
                    <a:pt x="672" y="492"/>
                  </a:lnTo>
                  <a:lnTo>
                    <a:pt x="684" y="486"/>
                  </a:lnTo>
                  <a:lnTo>
                    <a:pt x="684" y="474"/>
                  </a:lnTo>
                  <a:lnTo>
                    <a:pt x="714" y="444"/>
                  </a:lnTo>
                  <a:lnTo>
                    <a:pt x="714" y="432"/>
                  </a:lnTo>
                  <a:lnTo>
                    <a:pt x="720" y="420"/>
                  </a:lnTo>
                  <a:lnTo>
                    <a:pt x="732" y="414"/>
                  </a:lnTo>
                  <a:lnTo>
                    <a:pt x="738" y="402"/>
                  </a:lnTo>
                  <a:lnTo>
                    <a:pt x="744" y="396"/>
                  </a:lnTo>
                  <a:lnTo>
                    <a:pt x="744" y="378"/>
                  </a:lnTo>
                  <a:lnTo>
                    <a:pt x="750" y="372"/>
                  </a:lnTo>
                  <a:lnTo>
                    <a:pt x="762" y="348"/>
                  </a:lnTo>
                  <a:lnTo>
                    <a:pt x="762" y="34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01" name="Marokko" descr="© INSCALE GmbH, 05.05.2010&#10;http://www.presentationload.com/">
              <a:extLst>
                <a:ext uri="{FF2B5EF4-FFF2-40B4-BE49-F238E27FC236}">
                  <a16:creationId xmlns:a16="http://schemas.microsoft.com/office/drawing/2014/main" id="{AA545731-1305-4F12-95F8-94F47429B4C2}"/>
                </a:ext>
              </a:extLst>
            </p:cNvPr>
            <p:cNvSpPr>
              <a:spLocks/>
            </p:cNvSpPr>
            <p:nvPr/>
          </p:nvSpPr>
          <p:spPr bwMode="gray">
            <a:xfrm>
              <a:off x="3776553" y="3103269"/>
              <a:ext cx="337124" cy="263428"/>
            </a:xfrm>
            <a:custGeom>
              <a:avLst/>
              <a:gdLst>
                <a:gd name="T0" fmla="*/ 2147483647 w 846"/>
                <a:gd name="T1" fmla="*/ 2147483647 h 660"/>
                <a:gd name="T2" fmla="*/ 2147483647 w 846"/>
                <a:gd name="T3" fmla="*/ 2147483647 h 660"/>
                <a:gd name="T4" fmla="*/ 2147483647 w 846"/>
                <a:gd name="T5" fmla="*/ 2147483647 h 660"/>
                <a:gd name="T6" fmla="*/ 2147483647 w 846"/>
                <a:gd name="T7" fmla="*/ 2147483647 h 660"/>
                <a:gd name="T8" fmla="*/ 2147483647 w 846"/>
                <a:gd name="T9" fmla="*/ 2147483647 h 660"/>
                <a:gd name="T10" fmla="*/ 2147483647 w 846"/>
                <a:gd name="T11" fmla="*/ 2147483647 h 660"/>
                <a:gd name="T12" fmla="*/ 2147483647 w 846"/>
                <a:gd name="T13" fmla="*/ 2147483647 h 660"/>
                <a:gd name="T14" fmla="*/ 2147483647 w 846"/>
                <a:gd name="T15" fmla="*/ 2147483647 h 660"/>
                <a:gd name="T16" fmla="*/ 2147483647 w 846"/>
                <a:gd name="T17" fmla="*/ 2147483647 h 660"/>
                <a:gd name="T18" fmla="*/ 2147483647 w 846"/>
                <a:gd name="T19" fmla="*/ 0 h 660"/>
                <a:gd name="T20" fmla="*/ 2147483647 w 846"/>
                <a:gd name="T21" fmla="*/ 2147483647 h 660"/>
                <a:gd name="T22" fmla="*/ 2147483647 w 846"/>
                <a:gd name="T23" fmla="*/ 2147483647 h 660"/>
                <a:gd name="T24" fmla="*/ 2147483647 w 846"/>
                <a:gd name="T25" fmla="*/ 2147483647 h 660"/>
                <a:gd name="T26" fmla="*/ 2147483647 w 846"/>
                <a:gd name="T27" fmla="*/ 2147483647 h 660"/>
                <a:gd name="T28" fmla="*/ 2147483647 w 846"/>
                <a:gd name="T29" fmla="*/ 2147483647 h 660"/>
                <a:gd name="T30" fmla="*/ 2147483647 w 846"/>
                <a:gd name="T31" fmla="*/ 2147483647 h 660"/>
                <a:gd name="T32" fmla="*/ 2147483647 w 846"/>
                <a:gd name="T33" fmla="*/ 2147483647 h 660"/>
                <a:gd name="T34" fmla="*/ 2147483647 w 846"/>
                <a:gd name="T35" fmla="*/ 2147483647 h 660"/>
                <a:gd name="T36" fmla="*/ 2147483647 w 846"/>
                <a:gd name="T37" fmla="*/ 2147483647 h 660"/>
                <a:gd name="T38" fmla="*/ 2147483647 w 846"/>
                <a:gd name="T39" fmla="*/ 2147483647 h 660"/>
                <a:gd name="T40" fmla="*/ 2147483647 w 846"/>
                <a:gd name="T41" fmla="*/ 2147483647 h 660"/>
                <a:gd name="T42" fmla="*/ 2147483647 w 846"/>
                <a:gd name="T43" fmla="*/ 2147483647 h 660"/>
                <a:gd name="T44" fmla="*/ 2147483647 w 846"/>
                <a:gd name="T45" fmla="*/ 2147483647 h 660"/>
                <a:gd name="T46" fmla="*/ 2147483647 w 846"/>
                <a:gd name="T47" fmla="*/ 2147483647 h 660"/>
                <a:gd name="T48" fmla="*/ 2147483647 w 846"/>
                <a:gd name="T49" fmla="*/ 2147483647 h 660"/>
                <a:gd name="T50" fmla="*/ 2147483647 w 846"/>
                <a:gd name="T51" fmla="*/ 2147483647 h 660"/>
                <a:gd name="T52" fmla="*/ 2147483647 w 846"/>
                <a:gd name="T53" fmla="*/ 2147483647 h 660"/>
                <a:gd name="T54" fmla="*/ 2147483647 w 846"/>
                <a:gd name="T55" fmla="*/ 2147483647 h 660"/>
                <a:gd name="T56" fmla="*/ 2147483647 w 846"/>
                <a:gd name="T57" fmla="*/ 2147483647 h 660"/>
                <a:gd name="T58" fmla="*/ 2147483647 w 846"/>
                <a:gd name="T59" fmla="*/ 2147483647 h 660"/>
                <a:gd name="T60" fmla="*/ 2147483647 w 846"/>
                <a:gd name="T61" fmla="*/ 2147483647 h 660"/>
                <a:gd name="T62" fmla="*/ 2147483647 w 846"/>
                <a:gd name="T63" fmla="*/ 2147483647 h 660"/>
                <a:gd name="T64" fmla="*/ 2147483647 w 846"/>
                <a:gd name="T65" fmla="*/ 2147483647 h 660"/>
                <a:gd name="T66" fmla="*/ 2147483647 w 846"/>
                <a:gd name="T67" fmla="*/ 2147483647 h 660"/>
                <a:gd name="T68" fmla="*/ 2147483647 w 846"/>
                <a:gd name="T69" fmla="*/ 2147483647 h 660"/>
                <a:gd name="T70" fmla="*/ 2147483647 w 846"/>
                <a:gd name="T71" fmla="*/ 2147483647 h 660"/>
                <a:gd name="T72" fmla="*/ 2147483647 w 846"/>
                <a:gd name="T73" fmla="*/ 2147483647 h 660"/>
                <a:gd name="T74" fmla="*/ 2147483647 w 846"/>
                <a:gd name="T75" fmla="*/ 2147483647 h 660"/>
                <a:gd name="T76" fmla="*/ 2147483647 w 846"/>
                <a:gd name="T77" fmla="*/ 2147483647 h 660"/>
                <a:gd name="T78" fmla="*/ 2147483647 w 846"/>
                <a:gd name="T79" fmla="*/ 2147483647 h 660"/>
                <a:gd name="T80" fmla="*/ 2147483647 w 846"/>
                <a:gd name="T81" fmla="*/ 2147483647 h 660"/>
                <a:gd name="T82" fmla="*/ 2147483647 w 846"/>
                <a:gd name="T83" fmla="*/ 2147483647 h 660"/>
                <a:gd name="T84" fmla="*/ 2147483647 w 846"/>
                <a:gd name="T85" fmla="*/ 2147483647 h 660"/>
                <a:gd name="T86" fmla="*/ 2147483647 w 846"/>
                <a:gd name="T87" fmla="*/ 2147483647 h 660"/>
                <a:gd name="T88" fmla="*/ 2147483647 w 846"/>
                <a:gd name="T89" fmla="*/ 2147483647 h 6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6"/>
                <a:gd name="T136" fmla="*/ 0 h 660"/>
                <a:gd name="T137" fmla="*/ 846 w 846"/>
                <a:gd name="T138" fmla="*/ 660 h 6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6" h="660">
                  <a:moveTo>
                    <a:pt x="822" y="246"/>
                  </a:moveTo>
                  <a:lnTo>
                    <a:pt x="822" y="216"/>
                  </a:lnTo>
                  <a:lnTo>
                    <a:pt x="804" y="216"/>
                  </a:lnTo>
                  <a:lnTo>
                    <a:pt x="816" y="186"/>
                  </a:lnTo>
                  <a:lnTo>
                    <a:pt x="804" y="168"/>
                  </a:lnTo>
                  <a:lnTo>
                    <a:pt x="810" y="102"/>
                  </a:lnTo>
                  <a:lnTo>
                    <a:pt x="798" y="102"/>
                  </a:lnTo>
                  <a:lnTo>
                    <a:pt x="798" y="90"/>
                  </a:lnTo>
                  <a:lnTo>
                    <a:pt x="804" y="84"/>
                  </a:lnTo>
                  <a:lnTo>
                    <a:pt x="792" y="78"/>
                  </a:lnTo>
                  <a:lnTo>
                    <a:pt x="786" y="66"/>
                  </a:lnTo>
                  <a:lnTo>
                    <a:pt x="780" y="60"/>
                  </a:lnTo>
                  <a:lnTo>
                    <a:pt x="744" y="42"/>
                  </a:lnTo>
                  <a:lnTo>
                    <a:pt x="720" y="42"/>
                  </a:lnTo>
                  <a:lnTo>
                    <a:pt x="708" y="48"/>
                  </a:lnTo>
                  <a:lnTo>
                    <a:pt x="702" y="54"/>
                  </a:lnTo>
                  <a:lnTo>
                    <a:pt x="696" y="54"/>
                  </a:lnTo>
                  <a:lnTo>
                    <a:pt x="690" y="48"/>
                  </a:lnTo>
                  <a:lnTo>
                    <a:pt x="678" y="48"/>
                  </a:lnTo>
                  <a:lnTo>
                    <a:pt x="666" y="42"/>
                  </a:lnTo>
                  <a:lnTo>
                    <a:pt x="654" y="42"/>
                  </a:lnTo>
                  <a:lnTo>
                    <a:pt x="642" y="48"/>
                  </a:lnTo>
                  <a:lnTo>
                    <a:pt x="636" y="54"/>
                  </a:lnTo>
                  <a:lnTo>
                    <a:pt x="624" y="54"/>
                  </a:lnTo>
                  <a:lnTo>
                    <a:pt x="588" y="36"/>
                  </a:lnTo>
                  <a:lnTo>
                    <a:pt x="570" y="18"/>
                  </a:lnTo>
                  <a:lnTo>
                    <a:pt x="564" y="6"/>
                  </a:lnTo>
                  <a:lnTo>
                    <a:pt x="558" y="6"/>
                  </a:lnTo>
                  <a:lnTo>
                    <a:pt x="552" y="0"/>
                  </a:lnTo>
                  <a:lnTo>
                    <a:pt x="528" y="0"/>
                  </a:lnTo>
                  <a:lnTo>
                    <a:pt x="528" y="6"/>
                  </a:lnTo>
                  <a:lnTo>
                    <a:pt x="522" y="12"/>
                  </a:lnTo>
                  <a:lnTo>
                    <a:pt x="522" y="30"/>
                  </a:lnTo>
                  <a:lnTo>
                    <a:pt x="516" y="48"/>
                  </a:lnTo>
                  <a:lnTo>
                    <a:pt x="498" y="84"/>
                  </a:lnTo>
                  <a:lnTo>
                    <a:pt x="492" y="102"/>
                  </a:lnTo>
                  <a:lnTo>
                    <a:pt x="468" y="138"/>
                  </a:lnTo>
                  <a:lnTo>
                    <a:pt x="462" y="150"/>
                  </a:lnTo>
                  <a:lnTo>
                    <a:pt x="450" y="162"/>
                  </a:lnTo>
                  <a:lnTo>
                    <a:pt x="438" y="168"/>
                  </a:lnTo>
                  <a:lnTo>
                    <a:pt x="420" y="168"/>
                  </a:lnTo>
                  <a:lnTo>
                    <a:pt x="408" y="174"/>
                  </a:lnTo>
                  <a:lnTo>
                    <a:pt x="402" y="174"/>
                  </a:lnTo>
                  <a:lnTo>
                    <a:pt x="396" y="180"/>
                  </a:lnTo>
                  <a:lnTo>
                    <a:pt x="384" y="186"/>
                  </a:lnTo>
                  <a:lnTo>
                    <a:pt x="378" y="198"/>
                  </a:lnTo>
                  <a:lnTo>
                    <a:pt x="360" y="192"/>
                  </a:lnTo>
                  <a:lnTo>
                    <a:pt x="330" y="204"/>
                  </a:lnTo>
                  <a:lnTo>
                    <a:pt x="330" y="210"/>
                  </a:lnTo>
                  <a:lnTo>
                    <a:pt x="324" y="216"/>
                  </a:lnTo>
                  <a:lnTo>
                    <a:pt x="324" y="228"/>
                  </a:lnTo>
                  <a:lnTo>
                    <a:pt x="318" y="240"/>
                  </a:lnTo>
                  <a:lnTo>
                    <a:pt x="312" y="240"/>
                  </a:lnTo>
                  <a:lnTo>
                    <a:pt x="288" y="264"/>
                  </a:lnTo>
                  <a:lnTo>
                    <a:pt x="288" y="288"/>
                  </a:lnTo>
                  <a:lnTo>
                    <a:pt x="276" y="312"/>
                  </a:lnTo>
                  <a:lnTo>
                    <a:pt x="264" y="324"/>
                  </a:lnTo>
                  <a:lnTo>
                    <a:pt x="258" y="336"/>
                  </a:lnTo>
                  <a:lnTo>
                    <a:pt x="246" y="354"/>
                  </a:lnTo>
                  <a:lnTo>
                    <a:pt x="246" y="402"/>
                  </a:lnTo>
                  <a:lnTo>
                    <a:pt x="240" y="408"/>
                  </a:lnTo>
                  <a:lnTo>
                    <a:pt x="234" y="408"/>
                  </a:lnTo>
                  <a:lnTo>
                    <a:pt x="234" y="414"/>
                  </a:lnTo>
                  <a:lnTo>
                    <a:pt x="240" y="420"/>
                  </a:lnTo>
                  <a:lnTo>
                    <a:pt x="252" y="420"/>
                  </a:lnTo>
                  <a:lnTo>
                    <a:pt x="252" y="474"/>
                  </a:lnTo>
                  <a:lnTo>
                    <a:pt x="240" y="474"/>
                  </a:lnTo>
                  <a:lnTo>
                    <a:pt x="228" y="480"/>
                  </a:lnTo>
                  <a:lnTo>
                    <a:pt x="192" y="540"/>
                  </a:lnTo>
                  <a:lnTo>
                    <a:pt x="180" y="552"/>
                  </a:lnTo>
                  <a:lnTo>
                    <a:pt x="168" y="552"/>
                  </a:lnTo>
                  <a:lnTo>
                    <a:pt x="162" y="558"/>
                  </a:lnTo>
                  <a:lnTo>
                    <a:pt x="150" y="564"/>
                  </a:lnTo>
                  <a:lnTo>
                    <a:pt x="144" y="576"/>
                  </a:lnTo>
                  <a:lnTo>
                    <a:pt x="132" y="588"/>
                  </a:lnTo>
                  <a:lnTo>
                    <a:pt x="126" y="600"/>
                  </a:lnTo>
                  <a:lnTo>
                    <a:pt x="120" y="606"/>
                  </a:lnTo>
                  <a:lnTo>
                    <a:pt x="84" y="624"/>
                  </a:lnTo>
                  <a:lnTo>
                    <a:pt x="66" y="624"/>
                  </a:lnTo>
                  <a:lnTo>
                    <a:pt x="54" y="630"/>
                  </a:lnTo>
                  <a:lnTo>
                    <a:pt x="48" y="630"/>
                  </a:lnTo>
                  <a:lnTo>
                    <a:pt x="42" y="636"/>
                  </a:lnTo>
                  <a:lnTo>
                    <a:pt x="12" y="636"/>
                  </a:lnTo>
                  <a:lnTo>
                    <a:pt x="6" y="642"/>
                  </a:lnTo>
                  <a:lnTo>
                    <a:pt x="6" y="654"/>
                  </a:lnTo>
                  <a:lnTo>
                    <a:pt x="0" y="660"/>
                  </a:lnTo>
                  <a:lnTo>
                    <a:pt x="312" y="660"/>
                  </a:lnTo>
                  <a:lnTo>
                    <a:pt x="312" y="600"/>
                  </a:lnTo>
                  <a:lnTo>
                    <a:pt x="318" y="570"/>
                  </a:lnTo>
                  <a:lnTo>
                    <a:pt x="330" y="564"/>
                  </a:lnTo>
                  <a:lnTo>
                    <a:pt x="336" y="558"/>
                  </a:lnTo>
                  <a:lnTo>
                    <a:pt x="348" y="552"/>
                  </a:lnTo>
                  <a:lnTo>
                    <a:pt x="378" y="522"/>
                  </a:lnTo>
                  <a:lnTo>
                    <a:pt x="378" y="516"/>
                  </a:lnTo>
                  <a:lnTo>
                    <a:pt x="396" y="516"/>
                  </a:lnTo>
                  <a:lnTo>
                    <a:pt x="426" y="498"/>
                  </a:lnTo>
                  <a:lnTo>
                    <a:pt x="438" y="504"/>
                  </a:lnTo>
                  <a:lnTo>
                    <a:pt x="444" y="510"/>
                  </a:lnTo>
                  <a:lnTo>
                    <a:pt x="456" y="510"/>
                  </a:lnTo>
                  <a:lnTo>
                    <a:pt x="462" y="498"/>
                  </a:lnTo>
                  <a:lnTo>
                    <a:pt x="462" y="492"/>
                  </a:lnTo>
                  <a:lnTo>
                    <a:pt x="486" y="486"/>
                  </a:lnTo>
                  <a:lnTo>
                    <a:pt x="492" y="474"/>
                  </a:lnTo>
                  <a:lnTo>
                    <a:pt x="504" y="474"/>
                  </a:lnTo>
                  <a:lnTo>
                    <a:pt x="516" y="480"/>
                  </a:lnTo>
                  <a:lnTo>
                    <a:pt x="540" y="480"/>
                  </a:lnTo>
                  <a:lnTo>
                    <a:pt x="552" y="468"/>
                  </a:lnTo>
                  <a:lnTo>
                    <a:pt x="564" y="444"/>
                  </a:lnTo>
                  <a:lnTo>
                    <a:pt x="570" y="438"/>
                  </a:lnTo>
                  <a:lnTo>
                    <a:pt x="576" y="426"/>
                  </a:lnTo>
                  <a:lnTo>
                    <a:pt x="618" y="426"/>
                  </a:lnTo>
                  <a:lnTo>
                    <a:pt x="624" y="420"/>
                  </a:lnTo>
                  <a:lnTo>
                    <a:pt x="636" y="414"/>
                  </a:lnTo>
                  <a:lnTo>
                    <a:pt x="648" y="402"/>
                  </a:lnTo>
                  <a:lnTo>
                    <a:pt x="648" y="396"/>
                  </a:lnTo>
                  <a:lnTo>
                    <a:pt x="672" y="384"/>
                  </a:lnTo>
                  <a:lnTo>
                    <a:pt x="660" y="366"/>
                  </a:lnTo>
                  <a:lnTo>
                    <a:pt x="654" y="354"/>
                  </a:lnTo>
                  <a:lnTo>
                    <a:pt x="648" y="348"/>
                  </a:lnTo>
                  <a:lnTo>
                    <a:pt x="648" y="336"/>
                  </a:lnTo>
                  <a:lnTo>
                    <a:pt x="654" y="330"/>
                  </a:lnTo>
                  <a:lnTo>
                    <a:pt x="678" y="330"/>
                  </a:lnTo>
                  <a:lnTo>
                    <a:pt x="690" y="324"/>
                  </a:lnTo>
                  <a:lnTo>
                    <a:pt x="714" y="324"/>
                  </a:lnTo>
                  <a:lnTo>
                    <a:pt x="714" y="312"/>
                  </a:lnTo>
                  <a:lnTo>
                    <a:pt x="720" y="306"/>
                  </a:lnTo>
                  <a:lnTo>
                    <a:pt x="720" y="300"/>
                  </a:lnTo>
                  <a:lnTo>
                    <a:pt x="732" y="300"/>
                  </a:lnTo>
                  <a:lnTo>
                    <a:pt x="738" y="306"/>
                  </a:lnTo>
                  <a:lnTo>
                    <a:pt x="744" y="300"/>
                  </a:lnTo>
                  <a:lnTo>
                    <a:pt x="744" y="294"/>
                  </a:lnTo>
                  <a:lnTo>
                    <a:pt x="762" y="294"/>
                  </a:lnTo>
                  <a:lnTo>
                    <a:pt x="774" y="300"/>
                  </a:lnTo>
                  <a:lnTo>
                    <a:pt x="828" y="294"/>
                  </a:lnTo>
                  <a:lnTo>
                    <a:pt x="828" y="282"/>
                  </a:lnTo>
                  <a:lnTo>
                    <a:pt x="846" y="264"/>
                  </a:lnTo>
                  <a:lnTo>
                    <a:pt x="822" y="246"/>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02" name="Montenegro" descr="© INSCALE GmbH, 05.05.2010&#10;http://www.presentationload.com/">
              <a:extLst>
                <a:ext uri="{FF2B5EF4-FFF2-40B4-BE49-F238E27FC236}">
                  <a16:creationId xmlns:a16="http://schemas.microsoft.com/office/drawing/2014/main" id="{BE192508-C37B-48A7-866D-5898BAD9EF6C}"/>
                </a:ext>
              </a:extLst>
            </p:cNvPr>
            <p:cNvSpPr>
              <a:spLocks/>
            </p:cNvSpPr>
            <p:nvPr/>
          </p:nvSpPr>
          <p:spPr bwMode="gray">
            <a:xfrm>
              <a:off x="4626422" y="2857089"/>
              <a:ext cx="45472" cy="53313"/>
            </a:xfrm>
            <a:custGeom>
              <a:avLst/>
              <a:gdLst>
                <a:gd name="T0" fmla="*/ 2147483647 w 114"/>
                <a:gd name="T1" fmla="*/ 2147483647 h 138"/>
                <a:gd name="T2" fmla="*/ 2147483647 w 114"/>
                <a:gd name="T3" fmla="*/ 2147483647 h 138"/>
                <a:gd name="T4" fmla="*/ 2147483647 w 114"/>
                <a:gd name="T5" fmla="*/ 2147483647 h 138"/>
                <a:gd name="T6" fmla="*/ 2147483647 w 114"/>
                <a:gd name="T7" fmla="*/ 2147483647 h 138"/>
                <a:gd name="T8" fmla="*/ 2147483647 w 114"/>
                <a:gd name="T9" fmla="*/ 2147483647 h 138"/>
                <a:gd name="T10" fmla="*/ 2147483647 w 114"/>
                <a:gd name="T11" fmla="*/ 2147483647 h 138"/>
                <a:gd name="T12" fmla="*/ 2147483647 w 114"/>
                <a:gd name="T13" fmla="*/ 0 h 138"/>
                <a:gd name="T14" fmla="*/ 2147483647 w 114"/>
                <a:gd name="T15" fmla="*/ 0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0 w 114"/>
                <a:gd name="T29" fmla="*/ 2147483647 h 138"/>
                <a:gd name="T30" fmla="*/ 0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2147483647 h 138"/>
                <a:gd name="T56" fmla="*/ 2147483647 w 114"/>
                <a:gd name="T57" fmla="*/ 2147483647 h 138"/>
                <a:gd name="T58" fmla="*/ 2147483647 w 114"/>
                <a:gd name="T59" fmla="*/ 2147483647 h 138"/>
                <a:gd name="T60" fmla="*/ 2147483647 w 114"/>
                <a:gd name="T61" fmla="*/ 2147483647 h 138"/>
                <a:gd name="T62" fmla="*/ 2147483647 w 114"/>
                <a:gd name="T63" fmla="*/ 2147483647 h 138"/>
                <a:gd name="T64" fmla="*/ 2147483647 w 114"/>
                <a:gd name="T65" fmla="*/ 2147483647 h 138"/>
                <a:gd name="T66" fmla="*/ 2147483647 w 114"/>
                <a:gd name="T67" fmla="*/ 2147483647 h 138"/>
                <a:gd name="T68" fmla="*/ 2147483647 w 114"/>
                <a:gd name="T69" fmla="*/ 2147483647 h 138"/>
                <a:gd name="T70" fmla="*/ 2147483647 w 114"/>
                <a:gd name="T71" fmla="*/ 214748364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4"/>
                <a:gd name="T109" fmla="*/ 0 h 138"/>
                <a:gd name="T110" fmla="*/ 114 w 114"/>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4" h="138">
                  <a:moveTo>
                    <a:pt x="114" y="42"/>
                  </a:moveTo>
                  <a:lnTo>
                    <a:pt x="108" y="48"/>
                  </a:lnTo>
                  <a:lnTo>
                    <a:pt x="96" y="30"/>
                  </a:lnTo>
                  <a:lnTo>
                    <a:pt x="84" y="18"/>
                  </a:lnTo>
                  <a:lnTo>
                    <a:pt x="66" y="6"/>
                  </a:lnTo>
                  <a:lnTo>
                    <a:pt x="60" y="6"/>
                  </a:lnTo>
                  <a:lnTo>
                    <a:pt x="48" y="0"/>
                  </a:lnTo>
                  <a:lnTo>
                    <a:pt x="42" y="0"/>
                  </a:lnTo>
                  <a:lnTo>
                    <a:pt x="42" y="24"/>
                  </a:lnTo>
                  <a:lnTo>
                    <a:pt x="24" y="24"/>
                  </a:lnTo>
                  <a:lnTo>
                    <a:pt x="18" y="30"/>
                  </a:lnTo>
                  <a:lnTo>
                    <a:pt x="18" y="36"/>
                  </a:lnTo>
                  <a:lnTo>
                    <a:pt x="12" y="48"/>
                  </a:lnTo>
                  <a:lnTo>
                    <a:pt x="6" y="48"/>
                  </a:lnTo>
                  <a:lnTo>
                    <a:pt x="0" y="54"/>
                  </a:lnTo>
                  <a:lnTo>
                    <a:pt x="0" y="60"/>
                  </a:lnTo>
                  <a:lnTo>
                    <a:pt x="6" y="66"/>
                  </a:lnTo>
                  <a:lnTo>
                    <a:pt x="12" y="66"/>
                  </a:lnTo>
                  <a:lnTo>
                    <a:pt x="24" y="72"/>
                  </a:lnTo>
                  <a:lnTo>
                    <a:pt x="6" y="102"/>
                  </a:lnTo>
                  <a:lnTo>
                    <a:pt x="18" y="102"/>
                  </a:lnTo>
                  <a:lnTo>
                    <a:pt x="24" y="96"/>
                  </a:lnTo>
                  <a:lnTo>
                    <a:pt x="36" y="96"/>
                  </a:lnTo>
                  <a:lnTo>
                    <a:pt x="36" y="114"/>
                  </a:lnTo>
                  <a:lnTo>
                    <a:pt x="60" y="138"/>
                  </a:lnTo>
                  <a:lnTo>
                    <a:pt x="72" y="126"/>
                  </a:lnTo>
                  <a:lnTo>
                    <a:pt x="66" y="108"/>
                  </a:lnTo>
                  <a:lnTo>
                    <a:pt x="60" y="114"/>
                  </a:lnTo>
                  <a:lnTo>
                    <a:pt x="42" y="102"/>
                  </a:lnTo>
                  <a:lnTo>
                    <a:pt x="66" y="102"/>
                  </a:lnTo>
                  <a:lnTo>
                    <a:pt x="78" y="96"/>
                  </a:lnTo>
                  <a:lnTo>
                    <a:pt x="78" y="78"/>
                  </a:lnTo>
                  <a:lnTo>
                    <a:pt x="108" y="90"/>
                  </a:lnTo>
                  <a:lnTo>
                    <a:pt x="114" y="84"/>
                  </a:lnTo>
                  <a:lnTo>
                    <a:pt x="114" y="90"/>
                  </a:lnTo>
                  <a:lnTo>
                    <a:pt x="114" y="42"/>
                  </a:lnTo>
                  <a:close/>
                </a:path>
              </a:pathLst>
            </a:custGeom>
            <a:solidFill>
              <a:schemeClr val="accent1"/>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03" name="Mongolei" descr="© INSCALE GmbH, 05.05.2010&#10;http://www.presentationload.com/">
              <a:extLst>
                <a:ext uri="{FF2B5EF4-FFF2-40B4-BE49-F238E27FC236}">
                  <a16:creationId xmlns:a16="http://schemas.microsoft.com/office/drawing/2014/main" id="{7493E260-EE78-4BFA-B8FE-B2C86253E26F}"/>
                </a:ext>
              </a:extLst>
            </p:cNvPr>
            <p:cNvSpPr>
              <a:spLocks/>
            </p:cNvSpPr>
            <p:nvPr/>
          </p:nvSpPr>
          <p:spPr bwMode="gray">
            <a:xfrm>
              <a:off x="6337135" y="2588957"/>
              <a:ext cx="834188" cy="330853"/>
            </a:xfrm>
            <a:custGeom>
              <a:avLst/>
              <a:gdLst>
                <a:gd name="T0" fmla="*/ 2147483647 w 2100"/>
                <a:gd name="T1" fmla="*/ 2147483647 h 834"/>
                <a:gd name="T2" fmla="*/ 2147483647 w 2100"/>
                <a:gd name="T3" fmla="*/ 2147483647 h 834"/>
                <a:gd name="T4" fmla="*/ 2147483647 w 2100"/>
                <a:gd name="T5" fmla="*/ 2147483647 h 834"/>
                <a:gd name="T6" fmla="*/ 2147483647 w 2100"/>
                <a:gd name="T7" fmla="*/ 2147483647 h 834"/>
                <a:gd name="T8" fmla="*/ 2147483647 w 2100"/>
                <a:gd name="T9" fmla="*/ 2147483647 h 834"/>
                <a:gd name="T10" fmla="*/ 2147483647 w 2100"/>
                <a:gd name="T11" fmla="*/ 2147483647 h 834"/>
                <a:gd name="T12" fmla="*/ 2147483647 w 2100"/>
                <a:gd name="T13" fmla="*/ 2147483647 h 834"/>
                <a:gd name="T14" fmla="*/ 2147483647 w 2100"/>
                <a:gd name="T15" fmla="*/ 2147483647 h 834"/>
                <a:gd name="T16" fmla="*/ 2147483647 w 2100"/>
                <a:gd name="T17" fmla="*/ 2147483647 h 834"/>
                <a:gd name="T18" fmla="*/ 2147483647 w 2100"/>
                <a:gd name="T19" fmla="*/ 2147483647 h 834"/>
                <a:gd name="T20" fmla="*/ 2147483647 w 2100"/>
                <a:gd name="T21" fmla="*/ 2147483647 h 834"/>
                <a:gd name="T22" fmla="*/ 2147483647 w 2100"/>
                <a:gd name="T23" fmla="*/ 2147483647 h 834"/>
                <a:gd name="T24" fmla="*/ 2147483647 w 2100"/>
                <a:gd name="T25" fmla="*/ 2147483647 h 834"/>
                <a:gd name="T26" fmla="*/ 2147483647 w 2100"/>
                <a:gd name="T27" fmla="*/ 2147483647 h 834"/>
                <a:gd name="T28" fmla="*/ 2147483647 w 2100"/>
                <a:gd name="T29" fmla="*/ 2147483647 h 834"/>
                <a:gd name="T30" fmla="*/ 2147483647 w 2100"/>
                <a:gd name="T31" fmla="*/ 2147483647 h 834"/>
                <a:gd name="T32" fmla="*/ 2147483647 w 2100"/>
                <a:gd name="T33" fmla="*/ 2147483647 h 834"/>
                <a:gd name="T34" fmla="*/ 2147483647 w 2100"/>
                <a:gd name="T35" fmla="*/ 2147483647 h 834"/>
                <a:gd name="T36" fmla="*/ 2147483647 w 2100"/>
                <a:gd name="T37" fmla="*/ 2147483647 h 834"/>
                <a:gd name="T38" fmla="*/ 2147483647 w 2100"/>
                <a:gd name="T39" fmla="*/ 2147483647 h 834"/>
                <a:gd name="T40" fmla="*/ 2147483647 w 2100"/>
                <a:gd name="T41" fmla="*/ 2147483647 h 834"/>
                <a:gd name="T42" fmla="*/ 2147483647 w 2100"/>
                <a:gd name="T43" fmla="*/ 2147483647 h 834"/>
                <a:gd name="T44" fmla="*/ 2147483647 w 2100"/>
                <a:gd name="T45" fmla="*/ 2147483647 h 834"/>
                <a:gd name="T46" fmla="*/ 2147483647 w 2100"/>
                <a:gd name="T47" fmla="*/ 2147483647 h 834"/>
                <a:gd name="T48" fmla="*/ 2147483647 w 2100"/>
                <a:gd name="T49" fmla="*/ 2147483647 h 834"/>
                <a:gd name="T50" fmla="*/ 2147483647 w 2100"/>
                <a:gd name="T51" fmla="*/ 2147483647 h 834"/>
                <a:gd name="T52" fmla="*/ 2147483647 w 2100"/>
                <a:gd name="T53" fmla="*/ 2147483647 h 834"/>
                <a:gd name="T54" fmla="*/ 2147483647 w 2100"/>
                <a:gd name="T55" fmla="*/ 2147483647 h 834"/>
                <a:gd name="T56" fmla="*/ 2147483647 w 2100"/>
                <a:gd name="T57" fmla="*/ 2147483647 h 834"/>
                <a:gd name="T58" fmla="*/ 2147483647 w 2100"/>
                <a:gd name="T59" fmla="*/ 2147483647 h 834"/>
                <a:gd name="T60" fmla="*/ 2147483647 w 2100"/>
                <a:gd name="T61" fmla="*/ 2147483647 h 834"/>
                <a:gd name="T62" fmla="*/ 0 w 2100"/>
                <a:gd name="T63" fmla="*/ 2147483647 h 834"/>
                <a:gd name="T64" fmla="*/ 2147483647 w 2100"/>
                <a:gd name="T65" fmla="*/ 2147483647 h 834"/>
                <a:gd name="T66" fmla="*/ 2147483647 w 2100"/>
                <a:gd name="T67" fmla="*/ 2147483647 h 834"/>
                <a:gd name="T68" fmla="*/ 2147483647 w 2100"/>
                <a:gd name="T69" fmla="*/ 2147483647 h 834"/>
                <a:gd name="T70" fmla="*/ 2147483647 w 2100"/>
                <a:gd name="T71" fmla="*/ 2147483647 h 834"/>
                <a:gd name="T72" fmla="*/ 2147483647 w 2100"/>
                <a:gd name="T73" fmla="*/ 2147483647 h 834"/>
                <a:gd name="T74" fmla="*/ 2147483647 w 2100"/>
                <a:gd name="T75" fmla="*/ 2147483647 h 834"/>
                <a:gd name="T76" fmla="*/ 2147483647 w 2100"/>
                <a:gd name="T77" fmla="*/ 2147483647 h 834"/>
                <a:gd name="T78" fmla="*/ 2147483647 w 2100"/>
                <a:gd name="T79" fmla="*/ 2147483647 h 834"/>
                <a:gd name="T80" fmla="*/ 2147483647 w 2100"/>
                <a:gd name="T81" fmla="*/ 2147483647 h 834"/>
                <a:gd name="T82" fmla="*/ 2147483647 w 2100"/>
                <a:gd name="T83" fmla="*/ 2147483647 h 834"/>
                <a:gd name="T84" fmla="*/ 2147483647 w 2100"/>
                <a:gd name="T85" fmla="*/ 2147483647 h 834"/>
                <a:gd name="T86" fmla="*/ 2147483647 w 2100"/>
                <a:gd name="T87" fmla="*/ 2147483647 h 834"/>
                <a:gd name="T88" fmla="*/ 2147483647 w 2100"/>
                <a:gd name="T89" fmla="*/ 2147483647 h 834"/>
                <a:gd name="T90" fmla="*/ 2147483647 w 2100"/>
                <a:gd name="T91" fmla="*/ 2147483647 h 834"/>
                <a:gd name="T92" fmla="*/ 2147483647 w 2100"/>
                <a:gd name="T93" fmla="*/ 2147483647 h 834"/>
                <a:gd name="T94" fmla="*/ 2147483647 w 2100"/>
                <a:gd name="T95" fmla="*/ 2147483647 h 834"/>
                <a:gd name="T96" fmla="*/ 2147483647 w 2100"/>
                <a:gd name="T97" fmla="*/ 2147483647 h 834"/>
                <a:gd name="T98" fmla="*/ 2147483647 w 2100"/>
                <a:gd name="T99" fmla="*/ 2147483647 h 834"/>
                <a:gd name="T100" fmla="*/ 2147483647 w 2100"/>
                <a:gd name="T101" fmla="*/ 2147483647 h 834"/>
                <a:gd name="T102" fmla="*/ 2147483647 w 2100"/>
                <a:gd name="T103" fmla="*/ 2147483647 h 834"/>
                <a:gd name="T104" fmla="*/ 2147483647 w 2100"/>
                <a:gd name="T105" fmla="*/ 2147483647 h 834"/>
                <a:gd name="T106" fmla="*/ 2147483647 w 2100"/>
                <a:gd name="T107" fmla="*/ 2147483647 h 834"/>
                <a:gd name="T108" fmla="*/ 2147483647 w 2100"/>
                <a:gd name="T109" fmla="*/ 2147483647 h 834"/>
                <a:gd name="T110" fmla="*/ 2147483647 w 2100"/>
                <a:gd name="T111" fmla="*/ 2147483647 h 834"/>
                <a:gd name="T112" fmla="*/ 2147483647 w 2100"/>
                <a:gd name="T113" fmla="*/ 2147483647 h 834"/>
                <a:gd name="T114" fmla="*/ 2147483647 w 2100"/>
                <a:gd name="T115" fmla="*/ 2147483647 h 834"/>
                <a:gd name="T116" fmla="*/ 2147483647 w 2100"/>
                <a:gd name="T117" fmla="*/ 2147483647 h 834"/>
                <a:gd name="T118" fmla="*/ 2147483647 w 2100"/>
                <a:gd name="T119" fmla="*/ 2147483647 h 834"/>
                <a:gd name="T120" fmla="*/ 2147483647 w 2100"/>
                <a:gd name="T121" fmla="*/ 2147483647 h 834"/>
                <a:gd name="T122" fmla="*/ 2147483647 w 2100"/>
                <a:gd name="T123" fmla="*/ 2147483647 h 8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00"/>
                <a:gd name="T187" fmla="*/ 0 h 834"/>
                <a:gd name="T188" fmla="*/ 2100 w 2100"/>
                <a:gd name="T189" fmla="*/ 834 h 83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00" h="834">
                  <a:moveTo>
                    <a:pt x="2088" y="408"/>
                  </a:moveTo>
                  <a:lnTo>
                    <a:pt x="2076" y="396"/>
                  </a:lnTo>
                  <a:lnTo>
                    <a:pt x="2070" y="384"/>
                  </a:lnTo>
                  <a:lnTo>
                    <a:pt x="2058" y="384"/>
                  </a:lnTo>
                  <a:lnTo>
                    <a:pt x="2034" y="372"/>
                  </a:lnTo>
                  <a:lnTo>
                    <a:pt x="2022" y="360"/>
                  </a:lnTo>
                  <a:lnTo>
                    <a:pt x="2010" y="354"/>
                  </a:lnTo>
                  <a:lnTo>
                    <a:pt x="2004" y="348"/>
                  </a:lnTo>
                  <a:lnTo>
                    <a:pt x="1986" y="348"/>
                  </a:lnTo>
                  <a:lnTo>
                    <a:pt x="1974" y="342"/>
                  </a:lnTo>
                  <a:lnTo>
                    <a:pt x="1968" y="336"/>
                  </a:lnTo>
                  <a:lnTo>
                    <a:pt x="1968" y="324"/>
                  </a:lnTo>
                  <a:lnTo>
                    <a:pt x="1902" y="324"/>
                  </a:lnTo>
                  <a:lnTo>
                    <a:pt x="1902" y="348"/>
                  </a:lnTo>
                  <a:lnTo>
                    <a:pt x="1896" y="354"/>
                  </a:lnTo>
                  <a:lnTo>
                    <a:pt x="1890" y="354"/>
                  </a:lnTo>
                  <a:lnTo>
                    <a:pt x="1878" y="348"/>
                  </a:lnTo>
                  <a:lnTo>
                    <a:pt x="1866" y="336"/>
                  </a:lnTo>
                  <a:lnTo>
                    <a:pt x="1812" y="336"/>
                  </a:lnTo>
                  <a:lnTo>
                    <a:pt x="1806" y="342"/>
                  </a:lnTo>
                  <a:lnTo>
                    <a:pt x="1812" y="342"/>
                  </a:lnTo>
                  <a:lnTo>
                    <a:pt x="1812" y="348"/>
                  </a:lnTo>
                  <a:lnTo>
                    <a:pt x="1794" y="348"/>
                  </a:lnTo>
                  <a:lnTo>
                    <a:pt x="1788" y="342"/>
                  </a:lnTo>
                  <a:lnTo>
                    <a:pt x="1776" y="336"/>
                  </a:lnTo>
                  <a:lnTo>
                    <a:pt x="1770" y="324"/>
                  </a:lnTo>
                  <a:lnTo>
                    <a:pt x="1770" y="306"/>
                  </a:lnTo>
                  <a:lnTo>
                    <a:pt x="1776" y="306"/>
                  </a:lnTo>
                  <a:lnTo>
                    <a:pt x="1770" y="294"/>
                  </a:lnTo>
                  <a:lnTo>
                    <a:pt x="1764" y="270"/>
                  </a:lnTo>
                  <a:lnTo>
                    <a:pt x="1758" y="258"/>
                  </a:lnTo>
                  <a:lnTo>
                    <a:pt x="1758" y="174"/>
                  </a:lnTo>
                  <a:lnTo>
                    <a:pt x="1740" y="174"/>
                  </a:lnTo>
                  <a:lnTo>
                    <a:pt x="1716" y="168"/>
                  </a:lnTo>
                  <a:lnTo>
                    <a:pt x="1710" y="174"/>
                  </a:lnTo>
                  <a:lnTo>
                    <a:pt x="1698" y="180"/>
                  </a:lnTo>
                  <a:lnTo>
                    <a:pt x="1674" y="180"/>
                  </a:lnTo>
                  <a:lnTo>
                    <a:pt x="1662" y="174"/>
                  </a:lnTo>
                  <a:lnTo>
                    <a:pt x="1644" y="156"/>
                  </a:lnTo>
                  <a:lnTo>
                    <a:pt x="1608" y="156"/>
                  </a:lnTo>
                  <a:lnTo>
                    <a:pt x="1596" y="150"/>
                  </a:lnTo>
                  <a:lnTo>
                    <a:pt x="1578" y="150"/>
                  </a:lnTo>
                  <a:lnTo>
                    <a:pt x="1548" y="180"/>
                  </a:lnTo>
                  <a:lnTo>
                    <a:pt x="1548" y="192"/>
                  </a:lnTo>
                  <a:lnTo>
                    <a:pt x="1536" y="204"/>
                  </a:lnTo>
                  <a:lnTo>
                    <a:pt x="1500" y="204"/>
                  </a:lnTo>
                  <a:lnTo>
                    <a:pt x="1488" y="216"/>
                  </a:lnTo>
                  <a:lnTo>
                    <a:pt x="1440" y="216"/>
                  </a:lnTo>
                  <a:lnTo>
                    <a:pt x="1440" y="222"/>
                  </a:lnTo>
                  <a:lnTo>
                    <a:pt x="1422" y="240"/>
                  </a:lnTo>
                  <a:lnTo>
                    <a:pt x="1416" y="240"/>
                  </a:lnTo>
                  <a:lnTo>
                    <a:pt x="1416" y="234"/>
                  </a:lnTo>
                  <a:lnTo>
                    <a:pt x="1410" y="228"/>
                  </a:lnTo>
                  <a:lnTo>
                    <a:pt x="1392" y="228"/>
                  </a:lnTo>
                  <a:lnTo>
                    <a:pt x="1380" y="234"/>
                  </a:lnTo>
                  <a:lnTo>
                    <a:pt x="1356" y="234"/>
                  </a:lnTo>
                  <a:lnTo>
                    <a:pt x="1344" y="228"/>
                  </a:lnTo>
                  <a:lnTo>
                    <a:pt x="1338" y="228"/>
                  </a:lnTo>
                  <a:lnTo>
                    <a:pt x="1332" y="222"/>
                  </a:lnTo>
                  <a:lnTo>
                    <a:pt x="1266" y="222"/>
                  </a:lnTo>
                  <a:lnTo>
                    <a:pt x="1260" y="216"/>
                  </a:lnTo>
                  <a:lnTo>
                    <a:pt x="1260" y="204"/>
                  </a:lnTo>
                  <a:lnTo>
                    <a:pt x="1248" y="198"/>
                  </a:lnTo>
                  <a:lnTo>
                    <a:pt x="1230" y="198"/>
                  </a:lnTo>
                  <a:lnTo>
                    <a:pt x="1230" y="192"/>
                  </a:lnTo>
                  <a:lnTo>
                    <a:pt x="1218" y="180"/>
                  </a:lnTo>
                  <a:lnTo>
                    <a:pt x="1218" y="174"/>
                  </a:lnTo>
                  <a:lnTo>
                    <a:pt x="1212" y="168"/>
                  </a:lnTo>
                  <a:lnTo>
                    <a:pt x="1152" y="168"/>
                  </a:lnTo>
                  <a:lnTo>
                    <a:pt x="1128" y="144"/>
                  </a:lnTo>
                  <a:lnTo>
                    <a:pt x="1092" y="144"/>
                  </a:lnTo>
                  <a:lnTo>
                    <a:pt x="1086" y="138"/>
                  </a:lnTo>
                  <a:lnTo>
                    <a:pt x="1080" y="138"/>
                  </a:lnTo>
                  <a:lnTo>
                    <a:pt x="1068" y="132"/>
                  </a:lnTo>
                  <a:lnTo>
                    <a:pt x="1020" y="132"/>
                  </a:lnTo>
                  <a:lnTo>
                    <a:pt x="966" y="150"/>
                  </a:lnTo>
                  <a:lnTo>
                    <a:pt x="954" y="156"/>
                  </a:lnTo>
                  <a:lnTo>
                    <a:pt x="942" y="156"/>
                  </a:lnTo>
                  <a:lnTo>
                    <a:pt x="930" y="150"/>
                  </a:lnTo>
                  <a:lnTo>
                    <a:pt x="918" y="150"/>
                  </a:lnTo>
                  <a:lnTo>
                    <a:pt x="912" y="144"/>
                  </a:lnTo>
                  <a:lnTo>
                    <a:pt x="882" y="144"/>
                  </a:lnTo>
                  <a:lnTo>
                    <a:pt x="864" y="126"/>
                  </a:lnTo>
                  <a:lnTo>
                    <a:pt x="864" y="120"/>
                  </a:lnTo>
                  <a:lnTo>
                    <a:pt x="840" y="126"/>
                  </a:lnTo>
                  <a:lnTo>
                    <a:pt x="840" y="120"/>
                  </a:lnTo>
                  <a:lnTo>
                    <a:pt x="834" y="114"/>
                  </a:lnTo>
                  <a:lnTo>
                    <a:pt x="822" y="90"/>
                  </a:lnTo>
                  <a:lnTo>
                    <a:pt x="810" y="78"/>
                  </a:lnTo>
                  <a:lnTo>
                    <a:pt x="804" y="66"/>
                  </a:lnTo>
                  <a:lnTo>
                    <a:pt x="798" y="60"/>
                  </a:lnTo>
                  <a:lnTo>
                    <a:pt x="786" y="54"/>
                  </a:lnTo>
                  <a:lnTo>
                    <a:pt x="768" y="54"/>
                  </a:lnTo>
                  <a:lnTo>
                    <a:pt x="756" y="60"/>
                  </a:lnTo>
                  <a:lnTo>
                    <a:pt x="750" y="60"/>
                  </a:lnTo>
                  <a:lnTo>
                    <a:pt x="726" y="48"/>
                  </a:lnTo>
                  <a:lnTo>
                    <a:pt x="720" y="42"/>
                  </a:lnTo>
                  <a:lnTo>
                    <a:pt x="708" y="36"/>
                  </a:lnTo>
                  <a:lnTo>
                    <a:pt x="672" y="36"/>
                  </a:lnTo>
                  <a:lnTo>
                    <a:pt x="648" y="30"/>
                  </a:lnTo>
                  <a:lnTo>
                    <a:pt x="636" y="30"/>
                  </a:lnTo>
                  <a:lnTo>
                    <a:pt x="576" y="0"/>
                  </a:lnTo>
                  <a:lnTo>
                    <a:pt x="576" y="18"/>
                  </a:lnTo>
                  <a:lnTo>
                    <a:pt x="570" y="30"/>
                  </a:lnTo>
                  <a:lnTo>
                    <a:pt x="558" y="36"/>
                  </a:lnTo>
                  <a:lnTo>
                    <a:pt x="552" y="36"/>
                  </a:lnTo>
                  <a:lnTo>
                    <a:pt x="558" y="48"/>
                  </a:lnTo>
                  <a:lnTo>
                    <a:pt x="540" y="48"/>
                  </a:lnTo>
                  <a:lnTo>
                    <a:pt x="540" y="60"/>
                  </a:lnTo>
                  <a:lnTo>
                    <a:pt x="552" y="72"/>
                  </a:lnTo>
                  <a:lnTo>
                    <a:pt x="558" y="90"/>
                  </a:lnTo>
                  <a:lnTo>
                    <a:pt x="582" y="126"/>
                  </a:lnTo>
                  <a:lnTo>
                    <a:pt x="588" y="126"/>
                  </a:lnTo>
                  <a:lnTo>
                    <a:pt x="594" y="132"/>
                  </a:lnTo>
                  <a:lnTo>
                    <a:pt x="600" y="144"/>
                  </a:lnTo>
                  <a:lnTo>
                    <a:pt x="600" y="168"/>
                  </a:lnTo>
                  <a:lnTo>
                    <a:pt x="582" y="168"/>
                  </a:lnTo>
                  <a:lnTo>
                    <a:pt x="582" y="174"/>
                  </a:lnTo>
                  <a:lnTo>
                    <a:pt x="576" y="180"/>
                  </a:lnTo>
                  <a:lnTo>
                    <a:pt x="552" y="192"/>
                  </a:lnTo>
                  <a:lnTo>
                    <a:pt x="546" y="186"/>
                  </a:lnTo>
                  <a:lnTo>
                    <a:pt x="546" y="174"/>
                  </a:lnTo>
                  <a:lnTo>
                    <a:pt x="498" y="180"/>
                  </a:lnTo>
                  <a:lnTo>
                    <a:pt x="498" y="168"/>
                  </a:lnTo>
                  <a:lnTo>
                    <a:pt x="456" y="168"/>
                  </a:lnTo>
                  <a:lnTo>
                    <a:pt x="450" y="174"/>
                  </a:lnTo>
                  <a:lnTo>
                    <a:pt x="450" y="180"/>
                  </a:lnTo>
                  <a:lnTo>
                    <a:pt x="444" y="168"/>
                  </a:lnTo>
                  <a:lnTo>
                    <a:pt x="420" y="174"/>
                  </a:lnTo>
                  <a:lnTo>
                    <a:pt x="414" y="162"/>
                  </a:lnTo>
                  <a:lnTo>
                    <a:pt x="384" y="162"/>
                  </a:lnTo>
                  <a:lnTo>
                    <a:pt x="366" y="156"/>
                  </a:lnTo>
                  <a:lnTo>
                    <a:pt x="360" y="150"/>
                  </a:lnTo>
                  <a:lnTo>
                    <a:pt x="360" y="138"/>
                  </a:lnTo>
                  <a:lnTo>
                    <a:pt x="354" y="132"/>
                  </a:lnTo>
                  <a:lnTo>
                    <a:pt x="354" y="126"/>
                  </a:lnTo>
                  <a:lnTo>
                    <a:pt x="312" y="126"/>
                  </a:lnTo>
                  <a:lnTo>
                    <a:pt x="294" y="132"/>
                  </a:lnTo>
                  <a:lnTo>
                    <a:pt x="270" y="132"/>
                  </a:lnTo>
                  <a:lnTo>
                    <a:pt x="264" y="114"/>
                  </a:lnTo>
                  <a:lnTo>
                    <a:pt x="228" y="114"/>
                  </a:lnTo>
                  <a:lnTo>
                    <a:pt x="228" y="108"/>
                  </a:lnTo>
                  <a:lnTo>
                    <a:pt x="210" y="114"/>
                  </a:lnTo>
                  <a:lnTo>
                    <a:pt x="204" y="108"/>
                  </a:lnTo>
                  <a:lnTo>
                    <a:pt x="186" y="108"/>
                  </a:lnTo>
                  <a:lnTo>
                    <a:pt x="180" y="114"/>
                  </a:lnTo>
                  <a:lnTo>
                    <a:pt x="180" y="120"/>
                  </a:lnTo>
                  <a:lnTo>
                    <a:pt x="174" y="126"/>
                  </a:lnTo>
                  <a:lnTo>
                    <a:pt x="174" y="132"/>
                  </a:lnTo>
                  <a:lnTo>
                    <a:pt x="150" y="132"/>
                  </a:lnTo>
                  <a:lnTo>
                    <a:pt x="138" y="150"/>
                  </a:lnTo>
                  <a:lnTo>
                    <a:pt x="120" y="150"/>
                  </a:lnTo>
                  <a:lnTo>
                    <a:pt x="84" y="186"/>
                  </a:lnTo>
                  <a:lnTo>
                    <a:pt x="84" y="192"/>
                  </a:lnTo>
                  <a:lnTo>
                    <a:pt x="90" y="198"/>
                  </a:lnTo>
                  <a:lnTo>
                    <a:pt x="66" y="198"/>
                  </a:lnTo>
                  <a:lnTo>
                    <a:pt x="72" y="210"/>
                  </a:lnTo>
                  <a:lnTo>
                    <a:pt x="12" y="210"/>
                  </a:lnTo>
                  <a:lnTo>
                    <a:pt x="12" y="228"/>
                  </a:lnTo>
                  <a:lnTo>
                    <a:pt x="0" y="240"/>
                  </a:lnTo>
                  <a:lnTo>
                    <a:pt x="6" y="246"/>
                  </a:lnTo>
                  <a:lnTo>
                    <a:pt x="6" y="258"/>
                  </a:lnTo>
                  <a:lnTo>
                    <a:pt x="0" y="264"/>
                  </a:lnTo>
                  <a:lnTo>
                    <a:pt x="24" y="264"/>
                  </a:lnTo>
                  <a:lnTo>
                    <a:pt x="24" y="282"/>
                  </a:lnTo>
                  <a:lnTo>
                    <a:pt x="36" y="288"/>
                  </a:lnTo>
                  <a:lnTo>
                    <a:pt x="48" y="288"/>
                  </a:lnTo>
                  <a:lnTo>
                    <a:pt x="60" y="294"/>
                  </a:lnTo>
                  <a:lnTo>
                    <a:pt x="72" y="294"/>
                  </a:lnTo>
                  <a:lnTo>
                    <a:pt x="78" y="306"/>
                  </a:lnTo>
                  <a:lnTo>
                    <a:pt x="102" y="330"/>
                  </a:lnTo>
                  <a:lnTo>
                    <a:pt x="138" y="318"/>
                  </a:lnTo>
                  <a:lnTo>
                    <a:pt x="156" y="330"/>
                  </a:lnTo>
                  <a:lnTo>
                    <a:pt x="162" y="336"/>
                  </a:lnTo>
                  <a:lnTo>
                    <a:pt x="174" y="336"/>
                  </a:lnTo>
                  <a:lnTo>
                    <a:pt x="186" y="342"/>
                  </a:lnTo>
                  <a:lnTo>
                    <a:pt x="204" y="348"/>
                  </a:lnTo>
                  <a:lnTo>
                    <a:pt x="222" y="366"/>
                  </a:lnTo>
                  <a:lnTo>
                    <a:pt x="228" y="378"/>
                  </a:lnTo>
                  <a:lnTo>
                    <a:pt x="240" y="396"/>
                  </a:lnTo>
                  <a:lnTo>
                    <a:pt x="264" y="414"/>
                  </a:lnTo>
                  <a:lnTo>
                    <a:pt x="276" y="426"/>
                  </a:lnTo>
                  <a:lnTo>
                    <a:pt x="282" y="438"/>
                  </a:lnTo>
                  <a:lnTo>
                    <a:pt x="282" y="450"/>
                  </a:lnTo>
                  <a:lnTo>
                    <a:pt x="288" y="456"/>
                  </a:lnTo>
                  <a:lnTo>
                    <a:pt x="294" y="468"/>
                  </a:lnTo>
                  <a:lnTo>
                    <a:pt x="300" y="474"/>
                  </a:lnTo>
                  <a:lnTo>
                    <a:pt x="300" y="480"/>
                  </a:lnTo>
                  <a:lnTo>
                    <a:pt x="288" y="492"/>
                  </a:lnTo>
                  <a:lnTo>
                    <a:pt x="288" y="504"/>
                  </a:lnTo>
                  <a:lnTo>
                    <a:pt x="294" y="522"/>
                  </a:lnTo>
                  <a:lnTo>
                    <a:pt x="300" y="534"/>
                  </a:lnTo>
                  <a:lnTo>
                    <a:pt x="306" y="540"/>
                  </a:lnTo>
                  <a:lnTo>
                    <a:pt x="318" y="546"/>
                  </a:lnTo>
                  <a:lnTo>
                    <a:pt x="330" y="546"/>
                  </a:lnTo>
                  <a:lnTo>
                    <a:pt x="342" y="552"/>
                  </a:lnTo>
                  <a:lnTo>
                    <a:pt x="348" y="552"/>
                  </a:lnTo>
                  <a:lnTo>
                    <a:pt x="366" y="558"/>
                  </a:lnTo>
                  <a:lnTo>
                    <a:pt x="390" y="564"/>
                  </a:lnTo>
                  <a:lnTo>
                    <a:pt x="486" y="564"/>
                  </a:lnTo>
                  <a:lnTo>
                    <a:pt x="492" y="570"/>
                  </a:lnTo>
                  <a:lnTo>
                    <a:pt x="498" y="570"/>
                  </a:lnTo>
                  <a:lnTo>
                    <a:pt x="510" y="576"/>
                  </a:lnTo>
                  <a:lnTo>
                    <a:pt x="516" y="576"/>
                  </a:lnTo>
                  <a:lnTo>
                    <a:pt x="528" y="582"/>
                  </a:lnTo>
                  <a:lnTo>
                    <a:pt x="534" y="594"/>
                  </a:lnTo>
                  <a:lnTo>
                    <a:pt x="540" y="594"/>
                  </a:lnTo>
                  <a:lnTo>
                    <a:pt x="546" y="600"/>
                  </a:lnTo>
                  <a:lnTo>
                    <a:pt x="552" y="600"/>
                  </a:lnTo>
                  <a:lnTo>
                    <a:pt x="576" y="612"/>
                  </a:lnTo>
                  <a:lnTo>
                    <a:pt x="588" y="612"/>
                  </a:lnTo>
                  <a:lnTo>
                    <a:pt x="594" y="618"/>
                  </a:lnTo>
                  <a:lnTo>
                    <a:pt x="630" y="618"/>
                  </a:lnTo>
                  <a:lnTo>
                    <a:pt x="642" y="642"/>
                  </a:lnTo>
                  <a:lnTo>
                    <a:pt x="684" y="684"/>
                  </a:lnTo>
                  <a:lnTo>
                    <a:pt x="690" y="696"/>
                  </a:lnTo>
                  <a:lnTo>
                    <a:pt x="720" y="726"/>
                  </a:lnTo>
                  <a:lnTo>
                    <a:pt x="732" y="732"/>
                  </a:lnTo>
                  <a:lnTo>
                    <a:pt x="738" y="744"/>
                  </a:lnTo>
                  <a:lnTo>
                    <a:pt x="750" y="750"/>
                  </a:lnTo>
                  <a:lnTo>
                    <a:pt x="810" y="744"/>
                  </a:lnTo>
                  <a:lnTo>
                    <a:pt x="864" y="750"/>
                  </a:lnTo>
                  <a:lnTo>
                    <a:pt x="912" y="750"/>
                  </a:lnTo>
                  <a:lnTo>
                    <a:pt x="948" y="756"/>
                  </a:lnTo>
                  <a:lnTo>
                    <a:pt x="954" y="750"/>
                  </a:lnTo>
                  <a:lnTo>
                    <a:pt x="966" y="744"/>
                  </a:lnTo>
                  <a:lnTo>
                    <a:pt x="972" y="738"/>
                  </a:lnTo>
                  <a:lnTo>
                    <a:pt x="984" y="738"/>
                  </a:lnTo>
                  <a:lnTo>
                    <a:pt x="996" y="744"/>
                  </a:lnTo>
                  <a:lnTo>
                    <a:pt x="1002" y="744"/>
                  </a:lnTo>
                  <a:lnTo>
                    <a:pt x="1008" y="750"/>
                  </a:lnTo>
                  <a:lnTo>
                    <a:pt x="1062" y="750"/>
                  </a:lnTo>
                  <a:lnTo>
                    <a:pt x="1080" y="756"/>
                  </a:lnTo>
                  <a:lnTo>
                    <a:pt x="1092" y="756"/>
                  </a:lnTo>
                  <a:lnTo>
                    <a:pt x="1110" y="774"/>
                  </a:lnTo>
                  <a:lnTo>
                    <a:pt x="1116" y="786"/>
                  </a:lnTo>
                  <a:lnTo>
                    <a:pt x="1128" y="792"/>
                  </a:lnTo>
                  <a:lnTo>
                    <a:pt x="1152" y="798"/>
                  </a:lnTo>
                  <a:lnTo>
                    <a:pt x="1200" y="798"/>
                  </a:lnTo>
                  <a:lnTo>
                    <a:pt x="1218" y="804"/>
                  </a:lnTo>
                  <a:lnTo>
                    <a:pt x="1242" y="816"/>
                  </a:lnTo>
                  <a:lnTo>
                    <a:pt x="1248" y="822"/>
                  </a:lnTo>
                  <a:lnTo>
                    <a:pt x="1260" y="822"/>
                  </a:lnTo>
                  <a:lnTo>
                    <a:pt x="1266" y="816"/>
                  </a:lnTo>
                  <a:lnTo>
                    <a:pt x="1278" y="816"/>
                  </a:lnTo>
                  <a:lnTo>
                    <a:pt x="1290" y="810"/>
                  </a:lnTo>
                  <a:lnTo>
                    <a:pt x="1302" y="810"/>
                  </a:lnTo>
                  <a:lnTo>
                    <a:pt x="1302" y="816"/>
                  </a:lnTo>
                  <a:lnTo>
                    <a:pt x="1308" y="828"/>
                  </a:lnTo>
                  <a:lnTo>
                    <a:pt x="1314" y="828"/>
                  </a:lnTo>
                  <a:lnTo>
                    <a:pt x="1320" y="834"/>
                  </a:lnTo>
                  <a:lnTo>
                    <a:pt x="1338" y="834"/>
                  </a:lnTo>
                  <a:lnTo>
                    <a:pt x="1344" y="828"/>
                  </a:lnTo>
                  <a:lnTo>
                    <a:pt x="1362" y="816"/>
                  </a:lnTo>
                  <a:lnTo>
                    <a:pt x="1422" y="780"/>
                  </a:lnTo>
                  <a:lnTo>
                    <a:pt x="1440" y="768"/>
                  </a:lnTo>
                  <a:lnTo>
                    <a:pt x="1596" y="768"/>
                  </a:lnTo>
                  <a:lnTo>
                    <a:pt x="1614" y="744"/>
                  </a:lnTo>
                  <a:lnTo>
                    <a:pt x="1638" y="744"/>
                  </a:lnTo>
                  <a:lnTo>
                    <a:pt x="1650" y="738"/>
                  </a:lnTo>
                  <a:lnTo>
                    <a:pt x="1662" y="714"/>
                  </a:lnTo>
                  <a:lnTo>
                    <a:pt x="1662" y="708"/>
                  </a:lnTo>
                  <a:lnTo>
                    <a:pt x="1668" y="696"/>
                  </a:lnTo>
                  <a:lnTo>
                    <a:pt x="1668" y="690"/>
                  </a:lnTo>
                  <a:lnTo>
                    <a:pt x="1692" y="690"/>
                  </a:lnTo>
                  <a:lnTo>
                    <a:pt x="1704" y="678"/>
                  </a:lnTo>
                  <a:lnTo>
                    <a:pt x="1710" y="666"/>
                  </a:lnTo>
                  <a:lnTo>
                    <a:pt x="1716" y="660"/>
                  </a:lnTo>
                  <a:lnTo>
                    <a:pt x="1716" y="654"/>
                  </a:lnTo>
                  <a:lnTo>
                    <a:pt x="1704" y="648"/>
                  </a:lnTo>
                  <a:lnTo>
                    <a:pt x="1686" y="630"/>
                  </a:lnTo>
                  <a:lnTo>
                    <a:pt x="1674" y="624"/>
                  </a:lnTo>
                  <a:lnTo>
                    <a:pt x="1656" y="606"/>
                  </a:lnTo>
                  <a:lnTo>
                    <a:pt x="1650" y="594"/>
                  </a:lnTo>
                  <a:lnTo>
                    <a:pt x="1650" y="582"/>
                  </a:lnTo>
                  <a:lnTo>
                    <a:pt x="1656" y="570"/>
                  </a:lnTo>
                  <a:lnTo>
                    <a:pt x="1656" y="558"/>
                  </a:lnTo>
                  <a:lnTo>
                    <a:pt x="1668" y="552"/>
                  </a:lnTo>
                  <a:lnTo>
                    <a:pt x="1692" y="552"/>
                  </a:lnTo>
                  <a:lnTo>
                    <a:pt x="1698" y="558"/>
                  </a:lnTo>
                  <a:lnTo>
                    <a:pt x="1704" y="558"/>
                  </a:lnTo>
                  <a:lnTo>
                    <a:pt x="1710" y="564"/>
                  </a:lnTo>
                  <a:lnTo>
                    <a:pt x="1722" y="570"/>
                  </a:lnTo>
                  <a:lnTo>
                    <a:pt x="1728" y="576"/>
                  </a:lnTo>
                  <a:lnTo>
                    <a:pt x="1740" y="582"/>
                  </a:lnTo>
                  <a:lnTo>
                    <a:pt x="1764" y="582"/>
                  </a:lnTo>
                  <a:lnTo>
                    <a:pt x="1776" y="576"/>
                  </a:lnTo>
                  <a:lnTo>
                    <a:pt x="1794" y="576"/>
                  </a:lnTo>
                  <a:lnTo>
                    <a:pt x="1806" y="570"/>
                  </a:lnTo>
                  <a:lnTo>
                    <a:pt x="1812" y="558"/>
                  </a:lnTo>
                  <a:lnTo>
                    <a:pt x="1818" y="552"/>
                  </a:lnTo>
                  <a:lnTo>
                    <a:pt x="1818" y="528"/>
                  </a:lnTo>
                  <a:lnTo>
                    <a:pt x="1890" y="528"/>
                  </a:lnTo>
                  <a:lnTo>
                    <a:pt x="1914" y="504"/>
                  </a:lnTo>
                  <a:lnTo>
                    <a:pt x="1902" y="492"/>
                  </a:lnTo>
                  <a:lnTo>
                    <a:pt x="1896" y="480"/>
                  </a:lnTo>
                  <a:lnTo>
                    <a:pt x="1902" y="474"/>
                  </a:lnTo>
                  <a:lnTo>
                    <a:pt x="1938" y="456"/>
                  </a:lnTo>
                  <a:lnTo>
                    <a:pt x="1950" y="456"/>
                  </a:lnTo>
                  <a:lnTo>
                    <a:pt x="1950" y="438"/>
                  </a:lnTo>
                  <a:lnTo>
                    <a:pt x="1980" y="444"/>
                  </a:lnTo>
                  <a:lnTo>
                    <a:pt x="1998" y="426"/>
                  </a:lnTo>
                  <a:lnTo>
                    <a:pt x="2004" y="426"/>
                  </a:lnTo>
                  <a:lnTo>
                    <a:pt x="2010" y="420"/>
                  </a:lnTo>
                  <a:lnTo>
                    <a:pt x="2040" y="420"/>
                  </a:lnTo>
                  <a:lnTo>
                    <a:pt x="2052" y="426"/>
                  </a:lnTo>
                  <a:lnTo>
                    <a:pt x="2058" y="432"/>
                  </a:lnTo>
                  <a:lnTo>
                    <a:pt x="2094" y="432"/>
                  </a:lnTo>
                  <a:lnTo>
                    <a:pt x="2100" y="426"/>
                  </a:lnTo>
                  <a:lnTo>
                    <a:pt x="2100" y="420"/>
                  </a:lnTo>
                  <a:lnTo>
                    <a:pt x="2088" y="408"/>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04" name="Moldovien" descr="© INSCALE GmbH, 05.05.2010&#10;http://www.presentationload.com/">
              <a:extLst>
                <a:ext uri="{FF2B5EF4-FFF2-40B4-BE49-F238E27FC236}">
                  <a16:creationId xmlns:a16="http://schemas.microsoft.com/office/drawing/2014/main" id="{52DC9C14-F0CB-4EA7-B361-CABDB399F12E}"/>
                </a:ext>
              </a:extLst>
            </p:cNvPr>
            <p:cNvSpPr>
              <a:spLocks/>
            </p:cNvSpPr>
            <p:nvPr/>
          </p:nvSpPr>
          <p:spPr bwMode="gray">
            <a:xfrm>
              <a:off x="4827129" y="2704991"/>
              <a:ext cx="86241" cy="94081"/>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05" name="Mazedonien" descr="© INSCALE GmbH, 05.05.2010&#10;http://www.presentationload.com/">
              <a:extLst>
                <a:ext uri="{FF2B5EF4-FFF2-40B4-BE49-F238E27FC236}">
                  <a16:creationId xmlns:a16="http://schemas.microsoft.com/office/drawing/2014/main" id="{80F668CE-20CA-4693-929A-74DA012DEE6D}"/>
                </a:ext>
              </a:extLst>
            </p:cNvPr>
            <p:cNvSpPr>
              <a:spLocks/>
            </p:cNvSpPr>
            <p:nvPr/>
          </p:nvSpPr>
          <p:spPr bwMode="gray">
            <a:xfrm>
              <a:off x="4682871" y="2894721"/>
              <a:ext cx="65857" cy="50177"/>
            </a:xfrm>
            <a:custGeom>
              <a:avLst/>
              <a:gdLst>
                <a:gd name="T0" fmla="*/ 2147483647 w 162"/>
                <a:gd name="T1" fmla="*/ 2147483647 h 126"/>
                <a:gd name="T2" fmla="*/ 2147483647 w 162"/>
                <a:gd name="T3" fmla="*/ 2147483647 h 126"/>
                <a:gd name="T4" fmla="*/ 2147483647 w 162"/>
                <a:gd name="T5" fmla="*/ 2147483647 h 126"/>
                <a:gd name="T6" fmla="*/ 2147483647 w 162"/>
                <a:gd name="T7" fmla="*/ 2147483647 h 126"/>
                <a:gd name="T8" fmla="*/ 2147483647 w 162"/>
                <a:gd name="T9" fmla="*/ 0 h 126"/>
                <a:gd name="T10" fmla="*/ 2147483647 w 162"/>
                <a:gd name="T11" fmla="*/ 2147483647 h 126"/>
                <a:gd name="T12" fmla="*/ 2147483647 w 162"/>
                <a:gd name="T13" fmla="*/ 2147483647 h 126"/>
                <a:gd name="T14" fmla="*/ 2147483647 w 162"/>
                <a:gd name="T15" fmla="*/ 2147483647 h 126"/>
                <a:gd name="T16" fmla="*/ 2147483647 w 162"/>
                <a:gd name="T17" fmla="*/ 2147483647 h 126"/>
                <a:gd name="T18" fmla="*/ 2147483647 w 162"/>
                <a:gd name="T19" fmla="*/ 2147483647 h 126"/>
                <a:gd name="T20" fmla="*/ 2147483647 w 162"/>
                <a:gd name="T21" fmla="*/ 2147483647 h 126"/>
                <a:gd name="T22" fmla="*/ 0 w 162"/>
                <a:gd name="T23" fmla="*/ 2147483647 h 126"/>
                <a:gd name="T24" fmla="*/ 0 w 162"/>
                <a:gd name="T25" fmla="*/ 2147483647 h 126"/>
                <a:gd name="T26" fmla="*/ 2147483647 w 162"/>
                <a:gd name="T27" fmla="*/ 2147483647 h 126"/>
                <a:gd name="T28" fmla="*/ 2147483647 w 162"/>
                <a:gd name="T29" fmla="*/ 2147483647 h 126"/>
                <a:gd name="T30" fmla="*/ 2147483647 w 162"/>
                <a:gd name="T31" fmla="*/ 2147483647 h 126"/>
                <a:gd name="T32" fmla="*/ 2147483647 w 162"/>
                <a:gd name="T33" fmla="*/ 2147483647 h 126"/>
                <a:gd name="T34" fmla="*/ 2147483647 w 162"/>
                <a:gd name="T35" fmla="*/ 2147483647 h 126"/>
                <a:gd name="T36" fmla="*/ 2147483647 w 162"/>
                <a:gd name="T37" fmla="*/ 2147483647 h 126"/>
                <a:gd name="T38" fmla="*/ 2147483647 w 162"/>
                <a:gd name="T39" fmla="*/ 2147483647 h 126"/>
                <a:gd name="T40" fmla="*/ 2147483647 w 162"/>
                <a:gd name="T41" fmla="*/ 2147483647 h 126"/>
                <a:gd name="T42" fmla="*/ 2147483647 w 162"/>
                <a:gd name="T43" fmla="*/ 2147483647 h 126"/>
                <a:gd name="T44" fmla="*/ 2147483647 w 162"/>
                <a:gd name="T45" fmla="*/ 2147483647 h 126"/>
                <a:gd name="T46" fmla="*/ 2147483647 w 162"/>
                <a:gd name="T47" fmla="*/ 2147483647 h 126"/>
                <a:gd name="T48" fmla="*/ 2147483647 w 162"/>
                <a:gd name="T49" fmla="*/ 2147483647 h 126"/>
                <a:gd name="T50" fmla="*/ 2147483647 w 162"/>
                <a:gd name="T51" fmla="*/ 2147483647 h 126"/>
                <a:gd name="T52" fmla="*/ 2147483647 w 162"/>
                <a:gd name="T53" fmla="*/ 2147483647 h 126"/>
                <a:gd name="T54" fmla="*/ 2147483647 w 162"/>
                <a:gd name="T55" fmla="*/ 2147483647 h 126"/>
                <a:gd name="T56" fmla="*/ 2147483647 w 162"/>
                <a:gd name="T57" fmla="*/ 2147483647 h 126"/>
                <a:gd name="T58" fmla="*/ 2147483647 w 162"/>
                <a:gd name="T59" fmla="*/ 2147483647 h 126"/>
                <a:gd name="T60" fmla="*/ 2147483647 w 162"/>
                <a:gd name="T61" fmla="*/ 2147483647 h 126"/>
                <a:gd name="T62" fmla="*/ 2147483647 w 162"/>
                <a:gd name="T63" fmla="*/ 2147483647 h 126"/>
                <a:gd name="T64" fmla="*/ 2147483647 w 162"/>
                <a:gd name="T65" fmla="*/ 2147483647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126"/>
                <a:gd name="T101" fmla="*/ 162 w 162"/>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126">
                  <a:moveTo>
                    <a:pt x="150" y="42"/>
                  </a:moveTo>
                  <a:lnTo>
                    <a:pt x="132" y="30"/>
                  </a:lnTo>
                  <a:lnTo>
                    <a:pt x="132" y="18"/>
                  </a:lnTo>
                  <a:lnTo>
                    <a:pt x="126" y="18"/>
                  </a:lnTo>
                  <a:lnTo>
                    <a:pt x="114" y="0"/>
                  </a:lnTo>
                  <a:lnTo>
                    <a:pt x="72" y="6"/>
                  </a:lnTo>
                  <a:lnTo>
                    <a:pt x="66" y="12"/>
                  </a:lnTo>
                  <a:lnTo>
                    <a:pt x="48" y="12"/>
                  </a:lnTo>
                  <a:lnTo>
                    <a:pt x="48" y="24"/>
                  </a:lnTo>
                  <a:lnTo>
                    <a:pt x="24" y="24"/>
                  </a:lnTo>
                  <a:lnTo>
                    <a:pt x="18" y="36"/>
                  </a:lnTo>
                  <a:lnTo>
                    <a:pt x="0" y="42"/>
                  </a:lnTo>
                  <a:lnTo>
                    <a:pt x="0" y="66"/>
                  </a:lnTo>
                  <a:lnTo>
                    <a:pt x="6" y="78"/>
                  </a:lnTo>
                  <a:lnTo>
                    <a:pt x="6" y="102"/>
                  </a:lnTo>
                  <a:lnTo>
                    <a:pt x="12" y="108"/>
                  </a:lnTo>
                  <a:lnTo>
                    <a:pt x="18" y="108"/>
                  </a:lnTo>
                  <a:lnTo>
                    <a:pt x="18" y="126"/>
                  </a:lnTo>
                  <a:lnTo>
                    <a:pt x="42" y="120"/>
                  </a:lnTo>
                  <a:lnTo>
                    <a:pt x="42" y="126"/>
                  </a:lnTo>
                  <a:lnTo>
                    <a:pt x="54" y="120"/>
                  </a:lnTo>
                  <a:lnTo>
                    <a:pt x="60" y="120"/>
                  </a:lnTo>
                  <a:lnTo>
                    <a:pt x="66" y="126"/>
                  </a:lnTo>
                  <a:lnTo>
                    <a:pt x="90" y="126"/>
                  </a:lnTo>
                  <a:lnTo>
                    <a:pt x="96" y="114"/>
                  </a:lnTo>
                  <a:lnTo>
                    <a:pt x="96" y="108"/>
                  </a:lnTo>
                  <a:lnTo>
                    <a:pt x="120" y="108"/>
                  </a:lnTo>
                  <a:lnTo>
                    <a:pt x="132" y="102"/>
                  </a:lnTo>
                  <a:lnTo>
                    <a:pt x="156" y="78"/>
                  </a:lnTo>
                  <a:lnTo>
                    <a:pt x="162" y="66"/>
                  </a:lnTo>
                  <a:lnTo>
                    <a:pt x="162" y="60"/>
                  </a:lnTo>
                  <a:lnTo>
                    <a:pt x="156" y="48"/>
                  </a:lnTo>
                  <a:lnTo>
                    <a:pt x="150" y="4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06" name="MexiKo" descr="© INSCALE GmbH, 05.05.2010&#10;http://www.presentationload.com/">
              <a:extLst>
                <a:ext uri="{FF2B5EF4-FFF2-40B4-BE49-F238E27FC236}">
                  <a16:creationId xmlns:a16="http://schemas.microsoft.com/office/drawing/2014/main" id="{50DDC28C-F5ED-40B1-9CF2-9C69FEDB59B1}"/>
                </a:ext>
              </a:extLst>
            </p:cNvPr>
            <p:cNvSpPr>
              <a:spLocks/>
            </p:cNvSpPr>
            <p:nvPr/>
          </p:nvSpPr>
          <p:spPr bwMode="gray">
            <a:xfrm>
              <a:off x="985473" y="3206758"/>
              <a:ext cx="740107" cy="580169"/>
            </a:xfrm>
            <a:custGeom>
              <a:avLst/>
              <a:gdLst>
                <a:gd name="T0" fmla="*/ 2147483647 w 1860"/>
                <a:gd name="T1" fmla="*/ 2147483647 h 1458"/>
                <a:gd name="T2" fmla="*/ 2147483647 w 1860"/>
                <a:gd name="T3" fmla="*/ 2147483647 h 1458"/>
                <a:gd name="T4" fmla="*/ 2147483647 w 1860"/>
                <a:gd name="T5" fmla="*/ 2147483647 h 1458"/>
                <a:gd name="T6" fmla="*/ 2147483647 w 1860"/>
                <a:gd name="T7" fmla="*/ 2147483647 h 1458"/>
                <a:gd name="T8" fmla="*/ 2147483647 w 1860"/>
                <a:gd name="T9" fmla="*/ 2147483647 h 1458"/>
                <a:gd name="T10" fmla="*/ 2147483647 w 1860"/>
                <a:gd name="T11" fmla="*/ 2147483647 h 1458"/>
                <a:gd name="T12" fmla="*/ 2147483647 w 1860"/>
                <a:gd name="T13" fmla="*/ 2147483647 h 1458"/>
                <a:gd name="T14" fmla="*/ 2147483647 w 1860"/>
                <a:gd name="T15" fmla="*/ 2147483647 h 1458"/>
                <a:gd name="T16" fmla="*/ 2147483647 w 1860"/>
                <a:gd name="T17" fmla="*/ 2147483647 h 1458"/>
                <a:gd name="T18" fmla="*/ 2147483647 w 1860"/>
                <a:gd name="T19" fmla="*/ 2147483647 h 1458"/>
                <a:gd name="T20" fmla="*/ 2147483647 w 1860"/>
                <a:gd name="T21" fmla="*/ 2147483647 h 1458"/>
                <a:gd name="T22" fmla="*/ 2147483647 w 1860"/>
                <a:gd name="T23" fmla="*/ 2147483647 h 1458"/>
                <a:gd name="T24" fmla="*/ 2147483647 w 1860"/>
                <a:gd name="T25" fmla="*/ 2147483647 h 1458"/>
                <a:gd name="T26" fmla="*/ 2147483647 w 1860"/>
                <a:gd name="T27" fmla="*/ 2147483647 h 1458"/>
                <a:gd name="T28" fmla="*/ 2147483647 w 1860"/>
                <a:gd name="T29" fmla="*/ 2147483647 h 1458"/>
                <a:gd name="T30" fmla="*/ 2147483647 w 1860"/>
                <a:gd name="T31" fmla="*/ 2147483647 h 1458"/>
                <a:gd name="T32" fmla="*/ 2147483647 w 1860"/>
                <a:gd name="T33" fmla="*/ 2147483647 h 1458"/>
                <a:gd name="T34" fmla="*/ 2147483647 w 1860"/>
                <a:gd name="T35" fmla="*/ 2147483647 h 1458"/>
                <a:gd name="T36" fmla="*/ 2147483647 w 1860"/>
                <a:gd name="T37" fmla="*/ 2147483647 h 1458"/>
                <a:gd name="T38" fmla="*/ 2147483647 w 1860"/>
                <a:gd name="T39" fmla="*/ 2147483647 h 1458"/>
                <a:gd name="T40" fmla="*/ 2147483647 w 1860"/>
                <a:gd name="T41" fmla="*/ 2147483647 h 1458"/>
                <a:gd name="T42" fmla="*/ 2147483647 w 1860"/>
                <a:gd name="T43" fmla="*/ 2147483647 h 1458"/>
                <a:gd name="T44" fmla="*/ 2147483647 w 1860"/>
                <a:gd name="T45" fmla="*/ 2147483647 h 1458"/>
                <a:gd name="T46" fmla="*/ 2147483647 w 1860"/>
                <a:gd name="T47" fmla="*/ 2147483647 h 1458"/>
                <a:gd name="T48" fmla="*/ 2147483647 w 1860"/>
                <a:gd name="T49" fmla="*/ 2147483647 h 1458"/>
                <a:gd name="T50" fmla="*/ 2147483647 w 1860"/>
                <a:gd name="T51" fmla="*/ 2147483647 h 1458"/>
                <a:gd name="T52" fmla="*/ 2147483647 w 1860"/>
                <a:gd name="T53" fmla="*/ 2147483647 h 1458"/>
                <a:gd name="T54" fmla="*/ 2147483647 w 1860"/>
                <a:gd name="T55" fmla="*/ 2147483647 h 1458"/>
                <a:gd name="T56" fmla="*/ 0 w 1860"/>
                <a:gd name="T57" fmla="*/ 2147483647 h 1458"/>
                <a:gd name="T58" fmla="*/ 2147483647 w 1860"/>
                <a:gd name="T59" fmla="*/ 2147483647 h 1458"/>
                <a:gd name="T60" fmla="*/ 2147483647 w 1860"/>
                <a:gd name="T61" fmla="*/ 2147483647 h 1458"/>
                <a:gd name="T62" fmla="*/ 2147483647 w 1860"/>
                <a:gd name="T63" fmla="*/ 2147483647 h 1458"/>
                <a:gd name="T64" fmla="*/ 2147483647 w 1860"/>
                <a:gd name="T65" fmla="*/ 2147483647 h 1458"/>
                <a:gd name="T66" fmla="*/ 2147483647 w 1860"/>
                <a:gd name="T67" fmla="*/ 2147483647 h 1458"/>
                <a:gd name="T68" fmla="*/ 2147483647 w 1860"/>
                <a:gd name="T69" fmla="*/ 2147483647 h 1458"/>
                <a:gd name="T70" fmla="*/ 2147483647 w 1860"/>
                <a:gd name="T71" fmla="*/ 2147483647 h 1458"/>
                <a:gd name="T72" fmla="*/ 2147483647 w 1860"/>
                <a:gd name="T73" fmla="*/ 2147483647 h 1458"/>
                <a:gd name="T74" fmla="*/ 2147483647 w 1860"/>
                <a:gd name="T75" fmla="*/ 2147483647 h 1458"/>
                <a:gd name="T76" fmla="*/ 2147483647 w 1860"/>
                <a:gd name="T77" fmla="*/ 2147483647 h 1458"/>
                <a:gd name="T78" fmla="*/ 2147483647 w 1860"/>
                <a:gd name="T79" fmla="*/ 2147483647 h 1458"/>
                <a:gd name="T80" fmla="*/ 2147483647 w 1860"/>
                <a:gd name="T81" fmla="*/ 2147483647 h 1458"/>
                <a:gd name="T82" fmla="*/ 2147483647 w 1860"/>
                <a:gd name="T83" fmla="*/ 2147483647 h 1458"/>
                <a:gd name="T84" fmla="*/ 2147483647 w 1860"/>
                <a:gd name="T85" fmla="*/ 2147483647 h 1458"/>
                <a:gd name="T86" fmla="*/ 2147483647 w 1860"/>
                <a:gd name="T87" fmla="*/ 2147483647 h 1458"/>
                <a:gd name="T88" fmla="*/ 2147483647 w 1860"/>
                <a:gd name="T89" fmla="*/ 2147483647 h 1458"/>
                <a:gd name="T90" fmla="*/ 2147483647 w 1860"/>
                <a:gd name="T91" fmla="*/ 2147483647 h 1458"/>
                <a:gd name="T92" fmla="*/ 2147483647 w 1860"/>
                <a:gd name="T93" fmla="*/ 2147483647 h 1458"/>
                <a:gd name="T94" fmla="*/ 2147483647 w 1860"/>
                <a:gd name="T95" fmla="*/ 2147483647 h 1458"/>
                <a:gd name="T96" fmla="*/ 2147483647 w 1860"/>
                <a:gd name="T97" fmla="*/ 2147483647 h 1458"/>
                <a:gd name="T98" fmla="*/ 2147483647 w 1860"/>
                <a:gd name="T99" fmla="*/ 2147483647 h 1458"/>
                <a:gd name="T100" fmla="*/ 2147483647 w 1860"/>
                <a:gd name="T101" fmla="*/ 2147483647 h 1458"/>
                <a:gd name="T102" fmla="*/ 2147483647 w 1860"/>
                <a:gd name="T103" fmla="*/ 2147483647 h 1458"/>
                <a:gd name="T104" fmla="*/ 2147483647 w 1860"/>
                <a:gd name="T105" fmla="*/ 2147483647 h 1458"/>
                <a:gd name="T106" fmla="*/ 2147483647 w 1860"/>
                <a:gd name="T107" fmla="*/ 2147483647 h 1458"/>
                <a:gd name="T108" fmla="*/ 2147483647 w 1860"/>
                <a:gd name="T109" fmla="*/ 2147483647 h 1458"/>
                <a:gd name="T110" fmla="*/ 2147483647 w 1860"/>
                <a:gd name="T111" fmla="*/ 2147483647 h 1458"/>
                <a:gd name="T112" fmla="*/ 2147483647 w 1860"/>
                <a:gd name="T113" fmla="*/ 2147483647 h 1458"/>
                <a:gd name="T114" fmla="*/ 2147483647 w 1860"/>
                <a:gd name="T115" fmla="*/ 2147483647 h 1458"/>
                <a:gd name="T116" fmla="*/ 2147483647 w 1860"/>
                <a:gd name="T117" fmla="*/ 2147483647 h 1458"/>
                <a:gd name="T118" fmla="*/ 2147483647 w 1860"/>
                <a:gd name="T119" fmla="*/ 2147483647 h 1458"/>
                <a:gd name="T120" fmla="*/ 2147483647 w 1860"/>
                <a:gd name="T121" fmla="*/ 2147483647 h 145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0"/>
                <a:gd name="T184" fmla="*/ 0 h 1458"/>
                <a:gd name="T185" fmla="*/ 1860 w 1860"/>
                <a:gd name="T186" fmla="*/ 1458 h 145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0" h="1458">
                  <a:moveTo>
                    <a:pt x="1422" y="1440"/>
                  </a:moveTo>
                  <a:lnTo>
                    <a:pt x="1422" y="1380"/>
                  </a:lnTo>
                  <a:lnTo>
                    <a:pt x="1452" y="1332"/>
                  </a:lnTo>
                  <a:lnTo>
                    <a:pt x="1542" y="1338"/>
                  </a:lnTo>
                  <a:lnTo>
                    <a:pt x="1542" y="1320"/>
                  </a:lnTo>
                  <a:lnTo>
                    <a:pt x="1548" y="1320"/>
                  </a:lnTo>
                  <a:lnTo>
                    <a:pt x="1554" y="1314"/>
                  </a:lnTo>
                  <a:lnTo>
                    <a:pt x="1554" y="1302"/>
                  </a:lnTo>
                  <a:lnTo>
                    <a:pt x="1536" y="1302"/>
                  </a:lnTo>
                  <a:lnTo>
                    <a:pt x="1530" y="1278"/>
                  </a:lnTo>
                  <a:lnTo>
                    <a:pt x="1524" y="1278"/>
                  </a:lnTo>
                  <a:lnTo>
                    <a:pt x="1512" y="1272"/>
                  </a:lnTo>
                  <a:lnTo>
                    <a:pt x="1506" y="1272"/>
                  </a:lnTo>
                  <a:lnTo>
                    <a:pt x="1500" y="1266"/>
                  </a:lnTo>
                  <a:lnTo>
                    <a:pt x="1494" y="1254"/>
                  </a:lnTo>
                  <a:lnTo>
                    <a:pt x="1494" y="1248"/>
                  </a:lnTo>
                  <a:lnTo>
                    <a:pt x="1482" y="1242"/>
                  </a:lnTo>
                  <a:lnTo>
                    <a:pt x="1506" y="1242"/>
                  </a:lnTo>
                  <a:lnTo>
                    <a:pt x="1518" y="1236"/>
                  </a:lnTo>
                  <a:lnTo>
                    <a:pt x="1524" y="1236"/>
                  </a:lnTo>
                  <a:lnTo>
                    <a:pt x="1524" y="1212"/>
                  </a:lnTo>
                  <a:lnTo>
                    <a:pt x="1518" y="1200"/>
                  </a:lnTo>
                  <a:lnTo>
                    <a:pt x="1518" y="1188"/>
                  </a:lnTo>
                  <a:lnTo>
                    <a:pt x="1650" y="1194"/>
                  </a:lnTo>
                  <a:lnTo>
                    <a:pt x="1656" y="1182"/>
                  </a:lnTo>
                  <a:lnTo>
                    <a:pt x="1656" y="1176"/>
                  </a:lnTo>
                  <a:lnTo>
                    <a:pt x="1662" y="1176"/>
                  </a:lnTo>
                  <a:lnTo>
                    <a:pt x="1668" y="1182"/>
                  </a:lnTo>
                  <a:lnTo>
                    <a:pt x="1668" y="1188"/>
                  </a:lnTo>
                  <a:lnTo>
                    <a:pt x="1674" y="1188"/>
                  </a:lnTo>
                  <a:lnTo>
                    <a:pt x="1680" y="1182"/>
                  </a:lnTo>
                  <a:lnTo>
                    <a:pt x="1692" y="1176"/>
                  </a:lnTo>
                  <a:lnTo>
                    <a:pt x="1698" y="1164"/>
                  </a:lnTo>
                  <a:lnTo>
                    <a:pt x="1698" y="1152"/>
                  </a:lnTo>
                  <a:lnTo>
                    <a:pt x="1704" y="1146"/>
                  </a:lnTo>
                  <a:lnTo>
                    <a:pt x="1704" y="1140"/>
                  </a:lnTo>
                  <a:lnTo>
                    <a:pt x="1710" y="1152"/>
                  </a:lnTo>
                  <a:lnTo>
                    <a:pt x="1746" y="1116"/>
                  </a:lnTo>
                  <a:lnTo>
                    <a:pt x="1746" y="1122"/>
                  </a:lnTo>
                  <a:lnTo>
                    <a:pt x="1740" y="1128"/>
                  </a:lnTo>
                  <a:lnTo>
                    <a:pt x="1740" y="1146"/>
                  </a:lnTo>
                  <a:lnTo>
                    <a:pt x="1746" y="1152"/>
                  </a:lnTo>
                  <a:lnTo>
                    <a:pt x="1758" y="1152"/>
                  </a:lnTo>
                  <a:lnTo>
                    <a:pt x="1782" y="1086"/>
                  </a:lnTo>
                  <a:lnTo>
                    <a:pt x="1770" y="1074"/>
                  </a:lnTo>
                  <a:lnTo>
                    <a:pt x="1794" y="1068"/>
                  </a:lnTo>
                  <a:lnTo>
                    <a:pt x="1794" y="1056"/>
                  </a:lnTo>
                  <a:lnTo>
                    <a:pt x="1776" y="1050"/>
                  </a:lnTo>
                  <a:lnTo>
                    <a:pt x="1794" y="1032"/>
                  </a:lnTo>
                  <a:lnTo>
                    <a:pt x="1800" y="1008"/>
                  </a:lnTo>
                  <a:lnTo>
                    <a:pt x="1806" y="996"/>
                  </a:lnTo>
                  <a:lnTo>
                    <a:pt x="1818" y="990"/>
                  </a:lnTo>
                  <a:lnTo>
                    <a:pt x="1824" y="978"/>
                  </a:lnTo>
                  <a:lnTo>
                    <a:pt x="1836" y="966"/>
                  </a:lnTo>
                  <a:lnTo>
                    <a:pt x="1842" y="954"/>
                  </a:lnTo>
                  <a:lnTo>
                    <a:pt x="1848" y="948"/>
                  </a:lnTo>
                  <a:lnTo>
                    <a:pt x="1854" y="936"/>
                  </a:lnTo>
                  <a:lnTo>
                    <a:pt x="1854" y="930"/>
                  </a:lnTo>
                  <a:lnTo>
                    <a:pt x="1860" y="918"/>
                  </a:lnTo>
                  <a:lnTo>
                    <a:pt x="1860" y="900"/>
                  </a:lnTo>
                  <a:lnTo>
                    <a:pt x="1854" y="894"/>
                  </a:lnTo>
                  <a:lnTo>
                    <a:pt x="1818" y="894"/>
                  </a:lnTo>
                  <a:lnTo>
                    <a:pt x="1812" y="900"/>
                  </a:lnTo>
                  <a:lnTo>
                    <a:pt x="1800" y="900"/>
                  </a:lnTo>
                  <a:lnTo>
                    <a:pt x="1794" y="894"/>
                  </a:lnTo>
                  <a:lnTo>
                    <a:pt x="1782" y="894"/>
                  </a:lnTo>
                  <a:lnTo>
                    <a:pt x="1770" y="888"/>
                  </a:lnTo>
                  <a:lnTo>
                    <a:pt x="1746" y="888"/>
                  </a:lnTo>
                  <a:lnTo>
                    <a:pt x="1734" y="894"/>
                  </a:lnTo>
                  <a:lnTo>
                    <a:pt x="1716" y="900"/>
                  </a:lnTo>
                  <a:lnTo>
                    <a:pt x="1698" y="900"/>
                  </a:lnTo>
                  <a:lnTo>
                    <a:pt x="1686" y="906"/>
                  </a:lnTo>
                  <a:lnTo>
                    <a:pt x="1668" y="906"/>
                  </a:lnTo>
                  <a:lnTo>
                    <a:pt x="1656" y="912"/>
                  </a:lnTo>
                  <a:lnTo>
                    <a:pt x="1626" y="912"/>
                  </a:lnTo>
                  <a:lnTo>
                    <a:pt x="1614" y="918"/>
                  </a:lnTo>
                  <a:lnTo>
                    <a:pt x="1608" y="924"/>
                  </a:lnTo>
                  <a:lnTo>
                    <a:pt x="1596" y="948"/>
                  </a:lnTo>
                  <a:lnTo>
                    <a:pt x="1590" y="966"/>
                  </a:lnTo>
                  <a:lnTo>
                    <a:pt x="1590" y="1026"/>
                  </a:lnTo>
                  <a:lnTo>
                    <a:pt x="1572" y="1032"/>
                  </a:lnTo>
                  <a:lnTo>
                    <a:pt x="1572" y="1062"/>
                  </a:lnTo>
                  <a:lnTo>
                    <a:pt x="1566" y="1074"/>
                  </a:lnTo>
                  <a:lnTo>
                    <a:pt x="1542" y="1086"/>
                  </a:lnTo>
                  <a:lnTo>
                    <a:pt x="1524" y="1098"/>
                  </a:lnTo>
                  <a:lnTo>
                    <a:pt x="1512" y="1110"/>
                  </a:lnTo>
                  <a:lnTo>
                    <a:pt x="1512" y="1122"/>
                  </a:lnTo>
                  <a:lnTo>
                    <a:pt x="1506" y="1128"/>
                  </a:lnTo>
                  <a:lnTo>
                    <a:pt x="1506" y="1140"/>
                  </a:lnTo>
                  <a:lnTo>
                    <a:pt x="1500" y="1146"/>
                  </a:lnTo>
                  <a:lnTo>
                    <a:pt x="1488" y="1146"/>
                  </a:lnTo>
                  <a:lnTo>
                    <a:pt x="1476" y="1134"/>
                  </a:lnTo>
                  <a:lnTo>
                    <a:pt x="1476" y="1128"/>
                  </a:lnTo>
                  <a:lnTo>
                    <a:pt x="1470" y="1122"/>
                  </a:lnTo>
                  <a:lnTo>
                    <a:pt x="1440" y="1122"/>
                  </a:lnTo>
                  <a:lnTo>
                    <a:pt x="1416" y="1128"/>
                  </a:lnTo>
                  <a:lnTo>
                    <a:pt x="1392" y="1140"/>
                  </a:lnTo>
                  <a:lnTo>
                    <a:pt x="1356" y="1140"/>
                  </a:lnTo>
                  <a:lnTo>
                    <a:pt x="1338" y="1146"/>
                  </a:lnTo>
                  <a:lnTo>
                    <a:pt x="1290" y="1170"/>
                  </a:lnTo>
                  <a:lnTo>
                    <a:pt x="1284" y="1170"/>
                  </a:lnTo>
                  <a:lnTo>
                    <a:pt x="1272" y="1158"/>
                  </a:lnTo>
                  <a:lnTo>
                    <a:pt x="1266" y="1146"/>
                  </a:lnTo>
                  <a:lnTo>
                    <a:pt x="1266" y="1140"/>
                  </a:lnTo>
                  <a:lnTo>
                    <a:pt x="1260" y="1128"/>
                  </a:lnTo>
                  <a:lnTo>
                    <a:pt x="1242" y="1128"/>
                  </a:lnTo>
                  <a:lnTo>
                    <a:pt x="1224" y="1122"/>
                  </a:lnTo>
                  <a:lnTo>
                    <a:pt x="1194" y="1122"/>
                  </a:lnTo>
                  <a:lnTo>
                    <a:pt x="1194" y="1104"/>
                  </a:lnTo>
                  <a:lnTo>
                    <a:pt x="1188" y="1092"/>
                  </a:lnTo>
                  <a:lnTo>
                    <a:pt x="1176" y="1080"/>
                  </a:lnTo>
                  <a:lnTo>
                    <a:pt x="1170" y="1068"/>
                  </a:lnTo>
                  <a:lnTo>
                    <a:pt x="1164" y="1062"/>
                  </a:lnTo>
                  <a:lnTo>
                    <a:pt x="1164" y="1026"/>
                  </a:lnTo>
                  <a:lnTo>
                    <a:pt x="1128" y="966"/>
                  </a:lnTo>
                  <a:lnTo>
                    <a:pt x="1122" y="924"/>
                  </a:lnTo>
                  <a:lnTo>
                    <a:pt x="1110" y="894"/>
                  </a:lnTo>
                  <a:lnTo>
                    <a:pt x="1104" y="804"/>
                  </a:lnTo>
                  <a:lnTo>
                    <a:pt x="1110" y="798"/>
                  </a:lnTo>
                  <a:lnTo>
                    <a:pt x="1122" y="774"/>
                  </a:lnTo>
                  <a:lnTo>
                    <a:pt x="1128" y="768"/>
                  </a:lnTo>
                  <a:lnTo>
                    <a:pt x="1128" y="654"/>
                  </a:lnTo>
                  <a:lnTo>
                    <a:pt x="1152" y="648"/>
                  </a:lnTo>
                  <a:lnTo>
                    <a:pt x="1152" y="612"/>
                  </a:lnTo>
                  <a:lnTo>
                    <a:pt x="1158" y="600"/>
                  </a:lnTo>
                  <a:lnTo>
                    <a:pt x="1158" y="594"/>
                  </a:lnTo>
                  <a:lnTo>
                    <a:pt x="1164" y="588"/>
                  </a:lnTo>
                  <a:lnTo>
                    <a:pt x="1176" y="588"/>
                  </a:lnTo>
                  <a:lnTo>
                    <a:pt x="1182" y="594"/>
                  </a:lnTo>
                  <a:lnTo>
                    <a:pt x="1188" y="594"/>
                  </a:lnTo>
                  <a:lnTo>
                    <a:pt x="1188" y="588"/>
                  </a:lnTo>
                  <a:lnTo>
                    <a:pt x="1194" y="576"/>
                  </a:lnTo>
                  <a:lnTo>
                    <a:pt x="1194" y="564"/>
                  </a:lnTo>
                  <a:lnTo>
                    <a:pt x="1200" y="558"/>
                  </a:lnTo>
                  <a:lnTo>
                    <a:pt x="1206" y="546"/>
                  </a:lnTo>
                  <a:lnTo>
                    <a:pt x="1206" y="540"/>
                  </a:lnTo>
                  <a:lnTo>
                    <a:pt x="1206" y="546"/>
                  </a:lnTo>
                  <a:lnTo>
                    <a:pt x="1182" y="546"/>
                  </a:lnTo>
                  <a:lnTo>
                    <a:pt x="1176" y="534"/>
                  </a:lnTo>
                  <a:lnTo>
                    <a:pt x="1176" y="528"/>
                  </a:lnTo>
                  <a:lnTo>
                    <a:pt x="1134" y="528"/>
                  </a:lnTo>
                  <a:lnTo>
                    <a:pt x="1122" y="516"/>
                  </a:lnTo>
                  <a:lnTo>
                    <a:pt x="1110" y="516"/>
                  </a:lnTo>
                  <a:lnTo>
                    <a:pt x="1092" y="510"/>
                  </a:lnTo>
                  <a:lnTo>
                    <a:pt x="1080" y="498"/>
                  </a:lnTo>
                  <a:lnTo>
                    <a:pt x="1080" y="468"/>
                  </a:lnTo>
                  <a:lnTo>
                    <a:pt x="1068" y="456"/>
                  </a:lnTo>
                  <a:lnTo>
                    <a:pt x="1068" y="420"/>
                  </a:lnTo>
                  <a:lnTo>
                    <a:pt x="1074" y="420"/>
                  </a:lnTo>
                  <a:lnTo>
                    <a:pt x="1080" y="414"/>
                  </a:lnTo>
                  <a:lnTo>
                    <a:pt x="1080" y="408"/>
                  </a:lnTo>
                  <a:lnTo>
                    <a:pt x="1068" y="396"/>
                  </a:lnTo>
                  <a:lnTo>
                    <a:pt x="1056" y="390"/>
                  </a:lnTo>
                  <a:lnTo>
                    <a:pt x="1050" y="384"/>
                  </a:lnTo>
                  <a:lnTo>
                    <a:pt x="1050" y="360"/>
                  </a:lnTo>
                  <a:lnTo>
                    <a:pt x="1038" y="354"/>
                  </a:lnTo>
                  <a:lnTo>
                    <a:pt x="1032" y="342"/>
                  </a:lnTo>
                  <a:lnTo>
                    <a:pt x="1032" y="330"/>
                  </a:lnTo>
                  <a:lnTo>
                    <a:pt x="1038" y="318"/>
                  </a:lnTo>
                  <a:lnTo>
                    <a:pt x="1038" y="294"/>
                  </a:lnTo>
                  <a:lnTo>
                    <a:pt x="1026" y="282"/>
                  </a:lnTo>
                  <a:lnTo>
                    <a:pt x="1020" y="270"/>
                  </a:lnTo>
                  <a:lnTo>
                    <a:pt x="1008" y="258"/>
                  </a:lnTo>
                  <a:lnTo>
                    <a:pt x="1002" y="246"/>
                  </a:lnTo>
                  <a:lnTo>
                    <a:pt x="996" y="240"/>
                  </a:lnTo>
                  <a:lnTo>
                    <a:pt x="990" y="228"/>
                  </a:lnTo>
                  <a:lnTo>
                    <a:pt x="948" y="228"/>
                  </a:lnTo>
                  <a:lnTo>
                    <a:pt x="930" y="222"/>
                  </a:lnTo>
                  <a:lnTo>
                    <a:pt x="930" y="228"/>
                  </a:lnTo>
                  <a:lnTo>
                    <a:pt x="912" y="228"/>
                  </a:lnTo>
                  <a:lnTo>
                    <a:pt x="900" y="240"/>
                  </a:lnTo>
                  <a:lnTo>
                    <a:pt x="888" y="264"/>
                  </a:lnTo>
                  <a:lnTo>
                    <a:pt x="876" y="276"/>
                  </a:lnTo>
                  <a:lnTo>
                    <a:pt x="852" y="288"/>
                  </a:lnTo>
                  <a:lnTo>
                    <a:pt x="840" y="288"/>
                  </a:lnTo>
                  <a:lnTo>
                    <a:pt x="822" y="276"/>
                  </a:lnTo>
                  <a:lnTo>
                    <a:pt x="810" y="270"/>
                  </a:lnTo>
                  <a:lnTo>
                    <a:pt x="780" y="240"/>
                  </a:lnTo>
                  <a:lnTo>
                    <a:pt x="780" y="228"/>
                  </a:lnTo>
                  <a:lnTo>
                    <a:pt x="786" y="216"/>
                  </a:lnTo>
                  <a:lnTo>
                    <a:pt x="786" y="174"/>
                  </a:lnTo>
                  <a:lnTo>
                    <a:pt x="780" y="162"/>
                  </a:lnTo>
                  <a:lnTo>
                    <a:pt x="768" y="150"/>
                  </a:lnTo>
                  <a:lnTo>
                    <a:pt x="756" y="144"/>
                  </a:lnTo>
                  <a:lnTo>
                    <a:pt x="744" y="144"/>
                  </a:lnTo>
                  <a:lnTo>
                    <a:pt x="738" y="114"/>
                  </a:lnTo>
                  <a:lnTo>
                    <a:pt x="708" y="102"/>
                  </a:lnTo>
                  <a:lnTo>
                    <a:pt x="708" y="78"/>
                  </a:lnTo>
                  <a:lnTo>
                    <a:pt x="696" y="66"/>
                  </a:lnTo>
                  <a:lnTo>
                    <a:pt x="582" y="66"/>
                  </a:lnTo>
                  <a:lnTo>
                    <a:pt x="576" y="72"/>
                  </a:lnTo>
                  <a:lnTo>
                    <a:pt x="576" y="90"/>
                  </a:lnTo>
                  <a:lnTo>
                    <a:pt x="570" y="102"/>
                  </a:lnTo>
                  <a:lnTo>
                    <a:pt x="570" y="108"/>
                  </a:lnTo>
                  <a:lnTo>
                    <a:pt x="366" y="108"/>
                  </a:lnTo>
                  <a:lnTo>
                    <a:pt x="156" y="12"/>
                  </a:lnTo>
                  <a:lnTo>
                    <a:pt x="150" y="12"/>
                  </a:lnTo>
                  <a:lnTo>
                    <a:pt x="150" y="6"/>
                  </a:lnTo>
                  <a:lnTo>
                    <a:pt x="156" y="0"/>
                  </a:lnTo>
                  <a:lnTo>
                    <a:pt x="12" y="6"/>
                  </a:lnTo>
                  <a:lnTo>
                    <a:pt x="6" y="0"/>
                  </a:lnTo>
                  <a:lnTo>
                    <a:pt x="0" y="18"/>
                  </a:lnTo>
                  <a:lnTo>
                    <a:pt x="0" y="48"/>
                  </a:lnTo>
                  <a:lnTo>
                    <a:pt x="6" y="60"/>
                  </a:lnTo>
                  <a:lnTo>
                    <a:pt x="12" y="66"/>
                  </a:lnTo>
                  <a:lnTo>
                    <a:pt x="18" y="78"/>
                  </a:lnTo>
                  <a:lnTo>
                    <a:pt x="0" y="90"/>
                  </a:lnTo>
                  <a:lnTo>
                    <a:pt x="12" y="114"/>
                  </a:lnTo>
                  <a:lnTo>
                    <a:pt x="6" y="126"/>
                  </a:lnTo>
                  <a:lnTo>
                    <a:pt x="24" y="144"/>
                  </a:lnTo>
                  <a:lnTo>
                    <a:pt x="6" y="174"/>
                  </a:lnTo>
                  <a:lnTo>
                    <a:pt x="18" y="180"/>
                  </a:lnTo>
                  <a:lnTo>
                    <a:pt x="18" y="210"/>
                  </a:lnTo>
                  <a:lnTo>
                    <a:pt x="24" y="228"/>
                  </a:lnTo>
                  <a:lnTo>
                    <a:pt x="24" y="240"/>
                  </a:lnTo>
                  <a:lnTo>
                    <a:pt x="30" y="252"/>
                  </a:lnTo>
                  <a:lnTo>
                    <a:pt x="42" y="264"/>
                  </a:lnTo>
                  <a:lnTo>
                    <a:pt x="60" y="264"/>
                  </a:lnTo>
                  <a:lnTo>
                    <a:pt x="60" y="270"/>
                  </a:lnTo>
                  <a:lnTo>
                    <a:pt x="66" y="276"/>
                  </a:lnTo>
                  <a:lnTo>
                    <a:pt x="72" y="288"/>
                  </a:lnTo>
                  <a:lnTo>
                    <a:pt x="84" y="300"/>
                  </a:lnTo>
                  <a:lnTo>
                    <a:pt x="90" y="318"/>
                  </a:lnTo>
                  <a:lnTo>
                    <a:pt x="96" y="330"/>
                  </a:lnTo>
                  <a:lnTo>
                    <a:pt x="96" y="342"/>
                  </a:lnTo>
                  <a:lnTo>
                    <a:pt x="78" y="378"/>
                  </a:lnTo>
                  <a:lnTo>
                    <a:pt x="72" y="384"/>
                  </a:lnTo>
                  <a:lnTo>
                    <a:pt x="72" y="390"/>
                  </a:lnTo>
                  <a:lnTo>
                    <a:pt x="84" y="396"/>
                  </a:lnTo>
                  <a:lnTo>
                    <a:pt x="72" y="414"/>
                  </a:lnTo>
                  <a:lnTo>
                    <a:pt x="60" y="396"/>
                  </a:lnTo>
                  <a:lnTo>
                    <a:pt x="12" y="390"/>
                  </a:lnTo>
                  <a:lnTo>
                    <a:pt x="36" y="414"/>
                  </a:lnTo>
                  <a:lnTo>
                    <a:pt x="42" y="438"/>
                  </a:lnTo>
                  <a:lnTo>
                    <a:pt x="66" y="444"/>
                  </a:lnTo>
                  <a:lnTo>
                    <a:pt x="78" y="456"/>
                  </a:lnTo>
                  <a:lnTo>
                    <a:pt x="84" y="468"/>
                  </a:lnTo>
                  <a:lnTo>
                    <a:pt x="90" y="474"/>
                  </a:lnTo>
                  <a:lnTo>
                    <a:pt x="96" y="474"/>
                  </a:lnTo>
                  <a:lnTo>
                    <a:pt x="102" y="468"/>
                  </a:lnTo>
                  <a:lnTo>
                    <a:pt x="108" y="468"/>
                  </a:lnTo>
                  <a:lnTo>
                    <a:pt x="120" y="462"/>
                  </a:lnTo>
                  <a:lnTo>
                    <a:pt x="126" y="456"/>
                  </a:lnTo>
                  <a:lnTo>
                    <a:pt x="126" y="480"/>
                  </a:lnTo>
                  <a:lnTo>
                    <a:pt x="144" y="516"/>
                  </a:lnTo>
                  <a:lnTo>
                    <a:pt x="156" y="528"/>
                  </a:lnTo>
                  <a:lnTo>
                    <a:pt x="168" y="552"/>
                  </a:lnTo>
                  <a:lnTo>
                    <a:pt x="168" y="564"/>
                  </a:lnTo>
                  <a:lnTo>
                    <a:pt x="156" y="588"/>
                  </a:lnTo>
                  <a:lnTo>
                    <a:pt x="150" y="606"/>
                  </a:lnTo>
                  <a:lnTo>
                    <a:pt x="150" y="618"/>
                  </a:lnTo>
                  <a:lnTo>
                    <a:pt x="180" y="648"/>
                  </a:lnTo>
                  <a:lnTo>
                    <a:pt x="192" y="666"/>
                  </a:lnTo>
                  <a:lnTo>
                    <a:pt x="222" y="696"/>
                  </a:lnTo>
                  <a:lnTo>
                    <a:pt x="234" y="714"/>
                  </a:lnTo>
                  <a:lnTo>
                    <a:pt x="264" y="744"/>
                  </a:lnTo>
                  <a:lnTo>
                    <a:pt x="258" y="750"/>
                  </a:lnTo>
                  <a:lnTo>
                    <a:pt x="258" y="762"/>
                  </a:lnTo>
                  <a:lnTo>
                    <a:pt x="252" y="768"/>
                  </a:lnTo>
                  <a:lnTo>
                    <a:pt x="252" y="780"/>
                  </a:lnTo>
                  <a:lnTo>
                    <a:pt x="258" y="786"/>
                  </a:lnTo>
                  <a:lnTo>
                    <a:pt x="276" y="786"/>
                  </a:lnTo>
                  <a:lnTo>
                    <a:pt x="288" y="780"/>
                  </a:lnTo>
                  <a:lnTo>
                    <a:pt x="294" y="768"/>
                  </a:lnTo>
                  <a:lnTo>
                    <a:pt x="306" y="762"/>
                  </a:lnTo>
                  <a:lnTo>
                    <a:pt x="312" y="756"/>
                  </a:lnTo>
                  <a:lnTo>
                    <a:pt x="306" y="738"/>
                  </a:lnTo>
                  <a:lnTo>
                    <a:pt x="306" y="732"/>
                  </a:lnTo>
                  <a:lnTo>
                    <a:pt x="300" y="726"/>
                  </a:lnTo>
                  <a:lnTo>
                    <a:pt x="300" y="708"/>
                  </a:lnTo>
                  <a:lnTo>
                    <a:pt x="288" y="684"/>
                  </a:lnTo>
                  <a:lnTo>
                    <a:pt x="282" y="678"/>
                  </a:lnTo>
                  <a:lnTo>
                    <a:pt x="258" y="678"/>
                  </a:lnTo>
                  <a:lnTo>
                    <a:pt x="240" y="648"/>
                  </a:lnTo>
                  <a:lnTo>
                    <a:pt x="240" y="576"/>
                  </a:lnTo>
                  <a:lnTo>
                    <a:pt x="222" y="546"/>
                  </a:lnTo>
                  <a:lnTo>
                    <a:pt x="228" y="534"/>
                  </a:lnTo>
                  <a:lnTo>
                    <a:pt x="228" y="528"/>
                  </a:lnTo>
                  <a:lnTo>
                    <a:pt x="234" y="516"/>
                  </a:lnTo>
                  <a:lnTo>
                    <a:pt x="234" y="492"/>
                  </a:lnTo>
                  <a:lnTo>
                    <a:pt x="228" y="486"/>
                  </a:lnTo>
                  <a:lnTo>
                    <a:pt x="216" y="480"/>
                  </a:lnTo>
                  <a:lnTo>
                    <a:pt x="210" y="474"/>
                  </a:lnTo>
                  <a:lnTo>
                    <a:pt x="198" y="474"/>
                  </a:lnTo>
                  <a:lnTo>
                    <a:pt x="198" y="432"/>
                  </a:lnTo>
                  <a:lnTo>
                    <a:pt x="168" y="396"/>
                  </a:lnTo>
                  <a:lnTo>
                    <a:pt x="174" y="336"/>
                  </a:lnTo>
                  <a:lnTo>
                    <a:pt x="168" y="330"/>
                  </a:lnTo>
                  <a:lnTo>
                    <a:pt x="162" y="318"/>
                  </a:lnTo>
                  <a:lnTo>
                    <a:pt x="144" y="300"/>
                  </a:lnTo>
                  <a:lnTo>
                    <a:pt x="138" y="288"/>
                  </a:lnTo>
                  <a:lnTo>
                    <a:pt x="138" y="276"/>
                  </a:lnTo>
                  <a:lnTo>
                    <a:pt x="132" y="264"/>
                  </a:lnTo>
                  <a:lnTo>
                    <a:pt x="132" y="246"/>
                  </a:lnTo>
                  <a:lnTo>
                    <a:pt x="126" y="240"/>
                  </a:lnTo>
                  <a:lnTo>
                    <a:pt x="120" y="228"/>
                  </a:lnTo>
                  <a:lnTo>
                    <a:pt x="108" y="216"/>
                  </a:lnTo>
                  <a:lnTo>
                    <a:pt x="102" y="204"/>
                  </a:lnTo>
                  <a:lnTo>
                    <a:pt x="96" y="198"/>
                  </a:lnTo>
                  <a:lnTo>
                    <a:pt x="96" y="192"/>
                  </a:lnTo>
                  <a:lnTo>
                    <a:pt x="102" y="186"/>
                  </a:lnTo>
                  <a:lnTo>
                    <a:pt x="114" y="162"/>
                  </a:lnTo>
                  <a:lnTo>
                    <a:pt x="114" y="114"/>
                  </a:lnTo>
                  <a:lnTo>
                    <a:pt x="120" y="108"/>
                  </a:lnTo>
                  <a:lnTo>
                    <a:pt x="126" y="96"/>
                  </a:lnTo>
                  <a:lnTo>
                    <a:pt x="126" y="60"/>
                  </a:lnTo>
                  <a:lnTo>
                    <a:pt x="132" y="66"/>
                  </a:lnTo>
                  <a:lnTo>
                    <a:pt x="144" y="72"/>
                  </a:lnTo>
                  <a:lnTo>
                    <a:pt x="150" y="84"/>
                  </a:lnTo>
                  <a:lnTo>
                    <a:pt x="162" y="90"/>
                  </a:lnTo>
                  <a:lnTo>
                    <a:pt x="180" y="90"/>
                  </a:lnTo>
                  <a:lnTo>
                    <a:pt x="186" y="84"/>
                  </a:lnTo>
                  <a:lnTo>
                    <a:pt x="198" y="84"/>
                  </a:lnTo>
                  <a:lnTo>
                    <a:pt x="198" y="102"/>
                  </a:lnTo>
                  <a:lnTo>
                    <a:pt x="204" y="108"/>
                  </a:lnTo>
                  <a:lnTo>
                    <a:pt x="216" y="114"/>
                  </a:lnTo>
                  <a:lnTo>
                    <a:pt x="234" y="114"/>
                  </a:lnTo>
                  <a:lnTo>
                    <a:pt x="234" y="120"/>
                  </a:lnTo>
                  <a:lnTo>
                    <a:pt x="228" y="126"/>
                  </a:lnTo>
                  <a:lnTo>
                    <a:pt x="228" y="186"/>
                  </a:lnTo>
                  <a:lnTo>
                    <a:pt x="240" y="258"/>
                  </a:lnTo>
                  <a:lnTo>
                    <a:pt x="240" y="270"/>
                  </a:lnTo>
                  <a:lnTo>
                    <a:pt x="246" y="282"/>
                  </a:lnTo>
                  <a:lnTo>
                    <a:pt x="252" y="306"/>
                  </a:lnTo>
                  <a:lnTo>
                    <a:pt x="264" y="342"/>
                  </a:lnTo>
                  <a:lnTo>
                    <a:pt x="276" y="372"/>
                  </a:lnTo>
                  <a:lnTo>
                    <a:pt x="282" y="384"/>
                  </a:lnTo>
                  <a:lnTo>
                    <a:pt x="324" y="384"/>
                  </a:lnTo>
                  <a:lnTo>
                    <a:pt x="318" y="390"/>
                  </a:lnTo>
                  <a:lnTo>
                    <a:pt x="306" y="414"/>
                  </a:lnTo>
                  <a:lnTo>
                    <a:pt x="318" y="438"/>
                  </a:lnTo>
                  <a:lnTo>
                    <a:pt x="330" y="444"/>
                  </a:lnTo>
                  <a:lnTo>
                    <a:pt x="336" y="450"/>
                  </a:lnTo>
                  <a:lnTo>
                    <a:pt x="348" y="450"/>
                  </a:lnTo>
                  <a:lnTo>
                    <a:pt x="354" y="474"/>
                  </a:lnTo>
                  <a:lnTo>
                    <a:pt x="384" y="474"/>
                  </a:lnTo>
                  <a:lnTo>
                    <a:pt x="390" y="516"/>
                  </a:lnTo>
                  <a:lnTo>
                    <a:pt x="384" y="516"/>
                  </a:lnTo>
                  <a:lnTo>
                    <a:pt x="378" y="522"/>
                  </a:lnTo>
                  <a:lnTo>
                    <a:pt x="366" y="528"/>
                  </a:lnTo>
                  <a:lnTo>
                    <a:pt x="360" y="534"/>
                  </a:lnTo>
                  <a:lnTo>
                    <a:pt x="354" y="546"/>
                  </a:lnTo>
                  <a:lnTo>
                    <a:pt x="354" y="558"/>
                  </a:lnTo>
                  <a:lnTo>
                    <a:pt x="360" y="564"/>
                  </a:lnTo>
                  <a:lnTo>
                    <a:pt x="372" y="570"/>
                  </a:lnTo>
                  <a:lnTo>
                    <a:pt x="384" y="558"/>
                  </a:lnTo>
                  <a:lnTo>
                    <a:pt x="384" y="564"/>
                  </a:lnTo>
                  <a:lnTo>
                    <a:pt x="396" y="576"/>
                  </a:lnTo>
                  <a:lnTo>
                    <a:pt x="396" y="588"/>
                  </a:lnTo>
                  <a:lnTo>
                    <a:pt x="402" y="594"/>
                  </a:lnTo>
                  <a:lnTo>
                    <a:pt x="414" y="594"/>
                  </a:lnTo>
                  <a:lnTo>
                    <a:pt x="426" y="600"/>
                  </a:lnTo>
                  <a:lnTo>
                    <a:pt x="432" y="600"/>
                  </a:lnTo>
                  <a:lnTo>
                    <a:pt x="438" y="606"/>
                  </a:lnTo>
                  <a:lnTo>
                    <a:pt x="438" y="624"/>
                  </a:lnTo>
                  <a:lnTo>
                    <a:pt x="432" y="630"/>
                  </a:lnTo>
                  <a:lnTo>
                    <a:pt x="432" y="636"/>
                  </a:lnTo>
                  <a:lnTo>
                    <a:pt x="426" y="648"/>
                  </a:lnTo>
                  <a:lnTo>
                    <a:pt x="426" y="654"/>
                  </a:lnTo>
                  <a:lnTo>
                    <a:pt x="468" y="654"/>
                  </a:lnTo>
                  <a:lnTo>
                    <a:pt x="468" y="684"/>
                  </a:lnTo>
                  <a:lnTo>
                    <a:pt x="504" y="720"/>
                  </a:lnTo>
                  <a:lnTo>
                    <a:pt x="510" y="732"/>
                  </a:lnTo>
                  <a:lnTo>
                    <a:pt x="528" y="750"/>
                  </a:lnTo>
                  <a:lnTo>
                    <a:pt x="534" y="768"/>
                  </a:lnTo>
                  <a:lnTo>
                    <a:pt x="546" y="780"/>
                  </a:lnTo>
                  <a:lnTo>
                    <a:pt x="552" y="798"/>
                  </a:lnTo>
                  <a:lnTo>
                    <a:pt x="558" y="810"/>
                  </a:lnTo>
                  <a:lnTo>
                    <a:pt x="558" y="870"/>
                  </a:lnTo>
                  <a:lnTo>
                    <a:pt x="564" y="882"/>
                  </a:lnTo>
                  <a:lnTo>
                    <a:pt x="576" y="894"/>
                  </a:lnTo>
                  <a:lnTo>
                    <a:pt x="576" y="906"/>
                  </a:lnTo>
                  <a:lnTo>
                    <a:pt x="570" y="918"/>
                  </a:lnTo>
                  <a:lnTo>
                    <a:pt x="552" y="936"/>
                  </a:lnTo>
                  <a:lnTo>
                    <a:pt x="546" y="948"/>
                  </a:lnTo>
                  <a:lnTo>
                    <a:pt x="546" y="954"/>
                  </a:lnTo>
                  <a:lnTo>
                    <a:pt x="552" y="960"/>
                  </a:lnTo>
                  <a:lnTo>
                    <a:pt x="564" y="966"/>
                  </a:lnTo>
                  <a:lnTo>
                    <a:pt x="540" y="966"/>
                  </a:lnTo>
                  <a:lnTo>
                    <a:pt x="528" y="972"/>
                  </a:lnTo>
                  <a:lnTo>
                    <a:pt x="528" y="1038"/>
                  </a:lnTo>
                  <a:lnTo>
                    <a:pt x="534" y="1056"/>
                  </a:lnTo>
                  <a:lnTo>
                    <a:pt x="540" y="1062"/>
                  </a:lnTo>
                  <a:lnTo>
                    <a:pt x="546" y="1074"/>
                  </a:lnTo>
                  <a:lnTo>
                    <a:pt x="558" y="1074"/>
                  </a:lnTo>
                  <a:lnTo>
                    <a:pt x="576" y="1080"/>
                  </a:lnTo>
                  <a:lnTo>
                    <a:pt x="600" y="1080"/>
                  </a:lnTo>
                  <a:lnTo>
                    <a:pt x="612" y="1086"/>
                  </a:lnTo>
                  <a:lnTo>
                    <a:pt x="636" y="1110"/>
                  </a:lnTo>
                  <a:lnTo>
                    <a:pt x="642" y="1122"/>
                  </a:lnTo>
                  <a:lnTo>
                    <a:pt x="648" y="1140"/>
                  </a:lnTo>
                  <a:lnTo>
                    <a:pt x="654" y="1152"/>
                  </a:lnTo>
                  <a:lnTo>
                    <a:pt x="666" y="1164"/>
                  </a:lnTo>
                  <a:lnTo>
                    <a:pt x="678" y="1170"/>
                  </a:lnTo>
                  <a:lnTo>
                    <a:pt x="732" y="1170"/>
                  </a:lnTo>
                  <a:lnTo>
                    <a:pt x="750" y="1176"/>
                  </a:lnTo>
                  <a:lnTo>
                    <a:pt x="762" y="1182"/>
                  </a:lnTo>
                  <a:lnTo>
                    <a:pt x="768" y="1188"/>
                  </a:lnTo>
                  <a:lnTo>
                    <a:pt x="774" y="1200"/>
                  </a:lnTo>
                  <a:lnTo>
                    <a:pt x="786" y="1218"/>
                  </a:lnTo>
                  <a:lnTo>
                    <a:pt x="810" y="1242"/>
                  </a:lnTo>
                  <a:lnTo>
                    <a:pt x="834" y="1254"/>
                  </a:lnTo>
                  <a:lnTo>
                    <a:pt x="870" y="1266"/>
                  </a:lnTo>
                  <a:lnTo>
                    <a:pt x="912" y="1272"/>
                  </a:lnTo>
                  <a:lnTo>
                    <a:pt x="942" y="1278"/>
                  </a:lnTo>
                  <a:lnTo>
                    <a:pt x="960" y="1290"/>
                  </a:lnTo>
                  <a:lnTo>
                    <a:pt x="966" y="1302"/>
                  </a:lnTo>
                  <a:lnTo>
                    <a:pt x="978" y="1314"/>
                  </a:lnTo>
                  <a:lnTo>
                    <a:pt x="990" y="1320"/>
                  </a:lnTo>
                  <a:lnTo>
                    <a:pt x="996" y="1320"/>
                  </a:lnTo>
                  <a:lnTo>
                    <a:pt x="1002" y="1326"/>
                  </a:lnTo>
                  <a:lnTo>
                    <a:pt x="1008" y="1338"/>
                  </a:lnTo>
                  <a:lnTo>
                    <a:pt x="1014" y="1344"/>
                  </a:lnTo>
                  <a:lnTo>
                    <a:pt x="1080" y="1344"/>
                  </a:lnTo>
                  <a:lnTo>
                    <a:pt x="1092" y="1356"/>
                  </a:lnTo>
                  <a:lnTo>
                    <a:pt x="1098" y="1368"/>
                  </a:lnTo>
                  <a:lnTo>
                    <a:pt x="1104" y="1374"/>
                  </a:lnTo>
                  <a:lnTo>
                    <a:pt x="1116" y="1374"/>
                  </a:lnTo>
                  <a:lnTo>
                    <a:pt x="1140" y="1362"/>
                  </a:lnTo>
                  <a:lnTo>
                    <a:pt x="1170" y="1350"/>
                  </a:lnTo>
                  <a:lnTo>
                    <a:pt x="1206" y="1332"/>
                  </a:lnTo>
                  <a:lnTo>
                    <a:pt x="1260" y="1314"/>
                  </a:lnTo>
                  <a:lnTo>
                    <a:pt x="1278" y="1326"/>
                  </a:lnTo>
                  <a:lnTo>
                    <a:pt x="1308" y="1350"/>
                  </a:lnTo>
                  <a:lnTo>
                    <a:pt x="1344" y="1374"/>
                  </a:lnTo>
                  <a:lnTo>
                    <a:pt x="1386" y="1416"/>
                  </a:lnTo>
                  <a:lnTo>
                    <a:pt x="1386" y="1428"/>
                  </a:lnTo>
                  <a:lnTo>
                    <a:pt x="1392" y="1446"/>
                  </a:lnTo>
                  <a:lnTo>
                    <a:pt x="1398" y="1458"/>
                  </a:lnTo>
                  <a:lnTo>
                    <a:pt x="1416" y="1458"/>
                  </a:lnTo>
                  <a:lnTo>
                    <a:pt x="1422" y="1452"/>
                  </a:lnTo>
                  <a:lnTo>
                    <a:pt x="1422" y="144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07" name="Malta" descr="© INSCALE GmbH, 05.05.2010&#10;http://www.presentationload.com/">
              <a:extLst>
                <a:ext uri="{FF2B5EF4-FFF2-40B4-BE49-F238E27FC236}">
                  <a16:creationId xmlns:a16="http://schemas.microsoft.com/office/drawing/2014/main" id="{9644CF08-0E76-43C5-8625-EDEA0494D508}"/>
                </a:ext>
              </a:extLst>
            </p:cNvPr>
            <p:cNvSpPr>
              <a:spLocks/>
            </p:cNvSpPr>
            <p:nvPr/>
          </p:nvSpPr>
          <p:spPr bwMode="gray">
            <a:xfrm>
              <a:off x="4521365" y="3092292"/>
              <a:ext cx="12544" cy="10977"/>
            </a:xfrm>
            <a:custGeom>
              <a:avLst/>
              <a:gdLst>
                <a:gd name="T0" fmla="*/ 2147483647 w 30"/>
                <a:gd name="T1" fmla="*/ 2147483647 h 30"/>
                <a:gd name="T2" fmla="*/ 2147483647 w 30"/>
                <a:gd name="T3" fmla="*/ 2147483647 h 30"/>
                <a:gd name="T4" fmla="*/ 2147483647 w 30"/>
                <a:gd name="T5" fmla="*/ 2147483647 h 30"/>
                <a:gd name="T6" fmla="*/ 2147483647 w 30"/>
                <a:gd name="T7" fmla="*/ 0 h 30"/>
                <a:gd name="T8" fmla="*/ 2147483647 w 30"/>
                <a:gd name="T9" fmla="*/ 0 h 30"/>
                <a:gd name="T10" fmla="*/ 0 w 30"/>
                <a:gd name="T11" fmla="*/ 2147483647 h 30"/>
                <a:gd name="T12" fmla="*/ 0 w 30"/>
                <a:gd name="T13" fmla="*/ 2147483647 h 30"/>
                <a:gd name="T14" fmla="*/ 2147483647 w 30"/>
                <a:gd name="T15" fmla="*/ 2147483647 h 30"/>
                <a:gd name="T16" fmla="*/ 2147483647 w 30"/>
                <a:gd name="T17" fmla="*/ 2147483647 h 30"/>
                <a:gd name="T18" fmla="*/ 2147483647 w 30"/>
                <a:gd name="T19" fmla="*/ 2147483647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30"/>
                <a:gd name="T32" fmla="*/ 30 w 30"/>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30">
                  <a:moveTo>
                    <a:pt x="24" y="30"/>
                  </a:moveTo>
                  <a:lnTo>
                    <a:pt x="30" y="24"/>
                  </a:lnTo>
                  <a:lnTo>
                    <a:pt x="30" y="12"/>
                  </a:lnTo>
                  <a:lnTo>
                    <a:pt x="18" y="0"/>
                  </a:lnTo>
                  <a:lnTo>
                    <a:pt x="6" y="0"/>
                  </a:lnTo>
                  <a:lnTo>
                    <a:pt x="0" y="6"/>
                  </a:lnTo>
                  <a:lnTo>
                    <a:pt x="0" y="18"/>
                  </a:lnTo>
                  <a:lnTo>
                    <a:pt x="6" y="24"/>
                  </a:lnTo>
                  <a:lnTo>
                    <a:pt x="18" y="30"/>
                  </a:lnTo>
                  <a:lnTo>
                    <a:pt x="24" y="3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08" name="Mauritanien" descr="© INSCALE GmbH, 05.05.2010&#10;http://www.presentationload.com/">
              <a:extLst>
                <a:ext uri="{FF2B5EF4-FFF2-40B4-BE49-F238E27FC236}">
                  <a16:creationId xmlns:a16="http://schemas.microsoft.com/office/drawing/2014/main" id="{EB210FE1-165D-4B8E-B485-DBC7B033C3CF}"/>
                </a:ext>
              </a:extLst>
            </p:cNvPr>
            <p:cNvSpPr>
              <a:spLocks/>
            </p:cNvSpPr>
            <p:nvPr/>
          </p:nvSpPr>
          <p:spPr bwMode="gray">
            <a:xfrm>
              <a:off x="3662088" y="3380808"/>
              <a:ext cx="341829" cy="399846"/>
            </a:xfrm>
            <a:custGeom>
              <a:avLst/>
              <a:gdLst>
                <a:gd name="T0" fmla="*/ 2147483647 w 858"/>
                <a:gd name="T1" fmla="*/ 2147483647 h 1002"/>
                <a:gd name="T2" fmla="*/ 2147483647 w 858"/>
                <a:gd name="T3" fmla="*/ 2147483647 h 1002"/>
                <a:gd name="T4" fmla="*/ 2147483647 w 858"/>
                <a:gd name="T5" fmla="*/ 2147483647 h 1002"/>
                <a:gd name="T6" fmla="*/ 2147483647 w 858"/>
                <a:gd name="T7" fmla="*/ 2147483647 h 1002"/>
                <a:gd name="T8" fmla="*/ 2147483647 w 858"/>
                <a:gd name="T9" fmla="*/ 2147483647 h 1002"/>
                <a:gd name="T10" fmla="*/ 2147483647 w 858"/>
                <a:gd name="T11" fmla="*/ 2147483647 h 1002"/>
                <a:gd name="T12" fmla="*/ 2147483647 w 858"/>
                <a:gd name="T13" fmla="*/ 2147483647 h 1002"/>
                <a:gd name="T14" fmla="*/ 2147483647 w 858"/>
                <a:gd name="T15" fmla="*/ 2147483647 h 1002"/>
                <a:gd name="T16" fmla="*/ 2147483647 w 858"/>
                <a:gd name="T17" fmla="*/ 2147483647 h 1002"/>
                <a:gd name="T18" fmla="*/ 2147483647 w 858"/>
                <a:gd name="T19" fmla="*/ 2147483647 h 1002"/>
                <a:gd name="T20" fmla="*/ 2147483647 w 858"/>
                <a:gd name="T21" fmla="*/ 2147483647 h 1002"/>
                <a:gd name="T22" fmla="*/ 2147483647 w 858"/>
                <a:gd name="T23" fmla="*/ 2147483647 h 1002"/>
                <a:gd name="T24" fmla="*/ 2147483647 w 858"/>
                <a:gd name="T25" fmla="*/ 2147483647 h 1002"/>
                <a:gd name="T26" fmla="*/ 2147483647 w 858"/>
                <a:gd name="T27" fmla="*/ 2147483647 h 1002"/>
                <a:gd name="T28" fmla="*/ 2147483647 w 858"/>
                <a:gd name="T29" fmla="*/ 2147483647 h 1002"/>
                <a:gd name="T30" fmla="*/ 2147483647 w 858"/>
                <a:gd name="T31" fmla="*/ 2147483647 h 1002"/>
                <a:gd name="T32" fmla="*/ 2147483647 w 858"/>
                <a:gd name="T33" fmla="*/ 2147483647 h 1002"/>
                <a:gd name="T34" fmla="*/ 2147483647 w 858"/>
                <a:gd name="T35" fmla="*/ 2147483647 h 1002"/>
                <a:gd name="T36" fmla="*/ 2147483647 w 858"/>
                <a:gd name="T37" fmla="*/ 2147483647 h 1002"/>
                <a:gd name="T38" fmla="*/ 2147483647 w 858"/>
                <a:gd name="T39" fmla="*/ 2147483647 h 1002"/>
                <a:gd name="T40" fmla="*/ 2147483647 w 858"/>
                <a:gd name="T41" fmla="*/ 2147483647 h 1002"/>
                <a:gd name="T42" fmla="*/ 2147483647 w 858"/>
                <a:gd name="T43" fmla="*/ 2147483647 h 1002"/>
                <a:gd name="T44" fmla="*/ 2147483647 w 858"/>
                <a:gd name="T45" fmla="*/ 2147483647 h 1002"/>
                <a:gd name="T46" fmla="*/ 2147483647 w 858"/>
                <a:gd name="T47" fmla="*/ 2147483647 h 1002"/>
                <a:gd name="T48" fmla="*/ 2147483647 w 858"/>
                <a:gd name="T49" fmla="*/ 2147483647 h 1002"/>
                <a:gd name="T50" fmla="*/ 2147483647 w 858"/>
                <a:gd name="T51" fmla="*/ 2147483647 h 1002"/>
                <a:gd name="T52" fmla="*/ 2147483647 w 858"/>
                <a:gd name="T53" fmla="*/ 2147483647 h 1002"/>
                <a:gd name="T54" fmla="*/ 2147483647 w 858"/>
                <a:gd name="T55" fmla="*/ 2147483647 h 1002"/>
                <a:gd name="T56" fmla="*/ 2147483647 w 858"/>
                <a:gd name="T57" fmla="*/ 2147483647 h 1002"/>
                <a:gd name="T58" fmla="*/ 2147483647 w 858"/>
                <a:gd name="T59" fmla="*/ 2147483647 h 1002"/>
                <a:gd name="T60" fmla="*/ 2147483647 w 858"/>
                <a:gd name="T61" fmla="*/ 2147483647 h 1002"/>
                <a:gd name="T62" fmla="*/ 2147483647 w 858"/>
                <a:gd name="T63" fmla="*/ 2147483647 h 1002"/>
                <a:gd name="T64" fmla="*/ 2147483647 w 858"/>
                <a:gd name="T65" fmla="*/ 2147483647 h 1002"/>
                <a:gd name="T66" fmla="*/ 2147483647 w 858"/>
                <a:gd name="T67" fmla="*/ 2147483647 h 1002"/>
                <a:gd name="T68" fmla="*/ 2147483647 w 858"/>
                <a:gd name="T69" fmla="*/ 2147483647 h 1002"/>
                <a:gd name="T70" fmla="*/ 2147483647 w 858"/>
                <a:gd name="T71" fmla="*/ 2147483647 h 1002"/>
                <a:gd name="T72" fmla="*/ 2147483647 w 858"/>
                <a:gd name="T73" fmla="*/ 2147483647 h 1002"/>
                <a:gd name="T74" fmla="*/ 2147483647 w 858"/>
                <a:gd name="T75" fmla="*/ 2147483647 h 1002"/>
                <a:gd name="T76" fmla="*/ 2147483647 w 858"/>
                <a:gd name="T77" fmla="*/ 2147483647 h 1002"/>
                <a:gd name="T78" fmla="*/ 2147483647 w 858"/>
                <a:gd name="T79" fmla="*/ 2147483647 h 1002"/>
                <a:gd name="T80" fmla="*/ 2147483647 w 858"/>
                <a:gd name="T81" fmla="*/ 2147483647 h 1002"/>
                <a:gd name="T82" fmla="*/ 2147483647 w 858"/>
                <a:gd name="T83" fmla="*/ 2147483647 h 1002"/>
                <a:gd name="T84" fmla="*/ 2147483647 w 858"/>
                <a:gd name="T85" fmla="*/ 2147483647 h 1002"/>
                <a:gd name="T86" fmla="*/ 2147483647 w 858"/>
                <a:gd name="T87" fmla="*/ 2147483647 h 1002"/>
                <a:gd name="T88" fmla="*/ 2147483647 w 858"/>
                <a:gd name="T89" fmla="*/ 2147483647 h 1002"/>
                <a:gd name="T90" fmla="*/ 2147483647 w 858"/>
                <a:gd name="T91" fmla="*/ 2147483647 h 1002"/>
                <a:gd name="T92" fmla="*/ 2147483647 w 858"/>
                <a:gd name="T93" fmla="*/ 2147483647 h 1002"/>
                <a:gd name="T94" fmla="*/ 2147483647 w 858"/>
                <a:gd name="T95" fmla="*/ 2147483647 h 1002"/>
                <a:gd name="T96" fmla="*/ 2147483647 w 858"/>
                <a:gd name="T97" fmla="*/ 2147483647 h 1002"/>
                <a:gd name="T98" fmla="*/ 0 w 858"/>
                <a:gd name="T99" fmla="*/ 2147483647 h 10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8"/>
                <a:gd name="T151" fmla="*/ 0 h 1002"/>
                <a:gd name="T152" fmla="*/ 858 w 858"/>
                <a:gd name="T153" fmla="*/ 1002 h 10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8" h="1002">
                  <a:moveTo>
                    <a:pt x="0" y="498"/>
                  </a:moveTo>
                  <a:lnTo>
                    <a:pt x="18" y="498"/>
                  </a:lnTo>
                  <a:lnTo>
                    <a:pt x="18" y="528"/>
                  </a:lnTo>
                  <a:lnTo>
                    <a:pt x="24" y="534"/>
                  </a:lnTo>
                  <a:lnTo>
                    <a:pt x="30" y="534"/>
                  </a:lnTo>
                  <a:lnTo>
                    <a:pt x="30" y="528"/>
                  </a:lnTo>
                  <a:lnTo>
                    <a:pt x="36" y="522"/>
                  </a:lnTo>
                  <a:lnTo>
                    <a:pt x="48" y="558"/>
                  </a:lnTo>
                  <a:lnTo>
                    <a:pt x="42" y="600"/>
                  </a:lnTo>
                  <a:lnTo>
                    <a:pt x="30" y="600"/>
                  </a:lnTo>
                  <a:lnTo>
                    <a:pt x="36" y="624"/>
                  </a:lnTo>
                  <a:lnTo>
                    <a:pt x="24" y="630"/>
                  </a:lnTo>
                  <a:lnTo>
                    <a:pt x="30" y="642"/>
                  </a:lnTo>
                  <a:lnTo>
                    <a:pt x="36" y="648"/>
                  </a:lnTo>
                  <a:lnTo>
                    <a:pt x="48" y="666"/>
                  </a:lnTo>
                  <a:lnTo>
                    <a:pt x="60" y="690"/>
                  </a:lnTo>
                  <a:lnTo>
                    <a:pt x="60" y="720"/>
                  </a:lnTo>
                  <a:lnTo>
                    <a:pt x="54" y="738"/>
                  </a:lnTo>
                  <a:lnTo>
                    <a:pt x="54" y="750"/>
                  </a:lnTo>
                  <a:lnTo>
                    <a:pt x="48" y="756"/>
                  </a:lnTo>
                  <a:lnTo>
                    <a:pt x="48" y="804"/>
                  </a:lnTo>
                  <a:lnTo>
                    <a:pt x="42" y="816"/>
                  </a:lnTo>
                  <a:lnTo>
                    <a:pt x="30" y="822"/>
                  </a:lnTo>
                  <a:lnTo>
                    <a:pt x="24" y="840"/>
                  </a:lnTo>
                  <a:lnTo>
                    <a:pt x="18" y="852"/>
                  </a:lnTo>
                  <a:lnTo>
                    <a:pt x="18" y="864"/>
                  </a:lnTo>
                  <a:lnTo>
                    <a:pt x="12" y="876"/>
                  </a:lnTo>
                  <a:lnTo>
                    <a:pt x="12" y="906"/>
                  </a:lnTo>
                  <a:lnTo>
                    <a:pt x="18" y="900"/>
                  </a:lnTo>
                  <a:lnTo>
                    <a:pt x="36" y="864"/>
                  </a:lnTo>
                  <a:lnTo>
                    <a:pt x="42" y="858"/>
                  </a:lnTo>
                  <a:lnTo>
                    <a:pt x="54" y="852"/>
                  </a:lnTo>
                  <a:lnTo>
                    <a:pt x="60" y="852"/>
                  </a:lnTo>
                  <a:lnTo>
                    <a:pt x="66" y="858"/>
                  </a:lnTo>
                  <a:lnTo>
                    <a:pt x="72" y="858"/>
                  </a:lnTo>
                  <a:lnTo>
                    <a:pt x="84" y="852"/>
                  </a:lnTo>
                  <a:lnTo>
                    <a:pt x="114" y="858"/>
                  </a:lnTo>
                  <a:lnTo>
                    <a:pt x="114" y="840"/>
                  </a:lnTo>
                  <a:lnTo>
                    <a:pt x="138" y="852"/>
                  </a:lnTo>
                  <a:lnTo>
                    <a:pt x="162" y="852"/>
                  </a:lnTo>
                  <a:lnTo>
                    <a:pt x="174" y="858"/>
                  </a:lnTo>
                  <a:lnTo>
                    <a:pt x="180" y="858"/>
                  </a:lnTo>
                  <a:lnTo>
                    <a:pt x="186" y="870"/>
                  </a:lnTo>
                  <a:lnTo>
                    <a:pt x="198" y="882"/>
                  </a:lnTo>
                  <a:lnTo>
                    <a:pt x="204" y="894"/>
                  </a:lnTo>
                  <a:lnTo>
                    <a:pt x="216" y="888"/>
                  </a:lnTo>
                  <a:lnTo>
                    <a:pt x="234" y="888"/>
                  </a:lnTo>
                  <a:lnTo>
                    <a:pt x="240" y="894"/>
                  </a:lnTo>
                  <a:lnTo>
                    <a:pt x="240" y="900"/>
                  </a:lnTo>
                  <a:lnTo>
                    <a:pt x="246" y="912"/>
                  </a:lnTo>
                  <a:lnTo>
                    <a:pt x="246" y="942"/>
                  </a:lnTo>
                  <a:lnTo>
                    <a:pt x="264" y="942"/>
                  </a:lnTo>
                  <a:lnTo>
                    <a:pt x="270" y="948"/>
                  </a:lnTo>
                  <a:lnTo>
                    <a:pt x="270" y="972"/>
                  </a:lnTo>
                  <a:lnTo>
                    <a:pt x="300" y="978"/>
                  </a:lnTo>
                  <a:lnTo>
                    <a:pt x="312" y="1002"/>
                  </a:lnTo>
                  <a:lnTo>
                    <a:pt x="330" y="1002"/>
                  </a:lnTo>
                  <a:lnTo>
                    <a:pt x="342" y="996"/>
                  </a:lnTo>
                  <a:lnTo>
                    <a:pt x="348" y="996"/>
                  </a:lnTo>
                  <a:lnTo>
                    <a:pt x="348" y="948"/>
                  </a:lnTo>
                  <a:lnTo>
                    <a:pt x="360" y="936"/>
                  </a:lnTo>
                  <a:lnTo>
                    <a:pt x="378" y="936"/>
                  </a:lnTo>
                  <a:lnTo>
                    <a:pt x="402" y="960"/>
                  </a:lnTo>
                  <a:lnTo>
                    <a:pt x="408" y="972"/>
                  </a:lnTo>
                  <a:lnTo>
                    <a:pt x="420" y="948"/>
                  </a:lnTo>
                  <a:lnTo>
                    <a:pt x="456" y="948"/>
                  </a:lnTo>
                  <a:lnTo>
                    <a:pt x="462" y="954"/>
                  </a:lnTo>
                  <a:lnTo>
                    <a:pt x="492" y="954"/>
                  </a:lnTo>
                  <a:lnTo>
                    <a:pt x="504" y="948"/>
                  </a:lnTo>
                  <a:lnTo>
                    <a:pt x="510" y="948"/>
                  </a:lnTo>
                  <a:lnTo>
                    <a:pt x="510" y="936"/>
                  </a:lnTo>
                  <a:lnTo>
                    <a:pt x="516" y="930"/>
                  </a:lnTo>
                  <a:lnTo>
                    <a:pt x="522" y="930"/>
                  </a:lnTo>
                  <a:lnTo>
                    <a:pt x="522" y="942"/>
                  </a:lnTo>
                  <a:lnTo>
                    <a:pt x="786" y="942"/>
                  </a:lnTo>
                  <a:lnTo>
                    <a:pt x="798" y="900"/>
                  </a:lnTo>
                  <a:lnTo>
                    <a:pt x="804" y="894"/>
                  </a:lnTo>
                  <a:lnTo>
                    <a:pt x="804" y="882"/>
                  </a:lnTo>
                  <a:lnTo>
                    <a:pt x="786" y="864"/>
                  </a:lnTo>
                  <a:lnTo>
                    <a:pt x="780" y="864"/>
                  </a:lnTo>
                  <a:lnTo>
                    <a:pt x="738" y="174"/>
                  </a:lnTo>
                  <a:lnTo>
                    <a:pt x="858" y="180"/>
                  </a:lnTo>
                  <a:lnTo>
                    <a:pt x="600" y="0"/>
                  </a:lnTo>
                  <a:lnTo>
                    <a:pt x="594" y="48"/>
                  </a:lnTo>
                  <a:lnTo>
                    <a:pt x="588" y="54"/>
                  </a:lnTo>
                  <a:lnTo>
                    <a:pt x="588" y="90"/>
                  </a:lnTo>
                  <a:lnTo>
                    <a:pt x="366" y="96"/>
                  </a:lnTo>
                  <a:lnTo>
                    <a:pt x="366" y="108"/>
                  </a:lnTo>
                  <a:lnTo>
                    <a:pt x="354" y="114"/>
                  </a:lnTo>
                  <a:lnTo>
                    <a:pt x="354" y="306"/>
                  </a:lnTo>
                  <a:lnTo>
                    <a:pt x="348" y="312"/>
                  </a:lnTo>
                  <a:lnTo>
                    <a:pt x="336" y="318"/>
                  </a:lnTo>
                  <a:lnTo>
                    <a:pt x="306" y="318"/>
                  </a:lnTo>
                  <a:lnTo>
                    <a:pt x="282" y="330"/>
                  </a:lnTo>
                  <a:lnTo>
                    <a:pt x="276" y="342"/>
                  </a:lnTo>
                  <a:lnTo>
                    <a:pt x="276" y="360"/>
                  </a:lnTo>
                  <a:lnTo>
                    <a:pt x="282" y="372"/>
                  </a:lnTo>
                  <a:lnTo>
                    <a:pt x="276" y="474"/>
                  </a:lnTo>
                  <a:lnTo>
                    <a:pt x="0" y="474"/>
                  </a:lnTo>
                  <a:lnTo>
                    <a:pt x="0" y="498"/>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09" name="Mali" descr="© INSCALE GmbH, 05.05.2010&#10;http://www.presentationload.com/">
              <a:extLst>
                <a:ext uri="{FF2B5EF4-FFF2-40B4-BE49-F238E27FC236}">
                  <a16:creationId xmlns:a16="http://schemas.microsoft.com/office/drawing/2014/main" id="{8C836AD8-3A96-4F80-82F7-7BEF5FAB656A}"/>
                </a:ext>
              </a:extLst>
            </p:cNvPr>
            <p:cNvSpPr>
              <a:spLocks/>
            </p:cNvSpPr>
            <p:nvPr/>
          </p:nvSpPr>
          <p:spPr bwMode="gray">
            <a:xfrm>
              <a:off x="3787530" y="3449801"/>
              <a:ext cx="460999" cy="478248"/>
            </a:xfrm>
            <a:custGeom>
              <a:avLst/>
              <a:gdLst>
                <a:gd name="T0" fmla="*/ 2147483647 w 1164"/>
                <a:gd name="T1" fmla="*/ 2147483647 h 1200"/>
                <a:gd name="T2" fmla="*/ 2147483647 w 1164"/>
                <a:gd name="T3" fmla="*/ 2147483647 h 1200"/>
                <a:gd name="T4" fmla="*/ 2147483647 w 1164"/>
                <a:gd name="T5" fmla="*/ 2147483647 h 1200"/>
                <a:gd name="T6" fmla="*/ 2147483647 w 1164"/>
                <a:gd name="T7" fmla="*/ 2147483647 h 1200"/>
                <a:gd name="T8" fmla="*/ 2147483647 w 1164"/>
                <a:gd name="T9" fmla="*/ 2147483647 h 1200"/>
                <a:gd name="T10" fmla="*/ 2147483647 w 1164"/>
                <a:gd name="T11" fmla="*/ 2147483647 h 1200"/>
                <a:gd name="T12" fmla="*/ 2147483647 w 1164"/>
                <a:gd name="T13" fmla="*/ 2147483647 h 1200"/>
                <a:gd name="T14" fmla="*/ 2147483647 w 1164"/>
                <a:gd name="T15" fmla="*/ 2147483647 h 1200"/>
                <a:gd name="T16" fmla="*/ 2147483647 w 1164"/>
                <a:gd name="T17" fmla="*/ 2147483647 h 1200"/>
                <a:gd name="T18" fmla="*/ 2147483647 w 1164"/>
                <a:gd name="T19" fmla="*/ 2147483647 h 1200"/>
                <a:gd name="T20" fmla="*/ 2147483647 w 1164"/>
                <a:gd name="T21" fmla="*/ 2147483647 h 1200"/>
                <a:gd name="T22" fmla="*/ 2147483647 w 1164"/>
                <a:gd name="T23" fmla="*/ 2147483647 h 1200"/>
                <a:gd name="T24" fmla="*/ 2147483647 w 1164"/>
                <a:gd name="T25" fmla="*/ 2147483647 h 1200"/>
                <a:gd name="T26" fmla="*/ 2147483647 w 1164"/>
                <a:gd name="T27" fmla="*/ 2147483647 h 1200"/>
                <a:gd name="T28" fmla="*/ 2147483647 w 1164"/>
                <a:gd name="T29" fmla="*/ 2147483647 h 1200"/>
                <a:gd name="T30" fmla="*/ 2147483647 w 1164"/>
                <a:gd name="T31" fmla="*/ 2147483647 h 1200"/>
                <a:gd name="T32" fmla="*/ 2147483647 w 1164"/>
                <a:gd name="T33" fmla="*/ 2147483647 h 1200"/>
                <a:gd name="T34" fmla="*/ 2147483647 w 1164"/>
                <a:gd name="T35" fmla="*/ 2147483647 h 1200"/>
                <a:gd name="T36" fmla="*/ 2147483647 w 1164"/>
                <a:gd name="T37" fmla="*/ 2147483647 h 1200"/>
                <a:gd name="T38" fmla="*/ 2147483647 w 1164"/>
                <a:gd name="T39" fmla="*/ 2147483647 h 1200"/>
                <a:gd name="T40" fmla="*/ 2147483647 w 1164"/>
                <a:gd name="T41" fmla="*/ 2147483647 h 1200"/>
                <a:gd name="T42" fmla="*/ 2147483647 w 1164"/>
                <a:gd name="T43" fmla="*/ 2147483647 h 1200"/>
                <a:gd name="T44" fmla="*/ 2147483647 w 1164"/>
                <a:gd name="T45" fmla="*/ 2147483647 h 1200"/>
                <a:gd name="T46" fmla="*/ 2147483647 w 1164"/>
                <a:gd name="T47" fmla="*/ 2147483647 h 1200"/>
                <a:gd name="T48" fmla="*/ 2147483647 w 1164"/>
                <a:gd name="T49" fmla="*/ 2147483647 h 1200"/>
                <a:gd name="T50" fmla="*/ 2147483647 w 1164"/>
                <a:gd name="T51" fmla="*/ 2147483647 h 1200"/>
                <a:gd name="T52" fmla="*/ 2147483647 w 1164"/>
                <a:gd name="T53" fmla="*/ 2147483647 h 1200"/>
                <a:gd name="T54" fmla="*/ 0 w 1164"/>
                <a:gd name="T55" fmla="*/ 2147483647 h 1200"/>
                <a:gd name="T56" fmla="*/ 2147483647 w 1164"/>
                <a:gd name="T57" fmla="*/ 2147483647 h 1200"/>
                <a:gd name="T58" fmla="*/ 2147483647 w 1164"/>
                <a:gd name="T59" fmla="*/ 2147483647 h 1200"/>
                <a:gd name="T60" fmla="*/ 2147483647 w 1164"/>
                <a:gd name="T61" fmla="*/ 2147483647 h 1200"/>
                <a:gd name="T62" fmla="*/ 2147483647 w 1164"/>
                <a:gd name="T63" fmla="*/ 2147483647 h 1200"/>
                <a:gd name="T64" fmla="*/ 2147483647 w 1164"/>
                <a:gd name="T65" fmla="*/ 2147483647 h 1200"/>
                <a:gd name="T66" fmla="*/ 2147483647 w 1164"/>
                <a:gd name="T67" fmla="*/ 2147483647 h 1200"/>
                <a:gd name="T68" fmla="*/ 2147483647 w 1164"/>
                <a:gd name="T69" fmla="*/ 2147483647 h 1200"/>
                <a:gd name="T70" fmla="*/ 2147483647 w 1164"/>
                <a:gd name="T71" fmla="*/ 2147483647 h 1200"/>
                <a:gd name="T72" fmla="*/ 2147483647 w 1164"/>
                <a:gd name="T73" fmla="*/ 2147483647 h 1200"/>
                <a:gd name="T74" fmla="*/ 2147483647 w 1164"/>
                <a:gd name="T75" fmla="*/ 2147483647 h 1200"/>
                <a:gd name="T76" fmla="*/ 2147483647 w 1164"/>
                <a:gd name="T77" fmla="*/ 2147483647 h 1200"/>
                <a:gd name="T78" fmla="*/ 2147483647 w 1164"/>
                <a:gd name="T79" fmla="*/ 2147483647 h 1200"/>
                <a:gd name="T80" fmla="*/ 2147483647 w 1164"/>
                <a:gd name="T81" fmla="*/ 2147483647 h 1200"/>
                <a:gd name="T82" fmla="*/ 2147483647 w 1164"/>
                <a:gd name="T83" fmla="*/ 2147483647 h 1200"/>
                <a:gd name="T84" fmla="*/ 2147483647 w 1164"/>
                <a:gd name="T85" fmla="*/ 2147483647 h 1200"/>
                <a:gd name="T86" fmla="*/ 2147483647 w 1164"/>
                <a:gd name="T87" fmla="*/ 2147483647 h 1200"/>
                <a:gd name="T88" fmla="*/ 2147483647 w 1164"/>
                <a:gd name="T89" fmla="*/ 2147483647 h 1200"/>
                <a:gd name="T90" fmla="*/ 2147483647 w 1164"/>
                <a:gd name="T91" fmla="*/ 2147483647 h 1200"/>
                <a:gd name="T92" fmla="*/ 2147483647 w 1164"/>
                <a:gd name="T93" fmla="*/ 2147483647 h 1200"/>
                <a:gd name="T94" fmla="*/ 2147483647 w 1164"/>
                <a:gd name="T95" fmla="*/ 2147483647 h 1200"/>
                <a:gd name="T96" fmla="*/ 2147483647 w 1164"/>
                <a:gd name="T97" fmla="*/ 2147483647 h 1200"/>
                <a:gd name="T98" fmla="*/ 2147483647 w 1164"/>
                <a:gd name="T99" fmla="*/ 2147483647 h 1200"/>
                <a:gd name="T100" fmla="*/ 2147483647 w 1164"/>
                <a:gd name="T101" fmla="*/ 2147483647 h 1200"/>
                <a:gd name="T102" fmla="*/ 2147483647 w 1164"/>
                <a:gd name="T103" fmla="*/ 2147483647 h 1200"/>
                <a:gd name="T104" fmla="*/ 2147483647 w 1164"/>
                <a:gd name="T105" fmla="*/ 2147483647 h 1200"/>
                <a:gd name="T106" fmla="*/ 2147483647 w 1164"/>
                <a:gd name="T107" fmla="*/ 2147483647 h 12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64"/>
                <a:gd name="T163" fmla="*/ 0 h 1200"/>
                <a:gd name="T164" fmla="*/ 1164 w 1164"/>
                <a:gd name="T165" fmla="*/ 1200 h 12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64" h="1200">
                  <a:moveTo>
                    <a:pt x="612" y="954"/>
                  </a:moveTo>
                  <a:lnTo>
                    <a:pt x="636" y="948"/>
                  </a:lnTo>
                  <a:lnTo>
                    <a:pt x="636" y="912"/>
                  </a:lnTo>
                  <a:lnTo>
                    <a:pt x="654" y="912"/>
                  </a:lnTo>
                  <a:lnTo>
                    <a:pt x="654" y="906"/>
                  </a:lnTo>
                  <a:lnTo>
                    <a:pt x="660" y="900"/>
                  </a:lnTo>
                  <a:lnTo>
                    <a:pt x="666" y="888"/>
                  </a:lnTo>
                  <a:lnTo>
                    <a:pt x="678" y="882"/>
                  </a:lnTo>
                  <a:lnTo>
                    <a:pt x="684" y="870"/>
                  </a:lnTo>
                  <a:lnTo>
                    <a:pt x="690" y="864"/>
                  </a:lnTo>
                  <a:lnTo>
                    <a:pt x="696" y="864"/>
                  </a:lnTo>
                  <a:lnTo>
                    <a:pt x="708" y="876"/>
                  </a:lnTo>
                  <a:lnTo>
                    <a:pt x="720" y="876"/>
                  </a:lnTo>
                  <a:lnTo>
                    <a:pt x="720" y="870"/>
                  </a:lnTo>
                  <a:lnTo>
                    <a:pt x="726" y="864"/>
                  </a:lnTo>
                  <a:lnTo>
                    <a:pt x="726" y="846"/>
                  </a:lnTo>
                  <a:lnTo>
                    <a:pt x="750" y="846"/>
                  </a:lnTo>
                  <a:lnTo>
                    <a:pt x="768" y="822"/>
                  </a:lnTo>
                  <a:lnTo>
                    <a:pt x="792" y="822"/>
                  </a:lnTo>
                  <a:lnTo>
                    <a:pt x="810" y="804"/>
                  </a:lnTo>
                  <a:lnTo>
                    <a:pt x="858" y="804"/>
                  </a:lnTo>
                  <a:lnTo>
                    <a:pt x="882" y="816"/>
                  </a:lnTo>
                  <a:lnTo>
                    <a:pt x="930" y="804"/>
                  </a:lnTo>
                  <a:lnTo>
                    <a:pt x="954" y="786"/>
                  </a:lnTo>
                  <a:lnTo>
                    <a:pt x="1020" y="792"/>
                  </a:lnTo>
                  <a:lnTo>
                    <a:pt x="1020" y="774"/>
                  </a:lnTo>
                  <a:lnTo>
                    <a:pt x="1068" y="780"/>
                  </a:lnTo>
                  <a:lnTo>
                    <a:pt x="1080" y="774"/>
                  </a:lnTo>
                  <a:lnTo>
                    <a:pt x="1104" y="774"/>
                  </a:lnTo>
                  <a:lnTo>
                    <a:pt x="1122" y="768"/>
                  </a:lnTo>
                  <a:lnTo>
                    <a:pt x="1134" y="762"/>
                  </a:lnTo>
                  <a:lnTo>
                    <a:pt x="1140" y="750"/>
                  </a:lnTo>
                  <a:lnTo>
                    <a:pt x="1140" y="732"/>
                  </a:lnTo>
                  <a:lnTo>
                    <a:pt x="1146" y="720"/>
                  </a:lnTo>
                  <a:lnTo>
                    <a:pt x="1146" y="708"/>
                  </a:lnTo>
                  <a:lnTo>
                    <a:pt x="1164" y="684"/>
                  </a:lnTo>
                  <a:lnTo>
                    <a:pt x="1164" y="480"/>
                  </a:lnTo>
                  <a:lnTo>
                    <a:pt x="1140" y="480"/>
                  </a:lnTo>
                  <a:lnTo>
                    <a:pt x="1134" y="486"/>
                  </a:lnTo>
                  <a:lnTo>
                    <a:pt x="1104" y="486"/>
                  </a:lnTo>
                  <a:lnTo>
                    <a:pt x="1092" y="480"/>
                  </a:lnTo>
                  <a:lnTo>
                    <a:pt x="1086" y="474"/>
                  </a:lnTo>
                  <a:lnTo>
                    <a:pt x="1086" y="468"/>
                  </a:lnTo>
                  <a:lnTo>
                    <a:pt x="1104" y="450"/>
                  </a:lnTo>
                  <a:lnTo>
                    <a:pt x="1104" y="432"/>
                  </a:lnTo>
                  <a:lnTo>
                    <a:pt x="1092" y="408"/>
                  </a:lnTo>
                  <a:lnTo>
                    <a:pt x="1080" y="402"/>
                  </a:lnTo>
                  <a:lnTo>
                    <a:pt x="1050" y="402"/>
                  </a:lnTo>
                  <a:lnTo>
                    <a:pt x="1044" y="408"/>
                  </a:lnTo>
                  <a:lnTo>
                    <a:pt x="1038" y="408"/>
                  </a:lnTo>
                  <a:lnTo>
                    <a:pt x="1032" y="378"/>
                  </a:lnTo>
                  <a:lnTo>
                    <a:pt x="996" y="378"/>
                  </a:lnTo>
                  <a:lnTo>
                    <a:pt x="984" y="366"/>
                  </a:lnTo>
                  <a:lnTo>
                    <a:pt x="984" y="348"/>
                  </a:lnTo>
                  <a:lnTo>
                    <a:pt x="978" y="342"/>
                  </a:lnTo>
                  <a:lnTo>
                    <a:pt x="954" y="342"/>
                  </a:lnTo>
                  <a:lnTo>
                    <a:pt x="954" y="318"/>
                  </a:lnTo>
                  <a:lnTo>
                    <a:pt x="546" y="6"/>
                  </a:lnTo>
                  <a:lnTo>
                    <a:pt x="426" y="0"/>
                  </a:lnTo>
                  <a:lnTo>
                    <a:pt x="468" y="690"/>
                  </a:lnTo>
                  <a:lnTo>
                    <a:pt x="474" y="690"/>
                  </a:lnTo>
                  <a:lnTo>
                    <a:pt x="492" y="708"/>
                  </a:lnTo>
                  <a:lnTo>
                    <a:pt x="492" y="720"/>
                  </a:lnTo>
                  <a:lnTo>
                    <a:pt x="486" y="726"/>
                  </a:lnTo>
                  <a:lnTo>
                    <a:pt x="474" y="768"/>
                  </a:lnTo>
                  <a:lnTo>
                    <a:pt x="210" y="768"/>
                  </a:lnTo>
                  <a:lnTo>
                    <a:pt x="210" y="756"/>
                  </a:lnTo>
                  <a:lnTo>
                    <a:pt x="204" y="756"/>
                  </a:lnTo>
                  <a:lnTo>
                    <a:pt x="198" y="762"/>
                  </a:lnTo>
                  <a:lnTo>
                    <a:pt x="198" y="774"/>
                  </a:lnTo>
                  <a:lnTo>
                    <a:pt x="192" y="774"/>
                  </a:lnTo>
                  <a:lnTo>
                    <a:pt x="180" y="780"/>
                  </a:lnTo>
                  <a:lnTo>
                    <a:pt x="150" y="780"/>
                  </a:lnTo>
                  <a:lnTo>
                    <a:pt x="144" y="774"/>
                  </a:lnTo>
                  <a:lnTo>
                    <a:pt x="108" y="774"/>
                  </a:lnTo>
                  <a:lnTo>
                    <a:pt x="96" y="798"/>
                  </a:lnTo>
                  <a:lnTo>
                    <a:pt x="90" y="786"/>
                  </a:lnTo>
                  <a:lnTo>
                    <a:pt x="66" y="762"/>
                  </a:lnTo>
                  <a:lnTo>
                    <a:pt x="48" y="762"/>
                  </a:lnTo>
                  <a:lnTo>
                    <a:pt x="36" y="774"/>
                  </a:lnTo>
                  <a:lnTo>
                    <a:pt x="36" y="822"/>
                  </a:lnTo>
                  <a:lnTo>
                    <a:pt x="30" y="822"/>
                  </a:lnTo>
                  <a:lnTo>
                    <a:pt x="18" y="828"/>
                  </a:lnTo>
                  <a:lnTo>
                    <a:pt x="0" y="828"/>
                  </a:lnTo>
                  <a:lnTo>
                    <a:pt x="0" y="852"/>
                  </a:lnTo>
                  <a:lnTo>
                    <a:pt x="12" y="870"/>
                  </a:lnTo>
                  <a:lnTo>
                    <a:pt x="12" y="876"/>
                  </a:lnTo>
                  <a:lnTo>
                    <a:pt x="24" y="888"/>
                  </a:lnTo>
                  <a:lnTo>
                    <a:pt x="24" y="906"/>
                  </a:lnTo>
                  <a:lnTo>
                    <a:pt x="18" y="912"/>
                  </a:lnTo>
                  <a:lnTo>
                    <a:pt x="18" y="936"/>
                  </a:lnTo>
                  <a:lnTo>
                    <a:pt x="24" y="942"/>
                  </a:lnTo>
                  <a:lnTo>
                    <a:pt x="36" y="942"/>
                  </a:lnTo>
                  <a:lnTo>
                    <a:pt x="36" y="936"/>
                  </a:lnTo>
                  <a:lnTo>
                    <a:pt x="42" y="936"/>
                  </a:lnTo>
                  <a:lnTo>
                    <a:pt x="48" y="942"/>
                  </a:lnTo>
                  <a:lnTo>
                    <a:pt x="54" y="954"/>
                  </a:lnTo>
                  <a:lnTo>
                    <a:pt x="54" y="1032"/>
                  </a:lnTo>
                  <a:lnTo>
                    <a:pt x="60" y="1044"/>
                  </a:lnTo>
                  <a:lnTo>
                    <a:pt x="60" y="1050"/>
                  </a:lnTo>
                  <a:lnTo>
                    <a:pt x="66" y="1056"/>
                  </a:lnTo>
                  <a:lnTo>
                    <a:pt x="72" y="1050"/>
                  </a:lnTo>
                  <a:lnTo>
                    <a:pt x="78" y="1038"/>
                  </a:lnTo>
                  <a:lnTo>
                    <a:pt x="90" y="1026"/>
                  </a:lnTo>
                  <a:lnTo>
                    <a:pt x="102" y="1038"/>
                  </a:lnTo>
                  <a:lnTo>
                    <a:pt x="108" y="1050"/>
                  </a:lnTo>
                  <a:lnTo>
                    <a:pt x="108" y="1062"/>
                  </a:lnTo>
                  <a:lnTo>
                    <a:pt x="114" y="1050"/>
                  </a:lnTo>
                  <a:lnTo>
                    <a:pt x="126" y="1038"/>
                  </a:lnTo>
                  <a:lnTo>
                    <a:pt x="132" y="1026"/>
                  </a:lnTo>
                  <a:lnTo>
                    <a:pt x="138" y="1026"/>
                  </a:lnTo>
                  <a:lnTo>
                    <a:pt x="144" y="1032"/>
                  </a:lnTo>
                  <a:lnTo>
                    <a:pt x="150" y="1032"/>
                  </a:lnTo>
                  <a:lnTo>
                    <a:pt x="162" y="1038"/>
                  </a:lnTo>
                  <a:lnTo>
                    <a:pt x="168" y="1044"/>
                  </a:lnTo>
                  <a:lnTo>
                    <a:pt x="180" y="1050"/>
                  </a:lnTo>
                  <a:lnTo>
                    <a:pt x="198" y="1032"/>
                  </a:lnTo>
                  <a:lnTo>
                    <a:pt x="198" y="1014"/>
                  </a:lnTo>
                  <a:lnTo>
                    <a:pt x="204" y="1008"/>
                  </a:lnTo>
                  <a:lnTo>
                    <a:pt x="216" y="1008"/>
                  </a:lnTo>
                  <a:lnTo>
                    <a:pt x="228" y="1014"/>
                  </a:lnTo>
                  <a:lnTo>
                    <a:pt x="228" y="1032"/>
                  </a:lnTo>
                  <a:lnTo>
                    <a:pt x="246" y="1044"/>
                  </a:lnTo>
                  <a:lnTo>
                    <a:pt x="234" y="1074"/>
                  </a:lnTo>
                  <a:lnTo>
                    <a:pt x="270" y="1092"/>
                  </a:lnTo>
                  <a:lnTo>
                    <a:pt x="246" y="1128"/>
                  </a:lnTo>
                  <a:lnTo>
                    <a:pt x="270" y="1128"/>
                  </a:lnTo>
                  <a:lnTo>
                    <a:pt x="270" y="1164"/>
                  </a:lnTo>
                  <a:lnTo>
                    <a:pt x="300" y="1194"/>
                  </a:lnTo>
                  <a:lnTo>
                    <a:pt x="312" y="1200"/>
                  </a:lnTo>
                  <a:lnTo>
                    <a:pt x="312" y="1182"/>
                  </a:lnTo>
                  <a:lnTo>
                    <a:pt x="318" y="1176"/>
                  </a:lnTo>
                  <a:lnTo>
                    <a:pt x="330" y="1176"/>
                  </a:lnTo>
                  <a:lnTo>
                    <a:pt x="348" y="1182"/>
                  </a:lnTo>
                  <a:lnTo>
                    <a:pt x="366" y="1200"/>
                  </a:lnTo>
                  <a:lnTo>
                    <a:pt x="372" y="1182"/>
                  </a:lnTo>
                  <a:lnTo>
                    <a:pt x="390" y="1182"/>
                  </a:lnTo>
                  <a:lnTo>
                    <a:pt x="396" y="1158"/>
                  </a:lnTo>
                  <a:lnTo>
                    <a:pt x="408" y="1176"/>
                  </a:lnTo>
                  <a:lnTo>
                    <a:pt x="420" y="1152"/>
                  </a:lnTo>
                  <a:lnTo>
                    <a:pt x="420" y="1188"/>
                  </a:lnTo>
                  <a:lnTo>
                    <a:pt x="444" y="1194"/>
                  </a:lnTo>
                  <a:lnTo>
                    <a:pt x="450" y="1188"/>
                  </a:lnTo>
                  <a:lnTo>
                    <a:pt x="456" y="1176"/>
                  </a:lnTo>
                  <a:lnTo>
                    <a:pt x="462" y="1170"/>
                  </a:lnTo>
                  <a:lnTo>
                    <a:pt x="474" y="1170"/>
                  </a:lnTo>
                  <a:lnTo>
                    <a:pt x="468" y="1116"/>
                  </a:lnTo>
                  <a:lnTo>
                    <a:pt x="492" y="1116"/>
                  </a:lnTo>
                  <a:lnTo>
                    <a:pt x="504" y="1092"/>
                  </a:lnTo>
                  <a:lnTo>
                    <a:pt x="480" y="1062"/>
                  </a:lnTo>
                  <a:lnTo>
                    <a:pt x="498" y="1050"/>
                  </a:lnTo>
                  <a:lnTo>
                    <a:pt x="504" y="1050"/>
                  </a:lnTo>
                  <a:lnTo>
                    <a:pt x="510" y="1044"/>
                  </a:lnTo>
                  <a:lnTo>
                    <a:pt x="546" y="1044"/>
                  </a:lnTo>
                  <a:lnTo>
                    <a:pt x="546" y="1032"/>
                  </a:lnTo>
                  <a:lnTo>
                    <a:pt x="540" y="1026"/>
                  </a:lnTo>
                  <a:lnTo>
                    <a:pt x="546" y="1026"/>
                  </a:lnTo>
                  <a:lnTo>
                    <a:pt x="552" y="1020"/>
                  </a:lnTo>
                  <a:lnTo>
                    <a:pt x="552" y="990"/>
                  </a:lnTo>
                  <a:lnTo>
                    <a:pt x="570" y="990"/>
                  </a:lnTo>
                  <a:lnTo>
                    <a:pt x="570" y="960"/>
                  </a:lnTo>
                  <a:lnTo>
                    <a:pt x="564" y="954"/>
                  </a:lnTo>
                  <a:lnTo>
                    <a:pt x="582" y="924"/>
                  </a:lnTo>
                  <a:lnTo>
                    <a:pt x="612" y="954"/>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10" name="Malaysien" descr="© INSCALE GmbH, 05.05.2010&#10;http://www.presentationload.com/">
              <a:extLst>
                <a:ext uri="{FF2B5EF4-FFF2-40B4-BE49-F238E27FC236}">
                  <a16:creationId xmlns:a16="http://schemas.microsoft.com/office/drawing/2014/main" id="{DBB8D783-6AC5-48B6-9244-158DB2594BA1}"/>
                </a:ext>
              </a:extLst>
            </p:cNvPr>
            <p:cNvSpPr>
              <a:spLocks/>
            </p:cNvSpPr>
            <p:nvPr/>
          </p:nvSpPr>
          <p:spPr bwMode="gray">
            <a:xfrm>
              <a:off x="6953368" y="4036242"/>
              <a:ext cx="122306" cy="174051"/>
            </a:xfrm>
            <a:custGeom>
              <a:avLst/>
              <a:gdLst>
                <a:gd name="T0" fmla="*/ 2147483647 w 306"/>
                <a:gd name="T1" fmla="*/ 2147483647 h 438"/>
                <a:gd name="T2" fmla="*/ 2147483647 w 306"/>
                <a:gd name="T3" fmla="*/ 2147483647 h 438"/>
                <a:gd name="T4" fmla="*/ 2147483647 w 306"/>
                <a:gd name="T5" fmla="*/ 2147483647 h 438"/>
                <a:gd name="T6" fmla="*/ 2147483647 w 306"/>
                <a:gd name="T7" fmla="*/ 2147483647 h 438"/>
                <a:gd name="T8" fmla="*/ 2147483647 w 306"/>
                <a:gd name="T9" fmla="*/ 2147483647 h 438"/>
                <a:gd name="T10" fmla="*/ 2147483647 w 306"/>
                <a:gd name="T11" fmla="*/ 2147483647 h 438"/>
                <a:gd name="T12" fmla="*/ 2147483647 w 306"/>
                <a:gd name="T13" fmla="*/ 2147483647 h 438"/>
                <a:gd name="T14" fmla="*/ 2147483647 w 306"/>
                <a:gd name="T15" fmla="*/ 2147483647 h 438"/>
                <a:gd name="T16" fmla="*/ 2147483647 w 306"/>
                <a:gd name="T17" fmla="*/ 2147483647 h 438"/>
                <a:gd name="T18" fmla="*/ 2147483647 w 306"/>
                <a:gd name="T19" fmla="*/ 2147483647 h 438"/>
                <a:gd name="T20" fmla="*/ 2147483647 w 306"/>
                <a:gd name="T21" fmla="*/ 2147483647 h 438"/>
                <a:gd name="T22" fmla="*/ 2147483647 w 306"/>
                <a:gd name="T23" fmla="*/ 2147483647 h 438"/>
                <a:gd name="T24" fmla="*/ 2147483647 w 306"/>
                <a:gd name="T25" fmla="*/ 2147483647 h 438"/>
                <a:gd name="T26" fmla="*/ 2147483647 w 306"/>
                <a:gd name="T27" fmla="*/ 2147483647 h 438"/>
                <a:gd name="T28" fmla="*/ 2147483647 w 306"/>
                <a:gd name="T29" fmla="*/ 2147483647 h 438"/>
                <a:gd name="T30" fmla="*/ 2147483647 w 306"/>
                <a:gd name="T31" fmla="*/ 2147483647 h 438"/>
                <a:gd name="T32" fmla="*/ 2147483647 w 306"/>
                <a:gd name="T33" fmla="*/ 2147483647 h 438"/>
                <a:gd name="T34" fmla="*/ 2147483647 w 306"/>
                <a:gd name="T35" fmla="*/ 2147483647 h 438"/>
                <a:gd name="T36" fmla="*/ 2147483647 w 306"/>
                <a:gd name="T37" fmla="*/ 2147483647 h 438"/>
                <a:gd name="T38" fmla="*/ 2147483647 w 306"/>
                <a:gd name="T39" fmla="*/ 2147483647 h 438"/>
                <a:gd name="T40" fmla="*/ 2147483647 w 306"/>
                <a:gd name="T41" fmla="*/ 2147483647 h 438"/>
                <a:gd name="T42" fmla="*/ 2147483647 w 306"/>
                <a:gd name="T43" fmla="*/ 2147483647 h 438"/>
                <a:gd name="T44" fmla="*/ 2147483647 w 306"/>
                <a:gd name="T45" fmla="*/ 2147483647 h 438"/>
                <a:gd name="T46" fmla="*/ 2147483647 w 306"/>
                <a:gd name="T47" fmla="*/ 2147483647 h 438"/>
                <a:gd name="T48" fmla="*/ 2147483647 w 306"/>
                <a:gd name="T49" fmla="*/ 2147483647 h 438"/>
                <a:gd name="T50" fmla="*/ 2147483647 w 306"/>
                <a:gd name="T51" fmla="*/ 2147483647 h 438"/>
                <a:gd name="T52" fmla="*/ 2147483647 w 306"/>
                <a:gd name="T53" fmla="*/ 2147483647 h 438"/>
                <a:gd name="T54" fmla="*/ 2147483647 w 306"/>
                <a:gd name="T55" fmla="*/ 2147483647 h 438"/>
                <a:gd name="T56" fmla="*/ 2147483647 w 306"/>
                <a:gd name="T57" fmla="*/ 2147483647 h 438"/>
                <a:gd name="T58" fmla="*/ 2147483647 w 306"/>
                <a:gd name="T59" fmla="*/ 2147483647 h 438"/>
                <a:gd name="T60" fmla="*/ 2147483647 w 306"/>
                <a:gd name="T61" fmla="*/ 2147483647 h 438"/>
                <a:gd name="T62" fmla="*/ 2147483647 w 306"/>
                <a:gd name="T63" fmla="*/ 2147483647 h 438"/>
                <a:gd name="T64" fmla="*/ 2147483647 w 306"/>
                <a:gd name="T65" fmla="*/ 2147483647 h 438"/>
                <a:gd name="T66" fmla="*/ 2147483647 w 306"/>
                <a:gd name="T67" fmla="*/ 2147483647 h 438"/>
                <a:gd name="T68" fmla="*/ 2147483647 w 306"/>
                <a:gd name="T69" fmla="*/ 2147483647 h 438"/>
                <a:gd name="T70" fmla="*/ 2147483647 w 306"/>
                <a:gd name="T71" fmla="*/ 2147483647 h 438"/>
                <a:gd name="T72" fmla="*/ 2147483647 w 306"/>
                <a:gd name="T73" fmla="*/ 2147483647 h 438"/>
                <a:gd name="T74" fmla="*/ 2147483647 w 306"/>
                <a:gd name="T75" fmla="*/ 2147483647 h 438"/>
                <a:gd name="T76" fmla="*/ 2147483647 w 306"/>
                <a:gd name="T77" fmla="*/ 0 h 438"/>
                <a:gd name="T78" fmla="*/ 2147483647 w 306"/>
                <a:gd name="T79" fmla="*/ 2147483647 h 438"/>
                <a:gd name="T80" fmla="*/ 2147483647 w 306"/>
                <a:gd name="T81" fmla="*/ 2147483647 h 43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6"/>
                <a:gd name="T124" fmla="*/ 0 h 438"/>
                <a:gd name="T125" fmla="*/ 306 w 306"/>
                <a:gd name="T126" fmla="*/ 438 h 43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6" h="438">
                  <a:moveTo>
                    <a:pt x="0" y="42"/>
                  </a:moveTo>
                  <a:lnTo>
                    <a:pt x="6" y="138"/>
                  </a:lnTo>
                  <a:lnTo>
                    <a:pt x="18" y="138"/>
                  </a:lnTo>
                  <a:lnTo>
                    <a:pt x="24" y="132"/>
                  </a:lnTo>
                  <a:lnTo>
                    <a:pt x="42" y="132"/>
                  </a:lnTo>
                  <a:lnTo>
                    <a:pt x="54" y="138"/>
                  </a:lnTo>
                  <a:lnTo>
                    <a:pt x="54" y="168"/>
                  </a:lnTo>
                  <a:lnTo>
                    <a:pt x="48" y="180"/>
                  </a:lnTo>
                  <a:lnTo>
                    <a:pt x="48" y="198"/>
                  </a:lnTo>
                  <a:lnTo>
                    <a:pt x="54" y="216"/>
                  </a:lnTo>
                  <a:lnTo>
                    <a:pt x="60" y="228"/>
                  </a:lnTo>
                  <a:lnTo>
                    <a:pt x="66" y="234"/>
                  </a:lnTo>
                  <a:lnTo>
                    <a:pt x="84" y="234"/>
                  </a:lnTo>
                  <a:lnTo>
                    <a:pt x="90" y="228"/>
                  </a:lnTo>
                  <a:lnTo>
                    <a:pt x="90" y="240"/>
                  </a:lnTo>
                  <a:lnTo>
                    <a:pt x="84" y="252"/>
                  </a:lnTo>
                  <a:lnTo>
                    <a:pt x="84" y="282"/>
                  </a:lnTo>
                  <a:lnTo>
                    <a:pt x="96" y="306"/>
                  </a:lnTo>
                  <a:lnTo>
                    <a:pt x="102" y="312"/>
                  </a:lnTo>
                  <a:lnTo>
                    <a:pt x="114" y="318"/>
                  </a:lnTo>
                  <a:lnTo>
                    <a:pt x="132" y="330"/>
                  </a:lnTo>
                  <a:lnTo>
                    <a:pt x="144" y="336"/>
                  </a:lnTo>
                  <a:lnTo>
                    <a:pt x="162" y="354"/>
                  </a:lnTo>
                  <a:lnTo>
                    <a:pt x="168" y="354"/>
                  </a:lnTo>
                  <a:lnTo>
                    <a:pt x="168" y="366"/>
                  </a:lnTo>
                  <a:lnTo>
                    <a:pt x="174" y="372"/>
                  </a:lnTo>
                  <a:lnTo>
                    <a:pt x="174" y="378"/>
                  </a:lnTo>
                  <a:lnTo>
                    <a:pt x="180" y="384"/>
                  </a:lnTo>
                  <a:lnTo>
                    <a:pt x="186" y="384"/>
                  </a:lnTo>
                  <a:lnTo>
                    <a:pt x="198" y="390"/>
                  </a:lnTo>
                  <a:lnTo>
                    <a:pt x="204" y="396"/>
                  </a:lnTo>
                  <a:lnTo>
                    <a:pt x="216" y="396"/>
                  </a:lnTo>
                  <a:lnTo>
                    <a:pt x="222" y="402"/>
                  </a:lnTo>
                  <a:lnTo>
                    <a:pt x="228" y="402"/>
                  </a:lnTo>
                  <a:lnTo>
                    <a:pt x="252" y="438"/>
                  </a:lnTo>
                  <a:lnTo>
                    <a:pt x="300" y="432"/>
                  </a:lnTo>
                  <a:lnTo>
                    <a:pt x="300" y="420"/>
                  </a:lnTo>
                  <a:lnTo>
                    <a:pt x="306" y="408"/>
                  </a:lnTo>
                  <a:lnTo>
                    <a:pt x="306" y="378"/>
                  </a:lnTo>
                  <a:lnTo>
                    <a:pt x="294" y="354"/>
                  </a:lnTo>
                  <a:lnTo>
                    <a:pt x="270" y="330"/>
                  </a:lnTo>
                  <a:lnTo>
                    <a:pt x="264" y="318"/>
                  </a:lnTo>
                  <a:lnTo>
                    <a:pt x="258" y="312"/>
                  </a:lnTo>
                  <a:lnTo>
                    <a:pt x="258" y="288"/>
                  </a:lnTo>
                  <a:lnTo>
                    <a:pt x="252" y="276"/>
                  </a:lnTo>
                  <a:lnTo>
                    <a:pt x="246" y="270"/>
                  </a:lnTo>
                  <a:lnTo>
                    <a:pt x="246" y="258"/>
                  </a:lnTo>
                  <a:lnTo>
                    <a:pt x="252" y="252"/>
                  </a:lnTo>
                  <a:lnTo>
                    <a:pt x="252" y="126"/>
                  </a:lnTo>
                  <a:lnTo>
                    <a:pt x="246" y="114"/>
                  </a:lnTo>
                  <a:lnTo>
                    <a:pt x="222" y="90"/>
                  </a:lnTo>
                  <a:lnTo>
                    <a:pt x="204" y="84"/>
                  </a:lnTo>
                  <a:lnTo>
                    <a:pt x="192" y="72"/>
                  </a:lnTo>
                  <a:lnTo>
                    <a:pt x="180" y="66"/>
                  </a:lnTo>
                  <a:lnTo>
                    <a:pt x="156" y="42"/>
                  </a:lnTo>
                  <a:lnTo>
                    <a:pt x="150" y="54"/>
                  </a:lnTo>
                  <a:lnTo>
                    <a:pt x="144" y="60"/>
                  </a:lnTo>
                  <a:lnTo>
                    <a:pt x="138" y="72"/>
                  </a:lnTo>
                  <a:lnTo>
                    <a:pt x="138" y="78"/>
                  </a:lnTo>
                  <a:lnTo>
                    <a:pt x="132" y="84"/>
                  </a:lnTo>
                  <a:lnTo>
                    <a:pt x="114" y="66"/>
                  </a:lnTo>
                  <a:lnTo>
                    <a:pt x="108" y="66"/>
                  </a:lnTo>
                  <a:lnTo>
                    <a:pt x="102" y="72"/>
                  </a:lnTo>
                  <a:lnTo>
                    <a:pt x="90" y="72"/>
                  </a:lnTo>
                  <a:lnTo>
                    <a:pt x="90" y="78"/>
                  </a:lnTo>
                  <a:lnTo>
                    <a:pt x="72" y="78"/>
                  </a:lnTo>
                  <a:lnTo>
                    <a:pt x="66" y="72"/>
                  </a:lnTo>
                  <a:lnTo>
                    <a:pt x="66" y="66"/>
                  </a:lnTo>
                  <a:lnTo>
                    <a:pt x="78" y="54"/>
                  </a:lnTo>
                  <a:lnTo>
                    <a:pt x="78" y="42"/>
                  </a:lnTo>
                  <a:lnTo>
                    <a:pt x="66" y="42"/>
                  </a:lnTo>
                  <a:lnTo>
                    <a:pt x="66" y="30"/>
                  </a:lnTo>
                  <a:lnTo>
                    <a:pt x="60" y="24"/>
                  </a:lnTo>
                  <a:lnTo>
                    <a:pt x="48" y="18"/>
                  </a:lnTo>
                  <a:lnTo>
                    <a:pt x="30" y="18"/>
                  </a:lnTo>
                  <a:lnTo>
                    <a:pt x="30" y="12"/>
                  </a:lnTo>
                  <a:lnTo>
                    <a:pt x="24" y="0"/>
                  </a:lnTo>
                  <a:lnTo>
                    <a:pt x="12" y="0"/>
                  </a:lnTo>
                  <a:lnTo>
                    <a:pt x="6" y="6"/>
                  </a:lnTo>
                  <a:lnTo>
                    <a:pt x="6" y="18"/>
                  </a:lnTo>
                  <a:lnTo>
                    <a:pt x="12" y="24"/>
                  </a:lnTo>
                  <a:lnTo>
                    <a:pt x="6" y="36"/>
                  </a:lnTo>
                  <a:lnTo>
                    <a:pt x="0" y="4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11" name="Malaysien" descr="© INSCALE GmbH, 05.05.2010&#10;http://www.presentationload.com/">
              <a:extLst>
                <a:ext uri="{FF2B5EF4-FFF2-40B4-BE49-F238E27FC236}">
                  <a16:creationId xmlns:a16="http://schemas.microsoft.com/office/drawing/2014/main" id="{666E0599-16BF-4D77-A4E7-3511E3A4609C}"/>
                </a:ext>
              </a:extLst>
            </p:cNvPr>
            <p:cNvSpPr>
              <a:spLocks/>
            </p:cNvSpPr>
            <p:nvPr/>
          </p:nvSpPr>
          <p:spPr bwMode="gray">
            <a:xfrm>
              <a:off x="7238748" y="4015858"/>
              <a:ext cx="272836" cy="210115"/>
            </a:xfrm>
            <a:custGeom>
              <a:avLst/>
              <a:gdLst>
                <a:gd name="T0" fmla="*/ 2147483647 w 690"/>
                <a:gd name="T1" fmla="*/ 2147483647 h 528"/>
                <a:gd name="T2" fmla="*/ 2147483647 w 690"/>
                <a:gd name="T3" fmla="*/ 2147483647 h 528"/>
                <a:gd name="T4" fmla="*/ 2147483647 w 690"/>
                <a:gd name="T5" fmla="*/ 2147483647 h 528"/>
                <a:gd name="T6" fmla="*/ 2147483647 w 690"/>
                <a:gd name="T7" fmla="*/ 2147483647 h 528"/>
                <a:gd name="T8" fmla="*/ 2147483647 w 690"/>
                <a:gd name="T9" fmla="*/ 2147483647 h 528"/>
                <a:gd name="T10" fmla="*/ 2147483647 w 690"/>
                <a:gd name="T11" fmla="*/ 2147483647 h 528"/>
                <a:gd name="T12" fmla="*/ 2147483647 w 690"/>
                <a:gd name="T13" fmla="*/ 2147483647 h 528"/>
                <a:gd name="T14" fmla="*/ 2147483647 w 690"/>
                <a:gd name="T15" fmla="*/ 2147483647 h 528"/>
                <a:gd name="T16" fmla="*/ 2147483647 w 690"/>
                <a:gd name="T17" fmla="*/ 2147483647 h 528"/>
                <a:gd name="T18" fmla="*/ 2147483647 w 690"/>
                <a:gd name="T19" fmla="*/ 2147483647 h 528"/>
                <a:gd name="T20" fmla="*/ 2147483647 w 690"/>
                <a:gd name="T21" fmla="*/ 2147483647 h 528"/>
                <a:gd name="T22" fmla="*/ 2147483647 w 690"/>
                <a:gd name="T23" fmla="*/ 2147483647 h 528"/>
                <a:gd name="T24" fmla="*/ 2147483647 w 690"/>
                <a:gd name="T25" fmla="*/ 2147483647 h 528"/>
                <a:gd name="T26" fmla="*/ 2147483647 w 690"/>
                <a:gd name="T27" fmla="*/ 2147483647 h 528"/>
                <a:gd name="T28" fmla="*/ 2147483647 w 690"/>
                <a:gd name="T29" fmla="*/ 2147483647 h 528"/>
                <a:gd name="T30" fmla="*/ 2147483647 w 690"/>
                <a:gd name="T31" fmla="*/ 2147483647 h 528"/>
                <a:gd name="T32" fmla="*/ 2147483647 w 690"/>
                <a:gd name="T33" fmla="*/ 2147483647 h 528"/>
                <a:gd name="T34" fmla="*/ 2147483647 w 690"/>
                <a:gd name="T35" fmla="*/ 2147483647 h 528"/>
                <a:gd name="T36" fmla="*/ 2147483647 w 690"/>
                <a:gd name="T37" fmla="*/ 2147483647 h 528"/>
                <a:gd name="T38" fmla="*/ 2147483647 w 690"/>
                <a:gd name="T39" fmla="*/ 2147483647 h 528"/>
                <a:gd name="T40" fmla="*/ 2147483647 w 690"/>
                <a:gd name="T41" fmla="*/ 2147483647 h 528"/>
                <a:gd name="T42" fmla="*/ 2147483647 w 690"/>
                <a:gd name="T43" fmla="*/ 2147483647 h 528"/>
                <a:gd name="T44" fmla="*/ 2147483647 w 690"/>
                <a:gd name="T45" fmla="*/ 2147483647 h 528"/>
                <a:gd name="T46" fmla="*/ 2147483647 w 690"/>
                <a:gd name="T47" fmla="*/ 2147483647 h 528"/>
                <a:gd name="T48" fmla="*/ 2147483647 w 690"/>
                <a:gd name="T49" fmla="*/ 2147483647 h 528"/>
                <a:gd name="T50" fmla="*/ 2147483647 w 690"/>
                <a:gd name="T51" fmla="*/ 2147483647 h 528"/>
                <a:gd name="T52" fmla="*/ 2147483647 w 690"/>
                <a:gd name="T53" fmla="*/ 2147483647 h 528"/>
                <a:gd name="T54" fmla="*/ 2147483647 w 690"/>
                <a:gd name="T55" fmla="*/ 2147483647 h 528"/>
                <a:gd name="T56" fmla="*/ 2147483647 w 690"/>
                <a:gd name="T57" fmla="*/ 2147483647 h 528"/>
                <a:gd name="T58" fmla="*/ 2147483647 w 690"/>
                <a:gd name="T59" fmla="*/ 2147483647 h 528"/>
                <a:gd name="T60" fmla="*/ 2147483647 w 690"/>
                <a:gd name="T61" fmla="*/ 2147483647 h 528"/>
                <a:gd name="T62" fmla="*/ 2147483647 w 690"/>
                <a:gd name="T63" fmla="*/ 2147483647 h 528"/>
                <a:gd name="T64" fmla="*/ 2147483647 w 690"/>
                <a:gd name="T65" fmla="*/ 2147483647 h 528"/>
                <a:gd name="T66" fmla="*/ 2147483647 w 690"/>
                <a:gd name="T67" fmla="*/ 2147483647 h 528"/>
                <a:gd name="T68" fmla="*/ 2147483647 w 690"/>
                <a:gd name="T69" fmla="*/ 2147483647 h 528"/>
                <a:gd name="T70" fmla="*/ 2147483647 w 690"/>
                <a:gd name="T71" fmla="*/ 0 h 528"/>
                <a:gd name="T72" fmla="*/ 2147483647 w 690"/>
                <a:gd name="T73" fmla="*/ 0 h 528"/>
                <a:gd name="T74" fmla="*/ 2147483647 w 690"/>
                <a:gd name="T75" fmla="*/ 2147483647 h 528"/>
                <a:gd name="T76" fmla="*/ 2147483647 w 690"/>
                <a:gd name="T77" fmla="*/ 2147483647 h 528"/>
                <a:gd name="T78" fmla="*/ 2147483647 w 690"/>
                <a:gd name="T79" fmla="*/ 2147483647 h 528"/>
                <a:gd name="T80" fmla="*/ 2147483647 w 690"/>
                <a:gd name="T81" fmla="*/ 2147483647 h 528"/>
                <a:gd name="T82" fmla="*/ 2147483647 w 690"/>
                <a:gd name="T83" fmla="*/ 2147483647 h 528"/>
                <a:gd name="T84" fmla="*/ 2147483647 w 690"/>
                <a:gd name="T85" fmla="*/ 2147483647 h 528"/>
                <a:gd name="T86" fmla="*/ 2147483647 w 690"/>
                <a:gd name="T87" fmla="*/ 2147483647 h 528"/>
                <a:gd name="T88" fmla="*/ 2147483647 w 690"/>
                <a:gd name="T89" fmla="*/ 2147483647 h 528"/>
                <a:gd name="T90" fmla="*/ 2147483647 w 690"/>
                <a:gd name="T91" fmla="*/ 2147483647 h 528"/>
                <a:gd name="T92" fmla="*/ 2147483647 w 690"/>
                <a:gd name="T93" fmla="*/ 2147483647 h 528"/>
                <a:gd name="T94" fmla="*/ 2147483647 w 690"/>
                <a:gd name="T95" fmla="*/ 2147483647 h 528"/>
                <a:gd name="T96" fmla="*/ 2147483647 w 690"/>
                <a:gd name="T97" fmla="*/ 2147483647 h 528"/>
                <a:gd name="T98" fmla="*/ 2147483647 w 690"/>
                <a:gd name="T99" fmla="*/ 2147483647 h 528"/>
                <a:gd name="T100" fmla="*/ 2147483647 w 690"/>
                <a:gd name="T101" fmla="*/ 2147483647 h 528"/>
                <a:gd name="T102" fmla="*/ 2147483647 w 690"/>
                <a:gd name="T103" fmla="*/ 2147483647 h 528"/>
                <a:gd name="T104" fmla="*/ 2147483647 w 690"/>
                <a:gd name="T105" fmla="*/ 2147483647 h 528"/>
                <a:gd name="T106" fmla="*/ 2147483647 w 690"/>
                <a:gd name="T107" fmla="*/ 2147483647 h 528"/>
                <a:gd name="T108" fmla="*/ 2147483647 w 690"/>
                <a:gd name="T109" fmla="*/ 2147483647 h 528"/>
                <a:gd name="T110" fmla="*/ 2147483647 w 690"/>
                <a:gd name="T111" fmla="*/ 2147483647 h 528"/>
                <a:gd name="T112" fmla="*/ 2147483647 w 690"/>
                <a:gd name="T113" fmla="*/ 2147483647 h 528"/>
                <a:gd name="T114" fmla="*/ 0 w 690"/>
                <a:gd name="T115" fmla="*/ 2147483647 h 5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90"/>
                <a:gd name="T175" fmla="*/ 0 h 528"/>
                <a:gd name="T176" fmla="*/ 690 w 690"/>
                <a:gd name="T177" fmla="*/ 528 h 5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90" h="528">
                  <a:moveTo>
                    <a:pt x="12" y="504"/>
                  </a:moveTo>
                  <a:lnTo>
                    <a:pt x="24" y="510"/>
                  </a:lnTo>
                  <a:lnTo>
                    <a:pt x="30" y="516"/>
                  </a:lnTo>
                  <a:lnTo>
                    <a:pt x="54" y="528"/>
                  </a:lnTo>
                  <a:lnTo>
                    <a:pt x="60" y="528"/>
                  </a:lnTo>
                  <a:lnTo>
                    <a:pt x="78" y="510"/>
                  </a:lnTo>
                  <a:lnTo>
                    <a:pt x="102" y="510"/>
                  </a:lnTo>
                  <a:lnTo>
                    <a:pt x="120" y="516"/>
                  </a:lnTo>
                  <a:lnTo>
                    <a:pt x="144" y="516"/>
                  </a:lnTo>
                  <a:lnTo>
                    <a:pt x="174" y="486"/>
                  </a:lnTo>
                  <a:lnTo>
                    <a:pt x="180" y="474"/>
                  </a:lnTo>
                  <a:lnTo>
                    <a:pt x="222" y="474"/>
                  </a:lnTo>
                  <a:lnTo>
                    <a:pt x="234" y="486"/>
                  </a:lnTo>
                  <a:lnTo>
                    <a:pt x="258" y="498"/>
                  </a:lnTo>
                  <a:lnTo>
                    <a:pt x="264" y="504"/>
                  </a:lnTo>
                  <a:lnTo>
                    <a:pt x="270" y="504"/>
                  </a:lnTo>
                  <a:lnTo>
                    <a:pt x="282" y="492"/>
                  </a:lnTo>
                  <a:lnTo>
                    <a:pt x="294" y="486"/>
                  </a:lnTo>
                  <a:lnTo>
                    <a:pt x="300" y="480"/>
                  </a:lnTo>
                  <a:lnTo>
                    <a:pt x="324" y="480"/>
                  </a:lnTo>
                  <a:lnTo>
                    <a:pt x="354" y="444"/>
                  </a:lnTo>
                  <a:lnTo>
                    <a:pt x="348" y="432"/>
                  </a:lnTo>
                  <a:lnTo>
                    <a:pt x="384" y="402"/>
                  </a:lnTo>
                  <a:lnTo>
                    <a:pt x="378" y="390"/>
                  </a:lnTo>
                  <a:lnTo>
                    <a:pt x="372" y="384"/>
                  </a:lnTo>
                  <a:lnTo>
                    <a:pt x="372" y="360"/>
                  </a:lnTo>
                  <a:lnTo>
                    <a:pt x="378" y="354"/>
                  </a:lnTo>
                  <a:lnTo>
                    <a:pt x="396" y="354"/>
                  </a:lnTo>
                  <a:lnTo>
                    <a:pt x="402" y="342"/>
                  </a:lnTo>
                  <a:lnTo>
                    <a:pt x="402" y="336"/>
                  </a:lnTo>
                  <a:lnTo>
                    <a:pt x="408" y="318"/>
                  </a:lnTo>
                  <a:lnTo>
                    <a:pt x="408" y="264"/>
                  </a:lnTo>
                  <a:lnTo>
                    <a:pt x="414" y="252"/>
                  </a:lnTo>
                  <a:lnTo>
                    <a:pt x="420" y="246"/>
                  </a:lnTo>
                  <a:lnTo>
                    <a:pt x="516" y="246"/>
                  </a:lnTo>
                  <a:lnTo>
                    <a:pt x="540" y="270"/>
                  </a:lnTo>
                  <a:lnTo>
                    <a:pt x="552" y="276"/>
                  </a:lnTo>
                  <a:lnTo>
                    <a:pt x="558" y="282"/>
                  </a:lnTo>
                  <a:lnTo>
                    <a:pt x="576" y="276"/>
                  </a:lnTo>
                  <a:lnTo>
                    <a:pt x="564" y="216"/>
                  </a:lnTo>
                  <a:lnTo>
                    <a:pt x="576" y="222"/>
                  </a:lnTo>
                  <a:lnTo>
                    <a:pt x="582" y="234"/>
                  </a:lnTo>
                  <a:lnTo>
                    <a:pt x="594" y="240"/>
                  </a:lnTo>
                  <a:lnTo>
                    <a:pt x="636" y="240"/>
                  </a:lnTo>
                  <a:lnTo>
                    <a:pt x="630" y="234"/>
                  </a:lnTo>
                  <a:lnTo>
                    <a:pt x="624" y="222"/>
                  </a:lnTo>
                  <a:lnTo>
                    <a:pt x="618" y="216"/>
                  </a:lnTo>
                  <a:lnTo>
                    <a:pt x="606" y="192"/>
                  </a:lnTo>
                  <a:lnTo>
                    <a:pt x="606" y="186"/>
                  </a:lnTo>
                  <a:lnTo>
                    <a:pt x="612" y="180"/>
                  </a:lnTo>
                  <a:lnTo>
                    <a:pt x="624" y="180"/>
                  </a:lnTo>
                  <a:lnTo>
                    <a:pt x="642" y="186"/>
                  </a:lnTo>
                  <a:lnTo>
                    <a:pt x="654" y="186"/>
                  </a:lnTo>
                  <a:lnTo>
                    <a:pt x="660" y="192"/>
                  </a:lnTo>
                  <a:lnTo>
                    <a:pt x="666" y="192"/>
                  </a:lnTo>
                  <a:lnTo>
                    <a:pt x="690" y="162"/>
                  </a:lnTo>
                  <a:lnTo>
                    <a:pt x="666" y="156"/>
                  </a:lnTo>
                  <a:lnTo>
                    <a:pt x="660" y="144"/>
                  </a:lnTo>
                  <a:lnTo>
                    <a:pt x="642" y="126"/>
                  </a:lnTo>
                  <a:lnTo>
                    <a:pt x="630" y="120"/>
                  </a:lnTo>
                  <a:lnTo>
                    <a:pt x="612" y="120"/>
                  </a:lnTo>
                  <a:lnTo>
                    <a:pt x="600" y="114"/>
                  </a:lnTo>
                  <a:lnTo>
                    <a:pt x="588" y="114"/>
                  </a:lnTo>
                  <a:lnTo>
                    <a:pt x="588" y="108"/>
                  </a:lnTo>
                  <a:lnTo>
                    <a:pt x="582" y="102"/>
                  </a:lnTo>
                  <a:lnTo>
                    <a:pt x="582" y="90"/>
                  </a:lnTo>
                  <a:lnTo>
                    <a:pt x="576" y="78"/>
                  </a:lnTo>
                  <a:lnTo>
                    <a:pt x="564" y="66"/>
                  </a:lnTo>
                  <a:lnTo>
                    <a:pt x="540" y="54"/>
                  </a:lnTo>
                  <a:lnTo>
                    <a:pt x="534" y="60"/>
                  </a:lnTo>
                  <a:lnTo>
                    <a:pt x="528" y="60"/>
                  </a:lnTo>
                  <a:lnTo>
                    <a:pt x="510" y="0"/>
                  </a:lnTo>
                  <a:lnTo>
                    <a:pt x="504" y="18"/>
                  </a:lnTo>
                  <a:lnTo>
                    <a:pt x="492" y="0"/>
                  </a:lnTo>
                  <a:lnTo>
                    <a:pt x="480" y="60"/>
                  </a:lnTo>
                  <a:lnTo>
                    <a:pt x="468" y="66"/>
                  </a:lnTo>
                  <a:lnTo>
                    <a:pt x="462" y="66"/>
                  </a:lnTo>
                  <a:lnTo>
                    <a:pt x="450" y="72"/>
                  </a:lnTo>
                  <a:lnTo>
                    <a:pt x="438" y="96"/>
                  </a:lnTo>
                  <a:lnTo>
                    <a:pt x="438" y="114"/>
                  </a:lnTo>
                  <a:lnTo>
                    <a:pt x="408" y="126"/>
                  </a:lnTo>
                  <a:lnTo>
                    <a:pt x="420" y="162"/>
                  </a:lnTo>
                  <a:lnTo>
                    <a:pt x="408" y="162"/>
                  </a:lnTo>
                  <a:lnTo>
                    <a:pt x="390" y="156"/>
                  </a:lnTo>
                  <a:lnTo>
                    <a:pt x="378" y="156"/>
                  </a:lnTo>
                  <a:lnTo>
                    <a:pt x="360" y="150"/>
                  </a:lnTo>
                  <a:lnTo>
                    <a:pt x="354" y="150"/>
                  </a:lnTo>
                  <a:lnTo>
                    <a:pt x="342" y="156"/>
                  </a:lnTo>
                  <a:lnTo>
                    <a:pt x="342" y="168"/>
                  </a:lnTo>
                  <a:lnTo>
                    <a:pt x="336" y="180"/>
                  </a:lnTo>
                  <a:lnTo>
                    <a:pt x="336" y="204"/>
                  </a:lnTo>
                  <a:lnTo>
                    <a:pt x="294" y="246"/>
                  </a:lnTo>
                  <a:lnTo>
                    <a:pt x="294" y="258"/>
                  </a:lnTo>
                  <a:lnTo>
                    <a:pt x="282" y="294"/>
                  </a:lnTo>
                  <a:lnTo>
                    <a:pt x="276" y="306"/>
                  </a:lnTo>
                  <a:lnTo>
                    <a:pt x="264" y="318"/>
                  </a:lnTo>
                  <a:lnTo>
                    <a:pt x="228" y="336"/>
                  </a:lnTo>
                  <a:lnTo>
                    <a:pt x="186" y="342"/>
                  </a:lnTo>
                  <a:lnTo>
                    <a:pt x="162" y="348"/>
                  </a:lnTo>
                  <a:lnTo>
                    <a:pt x="156" y="354"/>
                  </a:lnTo>
                  <a:lnTo>
                    <a:pt x="132" y="366"/>
                  </a:lnTo>
                  <a:lnTo>
                    <a:pt x="114" y="384"/>
                  </a:lnTo>
                  <a:lnTo>
                    <a:pt x="102" y="390"/>
                  </a:lnTo>
                  <a:lnTo>
                    <a:pt x="84" y="426"/>
                  </a:lnTo>
                  <a:lnTo>
                    <a:pt x="102" y="444"/>
                  </a:lnTo>
                  <a:lnTo>
                    <a:pt x="102" y="462"/>
                  </a:lnTo>
                  <a:lnTo>
                    <a:pt x="96" y="474"/>
                  </a:lnTo>
                  <a:lnTo>
                    <a:pt x="84" y="480"/>
                  </a:lnTo>
                  <a:lnTo>
                    <a:pt x="72" y="480"/>
                  </a:lnTo>
                  <a:lnTo>
                    <a:pt x="48" y="468"/>
                  </a:lnTo>
                  <a:lnTo>
                    <a:pt x="42" y="462"/>
                  </a:lnTo>
                  <a:lnTo>
                    <a:pt x="30" y="456"/>
                  </a:lnTo>
                  <a:lnTo>
                    <a:pt x="24" y="456"/>
                  </a:lnTo>
                  <a:lnTo>
                    <a:pt x="12" y="462"/>
                  </a:lnTo>
                  <a:lnTo>
                    <a:pt x="0" y="474"/>
                  </a:lnTo>
                  <a:lnTo>
                    <a:pt x="0" y="492"/>
                  </a:lnTo>
                  <a:lnTo>
                    <a:pt x="12" y="504"/>
                  </a:lnTo>
                  <a:close/>
                </a:path>
              </a:pathLst>
            </a:custGeom>
            <a:grpFill/>
            <a:ln w="3175">
              <a:solidFill>
                <a:schemeClr val="bg1"/>
              </a:solidFill>
              <a:round/>
              <a:headEnd/>
              <a:tailEnd/>
            </a:ln>
          </p:spPr>
          <p:txBody>
            <a:bodyPr/>
            <a:lstStyle/>
            <a:p>
              <a:endParaRPr lang="en-US" dirty="0"/>
            </a:p>
          </p:txBody>
        </p:sp>
        <p:sp>
          <p:nvSpPr>
            <p:cNvPr id="312" name="Malawi" descr="© INSCALE GmbH, 05.05.2010&#10;http://www.presentationload.com/">
              <a:extLst>
                <a:ext uri="{FF2B5EF4-FFF2-40B4-BE49-F238E27FC236}">
                  <a16:creationId xmlns:a16="http://schemas.microsoft.com/office/drawing/2014/main" id="{792DC317-A6F2-4F13-97C3-DFB1989A6EFE}"/>
                </a:ext>
              </a:extLst>
            </p:cNvPr>
            <p:cNvSpPr>
              <a:spLocks/>
            </p:cNvSpPr>
            <p:nvPr/>
          </p:nvSpPr>
          <p:spPr bwMode="gray">
            <a:xfrm>
              <a:off x="5048221" y="4553690"/>
              <a:ext cx="92513" cy="249316"/>
            </a:xfrm>
            <a:custGeom>
              <a:avLst/>
              <a:gdLst>
                <a:gd name="T0" fmla="*/ 2147483647 w 234"/>
                <a:gd name="T1" fmla="*/ 2147483647 h 624"/>
                <a:gd name="T2" fmla="*/ 2147483647 w 234"/>
                <a:gd name="T3" fmla="*/ 2147483647 h 624"/>
                <a:gd name="T4" fmla="*/ 2147483647 w 234"/>
                <a:gd name="T5" fmla="*/ 2147483647 h 624"/>
                <a:gd name="T6" fmla="*/ 2147483647 w 234"/>
                <a:gd name="T7" fmla="*/ 2147483647 h 624"/>
                <a:gd name="T8" fmla="*/ 2147483647 w 234"/>
                <a:gd name="T9" fmla="*/ 2147483647 h 624"/>
                <a:gd name="T10" fmla="*/ 2147483647 w 234"/>
                <a:gd name="T11" fmla="*/ 2147483647 h 624"/>
                <a:gd name="T12" fmla="*/ 2147483647 w 234"/>
                <a:gd name="T13" fmla="*/ 2147483647 h 624"/>
                <a:gd name="T14" fmla="*/ 2147483647 w 234"/>
                <a:gd name="T15" fmla="*/ 2147483647 h 624"/>
                <a:gd name="T16" fmla="*/ 2147483647 w 234"/>
                <a:gd name="T17" fmla="*/ 2147483647 h 624"/>
                <a:gd name="T18" fmla="*/ 2147483647 w 234"/>
                <a:gd name="T19" fmla="*/ 2147483647 h 624"/>
                <a:gd name="T20" fmla="*/ 2147483647 w 234"/>
                <a:gd name="T21" fmla="*/ 2147483647 h 624"/>
                <a:gd name="T22" fmla="*/ 2147483647 w 234"/>
                <a:gd name="T23" fmla="*/ 2147483647 h 624"/>
                <a:gd name="T24" fmla="*/ 2147483647 w 234"/>
                <a:gd name="T25" fmla="*/ 2147483647 h 624"/>
                <a:gd name="T26" fmla="*/ 2147483647 w 234"/>
                <a:gd name="T27" fmla="*/ 2147483647 h 624"/>
                <a:gd name="T28" fmla="*/ 2147483647 w 234"/>
                <a:gd name="T29" fmla="*/ 2147483647 h 624"/>
                <a:gd name="T30" fmla="*/ 2147483647 w 234"/>
                <a:gd name="T31" fmla="*/ 2147483647 h 624"/>
                <a:gd name="T32" fmla="*/ 2147483647 w 234"/>
                <a:gd name="T33" fmla="*/ 2147483647 h 624"/>
                <a:gd name="T34" fmla="*/ 2147483647 w 234"/>
                <a:gd name="T35" fmla="*/ 2147483647 h 624"/>
                <a:gd name="T36" fmla="*/ 2147483647 w 234"/>
                <a:gd name="T37" fmla="*/ 2147483647 h 624"/>
                <a:gd name="T38" fmla="*/ 2147483647 w 234"/>
                <a:gd name="T39" fmla="*/ 2147483647 h 624"/>
                <a:gd name="T40" fmla="*/ 2147483647 w 234"/>
                <a:gd name="T41" fmla="*/ 2147483647 h 624"/>
                <a:gd name="T42" fmla="*/ 2147483647 w 234"/>
                <a:gd name="T43" fmla="*/ 2147483647 h 624"/>
                <a:gd name="T44" fmla="*/ 2147483647 w 234"/>
                <a:gd name="T45" fmla="*/ 2147483647 h 624"/>
                <a:gd name="T46" fmla="*/ 2147483647 w 234"/>
                <a:gd name="T47" fmla="*/ 0 h 624"/>
                <a:gd name="T48" fmla="*/ 2147483647 w 234"/>
                <a:gd name="T49" fmla="*/ 2147483647 h 624"/>
                <a:gd name="T50" fmla="*/ 2147483647 w 234"/>
                <a:gd name="T51" fmla="*/ 2147483647 h 624"/>
                <a:gd name="T52" fmla="*/ 2147483647 w 234"/>
                <a:gd name="T53" fmla="*/ 2147483647 h 624"/>
                <a:gd name="T54" fmla="*/ 2147483647 w 234"/>
                <a:gd name="T55" fmla="*/ 2147483647 h 624"/>
                <a:gd name="T56" fmla="*/ 2147483647 w 234"/>
                <a:gd name="T57" fmla="*/ 2147483647 h 624"/>
                <a:gd name="T58" fmla="*/ 2147483647 w 234"/>
                <a:gd name="T59" fmla="*/ 2147483647 h 624"/>
                <a:gd name="T60" fmla="*/ 2147483647 w 234"/>
                <a:gd name="T61" fmla="*/ 2147483647 h 624"/>
                <a:gd name="T62" fmla="*/ 2147483647 w 234"/>
                <a:gd name="T63" fmla="*/ 2147483647 h 624"/>
                <a:gd name="T64" fmla="*/ 2147483647 w 234"/>
                <a:gd name="T65" fmla="*/ 2147483647 h 624"/>
                <a:gd name="T66" fmla="*/ 2147483647 w 234"/>
                <a:gd name="T67" fmla="*/ 2147483647 h 624"/>
                <a:gd name="T68" fmla="*/ 2147483647 w 234"/>
                <a:gd name="T69" fmla="*/ 2147483647 h 624"/>
                <a:gd name="T70" fmla="*/ 2147483647 w 234"/>
                <a:gd name="T71" fmla="*/ 2147483647 h 624"/>
                <a:gd name="T72" fmla="*/ 2147483647 w 234"/>
                <a:gd name="T73" fmla="*/ 2147483647 h 624"/>
                <a:gd name="T74" fmla="*/ 0 w 234"/>
                <a:gd name="T75" fmla="*/ 2147483647 h 624"/>
                <a:gd name="T76" fmla="*/ 2147483647 w 234"/>
                <a:gd name="T77" fmla="*/ 2147483647 h 624"/>
                <a:gd name="T78" fmla="*/ 2147483647 w 234"/>
                <a:gd name="T79" fmla="*/ 2147483647 h 624"/>
                <a:gd name="T80" fmla="*/ 2147483647 w 234"/>
                <a:gd name="T81" fmla="*/ 2147483647 h 624"/>
                <a:gd name="T82" fmla="*/ 2147483647 w 234"/>
                <a:gd name="T83" fmla="*/ 2147483647 h 624"/>
                <a:gd name="T84" fmla="*/ 2147483647 w 234"/>
                <a:gd name="T85" fmla="*/ 2147483647 h 624"/>
                <a:gd name="T86" fmla="*/ 2147483647 w 234"/>
                <a:gd name="T87" fmla="*/ 2147483647 h 624"/>
                <a:gd name="T88" fmla="*/ 2147483647 w 234"/>
                <a:gd name="T89" fmla="*/ 2147483647 h 624"/>
                <a:gd name="T90" fmla="*/ 2147483647 w 234"/>
                <a:gd name="T91" fmla="*/ 2147483647 h 624"/>
                <a:gd name="T92" fmla="*/ 2147483647 w 234"/>
                <a:gd name="T93" fmla="*/ 2147483647 h 624"/>
                <a:gd name="T94" fmla="*/ 2147483647 w 234"/>
                <a:gd name="T95" fmla="*/ 2147483647 h 624"/>
                <a:gd name="T96" fmla="*/ 2147483647 w 234"/>
                <a:gd name="T97" fmla="*/ 2147483647 h 624"/>
                <a:gd name="T98" fmla="*/ 2147483647 w 234"/>
                <a:gd name="T99" fmla="*/ 2147483647 h 624"/>
                <a:gd name="T100" fmla="*/ 2147483647 w 234"/>
                <a:gd name="T101" fmla="*/ 2147483647 h 624"/>
                <a:gd name="T102" fmla="*/ 2147483647 w 234"/>
                <a:gd name="T103" fmla="*/ 2147483647 h 624"/>
                <a:gd name="T104" fmla="*/ 2147483647 w 234"/>
                <a:gd name="T105" fmla="*/ 2147483647 h 624"/>
                <a:gd name="T106" fmla="*/ 2147483647 w 234"/>
                <a:gd name="T107" fmla="*/ 2147483647 h 624"/>
                <a:gd name="T108" fmla="*/ 2147483647 w 234"/>
                <a:gd name="T109" fmla="*/ 2147483647 h 624"/>
                <a:gd name="T110" fmla="*/ 2147483647 w 234"/>
                <a:gd name="T111" fmla="*/ 2147483647 h 624"/>
                <a:gd name="T112" fmla="*/ 2147483647 w 234"/>
                <a:gd name="T113" fmla="*/ 2147483647 h 624"/>
                <a:gd name="T114" fmla="*/ 2147483647 w 234"/>
                <a:gd name="T115" fmla="*/ 2147483647 h 624"/>
                <a:gd name="T116" fmla="*/ 2147483647 w 234"/>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4"/>
                <a:gd name="T178" fmla="*/ 0 h 624"/>
                <a:gd name="T179" fmla="*/ 234 w 234"/>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4" h="624">
                  <a:moveTo>
                    <a:pt x="234" y="432"/>
                  </a:moveTo>
                  <a:lnTo>
                    <a:pt x="222" y="420"/>
                  </a:lnTo>
                  <a:lnTo>
                    <a:pt x="210" y="402"/>
                  </a:lnTo>
                  <a:lnTo>
                    <a:pt x="204" y="390"/>
                  </a:lnTo>
                  <a:lnTo>
                    <a:pt x="198" y="384"/>
                  </a:lnTo>
                  <a:lnTo>
                    <a:pt x="186" y="360"/>
                  </a:lnTo>
                  <a:lnTo>
                    <a:pt x="162" y="336"/>
                  </a:lnTo>
                  <a:lnTo>
                    <a:pt x="156" y="336"/>
                  </a:lnTo>
                  <a:lnTo>
                    <a:pt x="156" y="330"/>
                  </a:lnTo>
                  <a:lnTo>
                    <a:pt x="150" y="330"/>
                  </a:lnTo>
                  <a:lnTo>
                    <a:pt x="150" y="342"/>
                  </a:lnTo>
                  <a:lnTo>
                    <a:pt x="156" y="342"/>
                  </a:lnTo>
                  <a:lnTo>
                    <a:pt x="168" y="354"/>
                  </a:lnTo>
                  <a:lnTo>
                    <a:pt x="168" y="366"/>
                  </a:lnTo>
                  <a:lnTo>
                    <a:pt x="174" y="378"/>
                  </a:lnTo>
                  <a:lnTo>
                    <a:pt x="174" y="390"/>
                  </a:lnTo>
                  <a:lnTo>
                    <a:pt x="168" y="396"/>
                  </a:lnTo>
                  <a:lnTo>
                    <a:pt x="162" y="396"/>
                  </a:lnTo>
                  <a:lnTo>
                    <a:pt x="162" y="390"/>
                  </a:lnTo>
                  <a:lnTo>
                    <a:pt x="156" y="384"/>
                  </a:lnTo>
                  <a:lnTo>
                    <a:pt x="156" y="378"/>
                  </a:lnTo>
                  <a:lnTo>
                    <a:pt x="144" y="384"/>
                  </a:lnTo>
                  <a:lnTo>
                    <a:pt x="132" y="384"/>
                  </a:lnTo>
                  <a:lnTo>
                    <a:pt x="132" y="360"/>
                  </a:lnTo>
                  <a:lnTo>
                    <a:pt x="126" y="354"/>
                  </a:lnTo>
                  <a:lnTo>
                    <a:pt x="126" y="342"/>
                  </a:lnTo>
                  <a:lnTo>
                    <a:pt x="120" y="330"/>
                  </a:lnTo>
                  <a:lnTo>
                    <a:pt x="120" y="282"/>
                  </a:lnTo>
                  <a:lnTo>
                    <a:pt x="84" y="246"/>
                  </a:lnTo>
                  <a:lnTo>
                    <a:pt x="90" y="240"/>
                  </a:lnTo>
                  <a:lnTo>
                    <a:pt x="90" y="222"/>
                  </a:lnTo>
                  <a:lnTo>
                    <a:pt x="96" y="210"/>
                  </a:lnTo>
                  <a:lnTo>
                    <a:pt x="114" y="192"/>
                  </a:lnTo>
                  <a:lnTo>
                    <a:pt x="120" y="180"/>
                  </a:lnTo>
                  <a:lnTo>
                    <a:pt x="126" y="174"/>
                  </a:lnTo>
                  <a:lnTo>
                    <a:pt x="126" y="156"/>
                  </a:lnTo>
                  <a:lnTo>
                    <a:pt x="120" y="150"/>
                  </a:lnTo>
                  <a:lnTo>
                    <a:pt x="120" y="102"/>
                  </a:lnTo>
                  <a:lnTo>
                    <a:pt x="114" y="78"/>
                  </a:lnTo>
                  <a:lnTo>
                    <a:pt x="114" y="60"/>
                  </a:lnTo>
                  <a:lnTo>
                    <a:pt x="102" y="60"/>
                  </a:lnTo>
                  <a:lnTo>
                    <a:pt x="84" y="42"/>
                  </a:lnTo>
                  <a:lnTo>
                    <a:pt x="84" y="36"/>
                  </a:lnTo>
                  <a:lnTo>
                    <a:pt x="90" y="24"/>
                  </a:lnTo>
                  <a:lnTo>
                    <a:pt x="90" y="18"/>
                  </a:lnTo>
                  <a:lnTo>
                    <a:pt x="60" y="18"/>
                  </a:lnTo>
                  <a:lnTo>
                    <a:pt x="54" y="0"/>
                  </a:lnTo>
                  <a:lnTo>
                    <a:pt x="30" y="0"/>
                  </a:lnTo>
                  <a:lnTo>
                    <a:pt x="30" y="12"/>
                  </a:lnTo>
                  <a:lnTo>
                    <a:pt x="42" y="12"/>
                  </a:lnTo>
                  <a:lnTo>
                    <a:pt x="54" y="24"/>
                  </a:lnTo>
                  <a:lnTo>
                    <a:pt x="54" y="66"/>
                  </a:lnTo>
                  <a:lnTo>
                    <a:pt x="60" y="66"/>
                  </a:lnTo>
                  <a:lnTo>
                    <a:pt x="66" y="60"/>
                  </a:lnTo>
                  <a:lnTo>
                    <a:pt x="66" y="84"/>
                  </a:lnTo>
                  <a:lnTo>
                    <a:pt x="78" y="84"/>
                  </a:lnTo>
                  <a:lnTo>
                    <a:pt x="78" y="96"/>
                  </a:lnTo>
                  <a:lnTo>
                    <a:pt x="54" y="108"/>
                  </a:lnTo>
                  <a:lnTo>
                    <a:pt x="48" y="114"/>
                  </a:lnTo>
                  <a:lnTo>
                    <a:pt x="42" y="114"/>
                  </a:lnTo>
                  <a:lnTo>
                    <a:pt x="42" y="132"/>
                  </a:lnTo>
                  <a:lnTo>
                    <a:pt x="54" y="138"/>
                  </a:lnTo>
                  <a:lnTo>
                    <a:pt x="48" y="156"/>
                  </a:lnTo>
                  <a:lnTo>
                    <a:pt x="48" y="228"/>
                  </a:lnTo>
                  <a:lnTo>
                    <a:pt x="60" y="228"/>
                  </a:lnTo>
                  <a:lnTo>
                    <a:pt x="60" y="234"/>
                  </a:lnTo>
                  <a:lnTo>
                    <a:pt x="42" y="252"/>
                  </a:lnTo>
                  <a:lnTo>
                    <a:pt x="30" y="258"/>
                  </a:lnTo>
                  <a:lnTo>
                    <a:pt x="24" y="264"/>
                  </a:lnTo>
                  <a:lnTo>
                    <a:pt x="18" y="264"/>
                  </a:lnTo>
                  <a:lnTo>
                    <a:pt x="24" y="300"/>
                  </a:lnTo>
                  <a:lnTo>
                    <a:pt x="18" y="312"/>
                  </a:lnTo>
                  <a:lnTo>
                    <a:pt x="12" y="318"/>
                  </a:lnTo>
                  <a:lnTo>
                    <a:pt x="6" y="330"/>
                  </a:lnTo>
                  <a:lnTo>
                    <a:pt x="0" y="336"/>
                  </a:lnTo>
                  <a:lnTo>
                    <a:pt x="0" y="342"/>
                  </a:lnTo>
                  <a:lnTo>
                    <a:pt x="12" y="348"/>
                  </a:lnTo>
                  <a:lnTo>
                    <a:pt x="24" y="360"/>
                  </a:lnTo>
                  <a:lnTo>
                    <a:pt x="36" y="366"/>
                  </a:lnTo>
                  <a:lnTo>
                    <a:pt x="66" y="414"/>
                  </a:lnTo>
                  <a:lnTo>
                    <a:pt x="96" y="414"/>
                  </a:lnTo>
                  <a:lnTo>
                    <a:pt x="102" y="408"/>
                  </a:lnTo>
                  <a:lnTo>
                    <a:pt x="120" y="408"/>
                  </a:lnTo>
                  <a:lnTo>
                    <a:pt x="126" y="414"/>
                  </a:lnTo>
                  <a:lnTo>
                    <a:pt x="126" y="450"/>
                  </a:lnTo>
                  <a:lnTo>
                    <a:pt x="132" y="450"/>
                  </a:lnTo>
                  <a:lnTo>
                    <a:pt x="126" y="480"/>
                  </a:lnTo>
                  <a:lnTo>
                    <a:pt x="114" y="486"/>
                  </a:lnTo>
                  <a:lnTo>
                    <a:pt x="126" y="504"/>
                  </a:lnTo>
                  <a:lnTo>
                    <a:pt x="120" y="510"/>
                  </a:lnTo>
                  <a:lnTo>
                    <a:pt x="108" y="516"/>
                  </a:lnTo>
                  <a:lnTo>
                    <a:pt x="102" y="522"/>
                  </a:lnTo>
                  <a:lnTo>
                    <a:pt x="102" y="528"/>
                  </a:lnTo>
                  <a:lnTo>
                    <a:pt x="114" y="528"/>
                  </a:lnTo>
                  <a:lnTo>
                    <a:pt x="114" y="558"/>
                  </a:lnTo>
                  <a:lnTo>
                    <a:pt x="126" y="564"/>
                  </a:lnTo>
                  <a:lnTo>
                    <a:pt x="132" y="570"/>
                  </a:lnTo>
                  <a:lnTo>
                    <a:pt x="144" y="576"/>
                  </a:lnTo>
                  <a:lnTo>
                    <a:pt x="150" y="582"/>
                  </a:lnTo>
                  <a:lnTo>
                    <a:pt x="162" y="588"/>
                  </a:lnTo>
                  <a:lnTo>
                    <a:pt x="162" y="600"/>
                  </a:lnTo>
                  <a:lnTo>
                    <a:pt x="156" y="606"/>
                  </a:lnTo>
                  <a:lnTo>
                    <a:pt x="156" y="618"/>
                  </a:lnTo>
                  <a:lnTo>
                    <a:pt x="162" y="624"/>
                  </a:lnTo>
                  <a:lnTo>
                    <a:pt x="168" y="618"/>
                  </a:lnTo>
                  <a:lnTo>
                    <a:pt x="180" y="612"/>
                  </a:lnTo>
                  <a:lnTo>
                    <a:pt x="180" y="582"/>
                  </a:lnTo>
                  <a:lnTo>
                    <a:pt x="174" y="576"/>
                  </a:lnTo>
                  <a:lnTo>
                    <a:pt x="168" y="576"/>
                  </a:lnTo>
                  <a:lnTo>
                    <a:pt x="168" y="558"/>
                  </a:lnTo>
                  <a:lnTo>
                    <a:pt x="174" y="546"/>
                  </a:lnTo>
                  <a:lnTo>
                    <a:pt x="186" y="540"/>
                  </a:lnTo>
                  <a:lnTo>
                    <a:pt x="210" y="540"/>
                  </a:lnTo>
                  <a:lnTo>
                    <a:pt x="216" y="534"/>
                  </a:lnTo>
                  <a:lnTo>
                    <a:pt x="216" y="474"/>
                  </a:lnTo>
                  <a:lnTo>
                    <a:pt x="222" y="468"/>
                  </a:lnTo>
                  <a:lnTo>
                    <a:pt x="228" y="456"/>
                  </a:lnTo>
                  <a:lnTo>
                    <a:pt x="234" y="450"/>
                  </a:lnTo>
                  <a:lnTo>
                    <a:pt x="234" y="43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13" name="Madagaskar" descr="© INSCALE GmbH, 05.05.2010&#10;http://www.presentationload.com/">
              <a:extLst>
                <a:ext uri="{FF2B5EF4-FFF2-40B4-BE49-F238E27FC236}">
                  <a16:creationId xmlns:a16="http://schemas.microsoft.com/office/drawing/2014/main" id="{309EC19F-161A-48EE-B11E-4078A608082D}"/>
                </a:ext>
              </a:extLst>
            </p:cNvPr>
            <p:cNvSpPr>
              <a:spLocks/>
            </p:cNvSpPr>
            <p:nvPr/>
          </p:nvSpPr>
          <p:spPr bwMode="gray">
            <a:xfrm>
              <a:off x="5319488" y="4646204"/>
              <a:ext cx="236771" cy="432774"/>
            </a:xfrm>
            <a:custGeom>
              <a:avLst/>
              <a:gdLst>
                <a:gd name="T0" fmla="*/ 2147483647 w 594"/>
                <a:gd name="T1" fmla="*/ 2147483647 h 1092"/>
                <a:gd name="T2" fmla="*/ 2147483647 w 594"/>
                <a:gd name="T3" fmla="*/ 2147483647 h 1092"/>
                <a:gd name="T4" fmla="*/ 2147483647 w 594"/>
                <a:gd name="T5" fmla="*/ 2147483647 h 1092"/>
                <a:gd name="T6" fmla="*/ 2147483647 w 594"/>
                <a:gd name="T7" fmla="*/ 2147483647 h 1092"/>
                <a:gd name="T8" fmla="*/ 2147483647 w 594"/>
                <a:gd name="T9" fmla="*/ 2147483647 h 1092"/>
                <a:gd name="T10" fmla="*/ 2147483647 w 594"/>
                <a:gd name="T11" fmla="*/ 2147483647 h 1092"/>
                <a:gd name="T12" fmla="*/ 2147483647 w 594"/>
                <a:gd name="T13" fmla="*/ 2147483647 h 1092"/>
                <a:gd name="T14" fmla="*/ 2147483647 w 594"/>
                <a:gd name="T15" fmla="*/ 2147483647 h 1092"/>
                <a:gd name="T16" fmla="*/ 2147483647 w 594"/>
                <a:gd name="T17" fmla="*/ 2147483647 h 1092"/>
                <a:gd name="T18" fmla="*/ 2147483647 w 594"/>
                <a:gd name="T19" fmla="*/ 2147483647 h 1092"/>
                <a:gd name="T20" fmla="*/ 2147483647 w 594"/>
                <a:gd name="T21" fmla="*/ 2147483647 h 1092"/>
                <a:gd name="T22" fmla="*/ 2147483647 w 594"/>
                <a:gd name="T23" fmla="*/ 2147483647 h 1092"/>
                <a:gd name="T24" fmla="*/ 2147483647 w 594"/>
                <a:gd name="T25" fmla="*/ 2147483647 h 1092"/>
                <a:gd name="T26" fmla="*/ 2147483647 w 594"/>
                <a:gd name="T27" fmla="*/ 2147483647 h 1092"/>
                <a:gd name="T28" fmla="*/ 2147483647 w 594"/>
                <a:gd name="T29" fmla="*/ 2147483647 h 1092"/>
                <a:gd name="T30" fmla="*/ 2147483647 w 594"/>
                <a:gd name="T31" fmla="*/ 2147483647 h 1092"/>
                <a:gd name="T32" fmla="*/ 2147483647 w 594"/>
                <a:gd name="T33" fmla="*/ 0 h 1092"/>
                <a:gd name="T34" fmla="*/ 2147483647 w 594"/>
                <a:gd name="T35" fmla="*/ 2147483647 h 1092"/>
                <a:gd name="T36" fmla="*/ 2147483647 w 594"/>
                <a:gd name="T37" fmla="*/ 2147483647 h 1092"/>
                <a:gd name="T38" fmla="*/ 2147483647 w 594"/>
                <a:gd name="T39" fmla="*/ 2147483647 h 1092"/>
                <a:gd name="T40" fmla="*/ 2147483647 w 594"/>
                <a:gd name="T41" fmla="*/ 2147483647 h 1092"/>
                <a:gd name="T42" fmla="*/ 2147483647 w 594"/>
                <a:gd name="T43" fmla="*/ 2147483647 h 1092"/>
                <a:gd name="T44" fmla="*/ 2147483647 w 594"/>
                <a:gd name="T45" fmla="*/ 2147483647 h 1092"/>
                <a:gd name="T46" fmla="*/ 2147483647 w 594"/>
                <a:gd name="T47" fmla="*/ 2147483647 h 1092"/>
                <a:gd name="T48" fmla="*/ 2147483647 w 594"/>
                <a:gd name="T49" fmla="*/ 2147483647 h 1092"/>
                <a:gd name="T50" fmla="*/ 2147483647 w 594"/>
                <a:gd name="T51" fmla="*/ 2147483647 h 1092"/>
                <a:gd name="T52" fmla="*/ 2147483647 w 594"/>
                <a:gd name="T53" fmla="*/ 2147483647 h 1092"/>
                <a:gd name="T54" fmla="*/ 2147483647 w 594"/>
                <a:gd name="T55" fmla="*/ 2147483647 h 1092"/>
                <a:gd name="T56" fmla="*/ 2147483647 w 594"/>
                <a:gd name="T57" fmla="*/ 2147483647 h 1092"/>
                <a:gd name="T58" fmla="*/ 2147483647 w 594"/>
                <a:gd name="T59" fmla="*/ 2147483647 h 1092"/>
                <a:gd name="T60" fmla="*/ 2147483647 w 594"/>
                <a:gd name="T61" fmla="*/ 2147483647 h 1092"/>
                <a:gd name="T62" fmla="*/ 2147483647 w 594"/>
                <a:gd name="T63" fmla="*/ 2147483647 h 1092"/>
                <a:gd name="T64" fmla="*/ 2147483647 w 594"/>
                <a:gd name="T65" fmla="*/ 2147483647 h 1092"/>
                <a:gd name="T66" fmla="*/ 2147483647 w 594"/>
                <a:gd name="T67" fmla="*/ 2147483647 h 1092"/>
                <a:gd name="T68" fmla="*/ 2147483647 w 594"/>
                <a:gd name="T69" fmla="*/ 2147483647 h 1092"/>
                <a:gd name="T70" fmla="*/ 2147483647 w 594"/>
                <a:gd name="T71" fmla="*/ 2147483647 h 1092"/>
                <a:gd name="T72" fmla="*/ 2147483647 w 594"/>
                <a:gd name="T73" fmla="*/ 2147483647 h 1092"/>
                <a:gd name="T74" fmla="*/ 2147483647 w 594"/>
                <a:gd name="T75" fmla="*/ 2147483647 h 1092"/>
                <a:gd name="T76" fmla="*/ 2147483647 w 594"/>
                <a:gd name="T77" fmla="*/ 2147483647 h 1092"/>
                <a:gd name="T78" fmla="*/ 2147483647 w 594"/>
                <a:gd name="T79" fmla="*/ 2147483647 h 1092"/>
                <a:gd name="T80" fmla="*/ 2147483647 w 594"/>
                <a:gd name="T81" fmla="*/ 2147483647 h 1092"/>
                <a:gd name="T82" fmla="*/ 2147483647 w 594"/>
                <a:gd name="T83" fmla="*/ 2147483647 h 1092"/>
                <a:gd name="T84" fmla="*/ 2147483647 w 594"/>
                <a:gd name="T85" fmla="*/ 2147483647 h 1092"/>
                <a:gd name="T86" fmla="*/ 0 w 594"/>
                <a:gd name="T87" fmla="*/ 2147483647 h 1092"/>
                <a:gd name="T88" fmla="*/ 2147483647 w 594"/>
                <a:gd name="T89" fmla="*/ 2147483647 h 1092"/>
                <a:gd name="T90" fmla="*/ 2147483647 w 594"/>
                <a:gd name="T91" fmla="*/ 2147483647 h 1092"/>
                <a:gd name="T92" fmla="*/ 2147483647 w 594"/>
                <a:gd name="T93" fmla="*/ 2147483647 h 1092"/>
                <a:gd name="T94" fmla="*/ 2147483647 w 594"/>
                <a:gd name="T95" fmla="*/ 2147483647 h 1092"/>
                <a:gd name="T96" fmla="*/ 2147483647 w 594"/>
                <a:gd name="T97" fmla="*/ 2147483647 h 1092"/>
                <a:gd name="T98" fmla="*/ 2147483647 w 594"/>
                <a:gd name="T99" fmla="*/ 2147483647 h 1092"/>
                <a:gd name="T100" fmla="*/ 2147483647 w 594"/>
                <a:gd name="T101" fmla="*/ 2147483647 h 1092"/>
                <a:gd name="T102" fmla="*/ 2147483647 w 594"/>
                <a:gd name="T103" fmla="*/ 2147483647 h 10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4"/>
                <a:gd name="T157" fmla="*/ 0 h 1092"/>
                <a:gd name="T158" fmla="*/ 594 w 594"/>
                <a:gd name="T159" fmla="*/ 1092 h 10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4" h="1092">
                  <a:moveTo>
                    <a:pt x="120" y="330"/>
                  </a:moveTo>
                  <a:lnTo>
                    <a:pt x="144" y="324"/>
                  </a:lnTo>
                  <a:lnTo>
                    <a:pt x="192" y="324"/>
                  </a:lnTo>
                  <a:lnTo>
                    <a:pt x="192" y="300"/>
                  </a:lnTo>
                  <a:lnTo>
                    <a:pt x="252" y="312"/>
                  </a:lnTo>
                  <a:lnTo>
                    <a:pt x="270" y="282"/>
                  </a:lnTo>
                  <a:lnTo>
                    <a:pt x="312" y="288"/>
                  </a:lnTo>
                  <a:lnTo>
                    <a:pt x="312" y="258"/>
                  </a:lnTo>
                  <a:lnTo>
                    <a:pt x="324" y="228"/>
                  </a:lnTo>
                  <a:lnTo>
                    <a:pt x="324" y="258"/>
                  </a:lnTo>
                  <a:lnTo>
                    <a:pt x="336" y="276"/>
                  </a:lnTo>
                  <a:lnTo>
                    <a:pt x="348" y="240"/>
                  </a:lnTo>
                  <a:lnTo>
                    <a:pt x="348" y="210"/>
                  </a:lnTo>
                  <a:lnTo>
                    <a:pt x="354" y="192"/>
                  </a:lnTo>
                  <a:lnTo>
                    <a:pt x="354" y="186"/>
                  </a:lnTo>
                  <a:lnTo>
                    <a:pt x="360" y="186"/>
                  </a:lnTo>
                  <a:lnTo>
                    <a:pt x="372" y="198"/>
                  </a:lnTo>
                  <a:lnTo>
                    <a:pt x="372" y="204"/>
                  </a:lnTo>
                  <a:lnTo>
                    <a:pt x="378" y="204"/>
                  </a:lnTo>
                  <a:lnTo>
                    <a:pt x="402" y="180"/>
                  </a:lnTo>
                  <a:lnTo>
                    <a:pt x="396" y="168"/>
                  </a:lnTo>
                  <a:lnTo>
                    <a:pt x="396" y="150"/>
                  </a:lnTo>
                  <a:lnTo>
                    <a:pt x="390" y="138"/>
                  </a:lnTo>
                  <a:lnTo>
                    <a:pt x="402" y="126"/>
                  </a:lnTo>
                  <a:lnTo>
                    <a:pt x="414" y="126"/>
                  </a:lnTo>
                  <a:lnTo>
                    <a:pt x="420" y="132"/>
                  </a:lnTo>
                  <a:lnTo>
                    <a:pt x="426" y="132"/>
                  </a:lnTo>
                  <a:lnTo>
                    <a:pt x="432" y="126"/>
                  </a:lnTo>
                  <a:lnTo>
                    <a:pt x="438" y="114"/>
                  </a:lnTo>
                  <a:lnTo>
                    <a:pt x="450" y="102"/>
                  </a:lnTo>
                  <a:lnTo>
                    <a:pt x="456" y="90"/>
                  </a:lnTo>
                  <a:lnTo>
                    <a:pt x="462" y="72"/>
                  </a:lnTo>
                  <a:lnTo>
                    <a:pt x="462" y="42"/>
                  </a:lnTo>
                  <a:lnTo>
                    <a:pt x="492" y="0"/>
                  </a:lnTo>
                  <a:lnTo>
                    <a:pt x="546" y="60"/>
                  </a:lnTo>
                  <a:lnTo>
                    <a:pt x="546" y="90"/>
                  </a:lnTo>
                  <a:lnTo>
                    <a:pt x="552" y="96"/>
                  </a:lnTo>
                  <a:lnTo>
                    <a:pt x="558" y="114"/>
                  </a:lnTo>
                  <a:lnTo>
                    <a:pt x="576" y="150"/>
                  </a:lnTo>
                  <a:lnTo>
                    <a:pt x="582" y="156"/>
                  </a:lnTo>
                  <a:lnTo>
                    <a:pt x="582" y="162"/>
                  </a:lnTo>
                  <a:lnTo>
                    <a:pt x="564" y="216"/>
                  </a:lnTo>
                  <a:lnTo>
                    <a:pt x="594" y="276"/>
                  </a:lnTo>
                  <a:lnTo>
                    <a:pt x="594" y="288"/>
                  </a:lnTo>
                  <a:lnTo>
                    <a:pt x="588" y="294"/>
                  </a:lnTo>
                  <a:lnTo>
                    <a:pt x="576" y="294"/>
                  </a:lnTo>
                  <a:lnTo>
                    <a:pt x="564" y="288"/>
                  </a:lnTo>
                  <a:lnTo>
                    <a:pt x="558" y="282"/>
                  </a:lnTo>
                  <a:lnTo>
                    <a:pt x="552" y="282"/>
                  </a:lnTo>
                  <a:lnTo>
                    <a:pt x="522" y="288"/>
                  </a:lnTo>
                  <a:lnTo>
                    <a:pt x="528" y="330"/>
                  </a:lnTo>
                  <a:lnTo>
                    <a:pt x="522" y="336"/>
                  </a:lnTo>
                  <a:lnTo>
                    <a:pt x="516" y="348"/>
                  </a:lnTo>
                  <a:lnTo>
                    <a:pt x="504" y="354"/>
                  </a:lnTo>
                  <a:lnTo>
                    <a:pt x="486" y="390"/>
                  </a:lnTo>
                  <a:lnTo>
                    <a:pt x="486" y="402"/>
                  </a:lnTo>
                  <a:lnTo>
                    <a:pt x="492" y="414"/>
                  </a:lnTo>
                  <a:lnTo>
                    <a:pt x="504" y="450"/>
                  </a:lnTo>
                  <a:lnTo>
                    <a:pt x="498" y="468"/>
                  </a:lnTo>
                  <a:lnTo>
                    <a:pt x="486" y="510"/>
                  </a:lnTo>
                  <a:lnTo>
                    <a:pt x="462" y="570"/>
                  </a:lnTo>
                  <a:lnTo>
                    <a:pt x="432" y="642"/>
                  </a:lnTo>
                  <a:lnTo>
                    <a:pt x="390" y="720"/>
                  </a:lnTo>
                  <a:lnTo>
                    <a:pt x="324" y="852"/>
                  </a:lnTo>
                  <a:lnTo>
                    <a:pt x="312" y="894"/>
                  </a:lnTo>
                  <a:lnTo>
                    <a:pt x="306" y="912"/>
                  </a:lnTo>
                  <a:lnTo>
                    <a:pt x="306" y="948"/>
                  </a:lnTo>
                  <a:lnTo>
                    <a:pt x="294" y="984"/>
                  </a:lnTo>
                  <a:lnTo>
                    <a:pt x="276" y="1014"/>
                  </a:lnTo>
                  <a:lnTo>
                    <a:pt x="258" y="1032"/>
                  </a:lnTo>
                  <a:lnTo>
                    <a:pt x="240" y="1044"/>
                  </a:lnTo>
                  <a:lnTo>
                    <a:pt x="222" y="1062"/>
                  </a:lnTo>
                  <a:lnTo>
                    <a:pt x="216" y="1062"/>
                  </a:lnTo>
                  <a:lnTo>
                    <a:pt x="210" y="1068"/>
                  </a:lnTo>
                  <a:lnTo>
                    <a:pt x="186" y="1068"/>
                  </a:lnTo>
                  <a:lnTo>
                    <a:pt x="150" y="1086"/>
                  </a:lnTo>
                  <a:lnTo>
                    <a:pt x="114" y="1092"/>
                  </a:lnTo>
                  <a:lnTo>
                    <a:pt x="78" y="1074"/>
                  </a:lnTo>
                  <a:lnTo>
                    <a:pt x="60" y="1056"/>
                  </a:lnTo>
                  <a:lnTo>
                    <a:pt x="48" y="1038"/>
                  </a:lnTo>
                  <a:lnTo>
                    <a:pt x="36" y="1026"/>
                  </a:lnTo>
                  <a:lnTo>
                    <a:pt x="36" y="1020"/>
                  </a:lnTo>
                  <a:lnTo>
                    <a:pt x="30" y="1014"/>
                  </a:lnTo>
                  <a:lnTo>
                    <a:pt x="48" y="990"/>
                  </a:lnTo>
                  <a:lnTo>
                    <a:pt x="42" y="978"/>
                  </a:lnTo>
                  <a:lnTo>
                    <a:pt x="24" y="948"/>
                  </a:lnTo>
                  <a:lnTo>
                    <a:pt x="12" y="900"/>
                  </a:lnTo>
                  <a:lnTo>
                    <a:pt x="0" y="834"/>
                  </a:lnTo>
                  <a:lnTo>
                    <a:pt x="0" y="786"/>
                  </a:lnTo>
                  <a:lnTo>
                    <a:pt x="6" y="756"/>
                  </a:lnTo>
                  <a:lnTo>
                    <a:pt x="18" y="738"/>
                  </a:lnTo>
                  <a:lnTo>
                    <a:pt x="60" y="696"/>
                  </a:lnTo>
                  <a:lnTo>
                    <a:pt x="72" y="678"/>
                  </a:lnTo>
                  <a:lnTo>
                    <a:pt x="90" y="672"/>
                  </a:lnTo>
                  <a:lnTo>
                    <a:pt x="96" y="660"/>
                  </a:lnTo>
                  <a:lnTo>
                    <a:pt x="108" y="654"/>
                  </a:lnTo>
                  <a:lnTo>
                    <a:pt x="108" y="636"/>
                  </a:lnTo>
                  <a:lnTo>
                    <a:pt x="102" y="600"/>
                  </a:lnTo>
                  <a:lnTo>
                    <a:pt x="96" y="558"/>
                  </a:lnTo>
                  <a:lnTo>
                    <a:pt x="96" y="522"/>
                  </a:lnTo>
                  <a:lnTo>
                    <a:pt x="78" y="432"/>
                  </a:lnTo>
                  <a:lnTo>
                    <a:pt x="90" y="408"/>
                  </a:lnTo>
                  <a:lnTo>
                    <a:pt x="132" y="366"/>
                  </a:lnTo>
                  <a:lnTo>
                    <a:pt x="132" y="360"/>
                  </a:lnTo>
                  <a:lnTo>
                    <a:pt x="120" y="33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14" name="Luxemburg" descr="© INSCALE GmbH, 05.05.2010&#10;http://www.presentationload.com/">
              <a:extLst>
                <a:ext uri="{FF2B5EF4-FFF2-40B4-BE49-F238E27FC236}">
                  <a16:creationId xmlns:a16="http://schemas.microsoft.com/office/drawing/2014/main" id="{1B9F4941-D766-4125-B657-DB268B3A81AD}"/>
                </a:ext>
              </a:extLst>
            </p:cNvPr>
            <p:cNvSpPr>
              <a:spLocks/>
            </p:cNvSpPr>
            <p:nvPr/>
          </p:nvSpPr>
          <p:spPr bwMode="gray">
            <a:xfrm>
              <a:off x="4304978" y="2653245"/>
              <a:ext cx="20384" cy="17249"/>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15" name="Litauen" descr="© INSCALE GmbH, 05.05.2010&#10;http://www.presentationload.com/">
              <a:extLst>
                <a:ext uri="{FF2B5EF4-FFF2-40B4-BE49-F238E27FC236}">
                  <a16:creationId xmlns:a16="http://schemas.microsoft.com/office/drawing/2014/main" id="{7B2877AA-19F7-44A3-B466-A0376B346BA3}"/>
                </a:ext>
              </a:extLst>
            </p:cNvPr>
            <p:cNvSpPr>
              <a:spLocks/>
            </p:cNvSpPr>
            <p:nvPr/>
          </p:nvSpPr>
          <p:spPr bwMode="gray">
            <a:xfrm>
              <a:off x="4671895" y="2458811"/>
              <a:ext cx="134850" cy="78401"/>
            </a:xfrm>
            <a:custGeom>
              <a:avLst/>
              <a:gdLst>
                <a:gd name="T0" fmla="*/ 2147483647 w 342"/>
                <a:gd name="T1" fmla="*/ 2147483647 h 198"/>
                <a:gd name="T2" fmla="*/ 2147483647 w 342"/>
                <a:gd name="T3" fmla="*/ 2147483647 h 198"/>
                <a:gd name="T4" fmla="*/ 2147483647 w 342"/>
                <a:gd name="T5" fmla="*/ 2147483647 h 198"/>
                <a:gd name="T6" fmla="*/ 2147483647 w 342"/>
                <a:gd name="T7" fmla="*/ 2147483647 h 198"/>
                <a:gd name="T8" fmla="*/ 2147483647 w 342"/>
                <a:gd name="T9" fmla="*/ 2147483647 h 198"/>
                <a:gd name="T10" fmla="*/ 2147483647 w 342"/>
                <a:gd name="T11" fmla="*/ 2147483647 h 198"/>
                <a:gd name="T12" fmla="*/ 2147483647 w 342"/>
                <a:gd name="T13" fmla="*/ 2147483647 h 198"/>
                <a:gd name="T14" fmla="*/ 2147483647 w 342"/>
                <a:gd name="T15" fmla="*/ 2147483647 h 198"/>
                <a:gd name="T16" fmla="*/ 2147483647 w 342"/>
                <a:gd name="T17" fmla="*/ 2147483647 h 198"/>
                <a:gd name="T18" fmla="*/ 2147483647 w 342"/>
                <a:gd name="T19" fmla="*/ 2147483647 h 198"/>
                <a:gd name="T20" fmla="*/ 2147483647 w 342"/>
                <a:gd name="T21" fmla="*/ 2147483647 h 198"/>
                <a:gd name="T22" fmla="*/ 2147483647 w 342"/>
                <a:gd name="T23" fmla="*/ 2147483647 h 198"/>
                <a:gd name="T24" fmla="*/ 2147483647 w 342"/>
                <a:gd name="T25" fmla="*/ 0 h 198"/>
                <a:gd name="T26" fmla="*/ 2147483647 w 342"/>
                <a:gd name="T27" fmla="*/ 2147483647 h 198"/>
                <a:gd name="T28" fmla="*/ 0 w 342"/>
                <a:gd name="T29" fmla="*/ 2147483647 h 198"/>
                <a:gd name="T30" fmla="*/ 2147483647 w 342"/>
                <a:gd name="T31" fmla="*/ 2147483647 h 198"/>
                <a:gd name="T32" fmla="*/ 2147483647 w 342"/>
                <a:gd name="T33" fmla="*/ 2147483647 h 198"/>
                <a:gd name="T34" fmla="*/ 2147483647 w 342"/>
                <a:gd name="T35" fmla="*/ 2147483647 h 198"/>
                <a:gd name="T36" fmla="*/ 2147483647 w 342"/>
                <a:gd name="T37" fmla="*/ 2147483647 h 198"/>
                <a:gd name="T38" fmla="*/ 2147483647 w 342"/>
                <a:gd name="T39" fmla="*/ 2147483647 h 198"/>
                <a:gd name="T40" fmla="*/ 2147483647 w 342"/>
                <a:gd name="T41" fmla="*/ 2147483647 h 198"/>
                <a:gd name="T42" fmla="*/ 2147483647 w 342"/>
                <a:gd name="T43" fmla="*/ 2147483647 h 198"/>
                <a:gd name="T44" fmla="*/ 2147483647 w 342"/>
                <a:gd name="T45" fmla="*/ 2147483647 h 198"/>
                <a:gd name="T46" fmla="*/ 2147483647 w 342"/>
                <a:gd name="T47" fmla="*/ 2147483647 h 198"/>
                <a:gd name="T48" fmla="*/ 2147483647 w 342"/>
                <a:gd name="T49" fmla="*/ 2147483647 h 198"/>
                <a:gd name="T50" fmla="*/ 2147483647 w 342"/>
                <a:gd name="T51" fmla="*/ 2147483647 h 198"/>
                <a:gd name="T52" fmla="*/ 2147483647 w 342"/>
                <a:gd name="T53" fmla="*/ 2147483647 h 198"/>
                <a:gd name="T54" fmla="*/ 2147483647 w 342"/>
                <a:gd name="T55" fmla="*/ 2147483647 h 198"/>
                <a:gd name="T56" fmla="*/ 2147483647 w 342"/>
                <a:gd name="T57" fmla="*/ 2147483647 h 198"/>
                <a:gd name="T58" fmla="*/ 2147483647 w 342"/>
                <a:gd name="T59" fmla="*/ 2147483647 h 198"/>
                <a:gd name="T60" fmla="*/ 2147483647 w 342"/>
                <a:gd name="T61" fmla="*/ 2147483647 h 198"/>
                <a:gd name="T62" fmla="*/ 2147483647 w 342"/>
                <a:gd name="T63" fmla="*/ 2147483647 h 198"/>
                <a:gd name="T64" fmla="*/ 2147483647 w 342"/>
                <a:gd name="T65" fmla="*/ 2147483647 h 198"/>
                <a:gd name="T66" fmla="*/ 2147483647 w 342"/>
                <a:gd name="T67" fmla="*/ 2147483647 h 198"/>
                <a:gd name="T68" fmla="*/ 2147483647 w 342"/>
                <a:gd name="T69" fmla="*/ 2147483647 h 198"/>
                <a:gd name="T70" fmla="*/ 2147483647 w 342"/>
                <a:gd name="T71" fmla="*/ 2147483647 h 198"/>
                <a:gd name="T72" fmla="*/ 2147483647 w 342"/>
                <a:gd name="T73" fmla="*/ 2147483647 h 198"/>
                <a:gd name="T74" fmla="*/ 2147483647 w 342"/>
                <a:gd name="T75" fmla="*/ 2147483647 h 198"/>
                <a:gd name="T76" fmla="*/ 2147483647 w 342"/>
                <a:gd name="T77" fmla="*/ 2147483647 h 198"/>
                <a:gd name="T78" fmla="*/ 2147483647 w 342"/>
                <a:gd name="T79" fmla="*/ 2147483647 h 198"/>
                <a:gd name="T80" fmla="*/ 2147483647 w 342"/>
                <a:gd name="T81" fmla="*/ 2147483647 h 198"/>
                <a:gd name="T82" fmla="*/ 2147483647 w 342"/>
                <a:gd name="T83" fmla="*/ 2147483647 h 198"/>
                <a:gd name="T84" fmla="*/ 2147483647 w 342"/>
                <a:gd name="T85" fmla="*/ 2147483647 h 1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2"/>
                <a:gd name="T130" fmla="*/ 0 h 198"/>
                <a:gd name="T131" fmla="*/ 342 w 342"/>
                <a:gd name="T132" fmla="*/ 198 h 1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2" h="198">
                  <a:moveTo>
                    <a:pt x="330" y="60"/>
                  </a:moveTo>
                  <a:lnTo>
                    <a:pt x="312" y="54"/>
                  </a:lnTo>
                  <a:lnTo>
                    <a:pt x="294" y="42"/>
                  </a:lnTo>
                  <a:lnTo>
                    <a:pt x="282" y="30"/>
                  </a:lnTo>
                  <a:lnTo>
                    <a:pt x="276" y="30"/>
                  </a:lnTo>
                  <a:lnTo>
                    <a:pt x="264" y="24"/>
                  </a:lnTo>
                  <a:lnTo>
                    <a:pt x="234" y="24"/>
                  </a:lnTo>
                  <a:lnTo>
                    <a:pt x="228" y="12"/>
                  </a:lnTo>
                  <a:lnTo>
                    <a:pt x="222" y="6"/>
                  </a:lnTo>
                  <a:lnTo>
                    <a:pt x="210" y="6"/>
                  </a:lnTo>
                  <a:lnTo>
                    <a:pt x="198" y="18"/>
                  </a:lnTo>
                  <a:lnTo>
                    <a:pt x="180" y="18"/>
                  </a:lnTo>
                  <a:lnTo>
                    <a:pt x="174" y="12"/>
                  </a:lnTo>
                  <a:lnTo>
                    <a:pt x="162" y="12"/>
                  </a:lnTo>
                  <a:lnTo>
                    <a:pt x="156" y="18"/>
                  </a:lnTo>
                  <a:lnTo>
                    <a:pt x="150" y="18"/>
                  </a:lnTo>
                  <a:lnTo>
                    <a:pt x="144" y="12"/>
                  </a:lnTo>
                  <a:lnTo>
                    <a:pt x="138" y="12"/>
                  </a:lnTo>
                  <a:lnTo>
                    <a:pt x="126" y="6"/>
                  </a:lnTo>
                  <a:lnTo>
                    <a:pt x="120" y="6"/>
                  </a:lnTo>
                  <a:lnTo>
                    <a:pt x="114" y="12"/>
                  </a:lnTo>
                  <a:lnTo>
                    <a:pt x="108" y="12"/>
                  </a:lnTo>
                  <a:lnTo>
                    <a:pt x="102" y="6"/>
                  </a:lnTo>
                  <a:lnTo>
                    <a:pt x="96" y="6"/>
                  </a:lnTo>
                  <a:lnTo>
                    <a:pt x="90" y="0"/>
                  </a:lnTo>
                  <a:lnTo>
                    <a:pt x="72" y="0"/>
                  </a:lnTo>
                  <a:lnTo>
                    <a:pt x="60" y="12"/>
                  </a:lnTo>
                  <a:lnTo>
                    <a:pt x="18" y="12"/>
                  </a:lnTo>
                  <a:lnTo>
                    <a:pt x="6" y="18"/>
                  </a:lnTo>
                  <a:lnTo>
                    <a:pt x="0" y="18"/>
                  </a:lnTo>
                  <a:lnTo>
                    <a:pt x="0" y="60"/>
                  </a:lnTo>
                  <a:lnTo>
                    <a:pt x="12" y="84"/>
                  </a:lnTo>
                  <a:lnTo>
                    <a:pt x="18" y="90"/>
                  </a:lnTo>
                  <a:lnTo>
                    <a:pt x="18" y="96"/>
                  </a:lnTo>
                  <a:lnTo>
                    <a:pt x="30" y="96"/>
                  </a:lnTo>
                  <a:lnTo>
                    <a:pt x="30" y="102"/>
                  </a:lnTo>
                  <a:lnTo>
                    <a:pt x="42" y="102"/>
                  </a:lnTo>
                  <a:lnTo>
                    <a:pt x="48" y="108"/>
                  </a:lnTo>
                  <a:lnTo>
                    <a:pt x="72" y="108"/>
                  </a:lnTo>
                  <a:lnTo>
                    <a:pt x="84" y="102"/>
                  </a:lnTo>
                  <a:lnTo>
                    <a:pt x="102" y="102"/>
                  </a:lnTo>
                  <a:lnTo>
                    <a:pt x="108" y="114"/>
                  </a:lnTo>
                  <a:lnTo>
                    <a:pt x="108" y="132"/>
                  </a:lnTo>
                  <a:lnTo>
                    <a:pt x="96" y="144"/>
                  </a:lnTo>
                  <a:lnTo>
                    <a:pt x="102" y="162"/>
                  </a:lnTo>
                  <a:lnTo>
                    <a:pt x="120" y="162"/>
                  </a:lnTo>
                  <a:lnTo>
                    <a:pt x="138" y="168"/>
                  </a:lnTo>
                  <a:lnTo>
                    <a:pt x="144" y="168"/>
                  </a:lnTo>
                  <a:lnTo>
                    <a:pt x="156" y="174"/>
                  </a:lnTo>
                  <a:lnTo>
                    <a:pt x="156" y="198"/>
                  </a:lnTo>
                  <a:lnTo>
                    <a:pt x="162" y="198"/>
                  </a:lnTo>
                  <a:lnTo>
                    <a:pt x="168" y="192"/>
                  </a:lnTo>
                  <a:lnTo>
                    <a:pt x="180" y="192"/>
                  </a:lnTo>
                  <a:lnTo>
                    <a:pt x="192" y="186"/>
                  </a:lnTo>
                  <a:lnTo>
                    <a:pt x="198" y="186"/>
                  </a:lnTo>
                  <a:lnTo>
                    <a:pt x="204" y="192"/>
                  </a:lnTo>
                  <a:lnTo>
                    <a:pt x="204" y="198"/>
                  </a:lnTo>
                  <a:lnTo>
                    <a:pt x="234" y="198"/>
                  </a:lnTo>
                  <a:lnTo>
                    <a:pt x="234" y="180"/>
                  </a:lnTo>
                  <a:lnTo>
                    <a:pt x="246" y="192"/>
                  </a:lnTo>
                  <a:lnTo>
                    <a:pt x="252" y="180"/>
                  </a:lnTo>
                  <a:lnTo>
                    <a:pt x="258" y="174"/>
                  </a:lnTo>
                  <a:lnTo>
                    <a:pt x="270" y="168"/>
                  </a:lnTo>
                  <a:lnTo>
                    <a:pt x="288" y="168"/>
                  </a:lnTo>
                  <a:lnTo>
                    <a:pt x="288" y="174"/>
                  </a:lnTo>
                  <a:lnTo>
                    <a:pt x="282" y="180"/>
                  </a:lnTo>
                  <a:lnTo>
                    <a:pt x="294" y="180"/>
                  </a:lnTo>
                  <a:lnTo>
                    <a:pt x="294" y="174"/>
                  </a:lnTo>
                  <a:lnTo>
                    <a:pt x="288" y="168"/>
                  </a:lnTo>
                  <a:lnTo>
                    <a:pt x="288" y="156"/>
                  </a:lnTo>
                  <a:lnTo>
                    <a:pt x="282" y="150"/>
                  </a:lnTo>
                  <a:lnTo>
                    <a:pt x="282" y="144"/>
                  </a:lnTo>
                  <a:lnTo>
                    <a:pt x="294" y="144"/>
                  </a:lnTo>
                  <a:lnTo>
                    <a:pt x="294" y="138"/>
                  </a:lnTo>
                  <a:lnTo>
                    <a:pt x="288" y="126"/>
                  </a:lnTo>
                  <a:lnTo>
                    <a:pt x="288" y="120"/>
                  </a:lnTo>
                  <a:lnTo>
                    <a:pt x="294" y="114"/>
                  </a:lnTo>
                  <a:lnTo>
                    <a:pt x="312" y="114"/>
                  </a:lnTo>
                  <a:lnTo>
                    <a:pt x="306" y="96"/>
                  </a:lnTo>
                  <a:lnTo>
                    <a:pt x="312" y="96"/>
                  </a:lnTo>
                  <a:lnTo>
                    <a:pt x="318" y="102"/>
                  </a:lnTo>
                  <a:lnTo>
                    <a:pt x="336" y="102"/>
                  </a:lnTo>
                  <a:lnTo>
                    <a:pt x="342" y="96"/>
                  </a:lnTo>
                  <a:lnTo>
                    <a:pt x="324" y="78"/>
                  </a:lnTo>
                  <a:lnTo>
                    <a:pt x="324" y="72"/>
                  </a:lnTo>
                  <a:lnTo>
                    <a:pt x="330" y="66"/>
                  </a:lnTo>
                  <a:lnTo>
                    <a:pt x="330" y="6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16" name="Liechtenstein" descr="© INSCALE GmbH, 05.05.2010&#10;http://www.presentationload.com/">
              <a:extLst>
                <a:ext uri="{FF2B5EF4-FFF2-40B4-BE49-F238E27FC236}">
                  <a16:creationId xmlns:a16="http://schemas.microsoft.com/office/drawing/2014/main" id="{F13E64EB-553C-438D-A0BB-93977E13C4A3}"/>
                </a:ext>
              </a:extLst>
            </p:cNvPr>
            <p:cNvSpPr>
              <a:spLocks/>
            </p:cNvSpPr>
            <p:nvPr/>
          </p:nvSpPr>
          <p:spPr bwMode="gray">
            <a:xfrm>
              <a:off x="4394354" y="2739487"/>
              <a:ext cx="6272" cy="9408"/>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17" name="Libyen" descr="© INSCALE GmbH, 05.05.2010&#10;http://www.presentationload.com/">
              <a:extLst>
                <a:ext uri="{FF2B5EF4-FFF2-40B4-BE49-F238E27FC236}">
                  <a16:creationId xmlns:a16="http://schemas.microsoft.com/office/drawing/2014/main" id="{1883938E-D8A5-467D-A3A2-7D6DECC7DF7B}"/>
                </a:ext>
              </a:extLst>
            </p:cNvPr>
            <p:cNvSpPr>
              <a:spLocks/>
            </p:cNvSpPr>
            <p:nvPr/>
          </p:nvSpPr>
          <p:spPr bwMode="gray">
            <a:xfrm>
              <a:off x="4391218" y="3187942"/>
              <a:ext cx="437478" cy="440615"/>
            </a:xfrm>
            <a:custGeom>
              <a:avLst/>
              <a:gdLst>
                <a:gd name="T0" fmla="*/ 2147483647 w 1098"/>
                <a:gd name="T1" fmla="*/ 2147483647 h 1110"/>
                <a:gd name="T2" fmla="*/ 2147483647 w 1098"/>
                <a:gd name="T3" fmla="*/ 2147483647 h 1110"/>
                <a:gd name="T4" fmla="*/ 2147483647 w 1098"/>
                <a:gd name="T5" fmla="*/ 2147483647 h 1110"/>
                <a:gd name="T6" fmla="*/ 2147483647 w 1098"/>
                <a:gd name="T7" fmla="*/ 2147483647 h 1110"/>
                <a:gd name="T8" fmla="*/ 2147483647 w 1098"/>
                <a:gd name="T9" fmla="*/ 2147483647 h 1110"/>
                <a:gd name="T10" fmla="*/ 2147483647 w 1098"/>
                <a:gd name="T11" fmla="*/ 2147483647 h 1110"/>
                <a:gd name="T12" fmla="*/ 2147483647 w 1098"/>
                <a:gd name="T13" fmla="*/ 2147483647 h 1110"/>
                <a:gd name="T14" fmla="*/ 2147483647 w 1098"/>
                <a:gd name="T15" fmla="*/ 2147483647 h 1110"/>
                <a:gd name="T16" fmla="*/ 2147483647 w 1098"/>
                <a:gd name="T17" fmla="*/ 2147483647 h 1110"/>
                <a:gd name="T18" fmla="*/ 2147483647 w 1098"/>
                <a:gd name="T19" fmla="*/ 2147483647 h 1110"/>
                <a:gd name="T20" fmla="*/ 2147483647 w 1098"/>
                <a:gd name="T21" fmla="*/ 2147483647 h 1110"/>
                <a:gd name="T22" fmla="*/ 2147483647 w 1098"/>
                <a:gd name="T23" fmla="*/ 2147483647 h 1110"/>
                <a:gd name="T24" fmla="*/ 0 w 1098"/>
                <a:gd name="T25" fmla="*/ 2147483647 h 1110"/>
                <a:gd name="T26" fmla="*/ 2147483647 w 1098"/>
                <a:gd name="T27" fmla="*/ 2147483647 h 1110"/>
                <a:gd name="T28" fmla="*/ 2147483647 w 1098"/>
                <a:gd name="T29" fmla="*/ 2147483647 h 1110"/>
                <a:gd name="T30" fmla="*/ 2147483647 w 1098"/>
                <a:gd name="T31" fmla="*/ 2147483647 h 1110"/>
                <a:gd name="T32" fmla="*/ 2147483647 w 1098"/>
                <a:gd name="T33" fmla="*/ 2147483647 h 1110"/>
                <a:gd name="T34" fmla="*/ 2147483647 w 1098"/>
                <a:gd name="T35" fmla="*/ 2147483647 h 1110"/>
                <a:gd name="T36" fmla="*/ 2147483647 w 1098"/>
                <a:gd name="T37" fmla="*/ 2147483647 h 1110"/>
                <a:gd name="T38" fmla="*/ 2147483647 w 1098"/>
                <a:gd name="T39" fmla="*/ 2147483647 h 1110"/>
                <a:gd name="T40" fmla="*/ 2147483647 w 1098"/>
                <a:gd name="T41" fmla="*/ 2147483647 h 1110"/>
                <a:gd name="T42" fmla="*/ 2147483647 w 1098"/>
                <a:gd name="T43" fmla="*/ 2147483647 h 1110"/>
                <a:gd name="T44" fmla="*/ 2147483647 w 1098"/>
                <a:gd name="T45" fmla="*/ 2147483647 h 1110"/>
                <a:gd name="T46" fmla="*/ 2147483647 w 1098"/>
                <a:gd name="T47" fmla="*/ 2147483647 h 1110"/>
                <a:gd name="T48" fmla="*/ 2147483647 w 1098"/>
                <a:gd name="T49" fmla="*/ 2147483647 h 1110"/>
                <a:gd name="T50" fmla="*/ 2147483647 w 1098"/>
                <a:gd name="T51" fmla="*/ 2147483647 h 1110"/>
                <a:gd name="T52" fmla="*/ 2147483647 w 1098"/>
                <a:gd name="T53" fmla="*/ 2147483647 h 1110"/>
                <a:gd name="T54" fmla="*/ 2147483647 w 1098"/>
                <a:gd name="T55" fmla="*/ 2147483647 h 1110"/>
                <a:gd name="T56" fmla="*/ 2147483647 w 1098"/>
                <a:gd name="T57" fmla="*/ 2147483647 h 1110"/>
                <a:gd name="T58" fmla="*/ 2147483647 w 1098"/>
                <a:gd name="T59" fmla="*/ 2147483647 h 1110"/>
                <a:gd name="T60" fmla="*/ 2147483647 w 1098"/>
                <a:gd name="T61" fmla="*/ 2147483647 h 1110"/>
                <a:gd name="T62" fmla="*/ 2147483647 w 1098"/>
                <a:gd name="T63" fmla="*/ 2147483647 h 1110"/>
                <a:gd name="T64" fmla="*/ 2147483647 w 1098"/>
                <a:gd name="T65" fmla="*/ 2147483647 h 1110"/>
                <a:gd name="T66" fmla="*/ 2147483647 w 1098"/>
                <a:gd name="T67" fmla="*/ 2147483647 h 1110"/>
                <a:gd name="T68" fmla="*/ 2147483647 w 1098"/>
                <a:gd name="T69" fmla="*/ 2147483647 h 1110"/>
                <a:gd name="T70" fmla="*/ 2147483647 w 1098"/>
                <a:gd name="T71" fmla="*/ 2147483647 h 1110"/>
                <a:gd name="T72" fmla="*/ 2147483647 w 1098"/>
                <a:gd name="T73" fmla="*/ 2147483647 h 1110"/>
                <a:gd name="T74" fmla="*/ 2147483647 w 1098"/>
                <a:gd name="T75" fmla="*/ 2147483647 h 1110"/>
                <a:gd name="T76" fmla="*/ 2147483647 w 1098"/>
                <a:gd name="T77" fmla="*/ 2147483647 h 1110"/>
                <a:gd name="T78" fmla="*/ 2147483647 w 1098"/>
                <a:gd name="T79" fmla="*/ 2147483647 h 1110"/>
                <a:gd name="T80" fmla="*/ 2147483647 w 1098"/>
                <a:gd name="T81" fmla="*/ 2147483647 h 1110"/>
                <a:gd name="T82" fmla="*/ 2147483647 w 1098"/>
                <a:gd name="T83" fmla="*/ 2147483647 h 1110"/>
                <a:gd name="T84" fmla="*/ 2147483647 w 1098"/>
                <a:gd name="T85" fmla="*/ 2147483647 h 1110"/>
                <a:gd name="T86" fmla="*/ 2147483647 w 1098"/>
                <a:gd name="T87" fmla="*/ 2147483647 h 1110"/>
                <a:gd name="T88" fmla="*/ 2147483647 w 1098"/>
                <a:gd name="T89" fmla="*/ 2147483647 h 1110"/>
                <a:gd name="T90" fmla="*/ 2147483647 w 1098"/>
                <a:gd name="T91" fmla="*/ 2147483647 h 1110"/>
                <a:gd name="T92" fmla="*/ 2147483647 w 1098"/>
                <a:gd name="T93" fmla="*/ 2147483647 h 1110"/>
                <a:gd name="T94" fmla="*/ 2147483647 w 1098"/>
                <a:gd name="T95" fmla="*/ 2147483647 h 1110"/>
                <a:gd name="T96" fmla="*/ 2147483647 w 1098"/>
                <a:gd name="T97" fmla="*/ 2147483647 h 1110"/>
                <a:gd name="T98" fmla="*/ 2147483647 w 1098"/>
                <a:gd name="T99" fmla="*/ 2147483647 h 1110"/>
                <a:gd name="T100" fmla="*/ 2147483647 w 1098"/>
                <a:gd name="T101" fmla="*/ 2147483647 h 1110"/>
                <a:gd name="T102" fmla="*/ 2147483647 w 1098"/>
                <a:gd name="T103" fmla="*/ 2147483647 h 1110"/>
                <a:gd name="T104" fmla="*/ 2147483647 w 1098"/>
                <a:gd name="T105" fmla="*/ 2147483647 h 1110"/>
                <a:gd name="T106" fmla="*/ 2147483647 w 1098"/>
                <a:gd name="T107" fmla="*/ 2147483647 h 1110"/>
                <a:gd name="T108" fmla="*/ 2147483647 w 1098"/>
                <a:gd name="T109" fmla="*/ 2147483647 h 1110"/>
                <a:gd name="T110" fmla="*/ 2147483647 w 1098"/>
                <a:gd name="T111" fmla="*/ 2147483647 h 1110"/>
                <a:gd name="T112" fmla="*/ 2147483647 w 1098"/>
                <a:gd name="T113" fmla="*/ 2147483647 h 11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8"/>
                <a:gd name="T172" fmla="*/ 0 h 1110"/>
                <a:gd name="T173" fmla="*/ 1098 w 1098"/>
                <a:gd name="T174" fmla="*/ 1110 h 11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8" h="1110">
                  <a:moveTo>
                    <a:pt x="156" y="60"/>
                  </a:moveTo>
                  <a:lnTo>
                    <a:pt x="150" y="66"/>
                  </a:lnTo>
                  <a:lnTo>
                    <a:pt x="126" y="78"/>
                  </a:lnTo>
                  <a:lnTo>
                    <a:pt x="114" y="78"/>
                  </a:lnTo>
                  <a:lnTo>
                    <a:pt x="102" y="84"/>
                  </a:lnTo>
                  <a:lnTo>
                    <a:pt x="96" y="90"/>
                  </a:lnTo>
                  <a:lnTo>
                    <a:pt x="90" y="102"/>
                  </a:lnTo>
                  <a:lnTo>
                    <a:pt x="84" y="108"/>
                  </a:lnTo>
                  <a:lnTo>
                    <a:pt x="78" y="120"/>
                  </a:lnTo>
                  <a:lnTo>
                    <a:pt x="72" y="120"/>
                  </a:lnTo>
                  <a:lnTo>
                    <a:pt x="54" y="138"/>
                  </a:lnTo>
                  <a:lnTo>
                    <a:pt x="54" y="156"/>
                  </a:lnTo>
                  <a:lnTo>
                    <a:pt x="66" y="180"/>
                  </a:lnTo>
                  <a:lnTo>
                    <a:pt x="66" y="204"/>
                  </a:lnTo>
                  <a:lnTo>
                    <a:pt x="36" y="234"/>
                  </a:lnTo>
                  <a:lnTo>
                    <a:pt x="30" y="234"/>
                  </a:lnTo>
                  <a:lnTo>
                    <a:pt x="24" y="240"/>
                  </a:lnTo>
                  <a:lnTo>
                    <a:pt x="12" y="246"/>
                  </a:lnTo>
                  <a:lnTo>
                    <a:pt x="6" y="246"/>
                  </a:lnTo>
                  <a:lnTo>
                    <a:pt x="0" y="252"/>
                  </a:lnTo>
                  <a:lnTo>
                    <a:pt x="12" y="270"/>
                  </a:lnTo>
                  <a:lnTo>
                    <a:pt x="36" y="330"/>
                  </a:lnTo>
                  <a:lnTo>
                    <a:pt x="48" y="354"/>
                  </a:lnTo>
                  <a:lnTo>
                    <a:pt x="48" y="360"/>
                  </a:lnTo>
                  <a:lnTo>
                    <a:pt x="42" y="372"/>
                  </a:lnTo>
                  <a:lnTo>
                    <a:pt x="42" y="402"/>
                  </a:lnTo>
                  <a:lnTo>
                    <a:pt x="36" y="408"/>
                  </a:lnTo>
                  <a:lnTo>
                    <a:pt x="36" y="414"/>
                  </a:lnTo>
                  <a:lnTo>
                    <a:pt x="42" y="432"/>
                  </a:lnTo>
                  <a:lnTo>
                    <a:pt x="30" y="456"/>
                  </a:lnTo>
                  <a:lnTo>
                    <a:pt x="36" y="510"/>
                  </a:lnTo>
                  <a:lnTo>
                    <a:pt x="36" y="516"/>
                  </a:lnTo>
                  <a:lnTo>
                    <a:pt x="42" y="522"/>
                  </a:lnTo>
                  <a:lnTo>
                    <a:pt x="42" y="534"/>
                  </a:lnTo>
                  <a:lnTo>
                    <a:pt x="36" y="546"/>
                  </a:lnTo>
                  <a:lnTo>
                    <a:pt x="30" y="552"/>
                  </a:lnTo>
                  <a:lnTo>
                    <a:pt x="18" y="558"/>
                  </a:lnTo>
                  <a:lnTo>
                    <a:pt x="6" y="558"/>
                  </a:lnTo>
                  <a:lnTo>
                    <a:pt x="0" y="564"/>
                  </a:lnTo>
                  <a:lnTo>
                    <a:pt x="0" y="570"/>
                  </a:lnTo>
                  <a:lnTo>
                    <a:pt x="6" y="582"/>
                  </a:lnTo>
                  <a:lnTo>
                    <a:pt x="18" y="594"/>
                  </a:lnTo>
                  <a:lnTo>
                    <a:pt x="24" y="612"/>
                  </a:lnTo>
                  <a:lnTo>
                    <a:pt x="36" y="624"/>
                  </a:lnTo>
                  <a:lnTo>
                    <a:pt x="42" y="636"/>
                  </a:lnTo>
                  <a:lnTo>
                    <a:pt x="48" y="642"/>
                  </a:lnTo>
                  <a:lnTo>
                    <a:pt x="48" y="684"/>
                  </a:lnTo>
                  <a:lnTo>
                    <a:pt x="72" y="708"/>
                  </a:lnTo>
                  <a:lnTo>
                    <a:pt x="96" y="696"/>
                  </a:lnTo>
                  <a:lnTo>
                    <a:pt x="102" y="696"/>
                  </a:lnTo>
                  <a:lnTo>
                    <a:pt x="138" y="714"/>
                  </a:lnTo>
                  <a:lnTo>
                    <a:pt x="150" y="714"/>
                  </a:lnTo>
                  <a:lnTo>
                    <a:pt x="162" y="726"/>
                  </a:lnTo>
                  <a:lnTo>
                    <a:pt x="162" y="732"/>
                  </a:lnTo>
                  <a:lnTo>
                    <a:pt x="168" y="744"/>
                  </a:lnTo>
                  <a:lnTo>
                    <a:pt x="174" y="762"/>
                  </a:lnTo>
                  <a:lnTo>
                    <a:pt x="180" y="774"/>
                  </a:lnTo>
                  <a:lnTo>
                    <a:pt x="186" y="780"/>
                  </a:lnTo>
                  <a:lnTo>
                    <a:pt x="186" y="786"/>
                  </a:lnTo>
                  <a:lnTo>
                    <a:pt x="222" y="792"/>
                  </a:lnTo>
                  <a:lnTo>
                    <a:pt x="234" y="792"/>
                  </a:lnTo>
                  <a:lnTo>
                    <a:pt x="246" y="798"/>
                  </a:lnTo>
                  <a:lnTo>
                    <a:pt x="258" y="798"/>
                  </a:lnTo>
                  <a:lnTo>
                    <a:pt x="276" y="804"/>
                  </a:lnTo>
                  <a:lnTo>
                    <a:pt x="288" y="810"/>
                  </a:lnTo>
                  <a:lnTo>
                    <a:pt x="294" y="810"/>
                  </a:lnTo>
                  <a:lnTo>
                    <a:pt x="300" y="816"/>
                  </a:lnTo>
                  <a:lnTo>
                    <a:pt x="312" y="822"/>
                  </a:lnTo>
                  <a:lnTo>
                    <a:pt x="318" y="828"/>
                  </a:lnTo>
                  <a:lnTo>
                    <a:pt x="324" y="840"/>
                  </a:lnTo>
                  <a:lnTo>
                    <a:pt x="336" y="846"/>
                  </a:lnTo>
                  <a:lnTo>
                    <a:pt x="342" y="852"/>
                  </a:lnTo>
                  <a:lnTo>
                    <a:pt x="360" y="846"/>
                  </a:lnTo>
                  <a:lnTo>
                    <a:pt x="396" y="828"/>
                  </a:lnTo>
                  <a:lnTo>
                    <a:pt x="456" y="792"/>
                  </a:lnTo>
                  <a:lnTo>
                    <a:pt x="468" y="786"/>
                  </a:lnTo>
                  <a:lnTo>
                    <a:pt x="1026" y="1110"/>
                  </a:lnTo>
                  <a:lnTo>
                    <a:pt x="1026" y="1062"/>
                  </a:lnTo>
                  <a:lnTo>
                    <a:pt x="1098" y="1062"/>
                  </a:lnTo>
                  <a:lnTo>
                    <a:pt x="1098" y="828"/>
                  </a:lnTo>
                  <a:lnTo>
                    <a:pt x="1092" y="750"/>
                  </a:lnTo>
                  <a:lnTo>
                    <a:pt x="1092" y="660"/>
                  </a:lnTo>
                  <a:lnTo>
                    <a:pt x="1086" y="564"/>
                  </a:lnTo>
                  <a:lnTo>
                    <a:pt x="1086" y="468"/>
                  </a:lnTo>
                  <a:lnTo>
                    <a:pt x="1080" y="390"/>
                  </a:lnTo>
                  <a:lnTo>
                    <a:pt x="1080" y="306"/>
                  </a:lnTo>
                  <a:lnTo>
                    <a:pt x="1068" y="270"/>
                  </a:lnTo>
                  <a:lnTo>
                    <a:pt x="1056" y="258"/>
                  </a:lnTo>
                  <a:lnTo>
                    <a:pt x="1050" y="246"/>
                  </a:lnTo>
                  <a:lnTo>
                    <a:pt x="1050" y="240"/>
                  </a:lnTo>
                  <a:lnTo>
                    <a:pt x="1056" y="228"/>
                  </a:lnTo>
                  <a:lnTo>
                    <a:pt x="1062" y="222"/>
                  </a:lnTo>
                  <a:lnTo>
                    <a:pt x="1068" y="210"/>
                  </a:lnTo>
                  <a:lnTo>
                    <a:pt x="1074" y="204"/>
                  </a:lnTo>
                  <a:lnTo>
                    <a:pt x="1074" y="198"/>
                  </a:lnTo>
                  <a:lnTo>
                    <a:pt x="1068" y="186"/>
                  </a:lnTo>
                  <a:lnTo>
                    <a:pt x="1056" y="180"/>
                  </a:lnTo>
                  <a:lnTo>
                    <a:pt x="1056" y="150"/>
                  </a:lnTo>
                  <a:lnTo>
                    <a:pt x="1080" y="126"/>
                  </a:lnTo>
                  <a:lnTo>
                    <a:pt x="1074" y="114"/>
                  </a:lnTo>
                  <a:lnTo>
                    <a:pt x="1074" y="96"/>
                  </a:lnTo>
                  <a:lnTo>
                    <a:pt x="1056" y="102"/>
                  </a:lnTo>
                  <a:lnTo>
                    <a:pt x="1044" y="90"/>
                  </a:lnTo>
                  <a:lnTo>
                    <a:pt x="1032" y="102"/>
                  </a:lnTo>
                  <a:lnTo>
                    <a:pt x="1026" y="102"/>
                  </a:lnTo>
                  <a:lnTo>
                    <a:pt x="1020" y="96"/>
                  </a:lnTo>
                  <a:lnTo>
                    <a:pt x="1008" y="90"/>
                  </a:lnTo>
                  <a:lnTo>
                    <a:pt x="1002" y="84"/>
                  </a:lnTo>
                  <a:lnTo>
                    <a:pt x="990" y="78"/>
                  </a:lnTo>
                  <a:lnTo>
                    <a:pt x="978" y="78"/>
                  </a:lnTo>
                  <a:lnTo>
                    <a:pt x="966" y="84"/>
                  </a:lnTo>
                  <a:lnTo>
                    <a:pt x="954" y="84"/>
                  </a:lnTo>
                  <a:lnTo>
                    <a:pt x="942" y="78"/>
                  </a:lnTo>
                  <a:lnTo>
                    <a:pt x="936" y="72"/>
                  </a:lnTo>
                  <a:lnTo>
                    <a:pt x="936" y="48"/>
                  </a:lnTo>
                  <a:lnTo>
                    <a:pt x="930" y="42"/>
                  </a:lnTo>
                  <a:lnTo>
                    <a:pt x="918" y="36"/>
                  </a:lnTo>
                  <a:lnTo>
                    <a:pt x="882" y="36"/>
                  </a:lnTo>
                  <a:lnTo>
                    <a:pt x="876" y="30"/>
                  </a:lnTo>
                  <a:lnTo>
                    <a:pt x="864" y="30"/>
                  </a:lnTo>
                  <a:lnTo>
                    <a:pt x="852" y="24"/>
                  </a:lnTo>
                  <a:lnTo>
                    <a:pt x="840" y="24"/>
                  </a:lnTo>
                  <a:lnTo>
                    <a:pt x="834" y="30"/>
                  </a:lnTo>
                  <a:lnTo>
                    <a:pt x="834" y="36"/>
                  </a:lnTo>
                  <a:lnTo>
                    <a:pt x="798" y="36"/>
                  </a:lnTo>
                  <a:lnTo>
                    <a:pt x="780" y="42"/>
                  </a:lnTo>
                  <a:lnTo>
                    <a:pt x="768" y="48"/>
                  </a:lnTo>
                  <a:lnTo>
                    <a:pt x="732" y="84"/>
                  </a:lnTo>
                  <a:lnTo>
                    <a:pt x="720" y="108"/>
                  </a:lnTo>
                  <a:lnTo>
                    <a:pt x="720" y="120"/>
                  </a:lnTo>
                  <a:lnTo>
                    <a:pt x="726" y="138"/>
                  </a:lnTo>
                  <a:lnTo>
                    <a:pt x="738" y="150"/>
                  </a:lnTo>
                  <a:lnTo>
                    <a:pt x="744" y="162"/>
                  </a:lnTo>
                  <a:lnTo>
                    <a:pt x="744" y="180"/>
                  </a:lnTo>
                  <a:lnTo>
                    <a:pt x="738" y="192"/>
                  </a:lnTo>
                  <a:lnTo>
                    <a:pt x="714" y="216"/>
                  </a:lnTo>
                  <a:lnTo>
                    <a:pt x="708" y="228"/>
                  </a:lnTo>
                  <a:lnTo>
                    <a:pt x="696" y="234"/>
                  </a:lnTo>
                  <a:lnTo>
                    <a:pt x="666" y="234"/>
                  </a:lnTo>
                  <a:lnTo>
                    <a:pt x="648" y="228"/>
                  </a:lnTo>
                  <a:lnTo>
                    <a:pt x="630" y="216"/>
                  </a:lnTo>
                  <a:lnTo>
                    <a:pt x="612" y="198"/>
                  </a:lnTo>
                  <a:lnTo>
                    <a:pt x="582" y="180"/>
                  </a:lnTo>
                  <a:lnTo>
                    <a:pt x="552" y="168"/>
                  </a:lnTo>
                  <a:lnTo>
                    <a:pt x="528" y="162"/>
                  </a:lnTo>
                  <a:lnTo>
                    <a:pt x="462" y="162"/>
                  </a:lnTo>
                  <a:lnTo>
                    <a:pt x="438" y="150"/>
                  </a:lnTo>
                  <a:lnTo>
                    <a:pt x="426" y="138"/>
                  </a:lnTo>
                  <a:lnTo>
                    <a:pt x="420" y="126"/>
                  </a:lnTo>
                  <a:lnTo>
                    <a:pt x="414" y="108"/>
                  </a:lnTo>
                  <a:lnTo>
                    <a:pt x="414" y="96"/>
                  </a:lnTo>
                  <a:lnTo>
                    <a:pt x="402" y="72"/>
                  </a:lnTo>
                  <a:lnTo>
                    <a:pt x="378" y="60"/>
                  </a:lnTo>
                  <a:lnTo>
                    <a:pt x="366" y="60"/>
                  </a:lnTo>
                  <a:lnTo>
                    <a:pt x="354" y="54"/>
                  </a:lnTo>
                  <a:lnTo>
                    <a:pt x="348" y="48"/>
                  </a:lnTo>
                  <a:lnTo>
                    <a:pt x="324" y="36"/>
                  </a:lnTo>
                  <a:lnTo>
                    <a:pt x="318" y="36"/>
                  </a:lnTo>
                  <a:lnTo>
                    <a:pt x="306" y="30"/>
                  </a:lnTo>
                  <a:lnTo>
                    <a:pt x="264" y="30"/>
                  </a:lnTo>
                  <a:lnTo>
                    <a:pt x="252" y="36"/>
                  </a:lnTo>
                  <a:lnTo>
                    <a:pt x="216" y="36"/>
                  </a:lnTo>
                  <a:lnTo>
                    <a:pt x="192" y="24"/>
                  </a:lnTo>
                  <a:lnTo>
                    <a:pt x="180" y="12"/>
                  </a:lnTo>
                  <a:lnTo>
                    <a:pt x="168" y="6"/>
                  </a:lnTo>
                  <a:lnTo>
                    <a:pt x="150" y="6"/>
                  </a:lnTo>
                  <a:lnTo>
                    <a:pt x="144" y="0"/>
                  </a:lnTo>
                  <a:lnTo>
                    <a:pt x="138" y="42"/>
                  </a:lnTo>
                  <a:lnTo>
                    <a:pt x="144" y="42"/>
                  </a:lnTo>
                  <a:lnTo>
                    <a:pt x="156" y="54"/>
                  </a:lnTo>
                  <a:lnTo>
                    <a:pt x="156" y="6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18" name="Liberia" descr="© INSCALE GmbH, 05.05.2010&#10;http://www.presentationload.com/">
              <a:extLst>
                <a:ext uri="{FF2B5EF4-FFF2-40B4-BE49-F238E27FC236}">
                  <a16:creationId xmlns:a16="http://schemas.microsoft.com/office/drawing/2014/main" id="{557D85FB-6CE9-452B-B92B-C051FE8469D5}"/>
                </a:ext>
              </a:extLst>
            </p:cNvPr>
            <p:cNvSpPr>
              <a:spLocks/>
            </p:cNvSpPr>
            <p:nvPr/>
          </p:nvSpPr>
          <p:spPr bwMode="gray">
            <a:xfrm>
              <a:off x="3796938" y="3976657"/>
              <a:ext cx="122306" cy="137986"/>
            </a:xfrm>
            <a:custGeom>
              <a:avLst/>
              <a:gdLst>
                <a:gd name="T0" fmla="*/ 2147483647 w 312"/>
                <a:gd name="T1" fmla="*/ 2147483647 h 342"/>
                <a:gd name="T2" fmla="*/ 2147483647 w 312"/>
                <a:gd name="T3" fmla="*/ 2147483647 h 342"/>
                <a:gd name="T4" fmla="*/ 2147483647 w 312"/>
                <a:gd name="T5" fmla="*/ 2147483647 h 342"/>
                <a:gd name="T6" fmla="*/ 2147483647 w 312"/>
                <a:gd name="T7" fmla="*/ 2147483647 h 342"/>
                <a:gd name="T8" fmla="*/ 2147483647 w 312"/>
                <a:gd name="T9" fmla="*/ 2147483647 h 342"/>
                <a:gd name="T10" fmla="*/ 2147483647 w 312"/>
                <a:gd name="T11" fmla="*/ 2147483647 h 342"/>
                <a:gd name="T12" fmla="*/ 2147483647 w 312"/>
                <a:gd name="T13" fmla="*/ 2147483647 h 342"/>
                <a:gd name="T14" fmla="*/ 2147483647 w 312"/>
                <a:gd name="T15" fmla="*/ 2147483647 h 342"/>
                <a:gd name="T16" fmla="*/ 2147483647 w 312"/>
                <a:gd name="T17" fmla="*/ 2147483647 h 342"/>
                <a:gd name="T18" fmla="*/ 2147483647 w 312"/>
                <a:gd name="T19" fmla="*/ 2147483647 h 342"/>
                <a:gd name="T20" fmla="*/ 2147483647 w 312"/>
                <a:gd name="T21" fmla="*/ 2147483647 h 342"/>
                <a:gd name="T22" fmla="*/ 2147483647 w 312"/>
                <a:gd name="T23" fmla="*/ 2147483647 h 342"/>
                <a:gd name="T24" fmla="*/ 2147483647 w 312"/>
                <a:gd name="T25" fmla="*/ 2147483647 h 342"/>
                <a:gd name="T26" fmla="*/ 2147483647 w 312"/>
                <a:gd name="T27" fmla="*/ 2147483647 h 342"/>
                <a:gd name="T28" fmla="*/ 2147483647 w 312"/>
                <a:gd name="T29" fmla="*/ 2147483647 h 342"/>
                <a:gd name="T30" fmla="*/ 2147483647 w 312"/>
                <a:gd name="T31" fmla="*/ 2147483647 h 342"/>
                <a:gd name="T32" fmla="*/ 2147483647 w 312"/>
                <a:gd name="T33" fmla="*/ 2147483647 h 342"/>
                <a:gd name="T34" fmla="*/ 2147483647 w 312"/>
                <a:gd name="T35" fmla="*/ 2147483647 h 342"/>
                <a:gd name="T36" fmla="*/ 2147483647 w 312"/>
                <a:gd name="T37" fmla="*/ 2147483647 h 342"/>
                <a:gd name="T38" fmla="*/ 2147483647 w 312"/>
                <a:gd name="T39" fmla="*/ 2147483647 h 342"/>
                <a:gd name="T40" fmla="*/ 2147483647 w 312"/>
                <a:gd name="T41" fmla="*/ 2147483647 h 342"/>
                <a:gd name="T42" fmla="*/ 2147483647 w 312"/>
                <a:gd name="T43" fmla="*/ 2147483647 h 342"/>
                <a:gd name="T44" fmla="*/ 2147483647 w 312"/>
                <a:gd name="T45" fmla="*/ 2147483647 h 342"/>
                <a:gd name="T46" fmla="*/ 2147483647 w 312"/>
                <a:gd name="T47" fmla="*/ 2147483647 h 342"/>
                <a:gd name="T48" fmla="*/ 2147483647 w 312"/>
                <a:gd name="T49" fmla="*/ 2147483647 h 342"/>
                <a:gd name="T50" fmla="*/ 2147483647 w 312"/>
                <a:gd name="T51" fmla="*/ 0 h 342"/>
                <a:gd name="T52" fmla="*/ 2147483647 w 312"/>
                <a:gd name="T53" fmla="*/ 0 h 342"/>
                <a:gd name="T54" fmla="*/ 2147483647 w 312"/>
                <a:gd name="T55" fmla="*/ 2147483647 h 342"/>
                <a:gd name="T56" fmla="*/ 2147483647 w 312"/>
                <a:gd name="T57" fmla="*/ 2147483647 h 342"/>
                <a:gd name="T58" fmla="*/ 2147483647 w 312"/>
                <a:gd name="T59" fmla="*/ 2147483647 h 342"/>
                <a:gd name="T60" fmla="*/ 2147483647 w 312"/>
                <a:gd name="T61" fmla="*/ 2147483647 h 342"/>
                <a:gd name="T62" fmla="*/ 2147483647 w 312"/>
                <a:gd name="T63" fmla="*/ 2147483647 h 342"/>
                <a:gd name="T64" fmla="*/ 2147483647 w 312"/>
                <a:gd name="T65" fmla="*/ 2147483647 h 342"/>
                <a:gd name="T66" fmla="*/ 2147483647 w 312"/>
                <a:gd name="T67" fmla="*/ 2147483647 h 342"/>
                <a:gd name="T68" fmla="*/ 2147483647 w 312"/>
                <a:gd name="T69" fmla="*/ 2147483647 h 342"/>
                <a:gd name="T70" fmla="*/ 2147483647 w 312"/>
                <a:gd name="T71" fmla="*/ 2147483647 h 342"/>
                <a:gd name="T72" fmla="*/ 2147483647 w 312"/>
                <a:gd name="T73" fmla="*/ 2147483647 h 342"/>
                <a:gd name="T74" fmla="*/ 2147483647 w 312"/>
                <a:gd name="T75" fmla="*/ 2147483647 h 342"/>
                <a:gd name="T76" fmla="*/ 2147483647 w 312"/>
                <a:gd name="T77" fmla="*/ 2147483647 h 342"/>
                <a:gd name="T78" fmla="*/ 0 w 312"/>
                <a:gd name="T79" fmla="*/ 2147483647 h 342"/>
                <a:gd name="T80" fmla="*/ 2147483647 w 312"/>
                <a:gd name="T81" fmla="*/ 2147483647 h 342"/>
                <a:gd name="T82" fmla="*/ 2147483647 w 312"/>
                <a:gd name="T83" fmla="*/ 2147483647 h 342"/>
                <a:gd name="T84" fmla="*/ 2147483647 w 312"/>
                <a:gd name="T85" fmla="*/ 2147483647 h 342"/>
                <a:gd name="T86" fmla="*/ 2147483647 w 312"/>
                <a:gd name="T87" fmla="*/ 2147483647 h 342"/>
                <a:gd name="T88" fmla="*/ 2147483647 w 312"/>
                <a:gd name="T89" fmla="*/ 2147483647 h 342"/>
                <a:gd name="T90" fmla="*/ 2147483647 w 312"/>
                <a:gd name="T91" fmla="*/ 2147483647 h 342"/>
                <a:gd name="T92" fmla="*/ 2147483647 w 312"/>
                <a:gd name="T93" fmla="*/ 2147483647 h 342"/>
                <a:gd name="T94" fmla="*/ 2147483647 w 312"/>
                <a:gd name="T95" fmla="*/ 2147483647 h 342"/>
                <a:gd name="T96" fmla="*/ 2147483647 w 312"/>
                <a:gd name="T97" fmla="*/ 2147483647 h 342"/>
                <a:gd name="T98" fmla="*/ 2147483647 w 312"/>
                <a:gd name="T99" fmla="*/ 2147483647 h 342"/>
                <a:gd name="T100" fmla="*/ 2147483647 w 312"/>
                <a:gd name="T101" fmla="*/ 2147483647 h 342"/>
                <a:gd name="T102" fmla="*/ 2147483647 w 312"/>
                <a:gd name="T103" fmla="*/ 2147483647 h 342"/>
                <a:gd name="T104" fmla="*/ 2147483647 w 312"/>
                <a:gd name="T105" fmla="*/ 2147483647 h 342"/>
                <a:gd name="T106" fmla="*/ 2147483647 w 312"/>
                <a:gd name="T107" fmla="*/ 2147483647 h 342"/>
                <a:gd name="T108" fmla="*/ 2147483647 w 312"/>
                <a:gd name="T109" fmla="*/ 2147483647 h 342"/>
                <a:gd name="T110" fmla="*/ 2147483647 w 312"/>
                <a:gd name="T111" fmla="*/ 2147483647 h 342"/>
                <a:gd name="T112" fmla="*/ 2147483647 w 312"/>
                <a:gd name="T113" fmla="*/ 2147483647 h 342"/>
                <a:gd name="T114" fmla="*/ 2147483647 w 312"/>
                <a:gd name="T115" fmla="*/ 2147483647 h 342"/>
                <a:gd name="T116" fmla="*/ 2147483647 w 312"/>
                <a:gd name="T117" fmla="*/ 2147483647 h 342"/>
                <a:gd name="T118" fmla="*/ 2147483647 w 312"/>
                <a:gd name="T119" fmla="*/ 2147483647 h 342"/>
                <a:gd name="T120" fmla="*/ 2147483647 w 312"/>
                <a:gd name="T121" fmla="*/ 2147483647 h 3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2"/>
                <a:gd name="T184" fmla="*/ 0 h 342"/>
                <a:gd name="T185" fmla="*/ 312 w 312"/>
                <a:gd name="T186" fmla="*/ 342 h 3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2" h="342">
                  <a:moveTo>
                    <a:pt x="312" y="252"/>
                  </a:moveTo>
                  <a:lnTo>
                    <a:pt x="312" y="240"/>
                  </a:lnTo>
                  <a:lnTo>
                    <a:pt x="282" y="210"/>
                  </a:lnTo>
                  <a:lnTo>
                    <a:pt x="282" y="180"/>
                  </a:lnTo>
                  <a:lnTo>
                    <a:pt x="246" y="186"/>
                  </a:lnTo>
                  <a:lnTo>
                    <a:pt x="246" y="174"/>
                  </a:lnTo>
                  <a:lnTo>
                    <a:pt x="228" y="174"/>
                  </a:lnTo>
                  <a:lnTo>
                    <a:pt x="222" y="168"/>
                  </a:lnTo>
                  <a:lnTo>
                    <a:pt x="228" y="156"/>
                  </a:lnTo>
                  <a:lnTo>
                    <a:pt x="240" y="150"/>
                  </a:lnTo>
                  <a:lnTo>
                    <a:pt x="246" y="132"/>
                  </a:lnTo>
                  <a:lnTo>
                    <a:pt x="246" y="108"/>
                  </a:lnTo>
                  <a:lnTo>
                    <a:pt x="228" y="72"/>
                  </a:lnTo>
                  <a:lnTo>
                    <a:pt x="222" y="72"/>
                  </a:lnTo>
                  <a:lnTo>
                    <a:pt x="216" y="78"/>
                  </a:lnTo>
                  <a:lnTo>
                    <a:pt x="210" y="90"/>
                  </a:lnTo>
                  <a:lnTo>
                    <a:pt x="210" y="102"/>
                  </a:lnTo>
                  <a:lnTo>
                    <a:pt x="198" y="114"/>
                  </a:lnTo>
                  <a:lnTo>
                    <a:pt x="192" y="114"/>
                  </a:lnTo>
                  <a:lnTo>
                    <a:pt x="180" y="102"/>
                  </a:lnTo>
                  <a:lnTo>
                    <a:pt x="180" y="96"/>
                  </a:lnTo>
                  <a:lnTo>
                    <a:pt x="168" y="96"/>
                  </a:lnTo>
                  <a:lnTo>
                    <a:pt x="168" y="36"/>
                  </a:lnTo>
                  <a:lnTo>
                    <a:pt x="162" y="18"/>
                  </a:lnTo>
                  <a:lnTo>
                    <a:pt x="150" y="6"/>
                  </a:lnTo>
                  <a:lnTo>
                    <a:pt x="138" y="0"/>
                  </a:lnTo>
                  <a:lnTo>
                    <a:pt x="132" y="0"/>
                  </a:lnTo>
                  <a:lnTo>
                    <a:pt x="126" y="6"/>
                  </a:lnTo>
                  <a:lnTo>
                    <a:pt x="126" y="18"/>
                  </a:lnTo>
                  <a:lnTo>
                    <a:pt x="102" y="12"/>
                  </a:lnTo>
                  <a:lnTo>
                    <a:pt x="108" y="36"/>
                  </a:lnTo>
                  <a:lnTo>
                    <a:pt x="84" y="42"/>
                  </a:lnTo>
                  <a:lnTo>
                    <a:pt x="84" y="60"/>
                  </a:lnTo>
                  <a:lnTo>
                    <a:pt x="78" y="72"/>
                  </a:lnTo>
                  <a:lnTo>
                    <a:pt x="66" y="78"/>
                  </a:lnTo>
                  <a:lnTo>
                    <a:pt x="54" y="90"/>
                  </a:lnTo>
                  <a:lnTo>
                    <a:pt x="42" y="96"/>
                  </a:lnTo>
                  <a:lnTo>
                    <a:pt x="24" y="114"/>
                  </a:lnTo>
                  <a:lnTo>
                    <a:pt x="24" y="150"/>
                  </a:lnTo>
                  <a:lnTo>
                    <a:pt x="0" y="126"/>
                  </a:lnTo>
                  <a:lnTo>
                    <a:pt x="36" y="162"/>
                  </a:lnTo>
                  <a:lnTo>
                    <a:pt x="60" y="162"/>
                  </a:lnTo>
                  <a:lnTo>
                    <a:pt x="72" y="192"/>
                  </a:lnTo>
                  <a:lnTo>
                    <a:pt x="102" y="192"/>
                  </a:lnTo>
                  <a:lnTo>
                    <a:pt x="108" y="198"/>
                  </a:lnTo>
                  <a:lnTo>
                    <a:pt x="120" y="222"/>
                  </a:lnTo>
                  <a:lnTo>
                    <a:pt x="132" y="240"/>
                  </a:lnTo>
                  <a:lnTo>
                    <a:pt x="150" y="252"/>
                  </a:lnTo>
                  <a:lnTo>
                    <a:pt x="162" y="270"/>
                  </a:lnTo>
                  <a:lnTo>
                    <a:pt x="180" y="282"/>
                  </a:lnTo>
                  <a:lnTo>
                    <a:pt x="198" y="288"/>
                  </a:lnTo>
                  <a:lnTo>
                    <a:pt x="210" y="294"/>
                  </a:lnTo>
                  <a:lnTo>
                    <a:pt x="228" y="300"/>
                  </a:lnTo>
                  <a:lnTo>
                    <a:pt x="258" y="330"/>
                  </a:lnTo>
                  <a:lnTo>
                    <a:pt x="294" y="342"/>
                  </a:lnTo>
                  <a:lnTo>
                    <a:pt x="300" y="342"/>
                  </a:lnTo>
                  <a:lnTo>
                    <a:pt x="300" y="294"/>
                  </a:lnTo>
                  <a:lnTo>
                    <a:pt x="306" y="288"/>
                  </a:lnTo>
                  <a:lnTo>
                    <a:pt x="306" y="276"/>
                  </a:lnTo>
                  <a:lnTo>
                    <a:pt x="312" y="264"/>
                  </a:lnTo>
                  <a:lnTo>
                    <a:pt x="312" y="25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19" name="Libanon" descr="© INSCALE GmbH, 05.05.2010&#10;http://www.presentationload.com/">
              <a:extLst>
                <a:ext uri="{FF2B5EF4-FFF2-40B4-BE49-F238E27FC236}">
                  <a16:creationId xmlns:a16="http://schemas.microsoft.com/office/drawing/2014/main" id="{152C07CE-A658-4D0A-9FB9-BBAAC1D704AA}"/>
                </a:ext>
              </a:extLst>
            </p:cNvPr>
            <p:cNvSpPr>
              <a:spLocks/>
            </p:cNvSpPr>
            <p:nvPr/>
          </p:nvSpPr>
          <p:spPr bwMode="gray">
            <a:xfrm>
              <a:off x="5079581" y="3142469"/>
              <a:ext cx="42336" cy="62721"/>
            </a:xfrm>
            <a:custGeom>
              <a:avLst/>
              <a:gdLst>
                <a:gd name="T0" fmla="*/ 2147483647 w 108"/>
                <a:gd name="T1" fmla="*/ 2147483647 h 156"/>
                <a:gd name="T2" fmla="*/ 2147483647 w 108"/>
                <a:gd name="T3" fmla="*/ 2147483647 h 156"/>
                <a:gd name="T4" fmla="*/ 2147483647 w 108"/>
                <a:gd name="T5" fmla="*/ 2147483647 h 156"/>
                <a:gd name="T6" fmla="*/ 2147483647 w 108"/>
                <a:gd name="T7" fmla="*/ 2147483647 h 156"/>
                <a:gd name="T8" fmla="*/ 2147483647 w 108"/>
                <a:gd name="T9" fmla="*/ 2147483647 h 156"/>
                <a:gd name="T10" fmla="*/ 2147483647 w 108"/>
                <a:gd name="T11" fmla="*/ 2147483647 h 156"/>
                <a:gd name="T12" fmla="*/ 2147483647 w 108"/>
                <a:gd name="T13" fmla="*/ 2147483647 h 156"/>
                <a:gd name="T14" fmla="*/ 2147483647 w 108"/>
                <a:gd name="T15" fmla="*/ 2147483647 h 156"/>
                <a:gd name="T16" fmla="*/ 2147483647 w 108"/>
                <a:gd name="T17" fmla="*/ 2147483647 h 156"/>
                <a:gd name="T18" fmla="*/ 2147483647 w 108"/>
                <a:gd name="T19" fmla="*/ 2147483647 h 156"/>
                <a:gd name="T20" fmla="*/ 2147483647 w 108"/>
                <a:gd name="T21" fmla="*/ 0 h 156"/>
                <a:gd name="T22" fmla="*/ 2147483647 w 108"/>
                <a:gd name="T23" fmla="*/ 0 h 156"/>
                <a:gd name="T24" fmla="*/ 2147483647 w 108"/>
                <a:gd name="T25" fmla="*/ 0 h 156"/>
                <a:gd name="T26" fmla="*/ 2147483647 w 108"/>
                <a:gd name="T27" fmla="*/ 2147483647 h 156"/>
                <a:gd name="T28" fmla="*/ 2147483647 w 108"/>
                <a:gd name="T29" fmla="*/ 2147483647 h 156"/>
                <a:gd name="T30" fmla="*/ 2147483647 w 108"/>
                <a:gd name="T31" fmla="*/ 2147483647 h 156"/>
                <a:gd name="T32" fmla="*/ 2147483647 w 108"/>
                <a:gd name="T33" fmla="*/ 2147483647 h 156"/>
                <a:gd name="T34" fmla="*/ 2147483647 w 108"/>
                <a:gd name="T35" fmla="*/ 2147483647 h 156"/>
                <a:gd name="T36" fmla="*/ 2147483647 w 108"/>
                <a:gd name="T37" fmla="*/ 2147483647 h 156"/>
                <a:gd name="T38" fmla="*/ 2147483647 w 108"/>
                <a:gd name="T39" fmla="*/ 2147483647 h 156"/>
                <a:gd name="T40" fmla="*/ 2147483647 w 108"/>
                <a:gd name="T41" fmla="*/ 2147483647 h 156"/>
                <a:gd name="T42" fmla="*/ 0 w 108"/>
                <a:gd name="T43" fmla="*/ 2147483647 h 156"/>
                <a:gd name="T44" fmla="*/ 0 w 108"/>
                <a:gd name="T45" fmla="*/ 2147483647 h 156"/>
                <a:gd name="T46" fmla="*/ 2147483647 w 108"/>
                <a:gd name="T47" fmla="*/ 2147483647 h 156"/>
                <a:gd name="T48" fmla="*/ 2147483647 w 108"/>
                <a:gd name="T49" fmla="*/ 2147483647 h 156"/>
                <a:gd name="T50" fmla="*/ 2147483647 w 108"/>
                <a:gd name="T51" fmla="*/ 2147483647 h 156"/>
                <a:gd name="T52" fmla="*/ 2147483647 w 108"/>
                <a:gd name="T53" fmla="*/ 2147483647 h 156"/>
                <a:gd name="T54" fmla="*/ 2147483647 w 108"/>
                <a:gd name="T55" fmla="*/ 2147483647 h 156"/>
                <a:gd name="T56" fmla="*/ 2147483647 w 108"/>
                <a:gd name="T57" fmla="*/ 2147483647 h 156"/>
                <a:gd name="T58" fmla="*/ 2147483647 w 108"/>
                <a:gd name="T59" fmla="*/ 2147483647 h 156"/>
                <a:gd name="T60" fmla="*/ 2147483647 w 108"/>
                <a:gd name="T61" fmla="*/ 2147483647 h 15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8"/>
                <a:gd name="T94" fmla="*/ 0 h 156"/>
                <a:gd name="T95" fmla="*/ 108 w 108"/>
                <a:gd name="T96" fmla="*/ 156 h 15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8" h="156">
                  <a:moveTo>
                    <a:pt x="72" y="96"/>
                  </a:moveTo>
                  <a:lnTo>
                    <a:pt x="72" y="72"/>
                  </a:lnTo>
                  <a:lnTo>
                    <a:pt x="78" y="66"/>
                  </a:lnTo>
                  <a:lnTo>
                    <a:pt x="84" y="66"/>
                  </a:lnTo>
                  <a:lnTo>
                    <a:pt x="96" y="60"/>
                  </a:lnTo>
                  <a:lnTo>
                    <a:pt x="102" y="60"/>
                  </a:lnTo>
                  <a:lnTo>
                    <a:pt x="108" y="48"/>
                  </a:lnTo>
                  <a:lnTo>
                    <a:pt x="108" y="30"/>
                  </a:lnTo>
                  <a:lnTo>
                    <a:pt x="102" y="18"/>
                  </a:lnTo>
                  <a:lnTo>
                    <a:pt x="96" y="12"/>
                  </a:lnTo>
                  <a:lnTo>
                    <a:pt x="102" y="0"/>
                  </a:lnTo>
                  <a:lnTo>
                    <a:pt x="54" y="0"/>
                  </a:lnTo>
                  <a:lnTo>
                    <a:pt x="60" y="0"/>
                  </a:lnTo>
                  <a:lnTo>
                    <a:pt x="60" y="6"/>
                  </a:lnTo>
                  <a:lnTo>
                    <a:pt x="54" y="6"/>
                  </a:lnTo>
                  <a:lnTo>
                    <a:pt x="48" y="18"/>
                  </a:lnTo>
                  <a:lnTo>
                    <a:pt x="36" y="24"/>
                  </a:lnTo>
                  <a:lnTo>
                    <a:pt x="30" y="30"/>
                  </a:lnTo>
                  <a:lnTo>
                    <a:pt x="18" y="66"/>
                  </a:lnTo>
                  <a:lnTo>
                    <a:pt x="12" y="78"/>
                  </a:lnTo>
                  <a:lnTo>
                    <a:pt x="12" y="90"/>
                  </a:lnTo>
                  <a:lnTo>
                    <a:pt x="0" y="114"/>
                  </a:lnTo>
                  <a:lnTo>
                    <a:pt x="0" y="156"/>
                  </a:lnTo>
                  <a:lnTo>
                    <a:pt x="12" y="150"/>
                  </a:lnTo>
                  <a:lnTo>
                    <a:pt x="24" y="126"/>
                  </a:lnTo>
                  <a:lnTo>
                    <a:pt x="30" y="132"/>
                  </a:lnTo>
                  <a:lnTo>
                    <a:pt x="36" y="132"/>
                  </a:lnTo>
                  <a:lnTo>
                    <a:pt x="42" y="126"/>
                  </a:lnTo>
                  <a:lnTo>
                    <a:pt x="48" y="114"/>
                  </a:lnTo>
                  <a:lnTo>
                    <a:pt x="48" y="102"/>
                  </a:lnTo>
                  <a:lnTo>
                    <a:pt x="72" y="96"/>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20" name="Lesotho" descr="© INSCALE GmbH, 05.05.2010&#10;http://www.presentationload.com/">
              <a:extLst>
                <a:ext uri="{FF2B5EF4-FFF2-40B4-BE49-F238E27FC236}">
                  <a16:creationId xmlns:a16="http://schemas.microsoft.com/office/drawing/2014/main" id="{D5CDFD7E-28C1-4AC1-9636-1EBD472A5968}"/>
                </a:ext>
              </a:extLst>
            </p:cNvPr>
            <p:cNvSpPr>
              <a:spLocks/>
            </p:cNvSpPr>
            <p:nvPr/>
          </p:nvSpPr>
          <p:spPr bwMode="gray">
            <a:xfrm>
              <a:off x="4874169" y="5169924"/>
              <a:ext cx="65857" cy="64289"/>
            </a:xfrm>
            <a:custGeom>
              <a:avLst/>
              <a:gdLst>
                <a:gd name="T0" fmla="*/ 0 w 168"/>
                <a:gd name="T1" fmla="*/ 2147483647 h 162"/>
                <a:gd name="T2" fmla="*/ 2147483647 w 168"/>
                <a:gd name="T3" fmla="*/ 2147483647 h 162"/>
                <a:gd name="T4" fmla="*/ 2147483647 w 168"/>
                <a:gd name="T5" fmla="*/ 2147483647 h 162"/>
                <a:gd name="T6" fmla="*/ 2147483647 w 168"/>
                <a:gd name="T7" fmla="*/ 2147483647 h 162"/>
                <a:gd name="T8" fmla="*/ 2147483647 w 168"/>
                <a:gd name="T9" fmla="*/ 2147483647 h 162"/>
                <a:gd name="T10" fmla="*/ 2147483647 w 168"/>
                <a:gd name="T11" fmla="*/ 2147483647 h 162"/>
                <a:gd name="T12" fmla="*/ 2147483647 w 168"/>
                <a:gd name="T13" fmla="*/ 2147483647 h 162"/>
                <a:gd name="T14" fmla="*/ 2147483647 w 168"/>
                <a:gd name="T15" fmla="*/ 2147483647 h 162"/>
                <a:gd name="T16" fmla="*/ 2147483647 w 168"/>
                <a:gd name="T17" fmla="*/ 2147483647 h 162"/>
                <a:gd name="T18" fmla="*/ 2147483647 w 168"/>
                <a:gd name="T19" fmla="*/ 2147483647 h 162"/>
                <a:gd name="T20" fmla="*/ 2147483647 w 168"/>
                <a:gd name="T21" fmla="*/ 2147483647 h 162"/>
                <a:gd name="T22" fmla="*/ 2147483647 w 168"/>
                <a:gd name="T23" fmla="*/ 2147483647 h 162"/>
                <a:gd name="T24" fmla="*/ 2147483647 w 168"/>
                <a:gd name="T25" fmla="*/ 2147483647 h 162"/>
                <a:gd name="T26" fmla="*/ 2147483647 w 168"/>
                <a:gd name="T27" fmla="*/ 2147483647 h 162"/>
                <a:gd name="T28" fmla="*/ 2147483647 w 168"/>
                <a:gd name="T29" fmla="*/ 2147483647 h 162"/>
                <a:gd name="T30" fmla="*/ 2147483647 w 168"/>
                <a:gd name="T31" fmla="*/ 2147483647 h 162"/>
                <a:gd name="T32" fmla="*/ 2147483647 w 168"/>
                <a:gd name="T33" fmla="*/ 2147483647 h 162"/>
                <a:gd name="T34" fmla="*/ 2147483647 w 168"/>
                <a:gd name="T35" fmla="*/ 2147483647 h 162"/>
                <a:gd name="T36" fmla="*/ 2147483647 w 168"/>
                <a:gd name="T37" fmla="*/ 2147483647 h 162"/>
                <a:gd name="T38" fmla="*/ 2147483647 w 168"/>
                <a:gd name="T39" fmla="*/ 2147483647 h 162"/>
                <a:gd name="T40" fmla="*/ 2147483647 w 168"/>
                <a:gd name="T41" fmla="*/ 2147483647 h 162"/>
                <a:gd name="T42" fmla="*/ 2147483647 w 168"/>
                <a:gd name="T43" fmla="*/ 0 h 162"/>
                <a:gd name="T44" fmla="*/ 2147483647 w 168"/>
                <a:gd name="T45" fmla="*/ 0 h 162"/>
                <a:gd name="T46" fmla="*/ 2147483647 w 168"/>
                <a:gd name="T47" fmla="*/ 2147483647 h 162"/>
                <a:gd name="T48" fmla="*/ 2147483647 w 168"/>
                <a:gd name="T49" fmla="*/ 2147483647 h 162"/>
                <a:gd name="T50" fmla="*/ 2147483647 w 168"/>
                <a:gd name="T51" fmla="*/ 2147483647 h 162"/>
                <a:gd name="T52" fmla="*/ 2147483647 w 168"/>
                <a:gd name="T53" fmla="*/ 2147483647 h 162"/>
                <a:gd name="T54" fmla="*/ 2147483647 w 168"/>
                <a:gd name="T55" fmla="*/ 2147483647 h 162"/>
                <a:gd name="T56" fmla="*/ 2147483647 w 168"/>
                <a:gd name="T57" fmla="*/ 2147483647 h 162"/>
                <a:gd name="T58" fmla="*/ 2147483647 w 168"/>
                <a:gd name="T59" fmla="*/ 2147483647 h 162"/>
                <a:gd name="T60" fmla="*/ 0 w 168"/>
                <a:gd name="T61" fmla="*/ 2147483647 h 1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68"/>
                <a:gd name="T94" fmla="*/ 0 h 162"/>
                <a:gd name="T95" fmla="*/ 168 w 168"/>
                <a:gd name="T96" fmla="*/ 162 h 1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68" h="162">
                  <a:moveTo>
                    <a:pt x="0" y="78"/>
                  </a:moveTo>
                  <a:lnTo>
                    <a:pt x="24" y="114"/>
                  </a:lnTo>
                  <a:lnTo>
                    <a:pt x="24" y="132"/>
                  </a:lnTo>
                  <a:lnTo>
                    <a:pt x="54" y="162"/>
                  </a:lnTo>
                  <a:lnTo>
                    <a:pt x="72" y="162"/>
                  </a:lnTo>
                  <a:lnTo>
                    <a:pt x="72" y="150"/>
                  </a:lnTo>
                  <a:lnTo>
                    <a:pt x="78" y="144"/>
                  </a:lnTo>
                  <a:lnTo>
                    <a:pt x="84" y="132"/>
                  </a:lnTo>
                  <a:lnTo>
                    <a:pt x="90" y="126"/>
                  </a:lnTo>
                  <a:lnTo>
                    <a:pt x="102" y="120"/>
                  </a:lnTo>
                  <a:lnTo>
                    <a:pt x="120" y="120"/>
                  </a:lnTo>
                  <a:lnTo>
                    <a:pt x="132" y="114"/>
                  </a:lnTo>
                  <a:lnTo>
                    <a:pt x="138" y="108"/>
                  </a:lnTo>
                  <a:lnTo>
                    <a:pt x="150" y="102"/>
                  </a:lnTo>
                  <a:lnTo>
                    <a:pt x="144" y="84"/>
                  </a:lnTo>
                  <a:lnTo>
                    <a:pt x="168" y="66"/>
                  </a:lnTo>
                  <a:lnTo>
                    <a:pt x="162" y="42"/>
                  </a:lnTo>
                  <a:lnTo>
                    <a:pt x="150" y="36"/>
                  </a:lnTo>
                  <a:lnTo>
                    <a:pt x="144" y="24"/>
                  </a:lnTo>
                  <a:lnTo>
                    <a:pt x="138" y="18"/>
                  </a:lnTo>
                  <a:lnTo>
                    <a:pt x="132" y="6"/>
                  </a:lnTo>
                  <a:lnTo>
                    <a:pt x="126" y="0"/>
                  </a:lnTo>
                  <a:lnTo>
                    <a:pt x="90" y="0"/>
                  </a:lnTo>
                  <a:lnTo>
                    <a:pt x="78" y="6"/>
                  </a:lnTo>
                  <a:lnTo>
                    <a:pt x="78" y="18"/>
                  </a:lnTo>
                  <a:lnTo>
                    <a:pt x="54" y="18"/>
                  </a:lnTo>
                  <a:lnTo>
                    <a:pt x="48" y="24"/>
                  </a:lnTo>
                  <a:lnTo>
                    <a:pt x="48" y="42"/>
                  </a:lnTo>
                  <a:lnTo>
                    <a:pt x="30" y="60"/>
                  </a:lnTo>
                  <a:lnTo>
                    <a:pt x="24" y="78"/>
                  </a:lnTo>
                  <a:lnTo>
                    <a:pt x="0" y="78"/>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21" name="Lettland" descr="© INSCALE GmbH, 05.05.2010&#10;http://www.presentationload.com/">
              <a:extLst>
                <a:ext uri="{FF2B5EF4-FFF2-40B4-BE49-F238E27FC236}">
                  <a16:creationId xmlns:a16="http://schemas.microsoft.com/office/drawing/2014/main" id="{850ED905-4589-45EA-99DB-45F005A13D61}"/>
                </a:ext>
              </a:extLst>
            </p:cNvPr>
            <p:cNvSpPr>
              <a:spLocks/>
            </p:cNvSpPr>
            <p:nvPr/>
          </p:nvSpPr>
          <p:spPr bwMode="gray">
            <a:xfrm>
              <a:off x="4668759" y="2410202"/>
              <a:ext cx="169346" cy="72129"/>
            </a:xfrm>
            <a:custGeom>
              <a:avLst/>
              <a:gdLst>
                <a:gd name="T0" fmla="*/ 2147483647 w 426"/>
                <a:gd name="T1" fmla="*/ 2147483647 h 180"/>
                <a:gd name="T2" fmla="*/ 2147483647 w 426"/>
                <a:gd name="T3" fmla="*/ 2147483647 h 180"/>
                <a:gd name="T4" fmla="*/ 2147483647 w 426"/>
                <a:gd name="T5" fmla="*/ 2147483647 h 180"/>
                <a:gd name="T6" fmla="*/ 2147483647 w 426"/>
                <a:gd name="T7" fmla="*/ 2147483647 h 180"/>
                <a:gd name="T8" fmla="*/ 2147483647 w 426"/>
                <a:gd name="T9" fmla="*/ 2147483647 h 180"/>
                <a:gd name="T10" fmla="*/ 2147483647 w 426"/>
                <a:gd name="T11" fmla="*/ 2147483647 h 180"/>
                <a:gd name="T12" fmla="*/ 2147483647 w 426"/>
                <a:gd name="T13" fmla="*/ 2147483647 h 180"/>
                <a:gd name="T14" fmla="*/ 2147483647 w 426"/>
                <a:gd name="T15" fmla="*/ 2147483647 h 180"/>
                <a:gd name="T16" fmla="*/ 2147483647 w 426"/>
                <a:gd name="T17" fmla="*/ 2147483647 h 180"/>
                <a:gd name="T18" fmla="*/ 2147483647 w 426"/>
                <a:gd name="T19" fmla="*/ 2147483647 h 180"/>
                <a:gd name="T20" fmla="*/ 2147483647 w 426"/>
                <a:gd name="T21" fmla="*/ 2147483647 h 180"/>
                <a:gd name="T22" fmla="*/ 2147483647 w 426"/>
                <a:gd name="T23" fmla="*/ 2147483647 h 180"/>
                <a:gd name="T24" fmla="*/ 2147483647 w 426"/>
                <a:gd name="T25" fmla="*/ 2147483647 h 180"/>
                <a:gd name="T26" fmla="*/ 2147483647 w 426"/>
                <a:gd name="T27" fmla="*/ 2147483647 h 180"/>
                <a:gd name="T28" fmla="*/ 2147483647 w 426"/>
                <a:gd name="T29" fmla="*/ 2147483647 h 180"/>
                <a:gd name="T30" fmla="*/ 2147483647 w 426"/>
                <a:gd name="T31" fmla="*/ 2147483647 h 180"/>
                <a:gd name="T32" fmla="*/ 2147483647 w 426"/>
                <a:gd name="T33" fmla="*/ 2147483647 h 180"/>
                <a:gd name="T34" fmla="*/ 2147483647 w 426"/>
                <a:gd name="T35" fmla="*/ 2147483647 h 180"/>
                <a:gd name="T36" fmla="*/ 2147483647 w 426"/>
                <a:gd name="T37" fmla="*/ 2147483647 h 180"/>
                <a:gd name="T38" fmla="*/ 2147483647 w 426"/>
                <a:gd name="T39" fmla="*/ 2147483647 h 180"/>
                <a:gd name="T40" fmla="*/ 2147483647 w 426"/>
                <a:gd name="T41" fmla="*/ 2147483647 h 180"/>
                <a:gd name="T42" fmla="*/ 2147483647 w 426"/>
                <a:gd name="T43" fmla="*/ 2147483647 h 180"/>
                <a:gd name="T44" fmla="*/ 2147483647 w 426"/>
                <a:gd name="T45" fmla="*/ 2147483647 h 180"/>
                <a:gd name="T46" fmla="*/ 2147483647 w 426"/>
                <a:gd name="T47" fmla="*/ 2147483647 h 180"/>
                <a:gd name="T48" fmla="*/ 2147483647 w 426"/>
                <a:gd name="T49" fmla="*/ 2147483647 h 180"/>
                <a:gd name="T50" fmla="*/ 2147483647 w 426"/>
                <a:gd name="T51" fmla="*/ 2147483647 h 180"/>
                <a:gd name="T52" fmla="*/ 2147483647 w 426"/>
                <a:gd name="T53" fmla="*/ 2147483647 h 180"/>
                <a:gd name="T54" fmla="*/ 2147483647 w 426"/>
                <a:gd name="T55" fmla="*/ 2147483647 h 180"/>
                <a:gd name="T56" fmla="*/ 2147483647 w 426"/>
                <a:gd name="T57" fmla="*/ 2147483647 h 180"/>
                <a:gd name="T58" fmla="*/ 2147483647 w 426"/>
                <a:gd name="T59" fmla="*/ 2147483647 h 180"/>
                <a:gd name="T60" fmla="*/ 2147483647 w 426"/>
                <a:gd name="T61" fmla="*/ 0 h 180"/>
                <a:gd name="T62" fmla="*/ 2147483647 w 426"/>
                <a:gd name="T63" fmla="*/ 2147483647 h 180"/>
                <a:gd name="T64" fmla="*/ 2147483647 w 426"/>
                <a:gd name="T65" fmla="*/ 2147483647 h 180"/>
                <a:gd name="T66" fmla="*/ 2147483647 w 426"/>
                <a:gd name="T67" fmla="*/ 2147483647 h 180"/>
                <a:gd name="T68" fmla="*/ 2147483647 w 426"/>
                <a:gd name="T69" fmla="*/ 2147483647 h 180"/>
                <a:gd name="T70" fmla="*/ 2147483647 w 426"/>
                <a:gd name="T71" fmla="*/ 2147483647 h 180"/>
                <a:gd name="T72" fmla="*/ 2147483647 w 426"/>
                <a:gd name="T73" fmla="*/ 2147483647 h 180"/>
                <a:gd name="T74" fmla="*/ 2147483647 w 426"/>
                <a:gd name="T75" fmla="*/ 2147483647 h 180"/>
                <a:gd name="T76" fmla="*/ 2147483647 w 426"/>
                <a:gd name="T77" fmla="*/ 2147483647 h 180"/>
                <a:gd name="T78" fmla="*/ 2147483647 w 426"/>
                <a:gd name="T79" fmla="*/ 2147483647 h 180"/>
                <a:gd name="T80" fmla="*/ 2147483647 w 426"/>
                <a:gd name="T81" fmla="*/ 2147483647 h 180"/>
                <a:gd name="T82" fmla="*/ 2147483647 w 426"/>
                <a:gd name="T83" fmla="*/ 2147483647 h 180"/>
                <a:gd name="T84" fmla="*/ 0 w 426"/>
                <a:gd name="T85" fmla="*/ 2147483647 h 180"/>
                <a:gd name="T86" fmla="*/ 2147483647 w 426"/>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6"/>
                <a:gd name="T133" fmla="*/ 0 h 180"/>
                <a:gd name="T134" fmla="*/ 426 w 426"/>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6" h="180">
                  <a:moveTo>
                    <a:pt x="6" y="144"/>
                  </a:moveTo>
                  <a:lnTo>
                    <a:pt x="6" y="138"/>
                  </a:lnTo>
                  <a:lnTo>
                    <a:pt x="12" y="138"/>
                  </a:lnTo>
                  <a:lnTo>
                    <a:pt x="24" y="132"/>
                  </a:lnTo>
                  <a:lnTo>
                    <a:pt x="66" y="132"/>
                  </a:lnTo>
                  <a:lnTo>
                    <a:pt x="78" y="120"/>
                  </a:lnTo>
                  <a:lnTo>
                    <a:pt x="96" y="120"/>
                  </a:lnTo>
                  <a:lnTo>
                    <a:pt x="102" y="126"/>
                  </a:lnTo>
                  <a:lnTo>
                    <a:pt x="108" y="126"/>
                  </a:lnTo>
                  <a:lnTo>
                    <a:pt x="114" y="132"/>
                  </a:lnTo>
                  <a:lnTo>
                    <a:pt x="120" y="132"/>
                  </a:lnTo>
                  <a:lnTo>
                    <a:pt x="126" y="126"/>
                  </a:lnTo>
                  <a:lnTo>
                    <a:pt x="132" y="126"/>
                  </a:lnTo>
                  <a:lnTo>
                    <a:pt x="144" y="132"/>
                  </a:lnTo>
                  <a:lnTo>
                    <a:pt x="150" y="132"/>
                  </a:lnTo>
                  <a:lnTo>
                    <a:pt x="156" y="138"/>
                  </a:lnTo>
                  <a:lnTo>
                    <a:pt x="162" y="138"/>
                  </a:lnTo>
                  <a:lnTo>
                    <a:pt x="168" y="132"/>
                  </a:lnTo>
                  <a:lnTo>
                    <a:pt x="180" y="132"/>
                  </a:lnTo>
                  <a:lnTo>
                    <a:pt x="186" y="138"/>
                  </a:lnTo>
                  <a:lnTo>
                    <a:pt x="204" y="138"/>
                  </a:lnTo>
                  <a:lnTo>
                    <a:pt x="216" y="126"/>
                  </a:lnTo>
                  <a:lnTo>
                    <a:pt x="228" y="126"/>
                  </a:lnTo>
                  <a:lnTo>
                    <a:pt x="234" y="132"/>
                  </a:lnTo>
                  <a:lnTo>
                    <a:pt x="240" y="144"/>
                  </a:lnTo>
                  <a:lnTo>
                    <a:pt x="270" y="144"/>
                  </a:lnTo>
                  <a:lnTo>
                    <a:pt x="282" y="150"/>
                  </a:lnTo>
                  <a:lnTo>
                    <a:pt x="288" y="150"/>
                  </a:lnTo>
                  <a:lnTo>
                    <a:pt x="300" y="162"/>
                  </a:lnTo>
                  <a:lnTo>
                    <a:pt x="318" y="174"/>
                  </a:lnTo>
                  <a:lnTo>
                    <a:pt x="336" y="180"/>
                  </a:lnTo>
                  <a:lnTo>
                    <a:pt x="360" y="168"/>
                  </a:lnTo>
                  <a:lnTo>
                    <a:pt x="378" y="168"/>
                  </a:lnTo>
                  <a:lnTo>
                    <a:pt x="384" y="174"/>
                  </a:lnTo>
                  <a:lnTo>
                    <a:pt x="390" y="168"/>
                  </a:lnTo>
                  <a:lnTo>
                    <a:pt x="396" y="168"/>
                  </a:lnTo>
                  <a:lnTo>
                    <a:pt x="402" y="162"/>
                  </a:lnTo>
                  <a:lnTo>
                    <a:pt x="408" y="150"/>
                  </a:lnTo>
                  <a:lnTo>
                    <a:pt x="414" y="144"/>
                  </a:lnTo>
                  <a:lnTo>
                    <a:pt x="420" y="150"/>
                  </a:lnTo>
                  <a:lnTo>
                    <a:pt x="426" y="150"/>
                  </a:lnTo>
                  <a:lnTo>
                    <a:pt x="426" y="126"/>
                  </a:lnTo>
                  <a:lnTo>
                    <a:pt x="414" y="114"/>
                  </a:lnTo>
                  <a:lnTo>
                    <a:pt x="408" y="102"/>
                  </a:lnTo>
                  <a:lnTo>
                    <a:pt x="402" y="96"/>
                  </a:lnTo>
                  <a:lnTo>
                    <a:pt x="378" y="90"/>
                  </a:lnTo>
                  <a:lnTo>
                    <a:pt x="384" y="72"/>
                  </a:lnTo>
                  <a:lnTo>
                    <a:pt x="402" y="72"/>
                  </a:lnTo>
                  <a:lnTo>
                    <a:pt x="402" y="66"/>
                  </a:lnTo>
                  <a:lnTo>
                    <a:pt x="396" y="60"/>
                  </a:lnTo>
                  <a:lnTo>
                    <a:pt x="384" y="54"/>
                  </a:lnTo>
                  <a:lnTo>
                    <a:pt x="372" y="42"/>
                  </a:lnTo>
                  <a:lnTo>
                    <a:pt x="354" y="42"/>
                  </a:lnTo>
                  <a:lnTo>
                    <a:pt x="348" y="36"/>
                  </a:lnTo>
                  <a:lnTo>
                    <a:pt x="330" y="36"/>
                  </a:lnTo>
                  <a:lnTo>
                    <a:pt x="324" y="42"/>
                  </a:lnTo>
                  <a:lnTo>
                    <a:pt x="306" y="42"/>
                  </a:lnTo>
                  <a:lnTo>
                    <a:pt x="288" y="24"/>
                  </a:lnTo>
                  <a:lnTo>
                    <a:pt x="276" y="18"/>
                  </a:lnTo>
                  <a:lnTo>
                    <a:pt x="270" y="12"/>
                  </a:lnTo>
                  <a:lnTo>
                    <a:pt x="246" y="0"/>
                  </a:lnTo>
                  <a:lnTo>
                    <a:pt x="216" y="0"/>
                  </a:lnTo>
                  <a:lnTo>
                    <a:pt x="186" y="12"/>
                  </a:lnTo>
                  <a:lnTo>
                    <a:pt x="174" y="12"/>
                  </a:lnTo>
                  <a:lnTo>
                    <a:pt x="180" y="24"/>
                  </a:lnTo>
                  <a:lnTo>
                    <a:pt x="180" y="30"/>
                  </a:lnTo>
                  <a:lnTo>
                    <a:pt x="186" y="42"/>
                  </a:lnTo>
                  <a:lnTo>
                    <a:pt x="186" y="60"/>
                  </a:lnTo>
                  <a:lnTo>
                    <a:pt x="192" y="66"/>
                  </a:lnTo>
                  <a:lnTo>
                    <a:pt x="186" y="78"/>
                  </a:lnTo>
                  <a:lnTo>
                    <a:pt x="156" y="78"/>
                  </a:lnTo>
                  <a:lnTo>
                    <a:pt x="138" y="72"/>
                  </a:lnTo>
                  <a:lnTo>
                    <a:pt x="126" y="72"/>
                  </a:lnTo>
                  <a:lnTo>
                    <a:pt x="114" y="54"/>
                  </a:lnTo>
                  <a:lnTo>
                    <a:pt x="84" y="24"/>
                  </a:lnTo>
                  <a:lnTo>
                    <a:pt x="72" y="24"/>
                  </a:lnTo>
                  <a:lnTo>
                    <a:pt x="60" y="30"/>
                  </a:lnTo>
                  <a:lnTo>
                    <a:pt x="48" y="30"/>
                  </a:lnTo>
                  <a:lnTo>
                    <a:pt x="36" y="36"/>
                  </a:lnTo>
                  <a:lnTo>
                    <a:pt x="30" y="42"/>
                  </a:lnTo>
                  <a:lnTo>
                    <a:pt x="24" y="54"/>
                  </a:lnTo>
                  <a:lnTo>
                    <a:pt x="24" y="66"/>
                  </a:lnTo>
                  <a:lnTo>
                    <a:pt x="18" y="78"/>
                  </a:lnTo>
                  <a:lnTo>
                    <a:pt x="6" y="84"/>
                  </a:lnTo>
                  <a:lnTo>
                    <a:pt x="0" y="96"/>
                  </a:lnTo>
                  <a:lnTo>
                    <a:pt x="0" y="120"/>
                  </a:lnTo>
                  <a:lnTo>
                    <a:pt x="6" y="132"/>
                  </a:lnTo>
                  <a:lnTo>
                    <a:pt x="6" y="150"/>
                  </a:lnTo>
                  <a:lnTo>
                    <a:pt x="6" y="144"/>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22" name="Laos" descr="© INSCALE GmbH, 05.05.2010&#10;http://www.presentationload.com/">
              <a:extLst>
                <a:ext uri="{FF2B5EF4-FFF2-40B4-BE49-F238E27FC236}">
                  <a16:creationId xmlns:a16="http://schemas.microsoft.com/office/drawing/2014/main" id="{F80710A1-0FC4-44E0-9D1C-DD6F189B815A}"/>
                </a:ext>
              </a:extLst>
            </p:cNvPr>
            <p:cNvSpPr>
              <a:spLocks/>
            </p:cNvSpPr>
            <p:nvPr/>
          </p:nvSpPr>
          <p:spPr bwMode="gray">
            <a:xfrm>
              <a:off x="6914168" y="3531339"/>
              <a:ext cx="238339" cy="275972"/>
            </a:xfrm>
            <a:custGeom>
              <a:avLst/>
              <a:gdLst>
                <a:gd name="T0" fmla="*/ 2147483647 w 600"/>
                <a:gd name="T1" fmla="*/ 2147483647 h 696"/>
                <a:gd name="T2" fmla="*/ 2147483647 w 600"/>
                <a:gd name="T3" fmla="*/ 2147483647 h 696"/>
                <a:gd name="T4" fmla="*/ 2147483647 w 600"/>
                <a:gd name="T5" fmla="*/ 2147483647 h 696"/>
                <a:gd name="T6" fmla="*/ 2147483647 w 600"/>
                <a:gd name="T7" fmla="*/ 2147483647 h 696"/>
                <a:gd name="T8" fmla="*/ 2147483647 w 600"/>
                <a:gd name="T9" fmla="*/ 2147483647 h 696"/>
                <a:gd name="T10" fmla="*/ 2147483647 w 600"/>
                <a:gd name="T11" fmla="*/ 2147483647 h 696"/>
                <a:gd name="T12" fmla="*/ 2147483647 w 600"/>
                <a:gd name="T13" fmla="*/ 2147483647 h 696"/>
                <a:gd name="T14" fmla="*/ 2147483647 w 600"/>
                <a:gd name="T15" fmla="*/ 2147483647 h 696"/>
                <a:gd name="T16" fmla="*/ 2147483647 w 600"/>
                <a:gd name="T17" fmla="*/ 2147483647 h 696"/>
                <a:gd name="T18" fmla="*/ 2147483647 w 600"/>
                <a:gd name="T19" fmla="*/ 2147483647 h 696"/>
                <a:gd name="T20" fmla="*/ 2147483647 w 600"/>
                <a:gd name="T21" fmla="*/ 2147483647 h 696"/>
                <a:gd name="T22" fmla="*/ 2147483647 w 600"/>
                <a:gd name="T23" fmla="*/ 2147483647 h 696"/>
                <a:gd name="T24" fmla="*/ 2147483647 w 600"/>
                <a:gd name="T25" fmla="*/ 2147483647 h 696"/>
                <a:gd name="T26" fmla="*/ 2147483647 w 600"/>
                <a:gd name="T27" fmla="*/ 2147483647 h 696"/>
                <a:gd name="T28" fmla="*/ 2147483647 w 600"/>
                <a:gd name="T29" fmla="*/ 2147483647 h 696"/>
                <a:gd name="T30" fmla="*/ 2147483647 w 600"/>
                <a:gd name="T31" fmla="*/ 2147483647 h 696"/>
                <a:gd name="T32" fmla="*/ 2147483647 w 600"/>
                <a:gd name="T33" fmla="*/ 2147483647 h 696"/>
                <a:gd name="T34" fmla="*/ 2147483647 w 600"/>
                <a:gd name="T35" fmla="*/ 2147483647 h 696"/>
                <a:gd name="T36" fmla="*/ 2147483647 w 600"/>
                <a:gd name="T37" fmla="*/ 2147483647 h 696"/>
                <a:gd name="T38" fmla="*/ 2147483647 w 600"/>
                <a:gd name="T39" fmla="*/ 2147483647 h 696"/>
                <a:gd name="T40" fmla="*/ 2147483647 w 600"/>
                <a:gd name="T41" fmla="*/ 2147483647 h 696"/>
                <a:gd name="T42" fmla="*/ 2147483647 w 600"/>
                <a:gd name="T43" fmla="*/ 2147483647 h 696"/>
                <a:gd name="T44" fmla="*/ 2147483647 w 600"/>
                <a:gd name="T45" fmla="*/ 2147483647 h 696"/>
                <a:gd name="T46" fmla="*/ 2147483647 w 600"/>
                <a:gd name="T47" fmla="*/ 2147483647 h 696"/>
                <a:gd name="T48" fmla="*/ 2147483647 w 600"/>
                <a:gd name="T49" fmla="*/ 2147483647 h 696"/>
                <a:gd name="T50" fmla="*/ 2147483647 w 600"/>
                <a:gd name="T51" fmla="*/ 2147483647 h 696"/>
                <a:gd name="T52" fmla="*/ 2147483647 w 600"/>
                <a:gd name="T53" fmla="*/ 2147483647 h 696"/>
                <a:gd name="T54" fmla="*/ 2147483647 w 600"/>
                <a:gd name="T55" fmla="*/ 2147483647 h 696"/>
                <a:gd name="T56" fmla="*/ 2147483647 w 600"/>
                <a:gd name="T57" fmla="*/ 2147483647 h 696"/>
                <a:gd name="T58" fmla="*/ 2147483647 w 600"/>
                <a:gd name="T59" fmla="*/ 2147483647 h 696"/>
                <a:gd name="T60" fmla="*/ 2147483647 w 600"/>
                <a:gd name="T61" fmla="*/ 2147483647 h 696"/>
                <a:gd name="T62" fmla="*/ 2147483647 w 600"/>
                <a:gd name="T63" fmla="*/ 2147483647 h 696"/>
                <a:gd name="T64" fmla="*/ 2147483647 w 600"/>
                <a:gd name="T65" fmla="*/ 2147483647 h 696"/>
                <a:gd name="T66" fmla="*/ 2147483647 w 600"/>
                <a:gd name="T67" fmla="*/ 2147483647 h 696"/>
                <a:gd name="T68" fmla="*/ 2147483647 w 600"/>
                <a:gd name="T69" fmla="*/ 2147483647 h 696"/>
                <a:gd name="T70" fmla="*/ 2147483647 w 600"/>
                <a:gd name="T71" fmla="*/ 2147483647 h 696"/>
                <a:gd name="T72" fmla="*/ 2147483647 w 600"/>
                <a:gd name="T73" fmla="*/ 2147483647 h 696"/>
                <a:gd name="T74" fmla="*/ 2147483647 w 600"/>
                <a:gd name="T75" fmla="*/ 2147483647 h 696"/>
                <a:gd name="T76" fmla="*/ 2147483647 w 600"/>
                <a:gd name="T77" fmla="*/ 2147483647 h 696"/>
                <a:gd name="T78" fmla="*/ 2147483647 w 600"/>
                <a:gd name="T79" fmla="*/ 2147483647 h 696"/>
                <a:gd name="T80" fmla="*/ 2147483647 w 600"/>
                <a:gd name="T81" fmla="*/ 2147483647 h 696"/>
                <a:gd name="T82" fmla="*/ 2147483647 w 600"/>
                <a:gd name="T83" fmla="*/ 2147483647 h 696"/>
                <a:gd name="T84" fmla="*/ 2147483647 w 600"/>
                <a:gd name="T85" fmla="*/ 2147483647 h 696"/>
                <a:gd name="T86" fmla="*/ 2147483647 w 600"/>
                <a:gd name="T87" fmla="*/ 2147483647 h 696"/>
                <a:gd name="T88" fmla="*/ 2147483647 w 600"/>
                <a:gd name="T89" fmla="*/ 2147483647 h 696"/>
                <a:gd name="T90" fmla="*/ 2147483647 w 600"/>
                <a:gd name="T91" fmla="*/ 2147483647 h 696"/>
                <a:gd name="T92" fmla="*/ 2147483647 w 600"/>
                <a:gd name="T93" fmla="*/ 2147483647 h 696"/>
                <a:gd name="T94" fmla="*/ 2147483647 w 600"/>
                <a:gd name="T95" fmla="*/ 2147483647 h 696"/>
                <a:gd name="T96" fmla="*/ 2147483647 w 600"/>
                <a:gd name="T97" fmla="*/ 2147483647 h 696"/>
                <a:gd name="T98" fmla="*/ 2147483647 w 600"/>
                <a:gd name="T99" fmla="*/ 2147483647 h 696"/>
                <a:gd name="T100" fmla="*/ 2147483647 w 600"/>
                <a:gd name="T101" fmla="*/ 2147483647 h 696"/>
                <a:gd name="T102" fmla="*/ 2147483647 w 600"/>
                <a:gd name="T103" fmla="*/ 2147483647 h 696"/>
                <a:gd name="T104" fmla="*/ 2147483647 w 600"/>
                <a:gd name="T105" fmla="*/ 2147483647 h 696"/>
                <a:gd name="T106" fmla="*/ 2147483647 w 600"/>
                <a:gd name="T107" fmla="*/ 2147483647 h 696"/>
                <a:gd name="T108" fmla="*/ 2147483647 w 600"/>
                <a:gd name="T109" fmla="*/ 2147483647 h 696"/>
                <a:gd name="T110" fmla="*/ 2147483647 w 600"/>
                <a:gd name="T111" fmla="*/ 2147483647 h 696"/>
                <a:gd name="T112" fmla="*/ 2147483647 w 600"/>
                <a:gd name="T113" fmla="*/ 2147483647 h 696"/>
                <a:gd name="T114" fmla="*/ 2147483647 w 600"/>
                <a:gd name="T115" fmla="*/ 2147483647 h 696"/>
                <a:gd name="T116" fmla="*/ 2147483647 w 600"/>
                <a:gd name="T117" fmla="*/ 2147483647 h 696"/>
                <a:gd name="T118" fmla="*/ 0 w 600"/>
                <a:gd name="T119" fmla="*/ 2147483647 h 696"/>
                <a:gd name="T120" fmla="*/ 2147483647 w 600"/>
                <a:gd name="T121" fmla="*/ 2147483647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0"/>
                <a:gd name="T184" fmla="*/ 0 h 696"/>
                <a:gd name="T185" fmla="*/ 600 w 600"/>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0" h="696">
                  <a:moveTo>
                    <a:pt x="24" y="180"/>
                  </a:moveTo>
                  <a:lnTo>
                    <a:pt x="36" y="180"/>
                  </a:lnTo>
                  <a:lnTo>
                    <a:pt x="42" y="186"/>
                  </a:lnTo>
                  <a:lnTo>
                    <a:pt x="42" y="198"/>
                  </a:lnTo>
                  <a:lnTo>
                    <a:pt x="36" y="204"/>
                  </a:lnTo>
                  <a:lnTo>
                    <a:pt x="36" y="228"/>
                  </a:lnTo>
                  <a:lnTo>
                    <a:pt x="42" y="240"/>
                  </a:lnTo>
                  <a:lnTo>
                    <a:pt x="48" y="246"/>
                  </a:lnTo>
                  <a:lnTo>
                    <a:pt x="66" y="246"/>
                  </a:lnTo>
                  <a:lnTo>
                    <a:pt x="66" y="234"/>
                  </a:lnTo>
                  <a:lnTo>
                    <a:pt x="78" y="234"/>
                  </a:lnTo>
                  <a:lnTo>
                    <a:pt x="84" y="228"/>
                  </a:lnTo>
                  <a:lnTo>
                    <a:pt x="90" y="228"/>
                  </a:lnTo>
                  <a:lnTo>
                    <a:pt x="102" y="234"/>
                  </a:lnTo>
                  <a:lnTo>
                    <a:pt x="102" y="264"/>
                  </a:lnTo>
                  <a:lnTo>
                    <a:pt x="96" y="270"/>
                  </a:lnTo>
                  <a:lnTo>
                    <a:pt x="102" y="276"/>
                  </a:lnTo>
                  <a:lnTo>
                    <a:pt x="108" y="288"/>
                  </a:lnTo>
                  <a:lnTo>
                    <a:pt x="108" y="300"/>
                  </a:lnTo>
                  <a:lnTo>
                    <a:pt x="102" y="312"/>
                  </a:lnTo>
                  <a:lnTo>
                    <a:pt x="90" y="324"/>
                  </a:lnTo>
                  <a:lnTo>
                    <a:pt x="102" y="324"/>
                  </a:lnTo>
                  <a:lnTo>
                    <a:pt x="108" y="330"/>
                  </a:lnTo>
                  <a:lnTo>
                    <a:pt x="108" y="342"/>
                  </a:lnTo>
                  <a:lnTo>
                    <a:pt x="84" y="390"/>
                  </a:lnTo>
                  <a:lnTo>
                    <a:pt x="84" y="402"/>
                  </a:lnTo>
                  <a:lnTo>
                    <a:pt x="102" y="402"/>
                  </a:lnTo>
                  <a:lnTo>
                    <a:pt x="126" y="390"/>
                  </a:lnTo>
                  <a:lnTo>
                    <a:pt x="132" y="384"/>
                  </a:lnTo>
                  <a:lnTo>
                    <a:pt x="132" y="378"/>
                  </a:lnTo>
                  <a:lnTo>
                    <a:pt x="144" y="366"/>
                  </a:lnTo>
                  <a:lnTo>
                    <a:pt x="150" y="354"/>
                  </a:lnTo>
                  <a:lnTo>
                    <a:pt x="156" y="348"/>
                  </a:lnTo>
                  <a:lnTo>
                    <a:pt x="168" y="348"/>
                  </a:lnTo>
                  <a:lnTo>
                    <a:pt x="174" y="354"/>
                  </a:lnTo>
                  <a:lnTo>
                    <a:pt x="198" y="366"/>
                  </a:lnTo>
                  <a:lnTo>
                    <a:pt x="216" y="366"/>
                  </a:lnTo>
                  <a:lnTo>
                    <a:pt x="234" y="348"/>
                  </a:lnTo>
                  <a:lnTo>
                    <a:pt x="234" y="336"/>
                  </a:lnTo>
                  <a:lnTo>
                    <a:pt x="240" y="330"/>
                  </a:lnTo>
                  <a:lnTo>
                    <a:pt x="258" y="330"/>
                  </a:lnTo>
                  <a:lnTo>
                    <a:pt x="264" y="336"/>
                  </a:lnTo>
                  <a:lnTo>
                    <a:pt x="276" y="342"/>
                  </a:lnTo>
                  <a:lnTo>
                    <a:pt x="300" y="342"/>
                  </a:lnTo>
                  <a:lnTo>
                    <a:pt x="306" y="348"/>
                  </a:lnTo>
                  <a:lnTo>
                    <a:pt x="306" y="360"/>
                  </a:lnTo>
                  <a:lnTo>
                    <a:pt x="318" y="372"/>
                  </a:lnTo>
                  <a:lnTo>
                    <a:pt x="336" y="384"/>
                  </a:lnTo>
                  <a:lnTo>
                    <a:pt x="348" y="390"/>
                  </a:lnTo>
                  <a:lnTo>
                    <a:pt x="366" y="408"/>
                  </a:lnTo>
                  <a:lnTo>
                    <a:pt x="372" y="450"/>
                  </a:lnTo>
                  <a:lnTo>
                    <a:pt x="372" y="462"/>
                  </a:lnTo>
                  <a:lnTo>
                    <a:pt x="384" y="486"/>
                  </a:lnTo>
                  <a:lnTo>
                    <a:pt x="420" y="522"/>
                  </a:lnTo>
                  <a:lnTo>
                    <a:pt x="420" y="528"/>
                  </a:lnTo>
                  <a:lnTo>
                    <a:pt x="426" y="534"/>
                  </a:lnTo>
                  <a:lnTo>
                    <a:pt x="426" y="546"/>
                  </a:lnTo>
                  <a:lnTo>
                    <a:pt x="432" y="540"/>
                  </a:lnTo>
                  <a:lnTo>
                    <a:pt x="432" y="546"/>
                  </a:lnTo>
                  <a:lnTo>
                    <a:pt x="444" y="558"/>
                  </a:lnTo>
                  <a:lnTo>
                    <a:pt x="432" y="582"/>
                  </a:lnTo>
                  <a:lnTo>
                    <a:pt x="426" y="588"/>
                  </a:lnTo>
                  <a:lnTo>
                    <a:pt x="426" y="594"/>
                  </a:lnTo>
                  <a:lnTo>
                    <a:pt x="438" y="606"/>
                  </a:lnTo>
                  <a:lnTo>
                    <a:pt x="450" y="612"/>
                  </a:lnTo>
                  <a:lnTo>
                    <a:pt x="456" y="618"/>
                  </a:lnTo>
                  <a:lnTo>
                    <a:pt x="456" y="630"/>
                  </a:lnTo>
                  <a:lnTo>
                    <a:pt x="450" y="636"/>
                  </a:lnTo>
                  <a:lnTo>
                    <a:pt x="444" y="648"/>
                  </a:lnTo>
                  <a:lnTo>
                    <a:pt x="432" y="654"/>
                  </a:lnTo>
                  <a:lnTo>
                    <a:pt x="426" y="660"/>
                  </a:lnTo>
                  <a:lnTo>
                    <a:pt x="426" y="672"/>
                  </a:lnTo>
                  <a:lnTo>
                    <a:pt x="450" y="672"/>
                  </a:lnTo>
                  <a:lnTo>
                    <a:pt x="456" y="678"/>
                  </a:lnTo>
                  <a:lnTo>
                    <a:pt x="462" y="678"/>
                  </a:lnTo>
                  <a:lnTo>
                    <a:pt x="462" y="684"/>
                  </a:lnTo>
                  <a:lnTo>
                    <a:pt x="474" y="696"/>
                  </a:lnTo>
                  <a:lnTo>
                    <a:pt x="486" y="696"/>
                  </a:lnTo>
                  <a:lnTo>
                    <a:pt x="492" y="690"/>
                  </a:lnTo>
                  <a:lnTo>
                    <a:pt x="492" y="678"/>
                  </a:lnTo>
                  <a:lnTo>
                    <a:pt x="480" y="666"/>
                  </a:lnTo>
                  <a:lnTo>
                    <a:pt x="498" y="654"/>
                  </a:lnTo>
                  <a:lnTo>
                    <a:pt x="510" y="642"/>
                  </a:lnTo>
                  <a:lnTo>
                    <a:pt x="546" y="654"/>
                  </a:lnTo>
                  <a:lnTo>
                    <a:pt x="558" y="642"/>
                  </a:lnTo>
                  <a:lnTo>
                    <a:pt x="582" y="648"/>
                  </a:lnTo>
                  <a:lnTo>
                    <a:pt x="588" y="648"/>
                  </a:lnTo>
                  <a:lnTo>
                    <a:pt x="600" y="636"/>
                  </a:lnTo>
                  <a:lnTo>
                    <a:pt x="600" y="630"/>
                  </a:lnTo>
                  <a:lnTo>
                    <a:pt x="588" y="618"/>
                  </a:lnTo>
                  <a:lnTo>
                    <a:pt x="582" y="618"/>
                  </a:lnTo>
                  <a:lnTo>
                    <a:pt x="600" y="582"/>
                  </a:lnTo>
                  <a:lnTo>
                    <a:pt x="594" y="582"/>
                  </a:lnTo>
                  <a:lnTo>
                    <a:pt x="588" y="576"/>
                  </a:lnTo>
                  <a:lnTo>
                    <a:pt x="564" y="564"/>
                  </a:lnTo>
                  <a:lnTo>
                    <a:pt x="540" y="540"/>
                  </a:lnTo>
                  <a:lnTo>
                    <a:pt x="546" y="540"/>
                  </a:lnTo>
                  <a:lnTo>
                    <a:pt x="552" y="534"/>
                  </a:lnTo>
                  <a:lnTo>
                    <a:pt x="558" y="534"/>
                  </a:lnTo>
                  <a:lnTo>
                    <a:pt x="564" y="528"/>
                  </a:lnTo>
                  <a:lnTo>
                    <a:pt x="564" y="516"/>
                  </a:lnTo>
                  <a:lnTo>
                    <a:pt x="558" y="510"/>
                  </a:lnTo>
                  <a:lnTo>
                    <a:pt x="546" y="504"/>
                  </a:lnTo>
                  <a:lnTo>
                    <a:pt x="540" y="498"/>
                  </a:lnTo>
                  <a:lnTo>
                    <a:pt x="528" y="498"/>
                  </a:lnTo>
                  <a:lnTo>
                    <a:pt x="516" y="486"/>
                  </a:lnTo>
                  <a:lnTo>
                    <a:pt x="504" y="462"/>
                  </a:lnTo>
                  <a:lnTo>
                    <a:pt x="498" y="456"/>
                  </a:lnTo>
                  <a:lnTo>
                    <a:pt x="498" y="450"/>
                  </a:lnTo>
                  <a:lnTo>
                    <a:pt x="480" y="450"/>
                  </a:lnTo>
                  <a:lnTo>
                    <a:pt x="474" y="432"/>
                  </a:lnTo>
                  <a:lnTo>
                    <a:pt x="456" y="414"/>
                  </a:lnTo>
                  <a:lnTo>
                    <a:pt x="438" y="402"/>
                  </a:lnTo>
                  <a:lnTo>
                    <a:pt x="426" y="378"/>
                  </a:lnTo>
                  <a:lnTo>
                    <a:pt x="426" y="354"/>
                  </a:lnTo>
                  <a:lnTo>
                    <a:pt x="420" y="354"/>
                  </a:lnTo>
                  <a:lnTo>
                    <a:pt x="414" y="348"/>
                  </a:lnTo>
                  <a:lnTo>
                    <a:pt x="402" y="342"/>
                  </a:lnTo>
                  <a:lnTo>
                    <a:pt x="390" y="342"/>
                  </a:lnTo>
                  <a:lnTo>
                    <a:pt x="384" y="336"/>
                  </a:lnTo>
                  <a:lnTo>
                    <a:pt x="384" y="306"/>
                  </a:lnTo>
                  <a:lnTo>
                    <a:pt x="372" y="306"/>
                  </a:lnTo>
                  <a:lnTo>
                    <a:pt x="366" y="300"/>
                  </a:lnTo>
                  <a:lnTo>
                    <a:pt x="354" y="294"/>
                  </a:lnTo>
                  <a:lnTo>
                    <a:pt x="342" y="282"/>
                  </a:lnTo>
                  <a:lnTo>
                    <a:pt x="306" y="264"/>
                  </a:lnTo>
                  <a:lnTo>
                    <a:pt x="300" y="258"/>
                  </a:lnTo>
                  <a:lnTo>
                    <a:pt x="288" y="252"/>
                  </a:lnTo>
                  <a:lnTo>
                    <a:pt x="288" y="234"/>
                  </a:lnTo>
                  <a:lnTo>
                    <a:pt x="282" y="228"/>
                  </a:lnTo>
                  <a:lnTo>
                    <a:pt x="306" y="228"/>
                  </a:lnTo>
                  <a:lnTo>
                    <a:pt x="312" y="234"/>
                  </a:lnTo>
                  <a:lnTo>
                    <a:pt x="330" y="234"/>
                  </a:lnTo>
                  <a:lnTo>
                    <a:pt x="336" y="228"/>
                  </a:lnTo>
                  <a:lnTo>
                    <a:pt x="342" y="216"/>
                  </a:lnTo>
                  <a:lnTo>
                    <a:pt x="354" y="210"/>
                  </a:lnTo>
                  <a:lnTo>
                    <a:pt x="360" y="198"/>
                  </a:lnTo>
                  <a:lnTo>
                    <a:pt x="360" y="186"/>
                  </a:lnTo>
                  <a:lnTo>
                    <a:pt x="348" y="180"/>
                  </a:lnTo>
                  <a:lnTo>
                    <a:pt x="330" y="174"/>
                  </a:lnTo>
                  <a:lnTo>
                    <a:pt x="306" y="162"/>
                  </a:lnTo>
                  <a:lnTo>
                    <a:pt x="306" y="156"/>
                  </a:lnTo>
                  <a:lnTo>
                    <a:pt x="312" y="150"/>
                  </a:lnTo>
                  <a:lnTo>
                    <a:pt x="318" y="150"/>
                  </a:lnTo>
                  <a:lnTo>
                    <a:pt x="294" y="126"/>
                  </a:lnTo>
                  <a:lnTo>
                    <a:pt x="282" y="120"/>
                  </a:lnTo>
                  <a:lnTo>
                    <a:pt x="270" y="120"/>
                  </a:lnTo>
                  <a:lnTo>
                    <a:pt x="264" y="132"/>
                  </a:lnTo>
                  <a:lnTo>
                    <a:pt x="264" y="138"/>
                  </a:lnTo>
                  <a:lnTo>
                    <a:pt x="258" y="150"/>
                  </a:lnTo>
                  <a:lnTo>
                    <a:pt x="252" y="156"/>
                  </a:lnTo>
                  <a:lnTo>
                    <a:pt x="240" y="144"/>
                  </a:lnTo>
                  <a:lnTo>
                    <a:pt x="240" y="138"/>
                  </a:lnTo>
                  <a:lnTo>
                    <a:pt x="222" y="138"/>
                  </a:lnTo>
                  <a:lnTo>
                    <a:pt x="216" y="126"/>
                  </a:lnTo>
                  <a:lnTo>
                    <a:pt x="198" y="108"/>
                  </a:lnTo>
                  <a:lnTo>
                    <a:pt x="186" y="84"/>
                  </a:lnTo>
                  <a:lnTo>
                    <a:pt x="186" y="54"/>
                  </a:lnTo>
                  <a:lnTo>
                    <a:pt x="180" y="54"/>
                  </a:lnTo>
                  <a:lnTo>
                    <a:pt x="174" y="60"/>
                  </a:lnTo>
                  <a:lnTo>
                    <a:pt x="168" y="48"/>
                  </a:lnTo>
                  <a:lnTo>
                    <a:pt x="156" y="42"/>
                  </a:lnTo>
                  <a:lnTo>
                    <a:pt x="150" y="30"/>
                  </a:lnTo>
                  <a:lnTo>
                    <a:pt x="144" y="24"/>
                  </a:lnTo>
                  <a:lnTo>
                    <a:pt x="138" y="12"/>
                  </a:lnTo>
                  <a:lnTo>
                    <a:pt x="132" y="6"/>
                  </a:lnTo>
                  <a:lnTo>
                    <a:pt x="96" y="0"/>
                  </a:lnTo>
                  <a:lnTo>
                    <a:pt x="90" y="6"/>
                  </a:lnTo>
                  <a:lnTo>
                    <a:pt x="90" y="48"/>
                  </a:lnTo>
                  <a:lnTo>
                    <a:pt x="114" y="72"/>
                  </a:lnTo>
                  <a:lnTo>
                    <a:pt x="114" y="108"/>
                  </a:lnTo>
                  <a:lnTo>
                    <a:pt x="72" y="108"/>
                  </a:lnTo>
                  <a:lnTo>
                    <a:pt x="72" y="84"/>
                  </a:lnTo>
                  <a:lnTo>
                    <a:pt x="36" y="102"/>
                  </a:lnTo>
                  <a:lnTo>
                    <a:pt x="36" y="114"/>
                  </a:lnTo>
                  <a:lnTo>
                    <a:pt x="30" y="126"/>
                  </a:lnTo>
                  <a:lnTo>
                    <a:pt x="36" y="132"/>
                  </a:lnTo>
                  <a:lnTo>
                    <a:pt x="30" y="138"/>
                  </a:lnTo>
                  <a:lnTo>
                    <a:pt x="18" y="138"/>
                  </a:lnTo>
                  <a:lnTo>
                    <a:pt x="0" y="156"/>
                  </a:lnTo>
                  <a:lnTo>
                    <a:pt x="0" y="168"/>
                  </a:lnTo>
                  <a:lnTo>
                    <a:pt x="6" y="168"/>
                  </a:lnTo>
                  <a:lnTo>
                    <a:pt x="12" y="174"/>
                  </a:lnTo>
                  <a:lnTo>
                    <a:pt x="24" y="18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23" name="Kyrgyzstan" descr="© INSCALE GmbH, 05.05.2010&#10;http://www.presentationload.com/">
              <a:extLst>
                <a:ext uri="{FF2B5EF4-FFF2-40B4-BE49-F238E27FC236}">
                  <a16:creationId xmlns:a16="http://schemas.microsoft.com/office/drawing/2014/main" id="{736884B8-5A81-435A-9753-2863BED200C9}"/>
                </a:ext>
              </a:extLst>
            </p:cNvPr>
            <p:cNvSpPr>
              <a:spLocks/>
            </p:cNvSpPr>
            <p:nvPr/>
          </p:nvSpPr>
          <p:spPr bwMode="gray">
            <a:xfrm>
              <a:off x="5959241" y="2871201"/>
              <a:ext cx="266564" cy="123874"/>
            </a:xfrm>
            <a:custGeom>
              <a:avLst/>
              <a:gdLst>
                <a:gd name="T0" fmla="*/ 2147483647 w 672"/>
                <a:gd name="T1" fmla="*/ 2147483647 h 312"/>
                <a:gd name="T2" fmla="*/ 2147483647 w 672"/>
                <a:gd name="T3" fmla="*/ 2147483647 h 312"/>
                <a:gd name="T4" fmla="*/ 2147483647 w 672"/>
                <a:gd name="T5" fmla="*/ 2147483647 h 312"/>
                <a:gd name="T6" fmla="*/ 2147483647 w 672"/>
                <a:gd name="T7" fmla="*/ 2147483647 h 312"/>
                <a:gd name="T8" fmla="*/ 2147483647 w 672"/>
                <a:gd name="T9" fmla="*/ 2147483647 h 312"/>
                <a:gd name="T10" fmla="*/ 2147483647 w 672"/>
                <a:gd name="T11" fmla="*/ 2147483647 h 312"/>
                <a:gd name="T12" fmla="*/ 2147483647 w 672"/>
                <a:gd name="T13" fmla="*/ 2147483647 h 312"/>
                <a:gd name="T14" fmla="*/ 2147483647 w 672"/>
                <a:gd name="T15" fmla="*/ 2147483647 h 312"/>
                <a:gd name="T16" fmla="*/ 2147483647 w 672"/>
                <a:gd name="T17" fmla="*/ 2147483647 h 312"/>
                <a:gd name="T18" fmla="*/ 2147483647 w 672"/>
                <a:gd name="T19" fmla="*/ 2147483647 h 312"/>
                <a:gd name="T20" fmla="*/ 2147483647 w 672"/>
                <a:gd name="T21" fmla="*/ 2147483647 h 312"/>
                <a:gd name="T22" fmla="*/ 2147483647 w 672"/>
                <a:gd name="T23" fmla="*/ 2147483647 h 312"/>
                <a:gd name="T24" fmla="*/ 0 w 672"/>
                <a:gd name="T25" fmla="*/ 2147483647 h 312"/>
                <a:gd name="T26" fmla="*/ 2147483647 w 672"/>
                <a:gd name="T27" fmla="*/ 2147483647 h 312"/>
                <a:gd name="T28" fmla="*/ 2147483647 w 672"/>
                <a:gd name="T29" fmla="*/ 2147483647 h 312"/>
                <a:gd name="T30" fmla="*/ 2147483647 w 672"/>
                <a:gd name="T31" fmla="*/ 2147483647 h 312"/>
                <a:gd name="T32" fmla="*/ 2147483647 w 672"/>
                <a:gd name="T33" fmla="*/ 2147483647 h 312"/>
                <a:gd name="T34" fmla="*/ 2147483647 w 672"/>
                <a:gd name="T35" fmla="*/ 2147483647 h 312"/>
                <a:gd name="T36" fmla="*/ 2147483647 w 672"/>
                <a:gd name="T37" fmla="*/ 2147483647 h 312"/>
                <a:gd name="T38" fmla="*/ 2147483647 w 672"/>
                <a:gd name="T39" fmla="*/ 2147483647 h 312"/>
                <a:gd name="T40" fmla="*/ 2147483647 w 672"/>
                <a:gd name="T41" fmla="*/ 2147483647 h 312"/>
                <a:gd name="T42" fmla="*/ 2147483647 w 672"/>
                <a:gd name="T43" fmla="*/ 2147483647 h 312"/>
                <a:gd name="T44" fmla="*/ 2147483647 w 672"/>
                <a:gd name="T45" fmla="*/ 2147483647 h 312"/>
                <a:gd name="T46" fmla="*/ 2147483647 w 672"/>
                <a:gd name="T47" fmla="*/ 2147483647 h 312"/>
                <a:gd name="T48" fmla="*/ 2147483647 w 672"/>
                <a:gd name="T49" fmla="*/ 2147483647 h 312"/>
                <a:gd name="T50" fmla="*/ 2147483647 w 672"/>
                <a:gd name="T51" fmla="*/ 2147483647 h 312"/>
                <a:gd name="T52" fmla="*/ 2147483647 w 672"/>
                <a:gd name="T53" fmla="*/ 2147483647 h 312"/>
                <a:gd name="T54" fmla="*/ 2147483647 w 672"/>
                <a:gd name="T55" fmla="*/ 2147483647 h 312"/>
                <a:gd name="T56" fmla="*/ 2147483647 w 672"/>
                <a:gd name="T57" fmla="*/ 2147483647 h 312"/>
                <a:gd name="T58" fmla="*/ 2147483647 w 672"/>
                <a:gd name="T59" fmla="*/ 2147483647 h 312"/>
                <a:gd name="T60" fmla="*/ 2147483647 w 672"/>
                <a:gd name="T61" fmla="*/ 2147483647 h 312"/>
                <a:gd name="T62" fmla="*/ 2147483647 w 672"/>
                <a:gd name="T63" fmla="*/ 2147483647 h 312"/>
                <a:gd name="T64" fmla="*/ 2147483647 w 672"/>
                <a:gd name="T65" fmla="*/ 2147483647 h 312"/>
                <a:gd name="T66" fmla="*/ 2147483647 w 672"/>
                <a:gd name="T67" fmla="*/ 2147483647 h 312"/>
                <a:gd name="T68" fmla="*/ 2147483647 w 672"/>
                <a:gd name="T69" fmla="*/ 2147483647 h 312"/>
                <a:gd name="T70" fmla="*/ 2147483647 w 672"/>
                <a:gd name="T71" fmla="*/ 2147483647 h 312"/>
                <a:gd name="T72" fmla="*/ 2147483647 w 672"/>
                <a:gd name="T73" fmla="*/ 2147483647 h 312"/>
                <a:gd name="T74" fmla="*/ 2147483647 w 672"/>
                <a:gd name="T75" fmla="*/ 2147483647 h 312"/>
                <a:gd name="T76" fmla="*/ 2147483647 w 672"/>
                <a:gd name="T77" fmla="*/ 0 h 312"/>
                <a:gd name="T78" fmla="*/ 2147483647 w 672"/>
                <a:gd name="T79" fmla="*/ 2147483647 h 312"/>
                <a:gd name="T80" fmla="*/ 2147483647 w 672"/>
                <a:gd name="T81" fmla="*/ 2147483647 h 312"/>
                <a:gd name="T82" fmla="*/ 2147483647 w 672"/>
                <a:gd name="T83" fmla="*/ 2147483647 h 312"/>
                <a:gd name="T84" fmla="*/ 2147483647 w 672"/>
                <a:gd name="T85" fmla="*/ 2147483647 h 312"/>
                <a:gd name="T86" fmla="*/ 2147483647 w 672"/>
                <a:gd name="T87" fmla="*/ 2147483647 h 312"/>
                <a:gd name="T88" fmla="*/ 2147483647 w 672"/>
                <a:gd name="T89" fmla="*/ 2147483647 h 31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72"/>
                <a:gd name="T136" fmla="*/ 0 h 312"/>
                <a:gd name="T137" fmla="*/ 672 w 672"/>
                <a:gd name="T138" fmla="*/ 312 h 31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72" h="312">
                  <a:moveTo>
                    <a:pt x="36" y="132"/>
                  </a:moveTo>
                  <a:lnTo>
                    <a:pt x="66" y="144"/>
                  </a:lnTo>
                  <a:lnTo>
                    <a:pt x="78" y="156"/>
                  </a:lnTo>
                  <a:lnTo>
                    <a:pt x="114" y="156"/>
                  </a:lnTo>
                  <a:lnTo>
                    <a:pt x="114" y="144"/>
                  </a:lnTo>
                  <a:lnTo>
                    <a:pt x="126" y="144"/>
                  </a:lnTo>
                  <a:lnTo>
                    <a:pt x="126" y="132"/>
                  </a:lnTo>
                  <a:lnTo>
                    <a:pt x="144" y="156"/>
                  </a:lnTo>
                  <a:lnTo>
                    <a:pt x="162" y="156"/>
                  </a:lnTo>
                  <a:lnTo>
                    <a:pt x="168" y="174"/>
                  </a:lnTo>
                  <a:lnTo>
                    <a:pt x="192" y="174"/>
                  </a:lnTo>
                  <a:lnTo>
                    <a:pt x="198" y="186"/>
                  </a:lnTo>
                  <a:lnTo>
                    <a:pt x="204" y="186"/>
                  </a:lnTo>
                  <a:lnTo>
                    <a:pt x="216" y="180"/>
                  </a:lnTo>
                  <a:lnTo>
                    <a:pt x="228" y="180"/>
                  </a:lnTo>
                  <a:lnTo>
                    <a:pt x="228" y="192"/>
                  </a:lnTo>
                  <a:lnTo>
                    <a:pt x="216" y="204"/>
                  </a:lnTo>
                  <a:lnTo>
                    <a:pt x="204" y="210"/>
                  </a:lnTo>
                  <a:lnTo>
                    <a:pt x="192" y="210"/>
                  </a:lnTo>
                  <a:lnTo>
                    <a:pt x="192" y="216"/>
                  </a:lnTo>
                  <a:lnTo>
                    <a:pt x="174" y="222"/>
                  </a:lnTo>
                  <a:lnTo>
                    <a:pt x="156" y="240"/>
                  </a:lnTo>
                  <a:lnTo>
                    <a:pt x="150" y="240"/>
                  </a:lnTo>
                  <a:lnTo>
                    <a:pt x="144" y="234"/>
                  </a:lnTo>
                  <a:lnTo>
                    <a:pt x="138" y="234"/>
                  </a:lnTo>
                  <a:lnTo>
                    <a:pt x="132" y="228"/>
                  </a:lnTo>
                  <a:lnTo>
                    <a:pt x="114" y="228"/>
                  </a:lnTo>
                  <a:lnTo>
                    <a:pt x="102" y="234"/>
                  </a:lnTo>
                  <a:lnTo>
                    <a:pt x="96" y="234"/>
                  </a:lnTo>
                  <a:lnTo>
                    <a:pt x="96" y="246"/>
                  </a:lnTo>
                  <a:lnTo>
                    <a:pt x="90" y="252"/>
                  </a:lnTo>
                  <a:lnTo>
                    <a:pt x="84" y="252"/>
                  </a:lnTo>
                  <a:lnTo>
                    <a:pt x="72" y="246"/>
                  </a:lnTo>
                  <a:lnTo>
                    <a:pt x="36" y="234"/>
                  </a:lnTo>
                  <a:lnTo>
                    <a:pt x="24" y="234"/>
                  </a:lnTo>
                  <a:lnTo>
                    <a:pt x="18" y="240"/>
                  </a:lnTo>
                  <a:lnTo>
                    <a:pt x="18" y="252"/>
                  </a:lnTo>
                  <a:lnTo>
                    <a:pt x="12" y="258"/>
                  </a:lnTo>
                  <a:lnTo>
                    <a:pt x="0" y="264"/>
                  </a:lnTo>
                  <a:lnTo>
                    <a:pt x="0" y="276"/>
                  </a:lnTo>
                  <a:lnTo>
                    <a:pt x="6" y="282"/>
                  </a:lnTo>
                  <a:lnTo>
                    <a:pt x="6" y="288"/>
                  </a:lnTo>
                  <a:lnTo>
                    <a:pt x="12" y="294"/>
                  </a:lnTo>
                  <a:lnTo>
                    <a:pt x="24" y="288"/>
                  </a:lnTo>
                  <a:lnTo>
                    <a:pt x="36" y="288"/>
                  </a:lnTo>
                  <a:lnTo>
                    <a:pt x="42" y="282"/>
                  </a:lnTo>
                  <a:lnTo>
                    <a:pt x="60" y="282"/>
                  </a:lnTo>
                  <a:lnTo>
                    <a:pt x="72" y="288"/>
                  </a:lnTo>
                  <a:lnTo>
                    <a:pt x="96" y="288"/>
                  </a:lnTo>
                  <a:lnTo>
                    <a:pt x="108" y="300"/>
                  </a:lnTo>
                  <a:lnTo>
                    <a:pt x="126" y="300"/>
                  </a:lnTo>
                  <a:lnTo>
                    <a:pt x="132" y="294"/>
                  </a:lnTo>
                  <a:lnTo>
                    <a:pt x="144" y="288"/>
                  </a:lnTo>
                  <a:lnTo>
                    <a:pt x="150" y="282"/>
                  </a:lnTo>
                  <a:lnTo>
                    <a:pt x="180" y="312"/>
                  </a:lnTo>
                  <a:lnTo>
                    <a:pt x="192" y="306"/>
                  </a:lnTo>
                  <a:lnTo>
                    <a:pt x="198" y="306"/>
                  </a:lnTo>
                  <a:lnTo>
                    <a:pt x="198" y="312"/>
                  </a:lnTo>
                  <a:lnTo>
                    <a:pt x="210" y="312"/>
                  </a:lnTo>
                  <a:lnTo>
                    <a:pt x="222" y="306"/>
                  </a:lnTo>
                  <a:lnTo>
                    <a:pt x="228" y="300"/>
                  </a:lnTo>
                  <a:lnTo>
                    <a:pt x="270" y="300"/>
                  </a:lnTo>
                  <a:lnTo>
                    <a:pt x="282" y="288"/>
                  </a:lnTo>
                  <a:lnTo>
                    <a:pt x="300" y="294"/>
                  </a:lnTo>
                  <a:lnTo>
                    <a:pt x="318" y="294"/>
                  </a:lnTo>
                  <a:lnTo>
                    <a:pt x="318" y="282"/>
                  </a:lnTo>
                  <a:lnTo>
                    <a:pt x="312" y="270"/>
                  </a:lnTo>
                  <a:lnTo>
                    <a:pt x="300" y="264"/>
                  </a:lnTo>
                  <a:lnTo>
                    <a:pt x="300" y="258"/>
                  </a:lnTo>
                  <a:lnTo>
                    <a:pt x="306" y="252"/>
                  </a:lnTo>
                  <a:lnTo>
                    <a:pt x="318" y="246"/>
                  </a:lnTo>
                  <a:lnTo>
                    <a:pt x="330" y="246"/>
                  </a:lnTo>
                  <a:lnTo>
                    <a:pt x="336" y="240"/>
                  </a:lnTo>
                  <a:lnTo>
                    <a:pt x="348" y="234"/>
                  </a:lnTo>
                  <a:lnTo>
                    <a:pt x="348" y="216"/>
                  </a:lnTo>
                  <a:lnTo>
                    <a:pt x="372" y="216"/>
                  </a:lnTo>
                  <a:lnTo>
                    <a:pt x="384" y="204"/>
                  </a:lnTo>
                  <a:lnTo>
                    <a:pt x="396" y="204"/>
                  </a:lnTo>
                  <a:lnTo>
                    <a:pt x="402" y="210"/>
                  </a:lnTo>
                  <a:lnTo>
                    <a:pt x="408" y="222"/>
                  </a:lnTo>
                  <a:lnTo>
                    <a:pt x="414" y="228"/>
                  </a:lnTo>
                  <a:lnTo>
                    <a:pt x="426" y="222"/>
                  </a:lnTo>
                  <a:lnTo>
                    <a:pt x="456" y="228"/>
                  </a:lnTo>
                  <a:lnTo>
                    <a:pt x="462" y="222"/>
                  </a:lnTo>
                  <a:lnTo>
                    <a:pt x="462" y="198"/>
                  </a:lnTo>
                  <a:lnTo>
                    <a:pt x="468" y="186"/>
                  </a:lnTo>
                  <a:lnTo>
                    <a:pt x="486" y="168"/>
                  </a:lnTo>
                  <a:lnTo>
                    <a:pt x="516" y="168"/>
                  </a:lnTo>
                  <a:lnTo>
                    <a:pt x="534" y="174"/>
                  </a:lnTo>
                  <a:lnTo>
                    <a:pt x="552" y="174"/>
                  </a:lnTo>
                  <a:lnTo>
                    <a:pt x="558" y="168"/>
                  </a:lnTo>
                  <a:lnTo>
                    <a:pt x="564" y="156"/>
                  </a:lnTo>
                  <a:lnTo>
                    <a:pt x="564" y="138"/>
                  </a:lnTo>
                  <a:lnTo>
                    <a:pt x="570" y="132"/>
                  </a:lnTo>
                  <a:lnTo>
                    <a:pt x="582" y="126"/>
                  </a:lnTo>
                  <a:lnTo>
                    <a:pt x="594" y="114"/>
                  </a:lnTo>
                  <a:lnTo>
                    <a:pt x="642" y="96"/>
                  </a:lnTo>
                  <a:lnTo>
                    <a:pt x="666" y="96"/>
                  </a:lnTo>
                  <a:lnTo>
                    <a:pt x="672" y="90"/>
                  </a:lnTo>
                  <a:lnTo>
                    <a:pt x="672" y="78"/>
                  </a:lnTo>
                  <a:lnTo>
                    <a:pt x="660" y="66"/>
                  </a:lnTo>
                  <a:lnTo>
                    <a:pt x="642" y="60"/>
                  </a:lnTo>
                  <a:lnTo>
                    <a:pt x="600" y="60"/>
                  </a:lnTo>
                  <a:lnTo>
                    <a:pt x="576" y="30"/>
                  </a:lnTo>
                  <a:lnTo>
                    <a:pt x="558" y="30"/>
                  </a:lnTo>
                  <a:lnTo>
                    <a:pt x="546" y="18"/>
                  </a:lnTo>
                  <a:lnTo>
                    <a:pt x="498" y="24"/>
                  </a:lnTo>
                  <a:lnTo>
                    <a:pt x="486" y="24"/>
                  </a:lnTo>
                  <a:lnTo>
                    <a:pt x="474" y="18"/>
                  </a:lnTo>
                  <a:lnTo>
                    <a:pt x="354" y="18"/>
                  </a:lnTo>
                  <a:lnTo>
                    <a:pt x="336" y="24"/>
                  </a:lnTo>
                  <a:lnTo>
                    <a:pt x="318" y="24"/>
                  </a:lnTo>
                  <a:lnTo>
                    <a:pt x="306" y="18"/>
                  </a:lnTo>
                  <a:lnTo>
                    <a:pt x="282" y="18"/>
                  </a:lnTo>
                  <a:lnTo>
                    <a:pt x="276" y="6"/>
                  </a:lnTo>
                  <a:lnTo>
                    <a:pt x="264" y="0"/>
                  </a:lnTo>
                  <a:lnTo>
                    <a:pt x="222" y="0"/>
                  </a:lnTo>
                  <a:lnTo>
                    <a:pt x="216" y="6"/>
                  </a:lnTo>
                  <a:lnTo>
                    <a:pt x="216" y="36"/>
                  </a:lnTo>
                  <a:lnTo>
                    <a:pt x="222" y="48"/>
                  </a:lnTo>
                  <a:lnTo>
                    <a:pt x="222" y="60"/>
                  </a:lnTo>
                  <a:lnTo>
                    <a:pt x="204" y="54"/>
                  </a:lnTo>
                  <a:lnTo>
                    <a:pt x="174" y="54"/>
                  </a:lnTo>
                  <a:lnTo>
                    <a:pt x="138" y="36"/>
                  </a:lnTo>
                  <a:lnTo>
                    <a:pt x="120" y="30"/>
                  </a:lnTo>
                  <a:lnTo>
                    <a:pt x="108" y="24"/>
                  </a:lnTo>
                  <a:lnTo>
                    <a:pt x="78" y="24"/>
                  </a:lnTo>
                  <a:lnTo>
                    <a:pt x="60" y="42"/>
                  </a:lnTo>
                  <a:lnTo>
                    <a:pt x="54" y="54"/>
                  </a:lnTo>
                  <a:lnTo>
                    <a:pt x="54" y="72"/>
                  </a:lnTo>
                  <a:lnTo>
                    <a:pt x="72" y="72"/>
                  </a:lnTo>
                  <a:lnTo>
                    <a:pt x="78" y="78"/>
                  </a:lnTo>
                  <a:lnTo>
                    <a:pt x="84" y="78"/>
                  </a:lnTo>
                  <a:lnTo>
                    <a:pt x="84" y="84"/>
                  </a:lnTo>
                  <a:lnTo>
                    <a:pt x="36" y="13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24" name="Kuwait" descr="© INSCALE GmbH, 05.05.2010&#10;http://www.presentationload.com/">
              <a:extLst>
                <a:ext uri="{FF2B5EF4-FFF2-40B4-BE49-F238E27FC236}">
                  <a16:creationId xmlns:a16="http://schemas.microsoft.com/office/drawing/2014/main" id="{0928DEB4-045B-49B1-BE4F-01413C220298}"/>
                </a:ext>
              </a:extLst>
            </p:cNvPr>
            <p:cNvSpPr>
              <a:spLocks/>
            </p:cNvSpPr>
            <p:nvPr/>
          </p:nvSpPr>
          <p:spPr bwMode="gray">
            <a:xfrm>
              <a:off x="5408866" y="3289863"/>
              <a:ext cx="54880" cy="48609"/>
            </a:xfrm>
            <a:custGeom>
              <a:avLst/>
              <a:gdLst>
                <a:gd name="T0" fmla="*/ 2147483647 w 138"/>
                <a:gd name="T1" fmla="*/ 0 h 120"/>
                <a:gd name="T2" fmla="*/ 2147483647 w 138"/>
                <a:gd name="T3" fmla="*/ 0 h 120"/>
                <a:gd name="T4" fmla="*/ 2147483647 w 138"/>
                <a:gd name="T5" fmla="*/ 2147483647 h 120"/>
                <a:gd name="T6" fmla="*/ 2147483647 w 138"/>
                <a:gd name="T7" fmla="*/ 2147483647 h 120"/>
                <a:gd name="T8" fmla="*/ 2147483647 w 138"/>
                <a:gd name="T9" fmla="*/ 2147483647 h 120"/>
                <a:gd name="T10" fmla="*/ 2147483647 w 138"/>
                <a:gd name="T11" fmla="*/ 2147483647 h 120"/>
                <a:gd name="T12" fmla="*/ 0 w 138"/>
                <a:gd name="T13" fmla="*/ 2147483647 h 120"/>
                <a:gd name="T14" fmla="*/ 2147483647 w 138"/>
                <a:gd name="T15" fmla="*/ 2147483647 h 120"/>
                <a:gd name="T16" fmla="*/ 2147483647 w 138"/>
                <a:gd name="T17" fmla="*/ 2147483647 h 120"/>
                <a:gd name="T18" fmla="*/ 2147483647 w 138"/>
                <a:gd name="T19" fmla="*/ 2147483647 h 120"/>
                <a:gd name="T20" fmla="*/ 2147483647 w 138"/>
                <a:gd name="T21" fmla="*/ 2147483647 h 120"/>
                <a:gd name="T22" fmla="*/ 2147483647 w 138"/>
                <a:gd name="T23" fmla="*/ 2147483647 h 120"/>
                <a:gd name="T24" fmla="*/ 2147483647 w 138"/>
                <a:gd name="T25" fmla="*/ 2147483647 h 120"/>
                <a:gd name="T26" fmla="*/ 2147483647 w 138"/>
                <a:gd name="T27" fmla="*/ 2147483647 h 120"/>
                <a:gd name="T28" fmla="*/ 2147483647 w 138"/>
                <a:gd name="T29" fmla="*/ 2147483647 h 120"/>
                <a:gd name="T30" fmla="*/ 2147483647 w 138"/>
                <a:gd name="T31" fmla="*/ 2147483647 h 120"/>
                <a:gd name="T32" fmla="*/ 2147483647 w 138"/>
                <a:gd name="T33" fmla="*/ 2147483647 h 120"/>
                <a:gd name="T34" fmla="*/ 2147483647 w 138"/>
                <a:gd name="T35" fmla="*/ 2147483647 h 120"/>
                <a:gd name="T36" fmla="*/ 2147483647 w 138"/>
                <a:gd name="T37" fmla="*/ 2147483647 h 120"/>
                <a:gd name="T38" fmla="*/ 2147483647 w 138"/>
                <a:gd name="T39" fmla="*/ 2147483647 h 120"/>
                <a:gd name="T40" fmla="*/ 2147483647 w 138"/>
                <a:gd name="T41" fmla="*/ 2147483647 h 120"/>
                <a:gd name="T42" fmla="*/ 2147483647 w 138"/>
                <a:gd name="T43" fmla="*/ 2147483647 h 120"/>
                <a:gd name="T44" fmla="*/ 2147483647 w 138"/>
                <a:gd name="T45" fmla="*/ 2147483647 h 120"/>
                <a:gd name="T46" fmla="*/ 2147483647 w 138"/>
                <a:gd name="T47" fmla="*/ 2147483647 h 120"/>
                <a:gd name="T48" fmla="*/ 2147483647 w 138"/>
                <a:gd name="T49" fmla="*/ 0 h 120"/>
                <a:gd name="T50" fmla="*/ 2147483647 w 138"/>
                <a:gd name="T51" fmla="*/ 0 h 1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8"/>
                <a:gd name="T79" fmla="*/ 0 h 120"/>
                <a:gd name="T80" fmla="*/ 138 w 138"/>
                <a:gd name="T81" fmla="*/ 120 h 1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8" h="120">
                  <a:moveTo>
                    <a:pt x="54" y="0"/>
                  </a:moveTo>
                  <a:lnTo>
                    <a:pt x="36" y="0"/>
                  </a:lnTo>
                  <a:lnTo>
                    <a:pt x="30" y="12"/>
                  </a:lnTo>
                  <a:lnTo>
                    <a:pt x="24" y="18"/>
                  </a:lnTo>
                  <a:lnTo>
                    <a:pt x="24" y="30"/>
                  </a:lnTo>
                  <a:lnTo>
                    <a:pt x="6" y="66"/>
                  </a:lnTo>
                  <a:lnTo>
                    <a:pt x="0" y="72"/>
                  </a:lnTo>
                  <a:lnTo>
                    <a:pt x="42" y="72"/>
                  </a:lnTo>
                  <a:lnTo>
                    <a:pt x="60" y="78"/>
                  </a:lnTo>
                  <a:lnTo>
                    <a:pt x="66" y="78"/>
                  </a:lnTo>
                  <a:lnTo>
                    <a:pt x="66" y="114"/>
                  </a:lnTo>
                  <a:lnTo>
                    <a:pt x="72" y="120"/>
                  </a:lnTo>
                  <a:lnTo>
                    <a:pt x="138" y="120"/>
                  </a:lnTo>
                  <a:lnTo>
                    <a:pt x="126" y="114"/>
                  </a:lnTo>
                  <a:lnTo>
                    <a:pt x="114" y="102"/>
                  </a:lnTo>
                  <a:lnTo>
                    <a:pt x="102" y="78"/>
                  </a:lnTo>
                  <a:lnTo>
                    <a:pt x="102" y="66"/>
                  </a:lnTo>
                  <a:lnTo>
                    <a:pt x="90" y="60"/>
                  </a:lnTo>
                  <a:lnTo>
                    <a:pt x="84" y="36"/>
                  </a:lnTo>
                  <a:lnTo>
                    <a:pt x="120" y="36"/>
                  </a:lnTo>
                  <a:lnTo>
                    <a:pt x="120" y="18"/>
                  </a:lnTo>
                  <a:lnTo>
                    <a:pt x="114" y="12"/>
                  </a:lnTo>
                  <a:lnTo>
                    <a:pt x="90" y="12"/>
                  </a:lnTo>
                  <a:lnTo>
                    <a:pt x="90" y="18"/>
                  </a:lnTo>
                  <a:lnTo>
                    <a:pt x="84" y="0"/>
                  </a:lnTo>
                  <a:lnTo>
                    <a:pt x="54" y="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25" name="Kuba" descr="© INSCALE GmbH, 05.05.2010&#10;http://www.presentationload.com/">
              <a:extLst>
                <a:ext uri="{FF2B5EF4-FFF2-40B4-BE49-F238E27FC236}">
                  <a16:creationId xmlns:a16="http://schemas.microsoft.com/office/drawing/2014/main" id="{9C2C1EB9-2503-4BBB-A1E6-29014CBD72BE}"/>
                </a:ext>
              </a:extLst>
            </p:cNvPr>
            <p:cNvSpPr>
              <a:spLocks noEditPoints="1"/>
            </p:cNvSpPr>
            <p:nvPr/>
          </p:nvSpPr>
          <p:spPr bwMode="gray">
            <a:xfrm>
              <a:off x="1780461" y="3507819"/>
              <a:ext cx="293220" cy="108194"/>
            </a:xfrm>
            <a:custGeom>
              <a:avLst/>
              <a:gdLst>
                <a:gd name="T0" fmla="*/ 2147483647 w 738"/>
                <a:gd name="T1" fmla="*/ 2147483647 h 270"/>
                <a:gd name="T2" fmla="*/ 2147483647 w 738"/>
                <a:gd name="T3" fmla="*/ 2147483647 h 270"/>
                <a:gd name="T4" fmla="*/ 2147483647 w 738"/>
                <a:gd name="T5" fmla="*/ 2147483647 h 270"/>
                <a:gd name="T6" fmla="*/ 2147483647 w 738"/>
                <a:gd name="T7" fmla="*/ 2147483647 h 270"/>
                <a:gd name="T8" fmla="*/ 2147483647 w 738"/>
                <a:gd name="T9" fmla="*/ 2147483647 h 270"/>
                <a:gd name="T10" fmla="*/ 2147483647 w 738"/>
                <a:gd name="T11" fmla="*/ 2147483647 h 270"/>
                <a:gd name="T12" fmla="*/ 2147483647 w 738"/>
                <a:gd name="T13" fmla="*/ 2147483647 h 270"/>
                <a:gd name="T14" fmla="*/ 2147483647 w 738"/>
                <a:gd name="T15" fmla="*/ 2147483647 h 270"/>
                <a:gd name="T16" fmla="*/ 2147483647 w 738"/>
                <a:gd name="T17" fmla="*/ 2147483647 h 270"/>
                <a:gd name="T18" fmla="*/ 2147483647 w 738"/>
                <a:gd name="T19" fmla="*/ 2147483647 h 270"/>
                <a:gd name="T20" fmla="*/ 2147483647 w 738"/>
                <a:gd name="T21" fmla="*/ 2147483647 h 270"/>
                <a:gd name="T22" fmla="*/ 2147483647 w 738"/>
                <a:gd name="T23" fmla="*/ 2147483647 h 270"/>
                <a:gd name="T24" fmla="*/ 2147483647 w 738"/>
                <a:gd name="T25" fmla="*/ 2147483647 h 270"/>
                <a:gd name="T26" fmla="*/ 2147483647 w 738"/>
                <a:gd name="T27" fmla="*/ 2147483647 h 270"/>
                <a:gd name="T28" fmla="*/ 2147483647 w 738"/>
                <a:gd name="T29" fmla="*/ 2147483647 h 270"/>
                <a:gd name="T30" fmla="*/ 2147483647 w 738"/>
                <a:gd name="T31" fmla="*/ 2147483647 h 270"/>
                <a:gd name="T32" fmla="*/ 2147483647 w 738"/>
                <a:gd name="T33" fmla="*/ 2147483647 h 270"/>
                <a:gd name="T34" fmla="*/ 2147483647 w 738"/>
                <a:gd name="T35" fmla="*/ 2147483647 h 270"/>
                <a:gd name="T36" fmla="*/ 2147483647 w 738"/>
                <a:gd name="T37" fmla="*/ 0 h 270"/>
                <a:gd name="T38" fmla="*/ 2147483647 w 738"/>
                <a:gd name="T39" fmla="*/ 2147483647 h 270"/>
                <a:gd name="T40" fmla="*/ 2147483647 w 738"/>
                <a:gd name="T41" fmla="*/ 2147483647 h 270"/>
                <a:gd name="T42" fmla="*/ 2147483647 w 738"/>
                <a:gd name="T43" fmla="*/ 2147483647 h 270"/>
                <a:gd name="T44" fmla="*/ 2147483647 w 738"/>
                <a:gd name="T45" fmla="*/ 2147483647 h 270"/>
                <a:gd name="T46" fmla="*/ 2147483647 w 738"/>
                <a:gd name="T47" fmla="*/ 2147483647 h 270"/>
                <a:gd name="T48" fmla="*/ 2147483647 w 738"/>
                <a:gd name="T49" fmla="*/ 2147483647 h 270"/>
                <a:gd name="T50" fmla="*/ 2147483647 w 738"/>
                <a:gd name="T51" fmla="*/ 2147483647 h 270"/>
                <a:gd name="T52" fmla="*/ 2147483647 w 738"/>
                <a:gd name="T53" fmla="*/ 2147483647 h 270"/>
                <a:gd name="T54" fmla="*/ 2147483647 w 738"/>
                <a:gd name="T55" fmla="*/ 2147483647 h 270"/>
                <a:gd name="T56" fmla="*/ 2147483647 w 738"/>
                <a:gd name="T57" fmla="*/ 2147483647 h 270"/>
                <a:gd name="T58" fmla="*/ 2147483647 w 738"/>
                <a:gd name="T59" fmla="*/ 2147483647 h 270"/>
                <a:gd name="T60" fmla="*/ 2147483647 w 738"/>
                <a:gd name="T61" fmla="*/ 2147483647 h 270"/>
                <a:gd name="T62" fmla="*/ 2147483647 w 738"/>
                <a:gd name="T63" fmla="*/ 2147483647 h 270"/>
                <a:gd name="T64" fmla="*/ 2147483647 w 738"/>
                <a:gd name="T65" fmla="*/ 2147483647 h 270"/>
                <a:gd name="T66" fmla="*/ 2147483647 w 738"/>
                <a:gd name="T67" fmla="*/ 2147483647 h 270"/>
                <a:gd name="T68" fmla="*/ 2147483647 w 738"/>
                <a:gd name="T69" fmla="*/ 2147483647 h 270"/>
                <a:gd name="T70" fmla="*/ 2147483647 w 738"/>
                <a:gd name="T71" fmla="*/ 2147483647 h 270"/>
                <a:gd name="T72" fmla="*/ 2147483647 w 738"/>
                <a:gd name="T73" fmla="*/ 2147483647 h 270"/>
                <a:gd name="T74" fmla="*/ 2147483647 w 738"/>
                <a:gd name="T75" fmla="*/ 2147483647 h 270"/>
                <a:gd name="T76" fmla="*/ 2147483647 w 738"/>
                <a:gd name="T77" fmla="*/ 2147483647 h 270"/>
                <a:gd name="T78" fmla="*/ 2147483647 w 738"/>
                <a:gd name="T79" fmla="*/ 2147483647 h 270"/>
                <a:gd name="T80" fmla="*/ 2147483647 w 738"/>
                <a:gd name="T81" fmla="*/ 2147483647 h 270"/>
                <a:gd name="T82" fmla="*/ 2147483647 w 738"/>
                <a:gd name="T83" fmla="*/ 2147483647 h 270"/>
                <a:gd name="T84" fmla="*/ 2147483647 w 738"/>
                <a:gd name="T85" fmla="*/ 2147483647 h 270"/>
                <a:gd name="T86" fmla="*/ 2147483647 w 738"/>
                <a:gd name="T87" fmla="*/ 2147483647 h 270"/>
                <a:gd name="T88" fmla="*/ 2147483647 w 738"/>
                <a:gd name="T89" fmla="*/ 2147483647 h 270"/>
                <a:gd name="T90" fmla="*/ 2147483647 w 738"/>
                <a:gd name="T91" fmla="*/ 2147483647 h 270"/>
                <a:gd name="T92" fmla="*/ 2147483647 w 738"/>
                <a:gd name="T93" fmla="*/ 2147483647 h 270"/>
                <a:gd name="T94" fmla="*/ 2147483647 w 738"/>
                <a:gd name="T95" fmla="*/ 2147483647 h 270"/>
                <a:gd name="T96" fmla="*/ 2147483647 w 738"/>
                <a:gd name="T97" fmla="*/ 2147483647 h 270"/>
                <a:gd name="T98" fmla="*/ 2147483647 w 738"/>
                <a:gd name="T99" fmla="*/ 2147483647 h 270"/>
                <a:gd name="T100" fmla="*/ 2147483647 w 738"/>
                <a:gd name="T101" fmla="*/ 2147483647 h 270"/>
                <a:gd name="T102" fmla="*/ 2147483647 w 738"/>
                <a:gd name="T103" fmla="*/ 2147483647 h 270"/>
                <a:gd name="T104" fmla="*/ 2147483647 w 738"/>
                <a:gd name="T105" fmla="*/ 2147483647 h 270"/>
                <a:gd name="T106" fmla="*/ 2147483647 w 738"/>
                <a:gd name="T107" fmla="*/ 2147483647 h 270"/>
                <a:gd name="T108" fmla="*/ 2147483647 w 738"/>
                <a:gd name="T109" fmla="*/ 2147483647 h 270"/>
                <a:gd name="T110" fmla="*/ 2147483647 w 738"/>
                <a:gd name="T111" fmla="*/ 2147483647 h 270"/>
                <a:gd name="T112" fmla="*/ 2147483647 w 738"/>
                <a:gd name="T113" fmla="*/ 2147483647 h 270"/>
                <a:gd name="T114" fmla="*/ 2147483647 w 738"/>
                <a:gd name="T115" fmla="*/ 2147483647 h 2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8"/>
                <a:gd name="T175" fmla="*/ 0 h 270"/>
                <a:gd name="T176" fmla="*/ 738 w 738"/>
                <a:gd name="T177" fmla="*/ 270 h 2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8" h="270">
                  <a:moveTo>
                    <a:pt x="708" y="228"/>
                  </a:moveTo>
                  <a:lnTo>
                    <a:pt x="690" y="222"/>
                  </a:lnTo>
                  <a:lnTo>
                    <a:pt x="666" y="222"/>
                  </a:lnTo>
                  <a:lnTo>
                    <a:pt x="666" y="204"/>
                  </a:lnTo>
                  <a:lnTo>
                    <a:pt x="660" y="198"/>
                  </a:lnTo>
                  <a:lnTo>
                    <a:pt x="648" y="192"/>
                  </a:lnTo>
                  <a:lnTo>
                    <a:pt x="600" y="192"/>
                  </a:lnTo>
                  <a:lnTo>
                    <a:pt x="624" y="168"/>
                  </a:lnTo>
                  <a:lnTo>
                    <a:pt x="612" y="168"/>
                  </a:lnTo>
                  <a:lnTo>
                    <a:pt x="600" y="162"/>
                  </a:lnTo>
                  <a:lnTo>
                    <a:pt x="558" y="162"/>
                  </a:lnTo>
                  <a:lnTo>
                    <a:pt x="534" y="150"/>
                  </a:lnTo>
                  <a:lnTo>
                    <a:pt x="528" y="144"/>
                  </a:lnTo>
                  <a:lnTo>
                    <a:pt x="522" y="144"/>
                  </a:lnTo>
                  <a:lnTo>
                    <a:pt x="528" y="138"/>
                  </a:lnTo>
                  <a:lnTo>
                    <a:pt x="528" y="132"/>
                  </a:lnTo>
                  <a:lnTo>
                    <a:pt x="534" y="126"/>
                  </a:lnTo>
                  <a:lnTo>
                    <a:pt x="534" y="120"/>
                  </a:lnTo>
                  <a:lnTo>
                    <a:pt x="522" y="120"/>
                  </a:lnTo>
                  <a:lnTo>
                    <a:pt x="510" y="114"/>
                  </a:lnTo>
                  <a:lnTo>
                    <a:pt x="504" y="114"/>
                  </a:lnTo>
                  <a:lnTo>
                    <a:pt x="474" y="84"/>
                  </a:lnTo>
                  <a:lnTo>
                    <a:pt x="462" y="78"/>
                  </a:lnTo>
                  <a:lnTo>
                    <a:pt x="450" y="66"/>
                  </a:lnTo>
                  <a:lnTo>
                    <a:pt x="432" y="66"/>
                  </a:lnTo>
                  <a:lnTo>
                    <a:pt x="432" y="84"/>
                  </a:lnTo>
                  <a:lnTo>
                    <a:pt x="444" y="96"/>
                  </a:lnTo>
                  <a:lnTo>
                    <a:pt x="450" y="96"/>
                  </a:lnTo>
                  <a:lnTo>
                    <a:pt x="378" y="60"/>
                  </a:lnTo>
                  <a:lnTo>
                    <a:pt x="372" y="54"/>
                  </a:lnTo>
                  <a:lnTo>
                    <a:pt x="360" y="48"/>
                  </a:lnTo>
                  <a:lnTo>
                    <a:pt x="354" y="36"/>
                  </a:lnTo>
                  <a:lnTo>
                    <a:pt x="342" y="30"/>
                  </a:lnTo>
                  <a:lnTo>
                    <a:pt x="330" y="18"/>
                  </a:lnTo>
                  <a:lnTo>
                    <a:pt x="270" y="18"/>
                  </a:lnTo>
                  <a:lnTo>
                    <a:pt x="258" y="12"/>
                  </a:lnTo>
                  <a:lnTo>
                    <a:pt x="228" y="6"/>
                  </a:lnTo>
                  <a:lnTo>
                    <a:pt x="174" y="0"/>
                  </a:lnTo>
                  <a:lnTo>
                    <a:pt x="126" y="6"/>
                  </a:lnTo>
                  <a:lnTo>
                    <a:pt x="96" y="18"/>
                  </a:lnTo>
                  <a:lnTo>
                    <a:pt x="72" y="42"/>
                  </a:lnTo>
                  <a:lnTo>
                    <a:pt x="60" y="48"/>
                  </a:lnTo>
                  <a:lnTo>
                    <a:pt x="42" y="60"/>
                  </a:lnTo>
                  <a:lnTo>
                    <a:pt x="24" y="66"/>
                  </a:lnTo>
                  <a:lnTo>
                    <a:pt x="12" y="72"/>
                  </a:lnTo>
                  <a:lnTo>
                    <a:pt x="6" y="78"/>
                  </a:lnTo>
                  <a:lnTo>
                    <a:pt x="0" y="78"/>
                  </a:lnTo>
                  <a:lnTo>
                    <a:pt x="72" y="72"/>
                  </a:lnTo>
                  <a:lnTo>
                    <a:pt x="72" y="60"/>
                  </a:lnTo>
                  <a:lnTo>
                    <a:pt x="150" y="54"/>
                  </a:lnTo>
                  <a:lnTo>
                    <a:pt x="174" y="42"/>
                  </a:lnTo>
                  <a:lnTo>
                    <a:pt x="198" y="42"/>
                  </a:lnTo>
                  <a:lnTo>
                    <a:pt x="222" y="54"/>
                  </a:lnTo>
                  <a:lnTo>
                    <a:pt x="222" y="60"/>
                  </a:lnTo>
                  <a:lnTo>
                    <a:pt x="216" y="60"/>
                  </a:lnTo>
                  <a:lnTo>
                    <a:pt x="210" y="66"/>
                  </a:lnTo>
                  <a:lnTo>
                    <a:pt x="198" y="66"/>
                  </a:lnTo>
                  <a:lnTo>
                    <a:pt x="192" y="72"/>
                  </a:lnTo>
                  <a:lnTo>
                    <a:pt x="186" y="72"/>
                  </a:lnTo>
                  <a:lnTo>
                    <a:pt x="204" y="78"/>
                  </a:lnTo>
                  <a:lnTo>
                    <a:pt x="210" y="78"/>
                  </a:lnTo>
                  <a:lnTo>
                    <a:pt x="216" y="84"/>
                  </a:lnTo>
                  <a:lnTo>
                    <a:pt x="228" y="90"/>
                  </a:lnTo>
                  <a:lnTo>
                    <a:pt x="246" y="96"/>
                  </a:lnTo>
                  <a:lnTo>
                    <a:pt x="258" y="102"/>
                  </a:lnTo>
                  <a:lnTo>
                    <a:pt x="276" y="102"/>
                  </a:lnTo>
                  <a:lnTo>
                    <a:pt x="282" y="96"/>
                  </a:lnTo>
                  <a:lnTo>
                    <a:pt x="282" y="90"/>
                  </a:lnTo>
                  <a:lnTo>
                    <a:pt x="294" y="96"/>
                  </a:lnTo>
                  <a:lnTo>
                    <a:pt x="300" y="102"/>
                  </a:lnTo>
                  <a:lnTo>
                    <a:pt x="318" y="114"/>
                  </a:lnTo>
                  <a:lnTo>
                    <a:pt x="342" y="126"/>
                  </a:lnTo>
                  <a:lnTo>
                    <a:pt x="372" y="126"/>
                  </a:lnTo>
                  <a:lnTo>
                    <a:pt x="390" y="120"/>
                  </a:lnTo>
                  <a:lnTo>
                    <a:pt x="402" y="120"/>
                  </a:lnTo>
                  <a:lnTo>
                    <a:pt x="390" y="144"/>
                  </a:lnTo>
                  <a:lnTo>
                    <a:pt x="450" y="168"/>
                  </a:lnTo>
                  <a:lnTo>
                    <a:pt x="474" y="204"/>
                  </a:lnTo>
                  <a:lnTo>
                    <a:pt x="480" y="210"/>
                  </a:lnTo>
                  <a:lnTo>
                    <a:pt x="492" y="216"/>
                  </a:lnTo>
                  <a:lnTo>
                    <a:pt x="498" y="222"/>
                  </a:lnTo>
                  <a:lnTo>
                    <a:pt x="498" y="228"/>
                  </a:lnTo>
                  <a:lnTo>
                    <a:pt x="474" y="252"/>
                  </a:lnTo>
                  <a:lnTo>
                    <a:pt x="474" y="258"/>
                  </a:lnTo>
                  <a:lnTo>
                    <a:pt x="480" y="264"/>
                  </a:lnTo>
                  <a:lnTo>
                    <a:pt x="492" y="258"/>
                  </a:lnTo>
                  <a:lnTo>
                    <a:pt x="504" y="258"/>
                  </a:lnTo>
                  <a:lnTo>
                    <a:pt x="528" y="246"/>
                  </a:lnTo>
                  <a:lnTo>
                    <a:pt x="558" y="246"/>
                  </a:lnTo>
                  <a:lnTo>
                    <a:pt x="558" y="252"/>
                  </a:lnTo>
                  <a:lnTo>
                    <a:pt x="552" y="252"/>
                  </a:lnTo>
                  <a:lnTo>
                    <a:pt x="546" y="258"/>
                  </a:lnTo>
                  <a:lnTo>
                    <a:pt x="546" y="264"/>
                  </a:lnTo>
                  <a:lnTo>
                    <a:pt x="558" y="264"/>
                  </a:lnTo>
                  <a:lnTo>
                    <a:pt x="564" y="270"/>
                  </a:lnTo>
                  <a:lnTo>
                    <a:pt x="612" y="270"/>
                  </a:lnTo>
                  <a:lnTo>
                    <a:pt x="636" y="264"/>
                  </a:lnTo>
                  <a:lnTo>
                    <a:pt x="684" y="258"/>
                  </a:lnTo>
                  <a:lnTo>
                    <a:pt x="720" y="252"/>
                  </a:lnTo>
                  <a:lnTo>
                    <a:pt x="738" y="246"/>
                  </a:lnTo>
                  <a:lnTo>
                    <a:pt x="738" y="240"/>
                  </a:lnTo>
                  <a:lnTo>
                    <a:pt x="732" y="234"/>
                  </a:lnTo>
                  <a:lnTo>
                    <a:pt x="720" y="228"/>
                  </a:lnTo>
                  <a:lnTo>
                    <a:pt x="708" y="228"/>
                  </a:lnTo>
                  <a:close/>
                  <a:moveTo>
                    <a:pt x="114" y="126"/>
                  </a:moveTo>
                  <a:lnTo>
                    <a:pt x="114" y="132"/>
                  </a:lnTo>
                  <a:lnTo>
                    <a:pt x="120" y="138"/>
                  </a:lnTo>
                  <a:lnTo>
                    <a:pt x="132" y="144"/>
                  </a:lnTo>
                  <a:lnTo>
                    <a:pt x="144" y="138"/>
                  </a:lnTo>
                  <a:lnTo>
                    <a:pt x="150" y="138"/>
                  </a:lnTo>
                  <a:lnTo>
                    <a:pt x="156" y="126"/>
                  </a:lnTo>
                  <a:lnTo>
                    <a:pt x="156" y="120"/>
                  </a:lnTo>
                  <a:lnTo>
                    <a:pt x="150" y="114"/>
                  </a:lnTo>
                  <a:lnTo>
                    <a:pt x="138" y="114"/>
                  </a:lnTo>
                  <a:lnTo>
                    <a:pt x="126" y="120"/>
                  </a:lnTo>
                  <a:lnTo>
                    <a:pt x="120" y="120"/>
                  </a:lnTo>
                  <a:lnTo>
                    <a:pt x="114" y="126"/>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26" name="Kroatien" descr="© INSCALE GmbH, 05.05.2010&#10;http://www.presentationload.com/">
              <a:extLst>
                <a:ext uri="{FF2B5EF4-FFF2-40B4-BE49-F238E27FC236}">
                  <a16:creationId xmlns:a16="http://schemas.microsoft.com/office/drawing/2014/main" id="{5D17ED35-52A3-46B6-824A-752E68A99517}"/>
                </a:ext>
              </a:extLst>
            </p:cNvPr>
            <p:cNvSpPr>
              <a:spLocks/>
            </p:cNvSpPr>
            <p:nvPr/>
          </p:nvSpPr>
          <p:spPr bwMode="gray">
            <a:xfrm>
              <a:off x="4504116" y="2766143"/>
              <a:ext cx="145826" cy="109762"/>
            </a:xfrm>
            <a:custGeom>
              <a:avLst/>
              <a:gdLst>
                <a:gd name="T0" fmla="*/ 2147483647 w 366"/>
                <a:gd name="T1" fmla="*/ 2147483647 h 276"/>
                <a:gd name="T2" fmla="*/ 2147483647 w 366"/>
                <a:gd name="T3" fmla="*/ 2147483647 h 276"/>
                <a:gd name="T4" fmla="*/ 2147483647 w 366"/>
                <a:gd name="T5" fmla="*/ 2147483647 h 276"/>
                <a:gd name="T6" fmla="*/ 2147483647 w 366"/>
                <a:gd name="T7" fmla="*/ 2147483647 h 276"/>
                <a:gd name="T8" fmla="*/ 2147483647 w 366"/>
                <a:gd name="T9" fmla="*/ 2147483647 h 276"/>
                <a:gd name="T10" fmla="*/ 2147483647 w 366"/>
                <a:gd name="T11" fmla="*/ 2147483647 h 276"/>
                <a:gd name="T12" fmla="*/ 2147483647 w 366"/>
                <a:gd name="T13" fmla="*/ 2147483647 h 276"/>
                <a:gd name="T14" fmla="*/ 2147483647 w 366"/>
                <a:gd name="T15" fmla="*/ 2147483647 h 276"/>
                <a:gd name="T16" fmla="*/ 2147483647 w 366"/>
                <a:gd name="T17" fmla="*/ 2147483647 h 276"/>
                <a:gd name="T18" fmla="*/ 2147483647 w 366"/>
                <a:gd name="T19" fmla="*/ 2147483647 h 276"/>
                <a:gd name="T20" fmla="*/ 2147483647 w 366"/>
                <a:gd name="T21" fmla="*/ 2147483647 h 276"/>
                <a:gd name="T22" fmla="*/ 2147483647 w 366"/>
                <a:gd name="T23" fmla="*/ 0 h 276"/>
                <a:gd name="T24" fmla="*/ 2147483647 w 366"/>
                <a:gd name="T25" fmla="*/ 2147483647 h 276"/>
                <a:gd name="T26" fmla="*/ 2147483647 w 366"/>
                <a:gd name="T27" fmla="*/ 2147483647 h 276"/>
                <a:gd name="T28" fmla="*/ 2147483647 w 366"/>
                <a:gd name="T29" fmla="*/ 2147483647 h 276"/>
                <a:gd name="T30" fmla="*/ 2147483647 w 366"/>
                <a:gd name="T31" fmla="*/ 2147483647 h 276"/>
                <a:gd name="T32" fmla="*/ 2147483647 w 366"/>
                <a:gd name="T33" fmla="*/ 2147483647 h 276"/>
                <a:gd name="T34" fmla="*/ 2147483647 w 366"/>
                <a:gd name="T35" fmla="*/ 2147483647 h 276"/>
                <a:gd name="T36" fmla="*/ 2147483647 w 366"/>
                <a:gd name="T37" fmla="*/ 2147483647 h 276"/>
                <a:gd name="T38" fmla="*/ 2147483647 w 366"/>
                <a:gd name="T39" fmla="*/ 2147483647 h 276"/>
                <a:gd name="T40" fmla="*/ 0 w 366"/>
                <a:gd name="T41" fmla="*/ 2147483647 h 276"/>
                <a:gd name="T42" fmla="*/ 2147483647 w 366"/>
                <a:gd name="T43" fmla="*/ 2147483647 h 276"/>
                <a:gd name="T44" fmla="*/ 2147483647 w 366"/>
                <a:gd name="T45" fmla="*/ 2147483647 h 276"/>
                <a:gd name="T46" fmla="*/ 2147483647 w 366"/>
                <a:gd name="T47" fmla="*/ 2147483647 h 276"/>
                <a:gd name="T48" fmla="*/ 2147483647 w 366"/>
                <a:gd name="T49" fmla="*/ 2147483647 h 276"/>
                <a:gd name="T50" fmla="*/ 2147483647 w 366"/>
                <a:gd name="T51" fmla="*/ 2147483647 h 276"/>
                <a:gd name="T52" fmla="*/ 2147483647 w 366"/>
                <a:gd name="T53" fmla="*/ 2147483647 h 276"/>
                <a:gd name="T54" fmla="*/ 2147483647 w 366"/>
                <a:gd name="T55" fmla="*/ 2147483647 h 276"/>
                <a:gd name="T56" fmla="*/ 2147483647 w 366"/>
                <a:gd name="T57" fmla="*/ 2147483647 h 276"/>
                <a:gd name="T58" fmla="*/ 2147483647 w 366"/>
                <a:gd name="T59" fmla="*/ 2147483647 h 276"/>
                <a:gd name="T60" fmla="*/ 2147483647 w 366"/>
                <a:gd name="T61" fmla="*/ 2147483647 h 276"/>
                <a:gd name="T62" fmla="*/ 2147483647 w 366"/>
                <a:gd name="T63" fmla="*/ 2147483647 h 276"/>
                <a:gd name="T64" fmla="*/ 2147483647 w 366"/>
                <a:gd name="T65" fmla="*/ 2147483647 h 276"/>
                <a:gd name="T66" fmla="*/ 2147483647 w 366"/>
                <a:gd name="T67" fmla="*/ 2147483647 h 276"/>
                <a:gd name="T68" fmla="*/ 2147483647 w 366"/>
                <a:gd name="T69" fmla="*/ 2147483647 h 276"/>
                <a:gd name="T70" fmla="*/ 2147483647 w 366"/>
                <a:gd name="T71" fmla="*/ 2147483647 h 276"/>
                <a:gd name="T72" fmla="*/ 2147483647 w 366"/>
                <a:gd name="T73" fmla="*/ 2147483647 h 276"/>
                <a:gd name="T74" fmla="*/ 2147483647 w 366"/>
                <a:gd name="T75" fmla="*/ 2147483647 h 276"/>
                <a:gd name="T76" fmla="*/ 2147483647 w 366"/>
                <a:gd name="T77" fmla="*/ 2147483647 h 276"/>
                <a:gd name="T78" fmla="*/ 2147483647 w 366"/>
                <a:gd name="T79" fmla="*/ 2147483647 h 276"/>
                <a:gd name="T80" fmla="*/ 2147483647 w 366"/>
                <a:gd name="T81" fmla="*/ 2147483647 h 276"/>
                <a:gd name="T82" fmla="*/ 2147483647 w 366"/>
                <a:gd name="T83" fmla="*/ 2147483647 h 276"/>
                <a:gd name="T84" fmla="*/ 2147483647 w 366"/>
                <a:gd name="T85" fmla="*/ 2147483647 h 276"/>
                <a:gd name="T86" fmla="*/ 2147483647 w 366"/>
                <a:gd name="T87" fmla="*/ 2147483647 h 276"/>
                <a:gd name="T88" fmla="*/ 2147483647 w 366"/>
                <a:gd name="T89" fmla="*/ 2147483647 h 276"/>
                <a:gd name="T90" fmla="*/ 2147483647 w 366"/>
                <a:gd name="T91" fmla="*/ 2147483647 h 2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276"/>
                <a:gd name="T140" fmla="*/ 366 w 366"/>
                <a:gd name="T141" fmla="*/ 276 h 2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276">
                  <a:moveTo>
                    <a:pt x="342" y="126"/>
                  </a:moveTo>
                  <a:lnTo>
                    <a:pt x="342" y="114"/>
                  </a:lnTo>
                  <a:lnTo>
                    <a:pt x="348" y="114"/>
                  </a:lnTo>
                  <a:lnTo>
                    <a:pt x="354" y="108"/>
                  </a:lnTo>
                  <a:lnTo>
                    <a:pt x="360" y="108"/>
                  </a:lnTo>
                  <a:lnTo>
                    <a:pt x="366" y="102"/>
                  </a:lnTo>
                  <a:lnTo>
                    <a:pt x="360" y="102"/>
                  </a:lnTo>
                  <a:lnTo>
                    <a:pt x="348" y="96"/>
                  </a:lnTo>
                  <a:lnTo>
                    <a:pt x="336" y="96"/>
                  </a:lnTo>
                  <a:lnTo>
                    <a:pt x="342" y="78"/>
                  </a:lnTo>
                  <a:lnTo>
                    <a:pt x="336" y="78"/>
                  </a:lnTo>
                  <a:lnTo>
                    <a:pt x="330" y="48"/>
                  </a:lnTo>
                  <a:lnTo>
                    <a:pt x="324" y="48"/>
                  </a:lnTo>
                  <a:lnTo>
                    <a:pt x="312" y="54"/>
                  </a:lnTo>
                  <a:lnTo>
                    <a:pt x="270" y="60"/>
                  </a:lnTo>
                  <a:lnTo>
                    <a:pt x="264" y="48"/>
                  </a:lnTo>
                  <a:lnTo>
                    <a:pt x="246" y="48"/>
                  </a:lnTo>
                  <a:lnTo>
                    <a:pt x="234" y="42"/>
                  </a:lnTo>
                  <a:lnTo>
                    <a:pt x="228" y="36"/>
                  </a:lnTo>
                  <a:lnTo>
                    <a:pt x="216" y="30"/>
                  </a:lnTo>
                  <a:lnTo>
                    <a:pt x="204" y="18"/>
                  </a:lnTo>
                  <a:lnTo>
                    <a:pt x="204" y="12"/>
                  </a:lnTo>
                  <a:lnTo>
                    <a:pt x="198" y="6"/>
                  </a:lnTo>
                  <a:lnTo>
                    <a:pt x="186" y="0"/>
                  </a:lnTo>
                  <a:lnTo>
                    <a:pt x="162" y="0"/>
                  </a:lnTo>
                  <a:lnTo>
                    <a:pt x="162" y="12"/>
                  </a:lnTo>
                  <a:lnTo>
                    <a:pt x="150" y="18"/>
                  </a:lnTo>
                  <a:lnTo>
                    <a:pt x="120" y="18"/>
                  </a:lnTo>
                  <a:lnTo>
                    <a:pt x="120" y="30"/>
                  </a:lnTo>
                  <a:lnTo>
                    <a:pt x="126" y="36"/>
                  </a:lnTo>
                  <a:lnTo>
                    <a:pt x="126" y="42"/>
                  </a:lnTo>
                  <a:lnTo>
                    <a:pt x="114" y="54"/>
                  </a:lnTo>
                  <a:lnTo>
                    <a:pt x="102" y="60"/>
                  </a:lnTo>
                  <a:lnTo>
                    <a:pt x="102" y="78"/>
                  </a:lnTo>
                  <a:lnTo>
                    <a:pt x="60" y="78"/>
                  </a:lnTo>
                  <a:lnTo>
                    <a:pt x="54" y="72"/>
                  </a:lnTo>
                  <a:lnTo>
                    <a:pt x="54" y="66"/>
                  </a:lnTo>
                  <a:lnTo>
                    <a:pt x="48" y="78"/>
                  </a:lnTo>
                  <a:lnTo>
                    <a:pt x="30" y="78"/>
                  </a:lnTo>
                  <a:lnTo>
                    <a:pt x="18" y="72"/>
                  </a:lnTo>
                  <a:lnTo>
                    <a:pt x="18" y="84"/>
                  </a:lnTo>
                  <a:lnTo>
                    <a:pt x="0" y="84"/>
                  </a:lnTo>
                  <a:lnTo>
                    <a:pt x="0" y="132"/>
                  </a:lnTo>
                  <a:lnTo>
                    <a:pt x="6" y="132"/>
                  </a:lnTo>
                  <a:lnTo>
                    <a:pt x="12" y="120"/>
                  </a:lnTo>
                  <a:lnTo>
                    <a:pt x="24" y="114"/>
                  </a:lnTo>
                  <a:lnTo>
                    <a:pt x="30" y="102"/>
                  </a:lnTo>
                  <a:lnTo>
                    <a:pt x="42" y="102"/>
                  </a:lnTo>
                  <a:lnTo>
                    <a:pt x="48" y="114"/>
                  </a:lnTo>
                  <a:lnTo>
                    <a:pt x="48" y="132"/>
                  </a:lnTo>
                  <a:lnTo>
                    <a:pt x="78" y="126"/>
                  </a:lnTo>
                  <a:lnTo>
                    <a:pt x="78" y="132"/>
                  </a:lnTo>
                  <a:lnTo>
                    <a:pt x="72" y="144"/>
                  </a:lnTo>
                  <a:lnTo>
                    <a:pt x="72" y="150"/>
                  </a:lnTo>
                  <a:lnTo>
                    <a:pt x="84" y="162"/>
                  </a:lnTo>
                  <a:lnTo>
                    <a:pt x="96" y="168"/>
                  </a:lnTo>
                  <a:lnTo>
                    <a:pt x="96" y="180"/>
                  </a:lnTo>
                  <a:lnTo>
                    <a:pt x="144" y="216"/>
                  </a:lnTo>
                  <a:lnTo>
                    <a:pt x="144" y="240"/>
                  </a:lnTo>
                  <a:lnTo>
                    <a:pt x="198" y="240"/>
                  </a:lnTo>
                  <a:lnTo>
                    <a:pt x="210" y="246"/>
                  </a:lnTo>
                  <a:lnTo>
                    <a:pt x="216" y="252"/>
                  </a:lnTo>
                  <a:lnTo>
                    <a:pt x="216" y="276"/>
                  </a:lnTo>
                  <a:lnTo>
                    <a:pt x="246" y="276"/>
                  </a:lnTo>
                  <a:lnTo>
                    <a:pt x="252" y="270"/>
                  </a:lnTo>
                  <a:lnTo>
                    <a:pt x="252" y="264"/>
                  </a:lnTo>
                  <a:lnTo>
                    <a:pt x="246" y="252"/>
                  </a:lnTo>
                  <a:lnTo>
                    <a:pt x="234" y="246"/>
                  </a:lnTo>
                  <a:lnTo>
                    <a:pt x="216" y="234"/>
                  </a:lnTo>
                  <a:lnTo>
                    <a:pt x="204" y="228"/>
                  </a:lnTo>
                  <a:lnTo>
                    <a:pt x="192" y="216"/>
                  </a:lnTo>
                  <a:lnTo>
                    <a:pt x="180" y="186"/>
                  </a:lnTo>
                  <a:lnTo>
                    <a:pt x="162" y="180"/>
                  </a:lnTo>
                  <a:lnTo>
                    <a:pt x="162" y="162"/>
                  </a:lnTo>
                  <a:lnTo>
                    <a:pt x="156" y="156"/>
                  </a:lnTo>
                  <a:lnTo>
                    <a:pt x="150" y="156"/>
                  </a:lnTo>
                  <a:lnTo>
                    <a:pt x="150" y="144"/>
                  </a:lnTo>
                  <a:lnTo>
                    <a:pt x="132" y="138"/>
                  </a:lnTo>
                  <a:lnTo>
                    <a:pt x="120" y="126"/>
                  </a:lnTo>
                  <a:lnTo>
                    <a:pt x="138" y="120"/>
                  </a:lnTo>
                  <a:lnTo>
                    <a:pt x="138" y="96"/>
                  </a:lnTo>
                  <a:lnTo>
                    <a:pt x="144" y="96"/>
                  </a:lnTo>
                  <a:lnTo>
                    <a:pt x="150" y="102"/>
                  </a:lnTo>
                  <a:lnTo>
                    <a:pt x="162" y="108"/>
                  </a:lnTo>
                  <a:lnTo>
                    <a:pt x="186" y="102"/>
                  </a:lnTo>
                  <a:lnTo>
                    <a:pt x="210" y="102"/>
                  </a:lnTo>
                  <a:lnTo>
                    <a:pt x="228" y="108"/>
                  </a:lnTo>
                  <a:lnTo>
                    <a:pt x="240" y="102"/>
                  </a:lnTo>
                  <a:lnTo>
                    <a:pt x="252" y="102"/>
                  </a:lnTo>
                  <a:lnTo>
                    <a:pt x="258" y="108"/>
                  </a:lnTo>
                  <a:lnTo>
                    <a:pt x="312" y="108"/>
                  </a:lnTo>
                  <a:lnTo>
                    <a:pt x="324" y="126"/>
                  </a:lnTo>
                  <a:lnTo>
                    <a:pt x="342" y="126"/>
                  </a:lnTo>
                  <a:close/>
                </a:path>
              </a:pathLst>
            </a:custGeom>
            <a:solidFill>
              <a:schemeClr val="accent1"/>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27" name="Kosovo" descr="© INSCALE GmbH, 05.05.2010&#10;http://www.presentationload.com/">
              <a:extLst>
                <a:ext uri="{FF2B5EF4-FFF2-40B4-BE49-F238E27FC236}">
                  <a16:creationId xmlns:a16="http://schemas.microsoft.com/office/drawing/2014/main" id="{8E0B355C-FD3B-44D5-93F1-31F9AFE51609}"/>
                </a:ext>
              </a:extLst>
            </p:cNvPr>
            <p:cNvSpPr>
              <a:spLocks noEditPoints="1"/>
            </p:cNvSpPr>
            <p:nvPr/>
          </p:nvSpPr>
          <p:spPr bwMode="gray">
            <a:xfrm>
              <a:off x="4668569" y="2859908"/>
              <a:ext cx="51678" cy="52062"/>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solidFill>
              <a:schemeClr val="accent1"/>
            </a:solidFill>
            <a:ln w="3175" cap="flat" cmpd="sng">
              <a:solidFill>
                <a:schemeClr val="bg1"/>
              </a:solidFill>
              <a:prstDash val="solid"/>
              <a:round/>
              <a:headEnd type="none" w="med" len="med"/>
              <a:tailEnd type="none" w="med" len="med"/>
            </a:ln>
            <a:effectLst/>
          </p:spPr>
          <p:txBody>
            <a:bodyPr/>
            <a:lstStyle/>
            <a:p>
              <a:endParaRPr lang="en-US" dirty="0"/>
            </a:p>
          </p:txBody>
        </p:sp>
        <p:sp>
          <p:nvSpPr>
            <p:cNvPr id="328" name="Korea, Süd" descr="© INSCALE GmbH, 05.05.2010&#10;http://www.presentationload.com/">
              <a:extLst>
                <a:ext uri="{FF2B5EF4-FFF2-40B4-BE49-F238E27FC236}">
                  <a16:creationId xmlns:a16="http://schemas.microsoft.com/office/drawing/2014/main" id="{6D35A122-FAA8-4ED1-A300-AD31DEB894DC}"/>
                </a:ext>
              </a:extLst>
            </p:cNvPr>
            <p:cNvSpPr>
              <a:spLocks noEditPoints="1"/>
            </p:cNvSpPr>
            <p:nvPr/>
          </p:nvSpPr>
          <p:spPr bwMode="gray">
            <a:xfrm>
              <a:off x="7484928" y="3018595"/>
              <a:ext cx="108193" cy="169347"/>
            </a:xfrm>
            <a:custGeom>
              <a:avLst/>
              <a:gdLst>
                <a:gd name="T0" fmla="*/ 2147483647 w 276"/>
                <a:gd name="T1" fmla="*/ 2147483647 h 426"/>
                <a:gd name="T2" fmla="*/ 2147483647 w 276"/>
                <a:gd name="T3" fmla="*/ 2147483647 h 426"/>
                <a:gd name="T4" fmla="*/ 2147483647 w 276"/>
                <a:gd name="T5" fmla="*/ 2147483647 h 426"/>
                <a:gd name="T6" fmla="*/ 2147483647 w 276"/>
                <a:gd name="T7" fmla="*/ 2147483647 h 426"/>
                <a:gd name="T8" fmla="*/ 2147483647 w 276"/>
                <a:gd name="T9" fmla="*/ 2147483647 h 426"/>
                <a:gd name="T10" fmla="*/ 2147483647 w 276"/>
                <a:gd name="T11" fmla="*/ 2147483647 h 426"/>
                <a:gd name="T12" fmla="*/ 2147483647 w 276"/>
                <a:gd name="T13" fmla="*/ 2147483647 h 426"/>
                <a:gd name="T14" fmla="*/ 2147483647 w 276"/>
                <a:gd name="T15" fmla="*/ 2147483647 h 426"/>
                <a:gd name="T16" fmla="*/ 2147483647 w 276"/>
                <a:gd name="T17" fmla="*/ 2147483647 h 426"/>
                <a:gd name="T18" fmla="*/ 2147483647 w 276"/>
                <a:gd name="T19" fmla="*/ 2147483647 h 426"/>
                <a:gd name="T20" fmla="*/ 2147483647 w 276"/>
                <a:gd name="T21" fmla="*/ 2147483647 h 426"/>
                <a:gd name="T22" fmla="*/ 2147483647 w 276"/>
                <a:gd name="T23" fmla="*/ 2147483647 h 426"/>
                <a:gd name="T24" fmla="*/ 2147483647 w 276"/>
                <a:gd name="T25" fmla="*/ 0 h 426"/>
                <a:gd name="T26" fmla="*/ 2147483647 w 276"/>
                <a:gd name="T27" fmla="*/ 2147483647 h 426"/>
                <a:gd name="T28" fmla="*/ 2147483647 w 276"/>
                <a:gd name="T29" fmla="*/ 2147483647 h 426"/>
                <a:gd name="T30" fmla="*/ 2147483647 w 276"/>
                <a:gd name="T31" fmla="*/ 2147483647 h 426"/>
                <a:gd name="T32" fmla="*/ 2147483647 w 276"/>
                <a:gd name="T33" fmla="*/ 2147483647 h 426"/>
                <a:gd name="T34" fmla="*/ 0 w 276"/>
                <a:gd name="T35" fmla="*/ 2147483647 h 426"/>
                <a:gd name="T36" fmla="*/ 2147483647 w 276"/>
                <a:gd name="T37" fmla="*/ 2147483647 h 426"/>
                <a:gd name="T38" fmla="*/ 2147483647 w 276"/>
                <a:gd name="T39" fmla="*/ 2147483647 h 426"/>
                <a:gd name="T40" fmla="*/ 2147483647 w 276"/>
                <a:gd name="T41" fmla="*/ 2147483647 h 426"/>
                <a:gd name="T42" fmla="*/ 2147483647 w 276"/>
                <a:gd name="T43" fmla="*/ 2147483647 h 426"/>
                <a:gd name="T44" fmla="*/ 2147483647 w 276"/>
                <a:gd name="T45" fmla="*/ 2147483647 h 426"/>
                <a:gd name="T46" fmla="*/ 2147483647 w 276"/>
                <a:gd name="T47" fmla="*/ 2147483647 h 426"/>
                <a:gd name="T48" fmla="*/ 2147483647 w 276"/>
                <a:gd name="T49" fmla="*/ 2147483647 h 426"/>
                <a:gd name="T50" fmla="*/ 2147483647 w 276"/>
                <a:gd name="T51" fmla="*/ 2147483647 h 426"/>
                <a:gd name="T52" fmla="*/ 2147483647 w 276"/>
                <a:gd name="T53" fmla="*/ 2147483647 h 426"/>
                <a:gd name="T54" fmla="*/ 2147483647 w 276"/>
                <a:gd name="T55" fmla="*/ 2147483647 h 426"/>
                <a:gd name="T56" fmla="*/ 2147483647 w 276"/>
                <a:gd name="T57" fmla="*/ 2147483647 h 426"/>
                <a:gd name="T58" fmla="*/ 2147483647 w 276"/>
                <a:gd name="T59" fmla="*/ 2147483647 h 426"/>
                <a:gd name="T60" fmla="*/ 2147483647 w 276"/>
                <a:gd name="T61" fmla="*/ 2147483647 h 426"/>
                <a:gd name="T62" fmla="*/ 2147483647 w 276"/>
                <a:gd name="T63" fmla="*/ 2147483647 h 426"/>
                <a:gd name="T64" fmla="*/ 2147483647 w 276"/>
                <a:gd name="T65" fmla="*/ 2147483647 h 426"/>
                <a:gd name="T66" fmla="*/ 2147483647 w 276"/>
                <a:gd name="T67" fmla="*/ 2147483647 h 426"/>
                <a:gd name="T68" fmla="*/ 2147483647 w 276"/>
                <a:gd name="T69" fmla="*/ 2147483647 h 426"/>
                <a:gd name="T70" fmla="*/ 2147483647 w 276"/>
                <a:gd name="T71" fmla="*/ 2147483647 h 426"/>
                <a:gd name="T72" fmla="*/ 2147483647 w 276"/>
                <a:gd name="T73" fmla="*/ 2147483647 h 426"/>
                <a:gd name="T74" fmla="*/ 2147483647 w 276"/>
                <a:gd name="T75" fmla="*/ 2147483647 h 4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6"/>
                <a:gd name="T115" fmla="*/ 0 h 426"/>
                <a:gd name="T116" fmla="*/ 276 w 276"/>
                <a:gd name="T117" fmla="*/ 426 h 4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6" h="426">
                  <a:moveTo>
                    <a:pt x="150" y="402"/>
                  </a:moveTo>
                  <a:lnTo>
                    <a:pt x="132" y="408"/>
                  </a:lnTo>
                  <a:lnTo>
                    <a:pt x="126" y="414"/>
                  </a:lnTo>
                  <a:lnTo>
                    <a:pt x="138" y="426"/>
                  </a:lnTo>
                  <a:lnTo>
                    <a:pt x="162" y="426"/>
                  </a:lnTo>
                  <a:lnTo>
                    <a:pt x="174" y="414"/>
                  </a:lnTo>
                  <a:lnTo>
                    <a:pt x="174" y="408"/>
                  </a:lnTo>
                  <a:lnTo>
                    <a:pt x="168" y="402"/>
                  </a:lnTo>
                  <a:lnTo>
                    <a:pt x="150" y="402"/>
                  </a:lnTo>
                  <a:close/>
                  <a:moveTo>
                    <a:pt x="276" y="246"/>
                  </a:moveTo>
                  <a:lnTo>
                    <a:pt x="270" y="228"/>
                  </a:lnTo>
                  <a:lnTo>
                    <a:pt x="264" y="216"/>
                  </a:lnTo>
                  <a:lnTo>
                    <a:pt x="246" y="198"/>
                  </a:lnTo>
                  <a:lnTo>
                    <a:pt x="252" y="186"/>
                  </a:lnTo>
                  <a:lnTo>
                    <a:pt x="252" y="180"/>
                  </a:lnTo>
                  <a:lnTo>
                    <a:pt x="246" y="162"/>
                  </a:lnTo>
                  <a:lnTo>
                    <a:pt x="240" y="150"/>
                  </a:lnTo>
                  <a:lnTo>
                    <a:pt x="210" y="120"/>
                  </a:lnTo>
                  <a:lnTo>
                    <a:pt x="198" y="102"/>
                  </a:lnTo>
                  <a:lnTo>
                    <a:pt x="168" y="72"/>
                  </a:lnTo>
                  <a:lnTo>
                    <a:pt x="144" y="66"/>
                  </a:lnTo>
                  <a:lnTo>
                    <a:pt x="144" y="60"/>
                  </a:lnTo>
                  <a:lnTo>
                    <a:pt x="138" y="54"/>
                  </a:lnTo>
                  <a:lnTo>
                    <a:pt x="132" y="42"/>
                  </a:lnTo>
                  <a:lnTo>
                    <a:pt x="102" y="12"/>
                  </a:lnTo>
                  <a:lnTo>
                    <a:pt x="96" y="0"/>
                  </a:lnTo>
                  <a:lnTo>
                    <a:pt x="78" y="12"/>
                  </a:lnTo>
                  <a:lnTo>
                    <a:pt x="48" y="12"/>
                  </a:lnTo>
                  <a:lnTo>
                    <a:pt x="24" y="24"/>
                  </a:lnTo>
                  <a:lnTo>
                    <a:pt x="18" y="30"/>
                  </a:lnTo>
                  <a:lnTo>
                    <a:pt x="12" y="30"/>
                  </a:lnTo>
                  <a:lnTo>
                    <a:pt x="12" y="36"/>
                  </a:lnTo>
                  <a:lnTo>
                    <a:pt x="18" y="42"/>
                  </a:lnTo>
                  <a:lnTo>
                    <a:pt x="18" y="48"/>
                  </a:lnTo>
                  <a:lnTo>
                    <a:pt x="12" y="54"/>
                  </a:lnTo>
                  <a:lnTo>
                    <a:pt x="0" y="60"/>
                  </a:lnTo>
                  <a:lnTo>
                    <a:pt x="0" y="66"/>
                  </a:lnTo>
                  <a:lnTo>
                    <a:pt x="6" y="72"/>
                  </a:lnTo>
                  <a:lnTo>
                    <a:pt x="12" y="84"/>
                  </a:lnTo>
                  <a:lnTo>
                    <a:pt x="24" y="90"/>
                  </a:lnTo>
                  <a:lnTo>
                    <a:pt x="30" y="90"/>
                  </a:lnTo>
                  <a:lnTo>
                    <a:pt x="42" y="96"/>
                  </a:lnTo>
                  <a:lnTo>
                    <a:pt x="60" y="132"/>
                  </a:lnTo>
                  <a:lnTo>
                    <a:pt x="54" y="132"/>
                  </a:lnTo>
                  <a:lnTo>
                    <a:pt x="48" y="126"/>
                  </a:lnTo>
                  <a:lnTo>
                    <a:pt x="36" y="126"/>
                  </a:lnTo>
                  <a:lnTo>
                    <a:pt x="24" y="120"/>
                  </a:lnTo>
                  <a:lnTo>
                    <a:pt x="6" y="120"/>
                  </a:lnTo>
                  <a:lnTo>
                    <a:pt x="6" y="126"/>
                  </a:lnTo>
                  <a:lnTo>
                    <a:pt x="18" y="132"/>
                  </a:lnTo>
                  <a:lnTo>
                    <a:pt x="30" y="144"/>
                  </a:lnTo>
                  <a:lnTo>
                    <a:pt x="42" y="150"/>
                  </a:lnTo>
                  <a:lnTo>
                    <a:pt x="54" y="192"/>
                  </a:lnTo>
                  <a:lnTo>
                    <a:pt x="90" y="198"/>
                  </a:lnTo>
                  <a:lnTo>
                    <a:pt x="90" y="228"/>
                  </a:lnTo>
                  <a:lnTo>
                    <a:pt x="78" y="240"/>
                  </a:lnTo>
                  <a:lnTo>
                    <a:pt x="78" y="270"/>
                  </a:lnTo>
                  <a:lnTo>
                    <a:pt x="84" y="282"/>
                  </a:lnTo>
                  <a:lnTo>
                    <a:pt x="102" y="300"/>
                  </a:lnTo>
                  <a:lnTo>
                    <a:pt x="108" y="300"/>
                  </a:lnTo>
                  <a:lnTo>
                    <a:pt x="108" y="306"/>
                  </a:lnTo>
                  <a:lnTo>
                    <a:pt x="102" y="312"/>
                  </a:lnTo>
                  <a:lnTo>
                    <a:pt x="102" y="324"/>
                  </a:lnTo>
                  <a:lnTo>
                    <a:pt x="108" y="330"/>
                  </a:lnTo>
                  <a:lnTo>
                    <a:pt x="132" y="330"/>
                  </a:lnTo>
                  <a:lnTo>
                    <a:pt x="144" y="324"/>
                  </a:lnTo>
                  <a:lnTo>
                    <a:pt x="144" y="318"/>
                  </a:lnTo>
                  <a:lnTo>
                    <a:pt x="150" y="312"/>
                  </a:lnTo>
                  <a:lnTo>
                    <a:pt x="150" y="306"/>
                  </a:lnTo>
                  <a:lnTo>
                    <a:pt x="198" y="282"/>
                  </a:lnTo>
                  <a:lnTo>
                    <a:pt x="222" y="288"/>
                  </a:lnTo>
                  <a:lnTo>
                    <a:pt x="234" y="270"/>
                  </a:lnTo>
                  <a:lnTo>
                    <a:pt x="258" y="270"/>
                  </a:lnTo>
                  <a:lnTo>
                    <a:pt x="270" y="264"/>
                  </a:lnTo>
                  <a:lnTo>
                    <a:pt x="276" y="264"/>
                  </a:lnTo>
                  <a:lnTo>
                    <a:pt x="276" y="246"/>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29" name="Korea, Nord" descr="© INSCALE GmbH, 05.05.2010&#10;http://www.presentationload.com/">
              <a:extLst>
                <a:ext uri="{FF2B5EF4-FFF2-40B4-BE49-F238E27FC236}">
                  <a16:creationId xmlns:a16="http://schemas.microsoft.com/office/drawing/2014/main" id="{553204E8-B00C-4F72-8247-83FFC0FD96A7}"/>
                </a:ext>
              </a:extLst>
            </p:cNvPr>
            <p:cNvSpPr>
              <a:spLocks/>
            </p:cNvSpPr>
            <p:nvPr/>
          </p:nvSpPr>
          <p:spPr bwMode="gray">
            <a:xfrm>
              <a:off x="7393983" y="2879041"/>
              <a:ext cx="130145" cy="166210"/>
            </a:xfrm>
            <a:custGeom>
              <a:avLst/>
              <a:gdLst>
                <a:gd name="T0" fmla="*/ 2147483647 w 330"/>
                <a:gd name="T1" fmla="*/ 0 h 420"/>
                <a:gd name="T2" fmla="*/ 2147483647 w 330"/>
                <a:gd name="T3" fmla="*/ 2147483647 h 420"/>
                <a:gd name="T4" fmla="*/ 2147483647 w 330"/>
                <a:gd name="T5" fmla="*/ 2147483647 h 420"/>
                <a:gd name="T6" fmla="*/ 2147483647 w 330"/>
                <a:gd name="T7" fmla="*/ 2147483647 h 420"/>
                <a:gd name="T8" fmla="*/ 2147483647 w 330"/>
                <a:gd name="T9" fmla="*/ 2147483647 h 420"/>
                <a:gd name="T10" fmla="*/ 2147483647 w 330"/>
                <a:gd name="T11" fmla="*/ 2147483647 h 420"/>
                <a:gd name="T12" fmla="*/ 2147483647 w 330"/>
                <a:gd name="T13" fmla="*/ 2147483647 h 420"/>
                <a:gd name="T14" fmla="*/ 2147483647 w 330"/>
                <a:gd name="T15" fmla="*/ 2147483647 h 420"/>
                <a:gd name="T16" fmla="*/ 2147483647 w 330"/>
                <a:gd name="T17" fmla="*/ 2147483647 h 420"/>
                <a:gd name="T18" fmla="*/ 2147483647 w 330"/>
                <a:gd name="T19" fmla="*/ 2147483647 h 420"/>
                <a:gd name="T20" fmla="*/ 2147483647 w 330"/>
                <a:gd name="T21" fmla="*/ 2147483647 h 420"/>
                <a:gd name="T22" fmla="*/ 2147483647 w 330"/>
                <a:gd name="T23" fmla="*/ 2147483647 h 420"/>
                <a:gd name="T24" fmla="*/ 2147483647 w 330"/>
                <a:gd name="T25" fmla="*/ 2147483647 h 420"/>
                <a:gd name="T26" fmla="*/ 2147483647 w 330"/>
                <a:gd name="T27" fmla="*/ 2147483647 h 420"/>
                <a:gd name="T28" fmla="*/ 2147483647 w 330"/>
                <a:gd name="T29" fmla="*/ 2147483647 h 420"/>
                <a:gd name="T30" fmla="*/ 2147483647 w 330"/>
                <a:gd name="T31" fmla="*/ 2147483647 h 420"/>
                <a:gd name="T32" fmla="*/ 2147483647 w 330"/>
                <a:gd name="T33" fmla="*/ 2147483647 h 420"/>
                <a:gd name="T34" fmla="*/ 2147483647 w 330"/>
                <a:gd name="T35" fmla="*/ 2147483647 h 420"/>
                <a:gd name="T36" fmla="*/ 2147483647 w 330"/>
                <a:gd name="T37" fmla="*/ 2147483647 h 420"/>
                <a:gd name="T38" fmla="*/ 2147483647 w 330"/>
                <a:gd name="T39" fmla="*/ 2147483647 h 420"/>
                <a:gd name="T40" fmla="*/ 2147483647 w 330"/>
                <a:gd name="T41" fmla="*/ 2147483647 h 420"/>
                <a:gd name="T42" fmla="*/ 2147483647 w 330"/>
                <a:gd name="T43" fmla="*/ 2147483647 h 420"/>
                <a:gd name="T44" fmla="*/ 2147483647 w 330"/>
                <a:gd name="T45" fmla="*/ 2147483647 h 420"/>
                <a:gd name="T46" fmla="*/ 2147483647 w 330"/>
                <a:gd name="T47" fmla="*/ 2147483647 h 420"/>
                <a:gd name="T48" fmla="*/ 2147483647 w 330"/>
                <a:gd name="T49" fmla="*/ 2147483647 h 420"/>
                <a:gd name="T50" fmla="*/ 2147483647 w 330"/>
                <a:gd name="T51" fmla="*/ 2147483647 h 420"/>
                <a:gd name="T52" fmla="*/ 2147483647 w 330"/>
                <a:gd name="T53" fmla="*/ 2147483647 h 420"/>
                <a:gd name="T54" fmla="*/ 2147483647 w 330"/>
                <a:gd name="T55" fmla="*/ 2147483647 h 420"/>
                <a:gd name="T56" fmla="*/ 2147483647 w 330"/>
                <a:gd name="T57" fmla="*/ 2147483647 h 420"/>
                <a:gd name="T58" fmla="*/ 2147483647 w 330"/>
                <a:gd name="T59" fmla="*/ 2147483647 h 420"/>
                <a:gd name="T60" fmla="*/ 2147483647 w 330"/>
                <a:gd name="T61" fmla="*/ 2147483647 h 420"/>
                <a:gd name="T62" fmla="*/ 2147483647 w 330"/>
                <a:gd name="T63" fmla="*/ 2147483647 h 420"/>
                <a:gd name="T64" fmla="*/ 2147483647 w 330"/>
                <a:gd name="T65" fmla="*/ 2147483647 h 420"/>
                <a:gd name="T66" fmla="*/ 2147483647 w 330"/>
                <a:gd name="T67" fmla="*/ 2147483647 h 420"/>
                <a:gd name="T68" fmla="*/ 2147483647 w 330"/>
                <a:gd name="T69" fmla="*/ 2147483647 h 420"/>
                <a:gd name="T70" fmla="*/ 2147483647 w 330"/>
                <a:gd name="T71" fmla="*/ 2147483647 h 420"/>
                <a:gd name="T72" fmla="*/ 2147483647 w 330"/>
                <a:gd name="T73" fmla="*/ 2147483647 h 420"/>
                <a:gd name="T74" fmla="*/ 2147483647 w 330"/>
                <a:gd name="T75" fmla="*/ 2147483647 h 420"/>
                <a:gd name="T76" fmla="*/ 2147483647 w 330"/>
                <a:gd name="T77" fmla="*/ 2147483647 h 420"/>
                <a:gd name="T78" fmla="*/ 2147483647 w 330"/>
                <a:gd name="T79" fmla="*/ 2147483647 h 420"/>
                <a:gd name="T80" fmla="*/ 2147483647 w 330"/>
                <a:gd name="T81" fmla="*/ 2147483647 h 420"/>
                <a:gd name="T82" fmla="*/ 2147483647 w 330"/>
                <a:gd name="T83" fmla="*/ 2147483647 h 420"/>
                <a:gd name="T84" fmla="*/ 2147483647 w 330"/>
                <a:gd name="T85" fmla="*/ 2147483647 h 420"/>
                <a:gd name="T86" fmla="*/ 2147483647 w 330"/>
                <a:gd name="T87" fmla="*/ 2147483647 h 420"/>
                <a:gd name="T88" fmla="*/ 2147483647 w 330"/>
                <a:gd name="T89" fmla="*/ 2147483647 h 420"/>
                <a:gd name="T90" fmla="*/ 2147483647 w 330"/>
                <a:gd name="T91" fmla="*/ 2147483647 h 420"/>
                <a:gd name="T92" fmla="*/ 2147483647 w 330"/>
                <a:gd name="T93" fmla="*/ 2147483647 h 420"/>
                <a:gd name="T94" fmla="*/ 2147483647 w 330"/>
                <a:gd name="T95" fmla="*/ 2147483647 h 420"/>
                <a:gd name="T96" fmla="*/ 2147483647 w 330"/>
                <a:gd name="T97" fmla="*/ 2147483647 h 420"/>
                <a:gd name="T98" fmla="*/ 2147483647 w 330"/>
                <a:gd name="T99" fmla="*/ 2147483647 h 420"/>
                <a:gd name="T100" fmla="*/ 2147483647 w 330"/>
                <a:gd name="T101" fmla="*/ 2147483647 h 420"/>
                <a:gd name="T102" fmla="*/ 2147483647 w 330"/>
                <a:gd name="T103" fmla="*/ 0 h 4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0"/>
                <a:gd name="T157" fmla="*/ 0 h 420"/>
                <a:gd name="T158" fmla="*/ 330 w 330"/>
                <a:gd name="T159" fmla="*/ 420 h 4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0" h="420">
                  <a:moveTo>
                    <a:pt x="270" y="0"/>
                  </a:moveTo>
                  <a:lnTo>
                    <a:pt x="240" y="0"/>
                  </a:lnTo>
                  <a:lnTo>
                    <a:pt x="240" y="6"/>
                  </a:lnTo>
                  <a:lnTo>
                    <a:pt x="246" y="12"/>
                  </a:lnTo>
                  <a:lnTo>
                    <a:pt x="252" y="24"/>
                  </a:lnTo>
                  <a:lnTo>
                    <a:pt x="252" y="42"/>
                  </a:lnTo>
                  <a:lnTo>
                    <a:pt x="228" y="42"/>
                  </a:lnTo>
                  <a:lnTo>
                    <a:pt x="234" y="54"/>
                  </a:lnTo>
                  <a:lnTo>
                    <a:pt x="234" y="60"/>
                  </a:lnTo>
                  <a:lnTo>
                    <a:pt x="228" y="72"/>
                  </a:lnTo>
                  <a:lnTo>
                    <a:pt x="216" y="78"/>
                  </a:lnTo>
                  <a:lnTo>
                    <a:pt x="204" y="72"/>
                  </a:lnTo>
                  <a:lnTo>
                    <a:pt x="180" y="72"/>
                  </a:lnTo>
                  <a:lnTo>
                    <a:pt x="174" y="66"/>
                  </a:lnTo>
                  <a:lnTo>
                    <a:pt x="168" y="72"/>
                  </a:lnTo>
                  <a:lnTo>
                    <a:pt x="168" y="84"/>
                  </a:lnTo>
                  <a:lnTo>
                    <a:pt x="192" y="108"/>
                  </a:lnTo>
                  <a:lnTo>
                    <a:pt x="198" y="108"/>
                  </a:lnTo>
                  <a:lnTo>
                    <a:pt x="198" y="120"/>
                  </a:lnTo>
                  <a:lnTo>
                    <a:pt x="150" y="120"/>
                  </a:lnTo>
                  <a:lnTo>
                    <a:pt x="138" y="114"/>
                  </a:lnTo>
                  <a:lnTo>
                    <a:pt x="126" y="114"/>
                  </a:lnTo>
                  <a:lnTo>
                    <a:pt x="114" y="102"/>
                  </a:lnTo>
                  <a:lnTo>
                    <a:pt x="102" y="96"/>
                  </a:lnTo>
                  <a:lnTo>
                    <a:pt x="90" y="96"/>
                  </a:lnTo>
                  <a:lnTo>
                    <a:pt x="90" y="102"/>
                  </a:lnTo>
                  <a:lnTo>
                    <a:pt x="84" y="108"/>
                  </a:lnTo>
                  <a:lnTo>
                    <a:pt x="84" y="138"/>
                  </a:lnTo>
                  <a:lnTo>
                    <a:pt x="66" y="174"/>
                  </a:lnTo>
                  <a:lnTo>
                    <a:pt x="54" y="186"/>
                  </a:lnTo>
                  <a:lnTo>
                    <a:pt x="18" y="204"/>
                  </a:lnTo>
                  <a:lnTo>
                    <a:pt x="12" y="216"/>
                  </a:lnTo>
                  <a:lnTo>
                    <a:pt x="6" y="222"/>
                  </a:lnTo>
                  <a:lnTo>
                    <a:pt x="6" y="234"/>
                  </a:lnTo>
                  <a:lnTo>
                    <a:pt x="0" y="246"/>
                  </a:lnTo>
                  <a:lnTo>
                    <a:pt x="12" y="228"/>
                  </a:lnTo>
                  <a:lnTo>
                    <a:pt x="18" y="246"/>
                  </a:lnTo>
                  <a:lnTo>
                    <a:pt x="36" y="270"/>
                  </a:lnTo>
                  <a:lnTo>
                    <a:pt x="48" y="252"/>
                  </a:lnTo>
                  <a:lnTo>
                    <a:pt x="54" y="258"/>
                  </a:lnTo>
                  <a:lnTo>
                    <a:pt x="60" y="270"/>
                  </a:lnTo>
                  <a:lnTo>
                    <a:pt x="96" y="270"/>
                  </a:lnTo>
                  <a:lnTo>
                    <a:pt x="96" y="282"/>
                  </a:lnTo>
                  <a:lnTo>
                    <a:pt x="102" y="294"/>
                  </a:lnTo>
                  <a:lnTo>
                    <a:pt x="102" y="336"/>
                  </a:lnTo>
                  <a:lnTo>
                    <a:pt x="138" y="336"/>
                  </a:lnTo>
                  <a:lnTo>
                    <a:pt x="144" y="348"/>
                  </a:lnTo>
                  <a:lnTo>
                    <a:pt x="132" y="342"/>
                  </a:lnTo>
                  <a:lnTo>
                    <a:pt x="108" y="342"/>
                  </a:lnTo>
                  <a:lnTo>
                    <a:pt x="102" y="348"/>
                  </a:lnTo>
                  <a:lnTo>
                    <a:pt x="102" y="360"/>
                  </a:lnTo>
                  <a:lnTo>
                    <a:pt x="108" y="378"/>
                  </a:lnTo>
                  <a:lnTo>
                    <a:pt x="114" y="384"/>
                  </a:lnTo>
                  <a:lnTo>
                    <a:pt x="126" y="408"/>
                  </a:lnTo>
                  <a:lnTo>
                    <a:pt x="156" y="396"/>
                  </a:lnTo>
                  <a:lnTo>
                    <a:pt x="162" y="402"/>
                  </a:lnTo>
                  <a:lnTo>
                    <a:pt x="174" y="408"/>
                  </a:lnTo>
                  <a:lnTo>
                    <a:pt x="180" y="414"/>
                  </a:lnTo>
                  <a:lnTo>
                    <a:pt x="192" y="420"/>
                  </a:lnTo>
                  <a:lnTo>
                    <a:pt x="198" y="420"/>
                  </a:lnTo>
                  <a:lnTo>
                    <a:pt x="216" y="414"/>
                  </a:lnTo>
                  <a:lnTo>
                    <a:pt x="228" y="414"/>
                  </a:lnTo>
                  <a:lnTo>
                    <a:pt x="240" y="408"/>
                  </a:lnTo>
                  <a:lnTo>
                    <a:pt x="246" y="402"/>
                  </a:lnTo>
                  <a:lnTo>
                    <a:pt x="246" y="396"/>
                  </a:lnTo>
                  <a:lnTo>
                    <a:pt x="240" y="390"/>
                  </a:lnTo>
                  <a:lnTo>
                    <a:pt x="240" y="384"/>
                  </a:lnTo>
                  <a:lnTo>
                    <a:pt x="246" y="384"/>
                  </a:lnTo>
                  <a:lnTo>
                    <a:pt x="252" y="378"/>
                  </a:lnTo>
                  <a:lnTo>
                    <a:pt x="276" y="366"/>
                  </a:lnTo>
                  <a:lnTo>
                    <a:pt x="306" y="366"/>
                  </a:lnTo>
                  <a:lnTo>
                    <a:pt x="324" y="354"/>
                  </a:lnTo>
                  <a:lnTo>
                    <a:pt x="312" y="342"/>
                  </a:lnTo>
                  <a:lnTo>
                    <a:pt x="312" y="336"/>
                  </a:lnTo>
                  <a:lnTo>
                    <a:pt x="264" y="312"/>
                  </a:lnTo>
                  <a:lnTo>
                    <a:pt x="240" y="312"/>
                  </a:lnTo>
                  <a:lnTo>
                    <a:pt x="240" y="300"/>
                  </a:lnTo>
                  <a:lnTo>
                    <a:pt x="246" y="288"/>
                  </a:lnTo>
                  <a:lnTo>
                    <a:pt x="252" y="282"/>
                  </a:lnTo>
                  <a:lnTo>
                    <a:pt x="246" y="276"/>
                  </a:lnTo>
                  <a:lnTo>
                    <a:pt x="234" y="270"/>
                  </a:lnTo>
                  <a:lnTo>
                    <a:pt x="228" y="264"/>
                  </a:lnTo>
                  <a:lnTo>
                    <a:pt x="228" y="252"/>
                  </a:lnTo>
                  <a:lnTo>
                    <a:pt x="240" y="246"/>
                  </a:lnTo>
                  <a:lnTo>
                    <a:pt x="246" y="240"/>
                  </a:lnTo>
                  <a:lnTo>
                    <a:pt x="258" y="234"/>
                  </a:lnTo>
                  <a:lnTo>
                    <a:pt x="270" y="234"/>
                  </a:lnTo>
                  <a:lnTo>
                    <a:pt x="276" y="228"/>
                  </a:lnTo>
                  <a:lnTo>
                    <a:pt x="288" y="204"/>
                  </a:lnTo>
                  <a:lnTo>
                    <a:pt x="288" y="192"/>
                  </a:lnTo>
                  <a:lnTo>
                    <a:pt x="294" y="186"/>
                  </a:lnTo>
                  <a:lnTo>
                    <a:pt x="300" y="174"/>
                  </a:lnTo>
                  <a:lnTo>
                    <a:pt x="324" y="162"/>
                  </a:lnTo>
                  <a:lnTo>
                    <a:pt x="312" y="132"/>
                  </a:lnTo>
                  <a:lnTo>
                    <a:pt x="306" y="126"/>
                  </a:lnTo>
                  <a:lnTo>
                    <a:pt x="294" y="102"/>
                  </a:lnTo>
                  <a:lnTo>
                    <a:pt x="294" y="90"/>
                  </a:lnTo>
                  <a:lnTo>
                    <a:pt x="306" y="66"/>
                  </a:lnTo>
                  <a:lnTo>
                    <a:pt x="318" y="60"/>
                  </a:lnTo>
                  <a:lnTo>
                    <a:pt x="324" y="54"/>
                  </a:lnTo>
                  <a:lnTo>
                    <a:pt x="330" y="54"/>
                  </a:lnTo>
                  <a:lnTo>
                    <a:pt x="312" y="36"/>
                  </a:lnTo>
                  <a:lnTo>
                    <a:pt x="288" y="24"/>
                  </a:lnTo>
                  <a:lnTo>
                    <a:pt x="270" y="0"/>
                  </a:lnTo>
                  <a:close/>
                </a:path>
              </a:pathLst>
            </a:custGeom>
            <a:solidFill>
              <a:schemeClr val="accent2"/>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30" name="Kolombia" descr="© INSCALE GmbH, 05.05.2010&#10;http://www.presentationload.com/">
              <a:extLst>
                <a:ext uri="{FF2B5EF4-FFF2-40B4-BE49-F238E27FC236}">
                  <a16:creationId xmlns:a16="http://schemas.microsoft.com/office/drawing/2014/main" id="{93172141-EA31-45A4-A7B6-2D9990408D7D}"/>
                </a:ext>
              </a:extLst>
            </p:cNvPr>
            <p:cNvSpPr>
              <a:spLocks/>
            </p:cNvSpPr>
            <p:nvPr/>
          </p:nvSpPr>
          <p:spPr bwMode="gray">
            <a:xfrm>
              <a:off x="1890222" y="3852784"/>
              <a:ext cx="344965" cy="534697"/>
            </a:xfrm>
            <a:custGeom>
              <a:avLst/>
              <a:gdLst>
                <a:gd name="T0" fmla="*/ 2147483647 w 870"/>
                <a:gd name="T1" fmla="*/ 2147483647 h 1344"/>
                <a:gd name="T2" fmla="*/ 2147483647 w 870"/>
                <a:gd name="T3" fmla="*/ 2147483647 h 1344"/>
                <a:gd name="T4" fmla="*/ 2147483647 w 870"/>
                <a:gd name="T5" fmla="*/ 2147483647 h 1344"/>
                <a:gd name="T6" fmla="*/ 2147483647 w 870"/>
                <a:gd name="T7" fmla="*/ 2147483647 h 1344"/>
                <a:gd name="T8" fmla="*/ 2147483647 w 870"/>
                <a:gd name="T9" fmla="*/ 2147483647 h 1344"/>
                <a:gd name="T10" fmla="*/ 2147483647 w 870"/>
                <a:gd name="T11" fmla="*/ 2147483647 h 1344"/>
                <a:gd name="T12" fmla="*/ 2147483647 w 870"/>
                <a:gd name="T13" fmla="*/ 2147483647 h 1344"/>
                <a:gd name="T14" fmla="*/ 2147483647 w 870"/>
                <a:gd name="T15" fmla="*/ 2147483647 h 1344"/>
                <a:gd name="T16" fmla="*/ 2147483647 w 870"/>
                <a:gd name="T17" fmla="*/ 2147483647 h 1344"/>
                <a:gd name="T18" fmla="*/ 2147483647 w 870"/>
                <a:gd name="T19" fmla="*/ 2147483647 h 1344"/>
                <a:gd name="T20" fmla="*/ 2147483647 w 870"/>
                <a:gd name="T21" fmla="*/ 2147483647 h 1344"/>
                <a:gd name="T22" fmla="*/ 2147483647 w 870"/>
                <a:gd name="T23" fmla="*/ 2147483647 h 1344"/>
                <a:gd name="T24" fmla="*/ 2147483647 w 870"/>
                <a:gd name="T25" fmla="*/ 2147483647 h 1344"/>
                <a:gd name="T26" fmla="*/ 2147483647 w 870"/>
                <a:gd name="T27" fmla="*/ 2147483647 h 1344"/>
                <a:gd name="T28" fmla="*/ 2147483647 w 870"/>
                <a:gd name="T29" fmla="*/ 2147483647 h 1344"/>
                <a:gd name="T30" fmla="*/ 2147483647 w 870"/>
                <a:gd name="T31" fmla="*/ 2147483647 h 1344"/>
                <a:gd name="T32" fmla="*/ 2147483647 w 870"/>
                <a:gd name="T33" fmla="*/ 2147483647 h 1344"/>
                <a:gd name="T34" fmla="*/ 2147483647 w 870"/>
                <a:gd name="T35" fmla="*/ 2147483647 h 1344"/>
                <a:gd name="T36" fmla="*/ 2147483647 w 870"/>
                <a:gd name="T37" fmla="*/ 2147483647 h 1344"/>
                <a:gd name="T38" fmla="*/ 2147483647 w 870"/>
                <a:gd name="T39" fmla="*/ 2147483647 h 1344"/>
                <a:gd name="T40" fmla="*/ 2147483647 w 870"/>
                <a:gd name="T41" fmla="*/ 2147483647 h 1344"/>
                <a:gd name="T42" fmla="*/ 2147483647 w 870"/>
                <a:gd name="T43" fmla="*/ 2147483647 h 1344"/>
                <a:gd name="T44" fmla="*/ 2147483647 w 870"/>
                <a:gd name="T45" fmla="*/ 2147483647 h 1344"/>
                <a:gd name="T46" fmla="*/ 2147483647 w 870"/>
                <a:gd name="T47" fmla="*/ 2147483647 h 1344"/>
                <a:gd name="T48" fmla="*/ 2147483647 w 870"/>
                <a:gd name="T49" fmla="*/ 2147483647 h 1344"/>
                <a:gd name="T50" fmla="*/ 2147483647 w 870"/>
                <a:gd name="T51" fmla="*/ 2147483647 h 1344"/>
                <a:gd name="T52" fmla="*/ 2147483647 w 870"/>
                <a:gd name="T53" fmla="*/ 2147483647 h 1344"/>
                <a:gd name="T54" fmla="*/ 2147483647 w 870"/>
                <a:gd name="T55" fmla="*/ 2147483647 h 1344"/>
                <a:gd name="T56" fmla="*/ 2147483647 w 870"/>
                <a:gd name="T57" fmla="*/ 2147483647 h 1344"/>
                <a:gd name="T58" fmla="*/ 2147483647 w 870"/>
                <a:gd name="T59" fmla="*/ 2147483647 h 1344"/>
                <a:gd name="T60" fmla="*/ 2147483647 w 870"/>
                <a:gd name="T61" fmla="*/ 2147483647 h 1344"/>
                <a:gd name="T62" fmla="*/ 2147483647 w 870"/>
                <a:gd name="T63" fmla="*/ 2147483647 h 1344"/>
                <a:gd name="T64" fmla="*/ 2147483647 w 870"/>
                <a:gd name="T65" fmla="*/ 2147483647 h 1344"/>
                <a:gd name="T66" fmla="*/ 2147483647 w 870"/>
                <a:gd name="T67" fmla="*/ 2147483647 h 1344"/>
                <a:gd name="T68" fmla="*/ 2147483647 w 870"/>
                <a:gd name="T69" fmla="*/ 2147483647 h 1344"/>
                <a:gd name="T70" fmla="*/ 2147483647 w 870"/>
                <a:gd name="T71" fmla="*/ 2147483647 h 1344"/>
                <a:gd name="T72" fmla="*/ 2147483647 w 870"/>
                <a:gd name="T73" fmla="*/ 0 h 1344"/>
                <a:gd name="T74" fmla="*/ 2147483647 w 870"/>
                <a:gd name="T75" fmla="*/ 2147483647 h 1344"/>
                <a:gd name="T76" fmla="*/ 2147483647 w 870"/>
                <a:gd name="T77" fmla="*/ 2147483647 h 1344"/>
                <a:gd name="T78" fmla="*/ 2147483647 w 870"/>
                <a:gd name="T79" fmla="*/ 2147483647 h 1344"/>
                <a:gd name="T80" fmla="*/ 2147483647 w 870"/>
                <a:gd name="T81" fmla="*/ 2147483647 h 1344"/>
                <a:gd name="T82" fmla="*/ 2147483647 w 870"/>
                <a:gd name="T83" fmla="*/ 2147483647 h 1344"/>
                <a:gd name="T84" fmla="*/ 2147483647 w 870"/>
                <a:gd name="T85" fmla="*/ 2147483647 h 1344"/>
                <a:gd name="T86" fmla="*/ 2147483647 w 870"/>
                <a:gd name="T87" fmla="*/ 2147483647 h 1344"/>
                <a:gd name="T88" fmla="*/ 2147483647 w 870"/>
                <a:gd name="T89" fmla="*/ 2147483647 h 1344"/>
                <a:gd name="T90" fmla="*/ 2147483647 w 870"/>
                <a:gd name="T91" fmla="*/ 2147483647 h 1344"/>
                <a:gd name="T92" fmla="*/ 2147483647 w 870"/>
                <a:gd name="T93" fmla="*/ 2147483647 h 1344"/>
                <a:gd name="T94" fmla="*/ 2147483647 w 870"/>
                <a:gd name="T95" fmla="*/ 2147483647 h 1344"/>
                <a:gd name="T96" fmla="*/ 2147483647 w 870"/>
                <a:gd name="T97" fmla="*/ 2147483647 h 1344"/>
                <a:gd name="T98" fmla="*/ 2147483647 w 870"/>
                <a:gd name="T99" fmla="*/ 2147483647 h 1344"/>
                <a:gd name="T100" fmla="*/ 2147483647 w 870"/>
                <a:gd name="T101" fmla="*/ 2147483647 h 1344"/>
                <a:gd name="T102" fmla="*/ 2147483647 w 870"/>
                <a:gd name="T103" fmla="*/ 2147483647 h 1344"/>
                <a:gd name="T104" fmla="*/ 2147483647 w 870"/>
                <a:gd name="T105" fmla="*/ 2147483647 h 1344"/>
                <a:gd name="T106" fmla="*/ 2147483647 w 870"/>
                <a:gd name="T107" fmla="*/ 2147483647 h 13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0"/>
                <a:gd name="T163" fmla="*/ 0 h 1344"/>
                <a:gd name="T164" fmla="*/ 870 w 870"/>
                <a:gd name="T165" fmla="*/ 1344 h 134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0" h="1344">
                  <a:moveTo>
                    <a:pt x="36" y="912"/>
                  </a:moveTo>
                  <a:lnTo>
                    <a:pt x="60" y="924"/>
                  </a:lnTo>
                  <a:lnTo>
                    <a:pt x="66" y="936"/>
                  </a:lnTo>
                  <a:lnTo>
                    <a:pt x="84" y="936"/>
                  </a:lnTo>
                  <a:lnTo>
                    <a:pt x="96" y="942"/>
                  </a:lnTo>
                  <a:lnTo>
                    <a:pt x="102" y="948"/>
                  </a:lnTo>
                  <a:lnTo>
                    <a:pt x="108" y="960"/>
                  </a:lnTo>
                  <a:lnTo>
                    <a:pt x="108" y="966"/>
                  </a:lnTo>
                  <a:lnTo>
                    <a:pt x="114" y="972"/>
                  </a:lnTo>
                  <a:lnTo>
                    <a:pt x="126" y="978"/>
                  </a:lnTo>
                  <a:lnTo>
                    <a:pt x="138" y="978"/>
                  </a:lnTo>
                  <a:lnTo>
                    <a:pt x="144" y="972"/>
                  </a:lnTo>
                  <a:lnTo>
                    <a:pt x="156" y="978"/>
                  </a:lnTo>
                  <a:lnTo>
                    <a:pt x="162" y="984"/>
                  </a:lnTo>
                  <a:lnTo>
                    <a:pt x="186" y="984"/>
                  </a:lnTo>
                  <a:lnTo>
                    <a:pt x="186" y="972"/>
                  </a:lnTo>
                  <a:lnTo>
                    <a:pt x="192" y="966"/>
                  </a:lnTo>
                  <a:lnTo>
                    <a:pt x="198" y="966"/>
                  </a:lnTo>
                  <a:lnTo>
                    <a:pt x="210" y="972"/>
                  </a:lnTo>
                  <a:lnTo>
                    <a:pt x="210" y="978"/>
                  </a:lnTo>
                  <a:lnTo>
                    <a:pt x="216" y="984"/>
                  </a:lnTo>
                  <a:lnTo>
                    <a:pt x="216" y="990"/>
                  </a:lnTo>
                  <a:lnTo>
                    <a:pt x="228" y="1002"/>
                  </a:lnTo>
                  <a:lnTo>
                    <a:pt x="264" y="1002"/>
                  </a:lnTo>
                  <a:lnTo>
                    <a:pt x="276" y="1008"/>
                  </a:lnTo>
                  <a:lnTo>
                    <a:pt x="282" y="1014"/>
                  </a:lnTo>
                  <a:lnTo>
                    <a:pt x="294" y="1020"/>
                  </a:lnTo>
                  <a:lnTo>
                    <a:pt x="312" y="1038"/>
                  </a:lnTo>
                  <a:lnTo>
                    <a:pt x="324" y="1044"/>
                  </a:lnTo>
                  <a:lnTo>
                    <a:pt x="330" y="1050"/>
                  </a:lnTo>
                  <a:lnTo>
                    <a:pt x="342" y="1086"/>
                  </a:lnTo>
                  <a:lnTo>
                    <a:pt x="360" y="1086"/>
                  </a:lnTo>
                  <a:lnTo>
                    <a:pt x="372" y="1104"/>
                  </a:lnTo>
                  <a:lnTo>
                    <a:pt x="384" y="1104"/>
                  </a:lnTo>
                  <a:lnTo>
                    <a:pt x="390" y="1110"/>
                  </a:lnTo>
                  <a:lnTo>
                    <a:pt x="390" y="1134"/>
                  </a:lnTo>
                  <a:lnTo>
                    <a:pt x="396" y="1140"/>
                  </a:lnTo>
                  <a:lnTo>
                    <a:pt x="396" y="1146"/>
                  </a:lnTo>
                  <a:lnTo>
                    <a:pt x="408" y="1146"/>
                  </a:lnTo>
                  <a:lnTo>
                    <a:pt x="420" y="1152"/>
                  </a:lnTo>
                  <a:lnTo>
                    <a:pt x="426" y="1158"/>
                  </a:lnTo>
                  <a:lnTo>
                    <a:pt x="426" y="1164"/>
                  </a:lnTo>
                  <a:lnTo>
                    <a:pt x="420" y="1170"/>
                  </a:lnTo>
                  <a:lnTo>
                    <a:pt x="420" y="1194"/>
                  </a:lnTo>
                  <a:lnTo>
                    <a:pt x="432" y="1200"/>
                  </a:lnTo>
                  <a:lnTo>
                    <a:pt x="456" y="1206"/>
                  </a:lnTo>
                  <a:lnTo>
                    <a:pt x="492" y="1206"/>
                  </a:lnTo>
                  <a:lnTo>
                    <a:pt x="492" y="1194"/>
                  </a:lnTo>
                  <a:lnTo>
                    <a:pt x="504" y="1182"/>
                  </a:lnTo>
                  <a:lnTo>
                    <a:pt x="528" y="1182"/>
                  </a:lnTo>
                  <a:lnTo>
                    <a:pt x="534" y="1188"/>
                  </a:lnTo>
                  <a:lnTo>
                    <a:pt x="540" y="1188"/>
                  </a:lnTo>
                  <a:lnTo>
                    <a:pt x="546" y="1194"/>
                  </a:lnTo>
                  <a:lnTo>
                    <a:pt x="558" y="1194"/>
                  </a:lnTo>
                  <a:lnTo>
                    <a:pt x="570" y="1188"/>
                  </a:lnTo>
                  <a:lnTo>
                    <a:pt x="576" y="1182"/>
                  </a:lnTo>
                  <a:lnTo>
                    <a:pt x="588" y="1182"/>
                  </a:lnTo>
                  <a:lnTo>
                    <a:pt x="588" y="1188"/>
                  </a:lnTo>
                  <a:lnTo>
                    <a:pt x="594" y="1200"/>
                  </a:lnTo>
                  <a:lnTo>
                    <a:pt x="600" y="1206"/>
                  </a:lnTo>
                  <a:lnTo>
                    <a:pt x="624" y="1206"/>
                  </a:lnTo>
                  <a:lnTo>
                    <a:pt x="636" y="1212"/>
                  </a:lnTo>
                  <a:lnTo>
                    <a:pt x="642" y="1218"/>
                  </a:lnTo>
                  <a:lnTo>
                    <a:pt x="642" y="1236"/>
                  </a:lnTo>
                  <a:lnTo>
                    <a:pt x="636" y="1248"/>
                  </a:lnTo>
                  <a:lnTo>
                    <a:pt x="630" y="1254"/>
                  </a:lnTo>
                  <a:lnTo>
                    <a:pt x="624" y="1254"/>
                  </a:lnTo>
                  <a:lnTo>
                    <a:pt x="618" y="1260"/>
                  </a:lnTo>
                  <a:lnTo>
                    <a:pt x="618" y="1266"/>
                  </a:lnTo>
                  <a:lnTo>
                    <a:pt x="606" y="1290"/>
                  </a:lnTo>
                  <a:lnTo>
                    <a:pt x="606" y="1308"/>
                  </a:lnTo>
                  <a:lnTo>
                    <a:pt x="612" y="1314"/>
                  </a:lnTo>
                  <a:lnTo>
                    <a:pt x="630" y="1314"/>
                  </a:lnTo>
                  <a:lnTo>
                    <a:pt x="642" y="1332"/>
                  </a:lnTo>
                  <a:lnTo>
                    <a:pt x="660" y="1344"/>
                  </a:lnTo>
                  <a:lnTo>
                    <a:pt x="660" y="1308"/>
                  </a:lnTo>
                  <a:lnTo>
                    <a:pt x="666" y="1236"/>
                  </a:lnTo>
                  <a:lnTo>
                    <a:pt x="684" y="1188"/>
                  </a:lnTo>
                  <a:lnTo>
                    <a:pt x="678" y="1140"/>
                  </a:lnTo>
                  <a:lnTo>
                    <a:pt x="690" y="1128"/>
                  </a:lnTo>
                  <a:lnTo>
                    <a:pt x="696" y="1116"/>
                  </a:lnTo>
                  <a:lnTo>
                    <a:pt x="696" y="1104"/>
                  </a:lnTo>
                  <a:lnTo>
                    <a:pt x="690" y="1092"/>
                  </a:lnTo>
                  <a:lnTo>
                    <a:pt x="678" y="1080"/>
                  </a:lnTo>
                  <a:lnTo>
                    <a:pt x="678" y="1074"/>
                  </a:lnTo>
                  <a:lnTo>
                    <a:pt x="672" y="1068"/>
                  </a:lnTo>
                  <a:lnTo>
                    <a:pt x="672" y="1044"/>
                  </a:lnTo>
                  <a:lnTo>
                    <a:pt x="666" y="1038"/>
                  </a:lnTo>
                  <a:lnTo>
                    <a:pt x="654" y="1032"/>
                  </a:lnTo>
                  <a:lnTo>
                    <a:pt x="642" y="1020"/>
                  </a:lnTo>
                  <a:lnTo>
                    <a:pt x="636" y="1020"/>
                  </a:lnTo>
                  <a:lnTo>
                    <a:pt x="642" y="954"/>
                  </a:lnTo>
                  <a:lnTo>
                    <a:pt x="672" y="948"/>
                  </a:lnTo>
                  <a:lnTo>
                    <a:pt x="678" y="954"/>
                  </a:lnTo>
                  <a:lnTo>
                    <a:pt x="708" y="954"/>
                  </a:lnTo>
                  <a:lnTo>
                    <a:pt x="714" y="948"/>
                  </a:lnTo>
                  <a:lnTo>
                    <a:pt x="714" y="942"/>
                  </a:lnTo>
                  <a:lnTo>
                    <a:pt x="708" y="936"/>
                  </a:lnTo>
                  <a:lnTo>
                    <a:pt x="708" y="930"/>
                  </a:lnTo>
                  <a:lnTo>
                    <a:pt x="696" y="918"/>
                  </a:lnTo>
                  <a:lnTo>
                    <a:pt x="684" y="924"/>
                  </a:lnTo>
                  <a:lnTo>
                    <a:pt x="660" y="912"/>
                  </a:lnTo>
                  <a:lnTo>
                    <a:pt x="660" y="900"/>
                  </a:lnTo>
                  <a:lnTo>
                    <a:pt x="654" y="888"/>
                  </a:lnTo>
                  <a:lnTo>
                    <a:pt x="654" y="876"/>
                  </a:lnTo>
                  <a:lnTo>
                    <a:pt x="660" y="864"/>
                  </a:lnTo>
                  <a:lnTo>
                    <a:pt x="666" y="858"/>
                  </a:lnTo>
                  <a:lnTo>
                    <a:pt x="684" y="858"/>
                  </a:lnTo>
                  <a:lnTo>
                    <a:pt x="696" y="870"/>
                  </a:lnTo>
                  <a:lnTo>
                    <a:pt x="762" y="864"/>
                  </a:lnTo>
                  <a:lnTo>
                    <a:pt x="762" y="846"/>
                  </a:lnTo>
                  <a:lnTo>
                    <a:pt x="768" y="840"/>
                  </a:lnTo>
                  <a:lnTo>
                    <a:pt x="774" y="840"/>
                  </a:lnTo>
                  <a:lnTo>
                    <a:pt x="798" y="864"/>
                  </a:lnTo>
                  <a:lnTo>
                    <a:pt x="828" y="834"/>
                  </a:lnTo>
                  <a:lnTo>
                    <a:pt x="834" y="834"/>
                  </a:lnTo>
                  <a:lnTo>
                    <a:pt x="834" y="846"/>
                  </a:lnTo>
                  <a:lnTo>
                    <a:pt x="840" y="852"/>
                  </a:lnTo>
                  <a:lnTo>
                    <a:pt x="840" y="864"/>
                  </a:lnTo>
                  <a:lnTo>
                    <a:pt x="846" y="876"/>
                  </a:lnTo>
                  <a:lnTo>
                    <a:pt x="846" y="906"/>
                  </a:lnTo>
                  <a:lnTo>
                    <a:pt x="870" y="906"/>
                  </a:lnTo>
                  <a:lnTo>
                    <a:pt x="864" y="900"/>
                  </a:lnTo>
                  <a:lnTo>
                    <a:pt x="864" y="882"/>
                  </a:lnTo>
                  <a:lnTo>
                    <a:pt x="858" y="870"/>
                  </a:lnTo>
                  <a:lnTo>
                    <a:pt x="858" y="852"/>
                  </a:lnTo>
                  <a:lnTo>
                    <a:pt x="852" y="846"/>
                  </a:lnTo>
                  <a:lnTo>
                    <a:pt x="852" y="828"/>
                  </a:lnTo>
                  <a:lnTo>
                    <a:pt x="846" y="822"/>
                  </a:lnTo>
                  <a:lnTo>
                    <a:pt x="846" y="798"/>
                  </a:lnTo>
                  <a:lnTo>
                    <a:pt x="834" y="798"/>
                  </a:lnTo>
                  <a:lnTo>
                    <a:pt x="822" y="786"/>
                  </a:lnTo>
                  <a:lnTo>
                    <a:pt x="798" y="774"/>
                  </a:lnTo>
                  <a:lnTo>
                    <a:pt x="804" y="774"/>
                  </a:lnTo>
                  <a:lnTo>
                    <a:pt x="834" y="744"/>
                  </a:lnTo>
                  <a:lnTo>
                    <a:pt x="840" y="732"/>
                  </a:lnTo>
                  <a:lnTo>
                    <a:pt x="840" y="726"/>
                  </a:lnTo>
                  <a:lnTo>
                    <a:pt x="834" y="714"/>
                  </a:lnTo>
                  <a:lnTo>
                    <a:pt x="822" y="708"/>
                  </a:lnTo>
                  <a:lnTo>
                    <a:pt x="816" y="696"/>
                  </a:lnTo>
                  <a:lnTo>
                    <a:pt x="816" y="672"/>
                  </a:lnTo>
                  <a:lnTo>
                    <a:pt x="804" y="672"/>
                  </a:lnTo>
                  <a:lnTo>
                    <a:pt x="798" y="666"/>
                  </a:lnTo>
                  <a:lnTo>
                    <a:pt x="798" y="654"/>
                  </a:lnTo>
                  <a:lnTo>
                    <a:pt x="804" y="642"/>
                  </a:lnTo>
                  <a:lnTo>
                    <a:pt x="804" y="612"/>
                  </a:lnTo>
                  <a:lnTo>
                    <a:pt x="798" y="600"/>
                  </a:lnTo>
                  <a:lnTo>
                    <a:pt x="798" y="576"/>
                  </a:lnTo>
                  <a:lnTo>
                    <a:pt x="810" y="564"/>
                  </a:lnTo>
                  <a:lnTo>
                    <a:pt x="816" y="564"/>
                  </a:lnTo>
                  <a:lnTo>
                    <a:pt x="822" y="558"/>
                  </a:lnTo>
                  <a:lnTo>
                    <a:pt x="822" y="534"/>
                  </a:lnTo>
                  <a:lnTo>
                    <a:pt x="840" y="516"/>
                  </a:lnTo>
                  <a:lnTo>
                    <a:pt x="840" y="504"/>
                  </a:lnTo>
                  <a:lnTo>
                    <a:pt x="834" y="498"/>
                  </a:lnTo>
                  <a:lnTo>
                    <a:pt x="816" y="498"/>
                  </a:lnTo>
                  <a:lnTo>
                    <a:pt x="804" y="504"/>
                  </a:lnTo>
                  <a:lnTo>
                    <a:pt x="798" y="510"/>
                  </a:lnTo>
                  <a:lnTo>
                    <a:pt x="774" y="504"/>
                  </a:lnTo>
                  <a:lnTo>
                    <a:pt x="768" y="510"/>
                  </a:lnTo>
                  <a:lnTo>
                    <a:pt x="744" y="510"/>
                  </a:lnTo>
                  <a:lnTo>
                    <a:pt x="738" y="504"/>
                  </a:lnTo>
                  <a:lnTo>
                    <a:pt x="720" y="504"/>
                  </a:lnTo>
                  <a:lnTo>
                    <a:pt x="720" y="510"/>
                  </a:lnTo>
                  <a:lnTo>
                    <a:pt x="696" y="510"/>
                  </a:lnTo>
                  <a:lnTo>
                    <a:pt x="672" y="486"/>
                  </a:lnTo>
                  <a:lnTo>
                    <a:pt x="666" y="468"/>
                  </a:lnTo>
                  <a:lnTo>
                    <a:pt x="660" y="456"/>
                  </a:lnTo>
                  <a:lnTo>
                    <a:pt x="654" y="450"/>
                  </a:lnTo>
                  <a:lnTo>
                    <a:pt x="654" y="444"/>
                  </a:lnTo>
                  <a:lnTo>
                    <a:pt x="630" y="444"/>
                  </a:lnTo>
                  <a:lnTo>
                    <a:pt x="618" y="438"/>
                  </a:lnTo>
                  <a:lnTo>
                    <a:pt x="612" y="432"/>
                  </a:lnTo>
                  <a:lnTo>
                    <a:pt x="600" y="432"/>
                  </a:lnTo>
                  <a:lnTo>
                    <a:pt x="600" y="438"/>
                  </a:lnTo>
                  <a:lnTo>
                    <a:pt x="594" y="444"/>
                  </a:lnTo>
                  <a:lnTo>
                    <a:pt x="582" y="444"/>
                  </a:lnTo>
                  <a:lnTo>
                    <a:pt x="570" y="438"/>
                  </a:lnTo>
                  <a:lnTo>
                    <a:pt x="564" y="438"/>
                  </a:lnTo>
                  <a:lnTo>
                    <a:pt x="552" y="432"/>
                  </a:lnTo>
                  <a:lnTo>
                    <a:pt x="540" y="432"/>
                  </a:lnTo>
                  <a:lnTo>
                    <a:pt x="534" y="438"/>
                  </a:lnTo>
                  <a:lnTo>
                    <a:pt x="510" y="438"/>
                  </a:lnTo>
                  <a:lnTo>
                    <a:pt x="504" y="432"/>
                  </a:lnTo>
                  <a:lnTo>
                    <a:pt x="498" y="420"/>
                  </a:lnTo>
                  <a:lnTo>
                    <a:pt x="498" y="408"/>
                  </a:lnTo>
                  <a:lnTo>
                    <a:pt x="486" y="408"/>
                  </a:lnTo>
                  <a:lnTo>
                    <a:pt x="486" y="366"/>
                  </a:lnTo>
                  <a:lnTo>
                    <a:pt x="498" y="342"/>
                  </a:lnTo>
                  <a:lnTo>
                    <a:pt x="498" y="330"/>
                  </a:lnTo>
                  <a:lnTo>
                    <a:pt x="492" y="324"/>
                  </a:lnTo>
                  <a:lnTo>
                    <a:pt x="480" y="318"/>
                  </a:lnTo>
                  <a:lnTo>
                    <a:pt x="474" y="312"/>
                  </a:lnTo>
                  <a:lnTo>
                    <a:pt x="474" y="276"/>
                  </a:lnTo>
                  <a:lnTo>
                    <a:pt x="468" y="264"/>
                  </a:lnTo>
                  <a:lnTo>
                    <a:pt x="456" y="252"/>
                  </a:lnTo>
                  <a:lnTo>
                    <a:pt x="450" y="252"/>
                  </a:lnTo>
                  <a:lnTo>
                    <a:pt x="438" y="264"/>
                  </a:lnTo>
                  <a:lnTo>
                    <a:pt x="438" y="270"/>
                  </a:lnTo>
                  <a:lnTo>
                    <a:pt x="432" y="264"/>
                  </a:lnTo>
                  <a:lnTo>
                    <a:pt x="432" y="252"/>
                  </a:lnTo>
                  <a:lnTo>
                    <a:pt x="438" y="240"/>
                  </a:lnTo>
                  <a:lnTo>
                    <a:pt x="462" y="216"/>
                  </a:lnTo>
                  <a:lnTo>
                    <a:pt x="462" y="192"/>
                  </a:lnTo>
                  <a:lnTo>
                    <a:pt x="468" y="186"/>
                  </a:lnTo>
                  <a:lnTo>
                    <a:pt x="468" y="168"/>
                  </a:lnTo>
                  <a:lnTo>
                    <a:pt x="480" y="132"/>
                  </a:lnTo>
                  <a:lnTo>
                    <a:pt x="504" y="108"/>
                  </a:lnTo>
                  <a:lnTo>
                    <a:pt x="522" y="102"/>
                  </a:lnTo>
                  <a:lnTo>
                    <a:pt x="534" y="90"/>
                  </a:lnTo>
                  <a:lnTo>
                    <a:pt x="540" y="78"/>
                  </a:lnTo>
                  <a:lnTo>
                    <a:pt x="540" y="72"/>
                  </a:lnTo>
                  <a:lnTo>
                    <a:pt x="546" y="66"/>
                  </a:lnTo>
                  <a:lnTo>
                    <a:pt x="558" y="66"/>
                  </a:lnTo>
                  <a:lnTo>
                    <a:pt x="564" y="60"/>
                  </a:lnTo>
                  <a:lnTo>
                    <a:pt x="570" y="60"/>
                  </a:lnTo>
                  <a:lnTo>
                    <a:pt x="576" y="54"/>
                  </a:lnTo>
                  <a:lnTo>
                    <a:pt x="582" y="54"/>
                  </a:lnTo>
                  <a:lnTo>
                    <a:pt x="600" y="36"/>
                  </a:lnTo>
                  <a:lnTo>
                    <a:pt x="600" y="12"/>
                  </a:lnTo>
                  <a:lnTo>
                    <a:pt x="594" y="6"/>
                  </a:lnTo>
                  <a:lnTo>
                    <a:pt x="582" y="0"/>
                  </a:lnTo>
                  <a:lnTo>
                    <a:pt x="570" y="6"/>
                  </a:lnTo>
                  <a:lnTo>
                    <a:pt x="546" y="6"/>
                  </a:lnTo>
                  <a:lnTo>
                    <a:pt x="540" y="12"/>
                  </a:lnTo>
                  <a:lnTo>
                    <a:pt x="534" y="12"/>
                  </a:lnTo>
                  <a:lnTo>
                    <a:pt x="522" y="24"/>
                  </a:lnTo>
                  <a:lnTo>
                    <a:pt x="522" y="36"/>
                  </a:lnTo>
                  <a:lnTo>
                    <a:pt x="516" y="48"/>
                  </a:lnTo>
                  <a:lnTo>
                    <a:pt x="504" y="60"/>
                  </a:lnTo>
                  <a:lnTo>
                    <a:pt x="492" y="60"/>
                  </a:lnTo>
                  <a:lnTo>
                    <a:pt x="480" y="54"/>
                  </a:lnTo>
                  <a:lnTo>
                    <a:pt x="474" y="54"/>
                  </a:lnTo>
                  <a:lnTo>
                    <a:pt x="444" y="84"/>
                  </a:lnTo>
                  <a:lnTo>
                    <a:pt x="444" y="90"/>
                  </a:lnTo>
                  <a:lnTo>
                    <a:pt x="408" y="102"/>
                  </a:lnTo>
                  <a:lnTo>
                    <a:pt x="402" y="96"/>
                  </a:lnTo>
                  <a:lnTo>
                    <a:pt x="390" y="90"/>
                  </a:lnTo>
                  <a:lnTo>
                    <a:pt x="384" y="90"/>
                  </a:lnTo>
                  <a:lnTo>
                    <a:pt x="378" y="102"/>
                  </a:lnTo>
                  <a:lnTo>
                    <a:pt x="378" y="120"/>
                  </a:lnTo>
                  <a:lnTo>
                    <a:pt x="372" y="132"/>
                  </a:lnTo>
                  <a:lnTo>
                    <a:pt x="366" y="138"/>
                  </a:lnTo>
                  <a:lnTo>
                    <a:pt x="354" y="138"/>
                  </a:lnTo>
                  <a:lnTo>
                    <a:pt x="354" y="132"/>
                  </a:lnTo>
                  <a:lnTo>
                    <a:pt x="360" y="126"/>
                  </a:lnTo>
                  <a:lnTo>
                    <a:pt x="354" y="120"/>
                  </a:lnTo>
                  <a:lnTo>
                    <a:pt x="342" y="120"/>
                  </a:lnTo>
                  <a:lnTo>
                    <a:pt x="330" y="126"/>
                  </a:lnTo>
                  <a:lnTo>
                    <a:pt x="318" y="126"/>
                  </a:lnTo>
                  <a:lnTo>
                    <a:pt x="312" y="132"/>
                  </a:lnTo>
                  <a:lnTo>
                    <a:pt x="306" y="132"/>
                  </a:lnTo>
                  <a:lnTo>
                    <a:pt x="300" y="144"/>
                  </a:lnTo>
                  <a:lnTo>
                    <a:pt x="288" y="150"/>
                  </a:lnTo>
                  <a:lnTo>
                    <a:pt x="282" y="162"/>
                  </a:lnTo>
                  <a:lnTo>
                    <a:pt x="276" y="168"/>
                  </a:lnTo>
                  <a:lnTo>
                    <a:pt x="276" y="186"/>
                  </a:lnTo>
                  <a:lnTo>
                    <a:pt x="282" y="192"/>
                  </a:lnTo>
                  <a:lnTo>
                    <a:pt x="264" y="222"/>
                  </a:lnTo>
                  <a:lnTo>
                    <a:pt x="276" y="246"/>
                  </a:lnTo>
                  <a:lnTo>
                    <a:pt x="252" y="246"/>
                  </a:lnTo>
                  <a:lnTo>
                    <a:pt x="240" y="252"/>
                  </a:lnTo>
                  <a:lnTo>
                    <a:pt x="228" y="264"/>
                  </a:lnTo>
                  <a:lnTo>
                    <a:pt x="228" y="276"/>
                  </a:lnTo>
                  <a:lnTo>
                    <a:pt x="222" y="288"/>
                  </a:lnTo>
                  <a:lnTo>
                    <a:pt x="216" y="294"/>
                  </a:lnTo>
                  <a:lnTo>
                    <a:pt x="204" y="294"/>
                  </a:lnTo>
                  <a:lnTo>
                    <a:pt x="198" y="300"/>
                  </a:lnTo>
                  <a:lnTo>
                    <a:pt x="192" y="300"/>
                  </a:lnTo>
                  <a:lnTo>
                    <a:pt x="174" y="306"/>
                  </a:lnTo>
                  <a:lnTo>
                    <a:pt x="186" y="330"/>
                  </a:lnTo>
                  <a:lnTo>
                    <a:pt x="186" y="366"/>
                  </a:lnTo>
                  <a:lnTo>
                    <a:pt x="168" y="366"/>
                  </a:lnTo>
                  <a:lnTo>
                    <a:pt x="168" y="360"/>
                  </a:lnTo>
                  <a:lnTo>
                    <a:pt x="174" y="354"/>
                  </a:lnTo>
                  <a:lnTo>
                    <a:pt x="174" y="342"/>
                  </a:lnTo>
                  <a:lnTo>
                    <a:pt x="144" y="312"/>
                  </a:lnTo>
                  <a:lnTo>
                    <a:pt x="138" y="312"/>
                  </a:lnTo>
                  <a:lnTo>
                    <a:pt x="132" y="318"/>
                  </a:lnTo>
                  <a:lnTo>
                    <a:pt x="132" y="336"/>
                  </a:lnTo>
                  <a:lnTo>
                    <a:pt x="138" y="348"/>
                  </a:lnTo>
                  <a:lnTo>
                    <a:pt x="150" y="354"/>
                  </a:lnTo>
                  <a:lnTo>
                    <a:pt x="150" y="366"/>
                  </a:lnTo>
                  <a:lnTo>
                    <a:pt x="138" y="390"/>
                  </a:lnTo>
                  <a:lnTo>
                    <a:pt x="132" y="396"/>
                  </a:lnTo>
                  <a:lnTo>
                    <a:pt x="120" y="390"/>
                  </a:lnTo>
                  <a:lnTo>
                    <a:pt x="114" y="384"/>
                  </a:lnTo>
                  <a:lnTo>
                    <a:pt x="102" y="414"/>
                  </a:lnTo>
                  <a:lnTo>
                    <a:pt x="114" y="438"/>
                  </a:lnTo>
                  <a:lnTo>
                    <a:pt x="114" y="450"/>
                  </a:lnTo>
                  <a:lnTo>
                    <a:pt x="126" y="462"/>
                  </a:lnTo>
                  <a:lnTo>
                    <a:pt x="132" y="474"/>
                  </a:lnTo>
                  <a:lnTo>
                    <a:pt x="132" y="480"/>
                  </a:lnTo>
                  <a:lnTo>
                    <a:pt x="120" y="492"/>
                  </a:lnTo>
                  <a:lnTo>
                    <a:pt x="114" y="492"/>
                  </a:lnTo>
                  <a:lnTo>
                    <a:pt x="132" y="516"/>
                  </a:lnTo>
                  <a:lnTo>
                    <a:pt x="138" y="552"/>
                  </a:lnTo>
                  <a:lnTo>
                    <a:pt x="114" y="558"/>
                  </a:lnTo>
                  <a:lnTo>
                    <a:pt x="132" y="576"/>
                  </a:lnTo>
                  <a:lnTo>
                    <a:pt x="132" y="636"/>
                  </a:lnTo>
                  <a:lnTo>
                    <a:pt x="120" y="642"/>
                  </a:lnTo>
                  <a:lnTo>
                    <a:pt x="114" y="654"/>
                  </a:lnTo>
                  <a:lnTo>
                    <a:pt x="114" y="678"/>
                  </a:lnTo>
                  <a:lnTo>
                    <a:pt x="138" y="702"/>
                  </a:lnTo>
                  <a:lnTo>
                    <a:pt x="138" y="720"/>
                  </a:lnTo>
                  <a:lnTo>
                    <a:pt x="132" y="732"/>
                  </a:lnTo>
                  <a:lnTo>
                    <a:pt x="120" y="738"/>
                  </a:lnTo>
                  <a:lnTo>
                    <a:pt x="114" y="750"/>
                  </a:lnTo>
                  <a:lnTo>
                    <a:pt x="102" y="756"/>
                  </a:lnTo>
                  <a:lnTo>
                    <a:pt x="96" y="762"/>
                  </a:lnTo>
                  <a:lnTo>
                    <a:pt x="114" y="774"/>
                  </a:lnTo>
                  <a:lnTo>
                    <a:pt x="84" y="798"/>
                  </a:lnTo>
                  <a:lnTo>
                    <a:pt x="66" y="798"/>
                  </a:lnTo>
                  <a:lnTo>
                    <a:pt x="54" y="804"/>
                  </a:lnTo>
                  <a:lnTo>
                    <a:pt x="36" y="810"/>
                  </a:lnTo>
                  <a:lnTo>
                    <a:pt x="30" y="822"/>
                  </a:lnTo>
                  <a:lnTo>
                    <a:pt x="30" y="846"/>
                  </a:lnTo>
                  <a:lnTo>
                    <a:pt x="36" y="852"/>
                  </a:lnTo>
                  <a:lnTo>
                    <a:pt x="36" y="858"/>
                  </a:lnTo>
                  <a:lnTo>
                    <a:pt x="6" y="858"/>
                  </a:lnTo>
                  <a:lnTo>
                    <a:pt x="0" y="864"/>
                  </a:lnTo>
                  <a:lnTo>
                    <a:pt x="0" y="876"/>
                  </a:lnTo>
                  <a:lnTo>
                    <a:pt x="6" y="888"/>
                  </a:lnTo>
                  <a:lnTo>
                    <a:pt x="18" y="894"/>
                  </a:lnTo>
                  <a:lnTo>
                    <a:pt x="24" y="906"/>
                  </a:lnTo>
                  <a:lnTo>
                    <a:pt x="36" y="912"/>
                  </a:lnTo>
                  <a:close/>
                </a:path>
              </a:pathLst>
            </a:custGeom>
            <a:solidFill>
              <a:schemeClr val="accent5"/>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31" name="Kenya" descr="© INSCALE GmbH, 05.05.2010&#10;http://www.presentationload.com/">
              <a:extLst>
                <a:ext uri="{FF2B5EF4-FFF2-40B4-BE49-F238E27FC236}">
                  <a16:creationId xmlns:a16="http://schemas.microsoft.com/office/drawing/2014/main" id="{99C86867-81C1-4DCB-BF18-33244C54A500}"/>
                </a:ext>
              </a:extLst>
            </p:cNvPr>
            <p:cNvSpPr>
              <a:spLocks/>
            </p:cNvSpPr>
            <p:nvPr/>
          </p:nvSpPr>
          <p:spPr bwMode="gray">
            <a:xfrm>
              <a:off x="5092125" y="4102099"/>
              <a:ext cx="222659" cy="302629"/>
            </a:xfrm>
            <a:custGeom>
              <a:avLst/>
              <a:gdLst>
                <a:gd name="T0" fmla="*/ 2147483647 w 564"/>
                <a:gd name="T1" fmla="*/ 2147483647 h 762"/>
                <a:gd name="T2" fmla="*/ 2147483647 w 564"/>
                <a:gd name="T3" fmla="*/ 2147483647 h 762"/>
                <a:gd name="T4" fmla="*/ 2147483647 w 564"/>
                <a:gd name="T5" fmla="*/ 2147483647 h 762"/>
                <a:gd name="T6" fmla="*/ 2147483647 w 564"/>
                <a:gd name="T7" fmla="*/ 2147483647 h 762"/>
                <a:gd name="T8" fmla="*/ 2147483647 w 564"/>
                <a:gd name="T9" fmla="*/ 2147483647 h 762"/>
                <a:gd name="T10" fmla="*/ 2147483647 w 564"/>
                <a:gd name="T11" fmla="*/ 2147483647 h 762"/>
                <a:gd name="T12" fmla="*/ 2147483647 w 564"/>
                <a:gd name="T13" fmla="*/ 2147483647 h 762"/>
                <a:gd name="T14" fmla="*/ 2147483647 w 564"/>
                <a:gd name="T15" fmla="*/ 2147483647 h 762"/>
                <a:gd name="T16" fmla="*/ 2147483647 w 564"/>
                <a:gd name="T17" fmla="*/ 2147483647 h 762"/>
                <a:gd name="T18" fmla="*/ 2147483647 w 564"/>
                <a:gd name="T19" fmla="*/ 2147483647 h 762"/>
                <a:gd name="T20" fmla="*/ 2147483647 w 564"/>
                <a:gd name="T21" fmla="*/ 2147483647 h 762"/>
                <a:gd name="T22" fmla="*/ 2147483647 w 564"/>
                <a:gd name="T23" fmla="*/ 2147483647 h 762"/>
                <a:gd name="T24" fmla="*/ 2147483647 w 564"/>
                <a:gd name="T25" fmla="*/ 0 h 762"/>
                <a:gd name="T26" fmla="*/ 2147483647 w 564"/>
                <a:gd name="T27" fmla="*/ 2147483647 h 762"/>
                <a:gd name="T28" fmla="*/ 2147483647 w 564"/>
                <a:gd name="T29" fmla="*/ 2147483647 h 762"/>
                <a:gd name="T30" fmla="*/ 2147483647 w 564"/>
                <a:gd name="T31" fmla="*/ 2147483647 h 762"/>
                <a:gd name="T32" fmla="*/ 2147483647 w 564"/>
                <a:gd name="T33" fmla="*/ 2147483647 h 762"/>
                <a:gd name="T34" fmla="*/ 2147483647 w 564"/>
                <a:gd name="T35" fmla="*/ 2147483647 h 762"/>
                <a:gd name="T36" fmla="*/ 2147483647 w 564"/>
                <a:gd name="T37" fmla="*/ 2147483647 h 762"/>
                <a:gd name="T38" fmla="*/ 2147483647 w 564"/>
                <a:gd name="T39" fmla="*/ 2147483647 h 762"/>
                <a:gd name="T40" fmla="*/ 2147483647 w 564"/>
                <a:gd name="T41" fmla="*/ 2147483647 h 762"/>
                <a:gd name="T42" fmla="*/ 2147483647 w 564"/>
                <a:gd name="T43" fmla="*/ 2147483647 h 762"/>
                <a:gd name="T44" fmla="*/ 2147483647 w 564"/>
                <a:gd name="T45" fmla="*/ 2147483647 h 762"/>
                <a:gd name="T46" fmla="*/ 2147483647 w 564"/>
                <a:gd name="T47" fmla="*/ 2147483647 h 762"/>
                <a:gd name="T48" fmla="*/ 2147483647 w 564"/>
                <a:gd name="T49" fmla="*/ 2147483647 h 762"/>
                <a:gd name="T50" fmla="*/ 2147483647 w 564"/>
                <a:gd name="T51" fmla="*/ 2147483647 h 762"/>
                <a:gd name="T52" fmla="*/ 2147483647 w 564"/>
                <a:gd name="T53" fmla="*/ 2147483647 h 762"/>
                <a:gd name="T54" fmla="*/ 2147483647 w 564"/>
                <a:gd name="T55" fmla="*/ 2147483647 h 762"/>
                <a:gd name="T56" fmla="*/ 2147483647 w 564"/>
                <a:gd name="T57" fmla="*/ 2147483647 h 762"/>
                <a:gd name="T58" fmla="*/ 0 w 564"/>
                <a:gd name="T59" fmla="*/ 2147483647 h 762"/>
                <a:gd name="T60" fmla="*/ 2147483647 w 564"/>
                <a:gd name="T61" fmla="*/ 2147483647 h 762"/>
                <a:gd name="T62" fmla="*/ 2147483647 w 564"/>
                <a:gd name="T63" fmla="*/ 2147483647 h 762"/>
                <a:gd name="T64" fmla="*/ 2147483647 w 564"/>
                <a:gd name="T65" fmla="*/ 2147483647 h 762"/>
                <a:gd name="T66" fmla="*/ 2147483647 w 564"/>
                <a:gd name="T67" fmla="*/ 2147483647 h 762"/>
                <a:gd name="T68" fmla="*/ 2147483647 w 564"/>
                <a:gd name="T69" fmla="*/ 2147483647 h 762"/>
                <a:gd name="T70" fmla="*/ 0 w 564"/>
                <a:gd name="T71" fmla="*/ 2147483647 h 762"/>
                <a:gd name="T72" fmla="*/ 2147483647 w 564"/>
                <a:gd name="T73" fmla="*/ 2147483647 h 762"/>
                <a:gd name="T74" fmla="*/ 2147483647 w 564"/>
                <a:gd name="T75" fmla="*/ 2147483647 h 762"/>
                <a:gd name="T76" fmla="*/ 2147483647 w 564"/>
                <a:gd name="T77" fmla="*/ 2147483647 h 762"/>
                <a:gd name="T78" fmla="*/ 2147483647 w 564"/>
                <a:gd name="T79" fmla="*/ 2147483647 h 762"/>
                <a:gd name="T80" fmla="*/ 2147483647 w 564"/>
                <a:gd name="T81" fmla="*/ 2147483647 h 762"/>
                <a:gd name="T82" fmla="*/ 2147483647 w 564"/>
                <a:gd name="T83" fmla="*/ 2147483647 h 762"/>
                <a:gd name="T84" fmla="*/ 2147483647 w 564"/>
                <a:gd name="T85" fmla="*/ 2147483647 h 762"/>
                <a:gd name="T86" fmla="*/ 2147483647 w 564"/>
                <a:gd name="T87" fmla="*/ 2147483647 h 762"/>
                <a:gd name="T88" fmla="*/ 2147483647 w 564"/>
                <a:gd name="T89" fmla="*/ 2147483647 h 762"/>
                <a:gd name="T90" fmla="*/ 2147483647 w 564"/>
                <a:gd name="T91" fmla="*/ 2147483647 h 762"/>
                <a:gd name="T92" fmla="*/ 2147483647 w 564"/>
                <a:gd name="T93" fmla="*/ 2147483647 h 762"/>
                <a:gd name="T94" fmla="*/ 2147483647 w 564"/>
                <a:gd name="T95" fmla="*/ 2147483647 h 762"/>
                <a:gd name="T96" fmla="*/ 2147483647 w 564"/>
                <a:gd name="T97" fmla="*/ 2147483647 h 762"/>
                <a:gd name="T98" fmla="*/ 2147483647 w 564"/>
                <a:gd name="T99" fmla="*/ 2147483647 h 762"/>
                <a:gd name="T100" fmla="*/ 2147483647 w 564"/>
                <a:gd name="T101" fmla="*/ 2147483647 h 76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64"/>
                <a:gd name="T154" fmla="*/ 0 h 762"/>
                <a:gd name="T155" fmla="*/ 564 w 564"/>
                <a:gd name="T156" fmla="*/ 762 h 76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64" h="762">
                  <a:moveTo>
                    <a:pt x="498" y="150"/>
                  </a:moveTo>
                  <a:lnTo>
                    <a:pt x="540" y="108"/>
                  </a:lnTo>
                  <a:lnTo>
                    <a:pt x="558" y="72"/>
                  </a:lnTo>
                  <a:lnTo>
                    <a:pt x="564" y="66"/>
                  </a:lnTo>
                  <a:lnTo>
                    <a:pt x="564" y="60"/>
                  </a:lnTo>
                  <a:lnTo>
                    <a:pt x="540" y="54"/>
                  </a:lnTo>
                  <a:lnTo>
                    <a:pt x="534" y="60"/>
                  </a:lnTo>
                  <a:lnTo>
                    <a:pt x="504" y="60"/>
                  </a:lnTo>
                  <a:lnTo>
                    <a:pt x="480" y="30"/>
                  </a:lnTo>
                  <a:lnTo>
                    <a:pt x="462" y="48"/>
                  </a:lnTo>
                  <a:lnTo>
                    <a:pt x="456" y="48"/>
                  </a:lnTo>
                  <a:lnTo>
                    <a:pt x="450" y="54"/>
                  </a:lnTo>
                  <a:lnTo>
                    <a:pt x="438" y="60"/>
                  </a:lnTo>
                  <a:lnTo>
                    <a:pt x="426" y="60"/>
                  </a:lnTo>
                  <a:lnTo>
                    <a:pt x="414" y="72"/>
                  </a:lnTo>
                  <a:lnTo>
                    <a:pt x="414" y="84"/>
                  </a:lnTo>
                  <a:lnTo>
                    <a:pt x="390" y="102"/>
                  </a:lnTo>
                  <a:lnTo>
                    <a:pt x="378" y="96"/>
                  </a:lnTo>
                  <a:lnTo>
                    <a:pt x="372" y="96"/>
                  </a:lnTo>
                  <a:lnTo>
                    <a:pt x="360" y="90"/>
                  </a:lnTo>
                  <a:lnTo>
                    <a:pt x="330" y="90"/>
                  </a:lnTo>
                  <a:lnTo>
                    <a:pt x="318" y="84"/>
                  </a:lnTo>
                  <a:lnTo>
                    <a:pt x="288" y="84"/>
                  </a:lnTo>
                  <a:lnTo>
                    <a:pt x="210" y="24"/>
                  </a:lnTo>
                  <a:lnTo>
                    <a:pt x="138" y="18"/>
                  </a:lnTo>
                  <a:lnTo>
                    <a:pt x="132" y="0"/>
                  </a:lnTo>
                  <a:lnTo>
                    <a:pt x="108" y="12"/>
                  </a:lnTo>
                  <a:lnTo>
                    <a:pt x="18" y="12"/>
                  </a:lnTo>
                  <a:lnTo>
                    <a:pt x="0" y="42"/>
                  </a:lnTo>
                  <a:lnTo>
                    <a:pt x="6" y="48"/>
                  </a:lnTo>
                  <a:lnTo>
                    <a:pt x="12" y="60"/>
                  </a:lnTo>
                  <a:lnTo>
                    <a:pt x="12" y="84"/>
                  </a:lnTo>
                  <a:lnTo>
                    <a:pt x="18" y="84"/>
                  </a:lnTo>
                  <a:lnTo>
                    <a:pt x="24" y="90"/>
                  </a:lnTo>
                  <a:lnTo>
                    <a:pt x="24" y="84"/>
                  </a:lnTo>
                  <a:lnTo>
                    <a:pt x="30" y="84"/>
                  </a:lnTo>
                  <a:lnTo>
                    <a:pt x="30" y="96"/>
                  </a:lnTo>
                  <a:lnTo>
                    <a:pt x="24" y="102"/>
                  </a:lnTo>
                  <a:lnTo>
                    <a:pt x="24" y="108"/>
                  </a:lnTo>
                  <a:lnTo>
                    <a:pt x="42" y="126"/>
                  </a:lnTo>
                  <a:lnTo>
                    <a:pt x="36" y="132"/>
                  </a:lnTo>
                  <a:lnTo>
                    <a:pt x="72" y="174"/>
                  </a:lnTo>
                  <a:lnTo>
                    <a:pt x="66" y="180"/>
                  </a:lnTo>
                  <a:lnTo>
                    <a:pt x="60" y="180"/>
                  </a:lnTo>
                  <a:lnTo>
                    <a:pt x="54" y="186"/>
                  </a:lnTo>
                  <a:lnTo>
                    <a:pt x="54" y="192"/>
                  </a:lnTo>
                  <a:lnTo>
                    <a:pt x="66" y="216"/>
                  </a:lnTo>
                  <a:lnTo>
                    <a:pt x="72" y="222"/>
                  </a:lnTo>
                  <a:lnTo>
                    <a:pt x="78" y="234"/>
                  </a:lnTo>
                  <a:lnTo>
                    <a:pt x="78" y="246"/>
                  </a:lnTo>
                  <a:lnTo>
                    <a:pt x="66" y="258"/>
                  </a:lnTo>
                  <a:lnTo>
                    <a:pt x="60" y="282"/>
                  </a:lnTo>
                  <a:lnTo>
                    <a:pt x="42" y="282"/>
                  </a:lnTo>
                  <a:lnTo>
                    <a:pt x="36" y="288"/>
                  </a:lnTo>
                  <a:lnTo>
                    <a:pt x="36" y="312"/>
                  </a:lnTo>
                  <a:lnTo>
                    <a:pt x="18" y="324"/>
                  </a:lnTo>
                  <a:lnTo>
                    <a:pt x="12" y="342"/>
                  </a:lnTo>
                  <a:lnTo>
                    <a:pt x="6" y="348"/>
                  </a:lnTo>
                  <a:lnTo>
                    <a:pt x="0" y="360"/>
                  </a:lnTo>
                  <a:lnTo>
                    <a:pt x="0" y="384"/>
                  </a:lnTo>
                  <a:lnTo>
                    <a:pt x="18" y="402"/>
                  </a:lnTo>
                  <a:lnTo>
                    <a:pt x="30" y="402"/>
                  </a:lnTo>
                  <a:lnTo>
                    <a:pt x="30" y="390"/>
                  </a:lnTo>
                  <a:lnTo>
                    <a:pt x="54" y="390"/>
                  </a:lnTo>
                  <a:lnTo>
                    <a:pt x="60" y="408"/>
                  </a:lnTo>
                  <a:lnTo>
                    <a:pt x="42" y="408"/>
                  </a:lnTo>
                  <a:lnTo>
                    <a:pt x="30" y="420"/>
                  </a:lnTo>
                  <a:lnTo>
                    <a:pt x="24" y="414"/>
                  </a:lnTo>
                  <a:lnTo>
                    <a:pt x="18" y="414"/>
                  </a:lnTo>
                  <a:lnTo>
                    <a:pt x="6" y="420"/>
                  </a:lnTo>
                  <a:lnTo>
                    <a:pt x="0" y="432"/>
                  </a:lnTo>
                  <a:lnTo>
                    <a:pt x="0" y="438"/>
                  </a:lnTo>
                  <a:lnTo>
                    <a:pt x="12" y="450"/>
                  </a:lnTo>
                  <a:lnTo>
                    <a:pt x="6" y="468"/>
                  </a:lnTo>
                  <a:lnTo>
                    <a:pt x="258" y="624"/>
                  </a:lnTo>
                  <a:lnTo>
                    <a:pt x="270" y="636"/>
                  </a:lnTo>
                  <a:lnTo>
                    <a:pt x="270" y="642"/>
                  </a:lnTo>
                  <a:lnTo>
                    <a:pt x="264" y="648"/>
                  </a:lnTo>
                  <a:lnTo>
                    <a:pt x="258" y="648"/>
                  </a:lnTo>
                  <a:lnTo>
                    <a:pt x="252" y="654"/>
                  </a:lnTo>
                  <a:lnTo>
                    <a:pt x="366" y="762"/>
                  </a:lnTo>
                  <a:lnTo>
                    <a:pt x="384" y="756"/>
                  </a:lnTo>
                  <a:lnTo>
                    <a:pt x="414" y="690"/>
                  </a:lnTo>
                  <a:lnTo>
                    <a:pt x="414" y="660"/>
                  </a:lnTo>
                  <a:lnTo>
                    <a:pt x="426" y="648"/>
                  </a:lnTo>
                  <a:lnTo>
                    <a:pt x="432" y="648"/>
                  </a:lnTo>
                  <a:lnTo>
                    <a:pt x="444" y="636"/>
                  </a:lnTo>
                  <a:lnTo>
                    <a:pt x="444" y="624"/>
                  </a:lnTo>
                  <a:lnTo>
                    <a:pt x="438" y="618"/>
                  </a:lnTo>
                  <a:lnTo>
                    <a:pt x="438" y="600"/>
                  </a:lnTo>
                  <a:lnTo>
                    <a:pt x="444" y="594"/>
                  </a:lnTo>
                  <a:lnTo>
                    <a:pt x="456" y="588"/>
                  </a:lnTo>
                  <a:lnTo>
                    <a:pt x="468" y="588"/>
                  </a:lnTo>
                  <a:lnTo>
                    <a:pt x="474" y="582"/>
                  </a:lnTo>
                  <a:lnTo>
                    <a:pt x="480" y="582"/>
                  </a:lnTo>
                  <a:lnTo>
                    <a:pt x="486" y="540"/>
                  </a:lnTo>
                  <a:lnTo>
                    <a:pt x="516" y="540"/>
                  </a:lnTo>
                  <a:lnTo>
                    <a:pt x="528" y="534"/>
                  </a:lnTo>
                  <a:lnTo>
                    <a:pt x="534" y="522"/>
                  </a:lnTo>
                  <a:lnTo>
                    <a:pt x="540" y="516"/>
                  </a:lnTo>
                  <a:lnTo>
                    <a:pt x="498" y="450"/>
                  </a:lnTo>
                  <a:lnTo>
                    <a:pt x="498" y="15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32" name="Kazakhstan" descr="© INSCALE GmbH, 05.05.2010&#10;http://www.presentationload.com/">
              <a:extLst>
                <a:ext uri="{FF2B5EF4-FFF2-40B4-BE49-F238E27FC236}">
                  <a16:creationId xmlns:a16="http://schemas.microsoft.com/office/drawing/2014/main" id="{69D1E184-12AF-4432-915A-EEDE202648C2}"/>
                </a:ext>
              </a:extLst>
            </p:cNvPr>
            <p:cNvSpPr>
              <a:spLocks noEditPoints="1"/>
            </p:cNvSpPr>
            <p:nvPr/>
          </p:nvSpPr>
          <p:spPr bwMode="gray">
            <a:xfrm>
              <a:off x="5319488" y="2491740"/>
              <a:ext cx="1000399" cy="462567"/>
            </a:xfrm>
            <a:custGeom>
              <a:avLst/>
              <a:gdLst>
                <a:gd name="T0" fmla="*/ 2147483647 w 2514"/>
                <a:gd name="T1" fmla="*/ 2147483647 h 1164"/>
                <a:gd name="T2" fmla="*/ 2147483647 w 2514"/>
                <a:gd name="T3" fmla="*/ 2147483647 h 1164"/>
                <a:gd name="T4" fmla="*/ 2147483647 w 2514"/>
                <a:gd name="T5" fmla="*/ 2147483647 h 1164"/>
                <a:gd name="T6" fmla="*/ 2147483647 w 2514"/>
                <a:gd name="T7" fmla="*/ 2147483647 h 1164"/>
                <a:gd name="T8" fmla="*/ 2147483647 w 2514"/>
                <a:gd name="T9" fmla="*/ 2147483647 h 1164"/>
                <a:gd name="T10" fmla="*/ 2147483647 w 2514"/>
                <a:gd name="T11" fmla="*/ 2147483647 h 1164"/>
                <a:gd name="T12" fmla="*/ 2147483647 w 2514"/>
                <a:gd name="T13" fmla="*/ 2147483647 h 1164"/>
                <a:gd name="T14" fmla="*/ 2147483647 w 2514"/>
                <a:gd name="T15" fmla="*/ 2147483647 h 1164"/>
                <a:gd name="T16" fmla="*/ 2147483647 w 2514"/>
                <a:gd name="T17" fmla="*/ 2147483647 h 1164"/>
                <a:gd name="T18" fmla="*/ 2147483647 w 2514"/>
                <a:gd name="T19" fmla="*/ 2147483647 h 1164"/>
                <a:gd name="T20" fmla="*/ 2147483647 w 2514"/>
                <a:gd name="T21" fmla="*/ 2147483647 h 1164"/>
                <a:gd name="T22" fmla="*/ 2147483647 w 2514"/>
                <a:gd name="T23" fmla="*/ 2147483647 h 1164"/>
                <a:gd name="T24" fmla="*/ 2147483647 w 2514"/>
                <a:gd name="T25" fmla="*/ 2147483647 h 1164"/>
                <a:gd name="T26" fmla="*/ 2147483647 w 2514"/>
                <a:gd name="T27" fmla="*/ 2147483647 h 1164"/>
                <a:gd name="T28" fmla="*/ 2147483647 w 2514"/>
                <a:gd name="T29" fmla="*/ 2147483647 h 1164"/>
                <a:gd name="T30" fmla="*/ 2147483647 w 2514"/>
                <a:gd name="T31" fmla="*/ 2147483647 h 1164"/>
                <a:gd name="T32" fmla="*/ 2147483647 w 2514"/>
                <a:gd name="T33" fmla="*/ 2147483647 h 1164"/>
                <a:gd name="T34" fmla="*/ 2147483647 w 2514"/>
                <a:gd name="T35" fmla="*/ 2147483647 h 1164"/>
                <a:gd name="T36" fmla="*/ 2147483647 w 2514"/>
                <a:gd name="T37" fmla="*/ 2147483647 h 1164"/>
                <a:gd name="T38" fmla="*/ 2147483647 w 2514"/>
                <a:gd name="T39" fmla="*/ 2147483647 h 1164"/>
                <a:gd name="T40" fmla="*/ 2147483647 w 2514"/>
                <a:gd name="T41" fmla="*/ 2147483647 h 1164"/>
                <a:gd name="T42" fmla="*/ 2147483647 w 2514"/>
                <a:gd name="T43" fmla="*/ 2147483647 h 1164"/>
                <a:gd name="T44" fmla="*/ 2147483647 w 2514"/>
                <a:gd name="T45" fmla="*/ 2147483647 h 1164"/>
                <a:gd name="T46" fmla="*/ 2147483647 w 2514"/>
                <a:gd name="T47" fmla="*/ 2147483647 h 1164"/>
                <a:gd name="T48" fmla="*/ 2147483647 w 2514"/>
                <a:gd name="T49" fmla="*/ 2147483647 h 1164"/>
                <a:gd name="T50" fmla="*/ 2147483647 w 2514"/>
                <a:gd name="T51" fmla="*/ 2147483647 h 1164"/>
                <a:gd name="T52" fmla="*/ 2147483647 w 2514"/>
                <a:gd name="T53" fmla="*/ 2147483647 h 1164"/>
                <a:gd name="T54" fmla="*/ 2147483647 w 2514"/>
                <a:gd name="T55" fmla="*/ 2147483647 h 1164"/>
                <a:gd name="T56" fmla="*/ 2147483647 w 2514"/>
                <a:gd name="T57" fmla="*/ 2147483647 h 1164"/>
                <a:gd name="T58" fmla="*/ 2147483647 w 2514"/>
                <a:gd name="T59" fmla="*/ 2147483647 h 1164"/>
                <a:gd name="T60" fmla="*/ 2147483647 w 2514"/>
                <a:gd name="T61" fmla="*/ 2147483647 h 1164"/>
                <a:gd name="T62" fmla="*/ 2147483647 w 2514"/>
                <a:gd name="T63" fmla="*/ 2147483647 h 1164"/>
                <a:gd name="T64" fmla="*/ 2147483647 w 2514"/>
                <a:gd name="T65" fmla="*/ 2147483647 h 1164"/>
                <a:gd name="T66" fmla="*/ 2147483647 w 2514"/>
                <a:gd name="T67" fmla="*/ 2147483647 h 1164"/>
                <a:gd name="T68" fmla="*/ 2147483647 w 2514"/>
                <a:gd name="T69" fmla="*/ 2147483647 h 1164"/>
                <a:gd name="T70" fmla="*/ 2147483647 w 2514"/>
                <a:gd name="T71" fmla="*/ 2147483647 h 1164"/>
                <a:gd name="T72" fmla="*/ 2147483647 w 2514"/>
                <a:gd name="T73" fmla="*/ 2147483647 h 1164"/>
                <a:gd name="T74" fmla="*/ 2147483647 w 2514"/>
                <a:gd name="T75" fmla="*/ 2147483647 h 1164"/>
                <a:gd name="T76" fmla="*/ 2147483647 w 2514"/>
                <a:gd name="T77" fmla="*/ 2147483647 h 1164"/>
                <a:gd name="T78" fmla="*/ 2147483647 w 2514"/>
                <a:gd name="T79" fmla="*/ 2147483647 h 1164"/>
                <a:gd name="T80" fmla="*/ 2147483647 w 2514"/>
                <a:gd name="T81" fmla="*/ 2147483647 h 1164"/>
                <a:gd name="T82" fmla="*/ 2147483647 w 2514"/>
                <a:gd name="T83" fmla="*/ 2147483647 h 1164"/>
                <a:gd name="T84" fmla="*/ 2147483647 w 2514"/>
                <a:gd name="T85" fmla="*/ 2147483647 h 1164"/>
                <a:gd name="T86" fmla="*/ 2147483647 w 2514"/>
                <a:gd name="T87" fmla="*/ 2147483647 h 1164"/>
                <a:gd name="T88" fmla="*/ 2147483647 w 2514"/>
                <a:gd name="T89" fmla="*/ 2147483647 h 1164"/>
                <a:gd name="T90" fmla="*/ 2147483647 w 2514"/>
                <a:gd name="T91" fmla="*/ 2147483647 h 1164"/>
                <a:gd name="T92" fmla="*/ 2147483647 w 2514"/>
                <a:gd name="T93" fmla="*/ 2147483647 h 1164"/>
                <a:gd name="T94" fmla="*/ 2147483647 w 2514"/>
                <a:gd name="T95" fmla="*/ 2147483647 h 1164"/>
                <a:gd name="T96" fmla="*/ 2147483647 w 2514"/>
                <a:gd name="T97" fmla="*/ 2147483647 h 1164"/>
                <a:gd name="T98" fmla="*/ 2147483647 w 2514"/>
                <a:gd name="T99" fmla="*/ 2147483647 h 1164"/>
                <a:gd name="T100" fmla="*/ 2147483647 w 2514"/>
                <a:gd name="T101" fmla="*/ 2147483647 h 1164"/>
                <a:gd name="T102" fmla="*/ 2147483647 w 2514"/>
                <a:gd name="T103" fmla="*/ 2147483647 h 1164"/>
                <a:gd name="T104" fmla="*/ 2147483647 w 2514"/>
                <a:gd name="T105" fmla="*/ 2147483647 h 1164"/>
                <a:gd name="T106" fmla="*/ 2147483647 w 2514"/>
                <a:gd name="T107" fmla="*/ 2147483647 h 1164"/>
                <a:gd name="T108" fmla="*/ 2147483647 w 2514"/>
                <a:gd name="T109" fmla="*/ 2147483647 h 1164"/>
                <a:gd name="T110" fmla="*/ 2147483647 w 2514"/>
                <a:gd name="T111" fmla="*/ 2147483647 h 1164"/>
                <a:gd name="T112" fmla="*/ 2147483647 w 2514"/>
                <a:gd name="T113" fmla="*/ 2147483647 h 1164"/>
                <a:gd name="T114" fmla="*/ 2147483647 w 2514"/>
                <a:gd name="T115" fmla="*/ 2147483647 h 1164"/>
                <a:gd name="T116" fmla="*/ 2147483647 w 2514"/>
                <a:gd name="T117" fmla="*/ 2147483647 h 1164"/>
                <a:gd name="T118" fmla="*/ 2147483647 w 2514"/>
                <a:gd name="T119" fmla="*/ 2147483647 h 1164"/>
                <a:gd name="T120" fmla="*/ 2147483647 w 2514"/>
                <a:gd name="T121" fmla="*/ 2147483647 h 1164"/>
                <a:gd name="T122" fmla="*/ 2147483647 w 2514"/>
                <a:gd name="T123" fmla="*/ 2147483647 h 11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4"/>
                <a:gd name="T187" fmla="*/ 0 h 1164"/>
                <a:gd name="T188" fmla="*/ 2514 w 2514"/>
                <a:gd name="T189" fmla="*/ 1164 h 11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4" h="1164">
                  <a:moveTo>
                    <a:pt x="852" y="756"/>
                  </a:moveTo>
                  <a:lnTo>
                    <a:pt x="840" y="744"/>
                  </a:lnTo>
                  <a:lnTo>
                    <a:pt x="822" y="768"/>
                  </a:lnTo>
                  <a:lnTo>
                    <a:pt x="816" y="780"/>
                  </a:lnTo>
                  <a:lnTo>
                    <a:pt x="870" y="804"/>
                  </a:lnTo>
                  <a:lnTo>
                    <a:pt x="870" y="786"/>
                  </a:lnTo>
                  <a:lnTo>
                    <a:pt x="864" y="780"/>
                  </a:lnTo>
                  <a:lnTo>
                    <a:pt x="858" y="768"/>
                  </a:lnTo>
                  <a:lnTo>
                    <a:pt x="858" y="762"/>
                  </a:lnTo>
                  <a:lnTo>
                    <a:pt x="852" y="756"/>
                  </a:lnTo>
                  <a:close/>
                  <a:moveTo>
                    <a:pt x="2484" y="492"/>
                  </a:moveTo>
                  <a:lnTo>
                    <a:pt x="2484" y="486"/>
                  </a:lnTo>
                  <a:lnTo>
                    <a:pt x="2514" y="486"/>
                  </a:lnTo>
                  <a:lnTo>
                    <a:pt x="2478" y="444"/>
                  </a:lnTo>
                  <a:lnTo>
                    <a:pt x="2454" y="420"/>
                  </a:lnTo>
                  <a:lnTo>
                    <a:pt x="2442" y="456"/>
                  </a:lnTo>
                  <a:lnTo>
                    <a:pt x="2370" y="450"/>
                  </a:lnTo>
                  <a:lnTo>
                    <a:pt x="2370" y="444"/>
                  </a:lnTo>
                  <a:lnTo>
                    <a:pt x="2364" y="438"/>
                  </a:lnTo>
                  <a:lnTo>
                    <a:pt x="2358" y="426"/>
                  </a:lnTo>
                  <a:lnTo>
                    <a:pt x="2352" y="420"/>
                  </a:lnTo>
                  <a:lnTo>
                    <a:pt x="2346" y="408"/>
                  </a:lnTo>
                  <a:lnTo>
                    <a:pt x="2346" y="402"/>
                  </a:lnTo>
                  <a:lnTo>
                    <a:pt x="2340" y="402"/>
                  </a:lnTo>
                  <a:lnTo>
                    <a:pt x="2328" y="396"/>
                  </a:lnTo>
                  <a:lnTo>
                    <a:pt x="2316" y="396"/>
                  </a:lnTo>
                  <a:lnTo>
                    <a:pt x="2304" y="390"/>
                  </a:lnTo>
                  <a:lnTo>
                    <a:pt x="2292" y="390"/>
                  </a:lnTo>
                  <a:lnTo>
                    <a:pt x="2286" y="378"/>
                  </a:lnTo>
                  <a:lnTo>
                    <a:pt x="2274" y="372"/>
                  </a:lnTo>
                  <a:lnTo>
                    <a:pt x="2250" y="348"/>
                  </a:lnTo>
                  <a:lnTo>
                    <a:pt x="2226" y="336"/>
                  </a:lnTo>
                  <a:lnTo>
                    <a:pt x="2208" y="336"/>
                  </a:lnTo>
                  <a:lnTo>
                    <a:pt x="2196" y="342"/>
                  </a:lnTo>
                  <a:lnTo>
                    <a:pt x="2178" y="348"/>
                  </a:lnTo>
                  <a:lnTo>
                    <a:pt x="2166" y="354"/>
                  </a:lnTo>
                  <a:lnTo>
                    <a:pt x="2160" y="366"/>
                  </a:lnTo>
                  <a:lnTo>
                    <a:pt x="2136" y="366"/>
                  </a:lnTo>
                  <a:lnTo>
                    <a:pt x="2124" y="360"/>
                  </a:lnTo>
                  <a:lnTo>
                    <a:pt x="2118" y="348"/>
                  </a:lnTo>
                  <a:lnTo>
                    <a:pt x="2106" y="342"/>
                  </a:lnTo>
                  <a:lnTo>
                    <a:pt x="2076" y="342"/>
                  </a:lnTo>
                  <a:lnTo>
                    <a:pt x="2076" y="336"/>
                  </a:lnTo>
                  <a:lnTo>
                    <a:pt x="2070" y="330"/>
                  </a:lnTo>
                  <a:lnTo>
                    <a:pt x="2070" y="318"/>
                  </a:lnTo>
                  <a:lnTo>
                    <a:pt x="2064" y="312"/>
                  </a:lnTo>
                  <a:lnTo>
                    <a:pt x="2052" y="312"/>
                  </a:lnTo>
                  <a:lnTo>
                    <a:pt x="2052" y="318"/>
                  </a:lnTo>
                  <a:lnTo>
                    <a:pt x="2046" y="324"/>
                  </a:lnTo>
                  <a:lnTo>
                    <a:pt x="2046" y="336"/>
                  </a:lnTo>
                  <a:lnTo>
                    <a:pt x="2034" y="348"/>
                  </a:lnTo>
                  <a:lnTo>
                    <a:pt x="2022" y="354"/>
                  </a:lnTo>
                  <a:lnTo>
                    <a:pt x="2010" y="354"/>
                  </a:lnTo>
                  <a:lnTo>
                    <a:pt x="1998" y="348"/>
                  </a:lnTo>
                  <a:lnTo>
                    <a:pt x="1986" y="336"/>
                  </a:lnTo>
                  <a:lnTo>
                    <a:pt x="1974" y="318"/>
                  </a:lnTo>
                  <a:lnTo>
                    <a:pt x="1938" y="282"/>
                  </a:lnTo>
                  <a:lnTo>
                    <a:pt x="1920" y="258"/>
                  </a:lnTo>
                  <a:lnTo>
                    <a:pt x="1848" y="198"/>
                  </a:lnTo>
                  <a:lnTo>
                    <a:pt x="1818" y="168"/>
                  </a:lnTo>
                  <a:lnTo>
                    <a:pt x="1800" y="156"/>
                  </a:lnTo>
                  <a:lnTo>
                    <a:pt x="1788" y="150"/>
                  </a:lnTo>
                  <a:lnTo>
                    <a:pt x="1758" y="132"/>
                  </a:lnTo>
                  <a:lnTo>
                    <a:pt x="1728" y="120"/>
                  </a:lnTo>
                  <a:lnTo>
                    <a:pt x="1692" y="102"/>
                  </a:lnTo>
                  <a:lnTo>
                    <a:pt x="1698" y="102"/>
                  </a:lnTo>
                  <a:lnTo>
                    <a:pt x="1710" y="90"/>
                  </a:lnTo>
                  <a:lnTo>
                    <a:pt x="1710" y="72"/>
                  </a:lnTo>
                  <a:lnTo>
                    <a:pt x="1704" y="66"/>
                  </a:lnTo>
                  <a:lnTo>
                    <a:pt x="1698" y="66"/>
                  </a:lnTo>
                  <a:lnTo>
                    <a:pt x="1680" y="84"/>
                  </a:lnTo>
                  <a:lnTo>
                    <a:pt x="1644" y="96"/>
                  </a:lnTo>
                  <a:lnTo>
                    <a:pt x="1632" y="114"/>
                  </a:lnTo>
                  <a:lnTo>
                    <a:pt x="1620" y="114"/>
                  </a:lnTo>
                  <a:lnTo>
                    <a:pt x="1608" y="120"/>
                  </a:lnTo>
                  <a:lnTo>
                    <a:pt x="1602" y="126"/>
                  </a:lnTo>
                  <a:lnTo>
                    <a:pt x="1602" y="144"/>
                  </a:lnTo>
                  <a:lnTo>
                    <a:pt x="1590" y="156"/>
                  </a:lnTo>
                  <a:lnTo>
                    <a:pt x="1578" y="150"/>
                  </a:lnTo>
                  <a:lnTo>
                    <a:pt x="1572" y="144"/>
                  </a:lnTo>
                  <a:lnTo>
                    <a:pt x="1560" y="138"/>
                  </a:lnTo>
                  <a:lnTo>
                    <a:pt x="1554" y="132"/>
                  </a:lnTo>
                  <a:lnTo>
                    <a:pt x="1548" y="132"/>
                  </a:lnTo>
                  <a:lnTo>
                    <a:pt x="1542" y="138"/>
                  </a:lnTo>
                  <a:lnTo>
                    <a:pt x="1536" y="138"/>
                  </a:lnTo>
                  <a:lnTo>
                    <a:pt x="1530" y="144"/>
                  </a:lnTo>
                  <a:lnTo>
                    <a:pt x="1524" y="144"/>
                  </a:lnTo>
                  <a:lnTo>
                    <a:pt x="1524" y="138"/>
                  </a:lnTo>
                  <a:lnTo>
                    <a:pt x="1530" y="132"/>
                  </a:lnTo>
                  <a:lnTo>
                    <a:pt x="1530" y="108"/>
                  </a:lnTo>
                  <a:lnTo>
                    <a:pt x="1518" y="102"/>
                  </a:lnTo>
                  <a:lnTo>
                    <a:pt x="1512" y="102"/>
                  </a:lnTo>
                  <a:lnTo>
                    <a:pt x="1506" y="108"/>
                  </a:lnTo>
                  <a:lnTo>
                    <a:pt x="1482" y="96"/>
                  </a:lnTo>
                  <a:lnTo>
                    <a:pt x="1458" y="108"/>
                  </a:lnTo>
                  <a:lnTo>
                    <a:pt x="1434" y="72"/>
                  </a:lnTo>
                  <a:lnTo>
                    <a:pt x="1422" y="90"/>
                  </a:lnTo>
                  <a:lnTo>
                    <a:pt x="1404" y="90"/>
                  </a:lnTo>
                  <a:lnTo>
                    <a:pt x="1392" y="96"/>
                  </a:lnTo>
                  <a:lnTo>
                    <a:pt x="1374" y="96"/>
                  </a:lnTo>
                  <a:lnTo>
                    <a:pt x="1368" y="90"/>
                  </a:lnTo>
                  <a:lnTo>
                    <a:pt x="1368" y="48"/>
                  </a:lnTo>
                  <a:lnTo>
                    <a:pt x="1362" y="42"/>
                  </a:lnTo>
                  <a:lnTo>
                    <a:pt x="1350" y="42"/>
                  </a:lnTo>
                  <a:lnTo>
                    <a:pt x="1344" y="36"/>
                  </a:lnTo>
                  <a:lnTo>
                    <a:pt x="1338" y="24"/>
                  </a:lnTo>
                  <a:lnTo>
                    <a:pt x="1320" y="6"/>
                  </a:lnTo>
                  <a:lnTo>
                    <a:pt x="1314" y="6"/>
                  </a:lnTo>
                  <a:lnTo>
                    <a:pt x="1302" y="18"/>
                  </a:lnTo>
                  <a:lnTo>
                    <a:pt x="1290" y="18"/>
                  </a:lnTo>
                  <a:lnTo>
                    <a:pt x="1278" y="6"/>
                  </a:lnTo>
                  <a:lnTo>
                    <a:pt x="1260" y="6"/>
                  </a:lnTo>
                  <a:lnTo>
                    <a:pt x="1242" y="0"/>
                  </a:lnTo>
                  <a:lnTo>
                    <a:pt x="1218" y="0"/>
                  </a:lnTo>
                  <a:lnTo>
                    <a:pt x="1200" y="6"/>
                  </a:lnTo>
                  <a:lnTo>
                    <a:pt x="1188" y="12"/>
                  </a:lnTo>
                  <a:lnTo>
                    <a:pt x="1176" y="24"/>
                  </a:lnTo>
                  <a:lnTo>
                    <a:pt x="1176" y="36"/>
                  </a:lnTo>
                  <a:lnTo>
                    <a:pt x="1164" y="36"/>
                  </a:lnTo>
                  <a:lnTo>
                    <a:pt x="1110" y="54"/>
                  </a:lnTo>
                  <a:lnTo>
                    <a:pt x="1020" y="54"/>
                  </a:lnTo>
                  <a:lnTo>
                    <a:pt x="1014" y="60"/>
                  </a:lnTo>
                  <a:lnTo>
                    <a:pt x="1014" y="78"/>
                  </a:lnTo>
                  <a:lnTo>
                    <a:pt x="948" y="78"/>
                  </a:lnTo>
                  <a:lnTo>
                    <a:pt x="942" y="96"/>
                  </a:lnTo>
                  <a:lnTo>
                    <a:pt x="888" y="96"/>
                  </a:lnTo>
                  <a:lnTo>
                    <a:pt x="828" y="102"/>
                  </a:lnTo>
                  <a:lnTo>
                    <a:pt x="792" y="114"/>
                  </a:lnTo>
                  <a:lnTo>
                    <a:pt x="780" y="126"/>
                  </a:lnTo>
                  <a:lnTo>
                    <a:pt x="780" y="132"/>
                  </a:lnTo>
                  <a:lnTo>
                    <a:pt x="786" y="138"/>
                  </a:lnTo>
                  <a:lnTo>
                    <a:pt x="786" y="144"/>
                  </a:lnTo>
                  <a:lnTo>
                    <a:pt x="810" y="144"/>
                  </a:lnTo>
                  <a:lnTo>
                    <a:pt x="798" y="162"/>
                  </a:lnTo>
                  <a:lnTo>
                    <a:pt x="810" y="162"/>
                  </a:lnTo>
                  <a:lnTo>
                    <a:pt x="834" y="174"/>
                  </a:lnTo>
                  <a:lnTo>
                    <a:pt x="846" y="174"/>
                  </a:lnTo>
                  <a:lnTo>
                    <a:pt x="858" y="186"/>
                  </a:lnTo>
                  <a:lnTo>
                    <a:pt x="804" y="186"/>
                  </a:lnTo>
                  <a:lnTo>
                    <a:pt x="792" y="198"/>
                  </a:lnTo>
                  <a:lnTo>
                    <a:pt x="798" y="204"/>
                  </a:lnTo>
                  <a:lnTo>
                    <a:pt x="804" y="216"/>
                  </a:lnTo>
                  <a:lnTo>
                    <a:pt x="810" y="222"/>
                  </a:lnTo>
                  <a:lnTo>
                    <a:pt x="810" y="234"/>
                  </a:lnTo>
                  <a:lnTo>
                    <a:pt x="798" y="246"/>
                  </a:lnTo>
                  <a:lnTo>
                    <a:pt x="786" y="246"/>
                  </a:lnTo>
                  <a:lnTo>
                    <a:pt x="774" y="252"/>
                  </a:lnTo>
                  <a:lnTo>
                    <a:pt x="762" y="252"/>
                  </a:lnTo>
                  <a:lnTo>
                    <a:pt x="792" y="282"/>
                  </a:lnTo>
                  <a:lnTo>
                    <a:pt x="816" y="282"/>
                  </a:lnTo>
                  <a:lnTo>
                    <a:pt x="834" y="288"/>
                  </a:lnTo>
                  <a:lnTo>
                    <a:pt x="846" y="294"/>
                  </a:lnTo>
                  <a:lnTo>
                    <a:pt x="870" y="318"/>
                  </a:lnTo>
                  <a:lnTo>
                    <a:pt x="876" y="336"/>
                  </a:lnTo>
                  <a:lnTo>
                    <a:pt x="876" y="348"/>
                  </a:lnTo>
                  <a:lnTo>
                    <a:pt x="870" y="360"/>
                  </a:lnTo>
                  <a:lnTo>
                    <a:pt x="864" y="366"/>
                  </a:lnTo>
                  <a:lnTo>
                    <a:pt x="828" y="366"/>
                  </a:lnTo>
                  <a:lnTo>
                    <a:pt x="816" y="360"/>
                  </a:lnTo>
                  <a:lnTo>
                    <a:pt x="810" y="354"/>
                  </a:lnTo>
                  <a:lnTo>
                    <a:pt x="798" y="354"/>
                  </a:lnTo>
                  <a:lnTo>
                    <a:pt x="792" y="348"/>
                  </a:lnTo>
                  <a:lnTo>
                    <a:pt x="780" y="372"/>
                  </a:lnTo>
                  <a:lnTo>
                    <a:pt x="768" y="372"/>
                  </a:lnTo>
                  <a:lnTo>
                    <a:pt x="756" y="366"/>
                  </a:lnTo>
                  <a:lnTo>
                    <a:pt x="732" y="366"/>
                  </a:lnTo>
                  <a:lnTo>
                    <a:pt x="708" y="354"/>
                  </a:lnTo>
                  <a:lnTo>
                    <a:pt x="702" y="342"/>
                  </a:lnTo>
                  <a:lnTo>
                    <a:pt x="690" y="336"/>
                  </a:lnTo>
                  <a:lnTo>
                    <a:pt x="684" y="330"/>
                  </a:lnTo>
                  <a:lnTo>
                    <a:pt x="672" y="330"/>
                  </a:lnTo>
                  <a:lnTo>
                    <a:pt x="666" y="336"/>
                  </a:lnTo>
                  <a:lnTo>
                    <a:pt x="654" y="342"/>
                  </a:lnTo>
                  <a:lnTo>
                    <a:pt x="636" y="348"/>
                  </a:lnTo>
                  <a:lnTo>
                    <a:pt x="624" y="348"/>
                  </a:lnTo>
                  <a:lnTo>
                    <a:pt x="588" y="330"/>
                  </a:lnTo>
                  <a:lnTo>
                    <a:pt x="582" y="330"/>
                  </a:lnTo>
                  <a:lnTo>
                    <a:pt x="570" y="336"/>
                  </a:lnTo>
                  <a:lnTo>
                    <a:pt x="558" y="348"/>
                  </a:lnTo>
                  <a:lnTo>
                    <a:pt x="546" y="354"/>
                  </a:lnTo>
                  <a:lnTo>
                    <a:pt x="540" y="366"/>
                  </a:lnTo>
                  <a:lnTo>
                    <a:pt x="534" y="372"/>
                  </a:lnTo>
                  <a:lnTo>
                    <a:pt x="462" y="336"/>
                  </a:lnTo>
                  <a:lnTo>
                    <a:pt x="450" y="336"/>
                  </a:lnTo>
                  <a:lnTo>
                    <a:pt x="450" y="342"/>
                  </a:lnTo>
                  <a:lnTo>
                    <a:pt x="462" y="354"/>
                  </a:lnTo>
                  <a:lnTo>
                    <a:pt x="462" y="372"/>
                  </a:lnTo>
                  <a:lnTo>
                    <a:pt x="450" y="372"/>
                  </a:lnTo>
                  <a:lnTo>
                    <a:pt x="438" y="360"/>
                  </a:lnTo>
                  <a:lnTo>
                    <a:pt x="438" y="354"/>
                  </a:lnTo>
                  <a:lnTo>
                    <a:pt x="426" y="324"/>
                  </a:lnTo>
                  <a:lnTo>
                    <a:pt x="390" y="324"/>
                  </a:lnTo>
                  <a:lnTo>
                    <a:pt x="384" y="312"/>
                  </a:lnTo>
                  <a:lnTo>
                    <a:pt x="384" y="306"/>
                  </a:lnTo>
                  <a:lnTo>
                    <a:pt x="378" y="300"/>
                  </a:lnTo>
                  <a:lnTo>
                    <a:pt x="318" y="300"/>
                  </a:lnTo>
                  <a:lnTo>
                    <a:pt x="312" y="288"/>
                  </a:lnTo>
                  <a:lnTo>
                    <a:pt x="306" y="282"/>
                  </a:lnTo>
                  <a:lnTo>
                    <a:pt x="288" y="282"/>
                  </a:lnTo>
                  <a:lnTo>
                    <a:pt x="276" y="288"/>
                  </a:lnTo>
                  <a:lnTo>
                    <a:pt x="264" y="300"/>
                  </a:lnTo>
                  <a:lnTo>
                    <a:pt x="234" y="300"/>
                  </a:lnTo>
                  <a:lnTo>
                    <a:pt x="228" y="294"/>
                  </a:lnTo>
                  <a:lnTo>
                    <a:pt x="228" y="288"/>
                  </a:lnTo>
                  <a:lnTo>
                    <a:pt x="222" y="288"/>
                  </a:lnTo>
                  <a:lnTo>
                    <a:pt x="210" y="282"/>
                  </a:lnTo>
                  <a:lnTo>
                    <a:pt x="180" y="282"/>
                  </a:lnTo>
                  <a:lnTo>
                    <a:pt x="180" y="288"/>
                  </a:lnTo>
                  <a:lnTo>
                    <a:pt x="186" y="294"/>
                  </a:lnTo>
                  <a:lnTo>
                    <a:pt x="186" y="312"/>
                  </a:lnTo>
                  <a:lnTo>
                    <a:pt x="174" y="324"/>
                  </a:lnTo>
                  <a:lnTo>
                    <a:pt x="162" y="330"/>
                  </a:lnTo>
                  <a:lnTo>
                    <a:pt x="150" y="330"/>
                  </a:lnTo>
                  <a:lnTo>
                    <a:pt x="138" y="336"/>
                  </a:lnTo>
                  <a:lnTo>
                    <a:pt x="132" y="336"/>
                  </a:lnTo>
                  <a:lnTo>
                    <a:pt x="132" y="360"/>
                  </a:lnTo>
                  <a:lnTo>
                    <a:pt x="102" y="372"/>
                  </a:lnTo>
                  <a:lnTo>
                    <a:pt x="114" y="384"/>
                  </a:lnTo>
                  <a:lnTo>
                    <a:pt x="120" y="396"/>
                  </a:lnTo>
                  <a:lnTo>
                    <a:pt x="114" y="402"/>
                  </a:lnTo>
                  <a:lnTo>
                    <a:pt x="108" y="414"/>
                  </a:lnTo>
                  <a:lnTo>
                    <a:pt x="102" y="420"/>
                  </a:lnTo>
                  <a:lnTo>
                    <a:pt x="90" y="420"/>
                  </a:lnTo>
                  <a:lnTo>
                    <a:pt x="78" y="414"/>
                  </a:lnTo>
                  <a:lnTo>
                    <a:pt x="72" y="402"/>
                  </a:lnTo>
                  <a:lnTo>
                    <a:pt x="60" y="396"/>
                  </a:lnTo>
                  <a:lnTo>
                    <a:pt x="48" y="384"/>
                  </a:lnTo>
                  <a:lnTo>
                    <a:pt x="36" y="378"/>
                  </a:lnTo>
                  <a:lnTo>
                    <a:pt x="24" y="378"/>
                  </a:lnTo>
                  <a:lnTo>
                    <a:pt x="18" y="384"/>
                  </a:lnTo>
                  <a:lnTo>
                    <a:pt x="18" y="396"/>
                  </a:lnTo>
                  <a:lnTo>
                    <a:pt x="24" y="402"/>
                  </a:lnTo>
                  <a:lnTo>
                    <a:pt x="24" y="426"/>
                  </a:lnTo>
                  <a:lnTo>
                    <a:pt x="0" y="426"/>
                  </a:lnTo>
                  <a:lnTo>
                    <a:pt x="6" y="462"/>
                  </a:lnTo>
                  <a:lnTo>
                    <a:pt x="12" y="468"/>
                  </a:lnTo>
                  <a:lnTo>
                    <a:pt x="12" y="492"/>
                  </a:lnTo>
                  <a:lnTo>
                    <a:pt x="0" y="516"/>
                  </a:lnTo>
                  <a:lnTo>
                    <a:pt x="0" y="546"/>
                  </a:lnTo>
                  <a:lnTo>
                    <a:pt x="6" y="546"/>
                  </a:lnTo>
                  <a:lnTo>
                    <a:pt x="12" y="552"/>
                  </a:lnTo>
                  <a:lnTo>
                    <a:pt x="36" y="552"/>
                  </a:lnTo>
                  <a:lnTo>
                    <a:pt x="42" y="558"/>
                  </a:lnTo>
                  <a:lnTo>
                    <a:pt x="42" y="588"/>
                  </a:lnTo>
                  <a:lnTo>
                    <a:pt x="48" y="594"/>
                  </a:lnTo>
                  <a:lnTo>
                    <a:pt x="90" y="594"/>
                  </a:lnTo>
                  <a:lnTo>
                    <a:pt x="102" y="588"/>
                  </a:lnTo>
                  <a:lnTo>
                    <a:pt x="114" y="588"/>
                  </a:lnTo>
                  <a:lnTo>
                    <a:pt x="162" y="636"/>
                  </a:lnTo>
                  <a:lnTo>
                    <a:pt x="168" y="648"/>
                  </a:lnTo>
                  <a:lnTo>
                    <a:pt x="180" y="660"/>
                  </a:lnTo>
                  <a:lnTo>
                    <a:pt x="180" y="672"/>
                  </a:lnTo>
                  <a:lnTo>
                    <a:pt x="144" y="672"/>
                  </a:lnTo>
                  <a:lnTo>
                    <a:pt x="144" y="678"/>
                  </a:lnTo>
                  <a:lnTo>
                    <a:pt x="156" y="690"/>
                  </a:lnTo>
                  <a:lnTo>
                    <a:pt x="174" y="696"/>
                  </a:lnTo>
                  <a:lnTo>
                    <a:pt x="186" y="696"/>
                  </a:lnTo>
                  <a:lnTo>
                    <a:pt x="192" y="702"/>
                  </a:lnTo>
                  <a:lnTo>
                    <a:pt x="198" y="702"/>
                  </a:lnTo>
                  <a:lnTo>
                    <a:pt x="204" y="690"/>
                  </a:lnTo>
                  <a:lnTo>
                    <a:pt x="222" y="690"/>
                  </a:lnTo>
                  <a:lnTo>
                    <a:pt x="228" y="684"/>
                  </a:lnTo>
                  <a:lnTo>
                    <a:pt x="246" y="672"/>
                  </a:lnTo>
                  <a:lnTo>
                    <a:pt x="306" y="648"/>
                  </a:lnTo>
                  <a:lnTo>
                    <a:pt x="324" y="642"/>
                  </a:lnTo>
                  <a:lnTo>
                    <a:pt x="336" y="648"/>
                  </a:lnTo>
                  <a:lnTo>
                    <a:pt x="342" y="654"/>
                  </a:lnTo>
                  <a:lnTo>
                    <a:pt x="360" y="666"/>
                  </a:lnTo>
                  <a:lnTo>
                    <a:pt x="366" y="672"/>
                  </a:lnTo>
                  <a:lnTo>
                    <a:pt x="384" y="672"/>
                  </a:lnTo>
                  <a:lnTo>
                    <a:pt x="390" y="666"/>
                  </a:lnTo>
                  <a:lnTo>
                    <a:pt x="402" y="666"/>
                  </a:lnTo>
                  <a:lnTo>
                    <a:pt x="408" y="660"/>
                  </a:lnTo>
                  <a:lnTo>
                    <a:pt x="414" y="666"/>
                  </a:lnTo>
                  <a:lnTo>
                    <a:pt x="426" y="672"/>
                  </a:lnTo>
                  <a:lnTo>
                    <a:pt x="450" y="696"/>
                  </a:lnTo>
                  <a:lnTo>
                    <a:pt x="450" y="726"/>
                  </a:lnTo>
                  <a:lnTo>
                    <a:pt x="444" y="732"/>
                  </a:lnTo>
                  <a:lnTo>
                    <a:pt x="444" y="738"/>
                  </a:lnTo>
                  <a:lnTo>
                    <a:pt x="438" y="744"/>
                  </a:lnTo>
                  <a:lnTo>
                    <a:pt x="438" y="750"/>
                  </a:lnTo>
                  <a:lnTo>
                    <a:pt x="444" y="756"/>
                  </a:lnTo>
                  <a:lnTo>
                    <a:pt x="450" y="768"/>
                  </a:lnTo>
                  <a:lnTo>
                    <a:pt x="462" y="774"/>
                  </a:lnTo>
                  <a:lnTo>
                    <a:pt x="474" y="786"/>
                  </a:lnTo>
                  <a:lnTo>
                    <a:pt x="486" y="786"/>
                  </a:lnTo>
                  <a:lnTo>
                    <a:pt x="504" y="768"/>
                  </a:lnTo>
                  <a:lnTo>
                    <a:pt x="516" y="762"/>
                  </a:lnTo>
                  <a:lnTo>
                    <a:pt x="528" y="762"/>
                  </a:lnTo>
                  <a:lnTo>
                    <a:pt x="528" y="792"/>
                  </a:lnTo>
                  <a:lnTo>
                    <a:pt x="546" y="810"/>
                  </a:lnTo>
                  <a:lnTo>
                    <a:pt x="510" y="816"/>
                  </a:lnTo>
                  <a:lnTo>
                    <a:pt x="510" y="828"/>
                  </a:lnTo>
                  <a:lnTo>
                    <a:pt x="504" y="834"/>
                  </a:lnTo>
                  <a:lnTo>
                    <a:pt x="498" y="834"/>
                  </a:lnTo>
                  <a:lnTo>
                    <a:pt x="486" y="822"/>
                  </a:lnTo>
                  <a:lnTo>
                    <a:pt x="486" y="816"/>
                  </a:lnTo>
                  <a:lnTo>
                    <a:pt x="498" y="804"/>
                  </a:lnTo>
                  <a:lnTo>
                    <a:pt x="504" y="804"/>
                  </a:lnTo>
                  <a:lnTo>
                    <a:pt x="510" y="798"/>
                  </a:lnTo>
                  <a:lnTo>
                    <a:pt x="480" y="798"/>
                  </a:lnTo>
                  <a:lnTo>
                    <a:pt x="462" y="792"/>
                  </a:lnTo>
                  <a:lnTo>
                    <a:pt x="450" y="792"/>
                  </a:lnTo>
                  <a:lnTo>
                    <a:pt x="432" y="786"/>
                  </a:lnTo>
                  <a:lnTo>
                    <a:pt x="408" y="786"/>
                  </a:lnTo>
                  <a:lnTo>
                    <a:pt x="390" y="780"/>
                  </a:lnTo>
                  <a:lnTo>
                    <a:pt x="372" y="780"/>
                  </a:lnTo>
                  <a:lnTo>
                    <a:pt x="360" y="774"/>
                  </a:lnTo>
                  <a:lnTo>
                    <a:pt x="348" y="774"/>
                  </a:lnTo>
                  <a:lnTo>
                    <a:pt x="360" y="804"/>
                  </a:lnTo>
                  <a:lnTo>
                    <a:pt x="342" y="804"/>
                  </a:lnTo>
                  <a:lnTo>
                    <a:pt x="330" y="816"/>
                  </a:lnTo>
                  <a:lnTo>
                    <a:pt x="330" y="822"/>
                  </a:lnTo>
                  <a:lnTo>
                    <a:pt x="336" y="828"/>
                  </a:lnTo>
                  <a:lnTo>
                    <a:pt x="348" y="834"/>
                  </a:lnTo>
                  <a:lnTo>
                    <a:pt x="354" y="840"/>
                  </a:lnTo>
                  <a:lnTo>
                    <a:pt x="366" y="840"/>
                  </a:lnTo>
                  <a:lnTo>
                    <a:pt x="372" y="846"/>
                  </a:lnTo>
                  <a:lnTo>
                    <a:pt x="372" y="852"/>
                  </a:lnTo>
                  <a:lnTo>
                    <a:pt x="360" y="852"/>
                  </a:lnTo>
                  <a:lnTo>
                    <a:pt x="348" y="846"/>
                  </a:lnTo>
                  <a:lnTo>
                    <a:pt x="336" y="846"/>
                  </a:lnTo>
                  <a:lnTo>
                    <a:pt x="324" y="840"/>
                  </a:lnTo>
                  <a:lnTo>
                    <a:pt x="306" y="834"/>
                  </a:lnTo>
                  <a:lnTo>
                    <a:pt x="300" y="834"/>
                  </a:lnTo>
                  <a:lnTo>
                    <a:pt x="294" y="840"/>
                  </a:lnTo>
                  <a:lnTo>
                    <a:pt x="294" y="846"/>
                  </a:lnTo>
                  <a:lnTo>
                    <a:pt x="306" y="858"/>
                  </a:lnTo>
                  <a:lnTo>
                    <a:pt x="318" y="864"/>
                  </a:lnTo>
                  <a:lnTo>
                    <a:pt x="324" y="870"/>
                  </a:lnTo>
                  <a:lnTo>
                    <a:pt x="336" y="870"/>
                  </a:lnTo>
                  <a:lnTo>
                    <a:pt x="336" y="882"/>
                  </a:lnTo>
                  <a:lnTo>
                    <a:pt x="342" y="894"/>
                  </a:lnTo>
                  <a:lnTo>
                    <a:pt x="366" y="918"/>
                  </a:lnTo>
                  <a:lnTo>
                    <a:pt x="372" y="930"/>
                  </a:lnTo>
                  <a:lnTo>
                    <a:pt x="372" y="954"/>
                  </a:lnTo>
                  <a:lnTo>
                    <a:pt x="408" y="960"/>
                  </a:lnTo>
                  <a:lnTo>
                    <a:pt x="414" y="978"/>
                  </a:lnTo>
                  <a:lnTo>
                    <a:pt x="444" y="978"/>
                  </a:lnTo>
                  <a:lnTo>
                    <a:pt x="480" y="996"/>
                  </a:lnTo>
                  <a:lnTo>
                    <a:pt x="486" y="1002"/>
                  </a:lnTo>
                  <a:lnTo>
                    <a:pt x="486" y="1014"/>
                  </a:lnTo>
                  <a:lnTo>
                    <a:pt x="480" y="1020"/>
                  </a:lnTo>
                  <a:lnTo>
                    <a:pt x="468" y="1026"/>
                  </a:lnTo>
                  <a:lnTo>
                    <a:pt x="462" y="1038"/>
                  </a:lnTo>
                  <a:lnTo>
                    <a:pt x="462" y="1056"/>
                  </a:lnTo>
                  <a:lnTo>
                    <a:pt x="468" y="1062"/>
                  </a:lnTo>
                  <a:lnTo>
                    <a:pt x="492" y="1062"/>
                  </a:lnTo>
                  <a:lnTo>
                    <a:pt x="498" y="1056"/>
                  </a:lnTo>
                  <a:lnTo>
                    <a:pt x="504" y="1038"/>
                  </a:lnTo>
                  <a:lnTo>
                    <a:pt x="510" y="1026"/>
                  </a:lnTo>
                  <a:lnTo>
                    <a:pt x="516" y="1020"/>
                  </a:lnTo>
                  <a:lnTo>
                    <a:pt x="528" y="1020"/>
                  </a:lnTo>
                  <a:lnTo>
                    <a:pt x="546" y="1026"/>
                  </a:lnTo>
                  <a:lnTo>
                    <a:pt x="546" y="1020"/>
                  </a:lnTo>
                  <a:lnTo>
                    <a:pt x="552" y="1014"/>
                  </a:lnTo>
                  <a:lnTo>
                    <a:pt x="570" y="1014"/>
                  </a:lnTo>
                  <a:lnTo>
                    <a:pt x="594" y="1026"/>
                  </a:lnTo>
                  <a:lnTo>
                    <a:pt x="606" y="1026"/>
                  </a:lnTo>
                  <a:lnTo>
                    <a:pt x="618" y="1038"/>
                  </a:lnTo>
                  <a:lnTo>
                    <a:pt x="630" y="1044"/>
                  </a:lnTo>
                  <a:lnTo>
                    <a:pt x="636" y="1056"/>
                  </a:lnTo>
                  <a:lnTo>
                    <a:pt x="642" y="1062"/>
                  </a:lnTo>
                  <a:lnTo>
                    <a:pt x="648" y="1074"/>
                  </a:lnTo>
                  <a:lnTo>
                    <a:pt x="672" y="1098"/>
                  </a:lnTo>
                  <a:lnTo>
                    <a:pt x="684" y="1104"/>
                  </a:lnTo>
                  <a:lnTo>
                    <a:pt x="690" y="1110"/>
                  </a:lnTo>
                  <a:lnTo>
                    <a:pt x="696" y="1104"/>
                  </a:lnTo>
                  <a:lnTo>
                    <a:pt x="696" y="1098"/>
                  </a:lnTo>
                  <a:lnTo>
                    <a:pt x="702" y="1092"/>
                  </a:lnTo>
                  <a:lnTo>
                    <a:pt x="654" y="810"/>
                  </a:lnTo>
                  <a:lnTo>
                    <a:pt x="798" y="768"/>
                  </a:lnTo>
                  <a:lnTo>
                    <a:pt x="804" y="774"/>
                  </a:lnTo>
                  <a:lnTo>
                    <a:pt x="804" y="762"/>
                  </a:lnTo>
                  <a:lnTo>
                    <a:pt x="810" y="756"/>
                  </a:lnTo>
                  <a:lnTo>
                    <a:pt x="810" y="750"/>
                  </a:lnTo>
                  <a:lnTo>
                    <a:pt x="816" y="738"/>
                  </a:lnTo>
                  <a:lnTo>
                    <a:pt x="816" y="732"/>
                  </a:lnTo>
                  <a:lnTo>
                    <a:pt x="822" y="726"/>
                  </a:lnTo>
                  <a:lnTo>
                    <a:pt x="846" y="726"/>
                  </a:lnTo>
                  <a:lnTo>
                    <a:pt x="852" y="750"/>
                  </a:lnTo>
                  <a:lnTo>
                    <a:pt x="864" y="744"/>
                  </a:lnTo>
                  <a:lnTo>
                    <a:pt x="870" y="744"/>
                  </a:lnTo>
                  <a:lnTo>
                    <a:pt x="876" y="738"/>
                  </a:lnTo>
                  <a:lnTo>
                    <a:pt x="876" y="732"/>
                  </a:lnTo>
                  <a:lnTo>
                    <a:pt x="852" y="708"/>
                  </a:lnTo>
                  <a:lnTo>
                    <a:pt x="870" y="708"/>
                  </a:lnTo>
                  <a:lnTo>
                    <a:pt x="882" y="720"/>
                  </a:lnTo>
                  <a:lnTo>
                    <a:pt x="936" y="720"/>
                  </a:lnTo>
                  <a:lnTo>
                    <a:pt x="924" y="708"/>
                  </a:lnTo>
                  <a:lnTo>
                    <a:pt x="918" y="708"/>
                  </a:lnTo>
                  <a:lnTo>
                    <a:pt x="906" y="696"/>
                  </a:lnTo>
                  <a:lnTo>
                    <a:pt x="882" y="696"/>
                  </a:lnTo>
                  <a:lnTo>
                    <a:pt x="876" y="690"/>
                  </a:lnTo>
                  <a:lnTo>
                    <a:pt x="876" y="684"/>
                  </a:lnTo>
                  <a:lnTo>
                    <a:pt x="882" y="678"/>
                  </a:lnTo>
                  <a:lnTo>
                    <a:pt x="906" y="678"/>
                  </a:lnTo>
                  <a:lnTo>
                    <a:pt x="924" y="666"/>
                  </a:lnTo>
                  <a:lnTo>
                    <a:pt x="930" y="672"/>
                  </a:lnTo>
                  <a:lnTo>
                    <a:pt x="936" y="684"/>
                  </a:lnTo>
                  <a:lnTo>
                    <a:pt x="942" y="690"/>
                  </a:lnTo>
                  <a:lnTo>
                    <a:pt x="948" y="690"/>
                  </a:lnTo>
                  <a:lnTo>
                    <a:pt x="954" y="684"/>
                  </a:lnTo>
                  <a:lnTo>
                    <a:pt x="960" y="690"/>
                  </a:lnTo>
                  <a:lnTo>
                    <a:pt x="966" y="702"/>
                  </a:lnTo>
                  <a:lnTo>
                    <a:pt x="966" y="708"/>
                  </a:lnTo>
                  <a:lnTo>
                    <a:pt x="960" y="714"/>
                  </a:lnTo>
                  <a:lnTo>
                    <a:pt x="954" y="714"/>
                  </a:lnTo>
                  <a:lnTo>
                    <a:pt x="942" y="720"/>
                  </a:lnTo>
                  <a:lnTo>
                    <a:pt x="924" y="738"/>
                  </a:lnTo>
                  <a:lnTo>
                    <a:pt x="888" y="738"/>
                  </a:lnTo>
                  <a:lnTo>
                    <a:pt x="882" y="744"/>
                  </a:lnTo>
                  <a:lnTo>
                    <a:pt x="882" y="756"/>
                  </a:lnTo>
                  <a:lnTo>
                    <a:pt x="888" y="762"/>
                  </a:lnTo>
                  <a:lnTo>
                    <a:pt x="900" y="762"/>
                  </a:lnTo>
                  <a:lnTo>
                    <a:pt x="906" y="768"/>
                  </a:lnTo>
                  <a:lnTo>
                    <a:pt x="918" y="768"/>
                  </a:lnTo>
                  <a:lnTo>
                    <a:pt x="918" y="786"/>
                  </a:lnTo>
                  <a:lnTo>
                    <a:pt x="912" y="798"/>
                  </a:lnTo>
                  <a:lnTo>
                    <a:pt x="912" y="816"/>
                  </a:lnTo>
                  <a:lnTo>
                    <a:pt x="918" y="822"/>
                  </a:lnTo>
                  <a:lnTo>
                    <a:pt x="984" y="858"/>
                  </a:lnTo>
                  <a:lnTo>
                    <a:pt x="1062" y="930"/>
                  </a:lnTo>
                  <a:lnTo>
                    <a:pt x="1068" y="930"/>
                  </a:lnTo>
                  <a:lnTo>
                    <a:pt x="1074" y="924"/>
                  </a:lnTo>
                  <a:lnTo>
                    <a:pt x="1110" y="924"/>
                  </a:lnTo>
                  <a:lnTo>
                    <a:pt x="1128" y="918"/>
                  </a:lnTo>
                  <a:lnTo>
                    <a:pt x="1188" y="918"/>
                  </a:lnTo>
                  <a:lnTo>
                    <a:pt x="1206" y="924"/>
                  </a:lnTo>
                  <a:lnTo>
                    <a:pt x="1224" y="924"/>
                  </a:lnTo>
                  <a:lnTo>
                    <a:pt x="1230" y="918"/>
                  </a:lnTo>
                  <a:lnTo>
                    <a:pt x="1254" y="906"/>
                  </a:lnTo>
                  <a:lnTo>
                    <a:pt x="1266" y="906"/>
                  </a:lnTo>
                  <a:lnTo>
                    <a:pt x="1272" y="918"/>
                  </a:lnTo>
                  <a:lnTo>
                    <a:pt x="1290" y="936"/>
                  </a:lnTo>
                  <a:lnTo>
                    <a:pt x="1296" y="954"/>
                  </a:lnTo>
                  <a:lnTo>
                    <a:pt x="1308" y="960"/>
                  </a:lnTo>
                  <a:lnTo>
                    <a:pt x="1314" y="972"/>
                  </a:lnTo>
                  <a:lnTo>
                    <a:pt x="1344" y="972"/>
                  </a:lnTo>
                  <a:lnTo>
                    <a:pt x="1344" y="984"/>
                  </a:lnTo>
                  <a:lnTo>
                    <a:pt x="1350" y="1002"/>
                  </a:lnTo>
                  <a:lnTo>
                    <a:pt x="1350" y="1044"/>
                  </a:lnTo>
                  <a:lnTo>
                    <a:pt x="1356" y="1050"/>
                  </a:lnTo>
                  <a:lnTo>
                    <a:pt x="1362" y="1050"/>
                  </a:lnTo>
                  <a:lnTo>
                    <a:pt x="1368" y="1044"/>
                  </a:lnTo>
                  <a:lnTo>
                    <a:pt x="1380" y="1044"/>
                  </a:lnTo>
                  <a:lnTo>
                    <a:pt x="1386" y="1050"/>
                  </a:lnTo>
                  <a:lnTo>
                    <a:pt x="1416" y="1110"/>
                  </a:lnTo>
                  <a:lnTo>
                    <a:pt x="1494" y="1110"/>
                  </a:lnTo>
                  <a:lnTo>
                    <a:pt x="1512" y="1116"/>
                  </a:lnTo>
                  <a:lnTo>
                    <a:pt x="1512" y="1134"/>
                  </a:lnTo>
                  <a:lnTo>
                    <a:pt x="1506" y="1140"/>
                  </a:lnTo>
                  <a:lnTo>
                    <a:pt x="1506" y="1152"/>
                  </a:lnTo>
                  <a:lnTo>
                    <a:pt x="1512" y="1152"/>
                  </a:lnTo>
                  <a:lnTo>
                    <a:pt x="1524" y="1158"/>
                  </a:lnTo>
                  <a:lnTo>
                    <a:pt x="1536" y="1158"/>
                  </a:lnTo>
                  <a:lnTo>
                    <a:pt x="1542" y="1164"/>
                  </a:lnTo>
                  <a:lnTo>
                    <a:pt x="1542" y="1152"/>
                  </a:lnTo>
                  <a:lnTo>
                    <a:pt x="1536" y="1146"/>
                  </a:lnTo>
                  <a:lnTo>
                    <a:pt x="1536" y="1134"/>
                  </a:lnTo>
                  <a:lnTo>
                    <a:pt x="1548" y="1122"/>
                  </a:lnTo>
                  <a:lnTo>
                    <a:pt x="1560" y="1116"/>
                  </a:lnTo>
                  <a:lnTo>
                    <a:pt x="1566" y="1110"/>
                  </a:lnTo>
                  <a:lnTo>
                    <a:pt x="1572" y="1110"/>
                  </a:lnTo>
                  <a:lnTo>
                    <a:pt x="1572" y="1092"/>
                  </a:lnTo>
                  <a:lnTo>
                    <a:pt x="1584" y="1080"/>
                  </a:lnTo>
                  <a:lnTo>
                    <a:pt x="1596" y="1074"/>
                  </a:lnTo>
                  <a:lnTo>
                    <a:pt x="1608" y="1074"/>
                  </a:lnTo>
                  <a:lnTo>
                    <a:pt x="1614" y="1068"/>
                  </a:lnTo>
                  <a:lnTo>
                    <a:pt x="1620" y="1068"/>
                  </a:lnTo>
                  <a:lnTo>
                    <a:pt x="1632" y="1044"/>
                  </a:lnTo>
                  <a:lnTo>
                    <a:pt x="1656" y="1044"/>
                  </a:lnTo>
                  <a:lnTo>
                    <a:pt x="1686" y="1026"/>
                  </a:lnTo>
                  <a:lnTo>
                    <a:pt x="1662" y="1026"/>
                  </a:lnTo>
                  <a:lnTo>
                    <a:pt x="1662" y="1008"/>
                  </a:lnTo>
                  <a:lnTo>
                    <a:pt x="1668" y="996"/>
                  </a:lnTo>
                  <a:lnTo>
                    <a:pt x="1686" y="978"/>
                  </a:lnTo>
                  <a:lnTo>
                    <a:pt x="1716" y="978"/>
                  </a:lnTo>
                  <a:lnTo>
                    <a:pt x="1728" y="984"/>
                  </a:lnTo>
                  <a:lnTo>
                    <a:pt x="1746" y="990"/>
                  </a:lnTo>
                  <a:lnTo>
                    <a:pt x="1782" y="1008"/>
                  </a:lnTo>
                  <a:lnTo>
                    <a:pt x="1812" y="1008"/>
                  </a:lnTo>
                  <a:lnTo>
                    <a:pt x="1830" y="1014"/>
                  </a:lnTo>
                  <a:lnTo>
                    <a:pt x="1830" y="1002"/>
                  </a:lnTo>
                  <a:lnTo>
                    <a:pt x="1824" y="990"/>
                  </a:lnTo>
                  <a:lnTo>
                    <a:pt x="1824" y="960"/>
                  </a:lnTo>
                  <a:lnTo>
                    <a:pt x="1830" y="954"/>
                  </a:lnTo>
                  <a:lnTo>
                    <a:pt x="1872" y="954"/>
                  </a:lnTo>
                  <a:lnTo>
                    <a:pt x="1884" y="960"/>
                  </a:lnTo>
                  <a:lnTo>
                    <a:pt x="1890" y="972"/>
                  </a:lnTo>
                  <a:lnTo>
                    <a:pt x="1914" y="972"/>
                  </a:lnTo>
                  <a:lnTo>
                    <a:pt x="1926" y="978"/>
                  </a:lnTo>
                  <a:lnTo>
                    <a:pt x="1944" y="978"/>
                  </a:lnTo>
                  <a:lnTo>
                    <a:pt x="1962" y="972"/>
                  </a:lnTo>
                  <a:lnTo>
                    <a:pt x="2082" y="972"/>
                  </a:lnTo>
                  <a:lnTo>
                    <a:pt x="2094" y="978"/>
                  </a:lnTo>
                  <a:lnTo>
                    <a:pt x="2106" y="978"/>
                  </a:lnTo>
                  <a:lnTo>
                    <a:pt x="2154" y="972"/>
                  </a:lnTo>
                  <a:lnTo>
                    <a:pt x="2166" y="984"/>
                  </a:lnTo>
                  <a:lnTo>
                    <a:pt x="2184" y="984"/>
                  </a:lnTo>
                  <a:lnTo>
                    <a:pt x="2208" y="1014"/>
                  </a:lnTo>
                  <a:lnTo>
                    <a:pt x="2250" y="1014"/>
                  </a:lnTo>
                  <a:lnTo>
                    <a:pt x="2268" y="1020"/>
                  </a:lnTo>
                  <a:lnTo>
                    <a:pt x="2262" y="1014"/>
                  </a:lnTo>
                  <a:lnTo>
                    <a:pt x="2262" y="1002"/>
                  </a:lnTo>
                  <a:lnTo>
                    <a:pt x="2256" y="996"/>
                  </a:lnTo>
                  <a:lnTo>
                    <a:pt x="2256" y="984"/>
                  </a:lnTo>
                  <a:lnTo>
                    <a:pt x="2280" y="984"/>
                  </a:lnTo>
                  <a:lnTo>
                    <a:pt x="2262" y="966"/>
                  </a:lnTo>
                  <a:lnTo>
                    <a:pt x="2262" y="960"/>
                  </a:lnTo>
                  <a:lnTo>
                    <a:pt x="2268" y="954"/>
                  </a:lnTo>
                  <a:lnTo>
                    <a:pt x="2286" y="954"/>
                  </a:lnTo>
                  <a:lnTo>
                    <a:pt x="2286" y="942"/>
                  </a:lnTo>
                  <a:lnTo>
                    <a:pt x="2274" y="936"/>
                  </a:lnTo>
                  <a:lnTo>
                    <a:pt x="2268" y="924"/>
                  </a:lnTo>
                  <a:lnTo>
                    <a:pt x="2226" y="882"/>
                  </a:lnTo>
                  <a:lnTo>
                    <a:pt x="2214" y="858"/>
                  </a:lnTo>
                  <a:lnTo>
                    <a:pt x="2214" y="828"/>
                  </a:lnTo>
                  <a:lnTo>
                    <a:pt x="2196" y="828"/>
                  </a:lnTo>
                  <a:lnTo>
                    <a:pt x="2184" y="822"/>
                  </a:lnTo>
                  <a:lnTo>
                    <a:pt x="2178" y="816"/>
                  </a:lnTo>
                  <a:lnTo>
                    <a:pt x="2178" y="810"/>
                  </a:lnTo>
                  <a:lnTo>
                    <a:pt x="2184" y="804"/>
                  </a:lnTo>
                  <a:lnTo>
                    <a:pt x="2196" y="798"/>
                  </a:lnTo>
                  <a:lnTo>
                    <a:pt x="2208" y="798"/>
                  </a:lnTo>
                  <a:lnTo>
                    <a:pt x="2220" y="792"/>
                  </a:lnTo>
                  <a:lnTo>
                    <a:pt x="2232" y="792"/>
                  </a:lnTo>
                  <a:lnTo>
                    <a:pt x="2268" y="774"/>
                  </a:lnTo>
                  <a:lnTo>
                    <a:pt x="2280" y="774"/>
                  </a:lnTo>
                  <a:lnTo>
                    <a:pt x="2286" y="780"/>
                  </a:lnTo>
                  <a:lnTo>
                    <a:pt x="2292" y="792"/>
                  </a:lnTo>
                  <a:lnTo>
                    <a:pt x="2298" y="798"/>
                  </a:lnTo>
                  <a:lnTo>
                    <a:pt x="2316" y="786"/>
                  </a:lnTo>
                  <a:lnTo>
                    <a:pt x="2328" y="798"/>
                  </a:lnTo>
                  <a:lnTo>
                    <a:pt x="2334" y="798"/>
                  </a:lnTo>
                  <a:lnTo>
                    <a:pt x="2340" y="792"/>
                  </a:lnTo>
                  <a:lnTo>
                    <a:pt x="2340" y="780"/>
                  </a:lnTo>
                  <a:lnTo>
                    <a:pt x="2334" y="774"/>
                  </a:lnTo>
                  <a:lnTo>
                    <a:pt x="2328" y="774"/>
                  </a:lnTo>
                  <a:lnTo>
                    <a:pt x="2322" y="768"/>
                  </a:lnTo>
                  <a:lnTo>
                    <a:pt x="2316" y="768"/>
                  </a:lnTo>
                  <a:lnTo>
                    <a:pt x="2316" y="630"/>
                  </a:lnTo>
                  <a:lnTo>
                    <a:pt x="2328" y="630"/>
                  </a:lnTo>
                  <a:lnTo>
                    <a:pt x="2340" y="636"/>
                  </a:lnTo>
                  <a:lnTo>
                    <a:pt x="2352" y="636"/>
                  </a:lnTo>
                  <a:lnTo>
                    <a:pt x="2376" y="648"/>
                  </a:lnTo>
                  <a:lnTo>
                    <a:pt x="2424" y="648"/>
                  </a:lnTo>
                  <a:lnTo>
                    <a:pt x="2436" y="660"/>
                  </a:lnTo>
                  <a:lnTo>
                    <a:pt x="2454" y="642"/>
                  </a:lnTo>
                  <a:lnTo>
                    <a:pt x="2472" y="642"/>
                  </a:lnTo>
                  <a:lnTo>
                    <a:pt x="2478" y="636"/>
                  </a:lnTo>
                  <a:lnTo>
                    <a:pt x="2478" y="618"/>
                  </a:lnTo>
                  <a:lnTo>
                    <a:pt x="2466" y="594"/>
                  </a:lnTo>
                  <a:lnTo>
                    <a:pt x="2454" y="582"/>
                  </a:lnTo>
                  <a:lnTo>
                    <a:pt x="2442" y="558"/>
                  </a:lnTo>
                  <a:lnTo>
                    <a:pt x="2442" y="540"/>
                  </a:lnTo>
                  <a:lnTo>
                    <a:pt x="2454" y="528"/>
                  </a:lnTo>
                  <a:lnTo>
                    <a:pt x="2496" y="528"/>
                  </a:lnTo>
                  <a:lnTo>
                    <a:pt x="2502" y="522"/>
                  </a:lnTo>
                  <a:lnTo>
                    <a:pt x="2502" y="510"/>
                  </a:lnTo>
                  <a:lnTo>
                    <a:pt x="2484" y="492"/>
                  </a:lnTo>
                  <a:close/>
                  <a:moveTo>
                    <a:pt x="2082" y="696"/>
                  </a:moveTo>
                  <a:lnTo>
                    <a:pt x="2046" y="696"/>
                  </a:lnTo>
                  <a:lnTo>
                    <a:pt x="2046" y="702"/>
                  </a:lnTo>
                  <a:lnTo>
                    <a:pt x="2040" y="708"/>
                  </a:lnTo>
                  <a:lnTo>
                    <a:pt x="2028" y="708"/>
                  </a:lnTo>
                  <a:lnTo>
                    <a:pt x="2022" y="702"/>
                  </a:lnTo>
                  <a:lnTo>
                    <a:pt x="2010" y="696"/>
                  </a:lnTo>
                  <a:lnTo>
                    <a:pt x="1980" y="702"/>
                  </a:lnTo>
                  <a:lnTo>
                    <a:pt x="1950" y="696"/>
                  </a:lnTo>
                  <a:lnTo>
                    <a:pt x="1932" y="696"/>
                  </a:lnTo>
                  <a:lnTo>
                    <a:pt x="1908" y="690"/>
                  </a:lnTo>
                  <a:lnTo>
                    <a:pt x="1860" y="690"/>
                  </a:lnTo>
                  <a:lnTo>
                    <a:pt x="1854" y="684"/>
                  </a:lnTo>
                  <a:lnTo>
                    <a:pt x="1854" y="678"/>
                  </a:lnTo>
                  <a:lnTo>
                    <a:pt x="1836" y="696"/>
                  </a:lnTo>
                  <a:lnTo>
                    <a:pt x="1830" y="696"/>
                  </a:lnTo>
                  <a:lnTo>
                    <a:pt x="1824" y="708"/>
                  </a:lnTo>
                  <a:lnTo>
                    <a:pt x="1824" y="714"/>
                  </a:lnTo>
                  <a:lnTo>
                    <a:pt x="1818" y="726"/>
                  </a:lnTo>
                  <a:lnTo>
                    <a:pt x="1812" y="732"/>
                  </a:lnTo>
                  <a:lnTo>
                    <a:pt x="1794" y="732"/>
                  </a:lnTo>
                  <a:lnTo>
                    <a:pt x="1800" y="762"/>
                  </a:lnTo>
                  <a:lnTo>
                    <a:pt x="1788" y="768"/>
                  </a:lnTo>
                  <a:lnTo>
                    <a:pt x="1806" y="786"/>
                  </a:lnTo>
                  <a:lnTo>
                    <a:pt x="1800" y="810"/>
                  </a:lnTo>
                  <a:lnTo>
                    <a:pt x="1794" y="810"/>
                  </a:lnTo>
                  <a:lnTo>
                    <a:pt x="1788" y="798"/>
                  </a:lnTo>
                  <a:lnTo>
                    <a:pt x="1776" y="792"/>
                  </a:lnTo>
                  <a:lnTo>
                    <a:pt x="1770" y="780"/>
                  </a:lnTo>
                  <a:lnTo>
                    <a:pt x="1758" y="774"/>
                  </a:lnTo>
                  <a:lnTo>
                    <a:pt x="1752" y="762"/>
                  </a:lnTo>
                  <a:lnTo>
                    <a:pt x="1752" y="750"/>
                  </a:lnTo>
                  <a:lnTo>
                    <a:pt x="1746" y="732"/>
                  </a:lnTo>
                  <a:lnTo>
                    <a:pt x="1746" y="720"/>
                  </a:lnTo>
                  <a:lnTo>
                    <a:pt x="1764" y="702"/>
                  </a:lnTo>
                  <a:lnTo>
                    <a:pt x="1776" y="702"/>
                  </a:lnTo>
                  <a:lnTo>
                    <a:pt x="1782" y="696"/>
                  </a:lnTo>
                  <a:lnTo>
                    <a:pt x="1788" y="684"/>
                  </a:lnTo>
                  <a:lnTo>
                    <a:pt x="1788" y="678"/>
                  </a:lnTo>
                  <a:lnTo>
                    <a:pt x="1800" y="666"/>
                  </a:lnTo>
                  <a:lnTo>
                    <a:pt x="1818" y="666"/>
                  </a:lnTo>
                  <a:lnTo>
                    <a:pt x="1830" y="672"/>
                  </a:lnTo>
                  <a:lnTo>
                    <a:pt x="1848" y="672"/>
                  </a:lnTo>
                  <a:lnTo>
                    <a:pt x="1854" y="666"/>
                  </a:lnTo>
                  <a:lnTo>
                    <a:pt x="1896" y="666"/>
                  </a:lnTo>
                  <a:lnTo>
                    <a:pt x="1908" y="672"/>
                  </a:lnTo>
                  <a:lnTo>
                    <a:pt x="1914" y="678"/>
                  </a:lnTo>
                  <a:lnTo>
                    <a:pt x="1932" y="678"/>
                  </a:lnTo>
                  <a:lnTo>
                    <a:pt x="1944" y="684"/>
                  </a:lnTo>
                  <a:lnTo>
                    <a:pt x="1974" y="684"/>
                  </a:lnTo>
                  <a:lnTo>
                    <a:pt x="1986" y="672"/>
                  </a:lnTo>
                  <a:lnTo>
                    <a:pt x="2028" y="672"/>
                  </a:lnTo>
                  <a:lnTo>
                    <a:pt x="2034" y="678"/>
                  </a:lnTo>
                  <a:lnTo>
                    <a:pt x="2046" y="678"/>
                  </a:lnTo>
                  <a:lnTo>
                    <a:pt x="2052" y="672"/>
                  </a:lnTo>
                  <a:lnTo>
                    <a:pt x="2064" y="666"/>
                  </a:lnTo>
                  <a:lnTo>
                    <a:pt x="2088" y="666"/>
                  </a:lnTo>
                  <a:lnTo>
                    <a:pt x="2088" y="684"/>
                  </a:lnTo>
                  <a:lnTo>
                    <a:pt x="2082" y="690"/>
                  </a:lnTo>
                  <a:lnTo>
                    <a:pt x="2082" y="696"/>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33" name="Katar" descr="© INSCALE GmbH, 05.05.2010&#10;http://www.presentationload.com/">
              <a:extLst>
                <a:ext uri="{FF2B5EF4-FFF2-40B4-BE49-F238E27FC236}">
                  <a16:creationId xmlns:a16="http://schemas.microsoft.com/office/drawing/2014/main" id="{5C7FD96A-20E1-4AD0-8A31-B23A4E42C872}"/>
                </a:ext>
              </a:extLst>
            </p:cNvPr>
            <p:cNvSpPr>
              <a:spLocks/>
            </p:cNvSpPr>
            <p:nvPr/>
          </p:nvSpPr>
          <p:spPr bwMode="gray">
            <a:xfrm>
              <a:off x="5539011" y="3412169"/>
              <a:ext cx="26656" cy="56449"/>
            </a:xfrm>
            <a:custGeom>
              <a:avLst/>
              <a:gdLst>
                <a:gd name="T0" fmla="*/ 2147483647 w 66"/>
                <a:gd name="T1" fmla="*/ 2147483647 h 144"/>
                <a:gd name="T2" fmla="*/ 2147483647 w 66"/>
                <a:gd name="T3" fmla="*/ 2147483647 h 144"/>
                <a:gd name="T4" fmla="*/ 2147483647 w 66"/>
                <a:gd name="T5" fmla="*/ 2147483647 h 144"/>
                <a:gd name="T6" fmla="*/ 2147483647 w 66"/>
                <a:gd name="T7" fmla="*/ 2147483647 h 144"/>
                <a:gd name="T8" fmla="*/ 2147483647 w 66"/>
                <a:gd name="T9" fmla="*/ 2147483647 h 144"/>
                <a:gd name="T10" fmla="*/ 2147483647 w 66"/>
                <a:gd name="T11" fmla="*/ 2147483647 h 144"/>
                <a:gd name="T12" fmla="*/ 2147483647 w 66"/>
                <a:gd name="T13" fmla="*/ 2147483647 h 144"/>
                <a:gd name="T14" fmla="*/ 2147483647 w 66"/>
                <a:gd name="T15" fmla="*/ 2147483647 h 144"/>
                <a:gd name="T16" fmla="*/ 2147483647 w 66"/>
                <a:gd name="T17" fmla="*/ 2147483647 h 144"/>
                <a:gd name="T18" fmla="*/ 2147483647 w 66"/>
                <a:gd name="T19" fmla="*/ 0 h 144"/>
                <a:gd name="T20" fmla="*/ 2147483647 w 66"/>
                <a:gd name="T21" fmla="*/ 0 h 144"/>
                <a:gd name="T22" fmla="*/ 2147483647 w 66"/>
                <a:gd name="T23" fmla="*/ 2147483647 h 144"/>
                <a:gd name="T24" fmla="*/ 2147483647 w 66"/>
                <a:gd name="T25" fmla="*/ 2147483647 h 144"/>
                <a:gd name="T26" fmla="*/ 2147483647 w 66"/>
                <a:gd name="T27" fmla="*/ 2147483647 h 144"/>
                <a:gd name="T28" fmla="*/ 2147483647 w 66"/>
                <a:gd name="T29" fmla="*/ 2147483647 h 144"/>
                <a:gd name="T30" fmla="*/ 0 w 66"/>
                <a:gd name="T31" fmla="*/ 2147483647 h 144"/>
                <a:gd name="T32" fmla="*/ 2147483647 w 66"/>
                <a:gd name="T33" fmla="*/ 2147483647 h 144"/>
                <a:gd name="T34" fmla="*/ 2147483647 w 66"/>
                <a:gd name="T35" fmla="*/ 2147483647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144"/>
                <a:gd name="T56" fmla="*/ 66 w 66"/>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144">
                  <a:moveTo>
                    <a:pt x="24" y="132"/>
                  </a:moveTo>
                  <a:lnTo>
                    <a:pt x="36" y="144"/>
                  </a:lnTo>
                  <a:lnTo>
                    <a:pt x="48" y="132"/>
                  </a:lnTo>
                  <a:lnTo>
                    <a:pt x="54" y="114"/>
                  </a:lnTo>
                  <a:lnTo>
                    <a:pt x="60" y="102"/>
                  </a:lnTo>
                  <a:lnTo>
                    <a:pt x="66" y="84"/>
                  </a:lnTo>
                  <a:lnTo>
                    <a:pt x="66" y="30"/>
                  </a:lnTo>
                  <a:lnTo>
                    <a:pt x="54" y="18"/>
                  </a:lnTo>
                  <a:lnTo>
                    <a:pt x="48" y="6"/>
                  </a:lnTo>
                  <a:lnTo>
                    <a:pt x="36" y="0"/>
                  </a:lnTo>
                  <a:lnTo>
                    <a:pt x="30" y="0"/>
                  </a:lnTo>
                  <a:lnTo>
                    <a:pt x="24" y="6"/>
                  </a:lnTo>
                  <a:lnTo>
                    <a:pt x="18" y="18"/>
                  </a:lnTo>
                  <a:lnTo>
                    <a:pt x="12" y="36"/>
                  </a:lnTo>
                  <a:lnTo>
                    <a:pt x="12" y="108"/>
                  </a:lnTo>
                  <a:lnTo>
                    <a:pt x="0" y="120"/>
                  </a:lnTo>
                  <a:lnTo>
                    <a:pt x="6" y="132"/>
                  </a:lnTo>
                  <a:lnTo>
                    <a:pt x="24" y="13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34" name="Kanada" descr="© INSCALE GmbH, 05.05.2010&#10;http://www.presentationload.com/">
              <a:extLst>
                <a:ext uri="{FF2B5EF4-FFF2-40B4-BE49-F238E27FC236}">
                  <a16:creationId xmlns:a16="http://schemas.microsoft.com/office/drawing/2014/main" id="{5E22F241-56E7-488D-85A1-BCA6CA4ABB83}"/>
                </a:ext>
              </a:extLst>
            </p:cNvPr>
            <p:cNvSpPr>
              <a:spLocks noEditPoints="1"/>
            </p:cNvSpPr>
            <p:nvPr/>
          </p:nvSpPr>
          <p:spPr bwMode="gray">
            <a:xfrm>
              <a:off x="988609" y="1762608"/>
              <a:ext cx="2215616" cy="1146226"/>
            </a:xfrm>
            <a:custGeom>
              <a:avLst/>
              <a:gdLst>
                <a:gd name="T0" fmla="*/ 2147483647 w 5574"/>
                <a:gd name="T1" fmla="*/ 2147483647 h 2886"/>
                <a:gd name="T2" fmla="*/ 2147483647 w 5574"/>
                <a:gd name="T3" fmla="*/ 2147483647 h 2886"/>
                <a:gd name="T4" fmla="*/ 2147483647 w 5574"/>
                <a:gd name="T5" fmla="*/ 2147483647 h 2886"/>
                <a:gd name="T6" fmla="*/ 2147483647 w 5574"/>
                <a:gd name="T7" fmla="*/ 2147483647 h 2886"/>
                <a:gd name="T8" fmla="*/ 2147483647 w 5574"/>
                <a:gd name="T9" fmla="*/ 2147483647 h 2886"/>
                <a:gd name="T10" fmla="*/ 2147483647 w 5574"/>
                <a:gd name="T11" fmla="*/ 2147483647 h 2886"/>
                <a:gd name="T12" fmla="*/ 2147483647 w 5574"/>
                <a:gd name="T13" fmla="*/ 2147483647 h 2886"/>
                <a:gd name="T14" fmla="*/ 2147483647 w 5574"/>
                <a:gd name="T15" fmla="*/ 2147483647 h 2886"/>
                <a:gd name="T16" fmla="*/ 2147483647 w 5574"/>
                <a:gd name="T17" fmla="*/ 2147483647 h 2886"/>
                <a:gd name="T18" fmla="*/ 2147483647 w 5574"/>
                <a:gd name="T19" fmla="*/ 2147483647 h 2886"/>
                <a:gd name="T20" fmla="*/ 2147483647 w 5574"/>
                <a:gd name="T21" fmla="*/ 2147483647 h 2886"/>
                <a:gd name="T22" fmla="*/ 2147483647 w 5574"/>
                <a:gd name="T23" fmla="*/ 2147483647 h 2886"/>
                <a:gd name="T24" fmla="*/ 2147483647 w 5574"/>
                <a:gd name="T25" fmla="*/ 2147483647 h 2886"/>
                <a:gd name="T26" fmla="*/ 2147483647 w 5574"/>
                <a:gd name="T27" fmla="*/ 2147483647 h 2886"/>
                <a:gd name="T28" fmla="*/ 2147483647 w 5574"/>
                <a:gd name="T29" fmla="*/ 2147483647 h 2886"/>
                <a:gd name="T30" fmla="*/ 2147483647 w 5574"/>
                <a:gd name="T31" fmla="*/ 2147483647 h 2886"/>
                <a:gd name="T32" fmla="*/ 2147483647 w 5574"/>
                <a:gd name="T33" fmla="*/ 2147483647 h 2886"/>
                <a:gd name="T34" fmla="*/ 2147483647 w 5574"/>
                <a:gd name="T35" fmla="*/ 2147483647 h 2886"/>
                <a:gd name="T36" fmla="*/ 2147483647 w 5574"/>
                <a:gd name="T37" fmla="*/ 2147483647 h 2886"/>
                <a:gd name="T38" fmla="*/ 2147483647 w 5574"/>
                <a:gd name="T39" fmla="*/ 2147483647 h 2886"/>
                <a:gd name="T40" fmla="*/ 2147483647 w 5574"/>
                <a:gd name="T41" fmla="*/ 2147483647 h 2886"/>
                <a:gd name="T42" fmla="*/ 2147483647 w 5574"/>
                <a:gd name="T43" fmla="*/ 2147483647 h 2886"/>
                <a:gd name="T44" fmla="*/ 2147483647 w 5574"/>
                <a:gd name="T45" fmla="*/ 2147483647 h 2886"/>
                <a:gd name="T46" fmla="*/ 2147483647 w 5574"/>
                <a:gd name="T47" fmla="*/ 2147483647 h 2886"/>
                <a:gd name="T48" fmla="*/ 2147483647 w 5574"/>
                <a:gd name="T49" fmla="*/ 2147483647 h 2886"/>
                <a:gd name="T50" fmla="*/ 2147483647 w 5574"/>
                <a:gd name="T51" fmla="*/ 2147483647 h 2886"/>
                <a:gd name="T52" fmla="*/ 2147483647 w 5574"/>
                <a:gd name="T53" fmla="*/ 2147483647 h 2886"/>
                <a:gd name="T54" fmla="*/ 2147483647 w 5574"/>
                <a:gd name="T55" fmla="*/ 2147483647 h 2886"/>
                <a:gd name="T56" fmla="*/ 2147483647 w 5574"/>
                <a:gd name="T57" fmla="*/ 2147483647 h 2886"/>
                <a:gd name="T58" fmla="*/ 2147483647 w 5574"/>
                <a:gd name="T59" fmla="*/ 2147483647 h 2886"/>
                <a:gd name="T60" fmla="*/ 2147483647 w 5574"/>
                <a:gd name="T61" fmla="*/ 2147483647 h 2886"/>
                <a:gd name="T62" fmla="*/ 2147483647 w 5574"/>
                <a:gd name="T63" fmla="*/ 2147483647 h 2886"/>
                <a:gd name="T64" fmla="*/ 2147483647 w 5574"/>
                <a:gd name="T65" fmla="*/ 2147483647 h 2886"/>
                <a:gd name="T66" fmla="*/ 2147483647 w 5574"/>
                <a:gd name="T67" fmla="*/ 2147483647 h 2886"/>
                <a:gd name="T68" fmla="*/ 2147483647 w 5574"/>
                <a:gd name="T69" fmla="*/ 2147483647 h 2886"/>
                <a:gd name="T70" fmla="*/ 2147483647 w 5574"/>
                <a:gd name="T71" fmla="*/ 2147483647 h 2886"/>
                <a:gd name="T72" fmla="*/ 2147483647 w 5574"/>
                <a:gd name="T73" fmla="*/ 2147483647 h 2886"/>
                <a:gd name="T74" fmla="*/ 2147483647 w 5574"/>
                <a:gd name="T75" fmla="*/ 2147483647 h 2886"/>
                <a:gd name="T76" fmla="*/ 2147483647 w 5574"/>
                <a:gd name="T77" fmla="*/ 2147483647 h 2886"/>
                <a:gd name="T78" fmla="*/ 2147483647 w 5574"/>
                <a:gd name="T79" fmla="*/ 2147483647 h 2886"/>
                <a:gd name="T80" fmla="*/ 2147483647 w 5574"/>
                <a:gd name="T81" fmla="*/ 2147483647 h 2886"/>
                <a:gd name="T82" fmla="*/ 2147483647 w 5574"/>
                <a:gd name="T83" fmla="*/ 2147483647 h 2886"/>
                <a:gd name="T84" fmla="*/ 2147483647 w 5574"/>
                <a:gd name="T85" fmla="*/ 2147483647 h 2886"/>
                <a:gd name="T86" fmla="*/ 2147483647 w 5574"/>
                <a:gd name="T87" fmla="*/ 2147483647 h 2886"/>
                <a:gd name="T88" fmla="*/ 2147483647 w 5574"/>
                <a:gd name="T89" fmla="*/ 2147483647 h 2886"/>
                <a:gd name="T90" fmla="*/ 2147483647 w 5574"/>
                <a:gd name="T91" fmla="*/ 2147483647 h 2886"/>
                <a:gd name="T92" fmla="*/ 2147483647 w 5574"/>
                <a:gd name="T93" fmla="*/ 2147483647 h 2886"/>
                <a:gd name="T94" fmla="*/ 2147483647 w 5574"/>
                <a:gd name="T95" fmla="*/ 2147483647 h 2886"/>
                <a:gd name="T96" fmla="*/ 2147483647 w 5574"/>
                <a:gd name="T97" fmla="*/ 2147483647 h 2886"/>
                <a:gd name="T98" fmla="*/ 2147483647 w 5574"/>
                <a:gd name="T99" fmla="*/ 2147483647 h 2886"/>
                <a:gd name="T100" fmla="*/ 2147483647 w 5574"/>
                <a:gd name="T101" fmla="*/ 2147483647 h 2886"/>
                <a:gd name="T102" fmla="*/ 2147483647 w 5574"/>
                <a:gd name="T103" fmla="*/ 2147483647 h 2886"/>
                <a:gd name="T104" fmla="*/ 2147483647 w 5574"/>
                <a:gd name="T105" fmla="*/ 2147483647 h 2886"/>
                <a:gd name="T106" fmla="*/ 2147483647 w 5574"/>
                <a:gd name="T107" fmla="*/ 2147483647 h 2886"/>
                <a:gd name="T108" fmla="*/ 2147483647 w 5574"/>
                <a:gd name="T109" fmla="*/ 2147483647 h 2886"/>
                <a:gd name="T110" fmla="*/ 2147483647 w 5574"/>
                <a:gd name="T111" fmla="*/ 2147483647 h 2886"/>
                <a:gd name="T112" fmla="*/ 2147483647 w 5574"/>
                <a:gd name="T113" fmla="*/ 2147483647 h 2886"/>
                <a:gd name="T114" fmla="*/ 2147483647 w 5574"/>
                <a:gd name="T115" fmla="*/ 2147483647 h 2886"/>
                <a:gd name="T116" fmla="*/ 2147483647 w 5574"/>
                <a:gd name="T117" fmla="*/ 2147483647 h 2886"/>
                <a:gd name="T118" fmla="*/ 2147483647 w 5574"/>
                <a:gd name="T119" fmla="*/ 2147483647 h 2886"/>
                <a:gd name="T120" fmla="*/ 2147483647 w 5574"/>
                <a:gd name="T121" fmla="*/ 2147483647 h 2886"/>
                <a:gd name="T122" fmla="*/ 2147483647 w 5574"/>
                <a:gd name="T123" fmla="*/ 2147483647 h 2886"/>
                <a:gd name="T124" fmla="*/ 2147483647 w 5574"/>
                <a:gd name="T125" fmla="*/ 2147483647 h 288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574"/>
                <a:gd name="T190" fmla="*/ 0 h 2886"/>
                <a:gd name="T191" fmla="*/ 5574 w 5574"/>
                <a:gd name="T192" fmla="*/ 2886 h 288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574" h="2886">
                  <a:moveTo>
                    <a:pt x="3114" y="252"/>
                  </a:moveTo>
                  <a:lnTo>
                    <a:pt x="3138" y="252"/>
                  </a:lnTo>
                  <a:lnTo>
                    <a:pt x="3150" y="258"/>
                  </a:lnTo>
                  <a:lnTo>
                    <a:pt x="3168" y="258"/>
                  </a:lnTo>
                  <a:lnTo>
                    <a:pt x="3174" y="252"/>
                  </a:lnTo>
                  <a:lnTo>
                    <a:pt x="3174" y="246"/>
                  </a:lnTo>
                  <a:lnTo>
                    <a:pt x="3168" y="234"/>
                  </a:lnTo>
                  <a:lnTo>
                    <a:pt x="3156" y="228"/>
                  </a:lnTo>
                  <a:lnTo>
                    <a:pt x="3108" y="228"/>
                  </a:lnTo>
                  <a:lnTo>
                    <a:pt x="3066" y="234"/>
                  </a:lnTo>
                  <a:lnTo>
                    <a:pt x="3036" y="246"/>
                  </a:lnTo>
                  <a:lnTo>
                    <a:pt x="3018" y="246"/>
                  </a:lnTo>
                  <a:lnTo>
                    <a:pt x="3060" y="246"/>
                  </a:lnTo>
                  <a:lnTo>
                    <a:pt x="3096" y="252"/>
                  </a:lnTo>
                  <a:lnTo>
                    <a:pt x="3114" y="252"/>
                  </a:lnTo>
                  <a:close/>
                  <a:moveTo>
                    <a:pt x="2988" y="318"/>
                  </a:moveTo>
                  <a:lnTo>
                    <a:pt x="3036" y="318"/>
                  </a:lnTo>
                  <a:lnTo>
                    <a:pt x="3048" y="312"/>
                  </a:lnTo>
                  <a:lnTo>
                    <a:pt x="3060" y="312"/>
                  </a:lnTo>
                  <a:lnTo>
                    <a:pt x="3072" y="300"/>
                  </a:lnTo>
                  <a:lnTo>
                    <a:pt x="3072" y="294"/>
                  </a:lnTo>
                  <a:lnTo>
                    <a:pt x="3066" y="282"/>
                  </a:lnTo>
                  <a:lnTo>
                    <a:pt x="3138" y="270"/>
                  </a:lnTo>
                  <a:lnTo>
                    <a:pt x="3120" y="264"/>
                  </a:lnTo>
                  <a:lnTo>
                    <a:pt x="3054" y="264"/>
                  </a:lnTo>
                  <a:lnTo>
                    <a:pt x="3042" y="276"/>
                  </a:lnTo>
                  <a:lnTo>
                    <a:pt x="3030" y="276"/>
                  </a:lnTo>
                  <a:lnTo>
                    <a:pt x="2994" y="270"/>
                  </a:lnTo>
                  <a:lnTo>
                    <a:pt x="2958" y="270"/>
                  </a:lnTo>
                  <a:lnTo>
                    <a:pt x="2940" y="282"/>
                  </a:lnTo>
                  <a:lnTo>
                    <a:pt x="2940" y="294"/>
                  </a:lnTo>
                  <a:lnTo>
                    <a:pt x="2946" y="300"/>
                  </a:lnTo>
                  <a:lnTo>
                    <a:pt x="2970" y="312"/>
                  </a:lnTo>
                  <a:lnTo>
                    <a:pt x="2976" y="318"/>
                  </a:lnTo>
                  <a:lnTo>
                    <a:pt x="2988" y="318"/>
                  </a:lnTo>
                  <a:close/>
                  <a:moveTo>
                    <a:pt x="2682" y="384"/>
                  </a:moveTo>
                  <a:lnTo>
                    <a:pt x="2628" y="408"/>
                  </a:lnTo>
                  <a:lnTo>
                    <a:pt x="2634" y="408"/>
                  </a:lnTo>
                  <a:lnTo>
                    <a:pt x="2646" y="414"/>
                  </a:lnTo>
                  <a:lnTo>
                    <a:pt x="2652" y="414"/>
                  </a:lnTo>
                  <a:lnTo>
                    <a:pt x="2658" y="420"/>
                  </a:lnTo>
                  <a:lnTo>
                    <a:pt x="2658" y="426"/>
                  </a:lnTo>
                  <a:lnTo>
                    <a:pt x="2622" y="426"/>
                  </a:lnTo>
                  <a:lnTo>
                    <a:pt x="2586" y="432"/>
                  </a:lnTo>
                  <a:lnTo>
                    <a:pt x="2556" y="438"/>
                  </a:lnTo>
                  <a:lnTo>
                    <a:pt x="2544" y="438"/>
                  </a:lnTo>
                  <a:lnTo>
                    <a:pt x="2520" y="456"/>
                  </a:lnTo>
                  <a:lnTo>
                    <a:pt x="2580" y="450"/>
                  </a:lnTo>
                  <a:lnTo>
                    <a:pt x="2586" y="450"/>
                  </a:lnTo>
                  <a:lnTo>
                    <a:pt x="2592" y="456"/>
                  </a:lnTo>
                  <a:lnTo>
                    <a:pt x="2610" y="456"/>
                  </a:lnTo>
                  <a:lnTo>
                    <a:pt x="2628" y="462"/>
                  </a:lnTo>
                  <a:lnTo>
                    <a:pt x="2658" y="462"/>
                  </a:lnTo>
                  <a:lnTo>
                    <a:pt x="2694" y="450"/>
                  </a:lnTo>
                  <a:lnTo>
                    <a:pt x="2730" y="444"/>
                  </a:lnTo>
                  <a:lnTo>
                    <a:pt x="2742" y="438"/>
                  </a:lnTo>
                  <a:lnTo>
                    <a:pt x="2742" y="450"/>
                  </a:lnTo>
                  <a:lnTo>
                    <a:pt x="2760" y="450"/>
                  </a:lnTo>
                  <a:lnTo>
                    <a:pt x="2796" y="444"/>
                  </a:lnTo>
                  <a:lnTo>
                    <a:pt x="2856" y="444"/>
                  </a:lnTo>
                  <a:lnTo>
                    <a:pt x="2850" y="444"/>
                  </a:lnTo>
                  <a:lnTo>
                    <a:pt x="2844" y="450"/>
                  </a:lnTo>
                  <a:lnTo>
                    <a:pt x="2832" y="450"/>
                  </a:lnTo>
                  <a:lnTo>
                    <a:pt x="2790" y="456"/>
                  </a:lnTo>
                  <a:lnTo>
                    <a:pt x="2730" y="468"/>
                  </a:lnTo>
                  <a:lnTo>
                    <a:pt x="2706" y="468"/>
                  </a:lnTo>
                  <a:lnTo>
                    <a:pt x="2688" y="474"/>
                  </a:lnTo>
                  <a:lnTo>
                    <a:pt x="2670" y="474"/>
                  </a:lnTo>
                  <a:lnTo>
                    <a:pt x="2652" y="480"/>
                  </a:lnTo>
                  <a:lnTo>
                    <a:pt x="2646" y="486"/>
                  </a:lnTo>
                  <a:lnTo>
                    <a:pt x="2640" y="486"/>
                  </a:lnTo>
                  <a:lnTo>
                    <a:pt x="2658" y="486"/>
                  </a:lnTo>
                  <a:lnTo>
                    <a:pt x="2694" y="492"/>
                  </a:lnTo>
                  <a:lnTo>
                    <a:pt x="2760" y="498"/>
                  </a:lnTo>
                  <a:lnTo>
                    <a:pt x="2808" y="492"/>
                  </a:lnTo>
                  <a:lnTo>
                    <a:pt x="2850" y="480"/>
                  </a:lnTo>
                  <a:lnTo>
                    <a:pt x="2874" y="474"/>
                  </a:lnTo>
                  <a:lnTo>
                    <a:pt x="2886" y="468"/>
                  </a:lnTo>
                  <a:lnTo>
                    <a:pt x="2958" y="450"/>
                  </a:lnTo>
                  <a:lnTo>
                    <a:pt x="3000" y="450"/>
                  </a:lnTo>
                  <a:lnTo>
                    <a:pt x="3054" y="444"/>
                  </a:lnTo>
                  <a:lnTo>
                    <a:pt x="3096" y="438"/>
                  </a:lnTo>
                  <a:lnTo>
                    <a:pt x="3120" y="432"/>
                  </a:lnTo>
                  <a:lnTo>
                    <a:pt x="3138" y="420"/>
                  </a:lnTo>
                  <a:lnTo>
                    <a:pt x="3156" y="414"/>
                  </a:lnTo>
                  <a:lnTo>
                    <a:pt x="3168" y="408"/>
                  </a:lnTo>
                  <a:lnTo>
                    <a:pt x="3168" y="396"/>
                  </a:lnTo>
                  <a:lnTo>
                    <a:pt x="3156" y="384"/>
                  </a:lnTo>
                  <a:lnTo>
                    <a:pt x="3144" y="378"/>
                  </a:lnTo>
                  <a:lnTo>
                    <a:pt x="3120" y="378"/>
                  </a:lnTo>
                  <a:lnTo>
                    <a:pt x="3114" y="384"/>
                  </a:lnTo>
                  <a:lnTo>
                    <a:pt x="3108" y="384"/>
                  </a:lnTo>
                  <a:lnTo>
                    <a:pt x="3108" y="396"/>
                  </a:lnTo>
                  <a:lnTo>
                    <a:pt x="3072" y="396"/>
                  </a:lnTo>
                  <a:lnTo>
                    <a:pt x="3078" y="390"/>
                  </a:lnTo>
                  <a:lnTo>
                    <a:pt x="3078" y="378"/>
                  </a:lnTo>
                  <a:lnTo>
                    <a:pt x="3102" y="354"/>
                  </a:lnTo>
                  <a:lnTo>
                    <a:pt x="3102" y="342"/>
                  </a:lnTo>
                  <a:lnTo>
                    <a:pt x="3096" y="342"/>
                  </a:lnTo>
                  <a:lnTo>
                    <a:pt x="3054" y="348"/>
                  </a:lnTo>
                  <a:lnTo>
                    <a:pt x="2988" y="372"/>
                  </a:lnTo>
                  <a:lnTo>
                    <a:pt x="2976" y="378"/>
                  </a:lnTo>
                  <a:lnTo>
                    <a:pt x="3024" y="378"/>
                  </a:lnTo>
                  <a:lnTo>
                    <a:pt x="3018" y="408"/>
                  </a:lnTo>
                  <a:lnTo>
                    <a:pt x="2898" y="420"/>
                  </a:lnTo>
                  <a:lnTo>
                    <a:pt x="2898" y="414"/>
                  </a:lnTo>
                  <a:lnTo>
                    <a:pt x="2892" y="408"/>
                  </a:lnTo>
                  <a:lnTo>
                    <a:pt x="2892" y="372"/>
                  </a:lnTo>
                  <a:lnTo>
                    <a:pt x="2886" y="366"/>
                  </a:lnTo>
                  <a:lnTo>
                    <a:pt x="2874" y="366"/>
                  </a:lnTo>
                  <a:lnTo>
                    <a:pt x="2856" y="360"/>
                  </a:lnTo>
                  <a:lnTo>
                    <a:pt x="2814" y="360"/>
                  </a:lnTo>
                  <a:lnTo>
                    <a:pt x="2682" y="384"/>
                  </a:lnTo>
                  <a:close/>
                  <a:moveTo>
                    <a:pt x="2832" y="342"/>
                  </a:moveTo>
                  <a:lnTo>
                    <a:pt x="2844" y="330"/>
                  </a:lnTo>
                  <a:lnTo>
                    <a:pt x="2844" y="318"/>
                  </a:lnTo>
                  <a:lnTo>
                    <a:pt x="2838" y="312"/>
                  </a:lnTo>
                  <a:lnTo>
                    <a:pt x="2814" y="312"/>
                  </a:lnTo>
                  <a:lnTo>
                    <a:pt x="2802" y="318"/>
                  </a:lnTo>
                  <a:lnTo>
                    <a:pt x="2796" y="324"/>
                  </a:lnTo>
                  <a:lnTo>
                    <a:pt x="2796" y="330"/>
                  </a:lnTo>
                  <a:lnTo>
                    <a:pt x="2802" y="336"/>
                  </a:lnTo>
                  <a:lnTo>
                    <a:pt x="2814" y="336"/>
                  </a:lnTo>
                  <a:lnTo>
                    <a:pt x="2820" y="342"/>
                  </a:lnTo>
                  <a:lnTo>
                    <a:pt x="2832" y="342"/>
                  </a:lnTo>
                  <a:close/>
                  <a:moveTo>
                    <a:pt x="3012" y="564"/>
                  </a:moveTo>
                  <a:lnTo>
                    <a:pt x="2988" y="540"/>
                  </a:lnTo>
                  <a:lnTo>
                    <a:pt x="2958" y="540"/>
                  </a:lnTo>
                  <a:lnTo>
                    <a:pt x="2952" y="534"/>
                  </a:lnTo>
                  <a:lnTo>
                    <a:pt x="2946" y="534"/>
                  </a:lnTo>
                  <a:lnTo>
                    <a:pt x="2934" y="528"/>
                  </a:lnTo>
                  <a:lnTo>
                    <a:pt x="2916" y="528"/>
                  </a:lnTo>
                  <a:lnTo>
                    <a:pt x="2898" y="534"/>
                  </a:lnTo>
                  <a:lnTo>
                    <a:pt x="2892" y="540"/>
                  </a:lnTo>
                  <a:lnTo>
                    <a:pt x="2892" y="552"/>
                  </a:lnTo>
                  <a:lnTo>
                    <a:pt x="2928" y="570"/>
                  </a:lnTo>
                  <a:lnTo>
                    <a:pt x="2934" y="576"/>
                  </a:lnTo>
                  <a:lnTo>
                    <a:pt x="2946" y="582"/>
                  </a:lnTo>
                  <a:lnTo>
                    <a:pt x="3012" y="564"/>
                  </a:lnTo>
                  <a:close/>
                  <a:moveTo>
                    <a:pt x="2460" y="414"/>
                  </a:moveTo>
                  <a:lnTo>
                    <a:pt x="2442" y="420"/>
                  </a:lnTo>
                  <a:lnTo>
                    <a:pt x="2430" y="426"/>
                  </a:lnTo>
                  <a:lnTo>
                    <a:pt x="2430" y="438"/>
                  </a:lnTo>
                  <a:lnTo>
                    <a:pt x="2442" y="438"/>
                  </a:lnTo>
                  <a:lnTo>
                    <a:pt x="2472" y="432"/>
                  </a:lnTo>
                  <a:lnTo>
                    <a:pt x="2490" y="426"/>
                  </a:lnTo>
                  <a:lnTo>
                    <a:pt x="2502" y="420"/>
                  </a:lnTo>
                  <a:lnTo>
                    <a:pt x="2502" y="414"/>
                  </a:lnTo>
                  <a:lnTo>
                    <a:pt x="2496" y="408"/>
                  </a:lnTo>
                  <a:lnTo>
                    <a:pt x="2484" y="408"/>
                  </a:lnTo>
                  <a:lnTo>
                    <a:pt x="2460" y="414"/>
                  </a:lnTo>
                  <a:close/>
                  <a:moveTo>
                    <a:pt x="2970" y="858"/>
                  </a:moveTo>
                  <a:lnTo>
                    <a:pt x="2988" y="858"/>
                  </a:lnTo>
                  <a:lnTo>
                    <a:pt x="3006" y="864"/>
                  </a:lnTo>
                  <a:lnTo>
                    <a:pt x="3018" y="870"/>
                  </a:lnTo>
                  <a:lnTo>
                    <a:pt x="3036" y="876"/>
                  </a:lnTo>
                  <a:lnTo>
                    <a:pt x="3060" y="882"/>
                  </a:lnTo>
                  <a:lnTo>
                    <a:pt x="3096" y="882"/>
                  </a:lnTo>
                  <a:lnTo>
                    <a:pt x="3126" y="876"/>
                  </a:lnTo>
                  <a:lnTo>
                    <a:pt x="3138" y="876"/>
                  </a:lnTo>
                  <a:lnTo>
                    <a:pt x="3120" y="810"/>
                  </a:lnTo>
                  <a:lnTo>
                    <a:pt x="3018" y="792"/>
                  </a:lnTo>
                  <a:lnTo>
                    <a:pt x="2988" y="828"/>
                  </a:lnTo>
                  <a:lnTo>
                    <a:pt x="2958" y="828"/>
                  </a:lnTo>
                  <a:lnTo>
                    <a:pt x="2952" y="834"/>
                  </a:lnTo>
                  <a:lnTo>
                    <a:pt x="2952" y="846"/>
                  </a:lnTo>
                  <a:lnTo>
                    <a:pt x="2958" y="852"/>
                  </a:lnTo>
                  <a:lnTo>
                    <a:pt x="2970" y="858"/>
                  </a:lnTo>
                  <a:close/>
                  <a:moveTo>
                    <a:pt x="168" y="2034"/>
                  </a:moveTo>
                  <a:lnTo>
                    <a:pt x="168" y="2040"/>
                  </a:lnTo>
                  <a:lnTo>
                    <a:pt x="174" y="2046"/>
                  </a:lnTo>
                  <a:lnTo>
                    <a:pt x="192" y="2046"/>
                  </a:lnTo>
                  <a:lnTo>
                    <a:pt x="186" y="2070"/>
                  </a:lnTo>
                  <a:lnTo>
                    <a:pt x="216" y="2052"/>
                  </a:lnTo>
                  <a:lnTo>
                    <a:pt x="216" y="2028"/>
                  </a:lnTo>
                  <a:lnTo>
                    <a:pt x="174" y="2028"/>
                  </a:lnTo>
                  <a:lnTo>
                    <a:pt x="168" y="2034"/>
                  </a:lnTo>
                  <a:close/>
                  <a:moveTo>
                    <a:pt x="252" y="2298"/>
                  </a:moveTo>
                  <a:lnTo>
                    <a:pt x="252" y="2292"/>
                  </a:lnTo>
                  <a:lnTo>
                    <a:pt x="246" y="2286"/>
                  </a:lnTo>
                  <a:lnTo>
                    <a:pt x="246" y="2268"/>
                  </a:lnTo>
                  <a:lnTo>
                    <a:pt x="252" y="2256"/>
                  </a:lnTo>
                  <a:lnTo>
                    <a:pt x="252" y="2238"/>
                  </a:lnTo>
                  <a:lnTo>
                    <a:pt x="246" y="2226"/>
                  </a:lnTo>
                  <a:lnTo>
                    <a:pt x="228" y="2226"/>
                  </a:lnTo>
                  <a:lnTo>
                    <a:pt x="216" y="2220"/>
                  </a:lnTo>
                  <a:lnTo>
                    <a:pt x="204" y="2220"/>
                  </a:lnTo>
                  <a:lnTo>
                    <a:pt x="192" y="2214"/>
                  </a:lnTo>
                  <a:lnTo>
                    <a:pt x="186" y="2208"/>
                  </a:lnTo>
                  <a:lnTo>
                    <a:pt x="174" y="2202"/>
                  </a:lnTo>
                  <a:lnTo>
                    <a:pt x="150" y="2178"/>
                  </a:lnTo>
                  <a:lnTo>
                    <a:pt x="138" y="2172"/>
                  </a:lnTo>
                  <a:lnTo>
                    <a:pt x="126" y="2172"/>
                  </a:lnTo>
                  <a:lnTo>
                    <a:pt x="102" y="2184"/>
                  </a:lnTo>
                  <a:lnTo>
                    <a:pt x="96" y="2196"/>
                  </a:lnTo>
                  <a:lnTo>
                    <a:pt x="96" y="2202"/>
                  </a:lnTo>
                  <a:lnTo>
                    <a:pt x="108" y="2208"/>
                  </a:lnTo>
                  <a:lnTo>
                    <a:pt x="114" y="2214"/>
                  </a:lnTo>
                  <a:lnTo>
                    <a:pt x="120" y="2214"/>
                  </a:lnTo>
                  <a:lnTo>
                    <a:pt x="132" y="2202"/>
                  </a:lnTo>
                  <a:lnTo>
                    <a:pt x="144" y="2208"/>
                  </a:lnTo>
                  <a:lnTo>
                    <a:pt x="132" y="2220"/>
                  </a:lnTo>
                  <a:lnTo>
                    <a:pt x="120" y="2220"/>
                  </a:lnTo>
                  <a:lnTo>
                    <a:pt x="114" y="2226"/>
                  </a:lnTo>
                  <a:lnTo>
                    <a:pt x="102" y="2232"/>
                  </a:lnTo>
                  <a:lnTo>
                    <a:pt x="102" y="2244"/>
                  </a:lnTo>
                  <a:lnTo>
                    <a:pt x="108" y="2250"/>
                  </a:lnTo>
                  <a:lnTo>
                    <a:pt x="126" y="2250"/>
                  </a:lnTo>
                  <a:lnTo>
                    <a:pt x="138" y="2244"/>
                  </a:lnTo>
                  <a:lnTo>
                    <a:pt x="132" y="2262"/>
                  </a:lnTo>
                  <a:lnTo>
                    <a:pt x="150" y="2262"/>
                  </a:lnTo>
                  <a:lnTo>
                    <a:pt x="132" y="2280"/>
                  </a:lnTo>
                  <a:lnTo>
                    <a:pt x="168" y="2274"/>
                  </a:lnTo>
                  <a:lnTo>
                    <a:pt x="156" y="2280"/>
                  </a:lnTo>
                  <a:lnTo>
                    <a:pt x="144" y="2292"/>
                  </a:lnTo>
                  <a:lnTo>
                    <a:pt x="138" y="2292"/>
                  </a:lnTo>
                  <a:lnTo>
                    <a:pt x="138" y="2298"/>
                  </a:lnTo>
                  <a:lnTo>
                    <a:pt x="150" y="2298"/>
                  </a:lnTo>
                  <a:lnTo>
                    <a:pt x="162" y="2286"/>
                  </a:lnTo>
                  <a:lnTo>
                    <a:pt x="168" y="2286"/>
                  </a:lnTo>
                  <a:lnTo>
                    <a:pt x="174" y="2292"/>
                  </a:lnTo>
                  <a:lnTo>
                    <a:pt x="174" y="2304"/>
                  </a:lnTo>
                  <a:lnTo>
                    <a:pt x="162" y="2316"/>
                  </a:lnTo>
                  <a:lnTo>
                    <a:pt x="162" y="2328"/>
                  </a:lnTo>
                  <a:lnTo>
                    <a:pt x="210" y="2328"/>
                  </a:lnTo>
                  <a:lnTo>
                    <a:pt x="228" y="2316"/>
                  </a:lnTo>
                  <a:lnTo>
                    <a:pt x="210" y="2340"/>
                  </a:lnTo>
                  <a:lnTo>
                    <a:pt x="192" y="2340"/>
                  </a:lnTo>
                  <a:lnTo>
                    <a:pt x="186" y="2346"/>
                  </a:lnTo>
                  <a:lnTo>
                    <a:pt x="186" y="2352"/>
                  </a:lnTo>
                  <a:lnTo>
                    <a:pt x="210" y="2364"/>
                  </a:lnTo>
                  <a:lnTo>
                    <a:pt x="216" y="2364"/>
                  </a:lnTo>
                  <a:lnTo>
                    <a:pt x="228" y="2370"/>
                  </a:lnTo>
                  <a:lnTo>
                    <a:pt x="234" y="2376"/>
                  </a:lnTo>
                  <a:lnTo>
                    <a:pt x="246" y="2376"/>
                  </a:lnTo>
                  <a:lnTo>
                    <a:pt x="258" y="2382"/>
                  </a:lnTo>
                  <a:lnTo>
                    <a:pt x="270" y="2376"/>
                  </a:lnTo>
                  <a:lnTo>
                    <a:pt x="288" y="2358"/>
                  </a:lnTo>
                  <a:lnTo>
                    <a:pt x="294" y="2346"/>
                  </a:lnTo>
                  <a:lnTo>
                    <a:pt x="294" y="2340"/>
                  </a:lnTo>
                  <a:lnTo>
                    <a:pt x="288" y="2334"/>
                  </a:lnTo>
                  <a:lnTo>
                    <a:pt x="282" y="2322"/>
                  </a:lnTo>
                  <a:lnTo>
                    <a:pt x="270" y="2316"/>
                  </a:lnTo>
                  <a:lnTo>
                    <a:pt x="264" y="2304"/>
                  </a:lnTo>
                  <a:lnTo>
                    <a:pt x="252" y="2298"/>
                  </a:lnTo>
                  <a:close/>
                  <a:moveTo>
                    <a:pt x="2304" y="372"/>
                  </a:moveTo>
                  <a:lnTo>
                    <a:pt x="2316" y="372"/>
                  </a:lnTo>
                  <a:lnTo>
                    <a:pt x="2328" y="366"/>
                  </a:lnTo>
                  <a:lnTo>
                    <a:pt x="2376" y="366"/>
                  </a:lnTo>
                  <a:lnTo>
                    <a:pt x="2388" y="378"/>
                  </a:lnTo>
                  <a:lnTo>
                    <a:pt x="2388" y="390"/>
                  </a:lnTo>
                  <a:lnTo>
                    <a:pt x="2424" y="390"/>
                  </a:lnTo>
                  <a:lnTo>
                    <a:pt x="2442" y="384"/>
                  </a:lnTo>
                  <a:lnTo>
                    <a:pt x="2454" y="384"/>
                  </a:lnTo>
                  <a:lnTo>
                    <a:pt x="2466" y="390"/>
                  </a:lnTo>
                  <a:lnTo>
                    <a:pt x="2472" y="396"/>
                  </a:lnTo>
                  <a:lnTo>
                    <a:pt x="2490" y="396"/>
                  </a:lnTo>
                  <a:lnTo>
                    <a:pt x="2514" y="384"/>
                  </a:lnTo>
                  <a:lnTo>
                    <a:pt x="2520" y="372"/>
                  </a:lnTo>
                  <a:lnTo>
                    <a:pt x="2520" y="354"/>
                  </a:lnTo>
                  <a:lnTo>
                    <a:pt x="2550" y="354"/>
                  </a:lnTo>
                  <a:lnTo>
                    <a:pt x="2616" y="336"/>
                  </a:lnTo>
                  <a:lnTo>
                    <a:pt x="2580" y="366"/>
                  </a:lnTo>
                  <a:lnTo>
                    <a:pt x="2634" y="378"/>
                  </a:lnTo>
                  <a:lnTo>
                    <a:pt x="2688" y="354"/>
                  </a:lnTo>
                  <a:lnTo>
                    <a:pt x="2784" y="312"/>
                  </a:lnTo>
                  <a:lnTo>
                    <a:pt x="2778" y="312"/>
                  </a:lnTo>
                  <a:lnTo>
                    <a:pt x="2772" y="306"/>
                  </a:lnTo>
                  <a:lnTo>
                    <a:pt x="2754" y="300"/>
                  </a:lnTo>
                  <a:lnTo>
                    <a:pt x="2736" y="300"/>
                  </a:lnTo>
                  <a:lnTo>
                    <a:pt x="2724" y="294"/>
                  </a:lnTo>
                  <a:lnTo>
                    <a:pt x="2706" y="288"/>
                  </a:lnTo>
                  <a:lnTo>
                    <a:pt x="2676" y="288"/>
                  </a:lnTo>
                  <a:lnTo>
                    <a:pt x="2646" y="282"/>
                  </a:lnTo>
                  <a:lnTo>
                    <a:pt x="2604" y="282"/>
                  </a:lnTo>
                  <a:lnTo>
                    <a:pt x="2526" y="294"/>
                  </a:lnTo>
                  <a:lnTo>
                    <a:pt x="2526" y="318"/>
                  </a:lnTo>
                  <a:lnTo>
                    <a:pt x="2406" y="324"/>
                  </a:lnTo>
                  <a:lnTo>
                    <a:pt x="2400" y="324"/>
                  </a:lnTo>
                  <a:lnTo>
                    <a:pt x="2394" y="318"/>
                  </a:lnTo>
                  <a:lnTo>
                    <a:pt x="2334" y="318"/>
                  </a:lnTo>
                  <a:lnTo>
                    <a:pt x="2322" y="324"/>
                  </a:lnTo>
                  <a:lnTo>
                    <a:pt x="2310" y="324"/>
                  </a:lnTo>
                  <a:lnTo>
                    <a:pt x="2304" y="330"/>
                  </a:lnTo>
                  <a:lnTo>
                    <a:pt x="2304" y="372"/>
                  </a:lnTo>
                  <a:close/>
                  <a:moveTo>
                    <a:pt x="150" y="1980"/>
                  </a:moveTo>
                  <a:lnTo>
                    <a:pt x="162" y="2004"/>
                  </a:lnTo>
                  <a:lnTo>
                    <a:pt x="174" y="2010"/>
                  </a:lnTo>
                  <a:lnTo>
                    <a:pt x="186" y="1980"/>
                  </a:lnTo>
                  <a:lnTo>
                    <a:pt x="180" y="1974"/>
                  </a:lnTo>
                  <a:lnTo>
                    <a:pt x="174" y="1974"/>
                  </a:lnTo>
                  <a:lnTo>
                    <a:pt x="162" y="1968"/>
                  </a:lnTo>
                  <a:lnTo>
                    <a:pt x="156" y="1968"/>
                  </a:lnTo>
                  <a:lnTo>
                    <a:pt x="150" y="1974"/>
                  </a:lnTo>
                  <a:lnTo>
                    <a:pt x="150" y="1980"/>
                  </a:lnTo>
                  <a:close/>
                  <a:moveTo>
                    <a:pt x="126" y="1932"/>
                  </a:moveTo>
                  <a:lnTo>
                    <a:pt x="120" y="1932"/>
                  </a:lnTo>
                  <a:lnTo>
                    <a:pt x="108" y="1938"/>
                  </a:lnTo>
                  <a:lnTo>
                    <a:pt x="96" y="1938"/>
                  </a:lnTo>
                  <a:lnTo>
                    <a:pt x="84" y="1944"/>
                  </a:lnTo>
                  <a:lnTo>
                    <a:pt x="78" y="1944"/>
                  </a:lnTo>
                  <a:lnTo>
                    <a:pt x="78" y="1950"/>
                  </a:lnTo>
                  <a:lnTo>
                    <a:pt x="72" y="1962"/>
                  </a:lnTo>
                  <a:lnTo>
                    <a:pt x="66" y="1968"/>
                  </a:lnTo>
                  <a:lnTo>
                    <a:pt x="48" y="1968"/>
                  </a:lnTo>
                  <a:lnTo>
                    <a:pt x="42" y="1962"/>
                  </a:lnTo>
                  <a:lnTo>
                    <a:pt x="48" y="1956"/>
                  </a:lnTo>
                  <a:lnTo>
                    <a:pt x="60" y="1956"/>
                  </a:lnTo>
                  <a:lnTo>
                    <a:pt x="66" y="1950"/>
                  </a:lnTo>
                  <a:lnTo>
                    <a:pt x="72" y="1950"/>
                  </a:lnTo>
                  <a:lnTo>
                    <a:pt x="78" y="1944"/>
                  </a:lnTo>
                  <a:lnTo>
                    <a:pt x="84" y="1944"/>
                  </a:lnTo>
                  <a:lnTo>
                    <a:pt x="78" y="1938"/>
                  </a:lnTo>
                  <a:lnTo>
                    <a:pt x="54" y="1938"/>
                  </a:lnTo>
                  <a:lnTo>
                    <a:pt x="48" y="1944"/>
                  </a:lnTo>
                  <a:lnTo>
                    <a:pt x="48" y="1932"/>
                  </a:lnTo>
                  <a:lnTo>
                    <a:pt x="36" y="1932"/>
                  </a:lnTo>
                  <a:lnTo>
                    <a:pt x="24" y="1944"/>
                  </a:lnTo>
                  <a:lnTo>
                    <a:pt x="6" y="1980"/>
                  </a:lnTo>
                  <a:lnTo>
                    <a:pt x="6" y="2004"/>
                  </a:lnTo>
                  <a:lnTo>
                    <a:pt x="12" y="2004"/>
                  </a:lnTo>
                  <a:lnTo>
                    <a:pt x="12" y="2010"/>
                  </a:lnTo>
                  <a:lnTo>
                    <a:pt x="18" y="2016"/>
                  </a:lnTo>
                  <a:lnTo>
                    <a:pt x="0" y="2022"/>
                  </a:lnTo>
                  <a:lnTo>
                    <a:pt x="12" y="2076"/>
                  </a:lnTo>
                  <a:lnTo>
                    <a:pt x="12" y="2082"/>
                  </a:lnTo>
                  <a:lnTo>
                    <a:pt x="6" y="2082"/>
                  </a:lnTo>
                  <a:lnTo>
                    <a:pt x="12" y="2088"/>
                  </a:lnTo>
                  <a:lnTo>
                    <a:pt x="12" y="2094"/>
                  </a:lnTo>
                  <a:lnTo>
                    <a:pt x="30" y="2094"/>
                  </a:lnTo>
                  <a:lnTo>
                    <a:pt x="30" y="2070"/>
                  </a:lnTo>
                  <a:lnTo>
                    <a:pt x="24" y="2058"/>
                  </a:lnTo>
                  <a:lnTo>
                    <a:pt x="24" y="2040"/>
                  </a:lnTo>
                  <a:lnTo>
                    <a:pt x="36" y="2028"/>
                  </a:lnTo>
                  <a:lnTo>
                    <a:pt x="42" y="2028"/>
                  </a:lnTo>
                  <a:lnTo>
                    <a:pt x="48" y="2016"/>
                  </a:lnTo>
                  <a:lnTo>
                    <a:pt x="54" y="2010"/>
                  </a:lnTo>
                  <a:lnTo>
                    <a:pt x="54" y="1986"/>
                  </a:lnTo>
                  <a:lnTo>
                    <a:pt x="84" y="1956"/>
                  </a:lnTo>
                  <a:lnTo>
                    <a:pt x="108" y="1944"/>
                  </a:lnTo>
                  <a:lnTo>
                    <a:pt x="114" y="1944"/>
                  </a:lnTo>
                  <a:lnTo>
                    <a:pt x="126" y="1938"/>
                  </a:lnTo>
                  <a:lnTo>
                    <a:pt x="126" y="1932"/>
                  </a:lnTo>
                  <a:close/>
                  <a:moveTo>
                    <a:pt x="1896" y="678"/>
                  </a:moveTo>
                  <a:lnTo>
                    <a:pt x="1896" y="690"/>
                  </a:lnTo>
                  <a:lnTo>
                    <a:pt x="1884" y="702"/>
                  </a:lnTo>
                  <a:lnTo>
                    <a:pt x="1884" y="714"/>
                  </a:lnTo>
                  <a:lnTo>
                    <a:pt x="1902" y="714"/>
                  </a:lnTo>
                  <a:lnTo>
                    <a:pt x="1926" y="708"/>
                  </a:lnTo>
                  <a:lnTo>
                    <a:pt x="1944" y="708"/>
                  </a:lnTo>
                  <a:lnTo>
                    <a:pt x="1980" y="696"/>
                  </a:lnTo>
                  <a:lnTo>
                    <a:pt x="1986" y="690"/>
                  </a:lnTo>
                  <a:lnTo>
                    <a:pt x="1992" y="690"/>
                  </a:lnTo>
                  <a:lnTo>
                    <a:pt x="2034" y="702"/>
                  </a:lnTo>
                  <a:lnTo>
                    <a:pt x="2112" y="642"/>
                  </a:lnTo>
                  <a:lnTo>
                    <a:pt x="2244" y="600"/>
                  </a:lnTo>
                  <a:lnTo>
                    <a:pt x="2370" y="564"/>
                  </a:lnTo>
                  <a:lnTo>
                    <a:pt x="2466" y="546"/>
                  </a:lnTo>
                  <a:lnTo>
                    <a:pt x="2454" y="540"/>
                  </a:lnTo>
                  <a:lnTo>
                    <a:pt x="2448" y="528"/>
                  </a:lnTo>
                  <a:lnTo>
                    <a:pt x="2436" y="522"/>
                  </a:lnTo>
                  <a:lnTo>
                    <a:pt x="2424" y="510"/>
                  </a:lnTo>
                  <a:lnTo>
                    <a:pt x="2412" y="504"/>
                  </a:lnTo>
                  <a:lnTo>
                    <a:pt x="2400" y="492"/>
                  </a:lnTo>
                  <a:lnTo>
                    <a:pt x="2352" y="492"/>
                  </a:lnTo>
                  <a:lnTo>
                    <a:pt x="2340" y="498"/>
                  </a:lnTo>
                  <a:lnTo>
                    <a:pt x="2328" y="498"/>
                  </a:lnTo>
                  <a:lnTo>
                    <a:pt x="2262" y="504"/>
                  </a:lnTo>
                  <a:lnTo>
                    <a:pt x="2226" y="480"/>
                  </a:lnTo>
                  <a:lnTo>
                    <a:pt x="2142" y="486"/>
                  </a:lnTo>
                  <a:lnTo>
                    <a:pt x="2094" y="504"/>
                  </a:lnTo>
                  <a:lnTo>
                    <a:pt x="2076" y="522"/>
                  </a:lnTo>
                  <a:lnTo>
                    <a:pt x="2064" y="552"/>
                  </a:lnTo>
                  <a:lnTo>
                    <a:pt x="2010" y="564"/>
                  </a:lnTo>
                  <a:lnTo>
                    <a:pt x="1944" y="588"/>
                  </a:lnTo>
                  <a:lnTo>
                    <a:pt x="1962" y="600"/>
                  </a:lnTo>
                  <a:lnTo>
                    <a:pt x="1842" y="654"/>
                  </a:lnTo>
                  <a:lnTo>
                    <a:pt x="1854" y="654"/>
                  </a:lnTo>
                  <a:lnTo>
                    <a:pt x="1890" y="672"/>
                  </a:lnTo>
                  <a:lnTo>
                    <a:pt x="1896" y="678"/>
                  </a:lnTo>
                  <a:close/>
                  <a:moveTo>
                    <a:pt x="198" y="1968"/>
                  </a:moveTo>
                  <a:lnTo>
                    <a:pt x="192" y="1992"/>
                  </a:lnTo>
                  <a:lnTo>
                    <a:pt x="192" y="2010"/>
                  </a:lnTo>
                  <a:lnTo>
                    <a:pt x="216" y="1998"/>
                  </a:lnTo>
                  <a:lnTo>
                    <a:pt x="198" y="1968"/>
                  </a:lnTo>
                  <a:close/>
                  <a:moveTo>
                    <a:pt x="4182" y="600"/>
                  </a:moveTo>
                  <a:lnTo>
                    <a:pt x="4194" y="606"/>
                  </a:lnTo>
                  <a:lnTo>
                    <a:pt x="4206" y="600"/>
                  </a:lnTo>
                  <a:lnTo>
                    <a:pt x="4218" y="600"/>
                  </a:lnTo>
                  <a:lnTo>
                    <a:pt x="4242" y="588"/>
                  </a:lnTo>
                  <a:lnTo>
                    <a:pt x="4308" y="588"/>
                  </a:lnTo>
                  <a:lnTo>
                    <a:pt x="4314" y="594"/>
                  </a:lnTo>
                  <a:lnTo>
                    <a:pt x="4350" y="594"/>
                  </a:lnTo>
                  <a:lnTo>
                    <a:pt x="4356" y="588"/>
                  </a:lnTo>
                  <a:lnTo>
                    <a:pt x="4356" y="582"/>
                  </a:lnTo>
                  <a:lnTo>
                    <a:pt x="4344" y="558"/>
                  </a:lnTo>
                  <a:lnTo>
                    <a:pt x="4338" y="552"/>
                  </a:lnTo>
                  <a:lnTo>
                    <a:pt x="4326" y="546"/>
                  </a:lnTo>
                  <a:lnTo>
                    <a:pt x="4230" y="546"/>
                  </a:lnTo>
                  <a:lnTo>
                    <a:pt x="4224" y="540"/>
                  </a:lnTo>
                  <a:lnTo>
                    <a:pt x="4212" y="540"/>
                  </a:lnTo>
                  <a:lnTo>
                    <a:pt x="4200" y="534"/>
                  </a:lnTo>
                  <a:lnTo>
                    <a:pt x="4188" y="534"/>
                  </a:lnTo>
                  <a:lnTo>
                    <a:pt x="4176" y="540"/>
                  </a:lnTo>
                  <a:lnTo>
                    <a:pt x="4158" y="558"/>
                  </a:lnTo>
                  <a:lnTo>
                    <a:pt x="4158" y="564"/>
                  </a:lnTo>
                  <a:lnTo>
                    <a:pt x="4176" y="576"/>
                  </a:lnTo>
                  <a:lnTo>
                    <a:pt x="4170" y="582"/>
                  </a:lnTo>
                  <a:lnTo>
                    <a:pt x="4170" y="594"/>
                  </a:lnTo>
                  <a:lnTo>
                    <a:pt x="4176" y="594"/>
                  </a:lnTo>
                  <a:lnTo>
                    <a:pt x="4182" y="600"/>
                  </a:lnTo>
                  <a:close/>
                  <a:moveTo>
                    <a:pt x="3708" y="516"/>
                  </a:moveTo>
                  <a:lnTo>
                    <a:pt x="3678" y="516"/>
                  </a:lnTo>
                  <a:lnTo>
                    <a:pt x="3624" y="510"/>
                  </a:lnTo>
                  <a:lnTo>
                    <a:pt x="3564" y="504"/>
                  </a:lnTo>
                  <a:lnTo>
                    <a:pt x="3468" y="504"/>
                  </a:lnTo>
                  <a:lnTo>
                    <a:pt x="3468" y="516"/>
                  </a:lnTo>
                  <a:lnTo>
                    <a:pt x="3462" y="522"/>
                  </a:lnTo>
                  <a:lnTo>
                    <a:pt x="3426" y="540"/>
                  </a:lnTo>
                  <a:lnTo>
                    <a:pt x="3396" y="546"/>
                  </a:lnTo>
                  <a:lnTo>
                    <a:pt x="3378" y="552"/>
                  </a:lnTo>
                  <a:lnTo>
                    <a:pt x="3372" y="552"/>
                  </a:lnTo>
                  <a:lnTo>
                    <a:pt x="3372" y="558"/>
                  </a:lnTo>
                  <a:lnTo>
                    <a:pt x="3384" y="570"/>
                  </a:lnTo>
                  <a:lnTo>
                    <a:pt x="3390" y="582"/>
                  </a:lnTo>
                  <a:lnTo>
                    <a:pt x="3390" y="594"/>
                  </a:lnTo>
                  <a:lnTo>
                    <a:pt x="3372" y="618"/>
                  </a:lnTo>
                  <a:lnTo>
                    <a:pt x="3402" y="636"/>
                  </a:lnTo>
                  <a:lnTo>
                    <a:pt x="3480" y="606"/>
                  </a:lnTo>
                  <a:lnTo>
                    <a:pt x="3474" y="600"/>
                  </a:lnTo>
                  <a:lnTo>
                    <a:pt x="3468" y="600"/>
                  </a:lnTo>
                  <a:lnTo>
                    <a:pt x="3468" y="594"/>
                  </a:lnTo>
                  <a:lnTo>
                    <a:pt x="3474" y="588"/>
                  </a:lnTo>
                  <a:lnTo>
                    <a:pt x="3486" y="582"/>
                  </a:lnTo>
                  <a:lnTo>
                    <a:pt x="3522" y="582"/>
                  </a:lnTo>
                  <a:lnTo>
                    <a:pt x="3546" y="594"/>
                  </a:lnTo>
                  <a:lnTo>
                    <a:pt x="3552" y="600"/>
                  </a:lnTo>
                  <a:lnTo>
                    <a:pt x="3606" y="594"/>
                  </a:lnTo>
                  <a:lnTo>
                    <a:pt x="3600" y="570"/>
                  </a:lnTo>
                  <a:lnTo>
                    <a:pt x="3630" y="570"/>
                  </a:lnTo>
                  <a:lnTo>
                    <a:pt x="3648" y="564"/>
                  </a:lnTo>
                  <a:lnTo>
                    <a:pt x="3666" y="564"/>
                  </a:lnTo>
                  <a:lnTo>
                    <a:pt x="3690" y="552"/>
                  </a:lnTo>
                  <a:lnTo>
                    <a:pt x="3696" y="546"/>
                  </a:lnTo>
                  <a:lnTo>
                    <a:pt x="3702" y="534"/>
                  </a:lnTo>
                  <a:lnTo>
                    <a:pt x="3714" y="522"/>
                  </a:lnTo>
                  <a:lnTo>
                    <a:pt x="3720" y="522"/>
                  </a:lnTo>
                  <a:lnTo>
                    <a:pt x="3714" y="516"/>
                  </a:lnTo>
                  <a:lnTo>
                    <a:pt x="3708" y="516"/>
                  </a:lnTo>
                  <a:close/>
                  <a:moveTo>
                    <a:pt x="3792" y="150"/>
                  </a:moveTo>
                  <a:lnTo>
                    <a:pt x="3738" y="156"/>
                  </a:lnTo>
                  <a:lnTo>
                    <a:pt x="3756" y="180"/>
                  </a:lnTo>
                  <a:lnTo>
                    <a:pt x="3792" y="150"/>
                  </a:lnTo>
                  <a:close/>
                  <a:moveTo>
                    <a:pt x="3612" y="480"/>
                  </a:moveTo>
                  <a:lnTo>
                    <a:pt x="3636" y="468"/>
                  </a:lnTo>
                  <a:lnTo>
                    <a:pt x="3642" y="456"/>
                  </a:lnTo>
                  <a:lnTo>
                    <a:pt x="3654" y="450"/>
                  </a:lnTo>
                  <a:lnTo>
                    <a:pt x="3660" y="438"/>
                  </a:lnTo>
                  <a:lnTo>
                    <a:pt x="3660" y="432"/>
                  </a:lnTo>
                  <a:lnTo>
                    <a:pt x="3654" y="426"/>
                  </a:lnTo>
                  <a:lnTo>
                    <a:pt x="3642" y="426"/>
                  </a:lnTo>
                  <a:lnTo>
                    <a:pt x="3630" y="420"/>
                  </a:lnTo>
                  <a:lnTo>
                    <a:pt x="3588" y="420"/>
                  </a:lnTo>
                  <a:lnTo>
                    <a:pt x="3570" y="426"/>
                  </a:lnTo>
                  <a:lnTo>
                    <a:pt x="3552" y="426"/>
                  </a:lnTo>
                  <a:lnTo>
                    <a:pt x="3534" y="438"/>
                  </a:lnTo>
                  <a:lnTo>
                    <a:pt x="3516" y="444"/>
                  </a:lnTo>
                  <a:lnTo>
                    <a:pt x="3504" y="450"/>
                  </a:lnTo>
                  <a:lnTo>
                    <a:pt x="3504" y="462"/>
                  </a:lnTo>
                  <a:lnTo>
                    <a:pt x="3528" y="468"/>
                  </a:lnTo>
                  <a:lnTo>
                    <a:pt x="3600" y="480"/>
                  </a:lnTo>
                  <a:lnTo>
                    <a:pt x="3612" y="480"/>
                  </a:lnTo>
                  <a:close/>
                  <a:moveTo>
                    <a:pt x="3954" y="180"/>
                  </a:moveTo>
                  <a:lnTo>
                    <a:pt x="3900" y="192"/>
                  </a:lnTo>
                  <a:lnTo>
                    <a:pt x="3936" y="210"/>
                  </a:lnTo>
                  <a:lnTo>
                    <a:pt x="3924" y="216"/>
                  </a:lnTo>
                  <a:lnTo>
                    <a:pt x="3918" y="222"/>
                  </a:lnTo>
                  <a:lnTo>
                    <a:pt x="3918" y="228"/>
                  </a:lnTo>
                  <a:lnTo>
                    <a:pt x="3924" y="234"/>
                  </a:lnTo>
                  <a:lnTo>
                    <a:pt x="3936" y="240"/>
                  </a:lnTo>
                  <a:lnTo>
                    <a:pt x="3966" y="240"/>
                  </a:lnTo>
                  <a:lnTo>
                    <a:pt x="3942" y="252"/>
                  </a:lnTo>
                  <a:lnTo>
                    <a:pt x="3954" y="252"/>
                  </a:lnTo>
                  <a:lnTo>
                    <a:pt x="4002" y="276"/>
                  </a:lnTo>
                  <a:lnTo>
                    <a:pt x="4014" y="276"/>
                  </a:lnTo>
                  <a:lnTo>
                    <a:pt x="4026" y="270"/>
                  </a:lnTo>
                  <a:lnTo>
                    <a:pt x="4032" y="264"/>
                  </a:lnTo>
                  <a:lnTo>
                    <a:pt x="4044" y="258"/>
                  </a:lnTo>
                  <a:lnTo>
                    <a:pt x="4050" y="252"/>
                  </a:lnTo>
                  <a:lnTo>
                    <a:pt x="4074" y="246"/>
                  </a:lnTo>
                  <a:lnTo>
                    <a:pt x="4086" y="258"/>
                  </a:lnTo>
                  <a:lnTo>
                    <a:pt x="4092" y="270"/>
                  </a:lnTo>
                  <a:lnTo>
                    <a:pt x="4098" y="276"/>
                  </a:lnTo>
                  <a:lnTo>
                    <a:pt x="4104" y="270"/>
                  </a:lnTo>
                  <a:lnTo>
                    <a:pt x="4116" y="270"/>
                  </a:lnTo>
                  <a:lnTo>
                    <a:pt x="4128" y="264"/>
                  </a:lnTo>
                  <a:lnTo>
                    <a:pt x="4134" y="258"/>
                  </a:lnTo>
                  <a:lnTo>
                    <a:pt x="4146" y="258"/>
                  </a:lnTo>
                  <a:lnTo>
                    <a:pt x="4152" y="252"/>
                  </a:lnTo>
                  <a:lnTo>
                    <a:pt x="4158" y="252"/>
                  </a:lnTo>
                  <a:lnTo>
                    <a:pt x="4170" y="246"/>
                  </a:lnTo>
                  <a:lnTo>
                    <a:pt x="4176" y="234"/>
                  </a:lnTo>
                  <a:lnTo>
                    <a:pt x="4182" y="228"/>
                  </a:lnTo>
                  <a:lnTo>
                    <a:pt x="4194" y="246"/>
                  </a:lnTo>
                  <a:lnTo>
                    <a:pt x="4218" y="222"/>
                  </a:lnTo>
                  <a:lnTo>
                    <a:pt x="4218" y="216"/>
                  </a:lnTo>
                  <a:lnTo>
                    <a:pt x="4236" y="210"/>
                  </a:lnTo>
                  <a:lnTo>
                    <a:pt x="4326" y="210"/>
                  </a:lnTo>
                  <a:lnTo>
                    <a:pt x="4332" y="204"/>
                  </a:lnTo>
                  <a:lnTo>
                    <a:pt x="4332" y="192"/>
                  </a:lnTo>
                  <a:lnTo>
                    <a:pt x="4266" y="186"/>
                  </a:lnTo>
                  <a:lnTo>
                    <a:pt x="4302" y="174"/>
                  </a:lnTo>
                  <a:lnTo>
                    <a:pt x="4302" y="132"/>
                  </a:lnTo>
                  <a:lnTo>
                    <a:pt x="4278" y="132"/>
                  </a:lnTo>
                  <a:lnTo>
                    <a:pt x="4266" y="138"/>
                  </a:lnTo>
                  <a:lnTo>
                    <a:pt x="4260" y="144"/>
                  </a:lnTo>
                  <a:lnTo>
                    <a:pt x="4248" y="150"/>
                  </a:lnTo>
                  <a:lnTo>
                    <a:pt x="4242" y="126"/>
                  </a:lnTo>
                  <a:lnTo>
                    <a:pt x="4194" y="132"/>
                  </a:lnTo>
                  <a:lnTo>
                    <a:pt x="4194" y="120"/>
                  </a:lnTo>
                  <a:lnTo>
                    <a:pt x="4176" y="84"/>
                  </a:lnTo>
                  <a:lnTo>
                    <a:pt x="4140" y="84"/>
                  </a:lnTo>
                  <a:lnTo>
                    <a:pt x="4122" y="90"/>
                  </a:lnTo>
                  <a:lnTo>
                    <a:pt x="4110" y="96"/>
                  </a:lnTo>
                  <a:lnTo>
                    <a:pt x="4104" y="102"/>
                  </a:lnTo>
                  <a:lnTo>
                    <a:pt x="4098" y="102"/>
                  </a:lnTo>
                  <a:lnTo>
                    <a:pt x="4020" y="108"/>
                  </a:lnTo>
                  <a:lnTo>
                    <a:pt x="4044" y="126"/>
                  </a:lnTo>
                  <a:lnTo>
                    <a:pt x="3996" y="126"/>
                  </a:lnTo>
                  <a:lnTo>
                    <a:pt x="3984" y="132"/>
                  </a:lnTo>
                  <a:lnTo>
                    <a:pt x="3972" y="132"/>
                  </a:lnTo>
                  <a:lnTo>
                    <a:pt x="3966" y="138"/>
                  </a:lnTo>
                  <a:lnTo>
                    <a:pt x="3984" y="156"/>
                  </a:lnTo>
                  <a:lnTo>
                    <a:pt x="3972" y="156"/>
                  </a:lnTo>
                  <a:lnTo>
                    <a:pt x="3936" y="150"/>
                  </a:lnTo>
                  <a:lnTo>
                    <a:pt x="3906" y="156"/>
                  </a:lnTo>
                  <a:lnTo>
                    <a:pt x="3888" y="168"/>
                  </a:lnTo>
                  <a:lnTo>
                    <a:pt x="3888" y="174"/>
                  </a:lnTo>
                  <a:lnTo>
                    <a:pt x="3894" y="180"/>
                  </a:lnTo>
                  <a:lnTo>
                    <a:pt x="3954" y="180"/>
                  </a:lnTo>
                  <a:close/>
                  <a:moveTo>
                    <a:pt x="3972" y="294"/>
                  </a:moveTo>
                  <a:lnTo>
                    <a:pt x="3954" y="300"/>
                  </a:lnTo>
                  <a:lnTo>
                    <a:pt x="3942" y="306"/>
                  </a:lnTo>
                  <a:lnTo>
                    <a:pt x="3936" y="312"/>
                  </a:lnTo>
                  <a:lnTo>
                    <a:pt x="3936" y="318"/>
                  </a:lnTo>
                  <a:lnTo>
                    <a:pt x="3966" y="324"/>
                  </a:lnTo>
                  <a:lnTo>
                    <a:pt x="3972" y="324"/>
                  </a:lnTo>
                  <a:lnTo>
                    <a:pt x="3990" y="306"/>
                  </a:lnTo>
                  <a:lnTo>
                    <a:pt x="3990" y="300"/>
                  </a:lnTo>
                  <a:lnTo>
                    <a:pt x="3984" y="294"/>
                  </a:lnTo>
                  <a:lnTo>
                    <a:pt x="3972" y="294"/>
                  </a:lnTo>
                  <a:close/>
                  <a:moveTo>
                    <a:pt x="3738" y="336"/>
                  </a:moveTo>
                  <a:lnTo>
                    <a:pt x="3726" y="336"/>
                  </a:lnTo>
                  <a:lnTo>
                    <a:pt x="3720" y="330"/>
                  </a:lnTo>
                  <a:lnTo>
                    <a:pt x="3672" y="330"/>
                  </a:lnTo>
                  <a:lnTo>
                    <a:pt x="3636" y="336"/>
                  </a:lnTo>
                  <a:lnTo>
                    <a:pt x="3624" y="342"/>
                  </a:lnTo>
                  <a:lnTo>
                    <a:pt x="3642" y="360"/>
                  </a:lnTo>
                  <a:lnTo>
                    <a:pt x="3654" y="360"/>
                  </a:lnTo>
                  <a:lnTo>
                    <a:pt x="3660" y="378"/>
                  </a:lnTo>
                  <a:lnTo>
                    <a:pt x="3768" y="378"/>
                  </a:lnTo>
                  <a:lnTo>
                    <a:pt x="3768" y="390"/>
                  </a:lnTo>
                  <a:lnTo>
                    <a:pt x="3762" y="396"/>
                  </a:lnTo>
                  <a:lnTo>
                    <a:pt x="3762" y="408"/>
                  </a:lnTo>
                  <a:lnTo>
                    <a:pt x="3708" y="450"/>
                  </a:lnTo>
                  <a:lnTo>
                    <a:pt x="3732" y="456"/>
                  </a:lnTo>
                  <a:lnTo>
                    <a:pt x="3720" y="468"/>
                  </a:lnTo>
                  <a:lnTo>
                    <a:pt x="3714" y="468"/>
                  </a:lnTo>
                  <a:lnTo>
                    <a:pt x="3708" y="474"/>
                  </a:lnTo>
                  <a:lnTo>
                    <a:pt x="3708" y="480"/>
                  </a:lnTo>
                  <a:lnTo>
                    <a:pt x="3726" y="480"/>
                  </a:lnTo>
                  <a:lnTo>
                    <a:pt x="3738" y="474"/>
                  </a:lnTo>
                  <a:lnTo>
                    <a:pt x="3744" y="474"/>
                  </a:lnTo>
                  <a:lnTo>
                    <a:pt x="3756" y="468"/>
                  </a:lnTo>
                  <a:lnTo>
                    <a:pt x="3756" y="480"/>
                  </a:lnTo>
                  <a:lnTo>
                    <a:pt x="3792" y="480"/>
                  </a:lnTo>
                  <a:lnTo>
                    <a:pt x="3810" y="474"/>
                  </a:lnTo>
                  <a:lnTo>
                    <a:pt x="3822" y="468"/>
                  </a:lnTo>
                  <a:lnTo>
                    <a:pt x="3840" y="468"/>
                  </a:lnTo>
                  <a:lnTo>
                    <a:pt x="3846" y="462"/>
                  </a:lnTo>
                  <a:lnTo>
                    <a:pt x="3852" y="462"/>
                  </a:lnTo>
                  <a:lnTo>
                    <a:pt x="3858" y="486"/>
                  </a:lnTo>
                  <a:lnTo>
                    <a:pt x="3924" y="480"/>
                  </a:lnTo>
                  <a:lnTo>
                    <a:pt x="4002" y="498"/>
                  </a:lnTo>
                  <a:lnTo>
                    <a:pt x="4098" y="486"/>
                  </a:lnTo>
                  <a:lnTo>
                    <a:pt x="4128" y="468"/>
                  </a:lnTo>
                  <a:lnTo>
                    <a:pt x="4122" y="474"/>
                  </a:lnTo>
                  <a:lnTo>
                    <a:pt x="4122" y="486"/>
                  </a:lnTo>
                  <a:lnTo>
                    <a:pt x="4260" y="486"/>
                  </a:lnTo>
                  <a:lnTo>
                    <a:pt x="4272" y="468"/>
                  </a:lnTo>
                  <a:lnTo>
                    <a:pt x="4338" y="438"/>
                  </a:lnTo>
                  <a:lnTo>
                    <a:pt x="4320" y="432"/>
                  </a:lnTo>
                  <a:lnTo>
                    <a:pt x="4320" y="420"/>
                  </a:lnTo>
                  <a:lnTo>
                    <a:pt x="4314" y="420"/>
                  </a:lnTo>
                  <a:lnTo>
                    <a:pt x="4308" y="414"/>
                  </a:lnTo>
                  <a:lnTo>
                    <a:pt x="4290" y="414"/>
                  </a:lnTo>
                  <a:lnTo>
                    <a:pt x="4278" y="408"/>
                  </a:lnTo>
                  <a:lnTo>
                    <a:pt x="4260" y="408"/>
                  </a:lnTo>
                  <a:lnTo>
                    <a:pt x="4242" y="402"/>
                  </a:lnTo>
                  <a:lnTo>
                    <a:pt x="4206" y="402"/>
                  </a:lnTo>
                  <a:lnTo>
                    <a:pt x="4164" y="414"/>
                  </a:lnTo>
                  <a:lnTo>
                    <a:pt x="4116" y="420"/>
                  </a:lnTo>
                  <a:lnTo>
                    <a:pt x="4074" y="426"/>
                  </a:lnTo>
                  <a:lnTo>
                    <a:pt x="4038" y="438"/>
                  </a:lnTo>
                  <a:lnTo>
                    <a:pt x="4026" y="438"/>
                  </a:lnTo>
                  <a:lnTo>
                    <a:pt x="4014" y="432"/>
                  </a:lnTo>
                  <a:lnTo>
                    <a:pt x="4008" y="426"/>
                  </a:lnTo>
                  <a:lnTo>
                    <a:pt x="3996" y="420"/>
                  </a:lnTo>
                  <a:lnTo>
                    <a:pt x="3984" y="420"/>
                  </a:lnTo>
                  <a:lnTo>
                    <a:pt x="3972" y="426"/>
                  </a:lnTo>
                  <a:lnTo>
                    <a:pt x="3960" y="426"/>
                  </a:lnTo>
                  <a:lnTo>
                    <a:pt x="3948" y="432"/>
                  </a:lnTo>
                  <a:lnTo>
                    <a:pt x="3942" y="438"/>
                  </a:lnTo>
                  <a:lnTo>
                    <a:pt x="3936" y="438"/>
                  </a:lnTo>
                  <a:lnTo>
                    <a:pt x="3912" y="414"/>
                  </a:lnTo>
                  <a:lnTo>
                    <a:pt x="3894" y="426"/>
                  </a:lnTo>
                  <a:lnTo>
                    <a:pt x="3864" y="420"/>
                  </a:lnTo>
                  <a:lnTo>
                    <a:pt x="3894" y="408"/>
                  </a:lnTo>
                  <a:lnTo>
                    <a:pt x="3876" y="396"/>
                  </a:lnTo>
                  <a:lnTo>
                    <a:pt x="3822" y="408"/>
                  </a:lnTo>
                  <a:lnTo>
                    <a:pt x="3858" y="396"/>
                  </a:lnTo>
                  <a:lnTo>
                    <a:pt x="3858" y="390"/>
                  </a:lnTo>
                  <a:lnTo>
                    <a:pt x="3924" y="384"/>
                  </a:lnTo>
                  <a:lnTo>
                    <a:pt x="3888" y="372"/>
                  </a:lnTo>
                  <a:lnTo>
                    <a:pt x="3870" y="372"/>
                  </a:lnTo>
                  <a:lnTo>
                    <a:pt x="3876" y="366"/>
                  </a:lnTo>
                  <a:lnTo>
                    <a:pt x="3876" y="360"/>
                  </a:lnTo>
                  <a:lnTo>
                    <a:pt x="3870" y="354"/>
                  </a:lnTo>
                  <a:lnTo>
                    <a:pt x="3840" y="354"/>
                  </a:lnTo>
                  <a:lnTo>
                    <a:pt x="3822" y="360"/>
                  </a:lnTo>
                  <a:lnTo>
                    <a:pt x="3804" y="360"/>
                  </a:lnTo>
                  <a:lnTo>
                    <a:pt x="3786" y="366"/>
                  </a:lnTo>
                  <a:lnTo>
                    <a:pt x="3774" y="354"/>
                  </a:lnTo>
                  <a:lnTo>
                    <a:pt x="3762" y="348"/>
                  </a:lnTo>
                  <a:lnTo>
                    <a:pt x="3756" y="342"/>
                  </a:lnTo>
                  <a:lnTo>
                    <a:pt x="3744" y="336"/>
                  </a:lnTo>
                  <a:lnTo>
                    <a:pt x="3738" y="336"/>
                  </a:lnTo>
                  <a:close/>
                  <a:moveTo>
                    <a:pt x="3264" y="420"/>
                  </a:moveTo>
                  <a:lnTo>
                    <a:pt x="3282" y="420"/>
                  </a:lnTo>
                  <a:lnTo>
                    <a:pt x="3300" y="426"/>
                  </a:lnTo>
                  <a:lnTo>
                    <a:pt x="3318" y="426"/>
                  </a:lnTo>
                  <a:lnTo>
                    <a:pt x="3330" y="432"/>
                  </a:lnTo>
                  <a:lnTo>
                    <a:pt x="3342" y="432"/>
                  </a:lnTo>
                  <a:lnTo>
                    <a:pt x="3330" y="444"/>
                  </a:lnTo>
                  <a:lnTo>
                    <a:pt x="3324" y="444"/>
                  </a:lnTo>
                  <a:lnTo>
                    <a:pt x="3324" y="456"/>
                  </a:lnTo>
                  <a:lnTo>
                    <a:pt x="3438" y="456"/>
                  </a:lnTo>
                  <a:lnTo>
                    <a:pt x="3462" y="444"/>
                  </a:lnTo>
                  <a:lnTo>
                    <a:pt x="3462" y="432"/>
                  </a:lnTo>
                  <a:lnTo>
                    <a:pt x="3468" y="426"/>
                  </a:lnTo>
                  <a:lnTo>
                    <a:pt x="3480" y="426"/>
                  </a:lnTo>
                  <a:lnTo>
                    <a:pt x="3492" y="420"/>
                  </a:lnTo>
                  <a:lnTo>
                    <a:pt x="3504" y="420"/>
                  </a:lnTo>
                  <a:lnTo>
                    <a:pt x="3510" y="414"/>
                  </a:lnTo>
                  <a:lnTo>
                    <a:pt x="3510" y="408"/>
                  </a:lnTo>
                  <a:lnTo>
                    <a:pt x="3522" y="396"/>
                  </a:lnTo>
                  <a:lnTo>
                    <a:pt x="3534" y="390"/>
                  </a:lnTo>
                  <a:lnTo>
                    <a:pt x="3540" y="384"/>
                  </a:lnTo>
                  <a:lnTo>
                    <a:pt x="3552" y="378"/>
                  </a:lnTo>
                  <a:lnTo>
                    <a:pt x="3552" y="372"/>
                  </a:lnTo>
                  <a:lnTo>
                    <a:pt x="3546" y="366"/>
                  </a:lnTo>
                  <a:lnTo>
                    <a:pt x="3534" y="360"/>
                  </a:lnTo>
                  <a:lnTo>
                    <a:pt x="3510" y="360"/>
                  </a:lnTo>
                  <a:lnTo>
                    <a:pt x="3504" y="366"/>
                  </a:lnTo>
                  <a:lnTo>
                    <a:pt x="3492" y="366"/>
                  </a:lnTo>
                  <a:lnTo>
                    <a:pt x="3486" y="360"/>
                  </a:lnTo>
                  <a:lnTo>
                    <a:pt x="3474" y="360"/>
                  </a:lnTo>
                  <a:lnTo>
                    <a:pt x="3462" y="354"/>
                  </a:lnTo>
                  <a:lnTo>
                    <a:pt x="3450" y="354"/>
                  </a:lnTo>
                  <a:lnTo>
                    <a:pt x="3432" y="348"/>
                  </a:lnTo>
                  <a:lnTo>
                    <a:pt x="3426" y="354"/>
                  </a:lnTo>
                  <a:lnTo>
                    <a:pt x="3420" y="354"/>
                  </a:lnTo>
                  <a:lnTo>
                    <a:pt x="3414" y="366"/>
                  </a:lnTo>
                  <a:lnTo>
                    <a:pt x="3414" y="396"/>
                  </a:lnTo>
                  <a:lnTo>
                    <a:pt x="3396" y="378"/>
                  </a:lnTo>
                  <a:lnTo>
                    <a:pt x="3384" y="372"/>
                  </a:lnTo>
                  <a:lnTo>
                    <a:pt x="3366" y="372"/>
                  </a:lnTo>
                  <a:lnTo>
                    <a:pt x="3354" y="384"/>
                  </a:lnTo>
                  <a:lnTo>
                    <a:pt x="3348" y="396"/>
                  </a:lnTo>
                  <a:lnTo>
                    <a:pt x="3330" y="414"/>
                  </a:lnTo>
                  <a:lnTo>
                    <a:pt x="3324" y="414"/>
                  </a:lnTo>
                  <a:lnTo>
                    <a:pt x="3300" y="366"/>
                  </a:lnTo>
                  <a:lnTo>
                    <a:pt x="3288" y="360"/>
                  </a:lnTo>
                  <a:lnTo>
                    <a:pt x="3258" y="360"/>
                  </a:lnTo>
                  <a:lnTo>
                    <a:pt x="3246" y="366"/>
                  </a:lnTo>
                  <a:lnTo>
                    <a:pt x="3240" y="372"/>
                  </a:lnTo>
                  <a:lnTo>
                    <a:pt x="3240" y="396"/>
                  </a:lnTo>
                  <a:lnTo>
                    <a:pt x="3246" y="408"/>
                  </a:lnTo>
                  <a:lnTo>
                    <a:pt x="3258" y="414"/>
                  </a:lnTo>
                  <a:lnTo>
                    <a:pt x="3264" y="420"/>
                  </a:lnTo>
                  <a:close/>
                  <a:moveTo>
                    <a:pt x="3720" y="288"/>
                  </a:moveTo>
                  <a:lnTo>
                    <a:pt x="3726" y="288"/>
                  </a:lnTo>
                  <a:lnTo>
                    <a:pt x="3732" y="294"/>
                  </a:lnTo>
                  <a:lnTo>
                    <a:pt x="3738" y="306"/>
                  </a:lnTo>
                  <a:lnTo>
                    <a:pt x="3768" y="306"/>
                  </a:lnTo>
                  <a:lnTo>
                    <a:pt x="3780" y="300"/>
                  </a:lnTo>
                  <a:lnTo>
                    <a:pt x="3834" y="300"/>
                  </a:lnTo>
                  <a:lnTo>
                    <a:pt x="3834" y="294"/>
                  </a:lnTo>
                  <a:lnTo>
                    <a:pt x="3828" y="294"/>
                  </a:lnTo>
                  <a:lnTo>
                    <a:pt x="3822" y="288"/>
                  </a:lnTo>
                  <a:lnTo>
                    <a:pt x="3810" y="288"/>
                  </a:lnTo>
                  <a:lnTo>
                    <a:pt x="3804" y="282"/>
                  </a:lnTo>
                  <a:lnTo>
                    <a:pt x="3792" y="282"/>
                  </a:lnTo>
                  <a:lnTo>
                    <a:pt x="3804" y="270"/>
                  </a:lnTo>
                  <a:lnTo>
                    <a:pt x="3816" y="264"/>
                  </a:lnTo>
                  <a:lnTo>
                    <a:pt x="3822" y="264"/>
                  </a:lnTo>
                  <a:lnTo>
                    <a:pt x="3828" y="258"/>
                  </a:lnTo>
                  <a:lnTo>
                    <a:pt x="3822" y="258"/>
                  </a:lnTo>
                  <a:lnTo>
                    <a:pt x="3810" y="252"/>
                  </a:lnTo>
                  <a:lnTo>
                    <a:pt x="3738" y="228"/>
                  </a:lnTo>
                  <a:lnTo>
                    <a:pt x="3732" y="228"/>
                  </a:lnTo>
                  <a:lnTo>
                    <a:pt x="3726" y="234"/>
                  </a:lnTo>
                  <a:lnTo>
                    <a:pt x="3714" y="240"/>
                  </a:lnTo>
                  <a:lnTo>
                    <a:pt x="3702" y="240"/>
                  </a:lnTo>
                  <a:lnTo>
                    <a:pt x="3690" y="252"/>
                  </a:lnTo>
                  <a:lnTo>
                    <a:pt x="3690" y="258"/>
                  </a:lnTo>
                  <a:lnTo>
                    <a:pt x="3696" y="264"/>
                  </a:lnTo>
                  <a:lnTo>
                    <a:pt x="3702" y="276"/>
                  </a:lnTo>
                  <a:lnTo>
                    <a:pt x="3714" y="282"/>
                  </a:lnTo>
                  <a:lnTo>
                    <a:pt x="3720" y="288"/>
                  </a:lnTo>
                  <a:close/>
                  <a:moveTo>
                    <a:pt x="3288" y="504"/>
                  </a:moveTo>
                  <a:lnTo>
                    <a:pt x="3270" y="504"/>
                  </a:lnTo>
                  <a:lnTo>
                    <a:pt x="3234" y="510"/>
                  </a:lnTo>
                  <a:lnTo>
                    <a:pt x="3186" y="516"/>
                  </a:lnTo>
                  <a:lnTo>
                    <a:pt x="3144" y="528"/>
                  </a:lnTo>
                  <a:lnTo>
                    <a:pt x="3132" y="534"/>
                  </a:lnTo>
                  <a:lnTo>
                    <a:pt x="3126" y="540"/>
                  </a:lnTo>
                  <a:lnTo>
                    <a:pt x="3132" y="540"/>
                  </a:lnTo>
                  <a:lnTo>
                    <a:pt x="3150" y="558"/>
                  </a:lnTo>
                  <a:lnTo>
                    <a:pt x="3156" y="570"/>
                  </a:lnTo>
                  <a:lnTo>
                    <a:pt x="3156" y="576"/>
                  </a:lnTo>
                  <a:lnTo>
                    <a:pt x="3138" y="582"/>
                  </a:lnTo>
                  <a:lnTo>
                    <a:pt x="3120" y="570"/>
                  </a:lnTo>
                  <a:lnTo>
                    <a:pt x="3090" y="564"/>
                  </a:lnTo>
                  <a:lnTo>
                    <a:pt x="3048" y="570"/>
                  </a:lnTo>
                  <a:lnTo>
                    <a:pt x="3066" y="606"/>
                  </a:lnTo>
                  <a:lnTo>
                    <a:pt x="3072" y="612"/>
                  </a:lnTo>
                  <a:lnTo>
                    <a:pt x="3084" y="618"/>
                  </a:lnTo>
                  <a:lnTo>
                    <a:pt x="3102" y="624"/>
                  </a:lnTo>
                  <a:lnTo>
                    <a:pt x="3114" y="630"/>
                  </a:lnTo>
                  <a:lnTo>
                    <a:pt x="3120" y="642"/>
                  </a:lnTo>
                  <a:lnTo>
                    <a:pt x="3120" y="654"/>
                  </a:lnTo>
                  <a:lnTo>
                    <a:pt x="3126" y="666"/>
                  </a:lnTo>
                  <a:lnTo>
                    <a:pt x="3126" y="678"/>
                  </a:lnTo>
                  <a:lnTo>
                    <a:pt x="3144" y="678"/>
                  </a:lnTo>
                  <a:lnTo>
                    <a:pt x="3228" y="666"/>
                  </a:lnTo>
                  <a:lnTo>
                    <a:pt x="3264" y="660"/>
                  </a:lnTo>
                  <a:lnTo>
                    <a:pt x="3276" y="654"/>
                  </a:lnTo>
                  <a:lnTo>
                    <a:pt x="3282" y="642"/>
                  </a:lnTo>
                  <a:lnTo>
                    <a:pt x="3288" y="624"/>
                  </a:lnTo>
                  <a:lnTo>
                    <a:pt x="3300" y="600"/>
                  </a:lnTo>
                  <a:lnTo>
                    <a:pt x="3300" y="588"/>
                  </a:lnTo>
                  <a:lnTo>
                    <a:pt x="3228" y="576"/>
                  </a:lnTo>
                  <a:lnTo>
                    <a:pt x="3240" y="570"/>
                  </a:lnTo>
                  <a:lnTo>
                    <a:pt x="3348" y="534"/>
                  </a:lnTo>
                  <a:lnTo>
                    <a:pt x="3360" y="528"/>
                  </a:lnTo>
                  <a:lnTo>
                    <a:pt x="3354" y="522"/>
                  </a:lnTo>
                  <a:lnTo>
                    <a:pt x="3342" y="516"/>
                  </a:lnTo>
                  <a:lnTo>
                    <a:pt x="3324" y="510"/>
                  </a:lnTo>
                  <a:lnTo>
                    <a:pt x="3312" y="510"/>
                  </a:lnTo>
                  <a:lnTo>
                    <a:pt x="3300" y="504"/>
                  </a:lnTo>
                  <a:lnTo>
                    <a:pt x="3288" y="504"/>
                  </a:lnTo>
                  <a:close/>
                  <a:moveTo>
                    <a:pt x="2898" y="744"/>
                  </a:moveTo>
                  <a:lnTo>
                    <a:pt x="2880" y="738"/>
                  </a:lnTo>
                  <a:lnTo>
                    <a:pt x="2796" y="738"/>
                  </a:lnTo>
                  <a:lnTo>
                    <a:pt x="2874" y="696"/>
                  </a:lnTo>
                  <a:lnTo>
                    <a:pt x="2880" y="684"/>
                  </a:lnTo>
                  <a:lnTo>
                    <a:pt x="2886" y="654"/>
                  </a:lnTo>
                  <a:lnTo>
                    <a:pt x="2898" y="624"/>
                  </a:lnTo>
                  <a:lnTo>
                    <a:pt x="2898" y="588"/>
                  </a:lnTo>
                  <a:lnTo>
                    <a:pt x="2880" y="570"/>
                  </a:lnTo>
                  <a:lnTo>
                    <a:pt x="2850" y="570"/>
                  </a:lnTo>
                  <a:lnTo>
                    <a:pt x="2814" y="576"/>
                  </a:lnTo>
                  <a:lnTo>
                    <a:pt x="2796" y="582"/>
                  </a:lnTo>
                  <a:lnTo>
                    <a:pt x="2784" y="588"/>
                  </a:lnTo>
                  <a:lnTo>
                    <a:pt x="2784" y="594"/>
                  </a:lnTo>
                  <a:lnTo>
                    <a:pt x="2766" y="612"/>
                  </a:lnTo>
                  <a:lnTo>
                    <a:pt x="2760" y="630"/>
                  </a:lnTo>
                  <a:lnTo>
                    <a:pt x="2736" y="654"/>
                  </a:lnTo>
                  <a:lnTo>
                    <a:pt x="2718" y="666"/>
                  </a:lnTo>
                  <a:lnTo>
                    <a:pt x="2706" y="672"/>
                  </a:lnTo>
                  <a:lnTo>
                    <a:pt x="2700" y="672"/>
                  </a:lnTo>
                  <a:lnTo>
                    <a:pt x="2694" y="666"/>
                  </a:lnTo>
                  <a:lnTo>
                    <a:pt x="2694" y="660"/>
                  </a:lnTo>
                  <a:lnTo>
                    <a:pt x="2700" y="654"/>
                  </a:lnTo>
                  <a:lnTo>
                    <a:pt x="2706" y="642"/>
                  </a:lnTo>
                  <a:lnTo>
                    <a:pt x="2712" y="636"/>
                  </a:lnTo>
                  <a:lnTo>
                    <a:pt x="2718" y="624"/>
                  </a:lnTo>
                  <a:lnTo>
                    <a:pt x="2718" y="612"/>
                  </a:lnTo>
                  <a:lnTo>
                    <a:pt x="2724" y="606"/>
                  </a:lnTo>
                  <a:lnTo>
                    <a:pt x="2724" y="600"/>
                  </a:lnTo>
                  <a:lnTo>
                    <a:pt x="2706" y="594"/>
                  </a:lnTo>
                  <a:lnTo>
                    <a:pt x="2676" y="588"/>
                  </a:lnTo>
                  <a:lnTo>
                    <a:pt x="2628" y="588"/>
                  </a:lnTo>
                  <a:lnTo>
                    <a:pt x="2622" y="606"/>
                  </a:lnTo>
                  <a:lnTo>
                    <a:pt x="2610" y="612"/>
                  </a:lnTo>
                  <a:lnTo>
                    <a:pt x="2586" y="618"/>
                  </a:lnTo>
                  <a:lnTo>
                    <a:pt x="2550" y="624"/>
                  </a:lnTo>
                  <a:lnTo>
                    <a:pt x="2508" y="630"/>
                  </a:lnTo>
                  <a:lnTo>
                    <a:pt x="2490" y="630"/>
                  </a:lnTo>
                  <a:lnTo>
                    <a:pt x="2496" y="624"/>
                  </a:lnTo>
                  <a:lnTo>
                    <a:pt x="2508" y="618"/>
                  </a:lnTo>
                  <a:lnTo>
                    <a:pt x="2520" y="618"/>
                  </a:lnTo>
                  <a:lnTo>
                    <a:pt x="2538" y="612"/>
                  </a:lnTo>
                  <a:lnTo>
                    <a:pt x="2550" y="606"/>
                  </a:lnTo>
                  <a:lnTo>
                    <a:pt x="2586" y="594"/>
                  </a:lnTo>
                  <a:lnTo>
                    <a:pt x="2598" y="588"/>
                  </a:lnTo>
                  <a:lnTo>
                    <a:pt x="2604" y="588"/>
                  </a:lnTo>
                  <a:lnTo>
                    <a:pt x="2604" y="582"/>
                  </a:lnTo>
                  <a:lnTo>
                    <a:pt x="2592" y="576"/>
                  </a:lnTo>
                  <a:lnTo>
                    <a:pt x="2556" y="576"/>
                  </a:lnTo>
                  <a:lnTo>
                    <a:pt x="2496" y="594"/>
                  </a:lnTo>
                  <a:lnTo>
                    <a:pt x="2460" y="600"/>
                  </a:lnTo>
                  <a:lnTo>
                    <a:pt x="2466" y="594"/>
                  </a:lnTo>
                  <a:lnTo>
                    <a:pt x="2478" y="588"/>
                  </a:lnTo>
                  <a:lnTo>
                    <a:pt x="2490" y="576"/>
                  </a:lnTo>
                  <a:lnTo>
                    <a:pt x="2502" y="570"/>
                  </a:lnTo>
                  <a:lnTo>
                    <a:pt x="2514" y="558"/>
                  </a:lnTo>
                  <a:lnTo>
                    <a:pt x="2508" y="558"/>
                  </a:lnTo>
                  <a:lnTo>
                    <a:pt x="2508" y="552"/>
                  </a:lnTo>
                  <a:lnTo>
                    <a:pt x="2496" y="552"/>
                  </a:lnTo>
                  <a:lnTo>
                    <a:pt x="2346" y="600"/>
                  </a:lnTo>
                  <a:lnTo>
                    <a:pt x="2328" y="600"/>
                  </a:lnTo>
                  <a:lnTo>
                    <a:pt x="2244" y="624"/>
                  </a:lnTo>
                  <a:lnTo>
                    <a:pt x="2250" y="642"/>
                  </a:lnTo>
                  <a:lnTo>
                    <a:pt x="2190" y="660"/>
                  </a:lnTo>
                  <a:lnTo>
                    <a:pt x="2172" y="678"/>
                  </a:lnTo>
                  <a:lnTo>
                    <a:pt x="2202" y="690"/>
                  </a:lnTo>
                  <a:lnTo>
                    <a:pt x="2208" y="684"/>
                  </a:lnTo>
                  <a:lnTo>
                    <a:pt x="2220" y="678"/>
                  </a:lnTo>
                  <a:lnTo>
                    <a:pt x="2238" y="678"/>
                  </a:lnTo>
                  <a:lnTo>
                    <a:pt x="2244" y="684"/>
                  </a:lnTo>
                  <a:lnTo>
                    <a:pt x="2244" y="690"/>
                  </a:lnTo>
                  <a:lnTo>
                    <a:pt x="2238" y="696"/>
                  </a:lnTo>
                  <a:lnTo>
                    <a:pt x="2226" y="696"/>
                  </a:lnTo>
                  <a:lnTo>
                    <a:pt x="2208" y="702"/>
                  </a:lnTo>
                  <a:lnTo>
                    <a:pt x="2196" y="702"/>
                  </a:lnTo>
                  <a:lnTo>
                    <a:pt x="2160" y="720"/>
                  </a:lnTo>
                  <a:lnTo>
                    <a:pt x="2166" y="732"/>
                  </a:lnTo>
                  <a:lnTo>
                    <a:pt x="2196" y="732"/>
                  </a:lnTo>
                  <a:lnTo>
                    <a:pt x="2238" y="738"/>
                  </a:lnTo>
                  <a:lnTo>
                    <a:pt x="2322" y="738"/>
                  </a:lnTo>
                  <a:lnTo>
                    <a:pt x="2352" y="744"/>
                  </a:lnTo>
                  <a:lnTo>
                    <a:pt x="2352" y="750"/>
                  </a:lnTo>
                  <a:lnTo>
                    <a:pt x="2322" y="762"/>
                  </a:lnTo>
                  <a:lnTo>
                    <a:pt x="2280" y="762"/>
                  </a:lnTo>
                  <a:lnTo>
                    <a:pt x="2172" y="774"/>
                  </a:lnTo>
                  <a:lnTo>
                    <a:pt x="2136" y="774"/>
                  </a:lnTo>
                  <a:lnTo>
                    <a:pt x="2112" y="786"/>
                  </a:lnTo>
                  <a:lnTo>
                    <a:pt x="2106" y="792"/>
                  </a:lnTo>
                  <a:lnTo>
                    <a:pt x="2118" y="804"/>
                  </a:lnTo>
                  <a:lnTo>
                    <a:pt x="2130" y="810"/>
                  </a:lnTo>
                  <a:lnTo>
                    <a:pt x="2148" y="810"/>
                  </a:lnTo>
                  <a:lnTo>
                    <a:pt x="2160" y="816"/>
                  </a:lnTo>
                  <a:lnTo>
                    <a:pt x="2178" y="822"/>
                  </a:lnTo>
                  <a:lnTo>
                    <a:pt x="2190" y="828"/>
                  </a:lnTo>
                  <a:lnTo>
                    <a:pt x="2190" y="834"/>
                  </a:lnTo>
                  <a:lnTo>
                    <a:pt x="2184" y="840"/>
                  </a:lnTo>
                  <a:lnTo>
                    <a:pt x="2172" y="840"/>
                  </a:lnTo>
                  <a:lnTo>
                    <a:pt x="2154" y="858"/>
                  </a:lnTo>
                  <a:lnTo>
                    <a:pt x="2166" y="870"/>
                  </a:lnTo>
                  <a:lnTo>
                    <a:pt x="2322" y="870"/>
                  </a:lnTo>
                  <a:lnTo>
                    <a:pt x="2370" y="864"/>
                  </a:lnTo>
                  <a:lnTo>
                    <a:pt x="2436" y="858"/>
                  </a:lnTo>
                  <a:lnTo>
                    <a:pt x="2508" y="846"/>
                  </a:lnTo>
                  <a:lnTo>
                    <a:pt x="2574" y="840"/>
                  </a:lnTo>
                  <a:lnTo>
                    <a:pt x="2616" y="828"/>
                  </a:lnTo>
                  <a:lnTo>
                    <a:pt x="2652" y="828"/>
                  </a:lnTo>
                  <a:lnTo>
                    <a:pt x="2736" y="864"/>
                  </a:lnTo>
                  <a:lnTo>
                    <a:pt x="2778" y="876"/>
                  </a:lnTo>
                  <a:lnTo>
                    <a:pt x="2796" y="876"/>
                  </a:lnTo>
                  <a:lnTo>
                    <a:pt x="2814" y="870"/>
                  </a:lnTo>
                  <a:lnTo>
                    <a:pt x="2832" y="852"/>
                  </a:lnTo>
                  <a:lnTo>
                    <a:pt x="2838" y="840"/>
                  </a:lnTo>
                  <a:lnTo>
                    <a:pt x="2844" y="834"/>
                  </a:lnTo>
                  <a:lnTo>
                    <a:pt x="2844" y="822"/>
                  </a:lnTo>
                  <a:lnTo>
                    <a:pt x="2766" y="822"/>
                  </a:lnTo>
                  <a:lnTo>
                    <a:pt x="2802" y="798"/>
                  </a:lnTo>
                  <a:lnTo>
                    <a:pt x="2850" y="798"/>
                  </a:lnTo>
                  <a:lnTo>
                    <a:pt x="2898" y="792"/>
                  </a:lnTo>
                  <a:lnTo>
                    <a:pt x="2910" y="786"/>
                  </a:lnTo>
                  <a:lnTo>
                    <a:pt x="2916" y="786"/>
                  </a:lnTo>
                  <a:lnTo>
                    <a:pt x="2922" y="780"/>
                  </a:lnTo>
                  <a:lnTo>
                    <a:pt x="2916" y="768"/>
                  </a:lnTo>
                  <a:lnTo>
                    <a:pt x="2898" y="750"/>
                  </a:lnTo>
                  <a:lnTo>
                    <a:pt x="2898" y="744"/>
                  </a:lnTo>
                  <a:close/>
                  <a:moveTo>
                    <a:pt x="2868" y="882"/>
                  </a:moveTo>
                  <a:lnTo>
                    <a:pt x="2886" y="882"/>
                  </a:lnTo>
                  <a:lnTo>
                    <a:pt x="2904" y="876"/>
                  </a:lnTo>
                  <a:lnTo>
                    <a:pt x="2910" y="870"/>
                  </a:lnTo>
                  <a:lnTo>
                    <a:pt x="2910" y="864"/>
                  </a:lnTo>
                  <a:lnTo>
                    <a:pt x="2904" y="858"/>
                  </a:lnTo>
                  <a:lnTo>
                    <a:pt x="2880" y="858"/>
                  </a:lnTo>
                  <a:lnTo>
                    <a:pt x="2868" y="870"/>
                  </a:lnTo>
                  <a:lnTo>
                    <a:pt x="2868" y="882"/>
                  </a:lnTo>
                  <a:close/>
                  <a:moveTo>
                    <a:pt x="3276" y="330"/>
                  </a:moveTo>
                  <a:lnTo>
                    <a:pt x="3288" y="330"/>
                  </a:lnTo>
                  <a:lnTo>
                    <a:pt x="3294" y="324"/>
                  </a:lnTo>
                  <a:lnTo>
                    <a:pt x="3300" y="312"/>
                  </a:lnTo>
                  <a:lnTo>
                    <a:pt x="3300" y="306"/>
                  </a:lnTo>
                  <a:lnTo>
                    <a:pt x="3294" y="294"/>
                  </a:lnTo>
                  <a:lnTo>
                    <a:pt x="3288" y="288"/>
                  </a:lnTo>
                  <a:lnTo>
                    <a:pt x="3276" y="288"/>
                  </a:lnTo>
                  <a:lnTo>
                    <a:pt x="3270" y="300"/>
                  </a:lnTo>
                  <a:lnTo>
                    <a:pt x="3264" y="306"/>
                  </a:lnTo>
                  <a:lnTo>
                    <a:pt x="3264" y="324"/>
                  </a:lnTo>
                  <a:lnTo>
                    <a:pt x="3270" y="330"/>
                  </a:lnTo>
                  <a:lnTo>
                    <a:pt x="3276" y="330"/>
                  </a:lnTo>
                  <a:close/>
                  <a:moveTo>
                    <a:pt x="3462" y="228"/>
                  </a:moveTo>
                  <a:lnTo>
                    <a:pt x="3450" y="240"/>
                  </a:lnTo>
                  <a:lnTo>
                    <a:pt x="3450" y="252"/>
                  </a:lnTo>
                  <a:lnTo>
                    <a:pt x="3456" y="258"/>
                  </a:lnTo>
                  <a:lnTo>
                    <a:pt x="3528" y="258"/>
                  </a:lnTo>
                  <a:lnTo>
                    <a:pt x="3546" y="276"/>
                  </a:lnTo>
                  <a:lnTo>
                    <a:pt x="3558" y="282"/>
                  </a:lnTo>
                  <a:lnTo>
                    <a:pt x="3588" y="282"/>
                  </a:lnTo>
                  <a:lnTo>
                    <a:pt x="3612" y="270"/>
                  </a:lnTo>
                  <a:lnTo>
                    <a:pt x="3618" y="264"/>
                  </a:lnTo>
                  <a:lnTo>
                    <a:pt x="3606" y="252"/>
                  </a:lnTo>
                  <a:lnTo>
                    <a:pt x="3636" y="246"/>
                  </a:lnTo>
                  <a:lnTo>
                    <a:pt x="3594" y="210"/>
                  </a:lnTo>
                  <a:lnTo>
                    <a:pt x="3552" y="216"/>
                  </a:lnTo>
                  <a:lnTo>
                    <a:pt x="3534" y="198"/>
                  </a:lnTo>
                  <a:lnTo>
                    <a:pt x="3450" y="198"/>
                  </a:lnTo>
                  <a:lnTo>
                    <a:pt x="3438" y="204"/>
                  </a:lnTo>
                  <a:lnTo>
                    <a:pt x="3426" y="204"/>
                  </a:lnTo>
                  <a:lnTo>
                    <a:pt x="3420" y="210"/>
                  </a:lnTo>
                  <a:lnTo>
                    <a:pt x="3438" y="228"/>
                  </a:lnTo>
                  <a:lnTo>
                    <a:pt x="3462" y="228"/>
                  </a:lnTo>
                  <a:close/>
                  <a:moveTo>
                    <a:pt x="3432" y="1302"/>
                  </a:moveTo>
                  <a:lnTo>
                    <a:pt x="3408" y="1326"/>
                  </a:lnTo>
                  <a:lnTo>
                    <a:pt x="3408" y="1344"/>
                  </a:lnTo>
                  <a:lnTo>
                    <a:pt x="3438" y="1344"/>
                  </a:lnTo>
                  <a:lnTo>
                    <a:pt x="3462" y="1332"/>
                  </a:lnTo>
                  <a:lnTo>
                    <a:pt x="3468" y="1332"/>
                  </a:lnTo>
                  <a:lnTo>
                    <a:pt x="3480" y="1326"/>
                  </a:lnTo>
                  <a:lnTo>
                    <a:pt x="3486" y="1326"/>
                  </a:lnTo>
                  <a:lnTo>
                    <a:pt x="3504" y="1308"/>
                  </a:lnTo>
                  <a:lnTo>
                    <a:pt x="3516" y="1290"/>
                  </a:lnTo>
                  <a:lnTo>
                    <a:pt x="3516" y="1266"/>
                  </a:lnTo>
                  <a:lnTo>
                    <a:pt x="3510" y="1260"/>
                  </a:lnTo>
                  <a:lnTo>
                    <a:pt x="3498" y="1260"/>
                  </a:lnTo>
                  <a:lnTo>
                    <a:pt x="3480" y="1266"/>
                  </a:lnTo>
                  <a:lnTo>
                    <a:pt x="3432" y="1302"/>
                  </a:lnTo>
                  <a:close/>
                  <a:moveTo>
                    <a:pt x="4416" y="1392"/>
                  </a:moveTo>
                  <a:lnTo>
                    <a:pt x="4428" y="1380"/>
                  </a:lnTo>
                  <a:lnTo>
                    <a:pt x="4428" y="1374"/>
                  </a:lnTo>
                  <a:lnTo>
                    <a:pt x="4386" y="1374"/>
                  </a:lnTo>
                  <a:lnTo>
                    <a:pt x="4386" y="1380"/>
                  </a:lnTo>
                  <a:lnTo>
                    <a:pt x="4404" y="1398"/>
                  </a:lnTo>
                  <a:lnTo>
                    <a:pt x="4416" y="1392"/>
                  </a:lnTo>
                  <a:close/>
                  <a:moveTo>
                    <a:pt x="3120" y="2034"/>
                  </a:moveTo>
                  <a:lnTo>
                    <a:pt x="3132" y="2034"/>
                  </a:lnTo>
                  <a:lnTo>
                    <a:pt x="3138" y="2028"/>
                  </a:lnTo>
                  <a:lnTo>
                    <a:pt x="3132" y="2022"/>
                  </a:lnTo>
                  <a:lnTo>
                    <a:pt x="3120" y="2016"/>
                  </a:lnTo>
                  <a:lnTo>
                    <a:pt x="3114" y="2010"/>
                  </a:lnTo>
                  <a:lnTo>
                    <a:pt x="3108" y="2010"/>
                  </a:lnTo>
                  <a:lnTo>
                    <a:pt x="3090" y="2016"/>
                  </a:lnTo>
                  <a:lnTo>
                    <a:pt x="3078" y="2022"/>
                  </a:lnTo>
                  <a:lnTo>
                    <a:pt x="3072" y="2022"/>
                  </a:lnTo>
                  <a:lnTo>
                    <a:pt x="3072" y="2028"/>
                  </a:lnTo>
                  <a:lnTo>
                    <a:pt x="3078" y="2034"/>
                  </a:lnTo>
                  <a:lnTo>
                    <a:pt x="3120" y="2034"/>
                  </a:lnTo>
                  <a:close/>
                  <a:moveTo>
                    <a:pt x="4758" y="996"/>
                  </a:moveTo>
                  <a:lnTo>
                    <a:pt x="4746" y="996"/>
                  </a:lnTo>
                  <a:lnTo>
                    <a:pt x="4734" y="984"/>
                  </a:lnTo>
                  <a:lnTo>
                    <a:pt x="4704" y="1008"/>
                  </a:lnTo>
                  <a:lnTo>
                    <a:pt x="4704" y="978"/>
                  </a:lnTo>
                  <a:lnTo>
                    <a:pt x="4662" y="978"/>
                  </a:lnTo>
                  <a:lnTo>
                    <a:pt x="4668" y="978"/>
                  </a:lnTo>
                  <a:lnTo>
                    <a:pt x="4674" y="972"/>
                  </a:lnTo>
                  <a:lnTo>
                    <a:pt x="4686" y="972"/>
                  </a:lnTo>
                  <a:lnTo>
                    <a:pt x="4698" y="966"/>
                  </a:lnTo>
                  <a:lnTo>
                    <a:pt x="4704" y="954"/>
                  </a:lnTo>
                  <a:lnTo>
                    <a:pt x="4704" y="948"/>
                  </a:lnTo>
                  <a:lnTo>
                    <a:pt x="4698" y="942"/>
                  </a:lnTo>
                  <a:lnTo>
                    <a:pt x="4680" y="942"/>
                  </a:lnTo>
                  <a:lnTo>
                    <a:pt x="4668" y="936"/>
                  </a:lnTo>
                  <a:lnTo>
                    <a:pt x="4650" y="936"/>
                  </a:lnTo>
                  <a:lnTo>
                    <a:pt x="4632" y="930"/>
                  </a:lnTo>
                  <a:lnTo>
                    <a:pt x="4620" y="930"/>
                  </a:lnTo>
                  <a:lnTo>
                    <a:pt x="4614" y="918"/>
                  </a:lnTo>
                  <a:lnTo>
                    <a:pt x="4566" y="912"/>
                  </a:lnTo>
                  <a:lnTo>
                    <a:pt x="4500" y="870"/>
                  </a:lnTo>
                  <a:lnTo>
                    <a:pt x="4566" y="864"/>
                  </a:lnTo>
                  <a:lnTo>
                    <a:pt x="4536" y="840"/>
                  </a:lnTo>
                  <a:lnTo>
                    <a:pt x="4542" y="840"/>
                  </a:lnTo>
                  <a:lnTo>
                    <a:pt x="4548" y="834"/>
                  </a:lnTo>
                  <a:lnTo>
                    <a:pt x="4584" y="834"/>
                  </a:lnTo>
                  <a:lnTo>
                    <a:pt x="4596" y="840"/>
                  </a:lnTo>
                  <a:lnTo>
                    <a:pt x="4638" y="840"/>
                  </a:lnTo>
                  <a:lnTo>
                    <a:pt x="4638" y="834"/>
                  </a:lnTo>
                  <a:lnTo>
                    <a:pt x="4632" y="828"/>
                  </a:lnTo>
                  <a:lnTo>
                    <a:pt x="4614" y="822"/>
                  </a:lnTo>
                  <a:lnTo>
                    <a:pt x="4596" y="822"/>
                  </a:lnTo>
                  <a:lnTo>
                    <a:pt x="4578" y="816"/>
                  </a:lnTo>
                  <a:lnTo>
                    <a:pt x="4518" y="816"/>
                  </a:lnTo>
                  <a:lnTo>
                    <a:pt x="4536" y="816"/>
                  </a:lnTo>
                  <a:lnTo>
                    <a:pt x="4620" y="804"/>
                  </a:lnTo>
                  <a:lnTo>
                    <a:pt x="4638" y="798"/>
                  </a:lnTo>
                  <a:lnTo>
                    <a:pt x="4638" y="792"/>
                  </a:lnTo>
                  <a:lnTo>
                    <a:pt x="4632" y="792"/>
                  </a:lnTo>
                  <a:lnTo>
                    <a:pt x="4626" y="786"/>
                  </a:lnTo>
                  <a:lnTo>
                    <a:pt x="4608" y="786"/>
                  </a:lnTo>
                  <a:lnTo>
                    <a:pt x="4500" y="798"/>
                  </a:lnTo>
                  <a:lnTo>
                    <a:pt x="4560" y="762"/>
                  </a:lnTo>
                  <a:lnTo>
                    <a:pt x="4620" y="762"/>
                  </a:lnTo>
                  <a:lnTo>
                    <a:pt x="4626" y="756"/>
                  </a:lnTo>
                  <a:lnTo>
                    <a:pt x="4620" y="750"/>
                  </a:lnTo>
                  <a:lnTo>
                    <a:pt x="4584" y="738"/>
                  </a:lnTo>
                  <a:lnTo>
                    <a:pt x="4572" y="732"/>
                  </a:lnTo>
                  <a:lnTo>
                    <a:pt x="4554" y="732"/>
                  </a:lnTo>
                  <a:lnTo>
                    <a:pt x="4518" y="750"/>
                  </a:lnTo>
                  <a:lnTo>
                    <a:pt x="4500" y="744"/>
                  </a:lnTo>
                  <a:lnTo>
                    <a:pt x="4458" y="774"/>
                  </a:lnTo>
                  <a:lnTo>
                    <a:pt x="4464" y="756"/>
                  </a:lnTo>
                  <a:lnTo>
                    <a:pt x="4440" y="774"/>
                  </a:lnTo>
                  <a:lnTo>
                    <a:pt x="4464" y="744"/>
                  </a:lnTo>
                  <a:lnTo>
                    <a:pt x="4500" y="744"/>
                  </a:lnTo>
                  <a:lnTo>
                    <a:pt x="4506" y="738"/>
                  </a:lnTo>
                  <a:lnTo>
                    <a:pt x="4518" y="714"/>
                  </a:lnTo>
                  <a:lnTo>
                    <a:pt x="4518" y="708"/>
                  </a:lnTo>
                  <a:lnTo>
                    <a:pt x="4512" y="702"/>
                  </a:lnTo>
                  <a:lnTo>
                    <a:pt x="4506" y="708"/>
                  </a:lnTo>
                  <a:lnTo>
                    <a:pt x="4494" y="714"/>
                  </a:lnTo>
                  <a:lnTo>
                    <a:pt x="4488" y="726"/>
                  </a:lnTo>
                  <a:lnTo>
                    <a:pt x="4452" y="726"/>
                  </a:lnTo>
                  <a:lnTo>
                    <a:pt x="4428" y="738"/>
                  </a:lnTo>
                  <a:lnTo>
                    <a:pt x="4452" y="708"/>
                  </a:lnTo>
                  <a:lnTo>
                    <a:pt x="4482" y="708"/>
                  </a:lnTo>
                  <a:lnTo>
                    <a:pt x="4494" y="702"/>
                  </a:lnTo>
                  <a:lnTo>
                    <a:pt x="4500" y="702"/>
                  </a:lnTo>
                  <a:lnTo>
                    <a:pt x="4506" y="696"/>
                  </a:lnTo>
                  <a:lnTo>
                    <a:pt x="4506" y="690"/>
                  </a:lnTo>
                  <a:lnTo>
                    <a:pt x="4500" y="684"/>
                  </a:lnTo>
                  <a:lnTo>
                    <a:pt x="4458" y="684"/>
                  </a:lnTo>
                  <a:lnTo>
                    <a:pt x="4446" y="690"/>
                  </a:lnTo>
                  <a:lnTo>
                    <a:pt x="4428" y="696"/>
                  </a:lnTo>
                  <a:lnTo>
                    <a:pt x="4422" y="702"/>
                  </a:lnTo>
                  <a:lnTo>
                    <a:pt x="4416" y="702"/>
                  </a:lnTo>
                  <a:lnTo>
                    <a:pt x="4404" y="684"/>
                  </a:lnTo>
                  <a:lnTo>
                    <a:pt x="4380" y="702"/>
                  </a:lnTo>
                  <a:lnTo>
                    <a:pt x="4398" y="672"/>
                  </a:lnTo>
                  <a:lnTo>
                    <a:pt x="4344" y="696"/>
                  </a:lnTo>
                  <a:lnTo>
                    <a:pt x="4344" y="672"/>
                  </a:lnTo>
                  <a:lnTo>
                    <a:pt x="4350" y="672"/>
                  </a:lnTo>
                  <a:lnTo>
                    <a:pt x="4356" y="666"/>
                  </a:lnTo>
                  <a:lnTo>
                    <a:pt x="4368" y="666"/>
                  </a:lnTo>
                  <a:lnTo>
                    <a:pt x="4386" y="660"/>
                  </a:lnTo>
                  <a:lnTo>
                    <a:pt x="4392" y="660"/>
                  </a:lnTo>
                  <a:lnTo>
                    <a:pt x="4398" y="654"/>
                  </a:lnTo>
                  <a:lnTo>
                    <a:pt x="4356" y="654"/>
                  </a:lnTo>
                  <a:lnTo>
                    <a:pt x="4338" y="660"/>
                  </a:lnTo>
                  <a:lnTo>
                    <a:pt x="4326" y="660"/>
                  </a:lnTo>
                  <a:lnTo>
                    <a:pt x="4320" y="648"/>
                  </a:lnTo>
                  <a:lnTo>
                    <a:pt x="4332" y="648"/>
                  </a:lnTo>
                  <a:lnTo>
                    <a:pt x="4356" y="636"/>
                  </a:lnTo>
                  <a:lnTo>
                    <a:pt x="4368" y="636"/>
                  </a:lnTo>
                  <a:lnTo>
                    <a:pt x="4380" y="630"/>
                  </a:lnTo>
                  <a:lnTo>
                    <a:pt x="4386" y="624"/>
                  </a:lnTo>
                  <a:lnTo>
                    <a:pt x="4368" y="618"/>
                  </a:lnTo>
                  <a:lnTo>
                    <a:pt x="4326" y="612"/>
                  </a:lnTo>
                  <a:lnTo>
                    <a:pt x="4290" y="612"/>
                  </a:lnTo>
                  <a:lnTo>
                    <a:pt x="4266" y="606"/>
                  </a:lnTo>
                  <a:lnTo>
                    <a:pt x="4236" y="606"/>
                  </a:lnTo>
                  <a:lnTo>
                    <a:pt x="4230" y="612"/>
                  </a:lnTo>
                  <a:lnTo>
                    <a:pt x="4230" y="618"/>
                  </a:lnTo>
                  <a:lnTo>
                    <a:pt x="4236" y="624"/>
                  </a:lnTo>
                  <a:lnTo>
                    <a:pt x="4242" y="636"/>
                  </a:lnTo>
                  <a:lnTo>
                    <a:pt x="4206" y="630"/>
                  </a:lnTo>
                  <a:lnTo>
                    <a:pt x="4212" y="660"/>
                  </a:lnTo>
                  <a:lnTo>
                    <a:pt x="4194" y="636"/>
                  </a:lnTo>
                  <a:lnTo>
                    <a:pt x="4152" y="660"/>
                  </a:lnTo>
                  <a:lnTo>
                    <a:pt x="4158" y="654"/>
                  </a:lnTo>
                  <a:lnTo>
                    <a:pt x="4158" y="636"/>
                  </a:lnTo>
                  <a:lnTo>
                    <a:pt x="4152" y="630"/>
                  </a:lnTo>
                  <a:lnTo>
                    <a:pt x="4140" y="630"/>
                  </a:lnTo>
                  <a:lnTo>
                    <a:pt x="4122" y="636"/>
                  </a:lnTo>
                  <a:lnTo>
                    <a:pt x="4110" y="642"/>
                  </a:lnTo>
                  <a:lnTo>
                    <a:pt x="4098" y="642"/>
                  </a:lnTo>
                  <a:lnTo>
                    <a:pt x="4086" y="648"/>
                  </a:lnTo>
                  <a:lnTo>
                    <a:pt x="4080" y="654"/>
                  </a:lnTo>
                  <a:lnTo>
                    <a:pt x="4074" y="654"/>
                  </a:lnTo>
                  <a:lnTo>
                    <a:pt x="4092" y="618"/>
                  </a:lnTo>
                  <a:lnTo>
                    <a:pt x="4110" y="618"/>
                  </a:lnTo>
                  <a:lnTo>
                    <a:pt x="4122" y="612"/>
                  </a:lnTo>
                  <a:lnTo>
                    <a:pt x="4134" y="612"/>
                  </a:lnTo>
                  <a:lnTo>
                    <a:pt x="4146" y="606"/>
                  </a:lnTo>
                  <a:lnTo>
                    <a:pt x="4152" y="600"/>
                  </a:lnTo>
                  <a:lnTo>
                    <a:pt x="4152" y="594"/>
                  </a:lnTo>
                  <a:lnTo>
                    <a:pt x="4146" y="582"/>
                  </a:lnTo>
                  <a:lnTo>
                    <a:pt x="4134" y="570"/>
                  </a:lnTo>
                  <a:lnTo>
                    <a:pt x="4152" y="552"/>
                  </a:lnTo>
                  <a:lnTo>
                    <a:pt x="4152" y="540"/>
                  </a:lnTo>
                  <a:lnTo>
                    <a:pt x="4050" y="540"/>
                  </a:lnTo>
                  <a:lnTo>
                    <a:pt x="4026" y="558"/>
                  </a:lnTo>
                  <a:lnTo>
                    <a:pt x="3942" y="558"/>
                  </a:lnTo>
                  <a:lnTo>
                    <a:pt x="3948" y="576"/>
                  </a:lnTo>
                  <a:lnTo>
                    <a:pt x="3978" y="588"/>
                  </a:lnTo>
                  <a:lnTo>
                    <a:pt x="3936" y="576"/>
                  </a:lnTo>
                  <a:lnTo>
                    <a:pt x="3948" y="600"/>
                  </a:lnTo>
                  <a:lnTo>
                    <a:pt x="3936" y="594"/>
                  </a:lnTo>
                  <a:lnTo>
                    <a:pt x="3930" y="594"/>
                  </a:lnTo>
                  <a:lnTo>
                    <a:pt x="3918" y="588"/>
                  </a:lnTo>
                  <a:lnTo>
                    <a:pt x="3894" y="588"/>
                  </a:lnTo>
                  <a:lnTo>
                    <a:pt x="3882" y="594"/>
                  </a:lnTo>
                  <a:lnTo>
                    <a:pt x="3876" y="606"/>
                  </a:lnTo>
                  <a:lnTo>
                    <a:pt x="3882" y="612"/>
                  </a:lnTo>
                  <a:lnTo>
                    <a:pt x="3888" y="624"/>
                  </a:lnTo>
                  <a:lnTo>
                    <a:pt x="3894" y="630"/>
                  </a:lnTo>
                  <a:lnTo>
                    <a:pt x="3900" y="660"/>
                  </a:lnTo>
                  <a:lnTo>
                    <a:pt x="3894" y="660"/>
                  </a:lnTo>
                  <a:lnTo>
                    <a:pt x="3888" y="654"/>
                  </a:lnTo>
                  <a:lnTo>
                    <a:pt x="3864" y="642"/>
                  </a:lnTo>
                  <a:lnTo>
                    <a:pt x="3852" y="642"/>
                  </a:lnTo>
                  <a:lnTo>
                    <a:pt x="3828" y="666"/>
                  </a:lnTo>
                  <a:lnTo>
                    <a:pt x="3828" y="678"/>
                  </a:lnTo>
                  <a:lnTo>
                    <a:pt x="3846" y="678"/>
                  </a:lnTo>
                  <a:lnTo>
                    <a:pt x="3858" y="690"/>
                  </a:lnTo>
                  <a:lnTo>
                    <a:pt x="3810" y="714"/>
                  </a:lnTo>
                  <a:lnTo>
                    <a:pt x="3750" y="720"/>
                  </a:lnTo>
                  <a:lnTo>
                    <a:pt x="3762" y="720"/>
                  </a:lnTo>
                  <a:lnTo>
                    <a:pt x="3798" y="702"/>
                  </a:lnTo>
                  <a:lnTo>
                    <a:pt x="3810" y="690"/>
                  </a:lnTo>
                  <a:lnTo>
                    <a:pt x="3810" y="684"/>
                  </a:lnTo>
                  <a:lnTo>
                    <a:pt x="3804" y="684"/>
                  </a:lnTo>
                  <a:lnTo>
                    <a:pt x="3792" y="672"/>
                  </a:lnTo>
                  <a:lnTo>
                    <a:pt x="3786" y="672"/>
                  </a:lnTo>
                  <a:lnTo>
                    <a:pt x="3786" y="660"/>
                  </a:lnTo>
                  <a:lnTo>
                    <a:pt x="3804" y="642"/>
                  </a:lnTo>
                  <a:lnTo>
                    <a:pt x="3816" y="636"/>
                  </a:lnTo>
                  <a:lnTo>
                    <a:pt x="3828" y="636"/>
                  </a:lnTo>
                  <a:lnTo>
                    <a:pt x="3828" y="606"/>
                  </a:lnTo>
                  <a:lnTo>
                    <a:pt x="3840" y="600"/>
                  </a:lnTo>
                  <a:lnTo>
                    <a:pt x="3858" y="582"/>
                  </a:lnTo>
                  <a:lnTo>
                    <a:pt x="3876" y="576"/>
                  </a:lnTo>
                  <a:lnTo>
                    <a:pt x="3882" y="570"/>
                  </a:lnTo>
                  <a:lnTo>
                    <a:pt x="3894" y="564"/>
                  </a:lnTo>
                  <a:lnTo>
                    <a:pt x="3906" y="564"/>
                  </a:lnTo>
                  <a:lnTo>
                    <a:pt x="3918" y="558"/>
                  </a:lnTo>
                  <a:lnTo>
                    <a:pt x="3936" y="552"/>
                  </a:lnTo>
                  <a:lnTo>
                    <a:pt x="3954" y="552"/>
                  </a:lnTo>
                  <a:lnTo>
                    <a:pt x="3966" y="546"/>
                  </a:lnTo>
                  <a:lnTo>
                    <a:pt x="3972" y="540"/>
                  </a:lnTo>
                  <a:lnTo>
                    <a:pt x="3942" y="534"/>
                  </a:lnTo>
                  <a:lnTo>
                    <a:pt x="3852" y="534"/>
                  </a:lnTo>
                  <a:lnTo>
                    <a:pt x="3822" y="540"/>
                  </a:lnTo>
                  <a:lnTo>
                    <a:pt x="3786" y="558"/>
                  </a:lnTo>
                  <a:lnTo>
                    <a:pt x="3744" y="576"/>
                  </a:lnTo>
                  <a:lnTo>
                    <a:pt x="3720" y="594"/>
                  </a:lnTo>
                  <a:lnTo>
                    <a:pt x="3708" y="600"/>
                  </a:lnTo>
                  <a:lnTo>
                    <a:pt x="3702" y="600"/>
                  </a:lnTo>
                  <a:lnTo>
                    <a:pt x="3696" y="606"/>
                  </a:lnTo>
                  <a:lnTo>
                    <a:pt x="3684" y="606"/>
                  </a:lnTo>
                  <a:lnTo>
                    <a:pt x="3660" y="618"/>
                  </a:lnTo>
                  <a:lnTo>
                    <a:pt x="3654" y="618"/>
                  </a:lnTo>
                  <a:lnTo>
                    <a:pt x="3642" y="624"/>
                  </a:lnTo>
                  <a:lnTo>
                    <a:pt x="3630" y="636"/>
                  </a:lnTo>
                  <a:lnTo>
                    <a:pt x="3618" y="642"/>
                  </a:lnTo>
                  <a:lnTo>
                    <a:pt x="3600" y="660"/>
                  </a:lnTo>
                  <a:lnTo>
                    <a:pt x="3588" y="666"/>
                  </a:lnTo>
                  <a:lnTo>
                    <a:pt x="3582" y="678"/>
                  </a:lnTo>
                  <a:lnTo>
                    <a:pt x="3582" y="684"/>
                  </a:lnTo>
                  <a:lnTo>
                    <a:pt x="3588" y="690"/>
                  </a:lnTo>
                  <a:lnTo>
                    <a:pt x="3612" y="690"/>
                  </a:lnTo>
                  <a:lnTo>
                    <a:pt x="3648" y="696"/>
                  </a:lnTo>
                  <a:lnTo>
                    <a:pt x="3672" y="696"/>
                  </a:lnTo>
                  <a:lnTo>
                    <a:pt x="3684" y="708"/>
                  </a:lnTo>
                  <a:lnTo>
                    <a:pt x="3666" y="714"/>
                  </a:lnTo>
                  <a:lnTo>
                    <a:pt x="3594" y="726"/>
                  </a:lnTo>
                  <a:lnTo>
                    <a:pt x="3570" y="732"/>
                  </a:lnTo>
                  <a:lnTo>
                    <a:pt x="3576" y="738"/>
                  </a:lnTo>
                  <a:lnTo>
                    <a:pt x="3594" y="750"/>
                  </a:lnTo>
                  <a:lnTo>
                    <a:pt x="3630" y="762"/>
                  </a:lnTo>
                  <a:lnTo>
                    <a:pt x="3642" y="768"/>
                  </a:lnTo>
                  <a:lnTo>
                    <a:pt x="3648" y="768"/>
                  </a:lnTo>
                  <a:lnTo>
                    <a:pt x="3690" y="750"/>
                  </a:lnTo>
                  <a:lnTo>
                    <a:pt x="3690" y="762"/>
                  </a:lnTo>
                  <a:lnTo>
                    <a:pt x="3702" y="774"/>
                  </a:lnTo>
                  <a:lnTo>
                    <a:pt x="3744" y="774"/>
                  </a:lnTo>
                  <a:lnTo>
                    <a:pt x="3786" y="780"/>
                  </a:lnTo>
                  <a:lnTo>
                    <a:pt x="3834" y="786"/>
                  </a:lnTo>
                  <a:lnTo>
                    <a:pt x="3876" y="792"/>
                  </a:lnTo>
                  <a:lnTo>
                    <a:pt x="3894" y="792"/>
                  </a:lnTo>
                  <a:lnTo>
                    <a:pt x="3900" y="786"/>
                  </a:lnTo>
                  <a:lnTo>
                    <a:pt x="3894" y="780"/>
                  </a:lnTo>
                  <a:lnTo>
                    <a:pt x="3882" y="774"/>
                  </a:lnTo>
                  <a:lnTo>
                    <a:pt x="3876" y="768"/>
                  </a:lnTo>
                  <a:lnTo>
                    <a:pt x="3894" y="768"/>
                  </a:lnTo>
                  <a:lnTo>
                    <a:pt x="3930" y="774"/>
                  </a:lnTo>
                  <a:lnTo>
                    <a:pt x="3966" y="774"/>
                  </a:lnTo>
                  <a:lnTo>
                    <a:pt x="3990" y="780"/>
                  </a:lnTo>
                  <a:lnTo>
                    <a:pt x="4002" y="780"/>
                  </a:lnTo>
                  <a:lnTo>
                    <a:pt x="4020" y="786"/>
                  </a:lnTo>
                  <a:lnTo>
                    <a:pt x="4032" y="792"/>
                  </a:lnTo>
                  <a:lnTo>
                    <a:pt x="4050" y="792"/>
                  </a:lnTo>
                  <a:lnTo>
                    <a:pt x="4062" y="786"/>
                  </a:lnTo>
                  <a:lnTo>
                    <a:pt x="4062" y="774"/>
                  </a:lnTo>
                  <a:lnTo>
                    <a:pt x="4056" y="768"/>
                  </a:lnTo>
                  <a:lnTo>
                    <a:pt x="4050" y="756"/>
                  </a:lnTo>
                  <a:lnTo>
                    <a:pt x="4044" y="750"/>
                  </a:lnTo>
                  <a:lnTo>
                    <a:pt x="4092" y="738"/>
                  </a:lnTo>
                  <a:lnTo>
                    <a:pt x="4092" y="744"/>
                  </a:lnTo>
                  <a:lnTo>
                    <a:pt x="4098" y="750"/>
                  </a:lnTo>
                  <a:lnTo>
                    <a:pt x="4104" y="762"/>
                  </a:lnTo>
                  <a:lnTo>
                    <a:pt x="4104" y="768"/>
                  </a:lnTo>
                  <a:lnTo>
                    <a:pt x="4110" y="774"/>
                  </a:lnTo>
                  <a:lnTo>
                    <a:pt x="4116" y="774"/>
                  </a:lnTo>
                  <a:lnTo>
                    <a:pt x="4122" y="780"/>
                  </a:lnTo>
                  <a:lnTo>
                    <a:pt x="4134" y="786"/>
                  </a:lnTo>
                  <a:lnTo>
                    <a:pt x="4140" y="792"/>
                  </a:lnTo>
                  <a:lnTo>
                    <a:pt x="4170" y="786"/>
                  </a:lnTo>
                  <a:lnTo>
                    <a:pt x="4170" y="792"/>
                  </a:lnTo>
                  <a:lnTo>
                    <a:pt x="4164" y="798"/>
                  </a:lnTo>
                  <a:lnTo>
                    <a:pt x="4164" y="816"/>
                  </a:lnTo>
                  <a:lnTo>
                    <a:pt x="4170" y="816"/>
                  </a:lnTo>
                  <a:lnTo>
                    <a:pt x="4182" y="822"/>
                  </a:lnTo>
                  <a:lnTo>
                    <a:pt x="4200" y="822"/>
                  </a:lnTo>
                  <a:lnTo>
                    <a:pt x="4206" y="828"/>
                  </a:lnTo>
                  <a:lnTo>
                    <a:pt x="4212" y="828"/>
                  </a:lnTo>
                  <a:lnTo>
                    <a:pt x="4194" y="846"/>
                  </a:lnTo>
                  <a:lnTo>
                    <a:pt x="4194" y="858"/>
                  </a:lnTo>
                  <a:lnTo>
                    <a:pt x="4230" y="858"/>
                  </a:lnTo>
                  <a:lnTo>
                    <a:pt x="4224" y="882"/>
                  </a:lnTo>
                  <a:lnTo>
                    <a:pt x="4236" y="882"/>
                  </a:lnTo>
                  <a:lnTo>
                    <a:pt x="4248" y="888"/>
                  </a:lnTo>
                  <a:lnTo>
                    <a:pt x="4254" y="888"/>
                  </a:lnTo>
                  <a:lnTo>
                    <a:pt x="4278" y="900"/>
                  </a:lnTo>
                  <a:lnTo>
                    <a:pt x="4278" y="924"/>
                  </a:lnTo>
                  <a:lnTo>
                    <a:pt x="4266" y="948"/>
                  </a:lnTo>
                  <a:lnTo>
                    <a:pt x="4254" y="966"/>
                  </a:lnTo>
                  <a:lnTo>
                    <a:pt x="4248" y="978"/>
                  </a:lnTo>
                  <a:lnTo>
                    <a:pt x="4236" y="990"/>
                  </a:lnTo>
                  <a:lnTo>
                    <a:pt x="4218" y="996"/>
                  </a:lnTo>
                  <a:lnTo>
                    <a:pt x="4182" y="1014"/>
                  </a:lnTo>
                  <a:lnTo>
                    <a:pt x="4140" y="1026"/>
                  </a:lnTo>
                  <a:lnTo>
                    <a:pt x="4092" y="1050"/>
                  </a:lnTo>
                  <a:lnTo>
                    <a:pt x="4098" y="1056"/>
                  </a:lnTo>
                  <a:lnTo>
                    <a:pt x="4110" y="1062"/>
                  </a:lnTo>
                  <a:lnTo>
                    <a:pt x="4122" y="1074"/>
                  </a:lnTo>
                  <a:lnTo>
                    <a:pt x="4122" y="1080"/>
                  </a:lnTo>
                  <a:lnTo>
                    <a:pt x="4116" y="1086"/>
                  </a:lnTo>
                  <a:lnTo>
                    <a:pt x="4080" y="1098"/>
                  </a:lnTo>
                  <a:lnTo>
                    <a:pt x="4062" y="1098"/>
                  </a:lnTo>
                  <a:lnTo>
                    <a:pt x="3984" y="1110"/>
                  </a:lnTo>
                  <a:lnTo>
                    <a:pt x="3978" y="1128"/>
                  </a:lnTo>
                  <a:lnTo>
                    <a:pt x="3960" y="1110"/>
                  </a:lnTo>
                  <a:lnTo>
                    <a:pt x="3954" y="1110"/>
                  </a:lnTo>
                  <a:lnTo>
                    <a:pt x="3948" y="1104"/>
                  </a:lnTo>
                  <a:lnTo>
                    <a:pt x="3930" y="1104"/>
                  </a:lnTo>
                  <a:lnTo>
                    <a:pt x="3918" y="1098"/>
                  </a:lnTo>
                  <a:lnTo>
                    <a:pt x="3900" y="1098"/>
                  </a:lnTo>
                  <a:lnTo>
                    <a:pt x="3888" y="1104"/>
                  </a:lnTo>
                  <a:lnTo>
                    <a:pt x="3882" y="1110"/>
                  </a:lnTo>
                  <a:lnTo>
                    <a:pt x="3882" y="1122"/>
                  </a:lnTo>
                  <a:lnTo>
                    <a:pt x="3870" y="1122"/>
                  </a:lnTo>
                  <a:lnTo>
                    <a:pt x="3858" y="1128"/>
                  </a:lnTo>
                  <a:lnTo>
                    <a:pt x="3840" y="1134"/>
                  </a:lnTo>
                  <a:lnTo>
                    <a:pt x="3828" y="1140"/>
                  </a:lnTo>
                  <a:lnTo>
                    <a:pt x="3822" y="1146"/>
                  </a:lnTo>
                  <a:lnTo>
                    <a:pt x="3816" y="1158"/>
                  </a:lnTo>
                  <a:lnTo>
                    <a:pt x="3816" y="1170"/>
                  </a:lnTo>
                  <a:lnTo>
                    <a:pt x="3822" y="1182"/>
                  </a:lnTo>
                  <a:lnTo>
                    <a:pt x="3834" y="1188"/>
                  </a:lnTo>
                  <a:lnTo>
                    <a:pt x="3864" y="1188"/>
                  </a:lnTo>
                  <a:lnTo>
                    <a:pt x="3876" y="1182"/>
                  </a:lnTo>
                  <a:lnTo>
                    <a:pt x="3894" y="1182"/>
                  </a:lnTo>
                  <a:lnTo>
                    <a:pt x="3906" y="1176"/>
                  </a:lnTo>
                  <a:lnTo>
                    <a:pt x="3924" y="1170"/>
                  </a:lnTo>
                  <a:lnTo>
                    <a:pt x="3936" y="1164"/>
                  </a:lnTo>
                  <a:lnTo>
                    <a:pt x="3966" y="1164"/>
                  </a:lnTo>
                  <a:lnTo>
                    <a:pt x="3978" y="1176"/>
                  </a:lnTo>
                  <a:lnTo>
                    <a:pt x="3996" y="1176"/>
                  </a:lnTo>
                  <a:lnTo>
                    <a:pt x="4002" y="1170"/>
                  </a:lnTo>
                  <a:lnTo>
                    <a:pt x="4002" y="1152"/>
                  </a:lnTo>
                  <a:lnTo>
                    <a:pt x="4026" y="1128"/>
                  </a:lnTo>
                  <a:lnTo>
                    <a:pt x="4014" y="1140"/>
                  </a:lnTo>
                  <a:lnTo>
                    <a:pt x="4014" y="1146"/>
                  </a:lnTo>
                  <a:lnTo>
                    <a:pt x="4020" y="1152"/>
                  </a:lnTo>
                  <a:lnTo>
                    <a:pt x="4086" y="1152"/>
                  </a:lnTo>
                  <a:lnTo>
                    <a:pt x="4080" y="1158"/>
                  </a:lnTo>
                  <a:lnTo>
                    <a:pt x="4068" y="1164"/>
                  </a:lnTo>
                  <a:lnTo>
                    <a:pt x="4062" y="1170"/>
                  </a:lnTo>
                  <a:lnTo>
                    <a:pt x="4062" y="1176"/>
                  </a:lnTo>
                  <a:lnTo>
                    <a:pt x="4068" y="1182"/>
                  </a:lnTo>
                  <a:lnTo>
                    <a:pt x="4080" y="1182"/>
                  </a:lnTo>
                  <a:lnTo>
                    <a:pt x="4086" y="1188"/>
                  </a:lnTo>
                  <a:lnTo>
                    <a:pt x="4098" y="1188"/>
                  </a:lnTo>
                  <a:lnTo>
                    <a:pt x="4086" y="1200"/>
                  </a:lnTo>
                  <a:lnTo>
                    <a:pt x="4086" y="1206"/>
                  </a:lnTo>
                  <a:lnTo>
                    <a:pt x="4092" y="1212"/>
                  </a:lnTo>
                  <a:lnTo>
                    <a:pt x="4116" y="1224"/>
                  </a:lnTo>
                  <a:lnTo>
                    <a:pt x="4146" y="1224"/>
                  </a:lnTo>
                  <a:lnTo>
                    <a:pt x="4098" y="1242"/>
                  </a:lnTo>
                  <a:lnTo>
                    <a:pt x="4098" y="1248"/>
                  </a:lnTo>
                  <a:lnTo>
                    <a:pt x="4110" y="1260"/>
                  </a:lnTo>
                  <a:lnTo>
                    <a:pt x="4110" y="1266"/>
                  </a:lnTo>
                  <a:lnTo>
                    <a:pt x="4116" y="1272"/>
                  </a:lnTo>
                  <a:lnTo>
                    <a:pt x="4122" y="1266"/>
                  </a:lnTo>
                  <a:lnTo>
                    <a:pt x="4128" y="1266"/>
                  </a:lnTo>
                  <a:lnTo>
                    <a:pt x="4140" y="1260"/>
                  </a:lnTo>
                  <a:lnTo>
                    <a:pt x="4146" y="1272"/>
                  </a:lnTo>
                  <a:lnTo>
                    <a:pt x="4158" y="1284"/>
                  </a:lnTo>
                  <a:lnTo>
                    <a:pt x="4182" y="1284"/>
                  </a:lnTo>
                  <a:lnTo>
                    <a:pt x="4194" y="1290"/>
                  </a:lnTo>
                  <a:lnTo>
                    <a:pt x="4206" y="1290"/>
                  </a:lnTo>
                  <a:lnTo>
                    <a:pt x="4206" y="1308"/>
                  </a:lnTo>
                  <a:lnTo>
                    <a:pt x="4212" y="1314"/>
                  </a:lnTo>
                  <a:lnTo>
                    <a:pt x="4224" y="1320"/>
                  </a:lnTo>
                  <a:lnTo>
                    <a:pt x="4272" y="1320"/>
                  </a:lnTo>
                  <a:lnTo>
                    <a:pt x="4290" y="1326"/>
                  </a:lnTo>
                  <a:lnTo>
                    <a:pt x="4350" y="1356"/>
                  </a:lnTo>
                  <a:lnTo>
                    <a:pt x="4356" y="1362"/>
                  </a:lnTo>
                  <a:lnTo>
                    <a:pt x="4362" y="1362"/>
                  </a:lnTo>
                  <a:lnTo>
                    <a:pt x="4362" y="1356"/>
                  </a:lnTo>
                  <a:lnTo>
                    <a:pt x="4368" y="1350"/>
                  </a:lnTo>
                  <a:lnTo>
                    <a:pt x="4368" y="1320"/>
                  </a:lnTo>
                  <a:lnTo>
                    <a:pt x="4362" y="1308"/>
                  </a:lnTo>
                  <a:lnTo>
                    <a:pt x="4350" y="1296"/>
                  </a:lnTo>
                  <a:lnTo>
                    <a:pt x="4338" y="1290"/>
                  </a:lnTo>
                  <a:lnTo>
                    <a:pt x="4320" y="1272"/>
                  </a:lnTo>
                  <a:lnTo>
                    <a:pt x="4314" y="1272"/>
                  </a:lnTo>
                  <a:lnTo>
                    <a:pt x="4308" y="1260"/>
                  </a:lnTo>
                  <a:lnTo>
                    <a:pt x="4302" y="1254"/>
                  </a:lnTo>
                  <a:lnTo>
                    <a:pt x="4290" y="1230"/>
                  </a:lnTo>
                  <a:lnTo>
                    <a:pt x="4290" y="1224"/>
                  </a:lnTo>
                  <a:lnTo>
                    <a:pt x="4308" y="1224"/>
                  </a:lnTo>
                  <a:lnTo>
                    <a:pt x="4314" y="1230"/>
                  </a:lnTo>
                  <a:lnTo>
                    <a:pt x="4326" y="1236"/>
                  </a:lnTo>
                  <a:lnTo>
                    <a:pt x="4332" y="1242"/>
                  </a:lnTo>
                  <a:lnTo>
                    <a:pt x="4332" y="1212"/>
                  </a:lnTo>
                  <a:lnTo>
                    <a:pt x="4332" y="1218"/>
                  </a:lnTo>
                  <a:lnTo>
                    <a:pt x="4344" y="1230"/>
                  </a:lnTo>
                  <a:lnTo>
                    <a:pt x="4350" y="1242"/>
                  </a:lnTo>
                  <a:lnTo>
                    <a:pt x="4362" y="1254"/>
                  </a:lnTo>
                  <a:lnTo>
                    <a:pt x="4374" y="1254"/>
                  </a:lnTo>
                  <a:lnTo>
                    <a:pt x="4386" y="1248"/>
                  </a:lnTo>
                  <a:lnTo>
                    <a:pt x="4398" y="1248"/>
                  </a:lnTo>
                  <a:lnTo>
                    <a:pt x="4398" y="1272"/>
                  </a:lnTo>
                  <a:lnTo>
                    <a:pt x="4404" y="1278"/>
                  </a:lnTo>
                  <a:lnTo>
                    <a:pt x="4416" y="1278"/>
                  </a:lnTo>
                  <a:lnTo>
                    <a:pt x="4428" y="1290"/>
                  </a:lnTo>
                  <a:lnTo>
                    <a:pt x="4452" y="1272"/>
                  </a:lnTo>
                  <a:lnTo>
                    <a:pt x="4464" y="1284"/>
                  </a:lnTo>
                  <a:lnTo>
                    <a:pt x="4470" y="1284"/>
                  </a:lnTo>
                  <a:lnTo>
                    <a:pt x="4476" y="1278"/>
                  </a:lnTo>
                  <a:lnTo>
                    <a:pt x="4476" y="1260"/>
                  </a:lnTo>
                  <a:lnTo>
                    <a:pt x="4470" y="1254"/>
                  </a:lnTo>
                  <a:lnTo>
                    <a:pt x="4488" y="1212"/>
                  </a:lnTo>
                  <a:lnTo>
                    <a:pt x="4488" y="1236"/>
                  </a:lnTo>
                  <a:lnTo>
                    <a:pt x="4500" y="1248"/>
                  </a:lnTo>
                  <a:lnTo>
                    <a:pt x="4512" y="1236"/>
                  </a:lnTo>
                  <a:lnTo>
                    <a:pt x="4518" y="1218"/>
                  </a:lnTo>
                  <a:lnTo>
                    <a:pt x="4518" y="1206"/>
                  </a:lnTo>
                  <a:lnTo>
                    <a:pt x="4494" y="1182"/>
                  </a:lnTo>
                  <a:lnTo>
                    <a:pt x="4518" y="1176"/>
                  </a:lnTo>
                  <a:lnTo>
                    <a:pt x="4500" y="1164"/>
                  </a:lnTo>
                  <a:lnTo>
                    <a:pt x="4500" y="1146"/>
                  </a:lnTo>
                  <a:lnTo>
                    <a:pt x="4470" y="1146"/>
                  </a:lnTo>
                  <a:lnTo>
                    <a:pt x="4470" y="1134"/>
                  </a:lnTo>
                  <a:lnTo>
                    <a:pt x="4446" y="1134"/>
                  </a:lnTo>
                  <a:lnTo>
                    <a:pt x="4446" y="1080"/>
                  </a:lnTo>
                  <a:lnTo>
                    <a:pt x="4416" y="1086"/>
                  </a:lnTo>
                  <a:lnTo>
                    <a:pt x="4410" y="1080"/>
                  </a:lnTo>
                  <a:lnTo>
                    <a:pt x="4410" y="1056"/>
                  </a:lnTo>
                  <a:lnTo>
                    <a:pt x="4416" y="1050"/>
                  </a:lnTo>
                  <a:lnTo>
                    <a:pt x="4428" y="1050"/>
                  </a:lnTo>
                  <a:lnTo>
                    <a:pt x="4434" y="1056"/>
                  </a:lnTo>
                  <a:lnTo>
                    <a:pt x="4446" y="1062"/>
                  </a:lnTo>
                  <a:lnTo>
                    <a:pt x="4452" y="1068"/>
                  </a:lnTo>
                  <a:lnTo>
                    <a:pt x="4458" y="1068"/>
                  </a:lnTo>
                  <a:lnTo>
                    <a:pt x="4464" y="1062"/>
                  </a:lnTo>
                  <a:lnTo>
                    <a:pt x="4464" y="1026"/>
                  </a:lnTo>
                  <a:lnTo>
                    <a:pt x="4488" y="1032"/>
                  </a:lnTo>
                  <a:lnTo>
                    <a:pt x="4524" y="1014"/>
                  </a:lnTo>
                  <a:lnTo>
                    <a:pt x="4524" y="1026"/>
                  </a:lnTo>
                  <a:lnTo>
                    <a:pt x="4530" y="1038"/>
                  </a:lnTo>
                  <a:lnTo>
                    <a:pt x="4530" y="1044"/>
                  </a:lnTo>
                  <a:lnTo>
                    <a:pt x="4536" y="1050"/>
                  </a:lnTo>
                  <a:lnTo>
                    <a:pt x="4548" y="1044"/>
                  </a:lnTo>
                  <a:lnTo>
                    <a:pt x="4566" y="1044"/>
                  </a:lnTo>
                  <a:lnTo>
                    <a:pt x="4554" y="1062"/>
                  </a:lnTo>
                  <a:lnTo>
                    <a:pt x="4578" y="1062"/>
                  </a:lnTo>
                  <a:lnTo>
                    <a:pt x="4566" y="1092"/>
                  </a:lnTo>
                  <a:lnTo>
                    <a:pt x="4566" y="1098"/>
                  </a:lnTo>
                  <a:lnTo>
                    <a:pt x="4584" y="1116"/>
                  </a:lnTo>
                  <a:lnTo>
                    <a:pt x="4590" y="1128"/>
                  </a:lnTo>
                  <a:lnTo>
                    <a:pt x="4614" y="1140"/>
                  </a:lnTo>
                  <a:lnTo>
                    <a:pt x="4626" y="1134"/>
                  </a:lnTo>
                  <a:lnTo>
                    <a:pt x="4638" y="1122"/>
                  </a:lnTo>
                  <a:lnTo>
                    <a:pt x="4656" y="1086"/>
                  </a:lnTo>
                  <a:lnTo>
                    <a:pt x="4656" y="1080"/>
                  </a:lnTo>
                  <a:lnTo>
                    <a:pt x="4662" y="1068"/>
                  </a:lnTo>
                  <a:lnTo>
                    <a:pt x="4668" y="1074"/>
                  </a:lnTo>
                  <a:lnTo>
                    <a:pt x="4680" y="1080"/>
                  </a:lnTo>
                  <a:lnTo>
                    <a:pt x="4692" y="1080"/>
                  </a:lnTo>
                  <a:lnTo>
                    <a:pt x="4698" y="1086"/>
                  </a:lnTo>
                  <a:lnTo>
                    <a:pt x="4710" y="1080"/>
                  </a:lnTo>
                  <a:lnTo>
                    <a:pt x="4722" y="1068"/>
                  </a:lnTo>
                  <a:lnTo>
                    <a:pt x="4728" y="1056"/>
                  </a:lnTo>
                  <a:lnTo>
                    <a:pt x="4728" y="1038"/>
                  </a:lnTo>
                  <a:lnTo>
                    <a:pt x="4794" y="1038"/>
                  </a:lnTo>
                  <a:lnTo>
                    <a:pt x="4806" y="1026"/>
                  </a:lnTo>
                  <a:lnTo>
                    <a:pt x="4812" y="1014"/>
                  </a:lnTo>
                  <a:lnTo>
                    <a:pt x="4800" y="1002"/>
                  </a:lnTo>
                  <a:lnTo>
                    <a:pt x="4788" y="996"/>
                  </a:lnTo>
                  <a:lnTo>
                    <a:pt x="4758" y="996"/>
                  </a:lnTo>
                  <a:close/>
                  <a:moveTo>
                    <a:pt x="4476" y="1308"/>
                  </a:moveTo>
                  <a:lnTo>
                    <a:pt x="4446" y="1308"/>
                  </a:lnTo>
                  <a:lnTo>
                    <a:pt x="4440" y="1326"/>
                  </a:lnTo>
                  <a:lnTo>
                    <a:pt x="4476" y="1320"/>
                  </a:lnTo>
                  <a:lnTo>
                    <a:pt x="4476" y="1308"/>
                  </a:lnTo>
                  <a:close/>
                  <a:moveTo>
                    <a:pt x="4140" y="1290"/>
                  </a:moveTo>
                  <a:lnTo>
                    <a:pt x="4134" y="1290"/>
                  </a:lnTo>
                  <a:lnTo>
                    <a:pt x="4128" y="1296"/>
                  </a:lnTo>
                  <a:lnTo>
                    <a:pt x="4128" y="1308"/>
                  </a:lnTo>
                  <a:lnTo>
                    <a:pt x="4134" y="1314"/>
                  </a:lnTo>
                  <a:lnTo>
                    <a:pt x="4158" y="1314"/>
                  </a:lnTo>
                  <a:lnTo>
                    <a:pt x="4164" y="1308"/>
                  </a:lnTo>
                  <a:lnTo>
                    <a:pt x="4164" y="1296"/>
                  </a:lnTo>
                  <a:lnTo>
                    <a:pt x="4158" y="1290"/>
                  </a:lnTo>
                  <a:lnTo>
                    <a:pt x="4140" y="1290"/>
                  </a:lnTo>
                  <a:close/>
                  <a:moveTo>
                    <a:pt x="3834" y="1242"/>
                  </a:moveTo>
                  <a:lnTo>
                    <a:pt x="3840" y="1236"/>
                  </a:lnTo>
                  <a:lnTo>
                    <a:pt x="3834" y="1230"/>
                  </a:lnTo>
                  <a:lnTo>
                    <a:pt x="3828" y="1230"/>
                  </a:lnTo>
                  <a:lnTo>
                    <a:pt x="3822" y="1224"/>
                  </a:lnTo>
                  <a:lnTo>
                    <a:pt x="3810" y="1224"/>
                  </a:lnTo>
                  <a:lnTo>
                    <a:pt x="3810" y="1236"/>
                  </a:lnTo>
                  <a:lnTo>
                    <a:pt x="3816" y="1242"/>
                  </a:lnTo>
                  <a:lnTo>
                    <a:pt x="3816" y="1248"/>
                  </a:lnTo>
                  <a:lnTo>
                    <a:pt x="3828" y="1248"/>
                  </a:lnTo>
                  <a:lnTo>
                    <a:pt x="3834" y="1242"/>
                  </a:lnTo>
                  <a:close/>
                  <a:moveTo>
                    <a:pt x="4206" y="1452"/>
                  </a:moveTo>
                  <a:lnTo>
                    <a:pt x="4170" y="1452"/>
                  </a:lnTo>
                  <a:lnTo>
                    <a:pt x="4206" y="1476"/>
                  </a:lnTo>
                  <a:lnTo>
                    <a:pt x="4218" y="1470"/>
                  </a:lnTo>
                  <a:lnTo>
                    <a:pt x="4218" y="1458"/>
                  </a:lnTo>
                  <a:lnTo>
                    <a:pt x="4212" y="1458"/>
                  </a:lnTo>
                  <a:lnTo>
                    <a:pt x="4206" y="1452"/>
                  </a:lnTo>
                  <a:close/>
                  <a:moveTo>
                    <a:pt x="4170" y="870"/>
                  </a:moveTo>
                  <a:lnTo>
                    <a:pt x="4152" y="870"/>
                  </a:lnTo>
                  <a:lnTo>
                    <a:pt x="4152" y="876"/>
                  </a:lnTo>
                  <a:lnTo>
                    <a:pt x="4158" y="882"/>
                  </a:lnTo>
                  <a:lnTo>
                    <a:pt x="4164" y="882"/>
                  </a:lnTo>
                  <a:lnTo>
                    <a:pt x="4170" y="888"/>
                  </a:lnTo>
                  <a:lnTo>
                    <a:pt x="4182" y="882"/>
                  </a:lnTo>
                  <a:lnTo>
                    <a:pt x="4188" y="882"/>
                  </a:lnTo>
                  <a:lnTo>
                    <a:pt x="4194" y="876"/>
                  </a:lnTo>
                  <a:lnTo>
                    <a:pt x="4188" y="870"/>
                  </a:lnTo>
                  <a:lnTo>
                    <a:pt x="4170" y="870"/>
                  </a:lnTo>
                  <a:close/>
                  <a:moveTo>
                    <a:pt x="4170" y="936"/>
                  </a:moveTo>
                  <a:lnTo>
                    <a:pt x="4236" y="936"/>
                  </a:lnTo>
                  <a:lnTo>
                    <a:pt x="4236" y="918"/>
                  </a:lnTo>
                  <a:lnTo>
                    <a:pt x="4188" y="918"/>
                  </a:lnTo>
                  <a:lnTo>
                    <a:pt x="4170" y="936"/>
                  </a:lnTo>
                  <a:close/>
                  <a:moveTo>
                    <a:pt x="5574" y="36"/>
                  </a:moveTo>
                  <a:lnTo>
                    <a:pt x="5490" y="36"/>
                  </a:lnTo>
                  <a:lnTo>
                    <a:pt x="5496" y="24"/>
                  </a:lnTo>
                  <a:lnTo>
                    <a:pt x="5490" y="24"/>
                  </a:lnTo>
                  <a:lnTo>
                    <a:pt x="5484" y="18"/>
                  </a:lnTo>
                  <a:lnTo>
                    <a:pt x="5448" y="18"/>
                  </a:lnTo>
                  <a:lnTo>
                    <a:pt x="5430" y="12"/>
                  </a:lnTo>
                  <a:lnTo>
                    <a:pt x="5400" y="12"/>
                  </a:lnTo>
                  <a:lnTo>
                    <a:pt x="5364" y="18"/>
                  </a:lnTo>
                  <a:lnTo>
                    <a:pt x="5334" y="30"/>
                  </a:lnTo>
                  <a:lnTo>
                    <a:pt x="5304" y="36"/>
                  </a:lnTo>
                  <a:lnTo>
                    <a:pt x="5292" y="36"/>
                  </a:lnTo>
                  <a:lnTo>
                    <a:pt x="5346" y="12"/>
                  </a:lnTo>
                  <a:lnTo>
                    <a:pt x="5274" y="18"/>
                  </a:lnTo>
                  <a:lnTo>
                    <a:pt x="5268" y="18"/>
                  </a:lnTo>
                  <a:lnTo>
                    <a:pt x="5262" y="12"/>
                  </a:lnTo>
                  <a:lnTo>
                    <a:pt x="5250" y="12"/>
                  </a:lnTo>
                  <a:lnTo>
                    <a:pt x="5226" y="0"/>
                  </a:lnTo>
                  <a:lnTo>
                    <a:pt x="5196" y="0"/>
                  </a:lnTo>
                  <a:lnTo>
                    <a:pt x="5190" y="6"/>
                  </a:lnTo>
                  <a:lnTo>
                    <a:pt x="5184" y="18"/>
                  </a:lnTo>
                  <a:lnTo>
                    <a:pt x="5178" y="18"/>
                  </a:lnTo>
                  <a:lnTo>
                    <a:pt x="5172" y="12"/>
                  </a:lnTo>
                  <a:lnTo>
                    <a:pt x="5160" y="6"/>
                  </a:lnTo>
                  <a:lnTo>
                    <a:pt x="5148" y="6"/>
                  </a:lnTo>
                  <a:lnTo>
                    <a:pt x="5136" y="0"/>
                  </a:lnTo>
                  <a:lnTo>
                    <a:pt x="5124" y="0"/>
                  </a:lnTo>
                  <a:lnTo>
                    <a:pt x="5112" y="6"/>
                  </a:lnTo>
                  <a:lnTo>
                    <a:pt x="5106" y="12"/>
                  </a:lnTo>
                  <a:lnTo>
                    <a:pt x="5094" y="18"/>
                  </a:lnTo>
                  <a:lnTo>
                    <a:pt x="5088" y="24"/>
                  </a:lnTo>
                  <a:lnTo>
                    <a:pt x="5046" y="12"/>
                  </a:lnTo>
                  <a:lnTo>
                    <a:pt x="4938" y="6"/>
                  </a:lnTo>
                  <a:lnTo>
                    <a:pt x="4968" y="36"/>
                  </a:lnTo>
                  <a:lnTo>
                    <a:pt x="4902" y="12"/>
                  </a:lnTo>
                  <a:lnTo>
                    <a:pt x="4842" y="24"/>
                  </a:lnTo>
                  <a:lnTo>
                    <a:pt x="4830" y="24"/>
                  </a:lnTo>
                  <a:lnTo>
                    <a:pt x="4812" y="18"/>
                  </a:lnTo>
                  <a:lnTo>
                    <a:pt x="4746" y="18"/>
                  </a:lnTo>
                  <a:lnTo>
                    <a:pt x="4710" y="24"/>
                  </a:lnTo>
                  <a:lnTo>
                    <a:pt x="4686" y="36"/>
                  </a:lnTo>
                  <a:lnTo>
                    <a:pt x="4674" y="36"/>
                  </a:lnTo>
                  <a:lnTo>
                    <a:pt x="4764" y="60"/>
                  </a:lnTo>
                  <a:lnTo>
                    <a:pt x="4674" y="48"/>
                  </a:lnTo>
                  <a:lnTo>
                    <a:pt x="4662" y="48"/>
                  </a:lnTo>
                  <a:lnTo>
                    <a:pt x="4590" y="36"/>
                  </a:lnTo>
                  <a:lnTo>
                    <a:pt x="4542" y="36"/>
                  </a:lnTo>
                  <a:lnTo>
                    <a:pt x="4530" y="48"/>
                  </a:lnTo>
                  <a:lnTo>
                    <a:pt x="4530" y="60"/>
                  </a:lnTo>
                  <a:lnTo>
                    <a:pt x="4512" y="60"/>
                  </a:lnTo>
                  <a:lnTo>
                    <a:pt x="4482" y="54"/>
                  </a:lnTo>
                  <a:lnTo>
                    <a:pt x="4392" y="54"/>
                  </a:lnTo>
                  <a:lnTo>
                    <a:pt x="4350" y="60"/>
                  </a:lnTo>
                  <a:lnTo>
                    <a:pt x="4302" y="66"/>
                  </a:lnTo>
                  <a:lnTo>
                    <a:pt x="4260" y="66"/>
                  </a:lnTo>
                  <a:lnTo>
                    <a:pt x="4242" y="72"/>
                  </a:lnTo>
                  <a:lnTo>
                    <a:pt x="4260" y="72"/>
                  </a:lnTo>
                  <a:lnTo>
                    <a:pt x="4266" y="78"/>
                  </a:lnTo>
                  <a:lnTo>
                    <a:pt x="4278" y="78"/>
                  </a:lnTo>
                  <a:lnTo>
                    <a:pt x="4362" y="84"/>
                  </a:lnTo>
                  <a:lnTo>
                    <a:pt x="4278" y="96"/>
                  </a:lnTo>
                  <a:lnTo>
                    <a:pt x="4284" y="96"/>
                  </a:lnTo>
                  <a:lnTo>
                    <a:pt x="4290" y="102"/>
                  </a:lnTo>
                  <a:lnTo>
                    <a:pt x="4314" y="114"/>
                  </a:lnTo>
                  <a:lnTo>
                    <a:pt x="4338" y="114"/>
                  </a:lnTo>
                  <a:lnTo>
                    <a:pt x="4356" y="108"/>
                  </a:lnTo>
                  <a:lnTo>
                    <a:pt x="4392" y="108"/>
                  </a:lnTo>
                  <a:lnTo>
                    <a:pt x="4398" y="102"/>
                  </a:lnTo>
                  <a:lnTo>
                    <a:pt x="4410" y="102"/>
                  </a:lnTo>
                  <a:lnTo>
                    <a:pt x="4416" y="96"/>
                  </a:lnTo>
                  <a:lnTo>
                    <a:pt x="4440" y="96"/>
                  </a:lnTo>
                  <a:lnTo>
                    <a:pt x="4458" y="90"/>
                  </a:lnTo>
                  <a:lnTo>
                    <a:pt x="4500" y="90"/>
                  </a:lnTo>
                  <a:lnTo>
                    <a:pt x="4518" y="96"/>
                  </a:lnTo>
                  <a:lnTo>
                    <a:pt x="4536" y="96"/>
                  </a:lnTo>
                  <a:lnTo>
                    <a:pt x="4548" y="102"/>
                  </a:lnTo>
                  <a:lnTo>
                    <a:pt x="4560" y="102"/>
                  </a:lnTo>
                  <a:lnTo>
                    <a:pt x="4494" y="102"/>
                  </a:lnTo>
                  <a:lnTo>
                    <a:pt x="4482" y="108"/>
                  </a:lnTo>
                  <a:lnTo>
                    <a:pt x="4458" y="108"/>
                  </a:lnTo>
                  <a:lnTo>
                    <a:pt x="4446" y="114"/>
                  </a:lnTo>
                  <a:lnTo>
                    <a:pt x="4434" y="114"/>
                  </a:lnTo>
                  <a:lnTo>
                    <a:pt x="4422" y="120"/>
                  </a:lnTo>
                  <a:lnTo>
                    <a:pt x="4410" y="120"/>
                  </a:lnTo>
                  <a:lnTo>
                    <a:pt x="4404" y="126"/>
                  </a:lnTo>
                  <a:lnTo>
                    <a:pt x="4398" y="126"/>
                  </a:lnTo>
                  <a:lnTo>
                    <a:pt x="4434" y="126"/>
                  </a:lnTo>
                  <a:lnTo>
                    <a:pt x="4452" y="132"/>
                  </a:lnTo>
                  <a:lnTo>
                    <a:pt x="4488" y="132"/>
                  </a:lnTo>
                  <a:lnTo>
                    <a:pt x="4500" y="126"/>
                  </a:lnTo>
                  <a:lnTo>
                    <a:pt x="4506" y="126"/>
                  </a:lnTo>
                  <a:lnTo>
                    <a:pt x="4512" y="120"/>
                  </a:lnTo>
                  <a:lnTo>
                    <a:pt x="4638" y="120"/>
                  </a:lnTo>
                  <a:lnTo>
                    <a:pt x="4656" y="114"/>
                  </a:lnTo>
                  <a:lnTo>
                    <a:pt x="4680" y="114"/>
                  </a:lnTo>
                  <a:lnTo>
                    <a:pt x="4698" y="108"/>
                  </a:lnTo>
                  <a:lnTo>
                    <a:pt x="4710" y="108"/>
                  </a:lnTo>
                  <a:lnTo>
                    <a:pt x="4722" y="96"/>
                  </a:lnTo>
                  <a:lnTo>
                    <a:pt x="4734" y="96"/>
                  </a:lnTo>
                  <a:lnTo>
                    <a:pt x="4752" y="90"/>
                  </a:lnTo>
                  <a:lnTo>
                    <a:pt x="4770" y="90"/>
                  </a:lnTo>
                  <a:lnTo>
                    <a:pt x="4782" y="84"/>
                  </a:lnTo>
                  <a:lnTo>
                    <a:pt x="4830" y="84"/>
                  </a:lnTo>
                  <a:lnTo>
                    <a:pt x="4746" y="114"/>
                  </a:lnTo>
                  <a:lnTo>
                    <a:pt x="4782" y="114"/>
                  </a:lnTo>
                  <a:lnTo>
                    <a:pt x="4734" y="126"/>
                  </a:lnTo>
                  <a:lnTo>
                    <a:pt x="4716" y="126"/>
                  </a:lnTo>
                  <a:lnTo>
                    <a:pt x="4674" y="132"/>
                  </a:lnTo>
                  <a:lnTo>
                    <a:pt x="4620" y="132"/>
                  </a:lnTo>
                  <a:lnTo>
                    <a:pt x="4566" y="138"/>
                  </a:lnTo>
                  <a:lnTo>
                    <a:pt x="4536" y="138"/>
                  </a:lnTo>
                  <a:lnTo>
                    <a:pt x="4524" y="150"/>
                  </a:lnTo>
                  <a:lnTo>
                    <a:pt x="4524" y="156"/>
                  </a:lnTo>
                  <a:lnTo>
                    <a:pt x="4602" y="174"/>
                  </a:lnTo>
                  <a:lnTo>
                    <a:pt x="4596" y="174"/>
                  </a:lnTo>
                  <a:lnTo>
                    <a:pt x="4590" y="180"/>
                  </a:lnTo>
                  <a:lnTo>
                    <a:pt x="4578" y="180"/>
                  </a:lnTo>
                  <a:lnTo>
                    <a:pt x="4566" y="186"/>
                  </a:lnTo>
                  <a:lnTo>
                    <a:pt x="4542" y="186"/>
                  </a:lnTo>
                  <a:lnTo>
                    <a:pt x="4518" y="174"/>
                  </a:lnTo>
                  <a:lnTo>
                    <a:pt x="4500" y="162"/>
                  </a:lnTo>
                  <a:lnTo>
                    <a:pt x="4476" y="150"/>
                  </a:lnTo>
                  <a:lnTo>
                    <a:pt x="4470" y="144"/>
                  </a:lnTo>
                  <a:lnTo>
                    <a:pt x="4356" y="144"/>
                  </a:lnTo>
                  <a:lnTo>
                    <a:pt x="4350" y="150"/>
                  </a:lnTo>
                  <a:lnTo>
                    <a:pt x="4344" y="162"/>
                  </a:lnTo>
                  <a:lnTo>
                    <a:pt x="4338" y="168"/>
                  </a:lnTo>
                  <a:lnTo>
                    <a:pt x="4368" y="186"/>
                  </a:lnTo>
                  <a:lnTo>
                    <a:pt x="4386" y="204"/>
                  </a:lnTo>
                  <a:lnTo>
                    <a:pt x="4410" y="216"/>
                  </a:lnTo>
                  <a:lnTo>
                    <a:pt x="4458" y="216"/>
                  </a:lnTo>
                  <a:lnTo>
                    <a:pt x="4476" y="210"/>
                  </a:lnTo>
                  <a:lnTo>
                    <a:pt x="4488" y="210"/>
                  </a:lnTo>
                  <a:lnTo>
                    <a:pt x="4476" y="216"/>
                  </a:lnTo>
                  <a:lnTo>
                    <a:pt x="4470" y="228"/>
                  </a:lnTo>
                  <a:lnTo>
                    <a:pt x="4398" y="228"/>
                  </a:lnTo>
                  <a:lnTo>
                    <a:pt x="4380" y="222"/>
                  </a:lnTo>
                  <a:lnTo>
                    <a:pt x="4350" y="222"/>
                  </a:lnTo>
                  <a:lnTo>
                    <a:pt x="4314" y="228"/>
                  </a:lnTo>
                  <a:lnTo>
                    <a:pt x="4272" y="234"/>
                  </a:lnTo>
                  <a:lnTo>
                    <a:pt x="4230" y="234"/>
                  </a:lnTo>
                  <a:lnTo>
                    <a:pt x="4218" y="240"/>
                  </a:lnTo>
                  <a:lnTo>
                    <a:pt x="4200" y="246"/>
                  </a:lnTo>
                  <a:lnTo>
                    <a:pt x="4188" y="258"/>
                  </a:lnTo>
                  <a:lnTo>
                    <a:pt x="4176" y="264"/>
                  </a:lnTo>
                  <a:lnTo>
                    <a:pt x="4170" y="270"/>
                  </a:lnTo>
                  <a:lnTo>
                    <a:pt x="4164" y="270"/>
                  </a:lnTo>
                  <a:lnTo>
                    <a:pt x="4236" y="258"/>
                  </a:lnTo>
                  <a:lnTo>
                    <a:pt x="4236" y="276"/>
                  </a:lnTo>
                  <a:lnTo>
                    <a:pt x="4296" y="258"/>
                  </a:lnTo>
                  <a:lnTo>
                    <a:pt x="4224" y="288"/>
                  </a:lnTo>
                  <a:lnTo>
                    <a:pt x="4230" y="288"/>
                  </a:lnTo>
                  <a:lnTo>
                    <a:pt x="4236" y="294"/>
                  </a:lnTo>
                  <a:lnTo>
                    <a:pt x="4248" y="300"/>
                  </a:lnTo>
                  <a:lnTo>
                    <a:pt x="4278" y="300"/>
                  </a:lnTo>
                  <a:lnTo>
                    <a:pt x="4314" y="288"/>
                  </a:lnTo>
                  <a:lnTo>
                    <a:pt x="4326" y="288"/>
                  </a:lnTo>
                  <a:lnTo>
                    <a:pt x="4344" y="282"/>
                  </a:lnTo>
                  <a:lnTo>
                    <a:pt x="4350" y="276"/>
                  </a:lnTo>
                  <a:lnTo>
                    <a:pt x="4356" y="276"/>
                  </a:lnTo>
                  <a:lnTo>
                    <a:pt x="4254" y="312"/>
                  </a:lnTo>
                  <a:lnTo>
                    <a:pt x="4188" y="312"/>
                  </a:lnTo>
                  <a:lnTo>
                    <a:pt x="4176" y="288"/>
                  </a:lnTo>
                  <a:lnTo>
                    <a:pt x="4164" y="288"/>
                  </a:lnTo>
                  <a:lnTo>
                    <a:pt x="4146" y="282"/>
                  </a:lnTo>
                  <a:lnTo>
                    <a:pt x="4110" y="282"/>
                  </a:lnTo>
                  <a:lnTo>
                    <a:pt x="4104" y="288"/>
                  </a:lnTo>
                  <a:lnTo>
                    <a:pt x="4104" y="300"/>
                  </a:lnTo>
                  <a:lnTo>
                    <a:pt x="4110" y="312"/>
                  </a:lnTo>
                  <a:lnTo>
                    <a:pt x="4110" y="318"/>
                  </a:lnTo>
                  <a:lnTo>
                    <a:pt x="4116" y="324"/>
                  </a:lnTo>
                  <a:lnTo>
                    <a:pt x="4092" y="324"/>
                  </a:lnTo>
                  <a:lnTo>
                    <a:pt x="4074" y="330"/>
                  </a:lnTo>
                  <a:lnTo>
                    <a:pt x="4032" y="330"/>
                  </a:lnTo>
                  <a:lnTo>
                    <a:pt x="4020" y="336"/>
                  </a:lnTo>
                  <a:lnTo>
                    <a:pt x="4002" y="342"/>
                  </a:lnTo>
                  <a:lnTo>
                    <a:pt x="3990" y="348"/>
                  </a:lnTo>
                  <a:lnTo>
                    <a:pt x="3972" y="354"/>
                  </a:lnTo>
                  <a:lnTo>
                    <a:pt x="3936" y="354"/>
                  </a:lnTo>
                  <a:lnTo>
                    <a:pt x="3924" y="360"/>
                  </a:lnTo>
                  <a:lnTo>
                    <a:pt x="3918" y="360"/>
                  </a:lnTo>
                  <a:lnTo>
                    <a:pt x="3924" y="360"/>
                  </a:lnTo>
                  <a:lnTo>
                    <a:pt x="3936" y="366"/>
                  </a:lnTo>
                  <a:lnTo>
                    <a:pt x="3978" y="366"/>
                  </a:lnTo>
                  <a:lnTo>
                    <a:pt x="3990" y="360"/>
                  </a:lnTo>
                  <a:lnTo>
                    <a:pt x="3996" y="354"/>
                  </a:lnTo>
                  <a:lnTo>
                    <a:pt x="3984" y="372"/>
                  </a:lnTo>
                  <a:lnTo>
                    <a:pt x="4020" y="366"/>
                  </a:lnTo>
                  <a:lnTo>
                    <a:pt x="4044" y="354"/>
                  </a:lnTo>
                  <a:lnTo>
                    <a:pt x="4044" y="372"/>
                  </a:lnTo>
                  <a:lnTo>
                    <a:pt x="4074" y="366"/>
                  </a:lnTo>
                  <a:lnTo>
                    <a:pt x="4098" y="366"/>
                  </a:lnTo>
                  <a:lnTo>
                    <a:pt x="4098" y="372"/>
                  </a:lnTo>
                  <a:lnTo>
                    <a:pt x="4104" y="378"/>
                  </a:lnTo>
                  <a:lnTo>
                    <a:pt x="4122" y="378"/>
                  </a:lnTo>
                  <a:lnTo>
                    <a:pt x="4146" y="366"/>
                  </a:lnTo>
                  <a:lnTo>
                    <a:pt x="4152" y="366"/>
                  </a:lnTo>
                  <a:lnTo>
                    <a:pt x="4164" y="360"/>
                  </a:lnTo>
                  <a:lnTo>
                    <a:pt x="4170" y="372"/>
                  </a:lnTo>
                  <a:lnTo>
                    <a:pt x="4200" y="354"/>
                  </a:lnTo>
                  <a:lnTo>
                    <a:pt x="4206" y="360"/>
                  </a:lnTo>
                  <a:lnTo>
                    <a:pt x="4212" y="372"/>
                  </a:lnTo>
                  <a:lnTo>
                    <a:pt x="4224" y="372"/>
                  </a:lnTo>
                  <a:lnTo>
                    <a:pt x="4236" y="366"/>
                  </a:lnTo>
                  <a:lnTo>
                    <a:pt x="4242" y="360"/>
                  </a:lnTo>
                  <a:lnTo>
                    <a:pt x="4248" y="360"/>
                  </a:lnTo>
                  <a:lnTo>
                    <a:pt x="4254" y="366"/>
                  </a:lnTo>
                  <a:lnTo>
                    <a:pt x="4266" y="372"/>
                  </a:lnTo>
                  <a:lnTo>
                    <a:pt x="4284" y="372"/>
                  </a:lnTo>
                  <a:lnTo>
                    <a:pt x="4290" y="366"/>
                  </a:lnTo>
                  <a:lnTo>
                    <a:pt x="4290" y="360"/>
                  </a:lnTo>
                  <a:lnTo>
                    <a:pt x="4284" y="354"/>
                  </a:lnTo>
                  <a:lnTo>
                    <a:pt x="4338" y="372"/>
                  </a:lnTo>
                  <a:lnTo>
                    <a:pt x="4344" y="378"/>
                  </a:lnTo>
                  <a:lnTo>
                    <a:pt x="4350" y="390"/>
                  </a:lnTo>
                  <a:lnTo>
                    <a:pt x="4374" y="390"/>
                  </a:lnTo>
                  <a:lnTo>
                    <a:pt x="4410" y="378"/>
                  </a:lnTo>
                  <a:lnTo>
                    <a:pt x="4440" y="372"/>
                  </a:lnTo>
                  <a:lnTo>
                    <a:pt x="4476" y="372"/>
                  </a:lnTo>
                  <a:lnTo>
                    <a:pt x="4494" y="366"/>
                  </a:lnTo>
                  <a:lnTo>
                    <a:pt x="4506" y="360"/>
                  </a:lnTo>
                  <a:lnTo>
                    <a:pt x="4524" y="342"/>
                  </a:lnTo>
                  <a:lnTo>
                    <a:pt x="4464" y="342"/>
                  </a:lnTo>
                  <a:lnTo>
                    <a:pt x="4470" y="336"/>
                  </a:lnTo>
                  <a:lnTo>
                    <a:pt x="4470" y="330"/>
                  </a:lnTo>
                  <a:lnTo>
                    <a:pt x="4416" y="330"/>
                  </a:lnTo>
                  <a:lnTo>
                    <a:pt x="4362" y="318"/>
                  </a:lnTo>
                  <a:lnTo>
                    <a:pt x="4380" y="300"/>
                  </a:lnTo>
                  <a:lnTo>
                    <a:pt x="4440" y="318"/>
                  </a:lnTo>
                  <a:lnTo>
                    <a:pt x="4452" y="318"/>
                  </a:lnTo>
                  <a:lnTo>
                    <a:pt x="4488" y="312"/>
                  </a:lnTo>
                  <a:lnTo>
                    <a:pt x="4566" y="312"/>
                  </a:lnTo>
                  <a:lnTo>
                    <a:pt x="4578" y="300"/>
                  </a:lnTo>
                  <a:lnTo>
                    <a:pt x="4578" y="288"/>
                  </a:lnTo>
                  <a:lnTo>
                    <a:pt x="4584" y="288"/>
                  </a:lnTo>
                  <a:lnTo>
                    <a:pt x="4590" y="282"/>
                  </a:lnTo>
                  <a:lnTo>
                    <a:pt x="4608" y="282"/>
                  </a:lnTo>
                  <a:lnTo>
                    <a:pt x="4626" y="276"/>
                  </a:lnTo>
                  <a:lnTo>
                    <a:pt x="4662" y="276"/>
                  </a:lnTo>
                  <a:lnTo>
                    <a:pt x="4680" y="270"/>
                  </a:lnTo>
                  <a:lnTo>
                    <a:pt x="4710" y="270"/>
                  </a:lnTo>
                  <a:lnTo>
                    <a:pt x="4722" y="264"/>
                  </a:lnTo>
                  <a:lnTo>
                    <a:pt x="4728" y="264"/>
                  </a:lnTo>
                  <a:lnTo>
                    <a:pt x="4704" y="246"/>
                  </a:lnTo>
                  <a:lnTo>
                    <a:pt x="4746" y="246"/>
                  </a:lnTo>
                  <a:lnTo>
                    <a:pt x="4770" y="240"/>
                  </a:lnTo>
                  <a:lnTo>
                    <a:pt x="4782" y="234"/>
                  </a:lnTo>
                  <a:lnTo>
                    <a:pt x="4776" y="228"/>
                  </a:lnTo>
                  <a:lnTo>
                    <a:pt x="4770" y="228"/>
                  </a:lnTo>
                  <a:lnTo>
                    <a:pt x="4758" y="222"/>
                  </a:lnTo>
                  <a:lnTo>
                    <a:pt x="4746" y="222"/>
                  </a:lnTo>
                  <a:lnTo>
                    <a:pt x="4734" y="216"/>
                  </a:lnTo>
                  <a:lnTo>
                    <a:pt x="4686" y="216"/>
                  </a:lnTo>
                  <a:lnTo>
                    <a:pt x="4674" y="210"/>
                  </a:lnTo>
                  <a:lnTo>
                    <a:pt x="4662" y="210"/>
                  </a:lnTo>
                  <a:lnTo>
                    <a:pt x="4662" y="204"/>
                  </a:lnTo>
                  <a:lnTo>
                    <a:pt x="4674" y="198"/>
                  </a:lnTo>
                  <a:lnTo>
                    <a:pt x="4686" y="198"/>
                  </a:lnTo>
                  <a:lnTo>
                    <a:pt x="4704" y="192"/>
                  </a:lnTo>
                  <a:lnTo>
                    <a:pt x="4716" y="186"/>
                  </a:lnTo>
                  <a:lnTo>
                    <a:pt x="4764" y="186"/>
                  </a:lnTo>
                  <a:lnTo>
                    <a:pt x="4782" y="192"/>
                  </a:lnTo>
                  <a:lnTo>
                    <a:pt x="4860" y="192"/>
                  </a:lnTo>
                  <a:lnTo>
                    <a:pt x="4878" y="186"/>
                  </a:lnTo>
                  <a:lnTo>
                    <a:pt x="4902" y="186"/>
                  </a:lnTo>
                  <a:lnTo>
                    <a:pt x="4896" y="180"/>
                  </a:lnTo>
                  <a:lnTo>
                    <a:pt x="4878" y="180"/>
                  </a:lnTo>
                  <a:lnTo>
                    <a:pt x="4866" y="174"/>
                  </a:lnTo>
                  <a:lnTo>
                    <a:pt x="4872" y="168"/>
                  </a:lnTo>
                  <a:lnTo>
                    <a:pt x="4902" y="162"/>
                  </a:lnTo>
                  <a:lnTo>
                    <a:pt x="4944" y="168"/>
                  </a:lnTo>
                  <a:lnTo>
                    <a:pt x="4974" y="174"/>
                  </a:lnTo>
                  <a:lnTo>
                    <a:pt x="4986" y="174"/>
                  </a:lnTo>
                  <a:lnTo>
                    <a:pt x="4992" y="168"/>
                  </a:lnTo>
                  <a:lnTo>
                    <a:pt x="4992" y="150"/>
                  </a:lnTo>
                  <a:lnTo>
                    <a:pt x="5070" y="156"/>
                  </a:lnTo>
                  <a:lnTo>
                    <a:pt x="5070" y="132"/>
                  </a:lnTo>
                  <a:lnTo>
                    <a:pt x="5082" y="132"/>
                  </a:lnTo>
                  <a:lnTo>
                    <a:pt x="5094" y="138"/>
                  </a:lnTo>
                  <a:lnTo>
                    <a:pt x="5112" y="138"/>
                  </a:lnTo>
                  <a:lnTo>
                    <a:pt x="5136" y="126"/>
                  </a:lnTo>
                  <a:lnTo>
                    <a:pt x="5148" y="126"/>
                  </a:lnTo>
                  <a:lnTo>
                    <a:pt x="5154" y="120"/>
                  </a:lnTo>
                  <a:lnTo>
                    <a:pt x="5172" y="120"/>
                  </a:lnTo>
                  <a:lnTo>
                    <a:pt x="5208" y="114"/>
                  </a:lnTo>
                  <a:lnTo>
                    <a:pt x="5256" y="102"/>
                  </a:lnTo>
                  <a:lnTo>
                    <a:pt x="5298" y="96"/>
                  </a:lnTo>
                  <a:lnTo>
                    <a:pt x="5322" y="90"/>
                  </a:lnTo>
                  <a:lnTo>
                    <a:pt x="5340" y="90"/>
                  </a:lnTo>
                  <a:lnTo>
                    <a:pt x="5346" y="84"/>
                  </a:lnTo>
                  <a:lnTo>
                    <a:pt x="5238" y="84"/>
                  </a:lnTo>
                  <a:lnTo>
                    <a:pt x="5214" y="96"/>
                  </a:lnTo>
                  <a:lnTo>
                    <a:pt x="5142" y="96"/>
                  </a:lnTo>
                  <a:lnTo>
                    <a:pt x="5226" y="90"/>
                  </a:lnTo>
                  <a:lnTo>
                    <a:pt x="5220" y="78"/>
                  </a:lnTo>
                  <a:lnTo>
                    <a:pt x="5268" y="84"/>
                  </a:lnTo>
                  <a:lnTo>
                    <a:pt x="5274" y="78"/>
                  </a:lnTo>
                  <a:lnTo>
                    <a:pt x="5286" y="72"/>
                  </a:lnTo>
                  <a:lnTo>
                    <a:pt x="5358" y="72"/>
                  </a:lnTo>
                  <a:lnTo>
                    <a:pt x="5406" y="66"/>
                  </a:lnTo>
                  <a:lnTo>
                    <a:pt x="5454" y="66"/>
                  </a:lnTo>
                  <a:lnTo>
                    <a:pt x="5484" y="60"/>
                  </a:lnTo>
                  <a:lnTo>
                    <a:pt x="5496" y="60"/>
                  </a:lnTo>
                  <a:lnTo>
                    <a:pt x="5514" y="54"/>
                  </a:lnTo>
                  <a:lnTo>
                    <a:pt x="5532" y="54"/>
                  </a:lnTo>
                  <a:lnTo>
                    <a:pt x="5550" y="48"/>
                  </a:lnTo>
                  <a:lnTo>
                    <a:pt x="5562" y="42"/>
                  </a:lnTo>
                  <a:lnTo>
                    <a:pt x="5574" y="42"/>
                  </a:lnTo>
                  <a:lnTo>
                    <a:pt x="5574" y="36"/>
                  </a:lnTo>
                  <a:close/>
                  <a:moveTo>
                    <a:pt x="4032" y="966"/>
                  </a:moveTo>
                  <a:lnTo>
                    <a:pt x="4086" y="966"/>
                  </a:lnTo>
                  <a:lnTo>
                    <a:pt x="4134" y="942"/>
                  </a:lnTo>
                  <a:lnTo>
                    <a:pt x="4140" y="930"/>
                  </a:lnTo>
                  <a:lnTo>
                    <a:pt x="4134" y="918"/>
                  </a:lnTo>
                  <a:lnTo>
                    <a:pt x="4134" y="912"/>
                  </a:lnTo>
                  <a:lnTo>
                    <a:pt x="4122" y="906"/>
                  </a:lnTo>
                  <a:lnTo>
                    <a:pt x="4074" y="906"/>
                  </a:lnTo>
                  <a:lnTo>
                    <a:pt x="4062" y="912"/>
                  </a:lnTo>
                  <a:lnTo>
                    <a:pt x="4050" y="912"/>
                  </a:lnTo>
                  <a:lnTo>
                    <a:pt x="4026" y="924"/>
                  </a:lnTo>
                  <a:lnTo>
                    <a:pt x="4014" y="936"/>
                  </a:lnTo>
                  <a:lnTo>
                    <a:pt x="4002" y="942"/>
                  </a:lnTo>
                  <a:lnTo>
                    <a:pt x="4002" y="954"/>
                  </a:lnTo>
                  <a:lnTo>
                    <a:pt x="4014" y="960"/>
                  </a:lnTo>
                  <a:lnTo>
                    <a:pt x="4032" y="966"/>
                  </a:lnTo>
                  <a:close/>
                  <a:moveTo>
                    <a:pt x="4014" y="840"/>
                  </a:moveTo>
                  <a:lnTo>
                    <a:pt x="4002" y="840"/>
                  </a:lnTo>
                  <a:lnTo>
                    <a:pt x="3990" y="846"/>
                  </a:lnTo>
                  <a:lnTo>
                    <a:pt x="3984" y="852"/>
                  </a:lnTo>
                  <a:lnTo>
                    <a:pt x="3972" y="852"/>
                  </a:lnTo>
                  <a:lnTo>
                    <a:pt x="3990" y="852"/>
                  </a:lnTo>
                  <a:lnTo>
                    <a:pt x="4008" y="846"/>
                  </a:lnTo>
                  <a:lnTo>
                    <a:pt x="4026" y="846"/>
                  </a:lnTo>
                  <a:lnTo>
                    <a:pt x="4044" y="840"/>
                  </a:lnTo>
                  <a:lnTo>
                    <a:pt x="4050" y="834"/>
                  </a:lnTo>
                  <a:lnTo>
                    <a:pt x="4056" y="834"/>
                  </a:lnTo>
                  <a:lnTo>
                    <a:pt x="4068" y="822"/>
                  </a:lnTo>
                  <a:lnTo>
                    <a:pt x="4050" y="822"/>
                  </a:lnTo>
                  <a:lnTo>
                    <a:pt x="4044" y="828"/>
                  </a:lnTo>
                  <a:lnTo>
                    <a:pt x="4032" y="828"/>
                  </a:lnTo>
                  <a:lnTo>
                    <a:pt x="4020" y="834"/>
                  </a:lnTo>
                  <a:lnTo>
                    <a:pt x="4014" y="840"/>
                  </a:lnTo>
                  <a:close/>
                  <a:moveTo>
                    <a:pt x="4122" y="822"/>
                  </a:moveTo>
                  <a:lnTo>
                    <a:pt x="4104" y="822"/>
                  </a:lnTo>
                  <a:lnTo>
                    <a:pt x="4098" y="828"/>
                  </a:lnTo>
                  <a:lnTo>
                    <a:pt x="4098" y="840"/>
                  </a:lnTo>
                  <a:lnTo>
                    <a:pt x="4104" y="846"/>
                  </a:lnTo>
                  <a:lnTo>
                    <a:pt x="4110" y="840"/>
                  </a:lnTo>
                  <a:lnTo>
                    <a:pt x="4116" y="840"/>
                  </a:lnTo>
                  <a:lnTo>
                    <a:pt x="4128" y="828"/>
                  </a:lnTo>
                  <a:lnTo>
                    <a:pt x="4122" y="822"/>
                  </a:lnTo>
                  <a:close/>
                  <a:moveTo>
                    <a:pt x="3528" y="1062"/>
                  </a:moveTo>
                  <a:lnTo>
                    <a:pt x="3522" y="1062"/>
                  </a:lnTo>
                  <a:lnTo>
                    <a:pt x="3504" y="1080"/>
                  </a:lnTo>
                  <a:lnTo>
                    <a:pt x="3504" y="1086"/>
                  </a:lnTo>
                  <a:lnTo>
                    <a:pt x="3510" y="1092"/>
                  </a:lnTo>
                  <a:lnTo>
                    <a:pt x="3528" y="1092"/>
                  </a:lnTo>
                  <a:lnTo>
                    <a:pt x="3534" y="1086"/>
                  </a:lnTo>
                  <a:lnTo>
                    <a:pt x="3540" y="1074"/>
                  </a:lnTo>
                  <a:lnTo>
                    <a:pt x="3540" y="1068"/>
                  </a:lnTo>
                  <a:lnTo>
                    <a:pt x="3534" y="1062"/>
                  </a:lnTo>
                  <a:lnTo>
                    <a:pt x="3528" y="1062"/>
                  </a:lnTo>
                  <a:close/>
                  <a:moveTo>
                    <a:pt x="3588" y="1062"/>
                  </a:moveTo>
                  <a:lnTo>
                    <a:pt x="3582" y="1062"/>
                  </a:lnTo>
                  <a:lnTo>
                    <a:pt x="3576" y="1068"/>
                  </a:lnTo>
                  <a:lnTo>
                    <a:pt x="3576" y="1080"/>
                  </a:lnTo>
                  <a:lnTo>
                    <a:pt x="3582" y="1086"/>
                  </a:lnTo>
                  <a:lnTo>
                    <a:pt x="3594" y="1086"/>
                  </a:lnTo>
                  <a:lnTo>
                    <a:pt x="3600" y="1080"/>
                  </a:lnTo>
                  <a:lnTo>
                    <a:pt x="3600" y="1068"/>
                  </a:lnTo>
                  <a:lnTo>
                    <a:pt x="3588" y="1062"/>
                  </a:lnTo>
                  <a:close/>
                  <a:moveTo>
                    <a:pt x="3756" y="1242"/>
                  </a:moveTo>
                  <a:lnTo>
                    <a:pt x="3744" y="1248"/>
                  </a:lnTo>
                  <a:lnTo>
                    <a:pt x="3744" y="1260"/>
                  </a:lnTo>
                  <a:lnTo>
                    <a:pt x="3750" y="1266"/>
                  </a:lnTo>
                  <a:lnTo>
                    <a:pt x="3762" y="1272"/>
                  </a:lnTo>
                  <a:lnTo>
                    <a:pt x="3768" y="1272"/>
                  </a:lnTo>
                  <a:lnTo>
                    <a:pt x="3786" y="1254"/>
                  </a:lnTo>
                  <a:lnTo>
                    <a:pt x="3786" y="1242"/>
                  </a:lnTo>
                  <a:lnTo>
                    <a:pt x="3780" y="1236"/>
                  </a:lnTo>
                  <a:lnTo>
                    <a:pt x="3768" y="1236"/>
                  </a:lnTo>
                  <a:lnTo>
                    <a:pt x="3756" y="1242"/>
                  </a:lnTo>
                  <a:close/>
                  <a:moveTo>
                    <a:pt x="3984" y="2532"/>
                  </a:moveTo>
                  <a:lnTo>
                    <a:pt x="3948" y="2520"/>
                  </a:lnTo>
                  <a:lnTo>
                    <a:pt x="3942" y="2514"/>
                  </a:lnTo>
                  <a:lnTo>
                    <a:pt x="3936" y="2514"/>
                  </a:lnTo>
                  <a:lnTo>
                    <a:pt x="3924" y="2526"/>
                  </a:lnTo>
                  <a:lnTo>
                    <a:pt x="3930" y="2532"/>
                  </a:lnTo>
                  <a:lnTo>
                    <a:pt x="3942" y="2538"/>
                  </a:lnTo>
                  <a:lnTo>
                    <a:pt x="3948" y="2544"/>
                  </a:lnTo>
                  <a:lnTo>
                    <a:pt x="3954" y="2544"/>
                  </a:lnTo>
                  <a:lnTo>
                    <a:pt x="3960" y="2550"/>
                  </a:lnTo>
                  <a:lnTo>
                    <a:pt x="3996" y="2550"/>
                  </a:lnTo>
                  <a:lnTo>
                    <a:pt x="4008" y="2556"/>
                  </a:lnTo>
                  <a:lnTo>
                    <a:pt x="4020" y="2556"/>
                  </a:lnTo>
                  <a:lnTo>
                    <a:pt x="4038" y="2538"/>
                  </a:lnTo>
                  <a:lnTo>
                    <a:pt x="4008" y="2538"/>
                  </a:lnTo>
                  <a:lnTo>
                    <a:pt x="3984" y="2532"/>
                  </a:lnTo>
                  <a:close/>
                  <a:moveTo>
                    <a:pt x="4098" y="2280"/>
                  </a:moveTo>
                  <a:lnTo>
                    <a:pt x="4092" y="2280"/>
                  </a:lnTo>
                  <a:lnTo>
                    <a:pt x="4086" y="2274"/>
                  </a:lnTo>
                  <a:lnTo>
                    <a:pt x="4050" y="2274"/>
                  </a:lnTo>
                  <a:lnTo>
                    <a:pt x="4032" y="2268"/>
                  </a:lnTo>
                  <a:lnTo>
                    <a:pt x="3996" y="2268"/>
                  </a:lnTo>
                  <a:lnTo>
                    <a:pt x="4002" y="2274"/>
                  </a:lnTo>
                  <a:lnTo>
                    <a:pt x="4008" y="2274"/>
                  </a:lnTo>
                  <a:lnTo>
                    <a:pt x="4014" y="2280"/>
                  </a:lnTo>
                  <a:lnTo>
                    <a:pt x="4026" y="2286"/>
                  </a:lnTo>
                  <a:lnTo>
                    <a:pt x="4032" y="2286"/>
                  </a:lnTo>
                  <a:lnTo>
                    <a:pt x="4032" y="2304"/>
                  </a:lnTo>
                  <a:lnTo>
                    <a:pt x="4044" y="2304"/>
                  </a:lnTo>
                  <a:lnTo>
                    <a:pt x="4080" y="2310"/>
                  </a:lnTo>
                  <a:lnTo>
                    <a:pt x="4128" y="2316"/>
                  </a:lnTo>
                  <a:lnTo>
                    <a:pt x="4164" y="2316"/>
                  </a:lnTo>
                  <a:lnTo>
                    <a:pt x="4170" y="2310"/>
                  </a:lnTo>
                  <a:lnTo>
                    <a:pt x="4170" y="2304"/>
                  </a:lnTo>
                  <a:lnTo>
                    <a:pt x="4164" y="2304"/>
                  </a:lnTo>
                  <a:lnTo>
                    <a:pt x="4152" y="2292"/>
                  </a:lnTo>
                  <a:lnTo>
                    <a:pt x="4128" y="2286"/>
                  </a:lnTo>
                  <a:lnTo>
                    <a:pt x="4098" y="2280"/>
                  </a:lnTo>
                  <a:close/>
                  <a:moveTo>
                    <a:pt x="4194" y="2550"/>
                  </a:moveTo>
                  <a:lnTo>
                    <a:pt x="4164" y="2550"/>
                  </a:lnTo>
                  <a:lnTo>
                    <a:pt x="4152" y="2556"/>
                  </a:lnTo>
                  <a:lnTo>
                    <a:pt x="4146" y="2562"/>
                  </a:lnTo>
                  <a:lnTo>
                    <a:pt x="4182" y="2526"/>
                  </a:lnTo>
                  <a:lnTo>
                    <a:pt x="4176" y="2520"/>
                  </a:lnTo>
                  <a:lnTo>
                    <a:pt x="4152" y="2520"/>
                  </a:lnTo>
                  <a:lnTo>
                    <a:pt x="4140" y="2526"/>
                  </a:lnTo>
                  <a:lnTo>
                    <a:pt x="4128" y="2538"/>
                  </a:lnTo>
                  <a:lnTo>
                    <a:pt x="4104" y="2574"/>
                  </a:lnTo>
                  <a:lnTo>
                    <a:pt x="4164" y="2568"/>
                  </a:lnTo>
                  <a:lnTo>
                    <a:pt x="4176" y="2568"/>
                  </a:lnTo>
                  <a:lnTo>
                    <a:pt x="4182" y="2562"/>
                  </a:lnTo>
                  <a:lnTo>
                    <a:pt x="4194" y="2562"/>
                  </a:lnTo>
                  <a:lnTo>
                    <a:pt x="4200" y="2556"/>
                  </a:lnTo>
                  <a:lnTo>
                    <a:pt x="4200" y="2550"/>
                  </a:lnTo>
                  <a:lnTo>
                    <a:pt x="4194" y="2550"/>
                  </a:lnTo>
                  <a:close/>
                  <a:moveTo>
                    <a:pt x="4590" y="1962"/>
                  </a:moveTo>
                  <a:lnTo>
                    <a:pt x="4578" y="1974"/>
                  </a:lnTo>
                  <a:lnTo>
                    <a:pt x="4578" y="1980"/>
                  </a:lnTo>
                  <a:lnTo>
                    <a:pt x="4572" y="1986"/>
                  </a:lnTo>
                  <a:lnTo>
                    <a:pt x="4566" y="1986"/>
                  </a:lnTo>
                  <a:lnTo>
                    <a:pt x="4554" y="1974"/>
                  </a:lnTo>
                  <a:lnTo>
                    <a:pt x="4554" y="1962"/>
                  </a:lnTo>
                  <a:lnTo>
                    <a:pt x="4566" y="1962"/>
                  </a:lnTo>
                  <a:lnTo>
                    <a:pt x="4572" y="1956"/>
                  </a:lnTo>
                  <a:lnTo>
                    <a:pt x="4566" y="1932"/>
                  </a:lnTo>
                  <a:lnTo>
                    <a:pt x="4536" y="1926"/>
                  </a:lnTo>
                  <a:lnTo>
                    <a:pt x="4530" y="1926"/>
                  </a:lnTo>
                  <a:lnTo>
                    <a:pt x="4524" y="1932"/>
                  </a:lnTo>
                  <a:lnTo>
                    <a:pt x="4512" y="1938"/>
                  </a:lnTo>
                  <a:lnTo>
                    <a:pt x="4494" y="1944"/>
                  </a:lnTo>
                  <a:lnTo>
                    <a:pt x="4470" y="1956"/>
                  </a:lnTo>
                  <a:lnTo>
                    <a:pt x="4464" y="1962"/>
                  </a:lnTo>
                  <a:lnTo>
                    <a:pt x="4458" y="1962"/>
                  </a:lnTo>
                  <a:lnTo>
                    <a:pt x="4446" y="1968"/>
                  </a:lnTo>
                  <a:lnTo>
                    <a:pt x="4434" y="1968"/>
                  </a:lnTo>
                  <a:lnTo>
                    <a:pt x="4416" y="1974"/>
                  </a:lnTo>
                  <a:lnTo>
                    <a:pt x="4404" y="1974"/>
                  </a:lnTo>
                  <a:lnTo>
                    <a:pt x="4374" y="1998"/>
                  </a:lnTo>
                  <a:lnTo>
                    <a:pt x="4386" y="1974"/>
                  </a:lnTo>
                  <a:lnTo>
                    <a:pt x="4362" y="1956"/>
                  </a:lnTo>
                  <a:lnTo>
                    <a:pt x="4398" y="1968"/>
                  </a:lnTo>
                  <a:lnTo>
                    <a:pt x="4410" y="1956"/>
                  </a:lnTo>
                  <a:lnTo>
                    <a:pt x="4440" y="1950"/>
                  </a:lnTo>
                  <a:lnTo>
                    <a:pt x="4440" y="1932"/>
                  </a:lnTo>
                  <a:lnTo>
                    <a:pt x="4494" y="1932"/>
                  </a:lnTo>
                  <a:lnTo>
                    <a:pt x="4518" y="1920"/>
                  </a:lnTo>
                  <a:lnTo>
                    <a:pt x="4524" y="1914"/>
                  </a:lnTo>
                  <a:lnTo>
                    <a:pt x="4536" y="1908"/>
                  </a:lnTo>
                  <a:lnTo>
                    <a:pt x="4608" y="1908"/>
                  </a:lnTo>
                  <a:lnTo>
                    <a:pt x="4602" y="1902"/>
                  </a:lnTo>
                  <a:lnTo>
                    <a:pt x="4596" y="1902"/>
                  </a:lnTo>
                  <a:lnTo>
                    <a:pt x="4584" y="1896"/>
                  </a:lnTo>
                  <a:lnTo>
                    <a:pt x="4578" y="1890"/>
                  </a:lnTo>
                  <a:lnTo>
                    <a:pt x="4578" y="1866"/>
                  </a:lnTo>
                  <a:lnTo>
                    <a:pt x="4572" y="1866"/>
                  </a:lnTo>
                  <a:lnTo>
                    <a:pt x="4566" y="1872"/>
                  </a:lnTo>
                  <a:lnTo>
                    <a:pt x="4542" y="1872"/>
                  </a:lnTo>
                  <a:lnTo>
                    <a:pt x="4530" y="1878"/>
                  </a:lnTo>
                  <a:lnTo>
                    <a:pt x="4518" y="1878"/>
                  </a:lnTo>
                  <a:lnTo>
                    <a:pt x="4518" y="1866"/>
                  </a:lnTo>
                  <a:lnTo>
                    <a:pt x="4512" y="1860"/>
                  </a:lnTo>
                  <a:lnTo>
                    <a:pt x="4452" y="1878"/>
                  </a:lnTo>
                  <a:lnTo>
                    <a:pt x="4458" y="1848"/>
                  </a:lnTo>
                  <a:lnTo>
                    <a:pt x="4410" y="1860"/>
                  </a:lnTo>
                  <a:lnTo>
                    <a:pt x="4416" y="1854"/>
                  </a:lnTo>
                  <a:lnTo>
                    <a:pt x="4422" y="1842"/>
                  </a:lnTo>
                  <a:lnTo>
                    <a:pt x="4440" y="1824"/>
                  </a:lnTo>
                  <a:lnTo>
                    <a:pt x="4446" y="1812"/>
                  </a:lnTo>
                  <a:lnTo>
                    <a:pt x="4446" y="1800"/>
                  </a:lnTo>
                  <a:lnTo>
                    <a:pt x="4434" y="1800"/>
                  </a:lnTo>
                  <a:lnTo>
                    <a:pt x="4422" y="1794"/>
                  </a:lnTo>
                  <a:lnTo>
                    <a:pt x="4398" y="1794"/>
                  </a:lnTo>
                  <a:lnTo>
                    <a:pt x="4404" y="1770"/>
                  </a:lnTo>
                  <a:lnTo>
                    <a:pt x="4368" y="1770"/>
                  </a:lnTo>
                  <a:lnTo>
                    <a:pt x="4380" y="1752"/>
                  </a:lnTo>
                  <a:lnTo>
                    <a:pt x="4356" y="1728"/>
                  </a:lnTo>
                  <a:lnTo>
                    <a:pt x="4368" y="1728"/>
                  </a:lnTo>
                  <a:lnTo>
                    <a:pt x="4380" y="1734"/>
                  </a:lnTo>
                  <a:lnTo>
                    <a:pt x="4404" y="1734"/>
                  </a:lnTo>
                  <a:lnTo>
                    <a:pt x="4410" y="1728"/>
                  </a:lnTo>
                  <a:lnTo>
                    <a:pt x="4422" y="1722"/>
                  </a:lnTo>
                  <a:lnTo>
                    <a:pt x="4434" y="1710"/>
                  </a:lnTo>
                  <a:lnTo>
                    <a:pt x="4440" y="1710"/>
                  </a:lnTo>
                  <a:lnTo>
                    <a:pt x="4398" y="1686"/>
                  </a:lnTo>
                  <a:lnTo>
                    <a:pt x="4446" y="1656"/>
                  </a:lnTo>
                  <a:lnTo>
                    <a:pt x="4398" y="1632"/>
                  </a:lnTo>
                  <a:lnTo>
                    <a:pt x="4350" y="1638"/>
                  </a:lnTo>
                  <a:lnTo>
                    <a:pt x="4404" y="1614"/>
                  </a:lnTo>
                  <a:lnTo>
                    <a:pt x="4368" y="1608"/>
                  </a:lnTo>
                  <a:lnTo>
                    <a:pt x="4410" y="1584"/>
                  </a:lnTo>
                  <a:lnTo>
                    <a:pt x="4404" y="1560"/>
                  </a:lnTo>
                  <a:lnTo>
                    <a:pt x="4374" y="1560"/>
                  </a:lnTo>
                  <a:lnTo>
                    <a:pt x="4380" y="1554"/>
                  </a:lnTo>
                  <a:lnTo>
                    <a:pt x="4392" y="1530"/>
                  </a:lnTo>
                  <a:lnTo>
                    <a:pt x="4374" y="1494"/>
                  </a:lnTo>
                  <a:lnTo>
                    <a:pt x="4362" y="1494"/>
                  </a:lnTo>
                  <a:lnTo>
                    <a:pt x="4374" y="1470"/>
                  </a:lnTo>
                  <a:lnTo>
                    <a:pt x="4362" y="1476"/>
                  </a:lnTo>
                  <a:lnTo>
                    <a:pt x="4356" y="1482"/>
                  </a:lnTo>
                  <a:lnTo>
                    <a:pt x="4344" y="1488"/>
                  </a:lnTo>
                  <a:lnTo>
                    <a:pt x="4332" y="1500"/>
                  </a:lnTo>
                  <a:lnTo>
                    <a:pt x="4332" y="1518"/>
                  </a:lnTo>
                  <a:lnTo>
                    <a:pt x="4302" y="1506"/>
                  </a:lnTo>
                  <a:lnTo>
                    <a:pt x="4308" y="1542"/>
                  </a:lnTo>
                  <a:lnTo>
                    <a:pt x="4284" y="1542"/>
                  </a:lnTo>
                  <a:lnTo>
                    <a:pt x="4272" y="1560"/>
                  </a:lnTo>
                  <a:lnTo>
                    <a:pt x="4278" y="1572"/>
                  </a:lnTo>
                  <a:lnTo>
                    <a:pt x="4254" y="1572"/>
                  </a:lnTo>
                  <a:lnTo>
                    <a:pt x="4230" y="1614"/>
                  </a:lnTo>
                  <a:lnTo>
                    <a:pt x="4218" y="1614"/>
                  </a:lnTo>
                  <a:lnTo>
                    <a:pt x="4236" y="1578"/>
                  </a:lnTo>
                  <a:lnTo>
                    <a:pt x="4224" y="1566"/>
                  </a:lnTo>
                  <a:lnTo>
                    <a:pt x="4212" y="1566"/>
                  </a:lnTo>
                  <a:lnTo>
                    <a:pt x="4194" y="1584"/>
                  </a:lnTo>
                  <a:lnTo>
                    <a:pt x="4182" y="1590"/>
                  </a:lnTo>
                  <a:lnTo>
                    <a:pt x="4176" y="1596"/>
                  </a:lnTo>
                  <a:lnTo>
                    <a:pt x="4164" y="1602"/>
                  </a:lnTo>
                  <a:lnTo>
                    <a:pt x="4158" y="1608"/>
                  </a:lnTo>
                  <a:lnTo>
                    <a:pt x="4146" y="1614"/>
                  </a:lnTo>
                  <a:lnTo>
                    <a:pt x="4140" y="1620"/>
                  </a:lnTo>
                  <a:lnTo>
                    <a:pt x="4116" y="1632"/>
                  </a:lnTo>
                  <a:lnTo>
                    <a:pt x="4110" y="1638"/>
                  </a:lnTo>
                  <a:lnTo>
                    <a:pt x="4116" y="1614"/>
                  </a:lnTo>
                  <a:lnTo>
                    <a:pt x="4116" y="1596"/>
                  </a:lnTo>
                  <a:lnTo>
                    <a:pt x="4080" y="1632"/>
                  </a:lnTo>
                  <a:lnTo>
                    <a:pt x="4014" y="1644"/>
                  </a:lnTo>
                  <a:lnTo>
                    <a:pt x="4074" y="1626"/>
                  </a:lnTo>
                  <a:lnTo>
                    <a:pt x="4080" y="1620"/>
                  </a:lnTo>
                  <a:lnTo>
                    <a:pt x="4092" y="1596"/>
                  </a:lnTo>
                  <a:lnTo>
                    <a:pt x="4098" y="1590"/>
                  </a:lnTo>
                  <a:lnTo>
                    <a:pt x="4098" y="1578"/>
                  </a:lnTo>
                  <a:lnTo>
                    <a:pt x="4092" y="1572"/>
                  </a:lnTo>
                  <a:lnTo>
                    <a:pt x="4050" y="1572"/>
                  </a:lnTo>
                  <a:lnTo>
                    <a:pt x="4038" y="1578"/>
                  </a:lnTo>
                  <a:lnTo>
                    <a:pt x="4032" y="1578"/>
                  </a:lnTo>
                  <a:lnTo>
                    <a:pt x="4020" y="1584"/>
                  </a:lnTo>
                  <a:lnTo>
                    <a:pt x="4002" y="1584"/>
                  </a:lnTo>
                  <a:lnTo>
                    <a:pt x="4002" y="1578"/>
                  </a:lnTo>
                  <a:lnTo>
                    <a:pt x="4008" y="1572"/>
                  </a:lnTo>
                  <a:lnTo>
                    <a:pt x="4020" y="1566"/>
                  </a:lnTo>
                  <a:lnTo>
                    <a:pt x="4026" y="1560"/>
                  </a:lnTo>
                  <a:lnTo>
                    <a:pt x="4032" y="1560"/>
                  </a:lnTo>
                  <a:lnTo>
                    <a:pt x="4032" y="1572"/>
                  </a:lnTo>
                  <a:lnTo>
                    <a:pt x="4050" y="1560"/>
                  </a:lnTo>
                  <a:lnTo>
                    <a:pt x="4044" y="1536"/>
                  </a:lnTo>
                  <a:lnTo>
                    <a:pt x="4050" y="1530"/>
                  </a:lnTo>
                  <a:lnTo>
                    <a:pt x="4062" y="1524"/>
                  </a:lnTo>
                  <a:lnTo>
                    <a:pt x="4074" y="1512"/>
                  </a:lnTo>
                  <a:lnTo>
                    <a:pt x="4074" y="1506"/>
                  </a:lnTo>
                  <a:lnTo>
                    <a:pt x="4068" y="1500"/>
                  </a:lnTo>
                  <a:lnTo>
                    <a:pt x="4056" y="1494"/>
                  </a:lnTo>
                  <a:lnTo>
                    <a:pt x="4044" y="1494"/>
                  </a:lnTo>
                  <a:lnTo>
                    <a:pt x="4032" y="1488"/>
                  </a:lnTo>
                  <a:lnTo>
                    <a:pt x="4014" y="1488"/>
                  </a:lnTo>
                  <a:lnTo>
                    <a:pt x="4044" y="1488"/>
                  </a:lnTo>
                  <a:lnTo>
                    <a:pt x="4056" y="1482"/>
                  </a:lnTo>
                  <a:lnTo>
                    <a:pt x="4074" y="1482"/>
                  </a:lnTo>
                  <a:lnTo>
                    <a:pt x="4086" y="1470"/>
                  </a:lnTo>
                  <a:lnTo>
                    <a:pt x="4098" y="1446"/>
                  </a:lnTo>
                  <a:lnTo>
                    <a:pt x="4104" y="1440"/>
                  </a:lnTo>
                  <a:lnTo>
                    <a:pt x="4110" y="1440"/>
                  </a:lnTo>
                  <a:lnTo>
                    <a:pt x="4122" y="1434"/>
                  </a:lnTo>
                  <a:lnTo>
                    <a:pt x="4128" y="1434"/>
                  </a:lnTo>
                  <a:lnTo>
                    <a:pt x="4134" y="1428"/>
                  </a:lnTo>
                  <a:lnTo>
                    <a:pt x="4122" y="1416"/>
                  </a:lnTo>
                  <a:lnTo>
                    <a:pt x="4110" y="1422"/>
                  </a:lnTo>
                  <a:lnTo>
                    <a:pt x="4098" y="1434"/>
                  </a:lnTo>
                  <a:lnTo>
                    <a:pt x="4092" y="1404"/>
                  </a:lnTo>
                  <a:lnTo>
                    <a:pt x="4068" y="1404"/>
                  </a:lnTo>
                  <a:lnTo>
                    <a:pt x="4050" y="1410"/>
                  </a:lnTo>
                  <a:lnTo>
                    <a:pt x="4026" y="1410"/>
                  </a:lnTo>
                  <a:lnTo>
                    <a:pt x="4020" y="1404"/>
                  </a:lnTo>
                  <a:lnTo>
                    <a:pt x="4020" y="1386"/>
                  </a:lnTo>
                  <a:lnTo>
                    <a:pt x="4038" y="1368"/>
                  </a:lnTo>
                  <a:lnTo>
                    <a:pt x="4032" y="1362"/>
                  </a:lnTo>
                  <a:lnTo>
                    <a:pt x="4014" y="1362"/>
                  </a:lnTo>
                  <a:lnTo>
                    <a:pt x="4008" y="1368"/>
                  </a:lnTo>
                  <a:lnTo>
                    <a:pt x="4020" y="1344"/>
                  </a:lnTo>
                  <a:lnTo>
                    <a:pt x="3984" y="1350"/>
                  </a:lnTo>
                  <a:lnTo>
                    <a:pt x="3984" y="1326"/>
                  </a:lnTo>
                  <a:lnTo>
                    <a:pt x="3978" y="1314"/>
                  </a:lnTo>
                  <a:lnTo>
                    <a:pt x="3972" y="1308"/>
                  </a:lnTo>
                  <a:lnTo>
                    <a:pt x="3948" y="1308"/>
                  </a:lnTo>
                  <a:lnTo>
                    <a:pt x="3930" y="1314"/>
                  </a:lnTo>
                  <a:lnTo>
                    <a:pt x="3906" y="1326"/>
                  </a:lnTo>
                  <a:lnTo>
                    <a:pt x="3900" y="1332"/>
                  </a:lnTo>
                  <a:lnTo>
                    <a:pt x="3894" y="1332"/>
                  </a:lnTo>
                  <a:lnTo>
                    <a:pt x="3888" y="1326"/>
                  </a:lnTo>
                  <a:lnTo>
                    <a:pt x="3876" y="1320"/>
                  </a:lnTo>
                  <a:lnTo>
                    <a:pt x="3864" y="1320"/>
                  </a:lnTo>
                  <a:lnTo>
                    <a:pt x="3852" y="1326"/>
                  </a:lnTo>
                  <a:lnTo>
                    <a:pt x="3846" y="1326"/>
                  </a:lnTo>
                  <a:lnTo>
                    <a:pt x="3834" y="1332"/>
                  </a:lnTo>
                  <a:lnTo>
                    <a:pt x="3822" y="1326"/>
                  </a:lnTo>
                  <a:lnTo>
                    <a:pt x="3762" y="1302"/>
                  </a:lnTo>
                  <a:lnTo>
                    <a:pt x="3738" y="1302"/>
                  </a:lnTo>
                  <a:lnTo>
                    <a:pt x="3714" y="1314"/>
                  </a:lnTo>
                  <a:lnTo>
                    <a:pt x="3708" y="1326"/>
                  </a:lnTo>
                  <a:lnTo>
                    <a:pt x="3702" y="1326"/>
                  </a:lnTo>
                  <a:lnTo>
                    <a:pt x="3684" y="1344"/>
                  </a:lnTo>
                  <a:lnTo>
                    <a:pt x="3684" y="1350"/>
                  </a:lnTo>
                  <a:lnTo>
                    <a:pt x="3696" y="1356"/>
                  </a:lnTo>
                  <a:lnTo>
                    <a:pt x="3702" y="1362"/>
                  </a:lnTo>
                  <a:lnTo>
                    <a:pt x="3708" y="1374"/>
                  </a:lnTo>
                  <a:lnTo>
                    <a:pt x="3708" y="1380"/>
                  </a:lnTo>
                  <a:lnTo>
                    <a:pt x="3702" y="1386"/>
                  </a:lnTo>
                  <a:lnTo>
                    <a:pt x="3690" y="1392"/>
                  </a:lnTo>
                  <a:lnTo>
                    <a:pt x="3672" y="1410"/>
                  </a:lnTo>
                  <a:lnTo>
                    <a:pt x="3660" y="1416"/>
                  </a:lnTo>
                  <a:lnTo>
                    <a:pt x="3636" y="1422"/>
                  </a:lnTo>
                  <a:lnTo>
                    <a:pt x="3660" y="1440"/>
                  </a:lnTo>
                  <a:lnTo>
                    <a:pt x="3654" y="1446"/>
                  </a:lnTo>
                  <a:lnTo>
                    <a:pt x="3642" y="1446"/>
                  </a:lnTo>
                  <a:lnTo>
                    <a:pt x="3636" y="1452"/>
                  </a:lnTo>
                  <a:lnTo>
                    <a:pt x="3636" y="1470"/>
                  </a:lnTo>
                  <a:lnTo>
                    <a:pt x="3642" y="1482"/>
                  </a:lnTo>
                  <a:lnTo>
                    <a:pt x="3642" y="1488"/>
                  </a:lnTo>
                  <a:lnTo>
                    <a:pt x="3636" y="1500"/>
                  </a:lnTo>
                  <a:lnTo>
                    <a:pt x="3624" y="1506"/>
                  </a:lnTo>
                  <a:lnTo>
                    <a:pt x="3618" y="1512"/>
                  </a:lnTo>
                  <a:lnTo>
                    <a:pt x="3606" y="1512"/>
                  </a:lnTo>
                  <a:lnTo>
                    <a:pt x="3582" y="1524"/>
                  </a:lnTo>
                  <a:lnTo>
                    <a:pt x="3576" y="1536"/>
                  </a:lnTo>
                  <a:lnTo>
                    <a:pt x="3576" y="1548"/>
                  </a:lnTo>
                  <a:lnTo>
                    <a:pt x="3570" y="1548"/>
                  </a:lnTo>
                  <a:lnTo>
                    <a:pt x="3564" y="1554"/>
                  </a:lnTo>
                  <a:lnTo>
                    <a:pt x="3552" y="1554"/>
                  </a:lnTo>
                  <a:lnTo>
                    <a:pt x="3540" y="1560"/>
                  </a:lnTo>
                  <a:lnTo>
                    <a:pt x="3534" y="1566"/>
                  </a:lnTo>
                  <a:lnTo>
                    <a:pt x="3522" y="1572"/>
                  </a:lnTo>
                  <a:lnTo>
                    <a:pt x="3504" y="1590"/>
                  </a:lnTo>
                  <a:lnTo>
                    <a:pt x="3510" y="1596"/>
                  </a:lnTo>
                  <a:lnTo>
                    <a:pt x="3522" y="1602"/>
                  </a:lnTo>
                  <a:lnTo>
                    <a:pt x="3534" y="1614"/>
                  </a:lnTo>
                  <a:lnTo>
                    <a:pt x="3552" y="1620"/>
                  </a:lnTo>
                  <a:lnTo>
                    <a:pt x="3558" y="1632"/>
                  </a:lnTo>
                  <a:lnTo>
                    <a:pt x="3564" y="1638"/>
                  </a:lnTo>
                  <a:lnTo>
                    <a:pt x="3564" y="1662"/>
                  </a:lnTo>
                  <a:lnTo>
                    <a:pt x="3558" y="1698"/>
                  </a:lnTo>
                  <a:lnTo>
                    <a:pt x="3540" y="1746"/>
                  </a:lnTo>
                  <a:lnTo>
                    <a:pt x="3510" y="1776"/>
                  </a:lnTo>
                  <a:lnTo>
                    <a:pt x="3468" y="1800"/>
                  </a:lnTo>
                  <a:lnTo>
                    <a:pt x="3426" y="1830"/>
                  </a:lnTo>
                  <a:lnTo>
                    <a:pt x="3390" y="1854"/>
                  </a:lnTo>
                  <a:lnTo>
                    <a:pt x="3366" y="1860"/>
                  </a:lnTo>
                  <a:lnTo>
                    <a:pt x="3336" y="1860"/>
                  </a:lnTo>
                  <a:lnTo>
                    <a:pt x="3300" y="1866"/>
                  </a:lnTo>
                  <a:lnTo>
                    <a:pt x="3276" y="1872"/>
                  </a:lnTo>
                  <a:lnTo>
                    <a:pt x="3258" y="1878"/>
                  </a:lnTo>
                  <a:lnTo>
                    <a:pt x="3258" y="1902"/>
                  </a:lnTo>
                  <a:lnTo>
                    <a:pt x="3264" y="1914"/>
                  </a:lnTo>
                  <a:lnTo>
                    <a:pt x="3264" y="1926"/>
                  </a:lnTo>
                  <a:lnTo>
                    <a:pt x="3270" y="1938"/>
                  </a:lnTo>
                  <a:lnTo>
                    <a:pt x="3270" y="1950"/>
                  </a:lnTo>
                  <a:lnTo>
                    <a:pt x="3252" y="1968"/>
                  </a:lnTo>
                  <a:lnTo>
                    <a:pt x="3234" y="2004"/>
                  </a:lnTo>
                  <a:lnTo>
                    <a:pt x="3234" y="2076"/>
                  </a:lnTo>
                  <a:lnTo>
                    <a:pt x="3210" y="2088"/>
                  </a:lnTo>
                  <a:lnTo>
                    <a:pt x="3204" y="2094"/>
                  </a:lnTo>
                  <a:lnTo>
                    <a:pt x="3180" y="2106"/>
                  </a:lnTo>
                  <a:lnTo>
                    <a:pt x="3180" y="2142"/>
                  </a:lnTo>
                  <a:lnTo>
                    <a:pt x="3156" y="2166"/>
                  </a:lnTo>
                  <a:lnTo>
                    <a:pt x="3156" y="2154"/>
                  </a:lnTo>
                  <a:lnTo>
                    <a:pt x="3162" y="2148"/>
                  </a:lnTo>
                  <a:lnTo>
                    <a:pt x="3162" y="2142"/>
                  </a:lnTo>
                  <a:lnTo>
                    <a:pt x="3156" y="2130"/>
                  </a:lnTo>
                  <a:lnTo>
                    <a:pt x="3138" y="2130"/>
                  </a:lnTo>
                  <a:lnTo>
                    <a:pt x="3126" y="2136"/>
                  </a:lnTo>
                  <a:lnTo>
                    <a:pt x="3108" y="2154"/>
                  </a:lnTo>
                  <a:lnTo>
                    <a:pt x="3108" y="2166"/>
                  </a:lnTo>
                  <a:lnTo>
                    <a:pt x="3114" y="2178"/>
                  </a:lnTo>
                  <a:lnTo>
                    <a:pt x="3114" y="2190"/>
                  </a:lnTo>
                  <a:lnTo>
                    <a:pt x="3108" y="2196"/>
                  </a:lnTo>
                  <a:lnTo>
                    <a:pt x="3108" y="2178"/>
                  </a:lnTo>
                  <a:lnTo>
                    <a:pt x="3102" y="2166"/>
                  </a:lnTo>
                  <a:lnTo>
                    <a:pt x="3090" y="2154"/>
                  </a:lnTo>
                  <a:lnTo>
                    <a:pt x="3078" y="2154"/>
                  </a:lnTo>
                  <a:lnTo>
                    <a:pt x="3066" y="2160"/>
                  </a:lnTo>
                  <a:lnTo>
                    <a:pt x="3042" y="2160"/>
                  </a:lnTo>
                  <a:lnTo>
                    <a:pt x="3036" y="2166"/>
                  </a:lnTo>
                  <a:lnTo>
                    <a:pt x="3030" y="2166"/>
                  </a:lnTo>
                  <a:lnTo>
                    <a:pt x="3042" y="2160"/>
                  </a:lnTo>
                  <a:lnTo>
                    <a:pt x="3060" y="2142"/>
                  </a:lnTo>
                  <a:lnTo>
                    <a:pt x="3072" y="2136"/>
                  </a:lnTo>
                  <a:lnTo>
                    <a:pt x="3078" y="2124"/>
                  </a:lnTo>
                  <a:lnTo>
                    <a:pt x="3078" y="2118"/>
                  </a:lnTo>
                  <a:lnTo>
                    <a:pt x="3072" y="2106"/>
                  </a:lnTo>
                  <a:lnTo>
                    <a:pt x="3060" y="2100"/>
                  </a:lnTo>
                  <a:lnTo>
                    <a:pt x="3048" y="2088"/>
                  </a:lnTo>
                  <a:lnTo>
                    <a:pt x="3030" y="2088"/>
                  </a:lnTo>
                  <a:lnTo>
                    <a:pt x="3024" y="2082"/>
                  </a:lnTo>
                  <a:lnTo>
                    <a:pt x="3018" y="2082"/>
                  </a:lnTo>
                  <a:lnTo>
                    <a:pt x="3024" y="2082"/>
                  </a:lnTo>
                  <a:lnTo>
                    <a:pt x="3042" y="2064"/>
                  </a:lnTo>
                  <a:lnTo>
                    <a:pt x="3042" y="2058"/>
                  </a:lnTo>
                  <a:lnTo>
                    <a:pt x="3030" y="2034"/>
                  </a:lnTo>
                  <a:lnTo>
                    <a:pt x="3030" y="2028"/>
                  </a:lnTo>
                  <a:lnTo>
                    <a:pt x="3024" y="2016"/>
                  </a:lnTo>
                  <a:lnTo>
                    <a:pt x="3060" y="1992"/>
                  </a:lnTo>
                  <a:lnTo>
                    <a:pt x="3060" y="1968"/>
                  </a:lnTo>
                  <a:lnTo>
                    <a:pt x="3084" y="1956"/>
                  </a:lnTo>
                  <a:lnTo>
                    <a:pt x="3084" y="1914"/>
                  </a:lnTo>
                  <a:lnTo>
                    <a:pt x="3090" y="1914"/>
                  </a:lnTo>
                  <a:lnTo>
                    <a:pt x="3102" y="1902"/>
                  </a:lnTo>
                  <a:lnTo>
                    <a:pt x="3114" y="1896"/>
                  </a:lnTo>
                  <a:lnTo>
                    <a:pt x="3132" y="1878"/>
                  </a:lnTo>
                  <a:lnTo>
                    <a:pt x="3126" y="1866"/>
                  </a:lnTo>
                  <a:lnTo>
                    <a:pt x="3120" y="1860"/>
                  </a:lnTo>
                  <a:lnTo>
                    <a:pt x="3084" y="1848"/>
                  </a:lnTo>
                  <a:lnTo>
                    <a:pt x="2976" y="1848"/>
                  </a:lnTo>
                  <a:lnTo>
                    <a:pt x="2940" y="1860"/>
                  </a:lnTo>
                  <a:lnTo>
                    <a:pt x="2946" y="1848"/>
                  </a:lnTo>
                  <a:lnTo>
                    <a:pt x="2952" y="1842"/>
                  </a:lnTo>
                  <a:lnTo>
                    <a:pt x="2952" y="1830"/>
                  </a:lnTo>
                  <a:lnTo>
                    <a:pt x="2958" y="1824"/>
                  </a:lnTo>
                  <a:lnTo>
                    <a:pt x="2952" y="1818"/>
                  </a:lnTo>
                  <a:lnTo>
                    <a:pt x="2940" y="1812"/>
                  </a:lnTo>
                  <a:lnTo>
                    <a:pt x="2928" y="1812"/>
                  </a:lnTo>
                  <a:lnTo>
                    <a:pt x="2892" y="1800"/>
                  </a:lnTo>
                  <a:lnTo>
                    <a:pt x="2874" y="1800"/>
                  </a:lnTo>
                  <a:lnTo>
                    <a:pt x="2868" y="1794"/>
                  </a:lnTo>
                  <a:lnTo>
                    <a:pt x="2862" y="1794"/>
                  </a:lnTo>
                  <a:lnTo>
                    <a:pt x="2862" y="1770"/>
                  </a:lnTo>
                  <a:lnTo>
                    <a:pt x="2856" y="1752"/>
                  </a:lnTo>
                  <a:lnTo>
                    <a:pt x="2844" y="1740"/>
                  </a:lnTo>
                  <a:lnTo>
                    <a:pt x="2790" y="1722"/>
                  </a:lnTo>
                  <a:lnTo>
                    <a:pt x="2778" y="1722"/>
                  </a:lnTo>
                  <a:lnTo>
                    <a:pt x="2778" y="1716"/>
                  </a:lnTo>
                  <a:lnTo>
                    <a:pt x="2766" y="1704"/>
                  </a:lnTo>
                  <a:lnTo>
                    <a:pt x="2754" y="1704"/>
                  </a:lnTo>
                  <a:lnTo>
                    <a:pt x="2736" y="1698"/>
                  </a:lnTo>
                  <a:lnTo>
                    <a:pt x="2694" y="1698"/>
                  </a:lnTo>
                  <a:lnTo>
                    <a:pt x="2646" y="1704"/>
                  </a:lnTo>
                  <a:lnTo>
                    <a:pt x="2610" y="1716"/>
                  </a:lnTo>
                  <a:lnTo>
                    <a:pt x="2592" y="1716"/>
                  </a:lnTo>
                  <a:lnTo>
                    <a:pt x="2598" y="1716"/>
                  </a:lnTo>
                  <a:lnTo>
                    <a:pt x="2604" y="1710"/>
                  </a:lnTo>
                  <a:lnTo>
                    <a:pt x="2616" y="1710"/>
                  </a:lnTo>
                  <a:lnTo>
                    <a:pt x="2628" y="1704"/>
                  </a:lnTo>
                  <a:lnTo>
                    <a:pt x="2634" y="1692"/>
                  </a:lnTo>
                  <a:lnTo>
                    <a:pt x="2640" y="1686"/>
                  </a:lnTo>
                  <a:lnTo>
                    <a:pt x="2646" y="1662"/>
                  </a:lnTo>
                  <a:lnTo>
                    <a:pt x="2658" y="1632"/>
                  </a:lnTo>
                  <a:lnTo>
                    <a:pt x="2664" y="1602"/>
                  </a:lnTo>
                  <a:lnTo>
                    <a:pt x="2670" y="1590"/>
                  </a:lnTo>
                  <a:lnTo>
                    <a:pt x="2658" y="1590"/>
                  </a:lnTo>
                  <a:lnTo>
                    <a:pt x="2646" y="1584"/>
                  </a:lnTo>
                  <a:lnTo>
                    <a:pt x="2616" y="1584"/>
                  </a:lnTo>
                  <a:lnTo>
                    <a:pt x="2610" y="1590"/>
                  </a:lnTo>
                  <a:lnTo>
                    <a:pt x="2598" y="1596"/>
                  </a:lnTo>
                  <a:lnTo>
                    <a:pt x="2592" y="1602"/>
                  </a:lnTo>
                  <a:lnTo>
                    <a:pt x="2580" y="1608"/>
                  </a:lnTo>
                  <a:lnTo>
                    <a:pt x="2598" y="1578"/>
                  </a:lnTo>
                  <a:lnTo>
                    <a:pt x="2592" y="1560"/>
                  </a:lnTo>
                  <a:lnTo>
                    <a:pt x="2610" y="1542"/>
                  </a:lnTo>
                  <a:lnTo>
                    <a:pt x="2616" y="1530"/>
                  </a:lnTo>
                  <a:lnTo>
                    <a:pt x="2640" y="1506"/>
                  </a:lnTo>
                  <a:lnTo>
                    <a:pt x="2646" y="1494"/>
                  </a:lnTo>
                  <a:lnTo>
                    <a:pt x="2664" y="1476"/>
                  </a:lnTo>
                  <a:lnTo>
                    <a:pt x="2694" y="1452"/>
                  </a:lnTo>
                  <a:lnTo>
                    <a:pt x="2730" y="1428"/>
                  </a:lnTo>
                  <a:lnTo>
                    <a:pt x="2754" y="1410"/>
                  </a:lnTo>
                  <a:lnTo>
                    <a:pt x="2766" y="1404"/>
                  </a:lnTo>
                  <a:lnTo>
                    <a:pt x="2760" y="1392"/>
                  </a:lnTo>
                  <a:lnTo>
                    <a:pt x="2826" y="1368"/>
                  </a:lnTo>
                  <a:lnTo>
                    <a:pt x="2826" y="1350"/>
                  </a:lnTo>
                  <a:lnTo>
                    <a:pt x="2868" y="1344"/>
                  </a:lnTo>
                  <a:lnTo>
                    <a:pt x="2868" y="1326"/>
                  </a:lnTo>
                  <a:lnTo>
                    <a:pt x="2898" y="1320"/>
                  </a:lnTo>
                  <a:lnTo>
                    <a:pt x="2952" y="1284"/>
                  </a:lnTo>
                  <a:lnTo>
                    <a:pt x="3006" y="1284"/>
                  </a:lnTo>
                  <a:lnTo>
                    <a:pt x="3042" y="1278"/>
                  </a:lnTo>
                  <a:lnTo>
                    <a:pt x="3060" y="1266"/>
                  </a:lnTo>
                  <a:lnTo>
                    <a:pt x="3060" y="1254"/>
                  </a:lnTo>
                  <a:lnTo>
                    <a:pt x="3030" y="1224"/>
                  </a:lnTo>
                  <a:lnTo>
                    <a:pt x="2970" y="1230"/>
                  </a:lnTo>
                  <a:lnTo>
                    <a:pt x="2982" y="1218"/>
                  </a:lnTo>
                  <a:lnTo>
                    <a:pt x="2928" y="1194"/>
                  </a:lnTo>
                  <a:lnTo>
                    <a:pt x="2952" y="1188"/>
                  </a:lnTo>
                  <a:lnTo>
                    <a:pt x="3036" y="1212"/>
                  </a:lnTo>
                  <a:lnTo>
                    <a:pt x="3054" y="1230"/>
                  </a:lnTo>
                  <a:lnTo>
                    <a:pt x="3066" y="1236"/>
                  </a:lnTo>
                  <a:lnTo>
                    <a:pt x="3096" y="1236"/>
                  </a:lnTo>
                  <a:lnTo>
                    <a:pt x="3108" y="1230"/>
                  </a:lnTo>
                  <a:lnTo>
                    <a:pt x="3114" y="1218"/>
                  </a:lnTo>
                  <a:lnTo>
                    <a:pt x="3126" y="1206"/>
                  </a:lnTo>
                  <a:lnTo>
                    <a:pt x="3132" y="1194"/>
                  </a:lnTo>
                  <a:lnTo>
                    <a:pt x="3144" y="1188"/>
                  </a:lnTo>
                  <a:lnTo>
                    <a:pt x="3150" y="1182"/>
                  </a:lnTo>
                  <a:lnTo>
                    <a:pt x="3156" y="1182"/>
                  </a:lnTo>
                  <a:lnTo>
                    <a:pt x="3180" y="1194"/>
                  </a:lnTo>
                  <a:lnTo>
                    <a:pt x="3198" y="1200"/>
                  </a:lnTo>
                  <a:lnTo>
                    <a:pt x="3210" y="1200"/>
                  </a:lnTo>
                  <a:lnTo>
                    <a:pt x="3246" y="1182"/>
                  </a:lnTo>
                  <a:lnTo>
                    <a:pt x="3282" y="1170"/>
                  </a:lnTo>
                  <a:lnTo>
                    <a:pt x="3318" y="1152"/>
                  </a:lnTo>
                  <a:lnTo>
                    <a:pt x="3336" y="1146"/>
                  </a:lnTo>
                  <a:lnTo>
                    <a:pt x="3360" y="1134"/>
                  </a:lnTo>
                  <a:lnTo>
                    <a:pt x="3372" y="1122"/>
                  </a:lnTo>
                  <a:lnTo>
                    <a:pt x="3366" y="1116"/>
                  </a:lnTo>
                  <a:lnTo>
                    <a:pt x="3342" y="1110"/>
                  </a:lnTo>
                  <a:lnTo>
                    <a:pt x="3264" y="1110"/>
                  </a:lnTo>
                  <a:lnTo>
                    <a:pt x="3258" y="1086"/>
                  </a:lnTo>
                  <a:lnTo>
                    <a:pt x="3174" y="1056"/>
                  </a:lnTo>
                  <a:lnTo>
                    <a:pt x="3186" y="1056"/>
                  </a:lnTo>
                  <a:lnTo>
                    <a:pt x="3216" y="1050"/>
                  </a:lnTo>
                  <a:lnTo>
                    <a:pt x="3252" y="1050"/>
                  </a:lnTo>
                  <a:lnTo>
                    <a:pt x="3282" y="1056"/>
                  </a:lnTo>
                  <a:lnTo>
                    <a:pt x="3294" y="1062"/>
                  </a:lnTo>
                  <a:lnTo>
                    <a:pt x="3306" y="1074"/>
                  </a:lnTo>
                  <a:lnTo>
                    <a:pt x="3324" y="1086"/>
                  </a:lnTo>
                  <a:lnTo>
                    <a:pt x="3336" y="1098"/>
                  </a:lnTo>
                  <a:lnTo>
                    <a:pt x="3348" y="1104"/>
                  </a:lnTo>
                  <a:lnTo>
                    <a:pt x="3372" y="1098"/>
                  </a:lnTo>
                  <a:lnTo>
                    <a:pt x="3408" y="1080"/>
                  </a:lnTo>
                  <a:lnTo>
                    <a:pt x="3444" y="1068"/>
                  </a:lnTo>
                  <a:lnTo>
                    <a:pt x="3474" y="1050"/>
                  </a:lnTo>
                  <a:lnTo>
                    <a:pt x="3486" y="1044"/>
                  </a:lnTo>
                  <a:lnTo>
                    <a:pt x="3462" y="1032"/>
                  </a:lnTo>
                  <a:lnTo>
                    <a:pt x="3468" y="1026"/>
                  </a:lnTo>
                  <a:lnTo>
                    <a:pt x="3492" y="1014"/>
                  </a:lnTo>
                  <a:lnTo>
                    <a:pt x="3522" y="1014"/>
                  </a:lnTo>
                  <a:lnTo>
                    <a:pt x="3528" y="1020"/>
                  </a:lnTo>
                  <a:lnTo>
                    <a:pt x="3534" y="1032"/>
                  </a:lnTo>
                  <a:lnTo>
                    <a:pt x="3540" y="1038"/>
                  </a:lnTo>
                  <a:lnTo>
                    <a:pt x="3570" y="1050"/>
                  </a:lnTo>
                  <a:lnTo>
                    <a:pt x="3576" y="1026"/>
                  </a:lnTo>
                  <a:lnTo>
                    <a:pt x="3594" y="1044"/>
                  </a:lnTo>
                  <a:lnTo>
                    <a:pt x="3600" y="1038"/>
                  </a:lnTo>
                  <a:lnTo>
                    <a:pt x="3600" y="1026"/>
                  </a:lnTo>
                  <a:lnTo>
                    <a:pt x="3594" y="1014"/>
                  </a:lnTo>
                  <a:lnTo>
                    <a:pt x="3582" y="1002"/>
                  </a:lnTo>
                  <a:lnTo>
                    <a:pt x="3564" y="990"/>
                  </a:lnTo>
                  <a:lnTo>
                    <a:pt x="3606" y="984"/>
                  </a:lnTo>
                  <a:lnTo>
                    <a:pt x="3606" y="990"/>
                  </a:lnTo>
                  <a:lnTo>
                    <a:pt x="3612" y="996"/>
                  </a:lnTo>
                  <a:lnTo>
                    <a:pt x="3612" y="1008"/>
                  </a:lnTo>
                  <a:lnTo>
                    <a:pt x="3624" y="1032"/>
                  </a:lnTo>
                  <a:lnTo>
                    <a:pt x="3630" y="1038"/>
                  </a:lnTo>
                  <a:lnTo>
                    <a:pt x="3636" y="1038"/>
                  </a:lnTo>
                  <a:lnTo>
                    <a:pt x="3654" y="1032"/>
                  </a:lnTo>
                  <a:lnTo>
                    <a:pt x="3690" y="1026"/>
                  </a:lnTo>
                  <a:lnTo>
                    <a:pt x="3732" y="1008"/>
                  </a:lnTo>
                  <a:lnTo>
                    <a:pt x="3768" y="990"/>
                  </a:lnTo>
                  <a:lnTo>
                    <a:pt x="3798" y="972"/>
                  </a:lnTo>
                  <a:lnTo>
                    <a:pt x="3798" y="960"/>
                  </a:lnTo>
                  <a:lnTo>
                    <a:pt x="3786" y="942"/>
                  </a:lnTo>
                  <a:lnTo>
                    <a:pt x="3780" y="930"/>
                  </a:lnTo>
                  <a:lnTo>
                    <a:pt x="3774" y="912"/>
                  </a:lnTo>
                  <a:lnTo>
                    <a:pt x="3774" y="900"/>
                  </a:lnTo>
                  <a:lnTo>
                    <a:pt x="3780" y="894"/>
                  </a:lnTo>
                  <a:lnTo>
                    <a:pt x="3792" y="894"/>
                  </a:lnTo>
                  <a:lnTo>
                    <a:pt x="3804" y="888"/>
                  </a:lnTo>
                  <a:lnTo>
                    <a:pt x="3822" y="888"/>
                  </a:lnTo>
                  <a:lnTo>
                    <a:pt x="3840" y="882"/>
                  </a:lnTo>
                  <a:lnTo>
                    <a:pt x="3858" y="882"/>
                  </a:lnTo>
                  <a:lnTo>
                    <a:pt x="3864" y="876"/>
                  </a:lnTo>
                  <a:lnTo>
                    <a:pt x="3870" y="876"/>
                  </a:lnTo>
                  <a:lnTo>
                    <a:pt x="3870" y="858"/>
                  </a:lnTo>
                  <a:lnTo>
                    <a:pt x="3864" y="846"/>
                  </a:lnTo>
                  <a:lnTo>
                    <a:pt x="3864" y="840"/>
                  </a:lnTo>
                  <a:lnTo>
                    <a:pt x="3858" y="828"/>
                  </a:lnTo>
                  <a:lnTo>
                    <a:pt x="3840" y="804"/>
                  </a:lnTo>
                  <a:lnTo>
                    <a:pt x="3822" y="798"/>
                  </a:lnTo>
                  <a:lnTo>
                    <a:pt x="3786" y="792"/>
                  </a:lnTo>
                  <a:lnTo>
                    <a:pt x="3744" y="792"/>
                  </a:lnTo>
                  <a:lnTo>
                    <a:pt x="3708" y="804"/>
                  </a:lnTo>
                  <a:lnTo>
                    <a:pt x="3690" y="822"/>
                  </a:lnTo>
                  <a:lnTo>
                    <a:pt x="3690" y="840"/>
                  </a:lnTo>
                  <a:lnTo>
                    <a:pt x="3696" y="840"/>
                  </a:lnTo>
                  <a:lnTo>
                    <a:pt x="3702" y="846"/>
                  </a:lnTo>
                  <a:lnTo>
                    <a:pt x="3666" y="870"/>
                  </a:lnTo>
                  <a:lnTo>
                    <a:pt x="3642" y="870"/>
                  </a:lnTo>
                  <a:lnTo>
                    <a:pt x="3576" y="918"/>
                  </a:lnTo>
                  <a:lnTo>
                    <a:pt x="3552" y="930"/>
                  </a:lnTo>
                  <a:lnTo>
                    <a:pt x="3546" y="936"/>
                  </a:lnTo>
                  <a:lnTo>
                    <a:pt x="3540" y="948"/>
                  </a:lnTo>
                  <a:lnTo>
                    <a:pt x="3522" y="966"/>
                  </a:lnTo>
                  <a:lnTo>
                    <a:pt x="3492" y="966"/>
                  </a:lnTo>
                  <a:lnTo>
                    <a:pt x="3456" y="984"/>
                  </a:lnTo>
                  <a:lnTo>
                    <a:pt x="3456" y="972"/>
                  </a:lnTo>
                  <a:lnTo>
                    <a:pt x="3450" y="954"/>
                  </a:lnTo>
                  <a:lnTo>
                    <a:pt x="3450" y="918"/>
                  </a:lnTo>
                  <a:lnTo>
                    <a:pt x="3456" y="912"/>
                  </a:lnTo>
                  <a:lnTo>
                    <a:pt x="3480" y="900"/>
                  </a:lnTo>
                  <a:lnTo>
                    <a:pt x="3498" y="900"/>
                  </a:lnTo>
                  <a:lnTo>
                    <a:pt x="3510" y="894"/>
                  </a:lnTo>
                  <a:lnTo>
                    <a:pt x="3516" y="882"/>
                  </a:lnTo>
                  <a:lnTo>
                    <a:pt x="3516" y="870"/>
                  </a:lnTo>
                  <a:lnTo>
                    <a:pt x="3510" y="852"/>
                  </a:lnTo>
                  <a:lnTo>
                    <a:pt x="3504" y="846"/>
                  </a:lnTo>
                  <a:lnTo>
                    <a:pt x="3498" y="834"/>
                  </a:lnTo>
                  <a:lnTo>
                    <a:pt x="3486" y="834"/>
                  </a:lnTo>
                  <a:lnTo>
                    <a:pt x="3450" y="852"/>
                  </a:lnTo>
                  <a:lnTo>
                    <a:pt x="3432" y="858"/>
                  </a:lnTo>
                  <a:lnTo>
                    <a:pt x="3420" y="864"/>
                  </a:lnTo>
                  <a:lnTo>
                    <a:pt x="3414" y="870"/>
                  </a:lnTo>
                  <a:lnTo>
                    <a:pt x="3408" y="870"/>
                  </a:lnTo>
                  <a:lnTo>
                    <a:pt x="3378" y="900"/>
                  </a:lnTo>
                  <a:lnTo>
                    <a:pt x="3372" y="888"/>
                  </a:lnTo>
                  <a:lnTo>
                    <a:pt x="3396" y="858"/>
                  </a:lnTo>
                  <a:lnTo>
                    <a:pt x="3396" y="840"/>
                  </a:lnTo>
                  <a:lnTo>
                    <a:pt x="3438" y="822"/>
                  </a:lnTo>
                  <a:lnTo>
                    <a:pt x="3402" y="816"/>
                  </a:lnTo>
                  <a:lnTo>
                    <a:pt x="3408" y="804"/>
                  </a:lnTo>
                  <a:lnTo>
                    <a:pt x="3360" y="816"/>
                  </a:lnTo>
                  <a:lnTo>
                    <a:pt x="3336" y="804"/>
                  </a:lnTo>
                  <a:lnTo>
                    <a:pt x="3378" y="792"/>
                  </a:lnTo>
                  <a:lnTo>
                    <a:pt x="3378" y="774"/>
                  </a:lnTo>
                  <a:lnTo>
                    <a:pt x="3390" y="774"/>
                  </a:lnTo>
                  <a:lnTo>
                    <a:pt x="3396" y="780"/>
                  </a:lnTo>
                  <a:lnTo>
                    <a:pt x="3420" y="780"/>
                  </a:lnTo>
                  <a:lnTo>
                    <a:pt x="3426" y="774"/>
                  </a:lnTo>
                  <a:lnTo>
                    <a:pt x="3426" y="762"/>
                  </a:lnTo>
                  <a:lnTo>
                    <a:pt x="3420" y="756"/>
                  </a:lnTo>
                  <a:lnTo>
                    <a:pt x="3408" y="756"/>
                  </a:lnTo>
                  <a:lnTo>
                    <a:pt x="3396" y="744"/>
                  </a:lnTo>
                  <a:lnTo>
                    <a:pt x="3396" y="738"/>
                  </a:lnTo>
                  <a:lnTo>
                    <a:pt x="3420" y="690"/>
                  </a:lnTo>
                  <a:lnTo>
                    <a:pt x="3426" y="684"/>
                  </a:lnTo>
                  <a:lnTo>
                    <a:pt x="3426" y="672"/>
                  </a:lnTo>
                  <a:lnTo>
                    <a:pt x="3420" y="666"/>
                  </a:lnTo>
                  <a:lnTo>
                    <a:pt x="3414" y="666"/>
                  </a:lnTo>
                  <a:lnTo>
                    <a:pt x="3372" y="648"/>
                  </a:lnTo>
                  <a:lnTo>
                    <a:pt x="3348" y="660"/>
                  </a:lnTo>
                  <a:lnTo>
                    <a:pt x="3336" y="660"/>
                  </a:lnTo>
                  <a:lnTo>
                    <a:pt x="3318" y="666"/>
                  </a:lnTo>
                  <a:lnTo>
                    <a:pt x="3312" y="666"/>
                  </a:lnTo>
                  <a:lnTo>
                    <a:pt x="3306" y="672"/>
                  </a:lnTo>
                  <a:lnTo>
                    <a:pt x="3306" y="690"/>
                  </a:lnTo>
                  <a:lnTo>
                    <a:pt x="3240" y="690"/>
                  </a:lnTo>
                  <a:lnTo>
                    <a:pt x="3228" y="696"/>
                  </a:lnTo>
                  <a:lnTo>
                    <a:pt x="3222" y="702"/>
                  </a:lnTo>
                  <a:lnTo>
                    <a:pt x="3210" y="708"/>
                  </a:lnTo>
                  <a:lnTo>
                    <a:pt x="3198" y="720"/>
                  </a:lnTo>
                  <a:lnTo>
                    <a:pt x="3204" y="726"/>
                  </a:lnTo>
                  <a:lnTo>
                    <a:pt x="3216" y="732"/>
                  </a:lnTo>
                  <a:lnTo>
                    <a:pt x="3228" y="732"/>
                  </a:lnTo>
                  <a:lnTo>
                    <a:pt x="3234" y="738"/>
                  </a:lnTo>
                  <a:lnTo>
                    <a:pt x="3228" y="738"/>
                  </a:lnTo>
                  <a:lnTo>
                    <a:pt x="3222" y="744"/>
                  </a:lnTo>
                  <a:lnTo>
                    <a:pt x="3204" y="744"/>
                  </a:lnTo>
                  <a:lnTo>
                    <a:pt x="3180" y="756"/>
                  </a:lnTo>
                  <a:lnTo>
                    <a:pt x="3168" y="768"/>
                  </a:lnTo>
                  <a:lnTo>
                    <a:pt x="3168" y="774"/>
                  </a:lnTo>
                  <a:lnTo>
                    <a:pt x="3174" y="786"/>
                  </a:lnTo>
                  <a:lnTo>
                    <a:pt x="3186" y="798"/>
                  </a:lnTo>
                  <a:lnTo>
                    <a:pt x="3198" y="804"/>
                  </a:lnTo>
                  <a:lnTo>
                    <a:pt x="3204" y="810"/>
                  </a:lnTo>
                  <a:lnTo>
                    <a:pt x="3210" y="810"/>
                  </a:lnTo>
                  <a:lnTo>
                    <a:pt x="3234" y="798"/>
                  </a:lnTo>
                  <a:lnTo>
                    <a:pt x="3234" y="822"/>
                  </a:lnTo>
                  <a:lnTo>
                    <a:pt x="3240" y="828"/>
                  </a:lnTo>
                  <a:lnTo>
                    <a:pt x="3246" y="828"/>
                  </a:lnTo>
                  <a:lnTo>
                    <a:pt x="3258" y="822"/>
                  </a:lnTo>
                  <a:lnTo>
                    <a:pt x="3282" y="822"/>
                  </a:lnTo>
                  <a:lnTo>
                    <a:pt x="3276" y="828"/>
                  </a:lnTo>
                  <a:lnTo>
                    <a:pt x="3252" y="840"/>
                  </a:lnTo>
                  <a:lnTo>
                    <a:pt x="3246" y="840"/>
                  </a:lnTo>
                  <a:lnTo>
                    <a:pt x="3228" y="828"/>
                  </a:lnTo>
                  <a:lnTo>
                    <a:pt x="3222" y="846"/>
                  </a:lnTo>
                  <a:lnTo>
                    <a:pt x="3204" y="846"/>
                  </a:lnTo>
                  <a:lnTo>
                    <a:pt x="3192" y="852"/>
                  </a:lnTo>
                  <a:lnTo>
                    <a:pt x="3186" y="852"/>
                  </a:lnTo>
                  <a:lnTo>
                    <a:pt x="3180" y="858"/>
                  </a:lnTo>
                  <a:lnTo>
                    <a:pt x="3204" y="858"/>
                  </a:lnTo>
                  <a:lnTo>
                    <a:pt x="3228" y="846"/>
                  </a:lnTo>
                  <a:lnTo>
                    <a:pt x="3240" y="846"/>
                  </a:lnTo>
                  <a:lnTo>
                    <a:pt x="3240" y="852"/>
                  </a:lnTo>
                  <a:lnTo>
                    <a:pt x="3228" y="870"/>
                  </a:lnTo>
                  <a:lnTo>
                    <a:pt x="3210" y="882"/>
                  </a:lnTo>
                  <a:lnTo>
                    <a:pt x="3198" y="888"/>
                  </a:lnTo>
                  <a:lnTo>
                    <a:pt x="3180" y="894"/>
                  </a:lnTo>
                  <a:lnTo>
                    <a:pt x="3168" y="900"/>
                  </a:lnTo>
                  <a:lnTo>
                    <a:pt x="3162" y="906"/>
                  </a:lnTo>
                  <a:lnTo>
                    <a:pt x="3138" y="918"/>
                  </a:lnTo>
                  <a:lnTo>
                    <a:pt x="3132" y="924"/>
                  </a:lnTo>
                  <a:lnTo>
                    <a:pt x="3120" y="918"/>
                  </a:lnTo>
                  <a:lnTo>
                    <a:pt x="3114" y="918"/>
                  </a:lnTo>
                  <a:lnTo>
                    <a:pt x="3102" y="912"/>
                  </a:lnTo>
                  <a:lnTo>
                    <a:pt x="3090" y="912"/>
                  </a:lnTo>
                  <a:lnTo>
                    <a:pt x="3072" y="930"/>
                  </a:lnTo>
                  <a:lnTo>
                    <a:pt x="3060" y="936"/>
                  </a:lnTo>
                  <a:lnTo>
                    <a:pt x="3054" y="948"/>
                  </a:lnTo>
                  <a:lnTo>
                    <a:pt x="3054" y="972"/>
                  </a:lnTo>
                  <a:lnTo>
                    <a:pt x="3048" y="978"/>
                  </a:lnTo>
                  <a:lnTo>
                    <a:pt x="3042" y="966"/>
                  </a:lnTo>
                  <a:lnTo>
                    <a:pt x="3030" y="966"/>
                  </a:lnTo>
                  <a:lnTo>
                    <a:pt x="3018" y="960"/>
                  </a:lnTo>
                  <a:lnTo>
                    <a:pt x="3012" y="960"/>
                  </a:lnTo>
                  <a:lnTo>
                    <a:pt x="3006" y="954"/>
                  </a:lnTo>
                  <a:lnTo>
                    <a:pt x="3030" y="930"/>
                  </a:lnTo>
                  <a:lnTo>
                    <a:pt x="3042" y="924"/>
                  </a:lnTo>
                  <a:lnTo>
                    <a:pt x="3060" y="906"/>
                  </a:lnTo>
                  <a:lnTo>
                    <a:pt x="3072" y="900"/>
                  </a:lnTo>
                  <a:lnTo>
                    <a:pt x="3036" y="900"/>
                  </a:lnTo>
                  <a:lnTo>
                    <a:pt x="3030" y="888"/>
                  </a:lnTo>
                  <a:lnTo>
                    <a:pt x="3018" y="882"/>
                  </a:lnTo>
                  <a:lnTo>
                    <a:pt x="2994" y="882"/>
                  </a:lnTo>
                  <a:lnTo>
                    <a:pt x="2988" y="888"/>
                  </a:lnTo>
                  <a:lnTo>
                    <a:pt x="2946" y="888"/>
                  </a:lnTo>
                  <a:lnTo>
                    <a:pt x="2946" y="894"/>
                  </a:lnTo>
                  <a:lnTo>
                    <a:pt x="2940" y="906"/>
                  </a:lnTo>
                  <a:lnTo>
                    <a:pt x="2940" y="918"/>
                  </a:lnTo>
                  <a:lnTo>
                    <a:pt x="2946" y="918"/>
                  </a:lnTo>
                  <a:lnTo>
                    <a:pt x="2952" y="924"/>
                  </a:lnTo>
                  <a:lnTo>
                    <a:pt x="2964" y="924"/>
                  </a:lnTo>
                  <a:lnTo>
                    <a:pt x="2976" y="936"/>
                  </a:lnTo>
                  <a:lnTo>
                    <a:pt x="2982" y="936"/>
                  </a:lnTo>
                  <a:lnTo>
                    <a:pt x="2976" y="942"/>
                  </a:lnTo>
                  <a:lnTo>
                    <a:pt x="2958" y="942"/>
                  </a:lnTo>
                  <a:lnTo>
                    <a:pt x="2952" y="936"/>
                  </a:lnTo>
                  <a:lnTo>
                    <a:pt x="2940" y="930"/>
                  </a:lnTo>
                  <a:lnTo>
                    <a:pt x="2934" y="924"/>
                  </a:lnTo>
                  <a:lnTo>
                    <a:pt x="2916" y="912"/>
                  </a:lnTo>
                  <a:lnTo>
                    <a:pt x="2910" y="942"/>
                  </a:lnTo>
                  <a:lnTo>
                    <a:pt x="2904" y="942"/>
                  </a:lnTo>
                  <a:lnTo>
                    <a:pt x="2898" y="948"/>
                  </a:lnTo>
                  <a:lnTo>
                    <a:pt x="2862" y="948"/>
                  </a:lnTo>
                  <a:lnTo>
                    <a:pt x="2844" y="942"/>
                  </a:lnTo>
                  <a:lnTo>
                    <a:pt x="2826" y="942"/>
                  </a:lnTo>
                  <a:lnTo>
                    <a:pt x="2808" y="936"/>
                  </a:lnTo>
                  <a:lnTo>
                    <a:pt x="2718" y="936"/>
                  </a:lnTo>
                  <a:lnTo>
                    <a:pt x="2706" y="930"/>
                  </a:lnTo>
                  <a:lnTo>
                    <a:pt x="2700" y="918"/>
                  </a:lnTo>
                  <a:lnTo>
                    <a:pt x="2688" y="912"/>
                  </a:lnTo>
                  <a:lnTo>
                    <a:pt x="2628" y="918"/>
                  </a:lnTo>
                  <a:lnTo>
                    <a:pt x="2622" y="912"/>
                  </a:lnTo>
                  <a:lnTo>
                    <a:pt x="2616" y="900"/>
                  </a:lnTo>
                  <a:lnTo>
                    <a:pt x="2604" y="894"/>
                  </a:lnTo>
                  <a:lnTo>
                    <a:pt x="2598" y="894"/>
                  </a:lnTo>
                  <a:lnTo>
                    <a:pt x="2586" y="888"/>
                  </a:lnTo>
                  <a:lnTo>
                    <a:pt x="2568" y="888"/>
                  </a:lnTo>
                  <a:lnTo>
                    <a:pt x="2556" y="894"/>
                  </a:lnTo>
                  <a:lnTo>
                    <a:pt x="2538" y="900"/>
                  </a:lnTo>
                  <a:lnTo>
                    <a:pt x="2532" y="906"/>
                  </a:lnTo>
                  <a:lnTo>
                    <a:pt x="2526" y="906"/>
                  </a:lnTo>
                  <a:lnTo>
                    <a:pt x="2526" y="912"/>
                  </a:lnTo>
                  <a:lnTo>
                    <a:pt x="2484" y="912"/>
                  </a:lnTo>
                  <a:lnTo>
                    <a:pt x="2472" y="906"/>
                  </a:lnTo>
                  <a:lnTo>
                    <a:pt x="2442" y="906"/>
                  </a:lnTo>
                  <a:lnTo>
                    <a:pt x="2430" y="918"/>
                  </a:lnTo>
                  <a:lnTo>
                    <a:pt x="2430" y="930"/>
                  </a:lnTo>
                  <a:lnTo>
                    <a:pt x="2418" y="954"/>
                  </a:lnTo>
                  <a:lnTo>
                    <a:pt x="2412" y="960"/>
                  </a:lnTo>
                  <a:lnTo>
                    <a:pt x="2412" y="966"/>
                  </a:lnTo>
                  <a:lnTo>
                    <a:pt x="2400" y="996"/>
                  </a:lnTo>
                  <a:lnTo>
                    <a:pt x="2364" y="996"/>
                  </a:lnTo>
                  <a:lnTo>
                    <a:pt x="2358" y="1026"/>
                  </a:lnTo>
                  <a:lnTo>
                    <a:pt x="2334" y="978"/>
                  </a:lnTo>
                  <a:lnTo>
                    <a:pt x="2340" y="978"/>
                  </a:lnTo>
                  <a:lnTo>
                    <a:pt x="2352" y="984"/>
                  </a:lnTo>
                  <a:lnTo>
                    <a:pt x="2376" y="984"/>
                  </a:lnTo>
                  <a:lnTo>
                    <a:pt x="2388" y="972"/>
                  </a:lnTo>
                  <a:lnTo>
                    <a:pt x="2358" y="942"/>
                  </a:lnTo>
                  <a:lnTo>
                    <a:pt x="2340" y="942"/>
                  </a:lnTo>
                  <a:lnTo>
                    <a:pt x="2328" y="936"/>
                  </a:lnTo>
                  <a:lnTo>
                    <a:pt x="2316" y="936"/>
                  </a:lnTo>
                  <a:lnTo>
                    <a:pt x="2322" y="918"/>
                  </a:lnTo>
                  <a:lnTo>
                    <a:pt x="2304" y="924"/>
                  </a:lnTo>
                  <a:lnTo>
                    <a:pt x="2262" y="930"/>
                  </a:lnTo>
                  <a:lnTo>
                    <a:pt x="2208" y="936"/>
                  </a:lnTo>
                  <a:lnTo>
                    <a:pt x="2160" y="942"/>
                  </a:lnTo>
                  <a:lnTo>
                    <a:pt x="2112" y="942"/>
                  </a:lnTo>
                  <a:lnTo>
                    <a:pt x="2064" y="936"/>
                  </a:lnTo>
                  <a:lnTo>
                    <a:pt x="2034" y="930"/>
                  </a:lnTo>
                  <a:lnTo>
                    <a:pt x="2028" y="924"/>
                  </a:lnTo>
                  <a:lnTo>
                    <a:pt x="2052" y="918"/>
                  </a:lnTo>
                  <a:lnTo>
                    <a:pt x="2082" y="918"/>
                  </a:lnTo>
                  <a:lnTo>
                    <a:pt x="2118" y="912"/>
                  </a:lnTo>
                  <a:lnTo>
                    <a:pt x="2142" y="900"/>
                  </a:lnTo>
                  <a:lnTo>
                    <a:pt x="2142" y="888"/>
                  </a:lnTo>
                  <a:lnTo>
                    <a:pt x="2112" y="864"/>
                  </a:lnTo>
                  <a:lnTo>
                    <a:pt x="2082" y="852"/>
                  </a:lnTo>
                  <a:lnTo>
                    <a:pt x="2004" y="852"/>
                  </a:lnTo>
                  <a:lnTo>
                    <a:pt x="1968" y="840"/>
                  </a:lnTo>
                  <a:lnTo>
                    <a:pt x="1944" y="834"/>
                  </a:lnTo>
                  <a:lnTo>
                    <a:pt x="1938" y="828"/>
                  </a:lnTo>
                  <a:lnTo>
                    <a:pt x="1908" y="828"/>
                  </a:lnTo>
                  <a:lnTo>
                    <a:pt x="1896" y="822"/>
                  </a:lnTo>
                  <a:lnTo>
                    <a:pt x="1866" y="804"/>
                  </a:lnTo>
                  <a:lnTo>
                    <a:pt x="1836" y="792"/>
                  </a:lnTo>
                  <a:lnTo>
                    <a:pt x="1812" y="786"/>
                  </a:lnTo>
                  <a:lnTo>
                    <a:pt x="1800" y="792"/>
                  </a:lnTo>
                  <a:lnTo>
                    <a:pt x="1782" y="798"/>
                  </a:lnTo>
                  <a:lnTo>
                    <a:pt x="1770" y="804"/>
                  </a:lnTo>
                  <a:lnTo>
                    <a:pt x="1758" y="816"/>
                  </a:lnTo>
                  <a:lnTo>
                    <a:pt x="1734" y="828"/>
                  </a:lnTo>
                  <a:lnTo>
                    <a:pt x="1680" y="828"/>
                  </a:lnTo>
                  <a:lnTo>
                    <a:pt x="1710" y="810"/>
                  </a:lnTo>
                  <a:lnTo>
                    <a:pt x="1710" y="798"/>
                  </a:lnTo>
                  <a:lnTo>
                    <a:pt x="1734" y="768"/>
                  </a:lnTo>
                  <a:lnTo>
                    <a:pt x="1728" y="768"/>
                  </a:lnTo>
                  <a:lnTo>
                    <a:pt x="1722" y="774"/>
                  </a:lnTo>
                  <a:lnTo>
                    <a:pt x="1674" y="798"/>
                  </a:lnTo>
                  <a:lnTo>
                    <a:pt x="1650" y="822"/>
                  </a:lnTo>
                  <a:lnTo>
                    <a:pt x="1638" y="828"/>
                  </a:lnTo>
                  <a:lnTo>
                    <a:pt x="1620" y="834"/>
                  </a:lnTo>
                  <a:lnTo>
                    <a:pt x="1608" y="828"/>
                  </a:lnTo>
                  <a:lnTo>
                    <a:pt x="1602" y="816"/>
                  </a:lnTo>
                  <a:lnTo>
                    <a:pt x="1602" y="798"/>
                  </a:lnTo>
                  <a:lnTo>
                    <a:pt x="1614" y="774"/>
                  </a:lnTo>
                  <a:lnTo>
                    <a:pt x="1614" y="762"/>
                  </a:lnTo>
                  <a:lnTo>
                    <a:pt x="1608" y="750"/>
                  </a:lnTo>
                  <a:lnTo>
                    <a:pt x="1596" y="744"/>
                  </a:lnTo>
                  <a:lnTo>
                    <a:pt x="1590" y="738"/>
                  </a:lnTo>
                  <a:lnTo>
                    <a:pt x="1578" y="738"/>
                  </a:lnTo>
                  <a:lnTo>
                    <a:pt x="1572" y="744"/>
                  </a:lnTo>
                  <a:lnTo>
                    <a:pt x="1572" y="750"/>
                  </a:lnTo>
                  <a:lnTo>
                    <a:pt x="1578" y="762"/>
                  </a:lnTo>
                  <a:lnTo>
                    <a:pt x="1584" y="768"/>
                  </a:lnTo>
                  <a:lnTo>
                    <a:pt x="1542" y="768"/>
                  </a:lnTo>
                  <a:lnTo>
                    <a:pt x="1530" y="774"/>
                  </a:lnTo>
                  <a:lnTo>
                    <a:pt x="1512" y="780"/>
                  </a:lnTo>
                  <a:lnTo>
                    <a:pt x="1494" y="798"/>
                  </a:lnTo>
                  <a:lnTo>
                    <a:pt x="1446" y="798"/>
                  </a:lnTo>
                  <a:lnTo>
                    <a:pt x="1428" y="804"/>
                  </a:lnTo>
                  <a:lnTo>
                    <a:pt x="1416" y="804"/>
                  </a:lnTo>
                  <a:lnTo>
                    <a:pt x="1398" y="810"/>
                  </a:lnTo>
                  <a:lnTo>
                    <a:pt x="1380" y="810"/>
                  </a:lnTo>
                  <a:lnTo>
                    <a:pt x="1374" y="816"/>
                  </a:lnTo>
                  <a:lnTo>
                    <a:pt x="1368" y="816"/>
                  </a:lnTo>
                  <a:lnTo>
                    <a:pt x="1356" y="822"/>
                  </a:lnTo>
                  <a:lnTo>
                    <a:pt x="1350" y="828"/>
                  </a:lnTo>
                  <a:lnTo>
                    <a:pt x="1338" y="834"/>
                  </a:lnTo>
                  <a:lnTo>
                    <a:pt x="1314" y="816"/>
                  </a:lnTo>
                  <a:lnTo>
                    <a:pt x="1302" y="822"/>
                  </a:lnTo>
                  <a:lnTo>
                    <a:pt x="1296" y="828"/>
                  </a:lnTo>
                  <a:lnTo>
                    <a:pt x="1272" y="840"/>
                  </a:lnTo>
                  <a:lnTo>
                    <a:pt x="1260" y="840"/>
                  </a:lnTo>
                  <a:lnTo>
                    <a:pt x="1254" y="846"/>
                  </a:lnTo>
                  <a:lnTo>
                    <a:pt x="1242" y="846"/>
                  </a:lnTo>
                  <a:lnTo>
                    <a:pt x="1230" y="852"/>
                  </a:lnTo>
                  <a:lnTo>
                    <a:pt x="1224" y="858"/>
                  </a:lnTo>
                  <a:lnTo>
                    <a:pt x="1212" y="864"/>
                  </a:lnTo>
                  <a:lnTo>
                    <a:pt x="1176" y="864"/>
                  </a:lnTo>
                  <a:lnTo>
                    <a:pt x="1188" y="858"/>
                  </a:lnTo>
                  <a:lnTo>
                    <a:pt x="1194" y="846"/>
                  </a:lnTo>
                  <a:lnTo>
                    <a:pt x="1212" y="840"/>
                  </a:lnTo>
                  <a:lnTo>
                    <a:pt x="1236" y="828"/>
                  </a:lnTo>
                  <a:lnTo>
                    <a:pt x="1254" y="828"/>
                  </a:lnTo>
                  <a:lnTo>
                    <a:pt x="1266" y="822"/>
                  </a:lnTo>
                  <a:lnTo>
                    <a:pt x="1284" y="816"/>
                  </a:lnTo>
                  <a:lnTo>
                    <a:pt x="1290" y="810"/>
                  </a:lnTo>
                  <a:lnTo>
                    <a:pt x="1362" y="810"/>
                  </a:lnTo>
                  <a:lnTo>
                    <a:pt x="1386" y="798"/>
                  </a:lnTo>
                  <a:lnTo>
                    <a:pt x="1422" y="792"/>
                  </a:lnTo>
                  <a:lnTo>
                    <a:pt x="1458" y="780"/>
                  </a:lnTo>
                  <a:lnTo>
                    <a:pt x="1470" y="780"/>
                  </a:lnTo>
                  <a:lnTo>
                    <a:pt x="1476" y="774"/>
                  </a:lnTo>
                  <a:lnTo>
                    <a:pt x="1482" y="774"/>
                  </a:lnTo>
                  <a:lnTo>
                    <a:pt x="1476" y="768"/>
                  </a:lnTo>
                  <a:lnTo>
                    <a:pt x="1410" y="768"/>
                  </a:lnTo>
                  <a:lnTo>
                    <a:pt x="1398" y="774"/>
                  </a:lnTo>
                  <a:lnTo>
                    <a:pt x="1392" y="774"/>
                  </a:lnTo>
                  <a:lnTo>
                    <a:pt x="1380" y="780"/>
                  </a:lnTo>
                  <a:lnTo>
                    <a:pt x="1374" y="786"/>
                  </a:lnTo>
                  <a:lnTo>
                    <a:pt x="1368" y="786"/>
                  </a:lnTo>
                  <a:lnTo>
                    <a:pt x="1362" y="792"/>
                  </a:lnTo>
                  <a:lnTo>
                    <a:pt x="1278" y="792"/>
                  </a:lnTo>
                  <a:lnTo>
                    <a:pt x="1254" y="804"/>
                  </a:lnTo>
                  <a:lnTo>
                    <a:pt x="1248" y="810"/>
                  </a:lnTo>
                  <a:lnTo>
                    <a:pt x="1236" y="816"/>
                  </a:lnTo>
                  <a:lnTo>
                    <a:pt x="1230" y="822"/>
                  </a:lnTo>
                  <a:lnTo>
                    <a:pt x="1212" y="822"/>
                  </a:lnTo>
                  <a:lnTo>
                    <a:pt x="1158" y="846"/>
                  </a:lnTo>
                  <a:lnTo>
                    <a:pt x="1140" y="846"/>
                  </a:lnTo>
                  <a:lnTo>
                    <a:pt x="1128" y="858"/>
                  </a:lnTo>
                  <a:lnTo>
                    <a:pt x="1122" y="870"/>
                  </a:lnTo>
                  <a:lnTo>
                    <a:pt x="1122" y="876"/>
                  </a:lnTo>
                  <a:lnTo>
                    <a:pt x="1116" y="876"/>
                  </a:lnTo>
                  <a:lnTo>
                    <a:pt x="1110" y="870"/>
                  </a:lnTo>
                  <a:lnTo>
                    <a:pt x="1110" y="846"/>
                  </a:lnTo>
                  <a:lnTo>
                    <a:pt x="1116" y="846"/>
                  </a:lnTo>
                  <a:lnTo>
                    <a:pt x="1152" y="834"/>
                  </a:lnTo>
                  <a:lnTo>
                    <a:pt x="1176" y="822"/>
                  </a:lnTo>
                  <a:lnTo>
                    <a:pt x="1194" y="816"/>
                  </a:lnTo>
                  <a:lnTo>
                    <a:pt x="1188" y="810"/>
                  </a:lnTo>
                  <a:lnTo>
                    <a:pt x="1176" y="810"/>
                  </a:lnTo>
                  <a:lnTo>
                    <a:pt x="1164" y="804"/>
                  </a:lnTo>
                  <a:lnTo>
                    <a:pt x="1140" y="804"/>
                  </a:lnTo>
                  <a:lnTo>
                    <a:pt x="1122" y="822"/>
                  </a:lnTo>
                  <a:lnTo>
                    <a:pt x="1110" y="828"/>
                  </a:lnTo>
                  <a:lnTo>
                    <a:pt x="1092" y="828"/>
                  </a:lnTo>
                  <a:lnTo>
                    <a:pt x="1080" y="834"/>
                  </a:lnTo>
                  <a:lnTo>
                    <a:pt x="1068" y="834"/>
                  </a:lnTo>
                  <a:lnTo>
                    <a:pt x="1068" y="840"/>
                  </a:lnTo>
                  <a:lnTo>
                    <a:pt x="1062" y="846"/>
                  </a:lnTo>
                  <a:lnTo>
                    <a:pt x="1062" y="876"/>
                  </a:lnTo>
                  <a:lnTo>
                    <a:pt x="1038" y="858"/>
                  </a:lnTo>
                  <a:lnTo>
                    <a:pt x="972" y="852"/>
                  </a:lnTo>
                  <a:lnTo>
                    <a:pt x="960" y="846"/>
                  </a:lnTo>
                  <a:lnTo>
                    <a:pt x="948" y="834"/>
                  </a:lnTo>
                  <a:lnTo>
                    <a:pt x="936" y="834"/>
                  </a:lnTo>
                  <a:lnTo>
                    <a:pt x="936" y="828"/>
                  </a:lnTo>
                  <a:lnTo>
                    <a:pt x="942" y="822"/>
                  </a:lnTo>
                  <a:lnTo>
                    <a:pt x="942" y="810"/>
                  </a:lnTo>
                  <a:lnTo>
                    <a:pt x="948" y="804"/>
                  </a:lnTo>
                  <a:lnTo>
                    <a:pt x="834" y="804"/>
                  </a:lnTo>
                  <a:lnTo>
                    <a:pt x="852" y="804"/>
                  </a:lnTo>
                  <a:lnTo>
                    <a:pt x="78" y="1440"/>
                  </a:lnTo>
                  <a:lnTo>
                    <a:pt x="72" y="1446"/>
                  </a:lnTo>
                  <a:lnTo>
                    <a:pt x="60" y="1452"/>
                  </a:lnTo>
                  <a:lnTo>
                    <a:pt x="54" y="1464"/>
                  </a:lnTo>
                  <a:lnTo>
                    <a:pt x="54" y="1476"/>
                  </a:lnTo>
                  <a:lnTo>
                    <a:pt x="108" y="1476"/>
                  </a:lnTo>
                  <a:lnTo>
                    <a:pt x="120" y="1464"/>
                  </a:lnTo>
                  <a:lnTo>
                    <a:pt x="156" y="1464"/>
                  </a:lnTo>
                  <a:lnTo>
                    <a:pt x="132" y="1488"/>
                  </a:lnTo>
                  <a:lnTo>
                    <a:pt x="132" y="1494"/>
                  </a:lnTo>
                  <a:lnTo>
                    <a:pt x="138" y="1506"/>
                  </a:lnTo>
                  <a:lnTo>
                    <a:pt x="138" y="1524"/>
                  </a:lnTo>
                  <a:lnTo>
                    <a:pt x="144" y="1530"/>
                  </a:lnTo>
                  <a:lnTo>
                    <a:pt x="156" y="1536"/>
                  </a:lnTo>
                  <a:lnTo>
                    <a:pt x="162" y="1542"/>
                  </a:lnTo>
                  <a:lnTo>
                    <a:pt x="144" y="1560"/>
                  </a:lnTo>
                  <a:lnTo>
                    <a:pt x="144" y="1572"/>
                  </a:lnTo>
                  <a:lnTo>
                    <a:pt x="150" y="1572"/>
                  </a:lnTo>
                  <a:lnTo>
                    <a:pt x="156" y="1566"/>
                  </a:lnTo>
                  <a:lnTo>
                    <a:pt x="168" y="1560"/>
                  </a:lnTo>
                  <a:lnTo>
                    <a:pt x="174" y="1554"/>
                  </a:lnTo>
                  <a:lnTo>
                    <a:pt x="180" y="1554"/>
                  </a:lnTo>
                  <a:lnTo>
                    <a:pt x="186" y="1548"/>
                  </a:lnTo>
                  <a:lnTo>
                    <a:pt x="198" y="1548"/>
                  </a:lnTo>
                  <a:lnTo>
                    <a:pt x="210" y="1542"/>
                  </a:lnTo>
                  <a:lnTo>
                    <a:pt x="222" y="1542"/>
                  </a:lnTo>
                  <a:lnTo>
                    <a:pt x="234" y="1536"/>
                  </a:lnTo>
                  <a:lnTo>
                    <a:pt x="240" y="1530"/>
                  </a:lnTo>
                  <a:lnTo>
                    <a:pt x="258" y="1530"/>
                  </a:lnTo>
                  <a:lnTo>
                    <a:pt x="258" y="1518"/>
                  </a:lnTo>
                  <a:lnTo>
                    <a:pt x="264" y="1518"/>
                  </a:lnTo>
                  <a:lnTo>
                    <a:pt x="270" y="1512"/>
                  </a:lnTo>
                  <a:lnTo>
                    <a:pt x="282" y="1512"/>
                  </a:lnTo>
                  <a:lnTo>
                    <a:pt x="300" y="1506"/>
                  </a:lnTo>
                  <a:lnTo>
                    <a:pt x="312" y="1506"/>
                  </a:lnTo>
                  <a:lnTo>
                    <a:pt x="330" y="1512"/>
                  </a:lnTo>
                  <a:lnTo>
                    <a:pt x="336" y="1518"/>
                  </a:lnTo>
                  <a:lnTo>
                    <a:pt x="330" y="1524"/>
                  </a:lnTo>
                  <a:lnTo>
                    <a:pt x="324" y="1524"/>
                  </a:lnTo>
                  <a:lnTo>
                    <a:pt x="318" y="1530"/>
                  </a:lnTo>
                  <a:lnTo>
                    <a:pt x="318" y="1560"/>
                  </a:lnTo>
                  <a:lnTo>
                    <a:pt x="306" y="1572"/>
                  </a:lnTo>
                  <a:lnTo>
                    <a:pt x="324" y="1590"/>
                  </a:lnTo>
                  <a:lnTo>
                    <a:pt x="330" y="1602"/>
                  </a:lnTo>
                  <a:lnTo>
                    <a:pt x="330" y="1620"/>
                  </a:lnTo>
                  <a:lnTo>
                    <a:pt x="312" y="1656"/>
                  </a:lnTo>
                  <a:lnTo>
                    <a:pt x="312" y="1698"/>
                  </a:lnTo>
                  <a:lnTo>
                    <a:pt x="306" y="1704"/>
                  </a:lnTo>
                  <a:lnTo>
                    <a:pt x="300" y="1716"/>
                  </a:lnTo>
                  <a:lnTo>
                    <a:pt x="300" y="1728"/>
                  </a:lnTo>
                  <a:lnTo>
                    <a:pt x="294" y="1740"/>
                  </a:lnTo>
                  <a:lnTo>
                    <a:pt x="294" y="1746"/>
                  </a:lnTo>
                  <a:lnTo>
                    <a:pt x="300" y="1752"/>
                  </a:lnTo>
                  <a:lnTo>
                    <a:pt x="312" y="1758"/>
                  </a:lnTo>
                  <a:lnTo>
                    <a:pt x="318" y="1764"/>
                  </a:lnTo>
                  <a:lnTo>
                    <a:pt x="324" y="1764"/>
                  </a:lnTo>
                  <a:lnTo>
                    <a:pt x="330" y="1770"/>
                  </a:lnTo>
                  <a:lnTo>
                    <a:pt x="330" y="1776"/>
                  </a:lnTo>
                  <a:lnTo>
                    <a:pt x="348" y="1776"/>
                  </a:lnTo>
                  <a:lnTo>
                    <a:pt x="354" y="1782"/>
                  </a:lnTo>
                  <a:lnTo>
                    <a:pt x="354" y="1794"/>
                  </a:lnTo>
                  <a:lnTo>
                    <a:pt x="342" y="1800"/>
                  </a:lnTo>
                  <a:lnTo>
                    <a:pt x="330" y="1812"/>
                  </a:lnTo>
                  <a:lnTo>
                    <a:pt x="318" y="1818"/>
                  </a:lnTo>
                  <a:lnTo>
                    <a:pt x="318" y="1830"/>
                  </a:lnTo>
                  <a:lnTo>
                    <a:pt x="312" y="1842"/>
                  </a:lnTo>
                  <a:lnTo>
                    <a:pt x="294" y="1860"/>
                  </a:lnTo>
                  <a:lnTo>
                    <a:pt x="282" y="1866"/>
                  </a:lnTo>
                  <a:lnTo>
                    <a:pt x="270" y="1878"/>
                  </a:lnTo>
                  <a:lnTo>
                    <a:pt x="252" y="1884"/>
                  </a:lnTo>
                  <a:lnTo>
                    <a:pt x="234" y="1896"/>
                  </a:lnTo>
                  <a:lnTo>
                    <a:pt x="228" y="1902"/>
                  </a:lnTo>
                  <a:lnTo>
                    <a:pt x="222" y="1914"/>
                  </a:lnTo>
                  <a:lnTo>
                    <a:pt x="222" y="1926"/>
                  </a:lnTo>
                  <a:lnTo>
                    <a:pt x="216" y="1932"/>
                  </a:lnTo>
                  <a:lnTo>
                    <a:pt x="216" y="1944"/>
                  </a:lnTo>
                  <a:lnTo>
                    <a:pt x="204" y="1956"/>
                  </a:lnTo>
                  <a:lnTo>
                    <a:pt x="210" y="1962"/>
                  </a:lnTo>
                  <a:lnTo>
                    <a:pt x="216" y="1962"/>
                  </a:lnTo>
                  <a:lnTo>
                    <a:pt x="216" y="1974"/>
                  </a:lnTo>
                  <a:lnTo>
                    <a:pt x="228" y="1986"/>
                  </a:lnTo>
                  <a:lnTo>
                    <a:pt x="240" y="1980"/>
                  </a:lnTo>
                  <a:lnTo>
                    <a:pt x="246" y="1968"/>
                  </a:lnTo>
                  <a:lnTo>
                    <a:pt x="258" y="1962"/>
                  </a:lnTo>
                  <a:lnTo>
                    <a:pt x="276" y="1956"/>
                  </a:lnTo>
                  <a:lnTo>
                    <a:pt x="294" y="1938"/>
                  </a:lnTo>
                  <a:lnTo>
                    <a:pt x="306" y="1938"/>
                  </a:lnTo>
                  <a:lnTo>
                    <a:pt x="306" y="1944"/>
                  </a:lnTo>
                  <a:lnTo>
                    <a:pt x="300" y="1950"/>
                  </a:lnTo>
                  <a:lnTo>
                    <a:pt x="288" y="1956"/>
                  </a:lnTo>
                  <a:lnTo>
                    <a:pt x="282" y="1956"/>
                  </a:lnTo>
                  <a:lnTo>
                    <a:pt x="276" y="1962"/>
                  </a:lnTo>
                  <a:lnTo>
                    <a:pt x="276" y="1974"/>
                  </a:lnTo>
                  <a:lnTo>
                    <a:pt x="282" y="1986"/>
                  </a:lnTo>
                  <a:lnTo>
                    <a:pt x="294" y="1998"/>
                  </a:lnTo>
                  <a:lnTo>
                    <a:pt x="252" y="1992"/>
                  </a:lnTo>
                  <a:lnTo>
                    <a:pt x="246" y="1998"/>
                  </a:lnTo>
                  <a:lnTo>
                    <a:pt x="240" y="2010"/>
                  </a:lnTo>
                  <a:lnTo>
                    <a:pt x="234" y="2016"/>
                  </a:lnTo>
                  <a:lnTo>
                    <a:pt x="228" y="2028"/>
                  </a:lnTo>
                  <a:lnTo>
                    <a:pt x="228" y="2034"/>
                  </a:lnTo>
                  <a:lnTo>
                    <a:pt x="234" y="2034"/>
                  </a:lnTo>
                  <a:lnTo>
                    <a:pt x="240" y="2040"/>
                  </a:lnTo>
                  <a:lnTo>
                    <a:pt x="252" y="2040"/>
                  </a:lnTo>
                  <a:lnTo>
                    <a:pt x="258" y="2046"/>
                  </a:lnTo>
                  <a:lnTo>
                    <a:pt x="252" y="2052"/>
                  </a:lnTo>
                  <a:lnTo>
                    <a:pt x="252" y="2058"/>
                  </a:lnTo>
                  <a:lnTo>
                    <a:pt x="246" y="2070"/>
                  </a:lnTo>
                  <a:lnTo>
                    <a:pt x="246" y="2076"/>
                  </a:lnTo>
                  <a:lnTo>
                    <a:pt x="252" y="2070"/>
                  </a:lnTo>
                  <a:lnTo>
                    <a:pt x="288" y="2052"/>
                  </a:lnTo>
                  <a:lnTo>
                    <a:pt x="306" y="2034"/>
                  </a:lnTo>
                  <a:lnTo>
                    <a:pt x="318" y="2028"/>
                  </a:lnTo>
                  <a:lnTo>
                    <a:pt x="318" y="2040"/>
                  </a:lnTo>
                  <a:lnTo>
                    <a:pt x="288" y="2058"/>
                  </a:lnTo>
                  <a:lnTo>
                    <a:pt x="312" y="2064"/>
                  </a:lnTo>
                  <a:lnTo>
                    <a:pt x="312" y="2076"/>
                  </a:lnTo>
                  <a:lnTo>
                    <a:pt x="294" y="2094"/>
                  </a:lnTo>
                  <a:lnTo>
                    <a:pt x="276" y="2076"/>
                  </a:lnTo>
                  <a:lnTo>
                    <a:pt x="270" y="2076"/>
                  </a:lnTo>
                  <a:lnTo>
                    <a:pt x="264" y="2082"/>
                  </a:lnTo>
                  <a:lnTo>
                    <a:pt x="240" y="2094"/>
                  </a:lnTo>
                  <a:lnTo>
                    <a:pt x="228" y="2094"/>
                  </a:lnTo>
                  <a:lnTo>
                    <a:pt x="216" y="2106"/>
                  </a:lnTo>
                  <a:lnTo>
                    <a:pt x="210" y="2118"/>
                  </a:lnTo>
                  <a:lnTo>
                    <a:pt x="204" y="2124"/>
                  </a:lnTo>
                  <a:lnTo>
                    <a:pt x="210" y="2118"/>
                  </a:lnTo>
                  <a:lnTo>
                    <a:pt x="222" y="2118"/>
                  </a:lnTo>
                  <a:lnTo>
                    <a:pt x="228" y="2112"/>
                  </a:lnTo>
                  <a:lnTo>
                    <a:pt x="276" y="2112"/>
                  </a:lnTo>
                  <a:lnTo>
                    <a:pt x="270" y="2112"/>
                  </a:lnTo>
                  <a:lnTo>
                    <a:pt x="264" y="2118"/>
                  </a:lnTo>
                  <a:lnTo>
                    <a:pt x="252" y="2118"/>
                  </a:lnTo>
                  <a:lnTo>
                    <a:pt x="240" y="2124"/>
                  </a:lnTo>
                  <a:lnTo>
                    <a:pt x="228" y="2124"/>
                  </a:lnTo>
                  <a:lnTo>
                    <a:pt x="216" y="2130"/>
                  </a:lnTo>
                  <a:lnTo>
                    <a:pt x="210" y="2130"/>
                  </a:lnTo>
                  <a:lnTo>
                    <a:pt x="210" y="2148"/>
                  </a:lnTo>
                  <a:lnTo>
                    <a:pt x="204" y="2148"/>
                  </a:lnTo>
                  <a:lnTo>
                    <a:pt x="198" y="2142"/>
                  </a:lnTo>
                  <a:lnTo>
                    <a:pt x="174" y="2142"/>
                  </a:lnTo>
                  <a:lnTo>
                    <a:pt x="174" y="2154"/>
                  </a:lnTo>
                  <a:lnTo>
                    <a:pt x="180" y="2166"/>
                  </a:lnTo>
                  <a:lnTo>
                    <a:pt x="192" y="2172"/>
                  </a:lnTo>
                  <a:lnTo>
                    <a:pt x="198" y="2178"/>
                  </a:lnTo>
                  <a:lnTo>
                    <a:pt x="246" y="2160"/>
                  </a:lnTo>
                  <a:lnTo>
                    <a:pt x="264" y="2184"/>
                  </a:lnTo>
                  <a:lnTo>
                    <a:pt x="300" y="2166"/>
                  </a:lnTo>
                  <a:lnTo>
                    <a:pt x="294" y="2172"/>
                  </a:lnTo>
                  <a:lnTo>
                    <a:pt x="288" y="2184"/>
                  </a:lnTo>
                  <a:lnTo>
                    <a:pt x="276" y="2190"/>
                  </a:lnTo>
                  <a:lnTo>
                    <a:pt x="270" y="2196"/>
                  </a:lnTo>
                  <a:lnTo>
                    <a:pt x="264" y="2208"/>
                  </a:lnTo>
                  <a:lnTo>
                    <a:pt x="264" y="2214"/>
                  </a:lnTo>
                  <a:lnTo>
                    <a:pt x="276" y="2214"/>
                  </a:lnTo>
                  <a:lnTo>
                    <a:pt x="282" y="2208"/>
                  </a:lnTo>
                  <a:lnTo>
                    <a:pt x="300" y="2202"/>
                  </a:lnTo>
                  <a:lnTo>
                    <a:pt x="318" y="2184"/>
                  </a:lnTo>
                  <a:lnTo>
                    <a:pt x="330" y="2178"/>
                  </a:lnTo>
                  <a:lnTo>
                    <a:pt x="306" y="2202"/>
                  </a:lnTo>
                  <a:lnTo>
                    <a:pt x="300" y="2214"/>
                  </a:lnTo>
                  <a:lnTo>
                    <a:pt x="294" y="2220"/>
                  </a:lnTo>
                  <a:lnTo>
                    <a:pt x="300" y="2220"/>
                  </a:lnTo>
                  <a:lnTo>
                    <a:pt x="312" y="2214"/>
                  </a:lnTo>
                  <a:lnTo>
                    <a:pt x="324" y="2214"/>
                  </a:lnTo>
                  <a:lnTo>
                    <a:pt x="318" y="2220"/>
                  </a:lnTo>
                  <a:lnTo>
                    <a:pt x="306" y="2226"/>
                  </a:lnTo>
                  <a:lnTo>
                    <a:pt x="300" y="2238"/>
                  </a:lnTo>
                  <a:lnTo>
                    <a:pt x="282" y="2256"/>
                  </a:lnTo>
                  <a:lnTo>
                    <a:pt x="288" y="2262"/>
                  </a:lnTo>
                  <a:lnTo>
                    <a:pt x="294" y="2262"/>
                  </a:lnTo>
                  <a:lnTo>
                    <a:pt x="342" y="2238"/>
                  </a:lnTo>
                  <a:lnTo>
                    <a:pt x="348" y="2232"/>
                  </a:lnTo>
                  <a:lnTo>
                    <a:pt x="324" y="2256"/>
                  </a:lnTo>
                  <a:lnTo>
                    <a:pt x="318" y="2268"/>
                  </a:lnTo>
                  <a:lnTo>
                    <a:pt x="318" y="2274"/>
                  </a:lnTo>
                  <a:lnTo>
                    <a:pt x="330" y="2280"/>
                  </a:lnTo>
                  <a:lnTo>
                    <a:pt x="342" y="2280"/>
                  </a:lnTo>
                  <a:lnTo>
                    <a:pt x="354" y="2292"/>
                  </a:lnTo>
                  <a:lnTo>
                    <a:pt x="354" y="2298"/>
                  </a:lnTo>
                  <a:lnTo>
                    <a:pt x="348" y="2304"/>
                  </a:lnTo>
                  <a:lnTo>
                    <a:pt x="348" y="2340"/>
                  </a:lnTo>
                  <a:lnTo>
                    <a:pt x="2058" y="2340"/>
                  </a:lnTo>
                  <a:lnTo>
                    <a:pt x="2064" y="2328"/>
                  </a:lnTo>
                  <a:lnTo>
                    <a:pt x="2064" y="2322"/>
                  </a:lnTo>
                  <a:lnTo>
                    <a:pt x="2070" y="2310"/>
                  </a:lnTo>
                  <a:lnTo>
                    <a:pt x="2076" y="2304"/>
                  </a:lnTo>
                  <a:lnTo>
                    <a:pt x="2088" y="2298"/>
                  </a:lnTo>
                  <a:lnTo>
                    <a:pt x="2100" y="2310"/>
                  </a:lnTo>
                  <a:lnTo>
                    <a:pt x="2088" y="2322"/>
                  </a:lnTo>
                  <a:lnTo>
                    <a:pt x="2082" y="2334"/>
                  </a:lnTo>
                  <a:lnTo>
                    <a:pt x="2082" y="2346"/>
                  </a:lnTo>
                  <a:lnTo>
                    <a:pt x="2094" y="2352"/>
                  </a:lnTo>
                  <a:lnTo>
                    <a:pt x="2112" y="2358"/>
                  </a:lnTo>
                  <a:lnTo>
                    <a:pt x="2124" y="2358"/>
                  </a:lnTo>
                  <a:lnTo>
                    <a:pt x="2142" y="2376"/>
                  </a:lnTo>
                  <a:lnTo>
                    <a:pt x="2154" y="2376"/>
                  </a:lnTo>
                  <a:lnTo>
                    <a:pt x="2154" y="2370"/>
                  </a:lnTo>
                  <a:lnTo>
                    <a:pt x="2166" y="2358"/>
                  </a:lnTo>
                  <a:lnTo>
                    <a:pt x="2178" y="2358"/>
                  </a:lnTo>
                  <a:lnTo>
                    <a:pt x="2190" y="2364"/>
                  </a:lnTo>
                  <a:lnTo>
                    <a:pt x="2202" y="2376"/>
                  </a:lnTo>
                  <a:lnTo>
                    <a:pt x="2202" y="2382"/>
                  </a:lnTo>
                  <a:lnTo>
                    <a:pt x="2208" y="2388"/>
                  </a:lnTo>
                  <a:lnTo>
                    <a:pt x="2238" y="2388"/>
                  </a:lnTo>
                  <a:lnTo>
                    <a:pt x="2256" y="2406"/>
                  </a:lnTo>
                  <a:lnTo>
                    <a:pt x="2268" y="2406"/>
                  </a:lnTo>
                  <a:lnTo>
                    <a:pt x="2280" y="2394"/>
                  </a:lnTo>
                  <a:lnTo>
                    <a:pt x="2292" y="2388"/>
                  </a:lnTo>
                  <a:lnTo>
                    <a:pt x="2298" y="2382"/>
                  </a:lnTo>
                  <a:lnTo>
                    <a:pt x="2298" y="2400"/>
                  </a:lnTo>
                  <a:lnTo>
                    <a:pt x="2346" y="2394"/>
                  </a:lnTo>
                  <a:lnTo>
                    <a:pt x="2346" y="2400"/>
                  </a:lnTo>
                  <a:lnTo>
                    <a:pt x="2352" y="2400"/>
                  </a:lnTo>
                  <a:lnTo>
                    <a:pt x="2364" y="2406"/>
                  </a:lnTo>
                  <a:lnTo>
                    <a:pt x="2382" y="2406"/>
                  </a:lnTo>
                  <a:lnTo>
                    <a:pt x="2394" y="2394"/>
                  </a:lnTo>
                  <a:lnTo>
                    <a:pt x="2406" y="2388"/>
                  </a:lnTo>
                  <a:lnTo>
                    <a:pt x="2412" y="2376"/>
                  </a:lnTo>
                  <a:lnTo>
                    <a:pt x="2412" y="2370"/>
                  </a:lnTo>
                  <a:lnTo>
                    <a:pt x="2430" y="2370"/>
                  </a:lnTo>
                  <a:lnTo>
                    <a:pt x="2436" y="2376"/>
                  </a:lnTo>
                  <a:lnTo>
                    <a:pt x="2442" y="2376"/>
                  </a:lnTo>
                  <a:lnTo>
                    <a:pt x="2454" y="2364"/>
                  </a:lnTo>
                  <a:lnTo>
                    <a:pt x="2460" y="2352"/>
                  </a:lnTo>
                  <a:lnTo>
                    <a:pt x="2466" y="2346"/>
                  </a:lnTo>
                  <a:lnTo>
                    <a:pt x="2472" y="2346"/>
                  </a:lnTo>
                  <a:lnTo>
                    <a:pt x="2472" y="2352"/>
                  </a:lnTo>
                  <a:lnTo>
                    <a:pt x="2478" y="2358"/>
                  </a:lnTo>
                  <a:lnTo>
                    <a:pt x="2502" y="2352"/>
                  </a:lnTo>
                  <a:lnTo>
                    <a:pt x="2496" y="2346"/>
                  </a:lnTo>
                  <a:lnTo>
                    <a:pt x="2496" y="2334"/>
                  </a:lnTo>
                  <a:lnTo>
                    <a:pt x="2502" y="2328"/>
                  </a:lnTo>
                  <a:lnTo>
                    <a:pt x="2514" y="2322"/>
                  </a:lnTo>
                  <a:lnTo>
                    <a:pt x="2532" y="2340"/>
                  </a:lnTo>
                  <a:lnTo>
                    <a:pt x="2556" y="2340"/>
                  </a:lnTo>
                  <a:lnTo>
                    <a:pt x="2562" y="2346"/>
                  </a:lnTo>
                  <a:lnTo>
                    <a:pt x="2580" y="2346"/>
                  </a:lnTo>
                  <a:lnTo>
                    <a:pt x="2604" y="2358"/>
                  </a:lnTo>
                  <a:lnTo>
                    <a:pt x="2604" y="2370"/>
                  </a:lnTo>
                  <a:lnTo>
                    <a:pt x="2598" y="2382"/>
                  </a:lnTo>
                  <a:lnTo>
                    <a:pt x="2598" y="2388"/>
                  </a:lnTo>
                  <a:lnTo>
                    <a:pt x="2592" y="2400"/>
                  </a:lnTo>
                  <a:lnTo>
                    <a:pt x="2604" y="2412"/>
                  </a:lnTo>
                  <a:lnTo>
                    <a:pt x="2592" y="2436"/>
                  </a:lnTo>
                  <a:lnTo>
                    <a:pt x="2598" y="2436"/>
                  </a:lnTo>
                  <a:lnTo>
                    <a:pt x="2604" y="2430"/>
                  </a:lnTo>
                  <a:lnTo>
                    <a:pt x="2616" y="2424"/>
                  </a:lnTo>
                  <a:lnTo>
                    <a:pt x="2634" y="2418"/>
                  </a:lnTo>
                  <a:lnTo>
                    <a:pt x="2646" y="2412"/>
                  </a:lnTo>
                  <a:lnTo>
                    <a:pt x="2670" y="2412"/>
                  </a:lnTo>
                  <a:lnTo>
                    <a:pt x="2670" y="2424"/>
                  </a:lnTo>
                  <a:lnTo>
                    <a:pt x="2658" y="2430"/>
                  </a:lnTo>
                  <a:lnTo>
                    <a:pt x="2652" y="2436"/>
                  </a:lnTo>
                  <a:lnTo>
                    <a:pt x="2646" y="2436"/>
                  </a:lnTo>
                  <a:lnTo>
                    <a:pt x="2640" y="2442"/>
                  </a:lnTo>
                  <a:lnTo>
                    <a:pt x="2646" y="2448"/>
                  </a:lnTo>
                  <a:lnTo>
                    <a:pt x="2652" y="2448"/>
                  </a:lnTo>
                  <a:lnTo>
                    <a:pt x="2664" y="2460"/>
                  </a:lnTo>
                  <a:lnTo>
                    <a:pt x="2640" y="2484"/>
                  </a:lnTo>
                  <a:lnTo>
                    <a:pt x="2640" y="2490"/>
                  </a:lnTo>
                  <a:lnTo>
                    <a:pt x="2652" y="2490"/>
                  </a:lnTo>
                  <a:lnTo>
                    <a:pt x="2652" y="2502"/>
                  </a:lnTo>
                  <a:lnTo>
                    <a:pt x="2640" y="2514"/>
                  </a:lnTo>
                  <a:lnTo>
                    <a:pt x="2640" y="2526"/>
                  </a:lnTo>
                  <a:lnTo>
                    <a:pt x="2658" y="2526"/>
                  </a:lnTo>
                  <a:lnTo>
                    <a:pt x="2652" y="2544"/>
                  </a:lnTo>
                  <a:lnTo>
                    <a:pt x="2658" y="2544"/>
                  </a:lnTo>
                  <a:lnTo>
                    <a:pt x="2670" y="2550"/>
                  </a:lnTo>
                  <a:lnTo>
                    <a:pt x="2754" y="2550"/>
                  </a:lnTo>
                  <a:lnTo>
                    <a:pt x="2766" y="2556"/>
                  </a:lnTo>
                  <a:lnTo>
                    <a:pt x="2784" y="2568"/>
                  </a:lnTo>
                  <a:lnTo>
                    <a:pt x="2838" y="2568"/>
                  </a:lnTo>
                  <a:lnTo>
                    <a:pt x="2850" y="2574"/>
                  </a:lnTo>
                  <a:lnTo>
                    <a:pt x="2856" y="2580"/>
                  </a:lnTo>
                  <a:lnTo>
                    <a:pt x="2856" y="2610"/>
                  </a:lnTo>
                  <a:lnTo>
                    <a:pt x="2874" y="2610"/>
                  </a:lnTo>
                  <a:lnTo>
                    <a:pt x="2874" y="2628"/>
                  </a:lnTo>
                  <a:lnTo>
                    <a:pt x="2862" y="2640"/>
                  </a:lnTo>
                  <a:lnTo>
                    <a:pt x="2862" y="2652"/>
                  </a:lnTo>
                  <a:lnTo>
                    <a:pt x="2874" y="2664"/>
                  </a:lnTo>
                  <a:lnTo>
                    <a:pt x="2880" y="2664"/>
                  </a:lnTo>
                  <a:lnTo>
                    <a:pt x="2856" y="2658"/>
                  </a:lnTo>
                  <a:lnTo>
                    <a:pt x="2856" y="2670"/>
                  </a:lnTo>
                  <a:lnTo>
                    <a:pt x="2850" y="2676"/>
                  </a:lnTo>
                  <a:lnTo>
                    <a:pt x="2844" y="2688"/>
                  </a:lnTo>
                  <a:lnTo>
                    <a:pt x="2838" y="2694"/>
                  </a:lnTo>
                  <a:lnTo>
                    <a:pt x="2832" y="2688"/>
                  </a:lnTo>
                  <a:lnTo>
                    <a:pt x="2820" y="2682"/>
                  </a:lnTo>
                  <a:lnTo>
                    <a:pt x="2802" y="2670"/>
                  </a:lnTo>
                  <a:lnTo>
                    <a:pt x="2790" y="2664"/>
                  </a:lnTo>
                  <a:lnTo>
                    <a:pt x="2784" y="2652"/>
                  </a:lnTo>
                  <a:lnTo>
                    <a:pt x="2784" y="2628"/>
                  </a:lnTo>
                  <a:lnTo>
                    <a:pt x="2766" y="2622"/>
                  </a:lnTo>
                  <a:lnTo>
                    <a:pt x="2772" y="2640"/>
                  </a:lnTo>
                  <a:lnTo>
                    <a:pt x="2772" y="2646"/>
                  </a:lnTo>
                  <a:lnTo>
                    <a:pt x="2778" y="2652"/>
                  </a:lnTo>
                  <a:lnTo>
                    <a:pt x="2778" y="2664"/>
                  </a:lnTo>
                  <a:lnTo>
                    <a:pt x="2772" y="2676"/>
                  </a:lnTo>
                  <a:lnTo>
                    <a:pt x="2760" y="2688"/>
                  </a:lnTo>
                  <a:lnTo>
                    <a:pt x="2754" y="2700"/>
                  </a:lnTo>
                  <a:lnTo>
                    <a:pt x="2736" y="2706"/>
                  </a:lnTo>
                  <a:lnTo>
                    <a:pt x="2718" y="2724"/>
                  </a:lnTo>
                  <a:lnTo>
                    <a:pt x="2712" y="2742"/>
                  </a:lnTo>
                  <a:lnTo>
                    <a:pt x="2700" y="2760"/>
                  </a:lnTo>
                  <a:lnTo>
                    <a:pt x="2694" y="2778"/>
                  </a:lnTo>
                  <a:lnTo>
                    <a:pt x="2688" y="2784"/>
                  </a:lnTo>
                  <a:lnTo>
                    <a:pt x="2664" y="2796"/>
                  </a:lnTo>
                  <a:lnTo>
                    <a:pt x="2652" y="2796"/>
                  </a:lnTo>
                  <a:lnTo>
                    <a:pt x="2646" y="2790"/>
                  </a:lnTo>
                  <a:lnTo>
                    <a:pt x="2640" y="2802"/>
                  </a:lnTo>
                  <a:lnTo>
                    <a:pt x="2634" y="2808"/>
                  </a:lnTo>
                  <a:lnTo>
                    <a:pt x="2634" y="2832"/>
                  </a:lnTo>
                  <a:lnTo>
                    <a:pt x="2628" y="2838"/>
                  </a:lnTo>
                  <a:lnTo>
                    <a:pt x="2622" y="2838"/>
                  </a:lnTo>
                  <a:lnTo>
                    <a:pt x="2586" y="2856"/>
                  </a:lnTo>
                  <a:lnTo>
                    <a:pt x="2562" y="2880"/>
                  </a:lnTo>
                  <a:lnTo>
                    <a:pt x="2562" y="2886"/>
                  </a:lnTo>
                  <a:lnTo>
                    <a:pt x="2568" y="2886"/>
                  </a:lnTo>
                  <a:lnTo>
                    <a:pt x="2580" y="2880"/>
                  </a:lnTo>
                  <a:lnTo>
                    <a:pt x="2592" y="2880"/>
                  </a:lnTo>
                  <a:lnTo>
                    <a:pt x="2598" y="2886"/>
                  </a:lnTo>
                  <a:lnTo>
                    <a:pt x="2610" y="2880"/>
                  </a:lnTo>
                  <a:lnTo>
                    <a:pt x="2616" y="2868"/>
                  </a:lnTo>
                  <a:lnTo>
                    <a:pt x="2628" y="2862"/>
                  </a:lnTo>
                  <a:lnTo>
                    <a:pt x="2658" y="2862"/>
                  </a:lnTo>
                  <a:lnTo>
                    <a:pt x="2658" y="2856"/>
                  </a:lnTo>
                  <a:lnTo>
                    <a:pt x="2664" y="2844"/>
                  </a:lnTo>
                  <a:lnTo>
                    <a:pt x="2676" y="2838"/>
                  </a:lnTo>
                  <a:lnTo>
                    <a:pt x="2682" y="2832"/>
                  </a:lnTo>
                  <a:lnTo>
                    <a:pt x="2754" y="2832"/>
                  </a:lnTo>
                  <a:lnTo>
                    <a:pt x="2766" y="2838"/>
                  </a:lnTo>
                  <a:lnTo>
                    <a:pt x="2790" y="2820"/>
                  </a:lnTo>
                  <a:lnTo>
                    <a:pt x="2856" y="2820"/>
                  </a:lnTo>
                  <a:lnTo>
                    <a:pt x="2862" y="2814"/>
                  </a:lnTo>
                  <a:lnTo>
                    <a:pt x="2862" y="2790"/>
                  </a:lnTo>
                  <a:lnTo>
                    <a:pt x="2844" y="2796"/>
                  </a:lnTo>
                  <a:lnTo>
                    <a:pt x="2832" y="2796"/>
                  </a:lnTo>
                  <a:lnTo>
                    <a:pt x="2826" y="2790"/>
                  </a:lnTo>
                  <a:lnTo>
                    <a:pt x="2826" y="2784"/>
                  </a:lnTo>
                  <a:lnTo>
                    <a:pt x="2832" y="2772"/>
                  </a:lnTo>
                  <a:lnTo>
                    <a:pt x="2850" y="2754"/>
                  </a:lnTo>
                  <a:lnTo>
                    <a:pt x="2868" y="2742"/>
                  </a:lnTo>
                  <a:lnTo>
                    <a:pt x="2880" y="2736"/>
                  </a:lnTo>
                  <a:lnTo>
                    <a:pt x="2910" y="2736"/>
                  </a:lnTo>
                  <a:lnTo>
                    <a:pt x="2928" y="2730"/>
                  </a:lnTo>
                  <a:lnTo>
                    <a:pt x="2952" y="2730"/>
                  </a:lnTo>
                  <a:lnTo>
                    <a:pt x="2964" y="2724"/>
                  </a:lnTo>
                  <a:lnTo>
                    <a:pt x="2970" y="2724"/>
                  </a:lnTo>
                  <a:lnTo>
                    <a:pt x="2976" y="2718"/>
                  </a:lnTo>
                  <a:lnTo>
                    <a:pt x="2982" y="2718"/>
                  </a:lnTo>
                  <a:lnTo>
                    <a:pt x="2994" y="2724"/>
                  </a:lnTo>
                  <a:lnTo>
                    <a:pt x="3000" y="2724"/>
                  </a:lnTo>
                  <a:lnTo>
                    <a:pt x="3012" y="2730"/>
                  </a:lnTo>
                  <a:lnTo>
                    <a:pt x="3018" y="2736"/>
                  </a:lnTo>
                  <a:lnTo>
                    <a:pt x="3024" y="2736"/>
                  </a:lnTo>
                  <a:lnTo>
                    <a:pt x="3030" y="2730"/>
                  </a:lnTo>
                  <a:lnTo>
                    <a:pt x="3030" y="2712"/>
                  </a:lnTo>
                  <a:lnTo>
                    <a:pt x="3036" y="2706"/>
                  </a:lnTo>
                  <a:lnTo>
                    <a:pt x="3048" y="2700"/>
                  </a:lnTo>
                  <a:lnTo>
                    <a:pt x="3060" y="2700"/>
                  </a:lnTo>
                  <a:lnTo>
                    <a:pt x="3066" y="2706"/>
                  </a:lnTo>
                  <a:lnTo>
                    <a:pt x="3072" y="2706"/>
                  </a:lnTo>
                  <a:lnTo>
                    <a:pt x="3072" y="2700"/>
                  </a:lnTo>
                  <a:lnTo>
                    <a:pt x="3102" y="2700"/>
                  </a:lnTo>
                  <a:lnTo>
                    <a:pt x="3114" y="2688"/>
                  </a:lnTo>
                  <a:lnTo>
                    <a:pt x="3126" y="2682"/>
                  </a:lnTo>
                  <a:lnTo>
                    <a:pt x="3150" y="2658"/>
                  </a:lnTo>
                  <a:lnTo>
                    <a:pt x="3162" y="2652"/>
                  </a:lnTo>
                  <a:lnTo>
                    <a:pt x="3174" y="2640"/>
                  </a:lnTo>
                  <a:lnTo>
                    <a:pt x="3408" y="2640"/>
                  </a:lnTo>
                  <a:lnTo>
                    <a:pt x="3408" y="2634"/>
                  </a:lnTo>
                  <a:lnTo>
                    <a:pt x="3420" y="2622"/>
                  </a:lnTo>
                  <a:lnTo>
                    <a:pt x="3438" y="2622"/>
                  </a:lnTo>
                  <a:lnTo>
                    <a:pt x="3450" y="2616"/>
                  </a:lnTo>
                  <a:lnTo>
                    <a:pt x="3456" y="2616"/>
                  </a:lnTo>
                  <a:lnTo>
                    <a:pt x="3456" y="2610"/>
                  </a:lnTo>
                  <a:lnTo>
                    <a:pt x="3468" y="2598"/>
                  </a:lnTo>
                  <a:lnTo>
                    <a:pt x="3480" y="2592"/>
                  </a:lnTo>
                  <a:lnTo>
                    <a:pt x="3486" y="2586"/>
                  </a:lnTo>
                  <a:lnTo>
                    <a:pt x="3498" y="2586"/>
                  </a:lnTo>
                  <a:lnTo>
                    <a:pt x="3504" y="2592"/>
                  </a:lnTo>
                  <a:lnTo>
                    <a:pt x="3510" y="2592"/>
                  </a:lnTo>
                  <a:lnTo>
                    <a:pt x="3510" y="2568"/>
                  </a:lnTo>
                  <a:lnTo>
                    <a:pt x="3516" y="2556"/>
                  </a:lnTo>
                  <a:lnTo>
                    <a:pt x="3528" y="2544"/>
                  </a:lnTo>
                  <a:lnTo>
                    <a:pt x="3534" y="2544"/>
                  </a:lnTo>
                  <a:lnTo>
                    <a:pt x="3546" y="2532"/>
                  </a:lnTo>
                  <a:lnTo>
                    <a:pt x="3546" y="2508"/>
                  </a:lnTo>
                  <a:lnTo>
                    <a:pt x="3588" y="2484"/>
                  </a:lnTo>
                  <a:lnTo>
                    <a:pt x="3594" y="2472"/>
                  </a:lnTo>
                  <a:lnTo>
                    <a:pt x="3618" y="2448"/>
                  </a:lnTo>
                  <a:lnTo>
                    <a:pt x="3630" y="2448"/>
                  </a:lnTo>
                  <a:lnTo>
                    <a:pt x="3636" y="2454"/>
                  </a:lnTo>
                  <a:lnTo>
                    <a:pt x="3636" y="2460"/>
                  </a:lnTo>
                  <a:lnTo>
                    <a:pt x="3642" y="2466"/>
                  </a:lnTo>
                  <a:lnTo>
                    <a:pt x="3654" y="2466"/>
                  </a:lnTo>
                  <a:lnTo>
                    <a:pt x="3666" y="2460"/>
                  </a:lnTo>
                  <a:lnTo>
                    <a:pt x="3702" y="2460"/>
                  </a:lnTo>
                  <a:lnTo>
                    <a:pt x="3708" y="2466"/>
                  </a:lnTo>
                  <a:lnTo>
                    <a:pt x="3708" y="2472"/>
                  </a:lnTo>
                  <a:lnTo>
                    <a:pt x="3702" y="2496"/>
                  </a:lnTo>
                  <a:lnTo>
                    <a:pt x="3690" y="2520"/>
                  </a:lnTo>
                  <a:lnTo>
                    <a:pt x="3678" y="2550"/>
                  </a:lnTo>
                  <a:lnTo>
                    <a:pt x="3666" y="2574"/>
                  </a:lnTo>
                  <a:lnTo>
                    <a:pt x="3666" y="2586"/>
                  </a:lnTo>
                  <a:lnTo>
                    <a:pt x="3672" y="2592"/>
                  </a:lnTo>
                  <a:lnTo>
                    <a:pt x="3678" y="2592"/>
                  </a:lnTo>
                  <a:lnTo>
                    <a:pt x="3684" y="2598"/>
                  </a:lnTo>
                  <a:lnTo>
                    <a:pt x="3672" y="2610"/>
                  </a:lnTo>
                  <a:lnTo>
                    <a:pt x="3666" y="2622"/>
                  </a:lnTo>
                  <a:lnTo>
                    <a:pt x="3666" y="2628"/>
                  </a:lnTo>
                  <a:lnTo>
                    <a:pt x="3690" y="2628"/>
                  </a:lnTo>
                  <a:lnTo>
                    <a:pt x="3690" y="2634"/>
                  </a:lnTo>
                  <a:lnTo>
                    <a:pt x="3696" y="2640"/>
                  </a:lnTo>
                  <a:lnTo>
                    <a:pt x="3714" y="2640"/>
                  </a:lnTo>
                  <a:lnTo>
                    <a:pt x="3750" y="2622"/>
                  </a:lnTo>
                  <a:lnTo>
                    <a:pt x="3768" y="2604"/>
                  </a:lnTo>
                  <a:lnTo>
                    <a:pt x="3780" y="2622"/>
                  </a:lnTo>
                  <a:lnTo>
                    <a:pt x="3786" y="2622"/>
                  </a:lnTo>
                  <a:lnTo>
                    <a:pt x="3792" y="2616"/>
                  </a:lnTo>
                  <a:lnTo>
                    <a:pt x="3816" y="2604"/>
                  </a:lnTo>
                  <a:lnTo>
                    <a:pt x="3828" y="2604"/>
                  </a:lnTo>
                  <a:lnTo>
                    <a:pt x="3840" y="2592"/>
                  </a:lnTo>
                  <a:lnTo>
                    <a:pt x="3852" y="2592"/>
                  </a:lnTo>
                  <a:lnTo>
                    <a:pt x="3864" y="2580"/>
                  </a:lnTo>
                  <a:lnTo>
                    <a:pt x="3870" y="2580"/>
                  </a:lnTo>
                  <a:lnTo>
                    <a:pt x="3888" y="2586"/>
                  </a:lnTo>
                  <a:lnTo>
                    <a:pt x="3846" y="2616"/>
                  </a:lnTo>
                  <a:lnTo>
                    <a:pt x="3936" y="2610"/>
                  </a:lnTo>
                  <a:lnTo>
                    <a:pt x="3918" y="2610"/>
                  </a:lnTo>
                  <a:lnTo>
                    <a:pt x="3906" y="2616"/>
                  </a:lnTo>
                  <a:lnTo>
                    <a:pt x="3894" y="2616"/>
                  </a:lnTo>
                  <a:lnTo>
                    <a:pt x="3888" y="2622"/>
                  </a:lnTo>
                  <a:lnTo>
                    <a:pt x="3888" y="2634"/>
                  </a:lnTo>
                  <a:lnTo>
                    <a:pt x="3882" y="2640"/>
                  </a:lnTo>
                  <a:lnTo>
                    <a:pt x="3876" y="2640"/>
                  </a:lnTo>
                  <a:lnTo>
                    <a:pt x="3870" y="2634"/>
                  </a:lnTo>
                  <a:lnTo>
                    <a:pt x="3864" y="2634"/>
                  </a:lnTo>
                  <a:lnTo>
                    <a:pt x="3852" y="2628"/>
                  </a:lnTo>
                  <a:lnTo>
                    <a:pt x="3846" y="2628"/>
                  </a:lnTo>
                  <a:lnTo>
                    <a:pt x="3828" y="2634"/>
                  </a:lnTo>
                  <a:lnTo>
                    <a:pt x="3738" y="2688"/>
                  </a:lnTo>
                  <a:lnTo>
                    <a:pt x="3726" y="2700"/>
                  </a:lnTo>
                  <a:lnTo>
                    <a:pt x="3720" y="2712"/>
                  </a:lnTo>
                  <a:lnTo>
                    <a:pt x="3720" y="2748"/>
                  </a:lnTo>
                  <a:lnTo>
                    <a:pt x="3726" y="2748"/>
                  </a:lnTo>
                  <a:lnTo>
                    <a:pt x="3732" y="2742"/>
                  </a:lnTo>
                  <a:lnTo>
                    <a:pt x="3738" y="2742"/>
                  </a:lnTo>
                  <a:lnTo>
                    <a:pt x="3738" y="2754"/>
                  </a:lnTo>
                  <a:lnTo>
                    <a:pt x="3744" y="2760"/>
                  </a:lnTo>
                  <a:lnTo>
                    <a:pt x="3756" y="2760"/>
                  </a:lnTo>
                  <a:lnTo>
                    <a:pt x="3762" y="2754"/>
                  </a:lnTo>
                  <a:lnTo>
                    <a:pt x="3768" y="2742"/>
                  </a:lnTo>
                  <a:lnTo>
                    <a:pt x="3774" y="2736"/>
                  </a:lnTo>
                  <a:lnTo>
                    <a:pt x="3786" y="2736"/>
                  </a:lnTo>
                  <a:lnTo>
                    <a:pt x="3804" y="2730"/>
                  </a:lnTo>
                  <a:lnTo>
                    <a:pt x="3816" y="2724"/>
                  </a:lnTo>
                  <a:lnTo>
                    <a:pt x="3834" y="2718"/>
                  </a:lnTo>
                  <a:lnTo>
                    <a:pt x="3846" y="2706"/>
                  </a:lnTo>
                  <a:lnTo>
                    <a:pt x="3852" y="2694"/>
                  </a:lnTo>
                  <a:lnTo>
                    <a:pt x="3870" y="2676"/>
                  </a:lnTo>
                  <a:lnTo>
                    <a:pt x="3876" y="2664"/>
                  </a:lnTo>
                  <a:lnTo>
                    <a:pt x="3876" y="2670"/>
                  </a:lnTo>
                  <a:lnTo>
                    <a:pt x="3882" y="2682"/>
                  </a:lnTo>
                  <a:lnTo>
                    <a:pt x="3888" y="2688"/>
                  </a:lnTo>
                  <a:lnTo>
                    <a:pt x="3894" y="2688"/>
                  </a:lnTo>
                  <a:lnTo>
                    <a:pt x="3930" y="2676"/>
                  </a:lnTo>
                  <a:lnTo>
                    <a:pt x="3954" y="2664"/>
                  </a:lnTo>
                  <a:lnTo>
                    <a:pt x="3972" y="2658"/>
                  </a:lnTo>
                  <a:lnTo>
                    <a:pt x="3984" y="2652"/>
                  </a:lnTo>
                  <a:lnTo>
                    <a:pt x="4008" y="2646"/>
                  </a:lnTo>
                  <a:lnTo>
                    <a:pt x="4068" y="2634"/>
                  </a:lnTo>
                  <a:lnTo>
                    <a:pt x="4080" y="2628"/>
                  </a:lnTo>
                  <a:lnTo>
                    <a:pt x="4068" y="2616"/>
                  </a:lnTo>
                  <a:lnTo>
                    <a:pt x="4074" y="2598"/>
                  </a:lnTo>
                  <a:lnTo>
                    <a:pt x="4038" y="2604"/>
                  </a:lnTo>
                  <a:lnTo>
                    <a:pt x="4038" y="2580"/>
                  </a:lnTo>
                  <a:lnTo>
                    <a:pt x="4026" y="2586"/>
                  </a:lnTo>
                  <a:lnTo>
                    <a:pt x="4020" y="2586"/>
                  </a:lnTo>
                  <a:lnTo>
                    <a:pt x="4008" y="2592"/>
                  </a:lnTo>
                  <a:lnTo>
                    <a:pt x="4002" y="2598"/>
                  </a:lnTo>
                  <a:lnTo>
                    <a:pt x="3990" y="2598"/>
                  </a:lnTo>
                  <a:lnTo>
                    <a:pt x="3990" y="2580"/>
                  </a:lnTo>
                  <a:lnTo>
                    <a:pt x="3930" y="2580"/>
                  </a:lnTo>
                  <a:lnTo>
                    <a:pt x="3924" y="2574"/>
                  </a:lnTo>
                  <a:lnTo>
                    <a:pt x="3924" y="2568"/>
                  </a:lnTo>
                  <a:lnTo>
                    <a:pt x="3918" y="2562"/>
                  </a:lnTo>
                  <a:lnTo>
                    <a:pt x="3918" y="2556"/>
                  </a:lnTo>
                  <a:lnTo>
                    <a:pt x="3930" y="2556"/>
                  </a:lnTo>
                  <a:lnTo>
                    <a:pt x="3918" y="2544"/>
                  </a:lnTo>
                  <a:lnTo>
                    <a:pt x="3888" y="2544"/>
                  </a:lnTo>
                  <a:lnTo>
                    <a:pt x="3882" y="2532"/>
                  </a:lnTo>
                  <a:lnTo>
                    <a:pt x="3882" y="2526"/>
                  </a:lnTo>
                  <a:lnTo>
                    <a:pt x="3876" y="2514"/>
                  </a:lnTo>
                  <a:lnTo>
                    <a:pt x="3876" y="2502"/>
                  </a:lnTo>
                  <a:lnTo>
                    <a:pt x="3894" y="2484"/>
                  </a:lnTo>
                  <a:lnTo>
                    <a:pt x="3870" y="2484"/>
                  </a:lnTo>
                  <a:lnTo>
                    <a:pt x="3876" y="2478"/>
                  </a:lnTo>
                  <a:lnTo>
                    <a:pt x="3888" y="2472"/>
                  </a:lnTo>
                  <a:lnTo>
                    <a:pt x="3894" y="2460"/>
                  </a:lnTo>
                  <a:lnTo>
                    <a:pt x="3906" y="2454"/>
                  </a:lnTo>
                  <a:lnTo>
                    <a:pt x="3918" y="2442"/>
                  </a:lnTo>
                  <a:lnTo>
                    <a:pt x="3924" y="2430"/>
                  </a:lnTo>
                  <a:lnTo>
                    <a:pt x="3936" y="2424"/>
                  </a:lnTo>
                  <a:lnTo>
                    <a:pt x="3942" y="2412"/>
                  </a:lnTo>
                  <a:lnTo>
                    <a:pt x="3948" y="2406"/>
                  </a:lnTo>
                  <a:lnTo>
                    <a:pt x="3936" y="2400"/>
                  </a:lnTo>
                  <a:lnTo>
                    <a:pt x="3912" y="2430"/>
                  </a:lnTo>
                  <a:lnTo>
                    <a:pt x="3894" y="2418"/>
                  </a:lnTo>
                  <a:lnTo>
                    <a:pt x="3864" y="2436"/>
                  </a:lnTo>
                  <a:lnTo>
                    <a:pt x="3858" y="2418"/>
                  </a:lnTo>
                  <a:lnTo>
                    <a:pt x="3828" y="2406"/>
                  </a:lnTo>
                  <a:lnTo>
                    <a:pt x="3810" y="2412"/>
                  </a:lnTo>
                  <a:lnTo>
                    <a:pt x="3864" y="2394"/>
                  </a:lnTo>
                  <a:lnTo>
                    <a:pt x="3870" y="2400"/>
                  </a:lnTo>
                  <a:lnTo>
                    <a:pt x="3882" y="2406"/>
                  </a:lnTo>
                  <a:lnTo>
                    <a:pt x="3900" y="2406"/>
                  </a:lnTo>
                  <a:lnTo>
                    <a:pt x="3918" y="2388"/>
                  </a:lnTo>
                  <a:lnTo>
                    <a:pt x="3930" y="2382"/>
                  </a:lnTo>
                  <a:lnTo>
                    <a:pt x="3936" y="2376"/>
                  </a:lnTo>
                  <a:lnTo>
                    <a:pt x="3978" y="2376"/>
                  </a:lnTo>
                  <a:lnTo>
                    <a:pt x="3978" y="2364"/>
                  </a:lnTo>
                  <a:lnTo>
                    <a:pt x="3972" y="2358"/>
                  </a:lnTo>
                  <a:lnTo>
                    <a:pt x="3966" y="2346"/>
                  </a:lnTo>
                  <a:lnTo>
                    <a:pt x="3990" y="2346"/>
                  </a:lnTo>
                  <a:lnTo>
                    <a:pt x="3978" y="2334"/>
                  </a:lnTo>
                  <a:lnTo>
                    <a:pt x="3972" y="2322"/>
                  </a:lnTo>
                  <a:lnTo>
                    <a:pt x="3960" y="2316"/>
                  </a:lnTo>
                  <a:lnTo>
                    <a:pt x="3942" y="2310"/>
                  </a:lnTo>
                  <a:lnTo>
                    <a:pt x="3918" y="2310"/>
                  </a:lnTo>
                  <a:lnTo>
                    <a:pt x="3852" y="2316"/>
                  </a:lnTo>
                  <a:lnTo>
                    <a:pt x="3792" y="2334"/>
                  </a:lnTo>
                  <a:lnTo>
                    <a:pt x="3744" y="2352"/>
                  </a:lnTo>
                  <a:lnTo>
                    <a:pt x="3684" y="2376"/>
                  </a:lnTo>
                  <a:lnTo>
                    <a:pt x="3660" y="2388"/>
                  </a:lnTo>
                  <a:lnTo>
                    <a:pt x="3642" y="2400"/>
                  </a:lnTo>
                  <a:lnTo>
                    <a:pt x="3624" y="2418"/>
                  </a:lnTo>
                  <a:lnTo>
                    <a:pt x="3606" y="2430"/>
                  </a:lnTo>
                  <a:lnTo>
                    <a:pt x="3594" y="2442"/>
                  </a:lnTo>
                  <a:lnTo>
                    <a:pt x="3576" y="2454"/>
                  </a:lnTo>
                  <a:lnTo>
                    <a:pt x="3564" y="2466"/>
                  </a:lnTo>
                  <a:lnTo>
                    <a:pt x="3528" y="2484"/>
                  </a:lnTo>
                  <a:lnTo>
                    <a:pt x="3516" y="2484"/>
                  </a:lnTo>
                  <a:lnTo>
                    <a:pt x="3498" y="2490"/>
                  </a:lnTo>
                  <a:lnTo>
                    <a:pt x="3486" y="2490"/>
                  </a:lnTo>
                  <a:lnTo>
                    <a:pt x="3492" y="2490"/>
                  </a:lnTo>
                  <a:lnTo>
                    <a:pt x="3498" y="2484"/>
                  </a:lnTo>
                  <a:lnTo>
                    <a:pt x="3510" y="2478"/>
                  </a:lnTo>
                  <a:lnTo>
                    <a:pt x="3522" y="2466"/>
                  </a:lnTo>
                  <a:lnTo>
                    <a:pt x="3540" y="2460"/>
                  </a:lnTo>
                  <a:lnTo>
                    <a:pt x="3552" y="2448"/>
                  </a:lnTo>
                  <a:lnTo>
                    <a:pt x="3576" y="2436"/>
                  </a:lnTo>
                  <a:lnTo>
                    <a:pt x="3600" y="2412"/>
                  </a:lnTo>
                  <a:lnTo>
                    <a:pt x="3606" y="2400"/>
                  </a:lnTo>
                  <a:lnTo>
                    <a:pt x="3582" y="2388"/>
                  </a:lnTo>
                  <a:lnTo>
                    <a:pt x="3588" y="2388"/>
                  </a:lnTo>
                  <a:lnTo>
                    <a:pt x="3594" y="2394"/>
                  </a:lnTo>
                  <a:lnTo>
                    <a:pt x="3624" y="2394"/>
                  </a:lnTo>
                  <a:lnTo>
                    <a:pt x="3642" y="2382"/>
                  </a:lnTo>
                  <a:lnTo>
                    <a:pt x="3702" y="2334"/>
                  </a:lnTo>
                  <a:lnTo>
                    <a:pt x="3750" y="2310"/>
                  </a:lnTo>
                  <a:lnTo>
                    <a:pt x="3768" y="2304"/>
                  </a:lnTo>
                  <a:lnTo>
                    <a:pt x="3804" y="2304"/>
                  </a:lnTo>
                  <a:lnTo>
                    <a:pt x="3852" y="2256"/>
                  </a:lnTo>
                  <a:lnTo>
                    <a:pt x="3870" y="2244"/>
                  </a:lnTo>
                  <a:lnTo>
                    <a:pt x="3888" y="2238"/>
                  </a:lnTo>
                  <a:lnTo>
                    <a:pt x="3936" y="2232"/>
                  </a:lnTo>
                  <a:lnTo>
                    <a:pt x="3990" y="2232"/>
                  </a:lnTo>
                  <a:lnTo>
                    <a:pt x="4044" y="2226"/>
                  </a:lnTo>
                  <a:lnTo>
                    <a:pt x="4074" y="2226"/>
                  </a:lnTo>
                  <a:lnTo>
                    <a:pt x="4104" y="2232"/>
                  </a:lnTo>
                  <a:lnTo>
                    <a:pt x="4176" y="2244"/>
                  </a:lnTo>
                  <a:lnTo>
                    <a:pt x="4200" y="2250"/>
                  </a:lnTo>
                  <a:lnTo>
                    <a:pt x="4212" y="2244"/>
                  </a:lnTo>
                  <a:lnTo>
                    <a:pt x="4248" y="2232"/>
                  </a:lnTo>
                  <a:lnTo>
                    <a:pt x="4260" y="2226"/>
                  </a:lnTo>
                  <a:lnTo>
                    <a:pt x="4278" y="2226"/>
                  </a:lnTo>
                  <a:lnTo>
                    <a:pt x="4296" y="2220"/>
                  </a:lnTo>
                  <a:lnTo>
                    <a:pt x="4320" y="2214"/>
                  </a:lnTo>
                  <a:lnTo>
                    <a:pt x="4338" y="2208"/>
                  </a:lnTo>
                  <a:lnTo>
                    <a:pt x="4374" y="2172"/>
                  </a:lnTo>
                  <a:lnTo>
                    <a:pt x="4392" y="2166"/>
                  </a:lnTo>
                  <a:lnTo>
                    <a:pt x="4404" y="2154"/>
                  </a:lnTo>
                  <a:lnTo>
                    <a:pt x="4410" y="2154"/>
                  </a:lnTo>
                  <a:lnTo>
                    <a:pt x="4422" y="2148"/>
                  </a:lnTo>
                  <a:lnTo>
                    <a:pt x="4452" y="2148"/>
                  </a:lnTo>
                  <a:lnTo>
                    <a:pt x="4458" y="2142"/>
                  </a:lnTo>
                  <a:lnTo>
                    <a:pt x="4470" y="2136"/>
                  </a:lnTo>
                  <a:lnTo>
                    <a:pt x="4476" y="2130"/>
                  </a:lnTo>
                  <a:lnTo>
                    <a:pt x="4494" y="2130"/>
                  </a:lnTo>
                  <a:lnTo>
                    <a:pt x="4500" y="2136"/>
                  </a:lnTo>
                  <a:lnTo>
                    <a:pt x="4518" y="2136"/>
                  </a:lnTo>
                  <a:lnTo>
                    <a:pt x="4530" y="2130"/>
                  </a:lnTo>
                  <a:lnTo>
                    <a:pt x="4536" y="2130"/>
                  </a:lnTo>
                  <a:lnTo>
                    <a:pt x="4542" y="2124"/>
                  </a:lnTo>
                  <a:lnTo>
                    <a:pt x="4596" y="2106"/>
                  </a:lnTo>
                  <a:lnTo>
                    <a:pt x="4620" y="2094"/>
                  </a:lnTo>
                  <a:lnTo>
                    <a:pt x="4620" y="2088"/>
                  </a:lnTo>
                  <a:lnTo>
                    <a:pt x="4614" y="2076"/>
                  </a:lnTo>
                  <a:lnTo>
                    <a:pt x="4602" y="2070"/>
                  </a:lnTo>
                  <a:lnTo>
                    <a:pt x="4584" y="2052"/>
                  </a:lnTo>
                  <a:lnTo>
                    <a:pt x="4578" y="2052"/>
                  </a:lnTo>
                  <a:lnTo>
                    <a:pt x="4602" y="2052"/>
                  </a:lnTo>
                  <a:lnTo>
                    <a:pt x="4614" y="2046"/>
                  </a:lnTo>
                  <a:lnTo>
                    <a:pt x="4614" y="2028"/>
                  </a:lnTo>
                  <a:lnTo>
                    <a:pt x="4608" y="2022"/>
                  </a:lnTo>
                  <a:lnTo>
                    <a:pt x="4608" y="2010"/>
                  </a:lnTo>
                  <a:lnTo>
                    <a:pt x="4632" y="2010"/>
                  </a:lnTo>
                  <a:lnTo>
                    <a:pt x="4644" y="1998"/>
                  </a:lnTo>
                  <a:lnTo>
                    <a:pt x="4644" y="1992"/>
                  </a:lnTo>
                  <a:lnTo>
                    <a:pt x="4632" y="1980"/>
                  </a:lnTo>
                  <a:lnTo>
                    <a:pt x="4626" y="1968"/>
                  </a:lnTo>
                  <a:lnTo>
                    <a:pt x="4608" y="1962"/>
                  </a:lnTo>
                  <a:lnTo>
                    <a:pt x="4602" y="1956"/>
                  </a:lnTo>
                  <a:lnTo>
                    <a:pt x="4590" y="196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35" name="Kamerun" descr="© INSCALE GmbH, 05.05.2010&#10;http://www.presentationload.com/">
              <a:extLst>
                <a:ext uri="{FF2B5EF4-FFF2-40B4-BE49-F238E27FC236}">
                  <a16:creationId xmlns:a16="http://schemas.microsoft.com/office/drawing/2014/main" id="{FB9B9944-0B96-42D5-A80A-F40E52E7533D}"/>
                </a:ext>
              </a:extLst>
            </p:cNvPr>
            <p:cNvSpPr>
              <a:spLocks/>
            </p:cNvSpPr>
            <p:nvPr/>
          </p:nvSpPr>
          <p:spPr bwMode="gray">
            <a:xfrm>
              <a:off x="4370835" y="3830832"/>
              <a:ext cx="216387" cy="368486"/>
            </a:xfrm>
            <a:custGeom>
              <a:avLst/>
              <a:gdLst>
                <a:gd name="T0" fmla="*/ 2147483647 w 546"/>
                <a:gd name="T1" fmla="*/ 0 h 924"/>
                <a:gd name="T2" fmla="*/ 2147483647 w 546"/>
                <a:gd name="T3" fmla="*/ 2147483647 h 924"/>
                <a:gd name="T4" fmla="*/ 2147483647 w 546"/>
                <a:gd name="T5" fmla="*/ 2147483647 h 924"/>
                <a:gd name="T6" fmla="*/ 2147483647 w 546"/>
                <a:gd name="T7" fmla="*/ 2147483647 h 924"/>
                <a:gd name="T8" fmla="*/ 2147483647 w 546"/>
                <a:gd name="T9" fmla="*/ 2147483647 h 924"/>
                <a:gd name="T10" fmla="*/ 2147483647 w 546"/>
                <a:gd name="T11" fmla="*/ 2147483647 h 924"/>
                <a:gd name="T12" fmla="*/ 2147483647 w 546"/>
                <a:gd name="T13" fmla="*/ 2147483647 h 924"/>
                <a:gd name="T14" fmla="*/ 2147483647 w 546"/>
                <a:gd name="T15" fmla="*/ 2147483647 h 924"/>
                <a:gd name="T16" fmla="*/ 2147483647 w 546"/>
                <a:gd name="T17" fmla="*/ 2147483647 h 924"/>
                <a:gd name="T18" fmla="*/ 2147483647 w 546"/>
                <a:gd name="T19" fmla="*/ 2147483647 h 924"/>
                <a:gd name="T20" fmla="*/ 2147483647 w 546"/>
                <a:gd name="T21" fmla="*/ 2147483647 h 924"/>
                <a:gd name="T22" fmla="*/ 2147483647 w 546"/>
                <a:gd name="T23" fmla="*/ 2147483647 h 924"/>
                <a:gd name="T24" fmla="*/ 2147483647 w 546"/>
                <a:gd name="T25" fmla="*/ 2147483647 h 924"/>
                <a:gd name="T26" fmla="*/ 2147483647 w 546"/>
                <a:gd name="T27" fmla="*/ 2147483647 h 924"/>
                <a:gd name="T28" fmla="*/ 2147483647 w 546"/>
                <a:gd name="T29" fmla="*/ 2147483647 h 924"/>
                <a:gd name="T30" fmla="*/ 2147483647 w 546"/>
                <a:gd name="T31" fmla="*/ 2147483647 h 924"/>
                <a:gd name="T32" fmla="*/ 2147483647 w 546"/>
                <a:gd name="T33" fmla="*/ 2147483647 h 924"/>
                <a:gd name="T34" fmla="*/ 2147483647 w 546"/>
                <a:gd name="T35" fmla="*/ 2147483647 h 924"/>
                <a:gd name="T36" fmla="*/ 2147483647 w 546"/>
                <a:gd name="T37" fmla="*/ 2147483647 h 924"/>
                <a:gd name="T38" fmla="*/ 2147483647 w 546"/>
                <a:gd name="T39" fmla="*/ 2147483647 h 924"/>
                <a:gd name="T40" fmla="*/ 2147483647 w 546"/>
                <a:gd name="T41" fmla="*/ 2147483647 h 924"/>
                <a:gd name="T42" fmla="*/ 2147483647 w 546"/>
                <a:gd name="T43" fmla="*/ 2147483647 h 924"/>
                <a:gd name="T44" fmla="*/ 2147483647 w 546"/>
                <a:gd name="T45" fmla="*/ 2147483647 h 924"/>
                <a:gd name="T46" fmla="*/ 2147483647 w 546"/>
                <a:gd name="T47" fmla="*/ 2147483647 h 924"/>
                <a:gd name="T48" fmla="*/ 2147483647 w 546"/>
                <a:gd name="T49" fmla="*/ 2147483647 h 924"/>
                <a:gd name="T50" fmla="*/ 2147483647 w 546"/>
                <a:gd name="T51" fmla="*/ 2147483647 h 924"/>
                <a:gd name="T52" fmla="*/ 2147483647 w 546"/>
                <a:gd name="T53" fmla="*/ 2147483647 h 924"/>
                <a:gd name="T54" fmla="*/ 2147483647 w 546"/>
                <a:gd name="T55" fmla="*/ 2147483647 h 924"/>
                <a:gd name="T56" fmla="*/ 2147483647 w 546"/>
                <a:gd name="T57" fmla="*/ 2147483647 h 924"/>
                <a:gd name="T58" fmla="*/ 2147483647 w 546"/>
                <a:gd name="T59" fmla="*/ 2147483647 h 924"/>
                <a:gd name="T60" fmla="*/ 2147483647 w 546"/>
                <a:gd name="T61" fmla="*/ 2147483647 h 924"/>
                <a:gd name="T62" fmla="*/ 2147483647 w 546"/>
                <a:gd name="T63" fmla="*/ 2147483647 h 924"/>
                <a:gd name="T64" fmla="*/ 2147483647 w 546"/>
                <a:gd name="T65" fmla="*/ 2147483647 h 924"/>
                <a:gd name="T66" fmla="*/ 2147483647 w 546"/>
                <a:gd name="T67" fmla="*/ 2147483647 h 924"/>
                <a:gd name="T68" fmla="*/ 2147483647 w 546"/>
                <a:gd name="T69" fmla="*/ 2147483647 h 924"/>
                <a:gd name="T70" fmla="*/ 2147483647 w 546"/>
                <a:gd name="T71" fmla="*/ 2147483647 h 924"/>
                <a:gd name="T72" fmla="*/ 2147483647 w 546"/>
                <a:gd name="T73" fmla="*/ 2147483647 h 924"/>
                <a:gd name="T74" fmla="*/ 2147483647 w 546"/>
                <a:gd name="T75" fmla="*/ 2147483647 h 924"/>
                <a:gd name="T76" fmla="*/ 2147483647 w 546"/>
                <a:gd name="T77" fmla="*/ 2147483647 h 924"/>
                <a:gd name="T78" fmla="*/ 2147483647 w 546"/>
                <a:gd name="T79" fmla="*/ 2147483647 h 924"/>
                <a:gd name="T80" fmla="*/ 2147483647 w 546"/>
                <a:gd name="T81" fmla="*/ 2147483647 h 924"/>
                <a:gd name="T82" fmla="*/ 2147483647 w 546"/>
                <a:gd name="T83" fmla="*/ 2147483647 h 924"/>
                <a:gd name="T84" fmla="*/ 2147483647 w 546"/>
                <a:gd name="T85" fmla="*/ 2147483647 h 924"/>
                <a:gd name="T86" fmla="*/ 2147483647 w 546"/>
                <a:gd name="T87" fmla="*/ 2147483647 h 924"/>
                <a:gd name="T88" fmla="*/ 2147483647 w 546"/>
                <a:gd name="T89" fmla="*/ 2147483647 h 924"/>
                <a:gd name="T90" fmla="*/ 2147483647 w 546"/>
                <a:gd name="T91" fmla="*/ 2147483647 h 924"/>
                <a:gd name="T92" fmla="*/ 2147483647 w 546"/>
                <a:gd name="T93" fmla="*/ 2147483647 h 924"/>
                <a:gd name="T94" fmla="*/ 2147483647 w 546"/>
                <a:gd name="T95" fmla="*/ 2147483647 h 924"/>
                <a:gd name="T96" fmla="*/ 2147483647 w 546"/>
                <a:gd name="T97" fmla="*/ 2147483647 h 924"/>
                <a:gd name="T98" fmla="*/ 2147483647 w 546"/>
                <a:gd name="T99" fmla="*/ 2147483647 h 924"/>
                <a:gd name="T100" fmla="*/ 2147483647 w 546"/>
                <a:gd name="T101" fmla="*/ 2147483647 h 924"/>
                <a:gd name="T102" fmla="*/ 2147483647 w 546"/>
                <a:gd name="T103" fmla="*/ 2147483647 h 924"/>
                <a:gd name="T104" fmla="*/ 2147483647 w 546"/>
                <a:gd name="T105" fmla="*/ 2147483647 h 924"/>
                <a:gd name="T106" fmla="*/ 2147483647 w 546"/>
                <a:gd name="T107" fmla="*/ 2147483647 h 924"/>
                <a:gd name="T108" fmla="*/ 2147483647 w 546"/>
                <a:gd name="T109" fmla="*/ 2147483647 h 924"/>
                <a:gd name="T110" fmla="*/ 2147483647 w 546"/>
                <a:gd name="T111" fmla="*/ 2147483647 h 9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46"/>
                <a:gd name="T169" fmla="*/ 0 h 924"/>
                <a:gd name="T170" fmla="*/ 546 w 546"/>
                <a:gd name="T171" fmla="*/ 924 h 9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46" h="924">
                  <a:moveTo>
                    <a:pt x="420" y="30"/>
                  </a:moveTo>
                  <a:lnTo>
                    <a:pt x="414" y="18"/>
                  </a:lnTo>
                  <a:lnTo>
                    <a:pt x="414" y="0"/>
                  </a:lnTo>
                  <a:lnTo>
                    <a:pt x="390" y="6"/>
                  </a:lnTo>
                  <a:lnTo>
                    <a:pt x="390" y="54"/>
                  </a:lnTo>
                  <a:lnTo>
                    <a:pt x="396" y="60"/>
                  </a:lnTo>
                  <a:lnTo>
                    <a:pt x="396" y="66"/>
                  </a:lnTo>
                  <a:lnTo>
                    <a:pt x="426" y="66"/>
                  </a:lnTo>
                  <a:lnTo>
                    <a:pt x="426" y="96"/>
                  </a:lnTo>
                  <a:lnTo>
                    <a:pt x="420" y="102"/>
                  </a:lnTo>
                  <a:lnTo>
                    <a:pt x="420" y="108"/>
                  </a:lnTo>
                  <a:lnTo>
                    <a:pt x="426" y="114"/>
                  </a:lnTo>
                  <a:lnTo>
                    <a:pt x="426" y="126"/>
                  </a:lnTo>
                  <a:lnTo>
                    <a:pt x="408" y="144"/>
                  </a:lnTo>
                  <a:lnTo>
                    <a:pt x="396" y="150"/>
                  </a:lnTo>
                  <a:lnTo>
                    <a:pt x="384" y="150"/>
                  </a:lnTo>
                  <a:lnTo>
                    <a:pt x="384" y="156"/>
                  </a:lnTo>
                  <a:lnTo>
                    <a:pt x="378" y="162"/>
                  </a:lnTo>
                  <a:lnTo>
                    <a:pt x="378" y="168"/>
                  </a:lnTo>
                  <a:lnTo>
                    <a:pt x="372" y="174"/>
                  </a:lnTo>
                  <a:lnTo>
                    <a:pt x="372" y="180"/>
                  </a:lnTo>
                  <a:lnTo>
                    <a:pt x="360" y="192"/>
                  </a:lnTo>
                  <a:lnTo>
                    <a:pt x="354" y="204"/>
                  </a:lnTo>
                  <a:lnTo>
                    <a:pt x="348" y="234"/>
                  </a:lnTo>
                  <a:lnTo>
                    <a:pt x="342" y="240"/>
                  </a:lnTo>
                  <a:lnTo>
                    <a:pt x="342" y="270"/>
                  </a:lnTo>
                  <a:lnTo>
                    <a:pt x="336" y="288"/>
                  </a:lnTo>
                  <a:lnTo>
                    <a:pt x="330" y="294"/>
                  </a:lnTo>
                  <a:lnTo>
                    <a:pt x="312" y="294"/>
                  </a:lnTo>
                  <a:lnTo>
                    <a:pt x="312" y="324"/>
                  </a:lnTo>
                  <a:lnTo>
                    <a:pt x="306" y="342"/>
                  </a:lnTo>
                  <a:lnTo>
                    <a:pt x="306" y="354"/>
                  </a:lnTo>
                  <a:lnTo>
                    <a:pt x="300" y="360"/>
                  </a:lnTo>
                  <a:lnTo>
                    <a:pt x="288" y="366"/>
                  </a:lnTo>
                  <a:lnTo>
                    <a:pt x="282" y="372"/>
                  </a:lnTo>
                  <a:lnTo>
                    <a:pt x="270" y="378"/>
                  </a:lnTo>
                  <a:lnTo>
                    <a:pt x="258" y="426"/>
                  </a:lnTo>
                  <a:lnTo>
                    <a:pt x="234" y="456"/>
                  </a:lnTo>
                  <a:lnTo>
                    <a:pt x="234" y="486"/>
                  </a:lnTo>
                  <a:lnTo>
                    <a:pt x="228" y="492"/>
                  </a:lnTo>
                  <a:lnTo>
                    <a:pt x="216" y="498"/>
                  </a:lnTo>
                  <a:lnTo>
                    <a:pt x="210" y="510"/>
                  </a:lnTo>
                  <a:lnTo>
                    <a:pt x="210" y="522"/>
                  </a:lnTo>
                  <a:lnTo>
                    <a:pt x="192" y="540"/>
                  </a:lnTo>
                  <a:lnTo>
                    <a:pt x="186" y="540"/>
                  </a:lnTo>
                  <a:lnTo>
                    <a:pt x="180" y="534"/>
                  </a:lnTo>
                  <a:lnTo>
                    <a:pt x="174" y="522"/>
                  </a:lnTo>
                  <a:lnTo>
                    <a:pt x="174" y="516"/>
                  </a:lnTo>
                  <a:lnTo>
                    <a:pt x="168" y="504"/>
                  </a:lnTo>
                  <a:lnTo>
                    <a:pt x="156" y="492"/>
                  </a:lnTo>
                  <a:lnTo>
                    <a:pt x="150" y="480"/>
                  </a:lnTo>
                  <a:lnTo>
                    <a:pt x="138" y="480"/>
                  </a:lnTo>
                  <a:lnTo>
                    <a:pt x="144" y="486"/>
                  </a:lnTo>
                  <a:lnTo>
                    <a:pt x="144" y="498"/>
                  </a:lnTo>
                  <a:lnTo>
                    <a:pt x="138" y="504"/>
                  </a:lnTo>
                  <a:lnTo>
                    <a:pt x="132" y="504"/>
                  </a:lnTo>
                  <a:lnTo>
                    <a:pt x="120" y="498"/>
                  </a:lnTo>
                  <a:lnTo>
                    <a:pt x="114" y="492"/>
                  </a:lnTo>
                  <a:lnTo>
                    <a:pt x="108" y="492"/>
                  </a:lnTo>
                  <a:lnTo>
                    <a:pt x="102" y="498"/>
                  </a:lnTo>
                  <a:lnTo>
                    <a:pt x="90" y="522"/>
                  </a:lnTo>
                  <a:lnTo>
                    <a:pt x="84" y="528"/>
                  </a:lnTo>
                  <a:lnTo>
                    <a:pt x="84" y="534"/>
                  </a:lnTo>
                  <a:lnTo>
                    <a:pt x="18" y="588"/>
                  </a:lnTo>
                  <a:lnTo>
                    <a:pt x="18" y="642"/>
                  </a:lnTo>
                  <a:lnTo>
                    <a:pt x="12" y="654"/>
                  </a:lnTo>
                  <a:lnTo>
                    <a:pt x="12" y="666"/>
                  </a:lnTo>
                  <a:lnTo>
                    <a:pt x="6" y="672"/>
                  </a:lnTo>
                  <a:lnTo>
                    <a:pt x="6" y="678"/>
                  </a:lnTo>
                  <a:lnTo>
                    <a:pt x="0" y="690"/>
                  </a:lnTo>
                  <a:lnTo>
                    <a:pt x="24" y="684"/>
                  </a:lnTo>
                  <a:lnTo>
                    <a:pt x="24" y="708"/>
                  </a:lnTo>
                  <a:lnTo>
                    <a:pt x="36" y="732"/>
                  </a:lnTo>
                  <a:lnTo>
                    <a:pt x="60" y="744"/>
                  </a:lnTo>
                  <a:lnTo>
                    <a:pt x="66" y="750"/>
                  </a:lnTo>
                  <a:lnTo>
                    <a:pt x="84" y="726"/>
                  </a:lnTo>
                  <a:lnTo>
                    <a:pt x="66" y="756"/>
                  </a:lnTo>
                  <a:lnTo>
                    <a:pt x="84" y="786"/>
                  </a:lnTo>
                  <a:lnTo>
                    <a:pt x="102" y="792"/>
                  </a:lnTo>
                  <a:lnTo>
                    <a:pt x="102" y="840"/>
                  </a:lnTo>
                  <a:lnTo>
                    <a:pt x="90" y="840"/>
                  </a:lnTo>
                  <a:lnTo>
                    <a:pt x="90" y="870"/>
                  </a:lnTo>
                  <a:lnTo>
                    <a:pt x="102" y="882"/>
                  </a:lnTo>
                  <a:lnTo>
                    <a:pt x="198" y="882"/>
                  </a:lnTo>
                  <a:lnTo>
                    <a:pt x="216" y="864"/>
                  </a:lnTo>
                  <a:lnTo>
                    <a:pt x="228" y="882"/>
                  </a:lnTo>
                  <a:lnTo>
                    <a:pt x="258" y="882"/>
                  </a:lnTo>
                  <a:lnTo>
                    <a:pt x="270" y="870"/>
                  </a:lnTo>
                  <a:lnTo>
                    <a:pt x="276" y="870"/>
                  </a:lnTo>
                  <a:lnTo>
                    <a:pt x="288" y="876"/>
                  </a:lnTo>
                  <a:lnTo>
                    <a:pt x="294" y="876"/>
                  </a:lnTo>
                  <a:lnTo>
                    <a:pt x="342" y="870"/>
                  </a:lnTo>
                  <a:lnTo>
                    <a:pt x="342" y="888"/>
                  </a:lnTo>
                  <a:lnTo>
                    <a:pt x="372" y="888"/>
                  </a:lnTo>
                  <a:lnTo>
                    <a:pt x="390" y="882"/>
                  </a:lnTo>
                  <a:lnTo>
                    <a:pt x="438" y="882"/>
                  </a:lnTo>
                  <a:lnTo>
                    <a:pt x="450" y="888"/>
                  </a:lnTo>
                  <a:lnTo>
                    <a:pt x="456" y="894"/>
                  </a:lnTo>
                  <a:lnTo>
                    <a:pt x="468" y="894"/>
                  </a:lnTo>
                  <a:lnTo>
                    <a:pt x="474" y="900"/>
                  </a:lnTo>
                  <a:lnTo>
                    <a:pt x="510" y="900"/>
                  </a:lnTo>
                  <a:lnTo>
                    <a:pt x="534" y="924"/>
                  </a:lnTo>
                  <a:lnTo>
                    <a:pt x="540" y="882"/>
                  </a:lnTo>
                  <a:lnTo>
                    <a:pt x="546" y="876"/>
                  </a:lnTo>
                  <a:lnTo>
                    <a:pt x="534" y="864"/>
                  </a:lnTo>
                  <a:lnTo>
                    <a:pt x="534" y="834"/>
                  </a:lnTo>
                  <a:lnTo>
                    <a:pt x="528" y="816"/>
                  </a:lnTo>
                  <a:lnTo>
                    <a:pt x="516" y="810"/>
                  </a:lnTo>
                  <a:lnTo>
                    <a:pt x="510" y="798"/>
                  </a:lnTo>
                  <a:lnTo>
                    <a:pt x="498" y="792"/>
                  </a:lnTo>
                  <a:lnTo>
                    <a:pt x="486" y="780"/>
                  </a:lnTo>
                  <a:lnTo>
                    <a:pt x="474" y="756"/>
                  </a:lnTo>
                  <a:lnTo>
                    <a:pt x="468" y="750"/>
                  </a:lnTo>
                  <a:lnTo>
                    <a:pt x="468" y="708"/>
                  </a:lnTo>
                  <a:lnTo>
                    <a:pt x="462" y="708"/>
                  </a:lnTo>
                  <a:lnTo>
                    <a:pt x="444" y="690"/>
                  </a:lnTo>
                  <a:lnTo>
                    <a:pt x="438" y="690"/>
                  </a:lnTo>
                  <a:lnTo>
                    <a:pt x="438" y="642"/>
                  </a:lnTo>
                  <a:lnTo>
                    <a:pt x="420" y="630"/>
                  </a:lnTo>
                  <a:lnTo>
                    <a:pt x="432" y="618"/>
                  </a:lnTo>
                  <a:lnTo>
                    <a:pt x="432" y="582"/>
                  </a:lnTo>
                  <a:lnTo>
                    <a:pt x="426" y="582"/>
                  </a:lnTo>
                  <a:lnTo>
                    <a:pt x="414" y="576"/>
                  </a:lnTo>
                  <a:lnTo>
                    <a:pt x="414" y="570"/>
                  </a:lnTo>
                  <a:lnTo>
                    <a:pt x="426" y="558"/>
                  </a:lnTo>
                  <a:lnTo>
                    <a:pt x="438" y="552"/>
                  </a:lnTo>
                  <a:lnTo>
                    <a:pt x="444" y="546"/>
                  </a:lnTo>
                  <a:lnTo>
                    <a:pt x="450" y="546"/>
                  </a:lnTo>
                  <a:lnTo>
                    <a:pt x="456" y="510"/>
                  </a:lnTo>
                  <a:lnTo>
                    <a:pt x="462" y="510"/>
                  </a:lnTo>
                  <a:lnTo>
                    <a:pt x="468" y="498"/>
                  </a:lnTo>
                  <a:lnTo>
                    <a:pt x="468" y="480"/>
                  </a:lnTo>
                  <a:lnTo>
                    <a:pt x="474" y="474"/>
                  </a:lnTo>
                  <a:lnTo>
                    <a:pt x="480" y="462"/>
                  </a:lnTo>
                  <a:lnTo>
                    <a:pt x="492" y="450"/>
                  </a:lnTo>
                  <a:lnTo>
                    <a:pt x="498" y="450"/>
                  </a:lnTo>
                  <a:lnTo>
                    <a:pt x="498" y="438"/>
                  </a:lnTo>
                  <a:lnTo>
                    <a:pt x="492" y="420"/>
                  </a:lnTo>
                  <a:lnTo>
                    <a:pt x="486" y="408"/>
                  </a:lnTo>
                  <a:lnTo>
                    <a:pt x="486" y="390"/>
                  </a:lnTo>
                  <a:lnTo>
                    <a:pt x="474" y="366"/>
                  </a:lnTo>
                  <a:lnTo>
                    <a:pt x="462" y="354"/>
                  </a:lnTo>
                  <a:lnTo>
                    <a:pt x="450" y="348"/>
                  </a:lnTo>
                  <a:lnTo>
                    <a:pt x="432" y="336"/>
                  </a:lnTo>
                  <a:lnTo>
                    <a:pt x="420" y="324"/>
                  </a:lnTo>
                  <a:lnTo>
                    <a:pt x="414" y="312"/>
                  </a:lnTo>
                  <a:lnTo>
                    <a:pt x="402" y="300"/>
                  </a:lnTo>
                  <a:lnTo>
                    <a:pt x="390" y="276"/>
                  </a:lnTo>
                  <a:lnTo>
                    <a:pt x="390" y="264"/>
                  </a:lnTo>
                  <a:lnTo>
                    <a:pt x="396" y="258"/>
                  </a:lnTo>
                  <a:lnTo>
                    <a:pt x="408" y="252"/>
                  </a:lnTo>
                  <a:lnTo>
                    <a:pt x="504" y="252"/>
                  </a:lnTo>
                  <a:lnTo>
                    <a:pt x="486" y="234"/>
                  </a:lnTo>
                  <a:lnTo>
                    <a:pt x="480" y="222"/>
                  </a:lnTo>
                  <a:lnTo>
                    <a:pt x="468" y="216"/>
                  </a:lnTo>
                  <a:lnTo>
                    <a:pt x="462" y="204"/>
                  </a:lnTo>
                  <a:lnTo>
                    <a:pt x="462" y="186"/>
                  </a:lnTo>
                  <a:lnTo>
                    <a:pt x="456" y="168"/>
                  </a:lnTo>
                  <a:lnTo>
                    <a:pt x="456" y="132"/>
                  </a:lnTo>
                  <a:lnTo>
                    <a:pt x="462" y="132"/>
                  </a:lnTo>
                  <a:lnTo>
                    <a:pt x="462" y="96"/>
                  </a:lnTo>
                  <a:lnTo>
                    <a:pt x="456" y="84"/>
                  </a:lnTo>
                  <a:lnTo>
                    <a:pt x="444" y="78"/>
                  </a:lnTo>
                  <a:lnTo>
                    <a:pt x="450" y="42"/>
                  </a:lnTo>
                  <a:lnTo>
                    <a:pt x="444" y="42"/>
                  </a:lnTo>
                  <a:lnTo>
                    <a:pt x="438" y="36"/>
                  </a:lnTo>
                  <a:lnTo>
                    <a:pt x="426" y="36"/>
                  </a:lnTo>
                  <a:lnTo>
                    <a:pt x="420" y="3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36" name="Kambodia" descr="© INSCALE GmbH, 05.05.2010&#10;http://www.presentationload.com/">
              <a:extLst>
                <a:ext uri="{FF2B5EF4-FFF2-40B4-BE49-F238E27FC236}">
                  <a16:creationId xmlns:a16="http://schemas.microsoft.com/office/drawing/2014/main" id="{946249F0-4414-4B15-955B-D44272B6E59F}"/>
                </a:ext>
              </a:extLst>
            </p:cNvPr>
            <p:cNvSpPr>
              <a:spLocks/>
            </p:cNvSpPr>
            <p:nvPr/>
          </p:nvSpPr>
          <p:spPr bwMode="gray">
            <a:xfrm>
              <a:off x="7006681" y="3786927"/>
              <a:ext cx="150530" cy="133282"/>
            </a:xfrm>
            <a:custGeom>
              <a:avLst/>
              <a:gdLst>
                <a:gd name="T0" fmla="*/ 2147483647 w 378"/>
                <a:gd name="T1" fmla="*/ 2147483647 h 336"/>
                <a:gd name="T2" fmla="*/ 2147483647 w 378"/>
                <a:gd name="T3" fmla="*/ 2147483647 h 336"/>
                <a:gd name="T4" fmla="*/ 2147483647 w 378"/>
                <a:gd name="T5" fmla="*/ 2147483647 h 336"/>
                <a:gd name="T6" fmla="*/ 2147483647 w 378"/>
                <a:gd name="T7" fmla="*/ 2147483647 h 336"/>
                <a:gd name="T8" fmla="*/ 2147483647 w 378"/>
                <a:gd name="T9" fmla="*/ 2147483647 h 336"/>
                <a:gd name="T10" fmla="*/ 2147483647 w 378"/>
                <a:gd name="T11" fmla="*/ 2147483647 h 336"/>
                <a:gd name="T12" fmla="*/ 2147483647 w 378"/>
                <a:gd name="T13" fmla="*/ 2147483647 h 336"/>
                <a:gd name="T14" fmla="*/ 2147483647 w 378"/>
                <a:gd name="T15" fmla="*/ 2147483647 h 336"/>
                <a:gd name="T16" fmla="*/ 2147483647 w 378"/>
                <a:gd name="T17" fmla="*/ 2147483647 h 336"/>
                <a:gd name="T18" fmla="*/ 2147483647 w 378"/>
                <a:gd name="T19" fmla="*/ 2147483647 h 336"/>
                <a:gd name="T20" fmla="*/ 2147483647 w 378"/>
                <a:gd name="T21" fmla="*/ 2147483647 h 336"/>
                <a:gd name="T22" fmla="*/ 2147483647 w 378"/>
                <a:gd name="T23" fmla="*/ 2147483647 h 336"/>
                <a:gd name="T24" fmla="*/ 2147483647 w 378"/>
                <a:gd name="T25" fmla="*/ 2147483647 h 336"/>
                <a:gd name="T26" fmla="*/ 2147483647 w 378"/>
                <a:gd name="T27" fmla="*/ 2147483647 h 336"/>
                <a:gd name="T28" fmla="*/ 0 w 378"/>
                <a:gd name="T29" fmla="*/ 2147483647 h 336"/>
                <a:gd name="T30" fmla="*/ 2147483647 w 378"/>
                <a:gd name="T31" fmla="*/ 2147483647 h 336"/>
                <a:gd name="T32" fmla="*/ 2147483647 w 378"/>
                <a:gd name="T33" fmla="*/ 2147483647 h 336"/>
                <a:gd name="T34" fmla="*/ 2147483647 w 378"/>
                <a:gd name="T35" fmla="*/ 2147483647 h 336"/>
                <a:gd name="T36" fmla="*/ 2147483647 w 378"/>
                <a:gd name="T37" fmla="*/ 2147483647 h 336"/>
                <a:gd name="T38" fmla="*/ 2147483647 w 378"/>
                <a:gd name="T39" fmla="*/ 2147483647 h 336"/>
                <a:gd name="T40" fmla="*/ 2147483647 w 378"/>
                <a:gd name="T41" fmla="*/ 2147483647 h 336"/>
                <a:gd name="T42" fmla="*/ 2147483647 w 378"/>
                <a:gd name="T43" fmla="*/ 2147483647 h 336"/>
                <a:gd name="T44" fmla="*/ 2147483647 w 378"/>
                <a:gd name="T45" fmla="*/ 2147483647 h 336"/>
                <a:gd name="T46" fmla="*/ 2147483647 w 378"/>
                <a:gd name="T47" fmla="*/ 2147483647 h 336"/>
                <a:gd name="T48" fmla="*/ 2147483647 w 378"/>
                <a:gd name="T49" fmla="*/ 2147483647 h 336"/>
                <a:gd name="T50" fmla="*/ 2147483647 w 378"/>
                <a:gd name="T51" fmla="*/ 2147483647 h 336"/>
                <a:gd name="T52" fmla="*/ 2147483647 w 378"/>
                <a:gd name="T53" fmla="*/ 2147483647 h 336"/>
                <a:gd name="T54" fmla="*/ 2147483647 w 378"/>
                <a:gd name="T55" fmla="*/ 2147483647 h 336"/>
                <a:gd name="T56" fmla="*/ 2147483647 w 378"/>
                <a:gd name="T57" fmla="*/ 2147483647 h 336"/>
                <a:gd name="T58" fmla="*/ 2147483647 w 378"/>
                <a:gd name="T59" fmla="*/ 2147483647 h 336"/>
                <a:gd name="T60" fmla="*/ 2147483647 w 378"/>
                <a:gd name="T61" fmla="*/ 2147483647 h 336"/>
                <a:gd name="T62" fmla="*/ 2147483647 w 378"/>
                <a:gd name="T63" fmla="*/ 2147483647 h 336"/>
                <a:gd name="T64" fmla="*/ 2147483647 w 378"/>
                <a:gd name="T65" fmla="*/ 2147483647 h 336"/>
                <a:gd name="T66" fmla="*/ 2147483647 w 378"/>
                <a:gd name="T67" fmla="*/ 2147483647 h 336"/>
                <a:gd name="T68" fmla="*/ 2147483647 w 378"/>
                <a:gd name="T69" fmla="*/ 2147483647 h 336"/>
                <a:gd name="T70" fmla="*/ 2147483647 w 378"/>
                <a:gd name="T71" fmla="*/ 2147483647 h 336"/>
                <a:gd name="T72" fmla="*/ 2147483647 w 378"/>
                <a:gd name="T73" fmla="*/ 2147483647 h 336"/>
                <a:gd name="T74" fmla="*/ 2147483647 w 378"/>
                <a:gd name="T75" fmla="*/ 2147483647 h 336"/>
                <a:gd name="T76" fmla="*/ 2147483647 w 378"/>
                <a:gd name="T77" fmla="*/ 2147483647 h 336"/>
                <a:gd name="T78" fmla="*/ 2147483647 w 378"/>
                <a:gd name="T79" fmla="*/ 2147483647 h 336"/>
                <a:gd name="T80" fmla="*/ 2147483647 w 378"/>
                <a:gd name="T81" fmla="*/ 2147483647 h 336"/>
                <a:gd name="T82" fmla="*/ 2147483647 w 378"/>
                <a:gd name="T83" fmla="*/ 2147483647 h 336"/>
                <a:gd name="T84" fmla="*/ 2147483647 w 378"/>
                <a:gd name="T85" fmla="*/ 2147483647 h 336"/>
                <a:gd name="T86" fmla="*/ 2147483647 w 378"/>
                <a:gd name="T87" fmla="*/ 2147483647 h 336"/>
                <a:gd name="T88" fmla="*/ 2147483647 w 378"/>
                <a:gd name="T89" fmla="*/ 2147483647 h 336"/>
                <a:gd name="T90" fmla="*/ 2147483647 w 378"/>
                <a:gd name="T91" fmla="*/ 2147483647 h 336"/>
                <a:gd name="T92" fmla="*/ 2147483647 w 378"/>
                <a:gd name="T93" fmla="*/ 2147483647 h 336"/>
                <a:gd name="T94" fmla="*/ 2147483647 w 378"/>
                <a:gd name="T95" fmla="*/ 0 h 3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336"/>
                <a:gd name="T146" fmla="*/ 378 w 378"/>
                <a:gd name="T147" fmla="*/ 336 h 3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336">
                  <a:moveTo>
                    <a:pt x="324" y="0"/>
                  </a:moveTo>
                  <a:lnTo>
                    <a:pt x="312" y="12"/>
                  </a:lnTo>
                  <a:lnTo>
                    <a:pt x="276" y="0"/>
                  </a:lnTo>
                  <a:lnTo>
                    <a:pt x="264" y="12"/>
                  </a:lnTo>
                  <a:lnTo>
                    <a:pt x="246" y="24"/>
                  </a:lnTo>
                  <a:lnTo>
                    <a:pt x="258" y="36"/>
                  </a:lnTo>
                  <a:lnTo>
                    <a:pt x="258" y="48"/>
                  </a:lnTo>
                  <a:lnTo>
                    <a:pt x="252" y="54"/>
                  </a:lnTo>
                  <a:lnTo>
                    <a:pt x="240" y="54"/>
                  </a:lnTo>
                  <a:lnTo>
                    <a:pt x="228" y="42"/>
                  </a:lnTo>
                  <a:lnTo>
                    <a:pt x="228" y="36"/>
                  </a:lnTo>
                  <a:lnTo>
                    <a:pt x="222" y="36"/>
                  </a:lnTo>
                  <a:lnTo>
                    <a:pt x="216" y="30"/>
                  </a:lnTo>
                  <a:lnTo>
                    <a:pt x="192" y="30"/>
                  </a:lnTo>
                  <a:lnTo>
                    <a:pt x="192" y="18"/>
                  </a:lnTo>
                  <a:lnTo>
                    <a:pt x="186" y="18"/>
                  </a:lnTo>
                  <a:lnTo>
                    <a:pt x="186" y="24"/>
                  </a:lnTo>
                  <a:lnTo>
                    <a:pt x="180" y="18"/>
                  </a:lnTo>
                  <a:lnTo>
                    <a:pt x="168" y="12"/>
                  </a:lnTo>
                  <a:lnTo>
                    <a:pt x="138" y="12"/>
                  </a:lnTo>
                  <a:lnTo>
                    <a:pt x="126" y="18"/>
                  </a:lnTo>
                  <a:lnTo>
                    <a:pt x="114" y="18"/>
                  </a:lnTo>
                  <a:lnTo>
                    <a:pt x="108" y="12"/>
                  </a:lnTo>
                  <a:lnTo>
                    <a:pt x="72" y="12"/>
                  </a:lnTo>
                  <a:lnTo>
                    <a:pt x="54" y="18"/>
                  </a:lnTo>
                  <a:lnTo>
                    <a:pt x="42" y="24"/>
                  </a:lnTo>
                  <a:lnTo>
                    <a:pt x="36" y="30"/>
                  </a:lnTo>
                  <a:lnTo>
                    <a:pt x="30" y="42"/>
                  </a:lnTo>
                  <a:lnTo>
                    <a:pt x="30" y="48"/>
                  </a:lnTo>
                  <a:lnTo>
                    <a:pt x="0" y="78"/>
                  </a:lnTo>
                  <a:lnTo>
                    <a:pt x="6" y="114"/>
                  </a:lnTo>
                  <a:lnTo>
                    <a:pt x="18" y="126"/>
                  </a:lnTo>
                  <a:lnTo>
                    <a:pt x="18" y="156"/>
                  </a:lnTo>
                  <a:lnTo>
                    <a:pt x="30" y="168"/>
                  </a:lnTo>
                  <a:lnTo>
                    <a:pt x="30" y="198"/>
                  </a:lnTo>
                  <a:lnTo>
                    <a:pt x="42" y="210"/>
                  </a:lnTo>
                  <a:lnTo>
                    <a:pt x="48" y="222"/>
                  </a:lnTo>
                  <a:lnTo>
                    <a:pt x="54" y="228"/>
                  </a:lnTo>
                  <a:lnTo>
                    <a:pt x="54" y="234"/>
                  </a:lnTo>
                  <a:lnTo>
                    <a:pt x="42" y="246"/>
                  </a:lnTo>
                  <a:lnTo>
                    <a:pt x="54" y="270"/>
                  </a:lnTo>
                  <a:lnTo>
                    <a:pt x="60" y="276"/>
                  </a:lnTo>
                  <a:lnTo>
                    <a:pt x="72" y="282"/>
                  </a:lnTo>
                  <a:lnTo>
                    <a:pt x="78" y="282"/>
                  </a:lnTo>
                  <a:lnTo>
                    <a:pt x="90" y="270"/>
                  </a:lnTo>
                  <a:lnTo>
                    <a:pt x="90" y="264"/>
                  </a:lnTo>
                  <a:lnTo>
                    <a:pt x="90" y="288"/>
                  </a:lnTo>
                  <a:lnTo>
                    <a:pt x="96" y="300"/>
                  </a:lnTo>
                  <a:lnTo>
                    <a:pt x="102" y="306"/>
                  </a:lnTo>
                  <a:lnTo>
                    <a:pt x="114" y="306"/>
                  </a:lnTo>
                  <a:lnTo>
                    <a:pt x="120" y="300"/>
                  </a:lnTo>
                  <a:lnTo>
                    <a:pt x="132" y="300"/>
                  </a:lnTo>
                  <a:lnTo>
                    <a:pt x="138" y="306"/>
                  </a:lnTo>
                  <a:lnTo>
                    <a:pt x="138" y="312"/>
                  </a:lnTo>
                  <a:lnTo>
                    <a:pt x="150" y="336"/>
                  </a:lnTo>
                  <a:lnTo>
                    <a:pt x="168" y="336"/>
                  </a:lnTo>
                  <a:lnTo>
                    <a:pt x="180" y="324"/>
                  </a:lnTo>
                  <a:lnTo>
                    <a:pt x="192" y="318"/>
                  </a:lnTo>
                  <a:lnTo>
                    <a:pt x="210" y="318"/>
                  </a:lnTo>
                  <a:lnTo>
                    <a:pt x="222" y="312"/>
                  </a:lnTo>
                  <a:lnTo>
                    <a:pt x="222" y="306"/>
                  </a:lnTo>
                  <a:lnTo>
                    <a:pt x="216" y="300"/>
                  </a:lnTo>
                  <a:lnTo>
                    <a:pt x="210" y="300"/>
                  </a:lnTo>
                  <a:lnTo>
                    <a:pt x="204" y="294"/>
                  </a:lnTo>
                  <a:lnTo>
                    <a:pt x="240" y="294"/>
                  </a:lnTo>
                  <a:lnTo>
                    <a:pt x="240" y="288"/>
                  </a:lnTo>
                  <a:lnTo>
                    <a:pt x="246" y="282"/>
                  </a:lnTo>
                  <a:lnTo>
                    <a:pt x="258" y="282"/>
                  </a:lnTo>
                  <a:lnTo>
                    <a:pt x="270" y="288"/>
                  </a:lnTo>
                  <a:lnTo>
                    <a:pt x="276" y="294"/>
                  </a:lnTo>
                  <a:lnTo>
                    <a:pt x="288" y="300"/>
                  </a:lnTo>
                  <a:lnTo>
                    <a:pt x="294" y="306"/>
                  </a:lnTo>
                  <a:lnTo>
                    <a:pt x="294" y="294"/>
                  </a:lnTo>
                  <a:lnTo>
                    <a:pt x="276" y="276"/>
                  </a:lnTo>
                  <a:lnTo>
                    <a:pt x="264" y="252"/>
                  </a:lnTo>
                  <a:lnTo>
                    <a:pt x="264" y="228"/>
                  </a:lnTo>
                  <a:lnTo>
                    <a:pt x="306" y="228"/>
                  </a:lnTo>
                  <a:lnTo>
                    <a:pt x="306" y="204"/>
                  </a:lnTo>
                  <a:lnTo>
                    <a:pt x="336" y="204"/>
                  </a:lnTo>
                  <a:lnTo>
                    <a:pt x="336" y="186"/>
                  </a:lnTo>
                  <a:lnTo>
                    <a:pt x="342" y="180"/>
                  </a:lnTo>
                  <a:lnTo>
                    <a:pt x="360" y="180"/>
                  </a:lnTo>
                  <a:lnTo>
                    <a:pt x="372" y="186"/>
                  </a:lnTo>
                  <a:lnTo>
                    <a:pt x="372" y="156"/>
                  </a:lnTo>
                  <a:lnTo>
                    <a:pt x="366" y="150"/>
                  </a:lnTo>
                  <a:lnTo>
                    <a:pt x="366" y="120"/>
                  </a:lnTo>
                  <a:lnTo>
                    <a:pt x="360" y="114"/>
                  </a:lnTo>
                  <a:lnTo>
                    <a:pt x="360" y="102"/>
                  </a:lnTo>
                  <a:lnTo>
                    <a:pt x="366" y="102"/>
                  </a:lnTo>
                  <a:lnTo>
                    <a:pt x="378" y="90"/>
                  </a:lnTo>
                  <a:lnTo>
                    <a:pt x="378" y="84"/>
                  </a:lnTo>
                  <a:lnTo>
                    <a:pt x="366" y="60"/>
                  </a:lnTo>
                  <a:lnTo>
                    <a:pt x="354" y="48"/>
                  </a:lnTo>
                  <a:lnTo>
                    <a:pt x="348" y="48"/>
                  </a:lnTo>
                  <a:lnTo>
                    <a:pt x="348" y="6"/>
                  </a:lnTo>
                  <a:lnTo>
                    <a:pt x="324" y="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37" name="Jordan" descr="© INSCALE GmbH, 05.05.2010&#10;http://www.presentationload.com/">
              <a:extLst>
                <a:ext uri="{FF2B5EF4-FFF2-40B4-BE49-F238E27FC236}">
                  <a16:creationId xmlns:a16="http://schemas.microsoft.com/office/drawing/2014/main" id="{F9674D76-41A4-4D96-B2F2-3BAC3C3BC592}"/>
                </a:ext>
              </a:extLst>
            </p:cNvPr>
            <p:cNvSpPr>
              <a:spLocks/>
            </p:cNvSpPr>
            <p:nvPr/>
          </p:nvSpPr>
          <p:spPr bwMode="gray">
            <a:xfrm>
              <a:off x="5092125" y="3186373"/>
              <a:ext cx="111329" cy="133282"/>
            </a:xfrm>
            <a:custGeom>
              <a:avLst/>
              <a:gdLst>
                <a:gd name="T0" fmla="*/ 2147483647 w 282"/>
                <a:gd name="T1" fmla="*/ 2147483647 h 336"/>
                <a:gd name="T2" fmla="*/ 2147483647 w 282"/>
                <a:gd name="T3" fmla="*/ 2147483647 h 336"/>
                <a:gd name="T4" fmla="*/ 2147483647 w 282"/>
                <a:gd name="T5" fmla="*/ 0 h 336"/>
                <a:gd name="T6" fmla="*/ 2147483647 w 282"/>
                <a:gd name="T7" fmla="*/ 2147483647 h 336"/>
                <a:gd name="T8" fmla="*/ 2147483647 w 282"/>
                <a:gd name="T9" fmla="*/ 2147483647 h 336"/>
                <a:gd name="T10" fmla="*/ 2147483647 w 282"/>
                <a:gd name="T11" fmla="*/ 2147483647 h 336"/>
                <a:gd name="T12" fmla="*/ 2147483647 w 282"/>
                <a:gd name="T13" fmla="*/ 2147483647 h 336"/>
                <a:gd name="T14" fmla="*/ 2147483647 w 282"/>
                <a:gd name="T15" fmla="*/ 2147483647 h 336"/>
                <a:gd name="T16" fmla="*/ 2147483647 w 282"/>
                <a:gd name="T17" fmla="*/ 2147483647 h 336"/>
                <a:gd name="T18" fmla="*/ 2147483647 w 282"/>
                <a:gd name="T19" fmla="*/ 2147483647 h 336"/>
                <a:gd name="T20" fmla="*/ 2147483647 w 282"/>
                <a:gd name="T21" fmla="*/ 2147483647 h 336"/>
                <a:gd name="T22" fmla="*/ 2147483647 w 282"/>
                <a:gd name="T23" fmla="*/ 2147483647 h 336"/>
                <a:gd name="T24" fmla="*/ 2147483647 w 282"/>
                <a:gd name="T25" fmla="*/ 2147483647 h 336"/>
                <a:gd name="T26" fmla="*/ 2147483647 w 282"/>
                <a:gd name="T27" fmla="*/ 2147483647 h 336"/>
                <a:gd name="T28" fmla="*/ 2147483647 w 282"/>
                <a:gd name="T29" fmla="*/ 2147483647 h 336"/>
                <a:gd name="T30" fmla="*/ 2147483647 w 282"/>
                <a:gd name="T31" fmla="*/ 2147483647 h 336"/>
                <a:gd name="T32" fmla="*/ 2147483647 w 282"/>
                <a:gd name="T33" fmla="*/ 2147483647 h 336"/>
                <a:gd name="T34" fmla="*/ 2147483647 w 282"/>
                <a:gd name="T35" fmla="*/ 2147483647 h 336"/>
                <a:gd name="T36" fmla="*/ 2147483647 w 282"/>
                <a:gd name="T37" fmla="*/ 2147483647 h 336"/>
                <a:gd name="T38" fmla="*/ 2147483647 w 282"/>
                <a:gd name="T39" fmla="*/ 2147483647 h 336"/>
                <a:gd name="T40" fmla="*/ 2147483647 w 282"/>
                <a:gd name="T41" fmla="*/ 2147483647 h 336"/>
                <a:gd name="T42" fmla="*/ 2147483647 w 282"/>
                <a:gd name="T43" fmla="*/ 2147483647 h 336"/>
                <a:gd name="T44" fmla="*/ 2147483647 w 282"/>
                <a:gd name="T45" fmla="*/ 2147483647 h 336"/>
                <a:gd name="T46" fmla="*/ 0 w 282"/>
                <a:gd name="T47" fmla="*/ 2147483647 h 336"/>
                <a:gd name="T48" fmla="*/ 0 w 282"/>
                <a:gd name="T49" fmla="*/ 2147483647 h 336"/>
                <a:gd name="T50" fmla="*/ 2147483647 w 282"/>
                <a:gd name="T51" fmla="*/ 2147483647 h 336"/>
                <a:gd name="T52" fmla="*/ 2147483647 w 282"/>
                <a:gd name="T53" fmla="*/ 2147483647 h 336"/>
                <a:gd name="T54" fmla="*/ 2147483647 w 282"/>
                <a:gd name="T55" fmla="*/ 2147483647 h 336"/>
                <a:gd name="T56" fmla="*/ 2147483647 w 282"/>
                <a:gd name="T57" fmla="*/ 2147483647 h 336"/>
                <a:gd name="T58" fmla="*/ 2147483647 w 282"/>
                <a:gd name="T59" fmla="*/ 2147483647 h 336"/>
                <a:gd name="T60" fmla="*/ 2147483647 w 282"/>
                <a:gd name="T61" fmla="*/ 2147483647 h 336"/>
                <a:gd name="T62" fmla="*/ 2147483647 w 282"/>
                <a:gd name="T63" fmla="*/ 2147483647 h 336"/>
                <a:gd name="T64" fmla="*/ 2147483647 w 282"/>
                <a:gd name="T65" fmla="*/ 2147483647 h 336"/>
                <a:gd name="T66" fmla="*/ 2147483647 w 282"/>
                <a:gd name="T67" fmla="*/ 2147483647 h 336"/>
                <a:gd name="T68" fmla="*/ 2147483647 w 282"/>
                <a:gd name="T69" fmla="*/ 2147483647 h 336"/>
                <a:gd name="T70" fmla="*/ 2147483647 w 282"/>
                <a:gd name="T71" fmla="*/ 2147483647 h 336"/>
                <a:gd name="T72" fmla="*/ 2147483647 w 282"/>
                <a:gd name="T73" fmla="*/ 2147483647 h 336"/>
                <a:gd name="T74" fmla="*/ 2147483647 w 282"/>
                <a:gd name="T75" fmla="*/ 2147483647 h 336"/>
                <a:gd name="T76" fmla="*/ 2147483647 w 282"/>
                <a:gd name="T77" fmla="*/ 2147483647 h 336"/>
                <a:gd name="T78" fmla="*/ 2147483647 w 282"/>
                <a:gd name="T79" fmla="*/ 2147483647 h 336"/>
                <a:gd name="T80" fmla="*/ 2147483647 w 282"/>
                <a:gd name="T81" fmla="*/ 2147483647 h 336"/>
                <a:gd name="T82" fmla="*/ 2147483647 w 282"/>
                <a:gd name="T83" fmla="*/ 2147483647 h 336"/>
                <a:gd name="T84" fmla="*/ 2147483647 w 282"/>
                <a:gd name="T85" fmla="*/ 2147483647 h 336"/>
                <a:gd name="T86" fmla="*/ 2147483647 w 282"/>
                <a:gd name="T87" fmla="*/ 2147483647 h 336"/>
                <a:gd name="T88" fmla="*/ 2147483647 w 282"/>
                <a:gd name="T89" fmla="*/ 2147483647 h 336"/>
                <a:gd name="T90" fmla="*/ 2147483647 w 282"/>
                <a:gd name="T91" fmla="*/ 2147483647 h 336"/>
                <a:gd name="T92" fmla="*/ 2147483647 w 282"/>
                <a:gd name="T93" fmla="*/ 2147483647 h 336"/>
                <a:gd name="T94" fmla="*/ 2147483647 w 282"/>
                <a:gd name="T95" fmla="*/ 2147483647 h 336"/>
                <a:gd name="T96" fmla="*/ 2147483647 w 282"/>
                <a:gd name="T97" fmla="*/ 2147483647 h 336"/>
                <a:gd name="T98" fmla="*/ 2147483647 w 282"/>
                <a:gd name="T99" fmla="*/ 2147483647 h 336"/>
                <a:gd name="T100" fmla="*/ 2147483647 w 282"/>
                <a:gd name="T101" fmla="*/ 2147483647 h 336"/>
                <a:gd name="T102" fmla="*/ 2147483647 w 282"/>
                <a:gd name="T103" fmla="*/ 2147483647 h 336"/>
                <a:gd name="T104" fmla="*/ 2147483647 w 282"/>
                <a:gd name="T105" fmla="*/ 2147483647 h 336"/>
                <a:gd name="T106" fmla="*/ 2147483647 w 282"/>
                <a:gd name="T107" fmla="*/ 2147483647 h 336"/>
                <a:gd name="T108" fmla="*/ 2147483647 w 282"/>
                <a:gd name="T109" fmla="*/ 2147483647 h 336"/>
                <a:gd name="T110" fmla="*/ 2147483647 w 282"/>
                <a:gd name="T111" fmla="*/ 2147483647 h 336"/>
                <a:gd name="T112" fmla="*/ 2147483647 w 282"/>
                <a:gd name="T113" fmla="*/ 2147483647 h 336"/>
                <a:gd name="T114" fmla="*/ 2147483647 w 282"/>
                <a:gd name="T115" fmla="*/ 2147483647 h 336"/>
                <a:gd name="T116" fmla="*/ 2147483647 w 282"/>
                <a:gd name="T117" fmla="*/ 2147483647 h 336"/>
                <a:gd name="T118" fmla="*/ 2147483647 w 282"/>
                <a:gd name="T119" fmla="*/ 2147483647 h 336"/>
                <a:gd name="T120" fmla="*/ 2147483647 w 282"/>
                <a:gd name="T121" fmla="*/ 2147483647 h 336"/>
                <a:gd name="T122" fmla="*/ 2147483647 w 282"/>
                <a:gd name="T123" fmla="*/ 2147483647 h 3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2"/>
                <a:gd name="T187" fmla="*/ 0 h 336"/>
                <a:gd name="T188" fmla="*/ 282 w 282"/>
                <a:gd name="T189" fmla="*/ 336 h 3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2" h="336">
                  <a:moveTo>
                    <a:pt x="258" y="60"/>
                  </a:moveTo>
                  <a:lnTo>
                    <a:pt x="258" y="42"/>
                  </a:lnTo>
                  <a:lnTo>
                    <a:pt x="234" y="0"/>
                  </a:lnTo>
                  <a:lnTo>
                    <a:pt x="222" y="6"/>
                  </a:lnTo>
                  <a:lnTo>
                    <a:pt x="198" y="30"/>
                  </a:lnTo>
                  <a:lnTo>
                    <a:pt x="138" y="78"/>
                  </a:lnTo>
                  <a:lnTo>
                    <a:pt x="114" y="84"/>
                  </a:lnTo>
                  <a:lnTo>
                    <a:pt x="96" y="84"/>
                  </a:lnTo>
                  <a:lnTo>
                    <a:pt x="84" y="78"/>
                  </a:lnTo>
                  <a:lnTo>
                    <a:pt x="72" y="66"/>
                  </a:lnTo>
                  <a:lnTo>
                    <a:pt x="36" y="48"/>
                  </a:lnTo>
                  <a:lnTo>
                    <a:pt x="30" y="48"/>
                  </a:lnTo>
                  <a:lnTo>
                    <a:pt x="24" y="66"/>
                  </a:lnTo>
                  <a:lnTo>
                    <a:pt x="30" y="138"/>
                  </a:lnTo>
                  <a:lnTo>
                    <a:pt x="18" y="150"/>
                  </a:lnTo>
                  <a:lnTo>
                    <a:pt x="18" y="162"/>
                  </a:lnTo>
                  <a:lnTo>
                    <a:pt x="30" y="174"/>
                  </a:lnTo>
                  <a:lnTo>
                    <a:pt x="30" y="186"/>
                  </a:lnTo>
                  <a:lnTo>
                    <a:pt x="24" y="198"/>
                  </a:lnTo>
                  <a:lnTo>
                    <a:pt x="18" y="204"/>
                  </a:lnTo>
                  <a:lnTo>
                    <a:pt x="12" y="216"/>
                  </a:lnTo>
                  <a:lnTo>
                    <a:pt x="6" y="222"/>
                  </a:lnTo>
                  <a:lnTo>
                    <a:pt x="6" y="282"/>
                  </a:lnTo>
                  <a:lnTo>
                    <a:pt x="0" y="294"/>
                  </a:lnTo>
                  <a:lnTo>
                    <a:pt x="0" y="312"/>
                  </a:lnTo>
                  <a:lnTo>
                    <a:pt x="6" y="324"/>
                  </a:lnTo>
                  <a:lnTo>
                    <a:pt x="24" y="324"/>
                  </a:lnTo>
                  <a:lnTo>
                    <a:pt x="48" y="336"/>
                  </a:lnTo>
                  <a:lnTo>
                    <a:pt x="84" y="336"/>
                  </a:lnTo>
                  <a:lnTo>
                    <a:pt x="96" y="324"/>
                  </a:lnTo>
                  <a:lnTo>
                    <a:pt x="108" y="300"/>
                  </a:lnTo>
                  <a:lnTo>
                    <a:pt x="108" y="288"/>
                  </a:lnTo>
                  <a:lnTo>
                    <a:pt x="120" y="276"/>
                  </a:lnTo>
                  <a:lnTo>
                    <a:pt x="126" y="276"/>
                  </a:lnTo>
                  <a:lnTo>
                    <a:pt x="138" y="270"/>
                  </a:lnTo>
                  <a:lnTo>
                    <a:pt x="150" y="270"/>
                  </a:lnTo>
                  <a:lnTo>
                    <a:pt x="162" y="264"/>
                  </a:lnTo>
                  <a:lnTo>
                    <a:pt x="168" y="258"/>
                  </a:lnTo>
                  <a:lnTo>
                    <a:pt x="174" y="246"/>
                  </a:lnTo>
                  <a:lnTo>
                    <a:pt x="180" y="240"/>
                  </a:lnTo>
                  <a:lnTo>
                    <a:pt x="180" y="228"/>
                  </a:lnTo>
                  <a:lnTo>
                    <a:pt x="186" y="222"/>
                  </a:lnTo>
                  <a:lnTo>
                    <a:pt x="186" y="210"/>
                  </a:lnTo>
                  <a:lnTo>
                    <a:pt x="180" y="204"/>
                  </a:lnTo>
                  <a:lnTo>
                    <a:pt x="168" y="180"/>
                  </a:lnTo>
                  <a:lnTo>
                    <a:pt x="144" y="156"/>
                  </a:lnTo>
                  <a:lnTo>
                    <a:pt x="132" y="156"/>
                  </a:lnTo>
                  <a:lnTo>
                    <a:pt x="120" y="150"/>
                  </a:lnTo>
                  <a:lnTo>
                    <a:pt x="96" y="150"/>
                  </a:lnTo>
                  <a:lnTo>
                    <a:pt x="96" y="144"/>
                  </a:lnTo>
                  <a:lnTo>
                    <a:pt x="108" y="144"/>
                  </a:lnTo>
                  <a:lnTo>
                    <a:pt x="120" y="138"/>
                  </a:lnTo>
                  <a:lnTo>
                    <a:pt x="186" y="138"/>
                  </a:lnTo>
                  <a:lnTo>
                    <a:pt x="198" y="114"/>
                  </a:lnTo>
                  <a:lnTo>
                    <a:pt x="240" y="114"/>
                  </a:lnTo>
                  <a:lnTo>
                    <a:pt x="252" y="108"/>
                  </a:lnTo>
                  <a:lnTo>
                    <a:pt x="258" y="102"/>
                  </a:lnTo>
                  <a:lnTo>
                    <a:pt x="264" y="102"/>
                  </a:lnTo>
                  <a:lnTo>
                    <a:pt x="276" y="96"/>
                  </a:lnTo>
                  <a:lnTo>
                    <a:pt x="282" y="90"/>
                  </a:lnTo>
                  <a:lnTo>
                    <a:pt x="282" y="78"/>
                  </a:lnTo>
                  <a:lnTo>
                    <a:pt x="258" y="6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38" name="Jemen" descr="© INSCALE GmbH, 05.05.2010&#10;http://www.presentationload.com/">
              <a:extLst>
                <a:ext uri="{FF2B5EF4-FFF2-40B4-BE49-F238E27FC236}">
                  <a16:creationId xmlns:a16="http://schemas.microsoft.com/office/drawing/2014/main" id="{8D14C562-203A-4BE5-A9F4-93892CCA7DC2}"/>
                </a:ext>
              </a:extLst>
            </p:cNvPr>
            <p:cNvSpPr>
              <a:spLocks/>
            </p:cNvSpPr>
            <p:nvPr/>
          </p:nvSpPr>
          <p:spPr bwMode="gray">
            <a:xfrm>
              <a:off x="5324193" y="3642669"/>
              <a:ext cx="291652" cy="199139"/>
            </a:xfrm>
            <a:custGeom>
              <a:avLst/>
              <a:gdLst>
                <a:gd name="T0" fmla="*/ 2147483647 w 732"/>
                <a:gd name="T1" fmla="*/ 2147483647 h 498"/>
                <a:gd name="T2" fmla="*/ 2147483647 w 732"/>
                <a:gd name="T3" fmla="*/ 2147483647 h 498"/>
                <a:gd name="T4" fmla="*/ 2147483647 w 732"/>
                <a:gd name="T5" fmla="*/ 2147483647 h 498"/>
                <a:gd name="T6" fmla="*/ 2147483647 w 732"/>
                <a:gd name="T7" fmla="*/ 2147483647 h 498"/>
                <a:gd name="T8" fmla="*/ 2147483647 w 732"/>
                <a:gd name="T9" fmla="*/ 2147483647 h 498"/>
                <a:gd name="T10" fmla="*/ 2147483647 w 732"/>
                <a:gd name="T11" fmla="*/ 2147483647 h 498"/>
                <a:gd name="T12" fmla="*/ 2147483647 w 732"/>
                <a:gd name="T13" fmla="*/ 2147483647 h 498"/>
                <a:gd name="T14" fmla="*/ 2147483647 w 732"/>
                <a:gd name="T15" fmla="*/ 2147483647 h 498"/>
                <a:gd name="T16" fmla="*/ 2147483647 w 732"/>
                <a:gd name="T17" fmla="*/ 2147483647 h 498"/>
                <a:gd name="T18" fmla="*/ 2147483647 w 732"/>
                <a:gd name="T19" fmla="*/ 2147483647 h 498"/>
                <a:gd name="T20" fmla="*/ 2147483647 w 732"/>
                <a:gd name="T21" fmla="*/ 2147483647 h 498"/>
                <a:gd name="T22" fmla="*/ 2147483647 w 732"/>
                <a:gd name="T23" fmla="*/ 2147483647 h 498"/>
                <a:gd name="T24" fmla="*/ 2147483647 w 732"/>
                <a:gd name="T25" fmla="*/ 2147483647 h 498"/>
                <a:gd name="T26" fmla="*/ 2147483647 w 732"/>
                <a:gd name="T27" fmla="*/ 2147483647 h 498"/>
                <a:gd name="T28" fmla="*/ 2147483647 w 732"/>
                <a:gd name="T29" fmla="*/ 2147483647 h 498"/>
                <a:gd name="T30" fmla="*/ 0 w 732"/>
                <a:gd name="T31" fmla="*/ 2147483647 h 498"/>
                <a:gd name="T32" fmla="*/ 2147483647 w 732"/>
                <a:gd name="T33" fmla="*/ 2147483647 h 498"/>
                <a:gd name="T34" fmla="*/ 2147483647 w 732"/>
                <a:gd name="T35" fmla="*/ 2147483647 h 498"/>
                <a:gd name="T36" fmla="*/ 2147483647 w 732"/>
                <a:gd name="T37" fmla="*/ 2147483647 h 498"/>
                <a:gd name="T38" fmla="*/ 2147483647 w 732"/>
                <a:gd name="T39" fmla="*/ 2147483647 h 498"/>
                <a:gd name="T40" fmla="*/ 2147483647 w 732"/>
                <a:gd name="T41" fmla="*/ 2147483647 h 498"/>
                <a:gd name="T42" fmla="*/ 2147483647 w 732"/>
                <a:gd name="T43" fmla="*/ 2147483647 h 498"/>
                <a:gd name="T44" fmla="*/ 2147483647 w 732"/>
                <a:gd name="T45" fmla="*/ 2147483647 h 498"/>
                <a:gd name="T46" fmla="*/ 2147483647 w 732"/>
                <a:gd name="T47" fmla="*/ 2147483647 h 498"/>
                <a:gd name="T48" fmla="*/ 2147483647 w 732"/>
                <a:gd name="T49" fmla="*/ 2147483647 h 498"/>
                <a:gd name="T50" fmla="*/ 2147483647 w 732"/>
                <a:gd name="T51" fmla="*/ 2147483647 h 498"/>
                <a:gd name="T52" fmla="*/ 2147483647 w 732"/>
                <a:gd name="T53" fmla="*/ 2147483647 h 498"/>
                <a:gd name="T54" fmla="*/ 2147483647 w 732"/>
                <a:gd name="T55" fmla="*/ 2147483647 h 498"/>
                <a:gd name="T56" fmla="*/ 2147483647 w 732"/>
                <a:gd name="T57" fmla="*/ 2147483647 h 498"/>
                <a:gd name="T58" fmla="*/ 2147483647 w 732"/>
                <a:gd name="T59" fmla="*/ 2147483647 h 498"/>
                <a:gd name="T60" fmla="*/ 2147483647 w 732"/>
                <a:gd name="T61" fmla="*/ 2147483647 h 498"/>
                <a:gd name="T62" fmla="*/ 2147483647 w 732"/>
                <a:gd name="T63" fmla="*/ 2147483647 h 498"/>
                <a:gd name="T64" fmla="*/ 2147483647 w 732"/>
                <a:gd name="T65" fmla="*/ 2147483647 h 498"/>
                <a:gd name="T66" fmla="*/ 2147483647 w 732"/>
                <a:gd name="T67" fmla="*/ 2147483647 h 498"/>
                <a:gd name="T68" fmla="*/ 2147483647 w 732"/>
                <a:gd name="T69" fmla="*/ 2147483647 h 498"/>
                <a:gd name="T70" fmla="*/ 2147483647 w 732"/>
                <a:gd name="T71" fmla="*/ 2147483647 h 498"/>
                <a:gd name="T72" fmla="*/ 2147483647 w 732"/>
                <a:gd name="T73" fmla="*/ 2147483647 h 498"/>
                <a:gd name="T74" fmla="*/ 2147483647 w 732"/>
                <a:gd name="T75" fmla="*/ 2147483647 h 498"/>
                <a:gd name="T76" fmla="*/ 2147483647 w 732"/>
                <a:gd name="T77" fmla="*/ 0 h 498"/>
                <a:gd name="T78" fmla="*/ 2147483647 w 732"/>
                <a:gd name="T79" fmla="*/ 2147483647 h 498"/>
                <a:gd name="T80" fmla="*/ 2147483647 w 732"/>
                <a:gd name="T81" fmla="*/ 2147483647 h 4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32"/>
                <a:gd name="T124" fmla="*/ 0 h 498"/>
                <a:gd name="T125" fmla="*/ 732 w 732"/>
                <a:gd name="T126" fmla="*/ 498 h 4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32" h="498">
                  <a:moveTo>
                    <a:pt x="468" y="24"/>
                  </a:moveTo>
                  <a:lnTo>
                    <a:pt x="450" y="30"/>
                  </a:lnTo>
                  <a:lnTo>
                    <a:pt x="420" y="36"/>
                  </a:lnTo>
                  <a:lnTo>
                    <a:pt x="390" y="54"/>
                  </a:lnTo>
                  <a:lnTo>
                    <a:pt x="372" y="72"/>
                  </a:lnTo>
                  <a:lnTo>
                    <a:pt x="366" y="84"/>
                  </a:lnTo>
                  <a:lnTo>
                    <a:pt x="354" y="96"/>
                  </a:lnTo>
                  <a:lnTo>
                    <a:pt x="348" y="108"/>
                  </a:lnTo>
                  <a:lnTo>
                    <a:pt x="342" y="114"/>
                  </a:lnTo>
                  <a:lnTo>
                    <a:pt x="336" y="126"/>
                  </a:lnTo>
                  <a:lnTo>
                    <a:pt x="336" y="144"/>
                  </a:lnTo>
                  <a:lnTo>
                    <a:pt x="330" y="150"/>
                  </a:lnTo>
                  <a:lnTo>
                    <a:pt x="324" y="162"/>
                  </a:lnTo>
                  <a:lnTo>
                    <a:pt x="312" y="162"/>
                  </a:lnTo>
                  <a:lnTo>
                    <a:pt x="300" y="156"/>
                  </a:lnTo>
                  <a:lnTo>
                    <a:pt x="294" y="144"/>
                  </a:lnTo>
                  <a:lnTo>
                    <a:pt x="288" y="138"/>
                  </a:lnTo>
                  <a:lnTo>
                    <a:pt x="210" y="138"/>
                  </a:lnTo>
                  <a:lnTo>
                    <a:pt x="204" y="132"/>
                  </a:lnTo>
                  <a:lnTo>
                    <a:pt x="192" y="126"/>
                  </a:lnTo>
                  <a:lnTo>
                    <a:pt x="102" y="126"/>
                  </a:lnTo>
                  <a:lnTo>
                    <a:pt x="96" y="132"/>
                  </a:lnTo>
                  <a:lnTo>
                    <a:pt x="72" y="138"/>
                  </a:lnTo>
                  <a:lnTo>
                    <a:pt x="54" y="120"/>
                  </a:lnTo>
                  <a:lnTo>
                    <a:pt x="48" y="120"/>
                  </a:lnTo>
                  <a:lnTo>
                    <a:pt x="42" y="126"/>
                  </a:lnTo>
                  <a:lnTo>
                    <a:pt x="36" y="138"/>
                  </a:lnTo>
                  <a:lnTo>
                    <a:pt x="36" y="186"/>
                  </a:lnTo>
                  <a:lnTo>
                    <a:pt x="30" y="192"/>
                  </a:lnTo>
                  <a:lnTo>
                    <a:pt x="24" y="204"/>
                  </a:lnTo>
                  <a:lnTo>
                    <a:pt x="12" y="216"/>
                  </a:lnTo>
                  <a:lnTo>
                    <a:pt x="0" y="252"/>
                  </a:lnTo>
                  <a:lnTo>
                    <a:pt x="0" y="258"/>
                  </a:lnTo>
                  <a:lnTo>
                    <a:pt x="18" y="276"/>
                  </a:lnTo>
                  <a:lnTo>
                    <a:pt x="24" y="288"/>
                  </a:lnTo>
                  <a:lnTo>
                    <a:pt x="36" y="294"/>
                  </a:lnTo>
                  <a:lnTo>
                    <a:pt x="24" y="408"/>
                  </a:lnTo>
                  <a:lnTo>
                    <a:pt x="54" y="444"/>
                  </a:lnTo>
                  <a:lnTo>
                    <a:pt x="54" y="456"/>
                  </a:lnTo>
                  <a:lnTo>
                    <a:pt x="60" y="468"/>
                  </a:lnTo>
                  <a:lnTo>
                    <a:pt x="78" y="486"/>
                  </a:lnTo>
                  <a:lnTo>
                    <a:pt x="90" y="492"/>
                  </a:lnTo>
                  <a:lnTo>
                    <a:pt x="114" y="498"/>
                  </a:lnTo>
                  <a:lnTo>
                    <a:pt x="132" y="498"/>
                  </a:lnTo>
                  <a:lnTo>
                    <a:pt x="150" y="492"/>
                  </a:lnTo>
                  <a:lnTo>
                    <a:pt x="162" y="486"/>
                  </a:lnTo>
                  <a:lnTo>
                    <a:pt x="168" y="480"/>
                  </a:lnTo>
                  <a:lnTo>
                    <a:pt x="186" y="444"/>
                  </a:lnTo>
                  <a:lnTo>
                    <a:pt x="198" y="432"/>
                  </a:lnTo>
                  <a:lnTo>
                    <a:pt x="210" y="432"/>
                  </a:lnTo>
                  <a:lnTo>
                    <a:pt x="228" y="438"/>
                  </a:lnTo>
                  <a:lnTo>
                    <a:pt x="270" y="438"/>
                  </a:lnTo>
                  <a:lnTo>
                    <a:pt x="324" y="432"/>
                  </a:lnTo>
                  <a:lnTo>
                    <a:pt x="366" y="426"/>
                  </a:lnTo>
                  <a:lnTo>
                    <a:pt x="390" y="414"/>
                  </a:lnTo>
                  <a:lnTo>
                    <a:pt x="402" y="402"/>
                  </a:lnTo>
                  <a:lnTo>
                    <a:pt x="414" y="384"/>
                  </a:lnTo>
                  <a:lnTo>
                    <a:pt x="426" y="372"/>
                  </a:lnTo>
                  <a:lnTo>
                    <a:pt x="450" y="360"/>
                  </a:lnTo>
                  <a:lnTo>
                    <a:pt x="462" y="348"/>
                  </a:lnTo>
                  <a:lnTo>
                    <a:pt x="474" y="342"/>
                  </a:lnTo>
                  <a:lnTo>
                    <a:pt x="486" y="330"/>
                  </a:lnTo>
                  <a:lnTo>
                    <a:pt x="504" y="324"/>
                  </a:lnTo>
                  <a:lnTo>
                    <a:pt x="528" y="312"/>
                  </a:lnTo>
                  <a:lnTo>
                    <a:pt x="546" y="306"/>
                  </a:lnTo>
                  <a:lnTo>
                    <a:pt x="558" y="294"/>
                  </a:lnTo>
                  <a:lnTo>
                    <a:pt x="594" y="276"/>
                  </a:lnTo>
                  <a:lnTo>
                    <a:pt x="666" y="276"/>
                  </a:lnTo>
                  <a:lnTo>
                    <a:pt x="666" y="270"/>
                  </a:lnTo>
                  <a:lnTo>
                    <a:pt x="672" y="264"/>
                  </a:lnTo>
                  <a:lnTo>
                    <a:pt x="684" y="240"/>
                  </a:lnTo>
                  <a:lnTo>
                    <a:pt x="690" y="222"/>
                  </a:lnTo>
                  <a:lnTo>
                    <a:pt x="702" y="210"/>
                  </a:lnTo>
                  <a:lnTo>
                    <a:pt x="708" y="198"/>
                  </a:lnTo>
                  <a:lnTo>
                    <a:pt x="720" y="192"/>
                  </a:lnTo>
                  <a:lnTo>
                    <a:pt x="720" y="186"/>
                  </a:lnTo>
                  <a:lnTo>
                    <a:pt x="732" y="186"/>
                  </a:lnTo>
                  <a:lnTo>
                    <a:pt x="648" y="0"/>
                  </a:lnTo>
                  <a:lnTo>
                    <a:pt x="630" y="0"/>
                  </a:lnTo>
                  <a:lnTo>
                    <a:pt x="588" y="6"/>
                  </a:lnTo>
                  <a:lnTo>
                    <a:pt x="540" y="18"/>
                  </a:lnTo>
                  <a:lnTo>
                    <a:pt x="492" y="24"/>
                  </a:lnTo>
                  <a:lnTo>
                    <a:pt x="468" y="24"/>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39" name="Japan" descr="© INSCALE GmbH, 05.05.2010&#10;http://www.presentationload.com/">
              <a:extLst>
                <a:ext uri="{FF2B5EF4-FFF2-40B4-BE49-F238E27FC236}">
                  <a16:creationId xmlns:a16="http://schemas.microsoft.com/office/drawing/2014/main" id="{57FA6F5E-9D90-469E-BE03-DA73ECC010F3}"/>
                </a:ext>
              </a:extLst>
            </p:cNvPr>
            <p:cNvSpPr>
              <a:spLocks noEditPoints="1"/>
            </p:cNvSpPr>
            <p:nvPr/>
          </p:nvSpPr>
          <p:spPr bwMode="gray">
            <a:xfrm>
              <a:off x="7546080" y="2797504"/>
              <a:ext cx="348101" cy="678955"/>
            </a:xfrm>
            <a:custGeom>
              <a:avLst/>
              <a:gdLst>
                <a:gd name="T0" fmla="*/ 2147483647 w 876"/>
                <a:gd name="T1" fmla="*/ 2147483647 h 1710"/>
                <a:gd name="T2" fmla="*/ 2147483647 w 876"/>
                <a:gd name="T3" fmla="*/ 2147483647 h 1710"/>
                <a:gd name="T4" fmla="*/ 2147483647 w 876"/>
                <a:gd name="T5" fmla="*/ 2147483647 h 1710"/>
                <a:gd name="T6" fmla="*/ 2147483647 w 876"/>
                <a:gd name="T7" fmla="*/ 2147483647 h 1710"/>
                <a:gd name="T8" fmla="*/ 2147483647 w 876"/>
                <a:gd name="T9" fmla="*/ 2147483647 h 1710"/>
                <a:gd name="T10" fmla="*/ 2147483647 w 876"/>
                <a:gd name="T11" fmla="*/ 2147483647 h 1710"/>
                <a:gd name="T12" fmla="*/ 2147483647 w 876"/>
                <a:gd name="T13" fmla="*/ 2147483647 h 1710"/>
                <a:gd name="T14" fmla="*/ 2147483647 w 876"/>
                <a:gd name="T15" fmla="*/ 2147483647 h 1710"/>
                <a:gd name="T16" fmla="*/ 2147483647 w 876"/>
                <a:gd name="T17" fmla="*/ 2147483647 h 1710"/>
                <a:gd name="T18" fmla="*/ 2147483647 w 876"/>
                <a:gd name="T19" fmla="*/ 2147483647 h 1710"/>
                <a:gd name="T20" fmla="*/ 2147483647 w 876"/>
                <a:gd name="T21" fmla="*/ 2147483647 h 1710"/>
                <a:gd name="T22" fmla="*/ 2147483647 w 876"/>
                <a:gd name="T23" fmla="*/ 2147483647 h 1710"/>
                <a:gd name="T24" fmla="*/ 2147483647 w 876"/>
                <a:gd name="T25" fmla="*/ 2147483647 h 1710"/>
                <a:gd name="T26" fmla="*/ 2147483647 w 876"/>
                <a:gd name="T27" fmla="*/ 2147483647 h 1710"/>
                <a:gd name="T28" fmla="*/ 2147483647 w 876"/>
                <a:gd name="T29" fmla="*/ 2147483647 h 1710"/>
                <a:gd name="T30" fmla="*/ 2147483647 w 876"/>
                <a:gd name="T31" fmla="*/ 2147483647 h 1710"/>
                <a:gd name="T32" fmla="*/ 2147483647 w 876"/>
                <a:gd name="T33" fmla="*/ 2147483647 h 1710"/>
                <a:gd name="T34" fmla="*/ 2147483647 w 876"/>
                <a:gd name="T35" fmla="*/ 2147483647 h 1710"/>
                <a:gd name="T36" fmla="*/ 2147483647 w 876"/>
                <a:gd name="T37" fmla="*/ 2147483647 h 1710"/>
                <a:gd name="T38" fmla="*/ 2147483647 w 876"/>
                <a:gd name="T39" fmla="*/ 2147483647 h 1710"/>
                <a:gd name="T40" fmla="*/ 2147483647 w 876"/>
                <a:gd name="T41" fmla="*/ 2147483647 h 1710"/>
                <a:gd name="T42" fmla="*/ 2147483647 w 876"/>
                <a:gd name="T43" fmla="*/ 2147483647 h 1710"/>
                <a:gd name="T44" fmla="*/ 2147483647 w 876"/>
                <a:gd name="T45" fmla="*/ 2147483647 h 1710"/>
                <a:gd name="T46" fmla="*/ 2147483647 w 876"/>
                <a:gd name="T47" fmla="*/ 2147483647 h 1710"/>
                <a:gd name="T48" fmla="*/ 2147483647 w 876"/>
                <a:gd name="T49" fmla="*/ 2147483647 h 1710"/>
                <a:gd name="T50" fmla="*/ 2147483647 w 876"/>
                <a:gd name="T51" fmla="*/ 2147483647 h 1710"/>
                <a:gd name="T52" fmla="*/ 2147483647 w 876"/>
                <a:gd name="T53" fmla="*/ 2147483647 h 1710"/>
                <a:gd name="T54" fmla="*/ 2147483647 w 876"/>
                <a:gd name="T55" fmla="*/ 2147483647 h 1710"/>
                <a:gd name="T56" fmla="*/ 2147483647 w 876"/>
                <a:gd name="T57" fmla="*/ 2147483647 h 1710"/>
                <a:gd name="T58" fmla="*/ 2147483647 w 876"/>
                <a:gd name="T59" fmla="*/ 2147483647 h 1710"/>
                <a:gd name="T60" fmla="*/ 2147483647 w 876"/>
                <a:gd name="T61" fmla="*/ 2147483647 h 1710"/>
                <a:gd name="T62" fmla="*/ 2147483647 w 876"/>
                <a:gd name="T63" fmla="*/ 2147483647 h 1710"/>
                <a:gd name="T64" fmla="*/ 2147483647 w 876"/>
                <a:gd name="T65" fmla="*/ 2147483647 h 1710"/>
                <a:gd name="T66" fmla="*/ 2147483647 w 876"/>
                <a:gd name="T67" fmla="*/ 2147483647 h 1710"/>
                <a:gd name="T68" fmla="*/ 2147483647 w 876"/>
                <a:gd name="T69" fmla="*/ 2147483647 h 1710"/>
                <a:gd name="T70" fmla="*/ 2147483647 w 876"/>
                <a:gd name="T71" fmla="*/ 2147483647 h 1710"/>
                <a:gd name="T72" fmla="*/ 2147483647 w 876"/>
                <a:gd name="T73" fmla="*/ 2147483647 h 1710"/>
                <a:gd name="T74" fmla="*/ 2147483647 w 876"/>
                <a:gd name="T75" fmla="*/ 2147483647 h 1710"/>
                <a:gd name="T76" fmla="*/ 2147483647 w 876"/>
                <a:gd name="T77" fmla="*/ 2147483647 h 1710"/>
                <a:gd name="T78" fmla="*/ 2147483647 w 876"/>
                <a:gd name="T79" fmla="*/ 2147483647 h 1710"/>
                <a:gd name="T80" fmla="*/ 2147483647 w 876"/>
                <a:gd name="T81" fmla="*/ 2147483647 h 1710"/>
                <a:gd name="T82" fmla="*/ 2147483647 w 876"/>
                <a:gd name="T83" fmla="*/ 2147483647 h 1710"/>
                <a:gd name="T84" fmla="*/ 2147483647 w 876"/>
                <a:gd name="T85" fmla="*/ 2147483647 h 1710"/>
                <a:gd name="T86" fmla="*/ 2147483647 w 876"/>
                <a:gd name="T87" fmla="*/ 2147483647 h 1710"/>
                <a:gd name="T88" fmla="*/ 2147483647 w 876"/>
                <a:gd name="T89" fmla="*/ 2147483647 h 1710"/>
                <a:gd name="T90" fmla="*/ 2147483647 w 876"/>
                <a:gd name="T91" fmla="*/ 2147483647 h 1710"/>
                <a:gd name="T92" fmla="*/ 2147483647 w 876"/>
                <a:gd name="T93" fmla="*/ 2147483647 h 1710"/>
                <a:gd name="T94" fmla="*/ 2147483647 w 876"/>
                <a:gd name="T95" fmla="*/ 2147483647 h 1710"/>
                <a:gd name="T96" fmla="*/ 2147483647 w 876"/>
                <a:gd name="T97" fmla="*/ 2147483647 h 1710"/>
                <a:gd name="T98" fmla="*/ 2147483647 w 876"/>
                <a:gd name="T99" fmla="*/ 2147483647 h 1710"/>
                <a:gd name="T100" fmla="*/ 2147483647 w 876"/>
                <a:gd name="T101" fmla="*/ 2147483647 h 1710"/>
                <a:gd name="T102" fmla="*/ 2147483647 w 876"/>
                <a:gd name="T103" fmla="*/ 2147483647 h 1710"/>
                <a:gd name="T104" fmla="*/ 2147483647 w 876"/>
                <a:gd name="T105" fmla="*/ 2147483647 h 1710"/>
                <a:gd name="T106" fmla="*/ 2147483647 w 876"/>
                <a:gd name="T107" fmla="*/ 2147483647 h 1710"/>
                <a:gd name="T108" fmla="*/ 2147483647 w 876"/>
                <a:gd name="T109" fmla="*/ 2147483647 h 1710"/>
                <a:gd name="T110" fmla="*/ 2147483647 w 876"/>
                <a:gd name="T111" fmla="*/ 2147483647 h 1710"/>
                <a:gd name="T112" fmla="*/ 2147483647 w 876"/>
                <a:gd name="T113" fmla="*/ 2147483647 h 1710"/>
                <a:gd name="T114" fmla="*/ 2147483647 w 876"/>
                <a:gd name="T115" fmla="*/ 2147483647 h 1710"/>
                <a:gd name="T116" fmla="*/ 2147483647 w 876"/>
                <a:gd name="T117" fmla="*/ 2147483647 h 1710"/>
                <a:gd name="T118" fmla="*/ 2147483647 w 876"/>
                <a:gd name="T119" fmla="*/ 2147483647 h 17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6"/>
                <a:gd name="T181" fmla="*/ 0 h 1710"/>
                <a:gd name="T182" fmla="*/ 876 w 876"/>
                <a:gd name="T183" fmla="*/ 1710 h 17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6" h="1710">
                  <a:moveTo>
                    <a:pt x="876" y="780"/>
                  </a:moveTo>
                  <a:lnTo>
                    <a:pt x="864" y="774"/>
                  </a:lnTo>
                  <a:lnTo>
                    <a:pt x="858" y="768"/>
                  </a:lnTo>
                  <a:lnTo>
                    <a:pt x="846" y="762"/>
                  </a:lnTo>
                  <a:lnTo>
                    <a:pt x="840" y="750"/>
                  </a:lnTo>
                  <a:lnTo>
                    <a:pt x="828" y="744"/>
                  </a:lnTo>
                  <a:lnTo>
                    <a:pt x="828" y="720"/>
                  </a:lnTo>
                  <a:lnTo>
                    <a:pt x="834" y="702"/>
                  </a:lnTo>
                  <a:lnTo>
                    <a:pt x="834" y="684"/>
                  </a:lnTo>
                  <a:lnTo>
                    <a:pt x="828" y="666"/>
                  </a:lnTo>
                  <a:lnTo>
                    <a:pt x="816" y="642"/>
                  </a:lnTo>
                  <a:lnTo>
                    <a:pt x="792" y="618"/>
                  </a:lnTo>
                  <a:lnTo>
                    <a:pt x="786" y="600"/>
                  </a:lnTo>
                  <a:lnTo>
                    <a:pt x="786" y="576"/>
                  </a:lnTo>
                  <a:lnTo>
                    <a:pt x="792" y="570"/>
                  </a:lnTo>
                  <a:lnTo>
                    <a:pt x="810" y="570"/>
                  </a:lnTo>
                  <a:lnTo>
                    <a:pt x="810" y="528"/>
                  </a:lnTo>
                  <a:lnTo>
                    <a:pt x="798" y="516"/>
                  </a:lnTo>
                  <a:lnTo>
                    <a:pt x="810" y="510"/>
                  </a:lnTo>
                  <a:lnTo>
                    <a:pt x="810" y="498"/>
                  </a:lnTo>
                  <a:lnTo>
                    <a:pt x="804" y="486"/>
                  </a:lnTo>
                  <a:lnTo>
                    <a:pt x="804" y="474"/>
                  </a:lnTo>
                  <a:lnTo>
                    <a:pt x="798" y="468"/>
                  </a:lnTo>
                  <a:lnTo>
                    <a:pt x="792" y="456"/>
                  </a:lnTo>
                  <a:lnTo>
                    <a:pt x="786" y="450"/>
                  </a:lnTo>
                  <a:lnTo>
                    <a:pt x="774" y="444"/>
                  </a:lnTo>
                  <a:lnTo>
                    <a:pt x="768" y="438"/>
                  </a:lnTo>
                  <a:lnTo>
                    <a:pt x="762" y="420"/>
                  </a:lnTo>
                  <a:lnTo>
                    <a:pt x="756" y="420"/>
                  </a:lnTo>
                  <a:lnTo>
                    <a:pt x="738" y="402"/>
                  </a:lnTo>
                  <a:lnTo>
                    <a:pt x="714" y="390"/>
                  </a:lnTo>
                  <a:lnTo>
                    <a:pt x="702" y="378"/>
                  </a:lnTo>
                  <a:lnTo>
                    <a:pt x="696" y="360"/>
                  </a:lnTo>
                  <a:lnTo>
                    <a:pt x="690" y="348"/>
                  </a:lnTo>
                  <a:lnTo>
                    <a:pt x="690" y="330"/>
                  </a:lnTo>
                  <a:lnTo>
                    <a:pt x="684" y="324"/>
                  </a:lnTo>
                  <a:lnTo>
                    <a:pt x="678" y="324"/>
                  </a:lnTo>
                  <a:lnTo>
                    <a:pt x="666" y="318"/>
                  </a:lnTo>
                  <a:lnTo>
                    <a:pt x="654" y="318"/>
                  </a:lnTo>
                  <a:lnTo>
                    <a:pt x="648" y="324"/>
                  </a:lnTo>
                  <a:lnTo>
                    <a:pt x="648" y="342"/>
                  </a:lnTo>
                  <a:lnTo>
                    <a:pt x="654" y="342"/>
                  </a:lnTo>
                  <a:lnTo>
                    <a:pt x="660" y="348"/>
                  </a:lnTo>
                  <a:lnTo>
                    <a:pt x="672" y="342"/>
                  </a:lnTo>
                  <a:lnTo>
                    <a:pt x="678" y="348"/>
                  </a:lnTo>
                  <a:lnTo>
                    <a:pt x="678" y="366"/>
                  </a:lnTo>
                  <a:lnTo>
                    <a:pt x="672" y="366"/>
                  </a:lnTo>
                  <a:lnTo>
                    <a:pt x="666" y="360"/>
                  </a:lnTo>
                  <a:lnTo>
                    <a:pt x="654" y="372"/>
                  </a:lnTo>
                  <a:lnTo>
                    <a:pt x="630" y="342"/>
                  </a:lnTo>
                  <a:lnTo>
                    <a:pt x="612" y="342"/>
                  </a:lnTo>
                  <a:lnTo>
                    <a:pt x="636" y="378"/>
                  </a:lnTo>
                  <a:lnTo>
                    <a:pt x="618" y="378"/>
                  </a:lnTo>
                  <a:lnTo>
                    <a:pt x="648" y="426"/>
                  </a:lnTo>
                  <a:lnTo>
                    <a:pt x="636" y="438"/>
                  </a:lnTo>
                  <a:lnTo>
                    <a:pt x="648" y="444"/>
                  </a:lnTo>
                  <a:lnTo>
                    <a:pt x="666" y="462"/>
                  </a:lnTo>
                  <a:lnTo>
                    <a:pt x="678" y="468"/>
                  </a:lnTo>
                  <a:lnTo>
                    <a:pt x="684" y="480"/>
                  </a:lnTo>
                  <a:lnTo>
                    <a:pt x="684" y="504"/>
                  </a:lnTo>
                  <a:lnTo>
                    <a:pt x="678" y="516"/>
                  </a:lnTo>
                  <a:lnTo>
                    <a:pt x="678" y="534"/>
                  </a:lnTo>
                  <a:lnTo>
                    <a:pt x="672" y="540"/>
                  </a:lnTo>
                  <a:lnTo>
                    <a:pt x="672" y="570"/>
                  </a:lnTo>
                  <a:lnTo>
                    <a:pt x="678" y="570"/>
                  </a:lnTo>
                  <a:lnTo>
                    <a:pt x="690" y="582"/>
                  </a:lnTo>
                  <a:lnTo>
                    <a:pt x="690" y="600"/>
                  </a:lnTo>
                  <a:lnTo>
                    <a:pt x="678" y="606"/>
                  </a:lnTo>
                  <a:lnTo>
                    <a:pt x="660" y="606"/>
                  </a:lnTo>
                  <a:lnTo>
                    <a:pt x="660" y="618"/>
                  </a:lnTo>
                  <a:lnTo>
                    <a:pt x="666" y="630"/>
                  </a:lnTo>
                  <a:lnTo>
                    <a:pt x="666" y="642"/>
                  </a:lnTo>
                  <a:lnTo>
                    <a:pt x="660" y="654"/>
                  </a:lnTo>
                  <a:lnTo>
                    <a:pt x="654" y="660"/>
                  </a:lnTo>
                  <a:lnTo>
                    <a:pt x="642" y="666"/>
                  </a:lnTo>
                  <a:lnTo>
                    <a:pt x="630" y="666"/>
                  </a:lnTo>
                  <a:lnTo>
                    <a:pt x="618" y="672"/>
                  </a:lnTo>
                  <a:lnTo>
                    <a:pt x="612" y="678"/>
                  </a:lnTo>
                  <a:lnTo>
                    <a:pt x="606" y="678"/>
                  </a:lnTo>
                  <a:lnTo>
                    <a:pt x="606" y="696"/>
                  </a:lnTo>
                  <a:lnTo>
                    <a:pt x="588" y="696"/>
                  </a:lnTo>
                  <a:lnTo>
                    <a:pt x="564" y="672"/>
                  </a:lnTo>
                  <a:lnTo>
                    <a:pt x="564" y="654"/>
                  </a:lnTo>
                  <a:lnTo>
                    <a:pt x="570" y="636"/>
                  </a:lnTo>
                  <a:lnTo>
                    <a:pt x="558" y="636"/>
                  </a:lnTo>
                  <a:lnTo>
                    <a:pt x="552" y="642"/>
                  </a:lnTo>
                  <a:lnTo>
                    <a:pt x="540" y="648"/>
                  </a:lnTo>
                  <a:lnTo>
                    <a:pt x="534" y="654"/>
                  </a:lnTo>
                  <a:lnTo>
                    <a:pt x="534" y="660"/>
                  </a:lnTo>
                  <a:lnTo>
                    <a:pt x="540" y="666"/>
                  </a:lnTo>
                  <a:lnTo>
                    <a:pt x="558" y="702"/>
                  </a:lnTo>
                  <a:lnTo>
                    <a:pt x="558" y="714"/>
                  </a:lnTo>
                  <a:lnTo>
                    <a:pt x="552" y="720"/>
                  </a:lnTo>
                  <a:lnTo>
                    <a:pt x="540" y="744"/>
                  </a:lnTo>
                  <a:lnTo>
                    <a:pt x="540" y="756"/>
                  </a:lnTo>
                  <a:lnTo>
                    <a:pt x="546" y="762"/>
                  </a:lnTo>
                  <a:lnTo>
                    <a:pt x="546" y="768"/>
                  </a:lnTo>
                  <a:lnTo>
                    <a:pt x="552" y="780"/>
                  </a:lnTo>
                  <a:lnTo>
                    <a:pt x="558" y="786"/>
                  </a:lnTo>
                  <a:lnTo>
                    <a:pt x="558" y="792"/>
                  </a:lnTo>
                  <a:lnTo>
                    <a:pt x="522" y="792"/>
                  </a:lnTo>
                  <a:lnTo>
                    <a:pt x="498" y="780"/>
                  </a:lnTo>
                  <a:lnTo>
                    <a:pt x="474" y="780"/>
                  </a:lnTo>
                  <a:lnTo>
                    <a:pt x="450" y="792"/>
                  </a:lnTo>
                  <a:lnTo>
                    <a:pt x="438" y="792"/>
                  </a:lnTo>
                  <a:lnTo>
                    <a:pt x="420" y="798"/>
                  </a:lnTo>
                  <a:lnTo>
                    <a:pt x="414" y="804"/>
                  </a:lnTo>
                  <a:lnTo>
                    <a:pt x="378" y="804"/>
                  </a:lnTo>
                  <a:lnTo>
                    <a:pt x="366" y="792"/>
                  </a:lnTo>
                  <a:lnTo>
                    <a:pt x="336" y="816"/>
                  </a:lnTo>
                  <a:lnTo>
                    <a:pt x="330" y="828"/>
                  </a:lnTo>
                  <a:lnTo>
                    <a:pt x="312" y="846"/>
                  </a:lnTo>
                  <a:lnTo>
                    <a:pt x="306" y="864"/>
                  </a:lnTo>
                  <a:lnTo>
                    <a:pt x="300" y="870"/>
                  </a:lnTo>
                  <a:lnTo>
                    <a:pt x="294" y="882"/>
                  </a:lnTo>
                  <a:lnTo>
                    <a:pt x="270" y="882"/>
                  </a:lnTo>
                  <a:lnTo>
                    <a:pt x="264" y="888"/>
                  </a:lnTo>
                  <a:lnTo>
                    <a:pt x="258" y="888"/>
                  </a:lnTo>
                  <a:lnTo>
                    <a:pt x="258" y="900"/>
                  </a:lnTo>
                  <a:lnTo>
                    <a:pt x="264" y="912"/>
                  </a:lnTo>
                  <a:lnTo>
                    <a:pt x="276" y="924"/>
                  </a:lnTo>
                  <a:lnTo>
                    <a:pt x="288" y="924"/>
                  </a:lnTo>
                  <a:lnTo>
                    <a:pt x="294" y="918"/>
                  </a:lnTo>
                  <a:lnTo>
                    <a:pt x="312" y="918"/>
                  </a:lnTo>
                  <a:lnTo>
                    <a:pt x="318" y="924"/>
                  </a:lnTo>
                  <a:lnTo>
                    <a:pt x="324" y="924"/>
                  </a:lnTo>
                  <a:lnTo>
                    <a:pt x="336" y="930"/>
                  </a:lnTo>
                  <a:lnTo>
                    <a:pt x="342" y="930"/>
                  </a:lnTo>
                  <a:lnTo>
                    <a:pt x="348" y="924"/>
                  </a:lnTo>
                  <a:lnTo>
                    <a:pt x="348" y="912"/>
                  </a:lnTo>
                  <a:lnTo>
                    <a:pt x="354" y="906"/>
                  </a:lnTo>
                  <a:lnTo>
                    <a:pt x="354" y="894"/>
                  </a:lnTo>
                  <a:lnTo>
                    <a:pt x="372" y="906"/>
                  </a:lnTo>
                  <a:lnTo>
                    <a:pt x="378" y="906"/>
                  </a:lnTo>
                  <a:lnTo>
                    <a:pt x="384" y="900"/>
                  </a:lnTo>
                  <a:lnTo>
                    <a:pt x="420" y="882"/>
                  </a:lnTo>
                  <a:lnTo>
                    <a:pt x="426" y="882"/>
                  </a:lnTo>
                  <a:lnTo>
                    <a:pt x="432" y="876"/>
                  </a:lnTo>
                  <a:lnTo>
                    <a:pt x="444" y="876"/>
                  </a:lnTo>
                  <a:lnTo>
                    <a:pt x="456" y="882"/>
                  </a:lnTo>
                  <a:lnTo>
                    <a:pt x="480" y="882"/>
                  </a:lnTo>
                  <a:lnTo>
                    <a:pt x="480" y="876"/>
                  </a:lnTo>
                  <a:lnTo>
                    <a:pt x="474" y="870"/>
                  </a:lnTo>
                  <a:lnTo>
                    <a:pt x="474" y="864"/>
                  </a:lnTo>
                  <a:lnTo>
                    <a:pt x="480" y="858"/>
                  </a:lnTo>
                  <a:lnTo>
                    <a:pt x="498" y="858"/>
                  </a:lnTo>
                  <a:lnTo>
                    <a:pt x="516" y="876"/>
                  </a:lnTo>
                  <a:lnTo>
                    <a:pt x="522" y="870"/>
                  </a:lnTo>
                  <a:lnTo>
                    <a:pt x="534" y="864"/>
                  </a:lnTo>
                  <a:lnTo>
                    <a:pt x="540" y="864"/>
                  </a:lnTo>
                  <a:lnTo>
                    <a:pt x="546" y="858"/>
                  </a:lnTo>
                  <a:lnTo>
                    <a:pt x="552" y="864"/>
                  </a:lnTo>
                  <a:lnTo>
                    <a:pt x="552" y="882"/>
                  </a:lnTo>
                  <a:lnTo>
                    <a:pt x="546" y="894"/>
                  </a:lnTo>
                  <a:lnTo>
                    <a:pt x="540" y="900"/>
                  </a:lnTo>
                  <a:lnTo>
                    <a:pt x="540" y="912"/>
                  </a:lnTo>
                  <a:lnTo>
                    <a:pt x="546" y="918"/>
                  </a:lnTo>
                  <a:lnTo>
                    <a:pt x="552" y="930"/>
                  </a:lnTo>
                  <a:lnTo>
                    <a:pt x="576" y="954"/>
                  </a:lnTo>
                  <a:lnTo>
                    <a:pt x="600" y="966"/>
                  </a:lnTo>
                  <a:lnTo>
                    <a:pt x="612" y="960"/>
                  </a:lnTo>
                  <a:lnTo>
                    <a:pt x="618" y="954"/>
                  </a:lnTo>
                  <a:lnTo>
                    <a:pt x="630" y="930"/>
                  </a:lnTo>
                  <a:lnTo>
                    <a:pt x="630" y="906"/>
                  </a:lnTo>
                  <a:lnTo>
                    <a:pt x="660" y="900"/>
                  </a:lnTo>
                  <a:lnTo>
                    <a:pt x="654" y="894"/>
                  </a:lnTo>
                  <a:lnTo>
                    <a:pt x="648" y="882"/>
                  </a:lnTo>
                  <a:lnTo>
                    <a:pt x="636" y="870"/>
                  </a:lnTo>
                  <a:lnTo>
                    <a:pt x="624" y="870"/>
                  </a:lnTo>
                  <a:lnTo>
                    <a:pt x="612" y="858"/>
                  </a:lnTo>
                  <a:lnTo>
                    <a:pt x="630" y="834"/>
                  </a:lnTo>
                  <a:lnTo>
                    <a:pt x="636" y="834"/>
                  </a:lnTo>
                  <a:lnTo>
                    <a:pt x="636" y="840"/>
                  </a:lnTo>
                  <a:lnTo>
                    <a:pt x="642" y="852"/>
                  </a:lnTo>
                  <a:lnTo>
                    <a:pt x="642" y="858"/>
                  </a:lnTo>
                  <a:lnTo>
                    <a:pt x="654" y="858"/>
                  </a:lnTo>
                  <a:lnTo>
                    <a:pt x="666" y="870"/>
                  </a:lnTo>
                  <a:lnTo>
                    <a:pt x="666" y="876"/>
                  </a:lnTo>
                  <a:lnTo>
                    <a:pt x="684" y="864"/>
                  </a:lnTo>
                  <a:lnTo>
                    <a:pt x="696" y="870"/>
                  </a:lnTo>
                  <a:lnTo>
                    <a:pt x="732" y="870"/>
                  </a:lnTo>
                  <a:lnTo>
                    <a:pt x="744" y="858"/>
                  </a:lnTo>
                  <a:lnTo>
                    <a:pt x="744" y="852"/>
                  </a:lnTo>
                  <a:lnTo>
                    <a:pt x="738" y="846"/>
                  </a:lnTo>
                  <a:lnTo>
                    <a:pt x="738" y="840"/>
                  </a:lnTo>
                  <a:lnTo>
                    <a:pt x="744" y="834"/>
                  </a:lnTo>
                  <a:lnTo>
                    <a:pt x="762" y="834"/>
                  </a:lnTo>
                  <a:lnTo>
                    <a:pt x="768" y="840"/>
                  </a:lnTo>
                  <a:lnTo>
                    <a:pt x="768" y="858"/>
                  </a:lnTo>
                  <a:lnTo>
                    <a:pt x="774" y="864"/>
                  </a:lnTo>
                  <a:lnTo>
                    <a:pt x="774" y="870"/>
                  </a:lnTo>
                  <a:lnTo>
                    <a:pt x="780" y="870"/>
                  </a:lnTo>
                  <a:lnTo>
                    <a:pt x="786" y="864"/>
                  </a:lnTo>
                  <a:lnTo>
                    <a:pt x="786" y="852"/>
                  </a:lnTo>
                  <a:lnTo>
                    <a:pt x="780" y="840"/>
                  </a:lnTo>
                  <a:lnTo>
                    <a:pt x="780" y="816"/>
                  </a:lnTo>
                  <a:lnTo>
                    <a:pt x="804" y="816"/>
                  </a:lnTo>
                  <a:lnTo>
                    <a:pt x="804" y="798"/>
                  </a:lnTo>
                  <a:lnTo>
                    <a:pt x="810" y="792"/>
                  </a:lnTo>
                  <a:lnTo>
                    <a:pt x="810" y="786"/>
                  </a:lnTo>
                  <a:lnTo>
                    <a:pt x="816" y="780"/>
                  </a:lnTo>
                  <a:lnTo>
                    <a:pt x="828" y="792"/>
                  </a:lnTo>
                  <a:lnTo>
                    <a:pt x="828" y="840"/>
                  </a:lnTo>
                  <a:lnTo>
                    <a:pt x="852" y="840"/>
                  </a:lnTo>
                  <a:lnTo>
                    <a:pt x="858" y="828"/>
                  </a:lnTo>
                  <a:lnTo>
                    <a:pt x="858" y="792"/>
                  </a:lnTo>
                  <a:lnTo>
                    <a:pt x="876" y="780"/>
                  </a:lnTo>
                  <a:close/>
                  <a:moveTo>
                    <a:pt x="498" y="912"/>
                  </a:moveTo>
                  <a:lnTo>
                    <a:pt x="486" y="906"/>
                  </a:lnTo>
                  <a:lnTo>
                    <a:pt x="480" y="900"/>
                  </a:lnTo>
                  <a:lnTo>
                    <a:pt x="468" y="894"/>
                  </a:lnTo>
                  <a:lnTo>
                    <a:pt x="444" y="894"/>
                  </a:lnTo>
                  <a:lnTo>
                    <a:pt x="438" y="900"/>
                  </a:lnTo>
                  <a:lnTo>
                    <a:pt x="438" y="924"/>
                  </a:lnTo>
                  <a:lnTo>
                    <a:pt x="432" y="924"/>
                  </a:lnTo>
                  <a:lnTo>
                    <a:pt x="426" y="918"/>
                  </a:lnTo>
                  <a:lnTo>
                    <a:pt x="396" y="918"/>
                  </a:lnTo>
                  <a:lnTo>
                    <a:pt x="390" y="924"/>
                  </a:lnTo>
                  <a:lnTo>
                    <a:pt x="390" y="942"/>
                  </a:lnTo>
                  <a:lnTo>
                    <a:pt x="396" y="948"/>
                  </a:lnTo>
                  <a:lnTo>
                    <a:pt x="396" y="954"/>
                  </a:lnTo>
                  <a:lnTo>
                    <a:pt x="378" y="972"/>
                  </a:lnTo>
                  <a:lnTo>
                    <a:pt x="390" y="978"/>
                  </a:lnTo>
                  <a:lnTo>
                    <a:pt x="396" y="990"/>
                  </a:lnTo>
                  <a:lnTo>
                    <a:pt x="408" y="1002"/>
                  </a:lnTo>
                  <a:lnTo>
                    <a:pt x="432" y="1014"/>
                  </a:lnTo>
                  <a:lnTo>
                    <a:pt x="438" y="1020"/>
                  </a:lnTo>
                  <a:lnTo>
                    <a:pt x="450" y="1026"/>
                  </a:lnTo>
                  <a:lnTo>
                    <a:pt x="450" y="984"/>
                  </a:lnTo>
                  <a:lnTo>
                    <a:pt x="456" y="972"/>
                  </a:lnTo>
                  <a:lnTo>
                    <a:pt x="462" y="966"/>
                  </a:lnTo>
                  <a:lnTo>
                    <a:pt x="474" y="960"/>
                  </a:lnTo>
                  <a:lnTo>
                    <a:pt x="486" y="960"/>
                  </a:lnTo>
                  <a:lnTo>
                    <a:pt x="492" y="966"/>
                  </a:lnTo>
                  <a:lnTo>
                    <a:pt x="504" y="972"/>
                  </a:lnTo>
                  <a:lnTo>
                    <a:pt x="510" y="984"/>
                  </a:lnTo>
                  <a:lnTo>
                    <a:pt x="516" y="990"/>
                  </a:lnTo>
                  <a:lnTo>
                    <a:pt x="516" y="978"/>
                  </a:lnTo>
                  <a:lnTo>
                    <a:pt x="522" y="966"/>
                  </a:lnTo>
                  <a:lnTo>
                    <a:pt x="522" y="954"/>
                  </a:lnTo>
                  <a:lnTo>
                    <a:pt x="528" y="942"/>
                  </a:lnTo>
                  <a:lnTo>
                    <a:pt x="528" y="930"/>
                  </a:lnTo>
                  <a:lnTo>
                    <a:pt x="522" y="918"/>
                  </a:lnTo>
                  <a:lnTo>
                    <a:pt x="516" y="912"/>
                  </a:lnTo>
                  <a:lnTo>
                    <a:pt x="516" y="906"/>
                  </a:lnTo>
                  <a:lnTo>
                    <a:pt x="498" y="912"/>
                  </a:lnTo>
                  <a:close/>
                  <a:moveTo>
                    <a:pt x="354" y="1050"/>
                  </a:moveTo>
                  <a:lnTo>
                    <a:pt x="354" y="1038"/>
                  </a:lnTo>
                  <a:lnTo>
                    <a:pt x="372" y="1020"/>
                  </a:lnTo>
                  <a:lnTo>
                    <a:pt x="372" y="1008"/>
                  </a:lnTo>
                  <a:lnTo>
                    <a:pt x="360" y="1002"/>
                  </a:lnTo>
                  <a:lnTo>
                    <a:pt x="354" y="990"/>
                  </a:lnTo>
                  <a:lnTo>
                    <a:pt x="348" y="984"/>
                  </a:lnTo>
                  <a:lnTo>
                    <a:pt x="336" y="978"/>
                  </a:lnTo>
                  <a:lnTo>
                    <a:pt x="336" y="966"/>
                  </a:lnTo>
                  <a:lnTo>
                    <a:pt x="330" y="960"/>
                  </a:lnTo>
                  <a:lnTo>
                    <a:pt x="324" y="960"/>
                  </a:lnTo>
                  <a:lnTo>
                    <a:pt x="318" y="954"/>
                  </a:lnTo>
                  <a:lnTo>
                    <a:pt x="300" y="954"/>
                  </a:lnTo>
                  <a:lnTo>
                    <a:pt x="294" y="948"/>
                  </a:lnTo>
                  <a:lnTo>
                    <a:pt x="270" y="936"/>
                  </a:lnTo>
                  <a:lnTo>
                    <a:pt x="258" y="936"/>
                  </a:lnTo>
                  <a:lnTo>
                    <a:pt x="240" y="954"/>
                  </a:lnTo>
                  <a:lnTo>
                    <a:pt x="204" y="972"/>
                  </a:lnTo>
                  <a:lnTo>
                    <a:pt x="234" y="1026"/>
                  </a:lnTo>
                  <a:lnTo>
                    <a:pt x="252" y="1014"/>
                  </a:lnTo>
                  <a:lnTo>
                    <a:pt x="252" y="1008"/>
                  </a:lnTo>
                  <a:lnTo>
                    <a:pt x="246" y="1002"/>
                  </a:lnTo>
                  <a:lnTo>
                    <a:pt x="246" y="990"/>
                  </a:lnTo>
                  <a:lnTo>
                    <a:pt x="252" y="990"/>
                  </a:lnTo>
                  <a:lnTo>
                    <a:pt x="264" y="1002"/>
                  </a:lnTo>
                  <a:lnTo>
                    <a:pt x="270" y="1014"/>
                  </a:lnTo>
                  <a:lnTo>
                    <a:pt x="276" y="1020"/>
                  </a:lnTo>
                  <a:lnTo>
                    <a:pt x="282" y="1032"/>
                  </a:lnTo>
                  <a:lnTo>
                    <a:pt x="282" y="1068"/>
                  </a:lnTo>
                  <a:lnTo>
                    <a:pt x="264" y="1074"/>
                  </a:lnTo>
                  <a:lnTo>
                    <a:pt x="264" y="1080"/>
                  </a:lnTo>
                  <a:lnTo>
                    <a:pt x="270" y="1086"/>
                  </a:lnTo>
                  <a:lnTo>
                    <a:pt x="270" y="1104"/>
                  </a:lnTo>
                  <a:lnTo>
                    <a:pt x="276" y="1116"/>
                  </a:lnTo>
                  <a:lnTo>
                    <a:pt x="282" y="1134"/>
                  </a:lnTo>
                  <a:lnTo>
                    <a:pt x="294" y="1146"/>
                  </a:lnTo>
                  <a:lnTo>
                    <a:pt x="300" y="1146"/>
                  </a:lnTo>
                  <a:lnTo>
                    <a:pt x="306" y="1140"/>
                  </a:lnTo>
                  <a:lnTo>
                    <a:pt x="306" y="1104"/>
                  </a:lnTo>
                  <a:lnTo>
                    <a:pt x="336" y="1116"/>
                  </a:lnTo>
                  <a:lnTo>
                    <a:pt x="336" y="1140"/>
                  </a:lnTo>
                  <a:lnTo>
                    <a:pt x="342" y="1146"/>
                  </a:lnTo>
                  <a:lnTo>
                    <a:pt x="342" y="1152"/>
                  </a:lnTo>
                  <a:lnTo>
                    <a:pt x="348" y="1152"/>
                  </a:lnTo>
                  <a:lnTo>
                    <a:pt x="348" y="1140"/>
                  </a:lnTo>
                  <a:lnTo>
                    <a:pt x="360" y="1128"/>
                  </a:lnTo>
                  <a:lnTo>
                    <a:pt x="366" y="1116"/>
                  </a:lnTo>
                  <a:lnTo>
                    <a:pt x="366" y="1110"/>
                  </a:lnTo>
                  <a:lnTo>
                    <a:pt x="360" y="1104"/>
                  </a:lnTo>
                  <a:lnTo>
                    <a:pt x="360" y="1074"/>
                  </a:lnTo>
                  <a:lnTo>
                    <a:pt x="354" y="1062"/>
                  </a:lnTo>
                  <a:lnTo>
                    <a:pt x="354" y="1050"/>
                  </a:lnTo>
                  <a:close/>
                  <a:moveTo>
                    <a:pt x="264" y="1026"/>
                  </a:moveTo>
                  <a:lnTo>
                    <a:pt x="246" y="1062"/>
                  </a:lnTo>
                  <a:lnTo>
                    <a:pt x="264" y="1056"/>
                  </a:lnTo>
                  <a:lnTo>
                    <a:pt x="264" y="1026"/>
                  </a:lnTo>
                  <a:close/>
                  <a:moveTo>
                    <a:pt x="624" y="618"/>
                  </a:moveTo>
                  <a:lnTo>
                    <a:pt x="636" y="618"/>
                  </a:lnTo>
                  <a:lnTo>
                    <a:pt x="636" y="594"/>
                  </a:lnTo>
                  <a:lnTo>
                    <a:pt x="630" y="594"/>
                  </a:lnTo>
                  <a:lnTo>
                    <a:pt x="612" y="570"/>
                  </a:lnTo>
                  <a:lnTo>
                    <a:pt x="606" y="582"/>
                  </a:lnTo>
                  <a:lnTo>
                    <a:pt x="618" y="600"/>
                  </a:lnTo>
                  <a:lnTo>
                    <a:pt x="624" y="618"/>
                  </a:lnTo>
                  <a:close/>
                  <a:moveTo>
                    <a:pt x="546" y="72"/>
                  </a:moveTo>
                  <a:lnTo>
                    <a:pt x="552" y="96"/>
                  </a:lnTo>
                  <a:lnTo>
                    <a:pt x="558" y="102"/>
                  </a:lnTo>
                  <a:lnTo>
                    <a:pt x="570" y="108"/>
                  </a:lnTo>
                  <a:lnTo>
                    <a:pt x="576" y="114"/>
                  </a:lnTo>
                  <a:lnTo>
                    <a:pt x="576" y="132"/>
                  </a:lnTo>
                  <a:lnTo>
                    <a:pt x="564" y="144"/>
                  </a:lnTo>
                  <a:lnTo>
                    <a:pt x="564" y="150"/>
                  </a:lnTo>
                  <a:lnTo>
                    <a:pt x="570" y="156"/>
                  </a:lnTo>
                  <a:lnTo>
                    <a:pt x="576" y="168"/>
                  </a:lnTo>
                  <a:lnTo>
                    <a:pt x="582" y="174"/>
                  </a:lnTo>
                  <a:lnTo>
                    <a:pt x="582" y="186"/>
                  </a:lnTo>
                  <a:lnTo>
                    <a:pt x="576" y="186"/>
                  </a:lnTo>
                  <a:lnTo>
                    <a:pt x="564" y="180"/>
                  </a:lnTo>
                  <a:lnTo>
                    <a:pt x="552" y="180"/>
                  </a:lnTo>
                  <a:lnTo>
                    <a:pt x="540" y="174"/>
                  </a:lnTo>
                  <a:lnTo>
                    <a:pt x="528" y="174"/>
                  </a:lnTo>
                  <a:lnTo>
                    <a:pt x="522" y="168"/>
                  </a:lnTo>
                  <a:lnTo>
                    <a:pt x="522" y="180"/>
                  </a:lnTo>
                  <a:lnTo>
                    <a:pt x="540" y="198"/>
                  </a:lnTo>
                  <a:lnTo>
                    <a:pt x="516" y="228"/>
                  </a:lnTo>
                  <a:lnTo>
                    <a:pt x="522" y="240"/>
                  </a:lnTo>
                  <a:lnTo>
                    <a:pt x="528" y="246"/>
                  </a:lnTo>
                  <a:lnTo>
                    <a:pt x="528" y="252"/>
                  </a:lnTo>
                  <a:lnTo>
                    <a:pt x="534" y="258"/>
                  </a:lnTo>
                  <a:lnTo>
                    <a:pt x="546" y="264"/>
                  </a:lnTo>
                  <a:lnTo>
                    <a:pt x="552" y="270"/>
                  </a:lnTo>
                  <a:lnTo>
                    <a:pt x="564" y="276"/>
                  </a:lnTo>
                  <a:lnTo>
                    <a:pt x="570" y="282"/>
                  </a:lnTo>
                  <a:lnTo>
                    <a:pt x="576" y="282"/>
                  </a:lnTo>
                  <a:lnTo>
                    <a:pt x="576" y="318"/>
                  </a:lnTo>
                  <a:lnTo>
                    <a:pt x="582" y="330"/>
                  </a:lnTo>
                  <a:lnTo>
                    <a:pt x="600" y="330"/>
                  </a:lnTo>
                  <a:lnTo>
                    <a:pt x="600" y="300"/>
                  </a:lnTo>
                  <a:lnTo>
                    <a:pt x="636" y="300"/>
                  </a:lnTo>
                  <a:lnTo>
                    <a:pt x="642" y="294"/>
                  </a:lnTo>
                  <a:lnTo>
                    <a:pt x="606" y="270"/>
                  </a:lnTo>
                  <a:lnTo>
                    <a:pt x="588" y="270"/>
                  </a:lnTo>
                  <a:lnTo>
                    <a:pt x="576" y="264"/>
                  </a:lnTo>
                  <a:lnTo>
                    <a:pt x="570" y="264"/>
                  </a:lnTo>
                  <a:lnTo>
                    <a:pt x="558" y="258"/>
                  </a:lnTo>
                  <a:lnTo>
                    <a:pt x="558" y="246"/>
                  </a:lnTo>
                  <a:lnTo>
                    <a:pt x="564" y="240"/>
                  </a:lnTo>
                  <a:lnTo>
                    <a:pt x="576" y="234"/>
                  </a:lnTo>
                  <a:lnTo>
                    <a:pt x="600" y="246"/>
                  </a:lnTo>
                  <a:lnTo>
                    <a:pt x="606" y="252"/>
                  </a:lnTo>
                  <a:lnTo>
                    <a:pt x="618" y="240"/>
                  </a:lnTo>
                  <a:lnTo>
                    <a:pt x="630" y="234"/>
                  </a:lnTo>
                  <a:lnTo>
                    <a:pt x="636" y="234"/>
                  </a:lnTo>
                  <a:lnTo>
                    <a:pt x="690" y="252"/>
                  </a:lnTo>
                  <a:lnTo>
                    <a:pt x="726" y="270"/>
                  </a:lnTo>
                  <a:lnTo>
                    <a:pt x="756" y="282"/>
                  </a:lnTo>
                  <a:lnTo>
                    <a:pt x="768" y="282"/>
                  </a:lnTo>
                  <a:lnTo>
                    <a:pt x="768" y="270"/>
                  </a:lnTo>
                  <a:lnTo>
                    <a:pt x="762" y="258"/>
                  </a:lnTo>
                  <a:lnTo>
                    <a:pt x="762" y="222"/>
                  </a:lnTo>
                  <a:lnTo>
                    <a:pt x="780" y="204"/>
                  </a:lnTo>
                  <a:lnTo>
                    <a:pt x="792" y="204"/>
                  </a:lnTo>
                  <a:lnTo>
                    <a:pt x="798" y="210"/>
                  </a:lnTo>
                  <a:lnTo>
                    <a:pt x="816" y="210"/>
                  </a:lnTo>
                  <a:lnTo>
                    <a:pt x="840" y="198"/>
                  </a:lnTo>
                  <a:lnTo>
                    <a:pt x="858" y="180"/>
                  </a:lnTo>
                  <a:lnTo>
                    <a:pt x="804" y="144"/>
                  </a:lnTo>
                  <a:lnTo>
                    <a:pt x="804" y="120"/>
                  </a:lnTo>
                  <a:lnTo>
                    <a:pt x="798" y="108"/>
                  </a:lnTo>
                  <a:lnTo>
                    <a:pt x="792" y="102"/>
                  </a:lnTo>
                  <a:lnTo>
                    <a:pt x="786" y="102"/>
                  </a:lnTo>
                  <a:lnTo>
                    <a:pt x="774" y="114"/>
                  </a:lnTo>
                  <a:lnTo>
                    <a:pt x="774" y="126"/>
                  </a:lnTo>
                  <a:lnTo>
                    <a:pt x="756" y="120"/>
                  </a:lnTo>
                  <a:lnTo>
                    <a:pt x="720" y="114"/>
                  </a:lnTo>
                  <a:lnTo>
                    <a:pt x="678" y="102"/>
                  </a:lnTo>
                  <a:lnTo>
                    <a:pt x="648" y="90"/>
                  </a:lnTo>
                  <a:lnTo>
                    <a:pt x="624" y="72"/>
                  </a:lnTo>
                  <a:lnTo>
                    <a:pt x="552" y="24"/>
                  </a:lnTo>
                  <a:lnTo>
                    <a:pt x="516" y="6"/>
                  </a:lnTo>
                  <a:lnTo>
                    <a:pt x="498" y="0"/>
                  </a:lnTo>
                  <a:lnTo>
                    <a:pt x="498" y="18"/>
                  </a:lnTo>
                  <a:lnTo>
                    <a:pt x="510" y="30"/>
                  </a:lnTo>
                  <a:lnTo>
                    <a:pt x="516" y="42"/>
                  </a:lnTo>
                  <a:lnTo>
                    <a:pt x="528" y="54"/>
                  </a:lnTo>
                  <a:lnTo>
                    <a:pt x="534" y="66"/>
                  </a:lnTo>
                  <a:lnTo>
                    <a:pt x="546" y="72"/>
                  </a:lnTo>
                  <a:close/>
                  <a:moveTo>
                    <a:pt x="282" y="1458"/>
                  </a:moveTo>
                  <a:lnTo>
                    <a:pt x="306" y="1458"/>
                  </a:lnTo>
                  <a:lnTo>
                    <a:pt x="276" y="1440"/>
                  </a:lnTo>
                  <a:lnTo>
                    <a:pt x="282" y="1458"/>
                  </a:lnTo>
                  <a:close/>
                  <a:moveTo>
                    <a:pt x="300" y="1386"/>
                  </a:moveTo>
                  <a:lnTo>
                    <a:pt x="312" y="1398"/>
                  </a:lnTo>
                  <a:lnTo>
                    <a:pt x="318" y="1398"/>
                  </a:lnTo>
                  <a:lnTo>
                    <a:pt x="330" y="1386"/>
                  </a:lnTo>
                  <a:lnTo>
                    <a:pt x="336" y="1386"/>
                  </a:lnTo>
                  <a:lnTo>
                    <a:pt x="342" y="1380"/>
                  </a:lnTo>
                  <a:lnTo>
                    <a:pt x="342" y="1368"/>
                  </a:lnTo>
                  <a:lnTo>
                    <a:pt x="336" y="1362"/>
                  </a:lnTo>
                  <a:lnTo>
                    <a:pt x="318" y="1362"/>
                  </a:lnTo>
                  <a:lnTo>
                    <a:pt x="306" y="1368"/>
                  </a:lnTo>
                  <a:lnTo>
                    <a:pt x="300" y="1380"/>
                  </a:lnTo>
                  <a:lnTo>
                    <a:pt x="300" y="1386"/>
                  </a:lnTo>
                  <a:close/>
                  <a:moveTo>
                    <a:pt x="312" y="1416"/>
                  </a:moveTo>
                  <a:lnTo>
                    <a:pt x="300" y="1416"/>
                  </a:lnTo>
                  <a:lnTo>
                    <a:pt x="300" y="1428"/>
                  </a:lnTo>
                  <a:lnTo>
                    <a:pt x="318" y="1428"/>
                  </a:lnTo>
                  <a:lnTo>
                    <a:pt x="318" y="1422"/>
                  </a:lnTo>
                  <a:lnTo>
                    <a:pt x="312" y="1416"/>
                  </a:lnTo>
                  <a:close/>
                  <a:moveTo>
                    <a:pt x="336" y="1200"/>
                  </a:moveTo>
                  <a:lnTo>
                    <a:pt x="336" y="1206"/>
                  </a:lnTo>
                  <a:lnTo>
                    <a:pt x="330" y="1206"/>
                  </a:lnTo>
                  <a:lnTo>
                    <a:pt x="318" y="1212"/>
                  </a:lnTo>
                  <a:lnTo>
                    <a:pt x="342" y="1230"/>
                  </a:lnTo>
                  <a:lnTo>
                    <a:pt x="342" y="1218"/>
                  </a:lnTo>
                  <a:lnTo>
                    <a:pt x="336" y="1206"/>
                  </a:lnTo>
                  <a:lnTo>
                    <a:pt x="336" y="1200"/>
                  </a:lnTo>
                  <a:close/>
                  <a:moveTo>
                    <a:pt x="366" y="1170"/>
                  </a:moveTo>
                  <a:lnTo>
                    <a:pt x="366" y="1182"/>
                  </a:lnTo>
                  <a:lnTo>
                    <a:pt x="360" y="1194"/>
                  </a:lnTo>
                  <a:lnTo>
                    <a:pt x="378" y="1224"/>
                  </a:lnTo>
                  <a:lnTo>
                    <a:pt x="378" y="1200"/>
                  </a:lnTo>
                  <a:lnTo>
                    <a:pt x="372" y="1194"/>
                  </a:lnTo>
                  <a:lnTo>
                    <a:pt x="372" y="1176"/>
                  </a:lnTo>
                  <a:lnTo>
                    <a:pt x="366" y="1170"/>
                  </a:lnTo>
                  <a:close/>
                  <a:moveTo>
                    <a:pt x="36" y="1698"/>
                  </a:moveTo>
                  <a:lnTo>
                    <a:pt x="54" y="1698"/>
                  </a:lnTo>
                  <a:lnTo>
                    <a:pt x="60" y="1692"/>
                  </a:lnTo>
                  <a:lnTo>
                    <a:pt x="72" y="1692"/>
                  </a:lnTo>
                  <a:lnTo>
                    <a:pt x="42" y="1680"/>
                  </a:lnTo>
                  <a:lnTo>
                    <a:pt x="36" y="1686"/>
                  </a:lnTo>
                  <a:lnTo>
                    <a:pt x="36" y="1698"/>
                  </a:lnTo>
                  <a:close/>
                  <a:moveTo>
                    <a:pt x="114" y="1662"/>
                  </a:moveTo>
                  <a:lnTo>
                    <a:pt x="96" y="1632"/>
                  </a:lnTo>
                  <a:lnTo>
                    <a:pt x="96" y="1662"/>
                  </a:lnTo>
                  <a:lnTo>
                    <a:pt x="102" y="1674"/>
                  </a:lnTo>
                  <a:lnTo>
                    <a:pt x="114" y="1680"/>
                  </a:lnTo>
                  <a:lnTo>
                    <a:pt x="120" y="1680"/>
                  </a:lnTo>
                  <a:lnTo>
                    <a:pt x="126" y="1674"/>
                  </a:lnTo>
                  <a:lnTo>
                    <a:pt x="126" y="1662"/>
                  </a:lnTo>
                  <a:lnTo>
                    <a:pt x="114" y="1662"/>
                  </a:lnTo>
                  <a:close/>
                  <a:moveTo>
                    <a:pt x="12" y="1686"/>
                  </a:moveTo>
                  <a:lnTo>
                    <a:pt x="6" y="1686"/>
                  </a:lnTo>
                  <a:lnTo>
                    <a:pt x="0" y="1692"/>
                  </a:lnTo>
                  <a:lnTo>
                    <a:pt x="0" y="1704"/>
                  </a:lnTo>
                  <a:lnTo>
                    <a:pt x="6" y="1710"/>
                  </a:lnTo>
                  <a:lnTo>
                    <a:pt x="12" y="1710"/>
                  </a:lnTo>
                  <a:lnTo>
                    <a:pt x="24" y="1698"/>
                  </a:lnTo>
                  <a:lnTo>
                    <a:pt x="24" y="1686"/>
                  </a:lnTo>
                  <a:lnTo>
                    <a:pt x="12" y="1686"/>
                  </a:lnTo>
                  <a:close/>
                  <a:moveTo>
                    <a:pt x="168" y="1536"/>
                  </a:moveTo>
                  <a:lnTo>
                    <a:pt x="168" y="1542"/>
                  </a:lnTo>
                  <a:lnTo>
                    <a:pt x="180" y="1548"/>
                  </a:lnTo>
                  <a:lnTo>
                    <a:pt x="186" y="1548"/>
                  </a:lnTo>
                  <a:lnTo>
                    <a:pt x="186" y="1536"/>
                  </a:lnTo>
                  <a:lnTo>
                    <a:pt x="180" y="1530"/>
                  </a:lnTo>
                  <a:lnTo>
                    <a:pt x="168" y="1530"/>
                  </a:lnTo>
                  <a:lnTo>
                    <a:pt x="168" y="1536"/>
                  </a:lnTo>
                  <a:close/>
                  <a:moveTo>
                    <a:pt x="264" y="1494"/>
                  </a:moveTo>
                  <a:lnTo>
                    <a:pt x="252" y="1518"/>
                  </a:lnTo>
                  <a:lnTo>
                    <a:pt x="246" y="1536"/>
                  </a:lnTo>
                  <a:lnTo>
                    <a:pt x="246" y="1548"/>
                  </a:lnTo>
                  <a:lnTo>
                    <a:pt x="240" y="1554"/>
                  </a:lnTo>
                  <a:lnTo>
                    <a:pt x="240" y="1560"/>
                  </a:lnTo>
                  <a:lnTo>
                    <a:pt x="258" y="1566"/>
                  </a:lnTo>
                  <a:lnTo>
                    <a:pt x="264" y="1554"/>
                  </a:lnTo>
                  <a:lnTo>
                    <a:pt x="264" y="1548"/>
                  </a:lnTo>
                  <a:lnTo>
                    <a:pt x="270" y="1542"/>
                  </a:lnTo>
                  <a:lnTo>
                    <a:pt x="270" y="1524"/>
                  </a:lnTo>
                  <a:lnTo>
                    <a:pt x="288" y="1506"/>
                  </a:lnTo>
                  <a:lnTo>
                    <a:pt x="282" y="1500"/>
                  </a:lnTo>
                  <a:lnTo>
                    <a:pt x="282" y="1494"/>
                  </a:lnTo>
                  <a:lnTo>
                    <a:pt x="276" y="1488"/>
                  </a:lnTo>
                  <a:lnTo>
                    <a:pt x="264" y="1494"/>
                  </a:lnTo>
                  <a:close/>
                </a:path>
              </a:pathLst>
            </a:custGeom>
            <a:solidFill>
              <a:schemeClr val="accent2"/>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40" name="Jamaika" descr="© INSCALE GmbH, 05.05.2010&#10;http://www.presentationload.com/">
              <a:extLst>
                <a:ext uri="{FF2B5EF4-FFF2-40B4-BE49-F238E27FC236}">
                  <a16:creationId xmlns:a16="http://schemas.microsoft.com/office/drawing/2014/main" id="{E6C753B8-28DB-4452-BBCF-E371EC51B38B}"/>
                </a:ext>
              </a:extLst>
            </p:cNvPr>
            <p:cNvSpPr>
              <a:spLocks/>
            </p:cNvSpPr>
            <p:nvPr/>
          </p:nvSpPr>
          <p:spPr bwMode="gray">
            <a:xfrm>
              <a:off x="1941967" y="3663053"/>
              <a:ext cx="62721" cy="20385"/>
            </a:xfrm>
            <a:custGeom>
              <a:avLst/>
              <a:gdLst>
                <a:gd name="T0" fmla="*/ 2147483647 w 156"/>
                <a:gd name="T1" fmla="*/ 2147483647 h 54"/>
                <a:gd name="T2" fmla="*/ 2147483647 w 156"/>
                <a:gd name="T3" fmla="*/ 2147483647 h 54"/>
                <a:gd name="T4" fmla="*/ 2147483647 w 156"/>
                <a:gd name="T5" fmla="*/ 2147483647 h 54"/>
                <a:gd name="T6" fmla="*/ 2147483647 w 156"/>
                <a:gd name="T7" fmla="*/ 2147483647 h 54"/>
                <a:gd name="T8" fmla="*/ 2147483647 w 156"/>
                <a:gd name="T9" fmla="*/ 2147483647 h 54"/>
                <a:gd name="T10" fmla="*/ 2147483647 w 156"/>
                <a:gd name="T11" fmla="*/ 2147483647 h 54"/>
                <a:gd name="T12" fmla="*/ 2147483647 w 156"/>
                <a:gd name="T13" fmla="*/ 2147483647 h 54"/>
                <a:gd name="T14" fmla="*/ 2147483647 w 156"/>
                <a:gd name="T15" fmla="*/ 2147483647 h 54"/>
                <a:gd name="T16" fmla="*/ 2147483647 w 156"/>
                <a:gd name="T17" fmla="*/ 0 h 54"/>
                <a:gd name="T18" fmla="*/ 2147483647 w 156"/>
                <a:gd name="T19" fmla="*/ 0 h 54"/>
                <a:gd name="T20" fmla="*/ 2147483647 w 156"/>
                <a:gd name="T21" fmla="*/ 2147483647 h 54"/>
                <a:gd name="T22" fmla="*/ 0 w 156"/>
                <a:gd name="T23" fmla="*/ 2147483647 h 54"/>
                <a:gd name="T24" fmla="*/ 2147483647 w 156"/>
                <a:gd name="T25" fmla="*/ 2147483647 h 54"/>
                <a:gd name="T26" fmla="*/ 2147483647 w 156"/>
                <a:gd name="T27" fmla="*/ 2147483647 h 54"/>
                <a:gd name="T28" fmla="*/ 2147483647 w 156"/>
                <a:gd name="T29" fmla="*/ 2147483647 h 54"/>
                <a:gd name="T30" fmla="*/ 2147483647 w 156"/>
                <a:gd name="T31" fmla="*/ 2147483647 h 54"/>
                <a:gd name="T32" fmla="*/ 2147483647 w 156"/>
                <a:gd name="T33" fmla="*/ 2147483647 h 54"/>
                <a:gd name="T34" fmla="*/ 2147483647 w 156"/>
                <a:gd name="T35" fmla="*/ 2147483647 h 54"/>
                <a:gd name="T36" fmla="*/ 2147483647 w 156"/>
                <a:gd name="T37" fmla="*/ 2147483647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6"/>
                <a:gd name="T58" fmla="*/ 0 h 54"/>
                <a:gd name="T59" fmla="*/ 156 w 156"/>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6" h="54">
                  <a:moveTo>
                    <a:pt x="108" y="54"/>
                  </a:moveTo>
                  <a:lnTo>
                    <a:pt x="114" y="36"/>
                  </a:lnTo>
                  <a:lnTo>
                    <a:pt x="156" y="48"/>
                  </a:lnTo>
                  <a:lnTo>
                    <a:pt x="156" y="42"/>
                  </a:lnTo>
                  <a:lnTo>
                    <a:pt x="150" y="36"/>
                  </a:lnTo>
                  <a:lnTo>
                    <a:pt x="144" y="24"/>
                  </a:lnTo>
                  <a:lnTo>
                    <a:pt x="126" y="6"/>
                  </a:lnTo>
                  <a:lnTo>
                    <a:pt x="84" y="6"/>
                  </a:lnTo>
                  <a:lnTo>
                    <a:pt x="66" y="0"/>
                  </a:lnTo>
                  <a:lnTo>
                    <a:pt x="24" y="0"/>
                  </a:lnTo>
                  <a:lnTo>
                    <a:pt x="12" y="6"/>
                  </a:lnTo>
                  <a:lnTo>
                    <a:pt x="0" y="6"/>
                  </a:lnTo>
                  <a:lnTo>
                    <a:pt x="6" y="18"/>
                  </a:lnTo>
                  <a:lnTo>
                    <a:pt x="18" y="24"/>
                  </a:lnTo>
                  <a:lnTo>
                    <a:pt x="24" y="36"/>
                  </a:lnTo>
                  <a:lnTo>
                    <a:pt x="36" y="42"/>
                  </a:lnTo>
                  <a:lnTo>
                    <a:pt x="60" y="42"/>
                  </a:lnTo>
                  <a:lnTo>
                    <a:pt x="78" y="48"/>
                  </a:lnTo>
                  <a:lnTo>
                    <a:pt x="108" y="54"/>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41" name="Italien" descr="© INSCALE GmbH, 05.05.2010&#10;http://www.presentationload.com/">
              <a:extLst>
                <a:ext uri="{FF2B5EF4-FFF2-40B4-BE49-F238E27FC236}">
                  <a16:creationId xmlns:a16="http://schemas.microsoft.com/office/drawing/2014/main" id="{8E36C4AE-5D67-41F0-9793-8FA4226D9B1B}"/>
                </a:ext>
              </a:extLst>
            </p:cNvPr>
            <p:cNvSpPr>
              <a:spLocks noEditPoints="1"/>
            </p:cNvSpPr>
            <p:nvPr/>
          </p:nvSpPr>
          <p:spPr bwMode="gray">
            <a:xfrm>
              <a:off x="4323794" y="2745759"/>
              <a:ext cx="308900" cy="330853"/>
            </a:xfrm>
            <a:custGeom>
              <a:avLst/>
              <a:gdLst>
                <a:gd name="T0" fmla="*/ 2147483647 w 780"/>
                <a:gd name="T1" fmla="*/ 2147483647 h 828"/>
                <a:gd name="T2" fmla="*/ 2147483647 w 780"/>
                <a:gd name="T3" fmla="*/ 2147483647 h 828"/>
                <a:gd name="T4" fmla="*/ 2147483647 w 780"/>
                <a:gd name="T5" fmla="*/ 2147483647 h 828"/>
                <a:gd name="T6" fmla="*/ 2147483647 w 780"/>
                <a:gd name="T7" fmla="*/ 2147483647 h 828"/>
                <a:gd name="T8" fmla="*/ 2147483647 w 780"/>
                <a:gd name="T9" fmla="*/ 2147483647 h 828"/>
                <a:gd name="T10" fmla="*/ 2147483647 w 780"/>
                <a:gd name="T11" fmla="*/ 2147483647 h 828"/>
                <a:gd name="T12" fmla="*/ 2147483647 w 780"/>
                <a:gd name="T13" fmla="*/ 2147483647 h 828"/>
                <a:gd name="T14" fmla="*/ 2147483647 w 780"/>
                <a:gd name="T15" fmla="*/ 2147483647 h 828"/>
                <a:gd name="T16" fmla="*/ 2147483647 w 780"/>
                <a:gd name="T17" fmla="*/ 2147483647 h 828"/>
                <a:gd name="T18" fmla="*/ 2147483647 w 780"/>
                <a:gd name="T19" fmla="*/ 2147483647 h 828"/>
                <a:gd name="T20" fmla="*/ 2147483647 w 780"/>
                <a:gd name="T21" fmla="*/ 2147483647 h 828"/>
                <a:gd name="T22" fmla="*/ 2147483647 w 780"/>
                <a:gd name="T23" fmla="*/ 2147483647 h 828"/>
                <a:gd name="T24" fmla="*/ 2147483647 w 780"/>
                <a:gd name="T25" fmla="*/ 2147483647 h 828"/>
                <a:gd name="T26" fmla="*/ 2147483647 w 780"/>
                <a:gd name="T27" fmla="*/ 2147483647 h 828"/>
                <a:gd name="T28" fmla="*/ 2147483647 w 780"/>
                <a:gd name="T29" fmla="*/ 2147483647 h 828"/>
                <a:gd name="T30" fmla="*/ 2147483647 w 780"/>
                <a:gd name="T31" fmla="*/ 2147483647 h 828"/>
                <a:gd name="T32" fmla="*/ 2147483647 w 780"/>
                <a:gd name="T33" fmla="*/ 2147483647 h 828"/>
                <a:gd name="T34" fmla="*/ 2147483647 w 780"/>
                <a:gd name="T35" fmla="*/ 2147483647 h 828"/>
                <a:gd name="T36" fmla="*/ 2147483647 w 780"/>
                <a:gd name="T37" fmla="*/ 2147483647 h 828"/>
                <a:gd name="T38" fmla="*/ 2147483647 w 780"/>
                <a:gd name="T39" fmla="*/ 2147483647 h 828"/>
                <a:gd name="T40" fmla="*/ 2147483647 w 780"/>
                <a:gd name="T41" fmla="*/ 2147483647 h 828"/>
                <a:gd name="T42" fmla="*/ 2147483647 w 780"/>
                <a:gd name="T43" fmla="*/ 2147483647 h 828"/>
                <a:gd name="T44" fmla="*/ 2147483647 w 780"/>
                <a:gd name="T45" fmla="*/ 2147483647 h 828"/>
                <a:gd name="T46" fmla="*/ 2147483647 w 780"/>
                <a:gd name="T47" fmla="*/ 2147483647 h 828"/>
                <a:gd name="T48" fmla="*/ 2147483647 w 780"/>
                <a:gd name="T49" fmla="*/ 2147483647 h 828"/>
                <a:gd name="T50" fmla="*/ 2147483647 w 780"/>
                <a:gd name="T51" fmla="*/ 2147483647 h 828"/>
                <a:gd name="T52" fmla="*/ 2147483647 w 780"/>
                <a:gd name="T53" fmla="*/ 2147483647 h 828"/>
                <a:gd name="T54" fmla="*/ 2147483647 w 780"/>
                <a:gd name="T55" fmla="*/ 2147483647 h 828"/>
                <a:gd name="T56" fmla="*/ 2147483647 w 780"/>
                <a:gd name="T57" fmla="*/ 2147483647 h 828"/>
                <a:gd name="T58" fmla="*/ 2147483647 w 780"/>
                <a:gd name="T59" fmla="*/ 2147483647 h 828"/>
                <a:gd name="T60" fmla="*/ 2147483647 w 780"/>
                <a:gd name="T61" fmla="*/ 2147483647 h 828"/>
                <a:gd name="T62" fmla="*/ 2147483647 w 780"/>
                <a:gd name="T63" fmla="*/ 2147483647 h 828"/>
                <a:gd name="T64" fmla="*/ 2147483647 w 780"/>
                <a:gd name="T65" fmla="*/ 2147483647 h 828"/>
                <a:gd name="T66" fmla="*/ 2147483647 w 780"/>
                <a:gd name="T67" fmla="*/ 2147483647 h 828"/>
                <a:gd name="T68" fmla="*/ 2147483647 w 780"/>
                <a:gd name="T69" fmla="*/ 2147483647 h 828"/>
                <a:gd name="T70" fmla="*/ 2147483647 w 780"/>
                <a:gd name="T71" fmla="*/ 2147483647 h 828"/>
                <a:gd name="T72" fmla="*/ 2147483647 w 780"/>
                <a:gd name="T73" fmla="*/ 2147483647 h 828"/>
                <a:gd name="T74" fmla="*/ 2147483647 w 780"/>
                <a:gd name="T75" fmla="*/ 2147483647 h 828"/>
                <a:gd name="T76" fmla="*/ 2147483647 w 780"/>
                <a:gd name="T77" fmla="*/ 2147483647 h 828"/>
                <a:gd name="T78" fmla="*/ 2147483647 w 780"/>
                <a:gd name="T79" fmla="*/ 2147483647 h 828"/>
                <a:gd name="T80" fmla="*/ 2147483647 w 780"/>
                <a:gd name="T81" fmla="*/ 2147483647 h 828"/>
                <a:gd name="T82" fmla="*/ 2147483647 w 780"/>
                <a:gd name="T83" fmla="*/ 2147483647 h 828"/>
                <a:gd name="T84" fmla="*/ 2147483647 w 780"/>
                <a:gd name="T85" fmla="*/ 2147483647 h 828"/>
                <a:gd name="T86" fmla="*/ 2147483647 w 780"/>
                <a:gd name="T87" fmla="*/ 2147483647 h 828"/>
                <a:gd name="T88" fmla="*/ 2147483647 w 780"/>
                <a:gd name="T89" fmla="*/ 2147483647 h 828"/>
                <a:gd name="T90" fmla="*/ 2147483647 w 780"/>
                <a:gd name="T91" fmla="*/ 2147483647 h 828"/>
                <a:gd name="T92" fmla="*/ 2147483647 w 780"/>
                <a:gd name="T93" fmla="*/ 2147483647 h 828"/>
                <a:gd name="T94" fmla="*/ 2147483647 w 780"/>
                <a:gd name="T95" fmla="*/ 2147483647 h 828"/>
                <a:gd name="T96" fmla="*/ 2147483647 w 780"/>
                <a:gd name="T97" fmla="*/ 2147483647 h 828"/>
                <a:gd name="T98" fmla="*/ 2147483647 w 780"/>
                <a:gd name="T99" fmla="*/ 2147483647 h 828"/>
                <a:gd name="T100" fmla="*/ 2147483647 w 780"/>
                <a:gd name="T101" fmla="*/ 2147483647 h 828"/>
                <a:gd name="T102" fmla="*/ 2147483647 w 780"/>
                <a:gd name="T103" fmla="*/ 2147483647 h 828"/>
                <a:gd name="T104" fmla="*/ 2147483647 w 780"/>
                <a:gd name="T105" fmla="*/ 2147483647 h 828"/>
                <a:gd name="T106" fmla="*/ 2147483647 w 780"/>
                <a:gd name="T107" fmla="*/ 2147483647 h 828"/>
                <a:gd name="T108" fmla="*/ 2147483647 w 780"/>
                <a:gd name="T109" fmla="*/ 2147483647 h 828"/>
                <a:gd name="T110" fmla="*/ 2147483647 w 780"/>
                <a:gd name="T111" fmla="*/ 2147483647 h 828"/>
                <a:gd name="T112" fmla="*/ 2147483647 w 780"/>
                <a:gd name="T113" fmla="*/ 2147483647 h 8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0"/>
                <a:gd name="T172" fmla="*/ 0 h 828"/>
                <a:gd name="T173" fmla="*/ 780 w 780"/>
                <a:gd name="T174" fmla="*/ 828 h 8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0" h="828">
                  <a:moveTo>
                    <a:pt x="570" y="720"/>
                  </a:moveTo>
                  <a:lnTo>
                    <a:pt x="558" y="714"/>
                  </a:lnTo>
                  <a:lnTo>
                    <a:pt x="552" y="708"/>
                  </a:lnTo>
                  <a:lnTo>
                    <a:pt x="540" y="708"/>
                  </a:lnTo>
                  <a:lnTo>
                    <a:pt x="534" y="714"/>
                  </a:lnTo>
                  <a:lnTo>
                    <a:pt x="522" y="720"/>
                  </a:lnTo>
                  <a:lnTo>
                    <a:pt x="516" y="726"/>
                  </a:lnTo>
                  <a:lnTo>
                    <a:pt x="468" y="726"/>
                  </a:lnTo>
                  <a:lnTo>
                    <a:pt x="456" y="720"/>
                  </a:lnTo>
                  <a:lnTo>
                    <a:pt x="444" y="708"/>
                  </a:lnTo>
                  <a:lnTo>
                    <a:pt x="438" y="708"/>
                  </a:lnTo>
                  <a:lnTo>
                    <a:pt x="420" y="726"/>
                  </a:lnTo>
                  <a:lnTo>
                    <a:pt x="402" y="714"/>
                  </a:lnTo>
                  <a:lnTo>
                    <a:pt x="396" y="714"/>
                  </a:lnTo>
                  <a:lnTo>
                    <a:pt x="384" y="726"/>
                  </a:lnTo>
                  <a:lnTo>
                    <a:pt x="384" y="738"/>
                  </a:lnTo>
                  <a:lnTo>
                    <a:pt x="396" y="750"/>
                  </a:lnTo>
                  <a:lnTo>
                    <a:pt x="420" y="762"/>
                  </a:lnTo>
                  <a:lnTo>
                    <a:pt x="426" y="762"/>
                  </a:lnTo>
                  <a:lnTo>
                    <a:pt x="444" y="780"/>
                  </a:lnTo>
                  <a:lnTo>
                    <a:pt x="444" y="786"/>
                  </a:lnTo>
                  <a:lnTo>
                    <a:pt x="456" y="786"/>
                  </a:lnTo>
                  <a:lnTo>
                    <a:pt x="468" y="798"/>
                  </a:lnTo>
                  <a:lnTo>
                    <a:pt x="480" y="804"/>
                  </a:lnTo>
                  <a:lnTo>
                    <a:pt x="498" y="798"/>
                  </a:lnTo>
                  <a:lnTo>
                    <a:pt x="504" y="804"/>
                  </a:lnTo>
                  <a:lnTo>
                    <a:pt x="516" y="810"/>
                  </a:lnTo>
                  <a:lnTo>
                    <a:pt x="522" y="822"/>
                  </a:lnTo>
                  <a:lnTo>
                    <a:pt x="534" y="828"/>
                  </a:lnTo>
                  <a:lnTo>
                    <a:pt x="558" y="828"/>
                  </a:lnTo>
                  <a:lnTo>
                    <a:pt x="570" y="816"/>
                  </a:lnTo>
                  <a:lnTo>
                    <a:pt x="570" y="792"/>
                  </a:lnTo>
                  <a:lnTo>
                    <a:pt x="564" y="780"/>
                  </a:lnTo>
                  <a:lnTo>
                    <a:pt x="564" y="768"/>
                  </a:lnTo>
                  <a:lnTo>
                    <a:pt x="570" y="750"/>
                  </a:lnTo>
                  <a:lnTo>
                    <a:pt x="576" y="738"/>
                  </a:lnTo>
                  <a:lnTo>
                    <a:pt x="582" y="732"/>
                  </a:lnTo>
                  <a:lnTo>
                    <a:pt x="582" y="714"/>
                  </a:lnTo>
                  <a:lnTo>
                    <a:pt x="576" y="702"/>
                  </a:lnTo>
                  <a:lnTo>
                    <a:pt x="570" y="720"/>
                  </a:lnTo>
                  <a:close/>
                  <a:moveTo>
                    <a:pt x="180" y="468"/>
                  </a:moveTo>
                  <a:lnTo>
                    <a:pt x="156" y="480"/>
                  </a:lnTo>
                  <a:lnTo>
                    <a:pt x="150" y="486"/>
                  </a:lnTo>
                  <a:lnTo>
                    <a:pt x="138" y="492"/>
                  </a:lnTo>
                  <a:lnTo>
                    <a:pt x="132" y="498"/>
                  </a:lnTo>
                  <a:lnTo>
                    <a:pt x="126" y="498"/>
                  </a:lnTo>
                  <a:lnTo>
                    <a:pt x="114" y="492"/>
                  </a:lnTo>
                  <a:lnTo>
                    <a:pt x="102" y="480"/>
                  </a:lnTo>
                  <a:lnTo>
                    <a:pt x="96" y="498"/>
                  </a:lnTo>
                  <a:lnTo>
                    <a:pt x="102" y="504"/>
                  </a:lnTo>
                  <a:lnTo>
                    <a:pt x="114" y="510"/>
                  </a:lnTo>
                  <a:lnTo>
                    <a:pt x="120" y="522"/>
                  </a:lnTo>
                  <a:lnTo>
                    <a:pt x="120" y="540"/>
                  </a:lnTo>
                  <a:lnTo>
                    <a:pt x="114" y="558"/>
                  </a:lnTo>
                  <a:lnTo>
                    <a:pt x="114" y="570"/>
                  </a:lnTo>
                  <a:lnTo>
                    <a:pt x="126" y="582"/>
                  </a:lnTo>
                  <a:lnTo>
                    <a:pt x="114" y="588"/>
                  </a:lnTo>
                  <a:lnTo>
                    <a:pt x="120" y="636"/>
                  </a:lnTo>
                  <a:lnTo>
                    <a:pt x="108" y="636"/>
                  </a:lnTo>
                  <a:lnTo>
                    <a:pt x="126" y="654"/>
                  </a:lnTo>
                  <a:lnTo>
                    <a:pt x="138" y="654"/>
                  </a:lnTo>
                  <a:lnTo>
                    <a:pt x="144" y="642"/>
                  </a:lnTo>
                  <a:lnTo>
                    <a:pt x="156" y="630"/>
                  </a:lnTo>
                  <a:lnTo>
                    <a:pt x="156" y="618"/>
                  </a:lnTo>
                  <a:lnTo>
                    <a:pt x="168" y="630"/>
                  </a:lnTo>
                  <a:lnTo>
                    <a:pt x="180" y="636"/>
                  </a:lnTo>
                  <a:lnTo>
                    <a:pt x="186" y="636"/>
                  </a:lnTo>
                  <a:lnTo>
                    <a:pt x="192" y="630"/>
                  </a:lnTo>
                  <a:lnTo>
                    <a:pt x="198" y="618"/>
                  </a:lnTo>
                  <a:lnTo>
                    <a:pt x="198" y="594"/>
                  </a:lnTo>
                  <a:lnTo>
                    <a:pt x="204" y="582"/>
                  </a:lnTo>
                  <a:lnTo>
                    <a:pt x="204" y="558"/>
                  </a:lnTo>
                  <a:lnTo>
                    <a:pt x="198" y="552"/>
                  </a:lnTo>
                  <a:lnTo>
                    <a:pt x="192" y="552"/>
                  </a:lnTo>
                  <a:lnTo>
                    <a:pt x="192" y="546"/>
                  </a:lnTo>
                  <a:lnTo>
                    <a:pt x="198" y="540"/>
                  </a:lnTo>
                  <a:lnTo>
                    <a:pt x="204" y="540"/>
                  </a:lnTo>
                  <a:lnTo>
                    <a:pt x="210" y="534"/>
                  </a:lnTo>
                  <a:lnTo>
                    <a:pt x="210" y="522"/>
                  </a:lnTo>
                  <a:lnTo>
                    <a:pt x="204" y="510"/>
                  </a:lnTo>
                  <a:lnTo>
                    <a:pt x="204" y="492"/>
                  </a:lnTo>
                  <a:lnTo>
                    <a:pt x="198" y="480"/>
                  </a:lnTo>
                  <a:lnTo>
                    <a:pt x="186" y="474"/>
                  </a:lnTo>
                  <a:lnTo>
                    <a:pt x="180" y="468"/>
                  </a:lnTo>
                  <a:close/>
                  <a:moveTo>
                    <a:pt x="774" y="546"/>
                  </a:moveTo>
                  <a:lnTo>
                    <a:pt x="768" y="534"/>
                  </a:lnTo>
                  <a:lnTo>
                    <a:pt x="756" y="528"/>
                  </a:lnTo>
                  <a:lnTo>
                    <a:pt x="738" y="510"/>
                  </a:lnTo>
                  <a:lnTo>
                    <a:pt x="678" y="480"/>
                  </a:lnTo>
                  <a:lnTo>
                    <a:pt x="672" y="480"/>
                  </a:lnTo>
                  <a:lnTo>
                    <a:pt x="660" y="474"/>
                  </a:lnTo>
                  <a:lnTo>
                    <a:pt x="648" y="474"/>
                  </a:lnTo>
                  <a:lnTo>
                    <a:pt x="630" y="468"/>
                  </a:lnTo>
                  <a:lnTo>
                    <a:pt x="606" y="456"/>
                  </a:lnTo>
                  <a:lnTo>
                    <a:pt x="606" y="450"/>
                  </a:lnTo>
                  <a:lnTo>
                    <a:pt x="612" y="438"/>
                  </a:lnTo>
                  <a:lnTo>
                    <a:pt x="624" y="426"/>
                  </a:lnTo>
                  <a:lnTo>
                    <a:pt x="624" y="420"/>
                  </a:lnTo>
                  <a:lnTo>
                    <a:pt x="618" y="414"/>
                  </a:lnTo>
                  <a:lnTo>
                    <a:pt x="612" y="414"/>
                  </a:lnTo>
                  <a:lnTo>
                    <a:pt x="594" y="408"/>
                  </a:lnTo>
                  <a:lnTo>
                    <a:pt x="552" y="408"/>
                  </a:lnTo>
                  <a:lnTo>
                    <a:pt x="540" y="402"/>
                  </a:lnTo>
                  <a:lnTo>
                    <a:pt x="534" y="396"/>
                  </a:lnTo>
                  <a:lnTo>
                    <a:pt x="516" y="384"/>
                  </a:lnTo>
                  <a:lnTo>
                    <a:pt x="492" y="360"/>
                  </a:lnTo>
                  <a:lnTo>
                    <a:pt x="480" y="342"/>
                  </a:lnTo>
                  <a:lnTo>
                    <a:pt x="474" y="336"/>
                  </a:lnTo>
                  <a:lnTo>
                    <a:pt x="468" y="324"/>
                  </a:lnTo>
                  <a:lnTo>
                    <a:pt x="468" y="312"/>
                  </a:lnTo>
                  <a:lnTo>
                    <a:pt x="450" y="276"/>
                  </a:lnTo>
                  <a:lnTo>
                    <a:pt x="438" y="270"/>
                  </a:lnTo>
                  <a:lnTo>
                    <a:pt x="432" y="264"/>
                  </a:lnTo>
                  <a:lnTo>
                    <a:pt x="420" y="258"/>
                  </a:lnTo>
                  <a:lnTo>
                    <a:pt x="414" y="252"/>
                  </a:lnTo>
                  <a:lnTo>
                    <a:pt x="378" y="222"/>
                  </a:lnTo>
                  <a:lnTo>
                    <a:pt x="372" y="210"/>
                  </a:lnTo>
                  <a:lnTo>
                    <a:pt x="360" y="198"/>
                  </a:lnTo>
                  <a:lnTo>
                    <a:pt x="360" y="186"/>
                  </a:lnTo>
                  <a:lnTo>
                    <a:pt x="366" y="180"/>
                  </a:lnTo>
                  <a:lnTo>
                    <a:pt x="384" y="180"/>
                  </a:lnTo>
                  <a:lnTo>
                    <a:pt x="384" y="174"/>
                  </a:lnTo>
                  <a:lnTo>
                    <a:pt x="372" y="162"/>
                  </a:lnTo>
                  <a:lnTo>
                    <a:pt x="366" y="150"/>
                  </a:lnTo>
                  <a:lnTo>
                    <a:pt x="366" y="138"/>
                  </a:lnTo>
                  <a:lnTo>
                    <a:pt x="402" y="120"/>
                  </a:lnTo>
                  <a:lnTo>
                    <a:pt x="408" y="114"/>
                  </a:lnTo>
                  <a:lnTo>
                    <a:pt x="414" y="114"/>
                  </a:lnTo>
                  <a:lnTo>
                    <a:pt x="438" y="108"/>
                  </a:lnTo>
                  <a:lnTo>
                    <a:pt x="444" y="72"/>
                  </a:lnTo>
                  <a:lnTo>
                    <a:pt x="432" y="66"/>
                  </a:lnTo>
                  <a:lnTo>
                    <a:pt x="438" y="60"/>
                  </a:lnTo>
                  <a:lnTo>
                    <a:pt x="438" y="42"/>
                  </a:lnTo>
                  <a:lnTo>
                    <a:pt x="384" y="42"/>
                  </a:lnTo>
                  <a:lnTo>
                    <a:pt x="378" y="24"/>
                  </a:lnTo>
                  <a:lnTo>
                    <a:pt x="366" y="24"/>
                  </a:lnTo>
                  <a:lnTo>
                    <a:pt x="366" y="6"/>
                  </a:lnTo>
                  <a:lnTo>
                    <a:pt x="360" y="0"/>
                  </a:lnTo>
                  <a:lnTo>
                    <a:pt x="342" y="0"/>
                  </a:lnTo>
                  <a:lnTo>
                    <a:pt x="336" y="6"/>
                  </a:lnTo>
                  <a:lnTo>
                    <a:pt x="336" y="12"/>
                  </a:lnTo>
                  <a:lnTo>
                    <a:pt x="294" y="12"/>
                  </a:lnTo>
                  <a:lnTo>
                    <a:pt x="282" y="30"/>
                  </a:lnTo>
                  <a:lnTo>
                    <a:pt x="270" y="24"/>
                  </a:lnTo>
                  <a:lnTo>
                    <a:pt x="252" y="24"/>
                  </a:lnTo>
                  <a:lnTo>
                    <a:pt x="246" y="42"/>
                  </a:lnTo>
                  <a:lnTo>
                    <a:pt x="222" y="42"/>
                  </a:lnTo>
                  <a:lnTo>
                    <a:pt x="222" y="48"/>
                  </a:lnTo>
                  <a:lnTo>
                    <a:pt x="234" y="60"/>
                  </a:lnTo>
                  <a:lnTo>
                    <a:pt x="228" y="72"/>
                  </a:lnTo>
                  <a:lnTo>
                    <a:pt x="210" y="60"/>
                  </a:lnTo>
                  <a:lnTo>
                    <a:pt x="192" y="66"/>
                  </a:lnTo>
                  <a:lnTo>
                    <a:pt x="180" y="48"/>
                  </a:lnTo>
                  <a:lnTo>
                    <a:pt x="174" y="72"/>
                  </a:lnTo>
                  <a:lnTo>
                    <a:pt x="162" y="84"/>
                  </a:lnTo>
                  <a:lnTo>
                    <a:pt x="162" y="102"/>
                  </a:lnTo>
                  <a:lnTo>
                    <a:pt x="138" y="78"/>
                  </a:lnTo>
                  <a:lnTo>
                    <a:pt x="132" y="78"/>
                  </a:lnTo>
                  <a:lnTo>
                    <a:pt x="132" y="72"/>
                  </a:lnTo>
                  <a:lnTo>
                    <a:pt x="126" y="66"/>
                  </a:lnTo>
                  <a:lnTo>
                    <a:pt x="126" y="60"/>
                  </a:lnTo>
                  <a:lnTo>
                    <a:pt x="120" y="54"/>
                  </a:lnTo>
                  <a:lnTo>
                    <a:pt x="108" y="54"/>
                  </a:lnTo>
                  <a:lnTo>
                    <a:pt x="102" y="60"/>
                  </a:lnTo>
                  <a:lnTo>
                    <a:pt x="102" y="78"/>
                  </a:lnTo>
                  <a:lnTo>
                    <a:pt x="84" y="96"/>
                  </a:lnTo>
                  <a:lnTo>
                    <a:pt x="78" y="96"/>
                  </a:lnTo>
                  <a:lnTo>
                    <a:pt x="66" y="84"/>
                  </a:lnTo>
                  <a:lnTo>
                    <a:pt x="54" y="84"/>
                  </a:lnTo>
                  <a:lnTo>
                    <a:pt x="42" y="96"/>
                  </a:lnTo>
                  <a:lnTo>
                    <a:pt x="30" y="96"/>
                  </a:lnTo>
                  <a:lnTo>
                    <a:pt x="30" y="102"/>
                  </a:lnTo>
                  <a:lnTo>
                    <a:pt x="24" y="102"/>
                  </a:lnTo>
                  <a:lnTo>
                    <a:pt x="18" y="108"/>
                  </a:lnTo>
                  <a:lnTo>
                    <a:pt x="42" y="132"/>
                  </a:lnTo>
                  <a:lnTo>
                    <a:pt x="42" y="138"/>
                  </a:lnTo>
                  <a:lnTo>
                    <a:pt x="24" y="156"/>
                  </a:lnTo>
                  <a:lnTo>
                    <a:pt x="0" y="156"/>
                  </a:lnTo>
                  <a:lnTo>
                    <a:pt x="12" y="174"/>
                  </a:lnTo>
                  <a:lnTo>
                    <a:pt x="24" y="174"/>
                  </a:lnTo>
                  <a:lnTo>
                    <a:pt x="30" y="180"/>
                  </a:lnTo>
                  <a:lnTo>
                    <a:pt x="30" y="192"/>
                  </a:lnTo>
                  <a:lnTo>
                    <a:pt x="24" y="198"/>
                  </a:lnTo>
                  <a:lnTo>
                    <a:pt x="24" y="204"/>
                  </a:lnTo>
                  <a:lnTo>
                    <a:pt x="18" y="210"/>
                  </a:lnTo>
                  <a:lnTo>
                    <a:pt x="18" y="216"/>
                  </a:lnTo>
                  <a:lnTo>
                    <a:pt x="24" y="222"/>
                  </a:lnTo>
                  <a:lnTo>
                    <a:pt x="36" y="228"/>
                  </a:lnTo>
                  <a:lnTo>
                    <a:pt x="42" y="228"/>
                  </a:lnTo>
                  <a:lnTo>
                    <a:pt x="42" y="234"/>
                  </a:lnTo>
                  <a:lnTo>
                    <a:pt x="66" y="234"/>
                  </a:lnTo>
                  <a:lnTo>
                    <a:pt x="72" y="240"/>
                  </a:lnTo>
                  <a:lnTo>
                    <a:pt x="72" y="246"/>
                  </a:lnTo>
                  <a:lnTo>
                    <a:pt x="54" y="264"/>
                  </a:lnTo>
                  <a:lnTo>
                    <a:pt x="54" y="270"/>
                  </a:lnTo>
                  <a:lnTo>
                    <a:pt x="66" y="270"/>
                  </a:lnTo>
                  <a:lnTo>
                    <a:pt x="90" y="258"/>
                  </a:lnTo>
                  <a:lnTo>
                    <a:pt x="120" y="228"/>
                  </a:lnTo>
                  <a:lnTo>
                    <a:pt x="144" y="216"/>
                  </a:lnTo>
                  <a:lnTo>
                    <a:pt x="156" y="216"/>
                  </a:lnTo>
                  <a:lnTo>
                    <a:pt x="168" y="222"/>
                  </a:lnTo>
                  <a:lnTo>
                    <a:pt x="204" y="234"/>
                  </a:lnTo>
                  <a:lnTo>
                    <a:pt x="216" y="240"/>
                  </a:lnTo>
                  <a:lnTo>
                    <a:pt x="228" y="252"/>
                  </a:lnTo>
                  <a:lnTo>
                    <a:pt x="234" y="264"/>
                  </a:lnTo>
                  <a:lnTo>
                    <a:pt x="234" y="276"/>
                  </a:lnTo>
                  <a:lnTo>
                    <a:pt x="240" y="282"/>
                  </a:lnTo>
                  <a:lnTo>
                    <a:pt x="240" y="288"/>
                  </a:lnTo>
                  <a:lnTo>
                    <a:pt x="252" y="300"/>
                  </a:lnTo>
                  <a:lnTo>
                    <a:pt x="252" y="306"/>
                  </a:lnTo>
                  <a:lnTo>
                    <a:pt x="246" y="318"/>
                  </a:lnTo>
                  <a:lnTo>
                    <a:pt x="246" y="324"/>
                  </a:lnTo>
                  <a:lnTo>
                    <a:pt x="258" y="336"/>
                  </a:lnTo>
                  <a:lnTo>
                    <a:pt x="282" y="348"/>
                  </a:lnTo>
                  <a:lnTo>
                    <a:pt x="288" y="354"/>
                  </a:lnTo>
                  <a:lnTo>
                    <a:pt x="294" y="354"/>
                  </a:lnTo>
                  <a:lnTo>
                    <a:pt x="300" y="372"/>
                  </a:lnTo>
                  <a:lnTo>
                    <a:pt x="330" y="372"/>
                  </a:lnTo>
                  <a:lnTo>
                    <a:pt x="348" y="390"/>
                  </a:lnTo>
                  <a:lnTo>
                    <a:pt x="354" y="402"/>
                  </a:lnTo>
                  <a:lnTo>
                    <a:pt x="366" y="414"/>
                  </a:lnTo>
                  <a:lnTo>
                    <a:pt x="378" y="420"/>
                  </a:lnTo>
                  <a:lnTo>
                    <a:pt x="384" y="432"/>
                  </a:lnTo>
                  <a:lnTo>
                    <a:pt x="420" y="468"/>
                  </a:lnTo>
                  <a:lnTo>
                    <a:pt x="456" y="468"/>
                  </a:lnTo>
                  <a:lnTo>
                    <a:pt x="462" y="474"/>
                  </a:lnTo>
                  <a:lnTo>
                    <a:pt x="468" y="486"/>
                  </a:lnTo>
                  <a:lnTo>
                    <a:pt x="492" y="498"/>
                  </a:lnTo>
                  <a:lnTo>
                    <a:pt x="510" y="504"/>
                  </a:lnTo>
                  <a:lnTo>
                    <a:pt x="528" y="504"/>
                  </a:lnTo>
                  <a:lnTo>
                    <a:pt x="540" y="510"/>
                  </a:lnTo>
                  <a:lnTo>
                    <a:pt x="546" y="510"/>
                  </a:lnTo>
                  <a:lnTo>
                    <a:pt x="552" y="522"/>
                  </a:lnTo>
                  <a:lnTo>
                    <a:pt x="552" y="534"/>
                  </a:lnTo>
                  <a:lnTo>
                    <a:pt x="564" y="558"/>
                  </a:lnTo>
                  <a:lnTo>
                    <a:pt x="570" y="564"/>
                  </a:lnTo>
                  <a:lnTo>
                    <a:pt x="582" y="564"/>
                  </a:lnTo>
                  <a:lnTo>
                    <a:pt x="594" y="558"/>
                  </a:lnTo>
                  <a:lnTo>
                    <a:pt x="600" y="558"/>
                  </a:lnTo>
                  <a:lnTo>
                    <a:pt x="600" y="570"/>
                  </a:lnTo>
                  <a:lnTo>
                    <a:pt x="606" y="582"/>
                  </a:lnTo>
                  <a:lnTo>
                    <a:pt x="606" y="606"/>
                  </a:lnTo>
                  <a:lnTo>
                    <a:pt x="612" y="618"/>
                  </a:lnTo>
                  <a:lnTo>
                    <a:pt x="630" y="636"/>
                  </a:lnTo>
                  <a:lnTo>
                    <a:pt x="630" y="666"/>
                  </a:lnTo>
                  <a:lnTo>
                    <a:pt x="612" y="666"/>
                  </a:lnTo>
                  <a:lnTo>
                    <a:pt x="612" y="690"/>
                  </a:lnTo>
                  <a:lnTo>
                    <a:pt x="606" y="696"/>
                  </a:lnTo>
                  <a:lnTo>
                    <a:pt x="600" y="708"/>
                  </a:lnTo>
                  <a:lnTo>
                    <a:pt x="594" y="714"/>
                  </a:lnTo>
                  <a:lnTo>
                    <a:pt x="594" y="732"/>
                  </a:lnTo>
                  <a:lnTo>
                    <a:pt x="606" y="732"/>
                  </a:lnTo>
                  <a:lnTo>
                    <a:pt x="618" y="726"/>
                  </a:lnTo>
                  <a:lnTo>
                    <a:pt x="624" y="726"/>
                  </a:lnTo>
                  <a:lnTo>
                    <a:pt x="636" y="702"/>
                  </a:lnTo>
                  <a:lnTo>
                    <a:pt x="654" y="696"/>
                  </a:lnTo>
                  <a:lnTo>
                    <a:pt x="654" y="666"/>
                  </a:lnTo>
                  <a:lnTo>
                    <a:pt x="666" y="654"/>
                  </a:lnTo>
                  <a:lnTo>
                    <a:pt x="678" y="654"/>
                  </a:lnTo>
                  <a:lnTo>
                    <a:pt x="684" y="648"/>
                  </a:lnTo>
                  <a:lnTo>
                    <a:pt x="696" y="648"/>
                  </a:lnTo>
                  <a:lnTo>
                    <a:pt x="696" y="636"/>
                  </a:lnTo>
                  <a:lnTo>
                    <a:pt x="690" y="630"/>
                  </a:lnTo>
                  <a:lnTo>
                    <a:pt x="690" y="618"/>
                  </a:lnTo>
                  <a:lnTo>
                    <a:pt x="678" y="606"/>
                  </a:lnTo>
                  <a:lnTo>
                    <a:pt x="666" y="606"/>
                  </a:lnTo>
                  <a:lnTo>
                    <a:pt x="648" y="588"/>
                  </a:lnTo>
                  <a:lnTo>
                    <a:pt x="654" y="582"/>
                  </a:lnTo>
                  <a:lnTo>
                    <a:pt x="660" y="570"/>
                  </a:lnTo>
                  <a:lnTo>
                    <a:pt x="666" y="552"/>
                  </a:lnTo>
                  <a:lnTo>
                    <a:pt x="672" y="540"/>
                  </a:lnTo>
                  <a:lnTo>
                    <a:pt x="684" y="528"/>
                  </a:lnTo>
                  <a:lnTo>
                    <a:pt x="690" y="534"/>
                  </a:lnTo>
                  <a:lnTo>
                    <a:pt x="702" y="534"/>
                  </a:lnTo>
                  <a:lnTo>
                    <a:pt x="708" y="540"/>
                  </a:lnTo>
                  <a:lnTo>
                    <a:pt x="738" y="540"/>
                  </a:lnTo>
                  <a:lnTo>
                    <a:pt x="738" y="552"/>
                  </a:lnTo>
                  <a:lnTo>
                    <a:pt x="744" y="558"/>
                  </a:lnTo>
                  <a:lnTo>
                    <a:pt x="744" y="564"/>
                  </a:lnTo>
                  <a:lnTo>
                    <a:pt x="750" y="576"/>
                  </a:lnTo>
                  <a:lnTo>
                    <a:pt x="762" y="576"/>
                  </a:lnTo>
                  <a:lnTo>
                    <a:pt x="774" y="570"/>
                  </a:lnTo>
                  <a:lnTo>
                    <a:pt x="780" y="564"/>
                  </a:lnTo>
                  <a:lnTo>
                    <a:pt x="780" y="558"/>
                  </a:lnTo>
                  <a:lnTo>
                    <a:pt x="774" y="546"/>
                  </a:lnTo>
                  <a:close/>
                </a:path>
              </a:pathLst>
            </a:custGeom>
            <a:solidFill>
              <a:schemeClr val="accent1"/>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42" name="Israel" descr="© INSCALE GmbH, 05.05.2010&#10;http://www.presentationload.com/">
              <a:extLst>
                <a:ext uri="{FF2B5EF4-FFF2-40B4-BE49-F238E27FC236}">
                  <a16:creationId xmlns:a16="http://schemas.microsoft.com/office/drawing/2014/main" id="{AF144897-F833-45B7-9891-47125612F155}"/>
                </a:ext>
              </a:extLst>
            </p:cNvPr>
            <p:cNvSpPr>
              <a:spLocks/>
            </p:cNvSpPr>
            <p:nvPr/>
          </p:nvSpPr>
          <p:spPr bwMode="gray">
            <a:xfrm>
              <a:off x="5068604" y="3181670"/>
              <a:ext cx="40769" cy="127010"/>
            </a:xfrm>
            <a:custGeom>
              <a:avLst/>
              <a:gdLst>
                <a:gd name="T0" fmla="*/ 0 w 102"/>
                <a:gd name="T1" fmla="*/ 2147483647 h 324"/>
                <a:gd name="T2" fmla="*/ 2147483647 w 102"/>
                <a:gd name="T3" fmla="*/ 2147483647 h 324"/>
                <a:gd name="T4" fmla="*/ 2147483647 w 102"/>
                <a:gd name="T5" fmla="*/ 2147483647 h 324"/>
                <a:gd name="T6" fmla="*/ 2147483647 w 102"/>
                <a:gd name="T7" fmla="*/ 2147483647 h 324"/>
                <a:gd name="T8" fmla="*/ 2147483647 w 102"/>
                <a:gd name="T9" fmla="*/ 2147483647 h 324"/>
                <a:gd name="T10" fmla="*/ 2147483647 w 102"/>
                <a:gd name="T11" fmla="*/ 2147483647 h 324"/>
                <a:gd name="T12" fmla="*/ 2147483647 w 102"/>
                <a:gd name="T13" fmla="*/ 2147483647 h 324"/>
                <a:gd name="T14" fmla="*/ 2147483647 w 102"/>
                <a:gd name="T15" fmla="*/ 2147483647 h 324"/>
                <a:gd name="T16" fmla="*/ 2147483647 w 102"/>
                <a:gd name="T17" fmla="*/ 2147483647 h 324"/>
                <a:gd name="T18" fmla="*/ 2147483647 w 102"/>
                <a:gd name="T19" fmla="*/ 2147483647 h 324"/>
                <a:gd name="T20" fmla="*/ 2147483647 w 102"/>
                <a:gd name="T21" fmla="*/ 2147483647 h 324"/>
                <a:gd name="T22" fmla="*/ 2147483647 w 102"/>
                <a:gd name="T23" fmla="*/ 2147483647 h 324"/>
                <a:gd name="T24" fmla="*/ 2147483647 w 102"/>
                <a:gd name="T25" fmla="*/ 2147483647 h 324"/>
                <a:gd name="T26" fmla="*/ 2147483647 w 102"/>
                <a:gd name="T27" fmla="*/ 2147483647 h 324"/>
                <a:gd name="T28" fmla="*/ 2147483647 w 102"/>
                <a:gd name="T29" fmla="*/ 2147483647 h 324"/>
                <a:gd name="T30" fmla="*/ 2147483647 w 102"/>
                <a:gd name="T31" fmla="*/ 2147483647 h 324"/>
                <a:gd name="T32" fmla="*/ 2147483647 w 102"/>
                <a:gd name="T33" fmla="*/ 2147483647 h 324"/>
                <a:gd name="T34" fmla="*/ 2147483647 w 102"/>
                <a:gd name="T35" fmla="*/ 2147483647 h 324"/>
                <a:gd name="T36" fmla="*/ 2147483647 w 102"/>
                <a:gd name="T37" fmla="*/ 2147483647 h 324"/>
                <a:gd name="T38" fmla="*/ 2147483647 w 102"/>
                <a:gd name="T39" fmla="*/ 2147483647 h 324"/>
                <a:gd name="T40" fmla="*/ 2147483647 w 102"/>
                <a:gd name="T41" fmla="*/ 2147483647 h 324"/>
                <a:gd name="T42" fmla="*/ 2147483647 w 102"/>
                <a:gd name="T43" fmla="*/ 2147483647 h 324"/>
                <a:gd name="T44" fmla="*/ 2147483647 w 102"/>
                <a:gd name="T45" fmla="*/ 2147483647 h 324"/>
                <a:gd name="T46" fmla="*/ 2147483647 w 102"/>
                <a:gd name="T47" fmla="*/ 2147483647 h 324"/>
                <a:gd name="T48" fmla="*/ 2147483647 w 102"/>
                <a:gd name="T49" fmla="*/ 0 h 324"/>
                <a:gd name="T50" fmla="*/ 2147483647 w 102"/>
                <a:gd name="T51" fmla="*/ 2147483647 h 324"/>
                <a:gd name="T52" fmla="*/ 2147483647 w 102"/>
                <a:gd name="T53" fmla="*/ 2147483647 h 324"/>
                <a:gd name="T54" fmla="*/ 2147483647 w 102"/>
                <a:gd name="T55" fmla="*/ 2147483647 h 324"/>
                <a:gd name="T56" fmla="*/ 2147483647 w 102"/>
                <a:gd name="T57" fmla="*/ 2147483647 h 324"/>
                <a:gd name="T58" fmla="*/ 2147483647 w 102"/>
                <a:gd name="T59" fmla="*/ 2147483647 h 324"/>
                <a:gd name="T60" fmla="*/ 2147483647 w 102"/>
                <a:gd name="T61" fmla="*/ 2147483647 h 324"/>
                <a:gd name="T62" fmla="*/ 2147483647 w 102"/>
                <a:gd name="T63" fmla="*/ 2147483647 h 324"/>
                <a:gd name="T64" fmla="*/ 2147483647 w 102"/>
                <a:gd name="T65" fmla="*/ 2147483647 h 324"/>
                <a:gd name="T66" fmla="*/ 2147483647 w 102"/>
                <a:gd name="T67" fmla="*/ 2147483647 h 324"/>
                <a:gd name="T68" fmla="*/ 2147483647 w 102"/>
                <a:gd name="T69" fmla="*/ 2147483647 h 324"/>
                <a:gd name="T70" fmla="*/ 2147483647 w 102"/>
                <a:gd name="T71" fmla="*/ 2147483647 h 324"/>
                <a:gd name="T72" fmla="*/ 2147483647 w 102"/>
                <a:gd name="T73" fmla="*/ 2147483647 h 324"/>
                <a:gd name="T74" fmla="*/ 2147483647 w 102"/>
                <a:gd name="T75" fmla="*/ 2147483647 h 324"/>
                <a:gd name="T76" fmla="*/ 2147483647 w 102"/>
                <a:gd name="T77" fmla="*/ 2147483647 h 324"/>
                <a:gd name="T78" fmla="*/ 0 w 102"/>
                <a:gd name="T79" fmla="*/ 2147483647 h 3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2"/>
                <a:gd name="T121" fmla="*/ 0 h 324"/>
                <a:gd name="T122" fmla="*/ 102 w 102"/>
                <a:gd name="T123" fmla="*/ 324 h 32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2" h="324">
                  <a:moveTo>
                    <a:pt x="0" y="168"/>
                  </a:moveTo>
                  <a:lnTo>
                    <a:pt x="54" y="312"/>
                  </a:lnTo>
                  <a:lnTo>
                    <a:pt x="60" y="324"/>
                  </a:lnTo>
                  <a:lnTo>
                    <a:pt x="60" y="306"/>
                  </a:lnTo>
                  <a:lnTo>
                    <a:pt x="66" y="294"/>
                  </a:lnTo>
                  <a:lnTo>
                    <a:pt x="66" y="234"/>
                  </a:lnTo>
                  <a:lnTo>
                    <a:pt x="72" y="228"/>
                  </a:lnTo>
                  <a:lnTo>
                    <a:pt x="78" y="216"/>
                  </a:lnTo>
                  <a:lnTo>
                    <a:pt x="84" y="210"/>
                  </a:lnTo>
                  <a:lnTo>
                    <a:pt x="90" y="198"/>
                  </a:lnTo>
                  <a:lnTo>
                    <a:pt x="90" y="186"/>
                  </a:lnTo>
                  <a:lnTo>
                    <a:pt x="78" y="174"/>
                  </a:lnTo>
                  <a:lnTo>
                    <a:pt x="78" y="162"/>
                  </a:lnTo>
                  <a:lnTo>
                    <a:pt x="72" y="156"/>
                  </a:lnTo>
                  <a:lnTo>
                    <a:pt x="66" y="162"/>
                  </a:lnTo>
                  <a:lnTo>
                    <a:pt x="66" y="168"/>
                  </a:lnTo>
                  <a:lnTo>
                    <a:pt x="60" y="168"/>
                  </a:lnTo>
                  <a:lnTo>
                    <a:pt x="54" y="174"/>
                  </a:lnTo>
                  <a:lnTo>
                    <a:pt x="48" y="168"/>
                  </a:lnTo>
                  <a:lnTo>
                    <a:pt x="48" y="96"/>
                  </a:lnTo>
                  <a:lnTo>
                    <a:pt x="66" y="78"/>
                  </a:lnTo>
                  <a:lnTo>
                    <a:pt x="84" y="78"/>
                  </a:lnTo>
                  <a:lnTo>
                    <a:pt x="90" y="60"/>
                  </a:lnTo>
                  <a:lnTo>
                    <a:pt x="84" y="18"/>
                  </a:lnTo>
                  <a:lnTo>
                    <a:pt x="102" y="0"/>
                  </a:lnTo>
                  <a:lnTo>
                    <a:pt x="78" y="6"/>
                  </a:lnTo>
                  <a:lnTo>
                    <a:pt x="78" y="18"/>
                  </a:lnTo>
                  <a:lnTo>
                    <a:pt x="72" y="30"/>
                  </a:lnTo>
                  <a:lnTo>
                    <a:pt x="66" y="36"/>
                  </a:lnTo>
                  <a:lnTo>
                    <a:pt x="60" y="36"/>
                  </a:lnTo>
                  <a:lnTo>
                    <a:pt x="54" y="30"/>
                  </a:lnTo>
                  <a:lnTo>
                    <a:pt x="42" y="54"/>
                  </a:lnTo>
                  <a:lnTo>
                    <a:pt x="30" y="60"/>
                  </a:lnTo>
                  <a:lnTo>
                    <a:pt x="36" y="72"/>
                  </a:lnTo>
                  <a:lnTo>
                    <a:pt x="36" y="84"/>
                  </a:lnTo>
                  <a:lnTo>
                    <a:pt x="42" y="90"/>
                  </a:lnTo>
                  <a:lnTo>
                    <a:pt x="42" y="96"/>
                  </a:lnTo>
                  <a:lnTo>
                    <a:pt x="18" y="138"/>
                  </a:lnTo>
                  <a:lnTo>
                    <a:pt x="18" y="156"/>
                  </a:lnTo>
                  <a:lnTo>
                    <a:pt x="0" y="168"/>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43" name="Island" descr="© INSCALE GmbH, 05.05.2010&#10;http://www.presentationload.com/">
              <a:extLst>
                <a:ext uri="{FF2B5EF4-FFF2-40B4-BE49-F238E27FC236}">
                  <a16:creationId xmlns:a16="http://schemas.microsoft.com/office/drawing/2014/main" id="{A7985E35-11B6-4387-B8F3-ADBE81277525}"/>
                </a:ext>
              </a:extLst>
            </p:cNvPr>
            <p:cNvSpPr>
              <a:spLocks/>
            </p:cNvSpPr>
            <p:nvPr/>
          </p:nvSpPr>
          <p:spPr bwMode="gray">
            <a:xfrm>
              <a:off x="3677769" y="2167158"/>
              <a:ext cx="227363" cy="87809"/>
            </a:xfrm>
            <a:custGeom>
              <a:avLst/>
              <a:gdLst>
                <a:gd name="T0" fmla="*/ 2147483647 w 570"/>
                <a:gd name="T1" fmla="*/ 2147483647 h 222"/>
                <a:gd name="T2" fmla="*/ 2147483647 w 570"/>
                <a:gd name="T3" fmla="*/ 2147483647 h 222"/>
                <a:gd name="T4" fmla="*/ 2147483647 w 570"/>
                <a:gd name="T5" fmla="*/ 2147483647 h 222"/>
                <a:gd name="T6" fmla="*/ 2147483647 w 570"/>
                <a:gd name="T7" fmla="*/ 2147483647 h 222"/>
                <a:gd name="T8" fmla="*/ 2147483647 w 570"/>
                <a:gd name="T9" fmla="*/ 2147483647 h 222"/>
                <a:gd name="T10" fmla="*/ 2147483647 w 570"/>
                <a:gd name="T11" fmla="*/ 2147483647 h 222"/>
                <a:gd name="T12" fmla="*/ 2147483647 w 570"/>
                <a:gd name="T13" fmla="*/ 2147483647 h 222"/>
                <a:gd name="T14" fmla="*/ 2147483647 w 570"/>
                <a:gd name="T15" fmla="*/ 2147483647 h 222"/>
                <a:gd name="T16" fmla="*/ 2147483647 w 570"/>
                <a:gd name="T17" fmla="*/ 2147483647 h 222"/>
                <a:gd name="T18" fmla="*/ 2147483647 w 570"/>
                <a:gd name="T19" fmla="*/ 2147483647 h 222"/>
                <a:gd name="T20" fmla="*/ 2147483647 w 570"/>
                <a:gd name="T21" fmla="*/ 2147483647 h 222"/>
                <a:gd name="T22" fmla="*/ 2147483647 w 570"/>
                <a:gd name="T23" fmla="*/ 2147483647 h 222"/>
                <a:gd name="T24" fmla="*/ 2147483647 w 570"/>
                <a:gd name="T25" fmla="*/ 2147483647 h 222"/>
                <a:gd name="T26" fmla="*/ 2147483647 w 570"/>
                <a:gd name="T27" fmla="*/ 2147483647 h 222"/>
                <a:gd name="T28" fmla="*/ 2147483647 w 570"/>
                <a:gd name="T29" fmla="*/ 2147483647 h 222"/>
                <a:gd name="T30" fmla="*/ 2147483647 w 570"/>
                <a:gd name="T31" fmla="*/ 2147483647 h 222"/>
                <a:gd name="T32" fmla="*/ 2147483647 w 570"/>
                <a:gd name="T33" fmla="*/ 2147483647 h 222"/>
                <a:gd name="T34" fmla="*/ 2147483647 w 570"/>
                <a:gd name="T35" fmla="*/ 2147483647 h 222"/>
                <a:gd name="T36" fmla="*/ 2147483647 w 570"/>
                <a:gd name="T37" fmla="*/ 2147483647 h 222"/>
                <a:gd name="T38" fmla="*/ 2147483647 w 570"/>
                <a:gd name="T39" fmla="*/ 2147483647 h 222"/>
                <a:gd name="T40" fmla="*/ 2147483647 w 570"/>
                <a:gd name="T41" fmla="*/ 2147483647 h 222"/>
                <a:gd name="T42" fmla="*/ 2147483647 w 570"/>
                <a:gd name="T43" fmla="*/ 2147483647 h 222"/>
                <a:gd name="T44" fmla="*/ 2147483647 w 570"/>
                <a:gd name="T45" fmla="*/ 2147483647 h 222"/>
                <a:gd name="T46" fmla="*/ 2147483647 w 570"/>
                <a:gd name="T47" fmla="*/ 2147483647 h 222"/>
                <a:gd name="T48" fmla="*/ 2147483647 w 570"/>
                <a:gd name="T49" fmla="*/ 2147483647 h 222"/>
                <a:gd name="T50" fmla="*/ 2147483647 w 570"/>
                <a:gd name="T51" fmla="*/ 2147483647 h 222"/>
                <a:gd name="T52" fmla="*/ 2147483647 w 570"/>
                <a:gd name="T53" fmla="*/ 2147483647 h 222"/>
                <a:gd name="T54" fmla="*/ 2147483647 w 570"/>
                <a:gd name="T55" fmla="*/ 2147483647 h 222"/>
                <a:gd name="T56" fmla="*/ 2147483647 w 570"/>
                <a:gd name="T57" fmla="*/ 2147483647 h 222"/>
                <a:gd name="T58" fmla="*/ 2147483647 w 570"/>
                <a:gd name="T59" fmla="*/ 2147483647 h 222"/>
                <a:gd name="T60" fmla="*/ 2147483647 w 570"/>
                <a:gd name="T61" fmla="*/ 2147483647 h 222"/>
                <a:gd name="T62" fmla="*/ 2147483647 w 570"/>
                <a:gd name="T63" fmla="*/ 2147483647 h 222"/>
                <a:gd name="T64" fmla="*/ 2147483647 w 570"/>
                <a:gd name="T65" fmla="*/ 2147483647 h 222"/>
                <a:gd name="T66" fmla="*/ 0 w 570"/>
                <a:gd name="T67" fmla="*/ 2147483647 h 222"/>
                <a:gd name="T68" fmla="*/ 2147483647 w 570"/>
                <a:gd name="T69" fmla="*/ 2147483647 h 222"/>
                <a:gd name="T70" fmla="*/ 2147483647 w 570"/>
                <a:gd name="T71" fmla="*/ 2147483647 h 222"/>
                <a:gd name="T72" fmla="*/ 2147483647 w 570"/>
                <a:gd name="T73" fmla="*/ 2147483647 h 222"/>
                <a:gd name="T74" fmla="*/ 2147483647 w 570"/>
                <a:gd name="T75" fmla="*/ 2147483647 h 222"/>
                <a:gd name="T76" fmla="*/ 2147483647 w 570"/>
                <a:gd name="T77" fmla="*/ 2147483647 h 222"/>
                <a:gd name="T78" fmla="*/ 2147483647 w 570"/>
                <a:gd name="T79" fmla="*/ 2147483647 h 222"/>
                <a:gd name="T80" fmla="*/ 2147483647 w 570"/>
                <a:gd name="T81" fmla="*/ 2147483647 h 222"/>
                <a:gd name="T82" fmla="*/ 2147483647 w 570"/>
                <a:gd name="T83" fmla="*/ 2147483647 h 222"/>
                <a:gd name="T84" fmla="*/ 2147483647 w 570"/>
                <a:gd name="T85" fmla="*/ 2147483647 h 222"/>
                <a:gd name="T86" fmla="*/ 2147483647 w 570"/>
                <a:gd name="T87" fmla="*/ 2147483647 h 222"/>
                <a:gd name="T88" fmla="*/ 2147483647 w 570"/>
                <a:gd name="T89" fmla="*/ 2147483647 h 222"/>
                <a:gd name="T90" fmla="*/ 2147483647 w 570"/>
                <a:gd name="T91" fmla="*/ 2147483647 h 222"/>
                <a:gd name="T92" fmla="*/ 2147483647 w 570"/>
                <a:gd name="T93" fmla="*/ 2147483647 h 2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70"/>
                <a:gd name="T142" fmla="*/ 0 h 222"/>
                <a:gd name="T143" fmla="*/ 570 w 570"/>
                <a:gd name="T144" fmla="*/ 222 h 22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70" h="222">
                  <a:moveTo>
                    <a:pt x="252" y="222"/>
                  </a:moveTo>
                  <a:lnTo>
                    <a:pt x="270" y="216"/>
                  </a:lnTo>
                  <a:lnTo>
                    <a:pt x="306" y="216"/>
                  </a:lnTo>
                  <a:lnTo>
                    <a:pt x="312" y="204"/>
                  </a:lnTo>
                  <a:lnTo>
                    <a:pt x="312" y="192"/>
                  </a:lnTo>
                  <a:lnTo>
                    <a:pt x="324" y="198"/>
                  </a:lnTo>
                  <a:lnTo>
                    <a:pt x="330" y="198"/>
                  </a:lnTo>
                  <a:lnTo>
                    <a:pt x="342" y="204"/>
                  </a:lnTo>
                  <a:lnTo>
                    <a:pt x="348" y="204"/>
                  </a:lnTo>
                  <a:lnTo>
                    <a:pt x="360" y="192"/>
                  </a:lnTo>
                  <a:lnTo>
                    <a:pt x="360" y="186"/>
                  </a:lnTo>
                  <a:lnTo>
                    <a:pt x="372" y="186"/>
                  </a:lnTo>
                  <a:lnTo>
                    <a:pt x="378" y="192"/>
                  </a:lnTo>
                  <a:lnTo>
                    <a:pt x="390" y="192"/>
                  </a:lnTo>
                  <a:lnTo>
                    <a:pt x="414" y="180"/>
                  </a:lnTo>
                  <a:lnTo>
                    <a:pt x="432" y="168"/>
                  </a:lnTo>
                  <a:lnTo>
                    <a:pt x="456" y="156"/>
                  </a:lnTo>
                  <a:lnTo>
                    <a:pt x="474" y="156"/>
                  </a:lnTo>
                  <a:lnTo>
                    <a:pt x="480" y="162"/>
                  </a:lnTo>
                  <a:lnTo>
                    <a:pt x="492" y="162"/>
                  </a:lnTo>
                  <a:lnTo>
                    <a:pt x="504" y="156"/>
                  </a:lnTo>
                  <a:lnTo>
                    <a:pt x="510" y="144"/>
                  </a:lnTo>
                  <a:lnTo>
                    <a:pt x="510" y="138"/>
                  </a:lnTo>
                  <a:lnTo>
                    <a:pt x="516" y="126"/>
                  </a:lnTo>
                  <a:lnTo>
                    <a:pt x="528" y="126"/>
                  </a:lnTo>
                  <a:lnTo>
                    <a:pt x="552" y="114"/>
                  </a:lnTo>
                  <a:lnTo>
                    <a:pt x="564" y="102"/>
                  </a:lnTo>
                  <a:lnTo>
                    <a:pt x="570" y="102"/>
                  </a:lnTo>
                  <a:lnTo>
                    <a:pt x="552" y="102"/>
                  </a:lnTo>
                  <a:lnTo>
                    <a:pt x="570" y="84"/>
                  </a:lnTo>
                  <a:lnTo>
                    <a:pt x="570" y="78"/>
                  </a:lnTo>
                  <a:lnTo>
                    <a:pt x="564" y="72"/>
                  </a:lnTo>
                  <a:lnTo>
                    <a:pt x="552" y="66"/>
                  </a:lnTo>
                  <a:lnTo>
                    <a:pt x="540" y="66"/>
                  </a:lnTo>
                  <a:lnTo>
                    <a:pt x="534" y="72"/>
                  </a:lnTo>
                  <a:lnTo>
                    <a:pt x="528" y="72"/>
                  </a:lnTo>
                  <a:lnTo>
                    <a:pt x="534" y="60"/>
                  </a:lnTo>
                  <a:lnTo>
                    <a:pt x="504" y="60"/>
                  </a:lnTo>
                  <a:lnTo>
                    <a:pt x="522" y="36"/>
                  </a:lnTo>
                  <a:lnTo>
                    <a:pt x="504" y="36"/>
                  </a:lnTo>
                  <a:lnTo>
                    <a:pt x="510" y="18"/>
                  </a:lnTo>
                  <a:lnTo>
                    <a:pt x="480" y="24"/>
                  </a:lnTo>
                  <a:lnTo>
                    <a:pt x="474" y="18"/>
                  </a:lnTo>
                  <a:lnTo>
                    <a:pt x="462" y="12"/>
                  </a:lnTo>
                  <a:lnTo>
                    <a:pt x="456" y="6"/>
                  </a:lnTo>
                  <a:lnTo>
                    <a:pt x="444" y="0"/>
                  </a:lnTo>
                  <a:lnTo>
                    <a:pt x="432" y="0"/>
                  </a:lnTo>
                  <a:lnTo>
                    <a:pt x="432" y="24"/>
                  </a:lnTo>
                  <a:lnTo>
                    <a:pt x="414" y="30"/>
                  </a:lnTo>
                  <a:lnTo>
                    <a:pt x="408" y="30"/>
                  </a:lnTo>
                  <a:lnTo>
                    <a:pt x="402" y="24"/>
                  </a:lnTo>
                  <a:lnTo>
                    <a:pt x="378" y="24"/>
                  </a:lnTo>
                  <a:lnTo>
                    <a:pt x="372" y="30"/>
                  </a:lnTo>
                  <a:lnTo>
                    <a:pt x="366" y="42"/>
                  </a:lnTo>
                  <a:lnTo>
                    <a:pt x="360" y="36"/>
                  </a:lnTo>
                  <a:lnTo>
                    <a:pt x="348" y="30"/>
                  </a:lnTo>
                  <a:lnTo>
                    <a:pt x="342" y="24"/>
                  </a:lnTo>
                  <a:lnTo>
                    <a:pt x="336" y="24"/>
                  </a:lnTo>
                  <a:lnTo>
                    <a:pt x="330" y="30"/>
                  </a:lnTo>
                  <a:lnTo>
                    <a:pt x="330" y="60"/>
                  </a:lnTo>
                  <a:lnTo>
                    <a:pt x="324" y="48"/>
                  </a:lnTo>
                  <a:lnTo>
                    <a:pt x="318" y="42"/>
                  </a:lnTo>
                  <a:lnTo>
                    <a:pt x="306" y="36"/>
                  </a:lnTo>
                  <a:lnTo>
                    <a:pt x="300" y="24"/>
                  </a:lnTo>
                  <a:lnTo>
                    <a:pt x="288" y="24"/>
                  </a:lnTo>
                  <a:lnTo>
                    <a:pt x="288" y="30"/>
                  </a:lnTo>
                  <a:lnTo>
                    <a:pt x="270" y="30"/>
                  </a:lnTo>
                  <a:lnTo>
                    <a:pt x="264" y="36"/>
                  </a:lnTo>
                  <a:lnTo>
                    <a:pt x="264" y="54"/>
                  </a:lnTo>
                  <a:lnTo>
                    <a:pt x="252" y="54"/>
                  </a:lnTo>
                  <a:lnTo>
                    <a:pt x="240" y="42"/>
                  </a:lnTo>
                  <a:lnTo>
                    <a:pt x="228" y="36"/>
                  </a:lnTo>
                  <a:lnTo>
                    <a:pt x="222" y="30"/>
                  </a:lnTo>
                  <a:lnTo>
                    <a:pt x="216" y="30"/>
                  </a:lnTo>
                  <a:lnTo>
                    <a:pt x="216" y="48"/>
                  </a:lnTo>
                  <a:lnTo>
                    <a:pt x="210" y="60"/>
                  </a:lnTo>
                  <a:lnTo>
                    <a:pt x="210" y="72"/>
                  </a:lnTo>
                  <a:lnTo>
                    <a:pt x="204" y="72"/>
                  </a:lnTo>
                  <a:lnTo>
                    <a:pt x="192" y="60"/>
                  </a:lnTo>
                  <a:lnTo>
                    <a:pt x="186" y="60"/>
                  </a:lnTo>
                  <a:lnTo>
                    <a:pt x="162" y="84"/>
                  </a:lnTo>
                  <a:lnTo>
                    <a:pt x="162" y="90"/>
                  </a:lnTo>
                  <a:lnTo>
                    <a:pt x="156" y="84"/>
                  </a:lnTo>
                  <a:lnTo>
                    <a:pt x="144" y="60"/>
                  </a:lnTo>
                  <a:lnTo>
                    <a:pt x="162" y="42"/>
                  </a:lnTo>
                  <a:lnTo>
                    <a:pt x="162" y="36"/>
                  </a:lnTo>
                  <a:lnTo>
                    <a:pt x="156" y="30"/>
                  </a:lnTo>
                  <a:lnTo>
                    <a:pt x="108" y="6"/>
                  </a:lnTo>
                  <a:lnTo>
                    <a:pt x="96" y="6"/>
                  </a:lnTo>
                  <a:lnTo>
                    <a:pt x="96" y="36"/>
                  </a:lnTo>
                  <a:lnTo>
                    <a:pt x="90" y="36"/>
                  </a:lnTo>
                  <a:lnTo>
                    <a:pt x="84" y="30"/>
                  </a:lnTo>
                  <a:lnTo>
                    <a:pt x="78" y="30"/>
                  </a:lnTo>
                  <a:lnTo>
                    <a:pt x="66" y="24"/>
                  </a:lnTo>
                  <a:lnTo>
                    <a:pt x="54" y="24"/>
                  </a:lnTo>
                  <a:lnTo>
                    <a:pt x="42" y="30"/>
                  </a:lnTo>
                  <a:lnTo>
                    <a:pt x="30" y="42"/>
                  </a:lnTo>
                  <a:lnTo>
                    <a:pt x="48" y="54"/>
                  </a:lnTo>
                  <a:lnTo>
                    <a:pt x="30" y="54"/>
                  </a:lnTo>
                  <a:lnTo>
                    <a:pt x="18" y="60"/>
                  </a:lnTo>
                  <a:lnTo>
                    <a:pt x="12" y="66"/>
                  </a:lnTo>
                  <a:lnTo>
                    <a:pt x="0" y="66"/>
                  </a:lnTo>
                  <a:lnTo>
                    <a:pt x="6" y="72"/>
                  </a:lnTo>
                  <a:lnTo>
                    <a:pt x="18" y="78"/>
                  </a:lnTo>
                  <a:lnTo>
                    <a:pt x="30" y="78"/>
                  </a:lnTo>
                  <a:lnTo>
                    <a:pt x="54" y="66"/>
                  </a:lnTo>
                  <a:lnTo>
                    <a:pt x="66" y="66"/>
                  </a:lnTo>
                  <a:lnTo>
                    <a:pt x="72" y="60"/>
                  </a:lnTo>
                  <a:lnTo>
                    <a:pt x="78" y="60"/>
                  </a:lnTo>
                  <a:lnTo>
                    <a:pt x="126" y="72"/>
                  </a:lnTo>
                  <a:lnTo>
                    <a:pt x="90" y="90"/>
                  </a:lnTo>
                  <a:lnTo>
                    <a:pt x="102" y="90"/>
                  </a:lnTo>
                  <a:lnTo>
                    <a:pt x="108" y="96"/>
                  </a:lnTo>
                  <a:lnTo>
                    <a:pt x="114" y="96"/>
                  </a:lnTo>
                  <a:lnTo>
                    <a:pt x="120" y="102"/>
                  </a:lnTo>
                  <a:lnTo>
                    <a:pt x="114" y="102"/>
                  </a:lnTo>
                  <a:lnTo>
                    <a:pt x="108" y="108"/>
                  </a:lnTo>
                  <a:lnTo>
                    <a:pt x="6" y="108"/>
                  </a:lnTo>
                  <a:lnTo>
                    <a:pt x="0" y="114"/>
                  </a:lnTo>
                  <a:lnTo>
                    <a:pt x="12" y="120"/>
                  </a:lnTo>
                  <a:lnTo>
                    <a:pt x="60" y="120"/>
                  </a:lnTo>
                  <a:lnTo>
                    <a:pt x="84" y="132"/>
                  </a:lnTo>
                  <a:lnTo>
                    <a:pt x="90" y="138"/>
                  </a:lnTo>
                  <a:lnTo>
                    <a:pt x="126" y="132"/>
                  </a:lnTo>
                  <a:lnTo>
                    <a:pt x="108" y="150"/>
                  </a:lnTo>
                  <a:lnTo>
                    <a:pt x="120" y="156"/>
                  </a:lnTo>
                  <a:lnTo>
                    <a:pt x="114" y="162"/>
                  </a:lnTo>
                  <a:lnTo>
                    <a:pt x="114" y="168"/>
                  </a:lnTo>
                  <a:lnTo>
                    <a:pt x="108" y="174"/>
                  </a:lnTo>
                  <a:lnTo>
                    <a:pt x="90" y="174"/>
                  </a:lnTo>
                  <a:lnTo>
                    <a:pt x="78" y="180"/>
                  </a:lnTo>
                  <a:lnTo>
                    <a:pt x="54" y="180"/>
                  </a:lnTo>
                  <a:lnTo>
                    <a:pt x="54" y="186"/>
                  </a:lnTo>
                  <a:lnTo>
                    <a:pt x="66" y="192"/>
                  </a:lnTo>
                  <a:lnTo>
                    <a:pt x="120" y="192"/>
                  </a:lnTo>
                  <a:lnTo>
                    <a:pt x="132" y="186"/>
                  </a:lnTo>
                  <a:lnTo>
                    <a:pt x="138" y="180"/>
                  </a:lnTo>
                  <a:lnTo>
                    <a:pt x="168" y="198"/>
                  </a:lnTo>
                  <a:lnTo>
                    <a:pt x="180" y="186"/>
                  </a:lnTo>
                  <a:lnTo>
                    <a:pt x="180" y="198"/>
                  </a:lnTo>
                  <a:lnTo>
                    <a:pt x="228" y="222"/>
                  </a:lnTo>
                  <a:lnTo>
                    <a:pt x="252" y="22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44" name="Irland" descr="© INSCALE GmbH, 05.05.2010&#10;http://www.presentationload.com/">
              <a:extLst>
                <a:ext uri="{FF2B5EF4-FFF2-40B4-BE49-F238E27FC236}">
                  <a16:creationId xmlns:a16="http://schemas.microsoft.com/office/drawing/2014/main" id="{521E3B32-51C8-428D-A276-FF1A5B34806E}"/>
                </a:ext>
              </a:extLst>
            </p:cNvPr>
            <p:cNvSpPr>
              <a:spLocks/>
            </p:cNvSpPr>
            <p:nvPr/>
          </p:nvSpPr>
          <p:spPr bwMode="gray">
            <a:xfrm>
              <a:off x="3917676" y="2494876"/>
              <a:ext cx="111329" cy="117602"/>
            </a:xfrm>
            <a:custGeom>
              <a:avLst/>
              <a:gdLst>
                <a:gd name="T0" fmla="*/ 2147483647 w 282"/>
                <a:gd name="T1" fmla="*/ 2147483647 h 300"/>
                <a:gd name="T2" fmla="*/ 2147483647 w 282"/>
                <a:gd name="T3" fmla="*/ 2147483647 h 300"/>
                <a:gd name="T4" fmla="*/ 2147483647 w 282"/>
                <a:gd name="T5" fmla="*/ 2147483647 h 300"/>
                <a:gd name="T6" fmla="*/ 2147483647 w 282"/>
                <a:gd name="T7" fmla="*/ 2147483647 h 300"/>
                <a:gd name="T8" fmla="*/ 2147483647 w 282"/>
                <a:gd name="T9" fmla="*/ 2147483647 h 300"/>
                <a:gd name="T10" fmla="*/ 2147483647 w 282"/>
                <a:gd name="T11" fmla="*/ 2147483647 h 300"/>
                <a:gd name="T12" fmla="*/ 2147483647 w 282"/>
                <a:gd name="T13" fmla="*/ 2147483647 h 300"/>
                <a:gd name="T14" fmla="*/ 2147483647 w 282"/>
                <a:gd name="T15" fmla="*/ 2147483647 h 300"/>
                <a:gd name="T16" fmla="*/ 2147483647 w 282"/>
                <a:gd name="T17" fmla="*/ 2147483647 h 300"/>
                <a:gd name="T18" fmla="*/ 2147483647 w 282"/>
                <a:gd name="T19" fmla="*/ 2147483647 h 300"/>
                <a:gd name="T20" fmla="*/ 2147483647 w 282"/>
                <a:gd name="T21" fmla="*/ 2147483647 h 300"/>
                <a:gd name="T22" fmla="*/ 2147483647 w 282"/>
                <a:gd name="T23" fmla="*/ 2147483647 h 300"/>
                <a:gd name="T24" fmla="*/ 2147483647 w 282"/>
                <a:gd name="T25" fmla="*/ 0 h 300"/>
                <a:gd name="T26" fmla="*/ 2147483647 w 282"/>
                <a:gd name="T27" fmla="*/ 2147483647 h 300"/>
                <a:gd name="T28" fmla="*/ 2147483647 w 282"/>
                <a:gd name="T29" fmla="*/ 2147483647 h 300"/>
                <a:gd name="T30" fmla="*/ 2147483647 w 282"/>
                <a:gd name="T31" fmla="*/ 2147483647 h 300"/>
                <a:gd name="T32" fmla="*/ 2147483647 w 282"/>
                <a:gd name="T33" fmla="*/ 2147483647 h 300"/>
                <a:gd name="T34" fmla="*/ 2147483647 w 282"/>
                <a:gd name="T35" fmla="*/ 2147483647 h 300"/>
                <a:gd name="T36" fmla="*/ 2147483647 w 282"/>
                <a:gd name="T37" fmla="*/ 2147483647 h 300"/>
                <a:gd name="T38" fmla="*/ 2147483647 w 282"/>
                <a:gd name="T39" fmla="*/ 2147483647 h 300"/>
                <a:gd name="T40" fmla="*/ 2147483647 w 282"/>
                <a:gd name="T41" fmla="*/ 2147483647 h 300"/>
                <a:gd name="T42" fmla="*/ 2147483647 w 282"/>
                <a:gd name="T43" fmla="*/ 2147483647 h 300"/>
                <a:gd name="T44" fmla="*/ 2147483647 w 282"/>
                <a:gd name="T45" fmla="*/ 2147483647 h 300"/>
                <a:gd name="T46" fmla="*/ 2147483647 w 282"/>
                <a:gd name="T47" fmla="*/ 2147483647 h 300"/>
                <a:gd name="T48" fmla="*/ 2147483647 w 282"/>
                <a:gd name="T49" fmla="*/ 2147483647 h 300"/>
                <a:gd name="T50" fmla="*/ 2147483647 w 282"/>
                <a:gd name="T51" fmla="*/ 2147483647 h 300"/>
                <a:gd name="T52" fmla="*/ 2147483647 w 282"/>
                <a:gd name="T53" fmla="*/ 2147483647 h 300"/>
                <a:gd name="T54" fmla="*/ 2147483647 w 282"/>
                <a:gd name="T55" fmla="*/ 2147483647 h 300"/>
                <a:gd name="T56" fmla="*/ 2147483647 w 282"/>
                <a:gd name="T57" fmla="*/ 2147483647 h 300"/>
                <a:gd name="T58" fmla="*/ 2147483647 w 282"/>
                <a:gd name="T59" fmla="*/ 2147483647 h 300"/>
                <a:gd name="T60" fmla="*/ 2147483647 w 282"/>
                <a:gd name="T61" fmla="*/ 2147483647 h 300"/>
                <a:gd name="T62" fmla="*/ 2147483647 w 282"/>
                <a:gd name="T63" fmla="*/ 2147483647 h 300"/>
                <a:gd name="T64" fmla="*/ 2147483647 w 282"/>
                <a:gd name="T65" fmla="*/ 2147483647 h 300"/>
                <a:gd name="T66" fmla="*/ 2147483647 w 282"/>
                <a:gd name="T67" fmla="*/ 2147483647 h 300"/>
                <a:gd name="T68" fmla="*/ 2147483647 w 282"/>
                <a:gd name="T69" fmla="*/ 2147483647 h 300"/>
                <a:gd name="T70" fmla="*/ 2147483647 w 282"/>
                <a:gd name="T71" fmla="*/ 2147483647 h 300"/>
                <a:gd name="T72" fmla="*/ 2147483647 w 282"/>
                <a:gd name="T73" fmla="*/ 2147483647 h 300"/>
                <a:gd name="T74" fmla="*/ 2147483647 w 282"/>
                <a:gd name="T75" fmla="*/ 2147483647 h 300"/>
                <a:gd name="T76" fmla="*/ 2147483647 w 282"/>
                <a:gd name="T77" fmla="*/ 2147483647 h 300"/>
                <a:gd name="T78" fmla="*/ 2147483647 w 282"/>
                <a:gd name="T79" fmla="*/ 2147483647 h 300"/>
                <a:gd name="T80" fmla="*/ 0 w 282"/>
                <a:gd name="T81" fmla="*/ 2147483647 h 300"/>
                <a:gd name="T82" fmla="*/ 2147483647 w 282"/>
                <a:gd name="T83" fmla="*/ 2147483647 h 300"/>
                <a:gd name="T84" fmla="*/ 2147483647 w 282"/>
                <a:gd name="T85" fmla="*/ 2147483647 h 300"/>
                <a:gd name="T86" fmla="*/ 2147483647 w 282"/>
                <a:gd name="T87" fmla="*/ 2147483647 h 300"/>
                <a:gd name="T88" fmla="*/ 2147483647 w 282"/>
                <a:gd name="T89" fmla="*/ 2147483647 h 300"/>
                <a:gd name="T90" fmla="*/ 2147483647 w 282"/>
                <a:gd name="T91" fmla="*/ 2147483647 h 300"/>
                <a:gd name="T92" fmla="*/ 2147483647 w 282"/>
                <a:gd name="T93" fmla="*/ 2147483647 h 300"/>
                <a:gd name="T94" fmla="*/ 2147483647 w 282"/>
                <a:gd name="T95" fmla="*/ 2147483647 h 300"/>
                <a:gd name="T96" fmla="*/ 2147483647 w 282"/>
                <a:gd name="T97" fmla="*/ 2147483647 h 300"/>
                <a:gd name="T98" fmla="*/ 2147483647 w 282"/>
                <a:gd name="T99" fmla="*/ 2147483647 h 300"/>
                <a:gd name="T100" fmla="*/ 2147483647 w 282"/>
                <a:gd name="T101" fmla="*/ 2147483647 h 300"/>
                <a:gd name="T102" fmla="*/ 2147483647 w 282"/>
                <a:gd name="T103" fmla="*/ 2147483647 h 300"/>
                <a:gd name="T104" fmla="*/ 2147483647 w 282"/>
                <a:gd name="T105" fmla="*/ 2147483647 h 300"/>
                <a:gd name="T106" fmla="*/ 2147483647 w 282"/>
                <a:gd name="T107" fmla="*/ 2147483647 h 300"/>
                <a:gd name="T108" fmla="*/ 2147483647 w 282"/>
                <a:gd name="T109" fmla="*/ 2147483647 h 300"/>
                <a:gd name="T110" fmla="*/ 2147483647 w 282"/>
                <a:gd name="T111" fmla="*/ 2147483647 h 3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2"/>
                <a:gd name="T169" fmla="*/ 0 h 300"/>
                <a:gd name="T170" fmla="*/ 282 w 282"/>
                <a:gd name="T171" fmla="*/ 300 h 3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2" h="300">
                  <a:moveTo>
                    <a:pt x="276" y="156"/>
                  </a:moveTo>
                  <a:lnTo>
                    <a:pt x="276" y="144"/>
                  </a:lnTo>
                  <a:lnTo>
                    <a:pt x="270" y="132"/>
                  </a:lnTo>
                  <a:lnTo>
                    <a:pt x="264" y="126"/>
                  </a:lnTo>
                  <a:lnTo>
                    <a:pt x="264" y="114"/>
                  </a:lnTo>
                  <a:lnTo>
                    <a:pt x="258" y="108"/>
                  </a:lnTo>
                  <a:lnTo>
                    <a:pt x="258" y="102"/>
                  </a:lnTo>
                  <a:lnTo>
                    <a:pt x="276" y="102"/>
                  </a:lnTo>
                  <a:lnTo>
                    <a:pt x="282" y="96"/>
                  </a:lnTo>
                  <a:lnTo>
                    <a:pt x="246" y="90"/>
                  </a:lnTo>
                  <a:lnTo>
                    <a:pt x="228" y="66"/>
                  </a:lnTo>
                  <a:lnTo>
                    <a:pt x="204" y="90"/>
                  </a:lnTo>
                  <a:lnTo>
                    <a:pt x="192" y="90"/>
                  </a:lnTo>
                  <a:lnTo>
                    <a:pt x="168" y="78"/>
                  </a:lnTo>
                  <a:lnTo>
                    <a:pt x="162" y="72"/>
                  </a:lnTo>
                  <a:lnTo>
                    <a:pt x="174" y="60"/>
                  </a:lnTo>
                  <a:lnTo>
                    <a:pt x="180" y="60"/>
                  </a:lnTo>
                  <a:lnTo>
                    <a:pt x="186" y="54"/>
                  </a:lnTo>
                  <a:lnTo>
                    <a:pt x="192" y="54"/>
                  </a:lnTo>
                  <a:lnTo>
                    <a:pt x="192" y="42"/>
                  </a:lnTo>
                  <a:lnTo>
                    <a:pt x="234" y="18"/>
                  </a:lnTo>
                  <a:lnTo>
                    <a:pt x="240" y="12"/>
                  </a:lnTo>
                  <a:lnTo>
                    <a:pt x="240" y="6"/>
                  </a:lnTo>
                  <a:lnTo>
                    <a:pt x="234" y="6"/>
                  </a:lnTo>
                  <a:lnTo>
                    <a:pt x="228" y="0"/>
                  </a:lnTo>
                  <a:lnTo>
                    <a:pt x="222" y="0"/>
                  </a:lnTo>
                  <a:lnTo>
                    <a:pt x="210" y="6"/>
                  </a:lnTo>
                  <a:lnTo>
                    <a:pt x="204" y="18"/>
                  </a:lnTo>
                  <a:lnTo>
                    <a:pt x="198" y="6"/>
                  </a:lnTo>
                  <a:lnTo>
                    <a:pt x="174" y="6"/>
                  </a:lnTo>
                  <a:lnTo>
                    <a:pt x="162" y="12"/>
                  </a:lnTo>
                  <a:lnTo>
                    <a:pt x="156" y="12"/>
                  </a:lnTo>
                  <a:lnTo>
                    <a:pt x="150" y="18"/>
                  </a:lnTo>
                  <a:lnTo>
                    <a:pt x="150" y="30"/>
                  </a:lnTo>
                  <a:lnTo>
                    <a:pt x="144" y="36"/>
                  </a:lnTo>
                  <a:lnTo>
                    <a:pt x="144" y="42"/>
                  </a:lnTo>
                  <a:lnTo>
                    <a:pt x="126" y="42"/>
                  </a:lnTo>
                  <a:lnTo>
                    <a:pt x="120" y="48"/>
                  </a:lnTo>
                  <a:lnTo>
                    <a:pt x="120" y="54"/>
                  </a:lnTo>
                  <a:lnTo>
                    <a:pt x="138" y="54"/>
                  </a:lnTo>
                  <a:lnTo>
                    <a:pt x="144" y="60"/>
                  </a:lnTo>
                  <a:lnTo>
                    <a:pt x="150" y="60"/>
                  </a:lnTo>
                  <a:lnTo>
                    <a:pt x="150" y="66"/>
                  </a:lnTo>
                  <a:lnTo>
                    <a:pt x="144" y="72"/>
                  </a:lnTo>
                  <a:lnTo>
                    <a:pt x="132" y="72"/>
                  </a:lnTo>
                  <a:lnTo>
                    <a:pt x="132" y="78"/>
                  </a:lnTo>
                  <a:lnTo>
                    <a:pt x="126" y="84"/>
                  </a:lnTo>
                  <a:lnTo>
                    <a:pt x="102" y="84"/>
                  </a:lnTo>
                  <a:lnTo>
                    <a:pt x="102" y="90"/>
                  </a:lnTo>
                  <a:lnTo>
                    <a:pt x="90" y="78"/>
                  </a:lnTo>
                  <a:lnTo>
                    <a:pt x="42" y="78"/>
                  </a:lnTo>
                  <a:lnTo>
                    <a:pt x="42" y="102"/>
                  </a:lnTo>
                  <a:lnTo>
                    <a:pt x="54" y="102"/>
                  </a:lnTo>
                  <a:lnTo>
                    <a:pt x="54" y="108"/>
                  </a:lnTo>
                  <a:lnTo>
                    <a:pt x="60" y="114"/>
                  </a:lnTo>
                  <a:lnTo>
                    <a:pt x="42" y="126"/>
                  </a:lnTo>
                  <a:lnTo>
                    <a:pt x="36" y="126"/>
                  </a:lnTo>
                  <a:lnTo>
                    <a:pt x="30" y="132"/>
                  </a:lnTo>
                  <a:lnTo>
                    <a:pt x="30" y="138"/>
                  </a:lnTo>
                  <a:lnTo>
                    <a:pt x="42" y="150"/>
                  </a:lnTo>
                  <a:lnTo>
                    <a:pt x="54" y="156"/>
                  </a:lnTo>
                  <a:lnTo>
                    <a:pt x="60" y="162"/>
                  </a:lnTo>
                  <a:lnTo>
                    <a:pt x="72" y="162"/>
                  </a:lnTo>
                  <a:lnTo>
                    <a:pt x="78" y="156"/>
                  </a:lnTo>
                  <a:lnTo>
                    <a:pt x="96" y="156"/>
                  </a:lnTo>
                  <a:lnTo>
                    <a:pt x="96" y="168"/>
                  </a:lnTo>
                  <a:lnTo>
                    <a:pt x="90" y="174"/>
                  </a:lnTo>
                  <a:lnTo>
                    <a:pt x="72" y="174"/>
                  </a:lnTo>
                  <a:lnTo>
                    <a:pt x="72" y="192"/>
                  </a:lnTo>
                  <a:lnTo>
                    <a:pt x="54" y="192"/>
                  </a:lnTo>
                  <a:lnTo>
                    <a:pt x="48" y="198"/>
                  </a:lnTo>
                  <a:lnTo>
                    <a:pt x="48" y="210"/>
                  </a:lnTo>
                  <a:lnTo>
                    <a:pt x="42" y="222"/>
                  </a:lnTo>
                  <a:lnTo>
                    <a:pt x="42" y="234"/>
                  </a:lnTo>
                  <a:lnTo>
                    <a:pt x="18" y="234"/>
                  </a:lnTo>
                  <a:lnTo>
                    <a:pt x="12" y="240"/>
                  </a:lnTo>
                  <a:lnTo>
                    <a:pt x="6" y="240"/>
                  </a:lnTo>
                  <a:lnTo>
                    <a:pt x="6" y="246"/>
                  </a:lnTo>
                  <a:lnTo>
                    <a:pt x="12" y="246"/>
                  </a:lnTo>
                  <a:lnTo>
                    <a:pt x="18" y="252"/>
                  </a:lnTo>
                  <a:lnTo>
                    <a:pt x="6" y="252"/>
                  </a:lnTo>
                  <a:lnTo>
                    <a:pt x="0" y="258"/>
                  </a:lnTo>
                  <a:lnTo>
                    <a:pt x="0" y="270"/>
                  </a:lnTo>
                  <a:lnTo>
                    <a:pt x="42" y="270"/>
                  </a:lnTo>
                  <a:lnTo>
                    <a:pt x="24" y="288"/>
                  </a:lnTo>
                  <a:lnTo>
                    <a:pt x="30" y="282"/>
                  </a:lnTo>
                  <a:lnTo>
                    <a:pt x="48" y="282"/>
                  </a:lnTo>
                  <a:lnTo>
                    <a:pt x="48" y="288"/>
                  </a:lnTo>
                  <a:lnTo>
                    <a:pt x="42" y="288"/>
                  </a:lnTo>
                  <a:lnTo>
                    <a:pt x="36" y="294"/>
                  </a:lnTo>
                  <a:lnTo>
                    <a:pt x="30" y="294"/>
                  </a:lnTo>
                  <a:lnTo>
                    <a:pt x="36" y="300"/>
                  </a:lnTo>
                  <a:lnTo>
                    <a:pt x="60" y="300"/>
                  </a:lnTo>
                  <a:lnTo>
                    <a:pt x="96" y="288"/>
                  </a:lnTo>
                  <a:lnTo>
                    <a:pt x="108" y="282"/>
                  </a:lnTo>
                  <a:lnTo>
                    <a:pt x="120" y="270"/>
                  </a:lnTo>
                  <a:lnTo>
                    <a:pt x="120" y="264"/>
                  </a:lnTo>
                  <a:lnTo>
                    <a:pt x="132" y="270"/>
                  </a:lnTo>
                  <a:lnTo>
                    <a:pt x="138" y="270"/>
                  </a:lnTo>
                  <a:lnTo>
                    <a:pt x="150" y="264"/>
                  </a:lnTo>
                  <a:lnTo>
                    <a:pt x="162" y="252"/>
                  </a:lnTo>
                  <a:lnTo>
                    <a:pt x="180" y="246"/>
                  </a:lnTo>
                  <a:lnTo>
                    <a:pt x="204" y="246"/>
                  </a:lnTo>
                  <a:lnTo>
                    <a:pt x="210" y="240"/>
                  </a:lnTo>
                  <a:lnTo>
                    <a:pt x="252" y="240"/>
                  </a:lnTo>
                  <a:lnTo>
                    <a:pt x="246" y="222"/>
                  </a:lnTo>
                  <a:lnTo>
                    <a:pt x="264" y="222"/>
                  </a:lnTo>
                  <a:lnTo>
                    <a:pt x="264" y="198"/>
                  </a:lnTo>
                  <a:lnTo>
                    <a:pt x="270" y="192"/>
                  </a:lnTo>
                  <a:lnTo>
                    <a:pt x="270" y="180"/>
                  </a:lnTo>
                  <a:lnTo>
                    <a:pt x="276" y="168"/>
                  </a:lnTo>
                  <a:lnTo>
                    <a:pt x="276" y="156"/>
                  </a:lnTo>
                  <a:close/>
                </a:path>
              </a:pathLst>
            </a:custGeom>
            <a:solidFill>
              <a:schemeClr val="accent1"/>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45" name="Iran" descr="© INSCALE GmbH, 05.05.2010&#10;http://www.presentationload.com/">
              <a:extLst>
                <a:ext uri="{FF2B5EF4-FFF2-40B4-BE49-F238E27FC236}">
                  <a16:creationId xmlns:a16="http://schemas.microsoft.com/office/drawing/2014/main" id="{C16A57A0-6E08-40BB-9886-1D38F8F37EDE}"/>
                </a:ext>
              </a:extLst>
            </p:cNvPr>
            <p:cNvSpPr>
              <a:spLocks/>
            </p:cNvSpPr>
            <p:nvPr/>
          </p:nvSpPr>
          <p:spPr bwMode="gray">
            <a:xfrm>
              <a:off x="5300672" y="2977827"/>
              <a:ext cx="572328" cy="468840"/>
            </a:xfrm>
            <a:custGeom>
              <a:avLst/>
              <a:gdLst>
                <a:gd name="T0" fmla="*/ 2147483647 w 1440"/>
                <a:gd name="T1" fmla="*/ 2147483647 h 1182"/>
                <a:gd name="T2" fmla="*/ 2147483647 w 1440"/>
                <a:gd name="T3" fmla="*/ 2147483647 h 1182"/>
                <a:gd name="T4" fmla="*/ 2147483647 w 1440"/>
                <a:gd name="T5" fmla="*/ 2147483647 h 1182"/>
                <a:gd name="T6" fmla="*/ 2147483647 w 1440"/>
                <a:gd name="T7" fmla="*/ 2147483647 h 1182"/>
                <a:gd name="T8" fmla="*/ 2147483647 w 1440"/>
                <a:gd name="T9" fmla="*/ 2147483647 h 1182"/>
                <a:gd name="T10" fmla="*/ 2147483647 w 1440"/>
                <a:gd name="T11" fmla="*/ 2147483647 h 1182"/>
                <a:gd name="T12" fmla="*/ 2147483647 w 1440"/>
                <a:gd name="T13" fmla="*/ 2147483647 h 1182"/>
                <a:gd name="T14" fmla="*/ 2147483647 w 1440"/>
                <a:gd name="T15" fmla="*/ 2147483647 h 1182"/>
                <a:gd name="T16" fmla="*/ 2147483647 w 1440"/>
                <a:gd name="T17" fmla="*/ 2147483647 h 1182"/>
                <a:gd name="T18" fmla="*/ 2147483647 w 1440"/>
                <a:gd name="T19" fmla="*/ 2147483647 h 1182"/>
                <a:gd name="T20" fmla="*/ 2147483647 w 1440"/>
                <a:gd name="T21" fmla="*/ 2147483647 h 1182"/>
                <a:gd name="T22" fmla="*/ 2147483647 w 1440"/>
                <a:gd name="T23" fmla="*/ 2147483647 h 1182"/>
                <a:gd name="T24" fmla="*/ 2147483647 w 1440"/>
                <a:gd name="T25" fmla="*/ 2147483647 h 1182"/>
                <a:gd name="T26" fmla="*/ 2147483647 w 1440"/>
                <a:gd name="T27" fmla="*/ 2147483647 h 1182"/>
                <a:gd name="T28" fmla="*/ 2147483647 w 1440"/>
                <a:gd name="T29" fmla="*/ 2147483647 h 1182"/>
                <a:gd name="T30" fmla="*/ 2147483647 w 1440"/>
                <a:gd name="T31" fmla="*/ 2147483647 h 1182"/>
                <a:gd name="T32" fmla="*/ 2147483647 w 1440"/>
                <a:gd name="T33" fmla="*/ 2147483647 h 1182"/>
                <a:gd name="T34" fmla="*/ 2147483647 w 1440"/>
                <a:gd name="T35" fmla="*/ 2147483647 h 1182"/>
                <a:gd name="T36" fmla="*/ 2147483647 w 1440"/>
                <a:gd name="T37" fmla="*/ 2147483647 h 1182"/>
                <a:gd name="T38" fmla="*/ 2147483647 w 1440"/>
                <a:gd name="T39" fmla="*/ 2147483647 h 1182"/>
                <a:gd name="T40" fmla="*/ 2147483647 w 1440"/>
                <a:gd name="T41" fmla="*/ 2147483647 h 1182"/>
                <a:gd name="T42" fmla="*/ 2147483647 w 1440"/>
                <a:gd name="T43" fmla="*/ 2147483647 h 1182"/>
                <a:gd name="T44" fmla="*/ 2147483647 w 1440"/>
                <a:gd name="T45" fmla="*/ 2147483647 h 1182"/>
                <a:gd name="T46" fmla="*/ 2147483647 w 1440"/>
                <a:gd name="T47" fmla="*/ 2147483647 h 1182"/>
                <a:gd name="T48" fmla="*/ 2147483647 w 1440"/>
                <a:gd name="T49" fmla="*/ 2147483647 h 1182"/>
                <a:gd name="T50" fmla="*/ 2147483647 w 1440"/>
                <a:gd name="T51" fmla="*/ 2147483647 h 1182"/>
                <a:gd name="T52" fmla="*/ 2147483647 w 1440"/>
                <a:gd name="T53" fmla="*/ 2147483647 h 1182"/>
                <a:gd name="T54" fmla="*/ 2147483647 w 1440"/>
                <a:gd name="T55" fmla="*/ 2147483647 h 1182"/>
                <a:gd name="T56" fmla="*/ 2147483647 w 1440"/>
                <a:gd name="T57" fmla="*/ 2147483647 h 1182"/>
                <a:gd name="T58" fmla="*/ 2147483647 w 1440"/>
                <a:gd name="T59" fmla="*/ 2147483647 h 1182"/>
                <a:gd name="T60" fmla="*/ 2147483647 w 1440"/>
                <a:gd name="T61" fmla="*/ 0 h 1182"/>
                <a:gd name="T62" fmla="*/ 2147483647 w 1440"/>
                <a:gd name="T63" fmla="*/ 2147483647 h 1182"/>
                <a:gd name="T64" fmla="*/ 2147483647 w 1440"/>
                <a:gd name="T65" fmla="*/ 2147483647 h 1182"/>
                <a:gd name="T66" fmla="*/ 2147483647 w 1440"/>
                <a:gd name="T67" fmla="*/ 2147483647 h 1182"/>
                <a:gd name="T68" fmla="*/ 2147483647 w 1440"/>
                <a:gd name="T69" fmla="*/ 2147483647 h 1182"/>
                <a:gd name="T70" fmla="*/ 2147483647 w 1440"/>
                <a:gd name="T71" fmla="*/ 2147483647 h 1182"/>
                <a:gd name="T72" fmla="*/ 2147483647 w 1440"/>
                <a:gd name="T73" fmla="*/ 2147483647 h 1182"/>
                <a:gd name="T74" fmla="*/ 2147483647 w 1440"/>
                <a:gd name="T75" fmla="*/ 2147483647 h 1182"/>
                <a:gd name="T76" fmla="*/ 2147483647 w 1440"/>
                <a:gd name="T77" fmla="*/ 2147483647 h 1182"/>
                <a:gd name="T78" fmla="*/ 2147483647 w 1440"/>
                <a:gd name="T79" fmla="*/ 2147483647 h 1182"/>
                <a:gd name="T80" fmla="*/ 2147483647 w 1440"/>
                <a:gd name="T81" fmla="*/ 2147483647 h 1182"/>
                <a:gd name="T82" fmla="*/ 2147483647 w 1440"/>
                <a:gd name="T83" fmla="*/ 2147483647 h 1182"/>
                <a:gd name="T84" fmla="*/ 2147483647 w 1440"/>
                <a:gd name="T85" fmla="*/ 2147483647 h 1182"/>
                <a:gd name="T86" fmla="*/ 2147483647 w 1440"/>
                <a:gd name="T87" fmla="*/ 2147483647 h 1182"/>
                <a:gd name="T88" fmla="*/ 2147483647 w 1440"/>
                <a:gd name="T89" fmla="*/ 2147483647 h 1182"/>
                <a:gd name="T90" fmla="*/ 2147483647 w 1440"/>
                <a:gd name="T91" fmla="*/ 2147483647 h 1182"/>
                <a:gd name="T92" fmla="*/ 2147483647 w 1440"/>
                <a:gd name="T93" fmla="*/ 2147483647 h 1182"/>
                <a:gd name="T94" fmla="*/ 2147483647 w 1440"/>
                <a:gd name="T95" fmla="*/ 2147483647 h 1182"/>
                <a:gd name="T96" fmla="*/ 2147483647 w 1440"/>
                <a:gd name="T97" fmla="*/ 2147483647 h 1182"/>
                <a:gd name="T98" fmla="*/ 2147483647 w 1440"/>
                <a:gd name="T99" fmla="*/ 2147483647 h 1182"/>
                <a:gd name="T100" fmla="*/ 2147483647 w 1440"/>
                <a:gd name="T101" fmla="*/ 2147483647 h 1182"/>
                <a:gd name="T102" fmla="*/ 2147483647 w 1440"/>
                <a:gd name="T103" fmla="*/ 2147483647 h 1182"/>
                <a:gd name="T104" fmla="*/ 2147483647 w 1440"/>
                <a:gd name="T105" fmla="*/ 2147483647 h 1182"/>
                <a:gd name="T106" fmla="*/ 2147483647 w 1440"/>
                <a:gd name="T107" fmla="*/ 2147483647 h 1182"/>
                <a:gd name="T108" fmla="*/ 2147483647 w 1440"/>
                <a:gd name="T109" fmla="*/ 2147483647 h 1182"/>
                <a:gd name="T110" fmla="*/ 2147483647 w 1440"/>
                <a:gd name="T111" fmla="*/ 2147483647 h 11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40"/>
                <a:gd name="T169" fmla="*/ 0 h 1182"/>
                <a:gd name="T170" fmla="*/ 1440 w 1440"/>
                <a:gd name="T171" fmla="*/ 1182 h 11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40" h="1182">
                  <a:moveTo>
                    <a:pt x="1338" y="1176"/>
                  </a:moveTo>
                  <a:lnTo>
                    <a:pt x="1338" y="1170"/>
                  </a:lnTo>
                  <a:lnTo>
                    <a:pt x="1332" y="1158"/>
                  </a:lnTo>
                  <a:lnTo>
                    <a:pt x="1332" y="1128"/>
                  </a:lnTo>
                  <a:lnTo>
                    <a:pt x="1344" y="1116"/>
                  </a:lnTo>
                  <a:lnTo>
                    <a:pt x="1344" y="1110"/>
                  </a:lnTo>
                  <a:lnTo>
                    <a:pt x="1350" y="1104"/>
                  </a:lnTo>
                  <a:lnTo>
                    <a:pt x="1356" y="1086"/>
                  </a:lnTo>
                  <a:lnTo>
                    <a:pt x="1368" y="1086"/>
                  </a:lnTo>
                  <a:lnTo>
                    <a:pt x="1374" y="1080"/>
                  </a:lnTo>
                  <a:lnTo>
                    <a:pt x="1374" y="1074"/>
                  </a:lnTo>
                  <a:lnTo>
                    <a:pt x="1380" y="1074"/>
                  </a:lnTo>
                  <a:lnTo>
                    <a:pt x="1380" y="1068"/>
                  </a:lnTo>
                  <a:lnTo>
                    <a:pt x="1386" y="1062"/>
                  </a:lnTo>
                  <a:lnTo>
                    <a:pt x="1398" y="1056"/>
                  </a:lnTo>
                  <a:lnTo>
                    <a:pt x="1428" y="1056"/>
                  </a:lnTo>
                  <a:lnTo>
                    <a:pt x="1428" y="1062"/>
                  </a:lnTo>
                  <a:lnTo>
                    <a:pt x="1434" y="1062"/>
                  </a:lnTo>
                  <a:lnTo>
                    <a:pt x="1440" y="1056"/>
                  </a:lnTo>
                  <a:lnTo>
                    <a:pt x="1440" y="1044"/>
                  </a:lnTo>
                  <a:lnTo>
                    <a:pt x="1434" y="1026"/>
                  </a:lnTo>
                  <a:lnTo>
                    <a:pt x="1428" y="1014"/>
                  </a:lnTo>
                  <a:lnTo>
                    <a:pt x="1422" y="1008"/>
                  </a:lnTo>
                  <a:lnTo>
                    <a:pt x="1404" y="1008"/>
                  </a:lnTo>
                  <a:lnTo>
                    <a:pt x="1404" y="996"/>
                  </a:lnTo>
                  <a:lnTo>
                    <a:pt x="1398" y="984"/>
                  </a:lnTo>
                  <a:lnTo>
                    <a:pt x="1398" y="960"/>
                  </a:lnTo>
                  <a:lnTo>
                    <a:pt x="1392" y="960"/>
                  </a:lnTo>
                  <a:lnTo>
                    <a:pt x="1398" y="930"/>
                  </a:lnTo>
                  <a:lnTo>
                    <a:pt x="1374" y="930"/>
                  </a:lnTo>
                  <a:lnTo>
                    <a:pt x="1362" y="912"/>
                  </a:lnTo>
                  <a:lnTo>
                    <a:pt x="1350" y="918"/>
                  </a:lnTo>
                  <a:lnTo>
                    <a:pt x="1332" y="918"/>
                  </a:lnTo>
                  <a:lnTo>
                    <a:pt x="1326" y="912"/>
                  </a:lnTo>
                  <a:lnTo>
                    <a:pt x="1314" y="894"/>
                  </a:lnTo>
                  <a:lnTo>
                    <a:pt x="1308" y="876"/>
                  </a:lnTo>
                  <a:lnTo>
                    <a:pt x="1296" y="864"/>
                  </a:lnTo>
                  <a:lnTo>
                    <a:pt x="1284" y="846"/>
                  </a:lnTo>
                  <a:lnTo>
                    <a:pt x="1278" y="840"/>
                  </a:lnTo>
                  <a:lnTo>
                    <a:pt x="1272" y="828"/>
                  </a:lnTo>
                  <a:lnTo>
                    <a:pt x="1248" y="804"/>
                  </a:lnTo>
                  <a:lnTo>
                    <a:pt x="1242" y="804"/>
                  </a:lnTo>
                  <a:lnTo>
                    <a:pt x="1242" y="792"/>
                  </a:lnTo>
                  <a:lnTo>
                    <a:pt x="1260" y="774"/>
                  </a:lnTo>
                  <a:lnTo>
                    <a:pt x="1266" y="762"/>
                  </a:lnTo>
                  <a:lnTo>
                    <a:pt x="1272" y="756"/>
                  </a:lnTo>
                  <a:lnTo>
                    <a:pt x="1296" y="708"/>
                  </a:lnTo>
                  <a:lnTo>
                    <a:pt x="1284" y="684"/>
                  </a:lnTo>
                  <a:lnTo>
                    <a:pt x="1278" y="678"/>
                  </a:lnTo>
                  <a:lnTo>
                    <a:pt x="1242" y="678"/>
                  </a:lnTo>
                  <a:lnTo>
                    <a:pt x="1230" y="672"/>
                  </a:lnTo>
                  <a:lnTo>
                    <a:pt x="1224" y="672"/>
                  </a:lnTo>
                  <a:lnTo>
                    <a:pt x="1218" y="666"/>
                  </a:lnTo>
                  <a:lnTo>
                    <a:pt x="1218" y="612"/>
                  </a:lnTo>
                  <a:lnTo>
                    <a:pt x="1212" y="606"/>
                  </a:lnTo>
                  <a:lnTo>
                    <a:pt x="1200" y="582"/>
                  </a:lnTo>
                  <a:lnTo>
                    <a:pt x="1188" y="564"/>
                  </a:lnTo>
                  <a:lnTo>
                    <a:pt x="1176" y="540"/>
                  </a:lnTo>
                  <a:lnTo>
                    <a:pt x="1182" y="528"/>
                  </a:lnTo>
                  <a:lnTo>
                    <a:pt x="1200" y="510"/>
                  </a:lnTo>
                  <a:lnTo>
                    <a:pt x="1200" y="504"/>
                  </a:lnTo>
                  <a:lnTo>
                    <a:pt x="1194" y="498"/>
                  </a:lnTo>
                  <a:lnTo>
                    <a:pt x="1170" y="498"/>
                  </a:lnTo>
                  <a:lnTo>
                    <a:pt x="1170" y="468"/>
                  </a:lnTo>
                  <a:lnTo>
                    <a:pt x="1158" y="456"/>
                  </a:lnTo>
                  <a:lnTo>
                    <a:pt x="1158" y="450"/>
                  </a:lnTo>
                  <a:lnTo>
                    <a:pt x="1164" y="444"/>
                  </a:lnTo>
                  <a:lnTo>
                    <a:pt x="1176" y="438"/>
                  </a:lnTo>
                  <a:lnTo>
                    <a:pt x="1182" y="432"/>
                  </a:lnTo>
                  <a:lnTo>
                    <a:pt x="1188" y="432"/>
                  </a:lnTo>
                  <a:lnTo>
                    <a:pt x="1176" y="414"/>
                  </a:lnTo>
                  <a:lnTo>
                    <a:pt x="1200" y="408"/>
                  </a:lnTo>
                  <a:lnTo>
                    <a:pt x="1200" y="402"/>
                  </a:lnTo>
                  <a:lnTo>
                    <a:pt x="1194" y="396"/>
                  </a:lnTo>
                  <a:lnTo>
                    <a:pt x="1194" y="372"/>
                  </a:lnTo>
                  <a:lnTo>
                    <a:pt x="1188" y="360"/>
                  </a:lnTo>
                  <a:lnTo>
                    <a:pt x="1188" y="354"/>
                  </a:lnTo>
                  <a:lnTo>
                    <a:pt x="1194" y="342"/>
                  </a:lnTo>
                  <a:lnTo>
                    <a:pt x="1200" y="336"/>
                  </a:lnTo>
                  <a:lnTo>
                    <a:pt x="1188" y="306"/>
                  </a:lnTo>
                  <a:lnTo>
                    <a:pt x="1194" y="282"/>
                  </a:lnTo>
                  <a:lnTo>
                    <a:pt x="1182" y="282"/>
                  </a:lnTo>
                  <a:lnTo>
                    <a:pt x="1182" y="246"/>
                  </a:lnTo>
                  <a:lnTo>
                    <a:pt x="1116" y="252"/>
                  </a:lnTo>
                  <a:lnTo>
                    <a:pt x="1110" y="246"/>
                  </a:lnTo>
                  <a:lnTo>
                    <a:pt x="1104" y="234"/>
                  </a:lnTo>
                  <a:lnTo>
                    <a:pt x="1092" y="228"/>
                  </a:lnTo>
                  <a:lnTo>
                    <a:pt x="1080" y="216"/>
                  </a:lnTo>
                  <a:lnTo>
                    <a:pt x="1068" y="216"/>
                  </a:lnTo>
                  <a:lnTo>
                    <a:pt x="1062" y="210"/>
                  </a:lnTo>
                  <a:lnTo>
                    <a:pt x="1056" y="210"/>
                  </a:lnTo>
                  <a:lnTo>
                    <a:pt x="1050" y="204"/>
                  </a:lnTo>
                  <a:lnTo>
                    <a:pt x="1044" y="192"/>
                  </a:lnTo>
                  <a:lnTo>
                    <a:pt x="1044" y="186"/>
                  </a:lnTo>
                  <a:lnTo>
                    <a:pt x="1038" y="180"/>
                  </a:lnTo>
                  <a:lnTo>
                    <a:pt x="1032" y="180"/>
                  </a:lnTo>
                  <a:lnTo>
                    <a:pt x="1020" y="174"/>
                  </a:lnTo>
                  <a:lnTo>
                    <a:pt x="1002" y="174"/>
                  </a:lnTo>
                  <a:lnTo>
                    <a:pt x="990" y="168"/>
                  </a:lnTo>
                  <a:lnTo>
                    <a:pt x="972" y="168"/>
                  </a:lnTo>
                  <a:lnTo>
                    <a:pt x="972" y="174"/>
                  </a:lnTo>
                  <a:lnTo>
                    <a:pt x="960" y="168"/>
                  </a:lnTo>
                  <a:lnTo>
                    <a:pt x="954" y="162"/>
                  </a:lnTo>
                  <a:lnTo>
                    <a:pt x="942" y="156"/>
                  </a:lnTo>
                  <a:lnTo>
                    <a:pt x="936" y="150"/>
                  </a:lnTo>
                  <a:lnTo>
                    <a:pt x="906" y="150"/>
                  </a:lnTo>
                  <a:lnTo>
                    <a:pt x="906" y="138"/>
                  </a:lnTo>
                  <a:lnTo>
                    <a:pt x="894" y="126"/>
                  </a:lnTo>
                  <a:lnTo>
                    <a:pt x="834" y="126"/>
                  </a:lnTo>
                  <a:lnTo>
                    <a:pt x="834" y="132"/>
                  </a:lnTo>
                  <a:lnTo>
                    <a:pt x="828" y="138"/>
                  </a:lnTo>
                  <a:lnTo>
                    <a:pt x="816" y="132"/>
                  </a:lnTo>
                  <a:lnTo>
                    <a:pt x="780" y="132"/>
                  </a:lnTo>
                  <a:lnTo>
                    <a:pt x="768" y="138"/>
                  </a:lnTo>
                  <a:lnTo>
                    <a:pt x="750" y="156"/>
                  </a:lnTo>
                  <a:lnTo>
                    <a:pt x="738" y="162"/>
                  </a:lnTo>
                  <a:lnTo>
                    <a:pt x="732" y="168"/>
                  </a:lnTo>
                  <a:lnTo>
                    <a:pt x="732" y="180"/>
                  </a:lnTo>
                  <a:lnTo>
                    <a:pt x="720" y="186"/>
                  </a:lnTo>
                  <a:lnTo>
                    <a:pt x="708" y="198"/>
                  </a:lnTo>
                  <a:lnTo>
                    <a:pt x="678" y="198"/>
                  </a:lnTo>
                  <a:lnTo>
                    <a:pt x="690" y="210"/>
                  </a:lnTo>
                  <a:lnTo>
                    <a:pt x="690" y="222"/>
                  </a:lnTo>
                  <a:lnTo>
                    <a:pt x="696" y="228"/>
                  </a:lnTo>
                  <a:lnTo>
                    <a:pt x="696" y="234"/>
                  </a:lnTo>
                  <a:lnTo>
                    <a:pt x="690" y="240"/>
                  </a:lnTo>
                  <a:lnTo>
                    <a:pt x="678" y="240"/>
                  </a:lnTo>
                  <a:lnTo>
                    <a:pt x="666" y="234"/>
                  </a:lnTo>
                  <a:lnTo>
                    <a:pt x="660" y="228"/>
                  </a:lnTo>
                  <a:lnTo>
                    <a:pt x="654" y="228"/>
                  </a:lnTo>
                  <a:lnTo>
                    <a:pt x="648" y="234"/>
                  </a:lnTo>
                  <a:lnTo>
                    <a:pt x="624" y="234"/>
                  </a:lnTo>
                  <a:lnTo>
                    <a:pt x="612" y="240"/>
                  </a:lnTo>
                  <a:lnTo>
                    <a:pt x="600" y="240"/>
                  </a:lnTo>
                  <a:lnTo>
                    <a:pt x="582" y="246"/>
                  </a:lnTo>
                  <a:lnTo>
                    <a:pt x="558" y="258"/>
                  </a:lnTo>
                  <a:lnTo>
                    <a:pt x="546" y="252"/>
                  </a:lnTo>
                  <a:lnTo>
                    <a:pt x="534" y="252"/>
                  </a:lnTo>
                  <a:lnTo>
                    <a:pt x="522" y="246"/>
                  </a:lnTo>
                  <a:lnTo>
                    <a:pt x="498" y="246"/>
                  </a:lnTo>
                  <a:lnTo>
                    <a:pt x="480" y="240"/>
                  </a:lnTo>
                  <a:lnTo>
                    <a:pt x="468" y="228"/>
                  </a:lnTo>
                  <a:lnTo>
                    <a:pt x="456" y="222"/>
                  </a:lnTo>
                  <a:lnTo>
                    <a:pt x="444" y="210"/>
                  </a:lnTo>
                  <a:lnTo>
                    <a:pt x="438" y="198"/>
                  </a:lnTo>
                  <a:lnTo>
                    <a:pt x="432" y="192"/>
                  </a:lnTo>
                  <a:lnTo>
                    <a:pt x="432" y="186"/>
                  </a:lnTo>
                  <a:lnTo>
                    <a:pt x="378" y="186"/>
                  </a:lnTo>
                  <a:lnTo>
                    <a:pt x="354" y="162"/>
                  </a:lnTo>
                  <a:lnTo>
                    <a:pt x="336" y="126"/>
                  </a:lnTo>
                  <a:lnTo>
                    <a:pt x="330" y="120"/>
                  </a:lnTo>
                  <a:lnTo>
                    <a:pt x="330" y="114"/>
                  </a:lnTo>
                  <a:lnTo>
                    <a:pt x="312" y="114"/>
                  </a:lnTo>
                  <a:lnTo>
                    <a:pt x="312" y="108"/>
                  </a:lnTo>
                  <a:lnTo>
                    <a:pt x="306" y="102"/>
                  </a:lnTo>
                  <a:lnTo>
                    <a:pt x="300" y="102"/>
                  </a:lnTo>
                  <a:lnTo>
                    <a:pt x="294" y="96"/>
                  </a:lnTo>
                  <a:lnTo>
                    <a:pt x="282" y="90"/>
                  </a:lnTo>
                  <a:lnTo>
                    <a:pt x="270" y="78"/>
                  </a:lnTo>
                  <a:lnTo>
                    <a:pt x="270" y="72"/>
                  </a:lnTo>
                  <a:lnTo>
                    <a:pt x="282" y="72"/>
                  </a:lnTo>
                  <a:lnTo>
                    <a:pt x="288" y="66"/>
                  </a:lnTo>
                  <a:lnTo>
                    <a:pt x="288" y="60"/>
                  </a:lnTo>
                  <a:lnTo>
                    <a:pt x="282" y="54"/>
                  </a:lnTo>
                  <a:lnTo>
                    <a:pt x="276" y="54"/>
                  </a:lnTo>
                  <a:lnTo>
                    <a:pt x="276" y="42"/>
                  </a:lnTo>
                  <a:lnTo>
                    <a:pt x="282" y="36"/>
                  </a:lnTo>
                  <a:lnTo>
                    <a:pt x="282" y="18"/>
                  </a:lnTo>
                  <a:lnTo>
                    <a:pt x="276" y="12"/>
                  </a:lnTo>
                  <a:lnTo>
                    <a:pt x="270" y="0"/>
                  </a:lnTo>
                  <a:lnTo>
                    <a:pt x="258" y="0"/>
                  </a:lnTo>
                  <a:lnTo>
                    <a:pt x="246" y="6"/>
                  </a:lnTo>
                  <a:lnTo>
                    <a:pt x="234" y="18"/>
                  </a:lnTo>
                  <a:lnTo>
                    <a:pt x="222" y="24"/>
                  </a:lnTo>
                  <a:lnTo>
                    <a:pt x="204" y="36"/>
                  </a:lnTo>
                  <a:lnTo>
                    <a:pt x="192" y="48"/>
                  </a:lnTo>
                  <a:lnTo>
                    <a:pt x="192" y="54"/>
                  </a:lnTo>
                  <a:lnTo>
                    <a:pt x="186" y="60"/>
                  </a:lnTo>
                  <a:lnTo>
                    <a:pt x="180" y="72"/>
                  </a:lnTo>
                  <a:lnTo>
                    <a:pt x="132" y="72"/>
                  </a:lnTo>
                  <a:lnTo>
                    <a:pt x="96" y="60"/>
                  </a:lnTo>
                  <a:lnTo>
                    <a:pt x="84" y="54"/>
                  </a:lnTo>
                  <a:lnTo>
                    <a:pt x="66" y="36"/>
                  </a:lnTo>
                  <a:lnTo>
                    <a:pt x="54" y="12"/>
                  </a:lnTo>
                  <a:lnTo>
                    <a:pt x="54" y="6"/>
                  </a:lnTo>
                  <a:lnTo>
                    <a:pt x="48" y="0"/>
                  </a:lnTo>
                  <a:lnTo>
                    <a:pt x="42" y="0"/>
                  </a:lnTo>
                  <a:lnTo>
                    <a:pt x="24" y="18"/>
                  </a:lnTo>
                  <a:lnTo>
                    <a:pt x="24" y="30"/>
                  </a:lnTo>
                  <a:lnTo>
                    <a:pt x="0" y="30"/>
                  </a:lnTo>
                  <a:lnTo>
                    <a:pt x="18" y="54"/>
                  </a:lnTo>
                  <a:lnTo>
                    <a:pt x="18" y="84"/>
                  </a:lnTo>
                  <a:lnTo>
                    <a:pt x="30" y="96"/>
                  </a:lnTo>
                  <a:lnTo>
                    <a:pt x="30" y="108"/>
                  </a:lnTo>
                  <a:lnTo>
                    <a:pt x="36" y="114"/>
                  </a:lnTo>
                  <a:lnTo>
                    <a:pt x="42" y="114"/>
                  </a:lnTo>
                  <a:lnTo>
                    <a:pt x="36" y="120"/>
                  </a:lnTo>
                  <a:lnTo>
                    <a:pt x="36" y="126"/>
                  </a:lnTo>
                  <a:lnTo>
                    <a:pt x="30" y="138"/>
                  </a:lnTo>
                  <a:lnTo>
                    <a:pt x="24" y="144"/>
                  </a:lnTo>
                  <a:lnTo>
                    <a:pt x="60" y="162"/>
                  </a:lnTo>
                  <a:lnTo>
                    <a:pt x="60" y="192"/>
                  </a:lnTo>
                  <a:lnTo>
                    <a:pt x="84" y="198"/>
                  </a:lnTo>
                  <a:lnTo>
                    <a:pt x="84" y="210"/>
                  </a:lnTo>
                  <a:lnTo>
                    <a:pt x="96" y="246"/>
                  </a:lnTo>
                  <a:lnTo>
                    <a:pt x="108" y="270"/>
                  </a:lnTo>
                  <a:lnTo>
                    <a:pt x="120" y="282"/>
                  </a:lnTo>
                  <a:lnTo>
                    <a:pt x="120" y="300"/>
                  </a:lnTo>
                  <a:lnTo>
                    <a:pt x="144" y="306"/>
                  </a:lnTo>
                  <a:lnTo>
                    <a:pt x="156" y="324"/>
                  </a:lnTo>
                  <a:lnTo>
                    <a:pt x="162" y="318"/>
                  </a:lnTo>
                  <a:lnTo>
                    <a:pt x="174" y="312"/>
                  </a:lnTo>
                  <a:lnTo>
                    <a:pt x="186" y="312"/>
                  </a:lnTo>
                  <a:lnTo>
                    <a:pt x="186" y="318"/>
                  </a:lnTo>
                  <a:lnTo>
                    <a:pt x="168" y="336"/>
                  </a:lnTo>
                  <a:lnTo>
                    <a:pt x="168" y="342"/>
                  </a:lnTo>
                  <a:lnTo>
                    <a:pt x="180" y="354"/>
                  </a:lnTo>
                  <a:lnTo>
                    <a:pt x="186" y="366"/>
                  </a:lnTo>
                  <a:lnTo>
                    <a:pt x="186" y="372"/>
                  </a:lnTo>
                  <a:lnTo>
                    <a:pt x="174" y="384"/>
                  </a:lnTo>
                  <a:lnTo>
                    <a:pt x="168" y="384"/>
                  </a:lnTo>
                  <a:lnTo>
                    <a:pt x="168" y="414"/>
                  </a:lnTo>
                  <a:lnTo>
                    <a:pt x="156" y="414"/>
                  </a:lnTo>
                  <a:lnTo>
                    <a:pt x="144" y="426"/>
                  </a:lnTo>
                  <a:lnTo>
                    <a:pt x="144" y="432"/>
                  </a:lnTo>
                  <a:lnTo>
                    <a:pt x="156" y="444"/>
                  </a:lnTo>
                  <a:lnTo>
                    <a:pt x="150" y="450"/>
                  </a:lnTo>
                  <a:lnTo>
                    <a:pt x="144" y="462"/>
                  </a:lnTo>
                  <a:lnTo>
                    <a:pt x="144" y="468"/>
                  </a:lnTo>
                  <a:lnTo>
                    <a:pt x="150" y="474"/>
                  </a:lnTo>
                  <a:lnTo>
                    <a:pt x="162" y="480"/>
                  </a:lnTo>
                  <a:lnTo>
                    <a:pt x="174" y="492"/>
                  </a:lnTo>
                  <a:lnTo>
                    <a:pt x="198" y="504"/>
                  </a:lnTo>
                  <a:lnTo>
                    <a:pt x="204" y="510"/>
                  </a:lnTo>
                  <a:lnTo>
                    <a:pt x="210" y="510"/>
                  </a:lnTo>
                  <a:lnTo>
                    <a:pt x="210" y="552"/>
                  </a:lnTo>
                  <a:lnTo>
                    <a:pt x="234" y="552"/>
                  </a:lnTo>
                  <a:lnTo>
                    <a:pt x="240" y="558"/>
                  </a:lnTo>
                  <a:lnTo>
                    <a:pt x="252" y="564"/>
                  </a:lnTo>
                  <a:lnTo>
                    <a:pt x="270" y="582"/>
                  </a:lnTo>
                  <a:lnTo>
                    <a:pt x="288" y="582"/>
                  </a:lnTo>
                  <a:lnTo>
                    <a:pt x="294" y="588"/>
                  </a:lnTo>
                  <a:lnTo>
                    <a:pt x="300" y="600"/>
                  </a:lnTo>
                  <a:lnTo>
                    <a:pt x="330" y="636"/>
                  </a:lnTo>
                  <a:lnTo>
                    <a:pt x="330" y="648"/>
                  </a:lnTo>
                  <a:lnTo>
                    <a:pt x="324" y="660"/>
                  </a:lnTo>
                  <a:lnTo>
                    <a:pt x="324" y="696"/>
                  </a:lnTo>
                  <a:lnTo>
                    <a:pt x="330" y="702"/>
                  </a:lnTo>
                  <a:lnTo>
                    <a:pt x="342" y="708"/>
                  </a:lnTo>
                  <a:lnTo>
                    <a:pt x="348" y="714"/>
                  </a:lnTo>
                  <a:lnTo>
                    <a:pt x="354" y="714"/>
                  </a:lnTo>
                  <a:lnTo>
                    <a:pt x="360" y="744"/>
                  </a:lnTo>
                  <a:lnTo>
                    <a:pt x="372" y="750"/>
                  </a:lnTo>
                  <a:lnTo>
                    <a:pt x="384" y="762"/>
                  </a:lnTo>
                  <a:lnTo>
                    <a:pt x="384" y="768"/>
                  </a:lnTo>
                  <a:lnTo>
                    <a:pt x="390" y="774"/>
                  </a:lnTo>
                  <a:lnTo>
                    <a:pt x="402" y="780"/>
                  </a:lnTo>
                  <a:lnTo>
                    <a:pt x="408" y="786"/>
                  </a:lnTo>
                  <a:lnTo>
                    <a:pt x="420" y="792"/>
                  </a:lnTo>
                  <a:lnTo>
                    <a:pt x="426" y="786"/>
                  </a:lnTo>
                  <a:lnTo>
                    <a:pt x="426" y="774"/>
                  </a:lnTo>
                  <a:lnTo>
                    <a:pt x="420" y="768"/>
                  </a:lnTo>
                  <a:lnTo>
                    <a:pt x="420" y="762"/>
                  </a:lnTo>
                  <a:lnTo>
                    <a:pt x="426" y="756"/>
                  </a:lnTo>
                  <a:lnTo>
                    <a:pt x="438" y="750"/>
                  </a:lnTo>
                  <a:lnTo>
                    <a:pt x="444" y="756"/>
                  </a:lnTo>
                  <a:lnTo>
                    <a:pt x="450" y="756"/>
                  </a:lnTo>
                  <a:lnTo>
                    <a:pt x="450" y="768"/>
                  </a:lnTo>
                  <a:lnTo>
                    <a:pt x="456" y="780"/>
                  </a:lnTo>
                  <a:lnTo>
                    <a:pt x="474" y="780"/>
                  </a:lnTo>
                  <a:lnTo>
                    <a:pt x="474" y="786"/>
                  </a:lnTo>
                  <a:lnTo>
                    <a:pt x="474" y="780"/>
                  </a:lnTo>
                  <a:lnTo>
                    <a:pt x="480" y="780"/>
                  </a:lnTo>
                  <a:lnTo>
                    <a:pt x="480" y="768"/>
                  </a:lnTo>
                  <a:lnTo>
                    <a:pt x="504" y="768"/>
                  </a:lnTo>
                  <a:lnTo>
                    <a:pt x="504" y="804"/>
                  </a:lnTo>
                  <a:lnTo>
                    <a:pt x="510" y="810"/>
                  </a:lnTo>
                  <a:lnTo>
                    <a:pt x="516" y="810"/>
                  </a:lnTo>
                  <a:lnTo>
                    <a:pt x="528" y="816"/>
                  </a:lnTo>
                  <a:lnTo>
                    <a:pt x="540" y="828"/>
                  </a:lnTo>
                  <a:lnTo>
                    <a:pt x="540" y="846"/>
                  </a:lnTo>
                  <a:lnTo>
                    <a:pt x="552" y="858"/>
                  </a:lnTo>
                  <a:lnTo>
                    <a:pt x="558" y="870"/>
                  </a:lnTo>
                  <a:lnTo>
                    <a:pt x="564" y="876"/>
                  </a:lnTo>
                  <a:lnTo>
                    <a:pt x="570" y="876"/>
                  </a:lnTo>
                  <a:lnTo>
                    <a:pt x="582" y="894"/>
                  </a:lnTo>
                  <a:lnTo>
                    <a:pt x="582" y="906"/>
                  </a:lnTo>
                  <a:lnTo>
                    <a:pt x="594" y="930"/>
                  </a:lnTo>
                  <a:lnTo>
                    <a:pt x="600" y="936"/>
                  </a:lnTo>
                  <a:lnTo>
                    <a:pt x="606" y="936"/>
                  </a:lnTo>
                  <a:lnTo>
                    <a:pt x="612" y="942"/>
                  </a:lnTo>
                  <a:lnTo>
                    <a:pt x="618" y="954"/>
                  </a:lnTo>
                  <a:lnTo>
                    <a:pt x="618" y="960"/>
                  </a:lnTo>
                  <a:lnTo>
                    <a:pt x="648" y="960"/>
                  </a:lnTo>
                  <a:lnTo>
                    <a:pt x="666" y="984"/>
                  </a:lnTo>
                  <a:lnTo>
                    <a:pt x="684" y="978"/>
                  </a:lnTo>
                  <a:lnTo>
                    <a:pt x="702" y="978"/>
                  </a:lnTo>
                  <a:lnTo>
                    <a:pt x="720" y="996"/>
                  </a:lnTo>
                  <a:lnTo>
                    <a:pt x="738" y="1008"/>
                  </a:lnTo>
                  <a:lnTo>
                    <a:pt x="756" y="1026"/>
                  </a:lnTo>
                  <a:lnTo>
                    <a:pt x="792" y="1050"/>
                  </a:lnTo>
                  <a:lnTo>
                    <a:pt x="810" y="1050"/>
                  </a:lnTo>
                  <a:lnTo>
                    <a:pt x="822" y="1056"/>
                  </a:lnTo>
                  <a:lnTo>
                    <a:pt x="834" y="1068"/>
                  </a:lnTo>
                  <a:lnTo>
                    <a:pt x="852" y="1068"/>
                  </a:lnTo>
                  <a:lnTo>
                    <a:pt x="876" y="1056"/>
                  </a:lnTo>
                  <a:lnTo>
                    <a:pt x="876" y="1050"/>
                  </a:lnTo>
                  <a:lnTo>
                    <a:pt x="900" y="1056"/>
                  </a:lnTo>
                  <a:lnTo>
                    <a:pt x="912" y="1032"/>
                  </a:lnTo>
                  <a:lnTo>
                    <a:pt x="930" y="1032"/>
                  </a:lnTo>
                  <a:lnTo>
                    <a:pt x="954" y="1008"/>
                  </a:lnTo>
                  <a:lnTo>
                    <a:pt x="966" y="1020"/>
                  </a:lnTo>
                  <a:lnTo>
                    <a:pt x="972" y="1014"/>
                  </a:lnTo>
                  <a:lnTo>
                    <a:pt x="984" y="1014"/>
                  </a:lnTo>
                  <a:lnTo>
                    <a:pt x="1002" y="1032"/>
                  </a:lnTo>
                  <a:lnTo>
                    <a:pt x="1014" y="1050"/>
                  </a:lnTo>
                  <a:lnTo>
                    <a:pt x="1020" y="1068"/>
                  </a:lnTo>
                  <a:lnTo>
                    <a:pt x="1032" y="1080"/>
                  </a:lnTo>
                  <a:lnTo>
                    <a:pt x="1032" y="1098"/>
                  </a:lnTo>
                  <a:lnTo>
                    <a:pt x="1038" y="1110"/>
                  </a:lnTo>
                  <a:lnTo>
                    <a:pt x="1044" y="1116"/>
                  </a:lnTo>
                  <a:lnTo>
                    <a:pt x="1056" y="1122"/>
                  </a:lnTo>
                  <a:lnTo>
                    <a:pt x="1080" y="1122"/>
                  </a:lnTo>
                  <a:lnTo>
                    <a:pt x="1080" y="1128"/>
                  </a:lnTo>
                  <a:lnTo>
                    <a:pt x="1086" y="1134"/>
                  </a:lnTo>
                  <a:lnTo>
                    <a:pt x="1098" y="1140"/>
                  </a:lnTo>
                  <a:lnTo>
                    <a:pt x="1164" y="1140"/>
                  </a:lnTo>
                  <a:lnTo>
                    <a:pt x="1176" y="1146"/>
                  </a:lnTo>
                  <a:lnTo>
                    <a:pt x="1200" y="1170"/>
                  </a:lnTo>
                  <a:lnTo>
                    <a:pt x="1212" y="1170"/>
                  </a:lnTo>
                  <a:lnTo>
                    <a:pt x="1224" y="1164"/>
                  </a:lnTo>
                  <a:lnTo>
                    <a:pt x="1230" y="1164"/>
                  </a:lnTo>
                  <a:lnTo>
                    <a:pt x="1242" y="1158"/>
                  </a:lnTo>
                  <a:lnTo>
                    <a:pt x="1248" y="1158"/>
                  </a:lnTo>
                  <a:lnTo>
                    <a:pt x="1254" y="1164"/>
                  </a:lnTo>
                  <a:lnTo>
                    <a:pt x="1278" y="1176"/>
                  </a:lnTo>
                  <a:lnTo>
                    <a:pt x="1296" y="1182"/>
                  </a:lnTo>
                  <a:lnTo>
                    <a:pt x="1326" y="1182"/>
                  </a:lnTo>
                  <a:lnTo>
                    <a:pt x="1338" y="1176"/>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46" name="Irak" descr="© INSCALE GmbH, 05.05.2010&#10;http://www.presentationload.com/">
              <a:extLst>
                <a:ext uri="{FF2B5EF4-FFF2-40B4-BE49-F238E27FC236}">
                  <a16:creationId xmlns:a16="http://schemas.microsoft.com/office/drawing/2014/main" id="{BDB9EA10-3C3D-4625-86B9-76F08AF05164}"/>
                </a:ext>
              </a:extLst>
            </p:cNvPr>
            <p:cNvSpPr>
              <a:spLocks/>
            </p:cNvSpPr>
            <p:nvPr/>
          </p:nvSpPr>
          <p:spPr bwMode="gray">
            <a:xfrm>
              <a:off x="5184638" y="3057796"/>
              <a:ext cx="272836" cy="261860"/>
            </a:xfrm>
            <a:custGeom>
              <a:avLst/>
              <a:gdLst>
                <a:gd name="T0" fmla="*/ 2147483647 w 684"/>
                <a:gd name="T1" fmla="*/ 2147483647 h 660"/>
                <a:gd name="T2" fmla="*/ 2147483647 w 684"/>
                <a:gd name="T3" fmla="*/ 2147483647 h 660"/>
                <a:gd name="T4" fmla="*/ 2147483647 w 684"/>
                <a:gd name="T5" fmla="*/ 2147483647 h 660"/>
                <a:gd name="T6" fmla="*/ 2147483647 w 684"/>
                <a:gd name="T7" fmla="*/ 2147483647 h 660"/>
                <a:gd name="T8" fmla="*/ 2147483647 w 684"/>
                <a:gd name="T9" fmla="*/ 2147483647 h 660"/>
                <a:gd name="T10" fmla="*/ 2147483647 w 684"/>
                <a:gd name="T11" fmla="*/ 2147483647 h 660"/>
                <a:gd name="T12" fmla="*/ 2147483647 w 684"/>
                <a:gd name="T13" fmla="*/ 2147483647 h 660"/>
                <a:gd name="T14" fmla="*/ 2147483647 w 684"/>
                <a:gd name="T15" fmla="*/ 2147483647 h 660"/>
                <a:gd name="T16" fmla="*/ 2147483647 w 684"/>
                <a:gd name="T17" fmla="*/ 2147483647 h 660"/>
                <a:gd name="T18" fmla="*/ 2147483647 w 684"/>
                <a:gd name="T19" fmla="*/ 2147483647 h 660"/>
                <a:gd name="T20" fmla="*/ 2147483647 w 684"/>
                <a:gd name="T21" fmla="*/ 2147483647 h 660"/>
                <a:gd name="T22" fmla="*/ 2147483647 w 684"/>
                <a:gd name="T23" fmla="*/ 2147483647 h 660"/>
                <a:gd name="T24" fmla="*/ 2147483647 w 684"/>
                <a:gd name="T25" fmla="*/ 2147483647 h 660"/>
                <a:gd name="T26" fmla="*/ 2147483647 w 684"/>
                <a:gd name="T27" fmla="*/ 2147483647 h 660"/>
                <a:gd name="T28" fmla="*/ 2147483647 w 684"/>
                <a:gd name="T29" fmla="*/ 2147483647 h 660"/>
                <a:gd name="T30" fmla="*/ 2147483647 w 684"/>
                <a:gd name="T31" fmla="*/ 2147483647 h 660"/>
                <a:gd name="T32" fmla="*/ 2147483647 w 684"/>
                <a:gd name="T33" fmla="*/ 2147483647 h 660"/>
                <a:gd name="T34" fmla="*/ 2147483647 w 684"/>
                <a:gd name="T35" fmla="*/ 2147483647 h 660"/>
                <a:gd name="T36" fmla="*/ 2147483647 w 684"/>
                <a:gd name="T37" fmla="*/ 2147483647 h 660"/>
                <a:gd name="T38" fmla="*/ 2147483647 w 684"/>
                <a:gd name="T39" fmla="*/ 2147483647 h 660"/>
                <a:gd name="T40" fmla="*/ 2147483647 w 684"/>
                <a:gd name="T41" fmla="*/ 2147483647 h 660"/>
                <a:gd name="T42" fmla="*/ 2147483647 w 684"/>
                <a:gd name="T43" fmla="*/ 2147483647 h 660"/>
                <a:gd name="T44" fmla="*/ 2147483647 w 684"/>
                <a:gd name="T45" fmla="*/ 2147483647 h 660"/>
                <a:gd name="T46" fmla="*/ 2147483647 w 684"/>
                <a:gd name="T47" fmla="*/ 2147483647 h 660"/>
                <a:gd name="T48" fmla="*/ 2147483647 w 684"/>
                <a:gd name="T49" fmla="*/ 2147483647 h 660"/>
                <a:gd name="T50" fmla="*/ 2147483647 w 684"/>
                <a:gd name="T51" fmla="*/ 2147483647 h 660"/>
                <a:gd name="T52" fmla="*/ 2147483647 w 684"/>
                <a:gd name="T53" fmla="*/ 0 h 660"/>
                <a:gd name="T54" fmla="*/ 2147483647 w 684"/>
                <a:gd name="T55" fmla="*/ 2147483647 h 660"/>
                <a:gd name="T56" fmla="*/ 2147483647 w 684"/>
                <a:gd name="T57" fmla="*/ 2147483647 h 660"/>
                <a:gd name="T58" fmla="*/ 2147483647 w 684"/>
                <a:gd name="T59" fmla="*/ 0 h 660"/>
                <a:gd name="T60" fmla="*/ 2147483647 w 684"/>
                <a:gd name="T61" fmla="*/ 2147483647 h 660"/>
                <a:gd name="T62" fmla="*/ 2147483647 w 684"/>
                <a:gd name="T63" fmla="*/ 2147483647 h 660"/>
                <a:gd name="T64" fmla="*/ 2147483647 w 684"/>
                <a:gd name="T65" fmla="*/ 2147483647 h 660"/>
                <a:gd name="T66" fmla="*/ 2147483647 w 684"/>
                <a:gd name="T67" fmla="*/ 2147483647 h 660"/>
                <a:gd name="T68" fmla="*/ 2147483647 w 684"/>
                <a:gd name="T69" fmla="*/ 2147483647 h 660"/>
                <a:gd name="T70" fmla="*/ 2147483647 w 684"/>
                <a:gd name="T71" fmla="*/ 2147483647 h 660"/>
                <a:gd name="T72" fmla="*/ 2147483647 w 684"/>
                <a:gd name="T73" fmla="*/ 2147483647 h 660"/>
                <a:gd name="T74" fmla="*/ 2147483647 w 684"/>
                <a:gd name="T75" fmla="*/ 2147483647 h 660"/>
                <a:gd name="T76" fmla="*/ 2147483647 w 684"/>
                <a:gd name="T77" fmla="*/ 2147483647 h 660"/>
                <a:gd name="T78" fmla="*/ 2147483647 w 684"/>
                <a:gd name="T79" fmla="*/ 2147483647 h 660"/>
                <a:gd name="T80" fmla="*/ 2147483647 w 684"/>
                <a:gd name="T81" fmla="*/ 2147483647 h 660"/>
                <a:gd name="T82" fmla="*/ 2147483647 w 684"/>
                <a:gd name="T83" fmla="*/ 2147483647 h 660"/>
                <a:gd name="T84" fmla="*/ 2147483647 w 684"/>
                <a:gd name="T85" fmla="*/ 2147483647 h 660"/>
                <a:gd name="T86" fmla="*/ 0 w 684"/>
                <a:gd name="T87" fmla="*/ 2147483647 h 660"/>
                <a:gd name="T88" fmla="*/ 2147483647 w 684"/>
                <a:gd name="T89" fmla="*/ 2147483647 h 660"/>
                <a:gd name="T90" fmla="*/ 2147483647 w 684"/>
                <a:gd name="T91" fmla="*/ 2147483647 h 660"/>
                <a:gd name="T92" fmla="*/ 2147483647 w 684"/>
                <a:gd name="T93" fmla="*/ 2147483647 h 660"/>
                <a:gd name="T94" fmla="*/ 2147483647 w 684"/>
                <a:gd name="T95" fmla="*/ 2147483647 h 660"/>
                <a:gd name="T96" fmla="*/ 2147483647 w 684"/>
                <a:gd name="T97" fmla="*/ 2147483647 h 660"/>
                <a:gd name="T98" fmla="*/ 2147483647 w 684"/>
                <a:gd name="T99" fmla="*/ 2147483647 h 660"/>
                <a:gd name="T100" fmla="*/ 2147483647 w 684"/>
                <a:gd name="T101" fmla="*/ 2147483647 h 660"/>
                <a:gd name="T102" fmla="*/ 2147483647 w 684"/>
                <a:gd name="T103" fmla="*/ 2147483647 h 660"/>
                <a:gd name="T104" fmla="*/ 2147483647 w 684"/>
                <a:gd name="T105" fmla="*/ 2147483647 h 660"/>
                <a:gd name="T106" fmla="*/ 2147483647 w 684"/>
                <a:gd name="T107" fmla="*/ 2147483647 h 660"/>
                <a:gd name="T108" fmla="*/ 2147483647 w 684"/>
                <a:gd name="T109" fmla="*/ 2147483647 h 660"/>
                <a:gd name="T110" fmla="*/ 2147483647 w 684"/>
                <a:gd name="T111" fmla="*/ 2147483647 h 660"/>
                <a:gd name="T112" fmla="*/ 2147483647 w 684"/>
                <a:gd name="T113" fmla="*/ 2147483647 h 660"/>
                <a:gd name="T114" fmla="*/ 2147483647 w 684"/>
                <a:gd name="T115" fmla="*/ 2147483647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84"/>
                <a:gd name="T175" fmla="*/ 0 h 660"/>
                <a:gd name="T176" fmla="*/ 684 w 684"/>
                <a:gd name="T177" fmla="*/ 660 h 6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84" h="660">
                  <a:moveTo>
                    <a:pt x="678" y="564"/>
                  </a:moveTo>
                  <a:lnTo>
                    <a:pt x="666" y="552"/>
                  </a:lnTo>
                  <a:lnTo>
                    <a:pt x="654" y="546"/>
                  </a:lnTo>
                  <a:lnTo>
                    <a:pt x="648" y="516"/>
                  </a:lnTo>
                  <a:lnTo>
                    <a:pt x="642" y="516"/>
                  </a:lnTo>
                  <a:lnTo>
                    <a:pt x="636" y="510"/>
                  </a:lnTo>
                  <a:lnTo>
                    <a:pt x="624" y="504"/>
                  </a:lnTo>
                  <a:lnTo>
                    <a:pt x="618" y="498"/>
                  </a:lnTo>
                  <a:lnTo>
                    <a:pt x="618" y="462"/>
                  </a:lnTo>
                  <a:lnTo>
                    <a:pt x="624" y="450"/>
                  </a:lnTo>
                  <a:lnTo>
                    <a:pt x="624" y="438"/>
                  </a:lnTo>
                  <a:lnTo>
                    <a:pt x="594" y="402"/>
                  </a:lnTo>
                  <a:lnTo>
                    <a:pt x="588" y="390"/>
                  </a:lnTo>
                  <a:lnTo>
                    <a:pt x="582" y="384"/>
                  </a:lnTo>
                  <a:lnTo>
                    <a:pt x="564" y="384"/>
                  </a:lnTo>
                  <a:lnTo>
                    <a:pt x="546" y="366"/>
                  </a:lnTo>
                  <a:lnTo>
                    <a:pt x="534" y="360"/>
                  </a:lnTo>
                  <a:lnTo>
                    <a:pt x="528" y="354"/>
                  </a:lnTo>
                  <a:lnTo>
                    <a:pt x="504" y="354"/>
                  </a:lnTo>
                  <a:lnTo>
                    <a:pt x="504" y="312"/>
                  </a:lnTo>
                  <a:lnTo>
                    <a:pt x="498" y="312"/>
                  </a:lnTo>
                  <a:lnTo>
                    <a:pt x="492" y="306"/>
                  </a:lnTo>
                  <a:lnTo>
                    <a:pt x="468" y="294"/>
                  </a:lnTo>
                  <a:lnTo>
                    <a:pt x="456" y="282"/>
                  </a:lnTo>
                  <a:lnTo>
                    <a:pt x="444" y="276"/>
                  </a:lnTo>
                  <a:lnTo>
                    <a:pt x="438" y="270"/>
                  </a:lnTo>
                  <a:lnTo>
                    <a:pt x="438" y="264"/>
                  </a:lnTo>
                  <a:lnTo>
                    <a:pt x="444" y="252"/>
                  </a:lnTo>
                  <a:lnTo>
                    <a:pt x="450" y="246"/>
                  </a:lnTo>
                  <a:lnTo>
                    <a:pt x="438" y="234"/>
                  </a:lnTo>
                  <a:lnTo>
                    <a:pt x="438" y="228"/>
                  </a:lnTo>
                  <a:lnTo>
                    <a:pt x="450" y="216"/>
                  </a:lnTo>
                  <a:lnTo>
                    <a:pt x="462" y="216"/>
                  </a:lnTo>
                  <a:lnTo>
                    <a:pt x="462" y="186"/>
                  </a:lnTo>
                  <a:lnTo>
                    <a:pt x="468" y="186"/>
                  </a:lnTo>
                  <a:lnTo>
                    <a:pt x="480" y="174"/>
                  </a:lnTo>
                  <a:lnTo>
                    <a:pt x="480" y="168"/>
                  </a:lnTo>
                  <a:lnTo>
                    <a:pt x="474" y="156"/>
                  </a:lnTo>
                  <a:lnTo>
                    <a:pt x="462" y="144"/>
                  </a:lnTo>
                  <a:lnTo>
                    <a:pt x="462" y="138"/>
                  </a:lnTo>
                  <a:lnTo>
                    <a:pt x="480" y="120"/>
                  </a:lnTo>
                  <a:lnTo>
                    <a:pt x="480" y="114"/>
                  </a:lnTo>
                  <a:lnTo>
                    <a:pt x="468" y="114"/>
                  </a:lnTo>
                  <a:lnTo>
                    <a:pt x="456" y="120"/>
                  </a:lnTo>
                  <a:lnTo>
                    <a:pt x="450" y="126"/>
                  </a:lnTo>
                  <a:lnTo>
                    <a:pt x="438" y="108"/>
                  </a:lnTo>
                  <a:lnTo>
                    <a:pt x="414" y="102"/>
                  </a:lnTo>
                  <a:lnTo>
                    <a:pt x="414" y="84"/>
                  </a:lnTo>
                  <a:lnTo>
                    <a:pt x="402" y="72"/>
                  </a:lnTo>
                  <a:lnTo>
                    <a:pt x="378" y="24"/>
                  </a:lnTo>
                  <a:lnTo>
                    <a:pt x="378" y="12"/>
                  </a:lnTo>
                  <a:lnTo>
                    <a:pt x="336" y="24"/>
                  </a:lnTo>
                  <a:lnTo>
                    <a:pt x="336" y="6"/>
                  </a:lnTo>
                  <a:lnTo>
                    <a:pt x="330" y="0"/>
                  </a:lnTo>
                  <a:lnTo>
                    <a:pt x="306" y="0"/>
                  </a:lnTo>
                  <a:lnTo>
                    <a:pt x="306" y="6"/>
                  </a:lnTo>
                  <a:lnTo>
                    <a:pt x="300" y="12"/>
                  </a:lnTo>
                  <a:lnTo>
                    <a:pt x="288" y="12"/>
                  </a:lnTo>
                  <a:lnTo>
                    <a:pt x="276" y="0"/>
                  </a:lnTo>
                  <a:lnTo>
                    <a:pt x="234" y="0"/>
                  </a:lnTo>
                  <a:lnTo>
                    <a:pt x="234" y="12"/>
                  </a:lnTo>
                  <a:lnTo>
                    <a:pt x="228" y="18"/>
                  </a:lnTo>
                  <a:lnTo>
                    <a:pt x="216" y="24"/>
                  </a:lnTo>
                  <a:lnTo>
                    <a:pt x="204" y="36"/>
                  </a:lnTo>
                  <a:lnTo>
                    <a:pt x="198" y="48"/>
                  </a:lnTo>
                  <a:lnTo>
                    <a:pt x="192" y="54"/>
                  </a:lnTo>
                  <a:lnTo>
                    <a:pt x="180" y="54"/>
                  </a:lnTo>
                  <a:lnTo>
                    <a:pt x="168" y="60"/>
                  </a:lnTo>
                  <a:lnTo>
                    <a:pt x="156" y="60"/>
                  </a:lnTo>
                  <a:lnTo>
                    <a:pt x="150" y="66"/>
                  </a:lnTo>
                  <a:lnTo>
                    <a:pt x="144" y="78"/>
                  </a:lnTo>
                  <a:lnTo>
                    <a:pt x="144" y="90"/>
                  </a:lnTo>
                  <a:lnTo>
                    <a:pt x="150" y="102"/>
                  </a:lnTo>
                  <a:lnTo>
                    <a:pt x="156" y="108"/>
                  </a:lnTo>
                  <a:lnTo>
                    <a:pt x="156" y="120"/>
                  </a:lnTo>
                  <a:lnTo>
                    <a:pt x="162" y="132"/>
                  </a:lnTo>
                  <a:lnTo>
                    <a:pt x="162" y="162"/>
                  </a:lnTo>
                  <a:lnTo>
                    <a:pt x="156" y="174"/>
                  </a:lnTo>
                  <a:lnTo>
                    <a:pt x="150" y="192"/>
                  </a:lnTo>
                  <a:lnTo>
                    <a:pt x="150" y="198"/>
                  </a:lnTo>
                  <a:lnTo>
                    <a:pt x="168" y="216"/>
                  </a:lnTo>
                  <a:lnTo>
                    <a:pt x="168" y="222"/>
                  </a:lnTo>
                  <a:lnTo>
                    <a:pt x="162" y="228"/>
                  </a:lnTo>
                  <a:lnTo>
                    <a:pt x="138" y="240"/>
                  </a:lnTo>
                  <a:lnTo>
                    <a:pt x="78" y="264"/>
                  </a:lnTo>
                  <a:lnTo>
                    <a:pt x="66" y="270"/>
                  </a:lnTo>
                  <a:lnTo>
                    <a:pt x="6" y="318"/>
                  </a:lnTo>
                  <a:lnTo>
                    <a:pt x="0" y="318"/>
                  </a:lnTo>
                  <a:lnTo>
                    <a:pt x="0" y="324"/>
                  </a:lnTo>
                  <a:lnTo>
                    <a:pt x="24" y="366"/>
                  </a:lnTo>
                  <a:lnTo>
                    <a:pt x="24" y="384"/>
                  </a:lnTo>
                  <a:lnTo>
                    <a:pt x="48" y="402"/>
                  </a:lnTo>
                  <a:lnTo>
                    <a:pt x="48" y="414"/>
                  </a:lnTo>
                  <a:lnTo>
                    <a:pt x="60" y="426"/>
                  </a:lnTo>
                  <a:lnTo>
                    <a:pt x="126" y="426"/>
                  </a:lnTo>
                  <a:lnTo>
                    <a:pt x="156" y="456"/>
                  </a:lnTo>
                  <a:lnTo>
                    <a:pt x="168" y="462"/>
                  </a:lnTo>
                  <a:lnTo>
                    <a:pt x="180" y="474"/>
                  </a:lnTo>
                  <a:lnTo>
                    <a:pt x="228" y="498"/>
                  </a:lnTo>
                  <a:lnTo>
                    <a:pt x="234" y="504"/>
                  </a:lnTo>
                  <a:lnTo>
                    <a:pt x="246" y="510"/>
                  </a:lnTo>
                  <a:lnTo>
                    <a:pt x="438" y="654"/>
                  </a:lnTo>
                  <a:lnTo>
                    <a:pt x="522" y="654"/>
                  </a:lnTo>
                  <a:lnTo>
                    <a:pt x="570" y="660"/>
                  </a:lnTo>
                  <a:lnTo>
                    <a:pt x="564" y="660"/>
                  </a:lnTo>
                  <a:lnTo>
                    <a:pt x="570" y="654"/>
                  </a:lnTo>
                  <a:lnTo>
                    <a:pt x="588" y="618"/>
                  </a:lnTo>
                  <a:lnTo>
                    <a:pt x="588" y="606"/>
                  </a:lnTo>
                  <a:lnTo>
                    <a:pt x="594" y="600"/>
                  </a:lnTo>
                  <a:lnTo>
                    <a:pt x="600" y="588"/>
                  </a:lnTo>
                  <a:lnTo>
                    <a:pt x="648" y="588"/>
                  </a:lnTo>
                  <a:lnTo>
                    <a:pt x="654" y="594"/>
                  </a:lnTo>
                  <a:lnTo>
                    <a:pt x="678" y="582"/>
                  </a:lnTo>
                  <a:lnTo>
                    <a:pt x="684" y="576"/>
                  </a:lnTo>
                  <a:lnTo>
                    <a:pt x="678" y="570"/>
                  </a:lnTo>
                  <a:lnTo>
                    <a:pt x="678" y="564"/>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47" name="Indonesien" descr="© INSCALE GmbH, 05.05.2010&#10;http://www.presentationload.com/">
              <a:extLst>
                <a:ext uri="{FF2B5EF4-FFF2-40B4-BE49-F238E27FC236}">
                  <a16:creationId xmlns:a16="http://schemas.microsoft.com/office/drawing/2014/main" id="{3B24AFFC-C642-4317-98C1-5ED2D2D0E492}"/>
                </a:ext>
              </a:extLst>
            </p:cNvPr>
            <p:cNvSpPr>
              <a:spLocks noEditPoints="1"/>
            </p:cNvSpPr>
            <p:nvPr/>
          </p:nvSpPr>
          <p:spPr bwMode="gray">
            <a:xfrm>
              <a:off x="6820086" y="4070739"/>
              <a:ext cx="1298323" cy="517448"/>
            </a:xfrm>
            <a:custGeom>
              <a:avLst/>
              <a:gdLst>
                <a:gd name="T0" fmla="*/ 2147483647 w 3264"/>
                <a:gd name="T1" fmla="*/ 2147483647 h 1302"/>
                <a:gd name="T2" fmla="*/ 2147483647 w 3264"/>
                <a:gd name="T3" fmla="*/ 2147483647 h 1302"/>
                <a:gd name="T4" fmla="*/ 2147483647 w 3264"/>
                <a:gd name="T5" fmla="*/ 2147483647 h 1302"/>
                <a:gd name="T6" fmla="*/ 2147483647 w 3264"/>
                <a:gd name="T7" fmla="*/ 2147483647 h 1302"/>
                <a:gd name="T8" fmla="*/ 2147483647 w 3264"/>
                <a:gd name="T9" fmla="*/ 2147483647 h 1302"/>
                <a:gd name="T10" fmla="*/ 2147483647 w 3264"/>
                <a:gd name="T11" fmla="*/ 2147483647 h 1302"/>
                <a:gd name="T12" fmla="*/ 2147483647 w 3264"/>
                <a:gd name="T13" fmla="*/ 2147483647 h 1302"/>
                <a:gd name="T14" fmla="*/ 2147483647 w 3264"/>
                <a:gd name="T15" fmla="*/ 2147483647 h 1302"/>
                <a:gd name="T16" fmla="*/ 2147483647 w 3264"/>
                <a:gd name="T17" fmla="*/ 2147483647 h 1302"/>
                <a:gd name="T18" fmla="*/ 2147483647 w 3264"/>
                <a:gd name="T19" fmla="*/ 2147483647 h 1302"/>
                <a:gd name="T20" fmla="*/ 2147483647 w 3264"/>
                <a:gd name="T21" fmla="*/ 2147483647 h 1302"/>
                <a:gd name="T22" fmla="*/ 2147483647 w 3264"/>
                <a:gd name="T23" fmla="*/ 2147483647 h 1302"/>
                <a:gd name="T24" fmla="*/ 2147483647 w 3264"/>
                <a:gd name="T25" fmla="*/ 2147483647 h 1302"/>
                <a:gd name="T26" fmla="*/ 2147483647 w 3264"/>
                <a:gd name="T27" fmla="*/ 2147483647 h 1302"/>
                <a:gd name="T28" fmla="*/ 2147483647 w 3264"/>
                <a:gd name="T29" fmla="*/ 2147483647 h 1302"/>
                <a:gd name="T30" fmla="*/ 2147483647 w 3264"/>
                <a:gd name="T31" fmla="*/ 2147483647 h 1302"/>
                <a:gd name="T32" fmla="*/ 2147483647 w 3264"/>
                <a:gd name="T33" fmla="*/ 2147483647 h 1302"/>
                <a:gd name="T34" fmla="*/ 2147483647 w 3264"/>
                <a:gd name="T35" fmla="*/ 2147483647 h 1302"/>
                <a:gd name="T36" fmla="*/ 2147483647 w 3264"/>
                <a:gd name="T37" fmla="*/ 2147483647 h 1302"/>
                <a:gd name="T38" fmla="*/ 2147483647 w 3264"/>
                <a:gd name="T39" fmla="*/ 2147483647 h 1302"/>
                <a:gd name="T40" fmla="*/ 2147483647 w 3264"/>
                <a:gd name="T41" fmla="*/ 2147483647 h 1302"/>
                <a:gd name="T42" fmla="*/ 2147483647 w 3264"/>
                <a:gd name="T43" fmla="*/ 2147483647 h 1302"/>
                <a:gd name="T44" fmla="*/ 2147483647 w 3264"/>
                <a:gd name="T45" fmla="*/ 2147483647 h 1302"/>
                <a:gd name="T46" fmla="*/ 2147483647 w 3264"/>
                <a:gd name="T47" fmla="*/ 2147483647 h 1302"/>
                <a:gd name="T48" fmla="*/ 2147483647 w 3264"/>
                <a:gd name="T49" fmla="*/ 2147483647 h 1302"/>
                <a:gd name="T50" fmla="*/ 2147483647 w 3264"/>
                <a:gd name="T51" fmla="*/ 2147483647 h 1302"/>
                <a:gd name="T52" fmla="*/ 2147483647 w 3264"/>
                <a:gd name="T53" fmla="*/ 2147483647 h 1302"/>
                <a:gd name="T54" fmla="*/ 2147483647 w 3264"/>
                <a:gd name="T55" fmla="*/ 2147483647 h 1302"/>
                <a:gd name="T56" fmla="*/ 2147483647 w 3264"/>
                <a:gd name="T57" fmla="*/ 2147483647 h 1302"/>
                <a:gd name="T58" fmla="*/ 2147483647 w 3264"/>
                <a:gd name="T59" fmla="*/ 2147483647 h 1302"/>
                <a:gd name="T60" fmla="*/ 2147483647 w 3264"/>
                <a:gd name="T61" fmla="*/ 2147483647 h 1302"/>
                <a:gd name="T62" fmla="*/ 2147483647 w 3264"/>
                <a:gd name="T63" fmla="*/ 2147483647 h 1302"/>
                <a:gd name="T64" fmla="*/ 2147483647 w 3264"/>
                <a:gd name="T65" fmla="*/ 2147483647 h 1302"/>
                <a:gd name="T66" fmla="*/ 2147483647 w 3264"/>
                <a:gd name="T67" fmla="*/ 2147483647 h 1302"/>
                <a:gd name="T68" fmla="*/ 2147483647 w 3264"/>
                <a:gd name="T69" fmla="*/ 2147483647 h 1302"/>
                <a:gd name="T70" fmla="*/ 2147483647 w 3264"/>
                <a:gd name="T71" fmla="*/ 2147483647 h 1302"/>
                <a:gd name="T72" fmla="*/ 2147483647 w 3264"/>
                <a:gd name="T73" fmla="*/ 2147483647 h 1302"/>
                <a:gd name="T74" fmla="*/ 2147483647 w 3264"/>
                <a:gd name="T75" fmla="*/ 2147483647 h 1302"/>
                <a:gd name="T76" fmla="*/ 2147483647 w 3264"/>
                <a:gd name="T77" fmla="*/ 2147483647 h 1302"/>
                <a:gd name="T78" fmla="*/ 2147483647 w 3264"/>
                <a:gd name="T79" fmla="*/ 2147483647 h 1302"/>
                <a:gd name="T80" fmla="*/ 2147483647 w 3264"/>
                <a:gd name="T81" fmla="*/ 2147483647 h 1302"/>
                <a:gd name="T82" fmla="*/ 2147483647 w 3264"/>
                <a:gd name="T83" fmla="*/ 2147483647 h 1302"/>
                <a:gd name="T84" fmla="*/ 2147483647 w 3264"/>
                <a:gd name="T85" fmla="*/ 2147483647 h 1302"/>
                <a:gd name="T86" fmla="*/ 2147483647 w 3264"/>
                <a:gd name="T87" fmla="*/ 2147483647 h 1302"/>
                <a:gd name="T88" fmla="*/ 2147483647 w 3264"/>
                <a:gd name="T89" fmla="*/ 2147483647 h 1302"/>
                <a:gd name="T90" fmla="*/ 2147483647 w 3264"/>
                <a:gd name="T91" fmla="*/ 2147483647 h 1302"/>
                <a:gd name="T92" fmla="*/ 2147483647 w 3264"/>
                <a:gd name="T93" fmla="*/ 2147483647 h 1302"/>
                <a:gd name="T94" fmla="*/ 2147483647 w 3264"/>
                <a:gd name="T95" fmla="*/ 2147483647 h 1302"/>
                <a:gd name="T96" fmla="*/ 2147483647 w 3264"/>
                <a:gd name="T97" fmla="*/ 2147483647 h 1302"/>
                <a:gd name="T98" fmla="*/ 2147483647 w 3264"/>
                <a:gd name="T99" fmla="*/ 2147483647 h 1302"/>
                <a:gd name="T100" fmla="*/ 2147483647 w 3264"/>
                <a:gd name="T101" fmla="*/ 2147483647 h 1302"/>
                <a:gd name="T102" fmla="*/ 2147483647 w 3264"/>
                <a:gd name="T103" fmla="*/ 2147483647 h 1302"/>
                <a:gd name="T104" fmla="*/ 2147483647 w 3264"/>
                <a:gd name="T105" fmla="*/ 2147483647 h 1302"/>
                <a:gd name="T106" fmla="*/ 2147483647 w 3264"/>
                <a:gd name="T107" fmla="*/ 2147483647 h 1302"/>
                <a:gd name="T108" fmla="*/ 2147483647 w 3264"/>
                <a:gd name="T109" fmla="*/ 2147483647 h 1302"/>
                <a:gd name="T110" fmla="*/ 2147483647 w 3264"/>
                <a:gd name="T111" fmla="*/ 2147483647 h 1302"/>
                <a:gd name="T112" fmla="*/ 2147483647 w 3264"/>
                <a:gd name="T113" fmla="*/ 2147483647 h 1302"/>
                <a:gd name="T114" fmla="*/ 2147483647 w 3264"/>
                <a:gd name="T115" fmla="*/ 2147483647 h 1302"/>
                <a:gd name="T116" fmla="*/ 2147483647 w 3264"/>
                <a:gd name="T117" fmla="*/ 2147483647 h 1302"/>
                <a:gd name="T118" fmla="*/ 2147483647 w 3264"/>
                <a:gd name="T119" fmla="*/ 2147483647 h 1302"/>
                <a:gd name="T120" fmla="*/ 2147483647 w 3264"/>
                <a:gd name="T121" fmla="*/ 2147483647 h 1302"/>
                <a:gd name="T122" fmla="*/ 2147483647 w 3264"/>
                <a:gd name="T123" fmla="*/ 2147483647 h 1302"/>
                <a:gd name="T124" fmla="*/ 2147483647 w 3264"/>
                <a:gd name="T125" fmla="*/ 2147483647 h 13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64"/>
                <a:gd name="T190" fmla="*/ 0 h 1302"/>
                <a:gd name="T191" fmla="*/ 3264 w 3264"/>
                <a:gd name="T192" fmla="*/ 1302 h 13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64" h="1302">
                  <a:moveTo>
                    <a:pt x="1788" y="984"/>
                  </a:moveTo>
                  <a:lnTo>
                    <a:pt x="1806" y="978"/>
                  </a:lnTo>
                  <a:lnTo>
                    <a:pt x="1818" y="954"/>
                  </a:lnTo>
                  <a:lnTo>
                    <a:pt x="1812" y="930"/>
                  </a:lnTo>
                  <a:lnTo>
                    <a:pt x="1788" y="984"/>
                  </a:lnTo>
                  <a:close/>
                  <a:moveTo>
                    <a:pt x="672" y="462"/>
                  </a:moveTo>
                  <a:lnTo>
                    <a:pt x="702" y="480"/>
                  </a:lnTo>
                  <a:lnTo>
                    <a:pt x="702" y="450"/>
                  </a:lnTo>
                  <a:lnTo>
                    <a:pt x="672" y="426"/>
                  </a:lnTo>
                  <a:lnTo>
                    <a:pt x="672" y="462"/>
                  </a:lnTo>
                  <a:close/>
                  <a:moveTo>
                    <a:pt x="678" y="492"/>
                  </a:moveTo>
                  <a:lnTo>
                    <a:pt x="654" y="516"/>
                  </a:lnTo>
                  <a:lnTo>
                    <a:pt x="678" y="546"/>
                  </a:lnTo>
                  <a:lnTo>
                    <a:pt x="678" y="492"/>
                  </a:lnTo>
                  <a:close/>
                  <a:moveTo>
                    <a:pt x="906" y="714"/>
                  </a:moveTo>
                  <a:lnTo>
                    <a:pt x="930" y="732"/>
                  </a:lnTo>
                  <a:lnTo>
                    <a:pt x="936" y="708"/>
                  </a:lnTo>
                  <a:lnTo>
                    <a:pt x="936" y="702"/>
                  </a:lnTo>
                  <a:lnTo>
                    <a:pt x="930" y="696"/>
                  </a:lnTo>
                  <a:lnTo>
                    <a:pt x="930" y="690"/>
                  </a:lnTo>
                  <a:lnTo>
                    <a:pt x="912" y="672"/>
                  </a:lnTo>
                  <a:lnTo>
                    <a:pt x="900" y="666"/>
                  </a:lnTo>
                  <a:lnTo>
                    <a:pt x="888" y="666"/>
                  </a:lnTo>
                  <a:lnTo>
                    <a:pt x="882" y="672"/>
                  </a:lnTo>
                  <a:lnTo>
                    <a:pt x="876" y="684"/>
                  </a:lnTo>
                  <a:lnTo>
                    <a:pt x="882" y="696"/>
                  </a:lnTo>
                  <a:lnTo>
                    <a:pt x="882" y="708"/>
                  </a:lnTo>
                  <a:lnTo>
                    <a:pt x="888" y="720"/>
                  </a:lnTo>
                  <a:lnTo>
                    <a:pt x="906" y="714"/>
                  </a:lnTo>
                  <a:close/>
                  <a:moveTo>
                    <a:pt x="684" y="372"/>
                  </a:moveTo>
                  <a:lnTo>
                    <a:pt x="672" y="360"/>
                  </a:lnTo>
                  <a:lnTo>
                    <a:pt x="660" y="372"/>
                  </a:lnTo>
                  <a:lnTo>
                    <a:pt x="672" y="396"/>
                  </a:lnTo>
                  <a:lnTo>
                    <a:pt x="684" y="396"/>
                  </a:lnTo>
                  <a:lnTo>
                    <a:pt x="684" y="372"/>
                  </a:lnTo>
                  <a:close/>
                  <a:moveTo>
                    <a:pt x="750" y="624"/>
                  </a:moveTo>
                  <a:lnTo>
                    <a:pt x="750" y="630"/>
                  </a:lnTo>
                  <a:lnTo>
                    <a:pt x="756" y="636"/>
                  </a:lnTo>
                  <a:lnTo>
                    <a:pt x="756" y="648"/>
                  </a:lnTo>
                  <a:lnTo>
                    <a:pt x="774" y="684"/>
                  </a:lnTo>
                  <a:lnTo>
                    <a:pt x="786" y="690"/>
                  </a:lnTo>
                  <a:lnTo>
                    <a:pt x="804" y="696"/>
                  </a:lnTo>
                  <a:lnTo>
                    <a:pt x="816" y="702"/>
                  </a:lnTo>
                  <a:lnTo>
                    <a:pt x="834" y="702"/>
                  </a:lnTo>
                  <a:lnTo>
                    <a:pt x="828" y="660"/>
                  </a:lnTo>
                  <a:lnTo>
                    <a:pt x="810" y="648"/>
                  </a:lnTo>
                  <a:lnTo>
                    <a:pt x="810" y="618"/>
                  </a:lnTo>
                  <a:lnTo>
                    <a:pt x="804" y="606"/>
                  </a:lnTo>
                  <a:lnTo>
                    <a:pt x="792" y="600"/>
                  </a:lnTo>
                  <a:lnTo>
                    <a:pt x="786" y="588"/>
                  </a:lnTo>
                  <a:lnTo>
                    <a:pt x="768" y="582"/>
                  </a:lnTo>
                  <a:lnTo>
                    <a:pt x="756" y="576"/>
                  </a:lnTo>
                  <a:lnTo>
                    <a:pt x="732" y="576"/>
                  </a:lnTo>
                  <a:lnTo>
                    <a:pt x="732" y="582"/>
                  </a:lnTo>
                  <a:lnTo>
                    <a:pt x="726" y="588"/>
                  </a:lnTo>
                  <a:lnTo>
                    <a:pt x="726" y="600"/>
                  </a:lnTo>
                  <a:lnTo>
                    <a:pt x="714" y="600"/>
                  </a:lnTo>
                  <a:lnTo>
                    <a:pt x="714" y="606"/>
                  </a:lnTo>
                  <a:lnTo>
                    <a:pt x="708" y="612"/>
                  </a:lnTo>
                  <a:lnTo>
                    <a:pt x="714" y="624"/>
                  </a:lnTo>
                  <a:lnTo>
                    <a:pt x="750" y="624"/>
                  </a:lnTo>
                  <a:close/>
                  <a:moveTo>
                    <a:pt x="246" y="438"/>
                  </a:moveTo>
                  <a:lnTo>
                    <a:pt x="222" y="462"/>
                  </a:lnTo>
                  <a:lnTo>
                    <a:pt x="234" y="492"/>
                  </a:lnTo>
                  <a:lnTo>
                    <a:pt x="234" y="498"/>
                  </a:lnTo>
                  <a:lnTo>
                    <a:pt x="228" y="504"/>
                  </a:lnTo>
                  <a:lnTo>
                    <a:pt x="228" y="510"/>
                  </a:lnTo>
                  <a:lnTo>
                    <a:pt x="240" y="510"/>
                  </a:lnTo>
                  <a:lnTo>
                    <a:pt x="246" y="504"/>
                  </a:lnTo>
                  <a:lnTo>
                    <a:pt x="246" y="468"/>
                  </a:lnTo>
                  <a:lnTo>
                    <a:pt x="252" y="456"/>
                  </a:lnTo>
                  <a:lnTo>
                    <a:pt x="246" y="438"/>
                  </a:lnTo>
                  <a:close/>
                  <a:moveTo>
                    <a:pt x="264" y="534"/>
                  </a:moveTo>
                  <a:lnTo>
                    <a:pt x="258" y="546"/>
                  </a:lnTo>
                  <a:lnTo>
                    <a:pt x="258" y="588"/>
                  </a:lnTo>
                  <a:lnTo>
                    <a:pt x="264" y="600"/>
                  </a:lnTo>
                  <a:lnTo>
                    <a:pt x="276" y="612"/>
                  </a:lnTo>
                  <a:lnTo>
                    <a:pt x="288" y="612"/>
                  </a:lnTo>
                  <a:lnTo>
                    <a:pt x="294" y="606"/>
                  </a:lnTo>
                  <a:lnTo>
                    <a:pt x="294" y="588"/>
                  </a:lnTo>
                  <a:lnTo>
                    <a:pt x="288" y="576"/>
                  </a:lnTo>
                  <a:lnTo>
                    <a:pt x="282" y="558"/>
                  </a:lnTo>
                  <a:lnTo>
                    <a:pt x="282" y="546"/>
                  </a:lnTo>
                  <a:lnTo>
                    <a:pt x="276" y="534"/>
                  </a:lnTo>
                  <a:lnTo>
                    <a:pt x="264" y="534"/>
                  </a:lnTo>
                  <a:close/>
                  <a:moveTo>
                    <a:pt x="48" y="222"/>
                  </a:moveTo>
                  <a:lnTo>
                    <a:pt x="42" y="228"/>
                  </a:lnTo>
                  <a:lnTo>
                    <a:pt x="42" y="246"/>
                  </a:lnTo>
                  <a:lnTo>
                    <a:pt x="48" y="258"/>
                  </a:lnTo>
                  <a:lnTo>
                    <a:pt x="66" y="258"/>
                  </a:lnTo>
                  <a:lnTo>
                    <a:pt x="84" y="276"/>
                  </a:lnTo>
                  <a:lnTo>
                    <a:pt x="90" y="270"/>
                  </a:lnTo>
                  <a:lnTo>
                    <a:pt x="90" y="252"/>
                  </a:lnTo>
                  <a:lnTo>
                    <a:pt x="78" y="246"/>
                  </a:lnTo>
                  <a:lnTo>
                    <a:pt x="72" y="234"/>
                  </a:lnTo>
                  <a:lnTo>
                    <a:pt x="60" y="228"/>
                  </a:lnTo>
                  <a:lnTo>
                    <a:pt x="54" y="222"/>
                  </a:lnTo>
                  <a:lnTo>
                    <a:pt x="48" y="222"/>
                  </a:lnTo>
                  <a:close/>
                  <a:moveTo>
                    <a:pt x="162" y="330"/>
                  </a:moveTo>
                  <a:lnTo>
                    <a:pt x="156" y="330"/>
                  </a:lnTo>
                  <a:lnTo>
                    <a:pt x="144" y="342"/>
                  </a:lnTo>
                  <a:lnTo>
                    <a:pt x="144" y="354"/>
                  </a:lnTo>
                  <a:lnTo>
                    <a:pt x="156" y="366"/>
                  </a:lnTo>
                  <a:lnTo>
                    <a:pt x="162" y="378"/>
                  </a:lnTo>
                  <a:lnTo>
                    <a:pt x="174" y="390"/>
                  </a:lnTo>
                  <a:lnTo>
                    <a:pt x="180" y="402"/>
                  </a:lnTo>
                  <a:lnTo>
                    <a:pt x="192" y="414"/>
                  </a:lnTo>
                  <a:lnTo>
                    <a:pt x="198" y="408"/>
                  </a:lnTo>
                  <a:lnTo>
                    <a:pt x="198" y="402"/>
                  </a:lnTo>
                  <a:lnTo>
                    <a:pt x="204" y="390"/>
                  </a:lnTo>
                  <a:lnTo>
                    <a:pt x="204" y="384"/>
                  </a:lnTo>
                  <a:lnTo>
                    <a:pt x="198" y="372"/>
                  </a:lnTo>
                  <a:lnTo>
                    <a:pt x="198" y="366"/>
                  </a:lnTo>
                  <a:lnTo>
                    <a:pt x="192" y="360"/>
                  </a:lnTo>
                  <a:lnTo>
                    <a:pt x="186" y="348"/>
                  </a:lnTo>
                  <a:lnTo>
                    <a:pt x="180" y="342"/>
                  </a:lnTo>
                  <a:lnTo>
                    <a:pt x="168" y="336"/>
                  </a:lnTo>
                  <a:lnTo>
                    <a:pt x="162" y="330"/>
                  </a:lnTo>
                  <a:close/>
                  <a:moveTo>
                    <a:pt x="2574" y="486"/>
                  </a:moveTo>
                  <a:lnTo>
                    <a:pt x="2574" y="474"/>
                  </a:lnTo>
                  <a:lnTo>
                    <a:pt x="2568" y="474"/>
                  </a:lnTo>
                  <a:lnTo>
                    <a:pt x="2556" y="468"/>
                  </a:lnTo>
                  <a:lnTo>
                    <a:pt x="2520" y="468"/>
                  </a:lnTo>
                  <a:lnTo>
                    <a:pt x="2514" y="474"/>
                  </a:lnTo>
                  <a:lnTo>
                    <a:pt x="2520" y="498"/>
                  </a:lnTo>
                  <a:lnTo>
                    <a:pt x="2526" y="498"/>
                  </a:lnTo>
                  <a:lnTo>
                    <a:pt x="2538" y="492"/>
                  </a:lnTo>
                  <a:lnTo>
                    <a:pt x="2562" y="492"/>
                  </a:lnTo>
                  <a:lnTo>
                    <a:pt x="2568" y="486"/>
                  </a:lnTo>
                  <a:lnTo>
                    <a:pt x="2574" y="486"/>
                  </a:lnTo>
                  <a:close/>
                  <a:moveTo>
                    <a:pt x="336" y="648"/>
                  </a:moveTo>
                  <a:lnTo>
                    <a:pt x="342" y="648"/>
                  </a:lnTo>
                  <a:lnTo>
                    <a:pt x="342" y="636"/>
                  </a:lnTo>
                  <a:lnTo>
                    <a:pt x="330" y="624"/>
                  </a:lnTo>
                  <a:lnTo>
                    <a:pt x="318" y="624"/>
                  </a:lnTo>
                  <a:lnTo>
                    <a:pt x="318" y="636"/>
                  </a:lnTo>
                  <a:lnTo>
                    <a:pt x="330" y="648"/>
                  </a:lnTo>
                  <a:lnTo>
                    <a:pt x="336" y="648"/>
                  </a:lnTo>
                  <a:close/>
                  <a:moveTo>
                    <a:pt x="2472" y="654"/>
                  </a:moveTo>
                  <a:lnTo>
                    <a:pt x="2484" y="648"/>
                  </a:lnTo>
                  <a:lnTo>
                    <a:pt x="2502" y="630"/>
                  </a:lnTo>
                  <a:lnTo>
                    <a:pt x="2502" y="618"/>
                  </a:lnTo>
                  <a:lnTo>
                    <a:pt x="2430" y="612"/>
                  </a:lnTo>
                  <a:lnTo>
                    <a:pt x="2430" y="624"/>
                  </a:lnTo>
                  <a:lnTo>
                    <a:pt x="2436" y="630"/>
                  </a:lnTo>
                  <a:lnTo>
                    <a:pt x="2442" y="642"/>
                  </a:lnTo>
                  <a:lnTo>
                    <a:pt x="2448" y="648"/>
                  </a:lnTo>
                  <a:lnTo>
                    <a:pt x="2460" y="654"/>
                  </a:lnTo>
                  <a:lnTo>
                    <a:pt x="2472" y="654"/>
                  </a:lnTo>
                  <a:close/>
                  <a:moveTo>
                    <a:pt x="2406" y="288"/>
                  </a:moveTo>
                  <a:lnTo>
                    <a:pt x="2418" y="276"/>
                  </a:lnTo>
                  <a:lnTo>
                    <a:pt x="2418" y="264"/>
                  </a:lnTo>
                  <a:lnTo>
                    <a:pt x="2412" y="258"/>
                  </a:lnTo>
                  <a:lnTo>
                    <a:pt x="2400" y="252"/>
                  </a:lnTo>
                  <a:lnTo>
                    <a:pt x="2376" y="252"/>
                  </a:lnTo>
                  <a:lnTo>
                    <a:pt x="2370" y="258"/>
                  </a:lnTo>
                  <a:lnTo>
                    <a:pt x="2370" y="264"/>
                  </a:lnTo>
                  <a:lnTo>
                    <a:pt x="2394" y="288"/>
                  </a:lnTo>
                  <a:lnTo>
                    <a:pt x="2406" y="288"/>
                  </a:lnTo>
                  <a:close/>
                  <a:moveTo>
                    <a:pt x="2868" y="528"/>
                  </a:moveTo>
                  <a:lnTo>
                    <a:pt x="2886" y="534"/>
                  </a:lnTo>
                  <a:lnTo>
                    <a:pt x="2892" y="534"/>
                  </a:lnTo>
                  <a:lnTo>
                    <a:pt x="2898" y="528"/>
                  </a:lnTo>
                  <a:lnTo>
                    <a:pt x="2898" y="522"/>
                  </a:lnTo>
                  <a:lnTo>
                    <a:pt x="2874" y="510"/>
                  </a:lnTo>
                  <a:lnTo>
                    <a:pt x="2868" y="516"/>
                  </a:lnTo>
                  <a:lnTo>
                    <a:pt x="2862" y="516"/>
                  </a:lnTo>
                  <a:lnTo>
                    <a:pt x="2862" y="522"/>
                  </a:lnTo>
                  <a:lnTo>
                    <a:pt x="2868" y="528"/>
                  </a:lnTo>
                  <a:close/>
                  <a:moveTo>
                    <a:pt x="2916" y="618"/>
                  </a:moveTo>
                  <a:lnTo>
                    <a:pt x="2928" y="618"/>
                  </a:lnTo>
                  <a:lnTo>
                    <a:pt x="2940" y="612"/>
                  </a:lnTo>
                  <a:lnTo>
                    <a:pt x="2958" y="612"/>
                  </a:lnTo>
                  <a:lnTo>
                    <a:pt x="2964" y="606"/>
                  </a:lnTo>
                  <a:lnTo>
                    <a:pt x="2970" y="606"/>
                  </a:lnTo>
                  <a:lnTo>
                    <a:pt x="2964" y="606"/>
                  </a:lnTo>
                  <a:lnTo>
                    <a:pt x="2958" y="600"/>
                  </a:lnTo>
                  <a:lnTo>
                    <a:pt x="2946" y="594"/>
                  </a:lnTo>
                  <a:lnTo>
                    <a:pt x="2934" y="594"/>
                  </a:lnTo>
                  <a:lnTo>
                    <a:pt x="2928" y="588"/>
                  </a:lnTo>
                  <a:lnTo>
                    <a:pt x="2922" y="588"/>
                  </a:lnTo>
                  <a:lnTo>
                    <a:pt x="2910" y="594"/>
                  </a:lnTo>
                  <a:lnTo>
                    <a:pt x="2892" y="594"/>
                  </a:lnTo>
                  <a:lnTo>
                    <a:pt x="2886" y="600"/>
                  </a:lnTo>
                  <a:lnTo>
                    <a:pt x="2880" y="600"/>
                  </a:lnTo>
                  <a:lnTo>
                    <a:pt x="2892" y="606"/>
                  </a:lnTo>
                  <a:lnTo>
                    <a:pt x="2898" y="612"/>
                  </a:lnTo>
                  <a:lnTo>
                    <a:pt x="2910" y="618"/>
                  </a:lnTo>
                  <a:lnTo>
                    <a:pt x="2916" y="618"/>
                  </a:lnTo>
                  <a:close/>
                  <a:moveTo>
                    <a:pt x="1710" y="552"/>
                  </a:moveTo>
                  <a:lnTo>
                    <a:pt x="1710" y="564"/>
                  </a:lnTo>
                  <a:lnTo>
                    <a:pt x="1716" y="570"/>
                  </a:lnTo>
                  <a:lnTo>
                    <a:pt x="1716" y="582"/>
                  </a:lnTo>
                  <a:lnTo>
                    <a:pt x="1722" y="594"/>
                  </a:lnTo>
                  <a:lnTo>
                    <a:pt x="1722" y="612"/>
                  </a:lnTo>
                  <a:lnTo>
                    <a:pt x="1716" y="618"/>
                  </a:lnTo>
                  <a:lnTo>
                    <a:pt x="1692" y="630"/>
                  </a:lnTo>
                  <a:lnTo>
                    <a:pt x="1686" y="636"/>
                  </a:lnTo>
                  <a:lnTo>
                    <a:pt x="1674" y="642"/>
                  </a:lnTo>
                  <a:lnTo>
                    <a:pt x="1674" y="678"/>
                  </a:lnTo>
                  <a:lnTo>
                    <a:pt x="1680" y="684"/>
                  </a:lnTo>
                  <a:lnTo>
                    <a:pt x="1686" y="696"/>
                  </a:lnTo>
                  <a:lnTo>
                    <a:pt x="1674" y="708"/>
                  </a:lnTo>
                  <a:lnTo>
                    <a:pt x="1674" y="720"/>
                  </a:lnTo>
                  <a:lnTo>
                    <a:pt x="1680" y="726"/>
                  </a:lnTo>
                  <a:lnTo>
                    <a:pt x="1692" y="732"/>
                  </a:lnTo>
                  <a:lnTo>
                    <a:pt x="1698" y="726"/>
                  </a:lnTo>
                  <a:lnTo>
                    <a:pt x="1722" y="726"/>
                  </a:lnTo>
                  <a:lnTo>
                    <a:pt x="1728" y="732"/>
                  </a:lnTo>
                  <a:lnTo>
                    <a:pt x="1728" y="756"/>
                  </a:lnTo>
                  <a:lnTo>
                    <a:pt x="1722" y="762"/>
                  </a:lnTo>
                  <a:lnTo>
                    <a:pt x="1740" y="780"/>
                  </a:lnTo>
                  <a:lnTo>
                    <a:pt x="1728" y="846"/>
                  </a:lnTo>
                  <a:lnTo>
                    <a:pt x="1710" y="864"/>
                  </a:lnTo>
                  <a:lnTo>
                    <a:pt x="1704" y="876"/>
                  </a:lnTo>
                  <a:lnTo>
                    <a:pt x="1704" y="888"/>
                  </a:lnTo>
                  <a:lnTo>
                    <a:pt x="1710" y="906"/>
                  </a:lnTo>
                  <a:lnTo>
                    <a:pt x="1722" y="924"/>
                  </a:lnTo>
                  <a:lnTo>
                    <a:pt x="1746" y="936"/>
                  </a:lnTo>
                  <a:lnTo>
                    <a:pt x="1764" y="930"/>
                  </a:lnTo>
                  <a:lnTo>
                    <a:pt x="1788" y="906"/>
                  </a:lnTo>
                  <a:lnTo>
                    <a:pt x="1788" y="864"/>
                  </a:lnTo>
                  <a:lnTo>
                    <a:pt x="1782" y="858"/>
                  </a:lnTo>
                  <a:lnTo>
                    <a:pt x="1776" y="846"/>
                  </a:lnTo>
                  <a:lnTo>
                    <a:pt x="1800" y="822"/>
                  </a:lnTo>
                  <a:lnTo>
                    <a:pt x="1806" y="804"/>
                  </a:lnTo>
                  <a:lnTo>
                    <a:pt x="1806" y="774"/>
                  </a:lnTo>
                  <a:lnTo>
                    <a:pt x="1812" y="756"/>
                  </a:lnTo>
                  <a:lnTo>
                    <a:pt x="1812" y="726"/>
                  </a:lnTo>
                  <a:lnTo>
                    <a:pt x="1806" y="714"/>
                  </a:lnTo>
                  <a:lnTo>
                    <a:pt x="1800" y="696"/>
                  </a:lnTo>
                  <a:lnTo>
                    <a:pt x="1794" y="684"/>
                  </a:lnTo>
                  <a:lnTo>
                    <a:pt x="1794" y="636"/>
                  </a:lnTo>
                  <a:lnTo>
                    <a:pt x="1800" y="630"/>
                  </a:lnTo>
                  <a:lnTo>
                    <a:pt x="1800" y="624"/>
                  </a:lnTo>
                  <a:lnTo>
                    <a:pt x="1806" y="618"/>
                  </a:lnTo>
                  <a:lnTo>
                    <a:pt x="1812" y="618"/>
                  </a:lnTo>
                  <a:lnTo>
                    <a:pt x="1818" y="624"/>
                  </a:lnTo>
                  <a:lnTo>
                    <a:pt x="1824" y="642"/>
                  </a:lnTo>
                  <a:lnTo>
                    <a:pt x="1830" y="666"/>
                  </a:lnTo>
                  <a:lnTo>
                    <a:pt x="1836" y="684"/>
                  </a:lnTo>
                  <a:lnTo>
                    <a:pt x="1836" y="702"/>
                  </a:lnTo>
                  <a:lnTo>
                    <a:pt x="1866" y="738"/>
                  </a:lnTo>
                  <a:lnTo>
                    <a:pt x="1866" y="792"/>
                  </a:lnTo>
                  <a:lnTo>
                    <a:pt x="1890" y="822"/>
                  </a:lnTo>
                  <a:lnTo>
                    <a:pt x="1890" y="858"/>
                  </a:lnTo>
                  <a:lnTo>
                    <a:pt x="1902" y="930"/>
                  </a:lnTo>
                  <a:lnTo>
                    <a:pt x="1920" y="918"/>
                  </a:lnTo>
                  <a:lnTo>
                    <a:pt x="1962" y="930"/>
                  </a:lnTo>
                  <a:lnTo>
                    <a:pt x="1962" y="870"/>
                  </a:lnTo>
                  <a:lnTo>
                    <a:pt x="1968" y="864"/>
                  </a:lnTo>
                  <a:lnTo>
                    <a:pt x="1974" y="852"/>
                  </a:lnTo>
                  <a:lnTo>
                    <a:pt x="1980" y="876"/>
                  </a:lnTo>
                  <a:lnTo>
                    <a:pt x="1998" y="876"/>
                  </a:lnTo>
                  <a:lnTo>
                    <a:pt x="2004" y="870"/>
                  </a:lnTo>
                  <a:lnTo>
                    <a:pt x="2010" y="858"/>
                  </a:lnTo>
                  <a:lnTo>
                    <a:pt x="2010" y="828"/>
                  </a:lnTo>
                  <a:lnTo>
                    <a:pt x="2004" y="822"/>
                  </a:lnTo>
                  <a:lnTo>
                    <a:pt x="2004" y="816"/>
                  </a:lnTo>
                  <a:lnTo>
                    <a:pt x="1992" y="810"/>
                  </a:lnTo>
                  <a:lnTo>
                    <a:pt x="1986" y="798"/>
                  </a:lnTo>
                  <a:lnTo>
                    <a:pt x="1974" y="792"/>
                  </a:lnTo>
                  <a:lnTo>
                    <a:pt x="1962" y="780"/>
                  </a:lnTo>
                  <a:lnTo>
                    <a:pt x="1956" y="768"/>
                  </a:lnTo>
                  <a:lnTo>
                    <a:pt x="1944" y="756"/>
                  </a:lnTo>
                  <a:lnTo>
                    <a:pt x="1944" y="750"/>
                  </a:lnTo>
                  <a:lnTo>
                    <a:pt x="1956" y="726"/>
                  </a:lnTo>
                  <a:lnTo>
                    <a:pt x="1968" y="720"/>
                  </a:lnTo>
                  <a:lnTo>
                    <a:pt x="1968" y="708"/>
                  </a:lnTo>
                  <a:lnTo>
                    <a:pt x="1962" y="696"/>
                  </a:lnTo>
                  <a:lnTo>
                    <a:pt x="1938" y="684"/>
                  </a:lnTo>
                  <a:lnTo>
                    <a:pt x="1932" y="672"/>
                  </a:lnTo>
                  <a:lnTo>
                    <a:pt x="1932" y="642"/>
                  </a:lnTo>
                  <a:lnTo>
                    <a:pt x="1938" y="636"/>
                  </a:lnTo>
                  <a:lnTo>
                    <a:pt x="1938" y="630"/>
                  </a:lnTo>
                  <a:lnTo>
                    <a:pt x="1926" y="618"/>
                  </a:lnTo>
                  <a:lnTo>
                    <a:pt x="1914" y="612"/>
                  </a:lnTo>
                  <a:lnTo>
                    <a:pt x="1896" y="594"/>
                  </a:lnTo>
                  <a:lnTo>
                    <a:pt x="1884" y="588"/>
                  </a:lnTo>
                  <a:lnTo>
                    <a:pt x="1878" y="582"/>
                  </a:lnTo>
                  <a:lnTo>
                    <a:pt x="1914" y="582"/>
                  </a:lnTo>
                  <a:lnTo>
                    <a:pt x="1926" y="576"/>
                  </a:lnTo>
                  <a:lnTo>
                    <a:pt x="1932" y="570"/>
                  </a:lnTo>
                  <a:lnTo>
                    <a:pt x="1944" y="546"/>
                  </a:lnTo>
                  <a:lnTo>
                    <a:pt x="1950" y="540"/>
                  </a:lnTo>
                  <a:lnTo>
                    <a:pt x="1956" y="528"/>
                  </a:lnTo>
                  <a:lnTo>
                    <a:pt x="1992" y="528"/>
                  </a:lnTo>
                  <a:lnTo>
                    <a:pt x="2004" y="522"/>
                  </a:lnTo>
                  <a:lnTo>
                    <a:pt x="2010" y="522"/>
                  </a:lnTo>
                  <a:lnTo>
                    <a:pt x="2016" y="516"/>
                  </a:lnTo>
                  <a:lnTo>
                    <a:pt x="2016" y="504"/>
                  </a:lnTo>
                  <a:lnTo>
                    <a:pt x="1998" y="486"/>
                  </a:lnTo>
                  <a:lnTo>
                    <a:pt x="1986" y="480"/>
                  </a:lnTo>
                  <a:lnTo>
                    <a:pt x="1974" y="486"/>
                  </a:lnTo>
                  <a:lnTo>
                    <a:pt x="1956" y="504"/>
                  </a:lnTo>
                  <a:lnTo>
                    <a:pt x="1956" y="510"/>
                  </a:lnTo>
                  <a:lnTo>
                    <a:pt x="1944" y="510"/>
                  </a:lnTo>
                  <a:lnTo>
                    <a:pt x="1932" y="504"/>
                  </a:lnTo>
                  <a:lnTo>
                    <a:pt x="1896" y="504"/>
                  </a:lnTo>
                  <a:lnTo>
                    <a:pt x="1890" y="510"/>
                  </a:lnTo>
                  <a:lnTo>
                    <a:pt x="1884" y="522"/>
                  </a:lnTo>
                  <a:lnTo>
                    <a:pt x="1854" y="552"/>
                  </a:lnTo>
                  <a:lnTo>
                    <a:pt x="1848" y="546"/>
                  </a:lnTo>
                  <a:lnTo>
                    <a:pt x="1836" y="540"/>
                  </a:lnTo>
                  <a:lnTo>
                    <a:pt x="1824" y="516"/>
                  </a:lnTo>
                  <a:lnTo>
                    <a:pt x="1788" y="498"/>
                  </a:lnTo>
                  <a:lnTo>
                    <a:pt x="1776" y="498"/>
                  </a:lnTo>
                  <a:lnTo>
                    <a:pt x="1776" y="486"/>
                  </a:lnTo>
                  <a:lnTo>
                    <a:pt x="1782" y="468"/>
                  </a:lnTo>
                  <a:lnTo>
                    <a:pt x="1782" y="456"/>
                  </a:lnTo>
                  <a:lnTo>
                    <a:pt x="1794" y="420"/>
                  </a:lnTo>
                  <a:lnTo>
                    <a:pt x="1806" y="408"/>
                  </a:lnTo>
                  <a:lnTo>
                    <a:pt x="1824" y="408"/>
                  </a:lnTo>
                  <a:lnTo>
                    <a:pt x="1842" y="414"/>
                  </a:lnTo>
                  <a:lnTo>
                    <a:pt x="1896" y="414"/>
                  </a:lnTo>
                  <a:lnTo>
                    <a:pt x="1902" y="408"/>
                  </a:lnTo>
                  <a:lnTo>
                    <a:pt x="1908" y="408"/>
                  </a:lnTo>
                  <a:lnTo>
                    <a:pt x="1908" y="402"/>
                  </a:lnTo>
                  <a:lnTo>
                    <a:pt x="1914" y="396"/>
                  </a:lnTo>
                  <a:lnTo>
                    <a:pt x="1920" y="396"/>
                  </a:lnTo>
                  <a:lnTo>
                    <a:pt x="1944" y="402"/>
                  </a:lnTo>
                  <a:lnTo>
                    <a:pt x="1980" y="420"/>
                  </a:lnTo>
                  <a:lnTo>
                    <a:pt x="2010" y="432"/>
                  </a:lnTo>
                  <a:lnTo>
                    <a:pt x="2034" y="438"/>
                  </a:lnTo>
                  <a:lnTo>
                    <a:pt x="2040" y="438"/>
                  </a:lnTo>
                  <a:lnTo>
                    <a:pt x="2052" y="432"/>
                  </a:lnTo>
                  <a:lnTo>
                    <a:pt x="2064" y="420"/>
                  </a:lnTo>
                  <a:lnTo>
                    <a:pt x="2082" y="420"/>
                  </a:lnTo>
                  <a:lnTo>
                    <a:pt x="2094" y="414"/>
                  </a:lnTo>
                  <a:lnTo>
                    <a:pt x="2106" y="414"/>
                  </a:lnTo>
                  <a:lnTo>
                    <a:pt x="2112" y="408"/>
                  </a:lnTo>
                  <a:lnTo>
                    <a:pt x="2112" y="402"/>
                  </a:lnTo>
                  <a:lnTo>
                    <a:pt x="2106" y="396"/>
                  </a:lnTo>
                  <a:lnTo>
                    <a:pt x="2106" y="390"/>
                  </a:lnTo>
                  <a:lnTo>
                    <a:pt x="2118" y="378"/>
                  </a:lnTo>
                  <a:lnTo>
                    <a:pt x="2142" y="366"/>
                  </a:lnTo>
                  <a:lnTo>
                    <a:pt x="2148" y="360"/>
                  </a:lnTo>
                  <a:lnTo>
                    <a:pt x="2160" y="354"/>
                  </a:lnTo>
                  <a:lnTo>
                    <a:pt x="2148" y="324"/>
                  </a:lnTo>
                  <a:lnTo>
                    <a:pt x="2070" y="360"/>
                  </a:lnTo>
                  <a:lnTo>
                    <a:pt x="2076" y="366"/>
                  </a:lnTo>
                  <a:lnTo>
                    <a:pt x="2076" y="372"/>
                  </a:lnTo>
                  <a:lnTo>
                    <a:pt x="2070" y="378"/>
                  </a:lnTo>
                  <a:lnTo>
                    <a:pt x="2046" y="378"/>
                  </a:lnTo>
                  <a:lnTo>
                    <a:pt x="2022" y="366"/>
                  </a:lnTo>
                  <a:lnTo>
                    <a:pt x="2004" y="366"/>
                  </a:lnTo>
                  <a:lnTo>
                    <a:pt x="1968" y="384"/>
                  </a:lnTo>
                  <a:lnTo>
                    <a:pt x="1950" y="384"/>
                  </a:lnTo>
                  <a:lnTo>
                    <a:pt x="1938" y="378"/>
                  </a:lnTo>
                  <a:lnTo>
                    <a:pt x="1926" y="378"/>
                  </a:lnTo>
                  <a:lnTo>
                    <a:pt x="1902" y="366"/>
                  </a:lnTo>
                  <a:lnTo>
                    <a:pt x="1860" y="366"/>
                  </a:lnTo>
                  <a:lnTo>
                    <a:pt x="1872" y="348"/>
                  </a:lnTo>
                  <a:lnTo>
                    <a:pt x="1860" y="348"/>
                  </a:lnTo>
                  <a:lnTo>
                    <a:pt x="1848" y="342"/>
                  </a:lnTo>
                  <a:lnTo>
                    <a:pt x="1824" y="342"/>
                  </a:lnTo>
                  <a:lnTo>
                    <a:pt x="1824" y="366"/>
                  </a:lnTo>
                  <a:lnTo>
                    <a:pt x="1812" y="378"/>
                  </a:lnTo>
                  <a:lnTo>
                    <a:pt x="1788" y="390"/>
                  </a:lnTo>
                  <a:lnTo>
                    <a:pt x="1764" y="390"/>
                  </a:lnTo>
                  <a:lnTo>
                    <a:pt x="1758" y="396"/>
                  </a:lnTo>
                  <a:lnTo>
                    <a:pt x="1758" y="426"/>
                  </a:lnTo>
                  <a:lnTo>
                    <a:pt x="1740" y="432"/>
                  </a:lnTo>
                  <a:lnTo>
                    <a:pt x="1752" y="498"/>
                  </a:lnTo>
                  <a:lnTo>
                    <a:pt x="1740" y="498"/>
                  </a:lnTo>
                  <a:lnTo>
                    <a:pt x="1734" y="510"/>
                  </a:lnTo>
                  <a:lnTo>
                    <a:pt x="1728" y="516"/>
                  </a:lnTo>
                  <a:lnTo>
                    <a:pt x="1710" y="552"/>
                  </a:lnTo>
                  <a:close/>
                  <a:moveTo>
                    <a:pt x="1986" y="576"/>
                  </a:moveTo>
                  <a:lnTo>
                    <a:pt x="1986" y="594"/>
                  </a:lnTo>
                  <a:lnTo>
                    <a:pt x="1992" y="600"/>
                  </a:lnTo>
                  <a:lnTo>
                    <a:pt x="2004" y="600"/>
                  </a:lnTo>
                  <a:lnTo>
                    <a:pt x="2016" y="588"/>
                  </a:lnTo>
                  <a:lnTo>
                    <a:pt x="2016" y="576"/>
                  </a:lnTo>
                  <a:lnTo>
                    <a:pt x="1986" y="576"/>
                  </a:lnTo>
                  <a:close/>
                  <a:moveTo>
                    <a:pt x="1686" y="1110"/>
                  </a:moveTo>
                  <a:lnTo>
                    <a:pt x="1674" y="1110"/>
                  </a:lnTo>
                  <a:lnTo>
                    <a:pt x="1668" y="1116"/>
                  </a:lnTo>
                  <a:lnTo>
                    <a:pt x="1662" y="1116"/>
                  </a:lnTo>
                  <a:lnTo>
                    <a:pt x="1614" y="1104"/>
                  </a:lnTo>
                  <a:lnTo>
                    <a:pt x="1644" y="1146"/>
                  </a:lnTo>
                  <a:lnTo>
                    <a:pt x="1650" y="1152"/>
                  </a:lnTo>
                  <a:lnTo>
                    <a:pt x="1662" y="1158"/>
                  </a:lnTo>
                  <a:lnTo>
                    <a:pt x="1668" y="1164"/>
                  </a:lnTo>
                  <a:lnTo>
                    <a:pt x="1680" y="1170"/>
                  </a:lnTo>
                  <a:lnTo>
                    <a:pt x="1692" y="1158"/>
                  </a:lnTo>
                  <a:lnTo>
                    <a:pt x="1698" y="1140"/>
                  </a:lnTo>
                  <a:lnTo>
                    <a:pt x="1698" y="1128"/>
                  </a:lnTo>
                  <a:lnTo>
                    <a:pt x="1692" y="1116"/>
                  </a:lnTo>
                  <a:lnTo>
                    <a:pt x="1686" y="1110"/>
                  </a:lnTo>
                  <a:close/>
                  <a:moveTo>
                    <a:pt x="2094" y="1104"/>
                  </a:moveTo>
                  <a:lnTo>
                    <a:pt x="2064" y="1128"/>
                  </a:lnTo>
                  <a:lnTo>
                    <a:pt x="2094" y="1134"/>
                  </a:lnTo>
                  <a:lnTo>
                    <a:pt x="2094" y="1104"/>
                  </a:lnTo>
                  <a:close/>
                  <a:moveTo>
                    <a:pt x="486" y="294"/>
                  </a:moveTo>
                  <a:lnTo>
                    <a:pt x="474" y="288"/>
                  </a:lnTo>
                  <a:lnTo>
                    <a:pt x="468" y="288"/>
                  </a:lnTo>
                  <a:lnTo>
                    <a:pt x="456" y="294"/>
                  </a:lnTo>
                  <a:lnTo>
                    <a:pt x="456" y="312"/>
                  </a:lnTo>
                  <a:lnTo>
                    <a:pt x="468" y="324"/>
                  </a:lnTo>
                  <a:lnTo>
                    <a:pt x="474" y="318"/>
                  </a:lnTo>
                  <a:lnTo>
                    <a:pt x="486" y="318"/>
                  </a:lnTo>
                  <a:lnTo>
                    <a:pt x="486" y="312"/>
                  </a:lnTo>
                  <a:lnTo>
                    <a:pt x="492" y="300"/>
                  </a:lnTo>
                  <a:lnTo>
                    <a:pt x="486" y="294"/>
                  </a:lnTo>
                  <a:close/>
                  <a:moveTo>
                    <a:pt x="2346" y="588"/>
                  </a:moveTo>
                  <a:lnTo>
                    <a:pt x="2340" y="576"/>
                  </a:lnTo>
                  <a:lnTo>
                    <a:pt x="2328" y="570"/>
                  </a:lnTo>
                  <a:lnTo>
                    <a:pt x="2310" y="552"/>
                  </a:lnTo>
                  <a:lnTo>
                    <a:pt x="2304" y="552"/>
                  </a:lnTo>
                  <a:lnTo>
                    <a:pt x="2304" y="600"/>
                  </a:lnTo>
                  <a:lnTo>
                    <a:pt x="2316" y="600"/>
                  </a:lnTo>
                  <a:lnTo>
                    <a:pt x="2328" y="606"/>
                  </a:lnTo>
                  <a:lnTo>
                    <a:pt x="2334" y="606"/>
                  </a:lnTo>
                  <a:lnTo>
                    <a:pt x="2346" y="600"/>
                  </a:lnTo>
                  <a:lnTo>
                    <a:pt x="2346" y="588"/>
                  </a:lnTo>
                  <a:close/>
                  <a:moveTo>
                    <a:pt x="2310" y="474"/>
                  </a:moveTo>
                  <a:lnTo>
                    <a:pt x="2340" y="504"/>
                  </a:lnTo>
                  <a:lnTo>
                    <a:pt x="2358" y="516"/>
                  </a:lnTo>
                  <a:lnTo>
                    <a:pt x="2382" y="528"/>
                  </a:lnTo>
                  <a:lnTo>
                    <a:pt x="2400" y="528"/>
                  </a:lnTo>
                  <a:lnTo>
                    <a:pt x="2400" y="522"/>
                  </a:lnTo>
                  <a:lnTo>
                    <a:pt x="2358" y="480"/>
                  </a:lnTo>
                  <a:lnTo>
                    <a:pt x="2358" y="468"/>
                  </a:lnTo>
                  <a:lnTo>
                    <a:pt x="2364" y="456"/>
                  </a:lnTo>
                  <a:lnTo>
                    <a:pt x="2376" y="450"/>
                  </a:lnTo>
                  <a:lnTo>
                    <a:pt x="2394" y="450"/>
                  </a:lnTo>
                  <a:lnTo>
                    <a:pt x="2406" y="456"/>
                  </a:lnTo>
                  <a:lnTo>
                    <a:pt x="2424" y="444"/>
                  </a:lnTo>
                  <a:lnTo>
                    <a:pt x="2400" y="432"/>
                  </a:lnTo>
                  <a:lnTo>
                    <a:pt x="2412" y="426"/>
                  </a:lnTo>
                  <a:lnTo>
                    <a:pt x="2424" y="402"/>
                  </a:lnTo>
                  <a:lnTo>
                    <a:pt x="2412" y="378"/>
                  </a:lnTo>
                  <a:lnTo>
                    <a:pt x="2400" y="372"/>
                  </a:lnTo>
                  <a:lnTo>
                    <a:pt x="2382" y="372"/>
                  </a:lnTo>
                  <a:lnTo>
                    <a:pt x="2358" y="396"/>
                  </a:lnTo>
                  <a:lnTo>
                    <a:pt x="2346" y="402"/>
                  </a:lnTo>
                  <a:lnTo>
                    <a:pt x="2340" y="408"/>
                  </a:lnTo>
                  <a:lnTo>
                    <a:pt x="2334" y="408"/>
                  </a:lnTo>
                  <a:lnTo>
                    <a:pt x="2328" y="402"/>
                  </a:lnTo>
                  <a:lnTo>
                    <a:pt x="2328" y="366"/>
                  </a:lnTo>
                  <a:lnTo>
                    <a:pt x="2334" y="360"/>
                  </a:lnTo>
                  <a:lnTo>
                    <a:pt x="2346" y="336"/>
                  </a:lnTo>
                  <a:lnTo>
                    <a:pt x="2346" y="318"/>
                  </a:lnTo>
                  <a:lnTo>
                    <a:pt x="2340" y="312"/>
                  </a:lnTo>
                  <a:lnTo>
                    <a:pt x="2358" y="276"/>
                  </a:lnTo>
                  <a:lnTo>
                    <a:pt x="2316" y="312"/>
                  </a:lnTo>
                  <a:lnTo>
                    <a:pt x="2316" y="342"/>
                  </a:lnTo>
                  <a:lnTo>
                    <a:pt x="2304" y="348"/>
                  </a:lnTo>
                  <a:lnTo>
                    <a:pt x="2298" y="354"/>
                  </a:lnTo>
                  <a:lnTo>
                    <a:pt x="2286" y="378"/>
                  </a:lnTo>
                  <a:lnTo>
                    <a:pt x="2286" y="408"/>
                  </a:lnTo>
                  <a:lnTo>
                    <a:pt x="2298" y="420"/>
                  </a:lnTo>
                  <a:lnTo>
                    <a:pt x="2304" y="432"/>
                  </a:lnTo>
                  <a:lnTo>
                    <a:pt x="2310" y="438"/>
                  </a:lnTo>
                  <a:lnTo>
                    <a:pt x="2310" y="444"/>
                  </a:lnTo>
                  <a:lnTo>
                    <a:pt x="2304" y="450"/>
                  </a:lnTo>
                  <a:lnTo>
                    <a:pt x="2304" y="468"/>
                  </a:lnTo>
                  <a:lnTo>
                    <a:pt x="2310" y="474"/>
                  </a:lnTo>
                  <a:close/>
                  <a:moveTo>
                    <a:pt x="2250" y="708"/>
                  </a:moveTo>
                  <a:lnTo>
                    <a:pt x="2238" y="696"/>
                  </a:lnTo>
                  <a:lnTo>
                    <a:pt x="2214" y="708"/>
                  </a:lnTo>
                  <a:lnTo>
                    <a:pt x="2214" y="732"/>
                  </a:lnTo>
                  <a:lnTo>
                    <a:pt x="2220" y="744"/>
                  </a:lnTo>
                  <a:lnTo>
                    <a:pt x="2226" y="750"/>
                  </a:lnTo>
                  <a:lnTo>
                    <a:pt x="2250" y="762"/>
                  </a:lnTo>
                  <a:lnTo>
                    <a:pt x="2274" y="762"/>
                  </a:lnTo>
                  <a:lnTo>
                    <a:pt x="2280" y="750"/>
                  </a:lnTo>
                  <a:lnTo>
                    <a:pt x="2280" y="738"/>
                  </a:lnTo>
                  <a:lnTo>
                    <a:pt x="2274" y="726"/>
                  </a:lnTo>
                  <a:lnTo>
                    <a:pt x="2274" y="714"/>
                  </a:lnTo>
                  <a:lnTo>
                    <a:pt x="2268" y="708"/>
                  </a:lnTo>
                  <a:lnTo>
                    <a:pt x="2268" y="702"/>
                  </a:lnTo>
                  <a:lnTo>
                    <a:pt x="2250" y="708"/>
                  </a:lnTo>
                  <a:close/>
                  <a:moveTo>
                    <a:pt x="2148" y="1104"/>
                  </a:moveTo>
                  <a:lnTo>
                    <a:pt x="2226" y="1092"/>
                  </a:lnTo>
                  <a:lnTo>
                    <a:pt x="2166" y="1074"/>
                  </a:lnTo>
                  <a:lnTo>
                    <a:pt x="2148" y="1104"/>
                  </a:lnTo>
                  <a:close/>
                  <a:moveTo>
                    <a:pt x="2544" y="750"/>
                  </a:moveTo>
                  <a:lnTo>
                    <a:pt x="2520" y="732"/>
                  </a:lnTo>
                  <a:lnTo>
                    <a:pt x="2526" y="714"/>
                  </a:lnTo>
                  <a:lnTo>
                    <a:pt x="2514" y="702"/>
                  </a:lnTo>
                  <a:lnTo>
                    <a:pt x="2508" y="690"/>
                  </a:lnTo>
                  <a:lnTo>
                    <a:pt x="2490" y="684"/>
                  </a:lnTo>
                  <a:lnTo>
                    <a:pt x="2472" y="672"/>
                  </a:lnTo>
                  <a:lnTo>
                    <a:pt x="2442" y="666"/>
                  </a:lnTo>
                  <a:lnTo>
                    <a:pt x="2424" y="666"/>
                  </a:lnTo>
                  <a:lnTo>
                    <a:pt x="2388" y="684"/>
                  </a:lnTo>
                  <a:lnTo>
                    <a:pt x="2358" y="684"/>
                  </a:lnTo>
                  <a:lnTo>
                    <a:pt x="2346" y="696"/>
                  </a:lnTo>
                  <a:lnTo>
                    <a:pt x="2340" y="708"/>
                  </a:lnTo>
                  <a:lnTo>
                    <a:pt x="2340" y="726"/>
                  </a:lnTo>
                  <a:lnTo>
                    <a:pt x="2346" y="732"/>
                  </a:lnTo>
                  <a:lnTo>
                    <a:pt x="2364" y="714"/>
                  </a:lnTo>
                  <a:lnTo>
                    <a:pt x="2364" y="726"/>
                  </a:lnTo>
                  <a:lnTo>
                    <a:pt x="2370" y="738"/>
                  </a:lnTo>
                  <a:lnTo>
                    <a:pt x="2376" y="744"/>
                  </a:lnTo>
                  <a:lnTo>
                    <a:pt x="2388" y="738"/>
                  </a:lnTo>
                  <a:lnTo>
                    <a:pt x="2394" y="732"/>
                  </a:lnTo>
                  <a:lnTo>
                    <a:pt x="2394" y="726"/>
                  </a:lnTo>
                  <a:lnTo>
                    <a:pt x="2400" y="720"/>
                  </a:lnTo>
                  <a:lnTo>
                    <a:pt x="2400" y="714"/>
                  </a:lnTo>
                  <a:lnTo>
                    <a:pt x="2406" y="726"/>
                  </a:lnTo>
                  <a:lnTo>
                    <a:pt x="2418" y="732"/>
                  </a:lnTo>
                  <a:lnTo>
                    <a:pt x="2430" y="732"/>
                  </a:lnTo>
                  <a:lnTo>
                    <a:pt x="2442" y="720"/>
                  </a:lnTo>
                  <a:lnTo>
                    <a:pt x="2454" y="714"/>
                  </a:lnTo>
                  <a:lnTo>
                    <a:pt x="2460" y="708"/>
                  </a:lnTo>
                  <a:lnTo>
                    <a:pt x="2472" y="762"/>
                  </a:lnTo>
                  <a:lnTo>
                    <a:pt x="2502" y="738"/>
                  </a:lnTo>
                  <a:lnTo>
                    <a:pt x="2538" y="774"/>
                  </a:lnTo>
                  <a:lnTo>
                    <a:pt x="2544" y="750"/>
                  </a:lnTo>
                  <a:close/>
                  <a:moveTo>
                    <a:pt x="3264" y="678"/>
                  </a:moveTo>
                  <a:lnTo>
                    <a:pt x="3222" y="648"/>
                  </a:lnTo>
                  <a:lnTo>
                    <a:pt x="3210" y="648"/>
                  </a:lnTo>
                  <a:lnTo>
                    <a:pt x="3198" y="654"/>
                  </a:lnTo>
                  <a:lnTo>
                    <a:pt x="3180" y="654"/>
                  </a:lnTo>
                  <a:lnTo>
                    <a:pt x="3162" y="648"/>
                  </a:lnTo>
                  <a:lnTo>
                    <a:pt x="3126" y="630"/>
                  </a:lnTo>
                  <a:lnTo>
                    <a:pt x="3096" y="612"/>
                  </a:lnTo>
                  <a:lnTo>
                    <a:pt x="3060" y="594"/>
                  </a:lnTo>
                  <a:lnTo>
                    <a:pt x="3042" y="582"/>
                  </a:lnTo>
                  <a:lnTo>
                    <a:pt x="3030" y="582"/>
                  </a:lnTo>
                  <a:lnTo>
                    <a:pt x="3006" y="594"/>
                  </a:lnTo>
                  <a:lnTo>
                    <a:pt x="3000" y="600"/>
                  </a:lnTo>
                  <a:lnTo>
                    <a:pt x="2988" y="606"/>
                  </a:lnTo>
                  <a:lnTo>
                    <a:pt x="3006" y="630"/>
                  </a:lnTo>
                  <a:lnTo>
                    <a:pt x="2928" y="642"/>
                  </a:lnTo>
                  <a:lnTo>
                    <a:pt x="2934" y="666"/>
                  </a:lnTo>
                  <a:lnTo>
                    <a:pt x="2928" y="678"/>
                  </a:lnTo>
                  <a:lnTo>
                    <a:pt x="2922" y="684"/>
                  </a:lnTo>
                  <a:lnTo>
                    <a:pt x="2916" y="696"/>
                  </a:lnTo>
                  <a:lnTo>
                    <a:pt x="2880" y="720"/>
                  </a:lnTo>
                  <a:lnTo>
                    <a:pt x="2862" y="726"/>
                  </a:lnTo>
                  <a:lnTo>
                    <a:pt x="2844" y="726"/>
                  </a:lnTo>
                  <a:lnTo>
                    <a:pt x="2832" y="720"/>
                  </a:lnTo>
                  <a:lnTo>
                    <a:pt x="2826" y="714"/>
                  </a:lnTo>
                  <a:lnTo>
                    <a:pt x="2820" y="702"/>
                  </a:lnTo>
                  <a:lnTo>
                    <a:pt x="2820" y="678"/>
                  </a:lnTo>
                  <a:lnTo>
                    <a:pt x="2814" y="672"/>
                  </a:lnTo>
                  <a:lnTo>
                    <a:pt x="2814" y="660"/>
                  </a:lnTo>
                  <a:lnTo>
                    <a:pt x="2808" y="666"/>
                  </a:lnTo>
                  <a:lnTo>
                    <a:pt x="2808" y="672"/>
                  </a:lnTo>
                  <a:lnTo>
                    <a:pt x="2802" y="684"/>
                  </a:lnTo>
                  <a:lnTo>
                    <a:pt x="2796" y="690"/>
                  </a:lnTo>
                  <a:lnTo>
                    <a:pt x="2796" y="696"/>
                  </a:lnTo>
                  <a:lnTo>
                    <a:pt x="2796" y="690"/>
                  </a:lnTo>
                  <a:lnTo>
                    <a:pt x="2790" y="684"/>
                  </a:lnTo>
                  <a:lnTo>
                    <a:pt x="2790" y="672"/>
                  </a:lnTo>
                  <a:lnTo>
                    <a:pt x="2784" y="660"/>
                  </a:lnTo>
                  <a:lnTo>
                    <a:pt x="2784" y="576"/>
                  </a:lnTo>
                  <a:lnTo>
                    <a:pt x="2778" y="558"/>
                  </a:lnTo>
                  <a:lnTo>
                    <a:pt x="2760" y="522"/>
                  </a:lnTo>
                  <a:lnTo>
                    <a:pt x="2724" y="522"/>
                  </a:lnTo>
                  <a:lnTo>
                    <a:pt x="2718" y="510"/>
                  </a:lnTo>
                  <a:lnTo>
                    <a:pt x="2694" y="498"/>
                  </a:lnTo>
                  <a:lnTo>
                    <a:pt x="2676" y="486"/>
                  </a:lnTo>
                  <a:lnTo>
                    <a:pt x="2652" y="486"/>
                  </a:lnTo>
                  <a:lnTo>
                    <a:pt x="2634" y="498"/>
                  </a:lnTo>
                  <a:lnTo>
                    <a:pt x="2628" y="504"/>
                  </a:lnTo>
                  <a:lnTo>
                    <a:pt x="2616" y="510"/>
                  </a:lnTo>
                  <a:lnTo>
                    <a:pt x="2610" y="522"/>
                  </a:lnTo>
                  <a:lnTo>
                    <a:pt x="2586" y="528"/>
                  </a:lnTo>
                  <a:lnTo>
                    <a:pt x="2580" y="546"/>
                  </a:lnTo>
                  <a:lnTo>
                    <a:pt x="2562" y="558"/>
                  </a:lnTo>
                  <a:lnTo>
                    <a:pt x="2562" y="540"/>
                  </a:lnTo>
                  <a:lnTo>
                    <a:pt x="2556" y="534"/>
                  </a:lnTo>
                  <a:lnTo>
                    <a:pt x="2532" y="534"/>
                  </a:lnTo>
                  <a:lnTo>
                    <a:pt x="2532" y="546"/>
                  </a:lnTo>
                  <a:lnTo>
                    <a:pt x="2544" y="570"/>
                  </a:lnTo>
                  <a:lnTo>
                    <a:pt x="2568" y="582"/>
                  </a:lnTo>
                  <a:lnTo>
                    <a:pt x="2604" y="582"/>
                  </a:lnTo>
                  <a:lnTo>
                    <a:pt x="2616" y="588"/>
                  </a:lnTo>
                  <a:lnTo>
                    <a:pt x="2622" y="594"/>
                  </a:lnTo>
                  <a:lnTo>
                    <a:pt x="2628" y="594"/>
                  </a:lnTo>
                  <a:lnTo>
                    <a:pt x="2628" y="618"/>
                  </a:lnTo>
                  <a:lnTo>
                    <a:pt x="2634" y="630"/>
                  </a:lnTo>
                  <a:lnTo>
                    <a:pt x="2640" y="636"/>
                  </a:lnTo>
                  <a:lnTo>
                    <a:pt x="2652" y="642"/>
                  </a:lnTo>
                  <a:lnTo>
                    <a:pt x="2694" y="642"/>
                  </a:lnTo>
                  <a:lnTo>
                    <a:pt x="2712" y="636"/>
                  </a:lnTo>
                  <a:lnTo>
                    <a:pt x="2754" y="636"/>
                  </a:lnTo>
                  <a:lnTo>
                    <a:pt x="2760" y="642"/>
                  </a:lnTo>
                  <a:lnTo>
                    <a:pt x="2760" y="660"/>
                  </a:lnTo>
                  <a:lnTo>
                    <a:pt x="2700" y="660"/>
                  </a:lnTo>
                  <a:lnTo>
                    <a:pt x="2688" y="666"/>
                  </a:lnTo>
                  <a:lnTo>
                    <a:pt x="2676" y="678"/>
                  </a:lnTo>
                  <a:lnTo>
                    <a:pt x="2640" y="678"/>
                  </a:lnTo>
                  <a:lnTo>
                    <a:pt x="2616" y="690"/>
                  </a:lnTo>
                  <a:lnTo>
                    <a:pt x="2616" y="696"/>
                  </a:lnTo>
                  <a:lnTo>
                    <a:pt x="2622" y="696"/>
                  </a:lnTo>
                  <a:lnTo>
                    <a:pt x="2646" y="708"/>
                  </a:lnTo>
                  <a:lnTo>
                    <a:pt x="2658" y="708"/>
                  </a:lnTo>
                  <a:lnTo>
                    <a:pt x="2676" y="726"/>
                  </a:lnTo>
                  <a:lnTo>
                    <a:pt x="2682" y="738"/>
                  </a:lnTo>
                  <a:lnTo>
                    <a:pt x="2688" y="744"/>
                  </a:lnTo>
                  <a:lnTo>
                    <a:pt x="2682" y="750"/>
                  </a:lnTo>
                  <a:lnTo>
                    <a:pt x="2676" y="762"/>
                  </a:lnTo>
                  <a:lnTo>
                    <a:pt x="2676" y="774"/>
                  </a:lnTo>
                  <a:lnTo>
                    <a:pt x="2670" y="780"/>
                  </a:lnTo>
                  <a:lnTo>
                    <a:pt x="2676" y="792"/>
                  </a:lnTo>
                  <a:lnTo>
                    <a:pt x="2682" y="798"/>
                  </a:lnTo>
                  <a:lnTo>
                    <a:pt x="2694" y="792"/>
                  </a:lnTo>
                  <a:lnTo>
                    <a:pt x="2706" y="780"/>
                  </a:lnTo>
                  <a:lnTo>
                    <a:pt x="2712" y="768"/>
                  </a:lnTo>
                  <a:lnTo>
                    <a:pt x="2718" y="762"/>
                  </a:lnTo>
                  <a:lnTo>
                    <a:pt x="2718" y="750"/>
                  </a:lnTo>
                  <a:lnTo>
                    <a:pt x="2724" y="744"/>
                  </a:lnTo>
                  <a:lnTo>
                    <a:pt x="2736" y="720"/>
                  </a:lnTo>
                  <a:lnTo>
                    <a:pt x="2742" y="714"/>
                  </a:lnTo>
                  <a:lnTo>
                    <a:pt x="2748" y="702"/>
                  </a:lnTo>
                  <a:lnTo>
                    <a:pt x="2748" y="744"/>
                  </a:lnTo>
                  <a:lnTo>
                    <a:pt x="2754" y="750"/>
                  </a:lnTo>
                  <a:lnTo>
                    <a:pt x="2766" y="756"/>
                  </a:lnTo>
                  <a:lnTo>
                    <a:pt x="2772" y="768"/>
                  </a:lnTo>
                  <a:lnTo>
                    <a:pt x="2784" y="774"/>
                  </a:lnTo>
                  <a:lnTo>
                    <a:pt x="2790" y="780"/>
                  </a:lnTo>
                  <a:lnTo>
                    <a:pt x="2814" y="780"/>
                  </a:lnTo>
                  <a:lnTo>
                    <a:pt x="2820" y="774"/>
                  </a:lnTo>
                  <a:lnTo>
                    <a:pt x="2826" y="774"/>
                  </a:lnTo>
                  <a:lnTo>
                    <a:pt x="2814" y="792"/>
                  </a:lnTo>
                  <a:lnTo>
                    <a:pt x="2844" y="822"/>
                  </a:lnTo>
                  <a:lnTo>
                    <a:pt x="2904" y="822"/>
                  </a:lnTo>
                  <a:lnTo>
                    <a:pt x="2940" y="846"/>
                  </a:lnTo>
                  <a:lnTo>
                    <a:pt x="2976" y="864"/>
                  </a:lnTo>
                  <a:lnTo>
                    <a:pt x="3006" y="876"/>
                  </a:lnTo>
                  <a:lnTo>
                    <a:pt x="3036" y="894"/>
                  </a:lnTo>
                  <a:lnTo>
                    <a:pt x="3066" y="924"/>
                  </a:lnTo>
                  <a:lnTo>
                    <a:pt x="3066" y="972"/>
                  </a:lnTo>
                  <a:lnTo>
                    <a:pt x="3090" y="996"/>
                  </a:lnTo>
                  <a:lnTo>
                    <a:pt x="3102" y="1002"/>
                  </a:lnTo>
                  <a:lnTo>
                    <a:pt x="3096" y="1002"/>
                  </a:lnTo>
                  <a:lnTo>
                    <a:pt x="3084" y="1008"/>
                  </a:lnTo>
                  <a:lnTo>
                    <a:pt x="3078" y="1014"/>
                  </a:lnTo>
                  <a:lnTo>
                    <a:pt x="3078" y="1020"/>
                  </a:lnTo>
                  <a:lnTo>
                    <a:pt x="3090" y="1032"/>
                  </a:lnTo>
                  <a:lnTo>
                    <a:pt x="3114" y="1032"/>
                  </a:lnTo>
                  <a:lnTo>
                    <a:pt x="3090" y="1044"/>
                  </a:lnTo>
                  <a:lnTo>
                    <a:pt x="3090" y="1056"/>
                  </a:lnTo>
                  <a:lnTo>
                    <a:pt x="3102" y="1062"/>
                  </a:lnTo>
                  <a:lnTo>
                    <a:pt x="3108" y="1092"/>
                  </a:lnTo>
                  <a:lnTo>
                    <a:pt x="3096" y="1122"/>
                  </a:lnTo>
                  <a:lnTo>
                    <a:pt x="3120" y="1122"/>
                  </a:lnTo>
                  <a:lnTo>
                    <a:pt x="3126" y="1116"/>
                  </a:lnTo>
                  <a:lnTo>
                    <a:pt x="3138" y="1116"/>
                  </a:lnTo>
                  <a:lnTo>
                    <a:pt x="3150" y="1110"/>
                  </a:lnTo>
                  <a:lnTo>
                    <a:pt x="3162" y="1110"/>
                  </a:lnTo>
                  <a:lnTo>
                    <a:pt x="3168" y="1104"/>
                  </a:lnTo>
                  <a:lnTo>
                    <a:pt x="3174" y="1104"/>
                  </a:lnTo>
                  <a:lnTo>
                    <a:pt x="3174" y="1134"/>
                  </a:lnTo>
                  <a:lnTo>
                    <a:pt x="3234" y="1194"/>
                  </a:lnTo>
                  <a:lnTo>
                    <a:pt x="3240" y="1194"/>
                  </a:lnTo>
                  <a:lnTo>
                    <a:pt x="3240" y="1146"/>
                  </a:lnTo>
                  <a:lnTo>
                    <a:pt x="3234" y="1122"/>
                  </a:lnTo>
                  <a:lnTo>
                    <a:pt x="3234" y="1116"/>
                  </a:lnTo>
                  <a:lnTo>
                    <a:pt x="3240" y="1110"/>
                  </a:lnTo>
                  <a:lnTo>
                    <a:pt x="3240" y="1098"/>
                  </a:lnTo>
                  <a:lnTo>
                    <a:pt x="3246" y="1086"/>
                  </a:lnTo>
                  <a:lnTo>
                    <a:pt x="3246" y="1062"/>
                  </a:lnTo>
                  <a:lnTo>
                    <a:pt x="3252" y="1050"/>
                  </a:lnTo>
                  <a:lnTo>
                    <a:pt x="3252" y="1020"/>
                  </a:lnTo>
                  <a:lnTo>
                    <a:pt x="3240" y="1020"/>
                  </a:lnTo>
                  <a:lnTo>
                    <a:pt x="3228" y="1014"/>
                  </a:lnTo>
                  <a:lnTo>
                    <a:pt x="3222" y="1008"/>
                  </a:lnTo>
                  <a:lnTo>
                    <a:pt x="3222" y="1002"/>
                  </a:lnTo>
                  <a:lnTo>
                    <a:pt x="3234" y="990"/>
                  </a:lnTo>
                  <a:lnTo>
                    <a:pt x="3246" y="984"/>
                  </a:lnTo>
                  <a:lnTo>
                    <a:pt x="3252" y="978"/>
                  </a:lnTo>
                  <a:lnTo>
                    <a:pt x="3252" y="864"/>
                  </a:lnTo>
                  <a:lnTo>
                    <a:pt x="3258" y="846"/>
                  </a:lnTo>
                  <a:lnTo>
                    <a:pt x="3258" y="708"/>
                  </a:lnTo>
                  <a:lnTo>
                    <a:pt x="3264" y="678"/>
                  </a:lnTo>
                  <a:close/>
                  <a:moveTo>
                    <a:pt x="336" y="666"/>
                  </a:moveTo>
                  <a:lnTo>
                    <a:pt x="330" y="672"/>
                  </a:lnTo>
                  <a:lnTo>
                    <a:pt x="354" y="696"/>
                  </a:lnTo>
                  <a:lnTo>
                    <a:pt x="360" y="708"/>
                  </a:lnTo>
                  <a:lnTo>
                    <a:pt x="366" y="714"/>
                  </a:lnTo>
                  <a:lnTo>
                    <a:pt x="378" y="714"/>
                  </a:lnTo>
                  <a:lnTo>
                    <a:pt x="378" y="696"/>
                  </a:lnTo>
                  <a:lnTo>
                    <a:pt x="366" y="690"/>
                  </a:lnTo>
                  <a:lnTo>
                    <a:pt x="360" y="678"/>
                  </a:lnTo>
                  <a:lnTo>
                    <a:pt x="348" y="672"/>
                  </a:lnTo>
                  <a:lnTo>
                    <a:pt x="342" y="666"/>
                  </a:lnTo>
                  <a:lnTo>
                    <a:pt x="336" y="666"/>
                  </a:lnTo>
                  <a:close/>
                  <a:moveTo>
                    <a:pt x="2526" y="1104"/>
                  </a:moveTo>
                  <a:lnTo>
                    <a:pt x="2544" y="1116"/>
                  </a:lnTo>
                  <a:lnTo>
                    <a:pt x="2574" y="1092"/>
                  </a:lnTo>
                  <a:lnTo>
                    <a:pt x="2592" y="1092"/>
                  </a:lnTo>
                  <a:lnTo>
                    <a:pt x="2604" y="1080"/>
                  </a:lnTo>
                  <a:lnTo>
                    <a:pt x="2604" y="1062"/>
                  </a:lnTo>
                  <a:lnTo>
                    <a:pt x="2592" y="1056"/>
                  </a:lnTo>
                  <a:lnTo>
                    <a:pt x="2586" y="1056"/>
                  </a:lnTo>
                  <a:lnTo>
                    <a:pt x="2574" y="1062"/>
                  </a:lnTo>
                  <a:lnTo>
                    <a:pt x="2556" y="1068"/>
                  </a:lnTo>
                  <a:lnTo>
                    <a:pt x="2526" y="1098"/>
                  </a:lnTo>
                  <a:lnTo>
                    <a:pt x="2526" y="1104"/>
                  </a:lnTo>
                  <a:close/>
                  <a:moveTo>
                    <a:pt x="3096" y="1068"/>
                  </a:moveTo>
                  <a:lnTo>
                    <a:pt x="3090" y="1068"/>
                  </a:lnTo>
                  <a:lnTo>
                    <a:pt x="3090" y="1062"/>
                  </a:lnTo>
                  <a:lnTo>
                    <a:pt x="3084" y="1062"/>
                  </a:lnTo>
                  <a:lnTo>
                    <a:pt x="3078" y="1056"/>
                  </a:lnTo>
                  <a:lnTo>
                    <a:pt x="3066" y="1056"/>
                  </a:lnTo>
                  <a:lnTo>
                    <a:pt x="3048" y="1062"/>
                  </a:lnTo>
                  <a:lnTo>
                    <a:pt x="3024" y="1086"/>
                  </a:lnTo>
                  <a:lnTo>
                    <a:pt x="3012" y="1122"/>
                  </a:lnTo>
                  <a:lnTo>
                    <a:pt x="3012" y="1134"/>
                  </a:lnTo>
                  <a:lnTo>
                    <a:pt x="3072" y="1128"/>
                  </a:lnTo>
                  <a:lnTo>
                    <a:pt x="3084" y="1128"/>
                  </a:lnTo>
                  <a:lnTo>
                    <a:pt x="3090" y="1122"/>
                  </a:lnTo>
                  <a:lnTo>
                    <a:pt x="3102" y="1092"/>
                  </a:lnTo>
                  <a:lnTo>
                    <a:pt x="3096" y="1068"/>
                  </a:lnTo>
                  <a:close/>
                  <a:moveTo>
                    <a:pt x="2778" y="942"/>
                  </a:moveTo>
                  <a:lnTo>
                    <a:pt x="2766" y="960"/>
                  </a:lnTo>
                  <a:lnTo>
                    <a:pt x="2766" y="1014"/>
                  </a:lnTo>
                  <a:lnTo>
                    <a:pt x="2784" y="1014"/>
                  </a:lnTo>
                  <a:lnTo>
                    <a:pt x="2778" y="996"/>
                  </a:lnTo>
                  <a:lnTo>
                    <a:pt x="2790" y="990"/>
                  </a:lnTo>
                  <a:lnTo>
                    <a:pt x="2790" y="972"/>
                  </a:lnTo>
                  <a:lnTo>
                    <a:pt x="2778" y="972"/>
                  </a:lnTo>
                  <a:lnTo>
                    <a:pt x="2796" y="936"/>
                  </a:lnTo>
                  <a:lnTo>
                    <a:pt x="2814" y="906"/>
                  </a:lnTo>
                  <a:lnTo>
                    <a:pt x="2784" y="912"/>
                  </a:lnTo>
                  <a:lnTo>
                    <a:pt x="2778" y="942"/>
                  </a:lnTo>
                  <a:close/>
                  <a:moveTo>
                    <a:pt x="2136" y="600"/>
                  </a:moveTo>
                  <a:lnTo>
                    <a:pt x="2124" y="594"/>
                  </a:lnTo>
                  <a:lnTo>
                    <a:pt x="2118" y="594"/>
                  </a:lnTo>
                  <a:lnTo>
                    <a:pt x="2106" y="588"/>
                  </a:lnTo>
                  <a:lnTo>
                    <a:pt x="2088" y="588"/>
                  </a:lnTo>
                  <a:lnTo>
                    <a:pt x="2082" y="594"/>
                  </a:lnTo>
                  <a:lnTo>
                    <a:pt x="2082" y="600"/>
                  </a:lnTo>
                  <a:lnTo>
                    <a:pt x="2076" y="606"/>
                  </a:lnTo>
                  <a:lnTo>
                    <a:pt x="2082" y="612"/>
                  </a:lnTo>
                  <a:lnTo>
                    <a:pt x="2094" y="618"/>
                  </a:lnTo>
                  <a:lnTo>
                    <a:pt x="2136" y="618"/>
                  </a:lnTo>
                  <a:lnTo>
                    <a:pt x="2214" y="606"/>
                  </a:lnTo>
                  <a:lnTo>
                    <a:pt x="2136" y="600"/>
                  </a:lnTo>
                  <a:close/>
                  <a:moveTo>
                    <a:pt x="1308" y="1038"/>
                  </a:moveTo>
                  <a:lnTo>
                    <a:pt x="1368" y="1002"/>
                  </a:lnTo>
                  <a:lnTo>
                    <a:pt x="1362" y="990"/>
                  </a:lnTo>
                  <a:lnTo>
                    <a:pt x="1350" y="990"/>
                  </a:lnTo>
                  <a:lnTo>
                    <a:pt x="1332" y="996"/>
                  </a:lnTo>
                  <a:lnTo>
                    <a:pt x="1320" y="996"/>
                  </a:lnTo>
                  <a:lnTo>
                    <a:pt x="1302" y="1002"/>
                  </a:lnTo>
                  <a:lnTo>
                    <a:pt x="1290" y="1008"/>
                  </a:lnTo>
                  <a:lnTo>
                    <a:pt x="1284" y="1014"/>
                  </a:lnTo>
                  <a:lnTo>
                    <a:pt x="1284" y="1032"/>
                  </a:lnTo>
                  <a:lnTo>
                    <a:pt x="1290" y="1038"/>
                  </a:lnTo>
                  <a:lnTo>
                    <a:pt x="1308" y="1038"/>
                  </a:lnTo>
                  <a:close/>
                  <a:moveTo>
                    <a:pt x="1428" y="1116"/>
                  </a:moveTo>
                  <a:lnTo>
                    <a:pt x="1392" y="1116"/>
                  </a:lnTo>
                  <a:lnTo>
                    <a:pt x="1386" y="1146"/>
                  </a:lnTo>
                  <a:lnTo>
                    <a:pt x="1386" y="1152"/>
                  </a:lnTo>
                  <a:lnTo>
                    <a:pt x="1404" y="1170"/>
                  </a:lnTo>
                  <a:lnTo>
                    <a:pt x="1416" y="1176"/>
                  </a:lnTo>
                  <a:lnTo>
                    <a:pt x="1428" y="1164"/>
                  </a:lnTo>
                  <a:lnTo>
                    <a:pt x="1440" y="1140"/>
                  </a:lnTo>
                  <a:lnTo>
                    <a:pt x="1440" y="1128"/>
                  </a:lnTo>
                  <a:lnTo>
                    <a:pt x="1428" y="1116"/>
                  </a:lnTo>
                  <a:close/>
                  <a:moveTo>
                    <a:pt x="708" y="930"/>
                  </a:moveTo>
                  <a:lnTo>
                    <a:pt x="714" y="924"/>
                  </a:lnTo>
                  <a:lnTo>
                    <a:pt x="714" y="900"/>
                  </a:lnTo>
                  <a:lnTo>
                    <a:pt x="744" y="924"/>
                  </a:lnTo>
                  <a:lnTo>
                    <a:pt x="744" y="918"/>
                  </a:lnTo>
                  <a:lnTo>
                    <a:pt x="750" y="912"/>
                  </a:lnTo>
                  <a:lnTo>
                    <a:pt x="750" y="900"/>
                  </a:lnTo>
                  <a:lnTo>
                    <a:pt x="756" y="882"/>
                  </a:lnTo>
                  <a:lnTo>
                    <a:pt x="756" y="840"/>
                  </a:lnTo>
                  <a:lnTo>
                    <a:pt x="762" y="822"/>
                  </a:lnTo>
                  <a:lnTo>
                    <a:pt x="762" y="810"/>
                  </a:lnTo>
                  <a:lnTo>
                    <a:pt x="768" y="792"/>
                  </a:lnTo>
                  <a:lnTo>
                    <a:pt x="768" y="780"/>
                  </a:lnTo>
                  <a:lnTo>
                    <a:pt x="762" y="774"/>
                  </a:lnTo>
                  <a:lnTo>
                    <a:pt x="756" y="762"/>
                  </a:lnTo>
                  <a:lnTo>
                    <a:pt x="756" y="750"/>
                  </a:lnTo>
                  <a:lnTo>
                    <a:pt x="768" y="726"/>
                  </a:lnTo>
                  <a:lnTo>
                    <a:pt x="774" y="720"/>
                  </a:lnTo>
                  <a:lnTo>
                    <a:pt x="774" y="714"/>
                  </a:lnTo>
                  <a:lnTo>
                    <a:pt x="756" y="696"/>
                  </a:lnTo>
                  <a:lnTo>
                    <a:pt x="744" y="654"/>
                  </a:lnTo>
                  <a:lnTo>
                    <a:pt x="702" y="654"/>
                  </a:lnTo>
                  <a:lnTo>
                    <a:pt x="702" y="618"/>
                  </a:lnTo>
                  <a:lnTo>
                    <a:pt x="666" y="618"/>
                  </a:lnTo>
                  <a:lnTo>
                    <a:pt x="660" y="546"/>
                  </a:lnTo>
                  <a:lnTo>
                    <a:pt x="606" y="546"/>
                  </a:lnTo>
                  <a:lnTo>
                    <a:pt x="594" y="534"/>
                  </a:lnTo>
                  <a:lnTo>
                    <a:pt x="594" y="504"/>
                  </a:lnTo>
                  <a:lnTo>
                    <a:pt x="600" y="498"/>
                  </a:lnTo>
                  <a:lnTo>
                    <a:pt x="606" y="486"/>
                  </a:lnTo>
                  <a:lnTo>
                    <a:pt x="582" y="486"/>
                  </a:lnTo>
                  <a:lnTo>
                    <a:pt x="600" y="468"/>
                  </a:lnTo>
                  <a:lnTo>
                    <a:pt x="606" y="456"/>
                  </a:lnTo>
                  <a:lnTo>
                    <a:pt x="612" y="450"/>
                  </a:lnTo>
                  <a:lnTo>
                    <a:pt x="612" y="438"/>
                  </a:lnTo>
                  <a:lnTo>
                    <a:pt x="600" y="426"/>
                  </a:lnTo>
                  <a:lnTo>
                    <a:pt x="588" y="432"/>
                  </a:lnTo>
                  <a:lnTo>
                    <a:pt x="570" y="432"/>
                  </a:lnTo>
                  <a:lnTo>
                    <a:pt x="552" y="438"/>
                  </a:lnTo>
                  <a:lnTo>
                    <a:pt x="540" y="438"/>
                  </a:lnTo>
                  <a:lnTo>
                    <a:pt x="534" y="444"/>
                  </a:lnTo>
                  <a:lnTo>
                    <a:pt x="528" y="444"/>
                  </a:lnTo>
                  <a:lnTo>
                    <a:pt x="534" y="438"/>
                  </a:lnTo>
                  <a:lnTo>
                    <a:pt x="546" y="432"/>
                  </a:lnTo>
                  <a:lnTo>
                    <a:pt x="552" y="420"/>
                  </a:lnTo>
                  <a:lnTo>
                    <a:pt x="558" y="414"/>
                  </a:lnTo>
                  <a:lnTo>
                    <a:pt x="558" y="402"/>
                  </a:lnTo>
                  <a:lnTo>
                    <a:pt x="546" y="396"/>
                  </a:lnTo>
                  <a:lnTo>
                    <a:pt x="534" y="396"/>
                  </a:lnTo>
                  <a:lnTo>
                    <a:pt x="522" y="390"/>
                  </a:lnTo>
                  <a:lnTo>
                    <a:pt x="510" y="390"/>
                  </a:lnTo>
                  <a:lnTo>
                    <a:pt x="516" y="384"/>
                  </a:lnTo>
                  <a:lnTo>
                    <a:pt x="516" y="378"/>
                  </a:lnTo>
                  <a:lnTo>
                    <a:pt x="504" y="354"/>
                  </a:lnTo>
                  <a:lnTo>
                    <a:pt x="492" y="342"/>
                  </a:lnTo>
                  <a:lnTo>
                    <a:pt x="480" y="336"/>
                  </a:lnTo>
                  <a:lnTo>
                    <a:pt x="462" y="330"/>
                  </a:lnTo>
                  <a:lnTo>
                    <a:pt x="456" y="324"/>
                  </a:lnTo>
                  <a:lnTo>
                    <a:pt x="450" y="324"/>
                  </a:lnTo>
                  <a:lnTo>
                    <a:pt x="450" y="318"/>
                  </a:lnTo>
                  <a:lnTo>
                    <a:pt x="444" y="312"/>
                  </a:lnTo>
                  <a:lnTo>
                    <a:pt x="438" y="300"/>
                  </a:lnTo>
                  <a:lnTo>
                    <a:pt x="438" y="288"/>
                  </a:lnTo>
                  <a:lnTo>
                    <a:pt x="426" y="276"/>
                  </a:lnTo>
                  <a:lnTo>
                    <a:pt x="414" y="276"/>
                  </a:lnTo>
                  <a:lnTo>
                    <a:pt x="408" y="282"/>
                  </a:lnTo>
                  <a:lnTo>
                    <a:pt x="414" y="306"/>
                  </a:lnTo>
                  <a:lnTo>
                    <a:pt x="408" y="300"/>
                  </a:lnTo>
                  <a:lnTo>
                    <a:pt x="396" y="294"/>
                  </a:lnTo>
                  <a:lnTo>
                    <a:pt x="360" y="258"/>
                  </a:lnTo>
                  <a:lnTo>
                    <a:pt x="360" y="246"/>
                  </a:lnTo>
                  <a:lnTo>
                    <a:pt x="354" y="240"/>
                  </a:lnTo>
                  <a:lnTo>
                    <a:pt x="348" y="228"/>
                  </a:lnTo>
                  <a:lnTo>
                    <a:pt x="342" y="222"/>
                  </a:lnTo>
                  <a:lnTo>
                    <a:pt x="342" y="216"/>
                  </a:lnTo>
                  <a:lnTo>
                    <a:pt x="330" y="210"/>
                  </a:lnTo>
                  <a:lnTo>
                    <a:pt x="312" y="192"/>
                  </a:lnTo>
                  <a:lnTo>
                    <a:pt x="294" y="186"/>
                  </a:lnTo>
                  <a:lnTo>
                    <a:pt x="288" y="174"/>
                  </a:lnTo>
                  <a:lnTo>
                    <a:pt x="276" y="168"/>
                  </a:lnTo>
                  <a:lnTo>
                    <a:pt x="264" y="156"/>
                  </a:lnTo>
                  <a:lnTo>
                    <a:pt x="252" y="150"/>
                  </a:lnTo>
                  <a:lnTo>
                    <a:pt x="240" y="138"/>
                  </a:lnTo>
                  <a:lnTo>
                    <a:pt x="234" y="126"/>
                  </a:lnTo>
                  <a:lnTo>
                    <a:pt x="222" y="120"/>
                  </a:lnTo>
                  <a:lnTo>
                    <a:pt x="222" y="102"/>
                  </a:lnTo>
                  <a:lnTo>
                    <a:pt x="204" y="84"/>
                  </a:lnTo>
                  <a:lnTo>
                    <a:pt x="198" y="72"/>
                  </a:lnTo>
                  <a:lnTo>
                    <a:pt x="168" y="42"/>
                  </a:lnTo>
                  <a:lnTo>
                    <a:pt x="150" y="42"/>
                  </a:lnTo>
                  <a:lnTo>
                    <a:pt x="66" y="36"/>
                  </a:lnTo>
                  <a:lnTo>
                    <a:pt x="42" y="12"/>
                  </a:lnTo>
                  <a:lnTo>
                    <a:pt x="30" y="6"/>
                  </a:lnTo>
                  <a:lnTo>
                    <a:pt x="24" y="0"/>
                  </a:lnTo>
                  <a:lnTo>
                    <a:pt x="18" y="0"/>
                  </a:lnTo>
                  <a:lnTo>
                    <a:pt x="6" y="6"/>
                  </a:lnTo>
                  <a:lnTo>
                    <a:pt x="0" y="18"/>
                  </a:lnTo>
                  <a:lnTo>
                    <a:pt x="0" y="48"/>
                  </a:lnTo>
                  <a:lnTo>
                    <a:pt x="6" y="60"/>
                  </a:lnTo>
                  <a:lnTo>
                    <a:pt x="18" y="78"/>
                  </a:lnTo>
                  <a:lnTo>
                    <a:pt x="66" y="126"/>
                  </a:lnTo>
                  <a:lnTo>
                    <a:pt x="96" y="150"/>
                  </a:lnTo>
                  <a:lnTo>
                    <a:pt x="126" y="180"/>
                  </a:lnTo>
                  <a:lnTo>
                    <a:pt x="162" y="234"/>
                  </a:lnTo>
                  <a:lnTo>
                    <a:pt x="174" y="228"/>
                  </a:lnTo>
                  <a:lnTo>
                    <a:pt x="174" y="252"/>
                  </a:lnTo>
                  <a:lnTo>
                    <a:pt x="180" y="264"/>
                  </a:lnTo>
                  <a:lnTo>
                    <a:pt x="186" y="270"/>
                  </a:lnTo>
                  <a:lnTo>
                    <a:pt x="198" y="276"/>
                  </a:lnTo>
                  <a:lnTo>
                    <a:pt x="216" y="288"/>
                  </a:lnTo>
                  <a:lnTo>
                    <a:pt x="228" y="300"/>
                  </a:lnTo>
                  <a:lnTo>
                    <a:pt x="246" y="312"/>
                  </a:lnTo>
                  <a:lnTo>
                    <a:pt x="258" y="324"/>
                  </a:lnTo>
                  <a:lnTo>
                    <a:pt x="264" y="336"/>
                  </a:lnTo>
                  <a:lnTo>
                    <a:pt x="276" y="372"/>
                  </a:lnTo>
                  <a:lnTo>
                    <a:pt x="276" y="384"/>
                  </a:lnTo>
                  <a:lnTo>
                    <a:pt x="282" y="390"/>
                  </a:lnTo>
                  <a:lnTo>
                    <a:pt x="282" y="426"/>
                  </a:lnTo>
                  <a:lnTo>
                    <a:pt x="288" y="438"/>
                  </a:lnTo>
                  <a:lnTo>
                    <a:pt x="288" y="444"/>
                  </a:lnTo>
                  <a:lnTo>
                    <a:pt x="294" y="450"/>
                  </a:lnTo>
                  <a:lnTo>
                    <a:pt x="300" y="450"/>
                  </a:lnTo>
                  <a:lnTo>
                    <a:pt x="312" y="444"/>
                  </a:lnTo>
                  <a:lnTo>
                    <a:pt x="324" y="444"/>
                  </a:lnTo>
                  <a:lnTo>
                    <a:pt x="324" y="450"/>
                  </a:lnTo>
                  <a:lnTo>
                    <a:pt x="330" y="462"/>
                  </a:lnTo>
                  <a:lnTo>
                    <a:pt x="330" y="474"/>
                  </a:lnTo>
                  <a:lnTo>
                    <a:pt x="336" y="480"/>
                  </a:lnTo>
                  <a:lnTo>
                    <a:pt x="336" y="486"/>
                  </a:lnTo>
                  <a:lnTo>
                    <a:pt x="378" y="522"/>
                  </a:lnTo>
                  <a:lnTo>
                    <a:pt x="372" y="546"/>
                  </a:lnTo>
                  <a:lnTo>
                    <a:pt x="408" y="606"/>
                  </a:lnTo>
                  <a:lnTo>
                    <a:pt x="402" y="618"/>
                  </a:lnTo>
                  <a:lnTo>
                    <a:pt x="402" y="636"/>
                  </a:lnTo>
                  <a:lnTo>
                    <a:pt x="408" y="648"/>
                  </a:lnTo>
                  <a:lnTo>
                    <a:pt x="438" y="678"/>
                  </a:lnTo>
                  <a:lnTo>
                    <a:pt x="438" y="684"/>
                  </a:lnTo>
                  <a:lnTo>
                    <a:pt x="444" y="690"/>
                  </a:lnTo>
                  <a:lnTo>
                    <a:pt x="462" y="726"/>
                  </a:lnTo>
                  <a:lnTo>
                    <a:pt x="498" y="744"/>
                  </a:lnTo>
                  <a:lnTo>
                    <a:pt x="504" y="750"/>
                  </a:lnTo>
                  <a:lnTo>
                    <a:pt x="510" y="750"/>
                  </a:lnTo>
                  <a:lnTo>
                    <a:pt x="510" y="786"/>
                  </a:lnTo>
                  <a:lnTo>
                    <a:pt x="522" y="792"/>
                  </a:lnTo>
                  <a:lnTo>
                    <a:pt x="528" y="804"/>
                  </a:lnTo>
                  <a:lnTo>
                    <a:pt x="540" y="810"/>
                  </a:lnTo>
                  <a:lnTo>
                    <a:pt x="564" y="834"/>
                  </a:lnTo>
                  <a:lnTo>
                    <a:pt x="576" y="840"/>
                  </a:lnTo>
                  <a:lnTo>
                    <a:pt x="594" y="858"/>
                  </a:lnTo>
                  <a:lnTo>
                    <a:pt x="600" y="858"/>
                  </a:lnTo>
                  <a:lnTo>
                    <a:pt x="606" y="864"/>
                  </a:lnTo>
                  <a:lnTo>
                    <a:pt x="612" y="864"/>
                  </a:lnTo>
                  <a:lnTo>
                    <a:pt x="612" y="870"/>
                  </a:lnTo>
                  <a:lnTo>
                    <a:pt x="618" y="876"/>
                  </a:lnTo>
                  <a:lnTo>
                    <a:pt x="630" y="900"/>
                  </a:lnTo>
                  <a:lnTo>
                    <a:pt x="642" y="912"/>
                  </a:lnTo>
                  <a:lnTo>
                    <a:pt x="654" y="936"/>
                  </a:lnTo>
                  <a:lnTo>
                    <a:pt x="660" y="942"/>
                  </a:lnTo>
                  <a:lnTo>
                    <a:pt x="660" y="906"/>
                  </a:lnTo>
                  <a:lnTo>
                    <a:pt x="672" y="906"/>
                  </a:lnTo>
                  <a:lnTo>
                    <a:pt x="684" y="918"/>
                  </a:lnTo>
                  <a:lnTo>
                    <a:pt x="696" y="924"/>
                  </a:lnTo>
                  <a:lnTo>
                    <a:pt x="702" y="930"/>
                  </a:lnTo>
                  <a:lnTo>
                    <a:pt x="708" y="930"/>
                  </a:lnTo>
                  <a:close/>
                  <a:moveTo>
                    <a:pt x="2118" y="1194"/>
                  </a:moveTo>
                  <a:lnTo>
                    <a:pt x="2106" y="1176"/>
                  </a:lnTo>
                  <a:lnTo>
                    <a:pt x="2088" y="1176"/>
                  </a:lnTo>
                  <a:lnTo>
                    <a:pt x="2064" y="1200"/>
                  </a:lnTo>
                  <a:lnTo>
                    <a:pt x="2064" y="1212"/>
                  </a:lnTo>
                  <a:lnTo>
                    <a:pt x="2052" y="1212"/>
                  </a:lnTo>
                  <a:lnTo>
                    <a:pt x="2040" y="1218"/>
                  </a:lnTo>
                  <a:lnTo>
                    <a:pt x="2010" y="1248"/>
                  </a:lnTo>
                  <a:lnTo>
                    <a:pt x="1998" y="1272"/>
                  </a:lnTo>
                  <a:lnTo>
                    <a:pt x="1992" y="1278"/>
                  </a:lnTo>
                  <a:lnTo>
                    <a:pt x="1992" y="1290"/>
                  </a:lnTo>
                  <a:lnTo>
                    <a:pt x="2004" y="1302"/>
                  </a:lnTo>
                  <a:lnTo>
                    <a:pt x="2022" y="1302"/>
                  </a:lnTo>
                  <a:lnTo>
                    <a:pt x="2052" y="1284"/>
                  </a:lnTo>
                  <a:lnTo>
                    <a:pt x="2082" y="1260"/>
                  </a:lnTo>
                  <a:lnTo>
                    <a:pt x="2106" y="1242"/>
                  </a:lnTo>
                  <a:lnTo>
                    <a:pt x="2100" y="1236"/>
                  </a:lnTo>
                  <a:lnTo>
                    <a:pt x="2100" y="1224"/>
                  </a:lnTo>
                  <a:lnTo>
                    <a:pt x="2112" y="1200"/>
                  </a:lnTo>
                  <a:lnTo>
                    <a:pt x="2118" y="1194"/>
                  </a:lnTo>
                  <a:close/>
                  <a:moveTo>
                    <a:pt x="1374" y="1128"/>
                  </a:moveTo>
                  <a:lnTo>
                    <a:pt x="1374" y="1116"/>
                  </a:lnTo>
                  <a:lnTo>
                    <a:pt x="1368" y="1110"/>
                  </a:lnTo>
                  <a:lnTo>
                    <a:pt x="1344" y="1098"/>
                  </a:lnTo>
                  <a:lnTo>
                    <a:pt x="1332" y="1098"/>
                  </a:lnTo>
                  <a:lnTo>
                    <a:pt x="1320" y="1092"/>
                  </a:lnTo>
                  <a:lnTo>
                    <a:pt x="1314" y="1092"/>
                  </a:lnTo>
                  <a:lnTo>
                    <a:pt x="1302" y="1098"/>
                  </a:lnTo>
                  <a:lnTo>
                    <a:pt x="1296" y="1104"/>
                  </a:lnTo>
                  <a:lnTo>
                    <a:pt x="1296" y="1116"/>
                  </a:lnTo>
                  <a:lnTo>
                    <a:pt x="1290" y="1122"/>
                  </a:lnTo>
                  <a:lnTo>
                    <a:pt x="1290" y="1134"/>
                  </a:lnTo>
                  <a:lnTo>
                    <a:pt x="1254" y="1104"/>
                  </a:lnTo>
                  <a:lnTo>
                    <a:pt x="1260" y="1092"/>
                  </a:lnTo>
                  <a:lnTo>
                    <a:pt x="1260" y="1080"/>
                  </a:lnTo>
                  <a:lnTo>
                    <a:pt x="1266" y="1068"/>
                  </a:lnTo>
                  <a:lnTo>
                    <a:pt x="1266" y="1050"/>
                  </a:lnTo>
                  <a:lnTo>
                    <a:pt x="1260" y="1038"/>
                  </a:lnTo>
                  <a:lnTo>
                    <a:pt x="1254" y="1032"/>
                  </a:lnTo>
                  <a:lnTo>
                    <a:pt x="1242" y="1026"/>
                  </a:lnTo>
                  <a:lnTo>
                    <a:pt x="1188" y="1026"/>
                  </a:lnTo>
                  <a:lnTo>
                    <a:pt x="1158" y="1008"/>
                  </a:lnTo>
                  <a:lnTo>
                    <a:pt x="1158" y="984"/>
                  </a:lnTo>
                  <a:lnTo>
                    <a:pt x="1116" y="984"/>
                  </a:lnTo>
                  <a:lnTo>
                    <a:pt x="1116" y="996"/>
                  </a:lnTo>
                  <a:lnTo>
                    <a:pt x="1110" y="1008"/>
                  </a:lnTo>
                  <a:lnTo>
                    <a:pt x="1110" y="1026"/>
                  </a:lnTo>
                  <a:lnTo>
                    <a:pt x="1086" y="1026"/>
                  </a:lnTo>
                  <a:lnTo>
                    <a:pt x="1074" y="1020"/>
                  </a:lnTo>
                  <a:lnTo>
                    <a:pt x="1056" y="1014"/>
                  </a:lnTo>
                  <a:lnTo>
                    <a:pt x="1044" y="1014"/>
                  </a:lnTo>
                  <a:lnTo>
                    <a:pt x="1032" y="1008"/>
                  </a:lnTo>
                  <a:lnTo>
                    <a:pt x="966" y="1008"/>
                  </a:lnTo>
                  <a:lnTo>
                    <a:pt x="960" y="996"/>
                  </a:lnTo>
                  <a:lnTo>
                    <a:pt x="948" y="990"/>
                  </a:lnTo>
                  <a:lnTo>
                    <a:pt x="942" y="978"/>
                  </a:lnTo>
                  <a:lnTo>
                    <a:pt x="918" y="954"/>
                  </a:lnTo>
                  <a:lnTo>
                    <a:pt x="900" y="954"/>
                  </a:lnTo>
                  <a:lnTo>
                    <a:pt x="888" y="960"/>
                  </a:lnTo>
                  <a:lnTo>
                    <a:pt x="876" y="954"/>
                  </a:lnTo>
                  <a:lnTo>
                    <a:pt x="870" y="948"/>
                  </a:lnTo>
                  <a:lnTo>
                    <a:pt x="858" y="942"/>
                  </a:lnTo>
                  <a:lnTo>
                    <a:pt x="846" y="942"/>
                  </a:lnTo>
                  <a:lnTo>
                    <a:pt x="840" y="936"/>
                  </a:lnTo>
                  <a:lnTo>
                    <a:pt x="822" y="936"/>
                  </a:lnTo>
                  <a:lnTo>
                    <a:pt x="810" y="930"/>
                  </a:lnTo>
                  <a:lnTo>
                    <a:pt x="792" y="930"/>
                  </a:lnTo>
                  <a:lnTo>
                    <a:pt x="786" y="924"/>
                  </a:lnTo>
                  <a:lnTo>
                    <a:pt x="762" y="924"/>
                  </a:lnTo>
                  <a:lnTo>
                    <a:pt x="750" y="930"/>
                  </a:lnTo>
                  <a:lnTo>
                    <a:pt x="738" y="954"/>
                  </a:lnTo>
                  <a:lnTo>
                    <a:pt x="738" y="966"/>
                  </a:lnTo>
                  <a:lnTo>
                    <a:pt x="732" y="978"/>
                  </a:lnTo>
                  <a:lnTo>
                    <a:pt x="720" y="990"/>
                  </a:lnTo>
                  <a:lnTo>
                    <a:pt x="714" y="990"/>
                  </a:lnTo>
                  <a:lnTo>
                    <a:pt x="702" y="1002"/>
                  </a:lnTo>
                  <a:lnTo>
                    <a:pt x="702" y="1014"/>
                  </a:lnTo>
                  <a:lnTo>
                    <a:pt x="738" y="1008"/>
                  </a:lnTo>
                  <a:lnTo>
                    <a:pt x="786" y="1008"/>
                  </a:lnTo>
                  <a:lnTo>
                    <a:pt x="780" y="1014"/>
                  </a:lnTo>
                  <a:lnTo>
                    <a:pt x="768" y="1020"/>
                  </a:lnTo>
                  <a:lnTo>
                    <a:pt x="762" y="1032"/>
                  </a:lnTo>
                  <a:lnTo>
                    <a:pt x="762" y="1044"/>
                  </a:lnTo>
                  <a:lnTo>
                    <a:pt x="774" y="1050"/>
                  </a:lnTo>
                  <a:lnTo>
                    <a:pt x="780" y="1050"/>
                  </a:lnTo>
                  <a:lnTo>
                    <a:pt x="798" y="1044"/>
                  </a:lnTo>
                  <a:lnTo>
                    <a:pt x="810" y="1044"/>
                  </a:lnTo>
                  <a:lnTo>
                    <a:pt x="816" y="1038"/>
                  </a:lnTo>
                  <a:lnTo>
                    <a:pt x="828" y="1032"/>
                  </a:lnTo>
                  <a:lnTo>
                    <a:pt x="840" y="1038"/>
                  </a:lnTo>
                  <a:lnTo>
                    <a:pt x="870" y="1056"/>
                  </a:lnTo>
                  <a:lnTo>
                    <a:pt x="900" y="1068"/>
                  </a:lnTo>
                  <a:lnTo>
                    <a:pt x="924" y="1080"/>
                  </a:lnTo>
                  <a:lnTo>
                    <a:pt x="960" y="1086"/>
                  </a:lnTo>
                  <a:lnTo>
                    <a:pt x="1014" y="1092"/>
                  </a:lnTo>
                  <a:lnTo>
                    <a:pt x="1062" y="1092"/>
                  </a:lnTo>
                  <a:lnTo>
                    <a:pt x="1080" y="1110"/>
                  </a:lnTo>
                  <a:lnTo>
                    <a:pt x="1086" y="1122"/>
                  </a:lnTo>
                  <a:lnTo>
                    <a:pt x="1098" y="1128"/>
                  </a:lnTo>
                  <a:lnTo>
                    <a:pt x="1110" y="1140"/>
                  </a:lnTo>
                  <a:lnTo>
                    <a:pt x="1128" y="1146"/>
                  </a:lnTo>
                  <a:lnTo>
                    <a:pt x="1152" y="1152"/>
                  </a:lnTo>
                  <a:lnTo>
                    <a:pt x="1170" y="1152"/>
                  </a:lnTo>
                  <a:lnTo>
                    <a:pt x="1182" y="1158"/>
                  </a:lnTo>
                  <a:lnTo>
                    <a:pt x="1248" y="1158"/>
                  </a:lnTo>
                  <a:lnTo>
                    <a:pt x="1260" y="1164"/>
                  </a:lnTo>
                  <a:lnTo>
                    <a:pt x="1278" y="1170"/>
                  </a:lnTo>
                  <a:lnTo>
                    <a:pt x="1290" y="1182"/>
                  </a:lnTo>
                  <a:lnTo>
                    <a:pt x="1302" y="1188"/>
                  </a:lnTo>
                  <a:lnTo>
                    <a:pt x="1320" y="1206"/>
                  </a:lnTo>
                  <a:lnTo>
                    <a:pt x="1338" y="1206"/>
                  </a:lnTo>
                  <a:lnTo>
                    <a:pt x="1350" y="1200"/>
                  </a:lnTo>
                  <a:lnTo>
                    <a:pt x="1356" y="1206"/>
                  </a:lnTo>
                  <a:lnTo>
                    <a:pt x="1374" y="1206"/>
                  </a:lnTo>
                  <a:lnTo>
                    <a:pt x="1374" y="1194"/>
                  </a:lnTo>
                  <a:lnTo>
                    <a:pt x="1368" y="1182"/>
                  </a:lnTo>
                  <a:lnTo>
                    <a:pt x="1362" y="1176"/>
                  </a:lnTo>
                  <a:lnTo>
                    <a:pt x="1356" y="1164"/>
                  </a:lnTo>
                  <a:lnTo>
                    <a:pt x="1374" y="1146"/>
                  </a:lnTo>
                  <a:lnTo>
                    <a:pt x="1374" y="1128"/>
                  </a:lnTo>
                  <a:close/>
                  <a:moveTo>
                    <a:pt x="1500" y="726"/>
                  </a:moveTo>
                  <a:lnTo>
                    <a:pt x="1542" y="684"/>
                  </a:lnTo>
                  <a:lnTo>
                    <a:pt x="1548" y="672"/>
                  </a:lnTo>
                  <a:lnTo>
                    <a:pt x="1554" y="654"/>
                  </a:lnTo>
                  <a:lnTo>
                    <a:pt x="1560" y="642"/>
                  </a:lnTo>
                  <a:lnTo>
                    <a:pt x="1566" y="624"/>
                  </a:lnTo>
                  <a:lnTo>
                    <a:pt x="1566" y="612"/>
                  </a:lnTo>
                  <a:lnTo>
                    <a:pt x="1572" y="606"/>
                  </a:lnTo>
                  <a:lnTo>
                    <a:pt x="1572" y="600"/>
                  </a:lnTo>
                  <a:lnTo>
                    <a:pt x="1566" y="600"/>
                  </a:lnTo>
                  <a:lnTo>
                    <a:pt x="1554" y="594"/>
                  </a:lnTo>
                  <a:lnTo>
                    <a:pt x="1542" y="582"/>
                  </a:lnTo>
                  <a:lnTo>
                    <a:pt x="1542" y="564"/>
                  </a:lnTo>
                  <a:lnTo>
                    <a:pt x="1554" y="516"/>
                  </a:lnTo>
                  <a:lnTo>
                    <a:pt x="1590" y="498"/>
                  </a:lnTo>
                  <a:lnTo>
                    <a:pt x="1626" y="498"/>
                  </a:lnTo>
                  <a:lnTo>
                    <a:pt x="1632" y="486"/>
                  </a:lnTo>
                  <a:lnTo>
                    <a:pt x="1638" y="480"/>
                  </a:lnTo>
                  <a:lnTo>
                    <a:pt x="1644" y="468"/>
                  </a:lnTo>
                  <a:lnTo>
                    <a:pt x="1644" y="444"/>
                  </a:lnTo>
                  <a:lnTo>
                    <a:pt x="1626" y="444"/>
                  </a:lnTo>
                  <a:lnTo>
                    <a:pt x="1620" y="450"/>
                  </a:lnTo>
                  <a:lnTo>
                    <a:pt x="1608" y="450"/>
                  </a:lnTo>
                  <a:lnTo>
                    <a:pt x="1608" y="438"/>
                  </a:lnTo>
                  <a:lnTo>
                    <a:pt x="1614" y="420"/>
                  </a:lnTo>
                  <a:lnTo>
                    <a:pt x="1626" y="408"/>
                  </a:lnTo>
                  <a:lnTo>
                    <a:pt x="1650" y="396"/>
                  </a:lnTo>
                  <a:lnTo>
                    <a:pt x="1662" y="396"/>
                  </a:lnTo>
                  <a:lnTo>
                    <a:pt x="1680" y="402"/>
                  </a:lnTo>
                  <a:lnTo>
                    <a:pt x="1704" y="402"/>
                  </a:lnTo>
                  <a:lnTo>
                    <a:pt x="1716" y="390"/>
                  </a:lnTo>
                  <a:lnTo>
                    <a:pt x="1716" y="384"/>
                  </a:lnTo>
                  <a:lnTo>
                    <a:pt x="1680" y="348"/>
                  </a:lnTo>
                  <a:lnTo>
                    <a:pt x="1680" y="312"/>
                  </a:lnTo>
                  <a:lnTo>
                    <a:pt x="1668" y="312"/>
                  </a:lnTo>
                  <a:lnTo>
                    <a:pt x="1650" y="294"/>
                  </a:lnTo>
                  <a:lnTo>
                    <a:pt x="1650" y="282"/>
                  </a:lnTo>
                  <a:lnTo>
                    <a:pt x="1662" y="270"/>
                  </a:lnTo>
                  <a:lnTo>
                    <a:pt x="1668" y="258"/>
                  </a:lnTo>
                  <a:lnTo>
                    <a:pt x="1668" y="246"/>
                  </a:lnTo>
                  <a:lnTo>
                    <a:pt x="1662" y="240"/>
                  </a:lnTo>
                  <a:lnTo>
                    <a:pt x="1638" y="228"/>
                  </a:lnTo>
                  <a:lnTo>
                    <a:pt x="1614" y="228"/>
                  </a:lnTo>
                  <a:lnTo>
                    <a:pt x="1632" y="198"/>
                  </a:lnTo>
                  <a:lnTo>
                    <a:pt x="1614" y="192"/>
                  </a:lnTo>
                  <a:lnTo>
                    <a:pt x="1620" y="162"/>
                  </a:lnTo>
                  <a:lnTo>
                    <a:pt x="1608" y="144"/>
                  </a:lnTo>
                  <a:lnTo>
                    <a:pt x="1602" y="138"/>
                  </a:lnTo>
                  <a:lnTo>
                    <a:pt x="1590" y="132"/>
                  </a:lnTo>
                  <a:lnTo>
                    <a:pt x="1566" y="108"/>
                  </a:lnTo>
                  <a:lnTo>
                    <a:pt x="1470" y="108"/>
                  </a:lnTo>
                  <a:lnTo>
                    <a:pt x="1464" y="114"/>
                  </a:lnTo>
                  <a:lnTo>
                    <a:pt x="1458" y="126"/>
                  </a:lnTo>
                  <a:lnTo>
                    <a:pt x="1458" y="180"/>
                  </a:lnTo>
                  <a:lnTo>
                    <a:pt x="1452" y="198"/>
                  </a:lnTo>
                  <a:lnTo>
                    <a:pt x="1452" y="204"/>
                  </a:lnTo>
                  <a:lnTo>
                    <a:pt x="1446" y="216"/>
                  </a:lnTo>
                  <a:lnTo>
                    <a:pt x="1428" y="216"/>
                  </a:lnTo>
                  <a:lnTo>
                    <a:pt x="1422" y="222"/>
                  </a:lnTo>
                  <a:lnTo>
                    <a:pt x="1422" y="246"/>
                  </a:lnTo>
                  <a:lnTo>
                    <a:pt x="1428" y="252"/>
                  </a:lnTo>
                  <a:lnTo>
                    <a:pt x="1434" y="264"/>
                  </a:lnTo>
                  <a:lnTo>
                    <a:pt x="1398" y="294"/>
                  </a:lnTo>
                  <a:lnTo>
                    <a:pt x="1404" y="306"/>
                  </a:lnTo>
                  <a:lnTo>
                    <a:pt x="1374" y="342"/>
                  </a:lnTo>
                  <a:lnTo>
                    <a:pt x="1350" y="342"/>
                  </a:lnTo>
                  <a:lnTo>
                    <a:pt x="1344" y="348"/>
                  </a:lnTo>
                  <a:lnTo>
                    <a:pt x="1332" y="354"/>
                  </a:lnTo>
                  <a:lnTo>
                    <a:pt x="1320" y="366"/>
                  </a:lnTo>
                  <a:lnTo>
                    <a:pt x="1314" y="366"/>
                  </a:lnTo>
                  <a:lnTo>
                    <a:pt x="1308" y="360"/>
                  </a:lnTo>
                  <a:lnTo>
                    <a:pt x="1284" y="348"/>
                  </a:lnTo>
                  <a:lnTo>
                    <a:pt x="1272" y="336"/>
                  </a:lnTo>
                  <a:lnTo>
                    <a:pt x="1230" y="336"/>
                  </a:lnTo>
                  <a:lnTo>
                    <a:pt x="1224" y="348"/>
                  </a:lnTo>
                  <a:lnTo>
                    <a:pt x="1194" y="378"/>
                  </a:lnTo>
                  <a:lnTo>
                    <a:pt x="1170" y="378"/>
                  </a:lnTo>
                  <a:lnTo>
                    <a:pt x="1152" y="372"/>
                  </a:lnTo>
                  <a:lnTo>
                    <a:pt x="1128" y="372"/>
                  </a:lnTo>
                  <a:lnTo>
                    <a:pt x="1110" y="390"/>
                  </a:lnTo>
                  <a:lnTo>
                    <a:pt x="1104" y="390"/>
                  </a:lnTo>
                  <a:lnTo>
                    <a:pt x="1080" y="378"/>
                  </a:lnTo>
                  <a:lnTo>
                    <a:pt x="1074" y="372"/>
                  </a:lnTo>
                  <a:lnTo>
                    <a:pt x="1062" y="366"/>
                  </a:lnTo>
                  <a:lnTo>
                    <a:pt x="1050" y="354"/>
                  </a:lnTo>
                  <a:lnTo>
                    <a:pt x="1050" y="342"/>
                  </a:lnTo>
                  <a:lnTo>
                    <a:pt x="1044" y="336"/>
                  </a:lnTo>
                  <a:lnTo>
                    <a:pt x="1032" y="330"/>
                  </a:lnTo>
                  <a:lnTo>
                    <a:pt x="1008" y="330"/>
                  </a:lnTo>
                  <a:lnTo>
                    <a:pt x="996" y="336"/>
                  </a:lnTo>
                  <a:lnTo>
                    <a:pt x="990" y="348"/>
                  </a:lnTo>
                  <a:lnTo>
                    <a:pt x="978" y="366"/>
                  </a:lnTo>
                  <a:lnTo>
                    <a:pt x="972" y="384"/>
                  </a:lnTo>
                  <a:lnTo>
                    <a:pt x="972" y="402"/>
                  </a:lnTo>
                  <a:lnTo>
                    <a:pt x="966" y="408"/>
                  </a:lnTo>
                  <a:lnTo>
                    <a:pt x="966" y="414"/>
                  </a:lnTo>
                  <a:lnTo>
                    <a:pt x="990" y="444"/>
                  </a:lnTo>
                  <a:lnTo>
                    <a:pt x="1002" y="498"/>
                  </a:lnTo>
                  <a:lnTo>
                    <a:pt x="1050" y="528"/>
                  </a:lnTo>
                  <a:lnTo>
                    <a:pt x="1038" y="564"/>
                  </a:lnTo>
                  <a:lnTo>
                    <a:pt x="1068" y="582"/>
                  </a:lnTo>
                  <a:lnTo>
                    <a:pt x="1050" y="606"/>
                  </a:lnTo>
                  <a:lnTo>
                    <a:pt x="1068" y="636"/>
                  </a:lnTo>
                  <a:lnTo>
                    <a:pt x="1056" y="648"/>
                  </a:lnTo>
                  <a:lnTo>
                    <a:pt x="1068" y="702"/>
                  </a:lnTo>
                  <a:lnTo>
                    <a:pt x="1110" y="696"/>
                  </a:lnTo>
                  <a:lnTo>
                    <a:pt x="1140" y="708"/>
                  </a:lnTo>
                  <a:lnTo>
                    <a:pt x="1146" y="696"/>
                  </a:lnTo>
                  <a:lnTo>
                    <a:pt x="1170" y="672"/>
                  </a:lnTo>
                  <a:lnTo>
                    <a:pt x="1182" y="672"/>
                  </a:lnTo>
                  <a:lnTo>
                    <a:pt x="1182" y="690"/>
                  </a:lnTo>
                  <a:lnTo>
                    <a:pt x="1188" y="702"/>
                  </a:lnTo>
                  <a:lnTo>
                    <a:pt x="1188" y="726"/>
                  </a:lnTo>
                  <a:lnTo>
                    <a:pt x="1194" y="738"/>
                  </a:lnTo>
                  <a:lnTo>
                    <a:pt x="1212" y="738"/>
                  </a:lnTo>
                  <a:lnTo>
                    <a:pt x="1218" y="726"/>
                  </a:lnTo>
                  <a:lnTo>
                    <a:pt x="1218" y="720"/>
                  </a:lnTo>
                  <a:lnTo>
                    <a:pt x="1224" y="714"/>
                  </a:lnTo>
                  <a:lnTo>
                    <a:pt x="1224" y="708"/>
                  </a:lnTo>
                  <a:lnTo>
                    <a:pt x="1254" y="726"/>
                  </a:lnTo>
                  <a:lnTo>
                    <a:pt x="1266" y="720"/>
                  </a:lnTo>
                  <a:lnTo>
                    <a:pt x="1272" y="708"/>
                  </a:lnTo>
                  <a:lnTo>
                    <a:pt x="1284" y="702"/>
                  </a:lnTo>
                  <a:lnTo>
                    <a:pt x="1296" y="702"/>
                  </a:lnTo>
                  <a:lnTo>
                    <a:pt x="1296" y="714"/>
                  </a:lnTo>
                  <a:lnTo>
                    <a:pt x="1302" y="720"/>
                  </a:lnTo>
                  <a:lnTo>
                    <a:pt x="1302" y="738"/>
                  </a:lnTo>
                  <a:lnTo>
                    <a:pt x="1308" y="744"/>
                  </a:lnTo>
                  <a:lnTo>
                    <a:pt x="1332" y="744"/>
                  </a:lnTo>
                  <a:lnTo>
                    <a:pt x="1350" y="738"/>
                  </a:lnTo>
                  <a:lnTo>
                    <a:pt x="1362" y="732"/>
                  </a:lnTo>
                  <a:lnTo>
                    <a:pt x="1392" y="732"/>
                  </a:lnTo>
                  <a:lnTo>
                    <a:pt x="1404" y="744"/>
                  </a:lnTo>
                  <a:lnTo>
                    <a:pt x="1404" y="786"/>
                  </a:lnTo>
                  <a:lnTo>
                    <a:pt x="1398" y="798"/>
                  </a:lnTo>
                  <a:lnTo>
                    <a:pt x="1398" y="810"/>
                  </a:lnTo>
                  <a:lnTo>
                    <a:pt x="1404" y="810"/>
                  </a:lnTo>
                  <a:lnTo>
                    <a:pt x="1410" y="804"/>
                  </a:lnTo>
                  <a:lnTo>
                    <a:pt x="1422" y="798"/>
                  </a:lnTo>
                  <a:lnTo>
                    <a:pt x="1440" y="792"/>
                  </a:lnTo>
                  <a:lnTo>
                    <a:pt x="1452" y="786"/>
                  </a:lnTo>
                  <a:lnTo>
                    <a:pt x="1476" y="762"/>
                  </a:lnTo>
                  <a:lnTo>
                    <a:pt x="1482" y="750"/>
                  </a:lnTo>
                  <a:lnTo>
                    <a:pt x="1500" y="732"/>
                  </a:lnTo>
                  <a:lnTo>
                    <a:pt x="1500" y="726"/>
                  </a:lnTo>
                  <a:close/>
                  <a:moveTo>
                    <a:pt x="1476" y="1116"/>
                  </a:moveTo>
                  <a:lnTo>
                    <a:pt x="1470" y="1116"/>
                  </a:lnTo>
                  <a:lnTo>
                    <a:pt x="1458" y="1122"/>
                  </a:lnTo>
                  <a:lnTo>
                    <a:pt x="1452" y="1128"/>
                  </a:lnTo>
                  <a:lnTo>
                    <a:pt x="1458" y="1134"/>
                  </a:lnTo>
                  <a:lnTo>
                    <a:pt x="1470" y="1140"/>
                  </a:lnTo>
                  <a:lnTo>
                    <a:pt x="1476" y="1140"/>
                  </a:lnTo>
                  <a:lnTo>
                    <a:pt x="1488" y="1146"/>
                  </a:lnTo>
                  <a:lnTo>
                    <a:pt x="1500" y="1134"/>
                  </a:lnTo>
                  <a:lnTo>
                    <a:pt x="1500" y="1128"/>
                  </a:lnTo>
                  <a:lnTo>
                    <a:pt x="1488" y="1116"/>
                  </a:lnTo>
                  <a:lnTo>
                    <a:pt x="1476" y="1116"/>
                  </a:lnTo>
                  <a:close/>
                  <a:moveTo>
                    <a:pt x="1716" y="1230"/>
                  </a:moveTo>
                  <a:lnTo>
                    <a:pt x="1680" y="1218"/>
                  </a:lnTo>
                  <a:lnTo>
                    <a:pt x="1674" y="1224"/>
                  </a:lnTo>
                  <a:lnTo>
                    <a:pt x="1674" y="1230"/>
                  </a:lnTo>
                  <a:lnTo>
                    <a:pt x="1686" y="1254"/>
                  </a:lnTo>
                  <a:lnTo>
                    <a:pt x="1692" y="1260"/>
                  </a:lnTo>
                  <a:lnTo>
                    <a:pt x="1704" y="1266"/>
                  </a:lnTo>
                  <a:lnTo>
                    <a:pt x="1716" y="1266"/>
                  </a:lnTo>
                  <a:lnTo>
                    <a:pt x="1722" y="1260"/>
                  </a:lnTo>
                  <a:lnTo>
                    <a:pt x="1740" y="1260"/>
                  </a:lnTo>
                  <a:lnTo>
                    <a:pt x="1746" y="1266"/>
                  </a:lnTo>
                  <a:lnTo>
                    <a:pt x="1746" y="1278"/>
                  </a:lnTo>
                  <a:lnTo>
                    <a:pt x="1752" y="1290"/>
                  </a:lnTo>
                  <a:lnTo>
                    <a:pt x="1764" y="1296"/>
                  </a:lnTo>
                  <a:lnTo>
                    <a:pt x="1788" y="1296"/>
                  </a:lnTo>
                  <a:lnTo>
                    <a:pt x="1794" y="1290"/>
                  </a:lnTo>
                  <a:lnTo>
                    <a:pt x="1800" y="1290"/>
                  </a:lnTo>
                  <a:lnTo>
                    <a:pt x="1800" y="1284"/>
                  </a:lnTo>
                  <a:lnTo>
                    <a:pt x="1794" y="1272"/>
                  </a:lnTo>
                  <a:lnTo>
                    <a:pt x="1782" y="1260"/>
                  </a:lnTo>
                  <a:lnTo>
                    <a:pt x="1770" y="1236"/>
                  </a:lnTo>
                  <a:lnTo>
                    <a:pt x="1746" y="1224"/>
                  </a:lnTo>
                  <a:lnTo>
                    <a:pt x="1728" y="1224"/>
                  </a:lnTo>
                  <a:lnTo>
                    <a:pt x="1716" y="1230"/>
                  </a:lnTo>
                  <a:close/>
                  <a:moveTo>
                    <a:pt x="1962" y="1122"/>
                  </a:moveTo>
                  <a:lnTo>
                    <a:pt x="1932" y="1146"/>
                  </a:lnTo>
                  <a:lnTo>
                    <a:pt x="1920" y="1134"/>
                  </a:lnTo>
                  <a:lnTo>
                    <a:pt x="1890" y="1134"/>
                  </a:lnTo>
                  <a:lnTo>
                    <a:pt x="1884" y="1140"/>
                  </a:lnTo>
                  <a:lnTo>
                    <a:pt x="1872" y="1146"/>
                  </a:lnTo>
                  <a:lnTo>
                    <a:pt x="1866" y="1152"/>
                  </a:lnTo>
                  <a:lnTo>
                    <a:pt x="1860" y="1140"/>
                  </a:lnTo>
                  <a:lnTo>
                    <a:pt x="1836" y="1116"/>
                  </a:lnTo>
                  <a:lnTo>
                    <a:pt x="1824" y="1116"/>
                  </a:lnTo>
                  <a:lnTo>
                    <a:pt x="1800" y="1128"/>
                  </a:lnTo>
                  <a:lnTo>
                    <a:pt x="1764" y="1164"/>
                  </a:lnTo>
                  <a:lnTo>
                    <a:pt x="1728" y="1158"/>
                  </a:lnTo>
                  <a:lnTo>
                    <a:pt x="1716" y="1176"/>
                  </a:lnTo>
                  <a:lnTo>
                    <a:pt x="1746" y="1176"/>
                  </a:lnTo>
                  <a:lnTo>
                    <a:pt x="1752" y="1182"/>
                  </a:lnTo>
                  <a:lnTo>
                    <a:pt x="1764" y="1182"/>
                  </a:lnTo>
                  <a:lnTo>
                    <a:pt x="1776" y="1188"/>
                  </a:lnTo>
                  <a:lnTo>
                    <a:pt x="1788" y="1188"/>
                  </a:lnTo>
                  <a:lnTo>
                    <a:pt x="1794" y="1182"/>
                  </a:lnTo>
                  <a:lnTo>
                    <a:pt x="1806" y="1176"/>
                  </a:lnTo>
                  <a:lnTo>
                    <a:pt x="1812" y="1170"/>
                  </a:lnTo>
                  <a:lnTo>
                    <a:pt x="1908" y="1164"/>
                  </a:lnTo>
                  <a:lnTo>
                    <a:pt x="1956" y="1158"/>
                  </a:lnTo>
                  <a:lnTo>
                    <a:pt x="1992" y="1128"/>
                  </a:lnTo>
                  <a:lnTo>
                    <a:pt x="1992" y="1110"/>
                  </a:lnTo>
                  <a:lnTo>
                    <a:pt x="1962" y="1122"/>
                  </a:lnTo>
                  <a:close/>
                  <a:moveTo>
                    <a:pt x="1578" y="1158"/>
                  </a:moveTo>
                  <a:lnTo>
                    <a:pt x="1566" y="1152"/>
                  </a:lnTo>
                  <a:lnTo>
                    <a:pt x="1560" y="1146"/>
                  </a:lnTo>
                  <a:lnTo>
                    <a:pt x="1548" y="1140"/>
                  </a:lnTo>
                  <a:lnTo>
                    <a:pt x="1536" y="1140"/>
                  </a:lnTo>
                  <a:lnTo>
                    <a:pt x="1512" y="1164"/>
                  </a:lnTo>
                  <a:lnTo>
                    <a:pt x="1506" y="1176"/>
                  </a:lnTo>
                  <a:lnTo>
                    <a:pt x="1500" y="1182"/>
                  </a:lnTo>
                  <a:lnTo>
                    <a:pt x="1554" y="1188"/>
                  </a:lnTo>
                  <a:lnTo>
                    <a:pt x="1554" y="1212"/>
                  </a:lnTo>
                  <a:lnTo>
                    <a:pt x="1578" y="1206"/>
                  </a:lnTo>
                  <a:lnTo>
                    <a:pt x="1590" y="1188"/>
                  </a:lnTo>
                  <a:lnTo>
                    <a:pt x="1614" y="1206"/>
                  </a:lnTo>
                  <a:lnTo>
                    <a:pt x="1644" y="1170"/>
                  </a:lnTo>
                  <a:lnTo>
                    <a:pt x="1596" y="1152"/>
                  </a:lnTo>
                  <a:lnTo>
                    <a:pt x="1578" y="1158"/>
                  </a:lnTo>
                  <a:close/>
                </a:path>
              </a:pathLst>
            </a:custGeom>
            <a:solidFill>
              <a:schemeClr val="accent2"/>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48" name="Indien" descr="© INSCALE GmbH, 05.05.2010&#10;http://www.presentationload.com/">
              <a:extLst>
                <a:ext uri="{FF2B5EF4-FFF2-40B4-BE49-F238E27FC236}">
                  <a16:creationId xmlns:a16="http://schemas.microsoft.com/office/drawing/2014/main" id="{1362E676-1796-4528-BC0B-21952175CF69}"/>
                </a:ext>
              </a:extLst>
            </p:cNvPr>
            <p:cNvSpPr>
              <a:spLocks noEditPoints="1"/>
            </p:cNvSpPr>
            <p:nvPr/>
          </p:nvSpPr>
          <p:spPr bwMode="gray">
            <a:xfrm>
              <a:off x="6025098" y="3098564"/>
              <a:ext cx="776171" cy="937678"/>
            </a:xfrm>
            <a:custGeom>
              <a:avLst/>
              <a:gdLst>
                <a:gd name="T0" fmla="*/ 2147483647 w 1956"/>
                <a:gd name="T1" fmla="*/ 2147483647 h 2358"/>
                <a:gd name="T2" fmla="*/ 2147483647 w 1956"/>
                <a:gd name="T3" fmla="*/ 2147483647 h 2358"/>
                <a:gd name="T4" fmla="*/ 2147483647 w 1956"/>
                <a:gd name="T5" fmla="*/ 2147483647 h 2358"/>
                <a:gd name="T6" fmla="*/ 2147483647 w 1956"/>
                <a:gd name="T7" fmla="*/ 2147483647 h 2358"/>
                <a:gd name="T8" fmla="*/ 2147483647 w 1956"/>
                <a:gd name="T9" fmla="*/ 2147483647 h 2358"/>
                <a:gd name="T10" fmla="*/ 2147483647 w 1956"/>
                <a:gd name="T11" fmla="*/ 2147483647 h 2358"/>
                <a:gd name="T12" fmla="*/ 2147483647 w 1956"/>
                <a:gd name="T13" fmla="*/ 2147483647 h 2358"/>
                <a:gd name="T14" fmla="*/ 2147483647 w 1956"/>
                <a:gd name="T15" fmla="*/ 2147483647 h 2358"/>
                <a:gd name="T16" fmla="*/ 2147483647 w 1956"/>
                <a:gd name="T17" fmla="*/ 2147483647 h 2358"/>
                <a:gd name="T18" fmla="*/ 2147483647 w 1956"/>
                <a:gd name="T19" fmla="*/ 2147483647 h 2358"/>
                <a:gd name="T20" fmla="*/ 2147483647 w 1956"/>
                <a:gd name="T21" fmla="*/ 2147483647 h 2358"/>
                <a:gd name="T22" fmla="*/ 2147483647 w 1956"/>
                <a:gd name="T23" fmla="*/ 2147483647 h 2358"/>
                <a:gd name="T24" fmla="*/ 2147483647 w 1956"/>
                <a:gd name="T25" fmla="*/ 2147483647 h 2358"/>
                <a:gd name="T26" fmla="*/ 2147483647 w 1956"/>
                <a:gd name="T27" fmla="*/ 2147483647 h 2358"/>
                <a:gd name="T28" fmla="*/ 2147483647 w 1956"/>
                <a:gd name="T29" fmla="*/ 2147483647 h 2358"/>
                <a:gd name="T30" fmla="*/ 2147483647 w 1956"/>
                <a:gd name="T31" fmla="*/ 2147483647 h 2358"/>
                <a:gd name="T32" fmla="*/ 2147483647 w 1956"/>
                <a:gd name="T33" fmla="*/ 2147483647 h 2358"/>
                <a:gd name="T34" fmla="*/ 2147483647 w 1956"/>
                <a:gd name="T35" fmla="*/ 2147483647 h 2358"/>
                <a:gd name="T36" fmla="*/ 2147483647 w 1956"/>
                <a:gd name="T37" fmla="*/ 2147483647 h 2358"/>
                <a:gd name="T38" fmla="*/ 2147483647 w 1956"/>
                <a:gd name="T39" fmla="*/ 2147483647 h 2358"/>
                <a:gd name="T40" fmla="*/ 2147483647 w 1956"/>
                <a:gd name="T41" fmla="*/ 2147483647 h 2358"/>
                <a:gd name="T42" fmla="*/ 2147483647 w 1956"/>
                <a:gd name="T43" fmla="*/ 2147483647 h 2358"/>
                <a:gd name="T44" fmla="*/ 2147483647 w 1956"/>
                <a:gd name="T45" fmla="*/ 2147483647 h 2358"/>
                <a:gd name="T46" fmla="*/ 2147483647 w 1956"/>
                <a:gd name="T47" fmla="*/ 2147483647 h 2358"/>
                <a:gd name="T48" fmla="*/ 2147483647 w 1956"/>
                <a:gd name="T49" fmla="*/ 2147483647 h 2358"/>
                <a:gd name="T50" fmla="*/ 2147483647 w 1956"/>
                <a:gd name="T51" fmla="*/ 2147483647 h 2358"/>
                <a:gd name="T52" fmla="*/ 2147483647 w 1956"/>
                <a:gd name="T53" fmla="*/ 2147483647 h 2358"/>
                <a:gd name="T54" fmla="*/ 2147483647 w 1956"/>
                <a:gd name="T55" fmla="*/ 2147483647 h 2358"/>
                <a:gd name="T56" fmla="*/ 2147483647 w 1956"/>
                <a:gd name="T57" fmla="*/ 2147483647 h 2358"/>
                <a:gd name="T58" fmla="*/ 2147483647 w 1956"/>
                <a:gd name="T59" fmla="*/ 2147483647 h 2358"/>
                <a:gd name="T60" fmla="*/ 2147483647 w 1956"/>
                <a:gd name="T61" fmla="*/ 2147483647 h 2358"/>
                <a:gd name="T62" fmla="*/ 2147483647 w 1956"/>
                <a:gd name="T63" fmla="*/ 2147483647 h 2358"/>
                <a:gd name="T64" fmla="*/ 2147483647 w 1956"/>
                <a:gd name="T65" fmla="*/ 2147483647 h 2358"/>
                <a:gd name="T66" fmla="*/ 2147483647 w 1956"/>
                <a:gd name="T67" fmla="*/ 2147483647 h 2358"/>
                <a:gd name="T68" fmla="*/ 2147483647 w 1956"/>
                <a:gd name="T69" fmla="*/ 2147483647 h 2358"/>
                <a:gd name="T70" fmla="*/ 2147483647 w 1956"/>
                <a:gd name="T71" fmla="*/ 2147483647 h 2358"/>
                <a:gd name="T72" fmla="*/ 2147483647 w 1956"/>
                <a:gd name="T73" fmla="*/ 2147483647 h 2358"/>
                <a:gd name="T74" fmla="*/ 2147483647 w 1956"/>
                <a:gd name="T75" fmla="*/ 2147483647 h 2358"/>
                <a:gd name="T76" fmla="*/ 2147483647 w 1956"/>
                <a:gd name="T77" fmla="*/ 2147483647 h 2358"/>
                <a:gd name="T78" fmla="*/ 2147483647 w 1956"/>
                <a:gd name="T79" fmla="*/ 2147483647 h 2358"/>
                <a:gd name="T80" fmla="*/ 2147483647 w 1956"/>
                <a:gd name="T81" fmla="*/ 2147483647 h 2358"/>
                <a:gd name="T82" fmla="*/ 2147483647 w 1956"/>
                <a:gd name="T83" fmla="*/ 2147483647 h 2358"/>
                <a:gd name="T84" fmla="*/ 2147483647 w 1956"/>
                <a:gd name="T85" fmla="*/ 2147483647 h 2358"/>
                <a:gd name="T86" fmla="*/ 2147483647 w 1956"/>
                <a:gd name="T87" fmla="*/ 2147483647 h 2358"/>
                <a:gd name="T88" fmla="*/ 2147483647 w 1956"/>
                <a:gd name="T89" fmla="*/ 2147483647 h 2358"/>
                <a:gd name="T90" fmla="*/ 2147483647 w 1956"/>
                <a:gd name="T91" fmla="*/ 2147483647 h 2358"/>
                <a:gd name="T92" fmla="*/ 2147483647 w 1956"/>
                <a:gd name="T93" fmla="*/ 2147483647 h 2358"/>
                <a:gd name="T94" fmla="*/ 2147483647 w 1956"/>
                <a:gd name="T95" fmla="*/ 2147483647 h 2358"/>
                <a:gd name="T96" fmla="*/ 2147483647 w 1956"/>
                <a:gd name="T97" fmla="*/ 2147483647 h 2358"/>
                <a:gd name="T98" fmla="*/ 2147483647 w 1956"/>
                <a:gd name="T99" fmla="*/ 2147483647 h 2358"/>
                <a:gd name="T100" fmla="*/ 2147483647 w 1956"/>
                <a:gd name="T101" fmla="*/ 2147483647 h 2358"/>
                <a:gd name="T102" fmla="*/ 2147483647 w 1956"/>
                <a:gd name="T103" fmla="*/ 2147483647 h 2358"/>
                <a:gd name="T104" fmla="*/ 2147483647 w 1956"/>
                <a:gd name="T105" fmla="*/ 2147483647 h 2358"/>
                <a:gd name="T106" fmla="*/ 2147483647 w 1956"/>
                <a:gd name="T107" fmla="*/ 2147483647 h 2358"/>
                <a:gd name="T108" fmla="*/ 2147483647 w 1956"/>
                <a:gd name="T109" fmla="*/ 2147483647 h 2358"/>
                <a:gd name="T110" fmla="*/ 2147483647 w 1956"/>
                <a:gd name="T111" fmla="*/ 2147483647 h 2358"/>
                <a:gd name="T112" fmla="*/ 2147483647 w 1956"/>
                <a:gd name="T113" fmla="*/ 2147483647 h 2358"/>
                <a:gd name="T114" fmla="*/ 2147483647 w 1956"/>
                <a:gd name="T115" fmla="*/ 2147483647 h 2358"/>
                <a:gd name="T116" fmla="*/ 2147483647 w 1956"/>
                <a:gd name="T117" fmla="*/ 2147483647 h 2358"/>
                <a:gd name="T118" fmla="*/ 2147483647 w 1956"/>
                <a:gd name="T119" fmla="*/ 2147483647 h 235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56"/>
                <a:gd name="T181" fmla="*/ 0 h 2358"/>
                <a:gd name="T182" fmla="*/ 1956 w 1956"/>
                <a:gd name="T183" fmla="*/ 2358 h 235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56" h="2358">
                  <a:moveTo>
                    <a:pt x="1806" y="1788"/>
                  </a:moveTo>
                  <a:lnTo>
                    <a:pt x="1794" y="1800"/>
                  </a:lnTo>
                  <a:lnTo>
                    <a:pt x="1782" y="1824"/>
                  </a:lnTo>
                  <a:lnTo>
                    <a:pt x="1782" y="1884"/>
                  </a:lnTo>
                  <a:lnTo>
                    <a:pt x="1788" y="1980"/>
                  </a:lnTo>
                  <a:lnTo>
                    <a:pt x="1800" y="1950"/>
                  </a:lnTo>
                  <a:lnTo>
                    <a:pt x="1800" y="1848"/>
                  </a:lnTo>
                  <a:lnTo>
                    <a:pt x="1806" y="1836"/>
                  </a:lnTo>
                  <a:lnTo>
                    <a:pt x="1806" y="1830"/>
                  </a:lnTo>
                  <a:lnTo>
                    <a:pt x="1812" y="1818"/>
                  </a:lnTo>
                  <a:lnTo>
                    <a:pt x="1812" y="1806"/>
                  </a:lnTo>
                  <a:lnTo>
                    <a:pt x="1818" y="1800"/>
                  </a:lnTo>
                  <a:lnTo>
                    <a:pt x="1812" y="1788"/>
                  </a:lnTo>
                  <a:lnTo>
                    <a:pt x="1806" y="1788"/>
                  </a:lnTo>
                  <a:close/>
                  <a:moveTo>
                    <a:pt x="1794" y="2028"/>
                  </a:moveTo>
                  <a:lnTo>
                    <a:pt x="1788" y="2028"/>
                  </a:lnTo>
                  <a:lnTo>
                    <a:pt x="1782" y="2040"/>
                  </a:lnTo>
                  <a:lnTo>
                    <a:pt x="1782" y="2046"/>
                  </a:lnTo>
                  <a:lnTo>
                    <a:pt x="1788" y="2058"/>
                  </a:lnTo>
                  <a:lnTo>
                    <a:pt x="1788" y="2064"/>
                  </a:lnTo>
                  <a:lnTo>
                    <a:pt x="1794" y="2076"/>
                  </a:lnTo>
                  <a:lnTo>
                    <a:pt x="1800" y="2064"/>
                  </a:lnTo>
                  <a:lnTo>
                    <a:pt x="1800" y="2028"/>
                  </a:lnTo>
                  <a:lnTo>
                    <a:pt x="1794" y="2028"/>
                  </a:lnTo>
                  <a:close/>
                  <a:moveTo>
                    <a:pt x="1890" y="2310"/>
                  </a:moveTo>
                  <a:lnTo>
                    <a:pt x="1884" y="2316"/>
                  </a:lnTo>
                  <a:lnTo>
                    <a:pt x="1884" y="2334"/>
                  </a:lnTo>
                  <a:lnTo>
                    <a:pt x="1890" y="2346"/>
                  </a:lnTo>
                  <a:lnTo>
                    <a:pt x="1896" y="2352"/>
                  </a:lnTo>
                  <a:lnTo>
                    <a:pt x="1908" y="2358"/>
                  </a:lnTo>
                  <a:lnTo>
                    <a:pt x="1908" y="2346"/>
                  </a:lnTo>
                  <a:lnTo>
                    <a:pt x="1902" y="2334"/>
                  </a:lnTo>
                  <a:lnTo>
                    <a:pt x="1902" y="2322"/>
                  </a:lnTo>
                  <a:lnTo>
                    <a:pt x="1896" y="2310"/>
                  </a:lnTo>
                  <a:lnTo>
                    <a:pt x="1890" y="2310"/>
                  </a:lnTo>
                  <a:close/>
                  <a:moveTo>
                    <a:pt x="1920" y="672"/>
                  </a:moveTo>
                  <a:lnTo>
                    <a:pt x="1932" y="660"/>
                  </a:lnTo>
                  <a:lnTo>
                    <a:pt x="1944" y="654"/>
                  </a:lnTo>
                  <a:lnTo>
                    <a:pt x="1950" y="648"/>
                  </a:lnTo>
                  <a:lnTo>
                    <a:pt x="1956" y="648"/>
                  </a:lnTo>
                  <a:lnTo>
                    <a:pt x="1956" y="618"/>
                  </a:lnTo>
                  <a:lnTo>
                    <a:pt x="1950" y="618"/>
                  </a:lnTo>
                  <a:lnTo>
                    <a:pt x="1944" y="612"/>
                  </a:lnTo>
                  <a:lnTo>
                    <a:pt x="1878" y="612"/>
                  </a:lnTo>
                  <a:lnTo>
                    <a:pt x="1878" y="606"/>
                  </a:lnTo>
                  <a:lnTo>
                    <a:pt x="1890" y="594"/>
                  </a:lnTo>
                  <a:lnTo>
                    <a:pt x="1896" y="594"/>
                  </a:lnTo>
                  <a:lnTo>
                    <a:pt x="1878" y="564"/>
                  </a:lnTo>
                  <a:lnTo>
                    <a:pt x="1848" y="564"/>
                  </a:lnTo>
                  <a:lnTo>
                    <a:pt x="1842" y="558"/>
                  </a:lnTo>
                  <a:lnTo>
                    <a:pt x="1848" y="558"/>
                  </a:lnTo>
                  <a:lnTo>
                    <a:pt x="1860" y="546"/>
                  </a:lnTo>
                  <a:lnTo>
                    <a:pt x="1854" y="540"/>
                  </a:lnTo>
                  <a:lnTo>
                    <a:pt x="1818" y="522"/>
                  </a:lnTo>
                  <a:lnTo>
                    <a:pt x="1806" y="534"/>
                  </a:lnTo>
                  <a:lnTo>
                    <a:pt x="1806" y="558"/>
                  </a:lnTo>
                  <a:lnTo>
                    <a:pt x="1788" y="558"/>
                  </a:lnTo>
                  <a:lnTo>
                    <a:pt x="1770" y="546"/>
                  </a:lnTo>
                  <a:lnTo>
                    <a:pt x="1758" y="540"/>
                  </a:lnTo>
                  <a:lnTo>
                    <a:pt x="1740" y="540"/>
                  </a:lnTo>
                  <a:lnTo>
                    <a:pt x="1728" y="552"/>
                  </a:lnTo>
                  <a:lnTo>
                    <a:pt x="1716" y="558"/>
                  </a:lnTo>
                  <a:lnTo>
                    <a:pt x="1692" y="582"/>
                  </a:lnTo>
                  <a:lnTo>
                    <a:pt x="1656" y="582"/>
                  </a:lnTo>
                  <a:lnTo>
                    <a:pt x="1656" y="588"/>
                  </a:lnTo>
                  <a:lnTo>
                    <a:pt x="1662" y="594"/>
                  </a:lnTo>
                  <a:lnTo>
                    <a:pt x="1662" y="618"/>
                  </a:lnTo>
                  <a:lnTo>
                    <a:pt x="1656" y="624"/>
                  </a:lnTo>
                  <a:lnTo>
                    <a:pt x="1626" y="624"/>
                  </a:lnTo>
                  <a:lnTo>
                    <a:pt x="1632" y="636"/>
                  </a:lnTo>
                  <a:lnTo>
                    <a:pt x="1632" y="654"/>
                  </a:lnTo>
                  <a:lnTo>
                    <a:pt x="1620" y="666"/>
                  </a:lnTo>
                  <a:lnTo>
                    <a:pt x="1566" y="666"/>
                  </a:lnTo>
                  <a:lnTo>
                    <a:pt x="1566" y="684"/>
                  </a:lnTo>
                  <a:lnTo>
                    <a:pt x="1572" y="690"/>
                  </a:lnTo>
                  <a:lnTo>
                    <a:pt x="1596" y="690"/>
                  </a:lnTo>
                  <a:lnTo>
                    <a:pt x="1596" y="714"/>
                  </a:lnTo>
                  <a:lnTo>
                    <a:pt x="1608" y="726"/>
                  </a:lnTo>
                  <a:lnTo>
                    <a:pt x="1608" y="732"/>
                  </a:lnTo>
                  <a:lnTo>
                    <a:pt x="1584" y="744"/>
                  </a:lnTo>
                  <a:lnTo>
                    <a:pt x="1572" y="744"/>
                  </a:lnTo>
                  <a:lnTo>
                    <a:pt x="1566" y="738"/>
                  </a:lnTo>
                  <a:lnTo>
                    <a:pt x="1554" y="738"/>
                  </a:lnTo>
                  <a:lnTo>
                    <a:pt x="1542" y="744"/>
                  </a:lnTo>
                  <a:lnTo>
                    <a:pt x="1512" y="744"/>
                  </a:lnTo>
                  <a:lnTo>
                    <a:pt x="1500" y="738"/>
                  </a:lnTo>
                  <a:lnTo>
                    <a:pt x="1482" y="738"/>
                  </a:lnTo>
                  <a:lnTo>
                    <a:pt x="1476" y="744"/>
                  </a:lnTo>
                  <a:lnTo>
                    <a:pt x="1464" y="750"/>
                  </a:lnTo>
                  <a:lnTo>
                    <a:pt x="1440" y="750"/>
                  </a:lnTo>
                  <a:lnTo>
                    <a:pt x="1428" y="738"/>
                  </a:lnTo>
                  <a:lnTo>
                    <a:pt x="1428" y="732"/>
                  </a:lnTo>
                  <a:lnTo>
                    <a:pt x="1428" y="738"/>
                  </a:lnTo>
                  <a:lnTo>
                    <a:pt x="1416" y="738"/>
                  </a:lnTo>
                  <a:lnTo>
                    <a:pt x="1392" y="726"/>
                  </a:lnTo>
                  <a:lnTo>
                    <a:pt x="1374" y="708"/>
                  </a:lnTo>
                  <a:lnTo>
                    <a:pt x="1374" y="696"/>
                  </a:lnTo>
                  <a:lnTo>
                    <a:pt x="1380" y="696"/>
                  </a:lnTo>
                  <a:lnTo>
                    <a:pt x="1374" y="696"/>
                  </a:lnTo>
                  <a:lnTo>
                    <a:pt x="1368" y="690"/>
                  </a:lnTo>
                  <a:lnTo>
                    <a:pt x="1368" y="642"/>
                  </a:lnTo>
                  <a:lnTo>
                    <a:pt x="1362" y="636"/>
                  </a:lnTo>
                  <a:lnTo>
                    <a:pt x="1350" y="630"/>
                  </a:lnTo>
                  <a:lnTo>
                    <a:pt x="1338" y="630"/>
                  </a:lnTo>
                  <a:lnTo>
                    <a:pt x="1326" y="642"/>
                  </a:lnTo>
                  <a:lnTo>
                    <a:pt x="1314" y="648"/>
                  </a:lnTo>
                  <a:lnTo>
                    <a:pt x="1326" y="666"/>
                  </a:lnTo>
                  <a:lnTo>
                    <a:pt x="1326" y="714"/>
                  </a:lnTo>
                  <a:lnTo>
                    <a:pt x="1338" y="738"/>
                  </a:lnTo>
                  <a:lnTo>
                    <a:pt x="1338" y="774"/>
                  </a:lnTo>
                  <a:lnTo>
                    <a:pt x="1272" y="774"/>
                  </a:lnTo>
                  <a:lnTo>
                    <a:pt x="1272" y="762"/>
                  </a:lnTo>
                  <a:lnTo>
                    <a:pt x="1266" y="756"/>
                  </a:lnTo>
                  <a:lnTo>
                    <a:pt x="1260" y="756"/>
                  </a:lnTo>
                  <a:lnTo>
                    <a:pt x="1248" y="762"/>
                  </a:lnTo>
                  <a:lnTo>
                    <a:pt x="1242" y="774"/>
                  </a:lnTo>
                  <a:lnTo>
                    <a:pt x="1236" y="762"/>
                  </a:lnTo>
                  <a:lnTo>
                    <a:pt x="1224" y="756"/>
                  </a:lnTo>
                  <a:lnTo>
                    <a:pt x="1206" y="750"/>
                  </a:lnTo>
                  <a:lnTo>
                    <a:pt x="1188" y="750"/>
                  </a:lnTo>
                  <a:lnTo>
                    <a:pt x="1182" y="756"/>
                  </a:lnTo>
                  <a:lnTo>
                    <a:pt x="1152" y="738"/>
                  </a:lnTo>
                  <a:lnTo>
                    <a:pt x="1134" y="750"/>
                  </a:lnTo>
                  <a:lnTo>
                    <a:pt x="1080" y="696"/>
                  </a:lnTo>
                  <a:lnTo>
                    <a:pt x="1056" y="696"/>
                  </a:lnTo>
                  <a:lnTo>
                    <a:pt x="1056" y="690"/>
                  </a:lnTo>
                  <a:lnTo>
                    <a:pt x="1044" y="678"/>
                  </a:lnTo>
                  <a:lnTo>
                    <a:pt x="1038" y="678"/>
                  </a:lnTo>
                  <a:lnTo>
                    <a:pt x="1032" y="684"/>
                  </a:lnTo>
                  <a:lnTo>
                    <a:pt x="1032" y="702"/>
                  </a:lnTo>
                  <a:lnTo>
                    <a:pt x="1032" y="696"/>
                  </a:lnTo>
                  <a:lnTo>
                    <a:pt x="1026" y="690"/>
                  </a:lnTo>
                  <a:lnTo>
                    <a:pt x="1008" y="690"/>
                  </a:lnTo>
                  <a:lnTo>
                    <a:pt x="996" y="702"/>
                  </a:lnTo>
                  <a:lnTo>
                    <a:pt x="990" y="690"/>
                  </a:lnTo>
                  <a:lnTo>
                    <a:pt x="984" y="684"/>
                  </a:lnTo>
                  <a:lnTo>
                    <a:pt x="960" y="684"/>
                  </a:lnTo>
                  <a:lnTo>
                    <a:pt x="954" y="678"/>
                  </a:lnTo>
                  <a:lnTo>
                    <a:pt x="954" y="666"/>
                  </a:lnTo>
                  <a:lnTo>
                    <a:pt x="942" y="666"/>
                  </a:lnTo>
                  <a:lnTo>
                    <a:pt x="936" y="672"/>
                  </a:lnTo>
                  <a:lnTo>
                    <a:pt x="918" y="672"/>
                  </a:lnTo>
                  <a:lnTo>
                    <a:pt x="912" y="666"/>
                  </a:lnTo>
                  <a:lnTo>
                    <a:pt x="906" y="654"/>
                  </a:lnTo>
                  <a:lnTo>
                    <a:pt x="900" y="648"/>
                  </a:lnTo>
                  <a:lnTo>
                    <a:pt x="888" y="648"/>
                  </a:lnTo>
                  <a:lnTo>
                    <a:pt x="846" y="630"/>
                  </a:lnTo>
                  <a:lnTo>
                    <a:pt x="834" y="612"/>
                  </a:lnTo>
                  <a:lnTo>
                    <a:pt x="810" y="612"/>
                  </a:lnTo>
                  <a:lnTo>
                    <a:pt x="792" y="588"/>
                  </a:lnTo>
                  <a:lnTo>
                    <a:pt x="780" y="594"/>
                  </a:lnTo>
                  <a:lnTo>
                    <a:pt x="750" y="564"/>
                  </a:lnTo>
                  <a:lnTo>
                    <a:pt x="750" y="552"/>
                  </a:lnTo>
                  <a:lnTo>
                    <a:pt x="762" y="540"/>
                  </a:lnTo>
                  <a:lnTo>
                    <a:pt x="768" y="540"/>
                  </a:lnTo>
                  <a:lnTo>
                    <a:pt x="756" y="528"/>
                  </a:lnTo>
                  <a:lnTo>
                    <a:pt x="756" y="522"/>
                  </a:lnTo>
                  <a:lnTo>
                    <a:pt x="762" y="516"/>
                  </a:lnTo>
                  <a:lnTo>
                    <a:pt x="756" y="504"/>
                  </a:lnTo>
                  <a:lnTo>
                    <a:pt x="780" y="480"/>
                  </a:lnTo>
                  <a:lnTo>
                    <a:pt x="786" y="456"/>
                  </a:lnTo>
                  <a:lnTo>
                    <a:pt x="762" y="438"/>
                  </a:lnTo>
                  <a:lnTo>
                    <a:pt x="750" y="438"/>
                  </a:lnTo>
                  <a:lnTo>
                    <a:pt x="738" y="432"/>
                  </a:lnTo>
                  <a:lnTo>
                    <a:pt x="738" y="414"/>
                  </a:lnTo>
                  <a:lnTo>
                    <a:pt x="720" y="420"/>
                  </a:lnTo>
                  <a:lnTo>
                    <a:pt x="702" y="402"/>
                  </a:lnTo>
                  <a:lnTo>
                    <a:pt x="696" y="402"/>
                  </a:lnTo>
                  <a:lnTo>
                    <a:pt x="690" y="396"/>
                  </a:lnTo>
                  <a:lnTo>
                    <a:pt x="678" y="396"/>
                  </a:lnTo>
                  <a:lnTo>
                    <a:pt x="666" y="390"/>
                  </a:lnTo>
                  <a:lnTo>
                    <a:pt x="654" y="378"/>
                  </a:lnTo>
                  <a:lnTo>
                    <a:pt x="648" y="366"/>
                  </a:lnTo>
                  <a:lnTo>
                    <a:pt x="618" y="366"/>
                  </a:lnTo>
                  <a:lnTo>
                    <a:pt x="612" y="360"/>
                  </a:lnTo>
                  <a:lnTo>
                    <a:pt x="612" y="342"/>
                  </a:lnTo>
                  <a:lnTo>
                    <a:pt x="618" y="336"/>
                  </a:lnTo>
                  <a:lnTo>
                    <a:pt x="618" y="324"/>
                  </a:lnTo>
                  <a:lnTo>
                    <a:pt x="612" y="324"/>
                  </a:lnTo>
                  <a:lnTo>
                    <a:pt x="600" y="312"/>
                  </a:lnTo>
                  <a:lnTo>
                    <a:pt x="594" y="300"/>
                  </a:lnTo>
                  <a:lnTo>
                    <a:pt x="588" y="294"/>
                  </a:lnTo>
                  <a:lnTo>
                    <a:pt x="588" y="276"/>
                  </a:lnTo>
                  <a:lnTo>
                    <a:pt x="594" y="276"/>
                  </a:lnTo>
                  <a:lnTo>
                    <a:pt x="600" y="270"/>
                  </a:lnTo>
                  <a:lnTo>
                    <a:pt x="612" y="270"/>
                  </a:lnTo>
                  <a:lnTo>
                    <a:pt x="612" y="288"/>
                  </a:lnTo>
                  <a:lnTo>
                    <a:pt x="624" y="300"/>
                  </a:lnTo>
                  <a:lnTo>
                    <a:pt x="636" y="282"/>
                  </a:lnTo>
                  <a:lnTo>
                    <a:pt x="642" y="282"/>
                  </a:lnTo>
                  <a:lnTo>
                    <a:pt x="648" y="276"/>
                  </a:lnTo>
                  <a:lnTo>
                    <a:pt x="660" y="270"/>
                  </a:lnTo>
                  <a:lnTo>
                    <a:pt x="660" y="258"/>
                  </a:lnTo>
                  <a:lnTo>
                    <a:pt x="642" y="240"/>
                  </a:lnTo>
                  <a:lnTo>
                    <a:pt x="636" y="228"/>
                  </a:lnTo>
                  <a:lnTo>
                    <a:pt x="630" y="222"/>
                  </a:lnTo>
                  <a:lnTo>
                    <a:pt x="618" y="222"/>
                  </a:lnTo>
                  <a:lnTo>
                    <a:pt x="594" y="210"/>
                  </a:lnTo>
                  <a:lnTo>
                    <a:pt x="594" y="186"/>
                  </a:lnTo>
                  <a:lnTo>
                    <a:pt x="612" y="180"/>
                  </a:lnTo>
                  <a:lnTo>
                    <a:pt x="594" y="156"/>
                  </a:lnTo>
                  <a:lnTo>
                    <a:pt x="624" y="156"/>
                  </a:lnTo>
                  <a:lnTo>
                    <a:pt x="636" y="150"/>
                  </a:lnTo>
                  <a:lnTo>
                    <a:pt x="642" y="138"/>
                  </a:lnTo>
                  <a:lnTo>
                    <a:pt x="642" y="114"/>
                  </a:lnTo>
                  <a:lnTo>
                    <a:pt x="636" y="108"/>
                  </a:lnTo>
                  <a:lnTo>
                    <a:pt x="636" y="102"/>
                  </a:lnTo>
                  <a:lnTo>
                    <a:pt x="654" y="102"/>
                  </a:lnTo>
                  <a:lnTo>
                    <a:pt x="660" y="96"/>
                  </a:lnTo>
                  <a:lnTo>
                    <a:pt x="660" y="36"/>
                  </a:lnTo>
                  <a:lnTo>
                    <a:pt x="618" y="36"/>
                  </a:lnTo>
                  <a:lnTo>
                    <a:pt x="594" y="12"/>
                  </a:lnTo>
                  <a:lnTo>
                    <a:pt x="576" y="0"/>
                  </a:lnTo>
                  <a:lnTo>
                    <a:pt x="564" y="0"/>
                  </a:lnTo>
                  <a:lnTo>
                    <a:pt x="540" y="12"/>
                  </a:lnTo>
                  <a:lnTo>
                    <a:pt x="522" y="18"/>
                  </a:lnTo>
                  <a:lnTo>
                    <a:pt x="516" y="30"/>
                  </a:lnTo>
                  <a:lnTo>
                    <a:pt x="504" y="36"/>
                  </a:lnTo>
                  <a:lnTo>
                    <a:pt x="480" y="36"/>
                  </a:lnTo>
                  <a:lnTo>
                    <a:pt x="456" y="72"/>
                  </a:lnTo>
                  <a:lnTo>
                    <a:pt x="432" y="78"/>
                  </a:lnTo>
                  <a:lnTo>
                    <a:pt x="432" y="96"/>
                  </a:lnTo>
                  <a:lnTo>
                    <a:pt x="408" y="96"/>
                  </a:lnTo>
                  <a:lnTo>
                    <a:pt x="402" y="102"/>
                  </a:lnTo>
                  <a:lnTo>
                    <a:pt x="396" y="96"/>
                  </a:lnTo>
                  <a:lnTo>
                    <a:pt x="390" y="102"/>
                  </a:lnTo>
                  <a:lnTo>
                    <a:pt x="378" y="108"/>
                  </a:lnTo>
                  <a:lnTo>
                    <a:pt x="372" y="114"/>
                  </a:lnTo>
                  <a:lnTo>
                    <a:pt x="360" y="120"/>
                  </a:lnTo>
                  <a:lnTo>
                    <a:pt x="348" y="120"/>
                  </a:lnTo>
                  <a:lnTo>
                    <a:pt x="348" y="108"/>
                  </a:lnTo>
                  <a:lnTo>
                    <a:pt x="342" y="102"/>
                  </a:lnTo>
                  <a:lnTo>
                    <a:pt x="324" y="102"/>
                  </a:lnTo>
                  <a:lnTo>
                    <a:pt x="306" y="96"/>
                  </a:lnTo>
                  <a:lnTo>
                    <a:pt x="264" y="96"/>
                  </a:lnTo>
                  <a:lnTo>
                    <a:pt x="240" y="108"/>
                  </a:lnTo>
                  <a:lnTo>
                    <a:pt x="234" y="120"/>
                  </a:lnTo>
                  <a:lnTo>
                    <a:pt x="234" y="126"/>
                  </a:lnTo>
                  <a:lnTo>
                    <a:pt x="258" y="144"/>
                  </a:lnTo>
                  <a:lnTo>
                    <a:pt x="252" y="156"/>
                  </a:lnTo>
                  <a:lnTo>
                    <a:pt x="282" y="162"/>
                  </a:lnTo>
                  <a:lnTo>
                    <a:pt x="276" y="168"/>
                  </a:lnTo>
                  <a:lnTo>
                    <a:pt x="270" y="180"/>
                  </a:lnTo>
                  <a:lnTo>
                    <a:pt x="264" y="186"/>
                  </a:lnTo>
                  <a:lnTo>
                    <a:pt x="264" y="192"/>
                  </a:lnTo>
                  <a:lnTo>
                    <a:pt x="276" y="204"/>
                  </a:lnTo>
                  <a:lnTo>
                    <a:pt x="282" y="204"/>
                  </a:lnTo>
                  <a:lnTo>
                    <a:pt x="282" y="210"/>
                  </a:lnTo>
                  <a:lnTo>
                    <a:pt x="276" y="222"/>
                  </a:lnTo>
                  <a:lnTo>
                    <a:pt x="276" y="234"/>
                  </a:lnTo>
                  <a:lnTo>
                    <a:pt x="294" y="234"/>
                  </a:lnTo>
                  <a:lnTo>
                    <a:pt x="306" y="252"/>
                  </a:lnTo>
                  <a:lnTo>
                    <a:pt x="324" y="252"/>
                  </a:lnTo>
                  <a:lnTo>
                    <a:pt x="330" y="288"/>
                  </a:lnTo>
                  <a:lnTo>
                    <a:pt x="366" y="288"/>
                  </a:lnTo>
                  <a:lnTo>
                    <a:pt x="378" y="294"/>
                  </a:lnTo>
                  <a:lnTo>
                    <a:pt x="384" y="300"/>
                  </a:lnTo>
                  <a:lnTo>
                    <a:pt x="384" y="306"/>
                  </a:lnTo>
                  <a:lnTo>
                    <a:pt x="378" y="312"/>
                  </a:lnTo>
                  <a:lnTo>
                    <a:pt x="354" y="324"/>
                  </a:lnTo>
                  <a:lnTo>
                    <a:pt x="342" y="324"/>
                  </a:lnTo>
                  <a:lnTo>
                    <a:pt x="336" y="330"/>
                  </a:lnTo>
                  <a:lnTo>
                    <a:pt x="336" y="366"/>
                  </a:lnTo>
                  <a:lnTo>
                    <a:pt x="342" y="378"/>
                  </a:lnTo>
                  <a:lnTo>
                    <a:pt x="354" y="390"/>
                  </a:lnTo>
                  <a:lnTo>
                    <a:pt x="354" y="396"/>
                  </a:lnTo>
                  <a:lnTo>
                    <a:pt x="324" y="414"/>
                  </a:lnTo>
                  <a:lnTo>
                    <a:pt x="300" y="450"/>
                  </a:lnTo>
                  <a:lnTo>
                    <a:pt x="318" y="474"/>
                  </a:lnTo>
                  <a:lnTo>
                    <a:pt x="306" y="474"/>
                  </a:lnTo>
                  <a:lnTo>
                    <a:pt x="300" y="480"/>
                  </a:lnTo>
                  <a:lnTo>
                    <a:pt x="288" y="486"/>
                  </a:lnTo>
                  <a:lnTo>
                    <a:pt x="282" y="492"/>
                  </a:lnTo>
                  <a:lnTo>
                    <a:pt x="282" y="504"/>
                  </a:lnTo>
                  <a:lnTo>
                    <a:pt x="276" y="522"/>
                  </a:lnTo>
                  <a:lnTo>
                    <a:pt x="276" y="534"/>
                  </a:lnTo>
                  <a:lnTo>
                    <a:pt x="270" y="552"/>
                  </a:lnTo>
                  <a:lnTo>
                    <a:pt x="258" y="564"/>
                  </a:lnTo>
                  <a:lnTo>
                    <a:pt x="234" y="576"/>
                  </a:lnTo>
                  <a:lnTo>
                    <a:pt x="228" y="582"/>
                  </a:lnTo>
                  <a:lnTo>
                    <a:pt x="228" y="588"/>
                  </a:lnTo>
                  <a:lnTo>
                    <a:pt x="222" y="594"/>
                  </a:lnTo>
                  <a:lnTo>
                    <a:pt x="222" y="612"/>
                  </a:lnTo>
                  <a:lnTo>
                    <a:pt x="204" y="624"/>
                  </a:lnTo>
                  <a:lnTo>
                    <a:pt x="204" y="630"/>
                  </a:lnTo>
                  <a:lnTo>
                    <a:pt x="198" y="636"/>
                  </a:lnTo>
                  <a:lnTo>
                    <a:pt x="192" y="648"/>
                  </a:lnTo>
                  <a:lnTo>
                    <a:pt x="186" y="654"/>
                  </a:lnTo>
                  <a:lnTo>
                    <a:pt x="168" y="654"/>
                  </a:lnTo>
                  <a:lnTo>
                    <a:pt x="162" y="648"/>
                  </a:lnTo>
                  <a:lnTo>
                    <a:pt x="156" y="654"/>
                  </a:lnTo>
                  <a:lnTo>
                    <a:pt x="132" y="666"/>
                  </a:lnTo>
                  <a:lnTo>
                    <a:pt x="126" y="666"/>
                  </a:lnTo>
                  <a:lnTo>
                    <a:pt x="120" y="660"/>
                  </a:lnTo>
                  <a:lnTo>
                    <a:pt x="120" y="648"/>
                  </a:lnTo>
                  <a:lnTo>
                    <a:pt x="114" y="642"/>
                  </a:lnTo>
                  <a:lnTo>
                    <a:pt x="108" y="642"/>
                  </a:lnTo>
                  <a:lnTo>
                    <a:pt x="96" y="648"/>
                  </a:lnTo>
                  <a:lnTo>
                    <a:pt x="84" y="660"/>
                  </a:lnTo>
                  <a:lnTo>
                    <a:pt x="84" y="666"/>
                  </a:lnTo>
                  <a:lnTo>
                    <a:pt x="78" y="678"/>
                  </a:lnTo>
                  <a:lnTo>
                    <a:pt x="72" y="684"/>
                  </a:lnTo>
                  <a:lnTo>
                    <a:pt x="66" y="696"/>
                  </a:lnTo>
                  <a:lnTo>
                    <a:pt x="54" y="708"/>
                  </a:lnTo>
                  <a:lnTo>
                    <a:pt x="48" y="720"/>
                  </a:lnTo>
                  <a:lnTo>
                    <a:pt x="48" y="744"/>
                  </a:lnTo>
                  <a:lnTo>
                    <a:pt x="54" y="750"/>
                  </a:lnTo>
                  <a:lnTo>
                    <a:pt x="66" y="756"/>
                  </a:lnTo>
                  <a:lnTo>
                    <a:pt x="72" y="756"/>
                  </a:lnTo>
                  <a:lnTo>
                    <a:pt x="102" y="750"/>
                  </a:lnTo>
                  <a:lnTo>
                    <a:pt x="102" y="768"/>
                  </a:lnTo>
                  <a:lnTo>
                    <a:pt x="96" y="798"/>
                  </a:lnTo>
                  <a:lnTo>
                    <a:pt x="102" y="804"/>
                  </a:lnTo>
                  <a:lnTo>
                    <a:pt x="108" y="816"/>
                  </a:lnTo>
                  <a:lnTo>
                    <a:pt x="120" y="828"/>
                  </a:lnTo>
                  <a:lnTo>
                    <a:pt x="144" y="828"/>
                  </a:lnTo>
                  <a:lnTo>
                    <a:pt x="144" y="852"/>
                  </a:lnTo>
                  <a:lnTo>
                    <a:pt x="168" y="894"/>
                  </a:lnTo>
                  <a:lnTo>
                    <a:pt x="174" y="906"/>
                  </a:lnTo>
                  <a:lnTo>
                    <a:pt x="180" y="912"/>
                  </a:lnTo>
                  <a:lnTo>
                    <a:pt x="180" y="936"/>
                  </a:lnTo>
                  <a:lnTo>
                    <a:pt x="168" y="942"/>
                  </a:lnTo>
                  <a:lnTo>
                    <a:pt x="162" y="948"/>
                  </a:lnTo>
                  <a:lnTo>
                    <a:pt x="144" y="948"/>
                  </a:lnTo>
                  <a:lnTo>
                    <a:pt x="138" y="942"/>
                  </a:lnTo>
                  <a:lnTo>
                    <a:pt x="138" y="930"/>
                  </a:lnTo>
                  <a:lnTo>
                    <a:pt x="132" y="930"/>
                  </a:lnTo>
                  <a:lnTo>
                    <a:pt x="120" y="936"/>
                  </a:lnTo>
                  <a:lnTo>
                    <a:pt x="108" y="948"/>
                  </a:lnTo>
                  <a:lnTo>
                    <a:pt x="84" y="948"/>
                  </a:lnTo>
                  <a:lnTo>
                    <a:pt x="78" y="942"/>
                  </a:lnTo>
                  <a:lnTo>
                    <a:pt x="78" y="936"/>
                  </a:lnTo>
                  <a:lnTo>
                    <a:pt x="54" y="948"/>
                  </a:lnTo>
                  <a:lnTo>
                    <a:pt x="48" y="942"/>
                  </a:lnTo>
                  <a:lnTo>
                    <a:pt x="36" y="936"/>
                  </a:lnTo>
                  <a:lnTo>
                    <a:pt x="24" y="936"/>
                  </a:lnTo>
                  <a:lnTo>
                    <a:pt x="12" y="948"/>
                  </a:lnTo>
                  <a:lnTo>
                    <a:pt x="12" y="960"/>
                  </a:lnTo>
                  <a:lnTo>
                    <a:pt x="18" y="966"/>
                  </a:lnTo>
                  <a:lnTo>
                    <a:pt x="0" y="972"/>
                  </a:lnTo>
                  <a:lnTo>
                    <a:pt x="36" y="972"/>
                  </a:lnTo>
                  <a:lnTo>
                    <a:pt x="30" y="984"/>
                  </a:lnTo>
                  <a:lnTo>
                    <a:pt x="30" y="1014"/>
                  </a:lnTo>
                  <a:lnTo>
                    <a:pt x="36" y="1026"/>
                  </a:lnTo>
                  <a:lnTo>
                    <a:pt x="48" y="1032"/>
                  </a:lnTo>
                  <a:lnTo>
                    <a:pt x="66" y="1038"/>
                  </a:lnTo>
                  <a:lnTo>
                    <a:pt x="120" y="1038"/>
                  </a:lnTo>
                  <a:lnTo>
                    <a:pt x="132" y="1032"/>
                  </a:lnTo>
                  <a:lnTo>
                    <a:pt x="150" y="1014"/>
                  </a:lnTo>
                  <a:lnTo>
                    <a:pt x="162" y="1008"/>
                  </a:lnTo>
                  <a:lnTo>
                    <a:pt x="168" y="1020"/>
                  </a:lnTo>
                  <a:lnTo>
                    <a:pt x="168" y="1026"/>
                  </a:lnTo>
                  <a:lnTo>
                    <a:pt x="162" y="1038"/>
                  </a:lnTo>
                  <a:lnTo>
                    <a:pt x="144" y="1056"/>
                  </a:lnTo>
                  <a:lnTo>
                    <a:pt x="120" y="1068"/>
                  </a:lnTo>
                  <a:lnTo>
                    <a:pt x="114" y="1074"/>
                  </a:lnTo>
                  <a:lnTo>
                    <a:pt x="90" y="1074"/>
                  </a:lnTo>
                  <a:lnTo>
                    <a:pt x="78" y="1080"/>
                  </a:lnTo>
                  <a:lnTo>
                    <a:pt x="60" y="1086"/>
                  </a:lnTo>
                  <a:lnTo>
                    <a:pt x="48" y="1092"/>
                  </a:lnTo>
                  <a:lnTo>
                    <a:pt x="42" y="1098"/>
                  </a:lnTo>
                  <a:lnTo>
                    <a:pt x="54" y="1122"/>
                  </a:lnTo>
                  <a:lnTo>
                    <a:pt x="66" y="1128"/>
                  </a:lnTo>
                  <a:lnTo>
                    <a:pt x="78" y="1140"/>
                  </a:lnTo>
                  <a:lnTo>
                    <a:pt x="96" y="1152"/>
                  </a:lnTo>
                  <a:lnTo>
                    <a:pt x="108" y="1164"/>
                  </a:lnTo>
                  <a:lnTo>
                    <a:pt x="132" y="1182"/>
                  </a:lnTo>
                  <a:lnTo>
                    <a:pt x="162" y="1206"/>
                  </a:lnTo>
                  <a:lnTo>
                    <a:pt x="204" y="1224"/>
                  </a:lnTo>
                  <a:lnTo>
                    <a:pt x="240" y="1218"/>
                  </a:lnTo>
                  <a:lnTo>
                    <a:pt x="270" y="1200"/>
                  </a:lnTo>
                  <a:lnTo>
                    <a:pt x="294" y="1176"/>
                  </a:lnTo>
                  <a:lnTo>
                    <a:pt x="300" y="1158"/>
                  </a:lnTo>
                  <a:lnTo>
                    <a:pt x="300" y="1128"/>
                  </a:lnTo>
                  <a:lnTo>
                    <a:pt x="306" y="1116"/>
                  </a:lnTo>
                  <a:lnTo>
                    <a:pt x="318" y="1104"/>
                  </a:lnTo>
                  <a:lnTo>
                    <a:pt x="324" y="1092"/>
                  </a:lnTo>
                  <a:lnTo>
                    <a:pt x="330" y="1086"/>
                  </a:lnTo>
                  <a:lnTo>
                    <a:pt x="342" y="1086"/>
                  </a:lnTo>
                  <a:lnTo>
                    <a:pt x="348" y="1080"/>
                  </a:lnTo>
                  <a:lnTo>
                    <a:pt x="354" y="1080"/>
                  </a:lnTo>
                  <a:lnTo>
                    <a:pt x="360" y="1086"/>
                  </a:lnTo>
                  <a:lnTo>
                    <a:pt x="360" y="1098"/>
                  </a:lnTo>
                  <a:lnTo>
                    <a:pt x="348" y="1110"/>
                  </a:lnTo>
                  <a:lnTo>
                    <a:pt x="336" y="1128"/>
                  </a:lnTo>
                  <a:lnTo>
                    <a:pt x="324" y="1140"/>
                  </a:lnTo>
                  <a:lnTo>
                    <a:pt x="318" y="1152"/>
                  </a:lnTo>
                  <a:lnTo>
                    <a:pt x="318" y="1164"/>
                  </a:lnTo>
                  <a:lnTo>
                    <a:pt x="324" y="1176"/>
                  </a:lnTo>
                  <a:lnTo>
                    <a:pt x="336" y="1182"/>
                  </a:lnTo>
                  <a:lnTo>
                    <a:pt x="342" y="1182"/>
                  </a:lnTo>
                  <a:lnTo>
                    <a:pt x="354" y="1194"/>
                  </a:lnTo>
                  <a:lnTo>
                    <a:pt x="354" y="1206"/>
                  </a:lnTo>
                  <a:lnTo>
                    <a:pt x="348" y="1242"/>
                  </a:lnTo>
                  <a:lnTo>
                    <a:pt x="342" y="1284"/>
                  </a:lnTo>
                  <a:lnTo>
                    <a:pt x="336" y="1338"/>
                  </a:lnTo>
                  <a:lnTo>
                    <a:pt x="342" y="1398"/>
                  </a:lnTo>
                  <a:lnTo>
                    <a:pt x="354" y="1446"/>
                  </a:lnTo>
                  <a:lnTo>
                    <a:pt x="384" y="1536"/>
                  </a:lnTo>
                  <a:lnTo>
                    <a:pt x="402" y="1554"/>
                  </a:lnTo>
                  <a:lnTo>
                    <a:pt x="402" y="1596"/>
                  </a:lnTo>
                  <a:lnTo>
                    <a:pt x="414" y="1620"/>
                  </a:lnTo>
                  <a:lnTo>
                    <a:pt x="426" y="1626"/>
                  </a:lnTo>
                  <a:lnTo>
                    <a:pt x="438" y="1626"/>
                  </a:lnTo>
                  <a:lnTo>
                    <a:pt x="444" y="1632"/>
                  </a:lnTo>
                  <a:lnTo>
                    <a:pt x="450" y="1632"/>
                  </a:lnTo>
                  <a:lnTo>
                    <a:pt x="450" y="1644"/>
                  </a:lnTo>
                  <a:lnTo>
                    <a:pt x="456" y="1656"/>
                  </a:lnTo>
                  <a:lnTo>
                    <a:pt x="456" y="1674"/>
                  </a:lnTo>
                  <a:lnTo>
                    <a:pt x="474" y="1710"/>
                  </a:lnTo>
                  <a:lnTo>
                    <a:pt x="498" y="1722"/>
                  </a:lnTo>
                  <a:lnTo>
                    <a:pt x="504" y="1728"/>
                  </a:lnTo>
                  <a:lnTo>
                    <a:pt x="510" y="1728"/>
                  </a:lnTo>
                  <a:lnTo>
                    <a:pt x="510" y="1746"/>
                  </a:lnTo>
                  <a:lnTo>
                    <a:pt x="516" y="1782"/>
                  </a:lnTo>
                  <a:lnTo>
                    <a:pt x="522" y="1830"/>
                  </a:lnTo>
                  <a:lnTo>
                    <a:pt x="534" y="1872"/>
                  </a:lnTo>
                  <a:lnTo>
                    <a:pt x="552" y="1908"/>
                  </a:lnTo>
                  <a:lnTo>
                    <a:pt x="576" y="1944"/>
                  </a:lnTo>
                  <a:lnTo>
                    <a:pt x="600" y="1974"/>
                  </a:lnTo>
                  <a:lnTo>
                    <a:pt x="612" y="1998"/>
                  </a:lnTo>
                  <a:lnTo>
                    <a:pt x="618" y="2016"/>
                  </a:lnTo>
                  <a:lnTo>
                    <a:pt x="618" y="2070"/>
                  </a:lnTo>
                  <a:lnTo>
                    <a:pt x="624" y="2094"/>
                  </a:lnTo>
                  <a:lnTo>
                    <a:pt x="642" y="2124"/>
                  </a:lnTo>
                  <a:lnTo>
                    <a:pt x="672" y="2166"/>
                  </a:lnTo>
                  <a:lnTo>
                    <a:pt x="696" y="2202"/>
                  </a:lnTo>
                  <a:lnTo>
                    <a:pt x="714" y="2232"/>
                  </a:lnTo>
                  <a:lnTo>
                    <a:pt x="720" y="2244"/>
                  </a:lnTo>
                  <a:lnTo>
                    <a:pt x="726" y="2244"/>
                  </a:lnTo>
                  <a:lnTo>
                    <a:pt x="732" y="2238"/>
                  </a:lnTo>
                  <a:lnTo>
                    <a:pt x="744" y="2238"/>
                  </a:lnTo>
                  <a:lnTo>
                    <a:pt x="768" y="2226"/>
                  </a:lnTo>
                  <a:lnTo>
                    <a:pt x="774" y="2220"/>
                  </a:lnTo>
                  <a:lnTo>
                    <a:pt x="780" y="2208"/>
                  </a:lnTo>
                  <a:lnTo>
                    <a:pt x="780" y="2172"/>
                  </a:lnTo>
                  <a:lnTo>
                    <a:pt x="786" y="2160"/>
                  </a:lnTo>
                  <a:lnTo>
                    <a:pt x="798" y="2154"/>
                  </a:lnTo>
                  <a:lnTo>
                    <a:pt x="804" y="2154"/>
                  </a:lnTo>
                  <a:lnTo>
                    <a:pt x="810" y="2160"/>
                  </a:lnTo>
                  <a:lnTo>
                    <a:pt x="828" y="2160"/>
                  </a:lnTo>
                  <a:lnTo>
                    <a:pt x="834" y="2154"/>
                  </a:lnTo>
                  <a:lnTo>
                    <a:pt x="846" y="2148"/>
                  </a:lnTo>
                  <a:lnTo>
                    <a:pt x="852" y="2142"/>
                  </a:lnTo>
                  <a:lnTo>
                    <a:pt x="864" y="2136"/>
                  </a:lnTo>
                  <a:lnTo>
                    <a:pt x="852" y="2136"/>
                  </a:lnTo>
                  <a:lnTo>
                    <a:pt x="846" y="2130"/>
                  </a:lnTo>
                  <a:lnTo>
                    <a:pt x="846" y="2118"/>
                  </a:lnTo>
                  <a:lnTo>
                    <a:pt x="852" y="2100"/>
                  </a:lnTo>
                  <a:lnTo>
                    <a:pt x="858" y="2088"/>
                  </a:lnTo>
                  <a:lnTo>
                    <a:pt x="906" y="2064"/>
                  </a:lnTo>
                  <a:lnTo>
                    <a:pt x="918" y="2052"/>
                  </a:lnTo>
                  <a:lnTo>
                    <a:pt x="918" y="2040"/>
                  </a:lnTo>
                  <a:lnTo>
                    <a:pt x="912" y="2028"/>
                  </a:lnTo>
                  <a:lnTo>
                    <a:pt x="912" y="2010"/>
                  </a:lnTo>
                  <a:lnTo>
                    <a:pt x="900" y="1974"/>
                  </a:lnTo>
                  <a:lnTo>
                    <a:pt x="900" y="1908"/>
                  </a:lnTo>
                  <a:lnTo>
                    <a:pt x="906" y="1890"/>
                  </a:lnTo>
                  <a:lnTo>
                    <a:pt x="906" y="1884"/>
                  </a:lnTo>
                  <a:lnTo>
                    <a:pt x="912" y="1878"/>
                  </a:lnTo>
                  <a:lnTo>
                    <a:pt x="912" y="1860"/>
                  </a:lnTo>
                  <a:lnTo>
                    <a:pt x="918" y="1842"/>
                  </a:lnTo>
                  <a:lnTo>
                    <a:pt x="918" y="1800"/>
                  </a:lnTo>
                  <a:lnTo>
                    <a:pt x="906" y="1776"/>
                  </a:lnTo>
                  <a:lnTo>
                    <a:pt x="888" y="1758"/>
                  </a:lnTo>
                  <a:lnTo>
                    <a:pt x="888" y="1728"/>
                  </a:lnTo>
                  <a:lnTo>
                    <a:pt x="894" y="1722"/>
                  </a:lnTo>
                  <a:lnTo>
                    <a:pt x="900" y="1710"/>
                  </a:lnTo>
                  <a:lnTo>
                    <a:pt x="900" y="1698"/>
                  </a:lnTo>
                  <a:lnTo>
                    <a:pt x="894" y="1686"/>
                  </a:lnTo>
                  <a:lnTo>
                    <a:pt x="894" y="1644"/>
                  </a:lnTo>
                  <a:lnTo>
                    <a:pt x="918" y="1632"/>
                  </a:lnTo>
                  <a:lnTo>
                    <a:pt x="924" y="1632"/>
                  </a:lnTo>
                  <a:lnTo>
                    <a:pt x="948" y="1620"/>
                  </a:lnTo>
                  <a:lnTo>
                    <a:pt x="948" y="1596"/>
                  </a:lnTo>
                  <a:lnTo>
                    <a:pt x="954" y="1584"/>
                  </a:lnTo>
                  <a:lnTo>
                    <a:pt x="960" y="1578"/>
                  </a:lnTo>
                  <a:lnTo>
                    <a:pt x="972" y="1572"/>
                  </a:lnTo>
                  <a:lnTo>
                    <a:pt x="990" y="1572"/>
                  </a:lnTo>
                  <a:lnTo>
                    <a:pt x="996" y="1560"/>
                  </a:lnTo>
                  <a:lnTo>
                    <a:pt x="1002" y="1566"/>
                  </a:lnTo>
                  <a:lnTo>
                    <a:pt x="1032" y="1566"/>
                  </a:lnTo>
                  <a:lnTo>
                    <a:pt x="1032" y="1548"/>
                  </a:lnTo>
                  <a:lnTo>
                    <a:pt x="1038" y="1530"/>
                  </a:lnTo>
                  <a:lnTo>
                    <a:pt x="1050" y="1518"/>
                  </a:lnTo>
                  <a:lnTo>
                    <a:pt x="1056" y="1500"/>
                  </a:lnTo>
                  <a:lnTo>
                    <a:pt x="1068" y="1488"/>
                  </a:lnTo>
                  <a:lnTo>
                    <a:pt x="1074" y="1476"/>
                  </a:lnTo>
                  <a:lnTo>
                    <a:pt x="1086" y="1470"/>
                  </a:lnTo>
                  <a:lnTo>
                    <a:pt x="1092" y="1464"/>
                  </a:lnTo>
                  <a:lnTo>
                    <a:pt x="1110" y="1458"/>
                  </a:lnTo>
                  <a:lnTo>
                    <a:pt x="1116" y="1452"/>
                  </a:lnTo>
                  <a:lnTo>
                    <a:pt x="1128" y="1446"/>
                  </a:lnTo>
                  <a:lnTo>
                    <a:pt x="1134" y="1428"/>
                  </a:lnTo>
                  <a:lnTo>
                    <a:pt x="1158" y="1380"/>
                  </a:lnTo>
                  <a:lnTo>
                    <a:pt x="1176" y="1362"/>
                  </a:lnTo>
                  <a:lnTo>
                    <a:pt x="1188" y="1356"/>
                  </a:lnTo>
                  <a:lnTo>
                    <a:pt x="1206" y="1344"/>
                  </a:lnTo>
                  <a:lnTo>
                    <a:pt x="1218" y="1338"/>
                  </a:lnTo>
                  <a:lnTo>
                    <a:pt x="1236" y="1320"/>
                  </a:lnTo>
                  <a:lnTo>
                    <a:pt x="1242" y="1320"/>
                  </a:lnTo>
                  <a:lnTo>
                    <a:pt x="1230" y="1290"/>
                  </a:lnTo>
                  <a:lnTo>
                    <a:pt x="1236" y="1284"/>
                  </a:lnTo>
                  <a:lnTo>
                    <a:pt x="1260" y="1314"/>
                  </a:lnTo>
                  <a:lnTo>
                    <a:pt x="1320" y="1254"/>
                  </a:lnTo>
                  <a:lnTo>
                    <a:pt x="1332" y="1230"/>
                  </a:lnTo>
                  <a:lnTo>
                    <a:pt x="1326" y="1224"/>
                  </a:lnTo>
                  <a:lnTo>
                    <a:pt x="1320" y="1212"/>
                  </a:lnTo>
                  <a:lnTo>
                    <a:pt x="1314" y="1206"/>
                  </a:lnTo>
                  <a:lnTo>
                    <a:pt x="1308" y="1194"/>
                  </a:lnTo>
                  <a:lnTo>
                    <a:pt x="1308" y="1182"/>
                  </a:lnTo>
                  <a:lnTo>
                    <a:pt x="1320" y="1176"/>
                  </a:lnTo>
                  <a:lnTo>
                    <a:pt x="1326" y="1170"/>
                  </a:lnTo>
                  <a:lnTo>
                    <a:pt x="1338" y="1170"/>
                  </a:lnTo>
                  <a:lnTo>
                    <a:pt x="1350" y="1164"/>
                  </a:lnTo>
                  <a:lnTo>
                    <a:pt x="1362" y="1152"/>
                  </a:lnTo>
                  <a:lnTo>
                    <a:pt x="1374" y="1134"/>
                  </a:lnTo>
                  <a:lnTo>
                    <a:pt x="1374" y="1110"/>
                  </a:lnTo>
                  <a:lnTo>
                    <a:pt x="1392" y="1116"/>
                  </a:lnTo>
                  <a:lnTo>
                    <a:pt x="1398" y="1146"/>
                  </a:lnTo>
                  <a:lnTo>
                    <a:pt x="1416" y="1110"/>
                  </a:lnTo>
                  <a:lnTo>
                    <a:pt x="1416" y="1128"/>
                  </a:lnTo>
                  <a:lnTo>
                    <a:pt x="1422" y="1140"/>
                  </a:lnTo>
                  <a:lnTo>
                    <a:pt x="1422" y="1158"/>
                  </a:lnTo>
                  <a:lnTo>
                    <a:pt x="1428" y="1170"/>
                  </a:lnTo>
                  <a:lnTo>
                    <a:pt x="1434" y="1176"/>
                  </a:lnTo>
                  <a:lnTo>
                    <a:pt x="1440" y="1176"/>
                  </a:lnTo>
                  <a:lnTo>
                    <a:pt x="1446" y="1170"/>
                  </a:lnTo>
                  <a:lnTo>
                    <a:pt x="1446" y="1158"/>
                  </a:lnTo>
                  <a:lnTo>
                    <a:pt x="1452" y="1152"/>
                  </a:lnTo>
                  <a:lnTo>
                    <a:pt x="1452" y="1140"/>
                  </a:lnTo>
                  <a:lnTo>
                    <a:pt x="1458" y="1110"/>
                  </a:lnTo>
                  <a:lnTo>
                    <a:pt x="1440" y="1068"/>
                  </a:lnTo>
                  <a:lnTo>
                    <a:pt x="1440" y="1038"/>
                  </a:lnTo>
                  <a:lnTo>
                    <a:pt x="1410" y="1014"/>
                  </a:lnTo>
                  <a:lnTo>
                    <a:pt x="1398" y="984"/>
                  </a:lnTo>
                  <a:lnTo>
                    <a:pt x="1404" y="972"/>
                  </a:lnTo>
                  <a:lnTo>
                    <a:pt x="1410" y="966"/>
                  </a:lnTo>
                  <a:lnTo>
                    <a:pt x="1416" y="948"/>
                  </a:lnTo>
                  <a:lnTo>
                    <a:pt x="1416" y="942"/>
                  </a:lnTo>
                  <a:lnTo>
                    <a:pt x="1410" y="936"/>
                  </a:lnTo>
                  <a:lnTo>
                    <a:pt x="1398" y="930"/>
                  </a:lnTo>
                  <a:lnTo>
                    <a:pt x="1380" y="930"/>
                  </a:lnTo>
                  <a:lnTo>
                    <a:pt x="1368" y="924"/>
                  </a:lnTo>
                  <a:lnTo>
                    <a:pt x="1356" y="912"/>
                  </a:lnTo>
                  <a:lnTo>
                    <a:pt x="1368" y="900"/>
                  </a:lnTo>
                  <a:lnTo>
                    <a:pt x="1374" y="900"/>
                  </a:lnTo>
                  <a:lnTo>
                    <a:pt x="1374" y="870"/>
                  </a:lnTo>
                  <a:lnTo>
                    <a:pt x="1410" y="870"/>
                  </a:lnTo>
                  <a:lnTo>
                    <a:pt x="1410" y="858"/>
                  </a:lnTo>
                  <a:lnTo>
                    <a:pt x="1380" y="840"/>
                  </a:lnTo>
                  <a:lnTo>
                    <a:pt x="1374" y="840"/>
                  </a:lnTo>
                  <a:lnTo>
                    <a:pt x="1362" y="828"/>
                  </a:lnTo>
                  <a:lnTo>
                    <a:pt x="1350" y="822"/>
                  </a:lnTo>
                  <a:lnTo>
                    <a:pt x="1344" y="810"/>
                  </a:lnTo>
                  <a:lnTo>
                    <a:pt x="1344" y="804"/>
                  </a:lnTo>
                  <a:lnTo>
                    <a:pt x="1350" y="792"/>
                  </a:lnTo>
                  <a:lnTo>
                    <a:pt x="1362" y="780"/>
                  </a:lnTo>
                  <a:lnTo>
                    <a:pt x="1350" y="762"/>
                  </a:lnTo>
                  <a:lnTo>
                    <a:pt x="1368" y="762"/>
                  </a:lnTo>
                  <a:lnTo>
                    <a:pt x="1392" y="774"/>
                  </a:lnTo>
                  <a:lnTo>
                    <a:pt x="1386" y="768"/>
                  </a:lnTo>
                  <a:lnTo>
                    <a:pt x="1404" y="762"/>
                  </a:lnTo>
                  <a:lnTo>
                    <a:pt x="1410" y="774"/>
                  </a:lnTo>
                  <a:lnTo>
                    <a:pt x="1410" y="780"/>
                  </a:lnTo>
                  <a:lnTo>
                    <a:pt x="1416" y="792"/>
                  </a:lnTo>
                  <a:lnTo>
                    <a:pt x="1422" y="798"/>
                  </a:lnTo>
                  <a:lnTo>
                    <a:pt x="1434" y="798"/>
                  </a:lnTo>
                  <a:lnTo>
                    <a:pt x="1440" y="804"/>
                  </a:lnTo>
                  <a:lnTo>
                    <a:pt x="1446" y="786"/>
                  </a:lnTo>
                  <a:lnTo>
                    <a:pt x="1452" y="792"/>
                  </a:lnTo>
                  <a:lnTo>
                    <a:pt x="1458" y="792"/>
                  </a:lnTo>
                  <a:lnTo>
                    <a:pt x="1464" y="798"/>
                  </a:lnTo>
                  <a:lnTo>
                    <a:pt x="1464" y="828"/>
                  </a:lnTo>
                  <a:lnTo>
                    <a:pt x="1470" y="828"/>
                  </a:lnTo>
                  <a:lnTo>
                    <a:pt x="1470" y="864"/>
                  </a:lnTo>
                  <a:lnTo>
                    <a:pt x="1476" y="864"/>
                  </a:lnTo>
                  <a:lnTo>
                    <a:pt x="1482" y="870"/>
                  </a:lnTo>
                  <a:lnTo>
                    <a:pt x="1542" y="870"/>
                  </a:lnTo>
                  <a:lnTo>
                    <a:pt x="1554" y="876"/>
                  </a:lnTo>
                  <a:lnTo>
                    <a:pt x="1572" y="876"/>
                  </a:lnTo>
                  <a:lnTo>
                    <a:pt x="1620" y="864"/>
                  </a:lnTo>
                  <a:lnTo>
                    <a:pt x="1626" y="864"/>
                  </a:lnTo>
                  <a:lnTo>
                    <a:pt x="1650" y="888"/>
                  </a:lnTo>
                  <a:lnTo>
                    <a:pt x="1650" y="894"/>
                  </a:lnTo>
                  <a:lnTo>
                    <a:pt x="1644" y="900"/>
                  </a:lnTo>
                  <a:lnTo>
                    <a:pt x="1638" y="900"/>
                  </a:lnTo>
                  <a:lnTo>
                    <a:pt x="1638" y="912"/>
                  </a:lnTo>
                  <a:lnTo>
                    <a:pt x="1632" y="930"/>
                  </a:lnTo>
                  <a:lnTo>
                    <a:pt x="1626" y="942"/>
                  </a:lnTo>
                  <a:lnTo>
                    <a:pt x="1620" y="948"/>
                  </a:lnTo>
                  <a:lnTo>
                    <a:pt x="1614" y="948"/>
                  </a:lnTo>
                  <a:lnTo>
                    <a:pt x="1602" y="954"/>
                  </a:lnTo>
                  <a:lnTo>
                    <a:pt x="1596" y="954"/>
                  </a:lnTo>
                  <a:lnTo>
                    <a:pt x="1584" y="966"/>
                  </a:lnTo>
                  <a:lnTo>
                    <a:pt x="1578" y="978"/>
                  </a:lnTo>
                  <a:lnTo>
                    <a:pt x="1578" y="996"/>
                  </a:lnTo>
                  <a:lnTo>
                    <a:pt x="1584" y="1008"/>
                  </a:lnTo>
                  <a:lnTo>
                    <a:pt x="1602" y="1026"/>
                  </a:lnTo>
                  <a:lnTo>
                    <a:pt x="1608" y="1026"/>
                  </a:lnTo>
                  <a:lnTo>
                    <a:pt x="1626" y="1050"/>
                  </a:lnTo>
                  <a:lnTo>
                    <a:pt x="1632" y="1014"/>
                  </a:lnTo>
                  <a:lnTo>
                    <a:pt x="1632" y="990"/>
                  </a:lnTo>
                  <a:lnTo>
                    <a:pt x="1650" y="990"/>
                  </a:lnTo>
                  <a:lnTo>
                    <a:pt x="1662" y="996"/>
                  </a:lnTo>
                  <a:lnTo>
                    <a:pt x="1668" y="1002"/>
                  </a:lnTo>
                  <a:lnTo>
                    <a:pt x="1668" y="1020"/>
                  </a:lnTo>
                  <a:lnTo>
                    <a:pt x="1674" y="1032"/>
                  </a:lnTo>
                  <a:lnTo>
                    <a:pt x="1674" y="1038"/>
                  </a:lnTo>
                  <a:lnTo>
                    <a:pt x="1680" y="1050"/>
                  </a:lnTo>
                  <a:lnTo>
                    <a:pt x="1680" y="1062"/>
                  </a:lnTo>
                  <a:lnTo>
                    <a:pt x="1686" y="1074"/>
                  </a:lnTo>
                  <a:lnTo>
                    <a:pt x="1692" y="1092"/>
                  </a:lnTo>
                  <a:lnTo>
                    <a:pt x="1698" y="1104"/>
                  </a:lnTo>
                  <a:lnTo>
                    <a:pt x="1704" y="1110"/>
                  </a:lnTo>
                  <a:lnTo>
                    <a:pt x="1704" y="1116"/>
                  </a:lnTo>
                  <a:lnTo>
                    <a:pt x="1722" y="1134"/>
                  </a:lnTo>
                  <a:lnTo>
                    <a:pt x="1722" y="1110"/>
                  </a:lnTo>
                  <a:lnTo>
                    <a:pt x="1728" y="1110"/>
                  </a:lnTo>
                  <a:lnTo>
                    <a:pt x="1734" y="1116"/>
                  </a:lnTo>
                  <a:lnTo>
                    <a:pt x="1746" y="1116"/>
                  </a:lnTo>
                  <a:lnTo>
                    <a:pt x="1746" y="1104"/>
                  </a:lnTo>
                  <a:lnTo>
                    <a:pt x="1728" y="1086"/>
                  </a:lnTo>
                  <a:lnTo>
                    <a:pt x="1728" y="1062"/>
                  </a:lnTo>
                  <a:lnTo>
                    <a:pt x="1722" y="1050"/>
                  </a:lnTo>
                  <a:lnTo>
                    <a:pt x="1740" y="1032"/>
                  </a:lnTo>
                  <a:lnTo>
                    <a:pt x="1746" y="1032"/>
                  </a:lnTo>
                  <a:lnTo>
                    <a:pt x="1740" y="984"/>
                  </a:lnTo>
                  <a:lnTo>
                    <a:pt x="1722" y="966"/>
                  </a:lnTo>
                  <a:lnTo>
                    <a:pt x="1716" y="966"/>
                  </a:lnTo>
                  <a:lnTo>
                    <a:pt x="1770" y="966"/>
                  </a:lnTo>
                  <a:lnTo>
                    <a:pt x="1782" y="972"/>
                  </a:lnTo>
                  <a:lnTo>
                    <a:pt x="1794" y="972"/>
                  </a:lnTo>
                  <a:lnTo>
                    <a:pt x="1794" y="936"/>
                  </a:lnTo>
                  <a:lnTo>
                    <a:pt x="1812" y="882"/>
                  </a:lnTo>
                  <a:lnTo>
                    <a:pt x="1806" y="876"/>
                  </a:lnTo>
                  <a:lnTo>
                    <a:pt x="1800" y="864"/>
                  </a:lnTo>
                  <a:lnTo>
                    <a:pt x="1800" y="846"/>
                  </a:lnTo>
                  <a:lnTo>
                    <a:pt x="1812" y="840"/>
                  </a:lnTo>
                  <a:lnTo>
                    <a:pt x="1818" y="834"/>
                  </a:lnTo>
                  <a:lnTo>
                    <a:pt x="1836" y="804"/>
                  </a:lnTo>
                  <a:lnTo>
                    <a:pt x="1836" y="792"/>
                  </a:lnTo>
                  <a:lnTo>
                    <a:pt x="1830" y="786"/>
                  </a:lnTo>
                  <a:lnTo>
                    <a:pt x="1830" y="780"/>
                  </a:lnTo>
                  <a:lnTo>
                    <a:pt x="1824" y="774"/>
                  </a:lnTo>
                  <a:lnTo>
                    <a:pt x="1824" y="750"/>
                  </a:lnTo>
                  <a:lnTo>
                    <a:pt x="1830" y="750"/>
                  </a:lnTo>
                  <a:lnTo>
                    <a:pt x="1836" y="744"/>
                  </a:lnTo>
                  <a:lnTo>
                    <a:pt x="1848" y="744"/>
                  </a:lnTo>
                  <a:lnTo>
                    <a:pt x="1860" y="738"/>
                  </a:lnTo>
                  <a:lnTo>
                    <a:pt x="1872" y="726"/>
                  </a:lnTo>
                  <a:lnTo>
                    <a:pt x="1872" y="708"/>
                  </a:lnTo>
                  <a:lnTo>
                    <a:pt x="1878" y="708"/>
                  </a:lnTo>
                  <a:lnTo>
                    <a:pt x="1890" y="702"/>
                  </a:lnTo>
                  <a:lnTo>
                    <a:pt x="1926" y="702"/>
                  </a:lnTo>
                  <a:lnTo>
                    <a:pt x="1932" y="708"/>
                  </a:lnTo>
                  <a:lnTo>
                    <a:pt x="1950" y="708"/>
                  </a:lnTo>
                  <a:lnTo>
                    <a:pt x="1950" y="702"/>
                  </a:lnTo>
                  <a:lnTo>
                    <a:pt x="1944" y="696"/>
                  </a:lnTo>
                  <a:lnTo>
                    <a:pt x="1932" y="690"/>
                  </a:lnTo>
                  <a:lnTo>
                    <a:pt x="1926" y="684"/>
                  </a:lnTo>
                  <a:lnTo>
                    <a:pt x="1920" y="67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49" name="Honduras" descr="© INSCALE GmbH, 05.05.2010&#10;http://www.presentationload.com/">
              <a:extLst>
                <a:ext uri="{FF2B5EF4-FFF2-40B4-BE49-F238E27FC236}">
                  <a16:creationId xmlns:a16="http://schemas.microsoft.com/office/drawing/2014/main" id="{9C7D46DA-5A2E-43AC-88A2-04D916C02BE0}"/>
                </a:ext>
              </a:extLst>
            </p:cNvPr>
            <p:cNvSpPr>
              <a:spLocks/>
            </p:cNvSpPr>
            <p:nvPr/>
          </p:nvSpPr>
          <p:spPr bwMode="gray">
            <a:xfrm>
              <a:off x="1625226" y="3739886"/>
              <a:ext cx="177186" cy="97217"/>
            </a:xfrm>
            <a:custGeom>
              <a:avLst/>
              <a:gdLst>
                <a:gd name="T0" fmla="*/ 2147483647 w 444"/>
                <a:gd name="T1" fmla="*/ 2147483647 h 246"/>
                <a:gd name="T2" fmla="*/ 2147483647 w 444"/>
                <a:gd name="T3" fmla="*/ 2147483647 h 246"/>
                <a:gd name="T4" fmla="*/ 2147483647 w 444"/>
                <a:gd name="T5" fmla="*/ 2147483647 h 246"/>
                <a:gd name="T6" fmla="*/ 2147483647 w 444"/>
                <a:gd name="T7" fmla="*/ 2147483647 h 246"/>
                <a:gd name="T8" fmla="*/ 2147483647 w 444"/>
                <a:gd name="T9" fmla="*/ 2147483647 h 246"/>
                <a:gd name="T10" fmla="*/ 2147483647 w 444"/>
                <a:gd name="T11" fmla="*/ 2147483647 h 246"/>
                <a:gd name="T12" fmla="*/ 2147483647 w 444"/>
                <a:gd name="T13" fmla="*/ 2147483647 h 246"/>
                <a:gd name="T14" fmla="*/ 2147483647 w 444"/>
                <a:gd name="T15" fmla="*/ 2147483647 h 246"/>
                <a:gd name="T16" fmla="*/ 2147483647 w 444"/>
                <a:gd name="T17" fmla="*/ 2147483647 h 246"/>
                <a:gd name="T18" fmla="*/ 2147483647 w 444"/>
                <a:gd name="T19" fmla="*/ 2147483647 h 246"/>
                <a:gd name="T20" fmla="*/ 2147483647 w 444"/>
                <a:gd name="T21" fmla="*/ 2147483647 h 246"/>
                <a:gd name="T22" fmla="*/ 2147483647 w 444"/>
                <a:gd name="T23" fmla="*/ 2147483647 h 246"/>
                <a:gd name="T24" fmla="*/ 2147483647 w 444"/>
                <a:gd name="T25" fmla="*/ 2147483647 h 246"/>
                <a:gd name="T26" fmla="*/ 2147483647 w 444"/>
                <a:gd name="T27" fmla="*/ 2147483647 h 246"/>
                <a:gd name="T28" fmla="*/ 2147483647 w 444"/>
                <a:gd name="T29" fmla="*/ 2147483647 h 246"/>
                <a:gd name="T30" fmla="*/ 2147483647 w 444"/>
                <a:gd name="T31" fmla="*/ 2147483647 h 246"/>
                <a:gd name="T32" fmla="*/ 2147483647 w 444"/>
                <a:gd name="T33" fmla="*/ 2147483647 h 246"/>
                <a:gd name="T34" fmla="*/ 2147483647 w 444"/>
                <a:gd name="T35" fmla="*/ 2147483647 h 246"/>
                <a:gd name="T36" fmla="*/ 2147483647 w 444"/>
                <a:gd name="T37" fmla="*/ 2147483647 h 246"/>
                <a:gd name="T38" fmla="*/ 2147483647 w 444"/>
                <a:gd name="T39" fmla="*/ 0 h 246"/>
                <a:gd name="T40" fmla="*/ 2147483647 w 444"/>
                <a:gd name="T41" fmla="*/ 2147483647 h 246"/>
                <a:gd name="T42" fmla="*/ 2147483647 w 444"/>
                <a:gd name="T43" fmla="*/ 2147483647 h 246"/>
                <a:gd name="T44" fmla="*/ 2147483647 w 444"/>
                <a:gd name="T45" fmla="*/ 0 h 246"/>
                <a:gd name="T46" fmla="*/ 2147483647 w 444"/>
                <a:gd name="T47" fmla="*/ 2147483647 h 246"/>
                <a:gd name="T48" fmla="*/ 2147483647 w 444"/>
                <a:gd name="T49" fmla="*/ 2147483647 h 246"/>
                <a:gd name="T50" fmla="*/ 2147483647 w 444"/>
                <a:gd name="T51" fmla="*/ 2147483647 h 246"/>
                <a:gd name="T52" fmla="*/ 2147483647 w 444"/>
                <a:gd name="T53" fmla="*/ 2147483647 h 246"/>
                <a:gd name="T54" fmla="*/ 2147483647 w 444"/>
                <a:gd name="T55" fmla="*/ 2147483647 h 246"/>
                <a:gd name="T56" fmla="*/ 2147483647 w 444"/>
                <a:gd name="T57" fmla="*/ 2147483647 h 246"/>
                <a:gd name="T58" fmla="*/ 2147483647 w 444"/>
                <a:gd name="T59" fmla="*/ 2147483647 h 246"/>
                <a:gd name="T60" fmla="*/ 2147483647 w 444"/>
                <a:gd name="T61" fmla="*/ 0 h 246"/>
                <a:gd name="T62" fmla="*/ 2147483647 w 444"/>
                <a:gd name="T63" fmla="*/ 2147483647 h 246"/>
                <a:gd name="T64" fmla="*/ 2147483647 w 444"/>
                <a:gd name="T65" fmla="*/ 2147483647 h 246"/>
                <a:gd name="T66" fmla="*/ 2147483647 w 444"/>
                <a:gd name="T67" fmla="*/ 2147483647 h 246"/>
                <a:gd name="T68" fmla="*/ 2147483647 w 444"/>
                <a:gd name="T69" fmla="*/ 2147483647 h 246"/>
                <a:gd name="T70" fmla="*/ 2147483647 w 444"/>
                <a:gd name="T71" fmla="*/ 2147483647 h 246"/>
                <a:gd name="T72" fmla="*/ 0 w 444"/>
                <a:gd name="T73" fmla="*/ 2147483647 h 246"/>
                <a:gd name="T74" fmla="*/ 2147483647 w 444"/>
                <a:gd name="T75" fmla="*/ 2147483647 h 246"/>
                <a:gd name="T76" fmla="*/ 2147483647 w 444"/>
                <a:gd name="T77" fmla="*/ 2147483647 h 246"/>
                <a:gd name="T78" fmla="*/ 2147483647 w 444"/>
                <a:gd name="T79" fmla="*/ 2147483647 h 246"/>
                <a:gd name="T80" fmla="*/ 2147483647 w 444"/>
                <a:gd name="T81" fmla="*/ 2147483647 h 246"/>
                <a:gd name="T82" fmla="*/ 2147483647 w 444"/>
                <a:gd name="T83" fmla="*/ 2147483647 h 246"/>
                <a:gd name="T84" fmla="*/ 2147483647 w 444"/>
                <a:gd name="T85" fmla="*/ 2147483647 h 246"/>
                <a:gd name="T86" fmla="*/ 2147483647 w 444"/>
                <a:gd name="T87" fmla="*/ 2147483647 h 2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4"/>
                <a:gd name="T133" fmla="*/ 0 h 246"/>
                <a:gd name="T134" fmla="*/ 444 w 444"/>
                <a:gd name="T135" fmla="*/ 246 h 2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4" h="246">
                  <a:moveTo>
                    <a:pt x="156" y="240"/>
                  </a:moveTo>
                  <a:lnTo>
                    <a:pt x="156" y="222"/>
                  </a:lnTo>
                  <a:lnTo>
                    <a:pt x="174" y="222"/>
                  </a:lnTo>
                  <a:lnTo>
                    <a:pt x="168" y="216"/>
                  </a:lnTo>
                  <a:lnTo>
                    <a:pt x="168" y="204"/>
                  </a:lnTo>
                  <a:lnTo>
                    <a:pt x="162" y="198"/>
                  </a:lnTo>
                  <a:lnTo>
                    <a:pt x="162" y="186"/>
                  </a:lnTo>
                  <a:lnTo>
                    <a:pt x="168" y="180"/>
                  </a:lnTo>
                  <a:lnTo>
                    <a:pt x="204" y="180"/>
                  </a:lnTo>
                  <a:lnTo>
                    <a:pt x="210" y="168"/>
                  </a:lnTo>
                  <a:lnTo>
                    <a:pt x="216" y="162"/>
                  </a:lnTo>
                  <a:lnTo>
                    <a:pt x="228" y="162"/>
                  </a:lnTo>
                  <a:lnTo>
                    <a:pt x="228" y="168"/>
                  </a:lnTo>
                  <a:lnTo>
                    <a:pt x="234" y="174"/>
                  </a:lnTo>
                  <a:lnTo>
                    <a:pt x="252" y="174"/>
                  </a:lnTo>
                  <a:lnTo>
                    <a:pt x="276" y="150"/>
                  </a:lnTo>
                  <a:lnTo>
                    <a:pt x="288" y="126"/>
                  </a:lnTo>
                  <a:lnTo>
                    <a:pt x="306" y="126"/>
                  </a:lnTo>
                  <a:lnTo>
                    <a:pt x="306" y="108"/>
                  </a:lnTo>
                  <a:lnTo>
                    <a:pt x="318" y="96"/>
                  </a:lnTo>
                  <a:lnTo>
                    <a:pt x="330" y="96"/>
                  </a:lnTo>
                  <a:lnTo>
                    <a:pt x="348" y="114"/>
                  </a:lnTo>
                  <a:lnTo>
                    <a:pt x="360" y="114"/>
                  </a:lnTo>
                  <a:lnTo>
                    <a:pt x="372" y="102"/>
                  </a:lnTo>
                  <a:lnTo>
                    <a:pt x="372" y="96"/>
                  </a:lnTo>
                  <a:lnTo>
                    <a:pt x="420" y="96"/>
                  </a:lnTo>
                  <a:lnTo>
                    <a:pt x="426" y="90"/>
                  </a:lnTo>
                  <a:lnTo>
                    <a:pt x="432" y="90"/>
                  </a:lnTo>
                  <a:lnTo>
                    <a:pt x="444" y="84"/>
                  </a:lnTo>
                  <a:lnTo>
                    <a:pt x="444" y="78"/>
                  </a:lnTo>
                  <a:lnTo>
                    <a:pt x="426" y="60"/>
                  </a:lnTo>
                  <a:lnTo>
                    <a:pt x="402" y="48"/>
                  </a:lnTo>
                  <a:lnTo>
                    <a:pt x="396" y="48"/>
                  </a:lnTo>
                  <a:lnTo>
                    <a:pt x="390" y="42"/>
                  </a:lnTo>
                  <a:lnTo>
                    <a:pt x="384" y="30"/>
                  </a:lnTo>
                  <a:lnTo>
                    <a:pt x="372" y="24"/>
                  </a:lnTo>
                  <a:lnTo>
                    <a:pt x="366" y="18"/>
                  </a:lnTo>
                  <a:lnTo>
                    <a:pt x="348" y="18"/>
                  </a:lnTo>
                  <a:lnTo>
                    <a:pt x="342" y="6"/>
                  </a:lnTo>
                  <a:lnTo>
                    <a:pt x="336" y="0"/>
                  </a:lnTo>
                  <a:lnTo>
                    <a:pt x="312" y="0"/>
                  </a:lnTo>
                  <a:lnTo>
                    <a:pt x="300" y="6"/>
                  </a:lnTo>
                  <a:lnTo>
                    <a:pt x="294" y="12"/>
                  </a:lnTo>
                  <a:lnTo>
                    <a:pt x="282" y="12"/>
                  </a:lnTo>
                  <a:lnTo>
                    <a:pt x="270" y="0"/>
                  </a:lnTo>
                  <a:lnTo>
                    <a:pt x="252" y="0"/>
                  </a:lnTo>
                  <a:lnTo>
                    <a:pt x="240" y="6"/>
                  </a:lnTo>
                  <a:lnTo>
                    <a:pt x="234" y="18"/>
                  </a:lnTo>
                  <a:lnTo>
                    <a:pt x="222" y="24"/>
                  </a:lnTo>
                  <a:lnTo>
                    <a:pt x="186" y="24"/>
                  </a:lnTo>
                  <a:lnTo>
                    <a:pt x="174" y="18"/>
                  </a:lnTo>
                  <a:lnTo>
                    <a:pt x="168" y="12"/>
                  </a:lnTo>
                  <a:lnTo>
                    <a:pt x="156" y="12"/>
                  </a:lnTo>
                  <a:lnTo>
                    <a:pt x="150" y="18"/>
                  </a:lnTo>
                  <a:lnTo>
                    <a:pt x="144" y="18"/>
                  </a:lnTo>
                  <a:lnTo>
                    <a:pt x="138" y="24"/>
                  </a:lnTo>
                  <a:lnTo>
                    <a:pt x="132" y="24"/>
                  </a:lnTo>
                  <a:lnTo>
                    <a:pt x="132" y="18"/>
                  </a:lnTo>
                  <a:lnTo>
                    <a:pt x="126" y="12"/>
                  </a:lnTo>
                  <a:lnTo>
                    <a:pt x="126" y="6"/>
                  </a:lnTo>
                  <a:lnTo>
                    <a:pt x="120" y="0"/>
                  </a:lnTo>
                  <a:lnTo>
                    <a:pt x="114" y="0"/>
                  </a:lnTo>
                  <a:lnTo>
                    <a:pt x="96" y="18"/>
                  </a:lnTo>
                  <a:lnTo>
                    <a:pt x="90" y="18"/>
                  </a:lnTo>
                  <a:lnTo>
                    <a:pt x="84" y="30"/>
                  </a:lnTo>
                  <a:lnTo>
                    <a:pt x="72" y="36"/>
                  </a:lnTo>
                  <a:lnTo>
                    <a:pt x="60" y="48"/>
                  </a:lnTo>
                  <a:lnTo>
                    <a:pt x="48" y="54"/>
                  </a:lnTo>
                  <a:lnTo>
                    <a:pt x="36" y="66"/>
                  </a:lnTo>
                  <a:lnTo>
                    <a:pt x="24" y="72"/>
                  </a:lnTo>
                  <a:lnTo>
                    <a:pt x="18" y="84"/>
                  </a:lnTo>
                  <a:lnTo>
                    <a:pt x="18" y="102"/>
                  </a:lnTo>
                  <a:lnTo>
                    <a:pt x="12" y="114"/>
                  </a:lnTo>
                  <a:lnTo>
                    <a:pt x="0" y="126"/>
                  </a:lnTo>
                  <a:lnTo>
                    <a:pt x="6" y="138"/>
                  </a:lnTo>
                  <a:lnTo>
                    <a:pt x="18" y="150"/>
                  </a:lnTo>
                  <a:lnTo>
                    <a:pt x="42" y="150"/>
                  </a:lnTo>
                  <a:lnTo>
                    <a:pt x="42" y="168"/>
                  </a:lnTo>
                  <a:lnTo>
                    <a:pt x="48" y="174"/>
                  </a:lnTo>
                  <a:lnTo>
                    <a:pt x="60" y="174"/>
                  </a:lnTo>
                  <a:lnTo>
                    <a:pt x="66" y="168"/>
                  </a:lnTo>
                  <a:lnTo>
                    <a:pt x="102" y="168"/>
                  </a:lnTo>
                  <a:lnTo>
                    <a:pt x="102" y="210"/>
                  </a:lnTo>
                  <a:lnTo>
                    <a:pt x="126" y="222"/>
                  </a:lnTo>
                  <a:lnTo>
                    <a:pt x="132" y="228"/>
                  </a:lnTo>
                  <a:lnTo>
                    <a:pt x="132" y="246"/>
                  </a:lnTo>
                  <a:lnTo>
                    <a:pt x="144" y="246"/>
                  </a:lnTo>
                  <a:lnTo>
                    <a:pt x="156" y="24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50" name="Haiti" descr="© INSCALE GmbH, 05.05.2010&#10;http://www.presentationload.com/">
              <a:extLst>
                <a:ext uri="{FF2B5EF4-FFF2-40B4-BE49-F238E27FC236}">
                  <a16:creationId xmlns:a16="http://schemas.microsoft.com/office/drawing/2014/main" id="{6F84B0A7-4D24-4510-80C7-134DB7BA8DB4}"/>
                </a:ext>
              </a:extLst>
            </p:cNvPr>
            <p:cNvSpPr>
              <a:spLocks/>
            </p:cNvSpPr>
            <p:nvPr/>
          </p:nvSpPr>
          <p:spPr bwMode="gray">
            <a:xfrm>
              <a:off x="2059569" y="3616012"/>
              <a:ext cx="78401" cy="61153"/>
            </a:xfrm>
            <a:custGeom>
              <a:avLst/>
              <a:gdLst>
                <a:gd name="T0" fmla="*/ 2147483647 w 198"/>
                <a:gd name="T1" fmla="*/ 2147483647 h 156"/>
                <a:gd name="T2" fmla="*/ 2147483647 w 198"/>
                <a:gd name="T3" fmla="*/ 2147483647 h 156"/>
                <a:gd name="T4" fmla="*/ 2147483647 w 198"/>
                <a:gd name="T5" fmla="*/ 2147483647 h 156"/>
                <a:gd name="T6" fmla="*/ 2147483647 w 198"/>
                <a:gd name="T7" fmla="*/ 2147483647 h 156"/>
                <a:gd name="T8" fmla="*/ 2147483647 w 198"/>
                <a:gd name="T9" fmla="*/ 2147483647 h 156"/>
                <a:gd name="T10" fmla="*/ 2147483647 w 198"/>
                <a:gd name="T11" fmla="*/ 2147483647 h 156"/>
                <a:gd name="T12" fmla="*/ 2147483647 w 198"/>
                <a:gd name="T13" fmla="*/ 2147483647 h 156"/>
                <a:gd name="T14" fmla="*/ 2147483647 w 198"/>
                <a:gd name="T15" fmla="*/ 2147483647 h 156"/>
                <a:gd name="T16" fmla="*/ 2147483647 w 198"/>
                <a:gd name="T17" fmla="*/ 2147483647 h 156"/>
                <a:gd name="T18" fmla="*/ 2147483647 w 198"/>
                <a:gd name="T19" fmla="*/ 2147483647 h 156"/>
                <a:gd name="T20" fmla="*/ 2147483647 w 198"/>
                <a:gd name="T21" fmla="*/ 2147483647 h 156"/>
                <a:gd name="T22" fmla="*/ 2147483647 w 198"/>
                <a:gd name="T23" fmla="*/ 2147483647 h 156"/>
                <a:gd name="T24" fmla="*/ 2147483647 w 198"/>
                <a:gd name="T25" fmla="*/ 2147483647 h 156"/>
                <a:gd name="T26" fmla="*/ 2147483647 w 198"/>
                <a:gd name="T27" fmla="*/ 2147483647 h 156"/>
                <a:gd name="T28" fmla="*/ 2147483647 w 198"/>
                <a:gd name="T29" fmla="*/ 2147483647 h 156"/>
                <a:gd name="T30" fmla="*/ 2147483647 w 198"/>
                <a:gd name="T31" fmla="*/ 2147483647 h 156"/>
                <a:gd name="T32" fmla="*/ 2147483647 w 198"/>
                <a:gd name="T33" fmla="*/ 2147483647 h 156"/>
                <a:gd name="T34" fmla="*/ 2147483647 w 198"/>
                <a:gd name="T35" fmla="*/ 0 h 156"/>
                <a:gd name="T36" fmla="*/ 2147483647 w 198"/>
                <a:gd name="T37" fmla="*/ 0 h 156"/>
                <a:gd name="T38" fmla="*/ 2147483647 w 198"/>
                <a:gd name="T39" fmla="*/ 2147483647 h 156"/>
                <a:gd name="T40" fmla="*/ 2147483647 w 198"/>
                <a:gd name="T41" fmla="*/ 2147483647 h 156"/>
                <a:gd name="T42" fmla="*/ 2147483647 w 198"/>
                <a:gd name="T43" fmla="*/ 2147483647 h 156"/>
                <a:gd name="T44" fmla="*/ 2147483647 w 198"/>
                <a:gd name="T45" fmla="*/ 2147483647 h 156"/>
                <a:gd name="T46" fmla="*/ 2147483647 w 198"/>
                <a:gd name="T47" fmla="*/ 2147483647 h 156"/>
                <a:gd name="T48" fmla="*/ 2147483647 w 198"/>
                <a:gd name="T49" fmla="*/ 2147483647 h 156"/>
                <a:gd name="T50" fmla="*/ 2147483647 w 198"/>
                <a:gd name="T51" fmla="*/ 2147483647 h 156"/>
                <a:gd name="T52" fmla="*/ 2147483647 w 198"/>
                <a:gd name="T53" fmla="*/ 2147483647 h 156"/>
                <a:gd name="T54" fmla="*/ 2147483647 w 198"/>
                <a:gd name="T55" fmla="*/ 2147483647 h 156"/>
                <a:gd name="T56" fmla="*/ 2147483647 w 198"/>
                <a:gd name="T57" fmla="*/ 2147483647 h 156"/>
                <a:gd name="T58" fmla="*/ 2147483647 w 198"/>
                <a:gd name="T59" fmla="*/ 2147483647 h 156"/>
                <a:gd name="T60" fmla="*/ 2147483647 w 198"/>
                <a:gd name="T61" fmla="*/ 2147483647 h 156"/>
                <a:gd name="T62" fmla="*/ 2147483647 w 198"/>
                <a:gd name="T63" fmla="*/ 2147483647 h 156"/>
                <a:gd name="T64" fmla="*/ 2147483647 w 198"/>
                <a:gd name="T65" fmla="*/ 2147483647 h 156"/>
                <a:gd name="T66" fmla="*/ 2147483647 w 198"/>
                <a:gd name="T67" fmla="*/ 2147483647 h 156"/>
                <a:gd name="T68" fmla="*/ 2147483647 w 198"/>
                <a:gd name="T69" fmla="*/ 2147483647 h 156"/>
                <a:gd name="T70" fmla="*/ 2147483647 w 198"/>
                <a:gd name="T71" fmla="*/ 2147483647 h 156"/>
                <a:gd name="T72" fmla="*/ 2147483647 w 198"/>
                <a:gd name="T73" fmla="*/ 2147483647 h 156"/>
                <a:gd name="T74" fmla="*/ 2147483647 w 198"/>
                <a:gd name="T75" fmla="*/ 2147483647 h 156"/>
                <a:gd name="T76" fmla="*/ 2147483647 w 198"/>
                <a:gd name="T77" fmla="*/ 2147483647 h 156"/>
                <a:gd name="T78" fmla="*/ 2147483647 w 198"/>
                <a:gd name="T79" fmla="*/ 2147483647 h 156"/>
                <a:gd name="T80" fmla="*/ 2147483647 w 198"/>
                <a:gd name="T81" fmla="*/ 2147483647 h 156"/>
                <a:gd name="T82" fmla="*/ 0 w 198"/>
                <a:gd name="T83" fmla="*/ 2147483647 h 156"/>
                <a:gd name="T84" fmla="*/ 0 w 198"/>
                <a:gd name="T85" fmla="*/ 2147483647 h 156"/>
                <a:gd name="T86" fmla="*/ 2147483647 w 198"/>
                <a:gd name="T87" fmla="*/ 2147483647 h 156"/>
                <a:gd name="T88" fmla="*/ 2147483647 w 198"/>
                <a:gd name="T89" fmla="*/ 2147483647 h 156"/>
                <a:gd name="T90" fmla="*/ 2147483647 w 198"/>
                <a:gd name="T91" fmla="*/ 2147483647 h 156"/>
                <a:gd name="T92" fmla="*/ 2147483647 w 198"/>
                <a:gd name="T93" fmla="*/ 2147483647 h 156"/>
                <a:gd name="T94" fmla="*/ 2147483647 w 198"/>
                <a:gd name="T95" fmla="*/ 2147483647 h 156"/>
                <a:gd name="T96" fmla="*/ 2147483647 w 198"/>
                <a:gd name="T97" fmla="*/ 2147483647 h 156"/>
                <a:gd name="T98" fmla="*/ 2147483647 w 198"/>
                <a:gd name="T99" fmla="*/ 2147483647 h 156"/>
                <a:gd name="T100" fmla="*/ 2147483647 w 198"/>
                <a:gd name="T101" fmla="*/ 2147483647 h 156"/>
                <a:gd name="T102" fmla="*/ 2147483647 w 198"/>
                <a:gd name="T103" fmla="*/ 2147483647 h 156"/>
                <a:gd name="T104" fmla="*/ 2147483647 w 198"/>
                <a:gd name="T105" fmla="*/ 2147483647 h 156"/>
                <a:gd name="T106" fmla="*/ 2147483647 w 198"/>
                <a:gd name="T107" fmla="*/ 2147483647 h 156"/>
                <a:gd name="T108" fmla="*/ 2147483647 w 198"/>
                <a:gd name="T109" fmla="*/ 2147483647 h 156"/>
                <a:gd name="T110" fmla="*/ 2147483647 w 198"/>
                <a:gd name="T111" fmla="*/ 2147483647 h 156"/>
                <a:gd name="T112" fmla="*/ 2147483647 w 198"/>
                <a:gd name="T113" fmla="*/ 2147483647 h 1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8"/>
                <a:gd name="T172" fmla="*/ 0 h 156"/>
                <a:gd name="T173" fmla="*/ 198 w 198"/>
                <a:gd name="T174" fmla="*/ 156 h 1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8" h="156">
                  <a:moveTo>
                    <a:pt x="168" y="114"/>
                  </a:moveTo>
                  <a:lnTo>
                    <a:pt x="168" y="108"/>
                  </a:lnTo>
                  <a:lnTo>
                    <a:pt x="174" y="102"/>
                  </a:lnTo>
                  <a:lnTo>
                    <a:pt x="180" y="90"/>
                  </a:lnTo>
                  <a:lnTo>
                    <a:pt x="180" y="78"/>
                  </a:lnTo>
                  <a:lnTo>
                    <a:pt x="186" y="72"/>
                  </a:lnTo>
                  <a:lnTo>
                    <a:pt x="192" y="60"/>
                  </a:lnTo>
                  <a:lnTo>
                    <a:pt x="198" y="54"/>
                  </a:lnTo>
                  <a:lnTo>
                    <a:pt x="198" y="42"/>
                  </a:lnTo>
                  <a:lnTo>
                    <a:pt x="186" y="6"/>
                  </a:lnTo>
                  <a:lnTo>
                    <a:pt x="180" y="12"/>
                  </a:lnTo>
                  <a:lnTo>
                    <a:pt x="180" y="18"/>
                  </a:lnTo>
                  <a:lnTo>
                    <a:pt x="174" y="18"/>
                  </a:lnTo>
                  <a:lnTo>
                    <a:pt x="168" y="12"/>
                  </a:lnTo>
                  <a:lnTo>
                    <a:pt x="156" y="12"/>
                  </a:lnTo>
                  <a:lnTo>
                    <a:pt x="144" y="6"/>
                  </a:lnTo>
                  <a:lnTo>
                    <a:pt x="126" y="6"/>
                  </a:lnTo>
                  <a:lnTo>
                    <a:pt x="114" y="0"/>
                  </a:lnTo>
                  <a:lnTo>
                    <a:pt x="84" y="0"/>
                  </a:lnTo>
                  <a:lnTo>
                    <a:pt x="72" y="6"/>
                  </a:lnTo>
                  <a:lnTo>
                    <a:pt x="66" y="12"/>
                  </a:lnTo>
                  <a:lnTo>
                    <a:pt x="66" y="18"/>
                  </a:lnTo>
                  <a:lnTo>
                    <a:pt x="72" y="24"/>
                  </a:lnTo>
                  <a:lnTo>
                    <a:pt x="108" y="24"/>
                  </a:lnTo>
                  <a:lnTo>
                    <a:pt x="114" y="30"/>
                  </a:lnTo>
                  <a:lnTo>
                    <a:pt x="120" y="42"/>
                  </a:lnTo>
                  <a:lnTo>
                    <a:pt x="126" y="48"/>
                  </a:lnTo>
                  <a:lnTo>
                    <a:pt x="114" y="54"/>
                  </a:lnTo>
                  <a:lnTo>
                    <a:pt x="108" y="60"/>
                  </a:lnTo>
                  <a:lnTo>
                    <a:pt x="108" y="72"/>
                  </a:lnTo>
                  <a:lnTo>
                    <a:pt x="114" y="84"/>
                  </a:lnTo>
                  <a:lnTo>
                    <a:pt x="114" y="96"/>
                  </a:lnTo>
                  <a:lnTo>
                    <a:pt x="120" y="102"/>
                  </a:lnTo>
                  <a:lnTo>
                    <a:pt x="114" y="108"/>
                  </a:lnTo>
                  <a:lnTo>
                    <a:pt x="96" y="108"/>
                  </a:lnTo>
                  <a:lnTo>
                    <a:pt x="78" y="102"/>
                  </a:lnTo>
                  <a:lnTo>
                    <a:pt x="66" y="102"/>
                  </a:lnTo>
                  <a:lnTo>
                    <a:pt x="54" y="96"/>
                  </a:lnTo>
                  <a:lnTo>
                    <a:pt x="36" y="96"/>
                  </a:lnTo>
                  <a:lnTo>
                    <a:pt x="24" y="102"/>
                  </a:lnTo>
                  <a:lnTo>
                    <a:pt x="6" y="102"/>
                  </a:lnTo>
                  <a:lnTo>
                    <a:pt x="0" y="108"/>
                  </a:lnTo>
                  <a:lnTo>
                    <a:pt x="0" y="114"/>
                  </a:lnTo>
                  <a:lnTo>
                    <a:pt x="6" y="120"/>
                  </a:lnTo>
                  <a:lnTo>
                    <a:pt x="12" y="132"/>
                  </a:lnTo>
                  <a:lnTo>
                    <a:pt x="24" y="138"/>
                  </a:lnTo>
                  <a:lnTo>
                    <a:pt x="30" y="150"/>
                  </a:lnTo>
                  <a:lnTo>
                    <a:pt x="36" y="156"/>
                  </a:lnTo>
                  <a:lnTo>
                    <a:pt x="42" y="156"/>
                  </a:lnTo>
                  <a:lnTo>
                    <a:pt x="48" y="150"/>
                  </a:lnTo>
                  <a:lnTo>
                    <a:pt x="54" y="138"/>
                  </a:lnTo>
                  <a:lnTo>
                    <a:pt x="60" y="132"/>
                  </a:lnTo>
                  <a:lnTo>
                    <a:pt x="138" y="132"/>
                  </a:lnTo>
                  <a:lnTo>
                    <a:pt x="156" y="126"/>
                  </a:lnTo>
                  <a:lnTo>
                    <a:pt x="168" y="126"/>
                  </a:lnTo>
                  <a:lnTo>
                    <a:pt x="180" y="144"/>
                  </a:lnTo>
                  <a:lnTo>
                    <a:pt x="168" y="114"/>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51" name="Guyane (Französisch Guiana)" descr="© INSCALE GmbH, 05.05.2010&#10;http://www.presentationload.com/">
              <a:extLst>
                <a:ext uri="{FF2B5EF4-FFF2-40B4-BE49-F238E27FC236}">
                  <a16:creationId xmlns:a16="http://schemas.microsoft.com/office/drawing/2014/main" id="{E88F1095-EC9B-420D-8AAE-3555FC9C0318}"/>
                </a:ext>
              </a:extLst>
            </p:cNvPr>
            <p:cNvSpPr>
              <a:spLocks/>
            </p:cNvSpPr>
            <p:nvPr/>
          </p:nvSpPr>
          <p:spPr bwMode="gray">
            <a:xfrm>
              <a:off x="2581720" y="4067603"/>
              <a:ext cx="81537" cy="117602"/>
            </a:xfrm>
            <a:custGeom>
              <a:avLst/>
              <a:gdLst>
                <a:gd name="T0" fmla="*/ 2147483647 w 52"/>
                <a:gd name="T1" fmla="*/ 2147483647 h 76"/>
                <a:gd name="T2" fmla="*/ 2147483647 w 52"/>
                <a:gd name="T3" fmla="*/ 2147483647 h 76"/>
                <a:gd name="T4" fmla="*/ 2147483647 w 52"/>
                <a:gd name="T5" fmla="*/ 2147483647 h 76"/>
                <a:gd name="T6" fmla="*/ 2147483647 w 52"/>
                <a:gd name="T7" fmla="*/ 2147483647 h 76"/>
                <a:gd name="T8" fmla="*/ 2147483647 w 52"/>
                <a:gd name="T9" fmla="*/ 2147483647 h 76"/>
                <a:gd name="T10" fmla="*/ 2147483647 w 52"/>
                <a:gd name="T11" fmla="*/ 2147483647 h 76"/>
                <a:gd name="T12" fmla="*/ 2147483647 w 52"/>
                <a:gd name="T13" fmla="*/ 2147483647 h 76"/>
                <a:gd name="T14" fmla="*/ 2147483647 w 52"/>
                <a:gd name="T15" fmla="*/ 2147483647 h 76"/>
                <a:gd name="T16" fmla="*/ 2147483647 w 52"/>
                <a:gd name="T17" fmla="*/ 2147483647 h 76"/>
                <a:gd name="T18" fmla="*/ 2147483647 w 52"/>
                <a:gd name="T19" fmla="*/ 2147483647 h 76"/>
                <a:gd name="T20" fmla="*/ 2147483647 w 52"/>
                <a:gd name="T21" fmla="*/ 2147483647 h 76"/>
                <a:gd name="T22" fmla="*/ 2147483647 w 52"/>
                <a:gd name="T23" fmla="*/ 0 h 76"/>
                <a:gd name="T24" fmla="*/ 2147483647 w 52"/>
                <a:gd name="T25" fmla="*/ 2147483647 h 76"/>
                <a:gd name="T26" fmla="*/ 2147483647 w 52"/>
                <a:gd name="T27" fmla="*/ 2147483647 h 76"/>
                <a:gd name="T28" fmla="*/ 2147483647 w 52"/>
                <a:gd name="T29" fmla="*/ 2147483647 h 76"/>
                <a:gd name="T30" fmla="*/ 2147483647 w 52"/>
                <a:gd name="T31" fmla="*/ 2147483647 h 76"/>
                <a:gd name="T32" fmla="*/ 2147483647 w 52"/>
                <a:gd name="T33" fmla="*/ 2147483647 h 76"/>
                <a:gd name="T34" fmla="*/ 2147483647 w 52"/>
                <a:gd name="T35" fmla="*/ 2147483647 h 76"/>
                <a:gd name="T36" fmla="*/ 2147483647 w 52"/>
                <a:gd name="T37" fmla="*/ 2147483647 h 76"/>
                <a:gd name="T38" fmla="*/ 2147483647 w 52"/>
                <a:gd name="T39" fmla="*/ 2147483647 h 76"/>
                <a:gd name="T40" fmla="*/ 2147483647 w 52"/>
                <a:gd name="T41" fmla="*/ 2147483647 h 76"/>
                <a:gd name="T42" fmla="*/ 2147483647 w 52"/>
                <a:gd name="T43" fmla="*/ 2147483647 h 76"/>
                <a:gd name="T44" fmla="*/ 2147483647 w 52"/>
                <a:gd name="T45" fmla="*/ 2147483647 h 76"/>
                <a:gd name="T46" fmla="*/ 2147483647 w 52"/>
                <a:gd name="T47" fmla="*/ 2147483647 h 76"/>
                <a:gd name="T48" fmla="*/ 2147483647 w 52"/>
                <a:gd name="T49" fmla="*/ 2147483647 h 76"/>
                <a:gd name="T50" fmla="*/ 2147483647 w 52"/>
                <a:gd name="T51" fmla="*/ 2147483647 h 76"/>
                <a:gd name="T52" fmla="*/ 2147483647 w 52"/>
                <a:gd name="T53" fmla="*/ 2147483647 h 76"/>
                <a:gd name="T54" fmla="*/ 2147483647 w 52"/>
                <a:gd name="T55" fmla="*/ 2147483647 h 76"/>
                <a:gd name="T56" fmla="*/ 2147483647 w 52"/>
                <a:gd name="T57" fmla="*/ 2147483647 h 76"/>
                <a:gd name="T58" fmla="*/ 2147483647 w 52"/>
                <a:gd name="T59" fmla="*/ 2147483647 h 76"/>
                <a:gd name="T60" fmla="*/ 2147483647 w 52"/>
                <a:gd name="T61" fmla="*/ 2147483647 h 76"/>
                <a:gd name="T62" fmla="*/ 2147483647 w 52"/>
                <a:gd name="T63" fmla="*/ 2147483647 h 76"/>
                <a:gd name="T64" fmla="*/ 0 w 52"/>
                <a:gd name="T65" fmla="*/ 2147483647 h 76"/>
                <a:gd name="T66" fmla="*/ 0 w 52"/>
                <a:gd name="T67" fmla="*/ 2147483647 h 76"/>
                <a:gd name="T68" fmla="*/ 2147483647 w 52"/>
                <a:gd name="T69" fmla="*/ 2147483647 h 76"/>
                <a:gd name="T70" fmla="*/ 2147483647 w 52"/>
                <a:gd name="T71" fmla="*/ 2147483647 h 76"/>
                <a:gd name="T72" fmla="*/ 2147483647 w 52"/>
                <a:gd name="T73" fmla="*/ 2147483647 h 76"/>
                <a:gd name="T74" fmla="*/ 2147483647 w 52"/>
                <a:gd name="T75" fmla="*/ 2147483647 h 76"/>
                <a:gd name="T76" fmla="*/ 2147483647 w 52"/>
                <a:gd name="T77" fmla="*/ 2147483647 h 76"/>
                <a:gd name="T78" fmla="*/ 2147483647 w 52"/>
                <a:gd name="T79" fmla="*/ 2147483647 h 76"/>
                <a:gd name="T80" fmla="*/ 2147483647 w 52"/>
                <a:gd name="T81" fmla="*/ 2147483647 h 76"/>
                <a:gd name="T82" fmla="*/ 2147483647 w 52"/>
                <a:gd name="T83" fmla="*/ 2147483647 h 76"/>
                <a:gd name="T84" fmla="*/ 2147483647 w 52"/>
                <a:gd name="T85" fmla="*/ 2147483647 h 76"/>
                <a:gd name="T86" fmla="*/ 2147483647 w 52"/>
                <a:gd name="T87" fmla="*/ 2147483647 h 76"/>
                <a:gd name="T88" fmla="*/ 2147483647 w 52"/>
                <a:gd name="T89" fmla="*/ 2147483647 h 76"/>
                <a:gd name="T90" fmla="*/ 2147483647 w 52"/>
                <a:gd name="T91" fmla="*/ 2147483647 h 76"/>
                <a:gd name="T92" fmla="*/ 2147483647 w 52"/>
                <a:gd name="T93" fmla="*/ 2147483647 h 76"/>
                <a:gd name="T94" fmla="*/ 2147483647 w 52"/>
                <a:gd name="T95" fmla="*/ 2147483647 h 76"/>
                <a:gd name="T96" fmla="*/ 2147483647 w 52"/>
                <a:gd name="T97" fmla="*/ 2147483647 h 76"/>
                <a:gd name="T98" fmla="*/ 2147483647 w 52"/>
                <a:gd name="T99" fmla="*/ 2147483647 h 76"/>
                <a:gd name="T100" fmla="*/ 2147483647 w 52"/>
                <a:gd name="T101" fmla="*/ 2147483647 h 76"/>
                <a:gd name="T102" fmla="*/ 2147483647 w 52"/>
                <a:gd name="T103" fmla="*/ 2147483647 h 76"/>
                <a:gd name="T104" fmla="*/ 2147483647 w 52"/>
                <a:gd name="T105" fmla="*/ 2147483647 h 76"/>
                <a:gd name="T106" fmla="*/ 2147483647 w 52"/>
                <a:gd name="T107" fmla="*/ 2147483647 h 76"/>
                <a:gd name="T108" fmla="*/ 2147483647 w 52"/>
                <a:gd name="T109" fmla="*/ 2147483647 h 76"/>
                <a:gd name="T110" fmla="*/ 2147483647 w 52"/>
                <a:gd name="T111" fmla="*/ 2147483647 h 76"/>
                <a:gd name="T112" fmla="*/ 2147483647 w 52"/>
                <a:gd name="T113" fmla="*/ 2147483647 h 76"/>
                <a:gd name="T114" fmla="*/ 2147483647 w 52"/>
                <a:gd name="T115" fmla="*/ 2147483647 h 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
                <a:gd name="T175" fmla="*/ 0 h 76"/>
                <a:gd name="T176" fmla="*/ 52 w 52"/>
                <a:gd name="T177" fmla="*/ 76 h 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 h="76">
                  <a:moveTo>
                    <a:pt x="52" y="32"/>
                  </a:moveTo>
                  <a:lnTo>
                    <a:pt x="50" y="26"/>
                  </a:lnTo>
                  <a:lnTo>
                    <a:pt x="48" y="24"/>
                  </a:lnTo>
                  <a:lnTo>
                    <a:pt x="46" y="22"/>
                  </a:lnTo>
                  <a:lnTo>
                    <a:pt x="46" y="20"/>
                  </a:lnTo>
                  <a:lnTo>
                    <a:pt x="40" y="20"/>
                  </a:lnTo>
                  <a:lnTo>
                    <a:pt x="32" y="6"/>
                  </a:lnTo>
                  <a:lnTo>
                    <a:pt x="24" y="6"/>
                  </a:lnTo>
                  <a:lnTo>
                    <a:pt x="22" y="4"/>
                  </a:lnTo>
                  <a:lnTo>
                    <a:pt x="20" y="4"/>
                  </a:lnTo>
                  <a:lnTo>
                    <a:pt x="16" y="2"/>
                  </a:lnTo>
                  <a:lnTo>
                    <a:pt x="14" y="0"/>
                  </a:lnTo>
                  <a:lnTo>
                    <a:pt x="12" y="4"/>
                  </a:lnTo>
                  <a:lnTo>
                    <a:pt x="12" y="10"/>
                  </a:lnTo>
                  <a:lnTo>
                    <a:pt x="10" y="10"/>
                  </a:lnTo>
                  <a:lnTo>
                    <a:pt x="8" y="12"/>
                  </a:lnTo>
                  <a:lnTo>
                    <a:pt x="6" y="14"/>
                  </a:lnTo>
                  <a:lnTo>
                    <a:pt x="4" y="16"/>
                  </a:lnTo>
                  <a:lnTo>
                    <a:pt x="2" y="20"/>
                  </a:lnTo>
                  <a:lnTo>
                    <a:pt x="2" y="28"/>
                  </a:lnTo>
                  <a:lnTo>
                    <a:pt x="4" y="32"/>
                  </a:lnTo>
                  <a:lnTo>
                    <a:pt x="4" y="36"/>
                  </a:lnTo>
                  <a:lnTo>
                    <a:pt x="6" y="40"/>
                  </a:lnTo>
                  <a:lnTo>
                    <a:pt x="10" y="44"/>
                  </a:lnTo>
                  <a:lnTo>
                    <a:pt x="12" y="46"/>
                  </a:lnTo>
                  <a:lnTo>
                    <a:pt x="12" y="48"/>
                  </a:lnTo>
                  <a:lnTo>
                    <a:pt x="6" y="54"/>
                  </a:lnTo>
                  <a:lnTo>
                    <a:pt x="8" y="62"/>
                  </a:lnTo>
                  <a:lnTo>
                    <a:pt x="6" y="64"/>
                  </a:lnTo>
                  <a:lnTo>
                    <a:pt x="4" y="64"/>
                  </a:lnTo>
                  <a:lnTo>
                    <a:pt x="4" y="66"/>
                  </a:lnTo>
                  <a:lnTo>
                    <a:pt x="2" y="68"/>
                  </a:lnTo>
                  <a:lnTo>
                    <a:pt x="0" y="72"/>
                  </a:lnTo>
                  <a:lnTo>
                    <a:pt x="4" y="76"/>
                  </a:lnTo>
                  <a:lnTo>
                    <a:pt x="10" y="76"/>
                  </a:lnTo>
                  <a:lnTo>
                    <a:pt x="12" y="74"/>
                  </a:lnTo>
                  <a:lnTo>
                    <a:pt x="12" y="72"/>
                  </a:lnTo>
                  <a:lnTo>
                    <a:pt x="14" y="72"/>
                  </a:lnTo>
                  <a:lnTo>
                    <a:pt x="16" y="72"/>
                  </a:lnTo>
                  <a:lnTo>
                    <a:pt x="18" y="72"/>
                  </a:lnTo>
                  <a:lnTo>
                    <a:pt x="20" y="72"/>
                  </a:lnTo>
                  <a:lnTo>
                    <a:pt x="22" y="72"/>
                  </a:lnTo>
                  <a:lnTo>
                    <a:pt x="26" y="74"/>
                  </a:lnTo>
                  <a:lnTo>
                    <a:pt x="30" y="74"/>
                  </a:lnTo>
                  <a:lnTo>
                    <a:pt x="32" y="72"/>
                  </a:lnTo>
                  <a:lnTo>
                    <a:pt x="40" y="64"/>
                  </a:lnTo>
                  <a:lnTo>
                    <a:pt x="40" y="60"/>
                  </a:lnTo>
                  <a:lnTo>
                    <a:pt x="44" y="50"/>
                  </a:lnTo>
                  <a:lnTo>
                    <a:pt x="46" y="46"/>
                  </a:lnTo>
                  <a:lnTo>
                    <a:pt x="48" y="44"/>
                  </a:lnTo>
                  <a:lnTo>
                    <a:pt x="50" y="42"/>
                  </a:lnTo>
                  <a:lnTo>
                    <a:pt x="50" y="40"/>
                  </a:lnTo>
                  <a:lnTo>
                    <a:pt x="52" y="38"/>
                  </a:lnTo>
                  <a:lnTo>
                    <a:pt x="52" y="36"/>
                  </a:lnTo>
                  <a:lnTo>
                    <a:pt x="52" y="34"/>
                  </a:lnTo>
                  <a:lnTo>
                    <a:pt x="52" y="3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52" name="Guyana" descr="© INSCALE GmbH, 05.05.2010&#10;http://www.presentationload.com/">
              <a:extLst>
                <a:ext uri="{FF2B5EF4-FFF2-40B4-BE49-F238E27FC236}">
                  <a16:creationId xmlns:a16="http://schemas.microsoft.com/office/drawing/2014/main" id="{2555699E-C2EA-4A67-9242-87447639C650}"/>
                </a:ext>
              </a:extLst>
            </p:cNvPr>
            <p:cNvSpPr>
              <a:spLocks/>
            </p:cNvSpPr>
            <p:nvPr/>
          </p:nvSpPr>
          <p:spPr bwMode="gray">
            <a:xfrm>
              <a:off x="2391990" y="3981362"/>
              <a:ext cx="130145" cy="232067"/>
            </a:xfrm>
            <a:custGeom>
              <a:avLst/>
              <a:gdLst>
                <a:gd name="T0" fmla="*/ 2147483647 w 324"/>
                <a:gd name="T1" fmla="*/ 2147483647 h 582"/>
                <a:gd name="T2" fmla="*/ 2147483647 w 324"/>
                <a:gd name="T3" fmla="*/ 2147483647 h 582"/>
                <a:gd name="T4" fmla="*/ 2147483647 w 324"/>
                <a:gd name="T5" fmla="*/ 2147483647 h 582"/>
                <a:gd name="T6" fmla="*/ 2147483647 w 324"/>
                <a:gd name="T7" fmla="*/ 2147483647 h 582"/>
                <a:gd name="T8" fmla="*/ 2147483647 w 324"/>
                <a:gd name="T9" fmla="*/ 2147483647 h 582"/>
                <a:gd name="T10" fmla="*/ 2147483647 w 324"/>
                <a:gd name="T11" fmla="*/ 2147483647 h 582"/>
                <a:gd name="T12" fmla="*/ 2147483647 w 324"/>
                <a:gd name="T13" fmla="*/ 2147483647 h 582"/>
                <a:gd name="T14" fmla="*/ 2147483647 w 324"/>
                <a:gd name="T15" fmla="*/ 2147483647 h 582"/>
                <a:gd name="T16" fmla="*/ 0 w 324"/>
                <a:gd name="T17" fmla="*/ 2147483647 h 582"/>
                <a:gd name="T18" fmla="*/ 2147483647 w 324"/>
                <a:gd name="T19" fmla="*/ 2147483647 h 582"/>
                <a:gd name="T20" fmla="*/ 2147483647 w 324"/>
                <a:gd name="T21" fmla="*/ 2147483647 h 582"/>
                <a:gd name="T22" fmla="*/ 2147483647 w 324"/>
                <a:gd name="T23" fmla="*/ 2147483647 h 582"/>
                <a:gd name="T24" fmla="*/ 2147483647 w 324"/>
                <a:gd name="T25" fmla="*/ 2147483647 h 582"/>
                <a:gd name="T26" fmla="*/ 2147483647 w 324"/>
                <a:gd name="T27" fmla="*/ 2147483647 h 582"/>
                <a:gd name="T28" fmla="*/ 2147483647 w 324"/>
                <a:gd name="T29" fmla="*/ 2147483647 h 582"/>
                <a:gd name="T30" fmla="*/ 2147483647 w 324"/>
                <a:gd name="T31" fmla="*/ 2147483647 h 582"/>
                <a:gd name="T32" fmla="*/ 2147483647 w 324"/>
                <a:gd name="T33" fmla="*/ 2147483647 h 582"/>
                <a:gd name="T34" fmla="*/ 2147483647 w 324"/>
                <a:gd name="T35" fmla="*/ 2147483647 h 582"/>
                <a:gd name="T36" fmla="*/ 2147483647 w 324"/>
                <a:gd name="T37" fmla="*/ 2147483647 h 582"/>
                <a:gd name="T38" fmla="*/ 2147483647 w 324"/>
                <a:gd name="T39" fmla="*/ 2147483647 h 582"/>
                <a:gd name="T40" fmla="*/ 2147483647 w 324"/>
                <a:gd name="T41" fmla="*/ 2147483647 h 582"/>
                <a:gd name="T42" fmla="*/ 2147483647 w 324"/>
                <a:gd name="T43" fmla="*/ 2147483647 h 582"/>
                <a:gd name="T44" fmla="*/ 2147483647 w 324"/>
                <a:gd name="T45" fmla="*/ 2147483647 h 582"/>
                <a:gd name="T46" fmla="*/ 2147483647 w 324"/>
                <a:gd name="T47" fmla="*/ 2147483647 h 582"/>
                <a:gd name="T48" fmla="*/ 2147483647 w 324"/>
                <a:gd name="T49" fmla="*/ 2147483647 h 582"/>
                <a:gd name="T50" fmla="*/ 2147483647 w 324"/>
                <a:gd name="T51" fmla="*/ 2147483647 h 582"/>
                <a:gd name="T52" fmla="*/ 2147483647 w 324"/>
                <a:gd name="T53" fmla="*/ 2147483647 h 582"/>
                <a:gd name="T54" fmla="*/ 2147483647 w 324"/>
                <a:gd name="T55" fmla="*/ 2147483647 h 582"/>
                <a:gd name="T56" fmla="*/ 2147483647 w 324"/>
                <a:gd name="T57" fmla="*/ 2147483647 h 582"/>
                <a:gd name="T58" fmla="*/ 2147483647 w 324"/>
                <a:gd name="T59" fmla="*/ 2147483647 h 582"/>
                <a:gd name="T60" fmla="*/ 2147483647 w 324"/>
                <a:gd name="T61" fmla="*/ 2147483647 h 582"/>
                <a:gd name="T62" fmla="*/ 2147483647 w 324"/>
                <a:gd name="T63" fmla="*/ 2147483647 h 582"/>
                <a:gd name="T64" fmla="*/ 2147483647 w 324"/>
                <a:gd name="T65" fmla="*/ 2147483647 h 582"/>
                <a:gd name="T66" fmla="*/ 2147483647 w 324"/>
                <a:gd name="T67" fmla="*/ 2147483647 h 582"/>
                <a:gd name="T68" fmla="*/ 2147483647 w 324"/>
                <a:gd name="T69" fmla="*/ 2147483647 h 582"/>
                <a:gd name="T70" fmla="*/ 2147483647 w 324"/>
                <a:gd name="T71" fmla="*/ 2147483647 h 582"/>
                <a:gd name="T72" fmla="*/ 2147483647 w 324"/>
                <a:gd name="T73" fmla="*/ 2147483647 h 582"/>
                <a:gd name="T74" fmla="*/ 2147483647 w 324"/>
                <a:gd name="T75" fmla="*/ 2147483647 h 582"/>
                <a:gd name="T76" fmla="*/ 2147483647 w 324"/>
                <a:gd name="T77" fmla="*/ 2147483647 h 582"/>
                <a:gd name="T78" fmla="*/ 2147483647 w 324"/>
                <a:gd name="T79" fmla="*/ 2147483647 h 582"/>
                <a:gd name="T80" fmla="*/ 2147483647 w 324"/>
                <a:gd name="T81" fmla="*/ 2147483647 h 582"/>
                <a:gd name="T82" fmla="*/ 2147483647 w 324"/>
                <a:gd name="T83" fmla="*/ 2147483647 h 582"/>
                <a:gd name="T84" fmla="*/ 2147483647 w 324"/>
                <a:gd name="T85" fmla="*/ 2147483647 h 582"/>
                <a:gd name="T86" fmla="*/ 2147483647 w 324"/>
                <a:gd name="T87" fmla="*/ 2147483647 h 582"/>
                <a:gd name="T88" fmla="*/ 2147483647 w 324"/>
                <a:gd name="T89" fmla="*/ 2147483647 h 582"/>
                <a:gd name="T90" fmla="*/ 2147483647 w 324"/>
                <a:gd name="T91" fmla="*/ 2147483647 h 582"/>
                <a:gd name="T92" fmla="*/ 2147483647 w 324"/>
                <a:gd name="T93" fmla="*/ 2147483647 h 582"/>
                <a:gd name="T94" fmla="*/ 2147483647 w 324"/>
                <a:gd name="T95" fmla="*/ 2147483647 h 582"/>
                <a:gd name="T96" fmla="*/ 2147483647 w 324"/>
                <a:gd name="T97" fmla="*/ 2147483647 h 582"/>
                <a:gd name="T98" fmla="*/ 2147483647 w 324"/>
                <a:gd name="T99" fmla="*/ 2147483647 h 582"/>
                <a:gd name="T100" fmla="*/ 2147483647 w 324"/>
                <a:gd name="T101" fmla="*/ 2147483647 h 582"/>
                <a:gd name="T102" fmla="*/ 2147483647 w 324"/>
                <a:gd name="T103" fmla="*/ 2147483647 h 582"/>
                <a:gd name="T104" fmla="*/ 2147483647 w 324"/>
                <a:gd name="T105" fmla="*/ 2147483647 h 582"/>
                <a:gd name="T106" fmla="*/ 2147483647 w 324"/>
                <a:gd name="T107" fmla="*/ 2147483647 h 582"/>
                <a:gd name="T108" fmla="*/ 2147483647 w 324"/>
                <a:gd name="T109" fmla="*/ 2147483647 h 582"/>
                <a:gd name="T110" fmla="*/ 2147483647 w 324"/>
                <a:gd name="T111" fmla="*/ 2147483647 h 582"/>
                <a:gd name="T112" fmla="*/ 2147483647 w 324"/>
                <a:gd name="T113" fmla="*/ 2147483647 h 582"/>
                <a:gd name="T114" fmla="*/ 2147483647 w 324"/>
                <a:gd name="T115" fmla="*/ 2147483647 h 582"/>
                <a:gd name="T116" fmla="*/ 2147483647 w 324"/>
                <a:gd name="T117" fmla="*/ 2147483647 h 582"/>
                <a:gd name="T118" fmla="*/ 2147483647 w 324"/>
                <a:gd name="T119" fmla="*/ 2147483647 h 582"/>
                <a:gd name="T120" fmla="*/ 2147483647 w 324"/>
                <a:gd name="T121" fmla="*/ 2147483647 h 582"/>
                <a:gd name="T122" fmla="*/ 2147483647 w 324"/>
                <a:gd name="T123" fmla="*/ 0 h 582"/>
                <a:gd name="T124" fmla="*/ 2147483647 w 324"/>
                <a:gd name="T125" fmla="*/ 2147483647 h 58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4"/>
                <a:gd name="T190" fmla="*/ 0 h 582"/>
                <a:gd name="T191" fmla="*/ 324 w 324"/>
                <a:gd name="T192" fmla="*/ 582 h 58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4" h="582">
                  <a:moveTo>
                    <a:pt x="90" y="42"/>
                  </a:moveTo>
                  <a:lnTo>
                    <a:pt x="84" y="48"/>
                  </a:lnTo>
                  <a:lnTo>
                    <a:pt x="72" y="48"/>
                  </a:lnTo>
                  <a:lnTo>
                    <a:pt x="60" y="60"/>
                  </a:lnTo>
                  <a:lnTo>
                    <a:pt x="60" y="102"/>
                  </a:lnTo>
                  <a:lnTo>
                    <a:pt x="84" y="102"/>
                  </a:lnTo>
                  <a:lnTo>
                    <a:pt x="84" y="120"/>
                  </a:lnTo>
                  <a:lnTo>
                    <a:pt x="78" y="126"/>
                  </a:lnTo>
                  <a:lnTo>
                    <a:pt x="66" y="132"/>
                  </a:lnTo>
                  <a:lnTo>
                    <a:pt x="54" y="132"/>
                  </a:lnTo>
                  <a:lnTo>
                    <a:pt x="42" y="138"/>
                  </a:lnTo>
                  <a:lnTo>
                    <a:pt x="12" y="138"/>
                  </a:lnTo>
                  <a:lnTo>
                    <a:pt x="12" y="144"/>
                  </a:lnTo>
                  <a:lnTo>
                    <a:pt x="30" y="162"/>
                  </a:lnTo>
                  <a:lnTo>
                    <a:pt x="30" y="180"/>
                  </a:lnTo>
                  <a:lnTo>
                    <a:pt x="18" y="186"/>
                  </a:lnTo>
                  <a:lnTo>
                    <a:pt x="12" y="186"/>
                  </a:lnTo>
                  <a:lnTo>
                    <a:pt x="0" y="192"/>
                  </a:lnTo>
                  <a:lnTo>
                    <a:pt x="0" y="204"/>
                  </a:lnTo>
                  <a:lnTo>
                    <a:pt x="6" y="210"/>
                  </a:lnTo>
                  <a:lnTo>
                    <a:pt x="12" y="222"/>
                  </a:lnTo>
                  <a:lnTo>
                    <a:pt x="48" y="258"/>
                  </a:lnTo>
                  <a:lnTo>
                    <a:pt x="72" y="264"/>
                  </a:lnTo>
                  <a:lnTo>
                    <a:pt x="78" y="252"/>
                  </a:lnTo>
                  <a:lnTo>
                    <a:pt x="90" y="264"/>
                  </a:lnTo>
                  <a:lnTo>
                    <a:pt x="96" y="276"/>
                  </a:lnTo>
                  <a:lnTo>
                    <a:pt x="96" y="294"/>
                  </a:lnTo>
                  <a:lnTo>
                    <a:pt x="90" y="306"/>
                  </a:lnTo>
                  <a:lnTo>
                    <a:pt x="84" y="312"/>
                  </a:lnTo>
                  <a:lnTo>
                    <a:pt x="84" y="318"/>
                  </a:lnTo>
                  <a:lnTo>
                    <a:pt x="90" y="324"/>
                  </a:lnTo>
                  <a:lnTo>
                    <a:pt x="96" y="324"/>
                  </a:lnTo>
                  <a:lnTo>
                    <a:pt x="108" y="318"/>
                  </a:lnTo>
                  <a:lnTo>
                    <a:pt x="114" y="318"/>
                  </a:lnTo>
                  <a:lnTo>
                    <a:pt x="114" y="348"/>
                  </a:lnTo>
                  <a:lnTo>
                    <a:pt x="120" y="354"/>
                  </a:lnTo>
                  <a:lnTo>
                    <a:pt x="126" y="354"/>
                  </a:lnTo>
                  <a:lnTo>
                    <a:pt x="126" y="366"/>
                  </a:lnTo>
                  <a:lnTo>
                    <a:pt x="120" y="378"/>
                  </a:lnTo>
                  <a:lnTo>
                    <a:pt x="108" y="390"/>
                  </a:lnTo>
                  <a:lnTo>
                    <a:pt x="96" y="432"/>
                  </a:lnTo>
                  <a:lnTo>
                    <a:pt x="90" y="444"/>
                  </a:lnTo>
                  <a:lnTo>
                    <a:pt x="90" y="450"/>
                  </a:lnTo>
                  <a:lnTo>
                    <a:pt x="84" y="462"/>
                  </a:lnTo>
                  <a:lnTo>
                    <a:pt x="84" y="468"/>
                  </a:lnTo>
                  <a:lnTo>
                    <a:pt x="90" y="480"/>
                  </a:lnTo>
                  <a:lnTo>
                    <a:pt x="114" y="504"/>
                  </a:lnTo>
                  <a:lnTo>
                    <a:pt x="114" y="534"/>
                  </a:lnTo>
                  <a:lnTo>
                    <a:pt x="144" y="570"/>
                  </a:lnTo>
                  <a:lnTo>
                    <a:pt x="156" y="570"/>
                  </a:lnTo>
                  <a:lnTo>
                    <a:pt x="162" y="582"/>
                  </a:lnTo>
                  <a:lnTo>
                    <a:pt x="198" y="582"/>
                  </a:lnTo>
                  <a:lnTo>
                    <a:pt x="204" y="576"/>
                  </a:lnTo>
                  <a:lnTo>
                    <a:pt x="204" y="564"/>
                  </a:lnTo>
                  <a:lnTo>
                    <a:pt x="216" y="552"/>
                  </a:lnTo>
                  <a:lnTo>
                    <a:pt x="234" y="552"/>
                  </a:lnTo>
                  <a:lnTo>
                    <a:pt x="240" y="540"/>
                  </a:lnTo>
                  <a:lnTo>
                    <a:pt x="270" y="540"/>
                  </a:lnTo>
                  <a:lnTo>
                    <a:pt x="270" y="534"/>
                  </a:lnTo>
                  <a:lnTo>
                    <a:pt x="288" y="516"/>
                  </a:lnTo>
                  <a:lnTo>
                    <a:pt x="300" y="516"/>
                  </a:lnTo>
                  <a:lnTo>
                    <a:pt x="312" y="528"/>
                  </a:lnTo>
                  <a:lnTo>
                    <a:pt x="318" y="528"/>
                  </a:lnTo>
                  <a:lnTo>
                    <a:pt x="324" y="522"/>
                  </a:lnTo>
                  <a:lnTo>
                    <a:pt x="324" y="510"/>
                  </a:lnTo>
                  <a:lnTo>
                    <a:pt x="318" y="504"/>
                  </a:lnTo>
                  <a:lnTo>
                    <a:pt x="312" y="492"/>
                  </a:lnTo>
                  <a:lnTo>
                    <a:pt x="306" y="474"/>
                  </a:lnTo>
                  <a:lnTo>
                    <a:pt x="288" y="456"/>
                  </a:lnTo>
                  <a:lnTo>
                    <a:pt x="282" y="444"/>
                  </a:lnTo>
                  <a:lnTo>
                    <a:pt x="282" y="420"/>
                  </a:lnTo>
                  <a:lnTo>
                    <a:pt x="288" y="414"/>
                  </a:lnTo>
                  <a:lnTo>
                    <a:pt x="288" y="396"/>
                  </a:lnTo>
                  <a:lnTo>
                    <a:pt x="276" y="408"/>
                  </a:lnTo>
                  <a:lnTo>
                    <a:pt x="276" y="414"/>
                  </a:lnTo>
                  <a:lnTo>
                    <a:pt x="264" y="414"/>
                  </a:lnTo>
                  <a:lnTo>
                    <a:pt x="258" y="402"/>
                  </a:lnTo>
                  <a:lnTo>
                    <a:pt x="252" y="396"/>
                  </a:lnTo>
                  <a:lnTo>
                    <a:pt x="246" y="384"/>
                  </a:lnTo>
                  <a:lnTo>
                    <a:pt x="246" y="372"/>
                  </a:lnTo>
                  <a:lnTo>
                    <a:pt x="240" y="372"/>
                  </a:lnTo>
                  <a:lnTo>
                    <a:pt x="240" y="366"/>
                  </a:lnTo>
                  <a:lnTo>
                    <a:pt x="234" y="360"/>
                  </a:lnTo>
                  <a:lnTo>
                    <a:pt x="234" y="348"/>
                  </a:lnTo>
                  <a:lnTo>
                    <a:pt x="240" y="336"/>
                  </a:lnTo>
                  <a:lnTo>
                    <a:pt x="246" y="330"/>
                  </a:lnTo>
                  <a:lnTo>
                    <a:pt x="246" y="288"/>
                  </a:lnTo>
                  <a:lnTo>
                    <a:pt x="252" y="282"/>
                  </a:lnTo>
                  <a:lnTo>
                    <a:pt x="264" y="276"/>
                  </a:lnTo>
                  <a:lnTo>
                    <a:pt x="294" y="276"/>
                  </a:lnTo>
                  <a:lnTo>
                    <a:pt x="300" y="270"/>
                  </a:lnTo>
                  <a:lnTo>
                    <a:pt x="300" y="258"/>
                  </a:lnTo>
                  <a:lnTo>
                    <a:pt x="288" y="246"/>
                  </a:lnTo>
                  <a:lnTo>
                    <a:pt x="288" y="234"/>
                  </a:lnTo>
                  <a:lnTo>
                    <a:pt x="294" y="222"/>
                  </a:lnTo>
                  <a:lnTo>
                    <a:pt x="300" y="216"/>
                  </a:lnTo>
                  <a:lnTo>
                    <a:pt x="306" y="204"/>
                  </a:lnTo>
                  <a:lnTo>
                    <a:pt x="306" y="192"/>
                  </a:lnTo>
                  <a:lnTo>
                    <a:pt x="300" y="180"/>
                  </a:lnTo>
                  <a:lnTo>
                    <a:pt x="294" y="174"/>
                  </a:lnTo>
                  <a:lnTo>
                    <a:pt x="276" y="174"/>
                  </a:lnTo>
                  <a:lnTo>
                    <a:pt x="270" y="180"/>
                  </a:lnTo>
                  <a:lnTo>
                    <a:pt x="270" y="156"/>
                  </a:lnTo>
                  <a:lnTo>
                    <a:pt x="258" y="150"/>
                  </a:lnTo>
                  <a:lnTo>
                    <a:pt x="252" y="138"/>
                  </a:lnTo>
                  <a:lnTo>
                    <a:pt x="234" y="132"/>
                  </a:lnTo>
                  <a:lnTo>
                    <a:pt x="216" y="132"/>
                  </a:lnTo>
                  <a:lnTo>
                    <a:pt x="204" y="138"/>
                  </a:lnTo>
                  <a:lnTo>
                    <a:pt x="198" y="150"/>
                  </a:lnTo>
                  <a:lnTo>
                    <a:pt x="198" y="156"/>
                  </a:lnTo>
                  <a:lnTo>
                    <a:pt x="192" y="162"/>
                  </a:lnTo>
                  <a:lnTo>
                    <a:pt x="192" y="168"/>
                  </a:lnTo>
                  <a:lnTo>
                    <a:pt x="192" y="162"/>
                  </a:lnTo>
                  <a:lnTo>
                    <a:pt x="198" y="156"/>
                  </a:lnTo>
                  <a:lnTo>
                    <a:pt x="198" y="144"/>
                  </a:lnTo>
                  <a:lnTo>
                    <a:pt x="204" y="132"/>
                  </a:lnTo>
                  <a:lnTo>
                    <a:pt x="204" y="114"/>
                  </a:lnTo>
                  <a:lnTo>
                    <a:pt x="210" y="102"/>
                  </a:lnTo>
                  <a:lnTo>
                    <a:pt x="210" y="78"/>
                  </a:lnTo>
                  <a:lnTo>
                    <a:pt x="192" y="42"/>
                  </a:lnTo>
                  <a:lnTo>
                    <a:pt x="180" y="30"/>
                  </a:lnTo>
                  <a:lnTo>
                    <a:pt x="132" y="6"/>
                  </a:lnTo>
                  <a:lnTo>
                    <a:pt x="126" y="0"/>
                  </a:lnTo>
                  <a:lnTo>
                    <a:pt x="120" y="0"/>
                  </a:lnTo>
                  <a:lnTo>
                    <a:pt x="102" y="36"/>
                  </a:lnTo>
                  <a:lnTo>
                    <a:pt x="96" y="42"/>
                  </a:lnTo>
                  <a:lnTo>
                    <a:pt x="90" y="4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53" name="Guinea-Bissau" descr="© INSCALE GmbH, 05.05.2010&#10;http://www.presentationload.com/">
              <a:extLst>
                <a:ext uri="{FF2B5EF4-FFF2-40B4-BE49-F238E27FC236}">
                  <a16:creationId xmlns:a16="http://schemas.microsoft.com/office/drawing/2014/main" id="{A9B5B0D9-3A77-439C-AC92-4B59F0FB242B}"/>
                </a:ext>
              </a:extLst>
            </p:cNvPr>
            <p:cNvSpPr>
              <a:spLocks/>
            </p:cNvSpPr>
            <p:nvPr/>
          </p:nvSpPr>
          <p:spPr bwMode="gray">
            <a:xfrm>
              <a:off x="3671496" y="3843376"/>
              <a:ext cx="73697" cy="62721"/>
            </a:xfrm>
            <a:custGeom>
              <a:avLst/>
              <a:gdLst>
                <a:gd name="T0" fmla="*/ 2147483647 w 186"/>
                <a:gd name="T1" fmla="*/ 2147483647 h 156"/>
                <a:gd name="T2" fmla="*/ 2147483647 w 186"/>
                <a:gd name="T3" fmla="*/ 2147483647 h 156"/>
                <a:gd name="T4" fmla="*/ 2147483647 w 186"/>
                <a:gd name="T5" fmla="*/ 2147483647 h 156"/>
                <a:gd name="T6" fmla="*/ 2147483647 w 186"/>
                <a:gd name="T7" fmla="*/ 2147483647 h 156"/>
                <a:gd name="T8" fmla="*/ 2147483647 w 186"/>
                <a:gd name="T9" fmla="*/ 2147483647 h 156"/>
                <a:gd name="T10" fmla="*/ 2147483647 w 186"/>
                <a:gd name="T11" fmla="*/ 2147483647 h 156"/>
                <a:gd name="T12" fmla="*/ 2147483647 w 186"/>
                <a:gd name="T13" fmla="*/ 2147483647 h 156"/>
                <a:gd name="T14" fmla="*/ 2147483647 w 186"/>
                <a:gd name="T15" fmla="*/ 2147483647 h 156"/>
                <a:gd name="T16" fmla="*/ 2147483647 w 186"/>
                <a:gd name="T17" fmla="*/ 2147483647 h 156"/>
                <a:gd name="T18" fmla="*/ 2147483647 w 186"/>
                <a:gd name="T19" fmla="*/ 2147483647 h 156"/>
                <a:gd name="T20" fmla="*/ 2147483647 w 186"/>
                <a:gd name="T21" fmla="*/ 2147483647 h 156"/>
                <a:gd name="T22" fmla="*/ 2147483647 w 186"/>
                <a:gd name="T23" fmla="*/ 2147483647 h 156"/>
                <a:gd name="T24" fmla="*/ 2147483647 w 186"/>
                <a:gd name="T25" fmla="*/ 2147483647 h 156"/>
                <a:gd name="T26" fmla="*/ 2147483647 w 186"/>
                <a:gd name="T27" fmla="*/ 2147483647 h 156"/>
                <a:gd name="T28" fmla="*/ 2147483647 w 186"/>
                <a:gd name="T29" fmla="*/ 0 h 156"/>
                <a:gd name="T30" fmla="*/ 2147483647 w 186"/>
                <a:gd name="T31" fmla="*/ 2147483647 h 156"/>
                <a:gd name="T32" fmla="*/ 2147483647 w 186"/>
                <a:gd name="T33" fmla="*/ 2147483647 h 156"/>
                <a:gd name="T34" fmla="*/ 2147483647 w 186"/>
                <a:gd name="T35" fmla="*/ 2147483647 h 156"/>
                <a:gd name="T36" fmla="*/ 0 w 186"/>
                <a:gd name="T37" fmla="*/ 2147483647 h 156"/>
                <a:gd name="T38" fmla="*/ 2147483647 w 186"/>
                <a:gd name="T39" fmla="*/ 2147483647 h 156"/>
                <a:gd name="T40" fmla="*/ 2147483647 w 186"/>
                <a:gd name="T41" fmla="*/ 2147483647 h 156"/>
                <a:gd name="T42" fmla="*/ 2147483647 w 186"/>
                <a:gd name="T43" fmla="*/ 2147483647 h 156"/>
                <a:gd name="T44" fmla="*/ 2147483647 w 186"/>
                <a:gd name="T45" fmla="*/ 2147483647 h 156"/>
                <a:gd name="T46" fmla="*/ 2147483647 w 186"/>
                <a:gd name="T47" fmla="*/ 2147483647 h 156"/>
                <a:gd name="T48" fmla="*/ 2147483647 w 186"/>
                <a:gd name="T49" fmla="*/ 2147483647 h 156"/>
                <a:gd name="T50" fmla="*/ 2147483647 w 186"/>
                <a:gd name="T51" fmla="*/ 2147483647 h 156"/>
                <a:gd name="T52" fmla="*/ 2147483647 w 186"/>
                <a:gd name="T53" fmla="*/ 2147483647 h 156"/>
                <a:gd name="T54" fmla="*/ 2147483647 w 186"/>
                <a:gd name="T55" fmla="*/ 2147483647 h 156"/>
                <a:gd name="T56" fmla="*/ 2147483647 w 186"/>
                <a:gd name="T57" fmla="*/ 2147483647 h 156"/>
                <a:gd name="T58" fmla="*/ 2147483647 w 186"/>
                <a:gd name="T59" fmla="*/ 2147483647 h 156"/>
                <a:gd name="T60" fmla="*/ 2147483647 w 186"/>
                <a:gd name="T61" fmla="*/ 2147483647 h 156"/>
                <a:gd name="T62" fmla="*/ 2147483647 w 186"/>
                <a:gd name="T63" fmla="*/ 2147483647 h 156"/>
                <a:gd name="T64" fmla="*/ 2147483647 w 186"/>
                <a:gd name="T65" fmla="*/ 2147483647 h 156"/>
                <a:gd name="T66" fmla="*/ 2147483647 w 186"/>
                <a:gd name="T67" fmla="*/ 2147483647 h 156"/>
                <a:gd name="T68" fmla="*/ 2147483647 w 186"/>
                <a:gd name="T69" fmla="*/ 2147483647 h 156"/>
                <a:gd name="T70" fmla="*/ 2147483647 w 186"/>
                <a:gd name="T71" fmla="*/ 2147483647 h 156"/>
                <a:gd name="T72" fmla="*/ 2147483647 w 186"/>
                <a:gd name="T73" fmla="*/ 2147483647 h 1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56"/>
                <a:gd name="T113" fmla="*/ 186 w 186"/>
                <a:gd name="T114" fmla="*/ 156 h 1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56">
                  <a:moveTo>
                    <a:pt x="126" y="102"/>
                  </a:moveTo>
                  <a:lnTo>
                    <a:pt x="132" y="96"/>
                  </a:lnTo>
                  <a:lnTo>
                    <a:pt x="144" y="90"/>
                  </a:lnTo>
                  <a:lnTo>
                    <a:pt x="174" y="90"/>
                  </a:lnTo>
                  <a:lnTo>
                    <a:pt x="180" y="84"/>
                  </a:lnTo>
                  <a:lnTo>
                    <a:pt x="186" y="72"/>
                  </a:lnTo>
                  <a:lnTo>
                    <a:pt x="186" y="66"/>
                  </a:lnTo>
                  <a:lnTo>
                    <a:pt x="180" y="60"/>
                  </a:lnTo>
                  <a:lnTo>
                    <a:pt x="168" y="54"/>
                  </a:lnTo>
                  <a:lnTo>
                    <a:pt x="162" y="48"/>
                  </a:lnTo>
                  <a:lnTo>
                    <a:pt x="162" y="36"/>
                  </a:lnTo>
                  <a:lnTo>
                    <a:pt x="168" y="30"/>
                  </a:lnTo>
                  <a:lnTo>
                    <a:pt x="186" y="30"/>
                  </a:lnTo>
                  <a:lnTo>
                    <a:pt x="186" y="6"/>
                  </a:lnTo>
                  <a:lnTo>
                    <a:pt x="84" y="0"/>
                  </a:lnTo>
                  <a:lnTo>
                    <a:pt x="54" y="24"/>
                  </a:lnTo>
                  <a:lnTo>
                    <a:pt x="18" y="24"/>
                  </a:lnTo>
                  <a:lnTo>
                    <a:pt x="6" y="36"/>
                  </a:lnTo>
                  <a:lnTo>
                    <a:pt x="0" y="72"/>
                  </a:lnTo>
                  <a:lnTo>
                    <a:pt x="6" y="78"/>
                  </a:lnTo>
                  <a:lnTo>
                    <a:pt x="18" y="78"/>
                  </a:lnTo>
                  <a:lnTo>
                    <a:pt x="42" y="66"/>
                  </a:lnTo>
                  <a:lnTo>
                    <a:pt x="66" y="66"/>
                  </a:lnTo>
                  <a:lnTo>
                    <a:pt x="90" y="60"/>
                  </a:lnTo>
                  <a:lnTo>
                    <a:pt x="90" y="84"/>
                  </a:lnTo>
                  <a:lnTo>
                    <a:pt x="78" y="78"/>
                  </a:lnTo>
                  <a:lnTo>
                    <a:pt x="72" y="78"/>
                  </a:lnTo>
                  <a:lnTo>
                    <a:pt x="66" y="72"/>
                  </a:lnTo>
                  <a:lnTo>
                    <a:pt x="54" y="72"/>
                  </a:lnTo>
                  <a:lnTo>
                    <a:pt x="54" y="96"/>
                  </a:lnTo>
                  <a:lnTo>
                    <a:pt x="60" y="102"/>
                  </a:lnTo>
                  <a:lnTo>
                    <a:pt x="90" y="96"/>
                  </a:lnTo>
                  <a:lnTo>
                    <a:pt x="54" y="114"/>
                  </a:lnTo>
                  <a:lnTo>
                    <a:pt x="84" y="156"/>
                  </a:lnTo>
                  <a:lnTo>
                    <a:pt x="90" y="132"/>
                  </a:lnTo>
                  <a:lnTo>
                    <a:pt x="108" y="102"/>
                  </a:lnTo>
                  <a:lnTo>
                    <a:pt x="126" y="10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54" name="Guinea, Äquatorial" descr="© INSCALE GmbH, 05.05.2010&#10;http://www.presentationload.com/">
              <a:extLst>
                <a:ext uri="{FF2B5EF4-FFF2-40B4-BE49-F238E27FC236}">
                  <a16:creationId xmlns:a16="http://schemas.microsoft.com/office/drawing/2014/main" id="{88668D8E-F81A-49CF-9180-C59F88238AAC}"/>
                </a:ext>
              </a:extLst>
            </p:cNvPr>
            <p:cNvSpPr>
              <a:spLocks/>
            </p:cNvSpPr>
            <p:nvPr/>
          </p:nvSpPr>
          <p:spPr bwMode="gray">
            <a:xfrm>
              <a:off x="4391218" y="4177364"/>
              <a:ext cx="58016" cy="43905"/>
            </a:xfrm>
            <a:custGeom>
              <a:avLst/>
              <a:gdLst>
                <a:gd name="T0" fmla="*/ 2147483647 w 144"/>
                <a:gd name="T1" fmla="*/ 2147483647 h 108"/>
                <a:gd name="T2" fmla="*/ 2147483647 w 144"/>
                <a:gd name="T3" fmla="*/ 2147483647 h 108"/>
                <a:gd name="T4" fmla="*/ 2147483647 w 144"/>
                <a:gd name="T5" fmla="*/ 2147483647 h 108"/>
                <a:gd name="T6" fmla="*/ 2147483647 w 144"/>
                <a:gd name="T7" fmla="*/ 0 h 108"/>
                <a:gd name="T8" fmla="*/ 2147483647 w 144"/>
                <a:gd name="T9" fmla="*/ 2147483647 h 108"/>
                <a:gd name="T10" fmla="*/ 2147483647 w 144"/>
                <a:gd name="T11" fmla="*/ 2147483647 h 108"/>
                <a:gd name="T12" fmla="*/ 2147483647 w 144"/>
                <a:gd name="T13" fmla="*/ 2147483647 h 108"/>
                <a:gd name="T14" fmla="*/ 2147483647 w 144"/>
                <a:gd name="T15" fmla="*/ 2147483647 h 108"/>
                <a:gd name="T16" fmla="*/ 2147483647 w 144"/>
                <a:gd name="T17" fmla="*/ 2147483647 h 108"/>
                <a:gd name="T18" fmla="*/ 0 w 144"/>
                <a:gd name="T19" fmla="*/ 2147483647 h 108"/>
                <a:gd name="T20" fmla="*/ 0 w 144"/>
                <a:gd name="T21" fmla="*/ 2147483647 h 108"/>
                <a:gd name="T22" fmla="*/ 2147483647 w 144"/>
                <a:gd name="T23" fmla="*/ 2147483647 h 108"/>
                <a:gd name="T24" fmla="*/ 2147483647 w 144"/>
                <a:gd name="T25" fmla="*/ 2147483647 h 108"/>
                <a:gd name="T26" fmla="*/ 2147483647 w 144"/>
                <a:gd name="T27" fmla="*/ 2147483647 h 108"/>
                <a:gd name="T28" fmla="*/ 2147483647 w 144"/>
                <a:gd name="T29" fmla="*/ 2147483647 h 108"/>
                <a:gd name="T30" fmla="*/ 2147483647 w 144"/>
                <a:gd name="T31" fmla="*/ 2147483647 h 108"/>
                <a:gd name="T32" fmla="*/ 2147483647 w 144"/>
                <a:gd name="T33" fmla="*/ 2147483647 h 108"/>
                <a:gd name="T34" fmla="*/ 2147483647 w 144"/>
                <a:gd name="T35" fmla="*/ 2147483647 h 108"/>
                <a:gd name="T36" fmla="*/ 2147483647 w 144"/>
                <a:gd name="T37" fmla="*/ 2147483647 h 108"/>
                <a:gd name="T38" fmla="*/ 2147483647 w 144"/>
                <a:gd name="T39" fmla="*/ 2147483647 h 10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08"/>
                <a:gd name="T62" fmla="*/ 144 w 144"/>
                <a:gd name="T63" fmla="*/ 108 h 10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08">
                  <a:moveTo>
                    <a:pt x="138" y="48"/>
                  </a:moveTo>
                  <a:lnTo>
                    <a:pt x="144" y="12"/>
                  </a:lnTo>
                  <a:lnTo>
                    <a:pt x="48" y="12"/>
                  </a:lnTo>
                  <a:lnTo>
                    <a:pt x="36" y="0"/>
                  </a:lnTo>
                  <a:lnTo>
                    <a:pt x="30" y="6"/>
                  </a:lnTo>
                  <a:lnTo>
                    <a:pt x="30" y="42"/>
                  </a:lnTo>
                  <a:lnTo>
                    <a:pt x="18" y="54"/>
                  </a:lnTo>
                  <a:lnTo>
                    <a:pt x="12" y="66"/>
                  </a:lnTo>
                  <a:lnTo>
                    <a:pt x="6" y="72"/>
                  </a:lnTo>
                  <a:lnTo>
                    <a:pt x="0" y="84"/>
                  </a:lnTo>
                  <a:lnTo>
                    <a:pt x="0" y="90"/>
                  </a:lnTo>
                  <a:lnTo>
                    <a:pt x="6" y="96"/>
                  </a:lnTo>
                  <a:lnTo>
                    <a:pt x="18" y="102"/>
                  </a:lnTo>
                  <a:lnTo>
                    <a:pt x="36" y="102"/>
                  </a:lnTo>
                  <a:lnTo>
                    <a:pt x="36" y="108"/>
                  </a:lnTo>
                  <a:lnTo>
                    <a:pt x="138" y="108"/>
                  </a:lnTo>
                  <a:lnTo>
                    <a:pt x="138" y="102"/>
                  </a:lnTo>
                  <a:lnTo>
                    <a:pt x="144" y="84"/>
                  </a:lnTo>
                  <a:lnTo>
                    <a:pt x="144" y="54"/>
                  </a:lnTo>
                  <a:lnTo>
                    <a:pt x="138" y="48"/>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55" name="Guinea" descr="© INSCALE GmbH, 05.05.2010&#10;http://www.presentationload.com/">
              <a:extLst>
                <a:ext uri="{FF2B5EF4-FFF2-40B4-BE49-F238E27FC236}">
                  <a16:creationId xmlns:a16="http://schemas.microsoft.com/office/drawing/2014/main" id="{448B1832-CDB9-42B6-B149-A4227A1EBC56}"/>
                </a:ext>
              </a:extLst>
            </p:cNvPr>
            <p:cNvSpPr>
              <a:spLocks/>
            </p:cNvSpPr>
            <p:nvPr/>
          </p:nvSpPr>
          <p:spPr bwMode="gray">
            <a:xfrm>
              <a:off x="3707560" y="3846512"/>
              <a:ext cx="206979" cy="175619"/>
            </a:xfrm>
            <a:custGeom>
              <a:avLst/>
              <a:gdLst>
                <a:gd name="T0" fmla="*/ 2147483647 w 522"/>
                <a:gd name="T1" fmla="*/ 2147483647 h 444"/>
                <a:gd name="T2" fmla="*/ 2147483647 w 522"/>
                <a:gd name="T3" fmla="*/ 2147483647 h 444"/>
                <a:gd name="T4" fmla="*/ 2147483647 w 522"/>
                <a:gd name="T5" fmla="*/ 2147483647 h 444"/>
                <a:gd name="T6" fmla="*/ 2147483647 w 522"/>
                <a:gd name="T7" fmla="*/ 2147483647 h 444"/>
                <a:gd name="T8" fmla="*/ 2147483647 w 522"/>
                <a:gd name="T9" fmla="*/ 2147483647 h 444"/>
                <a:gd name="T10" fmla="*/ 2147483647 w 522"/>
                <a:gd name="T11" fmla="*/ 2147483647 h 444"/>
                <a:gd name="T12" fmla="*/ 2147483647 w 522"/>
                <a:gd name="T13" fmla="*/ 2147483647 h 444"/>
                <a:gd name="T14" fmla="*/ 2147483647 w 522"/>
                <a:gd name="T15" fmla="*/ 2147483647 h 444"/>
                <a:gd name="T16" fmla="*/ 2147483647 w 522"/>
                <a:gd name="T17" fmla="*/ 2147483647 h 444"/>
                <a:gd name="T18" fmla="*/ 2147483647 w 522"/>
                <a:gd name="T19" fmla="*/ 2147483647 h 444"/>
                <a:gd name="T20" fmla="*/ 2147483647 w 522"/>
                <a:gd name="T21" fmla="*/ 2147483647 h 444"/>
                <a:gd name="T22" fmla="*/ 2147483647 w 522"/>
                <a:gd name="T23" fmla="*/ 2147483647 h 444"/>
                <a:gd name="T24" fmla="*/ 2147483647 w 522"/>
                <a:gd name="T25" fmla="*/ 2147483647 h 444"/>
                <a:gd name="T26" fmla="*/ 2147483647 w 522"/>
                <a:gd name="T27" fmla="*/ 2147483647 h 444"/>
                <a:gd name="T28" fmla="*/ 2147483647 w 522"/>
                <a:gd name="T29" fmla="*/ 2147483647 h 444"/>
                <a:gd name="T30" fmla="*/ 2147483647 w 522"/>
                <a:gd name="T31" fmla="*/ 2147483647 h 444"/>
                <a:gd name="T32" fmla="*/ 2147483647 w 522"/>
                <a:gd name="T33" fmla="*/ 2147483647 h 444"/>
                <a:gd name="T34" fmla="*/ 2147483647 w 522"/>
                <a:gd name="T35" fmla="*/ 2147483647 h 444"/>
                <a:gd name="T36" fmla="*/ 2147483647 w 522"/>
                <a:gd name="T37" fmla="*/ 2147483647 h 444"/>
                <a:gd name="T38" fmla="*/ 2147483647 w 522"/>
                <a:gd name="T39" fmla="*/ 2147483647 h 444"/>
                <a:gd name="T40" fmla="*/ 2147483647 w 522"/>
                <a:gd name="T41" fmla="*/ 2147483647 h 444"/>
                <a:gd name="T42" fmla="*/ 2147483647 w 522"/>
                <a:gd name="T43" fmla="*/ 2147483647 h 444"/>
                <a:gd name="T44" fmla="*/ 2147483647 w 522"/>
                <a:gd name="T45" fmla="*/ 2147483647 h 444"/>
                <a:gd name="T46" fmla="*/ 2147483647 w 522"/>
                <a:gd name="T47" fmla="*/ 2147483647 h 444"/>
                <a:gd name="T48" fmla="*/ 2147483647 w 522"/>
                <a:gd name="T49" fmla="*/ 2147483647 h 444"/>
                <a:gd name="T50" fmla="*/ 2147483647 w 522"/>
                <a:gd name="T51" fmla="*/ 2147483647 h 444"/>
                <a:gd name="T52" fmla="*/ 2147483647 w 522"/>
                <a:gd name="T53" fmla="*/ 2147483647 h 444"/>
                <a:gd name="T54" fmla="*/ 2147483647 w 522"/>
                <a:gd name="T55" fmla="*/ 2147483647 h 444"/>
                <a:gd name="T56" fmla="*/ 2147483647 w 522"/>
                <a:gd name="T57" fmla="*/ 2147483647 h 444"/>
                <a:gd name="T58" fmla="*/ 2147483647 w 522"/>
                <a:gd name="T59" fmla="*/ 2147483647 h 444"/>
                <a:gd name="T60" fmla="*/ 2147483647 w 522"/>
                <a:gd name="T61" fmla="*/ 2147483647 h 444"/>
                <a:gd name="T62" fmla="*/ 2147483647 w 522"/>
                <a:gd name="T63" fmla="*/ 2147483647 h 444"/>
                <a:gd name="T64" fmla="*/ 2147483647 w 522"/>
                <a:gd name="T65" fmla="*/ 2147483647 h 444"/>
                <a:gd name="T66" fmla="*/ 2147483647 w 522"/>
                <a:gd name="T67" fmla="*/ 2147483647 h 444"/>
                <a:gd name="T68" fmla="*/ 2147483647 w 522"/>
                <a:gd name="T69" fmla="*/ 2147483647 h 444"/>
                <a:gd name="T70" fmla="*/ 2147483647 w 522"/>
                <a:gd name="T71" fmla="*/ 2147483647 h 444"/>
                <a:gd name="T72" fmla="*/ 2147483647 w 522"/>
                <a:gd name="T73" fmla="*/ 2147483647 h 444"/>
                <a:gd name="T74" fmla="*/ 2147483647 w 522"/>
                <a:gd name="T75" fmla="*/ 2147483647 h 444"/>
                <a:gd name="T76" fmla="*/ 2147483647 w 522"/>
                <a:gd name="T77" fmla="*/ 2147483647 h 444"/>
                <a:gd name="T78" fmla="*/ 2147483647 w 522"/>
                <a:gd name="T79" fmla="*/ 2147483647 h 444"/>
                <a:gd name="T80" fmla="*/ 2147483647 w 522"/>
                <a:gd name="T81" fmla="*/ 2147483647 h 444"/>
                <a:gd name="T82" fmla="*/ 2147483647 w 522"/>
                <a:gd name="T83" fmla="*/ 2147483647 h 444"/>
                <a:gd name="T84" fmla="*/ 2147483647 w 522"/>
                <a:gd name="T85" fmla="*/ 2147483647 h 444"/>
                <a:gd name="T86" fmla="*/ 2147483647 w 522"/>
                <a:gd name="T87" fmla="*/ 2147483647 h 444"/>
                <a:gd name="T88" fmla="*/ 2147483647 w 522"/>
                <a:gd name="T89" fmla="*/ 2147483647 h 444"/>
                <a:gd name="T90" fmla="*/ 2147483647 w 522"/>
                <a:gd name="T91" fmla="*/ 2147483647 h 444"/>
                <a:gd name="T92" fmla="*/ 2147483647 w 522"/>
                <a:gd name="T93" fmla="*/ 2147483647 h 4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444"/>
                <a:gd name="T143" fmla="*/ 522 w 522"/>
                <a:gd name="T144" fmla="*/ 444 h 44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444">
                  <a:moveTo>
                    <a:pt x="96" y="0"/>
                  </a:moveTo>
                  <a:lnTo>
                    <a:pt x="96" y="24"/>
                  </a:lnTo>
                  <a:lnTo>
                    <a:pt x="78" y="24"/>
                  </a:lnTo>
                  <a:lnTo>
                    <a:pt x="72" y="30"/>
                  </a:lnTo>
                  <a:lnTo>
                    <a:pt x="72" y="42"/>
                  </a:lnTo>
                  <a:lnTo>
                    <a:pt x="78" y="48"/>
                  </a:lnTo>
                  <a:lnTo>
                    <a:pt x="90" y="54"/>
                  </a:lnTo>
                  <a:lnTo>
                    <a:pt x="96" y="60"/>
                  </a:lnTo>
                  <a:lnTo>
                    <a:pt x="96" y="66"/>
                  </a:lnTo>
                  <a:lnTo>
                    <a:pt x="90" y="78"/>
                  </a:lnTo>
                  <a:lnTo>
                    <a:pt x="84" y="84"/>
                  </a:lnTo>
                  <a:lnTo>
                    <a:pt x="54" y="84"/>
                  </a:lnTo>
                  <a:lnTo>
                    <a:pt x="42" y="90"/>
                  </a:lnTo>
                  <a:lnTo>
                    <a:pt x="36" y="96"/>
                  </a:lnTo>
                  <a:lnTo>
                    <a:pt x="18" y="96"/>
                  </a:lnTo>
                  <a:lnTo>
                    <a:pt x="0" y="126"/>
                  </a:lnTo>
                  <a:lnTo>
                    <a:pt x="0" y="132"/>
                  </a:lnTo>
                  <a:lnTo>
                    <a:pt x="18" y="150"/>
                  </a:lnTo>
                  <a:lnTo>
                    <a:pt x="30" y="150"/>
                  </a:lnTo>
                  <a:lnTo>
                    <a:pt x="30" y="162"/>
                  </a:lnTo>
                  <a:lnTo>
                    <a:pt x="24" y="168"/>
                  </a:lnTo>
                  <a:lnTo>
                    <a:pt x="30" y="180"/>
                  </a:lnTo>
                  <a:lnTo>
                    <a:pt x="30" y="192"/>
                  </a:lnTo>
                  <a:lnTo>
                    <a:pt x="54" y="204"/>
                  </a:lnTo>
                  <a:lnTo>
                    <a:pt x="72" y="204"/>
                  </a:lnTo>
                  <a:lnTo>
                    <a:pt x="72" y="228"/>
                  </a:lnTo>
                  <a:lnTo>
                    <a:pt x="84" y="228"/>
                  </a:lnTo>
                  <a:lnTo>
                    <a:pt x="90" y="222"/>
                  </a:lnTo>
                  <a:lnTo>
                    <a:pt x="90" y="234"/>
                  </a:lnTo>
                  <a:lnTo>
                    <a:pt x="96" y="246"/>
                  </a:lnTo>
                  <a:lnTo>
                    <a:pt x="96" y="258"/>
                  </a:lnTo>
                  <a:lnTo>
                    <a:pt x="114" y="276"/>
                  </a:lnTo>
                  <a:lnTo>
                    <a:pt x="126" y="282"/>
                  </a:lnTo>
                  <a:lnTo>
                    <a:pt x="132" y="288"/>
                  </a:lnTo>
                  <a:lnTo>
                    <a:pt x="138" y="282"/>
                  </a:lnTo>
                  <a:lnTo>
                    <a:pt x="150" y="276"/>
                  </a:lnTo>
                  <a:lnTo>
                    <a:pt x="156" y="264"/>
                  </a:lnTo>
                  <a:lnTo>
                    <a:pt x="168" y="252"/>
                  </a:lnTo>
                  <a:lnTo>
                    <a:pt x="174" y="240"/>
                  </a:lnTo>
                  <a:lnTo>
                    <a:pt x="180" y="234"/>
                  </a:lnTo>
                  <a:lnTo>
                    <a:pt x="180" y="228"/>
                  </a:lnTo>
                  <a:lnTo>
                    <a:pt x="216" y="228"/>
                  </a:lnTo>
                  <a:lnTo>
                    <a:pt x="222" y="210"/>
                  </a:lnTo>
                  <a:lnTo>
                    <a:pt x="258" y="210"/>
                  </a:lnTo>
                  <a:lnTo>
                    <a:pt x="300" y="270"/>
                  </a:lnTo>
                  <a:lnTo>
                    <a:pt x="300" y="288"/>
                  </a:lnTo>
                  <a:lnTo>
                    <a:pt x="312" y="300"/>
                  </a:lnTo>
                  <a:lnTo>
                    <a:pt x="312" y="318"/>
                  </a:lnTo>
                  <a:lnTo>
                    <a:pt x="306" y="330"/>
                  </a:lnTo>
                  <a:lnTo>
                    <a:pt x="300" y="336"/>
                  </a:lnTo>
                  <a:lnTo>
                    <a:pt x="294" y="354"/>
                  </a:lnTo>
                  <a:lnTo>
                    <a:pt x="324" y="342"/>
                  </a:lnTo>
                  <a:lnTo>
                    <a:pt x="348" y="348"/>
                  </a:lnTo>
                  <a:lnTo>
                    <a:pt x="348" y="336"/>
                  </a:lnTo>
                  <a:lnTo>
                    <a:pt x="354" y="330"/>
                  </a:lnTo>
                  <a:lnTo>
                    <a:pt x="360" y="330"/>
                  </a:lnTo>
                  <a:lnTo>
                    <a:pt x="372" y="336"/>
                  </a:lnTo>
                  <a:lnTo>
                    <a:pt x="384" y="348"/>
                  </a:lnTo>
                  <a:lnTo>
                    <a:pt x="390" y="366"/>
                  </a:lnTo>
                  <a:lnTo>
                    <a:pt x="390" y="426"/>
                  </a:lnTo>
                  <a:lnTo>
                    <a:pt x="402" y="426"/>
                  </a:lnTo>
                  <a:lnTo>
                    <a:pt x="402" y="432"/>
                  </a:lnTo>
                  <a:lnTo>
                    <a:pt x="414" y="444"/>
                  </a:lnTo>
                  <a:lnTo>
                    <a:pt x="420" y="444"/>
                  </a:lnTo>
                  <a:lnTo>
                    <a:pt x="432" y="432"/>
                  </a:lnTo>
                  <a:lnTo>
                    <a:pt x="432" y="420"/>
                  </a:lnTo>
                  <a:lnTo>
                    <a:pt x="438" y="408"/>
                  </a:lnTo>
                  <a:lnTo>
                    <a:pt x="444" y="402"/>
                  </a:lnTo>
                  <a:lnTo>
                    <a:pt x="456" y="402"/>
                  </a:lnTo>
                  <a:lnTo>
                    <a:pt x="468" y="408"/>
                  </a:lnTo>
                  <a:lnTo>
                    <a:pt x="474" y="414"/>
                  </a:lnTo>
                  <a:lnTo>
                    <a:pt x="480" y="414"/>
                  </a:lnTo>
                  <a:lnTo>
                    <a:pt x="486" y="408"/>
                  </a:lnTo>
                  <a:lnTo>
                    <a:pt x="486" y="390"/>
                  </a:lnTo>
                  <a:lnTo>
                    <a:pt x="480" y="384"/>
                  </a:lnTo>
                  <a:lnTo>
                    <a:pt x="480" y="378"/>
                  </a:lnTo>
                  <a:lnTo>
                    <a:pt x="498" y="378"/>
                  </a:lnTo>
                  <a:lnTo>
                    <a:pt x="492" y="366"/>
                  </a:lnTo>
                  <a:lnTo>
                    <a:pt x="480" y="360"/>
                  </a:lnTo>
                  <a:lnTo>
                    <a:pt x="474" y="348"/>
                  </a:lnTo>
                  <a:lnTo>
                    <a:pt x="474" y="336"/>
                  </a:lnTo>
                  <a:lnTo>
                    <a:pt x="492" y="336"/>
                  </a:lnTo>
                  <a:lnTo>
                    <a:pt x="498" y="342"/>
                  </a:lnTo>
                  <a:lnTo>
                    <a:pt x="510" y="342"/>
                  </a:lnTo>
                  <a:lnTo>
                    <a:pt x="516" y="348"/>
                  </a:lnTo>
                  <a:lnTo>
                    <a:pt x="516" y="342"/>
                  </a:lnTo>
                  <a:lnTo>
                    <a:pt x="522" y="336"/>
                  </a:lnTo>
                  <a:lnTo>
                    <a:pt x="522" y="324"/>
                  </a:lnTo>
                  <a:lnTo>
                    <a:pt x="516" y="324"/>
                  </a:lnTo>
                  <a:lnTo>
                    <a:pt x="504" y="318"/>
                  </a:lnTo>
                  <a:lnTo>
                    <a:pt x="498" y="318"/>
                  </a:lnTo>
                  <a:lnTo>
                    <a:pt x="498" y="306"/>
                  </a:lnTo>
                  <a:lnTo>
                    <a:pt x="504" y="294"/>
                  </a:lnTo>
                  <a:lnTo>
                    <a:pt x="510" y="288"/>
                  </a:lnTo>
                  <a:lnTo>
                    <a:pt x="492" y="282"/>
                  </a:lnTo>
                  <a:lnTo>
                    <a:pt x="504" y="264"/>
                  </a:lnTo>
                  <a:lnTo>
                    <a:pt x="486" y="258"/>
                  </a:lnTo>
                  <a:lnTo>
                    <a:pt x="480" y="222"/>
                  </a:lnTo>
                  <a:lnTo>
                    <a:pt x="498" y="198"/>
                  </a:lnTo>
                  <a:lnTo>
                    <a:pt x="468" y="168"/>
                  </a:lnTo>
                  <a:lnTo>
                    <a:pt x="468" y="132"/>
                  </a:lnTo>
                  <a:lnTo>
                    <a:pt x="444" y="132"/>
                  </a:lnTo>
                  <a:lnTo>
                    <a:pt x="468" y="96"/>
                  </a:lnTo>
                  <a:lnTo>
                    <a:pt x="432" y="78"/>
                  </a:lnTo>
                  <a:lnTo>
                    <a:pt x="444" y="48"/>
                  </a:lnTo>
                  <a:lnTo>
                    <a:pt x="426" y="36"/>
                  </a:lnTo>
                  <a:lnTo>
                    <a:pt x="426" y="18"/>
                  </a:lnTo>
                  <a:lnTo>
                    <a:pt x="414" y="12"/>
                  </a:lnTo>
                  <a:lnTo>
                    <a:pt x="402" y="12"/>
                  </a:lnTo>
                  <a:lnTo>
                    <a:pt x="396" y="18"/>
                  </a:lnTo>
                  <a:lnTo>
                    <a:pt x="396" y="36"/>
                  </a:lnTo>
                  <a:lnTo>
                    <a:pt x="378" y="54"/>
                  </a:lnTo>
                  <a:lnTo>
                    <a:pt x="366" y="48"/>
                  </a:lnTo>
                  <a:lnTo>
                    <a:pt x="360" y="42"/>
                  </a:lnTo>
                  <a:lnTo>
                    <a:pt x="348" y="36"/>
                  </a:lnTo>
                  <a:lnTo>
                    <a:pt x="342" y="36"/>
                  </a:lnTo>
                  <a:lnTo>
                    <a:pt x="336" y="30"/>
                  </a:lnTo>
                  <a:lnTo>
                    <a:pt x="330" y="30"/>
                  </a:lnTo>
                  <a:lnTo>
                    <a:pt x="324" y="42"/>
                  </a:lnTo>
                  <a:lnTo>
                    <a:pt x="312" y="54"/>
                  </a:lnTo>
                  <a:lnTo>
                    <a:pt x="306" y="66"/>
                  </a:lnTo>
                  <a:lnTo>
                    <a:pt x="306" y="54"/>
                  </a:lnTo>
                  <a:lnTo>
                    <a:pt x="300" y="42"/>
                  </a:lnTo>
                  <a:lnTo>
                    <a:pt x="288" y="30"/>
                  </a:lnTo>
                  <a:lnTo>
                    <a:pt x="276" y="42"/>
                  </a:lnTo>
                  <a:lnTo>
                    <a:pt x="270" y="54"/>
                  </a:lnTo>
                  <a:lnTo>
                    <a:pt x="264" y="60"/>
                  </a:lnTo>
                  <a:lnTo>
                    <a:pt x="258" y="54"/>
                  </a:lnTo>
                  <a:lnTo>
                    <a:pt x="258" y="48"/>
                  </a:lnTo>
                  <a:lnTo>
                    <a:pt x="252" y="36"/>
                  </a:lnTo>
                  <a:lnTo>
                    <a:pt x="252" y="24"/>
                  </a:lnTo>
                  <a:lnTo>
                    <a:pt x="210" y="24"/>
                  </a:lnTo>
                  <a:lnTo>
                    <a:pt x="204" y="30"/>
                  </a:lnTo>
                  <a:lnTo>
                    <a:pt x="192" y="36"/>
                  </a:lnTo>
                  <a:lnTo>
                    <a:pt x="180" y="36"/>
                  </a:lnTo>
                  <a:lnTo>
                    <a:pt x="174" y="30"/>
                  </a:lnTo>
                  <a:lnTo>
                    <a:pt x="168" y="18"/>
                  </a:lnTo>
                  <a:lnTo>
                    <a:pt x="162" y="12"/>
                  </a:lnTo>
                  <a:lnTo>
                    <a:pt x="156" y="18"/>
                  </a:lnTo>
                  <a:lnTo>
                    <a:pt x="138" y="18"/>
                  </a:lnTo>
                  <a:lnTo>
                    <a:pt x="132" y="6"/>
                  </a:lnTo>
                  <a:lnTo>
                    <a:pt x="132" y="0"/>
                  </a:lnTo>
                  <a:lnTo>
                    <a:pt x="96" y="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56" name="Guatemala" descr="© INSCALE GmbH, 05.05.2010&#10;http://www.presentationload.com/">
              <a:extLst>
                <a:ext uri="{FF2B5EF4-FFF2-40B4-BE49-F238E27FC236}">
                  <a16:creationId xmlns:a16="http://schemas.microsoft.com/office/drawing/2014/main" id="{0337A6D9-2E98-455B-970B-13822642E35E}"/>
                </a:ext>
              </a:extLst>
            </p:cNvPr>
            <p:cNvSpPr>
              <a:spLocks/>
            </p:cNvSpPr>
            <p:nvPr/>
          </p:nvSpPr>
          <p:spPr bwMode="gray">
            <a:xfrm>
              <a:off x="1542121" y="3678733"/>
              <a:ext cx="117601" cy="133282"/>
            </a:xfrm>
            <a:custGeom>
              <a:avLst/>
              <a:gdLst>
                <a:gd name="T0" fmla="*/ 2147483647 w 300"/>
                <a:gd name="T1" fmla="*/ 2147483647 h 336"/>
                <a:gd name="T2" fmla="*/ 2147483647 w 300"/>
                <a:gd name="T3" fmla="*/ 2147483647 h 336"/>
                <a:gd name="T4" fmla="*/ 2147483647 w 300"/>
                <a:gd name="T5" fmla="*/ 2147483647 h 336"/>
                <a:gd name="T6" fmla="*/ 2147483647 w 300"/>
                <a:gd name="T7" fmla="*/ 2147483647 h 336"/>
                <a:gd name="T8" fmla="*/ 2147483647 w 300"/>
                <a:gd name="T9" fmla="*/ 2147483647 h 336"/>
                <a:gd name="T10" fmla="*/ 2147483647 w 300"/>
                <a:gd name="T11" fmla="*/ 0 h 336"/>
                <a:gd name="T12" fmla="*/ 2147483647 w 300"/>
                <a:gd name="T13" fmla="*/ 2147483647 h 336"/>
                <a:gd name="T14" fmla="*/ 2147483647 w 300"/>
                <a:gd name="T15" fmla="*/ 2147483647 h 336"/>
                <a:gd name="T16" fmla="*/ 2147483647 w 300"/>
                <a:gd name="T17" fmla="*/ 2147483647 h 336"/>
                <a:gd name="T18" fmla="*/ 2147483647 w 300"/>
                <a:gd name="T19" fmla="*/ 2147483647 h 336"/>
                <a:gd name="T20" fmla="*/ 2147483647 w 300"/>
                <a:gd name="T21" fmla="*/ 2147483647 h 336"/>
                <a:gd name="T22" fmla="*/ 2147483647 w 300"/>
                <a:gd name="T23" fmla="*/ 2147483647 h 336"/>
                <a:gd name="T24" fmla="*/ 2147483647 w 300"/>
                <a:gd name="T25" fmla="*/ 2147483647 h 336"/>
                <a:gd name="T26" fmla="*/ 2147483647 w 300"/>
                <a:gd name="T27" fmla="*/ 2147483647 h 336"/>
                <a:gd name="T28" fmla="*/ 2147483647 w 300"/>
                <a:gd name="T29" fmla="*/ 2147483647 h 336"/>
                <a:gd name="T30" fmla="*/ 2147483647 w 300"/>
                <a:gd name="T31" fmla="*/ 2147483647 h 336"/>
                <a:gd name="T32" fmla="*/ 2147483647 w 300"/>
                <a:gd name="T33" fmla="*/ 2147483647 h 336"/>
                <a:gd name="T34" fmla="*/ 2147483647 w 300"/>
                <a:gd name="T35" fmla="*/ 2147483647 h 336"/>
                <a:gd name="T36" fmla="*/ 2147483647 w 300"/>
                <a:gd name="T37" fmla="*/ 2147483647 h 336"/>
                <a:gd name="T38" fmla="*/ 2147483647 w 300"/>
                <a:gd name="T39" fmla="*/ 2147483647 h 336"/>
                <a:gd name="T40" fmla="*/ 2147483647 w 300"/>
                <a:gd name="T41" fmla="*/ 2147483647 h 336"/>
                <a:gd name="T42" fmla="*/ 2147483647 w 300"/>
                <a:gd name="T43" fmla="*/ 2147483647 h 336"/>
                <a:gd name="T44" fmla="*/ 2147483647 w 300"/>
                <a:gd name="T45" fmla="*/ 2147483647 h 336"/>
                <a:gd name="T46" fmla="*/ 2147483647 w 300"/>
                <a:gd name="T47" fmla="*/ 2147483647 h 336"/>
                <a:gd name="T48" fmla="*/ 2147483647 w 300"/>
                <a:gd name="T49" fmla="*/ 2147483647 h 336"/>
                <a:gd name="T50" fmla="*/ 2147483647 w 300"/>
                <a:gd name="T51" fmla="*/ 2147483647 h 336"/>
                <a:gd name="T52" fmla="*/ 2147483647 w 300"/>
                <a:gd name="T53" fmla="*/ 2147483647 h 336"/>
                <a:gd name="T54" fmla="*/ 2147483647 w 300"/>
                <a:gd name="T55" fmla="*/ 2147483647 h 336"/>
                <a:gd name="T56" fmla="*/ 2147483647 w 300"/>
                <a:gd name="T57" fmla="*/ 2147483647 h 336"/>
                <a:gd name="T58" fmla="*/ 0 w 300"/>
                <a:gd name="T59" fmla="*/ 2147483647 h 336"/>
                <a:gd name="T60" fmla="*/ 2147483647 w 300"/>
                <a:gd name="T61" fmla="*/ 2147483647 h 336"/>
                <a:gd name="T62" fmla="*/ 2147483647 w 300"/>
                <a:gd name="T63" fmla="*/ 2147483647 h 336"/>
                <a:gd name="T64" fmla="*/ 2147483647 w 300"/>
                <a:gd name="T65" fmla="*/ 2147483647 h 336"/>
                <a:gd name="T66" fmla="*/ 2147483647 w 300"/>
                <a:gd name="T67" fmla="*/ 2147483647 h 336"/>
                <a:gd name="T68" fmla="*/ 2147483647 w 300"/>
                <a:gd name="T69" fmla="*/ 2147483647 h 336"/>
                <a:gd name="T70" fmla="*/ 2147483647 w 300"/>
                <a:gd name="T71" fmla="*/ 2147483647 h 336"/>
                <a:gd name="T72" fmla="*/ 2147483647 w 300"/>
                <a:gd name="T73" fmla="*/ 2147483647 h 336"/>
                <a:gd name="T74" fmla="*/ 2147483647 w 300"/>
                <a:gd name="T75" fmla="*/ 2147483647 h 336"/>
                <a:gd name="T76" fmla="*/ 2147483647 w 300"/>
                <a:gd name="T77" fmla="*/ 2147483647 h 336"/>
                <a:gd name="T78" fmla="*/ 2147483647 w 300"/>
                <a:gd name="T79" fmla="*/ 2147483647 h 336"/>
                <a:gd name="T80" fmla="*/ 2147483647 w 300"/>
                <a:gd name="T81" fmla="*/ 2147483647 h 336"/>
                <a:gd name="T82" fmla="*/ 2147483647 w 300"/>
                <a:gd name="T83" fmla="*/ 2147483647 h 336"/>
                <a:gd name="T84" fmla="*/ 2147483647 w 300"/>
                <a:gd name="T85" fmla="*/ 2147483647 h 336"/>
                <a:gd name="T86" fmla="*/ 2147483647 w 300"/>
                <a:gd name="T87" fmla="*/ 2147483647 h 336"/>
                <a:gd name="T88" fmla="*/ 2147483647 w 300"/>
                <a:gd name="T89" fmla="*/ 2147483647 h 336"/>
                <a:gd name="T90" fmla="*/ 2147483647 w 300"/>
                <a:gd name="T91" fmla="*/ 2147483647 h 336"/>
                <a:gd name="T92" fmla="*/ 2147483647 w 300"/>
                <a:gd name="T93" fmla="*/ 2147483647 h 336"/>
                <a:gd name="T94" fmla="*/ 2147483647 w 300"/>
                <a:gd name="T95" fmla="*/ 2147483647 h 336"/>
                <a:gd name="T96" fmla="*/ 2147483647 w 300"/>
                <a:gd name="T97" fmla="*/ 2147483647 h 336"/>
                <a:gd name="T98" fmla="*/ 2147483647 w 300"/>
                <a:gd name="T99" fmla="*/ 2147483647 h 336"/>
                <a:gd name="T100" fmla="*/ 2147483647 w 300"/>
                <a:gd name="T101" fmla="*/ 2147483647 h 336"/>
                <a:gd name="T102" fmla="*/ 2147483647 w 300"/>
                <a:gd name="T103" fmla="*/ 2147483647 h 336"/>
                <a:gd name="T104" fmla="*/ 2147483647 w 300"/>
                <a:gd name="T105" fmla="*/ 2147483647 h 336"/>
                <a:gd name="T106" fmla="*/ 2147483647 w 300"/>
                <a:gd name="T107" fmla="*/ 2147483647 h 336"/>
                <a:gd name="T108" fmla="*/ 2147483647 w 300"/>
                <a:gd name="T109" fmla="*/ 2147483647 h 336"/>
                <a:gd name="T110" fmla="*/ 2147483647 w 300"/>
                <a:gd name="T111" fmla="*/ 2147483647 h 336"/>
                <a:gd name="T112" fmla="*/ 2147483647 w 300"/>
                <a:gd name="T113" fmla="*/ 2147483647 h 336"/>
                <a:gd name="T114" fmla="*/ 2147483647 w 300"/>
                <a:gd name="T115" fmla="*/ 2147483647 h 336"/>
                <a:gd name="T116" fmla="*/ 2147483647 w 300"/>
                <a:gd name="T117" fmla="*/ 2147483647 h 336"/>
                <a:gd name="T118" fmla="*/ 2147483647 w 300"/>
                <a:gd name="T119" fmla="*/ 2147483647 h 336"/>
                <a:gd name="T120" fmla="*/ 2147483647 w 300"/>
                <a:gd name="T121" fmla="*/ 2147483647 h 3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0"/>
                <a:gd name="T184" fmla="*/ 0 h 336"/>
                <a:gd name="T185" fmla="*/ 300 w 300"/>
                <a:gd name="T186" fmla="*/ 336 h 3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0" h="336">
                  <a:moveTo>
                    <a:pt x="288" y="156"/>
                  </a:moveTo>
                  <a:lnTo>
                    <a:pt x="270" y="168"/>
                  </a:lnTo>
                  <a:lnTo>
                    <a:pt x="258" y="162"/>
                  </a:lnTo>
                  <a:lnTo>
                    <a:pt x="228" y="162"/>
                  </a:lnTo>
                  <a:lnTo>
                    <a:pt x="252" y="6"/>
                  </a:lnTo>
                  <a:lnTo>
                    <a:pt x="120" y="0"/>
                  </a:lnTo>
                  <a:lnTo>
                    <a:pt x="120" y="12"/>
                  </a:lnTo>
                  <a:lnTo>
                    <a:pt x="126" y="24"/>
                  </a:lnTo>
                  <a:lnTo>
                    <a:pt x="126" y="48"/>
                  </a:lnTo>
                  <a:lnTo>
                    <a:pt x="120" y="48"/>
                  </a:lnTo>
                  <a:lnTo>
                    <a:pt x="108" y="54"/>
                  </a:lnTo>
                  <a:lnTo>
                    <a:pt x="84" y="54"/>
                  </a:lnTo>
                  <a:lnTo>
                    <a:pt x="96" y="60"/>
                  </a:lnTo>
                  <a:lnTo>
                    <a:pt x="96" y="66"/>
                  </a:lnTo>
                  <a:lnTo>
                    <a:pt x="102" y="78"/>
                  </a:lnTo>
                  <a:lnTo>
                    <a:pt x="108" y="84"/>
                  </a:lnTo>
                  <a:lnTo>
                    <a:pt x="114" y="84"/>
                  </a:lnTo>
                  <a:lnTo>
                    <a:pt x="126" y="90"/>
                  </a:lnTo>
                  <a:lnTo>
                    <a:pt x="132" y="90"/>
                  </a:lnTo>
                  <a:lnTo>
                    <a:pt x="138" y="114"/>
                  </a:lnTo>
                  <a:lnTo>
                    <a:pt x="156" y="114"/>
                  </a:lnTo>
                  <a:lnTo>
                    <a:pt x="156" y="126"/>
                  </a:lnTo>
                  <a:lnTo>
                    <a:pt x="150" y="132"/>
                  </a:lnTo>
                  <a:lnTo>
                    <a:pt x="144" y="132"/>
                  </a:lnTo>
                  <a:lnTo>
                    <a:pt x="144" y="150"/>
                  </a:lnTo>
                  <a:lnTo>
                    <a:pt x="54" y="144"/>
                  </a:lnTo>
                  <a:lnTo>
                    <a:pt x="24" y="192"/>
                  </a:lnTo>
                  <a:lnTo>
                    <a:pt x="24" y="264"/>
                  </a:lnTo>
                  <a:lnTo>
                    <a:pt x="18" y="270"/>
                  </a:lnTo>
                  <a:lnTo>
                    <a:pt x="0" y="270"/>
                  </a:lnTo>
                  <a:lnTo>
                    <a:pt x="6" y="282"/>
                  </a:lnTo>
                  <a:lnTo>
                    <a:pt x="12" y="288"/>
                  </a:lnTo>
                  <a:lnTo>
                    <a:pt x="24" y="288"/>
                  </a:lnTo>
                  <a:lnTo>
                    <a:pt x="42" y="300"/>
                  </a:lnTo>
                  <a:lnTo>
                    <a:pt x="60" y="318"/>
                  </a:lnTo>
                  <a:lnTo>
                    <a:pt x="72" y="324"/>
                  </a:lnTo>
                  <a:lnTo>
                    <a:pt x="120" y="324"/>
                  </a:lnTo>
                  <a:lnTo>
                    <a:pt x="126" y="330"/>
                  </a:lnTo>
                  <a:lnTo>
                    <a:pt x="132" y="330"/>
                  </a:lnTo>
                  <a:lnTo>
                    <a:pt x="138" y="336"/>
                  </a:lnTo>
                  <a:lnTo>
                    <a:pt x="150" y="324"/>
                  </a:lnTo>
                  <a:lnTo>
                    <a:pt x="162" y="318"/>
                  </a:lnTo>
                  <a:lnTo>
                    <a:pt x="168" y="312"/>
                  </a:lnTo>
                  <a:lnTo>
                    <a:pt x="174" y="312"/>
                  </a:lnTo>
                  <a:lnTo>
                    <a:pt x="180" y="300"/>
                  </a:lnTo>
                  <a:lnTo>
                    <a:pt x="186" y="294"/>
                  </a:lnTo>
                  <a:lnTo>
                    <a:pt x="186" y="282"/>
                  </a:lnTo>
                  <a:lnTo>
                    <a:pt x="204" y="282"/>
                  </a:lnTo>
                  <a:lnTo>
                    <a:pt x="210" y="276"/>
                  </a:lnTo>
                  <a:lnTo>
                    <a:pt x="222" y="270"/>
                  </a:lnTo>
                  <a:lnTo>
                    <a:pt x="222" y="264"/>
                  </a:lnTo>
                  <a:lnTo>
                    <a:pt x="228" y="252"/>
                  </a:lnTo>
                  <a:lnTo>
                    <a:pt x="228" y="234"/>
                  </a:lnTo>
                  <a:lnTo>
                    <a:pt x="234" y="222"/>
                  </a:lnTo>
                  <a:lnTo>
                    <a:pt x="246" y="216"/>
                  </a:lnTo>
                  <a:lnTo>
                    <a:pt x="258" y="204"/>
                  </a:lnTo>
                  <a:lnTo>
                    <a:pt x="270" y="198"/>
                  </a:lnTo>
                  <a:lnTo>
                    <a:pt x="282" y="186"/>
                  </a:lnTo>
                  <a:lnTo>
                    <a:pt x="294" y="180"/>
                  </a:lnTo>
                  <a:lnTo>
                    <a:pt x="300" y="168"/>
                  </a:lnTo>
                  <a:lnTo>
                    <a:pt x="288" y="156"/>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57" name="Grönland" descr="© INSCALE GmbH, 05.05.2010&#10;http://www.presentationload.com/">
              <a:extLst>
                <a:ext uri="{FF2B5EF4-FFF2-40B4-BE49-F238E27FC236}">
                  <a16:creationId xmlns:a16="http://schemas.microsoft.com/office/drawing/2014/main" id="{9A607148-FC8F-4592-A5F7-60F9EB51FED0}"/>
                </a:ext>
              </a:extLst>
            </p:cNvPr>
            <p:cNvSpPr>
              <a:spLocks noEditPoints="1"/>
            </p:cNvSpPr>
            <p:nvPr/>
          </p:nvSpPr>
          <p:spPr bwMode="gray">
            <a:xfrm>
              <a:off x="2914141" y="1753200"/>
              <a:ext cx="1113296" cy="606826"/>
            </a:xfrm>
            <a:custGeom>
              <a:avLst/>
              <a:gdLst>
                <a:gd name="T0" fmla="*/ 2147483647 w 732"/>
                <a:gd name="T1" fmla="*/ 2147483647 h 398"/>
                <a:gd name="T2" fmla="*/ 2147483647 w 732"/>
                <a:gd name="T3" fmla="*/ 2147483647 h 398"/>
                <a:gd name="T4" fmla="*/ 2147483647 w 732"/>
                <a:gd name="T5" fmla="*/ 2147483647 h 398"/>
                <a:gd name="T6" fmla="*/ 2147483647 w 732"/>
                <a:gd name="T7" fmla="*/ 2147483647 h 398"/>
                <a:gd name="T8" fmla="*/ 2147483647 w 732"/>
                <a:gd name="T9" fmla="*/ 2147483647 h 398"/>
                <a:gd name="T10" fmla="*/ 2147483647 w 732"/>
                <a:gd name="T11" fmla="*/ 2147483647 h 398"/>
                <a:gd name="T12" fmla="*/ 2147483647 w 732"/>
                <a:gd name="T13" fmla="*/ 2147483647 h 398"/>
                <a:gd name="T14" fmla="*/ 2147483647 w 732"/>
                <a:gd name="T15" fmla="*/ 2147483647 h 398"/>
                <a:gd name="T16" fmla="*/ 2147483647 w 732"/>
                <a:gd name="T17" fmla="*/ 2147483647 h 398"/>
                <a:gd name="T18" fmla="*/ 2147483647 w 732"/>
                <a:gd name="T19" fmla="*/ 2147483647 h 398"/>
                <a:gd name="T20" fmla="*/ 2147483647 w 732"/>
                <a:gd name="T21" fmla="*/ 2147483647 h 398"/>
                <a:gd name="T22" fmla="*/ 2147483647 w 732"/>
                <a:gd name="T23" fmla="*/ 2147483647 h 398"/>
                <a:gd name="T24" fmla="*/ 2147483647 w 732"/>
                <a:gd name="T25" fmla="*/ 2147483647 h 398"/>
                <a:gd name="T26" fmla="*/ 2147483647 w 732"/>
                <a:gd name="T27" fmla="*/ 2147483647 h 398"/>
                <a:gd name="T28" fmla="*/ 2147483647 w 732"/>
                <a:gd name="T29" fmla="*/ 2147483647 h 398"/>
                <a:gd name="T30" fmla="*/ 2147483647 w 732"/>
                <a:gd name="T31" fmla="*/ 2147483647 h 398"/>
                <a:gd name="T32" fmla="*/ 2147483647 w 732"/>
                <a:gd name="T33" fmla="*/ 2147483647 h 398"/>
                <a:gd name="T34" fmla="*/ 2147483647 w 732"/>
                <a:gd name="T35" fmla="*/ 2147483647 h 398"/>
                <a:gd name="T36" fmla="*/ 2147483647 w 732"/>
                <a:gd name="T37" fmla="*/ 2147483647 h 398"/>
                <a:gd name="T38" fmla="*/ 2147483647 w 732"/>
                <a:gd name="T39" fmla="*/ 2147483647 h 398"/>
                <a:gd name="T40" fmla="*/ 2147483647 w 732"/>
                <a:gd name="T41" fmla="*/ 2147483647 h 398"/>
                <a:gd name="T42" fmla="*/ 2147483647 w 732"/>
                <a:gd name="T43" fmla="*/ 2147483647 h 398"/>
                <a:gd name="T44" fmla="*/ 2147483647 w 732"/>
                <a:gd name="T45" fmla="*/ 2147483647 h 398"/>
                <a:gd name="T46" fmla="*/ 2147483647 w 732"/>
                <a:gd name="T47" fmla="*/ 2147483647 h 398"/>
                <a:gd name="T48" fmla="*/ 2147483647 w 732"/>
                <a:gd name="T49" fmla="*/ 2147483647 h 398"/>
                <a:gd name="T50" fmla="*/ 2147483647 w 732"/>
                <a:gd name="T51" fmla="*/ 2147483647 h 398"/>
                <a:gd name="T52" fmla="*/ 2147483647 w 732"/>
                <a:gd name="T53" fmla="*/ 2147483647 h 398"/>
                <a:gd name="T54" fmla="*/ 2147483647 w 732"/>
                <a:gd name="T55" fmla="*/ 2147483647 h 398"/>
                <a:gd name="T56" fmla="*/ 2147483647 w 732"/>
                <a:gd name="T57" fmla="*/ 2147483647 h 398"/>
                <a:gd name="T58" fmla="*/ 2147483647 w 732"/>
                <a:gd name="T59" fmla="*/ 2147483647 h 398"/>
                <a:gd name="T60" fmla="*/ 2147483647 w 732"/>
                <a:gd name="T61" fmla="*/ 2147483647 h 398"/>
                <a:gd name="T62" fmla="*/ 2147483647 w 732"/>
                <a:gd name="T63" fmla="*/ 2147483647 h 398"/>
                <a:gd name="T64" fmla="*/ 2147483647 w 732"/>
                <a:gd name="T65" fmla="*/ 2147483647 h 398"/>
                <a:gd name="T66" fmla="*/ 2147483647 w 732"/>
                <a:gd name="T67" fmla="*/ 2147483647 h 398"/>
                <a:gd name="T68" fmla="*/ 2147483647 w 732"/>
                <a:gd name="T69" fmla="*/ 2147483647 h 398"/>
                <a:gd name="T70" fmla="*/ 2147483647 w 732"/>
                <a:gd name="T71" fmla="*/ 2147483647 h 398"/>
                <a:gd name="T72" fmla="*/ 2147483647 w 732"/>
                <a:gd name="T73" fmla="*/ 2147483647 h 398"/>
                <a:gd name="T74" fmla="*/ 2147483647 w 732"/>
                <a:gd name="T75" fmla="*/ 2147483647 h 398"/>
                <a:gd name="T76" fmla="*/ 2147483647 w 732"/>
                <a:gd name="T77" fmla="*/ 2147483647 h 398"/>
                <a:gd name="T78" fmla="*/ 2147483647 w 732"/>
                <a:gd name="T79" fmla="*/ 2147483647 h 398"/>
                <a:gd name="T80" fmla="*/ 2147483647 w 732"/>
                <a:gd name="T81" fmla="*/ 2147483647 h 398"/>
                <a:gd name="T82" fmla="*/ 2147483647 w 732"/>
                <a:gd name="T83" fmla="*/ 2147483647 h 398"/>
                <a:gd name="T84" fmla="*/ 2147483647 w 732"/>
                <a:gd name="T85" fmla="*/ 2147483647 h 398"/>
                <a:gd name="T86" fmla="*/ 2147483647 w 732"/>
                <a:gd name="T87" fmla="*/ 2147483647 h 398"/>
                <a:gd name="T88" fmla="*/ 2147483647 w 732"/>
                <a:gd name="T89" fmla="*/ 2147483647 h 398"/>
                <a:gd name="T90" fmla="*/ 2147483647 w 732"/>
                <a:gd name="T91" fmla="*/ 2147483647 h 398"/>
                <a:gd name="T92" fmla="*/ 2147483647 w 732"/>
                <a:gd name="T93" fmla="*/ 2147483647 h 398"/>
                <a:gd name="T94" fmla="*/ 2147483647 w 732"/>
                <a:gd name="T95" fmla="*/ 2147483647 h 398"/>
                <a:gd name="T96" fmla="*/ 2147483647 w 732"/>
                <a:gd name="T97" fmla="*/ 2147483647 h 398"/>
                <a:gd name="T98" fmla="*/ 2147483647 w 732"/>
                <a:gd name="T99" fmla="*/ 2147483647 h 398"/>
                <a:gd name="T100" fmla="*/ 2147483647 w 732"/>
                <a:gd name="T101" fmla="*/ 2147483647 h 398"/>
                <a:gd name="T102" fmla="*/ 2147483647 w 732"/>
                <a:gd name="T103" fmla="*/ 2147483647 h 398"/>
                <a:gd name="T104" fmla="*/ 2147483647 w 732"/>
                <a:gd name="T105" fmla="*/ 2147483647 h 398"/>
                <a:gd name="T106" fmla="*/ 2147483647 w 732"/>
                <a:gd name="T107" fmla="*/ 2147483647 h 398"/>
                <a:gd name="T108" fmla="*/ 2147483647 w 732"/>
                <a:gd name="T109" fmla="*/ 2147483647 h 398"/>
                <a:gd name="T110" fmla="*/ 2147483647 w 732"/>
                <a:gd name="T111" fmla="*/ 2147483647 h 398"/>
                <a:gd name="T112" fmla="*/ 2147483647 w 732"/>
                <a:gd name="T113" fmla="*/ 2147483647 h 398"/>
                <a:gd name="T114" fmla="*/ 2147483647 w 732"/>
                <a:gd name="T115" fmla="*/ 2147483647 h 398"/>
                <a:gd name="T116" fmla="*/ 2147483647 w 732"/>
                <a:gd name="T117" fmla="*/ 2147483647 h 398"/>
                <a:gd name="T118" fmla="*/ 2147483647 w 732"/>
                <a:gd name="T119" fmla="*/ 2147483647 h 398"/>
                <a:gd name="T120" fmla="*/ 2147483647 w 732"/>
                <a:gd name="T121" fmla="*/ 2147483647 h 398"/>
                <a:gd name="T122" fmla="*/ 2147483647 w 732"/>
                <a:gd name="T123" fmla="*/ 2147483647 h 3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2"/>
                <a:gd name="T187" fmla="*/ 0 h 398"/>
                <a:gd name="T188" fmla="*/ 732 w 732"/>
                <a:gd name="T189" fmla="*/ 398 h 3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2" h="398">
                  <a:moveTo>
                    <a:pt x="730" y="24"/>
                  </a:moveTo>
                  <a:lnTo>
                    <a:pt x="728" y="24"/>
                  </a:lnTo>
                  <a:lnTo>
                    <a:pt x="723" y="24"/>
                  </a:lnTo>
                  <a:lnTo>
                    <a:pt x="718" y="22"/>
                  </a:lnTo>
                  <a:lnTo>
                    <a:pt x="678" y="22"/>
                  </a:lnTo>
                  <a:lnTo>
                    <a:pt x="678" y="24"/>
                  </a:lnTo>
                  <a:lnTo>
                    <a:pt x="670" y="26"/>
                  </a:lnTo>
                  <a:lnTo>
                    <a:pt x="659" y="26"/>
                  </a:lnTo>
                  <a:lnTo>
                    <a:pt x="651" y="24"/>
                  </a:lnTo>
                  <a:lnTo>
                    <a:pt x="637" y="24"/>
                  </a:lnTo>
                  <a:lnTo>
                    <a:pt x="623" y="29"/>
                  </a:lnTo>
                  <a:lnTo>
                    <a:pt x="616" y="34"/>
                  </a:lnTo>
                  <a:lnTo>
                    <a:pt x="611" y="34"/>
                  </a:lnTo>
                  <a:lnTo>
                    <a:pt x="606" y="34"/>
                  </a:lnTo>
                  <a:lnTo>
                    <a:pt x="604" y="36"/>
                  </a:lnTo>
                  <a:lnTo>
                    <a:pt x="602" y="36"/>
                  </a:lnTo>
                  <a:lnTo>
                    <a:pt x="597" y="38"/>
                  </a:lnTo>
                  <a:lnTo>
                    <a:pt x="592" y="38"/>
                  </a:lnTo>
                  <a:lnTo>
                    <a:pt x="599" y="34"/>
                  </a:lnTo>
                  <a:lnTo>
                    <a:pt x="609" y="31"/>
                  </a:lnTo>
                  <a:lnTo>
                    <a:pt x="621" y="26"/>
                  </a:lnTo>
                  <a:lnTo>
                    <a:pt x="623" y="24"/>
                  </a:lnTo>
                  <a:lnTo>
                    <a:pt x="618" y="19"/>
                  </a:lnTo>
                  <a:lnTo>
                    <a:pt x="606" y="19"/>
                  </a:lnTo>
                  <a:lnTo>
                    <a:pt x="604" y="22"/>
                  </a:lnTo>
                  <a:lnTo>
                    <a:pt x="602" y="22"/>
                  </a:lnTo>
                  <a:lnTo>
                    <a:pt x="597" y="24"/>
                  </a:lnTo>
                  <a:lnTo>
                    <a:pt x="594" y="24"/>
                  </a:lnTo>
                  <a:lnTo>
                    <a:pt x="566" y="26"/>
                  </a:lnTo>
                  <a:lnTo>
                    <a:pt x="566" y="29"/>
                  </a:lnTo>
                  <a:lnTo>
                    <a:pt x="563" y="29"/>
                  </a:lnTo>
                  <a:lnTo>
                    <a:pt x="566" y="26"/>
                  </a:lnTo>
                  <a:lnTo>
                    <a:pt x="568" y="26"/>
                  </a:lnTo>
                  <a:lnTo>
                    <a:pt x="573" y="26"/>
                  </a:lnTo>
                  <a:lnTo>
                    <a:pt x="578" y="24"/>
                  </a:lnTo>
                  <a:lnTo>
                    <a:pt x="580" y="24"/>
                  </a:lnTo>
                  <a:lnTo>
                    <a:pt x="582" y="24"/>
                  </a:lnTo>
                  <a:lnTo>
                    <a:pt x="585" y="22"/>
                  </a:lnTo>
                  <a:lnTo>
                    <a:pt x="578" y="19"/>
                  </a:lnTo>
                  <a:lnTo>
                    <a:pt x="552" y="19"/>
                  </a:lnTo>
                  <a:lnTo>
                    <a:pt x="542" y="22"/>
                  </a:lnTo>
                  <a:lnTo>
                    <a:pt x="525" y="19"/>
                  </a:lnTo>
                  <a:lnTo>
                    <a:pt x="523" y="19"/>
                  </a:lnTo>
                  <a:lnTo>
                    <a:pt x="523" y="22"/>
                  </a:lnTo>
                  <a:lnTo>
                    <a:pt x="518" y="22"/>
                  </a:lnTo>
                  <a:lnTo>
                    <a:pt x="514" y="24"/>
                  </a:lnTo>
                  <a:lnTo>
                    <a:pt x="511" y="24"/>
                  </a:lnTo>
                  <a:lnTo>
                    <a:pt x="509" y="24"/>
                  </a:lnTo>
                  <a:lnTo>
                    <a:pt x="506" y="24"/>
                  </a:lnTo>
                  <a:lnTo>
                    <a:pt x="509" y="22"/>
                  </a:lnTo>
                  <a:lnTo>
                    <a:pt x="518" y="19"/>
                  </a:lnTo>
                  <a:lnTo>
                    <a:pt x="530" y="19"/>
                  </a:lnTo>
                  <a:lnTo>
                    <a:pt x="563" y="19"/>
                  </a:lnTo>
                  <a:lnTo>
                    <a:pt x="580" y="17"/>
                  </a:lnTo>
                  <a:lnTo>
                    <a:pt x="625" y="17"/>
                  </a:lnTo>
                  <a:lnTo>
                    <a:pt x="632" y="14"/>
                  </a:lnTo>
                  <a:lnTo>
                    <a:pt x="628" y="12"/>
                  </a:lnTo>
                  <a:lnTo>
                    <a:pt x="618" y="10"/>
                  </a:lnTo>
                  <a:lnTo>
                    <a:pt x="592" y="10"/>
                  </a:lnTo>
                  <a:lnTo>
                    <a:pt x="594" y="10"/>
                  </a:lnTo>
                  <a:lnTo>
                    <a:pt x="597" y="7"/>
                  </a:lnTo>
                  <a:lnTo>
                    <a:pt x="594" y="5"/>
                  </a:lnTo>
                  <a:lnTo>
                    <a:pt x="585" y="5"/>
                  </a:lnTo>
                  <a:lnTo>
                    <a:pt x="582" y="7"/>
                  </a:lnTo>
                  <a:lnTo>
                    <a:pt x="568" y="7"/>
                  </a:lnTo>
                  <a:lnTo>
                    <a:pt x="566" y="5"/>
                  </a:lnTo>
                  <a:lnTo>
                    <a:pt x="571" y="5"/>
                  </a:lnTo>
                  <a:lnTo>
                    <a:pt x="573" y="5"/>
                  </a:lnTo>
                  <a:lnTo>
                    <a:pt x="578" y="5"/>
                  </a:lnTo>
                  <a:lnTo>
                    <a:pt x="578" y="2"/>
                  </a:lnTo>
                  <a:lnTo>
                    <a:pt x="575" y="2"/>
                  </a:lnTo>
                  <a:lnTo>
                    <a:pt x="571" y="0"/>
                  </a:lnTo>
                  <a:lnTo>
                    <a:pt x="537" y="0"/>
                  </a:lnTo>
                  <a:lnTo>
                    <a:pt x="528" y="2"/>
                  </a:lnTo>
                  <a:lnTo>
                    <a:pt x="518" y="2"/>
                  </a:lnTo>
                  <a:lnTo>
                    <a:pt x="509" y="0"/>
                  </a:lnTo>
                  <a:lnTo>
                    <a:pt x="483" y="0"/>
                  </a:lnTo>
                  <a:lnTo>
                    <a:pt x="478" y="2"/>
                  </a:lnTo>
                  <a:lnTo>
                    <a:pt x="454" y="2"/>
                  </a:lnTo>
                  <a:lnTo>
                    <a:pt x="452" y="0"/>
                  </a:lnTo>
                  <a:lnTo>
                    <a:pt x="447" y="0"/>
                  </a:lnTo>
                  <a:lnTo>
                    <a:pt x="445" y="2"/>
                  </a:lnTo>
                  <a:lnTo>
                    <a:pt x="442" y="2"/>
                  </a:lnTo>
                  <a:lnTo>
                    <a:pt x="442" y="5"/>
                  </a:lnTo>
                  <a:lnTo>
                    <a:pt x="445" y="5"/>
                  </a:lnTo>
                  <a:lnTo>
                    <a:pt x="447" y="5"/>
                  </a:lnTo>
                  <a:lnTo>
                    <a:pt x="442" y="7"/>
                  </a:lnTo>
                  <a:lnTo>
                    <a:pt x="428" y="7"/>
                  </a:lnTo>
                  <a:lnTo>
                    <a:pt x="409" y="5"/>
                  </a:lnTo>
                  <a:lnTo>
                    <a:pt x="378" y="5"/>
                  </a:lnTo>
                  <a:lnTo>
                    <a:pt x="373" y="5"/>
                  </a:lnTo>
                  <a:lnTo>
                    <a:pt x="371" y="5"/>
                  </a:lnTo>
                  <a:lnTo>
                    <a:pt x="368" y="7"/>
                  </a:lnTo>
                  <a:lnTo>
                    <a:pt x="366" y="7"/>
                  </a:lnTo>
                  <a:lnTo>
                    <a:pt x="366" y="10"/>
                  </a:lnTo>
                  <a:lnTo>
                    <a:pt x="368" y="10"/>
                  </a:lnTo>
                  <a:lnTo>
                    <a:pt x="378" y="10"/>
                  </a:lnTo>
                  <a:lnTo>
                    <a:pt x="387" y="10"/>
                  </a:lnTo>
                  <a:lnTo>
                    <a:pt x="399" y="12"/>
                  </a:lnTo>
                  <a:lnTo>
                    <a:pt x="404" y="12"/>
                  </a:lnTo>
                  <a:lnTo>
                    <a:pt x="426" y="14"/>
                  </a:lnTo>
                  <a:lnTo>
                    <a:pt x="399" y="14"/>
                  </a:lnTo>
                  <a:lnTo>
                    <a:pt x="395" y="14"/>
                  </a:lnTo>
                  <a:lnTo>
                    <a:pt x="392" y="14"/>
                  </a:lnTo>
                  <a:lnTo>
                    <a:pt x="387" y="12"/>
                  </a:lnTo>
                  <a:lnTo>
                    <a:pt x="378" y="12"/>
                  </a:lnTo>
                  <a:lnTo>
                    <a:pt x="380" y="14"/>
                  </a:lnTo>
                  <a:lnTo>
                    <a:pt x="383" y="14"/>
                  </a:lnTo>
                  <a:lnTo>
                    <a:pt x="385" y="14"/>
                  </a:lnTo>
                  <a:lnTo>
                    <a:pt x="376" y="14"/>
                  </a:lnTo>
                  <a:lnTo>
                    <a:pt x="373" y="17"/>
                  </a:lnTo>
                  <a:lnTo>
                    <a:pt x="373" y="19"/>
                  </a:lnTo>
                  <a:lnTo>
                    <a:pt x="371" y="22"/>
                  </a:lnTo>
                  <a:lnTo>
                    <a:pt x="371" y="24"/>
                  </a:lnTo>
                  <a:lnTo>
                    <a:pt x="368" y="24"/>
                  </a:lnTo>
                  <a:lnTo>
                    <a:pt x="366" y="24"/>
                  </a:lnTo>
                  <a:lnTo>
                    <a:pt x="364" y="24"/>
                  </a:lnTo>
                  <a:lnTo>
                    <a:pt x="359" y="24"/>
                  </a:lnTo>
                  <a:lnTo>
                    <a:pt x="357" y="22"/>
                  </a:lnTo>
                  <a:lnTo>
                    <a:pt x="345" y="19"/>
                  </a:lnTo>
                  <a:lnTo>
                    <a:pt x="330" y="14"/>
                  </a:lnTo>
                  <a:lnTo>
                    <a:pt x="309" y="14"/>
                  </a:lnTo>
                  <a:lnTo>
                    <a:pt x="309" y="24"/>
                  </a:lnTo>
                  <a:lnTo>
                    <a:pt x="297" y="24"/>
                  </a:lnTo>
                  <a:lnTo>
                    <a:pt x="292" y="22"/>
                  </a:lnTo>
                  <a:lnTo>
                    <a:pt x="288" y="22"/>
                  </a:lnTo>
                  <a:lnTo>
                    <a:pt x="285" y="19"/>
                  </a:lnTo>
                  <a:lnTo>
                    <a:pt x="278" y="19"/>
                  </a:lnTo>
                  <a:lnTo>
                    <a:pt x="273" y="22"/>
                  </a:lnTo>
                  <a:lnTo>
                    <a:pt x="273" y="24"/>
                  </a:lnTo>
                  <a:lnTo>
                    <a:pt x="269" y="24"/>
                  </a:lnTo>
                  <a:lnTo>
                    <a:pt x="271" y="19"/>
                  </a:lnTo>
                  <a:lnTo>
                    <a:pt x="269" y="17"/>
                  </a:lnTo>
                  <a:lnTo>
                    <a:pt x="238" y="17"/>
                  </a:lnTo>
                  <a:lnTo>
                    <a:pt x="228" y="19"/>
                  </a:lnTo>
                  <a:lnTo>
                    <a:pt x="209" y="19"/>
                  </a:lnTo>
                  <a:lnTo>
                    <a:pt x="214" y="22"/>
                  </a:lnTo>
                  <a:lnTo>
                    <a:pt x="223" y="26"/>
                  </a:lnTo>
                  <a:lnTo>
                    <a:pt x="226" y="29"/>
                  </a:lnTo>
                  <a:lnTo>
                    <a:pt x="223" y="29"/>
                  </a:lnTo>
                  <a:lnTo>
                    <a:pt x="223" y="26"/>
                  </a:lnTo>
                  <a:lnTo>
                    <a:pt x="214" y="24"/>
                  </a:lnTo>
                  <a:lnTo>
                    <a:pt x="207" y="24"/>
                  </a:lnTo>
                  <a:lnTo>
                    <a:pt x="202" y="22"/>
                  </a:lnTo>
                  <a:lnTo>
                    <a:pt x="197" y="22"/>
                  </a:lnTo>
                  <a:lnTo>
                    <a:pt x="192" y="19"/>
                  </a:lnTo>
                  <a:lnTo>
                    <a:pt x="190" y="19"/>
                  </a:lnTo>
                  <a:lnTo>
                    <a:pt x="188" y="22"/>
                  </a:lnTo>
                  <a:lnTo>
                    <a:pt x="185" y="24"/>
                  </a:lnTo>
                  <a:lnTo>
                    <a:pt x="183" y="26"/>
                  </a:lnTo>
                  <a:lnTo>
                    <a:pt x="178" y="29"/>
                  </a:lnTo>
                  <a:lnTo>
                    <a:pt x="176" y="29"/>
                  </a:lnTo>
                  <a:lnTo>
                    <a:pt x="171" y="31"/>
                  </a:lnTo>
                  <a:lnTo>
                    <a:pt x="150" y="31"/>
                  </a:lnTo>
                  <a:lnTo>
                    <a:pt x="143" y="34"/>
                  </a:lnTo>
                  <a:lnTo>
                    <a:pt x="133" y="36"/>
                  </a:lnTo>
                  <a:lnTo>
                    <a:pt x="124" y="38"/>
                  </a:lnTo>
                  <a:lnTo>
                    <a:pt x="119" y="38"/>
                  </a:lnTo>
                  <a:lnTo>
                    <a:pt x="102" y="41"/>
                  </a:lnTo>
                  <a:lnTo>
                    <a:pt x="97" y="43"/>
                  </a:lnTo>
                  <a:lnTo>
                    <a:pt x="100" y="46"/>
                  </a:lnTo>
                  <a:lnTo>
                    <a:pt x="105" y="48"/>
                  </a:lnTo>
                  <a:lnTo>
                    <a:pt x="126" y="48"/>
                  </a:lnTo>
                  <a:lnTo>
                    <a:pt x="116" y="50"/>
                  </a:lnTo>
                  <a:lnTo>
                    <a:pt x="112" y="55"/>
                  </a:lnTo>
                  <a:lnTo>
                    <a:pt x="109" y="55"/>
                  </a:lnTo>
                  <a:lnTo>
                    <a:pt x="93" y="60"/>
                  </a:lnTo>
                  <a:lnTo>
                    <a:pt x="88" y="60"/>
                  </a:lnTo>
                  <a:lnTo>
                    <a:pt x="66" y="60"/>
                  </a:lnTo>
                  <a:lnTo>
                    <a:pt x="57" y="62"/>
                  </a:lnTo>
                  <a:lnTo>
                    <a:pt x="47" y="65"/>
                  </a:lnTo>
                  <a:lnTo>
                    <a:pt x="45" y="67"/>
                  </a:lnTo>
                  <a:lnTo>
                    <a:pt x="40" y="67"/>
                  </a:lnTo>
                  <a:lnTo>
                    <a:pt x="38" y="65"/>
                  </a:lnTo>
                  <a:lnTo>
                    <a:pt x="31" y="70"/>
                  </a:lnTo>
                  <a:lnTo>
                    <a:pt x="9" y="70"/>
                  </a:lnTo>
                  <a:lnTo>
                    <a:pt x="7" y="70"/>
                  </a:lnTo>
                  <a:lnTo>
                    <a:pt x="2" y="70"/>
                  </a:lnTo>
                  <a:lnTo>
                    <a:pt x="0" y="74"/>
                  </a:lnTo>
                  <a:lnTo>
                    <a:pt x="2" y="74"/>
                  </a:lnTo>
                  <a:lnTo>
                    <a:pt x="9" y="79"/>
                  </a:lnTo>
                  <a:lnTo>
                    <a:pt x="12" y="82"/>
                  </a:lnTo>
                  <a:lnTo>
                    <a:pt x="14" y="84"/>
                  </a:lnTo>
                  <a:lnTo>
                    <a:pt x="24" y="79"/>
                  </a:lnTo>
                  <a:lnTo>
                    <a:pt x="24" y="84"/>
                  </a:lnTo>
                  <a:lnTo>
                    <a:pt x="28" y="86"/>
                  </a:lnTo>
                  <a:lnTo>
                    <a:pt x="33" y="86"/>
                  </a:lnTo>
                  <a:lnTo>
                    <a:pt x="36" y="84"/>
                  </a:lnTo>
                  <a:lnTo>
                    <a:pt x="38" y="84"/>
                  </a:lnTo>
                  <a:lnTo>
                    <a:pt x="40" y="82"/>
                  </a:lnTo>
                  <a:lnTo>
                    <a:pt x="40" y="84"/>
                  </a:lnTo>
                  <a:lnTo>
                    <a:pt x="43" y="86"/>
                  </a:lnTo>
                  <a:lnTo>
                    <a:pt x="45" y="86"/>
                  </a:lnTo>
                  <a:lnTo>
                    <a:pt x="47" y="84"/>
                  </a:lnTo>
                  <a:lnTo>
                    <a:pt x="52" y="84"/>
                  </a:lnTo>
                  <a:lnTo>
                    <a:pt x="57" y="84"/>
                  </a:lnTo>
                  <a:lnTo>
                    <a:pt x="59" y="82"/>
                  </a:lnTo>
                  <a:lnTo>
                    <a:pt x="64" y="82"/>
                  </a:lnTo>
                  <a:lnTo>
                    <a:pt x="64" y="84"/>
                  </a:lnTo>
                  <a:lnTo>
                    <a:pt x="64" y="86"/>
                  </a:lnTo>
                  <a:lnTo>
                    <a:pt x="62" y="86"/>
                  </a:lnTo>
                  <a:lnTo>
                    <a:pt x="57" y="91"/>
                  </a:lnTo>
                  <a:lnTo>
                    <a:pt x="55" y="91"/>
                  </a:lnTo>
                  <a:lnTo>
                    <a:pt x="52" y="89"/>
                  </a:lnTo>
                  <a:lnTo>
                    <a:pt x="40" y="89"/>
                  </a:lnTo>
                  <a:lnTo>
                    <a:pt x="36" y="91"/>
                  </a:lnTo>
                  <a:lnTo>
                    <a:pt x="33" y="91"/>
                  </a:lnTo>
                  <a:lnTo>
                    <a:pt x="21" y="89"/>
                  </a:lnTo>
                  <a:lnTo>
                    <a:pt x="19" y="89"/>
                  </a:lnTo>
                  <a:lnTo>
                    <a:pt x="14" y="86"/>
                  </a:lnTo>
                  <a:lnTo>
                    <a:pt x="7" y="86"/>
                  </a:lnTo>
                  <a:lnTo>
                    <a:pt x="2" y="89"/>
                  </a:lnTo>
                  <a:lnTo>
                    <a:pt x="2" y="93"/>
                  </a:lnTo>
                  <a:lnTo>
                    <a:pt x="2" y="96"/>
                  </a:lnTo>
                  <a:lnTo>
                    <a:pt x="7" y="98"/>
                  </a:lnTo>
                  <a:lnTo>
                    <a:pt x="19" y="98"/>
                  </a:lnTo>
                  <a:lnTo>
                    <a:pt x="17" y="101"/>
                  </a:lnTo>
                  <a:lnTo>
                    <a:pt x="14" y="101"/>
                  </a:lnTo>
                  <a:lnTo>
                    <a:pt x="9" y="101"/>
                  </a:lnTo>
                  <a:lnTo>
                    <a:pt x="12" y="103"/>
                  </a:lnTo>
                  <a:lnTo>
                    <a:pt x="19" y="105"/>
                  </a:lnTo>
                  <a:lnTo>
                    <a:pt x="21" y="105"/>
                  </a:lnTo>
                  <a:lnTo>
                    <a:pt x="24" y="108"/>
                  </a:lnTo>
                  <a:lnTo>
                    <a:pt x="33" y="108"/>
                  </a:lnTo>
                  <a:lnTo>
                    <a:pt x="33" y="105"/>
                  </a:lnTo>
                  <a:lnTo>
                    <a:pt x="36" y="105"/>
                  </a:lnTo>
                  <a:lnTo>
                    <a:pt x="38" y="105"/>
                  </a:lnTo>
                  <a:lnTo>
                    <a:pt x="43" y="108"/>
                  </a:lnTo>
                  <a:lnTo>
                    <a:pt x="52" y="105"/>
                  </a:lnTo>
                  <a:lnTo>
                    <a:pt x="52" y="108"/>
                  </a:lnTo>
                  <a:lnTo>
                    <a:pt x="57" y="108"/>
                  </a:lnTo>
                  <a:lnTo>
                    <a:pt x="62" y="105"/>
                  </a:lnTo>
                  <a:lnTo>
                    <a:pt x="64" y="105"/>
                  </a:lnTo>
                  <a:lnTo>
                    <a:pt x="69" y="103"/>
                  </a:lnTo>
                  <a:lnTo>
                    <a:pt x="76" y="105"/>
                  </a:lnTo>
                  <a:lnTo>
                    <a:pt x="81" y="105"/>
                  </a:lnTo>
                  <a:lnTo>
                    <a:pt x="83" y="105"/>
                  </a:lnTo>
                  <a:lnTo>
                    <a:pt x="85" y="103"/>
                  </a:lnTo>
                  <a:lnTo>
                    <a:pt x="88" y="103"/>
                  </a:lnTo>
                  <a:lnTo>
                    <a:pt x="93" y="105"/>
                  </a:lnTo>
                  <a:lnTo>
                    <a:pt x="97" y="105"/>
                  </a:lnTo>
                  <a:lnTo>
                    <a:pt x="112" y="105"/>
                  </a:lnTo>
                  <a:lnTo>
                    <a:pt x="121" y="110"/>
                  </a:lnTo>
                  <a:lnTo>
                    <a:pt x="124" y="110"/>
                  </a:lnTo>
                  <a:lnTo>
                    <a:pt x="128" y="115"/>
                  </a:lnTo>
                  <a:lnTo>
                    <a:pt x="135" y="115"/>
                  </a:lnTo>
                  <a:lnTo>
                    <a:pt x="133" y="117"/>
                  </a:lnTo>
                  <a:lnTo>
                    <a:pt x="133" y="120"/>
                  </a:lnTo>
                  <a:lnTo>
                    <a:pt x="133" y="125"/>
                  </a:lnTo>
                  <a:lnTo>
                    <a:pt x="138" y="125"/>
                  </a:lnTo>
                  <a:lnTo>
                    <a:pt x="140" y="125"/>
                  </a:lnTo>
                  <a:lnTo>
                    <a:pt x="145" y="127"/>
                  </a:lnTo>
                  <a:lnTo>
                    <a:pt x="147" y="129"/>
                  </a:lnTo>
                  <a:lnTo>
                    <a:pt x="143" y="134"/>
                  </a:lnTo>
                  <a:lnTo>
                    <a:pt x="145" y="141"/>
                  </a:lnTo>
                  <a:lnTo>
                    <a:pt x="152" y="144"/>
                  </a:lnTo>
                  <a:lnTo>
                    <a:pt x="145" y="149"/>
                  </a:lnTo>
                  <a:lnTo>
                    <a:pt x="150" y="151"/>
                  </a:lnTo>
                  <a:lnTo>
                    <a:pt x="147" y="151"/>
                  </a:lnTo>
                  <a:lnTo>
                    <a:pt x="145" y="153"/>
                  </a:lnTo>
                  <a:lnTo>
                    <a:pt x="145" y="156"/>
                  </a:lnTo>
                  <a:lnTo>
                    <a:pt x="150" y="161"/>
                  </a:lnTo>
                  <a:lnTo>
                    <a:pt x="152" y="161"/>
                  </a:lnTo>
                  <a:lnTo>
                    <a:pt x="152" y="163"/>
                  </a:lnTo>
                  <a:lnTo>
                    <a:pt x="147" y="165"/>
                  </a:lnTo>
                  <a:lnTo>
                    <a:pt x="145" y="168"/>
                  </a:lnTo>
                  <a:lnTo>
                    <a:pt x="143" y="168"/>
                  </a:lnTo>
                  <a:lnTo>
                    <a:pt x="147" y="170"/>
                  </a:lnTo>
                  <a:lnTo>
                    <a:pt x="143" y="170"/>
                  </a:lnTo>
                  <a:lnTo>
                    <a:pt x="140" y="170"/>
                  </a:lnTo>
                  <a:lnTo>
                    <a:pt x="138" y="170"/>
                  </a:lnTo>
                  <a:lnTo>
                    <a:pt x="133" y="173"/>
                  </a:lnTo>
                  <a:lnTo>
                    <a:pt x="131" y="173"/>
                  </a:lnTo>
                  <a:lnTo>
                    <a:pt x="131" y="175"/>
                  </a:lnTo>
                  <a:lnTo>
                    <a:pt x="143" y="175"/>
                  </a:lnTo>
                  <a:lnTo>
                    <a:pt x="138" y="180"/>
                  </a:lnTo>
                  <a:lnTo>
                    <a:pt x="126" y="180"/>
                  </a:lnTo>
                  <a:lnTo>
                    <a:pt x="124" y="180"/>
                  </a:lnTo>
                  <a:lnTo>
                    <a:pt x="124" y="182"/>
                  </a:lnTo>
                  <a:lnTo>
                    <a:pt x="133" y="189"/>
                  </a:lnTo>
                  <a:lnTo>
                    <a:pt x="138" y="189"/>
                  </a:lnTo>
                  <a:lnTo>
                    <a:pt x="145" y="184"/>
                  </a:lnTo>
                  <a:lnTo>
                    <a:pt x="147" y="184"/>
                  </a:lnTo>
                  <a:lnTo>
                    <a:pt x="152" y="184"/>
                  </a:lnTo>
                  <a:lnTo>
                    <a:pt x="154" y="182"/>
                  </a:lnTo>
                  <a:lnTo>
                    <a:pt x="157" y="182"/>
                  </a:lnTo>
                  <a:lnTo>
                    <a:pt x="157" y="180"/>
                  </a:lnTo>
                  <a:lnTo>
                    <a:pt x="157" y="175"/>
                  </a:lnTo>
                  <a:lnTo>
                    <a:pt x="159" y="173"/>
                  </a:lnTo>
                  <a:lnTo>
                    <a:pt x="159" y="180"/>
                  </a:lnTo>
                  <a:lnTo>
                    <a:pt x="166" y="175"/>
                  </a:lnTo>
                  <a:lnTo>
                    <a:pt x="164" y="177"/>
                  </a:lnTo>
                  <a:lnTo>
                    <a:pt x="164" y="180"/>
                  </a:lnTo>
                  <a:lnTo>
                    <a:pt x="166" y="180"/>
                  </a:lnTo>
                  <a:lnTo>
                    <a:pt x="169" y="182"/>
                  </a:lnTo>
                  <a:lnTo>
                    <a:pt x="176" y="182"/>
                  </a:lnTo>
                  <a:lnTo>
                    <a:pt x="171" y="187"/>
                  </a:lnTo>
                  <a:lnTo>
                    <a:pt x="171" y="189"/>
                  </a:lnTo>
                  <a:lnTo>
                    <a:pt x="173" y="192"/>
                  </a:lnTo>
                  <a:lnTo>
                    <a:pt x="176" y="194"/>
                  </a:lnTo>
                  <a:lnTo>
                    <a:pt x="178" y="196"/>
                  </a:lnTo>
                  <a:lnTo>
                    <a:pt x="181" y="199"/>
                  </a:lnTo>
                  <a:lnTo>
                    <a:pt x="178" y="201"/>
                  </a:lnTo>
                  <a:lnTo>
                    <a:pt x="173" y="201"/>
                  </a:lnTo>
                  <a:lnTo>
                    <a:pt x="173" y="204"/>
                  </a:lnTo>
                  <a:lnTo>
                    <a:pt x="166" y="204"/>
                  </a:lnTo>
                  <a:lnTo>
                    <a:pt x="164" y="201"/>
                  </a:lnTo>
                  <a:lnTo>
                    <a:pt x="162" y="201"/>
                  </a:lnTo>
                  <a:lnTo>
                    <a:pt x="159" y="201"/>
                  </a:lnTo>
                  <a:lnTo>
                    <a:pt x="157" y="199"/>
                  </a:lnTo>
                  <a:lnTo>
                    <a:pt x="143" y="199"/>
                  </a:lnTo>
                  <a:lnTo>
                    <a:pt x="140" y="196"/>
                  </a:lnTo>
                  <a:lnTo>
                    <a:pt x="138" y="194"/>
                  </a:lnTo>
                  <a:lnTo>
                    <a:pt x="131" y="194"/>
                  </a:lnTo>
                  <a:lnTo>
                    <a:pt x="128" y="199"/>
                  </a:lnTo>
                  <a:lnTo>
                    <a:pt x="128" y="201"/>
                  </a:lnTo>
                  <a:lnTo>
                    <a:pt x="133" y="201"/>
                  </a:lnTo>
                  <a:lnTo>
                    <a:pt x="133" y="204"/>
                  </a:lnTo>
                  <a:lnTo>
                    <a:pt x="140" y="204"/>
                  </a:lnTo>
                  <a:lnTo>
                    <a:pt x="143" y="206"/>
                  </a:lnTo>
                  <a:lnTo>
                    <a:pt x="145" y="206"/>
                  </a:lnTo>
                  <a:lnTo>
                    <a:pt x="147" y="206"/>
                  </a:lnTo>
                  <a:lnTo>
                    <a:pt x="152" y="211"/>
                  </a:lnTo>
                  <a:lnTo>
                    <a:pt x="162" y="211"/>
                  </a:lnTo>
                  <a:lnTo>
                    <a:pt x="164" y="211"/>
                  </a:lnTo>
                  <a:lnTo>
                    <a:pt x="166" y="211"/>
                  </a:lnTo>
                  <a:lnTo>
                    <a:pt x="173" y="213"/>
                  </a:lnTo>
                  <a:lnTo>
                    <a:pt x="178" y="208"/>
                  </a:lnTo>
                  <a:lnTo>
                    <a:pt x="178" y="216"/>
                  </a:lnTo>
                  <a:lnTo>
                    <a:pt x="176" y="213"/>
                  </a:lnTo>
                  <a:lnTo>
                    <a:pt x="173" y="213"/>
                  </a:lnTo>
                  <a:lnTo>
                    <a:pt x="171" y="213"/>
                  </a:lnTo>
                  <a:lnTo>
                    <a:pt x="171" y="216"/>
                  </a:lnTo>
                  <a:lnTo>
                    <a:pt x="173" y="220"/>
                  </a:lnTo>
                  <a:lnTo>
                    <a:pt x="169" y="220"/>
                  </a:lnTo>
                  <a:lnTo>
                    <a:pt x="166" y="220"/>
                  </a:lnTo>
                  <a:lnTo>
                    <a:pt x="164" y="220"/>
                  </a:lnTo>
                  <a:lnTo>
                    <a:pt x="164" y="223"/>
                  </a:lnTo>
                  <a:lnTo>
                    <a:pt x="164" y="225"/>
                  </a:lnTo>
                  <a:lnTo>
                    <a:pt x="173" y="225"/>
                  </a:lnTo>
                  <a:lnTo>
                    <a:pt x="171" y="225"/>
                  </a:lnTo>
                  <a:lnTo>
                    <a:pt x="171" y="228"/>
                  </a:lnTo>
                  <a:lnTo>
                    <a:pt x="169" y="230"/>
                  </a:lnTo>
                  <a:lnTo>
                    <a:pt x="162" y="225"/>
                  </a:lnTo>
                  <a:lnTo>
                    <a:pt x="159" y="225"/>
                  </a:lnTo>
                  <a:lnTo>
                    <a:pt x="159" y="228"/>
                  </a:lnTo>
                  <a:lnTo>
                    <a:pt x="159" y="230"/>
                  </a:lnTo>
                  <a:lnTo>
                    <a:pt x="162" y="232"/>
                  </a:lnTo>
                  <a:lnTo>
                    <a:pt x="157" y="232"/>
                  </a:lnTo>
                  <a:lnTo>
                    <a:pt x="157" y="237"/>
                  </a:lnTo>
                  <a:lnTo>
                    <a:pt x="154" y="237"/>
                  </a:lnTo>
                  <a:lnTo>
                    <a:pt x="152" y="240"/>
                  </a:lnTo>
                  <a:lnTo>
                    <a:pt x="152" y="242"/>
                  </a:lnTo>
                  <a:lnTo>
                    <a:pt x="157" y="247"/>
                  </a:lnTo>
                  <a:lnTo>
                    <a:pt x="159" y="247"/>
                  </a:lnTo>
                  <a:lnTo>
                    <a:pt x="159" y="252"/>
                  </a:lnTo>
                  <a:lnTo>
                    <a:pt x="157" y="252"/>
                  </a:lnTo>
                  <a:lnTo>
                    <a:pt x="154" y="252"/>
                  </a:lnTo>
                  <a:lnTo>
                    <a:pt x="152" y="249"/>
                  </a:lnTo>
                  <a:lnTo>
                    <a:pt x="150" y="244"/>
                  </a:lnTo>
                  <a:lnTo>
                    <a:pt x="147" y="242"/>
                  </a:lnTo>
                  <a:lnTo>
                    <a:pt x="147" y="240"/>
                  </a:lnTo>
                  <a:lnTo>
                    <a:pt x="145" y="237"/>
                  </a:lnTo>
                  <a:lnTo>
                    <a:pt x="143" y="235"/>
                  </a:lnTo>
                  <a:lnTo>
                    <a:pt x="140" y="235"/>
                  </a:lnTo>
                  <a:lnTo>
                    <a:pt x="135" y="235"/>
                  </a:lnTo>
                  <a:lnTo>
                    <a:pt x="133" y="235"/>
                  </a:lnTo>
                  <a:lnTo>
                    <a:pt x="128" y="240"/>
                  </a:lnTo>
                  <a:lnTo>
                    <a:pt x="128" y="242"/>
                  </a:lnTo>
                  <a:lnTo>
                    <a:pt x="133" y="244"/>
                  </a:lnTo>
                  <a:lnTo>
                    <a:pt x="138" y="244"/>
                  </a:lnTo>
                  <a:lnTo>
                    <a:pt x="140" y="247"/>
                  </a:lnTo>
                  <a:lnTo>
                    <a:pt x="135" y="249"/>
                  </a:lnTo>
                  <a:lnTo>
                    <a:pt x="131" y="249"/>
                  </a:lnTo>
                  <a:lnTo>
                    <a:pt x="128" y="247"/>
                  </a:lnTo>
                  <a:lnTo>
                    <a:pt x="121" y="247"/>
                  </a:lnTo>
                  <a:lnTo>
                    <a:pt x="119" y="249"/>
                  </a:lnTo>
                  <a:lnTo>
                    <a:pt x="116" y="249"/>
                  </a:lnTo>
                  <a:lnTo>
                    <a:pt x="114" y="249"/>
                  </a:lnTo>
                  <a:lnTo>
                    <a:pt x="112" y="252"/>
                  </a:lnTo>
                  <a:lnTo>
                    <a:pt x="109" y="252"/>
                  </a:lnTo>
                  <a:lnTo>
                    <a:pt x="121" y="252"/>
                  </a:lnTo>
                  <a:lnTo>
                    <a:pt x="126" y="252"/>
                  </a:lnTo>
                  <a:lnTo>
                    <a:pt x="140" y="252"/>
                  </a:lnTo>
                  <a:lnTo>
                    <a:pt x="143" y="252"/>
                  </a:lnTo>
                  <a:lnTo>
                    <a:pt x="131" y="252"/>
                  </a:lnTo>
                  <a:lnTo>
                    <a:pt x="112" y="256"/>
                  </a:lnTo>
                  <a:lnTo>
                    <a:pt x="107" y="256"/>
                  </a:lnTo>
                  <a:lnTo>
                    <a:pt x="105" y="259"/>
                  </a:lnTo>
                  <a:lnTo>
                    <a:pt x="107" y="259"/>
                  </a:lnTo>
                  <a:lnTo>
                    <a:pt x="107" y="261"/>
                  </a:lnTo>
                  <a:lnTo>
                    <a:pt x="114" y="261"/>
                  </a:lnTo>
                  <a:lnTo>
                    <a:pt x="119" y="259"/>
                  </a:lnTo>
                  <a:lnTo>
                    <a:pt x="124" y="259"/>
                  </a:lnTo>
                  <a:lnTo>
                    <a:pt x="128" y="256"/>
                  </a:lnTo>
                  <a:lnTo>
                    <a:pt x="138" y="256"/>
                  </a:lnTo>
                  <a:lnTo>
                    <a:pt x="140" y="259"/>
                  </a:lnTo>
                  <a:lnTo>
                    <a:pt x="138" y="261"/>
                  </a:lnTo>
                  <a:lnTo>
                    <a:pt x="114" y="261"/>
                  </a:lnTo>
                  <a:lnTo>
                    <a:pt x="112" y="261"/>
                  </a:lnTo>
                  <a:lnTo>
                    <a:pt x="102" y="261"/>
                  </a:lnTo>
                  <a:lnTo>
                    <a:pt x="102" y="264"/>
                  </a:lnTo>
                  <a:lnTo>
                    <a:pt x="107" y="264"/>
                  </a:lnTo>
                  <a:lnTo>
                    <a:pt x="107" y="266"/>
                  </a:lnTo>
                  <a:lnTo>
                    <a:pt x="112" y="266"/>
                  </a:lnTo>
                  <a:lnTo>
                    <a:pt x="114" y="266"/>
                  </a:lnTo>
                  <a:lnTo>
                    <a:pt x="109" y="266"/>
                  </a:lnTo>
                  <a:lnTo>
                    <a:pt x="107" y="268"/>
                  </a:lnTo>
                  <a:lnTo>
                    <a:pt x="107" y="271"/>
                  </a:lnTo>
                  <a:lnTo>
                    <a:pt x="105" y="273"/>
                  </a:lnTo>
                  <a:lnTo>
                    <a:pt x="102" y="273"/>
                  </a:lnTo>
                  <a:lnTo>
                    <a:pt x="100" y="275"/>
                  </a:lnTo>
                  <a:lnTo>
                    <a:pt x="97" y="275"/>
                  </a:lnTo>
                  <a:lnTo>
                    <a:pt x="107" y="278"/>
                  </a:lnTo>
                  <a:lnTo>
                    <a:pt x="97" y="280"/>
                  </a:lnTo>
                  <a:lnTo>
                    <a:pt x="97" y="283"/>
                  </a:lnTo>
                  <a:lnTo>
                    <a:pt x="100" y="285"/>
                  </a:lnTo>
                  <a:lnTo>
                    <a:pt x="105" y="285"/>
                  </a:lnTo>
                  <a:lnTo>
                    <a:pt x="107" y="285"/>
                  </a:lnTo>
                  <a:lnTo>
                    <a:pt x="114" y="285"/>
                  </a:lnTo>
                  <a:lnTo>
                    <a:pt x="112" y="285"/>
                  </a:lnTo>
                  <a:lnTo>
                    <a:pt x="109" y="285"/>
                  </a:lnTo>
                  <a:lnTo>
                    <a:pt x="107" y="287"/>
                  </a:lnTo>
                  <a:lnTo>
                    <a:pt x="102" y="290"/>
                  </a:lnTo>
                  <a:lnTo>
                    <a:pt x="102" y="292"/>
                  </a:lnTo>
                  <a:lnTo>
                    <a:pt x="105" y="295"/>
                  </a:lnTo>
                  <a:lnTo>
                    <a:pt x="107" y="295"/>
                  </a:lnTo>
                  <a:lnTo>
                    <a:pt x="109" y="292"/>
                  </a:lnTo>
                  <a:lnTo>
                    <a:pt x="114" y="290"/>
                  </a:lnTo>
                  <a:lnTo>
                    <a:pt x="112" y="295"/>
                  </a:lnTo>
                  <a:lnTo>
                    <a:pt x="109" y="295"/>
                  </a:lnTo>
                  <a:lnTo>
                    <a:pt x="107" y="299"/>
                  </a:lnTo>
                  <a:lnTo>
                    <a:pt x="107" y="304"/>
                  </a:lnTo>
                  <a:lnTo>
                    <a:pt x="109" y="304"/>
                  </a:lnTo>
                  <a:lnTo>
                    <a:pt x="109" y="302"/>
                  </a:lnTo>
                  <a:lnTo>
                    <a:pt x="114" y="302"/>
                  </a:lnTo>
                  <a:lnTo>
                    <a:pt x="109" y="307"/>
                  </a:lnTo>
                  <a:lnTo>
                    <a:pt x="107" y="307"/>
                  </a:lnTo>
                  <a:lnTo>
                    <a:pt x="105" y="309"/>
                  </a:lnTo>
                  <a:lnTo>
                    <a:pt x="102" y="311"/>
                  </a:lnTo>
                  <a:lnTo>
                    <a:pt x="102" y="316"/>
                  </a:lnTo>
                  <a:lnTo>
                    <a:pt x="105" y="316"/>
                  </a:lnTo>
                  <a:lnTo>
                    <a:pt x="107" y="314"/>
                  </a:lnTo>
                  <a:lnTo>
                    <a:pt x="114" y="307"/>
                  </a:lnTo>
                  <a:lnTo>
                    <a:pt x="124" y="307"/>
                  </a:lnTo>
                  <a:lnTo>
                    <a:pt x="126" y="304"/>
                  </a:lnTo>
                  <a:lnTo>
                    <a:pt x="128" y="304"/>
                  </a:lnTo>
                  <a:lnTo>
                    <a:pt x="128" y="307"/>
                  </a:lnTo>
                  <a:lnTo>
                    <a:pt x="133" y="304"/>
                  </a:lnTo>
                  <a:lnTo>
                    <a:pt x="128" y="311"/>
                  </a:lnTo>
                  <a:lnTo>
                    <a:pt x="135" y="311"/>
                  </a:lnTo>
                  <a:lnTo>
                    <a:pt x="128" y="311"/>
                  </a:lnTo>
                  <a:lnTo>
                    <a:pt x="124" y="314"/>
                  </a:lnTo>
                  <a:lnTo>
                    <a:pt x="124" y="316"/>
                  </a:lnTo>
                  <a:lnTo>
                    <a:pt x="119" y="316"/>
                  </a:lnTo>
                  <a:lnTo>
                    <a:pt x="116" y="316"/>
                  </a:lnTo>
                  <a:lnTo>
                    <a:pt x="114" y="319"/>
                  </a:lnTo>
                  <a:lnTo>
                    <a:pt x="114" y="321"/>
                  </a:lnTo>
                  <a:lnTo>
                    <a:pt x="112" y="321"/>
                  </a:lnTo>
                  <a:lnTo>
                    <a:pt x="107" y="323"/>
                  </a:lnTo>
                  <a:lnTo>
                    <a:pt x="105" y="326"/>
                  </a:lnTo>
                  <a:lnTo>
                    <a:pt x="109" y="326"/>
                  </a:lnTo>
                  <a:lnTo>
                    <a:pt x="107" y="326"/>
                  </a:lnTo>
                  <a:lnTo>
                    <a:pt x="107" y="328"/>
                  </a:lnTo>
                  <a:lnTo>
                    <a:pt x="107" y="331"/>
                  </a:lnTo>
                  <a:lnTo>
                    <a:pt x="109" y="331"/>
                  </a:lnTo>
                  <a:lnTo>
                    <a:pt x="107" y="333"/>
                  </a:lnTo>
                  <a:lnTo>
                    <a:pt x="107" y="335"/>
                  </a:lnTo>
                  <a:lnTo>
                    <a:pt x="116" y="335"/>
                  </a:lnTo>
                  <a:lnTo>
                    <a:pt x="112" y="343"/>
                  </a:lnTo>
                  <a:lnTo>
                    <a:pt x="116" y="340"/>
                  </a:lnTo>
                  <a:lnTo>
                    <a:pt x="119" y="340"/>
                  </a:lnTo>
                  <a:lnTo>
                    <a:pt x="116" y="340"/>
                  </a:lnTo>
                  <a:lnTo>
                    <a:pt x="114" y="343"/>
                  </a:lnTo>
                  <a:lnTo>
                    <a:pt x="114" y="345"/>
                  </a:lnTo>
                  <a:lnTo>
                    <a:pt x="112" y="347"/>
                  </a:lnTo>
                  <a:lnTo>
                    <a:pt x="112" y="352"/>
                  </a:lnTo>
                  <a:lnTo>
                    <a:pt x="114" y="352"/>
                  </a:lnTo>
                  <a:lnTo>
                    <a:pt x="121" y="352"/>
                  </a:lnTo>
                  <a:lnTo>
                    <a:pt x="116" y="359"/>
                  </a:lnTo>
                  <a:lnTo>
                    <a:pt x="126" y="357"/>
                  </a:lnTo>
                  <a:lnTo>
                    <a:pt x="121" y="362"/>
                  </a:lnTo>
                  <a:lnTo>
                    <a:pt x="124" y="366"/>
                  </a:lnTo>
                  <a:lnTo>
                    <a:pt x="128" y="366"/>
                  </a:lnTo>
                  <a:lnTo>
                    <a:pt x="126" y="366"/>
                  </a:lnTo>
                  <a:lnTo>
                    <a:pt x="126" y="369"/>
                  </a:lnTo>
                  <a:lnTo>
                    <a:pt x="128" y="371"/>
                  </a:lnTo>
                  <a:lnTo>
                    <a:pt x="133" y="371"/>
                  </a:lnTo>
                  <a:lnTo>
                    <a:pt x="128" y="376"/>
                  </a:lnTo>
                  <a:lnTo>
                    <a:pt x="135" y="376"/>
                  </a:lnTo>
                  <a:lnTo>
                    <a:pt x="133" y="381"/>
                  </a:lnTo>
                  <a:lnTo>
                    <a:pt x="145" y="378"/>
                  </a:lnTo>
                  <a:lnTo>
                    <a:pt x="147" y="381"/>
                  </a:lnTo>
                  <a:lnTo>
                    <a:pt x="150" y="381"/>
                  </a:lnTo>
                  <a:lnTo>
                    <a:pt x="152" y="378"/>
                  </a:lnTo>
                  <a:lnTo>
                    <a:pt x="162" y="374"/>
                  </a:lnTo>
                  <a:lnTo>
                    <a:pt x="164" y="371"/>
                  </a:lnTo>
                  <a:lnTo>
                    <a:pt x="164" y="374"/>
                  </a:lnTo>
                  <a:lnTo>
                    <a:pt x="162" y="376"/>
                  </a:lnTo>
                  <a:lnTo>
                    <a:pt x="169" y="378"/>
                  </a:lnTo>
                  <a:lnTo>
                    <a:pt x="171" y="376"/>
                  </a:lnTo>
                  <a:lnTo>
                    <a:pt x="173" y="376"/>
                  </a:lnTo>
                  <a:lnTo>
                    <a:pt x="169" y="378"/>
                  </a:lnTo>
                  <a:lnTo>
                    <a:pt x="164" y="381"/>
                  </a:lnTo>
                  <a:lnTo>
                    <a:pt x="162" y="383"/>
                  </a:lnTo>
                  <a:lnTo>
                    <a:pt x="162" y="386"/>
                  </a:lnTo>
                  <a:lnTo>
                    <a:pt x="169" y="386"/>
                  </a:lnTo>
                  <a:lnTo>
                    <a:pt x="173" y="386"/>
                  </a:lnTo>
                  <a:lnTo>
                    <a:pt x="176" y="386"/>
                  </a:lnTo>
                  <a:lnTo>
                    <a:pt x="173" y="386"/>
                  </a:lnTo>
                  <a:lnTo>
                    <a:pt x="171" y="388"/>
                  </a:lnTo>
                  <a:lnTo>
                    <a:pt x="169" y="390"/>
                  </a:lnTo>
                  <a:lnTo>
                    <a:pt x="169" y="393"/>
                  </a:lnTo>
                  <a:lnTo>
                    <a:pt x="169" y="395"/>
                  </a:lnTo>
                  <a:lnTo>
                    <a:pt x="176" y="395"/>
                  </a:lnTo>
                  <a:lnTo>
                    <a:pt x="178" y="393"/>
                  </a:lnTo>
                  <a:lnTo>
                    <a:pt x="178" y="395"/>
                  </a:lnTo>
                  <a:lnTo>
                    <a:pt x="183" y="398"/>
                  </a:lnTo>
                  <a:lnTo>
                    <a:pt x="188" y="398"/>
                  </a:lnTo>
                  <a:lnTo>
                    <a:pt x="192" y="395"/>
                  </a:lnTo>
                  <a:lnTo>
                    <a:pt x="195" y="393"/>
                  </a:lnTo>
                  <a:lnTo>
                    <a:pt x="192" y="390"/>
                  </a:lnTo>
                  <a:lnTo>
                    <a:pt x="192" y="388"/>
                  </a:lnTo>
                  <a:lnTo>
                    <a:pt x="197" y="388"/>
                  </a:lnTo>
                  <a:lnTo>
                    <a:pt x="200" y="386"/>
                  </a:lnTo>
                  <a:lnTo>
                    <a:pt x="200" y="378"/>
                  </a:lnTo>
                  <a:lnTo>
                    <a:pt x="202" y="381"/>
                  </a:lnTo>
                  <a:lnTo>
                    <a:pt x="207" y="381"/>
                  </a:lnTo>
                  <a:lnTo>
                    <a:pt x="207" y="376"/>
                  </a:lnTo>
                  <a:lnTo>
                    <a:pt x="207" y="374"/>
                  </a:lnTo>
                  <a:lnTo>
                    <a:pt x="207" y="371"/>
                  </a:lnTo>
                  <a:lnTo>
                    <a:pt x="207" y="374"/>
                  </a:lnTo>
                  <a:lnTo>
                    <a:pt x="209" y="376"/>
                  </a:lnTo>
                  <a:lnTo>
                    <a:pt x="212" y="376"/>
                  </a:lnTo>
                  <a:lnTo>
                    <a:pt x="214" y="374"/>
                  </a:lnTo>
                  <a:lnTo>
                    <a:pt x="214" y="371"/>
                  </a:lnTo>
                  <a:lnTo>
                    <a:pt x="209" y="366"/>
                  </a:lnTo>
                  <a:lnTo>
                    <a:pt x="216" y="366"/>
                  </a:lnTo>
                  <a:lnTo>
                    <a:pt x="216" y="364"/>
                  </a:lnTo>
                  <a:lnTo>
                    <a:pt x="214" y="362"/>
                  </a:lnTo>
                  <a:lnTo>
                    <a:pt x="223" y="362"/>
                  </a:lnTo>
                  <a:lnTo>
                    <a:pt x="219" y="357"/>
                  </a:lnTo>
                  <a:lnTo>
                    <a:pt x="223" y="355"/>
                  </a:lnTo>
                  <a:lnTo>
                    <a:pt x="219" y="352"/>
                  </a:lnTo>
                  <a:lnTo>
                    <a:pt x="216" y="350"/>
                  </a:lnTo>
                  <a:lnTo>
                    <a:pt x="219" y="350"/>
                  </a:lnTo>
                  <a:lnTo>
                    <a:pt x="221" y="350"/>
                  </a:lnTo>
                  <a:lnTo>
                    <a:pt x="216" y="343"/>
                  </a:lnTo>
                  <a:lnTo>
                    <a:pt x="221" y="347"/>
                  </a:lnTo>
                  <a:lnTo>
                    <a:pt x="223" y="347"/>
                  </a:lnTo>
                  <a:lnTo>
                    <a:pt x="228" y="343"/>
                  </a:lnTo>
                  <a:lnTo>
                    <a:pt x="235" y="343"/>
                  </a:lnTo>
                  <a:lnTo>
                    <a:pt x="235" y="340"/>
                  </a:lnTo>
                  <a:lnTo>
                    <a:pt x="233" y="338"/>
                  </a:lnTo>
                  <a:lnTo>
                    <a:pt x="238" y="338"/>
                  </a:lnTo>
                  <a:lnTo>
                    <a:pt x="242" y="331"/>
                  </a:lnTo>
                  <a:lnTo>
                    <a:pt x="245" y="331"/>
                  </a:lnTo>
                  <a:lnTo>
                    <a:pt x="252" y="331"/>
                  </a:lnTo>
                  <a:lnTo>
                    <a:pt x="252" y="326"/>
                  </a:lnTo>
                  <a:lnTo>
                    <a:pt x="257" y="331"/>
                  </a:lnTo>
                  <a:lnTo>
                    <a:pt x="259" y="326"/>
                  </a:lnTo>
                  <a:lnTo>
                    <a:pt x="259" y="319"/>
                  </a:lnTo>
                  <a:lnTo>
                    <a:pt x="252" y="316"/>
                  </a:lnTo>
                  <a:lnTo>
                    <a:pt x="257" y="316"/>
                  </a:lnTo>
                  <a:lnTo>
                    <a:pt x="264" y="311"/>
                  </a:lnTo>
                  <a:lnTo>
                    <a:pt x="266" y="307"/>
                  </a:lnTo>
                  <a:lnTo>
                    <a:pt x="259" y="304"/>
                  </a:lnTo>
                  <a:lnTo>
                    <a:pt x="264" y="299"/>
                  </a:lnTo>
                  <a:lnTo>
                    <a:pt x="278" y="299"/>
                  </a:lnTo>
                  <a:lnTo>
                    <a:pt x="280" y="297"/>
                  </a:lnTo>
                  <a:lnTo>
                    <a:pt x="280" y="292"/>
                  </a:lnTo>
                  <a:lnTo>
                    <a:pt x="288" y="290"/>
                  </a:lnTo>
                  <a:lnTo>
                    <a:pt x="292" y="290"/>
                  </a:lnTo>
                  <a:lnTo>
                    <a:pt x="295" y="292"/>
                  </a:lnTo>
                  <a:lnTo>
                    <a:pt x="302" y="292"/>
                  </a:lnTo>
                  <a:lnTo>
                    <a:pt x="311" y="283"/>
                  </a:lnTo>
                  <a:lnTo>
                    <a:pt x="311" y="280"/>
                  </a:lnTo>
                  <a:lnTo>
                    <a:pt x="314" y="280"/>
                  </a:lnTo>
                  <a:lnTo>
                    <a:pt x="316" y="278"/>
                  </a:lnTo>
                  <a:lnTo>
                    <a:pt x="319" y="278"/>
                  </a:lnTo>
                  <a:lnTo>
                    <a:pt x="319" y="280"/>
                  </a:lnTo>
                  <a:lnTo>
                    <a:pt x="316" y="283"/>
                  </a:lnTo>
                  <a:lnTo>
                    <a:pt x="314" y="285"/>
                  </a:lnTo>
                  <a:lnTo>
                    <a:pt x="311" y="290"/>
                  </a:lnTo>
                  <a:lnTo>
                    <a:pt x="319" y="290"/>
                  </a:lnTo>
                  <a:lnTo>
                    <a:pt x="319" y="285"/>
                  </a:lnTo>
                  <a:lnTo>
                    <a:pt x="323" y="285"/>
                  </a:lnTo>
                  <a:lnTo>
                    <a:pt x="326" y="283"/>
                  </a:lnTo>
                  <a:lnTo>
                    <a:pt x="328" y="283"/>
                  </a:lnTo>
                  <a:lnTo>
                    <a:pt x="328" y="285"/>
                  </a:lnTo>
                  <a:lnTo>
                    <a:pt x="333" y="285"/>
                  </a:lnTo>
                  <a:lnTo>
                    <a:pt x="335" y="285"/>
                  </a:lnTo>
                  <a:lnTo>
                    <a:pt x="342" y="283"/>
                  </a:lnTo>
                  <a:lnTo>
                    <a:pt x="347" y="278"/>
                  </a:lnTo>
                  <a:lnTo>
                    <a:pt x="349" y="275"/>
                  </a:lnTo>
                  <a:lnTo>
                    <a:pt x="359" y="275"/>
                  </a:lnTo>
                  <a:lnTo>
                    <a:pt x="366" y="275"/>
                  </a:lnTo>
                  <a:lnTo>
                    <a:pt x="371" y="271"/>
                  </a:lnTo>
                  <a:lnTo>
                    <a:pt x="373" y="268"/>
                  </a:lnTo>
                  <a:lnTo>
                    <a:pt x="376" y="266"/>
                  </a:lnTo>
                  <a:lnTo>
                    <a:pt x="383" y="259"/>
                  </a:lnTo>
                  <a:lnTo>
                    <a:pt x="385" y="256"/>
                  </a:lnTo>
                  <a:lnTo>
                    <a:pt x="390" y="254"/>
                  </a:lnTo>
                  <a:lnTo>
                    <a:pt x="399" y="252"/>
                  </a:lnTo>
                  <a:lnTo>
                    <a:pt x="402" y="252"/>
                  </a:lnTo>
                  <a:lnTo>
                    <a:pt x="404" y="249"/>
                  </a:lnTo>
                  <a:lnTo>
                    <a:pt x="407" y="249"/>
                  </a:lnTo>
                  <a:lnTo>
                    <a:pt x="407" y="247"/>
                  </a:lnTo>
                  <a:lnTo>
                    <a:pt x="407" y="244"/>
                  </a:lnTo>
                  <a:lnTo>
                    <a:pt x="407" y="240"/>
                  </a:lnTo>
                  <a:lnTo>
                    <a:pt x="407" y="235"/>
                  </a:lnTo>
                  <a:lnTo>
                    <a:pt x="414" y="242"/>
                  </a:lnTo>
                  <a:lnTo>
                    <a:pt x="416" y="244"/>
                  </a:lnTo>
                  <a:lnTo>
                    <a:pt x="418" y="244"/>
                  </a:lnTo>
                  <a:lnTo>
                    <a:pt x="437" y="244"/>
                  </a:lnTo>
                  <a:lnTo>
                    <a:pt x="447" y="242"/>
                  </a:lnTo>
                  <a:lnTo>
                    <a:pt x="454" y="240"/>
                  </a:lnTo>
                  <a:lnTo>
                    <a:pt x="459" y="240"/>
                  </a:lnTo>
                  <a:lnTo>
                    <a:pt x="468" y="237"/>
                  </a:lnTo>
                  <a:lnTo>
                    <a:pt x="480" y="235"/>
                  </a:lnTo>
                  <a:lnTo>
                    <a:pt x="487" y="235"/>
                  </a:lnTo>
                  <a:lnTo>
                    <a:pt x="492" y="230"/>
                  </a:lnTo>
                  <a:lnTo>
                    <a:pt x="499" y="230"/>
                  </a:lnTo>
                  <a:lnTo>
                    <a:pt x="502" y="228"/>
                  </a:lnTo>
                  <a:lnTo>
                    <a:pt x="509" y="228"/>
                  </a:lnTo>
                  <a:lnTo>
                    <a:pt x="516" y="220"/>
                  </a:lnTo>
                  <a:lnTo>
                    <a:pt x="518" y="220"/>
                  </a:lnTo>
                  <a:lnTo>
                    <a:pt x="518" y="218"/>
                  </a:lnTo>
                  <a:lnTo>
                    <a:pt x="523" y="218"/>
                  </a:lnTo>
                  <a:lnTo>
                    <a:pt x="525" y="216"/>
                  </a:lnTo>
                  <a:lnTo>
                    <a:pt x="528" y="216"/>
                  </a:lnTo>
                  <a:lnTo>
                    <a:pt x="542" y="213"/>
                  </a:lnTo>
                  <a:lnTo>
                    <a:pt x="552" y="211"/>
                  </a:lnTo>
                  <a:lnTo>
                    <a:pt x="552" y="206"/>
                  </a:lnTo>
                  <a:lnTo>
                    <a:pt x="549" y="206"/>
                  </a:lnTo>
                  <a:lnTo>
                    <a:pt x="547" y="208"/>
                  </a:lnTo>
                  <a:lnTo>
                    <a:pt x="537" y="208"/>
                  </a:lnTo>
                  <a:lnTo>
                    <a:pt x="530" y="206"/>
                  </a:lnTo>
                  <a:lnTo>
                    <a:pt x="525" y="206"/>
                  </a:lnTo>
                  <a:lnTo>
                    <a:pt x="521" y="204"/>
                  </a:lnTo>
                  <a:lnTo>
                    <a:pt x="509" y="204"/>
                  </a:lnTo>
                  <a:lnTo>
                    <a:pt x="499" y="206"/>
                  </a:lnTo>
                  <a:lnTo>
                    <a:pt x="490" y="206"/>
                  </a:lnTo>
                  <a:lnTo>
                    <a:pt x="487" y="211"/>
                  </a:lnTo>
                  <a:lnTo>
                    <a:pt x="471" y="211"/>
                  </a:lnTo>
                  <a:lnTo>
                    <a:pt x="485" y="206"/>
                  </a:lnTo>
                  <a:lnTo>
                    <a:pt x="494" y="204"/>
                  </a:lnTo>
                  <a:lnTo>
                    <a:pt x="499" y="204"/>
                  </a:lnTo>
                  <a:lnTo>
                    <a:pt x="502" y="201"/>
                  </a:lnTo>
                  <a:lnTo>
                    <a:pt x="506" y="201"/>
                  </a:lnTo>
                  <a:lnTo>
                    <a:pt x="511" y="199"/>
                  </a:lnTo>
                  <a:lnTo>
                    <a:pt x="514" y="199"/>
                  </a:lnTo>
                  <a:lnTo>
                    <a:pt x="516" y="199"/>
                  </a:lnTo>
                  <a:lnTo>
                    <a:pt x="514" y="196"/>
                  </a:lnTo>
                  <a:lnTo>
                    <a:pt x="509" y="194"/>
                  </a:lnTo>
                  <a:lnTo>
                    <a:pt x="506" y="194"/>
                  </a:lnTo>
                  <a:lnTo>
                    <a:pt x="504" y="194"/>
                  </a:lnTo>
                  <a:lnTo>
                    <a:pt x="497" y="196"/>
                  </a:lnTo>
                  <a:lnTo>
                    <a:pt x="483" y="201"/>
                  </a:lnTo>
                  <a:lnTo>
                    <a:pt x="468" y="201"/>
                  </a:lnTo>
                  <a:lnTo>
                    <a:pt x="478" y="196"/>
                  </a:lnTo>
                  <a:lnTo>
                    <a:pt x="485" y="192"/>
                  </a:lnTo>
                  <a:lnTo>
                    <a:pt x="487" y="192"/>
                  </a:lnTo>
                  <a:lnTo>
                    <a:pt x="492" y="194"/>
                  </a:lnTo>
                  <a:lnTo>
                    <a:pt x="497" y="194"/>
                  </a:lnTo>
                  <a:lnTo>
                    <a:pt x="499" y="192"/>
                  </a:lnTo>
                  <a:lnTo>
                    <a:pt x="504" y="192"/>
                  </a:lnTo>
                  <a:lnTo>
                    <a:pt x="506" y="189"/>
                  </a:lnTo>
                  <a:lnTo>
                    <a:pt x="516" y="189"/>
                  </a:lnTo>
                  <a:lnTo>
                    <a:pt x="518" y="189"/>
                  </a:lnTo>
                  <a:lnTo>
                    <a:pt x="516" y="187"/>
                  </a:lnTo>
                  <a:lnTo>
                    <a:pt x="514" y="187"/>
                  </a:lnTo>
                  <a:lnTo>
                    <a:pt x="509" y="184"/>
                  </a:lnTo>
                  <a:lnTo>
                    <a:pt x="485" y="184"/>
                  </a:lnTo>
                  <a:lnTo>
                    <a:pt x="492" y="182"/>
                  </a:lnTo>
                  <a:lnTo>
                    <a:pt x="485" y="180"/>
                  </a:lnTo>
                  <a:lnTo>
                    <a:pt x="485" y="175"/>
                  </a:lnTo>
                  <a:lnTo>
                    <a:pt x="487" y="175"/>
                  </a:lnTo>
                  <a:lnTo>
                    <a:pt x="490" y="177"/>
                  </a:lnTo>
                  <a:lnTo>
                    <a:pt x="492" y="180"/>
                  </a:lnTo>
                  <a:lnTo>
                    <a:pt x="497" y="182"/>
                  </a:lnTo>
                  <a:lnTo>
                    <a:pt x="504" y="182"/>
                  </a:lnTo>
                  <a:lnTo>
                    <a:pt x="506" y="184"/>
                  </a:lnTo>
                  <a:lnTo>
                    <a:pt x="509" y="184"/>
                  </a:lnTo>
                  <a:lnTo>
                    <a:pt x="514" y="184"/>
                  </a:lnTo>
                  <a:lnTo>
                    <a:pt x="518" y="184"/>
                  </a:lnTo>
                  <a:lnTo>
                    <a:pt x="518" y="187"/>
                  </a:lnTo>
                  <a:lnTo>
                    <a:pt x="523" y="187"/>
                  </a:lnTo>
                  <a:lnTo>
                    <a:pt x="523" y="184"/>
                  </a:lnTo>
                  <a:lnTo>
                    <a:pt x="528" y="184"/>
                  </a:lnTo>
                  <a:lnTo>
                    <a:pt x="528" y="187"/>
                  </a:lnTo>
                  <a:lnTo>
                    <a:pt x="528" y="189"/>
                  </a:lnTo>
                  <a:lnTo>
                    <a:pt x="528" y="192"/>
                  </a:lnTo>
                  <a:lnTo>
                    <a:pt x="528" y="196"/>
                  </a:lnTo>
                  <a:lnTo>
                    <a:pt x="528" y="199"/>
                  </a:lnTo>
                  <a:lnTo>
                    <a:pt x="533" y="199"/>
                  </a:lnTo>
                  <a:lnTo>
                    <a:pt x="537" y="201"/>
                  </a:lnTo>
                  <a:lnTo>
                    <a:pt x="542" y="201"/>
                  </a:lnTo>
                  <a:lnTo>
                    <a:pt x="547" y="201"/>
                  </a:lnTo>
                  <a:lnTo>
                    <a:pt x="549" y="201"/>
                  </a:lnTo>
                  <a:lnTo>
                    <a:pt x="552" y="199"/>
                  </a:lnTo>
                  <a:lnTo>
                    <a:pt x="554" y="199"/>
                  </a:lnTo>
                  <a:lnTo>
                    <a:pt x="554" y="204"/>
                  </a:lnTo>
                  <a:lnTo>
                    <a:pt x="559" y="204"/>
                  </a:lnTo>
                  <a:lnTo>
                    <a:pt x="561" y="201"/>
                  </a:lnTo>
                  <a:lnTo>
                    <a:pt x="563" y="201"/>
                  </a:lnTo>
                  <a:lnTo>
                    <a:pt x="563" y="194"/>
                  </a:lnTo>
                  <a:lnTo>
                    <a:pt x="561" y="194"/>
                  </a:lnTo>
                  <a:lnTo>
                    <a:pt x="563" y="189"/>
                  </a:lnTo>
                  <a:lnTo>
                    <a:pt x="563" y="187"/>
                  </a:lnTo>
                  <a:lnTo>
                    <a:pt x="559" y="187"/>
                  </a:lnTo>
                  <a:lnTo>
                    <a:pt x="556" y="182"/>
                  </a:lnTo>
                  <a:lnTo>
                    <a:pt x="552" y="180"/>
                  </a:lnTo>
                  <a:lnTo>
                    <a:pt x="552" y="175"/>
                  </a:lnTo>
                  <a:lnTo>
                    <a:pt x="533" y="170"/>
                  </a:lnTo>
                  <a:lnTo>
                    <a:pt x="523" y="170"/>
                  </a:lnTo>
                  <a:lnTo>
                    <a:pt x="521" y="170"/>
                  </a:lnTo>
                  <a:lnTo>
                    <a:pt x="528" y="168"/>
                  </a:lnTo>
                  <a:lnTo>
                    <a:pt x="530" y="165"/>
                  </a:lnTo>
                  <a:lnTo>
                    <a:pt x="528" y="165"/>
                  </a:lnTo>
                  <a:lnTo>
                    <a:pt x="525" y="163"/>
                  </a:lnTo>
                  <a:lnTo>
                    <a:pt x="514" y="163"/>
                  </a:lnTo>
                  <a:lnTo>
                    <a:pt x="509" y="161"/>
                  </a:lnTo>
                  <a:lnTo>
                    <a:pt x="504" y="161"/>
                  </a:lnTo>
                  <a:lnTo>
                    <a:pt x="509" y="156"/>
                  </a:lnTo>
                  <a:lnTo>
                    <a:pt x="523" y="156"/>
                  </a:lnTo>
                  <a:lnTo>
                    <a:pt x="528" y="153"/>
                  </a:lnTo>
                  <a:lnTo>
                    <a:pt x="533" y="153"/>
                  </a:lnTo>
                  <a:lnTo>
                    <a:pt x="547" y="156"/>
                  </a:lnTo>
                  <a:lnTo>
                    <a:pt x="552" y="156"/>
                  </a:lnTo>
                  <a:lnTo>
                    <a:pt x="554" y="156"/>
                  </a:lnTo>
                  <a:lnTo>
                    <a:pt x="556" y="158"/>
                  </a:lnTo>
                  <a:lnTo>
                    <a:pt x="559" y="161"/>
                  </a:lnTo>
                  <a:lnTo>
                    <a:pt x="563" y="165"/>
                  </a:lnTo>
                  <a:lnTo>
                    <a:pt x="568" y="165"/>
                  </a:lnTo>
                  <a:lnTo>
                    <a:pt x="568" y="163"/>
                  </a:lnTo>
                  <a:lnTo>
                    <a:pt x="568" y="158"/>
                  </a:lnTo>
                  <a:lnTo>
                    <a:pt x="559" y="156"/>
                  </a:lnTo>
                  <a:lnTo>
                    <a:pt x="552" y="153"/>
                  </a:lnTo>
                  <a:lnTo>
                    <a:pt x="540" y="151"/>
                  </a:lnTo>
                  <a:lnTo>
                    <a:pt x="544" y="149"/>
                  </a:lnTo>
                  <a:lnTo>
                    <a:pt x="547" y="149"/>
                  </a:lnTo>
                  <a:lnTo>
                    <a:pt x="552" y="151"/>
                  </a:lnTo>
                  <a:lnTo>
                    <a:pt x="556" y="151"/>
                  </a:lnTo>
                  <a:lnTo>
                    <a:pt x="559" y="153"/>
                  </a:lnTo>
                  <a:lnTo>
                    <a:pt x="578" y="153"/>
                  </a:lnTo>
                  <a:lnTo>
                    <a:pt x="594" y="151"/>
                  </a:lnTo>
                  <a:lnTo>
                    <a:pt x="594" y="144"/>
                  </a:lnTo>
                  <a:lnTo>
                    <a:pt x="582" y="141"/>
                  </a:lnTo>
                  <a:lnTo>
                    <a:pt x="578" y="146"/>
                  </a:lnTo>
                  <a:lnTo>
                    <a:pt x="573" y="141"/>
                  </a:lnTo>
                  <a:lnTo>
                    <a:pt x="573" y="139"/>
                  </a:lnTo>
                  <a:lnTo>
                    <a:pt x="587" y="139"/>
                  </a:lnTo>
                  <a:lnTo>
                    <a:pt x="599" y="137"/>
                  </a:lnTo>
                  <a:lnTo>
                    <a:pt x="602" y="139"/>
                  </a:lnTo>
                  <a:lnTo>
                    <a:pt x="609" y="139"/>
                  </a:lnTo>
                  <a:lnTo>
                    <a:pt x="616" y="134"/>
                  </a:lnTo>
                  <a:lnTo>
                    <a:pt x="618" y="134"/>
                  </a:lnTo>
                  <a:lnTo>
                    <a:pt x="618" y="132"/>
                  </a:lnTo>
                  <a:lnTo>
                    <a:pt x="599" y="132"/>
                  </a:lnTo>
                  <a:lnTo>
                    <a:pt x="599" y="129"/>
                  </a:lnTo>
                  <a:lnTo>
                    <a:pt x="597" y="129"/>
                  </a:lnTo>
                  <a:lnTo>
                    <a:pt x="597" y="127"/>
                  </a:lnTo>
                  <a:lnTo>
                    <a:pt x="592" y="127"/>
                  </a:lnTo>
                  <a:lnTo>
                    <a:pt x="587" y="125"/>
                  </a:lnTo>
                  <a:lnTo>
                    <a:pt x="592" y="125"/>
                  </a:lnTo>
                  <a:lnTo>
                    <a:pt x="594" y="125"/>
                  </a:lnTo>
                  <a:lnTo>
                    <a:pt x="594" y="122"/>
                  </a:lnTo>
                  <a:lnTo>
                    <a:pt x="592" y="120"/>
                  </a:lnTo>
                  <a:lnTo>
                    <a:pt x="590" y="120"/>
                  </a:lnTo>
                  <a:lnTo>
                    <a:pt x="582" y="117"/>
                  </a:lnTo>
                  <a:lnTo>
                    <a:pt x="592" y="117"/>
                  </a:lnTo>
                  <a:lnTo>
                    <a:pt x="594" y="120"/>
                  </a:lnTo>
                  <a:lnTo>
                    <a:pt x="597" y="120"/>
                  </a:lnTo>
                  <a:lnTo>
                    <a:pt x="602" y="120"/>
                  </a:lnTo>
                  <a:lnTo>
                    <a:pt x="606" y="120"/>
                  </a:lnTo>
                  <a:lnTo>
                    <a:pt x="609" y="125"/>
                  </a:lnTo>
                  <a:lnTo>
                    <a:pt x="613" y="125"/>
                  </a:lnTo>
                  <a:lnTo>
                    <a:pt x="618" y="120"/>
                  </a:lnTo>
                  <a:lnTo>
                    <a:pt x="618" y="113"/>
                  </a:lnTo>
                  <a:lnTo>
                    <a:pt x="616" y="110"/>
                  </a:lnTo>
                  <a:lnTo>
                    <a:pt x="613" y="110"/>
                  </a:lnTo>
                  <a:lnTo>
                    <a:pt x="611" y="108"/>
                  </a:lnTo>
                  <a:lnTo>
                    <a:pt x="609" y="105"/>
                  </a:lnTo>
                  <a:lnTo>
                    <a:pt x="592" y="103"/>
                  </a:lnTo>
                  <a:lnTo>
                    <a:pt x="587" y="101"/>
                  </a:lnTo>
                  <a:lnTo>
                    <a:pt x="587" y="98"/>
                  </a:lnTo>
                  <a:lnTo>
                    <a:pt x="590" y="98"/>
                  </a:lnTo>
                  <a:lnTo>
                    <a:pt x="599" y="98"/>
                  </a:lnTo>
                  <a:lnTo>
                    <a:pt x="611" y="96"/>
                  </a:lnTo>
                  <a:lnTo>
                    <a:pt x="618" y="96"/>
                  </a:lnTo>
                  <a:lnTo>
                    <a:pt x="623" y="98"/>
                  </a:lnTo>
                  <a:lnTo>
                    <a:pt x="632" y="98"/>
                  </a:lnTo>
                  <a:lnTo>
                    <a:pt x="637" y="96"/>
                  </a:lnTo>
                  <a:lnTo>
                    <a:pt x="642" y="93"/>
                  </a:lnTo>
                  <a:lnTo>
                    <a:pt x="642" y="91"/>
                  </a:lnTo>
                  <a:lnTo>
                    <a:pt x="642" y="89"/>
                  </a:lnTo>
                  <a:lnTo>
                    <a:pt x="632" y="89"/>
                  </a:lnTo>
                  <a:lnTo>
                    <a:pt x="625" y="86"/>
                  </a:lnTo>
                  <a:lnTo>
                    <a:pt x="616" y="86"/>
                  </a:lnTo>
                  <a:lnTo>
                    <a:pt x="613" y="84"/>
                  </a:lnTo>
                  <a:lnTo>
                    <a:pt x="623" y="84"/>
                  </a:lnTo>
                  <a:lnTo>
                    <a:pt x="621" y="82"/>
                  </a:lnTo>
                  <a:lnTo>
                    <a:pt x="618" y="79"/>
                  </a:lnTo>
                  <a:lnTo>
                    <a:pt x="618" y="77"/>
                  </a:lnTo>
                  <a:lnTo>
                    <a:pt x="613" y="77"/>
                  </a:lnTo>
                  <a:lnTo>
                    <a:pt x="611" y="79"/>
                  </a:lnTo>
                  <a:lnTo>
                    <a:pt x="611" y="84"/>
                  </a:lnTo>
                  <a:lnTo>
                    <a:pt x="606" y="84"/>
                  </a:lnTo>
                  <a:lnTo>
                    <a:pt x="604" y="84"/>
                  </a:lnTo>
                  <a:lnTo>
                    <a:pt x="602" y="82"/>
                  </a:lnTo>
                  <a:lnTo>
                    <a:pt x="599" y="79"/>
                  </a:lnTo>
                  <a:lnTo>
                    <a:pt x="602" y="79"/>
                  </a:lnTo>
                  <a:lnTo>
                    <a:pt x="606" y="77"/>
                  </a:lnTo>
                  <a:lnTo>
                    <a:pt x="609" y="74"/>
                  </a:lnTo>
                  <a:lnTo>
                    <a:pt x="613" y="70"/>
                  </a:lnTo>
                  <a:lnTo>
                    <a:pt x="616" y="67"/>
                  </a:lnTo>
                  <a:lnTo>
                    <a:pt x="618" y="65"/>
                  </a:lnTo>
                  <a:lnTo>
                    <a:pt x="621" y="65"/>
                  </a:lnTo>
                  <a:lnTo>
                    <a:pt x="623" y="65"/>
                  </a:lnTo>
                  <a:lnTo>
                    <a:pt x="628" y="65"/>
                  </a:lnTo>
                  <a:lnTo>
                    <a:pt x="630" y="65"/>
                  </a:lnTo>
                  <a:lnTo>
                    <a:pt x="632" y="62"/>
                  </a:lnTo>
                  <a:lnTo>
                    <a:pt x="637" y="60"/>
                  </a:lnTo>
                  <a:lnTo>
                    <a:pt x="635" y="55"/>
                  </a:lnTo>
                  <a:lnTo>
                    <a:pt x="637" y="53"/>
                  </a:lnTo>
                  <a:lnTo>
                    <a:pt x="640" y="50"/>
                  </a:lnTo>
                  <a:lnTo>
                    <a:pt x="642" y="50"/>
                  </a:lnTo>
                  <a:lnTo>
                    <a:pt x="647" y="50"/>
                  </a:lnTo>
                  <a:lnTo>
                    <a:pt x="649" y="50"/>
                  </a:lnTo>
                  <a:lnTo>
                    <a:pt x="651" y="53"/>
                  </a:lnTo>
                  <a:lnTo>
                    <a:pt x="656" y="53"/>
                  </a:lnTo>
                  <a:lnTo>
                    <a:pt x="659" y="50"/>
                  </a:lnTo>
                  <a:lnTo>
                    <a:pt x="661" y="50"/>
                  </a:lnTo>
                  <a:lnTo>
                    <a:pt x="663" y="48"/>
                  </a:lnTo>
                  <a:lnTo>
                    <a:pt x="644" y="48"/>
                  </a:lnTo>
                  <a:lnTo>
                    <a:pt x="642" y="48"/>
                  </a:lnTo>
                  <a:lnTo>
                    <a:pt x="637" y="48"/>
                  </a:lnTo>
                  <a:lnTo>
                    <a:pt x="635" y="50"/>
                  </a:lnTo>
                  <a:lnTo>
                    <a:pt x="630" y="50"/>
                  </a:lnTo>
                  <a:lnTo>
                    <a:pt x="630" y="48"/>
                  </a:lnTo>
                  <a:lnTo>
                    <a:pt x="640" y="43"/>
                  </a:lnTo>
                  <a:lnTo>
                    <a:pt x="670" y="43"/>
                  </a:lnTo>
                  <a:lnTo>
                    <a:pt x="675" y="43"/>
                  </a:lnTo>
                  <a:lnTo>
                    <a:pt x="678" y="43"/>
                  </a:lnTo>
                  <a:lnTo>
                    <a:pt x="682" y="41"/>
                  </a:lnTo>
                  <a:lnTo>
                    <a:pt x="678" y="41"/>
                  </a:lnTo>
                  <a:lnTo>
                    <a:pt x="673" y="38"/>
                  </a:lnTo>
                  <a:lnTo>
                    <a:pt x="656" y="38"/>
                  </a:lnTo>
                  <a:lnTo>
                    <a:pt x="651" y="41"/>
                  </a:lnTo>
                  <a:lnTo>
                    <a:pt x="635" y="41"/>
                  </a:lnTo>
                  <a:lnTo>
                    <a:pt x="635" y="38"/>
                  </a:lnTo>
                  <a:lnTo>
                    <a:pt x="637" y="38"/>
                  </a:lnTo>
                  <a:lnTo>
                    <a:pt x="642" y="38"/>
                  </a:lnTo>
                  <a:lnTo>
                    <a:pt x="687" y="38"/>
                  </a:lnTo>
                  <a:lnTo>
                    <a:pt x="692" y="36"/>
                  </a:lnTo>
                  <a:lnTo>
                    <a:pt x="699" y="34"/>
                  </a:lnTo>
                  <a:lnTo>
                    <a:pt x="701" y="31"/>
                  </a:lnTo>
                  <a:lnTo>
                    <a:pt x="718" y="31"/>
                  </a:lnTo>
                  <a:lnTo>
                    <a:pt x="723" y="29"/>
                  </a:lnTo>
                  <a:lnTo>
                    <a:pt x="725" y="29"/>
                  </a:lnTo>
                  <a:lnTo>
                    <a:pt x="730" y="29"/>
                  </a:lnTo>
                  <a:lnTo>
                    <a:pt x="732" y="26"/>
                  </a:lnTo>
                  <a:lnTo>
                    <a:pt x="730" y="24"/>
                  </a:lnTo>
                  <a:close/>
                  <a:moveTo>
                    <a:pt x="119" y="268"/>
                  </a:moveTo>
                  <a:lnTo>
                    <a:pt x="116" y="266"/>
                  </a:lnTo>
                  <a:lnTo>
                    <a:pt x="119" y="268"/>
                  </a:lnTo>
                  <a:close/>
                  <a:moveTo>
                    <a:pt x="128" y="223"/>
                  </a:moveTo>
                  <a:lnTo>
                    <a:pt x="135" y="223"/>
                  </a:lnTo>
                  <a:lnTo>
                    <a:pt x="138" y="220"/>
                  </a:lnTo>
                  <a:lnTo>
                    <a:pt x="145" y="220"/>
                  </a:lnTo>
                  <a:lnTo>
                    <a:pt x="147" y="220"/>
                  </a:lnTo>
                  <a:lnTo>
                    <a:pt x="147" y="216"/>
                  </a:lnTo>
                  <a:lnTo>
                    <a:pt x="150" y="216"/>
                  </a:lnTo>
                  <a:lnTo>
                    <a:pt x="147" y="213"/>
                  </a:lnTo>
                  <a:lnTo>
                    <a:pt x="145" y="211"/>
                  </a:lnTo>
                  <a:lnTo>
                    <a:pt x="143" y="211"/>
                  </a:lnTo>
                  <a:lnTo>
                    <a:pt x="138" y="211"/>
                  </a:lnTo>
                  <a:lnTo>
                    <a:pt x="135" y="206"/>
                  </a:lnTo>
                  <a:lnTo>
                    <a:pt x="119" y="206"/>
                  </a:lnTo>
                  <a:lnTo>
                    <a:pt x="119" y="213"/>
                  </a:lnTo>
                  <a:lnTo>
                    <a:pt x="116" y="216"/>
                  </a:lnTo>
                  <a:lnTo>
                    <a:pt x="114" y="216"/>
                  </a:lnTo>
                  <a:lnTo>
                    <a:pt x="114" y="218"/>
                  </a:lnTo>
                  <a:lnTo>
                    <a:pt x="116" y="220"/>
                  </a:lnTo>
                  <a:lnTo>
                    <a:pt x="119" y="220"/>
                  </a:lnTo>
                  <a:lnTo>
                    <a:pt x="119" y="225"/>
                  </a:lnTo>
                  <a:lnTo>
                    <a:pt x="128" y="223"/>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58" name="Großbritannien" descr="© INSCALE GmbH, 05.05.2010&#10;http://www.presentationload.com/">
              <a:extLst>
                <a:ext uri="{FF2B5EF4-FFF2-40B4-BE49-F238E27FC236}">
                  <a16:creationId xmlns:a16="http://schemas.microsoft.com/office/drawing/2014/main" id="{48D926F5-F6A4-4686-A9A9-848AAC3FE240}"/>
                </a:ext>
              </a:extLst>
            </p:cNvPr>
            <p:cNvSpPr>
              <a:spLocks noEditPoints="1"/>
            </p:cNvSpPr>
            <p:nvPr/>
          </p:nvSpPr>
          <p:spPr bwMode="gray">
            <a:xfrm>
              <a:off x="3981965" y="2331801"/>
              <a:ext cx="228931" cy="327717"/>
            </a:xfrm>
            <a:custGeom>
              <a:avLst/>
              <a:gdLst>
                <a:gd name="T0" fmla="*/ 2147483647 w 576"/>
                <a:gd name="T1" fmla="*/ 2147483647 h 822"/>
                <a:gd name="T2" fmla="*/ 2147483647 w 576"/>
                <a:gd name="T3" fmla="*/ 2147483647 h 822"/>
                <a:gd name="T4" fmla="*/ 2147483647 w 576"/>
                <a:gd name="T5" fmla="*/ 2147483647 h 822"/>
                <a:gd name="T6" fmla="*/ 2147483647 w 576"/>
                <a:gd name="T7" fmla="*/ 2147483647 h 822"/>
                <a:gd name="T8" fmla="*/ 2147483647 w 576"/>
                <a:gd name="T9" fmla="*/ 2147483647 h 822"/>
                <a:gd name="T10" fmla="*/ 2147483647 w 576"/>
                <a:gd name="T11" fmla="*/ 2147483647 h 822"/>
                <a:gd name="T12" fmla="*/ 2147483647 w 576"/>
                <a:gd name="T13" fmla="*/ 2147483647 h 822"/>
                <a:gd name="T14" fmla="*/ 2147483647 w 576"/>
                <a:gd name="T15" fmla="*/ 0 h 822"/>
                <a:gd name="T16" fmla="*/ 2147483647 w 576"/>
                <a:gd name="T17" fmla="*/ 0 h 822"/>
                <a:gd name="T18" fmla="*/ 2147483647 w 576"/>
                <a:gd name="T19" fmla="*/ 2147483647 h 822"/>
                <a:gd name="T20" fmla="*/ 2147483647 w 576"/>
                <a:gd name="T21" fmla="*/ 2147483647 h 822"/>
                <a:gd name="T22" fmla="*/ 2147483647 w 576"/>
                <a:gd name="T23" fmla="*/ 2147483647 h 822"/>
                <a:gd name="T24" fmla="*/ 2147483647 w 576"/>
                <a:gd name="T25" fmla="*/ 2147483647 h 822"/>
                <a:gd name="T26" fmla="*/ 2147483647 w 576"/>
                <a:gd name="T27" fmla="*/ 2147483647 h 822"/>
                <a:gd name="T28" fmla="*/ 2147483647 w 576"/>
                <a:gd name="T29" fmla="*/ 2147483647 h 822"/>
                <a:gd name="T30" fmla="*/ 2147483647 w 576"/>
                <a:gd name="T31" fmla="*/ 2147483647 h 822"/>
                <a:gd name="T32" fmla="*/ 2147483647 w 576"/>
                <a:gd name="T33" fmla="*/ 2147483647 h 822"/>
                <a:gd name="T34" fmla="*/ 2147483647 w 576"/>
                <a:gd name="T35" fmla="*/ 2147483647 h 822"/>
                <a:gd name="T36" fmla="*/ 2147483647 w 576"/>
                <a:gd name="T37" fmla="*/ 2147483647 h 822"/>
                <a:gd name="T38" fmla="*/ 2147483647 w 576"/>
                <a:gd name="T39" fmla="*/ 2147483647 h 822"/>
                <a:gd name="T40" fmla="*/ 2147483647 w 576"/>
                <a:gd name="T41" fmla="*/ 2147483647 h 822"/>
                <a:gd name="T42" fmla="*/ 2147483647 w 576"/>
                <a:gd name="T43" fmla="*/ 2147483647 h 822"/>
                <a:gd name="T44" fmla="*/ 2147483647 w 576"/>
                <a:gd name="T45" fmla="*/ 2147483647 h 822"/>
                <a:gd name="T46" fmla="*/ 2147483647 w 576"/>
                <a:gd name="T47" fmla="*/ 2147483647 h 822"/>
                <a:gd name="T48" fmla="*/ 2147483647 w 576"/>
                <a:gd name="T49" fmla="*/ 2147483647 h 822"/>
                <a:gd name="T50" fmla="*/ 2147483647 w 576"/>
                <a:gd name="T51" fmla="*/ 2147483647 h 822"/>
                <a:gd name="T52" fmla="*/ 2147483647 w 576"/>
                <a:gd name="T53" fmla="*/ 2147483647 h 822"/>
                <a:gd name="T54" fmla="*/ 2147483647 w 576"/>
                <a:gd name="T55" fmla="*/ 2147483647 h 822"/>
                <a:gd name="T56" fmla="*/ 2147483647 w 576"/>
                <a:gd name="T57" fmla="*/ 2147483647 h 822"/>
                <a:gd name="T58" fmla="*/ 2147483647 w 576"/>
                <a:gd name="T59" fmla="*/ 2147483647 h 822"/>
                <a:gd name="T60" fmla="*/ 2147483647 w 576"/>
                <a:gd name="T61" fmla="*/ 2147483647 h 822"/>
                <a:gd name="T62" fmla="*/ 2147483647 w 576"/>
                <a:gd name="T63" fmla="*/ 2147483647 h 822"/>
                <a:gd name="T64" fmla="*/ 2147483647 w 576"/>
                <a:gd name="T65" fmla="*/ 2147483647 h 822"/>
                <a:gd name="T66" fmla="*/ 2147483647 w 576"/>
                <a:gd name="T67" fmla="*/ 2147483647 h 822"/>
                <a:gd name="T68" fmla="*/ 2147483647 w 576"/>
                <a:gd name="T69" fmla="*/ 2147483647 h 822"/>
                <a:gd name="T70" fmla="*/ 2147483647 w 576"/>
                <a:gd name="T71" fmla="*/ 2147483647 h 822"/>
                <a:gd name="T72" fmla="*/ 2147483647 w 576"/>
                <a:gd name="T73" fmla="*/ 2147483647 h 822"/>
                <a:gd name="T74" fmla="*/ 2147483647 w 576"/>
                <a:gd name="T75" fmla="*/ 2147483647 h 822"/>
                <a:gd name="T76" fmla="*/ 2147483647 w 576"/>
                <a:gd name="T77" fmla="*/ 2147483647 h 822"/>
                <a:gd name="T78" fmla="*/ 2147483647 w 576"/>
                <a:gd name="T79" fmla="*/ 2147483647 h 822"/>
                <a:gd name="T80" fmla="*/ 2147483647 w 576"/>
                <a:gd name="T81" fmla="*/ 2147483647 h 822"/>
                <a:gd name="T82" fmla="*/ 2147483647 w 576"/>
                <a:gd name="T83" fmla="*/ 2147483647 h 822"/>
                <a:gd name="T84" fmla="*/ 2147483647 w 576"/>
                <a:gd name="T85" fmla="*/ 2147483647 h 822"/>
                <a:gd name="T86" fmla="*/ 2147483647 w 576"/>
                <a:gd name="T87" fmla="*/ 2147483647 h 822"/>
                <a:gd name="T88" fmla="*/ 2147483647 w 576"/>
                <a:gd name="T89" fmla="*/ 2147483647 h 822"/>
                <a:gd name="T90" fmla="*/ 2147483647 w 576"/>
                <a:gd name="T91" fmla="*/ 2147483647 h 822"/>
                <a:gd name="T92" fmla="*/ 2147483647 w 576"/>
                <a:gd name="T93" fmla="*/ 2147483647 h 822"/>
                <a:gd name="T94" fmla="*/ 2147483647 w 576"/>
                <a:gd name="T95" fmla="*/ 2147483647 h 822"/>
                <a:gd name="T96" fmla="*/ 2147483647 w 576"/>
                <a:gd name="T97" fmla="*/ 2147483647 h 822"/>
                <a:gd name="T98" fmla="*/ 2147483647 w 576"/>
                <a:gd name="T99" fmla="*/ 2147483647 h 822"/>
                <a:gd name="T100" fmla="*/ 2147483647 w 576"/>
                <a:gd name="T101" fmla="*/ 2147483647 h 822"/>
                <a:gd name="T102" fmla="*/ 2147483647 w 576"/>
                <a:gd name="T103" fmla="*/ 2147483647 h 822"/>
                <a:gd name="T104" fmla="*/ 2147483647 w 576"/>
                <a:gd name="T105" fmla="*/ 2147483647 h 822"/>
                <a:gd name="T106" fmla="*/ 2147483647 w 576"/>
                <a:gd name="T107" fmla="*/ 2147483647 h 822"/>
                <a:gd name="T108" fmla="*/ 2147483647 w 576"/>
                <a:gd name="T109" fmla="*/ 2147483647 h 822"/>
                <a:gd name="T110" fmla="*/ 2147483647 w 576"/>
                <a:gd name="T111" fmla="*/ 2147483647 h 822"/>
                <a:gd name="T112" fmla="*/ 2147483647 w 576"/>
                <a:gd name="T113" fmla="*/ 2147483647 h 822"/>
                <a:gd name="T114" fmla="*/ 2147483647 w 576"/>
                <a:gd name="T115" fmla="*/ 2147483647 h 822"/>
                <a:gd name="T116" fmla="*/ 2147483647 w 576"/>
                <a:gd name="T117" fmla="*/ 2147483647 h 822"/>
                <a:gd name="T118" fmla="*/ 2147483647 w 576"/>
                <a:gd name="T119" fmla="*/ 2147483647 h 822"/>
                <a:gd name="T120" fmla="*/ 2147483647 w 576"/>
                <a:gd name="T121" fmla="*/ 2147483647 h 822"/>
                <a:gd name="T122" fmla="*/ 2147483647 w 576"/>
                <a:gd name="T123" fmla="*/ 2147483647 h 8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822"/>
                <a:gd name="T188" fmla="*/ 576 w 576"/>
                <a:gd name="T189" fmla="*/ 822 h 8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822">
                  <a:moveTo>
                    <a:pt x="162" y="378"/>
                  </a:moveTo>
                  <a:lnTo>
                    <a:pt x="156" y="378"/>
                  </a:lnTo>
                  <a:lnTo>
                    <a:pt x="150" y="384"/>
                  </a:lnTo>
                  <a:lnTo>
                    <a:pt x="150" y="396"/>
                  </a:lnTo>
                  <a:lnTo>
                    <a:pt x="144" y="414"/>
                  </a:lnTo>
                  <a:lnTo>
                    <a:pt x="156" y="402"/>
                  </a:lnTo>
                  <a:lnTo>
                    <a:pt x="162" y="390"/>
                  </a:lnTo>
                  <a:lnTo>
                    <a:pt x="162" y="378"/>
                  </a:lnTo>
                  <a:close/>
                  <a:moveTo>
                    <a:pt x="132" y="312"/>
                  </a:moveTo>
                  <a:lnTo>
                    <a:pt x="126" y="312"/>
                  </a:lnTo>
                  <a:lnTo>
                    <a:pt x="126" y="336"/>
                  </a:lnTo>
                  <a:lnTo>
                    <a:pt x="132" y="336"/>
                  </a:lnTo>
                  <a:lnTo>
                    <a:pt x="138" y="330"/>
                  </a:lnTo>
                  <a:lnTo>
                    <a:pt x="150" y="330"/>
                  </a:lnTo>
                  <a:lnTo>
                    <a:pt x="144" y="318"/>
                  </a:lnTo>
                  <a:lnTo>
                    <a:pt x="138" y="312"/>
                  </a:lnTo>
                  <a:lnTo>
                    <a:pt x="132" y="312"/>
                  </a:lnTo>
                  <a:close/>
                  <a:moveTo>
                    <a:pt x="114" y="390"/>
                  </a:moveTo>
                  <a:lnTo>
                    <a:pt x="126" y="390"/>
                  </a:lnTo>
                  <a:lnTo>
                    <a:pt x="138" y="384"/>
                  </a:lnTo>
                  <a:lnTo>
                    <a:pt x="138" y="372"/>
                  </a:lnTo>
                  <a:lnTo>
                    <a:pt x="132" y="366"/>
                  </a:lnTo>
                  <a:lnTo>
                    <a:pt x="120" y="366"/>
                  </a:lnTo>
                  <a:lnTo>
                    <a:pt x="114" y="372"/>
                  </a:lnTo>
                  <a:lnTo>
                    <a:pt x="108" y="384"/>
                  </a:lnTo>
                  <a:lnTo>
                    <a:pt x="108" y="390"/>
                  </a:lnTo>
                  <a:lnTo>
                    <a:pt x="114" y="390"/>
                  </a:lnTo>
                  <a:close/>
                  <a:moveTo>
                    <a:pt x="330" y="120"/>
                  </a:moveTo>
                  <a:lnTo>
                    <a:pt x="324" y="120"/>
                  </a:lnTo>
                  <a:lnTo>
                    <a:pt x="318" y="126"/>
                  </a:lnTo>
                  <a:lnTo>
                    <a:pt x="318" y="138"/>
                  </a:lnTo>
                  <a:lnTo>
                    <a:pt x="330" y="138"/>
                  </a:lnTo>
                  <a:lnTo>
                    <a:pt x="336" y="126"/>
                  </a:lnTo>
                  <a:lnTo>
                    <a:pt x="330" y="120"/>
                  </a:lnTo>
                  <a:close/>
                  <a:moveTo>
                    <a:pt x="138" y="258"/>
                  </a:moveTo>
                  <a:lnTo>
                    <a:pt x="138" y="234"/>
                  </a:lnTo>
                  <a:lnTo>
                    <a:pt x="126" y="234"/>
                  </a:lnTo>
                  <a:lnTo>
                    <a:pt x="120" y="240"/>
                  </a:lnTo>
                  <a:lnTo>
                    <a:pt x="120" y="246"/>
                  </a:lnTo>
                  <a:lnTo>
                    <a:pt x="126" y="252"/>
                  </a:lnTo>
                  <a:lnTo>
                    <a:pt x="108" y="252"/>
                  </a:lnTo>
                  <a:lnTo>
                    <a:pt x="108" y="258"/>
                  </a:lnTo>
                  <a:lnTo>
                    <a:pt x="114" y="264"/>
                  </a:lnTo>
                  <a:lnTo>
                    <a:pt x="120" y="264"/>
                  </a:lnTo>
                  <a:lnTo>
                    <a:pt x="126" y="270"/>
                  </a:lnTo>
                  <a:lnTo>
                    <a:pt x="150" y="270"/>
                  </a:lnTo>
                  <a:lnTo>
                    <a:pt x="138" y="258"/>
                  </a:lnTo>
                  <a:close/>
                  <a:moveTo>
                    <a:pt x="474" y="0"/>
                  </a:moveTo>
                  <a:lnTo>
                    <a:pt x="468" y="0"/>
                  </a:lnTo>
                  <a:lnTo>
                    <a:pt x="456" y="12"/>
                  </a:lnTo>
                  <a:lnTo>
                    <a:pt x="474" y="12"/>
                  </a:lnTo>
                  <a:lnTo>
                    <a:pt x="474" y="6"/>
                  </a:lnTo>
                  <a:lnTo>
                    <a:pt x="480" y="0"/>
                  </a:lnTo>
                  <a:lnTo>
                    <a:pt x="474" y="0"/>
                  </a:lnTo>
                  <a:close/>
                  <a:moveTo>
                    <a:pt x="432" y="48"/>
                  </a:moveTo>
                  <a:lnTo>
                    <a:pt x="432" y="66"/>
                  </a:lnTo>
                  <a:lnTo>
                    <a:pt x="438" y="66"/>
                  </a:lnTo>
                  <a:lnTo>
                    <a:pt x="444" y="60"/>
                  </a:lnTo>
                  <a:lnTo>
                    <a:pt x="450" y="48"/>
                  </a:lnTo>
                  <a:lnTo>
                    <a:pt x="450" y="24"/>
                  </a:lnTo>
                  <a:lnTo>
                    <a:pt x="438" y="12"/>
                  </a:lnTo>
                  <a:lnTo>
                    <a:pt x="432" y="24"/>
                  </a:lnTo>
                  <a:lnTo>
                    <a:pt x="426" y="30"/>
                  </a:lnTo>
                  <a:lnTo>
                    <a:pt x="420" y="30"/>
                  </a:lnTo>
                  <a:lnTo>
                    <a:pt x="420" y="42"/>
                  </a:lnTo>
                  <a:lnTo>
                    <a:pt x="426" y="42"/>
                  </a:lnTo>
                  <a:lnTo>
                    <a:pt x="432" y="48"/>
                  </a:lnTo>
                  <a:close/>
                  <a:moveTo>
                    <a:pt x="342" y="138"/>
                  </a:moveTo>
                  <a:lnTo>
                    <a:pt x="342" y="150"/>
                  </a:lnTo>
                  <a:lnTo>
                    <a:pt x="354" y="138"/>
                  </a:lnTo>
                  <a:lnTo>
                    <a:pt x="342" y="138"/>
                  </a:lnTo>
                  <a:close/>
                  <a:moveTo>
                    <a:pt x="192" y="402"/>
                  </a:moveTo>
                  <a:lnTo>
                    <a:pt x="192" y="390"/>
                  </a:lnTo>
                  <a:lnTo>
                    <a:pt x="186" y="384"/>
                  </a:lnTo>
                  <a:lnTo>
                    <a:pt x="186" y="378"/>
                  </a:lnTo>
                  <a:lnTo>
                    <a:pt x="174" y="390"/>
                  </a:lnTo>
                  <a:lnTo>
                    <a:pt x="174" y="396"/>
                  </a:lnTo>
                  <a:lnTo>
                    <a:pt x="180" y="402"/>
                  </a:lnTo>
                  <a:lnTo>
                    <a:pt x="192" y="402"/>
                  </a:lnTo>
                  <a:close/>
                  <a:moveTo>
                    <a:pt x="504" y="588"/>
                  </a:moveTo>
                  <a:lnTo>
                    <a:pt x="498" y="594"/>
                  </a:lnTo>
                  <a:lnTo>
                    <a:pt x="498" y="600"/>
                  </a:lnTo>
                  <a:lnTo>
                    <a:pt x="480" y="600"/>
                  </a:lnTo>
                  <a:lnTo>
                    <a:pt x="480" y="588"/>
                  </a:lnTo>
                  <a:lnTo>
                    <a:pt x="486" y="576"/>
                  </a:lnTo>
                  <a:lnTo>
                    <a:pt x="498" y="564"/>
                  </a:lnTo>
                  <a:lnTo>
                    <a:pt x="492" y="558"/>
                  </a:lnTo>
                  <a:lnTo>
                    <a:pt x="456" y="540"/>
                  </a:lnTo>
                  <a:lnTo>
                    <a:pt x="450" y="540"/>
                  </a:lnTo>
                  <a:lnTo>
                    <a:pt x="444" y="534"/>
                  </a:lnTo>
                  <a:lnTo>
                    <a:pt x="450" y="534"/>
                  </a:lnTo>
                  <a:lnTo>
                    <a:pt x="456" y="528"/>
                  </a:lnTo>
                  <a:lnTo>
                    <a:pt x="480" y="528"/>
                  </a:lnTo>
                  <a:lnTo>
                    <a:pt x="468" y="516"/>
                  </a:lnTo>
                  <a:lnTo>
                    <a:pt x="468" y="510"/>
                  </a:lnTo>
                  <a:lnTo>
                    <a:pt x="456" y="498"/>
                  </a:lnTo>
                  <a:lnTo>
                    <a:pt x="450" y="486"/>
                  </a:lnTo>
                  <a:lnTo>
                    <a:pt x="432" y="468"/>
                  </a:lnTo>
                  <a:lnTo>
                    <a:pt x="420" y="468"/>
                  </a:lnTo>
                  <a:lnTo>
                    <a:pt x="414" y="456"/>
                  </a:lnTo>
                  <a:lnTo>
                    <a:pt x="402" y="450"/>
                  </a:lnTo>
                  <a:lnTo>
                    <a:pt x="390" y="438"/>
                  </a:lnTo>
                  <a:lnTo>
                    <a:pt x="390" y="414"/>
                  </a:lnTo>
                  <a:lnTo>
                    <a:pt x="396" y="402"/>
                  </a:lnTo>
                  <a:lnTo>
                    <a:pt x="396" y="390"/>
                  </a:lnTo>
                  <a:lnTo>
                    <a:pt x="384" y="390"/>
                  </a:lnTo>
                  <a:lnTo>
                    <a:pt x="378" y="384"/>
                  </a:lnTo>
                  <a:lnTo>
                    <a:pt x="372" y="372"/>
                  </a:lnTo>
                  <a:lnTo>
                    <a:pt x="360" y="360"/>
                  </a:lnTo>
                  <a:lnTo>
                    <a:pt x="342" y="354"/>
                  </a:lnTo>
                  <a:lnTo>
                    <a:pt x="324" y="354"/>
                  </a:lnTo>
                  <a:lnTo>
                    <a:pt x="306" y="360"/>
                  </a:lnTo>
                  <a:lnTo>
                    <a:pt x="294" y="366"/>
                  </a:lnTo>
                  <a:lnTo>
                    <a:pt x="288" y="366"/>
                  </a:lnTo>
                  <a:lnTo>
                    <a:pt x="270" y="348"/>
                  </a:lnTo>
                  <a:lnTo>
                    <a:pt x="282" y="348"/>
                  </a:lnTo>
                  <a:lnTo>
                    <a:pt x="294" y="354"/>
                  </a:lnTo>
                  <a:lnTo>
                    <a:pt x="306" y="354"/>
                  </a:lnTo>
                  <a:lnTo>
                    <a:pt x="330" y="342"/>
                  </a:lnTo>
                  <a:lnTo>
                    <a:pt x="336" y="336"/>
                  </a:lnTo>
                  <a:lnTo>
                    <a:pt x="330" y="336"/>
                  </a:lnTo>
                  <a:lnTo>
                    <a:pt x="324" y="330"/>
                  </a:lnTo>
                  <a:lnTo>
                    <a:pt x="306" y="330"/>
                  </a:lnTo>
                  <a:lnTo>
                    <a:pt x="330" y="324"/>
                  </a:lnTo>
                  <a:lnTo>
                    <a:pt x="336" y="318"/>
                  </a:lnTo>
                  <a:lnTo>
                    <a:pt x="348" y="312"/>
                  </a:lnTo>
                  <a:lnTo>
                    <a:pt x="360" y="300"/>
                  </a:lnTo>
                  <a:lnTo>
                    <a:pt x="360" y="288"/>
                  </a:lnTo>
                  <a:lnTo>
                    <a:pt x="366" y="276"/>
                  </a:lnTo>
                  <a:lnTo>
                    <a:pt x="372" y="270"/>
                  </a:lnTo>
                  <a:lnTo>
                    <a:pt x="378" y="258"/>
                  </a:lnTo>
                  <a:lnTo>
                    <a:pt x="384" y="252"/>
                  </a:lnTo>
                  <a:lnTo>
                    <a:pt x="396" y="246"/>
                  </a:lnTo>
                  <a:lnTo>
                    <a:pt x="402" y="246"/>
                  </a:lnTo>
                  <a:lnTo>
                    <a:pt x="402" y="240"/>
                  </a:lnTo>
                  <a:lnTo>
                    <a:pt x="396" y="234"/>
                  </a:lnTo>
                  <a:lnTo>
                    <a:pt x="318" y="234"/>
                  </a:lnTo>
                  <a:lnTo>
                    <a:pt x="318" y="228"/>
                  </a:lnTo>
                  <a:lnTo>
                    <a:pt x="288" y="228"/>
                  </a:lnTo>
                  <a:lnTo>
                    <a:pt x="276" y="234"/>
                  </a:lnTo>
                  <a:lnTo>
                    <a:pt x="264" y="234"/>
                  </a:lnTo>
                  <a:lnTo>
                    <a:pt x="258" y="240"/>
                  </a:lnTo>
                  <a:lnTo>
                    <a:pt x="252" y="240"/>
                  </a:lnTo>
                  <a:lnTo>
                    <a:pt x="264" y="228"/>
                  </a:lnTo>
                  <a:lnTo>
                    <a:pt x="252" y="216"/>
                  </a:lnTo>
                  <a:lnTo>
                    <a:pt x="270" y="210"/>
                  </a:lnTo>
                  <a:lnTo>
                    <a:pt x="300" y="192"/>
                  </a:lnTo>
                  <a:lnTo>
                    <a:pt x="312" y="186"/>
                  </a:lnTo>
                  <a:lnTo>
                    <a:pt x="324" y="162"/>
                  </a:lnTo>
                  <a:lnTo>
                    <a:pt x="318" y="156"/>
                  </a:lnTo>
                  <a:lnTo>
                    <a:pt x="288" y="156"/>
                  </a:lnTo>
                  <a:lnTo>
                    <a:pt x="276" y="162"/>
                  </a:lnTo>
                  <a:lnTo>
                    <a:pt x="258" y="168"/>
                  </a:lnTo>
                  <a:lnTo>
                    <a:pt x="240" y="168"/>
                  </a:lnTo>
                  <a:lnTo>
                    <a:pt x="228" y="162"/>
                  </a:lnTo>
                  <a:lnTo>
                    <a:pt x="216" y="162"/>
                  </a:lnTo>
                  <a:lnTo>
                    <a:pt x="210" y="168"/>
                  </a:lnTo>
                  <a:lnTo>
                    <a:pt x="210" y="174"/>
                  </a:lnTo>
                  <a:lnTo>
                    <a:pt x="216" y="180"/>
                  </a:lnTo>
                  <a:lnTo>
                    <a:pt x="204" y="180"/>
                  </a:lnTo>
                  <a:lnTo>
                    <a:pt x="192" y="192"/>
                  </a:lnTo>
                  <a:lnTo>
                    <a:pt x="192" y="210"/>
                  </a:lnTo>
                  <a:lnTo>
                    <a:pt x="198" y="216"/>
                  </a:lnTo>
                  <a:lnTo>
                    <a:pt x="156" y="222"/>
                  </a:lnTo>
                  <a:lnTo>
                    <a:pt x="156" y="234"/>
                  </a:lnTo>
                  <a:lnTo>
                    <a:pt x="168" y="240"/>
                  </a:lnTo>
                  <a:lnTo>
                    <a:pt x="180" y="264"/>
                  </a:lnTo>
                  <a:lnTo>
                    <a:pt x="162" y="282"/>
                  </a:lnTo>
                  <a:lnTo>
                    <a:pt x="162" y="294"/>
                  </a:lnTo>
                  <a:lnTo>
                    <a:pt x="144" y="300"/>
                  </a:lnTo>
                  <a:lnTo>
                    <a:pt x="156" y="312"/>
                  </a:lnTo>
                  <a:lnTo>
                    <a:pt x="168" y="312"/>
                  </a:lnTo>
                  <a:lnTo>
                    <a:pt x="180" y="306"/>
                  </a:lnTo>
                  <a:lnTo>
                    <a:pt x="186" y="300"/>
                  </a:lnTo>
                  <a:lnTo>
                    <a:pt x="186" y="318"/>
                  </a:lnTo>
                  <a:lnTo>
                    <a:pt x="180" y="318"/>
                  </a:lnTo>
                  <a:lnTo>
                    <a:pt x="168" y="330"/>
                  </a:lnTo>
                  <a:lnTo>
                    <a:pt x="156" y="336"/>
                  </a:lnTo>
                  <a:lnTo>
                    <a:pt x="156" y="360"/>
                  </a:lnTo>
                  <a:lnTo>
                    <a:pt x="162" y="372"/>
                  </a:lnTo>
                  <a:lnTo>
                    <a:pt x="168" y="366"/>
                  </a:lnTo>
                  <a:lnTo>
                    <a:pt x="198" y="366"/>
                  </a:lnTo>
                  <a:lnTo>
                    <a:pt x="210" y="360"/>
                  </a:lnTo>
                  <a:lnTo>
                    <a:pt x="216" y="354"/>
                  </a:lnTo>
                  <a:lnTo>
                    <a:pt x="198" y="372"/>
                  </a:lnTo>
                  <a:lnTo>
                    <a:pt x="210" y="402"/>
                  </a:lnTo>
                  <a:lnTo>
                    <a:pt x="204" y="408"/>
                  </a:lnTo>
                  <a:lnTo>
                    <a:pt x="198" y="420"/>
                  </a:lnTo>
                  <a:lnTo>
                    <a:pt x="186" y="426"/>
                  </a:lnTo>
                  <a:lnTo>
                    <a:pt x="180" y="438"/>
                  </a:lnTo>
                  <a:lnTo>
                    <a:pt x="180" y="450"/>
                  </a:lnTo>
                  <a:lnTo>
                    <a:pt x="186" y="456"/>
                  </a:lnTo>
                  <a:lnTo>
                    <a:pt x="204" y="456"/>
                  </a:lnTo>
                  <a:lnTo>
                    <a:pt x="216" y="450"/>
                  </a:lnTo>
                  <a:lnTo>
                    <a:pt x="240" y="450"/>
                  </a:lnTo>
                  <a:lnTo>
                    <a:pt x="252" y="444"/>
                  </a:lnTo>
                  <a:lnTo>
                    <a:pt x="258" y="438"/>
                  </a:lnTo>
                  <a:lnTo>
                    <a:pt x="270" y="432"/>
                  </a:lnTo>
                  <a:lnTo>
                    <a:pt x="300" y="438"/>
                  </a:lnTo>
                  <a:lnTo>
                    <a:pt x="288" y="444"/>
                  </a:lnTo>
                  <a:lnTo>
                    <a:pt x="264" y="468"/>
                  </a:lnTo>
                  <a:lnTo>
                    <a:pt x="264" y="474"/>
                  </a:lnTo>
                  <a:lnTo>
                    <a:pt x="282" y="492"/>
                  </a:lnTo>
                  <a:lnTo>
                    <a:pt x="294" y="492"/>
                  </a:lnTo>
                  <a:lnTo>
                    <a:pt x="300" y="498"/>
                  </a:lnTo>
                  <a:lnTo>
                    <a:pt x="306" y="498"/>
                  </a:lnTo>
                  <a:lnTo>
                    <a:pt x="312" y="516"/>
                  </a:lnTo>
                  <a:lnTo>
                    <a:pt x="294" y="534"/>
                  </a:lnTo>
                  <a:lnTo>
                    <a:pt x="294" y="564"/>
                  </a:lnTo>
                  <a:lnTo>
                    <a:pt x="222" y="564"/>
                  </a:lnTo>
                  <a:lnTo>
                    <a:pt x="216" y="558"/>
                  </a:lnTo>
                  <a:lnTo>
                    <a:pt x="198" y="558"/>
                  </a:lnTo>
                  <a:lnTo>
                    <a:pt x="192" y="564"/>
                  </a:lnTo>
                  <a:lnTo>
                    <a:pt x="210" y="582"/>
                  </a:lnTo>
                  <a:lnTo>
                    <a:pt x="186" y="600"/>
                  </a:lnTo>
                  <a:lnTo>
                    <a:pt x="228" y="594"/>
                  </a:lnTo>
                  <a:lnTo>
                    <a:pt x="228" y="618"/>
                  </a:lnTo>
                  <a:lnTo>
                    <a:pt x="216" y="642"/>
                  </a:lnTo>
                  <a:lnTo>
                    <a:pt x="210" y="648"/>
                  </a:lnTo>
                  <a:lnTo>
                    <a:pt x="198" y="654"/>
                  </a:lnTo>
                  <a:lnTo>
                    <a:pt x="180" y="660"/>
                  </a:lnTo>
                  <a:lnTo>
                    <a:pt x="168" y="666"/>
                  </a:lnTo>
                  <a:lnTo>
                    <a:pt x="162" y="666"/>
                  </a:lnTo>
                  <a:lnTo>
                    <a:pt x="162" y="690"/>
                  </a:lnTo>
                  <a:lnTo>
                    <a:pt x="168" y="696"/>
                  </a:lnTo>
                  <a:lnTo>
                    <a:pt x="174" y="696"/>
                  </a:lnTo>
                  <a:lnTo>
                    <a:pt x="180" y="690"/>
                  </a:lnTo>
                  <a:lnTo>
                    <a:pt x="192" y="684"/>
                  </a:lnTo>
                  <a:lnTo>
                    <a:pt x="198" y="678"/>
                  </a:lnTo>
                  <a:lnTo>
                    <a:pt x="204" y="684"/>
                  </a:lnTo>
                  <a:lnTo>
                    <a:pt x="204" y="690"/>
                  </a:lnTo>
                  <a:lnTo>
                    <a:pt x="210" y="696"/>
                  </a:lnTo>
                  <a:lnTo>
                    <a:pt x="234" y="696"/>
                  </a:lnTo>
                  <a:lnTo>
                    <a:pt x="240" y="702"/>
                  </a:lnTo>
                  <a:lnTo>
                    <a:pt x="252" y="708"/>
                  </a:lnTo>
                  <a:lnTo>
                    <a:pt x="258" y="708"/>
                  </a:lnTo>
                  <a:lnTo>
                    <a:pt x="276" y="702"/>
                  </a:lnTo>
                  <a:lnTo>
                    <a:pt x="288" y="696"/>
                  </a:lnTo>
                  <a:lnTo>
                    <a:pt x="294" y="690"/>
                  </a:lnTo>
                  <a:lnTo>
                    <a:pt x="318" y="690"/>
                  </a:lnTo>
                  <a:lnTo>
                    <a:pt x="312" y="696"/>
                  </a:lnTo>
                  <a:lnTo>
                    <a:pt x="300" y="702"/>
                  </a:lnTo>
                  <a:lnTo>
                    <a:pt x="294" y="714"/>
                  </a:lnTo>
                  <a:lnTo>
                    <a:pt x="282" y="720"/>
                  </a:lnTo>
                  <a:lnTo>
                    <a:pt x="276" y="726"/>
                  </a:lnTo>
                  <a:lnTo>
                    <a:pt x="210" y="726"/>
                  </a:lnTo>
                  <a:lnTo>
                    <a:pt x="210" y="738"/>
                  </a:lnTo>
                  <a:lnTo>
                    <a:pt x="198" y="738"/>
                  </a:lnTo>
                  <a:lnTo>
                    <a:pt x="186" y="744"/>
                  </a:lnTo>
                  <a:lnTo>
                    <a:pt x="180" y="750"/>
                  </a:lnTo>
                  <a:lnTo>
                    <a:pt x="180" y="768"/>
                  </a:lnTo>
                  <a:lnTo>
                    <a:pt x="174" y="774"/>
                  </a:lnTo>
                  <a:lnTo>
                    <a:pt x="144" y="774"/>
                  </a:lnTo>
                  <a:lnTo>
                    <a:pt x="144" y="780"/>
                  </a:lnTo>
                  <a:lnTo>
                    <a:pt x="138" y="786"/>
                  </a:lnTo>
                  <a:lnTo>
                    <a:pt x="138" y="792"/>
                  </a:lnTo>
                  <a:lnTo>
                    <a:pt x="126" y="804"/>
                  </a:lnTo>
                  <a:lnTo>
                    <a:pt x="114" y="810"/>
                  </a:lnTo>
                  <a:lnTo>
                    <a:pt x="108" y="810"/>
                  </a:lnTo>
                  <a:lnTo>
                    <a:pt x="108" y="816"/>
                  </a:lnTo>
                  <a:lnTo>
                    <a:pt x="114" y="816"/>
                  </a:lnTo>
                  <a:lnTo>
                    <a:pt x="120" y="822"/>
                  </a:lnTo>
                  <a:lnTo>
                    <a:pt x="150" y="822"/>
                  </a:lnTo>
                  <a:lnTo>
                    <a:pt x="156" y="810"/>
                  </a:lnTo>
                  <a:lnTo>
                    <a:pt x="174" y="792"/>
                  </a:lnTo>
                  <a:lnTo>
                    <a:pt x="210" y="792"/>
                  </a:lnTo>
                  <a:lnTo>
                    <a:pt x="216" y="798"/>
                  </a:lnTo>
                  <a:lnTo>
                    <a:pt x="228" y="804"/>
                  </a:lnTo>
                  <a:lnTo>
                    <a:pt x="240" y="804"/>
                  </a:lnTo>
                  <a:lnTo>
                    <a:pt x="246" y="792"/>
                  </a:lnTo>
                  <a:lnTo>
                    <a:pt x="252" y="786"/>
                  </a:lnTo>
                  <a:lnTo>
                    <a:pt x="258" y="774"/>
                  </a:lnTo>
                  <a:lnTo>
                    <a:pt x="270" y="762"/>
                  </a:lnTo>
                  <a:lnTo>
                    <a:pt x="288" y="762"/>
                  </a:lnTo>
                  <a:lnTo>
                    <a:pt x="300" y="774"/>
                  </a:lnTo>
                  <a:lnTo>
                    <a:pt x="330" y="774"/>
                  </a:lnTo>
                  <a:lnTo>
                    <a:pt x="354" y="762"/>
                  </a:lnTo>
                  <a:lnTo>
                    <a:pt x="360" y="762"/>
                  </a:lnTo>
                  <a:lnTo>
                    <a:pt x="366" y="768"/>
                  </a:lnTo>
                  <a:lnTo>
                    <a:pt x="378" y="768"/>
                  </a:lnTo>
                  <a:lnTo>
                    <a:pt x="390" y="774"/>
                  </a:lnTo>
                  <a:lnTo>
                    <a:pt x="396" y="774"/>
                  </a:lnTo>
                  <a:lnTo>
                    <a:pt x="396" y="768"/>
                  </a:lnTo>
                  <a:lnTo>
                    <a:pt x="390" y="762"/>
                  </a:lnTo>
                  <a:lnTo>
                    <a:pt x="390" y="750"/>
                  </a:lnTo>
                  <a:lnTo>
                    <a:pt x="396" y="750"/>
                  </a:lnTo>
                  <a:lnTo>
                    <a:pt x="408" y="756"/>
                  </a:lnTo>
                  <a:lnTo>
                    <a:pt x="414" y="762"/>
                  </a:lnTo>
                  <a:lnTo>
                    <a:pt x="426" y="756"/>
                  </a:lnTo>
                  <a:lnTo>
                    <a:pt x="498" y="756"/>
                  </a:lnTo>
                  <a:lnTo>
                    <a:pt x="522" y="750"/>
                  </a:lnTo>
                  <a:lnTo>
                    <a:pt x="534" y="744"/>
                  </a:lnTo>
                  <a:lnTo>
                    <a:pt x="540" y="732"/>
                  </a:lnTo>
                  <a:lnTo>
                    <a:pt x="546" y="726"/>
                  </a:lnTo>
                  <a:lnTo>
                    <a:pt x="552" y="714"/>
                  </a:lnTo>
                  <a:lnTo>
                    <a:pt x="498" y="708"/>
                  </a:lnTo>
                  <a:lnTo>
                    <a:pt x="522" y="702"/>
                  </a:lnTo>
                  <a:lnTo>
                    <a:pt x="516" y="684"/>
                  </a:lnTo>
                  <a:lnTo>
                    <a:pt x="528" y="672"/>
                  </a:lnTo>
                  <a:lnTo>
                    <a:pt x="540" y="666"/>
                  </a:lnTo>
                  <a:lnTo>
                    <a:pt x="546" y="666"/>
                  </a:lnTo>
                  <a:lnTo>
                    <a:pt x="558" y="660"/>
                  </a:lnTo>
                  <a:lnTo>
                    <a:pt x="564" y="654"/>
                  </a:lnTo>
                  <a:lnTo>
                    <a:pt x="576" y="618"/>
                  </a:lnTo>
                  <a:lnTo>
                    <a:pt x="570" y="606"/>
                  </a:lnTo>
                  <a:lnTo>
                    <a:pt x="564" y="600"/>
                  </a:lnTo>
                  <a:lnTo>
                    <a:pt x="552" y="594"/>
                  </a:lnTo>
                  <a:lnTo>
                    <a:pt x="540" y="594"/>
                  </a:lnTo>
                  <a:lnTo>
                    <a:pt x="528" y="588"/>
                  </a:lnTo>
                  <a:lnTo>
                    <a:pt x="504" y="588"/>
                  </a:lnTo>
                  <a:close/>
                  <a:moveTo>
                    <a:pt x="222" y="486"/>
                  </a:moveTo>
                  <a:lnTo>
                    <a:pt x="216" y="480"/>
                  </a:lnTo>
                  <a:lnTo>
                    <a:pt x="204" y="480"/>
                  </a:lnTo>
                  <a:lnTo>
                    <a:pt x="204" y="486"/>
                  </a:lnTo>
                  <a:lnTo>
                    <a:pt x="198" y="498"/>
                  </a:lnTo>
                  <a:lnTo>
                    <a:pt x="192" y="504"/>
                  </a:lnTo>
                  <a:lnTo>
                    <a:pt x="210" y="504"/>
                  </a:lnTo>
                  <a:lnTo>
                    <a:pt x="222" y="492"/>
                  </a:lnTo>
                  <a:lnTo>
                    <a:pt x="222" y="486"/>
                  </a:lnTo>
                  <a:close/>
                  <a:moveTo>
                    <a:pt x="126" y="504"/>
                  </a:moveTo>
                  <a:lnTo>
                    <a:pt x="132" y="498"/>
                  </a:lnTo>
                  <a:lnTo>
                    <a:pt x="132" y="492"/>
                  </a:lnTo>
                  <a:lnTo>
                    <a:pt x="144" y="492"/>
                  </a:lnTo>
                  <a:lnTo>
                    <a:pt x="150" y="480"/>
                  </a:lnTo>
                  <a:lnTo>
                    <a:pt x="156" y="474"/>
                  </a:lnTo>
                  <a:lnTo>
                    <a:pt x="156" y="462"/>
                  </a:lnTo>
                  <a:lnTo>
                    <a:pt x="138" y="444"/>
                  </a:lnTo>
                  <a:lnTo>
                    <a:pt x="138" y="432"/>
                  </a:lnTo>
                  <a:lnTo>
                    <a:pt x="132" y="438"/>
                  </a:lnTo>
                  <a:lnTo>
                    <a:pt x="126" y="426"/>
                  </a:lnTo>
                  <a:lnTo>
                    <a:pt x="120" y="420"/>
                  </a:lnTo>
                  <a:lnTo>
                    <a:pt x="78" y="420"/>
                  </a:lnTo>
                  <a:lnTo>
                    <a:pt x="72" y="426"/>
                  </a:lnTo>
                  <a:lnTo>
                    <a:pt x="30" y="450"/>
                  </a:lnTo>
                  <a:lnTo>
                    <a:pt x="30" y="462"/>
                  </a:lnTo>
                  <a:lnTo>
                    <a:pt x="24" y="462"/>
                  </a:lnTo>
                  <a:lnTo>
                    <a:pt x="18" y="468"/>
                  </a:lnTo>
                  <a:lnTo>
                    <a:pt x="12" y="468"/>
                  </a:lnTo>
                  <a:lnTo>
                    <a:pt x="0" y="480"/>
                  </a:lnTo>
                  <a:lnTo>
                    <a:pt x="6" y="486"/>
                  </a:lnTo>
                  <a:lnTo>
                    <a:pt x="30" y="498"/>
                  </a:lnTo>
                  <a:lnTo>
                    <a:pt x="42" y="498"/>
                  </a:lnTo>
                  <a:lnTo>
                    <a:pt x="66" y="474"/>
                  </a:lnTo>
                  <a:lnTo>
                    <a:pt x="84" y="498"/>
                  </a:lnTo>
                  <a:lnTo>
                    <a:pt x="120" y="504"/>
                  </a:lnTo>
                  <a:lnTo>
                    <a:pt x="126" y="504"/>
                  </a:lnTo>
                  <a:close/>
                  <a:moveTo>
                    <a:pt x="78" y="228"/>
                  </a:moveTo>
                  <a:lnTo>
                    <a:pt x="72" y="228"/>
                  </a:lnTo>
                  <a:lnTo>
                    <a:pt x="66" y="234"/>
                  </a:lnTo>
                  <a:lnTo>
                    <a:pt x="66" y="240"/>
                  </a:lnTo>
                  <a:lnTo>
                    <a:pt x="84" y="240"/>
                  </a:lnTo>
                  <a:lnTo>
                    <a:pt x="84" y="228"/>
                  </a:lnTo>
                  <a:lnTo>
                    <a:pt x="78" y="228"/>
                  </a:lnTo>
                  <a:close/>
                  <a:moveTo>
                    <a:pt x="108" y="210"/>
                  </a:moveTo>
                  <a:lnTo>
                    <a:pt x="126" y="210"/>
                  </a:lnTo>
                  <a:lnTo>
                    <a:pt x="132" y="204"/>
                  </a:lnTo>
                  <a:lnTo>
                    <a:pt x="132" y="198"/>
                  </a:lnTo>
                  <a:lnTo>
                    <a:pt x="138" y="186"/>
                  </a:lnTo>
                  <a:lnTo>
                    <a:pt x="150" y="174"/>
                  </a:lnTo>
                  <a:lnTo>
                    <a:pt x="150" y="168"/>
                  </a:lnTo>
                  <a:lnTo>
                    <a:pt x="138" y="174"/>
                  </a:lnTo>
                  <a:lnTo>
                    <a:pt x="132" y="174"/>
                  </a:lnTo>
                  <a:lnTo>
                    <a:pt x="114" y="192"/>
                  </a:lnTo>
                  <a:lnTo>
                    <a:pt x="108" y="186"/>
                  </a:lnTo>
                  <a:lnTo>
                    <a:pt x="96" y="186"/>
                  </a:lnTo>
                  <a:lnTo>
                    <a:pt x="90" y="192"/>
                  </a:lnTo>
                  <a:lnTo>
                    <a:pt x="90" y="210"/>
                  </a:lnTo>
                  <a:lnTo>
                    <a:pt x="96" y="216"/>
                  </a:lnTo>
                  <a:lnTo>
                    <a:pt x="96" y="228"/>
                  </a:lnTo>
                  <a:lnTo>
                    <a:pt x="108" y="210"/>
                  </a:lnTo>
                  <a:close/>
                  <a:moveTo>
                    <a:pt x="72" y="252"/>
                  </a:moveTo>
                  <a:lnTo>
                    <a:pt x="60" y="282"/>
                  </a:lnTo>
                  <a:lnTo>
                    <a:pt x="78" y="258"/>
                  </a:lnTo>
                  <a:lnTo>
                    <a:pt x="72" y="252"/>
                  </a:lnTo>
                  <a:close/>
                </a:path>
              </a:pathLst>
            </a:custGeom>
            <a:solidFill>
              <a:schemeClr val="accent1"/>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59" name="Griechenland" descr="© INSCALE GmbH, 05.05.2010&#10;http://www.presentationload.com/">
              <a:extLst>
                <a:ext uri="{FF2B5EF4-FFF2-40B4-BE49-F238E27FC236}">
                  <a16:creationId xmlns:a16="http://schemas.microsoft.com/office/drawing/2014/main" id="{AA0ADDAA-252A-46A0-9983-02A2F59BAE89}"/>
                </a:ext>
              </a:extLst>
            </p:cNvPr>
            <p:cNvSpPr>
              <a:spLocks noEditPoints="1"/>
            </p:cNvSpPr>
            <p:nvPr/>
          </p:nvSpPr>
          <p:spPr bwMode="gray">
            <a:xfrm>
              <a:off x="4681303" y="2915106"/>
              <a:ext cx="211683" cy="219523"/>
            </a:xfrm>
            <a:custGeom>
              <a:avLst/>
              <a:gdLst>
                <a:gd name="T0" fmla="*/ 0 w 534"/>
                <a:gd name="T1" fmla="*/ 2147483647 h 552"/>
                <a:gd name="T2" fmla="*/ 2147483647 w 534"/>
                <a:gd name="T3" fmla="*/ 2147483647 h 552"/>
                <a:gd name="T4" fmla="*/ 2147483647 w 534"/>
                <a:gd name="T5" fmla="*/ 2147483647 h 552"/>
                <a:gd name="T6" fmla="*/ 2147483647 w 534"/>
                <a:gd name="T7" fmla="*/ 2147483647 h 552"/>
                <a:gd name="T8" fmla="*/ 2147483647 w 534"/>
                <a:gd name="T9" fmla="*/ 2147483647 h 552"/>
                <a:gd name="T10" fmla="*/ 2147483647 w 534"/>
                <a:gd name="T11" fmla="*/ 2147483647 h 552"/>
                <a:gd name="T12" fmla="*/ 2147483647 w 534"/>
                <a:gd name="T13" fmla="*/ 2147483647 h 552"/>
                <a:gd name="T14" fmla="*/ 2147483647 w 534"/>
                <a:gd name="T15" fmla="*/ 2147483647 h 552"/>
                <a:gd name="T16" fmla="*/ 2147483647 w 534"/>
                <a:gd name="T17" fmla="*/ 2147483647 h 552"/>
                <a:gd name="T18" fmla="*/ 2147483647 w 534"/>
                <a:gd name="T19" fmla="*/ 2147483647 h 552"/>
                <a:gd name="T20" fmla="*/ 2147483647 w 534"/>
                <a:gd name="T21" fmla="*/ 2147483647 h 552"/>
                <a:gd name="T22" fmla="*/ 2147483647 w 534"/>
                <a:gd name="T23" fmla="*/ 2147483647 h 552"/>
                <a:gd name="T24" fmla="*/ 2147483647 w 534"/>
                <a:gd name="T25" fmla="*/ 2147483647 h 552"/>
                <a:gd name="T26" fmla="*/ 2147483647 w 534"/>
                <a:gd name="T27" fmla="*/ 2147483647 h 552"/>
                <a:gd name="T28" fmla="*/ 2147483647 w 534"/>
                <a:gd name="T29" fmla="*/ 2147483647 h 552"/>
                <a:gd name="T30" fmla="*/ 2147483647 w 534"/>
                <a:gd name="T31" fmla="*/ 2147483647 h 552"/>
                <a:gd name="T32" fmla="*/ 2147483647 w 534"/>
                <a:gd name="T33" fmla="*/ 2147483647 h 552"/>
                <a:gd name="T34" fmla="*/ 2147483647 w 534"/>
                <a:gd name="T35" fmla="*/ 2147483647 h 552"/>
                <a:gd name="T36" fmla="*/ 2147483647 w 534"/>
                <a:gd name="T37" fmla="*/ 2147483647 h 552"/>
                <a:gd name="T38" fmla="*/ 2147483647 w 534"/>
                <a:gd name="T39" fmla="*/ 2147483647 h 552"/>
                <a:gd name="T40" fmla="*/ 2147483647 w 534"/>
                <a:gd name="T41" fmla="*/ 2147483647 h 552"/>
                <a:gd name="T42" fmla="*/ 2147483647 w 534"/>
                <a:gd name="T43" fmla="*/ 2147483647 h 552"/>
                <a:gd name="T44" fmla="*/ 2147483647 w 534"/>
                <a:gd name="T45" fmla="*/ 2147483647 h 552"/>
                <a:gd name="T46" fmla="*/ 2147483647 w 534"/>
                <a:gd name="T47" fmla="*/ 2147483647 h 552"/>
                <a:gd name="T48" fmla="*/ 2147483647 w 534"/>
                <a:gd name="T49" fmla="*/ 2147483647 h 552"/>
                <a:gd name="T50" fmla="*/ 2147483647 w 534"/>
                <a:gd name="T51" fmla="*/ 2147483647 h 552"/>
                <a:gd name="T52" fmla="*/ 2147483647 w 534"/>
                <a:gd name="T53" fmla="*/ 2147483647 h 552"/>
                <a:gd name="T54" fmla="*/ 2147483647 w 534"/>
                <a:gd name="T55" fmla="*/ 2147483647 h 552"/>
                <a:gd name="T56" fmla="*/ 2147483647 w 534"/>
                <a:gd name="T57" fmla="*/ 2147483647 h 552"/>
                <a:gd name="T58" fmla="*/ 2147483647 w 534"/>
                <a:gd name="T59" fmla="*/ 2147483647 h 552"/>
                <a:gd name="T60" fmla="*/ 2147483647 w 534"/>
                <a:gd name="T61" fmla="*/ 2147483647 h 552"/>
                <a:gd name="T62" fmla="*/ 2147483647 w 534"/>
                <a:gd name="T63" fmla="*/ 2147483647 h 552"/>
                <a:gd name="T64" fmla="*/ 2147483647 w 534"/>
                <a:gd name="T65" fmla="*/ 2147483647 h 552"/>
                <a:gd name="T66" fmla="*/ 2147483647 w 534"/>
                <a:gd name="T67" fmla="*/ 2147483647 h 552"/>
                <a:gd name="T68" fmla="*/ 2147483647 w 534"/>
                <a:gd name="T69" fmla="*/ 2147483647 h 552"/>
                <a:gd name="T70" fmla="*/ 2147483647 w 534"/>
                <a:gd name="T71" fmla="*/ 2147483647 h 552"/>
                <a:gd name="T72" fmla="*/ 2147483647 w 534"/>
                <a:gd name="T73" fmla="*/ 2147483647 h 552"/>
                <a:gd name="T74" fmla="*/ 2147483647 w 534"/>
                <a:gd name="T75" fmla="*/ 2147483647 h 552"/>
                <a:gd name="T76" fmla="*/ 2147483647 w 534"/>
                <a:gd name="T77" fmla="*/ 2147483647 h 552"/>
                <a:gd name="T78" fmla="*/ 2147483647 w 534"/>
                <a:gd name="T79" fmla="*/ 2147483647 h 552"/>
                <a:gd name="T80" fmla="*/ 2147483647 w 534"/>
                <a:gd name="T81" fmla="*/ 2147483647 h 552"/>
                <a:gd name="T82" fmla="*/ 2147483647 w 534"/>
                <a:gd name="T83" fmla="*/ 2147483647 h 552"/>
                <a:gd name="T84" fmla="*/ 2147483647 w 534"/>
                <a:gd name="T85" fmla="*/ 2147483647 h 552"/>
                <a:gd name="T86" fmla="*/ 2147483647 w 534"/>
                <a:gd name="T87" fmla="*/ 2147483647 h 552"/>
                <a:gd name="T88" fmla="*/ 2147483647 w 534"/>
                <a:gd name="T89" fmla="*/ 2147483647 h 552"/>
                <a:gd name="T90" fmla="*/ 2147483647 w 534"/>
                <a:gd name="T91" fmla="*/ 2147483647 h 552"/>
                <a:gd name="T92" fmla="*/ 2147483647 w 534"/>
                <a:gd name="T93" fmla="*/ 2147483647 h 552"/>
                <a:gd name="T94" fmla="*/ 2147483647 w 534"/>
                <a:gd name="T95" fmla="*/ 2147483647 h 552"/>
                <a:gd name="T96" fmla="*/ 2147483647 w 534"/>
                <a:gd name="T97" fmla="*/ 2147483647 h 552"/>
                <a:gd name="T98" fmla="*/ 2147483647 w 534"/>
                <a:gd name="T99" fmla="*/ 2147483647 h 552"/>
                <a:gd name="T100" fmla="*/ 2147483647 w 534"/>
                <a:gd name="T101" fmla="*/ 2147483647 h 552"/>
                <a:gd name="T102" fmla="*/ 2147483647 w 534"/>
                <a:gd name="T103" fmla="*/ 2147483647 h 552"/>
                <a:gd name="T104" fmla="*/ 2147483647 w 534"/>
                <a:gd name="T105" fmla="*/ 2147483647 h 552"/>
                <a:gd name="T106" fmla="*/ 2147483647 w 534"/>
                <a:gd name="T107" fmla="*/ 2147483647 h 5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4"/>
                <a:gd name="T163" fmla="*/ 0 h 552"/>
                <a:gd name="T164" fmla="*/ 534 w 534"/>
                <a:gd name="T165" fmla="*/ 552 h 5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4" h="552">
                  <a:moveTo>
                    <a:pt x="240" y="108"/>
                  </a:moveTo>
                  <a:lnTo>
                    <a:pt x="270" y="126"/>
                  </a:lnTo>
                  <a:lnTo>
                    <a:pt x="282" y="120"/>
                  </a:lnTo>
                  <a:lnTo>
                    <a:pt x="240" y="108"/>
                  </a:lnTo>
                  <a:close/>
                  <a:moveTo>
                    <a:pt x="24" y="258"/>
                  </a:moveTo>
                  <a:lnTo>
                    <a:pt x="0" y="282"/>
                  </a:lnTo>
                  <a:lnTo>
                    <a:pt x="42" y="294"/>
                  </a:lnTo>
                  <a:lnTo>
                    <a:pt x="24" y="258"/>
                  </a:lnTo>
                  <a:close/>
                  <a:moveTo>
                    <a:pt x="312" y="414"/>
                  </a:moveTo>
                  <a:lnTo>
                    <a:pt x="312" y="420"/>
                  </a:lnTo>
                  <a:lnTo>
                    <a:pt x="324" y="420"/>
                  </a:lnTo>
                  <a:lnTo>
                    <a:pt x="324" y="414"/>
                  </a:lnTo>
                  <a:lnTo>
                    <a:pt x="318" y="408"/>
                  </a:lnTo>
                  <a:lnTo>
                    <a:pt x="312" y="408"/>
                  </a:lnTo>
                  <a:lnTo>
                    <a:pt x="312" y="414"/>
                  </a:lnTo>
                  <a:close/>
                  <a:moveTo>
                    <a:pt x="306" y="390"/>
                  </a:moveTo>
                  <a:lnTo>
                    <a:pt x="300" y="378"/>
                  </a:lnTo>
                  <a:lnTo>
                    <a:pt x="294" y="390"/>
                  </a:lnTo>
                  <a:lnTo>
                    <a:pt x="306" y="390"/>
                  </a:lnTo>
                  <a:close/>
                  <a:moveTo>
                    <a:pt x="294" y="294"/>
                  </a:moveTo>
                  <a:lnTo>
                    <a:pt x="318" y="336"/>
                  </a:lnTo>
                  <a:lnTo>
                    <a:pt x="330" y="318"/>
                  </a:lnTo>
                  <a:lnTo>
                    <a:pt x="294" y="294"/>
                  </a:lnTo>
                  <a:close/>
                  <a:moveTo>
                    <a:pt x="108" y="264"/>
                  </a:moveTo>
                  <a:lnTo>
                    <a:pt x="138" y="264"/>
                  </a:lnTo>
                  <a:lnTo>
                    <a:pt x="144" y="270"/>
                  </a:lnTo>
                  <a:lnTo>
                    <a:pt x="156" y="270"/>
                  </a:lnTo>
                  <a:lnTo>
                    <a:pt x="180" y="282"/>
                  </a:lnTo>
                  <a:lnTo>
                    <a:pt x="192" y="282"/>
                  </a:lnTo>
                  <a:lnTo>
                    <a:pt x="198" y="288"/>
                  </a:lnTo>
                  <a:lnTo>
                    <a:pt x="204" y="288"/>
                  </a:lnTo>
                  <a:lnTo>
                    <a:pt x="216" y="300"/>
                  </a:lnTo>
                  <a:lnTo>
                    <a:pt x="228" y="306"/>
                  </a:lnTo>
                  <a:lnTo>
                    <a:pt x="234" y="312"/>
                  </a:lnTo>
                  <a:lnTo>
                    <a:pt x="246" y="312"/>
                  </a:lnTo>
                  <a:lnTo>
                    <a:pt x="252" y="306"/>
                  </a:lnTo>
                  <a:lnTo>
                    <a:pt x="252" y="288"/>
                  </a:lnTo>
                  <a:lnTo>
                    <a:pt x="228" y="264"/>
                  </a:lnTo>
                  <a:lnTo>
                    <a:pt x="216" y="258"/>
                  </a:lnTo>
                  <a:lnTo>
                    <a:pt x="210" y="252"/>
                  </a:lnTo>
                  <a:lnTo>
                    <a:pt x="204" y="252"/>
                  </a:lnTo>
                  <a:lnTo>
                    <a:pt x="198" y="246"/>
                  </a:lnTo>
                  <a:lnTo>
                    <a:pt x="186" y="246"/>
                  </a:lnTo>
                  <a:lnTo>
                    <a:pt x="174" y="234"/>
                  </a:lnTo>
                  <a:lnTo>
                    <a:pt x="168" y="234"/>
                  </a:lnTo>
                  <a:lnTo>
                    <a:pt x="174" y="228"/>
                  </a:lnTo>
                  <a:lnTo>
                    <a:pt x="192" y="228"/>
                  </a:lnTo>
                  <a:lnTo>
                    <a:pt x="198" y="240"/>
                  </a:lnTo>
                  <a:lnTo>
                    <a:pt x="222" y="252"/>
                  </a:lnTo>
                  <a:lnTo>
                    <a:pt x="234" y="264"/>
                  </a:lnTo>
                  <a:lnTo>
                    <a:pt x="258" y="264"/>
                  </a:lnTo>
                  <a:lnTo>
                    <a:pt x="270" y="252"/>
                  </a:lnTo>
                  <a:lnTo>
                    <a:pt x="258" y="240"/>
                  </a:lnTo>
                  <a:lnTo>
                    <a:pt x="246" y="240"/>
                  </a:lnTo>
                  <a:lnTo>
                    <a:pt x="234" y="234"/>
                  </a:lnTo>
                  <a:lnTo>
                    <a:pt x="222" y="234"/>
                  </a:lnTo>
                  <a:lnTo>
                    <a:pt x="210" y="228"/>
                  </a:lnTo>
                  <a:lnTo>
                    <a:pt x="204" y="216"/>
                  </a:lnTo>
                  <a:lnTo>
                    <a:pt x="198" y="210"/>
                  </a:lnTo>
                  <a:lnTo>
                    <a:pt x="198" y="204"/>
                  </a:lnTo>
                  <a:lnTo>
                    <a:pt x="192" y="192"/>
                  </a:lnTo>
                  <a:lnTo>
                    <a:pt x="186" y="186"/>
                  </a:lnTo>
                  <a:lnTo>
                    <a:pt x="174" y="162"/>
                  </a:lnTo>
                  <a:lnTo>
                    <a:pt x="168" y="156"/>
                  </a:lnTo>
                  <a:lnTo>
                    <a:pt x="162" y="144"/>
                  </a:lnTo>
                  <a:lnTo>
                    <a:pt x="150" y="132"/>
                  </a:lnTo>
                  <a:lnTo>
                    <a:pt x="150" y="120"/>
                  </a:lnTo>
                  <a:lnTo>
                    <a:pt x="144" y="114"/>
                  </a:lnTo>
                  <a:lnTo>
                    <a:pt x="144" y="102"/>
                  </a:lnTo>
                  <a:lnTo>
                    <a:pt x="150" y="96"/>
                  </a:lnTo>
                  <a:lnTo>
                    <a:pt x="156" y="96"/>
                  </a:lnTo>
                  <a:lnTo>
                    <a:pt x="162" y="102"/>
                  </a:lnTo>
                  <a:lnTo>
                    <a:pt x="162" y="108"/>
                  </a:lnTo>
                  <a:lnTo>
                    <a:pt x="168" y="114"/>
                  </a:lnTo>
                  <a:lnTo>
                    <a:pt x="180" y="114"/>
                  </a:lnTo>
                  <a:lnTo>
                    <a:pt x="180" y="120"/>
                  </a:lnTo>
                  <a:lnTo>
                    <a:pt x="186" y="120"/>
                  </a:lnTo>
                  <a:lnTo>
                    <a:pt x="198" y="132"/>
                  </a:lnTo>
                  <a:lnTo>
                    <a:pt x="198" y="144"/>
                  </a:lnTo>
                  <a:lnTo>
                    <a:pt x="204" y="144"/>
                  </a:lnTo>
                  <a:lnTo>
                    <a:pt x="210" y="138"/>
                  </a:lnTo>
                  <a:lnTo>
                    <a:pt x="216" y="138"/>
                  </a:lnTo>
                  <a:lnTo>
                    <a:pt x="204" y="120"/>
                  </a:lnTo>
                  <a:lnTo>
                    <a:pt x="210" y="120"/>
                  </a:lnTo>
                  <a:lnTo>
                    <a:pt x="234" y="132"/>
                  </a:lnTo>
                  <a:lnTo>
                    <a:pt x="222" y="114"/>
                  </a:lnTo>
                  <a:lnTo>
                    <a:pt x="228" y="108"/>
                  </a:lnTo>
                  <a:lnTo>
                    <a:pt x="228" y="84"/>
                  </a:lnTo>
                  <a:lnTo>
                    <a:pt x="240" y="72"/>
                  </a:lnTo>
                  <a:lnTo>
                    <a:pt x="270" y="72"/>
                  </a:lnTo>
                  <a:lnTo>
                    <a:pt x="276" y="78"/>
                  </a:lnTo>
                  <a:lnTo>
                    <a:pt x="276" y="90"/>
                  </a:lnTo>
                  <a:lnTo>
                    <a:pt x="288" y="90"/>
                  </a:lnTo>
                  <a:lnTo>
                    <a:pt x="294" y="84"/>
                  </a:lnTo>
                  <a:lnTo>
                    <a:pt x="300" y="72"/>
                  </a:lnTo>
                  <a:lnTo>
                    <a:pt x="306" y="66"/>
                  </a:lnTo>
                  <a:lnTo>
                    <a:pt x="342" y="66"/>
                  </a:lnTo>
                  <a:lnTo>
                    <a:pt x="360" y="72"/>
                  </a:lnTo>
                  <a:lnTo>
                    <a:pt x="372" y="72"/>
                  </a:lnTo>
                  <a:lnTo>
                    <a:pt x="378" y="78"/>
                  </a:lnTo>
                  <a:lnTo>
                    <a:pt x="384" y="78"/>
                  </a:lnTo>
                  <a:lnTo>
                    <a:pt x="384" y="72"/>
                  </a:lnTo>
                  <a:lnTo>
                    <a:pt x="390" y="60"/>
                  </a:lnTo>
                  <a:lnTo>
                    <a:pt x="390" y="48"/>
                  </a:lnTo>
                  <a:lnTo>
                    <a:pt x="384" y="42"/>
                  </a:lnTo>
                  <a:lnTo>
                    <a:pt x="384" y="36"/>
                  </a:lnTo>
                  <a:lnTo>
                    <a:pt x="390" y="30"/>
                  </a:lnTo>
                  <a:lnTo>
                    <a:pt x="408" y="30"/>
                  </a:lnTo>
                  <a:lnTo>
                    <a:pt x="408" y="18"/>
                  </a:lnTo>
                  <a:lnTo>
                    <a:pt x="402" y="12"/>
                  </a:lnTo>
                  <a:lnTo>
                    <a:pt x="402" y="6"/>
                  </a:lnTo>
                  <a:lnTo>
                    <a:pt x="390" y="6"/>
                  </a:lnTo>
                  <a:lnTo>
                    <a:pt x="384" y="0"/>
                  </a:lnTo>
                  <a:lnTo>
                    <a:pt x="366" y="6"/>
                  </a:lnTo>
                  <a:lnTo>
                    <a:pt x="372" y="12"/>
                  </a:lnTo>
                  <a:lnTo>
                    <a:pt x="372" y="30"/>
                  </a:lnTo>
                  <a:lnTo>
                    <a:pt x="366" y="36"/>
                  </a:lnTo>
                  <a:lnTo>
                    <a:pt x="348" y="36"/>
                  </a:lnTo>
                  <a:lnTo>
                    <a:pt x="336" y="24"/>
                  </a:lnTo>
                  <a:lnTo>
                    <a:pt x="324" y="36"/>
                  </a:lnTo>
                  <a:lnTo>
                    <a:pt x="312" y="36"/>
                  </a:lnTo>
                  <a:lnTo>
                    <a:pt x="300" y="24"/>
                  </a:lnTo>
                  <a:lnTo>
                    <a:pt x="294" y="30"/>
                  </a:lnTo>
                  <a:lnTo>
                    <a:pt x="282" y="30"/>
                  </a:lnTo>
                  <a:lnTo>
                    <a:pt x="264" y="12"/>
                  </a:lnTo>
                  <a:lnTo>
                    <a:pt x="264" y="6"/>
                  </a:lnTo>
                  <a:lnTo>
                    <a:pt x="234" y="12"/>
                  </a:lnTo>
                  <a:lnTo>
                    <a:pt x="228" y="30"/>
                  </a:lnTo>
                  <a:lnTo>
                    <a:pt x="204" y="24"/>
                  </a:lnTo>
                  <a:lnTo>
                    <a:pt x="198" y="30"/>
                  </a:lnTo>
                  <a:lnTo>
                    <a:pt x="186" y="36"/>
                  </a:lnTo>
                  <a:lnTo>
                    <a:pt x="174" y="36"/>
                  </a:lnTo>
                  <a:lnTo>
                    <a:pt x="168" y="30"/>
                  </a:lnTo>
                  <a:lnTo>
                    <a:pt x="162" y="30"/>
                  </a:lnTo>
                  <a:lnTo>
                    <a:pt x="150" y="36"/>
                  </a:lnTo>
                  <a:lnTo>
                    <a:pt x="138" y="48"/>
                  </a:lnTo>
                  <a:lnTo>
                    <a:pt x="126" y="54"/>
                  </a:lnTo>
                  <a:lnTo>
                    <a:pt x="102" y="54"/>
                  </a:lnTo>
                  <a:lnTo>
                    <a:pt x="102" y="60"/>
                  </a:lnTo>
                  <a:lnTo>
                    <a:pt x="96" y="72"/>
                  </a:lnTo>
                  <a:lnTo>
                    <a:pt x="72" y="72"/>
                  </a:lnTo>
                  <a:lnTo>
                    <a:pt x="66" y="66"/>
                  </a:lnTo>
                  <a:lnTo>
                    <a:pt x="60" y="66"/>
                  </a:lnTo>
                  <a:lnTo>
                    <a:pt x="48" y="72"/>
                  </a:lnTo>
                  <a:lnTo>
                    <a:pt x="54" y="84"/>
                  </a:lnTo>
                  <a:lnTo>
                    <a:pt x="54" y="90"/>
                  </a:lnTo>
                  <a:lnTo>
                    <a:pt x="42" y="102"/>
                  </a:lnTo>
                  <a:lnTo>
                    <a:pt x="24" y="102"/>
                  </a:lnTo>
                  <a:lnTo>
                    <a:pt x="24" y="126"/>
                  </a:lnTo>
                  <a:lnTo>
                    <a:pt x="12" y="132"/>
                  </a:lnTo>
                  <a:lnTo>
                    <a:pt x="0" y="132"/>
                  </a:lnTo>
                  <a:lnTo>
                    <a:pt x="0" y="198"/>
                  </a:lnTo>
                  <a:lnTo>
                    <a:pt x="6" y="204"/>
                  </a:lnTo>
                  <a:lnTo>
                    <a:pt x="18" y="210"/>
                  </a:lnTo>
                  <a:lnTo>
                    <a:pt x="24" y="216"/>
                  </a:lnTo>
                  <a:lnTo>
                    <a:pt x="30" y="228"/>
                  </a:lnTo>
                  <a:lnTo>
                    <a:pt x="36" y="234"/>
                  </a:lnTo>
                  <a:lnTo>
                    <a:pt x="42" y="246"/>
                  </a:lnTo>
                  <a:lnTo>
                    <a:pt x="54" y="258"/>
                  </a:lnTo>
                  <a:lnTo>
                    <a:pt x="60" y="270"/>
                  </a:lnTo>
                  <a:lnTo>
                    <a:pt x="84" y="270"/>
                  </a:lnTo>
                  <a:lnTo>
                    <a:pt x="96" y="264"/>
                  </a:lnTo>
                  <a:lnTo>
                    <a:pt x="108" y="264"/>
                  </a:lnTo>
                  <a:close/>
                  <a:moveTo>
                    <a:pt x="396" y="252"/>
                  </a:moveTo>
                  <a:lnTo>
                    <a:pt x="372" y="252"/>
                  </a:lnTo>
                  <a:lnTo>
                    <a:pt x="372" y="270"/>
                  </a:lnTo>
                  <a:lnTo>
                    <a:pt x="384" y="294"/>
                  </a:lnTo>
                  <a:lnTo>
                    <a:pt x="396" y="252"/>
                  </a:lnTo>
                  <a:close/>
                  <a:moveTo>
                    <a:pt x="24" y="312"/>
                  </a:moveTo>
                  <a:lnTo>
                    <a:pt x="18" y="318"/>
                  </a:lnTo>
                  <a:lnTo>
                    <a:pt x="24" y="324"/>
                  </a:lnTo>
                  <a:lnTo>
                    <a:pt x="30" y="324"/>
                  </a:lnTo>
                  <a:lnTo>
                    <a:pt x="36" y="330"/>
                  </a:lnTo>
                  <a:lnTo>
                    <a:pt x="42" y="324"/>
                  </a:lnTo>
                  <a:lnTo>
                    <a:pt x="42" y="318"/>
                  </a:lnTo>
                  <a:lnTo>
                    <a:pt x="30" y="306"/>
                  </a:lnTo>
                  <a:lnTo>
                    <a:pt x="24" y="312"/>
                  </a:lnTo>
                  <a:close/>
                  <a:moveTo>
                    <a:pt x="378" y="390"/>
                  </a:moveTo>
                  <a:lnTo>
                    <a:pt x="378" y="408"/>
                  </a:lnTo>
                  <a:lnTo>
                    <a:pt x="390" y="390"/>
                  </a:lnTo>
                  <a:lnTo>
                    <a:pt x="378" y="390"/>
                  </a:lnTo>
                  <a:close/>
                  <a:moveTo>
                    <a:pt x="408" y="330"/>
                  </a:moveTo>
                  <a:lnTo>
                    <a:pt x="396" y="330"/>
                  </a:lnTo>
                  <a:lnTo>
                    <a:pt x="384" y="336"/>
                  </a:lnTo>
                  <a:lnTo>
                    <a:pt x="384" y="342"/>
                  </a:lnTo>
                  <a:lnTo>
                    <a:pt x="396" y="342"/>
                  </a:lnTo>
                  <a:lnTo>
                    <a:pt x="402" y="336"/>
                  </a:lnTo>
                  <a:lnTo>
                    <a:pt x="408" y="336"/>
                  </a:lnTo>
                  <a:lnTo>
                    <a:pt x="408" y="330"/>
                  </a:lnTo>
                  <a:close/>
                  <a:moveTo>
                    <a:pt x="396" y="192"/>
                  </a:moveTo>
                  <a:lnTo>
                    <a:pt x="372" y="198"/>
                  </a:lnTo>
                  <a:lnTo>
                    <a:pt x="372" y="210"/>
                  </a:lnTo>
                  <a:lnTo>
                    <a:pt x="390" y="210"/>
                  </a:lnTo>
                  <a:lnTo>
                    <a:pt x="396" y="216"/>
                  </a:lnTo>
                  <a:lnTo>
                    <a:pt x="396" y="222"/>
                  </a:lnTo>
                  <a:lnTo>
                    <a:pt x="414" y="222"/>
                  </a:lnTo>
                  <a:lnTo>
                    <a:pt x="414" y="210"/>
                  </a:lnTo>
                  <a:lnTo>
                    <a:pt x="396" y="192"/>
                  </a:lnTo>
                  <a:close/>
                  <a:moveTo>
                    <a:pt x="342" y="372"/>
                  </a:moveTo>
                  <a:lnTo>
                    <a:pt x="342" y="378"/>
                  </a:lnTo>
                  <a:lnTo>
                    <a:pt x="348" y="384"/>
                  </a:lnTo>
                  <a:lnTo>
                    <a:pt x="360" y="384"/>
                  </a:lnTo>
                  <a:lnTo>
                    <a:pt x="366" y="378"/>
                  </a:lnTo>
                  <a:lnTo>
                    <a:pt x="366" y="372"/>
                  </a:lnTo>
                  <a:lnTo>
                    <a:pt x="360" y="366"/>
                  </a:lnTo>
                  <a:lnTo>
                    <a:pt x="342" y="366"/>
                  </a:lnTo>
                  <a:lnTo>
                    <a:pt x="342" y="372"/>
                  </a:lnTo>
                  <a:close/>
                  <a:moveTo>
                    <a:pt x="444" y="312"/>
                  </a:moveTo>
                  <a:lnTo>
                    <a:pt x="432" y="312"/>
                  </a:lnTo>
                  <a:lnTo>
                    <a:pt x="432" y="330"/>
                  </a:lnTo>
                  <a:lnTo>
                    <a:pt x="444" y="336"/>
                  </a:lnTo>
                  <a:lnTo>
                    <a:pt x="450" y="330"/>
                  </a:lnTo>
                  <a:lnTo>
                    <a:pt x="450" y="318"/>
                  </a:lnTo>
                  <a:lnTo>
                    <a:pt x="444" y="312"/>
                  </a:lnTo>
                  <a:close/>
                  <a:moveTo>
                    <a:pt x="444" y="372"/>
                  </a:moveTo>
                  <a:lnTo>
                    <a:pt x="456" y="354"/>
                  </a:lnTo>
                  <a:lnTo>
                    <a:pt x="438" y="354"/>
                  </a:lnTo>
                  <a:lnTo>
                    <a:pt x="444" y="372"/>
                  </a:lnTo>
                  <a:close/>
                  <a:moveTo>
                    <a:pt x="276" y="222"/>
                  </a:moveTo>
                  <a:lnTo>
                    <a:pt x="276" y="240"/>
                  </a:lnTo>
                  <a:lnTo>
                    <a:pt x="288" y="240"/>
                  </a:lnTo>
                  <a:lnTo>
                    <a:pt x="276" y="222"/>
                  </a:lnTo>
                  <a:close/>
                  <a:moveTo>
                    <a:pt x="534" y="420"/>
                  </a:moveTo>
                  <a:lnTo>
                    <a:pt x="522" y="420"/>
                  </a:lnTo>
                  <a:lnTo>
                    <a:pt x="516" y="426"/>
                  </a:lnTo>
                  <a:lnTo>
                    <a:pt x="510" y="438"/>
                  </a:lnTo>
                  <a:lnTo>
                    <a:pt x="510" y="468"/>
                  </a:lnTo>
                  <a:lnTo>
                    <a:pt x="516" y="468"/>
                  </a:lnTo>
                  <a:lnTo>
                    <a:pt x="522" y="456"/>
                  </a:lnTo>
                  <a:lnTo>
                    <a:pt x="528" y="450"/>
                  </a:lnTo>
                  <a:lnTo>
                    <a:pt x="534" y="438"/>
                  </a:lnTo>
                  <a:lnTo>
                    <a:pt x="534" y="420"/>
                  </a:lnTo>
                  <a:close/>
                  <a:moveTo>
                    <a:pt x="462" y="384"/>
                  </a:moveTo>
                  <a:lnTo>
                    <a:pt x="456" y="408"/>
                  </a:lnTo>
                  <a:lnTo>
                    <a:pt x="498" y="378"/>
                  </a:lnTo>
                  <a:lnTo>
                    <a:pt x="486" y="372"/>
                  </a:lnTo>
                  <a:lnTo>
                    <a:pt x="462" y="384"/>
                  </a:lnTo>
                  <a:close/>
                  <a:moveTo>
                    <a:pt x="462" y="510"/>
                  </a:moveTo>
                  <a:lnTo>
                    <a:pt x="480" y="510"/>
                  </a:lnTo>
                  <a:lnTo>
                    <a:pt x="468" y="468"/>
                  </a:lnTo>
                  <a:lnTo>
                    <a:pt x="462" y="510"/>
                  </a:lnTo>
                  <a:close/>
                  <a:moveTo>
                    <a:pt x="276" y="330"/>
                  </a:moveTo>
                  <a:lnTo>
                    <a:pt x="270" y="336"/>
                  </a:lnTo>
                  <a:lnTo>
                    <a:pt x="270" y="348"/>
                  </a:lnTo>
                  <a:lnTo>
                    <a:pt x="276" y="348"/>
                  </a:lnTo>
                  <a:lnTo>
                    <a:pt x="288" y="336"/>
                  </a:lnTo>
                  <a:lnTo>
                    <a:pt x="282" y="330"/>
                  </a:lnTo>
                  <a:lnTo>
                    <a:pt x="276" y="330"/>
                  </a:lnTo>
                  <a:close/>
                  <a:moveTo>
                    <a:pt x="186" y="432"/>
                  </a:moveTo>
                  <a:lnTo>
                    <a:pt x="180" y="438"/>
                  </a:lnTo>
                  <a:lnTo>
                    <a:pt x="180" y="450"/>
                  </a:lnTo>
                  <a:lnTo>
                    <a:pt x="186" y="456"/>
                  </a:lnTo>
                  <a:lnTo>
                    <a:pt x="198" y="444"/>
                  </a:lnTo>
                  <a:lnTo>
                    <a:pt x="198" y="438"/>
                  </a:lnTo>
                  <a:lnTo>
                    <a:pt x="192" y="432"/>
                  </a:lnTo>
                  <a:lnTo>
                    <a:pt x="186" y="432"/>
                  </a:lnTo>
                  <a:close/>
                  <a:moveTo>
                    <a:pt x="384" y="528"/>
                  </a:moveTo>
                  <a:lnTo>
                    <a:pt x="378" y="528"/>
                  </a:lnTo>
                  <a:lnTo>
                    <a:pt x="378" y="516"/>
                  </a:lnTo>
                  <a:lnTo>
                    <a:pt x="372" y="510"/>
                  </a:lnTo>
                  <a:lnTo>
                    <a:pt x="342" y="510"/>
                  </a:lnTo>
                  <a:lnTo>
                    <a:pt x="306" y="504"/>
                  </a:lnTo>
                  <a:lnTo>
                    <a:pt x="276" y="504"/>
                  </a:lnTo>
                  <a:lnTo>
                    <a:pt x="246" y="486"/>
                  </a:lnTo>
                  <a:lnTo>
                    <a:pt x="228" y="504"/>
                  </a:lnTo>
                  <a:lnTo>
                    <a:pt x="234" y="510"/>
                  </a:lnTo>
                  <a:lnTo>
                    <a:pt x="246" y="516"/>
                  </a:lnTo>
                  <a:lnTo>
                    <a:pt x="252" y="522"/>
                  </a:lnTo>
                  <a:lnTo>
                    <a:pt x="258" y="516"/>
                  </a:lnTo>
                  <a:lnTo>
                    <a:pt x="264" y="528"/>
                  </a:lnTo>
                  <a:lnTo>
                    <a:pt x="300" y="528"/>
                  </a:lnTo>
                  <a:lnTo>
                    <a:pt x="312" y="552"/>
                  </a:lnTo>
                  <a:lnTo>
                    <a:pt x="354" y="546"/>
                  </a:lnTo>
                  <a:lnTo>
                    <a:pt x="354" y="540"/>
                  </a:lnTo>
                  <a:lnTo>
                    <a:pt x="402" y="540"/>
                  </a:lnTo>
                  <a:lnTo>
                    <a:pt x="414" y="528"/>
                  </a:lnTo>
                  <a:lnTo>
                    <a:pt x="414" y="522"/>
                  </a:lnTo>
                  <a:lnTo>
                    <a:pt x="408" y="516"/>
                  </a:lnTo>
                  <a:lnTo>
                    <a:pt x="402" y="516"/>
                  </a:lnTo>
                  <a:lnTo>
                    <a:pt x="396" y="522"/>
                  </a:lnTo>
                  <a:lnTo>
                    <a:pt x="390" y="522"/>
                  </a:lnTo>
                  <a:lnTo>
                    <a:pt x="384" y="528"/>
                  </a:lnTo>
                  <a:close/>
                  <a:moveTo>
                    <a:pt x="420" y="408"/>
                  </a:moveTo>
                  <a:lnTo>
                    <a:pt x="408" y="408"/>
                  </a:lnTo>
                  <a:lnTo>
                    <a:pt x="408" y="420"/>
                  </a:lnTo>
                  <a:lnTo>
                    <a:pt x="420" y="420"/>
                  </a:lnTo>
                  <a:lnTo>
                    <a:pt x="426" y="414"/>
                  </a:lnTo>
                  <a:lnTo>
                    <a:pt x="420" y="408"/>
                  </a:lnTo>
                  <a:close/>
                  <a:moveTo>
                    <a:pt x="114" y="276"/>
                  </a:moveTo>
                  <a:lnTo>
                    <a:pt x="90" y="288"/>
                  </a:lnTo>
                  <a:lnTo>
                    <a:pt x="84" y="288"/>
                  </a:lnTo>
                  <a:lnTo>
                    <a:pt x="66" y="312"/>
                  </a:lnTo>
                  <a:lnTo>
                    <a:pt x="96" y="336"/>
                  </a:lnTo>
                  <a:lnTo>
                    <a:pt x="96" y="348"/>
                  </a:lnTo>
                  <a:lnTo>
                    <a:pt x="90" y="366"/>
                  </a:lnTo>
                  <a:lnTo>
                    <a:pt x="90" y="384"/>
                  </a:lnTo>
                  <a:lnTo>
                    <a:pt x="96" y="390"/>
                  </a:lnTo>
                  <a:lnTo>
                    <a:pt x="108" y="396"/>
                  </a:lnTo>
                  <a:lnTo>
                    <a:pt x="114" y="396"/>
                  </a:lnTo>
                  <a:lnTo>
                    <a:pt x="114" y="390"/>
                  </a:lnTo>
                  <a:lnTo>
                    <a:pt x="126" y="378"/>
                  </a:lnTo>
                  <a:lnTo>
                    <a:pt x="132" y="378"/>
                  </a:lnTo>
                  <a:lnTo>
                    <a:pt x="156" y="420"/>
                  </a:lnTo>
                  <a:lnTo>
                    <a:pt x="162" y="390"/>
                  </a:lnTo>
                  <a:lnTo>
                    <a:pt x="180" y="414"/>
                  </a:lnTo>
                  <a:lnTo>
                    <a:pt x="204" y="420"/>
                  </a:lnTo>
                  <a:lnTo>
                    <a:pt x="186" y="402"/>
                  </a:lnTo>
                  <a:lnTo>
                    <a:pt x="192" y="396"/>
                  </a:lnTo>
                  <a:lnTo>
                    <a:pt x="192" y="372"/>
                  </a:lnTo>
                  <a:lnTo>
                    <a:pt x="186" y="366"/>
                  </a:lnTo>
                  <a:lnTo>
                    <a:pt x="180" y="354"/>
                  </a:lnTo>
                  <a:lnTo>
                    <a:pt x="174" y="348"/>
                  </a:lnTo>
                  <a:lnTo>
                    <a:pt x="168" y="336"/>
                  </a:lnTo>
                  <a:lnTo>
                    <a:pt x="168" y="330"/>
                  </a:lnTo>
                  <a:lnTo>
                    <a:pt x="186" y="330"/>
                  </a:lnTo>
                  <a:lnTo>
                    <a:pt x="198" y="336"/>
                  </a:lnTo>
                  <a:lnTo>
                    <a:pt x="210" y="348"/>
                  </a:lnTo>
                  <a:lnTo>
                    <a:pt x="222" y="342"/>
                  </a:lnTo>
                  <a:lnTo>
                    <a:pt x="210" y="336"/>
                  </a:lnTo>
                  <a:lnTo>
                    <a:pt x="204" y="324"/>
                  </a:lnTo>
                  <a:lnTo>
                    <a:pt x="192" y="318"/>
                  </a:lnTo>
                  <a:lnTo>
                    <a:pt x="186" y="312"/>
                  </a:lnTo>
                  <a:lnTo>
                    <a:pt x="174" y="306"/>
                  </a:lnTo>
                  <a:lnTo>
                    <a:pt x="156" y="294"/>
                  </a:lnTo>
                  <a:lnTo>
                    <a:pt x="138" y="288"/>
                  </a:lnTo>
                  <a:lnTo>
                    <a:pt x="126" y="282"/>
                  </a:lnTo>
                  <a:lnTo>
                    <a:pt x="120" y="276"/>
                  </a:lnTo>
                  <a:lnTo>
                    <a:pt x="114" y="276"/>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60" name="Ghana" descr="© INSCALE GmbH, 05.05.2010&#10;http://www.presentationload.com/">
              <a:extLst>
                <a:ext uri="{FF2B5EF4-FFF2-40B4-BE49-F238E27FC236}">
                  <a16:creationId xmlns:a16="http://schemas.microsoft.com/office/drawing/2014/main" id="{A2C25964-D361-4705-96FB-723C50F59BE6}"/>
                </a:ext>
              </a:extLst>
            </p:cNvPr>
            <p:cNvSpPr>
              <a:spLocks/>
            </p:cNvSpPr>
            <p:nvPr/>
          </p:nvSpPr>
          <p:spPr bwMode="gray">
            <a:xfrm>
              <a:off x="4033709" y="3896689"/>
              <a:ext cx="130145" cy="205412"/>
            </a:xfrm>
            <a:custGeom>
              <a:avLst/>
              <a:gdLst>
                <a:gd name="T0" fmla="*/ 2147483647 w 324"/>
                <a:gd name="T1" fmla="*/ 2147483647 h 516"/>
                <a:gd name="T2" fmla="*/ 2147483647 w 324"/>
                <a:gd name="T3" fmla="*/ 2147483647 h 516"/>
                <a:gd name="T4" fmla="*/ 2147483647 w 324"/>
                <a:gd name="T5" fmla="*/ 2147483647 h 516"/>
                <a:gd name="T6" fmla="*/ 2147483647 w 324"/>
                <a:gd name="T7" fmla="*/ 2147483647 h 516"/>
                <a:gd name="T8" fmla="*/ 2147483647 w 324"/>
                <a:gd name="T9" fmla="*/ 2147483647 h 516"/>
                <a:gd name="T10" fmla="*/ 2147483647 w 324"/>
                <a:gd name="T11" fmla="*/ 2147483647 h 516"/>
                <a:gd name="T12" fmla="*/ 2147483647 w 324"/>
                <a:gd name="T13" fmla="*/ 2147483647 h 516"/>
                <a:gd name="T14" fmla="*/ 2147483647 w 324"/>
                <a:gd name="T15" fmla="*/ 2147483647 h 516"/>
                <a:gd name="T16" fmla="*/ 2147483647 w 324"/>
                <a:gd name="T17" fmla="*/ 2147483647 h 516"/>
                <a:gd name="T18" fmla="*/ 2147483647 w 324"/>
                <a:gd name="T19" fmla="*/ 2147483647 h 516"/>
                <a:gd name="T20" fmla="*/ 2147483647 w 324"/>
                <a:gd name="T21" fmla="*/ 2147483647 h 516"/>
                <a:gd name="T22" fmla="*/ 2147483647 w 324"/>
                <a:gd name="T23" fmla="*/ 2147483647 h 516"/>
                <a:gd name="T24" fmla="*/ 2147483647 w 324"/>
                <a:gd name="T25" fmla="*/ 2147483647 h 516"/>
                <a:gd name="T26" fmla="*/ 2147483647 w 324"/>
                <a:gd name="T27" fmla="*/ 0 h 516"/>
                <a:gd name="T28" fmla="*/ 2147483647 w 324"/>
                <a:gd name="T29" fmla="*/ 2147483647 h 516"/>
                <a:gd name="T30" fmla="*/ 2147483647 w 324"/>
                <a:gd name="T31" fmla="*/ 2147483647 h 516"/>
                <a:gd name="T32" fmla="*/ 2147483647 w 324"/>
                <a:gd name="T33" fmla="*/ 2147483647 h 516"/>
                <a:gd name="T34" fmla="*/ 2147483647 w 324"/>
                <a:gd name="T35" fmla="*/ 2147483647 h 516"/>
                <a:gd name="T36" fmla="*/ 2147483647 w 324"/>
                <a:gd name="T37" fmla="*/ 2147483647 h 516"/>
                <a:gd name="T38" fmla="*/ 2147483647 w 324"/>
                <a:gd name="T39" fmla="*/ 2147483647 h 516"/>
                <a:gd name="T40" fmla="*/ 2147483647 w 324"/>
                <a:gd name="T41" fmla="*/ 2147483647 h 516"/>
                <a:gd name="T42" fmla="*/ 2147483647 w 324"/>
                <a:gd name="T43" fmla="*/ 2147483647 h 516"/>
                <a:gd name="T44" fmla="*/ 2147483647 w 324"/>
                <a:gd name="T45" fmla="*/ 2147483647 h 516"/>
                <a:gd name="T46" fmla="*/ 2147483647 w 324"/>
                <a:gd name="T47" fmla="*/ 2147483647 h 516"/>
                <a:gd name="T48" fmla="*/ 2147483647 w 324"/>
                <a:gd name="T49" fmla="*/ 2147483647 h 516"/>
                <a:gd name="T50" fmla="*/ 2147483647 w 324"/>
                <a:gd name="T51" fmla="*/ 2147483647 h 516"/>
                <a:gd name="T52" fmla="*/ 2147483647 w 324"/>
                <a:gd name="T53" fmla="*/ 2147483647 h 516"/>
                <a:gd name="T54" fmla="*/ 0 w 324"/>
                <a:gd name="T55" fmla="*/ 2147483647 h 516"/>
                <a:gd name="T56" fmla="*/ 2147483647 w 324"/>
                <a:gd name="T57" fmla="*/ 2147483647 h 516"/>
                <a:gd name="T58" fmla="*/ 2147483647 w 324"/>
                <a:gd name="T59" fmla="*/ 2147483647 h 516"/>
                <a:gd name="T60" fmla="*/ 2147483647 w 324"/>
                <a:gd name="T61" fmla="*/ 2147483647 h 516"/>
                <a:gd name="T62" fmla="*/ 2147483647 w 324"/>
                <a:gd name="T63" fmla="*/ 2147483647 h 516"/>
                <a:gd name="T64" fmla="*/ 2147483647 w 324"/>
                <a:gd name="T65" fmla="*/ 2147483647 h 516"/>
                <a:gd name="T66" fmla="*/ 2147483647 w 324"/>
                <a:gd name="T67" fmla="*/ 2147483647 h 516"/>
                <a:gd name="T68" fmla="*/ 2147483647 w 324"/>
                <a:gd name="T69" fmla="*/ 2147483647 h 516"/>
                <a:gd name="T70" fmla="*/ 2147483647 w 324"/>
                <a:gd name="T71" fmla="*/ 2147483647 h 516"/>
                <a:gd name="T72" fmla="*/ 2147483647 w 324"/>
                <a:gd name="T73" fmla="*/ 2147483647 h 516"/>
                <a:gd name="T74" fmla="*/ 2147483647 w 324"/>
                <a:gd name="T75" fmla="*/ 2147483647 h 516"/>
                <a:gd name="T76" fmla="*/ 2147483647 w 324"/>
                <a:gd name="T77" fmla="*/ 2147483647 h 516"/>
                <a:gd name="T78" fmla="*/ 2147483647 w 324"/>
                <a:gd name="T79" fmla="*/ 2147483647 h 516"/>
                <a:gd name="T80" fmla="*/ 2147483647 w 324"/>
                <a:gd name="T81" fmla="*/ 2147483647 h 516"/>
                <a:gd name="T82" fmla="*/ 2147483647 w 324"/>
                <a:gd name="T83" fmla="*/ 2147483647 h 516"/>
                <a:gd name="T84" fmla="*/ 2147483647 w 324"/>
                <a:gd name="T85" fmla="*/ 2147483647 h 516"/>
                <a:gd name="T86" fmla="*/ 2147483647 w 324"/>
                <a:gd name="T87" fmla="*/ 2147483647 h 5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4"/>
                <a:gd name="T133" fmla="*/ 0 h 516"/>
                <a:gd name="T134" fmla="*/ 324 w 324"/>
                <a:gd name="T135" fmla="*/ 516 h 5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4" h="516">
                  <a:moveTo>
                    <a:pt x="282" y="342"/>
                  </a:moveTo>
                  <a:lnTo>
                    <a:pt x="282" y="330"/>
                  </a:lnTo>
                  <a:lnTo>
                    <a:pt x="288" y="318"/>
                  </a:lnTo>
                  <a:lnTo>
                    <a:pt x="288" y="306"/>
                  </a:lnTo>
                  <a:lnTo>
                    <a:pt x="282" y="300"/>
                  </a:lnTo>
                  <a:lnTo>
                    <a:pt x="276" y="300"/>
                  </a:lnTo>
                  <a:lnTo>
                    <a:pt x="276" y="282"/>
                  </a:lnTo>
                  <a:lnTo>
                    <a:pt x="282" y="276"/>
                  </a:lnTo>
                  <a:lnTo>
                    <a:pt x="282" y="234"/>
                  </a:lnTo>
                  <a:lnTo>
                    <a:pt x="288" y="228"/>
                  </a:lnTo>
                  <a:lnTo>
                    <a:pt x="288" y="216"/>
                  </a:lnTo>
                  <a:lnTo>
                    <a:pt x="282" y="210"/>
                  </a:lnTo>
                  <a:lnTo>
                    <a:pt x="270" y="204"/>
                  </a:lnTo>
                  <a:lnTo>
                    <a:pt x="264" y="198"/>
                  </a:lnTo>
                  <a:lnTo>
                    <a:pt x="276" y="186"/>
                  </a:lnTo>
                  <a:lnTo>
                    <a:pt x="282" y="186"/>
                  </a:lnTo>
                  <a:lnTo>
                    <a:pt x="282" y="180"/>
                  </a:lnTo>
                  <a:lnTo>
                    <a:pt x="270" y="168"/>
                  </a:lnTo>
                  <a:lnTo>
                    <a:pt x="276" y="156"/>
                  </a:lnTo>
                  <a:lnTo>
                    <a:pt x="276" y="132"/>
                  </a:lnTo>
                  <a:lnTo>
                    <a:pt x="270" y="126"/>
                  </a:lnTo>
                  <a:lnTo>
                    <a:pt x="264" y="126"/>
                  </a:lnTo>
                  <a:lnTo>
                    <a:pt x="252" y="138"/>
                  </a:lnTo>
                  <a:lnTo>
                    <a:pt x="264" y="60"/>
                  </a:lnTo>
                  <a:lnTo>
                    <a:pt x="228" y="36"/>
                  </a:lnTo>
                  <a:lnTo>
                    <a:pt x="240" y="24"/>
                  </a:lnTo>
                  <a:lnTo>
                    <a:pt x="240" y="6"/>
                  </a:lnTo>
                  <a:lnTo>
                    <a:pt x="222" y="0"/>
                  </a:lnTo>
                  <a:lnTo>
                    <a:pt x="198" y="12"/>
                  </a:lnTo>
                  <a:lnTo>
                    <a:pt x="42" y="12"/>
                  </a:lnTo>
                  <a:lnTo>
                    <a:pt x="36" y="18"/>
                  </a:lnTo>
                  <a:lnTo>
                    <a:pt x="30" y="30"/>
                  </a:lnTo>
                  <a:lnTo>
                    <a:pt x="30" y="48"/>
                  </a:lnTo>
                  <a:lnTo>
                    <a:pt x="36" y="48"/>
                  </a:lnTo>
                  <a:lnTo>
                    <a:pt x="42" y="78"/>
                  </a:lnTo>
                  <a:lnTo>
                    <a:pt x="42" y="132"/>
                  </a:lnTo>
                  <a:lnTo>
                    <a:pt x="48" y="126"/>
                  </a:lnTo>
                  <a:lnTo>
                    <a:pt x="54" y="156"/>
                  </a:lnTo>
                  <a:lnTo>
                    <a:pt x="42" y="156"/>
                  </a:lnTo>
                  <a:lnTo>
                    <a:pt x="42" y="162"/>
                  </a:lnTo>
                  <a:lnTo>
                    <a:pt x="48" y="168"/>
                  </a:lnTo>
                  <a:lnTo>
                    <a:pt x="48" y="180"/>
                  </a:lnTo>
                  <a:lnTo>
                    <a:pt x="54" y="192"/>
                  </a:lnTo>
                  <a:lnTo>
                    <a:pt x="54" y="204"/>
                  </a:lnTo>
                  <a:lnTo>
                    <a:pt x="60" y="216"/>
                  </a:lnTo>
                  <a:lnTo>
                    <a:pt x="60" y="228"/>
                  </a:lnTo>
                  <a:lnTo>
                    <a:pt x="48" y="252"/>
                  </a:lnTo>
                  <a:lnTo>
                    <a:pt x="42" y="258"/>
                  </a:lnTo>
                  <a:lnTo>
                    <a:pt x="36" y="270"/>
                  </a:lnTo>
                  <a:lnTo>
                    <a:pt x="36" y="288"/>
                  </a:lnTo>
                  <a:lnTo>
                    <a:pt x="30" y="300"/>
                  </a:lnTo>
                  <a:lnTo>
                    <a:pt x="30" y="312"/>
                  </a:lnTo>
                  <a:lnTo>
                    <a:pt x="12" y="330"/>
                  </a:lnTo>
                  <a:lnTo>
                    <a:pt x="6" y="342"/>
                  </a:lnTo>
                  <a:lnTo>
                    <a:pt x="0" y="348"/>
                  </a:lnTo>
                  <a:lnTo>
                    <a:pt x="0" y="372"/>
                  </a:lnTo>
                  <a:lnTo>
                    <a:pt x="6" y="384"/>
                  </a:lnTo>
                  <a:lnTo>
                    <a:pt x="12" y="402"/>
                  </a:lnTo>
                  <a:lnTo>
                    <a:pt x="12" y="414"/>
                  </a:lnTo>
                  <a:lnTo>
                    <a:pt x="18" y="426"/>
                  </a:lnTo>
                  <a:lnTo>
                    <a:pt x="24" y="432"/>
                  </a:lnTo>
                  <a:lnTo>
                    <a:pt x="24" y="438"/>
                  </a:lnTo>
                  <a:lnTo>
                    <a:pt x="48" y="444"/>
                  </a:lnTo>
                  <a:lnTo>
                    <a:pt x="48" y="498"/>
                  </a:lnTo>
                  <a:lnTo>
                    <a:pt x="72" y="498"/>
                  </a:lnTo>
                  <a:lnTo>
                    <a:pt x="78" y="504"/>
                  </a:lnTo>
                  <a:lnTo>
                    <a:pt x="78" y="510"/>
                  </a:lnTo>
                  <a:lnTo>
                    <a:pt x="84" y="516"/>
                  </a:lnTo>
                  <a:lnTo>
                    <a:pt x="96" y="516"/>
                  </a:lnTo>
                  <a:lnTo>
                    <a:pt x="108" y="510"/>
                  </a:lnTo>
                  <a:lnTo>
                    <a:pt x="114" y="504"/>
                  </a:lnTo>
                  <a:lnTo>
                    <a:pt x="132" y="492"/>
                  </a:lnTo>
                  <a:lnTo>
                    <a:pt x="138" y="486"/>
                  </a:lnTo>
                  <a:lnTo>
                    <a:pt x="150" y="480"/>
                  </a:lnTo>
                  <a:lnTo>
                    <a:pt x="180" y="480"/>
                  </a:lnTo>
                  <a:lnTo>
                    <a:pt x="186" y="474"/>
                  </a:lnTo>
                  <a:lnTo>
                    <a:pt x="198" y="468"/>
                  </a:lnTo>
                  <a:lnTo>
                    <a:pt x="216" y="450"/>
                  </a:lnTo>
                  <a:lnTo>
                    <a:pt x="228" y="450"/>
                  </a:lnTo>
                  <a:lnTo>
                    <a:pt x="234" y="444"/>
                  </a:lnTo>
                  <a:lnTo>
                    <a:pt x="240" y="444"/>
                  </a:lnTo>
                  <a:lnTo>
                    <a:pt x="258" y="426"/>
                  </a:lnTo>
                  <a:lnTo>
                    <a:pt x="270" y="426"/>
                  </a:lnTo>
                  <a:lnTo>
                    <a:pt x="276" y="432"/>
                  </a:lnTo>
                  <a:lnTo>
                    <a:pt x="294" y="432"/>
                  </a:lnTo>
                  <a:lnTo>
                    <a:pt x="306" y="426"/>
                  </a:lnTo>
                  <a:lnTo>
                    <a:pt x="324" y="408"/>
                  </a:lnTo>
                  <a:lnTo>
                    <a:pt x="294" y="384"/>
                  </a:lnTo>
                  <a:lnTo>
                    <a:pt x="282" y="34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61" name="Georgien" descr="© INSCALE GmbH, 05.05.2010&#10;http://www.presentationload.com/">
              <a:extLst>
                <a:ext uri="{FF2B5EF4-FFF2-40B4-BE49-F238E27FC236}">
                  <a16:creationId xmlns:a16="http://schemas.microsoft.com/office/drawing/2014/main" id="{2A67B06A-A002-463A-823F-59B0F51F76DA}"/>
                </a:ext>
              </a:extLst>
            </p:cNvPr>
            <p:cNvSpPr>
              <a:spLocks/>
            </p:cNvSpPr>
            <p:nvPr/>
          </p:nvSpPr>
          <p:spPr bwMode="gray">
            <a:xfrm>
              <a:off x="5179934" y="2857089"/>
              <a:ext cx="183458" cy="83106"/>
            </a:xfrm>
            <a:custGeom>
              <a:avLst/>
              <a:gdLst>
                <a:gd name="T0" fmla="*/ 2147483647 w 462"/>
                <a:gd name="T1" fmla="*/ 2147483647 h 210"/>
                <a:gd name="T2" fmla="*/ 2147483647 w 462"/>
                <a:gd name="T3" fmla="*/ 2147483647 h 210"/>
                <a:gd name="T4" fmla="*/ 2147483647 w 462"/>
                <a:gd name="T5" fmla="*/ 2147483647 h 210"/>
                <a:gd name="T6" fmla="*/ 2147483647 w 462"/>
                <a:gd name="T7" fmla="*/ 2147483647 h 210"/>
                <a:gd name="T8" fmla="*/ 2147483647 w 462"/>
                <a:gd name="T9" fmla="*/ 2147483647 h 210"/>
                <a:gd name="T10" fmla="*/ 2147483647 w 462"/>
                <a:gd name="T11" fmla="*/ 2147483647 h 210"/>
                <a:gd name="T12" fmla="*/ 2147483647 w 462"/>
                <a:gd name="T13" fmla="*/ 2147483647 h 210"/>
                <a:gd name="T14" fmla="*/ 2147483647 w 462"/>
                <a:gd name="T15" fmla="*/ 2147483647 h 210"/>
                <a:gd name="T16" fmla="*/ 2147483647 w 462"/>
                <a:gd name="T17" fmla="*/ 2147483647 h 210"/>
                <a:gd name="T18" fmla="*/ 2147483647 w 462"/>
                <a:gd name="T19" fmla="*/ 2147483647 h 210"/>
                <a:gd name="T20" fmla="*/ 2147483647 w 462"/>
                <a:gd name="T21" fmla="*/ 2147483647 h 210"/>
                <a:gd name="T22" fmla="*/ 2147483647 w 462"/>
                <a:gd name="T23" fmla="*/ 2147483647 h 210"/>
                <a:gd name="T24" fmla="*/ 2147483647 w 462"/>
                <a:gd name="T25" fmla="*/ 2147483647 h 210"/>
                <a:gd name="T26" fmla="*/ 2147483647 w 462"/>
                <a:gd name="T27" fmla="*/ 2147483647 h 210"/>
                <a:gd name="T28" fmla="*/ 2147483647 w 462"/>
                <a:gd name="T29" fmla="*/ 2147483647 h 210"/>
                <a:gd name="T30" fmla="*/ 2147483647 w 462"/>
                <a:gd name="T31" fmla="*/ 2147483647 h 210"/>
                <a:gd name="T32" fmla="*/ 2147483647 w 462"/>
                <a:gd name="T33" fmla="*/ 2147483647 h 210"/>
                <a:gd name="T34" fmla="*/ 2147483647 w 462"/>
                <a:gd name="T35" fmla="*/ 2147483647 h 210"/>
                <a:gd name="T36" fmla="*/ 2147483647 w 462"/>
                <a:gd name="T37" fmla="*/ 2147483647 h 210"/>
                <a:gd name="T38" fmla="*/ 2147483647 w 462"/>
                <a:gd name="T39" fmla="*/ 2147483647 h 210"/>
                <a:gd name="T40" fmla="*/ 2147483647 w 462"/>
                <a:gd name="T41" fmla="*/ 2147483647 h 210"/>
                <a:gd name="T42" fmla="*/ 2147483647 w 462"/>
                <a:gd name="T43" fmla="*/ 2147483647 h 210"/>
                <a:gd name="T44" fmla="*/ 2147483647 w 462"/>
                <a:gd name="T45" fmla="*/ 2147483647 h 210"/>
                <a:gd name="T46" fmla="*/ 2147483647 w 462"/>
                <a:gd name="T47" fmla="*/ 2147483647 h 210"/>
                <a:gd name="T48" fmla="*/ 2147483647 w 462"/>
                <a:gd name="T49" fmla="*/ 2147483647 h 210"/>
                <a:gd name="T50" fmla="*/ 2147483647 w 462"/>
                <a:gd name="T51" fmla="*/ 2147483647 h 210"/>
                <a:gd name="T52" fmla="*/ 2147483647 w 462"/>
                <a:gd name="T53" fmla="*/ 2147483647 h 210"/>
                <a:gd name="T54" fmla="*/ 2147483647 w 462"/>
                <a:gd name="T55" fmla="*/ 2147483647 h 210"/>
                <a:gd name="T56" fmla="*/ 2147483647 w 462"/>
                <a:gd name="T57" fmla="*/ 2147483647 h 210"/>
                <a:gd name="T58" fmla="*/ 2147483647 w 462"/>
                <a:gd name="T59" fmla="*/ 2147483647 h 210"/>
                <a:gd name="T60" fmla="*/ 2147483647 w 462"/>
                <a:gd name="T61" fmla="*/ 2147483647 h 210"/>
                <a:gd name="T62" fmla="*/ 2147483647 w 462"/>
                <a:gd name="T63" fmla="*/ 2147483647 h 210"/>
                <a:gd name="T64" fmla="*/ 2147483647 w 462"/>
                <a:gd name="T65" fmla="*/ 2147483647 h 210"/>
                <a:gd name="T66" fmla="*/ 2147483647 w 462"/>
                <a:gd name="T67" fmla="*/ 2147483647 h 210"/>
                <a:gd name="T68" fmla="*/ 2147483647 w 462"/>
                <a:gd name="T69" fmla="*/ 2147483647 h 210"/>
                <a:gd name="T70" fmla="*/ 2147483647 w 462"/>
                <a:gd name="T71" fmla="*/ 2147483647 h 210"/>
                <a:gd name="T72" fmla="*/ 2147483647 w 462"/>
                <a:gd name="T73" fmla="*/ 2147483647 h 210"/>
                <a:gd name="T74" fmla="*/ 2147483647 w 462"/>
                <a:gd name="T75" fmla="*/ 2147483647 h 210"/>
                <a:gd name="T76" fmla="*/ 2147483647 w 462"/>
                <a:gd name="T77" fmla="*/ 2147483647 h 210"/>
                <a:gd name="T78" fmla="*/ 2147483647 w 462"/>
                <a:gd name="T79" fmla="*/ 2147483647 h 210"/>
                <a:gd name="T80" fmla="*/ 2147483647 w 462"/>
                <a:gd name="T81" fmla="*/ 0 h 210"/>
                <a:gd name="T82" fmla="*/ 0 w 462"/>
                <a:gd name="T83" fmla="*/ 2147483647 h 2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62"/>
                <a:gd name="T127" fmla="*/ 0 h 210"/>
                <a:gd name="T128" fmla="*/ 462 w 462"/>
                <a:gd name="T129" fmla="*/ 210 h 21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62" h="210">
                  <a:moveTo>
                    <a:pt x="6" y="18"/>
                  </a:moveTo>
                  <a:lnTo>
                    <a:pt x="12" y="18"/>
                  </a:lnTo>
                  <a:lnTo>
                    <a:pt x="18" y="24"/>
                  </a:lnTo>
                  <a:lnTo>
                    <a:pt x="30" y="30"/>
                  </a:lnTo>
                  <a:lnTo>
                    <a:pt x="42" y="42"/>
                  </a:lnTo>
                  <a:lnTo>
                    <a:pt x="60" y="48"/>
                  </a:lnTo>
                  <a:lnTo>
                    <a:pt x="72" y="54"/>
                  </a:lnTo>
                  <a:lnTo>
                    <a:pt x="78" y="54"/>
                  </a:lnTo>
                  <a:lnTo>
                    <a:pt x="84" y="60"/>
                  </a:lnTo>
                  <a:lnTo>
                    <a:pt x="96" y="66"/>
                  </a:lnTo>
                  <a:lnTo>
                    <a:pt x="102" y="78"/>
                  </a:lnTo>
                  <a:lnTo>
                    <a:pt x="114" y="84"/>
                  </a:lnTo>
                  <a:lnTo>
                    <a:pt x="114" y="96"/>
                  </a:lnTo>
                  <a:lnTo>
                    <a:pt x="120" y="114"/>
                  </a:lnTo>
                  <a:lnTo>
                    <a:pt x="120" y="132"/>
                  </a:lnTo>
                  <a:lnTo>
                    <a:pt x="126" y="138"/>
                  </a:lnTo>
                  <a:lnTo>
                    <a:pt x="132" y="150"/>
                  </a:lnTo>
                  <a:lnTo>
                    <a:pt x="138" y="156"/>
                  </a:lnTo>
                  <a:lnTo>
                    <a:pt x="138" y="162"/>
                  </a:lnTo>
                  <a:lnTo>
                    <a:pt x="132" y="168"/>
                  </a:lnTo>
                  <a:lnTo>
                    <a:pt x="168" y="174"/>
                  </a:lnTo>
                  <a:lnTo>
                    <a:pt x="174" y="168"/>
                  </a:lnTo>
                  <a:lnTo>
                    <a:pt x="186" y="162"/>
                  </a:lnTo>
                  <a:lnTo>
                    <a:pt x="198" y="162"/>
                  </a:lnTo>
                  <a:lnTo>
                    <a:pt x="210" y="168"/>
                  </a:lnTo>
                  <a:lnTo>
                    <a:pt x="216" y="174"/>
                  </a:lnTo>
                  <a:lnTo>
                    <a:pt x="222" y="186"/>
                  </a:lnTo>
                  <a:lnTo>
                    <a:pt x="222" y="192"/>
                  </a:lnTo>
                  <a:lnTo>
                    <a:pt x="246" y="192"/>
                  </a:lnTo>
                  <a:lnTo>
                    <a:pt x="246" y="198"/>
                  </a:lnTo>
                  <a:lnTo>
                    <a:pt x="252" y="204"/>
                  </a:lnTo>
                  <a:lnTo>
                    <a:pt x="276" y="198"/>
                  </a:lnTo>
                  <a:lnTo>
                    <a:pt x="282" y="192"/>
                  </a:lnTo>
                  <a:lnTo>
                    <a:pt x="336" y="198"/>
                  </a:lnTo>
                  <a:lnTo>
                    <a:pt x="336" y="180"/>
                  </a:lnTo>
                  <a:lnTo>
                    <a:pt x="342" y="180"/>
                  </a:lnTo>
                  <a:lnTo>
                    <a:pt x="348" y="186"/>
                  </a:lnTo>
                  <a:lnTo>
                    <a:pt x="354" y="186"/>
                  </a:lnTo>
                  <a:lnTo>
                    <a:pt x="354" y="180"/>
                  </a:lnTo>
                  <a:lnTo>
                    <a:pt x="366" y="168"/>
                  </a:lnTo>
                  <a:lnTo>
                    <a:pt x="390" y="168"/>
                  </a:lnTo>
                  <a:lnTo>
                    <a:pt x="396" y="174"/>
                  </a:lnTo>
                  <a:lnTo>
                    <a:pt x="396" y="180"/>
                  </a:lnTo>
                  <a:lnTo>
                    <a:pt x="414" y="198"/>
                  </a:lnTo>
                  <a:lnTo>
                    <a:pt x="426" y="192"/>
                  </a:lnTo>
                  <a:lnTo>
                    <a:pt x="438" y="192"/>
                  </a:lnTo>
                  <a:lnTo>
                    <a:pt x="456" y="210"/>
                  </a:lnTo>
                  <a:lnTo>
                    <a:pt x="462" y="204"/>
                  </a:lnTo>
                  <a:lnTo>
                    <a:pt x="456" y="192"/>
                  </a:lnTo>
                  <a:lnTo>
                    <a:pt x="450" y="186"/>
                  </a:lnTo>
                  <a:lnTo>
                    <a:pt x="444" y="174"/>
                  </a:lnTo>
                  <a:lnTo>
                    <a:pt x="438" y="168"/>
                  </a:lnTo>
                  <a:lnTo>
                    <a:pt x="432" y="168"/>
                  </a:lnTo>
                  <a:lnTo>
                    <a:pt x="414" y="150"/>
                  </a:lnTo>
                  <a:lnTo>
                    <a:pt x="420" y="144"/>
                  </a:lnTo>
                  <a:lnTo>
                    <a:pt x="432" y="144"/>
                  </a:lnTo>
                  <a:lnTo>
                    <a:pt x="420" y="132"/>
                  </a:lnTo>
                  <a:lnTo>
                    <a:pt x="408" y="126"/>
                  </a:lnTo>
                  <a:lnTo>
                    <a:pt x="396" y="114"/>
                  </a:lnTo>
                  <a:lnTo>
                    <a:pt x="378" y="114"/>
                  </a:lnTo>
                  <a:lnTo>
                    <a:pt x="378" y="108"/>
                  </a:lnTo>
                  <a:lnTo>
                    <a:pt x="384" y="102"/>
                  </a:lnTo>
                  <a:lnTo>
                    <a:pt x="384" y="90"/>
                  </a:lnTo>
                  <a:lnTo>
                    <a:pt x="354" y="84"/>
                  </a:lnTo>
                  <a:lnTo>
                    <a:pt x="342" y="72"/>
                  </a:lnTo>
                  <a:lnTo>
                    <a:pt x="330" y="66"/>
                  </a:lnTo>
                  <a:lnTo>
                    <a:pt x="300" y="66"/>
                  </a:lnTo>
                  <a:lnTo>
                    <a:pt x="300" y="72"/>
                  </a:lnTo>
                  <a:lnTo>
                    <a:pt x="288" y="72"/>
                  </a:lnTo>
                  <a:lnTo>
                    <a:pt x="282" y="78"/>
                  </a:lnTo>
                  <a:lnTo>
                    <a:pt x="258" y="78"/>
                  </a:lnTo>
                  <a:lnTo>
                    <a:pt x="246" y="72"/>
                  </a:lnTo>
                  <a:lnTo>
                    <a:pt x="240" y="72"/>
                  </a:lnTo>
                  <a:lnTo>
                    <a:pt x="240" y="66"/>
                  </a:lnTo>
                  <a:lnTo>
                    <a:pt x="192" y="36"/>
                  </a:lnTo>
                  <a:lnTo>
                    <a:pt x="186" y="36"/>
                  </a:lnTo>
                  <a:lnTo>
                    <a:pt x="180" y="30"/>
                  </a:lnTo>
                  <a:lnTo>
                    <a:pt x="144" y="30"/>
                  </a:lnTo>
                  <a:lnTo>
                    <a:pt x="84" y="18"/>
                  </a:lnTo>
                  <a:lnTo>
                    <a:pt x="66" y="12"/>
                  </a:lnTo>
                  <a:lnTo>
                    <a:pt x="54" y="6"/>
                  </a:lnTo>
                  <a:lnTo>
                    <a:pt x="36" y="0"/>
                  </a:lnTo>
                  <a:lnTo>
                    <a:pt x="24" y="0"/>
                  </a:lnTo>
                  <a:lnTo>
                    <a:pt x="0" y="18"/>
                  </a:lnTo>
                  <a:lnTo>
                    <a:pt x="6" y="18"/>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62" name="Gambia" descr="© INSCALE GmbH, 05.05.2010&#10;http://www.presentationload.com/">
              <a:extLst>
                <a:ext uri="{FF2B5EF4-FFF2-40B4-BE49-F238E27FC236}">
                  <a16:creationId xmlns:a16="http://schemas.microsoft.com/office/drawing/2014/main" id="{87A08947-44F7-45A5-8C27-63AFB51C73D5}"/>
                </a:ext>
              </a:extLst>
            </p:cNvPr>
            <p:cNvSpPr>
              <a:spLocks/>
            </p:cNvSpPr>
            <p:nvPr/>
          </p:nvSpPr>
          <p:spPr bwMode="gray">
            <a:xfrm>
              <a:off x="3658952" y="3810447"/>
              <a:ext cx="84673" cy="20385"/>
            </a:xfrm>
            <a:custGeom>
              <a:avLst/>
              <a:gdLst>
                <a:gd name="T0" fmla="*/ 2147483647 w 216"/>
                <a:gd name="T1" fmla="*/ 2147483647 h 54"/>
                <a:gd name="T2" fmla="*/ 2147483647 w 216"/>
                <a:gd name="T3" fmla="*/ 2147483647 h 54"/>
                <a:gd name="T4" fmla="*/ 2147483647 w 216"/>
                <a:gd name="T5" fmla="*/ 2147483647 h 54"/>
                <a:gd name="T6" fmla="*/ 2147483647 w 216"/>
                <a:gd name="T7" fmla="*/ 2147483647 h 54"/>
                <a:gd name="T8" fmla="*/ 0 w 216"/>
                <a:gd name="T9" fmla="*/ 2147483647 h 54"/>
                <a:gd name="T10" fmla="*/ 0 w 216"/>
                <a:gd name="T11" fmla="*/ 2147483647 h 54"/>
                <a:gd name="T12" fmla="*/ 2147483647 w 216"/>
                <a:gd name="T13" fmla="*/ 2147483647 h 54"/>
                <a:gd name="T14" fmla="*/ 2147483647 w 216"/>
                <a:gd name="T15" fmla="*/ 2147483647 h 54"/>
                <a:gd name="T16" fmla="*/ 2147483647 w 216"/>
                <a:gd name="T17" fmla="*/ 2147483647 h 54"/>
                <a:gd name="T18" fmla="*/ 2147483647 w 216"/>
                <a:gd name="T19" fmla="*/ 2147483647 h 54"/>
                <a:gd name="T20" fmla="*/ 2147483647 w 216"/>
                <a:gd name="T21" fmla="*/ 2147483647 h 54"/>
                <a:gd name="T22" fmla="*/ 2147483647 w 216"/>
                <a:gd name="T23" fmla="*/ 2147483647 h 54"/>
                <a:gd name="T24" fmla="*/ 2147483647 w 216"/>
                <a:gd name="T25" fmla="*/ 2147483647 h 54"/>
                <a:gd name="T26" fmla="*/ 2147483647 w 216"/>
                <a:gd name="T27" fmla="*/ 2147483647 h 54"/>
                <a:gd name="T28" fmla="*/ 2147483647 w 216"/>
                <a:gd name="T29" fmla="*/ 2147483647 h 54"/>
                <a:gd name="T30" fmla="*/ 2147483647 w 216"/>
                <a:gd name="T31" fmla="*/ 2147483647 h 54"/>
                <a:gd name="T32" fmla="*/ 2147483647 w 216"/>
                <a:gd name="T33" fmla="*/ 2147483647 h 54"/>
                <a:gd name="T34" fmla="*/ 2147483647 w 216"/>
                <a:gd name="T35" fmla="*/ 2147483647 h 54"/>
                <a:gd name="T36" fmla="*/ 2147483647 w 216"/>
                <a:gd name="T37" fmla="*/ 2147483647 h 54"/>
                <a:gd name="T38" fmla="*/ 2147483647 w 216"/>
                <a:gd name="T39" fmla="*/ 2147483647 h 54"/>
                <a:gd name="T40" fmla="*/ 2147483647 w 216"/>
                <a:gd name="T41" fmla="*/ 2147483647 h 54"/>
                <a:gd name="T42" fmla="*/ 2147483647 w 216"/>
                <a:gd name="T43" fmla="*/ 2147483647 h 54"/>
                <a:gd name="T44" fmla="*/ 2147483647 w 216"/>
                <a:gd name="T45" fmla="*/ 2147483647 h 54"/>
                <a:gd name="T46" fmla="*/ 2147483647 w 216"/>
                <a:gd name="T47" fmla="*/ 2147483647 h 54"/>
                <a:gd name="T48" fmla="*/ 2147483647 w 216"/>
                <a:gd name="T49" fmla="*/ 2147483647 h 54"/>
                <a:gd name="T50" fmla="*/ 2147483647 w 216"/>
                <a:gd name="T51" fmla="*/ 2147483647 h 54"/>
                <a:gd name="T52" fmla="*/ 2147483647 w 216"/>
                <a:gd name="T53" fmla="*/ 2147483647 h 54"/>
                <a:gd name="T54" fmla="*/ 2147483647 w 216"/>
                <a:gd name="T55" fmla="*/ 2147483647 h 54"/>
                <a:gd name="T56" fmla="*/ 2147483647 w 216"/>
                <a:gd name="T57" fmla="*/ 2147483647 h 54"/>
                <a:gd name="T58" fmla="*/ 2147483647 w 216"/>
                <a:gd name="T59" fmla="*/ 0 h 54"/>
                <a:gd name="T60" fmla="*/ 2147483647 w 216"/>
                <a:gd name="T61" fmla="*/ 0 h 54"/>
                <a:gd name="T62" fmla="*/ 2147483647 w 216"/>
                <a:gd name="T63" fmla="*/ 2147483647 h 54"/>
                <a:gd name="T64" fmla="*/ 2147483647 w 216"/>
                <a:gd name="T65" fmla="*/ 2147483647 h 54"/>
                <a:gd name="T66" fmla="*/ 2147483647 w 216"/>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54"/>
                <a:gd name="T104" fmla="*/ 216 w 216"/>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54">
                  <a:moveTo>
                    <a:pt x="18" y="18"/>
                  </a:moveTo>
                  <a:lnTo>
                    <a:pt x="12" y="24"/>
                  </a:lnTo>
                  <a:lnTo>
                    <a:pt x="6" y="36"/>
                  </a:lnTo>
                  <a:lnTo>
                    <a:pt x="6" y="42"/>
                  </a:lnTo>
                  <a:lnTo>
                    <a:pt x="0" y="48"/>
                  </a:lnTo>
                  <a:lnTo>
                    <a:pt x="0" y="54"/>
                  </a:lnTo>
                  <a:lnTo>
                    <a:pt x="72" y="54"/>
                  </a:lnTo>
                  <a:lnTo>
                    <a:pt x="72" y="42"/>
                  </a:lnTo>
                  <a:lnTo>
                    <a:pt x="84" y="42"/>
                  </a:lnTo>
                  <a:lnTo>
                    <a:pt x="90" y="36"/>
                  </a:lnTo>
                  <a:lnTo>
                    <a:pt x="114" y="36"/>
                  </a:lnTo>
                  <a:lnTo>
                    <a:pt x="120" y="24"/>
                  </a:lnTo>
                  <a:lnTo>
                    <a:pt x="126" y="18"/>
                  </a:lnTo>
                  <a:lnTo>
                    <a:pt x="132" y="24"/>
                  </a:lnTo>
                  <a:lnTo>
                    <a:pt x="144" y="30"/>
                  </a:lnTo>
                  <a:lnTo>
                    <a:pt x="150" y="42"/>
                  </a:lnTo>
                  <a:lnTo>
                    <a:pt x="168" y="48"/>
                  </a:lnTo>
                  <a:lnTo>
                    <a:pt x="192" y="48"/>
                  </a:lnTo>
                  <a:lnTo>
                    <a:pt x="198" y="42"/>
                  </a:lnTo>
                  <a:lnTo>
                    <a:pt x="210" y="36"/>
                  </a:lnTo>
                  <a:lnTo>
                    <a:pt x="216" y="30"/>
                  </a:lnTo>
                  <a:lnTo>
                    <a:pt x="216" y="24"/>
                  </a:lnTo>
                  <a:lnTo>
                    <a:pt x="210" y="18"/>
                  </a:lnTo>
                  <a:lnTo>
                    <a:pt x="186" y="18"/>
                  </a:lnTo>
                  <a:lnTo>
                    <a:pt x="180" y="24"/>
                  </a:lnTo>
                  <a:lnTo>
                    <a:pt x="168" y="24"/>
                  </a:lnTo>
                  <a:lnTo>
                    <a:pt x="162" y="12"/>
                  </a:lnTo>
                  <a:lnTo>
                    <a:pt x="156" y="6"/>
                  </a:lnTo>
                  <a:lnTo>
                    <a:pt x="144" y="12"/>
                  </a:lnTo>
                  <a:lnTo>
                    <a:pt x="144" y="0"/>
                  </a:lnTo>
                  <a:lnTo>
                    <a:pt x="90" y="0"/>
                  </a:lnTo>
                  <a:lnTo>
                    <a:pt x="90" y="12"/>
                  </a:lnTo>
                  <a:lnTo>
                    <a:pt x="18" y="12"/>
                  </a:lnTo>
                  <a:lnTo>
                    <a:pt x="18" y="18"/>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63" name="Gabon" descr="© INSCALE GmbH, 05.05.2010&#10;http://www.presentationload.com/">
              <a:extLst>
                <a:ext uri="{FF2B5EF4-FFF2-40B4-BE49-F238E27FC236}">
                  <a16:creationId xmlns:a16="http://schemas.microsoft.com/office/drawing/2014/main" id="{0BC33E12-1612-411A-BC15-2255E6010B03}"/>
                </a:ext>
              </a:extLst>
            </p:cNvPr>
            <p:cNvSpPr>
              <a:spLocks/>
            </p:cNvSpPr>
            <p:nvPr/>
          </p:nvSpPr>
          <p:spPr bwMode="gray">
            <a:xfrm>
              <a:off x="4373971" y="4174228"/>
              <a:ext cx="166210" cy="203843"/>
            </a:xfrm>
            <a:custGeom>
              <a:avLst/>
              <a:gdLst>
                <a:gd name="T0" fmla="*/ 2147483647 w 420"/>
                <a:gd name="T1" fmla="*/ 2147483647 h 510"/>
                <a:gd name="T2" fmla="*/ 2147483647 w 420"/>
                <a:gd name="T3" fmla="*/ 2147483647 h 510"/>
                <a:gd name="T4" fmla="*/ 2147483647 w 420"/>
                <a:gd name="T5" fmla="*/ 2147483647 h 510"/>
                <a:gd name="T6" fmla="*/ 2147483647 w 420"/>
                <a:gd name="T7" fmla="*/ 2147483647 h 510"/>
                <a:gd name="T8" fmla="*/ 2147483647 w 420"/>
                <a:gd name="T9" fmla="*/ 2147483647 h 510"/>
                <a:gd name="T10" fmla="*/ 2147483647 w 420"/>
                <a:gd name="T11" fmla="*/ 2147483647 h 510"/>
                <a:gd name="T12" fmla="*/ 2147483647 w 420"/>
                <a:gd name="T13" fmla="*/ 2147483647 h 510"/>
                <a:gd name="T14" fmla="*/ 2147483647 w 420"/>
                <a:gd name="T15" fmla="*/ 2147483647 h 510"/>
                <a:gd name="T16" fmla="*/ 2147483647 w 420"/>
                <a:gd name="T17" fmla="*/ 2147483647 h 510"/>
                <a:gd name="T18" fmla="*/ 2147483647 w 420"/>
                <a:gd name="T19" fmla="*/ 2147483647 h 510"/>
                <a:gd name="T20" fmla="*/ 2147483647 w 420"/>
                <a:gd name="T21" fmla="*/ 2147483647 h 510"/>
                <a:gd name="T22" fmla="*/ 2147483647 w 420"/>
                <a:gd name="T23" fmla="*/ 2147483647 h 510"/>
                <a:gd name="T24" fmla="*/ 2147483647 w 420"/>
                <a:gd name="T25" fmla="*/ 2147483647 h 510"/>
                <a:gd name="T26" fmla="*/ 2147483647 w 420"/>
                <a:gd name="T27" fmla="*/ 2147483647 h 510"/>
                <a:gd name="T28" fmla="*/ 2147483647 w 420"/>
                <a:gd name="T29" fmla="*/ 2147483647 h 510"/>
                <a:gd name="T30" fmla="*/ 2147483647 w 420"/>
                <a:gd name="T31" fmla="*/ 2147483647 h 510"/>
                <a:gd name="T32" fmla="*/ 2147483647 w 420"/>
                <a:gd name="T33" fmla="*/ 2147483647 h 510"/>
                <a:gd name="T34" fmla="*/ 2147483647 w 420"/>
                <a:gd name="T35" fmla="*/ 2147483647 h 510"/>
                <a:gd name="T36" fmla="*/ 2147483647 w 420"/>
                <a:gd name="T37" fmla="*/ 2147483647 h 510"/>
                <a:gd name="T38" fmla="*/ 2147483647 w 420"/>
                <a:gd name="T39" fmla="*/ 2147483647 h 510"/>
                <a:gd name="T40" fmla="*/ 2147483647 w 420"/>
                <a:gd name="T41" fmla="*/ 2147483647 h 510"/>
                <a:gd name="T42" fmla="*/ 2147483647 w 420"/>
                <a:gd name="T43" fmla="*/ 2147483647 h 510"/>
                <a:gd name="T44" fmla="*/ 2147483647 w 420"/>
                <a:gd name="T45" fmla="*/ 2147483647 h 510"/>
                <a:gd name="T46" fmla="*/ 2147483647 w 420"/>
                <a:gd name="T47" fmla="*/ 2147483647 h 510"/>
                <a:gd name="T48" fmla="*/ 2147483647 w 420"/>
                <a:gd name="T49" fmla="*/ 2147483647 h 510"/>
                <a:gd name="T50" fmla="*/ 2147483647 w 420"/>
                <a:gd name="T51" fmla="*/ 2147483647 h 510"/>
                <a:gd name="T52" fmla="*/ 2147483647 w 420"/>
                <a:gd name="T53" fmla="*/ 2147483647 h 510"/>
                <a:gd name="T54" fmla="*/ 2147483647 w 420"/>
                <a:gd name="T55" fmla="*/ 2147483647 h 510"/>
                <a:gd name="T56" fmla="*/ 2147483647 w 420"/>
                <a:gd name="T57" fmla="*/ 2147483647 h 510"/>
                <a:gd name="T58" fmla="*/ 2147483647 w 420"/>
                <a:gd name="T59" fmla="*/ 2147483647 h 510"/>
                <a:gd name="T60" fmla="*/ 2147483647 w 420"/>
                <a:gd name="T61" fmla="*/ 2147483647 h 510"/>
                <a:gd name="T62" fmla="*/ 2147483647 w 420"/>
                <a:gd name="T63" fmla="*/ 2147483647 h 510"/>
                <a:gd name="T64" fmla="*/ 2147483647 w 420"/>
                <a:gd name="T65" fmla="*/ 2147483647 h 510"/>
                <a:gd name="T66" fmla="*/ 2147483647 w 420"/>
                <a:gd name="T67" fmla="*/ 2147483647 h 510"/>
                <a:gd name="T68" fmla="*/ 2147483647 w 420"/>
                <a:gd name="T69" fmla="*/ 2147483647 h 510"/>
                <a:gd name="T70" fmla="*/ 2147483647 w 420"/>
                <a:gd name="T71" fmla="*/ 2147483647 h 510"/>
                <a:gd name="T72" fmla="*/ 2147483647 w 420"/>
                <a:gd name="T73" fmla="*/ 2147483647 h 510"/>
                <a:gd name="T74" fmla="*/ 2147483647 w 420"/>
                <a:gd name="T75" fmla="*/ 2147483647 h 510"/>
                <a:gd name="T76" fmla="*/ 2147483647 w 420"/>
                <a:gd name="T77" fmla="*/ 2147483647 h 510"/>
                <a:gd name="T78" fmla="*/ 2147483647 w 420"/>
                <a:gd name="T79" fmla="*/ 2147483647 h 510"/>
                <a:gd name="T80" fmla="*/ 2147483647 w 420"/>
                <a:gd name="T81" fmla="*/ 2147483647 h 510"/>
                <a:gd name="T82" fmla="*/ 2147483647 w 420"/>
                <a:gd name="T83" fmla="*/ 2147483647 h 510"/>
                <a:gd name="T84" fmla="*/ 2147483647 w 420"/>
                <a:gd name="T85" fmla="*/ 2147483647 h 510"/>
                <a:gd name="T86" fmla="*/ 2147483647 w 420"/>
                <a:gd name="T87" fmla="*/ 2147483647 h 510"/>
                <a:gd name="T88" fmla="*/ 2147483647 w 420"/>
                <a:gd name="T89" fmla="*/ 2147483647 h 510"/>
                <a:gd name="T90" fmla="*/ 2147483647 w 420"/>
                <a:gd name="T91" fmla="*/ 2147483647 h 510"/>
                <a:gd name="T92" fmla="*/ 2147483647 w 420"/>
                <a:gd name="T93" fmla="*/ 2147483647 h 510"/>
                <a:gd name="T94" fmla="*/ 2147483647 w 420"/>
                <a:gd name="T95" fmla="*/ 2147483647 h 510"/>
                <a:gd name="T96" fmla="*/ 2147483647 w 420"/>
                <a:gd name="T97" fmla="*/ 2147483647 h 510"/>
                <a:gd name="T98" fmla="*/ 2147483647 w 420"/>
                <a:gd name="T99" fmla="*/ 2147483647 h 510"/>
                <a:gd name="T100" fmla="*/ 2147483647 w 420"/>
                <a:gd name="T101" fmla="*/ 2147483647 h 510"/>
                <a:gd name="T102" fmla="*/ 2147483647 w 420"/>
                <a:gd name="T103" fmla="*/ 2147483647 h 510"/>
                <a:gd name="T104" fmla="*/ 2147483647 w 420"/>
                <a:gd name="T105" fmla="*/ 2147483647 h 510"/>
                <a:gd name="T106" fmla="*/ 2147483647 w 420"/>
                <a:gd name="T107" fmla="*/ 2147483647 h 510"/>
                <a:gd name="T108" fmla="*/ 2147483647 w 420"/>
                <a:gd name="T109" fmla="*/ 2147483647 h 510"/>
                <a:gd name="T110" fmla="*/ 2147483647 w 420"/>
                <a:gd name="T111" fmla="*/ 2147483647 h 51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510"/>
                <a:gd name="T170" fmla="*/ 420 w 420"/>
                <a:gd name="T171" fmla="*/ 510 h 51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510">
                  <a:moveTo>
                    <a:pt x="420" y="240"/>
                  </a:moveTo>
                  <a:lnTo>
                    <a:pt x="414" y="234"/>
                  </a:lnTo>
                  <a:lnTo>
                    <a:pt x="396" y="234"/>
                  </a:lnTo>
                  <a:lnTo>
                    <a:pt x="390" y="216"/>
                  </a:lnTo>
                  <a:lnTo>
                    <a:pt x="372" y="210"/>
                  </a:lnTo>
                  <a:lnTo>
                    <a:pt x="372" y="174"/>
                  </a:lnTo>
                  <a:lnTo>
                    <a:pt x="384" y="150"/>
                  </a:lnTo>
                  <a:lnTo>
                    <a:pt x="396" y="150"/>
                  </a:lnTo>
                  <a:lnTo>
                    <a:pt x="402" y="144"/>
                  </a:lnTo>
                  <a:lnTo>
                    <a:pt x="408" y="132"/>
                  </a:lnTo>
                  <a:lnTo>
                    <a:pt x="414" y="126"/>
                  </a:lnTo>
                  <a:lnTo>
                    <a:pt x="414" y="114"/>
                  </a:lnTo>
                  <a:lnTo>
                    <a:pt x="402" y="108"/>
                  </a:lnTo>
                  <a:lnTo>
                    <a:pt x="402" y="90"/>
                  </a:lnTo>
                  <a:lnTo>
                    <a:pt x="396" y="84"/>
                  </a:lnTo>
                  <a:lnTo>
                    <a:pt x="396" y="78"/>
                  </a:lnTo>
                  <a:lnTo>
                    <a:pt x="384" y="78"/>
                  </a:lnTo>
                  <a:lnTo>
                    <a:pt x="378" y="72"/>
                  </a:lnTo>
                  <a:lnTo>
                    <a:pt x="360" y="72"/>
                  </a:lnTo>
                  <a:lnTo>
                    <a:pt x="360" y="90"/>
                  </a:lnTo>
                  <a:lnTo>
                    <a:pt x="354" y="96"/>
                  </a:lnTo>
                  <a:lnTo>
                    <a:pt x="330" y="96"/>
                  </a:lnTo>
                  <a:lnTo>
                    <a:pt x="324" y="90"/>
                  </a:lnTo>
                  <a:lnTo>
                    <a:pt x="318" y="54"/>
                  </a:lnTo>
                  <a:lnTo>
                    <a:pt x="336" y="24"/>
                  </a:lnTo>
                  <a:lnTo>
                    <a:pt x="336" y="6"/>
                  </a:lnTo>
                  <a:lnTo>
                    <a:pt x="288" y="12"/>
                  </a:lnTo>
                  <a:lnTo>
                    <a:pt x="282" y="12"/>
                  </a:lnTo>
                  <a:lnTo>
                    <a:pt x="270" y="6"/>
                  </a:lnTo>
                  <a:lnTo>
                    <a:pt x="264" y="6"/>
                  </a:lnTo>
                  <a:lnTo>
                    <a:pt x="252" y="18"/>
                  </a:lnTo>
                  <a:lnTo>
                    <a:pt x="222" y="18"/>
                  </a:lnTo>
                  <a:lnTo>
                    <a:pt x="210" y="0"/>
                  </a:lnTo>
                  <a:lnTo>
                    <a:pt x="192" y="18"/>
                  </a:lnTo>
                  <a:lnTo>
                    <a:pt x="186" y="54"/>
                  </a:lnTo>
                  <a:lnTo>
                    <a:pt x="192" y="60"/>
                  </a:lnTo>
                  <a:lnTo>
                    <a:pt x="192" y="90"/>
                  </a:lnTo>
                  <a:lnTo>
                    <a:pt x="186" y="108"/>
                  </a:lnTo>
                  <a:lnTo>
                    <a:pt x="186" y="114"/>
                  </a:lnTo>
                  <a:lnTo>
                    <a:pt x="84" y="114"/>
                  </a:lnTo>
                  <a:lnTo>
                    <a:pt x="84" y="108"/>
                  </a:lnTo>
                  <a:lnTo>
                    <a:pt x="72" y="108"/>
                  </a:lnTo>
                  <a:lnTo>
                    <a:pt x="60" y="120"/>
                  </a:lnTo>
                  <a:lnTo>
                    <a:pt x="60" y="126"/>
                  </a:lnTo>
                  <a:lnTo>
                    <a:pt x="66" y="132"/>
                  </a:lnTo>
                  <a:lnTo>
                    <a:pt x="66" y="144"/>
                  </a:lnTo>
                  <a:lnTo>
                    <a:pt x="72" y="150"/>
                  </a:lnTo>
                  <a:lnTo>
                    <a:pt x="72" y="162"/>
                  </a:lnTo>
                  <a:lnTo>
                    <a:pt x="48" y="162"/>
                  </a:lnTo>
                  <a:lnTo>
                    <a:pt x="48" y="210"/>
                  </a:lnTo>
                  <a:lnTo>
                    <a:pt x="42" y="228"/>
                  </a:lnTo>
                  <a:lnTo>
                    <a:pt x="36" y="240"/>
                  </a:lnTo>
                  <a:lnTo>
                    <a:pt x="30" y="246"/>
                  </a:lnTo>
                  <a:lnTo>
                    <a:pt x="18" y="252"/>
                  </a:lnTo>
                  <a:lnTo>
                    <a:pt x="0" y="252"/>
                  </a:lnTo>
                  <a:lnTo>
                    <a:pt x="30" y="306"/>
                  </a:lnTo>
                  <a:lnTo>
                    <a:pt x="42" y="294"/>
                  </a:lnTo>
                  <a:lnTo>
                    <a:pt x="54" y="312"/>
                  </a:lnTo>
                  <a:lnTo>
                    <a:pt x="48" y="318"/>
                  </a:lnTo>
                  <a:lnTo>
                    <a:pt x="48" y="330"/>
                  </a:lnTo>
                  <a:lnTo>
                    <a:pt x="42" y="336"/>
                  </a:lnTo>
                  <a:lnTo>
                    <a:pt x="42" y="342"/>
                  </a:lnTo>
                  <a:lnTo>
                    <a:pt x="48" y="348"/>
                  </a:lnTo>
                  <a:lnTo>
                    <a:pt x="66" y="348"/>
                  </a:lnTo>
                  <a:lnTo>
                    <a:pt x="72" y="390"/>
                  </a:lnTo>
                  <a:lnTo>
                    <a:pt x="102" y="396"/>
                  </a:lnTo>
                  <a:lnTo>
                    <a:pt x="96" y="408"/>
                  </a:lnTo>
                  <a:lnTo>
                    <a:pt x="144" y="462"/>
                  </a:lnTo>
                  <a:lnTo>
                    <a:pt x="138" y="468"/>
                  </a:lnTo>
                  <a:lnTo>
                    <a:pt x="174" y="510"/>
                  </a:lnTo>
                  <a:lnTo>
                    <a:pt x="180" y="492"/>
                  </a:lnTo>
                  <a:lnTo>
                    <a:pt x="204" y="480"/>
                  </a:lnTo>
                  <a:lnTo>
                    <a:pt x="222" y="498"/>
                  </a:lnTo>
                  <a:lnTo>
                    <a:pt x="228" y="492"/>
                  </a:lnTo>
                  <a:lnTo>
                    <a:pt x="228" y="456"/>
                  </a:lnTo>
                  <a:lnTo>
                    <a:pt x="210" y="444"/>
                  </a:lnTo>
                  <a:lnTo>
                    <a:pt x="228" y="432"/>
                  </a:lnTo>
                  <a:lnTo>
                    <a:pt x="198" y="414"/>
                  </a:lnTo>
                  <a:lnTo>
                    <a:pt x="210" y="414"/>
                  </a:lnTo>
                  <a:lnTo>
                    <a:pt x="210" y="402"/>
                  </a:lnTo>
                  <a:lnTo>
                    <a:pt x="204" y="396"/>
                  </a:lnTo>
                  <a:lnTo>
                    <a:pt x="204" y="378"/>
                  </a:lnTo>
                  <a:lnTo>
                    <a:pt x="210" y="378"/>
                  </a:lnTo>
                  <a:lnTo>
                    <a:pt x="216" y="384"/>
                  </a:lnTo>
                  <a:lnTo>
                    <a:pt x="228" y="384"/>
                  </a:lnTo>
                  <a:lnTo>
                    <a:pt x="240" y="390"/>
                  </a:lnTo>
                  <a:lnTo>
                    <a:pt x="258" y="390"/>
                  </a:lnTo>
                  <a:lnTo>
                    <a:pt x="264" y="384"/>
                  </a:lnTo>
                  <a:lnTo>
                    <a:pt x="270" y="372"/>
                  </a:lnTo>
                  <a:lnTo>
                    <a:pt x="282" y="366"/>
                  </a:lnTo>
                  <a:lnTo>
                    <a:pt x="264" y="348"/>
                  </a:lnTo>
                  <a:lnTo>
                    <a:pt x="264" y="342"/>
                  </a:lnTo>
                  <a:lnTo>
                    <a:pt x="294" y="342"/>
                  </a:lnTo>
                  <a:lnTo>
                    <a:pt x="312" y="384"/>
                  </a:lnTo>
                  <a:lnTo>
                    <a:pt x="342" y="384"/>
                  </a:lnTo>
                  <a:lnTo>
                    <a:pt x="348" y="378"/>
                  </a:lnTo>
                  <a:lnTo>
                    <a:pt x="354" y="366"/>
                  </a:lnTo>
                  <a:lnTo>
                    <a:pt x="360" y="360"/>
                  </a:lnTo>
                  <a:lnTo>
                    <a:pt x="366" y="360"/>
                  </a:lnTo>
                  <a:lnTo>
                    <a:pt x="366" y="390"/>
                  </a:lnTo>
                  <a:lnTo>
                    <a:pt x="372" y="396"/>
                  </a:lnTo>
                  <a:lnTo>
                    <a:pt x="384" y="396"/>
                  </a:lnTo>
                  <a:lnTo>
                    <a:pt x="390" y="390"/>
                  </a:lnTo>
                  <a:lnTo>
                    <a:pt x="396" y="378"/>
                  </a:lnTo>
                  <a:lnTo>
                    <a:pt x="396" y="354"/>
                  </a:lnTo>
                  <a:lnTo>
                    <a:pt x="408" y="348"/>
                  </a:lnTo>
                  <a:lnTo>
                    <a:pt x="414" y="342"/>
                  </a:lnTo>
                  <a:lnTo>
                    <a:pt x="408" y="318"/>
                  </a:lnTo>
                  <a:lnTo>
                    <a:pt x="414" y="306"/>
                  </a:lnTo>
                  <a:lnTo>
                    <a:pt x="414" y="258"/>
                  </a:lnTo>
                  <a:lnTo>
                    <a:pt x="420" y="252"/>
                  </a:lnTo>
                  <a:lnTo>
                    <a:pt x="420" y="24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64" name="Frankreich" descr="© INSCALE GmbH, 05.05.2010&#10;http://www.presentationload.com/">
              <a:extLst>
                <a:ext uri="{FF2B5EF4-FFF2-40B4-BE49-F238E27FC236}">
                  <a16:creationId xmlns:a16="http://schemas.microsoft.com/office/drawing/2014/main" id="{2162A200-35F9-434B-9B7A-500E8EA8E105}"/>
                </a:ext>
              </a:extLst>
            </p:cNvPr>
            <p:cNvSpPr>
              <a:spLocks noEditPoints="1"/>
            </p:cNvSpPr>
            <p:nvPr/>
          </p:nvSpPr>
          <p:spPr bwMode="gray">
            <a:xfrm>
              <a:off x="4038414" y="2618749"/>
              <a:ext cx="362213" cy="312037"/>
            </a:xfrm>
            <a:custGeom>
              <a:avLst/>
              <a:gdLst>
                <a:gd name="T0" fmla="*/ 2147483647 w 230"/>
                <a:gd name="T1" fmla="*/ 2147483647 h 198"/>
                <a:gd name="T2" fmla="*/ 2147483647 w 230"/>
                <a:gd name="T3" fmla="*/ 2147483647 h 198"/>
                <a:gd name="T4" fmla="*/ 2147483647 w 230"/>
                <a:gd name="T5" fmla="*/ 2147483647 h 198"/>
                <a:gd name="T6" fmla="*/ 2147483647 w 230"/>
                <a:gd name="T7" fmla="*/ 2147483647 h 198"/>
                <a:gd name="T8" fmla="*/ 2147483647 w 230"/>
                <a:gd name="T9" fmla="*/ 2147483647 h 198"/>
                <a:gd name="T10" fmla="*/ 2147483647 w 230"/>
                <a:gd name="T11" fmla="*/ 2147483647 h 198"/>
                <a:gd name="T12" fmla="*/ 2147483647 w 230"/>
                <a:gd name="T13" fmla="*/ 2147483647 h 198"/>
                <a:gd name="T14" fmla="*/ 2147483647 w 230"/>
                <a:gd name="T15" fmla="*/ 2147483647 h 198"/>
                <a:gd name="T16" fmla="*/ 2147483647 w 230"/>
                <a:gd name="T17" fmla="*/ 2147483647 h 198"/>
                <a:gd name="T18" fmla="*/ 2147483647 w 230"/>
                <a:gd name="T19" fmla="*/ 2147483647 h 198"/>
                <a:gd name="T20" fmla="*/ 2147483647 w 230"/>
                <a:gd name="T21" fmla="*/ 2147483647 h 198"/>
                <a:gd name="T22" fmla="*/ 2147483647 w 230"/>
                <a:gd name="T23" fmla="*/ 2147483647 h 198"/>
                <a:gd name="T24" fmla="*/ 2147483647 w 230"/>
                <a:gd name="T25" fmla="*/ 2147483647 h 198"/>
                <a:gd name="T26" fmla="*/ 2147483647 w 230"/>
                <a:gd name="T27" fmla="*/ 2147483647 h 198"/>
                <a:gd name="T28" fmla="*/ 2147483647 w 230"/>
                <a:gd name="T29" fmla="*/ 2147483647 h 198"/>
                <a:gd name="T30" fmla="*/ 2147483647 w 230"/>
                <a:gd name="T31" fmla="*/ 2147483647 h 198"/>
                <a:gd name="T32" fmla="*/ 2147483647 w 230"/>
                <a:gd name="T33" fmla="*/ 2147483647 h 198"/>
                <a:gd name="T34" fmla="*/ 2147483647 w 230"/>
                <a:gd name="T35" fmla="*/ 2147483647 h 198"/>
                <a:gd name="T36" fmla="*/ 2147483647 w 230"/>
                <a:gd name="T37" fmla="*/ 2147483647 h 198"/>
                <a:gd name="T38" fmla="*/ 2147483647 w 230"/>
                <a:gd name="T39" fmla="*/ 2147483647 h 198"/>
                <a:gd name="T40" fmla="*/ 2147483647 w 230"/>
                <a:gd name="T41" fmla="*/ 2147483647 h 198"/>
                <a:gd name="T42" fmla="*/ 2147483647 w 230"/>
                <a:gd name="T43" fmla="*/ 2147483647 h 198"/>
                <a:gd name="T44" fmla="*/ 2147483647 w 230"/>
                <a:gd name="T45" fmla="*/ 2147483647 h 198"/>
                <a:gd name="T46" fmla="*/ 2147483647 w 230"/>
                <a:gd name="T47" fmla="*/ 2147483647 h 198"/>
                <a:gd name="T48" fmla="*/ 2147483647 w 230"/>
                <a:gd name="T49" fmla="*/ 2147483647 h 198"/>
                <a:gd name="T50" fmla="*/ 2147483647 w 230"/>
                <a:gd name="T51" fmla="*/ 2147483647 h 198"/>
                <a:gd name="T52" fmla="*/ 2147483647 w 230"/>
                <a:gd name="T53" fmla="*/ 2147483647 h 198"/>
                <a:gd name="T54" fmla="*/ 2147483647 w 230"/>
                <a:gd name="T55" fmla="*/ 2147483647 h 198"/>
                <a:gd name="T56" fmla="*/ 2147483647 w 230"/>
                <a:gd name="T57" fmla="*/ 2147483647 h 198"/>
                <a:gd name="T58" fmla="*/ 2147483647 w 230"/>
                <a:gd name="T59" fmla="*/ 2147483647 h 198"/>
                <a:gd name="T60" fmla="*/ 2147483647 w 230"/>
                <a:gd name="T61" fmla="*/ 2147483647 h 198"/>
                <a:gd name="T62" fmla="*/ 2147483647 w 230"/>
                <a:gd name="T63" fmla="*/ 2147483647 h 198"/>
                <a:gd name="T64" fmla="*/ 2147483647 w 230"/>
                <a:gd name="T65" fmla="*/ 2147483647 h 198"/>
                <a:gd name="T66" fmla="*/ 2147483647 w 230"/>
                <a:gd name="T67" fmla="*/ 2147483647 h 198"/>
                <a:gd name="T68" fmla="*/ 2147483647 w 230"/>
                <a:gd name="T69" fmla="*/ 2147483647 h 198"/>
                <a:gd name="T70" fmla="*/ 2147483647 w 230"/>
                <a:gd name="T71" fmla="*/ 2147483647 h 198"/>
                <a:gd name="T72" fmla="*/ 2147483647 w 230"/>
                <a:gd name="T73" fmla="*/ 2147483647 h 198"/>
                <a:gd name="T74" fmla="*/ 2147483647 w 230"/>
                <a:gd name="T75" fmla="*/ 2147483647 h 198"/>
                <a:gd name="T76" fmla="*/ 2147483647 w 230"/>
                <a:gd name="T77" fmla="*/ 2147483647 h 198"/>
                <a:gd name="T78" fmla="*/ 2147483647 w 230"/>
                <a:gd name="T79" fmla="*/ 2147483647 h 198"/>
                <a:gd name="T80" fmla="*/ 2147483647 w 230"/>
                <a:gd name="T81" fmla="*/ 2147483647 h 198"/>
                <a:gd name="T82" fmla="*/ 2147483647 w 230"/>
                <a:gd name="T83" fmla="*/ 2147483647 h 198"/>
                <a:gd name="T84" fmla="*/ 2147483647 w 230"/>
                <a:gd name="T85" fmla="*/ 2147483647 h 198"/>
                <a:gd name="T86" fmla="*/ 2147483647 w 230"/>
                <a:gd name="T87" fmla="*/ 2147483647 h 198"/>
                <a:gd name="T88" fmla="*/ 2147483647 w 230"/>
                <a:gd name="T89" fmla="*/ 2147483647 h 198"/>
                <a:gd name="T90" fmla="*/ 2147483647 w 230"/>
                <a:gd name="T91" fmla="*/ 2147483647 h 198"/>
                <a:gd name="T92" fmla="*/ 2147483647 w 230"/>
                <a:gd name="T93" fmla="*/ 2147483647 h 198"/>
                <a:gd name="T94" fmla="*/ 2147483647 w 230"/>
                <a:gd name="T95" fmla="*/ 2147483647 h 198"/>
                <a:gd name="T96" fmla="*/ 2147483647 w 230"/>
                <a:gd name="T97" fmla="*/ 2147483647 h 198"/>
                <a:gd name="T98" fmla="*/ 2147483647 w 230"/>
                <a:gd name="T99" fmla="*/ 2147483647 h 198"/>
                <a:gd name="T100" fmla="*/ 2147483647 w 230"/>
                <a:gd name="T101" fmla="*/ 2147483647 h 198"/>
                <a:gd name="T102" fmla="*/ 2147483647 w 230"/>
                <a:gd name="T103" fmla="*/ 2147483647 h 198"/>
                <a:gd name="T104" fmla="*/ 2147483647 w 230"/>
                <a:gd name="T105" fmla="*/ 2147483647 h 198"/>
                <a:gd name="T106" fmla="*/ 2147483647 w 230"/>
                <a:gd name="T107" fmla="*/ 2147483647 h 198"/>
                <a:gd name="T108" fmla="*/ 2147483647 w 230"/>
                <a:gd name="T109" fmla="*/ 2147483647 h 198"/>
                <a:gd name="T110" fmla="*/ 2147483647 w 230"/>
                <a:gd name="T111" fmla="*/ 2147483647 h 198"/>
                <a:gd name="T112" fmla="*/ 2147483647 w 230"/>
                <a:gd name="T113" fmla="*/ 2147483647 h 198"/>
                <a:gd name="T114" fmla="*/ 2147483647 w 230"/>
                <a:gd name="T115" fmla="*/ 2147483647 h 198"/>
                <a:gd name="T116" fmla="*/ 2147483647 w 230"/>
                <a:gd name="T117" fmla="*/ 2147483647 h 198"/>
                <a:gd name="T118" fmla="*/ 2147483647 w 230"/>
                <a:gd name="T119" fmla="*/ 2147483647 h 198"/>
                <a:gd name="T120" fmla="*/ 2147483647 w 230"/>
                <a:gd name="T121" fmla="*/ 2147483647 h 1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198"/>
                <a:gd name="T185" fmla="*/ 230 w 230"/>
                <a:gd name="T186" fmla="*/ 198 h 1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198">
                  <a:moveTo>
                    <a:pt x="230" y="172"/>
                  </a:moveTo>
                  <a:lnTo>
                    <a:pt x="230" y="172"/>
                  </a:lnTo>
                  <a:lnTo>
                    <a:pt x="230" y="166"/>
                  </a:lnTo>
                  <a:lnTo>
                    <a:pt x="228" y="166"/>
                  </a:lnTo>
                  <a:lnTo>
                    <a:pt x="224" y="168"/>
                  </a:lnTo>
                  <a:lnTo>
                    <a:pt x="224" y="170"/>
                  </a:lnTo>
                  <a:lnTo>
                    <a:pt x="220" y="172"/>
                  </a:lnTo>
                  <a:lnTo>
                    <a:pt x="218" y="174"/>
                  </a:lnTo>
                  <a:lnTo>
                    <a:pt x="216" y="178"/>
                  </a:lnTo>
                  <a:lnTo>
                    <a:pt x="216" y="182"/>
                  </a:lnTo>
                  <a:lnTo>
                    <a:pt x="218" y="186"/>
                  </a:lnTo>
                  <a:lnTo>
                    <a:pt x="218" y="190"/>
                  </a:lnTo>
                  <a:lnTo>
                    <a:pt x="218" y="192"/>
                  </a:lnTo>
                  <a:lnTo>
                    <a:pt x="218" y="194"/>
                  </a:lnTo>
                  <a:lnTo>
                    <a:pt x="222" y="196"/>
                  </a:lnTo>
                  <a:lnTo>
                    <a:pt x="224" y="198"/>
                  </a:lnTo>
                  <a:lnTo>
                    <a:pt x="230" y="192"/>
                  </a:lnTo>
                  <a:lnTo>
                    <a:pt x="230" y="186"/>
                  </a:lnTo>
                  <a:lnTo>
                    <a:pt x="228" y="186"/>
                  </a:lnTo>
                  <a:lnTo>
                    <a:pt x="230" y="184"/>
                  </a:lnTo>
                  <a:lnTo>
                    <a:pt x="230" y="172"/>
                  </a:lnTo>
                  <a:close/>
                  <a:moveTo>
                    <a:pt x="198" y="40"/>
                  </a:moveTo>
                  <a:lnTo>
                    <a:pt x="198" y="40"/>
                  </a:lnTo>
                  <a:lnTo>
                    <a:pt x="196" y="40"/>
                  </a:lnTo>
                  <a:lnTo>
                    <a:pt x="192" y="40"/>
                  </a:lnTo>
                  <a:lnTo>
                    <a:pt x="190" y="40"/>
                  </a:lnTo>
                  <a:lnTo>
                    <a:pt x="184" y="40"/>
                  </a:lnTo>
                  <a:lnTo>
                    <a:pt x="184" y="34"/>
                  </a:lnTo>
                  <a:lnTo>
                    <a:pt x="182" y="34"/>
                  </a:lnTo>
                  <a:lnTo>
                    <a:pt x="182" y="32"/>
                  </a:lnTo>
                  <a:lnTo>
                    <a:pt x="178" y="30"/>
                  </a:lnTo>
                  <a:lnTo>
                    <a:pt x="174" y="34"/>
                  </a:lnTo>
                  <a:lnTo>
                    <a:pt x="172" y="32"/>
                  </a:lnTo>
                  <a:lnTo>
                    <a:pt x="166" y="32"/>
                  </a:lnTo>
                  <a:lnTo>
                    <a:pt x="164" y="28"/>
                  </a:lnTo>
                  <a:lnTo>
                    <a:pt x="162" y="28"/>
                  </a:lnTo>
                  <a:lnTo>
                    <a:pt x="158" y="28"/>
                  </a:lnTo>
                  <a:lnTo>
                    <a:pt x="156" y="28"/>
                  </a:lnTo>
                  <a:lnTo>
                    <a:pt x="156" y="22"/>
                  </a:lnTo>
                  <a:lnTo>
                    <a:pt x="152" y="24"/>
                  </a:lnTo>
                  <a:lnTo>
                    <a:pt x="146" y="24"/>
                  </a:lnTo>
                  <a:lnTo>
                    <a:pt x="146" y="18"/>
                  </a:lnTo>
                  <a:lnTo>
                    <a:pt x="144" y="16"/>
                  </a:lnTo>
                  <a:lnTo>
                    <a:pt x="142" y="14"/>
                  </a:lnTo>
                  <a:lnTo>
                    <a:pt x="136" y="14"/>
                  </a:lnTo>
                  <a:lnTo>
                    <a:pt x="132" y="12"/>
                  </a:lnTo>
                  <a:lnTo>
                    <a:pt x="126" y="10"/>
                  </a:lnTo>
                  <a:lnTo>
                    <a:pt x="126" y="6"/>
                  </a:lnTo>
                  <a:lnTo>
                    <a:pt x="126" y="0"/>
                  </a:lnTo>
                  <a:lnTo>
                    <a:pt x="118" y="0"/>
                  </a:lnTo>
                  <a:lnTo>
                    <a:pt x="114" y="2"/>
                  </a:lnTo>
                  <a:lnTo>
                    <a:pt x="112" y="2"/>
                  </a:lnTo>
                  <a:lnTo>
                    <a:pt x="110" y="4"/>
                  </a:lnTo>
                  <a:lnTo>
                    <a:pt x="104" y="4"/>
                  </a:lnTo>
                  <a:lnTo>
                    <a:pt x="104" y="6"/>
                  </a:lnTo>
                  <a:lnTo>
                    <a:pt x="104" y="8"/>
                  </a:lnTo>
                  <a:lnTo>
                    <a:pt x="104" y="12"/>
                  </a:lnTo>
                  <a:lnTo>
                    <a:pt x="106" y="14"/>
                  </a:lnTo>
                  <a:lnTo>
                    <a:pt x="106" y="20"/>
                  </a:lnTo>
                  <a:lnTo>
                    <a:pt x="104" y="22"/>
                  </a:lnTo>
                  <a:lnTo>
                    <a:pt x="98" y="24"/>
                  </a:lnTo>
                  <a:lnTo>
                    <a:pt x="92" y="24"/>
                  </a:lnTo>
                  <a:lnTo>
                    <a:pt x="82" y="32"/>
                  </a:lnTo>
                  <a:lnTo>
                    <a:pt x="86" y="34"/>
                  </a:lnTo>
                  <a:lnTo>
                    <a:pt x="84" y="34"/>
                  </a:lnTo>
                  <a:lnTo>
                    <a:pt x="82" y="34"/>
                  </a:lnTo>
                  <a:lnTo>
                    <a:pt x="76" y="38"/>
                  </a:lnTo>
                  <a:lnTo>
                    <a:pt x="68" y="38"/>
                  </a:lnTo>
                  <a:lnTo>
                    <a:pt x="66" y="36"/>
                  </a:lnTo>
                  <a:lnTo>
                    <a:pt x="60" y="30"/>
                  </a:lnTo>
                  <a:lnTo>
                    <a:pt x="58" y="30"/>
                  </a:lnTo>
                  <a:lnTo>
                    <a:pt x="56" y="28"/>
                  </a:lnTo>
                  <a:lnTo>
                    <a:pt x="52" y="28"/>
                  </a:lnTo>
                  <a:lnTo>
                    <a:pt x="52" y="30"/>
                  </a:lnTo>
                  <a:lnTo>
                    <a:pt x="52" y="34"/>
                  </a:lnTo>
                  <a:lnTo>
                    <a:pt x="54" y="34"/>
                  </a:lnTo>
                  <a:lnTo>
                    <a:pt x="56" y="38"/>
                  </a:lnTo>
                  <a:lnTo>
                    <a:pt x="58" y="40"/>
                  </a:lnTo>
                  <a:lnTo>
                    <a:pt x="58" y="46"/>
                  </a:lnTo>
                  <a:lnTo>
                    <a:pt x="56" y="48"/>
                  </a:lnTo>
                  <a:lnTo>
                    <a:pt x="54" y="48"/>
                  </a:lnTo>
                  <a:lnTo>
                    <a:pt x="48" y="48"/>
                  </a:lnTo>
                  <a:lnTo>
                    <a:pt x="38" y="48"/>
                  </a:lnTo>
                  <a:lnTo>
                    <a:pt x="38" y="54"/>
                  </a:lnTo>
                  <a:lnTo>
                    <a:pt x="36" y="52"/>
                  </a:lnTo>
                  <a:lnTo>
                    <a:pt x="34" y="48"/>
                  </a:lnTo>
                  <a:lnTo>
                    <a:pt x="32" y="48"/>
                  </a:lnTo>
                  <a:lnTo>
                    <a:pt x="30" y="46"/>
                  </a:lnTo>
                  <a:lnTo>
                    <a:pt x="26" y="46"/>
                  </a:lnTo>
                  <a:lnTo>
                    <a:pt x="24" y="48"/>
                  </a:lnTo>
                  <a:lnTo>
                    <a:pt x="22" y="48"/>
                  </a:lnTo>
                  <a:lnTo>
                    <a:pt x="20" y="48"/>
                  </a:lnTo>
                  <a:lnTo>
                    <a:pt x="16" y="48"/>
                  </a:lnTo>
                  <a:lnTo>
                    <a:pt x="12" y="50"/>
                  </a:lnTo>
                  <a:lnTo>
                    <a:pt x="8" y="50"/>
                  </a:lnTo>
                  <a:lnTo>
                    <a:pt x="6" y="52"/>
                  </a:lnTo>
                  <a:lnTo>
                    <a:pt x="4" y="54"/>
                  </a:lnTo>
                  <a:lnTo>
                    <a:pt x="6" y="56"/>
                  </a:lnTo>
                  <a:lnTo>
                    <a:pt x="8" y="56"/>
                  </a:lnTo>
                  <a:lnTo>
                    <a:pt x="10" y="58"/>
                  </a:lnTo>
                  <a:lnTo>
                    <a:pt x="10" y="60"/>
                  </a:lnTo>
                  <a:lnTo>
                    <a:pt x="6" y="60"/>
                  </a:lnTo>
                  <a:lnTo>
                    <a:pt x="2" y="60"/>
                  </a:lnTo>
                  <a:lnTo>
                    <a:pt x="0" y="60"/>
                  </a:lnTo>
                  <a:lnTo>
                    <a:pt x="0" y="62"/>
                  </a:lnTo>
                  <a:lnTo>
                    <a:pt x="6" y="66"/>
                  </a:lnTo>
                  <a:lnTo>
                    <a:pt x="12" y="66"/>
                  </a:lnTo>
                  <a:lnTo>
                    <a:pt x="12" y="64"/>
                  </a:lnTo>
                  <a:lnTo>
                    <a:pt x="26" y="72"/>
                  </a:lnTo>
                  <a:lnTo>
                    <a:pt x="32" y="72"/>
                  </a:lnTo>
                  <a:lnTo>
                    <a:pt x="38" y="76"/>
                  </a:lnTo>
                  <a:lnTo>
                    <a:pt x="48" y="76"/>
                  </a:lnTo>
                  <a:lnTo>
                    <a:pt x="40" y="80"/>
                  </a:lnTo>
                  <a:lnTo>
                    <a:pt x="42" y="84"/>
                  </a:lnTo>
                  <a:lnTo>
                    <a:pt x="44" y="86"/>
                  </a:lnTo>
                  <a:lnTo>
                    <a:pt x="46" y="92"/>
                  </a:lnTo>
                  <a:lnTo>
                    <a:pt x="52" y="96"/>
                  </a:lnTo>
                  <a:lnTo>
                    <a:pt x="58" y="96"/>
                  </a:lnTo>
                  <a:lnTo>
                    <a:pt x="58" y="106"/>
                  </a:lnTo>
                  <a:lnTo>
                    <a:pt x="62" y="114"/>
                  </a:lnTo>
                  <a:lnTo>
                    <a:pt x="66" y="124"/>
                  </a:lnTo>
                  <a:lnTo>
                    <a:pt x="58" y="114"/>
                  </a:lnTo>
                  <a:lnTo>
                    <a:pt x="58" y="118"/>
                  </a:lnTo>
                  <a:lnTo>
                    <a:pt x="56" y="120"/>
                  </a:lnTo>
                  <a:lnTo>
                    <a:pt x="56" y="132"/>
                  </a:lnTo>
                  <a:lnTo>
                    <a:pt x="54" y="134"/>
                  </a:lnTo>
                  <a:lnTo>
                    <a:pt x="52" y="144"/>
                  </a:lnTo>
                  <a:lnTo>
                    <a:pt x="52" y="146"/>
                  </a:lnTo>
                  <a:lnTo>
                    <a:pt x="50" y="150"/>
                  </a:lnTo>
                  <a:lnTo>
                    <a:pt x="50" y="152"/>
                  </a:lnTo>
                  <a:lnTo>
                    <a:pt x="48" y="152"/>
                  </a:lnTo>
                  <a:lnTo>
                    <a:pt x="48" y="154"/>
                  </a:lnTo>
                  <a:lnTo>
                    <a:pt x="46" y="156"/>
                  </a:lnTo>
                  <a:lnTo>
                    <a:pt x="44" y="158"/>
                  </a:lnTo>
                  <a:lnTo>
                    <a:pt x="46" y="160"/>
                  </a:lnTo>
                  <a:lnTo>
                    <a:pt x="46" y="158"/>
                  </a:lnTo>
                  <a:lnTo>
                    <a:pt x="48" y="158"/>
                  </a:lnTo>
                  <a:lnTo>
                    <a:pt x="52" y="160"/>
                  </a:lnTo>
                  <a:lnTo>
                    <a:pt x="52" y="162"/>
                  </a:lnTo>
                  <a:lnTo>
                    <a:pt x="50" y="164"/>
                  </a:lnTo>
                  <a:lnTo>
                    <a:pt x="60" y="164"/>
                  </a:lnTo>
                  <a:lnTo>
                    <a:pt x="64" y="168"/>
                  </a:lnTo>
                  <a:lnTo>
                    <a:pt x="66" y="166"/>
                  </a:lnTo>
                  <a:lnTo>
                    <a:pt x="68" y="166"/>
                  </a:lnTo>
                  <a:lnTo>
                    <a:pt x="72" y="170"/>
                  </a:lnTo>
                  <a:lnTo>
                    <a:pt x="78" y="170"/>
                  </a:lnTo>
                  <a:lnTo>
                    <a:pt x="78" y="172"/>
                  </a:lnTo>
                  <a:lnTo>
                    <a:pt x="84" y="172"/>
                  </a:lnTo>
                  <a:lnTo>
                    <a:pt x="84" y="168"/>
                  </a:lnTo>
                  <a:lnTo>
                    <a:pt x="86" y="166"/>
                  </a:lnTo>
                  <a:lnTo>
                    <a:pt x="90" y="166"/>
                  </a:lnTo>
                  <a:lnTo>
                    <a:pt x="92" y="168"/>
                  </a:lnTo>
                  <a:lnTo>
                    <a:pt x="92" y="170"/>
                  </a:lnTo>
                  <a:lnTo>
                    <a:pt x="96" y="170"/>
                  </a:lnTo>
                  <a:lnTo>
                    <a:pt x="96" y="172"/>
                  </a:lnTo>
                  <a:lnTo>
                    <a:pt x="104" y="172"/>
                  </a:lnTo>
                  <a:lnTo>
                    <a:pt x="104" y="174"/>
                  </a:lnTo>
                  <a:lnTo>
                    <a:pt x="104" y="176"/>
                  </a:lnTo>
                  <a:lnTo>
                    <a:pt x="112" y="176"/>
                  </a:lnTo>
                  <a:lnTo>
                    <a:pt x="112" y="178"/>
                  </a:lnTo>
                  <a:lnTo>
                    <a:pt x="118" y="178"/>
                  </a:lnTo>
                  <a:lnTo>
                    <a:pt x="118" y="176"/>
                  </a:lnTo>
                  <a:lnTo>
                    <a:pt x="118" y="174"/>
                  </a:lnTo>
                  <a:lnTo>
                    <a:pt x="122" y="174"/>
                  </a:lnTo>
                  <a:lnTo>
                    <a:pt x="122" y="170"/>
                  </a:lnTo>
                  <a:lnTo>
                    <a:pt x="126" y="164"/>
                  </a:lnTo>
                  <a:lnTo>
                    <a:pt x="130" y="160"/>
                  </a:lnTo>
                  <a:lnTo>
                    <a:pt x="132" y="158"/>
                  </a:lnTo>
                  <a:lnTo>
                    <a:pt x="134" y="156"/>
                  </a:lnTo>
                  <a:lnTo>
                    <a:pt x="138" y="154"/>
                  </a:lnTo>
                  <a:lnTo>
                    <a:pt x="140" y="152"/>
                  </a:lnTo>
                  <a:lnTo>
                    <a:pt x="144" y="152"/>
                  </a:lnTo>
                  <a:lnTo>
                    <a:pt x="146" y="154"/>
                  </a:lnTo>
                  <a:lnTo>
                    <a:pt x="150" y="154"/>
                  </a:lnTo>
                  <a:lnTo>
                    <a:pt x="152" y="156"/>
                  </a:lnTo>
                  <a:lnTo>
                    <a:pt x="162" y="156"/>
                  </a:lnTo>
                  <a:lnTo>
                    <a:pt x="166" y="160"/>
                  </a:lnTo>
                  <a:lnTo>
                    <a:pt x="166" y="162"/>
                  </a:lnTo>
                  <a:lnTo>
                    <a:pt x="170" y="162"/>
                  </a:lnTo>
                  <a:lnTo>
                    <a:pt x="172" y="164"/>
                  </a:lnTo>
                  <a:lnTo>
                    <a:pt x="178" y="164"/>
                  </a:lnTo>
                  <a:lnTo>
                    <a:pt x="182" y="162"/>
                  </a:lnTo>
                  <a:lnTo>
                    <a:pt x="184" y="160"/>
                  </a:lnTo>
                  <a:lnTo>
                    <a:pt x="186" y="154"/>
                  </a:lnTo>
                  <a:lnTo>
                    <a:pt x="192" y="150"/>
                  </a:lnTo>
                  <a:lnTo>
                    <a:pt x="196" y="150"/>
                  </a:lnTo>
                  <a:lnTo>
                    <a:pt x="196" y="148"/>
                  </a:lnTo>
                  <a:lnTo>
                    <a:pt x="200" y="144"/>
                  </a:lnTo>
                  <a:lnTo>
                    <a:pt x="200" y="142"/>
                  </a:lnTo>
                  <a:lnTo>
                    <a:pt x="198" y="140"/>
                  </a:lnTo>
                  <a:lnTo>
                    <a:pt x="192" y="140"/>
                  </a:lnTo>
                  <a:lnTo>
                    <a:pt x="188" y="138"/>
                  </a:lnTo>
                  <a:lnTo>
                    <a:pt x="186" y="136"/>
                  </a:lnTo>
                  <a:lnTo>
                    <a:pt x="186" y="134"/>
                  </a:lnTo>
                  <a:lnTo>
                    <a:pt x="188" y="132"/>
                  </a:lnTo>
                  <a:lnTo>
                    <a:pt x="190" y="130"/>
                  </a:lnTo>
                  <a:lnTo>
                    <a:pt x="190" y="126"/>
                  </a:lnTo>
                  <a:lnTo>
                    <a:pt x="188" y="126"/>
                  </a:lnTo>
                  <a:lnTo>
                    <a:pt x="184" y="126"/>
                  </a:lnTo>
                  <a:lnTo>
                    <a:pt x="182" y="120"/>
                  </a:lnTo>
                  <a:lnTo>
                    <a:pt x="188" y="120"/>
                  </a:lnTo>
                  <a:lnTo>
                    <a:pt x="192" y="116"/>
                  </a:lnTo>
                  <a:lnTo>
                    <a:pt x="192" y="114"/>
                  </a:lnTo>
                  <a:lnTo>
                    <a:pt x="186" y="108"/>
                  </a:lnTo>
                  <a:lnTo>
                    <a:pt x="188" y="106"/>
                  </a:lnTo>
                  <a:lnTo>
                    <a:pt x="190" y="106"/>
                  </a:lnTo>
                  <a:lnTo>
                    <a:pt x="190" y="104"/>
                  </a:lnTo>
                  <a:lnTo>
                    <a:pt x="186" y="100"/>
                  </a:lnTo>
                  <a:lnTo>
                    <a:pt x="188" y="94"/>
                  </a:lnTo>
                  <a:lnTo>
                    <a:pt x="186" y="94"/>
                  </a:lnTo>
                  <a:lnTo>
                    <a:pt x="182" y="94"/>
                  </a:lnTo>
                  <a:lnTo>
                    <a:pt x="176" y="100"/>
                  </a:lnTo>
                  <a:lnTo>
                    <a:pt x="174" y="100"/>
                  </a:lnTo>
                  <a:lnTo>
                    <a:pt x="174" y="98"/>
                  </a:lnTo>
                  <a:lnTo>
                    <a:pt x="176" y="96"/>
                  </a:lnTo>
                  <a:lnTo>
                    <a:pt x="174" y="94"/>
                  </a:lnTo>
                  <a:lnTo>
                    <a:pt x="178" y="92"/>
                  </a:lnTo>
                  <a:lnTo>
                    <a:pt x="178" y="88"/>
                  </a:lnTo>
                  <a:lnTo>
                    <a:pt x="182" y="86"/>
                  </a:lnTo>
                  <a:lnTo>
                    <a:pt x="182" y="82"/>
                  </a:lnTo>
                  <a:lnTo>
                    <a:pt x="186" y="82"/>
                  </a:lnTo>
                  <a:lnTo>
                    <a:pt x="188" y="80"/>
                  </a:lnTo>
                  <a:lnTo>
                    <a:pt x="190" y="78"/>
                  </a:lnTo>
                  <a:lnTo>
                    <a:pt x="192" y="76"/>
                  </a:lnTo>
                  <a:lnTo>
                    <a:pt x="192" y="74"/>
                  </a:lnTo>
                  <a:lnTo>
                    <a:pt x="198" y="76"/>
                  </a:lnTo>
                  <a:lnTo>
                    <a:pt x="198" y="72"/>
                  </a:lnTo>
                  <a:lnTo>
                    <a:pt x="198" y="60"/>
                  </a:lnTo>
                  <a:lnTo>
                    <a:pt x="200" y="58"/>
                  </a:lnTo>
                  <a:lnTo>
                    <a:pt x="202" y="56"/>
                  </a:lnTo>
                  <a:lnTo>
                    <a:pt x="204" y="54"/>
                  </a:lnTo>
                  <a:lnTo>
                    <a:pt x="204" y="50"/>
                  </a:lnTo>
                  <a:lnTo>
                    <a:pt x="208" y="46"/>
                  </a:lnTo>
                  <a:lnTo>
                    <a:pt x="210" y="42"/>
                  </a:lnTo>
                  <a:lnTo>
                    <a:pt x="204" y="40"/>
                  </a:lnTo>
                  <a:lnTo>
                    <a:pt x="198" y="40"/>
                  </a:lnTo>
                  <a:close/>
                </a:path>
              </a:pathLst>
            </a:custGeom>
            <a:solidFill>
              <a:schemeClr val="accent1"/>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65" name="Finnland" descr="© INSCALE GmbH, 05.05.2010&#10;http://www.presentationload.com/">
              <a:extLst>
                <a:ext uri="{FF2B5EF4-FFF2-40B4-BE49-F238E27FC236}">
                  <a16:creationId xmlns:a16="http://schemas.microsoft.com/office/drawing/2014/main" id="{47744CAB-ED1B-44F4-A46F-18DE14C930A0}"/>
                </a:ext>
              </a:extLst>
            </p:cNvPr>
            <p:cNvSpPr>
              <a:spLocks/>
            </p:cNvSpPr>
            <p:nvPr/>
          </p:nvSpPr>
          <p:spPr bwMode="gray">
            <a:xfrm>
              <a:off x="4632694" y="2071509"/>
              <a:ext cx="250884" cy="285380"/>
            </a:xfrm>
            <a:custGeom>
              <a:avLst/>
              <a:gdLst>
                <a:gd name="T0" fmla="*/ 2147483647 w 630"/>
                <a:gd name="T1" fmla="*/ 2147483647 h 714"/>
                <a:gd name="T2" fmla="*/ 2147483647 w 630"/>
                <a:gd name="T3" fmla="*/ 2147483647 h 714"/>
                <a:gd name="T4" fmla="*/ 2147483647 w 630"/>
                <a:gd name="T5" fmla="*/ 2147483647 h 714"/>
                <a:gd name="T6" fmla="*/ 2147483647 w 630"/>
                <a:gd name="T7" fmla="*/ 2147483647 h 714"/>
                <a:gd name="T8" fmla="*/ 2147483647 w 630"/>
                <a:gd name="T9" fmla="*/ 2147483647 h 714"/>
                <a:gd name="T10" fmla="*/ 2147483647 w 630"/>
                <a:gd name="T11" fmla="*/ 2147483647 h 714"/>
                <a:gd name="T12" fmla="*/ 2147483647 w 630"/>
                <a:gd name="T13" fmla="*/ 2147483647 h 714"/>
                <a:gd name="T14" fmla="*/ 2147483647 w 630"/>
                <a:gd name="T15" fmla="*/ 2147483647 h 714"/>
                <a:gd name="T16" fmla="*/ 2147483647 w 630"/>
                <a:gd name="T17" fmla="*/ 2147483647 h 714"/>
                <a:gd name="T18" fmla="*/ 2147483647 w 630"/>
                <a:gd name="T19" fmla="*/ 2147483647 h 714"/>
                <a:gd name="T20" fmla="*/ 2147483647 w 630"/>
                <a:gd name="T21" fmla="*/ 2147483647 h 714"/>
                <a:gd name="T22" fmla="*/ 2147483647 w 630"/>
                <a:gd name="T23" fmla="*/ 2147483647 h 714"/>
                <a:gd name="T24" fmla="*/ 2147483647 w 630"/>
                <a:gd name="T25" fmla="*/ 2147483647 h 714"/>
                <a:gd name="T26" fmla="*/ 2147483647 w 630"/>
                <a:gd name="T27" fmla="*/ 2147483647 h 714"/>
                <a:gd name="T28" fmla="*/ 2147483647 w 630"/>
                <a:gd name="T29" fmla="*/ 2147483647 h 714"/>
                <a:gd name="T30" fmla="*/ 2147483647 w 630"/>
                <a:gd name="T31" fmla="*/ 2147483647 h 714"/>
                <a:gd name="T32" fmla="*/ 2147483647 w 630"/>
                <a:gd name="T33" fmla="*/ 2147483647 h 714"/>
                <a:gd name="T34" fmla="*/ 2147483647 w 630"/>
                <a:gd name="T35" fmla="*/ 2147483647 h 714"/>
                <a:gd name="T36" fmla="*/ 2147483647 w 630"/>
                <a:gd name="T37" fmla="*/ 2147483647 h 714"/>
                <a:gd name="T38" fmla="*/ 2147483647 w 630"/>
                <a:gd name="T39" fmla="*/ 2147483647 h 714"/>
                <a:gd name="T40" fmla="*/ 2147483647 w 630"/>
                <a:gd name="T41" fmla="*/ 2147483647 h 714"/>
                <a:gd name="T42" fmla="*/ 2147483647 w 630"/>
                <a:gd name="T43" fmla="*/ 2147483647 h 714"/>
                <a:gd name="T44" fmla="*/ 2147483647 w 630"/>
                <a:gd name="T45" fmla="*/ 2147483647 h 714"/>
                <a:gd name="T46" fmla="*/ 2147483647 w 630"/>
                <a:gd name="T47" fmla="*/ 2147483647 h 714"/>
                <a:gd name="T48" fmla="*/ 2147483647 w 630"/>
                <a:gd name="T49" fmla="*/ 2147483647 h 714"/>
                <a:gd name="T50" fmla="*/ 2147483647 w 630"/>
                <a:gd name="T51" fmla="*/ 2147483647 h 714"/>
                <a:gd name="T52" fmla="*/ 2147483647 w 630"/>
                <a:gd name="T53" fmla="*/ 2147483647 h 714"/>
                <a:gd name="T54" fmla="*/ 2147483647 w 630"/>
                <a:gd name="T55" fmla="*/ 2147483647 h 714"/>
                <a:gd name="T56" fmla="*/ 2147483647 w 630"/>
                <a:gd name="T57" fmla="*/ 2147483647 h 714"/>
                <a:gd name="T58" fmla="*/ 2147483647 w 630"/>
                <a:gd name="T59" fmla="*/ 2147483647 h 714"/>
                <a:gd name="T60" fmla="*/ 2147483647 w 630"/>
                <a:gd name="T61" fmla="*/ 2147483647 h 714"/>
                <a:gd name="T62" fmla="*/ 2147483647 w 630"/>
                <a:gd name="T63" fmla="*/ 2147483647 h 714"/>
                <a:gd name="T64" fmla="*/ 2147483647 w 630"/>
                <a:gd name="T65" fmla="*/ 2147483647 h 714"/>
                <a:gd name="T66" fmla="*/ 2147483647 w 630"/>
                <a:gd name="T67" fmla="*/ 2147483647 h 714"/>
                <a:gd name="T68" fmla="*/ 2147483647 w 630"/>
                <a:gd name="T69" fmla="*/ 2147483647 h 714"/>
                <a:gd name="T70" fmla="*/ 2147483647 w 630"/>
                <a:gd name="T71" fmla="*/ 2147483647 h 714"/>
                <a:gd name="T72" fmla="*/ 2147483647 w 630"/>
                <a:gd name="T73" fmla="*/ 2147483647 h 714"/>
                <a:gd name="T74" fmla="*/ 2147483647 w 630"/>
                <a:gd name="T75" fmla="*/ 2147483647 h 714"/>
                <a:gd name="T76" fmla="*/ 2147483647 w 630"/>
                <a:gd name="T77" fmla="*/ 2147483647 h 714"/>
                <a:gd name="T78" fmla="*/ 2147483647 w 630"/>
                <a:gd name="T79" fmla="*/ 2147483647 h 714"/>
                <a:gd name="T80" fmla="*/ 2147483647 w 630"/>
                <a:gd name="T81" fmla="*/ 2147483647 h 714"/>
                <a:gd name="T82" fmla="*/ 2147483647 w 630"/>
                <a:gd name="T83" fmla="*/ 2147483647 h 714"/>
                <a:gd name="T84" fmla="*/ 2147483647 w 630"/>
                <a:gd name="T85" fmla="*/ 2147483647 h 714"/>
                <a:gd name="T86" fmla="*/ 2147483647 w 630"/>
                <a:gd name="T87" fmla="*/ 2147483647 h 714"/>
                <a:gd name="T88" fmla="*/ 2147483647 w 630"/>
                <a:gd name="T89" fmla="*/ 2147483647 h 714"/>
                <a:gd name="T90" fmla="*/ 2147483647 w 630"/>
                <a:gd name="T91" fmla="*/ 2147483647 h 714"/>
                <a:gd name="T92" fmla="*/ 2147483647 w 630"/>
                <a:gd name="T93" fmla="*/ 2147483647 h 714"/>
                <a:gd name="T94" fmla="*/ 2147483647 w 630"/>
                <a:gd name="T95" fmla="*/ 2147483647 h 714"/>
                <a:gd name="T96" fmla="*/ 2147483647 w 630"/>
                <a:gd name="T97" fmla="*/ 2147483647 h 714"/>
                <a:gd name="T98" fmla="*/ 2147483647 w 630"/>
                <a:gd name="T99" fmla="*/ 2147483647 h 714"/>
                <a:gd name="T100" fmla="*/ 2147483647 w 630"/>
                <a:gd name="T101" fmla="*/ 2147483647 h 714"/>
                <a:gd name="T102" fmla="*/ 2147483647 w 630"/>
                <a:gd name="T103" fmla="*/ 2147483647 h 714"/>
                <a:gd name="T104" fmla="*/ 2147483647 w 630"/>
                <a:gd name="T105" fmla="*/ 2147483647 h 714"/>
                <a:gd name="T106" fmla="*/ 2147483647 w 630"/>
                <a:gd name="T107" fmla="*/ 0 h 714"/>
                <a:gd name="T108" fmla="*/ 2147483647 w 630"/>
                <a:gd name="T109" fmla="*/ 2147483647 h 714"/>
                <a:gd name="T110" fmla="*/ 2147483647 w 630"/>
                <a:gd name="T111" fmla="*/ 2147483647 h 714"/>
                <a:gd name="T112" fmla="*/ 2147483647 w 630"/>
                <a:gd name="T113" fmla="*/ 2147483647 h 714"/>
                <a:gd name="T114" fmla="*/ 2147483647 w 630"/>
                <a:gd name="T115" fmla="*/ 2147483647 h 714"/>
                <a:gd name="T116" fmla="*/ 2147483647 w 630"/>
                <a:gd name="T117" fmla="*/ 2147483647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714"/>
                <a:gd name="T179" fmla="*/ 630 w 630"/>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714">
                  <a:moveTo>
                    <a:pt x="162" y="84"/>
                  </a:moveTo>
                  <a:lnTo>
                    <a:pt x="156" y="90"/>
                  </a:lnTo>
                  <a:lnTo>
                    <a:pt x="144" y="96"/>
                  </a:lnTo>
                  <a:lnTo>
                    <a:pt x="132" y="96"/>
                  </a:lnTo>
                  <a:lnTo>
                    <a:pt x="126" y="90"/>
                  </a:lnTo>
                  <a:lnTo>
                    <a:pt x="108" y="90"/>
                  </a:lnTo>
                  <a:lnTo>
                    <a:pt x="96" y="84"/>
                  </a:lnTo>
                  <a:lnTo>
                    <a:pt x="84" y="84"/>
                  </a:lnTo>
                  <a:lnTo>
                    <a:pt x="72" y="72"/>
                  </a:lnTo>
                  <a:lnTo>
                    <a:pt x="60" y="66"/>
                  </a:lnTo>
                  <a:lnTo>
                    <a:pt x="54" y="54"/>
                  </a:lnTo>
                  <a:lnTo>
                    <a:pt x="48" y="48"/>
                  </a:lnTo>
                  <a:lnTo>
                    <a:pt x="30" y="48"/>
                  </a:lnTo>
                  <a:lnTo>
                    <a:pt x="24" y="54"/>
                  </a:lnTo>
                  <a:lnTo>
                    <a:pt x="24" y="66"/>
                  </a:lnTo>
                  <a:lnTo>
                    <a:pt x="6" y="60"/>
                  </a:lnTo>
                  <a:lnTo>
                    <a:pt x="0" y="66"/>
                  </a:lnTo>
                  <a:lnTo>
                    <a:pt x="6" y="72"/>
                  </a:lnTo>
                  <a:lnTo>
                    <a:pt x="18" y="78"/>
                  </a:lnTo>
                  <a:lnTo>
                    <a:pt x="24" y="84"/>
                  </a:lnTo>
                  <a:lnTo>
                    <a:pt x="36" y="90"/>
                  </a:lnTo>
                  <a:lnTo>
                    <a:pt x="48" y="90"/>
                  </a:lnTo>
                  <a:lnTo>
                    <a:pt x="54" y="96"/>
                  </a:lnTo>
                  <a:lnTo>
                    <a:pt x="60" y="96"/>
                  </a:lnTo>
                  <a:lnTo>
                    <a:pt x="72" y="108"/>
                  </a:lnTo>
                  <a:lnTo>
                    <a:pt x="108" y="108"/>
                  </a:lnTo>
                  <a:lnTo>
                    <a:pt x="138" y="126"/>
                  </a:lnTo>
                  <a:lnTo>
                    <a:pt x="150" y="126"/>
                  </a:lnTo>
                  <a:lnTo>
                    <a:pt x="156" y="132"/>
                  </a:lnTo>
                  <a:lnTo>
                    <a:pt x="162" y="132"/>
                  </a:lnTo>
                  <a:lnTo>
                    <a:pt x="162" y="156"/>
                  </a:lnTo>
                  <a:lnTo>
                    <a:pt x="156" y="162"/>
                  </a:lnTo>
                  <a:lnTo>
                    <a:pt x="156" y="168"/>
                  </a:lnTo>
                  <a:lnTo>
                    <a:pt x="168" y="174"/>
                  </a:lnTo>
                  <a:lnTo>
                    <a:pt x="162" y="198"/>
                  </a:lnTo>
                  <a:lnTo>
                    <a:pt x="186" y="210"/>
                  </a:lnTo>
                  <a:lnTo>
                    <a:pt x="180" y="222"/>
                  </a:lnTo>
                  <a:lnTo>
                    <a:pt x="174" y="228"/>
                  </a:lnTo>
                  <a:lnTo>
                    <a:pt x="168" y="240"/>
                  </a:lnTo>
                  <a:lnTo>
                    <a:pt x="168" y="246"/>
                  </a:lnTo>
                  <a:lnTo>
                    <a:pt x="180" y="258"/>
                  </a:lnTo>
                  <a:lnTo>
                    <a:pt x="192" y="264"/>
                  </a:lnTo>
                  <a:lnTo>
                    <a:pt x="198" y="270"/>
                  </a:lnTo>
                  <a:lnTo>
                    <a:pt x="210" y="306"/>
                  </a:lnTo>
                  <a:lnTo>
                    <a:pt x="222" y="294"/>
                  </a:lnTo>
                  <a:lnTo>
                    <a:pt x="228" y="294"/>
                  </a:lnTo>
                  <a:lnTo>
                    <a:pt x="234" y="300"/>
                  </a:lnTo>
                  <a:lnTo>
                    <a:pt x="246" y="300"/>
                  </a:lnTo>
                  <a:lnTo>
                    <a:pt x="270" y="324"/>
                  </a:lnTo>
                  <a:lnTo>
                    <a:pt x="270" y="336"/>
                  </a:lnTo>
                  <a:lnTo>
                    <a:pt x="276" y="348"/>
                  </a:lnTo>
                  <a:lnTo>
                    <a:pt x="276" y="354"/>
                  </a:lnTo>
                  <a:lnTo>
                    <a:pt x="264" y="348"/>
                  </a:lnTo>
                  <a:lnTo>
                    <a:pt x="246" y="348"/>
                  </a:lnTo>
                  <a:lnTo>
                    <a:pt x="240" y="354"/>
                  </a:lnTo>
                  <a:lnTo>
                    <a:pt x="234" y="366"/>
                  </a:lnTo>
                  <a:lnTo>
                    <a:pt x="228" y="372"/>
                  </a:lnTo>
                  <a:lnTo>
                    <a:pt x="222" y="384"/>
                  </a:lnTo>
                  <a:lnTo>
                    <a:pt x="216" y="390"/>
                  </a:lnTo>
                  <a:lnTo>
                    <a:pt x="180" y="420"/>
                  </a:lnTo>
                  <a:lnTo>
                    <a:pt x="144" y="432"/>
                  </a:lnTo>
                  <a:lnTo>
                    <a:pt x="138" y="438"/>
                  </a:lnTo>
                  <a:lnTo>
                    <a:pt x="126" y="444"/>
                  </a:lnTo>
                  <a:lnTo>
                    <a:pt x="120" y="456"/>
                  </a:lnTo>
                  <a:lnTo>
                    <a:pt x="120" y="462"/>
                  </a:lnTo>
                  <a:lnTo>
                    <a:pt x="108" y="474"/>
                  </a:lnTo>
                  <a:lnTo>
                    <a:pt x="90" y="474"/>
                  </a:lnTo>
                  <a:lnTo>
                    <a:pt x="66" y="504"/>
                  </a:lnTo>
                  <a:lnTo>
                    <a:pt x="66" y="534"/>
                  </a:lnTo>
                  <a:lnTo>
                    <a:pt x="72" y="540"/>
                  </a:lnTo>
                  <a:lnTo>
                    <a:pt x="72" y="570"/>
                  </a:lnTo>
                  <a:lnTo>
                    <a:pt x="96" y="588"/>
                  </a:lnTo>
                  <a:lnTo>
                    <a:pt x="96" y="594"/>
                  </a:lnTo>
                  <a:lnTo>
                    <a:pt x="90" y="600"/>
                  </a:lnTo>
                  <a:lnTo>
                    <a:pt x="90" y="612"/>
                  </a:lnTo>
                  <a:lnTo>
                    <a:pt x="84" y="630"/>
                  </a:lnTo>
                  <a:lnTo>
                    <a:pt x="84" y="648"/>
                  </a:lnTo>
                  <a:lnTo>
                    <a:pt x="90" y="654"/>
                  </a:lnTo>
                  <a:lnTo>
                    <a:pt x="96" y="666"/>
                  </a:lnTo>
                  <a:lnTo>
                    <a:pt x="108" y="678"/>
                  </a:lnTo>
                  <a:lnTo>
                    <a:pt x="132" y="690"/>
                  </a:lnTo>
                  <a:lnTo>
                    <a:pt x="174" y="690"/>
                  </a:lnTo>
                  <a:lnTo>
                    <a:pt x="174" y="696"/>
                  </a:lnTo>
                  <a:lnTo>
                    <a:pt x="168" y="702"/>
                  </a:lnTo>
                  <a:lnTo>
                    <a:pt x="168" y="708"/>
                  </a:lnTo>
                  <a:lnTo>
                    <a:pt x="174" y="714"/>
                  </a:lnTo>
                  <a:lnTo>
                    <a:pt x="240" y="714"/>
                  </a:lnTo>
                  <a:lnTo>
                    <a:pt x="252" y="708"/>
                  </a:lnTo>
                  <a:lnTo>
                    <a:pt x="270" y="708"/>
                  </a:lnTo>
                  <a:lnTo>
                    <a:pt x="300" y="696"/>
                  </a:lnTo>
                  <a:lnTo>
                    <a:pt x="336" y="696"/>
                  </a:lnTo>
                  <a:lnTo>
                    <a:pt x="384" y="672"/>
                  </a:lnTo>
                  <a:lnTo>
                    <a:pt x="462" y="672"/>
                  </a:lnTo>
                  <a:lnTo>
                    <a:pt x="456" y="660"/>
                  </a:lnTo>
                  <a:lnTo>
                    <a:pt x="516" y="630"/>
                  </a:lnTo>
                  <a:lnTo>
                    <a:pt x="576" y="570"/>
                  </a:lnTo>
                  <a:lnTo>
                    <a:pt x="582" y="570"/>
                  </a:lnTo>
                  <a:lnTo>
                    <a:pt x="618" y="534"/>
                  </a:lnTo>
                  <a:lnTo>
                    <a:pt x="624" y="522"/>
                  </a:lnTo>
                  <a:lnTo>
                    <a:pt x="630" y="516"/>
                  </a:lnTo>
                  <a:lnTo>
                    <a:pt x="630" y="504"/>
                  </a:lnTo>
                  <a:lnTo>
                    <a:pt x="624" y="492"/>
                  </a:lnTo>
                  <a:lnTo>
                    <a:pt x="618" y="486"/>
                  </a:lnTo>
                  <a:lnTo>
                    <a:pt x="612" y="474"/>
                  </a:lnTo>
                  <a:lnTo>
                    <a:pt x="540" y="438"/>
                  </a:lnTo>
                  <a:lnTo>
                    <a:pt x="546" y="438"/>
                  </a:lnTo>
                  <a:lnTo>
                    <a:pt x="570" y="414"/>
                  </a:lnTo>
                  <a:lnTo>
                    <a:pt x="570" y="408"/>
                  </a:lnTo>
                  <a:lnTo>
                    <a:pt x="564" y="402"/>
                  </a:lnTo>
                  <a:lnTo>
                    <a:pt x="552" y="396"/>
                  </a:lnTo>
                  <a:lnTo>
                    <a:pt x="528" y="390"/>
                  </a:lnTo>
                  <a:lnTo>
                    <a:pt x="534" y="378"/>
                  </a:lnTo>
                  <a:lnTo>
                    <a:pt x="540" y="372"/>
                  </a:lnTo>
                  <a:lnTo>
                    <a:pt x="540" y="366"/>
                  </a:lnTo>
                  <a:lnTo>
                    <a:pt x="534" y="360"/>
                  </a:lnTo>
                  <a:lnTo>
                    <a:pt x="528" y="360"/>
                  </a:lnTo>
                  <a:lnTo>
                    <a:pt x="522" y="354"/>
                  </a:lnTo>
                  <a:lnTo>
                    <a:pt x="510" y="354"/>
                  </a:lnTo>
                  <a:lnTo>
                    <a:pt x="510" y="342"/>
                  </a:lnTo>
                  <a:lnTo>
                    <a:pt x="498" y="330"/>
                  </a:lnTo>
                  <a:lnTo>
                    <a:pt x="504" y="300"/>
                  </a:lnTo>
                  <a:lnTo>
                    <a:pt x="510" y="300"/>
                  </a:lnTo>
                  <a:lnTo>
                    <a:pt x="522" y="306"/>
                  </a:lnTo>
                  <a:lnTo>
                    <a:pt x="534" y="306"/>
                  </a:lnTo>
                  <a:lnTo>
                    <a:pt x="540" y="300"/>
                  </a:lnTo>
                  <a:lnTo>
                    <a:pt x="540" y="294"/>
                  </a:lnTo>
                  <a:lnTo>
                    <a:pt x="534" y="288"/>
                  </a:lnTo>
                  <a:lnTo>
                    <a:pt x="522" y="282"/>
                  </a:lnTo>
                  <a:lnTo>
                    <a:pt x="498" y="258"/>
                  </a:lnTo>
                  <a:lnTo>
                    <a:pt x="486" y="252"/>
                  </a:lnTo>
                  <a:lnTo>
                    <a:pt x="480" y="240"/>
                  </a:lnTo>
                  <a:lnTo>
                    <a:pt x="468" y="234"/>
                  </a:lnTo>
                  <a:lnTo>
                    <a:pt x="450" y="216"/>
                  </a:lnTo>
                  <a:lnTo>
                    <a:pt x="456" y="210"/>
                  </a:lnTo>
                  <a:lnTo>
                    <a:pt x="468" y="204"/>
                  </a:lnTo>
                  <a:lnTo>
                    <a:pt x="474" y="204"/>
                  </a:lnTo>
                  <a:lnTo>
                    <a:pt x="474" y="192"/>
                  </a:lnTo>
                  <a:lnTo>
                    <a:pt x="480" y="192"/>
                  </a:lnTo>
                  <a:lnTo>
                    <a:pt x="492" y="186"/>
                  </a:lnTo>
                  <a:lnTo>
                    <a:pt x="498" y="186"/>
                  </a:lnTo>
                  <a:lnTo>
                    <a:pt x="498" y="174"/>
                  </a:lnTo>
                  <a:lnTo>
                    <a:pt x="450" y="126"/>
                  </a:lnTo>
                  <a:lnTo>
                    <a:pt x="432" y="126"/>
                  </a:lnTo>
                  <a:lnTo>
                    <a:pt x="426" y="132"/>
                  </a:lnTo>
                  <a:lnTo>
                    <a:pt x="420" y="132"/>
                  </a:lnTo>
                  <a:lnTo>
                    <a:pt x="414" y="126"/>
                  </a:lnTo>
                  <a:lnTo>
                    <a:pt x="414" y="120"/>
                  </a:lnTo>
                  <a:lnTo>
                    <a:pt x="408" y="108"/>
                  </a:lnTo>
                  <a:lnTo>
                    <a:pt x="408" y="96"/>
                  </a:lnTo>
                  <a:lnTo>
                    <a:pt x="426" y="96"/>
                  </a:lnTo>
                  <a:lnTo>
                    <a:pt x="426" y="90"/>
                  </a:lnTo>
                  <a:lnTo>
                    <a:pt x="414" y="78"/>
                  </a:lnTo>
                  <a:lnTo>
                    <a:pt x="420" y="54"/>
                  </a:lnTo>
                  <a:lnTo>
                    <a:pt x="426" y="54"/>
                  </a:lnTo>
                  <a:lnTo>
                    <a:pt x="426" y="60"/>
                  </a:lnTo>
                  <a:lnTo>
                    <a:pt x="432" y="60"/>
                  </a:lnTo>
                  <a:lnTo>
                    <a:pt x="432" y="42"/>
                  </a:lnTo>
                  <a:lnTo>
                    <a:pt x="426" y="30"/>
                  </a:lnTo>
                  <a:lnTo>
                    <a:pt x="414" y="18"/>
                  </a:lnTo>
                  <a:lnTo>
                    <a:pt x="408" y="18"/>
                  </a:lnTo>
                  <a:lnTo>
                    <a:pt x="372" y="12"/>
                  </a:lnTo>
                  <a:lnTo>
                    <a:pt x="372" y="0"/>
                  </a:lnTo>
                  <a:lnTo>
                    <a:pt x="336" y="0"/>
                  </a:lnTo>
                  <a:lnTo>
                    <a:pt x="324" y="6"/>
                  </a:lnTo>
                  <a:lnTo>
                    <a:pt x="294" y="6"/>
                  </a:lnTo>
                  <a:lnTo>
                    <a:pt x="282" y="12"/>
                  </a:lnTo>
                  <a:lnTo>
                    <a:pt x="276" y="12"/>
                  </a:lnTo>
                  <a:lnTo>
                    <a:pt x="264" y="18"/>
                  </a:lnTo>
                  <a:lnTo>
                    <a:pt x="264" y="30"/>
                  </a:lnTo>
                  <a:lnTo>
                    <a:pt x="258" y="36"/>
                  </a:lnTo>
                  <a:lnTo>
                    <a:pt x="258" y="72"/>
                  </a:lnTo>
                  <a:lnTo>
                    <a:pt x="234" y="72"/>
                  </a:lnTo>
                  <a:lnTo>
                    <a:pt x="234" y="78"/>
                  </a:lnTo>
                  <a:lnTo>
                    <a:pt x="228" y="84"/>
                  </a:lnTo>
                  <a:lnTo>
                    <a:pt x="228" y="96"/>
                  </a:lnTo>
                  <a:lnTo>
                    <a:pt x="210" y="96"/>
                  </a:lnTo>
                  <a:lnTo>
                    <a:pt x="204" y="90"/>
                  </a:lnTo>
                  <a:lnTo>
                    <a:pt x="192" y="84"/>
                  </a:lnTo>
                  <a:lnTo>
                    <a:pt x="162" y="84"/>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66" name="Estland" descr="© INSCALE GmbH, 05.05.2010&#10;http://www.presentationload.com/">
              <a:extLst>
                <a:ext uri="{FF2B5EF4-FFF2-40B4-BE49-F238E27FC236}">
                  <a16:creationId xmlns:a16="http://schemas.microsoft.com/office/drawing/2014/main" id="{17C735F9-C876-4322-9C4F-AC7606D7C793}"/>
                </a:ext>
              </a:extLst>
            </p:cNvPr>
            <p:cNvSpPr>
              <a:spLocks noEditPoints="1"/>
            </p:cNvSpPr>
            <p:nvPr/>
          </p:nvSpPr>
          <p:spPr bwMode="gray">
            <a:xfrm>
              <a:off x="4682871" y="2366298"/>
              <a:ext cx="137986" cy="61153"/>
            </a:xfrm>
            <a:custGeom>
              <a:avLst/>
              <a:gdLst>
                <a:gd name="T0" fmla="*/ 2147483647 w 348"/>
                <a:gd name="T1" fmla="*/ 2147483647 h 156"/>
                <a:gd name="T2" fmla="*/ 2147483647 w 348"/>
                <a:gd name="T3" fmla="*/ 2147483647 h 156"/>
                <a:gd name="T4" fmla="*/ 2147483647 w 348"/>
                <a:gd name="T5" fmla="*/ 2147483647 h 156"/>
                <a:gd name="T6" fmla="*/ 2147483647 w 348"/>
                <a:gd name="T7" fmla="*/ 2147483647 h 156"/>
                <a:gd name="T8" fmla="*/ 2147483647 w 348"/>
                <a:gd name="T9" fmla="*/ 2147483647 h 156"/>
                <a:gd name="T10" fmla="*/ 2147483647 w 348"/>
                <a:gd name="T11" fmla="*/ 2147483647 h 156"/>
                <a:gd name="T12" fmla="*/ 2147483647 w 348"/>
                <a:gd name="T13" fmla="*/ 2147483647 h 156"/>
                <a:gd name="T14" fmla="*/ 2147483647 w 348"/>
                <a:gd name="T15" fmla="*/ 0 h 156"/>
                <a:gd name="T16" fmla="*/ 2147483647 w 348"/>
                <a:gd name="T17" fmla="*/ 2147483647 h 156"/>
                <a:gd name="T18" fmla="*/ 2147483647 w 348"/>
                <a:gd name="T19" fmla="*/ 2147483647 h 156"/>
                <a:gd name="T20" fmla="*/ 2147483647 w 348"/>
                <a:gd name="T21" fmla="*/ 2147483647 h 156"/>
                <a:gd name="T22" fmla="*/ 2147483647 w 348"/>
                <a:gd name="T23" fmla="*/ 2147483647 h 156"/>
                <a:gd name="T24" fmla="*/ 2147483647 w 348"/>
                <a:gd name="T25" fmla="*/ 2147483647 h 156"/>
                <a:gd name="T26" fmla="*/ 2147483647 w 348"/>
                <a:gd name="T27" fmla="*/ 2147483647 h 156"/>
                <a:gd name="T28" fmla="*/ 2147483647 w 348"/>
                <a:gd name="T29" fmla="*/ 2147483647 h 156"/>
                <a:gd name="T30" fmla="*/ 2147483647 w 348"/>
                <a:gd name="T31" fmla="*/ 2147483647 h 156"/>
                <a:gd name="T32" fmla="*/ 2147483647 w 348"/>
                <a:gd name="T33" fmla="*/ 2147483647 h 156"/>
                <a:gd name="T34" fmla="*/ 2147483647 w 348"/>
                <a:gd name="T35" fmla="*/ 2147483647 h 156"/>
                <a:gd name="T36" fmla="*/ 2147483647 w 348"/>
                <a:gd name="T37" fmla="*/ 2147483647 h 156"/>
                <a:gd name="T38" fmla="*/ 2147483647 w 348"/>
                <a:gd name="T39" fmla="*/ 2147483647 h 156"/>
                <a:gd name="T40" fmla="*/ 2147483647 w 348"/>
                <a:gd name="T41" fmla="*/ 2147483647 h 156"/>
                <a:gd name="T42" fmla="*/ 2147483647 w 348"/>
                <a:gd name="T43" fmla="*/ 2147483647 h 156"/>
                <a:gd name="T44" fmla="*/ 2147483647 w 348"/>
                <a:gd name="T45" fmla="*/ 2147483647 h 156"/>
                <a:gd name="T46" fmla="*/ 2147483647 w 348"/>
                <a:gd name="T47" fmla="*/ 2147483647 h 156"/>
                <a:gd name="T48" fmla="*/ 0 w 348"/>
                <a:gd name="T49" fmla="*/ 2147483647 h 156"/>
                <a:gd name="T50" fmla="*/ 2147483647 w 348"/>
                <a:gd name="T51" fmla="*/ 2147483647 h 156"/>
                <a:gd name="T52" fmla="*/ 2147483647 w 348"/>
                <a:gd name="T53" fmla="*/ 2147483647 h 156"/>
                <a:gd name="T54" fmla="*/ 2147483647 w 348"/>
                <a:gd name="T55" fmla="*/ 2147483647 h 156"/>
                <a:gd name="T56" fmla="*/ 2147483647 w 348"/>
                <a:gd name="T57" fmla="*/ 2147483647 h 156"/>
                <a:gd name="T58" fmla="*/ 2147483647 w 348"/>
                <a:gd name="T59" fmla="*/ 2147483647 h 156"/>
                <a:gd name="T60" fmla="*/ 2147483647 w 348"/>
                <a:gd name="T61" fmla="*/ 2147483647 h 156"/>
                <a:gd name="T62" fmla="*/ 2147483647 w 348"/>
                <a:gd name="T63" fmla="*/ 2147483647 h 156"/>
                <a:gd name="T64" fmla="*/ 2147483647 w 348"/>
                <a:gd name="T65" fmla="*/ 2147483647 h 156"/>
                <a:gd name="T66" fmla="*/ 2147483647 w 348"/>
                <a:gd name="T67" fmla="*/ 2147483647 h 156"/>
                <a:gd name="T68" fmla="*/ 2147483647 w 348"/>
                <a:gd name="T69" fmla="*/ 2147483647 h 156"/>
                <a:gd name="T70" fmla="*/ 2147483647 w 348"/>
                <a:gd name="T71" fmla="*/ 2147483647 h 1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8"/>
                <a:gd name="T109" fmla="*/ 0 h 156"/>
                <a:gd name="T110" fmla="*/ 348 w 348"/>
                <a:gd name="T111" fmla="*/ 156 h 1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8" h="156">
                  <a:moveTo>
                    <a:pt x="336" y="114"/>
                  </a:moveTo>
                  <a:lnTo>
                    <a:pt x="324" y="108"/>
                  </a:lnTo>
                  <a:lnTo>
                    <a:pt x="336" y="84"/>
                  </a:lnTo>
                  <a:lnTo>
                    <a:pt x="318" y="78"/>
                  </a:lnTo>
                  <a:lnTo>
                    <a:pt x="318" y="60"/>
                  </a:lnTo>
                  <a:lnTo>
                    <a:pt x="330" y="48"/>
                  </a:lnTo>
                  <a:lnTo>
                    <a:pt x="336" y="48"/>
                  </a:lnTo>
                  <a:lnTo>
                    <a:pt x="342" y="42"/>
                  </a:lnTo>
                  <a:lnTo>
                    <a:pt x="336" y="30"/>
                  </a:lnTo>
                  <a:lnTo>
                    <a:pt x="342" y="18"/>
                  </a:lnTo>
                  <a:lnTo>
                    <a:pt x="330" y="12"/>
                  </a:lnTo>
                  <a:lnTo>
                    <a:pt x="312" y="12"/>
                  </a:lnTo>
                  <a:lnTo>
                    <a:pt x="294" y="6"/>
                  </a:lnTo>
                  <a:lnTo>
                    <a:pt x="276" y="6"/>
                  </a:lnTo>
                  <a:lnTo>
                    <a:pt x="264" y="0"/>
                  </a:lnTo>
                  <a:lnTo>
                    <a:pt x="204" y="0"/>
                  </a:lnTo>
                  <a:lnTo>
                    <a:pt x="192" y="6"/>
                  </a:lnTo>
                  <a:lnTo>
                    <a:pt x="156" y="6"/>
                  </a:lnTo>
                  <a:lnTo>
                    <a:pt x="150" y="12"/>
                  </a:lnTo>
                  <a:lnTo>
                    <a:pt x="126" y="24"/>
                  </a:lnTo>
                  <a:lnTo>
                    <a:pt x="108" y="30"/>
                  </a:lnTo>
                  <a:lnTo>
                    <a:pt x="96" y="36"/>
                  </a:lnTo>
                  <a:lnTo>
                    <a:pt x="90" y="36"/>
                  </a:lnTo>
                  <a:lnTo>
                    <a:pt x="84" y="42"/>
                  </a:lnTo>
                  <a:lnTo>
                    <a:pt x="84" y="48"/>
                  </a:lnTo>
                  <a:lnTo>
                    <a:pt x="90" y="60"/>
                  </a:lnTo>
                  <a:lnTo>
                    <a:pt x="90" y="72"/>
                  </a:lnTo>
                  <a:lnTo>
                    <a:pt x="96" y="78"/>
                  </a:lnTo>
                  <a:lnTo>
                    <a:pt x="96" y="84"/>
                  </a:lnTo>
                  <a:lnTo>
                    <a:pt x="150" y="90"/>
                  </a:lnTo>
                  <a:lnTo>
                    <a:pt x="138" y="126"/>
                  </a:lnTo>
                  <a:lnTo>
                    <a:pt x="150" y="126"/>
                  </a:lnTo>
                  <a:lnTo>
                    <a:pt x="180" y="114"/>
                  </a:lnTo>
                  <a:lnTo>
                    <a:pt x="210" y="114"/>
                  </a:lnTo>
                  <a:lnTo>
                    <a:pt x="234" y="126"/>
                  </a:lnTo>
                  <a:lnTo>
                    <a:pt x="240" y="132"/>
                  </a:lnTo>
                  <a:lnTo>
                    <a:pt x="252" y="138"/>
                  </a:lnTo>
                  <a:lnTo>
                    <a:pt x="270" y="156"/>
                  </a:lnTo>
                  <a:lnTo>
                    <a:pt x="288" y="156"/>
                  </a:lnTo>
                  <a:lnTo>
                    <a:pt x="294" y="150"/>
                  </a:lnTo>
                  <a:lnTo>
                    <a:pt x="312" y="150"/>
                  </a:lnTo>
                  <a:lnTo>
                    <a:pt x="318" y="156"/>
                  </a:lnTo>
                  <a:lnTo>
                    <a:pt x="330" y="156"/>
                  </a:lnTo>
                  <a:lnTo>
                    <a:pt x="330" y="144"/>
                  </a:lnTo>
                  <a:lnTo>
                    <a:pt x="348" y="132"/>
                  </a:lnTo>
                  <a:lnTo>
                    <a:pt x="336" y="114"/>
                  </a:lnTo>
                  <a:close/>
                  <a:moveTo>
                    <a:pt x="36" y="78"/>
                  </a:moveTo>
                  <a:lnTo>
                    <a:pt x="6" y="78"/>
                  </a:lnTo>
                  <a:lnTo>
                    <a:pt x="0" y="84"/>
                  </a:lnTo>
                  <a:lnTo>
                    <a:pt x="0" y="102"/>
                  </a:lnTo>
                  <a:lnTo>
                    <a:pt x="6" y="108"/>
                  </a:lnTo>
                  <a:lnTo>
                    <a:pt x="18" y="132"/>
                  </a:lnTo>
                  <a:lnTo>
                    <a:pt x="24" y="126"/>
                  </a:lnTo>
                  <a:lnTo>
                    <a:pt x="30" y="114"/>
                  </a:lnTo>
                  <a:lnTo>
                    <a:pt x="42" y="108"/>
                  </a:lnTo>
                  <a:lnTo>
                    <a:pt x="54" y="108"/>
                  </a:lnTo>
                  <a:lnTo>
                    <a:pt x="60" y="102"/>
                  </a:lnTo>
                  <a:lnTo>
                    <a:pt x="72" y="96"/>
                  </a:lnTo>
                  <a:lnTo>
                    <a:pt x="78" y="90"/>
                  </a:lnTo>
                  <a:lnTo>
                    <a:pt x="72" y="72"/>
                  </a:lnTo>
                  <a:lnTo>
                    <a:pt x="36" y="78"/>
                  </a:lnTo>
                  <a:close/>
                  <a:moveTo>
                    <a:pt x="36" y="66"/>
                  </a:moveTo>
                  <a:lnTo>
                    <a:pt x="48" y="66"/>
                  </a:lnTo>
                  <a:lnTo>
                    <a:pt x="54" y="54"/>
                  </a:lnTo>
                  <a:lnTo>
                    <a:pt x="60" y="48"/>
                  </a:lnTo>
                  <a:lnTo>
                    <a:pt x="60" y="42"/>
                  </a:lnTo>
                  <a:lnTo>
                    <a:pt x="54" y="36"/>
                  </a:lnTo>
                  <a:lnTo>
                    <a:pt x="48" y="36"/>
                  </a:lnTo>
                  <a:lnTo>
                    <a:pt x="36" y="42"/>
                  </a:lnTo>
                  <a:lnTo>
                    <a:pt x="30" y="48"/>
                  </a:lnTo>
                  <a:lnTo>
                    <a:pt x="24" y="60"/>
                  </a:lnTo>
                  <a:lnTo>
                    <a:pt x="30" y="66"/>
                  </a:lnTo>
                  <a:lnTo>
                    <a:pt x="36" y="66"/>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67" name="Eritrea" descr="© INSCALE GmbH, 05.05.2010&#10;http://www.presentationload.com/">
              <a:extLst>
                <a:ext uri="{FF2B5EF4-FFF2-40B4-BE49-F238E27FC236}">
                  <a16:creationId xmlns:a16="http://schemas.microsoft.com/office/drawing/2014/main" id="{966D7B21-5AF4-4211-9EDC-5FD984D0A2EE}"/>
                </a:ext>
              </a:extLst>
            </p:cNvPr>
            <p:cNvSpPr>
              <a:spLocks/>
            </p:cNvSpPr>
            <p:nvPr/>
          </p:nvSpPr>
          <p:spPr bwMode="gray">
            <a:xfrm>
              <a:off x="5150142" y="3674029"/>
              <a:ext cx="191299" cy="181891"/>
            </a:xfrm>
            <a:custGeom>
              <a:avLst/>
              <a:gdLst>
                <a:gd name="T0" fmla="*/ 2147483647 w 480"/>
                <a:gd name="T1" fmla="*/ 2147483647 h 456"/>
                <a:gd name="T2" fmla="*/ 2147483647 w 480"/>
                <a:gd name="T3" fmla="*/ 2147483647 h 456"/>
                <a:gd name="T4" fmla="*/ 2147483647 w 480"/>
                <a:gd name="T5" fmla="*/ 2147483647 h 456"/>
                <a:gd name="T6" fmla="*/ 2147483647 w 480"/>
                <a:gd name="T7" fmla="*/ 2147483647 h 456"/>
                <a:gd name="T8" fmla="*/ 2147483647 w 480"/>
                <a:gd name="T9" fmla="*/ 2147483647 h 456"/>
                <a:gd name="T10" fmla="*/ 2147483647 w 480"/>
                <a:gd name="T11" fmla="*/ 2147483647 h 456"/>
                <a:gd name="T12" fmla="*/ 2147483647 w 480"/>
                <a:gd name="T13" fmla="*/ 2147483647 h 456"/>
                <a:gd name="T14" fmla="*/ 2147483647 w 480"/>
                <a:gd name="T15" fmla="*/ 2147483647 h 456"/>
                <a:gd name="T16" fmla="*/ 0 w 480"/>
                <a:gd name="T17" fmla="*/ 2147483647 h 456"/>
                <a:gd name="T18" fmla="*/ 2147483647 w 480"/>
                <a:gd name="T19" fmla="*/ 2147483647 h 456"/>
                <a:gd name="T20" fmla="*/ 2147483647 w 480"/>
                <a:gd name="T21" fmla="*/ 2147483647 h 456"/>
                <a:gd name="T22" fmla="*/ 2147483647 w 480"/>
                <a:gd name="T23" fmla="*/ 2147483647 h 456"/>
                <a:gd name="T24" fmla="*/ 2147483647 w 480"/>
                <a:gd name="T25" fmla="*/ 2147483647 h 456"/>
                <a:gd name="T26" fmla="*/ 2147483647 w 480"/>
                <a:gd name="T27" fmla="*/ 2147483647 h 456"/>
                <a:gd name="T28" fmla="*/ 2147483647 w 480"/>
                <a:gd name="T29" fmla="*/ 2147483647 h 456"/>
                <a:gd name="T30" fmla="*/ 2147483647 w 480"/>
                <a:gd name="T31" fmla="*/ 2147483647 h 456"/>
                <a:gd name="T32" fmla="*/ 2147483647 w 480"/>
                <a:gd name="T33" fmla="*/ 2147483647 h 456"/>
                <a:gd name="T34" fmla="*/ 2147483647 w 480"/>
                <a:gd name="T35" fmla="*/ 2147483647 h 456"/>
                <a:gd name="T36" fmla="*/ 2147483647 w 480"/>
                <a:gd name="T37" fmla="*/ 2147483647 h 456"/>
                <a:gd name="T38" fmla="*/ 2147483647 w 480"/>
                <a:gd name="T39" fmla="*/ 2147483647 h 456"/>
                <a:gd name="T40" fmla="*/ 2147483647 w 480"/>
                <a:gd name="T41" fmla="*/ 2147483647 h 456"/>
                <a:gd name="T42" fmla="*/ 2147483647 w 480"/>
                <a:gd name="T43" fmla="*/ 2147483647 h 456"/>
                <a:gd name="T44" fmla="*/ 2147483647 w 480"/>
                <a:gd name="T45" fmla="*/ 2147483647 h 456"/>
                <a:gd name="T46" fmla="*/ 2147483647 w 480"/>
                <a:gd name="T47" fmla="*/ 2147483647 h 456"/>
                <a:gd name="T48" fmla="*/ 2147483647 w 480"/>
                <a:gd name="T49" fmla="*/ 2147483647 h 456"/>
                <a:gd name="T50" fmla="*/ 2147483647 w 480"/>
                <a:gd name="T51" fmla="*/ 2147483647 h 456"/>
                <a:gd name="T52" fmla="*/ 2147483647 w 480"/>
                <a:gd name="T53" fmla="*/ 2147483647 h 456"/>
                <a:gd name="T54" fmla="*/ 2147483647 w 480"/>
                <a:gd name="T55" fmla="*/ 2147483647 h 456"/>
                <a:gd name="T56" fmla="*/ 2147483647 w 480"/>
                <a:gd name="T57" fmla="*/ 2147483647 h 456"/>
                <a:gd name="T58" fmla="*/ 2147483647 w 480"/>
                <a:gd name="T59" fmla="*/ 2147483647 h 456"/>
                <a:gd name="T60" fmla="*/ 2147483647 w 480"/>
                <a:gd name="T61" fmla="*/ 2147483647 h 456"/>
                <a:gd name="T62" fmla="*/ 2147483647 w 480"/>
                <a:gd name="T63" fmla="*/ 2147483647 h 456"/>
                <a:gd name="T64" fmla="*/ 2147483647 w 480"/>
                <a:gd name="T65" fmla="*/ 2147483647 h 456"/>
                <a:gd name="T66" fmla="*/ 2147483647 w 480"/>
                <a:gd name="T67" fmla="*/ 2147483647 h 456"/>
                <a:gd name="T68" fmla="*/ 2147483647 w 480"/>
                <a:gd name="T69" fmla="*/ 2147483647 h 456"/>
                <a:gd name="T70" fmla="*/ 2147483647 w 480"/>
                <a:gd name="T71" fmla="*/ 2147483647 h 456"/>
                <a:gd name="T72" fmla="*/ 2147483647 w 480"/>
                <a:gd name="T73" fmla="*/ 2147483647 h 456"/>
                <a:gd name="T74" fmla="*/ 2147483647 w 480"/>
                <a:gd name="T75" fmla="*/ 2147483647 h 456"/>
                <a:gd name="T76" fmla="*/ 2147483647 w 480"/>
                <a:gd name="T77" fmla="*/ 2147483647 h 456"/>
                <a:gd name="T78" fmla="*/ 2147483647 w 480"/>
                <a:gd name="T79" fmla="*/ 2147483647 h 456"/>
                <a:gd name="T80" fmla="*/ 2147483647 w 480"/>
                <a:gd name="T81" fmla="*/ 2147483647 h 456"/>
                <a:gd name="T82" fmla="*/ 2147483647 w 480"/>
                <a:gd name="T83" fmla="*/ 2147483647 h 456"/>
                <a:gd name="T84" fmla="*/ 2147483647 w 480"/>
                <a:gd name="T85" fmla="*/ 2147483647 h 456"/>
                <a:gd name="T86" fmla="*/ 2147483647 w 480"/>
                <a:gd name="T87" fmla="*/ 2147483647 h 456"/>
                <a:gd name="T88" fmla="*/ 2147483647 w 480"/>
                <a:gd name="T89" fmla="*/ 2147483647 h 456"/>
                <a:gd name="T90" fmla="*/ 2147483647 w 480"/>
                <a:gd name="T91" fmla="*/ 2147483647 h 456"/>
                <a:gd name="T92" fmla="*/ 2147483647 w 480"/>
                <a:gd name="T93" fmla="*/ 2147483647 h 456"/>
                <a:gd name="T94" fmla="*/ 2147483647 w 480"/>
                <a:gd name="T95" fmla="*/ 2147483647 h 456"/>
                <a:gd name="T96" fmla="*/ 2147483647 w 480"/>
                <a:gd name="T97" fmla="*/ 0 h 456"/>
                <a:gd name="T98" fmla="*/ 2147483647 w 480"/>
                <a:gd name="T99" fmla="*/ 2147483647 h 456"/>
                <a:gd name="T100" fmla="*/ 2147483647 w 480"/>
                <a:gd name="T101" fmla="*/ 2147483647 h 456"/>
                <a:gd name="T102" fmla="*/ 2147483647 w 480"/>
                <a:gd name="T103" fmla="*/ 2147483647 h 4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0"/>
                <a:gd name="T157" fmla="*/ 0 h 456"/>
                <a:gd name="T158" fmla="*/ 480 w 480"/>
                <a:gd name="T159" fmla="*/ 456 h 4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0" h="456">
                  <a:moveTo>
                    <a:pt x="78" y="54"/>
                  </a:moveTo>
                  <a:lnTo>
                    <a:pt x="78" y="66"/>
                  </a:lnTo>
                  <a:lnTo>
                    <a:pt x="72" y="72"/>
                  </a:lnTo>
                  <a:lnTo>
                    <a:pt x="72" y="78"/>
                  </a:lnTo>
                  <a:lnTo>
                    <a:pt x="66" y="84"/>
                  </a:lnTo>
                  <a:lnTo>
                    <a:pt x="48" y="84"/>
                  </a:lnTo>
                  <a:lnTo>
                    <a:pt x="48" y="102"/>
                  </a:lnTo>
                  <a:lnTo>
                    <a:pt x="42" y="108"/>
                  </a:lnTo>
                  <a:lnTo>
                    <a:pt x="30" y="108"/>
                  </a:lnTo>
                  <a:lnTo>
                    <a:pt x="30" y="120"/>
                  </a:lnTo>
                  <a:lnTo>
                    <a:pt x="36" y="126"/>
                  </a:lnTo>
                  <a:lnTo>
                    <a:pt x="36" y="168"/>
                  </a:lnTo>
                  <a:lnTo>
                    <a:pt x="30" y="180"/>
                  </a:lnTo>
                  <a:lnTo>
                    <a:pt x="24" y="186"/>
                  </a:lnTo>
                  <a:lnTo>
                    <a:pt x="18" y="186"/>
                  </a:lnTo>
                  <a:lnTo>
                    <a:pt x="18" y="222"/>
                  </a:lnTo>
                  <a:lnTo>
                    <a:pt x="12" y="222"/>
                  </a:lnTo>
                  <a:lnTo>
                    <a:pt x="0" y="228"/>
                  </a:lnTo>
                  <a:lnTo>
                    <a:pt x="0" y="246"/>
                  </a:lnTo>
                  <a:lnTo>
                    <a:pt x="6" y="252"/>
                  </a:lnTo>
                  <a:lnTo>
                    <a:pt x="12" y="300"/>
                  </a:lnTo>
                  <a:lnTo>
                    <a:pt x="48" y="300"/>
                  </a:lnTo>
                  <a:lnTo>
                    <a:pt x="54" y="294"/>
                  </a:lnTo>
                  <a:lnTo>
                    <a:pt x="54" y="288"/>
                  </a:lnTo>
                  <a:lnTo>
                    <a:pt x="60" y="288"/>
                  </a:lnTo>
                  <a:lnTo>
                    <a:pt x="66" y="294"/>
                  </a:lnTo>
                  <a:lnTo>
                    <a:pt x="66" y="300"/>
                  </a:lnTo>
                  <a:lnTo>
                    <a:pt x="84" y="318"/>
                  </a:lnTo>
                  <a:lnTo>
                    <a:pt x="96" y="306"/>
                  </a:lnTo>
                  <a:lnTo>
                    <a:pt x="96" y="294"/>
                  </a:lnTo>
                  <a:lnTo>
                    <a:pt x="102" y="276"/>
                  </a:lnTo>
                  <a:lnTo>
                    <a:pt x="108" y="264"/>
                  </a:lnTo>
                  <a:lnTo>
                    <a:pt x="108" y="252"/>
                  </a:lnTo>
                  <a:lnTo>
                    <a:pt x="120" y="258"/>
                  </a:lnTo>
                  <a:lnTo>
                    <a:pt x="132" y="270"/>
                  </a:lnTo>
                  <a:lnTo>
                    <a:pt x="138" y="270"/>
                  </a:lnTo>
                  <a:lnTo>
                    <a:pt x="144" y="276"/>
                  </a:lnTo>
                  <a:lnTo>
                    <a:pt x="150" y="288"/>
                  </a:lnTo>
                  <a:lnTo>
                    <a:pt x="180" y="288"/>
                  </a:lnTo>
                  <a:lnTo>
                    <a:pt x="186" y="276"/>
                  </a:lnTo>
                  <a:lnTo>
                    <a:pt x="192" y="270"/>
                  </a:lnTo>
                  <a:lnTo>
                    <a:pt x="198" y="276"/>
                  </a:lnTo>
                  <a:lnTo>
                    <a:pt x="198" y="288"/>
                  </a:lnTo>
                  <a:lnTo>
                    <a:pt x="210" y="288"/>
                  </a:lnTo>
                  <a:lnTo>
                    <a:pt x="222" y="282"/>
                  </a:lnTo>
                  <a:lnTo>
                    <a:pt x="240" y="282"/>
                  </a:lnTo>
                  <a:lnTo>
                    <a:pt x="246" y="288"/>
                  </a:lnTo>
                  <a:lnTo>
                    <a:pt x="276" y="288"/>
                  </a:lnTo>
                  <a:lnTo>
                    <a:pt x="294" y="312"/>
                  </a:lnTo>
                  <a:lnTo>
                    <a:pt x="306" y="312"/>
                  </a:lnTo>
                  <a:lnTo>
                    <a:pt x="312" y="318"/>
                  </a:lnTo>
                  <a:lnTo>
                    <a:pt x="324" y="324"/>
                  </a:lnTo>
                  <a:lnTo>
                    <a:pt x="348" y="360"/>
                  </a:lnTo>
                  <a:lnTo>
                    <a:pt x="354" y="366"/>
                  </a:lnTo>
                  <a:lnTo>
                    <a:pt x="378" y="378"/>
                  </a:lnTo>
                  <a:lnTo>
                    <a:pt x="390" y="390"/>
                  </a:lnTo>
                  <a:lnTo>
                    <a:pt x="390" y="414"/>
                  </a:lnTo>
                  <a:lnTo>
                    <a:pt x="396" y="420"/>
                  </a:lnTo>
                  <a:lnTo>
                    <a:pt x="408" y="426"/>
                  </a:lnTo>
                  <a:lnTo>
                    <a:pt x="420" y="426"/>
                  </a:lnTo>
                  <a:lnTo>
                    <a:pt x="432" y="444"/>
                  </a:lnTo>
                  <a:lnTo>
                    <a:pt x="456" y="456"/>
                  </a:lnTo>
                  <a:lnTo>
                    <a:pt x="468" y="438"/>
                  </a:lnTo>
                  <a:lnTo>
                    <a:pt x="480" y="432"/>
                  </a:lnTo>
                  <a:lnTo>
                    <a:pt x="474" y="420"/>
                  </a:lnTo>
                  <a:lnTo>
                    <a:pt x="456" y="402"/>
                  </a:lnTo>
                  <a:lnTo>
                    <a:pt x="432" y="402"/>
                  </a:lnTo>
                  <a:lnTo>
                    <a:pt x="426" y="396"/>
                  </a:lnTo>
                  <a:lnTo>
                    <a:pt x="426" y="360"/>
                  </a:lnTo>
                  <a:lnTo>
                    <a:pt x="420" y="360"/>
                  </a:lnTo>
                  <a:lnTo>
                    <a:pt x="414" y="354"/>
                  </a:lnTo>
                  <a:lnTo>
                    <a:pt x="366" y="330"/>
                  </a:lnTo>
                  <a:lnTo>
                    <a:pt x="360" y="324"/>
                  </a:lnTo>
                  <a:lnTo>
                    <a:pt x="360" y="312"/>
                  </a:lnTo>
                  <a:lnTo>
                    <a:pt x="354" y="300"/>
                  </a:lnTo>
                  <a:lnTo>
                    <a:pt x="354" y="288"/>
                  </a:lnTo>
                  <a:lnTo>
                    <a:pt x="348" y="276"/>
                  </a:lnTo>
                  <a:lnTo>
                    <a:pt x="348" y="270"/>
                  </a:lnTo>
                  <a:lnTo>
                    <a:pt x="336" y="270"/>
                  </a:lnTo>
                  <a:lnTo>
                    <a:pt x="324" y="264"/>
                  </a:lnTo>
                  <a:lnTo>
                    <a:pt x="306" y="264"/>
                  </a:lnTo>
                  <a:lnTo>
                    <a:pt x="282" y="240"/>
                  </a:lnTo>
                  <a:lnTo>
                    <a:pt x="264" y="246"/>
                  </a:lnTo>
                  <a:lnTo>
                    <a:pt x="252" y="228"/>
                  </a:lnTo>
                  <a:lnTo>
                    <a:pt x="234" y="222"/>
                  </a:lnTo>
                  <a:lnTo>
                    <a:pt x="216" y="204"/>
                  </a:lnTo>
                  <a:lnTo>
                    <a:pt x="210" y="192"/>
                  </a:lnTo>
                  <a:lnTo>
                    <a:pt x="204" y="186"/>
                  </a:lnTo>
                  <a:lnTo>
                    <a:pt x="198" y="174"/>
                  </a:lnTo>
                  <a:lnTo>
                    <a:pt x="198" y="114"/>
                  </a:lnTo>
                  <a:lnTo>
                    <a:pt x="192" y="90"/>
                  </a:lnTo>
                  <a:lnTo>
                    <a:pt x="186" y="78"/>
                  </a:lnTo>
                  <a:lnTo>
                    <a:pt x="180" y="60"/>
                  </a:lnTo>
                  <a:lnTo>
                    <a:pt x="168" y="42"/>
                  </a:lnTo>
                  <a:lnTo>
                    <a:pt x="162" y="24"/>
                  </a:lnTo>
                  <a:lnTo>
                    <a:pt x="156" y="12"/>
                  </a:lnTo>
                  <a:lnTo>
                    <a:pt x="150" y="6"/>
                  </a:lnTo>
                  <a:lnTo>
                    <a:pt x="150" y="0"/>
                  </a:lnTo>
                  <a:lnTo>
                    <a:pt x="144" y="0"/>
                  </a:lnTo>
                  <a:lnTo>
                    <a:pt x="144" y="12"/>
                  </a:lnTo>
                  <a:lnTo>
                    <a:pt x="132" y="36"/>
                  </a:lnTo>
                  <a:lnTo>
                    <a:pt x="108" y="48"/>
                  </a:lnTo>
                  <a:lnTo>
                    <a:pt x="90" y="54"/>
                  </a:lnTo>
                  <a:lnTo>
                    <a:pt x="78" y="54"/>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68" name="El Salvador" descr="© INSCALE GmbH, 05.05.2010&#10;http://www.presentationload.com/">
              <a:extLst>
                <a:ext uri="{FF2B5EF4-FFF2-40B4-BE49-F238E27FC236}">
                  <a16:creationId xmlns:a16="http://schemas.microsoft.com/office/drawing/2014/main" id="{69F2ABC6-7F5B-4AFB-9E94-C138EDAA7CDF}"/>
                </a:ext>
              </a:extLst>
            </p:cNvPr>
            <p:cNvSpPr>
              <a:spLocks/>
            </p:cNvSpPr>
            <p:nvPr/>
          </p:nvSpPr>
          <p:spPr bwMode="gray">
            <a:xfrm>
              <a:off x="1597002" y="3790063"/>
              <a:ext cx="67424" cy="43905"/>
            </a:xfrm>
            <a:custGeom>
              <a:avLst/>
              <a:gdLst>
                <a:gd name="T0" fmla="*/ 2147483647 w 174"/>
                <a:gd name="T1" fmla="*/ 2147483647 h 114"/>
                <a:gd name="T2" fmla="*/ 2147483647 w 174"/>
                <a:gd name="T3" fmla="*/ 2147483647 h 114"/>
                <a:gd name="T4" fmla="*/ 2147483647 w 174"/>
                <a:gd name="T5" fmla="*/ 2147483647 h 114"/>
                <a:gd name="T6" fmla="*/ 2147483647 w 174"/>
                <a:gd name="T7" fmla="*/ 2147483647 h 114"/>
                <a:gd name="T8" fmla="*/ 2147483647 w 174"/>
                <a:gd name="T9" fmla="*/ 2147483647 h 114"/>
                <a:gd name="T10" fmla="*/ 2147483647 w 174"/>
                <a:gd name="T11" fmla="*/ 2147483647 h 114"/>
                <a:gd name="T12" fmla="*/ 2147483647 w 174"/>
                <a:gd name="T13" fmla="*/ 2147483647 h 114"/>
                <a:gd name="T14" fmla="*/ 2147483647 w 174"/>
                <a:gd name="T15" fmla="*/ 2147483647 h 114"/>
                <a:gd name="T16" fmla="*/ 2147483647 w 174"/>
                <a:gd name="T17" fmla="*/ 2147483647 h 114"/>
                <a:gd name="T18" fmla="*/ 2147483647 w 174"/>
                <a:gd name="T19" fmla="*/ 0 h 114"/>
                <a:gd name="T20" fmla="*/ 2147483647 w 174"/>
                <a:gd name="T21" fmla="*/ 2147483647 h 114"/>
                <a:gd name="T22" fmla="*/ 2147483647 w 174"/>
                <a:gd name="T23" fmla="*/ 2147483647 h 114"/>
                <a:gd name="T24" fmla="*/ 2147483647 w 174"/>
                <a:gd name="T25" fmla="*/ 2147483647 h 114"/>
                <a:gd name="T26" fmla="*/ 2147483647 w 174"/>
                <a:gd name="T27" fmla="*/ 2147483647 h 114"/>
                <a:gd name="T28" fmla="*/ 2147483647 w 174"/>
                <a:gd name="T29" fmla="*/ 2147483647 h 114"/>
                <a:gd name="T30" fmla="*/ 2147483647 w 174"/>
                <a:gd name="T31" fmla="*/ 2147483647 h 114"/>
                <a:gd name="T32" fmla="*/ 2147483647 w 174"/>
                <a:gd name="T33" fmla="*/ 2147483647 h 114"/>
                <a:gd name="T34" fmla="*/ 2147483647 w 174"/>
                <a:gd name="T35" fmla="*/ 2147483647 h 114"/>
                <a:gd name="T36" fmla="*/ 0 w 174"/>
                <a:gd name="T37" fmla="*/ 2147483647 h 114"/>
                <a:gd name="T38" fmla="*/ 2147483647 w 174"/>
                <a:gd name="T39" fmla="*/ 2147483647 h 114"/>
                <a:gd name="T40" fmla="*/ 2147483647 w 174"/>
                <a:gd name="T41" fmla="*/ 2147483647 h 114"/>
                <a:gd name="T42" fmla="*/ 2147483647 w 174"/>
                <a:gd name="T43" fmla="*/ 2147483647 h 114"/>
                <a:gd name="T44" fmla="*/ 2147483647 w 174"/>
                <a:gd name="T45" fmla="*/ 2147483647 h 114"/>
                <a:gd name="T46" fmla="*/ 2147483647 w 174"/>
                <a:gd name="T47" fmla="*/ 2147483647 h 114"/>
                <a:gd name="T48" fmla="*/ 2147483647 w 174"/>
                <a:gd name="T49" fmla="*/ 2147483647 h 114"/>
                <a:gd name="T50" fmla="*/ 2147483647 w 174"/>
                <a:gd name="T51" fmla="*/ 2147483647 h 114"/>
                <a:gd name="T52" fmla="*/ 2147483647 w 174"/>
                <a:gd name="T53" fmla="*/ 2147483647 h 114"/>
                <a:gd name="T54" fmla="*/ 2147483647 w 174"/>
                <a:gd name="T55" fmla="*/ 2147483647 h 114"/>
                <a:gd name="T56" fmla="*/ 2147483647 w 174"/>
                <a:gd name="T57" fmla="*/ 2147483647 h 1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4"/>
                <a:gd name="T88" fmla="*/ 0 h 114"/>
                <a:gd name="T89" fmla="*/ 174 w 174"/>
                <a:gd name="T90" fmla="*/ 114 h 1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4" h="114">
                  <a:moveTo>
                    <a:pt x="174" y="84"/>
                  </a:moveTo>
                  <a:lnTo>
                    <a:pt x="174" y="42"/>
                  </a:lnTo>
                  <a:lnTo>
                    <a:pt x="138" y="42"/>
                  </a:lnTo>
                  <a:lnTo>
                    <a:pt x="132" y="48"/>
                  </a:lnTo>
                  <a:lnTo>
                    <a:pt x="120" y="48"/>
                  </a:lnTo>
                  <a:lnTo>
                    <a:pt x="114" y="42"/>
                  </a:lnTo>
                  <a:lnTo>
                    <a:pt x="114" y="24"/>
                  </a:lnTo>
                  <a:lnTo>
                    <a:pt x="90" y="24"/>
                  </a:lnTo>
                  <a:lnTo>
                    <a:pt x="78" y="12"/>
                  </a:lnTo>
                  <a:lnTo>
                    <a:pt x="72" y="0"/>
                  </a:lnTo>
                  <a:lnTo>
                    <a:pt x="60" y="6"/>
                  </a:lnTo>
                  <a:lnTo>
                    <a:pt x="48" y="6"/>
                  </a:lnTo>
                  <a:lnTo>
                    <a:pt x="48" y="18"/>
                  </a:lnTo>
                  <a:lnTo>
                    <a:pt x="42" y="24"/>
                  </a:lnTo>
                  <a:lnTo>
                    <a:pt x="36" y="36"/>
                  </a:lnTo>
                  <a:lnTo>
                    <a:pt x="30" y="36"/>
                  </a:lnTo>
                  <a:lnTo>
                    <a:pt x="24" y="42"/>
                  </a:lnTo>
                  <a:lnTo>
                    <a:pt x="12" y="48"/>
                  </a:lnTo>
                  <a:lnTo>
                    <a:pt x="0" y="60"/>
                  </a:lnTo>
                  <a:lnTo>
                    <a:pt x="6" y="66"/>
                  </a:lnTo>
                  <a:lnTo>
                    <a:pt x="18" y="72"/>
                  </a:lnTo>
                  <a:lnTo>
                    <a:pt x="24" y="78"/>
                  </a:lnTo>
                  <a:lnTo>
                    <a:pt x="72" y="78"/>
                  </a:lnTo>
                  <a:lnTo>
                    <a:pt x="96" y="102"/>
                  </a:lnTo>
                  <a:lnTo>
                    <a:pt x="132" y="96"/>
                  </a:lnTo>
                  <a:lnTo>
                    <a:pt x="150" y="114"/>
                  </a:lnTo>
                  <a:lnTo>
                    <a:pt x="168" y="84"/>
                  </a:lnTo>
                  <a:lnTo>
                    <a:pt x="174" y="90"/>
                  </a:lnTo>
                  <a:lnTo>
                    <a:pt x="174" y="84"/>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69" name="Elfenbeinküste" descr="© INSCALE GmbH, 05.05.2010&#10;http://www.presentationload.com/">
              <a:extLst>
                <a:ext uri="{FF2B5EF4-FFF2-40B4-BE49-F238E27FC236}">
                  <a16:creationId xmlns:a16="http://schemas.microsoft.com/office/drawing/2014/main" id="{E581CBDE-9427-4BE0-85EB-1197B6F7980F}"/>
                </a:ext>
              </a:extLst>
            </p:cNvPr>
            <p:cNvSpPr>
              <a:spLocks/>
            </p:cNvSpPr>
            <p:nvPr/>
          </p:nvSpPr>
          <p:spPr bwMode="gray">
            <a:xfrm>
              <a:off x="3883179" y="3909233"/>
              <a:ext cx="174050" cy="205412"/>
            </a:xfrm>
            <a:custGeom>
              <a:avLst/>
              <a:gdLst>
                <a:gd name="T0" fmla="*/ 2147483647 w 438"/>
                <a:gd name="T1" fmla="*/ 2147483647 h 516"/>
                <a:gd name="T2" fmla="*/ 2147483647 w 438"/>
                <a:gd name="T3" fmla="*/ 2147483647 h 516"/>
                <a:gd name="T4" fmla="*/ 2147483647 w 438"/>
                <a:gd name="T5" fmla="*/ 2147483647 h 516"/>
                <a:gd name="T6" fmla="*/ 2147483647 w 438"/>
                <a:gd name="T7" fmla="*/ 2147483647 h 516"/>
                <a:gd name="T8" fmla="*/ 2147483647 w 438"/>
                <a:gd name="T9" fmla="*/ 2147483647 h 516"/>
                <a:gd name="T10" fmla="*/ 2147483647 w 438"/>
                <a:gd name="T11" fmla="*/ 2147483647 h 516"/>
                <a:gd name="T12" fmla="*/ 2147483647 w 438"/>
                <a:gd name="T13" fmla="*/ 2147483647 h 516"/>
                <a:gd name="T14" fmla="*/ 2147483647 w 438"/>
                <a:gd name="T15" fmla="*/ 2147483647 h 516"/>
                <a:gd name="T16" fmla="*/ 2147483647 w 438"/>
                <a:gd name="T17" fmla="*/ 2147483647 h 516"/>
                <a:gd name="T18" fmla="*/ 2147483647 w 438"/>
                <a:gd name="T19" fmla="*/ 2147483647 h 516"/>
                <a:gd name="T20" fmla="*/ 2147483647 w 438"/>
                <a:gd name="T21" fmla="*/ 2147483647 h 516"/>
                <a:gd name="T22" fmla="*/ 2147483647 w 438"/>
                <a:gd name="T23" fmla="*/ 2147483647 h 516"/>
                <a:gd name="T24" fmla="*/ 2147483647 w 438"/>
                <a:gd name="T25" fmla="*/ 2147483647 h 516"/>
                <a:gd name="T26" fmla="*/ 2147483647 w 438"/>
                <a:gd name="T27" fmla="*/ 2147483647 h 516"/>
                <a:gd name="T28" fmla="*/ 2147483647 w 438"/>
                <a:gd name="T29" fmla="*/ 2147483647 h 516"/>
                <a:gd name="T30" fmla="*/ 2147483647 w 438"/>
                <a:gd name="T31" fmla="*/ 2147483647 h 516"/>
                <a:gd name="T32" fmla="*/ 2147483647 w 438"/>
                <a:gd name="T33" fmla="*/ 0 h 516"/>
                <a:gd name="T34" fmla="*/ 2147483647 w 438"/>
                <a:gd name="T35" fmla="*/ 2147483647 h 516"/>
                <a:gd name="T36" fmla="*/ 2147483647 w 438"/>
                <a:gd name="T37" fmla="*/ 2147483647 h 516"/>
                <a:gd name="T38" fmla="*/ 2147483647 w 438"/>
                <a:gd name="T39" fmla="*/ 2147483647 h 516"/>
                <a:gd name="T40" fmla="*/ 2147483647 w 438"/>
                <a:gd name="T41" fmla="*/ 2147483647 h 516"/>
                <a:gd name="T42" fmla="*/ 2147483647 w 438"/>
                <a:gd name="T43" fmla="*/ 2147483647 h 516"/>
                <a:gd name="T44" fmla="*/ 2147483647 w 438"/>
                <a:gd name="T45" fmla="*/ 2147483647 h 516"/>
                <a:gd name="T46" fmla="*/ 2147483647 w 438"/>
                <a:gd name="T47" fmla="*/ 2147483647 h 516"/>
                <a:gd name="T48" fmla="*/ 2147483647 w 438"/>
                <a:gd name="T49" fmla="*/ 2147483647 h 516"/>
                <a:gd name="T50" fmla="*/ 2147483647 w 438"/>
                <a:gd name="T51" fmla="*/ 2147483647 h 516"/>
                <a:gd name="T52" fmla="*/ 2147483647 w 438"/>
                <a:gd name="T53" fmla="*/ 2147483647 h 516"/>
                <a:gd name="T54" fmla="*/ 2147483647 w 438"/>
                <a:gd name="T55" fmla="*/ 2147483647 h 516"/>
                <a:gd name="T56" fmla="*/ 2147483647 w 438"/>
                <a:gd name="T57" fmla="*/ 2147483647 h 516"/>
                <a:gd name="T58" fmla="*/ 2147483647 w 438"/>
                <a:gd name="T59" fmla="*/ 2147483647 h 516"/>
                <a:gd name="T60" fmla="*/ 2147483647 w 438"/>
                <a:gd name="T61" fmla="*/ 2147483647 h 516"/>
                <a:gd name="T62" fmla="*/ 2147483647 w 438"/>
                <a:gd name="T63" fmla="*/ 2147483647 h 516"/>
                <a:gd name="T64" fmla="*/ 2147483647 w 438"/>
                <a:gd name="T65" fmla="*/ 2147483647 h 516"/>
                <a:gd name="T66" fmla="*/ 2147483647 w 438"/>
                <a:gd name="T67" fmla="*/ 2147483647 h 516"/>
                <a:gd name="T68" fmla="*/ 2147483647 w 438"/>
                <a:gd name="T69" fmla="*/ 2147483647 h 516"/>
                <a:gd name="T70" fmla="*/ 2147483647 w 438"/>
                <a:gd name="T71" fmla="*/ 2147483647 h 516"/>
                <a:gd name="T72" fmla="*/ 2147483647 w 438"/>
                <a:gd name="T73" fmla="*/ 2147483647 h 516"/>
                <a:gd name="T74" fmla="*/ 2147483647 w 438"/>
                <a:gd name="T75" fmla="*/ 2147483647 h 516"/>
                <a:gd name="T76" fmla="*/ 2147483647 w 438"/>
                <a:gd name="T77" fmla="*/ 2147483647 h 516"/>
                <a:gd name="T78" fmla="*/ 2147483647 w 438"/>
                <a:gd name="T79" fmla="*/ 2147483647 h 516"/>
                <a:gd name="T80" fmla="*/ 2147483647 w 438"/>
                <a:gd name="T81" fmla="*/ 2147483647 h 516"/>
                <a:gd name="T82" fmla="*/ 2147483647 w 438"/>
                <a:gd name="T83" fmla="*/ 2147483647 h 516"/>
                <a:gd name="T84" fmla="*/ 2147483647 w 438"/>
                <a:gd name="T85" fmla="*/ 2147483647 h 516"/>
                <a:gd name="T86" fmla="*/ 2147483647 w 438"/>
                <a:gd name="T87" fmla="*/ 2147483647 h 516"/>
                <a:gd name="T88" fmla="*/ 2147483647 w 438"/>
                <a:gd name="T89" fmla="*/ 2147483647 h 5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38"/>
                <a:gd name="T136" fmla="*/ 0 h 516"/>
                <a:gd name="T137" fmla="*/ 438 w 438"/>
                <a:gd name="T138" fmla="*/ 516 h 5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38" h="516">
                  <a:moveTo>
                    <a:pt x="402" y="408"/>
                  </a:moveTo>
                  <a:lnTo>
                    <a:pt x="402" y="402"/>
                  </a:lnTo>
                  <a:lnTo>
                    <a:pt x="396" y="396"/>
                  </a:lnTo>
                  <a:lnTo>
                    <a:pt x="390" y="384"/>
                  </a:lnTo>
                  <a:lnTo>
                    <a:pt x="390" y="372"/>
                  </a:lnTo>
                  <a:lnTo>
                    <a:pt x="384" y="354"/>
                  </a:lnTo>
                  <a:lnTo>
                    <a:pt x="378" y="342"/>
                  </a:lnTo>
                  <a:lnTo>
                    <a:pt x="378" y="318"/>
                  </a:lnTo>
                  <a:lnTo>
                    <a:pt x="384" y="312"/>
                  </a:lnTo>
                  <a:lnTo>
                    <a:pt x="390" y="300"/>
                  </a:lnTo>
                  <a:lnTo>
                    <a:pt x="408" y="282"/>
                  </a:lnTo>
                  <a:lnTo>
                    <a:pt x="408" y="270"/>
                  </a:lnTo>
                  <a:lnTo>
                    <a:pt x="414" y="258"/>
                  </a:lnTo>
                  <a:lnTo>
                    <a:pt x="414" y="240"/>
                  </a:lnTo>
                  <a:lnTo>
                    <a:pt x="420" y="228"/>
                  </a:lnTo>
                  <a:lnTo>
                    <a:pt x="426" y="222"/>
                  </a:lnTo>
                  <a:lnTo>
                    <a:pt x="438" y="198"/>
                  </a:lnTo>
                  <a:lnTo>
                    <a:pt x="438" y="186"/>
                  </a:lnTo>
                  <a:lnTo>
                    <a:pt x="432" y="174"/>
                  </a:lnTo>
                  <a:lnTo>
                    <a:pt x="432" y="162"/>
                  </a:lnTo>
                  <a:lnTo>
                    <a:pt x="426" y="150"/>
                  </a:lnTo>
                  <a:lnTo>
                    <a:pt x="426" y="138"/>
                  </a:lnTo>
                  <a:lnTo>
                    <a:pt x="420" y="132"/>
                  </a:lnTo>
                  <a:lnTo>
                    <a:pt x="420" y="126"/>
                  </a:lnTo>
                  <a:lnTo>
                    <a:pt x="432" y="126"/>
                  </a:lnTo>
                  <a:lnTo>
                    <a:pt x="426" y="96"/>
                  </a:lnTo>
                  <a:lnTo>
                    <a:pt x="408" y="102"/>
                  </a:lnTo>
                  <a:lnTo>
                    <a:pt x="408" y="90"/>
                  </a:lnTo>
                  <a:lnTo>
                    <a:pt x="390" y="72"/>
                  </a:lnTo>
                  <a:lnTo>
                    <a:pt x="372" y="66"/>
                  </a:lnTo>
                  <a:lnTo>
                    <a:pt x="342" y="66"/>
                  </a:lnTo>
                  <a:lnTo>
                    <a:pt x="318" y="78"/>
                  </a:lnTo>
                  <a:lnTo>
                    <a:pt x="318" y="84"/>
                  </a:lnTo>
                  <a:lnTo>
                    <a:pt x="312" y="90"/>
                  </a:lnTo>
                  <a:lnTo>
                    <a:pt x="300" y="90"/>
                  </a:lnTo>
                  <a:lnTo>
                    <a:pt x="294" y="84"/>
                  </a:lnTo>
                  <a:lnTo>
                    <a:pt x="282" y="84"/>
                  </a:lnTo>
                  <a:lnTo>
                    <a:pt x="276" y="78"/>
                  </a:lnTo>
                  <a:lnTo>
                    <a:pt x="264" y="72"/>
                  </a:lnTo>
                  <a:lnTo>
                    <a:pt x="258" y="60"/>
                  </a:lnTo>
                  <a:lnTo>
                    <a:pt x="258" y="48"/>
                  </a:lnTo>
                  <a:lnTo>
                    <a:pt x="252" y="42"/>
                  </a:lnTo>
                  <a:lnTo>
                    <a:pt x="252" y="36"/>
                  </a:lnTo>
                  <a:lnTo>
                    <a:pt x="228" y="42"/>
                  </a:lnTo>
                  <a:lnTo>
                    <a:pt x="228" y="18"/>
                  </a:lnTo>
                  <a:lnTo>
                    <a:pt x="216" y="18"/>
                  </a:lnTo>
                  <a:lnTo>
                    <a:pt x="210" y="24"/>
                  </a:lnTo>
                  <a:lnTo>
                    <a:pt x="204" y="36"/>
                  </a:lnTo>
                  <a:lnTo>
                    <a:pt x="198" y="42"/>
                  </a:lnTo>
                  <a:lnTo>
                    <a:pt x="174" y="36"/>
                  </a:lnTo>
                  <a:lnTo>
                    <a:pt x="174" y="0"/>
                  </a:lnTo>
                  <a:lnTo>
                    <a:pt x="162" y="24"/>
                  </a:lnTo>
                  <a:lnTo>
                    <a:pt x="150" y="6"/>
                  </a:lnTo>
                  <a:lnTo>
                    <a:pt x="144" y="30"/>
                  </a:lnTo>
                  <a:lnTo>
                    <a:pt x="126" y="30"/>
                  </a:lnTo>
                  <a:lnTo>
                    <a:pt x="120" y="48"/>
                  </a:lnTo>
                  <a:lnTo>
                    <a:pt x="102" y="30"/>
                  </a:lnTo>
                  <a:lnTo>
                    <a:pt x="84" y="24"/>
                  </a:lnTo>
                  <a:lnTo>
                    <a:pt x="72" y="24"/>
                  </a:lnTo>
                  <a:lnTo>
                    <a:pt x="66" y="30"/>
                  </a:lnTo>
                  <a:lnTo>
                    <a:pt x="66" y="48"/>
                  </a:lnTo>
                  <a:lnTo>
                    <a:pt x="54" y="42"/>
                  </a:lnTo>
                  <a:lnTo>
                    <a:pt x="36" y="66"/>
                  </a:lnTo>
                  <a:lnTo>
                    <a:pt x="42" y="102"/>
                  </a:lnTo>
                  <a:lnTo>
                    <a:pt x="60" y="108"/>
                  </a:lnTo>
                  <a:lnTo>
                    <a:pt x="48" y="126"/>
                  </a:lnTo>
                  <a:lnTo>
                    <a:pt x="66" y="132"/>
                  </a:lnTo>
                  <a:lnTo>
                    <a:pt x="60" y="138"/>
                  </a:lnTo>
                  <a:lnTo>
                    <a:pt x="54" y="150"/>
                  </a:lnTo>
                  <a:lnTo>
                    <a:pt x="54" y="162"/>
                  </a:lnTo>
                  <a:lnTo>
                    <a:pt x="60" y="162"/>
                  </a:lnTo>
                  <a:lnTo>
                    <a:pt x="72" y="168"/>
                  </a:lnTo>
                  <a:lnTo>
                    <a:pt x="78" y="168"/>
                  </a:lnTo>
                  <a:lnTo>
                    <a:pt x="78" y="180"/>
                  </a:lnTo>
                  <a:lnTo>
                    <a:pt x="72" y="186"/>
                  </a:lnTo>
                  <a:lnTo>
                    <a:pt x="72" y="192"/>
                  </a:lnTo>
                  <a:lnTo>
                    <a:pt x="66" y="186"/>
                  </a:lnTo>
                  <a:lnTo>
                    <a:pt x="54" y="186"/>
                  </a:lnTo>
                  <a:lnTo>
                    <a:pt x="48" y="180"/>
                  </a:lnTo>
                  <a:lnTo>
                    <a:pt x="30" y="180"/>
                  </a:lnTo>
                  <a:lnTo>
                    <a:pt x="30" y="192"/>
                  </a:lnTo>
                  <a:lnTo>
                    <a:pt x="36" y="204"/>
                  </a:lnTo>
                  <a:lnTo>
                    <a:pt x="48" y="210"/>
                  </a:lnTo>
                  <a:lnTo>
                    <a:pt x="54" y="222"/>
                  </a:lnTo>
                  <a:lnTo>
                    <a:pt x="36" y="222"/>
                  </a:lnTo>
                  <a:lnTo>
                    <a:pt x="36" y="228"/>
                  </a:lnTo>
                  <a:lnTo>
                    <a:pt x="42" y="234"/>
                  </a:lnTo>
                  <a:lnTo>
                    <a:pt x="42" y="252"/>
                  </a:lnTo>
                  <a:lnTo>
                    <a:pt x="36" y="258"/>
                  </a:lnTo>
                  <a:lnTo>
                    <a:pt x="30" y="258"/>
                  </a:lnTo>
                  <a:lnTo>
                    <a:pt x="18" y="252"/>
                  </a:lnTo>
                  <a:lnTo>
                    <a:pt x="12" y="246"/>
                  </a:lnTo>
                  <a:lnTo>
                    <a:pt x="6" y="246"/>
                  </a:lnTo>
                  <a:lnTo>
                    <a:pt x="24" y="282"/>
                  </a:lnTo>
                  <a:lnTo>
                    <a:pt x="24" y="306"/>
                  </a:lnTo>
                  <a:lnTo>
                    <a:pt x="18" y="324"/>
                  </a:lnTo>
                  <a:lnTo>
                    <a:pt x="6" y="330"/>
                  </a:lnTo>
                  <a:lnTo>
                    <a:pt x="0" y="342"/>
                  </a:lnTo>
                  <a:lnTo>
                    <a:pt x="6" y="348"/>
                  </a:lnTo>
                  <a:lnTo>
                    <a:pt x="24" y="348"/>
                  </a:lnTo>
                  <a:lnTo>
                    <a:pt x="24" y="360"/>
                  </a:lnTo>
                  <a:lnTo>
                    <a:pt x="60" y="354"/>
                  </a:lnTo>
                  <a:lnTo>
                    <a:pt x="60" y="384"/>
                  </a:lnTo>
                  <a:lnTo>
                    <a:pt x="90" y="414"/>
                  </a:lnTo>
                  <a:lnTo>
                    <a:pt x="90" y="438"/>
                  </a:lnTo>
                  <a:lnTo>
                    <a:pt x="84" y="450"/>
                  </a:lnTo>
                  <a:lnTo>
                    <a:pt x="84" y="462"/>
                  </a:lnTo>
                  <a:lnTo>
                    <a:pt x="78" y="468"/>
                  </a:lnTo>
                  <a:lnTo>
                    <a:pt x="78" y="516"/>
                  </a:lnTo>
                  <a:lnTo>
                    <a:pt x="90" y="516"/>
                  </a:lnTo>
                  <a:lnTo>
                    <a:pt x="96" y="510"/>
                  </a:lnTo>
                  <a:lnTo>
                    <a:pt x="102" y="498"/>
                  </a:lnTo>
                  <a:lnTo>
                    <a:pt x="114" y="498"/>
                  </a:lnTo>
                  <a:lnTo>
                    <a:pt x="126" y="486"/>
                  </a:lnTo>
                  <a:lnTo>
                    <a:pt x="138" y="480"/>
                  </a:lnTo>
                  <a:lnTo>
                    <a:pt x="198" y="456"/>
                  </a:lnTo>
                  <a:lnTo>
                    <a:pt x="228" y="450"/>
                  </a:lnTo>
                  <a:lnTo>
                    <a:pt x="264" y="450"/>
                  </a:lnTo>
                  <a:lnTo>
                    <a:pt x="270" y="444"/>
                  </a:lnTo>
                  <a:lnTo>
                    <a:pt x="282" y="444"/>
                  </a:lnTo>
                  <a:lnTo>
                    <a:pt x="294" y="438"/>
                  </a:lnTo>
                  <a:lnTo>
                    <a:pt x="330" y="438"/>
                  </a:lnTo>
                  <a:lnTo>
                    <a:pt x="336" y="444"/>
                  </a:lnTo>
                  <a:lnTo>
                    <a:pt x="342" y="444"/>
                  </a:lnTo>
                  <a:lnTo>
                    <a:pt x="348" y="450"/>
                  </a:lnTo>
                  <a:lnTo>
                    <a:pt x="366" y="450"/>
                  </a:lnTo>
                  <a:lnTo>
                    <a:pt x="378" y="438"/>
                  </a:lnTo>
                  <a:lnTo>
                    <a:pt x="384" y="438"/>
                  </a:lnTo>
                  <a:lnTo>
                    <a:pt x="384" y="444"/>
                  </a:lnTo>
                  <a:lnTo>
                    <a:pt x="396" y="456"/>
                  </a:lnTo>
                  <a:lnTo>
                    <a:pt x="408" y="462"/>
                  </a:lnTo>
                  <a:lnTo>
                    <a:pt x="420" y="462"/>
                  </a:lnTo>
                  <a:lnTo>
                    <a:pt x="426" y="468"/>
                  </a:lnTo>
                  <a:lnTo>
                    <a:pt x="426" y="414"/>
                  </a:lnTo>
                  <a:lnTo>
                    <a:pt x="402" y="408"/>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70" name="Ecuador" descr="© INSCALE GmbH, 05.05.2010&#10;http://www.presentationload.com/">
              <a:extLst>
                <a:ext uri="{FF2B5EF4-FFF2-40B4-BE49-F238E27FC236}">
                  <a16:creationId xmlns:a16="http://schemas.microsoft.com/office/drawing/2014/main" id="{3814A516-609B-43AE-A6A5-3D3847EB91CE}"/>
                </a:ext>
              </a:extLst>
            </p:cNvPr>
            <p:cNvSpPr>
              <a:spLocks noEditPoints="1"/>
            </p:cNvSpPr>
            <p:nvPr/>
          </p:nvSpPr>
          <p:spPr bwMode="gray">
            <a:xfrm>
              <a:off x="1833774" y="4200885"/>
              <a:ext cx="164642" cy="210115"/>
            </a:xfrm>
            <a:custGeom>
              <a:avLst/>
              <a:gdLst>
                <a:gd name="T0" fmla="*/ 2147483647 w 414"/>
                <a:gd name="T1" fmla="*/ 2147483647 h 528"/>
                <a:gd name="T2" fmla="*/ 2147483647 w 414"/>
                <a:gd name="T3" fmla="*/ 2147483647 h 528"/>
                <a:gd name="T4" fmla="*/ 2147483647 w 414"/>
                <a:gd name="T5" fmla="*/ 2147483647 h 528"/>
                <a:gd name="T6" fmla="*/ 2147483647 w 414"/>
                <a:gd name="T7" fmla="*/ 2147483647 h 528"/>
                <a:gd name="T8" fmla="*/ 2147483647 w 414"/>
                <a:gd name="T9" fmla="*/ 2147483647 h 528"/>
                <a:gd name="T10" fmla="*/ 2147483647 w 414"/>
                <a:gd name="T11" fmla="*/ 2147483647 h 528"/>
                <a:gd name="T12" fmla="*/ 2147483647 w 414"/>
                <a:gd name="T13" fmla="*/ 2147483647 h 528"/>
                <a:gd name="T14" fmla="*/ 2147483647 w 414"/>
                <a:gd name="T15" fmla="*/ 2147483647 h 528"/>
                <a:gd name="T16" fmla="*/ 2147483647 w 414"/>
                <a:gd name="T17" fmla="*/ 2147483647 h 528"/>
                <a:gd name="T18" fmla="*/ 2147483647 w 414"/>
                <a:gd name="T19" fmla="*/ 2147483647 h 528"/>
                <a:gd name="T20" fmla="*/ 2147483647 w 414"/>
                <a:gd name="T21" fmla="*/ 2147483647 h 528"/>
                <a:gd name="T22" fmla="*/ 2147483647 w 414"/>
                <a:gd name="T23" fmla="*/ 2147483647 h 528"/>
                <a:gd name="T24" fmla="*/ 2147483647 w 414"/>
                <a:gd name="T25" fmla="*/ 2147483647 h 528"/>
                <a:gd name="T26" fmla="*/ 2147483647 w 414"/>
                <a:gd name="T27" fmla="*/ 2147483647 h 528"/>
                <a:gd name="T28" fmla="*/ 2147483647 w 414"/>
                <a:gd name="T29" fmla="*/ 2147483647 h 528"/>
                <a:gd name="T30" fmla="*/ 2147483647 w 414"/>
                <a:gd name="T31" fmla="*/ 2147483647 h 528"/>
                <a:gd name="T32" fmla="*/ 2147483647 w 414"/>
                <a:gd name="T33" fmla="*/ 2147483647 h 528"/>
                <a:gd name="T34" fmla="*/ 2147483647 w 414"/>
                <a:gd name="T35" fmla="*/ 2147483647 h 528"/>
                <a:gd name="T36" fmla="*/ 2147483647 w 414"/>
                <a:gd name="T37" fmla="*/ 2147483647 h 528"/>
                <a:gd name="T38" fmla="*/ 2147483647 w 414"/>
                <a:gd name="T39" fmla="*/ 2147483647 h 528"/>
                <a:gd name="T40" fmla="*/ 2147483647 w 414"/>
                <a:gd name="T41" fmla="*/ 2147483647 h 528"/>
                <a:gd name="T42" fmla="*/ 2147483647 w 414"/>
                <a:gd name="T43" fmla="*/ 2147483647 h 528"/>
                <a:gd name="T44" fmla="*/ 2147483647 w 414"/>
                <a:gd name="T45" fmla="*/ 2147483647 h 528"/>
                <a:gd name="T46" fmla="*/ 2147483647 w 414"/>
                <a:gd name="T47" fmla="*/ 2147483647 h 528"/>
                <a:gd name="T48" fmla="*/ 2147483647 w 414"/>
                <a:gd name="T49" fmla="*/ 2147483647 h 528"/>
                <a:gd name="T50" fmla="*/ 2147483647 w 414"/>
                <a:gd name="T51" fmla="*/ 2147483647 h 528"/>
                <a:gd name="T52" fmla="*/ 2147483647 w 414"/>
                <a:gd name="T53" fmla="*/ 2147483647 h 528"/>
                <a:gd name="T54" fmla="*/ 2147483647 w 414"/>
                <a:gd name="T55" fmla="*/ 2147483647 h 528"/>
                <a:gd name="T56" fmla="*/ 2147483647 w 414"/>
                <a:gd name="T57" fmla="*/ 2147483647 h 528"/>
                <a:gd name="T58" fmla="*/ 2147483647 w 414"/>
                <a:gd name="T59" fmla="*/ 2147483647 h 528"/>
                <a:gd name="T60" fmla="*/ 2147483647 w 414"/>
                <a:gd name="T61" fmla="*/ 2147483647 h 528"/>
                <a:gd name="T62" fmla="*/ 2147483647 w 414"/>
                <a:gd name="T63" fmla="*/ 2147483647 h 528"/>
                <a:gd name="T64" fmla="*/ 2147483647 w 414"/>
                <a:gd name="T65" fmla="*/ 2147483647 h 528"/>
                <a:gd name="T66" fmla="*/ 2147483647 w 414"/>
                <a:gd name="T67" fmla="*/ 2147483647 h 528"/>
                <a:gd name="T68" fmla="*/ 2147483647 w 414"/>
                <a:gd name="T69" fmla="*/ 2147483647 h 528"/>
                <a:gd name="T70" fmla="*/ 2147483647 w 414"/>
                <a:gd name="T71" fmla="*/ 2147483647 h 528"/>
                <a:gd name="T72" fmla="*/ 2147483647 w 414"/>
                <a:gd name="T73" fmla="*/ 2147483647 h 528"/>
                <a:gd name="T74" fmla="*/ 2147483647 w 414"/>
                <a:gd name="T75" fmla="*/ 2147483647 h 528"/>
                <a:gd name="T76" fmla="*/ 2147483647 w 414"/>
                <a:gd name="T77" fmla="*/ 2147483647 h 528"/>
                <a:gd name="T78" fmla="*/ 2147483647 w 414"/>
                <a:gd name="T79" fmla="*/ 2147483647 h 528"/>
                <a:gd name="T80" fmla="*/ 2147483647 w 414"/>
                <a:gd name="T81" fmla="*/ 2147483647 h 528"/>
                <a:gd name="T82" fmla="*/ 2147483647 w 414"/>
                <a:gd name="T83" fmla="*/ 2147483647 h 528"/>
                <a:gd name="T84" fmla="*/ 2147483647 w 414"/>
                <a:gd name="T85" fmla="*/ 2147483647 h 528"/>
                <a:gd name="T86" fmla="*/ 2147483647 w 414"/>
                <a:gd name="T87" fmla="*/ 2147483647 h 528"/>
                <a:gd name="T88" fmla="*/ 2147483647 w 414"/>
                <a:gd name="T89" fmla="*/ 2147483647 h 5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4"/>
                <a:gd name="T136" fmla="*/ 0 h 528"/>
                <a:gd name="T137" fmla="*/ 414 w 414"/>
                <a:gd name="T138" fmla="*/ 528 h 5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4" h="528">
                  <a:moveTo>
                    <a:pt x="60" y="372"/>
                  </a:moveTo>
                  <a:lnTo>
                    <a:pt x="72" y="366"/>
                  </a:lnTo>
                  <a:lnTo>
                    <a:pt x="78" y="360"/>
                  </a:lnTo>
                  <a:lnTo>
                    <a:pt x="78" y="342"/>
                  </a:lnTo>
                  <a:lnTo>
                    <a:pt x="72" y="342"/>
                  </a:lnTo>
                  <a:lnTo>
                    <a:pt x="54" y="360"/>
                  </a:lnTo>
                  <a:lnTo>
                    <a:pt x="54" y="372"/>
                  </a:lnTo>
                  <a:lnTo>
                    <a:pt x="60" y="372"/>
                  </a:lnTo>
                  <a:close/>
                  <a:moveTo>
                    <a:pt x="414" y="174"/>
                  </a:moveTo>
                  <a:lnTo>
                    <a:pt x="390" y="156"/>
                  </a:lnTo>
                  <a:lnTo>
                    <a:pt x="396" y="156"/>
                  </a:lnTo>
                  <a:lnTo>
                    <a:pt x="396" y="150"/>
                  </a:lnTo>
                  <a:lnTo>
                    <a:pt x="402" y="150"/>
                  </a:lnTo>
                  <a:lnTo>
                    <a:pt x="402" y="126"/>
                  </a:lnTo>
                  <a:lnTo>
                    <a:pt x="372" y="126"/>
                  </a:lnTo>
                  <a:lnTo>
                    <a:pt x="360" y="114"/>
                  </a:lnTo>
                  <a:lnTo>
                    <a:pt x="360" y="108"/>
                  </a:lnTo>
                  <a:lnTo>
                    <a:pt x="354" y="102"/>
                  </a:lnTo>
                  <a:lnTo>
                    <a:pt x="354" y="96"/>
                  </a:lnTo>
                  <a:lnTo>
                    <a:pt x="342" y="90"/>
                  </a:lnTo>
                  <a:lnTo>
                    <a:pt x="336" y="90"/>
                  </a:lnTo>
                  <a:lnTo>
                    <a:pt x="330" y="96"/>
                  </a:lnTo>
                  <a:lnTo>
                    <a:pt x="330" y="108"/>
                  </a:lnTo>
                  <a:lnTo>
                    <a:pt x="306" y="108"/>
                  </a:lnTo>
                  <a:lnTo>
                    <a:pt x="300" y="102"/>
                  </a:lnTo>
                  <a:lnTo>
                    <a:pt x="288" y="96"/>
                  </a:lnTo>
                  <a:lnTo>
                    <a:pt x="282" y="102"/>
                  </a:lnTo>
                  <a:lnTo>
                    <a:pt x="270" y="102"/>
                  </a:lnTo>
                  <a:lnTo>
                    <a:pt x="258" y="96"/>
                  </a:lnTo>
                  <a:lnTo>
                    <a:pt x="252" y="90"/>
                  </a:lnTo>
                  <a:lnTo>
                    <a:pt x="252" y="84"/>
                  </a:lnTo>
                  <a:lnTo>
                    <a:pt x="246" y="72"/>
                  </a:lnTo>
                  <a:lnTo>
                    <a:pt x="240" y="66"/>
                  </a:lnTo>
                  <a:lnTo>
                    <a:pt x="228" y="60"/>
                  </a:lnTo>
                  <a:lnTo>
                    <a:pt x="210" y="60"/>
                  </a:lnTo>
                  <a:lnTo>
                    <a:pt x="204" y="48"/>
                  </a:lnTo>
                  <a:lnTo>
                    <a:pt x="168" y="30"/>
                  </a:lnTo>
                  <a:lnTo>
                    <a:pt x="162" y="18"/>
                  </a:lnTo>
                  <a:lnTo>
                    <a:pt x="150" y="12"/>
                  </a:lnTo>
                  <a:lnTo>
                    <a:pt x="144" y="0"/>
                  </a:lnTo>
                  <a:lnTo>
                    <a:pt x="144" y="12"/>
                  </a:lnTo>
                  <a:lnTo>
                    <a:pt x="150" y="18"/>
                  </a:lnTo>
                  <a:lnTo>
                    <a:pt x="150" y="36"/>
                  </a:lnTo>
                  <a:lnTo>
                    <a:pt x="144" y="42"/>
                  </a:lnTo>
                  <a:lnTo>
                    <a:pt x="120" y="54"/>
                  </a:lnTo>
                  <a:lnTo>
                    <a:pt x="102" y="54"/>
                  </a:lnTo>
                  <a:lnTo>
                    <a:pt x="96" y="42"/>
                  </a:lnTo>
                  <a:lnTo>
                    <a:pt x="90" y="42"/>
                  </a:lnTo>
                  <a:lnTo>
                    <a:pt x="78" y="54"/>
                  </a:lnTo>
                  <a:lnTo>
                    <a:pt x="66" y="60"/>
                  </a:lnTo>
                  <a:lnTo>
                    <a:pt x="60" y="72"/>
                  </a:lnTo>
                  <a:lnTo>
                    <a:pt x="60" y="84"/>
                  </a:lnTo>
                  <a:lnTo>
                    <a:pt x="66" y="90"/>
                  </a:lnTo>
                  <a:lnTo>
                    <a:pt x="72" y="102"/>
                  </a:lnTo>
                  <a:lnTo>
                    <a:pt x="72" y="120"/>
                  </a:lnTo>
                  <a:lnTo>
                    <a:pt x="66" y="126"/>
                  </a:lnTo>
                  <a:lnTo>
                    <a:pt x="54" y="132"/>
                  </a:lnTo>
                  <a:lnTo>
                    <a:pt x="42" y="144"/>
                  </a:lnTo>
                  <a:lnTo>
                    <a:pt x="42" y="162"/>
                  </a:lnTo>
                  <a:lnTo>
                    <a:pt x="48" y="168"/>
                  </a:lnTo>
                  <a:lnTo>
                    <a:pt x="54" y="180"/>
                  </a:lnTo>
                  <a:lnTo>
                    <a:pt x="36" y="180"/>
                  </a:lnTo>
                  <a:lnTo>
                    <a:pt x="36" y="198"/>
                  </a:lnTo>
                  <a:lnTo>
                    <a:pt x="0" y="216"/>
                  </a:lnTo>
                  <a:lnTo>
                    <a:pt x="24" y="228"/>
                  </a:lnTo>
                  <a:lnTo>
                    <a:pt x="12" y="258"/>
                  </a:lnTo>
                  <a:lnTo>
                    <a:pt x="24" y="270"/>
                  </a:lnTo>
                  <a:lnTo>
                    <a:pt x="24" y="282"/>
                  </a:lnTo>
                  <a:lnTo>
                    <a:pt x="6" y="300"/>
                  </a:lnTo>
                  <a:lnTo>
                    <a:pt x="0" y="300"/>
                  </a:lnTo>
                  <a:lnTo>
                    <a:pt x="12" y="312"/>
                  </a:lnTo>
                  <a:lnTo>
                    <a:pt x="6" y="318"/>
                  </a:lnTo>
                  <a:lnTo>
                    <a:pt x="6" y="324"/>
                  </a:lnTo>
                  <a:lnTo>
                    <a:pt x="18" y="336"/>
                  </a:lnTo>
                  <a:lnTo>
                    <a:pt x="30" y="342"/>
                  </a:lnTo>
                  <a:lnTo>
                    <a:pt x="60" y="342"/>
                  </a:lnTo>
                  <a:lnTo>
                    <a:pt x="72" y="330"/>
                  </a:lnTo>
                  <a:lnTo>
                    <a:pt x="72" y="324"/>
                  </a:lnTo>
                  <a:lnTo>
                    <a:pt x="96" y="330"/>
                  </a:lnTo>
                  <a:lnTo>
                    <a:pt x="102" y="342"/>
                  </a:lnTo>
                  <a:lnTo>
                    <a:pt x="102" y="348"/>
                  </a:lnTo>
                  <a:lnTo>
                    <a:pt x="96" y="366"/>
                  </a:lnTo>
                  <a:lnTo>
                    <a:pt x="90" y="372"/>
                  </a:lnTo>
                  <a:lnTo>
                    <a:pt x="90" y="384"/>
                  </a:lnTo>
                  <a:lnTo>
                    <a:pt x="84" y="396"/>
                  </a:lnTo>
                  <a:lnTo>
                    <a:pt x="72" y="402"/>
                  </a:lnTo>
                  <a:lnTo>
                    <a:pt x="66" y="402"/>
                  </a:lnTo>
                  <a:lnTo>
                    <a:pt x="60" y="408"/>
                  </a:lnTo>
                  <a:lnTo>
                    <a:pt x="54" y="408"/>
                  </a:lnTo>
                  <a:lnTo>
                    <a:pt x="60" y="408"/>
                  </a:lnTo>
                  <a:lnTo>
                    <a:pt x="72" y="414"/>
                  </a:lnTo>
                  <a:lnTo>
                    <a:pt x="78" y="414"/>
                  </a:lnTo>
                  <a:lnTo>
                    <a:pt x="78" y="420"/>
                  </a:lnTo>
                  <a:lnTo>
                    <a:pt x="72" y="426"/>
                  </a:lnTo>
                  <a:lnTo>
                    <a:pt x="66" y="438"/>
                  </a:lnTo>
                  <a:lnTo>
                    <a:pt x="54" y="444"/>
                  </a:lnTo>
                  <a:lnTo>
                    <a:pt x="48" y="456"/>
                  </a:lnTo>
                  <a:lnTo>
                    <a:pt x="42" y="462"/>
                  </a:lnTo>
                  <a:lnTo>
                    <a:pt x="54" y="474"/>
                  </a:lnTo>
                  <a:lnTo>
                    <a:pt x="42" y="486"/>
                  </a:lnTo>
                  <a:lnTo>
                    <a:pt x="48" y="492"/>
                  </a:lnTo>
                  <a:lnTo>
                    <a:pt x="54" y="492"/>
                  </a:lnTo>
                  <a:lnTo>
                    <a:pt x="66" y="486"/>
                  </a:lnTo>
                  <a:lnTo>
                    <a:pt x="78" y="474"/>
                  </a:lnTo>
                  <a:lnTo>
                    <a:pt x="90" y="486"/>
                  </a:lnTo>
                  <a:lnTo>
                    <a:pt x="120" y="486"/>
                  </a:lnTo>
                  <a:lnTo>
                    <a:pt x="120" y="492"/>
                  </a:lnTo>
                  <a:lnTo>
                    <a:pt x="126" y="498"/>
                  </a:lnTo>
                  <a:lnTo>
                    <a:pt x="126" y="516"/>
                  </a:lnTo>
                  <a:lnTo>
                    <a:pt x="132" y="528"/>
                  </a:lnTo>
                  <a:lnTo>
                    <a:pt x="150" y="528"/>
                  </a:lnTo>
                  <a:lnTo>
                    <a:pt x="150" y="522"/>
                  </a:lnTo>
                  <a:lnTo>
                    <a:pt x="156" y="516"/>
                  </a:lnTo>
                  <a:lnTo>
                    <a:pt x="156" y="510"/>
                  </a:lnTo>
                  <a:lnTo>
                    <a:pt x="162" y="504"/>
                  </a:lnTo>
                  <a:lnTo>
                    <a:pt x="180" y="504"/>
                  </a:lnTo>
                  <a:lnTo>
                    <a:pt x="180" y="474"/>
                  </a:lnTo>
                  <a:lnTo>
                    <a:pt x="186" y="462"/>
                  </a:lnTo>
                  <a:lnTo>
                    <a:pt x="186" y="438"/>
                  </a:lnTo>
                  <a:lnTo>
                    <a:pt x="198" y="426"/>
                  </a:lnTo>
                  <a:lnTo>
                    <a:pt x="198" y="408"/>
                  </a:lnTo>
                  <a:lnTo>
                    <a:pt x="210" y="402"/>
                  </a:lnTo>
                  <a:lnTo>
                    <a:pt x="210" y="396"/>
                  </a:lnTo>
                  <a:lnTo>
                    <a:pt x="228" y="378"/>
                  </a:lnTo>
                  <a:lnTo>
                    <a:pt x="246" y="366"/>
                  </a:lnTo>
                  <a:lnTo>
                    <a:pt x="264" y="360"/>
                  </a:lnTo>
                  <a:lnTo>
                    <a:pt x="324" y="330"/>
                  </a:lnTo>
                  <a:lnTo>
                    <a:pt x="342" y="318"/>
                  </a:lnTo>
                  <a:lnTo>
                    <a:pt x="354" y="300"/>
                  </a:lnTo>
                  <a:lnTo>
                    <a:pt x="366" y="288"/>
                  </a:lnTo>
                  <a:lnTo>
                    <a:pt x="372" y="276"/>
                  </a:lnTo>
                  <a:lnTo>
                    <a:pt x="384" y="264"/>
                  </a:lnTo>
                  <a:lnTo>
                    <a:pt x="390" y="252"/>
                  </a:lnTo>
                  <a:lnTo>
                    <a:pt x="402" y="210"/>
                  </a:lnTo>
                  <a:lnTo>
                    <a:pt x="414" y="204"/>
                  </a:lnTo>
                  <a:lnTo>
                    <a:pt x="414" y="174"/>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71" name="Dominikanische Republik" descr="© INSCALE GmbH, 05.05.2010&#10;http://www.presentationload.com/">
              <a:extLst>
                <a:ext uri="{FF2B5EF4-FFF2-40B4-BE49-F238E27FC236}">
                  <a16:creationId xmlns:a16="http://schemas.microsoft.com/office/drawing/2014/main" id="{654B0100-1C9C-4630-A9AC-05165871FD8A}"/>
                </a:ext>
              </a:extLst>
            </p:cNvPr>
            <p:cNvSpPr>
              <a:spLocks/>
            </p:cNvSpPr>
            <p:nvPr/>
          </p:nvSpPr>
          <p:spPr bwMode="gray">
            <a:xfrm>
              <a:off x="2126993" y="3616012"/>
              <a:ext cx="98785" cy="65857"/>
            </a:xfrm>
            <a:custGeom>
              <a:avLst/>
              <a:gdLst>
                <a:gd name="T0" fmla="*/ 2147483647 w 252"/>
                <a:gd name="T1" fmla="*/ 2147483647 h 168"/>
                <a:gd name="T2" fmla="*/ 2147483647 w 252"/>
                <a:gd name="T3" fmla="*/ 2147483647 h 168"/>
                <a:gd name="T4" fmla="*/ 2147483647 w 252"/>
                <a:gd name="T5" fmla="*/ 2147483647 h 168"/>
                <a:gd name="T6" fmla="*/ 2147483647 w 252"/>
                <a:gd name="T7" fmla="*/ 2147483647 h 168"/>
                <a:gd name="T8" fmla="*/ 2147483647 w 252"/>
                <a:gd name="T9" fmla="*/ 2147483647 h 168"/>
                <a:gd name="T10" fmla="*/ 2147483647 w 252"/>
                <a:gd name="T11" fmla="*/ 2147483647 h 168"/>
                <a:gd name="T12" fmla="*/ 2147483647 w 252"/>
                <a:gd name="T13" fmla="*/ 2147483647 h 168"/>
                <a:gd name="T14" fmla="*/ 2147483647 w 252"/>
                <a:gd name="T15" fmla="*/ 2147483647 h 168"/>
                <a:gd name="T16" fmla="*/ 2147483647 w 252"/>
                <a:gd name="T17" fmla="*/ 2147483647 h 168"/>
                <a:gd name="T18" fmla="*/ 2147483647 w 252"/>
                <a:gd name="T19" fmla="*/ 2147483647 h 168"/>
                <a:gd name="T20" fmla="*/ 2147483647 w 252"/>
                <a:gd name="T21" fmla="*/ 0 h 168"/>
                <a:gd name="T22" fmla="*/ 2147483647 w 252"/>
                <a:gd name="T23" fmla="*/ 0 h 168"/>
                <a:gd name="T24" fmla="*/ 2147483647 w 252"/>
                <a:gd name="T25" fmla="*/ 2147483647 h 168"/>
                <a:gd name="T26" fmla="*/ 2147483647 w 252"/>
                <a:gd name="T27" fmla="*/ 2147483647 h 168"/>
                <a:gd name="T28" fmla="*/ 2147483647 w 252"/>
                <a:gd name="T29" fmla="*/ 2147483647 h 168"/>
                <a:gd name="T30" fmla="*/ 2147483647 w 252"/>
                <a:gd name="T31" fmla="*/ 2147483647 h 168"/>
                <a:gd name="T32" fmla="*/ 2147483647 w 252"/>
                <a:gd name="T33" fmla="*/ 2147483647 h 168"/>
                <a:gd name="T34" fmla="*/ 2147483647 w 252"/>
                <a:gd name="T35" fmla="*/ 2147483647 h 168"/>
                <a:gd name="T36" fmla="*/ 2147483647 w 252"/>
                <a:gd name="T37" fmla="*/ 2147483647 h 168"/>
                <a:gd name="T38" fmla="*/ 2147483647 w 252"/>
                <a:gd name="T39" fmla="*/ 2147483647 h 168"/>
                <a:gd name="T40" fmla="*/ 2147483647 w 252"/>
                <a:gd name="T41" fmla="*/ 2147483647 h 168"/>
                <a:gd name="T42" fmla="*/ 0 w 252"/>
                <a:gd name="T43" fmla="*/ 2147483647 h 168"/>
                <a:gd name="T44" fmla="*/ 0 w 252"/>
                <a:gd name="T45" fmla="*/ 2147483647 h 168"/>
                <a:gd name="T46" fmla="*/ 2147483647 w 252"/>
                <a:gd name="T47" fmla="*/ 2147483647 h 168"/>
                <a:gd name="T48" fmla="*/ 0 w 252"/>
                <a:gd name="T49" fmla="*/ 2147483647 h 168"/>
                <a:gd name="T50" fmla="*/ 2147483647 w 252"/>
                <a:gd name="T51" fmla="*/ 2147483647 h 168"/>
                <a:gd name="T52" fmla="*/ 2147483647 w 252"/>
                <a:gd name="T53" fmla="*/ 2147483647 h 168"/>
                <a:gd name="T54" fmla="*/ 2147483647 w 252"/>
                <a:gd name="T55" fmla="*/ 2147483647 h 168"/>
                <a:gd name="T56" fmla="*/ 2147483647 w 252"/>
                <a:gd name="T57" fmla="*/ 2147483647 h 168"/>
                <a:gd name="T58" fmla="*/ 2147483647 w 252"/>
                <a:gd name="T59" fmla="*/ 2147483647 h 168"/>
                <a:gd name="T60" fmla="*/ 2147483647 w 252"/>
                <a:gd name="T61" fmla="*/ 2147483647 h 168"/>
                <a:gd name="T62" fmla="*/ 2147483647 w 252"/>
                <a:gd name="T63" fmla="*/ 2147483647 h 168"/>
                <a:gd name="T64" fmla="*/ 2147483647 w 252"/>
                <a:gd name="T65" fmla="*/ 2147483647 h 168"/>
                <a:gd name="T66" fmla="*/ 2147483647 w 252"/>
                <a:gd name="T67" fmla="*/ 2147483647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2"/>
                <a:gd name="T103" fmla="*/ 0 h 168"/>
                <a:gd name="T104" fmla="*/ 252 w 252"/>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2" h="168">
                  <a:moveTo>
                    <a:pt x="246" y="102"/>
                  </a:moveTo>
                  <a:lnTo>
                    <a:pt x="234" y="96"/>
                  </a:lnTo>
                  <a:lnTo>
                    <a:pt x="216" y="78"/>
                  </a:lnTo>
                  <a:lnTo>
                    <a:pt x="192" y="66"/>
                  </a:lnTo>
                  <a:lnTo>
                    <a:pt x="156" y="54"/>
                  </a:lnTo>
                  <a:lnTo>
                    <a:pt x="132" y="42"/>
                  </a:lnTo>
                  <a:lnTo>
                    <a:pt x="126" y="30"/>
                  </a:lnTo>
                  <a:lnTo>
                    <a:pt x="108" y="12"/>
                  </a:lnTo>
                  <a:lnTo>
                    <a:pt x="96" y="6"/>
                  </a:lnTo>
                  <a:lnTo>
                    <a:pt x="84" y="6"/>
                  </a:lnTo>
                  <a:lnTo>
                    <a:pt x="60" y="0"/>
                  </a:lnTo>
                  <a:lnTo>
                    <a:pt x="30" y="0"/>
                  </a:lnTo>
                  <a:lnTo>
                    <a:pt x="24" y="6"/>
                  </a:lnTo>
                  <a:lnTo>
                    <a:pt x="18" y="6"/>
                  </a:lnTo>
                  <a:lnTo>
                    <a:pt x="30" y="42"/>
                  </a:lnTo>
                  <a:lnTo>
                    <a:pt x="30" y="54"/>
                  </a:lnTo>
                  <a:lnTo>
                    <a:pt x="24" y="60"/>
                  </a:lnTo>
                  <a:lnTo>
                    <a:pt x="18" y="72"/>
                  </a:lnTo>
                  <a:lnTo>
                    <a:pt x="12" y="78"/>
                  </a:lnTo>
                  <a:lnTo>
                    <a:pt x="12" y="90"/>
                  </a:lnTo>
                  <a:lnTo>
                    <a:pt x="6" y="102"/>
                  </a:lnTo>
                  <a:lnTo>
                    <a:pt x="0" y="108"/>
                  </a:lnTo>
                  <a:lnTo>
                    <a:pt x="0" y="114"/>
                  </a:lnTo>
                  <a:lnTo>
                    <a:pt x="12" y="144"/>
                  </a:lnTo>
                  <a:lnTo>
                    <a:pt x="0" y="126"/>
                  </a:lnTo>
                  <a:lnTo>
                    <a:pt x="30" y="168"/>
                  </a:lnTo>
                  <a:lnTo>
                    <a:pt x="78" y="132"/>
                  </a:lnTo>
                  <a:lnTo>
                    <a:pt x="174" y="132"/>
                  </a:lnTo>
                  <a:lnTo>
                    <a:pt x="186" y="138"/>
                  </a:lnTo>
                  <a:lnTo>
                    <a:pt x="240" y="138"/>
                  </a:lnTo>
                  <a:lnTo>
                    <a:pt x="246" y="132"/>
                  </a:lnTo>
                  <a:lnTo>
                    <a:pt x="252" y="120"/>
                  </a:lnTo>
                  <a:lnTo>
                    <a:pt x="252" y="114"/>
                  </a:lnTo>
                  <a:lnTo>
                    <a:pt x="246" y="10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72" name="Djibouti" descr="© INSCALE GmbH, 05.05.2010&#10;http://www.presentationload.com/">
              <a:extLst>
                <a:ext uri="{FF2B5EF4-FFF2-40B4-BE49-F238E27FC236}">
                  <a16:creationId xmlns:a16="http://schemas.microsoft.com/office/drawing/2014/main" id="{18FC090A-9CB3-4AFA-81E3-052DCA5588DE}"/>
                </a:ext>
              </a:extLst>
            </p:cNvPr>
            <p:cNvSpPr>
              <a:spLocks/>
            </p:cNvSpPr>
            <p:nvPr/>
          </p:nvSpPr>
          <p:spPr bwMode="gray">
            <a:xfrm>
              <a:off x="5302240" y="3846512"/>
              <a:ext cx="47041" cy="54881"/>
            </a:xfrm>
            <a:custGeom>
              <a:avLst/>
              <a:gdLst>
                <a:gd name="T0" fmla="*/ 2147483647 w 114"/>
                <a:gd name="T1" fmla="*/ 2147483647 h 138"/>
                <a:gd name="T2" fmla="*/ 2147483647 w 114"/>
                <a:gd name="T3" fmla="*/ 2147483647 h 138"/>
                <a:gd name="T4" fmla="*/ 2147483647 w 114"/>
                <a:gd name="T5" fmla="*/ 2147483647 h 138"/>
                <a:gd name="T6" fmla="*/ 0 w 114"/>
                <a:gd name="T7" fmla="*/ 2147483647 h 138"/>
                <a:gd name="T8" fmla="*/ 0 w 114"/>
                <a:gd name="T9" fmla="*/ 2147483647 h 138"/>
                <a:gd name="T10" fmla="*/ 2147483647 w 114"/>
                <a:gd name="T11" fmla="*/ 2147483647 h 138"/>
                <a:gd name="T12" fmla="*/ 2147483647 w 114"/>
                <a:gd name="T13" fmla="*/ 2147483647 h 138"/>
                <a:gd name="T14" fmla="*/ 2147483647 w 114"/>
                <a:gd name="T15" fmla="*/ 2147483647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2147483647 w 114"/>
                <a:gd name="T29" fmla="*/ 2147483647 h 138"/>
                <a:gd name="T30" fmla="*/ 2147483647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0 h 138"/>
                <a:gd name="T56" fmla="*/ 2147483647 w 114"/>
                <a:gd name="T57" fmla="*/ 2147483647 h 138"/>
                <a:gd name="T58" fmla="*/ 2147483647 w 11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14"/>
                <a:gd name="T91" fmla="*/ 0 h 138"/>
                <a:gd name="T92" fmla="*/ 114 w 11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14" h="138">
                  <a:moveTo>
                    <a:pt x="72" y="24"/>
                  </a:moveTo>
                  <a:lnTo>
                    <a:pt x="48" y="12"/>
                  </a:lnTo>
                  <a:lnTo>
                    <a:pt x="18" y="66"/>
                  </a:lnTo>
                  <a:lnTo>
                    <a:pt x="0" y="84"/>
                  </a:lnTo>
                  <a:lnTo>
                    <a:pt x="0" y="96"/>
                  </a:lnTo>
                  <a:lnTo>
                    <a:pt x="6" y="114"/>
                  </a:lnTo>
                  <a:lnTo>
                    <a:pt x="6" y="126"/>
                  </a:lnTo>
                  <a:lnTo>
                    <a:pt x="18" y="138"/>
                  </a:lnTo>
                  <a:lnTo>
                    <a:pt x="42" y="138"/>
                  </a:lnTo>
                  <a:lnTo>
                    <a:pt x="48" y="132"/>
                  </a:lnTo>
                  <a:lnTo>
                    <a:pt x="54" y="132"/>
                  </a:lnTo>
                  <a:lnTo>
                    <a:pt x="60" y="126"/>
                  </a:lnTo>
                  <a:lnTo>
                    <a:pt x="72" y="126"/>
                  </a:lnTo>
                  <a:lnTo>
                    <a:pt x="84" y="132"/>
                  </a:lnTo>
                  <a:lnTo>
                    <a:pt x="90" y="138"/>
                  </a:lnTo>
                  <a:lnTo>
                    <a:pt x="90" y="132"/>
                  </a:lnTo>
                  <a:lnTo>
                    <a:pt x="114" y="108"/>
                  </a:lnTo>
                  <a:lnTo>
                    <a:pt x="114" y="102"/>
                  </a:lnTo>
                  <a:lnTo>
                    <a:pt x="102" y="90"/>
                  </a:lnTo>
                  <a:lnTo>
                    <a:pt x="66" y="90"/>
                  </a:lnTo>
                  <a:lnTo>
                    <a:pt x="78" y="84"/>
                  </a:lnTo>
                  <a:lnTo>
                    <a:pt x="84" y="72"/>
                  </a:lnTo>
                  <a:lnTo>
                    <a:pt x="96" y="66"/>
                  </a:lnTo>
                  <a:lnTo>
                    <a:pt x="102" y="54"/>
                  </a:lnTo>
                  <a:lnTo>
                    <a:pt x="114" y="42"/>
                  </a:lnTo>
                  <a:lnTo>
                    <a:pt x="114" y="24"/>
                  </a:lnTo>
                  <a:lnTo>
                    <a:pt x="108" y="12"/>
                  </a:lnTo>
                  <a:lnTo>
                    <a:pt x="96" y="0"/>
                  </a:lnTo>
                  <a:lnTo>
                    <a:pt x="84" y="6"/>
                  </a:lnTo>
                  <a:lnTo>
                    <a:pt x="72" y="24"/>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73" name="Deutschland" descr="© INSCALE GmbH, 05.05.2010&#10;http://www.presentationload.com/">
              <a:extLst>
                <a:ext uri="{FF2B5EF4-FFF2-40B4-BE49-F238E27FC236}">
                  <a16:creationId xmlns:a16="http://schemas.microsoft.com/office/drawing/2014/main" id="{6AD71C99-3D85-4A0B-9AAA-1FD39129D526}"/>
                </a:ext>
              </a:extLst>
            </p:cNvPr>
            <p:cNvSpPr>
              <a:spLocks/>
            </p:cNvSpPr>
            <p:nvPr/>
          </p:nvSpPr>
          <p:spPr bwMode="gray">
            <a:xfrm>
              <a:off x="4311250" y="2505851"/>
              <a:ext cx="224227" cy="233636"/>
            </a:xfrm>
            <a:custGeom>
              <a:avLst/>
              <a:gdLst>
                <a:gd name="T0" fmla="*/ 2147483647 w 564"/>
                <a:gd name="T1" fmla="*/ 2147483647 h 588"/>
                <a:gd name="T2" fmla="*/ 2147483647 w 564"/>
                <a:gd name="T3" fmla="*/ 2147483647 h 588"/>
                <a:gd name="T4" fmla="*/ 2147483647 w 564"/>
                <a:gd name="T5" fmla="*/ 2147483647 h 588"/>
                <a:gd name="T6" fmla="*/ 2147483647 w 564"/>
                <a:gd name="T7" fmla="*/ 2147483647 h 588"/>
                <a:gd name="T8" fmla="*/ 2147483647 w 564"/>
                <a:gd name="T9" fmla="*/ 2147483647 h 588"/>
                <a:gd name="T10" fmla="*/ 2147483647 w 564"/>
                <a:gd name="T11" fmla="*/ 2147483647 h 588"/>
                <a:gd name="T12" fmla="*/ 2147483647 w 564"/>
                <a:gd name="T13" fmla="*/ 2147483647 h 588"/>
                <a:gd name="T14" fmla="*/ 2147483647 w 564"/>
                <a:gd name="T15" fmla="*/ 2147483647 h 588"/>
                <a:gd name="T16" fmla="*/ 2147483647 w 564"/>
                <a:gd name="T17" fmla="*/ 2147483647 h 588"/>
                <a:gd name="T18" fmla="*/ 2147483647 w 564"/>
                <a:gd name="T19" fmla="*/ 2147483647 h 588"/>
                <a:gd name="T20" fmla="*/ 2147483647 w 564"/>
                <a:gd name="T21" fmla="*/ 2147483647 h 588"/>
                <a:gd name="T22" fmla="*/ 2147483647 w 564"/>
                <a:gd name="T23" fmla="*/ 2147483647 h 588"/>
                <a:gd name="T24" fmla="*/ 2147483647 w 564"/>
                <a:gd name="T25" fmla="*/ 2147483647 h 588"/>
                <a:gd name="T26" fmla="*/ 2147483647 w 564"/>
                <a:gd name="T27" fmla="*/ 2147483647 h 588"/>
                <a:gd name="T28" fmla="*/ 2147483647 w 564"/>
                <a:gd name="T29" fmla="*/ 2147483647 h 588"/>
                <a:gd name="T30" fmla="*/ 2147483647 w 564"/>
                <a:gd name="T31" fmla="*/ 2147483647 h 588"/>
                <a:gd name="T32" fmla="*/ 2147483647 w 564"/>
                <a:gd name="T33" fmla="*/ 2147483647 h 588"/>
                <a:gd name="T34" fmla="*/ 2147483647 w 564"/>
                <a:gd name="T35" fmla="*/ 2147483647 h 588"/>
                <a:gd name="T36" fmla="*/ 2147483647 w 564"/>
                <a:gd name="T37" fmla="*/ 2147483647 h 588"/>
                <a:gd name="T38" fmla="*/ 2147483647 w 564"/>
                <a:gd name="T39" fmla="*/ 2147483647 h 588"/>
                <a:gd name="T40" fmla="*/ 2147483647 w 564"/>
                <a:gd name="T41" fmla="*/ 2147483647 h 588"/>
                <a:gd name="T42" fmla="*/ 2147483647 w 564"/>
                <a:gd name="T43" fmla="*/ 2147483647 h 588"/>
                <a:gd name="T44" fmla="*/ 2147483647 w 564"/>
                <a:gd name="T45" fmla="*/ 2147483647 h 588"/>
                <a:gd name="T46" fmla="*/ 2147483647 w 564"/>
                <a:gd name="T47" fmla="*/ 2147483647 h 588"/>
                <a:gd name="T48" fmla="*/ 2147483647 w 564"/>
                <a:gd name="T49" fmla="*/ 2147483647 h 588"/>
                <a:gd name="T50" fmla="*/ 2147483647 w 564"/>
                <a:gd name="T51" fmla="*/ 2147483647 h 588"/>
                <a:gd name="T52" fmla="*/ 2147483647 w 564"/>
                <a:gd name="T53" fmla="*/ 2147483647 h 588"/>
                <a:gd name="T54" fmla="*/ 2147483647 w 564"/>
                <a:gd name="T55" fmla="*/ 2147483647 h 588"/>
                <a:gd name="T56" fmla="*/ 2147483647 w 564"/>
                <a:gd name="T57" fmla="*/ 2147483647 h 588"/>
                <a:gd name="T58" fmla="*/ 2147483647 w 564"/>
                <a:gd name="T59" fmla="*/ 2147483647 h 588"/>
                <a:gd name="T60" fmla="*/ 2147483647 w 564"/>
                <a:gd name="T61" fmla="*/ 2147483647 h 588"/>
                <a:gd name="T62" fmla="*/ 2147483647 w 564"/>
                <a:gd name="T63" fmla="*/ 2147483647 h 588"/>
                <a:gd name="T64" fmla="*/ 2147483647 w 564"/>
                <a:gd name="T65" fmla="*/ 2147483647 h 588"/>
                <a:gd name="T66" fmla="*/ 2147483647 w 564"/>
                <a:gd name="T67" fmla="*/ 2147483647 h 588"/>
                <a:gd name="T68" fmla="*/ 2147483647 w 564"/>
                <a:gd name="T69" fmla="*/ 2147483647 h 588"/>
                <a:gd name="T70" fmla="*/ 2147483647 w 564"/>
                <a:gd name="T71" fmla="*/ 2147483647 h 588"/>
                <a:gd name="T72" fmla="*/ 2147483647 w 564"/>
                <a:gd name="T73" fmla="*/ 2147483647 h 588"/>
                <a:gd name="T74" fmla="*/ 2147483647 w 564"/>
                <a:gd name="T75" fmla="*/ 2147483647 h 588"/>
                <a:gd name="T76" fmla="*/ 2147483647 w 564"/>
                <a:gd name="T77" fmla="*/ 2147483647 h 588"/>
                <a:gd name="T78" fmla="*/ 2147483647 w 564"/>
                <a:gd name="T79" fmla="*/ 2147483647 h 588"/>
                <a:gd name="T80" fmla="*/ 2147483647 w 564"/>
                <a:gd name="T81" fmla="*/ 2147483647 h 588"/>
                <a:gd name="T82" fmla="*/ 2147483647 w 564"/>
                <a:gd name="T83" fmla="*/ 0 h 588"/>
                <a:gd name="T84" fmla="*/ 2147483647 w 564"/>
                <a:gd name="T85" fmla="*/ 2147483647 h 588"/>
                <a:gd name="T86" fmla="*/ 2147483647 w 564"/>
                <a:gd name="T87" fmla="*/ 2147483647 h 588"/>
                <a:gd name="T88" fmla="*/ 2147483647 w 564"/>
                <a:gd name="T89" fmla="*/ 2147483647 h 588"/>
                <a:gd name="T90" fmla="*/ 2147483647 w 564"/>
                <a:gd name="T91" fmla="*/ 2147483647 h 588"/>
                <a:gd name="T92" fmla="*/ 2147483647 w 564"/>
                <a:gd name="T93" fmla="*/ 2147483647 h 588"/>
                <a:gd name="T94" fmla="*/ 2147483647 w 564"/>
                <a:gd name="T95" fmla="*/ 2147483647 h 588"/>
                <a:gd name="T96" fmla="*/ 2147483647 w 564"/>
                <a:gd name="T97" fmla="*/ 2147483647 h 588"/>
                <a:gd name="T98" fmla="*/ 2147483647 w 564"/>
                <a:gd name="T99" fmla="*/ 2147483647 h 588"/>
                <a:gd name="T100" fmla="*/ 2147483647 w 564"/>
                <a:gd name="T101" fmla="*/ 2147483647 h 588"/>
                <a:gd name="T102" fmla="*/ 2147483647 w 564"/>
                <a:gd name="T103" fmla="*/ 2147483647 h 588"/>
                <a:gd name="T104" fmla="*/ 0 w 564"/>
                <a:gd name="T105" fmla="*/ 2147483647 h 588"/>
                <a:gd name="T106" fmla="*/ 2147483647 w 564"/>
                <a:gd name="T107" fmla="*/ 2147483647 h 588"/>
                <a:gd name="T108" fmla="*/ 2147483647 w 564"/>
                <a:gd name="T109" fmla="*/ 2147483647 h 588"/>
                <a:gd name="T110" fmla="*/ 2147483647 w 564"/>
                <a:gd name="T111" fmla="*/ 2147483647 h 5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64"/>
                <a:gd name="T169" fmla="*/ 0 h 588"/>
                <a:gd name="T170" fmla="*/ 564 w 564"/>
                <a:gd name="T171" fmla="*/ 588 h 5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64" h="588">
                  <a:moveTo>
                    <a:pt x="30" y="414"/>
                  </a:moveTo>
                  <a:lnTo>
                    <a:pt x="30" y="420"/>
                  </a:lnTo>
                  <a:lnTo>
                    <a:pt x="36" y="420"/>
                  </a:lnTo>
                  <a:lnTo>
                    <a:pt x="36" y="444"/>
                  </a:lnTo>
                  <a:lnTo>
                    <a:pt x="60" y="444"/>
                  </a:lnTo>
                  <a:lnTo>
                    <a:pt x="60" y="450"/>
                  </a:lnTo>
                  <a:lnTo>
                    <a:pt x="72" y="450"/>
                  </a:lnTo>
                  <a:lnTo>
                    <a:pt x="84" y="444"/>
                  </a:lnTo>
                  <a:lnTo>
                    <a:pt x="96" y="444"/>
                  </a:lnTo>
                  <a:lnTo>
                    <a:pt x="96" y="450"/>
                  </a:lnTo>
                  <a:lnTo>
                    <a:pt x="120" y="450"/>
                  </a:lnTo>
                  <a:lnTo>
                    <a:pt x="138" y="456"/>
                  </a:lnTo>
                  <a:lnTo>
                    <a:pt x="132" y="468"/>
                  </a:lnTo>
                  <a:lnTo>
                    <a:pt x="114" y="486"/>
                  </a:lnTo>
                  <a:lnTo>
                    <a:pt x="114" y="498"/>
                  </a:lnTo>
                  <a:lnTo>
                    <a:pt x="108" y="510"/>
                  </a:lnTo>
                  <a:lnTo>
                    <a:pt x="102" y="516"/>
                  </a:lnTo>
                  <a:lnTo>
                    <a:pt x="96" y="528"/>
                  </a:lnTo>
                  <a:lnTo>
                    <a:pt x="96" y="570"/>
                  </a:lnTo>
                  <a:lnTo>
                    <a:pt x="132" y="570"/>
                  </a:lnTo>
                  <a:lnTo>
                    <a:pt x="150" y="564"/>
                  </a:lnTo>
                  <a:lnTo>
                    <a:pt x="156" y="570"/>
                  </a:lnTo>
                  <a:lnTo>
                    <a:pt x="150" y="564"/>
                  </a:lnTo>
                  <a:lnTo>
                    <a:pt x="150" y="552"/>
                  </a:lnTo>
                  <a:lnTo>
                    <a:pt x="156" y="546"/>
                  </a:lnTo>
                  <a:lnTo>
                    <a:pt x="162" y="546"/>
                  </a:lnTo>
                  <a:lnTo>
                    <a:pt x="174" y="552"/>
                  </a:lnTo>
                  <a:lnTo>
                    <a:pt x="180" y="558"/>
                  </a:lnTo>
                  <a:lnTo>
                    <a:pt x="192" y="558"/>
                  </a:lnTo>
                  <a:lnTo>
                    <a:pt x="210" y="564"/>
                  </a:lnTo>
                  <a:lnTo>
                    <a:pt x="216" y="576"/>
                  </a:lnTo>
                  <a:lnTo>
                    <a:pt x="252" y="576"/>
                  </a:lnTo>
                  <a:lnTo>
                    <a:pt x="258" y="582"/>
                  </a:lnTo>
                  <a:lnTo>
                    <a:pt x="258" y="588"/>
                  </a:lnTo>
                  <a:lnTo>
                    <a:pt x="270" y="588"/>
                  </a:lnTo>
                  <a:lnTo>
                    <a:pt x="276" y="582"/>
                  </a:lnTo>
                  <a:lnTo>
                    <a:pt x="276" y="570"/>
                  </a:lnTo>
                  <a:lnTo>
                    <a:pt x="294" y="570"/>
                  </a:lnTo>
                  <a:lnTo>
                    <a:pt x="312" y="588"/>
                  </a:lnTo>
                  <a:lnTo>
                    <a:pt x="330" y="588"/>
                  </a:lnTo>
                  <a:lnTo>
                    <a:pt x="336" y="582"/>
                  </a:lnTo>
                  <a:lnTo>
                    <a:pt x="354" y="570"/>
                  </a:lnTo>
                  <a:lnTo>
                    <a:pt x="372" y="570"/>
                  </a:lnTo>
                  <a:lnTo>
                    <a:pt x="390" y="558"/>
                  </a:lnTo>
                  <a:lnTo>
                    <a:pt x="402" y="564"/>
                  </a:lnTo>
                  <a:lnTo>
                    <a:pt x="420" y="570"/>
                  </a:lnTo>
                  <a:lnTo>
                    <a:pt x="432" y="582"/>
                  </a:lnTo>
                  <a:lnTo>
                    <a:pt x="438" y="582"/>
                  </a:lnTo>
                  <a:lnTo>
                    <a:pt x="438" y="540"/>
                  </a:lnTo>
                  <a:lnTo>
                    <a:pt x="426" y="540"/>
                  </a:lnTo>
                  <a:lnTo>
                    <a:pt x="426" y="534"/>
                  </a:lnTo>
                  <a:lnTo>
                    <a:pt x="432" y="528"/>
                  </a:lnTo>
                  <a:lnTo>
                    <a:pt x="432" y="522"/>
                  </a:lnTo>
                  <a:lnTo>
                    <a:pt x="438" y="516"/>
                  </a:lnTo>
                  <a:lnTo>
                    <a:pt x="456" y="516"/>
                  </a:lnTo>
                  <a:lnTo>
                    <a:pt x="462" y="522"/>
                  </a:lnTo>
                  <a:lnTo>
                    <a:pt x="468" y="522"/>
                  </a:lnTo>
                  <a:lnTo>
                    <a:pt x="468" y="504"/>
                  </a:lnTo>
                  <a:lnTo>
                    <a:pt x="462" y="492"/>
                  </a:lnTo>
                  <a:lnTo>
                    <a:pt x="480" y="492"/>
                  </a:lnTo>
                  <a:lnTo>
                    <a:pt x="486" y="474"/>
                  </a:lnTo>
                  <a:lnTo>
                    <a:pt x="486" y="462"/>
                  </a:lnTo>
                  <a:lnTo>
                    <a:pt x="480" y="462"/>
                  </a:lnTo>
                  <a:lnTo>
                    <a:pt x="474" y="456"/>
                  </a:lnTo>
                  <a:lnTo>
                    <a:pt x="462" y="456"/>
                  </a:lnTo>
                  <a:lnTo>
                    <a:pt x="456" y="444"/>
                  </a:lnTo>
                  <a:lnTo>
                    <a:pt x="450" y="444"/>
                  </a:lnTo>
                  <a:lnTo>
                    <a:pt x="444" y="432"/>
                  </a:lnTo>
                  <a:lnTo>
                    <a:pt x="432" y="432"/>
                  </a:lnTo>
                  <a:lnTo>
                    <a:pt x="420" y="426"/>
                  </a:lnTo>
                  <a:lnTo>
                    <a:pt x="420" y="420"/>
                  </a:lnTo>
                  <a:lnTo>
                    <a:pt x="414" y="420"/>
                  </a:lnTo>
                  <a:lnTo>
                    <a:pt x="408" y="408"/>
                  </a:lnTo>
                  <a:lnTo>
                    <a:pt x="396" y="396"/>
                  </a:lnTo>
                  <a:lnTo>
                    <a:pt x="396" y="390"/>
                  </a:lnTo>
                  <a:lnTo>
                    <a:pt x="402" y="390"/>
                  </a:lnTo>
                  <a:lnTo>
                    <a:pt x="408" y="384"/>
                  </a:lnTo>
                  <a:lnTo>
                    <a:pt x="396" y="372"/>
                  </a:lnTo>
                  <a:lnTo>
                    <a:pt x="390" y="372"/>
                  </a:lnTo>
                  <a:lnTo>
                    <a:pt x="384" y="366"/>
                  </a:lnTo>
                  <a:lnTo>
                    <a:pt x="384" y="354"/>
                  </a:lnTo>
                  <a:lnTo>
                    <a:pt x="390" y="354"/>
                  </a:lnTo>
                  <a:lnTo>
                    <a:pt x="390" y="360"/>
                  </a:lnTo>
                  <a:lnTo>
                    <a:pt x="402" y="360"/>
                  </a:lnTo>
                  <a:lnTo>
                    <a:pt x="402" y="354"/>
                  </a:lnTo>
                  <a:lnTo>
                    <a:pt x="414" y="354"/>
                  </a:lnTo>
                  <a:lnTo>
                    <a:pt x="414" y="348"/>
                  </a:lnTo>
                  <a:lnTo>
                    <a:pt x="420" y="342"/>
                  </a:lnTo>
                  <a:lnTo>
                    <a:pt x="426" y="342"/>
                  </a:lnTo>
                  <a:lnTo>
                    <a:pt x="438" y="348"/>
                  </a:lnTo>
                  <a:lnTo>
                    <a:pt x="450" y="336"/>
                  </a:lnTo>
                  <a:lnTo>
                    <a:pt x="468" y="330"/>
                  </a:lnTo>
                  <a:lnTo>
                    <a:pt x="468" y="324"/>
                  </a:lnTo>
                  <a:lnTo>
                    <a:pt x="492" y="324"/>
                  </a:lnTo>
                  <a:lnTo>
                    <a:pt x="492" y="318"/>
                  </a:lnTo>
                  <a:lnTo>
                    <a:pt x="510" y="318"/>
                  </a:lnTo>
                  <a:lnTo>
                    <a:pt x="510" y="312"/>
                  </a:lnTo>
                  <a:lnTo>
                    <a:pt x="516" y="306"/>
                  </a:lnTo>
                  <a:lnTo>
                    <a:pt x="522" y="306"/>
                  </a:lnTo>
                  <a:lnTo>
                    <a:pt x="528" y="300"/>
                  </a:lnTo>
                  <a:lnTo>
                    <a:pt x="540" y="312"/>
                  </a:lnTo>
                  <a:lnTo>
                    <a:pt x="552" y="312"/>
                  </a:lnTo>
                  <a:lnTo>
                    <a:pt x="558" y="300"/>
                  </a:lnTo>
                  <a:lnTo>
                    <a:pt x="558" y="294"/>
                  </a:lnTo>
                  <a:lnTo>
                    <a:pt x="564" y="288"/>
                  </a:lnTo>
                  <a:lnTo>
                    <a:pt x="564" y="282"/>
                  </a:lnTo>
                  <a:lnTo>
                    <a:pt x="552" y="282"/>
                  </a:lnTo>
                  <a:lnTo>
                    <a:pt x="558" y="276"/>
                  </a:lnTo>
                  <a:lnTo>
                    <a:pt x="558" y="264"/>
                  </a:lnTo>
                  <a:lnTo>
                    <a:pt x="552" y="264"/>
                  </a:lnTo>
                  <a:lnTo>
                    <a:pt x="546" y="270"/>
                  </a:lnTo>
                  <a:lnTo>
                    <a:pt x="546" y="252"/>
                  </a:lnTo>
                  <a:lnTo>
                    <a:pt x="540" y="246"/>
                  </a:lnTo>
                  <a:lnTo>
                    <a:pt x="534" y="246"/>
                  </a:lnTo>
                  <a:lnTo>
                    <a:pt x="528" y="240"/>
                  </a:lnTo>
                  <a:lnTo>
                    <a:pt x="528" y="234"/>
                  </a:lnTo>
                  <a:lnTo>
                    <a:pt x="540" y="228"/>
                  </a:lnTo>
                  <a:lnTo>
                    <a:pt x="546" y="222"/>
                  </a:lnTo>
                  <a:lnTo>
                    <a:pt x="540" y="216"/>
                  </a:lnTo>
                  <a:lnTo>
                    <a:pt x="534" y="216"/>
                  </a:lnTo>
                  <a:lnTo>
                    <a:pt x="540" y="210"/>
                  </a:lnTo>
                  <a:lnTo>
                    <a:pt x="540" y="204"/>
                  </a:lnTo>
                  <a:lnTo>
                    <a:pt x="528" y="204"/>
                  </a:lnTo>
                  <a:lnTo>
                    <a:pt x="528" y="192"/>
                  </a:lnTo>
                  <a:lnTo>
                    <a:pt x="534" y="192"/>
                  </a:lnTo>
                  <a:lnTo>
                    <a:pt x="534" y="174"/>
                  </a:lnTo>
                  <a:lnTo>
                    <a:pt x="522" y="174"/>
                  </a:lnTo>
                  <a:lnTo>
                    <a:pt x="516" y="168"/>
                  </a:lnTo>
                  <a:lnTo>
                    <a:pt x="510" y="168"/>
                  </a:lnTo>
                  <a:lnTo>
                    <a:pt x="504" y="162"/>
                  </a:lnTo>
                  <a:lnTo>
                    <a:pt x="504" y="150"/>
                  </a:lnTo>
                  <a:lnTo>
                    <a:pt x="510" y="150"/>
                  </a:lnTo>
                  <a:lnTo>
                    <a:pt x="522" y="138"/>
                  </a:lnTo>
                  <a:lnTo>
                    <a:pt x="522" y="120"/>
                  </a:lnTo>
                  <a:lnTo>
                    <a:pt x="516" y="114"/>
                  </a:lnTo>
                  <a:lnTo>
                    <a:pt x="510" y="114"/>
                  </a:lnTo>
                  <a:lnTo>
                    <a:pt x="510" y="96"/>
                  </a:lnTo>
                  <a:lnTo>
                    <a:pt x="504" y="90"/>
                  </a:lnTo>
                  <a:lnTo>
                    <a:pt x="486" y="84"/>
                  </a:lnTo>
                  <a:lnTo>
                    <a:pt x="486" y="78"/>
                  </a:lnTo>
                  <a:lnTo>
                    <a:pt x="480" y="66"/>
                  </a:lnTo>
                  <a:lnTo>
                    <a:pt x="474" y="60"/>
                  </a:lnTo>
                  <a:lnTo>
                    <a:pt x="456" y="60"/>
                  </a:lnTo>
                  <a:lnTo>
                    <a:pt x="450" y="54"/>
                  </a:lnTo>
                  <a:lnTo>
                    <a:pt x="444" y="54"/>
                  </a:lnTo>
                  <a:lnTo>
                    <a:pt x="438" y="48"/>
                  </a:lnTo>
                  <a:lnTo>
                    <a:pt x="426" y="48"/>
                  </a:lnTo>
                  <a:lnTo>
                    <a:pt x="420" y="42"/>
                  </a:lnTo>
                  <a:lnTo>
                    <a:pt x="396" y="42"/>
                  </a:lnTo>
                  <a:lnTo>
                    <a:pt x="384" y="54"/>
                  </a:lnTo>
                  <a:lnTo>
                    <a:pt x="342" y="54"/>
                  </a:lnTo>
                  <a:lnTo>
                    <a:pt x="342" y="72"/>
                  </a:lnTo>
                  <a:lnTo>
                    <a:pt x="300" y="72"/>
                  </a:lnTo>
                  <a:lnTo>
                    <a:pt x="300" y="60"/>
                  </a:lnTo>
                  <a:lnTo>
                    <a:pt x="312" y="48"/>
                  </a:lnTo>
                  <a:lnTo>
                    <a:pt x="312" y="42"/>
                  </a:lnTo>
                  <a:lnTo>
                    <a:pt x="318" y="30"/>
                  </a:lnTo>
                  <a:lnTo>
                    <a:pt x="294" y="42"/>
                  </a:lnTo>
                  <a:lnTo>
                    <a:pt x="252" y="36"/>
                  </a:lnTo>
                  <a:lnTo>
                    <a:pt x="246" y="30"/>
                  </a:lnTo>
                  <a:lnTo>
                    <a:pt x="246" y="18"/>
                  </a:lnTo>
                  <a:lnTo>
                    <a:pt x="240" y="6"/>
                  </a:lnTo>
                  <a:lnTo>
                    <a:pt x="234" y="6"/>
                  </a:lnTo>
                  <a:lnTo>
                    <a:pt x="234" y="12"/>
                  </a:lnTo>
                  <a:lnTo>
                    <a:pt x="228" y="6"/>
                  </a:lnTo>
                  <a:lnTo>
                    <a:pt x="204" y="6"/>
                  </a:lnTo>
                  <a:lnTo>
                    <a:pt x="198" y="0"/>
                  </a:lnTo>
                  <a:lnTo>
                    <a:pt x="168" y="0"/>
                  </a:lnTo>
                  <a:lnTo>
                    <a:pt x="192" y="36"/>
                  </a:lnTo>
                  <a:lnTo>
                    <a:pt x="180" y="48"/>
                  </a:lnTo>
                  <a:lnTo>
                    <a:pt x="198" y="72"/>
                  </a:lnTo>
                  <a:lnTo>
                    <a:pt x="216" y="90"/>
                  </a:lnTo>
                  <a:lnTo>
                    <a:pt x="186" y="78"/>
                  </a:lnTo>
                  <a:lnTo>
                    <a:pt x="162" y="84"/>
                  </a:lnTo>
                  <a:lnTo>
                    <a:pt x="162" y="108"/>
                  </a:lnTo>
                  <a:lnTo>
                    <a:pt x="132" y="108"/>
                  </a:lnTo>
                  <a:lnTo>
                    <a:pt x="126" y="96"/>
                  </a:lnTo>
                  <a:lnTo>
                    <a:pt x="84" y="96"/>
                  </a:lnTo>
                  <a:lnTo>
                    <a:pt x="84" y="126"/>
                  </a:lnTo>
                  <a:lnTo>
                    <a:pt x="90" y="126"/>
                  </a:lnTo>
                  <a:lnTo>
                    <a:pt x="84" y="132"/>
                  </a:lnTo>
                  <a:lnTo>
                    <a:pt x="90" y="144"/>
                  </a:lnTo>
                  <a:lnTo>
                    <a:pt x="78" y="150"/>
                  </a:lnTo>
                  <a:lnTo>
                    <a:pt x="72" y="150"/>
                  </a:lnTo>
                  <a:lnTo>
                    <a:pt x="72" y="168"/>
                  </a:lnTo>
                  <a:lnTo>
                    <a:pt x="78" y="174"/>
                  </a:lnTo>
                  <a:lnTo>
                    <a:pt x="66" y="174"/>
                  </a:lnTo>
                  <a:lnTo>
                    <a:pt x="54" y="180"/>
                  </a:lnTo>
                  <a:lnTo>
                    <a:pt x="48" y="180"/>
                  </a:lnTo>
                  <a:lnTo>
                    <a:pt x="48" y="186"/>
                  </a:lnTo>
                  <a:lnTo>
                    <a:pt x="54" y="192"/>
                  </a:lnTo>
                  <a:lnTo>
                    <a:pt x="60" y="192"/>
                  </a:lnTo>
                  <a:lnTo>
                    <a:pt x="72" y="204"/>
                  </a:lnTo>
                  <a:lnTo>
                    <a:pt x="72" y="210"/>
                  </a:lnTo>
                  <a:lnTo>
                    <a:pt x="66" y="210"/>
                  </a:lnTo>
                  <a:lnTo>
                    <a:pt x="60" y="216"/>
                  </a:lnTo>
                  <a:lnTo>
                    <a:pt x="54" y="228"/>
                  </a:lnTo>
                  <a:lnTo>
                    <a:pt x="48" y="228"/>
                  </a:lnTo>
                  <a:lnTo>
                    <a:pt x="42" y="234"/>
                  </a:lnTo>
                  <a:lnTo>
                    <a:pt x="42" y="240"/>
                  </a:lnTo>
                  <a:lnTo>
                    <a:pt x="18" y="240"/>
                  </a:lnTo>
                  <a:lnTo>
                    <a:pt x="12" y="234"/>
                  </a:lnTo>
                  <a:lnTo>
                    <a:pt x="6" y="234"/>
                  </a:lnTo>
                  <a:lnTo>
                    <a:pt x="12" y="258"/>
                  </a:lnTo>
                  <a:lnTo>
                    <a:pt x="12" y="264"/>
                  </a:lnTo>
                  <a:lnTo>
                    <a:pt x="18" y="270"/>
                  </a:lnTo>
                  <a:lnTo>
                    <a:pt x="18" y="276"/>
                  </a:lnTo>
                  <a:lnTo>
                    <a:pt x="6" y="282"/>
                  </a:lnTo>
                  <a:lnTo>
                    <a:pt x="0" y="288"/>
                  </a:lnTo>
                  <a:lnTo>
                    <a:pt x="6" y="294"/>
                  </a:lnTo>
                  <a:lnTo>
                    <a:pt x="6" y="306"/>
                  </a:lnTo>
                  <a:lnTo>
                    <a:pt x="0" y="312"/>
                  </a:lnTo>
                  <a:lnTo>
                    <a:pt x="0" y="324"/>
                  </a:lnTo>
                  <a:lnTo>
                    <a:pt x="12" y="324"/>
                  </a:lnTo>
                  <a:lnTo>
                    <a:pt x="24" y="336"/>
                  </a:lnTo>
                  <a:lnTo>
                    <a:pt x="24" y="354"/>
                  </a:lnTo>
                  <a:lnTo>
                    <a:pt x="30" y="360"/>
                  </a:lnTo>
                  <a:lnTo>
                    <a:pt x="18" y="360"/>
                  </a:lnTo>
                  <a:lnTo>
                    <a:pt x="12" y="366"/>
                  </a:lnTo>
                  <a:lnTo>
                    <a:pt x="12" y="384"/>
                  </a:lnTo>
                  <a:lnTo>
                    <a:pt x="18" y="390"/>
                  </a:lnTo>
                  <a:lnTo>
                    <a:pt x="24" y="390"/>
                  </a:lnTo>
                  <a:lnTo>
                    <a:pt x="36" y="396"/>
                  </a:lnTo>
                  <a:lnTo>
                    <a:pt x="36" y="408"/>
                  </a:lnTo>
                  <a:lnTo>
                    <a:pt x="30" y="414"/>
                  </a:lnTo>
                  <a:close/>
                </a:path>
              </a:pathLst>
            </a:custGeom>
            <a:solidFill>
              <a:schemeClr val="accent1"/>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74" name="Demokratische Republik Kongo" descr="© INSCALE GmbH, 05.05.2010&#10;http://www.presentationload.com/">
              <a:extLst>
                <a:ext uri="{FF2B5EF4-FFF2-40B4-BE49-F238E27FC236}">
                  <a16:creationId xmlns:a16="http://schemas.microsoft.com/office/drawing/2014/main" id="{0555777B-0841-472D-BC54-648308303AED}"/>
                </a:ext>
              </a:extLst>
            </p:cNvPr>
            <p:cNvSpPr>
              <a:spLocks/>
            </p:cNvSpPr>
            <p:nvPr/>
          </p:nvSpPr>
          <p:spPr bwMode="gray">
            <a:xfrm>
              <a:off x="4441395" y="4133460"/>
              <a:ext cx="213251" cy="277541"/>
            </a:xfrm>
            <a:custGeom>
              <a:avLst/>
              <a:gdLst>
                <a:gd name="T0" fmla="*/ 2147483647 w 534"/>
                <a:gd name="T1" fmla="*/ 2147483647 h 702"/>
                <a:gd name="T2" fmla="*/ 2147483647 w 534"/>
                <a:gd name="T3" fmla="*/ 2147483647 h 702"/>
                <a:gd name="T4" fmla="*/ 2147483647 w 534"/>
                <a:gd name="T5" fmla="*/ 2147483647 h 702"/>
                <a:gd name="T6" fmla="*/ 2147483647 w 534"/>
                <a:gd name="T7" fmla="*/ 2147483647 h 702"/>
                <a:gd name="T8" fmla="*/ 2147483647 w 534"/>
                <a:gd name="T9" fmla="*/ 2147483647 h 702"/>
                <a:gd name="T10" fmla="*/ 2147483647 w 534"/>
                <a:gd name="T11" fmla="*/ 2147483647 h 702"/>
                <a:gd name="T12" fmla="*/ 2147483647 w 534"/>
                <a:gd name="T13" fmla="*/ 2147483647 h 702"/>
                <a:gd name="T14" fmla="*/ 2147483647 w 534"/>
                <a:gd name="T15" fmla="*/ 2147483647 h 702"/>
                <a:gd name="T16" fmla="*/ 2147483647 w 534"/>
                <a:gd name="T17" fmla="*/ 2147483647 h 702"/>
                <a:gd name="T18" fmla="*/ 2147483647 w 534"/>
                <a:gd name="T19" fmla="*/ 2147483647 h 702"/>
                <a:gd name="T20" fmla="*/ 2147483647 w 534"/>
                <a:gd name="T21" fmla="*/ 2147483647 h 702"/>
                <a:gd name="T22" fmla="*/ 2147483647 w 534"/>
                <a:gd name="T23" fmla="*/ 2147483647 h 702"/>
                <a:gd name="T24" fmla="*/ 2147483647 w 534"/>
                <a:gd name="T25" fmla="*/ 2147483647 h 702"/>
                <a:gd name="T26" fmla="*/ 2147483647 w 534"/>
                <a:gd name="T27" fmla="*/ 2147483647 h 702"/>
                <a:gd name="T28" fmla="*/ 2147483647 w 534"/>
                <a:gd name="T29" fmla="*/ 2147483647 h 702"/>
                <a:gd name="T30" fmla="*/ 2147483647 w 534"/>
                <a:gd name="T31" fmla="*/ 2147483647 h 702"/>
                <a:gd name="T32" fmla="*/ 2147483647 w 534"/>
                <a:gd name="T33" fmla="*/ 2147483647 h 702"/>
                <a:gd name="T34" fmla="*/ 2147483647 w 534"/>
                <a:gd name="T35" fmla="*/ 2147483647 h 702"/>
                <a:gd name="T36" fmla="*/ 2147483647 w 534"/>
                <a:gd name="T37" fmla="*/ 2147483647 h 702"/>
                <a:gd name="T38" fmla="*/ 2147483647 w 534"/>
                <a:gd name="T39" fmla="*/ 2147483647 h 702"/>
                <a:gd name="T40" fmla="*/ 2147483647 w 534"/>
                <a:gd name="T41" fmla="*/ 2147483647 h 702"/>
                <a:gd name="T42" fmla="*/ 2147483647 w 534"/>
                <a:gd name="T43" fmla="*/ 2147483647 h 702"/>
                <a:gd name="T44" fmla="*/ 2147483647 w 534"/>
                <a:gd name="T45" fmla="*/ 2147483647 h 702"/>
                <a:gd name="T46" fmla="*/ 2147483647 w 534"/>
                <a:gd name="T47" fmla="*/ 2147483647 h 702"/>
                <a:gd name="T48" fmla="*/ 2147483647 w 534"/>
                <a:gd name="T49" fmla="*/ 2147483647 h 702"/>
                <a:gd name="T50" fmla="*/ 0 w 534"/>
                <a:gd name="T51" fmla="*/ 2147483647 h 702"/>
                <a:gd name="T52" fmla="*/ 2147483647 w 534"/>
                <a:gd name="T53" fmla="*/ 2147483647 h 702"/>
                <a:gd name="T54" fmla="*/ 2147483647 w 534"/>
                <a:gd name="T55" fmla="*/ 2147483647 h 702"/>
                <a:gd name="T56" fmla="*/ 2147483647 w 534"/>
                <a:gd name="T57" fmla="*/ 2147483647 h 702"/>
                <a:gd name="T58" fmla="*/ 2147483647 w 534"/>
                <a:gd name="T59" fmla="*/ 2147483647 h 702"/>
                <a:gd name="T60" fmla="*/ 2147483647 w 534"/>
                <a:gd name="T61" fmla="*/ 2147483647 h 702"/>
                <a:gd name="T62" fmla="*/ 2147483647 w 534"/>
                <a:gd name="T63" fmla="*/ 2147483647 h 702"/>
                <a:gd name="T64" fmla="*/ 2147483647 w 534"/>
                <a:gd name="T65" fmla="*/ 2147483647 h 702"/>
                <a:gd name="T66" fmla="*/ 2147483647 w 534"/>
                <a:gd name="T67" fmla="*/ 2147483647 h 702"/>
                <a:gd name="T68" fmla="*/ 2147483647 w 534"/>
                <a:gd name="T69" fmla="*/ 2147483647 h 702"/>
                <a:gd name="T70" fmla="*/ 2147483647 w 534"/>
                <a:gd name="T71" fmla="*/ 2147483647 h 702"/>
                <a:gd name="T72" fmla="*/ 2147483647 w 534"/>
                <a:gd name="T73" fmla="*/ 2147483647 h 702"/>
                <a:gd name="T74" fmla="*/ 2147483647 w 534"/>
                <a:gd name="T75" fmla="*/ 2147483647 h 702"/>
                <a:gd name="T76" fmla="*/ 2147483647 w 534"/>
                <a:gd name="T77" fmla="*/ 2147483647 h 702"/>
                <a:gd name="T78" fmla="*/ 2147483647 w 534"/>
                <a:gd name="T79" fmla="*/ 2147483647 h 702"/>
                <a:gd name="T80" fmla="*/ 2147483647 w 534"/>
                <a:gd name="T81" fmla="*/ 2147483647 h 702"/>
                <a:gd name="T82" fmla="*/ 2147483647 w 534"/>
                <a:gd name="T83" fmla="*/ 2147483647 h 702"/>
                <a:gd name="T84" fmla="*/ 2147483647 w 534"/>
                <a:gd name="T85" fmla="*/ 2147483647 h 702"/>
                <a:gd name="T86" fmla="*/ 2147483647 w 534"/>
                <a:gd name="T87" fmla="*/ 2147483647 h 702"/>
                <a:gd name="T88" fmla="*/ 2147483647 w 534"/>
                <a:gd name="T89" fmla="*/ 2147483647 h 702"/>
                <a:gd name="T90" fmla="*/ 2147483647 w 534"/>
                <a:gd name="T91" fmla="*/ 2147483647 h 702"/>
                <a:gd name="T92" fmla="*/ 2147483647 w 534"/>
                <a:gd name="T93" fmla="*/ 2147483647 h 702"/>
                <a:gd name="T94" fmla="*/ 2147483647 w 534"/>
                <a:gd name="T95" fmla="*/ 2147483647 h 702"/>
                <a:gd name="T96" fmla="*/ 2147483647 w 534"/>
                <a:gd name="T97" fmla="*/ 2147483647 h 702"/>
                <a:gd name="T98" fmla="*/ 2147483647 w 534"/>
                <a:gd name="T99" fmla="*/ 2147483647 h 702"/>
                <a:gd name="T100" fmla="*/ 2147483647 w 534"/>
                <a:gd name="T101" fmla="*/ 2147483647 h 702"/>
                <a:gd name="T102" fmla="*/ 2147483647 w 534"/>
                <a:gd name="T103" fmla="*/ 2147483647 h 7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34"/>
                <a:gd name="T157" fmla="*/ 0 h 702"/>
                <a:gd name="T158" fmla="*/ 534 w 534"/>
                <a:gd name="T159" fmla="*/ 702 h 7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34" h="702">
                  <a:moveTo>
                    <a:pt x="366" y="120"/>
                  </a:moveTo>
                  <a:lnTo>
                    <a:pt x="360" y="126"/>
                  </a:lnTo>
                  <a:lnTo>
                    <a:pt x="354" y="168"/>
                  </a:lnTo>
                  <a:lnTo>
                    <a:pt x="330" y="144"/>
                  </a:lnTo>
                  <a:lnTo>
                    <a:pt x="294" y="144"/>
                  </a:lnTo>
                  <a:lnTo>
                    <a:pt x="288" y="138"/>
                  </a:lnTo>
                  <a:lnTo>
                    <a:pt x="276" y="138"/>
                  </a:lnTo>
                  <a:lnTo>
                    <a:pt x="270" y="132"/>
                  </a:lnTo>
                  <a:lnTo>
                    <a:pt x="258" y="126"/>
                  </a:lnTo>
                  <a:lnTo>
                    <a:pt x="210" y="126"/>
                  </a:lnTo>
                  <a:lnTo>
                    <a:pt x="192" y="132"/>
                  </a:lnTo>
                  <a:lnTo>
                    <a:pt x="162" y="132"/>
                  </a:lnTo>
                  <a:lnTo>
                    <a:pt x="144" y="162"/>
                  </a:lnTo>
                  <a:lnTo>
                    <a:pt x="150" y="198"/>
                  </a:lnTo>
                  <a:lnTo>
                    <a:pt x="156" y="204"/>
                  </a:lnTo>
                  <a:lnTo>
                    <a:pt x="180" y="204"/>
                  </a:lnTo>
                  <a:lnTo>
                    <a:pt x="186" y="198"/>
                  </a:lnTo>
                  <a:lnTo>
                    <a:pt x="186" y="180"/>
                  </a:lnTo>
                  <a:lnTo>
                    <a:pt x="204" y="180"/>
                  </a:lnTo>
                  <a:lnTo>
                    <a:pt x="210" y="186"/>
                  </a:lnTo>
                  <a:lnTo>
                    <a:pt x="222" y="186"/>
                  </a:lnTo>
                  <a:lnTo>
                    <a:pt x="222" y="192"/>
                  </a:lnTo>
                  <a:lnTo>
                    <a:pt x="228" y="198"/>
                  </a:lnTo>
                  <a:lnTo>
                    <a:pt x="228" y="216"/>
                  </a:lnTo>
                  <a:lnTo>
                    <a:pt x="240" y="222"/>
                  </a:lnTo>
                  <a:lnTo>
                    <a:pt x="240" y="234"/>
                  </a:lnTo>
                  <a:lnTo>
                    <a:pt x="234" y="240"/>
                  </a:lnTo>
                  <a:lnTo>
                    <a:pt x="228" y="252"/>
                  </a:lnTo>
                  <a:lnTo>
                    <a:pt x="222" y="258"/>
                  </a:lnTo>
                  <a:lnTo>
                    <a:pt x="210" y="258"/>
                  </a:lnTo>
                  <a:lnTo>
                    <a:pt x="198" y="282"/>
                  </a:lnTo>
                  <a:lnTo>
                    <a:pt x="198" y="318"/>
                  </a:lnTo>
                  <a:lnTo>
                    <a:pt x="216" y="324"/>
                  </a:lnTo>
                  <a:lnTo>
                    <a:pt x="222" y="342"/>
                  </a:lnTo>
                  <a:lnTo>
                    <a:pt x="240" y="342"/>
                  </a:lnTo>
                  <a:lnTo>
                    <a:pt x="246" y="348"/>
                  </a:lnTo>
                  <a:lnTo>
                    <a:pt x="246" y="360"/>
                  </a:lnTo>
                  <a:lnTo>
                    <a:pt x="240" y="366"/>
                  </a:lnTo>
                  <a:lnTo>
                    <a:pt x="240" y="414"/>
                  </a:lnTo>
                  <a:lnTo>
                    <a:pt x="234" y="426"/>
                  </a:lnTo>
                  <a:lnTo>
                    <a:pt x="240" y="450"/>
                  </a:lnTo>
                  <a:lnTo>
                    <a:pt x="234" y="456"/>
                  </a:lnTo>
                  <a:lnTo>
                    <a:pt x="222" y="462"/>
                  </a:lnTo>
                  <a:lnTo>
                    <a:pt x="222" y="486"/>
                  </a:lnTo>
                  <a:lnTo>
                    <a:pt x="216" y="498"/>
                  </a:lnTo>
                  <a:lnTo>
                    <a:pt x="210" y="504"/>
                  </a:lnTo>
                  <a:lnTo>
                    <a:pt x="198" y="504"/>
                  </a:lnTo>
                  <a:lnTo>
                    <a:pt x="192" y="498"/>
                  </a:lnTo>
                  <a:lnTo>
                    <a:pt x="192" y="468"/>
                  </a:lnTo>
                  <a:lnTo>
                    <a:pt x="186" y="468"/>
                  </a:lnTo>
                  <a:lnTo>
                    <a:pt x="180" y="474"/>
                  </a:lnTo>
                  <a:lnTo>
                    <a:pt x="174" y="486"/>
                  </a:lnTo>
                  <a:lnTo>
                    <a:pt x="168" y="492"/>
                  </a:lnTo>
                  <a:lnTo>
                    <a:pt x="138" y="492"/>
                  </a:lnTo>
                  <a:lnTo>
                    <a:pt x="120" y="450"/>
                  </a:lnTo>
                  <a:lnTo>
                    <a:pt x="90" y="450"/>
                  </a:lnTo>
                  <a:lnTo>
                    <a:pt x="90" y="456"/>
                  </a:lnTo>
                  <a:lnTo>
                    <a:pt x="108" y="474"/>
                  </a:lnTo>
                  <a:lnTo>
                    <a:pt x="96" y="480"/>
                  </a:lnTo>
                  <a:lnTo>
                    <a:pt x="90" y="492"/>
                  </a:lnTo>
                  <a:lnTo>
                    <a:pt x="84" y="498"/>
                  </a:lnTo>
                  <a:lnTo>
                    <a:pt x="66" y="498"/>
                  </a:lnTo>
                  <a:lnTo>
                    <a:pt x="54" y="492"/>
                  </a:lnTo>
                  <a:lnTo>
                    <a:pt x="42" y="492"/>
                  </a:lnTo>
                  <a:lnTo>
                    <a:pt x="36" y="486"/>
                  </a:lnTo>
                  <a:lnTo>
                    <a:pt x="30" y="486"/>
                  </a:lnTo>
                  <a:lnTo>
                    <a:pt x="30" y="504"/>
                  </a:lnTo>
                  <a:lnTo>
                    <a:pt x="36" y="510"/>
                  </a:lnTo>
                  <a:lnTo>
                    <a:pt x="36" y="522"/>
                  </a:lnTo>
                  <a:lnTo>
                    <a:pt x="24" y="522"/>
                  </a:lnTo>
                  <a:lnTo>
                    <a:pt x="54" y="540"/>
                  </a:lnTo>
                  <a:lnTo>
                    <a:pt x="36" y="552"/>
                  </a:lnTo>
                  <a:lnTo>
                    <a:pt x="54" y="564"/>
                  </a:lnTo>
                  <a:lnTo>
                    <a:pt x="54" y="600"/>
                  </a:lnTo>
                  <a:lnTo>
                    <a:pt x="48" y="606"/>
                  </a:lnTo>
                  <a:lnTo>
                    <a:pt x="30" y="588"/>
                  </a:lnTo>
                  <a:lnTo>
                    <a:pt x="6" y="600"/>
                  </a:lnTo>
                  <a:lnTo>
                    <a:pt x="0" y="618"/>
                  </a:lnTo>
                  <a:lnTo>
                    <a:pt x="54" y="666"/>
                  </a:lnTo>
                  <a:lnTo>
                    <a:pt x="54" y="684"/>
                  </a:lnTo>
                  <a:lnTo>
                    <a:pt x="72" y="702"/>
                  </a:lnTo>
                  <a:lnTo>
                    <a:pt x="72" y="690"/>
                  </a:lnTo>
                  <a:lnTo>
                    <a:pt x="90" y="690"/>
                  </a:lnTo>
                  <a:lnTo>
                    <a:pt x="90" y="672"/>
                  </a:lnTo>
                  <a:lnTo>
                    <a:pt x="102" y="666"/>
                  </a:lnTo>
                  <a:lnTo>
                    <a:pt x="108" y="660"/>
                  </a:lnTo>
                  <a:lnTo>
                    <a:pt x="120" y="654"/>
                  </a:lnTo>
                  <a:lnTo>
                    <a:pt x="126" y="648"/>
                  </a:lnTo>
                  <a:lnTo>
                    <a:pt x="132" y="654"/>
                  </a:lnTo>
                  <a:lnTo>
                    <a:pt x="132" y="660"/>
                  </a:lnTo>
                  <a:lnTo>
                    <a:pt x="138" y="666"/>
                  </a:lnTo>
                  <a:lnTo>
                    <a:pt x="138" y="672"/>
                  </a:lnTo>
                  <a:lnTo>
                    <a:pt x="150" y="672"/>
                  </a:lnTo>
                  <a:lnTo>
                    <a:pt x="150" y="678"/>
                  </a:lnTo>
                  <a:lnTo>
                    <a:pt x="156" y="684"/>
                  </a:lnTo>
                  <a:lnTo>
                    <a:pt x="156" y="690"/>
                  </a:lnTo>
                  <a:lnTo>
                    <a:pt x="162" y="696"/>
                  </a:lnTo>
                  <a:lnTo>
                    <a:pt x="174" y="696"/>
                  </a:lnTo>
                  <a:lnTo>
                    <a:pt x="180" y="690"/>
                  </a:lnTo>
                  <a:lnTo>
                    <a:pt x="186" y="678"/>
                  </a:lnTo>
                  <a:lnTo>
                    <a:pt x="186" y="660"/>
                  </a:lnTo>
                  <a:lnTo>
                    <a:pt x="210" y="666"/>
                  </a:lnTo>
                  <a:lnTo>
                    <a:pt x="228" y="648"/>
                  </a:lnTo>
                  <a:lnTo>
                    <a:pt x="234" y="648"/>
                  </a:lnTo>
                  <a:lnTo>
                    <a:pt x="234" y="678"/>
                  </a:lnTo>
                  <a:lnTo>
                    <a:pt x="228" y="690"/>
                  </a:lnTo>
                  <a:lnTo>
                    <a:pt x="234" y="696"/>
                  </a:lnTo>
                  <a:lnTo>
                    <a:pt x="252" y="696"/>
                  </a:lnTo>
                  <a:lnTo>
                    <a:pt x="264" y="690"/>
                  </a:lnTo>
                  <a:lnTo>
                    <a:pt x="270" y="684"/>
                  </a:lnTo>
                  <a:lnTo>
                    <a:pt x="276" y="672"/>
                  </a:lnTo>
                  <a:lnTo>
                    <a:pt x="294" y="654"/>
                  </a:lnTo>
                  <a:lnTo>
                    <a:pt x="300" y="642"/>
                  </a:lnTo>
                  <a:lnTo>
                    <a:pt x="312" y="630"/>
                  </a:lnTo>
                  <a:lnTo>
                    <a:pt x="330" y="630"/>
                  </a:lnTo>
                  <a:lnTo>
                    <a:pt x="336" y="624"/>
                  </a:lnTo>
                  <a:lnTo>
                    <a:pt x="366" y="582"/>
                  </a:lnTo>
                  <a:lnTo>
                    <a:pt x="360" y="480"/>
                  </a:lnTo>
                  <a:lnTo>
                    <a:pt x="366" y="480"/>
                  </a:lnTo>
                  <a:lnTo>
                    <a:pt x="390" y="456"/>
                  </a:lnTo>
                  <a:lnTo>
                    <a:pt x="390" y="420"/>
                  </a:lnTo>
                  <a:lnTo>
                    <a:pt x="396" y="408"/>
                  </a:lnTo>
                  <a:lnTo>
                    <a:pt x="402" y="402"/>
                  </a:lnTo>
                  <a:lnTo>
                    <a:pt x="450" y="378"/>
                  </a:lnTo>
                  <a:lnTo>
                    <a:pt x="456" y="366"/>
                  </a:lnTo>
                  <a:lnTo>
                    <a:pt x="468" y="360"/>
                  </a:lnTo>
                  <a:lnTo>
                    <a:pt x="474" y="354"/>
                  </a:lnTo>
                  <a:lnTo>
                    <a:pt x="474" y="300"/>
                  </a:lnTo>
                  <a:lnTo>
                    <a:pt x="486" y="294"/>
                  </a:lnTo>
                  <a:lnTo>
                    <a:pt x="492" y="282"/>
                  </a:lnTo>
                  <a:lnTo>
                    <a:pt x="492" y="258"/>
                  </a:lnTo>
                  <a:lnTo>
                    <a:pt x="486" y="246"/>
                  </a:lnTo>
                  <a:lnTo>
                    <a:pt x="480" y="240"/>
                  </a:lnTo>
                  <a:lnTo>
                    <a:pt x="480" y="228"/>
                  </a:lnTo>
                  <a:lnTo>
                    <a:pt x="498" y="192"/>
                  </a:lnTo>
                  <a:lnTo>
                    <a:pt x="498" y="168"/>
                  </a:lnTo>
                  <a:lnTo>
                    <a:pt x="492" y="156"/>
                  </a:lnTo>
                  <a:lnTo>
                    <a:pt x="492" y="126"/>
                  </a:lnTo>
                  <a:lnTo>
                    <a:pt x="498" y="120"/>
                  </a:lnTo>
                  <a:lnTo>
                    <a:pt x="510" y="96"/>
                  </a:lnTo>
                  <a:lnTo>
                    <a:pt x="522" y="84"/>
                  </a:lnTo>
                  <a:lnTo>
                    <a:pt x="528" y="66"/>
                  </a:lnTo>
                  <a:lnTo>
                    <a:pt x="534" y="54"/>
                  </a:lnTo>
                  <a:lnTo>
                    <a:pt x="534" y="18"/>
                  </a:lnTo>
                  <a:lnTo>
                    <a:pt x="522" y="6"/>
                  </a:lnTo>
                  <a:lnTo>
                    <a:pt x="510" y="18"/>
                  </a:lnTo>
                  <a:lnTo>
                    <a:pt x="498" y="18"/>
                  </a:lnTo>
                  <a:lnTo>
                    <a:pt x="462" y="0"/>
                  </a:lnTo>
                  <a:lnTo>
                    <a:pt x="444" y="0"/>
                  </a:lnTo>
                  <a:lnTo>
                    <a:pt x="426" y="18"/>
                  </a:lnTo>
                  <a:lnTo>
                    <a:pt x="396" y="18"/>
                  </a:lnTo>
                  <a:lnTo>
                    <a:pt x="378" y="48"/>
                  </a:lnTo>
                  <a:lnTo>
                    <a:pt x="390" y="60"/>
                  </a:lnTo>
                  <a:lnTo>
                    <a:pt x="390" y="84"/>
                  </a:lnTo>
                  <a:lnTo>
                    <a:pt x="384" y="96"/>
                  </a:lnTo>
                  <a:lnTo>
                    <a:pt x="378" y="102"/>
                  </a:lnTo>
                  <a:lnTo>
                    <a:pt x="372" y="114"/>
                  </a:lnTo>
                  <a:lnTo>
                    <a:pt x="366" y="12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75" name="Dänemark" descr="© INSCALE GmbH, 05.05.2010&#10;http://www.presentationload.com/">
              <a:extLst>
                <a:ext uri="{FF2B5EF4-FFF2-40B4-BE49-F238E27FC236}">
                  <a16:creationId xmlns:a16="http://schemas.microsoft.com/office/drawing/2014/main" id="{03D9A6FF-358F-4CF3-AC8C-09E2938CAB27}"/>
                </a:ext>
              </a:extLst>
            </p:cNvPr>
            <p:cNvSpPr>
              <a:spLocks noEditPoints="1"/>
            </p:cNvSpPr>
            <p:nvPr/>
          </p:nvSpPr>
          <p:spPr bwMode="gray">
            <a:xfrm>
              <a:off x="4366130" y="2424314"/>
              <a:ext cx="109762" cy="94081"/>
            </a:xfrm>
            <a:custGeom>
              <a:avLst/>
              <a:gdLst>
                <a:gd name="T0" fmla="*/ 2147483647 w 71"/>
                <a:gd name="T1" fmla="*/ 2147483647 h 60"/>
                <a:gd name="T2" fmla="*/ 2147483647 w 71"/>
                <a:gd name="T3" fmla="*/ 2147483647 h 60"/>
                <a:gd name="T4" fmla="*/ 2147483647 w 71"/>
                <a:gd name="T5" fmla="*/ 2147483647 h 60"/>
                <a:gd name="T6" fmla="*/ 2147483647 w 71"/>
                <a:gd name="T7" fmla="*/ 2147483647 h 60"/>
                <a:gd name="T8" fmla="*/ 2147483647 w 71"/>
                <a:gd name="T9" fmla="*/ 2147483647 h 60"/>
                <a:gd name="T10" fmla="*/ 2147483647 w 71"/>
                <a:gd name="T11" fmla="*/ 2147483647 h 60"/>
                <a:gd name="T12" fmla="*/ 2147483647 w 71"/>
                <a:gd name="T13" fmla="*/ 2147483647 h 60"/>
                <a:gd name="T14" fmla="*/ 2147483647 w 71"/>
                <a:gd name="T15" fmla="*/ 2147483647 h 60"/>
                <a:gd name="T16" fmla="*/ 2147483647 w 71"/>
                <a:gd name="T17" fmla="*/ 2147483647 h 60"/>
                <a:gd name="T18" fmla="*/ 2147483647 w 71"/>
                <a:gd name="T19" fmla="*/ 2147483647 h 60"/>
                <a:gd name="T20" fmla="*/ 2147483647 w 71"/>
                <a:gd name="T21" fmla="*/ 2147483647 h 60"/>
                <a:gd name="T22" fmla="*/ 2147483647 w 71"/>
                <a:gd name="T23" fmla="*/ 2147483647 h 60"/>
                <a:gd name="T24" fmla="*/ 2147483647 w 71"/>
                <a:gd name="T25" fmla="*/ 2147483647 h 60"/>
                <a:gd name="T26" fmla="*/ 2147483647 w 71"/>
                <a:gd name="T27" fmla="*/ 2147483647 h 60"/>
                <a:gd name="T28" fmla="*/ 2147483647 w 71"/>
                <a:gd name="T29" fmla="*/ 2147483647 h 60"/>
                <a:gd name="T30" fmla="*/ 2147483647 w 71"/>
                <a:gd name="T31" fmla="*/ 2147483647 h 60"/>
                <a:gd name="T32" fmla="*/ 2147483647 w 71"/>
                <a:gd name="T33" fmla="*/ 2147483647 h 60"/>
                <a:gd name="T34" fmla="*/ 2147483647 w 71"/>
                <a:gd name="T35" fmla="*/ 2147483647 h 60"/>
                <a:gd name="T36" fmla="*/ 2147483647 w 71"/>
                <a:gd name="T37" fmla="*/ 2147483647 h 60"/>
                <a:gd name="T38" fmla="*/ 2147483647 w 71"/>
                <a:gd name="T39" fmla="*/ 2147483647 h 60"/>
                <a:gd name="T40" fmla="*/ 2147483647 w 71"/>
                <a:gd name="T41" fmla="*/ 2147483647 h 60"/>
                <a:gd name="T42" fmla="*/ 2147483647 w 71"/>
                <a:gd name="T43" fmla="*/ 2147483647 h 60"/>
                <a:gd name="T44" fmla="*/ 2147483647 w 71"/>
                <a:gd name="T45" fmla="*/ 2147483647 h 60"/>
                <a:gd name="T46" fmla="*/ 2147483647 w 71"/>
                <a:gd name="T47" fmla="*/ 2147483647 h 60"/>
                <a:gd name="T48" fmla="*/ 2147483647 w 71"/>
                <a:gd name="T49" fmla="*/ 2147483647 h 60"/>
                <a:gd name="T50" fmla="*/ 2147483647 w 71"/>
                <a:gd name="T51" fmla="*/ 2147483647 h 60"/>
                <a:gd name="T52" fmla="*/ 2147483647 w 71"/>
                <a:gd name="T53" fmla="*/ 2147483647 h 60"/>
                <a:gd name="T54" fmla="*/ 2147483647 w 71"/>
                <a:gd name="T55" fmla="*/ 2147483647 h 60"/>
                <a:gd name="T56" fmla="*/ 2147483647 w 71"/>
                <a:gd name="T57" fmla="*/ 2147483647 h 60"/>
                <a:gd name="T58" fmla="*/ 2147483647 w 71"/>
                <a:gd name="T59" fmla="*/ 2147483647 h 60"/>
                <a:gd name="T60" fmla="*/ 2147483647 w 71"/>
                <a:gd name="T61" fmla="*/ 2147483647 h 60"/>
                <a:gd name="T62" fmla="*/ 2147483647 w 71"/>
                <a:gd name="T63" fmla="*/ 0 h 60"/>
                <a:gd name="T64" fmla="*/ 2147483647 w 71"/>
                <a:gd name="T65" fmla="*/ 2147483647 h 60"/>
                <a:gd name="T66" fmla="*/ 2147483647 w 71"/>
                <a:gd name="T67" fmla="*/ 2147483647 h 60"/>
                <a:gd name="T68" fmla="*/ 2147483647 w 71"/>
                <a:gd name="T69" fmla="*/ 2147483647 h 60"/>
                <a:gd name="T70" fmla="*/ 2147483647 w 71"/>
                <a:gd name="T71" fmla="*/ 2147483647 h 60"/>
                <a:gd name="T72" fmla="*/ 2147483647 w 71"/>
                <a:gd name="T73" fmla="*/ 2147483647 h 60"/>
                <a:gd name="T74" fmla="*/ 2147483647 w 71"/>
                <a:gd name="T75" fmla="*/ 2147483647 h 60"/>
                <a:gd name="T76" fmla="*/ 2147483647 w 71"/>
                <a:gd name="T77" fmla="*/ 2147483647 h 60"/>
                <a:gd name="T78" fmla="*/ 2147483647 w 71"/>
                <a:gd name="T79" fmla="*/ 2147483647 h 60"/>
                <a:gd name="T80" fmla="*/ 2147483647 w 71"/>
                <a:gd name="T81" fmla="*/ 2147483647 h 60"/>
                <a:gd name="T82" fmla="*/ 0 w 71"/>
                <a:gd name="T83" fmla="*/ 2147483647 h 60"/>
                <a:gd name="T84" fmla="*/ 0 w 71"/>
                <a:gd name="T85" fmla="*/ 2147483647 h 60"/>
                <a:gd name="T86" fmla="*/ 2147483647 w 71"/>
                <a:gd name="T87" fmla="*/ 2147483647 h 60"/>
                <a:gd name="T88" fmla="*/ 2147483647 w 71"/>
                <a:gd name="T89" fmla="*/ 2147483647 h 60"/>
                <a:gd name="T90" fmla="*/ 2147483647 w 71"/>
                <a:gd name="T91" fmla="*/ 2147483647 h 60"/>
                <a:gd name="T92" fmla="*/ 2147483647 w 71"/>
                <a:gd name="T93" fmla="*/ 2147483647 h 60"/>
                <a:gd name="T94" fmla="*/ 2147483647 w 71"/>
                <a:gd name="T95" fmla="*/ 2147483647 h 60"/>
                <a:gd name="T96" fmla="*/ 2147483647 w 71"/>
                <a:gd name="T97" fmla="*/ 2147483647 h 60"/>
                <a:gd name="T98" fmla="*/ 2147483647 w 71"/>
                <a:gd name="T99" fmla="*/ 2147483647 h 60"/>
                <a:gd name="T100" fmla="*/ 2147483647 w 71"/>
                <a:gd name="T101" fmla="*/ 2147483647 h 60"/>
                <a:gd name="T102" fmla="*/ 2147483647 w 71"/>
                <a:gd name="T103" fmla="*/ 2147483647 h 60"/>
                <a:gd name="T104" fmla="*/ 2147483647 w 71"/>
                <a:gd name="T105" fmla="*/ 2147483647 h 60"/>
                <a:gd name="T106" fmla="*/ 2147483647 w 71"/>
                <a:gd name="T107" fmla="*/ 2147483647 h 60"/>
                <a:gd name="T108" fmla="*/ 2147483647 w 71"/>
                <a:gd name="T109" fmla="*/ 2147483647 h 60"/>
                <a:gd name="T110" fmla="*/ 2147483647 w 71"/>
                <a:gd name="T111" fmla="*/ 2147483647 h 60"/>
                <a:gd name="T112" fmla="*/ 2147483647 w 71"/>
                <a:gd name="T113" fmla="*/ 2147483647 h 60"/>
                <a:gd name="T114" fmla="*/ 2147483647 w 71"/>
                <a:gd name="T115" fmla="*/ 2147483647 h 60"/>
                <a:gd name="T116" fmla="*/ 2147483647 w 71"/>
                <a:gd name="T117" fmla="*/ 2147483647 h 60"/>
                <a:gd name="T118" fmla="*/ 2147483647 w 71"/>
                <a:gd name="T119" fmla="*/ 2147483647 h 60"/>
                <a:gd name="T120" fmla="*/ 2147483647 w 71"/>
                <a:gd name="T121" fmla="*/ 2147483647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60"/>
                <a:gd name="T185" fmla="*/ 71 w 71"/>
                <a:gd name="T186" fmla="*/ 60 h 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60">
                  <a:moveTo>
                    <a:pt x="62" y="48"/>
                  </a:moveTo>
                  <a:lnTo>
                    <a:pt x="67" y="46"/>
                  </a:lnTo>
                  <a:lnTo>
                    <a:pt x="69" y="46"/>
                  </a:lnTo>
                  <a:lnTo>
                    <a:pt x="69" y="43"/>
                  </a:lnTo>
                  <a:lnTo>
                    <a:pt x="67" y="43"/>
                  </a:lnTo>
                  <a:lnTo>
                    <a:pt x="62" y="41"/>
                  </a:lnTo>
                  <a:lnTo>
                    <a:pt x="62" y="38"/>
                  </a:lnTo>
                  <a:lnTo>
                    <a:pt x="64" y="38"/>
                  </a:lnTo>
                  <a:lnTo>
                    <a:pt x="64" y="36"/>
                  </a:lnTo>
                  <a:lnTo>
                    <a:pt x="67" y="34"/>
                  </a:lnTo>
                  <a:lnTo>
                    <a:pt x="67" y="29"/>
                  </a:lnTo>
                  <a:lnTo>
                    <a:pt x="64" y="29"/>
                  </a:lnTo>
                  <a:lnTo>
                    <a:pt x="62" y="29"/>
                  </a:lnTo>
                  <a:lnTo>
                    <a:pt x="60" y="31"/>
                  </a:lnTo>
                  <a:lnTo>
                    <a:pt x="60" y="34"/>
                  </a:lnTo>
                  <a:lnTo>
                    <a:pt x="57" y="36"/>
                  </a:lnTo>
                  <a:lnTo>
                    <a:pt x="57" y="34"/>
                  </a:lnTo>
                  <a:lnTo>
                    <a:pt x="55" y="31"/>
                  </a:lnTo>
                  <a:lnTo>
                    <a:pt x="52" y="34"/>
                  </a:lnTo>
                  <a:lnTo>
                    <a:pt x="45" y="38"/>
                  </a:lnTo>
                  <a:lnTo>
                    <a:pt x="48" y="38"/>
                  </a:lnTo>
                  <a:lnTo>
                    <a:pt x="50" y="41"/>
                  </a:lnTo>
                  <a:lnTo>
                    <a:pt x="50" y="43"/>
                  </a:lnTo>
                  <a:lnTo>
                    <a:pt x="50" y="46"/>
                  </a:lnTo>
                  <a:lnTo>
                    <a:pt x="50" y="48"/>
                  </a:lnTo>
                  <a:lnTo>
                    <a:pt x="48" y="48"/>
                  </a:lnTo>
                  <a:lnTo>
                    <a:pt x="50" y="48"/>
                  </a:lnTo>
                  <a:lnTo>
                    <a:pt x="50" y="50"/>
                  </a:lnTo>
                  <a:lnTo>
                    <a:pt x="55" y="50"/>
                  </a:lnTo>
                  <a:lnTo>
                    <a:pt x="55" y="48"/>
                  </a:lnTo>
                  <a:lnTo>
                    <a:pt x="57" y="48"/>
                  </a:lnTo>
                  <a:lnTo>
                    <a:pt x="57" y="50"/>
                  </a:lnTo>
                  <a:lnTo>
                    <a:pt x="60" y="53"/>
                  </a:lnTo>
                  <a:lnTo>
                    <a:pt x="60" y="55"/>
                  </a:lnTo>
                  <a:lnTo>
                    <a:pt x="62" y="55"/>
                  </a:lnTo>
                  <a:lnTo>
                    <a:pt x="62" y="53"/>
                  </a:lnTo>
                  <a:lnTo>
                    <a:pt x="62" y="48"/>
                  </a:lnTo>
                  <a:close/>
                  <a:moveTo>
                    <a:pt x="71" y="53"/>
                  </a:moveTo>
                  <a:lnTo>
                    <a:pt x="62" y="55"/>
                  </a:lnTo>
                  <a:lnTo>
                    <a:pt x="60" y="58"/>
                  </a:lnTo>
                  <a:lnTo>
                    <a:pt x="57" y="58"/>
                  </a:lnTo>
                  <a:lnTo>
                    <a:pt x="57" y="55"/>
                  </a:lnTo>
                  <a:lnTo>
                    <a:pt x="55" y="55"/>
                  </a:lnTo>
                  <a:lnTo>
                    <a:pt x="50" y="53"/>
                  </a:lnTo>
                  <a:lnTo>
                    <a:pt x="45" y="53"/>
                  </a:lnTo>
                  <a:lnTo>
                    <a:pt x="45" y="58"/>
                  </a:lnTo>
                  <a:lnTo>
                    <a:pt x="50" y="58"/>
                  </a:lnTo>
                  <a:lnTo>
                    <a:pt x="52" y="58"/>
                  </a:lnTo>
                  <a:lnTo>
                    <a:pt x="55" y="60"/>
                  </a:lnTo>
                  <a:lnTo>
                    <a:pt x="57" y="60"/>
                  </a:lnTo>
                  <a:lnTo>
                    <a:pt x="60" y="60"/>
                  </a:lnTo>
                  <a:lnTo>
                    <a:pt x="62" y="60"/>
                  </a:lnTo>
                  <a:lnTo>
                    <a:pt x="69" y="58"/>
                  </a:lnTo>
                  <a:lnTo>
                    <a:pt x="71" y="58"/>
                  </a:lnTo>
                  <a:lnTo>
                    <a:pt x="71" y="53"/>
                  </a:lnTo>
                  <a:close/>
                  <a:moveTo>
                    <a:pt x="31" y="12"/>
                  </a:moveTo>
                  <a:lnTo>
                    <a:pt x="36" y="7"/>
                  </a:lnTo>
                  <a:lnTo>
                    <a:pt x="36" y="3"/>
                  </a:lnTo>
                  <a:lnTo>
                    <a:pt x="36" y="0"/>
                  </a:lnTo>
                  <a:lnTo>
                    <a:pt x="26" y="0"/>
                  </a:lnTo>
                  <a:lnTo>
                    <a:pt x="26" y="3"/>
                  </a:lnTo>
                  <a:lnTo>
                    <a:pt x="21" y="7"/>
                  </a:lnTo>
                  <a:lnTo>
                    <a:pt x="21" y="10"/>
                  </a:lnTo>
                  <a:lnTo>
                    <a:pt x="19" y="10"/>
                  </a:lnTo>
                  <a:lnTo>
                    <a:pt x="19" y="19"/>
                  </a:lnTo>
                  <a:lnTo>
                    <a:pt x="14" y="14"/>
                  </a:lnTo>
                  <a:lnTo>
                    <a:pt x="12" y="7"/>
                  </a:lnTo>
                  <a:lnTo>
                    <a:pt x="7" y="10"/>
                  </a:lnTo>
                  <a:lnTo>
                    <a:pt x="5" y="10"/>
                  </a:lnTo>
                  <a:lnTo>
                    <a:pt x="5" y="12"/>
                  </a:lnTo>
                  <a:lnTo>
                    <a:pt x="5" y="14"/>
                  </a:lnTo>
                  <a:lnTo>
                    <a:pt x="7" y="14"/>
                  </a:lnTo>
                  <a:lnTo>
                    <a:pt x="12" y="19"/>
                  </a:lnTo>
                  <a:lnTo>
                    <a:pt x="12" y="22"/>
                  </a:lnTo>
                  <a:lnTo>
                    <a:pt x="5" y="19"/>
                  </a:lnTo>
                  <a:lnTo>
                    <a:pt x="2" y="24"/>
                  </a:lnTo>
                  <a:lnTo>
                    <a:pt x="0" y="24"/>
                  </a:lnTo>
                  <a:lnTo>
                    <a:pt x="0" y="29"/>
                  </a:lnTo>
                  <a:lnTo>
                    <a:pt x="0" y="31"/>
                  </a:lnTo>
                  <a:lnTo>
                    <a:pt x="5" y="34"/>
                  </a:lnTo>
                  <a:lnTo>
                    <a:pt x="7" y="34"/>
                  </a:lnTo>
                  <a:lnTo>
                    <a:pt x="2" y="38"/>
                  </a:lnTo>
                  <a:lnTo>
                    <a:pt x="2" y="41"/>
                  </a:lnTo>
                  <a:lnTo>
                    <a:pt x="5" y="43"/>
                  </a:lnTo>
                  <a:lnTo>
                    <a:pt x="7" y="43"/>
                  </a:lnTo>
                  <a:lnTo>
                    <a:pt x="7" y="48"/>
                  </a:lnTo>
                  <a:lnTo>
                    <a:pt x="5" y="53"/>
                  </a:lnTo>
                  <a:lnTo>
                    <a:pt x="7" y="53"/>
                  </a:lnTo>
                  <a:lnTo>
                    <a:pt x="17" y="53"/>
                  </a:lnTo>
                  <a:lnTo>
                    <a:pt x="17" y="55"/>
                  </a:lnTo>
                  <a:lnTo>
                    <a:pt x="24" y="55"/>
                  </a:lnTo>
                  <a:lnTo>
                    <a:pt x="26" y="58"/>
                  </a:lnTo>
                  <a:lnTo>
                    <a:pt x="26" y="55"/>
                  </a:lnTo>
                  <a:lnTo>
                    <a:pt x="24" y="53"/>
                  </a:lnTo>
                  <a:lnTo>
                    <a:pt x="24" y="48"/>
                  </a:lnTo>
                  <a:lnTo>
                    <a:pt x="26" y="43"/>
                  </a:lnTo>
                  <a:lnTo>
                    <a:pt x="24" y="41"/>
                  </a:lnTo>
                  <a:lnTo>
                    <a:pt x="24" y="38"/>
                  </a:lnTo>
                  <a:lnTo>
                    <a:pt x="21" y="38"/>
                  </a:lnTo>
                  <a:lnTo>
                    <a:pt x="24" y="38"/>
                  </a:lnTo>
                  <a:lnTo>
                    <a:pt x="31" y="34"/>
                  </a:lnTo>
                  <a:lnTo>
                    <a:pt x="33" y="26"/>
                  </a:lnTo>
                  <a:lnTo>
                    <a:pt x="38" y="26"/>
                  </a:lnTo>
                  <a:lnTo>
                    <a:pt x="41" y="19"/>
                  </a:lnTo>
                  <a:lnTo>
                    <a:pt x="31" y="19"/>
                  </a:lnTo>
                  <a:lnTo>
                    <a:pt x="31" y="12"/>
                  </a:lnTo>
                  <a:close/>
                  <a:moveTo>
                    <a:pt x="29" y="38"/>
                  </a:moveTo>
                  <a:lnTo>
                    <a:pt x="31" y="48"/>
                  </a:lnTo>
                  <a:lnTo>
                    <a:pt x="36" y="53"/>
                  </a:lnTo>
                  <a:lnTo>
                    <a:pt x="38" y="46"/>
                  </a:lnTo>
                  <a:lnTo>
                    <a:pt x="33" y="41"/>
                  </a:lnTo>
                  <a:lnTo>
                    <a:pt x="29" y="38"/>
                  </a:lnTo>
                  <a:close/>
                </a:path>
              </a:pathLst>
            </a:custGeom>
            <a:solidFill>
              <a:schemeClr val="accent1"/>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76" name="Costa Rica" descr="© INSCALE GmbH, 05.05.2010&#10;http://www.presentationload.com/">
              <a:extLst>
                <a:ext uri="{FF2B5EF4-FFF2-40B4-BE49-F238E27FC236}">
                  <a16:creationId xmlns:a16="http://schemas.microsoft.com/office/drawing/2014/main" id="{5696A3F2-FF24-4179-89FD-A2F18164E8E1}"/>
                </a:ext>
              </a:extLst>
            </p:cNvPr>
            <p:cNvSpPr>
              <a:spLocks/>
            </p:cNvSpPr>
            <p:nvPr/>
          </p:nvSpPr>
          <p:spPr bwMode="gray">
            <a:xfrm>
              <a:off x="1706763" y="3893553"/>
              <a:ext cx="95649" cy="90945"/>
            </a:xfrm>
            <a:custGeom>
              <a:avLst/>
              <a:gdLst>
                <a:gd name="T0" fmla="*/ 2147483647 w 240"/>
                <a:gd name="T1" fmla="*/ 2147483647 h 228"/>
                <a:gd name="T2" fmla="*/ 2147483647 w 240"/>
                <a:gd name="T3" fmla="*/ 2147483647 h 228"/>
                <a:gd name="T4" fmla="*/ 2147483647 w 240"/>
                <a:gd name="T5" fmla="*/ 2147483647 h 228"/>
                <a:gd name="T6" fmla="*/ 2147483647 w 240"/>
                <a:gd name="T7" fmla="*/ 2147483647 h 228"/>
                <a:gd name="T8" fmla="*/ 2147483647 w 240"/>
                <a:gd name="T9" fmla="*/ 2147483647 h 228"/>
                <a:gd name="T10" fmla="*/ 2147483647 w 240"/>
                <a:gd name="T11" fmla="*/ 2147483647 h 228"/>
                <a:gd name="T12" fmla="*/ 2147483647 w 240"/>
                <a:gd name="T13" fmla="*/ 2147483647 h 228"/>
                <a:gd name="T14" fmla="*/ 2147483647 w 240"/>
                <a:gd name="T15" fmla="*/ 2147483647 h 228"/>
                <a:gd name="T16" fmla="*/ 2147483647 w 240"/>
                <a:gd name="T17" fmla="*/ 2147483647 h 228"/>
                <a:gd name="T18" fmla="*/ 2147483647 w 240"/>
                <a:gd name="T19" fmla="*/ 2147483647 h 228"/>
                <a:gd name="T20" fmla="*/ 2147483647 w 240"/>
                <a:gd name="T21" fmla="*/ 2147483647 h 228"/>
                <a:gd name="T22" fmla="*/ 2147483647 w 240"/>
                <a:gd name="T23" fmla="*/ 2147483647 h 228"/>
                <a:gd name="T24" fmla="*/ 2147483647 w 240"/>
                <a:gd name="T25" fmla="*/ 2147483647 h 228"/>
                <a:gd name="T26" fmla="*/ 2147483647 w 240"/>
                <a:gd name="T27" fmla="*/ 2147483647 h 228"/>
                <a:gd name="T28" fmla="*/ 2147483647 w 240"/>
                <a:gd name="T29" fmla="*/ 2147483647 h 228"/>
                <a:gd name="T30" fmla="*/ 2147483647 w 240"/>
                <a:gd name="T31" fmla="*/ 0 h 228"/>
                <a:gd name="T32" fmla="*/ 2147483647 w 240"/>
                <a:gd name="T33" fmla="*/ 2147483647 h 228"/>
                <a:gd name="T34" fmla="*/ 2147483647 w 240"/>
                <a:gd name="T35" fmla="*/ 2147483647 h 228"/>
                <a:gd name="T36" fmla="*/ 0 w 240"/>
                <a:gd name="T37" fmla="*/ 2147483647 h 228"/>
                <a:gd name="T38" fmla="*/ 2147483647 w 240"/>
                <a:gd name="T39" fmla="*/ 2147483647 h 228"/>
                <a:gd name="T40" fmla="*/ 2147483647 w 240"/>
                <a:gd name="T41" fmla="*/ 2147483647 h 228"/>
                <a:gd name="T42" fmla="*/ 2147483647 w 240"/>
                <a:gd name="T43" fmla="*/ 2147483647 h 228"/>
                <a:gd name="T44" fmla="*/ 2147483647 w 240"/>
                <a:gd name="T45" fmla="*/ 2147483647 h 228"/>
                <a:gd name="T46" fmla="*/ 2147483647 w 240"/>
                <a:gd name="T47" fmla="*/ 2147483647 h 228"/>
                <a:gd name="T48" fmla="*/ 2147483647 w 240"/>
                <a:gd name="T49" fmla="*/ 2147483647 h 228"/>
                <a:gd name="T50" fmla="*/ 2147483647 w 240"/>
                <a:gd name="T51" fmla="*/ 2147483647 h 228"/>
                <a:gd name="T52" fmla="*/ 2147483647 w 240"/>
                <a:gd name="T53" fmla="*/ 2147483647 h 228"/>
                <a:gd name="T54" fmla="*/ 2147483647 w 240"/>
                <a:gd name="T55" fmla="*/ 2147483647 h 228"/>
                <a:gd name="T56" fmla="*/ 2147483647 w 240"/>
                <a:gd name="T57" fmla="*/ 2147483647 h 228"/>
                <a:gd name="T58" fmla="*/ 2147483647 w 240"/>
                <a:gd name="T59" fmla="*/ 2147483647 h 228"/>
                <a:gd name="T60" fmla="*/ 2147483647 w 240"/>
                <a:gd name="T61" fmla="*/ 2147483647 h 228"/>
                <a:gd name="T62" fmla="*/ 2147483647 w 240"/>
                <a:gd name="T63" fmla="*/ 2147483647 h 228"/>
                <a:gd name="T64" fmla="*/ 2147483647 w 240"/>
                <a:gd name="T65" fmla="*/ 2147483647 h 228"/>
                <a:gd name="T66" fmla="*/ 2147483647 w 240"/>
                <a:gd name="T67" fmla="*/ 2147483647 h 2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0"/>
                <a:gd name="T103" fmla="*/ 0 h 228"/>
                <a:gd name="T104" fmla="*/ 240 w 240"/>
                <a:gd name="T105" fmla="*/ 228 h 2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0" h="228">
                  <a:moveTo>
                    <a:pt x="210" y="198"/>
                  </a:moveTo>
                  <a:lnTo>
                    <a:pt x="216" y="198"/>
                  </a:lnTo>
                  <a:lnTo>
                    <a:pt x="234" y="180"/>
                  </a:lnTo>
                  <a:lnTo>
                    <a:pt x="228" y="174"/>
                  </a:lnTo>
                  <a:lnTo>
                    <a:pt x="210" y="174"/>
                  </a:lnTo>
                  <a:lnTo>
                    <a:pt x="210" y="168"/>
                  </a:lnTo>
                  <a:lnTo>
                    <a:pt x="204" y="162"/>
                  </a:lnTo>
                  <a:lnTo>
                    <a:pt x="204" y="144"/>
                  </a:lnTo>
                  <a:lnTo>
                    <a:pt x="210" y="138"/>
                  </a:lnTo>
                  <a:lnTo>
                    <a:pt x="222" y="138"/>
                  </a:lnTo>
                  <a:lnTo>
                    <a:pt x="228" y="132"/>
                  </a:lnTo>
                  <a:lnTo>
                    <a:pt x="240" y="132"/>
                  </a:lnTo>
                  <a:lnTo>
                    <a:pt x="228" y="126"/>
                  </a:lnTo>
                  <a:lnTo>
                    <a:pt x="210" y="108"/>
                  </a:lnTo>
                  <a:lnTo>
                    <a:pt x="198" y="84"/>
                  </a:lnTo>
                  <a:lnTo>
                    <a:pt x="192" y="78"/>
                  </a:lnTo>
                  <a:lnTo>
                    <a:pt x="186" y="66"/>
                  </a:lnTo>
                  <a:lnTo>
                    <a:pt x="180" y="60"/>
                  </a:lnTo>
                  <a:lnTo>
                    <a:pt x="174" y="36"/>
                  </a:lnTo>
                  <a:lnTo>
                    <a:pt x="138" y="36"/>
                  </a:lnTo>
                  <a:lnTo>
                    <a:pt x="126" y="24"/>
                  </a:lnTo>
                  <a:lnTo>
                    <a:pt x="126" y="18"/>
                  </a:lnTo>
                  <a:lnTo>
                    <a:pt x="120" y="18"/>
                  </a:lnTo>
                  <a:lnTo>
                    <a:pt x="114" y="12"/>
                  </a:lnTo>
                  <a:lnTo>
                    <a:pt x="84" y="12"/>
                  </a:lnTo>
                  <a:lnTo>
                    <a:pt x="84" y="18"/>
                  </a:lnTo>
                  <a:lnTo>
                    <a:pt x="78" y="18"/>
                  </a:lnTo>
                  <a:lnTo>
                    <a:pt x="72" y="12"/>
                  </a:lnTo>
                  <a:lnTo>
                    <a:pt x="60" y="6"/>
                  </a:lnTo>
                  <a:lnTo>
                    <a:pt x="48" y="6"/>
                  </a:lnTo>
                  <a:lnTo>
                    <a:pt x="42" y="0"/>
                  </a:lnTo>
                  <a:lnTo>
                    <a:pt x="24" y="0"/>
                  </a:lnTo>
                  <a:lnTo>
                    <a:pt x="6" y="30"/>
                  </a:lnTo>
                  <a:lnTo>
                    <a:pt x="18" y="42"/>
                  </a:lnTo>
                  <a:lnTo>
                    <a:pt x="24" y="42"/>
                  </a:lnTo>
                  <a:lnTo>
                    <a:pt x="24" y="48"/>
                  </a:lnTo>
                  <a:lnTo>
                    <a:pt x="6" y="66"/>
                  </a:lnTo>
                  <a:lnTo>
                    <a:pt x="0" y="78"/>
                  </a:lnTo>
                  <a:lnTo>
                    <a:pt x="6" y="90"/>
                  </a:lnTo>
                  <a:lnTo>
                    <a:pt x="18" y="102"/>
                  </a:lnTo>
                  <a:lnTo>
                    <a:pt x="30" y="108"/>
                  </a:lnTo>
                  <a:lnTo>
                    <a:pt x="42" y="108"/>
                  </a:lnTo>
                  <a:lnTo>
                    <a:pt x="60" y="126"/>
                  </a:lnTo>
                  <a:lnTo>
                    <a:pt x="72" y="126"/>
                  </a:lnTo>
                  <a:lnTo>
                    <a:pt x="72" y="102"/>
                  </a:lnTo>
                  <a:lnTo>
                    <a:pt x="66" y="96"/>
                  </a:lnTo>
                  <a:lnTo>
                    <a:pt x="54" y="90"/>
                  </a:lnTo>
                  <a:lnTo>
                    <a:pt x="42" y="78"/>
                  </a:lnTo>
                  <a:lnTo>
                    <a:pt x="42" y="72"/>
                  </a:lnTo>
                  <a:lnTo>
                    <a:pt x="48" y="72"/>
                  </a:lnTo>
                  <a:lnTo>
                    <a:pt x="60" y="78"/>
                  </a:lnTo>
                  <a:lnTo>
                    <a:pt x="66" y="84"/>
                  </a:lnTo>
                  <a:lnTo>
                    <a:pt x="90" y="96"/>
                  </a:lnTo>
                  <a:lnTo>
                    <a:pt x="96" y="102"/>
                  </a:lnTo>
                  <a:lnTo>
                    <a:pt x="96" y="132"/>
                  </a:lnTo>
                  <a:lnTo>
                    <a:pt x="114" y="132"/>
                  </a:lnTo>
                  <a:lnTo>
                    <a:pt x="126" y="138"/>
                  </a:lnTo>
                  <a:lnTo>
                    <a:pt x="138" y="138"/>
                  </a:lnTo>
                  <a:lnTo>
                    <a:pt x="156" y="180"/>
                  </a:lnTo>
                  <a:lnTo>
                    <a:pt x="150" y="186"/>
                  </a:lnTo>
                  <a:lnTo>
                    <a:pt x="150" y="198"/>
                  </a:lnTo>
                  <a:lnTo>
                    <a:pt x="168" y="216"/>
                  </a:lnTo>
                  <a:lnTo>
                    <a:pt x="180" y="222"/>
                  </a:lnTo>
                  <a:lnTo>
                    <a:pt x="192" y="222"/>
                  </a:lnTo>
                  <a:lnTo>
                    <a:pt x="174" y="198"/>
                  </a:lnTo>
                  <a:lnTo>
                    <a:pt x="204" y="228"/>
                  </a:lnTo>
                  <a:lnTo>
                    <a:pt x="210" y="222"/>
                  </a:lnTo>
                  <a:lnTo>
                    <a:pt x="210" y="198"/>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77" name="China" descr="© INSCALE GmbH, 05.05.2010&#10;http://www.presentationload.com/">
              <a:extLst>
                <a:ext uri="{FF2B5EF4-FFF2-40B4-BE49-F238E27FC236}">
                  <a16:creationId xmlns:a16="http://schemas.microsoft.com/office/drawing/2014/main" id="{3898CEBB-A59D-4473-A492-2D4E34AD6085}"/>
                </a:ext>
              </a:extLst>
            </p:cNvPr>
            <p:cNvSpPr>
              <a:spLocks noEditPoints="1"/>
            </p:cNvSpPr>
            <p:nvPr/>
          </p:nvSpPr>
          <p:spPr bwMode="gray">
            <a:xfrm>
              <a:off x="6078411" y="2545052"/>
              <a:ext cx="1455125" cy="1122705"/>
            </a:xfrm>
            <a:custGeom>
              <a:avLst/>
              <a:gdLst>
                <a:gd name="T0" fmla="*/ 2147483647 w 3660"/>
                <a:gd name="T1" fmla="*/ 2147483647 h 2826"/>
                <a:gd name="T2" fmla="*/ 2147483647 w 3660"/>
                <a:gd name="T3" fmla="*/ 2147483647 h 2826"/>
                <a:gd name="T4" fmla="*/ 2147483647 w 3660"/>
                <a:gd name="T5" fmla="*/ 2147483647 h 2826"/>
                <a:gd name="T6" fmla="*/ 2147483647 w 3660"/>
                <a:gd name="T7" fmla="*/ 2147483647 h 2826"/>
                <a:gd name="T8" fmla="*/ 2147483647 w 3660"/>
                <a:gd name="T9" fmla="*/ 2147483647 h 2826"/>
                <a:gd name="T10" fmla="*/ 2147483647 w 3660"/>
                <a:gd name="T11" fmla="*/ 2147483647 h 2826"/>
                <a:gd name="T12" fmla="*/ 2147483647 w 3660"/>
                <a:gd name="T13" fmla="*/ 2147483647 h 2826"/>
                <a:gd name="T14" fmla="*/ 2147483647 w 3660"/>
                <a:gd name="T15" fmla="*/ 2147483647 h 2826"/>
                <a:gd name="T16" fmla="*/ 2147483647 w 3660"/>
                <a:gd name="T17" fmla="*/ 2147483647 h 2826"/>
                <a:gd name="T18" fmla="*/ 2147483647 w 3660"/>
                <a:gd name="T19" fmla="*/ 2147483647 h 2826"/>
                <a:gd name="T20" fmla="*/ 2147483647 w 3660"/>
                <a:gd name="T21" fmla="*/ 2147483647 h 2826"/>
                <a:gd name="T22" fmla="*/ 2147483647 w 3660"/>
                <a:gd name="T23" fmla="*/ 2147483647 h 2826"/>
                <a:gd name="T24" fmla="*/ 2147483647 w 3660"/>
                <a:gd name="T25" fmla="*/ 2147483647 h 2826"/>
                <a:gd name="T26" fmla="*/ 2147483647 w 3660"/>
                <a:gd name="T27" fmla="*/ 2147483647 h 2826"/>
                <a:gd name="T28" fmla="*/ 2147483647 w 3660"/>
                <a:gd name="T29" fmla="*/ 2147483647 h 2826"/>
                <a:gd name="T30" fmla="*/ 2147483647 w 3660"/>
                <a:gd name="T31" fmla="*/ 2147483647 h 2826"/>
                <a:gd name="T32" fmla="*/ 2147483647 w 3660"/>
                <a:gd name="T33" fmla="*/ 2147483647 h 2826"/>
                <a:gd name="T34" fmla="*/ 2147483647 w 3660"/>
                <a:gd name="T35" fmla="*/ 2147483647 h 2826"/>
                <a:gd name="T36" fmla="*/ 2147483647 w 3660"/>
                <a:gd name="T37" fmla="*/ 2147483647 h 2826"/>
                <a:gd name="T38" fmla="*/ 2147483647 w 3660"/>
                <a:gd name="T39" fmla="*/ 2147483647 h 2826"/>
                <a:gd name="T40" fmla="*/ 2147483647 w 3660"/>
                <a:gd name="T41" fmla="*/ 2147483647 h 2826"/>
                <a:gd name="T42" fmla="*/ 2147483647 w 3660"/>
                <a:gd name="T43" fmla="*/ 2147483647 h 2826"/>
                <a:gd name="T44" fmla="*/ 2147483647 w 3660"/>
                <a:gd name="T45" fmla="*/ 2147483647 h 2826"/>
                <a:gd name="T46" fmla="*/ 0 w 3660"/>
                <a:gd name="T47" fmla="*/ 2147483647 h 2826"/>
                <a:gd name="T48" fmla="*/ 2147483647 w 3660"/>
                <a:gd name="T49" fmla="*/ 2147483647 h 2826"/>
                <a:gd name="T50" fmla="*/ 2147483647 w 3660"/>
                <a:gd name="T51" fmla="*/ 2147483647 h 2826"/>
                <a:gd name="T52" fmla="*/ 2147483647 w 3660"/>
                <a:gd name="T53" fmla="*/ 2147483647 h 2826"/>
                <a:gd name="T54" fmla="*/ 2147483647 w 3660"/>
                <a:gd name="T55" fmla="*/ 2147483647 h 2826"/>
                <a:gd name="T56" fmla="*/ 2147483647 w 3660"/>
                <a:gd name="T57" fmla="*/ 2147483647 h 2826"/>
                <a:gd name="T58" fmla="*/ 2147483647 w 3660"/>
                <a:gd name="T59" fmla="*/ 2147483647 h 2826"/>
                <a:gd name="T60" fmla="*/ 2147483647 w 3660"/>
                <a:gd name="T61" fmla="*/ 2147483647 h 2826"/>
                <a:gd name="T62" fmla="*/ 2147483647 w 3660"/>
                <a:gd name="T63" fmla="*/ 2147483647 h 2826"/>
                <a:gd name="T64" fmla="*/ 2147483647 w 3660"/>
                <a:gd name="T65" fmla="*/ 2147483647 h 2826"/>
                <a:gd name="T66" fmla="*/ 2147483647 w 3660"/>
                <a:gd name="T67" fmla="*/ 2147483647 h 2826"/>
                <a:gd name="T68" fmla="*/ 2147483647 w 3660"/>
                <a:gd name="T69" fmla="*/ 2147483647 h 2826"/>
                <a:gd name="T70" fmla="*/ 2147483647 w 3660"/>
                <a:gd name="T71" fmla="*/ 2147483647 h 2826"/>
                <a:gd name="T72" fmla="*/ 2147483647 w 3660"/>
                <a:gd name="T73" fmla="*/ 2147483647 h 2826"/>
                <a:gd name="T74" fmla="*/ 2147483647 w 3660"/>
                <a:gd name="T75" fmla="*/ 2147483647 h 2826"/>
                <a:gd name="T76" fmla="*/ 2147483647 w 3660"/>
                <a:gd name="T77" fmla="*/ 2147483647 h 2826"/>
                <a:gd name="T78" fmla="*/ 2147483647 w 3660"/>
                <a:gd name="T79" fmla="*/ 2147483647 h 2826"/>
                <a:gd name="T80" fmla="*/ 2147483647 w 3660"/>
                <a:gd name="T81" fmla="*/ 2147483647 h 2826"/>
                <a:gd name="T82" fmla="*/ 2147483647 w 3660"/>
                <a:gd name="T83" fmla="*/ 2147483647 h 2826"/>
                <a:gd name="T84" fmla="*/ 2147483647 w 3660"/>
                <a:gd name="T85" fmla="*/ 2147483647 h 2826"/>
                <a:gd name="T86" fmla="*/ 2147483647 w 3660"/>
                <a:gd name="T87" fmla="*/ 2147483647 h 2826"/>
                <a:gd name="T88" fmla="*/ 2147483647 w 3660"/>
                <a:gd name="T89" fmla="*/ 2147483647 h 2826"/>
                <a:gd name="T90" fmla="*/ 2147483647 w 3660"/>
                <a:gd name="T91" fmla="*/ 2147483647 h 2826"/>
                <a:gd name="T92" fmla="*/ 2147483647 w 3660"/>
                <a:gd name="T93" fmla="*/ 2147483647 h 2826"/>
                <a:gd name="T94" fmla="*/ 2147483647 w 3660"/>
                <a:gd name="T95" fmla="*/ 2147483647 h 2826"/>
                <a:gd name="T96" fmla="*/ 2147483647 w 3660"/>
                <a:gd name="T97" fmla="*/ 2147483647 h 2826"/>
                <a:gd name="T98" fmla="*/ 2147483647 w 3660"/>
                <a:gd name="T99" fmla="*/ 2147483647 h 2826"/>
                <a:gd name="T100" fmla="*/ 2147483647 w 3660"/>
                <a:gd name="T101" fmla="*/ 2147483647 h 2826"/>
                <a:gd name="T102" fmla="*/ 2147483647 w 3660"/>
                <a:gd name="T103" fmla="*/ 2147483647 h 2826"/>
                <a:gd name="T104" fmla="*/ 2147483647 w 3660"/>
                <a:gd name="T105" fmla="*/ 2147483647 h 2826"/>
                <a:gd name="T106" fmla="*/ 2147483647 w 3660"/>
                <a:gd name="T107" fmla="*/ 2147483647 h 2826"/>
                <a:gd name="T108" fmla="*/ 2147483647 w 3660"/>
                <a:gd name="T109" fmla="*/ 2147483647 h 2826"/>
                <a:gd name="T110" fmla="*/ 2147483647 w 3660"/>
                <a:gd name="T111" fmla="*/ 2147483647 h 2826"/>
                <a:gd name="T112" fmla="*/ 2147483647 w 3660"/>
                <a:gd name="T113" fmla="*/ 2147483647 h 2826"/>
                <a:gd name="T114" fmla="*/ 2147483647 w 3660"/>
                <a:gd name="T115" fmla="*/ 2147483647 h 2826"/>
                <a:gd name="T116" fmla="*/ 2147483647 w 3660"/>
                <a:gd name="T117" fmla="*/ 2147483647 h 2826"/>
                <a:gd name="T118" fmla="*/ 2147483647 w 3660"/>
                <a:gd name="T119" fmla="*/ 2147483647 h 2826"/>
                <a:gd name="T120" fmla="*/ 2147483647 w 3660"/>
                <a:gd name="T121" fmla="*/ 2147483647 h 2826"/>
                <a:gd name="T122" fmla="*/ 2147483647 w 3660"/>
                <a:gd name="T123" fmla="*/ 2147483647 h 28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60"/>
                <a:gd name="T187" fmla="*/ 0 h 2826"/>
                <a:gd name="T188" fmla="*/ 3660 w 3660"/>
                <a:gd name="T189" fmla="*/ 2826 h 28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60" h="2826">
                  <a:moveTo>
                    <a:pt x="2862" y="2688"/>
                  </a:moveTo>
                  <a:lnTo>
                    <a:pt x="2850" y="2682"/>
                  </a:lnTo>
                  <a:lnTo>
                    <a:pt x="2772" y="2682"/>
                  </a:lnTo>
                  <a:lnTo>
                    <a:pt x="2766" y="2700"/>
                  </a:lnTo>
                  <a:lnTo>
                    <a:pt x="2748" y="2694"/>
                  </a:lnTo>
                  <a:lnTo>
                    <a:pt x="2736" y="2718"/>
                  </a:lnTo>
                  <a:lnTo>
                    <a:pt x="2730" y="2724"/>
                  </a:lnTo>
                  <a:lnTo>
                    <a:pt x="2712" y="2760"/>
                  </a:lnTo>
                  <a:lnTo>
                    <a:pt x="2718" y="2772"/>
                  </a:lnTo>
                  <a:lnTo>
                    <a:pt x="2724" y="2790"/>
                  </a:lnTo>
                  <a:lnTo>
                    <a:pt x="2754" y="2820"/>
                  </a:lnTo>
                  <a:lnTo>
                    <a:pt x="2766" y="2826"/>
                  </a:lnTo>
                  <a:lnTo>
                    <a:pt x="2772" y="2826"/>
                  </a:lnTo>
                  <a:lnTo>
                    <a:pt x="2802" y="2820"/>
                  </a:lnTo>
                  <a:lnTo>
                    <a:pt x="2820" y="2820"/>
                  </a:lnTo>
                  <a:lnTo>
                    <a:pt x="2844" y="2808"/>
                  </a:lnTo>
                  <a:lnTo>
                    <a:pt x="2850" y="2802"/>
                  </a:lnTo>
                  <a:lnTo>
                    <a:pt x="2850" y="2754"/>
                  </a:lnTo>
                  <a:lnTo>
                    <a:pt x="2856" y="2742"/>
                  </a:lnTo>
                  <a:lnTo>
                    <a:pt x="2862" y="2736"/>
                  </a:lnTo>
                  <a:lnTo>
                    <a:pt x="2868" y="2724"/>
                  </a:lnTo>
                  <a:lnTo>
                    <a:pt x="2868" y="2700"/>
                  </a:lnTo>
                  <a:lnTo>
                    <a:pt x="2862" y="2688"/>
                  </a:lnTo>
                  <a:close/>
                  <a:moveTo>
                    <a:pt x="3660" y="624"/>
                  </a:moveTo>
                  <a:lnTo>
                    <a:pt x="3654" y="600"/>
                  </a:lnTo>
                  <a:lnTo>
                    <a:pt x="3660" y="570"/>
                  </a:lnTo>
                  <a:lnTo>
                    <a:pt x="3642" y="564"/>
                  </a:lnTo>
                  <a:lnTo>
                    <a:pt x="3642" y="540"/>
                  </a:lnTo>
                  <a:lnTo>
                    <a:pt x="3630" y="528"/>
                  </a:lnTo>
                  <a:lnTo>
                    <a:pt x="3630" y="510"/>
                  </a:lnTo>
                  <a:lnTo>
                    <a:pt x="3618" y="492"/>
                  </a:lnTo>
                  <a:lnTo>
                    <a:pt x="3636" y="486"/>
                  </a:lnTo>
                  <a:lnTo>
                    <a:pt x="3636" y="456"/>
                  </a:lnTo>
                  <a:lnTo>
                    <a:pt x="3612" y="444"/>
                  </a:lnTo>
                  <a:lnTo>
                    <a:pt x="3612" y="426"/>
                  </a:lnTo>
                  <a:lnTo>
                    <a:pt x="3606" y="414"/>
                  </a:lnTo>
                  <a:lnTo>
                    <a:pt x="3594" y="408"/>
                  </a:lnTo>
                  <a:lnTo>
                    <a:pt x="3552" y="408"/>
                  </a:lnTo>
                  <a:lnTo>
                    <a:pt x="3546" y="432"/>
                  </a:lnTo>
                  <a:lnTo>
                    <a:pt x="3516" y="432"/>
                  </a:lnTo>
                  <a:lnTo>
                    <a:pt x="3504" y="438"/>
                  </a:lnTo>
                  <a:lnTo>
                    <a:pt x="3498" y="438"/>
                  </a:lnTo>
                  <a:lnTo>
                    <a:pt x="3492" y="444"/>
                  </a:lnTo>
                  <a:lnTo>
                    <a:pt x="3492" y="462"/>
                  </a:lnTo>
                  <a:lnTo>
                    <a:pt x="3462" y="456"/>
                  </a:lnTo>
                  <a:lnTo>
                    <a:pt x="3462" y="468"/>
                  </a:lnTo>
                  <a:lnTo>
                    <a:pt x="3444" y="468"/>
                  </a:lnTo>
                  <a:lnTo>
                    <a:pt x="3432" y="456"/>
                  </a:lnTo>
                  <a:lnTo>
                    <a:pt x="3408" y="462"/>
                  </a:lnTo>
                  <a:lnTo>
                    <a:pt x="3366" y="432"/>
                  </a:lnTo>
                  <a:lnTo>
                    <a:pt x="3366" y="420"/>
                  </a:lnTo>
                  <a:lnTo>
                    <a:pt x="3360" y="408"/>
                  </a:lnTo>
                  <a:lnTo>
                    <a:pt x="3360" y="402"/>
                  </a:lnTo>
                  <a:lnTo>
                    <a:pt x="3354" y="396"/>
                  </a:lnTo>
                  <a:lnTo>
                    <a:pt x="3336" y="396"/>
                  </a:lnTo>
                  <a:lnTo>
                    <a:pt x="3318" y="366"/>
                  </a:lnTo>
                  <a:lnTo>
                    <a:pt x="3276" y="366"/>
                  </a:lnTo>
                  <a:lnTo>
                    <a:pt x="3258" y="348"/>
                  </a:lnTo>
                  <a:lnTo>
                    <a:pt x="3246" y="342"/>
                  </a:lnTo>
                  <a:lnTo>
                    <a:pt x="3228" y="324"/>
                  </a:lnTo>
                  <a:lnTo>
                    <a:pt x="3216" y="324"/>
                  </a:lnTo>
                  <a:lnTo>
                    <a:pt x="3204" y="336"/>
                  </a:lnTo>
                  <a:lnTo>
                    <a:pt x="3192" y="330"/>
                  </a:lnTo>
                  <a:lnTo>
                    <a:pt x="3186" y="324"/>
                  </a:lnTo>
                  <a:lnTo>
                    <a:pt x="3174" y="318"/>
                  </a:lnTo>
                  <a:lnTo>
                    <a:pt x="3126" y="318"/>
                  </a:lnTo>
                  <a:lnTo>
                    <a:pt x="3114" y="312"/>
                  </a:lnTo>
                  <a:lnTo>
                    <a:pt x="3108" y="306"/>
                  </a:lnTo>
                  <a:lnTo>
                    <a:pt x="3084" y="294"/>
                  </a:lnTo>
                  <a:lnTo>
                    <a:pt x="3078" y="288"/>
                  </a:lnTo>
                  <a:lnTo>
                    <a:pt x="3072" y="288"/>
                  </a:lnTo>
                  <a:lnTo>
                    <a:pt x="3066" y="264"/>
                  </a:lnTo>
                  <a:lnTo>
                    <a:pt x="3054" y="264"/>
                  </a:lnTo>
                  <a:lnTo>
                    <a:pt x="3048" y="252"/>
                  </a:lnTo>
                  <a:lnTo>
                    <a:pt x="3030" y="234"/>
                  </a:lnTo>
                  <a:lnTo>
                    <a:pt x="3024" y="222"/>
                  </a:lnTo>
                  <a:lnTo>
                    <a:pt x="2976" y="198"/>
                  </a:lnTo>
                  <a:lnTo>
                    <a:pt x="2964" y="198"/>
                  </a:lnTo>
                  <a:lnTo>
                    <a:pt x="2952" y="168"/>
                  </a:lnTo>
                  <a:lnTo>
                    <a:pt x="2904" y="144"/>
                  </a:lnTo>
                  <a:lnTo>
                    <a:pt x="2898" y="114"/>
                  </a:lnTo>
                  <a:lnTo>
                    <a:pt x="2892" y="114"/>
                  </a:lnTo>
                  <a:lnTo>
                    <a:pt x="2886" y="108"/>
                  </a:lnTo>
                  <a:lnTo>
                    <a:pt x="2874" y="108"/>
                  </a:lnTo>
                  <a:lnTo>
                    <a:pt x="2862" y="96"/>
                  </a:lnTo>
                  <a:lnTo>
                    <a:pt x="2850" y="90"/>
                  </a:lnTo>
                  <a:lnTo>
                    <a:pt x="2838" y="78"/>
                  </a:lnTo>
                  <a:lnTo>
                    <a:pt x="2832" y="78"/>
                  </a:lnTo>
                  <a:lnTo>
                    <a:pt x="2832" y="66"/>
                  </a:lnTo>
                  <a:lnTo>
                    <a:pt x="2820" y="60"/>
                  </a:lnTo>
                  <a:lnTo>
                    <a:pt x="2814" y="54"/>
                  </a:lnTo>
                  <a:lnTo>
                    <a:pt x="2802" y="48"/>
                  </a:lnTo>
                  <a:lnTo>
                    <a:pt x="2796" y="42"/>
                  </a:lnTo>
                  <a:lnTo>
                    <a:pt x="2724" y="42"/>
                  </a:lnTo>
                  <a:lnTo>
                    <a:pt x="2688" y="18"/>
                  </a:lnTo>
                  <a:lnTo>
                    <a:pt x="2652" y="0"/>
                  </a:lnTo>
                  <a:lnTo>
                    <a:pt x="2598" y="12"/>
                  </a:lnTo>
                  <a:lnTo>
                    <a:pt x="2556" y="6"/>
                  </a:lnTo>
                  <a:lnTo>
                    <a:pt x="2550" y="18"/>
                  </a:lnTo>
                  <a:lnTo>
                    <a:pt x="2514" y="24"/>
                  </a:lnTo>
                  <a:lnTo>
                    <a:pt x="2472" y="66"/>
                  </a:lnTo>
                  <a:lnTo>
                    <a:pt x="2466" y="66"/>
                  </a:lnTo>
                  <a:lnTo>
                    <a:pt x="2466" y="78"/>
                  </a:lnTo>
                  <a:lnTo>
                    <a:pt x="2472" y="78"/>
                  </a:lnTo>
                  <a:lnTo>
                    <a:pt x="2490" y="84"/>
                  </a:lnTo>
                  <a:lnTo>
                    <a:pt x="2502" y="84"/>
                  </a:lnTo>
                  <a:lnTo>
                    <a:pt x="2508" y="90"/>
                  </a:lnTo>
                  <a:lnTo>
                    <a:pt x="2520" y="90"/>
                  </a:lnTo>
                  <a:lnTo>
                    <a:pt x="2532" y="102"/>
                  </a:lnTo>
                  <a:lnTo>
                    <a:pt x="2544" y="108"/>
                  </a:lnTo>
                  <a:lnTo>
                    <a:pt x="2550" y="114"/>
                  </a:lnTo>
                  <a:lnTo>
                    <a:pt x="2550" y="126"/>
                  </a:lnTo>
                  <a:lnTo>
                    <a:pt x="2532" y="144"/>
                  </a:lnTo>
                  <a:lnTo>
                    <a:pt x="2532" y="216"/>
                  </a:lnTo>
                  <a:lnTo>
                    <a:pt x="2538" y="258"/>
                  </a:lnTo>
                  <a:lnTo>
                    <a:pt x="2544" y="264"/>
                  </a:lnTo>
                  <a:lnTo>
                    <a:pt x="2556" y="264"/>
                  </a:lnTo>
                  <a:lnTo>
                    <a:pt x="2556" y="276"/>
                  </a:lnTo>
                  <a:lnTo>
                    <a:pt x="2550" y="282"/>
                  </a:lnTo>
                  <a:lnTo>
                    <a:pt x="2538" y="288"/>
                  </a:lnTo>
                  <a:lnTo>
                    <a:pt x="2514" y="288"/>
                  </a:lnTo>
                  <a:lnTo>
                    <a:pt x="2514" y="300"/>
                  </a:lnTo>
                  <a:lnTo>
                    <a:pt x="2496" y="318"/>
                  </a:lnTo>
                  <a:lnTo>
                    <a:pt x="2484" y="318"/>
                  </a:lnTo>
                  <a:lnTo>
                    <a:pt x="2478" y="312"/>
                  </a:lnTo>
                  <a:lnTo>
                    <a:pt x="2442" y="312"/>
                  </a:lnTo>
                  <a:lnTo>
                    <a:pt x="2406" y="288"/>
                  </a:lnTo>
                  <a:lnTo>
                    <a:pt x="2406" y="372"/>
                  </a:lnTo>
                  <a:lnTo>
                    <a:pt x="2412" y="384"/>
                  </a:lnTo>
                  <a:lnTo>
                    <a:pt x="2418" y="408"/>
                  </a:lnTo>
                  <a:lnTo>
                    <a:pt x="2424" y="420"/>
                  </a:lnTo>
                  <a:lnTo>
                    <a:pt x="2418" y="420"/>
                  </a:lnTo>
                  <a:lnTo>
                    <a:pt x="2418" y="438"/>
                  </a:lnTo>
                  <a:lnTo>
                    <a:pt x="2424" y="450"/>
                  </a:lnTo>
                  <a:lnTo>
                    <a:pt x="2436" y="456"/>
                  </a:lnTo>
                  <a:lnTo>
                    <a:pt x="2442" y="462"/>
                  </a:lnTo>
                  <a:lnTo>
                    <a:pt x="2460" y="462"/>
                  </a:lnTo>
                  <a:lnTo>
                    <a:pt x="2460" y="456"/>
                  </a:lnTo>
                  <a:lnTo>
                    <a:pt x="2454" y="456"/>
                  </a:lnTo>
                  <a:lnTo>
                    <a:pt x="2460" y="450"/>
                  </a:lnTo>
                  <a:lnTo>
                    <a:pt x="2514" y="450"/>
                  </a:lnTo>
                  <a:lnTo>
                    <a:pt x="2526" y="462"/>
                  </a:lnTo>
                  <a:lnTo>
                    <a:pt x="2538" y="468"/>
                  </a:lnTo>
                  <a:lnTo>
                    <a:pt x="2544" y="468"/>
                  </a:lnTo>
                  <a:lnTo>
                    <a:pt x="2550" y="462"/>
                  </a:lnTo>
                  <a:lnTo>
                    <a:pt x="2550" y="438"/>
                  </a:lnTo>
                  <a:lnTo>
                    <a:pt x="2616" y="438"/>
                  </a:lnTo>
                  <a:lnTo>
                    <a:pt x="2616" y="450"/>
                  </a:lnTo>
                  <a:lnTo>
                    <a:pt x="2622" y="456"/>
                  </a:lnTo>
                  <a:lnTo>
                    <a:pt x="2634" y="462"/>
                  </a:lnTo>
                  <a:lnTo>
                    <a:pt x="2652" y="462"/>
                  </a:lnTo>
                  <a:lnTo>
                    <a:pt x="2658" y="468"/>
                  </a:lnTo>
                  <a:lnTo>
                    <a:pt x="2670" y="474"/>
                  </a:lnTo>
                  <a:lnTo>
                    <a:pt x="2682" y="486"/>
                  </a:lnTo>
                  <a:lnTo>
                    <a:pt x="2706" y="498"/>
                  </a:lnTo>
                  <a:lnTo>
                    <a:pt x="2718" y="498"/>
                  </a:lnTo>
                  <a:lnTo>
                    <a:pt x="2724" y="510"/>
                  </a:lnTo>
                  <a:lnTo>
                    <a:pt x="2748" y="534"/>
                  </a:lnTo>
                  <a:lnTo>
                    <a:pt x="2748" y="540"/>
                  </a:lnTo>
                  <a:lnTo>
                    <a:pt x="2742" y="546"/>
                  </a:lnTo>
                  <a:lnTo>
                    <a:pt x="2706" y="546"/>
                  </a:lnTo>
                  <a:lnTo>
                    <a:pt x="2700" y="540"/>
                  </a:lnTo>
                  <a:lnTo>
                    <a:pt x="2688" y="534"/>
                  </a:lnTo>
                  <a:lnTo>
                    <a:pt x="2658" y="534"/>
                  </a:lnTo>
                  <a:lnTo>
                    <a:pt x="2652" y="540"/>
                  </a:lnTo>
                  <a:lnTo>
                    <a:pt x="2646" y="540"/>
                  </a:lnTo>
                  <a:lnTo>
                    <a:pt x="2628" y="558"/>
                  </a:lnTo>
                  <a:lnTo>
                    <a:pt x="2598" y="552"/>
                  </a:lnTo>
                  <a:lnTo>
                    <a:pt x="2598" y="570"/>
                  </a:lnTo>
                  <a:lnTo>
                    <a:pt x="2586" y="570"/>
                  </a:lnTo>
                  <a:lnTo>
                    <a:pt x="2550" y="588"/>
                  </a:lnTo>
                  <a:lnTo>
                    <a:pt x="2544" y="594"/>
                  </a:lnTo>
                  <a:lnTo>
                    <a:pt x="2550" y="606"/>
                  </a:lnTo>
                  <a:lnTo>
                    <a:pt x="2562" y="618"/>
                  </a:lnTo>
                  <a:lnTo>
                    <a:pt x="2538" y="642"/>
                  </a:lnTo>
                  <a:lnTo>
                    <a:pt x="2466" y="642"/>
                  </a:lnTo>
                  <a:lnTo>
                    <a:pt x="2466" y="666"/>
                  </a:lnTo>
                  <a:lnTo>
                    <a:pt x="2460" y="672"/>
                  </a:lnTo>
                  <a:lnTo>
                    <a:pt x="2454" y="684"/>
                  </a:lnTo>
                  <a:lnTo>
                    <a:pt x="2442" y="690"/>
                  </a:lnTo>
                  <a:lnTo>
                    <a:pt x="2424" y="690"/>
                  </a:lnTo>
                  <a:lnTo>
                    <a:pt x="2412" y="696"/>
                  </a:lnTo>
                  <a:lnTo>
                    <a:pt x="2388" y="696"/>
                  </a:lnTo>
                  <a:lnTo>
                    <a:pt x="2376" y="690"/>
                  </a:lnTo>
                  <a:lnTo>
                    <a:pt x="2370" y="684"/>
                  </a:lnTo>
                  <a:lnTo>
                    <a:pt x="2358" y="678"/>
                  </a:lnTo>
                  <a:lnTo>
                    <a:pt x="2352" y="672"/>
                  </a:lnTo>
                  <a:lnTo>
                    <a:pt x="2346" y="672"/>
                  </a:lnTo>
                  <a:lnTo>
                    <a:pt x="2340" y="666"/>
                  </a:lnTo>
                  <a:lnTo>
                    <a:pt x="2316" y="666"/>
                  </a:lnTo>
                  <a:lnTo>
                    <a:pt x="2304" y="672"/>
                  </a:lnTo>
                  <a:lnTo>
                    <a:pt x="2304" y="684"/>
                  </a:lnTo>
                  <a:lnTo>
                    <a:pt x="2298" y="696"/>
                  </a:lnTo>
                  <a:lnTo>
                    <a:pt x="2298" y="708"/>
                  </a:lnTo>
                  <a:lnTo>
                    <a:pt x="2304" y="720"/>
                  </a:lnTo>
                  <a:lnTo>
                    <a:pt x="2322" y="738"/>
                  </a:lnTo>
                  <a:lnTo>
                    <a:pt x="2334" y="744"/>
                  </a:lnTo>
                  <a:lnTo>
                    <a:pt x="2352" y="762"/>
                  </a:lnTo>
                  <a:lnTo>
                    <a:pt x="2364" y="768"/>
                  </a:lnTo>
                  <a:lnTo>
                    <a:pt x="2364" y="774"/>
                  </a:lnTo>
                  <a:lnTo>
                    <a:pt x="2358" y="780"/>
                  </a:lnTo>
                  <a:lnTo>
                    <a:pt x="2352" y="792"/>
                  </a:lnTo>
                  <a:lnTo>
                    <a:pt x="2340" y="804"/>
                  </a:lnTo>
                  <a:lnTo>
                    <a:pt x="2316" y="804"/>
                  </a:lnTo>
                  <a:lnTo>
                    <a:pt x="2316" y="810"/>
                  </a:lnTo>
                  <a:lnTo>
                    <a:pt x="2310" y="822"/>
                  </a:lnTo>
                  <a:lnTo>
                    <a:pt x="2310" y="828"/>
                  </a:lnTo>
                  <a:lnTo>
                    <a:pt x="2298" y="852"/>
                  </a:lnTo>
                  <a:lnTo>
                    <a:pt x="2286" y="858"/>
                  </a:lnTo>
                  <a:lnTo>
                    <a:pt x="2262" y="858"/>
                  </a:lnTo>
                  <a:lnTo>
                    <a:pt x="2244" y="882"/>
                  </a:lnTo>
                  <a:lnTo>
                    <a:pt x="2088" y="882"/>
                  </a:lnTo>
                  <a:lnTo>
                    <a:pt x="2070" y="894"/>
                  </a:lnTo>
                  <a:lnTo>
                    <a:pt x="2010" y="930"/>
                  </a:lnTo>
                  <a:lnTo>
                    <a:pt x="1992" y="942"/>
                  </a:lnTo>
                  <a:lnTo>
                    <a:pt x="1986" y="948"/>
                  </a:lnTo>
                  <a:lnTo>
                    <a:pt x="1968" y="948"/>
                  </a:lnTo>
                  <a:lnTo>
                    <a:pt x="1962" y="942"/>
                  </a:lnTo>
                  <a:lnTo>
                    <a:pt x="1956" y="942"/>
                  </a:lnTo>
                  <a:lnTo>
                    <a:pt x="1950" y="930"/>
                  </a:lnTo>
                  <a:lnTo>
                    <a:pt x="1950" y="924"/>
                  </a:lnTo>
                  <a:lnTo>
                    <a:pt x="1938" y="924"/>
                  </a:lnTo>
                  <a:lnTo>
                    <a:pt x="1926" y="930"/>
                  </a:lnTo>
                  <a:lnTo>
                    <a:pt x="1914" y="930"/>
                  </a:lnTo>
                  <a:lnTo>
                    <a:pt x="1908" y="936"/>
                  </a:lnTo>
                  <a:lnTo>
                    <a:pt x="1896" y="936"/>
                  </a:lnTo>
                  <a:lnTo>
                    <a:pt x="1890" y="930"/>
                  </a:lnTo>
                  <a:lnTo>
                    <a:pt x="1866" y="918"/>
                  </a:lnTo>
                  <a:lnTo>
                    <a:pt x="1848" y="912"/>
                  </a:lnTo>
                  <a:lnTo>
                    <a:pt x="1800" y="912"/>
                  </a:lnTo>
                  <a:lnTo>
                    <a:pt x="1776" y="906"/>
                  </a:lnTo>
                  <a:lnTo>
                    <a:pt x="1764" y="900"/>
                  </a:lnTo>
                  <a:lnTo>
                    <a:pt x="1758" y="888"/>
                  </a:lnTo>
                  <a:lnTo>
                    <a:pt x="1740" y="870"/>
                  </a:lnTo>
                  <a:lnTo>
                    <a:pt x="1728" y="870"/>
                  </a:lnTo>
                  <a:lnTo>
                    <a:pt x="1710" y="864"/>
                  </a:lnTo>
                  <a:lnTo>
                    <a:pt x="1656" y="864"/>
                  </a:lnTo>
                  <a:lnTo>
                    <a:pt x="1650" y="858"/>
                  </a:lnTo>
                  <a:lnTo>
                    <a:pt x="1644" y="858"/>
                  </a:lnTo>
                  <a:lnTo>
                    <a:pt x="1632" y="852"/>
                  </a:lnTo>
                  <a:lnTo>
                    <a:pt x="1620" y="852"/>
                  </a:lnTo>
                  <a:lnTo>
                    <a:pt x="1614" y="858"/>
                  </a:lnTo>
                  <a:lnTo>
                    <a:pt x="1602" y="864"/>
                  </a:lnTo>
                  <a:lnTo>
                    <a:pt x="1596" y="870"/>
                  </a:lnTo>
                  <a:lnTo>
                    <a:pt x="1560" y="864"/>
                  </a:lnTo>
                  <a:lnTo>
                    <a:pt x="1512" y="864"/>
                  </a:lnTo>
                  <a:lnTo>
                    <a:pt x="1458" y="858"/>
                  </a:lnTo>
                  <a:lnTo>
                    <a:pt x="1398" y="864"/>
                  </a:lnTo>
                  <a:lnTo>
                    <a:pt x="1386" y="858"/>
                  </a:lnTo>
                  <a:lnTo>
                    <a:pt x="1380" y="846"/>
                  </a:lnTo>
                  <a:lnTo>
                    <a:pt x="1368" y="840"/>
                  </a:lnTo>
                  <a:lnTo>
                    <a:pt x="1338" y="810"/>
                  </a:lnTo>
                  <a:lnTo>
                    <a:pt x="1332" y="798"/>
                  </a:lnTo>
                  <a:lnTo>
                    <a:pt x="1290" y="756"/>
                  </a:lnTo>
                  <a:lnTo>
                    <a:pt x="1278" y="732"/>
                  </a:lnTo>
                  <a:lnTo>
                    <a:pt x="1242" y="732"/>
                  </a:lnTo>
                  <a:lnTo>
                    <a:pt x="1236" y="726"/>
                  </a:lnTo>
                  <a:lnTo>
                    <a:pt x="1224" y="726"/>
                  </a:lnTo>
                  <a:lnTo>
                    <a:pt x="1200" y="714"/>
                  </a:lnTo>
                  <a:lnTo>
                    <a:pt x="1194" y="714"/>
                  </a:lnTo>
                  <a:lnTo>
                    <a:pt x="1188" y="708"/>
                  </a:lnTo>
                  <a:lnTo>
                    <a:pt x="1182" y="708"/>
                  </a:lnTo>
                  <a:lnTo>
                    <a:pt x="1176" y="696"/>
                  </a:lnTo>
                  <a:lnTo>
                    <a:pt x="1164" y="690"/>
                  </a:lnTo>
                  <a:lnTo>
                    <a:pt x="1158" y="690"/>
                  </a:lnTo>
                  <a:lnTo>
                    <a:pt x="1146" y="684"/>
                  </a:lnTo>
                  <a:lnTo>
                    <a:pt x="1140" y="684"/>
                  </a:lnTo>
                  <a:lnTo>
                    <a:pt x="1134" y="678"/>
                  </a:lnTo>
                  <a:lnTo>
                    <a:pt x="1038" y="678"/>
                  </a:lnTo>
                  <a:lnTo>
                    <a:pt x="1014" y="672"/>
                  </a:lnTo>
                  <a:lnTo>
                    <a:pt x="996" y="666"/>
                  </a:lnTo>
                  <a:lnTo>
                    <a:pt x="990" y="666"/>
                  </a:lnTo>
                  <a:lnTo>
                    <a:pt x="978" y="660"/>
                  </a:lnTo>
                  <a:lnTo>
                    <a:pt x="966" y="660"/>
                  </a:lnTo>
                  <a:lnTo>
                    <a:pt x="954" y="654"/>
                  </a:lnTo>
                  <a:lnTo>
                    <a:pt x="948" y="648"/>
                  </a:lnTo>
                  <a:lnTo>
                    <a:pt x="942" y="636"/>
                  </a:lnTo>
                  <a:lnTo>
                    <a:pt x="936" y="618"/>
                  </a:lnTo>
                  <a:lnTo>
                    <a:pt x="936" y="606"/>
                  </a:lnTo>
                  <a:lnTo>
                    <a:pt x="948" y="594"/>
                  </a:lnTo>
                  <a:lnTo>
                    <a:pt x="948" y="588"/>
                  </a:lnTo>
                  <a:lnTo>
                    <a:pt x="942" y="582"/>
                  </a:lnTo>
                  <a:lnTo>
                    <a:pt x="936" y="570"/>
                  </a:lnTo>
                  <a:lnTo>
                    <a:pt x="930" y="564"/>
                  </a:lnTo>
                  <a:lnTo>
                    <a:pt x="930" y="552"/>
                  </a:lnTo>
                  <a:lnTo>
                    <a:pt x="924" y="540"/>
                  </a:lnTo>
                  <a:lnTo>
                    <a:pt x="912" y="528"/>
                  </a:lnTo>
                  <a:lnTo>
                    <a:pt x="888" y="510"/>
                  </a:lnTo>
                  <a:lnTo>
                    <a:pt x="876" y="492"/>
                  </a:lnTo>
                  <a:lnTo>
                    <a:pt x="870" y="480"/>
                  </a:lnTo>
                  <a:lnTo>
                    <a:pt x="852" y="462"/>
                  </a:lnTo>
                  <a:lnTo>
                    <a:pt x="834" y="456"/>
                  </a:lnTo>
                  <a:lnTo>
                    <a:pt x="822" y="450"/>
                  </a:lnTo>
                  <a:lnTo>
                    <a:pt x="810" y="450"/>
                  </a:lnTo>
                  <a:lnTo>
                    <a:pt x="804" y="444"/>
                  </a:lnTo>
                  <a:lnTo>
                    <a:pt x="786" y="432"/>
                  </a:lnTo>
                  <a:lnTo>
                    <a:pt x="750" y="444"/>
                  </a:lnTo>
                  <a:lnTo>
                    <a:pt x="726" y="420"/>
                  </a:lnTo>
                  <a:lnTo>
                    <a:pt x="720" y="408"/>
                  </a:lnTo>
                  <a:lnTo>
                    <a:pt x="708" y="408"/>
                  </a:lnTo>
                  <a:lnTo>
                    <a:pt x="696" y="402"/>
                  </a:lnTo>
                  <a:lnTo>
                    <a:pt x="684" y="402"/>
                  </a:lnTo>
                  <a:lnTo>
                    <a:pt x="672" y="396"/>
                  </a:lnTo>
                  <a:lnTo>
                    <a:pt x="672" y="378"/>
                  </a:lnTo>
                  <a:lnTo>
                    <a:pt x="648" y="378"/>
                  </a:lnTo>
                  <a:lnTo>
                    <a:pt x="654" y="372"/>
                  </a:lnTo>
                  <a:lnTo>
                    <a:pt x="654" y="360"/>
                  </a:lnTo>
                  <a:lnTo>
                    <a:pt x="648" y="354"/>
                  </a:lnTo>
                  <a:lnTo>
                    <a:pt x="612" y="354"/>
                  </a:lnTo>
                  <a:lnTo>
                    <a:pt x="600" y="348"/>
                  </a:lnTo>
                  <a:lnTo>
                    <a:pt x="582" y="348"/>
                  </a:lnTo>
                  <a:lnTo>
                    <a:pt x="576" y="354"/>
                  </a:lnTo>
                  <a:lnTo>
                    <a:pt x="576" y="360"/>
                  </a:lnTo>
                  <a:lnTo>
                    <a:pt x="594" y="378"/>
                  </a:lnTo>
                  <a:lnTo>
                    <a:pt x="594" y="390"/>
                  </a:lnTo>
                  <a:lnTo>
                    <a:pt x="588" y="396"/>
                  </a:lnTo>
                  <a:lnTo>
                    <a:pt x="546" y="396"/>
                  </a:lnTo>
                  <a:lnTo>
                    <a:pt x="534" y="408"/>
                  </a:lnTo>
                  <a:lnTo>
                    <a:pt x="534" y="426"/>
                  </a:lnTo>
                  <a:lnTo>
                    <a:pt x="546" y="450"/>
                  </a:lnTo>
                  <a:lnTo>
                    <a:pt x="558" y="462"/>
                  </a:lnTo>
                  <a:lnTo>
                    <a:pt x="570" y="486"/>
                  </a:lnTo>
                  <a:lnTo>
                    <a:pt x="570" y="504"/>
                  </a:lnTo>
                  <a:lnTo>
                    <a:pt x="564" y="510"/>
                  </a:lnTo>
                  <a:lnTo>
                    <a:pt x="546" y="510"/>
                  </a:lnTo>
                  <a:lnTo>
                    <a:pt x="528" y="528"/>
                  </a:lnTo>
                  <a:lnTo>
                    <a:pt x="516" y="516"/>
                  </a:lnTo>
                  <a:lnTo>
                    <a:pt x="468" y="516"/>
                  </a:lnTo>
                  <a:lnTo>
                    <a:pt x="444" y="504"/>
                  </a:lnTo>
                  <a:lnTo>
                    <a:pt x="432" y="504"/>
                  </a:lnTo>
                  <a:lnTo>
                    <a:pt x="420" y="498"/>
                  </a:lnTo>
                  <a:lnTo>
                    <a:pt x="408" y="498"/>
                  </a:lnTo>
                  <a:lnTo>
                    <a:pt x="408" y="636"/>
                  </a:lnTo>
                  <a:lnTo>
                    <a:pt x="414" y="636"/>
                  </a:lnTo>
                  <a:lnTo>
                    <a:pt x="420" y="642"/>
                  </a:lnTo>
                  <a:lnTo>
                    <a:pt x="426" y="642"/>
                  </a:lnTo>
                  <a:lnTo>
                    <a:pt x="432" y="648"/>
                  </a:lnTo>
                  <a:lnTo>
                    <a:pt x="432" y="660"/>
                  </a:lnTo>
                  <a:lnTo>
                    <a:pt x="426" y="666"/>
                  </a:lnTo>
                  <a:lnTo>
                    <a:pt x="420" y="666"/>
                  </a:lnTo>
                  <a:lnTo>
                    <a:pt x="408" y="654"/>
                  </a:lnTo>
                  <a:lnTo>
                    <a:pt x="390" y="666"/>
                  </a:lnTo>
                  <a:lnTo>
                    <a:pt x="384" y="660"/>
                  </a:lnTo>
                  <a:lnTo>
                    <a:pt x="378" y="648"/>
                  </a:lnTo>
                  <a:lnTo>
                    <a:pt x="372" y="642"/>
                  </a:lnTo>
                  <a:lnTo>
                    <a:pt x="360" y="642"/>
                  </a:lnTo>
                  <a:lnTo>
                    <a:pt x="324" y="660"/>
                  </a:lnTo>
                  <a:lnTo>
                    <a:pt x="312" y="660"/>
                  </a:lnTo>
                  <a:lnTo>
                    <a:pt x="300" y="666"/>
                  </a:lnTo>
                  <a:lnTo>
                    <a:pt x="288" y="666"/>
                  </a:lnTo>
                  <a:lnTo>
                    <a:pt x="276" y="672"/>
                  </a:lnTo>
                  <a:lnTo>
                    <a:pt x="270" y="678"/>
                  </a:lnTo>
                  <a:lnTo>
                    <a:pt x="270" y="684"/>
                  </a:lnTo>
                  <a:lnTo>
                    <a:pt x="276" y="690"/>
                  </a:lnTo>
                  <a:lnTo>
                    <a:pt x="288" y="696"/>
                  </a:lnTo>
                  <a:lnTo>
                    <a:pt x="306" y="696"/>
                  </a:lnTo>
                  <a:lnTo>
                    <a:pt x="306" y="726"/>
                  </a:lnTo>
                  <a:lnTo>
                    <a:pt x="318" y="750"/>
                  </a:lnTo>
                  <a:lnTo>
                    <a:pt x="360" y="792"/>
                  </a:lnTo>
                  <a:lnTo>
                    <a:pt x="366" y="804"/>
                  </a:lnTo>
                  <a:lnTo>
                    <a:pt x="378" y="810"/>
                  </a:lnTo>
                  <a:lnTo>
                    <a:pt x="378" y="822"/>
                  </a:lnTo>
                  <a:lnTo>
                    <a:pt x="360" y="822"/>
                  </a:lnTo>
                  <a:lnTo>
                    <a:pt x="354" y="828"/>
                  </a:lnTo>
                  <a:lnTo>
                    <a:pt x="354" y="834"/>
                  </a:lnTo>
                  <a:lnTo>
                    <a:pt x="372" y="852"/>
                  </a:lnTo>
                  <a:lnTo>
                    <a:pt x="348" y="852"/>
                  </a:lnTo>
                  <a:lnTo>
                    <a:pt x="348" y="864"/>
                  </a:lnTo>
                  <a:lnTo>
                    <a:pt x="354" y="870"/>
                  </a:lnTo>
                  <a:lnTo>
                    <a:pt x="354" y="882"/>
                  </a:lnTo>
                  <a:lnTo>
                    <a:pt x="372" y="900"/>
                  </a:lnTo>
                  <a:lnTo>
                    <a:pt x="372" y="912"/>
                  </a:lnTo>
                  <a:lnTo>
                    <a:pt x="366" y="918"/>
                  </a:lnTo>
                  <a:lnTo>
                    <a:pt x="342" y="918"/>
                  </a:lnTo>
                  <a:lnTo>
                    <a:pt x="294" y="936"/>
                  </a:lnTo>
                  <a:lnTo>
                    <a:pt x="282" y="948"/>
                  </a:lnTo>
                  <a:lnTo>
                    <a:pt x="270" y="954"/>
                  </a:lnTo>
                  <a:lnTo>
                    <a:pt x="264" y="960"/>
                  </a:lnTo>
                  <a:lnTo>
                    <a:pt x="264" y="978"/>
                  </a:lnTo>
                  <a:lnTo>
                    <a:pt x="258" y="990"/>
                  </a:lnTo>
                  <a:lnTo>
                    <a:pt x="252" y="996"/>
                  </a:lnTo>
                  <a:lnTo>
                    <a:pt x="234" y="996"/>
                  </a:lnTo>
                  <a:lnTo>
                    <a:pt x="216" y="990"/>
                  </a:lnTo>
                  <a:lnTo>
                    <a:pt x="186" y="990"/>
                  </a:lnTo>
                  <a:lnTo>
                    <a:pt x="168" y="1008"/>
                  </a:lnTo>
                  <a:lnTo>
                    <a:pt x="162" y="1020"/>
                  </a:lnTo>
                  <a:lnTo>
                    <a:pt x="162" y="1044"/>
                  </a:lnTo>
                  <a:lnTo>
                    <a:pt x="156" y="1050"/>
                  </a:lnTo>
                  <a:lnTo>
                    <a:pt x="126" y="1044"/>
                  </a:lnTo>
                  <a:lnTo>
                    <a:pt x="114" y="1050"/>
                  </a:lnTo>
                  <a:lnTo>
                    <a:pt x="108" y="1044"/>
                  </a:lnTo>
                  <a:lnTo>
                    <a:pt x="102" y="1032"/>
                  </a:lnTo>
                  <a:lnTo>
                    <a:pt x="96" y="1026"/>
                  </a:lnTo>
                  <a:lnTo>
                    <a:pt x="84" y="1026"/>
                  </a:lnTo>
                  <a:lnTo>
                    <a:pt x="72" y="1038"/>
                  </a:lnTo>
                  <a:lnTo>
                    <a:pt x="48" y="1038"/>
                  </a:lnTo>
                  <a:lnTo>
                    <a:pt x="48" y="1056"/>
                  </a:lnTo>
                  <a:lnTo>
                    <a:pt x="36" y="1062"/>
                  </a:lnTo>
                  <a:lnTo>
                    <a:pt x="30" y="1068"/>
                  </a:lnTo>
                  <a:lnTo>
                    <a:pt x="18" y="1068"/>
                  </a:lnTo>
                  <a:lnTo>
                    <a:pt x="6" y="1074"/>
                  </a:lnTo>
                  <a:lnTo>
                    <a:pt x="0" y="1080"/>
                  </a:lnTo>
                  <a:lnTo>
                    <a:pt x="0" y="1086"/>
                  </a:lnTo>
                  <a:lnTo>
                    <a:pt x="12" y="1092"/>
                  </a:lnTo>
                  <a:lnTo>
                    <a:pt x="18" y="1104"/>
                  </a:lnTo>
                  <a:lnTo>
                    <a:pt x="18" y="1116"/>
                  </a:lnTo>
                  <a:lnTo>
                    <a:pt x="0" y="1116"/>
                  </a:lnTo>
                  <a:lnTo>
                    <a:pt x="0" y="1140"/>
                  </a:lnTo>
                  <a:lnTo>
                    <a:pt x="18" y="1140"/>
                  </a:lnTo>
                  <a:lnTo>
                    <a:pt x="18" y="1152"/>
                  </a:lnTo>
                  <a:lnTo>
                    <a:pt x="12" y="1164"/>
                  </a:lnTo>
                  <a:lnTo>
                    <a:pt x="12" y="1176"/>
                  </a:lnTo>
                  <a:lnTo>
                    <a:pt x="24" y="1188"/>
                  </a:lnTo>
                  <a:lnTo>
                    <a:pt x="36" y="1188"/>
                  </a:lnTo>
                  <a:lnTo>
                    <a:pt x="42" y="1182"/>
                  </a:lnTo>
                  <a:lnTo>
                    <a:pt x="66" y="1182"/>
                  </a:lnTo>
                  <a:lnTo>
                    <a:pt x="78" y="1188"/>
                  </a:lnTo>
                  <a:lnTo>
                    <a:pt x="84" y="1188"/>
                  </a:lnTo>
                  <a:lnTo>
                    <a:pt x="96" y="1194"/>
                  </a:lnTo>
                  <a:lnTo>
                    <a:pt x="102" y="1200"/>
                  </a:lnTo>
                  <a:lnTo>
                    <a:pt x="102" y="1242"/>
                  </a:lnTo>
                  <a:lnTo>
                    <a:pt x="114" y="1266"/>
                  </a:lnTo>
                  <a:lnTo>
                    <a:pt x="120" y="1272"/>
                  </a:lnTo>
                  <a:lnTo>
                    <a:pt x="126" y="1272"/>
                  </a:lnTo>
                  <a:lnTo>
                    <a:pt x="138" y="1284"/>
                  </a:lnTo>
                  <a:lnTo>
                    <a:pt x="132" y="1290"/>
                  </a:lnTo>
                  <a:lnTo>
                    <a:pt x="102" y="1290"/>
                  </a:lnTo>
                  <a:lnTo>
                    <a:pt x="96" y="1296"/>
                  </a:lnTo>
                  <a:lnTo>
                    <a:pt x="96" y="1308"/>
                  </a:lnTo>
                  <a:lnTo>
                    <a:pt x="108" y="1314"/>
                  </a:lnTo>
                  <a:lnTo>
                    <a:pt x="114" y="1320"/>
                  </a:lnTo>
                  <a:lnTo>
                    <a:pt x="162" y="1320"/>
                  </a:lnTo>
                  <a:lnTo>
                    <a:pt x="168" y="1332"/>
                  </a:lnTo>
                  <a:lnTo>
                    <a:pt x="180" y="1332"/>
                  </a:lnTo>
                  <a:lnTo>
                    <a:pt x="192" y="1338"/>
                  </a:lnTo>
                  <a:lnTo>
                    <a:pt x="204" y="1350"/>
                  </a:lnTo>
                  <a:lnTo>
                    <a:pt x="216" y="1374"/>
                  </a:lnTo>
                  <a:lnTo>
                    <a:pt x="216" y="1398"/>
                  </a:lnTo>
                  <a:lnTo>
                    <a:pt x="252" y="1410"/>
                  </a:lnTo>
                  <a:lnTo>
                    <a:pt x="264" y="1404"/>
                  </a:lnTo>
                  <a:lnTo>
                    <a:pt x="264" y="1410"/>
                  </a:lnTo>
                  <a:lnTo>
                    <a:pt x="270" y="1416"/>
                  </a:lnTo>
                  <a:lnTo>
                    <a:pt x="276" y="1428"/>
                  </a:lnTo>
                  <a:lnTo>
                    <a:pt x="288" y="1434"/>
                  </a:lnTo>
                  <a:lnTo>
                    <a:pt x="366" y="1434"/>
                  </a:lnTo>
                  <a:lnTo>
                    <a:pt x="378" y="1428"/>
                  </a:lnTo>
                  <a:lnTo>
                    <a:pt x="384" y="1416"/>
                  </a:lnTo>
                  <a:lnTo>
                    <a:pt x="402" y="1410"/>
                  </a:lnTo>
                  <a:lnTo>
                    <a:pt x="426" y="1398"/>
                  </a:lnTo>
                  <a:lnTo>
                    <a:pt x="438" y="1398"/>
                  </a:lnTo>
                  <a:lnTo>
                    <a:pt x="456" y="1410"/>
                  </a:lnTo>
                  <a:lnTo>
                    <a:pt x="480" y="1434"/>
                  </a:lnTo>
                  <a:lnTo>
                    <a:pt x="522" y="1434"/>
                  </a:lnTo>
                  <a:lnTo>
                    <a:pt x="522" y="1494"/>
                  </a:lnTo>
                  <a:lnTo>
                    <a:pt x="516" y="1500"/>
                  </a:lnTo>
                  <a:lnTo>
                    <a:pt x="498" y="1500"/>
                  </a:lnTo>
                  <a:lnTo>
                    <a:pt x="498" y="1506"/>
                  </a:lnTo>
                  <a:lnTo>
                    <a:pt x="504" y="1512"/>
                  </a:lnTo>
                  <a:lnTo>
                    <a:pt x="504" y="1536"/>
                  </a:lnTo>
                  <a:lnTo>
                    <a:pt x="498" y="1548"/>
                  </a:lnTo>
                  <a:lnTo>
                    <a:pt x="486" y="1554"/>
                  </a:lnTo>
                  <a:lnTo>
                    <a:pt x="456" y="1554"/>
                  </a:lnTo>
                  <a:lnTo>
                    <a:pt x="474" y="1578"/>
                  </a:lnTo>
                  <a:lnTo>
                    <a:pt x="456" y="1584"/>
                  </a:lnTo>
                  <a:lnTo>
                    <a:pt x="456" y="1608"/>
                  </a:lnTo>
                  <a:lnTo>
                    <a:pt x="480" y="1620"/>
                  </a:lnTo>
                  <a:lnTo>
                    <a:pt x="492" y="1620"/>
                  </a:lnTo>
                  <a:lnTo>
                    <a:pt x="498" y="1626"/>
                  </a:lnTo>
                  <a:lnTo>
                    <a:pt x="504" y="1638"/>
                  </a:lnTo>
                  <a:lnTo>
                    <a:pt x="522" y="1656"/>
                  </a:lnTo>
                  <a:lnTo>
                    <a:pt x="522" y="1668"/>
                  </a:lnTo>
                  <a:lnTo>
                    <a:pt x="510" y="1674"/>
                  </a:lnTo>
                  <a:lnTo>
                    <a:pt x="504" y="1680"/>
                  </a:lnTo>
                  <a:lnTo>
                    <a:pt x="498" y="1680"/>
                  </a:lnTo>
                  <a:lnTo>
                    <a:pt x="486" y="1698"/>
                  </a:lnTo>
                  <a:lnTo>
                    <a:pt x="474" y="1686"/>
                  </a:lnTo>
                  <a:lnTo>
                    <a:pt x="474" y="1668"/>
                  </a:lnTo>
                  <a:lnTo>
                    <a:pt x="462" y="1668"/>
                  </a:lnTo>
                  <a:lnTo>
                    <a:pt x="456" y="1674"/>
                  </a:lnTo>
                  <a:lnTo>
                    <a:pt x="450" y="1674"/>
                  </a:lnTo>
                  <a:lnTo>
                    <a:pt x="450" y="1692"/>
                  </a:lnTo>
                  <a:lnTo>
                    <a:pt x="456" y="1698"/>
                  </a:lnTo>
                  <a:lnTo>
                    <a:pt x="462" y="1710"/>
                  </a:lnTo>
                  <a:lnTo>
                    <a:pt x="474" y="1722"/>
                  </a:lnTo>
                  <a:lnTo>
                    <a:pt x="480" y="1722"/>
                  </a:lnTo>
                  <a:lnTo>
                    <a:pt x="480" y="1734"/>
                  </a:lnTo>
                  <a:lnTo>
                    <a:pt x="474" y="1740"/>
                  </a:lnTo>
                  <a:lnTo>
                    <a:pt x="474" y="1758"/>
                  </a:lnTo>
                  <a:lnTo>
                    <a:pt x="480" y="1764"/>
                  </a:lnTo>
                  <a:lnTo>
                    <a:pt x="510" y="1764"/>
                  </a:lnTo>
                  <a:lnTo>
                    <a:pt x="516" y="1776"/>
                  </a:lnTo>
                  <a:lnTo>
                    <a:pt x="528" y="1788"/>
                  </a:lnTo>
                  <a:lnTo>
                    <a:pt x="540" y="1794"/>
                  </a:lnTo>
                  <a:lnTo>
                    <a:pt x="552" y="1794"/>
                  </a:lnTo>
                  <a:lnTo>
                    <a:pt x="558" y="1800"/>
                  </a:lnTo>
                  <a:lnTo>
                    <a:pt x="564" y="1800"/>
                  </a:lnTo>
                  <a:lnTo>
                    <a:pt x="582" y="1818"/>
                  </a:lnTo>
                  <a:lnTo>
                    <a:pt x="600" y="1812"/>
                  </a:lnTo>
                  <a:lnTo>
                    <a:pt x="600" y="1830"/>
                  </a:lnTo>
                  <a:lnTo>
                    <a:pt x="612" y="1836"/>
                  </a:lnTo>
                  <a:lnTo>
                    <a:pt x="624" y="1836"/>
                  </a:lnTo>
                  <a:lnTo>
                    <a:pt x="666" y="1872"/>
                  </a:lnTo>
                  <a:lnTo>
                    <a:pt x="690" y="1854"/>
                  </a:lnTo>
                  <a:lnTo>
                    <a:pt x="696" y="1848"/>
                  </a:lnTo>
                  <a:lnTo>
                    <a:pt x="708" y="1842"/>
                  </a:lnTo>
                  <a:lnTo>
                    <a:pt x="720" y="1842"/>
                  </a:lnTo>
                  <a:lnTo>
                    <a:pt x="732" y="1848"/>
                  </a:lnTo>
                  <a:lnTo>
                    <a:pt x="744" y="1860"/>
                  </a:lnTo>
                  <a:lnTo>
                    <a:pt x="750" y="1872"/>
                  </a:lnTo>
                  <a:lnTo>
                    <a:pt x="762" y="1878"/>
                  </a:lnTo>
                  <a:lnTo>
                    <a:pt x="780" y="1896"/>
                  </a:lnTo>
                  <a:lnTo>
                    <a:pt x="822" y="1902"/>
                  </a:lnTo>
                  <a:lnTo>
                    <a:pt x="828" y="1914"/>
                  </a:lnTo>
                  <a:lnTo>
                    <a:pt x="834" y="1920"/>
                  </a:lnTo>
                  <a:lnTo>
                    <a:pt x="840" y="1932"/>
                  </a:lnTo>
                  <a:lnTo>
                    <a:pt x="846" y="1938"/>
                  </a:lnTo>
                  <a:lnTo>
                    <a:pt x="846" y="1950"/>
                  </a:lnTo>
                  <a:lnTo>
                    <a:pt x="858" y="1950"/>
                  </a:lnTo>
                  <a:lnTo>
                    <a:pt x="858" y="1944"/>
                  </a:lnTo>
                  <a:lnTo>
                    <a:pt x="864" y="1938"/>
                  </a:lnTo>
                  <a:lnTo>
                    <a:pt x="870" y="1926"/>
                  </a:lnTo>
                  <a:lnTo>
                    <a:pt x="882" y="1926"/>
                  </a:lnTo>
                  <a:lnTo>
                    <a:pt x="888" y="1932"/>
                  </a:lnTo>
                  <a:lnTo>
                    <a:pt x="894" y="1944"/>
                  </a:lnTo>
                  <a:lnTo>
                    <a:pt x="894" y="1962"/>
                  </a:lnTo>
                  <a:lnTo>
                    <a:pt x="924" y="1992"/>
                  </a:lnTo>
                  <a:lnTo>
                    <a:pt x="936" y="1998"/>
                  </a:lnTo>
                  <a:lnTo>
                    <a:pt x="942" y="1992"/>
                  </a:lnTo>
                  <a:lnTo>
                    <a:pt x="954" y="1986"/>
                  </a:lnTo>
                  <a:lnTo>
                    <a:pt x="960" y="1986"/>
                  </a:lnTo>
                  <a:lnTo>
                    <a:pt x="966" y="1992"/>
                  </a:lnTo>
                  <a:lnTo>
                    <a:pt x="966" y="1998"/>
                  </a:lnTo>
                  <a:lnTo>
                    <a:pt x="960" y="2004"/>
                  </a:lnTo>
                  <a:lnTo>
                    <a:pt x="960" y="2010"/>
                  </a:lnTo>
                  <a:lnTo>
                    <a:pt x="966" y="2010"/>
                  </a:lnTo>
                  <a:lnTo>
                    <a:pt x="972" y="2016"/>
                  </a:lnTo>
                  <a:lnTo>
                    <a:pt x="990" y="2022"/>
                  </a:lnTo>
                  <a:lnTo>
                    <a:pt x="1002" y="2022"/>
                  </a:lnTo>
                  <a:lnTo>
                    <a:pt x="1008" y="2016"/>
                  </a:lnTo>
                  <a:lnTo>
                    <a:pt x="1014" y="2016"/>
                  </a:lnTo>
                  <a:lnTo>
                    <a:pt x="1014" y="2034"/>
                  </a:lnTo>
                  <a:lnTo>
                    <a:pt x="1020" y="2040"/>
                  </a:lnTo>
                  <a:lnTo>
                    <a:pt x="1032" y="2040"/>
                  </a:lnTo>
                  <a:lnTo>
                    <a:pt x="1044" y="2028"/>
                  </a:lnTo>
                  <a:lnTo>
                    <a:pt x="1044" y="2022"/>
                  </a:lnTo>
                  <a:lnTo>
                    <a:pt x="1044" y="2034"/>
                  </a:lnTo>
                  <a:lnTo>
                    <a:pt x="1050" y="2040"/>
                  </a:lnTo>
                  <a:lnTo>
                    <a:pt x="1068" y="2040"/>
                  </a:lnTo>
                  <a:lnTo>
                    <a:pt x="1074" y="2034"/>
                  </a:lnTo>
                  <a:lnTo>
                    <a:pt x="1074" y="2028"/>
                  </a:lnTo>
                  <a:lnTo>
                    <a:pt x="1086" y="2034"/>
                  </a:lnTo>
                  <a:lnTo>
                    <a:pt x="1092" y="2040"/>
                  </a:lnTo>
                  <a:lnTo>
                    <a:pt x="1110" y="2046"/>
                  </a:lnTo>
                  <a:lnTo>
                    <a:pt x="1134" y="2058"/>
                  </a:lnTo>
                  <a:lnTo>
                    <a:pt x="1158" y="2058"/>
                  </a:lnTo>
                  <a:lnTo>
                    <a:pt x="1176" y="2040"/>
                  </a:lnTo>
                  <a:lnTo>
                    <a:pt x="1194" y="2034"/>
                  </a:lnTo>
                  <a:lnTo>
                    <a:pt x="1206" y="2028"/>
                  </a:lnTo>
                  <a:lnTo>
                    <a:pt x="1212" y="2028"/>
                  </a:lnTo>
                  <a:lnTo>
                    <a:pt x="1224" y="2034"/>
                  </a:lnTo>
                  <a:lnTo>
                    <a:pt x="1230" y="2040"/>
                  </a:lnTo>
                  <a:lnTo>
                    <a:pt x="1230" y="2088"/>
                  </a:lnTo>
                  <a:lnTo>
                    <a:pt x="1236" y="2094"/>
                  </a:lnTo>
                  <a:lnTo>
                    <a:pt x="1242" y="2094"/>
                  </a:lnTo>
                  <a:lnTo>
                    <a:pt x="1242" y="2088"/>
                  </a:lnTo>
                  <a:lnTo>
                    <a:pt x="1248" y="2082"/>
                  </a:lnTo>
                  <a:lnTo>
                    <a:pt x="1254" y="2070"/>
                  </a:lnTo>
                  <a:lnTo>
                    <a:pt x="1266" y="2052"/>
                  </a:lnTo>
                  <a:lnTo>
                    <a:pt x="1272" y="2040"/>
                  </a:lnTo>
                  <a:lnTo>
                    <a:pt x="1284" y="2028"/>
                  </a:lnTo>
                  <a:lnTo>
                    <a:pt x="1290" y="2016"/>
                  </a:lnTo>
                  <a:lnTo>
                    <a:pt x="1302" y="2016"/>
                  </a:lnTo>
                  <a:lnTo>
                    <a:pt x="1314" y="2022"/>
                  </a:lnTo>
                  <a:lnTo>
                    <a:pt x="1338" y="2022"/>
                  </a:lnTo>
                  <a:lnTo>
                    <a:pt x="1338" y="2046"/>
                  </a:lnTo>
                  <a:lnTo>
                    <a:pt x="1344" y="2046"/>
                  </a:lnTo>
                  <a:lnTo>
                    <a:pt x="1350" y="2040"/>
                  </a:lnTo>
                  <a:lnTo>
                    <a:pt x="1362" y="2034"/>
                  </a:lnTo>
                  <a:lnTo>
                    <a:pt x="1374" y="2034"/>
                  </a:lnTo>
                  <a:lnTo>
                    <a:pt x="1386" y="2028"/>
                  </a:lnTo>
                  <a:lnTo>
                    <a:pt x="1398" y="2028"/>
                  </a:lnTo>
                  <a:lnTo>
                    <a:pt x="1410" y="2034"/>
                  </a:lnTo>
                  <a:lnTo>
                    <a:pt x="1422" y="2046"/>
                  </a:lnTo>
                  <a:lnTo>
                    <a:pt x="1428" y="2058"/>
                  </a:lnTo>
                  <a:lnTo>
                    <a:pt x="1428" y="2064"/>
                  </a:lnTo>
                  <a:lnTo>
                    <a:pt x="1482" y="2064"/>
                  </a:lnTo>
                  <a:lnTo>
                    <a:pt x="1494" y="2052"/>
                  </a:lnTo>
                  <a:lnTo>
                    <a:pt x="1494" y="2034"/>
                  </a:lnTo>
                  <a:lnTo>
                    <a:pt x="1488" y="2022"/>
                  </a:lnTo>
                  <a:lnTo>
                    <a:pt x="1518" y="2022"/>
                  </a:lnTo>
                  <a:lnTo>
                    <a:pt x="1524" y="2016"/>
                  </a:lnTo>
                  <a:lnTo>
                    <a:pt x="1524" y="1992"/>
                  </a:lnTo>
                  <a:lnTo>
                    <a:pt x="1518" y="1986"/>
                  </a:lnTo>
                  <a:lnTo>
                    <a:pt x="1518" y="1980"/>
                  </a:lnTo>
                  <a:lnTo>
                    <a:pt x="1554" y="1980"/>
                  </a:lnTo>
                  <a:lnTo>
                    <a:pt x="1578" y="1956"/>
                  </a:lnTo>
                  <a:lnTo>
                    <a:pt x="1590" y="1950"/>
                  </a:lnTo>
                  <a:lnTo>
                    <a:pt x="1602" y="1938"/>
                  </a:lnTo>
                  <a:lnTo>
                    <a:pt x="1620" y="1938"/>
                  </a:lnTo>
                  <a:lnTo>
                    <a:pt x="1632" y="1944"/>
                  </a:lnTo>
                  <a:lnTo>
                    <a:pt x="1650" y="1956"/>
                  </a:lnTo>
                  <a:lnTo>
                    <a:pt x="1668" y="1956"/>
                  </a:lnTo>
                  <a:lnTo>
                    <a:pt x="1668" y="1932"/>
                  </a:lnTo>
                  <a:lnTo>
                    <a:pt x="1680" y="1920"/>
                  </a:lnTo>
                  <a:lnTo>
                    <a:pt x="1716" y="1938"/>
                  </a:lnTo>
                  <a:lnTo>
                    <a:pt x="1722" y="1944"/>
                  </a:lnTo>
                  <a:lnTo>
                    <a:pt x="1710" y="1956"/>
                  </a:lnTo>
                  <a:lnTo>
                    <a:pt x="1704" y="1956"/>
                  </a:lnTo>
                  <a:lnTo>
                    <a:pt x="1710" y="1962"/>
                  </a:lnTo>
                  <a:lnTo>
                    <a:pt x="1740" y="1962"/>
                  </a:lnTo>
                  <a:lnTo>
                    <a:pt x="1758" y="1992"/>
                  </a:lnTo>
                  <a:lnTo>
                    <a:pt x="1752" y="1992"/>
                  </a:lnTo>
                  <a:lnTo>
                    <a:pt x="1740" y="2004"/>
                  </a:lnTo>
                  <a:lnTo>
                    <a:pt x="1740" y="2010"/>
                  </a:lnTo>
                  <a:lnTo>
                    <a:pt x="1806" y="2010"/>
                  </a:lnTo>
                  <a:lnTo>
                    <a:pt x="1812" y="2016"/>
                  </a:lnTo>
                  <a:lnTo>
                    <a:pt x="1818" y="2016"/>
                  </a:lnTo>
                  <a:lnTo>
                    <a:pt x="1824" y="1998"/>
                  </a:lnTo>
                  <a:lnTo>
                    <a:pt x="1830" y="1998"/>
                  </a:lnTo>
                  <a:lnTo>
                    <a:pt x="1836" y="2004"/>
                  </a:lnTo>
                  <a:lnTo>
                    <a:pt x="1842" y="2016"/>
                  </a:lnTo>
                  <a:lnTo>
                    <a:pt x="1854" y="2022"/>
                  </a:lnTo>
                  <a:lnTo>
                    <a:pt x="1872" y="2058"/>
                  </a:lnTo>
                  <a:lnTo>
                    <a:pt x="1878" y="2064"/>
                  </a:lnTo>
                  <a:lnTo>
                    <a:pt x="1878" y="2070"/>
                  </a:lnTo>
                  <a:lnTo>
                    <a:pt x="1914" y="2070"/>
                  </a:lnTo>
                  <a:lnTo>
                    <a:pt x="1920" y="2076"/>
                  </a:lnTo>
                  <a:lnTo>
                    <a:pt x="1920" y="2106"/>
                  </a:lnTo>
                  <a:lnTo>
                    <a:pt x="1932" y="2130"/>
                  </a:lnTo>
                  <a:lnTo>
                    <a:pt x="1944" y="2190"/>
                  </a:lnTo>
                  <a:lnTo>
                    <a:pt x="1932" y="2190"/>
                  </a:lnTo>
                  <a:lnTo>
                    <a:pt x="1926" y="2196"/>
                  </a:lnTo>
                  <a:lnTo>
                    <a:pt x="1914" y="2196"/>
                  </a:lnTo>
                  <a:lnTo>
                    <a:pt x="1932" y="2214"/>
                  </a:lnTo>
                  <a:lnTo>
                    <a:pt x="1932" y="2220"/>
                  </a:lnTo>
                  <a:lnTo>
                    <a:pt x="1926" y="2232"/>
                  </a:lnTo>
                  <a:lnTo>
                    <a:pt x="1920" y="2238"/>
                  </a:lnTo>
                  <a:lnTo>
                    <a:pt x="1908" y="2238"/>
                  </a:lnTo>
                  <a:lnTo>
                    <a:pt x="1902" y="2232"/>
                  </a:lnTo>
                  <a:lnTo>
                    <a:pt x="1902" y="2268"/>
                  </a:lnTo>
                  <a:lnTo>
                    <a:pt x="1896" y="2274"/>
                  </a:lnTo>
                  <a:lnTo>
                    <a:pt x="1884" y="2274"/>
                  </a:lnTo>
                  <a:lnTo>
                    <a:pt x="1890" y="2304"/>
                  </a:lnTo>
                  <a:lnTo>
                    <a:pt x="1878" y="2304"/>
                  </a:lnTo>
                  <a:lnTo>
                    <a:pt x="1878" y="2322"/>
                  </a:lnTo>
                  <a:lnTo>
                    <a:pt x="1896" y="2340"/>
                  </a:lnTo>
                  <a:lnTo>
                    <a:pt x="1902" y="2352"/>
                  </a:lnTo>
                  <a:lnTo>
                    <a:pt x="1890" y="2370"/>
                  </a:lnTo>
                  <a:lnTo>
                    <a:pt x="1902" y="2364"/>
                  </a:lnTo>
                  <a:lnTo>
                    <a:pt x="1908" y="2358"/>
                  </a:lnTo>
                  <a:lnTo>
                    <a:pt x="1920" y="2358"/>
                  </a:lnTo>
                  <a:lnTo>
                    <a:pt x="1926" y="2352"/>
                  </a:lnTo>
                  <a:lnTo>
                    <a:pt x="1986" y="2352"/>
                  </a:lnTo>
                  <a:lnTo>
                    <a:pt x="1956" y="2376"/>
                  </a:lnTo>
                  <a:lnTo>
                    <a:pt x="1980" y="2394"/>
                  </a:lnTo>
                  <a:lnTo>
                    <a:pt x="1992" y="2436"/>
                  </a:lnTo>
                  <a:lnTo>
                    <a:pt x="2022" y="2436"/>
                  </a:lnTo>
                  <a:lnTo>
                    <a:pt x="2034" y="2442"/>
                  </a:lnTo>
                  <a:lnTo>
                    <a:pt x="2040" y="2448"/>
                  </a:lnTo>
                  <a:lnTo>
                    <a:pt x="2040" y="2454"/>
                  </a:lnTo>
                  <a:lnTo>
                    <a:pt x="2034" y="2460"/>
                  </a:lnTo>
                  <a:lnTo>
                    <a:pt x="2022" y="2460"/>
                  </a:lnTo>
                  <a:lnTo>
                    <a:pt x="2016" y="2466"/>
                  </a:lnTo>
                  <a:lnTo>
                    <a:pt x="2028" y="2478"/>
                  </a:lnTo>
                  <a:lnTo>
                    <a:pt x="2028" y="2490"/>
                  </a:lnTo>
                  <a:lnTo>
                    <a:pt x="2022" y="2496"/>
                  </a:lnTo>
                  <a:lnTo>
                    <a:pt x="2022" y="2502"/>
                  </a:lnTo>
                  <a:lnTo>
                    <a:pt x="2016" y="2514"/>
                  </a:lnTo>
                  <a:lnTo>
                    <a:pt x="2070" y="2520"/>
                  </a:lnTo>
                  <a:lnTo>
                    <a:pt x="2082" y="2550"/>
                  </a:lnTo>
                  <a:lnTo>
                    <a:pt x="2094" y="2550"/>
                  </a:lnTo>
                  <a:lnTo>
                    <a:pt x="2094" y="2568"/>
                  </a:lnTo>
                  <a:lnTo>
                    <a:pt x="2136" y="2568"/>
                  </a:lnTo>
                  <a:lnTo>
                    <a:pt x="2136" y="2562"/>
                  </a:lnTo>
                  <a:lnTo>
                    <a:pt x="2154" y="2544"/>
                  </a:lnTo>
                  <a:lnTo>
                    <a:pt x="2166" y="2544"/>
                  </a:lnTo>
                  <a:lnTo>
                    <a:pt x="2172" y="2550"/>
                  </a:lnTo>
                  <a:lnTo>
                    <a:pt x="2172" y="2592"/>
                  </a:lnTo>
                  <a:lnTo>
                    <a:pt x="2214" y="2592"/>
                  </a:lnTo>
                  <a:lnTo>
                    <a:pt x="2214" y="2556"/>
                  </a:lnTo>
                  <a:lnTo>
                    <a:pt x="2190" y="2532"/>
                  </a:lnTo>
                  <a:lnTo>
                    <a:pt x="2190" y="2490"/>
                  </a:lnTo>
                  <a:lnTo>
                    <a:pt x="2196" y="2484"/>
                  </a:lnTo>
                  <a:lnTo>
                    <a:pt x="2232" y="2490"/>
                  </a:lnTo>
                  <a:lnTo>
                    <a:pt x="2232" y="2472"/>
                  </a:lnTo>
                  <a:lnTo>
                    <a:pt x="2238" y="2460"/>
                  </a:lnTo>
                  <a:lnTo>
                    <a:pt x="2250" y="2460"/>
                  </a:lnTo>
                  <a:lnTo>
                    <a:pt x="2274" y="2484"/>
                  </a:lnTo>
                  <a:lnTo>
                    <a:pt x="2286" y="2484"/>
                  </a:lnTo>
                  <a:lnTo>
                    <a:pt x="2292" y="2478"/>
                  </a:lnTo>
                  <a:lnTo>
                    <a:pt x="2298" y="2466"/>
                  </a:lnTo>
                  <a:lnTo>
                    <a:pt x="2304" y="2460"/>
                  </a:lnTo>
                  <a:lnTo>
                    <a:pt x="2322" y="2478"/>
                  </a:lnTo>
                  <a:lnTo>
                    <a:pt x="2322" y="2460"/>
                  </a:lnTo>
                  <a:lnTo>
                    <a:pt x="2328" y="2460"/>
                  </a:lnTo>
                  <a:lnTo>
                    <a:pt x="2340" y="2478"/>
                  </a:lnTo>
                  <a:lnTo>
                    <a:pt x="2346" y="2484"/>
                  </a:lnTo>
                  <a:lnTo>
                    <a:pt x="2364" y="2484"/>
                  </a:lnTo>
                  <a:lnTo>
                    <a:pt x="2364" y="2472"/>
                  </a:lnTo>
                  <a:lnTo>
                    <a:pt x="2352" y="2460"/>
                  </a:lnTo>
                  <a:lnTo>
                    <a:pt x="2370" y="2460"/>
                  </a:lnTo>
                  <a:lnTo>
                    <a:pt x="2376" y="2466"/>
                  </a:lnTo>
                  <a:lnTo>
                    <a:pt x="2382" y="2460"/>
                  </a:lnTo>
                  <a:lnTo>
                    <a:pt x="2400" y="2460"/>
                  </a:lnTo>
                  <a:lnTo>
                    <a:pt x="2400" y="2454"/>
                  </a:lnTo>
                  <a:lnTo>
                    <a:pt x="2406" y="2442"/>
                  </a:lnTo>
                  <a:lnTo>
                    <a:pt x="2406" y="2430"/>
                  </a:lnTo>
                  <a:lnTo>
                    <a:pt x="2412" y="2424"/>
                  </a:lnTo>
                  <a:lnTo>
                    <a:pt x="2424" y="2418"/>
                  </a:lnTo>
                  <a:lnTo>
                    <a:pt x="2430" y="2412"/>
                  </a:lnTo>
                  <a:lnTo>
                    <a:pt x="2436" y="2412"/>
                  </a:lnTo>
                  <a:lnTo>
                    <a:pt x="2466" y="2448"/>
                  </a:lnTo>
                  <a:lnTo>
                    <a:pt x="2496" y="2442"/>
                  </a:lnTo>
                  <a:lnTo>
                    <a:pt x="2508" y="2454"/>
                  </a:lnTo>
                  <a:lnTo>
                    <a:pt x="2538" y="2454"/>
                  </a:lnTo>
                  <a:lnTo>
                    <a:pt x="2544" y="2460"/>
                  </a:lnTo>
                  <a:lnTo>
                    <a:pt x="2544" y="2466"/>
                  </a:lnTo>
                  <a:lnTo>
                    <a:pt x="2526" y="2484"/>
                  </a:lnTo>
                  <a:lnTo>
                    <a:pt x="2532" y="2502"/>
                  </a:lnTo>
                  <a:lnTo>
                    <a:pt x="2544" y="2508"/>
                  </a:lnTo>
                  <a:lnTo>
                    <a:pt x="2544" y="2526"/>
                  </a:lnTo>
                  <a:lnTo>
                    <a:pt x="2562" y="2526"/>
                  </a:lnTo>
                  <a:lnTo>
                    <a:pt x="2568" y="2532"/>
                  </a:lnTo>
                  <a:lnTo>
                    <a:pt x="2574" y="2544"/>
                  </a:lnTo>
                  <a:lnTo>
                    <a:pt x="2586" y="2550"/>
                  </a:lnTo>
                  <a:lnTo>
                    <a:pt x="2616" y="2550"/>
                  </a:lnTo>
                  <a:lnTo>
                    <a:pt x="2622" y="2556"/>
                  </a:lnTo>
                  <a:lnTo>
                    <a:pt x="2628" y="2556"/>
                  </a:lnTo>
                  <a:lnTo>
                    <a:pt x="2676" y="2526"/>
                  </a:lnTo>
                  <a:lnTo>
                    <a:pt x="2694" y="2538"/>
                  </a:lnTo>
                  <a:lnTo>
                    <a:pt x="2718" y="2538"/>
                  </a:lnTo>
                  <a:lnTo>
                    <a:pt x="2736" y="2544"/>
                  </a:lnTo>
                  <a:lnTo>
                    <a:pt x="2748" y="2544"/>
                  </a:lnTo>
                  <a:lnTo>
                    <a:pt x="2760" y="2550"/>
                  </a:lnTo>
                  <a:lnTo>
                    <a:pt x="2766" y="2556"/>
                  </a:lnTo>
                  <a:lnTo>
                    <a:pt x="2772" y="2568"/>
                  </a:lnTo>
                  <a:lnTo>
                    <a:pt x="2766" y="2580"/>
                  </a:lnTo>
                  <a:lnTo>
                    <a:pt x="2766" y="2604"/>
                  </a:lnTo>
                  <a:lnTo>
                    <a:pt x="2760" y="2616"/>
                  </a:lnTo>
                  <a:lnTo>
                    <a:pt x="2766" y="2628"/>
                  </a:lnTo>
                  <a:lnTo>
                    <a:pt x="2772" y="2634"/>
                  </a:lnTo>
                  <a:lnTo>
                    <a:pt x="2784" y="2640"/>
                  </a:lnTo>
                  <a:lnTo>
                    <a:pt x="2790" y="2652"/>
                  </a:lnTo>
                  <a:lnTo>
                    <a:pt x="2802" y="2658"/>
                  </a:lnTo>
                  <a:lnTo>
                    <a:pt x="2808" y="2664"/>
                  </a:lnTo>
                  <a:lnTo>
                    <a:pt x="2826" y="2664"/>
                  </a:lnTo>
                  <a:lnTo>
                    <a:pt x="2832" y="2640"/>
                  </a:lnTo>
                  <a:lnTo>
                    <a:pt x="2832" y="2634"/>
                  </a:lnTo>
                  <a:lnTo>
                    <a:pt x="2826" y="2628"/>
                  </a:lnTo>
                  <a:lnTo>
                    <a:pt x="2826" y="2586"/>
                  </a:lnTo>
                  <a:lnTo>
                    <a:pt x="2832" y="2568"/>
                  </a:lnTo>
                  <a:lnTo>
                    <a:pt x="2844" y="2556"/>
                  </a:lnTo>
                  <a:lnTo>
                    <a:pt x="2856" y="2550"/>
                  </a:lnTo>
                  <a:lnTo>
                    <a:pt x="2886" y="2550"/>
                  </a:lnTo>
                  <a:lnTo>
                    <a:pt x="2898" y="2544"/>
                  </a:lnTo>
                  <a:lnTo>
                    <a:pt x="2910" y="2544"/>
                  </a:lnTo>
                  <a:lnTo>
                    <a:pt x="2922" y="2538"/>
                  </a:lnTo>
                  <a:lnTo>
                    <a:pt x="2940" y="2538"/>
                  </a:lnTo>
                  <a:lnTo>
                    <a:pt x="2964" y="2532"/>
                  </a:lnTo>
                  <a:lnTo>
                    <a:pt x="2982" y="2526"/>
                  </a:lnTo>
                  <a:lnTo>
                    <a:pt x="3000" y="2508"/>
                  </a:lnTo>
                  <a:lnTo>
                    <a:pt x="3000" y="2466"/>
                  </a:lnTo>
                  <a:lnTo>
                    <a:pt x="3006" y="2454"/>
                  </a:lnTo>
                  <a:lnTo>
                    <a:pt x="3012" y="2448"/>
                  </a:lnTo>
                  <a:lnTo>
                    <a:pt x="3024" y="2460"/>
                  </a:lnTo>
                  <a:lnTo>
                    <a:pt x="3036" y="2484"/>
                  </a:lnTo>
                  <a:lnTo>
                    <a:pt x="3042" y="2490"/>
                  </a:lnTo>
                  <a:lnTo>
                    <a:pt x="3048" y="2490"/>
                  </a:lnTo>
                  <a:lnTo>
                    <a:pt x="3054" y="2484"/>
                  </a:lnTo>
                  <a:lnTo>
                    <a:pt x="3066" y="2478"/>
                  </a:lnTo>
                  <a:lnTo>
                    <a:pt x="3072" y="2466"/>
                  </a:lnTo>
                  <a:lnTo>
                    <a:pt x="3090" y="2448"/>
                  </a:lnTo>
                  <a:lnTo>
                    <a:pt x="3096" y="2436"/>
                  </a:lnTo>
                  <a:lnTo>
                    <a:pt x="3114" y="2454"/>
                  </a:lnTo>
                  <a:lnTo>
                    <a:pt x="3144" y="2442"/>
                  </a:lnTo>
                  <a:lnTo>
                    <a:pt x="3150" y="2442"/>
                  </a:lnTo>
                  <a:lnTo>
                    <a:pt x="3156" y="2448"/>
                  </a:lnTo>
                  <a:lnTo>
                    <a:pt x="3186" y="2448"/>
                  </a:lnTo>
                  <a:lnTo>
                    <a:pt x="3234" y="2424"/>
                  </a:lnTo>
                  <a:lnTo>
                    <a:pt x="3288" y="2370"/>
                  </a:lnTo>
                  <a:lnTo>
                    <a:pt x="3294" y="2358"/>
                  </a:lnTo>
                  <a:lnTo>
                    <a:pt x="3300" y="2352"/>
                  </a:lnTo>
                  <a:lnTo>
                    <a:pt x="3294" y="2340"/>
                  </a:lnTo>
                  <a:lnTo>
                    <a:pt x="3294" y="2334"/>
                  </a:lnTo>
                  <a:lnTo>
                    <a:pt x="3288" y="2322"/>
                  </a:lnTo>
                  <a:lnTo>
                    <a:pt x="3282" y="2316"/>
                  </a:lnTo>
                  <a:lnTo>
                    <a:pt x="3300" y="2316"/>
                  </a:lnTo>
                  <a:lnTo>
                    <a:pt x="3312" y="2286"/>
                  </a:lnTo>
                  <a:lnTo>
                    <a:pt x="3336" y="2286"/>
                  </a:lnTo>
                  <a:lnTo>
                    <a:pt x="3348" y="2250"/>
                  </a:lnTo>
                  <a:lnTo>
                    <a:pt x="3360" y="2250"/>
                  </a:lnTo>
                  <a:lnTo>
                    <a:pt x="3360" y="2208"/>
                  </a:lnTo>
                  <a:lnTo>
                    <a:pt x="3372" y="2208"/>
                  </a:lnTo>
                  <a:lnTo>
                    <a:pt x="3384" y="2196"/>
                  </a:lnTo>
                  <a:lnTo>
                    <a:pt x="3384" y="2172"/>
                  </a:lnTo>
                  <a:lnTo>
                    <a:pt x="3378" y="2160"/>
                  </a:lnTo>
                  <a:lnTo>
                    <a:pt x="3372" y="2154"/>
                  </a:lnTo>
                  <a:lnTo>
                    <a:pt x="3372" y="2142"/>
                  </a:lnTo>
                  <a:lnTo>
                    <a:pt x="3378" y="2136"/>
                  </a:lnTo>
                  <a:lnTo>
                    <a:pt x="3384" y="2136"/>
                  </a:lnTo>
                  <a:lnTo>
                    <a:pt x="3390" y="2130"/>
                  </a:lnTo>
                  <a:lnTo>
                    <a:pt x="3402" y="2124"/>
                  </a:lnTo>
                  <a:lnTo>
                    <a:pt x="3408" y="2118"/>
                  </a:lnTo>
                  <a:lnTo>
                    <a:pt x="3408" y="2094"/>
                  </a:lnTo>
                  <a:lnTo>
                    <a:pt x="3390" y="2076"/>
                  </a:lnTo>
                  <a:lnTo>
                    <a:pt x="3390" y="2064"/>
                  </a:lnTo>
                  <a:lnTo>
                    <a:pt x="3402" y="2058"/>
                  </a:lnTo>
                  <a:lnTo>
                    <a:pt x="3408" y="2052"/>
                  </a:lnTo>
                  <a:lnTo>
                    <a:pt x="3408" y="2016"/>
                  </a:lnTo>
                  <a:lnTo>
                    <a:pt x="3414" y="2016"/>
                  </a:lnTo>
                  <a:lnTo>
                    <a:pt x="3420" y="2010"/>
                  </a:lnTo>
                  <a:lnTo>
                    <a:pt x="3456" y="1992"/>
                  </a:lnTo>
                  <a:lnTo>
                    <a:pt x="3462" y="1980"/>
                  </a:lnTo>
                  <a:lnTo>
                    <a:pt x="3462" y="1962"/>
                  </a:lnTo>
                  <a:lnTo>
                    <a:pt x="3456" y="1956"/>
                  </a:lnTo>
                  <a:lnTo>
                    <a:pt x="3444" y="1956"/>
                  </a:lnTo>
                  <a:lnTo>
                    <a:pt x="3450" y="1956"/>
                  </a:lnTo>
                  <a:lnTo>
                    <a:pt x="3456" y="1950"/>
                  </a:lnTo>
                  <a:lnTo>
                    <a:pt x="3468" y="1950"/>
                  </a:lnTo>
                  <a:lnTo>
                    <a:pt x="3480" y="1944"/>
                  </a:lnTo>
                  <a:lnTo>
                    <a:pt x="3492" y="1932"/>
                  </a:lnTo>
                  <a:lnTo>
                    <a:pt x="3474" y="1914"/>
                  </a:lnTo>
                  <a:lnTo>
                    <a:pt x="3468" y="1914"/>
                  </a:lnTo>
                  <a:lnTo>
                    <a:pt x="3486" y="1896"/>
                  </a:lnTo>
                  <a:lnTo>
                    <a:pt x="3498" y="1872"/>
                  </a:lnTo>
                  <a:lnTo>
                    <a:pt x="3504" y="1866"/>
                  </a:lnTo>
                  <a:lnTo>
                    <a:pt x="3504" y="1854"/>
                  </a:lnTo>
                  <a:lnTo>
                    <a:pt x="3498" y="1848"/>
                  </a:lnTo>
                  <a:lnTo>
                    <a:pt x="3474" y="1842"/>
                  </a:lnTo>
                  <a:lnTo>
                    <a:pt x="3438" y="1848"/>
                  </a:lnTo>
                  <a:lnTo>
                    <a:pt x="3396" y="1854"/>
                  </a:lnTo>
                  <a:lnTo>
                    <a:pt x="3366" y="1860"/>
                  </a:lnTo>
                  <a:lnTo>
                    <a:pt x="3354" y="1866"/>
                  </a:lnTo>
                  <a:lnTo>
                    <a:pt x="3336" y="1848"/>
                  </a:lnTo>
                  <a:lnTo>
                    <a:pt x="3378" y="1848"/>
                  </a:lnTo>
                  <a:lnTo>
                    <a:pt x="3378" y="1836"/>
                  </a:lnTo>
                  <a:lnTo>
                    <a:pt x="3384" y="1824"/>
                  </a:lnTo>
                  <a:lnTo>
                    <a:pt x="3390" y="1818"/>
                  </a:lnTo>
                  <a:lnTo>
                    <a:pt x="3402" y="1812"/>
                  </a:lnTo>
                  <a:lnTo>
                    <a:pt x="3432" y="1812"/>
                  </a:lnTo>
                  <a:lnTo>
                    <a:pt x="3426" y="1800"/>
                  </a:lnTo>
                  <a:lnTo>
                    <a:pt x="3420" y="1794"/>
                  </a:lnTo>
                  <a:lnTo>
                    <a:pt x="3414" y="1782"/>
                  </a:lnTo>
                  <a:lnTo>
                    <a:pt x="3414" y="1776"/>
                  </a:lnTo>
                  <a:lnTo>
                    <a:pt x="3408" y="1770"/>
                  </a:lnTo>
                  <a:lnTo>
                    <a:pt x="3390" y="1770"/>
                  </a:lnTo>
                  <a:lnTo>
                    <a:pt x="3378" y="1764"/>
                  </a:lnTo>
                  <a:lnTo>
                    <a:pt x="3366" y="1764"/>
                  </a:lnTo>
                  <a:lnTo>
                    <a:pt x="3354" y="1746"/>
                  </a:lnTo>
                  <a:lnTo>
                    <a:pt x="3342" y="1746"/>
                  </a:lnTo>
                  <a:lnTo>
                    <a:pt x="3336" y="1734"/>
                  </a:lnTo>
                  <a:lnTo>
                    <a:pt x="3324" y="1728"/>
                  </a:lnTo>
                  <a:lnTo>
                    <a:pt x="3294" y="1728"/>
                  </a:lnTo>
                  <a:lnTo>
                    <a:pt x="3288" y="1734"/>
                  </a:lnTo>
                  <a:lnTo>
                    <a:pt x="3282" y="1734"/>
                  </a:lnTo>
                  <a:lnTo>
                    <a:pt x="3246" y="1686"/>
                  </a:lnTo>
                  <a:lnTo>
                    <a:pt x="3252" y="1698"/>
                  </a:lnTo>
                  <a:lnTo>
                    <a:pt x="3264" y="1704"/>
                  </a:lnTo>
                  <a:lnTo>
                    <a:pt x="3270" y="1710"/>
                  </a:lnTo>
                  <a:lnTo>
                    <a:pt x="3282" y="1716"/>
                  </a:lnTo>
                  <a:lnTo>
                    <a:pt x="3294" y="1716"/>
                  </a:lnTo>
                  <a:lnTo>
                    <a:pt x="3300" y="1710"/>
                  </a:lnTo>
                  <a:lnTo>
                    <a:pt x="3306" y="1710"/>
                  </a:lnTo>
                  <a:lnTo>
                    <a:pt x="3336" y="1716"/>
                  </a:lnTo>
                  <a:lnTo>
                    <a:pt x="3348" y="1734"/>
                  </a:lnTo>
                  <a:lnTo>
                    <a:pt x="3366" y="1728"/>
                  </a:lnTo>
                  <a:lnTo>
                    <a:pt x="3408" y="1740"/>
                  </a:lnTo>
                  <a:lnTo>
                    <a:pt x="3390" y="1716"/>
                  </a:lnTo>
                  <a:lnTo>
                    <a:pt x="3372" y="1710"/>
                  </a:lnTo>
                  <a:lnTo>
                    <a:pt x="3372" y="1692"/>
                  </a:lnTo>
                  <a:lnTo>
                    <a:pt x="3360" y="1680"/>
                  </a:lnTo>
                  <a:lnTo>
                    <a:pt x="3348" y="1674"/>
                  </a:lnTo>
                  <a:lnTo>
                    <a:pt x="3330" y="1674"/>
                  </a:lnTo>
                  <a:lnTo>
                    <a:pt x="3318" y="1662"/>
                  </a:lnTo>
                  <a:lnTo>
                    <a:pt x="3318" y="1650"/>
                  </a:lnTo>
                  <a:lnTo>
                    <a:pt x="3312" y="1644"/>
                  </a:lnTo>
                  <a:lnTo>
                    <a:pt x="3312" y="1632"/>
                  </a:lnTo>
                  <a:lnTo>
                    <a:pt x="3234" y="1530"/>
                  </a:lnTo>
                  <a:lnTo>
                    <a:pt x="3198" y="1524"/>
                  </a:lnTo>
                  <a:lnTo>
                    <a:pt x="3162" y="1494"/>
                  </a:lnTo>
                  <a:lnTo>
                    <a:pt x="3144" y="1500"/>
                  </a:lnTo>
                  <a:lnTo>
                    <a:pt x="3138" y="1488"/>
                  </a:lnTo>
                  <a:lnTo>
                    <a:pt x="3132" y="1482"/>
                  </a:lnTo>
                  <a:lnTo>
                    <a:pt x="3132" y="1470"/>
                  </a:lnTo>
                  <a:lnTo>
                    <a:pt x="3126" y="1464"/>
                  </a:lnTo>
                  <a:lnTo>
                    <a:pt x="3138" y="1452"/>
                  </a:lnTo>
                  <a:lnTo>
                    <a:pt x="3150" y="1446"/>
                  </a:lnTo>
                  <a:lnTo>
                    <a:pt x="3156" y="1434"/>
                  </a:lnTo>
                  <a:lnTo>
                    <a:pt x="3162" y="1428"/>
                  </a:lnTo>
                  <a:lnTo>
                    <a:pt x="3168" y="1416"/>
                  </a:lnTo>
                  <a:lnTo>
                    <a:pt x="3168" y="1410"/>
                  </a:lnTo>
                  <a:lnTo>
                    <a:pt x="3162" y="1398"/>
                  </a:lnTo>
                  <a:lnTo>
                    <a:pt x="3162" y="1392"/>
                  </a:lnTo>
                  <a:lnTo>
                    <a:pt x="3156" y="1380"/>
                  </a:lnTo>
                  <a:lnTo>
                    <a:pt x="3168" y="1386"/>
                  </a:lnTo>
                  <a:lnTo>
                    <a:pt x="3174" y="1392"/>
                  </a:lnTo>
                  <a:lnTo>
                    <a:pt x="3186" y="1398"/>
                  </a:lnTo>
                  <a:lnTo>
                    <a:pt x="3198" y="1386"/>
                  </a:lnTo>
                  <a:lnTo>
                    <a:pt x="3198" y="1368"/>
                  </a:lnTo>
                  <a:lnTo>
                    <a:pt x="3192" y="1356"/>
                  </a:lnTo>
                  <a:lnTo>
                    <a:pt x="3192" y="1344"/>
                  </a:lnTo>
                  <a:lnTo>
                    <a:pt x="3216" y="1344"/>
                  </a:lnTo>
                  <a:lnTo>
                    <a:pt x="3252" y="1320"/>
                  </a:lnTo>
                  <a:lnTo>
                    <a:pt x="3264" y="1320"/>
                  </a:lnTo>
                  <a:lnTo>
                    <a:pt x="3270" y="1326"/>
                  </a:lnTo>
                  <a:lnTo>
                    <a:pt x="3294" y="1326"/>
                  </a:lnTo>
                  <a:lnTo>
                    <a:pt x="3294" y="1320"/>
                  </a:lnTo>
                  <a:lnTo>
                    <a:pt x="3288" y="1314"/>
                  </a:lnTo>
                  <a:lnTo>
                    <a:pt x="3288" y="1308"/>
                  </a:lnTo>
                  <a:lnTo>
                    <a:pt x="3282" y="1302"/>
                  </a:lnTo>
                  <a:lnTo>
                    <a:pt x="3288" y="1278"/>
                  </a:lnTo>
                  <a:lnTo>
                    <a:pt x="3258" y="1278"/>
                  </a:lnTo>
                  <a:lnTo>
                    <a:pt x="3246" y="1266"/>
                  </a:lnTo>
                  <a:lnTo>
                    <a:pt x="3240" y="1278"/>
                  </a:lnTo>
                  <a:lnTo>
                    <a:pt x="3204" y="1278"/>
                  </a:lnTo>
                  <a:lnTo>
                    <a:pt x="3198" y="1272"/>
                  </a:lnTo>
                  <a:lnTo>
                    <a:pt x="3192" y="1260"/>
                  </a:lnTo>
                  <a:lnTo>
                    <a:pt x="3180" y="1254"/>
                  </a:lnTo>
                  <a:lnTo>
                    <a:pt x="3174" y="1248"/>
                  </a:lnTo>
                  <a:lnTo>
                    <a:pt x="3150" y="1248"/>
                  </a:lnTo>
                  <a:lnTo>
                    <a:pt x="3144" y="1260"/>
                  </a:lnTo>
                  <a:lnTo>
                    <a:pt x="3132" y="1266"/>
                  </a:lnTo>
                  <a:lnTo>
                    <a:pt x="3114" y="1284"/>
                  </a:lnTo>
                  <a:lnTo>
                    <a:pt x="3114" y="1296"/>
                  </a:lnTo>
                  <a:lnTo>
                    <a:pt x="3108" y="1302"/>
                  </a:lnTo>
                  <a:lnTo>
                    <a:pt x="3108" y="1308"/>
                  </a:lnTo>
                  <a:lnTo>
                    <a:pt x="3078" y="1308"/>
                  </a:lnTo>
                  <a:lnTo>
                    <a:pt x="3054" y="1296"/>
                  </a:lnTo>
                  <a:lnTo>
                    <a:pt x="3048" y="1290"/>
                  </a:lnTo>
                  <a:lnTo>
                    <a:pt x="3042" y="1278"/>
                  </a:lnTo>
                  <a:lnTo>
                    <a:pt x="3030" y="1242"/>
                  </a:lnTo>
                  <a:lnTo>
                    <a:pt x="3024" y="1230"/>
                  </a:lnTo>
                  <a:lnTo>
                    <a:pt x="3018" y="1224"/>
                  </a:lnTo>
                  <a:lnTo>
                    <a:pt x="3006" y="1224"/>
                  </a:lnTo>
                  <a:lnTo>
                    <a:pt x="3000" y="1230"/>
                  </a:lnTo>
                  <a:lnTo>
                    <a:pt x="3000" y="1242"/>
                  </a:lnTo>
                  <a:lnTo>
                    <a:pt x="2988" y="1224"/>
                  </a:lnTo>
                  <a:lnTo>
                    <a:pt x="2952" y="1224"/>
                  </a:lnTo>
                  <a:lnTo>
                    <a:pt x="2940" y="1218"/>
                  </a:lnTo>
                  <a:lnTo>
                    <a:pt x="2934" y="1212"/>
                  </a:lnTo>
                  <a:lnTo>
                    <a:pt x="2928" y="1200"/>
                  </a:lnTo>
                  <a:lnTo>
                    <a:pt x="2916" y="1194"/>
                  </a:lnTo>
                  <a:lnTo>
                    <a:pt x="2910" y="1182"/>
                  </a:lnTo>
                  <a:lnTo>
                    <a:pt x="2910" y="1140"/>
                  </a:lnTo>
                  <a:lnTo>
                    <a:pt x="2928" y="1140"/>
                  </a:lnTo>
                  <a:lnTo>
                    <a:pt x="2940" y="1152"/>
                  </a:lnTo>
                  <a:lnTo>
                    <a:pt x="2946" y="1152"/>
                  </a:lnTo>
                  <a:lnTo>
                    <a:pt x="2952" y="1146"/>
                  </a:lnTo>
                  <a:lnTo>
                    <a:pt x="2952" y="1140"/>
                  </a:lnTo>
                  <a:lnTo>
                    <a:pt x="2958" y="1134"/>
                  </a:lnTo>
                  <a:lnTo>
                    <a:pt x="2964" y="1134"/>
                  </a:lnTo>
                  <a:lnTo>
                    <a:pt x="2970" y="1140"/>
                  </a:lnTo>
                  <a:lnTo>
                    <a:pt x="2982" y="1140"/>
                  </a:lnTo>
                  <a:lnTo>
                    <a:pt x="2994" y="1134"/>
                  </a:lnTo>
                  <a:lnTo>
                    <a:pt x="3000" y="1128"/>
                  </a:lnTo>
                  <a:lnTo>
                    <a:pt x="3000" y="1116"/>
                  </a:lnTo>
                  <a:lnTo>
                    <a:pt x="2994" y="1110"/>
                  </a:lnTo>
                  <a:lnTo>
                    <a:pt x="2994" y="1086"/>
                  </a:lnTo>
                  <a:lnTo>
                    <a:pt x="3000" y="1074"/>
                  </a:lnTo>
                  <a:lnTo>
                    <a:pt x="3000" y="1068"/>
                  </a:lnTo>
                  <a:lnTo>
                    <a:pt x="3036" y="1068"/>
                  </a:lnTo>
                  <a:lnTo>
                    <a:pt x="3042" y="1062"/>
                  </a:lnTo>
                  <a:lnTo>
                    <a:pt x="3048" y="1050"/>
                  </a:lnTo>
                  <a:lnTo>
                    <a:pt x="3048" y="1038"/>
                  </a:lnTo>
                  <a:lnTo>
                    <a:pt x="3054" y="1032"/>
                  </a:lnTo>
                  <a:lnTo>
                    <a:pt x="3054" y="1026"/>
                  </a:lnTo>
                  <a:lnTo>
                    <a:pt x="3072" y="1014"/>
                  </a:lnTo>
                  <a:lnTo>
                    <a:pt x="3060" y="1002"/>
                  </a:lnTo>
                  <a:lnTo>
                    <a:pt x="3096" y="1014"/>
                  </a:lnTo>
                  <a:lnTo>
                    <a:pt x="3114" y="996"/>
                  </a:lnTo>
                  <a:lnTo>
                    <a:pt x="3126" y="1002"/>
                  </a:lnTo>
                  <a:lnTo>
                    <a:pt x="3132" y="1014"/>
                  </a:lnTo>
                  <a:lnTo>
                    <a:pt x="3144" y="1020"/>
                  </a:lnTo>
                  <a:lnTo>
                    <a:pt x="3156" y="1044"/>
                  </a:lnTo>
                  <a:lnTo>
                    <a:pt x="3156" y="1050"/>
                  </a:lnTo>
                  <a:lnTo>
                    <a:pt x="3144" y="1074"/>
                  </a:lnTo>
                  <a:lnTo>
                    <a:pt x="3126" y="1092"/>
                  </a:lnTo>
                  <a:lnTo>
                    <a:pt x="3126" y="1104"/>
                  </a:lnTo>
                  <a:lnTo>
                    <a:pt x="3132" y="1116"/>
                  </a:lnTo>
                  <a:lnTo>
                    <a:pt x="3144" y="1128"/>
                  </a:lnTo>
                  <a:lnTo>
                    <a:pt x="3150" y="1128"/>
                  </a:lnTo>
                  <a:lnTo>
                    <a:pt x="3162" y="1122"/>
                  </a:lnTo>
                  <a:lnTo>
                    <a:pt x="3168" y="1122"/>
                  </a:lnTo>
                  <a:lnTo>
                    <a:pt x="3162" y="1152"/>
                  </a:lnTo>
                  <a:lnTo>
                    <a:pt x="3144" y="1170"/>
                  </a:lnTo>
                  <a:lnTo>
                    <a:pt x="3144" y="1176"/>
                  </a:lnTo>
                  <a:lnTo>
                    <a:pt x="3150" y="1176"/>
                  </a:lnTo>
                  <a:lnTo>
                    <a:pt x="3162" y="1170"/>
                  </a:lnTo>
                  <a:lnTo>
                    <a:pt x="3168" y="1164"/>
                  </a:lnTo>
                  <a:lnTo>
                    <a:pt x="3180" y="1158"/>
                  </a:lnTo>
                  <a:lnTo>
                    <a:pt x="3186" y="1158"/>
                  </a:lnTo>
                  <a:lnTo>
                    <a:pt x="3198" y="1146"/>
                  </a:lnTo>
                  <a:lnTo>
                    <a:pt x="3198" y="1122"/>
                  </a:lnTo>
                  <a:lnTo>
                    <a:pt x="3204" y="1122"/>
                  </a:lnTo>
                  <a:lnTo>
                    <a:pt x="3210" y="1116"/>
                  </a:lnTo>
                  <a:lnTo>
                    <a:pt x="3258" y="1092"/>
                  </a:lnTo>
                  <a:lnTo>
                    <a:pt x="3264" y="1086"/>
                  </a:lnTo>
                  <a:lnTo>
                    <a:pt x="3306" y="1086"/>
                  </a:lnTo>
                  <a:lnTo>
                    <a:pt x="3312" y="1074"/>
                  </a:lnTo>
                  <a:lnTo>
                    <a:pt x="3312" y="1062"/>
                  </a:lnTo>
                  <a:lnTo>
                    <a:pt x="3318" y="1056"/>
                  </a:lnTo>
                  <a:lnTo>
                    <a:pt x="3324" y="1044"/>
                  </a:lnTo>
                  <a:lnTo>
                    <a:pt x="3360" y="1026"/>
                  </a:lnTo>
                  <a:lnTo>
                    <a:pt x="3372" y="1014"/>
                  </a:lnTo>
                  <a:lnTo>
                    <a:pt x="3390" y="978"/>
                  </a:lnTo>
                  <a:lnTo>
                    <a:pt x="3390" y="948"/>
                  </a:lnTo>
                  <a:lnTo>
                    <a:pt x="3396" y="942"/>
                  </a:lnTo>
                  <a:lnTo>
                    <a:pt x="3396" y="936"/>
                  </a:lnTo>
                  <a:lnTo>
                    <a:pt x="3408" y="936"/>
                  </a:lnTo>
                  <a:lnTo>
                    <a:pt x="3420" y="942"/>
                  </a:lnTo>
                  <a:lnTo>
                    <a:pt x="3432" y="954"/>
                  </a:lnTo>
                  <a:lnTo>
                    <a:pt x="3444" y="954"/>
                  </a:lnTo>
                  <a:lnTo>
                    <a:pt x="3456" y="960"/>
                  </a:lnTo>
                  <a:lnTo>
                    <a:pt x="3504" y="960"/>
                  </a:lnTo>
                  <a:lnTo>
                    <a:pt x="3504" y="948"/>
                  </a:lnTo>
                  <a:lnTo>
                    <a:pt x="3498" y="948"/>
                  </a:lnTo>
                  <a:lnTo>
                    <a:pt x="3474" y="924"/>
                  </a:lnTo>
                  <a:lnTo>
                    <a:pt x="3474" y="912"/>
                  </a:lnTo>
                  <a:lnTo>
                    <a:pt x="3480" y="906"/>
                  </a:lnTo>
                  <a:lnTo>
                    <a:pt x="3486" y="912"/>
                  </a:lnTo>
                  <a:lnTo>
                    <a:pt x="3510" y="912"/>
                  </a:lnTo>
                  <a:lnTo>
                    <a:pt x="3522" y="918"/>
                  </a:lnTo>
                  <a:lnTo>
                    <a:pt x="3534" y="912"/>
                  </a:lnTo>
                  <a:lnTo>
                    <a:pt x="3540" y="900"/>
                  </a:lnTo>
                  <a:lnTo>
                    <a:pt x="3540" y="894"/>
                  </a:lnTo>
                  <a:lnTo>
                    <a:pt x="3534" y="882"/>
                  </a:lnTo>
                  <a:lnTo>
                    <a:pt x="3558" y="882"/>
                  </a:lnTo>
                  <a:lnTo>
                    <a:pt x="3558" y="864"/>
                  </a:lnTo>
                  <a:lnTo>
                    <a:pt x="3552" y="852"/>
                  </a:lnTo>
                  <a:lnTo>
                    <a:pt x="3546" y="846"/>
                  </a:lnTo>
                  <a:lnTo>
                    <a:pt x="3546" y="840"/>
                  </a:lnTo>
                  <a:lnTo>
                    <a:pt x="3576" y="840"/>
                  </a:lnTo>
                  <a:lnTo>
                    <a:pt x="3594" y="864"/>
                  </a:lnTo>
                  <a:lnTo>
                    <a:pt x="3600" y="840"/>
                  </a:lnTo>
                  <a:lnTo>
                    <a:pt x="3630" y="846"/>
                  </a:lnTo>
                  <a:lnTo>
                    <a:pt x="3624" y="810"/>
                  </a:lnTo>
                  <a:lnTo>
                    <a:pt x="3618" y="798"/>
                  </a:lnTo>
                  <a:lnTo>
                    <a:pt x="3606" y="786"/>
                  </a:lnTo>
                  <a:lnTo>
                    <a:pt x="3606" y="774"/>
                  </a:lnTo>
                  <a:lnTo>
                    <a:pt x="3600" y="756"/>
                  </a:lnTo>
                  <a:lnTo>
                    <a:pt x="3588" y="744"/>
                  </a:lnTo>
                  <a:lnTo>
                    <a:pt x="3576" y="726"/>
                  </a:lnTo>
                  <a:lnTo>
                    <a:pt x="3564" y="720"/>
                  </a:lnTo>
                  <a:lnTo>
                    <a:pt x="3552" y="708"/>
                  </a:lnTo>
                  <a:lnTo>
                    <a:pt x="3546" y="708"/>
                  </a:lnTo>
                  <a:lnTo>
                    <a:pt x="3540" y="696"/>
                  </a:lnTo>
                  <a:lnTo>
                    <a:pt x="3540" y="684"/>
                  </a:lnTo>
                  <a:lnTo>
                    <a:pt x="3564" y="684"/>
                  </a:lnTo>
                  <a:lnTo>
                    <a:pt x="3564" y="672"/>
                  </a:lnTo>
                  <a:lnTo>
                    <a:pt x="3558" y="666"/>
                  </a:lnTo>
                  <a:lnTo>
                    <a:pt x="3564" y="660"/>
                  </a:lnTo>
                  <a:lnTo>
                    <a:pt x="3588" y="660"/>
                  </a:lnTo>
                  <a:lnTo>
                    <a:pt x="3600" y="666"/>
                  </a:lnTo>
                  <a:lnTo>
                    <a:pt x="3618" y="672"/>
                  </a:lnTo>
                  <a:lnTo>
                    <a:pt x="3630" y="672"/>
                  </a:lnTo>
                  <a:lnTo>
                    <a:pt x="3642" y="678"/>
                  </a:lnTo>
                  <a:lnTo>
                    <a:pt x="3648" y="678"/>
                  </a:lnTo>
                  <a:lnTo>
                    <a:pt x="3654" y="672"/>
                  </a:lnTo>
                  <a:lnTo>
                    <a:pt x="3654" y="660"/>
                  </a:lnTo>
                  <a:lnTo>
                    <a:pt x="3648" y="648"/>
                  </a:lnTo>
                  <a:lnTo>
                    <a:pt x="3648" y="630"/>
                  </a:lnTo>
                  <a:lnTo>
                    <a:pt x="3654" y="630"/>
                  </a:lnTo>
                  <a:lnTo>
                    <a:pt x="3660" y="624"/>
                  </a:lnTo>
                  <a:close/>
                </a:path>
              </a:pathLst>
            </a:custGeom>
            <a:solidFill>
              <a:schemeClr val="accent2"/>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78" name="Chile" descr="© INSCALE GmbH, 05.05.2010&#10;http://www.presentationload.com/">
              <a:extLst>
                <a:ext uri="{FF2B5EF4-FFF2-40B4-BE49-F238E27FC236}">
                  <a16:creationId xmlns:a16="http://schemas.microsoft.com/office/drawing/2014/main" id="{CFAFC88D-9735-4130-8392-5460E3113D0D}"/>
                </a:ext>
              </a:extLst>
            </p:cNvPr>
            <p:cNvSpPr>
              <a:spLocks noEditPoints="1"/>
            </p:cNvSpPr>
            <p:nvPr/>
          </p:nvSpPr>
          <p:spPr bwMode="gray">
            <a:xfrm>
              <a:off x="2169331" y="4817118"/>
              <a:ext cx="459430" cy="1204242"/>
            </a:xfrm>
            <a:custGeom>
              <a:avLst/>
              <a:gdLst>
                <a:gd name="T0" fmla="*/ 2147483647 w 1158"/>
                <a:gd name="T1" fmla="*/ 2147483647 h 3030"/>
                <a:gd name="T2" fmla="*/ 2147483647 w 1158"/>
                <a:gd name="T3" fmla="*/ 2147483647 h 3030"/>
                <a:gd name="T4" fmla="*/ 2147483647 w 1158"/>
                <a:gd name="T5" fmla="*/ 2147483647 h 3030"/>
                <a:gd name="T6" fmla="*/ 2147483647 w 1158"/>
                <a:gd name="T7" fmla="*/ 2147483647 h 3030"/>
                <a:gd name="T8" fmla="*/ 2147483647 w 1158"/>
                <a:gd name="T9" fmla="*/ 2147483647 h 3030"/>
                <a:gd name="T10" fmla="*/ 2147483647 w 1158"/>
                <a:gd name="T11" fmla="*/ 2147483647 h 3030"/>
                <a:gd name="T12" fmla="*/ 2147483647 w 1158"/>
                <a:gd name="T13" fmla="*/ 2147483647 h 3030"/>
                <a:gd name="T14" fmla="*/ 2147483647 w 1158"/>
                <a:gd name="T15" fmla="*/ 2147483647 h 3030"/>
                <a:gd name="T16" fmla="*/ 2147483647 w 1158"/>
                <a:gd name="T17" fmla="*/ 2147483647 h 3030"/>
                <a:gd name="T18" fmla="*/ 2147483647 w 1158"/>
                <a:gd name="T19" fmla="*/ 2147483647 h 3030"/>
                <a:gd name="T20" fmla="*/ 2147483647 w 1158"/>
                <a:gd name="T21" fmla="*/ 2147483647 h 3030"/>
                <a:gd name="T22" fmla="*/ 2147483647 w 1158"/>
                <a:gd name="T23" fmla="*/ 2147483647 h 3030"/>
                <a:gd name="T24" fmla="*/ 2147483647 w 1158"/>
                <a:gd name="T25" fmla="*/ 2147483647 h 3030"/>
                <a:gd name="T26" fmla="*/ 2147483647 w 1158"/>
                <a:gd name="T27" fmla="*/ 2147483647 h 3030"/>
                <a:gd name="T28" fmla="*/ 2147483647 w 1158"/>
                <a:gd name="T29" fmla="*/ 2147483647 h 3030"/>
                <a:gd name="T30" fmla="*/ 2147483647 w 1158"/>
                <a:gd name="T31" fmla="*/ 2147483647 h 3030"/>
                <a:gd name="T32" fmla="*/ 2147483647 w 1158"/>
                <a:gd name="T33" fmla="*/ 2147483647 h 3030"/>
                <a:gd name="T34" fmla="*/ 2147483647 w 1158"/>
                <a:gd name="T35" fmla="*/ 2147483647 h 3030"/>
                <a:gd name="T36" fmla="*/ 2147483647 w 1158"/>
                <a:gd name="T37" fmla="*/ 2147483647 h 3030"/>
                <a:gd name="T38" fmla="*/ 2147483647 w 1158"/>
                <a:gd name="T39" fmla="*/ 2147483647 h 3030"/>
                <a:gd name="T40" fmla="*/ 2147483647 w 1158"/>
                <a:gd name="T41" fmla="*/ 2147483647 h 3030"/>
                <a:gd name="T42" fmla="*/ 2147483647 w 1158"/>
                <a:gd name="T43" fmla="*/ 2147483647 h 3030"/>
                <a:gd name="T44" fmla="*/ 2147483647 w 1158"/>
                <a:gd name="T45" fmla="*/ 2147483647 h 3030"/>
                <a:gd name="T46" fmla="*/ 2147483647 w 1158"/>
                <a:gd name="T47" fmla="*/ 2147483647 h 3030"/>
                <a:gd name="T48" fmla="*/ 2147483647 w 1158"/>
                <a:gd name="T49" fmla="*/ 2147483647 h 3030"/>
                <a:gd name="T50" fmla="*/ 2147483647 w 1158"/>
                <a:gd name="T51" fmla="*/ 2147483647 h 3030"/>
                <a:gd name="T52" fmla="*/ 2147483647 w 1158"/>
                <a:gd name="T53" fmla="*/ 2147483647 h 3030"/>
                <a:gd name="T54" fmla="*/ 2147483647 w 1158"/>
                <a:gd name="T55" fmla="*/ 2147483647 h 3030"/>
                <a:gd name="T56" fmla="*/ 2147483647 w 1158"/>
                <a:gd name="T57" fmla="*/ 2147483647 h 3030"/>
                <a:gd name="T58" fmla="*/ 2147483647 w 1158"/>
                <a:gd name="T59" fmla="*/ 2147483647 h 3030"/>
                <a:gd name="T60" fmla="*/ 2147483647 w 1158"/>
                <a:gd name="T61" fmla="*/ 2147483647 h 3030"/>
                <a:gd name="T62" fmla="*/ 2147483647 w 1158"/>
                <a:gd name="T63" fmla="*/ 2147483647 h 3030"/>
                <a:gd name="T64" fmla="*/ 2147483647 w 1158"/>
                <a:gd name="T65" fmla="*/ 2147483647 h 3030"/>
                <a:gd name="T66" fmla="*/ 2147483647 w 1158"/>
                <a:gd name="T67" fmla="*/ 2147483647 h 3030"/>
                <a:gd name="T68" fmla="*/ 2147483647 w 1158"/>
                <a:gd name="T69" fmla="*/ 2147483647 h 3030"/>
                <a:gd name="T70" fmla="*/ 2147483647 w 1158"/>
                <a:gd name="T71" fmla="*/ 2147483647 h 3030"/>
                <a:gd name="T72" fmla="*/ 2147483647 w 1158"/>
                <a:gd name="T73" fmla="*/ 2147483647 h 3030"/>
                <a:gd name="T74" fmla="*/ 2147483647 w 1158"/>
                <a:gd name="T75" fmla="*/ 2147483647 h 3030"/>
                <a:gd name="T76" fmla="*/ 2147483647 w 1158"/>
                <a:gd name="T77" fmla="*/ 2147483647 h 3030"/>
                <a:gd name="T78" fmla="*/ 0 w 1158"/>
                <a:gd name="T79" fmla="*/ 2147483647 h 3030"/>
                <a:gd name="T80" fmla="*/ 2147483647 w 1158"/>
                <a:gd name="T81" fmla="*/ 2147483647 h 3030"/>
                <a:gd name="T82" fmla="*/ 2147483647 w 1158"/>
                <a:gd name="T83" fmla="*/ 2147483647 h 3030"/>
                <a:gd name="T84" fmla="*/ 2147483647 w 1158"/>
                <a:gd name="T85" fmla="*/ 2147483647 h 3030"/>
                <a:gd name="T86" fmla="*/ 2147483647 w 1158"/>
                <a:gd name="T87" fmla="*/ 2147483647 h 3030"/>
                <a:gd name="T88" fmla="*/ 2147483647 w 1158"/>
                <a:gd name="T89" fmla="*/ 2147483647 h 3030"/>
                <a:gd name="T90" fmla="*/ 2147483647 w 1158"/>
                <a:gd name="T91" fmla="*/ 2147483647 h 3030"/>
                <a:gd name="T92" fmla="*/ 2147483647 w 1158"/>
                <a:gd name="T93" fmla="*/ 2147483647 h 3030"/>
                <a:gd name="T94" fmla="*/ 2147483647 w 1158"/>
                <a:gd name="T95" fmla="*/ 2147483647 h 3030"/>
                <a:gd name="T96" fmla="*/ 2147483647 w 1158"/>
                <a:gd name="T97" fmla="*/ 2147483647 h 3030"/>
                <a:gd name="T98" fmla="*/ 2147483647 w 1158"/>
                <a:gd name="T99" fmla="*/ 2147483647 h 3030"/>
                <a:gd name="T100" fmla="*/ 2147483647 w 1158"/>
                <a:gd name="T101" fmla="*/ 2147483647 h 3030"/>
                <a:gd name="T102" fmla="*/ 2147483647 w 1158"/>
                <a:gd name="T103" fmla="*/ 2147483647 h 3030"/>
                <a:gd name="T104" fmla="*/ 2147483647 w 1158"/>
                <a:gd name="T105" fmla="*/ 2147483647 h 3030"/>
                <a:gd name="T106" fmla="*/ 2147483647 w 1158"/>
                <a:gd name="T107" fmla="*/ 2147483647 h 3030"/>
                <a:gd name="T108" fmla="*/ 2147483647 w 1158"/>
                <a:gd name="T109" fmla="*/ 2147483647 h 3030"/>
                <a:gd name="T110" fmla="*/ 2147483647 w 1158"/>
                <a:gd name="T111" fmla="*/ 2147483647 h 3030"/>
                <a:gd name="T112" fmla="*/ 2147483647 w 1158"/>
                <a:gd name="T113" fmla="*/ 2147483647 h 3030"/>
                <a:gd name="T114" fmla="*/ 2147483647 w 1158"/>
                <a:gd name="T115" fmla="*/ 2147483647 h 3030"/>
                <a:gd name="T116" fmla="*/ 2147483647 w 1158"/>
                <a:gd name="T117" fmla="*/ 2147483647 h 3030"/>
                <a:gd name="T118" fmla="*/ 2147483647 w 1158"/>
                <a:gd name="T119" fmla="*/ 2147483647 h 3030"/>
                <a:gd name="T120" fmla="*/ 2147483647 w 1158"/>
                <a:gd name="T121" fmla="*/ 2147483647 h 3030"/>
                <a:gd name="T122" fmla="*/ 2147483647 w 1158"/>
                <a:gd name="T123" fmla="*/ 2147483647 h 30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58"/>
                <a:gd name="T187" fmla="*/ 0 h 3030"/>
                <a:gd name="T188" fmla="*/ 1158 w 1158"/>
                <a:gd name="T189" fmla="*/ 3030 h 303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58" h="3030">
                  <a:moveTo>
                    <a:pt x="1014" y="2910"/>
                  </a:moveTo>
                  <a:lnTo>
                    <a:pt x="984" y="2898"/>
                  </a:lnTo>
                  <a:lnTo>
                    <a:pt x="966" y="2880"/>
                  </a:lnTo>
                  <a:lnTo>
                    <a:pt x="948" y="2874"/>
                  </a:lnTo>
                  <a:lnTo>
                    <a:pt x="942" y="2862"/>
                  </a:lnTo>
                  <a:lnTo>
                    <a:pt x="936" y="2856"/>
                  </a:lnTo>
                  <a:lnTo>
                    <a:pt x="936" y="2850"/>
                  </a:lnTo>
                  <a:lnTo>
                    <a:pt x="906" y="2850"/>
                  </a:lnTo>
                  <a:lnTo>
                    <a:pt x="912" y="2832"/>
                  </a:lnTo>
                  <a:lnTo>
                    <a:pt x="870" y="2796"/>
                  </a:lnTo>
                  <a:lnTo>
                    <a:pt x="840" y="2802"/>
                  </a:lnTo>
                  <a:lnTo>
                    <a:pt x="828" y="2796"/>
                  </a:lnTo>
                  <a:lnTo>
                    <a:pt x="816" y="2808"/>
                  </a:lnTo>
                  <a:lnTo>
                    <a:pt x="792" y="2814"/>
                  </a:lnTo>
                  <a:lnTo>
                    <a:pt x="798" y="2832"/>
                  </a:lnTo>
                  <a:lnTo>
                    <a:pt x="780" y="2832"/>
                  </a:lnTo>
                  <a:lnTo>
                    <a:pt x="780" y="2862"/>
                  </a:lnTo>
                  <a:lnTo>
                    <a:pt x="786" y="2868"/>
                  </a:lnTo>
                  <a:lnTo>
                    <a:pt x="798" y="2868"/>
                  </a:lnTo>
                  <a:lnTo>
                    <a:pt x="810" y="2862"/>
                  </a:lnTo>
                  <a:lnTo>
                    <a:pt x="816" y="2856"/>
                  </a:lnTo>
                  <a:lnTo>
                    <a:pt x="828" y="2850"/>
                  </a:lnTo>
                  <a:lnTo>
                    <a:pt x="834" y="2844"/>
                  </a:lnTo>
                  <a:lnTo>
                    <a:pt x="858" y="2856"/>
                  </a:lnTo>
                  <a:lnTo>
                    <a:pt x="858" y="2874"/>
                  </a:lnTo>
                  <a:lnTo>
                    <a:pt x="846" y="2880"/>
                  </a:lnTo>
                  <a:lnTo>
                    <a:pt x="828" y="2898"/>
                  </a:lnTo>
                  <a:lnTo>
                    <a:pt x="822" y="2898"/>
                  </a:lnTo>
                  <a:lnTo>
                    <a:pt x="828" y="2904"/>
                  </a:lnTo>
                  <a:lnTo>
                    <a:pt x="882" y="2922"/>
                  </a:lnTo>
                  <a:lnTo>
                    <a:pt x="912" y="2928"/>
                  </a:lnTo>
                  <a:lnTo>
                    <a:pt x="924" y="2934"/>
                  </a:lnTo>
                  <a:lnTo>
                    <a:pt x="906" y="2958"/>
                  </a:lnTo>
                  <a:lnTo>
                    <a:pt x="906" y="2952"/>
                  </a:lnTo>
                  <a:lnTo>
                    <a:pt x="894" y="2940"/>
                  </a:lnTo>
                  <a:lnTo>
                    <a:pt x="876" y="2940"/>
                  </a:lnTo>
                  <a:lnTo>
                    <a:pt x="870" y="2946"/>
                  </a:lnTo>
                  <a:lnTo>
                    <a:pt x="870" y="2952"/>
                  </a:lnTo>
                  <a:lnTo>
                    <a:pt x="852" y="2928"/>
                  </a:lnTo>
                  <a:lnTo>
                    <a:pt x="834" y="2934"/>
                  </a:lnTo>
                  <a:lnTo>
                    <a:pt x="846" y="2946"/>
                  </a:lnTo>
                  <a:lnTo>
                    <a:pt x="816" y="2940"/>
                  </a:lnTo>
                  <a:lnTo>
                    <a:pt x="822" y="2946"/>
                  </a:lnTo>
                  <a:lnTo>
                    <a:pt x="828" y="2958"/>
                  </a:lnTo>
                  <a:lnTo>
                    <a:pt x="834" y="2964"/>
                  </a:lnTo>
                  <a:lnTo>
                    <a:pt x="894" y="2964"/>
                  </a:lnTo>
                  <a:lnTo>
                    <a:pt x="906" y="2970"/>
                  </a:lnTo>
                  <a:lnTo>
                    <a:pt x="1050" y="2970"/>
                  </a:lnTo>
                  <a:lnTo>
                    <a:pt x="1074" y="2982"/>
                  </a:lnTo>
                  <a:lnTo>
                    <a:pt x="1080" y="2988"/>
                  </a:lnTo>
                  <a:lnTo>
                    <a:pt x="1086" y="2988"/>
                  </a:lnTo>
                  <a:lnTo>
                    <a:pt x="1122" y="2970"/>
                  </a:lnTo>
                  <a:lnTo>
                    <a:pt x="1140" y="2976"/>
                  </a:lnTo>
                  <a:lnTo>
                    <a:pt x="1152" y="2976"/>
                  </a:lnTo>
                  <a:lnTo>
                    <a:pt x="1158" y="2952"/>
                  </a:lnTo>
                  <a:lnTo>
                    <a:pt x="1140" y="2952"/>
                  </a:lnTo>
                  <a:lnTo>
                    <a:pt x="1086" y="2940"/>
                  </a:lnTo>
                  <a:lnTo>
                    <a:pt x="1014" y="2910"/>
                  </a:lnTo>
                  <a:close/>
                  <a:moveTo>
                    <a:pt x="990" y="2988"/>
                  </a:moveTo>
                  <a:lnTo>
                    <a:pt x="1014" y="3000"/>
                  </a:lnTo>
                  <a:lnTo>
                    <a:pt x="1068" y="3006"/>
                  </a:lnTo>
                  <a:lnTo>
                    <a:pt x="1038" y="2982"/>
                  </a:lnTo>
                  <a:lnTo>
                    <a:pt x="990" y="2988"/>
                  </a:lnTo>
                  <a:close/>
                  <a:moveTo>
                    <a:pt x="960" y="2994"/>
                  </a:moveTo>
                  <a:lnTo>
                    <a:pt x="966" y="2982"/>
                  </a:lnTo>
                  <a:lnTo>
                    <a:pt x="888" y="2982"/>
                  </a:lnTo>
                  <a:lnTo>
                    <a:pt x="906" y="3012"/>
                  </a:lnTo>
                  <a:lnTo>
                    <a:pt x="936" y="3018"/>
                  </a:lnTo>
                  <a:lnTo>
                    <a:pt x="930" y="3006"/>
                  </a:lnTo>
                  <a:lnTo>
                    <a:pt x="936" y="3000"/>
                  </a:lnTo>
                  <a:lnTo>
                    <a:pt x="948" y="3012"/>
                  </a:lnTo>
                  <a:lnTo>
                    <a:pt x="996" y="3012"/>
                  </a:lnTo>
                  <a:lnTo>
                    <a:pt x="1008" y="3030"/>
                  </a:lnTo>
                  <a:lnTo>
                    <a:pt x="1026" y="3030"/>
                  </a:lnTo>
                  <a:lnTo>
                    <a:pt x="996" y="3000"/>
                  </a:lnTo>
                  <a:lnTo>
                    <a:pt x="960" y="2994"/>
                  </a:lnTo>
                  <a:close/>
                  <a:moveTo>
                    <a:pt x="804" y="2946"/>
                  </a:moveTo>
                  <a:lnTo>
                    <a:pt x="744" y="2940"/>
                  </a:lnTo>
                  <a:lnTo>
                    <a:pt x="750" y="2958"/>
                  </a:lnTo>
                  <a:lnTo>
                    <a:pt x="792" y="2958"/>
                  </a:lnTo>
                  <a:lnTo>
                    <a:pt x="804" y="2976"/>
                  </a:lnTo>
                  <a:lnTo>
                    <a:pt x="864" y="3000"/>
                  </a:lnTo>
                  <a:lnTo>
                    <a:pt x="828" y="2970"/>
                  </a:lnTo>
                  <a:lnTo>
                    <a:pt x="804" y="2946"/>
                  </a:lnTo>
                  <a:close/>
                  <a:moveTo>
                    <a:pt x="804" y="2880"/>
                  </a:moveTo>
                  <a:lnTo>
                    <a:pt x="786" y="2898"/>
                  </a:lnTo>
                  <a:lnTo>
                    <a:pt x="792" y="2928"/>
                  </a:lnTo>
                  <a:lnTo>
                    <a:pt x="816" y="2922"/>
                  </a:lnTo>
                  <a:lnTo>
                    <a:pt x="804" y="2880"/>
                  </a:lnTo>
                  <a:close/>
                  <a:moveTo>
                    <a:pt x="774" y="2928"/>
                  </a:moveTo>
                  <a:lnTo>
                    <a:pt x="768" y="2910"/>
                  </a:lnTo>
                  <a:lnTo>
                    <a:pt x="720" y="2898"/>
                  </a:lnTo>
                  <a:lnTo>
                    <a:pt x="708" y="2916"/>
                  </a:lnTo>
                  <a:lnTo>
                    <a:pt x="708" y="2934"/>
                  </a:lnTo>
                  <a:lnTo>
                    <a:pt x="744" y="2922"/>
                  </a:lnTo>
                  <a:lnTo>
                    <a:pt x="774" y="2928"/>
                  </a:lnTo>
                  <a:close/>
                  <a:moveTo>
                    <a:pt x="612" y="2772"/>
                  </a:moveTo>
                  <a:lnTo>
                    <a:pt x="606" y="2766"/>
                  </a:lnTo>
                  <a:lnTo>
                    <a:pt x="594" y="2766"/>
                  </a:lnTo>
                  <a:lnTo>
                    <a:pt x="588" y="2760"/>
                  </a:lnTo>
                  <a:lnTo>
                    <a:pt x="570" y="2760"/>
                  </a:lnTo>
                  <a:lnTo>
                    <a:pt x="570" y="2766"/>
                  </a:lnTo>
                  <a:lnTo>
                    <a:pt x="564" y="2778"/>
                  </a:lnTo>
                  <a:lnTo>
                    <a:pt x="564" y="2808"/>
                  </a:lnTo>
                  <a:lnTo>
                    <a:pt x="570" y="2808"/>
                  </a:lnTo>
                  <a:lnTo>
                    <a:pt x="576" y="2802"/>
                  </a:lnTo>
                  <a:lnTo>
                    <a:pt x="588" y="2802"/>
                  </a:lnTo>
                  <a:lnTo>
                    <a:pt x="594" y="2796"/>
                  </a:lnTo>
                  <a:lnTo>
                    <a:pt x="600" y="2820"/>
                  </a:lnTo>
                  <a:lnTo>
                    <a:pt x="630" y="2808"/>
                  </a:lnTo>
                  <a:lnTo>
                    <a:pt x="612" y="2790"/>
                  </a:lnTo>
                  <a:lnTo>
                    <a:pt x="618" y="2772"/>
                  </a:lnTo>
                  <a:lnTo>
                    <a:pt x="612" y="2772"/>
                  </a:lnTo>
                  <a:close/>
                  <a:moveTo>
                    <a:pt x="552" y="2826"/>
                  </a:moveTo>
                  <a:lnTo>
                    <a:pt x="516" y="2808"/>
                  </a:lnTo>
                  <a:lnTo>
                    <a:pt x="546" y="2832"/>
                  </a:lnTo>
                  <a:lnTo>
                    <a:pt x="588" y="2844"/>
                  </a:lnTo>
                  <a:lnTo>
                    <a:pt x="606" y="2850"/>
                  </a:lnTo>
                  <a:lnTo>
                    <a:pt x="588" y="2832"/>
                  </a:lnTo>
                  <a:lnTo>
                    <a:pt x="552" y="2826"/>
                  </a:lnTo>
                  <a:close/>
                  <a:moveTo>
                    <a:pt x="552" y="2748"/>
                  </a:moveTo>
                  <a:lnTo>
                    <a:pt x="534" y="2730"/>
                  </a:lnTo>
                  <a:lnTo>
                    <a:pt x="528" y="2766"/>
                  </a:lnTo>
                  <a:lnTo>
                    <a:pt x="504" y="2772"/>
                  </a:lnTo>
                  <a:lnTo>
                    <a:pt x="546" y="2784"/>
                  </a:lnTo>
                  <a:lnTo>
                    <a:pt x="552" y="2748"/>
                  </a:lnTo>
                  <a:close/>
                  <a:moveTo>
                    <a:pt x="444" y="2736"/>
                  </a:moveTo>
                  <a:lnTo>
                    <a:pt x="480" y="2772"/>
                  </a:lnTo>
                  <a:lnTo>
                    <a:pt x="492" y="2760"/>
                  </a:lnTo>
                  <a:lnTo>
                    <a:pt x="462" y="2724"/>
                  </a:lnTo>
                  <a:lnTo>
                    <a:pt x="444" y="2736"/>
                  </a:lnTo>
                  <a:close/>
                  <a:moveTo>
                    <a:pt x="516" y="2724"/>
                  </a:moveTo>
                  <a:lnTo>
                    <a:pt x="504" y="2718"/>
                  </a:lnTo>
                  <a:lnTo>
                    <a:pt x="492" y="2730"/>
                  </a:lnTo>
                  <a:lnTo>
                    <a:pt x="504" y="2748"/>
                  </a:lnTo>
                  <a:lnTo>
                    <a:pt x="516" y="2724"/>
                  </a:lnTo>
                  <a:close/>
                  <a:moveTo>
                    <a:pt x="456" y="2706"/>
                  </a:moveTo>
                  <a:lnTo>
                    <a:pt x="462" y="2676"/>
                  </a:lnTo>
                  <a:lnTo>
                    <a:pt x="456" y="2640"/>
                  </a:lnTo>
                  <a:lnTo>
                    <a:pt x="438" y="2634"/>
                  </a:lnTo>
                  <a:lnTo>
                    <a:pt x="438" y="2652"/>
                  </a:lnTo>
                  <a:lnTo>
                    <a:pt x="408" y="2646"/>
                  </a:lnTo>
                  <a:lnTo>
                    <a:pt x="432" y="2682"/>
                  </a:lnTo>
                  <a:lnTo>
                    <a:pt x="426" y="2724"/>
                  </a:lnTo>
                  <a:lnTo>
                    <a:pt x="456" y="2706"/>
                  </a:lnTo>
                  <a:close/>
                  <a:moveTo>
                    <a:pt x="366" y="2622"/>
                  </a:moveTo>
                  <a:lnTo>
                    <a:pt x="384" y="2628"/>
                  </a:lnTo>
                  <a:lnTo>
                    <a:pt x="390" y="2658"/>
                  </a:lnTo>
                  <a:lnTo>
                    <a:pt x="396" y="2628"/>
                  </a:lnTo>
                  <a:lnTo>
                    <a:pt x="402" y="2604"/>
                  </a:lnTo>
                  <a:lnTo>
                    <a:pt x="372" y="2598"/>
                  </a:lnTo>
                  <a:lnTo>
                    <a:pt x="366" y="2622"/>
                  </a:lnTo>
                  <a:close/>
                  <a:moveTo>
                    <a:pt x="372" y="2586"/>
                  </a:moveTo>
                  <a:lnTo>
                    <a:pt x="378" y="2586"/>
                  </a:lnTo>
                  <a:lnTo>
                    <a:pt x="378" y="2580"/>
                  </a:lnTo>
                  <a:lnTo>
                    <a:pt x="384" y="2574"/>
                  </a:lnTo>
                  <a:lnTo>
                    <a:pt x="414" y="2598"/>
                  </a:lnTo>
                  <a:lnTo>
                    <a:pt x="414" y="2574"/>
                  </a:lnTo>
                  <a:lnTo>
                    <a:pt x="384" y="2544"/>
                  </a:lnTo>
                  <a:lnTo>
                    <a:pt x="378" y="2532"/>
                  </a:lnTo>
                  <a:lnTo>
                    <a:pt x="372" y="2526"/>
                  </a:lnTo>
                  <a:lnTo>
                    <a:pt x="360" y="2502"/>
                  </a:lnTo>
                  <a:lnTo>
                    <a:pt x="360" y="2490"/>
                  </a:lnTo>
                  <a:lnTo>
                    <a:pt x="342" y="2454"/>
                  </a:lnTo>
                  <a:lnTo>
                    <a:pt x="330" y="2448"/>
                  </a:lnTo>
                  <a:lnTo>
                    <a:pt x="324" y="2442"/>
                  </a:lnTo>
                  <a:lnTo>
                    <a:pt x="318" y="2442"/>
                  </a:lnTo>
                  <a:lnTo>
                    <a:pt x="312" y="2448"/>
                  </a:lnTo>
                  <a:lnTo>
                    <a:pt x="312" y="2454"/>
                  </a:lnTo>
                  <a:lnTo>
                    <a:pt x="294" y="2448"/>
                  </a:lnTo>
                  <a:lnTo>
                    <a:pt x="288" y="2454"/>
                  </a:lnTo>
                  <a:lnTo>
                    <a:pt x="288" y="2466"/>
                  </a:lnTo>
                  <a:lnTo>
                    <a:pt x="282" y="2472"/>
                  </a:lnTo>
                  <a:lnTo>
                    <a:pt x="282" y="2490"/>
                  </a:lnTo>
                  <a:lnTo>
                    <a:pt x="330" y="2490"/>
                  </a:lnTo>
                  <a:lnTo>
                    <a:pt x="312" y="2532"/>
                  </a:lnTo>
                  <a:lnTo>
                    <a:pt x="324" y="2532"/>
                  </a:lnTo>
                  <a:lnTo>
                    <a:pt x="348" y="2508"/>
                  </a:lnTo>
                  <a:lnTo>
                    <a:pt x="342" y="2532"/>
                  </a:lnTo>
                  <a:lnTo>
                    <a:pt x="342" y="2538"/>
                  </a:lnTo>
                  <a:lnTo>
                    <a:pt x="348" y="2544"/>
                  </a:lnTo>
                  <a:lnTo>
                    <a:pt x="366" y="2580"/>
                  </a:lnTo>
                  <a:lnTo>
                    <a:pt x="366" y="2586"/>
                  </a:lnTo>
                  <a:lnTo>
                    <a:pt x="372" y="2586"/>
                  </a:lnTo>
                  <a:close/>
                  <a:moveTo>
                    <a:pt x="246" y="2082"/>
                  </a:moveTo>
                  <a:lnTo>
                    <a:pt x="246" y="2034"/>
                  </a:lnTo>
                  <a:lnTo>
                    <a:pt x="216" y="2004"/>
                  </a:lnTo>
                  <a:lnTo>
                    <a:pt x="234" y="1992"/>
                  </a:lnTo>
                  <a:lnTo>
                    <a:pt x="210" y="1968"/>
                  </a:lnTo>
                  <a:lnTo>
                    <a:pt x="174" y="1956"/>
                  </a:lnTo>
                  <a:lnTo>
                    <a:pt x="174" y="1986"/>
                  </a:lnTo>
                  <a:lnTo>
                    <a:pt x="180" y="1998"/>
                  </a:lnTo>
                  <a:lnTo>
                    <a:pt x="180" y="2004"/>
                  </a:lnTo>
                  <a:lnTo>
                    <a:pt x="192" y="2016"/>
                  </a:lnTo>
                  <a:lnTo>
                    <a:pt x="198" y="2028"/>
                  </a:lnTo>
                  <a:lnTo>
                    <a:pt x="204" y="2034"/>
                  </a:lnTo>
                  <a:lnTo>
                    <a:pt x="204" y="2046"/>
                  </a:lnTo>
                  <a:lnTo>
                    <a:pt x="198" y="2064"/>
                  </a:lnTo>
                  <a:lnTo>
                    <a:pt x="246" y="2082"/>
                  </a:lnTo>
                  <a:close/>
                  <a:moveTo>
                    <a:pt x="246" y="2178"/>
                  </a:moveTo>
                  <a:lnTo>
                    <a:pt x="258" y="2190"/>
                  </a:lnTo>
                  <a:lnTo>
                    <a:pt x="282" y="2190"/>
                  </a:lnTo>
                  <a:lnTo>
                    <a:pt x="294" y="2172"/>
                  </a:lnTo>
                  <a:lnTo>
                    <a:pt x="264" y="2178"/>
                  </a:lnTo>
                  <a:lnTo>
                    <a:pt x="246" y="2178"/>
                  </a:lnTo>
                  <a:close/>
                  <a:moveTo>
                    <a:pt x="282" y="2220"/>
                  </a:moveTo>
                  <a:lnTo>
                    <a:pt x="282" y="2238"/>
                  </a:lnTo>
                  <a:lnTo>
                    <a:pt x="306" y="2256"/>
                  </a:lnTo>
                  <a:lnTo>
                    <a:pt x="306" y="2232"/>
                  </a:lnTo>
                  <a:lnTo>
                    <a:pt x="294" y="2208"/>
                  </a:lnTo>
                  <a:lnTo>
                    <a:pt x="258" y="2208"/>
                  </a:lnTo>
                  <a:lnTo>
                    <a:pt x="282" y="2220"/>
                  </a:lnTo>
                  <a:close/>
                  <a:moveTo>
                    <a:pt x="318" y="2190"/>
                  </a:moveTo>
                  <a:lnTo>
                    <a:pt x="324" y="2184"/>
                  </a:lnTo>
                  <a:lnTo>
                    <a:pt x="336" y="2178"/>
                  </a:lnTo>
                  <a:lnTo>
                    <a:pt x="348" y="2166"/>
                  </a:lnTo>
                  <a:lnTo>
                    <a:pt x="336" y="2154"/>
                  </a:lnTo>
                  <a:lnTo>
                    <a:pt x="324" y="2154"/>
                  </a:lnTo>
                  <a:lnTo>
                    <a:pt x="312" y="2160"/>
                  </a:lnTo>
                  <a:lnTo>
                    <a:pt x="306" y="2166"/>
                  </a:lnTo>
                  <a:lnTo>
                    <a:pt x="306" y="2184"/>
                  </a:lnTo>
                  <a:lnTo>
                    <a:pt x="312" y="2190"/>
                  </a:lnTo>
                  <a:lnTo>
                    <a:pt x="318" y="2190"/>
                  </a:lnTo>
                  <a:close/>
                  <a:moveTo>
                    <a:pt x="252" y="2112"/>
                  </a:moveTo>
                  <a:lnTo>
                    <a:pt x="240" y="2118"/>
                  </a:lnTo>
                  <a:lnTo>
                    <a:pt x="240" y="2136"/>
                  </a:lnTo>
                  <a:lnTo>
                    <a:pt x="252" y="2136"/>
                  </a:lnTo>
                  <a:lnTo>
                    <a:pt x="264" y="2124"/>
                  </a:lnTo>
                  <a:lnTo>
                    <a:pt x="264" y="2106"/>
                  </a:lnTo>
                  <a:lnTo>
                    <a:pt x="258" y="2106"/>
                  </a:lnTo>
                  <a:lnTo>
                    <a:pt x="252" y="2112"/>
                  </a:lnTo>
                  <a:close/>
                  <a:moveTo>
                    <a:pt x="234" y="2154"/>
                  </a:moveTo>
                  <a:lnTo>
                    <a:pt x="216" y="2154"/>
                  </a:lnTo>
                  <a:lnTo>
                    <a:pt x="228" y="2178"/>
                  </a:lnTo>
                  <a:lnTo>
                    <a:pt x="234" y="2154"/>
                  </a:lnTo>
                  <a:close/>
                  <a:moveTo>
                    <a:pt x="714" y="2874"/>
                  </a:moveTo>
                  <a:lnTo>
                    <a:pt x="726" y="2874"/>
                  </a:lnTo>
                  <a:lnTo>
                    <a:pt x="726" y="2886"/>
                  </a:lnTo>
                  <a:lnTo>
                    <a:pt x="768" y="2886"/>
                  </a:lnTo>
                  <a:lnTo>
                    <a:pt x="774" y="2880"/>
                  </a:lnTo>
                  <a:lnTo>
                    <a:pt x="774" y="2874"/>
                  </a:lnTo>
                  <a:lnTo>
                    <a:pt x="744" y="2844"/>
                  </a:lnTo>
                  <a:lnTo>
                    <a:pt x="744" y="2808"/>
                  </a:lnTo>
                  <a:lnTo>
                    <a:pt x="786" y="2802"/>
                  </a:lnTo>
                  <a:lnTo>
                    <a:pt x="780" y="2790"/>
                  </a:lnTo>
                  <a:lnTo>
                    <a:pt x="804" y="2790"/>
                  </a:lnTo>
                  <a:lnTo>
                    <a:pt x="816" y="2772"/>
                  </a:lnTo>
                  <a:lnTo>
                    <a:pt x="792" y="2754"/>
                  </a:lnTo>
                  <a:lnTo>
                    <a:pt x="696" y="2754"/>
                  </a:lnTo>
                  <a:lnTo>
                    <a:pt x="684" y="2760"/>
                  </a:lnTo>
                  <a:lnTo>
                    <a:pt x="672" y="2760"/>
                  </a:lnTo>
                  <a:lnTo>
                    <a:pt x="654" y="2742"/>
                  </a:lnTo>
                  <a:lnTo>
                    <a:pt x="618" y="2724"/>
                  </a:lnTo>
                  <a:lnTo>
                    <a:pt x="606" y="2706"/>
                  </a:lnTo>
                  <a:lnTo>
                    <a:pt x="588" y="2682"/>
                  </a:lnTo>
                  <a:lnTo>
                    <a:pt x="588" y="2658"/>
                  </a:lnTo>
                  <a:lnTo>
                    <a:pt x="576" y="2646"/>
                  </a:lnTo>
                  <a:lnTo>
                    <a:pt x="564" y="2640"/>
                  </a:lnTo>
                  <a:lnTo>
                    <a:pt x="546" y="2640"/>
                  </a:lnTo>
                  <a:lnTo>
                    <a:pt x="534" y="2652"/>
                  </a:lnTo>
                  <a:lnTo>
                    <a:pt x="528" y="2652"/>
                  </a:lnTo>
                  <a:lnTo>
                    <a:pt x="516" y="2646"/>
                  </a:lnTo>
                  <a:lnTo>
                    <a:pt x="510" y="2640"/>
                  </a:lnTo>
                  <a:lnTo>
                    <a:pt x="510" y="2628"/>
                  </a:lnTo>
                  <a:lnTo>
                    <a:pt x="504" y="2622"/>
                  </a:lnTo>
                  <a:lnTo>
                    <a:pt x="504" y="2616"/>
                  </a:lnTo>
                  <a:lnTo>
                    <a:pt x="474" y="2610"/>
                  </a:lnTo>
                  <a:lnTo>
                    <a:pt x="474" y="2574"/>
                  </a:lnTo>
                  <a:lnTo>
                    <a:pt x="468" y="2568"/>
                  </a:lnTo>
                  <a:lnTo>
                    <a:pt x="462" y="2556"/>
                  </a:lnTo>
                  <a:lnTo>
                    <a:pt x="462" y="2544"/>
                  </a:lnTo>
                  <a:lnTo>
                    <a:pt x="474" y="2538"/>
                  </a:lnTo>
                  <a:lnTo>
                    <a:pt x="474" y="2514"/>
                  </a:lnTo>
                  <a:lnTo>
                    <a:pt x="480" y="2514"/>
                  </a:lnTo>
                  <a:lnTo>
                    <a:pt x="486" y="2508"/>
                  </a:lnTo>
                  <a:lnTo>
                    <a:pt x="492" y="2508"/>
                  </a:lnTo>
                  <a:lnTo>
                    <a:pt x="498" y="2502"/>
                  </a:lnTo>
                  <a:lnTo>
                    <a:pt x="498" y="2496"/>
                  </a:lnTo>
                  <a:lnTo>
                    <a:pt x="474" y="2472"/>
                  </a:lnTo>
                  <a:lnTo>
                    <a:pt x="480" y="2466"/>
                  </a:lnTo>
                  <a:lnTo>
                    <a:pt x="492" y="2460"/>
                  </a:lnTo>
                  <a:lnTo>
                    <a:pt x="498" y="2460"/>
                  </a:lnTo>
                  <a:lnTo>
                    <a:pt x="498" y="2454"/>
                  </a:lnTo>
                  <a:lnTo>
                    <a:pt x="474" y="2430"/>
                  </a:lnTo>
                  <a:lnTo>
                    <a:pt x="468" y="2430"/>
                  </a:lnTo>
                  <a:lnTo>
                    <a:pt x="474" y="2388"/>
                  </a:lnTo>
                  <a:lnTo>
                    <a:pt x="486" y="2382"/>
                  </a:lnTo>
                  <a:lnTo>
                    <a:pt x="474" y="2358"/>
                  </a:lnTo>
                  <a:lnTo>
                    <a:pt x="480" y="2322"/>
                  </a:lnTo>
                  <a:lnTo>
                    <a:pt x="456" y="2298"/>
                  </a:lnTo>
                  <a:lnTo>
                    <a:pt x="462" y="2274"/>
                  </a:lnTo>
                  <a:lnTo>
                    <a:pt x="438" y="2256"/>
                  </a:lnTo>
                  <a:lnTo>
                    <a:pt x="450" y="2244"/>
                  </a:lnTo>
                  <a:lnTo>
                    <a:pt x="456" y="2232"/>
                  </a:lnTo>
                  <a:lnTo>
                    <a:pt x="462" y="2226"/>
                  </a:lnTo>
                  <a:lnTo>
                    <a:pt x="438" y="2202"/>
                  </a:lnTo>
                  <a:lnTo>
                    <a:pt x="426" y="2202"/>
                  </a:lnTo>
                  <a:lnTo>
                    <a:pt x="420" y="2196"/>
                  </a:lnTo>
                  <a:lnTo>
                    <a:pt x="408" y="2190"/>
                  </a:lnTo>
                  <a:lnTo>
                    <a:pt x="402" y="2190"/>
                  </a:lnTo>
                  <a:lnTo>
                    <a:pt x="396" y="2184"/>
                  </a:lnTo>
                  <a:lnTo>
                    <a:pt x="414" y="2184"/>
                  </a:lnTo>
                  <a:lnTo>
                    <a:pt x="426" y="2178"/>
                  </a:lnTo>
                  <a:lnTo>
                    <a:pt x="438" y="2178"/>
                  </a:lnTo>
                  <a:lnTo>
                    <a:pt x="444" y="2172"/>
                  </a:lnTo>
                  <a:lnTo>
                    <a:pt x="444" y="2166"/>
                  </a:lnTo>
                  <a:lnTo>
                    <a:pt x="432" y="2160"/>
                  </a:lnTo>
                  <a:lnTo>
                    <a:pt x="402" y="2160"/>
                  </a:lnTo>
                  <a:lnTo>
                    <a:pt x="390" y="2148"/>
                  </a:lnTo>
                  <a:lnTo>
                    <a:pt x="390" y="2118"/>
                  </a:lnTo>
                  <a:lnTo>
                    <a:pt x="384" y="2106"/>
                  </a:lnTo>
                  <a:lnTo>
                    <a:pt x="384" y="2100"/>
                  </a:lnTo>
                  <a:lnTo>
                    <a:pt x="378" y="2094"/>
                  </a:lnTo>
                  <a:lnTo>
                    <a:pt x="366" y="2088"/>
                  </a:lnTo>
                  <a:lnTo>
                    <a:pt x="360" y="2088"/>
                  </a:lnTo>
                  <a:lnTo>
                    <a:pt x="366" y="2058"/>
                  </a:lnTo>
                  <a:lnTo>
                    <a:pt x="342" y="2046"/>
                  </a:lnTo>
                  <a:lnTo>
                    <a:pt x="336" y="2040"/>
                  </a:lnTo>
                  <a:lnTo>
                    <a:pt x="336" y="2028"/>
                  </a:lnTo>
                  <a:lnTo>
                    <a:pt x="330" y="2016"/>
                  </a:lnTo>
                  <a:lnTo>
                    <a:pt x="330" y="1998"/>
                  </a:lnTo>
                  <a:lnTo>
                    <a:pt x="324" y="1986"/>
                  </a:lnTo>
                  <a:lnTo>
                    <a:pt x="324" y="1974"/>
                  </a:lnTo>
                  <a:lnTo>
                    <a:pt x="330" y="1968"/>
                  </a:lnTo>
                  <a:lnTo>
                    <a:pt x="342" y="1962"/>
                  </a:lnTo>
                  <a:lnTo>
                    <a:pt x="348" y="1962"/>
                  </a:lnTo>
                  <a:lnTo>
                    <a:pt x="336" y="1950"/>
                  </a:lnTo>
                  <a:lnTo>
                    <a:pt x="324" y="1944"/>
                  </a:lnTo>
                  <a:lnTo>
                    <a:pt x="306" y="1926"/>
                  </a:lnTo>
                  <a:lnTo>
                    <a:pt x="300" y="1914"/>
                  </a:lnTo>
                  <a:lnTo>
                    <a:pt x="300" y="1890"/>
                  </a:lnTo>
                  <a:lnTo>
                    <a:pt x="294" y="1878"/>
                  </a:lnTo>
                  <a:lnTo>
                    <a:pt x="288" y="1872"/>
                  </a:lnTo>
                  <a:lnTo>
                    <a:pt x="288" y="1842"/>
                  </a:lnTo>
                  <a:lnTo>
                    <a:pt x="294" y="1836"/>
                  </a:lnTo>
                  <a:lnTo>
                    <a:pt x="294" y="1824"/>
                  </a:lnTo>
                  <a:lnTo>
                    <a:pt x="276" y="1812"/>
                  </a:lnTo>
                  <a:lnTo>
                    <a:pt x="276" y="1806"/>
                  </a:lnTo>
                  <a:lnTo>
                    <a:pt x="282" y="1794"/>
                  </a:lnTo>
                  <a:lnTo>
                    <a:pt x="282" y="1788"/>
                  </a:lnTo>
                  <a:lnTo>
                    <a:pt x="264" y="1770"/>
                  </a:lnTo>
                  <a:lnTo>
                    <a:pt x="282" y="1758"/>
                  </a:lnTo>
                  <a:lnTo>
                    <a:pt x="270" y="1716"/>
                  </a:lnTo>
                  <a:lnTo>
                    <a:pt x="276" y="1716"/>
                  </a:lnTo>
                  <a:lnTo>
                    <a:pt x="282" y="1710"/>
                  </a:lnTo>
                  <a:lnTo>
                    <a:pt x="294" y="1704"/>
                  </a:lnTo>
                  <a:lnTo>
                    <a:pt x="300" y="1692"/>
                  </a:lnTo>
                  <a:lnTo>
                    <a:pt x="300" y="1686"/>
                  </a:lnTo>
                  <a:lnTo>
                    <a:pt x="282" y="1668"/>
                  </a:lnTo>
                  <a:lnTo>
                    <a:pt x="276" y="1668"/>
                  </a:lnTo>
                  <a:lnTo>
                    <a:pt x="276" y="1650"/>
                  </a:lnTo>
                  <a:lnTo>
                    <a:pt x="246" y="1626"/>
                  </a:lnTo>
                  <a:lnTo>
                    <a:pt x="246" y="1578"/>
                  </a:lnTo>
                  <a:lnTo>
                    <a:pt x="240" y="1566"/>
                  </a:lnTo>
                  <a:lnTo>
                    <a:pt x="234" y="1548"/>
                  </a:lnTo>
                  <a:lnTo>
                    <a:pt x="234" y="1536"/>
                  </a:lnTo>
                  <a:lnTo>
                    <a:pt x="228" y="1530"/>
                  </a:lnTo>
                  <a:lnTo>
                    <a:pt x="228" y="1524"/>
                  </a:lnTo>
                  <a:lnTo>
                    <a:pt x="252" y="1518"/>
                  </a:lnTo>
                  <a:lnTo>
                    <a:pt x="258" y="1500"/>
                  </a:lnTo>
                  <a:lnTo>
                    <a:pt x="258" y="1494"/>
                  </a:lnTo>
                  <a:lnTo>
                    <a:pt x="264" y="1482"/>
                  </a:lnTo>
                  <a:lnTo>
                    <a:pt x="264" y="1470"/>
                  </a:lnTo>
                  <a:lnTo>
                    <a:pt x="258" y="1464"/>
                  </a:lnTo>
                  <a:lnTo>
                    <a:pt x="252" y="1452"/>
                  </a:lnTo>
                  <a:lnTo>
                    <a:pt x="246" y="1446"/>
                  </a:lnTo>
                  <a:lnTo>
                    <a:pt x="240" y="1434"/>
                  </a:lnTo>
                  <a:lnTo>
                    <a:pt x="234" y="1428"/>
                  </a:lnTo>
                  <a:lnTo>
                    <a:pt x="246" y="1428"/>
                  </a:lnTo>
                  <a:lnTo>
                    <a:pt x="246" y="1398"/>
                  </a:lnTo>
                  <a:lnTo>
                    <a:pt x="252" y="1380"/>
                  </a:lnTo>
                  <a:lnTo>
                    <a:pt x="252" y="1356"/>
                  </a:lnTo>
                  <a:lnTo>
                    <a:pt x="270" y="1338"/>
                  </a:lnTo>
                  <a:lnTo>
                    <a:pt x="270" y="1332"/>
                  </a:lnTo>
                  <a:lnTo>
                    <a:pt x="264" y="1320"/>
                  </a:lnTo>
                  <a:lnTo>
                    <a:pt x="258" y="1314"/>
                  </a:lnTo>
                  <a:lnTo>
                    <a:pt x="252" y="1302"/>
                  </a:lnTo>
                  <a:lnTo>
                    <a:pt x="246" y="1260"/>
                  </a:lnTo>
                  <a:lnTo>
                    <a:pt x="222" y="1260"/>
                  </a:lnTo>
                  <a:lnTo>
                    <a:pt x="210" y="1248"/>
                  </a:lnTo>
                  <a:lnTo>
                    <a:pt x="210" y="1236"/>
                  </a:lnTo>
                  <a:lnTo>
                    <a:pt x="216" y="1230"/>
                  </a:lnTo>
                  <a:lnTo>
                    <a:pt x="210" y="1218"/>
                  </a:lnTo>
                  <a:lnTo>
                    <a:pt x="198" y="1188"/>
                  </a:lnTo>
                  <a:lnTo>
                    <a:pt x="180" y="1170"/>
                  </a:lnTo>
                  <a:lnTo>
                    <a:pt x="180" y="1164"/>
                  </a:lnTo>
                  <a:lnTo>
                    <a:pt x="186" y="1158"/>
                  </a:lnTo>
                  <a:lnTo>
                    <a:pt x="186" y="1146"/>
                  </a:lnTo>
                  <a:lnTo>
                    <a:pt x="168" y="1128"/>
                  </a:lnTo>
                  <a:lnTo>
                    <a:pt x="156" y="1122"/>
                  </a:lnTo>
                  <a:lnTo>
                    <a:pt x="156" y="1116"/>
                  </a:lnTo>
                  <a:lnTo>
                    <a:pt x="150" y="1110"/>
                  </a:lnTo>
                  <a:lnTo>
                    <a:pt x="150" y="1086"/>
                  </a:lnTo>
                  <a:lnTo>
                    <a:pt x="156" y="1086"/>
                  </a:lnTo>
                  <a:lnTo>
                    <a:pt x="168" y="1080"/>
                  </a:lnTo>
                  <a:lnTo>
                    <a:pt x="162" y="1026"/>
                  </a:lnTo>
                  <a:lnTo>
                    <a:pt x="186" y="1026"/>
                  </a:lnTo>
                  <a:lnTo>
                    <a:pt x="186" y="1020"/>
                  </a:lnTo>
                  <a:lnTo>
                    <a:pt x="180" y="1008"/>
                  </a:lnTo>
                  <a:lnTo>
                    <a:pt x="168" y="972"/>
                  </a:lnTo>
                  <a:lnTo>
                    <a:pt x="156" y="948"/>
                  </a:lnTo>
                  <a:lnTo>
                    <a:pt x="156" y="936"/>
                  </a:lnTo>
                  <a:lnTo>
                    <a:pt x="168" y="924"/>
                  </a:lnTo>
                  <a:lnTo>
                    <a:pt x="168" y="858"/>
                  </a:lnTo>
                  <a:lnTo>
                    <a:pt x="174" y="852"/>
                  </a:lnTo>
                  <a:lnTo>
                    <a:pt x="180" y="840"/>
                  </a:lnTo>
                  <a:lnTo>
                    <a:pt x="192" y="828"/>
                  </a:lnTo>
                  <a:lnTo>
                    <a:pt x="192" y="816"/>
                  </a:lnTo>
                  <a:lnTo>
                    <a:pt x="198" y="804"/>
                  </a:lnTo>
                  <a:lnTo>
                    <a:pt x="198" y="792"/>
                  </a:lnTo>
                  <a:lnTo>
                    <a:pt x="204" y="774"/>
                  </a:lnTo>
                  <a:lnTo>
                    <a:pt x="204" y="762"/>
                  </a:lnTo>
                  <a:lnTo>
                    <a:pt x="222" y="762"/>
                  </a:lnTo>
                  <a:lnTo>
                    <a:pt x="228" y="756"/>
                  </a:lnTo>
                  <a:lnTo>
                    <a:pt x="240" y="750"/>
                  </a:lnTo>
                  <a:lnTo>
                    <a:pt x="240" y="738"/>
                  </a:lnTo>
                  <a:lnTo>
                    <a:pt x="234" y="726"/>
                  </a:lnTo>
                  <a:lnTo>
                    <a:pt x="210" y="714"/>
                  </a:lnTo>
                  <a:lnTo>
                    <a:pt x="204" y="708"/>
                  </a:lnTo>
                  <a:lnTo>
                    <a:pt x="198" y="708"/>
                  </a:lnTo>
                  <a:lnTo>
                    <a:pt x="204" y="708"/>
                  </a:lnTo>
                  <a:lnTo>
                    <a:pt x="216" y="696"/>
                  </a:lnTo>
                  <a:lnTo>
                    <a:pt x="222" y="684"/>
                  </a:lnTo>
                  <a:lnTo>
                    <a:pt x="228" y="678"/>
                  </a:lnTo>
                  <a:lnTo>
                    <a:pt x="222" y="666"/>
                  </a:lnTo>
                  <a:lnTo>
                    <a:pt x="210" y="654"/>
                  </a:lnTo>
                  <a:lnTo>
                    <a:pt x="198" y="648"/>
                  </a:lnTo>
                  <a:lnTo>
                    <a:pt x="192" y="642"/>
                  </a:lnTo>
                  <a:lnTo>
                    <a:pt x="192" y="624"/>
                  </a:lnTo>
                  <a:lnTo>
                    <a:pt x="216" y="600"/>
                  </a:lnTo>
                  <a:lnTo>
                    <a:pt x="216" y="594"/>
                  </a:lnTo>
                  <a:lnTo>
                    <a:pt x="204" y="594"/>
                  </a:lnTo>
                  <a:lnTo>
                    <a:pt x="192" y="588"/>
                  </a:lnTo>
                  <a:lnTo>
                    <a:pt x="186" y="582"/>
                  </a:lnTo>
                  <a:lnTo>
                    <a:pt x="186" y="576"/>
                  </a:lnTo>
                  <a:lnTo>
                    <a:pt x="192" y="570"/>
                  </a:lnTo>
                  <a:lnTo>
                    <a:pt x="198" y="558"/>
                  </a:lnTo>
                  <a:lnTo>
                    <a:pt x="210" y="552"/>
                  </a:lnTo>
                  <a:lnTo>
                    <a:pt x="222" y="540"/>
                  </a:lnTo>
                  <a:lnTo>
                    <a:pt x="240" y="534"/>
                  </a:lnTo>
                  <a:lnTo>
                    <a:pt x="252" y="528"/>
                  </a:lnTo>
                  <a:lnTo>
                    <a:pt x="258" y="522"/>
                  </a:lnTo>
                  <a:lnTo>
                    <a:pt x="264" y="522"/>
                  </a:lnTo>
                  <a:lnTo>
                    <a:pt x="276" y="438"/>
                  </a:lnTo>
                  <a:lnTo>
                    <a:pt x="264" y="420"/>
                  </a:lnTo>
                  <a:lnTo>
                    <a:pt x="222" y="420"/>
                  </a:lnTo>
                  <a:lnTo>
                    <a:pt x="216" y="408"/>
                  </a:lnTo>
                  <a:lnTo>
                    <a:pt x="216" y="384"/>
                  </a:lnTo>
                  <a:lnTo>
                    <a:pt x="192" y="360"/>
                  </a:lnTo>
                  <a:lnTo>
                    <a:pt x="192" y="294"/>
                  </a:lnTo>
                  <a:lnTo>
                    <a:pt x="186" y="288"/>
                  </a:lnTo>
                  <a:lnTo>
                    <a:pt x="174" y="282"/>
                  </a:lnTo>
                  <a:lnTo>
                    <a:pt x="168" y="276"/>
                  </a:lnTo>
                  <a:lnTo>
                    <a:pt x="156" y="270"/>
                  </a:lnTo>
                  <a:lnTo>
                    <a:pt x="150" y="264"/>
                  </a:lnTo>
                  <a:lnTo>
                    <a:pt x="144" y="264"/>
                  </a:lnTo>
                  <a:lnTo>
                    <a:pt x="144" y="240"/>
                  </a:lnTo>
                  <a:lnTo>
                    <a:pt x="138" y="234"/>
                  </a:lnTo>
                  <a:lnTo>
                    <a:pt x="132" y="222"/>
                  </a:lnTo>
                  <a:lnTo>
                    <a:pt x="132" y="210"/>
                  </a:lnTo>
                  <a:lnTo>
                    <a:pt x="138" y="204"/>
                  </a:lnTo>
                  <a:lnTo>
                    <a:pt x="144" y="192"/>
                  </a:lnTo>
                  <a:lnTo>
                    <a:pt x="150" y="186"/>
                  </a:lnTo>
                  <a:lnTo>
                    <a:pt x="132" y="168"/>
                  </a:lnTo>
                  <a:lnTo>
                    <a:pt x="144" y="156"/>
                  </a:lnTo>
                  <a:lnTo>
                    <a:pt x="150" y="144"/>
                  </a:lnTo>
                  <a:lnTo>
                    <a:pt x="150" y="138"/>
                  </a:lnTo>
                  <a:lnTo>
                    <a:pt x="144" y="126"/>
                  </a:lnTo>
                  <a:lnTo>
                    <a:pt x="120" y="114"/>
                  </a:lnTo>
                  <a:lnTo>
                    <a:pt x="114" y="114"/>
                  </a:lnTo>
                  <a:lnTo>
                    <a:pt x="102" y="108"/>
                  </a:lnTo>
                  <a:lnTo>
                    <a:pt x="90" y="30"/>
                  </a:lnTo>
                  <a:lnTo>
                    <a:pt x="66" y="30"/>
                  </a:lnTo>
                  <a:lnTo>
                    <a:pt x="48" y="0"/>
                  </a:lnTo>
                  <a:lnTo>
                    <a:pt x="36" y="6"/>
                  </a:lnTo>
                  <a:lnTo>
                    <a:pt x="42" y="18"/>
                  </a:lnTo>
                  <a:lnTo>
                    <a:pt x="42" y="36"/>
                  </a:lnTo>
                  <a:lnTo>
                    <a:pt x="36" y="42"/>
                  </a:lnTo>
                  <a:lnTo>
                    <a:pt x="0" y="66"/>
                  </a:lnTo>
                  <a:lnTo>
                    <a:pt x="0" y="108"/>
                  </a:lnTo>
                  <a:lnTo>
                    <a:pt x="24" y="156"/>
                  </a:lnTo>
                  <a:lnTo>
                    <a:pt x="30" y="174"/>
                  </a:lnTo>
                  <a:lnTo>
                    <a:pt x="36" y="228"/>
                  </a:lnTo>
                  <a:lnTo>
                    <a:pt x="36" y="282"/>
                  </a:lnTo>
                  <a:lnTo>
                    <a:pt x="48" y="318"/>
                  </a:lnTo>
                  <a:lnTo>
                    <a:pt x="48" y="360"/>
                  </a:lnTo>
                  <a:lnTo>
                    <a:pt x="54" y="384"/>
                  </a:lnTo>
                  <a:lnTo>
                    <a:pt x="54" y="432"/>
                  </a:lnTo>
                  <a:lnTo>
                    <a:pt x="30" y="444"/>
                  </a:lnTo>
                  <a:lnTo>
                    <a:pt x="36" y="474"/>
                  </a:lnTo>
                  <a:lnTo>
                    <a:pt x="54" y="486"/>
                  </a:lnTo>
                  <a:lnTo>
                    <a:pt x="48" y="582"/>
                  </a:lnTo>
                  <a:lnTo>
                    <a:pt x="72" y="624"/>
                  </a:lnTo>
                  <a:lnTo>
                    <a:pt x="54" y="642"/>
                  </a:lnTo>
                  <a:lnTo>
                    <a:pt x="60" y="702"/>
                  </a:lnTo>
                  <a:lnTo>
                    <a:pt x="66" y="708"/>
                  </a:lnTo>
                  <a:lnTo>
                    <a:pt x="78" y="732"/>
                  </a:lnTo>
                  <a:lnTo>
                    <a:pt x="78" y="744"/>
                  </a:lnTo>
                  <a:lnTo>
                    <a:pt x="72" y="756"/>
                  </a:lnTo>
                  <a:lnTo>
                    <a:pt x="66" y="762"/>
                  </a:lnTo>
                  <a:lnTo>
                    <a:pt x="60" y="762"/>
                  </a:lnTo>
                  <a:lnTo>
                    <a:pt x="60" y="792"/>
                  </a:lnTo>
                  <a:lnTo>
                    <a:pt x="72" y="810"/>
                  </a:lnTo>
                  <a:lnTo>
                    <a:pt x="60" y="822"/>
                  </a:lnTo>
                  <a:lnTo>
                    <a:pt x="48" y="846"/>
                  </a:lnTo>
                  <a:lnTo>
                    <a:pt x="48" y="852"/>
                  </a:lnTo>
                  <a:lnTo>
                    <a:pt x="60" y="852"/>
                  </a:lnTo>
                  <a:lnTo>
                    <a:pt x="60" y="864"/>
                  </a:lnTo>
                  <a:lnTo>
                    <a:pt x="66" y="870"/>
                  </a:lnTo>
                  <a:lnTo>
                    <a:pt x="66" y="888"/>
                  </a:lnTo>
                  <a:lnTo>
                    <a:pt x="54" y="900"/>
                  </a:lnTo>
                  <a:lnTo>
                    <a:pt x="54" y="906"/>
                  </a:lnTo>
                  <a:lnTo>
                    <a:pt x="48" y="912"/>
                  </a:lnTo>
                  <a:lnTo>
                    <a:pt x="48" y="936"/>
                  </a:lnTo>
                  <a:lnTo>
                    <a:pt x="54" y="948"/>
                  </a:lnTo>
                  <a:lnTo>
                    <a:pt x="60" y="954"/>
                  </a:lnTo>
                  <a:lnTo>
                    <a:pt x="66" y="954"/>
                  </a:lnTo>
                  <a:lnTo>
                    <a:pt x="78" y="966"/>
                  </a:lnTo>
                  <a:lnTo>
                    <a:pt x="78" y="1020"/>
                  </a:lnTo>
                  <a:lnTo>
                    <a:pt x="60" y="1020"/>
                  </a:lnTo>
                  <a:lnTo>
                    <a:pt x="60" y="1044"/>
                  </a:lnTo>
                  <a:lnTo>
                    <a:pt x="66" y="1056"/>
                  </a:lnTo>
                  <a:lnTo>
                    <a:pt x="90" y="1128"/>
                  </a:lnTo>
                  <a:lnTo>
                    <a:pt x="96" y="1140"/>
                  </a:lnTo>
                  <a:lnTo>
                    <a:pt x="102" y="1146"/>
                  </a:lnTo>
                  <a:lnTo>
                    <a:pt x="102" y="1164"/>
                  </a:lnTo>
                  <a:lnTo>
                    <a:pt x="108" y="1170"/>
                  </a:lnTo>
                  <a:lnTo>
                    <a:pt x="114" y="1182"/>
                  </a:lnTo>
                  <a:lnTo>
                    <a:pt x="120" y="1188"/>
                  </a:lnTo>
                  <a:lnTo>
                    <a:pt x="120" y="1236"/>
                  </a:lnTo>
                  <a:lnTo>
                    <a:pt x="114" y="1266"/>
                  </a:lnTo>
                  <a:lnTo>
                    <a:pt x="138" y="1290"/>
                  </a:lnTo>
                  <a:lnTo>
                    <a:pt x="138" y="1296"/>
                  </a:lnTo>
                  <a:lnTo>
                    <a:pt x="132" y="1302"/>
                  </a:lnTo>
                  <a:lnTo>
                    <a:pt x="126" y="1314"/>
                  </a:lnTo>
                  <a:lnTo>
                    <a:pt x="126" y="1326"/>
                  </a:lnTo>
                  <a:lnTo>
                    <a:pt x="120" y="1338"/>
                  </a:lnTo>
                  <a:lnTo>
                    <a:pt x="120" y="1416"/>
                  </a:lnTo>
                  <a:lnTo>
                    <a:pt x="102" y="1452"/>
                  </a:lnTo>
                  <a:lnTo>
                    <a:pt x="114" y="1464"/>
                  </a:lnTo>
                  <a:lnTo>
                    <a:pt x="114" y="1470"/>
                  </a:lnTo>
                  <a:lnTo>
                    <a:pt x="108" y="1476"/>
                  </a:lnTo>
                  <a:lnTo>
                    <a:pt x="108" y="1536"/>
                  </a:lnTo>
                  <a:lnTo>
                    <a:pt x="102" y="1554"/>
                  </a:lnTo>
                  <a:lnTo>
                    <a:pt x="102" y="1578"/>
                  </a:lnTo>
                  <a:lnTo>
                    <a:pt x="84" y="1584"/>
                  </a:lnTo>
                  <a:lnTo>
                    <a:pt x="84" y="1608"/>
                  </a:lnTo>
                  <a:lnTo>
                    <a:pt x="108" y="1650"/>
                  </a:lnTo>
                  <a:lnTo>
                    <a:pt x="108" y="1692"/>
                  </a:lnTo>
                  <a:lnTo>
                    <a:pt x="114" y="1704"/>
                  </a:lnTo>
                  <a:lnTo>
                    <a:pt x="144" y="1734"/>
                  </a:lnTo>
                  <a:lnTo>
                    <a:pt x="156" y="1758"/>
                  </a:lnTo>
                  <a:lnTo>
                    <a:pt x="156" y="1800"/>
                  </a:lnTo>
                  <a:lnTo>
                    <a:pt x="150" y="1812"/>
                  </a:lnTo>
                  <a:lnTo>
                    <a:pt x="150" y="1824"/>
                  </a:lnTo>
                  <a:lnTo>
                    <a:pt x="162" y="1836"/>
                  </a:lnTo>
                  <a:lnTo>
                    <a:pt x="162" y="1896"/>
                  </a:lnTo>
                  <a:lnTo>
                    <a:pt x="168" y="1908"/>
                  </a:lnTo>
                  <a:lnTo>
                    <a:pt x="174" y="1914"/>
                  </a:lnTo>
                  <a:lnTo>
                    <a:pt x="186" y="1920"/>
                  </a:lnTo>
                  <a:lnTo>
                    <a:pt x="192" y="1926"/>
                  </a:lnTo>
                  <a:lnTo>
                    <a:pt x="198" y="1926"/>
                  </a:lnTo>
                  <a:lnTo>
                    <a:pt x="192" y="1944"/>
                  </a:lnTo>
                  <a:lnTo>
                    <a:pt x="234" y="1944"/>
                  </a:lnTo>
                  <a:lnTo>
                    <a:pt x="234" y="1914"/>
                  </a:lnTo>
                  <a:lnTo>
                    <a:pt x="246" y="1926"/>
                  </a:lnTo>
                  <a:lnTo>
                    <a:pt x="258" y="1932"/>
                  </a:lnTo>
                  <a:lnTo>
                    <a:pt x="270" y="1932"/>
                  </a:lnTo>
                  <a:lnTo>
                    <a:pt x="276" y="1926"/>
                  </a:lnTo>
                  <a:lnTo>
                    <a:pt x="276" y="1914"/>
                  </a:lnTo>
                  <a:lnTo>
                    <a:pt x="288" y="1932"/>
                  </a:lnTo>
                  <a:lnTo>
                    <a:pt x="282" y="1938"/>
                  </a:lnTo>
                  <a:lnTo>
                    <a:pt x="270" y="1944"/>
                  </a:lnTo>
                  <a:lnTo>
                    <a:pt x="264" y="1956"/>
                  </a:lnTo>
                  <a:lnTo>
                    <a:pt x="258" y="1962"/>
                  </a:lnTo>
                  <a:lnTo>
                    <a:pt x="258" y="1968"/>
                  </a:lnTo>
                  <a:lnTo>
                    <a:pt x="288" y="1968"/>
                  </a:lnTo>
                  <a:lnTo>
                    <a:pt x="294" y="1974"/>
                  </a:lnTo>
                  <a:lnTo>
                    <a:pt x="294" y="1992"/>
                  </a:lnTo>
                  <a:lnTo>
                    <a:pt x="270" y="1986"/>
                  </a:lnTo>
                  <a:lnTo>
                    <a:pt x="288" y="2010"/>
                  </a:lnTo>
                  <a:lnTo>
                    <a:pt x="276" y="2022"/>
                  </a:lnTo>
                  <a:lnTo>
                    <a:pt x="294" y="2046"/>
                  </a:lnTo>
                  <a:lnTo>
                    <a:pt x="276" y="2064"/>
                  </a:lnTo>
                  <a:lnTo>
                    <a:pt x="270" y="2076"/>
                  </a:lnTo>
                  <a:lnTo>
                    <a:pt x="270" y="2082"/>
                  </a:lnTo>
                  <a:lnTo>
                    <a:pt x="276" y="2088"/>
                  </a:lnTo>
                  <a:lnTo>
                    <a:pt x="282" y="2088"/>
                  </a:lnTo>
                  <a:lnTo>
                    <a:pt x="306" y="2100"/>
                  </a:lnTo>
                  <a:lnTo>
                    <a:pt x="318" y="2100"/>
                  </a:lnTo>
                  <a:lnTo>
                    <a:pt x="300" y="2118"/>
                  </a:lnTo>
                  <a:lnTo>
                    <a:pt x="300" y="2130"/>
                  </a:lnTo>
                  <a:lnTo>
                    <a:pt x="312" y="2136"/>
                  </a:lnTo>
                  <a:lnTo>
                    <a:pt x="318" y="2142"/>
                  </a:lnTo>
                  <a:lnTo>
                    <a:pt x="330" y="2148"/>
                  </a:lnTo>
                  <a:lnTo>
                    <a:pt x="354" y="2148"/>
                  </a:lnTo>
                  <a:lnTo>
                    <a:pt x="360" y="2184"/>
                  </a:lnTo>
                  <a:lnTo>
                    <a:pt x="354" y="2184"/>
                  </a:lnTo>
                  <a:lnTo>
                    <a:pt x="324" y="2214"/>
                  </a:lnTo>
                  <a:lnTo>
                    <a:pt x="324" y="2220"/>
                  </a:lnTo>
                  <a:lnTo>
                    <a:pt x="330" y="2226"/>
                  </a:lnTo>
                  <a:lnTo>
                    <a:pt x="354" y="2226"/>
                  </a:lnTo>
                  <a:lnTo>
                    <a:pt x="366" y="2232"/>
                  </a:lnTo>
                  <a:lnTo>
                    <a:pt x="378" y="2244"/>
                  </a:lnTo>
                  <a:lnTo>
                    <a:pt x="348" y="2244"/>
                  </a:lnTo>
                  <a:lnTo>
                    <a:pt x="342" y="2238"/>
                  </a:lnTo>
                  <a:lnTo>
                    <a:pt x="330" y="2238"/>
                  </a:lnTo>
                  <a:lnTo>
                    <a:pt x="324" y="2244"/>
                  </a:lnTo>
                  <a:lnTo>
                    <a:pt x="324" y="2250"/>
                  </a:lnTo>
                  <a:lnTo>
                    <a:pt x="354" y="2256"/>
                  </a:lnTo>
                  <a:lnTo>
                    <a:pt x="330" y="2268"/>
                  </a:lnTo>
                  <a:lnTo>
                    <a:pt x="336" y="2292"/>
                  </a:lnTo>
                  <a:lnTo>
                    <a:pt x="348" y="2292"/>
                  </a:lnTo>
                  <a:lnTo>
                    <a:pt x="348" y="2316"/>
                  </a:lnTo>
                  <a:lnTo>
                    <a:pt x="336" y="2328"/>
                  </a:lnTo>
                  <a:lnTo>
                    <a:pt x="336" y="2322"/>
                  </a:lnTo>
                  <a:lnTo>
                    <a:pt x="330" y="2316"/>
                  </a:lnTo>
                  <a:lnTo>
                    <a:pt x="324" y="2304"/>
                  </a:lnTo>
                  <a:lnTo>
                    <a:pt x="324" y="2298"/>
                  </a:lnTo>
                  <a:lnTo>
                    <a:pt x="288" y="2298"/>
                  </a:lnTo>
                  <a:lnTo>
                    <a:pt x="306" y="2292"/>
                  </a:lnTo>
                  <a:lnTo>
                    <a:pt x="282" y="2268"/>
                  </a:lnTo>
                  <a:lnTo>
                    <a:pt x="276" y="2268"/>
                  </a:lnTo>
                  <a:lnTo>
                    <a:pt x="276" y="2280"/>
                  </a:lnTo>
                  <a:lnTo>
                    <a:pt x="270" y="2268"/>
                  </a:lnTo>
                  <a:lnTo>
                    <a:pt x="228" y="2280"/>
                  </a:lnTo>
                  <a:lnTo>
                    <a:pt x="264" y="2286"/>
                  </a:lnTo>
                  <a:lnTo>
                    <a:pt x="258" y="2292"/>
                  </a:lnTo>
                  <a:lnTo>
                    <a:pt x="252" y="2304"/>
                  </a:lnTo>
                  <a:lnTo>
                    <a:pt x="246" y="2310"/>
                  </a:lnTo>
                  <a:lnTo>
                    <a:pt x="234" y="2316"/>
                  </a:lnTo>
                  <a:lnTo>
                    <a:pt x="228" y="2328"/>
                  </a:lnTo>
                  <a:lnTo>
                    <a:pt x="222" y="2334"/>
                  </a:lnTo>
                  <a:lnTo>
                    <a:pt x="222" y="2340"/>
                  </a:lnTo>
                  <a:lnTo>
                    <a:pt x="228" y="2346"/>
                  </a:lnTo>
                  <a:lnTo>
                    <a:pt x="240" y="2352"/>
                  </a:lnTo>
                  <a:lnTo>
                    <a:pt x="252" y="2352"/>
                  </a:lnTo>
                  <a:lnTo>
                    <a:pt x="252" y="2346"/>
                  </a:lnTo>
                  <a:lnTo>
                    <a:pt x="240" y="2334"/>
                  </a:lnTo>
                  <a:lnTo>
                    <a:pt x="264" y="2328"/>
                  </a:lnTo>
                  <a:lnTo>
                    <a:pt x="282" y="2346"/>
                  </a:lnTo>
                  <a:lnTo>
                    <a:pt x="324" y="2346"/>
                  </a:lnTo>
                  <a:lnTo>
                    <a:pt x="336" y="2352"/>
                  </a:lnTo>
                  <a:lnTo>
                    <a:pt x="342" y="2364"/>
                  </a:lnTo>
                  <a:lnTo>
                    <a:pt x="354" y="2370"/>
                  </a:lnTo>
                  <a:lnTo>
                    <a:pt x="354" y="2376"/>
                  </a:lnTo>
                  <a:lnTo>
                    <a:pt x="336" y="2394"/>
                  </a:lnTo>
                  <a:lnTo>
                    <a:pt x="342" y="2406"/>
                  </a:lnTo>
                  <a:lnTo>
                    <a:pt x="360" y="2406"/>
                  </a:lnTo>
                  <a:lnTo>
                    <a:pt x="360" y="2418"/>
                  </a:lnTo>
                  <a:lnTo>
                    <a:pt x="378" y="2424"/>
                  </a:lnTo>
                  <a:lnTo>
                    <a:pt x="384" y="2406"/>
                  </a:lnTo>
                  <a:lnTo>
                    <a:pt x="402" y="2424"/>
                  </a:lnTo>
                  <a:lnTo>
                    <a:pt x="408" y="2424"/>
                  </a:lnTo>
                  <a:lnTo>
                    <a:pt x="420" y="2430"/>
                  </a:lnTo>
                  <a:lnTo>
                    <a:pt x="426" y="2436"/>
                  </a:lnTo>
                  <a:lnTo>
                    <a:pt x="426" y="2448"/>
                  </a:lnTo>
                  <a:lnTo>
                    <a:pt x="414" y="2460"/>
                  </a:lnTo>
                  <a:lnTo>
                    <a:pt x="408" y="2454"/>
                  </a:lnTo>
                  <a:lnTo>
                    <a:pt x="396" y="2454"/>
                  </a:lnTo>
                  <a:lnTo>
                    <a:pt x="384" y="2448"/>
                  </a:lnTo>
                  <a:lnTo>
                    <a:pt x="378" y="2442"/>
                  </a:lnTo>
                  <a:lnTo>
                    <a:pt x="366" y="2442"/>
                  </a:lnTo>
                  <a:lnTo>
                    <a:pt x="366" y="2454"/>
                  </a:lnTo>
                  <a:lnTo>
                    <a:pt x="372" y="2460"/>
                  </a:lnTo>
                  <a:lnTo>
                    <a:pt x="378" y="2460"/>
                  </a:lnTo>
                  <a:lnTo>
                    <a:pt x="390" y="2472"/>
                  </a:lnTo>
                  <a:lnTo>
                    <a:pt x="402" y="2496"/>
                  </a:lnTo>
                  <a:lnTo>
                    <a:pt x="402" y="2508"/>
                  </a:lnTo>
                  <a:lnTo>
                    <a:pt x="384" y="2508"/>
                  </a:lnTo>
                  <a:lnTo>
                    <a:pt x="396" y="2526"/>
                  </a:lnTo>
                  <a:lnTo>
                    <a:pt x="414" y="2562"/>
                  </a:lnTo>
                  <a:lnTo>
                    <a:pt x="426" y="2520"/>
                  </a:lnTo>
                  <a:lnTo>
                    <a:pt x="426" y="2550"/>
                  </a:lnTo>
                  <a:lnTo>
                    <a:pt x="444" y="2574"/>
                  </a:lnTo>
                  <a:lnTo>
                    <a:pt x="420" y="2574"/>
                  </a:lnTo>
                  <a:lnTo>
                    <a:pt x="426" y="2592"/>
                  </a:lnTo>
                  <a:lnTo>
                    <a:pt x="450" y="2592"/>
                  </a:lnTo>
                  <a:lnTo>
                    <a:pt x="432" y="2604"/>
                  </a:lnTo>
                  <a:lnTo>
                    <a:pt x="462" y="2616"/>
                  </a:lnTo>
                  <a:lnTo>
                    <a:pt x="444" y="2628"/>
                  </a:lnTo>
                  <a:lnTo>
                    <a:pt x="474" y="2640"/>
                  </a:lnTo>
                  <a:lnTo>
                    <a:pt x="462" y="2652"/>
                  </a:lnTo>
                  <a:lnTo>
                    <a:pt x="480" y="2658"/>
                  </a:lnTo>
                  <a:lnTo>
                    <a:pt x="480" y="2652"/>
                  </a:lnTo>
                  <a:lnTo>
                    <a:pt x="486" y="2640"/>
                  </a:lnTo>
                  <a:lnTo>
                    <a:pt x="486" y="2634"/>
                  </a:lnTo>
                  <a:lnTo>
                    <a:pt x="492" y="2634"/>
                  </a:lnTo>
                  <a:lnTo>
                    <a:pt x="498" y="2640"/>
                  </a:lnTo>
                  <a:lnTo>
                    <a:pt x="504" y="2652"/>
                  </a:lnTo>
                  <a:lnTo>
                    <a:pt x="498" y="2658"/>
                  </a:lnTo>
                  <a:lnTo>
                    <a:pt x="498" y="2664"/>
                  </a:lnTo>
                  <a:lnTo>
                    <a:pt x="492" y="2664"/>
                  </a:lnTo>
                  <a:lnTo>
                    <a:pt x="480" y="2676"/>
                  </a:lnTo>
                  <a:lnTo>
                    <a:pt x="480" y="2682"/>
                  </a:lnTo>
                  <a:lnTo>
                    <a:pt x="486" y="2688"/>
                  </a:lnTo>
                  <a:lnTo>
                    <a:pt x="516" y="2688"/>
                  </a:lnTo>
                  <a:lnTo>
                    <a:pt x="516" y="2700"/>
                  </a:lnTo>
                  <a:lnTo>
                    <a:pt x="540" y="2724"/>
                  </a:lnTo>
                  <a:lnTo>
                    <a:pt x="552" y="2730"/>
                  </a:lnTo>
                  <a:lnTo>
                    <a:pt x="558" y="2736"/>
                  </a:lnTo>
                  <a:lnTo>
                    <a:pt x="558" y="2700"/>
                  </a:lnTo>
                  <a:lnTo>
                    <a:pt x="564" y="2700"/>
                  </a:lnTo>
                  <a:lnTo>
                    <a:pt x="570" y="2706"/>
                  </a:lnTo>
                  <a:lnTo>
                    <a:pt x="582" y="2712"/>
                  </a:lnTo>
                  <a:lnTo>
                    <a:pt x="600" y="2718"/>
                  </a:lnTo>
                  <a:lnTo>
                    <a:pt x="624" y="2742"/>
                  </a:lnTo>
                  <a:lnTo>
                    <a:pt x="618" y="2748"/>
                  </a:lnTo>
                  <a:lnTo>
                    <a:pt x="618" y="2754"/>
                  </a:lnTo>
                  <a:lnTo>
                    <a:pt x="612" y="2760"/>
                  </a:lnTo>
                  <a:lnTo>
                    <a:pt x="630" y="2766"/>
                  </a:lnTo>
                  <a:lnTo>
                    <a:pt x="630" y="2790"/>
                  </a:lnTo>
                  <a:lnTo>
                    <a:pt x="684" y="2790"/>
                  </a:lnTo>
                  <a:lnTo>
                    <a:pt x="696" y="2802"/>
                  </a:lnTo>
                  <a:lnTo>
                    <a:pt x="666" y="2802"/>
                  </a:lnTo>
                  <a:lnTo>
                    <a:pt x="654" y="2814"/>
                  </a:lnTo>
                  <a:lnTo>
                    <a:pt x="630" y="2814"/>
                  </a:lnTo>
                  <a:lnTo>
                    <a:pt x="618" y="2832"/>
                  </a:lnTo>
                  <a:lnTo>
                    <a:pt x="648" y="2832"/>
                  </a:lnTo>
                  <a:lnTo>
                    <a:pt x="636" y="2850"/>
                  </a:lnTo>
                  <a:lnTo>
                    <a:pt x="666" y="2844"/>
                  </a:lnTo>
                  <a:lnTo>
                    <a:pt x="666" y="2826"/>
                  </a:lnTo>
                  <a:lnTo>
                    <a:pt x="690" y="2838"/>
                  </a:lnTo>
                  <a:lnTo>
                    <a:pt x="696" y="2826"/>
                  </a:lnTo>
                  <a:lnTo>
                    <a:pt x="702" y="2820"/>
                  </a:lnTo>
                  <a:lnTo>
                    <a:pt x="714" y="2814"/>
                  </a:lnTo>
                  <a:lnTo>
                    <a:pt x="720" y="2808"/>
                  </a:lnTo>
                  <a:lnTo>
                    <a:pt x="732" y="2808"/>
                  </a:lnTo>
                  <a:lnTo>
                    <a:pt x="732" y="2820"/>
                  </a:lnTo>
                  <a:lnTo>
                    <a:pt x="726" y="2832"/>
                  </a:lnTo>
                  <a:lnTo>
                    <a:pt x="702" y="2856"/>
                  </a:lnTo>
                  <a:lnTo>
                    <a:pt x="696" y="2850"/>
                  </a:lnTo>
                  <a:lnTo>
                    <a:pt x="678" y="2850"/>
                  </a:lnTo>
                  <a:lnTo>
                    <a:pt x="678" y="2868"/>
                  </a:lnTo>
                  <a:lnTo>
                    <a:pt x="642" y="2868"/>
                  </a:lnTo>
                  <a:lnTo>
                    <a:pt x="630" y="2880"/>
                  </a:lnTo>
                  <a:lnTo>
                    <a:pt x="642" y="2886"/>
                  </a:lnTo>
                  <a:lnTo>
                    <a:pt x="648" y="2916"/>
                  </a:lnTo>
                  <a:lnTo>
                    <a:pt x="678" y="2898"/>
                  </a:lnTo>
                  <a:lnTo>
                    <a:pt x="684" y="2910"/>
                  </a:lnTo>
                  <a:lnTo>
                    <a:pt x="684" y="2916"/>
                  </a:lnTo>
                  <a:lnTo>
                    <a:pt x="690" y="2916"/>
                  </a:lnTo>
                  <a:lnTo>
                    <a:pt x="696" y="2910"/>
                  </a:lnTo>
                  <a:lnTo>
                    <a:pt x="702" y="2898"/>
                  </a:lnTo>
                  <a:lnTo>
                    <a:pt x="702" y="2892"/>
                  </a:lnTo>
                  <a:lnTo>
                    <a:pt x="708" y="2880"/>
                  </a:lnTo>
                  <a:lnTo>
                    <a:pt x="714" y="2874"/>
                  </a:lnTo>
                  <a:close/>
                </a:path>
              </a:pathLst>
            </a:custGeom>
            <a:solidFill>
              <a:schemeClr val="accent5"/>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79" name="Chad" descr="© INSCALE GmbH, 05.05.2010&#10;http://www.presentationload.com/">
              <a:extLst>
                <a:ext uri="{FF2B5EF4-FFF2-40B4-BE49-F238E27FC236}">
                  <a16:creationId xmlns:a16="http://schemas.microsoft.com/office/drawing/2014/main" id="{611ADAB4-12B4-4B76-991E-23E9D702643D}"/>
                </a:ext>
              </a:extLst>
            </p:cNvPr>
            <p:cNvSpPr>
              <a:spLocks/>
            </p:cNvSpPr>
            <p:nvPr/>
          </p:nvSpPr>
          <p:spPr bwMode="gray">
            <a:xfrm>
              <a:off x="4507252" y="3499978"/>
              <a:ext cx="294788" cy="512744"/>
            </a:xfrm>
            <a:custGeom>
              <a:avLst/>
              <a:gdLst>
                <a:gd name="T0" fmla="*/ 2147483647 w 744"/>
                <a:gd name="T1" fmla="*/ 2147483647 h 1290"/>
                <a:gd name="T2" fmla="*/ 2147483647 w 744"/>
                <a:gd name="T3" fmla="*/ 0 h 1290"/>
                <a:gd name="T4" fmla="*/ 2147483647 w 744"/>
                <a:gd name="T5" fmla="*/ 2147483647 h 1290"/>
                <a:gd name="T6" fmla="*/ 2147483647 w 744"/>
                <a:gd name="T7" fmla="*/ 2147483647 h 1290"/>
                <a:gd name="T8" fmla="*/ 2147483647 w 744"/>
                <a:gd name="T9" fmla="*/ 2147483647 h 1290"/>
                <a:gd name="T10" fmla="*/ 2147483647 w 744"/>
                <a:gd name="T11" fmla="*/ 2147483647 h 1290"/>
                <a:gd name="T12" fmla="*/ 2147483647 w 744"/>
                <a:gd name="T13" fmla="*/ 2147483647 h 1290"/>
                <a:gd name="T14" fmla="*/ 2147483647 w 744"/>
                <a:gd name="T15" fmla="*/ 2147483647 h 1290"/>
                <a:gd name="T16" fmla="*/ 2147483647 w 744"/>
                <a:gd name="T17" fmla="*/ 2147483647 h 1290"/>
                <a:gd name="T18" fmla="*/ 0 w 744"/>
                <a:gd name="T19" fmla="*/ 2147483647 h 1290"/>
                <a:gd name="T20" fmla="*/ 2147483647 w 744"/>
                <a:gd name="T21" fmla="*/ 2147483647 h 1290"/>
                <a:gd name="T22" fmla="*/ 2147483647 w 744"/>
                <a:gd name="T23" fmla="*/ 2147483647 h 1290"/>
                <a:gd name="T24" fmla="*/ 2147483647 w 744"/>
                <a:gd name="T25" fmla="*/ 2147483647 h 1290"/>
                <a:gd name="T26" fmla="*/ 2147483647 w 744"/>
                <a:gd name="T27" fmla="*/ 2147483647 h 1290"/>
                <a:gd name="T28" fmla="*/ 2147483647 w 744"/>
                <a:gd name="T29" fmla="*/ 2147483647 h 1290"/>
                <a:gd name="T30" fmla="*/ 2147483647 w 744"/>
                <a:gd name="T31" fmla="*/ 2147483647 h 1290"/>
                <a:gd name="T32" fmla="*/ 2147483647 w 744"/>
                <a:gd name="T33" fmla="*/ 2147483647 h 1290"/>
                <a:gd name="T34" fmla="*/ 2147483647 w 744"/>
                <a:gd name="T35" fmla="*/ 2147483647 h 1290"/>
                <a:gd name="T36" fmla="*/ 2147483647 w 744"/>
                <a:gd name="T37" fmla="*/ 2147483647 h 1290"/>
                <a:gd name="T38" fmla="*/ 2147483647 w 744"/>
                <a:gd name="T39" fmla="*/ 2147483647 h 1290"/>
                <a:gd name="T40" fmla="*/ 2147483647 w 744"/>
                <a:gd name="T41" fmla="*/ 2147483647 h 1290"/>
                <a:gd name="T42" fmla="*/ 2147483647 w 744"/>
                <a:gd name="T43" fmla="*/ 2147483647 h 1290"/>
                <a:gd name="T44" fmla="*/ 2147483647 w 744"/>
                <a:gd name="T45" fmla="*/ 2147483647 h 1290"/>
                <a:gd name="T46" fmla="*/ 2147483647 w 744"/>
                <a:gd name="T47" fmla="*/ 2147483647 h 1290"/>
                <a:gd name="T48" fmla="*/ 2147483647 w 744"/>
                <a:gd name="T49" fmla="*/ 2147483647 h 1290"/>
                <a:gd name="T50" fmla="*/ 2147483647 w 744"/>
                <a:gd name="T51" fmla="*/ 2147483647 h 1290"/>
                <a:gd name="T52" fmla="*/ 2147483647 w 744"/>
                <a:gd name="T53" fmla="*/ 2147483647 h 1290"/>
                <a:gd name="T54" fmla="*/ 2147483647 w 744"/>
                <a:gd name="T55" fmla="*/ 2147483647 h 1290"/>
                <a:gd name="T56" fmla="*/ 2147483647 w 744"/>
                <a:gd name="T57" fmla="*/ 2147483647 h 1290"/>
                <a:gd name="T58" fmla="*/ 2147483647 w 744"/>
                <a:gd name="T59" fmla="*/ 2147483647 h 1290"/>
                <a:gd name="T60" fmla="*/ 2147483647 w 744"/>
                <a:gd name="T61" fmla="*/ 2147483647 h 1290"/>
                <a:gd name="T62" fmla="*/ 2147483647 w 744"/>
                <a:gd name="T63" fmla="*/ 2147483647 h 1290"/>
                <a:gd name="T64" fmla="*/ 2147483647 w 744"/>
                <a:gd name="T65" fmla="*/ 2147483647 h 1290"/>
                <a:gd name="T66" fmla="*/ 2147483647 w 744"/>
                <a:gd name="T67" fmla="*/ 2147483647 h 1290"/>
                <a:gd name="T68" fmla="*/ 2147483647 w 744"/>
                <a:gd name="T69" fmla="*/ 2147483647 h 1290"/>
                <a:gd name="T70" fmla="*/ 2147483647 w 744"/>
                <a:gd name="T71" fmla="*/ 2147483647 h 1290"/>
                <a:gd name="T72" fmla="*/ 2147483647 w 744"/>
                <a:gd name="T73" fmla="*/ 2147483647 h 1290"/>
                <a:gd name="T74" fmla="*/ 2147483647 w 744"/>
                <a:gd name="T75" fmla="*/ 2147483647 h 1290"/>
                <a:gd name="T76" fmla="*/ 2147483647 w 744"/>
                <a:gd name="T77" fmla="*/ 2147483647 h 1290"/>
                <a:gd name="T78" fmla="*/ 2147483647 w 744"/>
                <a:gd name="T79" fmla="*/ 2147483647 h 1290"/>
                <a:gd name="T80" fmla="*/ 2147483647 w 744"/>
                <a:gd name="T81" fmla="*/ 2147483647 h 1290"/>
                <a:gd name="T82" fmla="*/ 2147483647 w 744"/>
                <a:gd name="T83" fmla="*/ 2147483647 h 1290"/>
                <a:gd name="T84" fmla="*/ 2147483647 w 744"/>
                <a:gd name="T85" fmla="*/ 2147483647 h 1290"/>
                <a:gd name="T86" fmla="*/ 2147483647 w 744"/>
                <a:gd name="T87" fmla="*/ 2147483647 h 1290"/>
                <a:gd name="T88" fmla="*/ 2147483647 w 744"/>
                <a:gd name="T89" fmla="*/ 2147483647 h 1290"/>
                <a:gd name="T90" fmla="*/ 2147483647 w 744"/>
                <a:gd name="T91" fmla="*/ 2147483647 h 1290"/>
                <a:gd name="T92" fmla="*/ 2147483647 w 744"/>
                <a:gd name="T93" fmla="*/ 2147483647 h 129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44"/>
                <a:gd name="T142" fmla="*/ 0 h 1290"/>
                <a:gd name="T143" fmla="*/ 744 w 744"/>
                <a:gd name="T144" fmla="*/ 1290 h 129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44" h="1290">
                  <a:moveTo>
                    <a:pt x="678" y="624"/>
                  </a:moveTo>
                  <a:lnTo>
                    <a:pt x="720" y="624"/>
                  </a:lnTo>
                  <a:lnTo>
                    <a:pt x="732" y="630"/>
                  </a:lnTo>
                  <a:lnTo>
                    <a:pt x="744" y="630"/>
                  </a:lnTo>
                  <a:lnTo>
                    <a:pt x="738" y="324"/>
                  </a:lnTo>
                  <a:lnTo>
                    <a:pt x="180" y="0"/>
                  </a:lnTo>
                  <a:lnTo>
                    <a:pt x="156" y="12"/>
                  </a:lnTo>
                  <a:lnTo>
                    <a:pt x="144" y="24"/>
                  </a:lnTo>
                  <a:lnTo>
                    <a:pt x="126" y="30"/>
                  </a:lnTo>
                  <a:lnTo>
                    <a:pt x="108" y="42"/>
                  </a:lnTo>
                  <a:lnTo>
                    <a:pt x="126" y="108"/>
                  </a:lnTo>
                  <a:lnTo>
                    <a:pt x="114" y="156"/>
                  </a:lnTo>
                  <a:lnTo>
                    <a:pt x="144" y="192"/>
                  </a:lnTo>
                  <a:lnTo>
                    <a:pt x="150" y="216"/>
                  </a:lnTo>
                  <a:lnTo>
                    <a:pt x="180" y="252"/>
                  </a:lnTo>
                  <a:lnTo>
                    <a:pt x="162" y="288"/>
                  </a:lnTo>
                  <a:lnTo>
                    <a:pt x="144" y="534"/>
                  </a:lnTo>
                  <a:lnTo>
                    <a:pt x="138" y="540"/>
                  </a:lnTo>
                  <a:lnTo>
                    <a:pt x="120" y="564"/>
                  </a:lnTo>
                  <a:lnTo>
                    <a:pt x="96" y="588"/>
                  </a:lnTo>
                  <a:lnTo>
                    <a:pt x="72" y="618"/>
                  </a:lnTo>
                  <a:lnTo>
                    <a:pt x="54" y="636"/>
                  </a:lnTo>
                  <a:lnTo>
                    <a:pt x="48" y="648"/>
                  </a:lnTo>
                  <a:lnTo>
                    <a:pt x="36" y="666"/>
                  </a:lnTo>
                  <a:lnTo>
                    <a:pt x="30" y="678"/>
                  </a:lnTo>
                  <a:lnTo>
                    <a:pt x="24" y="696"/>
                  </a:lnTo>
                  <a:lnTo>
                    <a:pt x="24" y="708"/>
                  </a:lnTo>
                  <a:lnTo>
                    <a:pt x="18" y="714"/>
                  </a:lnTo>
                  <a:lnTo>
                    <a:pt x="18" y="720"/>
                  </a:lnTo>
                  <a:lnTo>
                    <a:pt x="0" y="726"/>
                  </a:lnTo>
                  <a:lnTo>
                    <a:pt x="6" y="786"/>
                  </a:lnTo>
                  <a:lnTo>
                    <a:pt x="18" y="786"/>
                  </a:lnTo>
                  <a:lnTo>
                    <a:pt x="48" y="834"/>
                  </a:lnTo>
                  <a:lnTo>
                    <a:pt x="48" y="846"/>
                  </a:lnTo>
                  <a:lnTo>
                    <a:pt x="48" y="840"/>
                  </a:lnTo>
                  <a:lnTo>
                    <a:pt x="72" y="834"/>
                  </a:lnTo>
                  <a:lnTo>
                    <a:pt x="72" y="852"/>
                  </a:lnTo>
                  <a:lnTo>
                    <a:pt x="78" y="864"/>
                  </a:lnTo>
                  <a:lnTo>
                    <a:pt x="84" y="870"/>
                  </a:lnTo>
                  <a:lnTo>
                    <a:pt x="96" y="870"/>
                  </a:lnTo>
                  <a:lnTo>
                    <a:pt x="102" y="876"/>
                  </a:lnTo>
                  <a:lnTo>
                    <a:pt x="108" y="876"/>
                  </a:lnTo>
                  <a:lnTo>
                    <a:pt x="102" y="912"/>
                  </a:lnTo>
                  <a:lnTo>
                    <a:pt x="114" y="918"/>
                  </a:lnTo>
                  <a:lnTo>
                    <a:pt x="120" y="930"/>
                  </a:lnTo>
                  <a:lnTo>
                    <a:pt x="120" y="966"/>
                  </a:lnTo>
                  <a:lnTo>
                    <a:pt x="114" y="966"/>
                  </a:lnTo>
                  <a:lnTo>
                    <a:pt x="114" y="1002"/>
                  </a:lnTo>
                  <a:lnTo>
                    <a:pt x="120" y="1020"/>
                  </a:lnTo>
                  <a:lnTo>
                    <a:pt x="120" y="1038"/>
                  </a:lnTo>
                  <a:lnTo>
                    <a:pt x="126" y="1050"/>
                  </a:lnTo>
                  <a:lnTo>
                    <a:pt x="138" y="1056"/>
                  </a:lnTo>
                  <a:lnTo>
                    <a:pt x="144" y="1068"/>
                  </a:lnTo>
                  <a:lnTo>
                    <a:pt x="162" y="1086"/>
                  </a:lnTo>
                  <a:lnTo>
                    <a:pt x="66" y="1086"/>
                  </a:lnTo>
                  <a:lnTo>
                    <a:pt x="54" y="1092"/>
                  </a:lnTo>
                  <a:lnTo>
                    <a:pt x="48" y="1098"/>
                  </a:lnTo>
                  <a:lnTo>
                    <a:pt x="48" y="1110"/>
                  </a:lnTo>
                  <a:lnTo>
                    <a:pt x="60" y="1134"/>
                  </a:lnTo>
                  <a:lnTo>
                    <a:pt x="72" y="1146"/>
                  </a:lnTo>
                  <a:lnTo>
                    <a:pt x="78" y="1158"/>
                  </a:lnTo>
                  <a:lnTo>
                    <a:pt x="90" y="1170"/>
                  </a:lnTo>
                  <a:lnTo>
                    <a:pt x="108" y="1182"/>
                  </a:lnTo>
                  <a:lnTo>
                    <a:pt x="120" y="1188"/>
                  </a:lnTo>
                  <a:lnTo>
                    <a:pt x="132" y="1200"/>
                  </a:lnTo>
                  <a:lnTo>
                    <a:pt x="144" y="1224"/>
                  </a:lnTo>
                  <a:lnTo>
                    <a:pt x="144" y="1242"/>
                  </a:lnTo>
                  <a:lnTo>
                    <a:pt x="150" y="1254"/>
                  </a:lnTo>
                  <a:lnTo>
                    <a:pt x="156" y="1272"/>
                  </a:lnTo>
                  <a:lnTo>
                    <a:pt x="156" y="1284"/>
                  </a:lnTo>
                  <a:lnTo>
                    <a:pt x="162" y="1284"/>
                  </a:lnTo>
                  <a:lnTo>
                    <a:pt x="168" y="1290"/>
                  </a:lnTo>
                  <a:lnTo>
                    <a:pt x="186" y="1290"/>
                  </a:lnTo>
                  <a:lnTo>
                    <a:pt x="198" y="1284"/>
                  </a:lnTo>
                  <a:lnTo>
                    <a:pt x="216" y="1266"/>
                  </a:lnTo>
                  <a:lnTo>
                    <a:pt x="228" y="1260"/>
                  </a:lnTo>
                  <a:lnTo>
                    <a:pt x="234" y="1254"/>
                  </a:lnTo>
                  <a:lnTo>
                    <a:pt x="234" y="1278"/>
                  </a:lnTo>
                  <a:lnTo>
                    <a:pt x="240" y="1284"/>
                  </a:lnTo>
                  <a:lnTo>
                    <a:pt x="246" y="1284"/>
                  </a:lnTo>
                  <a:lnTo>
                    <a:pt x="258" y="1278"/>
                  </a:lnTo>
                  <a:lnTo>
                    <a:pt x="270" y="1266"/>
                  </a:lnTo>
                  <a:lnTo>
                    <a:pt x="276" y="1254"/>
                  </a:lnTo>
                  <a:lnTo>
                    <a:pt x="282" y="1248"/>
                  </a:lnTo>
                  <a:lnTo>
                    <a:pt x="372" y="1248"/>
                  </a:lnTo>
                  <a:lnTo>
                    <a:pt x="378" y="1242"/>
                  </a:lnTo>
                  <a:lnTo>
                    <a:pt x="384" y="1230"/>
                  </a:lnTo>
                  <a:lnTo>
                    <a:pt x="390" y="1224"/>
                  </a:lnTo>
                  <a:lnTo>
                    <a:pt x="396" y="1212"/>
                  </a:lnTo>
                  <a:lnTo>
                    <a:pt x="402" y="1206"/>
                  </a:lnTo>
                  <a:lnTo>
                    <a:pt x="402" y="1194"/>
                  </a:lnTo>
                  <a:lnTo>
                    <a:pt x="390" y="1182"/>
                  </a:lnTo>
                  <a:lnTo>
                    <a:pt x="384" y="1182"/>
                  </a:lnTo>
                  <a:lnTo>
                    <a:pt x="402" y="1170"/>
                  </a:lnTo>
                  <a:lnTo>
                    <a:pt x="420" y="1170"/>
                  </a:lnTo>
                  <a:lnTo>
                    <a:pt x="462" y="1164"/>
                  </a:lnTo>
                  <a:lnTo>
                    <a:pt x="510" y="1146"/>
                  </a:lnTo>
                  <a:lnTo>
                    <a:pt x="528" y="1134"/>
                  </a:lnTo>
                  <a:lnTo>
                    <a:pt x="552" y="1110"/>
                  </a:lnTo>
                  <a:lnTo>
                    <a:pt x="552" y="1092"/>
                  </a:lnTo>
                  <a:lnTo>
                    <a:pt x="588" y="1068"/>
                  </a:lnTo>
                  <a:lnTo>
                    <a:pt x="594" y="1038"/>
                  </a:lnTo>
                  <a:lnTo>
                    <a:pt x="648" y="1008"/>
                  </a:lnTo>
                  <a:lnTo>
                    <a:pt x="672" y="1008"/>
                  </a:lnTo>
                  <a:lnTo>
                    <a:pt x="672" y="996"/>
                  </a:lnTo>
                  <a:lnTo>
                    <a:pt x="684" y="996"/>
                  </a:lnTo>
                  <a:lnTo>
                    <a:pt x="684" y="990"/>
                  </a:lnTo>
                  <a:lnTo>
                    <a:pt x="678" y="984"/>
                  </a:lnTo>
                  <a:lnTo>
                    <a:pt x="666" y="966"/>
                  </a:lnTo>
                  <a:lnTo>
                    <a:pt x="654" y="960"/>
                  </a:lnTo>
                  <a:lnTo>
                    <a:pt x="648" y="960"/>
                  </a:lnTo>
                  <a:lnTo>
                    <a:pt x="642" y="936"/>
                  </a:lnTo>
                  <a:lnTo>
                    <a:pt x="660" y="930"/>
                  </a:lnTo>
                  <a:lnTo>
                    <a:pt x="642" y="918"/>
                  </a:lnTo>
                  <a:lnTo>
                    <a:pt x="642" y="876"/>
                  </a:lnTo>
                  <a:lnTo>
                    <a:pt x="636" y="870"/>
                  </a:lnTo>
                  <a:lnTo>
                    <a:pt x="624" y="870"/>
                  </a:lnTo>
                  <a:lnTo>
                    <a:pt x="618" y="876"/>
                  </a:lnTo>
                  <a:lnTo>
                    <a:pt x="606" y="876"/>
                  </a:lnTo>
                  <a:lnTo>
                    <a:pt x="600" y="870"/>
                  </a:lnTo>
                  <a:lnTo>
                    <a:pt x="600" y="852"/>
                  </a:lnTo>
                  <a:lnTo>
                    <a:pt x="606" y="840"/>
                  </a:lnTo>
                  <a:lnTo>
                    <a:pt x="618" y="834"/>
                  </a:lnTo>
                  <a:lnTo>
                    <a:pt x="630" y="822"/>
                  </a:lnTo>
                  <a:lnTo>
                    <a:pt x="630" y="810"/>
                  </a:lnTo>
                  <a:lnTo>
                    <a:pt x="618" y="786"/>
                  </a:lnTo>
                  <a:lnTo>
                    <a:pt x="612" y="780"/>
                  </a:lnTo>
                  <a:lnTo>
                    <a:pt x="630" y="762"/>
                  </a:lnTo>
                  <a:lnTo>
                    <a:pt x="648" y="750"/>
                  </a:lnTo>
                  <a:lnTo>
                    <a:pt x="642" y="732"/>
                  </a:lnTo>
                  <a:lnTo>
                    <a:pt x="636" y="708"/>
                  </a:lnTo>
                  <a:lnTo>
                    <a:pt x="648" y="708"/>
                  </a:lnTo>
                  <a:lnTo>
                    <a:pt x="648" y="690"/>
                  </a:lnTo>
                  <a:lnTo>
                    <a:pt x="660" y="678"/>
                  </a:lnTo>
                  <a:lnTo>
                    <a:pt x="672" y="672"/>
                  </a:lnTo>
                  <a:lnTo>
                    <a:pt x="678" y="666"/>
                  </a:lnTo>
                  <a:lnTo>
                    <a:pt x="678" y="660"/>
                  </a:lnTo>
                  <a:lnTo>
                    <a:pt x="672" y="654"/>
                  </a:lnTo>
                  <a:lnTo>
                    <a:pt x="672" y="642"/>
                  </a:lnTo>
                  <a:lnTo>
                    <a:pt x="666" y="636"/>
                  </a:lnTo>
                  <a:lnTo>
                    <a:pt x="678" y="624"/>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80" name="Burundi" descr="© INSCALE GmbH, 05.05.2010&#10;http://www.presentationload.com/">
              <a:extLst>
                <a:ext uri="{FF2B5EF4-FFF2-40B4-BE49-F238E27FC236}">
                  <a16:creationId xmlns:a16="http://schemas.microsoft.com/office/drawing/2014/main" id="{6158EABD-BC50-4061-BC1E-406FF159B607}"/>
                </a:ext>
              </a:extLst>
            </p:cNvPr>
            <p:cNvSpPr>
              <a:spLocks/>
            </p:cNvSpPr>
            <p:nvPr/>
          </p:nvSpPr>
          <p:spPr bwMode="gray">
            <a:xfrm>
              <a:off x="4947867" y="4331031"/>
              <a:ext cx="53313" cy="65857"/>
            </a:xfrm>
            <a:custGeom>
              <a:avLst/>
              <a:gdLst>
                <a:gd name="T0" fmla="*/ 2147483647 w 132"/>
                <a:gd name="T1" fmla="*/ 2147483647 h 168"/>
                <a:gd name="T2" fmla="*/ 2147483647 w 132"/>
                <a:gd name="T3" fmla="*/ 2147483647 h 168"/>
                <a:gd name="T4" fmla="*/ 2147483647 w 132"/>
                <a:gd name="T5" fmla="*/ 2147483647 h 168"/>
                <a:gd name="T6" fmla="*/ 2147483647 w 132"/>
                <a:gd name="T7" fmla="*/ 2147483647 h 168"/>
                <a:gd name="T8" fmla="*/ 2147483647 w 132"/>
                <a:gd name="T9" fmla="*/ 2147483647 h 168"/>
                <a:gd name="T10" fmla="*/ 2147483647 w 132"/>
                <a:gd name="T11" fmla="*/ 2147483647 h 168"/>
                <a:gd name="T12" fmla="*/ 2147483647 w 132"/>
                <a:gd name="T13" fmla="*/ 2147483647 h 168"/>
                <a:gd name="T14" fmla="*/ 2147483647 w 132"/>
                <a:gd name="T15" fmla="*/ 2147483647 h 168"/>
                <a:gd name="T16" fmla="*/ 2147483647 w 132"/>
                <a:gd name="T17" fmla="*/ 2147483647 h 168"/>
                <a:gd name="T18" fmla="*/ 2147483647 w 132"/>
                <a:gd name="T19" fmla="*/ 2147483647 h 168"/>
                <a:gd name="T20" fmla="*/ 2147483647 w 132"/>
                <a:gd name="T21" fmla="*/ 2147483647 h 168"/>
                <a:gd name="T22" fmla="*/ 2147483647 w 132"/>
                <a:gd name="T23" fmla="*/ 2147483647 h 168"/>
                <a:gd name="T24" fmla="*/ 2147483647 w 132"/>
                <a:gd name="T25" fmla="*/ 2147483647 h 168"/>
                <a:gd name="T26" fmla="*/ 2147483647 w 132"/>
                <a:gd name="T27" fmla="*/ 2147483647 h 168"/>
                <a:gd name="T28" fmla="*/ 2147483647 w 132"/>
                <a:gd name="T29" fmla="*/ 2147483647 h 168"/>
                <a:gd name="T30" fmla="*/ 2147483647 w 132"/>
                <a:gd name="T31" fmla="*/ 2147483647 h 168"/>
                <a:gd name="T32" fmla="*/ 2147483647 w 132"/>
                <a:gd name="T33" fmla="*/ 2147483647 h 168"/>
                <a:gd name="T34" fmla="*/ 2147483647 w 132"/>
                <a:gd name="T35" fmla="*/ 2147483647 h 168"/>
                <a:gd name="T36" fmla="*/ 2147483647 w 132"/>
                <a:gd name="T37" fmla="*/ 2147483647 h 168"/>
                <a:gd name="T38" fmla="*/ 2147483647 w 132"/>
                <a:gd name="T39" fmla="*/ 2147483647 h 168"/>
                <a:gd name="T40" fmla="*/ 2147483647 w 132"/>
                <a:gd name="T41" fmla="*/ 2147483647 h 168"/>
                <a:gd name="T42" fmla="*/ 2147483647 w 132"/>
                <a:gd name="T43" fmla="*/ 2147483647 h 168"/>
                <a:gd name="T44" fmla="*/ 2147483647 w 132"/>
                <a:gd name="T45" fmla="*/ 2147483647 h 168"/>
                <a:gd name="T46" fmla="*/ 2147483647 w 132"/>
                <a:gd name="T47" fmla="*/ 0 h 168"/>
                <a:gd name="T48" fmla="*/ 2147483647 w 132"/>
                <a:gd name="T49" fmla="*/ 0 h 168"/>
                <a:gd name="T50" fmla="*/ 2147483647 w 132"/>
                <a:gd name="T51" fmla="*/ 0 h 168"/>
                <a:gd name="T52" fmla="*/ 2147483647 w 132"/>
                <a:gd name="T53" fmla="*/ 2147483647 h 168"/>
                <a:gd name="T54" fmla="*/ 2147483647 w 132"/>
                <a:gd name="T55" fmla="*/ 2147483647 h 168"/>
                <a:gd name="T56" fmla="*/ 2147483647 w 132"/>
                <a:gd name="T57" fmla="*/ 2147483647 h 168"/>
                <a:gd name="T58" fmla="*/ 2147483647 w 132"/>
                <a:gd name="T59" fmla="*/ 2147483647 h 168"/>
                <a:gd name="T60" fmla="*/ 2147483647 w 132"/>
                <a:gd name="T61" fmla="*/ 2147483647 h 168"/>
                <a:gd name="T62" fmla="*/ 2147483647 w 132"/>
                <a:gd name="T63" fmla="*/ 2147483647 h 168"/>
                <a:gd name="T64" fmla="*/ 0 w 132"/>
                <a:gd name="T65" fmla="*/ 2147483647 h 168"/>
                <a:gd name="T66" fmla="*/ 2147483647 w 132"/>
                <a:gd name="T67" fmla="*/ 2147483647 h 168"/>
                <a:gd name="T68" fmla="*/ 2147483647 w 132"/>
                <a:gd name="T69" fmla="*/ 2147483647 h 168"/>
                <a:gd name="T70" fmla="*/ 2147483647 w 132"/>
                <a:gd name="T71" fmla="*/ 2147483647 h 168"/>
                <a:gd name="T72" fmla="*/ 2147483647 w 132"/>
                <a:gd name="T73" fmla="*/ 2147483647 h 168"/>
                <a:gd name="T74" fmla="*/ 2147483647 w 132"/>
                <a:gd name="T75" fmla="*/ 2147483647 h 1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2"/>
                <a:gd name="T115" fmla="*/ 0 h 168"/>
                <a:gd name="T116" fmla="*/ 132 w 132"/>
                <a:gd name="T117" fmla="*/ 168 h 1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2" h="168">
                  <a:moveTo>
                    <a:pt x="36" y="72"/>
                  </a:moveTo>
                  <a:lnTo>
                    <a:pt x="36" y="96"/>
                  </a:lnTo>
                  <a:lnTo>
                    <a:pt x="30" y="102"/>
                  </a:lnTo>
                  <a:lnTo>
                    <a:pt x="30" y="138"/>
                  </a:lnTo>
                  <a:lnTo>
                    <a:pt x="36" y="156"/>
                  </a:lnTo>
                  <a:lnTo>
                    <a:pt x="42" y="168"/>
                  </a:lnTo>
                  <a:lnTo>
                    <a:pt x="54" y="168"/>
                  </a:lnTo>
                  <a:lnTo>
                    <a:pt x="60" y="162"/>
                  </a:lnTo>
                  <a:lnTo>
                    <a:pt x="72" y="156"/>
                  </a:lnTo>
                  <a:lnTo>
                    <a:pt x="84" y="144"/>
                  </a:lnTo>
                  <a:lnTo>
                    <a:pt x="90" y="132"/>
                  </a:lnTo>
                  <a:lnTo>
                    <a:pt x="90" y="114"/>
                  </a:lnTo>
                  <a:lnTo>
                    <a:pt x="96" y="102"/>
                  </a:lnTo>
                  <a:lnTo>
                    <a:pt x="114" y="84"/>
                  </a:lnTo>
                  <a:lnTo>
                    <a:pt x="126" y="84"/>
                  </a:lnTo>
                  <a:lnTo>
                    <a:pt x="120" y="72"/>
                  </a:lnTo>
                  <a:lnTo>
                    <a:pt x="132" y="66"/>
                  </a:lnTo>
                  <a:lnTo>
                    <a:pt x="132" y="48"/>
                  </a:lnTo>
                  <a:lnTo>
                    <a:pt x="114" y="48"/>
                  </a:lnTo>
                  <a:lnTo>
                    <a:pt x="108" y="42"/>
                  </a:lnTo>
                  <a:lnTo>
                    <a:pt x="102" y="42"/>
                  </a:lnTo>
                  <a:lnTo>
                    <a:pt x="102" y="24"/>
                  </a:lnTo>
                  <a:lnTo>
                    <a:pt x="108" y="12"/>
                  </a:lnTo>
                  <a:lnTo>
                    <a:pt x="108" y="0"/>
                  </a:lnTo>
                  <a:lnTo>
                    <a:pt x="120" y="0"/>
                  </a:lnTo>
                  <a:lnTo>
                    <a:pt x="66" y="0"/>
                  </a:lnTo>
                  <a:lnTo>
                    <a:pt x="60" y="24"/>
                  </a:lnTo>
                  <a:lnTo>
                    <a:pt x="48" y="30"/>
                  </a:lnTo>
                  <a:lnTo>
                    <a:pt x="42" y="36"/>
                  </a:lnTo>
                  <a:lnTo>
                    <a:pt x="30" y="36"/>
                  </a:lnTo>
                  <a:lnTo>
                    <a:pt x="24" y="30"/>
                  </a:lnTo>
                  <a:lnTo>
                    <a:pt x="18" y="18"/>
                  </a:lnTo>
                  <a:lnTo>
                    <a:pt x="0" y="18"/>
                  </a:lnTo>
                  <a:lnTo>
                    <a:pt x="12" y="48"/>
                  </a:lnTo>
                  <a:lnTo>
                    <a:pt x="18" y="54"/>
                  </a:lnTo>
                  <a:lnTo>
                    <a:pt x="30" y="60"/>
                  </a:lnTo>
                  <a:lnTo>
                    <a:pt x="36" y="66"/>
                  </a:lnTo>
                  <a:lnTo>
                    <a:pt x="36" y="7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81" name="Burkina Faso" descr="© INSCALE GmbH, 05.05.2010&#10;http://www.presentationload.com/">
              <a:extLst>
                <a:ext uri="{FF2B5EF4-FFF2-40B4-BE49-F238E27FC236}">
                  <a16:creationId xmlns:a16="http://schemas.microsoft.com/office/drawing/2014/main" id="{6B55E295-26E4-451D-8559-5E07B55F924B}"/>
                </a:ext>
              </a:extLst>
            </p:cNvPr>
            <p:cNvSpPr>
              <a:spLocks/>
            </p:cNvSpPr>
            <p:nvPr/>
          </p:nvSpPr>
          <p:spPr bwMode="gray">
            <a:xfrm>
              <a:off x="3972557" y="3771247"/>
              <a:ext cx="227363" cy="178755"/>
            </a:xfrm>
            <a:custGeom>
              <a:avLst/>
              <a:gdLst>
                <a:gd name="T0" fmla="*/ 2147483647 w 570"/>
                <a:gd name="T1" fmla="*/ 2147483647 h 450"/>
                <a:gd name="T2" fmla="*/ 2147483647 w 570"/>
                <a:gd name="T3" fmla="*/ 2147483647 h 450"/>
                <a:gd name="T4" fmla="*/ 2147483647 w 570"/>
                <a:gd name="T5" fmla="*/ 2147483647 h 450"/>
                <a:gd name="T6" fmla="*/ 2147483647 w 570"/>
                <a:gd name="T7" fmla="*/ 2147483647 h 450"/>
                <a:gd name="T8" fmla="*/ 2147483647 w 570"/>
                <a:gd name="T9" fmla="*/ 2147483647 h 450"/>
                <a:gd name="T10" fmla="*/ 2147483647 w 570"/>
                <a:gd name="T11" fmla="*/ 2147483647 h 450"/>
                <a:gd name="T12" fmla="*/ 2147483647 w 570"/>
                <a:gd name="T13" fmla="*/ 2147483647 h 450"/>
                <a:gd name="T14" fmla="*/ 2147483647 w 570"/>
                <a:gd name="T15" fmla="*/ 2147483647 h 450"/>
                <a:gd name="T16" fmla="*/ 2147483647 w 570"/>
                <a:gd name="T17" fmla="*/ 2147483647 h 450"/>
                <a:gd name="T18" fmla="*/ 2147483647 w 570"/>
                <a:gd name="T19" fmla="*/ 2147483647 h 450"/>
                <a:gd name="T20" fmla="*/ 2147483647 w 570"/>
                <a:gd name="T21" fmla="*/ 2147483647 h 450"/>
                <a:gd name="T22" fmla="*/ 2147483647 w 570"/>
                <a:gd name="T23" fmla="*/ 2147483647 h 450"/>
                <a:gd name="T24" fmla="*/ 2147483647 w 570"/>
                <a:gd name="T25" fmla="*/ 2147483647 h 450"/>
                <a:gd name="T26" fmla="*/ 2147483647 w 570"/>
                <a:gd name="T27" fmla="*/ 2147483647 h 450"/>
                <a:gd name="T28" fmla="*/ 2147483647 w 570"/>
                <a:gd name="T29" fmla="*/ 2147483647 h 450"/>
                <a:gd name="T30" fmla="*/ 2147483647 w 570"/>
                <a:gd name="T31" fmla="*/ 2147483647 h 450"/>
                <a:gd name="T32" fmla="*/ 2147483647 w 570"/>
                <a:gd name="T33" fmla="*/ 2147483647 h 450"/>
                <a:gd name="T34" fmla="*/ 2147483647 w 570"/>
                <a:gd name="T35" fmla="*/ 2147483647 h 450"/>
                <a:gd name="T36" fmla="*/ 2147483647 w 570"/>
                <a:gd name="T37" fmla="*/ 2147483647 h 450"/>
                <a:gd name="T38" fmla="*/ 2147483647 w 570"/>
                <a:gd name="T39" fmla="*/ 2147483647 h 450"/>
                <a:gd name="T40" fmla="*/ 2147483647 w 570"/>
                <a:gd name="T41" fmla="*/ 2147483647 h 450"/>
                <a:gd name="T42" fmla="*/ 2147483647 w 570"/>
                <a:gd name="T43" fmla="*/ 2147483647 h 450"/>
                <a:gd name="T44" fmla="*/ 2147483647 w 570"/>
                <a:gd name="T45" fmla="*/ 2147483647 h 450"/>
                <a:gd name="T46" fmla="*/ 2147483647 w 570"/>
                <a:gd name="T47" fmla="*/ 2147483647 h 450"/>
                <a:gd name="T48" fmla="*/ 2147483647 w 570"/>
                <a:gd name="T49" fmla="*/ 2147483647 h 450"/>
                <a:gd name="T50" fmla="*/ 2147483647 w 570"/>
                <a:gd name="T51" fmla="*/ 2147483647 h 450"/>
                <a:gd name="T52" fmla="*/ 2147483647 w 570"/>
                <a:gd name="T53" fmla="*/ 2147483647 h 450"/>
                <a:gd name="T54" fmla="*/ 2147483647 w 570"/>
                <a:gd name="T55" fmla="*/ 2147483647 h 450"/>
                <a:gd name="T56" fmla="*/ 2147483647 w 570"/>
                <a:gd name="T57" fmla="*/ 2147483647 h 450"/>
                <a:gd name="T58" fmla="*/ 2147483647 w 570"/>
                <a:gd name="T59" fmla="*/ 2147483647 h 450"/>
                <a:gd name="T60" fmla="*/ 2147483647 w 570"/>
                <a:gd name="T61" fmla="*/ 2147483647 h 450"/>
                <a:gd name="T62" fmla="*/ 2147483647 w 570"/>
                <a:gd name="T63" fmla="*/ 2147483647 h 450"/>
                <a:gd name="T64" fmla="*/ 2147483647 w 570"/>
                <a:gd name="T65" fmla="*/ 2147483647 h 450"/>
                <a:gd name="T66" fmla="*/ 2147483647 w 570"/>
                <a:gd name="T67" fmla="*/ 0 h 450"/>
                <a:gd name="T68" fmla="*/ 2147483647 w 570"/>
                <a:gd name="T69" fmla="*/ 2147483647 h 450"/>
                <a:gd name="T70" fmla="*/ 2147483647 w 570"/>
                <a:gd name="T71" fmla="*/ 2147483647 h 450"/>
                <a:gd name="T72" fmla="*/ 2147483647 w 570"/>
                <a:gd name="T73" fmla="*/ 2147483647 h 450"/>
                <a:gd name="T74" fmla="*/ 2147483647 w 570"/>
                <a:gd name="T75" fmla="*/ 2147483647 h 450"/>
                <a:gd name="T76" fmla="*/ 2147483647 w 570"/>
                <a:gd name="T77" fmla="*/ 2147483647 h 450"/>
                <a:gd name="T78" fmla="*/ 2147483647 w 570"/>
                <a:gd name="T79" fmla="*/ 2147483647 h 450"/>
                <a:gd name="T80" fmla="*/ 2147483647 w 570"/>
                <a:gd name="T81" fmla="*/ 2147483647 h 450"/>
                <a:gd name="T82" fmla="*/ 2147483647 w 570"/>
                <a:gd name="T83" fmla="*/ 2147483647 h 450"/>
                <a:gd name="T84" fmla="*/ 2147483647 w 570"/>
                <a:gd name="T85" fmla="*/ 2147483647 h 450"/>
                <a:gd name="T86" fmla="*/ 2147483647 w 570"/>
                <a:gd name="T87" fmla="*/ 2147483647 h 450"/>
                <a:gd name="T88" fmla="*/ 2147483647 w 570"/>
                <a:gd name="T89" fmla="*/ 2147483647 h 450"/>
                <a:gd name="T90" fmla="*/ 2147483647 w 570"/>
                <a:gd name="T91" fmla="*/ 2147483647 h 450"/>
                <a:gd name="T92" fmla="*/ 2147483647 w 570"/>
                <a:gd name="T93" fmla="*/ 2147483647 h 450"/>
                <a:gd name="T94" fmla="*/ 2147483647 w 570"/>
                <a:gd name="T95" fmla="*/ 2147483647 h 450"/>
                <a:gd name="T96" fmla="*/ 2147483647 w 570"/>
                <a:gd name="T97" fmla="*/ 2147483647 h 450"/>
                <a:gd name="T98" fmla="*/ 2147483647 w 570"/>
                <a:gd name="T99" fmla="*/ 2147483647 h 450"/>
                <a:gd name="T100" fmla="*/ 2147483647 w 570"/>
                <a:gd name="T101" fmla="*/ 2147483647 h 450"/>
                <a:gd name="T102" fmla="*/ 2147483647 w 570"/>
                <a:gd name="T103" fmla="*/ 2147483647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0"/>
                <a:gd name="T157" fmla="*/ 0 h 450"/>
                <a:gd name="T158" fmla="*/ 570 w 570"/>
                <a:gd name="T159" fmla="*/ 450 h 4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0" h="450">
                  <a:moveTo>
                    <a:pt x="0" y="312"/>
                  </a:moveTo>
                  <a:lnTo>
                    <a:pt x="6" y="366"/>
                  </a:lnTo>
                  <a:lnTo>
                    <a:pt x="6" y="390"/>
                  </a:lnTo>
                  <a:lnTo>
                    <a:pt x="30" y="384"/>
                  </a:lnTo>
                  <a:lnTo>
                    <a:pt x="30" y="390"/>
                  </a:lnTo>
                  <a:lnTo>
                    <a:pt x="36" y="396"/>
                  </a:lnTo>
                  <a:lnTo>
                    <a:pt x="36" y="408"/>
                  </a:lnTo>
                  <a:lnTo>
                    <a:pt x="42" y="420"/>
                  </a:lnTo>
                  <a:lnTo>
                    <a:pt x="54" y="426"/>
                  </a:lnTo>
                  <a:lnTo>
                    <a:pt x="60" y="432"/>
                  </a:lnTo>
                  <a:lnTo>
                    <a:pt x="72" y="432"/>
                  </a:lnTo>
                  <a:lnTo>
                    <a:pt x="78" y="438"/>
                  </a:lnTo>
                  <a:lnTo>
                    <a:pt x="90" y="438"/>
                  </a:lnTo>
                  <a:lnTo>
                    <a:pt x="96" y="432"/>
                  </a:lnTo>
                  <a:lnTo>
                    <a:pt x="96" y="426"/>
                  </a:lnTo>
                  <a:lnTo>
                    <a:pt x="120" y="414"/>
                  </a:lnTo>
                  <a:lnTo>
                    <a:pt x="150" y="414"/>
                  </a:lnTo>
                  <a:lnTo>
                    <a:pt x="168" y="420"/>
                  </a:lnTo>
                  <a:lnTo>
                    <a:pt x="186" y="438"/>
                  </a:lnTo>
                  <a:lnTo>
                    <a:pt x="186" y="450"/>
                  </a:lnTo>
                  <a:lnTo>
                    <a:pt x="204" y="444"/>
                  </a:lnTo>
                  <a:lnTo>
                    <a:pt x="198" y="450"/>
                  </a:lnTo>
                  <a:lnTo>
                    <a:pt x="198" y="396"/>
                  </a:lnTo>
                  <a:lnTo>
                    <a:pt x="192" y="366"/>
                  </a:lnTo>
                  <a:lnTo>
                    <a:pt x="186" y="366"/>
                  </a:lnTo>
                  <a:lnTo>
                    <a:pt x="186" y="348"/>
                  </a:lnTo>
                  <a:lnTo>
                    <a:pt x="192" y="336"/>
                  </a:lnTo>
                  <a:lnTo>
                    <a:pt x="198" y="330"/>
                  </a:lnTo>
                  <a:lnTo>
                    <a:pt x="354" y="330"/>
                  </a:lnTo>
                  <a:lnTo>
                    <a:pt x="378" y="318"/>
                  </a:lnTo>
                  <a:lnTo>
                    <a:pt x="396" y="324"/>
                  </a:lnTo>
                  <a:lnTo>
                    <a:pt x="414" y="324"/>
                  </a:lnTo>
                  <a:lnTo>
                    <a:pt x="438" y="330"/>
                  </a:lnTo>
                  <a:lnTo>
                    <a:pt x="456" y="330"/>
                  </a:lnTo>
                  <a:lnTo>
                    <a:pt x="462" y="318"/>
                  </a:lnTo>
                  <a:lnTo>
                    <a:pt x="474" y="318"/>
                  </a:lnTo>
                  <a:lnTo>
                    <a:pt x="480" y="306"/>
                  </a:lnTo>
                  <a:lnTo>
                    <a:pt x="498" y="288"/>
                  </a:lnTo>
                  <a:lnTo>
                    <a:pt x="528" y="288"/>
                  </a:lnTo>
                  <a:lnTo>
                    <a:pt x="534" y="294"/>
                  </a:lnTo>
                  <a:lnTo>
                    <a:pt x="534" y="282"/>
                  </a:lnTo>
                  <a:lnTo>
                    <a:pt x="540" y="282"/>
                  </a:lnTo>
                  <a:lnTo>
                    <a:pt x="546" y="276"/>
                  </a:lnTo>
                  <a:lnTo>
                    <a:pt x="558" y="276"/>
                  </a:lnTo>
                  <a:lnTo>
                    <a:pt x="564" y="258"/>
                  </a:lnTo>
                  <a:lnTo>
                    <a:pt x="570" y="252"/>
                  </a:lnTo>
                  <a:lnTo>
                    <a:pt x="564" y="252"/>
                  </a:lnTo>
                  <a:lnTo>
                    <a:pt x="540" y="216"/>
                  </a:lnTo>
                  <a:lnTo>
                    <a:pt x="564" y="210"/>
                  </a:lnTo>
                  <a:lnTo>
                    <a:pt x="558" y="198"/>
                  </a:lnTo>
                  <a:lnTo>
                    <a:pt x="546" y="186"/>
                  </a:lnTo>
                  <a:lnTo>
                    <a:pt x="534" y="186"/>
                  </a:lnTo>
                  <a:lnTo>
                    <a:pt x="522" y="198"/>
                  </a:lnTo>
                  <a:lnTo>
                    <a:pt x="504" y="198"/>
                  </a:lnTo>
                  <a:lnTo>
                    <a:pt x="498" y="186"/>
                  </a:lnTo>
                  <a:lnTo>
                    <a:pt x="486" y="180"/>
                  </a:lnTo>
                  <a:lnTo>
                    <a:pt x="462" y="156"/>
                  </a:lnTo>
                  <a:lnTo>
                    <a:pt x="462" y="150"/>
                  </a:lnTo>
                  <a:lnTo>
                    <a:pt x="480" y="132"/>
                  </a:lnTo>
                  <a:lnTo>
                    <a:pt x="468" y="132"/>
                  </a:lnTo>
                  <a:lnTo>
                    <a:pt x="468" y="114"/>
                  </a:lnTo>
                  <a:lnTo>
                    <a:pt x="444" y="114"/>
                  </a:lnTo>
                  <a:lnTo>
                    <a:pt x="432" y="108"/>
                  </a:lnTo>
                  <a:lnTo>
                    <a:pt x="420" y="84"/>
                  </a:lnTo>
                  <a:lnTo>
                    <a:pt x="420" y="60"/>
                  </a:lnTo>
                  <a:lnTo>
                    <a:pt x="414" y="48"/>
                  </a:lnTo>
                  <a:lnTo>
                    <a:pt x="414" y="12"/>
                  </a:lnTo>
                  <a:lnTo>
                    <a:pt x="390" y="0"/>
                  </a:lnTo>
                  <a:lnTo>
                    <a:pt x="342" y="0"/>
                  </a:lnTo>
                  <a:lnTo>
                    <a:pt x="324" y="18"/>
                  </a:lnTo>
                  <a:lnTo>
                    <a:pt x="300" y="18"/>
                  </a:lnTo>
                  <a:lnTo>
                    <a:pt x="282" y="42"/>
                  </a:lnTo>
                  <a:lnTo>
                    <a:pt x="258" y="42"/>
                  </a:lnTo>
                  <a:lnTo>
                    <a:pt x="258" y="60"/>
                  </a:lnTo>
                  <a:lnTo>
                    <a:pt x="252" y="66"/>
                  </a:lnTo>
                  <a:lnTo>
                    <a:pt x="252" y="72"/>
                  </a:lnTo>
                  <a:lnTo>
                    <a:pt x="240" y="72"/>
                  </a:lnTo>
                  <a:lnTo>
                    <a:pt x="228" y="60"/>
                  </a:lnTo>
                  <a:lnTo>
                    <a:pt x="222" y="60"/>
                  </a:lnTo>
                  <a:lnTo>
                    <a:pt x="216" y="66"/>
                  </a:lnTo>
                  <a:lnTo>
                    <a:pt x="210" y="78"/>
                  </a:lnTo>
                  <a:lnTo>
                    <a:pt x="198" y="84"/>
                  </a:lnTo>
                  <a:lnTo>
                    <a:pt x="192" y="96"/>
                  </a:lnTo>
                  <a:lnTo>
                    <a:pt x="186" y="102"/>
                  </a:lnTo>
                  <a:lnTo>
                    <a:pt x="186" y="108"/>
                  </a:lnTo>
                  <a:lnTo>
                    <a:pt x="168" y="108"/>
                  </a:lnTo>
                  <a:lnTo>
                    <a:pt x="168" y="144"/>
                  </a:lnTo>
                  <a:lnTo>
                    <a:pt x="144" y="150"/>
                  </a:lnTo>
                  <a:lnTo>
                    <a:pt x="114" y="120"/>
                  </a:lnTo>
                  <a:lnTo>
                    <a:pt x="96" y="150"/>
                  </a:lnTo>
                  <a:lnTo>
                    <a:pt x="102" y="156"/>
                  </a:lnTo>
                  <a:lnTo>
                    <a:pt x="102" y="186"/>
                  </a:lnTo>
                  <a:lnTo>
                    <a:pt x="84" y="186"/>
                  </a:lnTo>
                  <a:lnTo>
                    <a:pt x="84" y="216"/>
                  </a:lnTo>
                  <a:lnTo>
                    <a:pt x="78" y="222"/>
                  </a:lnTo>
                  <a:lnTo>
                    <a:pt x="72" y="222"/>
                  </a:lnTo>
                  <a:lnTo>
                    <a:pt x="78" y="228"/>
                  </a:lnTo>
                  <a:lnTo>
                    <a:pt x="78" y="240"/>
                  </a:lnTo>
                  <a:lnTo>
                    <a:pt x="42" y="240"/>
                  </a:lnTo>
                  <a:lnTo>
                    <a:pt x="36" y="246"/>
                  </a:lnTo>
                  <a:lnTo>
                    <a:pt x="30" y="246"/>
                  </a:lnTo>
                  <a:lnTo>
                    <a:pt x="12" y="258"/>
                  </a:lnTo>
                  <a:lnTo>
                    <a:pt x="36" y="288"/>
                  </a:lnTo>
                  <a:lnTo>
                    <a:pt x="24" y="312"/>
                  </a:lnTo>
                  <a:lnTo>
                    <a:pt x="0" y="31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82" name="Bulgarien" descr="© INSCALE GmbH, 05.05.2010&#10;http://www.presentationload.com/">
              <a:extLst>
                <a:ext uri="{FF2B5EF4-FFF2-40B4-BE49-F238E27FC236}">
                  <a16:creationId xmlns:a16="http://schemas.microsoft.com/office/drawing/2014/main" id="{E4606204-F193-4D89-9BEB-A64A7D829F06}"/>
                </a:ext>
              </a:extLst>
            </p:cNvPr>
            <p:cNvSpPr>
              <a:spLocks/>
            </p:cNvSpPr>
            <p:nvPr/>
          </p:nvSpPr>
          <p:spPr bwMode="gray">
            <a:xfrm>
              <a:off x="4729911" y="2839841"/>
              <a:ext cx="156802" cy="89378"/>
            </a:xfrm>
            <a:custGeom>
              <a:avLst/>
              <a:gdLst>
                <a:gd name="T0" fmla="*/ 2147483647 w 396"/>
                <a:gd name="T1" fmla="*/ 2147483647 h 228"/>
                <a:gd name="T2" fmla="*/ 2147483647 w 396"/>
                <a:gd name="T3" fmla="*/ 2147483647 h 228"/>
                <a:gd name="T4" fmla="*/ 2147483647 w 396"/>
                <a:gd name="T5" fmla="*/ 2147483647 h 228"/>
                <a:gd name="T6" fmla="*/ 2147483647 w 396"/>
                <a:gd name="T7" fmla="*/ 2147483647 h 228"/>
                <a:gd name="T8" fmla="*/ 2147483647 w 396"/>
                <a:gd name="T9" fmla="*/ 2147483647 h 228"/>
                <a:gd name="T10" fmla="*/ 2147483647 w 396"/>
                <a:gd name="T11" fmla="*/ 2147483647 h 228"/>
                <a:gd name="T12" fmla="*/ 2147483647 w 396"/>
                <a:gd name="T13" fmla="*/ 2147483647 h 228"/>
                <a:gd name="T14" fmla="*/ 2147483647 w 396"/>
                <a:gd name="T15" fmla="*/ 0 h 228"/>
                <a:gd name="T16" fmla="*/ 2147483647 w 396"/>
                <a:gd name="T17" fmla="*/ 2147483647 h 228"/>
                <a:gd name="T18" fmla="*/ 2147483647 w 396"/>
                <a:gd name="T19" fmla="*/ 2147483647 h 228"/>
                <a:gd name="T20" fmla="*/ 2147483647 w 396"/>
                <a:gd name="T21" fmla="*/ 2147483647 h 228"/>
                <a:gd name="T22" fmla="*/ 2147483647 w 396"/>
                <a:gd name="T23" fmla="*/ 2147483647 h 228"/>
                <a:gd name="T24" fmla="*/ 2147483647 w 396"/>
                <a:gd name="T25" fmla="*/ 2147483647 h 228"/>
                <a:gd name="T26" fmla="*/ 2147483647 w 396"/>
                <a:gd name="T27" fmla="*/ 2147483647 h 228"/>
                <a:gd name="T28" fmla="*/ 2147483647 w 396"/>
                <a:gd name="T29" fmla="*/ 2147483647 h 228"/>
                <a:gd name="T30" fmla="*/ 2147483647 w 396"/>
                <a:gd name="T31" fmla="*/ 2147483647 h 228"/>
                <a:gd name="T32" fmla="*/ 2147483647 w 396"/>
                <a:gd name="T33" fmla="*/ 2147483647 h 228"/>
                <a:gd name="T34" fmla="*/ 2147483647 w 396"/>
                <a:gd name="T35" fmla="*/ 2147483647 h 228"/>
                <a:gd name="T36" fmla="*/ 2147483647 w 396"/>
                <a:gd name="T37" fmla="*/ 2147483647 h 228"/>
                <a:gd name="T38" fmla="*/ 2147483647 w 396"/>
                <a:gd name="T39" fmla="*/ 2147483647 h 228"/>
                <a:gd name="T40" fmla="*/ 2147483647 w 396"/>
                <a:gd name="T41" fmla="*/ 2147483647 h 228"/>
                <a:gd name="T42" fmla="*/ 2147483647 w 396"/>
                <a:gd name="T43" fmla="*/ 0 h 228"/>
                <a:gd name="T44" fmla="*/ 0 w 396"/>
                <a:gd name="T45" fmla="*/ 2147483647 h 228"/>
                <a:gd name="T46" fmla="*/ 2147483647 w 396"/>
                <a:gd name="T47" fmla="*/ 2147483647 h 228"/>
                <a:gd name="T48" fmla="*/ 2147483647 w 396"/>
                <a:gd name="T49" fmla="*/ 2147483647 h 228"/>
                <a:gd name="T50" fmla="*/ 2147483647 w 396"/>
                <a:gd name="T51" fmla="*/ 2147483647 h 228"/>
                <a:gd name="T52" fmla="*/ 2147483647 w 396"/>
                <a:gd name="T53" fmla="*/ 2147483647 h 228"/>
                <a:gd name="T54" fmla="*/ 2147483647 w 396"/>
                <a:gd name="T55" fmla="*/ 2147483647 h 228"/>
                <a:gd name="T56" fmla="*/ 0 w 396"/>
                <a:gd name="T57" fmla="*/ 2147483647 h 228"/>
                <a:gd name="T58" fmla="*/ 2147483647 w 396"/>
                <a:gd name="T59" fmla="*/ 2147483647 h 228"/>
                <a:gd name="T60" fmla="*/ 2147483647 w 396"/>
                <a:gd name="T61" fmla="*/ 2147483647 h 228"/>
                <a:gd name="T62" fmla="*/ 2147483647 w 396"/>
                <a:gd name="T63" fmla="*/ 2147483647 h 228"/>
                <a:gd name="T64" fmla="*/ 2147483647 w 396"/>
                <a:gd name="T65" fmla="*/ 2147483647 h 228"/>
                <a:gd name="T66" fmla="*/ 2147483647 w 396"/>
                <a:gd name="T67" fmla="*/ 2147483647 h 228"/>
                <a:gd name="T68" fmla="*/ 2147483647 w 396"/>
                <a:gd name="T69" fmla="*/ 2147483647 h 228"/>
                <a:gd name="T70" fmla="*/ 2147483647 w 396"/>
                <a:gd name="T71" fmla="*/ 2147483647 h 228"/>
                <a:gd name="T72" fmla="*/ 2147483647 w 396"/>
                <a:gd name="T73" fmla="*/ 2147483647 h 228"/>
                <a:gd name="T74" fmla="*/ 2147483647 w 396"/>
                <a:gd name="T75" fmla="*/ 2147483647 h 228"/>
                <a:gd name="T76" fmla="*/ 2147483647 w 396"/>
                <a:gd name="T77" fmla="*/ 2147483647 h 228"/>
                <a:gd name="T78" fmla="*/ 2147483647 w 396"/>
                <a:gd name="T79" fmla="*/ 2147483647 h 228"/>
                <a:gd name="T80" fmla="*/ 2147483647 w 396"/>
                <a:gd name="T81" fmla="*/ 2147483647 h 228"/>
                <a:gd name="T82" fmla="*/ 2147483647 w 396"/>
                <a:gd name="T83" fmla="*/ 2147483647 h 228"/>
                <a:gd name="T84" fmla="*/ 2147483647 w 396"/>
                <a:gd name="T85" fmla="*/ 2147483647 h 228"/>
                <a:gd name="T86" fmla="*/ 2147483647 w 396"/>
                <a:gd name="T87" fmla="*/ 2147483647 h 228"/>
                <a:gd name="T88" fmla="*/ 2147483647 w 396"/>
                <a:gd name="T89" fmla="*/ 2147483647 h 228"/>
                <a:gd name="T90" fmla="*/ 2147483647 w 396"/>
                <a:gd name="T91" fmla="*/ 2147483647 h 228"/>
                <a:gd name="T92" fmla="*/ 2147483647 w 396"/>
                <a:gd name="T93" fmla="*/ 2147483647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6"/>
                <a:gd name="T142" fmla="*/ 0 h 228"/>
                <a:gd name="T143" fmla="*/ 396 w 396"/>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6" h="228">
                  <a:moveTo>
                    <a:pt x="372" y="168"/>
                  </a:moveTo>
                  <a:lnTo>
                    <a:pt x="336" y="126"/>
                  </a:lnTo>
                  <a:lnTo>
                    <a:pt x="354" y="108"/>
                  </a:lnTo>
                  <a:lnTo>
                    <a:pt x="354" y="78"/>
                  </a:lnTo>
                  <a:lnTo>
                    <a:pt x="360" y="72"/>
                  </a:lnTo>
                  <a:lnTo>
                    <a:pt x="372" y="66"/>
                  </a:lnTo>
                  <a:lnTo>
                    <a:pt x="396" y="66"/>
                  </a:lnTo>
                  <a:lnTo>
                    <a:pt x="396" y="48"/>
                  </a:lnTo>
                  <a:lnTo>
                    <a:pt x="390" y="36"/>
                  </a:lnTo>
                  <a:lnTo>
                    <a:pt x="372" y="36"/>
                  </a:lnTo>
                  <a:lnTo>
                    <a:pt x="348" y="12"/>
                  </a:lnTo>
                  <a:lnTo>
                    <a:pt x="324" y="12"/>
                  </a:lnTo>
                  <a:lnTo>
                    <a:pt x="312" y="6"/>
                  </a:lnTo>
                  <a:lnTo>
                    <a:pt x="300" y="6"/>
                  </a:lnTo>
                  <a:lnTo>
                    <a:pt x="288" y="0"/>
                  </a:lnTo>
                  <a:lnTo>
                    <a:pt x="282" y="0"/>
                  </a:lnTo>
                  <a:lnTo>
                    <a:pt x="282" y="12"/>
                  </a:lnTo>
                  <a:lnTo>
                    <a:pt x="252" y="6"/>
                  </a:lnTo>
                  <a:lnTo>
                    <a:pt x="252" y="12"/>
                  </a:lnTo>
                  <a:lnTo>
                    <a:pt x="246" y="12"/>
                  </a:lnTo>
                  <a:lnTo>
                    <a:pt x="234" y="18"/>
                  </a:lnTo>
                  <a:lnTo>
                    <a:pt x="228" y="18"/>
                  </a:lnTo>
                  <a:lnTo>
                    <a:pt x="222" y="24"/>
                  </a:lnTo>
                  <a:lnTo>
                    <a:pt x="222" y="36"/>
                  </a:lnTo>
                  <a:lnTo>
                    <a:pt x="216" y="42"/>
                  </a:lnTo>
                  <a:lnTo>
                    <a:pt x="198" y="42"/>
                  </a:lnTo>
                  <a:lnTo>
                    <a:pt x="186" y="36"/>
                  </a:lnTo>
                  <a:lnTo>
                    <a:pt x="180" y="30"/>
                  </a:lnTo>
                  <a:lnTo>
                    <a:pt x="156" y="30"/>
                  </a:lnTo>
                  <a:lnTo>
                    <a:pt x="138" y="24"/>
                  </a:lnTo>
                  <a:lnTo>
                    <a:pt x="138" y="30"/>
                  </a:lnTo>
                  <a:lnTo>
                    <a:pt x="132" y="36"/>
                  </a:lnTo>
                  <a:lnTo>
                    <a:pt x="108" y="36"/>
                  </a:lnTo>
                  <a:lnTo>
                    <a:pt x="102" y="30"/>
                  </a:lnTo>
                  <a:lnTo>
                    <a:pt x="90" y="30"/>
                  </a:lnTo>
                  <a:lnTo>
                    <a:pt x="66" y="18"/>
                  </a:lnTo>
                  <a:lnTo>
                    <a:pt x="54" y="30"/>
                  </a:lnTo>
                  <a:lnTo>
                    <a:pt x="36" y="30"/>
                  </a:lnTo>
                  <a:lnTo>
                    <a:pt x="30" y="24"/>
                  </a:lnTo>
                  <a:lnTo>
                    <a:pt x="36" y="18"/>
                  </a:lnTo>
                  <a:lnTo>
                    <a:pt x="36" y="12"/>
                  </a:lnTo>
                  <a:lnTo>
                    <a:pt x="42" y="6"/>
                  </a:lnTo>
                  <a:lnTo>
                    <a:pt x="36" y="0"/>
                  </a:lnTo>
                  <a:lnTo>
                    <a:pt x="12" y="0"/>
                  </a:lnTo>
                  <a:lnTo>
                    <a:pt x="12" y="12"/>
                  </a:lnTo>
                  <a:lnTo>
                    <a:pt x="0" y="24"/>
                  </a:lnTo>
                  <a:lnTo>
                    <a:pt x="0" y="42"/>
                  </a:lnTo>
                  <a:lnTo>
                    <a:pt x="18" y="48"/>
                  </a:lnTo>
                  <a:lnTo>
                    <a:pt x="12" y="60"/>
                  </a:lnTo>
                  <a:lnTo>
                    <a:pt x="30" y="66"/>
                  </a:lnTo>
                  <a:lnTo>
                    <a:pt x="36" y="72"/>
                  </a:lnTo>
                  <a:lnTo>
                    <a:pt x="36" y="96"/>
                  </a:lnTo>
                  <a:lnTo>
                    <a:pt x="30" y="102"/>
                  </a:lnTo>
                  <a:lnTo>
                    <a:pt x="6" y="102"/>
                  </a:lnTo>
                  <a:lnTo>
                    <a:pt x="6" y="108"/>
                  </a:lnTo>
                  <a:lnTo>
                    <a:pt x="12" y="114"/>
                  </a:lnTo>
                  <a:lnTo>
                    <a:pt x="12" y="138"/>
                  </a:lnTo>
                  <a:lnTo>
                    <a:pt x="0" y="138"/>
                  </a:lnTo>
                  <a:lnTo>
                    <a:pt x="12" y="156"/>
                  </a:lnTo>
                  <a:lnTo>
                    <a:pt x="18" y="156"/>
                  </a:lnTo>
                  <a:lnTo>
                    <a:pt x="18" y="168"/>
                  </a:lnTo>
                  <a:lnTo>
                    <a:pt x="36" y="180"/>
                  </a:lnTo>
                  <a:lnTo>
                    <a:pt x="42" y="186"/>
                  </a:lnTo>
                  <a:lnTo>
                    <a:pt x="48" y="198"/>
                  </a:lnTo>
                  <a:lnTo>
                    <a:pt x="48" y="210"/>
                  </a:lnTo>
                  <a:lnTo>
                    <a:pt x="42" y="222"/>
                  </a:lnTo>
                  <a:lnTo>
                    <a:pt x="48" y="222"/>
                  </a:lnTo>
                  <a:lnTo>
                    <a:pt x="54" y="228"/>
                  </a:lnTo>
                  <a:lnTo>
                    <a:pt x="66" y="228"/>
                  </a:lnTo>
                  <a:lnTo>
                    <a:pt x="78" y="222"/>
                  </a:lnTo>
                  <a:lnTo>
                    <a:pt x="84" y="216"/>
                  </a:lnTo>
                  <a:lnTo>
                    <a:pt x="108" y="222"/>
                  </a:lnTo>
                  <a:lnTo>
                    <a:pt x="114" y="204"/>
                  </a:lnTo>
                  <a:lnTo>
                    <a:pt x="144" y="198"/>
                  </a:lnTo>
                  <a:lnTo>
                    <a:pt x="144" y="204"/>
                  </a:lnTo>
                  <a:lnTo>
                    <a:pt x="162" y="222"/>
                  </a:lnTo>
                  <a:lnTo>
                    <a:pt x="174" y="222"/>
                  </a:lnTo>
                  <a:lnTo>
                    <a:pt x="180" y="216"/>
                  </a:lnTo>
                  <a:lnTo>
                    <a:pt x="192" y="228"/>
                  </a:lnTo>
                  <a:lnTo>
                    <a:pt x="204" y="228"/>
                  </a:lnTo>
                  <a:lnTo>
                    <a:pt x="216" y="216"/>
                  </a:lnTo>
                  <a:lnTo>
                    <a:pt x="228" y="228"/>
                  </a:lnTo>
                  <a:lnTo>
                    <a:pt x="246" y="228"/>
                  </a:lnTo>
                  <a:lnTo>
                    <a:pt x="252" y="222"/>
                  </a:lnTo>
                  <a:lnTo>
                    <a:pt x="252" y="204"/>
                  </a:lnTo>
                  <a:lnTo>
                    <a:pt x="246" y="198"/>
                  </a:lnTo>
                  <a:lnTo>
                    <a:pt x="264" y="192"/>
                  </a:lnTo>
                  <a:lnTo>
                    <a:pt x="282" y="168"/>
                  </a:lnTo>
                  <a:lnTo>
                    <a:pt x="312" y="174"/>
                  </a:lnTo>
                  <a:lnTo>
                    <a:pt x="324" y="156"/>
                  </a:lnTo>
                  <a:lnTo>
                    <a:pt x="336" y="174"/>
                  </a:lnTo>
                  <a:lnTo>
                    <a:pt x="348" y="174"/>
                  </a:lnTo>
                  <a:lnTo>
                    <a:pt x="360" y="180"/>
                  </a:lnTo>
                  <a:lnTo>
                    <a:pt x="372" y="180"/>
                  </a:lnTo>
                  <a:lnTo>
                    <a:pt x="372" y="168"/>
                  </a:lnTo>
                  <a:close/>
                </a:path>
              </a:pathLst>
            </a:custGeom>
            <a:solidFill>
              <a:schemeClr val="accent1"/>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83" name="Brasilien" descr="© INSCALE GmbH, 05.05.2010&#10;http://www.presentationload.com/">
              <a:extLst>
                <a:ext uri="{FF2B5EF4-FFF2-40B4-BE49-F238E27FC236}">
                  <a16:creationId xmlns:a16="http://schemas.microsoft.com/office/drawing/2014/main" id="{06D9AEEF-3AF7-4798-A08E-747FD7BEA1A5}"/>
                </a:ext>
              </a:extLst>
            </p:cNvPr>
            <p:cNvSpPr>
              <a:spLocks noEditPoints="1"/>
            </p:cNvSpPr>
            <p:nvPr/>
          </p:nvSpPr>
          <p:spPr bwMode="gray">
            <a:xfrm>
              <a:off x="2039184" y="4083283"/>
              <a:ext cx="1107024" cy="1251283"/>
            </a:xfrm>
            <a:custGeom>
              <a:avLst/>
              <a:gdLst>
                <a:gd name="T0" fmla="*/ 2147483647 w 2784"/>
                <a:gd name="T1" fmla="*/ 2147483647 h 3150"/>
                <a:gd name="T2" fmla="*/ 2147483647 w 2784"/>
                <a:gd name="T3" fmla="*/ 2147483647 h 3150"/>
                <a:gd name="T4" fmla="*/ 2147483647 w 2784"/>
                <a:gd name="T5" fmla="*/ 2147483647 h 3150"/>
                <a:gd name="T6" fmla="*/ 2147483647 w 2784"/>
                <a:gd name="T7" fmla="*/ 2147483647 h 3150"/>
                <a:gd name="T8" fmla="*/ 2147483647 w 2784"/>
                <a:gd name="T9" fmla="*/ 2147483647 h 3150"/>
                <a:gd name="T10" fmla="*/ 2147483647 w 2784"/>
                <a:gd name="T11" fmla="*/ 2147483647 h 3150"/>
                <a:gd name="T12" fmla="*/ 2147483647 w 2784"/>
                <a:gd name="T13" fmla="*/ 2147483647 h 3150"/>
                <a:gd name="T14" fmla="*/ 2147483647 w 2784"/>
                <a:gd name="T15" fmla="*/ 2147483647 h 3150"/>
                <a:gd name="T16" fmla="*/ 2147483647 w 2784"/>
                <a:gd name="T17" fmla="*/ 2147483647 h 3150"/>
                <a:gd name="T18" fmla="*/ 2147483647 w 2784"/>
                <a:gd name="T19" fmla="*/ 2147483647 h 3150"/>
                <a:gd name="T20" fmla="*/ 2147483647 w 2784"/>
                <a:gd name="T21" fmla="*/ 2147483647 h 3150"/>
                <a:gd name="T22" fmla="*/ 2147483647 w 2784"/>
                <a:gd name="T23" fmla="*/ 2147483647 h 3150"/>
                <a:gd name="T24" fmla="*/ 2147483647 w 2784"/>
                <a:gd name="T25" fmla="*/ 2147483647 h 3150"/>
                <a:gd name="T26" fmla="*/ 2147483647 w 2784"/>
                <a:gd name="T27" fmla="*/ 2147483647 h 3150"/>
                <a:gd name="T28" fmla="*/ 2147483647 w 2784"/>
                <a:gd name="T29" fmla="*/ 2147483647 h 3150"/>
                <a:gd name="T30" fmla="*/ 2147483647 w 2784"/>
                <a:gd name="T31" fmla="*/ 2147483647 h 3150"/>
                <a:gd name="T32" fmla="*/ 2147483647 w 2784"/>
                <a:gd name="T33" fmla="*/ 2147483647 h 3150"/>
                <a:gd name="T34" fmla="*/ 2147483647 w 2784"/>
                <a:gd name="T35" fmla="*/ 2147483647 h 3150"/>
                <a:gd name="T36" fmla="*/ 2147483647 w 2784"/>
                <a:gd name="T37" fmla="*/ 2147483647 h 3150"/>
                <a:gd name="T38" fmla="*/ 2147483647 w 2784"/>
                <a:gd name="T39" fmla="*/ 2147483647 h 3150"/>
                <a:gd name="T40" fmla="*/ 2147483647 w 2784"/>
                <a:gd name="T41" fmla="*/ 2147483647 h 3150"/>
                <a:gd name="T42" fmla="*/ 2147483647 w 2784"/>
                <a:gd name="T43" fmla="*/ 2147483647 h 3150"/>
                <a:gd name="T44" fmla="*/ 2147483647 w 2784"/>
                <a:gd name="T45" fmla="*/ 2147483647 h 3150"/>
                <a:gd name="T46" fmla="*/ 2147483647 w 2784"/>
                <a:gd name="T47" fmla="*/ 2147483647 h 3150"/>
                <a:gd name="T48" fmla="*/ 2147483647 w 2784"/>
                <a:gd name="T49" fmla="*/ 2147483647 h 3150"/>
                <a:gd name="T50" fmla="*/ 2147483647 w 2784"/>
                <a:gd name="T51" fmla="*/ 2147483647 h 3150"/>
                <a:gd name="T52" fmla="*/ 2147483647 w 2784"/>
                <a:gd name="T53" fmla="*/ 2147483647 h 3150"/>
                <a:gd name="T54" fmla="*/ 2147483647 w 2784"/>
                <a:gd name="T55" fmla="*/ 2147483647 h 3150"/>
                <a:gd name="T56" fmla="*/ 2147483647 w 2784"/>
                <a:gd name="T57" fmla="*/ 2147483647 h 3150"/>
                <a:gd name="T58" fmla="*/ 2147483647 w 2784"/>
                <a:gd name="T59" fmla="*/ 2147483647 h 3150"/>
                <a:gd name="T60" fmla="*/ 2147483647 w 2784"/>
                <a:gd name="T61" fmla="*/ 2147483647 h 3150"/>
                <a:gd name="T62" fmla="*/ 2147483647 w 2784"/>
                <a:gd name="T63" fmla="*/ 2147483647 h 3150"/>
                <a:gd name="T64" fmla="*/ 2147483647 w 2784"/>
                <a:gd name="T65" fmla="*/ 2147483647 h 3150"/>
                <a:gd name="T66" fmla="*/ 2147483647 w 2784"/>
                <a:gd name="T67" fmla="*/ 2147483647 h 3150"/>
                <a:gd name="T68" fmla="*/ 2147483647 w 2784"/>
                <a:gd name="T69" fmla="*/ 2147483647 h 3150"/>
                <a:gd name="T70" fmla="*/ 2147483647 w 2784"/>
                <a:gd name="T71" fmla="*/ 2147483647 h 3150"/>
                <a:gd name="T72" fmla="*/ 2147483647 w 2784"/>
                <a:gd name="T73" fmla="*/ 2147483647 h 3150"/>
                <a:gd name="T74" fmla="*/ 2147483647 w 2784"/>
                <a:gd name="T75" fmla="*/ 2147483647 h 3150"/>
                <a:gd name="T76" fmla="*/ 2147483647 w 2784"/>
                <a:gd name="T77" fmla="*/ 2147483647 h 3150"/>
                <a:gd name="T78" fmla="*/ 2147483647 w 2784"/>
                <a:gd name="T79" fmla="*/ 2147483647 h 3150"/>
                <a:gd name="T80" fmla="*/ 2147483647 w 2784"/>
                <a:gd name="T81" fmla="*/ 2147483647 h 3150"/>
                <a:gd name="T82" fmla="*/ 2147483647 w 2784"/>
                <a:gd name="T83" fmla="*/ 2147483647 h 3150"/>
                <a:gd name="T84" fmla="*/ 2147483647 w 2784"/>
                <a:gd name="T85" fmla="*/ 2147483647 h 3150"/>
                <a:gd name="T86" fmla="*/ 2147483647 w 2784"/>
                <a:gd name="T87" fmla="*/ 2147483647 h 3150"/>
                <a:gd name="T88" fmla="*/ 2147483647 w 2784"/>
                <a:gd name="T89" fmla="*/ 2147483647 h 3150"/>
                <a:gd name="T90" fmla="*/ 2147483647 w 2784"/>
                <a:gd name="T91" fmla="*/ 2147483647 h 3150"/>
                <a:gd name="T92" fmla="*/ 2147483647 w 2784"/>
                <a:gd name="T93" fmla="*/ 2147483647 h 3150"/>
                <a:gd name="T94" fmla="*/ 2147483647 w 2784"/>
                <a:gd name="T95" fmla="*/ 2147483647 h 3150"/>
                <a:gd name="T96" fmla="*/ 2147483647 w 2784"/>
                <a:gd name="T97" fmla="*/ 2147483647 h 3150"/>
                <a:gd name="T98" fmla="*/ 2147483647 w 2784"/>
                <a:gd name="T99" fmla="*/ 2147483647 h 3150"/>
                <a:gd name="T100" fmla="*/ 2147483647 w 2784"/>
                <a:gd name="T101" fmla="*/ 2147483647 h 3150"/>
                <a:gd name="T102" fmla="*/ 2147483647 w 2784"/>
                <a:gd name="T103" fmla="*/ 2147483647 h 3150"/>
                <a:gd name="T104" fmla="*/ 2147483647 w 2784"/>
                <a:gd name="T105" fmla="*/ 2147483647 h 3150"/>
                <a:gd name="T106" fmla="*/ 2147483647 w 2784"/>
                <a:gd name="T107" fmla="*/ 2147483647 h 3150"/>
                <a:gd name="T108" fmla="*/ 2147483647 w 2784"/>
                <a:gd name="T109" fmla="*/ 2147483647 h 3150"/>
                <a:gd name="T110" fmla="*/ 2147483647 w 2784"/>
                <a:gd name="T111" fmla="*/ 2147483647 h 3150"/>
                <a:gd name="T112" fmla="*/ 2147483647 w 2784"/>
                <a:gd name="T113" fmla="*/ 2147483647 h 3150"/>
                <a:gd name="T114" fmla="*/ 2147483647 w 2784"/>
                <a:gd name="T115" fmla="*/ 2147483647 h 3150"/>
                <a:gd name="T116" fmla="*/ 2147483647 w 2784"/>
                <a:gd name="T117" fmla="*/ 2147483647 h 3150"/>
                <a:gd name="T118" fmla="*/ 2147483647 w 2784"/>
                <a:gd name="T119" fmla="*/ 2147483647 h 3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84"/>
                <a:gd name="T181" fmla="*/ 0 h 3150"/>
                <a:gd name="T182" fmla="*/ 2784 w 2784"/>
                <a:gd name="T183" fmla="*/ 3150 h 3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84" h="3150">
                  <a:moveTo>
                    <a:pt x="1716" y="450"/>
                  </a:moveTo>
                  <a:lnTo>
                    <a:pt x="1710" y="450"/>
                  </a:lnTo>
                  <a:lnTo>
                    <a:pt x="1698" y="444"/>
                  </a:lnTo>
                  <a:lnTo>
                    <a:pt x="1680" y="444"/>
                  </a:lnTo>
                  <a:lnTo>
                    <a:pt x="1662" y="438"/>
                  </a:lnTo>
                  <a:lnTo>
                    <a:pt x="1650" y="438"/>
                  </a:lnTo>
                  <a:lnTo>
                    <a:pt x="1644" y="444"/>
                  </a:lnTo>
                  <a:lnTo>
                    <a:pt x="1644" y="450"/>
                  </a:lnTo>
                  <a:lnTo>
                    <a:pt x="1650" y="462"/>
                  </a:lnTo>
                  <a:lnTo>
                    <a:pt x="1650" y="468"/>
                  </a:lnTo>
                  <a:lnTo>
                    <a:pt x="1656" y="480"/>
                  </a:lnTo>
                  <a:lnTo>
                    <a:pt x="1638" y="480"/>
                  </a:lnTo>
                  <a:lnTo>
                    <a:pt x="1638" y="504"/>
                  </a:lnTo>
                  <a:lnTo>
                    <a:pt x="1656" y="516"/>
                  </a:lnTo>
                  <a:lnTo>
                    <a:pt x="1644" y="528"/>
                  </a:lnTo>
                  <a:lnTo>
                    <a:pt x="1644" y="540"/>
                  </a:lnTo>
                  <a:lnTo>
                    <a:pt x="1656" y="564"/>
                  </a:lnTo>
                  <a:lnTo>
                    <a:pt x="1668" y="570"/>
                  </a:lnTo>
                  <a:lnTo>
                    <a:pt x="1674" y="576"/>
                  </a:lnTo>
                  <a:lnTo>
                    <a:pt x="1686" y="576"/>
                  </a:lnTo>
                  <a:lnTo>
                    <a:pt x="1698" y="570"/>
                  </a:lnTo>
                  <a:lnTo>
                    <a:pt x="1710" y="570"/>
                  </a:lnTo>
                  <a:lnTo>
                    <a:pt x="1716" y="564"/>
                  </a:lnTo>
                  <a:lnTo>
                    <a:pt x="1716" y="558"/>
                  </a:lnTo>
                  <a:lnTo>
                    <a:pt x="1728" y="558"/>
                  </a:lnTo>
                  <a:lnTo>
                    <a:pt x="1740" y="552"/>
                  </a:lnTo>
                  <a:lnTo>
                    <a:pt x="1758" y="552"/>
                  </a:lnTo>
                  <a:lnTo>
                    <a:pt x="1770" y="546"/>
                  </a:lnTo>
                  <a:lnTo>
                    <a:pt x="1776" y="534"/>
                  </a:lnTo>
                  <a:lnTo>
                    <a:pt x="1788" y="492"/>
                  </a:lnTo>
                  <a:lnTo>
                    <a:pt x="1794" y="480"/>
                  </a:lnTo>
                  <a:lnTo>
                    <a:pt x="1794" y="474"/>
                  </a:lnTo>
                  <a:lnTo>
                    <a:pt x="1800" y="462"/>
                  </a:lnTo>
                  <a:lnTo>
                    <a:pt x="1800" y="444"/>
                  </a:lnTo>
                  <a:lnTo>
                    <a:pt x="1794" y="438"/>
                  </a:lnTo>
                  <a:lnTo>
                    <a:pt x="1752" y="438"/>
                  </a:lnTo>
                  <a:lnTo>
                    <a:pt x="1740" y="444"/>
                  </a:lnTo>
                  <a:lnTo>
                    <a:pt x="1734" y="444"/>
                  </a:lnTo>
                  <a:lnTo>
                    <a:pt x="1722" y="450"/>
                  </a:lnTo>
                  <a:lnTo>
                    <a:pt x="1716" y="450"/>
                  </a:lnTo>
                  <a:close/>
                  <a:moveTo>
                    <a:pt x="1716" y="438"/>
                  </a:moveTo>
                  <a:lnTo>
                    <a:pt x="1740" y="432"/>
                  </a:lnTo>
                  <a:lnTo>
                    <a:pt x="1722" y="414"/>
                  </a:lnTo>
                  <a:lnTo>
                    <a:pt x="1698" y="438"/>
                  </a:lnTo>
                  <a:lnTo>
                    <a:pt x="1716" y="438"/>
                  </a:lnTo>
                  <a:close/>
                  <a:moveTo>
                    <a:pt x="1686" y="408"/>
                  </a:moveTo>
                  <a:lnTo>
                    <a:pt x="1662" y="408"/>
                  </a:lnTo>
                  <a:lnTo>
                    <a:pt x="1662" y="426"/>
                  </a:lnTo>
                  <a:lnTo>
                    <a:pt x="1698" y="426"/>
                  </a:lnTo>
                  <a:lnTo>
                    <a:pt x="1716" y="402"/>
                  </a:lnTo>
                  <a:lnTo>
                    <a:pt x="1698" y="384"/>
                  </a:lnTo>
                  <a:lnTo>
                    <a:pt x="1686" y="408"/>
                  </a:lnTo>
                  <a:close/>
                  <a:moveTo>
                    <a:pt x="1572" y="492"/>
                  </a:moveTo>
                  <a:lnTo>
                    <a:pt x="1572" y="510"/>
                  </a:lnTo>
                  <a:lnTo>
                    <a:pt x="1554" y="546"/>
                  </a:lnTo>
                  <a:lnTo>
                    <a:pt x="1584" y="528"/>
                  </a:lnTo>
                  <a:lnTo>
                    <a:pt x="1590" y="516"/>
                  </a:lnTo>
                  <a:lnTo>
                    <a:pt x="1596" y="510"/>
                  </a:lnTo>
                  <a:lnTo>
                    <a:pt x="1608" y="486"/>
                  </a:lnTo>
                  <a:lnTo>
                    <a:pt x="1608" y="480"/>
                  </a:lnTo>
                  <a:lnTo>
                    <a:pt x="1602" y="474"/>
                  </a:lnTo>
                  <a:lnTo>
                    <a:pt x="1596" y="474"/>
                  </a:lnTo>
                  <a:lnTo>
                    <a:pt x="1584" y="480"/>
                  </a:lnTo>
                  <a:lnTo>
                    <a:pt x="1572" y="492"/>
                  </a:lnTo>
                  <a:close/>
                  <a:moveTo>
                    <a:pt x="1632" y="426"/>
                  </a:moveTo>
                  <a:lnTo>
                    <a:pt x="1608" y="450"/>
                  </a:lnTo>
                  <a:lnTo>
                    <a:pt x="1626" y="456"/>
                  </a:lnTo>
                  <a:lnTo>
                    <a:pt x="1644" y="432"/>
                  </a:lnTo>
                  <a:lnTo>
                    <a:pt x="1632" y="426"/>
                  </a:lnTo>
                  <a:close/>
                  <a:moveTo>
                    <a:pt x="2778" y="1002"/>
                  </a:moveTo>
                  <a:lnTo>
                    <a:pt x="2778" y="984"/>
                  </a:lnTo>
                  <a:lnTo>
                    <a:pt x="2772" y="972"/>
                  </a:lnTo>
                  <a:lnTo>
                    <a:pt x="2760" y="954"/>
                  </a:lnTo>
                  <a:lnTo>
                    <a:pt x="2754" y="936"/>
                  </a:lnTo>
                  <a:lnTo>
                    <a:pt x="2754" y="870"/>
                  </a:lnTo>
                  <a:lnTo>
                    <a:pt x="2724" y="840"/>
                  </a:lnTo>
                  <a:lnTo>
                    <a:pt x="2694" y="834"/>
                  </a:lnTo>
                  <a:lnTo>
                    <a:pt x="2646" y="840"/>
                  </a:lnTo>
                  <a:lnTo>
                    <a:pt x="2628" y="822"/>
                  </a:lnTo>
                  <a:lnTo>
                    <a:pt x="2610" y="822"/>
                  </a:lnTo>
                  <a:lnTo>
                    <a:pt x="2592" y="798"/>
                  </a:lnTo>
                  <a:lnTo>
                    <a:pt x="2568" y="798"/>
                  </a:lnTo>
                  <a:lnTo>
                    <a:pt x="2538" y="768"/>
                  </a:lnTo>
                  <a:lnTo>
                    <a:pt x="2526" y="750"/>
                  </a:lnTo>
                  <a:lnTo>
                    <a:pt x="2490" y="714"/>
                  </a:lnTo>
                  <a:lnTo>
                    <a:pt x="2418" y="666"/>
                  </a:lnTo>
                  <a:lnTo>
                    <a:pt x="2394" y="660"/>
                  </a:lnTo>
                  <a:lnTo>
                    <a:pt x="2316" y="660"/>
                  </a:lnTo>
                  <a:lnTo>
                    <a:pt x="2316" y="672"/>
                  </a:lnTo>
                  <a:lnTo>
                    <a:pt x="2310" y="672"/>
                  </a:lnTo>
                  <a:lnTo>
                    <a:pt x="2298" y="660"/>
                  </a:lnTo>
                  <a:lnTo>
                    <a:pt x="2286" y="654"/>
                  </a:lnTo>
                  <a:lnTo>
                    <a:pt x="2274" y="654"/>
                  </a:lnTo>
                  <a:lnTo>
                    <a:pt x="2262" y="648"/>
                  </a:lnTo>
                  <a:lnTo>
                    <a:pt x="2232" y="648"/>
                  </a:lnTo>
                  <a:lnTo>
                    <a:pt x="2226" y="642"/>
                  </a:lnTo>
                  <a:lnTo>
                    <a:pt x="2214" y="636"/>
                  </a:lnTo>
                  <a:lnTo>
                    <a:pt x="2196" y="630"/>
                  </a:lnTo>
                  <a:lnTo>
                    <a:pt x="2184" y="624"/>
                  </a:lnTo>
                  <a:lnTo>
                    <a:pt x="2166" y="618"/>
                  </a:lnTo>
                  <a:lnTo>
                    <a:pt x="2154" y="618"/>
                  </a:lnTo>
                  <a:lnTo>
                    <a:pt x="2142" y="624"/>
                  </a:lnTo>
                  <a:lnTo>
                    <a:pt x="2112" y="654"/>
                  </a:lnTo>
                  <a:lnTo>
                    <a:pt x="2106" y="666"/>
                  </a:lnTo>
                  <a:lnTo>
                    <a:pt x="2088" y="642"/>
                  </a:lnTo>
                  <a:lnTo>
                    <a:pt x="2088" y="678"/>
                  </a:lnTo>
                  <a:lnTo>
                    <a:pt x="2058" y="702"/>
                  </a:lnTo>
                  <a:lnTo>
                    <a:pt x="2076" y="636"/>
                  </a:lnTo>
                  <a:lnTo>
                    <a:pt x="2082" y="636"/>
                  </a:lnTo>
                  <a:lnTo>
                    <a:pt x="2094" y="624"/>
                  </a:lnTo>
                  <a:lnTo>
                    <a:pt x="2094" y="606"/>
                  </a:lnTo>
                  <a:lnTo>
                    <a:pt x="2088" y="600"/>
                  </a:lnTo>
                  <a:lnTo>
                    <a:pt x="2082" y="600"/>
                  </a:lnTo>
                  <a:lnTo>
                    <a:pt x="2064" y="618"/>
                  </a:lnTo>
                  <a:lnTo>
                    <a:pt x="2076" y="582"/>
                  </a:lnTo>
                  <a:lnTo>
                    <a:pt x="2070" y="582"/>
                  </a:lnTo>
                  <a:lnTo>
                    <a:pt x="2064" y="576"/>
                  </a:lnTo>
                  <a:lnTo>
                    <a:pt x="2064" y="570"/>
                  </a:lnTo>
                  <a:lnTo>
                    <a:pt x="2040" y="546"/>
                  </a:lnTo>
                  <a:lnTo>
                    <a:pt x="2034" y="546"/>
                  </a:lnTo>
                  <a:lnTo>
                    <a:pt x="2022" y="564"/>
                  </a:lnTo>
                  <a:lnTo>
                    <a:pt x="2016" y="552"/>
                  </a:lnTo>
                  <a:lnTo>
                    <a:pt x="2004" y="546"/>
                  </a:lnTo>
                  <a:lnTo>
                    <a:pt x="1998" y="534"/>
                  </a:lnTo>
                  <a:lnTo>
                    <a:pt x="1986" y="528"/>
                  </a:lnTo>
                  <a:lnTo>
                    <a:pt x="1980" y="522"/>
                  </a:lnTo>
                  <a:lnTo>
                    <a:pt x="1968" y="516"/>
                  </a:lnTo>
                  <a:lnTo>
                    <a:pt x="1944" y="516"/>
                  </a:lnTo>
                  <a:lnTo>
                    <a:pt x="1932" y="510"/>
                  </a:lnTo>
                  <a:lnTo>
                    <a:pt x="1926" y="510"/>
                  </a:lnTo>
                  <a:lnTo>
                    <a:pt x="1914" y="498"/>
                  </a:lnTo>
                  <a:lnTo>
                    <a:pt x="1902" y="492"/>
                  </a:lnTo>
                  <a:lnTo>
                    <a:pt x="1896" y="480"/>
                  </a:lnTo>
                  <a:lnTo>
                    <a:pt x="1884" y="474"/>
                  </a:lnTo>
                  <a:lnTo>
                    <a:pt x="1878" y="486"/>
                  </a:lnTo>
                  <a:lnTo>
                    <a:pt x="1824" y="486"/>
                  </a:lnTo>
                  <a:lnTo>
                    <a:pt x="1812" y="498"/>
                  </a:lnTo>
                  <a:lnTo>
                    <a:pt x="1806" y="510"/>
                  </a:lnTo>
                  <a:lnTo>
                    <a:pt x="1806" y="522"/>
                  </a:lnTo>
                  <a:lnTo>
                    <a:pt x="1800" y="528"/>
                  </a:lnTo>
                  <a:lnTo>
                    <a:pt x="1800" y="534"/>
                  </a:lnTo>
                  <a:lnTo>
                    <a:pt x="1812" y="552"/>
                  </a:lnTo>
                  <a:lnTo>
                    <a:pt x="1776" y="552"/>
                  </a:lnTo>
                  <a:lnTo>
                    <a:pt x="1770" y="564"/>
                  </a:lnTo>
                  <a:lnTo>
                    <a:pt x="1758" y="576"/>
                  </a:lnTo>
                  <a:lnTo>
                    <a:pt x="1752" y="588"/>
                  </a:lnTo>
                  <a:lnTo>
                    <a:pt x="1752" y="594"/>
                  </a:lnTo>
                  <a:lnTo>
                    <a:pt x="1746" y="600"/>
                  </a:lnTo>
                  <a:lnTo>
                    <a:pt x="1746" y="612"/>
                  </a:lnTo>
                  <a:lnTo>
                    <a:pt x="1740" y="624"/>
                  </a:lnTo>
                  <a:lnTo>
                    <a:pt x="1728" y="636"/>
                  </a:lnTo>
                  <a:lnTo>
                    <a:pt x="1722" y="636"/>
                  </a:lnTo>
                  <a:lnTo>
                    <a:pt x="1728" y="630"/>
                  </a:lnTo>
                  <a:lnTo>
                    <a:pt x="1728" y="618"/>
                  </a:lnTo>
                  <a:lnTo>
                    <a:pt x="1734" y="606"/>
                  </a:lnTo>
                  <a:lnTo>
                    <a:pt x="1734" y="600"/>
                  </a:lnTo>
                  <a:lnTo>
                    <a:pt x="1740" y="588"/>
                  </a:lnTo>
                  <a:lnTo>
                    <a:pt x="1740" y="582"/>
                  </a:lnTo>
                  <a:lnTo>
                    <a:pt x="1734" y="576"/>
                  </a:lnTo>
                  <a:lnTo>
                    <a:pt x="1728" y="576"/>
                  </a:lnTo>
                  <a:lnTo>
                    <a:pt x="1722" y="582"/>
                  </a:lnTo>
                  <a:lnTo>
                    <a:pt x="1716" y="582"/>
                  </a:lnTo>
                  <a:lnTo>
                    <a:pt x="1704" y="594"/>
                  </a:lnTo>
                  <a:lnTo>
                    <a:pt x="1692" y="588"/>
                  </a:lnTo>
                  <a:lnTo>
                    <a:pt x="1656" y="588"/>
                  </a:lnTo>
                  <a:lnTo>
                    <a:pt x="1644" y="582"/>
                  </a:lnTo>
                  <a:lnTo>
                    <a:pt x="1632" y="570"/>
                  </a:lnTo>
                  <a:lnTo>
                    <a:pt x="1632" y="522"/>
                  </a:lnTo>
                  <a:lnTo>
                    <a:pt x="1626" y="516"/>
                  </a:lnTo>
                  <a:lnTo>
                    <a:pt x="1626" y="504"/>
                  </a:lnTo>
                  <a:lnTo>
                    <a:pt x="1620" y="504"/>
                  </a:lnTo>
                  <a:lnTo>
                    <a:pt x="1614" y="510"/>
                  </a:lnTo>
                  <a:lnTo>
                    <a:pt x="1602" y="516"/>
                  </a:lnTo>
                  <a:lnTo>
                    <a:pt x="1596" y="522"/>
                  </a:lnTo>
                  <a:lnTo>
                    <a:pt x="1590" y="534"/>
                  </a:lnTo>
                  <a:lnTo>
                    <a:pt x="1584" y="540"/>
                  </a:lnTo>
                  <a:lnTo>
                    <a:pt x="1560" y="552"/>
                  </a:lnTo>
                  <a:lnTo>
                    <a:pt x="1554" y="558"/>
                  </a:lnTo>
                  <a:lnTo>
                    <a:pt x="1512" y="558"/>
                  </a:lnTo>
                  <a:lnTo>
                    <a:pt x="1500" y="552"/>
                  </a:lnTo>
                  <a:lnTo>
                    <a:pt x="1542" y="540"/>
                  </a:lnTo>
                  <a:lnTo>
                    <a:pt x="1548" y="528"/>
                  </a:lnTo>
                  <a:lnTo>
                    <a:pt x="1566" y="510"/>
                  </a:lnTo>
                  <a:lnTo>
                    <a:pt x="1566" y="492"/>
                  </a:lnTo>
                  <a:lnTo>
                    <a:pt x="1572" y="486"/>
                  </a:lnTo>
                  <a:lnTo>
                    <a:pt x="1590" y="450"/>
                  </a:lnTo>
                  <a:lnTo>
                    <a:pt x="1626" y="414"/>
                  </a:lnTo>
                  <a:lnTo>
                    <a:pt x="1638" y="408"/>
                  </a:lnTo>
                  <a:lnTo>
                    <a:pt x="1656" y="390"/>
                  </a:lnTo>
                  <a:lnTo>
                    <a:pt x="1656" y="378"/>
                  </a:lnTo>
                  <a:lnTo>
                    <a:pt x="1662" y="366"/>
                  </a:lnTo>
                  <a:lnTo>
                    <a:pt x="1674" y="354"/>
                  </a:lnTo>
                  <a:lnTo>
                    <a:pt x="1686" y="348"/>
                  </a:lnTo>
                  <a:lnTo>
                    <a:pt x="1692" y="342"/>
                  </a:lnTo>
                  <a:lnTo>
                    <a:pt x="1704" y="336"/>
                  </a:lnTo>
                  <a:lnTo>
                    <a:pt x="1680" y="330"/>
                  </a:lnTo>
                  <a:lnTo>
                    <a:pt x="1698" y="312"/>
                  </a:lnTo>
                  <a:lnTo>
                    <a:pt x="1698" y="294"/>
                  </a:lnTo>
                  <a:lnTo>
                    <a:pt x="1692" y="288"/>
                  </a:lnTo>
                  <a:lnTo>
                    <a:pt x="1680" y="282"/>
                  </a:lnTo>
                  <a:lnTo>
                    <a:pt x="1662" y="282"/>
                  </a:lnTo>
                  <a:lnTo>
                    <a:pt x="1650" y="276"/>
                  </a:lnTo>
                  <a:lnTo>
                    <a:pt x="1644" y="270"/>
                  </a:lnTo>
                  <a:lnTo>
                    <a:pt x="1638" y="252"/>
                  </a:lnTo>
                  <a:lnTo>
                    <a:pt x="1632" y="216"/>
                  </a:lnTo>
                  <a:lnTo>
                    <a:pt x="1626" y="168"/>
                  </a:lnTo>
                  <a:lnTo>
                    <a:pt x="1620" y="138"/>
                  </a:lnTo>
                  <a:lnTo>
                    <a:pt x="1614" y="114"/>
                  </a:lnTo>
                  <a:lnTo>
                    <a:pt x="1608" y="96"/>
                  </a:lnTo>
                  <a:lnTo>
                    <a:pt x="1602" y="84"/>
                  </a:lnTo>
                  <a:lnTo>
                    <a:pt x="1590" y="78"/>
                  </a:lnTo>
                  <a:lnTo>
                    <a:pt x="1584" y="78"/>
                  </a:lnTo>
                  <a:lnTo>
                    <a:pt x="1584" y="90"/>
                  </a:lnTo>
                  <a:lnTo>
                    <a:pt x="1590" y="96"/>
                  </a:lnTo>
                  <a:lnTo>
                    <a:pt x="1590" y="108"/>
                  </a:lnTo>
                  <a:lnTo>
                    <a:pt x="1572" y="108"/>
                  </a:lnTo>
                  <a:lnTo>
                    <a:pt x="1572" y="102"/>
                  </a:lnTo>
                  <a:lnTo>
                    <a:pt x="1566" y="108"/>
                  </a:lnTo>
                  <a:lnTo>
                    <a:pt x="1560" y="120"/>
                  </a:lnTo>
                  <a:lnTo>
                    <a:pt x="1560" y="126"/>
                  </a:lnTo>
                  <a:lnTo>
                    <a:pt x="1554" y="132"/>
                  </a:lnTo>
                  <a:lnTo>
                    <a:pt x="1548" y="144"/>
                  </a:lnTo>
                  <a:lnTo>
                    <a:pt x="1536" y="156"/>
                  </a:lnTo>
                  <a:lnTo>
                    <a:pt x="1518" y="192"/>
                  </a:lnTo>
                  <a:lnTo>
                    <a:pt x="1518" y="210"/>
                  </a:lnTo>
                  <a:lnTo>
                    <a:pt x="1494" y="246"/>
                  </a:lnTo>
                  <a:lnTo>
                    <a:pt x="1488" y="246"/>
                  </a:lnTo>
                  <a:lnTo>
                    <a:pt x="1482" y="252"/>
                  </a:lnTo>
                  <a:lnTo>
                    <a:pt x="1464" y="252"/>
                  </a:lnTo>
                  <a:lnTo>
                    <a:pt x="1452" y="240"/>
                  </a:lnTo>
                  <a:lnTo>
                    <a:pt x="1446" y="246"/>
                  </a:lnTo>
                  <a:lnTo>
                    <a:pt x="1434" y="246"/>
                  </a:lnTo>
                  <a:lnTo>
                    <a:pt x="1428" y="240"/>
                  </a:lnTo>
                  <a:lnTo>
                    <a:pt x="1416" y="240"/>
                  </a:lnTo>
                  <a:lnTo>
                    <a:pt x="1410" y="246"/>
                  </a:lnTo>
                  <a:lnTo>
                    <a:pt x="1410" y="252"/>
                  </a:lnTo>
                  <a:lnTo>
                    <a:pt x="1404" y="258"/>
                  </a:lnTo>
                  <a:lnTo>
                    <a:pt x="1380" y="258"/>
                  </a:lnTo>
                  <a:lnTo>
                    <a:pt x="1368" y="246"/>
                  </a:lnTo>
                  <a:lnTo>
                    <a:pt x="1368" y="240"/>
                  </a:lnTo>
                  <a:lnTo>
                    <a:pt x="1350" y="234"/>
                  </a:lnTo>
                  <a:lnTo>
                    <a:pt x="1344" y="228"/>
                  </a:lnTo>
                  <a:lnTo>
                    <a:pt x="1338" y="216"/>
                  </a:lnTo>
                  <a:lnTo>
                    <a:pt x="1332" y="216"/>
                  </a:lnTo>
                  <a:lnTo>
                    <a:pt x="1320" y="222"/>
                  </a:lnTo>
                  <a:lnTo>
                    <a:pt x="1314" y="228"/>
                  </a:lnTo>
                  <a:lnTo>
                    <a:pt x="1302" y="234"/>
                  </a:lnTo>
                  <a:lnTo>
                    <a:pt x="1278" y="234"/>
                  </a:lnTo>
                  <a:lnTo>
                    <a:pt x="1278" y="222"/>
                  </a:lnTo>
                  <a:lnTo>
                    <a:pt x="1272" y="222"/>
                  </a:lnTo>
                  <a:lnTo>
                    <a:pt x="1260" y="228"/>
                  </a:lnTo>
                  <a:lnTo>
                    <a:pt x="1260" y="252"/>
                  </a:lnTo>
                  <a:lnTo>
                    <a:pt x="1272" y="264"/>
                  </a:lnTo>
                  <a:lnTo>
                    <a:pt x="1272" y="270"/>
                  </a:lnTo>
                  <a:lnTo>
                    <a:pt x="1278" y="276"/>
                  </a:lnTo>
                  <a:lnTo>
                    <a:pt x="1272" y="282"/>
                  </a:lnTo>
                  <a:lnTo>
                    <a:pt x="1254" y="282"/>
                  </a:lnTo>
                  <a:lnTo>
                    <a:pt x="1230" y="270"/>
                  </a:lnTo>
                  <a:lnTo>
                    <a:pt x="1224" y="270"/>
                  </a:lnTo>
                  <a:lnTo>
                    <a:pt x="1212" y="264"/>
                  </a:lnTo>
                  <a:lnTo>
                    <a:pt x="1212" y="270"/>
                  </a:lnTo>
                  <a:lnTo>
                    <a:pt x="1206" y="276"/>
                  </a:lnTo>
                  <a:lnTo>
                    <a:pt x="1200" y="276"/>
                  </a:lnTo>
                  <a:lnTo>
                    <a:pt x="1188" y="264"/>
                  </a:lnTo>
                  <a:lnTo>
                    <a:pt x="1176" y="264"/>
                  </a:lnTo>
                  <a:lnTo>
                    <a:pt x="1158" y="282"/>
                  </a:lnTo>
                  <a:lnTo>
                    <a:pt x="1158" y="288"/>
                  </a:lnTo>
                  <a:lnTo>
                    <a:pt x="1128" y="288"/>
                  </a:lnTo>
                  <a:lnTo>
                    <a:pt x="1122" y="300"/>
                  </a:lnTo>
                  <a:lnTo>
                    <a:pt x="1104" y="300"/>
                  </a:lnTo>
                  <a:lnTo>
                    <a:pt x="1092" y="312"/>
                  </a:lnTo>
                  <a:lnTo>
                    <a:pt x="1092" y="324"/>
                  </a:lnTo>
                  <a:lnTo>
                    <a:pt x="1086" y="330"/>
                  </a:lnTo>
                  <a:lnTo>
                    <a:pt x="1050" y="330"/>
                  </a:lnTo>
                  <a:lnTo>
                    <a:pt x="1044" y="318"/>
                  </a:lnTo>
                  <a:lnTo>
                    <a:pt x="1032" y="318"/>
                  </a:lnTo>
                  <a:lnTo>
                    <a:pt x="1002" y="282"/>
                  </a:lnTo>
                  <a:lnTo>
                    <a:pt x="1002" y="252"/>
                  </a:lnTo>
                  <a:lnTo>
                    <a:pt x="978" y="228"/>
                  </a:lnTo>
                  <a:lnTo>
                    <a:pt x="972" y="216"/>
                  </a:lnTo>
                  <a:lnTo>
                    <a:pt x="972" y="210"/>
                  </a:lnTo>
                  <a:lnTo>
                    <a:pt x="978" y="198"/>
                  </a:lnTo>
                  <a:lnTo>
                    <a:pt x="978" y="192"/>
                  </a:lnTo>
                  <a:lnTo>
                    <a:pt x="984" y="180"/>
                  </a:lnTo>
                  <a:lnTo>
                    <a:pt x="996" y="138"/>
                  </a:lnTo>
                  <a:lnTo>
                    <a:pt x="1008" y="126"/>
                  </a:lnTo>
                  <a:lnTo>
                    <a:pt x="1014" y="114"/>
                  </a:lnTo>
                  <a:lnTo>
                    <a:pt x="1014" y="102"/>
                  </a:lnTo>
                  <a:lnTo>
                    <a:pt x="1008" y="102"/>
                  </a:lnTo>
                  <a:lnTo>
                    <a:pt x="1002" y="96"/>
                  </a:lnTo>
                  <a:lnTo>
                    <a:pt x="1002" y="66"/>
                  </a:lnTo>
                  <a:lnTo>
                    <a:pt x="996" y="66"/>
                  </a:lnTo>
                  <a:lnTo>
                    <a:pt x="984" y="72"/>
                  </a:lnTo>
                  <a:lnTo>
                    <a:pt x="978" y="72"/>
                  </a:lnTo>
                  <a:lnTo>
                    <a:pt x="972" y="66"/>
                  </a:lnTo>
                  <a:lnTo>
                    <a:pt x="972" y="60"/>
                  </a:lnTo>
                  <a:lnTo>
                    <a:pt x="978" y="54"/>
                  </a:lnTo>
                  <a:lnTo>
                    <a:pt x="984" y="42"/>
                  </a:lnTo>
                  <a:lnTo>
                    <a:pt x="984" y="24"/>
                  </a:lnTo>
                  <a:lnTo>
                    <a:pt x="978" y="12"/>
                  </a:lnTo>
                  <a:lnTo>
                    <a:pt x="966" y="0"/>
                  </a:lnTo>
                  <a:lnTo>
                    <a:pt x="960" y="12"/>
                  </a:lnTo>
                  <a:lnTo>
                    <a:pt x="936" y="6"/>
                  </a:lnTo>
                  <a:lnTo>
                    <a:pt x="936" y="42"/>
                  </a:lnTo>
                  <a:lnTo>
                    <a:pt x="930" y="48"/>
                  </a:lnTo>
                  <a:lnTo>
                    <a:pt x="918" y="48"/>
                  </a:lnTo>
                  <a:lnTo>
                    <a:pt x="918" y="60"/>
                  </a:lnTo>
                  <a:lnTo>
                    <a:pt x="894" y="60"/>
                  </a:lnTo>
                  <a:lnTo>
                    <a:pt x="882" y="66"/>
                  </a:lnTo>
                  <a:lnTo>
                    <a:pt x="858" y="90"/>
                  </a:lnTo>
                  <a:lnTo>
                    <a:pt x="846" y="96"/>
                  </a:lnTo>
                  <a:lnTo>
                    <a:pt x="828" y="96"/>
                  </a:lnTo>
                  <a:lnTo>
                    <a:pt x="822" y="90"/>
                  </a:lnTo>
                  <a:lnTo>
                    <a:pt x="804" y="90"/>
                  </a:lnTo>
                  <a:lnTo>
                    <a:pt x="798" y="96"/>
                  </a:lnTo>
                  <a:lnTo>
                    <a:pt x="798" y="108"/>
                  </a:lnTo>
                  <a:lnTo>
                    <a:pt x="792" y="120"/>
                  </a:lnTo>
                  <a:lnTo>
                    <a:pt x="792" y="138"/>
                  </a:lnTo>
                  <a:lnTo>
                    <a:pt x="786" y="144"/>
                  </a:lnTo>
                  <a:lnTo>
                    <a:pt x="774" y="138"/>
                  </a:lnTo>
                  <a:lnTo>
                    <a:pt x="762" y="126"/>
                  </a:lnTo>
                  <a:lnTo>
                    <a:pt x="756" y="114"/>
                  </a:lnTo>
                  <a:lnTo>
                    <a:pt x="750" y="108"/>
                  </a:lnTo>
                  <a:lnTo>
                    <a:pt x="738" y="108"/>
                  </a:lnTo>
                  <a:lnTo>
                    <a:pt x="732" y="114"/>
                  </a:lnTo>
                  <a:lnTo>
                    <a:pt x="720" y="108"/>
                  </a:lnTo>
                  <a:lnTo>
                    <a:pt x="708" y="114"/>
                  </a:lnTo>
                  <a:lnTo>
                    <a:pt x="696" y="114"/>
                  </a:lnTo>
                  <a:lnTo>
                    <a:pt x="696" y="96"/>
                  </a:lnTo>
                  <a:lnTo>
                    <a:pt x="690" y="90"/>
                  </a:lnTo>
                  <a:lnTo>
                    <a:pt x="648" y="90"/>
                  </a:lnTo>
                  <a:lnTo>
                    <a:pt x="648" y="84"/>
                  </a:lnTo>
                  <a:lnTo>
                    <a:pt x="642" y="78"/>
                  </a:lnTo>
                  <a:lnTo>
                    <a:pt x="642" y="108"/>
                  </a:lnTo>
                  <a:lnTo>
                    <a:pt x="660" y="126"/>
                  </a:lnTo>
                  <a:lnTo>
                    <a:pt x="672" y="132"/>
                  </a:lnTo>
                  <a:lnTo>
                    <a:pt x="678" y="138"/>
                  </a:lnTo>
                  <a:lnTo>
                    <a:pt x="678" y="168"/>
                  </a:lnTo>
                  <a:lnTo>
                    <a:pt x="672" y="174"/>
                  </a:lnTo>
                  <a:lnTo>
                    <a:pt x="684" y="186"/>
                  </a:lnTo>
                  <a:lnTo>
                    <a:pt x="690" y="198"/>
                  </a:lnTo>
                  <a:lnTo>
                    <a:pt x="690" y="228"/>
                  </a:lnTo>
                  <a:lnTo>
                    <a:pt x="738" y="234"/>
                  </a:lnTo>
                  <a:lnTo>
                    <a:pt x="744" y="240"/>
                  </a:lnTo>
                  <a:lnTo>
                    <a:pt x="744" y="246"/>
                  </a:lnTo>
                  <a:lnTo>
                    <a:pt x="738" y="258"/>
                  </a:lnTo>
                  <a:lnTo>
                    <a:pt x="732" y="264"/>
                  </a:lnTo>
                  <a:lnTo>
                    <a:pt x="690" y="264"/>
                  </a:lnTo>
                  <a:lnTo>
                    <a:pt x="690" y="294"/>
                  </a:lnTo>
                  <a:lnTo>
                    <a:pt x="684" y="306"/>
                  </a:lnTo>
                  <a:lnTo>
                    <a:pt x="648" y="324"/>
                  </a:lnTo>
                  <a:lnTo>
                    <a:pt x="642" y="330"/>
                  </a:lnTo>
                  <a:lnTo>
                    <a:pt x="624" y="330"/>
                  </a:lnTo>
                  <a:lnTo>
                    <a:pt x="612" y="342"/>
                  </a:lnTo>
                  <a:lnTo>
                    <a:pt x="600" y="366"/>
                  </a:lnTo>
                  <a:lnTo>
                    <a:pt x="588" y="378"/>
                  </a:lnTo>
                  <a:lnTo>
                    <a:pt x="582" y="378"/>
                  </a:lnTo>
                  <a:lnTo>
                    <a:pt x="582" y="354"/>
                  </a:lnTo>
                  <a:lnTo>
                    <a:pt x="576" y="348"/>
                  </a:lnTo>
                  <a:lnTo>
                    <a:pt x="570" y="354"/>
                  </a:lnTo>
                  <a:lnTo>
                    <a:pt x="558" y="360"/>
                  </a:lnTo>
                  <a:lnTo>
                    <a:pt x="552" y="366"/>
                  </a:lnTo>
                  <a:lnTo>
                    <a:pt x="540" y="372"/>
                  </a:lnTo>
                  <a:lnTo>
                    <a:pt x="534" y="372"/>
                  </a:lnTo>
                  <a:lnTo>
                    <a:pt x="522" y="366"/>
                  </a:lnTo>
                  <a:lnTo>
                    <a:pt x="516" y="366"/>
                  </a:lnTo>
                  <a:lnTo>
                    <a:pt x="504" y="354"/>
                  </a:lnTo>
                  <a:lnTo>
                    <a:pt x="504" y="348"/>
                  </a:lnTo>
                  <a:lnTo>
                    <a:pt x="498" y="336"/>
                  </a:lnTo>
                  <a:lnTo>
                    <a:pt x="492" y="330"/>
                  </a:lnTo>
                  <a:lnTo>
                    <a:pt x="468" y="330"/>
                  </a:lnTo>
                  <a:lnTo>
                    <a:pt x="468" y="300"/>
                  </a:lnTo>
                  <a:lnTo>
                    <a:pt x="462" y="288"/>
                  </a:lnTo>
                  <a:lnTo>
                    <a:pt x="462" y="276"/>
                  </a:lnTo>
                  <a:lnTo>
                    <a:pt x="456" y="270"/>
                  </a:lnTo>
                  <a:lnTo>
                    <a:pt x="456" y="258"/>
                  </a:lnTo>
                  <a:lnTo>
                    <a:pt x="450" y="258"/>
                  </a:lnTo>
                  <a:lnTo>
                    <a:pt x="420" y="288"/>
                  </a:lnTo>
                  <a:lnTo>
                    <a:pt x="396" y="264"/>
                  </a:lnTo>
                  <a:lnTo>
                    <a:pt x="390" y="264"/>
                  </a:lnTo>
                  <a:lnTo>
                    <a:pt x="384" y="270"/>
                  </a:lnTo>
                  <a:lnTo>
                    <a:pt x="384" y="288"/>
                  </a:lnTo>
                  <a:lnTo>
                    <a:pt x="318" y="294"/>
                  </a:lnTo>
                  <a:lnTo>
                    <a:pt x="306" y="282"/>
                  </a:lnTo>
                  <a:lnTo>
                    <a:pt x="288" y="282"/>
                  </a:lnTo>
                  <a:lnTo>
                    <a:pt x="282" y="288"/>
                  </a:lnTo>
                  <a:lnTo>
                    <a:pt x="276" y="300"/>
                  </a:lnTo>
                  <a:lnTo>
                    <a:pt x="276" y="312"/>
                  </a:lnTo>
                  <a:lnTo>
                    <a:pt x="282" y="324"/>
                  </a:lnTo>
                  <a:lnTo>
                    <a:pt x="282" y="336"/>
                  </a:lnTo>
                  <a:lnTo>
                    <a:pt x="306" y="348"/>
                  </a:lnTo>
                  <a:lnTo>
                    <a:pt x="318" y="342"/>
                  </a:lnTo>
                  <a:lnTo>
                    <a:pt x="330" y="354"/>
                  </a:lnTo>
                  <a:lnTo>
                    <a:pt x="330" y="360"/>
                  </a:lnTo>
                  <a:lnTo>
                    <a:pt x="336" y="366"/>
                  </a:lnTo>
                  <a:lnTo>
                    <a:pt x="336" y="372"/>
                  </a:lnTo>
                  <a:lnTo>
                    <a:pt x="330" y="378"/>
                  </a:lnTo>
                  <a:lnTo>
                    <a:pt x="300" y="378"/>
                  </a:lnTo>
                  <a:lnTo>
                    <a:pt x="294" y="372"/>
                  </a:lnTo>
                  <a:lnTo>
                    <a:pt x="264" y="378"/>
                  </a:lnTo>
                  <a:lnTo>
                    <a:pt x="258" y="444"/>
                  </a:lnTo>
                  <a:lnTo>
                    <a:pt x="264" y="444"/>
                  </a:lnTo>
                  <a:lnTo>
                    <a:pt x="276" y="456"/>
                  </a:lnTo>
                  <a:lnTo>
                    <a:pt x="288" y="462"/>
                  </a:lnTo>
                  <a:lnTo>
                    <a:pt x="294" y="468"/>
                  </a:lnTo>
                  <a:lnTo>
                    <a:pt x="294" y="492"/>
                  </a:lnTo>
                  <a:lnTo>
                    <a:pt x="300" y="498"/>
                  </a:lnTo>
                  <a:lnTo>
                    <a:pt x="300" y="504"/>
                  </a:lnTo>
                  <a:lnTo>
                    <a:pt x="312" y="516"/>
                  </a:lnTo>
                  <a:lnTo>
                    <a:pt x="318" y="528"/>
                  </a:lnTo>
                  <a:lnTo>
                    <a:pt x="318" y="540"/>
                  </a:lnTo>
                  <a:lnTo>
                    <a:pt x="312" y="552"/>
                  </a:lnTo>
                  <a:lnTo>
                    <a:pt x="300" y="564"/>
                  </a:lnTo>
                  <a:lnTo>
                    <a:pt x="306" y="612"/>
                  </a:lnTo>
                  <a:lnTo>
                    <a:pt x="288" y="660"/>
                  </a:lnTo>
                  <a:lnTo>
                    <a:pt x="282" y="732"/>
                  </a:lnTo>
                  <a:lnTo>
                    <a:pt x="282" y="762"/>
                  </a:lnTo>
                  <a:lnTo>
                    <a:pt x="276" y="774"/>
                  </a:lnTo>
                  <a:lnTo>
                    <a:pt x="270" y="780"/>
                  </a:lnTo>
                  <a:lnTo>
                    <a:pt x="252" y="780"/>
                  </a:lnTo>
                  <a:lnTo>
                    <a:pt x="252" y="774"/>
                  </a:lnTo>
                  <a:lnTo>
                    <a:pt x="240" y="762"/>
                  </a:lnTo>
                  <a:lnTo>
                    <a:pt x="222" y="762"/>
                  </a:lnTo>
                  <a:lnTo>
                    <a:pt x="216" y="768"/>
                  </a:lnTo>
                  <a:lnTo>
                    <a:pt x="210" y="780"/>
                  </a:lnTo>
                  <a:lnTo>
                    <a:pt x="204" y="786"/>
                  </a:lnTo>
                  <a:lnTo>
                    <a:pt x="174" y="780"/>
                  </a:lnTo>
                  <a:lnTo>
                    <a:pt x="168" y="792"/>
                  </a:lnTo>
                  <a:lnTo>
                    <a:pt x="138" y="792"/>
                  </a:lnTo>
                  <a:lnTo>
                    <a:pt x="126" y="798"/>
                  </a:lnTo>
                  <a:lnTo>
                    <a:pt x="120" y="804"/>
                  </a:lnTo>
                  <a:lnTo>
                    <a:pt x="108" y="810"/>
                  </a:lnTo>
                  <a:lnTo>
                    <a:pt x="96" y="822"/>
                  </a:lnTo>
                  <a:lnTo>
                    <a:pt x="96" y="828"/>
                  </a:lnTo>
                  <a:lnTo>
                    <a:pt x="90" y="834"/>
                  </a:lnTo>
                  <a:lnTo>
                    <a:pt x="90" y="840"/>
                  </a:lnTo>
                  <a:lnTo>
                    <a:pt x="66" y="840"/>
                  </a:lnTo>
                  <a:lnTo>
                    <a:pt x="66" y="894"/>
                  </a:lnTo>
                  <a:lnTo>
                    <a:pt x="48" y="912"/>
                  </a:lnTo>
                  <a:lnTo>
                    <a:pt x="48" y="924"/>
                  </a:lnTo>
                  <a:lnTo>
                    <a:pt x="54" y="930"/>
                  </a:lnTo>
                  <a:lnTo>
                    <a:pt x="54" y="948"/>
                  </a:lnTo>
                  <a:lnTo>
                    <a:pt x="60" y="954"/>
                  </a:lnTo>
                  <a:lnTo>
                    <a:pt x="54" y="954"/>
                  </a:lnTo>
                  <a:lnTo>
                    <a:pt x="48" y="948"/>
                  </a:lnTo>
                  <a:lnTo>
                    <a:pt x="18" y="978"/>
                  </a:lnTo>
                  <a:lnTo>
                    <a:pt x="12" y="990"/>
                  </a:lnTo>
                  <a:lnTo>
                    <a:pt x="12" y="1014"/>
                  </a:lnTo>
                  <a:lnTo>
                    <a:pt x="18" y="1020"/>
                  </a:lnTo>
                  <a:lnTo>
                    <a:pt x="6" y="1026"/>
                  </a:lnTo>
                  <a:lnTo>
                    <a:pt x="0" y="1032"/>
                  </a:lnTo>
                  <a:lnTo>
                    <a:pt x="0" y="1044"/>
                  </a:lnTo>
                  <a:lnTo>
                    <a:pt x="6" y="1050"/>
                  </a:lnTo>
                  <a:lnTo>
                    <a:pt x="18" y="1056"/>
                  </a:lnTo>
                  <a:lnTo>
                    <a:pt x="24" y="1080"/>
                  </a:lnTo>
                  <a:lnTo>
                    <a:pt x="24" y="1086"/>
                  </a:lnTo>
                  <a:lnTo>
                    <a:pt x="30" y="1092"/>
                  </a:lnTo>
                  <a:lnTo>
                    <a:pt x="42" y="1116"/>
                  </a:lnTo>
                  <a:lnTo>
                    <a:pt x="54" y="1128"/>
                  </a:lnTo>
                  <a:lnTo>
                    <a:pt x="66" y="1134"/>
                  </a:lnTo>
                  <a:lnTo>
                    <a:pt x="90" y="1158"/>
                  </a:lnTo>
                  <a:lnTo>
                    <a:pt x="84" y="1164"/>
                  </a:lnTo>
                  <a:lnTo>
                    <a:pt x="78" y="1176"/>
                  </a:lnTo>
                  <a:lnTo>
                    <a:pt x="66" y="1182"/>
                  </a:lnTo>
                  <a:lnTo>
                    <a:pt x="60" y="1188"/>
                  </a:lnTo>
                  <a:lnTo>
                    <a:pt x="102" y="1188"/>
                  </a:lnTo>
                  <a:lnTo>
                    <a:pt x="114" y="1194"/>
                  </a:lnTo>
                  <a:lnTo>
                    <a:pt x="120" y="1194"/>
                  </a:lnTo>
                  <a:lnTo>
                    <a:pt x="126" y="1200"/>
                  </a:lnTo>
                  <a:lnTo>
                    <a:pt x="126" y="1212"/>
                  </a:lnTo>
                  <a:lnTo>
                    <a:pt x="132" y="1224"/>
                  </a:lnTo>
                  <a:lnTo>
                    <a:pt x="138" y="1230"/>
                  </a:lnTo>
                  <a:lnTo>
                    <a:pt x="138" y="1236"/>
                  </a:lnTo>
                  <a:lnTo>
                    <a:pt x="198" y="1230"/>
                  </a:lnTo>
                  <a:lnTo>
                    <a:pt x="252" y="1182"/>
                  </a:lnTo>
                  <a:lnTo>
                    <a:pt x="252" y="1194"/>
                  </a:lnTo>
                  <a:lnTo>
                    <a:pt x="258" y="1206"/>
                  </a:lnTo>
                  <a:lnTo>
                    <a:pt x="258" y="1224"/>
                  </a:lnTo>
                  <a:lnTo>
                    <a:pt x="252" y="1230"/>
                  </a:lnTo>
                  <a:lnTo>
                    <a:pt x="252" y="1242"/>
                  </a:lnTo>
                  <a:lnTo>
                    <a:pt x="246" y="1254"/>
                  </a:lnTo>
                  <a:lnTo>
                    <a:pt x="246" y="1266"/>
                  </a:lnTo>
                  <a:lnTo>
                    <a:pt x="252" y="1284"/>
                  </a:lnTo>
                  <a:lnTo>
                    <a:pt x="252" y="1314"/>
                  </a:lnTo>
                  <a:lnTo>
                    <a:pt x="264" y="1308"/>
                  </a:lnTo>
                  <a:lnTo>
                    <a:pt x="264" y="1314"/>
                  </a:lnTo>
                  <a:lnTo>
                    <a:pt x="270" y="1320"/>
                  </a:lnTo>
                  <a:lnTo>
                    <a:pt x="282" y="1320"/>
                  </a:lnTo>
                  <a:lnTo>
                    <a:pt x="282" y="1314"/>
                  </a:lnTo>
                  <a:lnTo>
                    <a:pt x="288" y="1314"/>
                  </a:lnTo>
                  <a:lnTo>
                    <a:pt x="294" y="1308"/>
                  </a:lnTo>
                  <a:lnTo>
                    <a:pt x="324" y="1308"/>
                  </a:lnTo>
                  <a:lnTo>
                    <a:pt x="336" y="1314"/>
                  </a:lnTo>
                  <a:lnTo>
                    <a:pt x="366" y="1314"/>
                  </a:lnTo>
                  <a:lnTo>
                    <a:pt x="372" y="1320"/>
                  </a:lnTo>
                  <a:lnTo>
                    <a:pt x="372" y="1326"/>
                  </a:lnTo>
                  <a:lnTo>
                    <a:pt x="390" y="1326"/>
                  </a:lnTo>
                  <a:lnTo>
                    <a:pt x="414" y="1314"/>
                  </a:lnTo>
                  <a:lnTo>
                    <a:pt x="420" y="1308"/>
                  </a:lnTo>
                  <a:lnTo>
                    <a:pt x="432" y="1290"/>
                  </a:lnTo>
                  <a:lnTo>
                    <a:pt x="468" y="1290"/>
                  </a:lnTo>
                  <a:lnTo>
                    <a:pt x="474" y="1260"/>
                  </a:lnTo>
                  <a:lnTo>
                    <a:pt x="510" y="1260"/>
                  </a:lnTo>
                  <a:lnTo>
                    <a:pt x="510" y="1254"/>
                  </a:lnTo>
                  <a:lnTo>
                    <a:pt x="516" y="1248"/>
                  </a:lnTo>
                  <a:lnTo>
                    <a:pt x="522" y="1236"/>
                  </a:lnTo>
                  <a:lnTo>
                    <a:pt x="528" y="1230"/>
                  </a:lnTo>
                  <a:lnTo>
                    <a:pt x="540" y="1224"/>
                  </a:lnTo>
                  <a:lnTo>
                    <a:pt x="576" y="1224"/>
                  </a:lnTo>
                  <a:lnTo>
                    <a:pt x="588" y="1212"/>
                  </a:lnTo>
                  <a:lnTo>
                    <a:pt x="600" y="1224"/>
                  </a:lnTo>
                  <a:lnTo>
                    <a:pt x="606" y="1224"/>
                  </a:lnTo>
                  <a:lnTo>
                    <a:pt x="606" y="1218"/>
                  </a:lnTo>
                  <a:lnTo>
                    <a:pt x="618" y="1212"/>
                  </a:lnTo>
                  <a:lnTo>
                    <a:pt x="630" y="1212"/>
                  </a:lnTo>
                  <a:lnTo>
                    <a:pt x="630" y="1242"/>
                  </a:lnTo>
                  <a:lnTo>
                    <a:pt x="624" y="1248"/>
                  </a:lnTo>
                  <a:lnTo>
                    <a:pt x="624" y="1254"/>
                  </a:lnTo>
                  <a:lnTo>
                    <a:pt x="618" y="1260"/>
                  </a:lnTo>
                  <a:lnTo>
                    <a:pt x="618" y="1290"/>
                  </a:lnTo>
                  <a:lnTo>
                    <a:pt x="624" y="1296"/>
                  </a:lnTo>
                  <a:lnTo>
                    <a:pt x="630" y="1308"/>
                  </a:lnTo>
                  <a:lnTo>
                    <a:pt x="630" y="1326"/>
                  </a:lnTo>
                  <a:lnTo>
                    <a:pt x="624" y="1332"/>
                  </a:lnTo>
                  <a:lnTo>
                    <a:pt x="624" y="1344"/>
                  </a:lnTo>
                  <a:lnTo>
                    <a:pt x="636" y="1356"/>
                  </a:lnTo>
                  <a:lnTo>
                    <a:pt x="648" y="1362"/>
                  </a:lnTo>
                  <a:lnTo>
                    <a:pt x="654" y="1368"/>
                  </a:lnTo>
                  <a:lnTo>
                    <a:pt x="660" y="1398"/>
                  </a:lnTo>
                  <a:lnTo>
                    <a:pt x="684" y="1398"/>
                  </a:lnTo>
                  <a:lnTo>
                    <a:pt x="690" y="1404"/>
                  </a:lnTo>
                  <a:lnTo>
                    <a:pt x="690" y="1410"/>
                  </a:lnTo>
                  <a:lnTo>
                    <a:pt x="696" y="1422"/>
                  </a:lnTo>
                  <a:lnTo>
                    <a:pt x="696" y="1428"/>
                  </a:lnTo>
                  <a:lnTo>
                    <a:pt x="702" y="1434"/>
                  </a:lnTo>
                  <a:lnTo>
                    <a:pt x="714" y="1440"/>
                  </a:lnTo>
                  <a:lnTo>
                    <a:pt x="744" y="1440"/>
                  </a:lnTo>
                  <a:lnTo>
                    <a:pt x="750" y="1434"/>
                  </a:lnTo>
                  <a:lnTo>
                    <a:pt x="756" y="1446"/>
                  </a:lnTo>
                  <a:lnTo>
                    <a:pt x="768" y="1452"/>
                  </a:lnTo>
                  <a:lnTo>
                    <a:pt x="780" y="1452"/>
                  </a:lnTo>
                  <a:lnTo>
                    <a:pt x="786" y="1446"/>
                  </a:lnTo>
                  <a:lnTo>
                    <a:pt x="798" y="1446"/>
                  </a:lnTo>
                  <a:lnTo>
                    <a:pt x="798" y="1452"/>
                  </a:lnTo>
                  <a:lnTo>
                    <a:pt x="804" y="1464"/>
                  </a:lnTo>
                  <a:lnTo>
                    <a:pt x="816" y="1470"/>
                  </a:lnTo>
                  <a:lnTo>
                    <a:pt x="828" y="1482"/>
                  </a:lnTo>
                  <a:lnTo>
                    <a:pt x="840" y="1488"/>
                  </a:lnTo>
                  <a:lnTo>
                    <a:pt x="864" y="1488"/>
                  </a:lnTo>
                  <a:lnTo>
                    <a:pt x="864" y="1494"/>
                  </a:lnTo>
                  <a:lnTo>
                    <a:pt x="876" y="1506"/>
                  </a:lnTo>
                  <a:lnTo>
                    <a:pt x="888" y="1512"/>
                  </a:lnTo>
                  <a:lnTo>
                    <a:pt x="894" y="1518"/>
                  </a:lnTo>
                  <a:lnTo>
                    <a:pt x="954" y="1518"/>
                  </a:lnTo>
                  <a:lnTo>
                    <a:pt x="978" y="1530"/>
                  </a:lnTo>
                  <a:lnTo>
                    <a:pt x="984" y="1542"/>
                  </a:lnTo>
                  <a:lnTo>
                    <a:pt x="990" y="1548"/>
                  </a:lnTo>
                  <a:lnTo>
                    <a:pt x="990" y="1578"/>
                  </a:lnTo>
                  <a:lnTo>
                    <a:pt x="996" y="1590"/>
                  </a:lnTo>
                  <a:lnTo>
                    <a:pt x="1002" y="1596"/>
                  </a:lnTo>
                  <a:lnTo>
                    <a:pt x="1008" y="1608"/>
                  </a:lnTo>
                  <a:lnTo>
                    <a:pt x="1008" y="1638"/>
                  </a:lnTo>
                  <a:lnTo>
                    <a:pt x="990" y="1638"/>
                  </a:lnTo>
                  <a:lnTo>
                    <a:pt x="990" y="1644"/>
                  </a:lnTo>
                  <a:lnTo>
                    <a:pt x="996" y="1650"/>
                  </a:lnTo>
                  <a:lnTo>
                    <a:pt x="1002" y="1662"/>
                  </a:lnTo>
                  <a:lnTo>
                    <a:pt x="1014" y="1668"/>
                  </a:lnTo>
                  <a:lnTo>
                    <a:pt x="1020" y="1674"/>
                  </a:lnTo>
                  <a:lnTo>
                    <a:pt x="1014" y="1686"/>
                  </a:lnTo>
                  <a:lnTo>
                    <a:pt x="1014" y="1728"/>
                  </a:lnTo>
                  <a:lnTo>
                    <a:pt x="1020" y="1734"/>
                  </a:lnTo>
                  <a:lnTo>
                    <a:pt x="1050" y="1740"/>
                  </a:lnTo>
                  <a:lnTo>
                    <a:pt x="1098" y="1746"/>
                  </a:lnTo>
                  <a:lnTo>
                    <a:pt x="1158" y="1746"/>
                  </a:lnTo>
                  <a:lnTo>
                    <a:pt x="1158" y="1752"/>
                  </a:lnTo>
                  <a:lnTo>
                    <a:pt x="1152" y="1758"/>
                  </a:lnTo>
                  <a:lnTo>
                    <a:pt x="1152" y="1770"/>
                  </a:lnTo>
                  <a:lnTo>
                    <a:pt x="1146" y="1788"/>
                  </a:lnTo>
                  <a:lnTo>
                    <a:pt x="1146" y="1800"/>
                  </a:lnTo>
                  <a:lnTo>
                    <a:pt x="1152" y="1812"/>
                  </a:lnTo>
                  <a:lnTo>
                    <a:pt x="1164" y="1818"/>
                  </a:lnTo>
                  <a:lnTo>
                    <a:pt x="1170" y="1824"/>
                  </a:lnTo>
                  <a:lnTo>
                    <a:pt x="1194" y="1836"/>
                  </a:lnTo>
                  <a:lnTo>
                    <a:pt x="1206" y="1848"/>
                  </a:lnTo>
                  <a:lnTo>
                    <a:pt x="1212" y="1860"/>
                  </a:lnTo>
                  <a:lnTo>
                    <a:pt x="1224" y="1896"/>
                  </a:lnTo>
                  <a:lnTo>
                    <a:pt x="1224" y="1908"/>
                  </a:lnTo>
                  <a:lnTo>
                    <a:pt x="1218" y="1920"/>
                  </a:lnTo>
                  <a:lnTo>
                    <a:pt x="1218" y="1944"/>
                  </a:lnTo>
                  <a:lnTo>
                    <a:pt x="1212" y="1950"/>
                  </a:lnTo>
                  <a:lnTo>
                    <a:pt x="1212" y="1956"/>
                  </a:lnTo>
                  <a:lnTo>
                    <a:pt x="1218" y="1968"/>
                  </a:lnTo>
                  <a:lnTo>
                    <a:pt x="1212" y="1980"/>
                  </a:lnTo>
                  <a:lnTo>
                    <a:pt x="1206" y="1986"/>
                  </a:lnTo>
                  <a:lnTo>
                    <a:pt x="1200" y="1998"/>
                  </a:lnTo>
                  <a:lnTo>
                    <a:pt x="1200" y="2022"/>
                  </a:lnTo>
                  <a:lnTo>
                    <a:pt x="1206" y="2028"/>
                  </a:lnTo>
                  <a:lnTo>
                    <a:pt x="1218" y="2034"/>
                  </a:lnTo>
                  <a:lnTo>
                    <a:pt x="1212" y="2040"/>
                  </a:lnTo>
                  <a:lnTo>
                    <a:pt x="1200" y="2046"/>
                  </a:lnTo>
                  <a:lnTo>
                    <a:pt x="1194" y="2052"/>
                  </a:lnTo>
                  <a:lnTo>
                    <a:pt x="1194" y="2064"/>
                  </a:lnTo>
                  <a:lnTo>
                    <a:pt x="1200" y="2070"/>
                  </a:lnTo>
                  <a:lnTo>
                    <a:pt x="1212" y="2076"/>
                  </a:lnTo>
                  <a:lnTo>
                    <a:pt x="1212" y="2112"/>
                  </a:lnTo>
                  <a:lnTo>
                    <a:pt x="1224" y="2112"/>
                  </a:lnTo>
                  <a:lnTo>
                    <a:pt x="1224" y="2130"/>
                  </a:lnTo>
                  <a:lnTo>
                    <a:pt x="1218" y="2142"/>
                  </a:lnTo>
                  <a:lnTo>
                    <a:pt x="1218" y="2184"/>
                  </a:lnTo>
                  <a:lnTo>
                    <a:pt x="1224" y="2196"/>
                  </a:lnTo>
                  <a:lnTo>
                    <a:pt x="1230" y="2202"/>
                  </a:lnTo>
                  <a:lnTo>
                    <a:pt x="1266" y="2214"/>
                  </a:lnTo>
                  <a:lnTo>
                    <a:pt x="1308" y="2220"/>
                  </a:lnTo>
                  <a:lnTo>
                    <a:pt x="1380" y="2220"/>
                  </a:lnTo>
                  <a:lnTo>
                    <a:pt x="1392" y="2226"/>
                  </a:lnTo>
                  <a:lnTo>
                    <a:pt x="1398" y="2232"/>
                  </a:lnTo>
                  <a:lnTo>
                    <a:pt x="1398" y="2256"/>
                  </a:lnTo>
                  <a:lnTo>
                    <a:pt x="1404" y="2274"/>
                  </a:lnTo>
                  <a:lnTo>
                    <a:pt x="1404" y="2298"/>
                  </a:lnTo>
                  <a:lnTo>
                    <a:pt x="1410" y="2316"/>
                  </a:lnTo>
                  <a:lnTo>
                    <a:pt x="1410" y="2334"/>
                  </a:lnTo>
                  <a:lnTo>
                    <a:pt x="1422" y="2358"/>
                  </a:lnTo>
                  <a:lnTo>
                    <a:pt x="1434" y="2364"/>
                  </a:lnTo>
                  <a:lnTo>
                    <a:pt x="1446" y="2364"/>
                  </a:lnTo>
                  <a:lnTo>
                    <a:pt x="1464" y="2346"/>
                  </a:lnTo>
                  <a:lnTo>
                    <a:pt x="1476" y="2346"/>
                  </a:lnTo>
                  <a:lnTo>
                    <a:pt x="1488" y="2352"/>
                  </a:lnTo>
                  <a:lnTo>
                    <a:pt x="1500" y="2364"/>
                  </a:lnTo>
                  <a:lnTo>
                    <a:pt x="1506" y="2376"/>
                  </a:lnTo>
                  <a:lnTo>
                    <a:pt x="1506" y="2394"/>
                  </a:lnTo>
                  <a:lnTo>
                    <a:pt x="1500" y="2412"/>
                  </a:lnTo>
                  <a:lnTo>
                    <a:pt x="1500" y="2442"/>
                  </a:lnTo>
                  <a:lnTo>
                    <a:pt x="1494" y="2448"/>
                  </a:lnTo>
                  <a:lnTo>
                    <a:pt x="1494" y="2454"/>
                  </a:lnTo>
                  <a:lnTo>
                    <a:pt x="1488" y="2466"/>
                  </a:lnTo>
                  <a:lnTo>
                    <a:pt x="1488" y="2478"/>
                  </a:lnTo>
                  <a:lnTo>
                    <a:pt x="1494" y="2496"/>
                  </a:lnTo>
                  <a:lnTo>
                    <a:pt x="1506" y="2490"/>
                  </a:lnTo>
                  <a:lnTo>
                    <a:pt x="1512" y="2484"/>
                  </a:lnTo>
                  <a:lnTo>
                    <a:pt x="1530" y="2484"/>
                  </a:lnTo>
                  <a:lnTo>
                    <a:pt x="1536" y="2490"/>
                  </a:lnTo>
                  <a:lnTo>
                    <a:pt x="1548" y="2514"/>
                  </a:lnTo>
                  <a:lnTo>
                    <a:pt x="1548" y="2526"/>
                  </a:lnTo>
                  <a:lnTo>
                    <a:pt x="1554" y="2526"/>
                  </a:lnTo>
                  <a:lnTo>
                    <a:pt x="1560" y="2532"/>
                  </a:lnTo>
                  <a:lnTo>
                    <a:pt x="1560" y="2562"/>
                  </a:lnTo>
                  <a:lnTo>
                    <a:pt x="1566" y="2580"/>
                  </a:lnTo>
                  <a:lnTo>
                    <a:pt x="1566" y="2616"/>
                  </a:lnTo>
                  <a:lnTo>
                    <a:pt x="1512" y="2634"/>
                  </a:lnTo>
                  <a:lnTo>
                    <a:pt x="1506" y="2640"/>
                  </a:lnTo>
                  <a:lnTo>
                    <a:pt x="1500" y="2652"/>
                  </a:lnTo>
                  <a:lnTo>
                    <a:pt x="1500" y="2670"/>
                  </a:lnTo>
                  <a:lnTo>
                    <a:pt x="1464" y="2670"/>
                  </a:lnTo>
                  <a:lnTo>
                    <a:pt x="1464" y="2688"/>
                  </a:lnTo>
                  <a:lnTo>
                    <a:pt x="1458" y="2694"/>
                  </a:lnTo>
                  <a:lnTo>
                    <a:pt x="1452" y="2718"/>
                  </a:lnTo>
                  <a:lnTo>
                    <a:pt x="1428" y="2724"/>
                  </a:lnTo>
                  <a:lnTo>
                    <a:pt x="1428" y="2736"/>
                  </a:lnTo>
                  <a:lnTo>
                    <a:pt x="1422" y="2748"/>
                  </a:lnTo>
                  <a:lnTo>
                    <a:pt x="1422" y="2760"/>
                  </a:lnTo>
                  <a:lnTo>
                    <a:pt x="1404" y="2778"/>
                  </a:lnTo>
                  <a:lnTo>
                    <a:pt x="1392" y="2778"/>
                  </a:lnTo>
                  <a:lnTo>
                    <a:pt x="1392" y="2802"/>
                  </a:lnTo>
                  <a:lnTo>
                    <a:pt x="1386" y="2808"/>
                  </a:lnTo>
                  <a:lnTo>
                    <a:pt x="1380" y="2820"/>
                  </a:lnTo>
                  <a:lnTo>
                    <a:pt x="1374" y="2826"/>
                  </a:lnTo>
                  <a:lnTo>
                    <a:pt x="1356" y="2826"/>
                  </a:lnTo>
                  <a:lnTo>
                    <a:pt x="1350" y="2832"/>
                  </a:lnTo>
                  <a:lnTo>
                    <a:pt x="1350" y="2844"/>
                  </a:lnTo>
                  <a:lnTo>
                    <a:pt x="1344" y="2856"/>
                  </a:lnTo>
                  <a:lnTo>
                    <a:pt x="1344" y="2868"/>
                  </a:lnTo>
                  <a:lnTo>
                    <a:pt x="1368" y="2868"/>
                  </a:lnTo>
                  <a:lnTo>
                    <a:pt x="1374" y="2862"/>
                  </a:lnTo>
                  <a:lnTo>
                    <a:pt x="1386" y="2856"/>
                  </a:lnTo>
                  <a:lnTo>
                    <a:pt x="1398" y="2856"/>
                  </a:lnTo>
                  <a:lnTo>
                    <a:pt x="1404" y="2862"/>
                  </a:lnTo>
                  <a:lnTo>
                    <a:pt x="1428" y="2874"/>
                  </a:lnTo>
                  <a:lnTo>
                    <a:pt x="1434" y="2886"/>
                  </a:lnTo>
                  <a:lnTo>
                    <a:pt x="1446" y="2892"/>
                  </a:lnTo>
                  <a:lnTo>
                    <a:pt x="1452" y="2898"/>
                  </a:lnTo>
                  <a:lnTo>
                    <a:pt x="1458" y="2910"/>
                  </a:lnTo>
                  <a:lnTo>
                    <a:pt x="1470" y="2922"/>
                  </a:lnTo>
                  <a:lnTo>
                    <a:pt x="1470" y="2934"/>
                  </a:lnTo>
                  <a:lnTo>
                    <a:pt x="1482" y="2934"/>
                  </a:lnTo>
                  <a:lnTo>
                    <a:pt x="1482" y="2928"/>
                  </a:lnTo>
                  <a:lnTo>
                    <a:pt x="1494" y="2916"/>
                  </a:lnTo>
                  <a:lnTo>
                    <a:pt x="1500" y="2916"/>
                  </a:lnTo>
                  <a:lnTo>
                    <a:pt x="1512" y="2922"/>
                  </a:lnTo>
                  <a:lnTo>
                    <a:pt x="1518" y="2934"/>
                  </a:lnTo>
                  <a:lnTo>
                    <a:pt x="1536" y="2952"/>
                  </a:lnTo>
                  <a:lnTo>
                    <a:pt x="1554" y="2952"/>
                  </a:lnTo>
                  <a:lnTo>
                    <a:pt x="1572" y="2970"/>
                  </a:lnTo>
                  <a:lnTo>
                    <a:pt x="1578" y="2970"/>
                  </a:lnTo>
                  <a:lnTo>
                    <a:pt x="1578" y="2982"/>
                  </a:lnTo>
                  <a:lnTo>
                    <a:pt x="1584" y="2988"/>
                  </a:lnTo>
                  <a:lnTo>
                    <a:pt x="1596" y="2994"/>
                  </a:lnTo>
                  <a:lnTo>
                    <a:pt x="1614" y="3000"/>
                  </a:lnTo>
                  <a:lnTo>
                    <a:pt x="1626" y="3000"/>
                  </a:lnTo>
                  <a:lnTo>
                    <a:pt x="1632" y="3012"/>
                  </a:lnTo>
                  <a:lnTo>
                    <a:pt x="1638" y="3018"/>
                  </a:lnTo>
                  <a:lnTo>
                    <a:pt x="1644" y="3030"/>
                  </a:lnTo>
                  <a:lnTo>
                    <a:pt x="1662" y="3048"/>
                  </a:lnTo>
                  <a:lnTo>
                    <a:pt x="1668" y="3048"/>
                  </a:lnTo>
                  <a:lnTo>
                    <a:pt x="1680" y="3054"/>
                  </a:lnTo>
                  <a:lnTo>
                    <a:pt x="1686" y="3054"/>
                  </a:lnTo>
                  <a:lnTo>
                    <a:pt x="1686" y="3066"/>
                  </a:lnTo>
                  <a:lnTo>
                    <a:pt x="1674" y="3090"/>
                  </a:lnTo>
                  <a:lnTo>
                    <a:pt x="1668" y="3096"/>
                  </a:lnTo>
                  <a:lnTo>
                    <a:pt x="1668" y="3120"/>
                  </a:lnTo>
                  <a:lnTo>
                    <a:pt x="1674" y="3120"/>
                  </a:lnTo>
                  <a:lnTo>
                    <a:pt x="1674" y="3150"/>
                  </a:lnTo>
                  <a:lnTo>
                    <a:pt x="1692" y="3150"/>
                  </a:lnTo>
                  <a:lnTo>
                    <a:pt x="1692" y="3144"/>
                  </a:lnTo>
                  <a:lnTo>
                    <a:pt x="1698" y="3132"/>
                  </a:lnTo>
                  <a:lnTo>
                    <a:pt x="1710" y="3126"/>
                  </a:lnTo>
                  <a:lnTo>
                    <a:pt x="1716" y="3114"/>
                  </a:lnTo>
                  <a:lnTo>
                    <a:pt x="1728" y="3102"/>
                  </a:lnTo>
                  <a:lnTo>
                    <a:pt x="1734" y="3090"/>
                  </a:lnTo>
                  <a:lnTo>
                    <a:pt x="1734" y="3060"/>
                  </a:lnTo>
                  <a:lnTo>
                    <a:pt x="1728" y="3054"/>
                  </a:lnTo>
                  <a:lnTo>
                    <a:pt x="1728" y="3048"/>
                  </a:lnTo>
                  <a:lnTo>
                    <a:pt x="1746" y="3018"/>
                  </a:lnTo>
                  <a:lnTo>
                    <a:pt x="1734" y="3012"/>
                  </a:lnTo>
                  <a:lnTo>
                    <a:pt x="1728" y="3000"/>
                  </a:lnTo>
                  <a:lnTo>
                    <a:pt x="1728" y="2988"/>
                  </a:lnTo>
                  <a:lnTo>
                    <a:pt x="1740" y="2976"/>
                  </a:lnTo>
                  <a:lnTo>
                    <a:pt x="1746" y="2976"/>
                  </a:lnTo>
                  <a:lnTo>
                    <a:pt x="1746" y="2952"/>
                  </a:lnTo>
                  <a:lnTo>
                    <a:pt x="1764" y="2952"/>
                  </a:lnTo>
                  <a:lnTo>
                    <a:pt x="1776" y="2940"/>
                  </a:lnTo>
                  <a:lnTo>
                    <a:pt x="1776" y="2904"/>
                  </a:lnTo>
                  <a:lnTo>
                    <a:pt x="1782" y="2898"/>
                  </a:lnTo>
                  <a:lnTo>
                    <a:pt x="1788" y="2886"/>
                  </a:lnTo>
                  <a:lnTo>
                    <a:pt x="1800" y="2874"/>
                  </a:lnTo>
                  <a:lnTo>
                    <a:pt x="1812" y="2868"/>
                  </a:lnTo>
                  <a:lnTo>
                    <a:pt x="1818" y="2862"/>
                  </a:lnTo>
                  <a:lnTo>
                    <a:pt x="1824" y="2862"/>
                  </a:lnTo>
                  <a:lnTo>
                    <a:pt x="1824" y="2898"/>
                  </a:lnTo>
                  <a:lnTo>
                    <a:pt x="1818" y="2904"/>
                  </a:lnTo>
                  <a:lnTo>
                    <a:pt x="1818" y="2910"/>
                  </a:lnTo>
                  <a:lnTo>
                    <a:pt x="1812" y="2916"/>
                  </a:lnTo>
                  <a:lnTo>
                    <a:pt x="1812" y="2934"/>
                  </a:lnTo>
                  <a:lnTo>
                    <a:pt x="1800" y="2940"/>
                  </a:lnTo>
                  <a:lnTo>
                    <a:pt x="1800" y="2952"/>
                  </a:lnTo>
                  <a:lnTo>
                    <a:pt x="1776" y="2982"/>
                  </a:lnTo>
                  <a:lnTo>
                    <a:pt x="1746" y="3006"/>
                  </a:lnTo>
                  <a:lnTo>
                    <a:pt x="1752" y="3012"/>
                  </a:lnTo>
                  <a:lnTo>
                    <a:pt x="1770" y="3012"/>
                  </a:lnTo>
                  <a:lnTo>
                    <a:pt x="1770" y="2994"/>
                  </a:lnTo>
                  <a:lnTo>
                    <a:pt x="1776" y="2988"/>
                  </a:lnTo>
                  <a:lnTo>
                    <a:pt x="1788" y="2988"/>
                  </a:lnTo>
                  <a:lnTo>
                    <a:pt x="1794" y="2982"/>
                  </a:lnTo>
                  <a:lnTo>
                    <a:pt x="1800" y="2982"/>
                  </a:lnTo>
                  <a:lnTo>
                    <a:pt x="1812" y="2964"/>
                  </a:lnTo>
                  <a:lnTo>
                    <a:pt x="1824" y="2940"/>
                  </a:lnTo>
                  <a:lnTo>
                    <a:pt x="1848" y="2880"/>
                  </a:lnTo>
                  <a:lnTo>
                    <a:pt x="1860" y="2832"/>
                  </a:lnTo>
                  <a:lnTo>
                    <a:pt x="1872" y="2808"/>
                  </a:lnTo>
                  <a:lnTo>
                    <a:pt x="1878" y="2790"/>
                  </a:lnTo>
                  <a:lnTo>
                    <a:pt x="1884" y="2778"/>
                  </a:lnTo>
                  <a:lnTo>
                    <a:pt x="1896" y="2772"/>
                  </a:lnTo>
                  <a:lnTo>
                    <a:pt x="1902" y="2760"/>
                  </a:lnTo>
                  <a:lnTo>
                    <a:pt x="1926" y="2736"/>
                  </a:lnTo>
                  <a:lnTo>
                    <a:pt x="1926" y="2724"/>
                  </a:lnTo>
                  <a:lnTo>
                    <a:pt x="1920" y="2718"/>
                  </a:lnTo>
                  <a:lnTo>
                    <a:pt x="1938" y="2706"/>
                  </a:lnTo>
                  <a:lnTo>
                    <a:pt x="1932" y="2670"/>
                  </a:lnTo>
                  <a:lnTo>
                    <a:pt x="1938" y="2646"/>
                  </a:lnTo>
                  <a:lnTo>
                    <a:pt x="1926" y="2640"/>
                  </a:lnTo>
                  <a:lnTo>
                    <a:pt x="1932" y="2634"/>
                  </a:lnTo>
                  <a:lnTo>
                    <a:pt x="1938" y="2622"/>
                  </a:lnTo>
                  <a:lnTo>
                    <a:pt x="1938" y="2610"/>
                  </a:lnTo>
                  <a:lnTo>
                    <a:pt x="1932" y="2604"/>
                  </a:lnTo>
                  <a:lnTo>
                    <a:pt x="1920" y="2598"/>
                  </a:lnTo>
                  <a:lnTo>
                    <a:pt x="1914" y="2592"/>
                  </a:lnTo>
                  <a:lnTo>
                    <a:pt x="1914" y="2556"/>
                  </a:lnTo>
                  <a:lnTo>
                    <a:pt x="1896" y="2544"/>
                  </a:lnTo>
                  <a:lnTo>
                    <a:pt x="1920" y="2544"/>
                  </a:lnTo>
                  <a:lnTo>
                    <a:pt x="1914" y="2520"/>
                  </a:lnTo>
                  <a:lnTo>
                    <a:pt x="1902" y="2508"/>
                  </a:lnTo>
                  <a:lnTo>
                    <a:pt x="1908" y="2508"/>
                  </a:lnTo>
                  <a:lnTo>
                    <a:pt x="1920" y="2502"/>
                  </a:lnTo>
                  <a:lnTo>
                    <a:pt x="1920" y="2490"/>
                  </a:lnTo>
                  <a:lnTo>
                    <a:pt x="1914" y="2490"/>
                  </a:lnTo>
                  <a:lnTo>
                    <a:pt x="1902" y="2484"/>
                  </a:lnTo>
                  <a:lnTo>
                    <a:pt x="1896" y="2478"/>
                  </a:lnTo>
                  <a:lnTo>
                    <a:pt x="1920" y="2460"/>
                  </a:lnTo>
                  <a:lnTo>
                    <a:pt x="1932" y="2472"/>
                  </a:lnTo>
                  <a:lnTo>
                    <a:pt x="1944" y="2478"/>
                  </a:lnTo>
                  <a:lnTo>
                    <a:pt x="1950" y="2478"/>
                  </a:lnTo>
                  <a:lnTo>
                    <a:pt x="1950" y="2448"/>
                  </a:lnTo>
                  <a:lnTo>
                    <a:pt x="1962" y="2424"/>
                  </a:lnTo>
                  <a:lnTo>
                    <a:pt x="1974" y="2418"/>
                  </a:lnTo>
                  <a:lnTo>
                    <a:pt x="1980" y="2418"/>
                  </a:lnTo>
                  <a:lnTo>
                    <a:pt x="2004" y="2406"/>
                  </a:lnTo>
                  <a:lnTo>
                    <a:pt x="2010" y="2394"/>
                  </a:lnTo>
                  <a:lnTo>
                    <a:pt x="2010" y="2382"/>
                  </a:lnTo>
                  <a:lnTo>
                    <a:pt x="2016" y="2376"/>
                  </a:lnTo>
                  <a:lnTo>
                    <a:pt x="2028" y="2376"/>
                  </a:lnTo>
                  <a:lnTo>
                    <a:pt x="2034" y="2370"/>
                  </a:lnTo>
                  <a:lnTo>
                    <a:pt x="2046" y="2370"/>
                  </a:lnTo>
                  <a:lnTo>
                    <a:pt x="2046" y="2358"/>
                  </a:lnTo>
                  <a:lnTo>
                    <a:pt x="2070" y="2358"/>
                  </a:lnTo>
                  <a:lnTo>
                    <a:pt x="2070" y="2340"/>
                  </a:lnTo>
                  <a:lnTo>
                    <a:pt x="2118" y="2340"/>
                  </a:lnTo>
                  <a:lnTo>
                    <a:pt x="2124" y="2358"/>
                  </a:lnTo>
                  <a:lnTo>
                    <a:pt x="2136" y="2352"/>
                  </a:lnTo>
                  <a:lnTo>
                    <a:pt x="2118" y="2334"/>
                  </a:lnTo>
                  <a:lnTo>
                    <a:pt x="2136" y="2316"/>
                  </a:lnTo>
                  <a:lnTo>
                    <a:pt x="2142" y="2316"/>
                  </a:lnTo>
                  <a:lnTo>
                    <a:pt x="2154" y="2310"/>
                  </a:lnTo>
                  <a:lnTo>
                    <a:pt x="2178" y="2310"/>
                  </a:lnTo>
                  <a:lnTo>
                    <a:pt x="2160" y="2292"/>
                  </a:lnTo>
                  <a:lnTo>
                    <a:pt x="2172" y="2286"/>
                  </a:lnTo>
                  <a:lnTo>
                    <a:pt x="2178" y="2280"/>
                  </a:lnTo>
                  <a:lnTo>
                    <a:pt x="2190" y="2280"/>
                  </a:lnTo>
                  <a:lnTo>
                    <a:pt x="2190" y="2304"/>
                  </a:lnTo>
                  <a:lnTo>
                    <a:pt x="2196" y="2304"/>
                  </a:lnTo>
                  <a:lnTo>
                    <a:pt x="2196" y="2298"/>
                  </a:lnTo>
                  <a:lnTo>
                    <a:pt x="2202" y="2286"/>
                  </a:lnTo>
                  <a:lnTo>
                    <a:pt x="2208" y="2280"/>
                  </a:lnTo>
                  <a:lnTo>
                    <a:pt x="2244" y="2286"/>
                  </a:lnTo>
                  <a:lnTo>
                    <a:pt x="2244" y="2280"/>
                  </a:lnTo>
                  <a:lnTo>
                    <a:pt x="2250" y="2274"/>
                  </a:lnTo>
                  <a:lnTo>
                    <a:pt x="2250" y="2268"/>
                  </a:lnTo>
                  <a:lnTo>
                    <a:pt x="2256" y="2262"/>
                  </a:lnTo>
                  <a:lnTo>
                    <a:pt x="2268" y="2256"/>
                  </a:lnTo>
                  <a:lnTo>
                    <a:pt x="2274" y="2256"/>
                  </a:lnTo>
                  <a:lnTo>
                    <a:pt x="2280" y="2262"/>
                  </a:lnTo>
                  <a:lnTo>
                    <a:pt x="2280" y="2286"/>
                  </a:lnTo>
                  <a:lnTo>
                    <a:pt x="2346" y="2280"/>
                  </a:lnTo>
                  <a:lnTo>
                    <a:pt x="2352" y="2262"/>
                  </a:lnTo>
                  <a:lnTo>
                    <a:pt x="2346" y="2250"/>
                  </a:lnTo>
                  <a:lnTo>
                    <a:pt x="2352" y="2244"/>
                  </a:lnTo>
                  <a:lnTo>
                    <a:pt x="2358" y="2232"/>
                  </a:lnTo>
                  <a:lnTo>
                    <a:pt x="2370" y="2220"/>
                  </a:lnTo>
                  <a:lnTo>
                    <a:pt x="2406" y="2202"/>
                  </a:lnTo>
                  <a:lnTo>
                    <a:pt x="2418" y="2202"/>
                  </a:lnTo>
                  <a:lnTo>
                    <a:pt x="2412" y="2190"/>
                  </a:lnTo>
                  <a:lnTo>
                    <a:pt x="2412" y="2112"/>
                  </a:lnTo>
                  <a:lnTo>
                    <a:pt x="2442" y="2082"/>
                  </a:lnTo>
                  <a:lnTo>
                    <a:pt x="2442" y="2058"/>
                  </a:lnTo>
                  <a:lnTo>
                    <a:pt x="2460" y="2052"/>
                  </a:lnTo>
                  <a:lnTo>
                    <a:pt x="2460" y="2022"/>
                  </a:lnTo>
                  <a:lnTo>
                    <a:pt x="2466" y="2022"/>
                  </a:lnTo>
                  <a:lnTo>
                    <a:pt x="2472" y="2016"/>
                  </a:lnTo>
                  <a:lnTo>
                    <a:pt x="2478" y="2016"/>
                  </a:lnTo>
                  <a:lnTo>
                    <a:pt x="2478" y="2010"/>
                  </a:lnTo>
                  <a:lnTo>
                    <a:pt x="2484" y="2004"/>
                  </a:lnTo>
                  <a:lnTo>
                    <a:pt x="2484" y="1956"/>
                  </a:lnTo>
                  <a:lnTo>
                    <a:pt x="2478" y="1944"/>
                  </a:lnTo>
                  <a:lnTo>
                    <a:pt x="2478" y="1926"/>
                  </a:lnTo>
                  <a:lnTo>
                    <a:pt x="2472" y="1908"/>
                  </a:lnTo>
                  <a:lnTo>
                    <a:pt x="2484" y="1884"/>
                  </a:lnTo>
                  <a:lnTo>
                    <a:pt x="2514" y="1854"/>
                  </a:lnTo>
                  <a:lnTo>
                    <a:pt x="2514" y="1848"/>
                  </a:lnTo>
                  <a:lnTo>
                    <a:pt x="2508" y="1836"/>
                  </a:lnTo>
                  <a:lnTo>
                    <a:pt x="2508" y="1830"/>
                  </a:lnTo>
                  <a:lnTo>
                    <a:pt x="2502" y="1818"/>
                  </a:lnTo>
                  <a:lnTo>
                    <a:pt x="2508" y="1764"/>
                  </a:lnTo>
                  <a:lnTo>
                    <a:pt x="2508" y="1758"/>
                  </a:lnTo>
                  <a:lnTo>
                    <a:pt x="2514" y="1752"/>
                  </a:lnTo>
                  <a:lnTo>
                    <a:pt x="2514" y="1722"/>
                  </a:lnTo>
                  <a:lnTo>
                    <a:pt x="2520" y="1710"/>
                  </a:lnTo>
                  <a:lnTo>
                    <a:pt x="2520" y="1680"/>
                  </a:lnTo>
                  <a:lnTo>
                    <a:pt x="2508" y="1644"/>
                  </a:lnTo>
                  <a:lnTo>
                    <a:pt x="2502" y="1608"/>
                  </a:lnTo>
                  <a:lnTo>
                    <a:pt x="2502" y="1596"/>
                  </a:lnTo>
                  <a:lnTo>
                    <a:pt x="2508" y="1560"/>
                  </a:lnTo>
                  <a:lnTo>
                    <a:pt x="2508" y="1548"/>
                  </a:lnTo>
                  <a:lnTo>
                    <a:pt x="2502" y="1536"/>
                  </a:lnTo>
                  <a:lnTo>
                    <a:pt x="2502" y="1500"/>
                  </a:lnTo>
                  <a:lnTo>
                    <a:pt x="2508" y="1488"/>
                  </a:lnTo>
                  <a:lnTo>
                    <a:pt x="2520" y="1476"/>
                  </a:lnTo>
                  <a:lnTo>
                    <a:pt x="2508" y="1458"/>
                  </a:lnTo>
                  <a:lnTo>
                    <a:pt x="2520" y="1446"/>
                  </a:lnTo>
                  <a:lnTo>
                    <a:pt x="2532" y="1446"/>
                  </a:lnTo>
                  <a:lnTo>
                    <a:pt x="2532" y="1452"/>
                  </a:lnTo>
                  <a:lnTo>
                    <a:pt x="2538" y="1464"/>
                  </a:lnTo>
                  <a:lnTo>
                    <a:pt x="2544" y="1470"/>
                  </a:lnTo>
                  <a:lnTo>
                    <a:pt x="2556" y="1464"/>
                  </a:lnTo>
                  <a:lnTo>
                    <a:pt x="2562" y="1452"/>
                  </a:lnTo>
                  <a:lnTo>
                    <a:pt x="2574" y="1446"/>
                  </a:lnTo>
                  <a:lnTo>
                    <a:pt x="2580" y="1434"/>
                  </a:lnTo>
                  <a:lnTo>
                    <a:pt x="2586" y="1428"/>
                  </a:lnTo>
                  <a:lnTo>
                    <a:pt x="2592" y="1416"/>
                  </a:lnTo>
                  <a:lnTo>
                    <a:pt x="2592" y="1404"/>
                  </a:lnTo>
                  <a:lnTo>
                    <a:pt x="2598" y="1386"/>
                  </a:lnTo>
                  <a:lnTo>
                    <a:pt x="2598" y="1374"/>
                  </a:lnTo>
                  <a:lnTo>
                    <a:pt x="2604" y="1356"/>
                  </a:lnTo>
                  <a:lnTo>
                    <a:pt x="2604" y="1344"/>
                  </a:lnTo>
                  <a:lnTo>
                    <a:pt x="2610" y="1338"/>
                  </a:lnTo>
                  <a:lnTo>
                    <a:pt x="2616" y="1338"/>
                  </a:lnTo>
                  <a:lnTo>
                    <a:pt x="2628" y="1326"/>
                  </a:lnTo>
                  <a:lnTo>
                    <a:pt x="2634" y="1314"/>
                  </a:lnTo>
                  <a:lnTo>
                    <a:pt x="2640" y="1308"/>
                  </a:lnTo>
                  <a:lnTo>
                    <a:pt x="2640" y="1296"/>
                  </a:lnTo>
                  <a:lnTo>
                    <a:pt x="2652" y="1290"/>
                  </a:lnTo>
                  <a:lnTo>
                    <a:pt x="2658" y="1284"/>
                  </a:lnTo>
                  <a:lnTo>
                    <a:pt x="2670" y="1284"/>
                  </a:lnTo>
                  <a:lnTo>
                    <a:pt x="2682" y="1272"/>
                  </a:lnTo>
                  <a:lnTo>
                    <a:pt x="2682" y="1254"/>
                  </a:lnTo>
                  <a:lnTo>
                    <a:pt x="2688" y="1254"/>
                  </a:lnTo>
                  <a:lnTo>
                    <a:pt x="2724" y="1218"/>
                  </a:lnTo>
                  <a:lnTo>
                    <a:pt x="2736" y="1188"/>
                  </a:lnTo>
                  <a:lnTo>
                    <a:pt x="2754" y="1158"/>
                  </a:lnTo>
                  <a:lnTo>
                    <a:pt x="2760" y="1134"/>
                  </a:lnTo>
                  <a:lnTo>
                    <a:pt x="2766" y="1122"/>
                  </a:lnTo>
                  <a:lnTo>
                    <a:pt x="2772" y="1116"/>
                  </a:lnTo>
                  <a:lnTo>
                    <a:pt x="2778" y="1104"/>
                  </a:lnTo>
                  <a:lnTo>
                    <a:pt x="2784" y="1098"/>
                  </a:lnTo>
                  <a:lnTo>
                    <a:pt x="2784" y="1080"/>
                  </a:lnTo>
                  <a:lnTo>
                    <a:pt x="2778" y="1068"/>
                  </a:lnTo>
                  <a:lnTo>
                    <a:pt x="2778" y="1002"/>
                  </a:lnTo>
                  <a:close/>
                </a:path>
              </a:pathLst>
            </a:custGeom>
            <a:solidFill>
              <a:schemeClr val="accent5"/>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84" name="Botswana" descr="© INSCALE GmbH, 05.05.2010&#10;http://www.presentationload.com/">
              <a:extLst>
                <a:ext uri="{FF2B5EF4-FFF2-40B4-BE49-F238E27FC236}">
                  <a16:creationId xmlns:a16="http://schemas.microsoft.com/office/drawing/2014/main" id="{9C901D37-FC55-48AC-9FF0-E620A0F59FA3}"/>
                </a:ext>
              </a:extLst>
            </p:cNvPr>
            <p:cNvSpPr>
              <a:spLocks/>
            </p:cNvSpPr>
            <p:nvPr/>
          </p:nvSpPr>
          <p:spPr bwMode="gray">
            <a:xfrm>
              <a:off x="4686007" y="4821823"/>
              <a:ext cx="257156" cy="290085"/>
            </a:xfrm>
            <a:custGeom>
              <a:avLst/>
              <a:gdLst>
                <a:gd name="T0" fmla="*/ 2147483647 w 648"/>
                <a:gd name="T1" fmla="*/ 2147483647 h 732"/>
                <a:gd name="T2" fmla="*/ 2147483647 w 648"/>
                <a:gd name="T3" fmla="*/ 2147483647 h 732"/>
                <a:gd name="T4" fmla="*/ 2147483647 w 648"/>
                <a:gd name="T5" fmla="*/ 2147483647 h 732"/>
                <a:gd name="T6" fmla="*/ 2147483647 w 648"/>
                <a:gd name="T7" fmla="*/ 2147483647 h 732"/>
                <a:gd name="T8" fmla="*/ 2147483647 w 648"/>
                <a:gd name="T9" fmla="*/ 2147483647 h 732"/>
                <a:gd name="T10" fmla="*/ 2147483647 w 648"/>
                <a:gd name="T11" fmla="*/ 2147483647 h 732"/>
                <a:gd name="T12" fmla="*/ 2147483647 w 648"/>
                <a:gd name="T13" fmla="*/ 2147483647 h 732"/>
                <a:gd name="T14" fmla="*/ 2147483647 w 648"/>
                <a:gd name="T15" fmla="*/ 2147483647 h 732"/>
                <a:gd name="T16" fmla="*/ 2147483647 w 648"/>
                <a:gd name="T17" fmla="*/ 2147483647 h 732"/>
                <a:gd name="T18" fmla="*/ 2147483647 w 648"/>
                <a:gd name="T19" fmla="*/ 2147483647 h 732"/>
                <a:gd name="T20" fmla="*/ 2147483647 w 648"/>
                <a:gd name="T21" fmla="*/ 2147483647 h 732"/>
                <a:gd name="T22" fmla="*/ 2147483647 w 648"/>
                <a:gd name="T23" fmla="*/ 2147483647 h 732"/>
                <a:gd name="T24" fmla="*/ 2147483647 w 648"/>
                <a:gd name="T25" fmla="*/ 2147483647 h 732"/>
                <a:gd name="T26" fmla="*/ 2147483647 w 648"/>
                <a:gd name="T27" fmla="*/ 2147483647 h 732"/>
                <a:gd name="T28" fmla="*/ 2147483647 w 648"/>
                <a:gd name="T29" fmla="*/ 2147483647 h 732"/>
                <a:gd name="T30" fmla="*/ 2147483647 w 648"/>
                <a:gd name="T31" fmla="*/ 2147483647 h 732"/>
                <a:gd name="T32" fmla="*/ 2147483647 w 648"/>
                <a:gd name="T33" fmla="*/ 2147483647 h 732"/>
                <a:gd name="T34" fmla="*/ 2147483647 w 648"/>
                <a:gd name="T35" fmla="*/ 2147483647 h 732"/>
                <a:gd name="T36" fmla="*/ 2147483647 w 648"/>
                <a:gd name="T37" fmla="*/ 2147483647 h 732"/>
                <a:gd name="T38" fmla="*/ 2147483647 w 648"/>
                <a:gd name="T39" fmla="*/ 2147483647 h 732"/>
                <a:gd name="T40" fmla="*/ 2147483647 w 648"/>
                <a:gd name="T41" fmla="*/ 2147483647 h 732"/>
                <a:gd name="T42" fmla="*/ 2147483647 w 648"/>
                <a:gd name="T43" fmla="*/ 2147483647 h 732"/>
                <a:gd name="T44" fmla="*/ 2147483647 w 648"/>
                <a:gd name="T45" fmla="*/ 2147483647 h 732"/>
                <a:gd name="T46" fmla="*/ 2147483647 w 648"/>
                <a:gd name="T47" fmla="*/ 2147483647 h 732"/>
                <a:gd name="T48" fmla="*/ 2147483647 w 648"/>
                <a:gd name="T49" fmla="*/ 2147483647 h 732"/>
                <a:gd name="T50" fmla="*/ 2147483647 w 648"/>
                <a:gd name="T51" fmla="*/ 2147483647 h 732"/>
                <a:gd name="T52" fmla="*/ 2147483647 w 648"/>
                <a:gd name="T53" fmla="*/ 2147483647 h 732"/>
                <a:gd name="T54" fmla="*/ 2147483647 w 648"/>
                <a:gd name="T55" fmla="*/ 2147483647 h 732"/>
                <a:gd name="T56" fmla="*/ 2147483647 w 648"/>
                <a:gd name="T57" fmla="*/ 2147483647 h 732"/>
                <a:gd name="T58" fmla="*/ 2147483647 w 648"/>
                <a:gd name="T59" fmla="*/ 2147483647 h 732"/>
                <a:gd name="T60" fmla="*/ 2147483647 w 648"/>
                <a:gd name="T61" fmla="*/ 2147483647 h 732"/>
                <a:gd name="T62" fmla="*/ 2147483647 w 648"/>
                <a:gd name="T63" fmla="*/ 2147483647 h 732"/>
                <a:gd name="T64" fmla="*/ 2147483647 w 648"/>
                <a:gd name="T65" fmla="*/ 2147483647 h 732"/>
                <a:gd name="T66" fmla="*/ 2147483647 w 648"/>
                <a:gd name="T67" fmla="*/ 2147483647 h 732"/>
                <a:gd name="T68" fmla="*/ 2147483647 w 648"/>
                <a:gd name="T69" fmla="*/ 2147483647 h 732"/>
                <a:gd name="T70" fmla="*/ 2147483647 w 648"/>
                <a:gd name="T71" fmla="*/ 2147483647 h 732"/>
                <a:gd name="T72" fmla="*/ 2147483647 w 648"/>
                <a:gd name="T73" fmla="*/ 2147483647 h 732"/>
                <a:gd name="T74" fmla="*/ 2147483647 w 648"/>
                <a:gd name="T75" fmla="*/ 2147483647 h 732"/>
                <a:gd name="T76" fmla="*/ 2147483647 w 648"/>
                <a:gd name="T77" fmla="*/ 2147483647 h 732"/>
                <a:gd name="T78" fmla="*/ 2147483647 w 648"/>
                <a:gd name="T79" fmla="*/ 2147483647 h 732"/>
                <a:gd name="T80" fmla="*/ 2147483647 w 648"/>
                <a:gd name="T81" fmla="*/ 2147483647 h 732"/>
                <a:gd name="T82" fmla="*/ 2147483647 w 648"/>
                <a:gd name="T83" fmla="*/ 2147483647 h 732"/>
                <a:gd name="T84" fmla="*/ 2147483647 w 648"/>
                <a:gd name="T85" fmla="*/ 2147483647 h 732"/>
                <a:gd name="T86" fmla="*/ 2147483647 w 648"/>
                <a:gd name="T87" fmla="*/ 2147483647 h 732"/>
                <a:gd name="T88" fmla="*/ 2147483647 w 648"/>
                <a:gd name="T89" fmla="*/ 2147483647 h 732"/>
                <a:gd name="T90" fmla="*/ 2147483647 w 648"/>
                <a:gd name="T91" fmla="*/ 2147483647 h 732"/>
                <a:gd name="T92" fmla="*/ 2147483647 w 648"/>
                <a:gd name="T93" fmla="*/ 2147483647 h 732"/>
                <a:gd name="T94" fmla="*/ 2147483647 w 648"/>
                <a:gd name="T95" fmla="*/ 0 h 732"/>
                <a:gd name="T96" fmla="*/ 2147483647 w 648"/>
                <a:gd name="T97" fmla="*/ 2147483647 h 732"/>
                <a:gd name="T98" fmla="*/ 2147483647 w 648"/>
                <a:gd name="T99" fmla="*/ 2147483647 h 732"/>
                <a:gd name="T100" fmla="*/ 2147483647 w 648"/>
                <a:gd name="T101" fmla="*/ 2147483647 h 732"/>
                <a:gd name="T102" fmla="*/ 2147483647 w 648"/>
                <a:gd name="T103" fmla="*/ 2147483647 h 732"/>
                <a:gd name="T104" fmla="*/ 2147483647 w 648"/>
                <a:gd name="T105" fmla="*/ 2147483647 h 732"/>
                <a:gd name="T106" fmla="*/ 2147483647 w 648"/>
                <a:gd name="T107" fmla="*/ 2147483647 h 732"/>
                <a:gd name="T108" fmla="*/ 2147483647 w 648"/>
                <a:gd name="T109" fmla="*/ 2147483647 h 732"/>
                <a:gd name="T110" fmla="*/ 2147483647 w 648"/>
                <a:gd name="T111" fmla="*/ 2147483647 h 732"/>
                <a:gd name="T112" fmla="*/ 2147483647 w 648"/>
                <a:gd name="T113" fmla="*/ 2147483647 h 732"/>
                <a:gd name="T114" fmla="*/ 0 w 648"/>
                <a:gd name="T115" fmla="*/ 2147483647 h 7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8"/>
                <a:gd name="T175" fmla="*/ 0 h 732"/>
                <a:gd name="T176" fmla="*/ 648 w 648"/>
                <a:gd name="T177" fmla="*/ 732 h 7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8" h="732">
                  <a:moveTo>
                    <a:pt x="0" y="570"/>
                  </a:moveTo>
                  <a:lnTo>
                    <a:pt x="12" y="576"/>
                  </a:lnTo>
                  <a:lnTo>
                    <a:pt x="18" y="582"/>
                  </a:lnTo>
                  <a:lnTo>
                    <a:pt x="30" y="588"/>
                  </a:lnTo>
                  <a:lnTo>
                    <a:pt x="36" y="594"/>
                  </a:lnTo>
                  <a:lnTo>
                    <a:pt x="42" y="612"/>
                  </a:lnTo>
                  <a:lnTo>
                    <a:pt x="48" y="624"/>
                  </a:lnTo>
                  <a:lnTo>
                    <a:pt x="48" y="642"/>
                  </a:lnTo>
                  <a:lnTo>
                    <a:pt x="54" y="648"/>
                  </a:lnTo>
                  <a:lnTo>
                    <a:pt x="54" y="672"/>
                  </a:lnTo>
                  <a:lnTo>
                    <a:pt x="48" y="684"/>
                  </a:lnTo>
                  <a:lnTo>
                    <a:pt x="48" y="690"/>
                  </a:lnTo>
                  <a:lnTo>
                    <a:pt x="42" y="702"/>
                  </a:lnTo>
                  <a:lnTo>
                    <a:pt x="42" y="732"/>
                  </a:lnTo>
                  <a:lnTo>
                    <a:pt x="120" y="732"/>
                  </a:lnTo>
                  <a:lnTo>
                    <a:pt x="120" y="714"/>
                  </a:lnTo>
                  <a:lnTo>
                    <a:pt x="144" y="714"/>
                  </a:lnTo>
                  <a:lnTo>
                    <a:pt x="144" y="708"/>
                  </a:lnTo>
                  <a:lnTo>
                    <a:pt x="150" y="702"/>
                  </a:lnTo>
                  <a:lnTo>
                    <a:pt x="156" y="690"/>
                  </a:lnTo>
                  <a:lnTo>
                    <a:pt x="162" y="684"/>
                  </a:lnTo>
                  <a:lnTo>
                    <a:pt x="168" y="684"/>
                  </a:lnTo>
                  <a:lnTo>
                    <a:pt x="174" y="678"/>
                  </a:lnTo>
                  <a:lnTo>
                    <a:pt x="186" y="678"/>
                  </a:lnTo>
                  <a:lnTo>
                    <a:pt x="186" y="654"/>
                  </a:lnTo>
                  <a:lnTo>
                    <a:pt x="192" y="642"/>
                  </a:lnTo>
                  <a:lnTo>
                    <a:pt x="192" y="630"/>
                  </a:lnTo>
                  <a:lnTo>
                    <a:pt x="198" y="618"/>
                  </a:lnTo>
                  <a:lnTo>
                    <a:pt x="204" y="612"/>
                  </a:lnTo>
                  <a:lnTo>
                    <a:pt x="216" y="606"/>
                  </a:lnTo>
                  <a:lnTo>
                    <a:pt x="228" y="606"/>
                  </a:lnTo>
                  <a:lnTo>
                    <a:pt x="240" y="612"/>
                  </a:lnTo>
                  <a:lnTo>
                    <a:pt x="246" y="618"/>
                  </a:lnTo>
                  <a:lnTo>
                    <a:pt x="258" y="624"/>
                  </a:lnTo>
                  <a:lnTo>
                    <a:pt x="270" y="636"/>
                  </a:lnTo>
                  <a:lnTo>
                    <a:pt x="300" y="636"/>
                  </a:lnTo>
                  <a:lnTo>
                    <a:pt x="306" y="642"/>
                  </a:lnTo>
                  <a:lnTo>
                    <a:pt x="318" y="648"/>
                  </a:lnTo>
                  <a:lnTo>
                    <a:pt x="324" y="654"/>
                  </a:lnTo>
                  <a:lnTo>
                    <a:pt x="336" y="654"/>
                  </a:lnTo>
                  <a:lnTo>
                    <a:pt x="348" y="648"/>
                  </a:lnTo>
                  <a:lnTo>
                    <a:pt x="354" y="642"/>
                  </a:lnTo>
                  <a:lnTo>
                    <a:pt x="360" y="648"/>
                  </a:lnTo>
                  <a:lnTo>
                    <a:pt x="372" y="648"/>
                  </a:lnTo>
                  <a:lnTo>
                    <a:pt x="384" y="642"/>
                  </a:lnTo>
                  <a:lnTo>
                    <a:pt x="390" y="636"/>
                  </a:lnTo>
                  <a:lnTo>
                    <a:pt x="396" y="624"/>
                  </a:lnTo>
                  <a:lnTo>
                    <a:pt x="402" y="606"/>
                  </a:lnTo>
                  <a:lnTo>
                    <a:pt x="408" y="594"/>
                  </a:lnTo>
                  <a:lnTo>
                    <a:pt x="408" y="582"/>
                  </a:lnTo>
                  <a:lnTo>
                    <a:pt x="426" y="564"/>
                  </a:lnTo>
                  <a:lnTo>
                    <a:pt x="444" y="558"/>
                  </a:lnTo>
                  <a:lnTo>
                    <a:pt x="456" y="552"/>
                  </a:lnTo>
                  <a:lnTo>
                    <a:pt x="462" y="546"/>
                  </a:lnTo>
                  <a:lnTo>
                    <a:pt x="468" y="534"/>
                  </a:lnTo>
                  <a:lnTo>
                    <a:pt x="480" y="528"/>
                  </a:lnTo>
                  <a:lnTo>
                    <a:pt x="480" y="492"/>
                  </a:lnTo>
                  <a:lnTo>
                    <a:pt x="492" y="468"/>
                  </a:lnTo>
                  <a:lnTo>
                    <a:pt x="504" y="462"/>
                  </a:lnTo>
                  <a:lnTo>
                    <a:pt x="510" y="462"/>
                  </a:lnTo>
                  <a:lnTo>
                    <a:pt x="522" y="456"/>
                  </a:lnTo>
                  <a:lnTo>
                    <a:pt x="564" y="414"/>
                  </a:lnTo>
                  <a:lnTo>
                    <a:pt x="576" y="390"/>
                  </a:lnTo>
                  <a:lnTo>
                    <a:pt x="582" y="384"/>
                  </a:lnTo>
                  <a:lnTo>
                    <a:pt x="594" y="384"/>
                  </a:lnTo>
                  <a:lnTo>
                    <a:pt x="606" y="378"/>
                  </a:lnTo>
                  <a:lnTo>
                    <a:pt x="618" y="378"/>
                  </a:lnTo>
                  <a:lnTo>
                    <a:pt x="630" y="354"/>
                  </a:lnTo>
                  <a:lnTo>
                    <a:pt x="648" y="354"/>
                  </a:lnTo>
                  <a:lnTo>
                    <a:pt x="648" y="348"/>
                  </a:lnTo>
                  <a:lnTo>
                    <a:pt x="642" y="336"/>
                  </a:lnTo>
                  <a:lnTo>
                    <a:pt x="624" y="318"/>
                  </a:lnTo>
                  <a:lnTo>
                    <a:pt x="606" y="312"/>
                  </a:lnTo>
                  <a:lnTo>
                    <a:pt x="594" y="312"/>
                  </a:lnTo>
                  <a:lnTo>
                    <a:pt x="576" y="306"/>
                  </a:lnTo>
                  <a:lnTo>
                    <a:pt x="564" y="306"/>
                  </a:lnTo>
                  <a:lnTo>
                    <a:pt x="564" y="276"/>
                  </a:lnTo>
                  <a:lnTo>
                    <a:pt x="546" y="276"/>
                  </a:lnTo>
                  <a:lnTo>
                    <a:pt x="546" y="246"/>
                  </a:lnTo>
                  <a:lnTo>
                    <a:pt x="552" y="240"/>
                  </a:lnTo>
                  <a:lnTo>
                    <a:pt x="546" y="216"/>
                  </a:lnTo>
                  <a:lnTo>
                    <a:pt x="516" y="216"/>
                  </a:lnTo>
                  <a:lnTo>
                    <a:pt x="516" y="186"/>
                  </a:lnTo>
                  <a:lnTo>
                    <a:pt x="510" y="180"/>
                  </a:lnTo>
                  <a:lnTo>
                    <a:pt x="480" y="180"/>
                  </a:lnTo>
                  <a:lnTo>
                    <a:pt x="462" y="162"/>
                  </a:lnTo>
                  <a:lnTo>
                    <a:pt x="450" y="156"/>
                  </a:lnTo>
                  <a:lnTo>
                    <a:pt x="432" y="120"/>
                  </a:lnTo>
                  <a:lnTo>
                    <a:pt x="432" y="96"/>
                  </a:lnTo>
                  <a:lnTo>
                    <a:pt x="426" y="90"/>
                  </a:lnTo>
                  <a:lnTo>
                    <a:pt x="414" y="66"/>
                  </a:lnTo>
                  <a:lnTo>
                    <a:pt x="408" y="60"/>
                  </a:lnTo>
                  <a:lnTo>
                    <a:pt x="396" y="60"/>
                  </a:lnTo>
                  <a:lnTo>
                    <a:pt x="396" y="30"/>
                  </a:lnTo>
                  <a:lnTo>
                    <a:pt x="384" y="18"/>
                  </a:lnTo>
                  <a:lnTo>
                    <a:pt x="378" y="0"/>
                  </a:lnTo>
                  <a:lnTo>
                    <a:pt x="342" y="6"/>
                  </a:lnTo>
                  <a:lnTo>
                    <a:pt x="330" y="18"/>
                  </a:lnTo>
                  <a:lnTo>
                    <a:pt x="306" y="18"/>
                  </a:lnTo>
                  <a:lnTo>
                    <a:pt x="264" y="60"/>
                  </a:lnTo>
                  <a:lnTo>
                    <a:pt x="258" y="60"/>
                  </a:lnTo>
                  <a:lnTo>
                    <a:pt x="258" y="42"/>
                  </a:lnTo>
                  <a:lnTo>
                    <a:pt x="252" y="42"/>
                  </a:lnTo>
                  <a:lnTo>
                    <a:pt x="252" y="24"/>
                  </a:lnTo>
                  <a:lnTo>
                    <a:pt x="246" y="18"/>
                  </a:lnTo>
                  <a:lnTo>
                    <a:pt x="228" y="18"/>
                  </a:lnTo>
                  <a:lnTo>
                    <a:pt x="216" y="24"/>
                  </a:lnTo>
                  <a:lnTo>
                    <a:pt x="168" y="36"/>
                  </a:lnTo>
                  <a:lnTo>
                    <a:pt x="132" y="36"/>
                  </a:lnTo>
                  <a:lnTo>
                    <a:pt x="114" y="42"/>
                  </a:lnTo>
                  <a:lnTo>
                    <a:pt x="78" y="42"/>
                  </a:lnTo>
                  <a:lnTo>
                    <a:pt x="78" y="216"/>
                  </a:lnTo>
                  <a:lnTo>
                    <a:pt x="72" y="222"/>
                  </a:lnTo>
                  <a:lnTo>
                    <a:pt x="78" y="348"/>
                  </a:lnTo>
                  <a:lnTo>
                    <a:pt x="6" y="348"/>
                  </a:lnTo>
                  <a:lnTo>
                    <a:pt x="0" y="57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85" name="Bosnien und Herzegowina" descr="© INSCALE GmbH, 05.05.2010&#10;http://www.presentationload.com/">
              <a:extLst>
                <a:ext uri="{FF2B5EF4-FFF2-40B4-BE49-F238E27FC236}">
                  <a16:creationId xmlns:a16="http://schemas.microsoft.com/office/drawing/2014/main" id="{363C9209-B0E9-43B7-8AE5-3A50B5D6BD87}"/>
                </a:ext>
              </a:extLst>
            </p:cNvPr>
            <p:cNvSpPr>
              <a:spLocks/>
            </p:cNvSpPr>
            <p:nvPr/>
          </p:nvSpPr>
          <p:spPr bwMode="gray">
            <a:xfrm>
              <a:off x="4552725" y="2803776"/>
              <a:ext cx="105057" cy="94081"/>
            </a:xfrm>
            <a:custGeom>
              <a:avLst/>
              <a:gdLst>
                <a:gd name="T0" fmla="*/ 2147483647 w 264"/>
                <a:gd name="T1" fmla="*/ 2147483647 h 234"/>
                <a:gd name="T2" fmla="*/ 2147483647 w 264"/>
                <a:gd name="T3" fmla="*/ 2147483647 h 234"/>
                <a:gd name="T4" fmla="*/ 2147483647 w 264"/>
                <a:gd name="T5" fmla="*/ 2147483647 h 234"/>
                <a:gd name="T6" fmla="*/ 2147483647 w 264"/>
                <a:gd name="T7" fmla="*/ 2147483647 h 234"/>
                <a:gd name="T8" fmla="*/ 2147483647 w 264"/>
                <a:gd name="T9" fmla="*/ 2147483647 h 234"/>
                <a:gd name="T10" fmla="*/ 2147483647 w 264"/>
                <a:gd name="T11" fmla="*/ 2147483647 h 234"/>
                <a:gd name="T12" fmla="*/ 2147483647 w 264"/>
                <a:gd name="T13" fmla="*/ 2147483647 h 234"/>
                <a:gd name="T14" fmla="*/ 2147483647 w 264"/>
                <a:gd name="T15" fmla="*/ 2147483647 h 234"/>
                <a:gd name="T16" fmla="*/ 2147483647 w 264"/>
                <a:gd name="T17" fmla="*/ 2147483647 h 234"/>
                <a:gd name="T18" fmla="*/ 2147483647 w 264"/>
                <a:gd name="T19" fmla="*/ 2147483647 h 234"/>
                <a:gd name="T20" fmla="*/ 2147483647 w 264"/>
                <a:gd name="T21" fmla="*/ 2147483647 h 234"/>
                <a:gd name="T22" fmla="*/ 2147483647 w 264"/>
                <a:gd name="T23" fmla="*/ 2147483647 h 234"/>
                <a:gd name="T24" fmla="*/ 2147483647 w 264"/>
                <a:gd name="T25" fmla="*/ 2147483647 h 234"/>
                <a:gd name="T26" fmla="*/ 2147483647 w 264"/>
                <a:gd name="T27" fmla="*/ 2147483647 h 234"/>
                <a:gd name="T28" fmla="*/ 2147483647 w 264"/>
                <a:gd name="T29" fmla="*/ 2147483647 h 234"/>
                <a:gd name="T30" fmla="*/ 2147483647 w 264"/>
                <a:gd name="T31" fmla="*/ 2147483647 h 234"/>
                <a:gd name="T32" fmla="*/ 2147483647 w 264"/>
                <a:gd name="T33" fmla="*/ 2147483647 h 234"/>
                <a:gd name="T34" fmla="*/ 2147483647 w 264"/>
                <a:gd name="T35" fmla="*/ 2147483647 h 234"/>
                <a:gd name="T36" fmla="*/ 2147483647 w 264"/>
                <a:gd name="T37" fmla="*/ 2147483647 h 234"/>
                <a:gd name="T38" fmla="*/ 2147483647 w 264"/>
                <a:gd name="T39" fmla="*/ 0 h 234"/>
                <a:gd name="T40" fmla="*/ 2147483647 w 264"/>
                <a:gd name="T41" fmla="*/ 0 h 234"/>
                <a:gd name="T42" fmla="*/ 2147483647 w 264"/>
                <a:gd name="T43" fmla="*/ 2147483647 h 234"/>
                <a:gd name="T44" fmla="*/ 0 w 264"/>
                <a:gd name="T45" fmla="*/ 2147483647 h 234"/>
                <a:gd name="T46" fmla="*/ 2147483647 w 264"/>
                <a:gd name="T47" fmla="*/ 2147483647 h 234"/>
                <a:gd name="T48" fmla="*/ 2147483647 w 264"/>
                <a:gd name="T49" fmla="*/ 2147483647 h 234"/>
                <a:gd name="T50" fmla="*/ 2147483647 w 264"/>
                <a:gd name="T51" fmla="*/ 2147483647 h 234"/>
                <a:gd name="T52" fmla="*/ 2147483647 w 264"/>
                <a:gd name="T53" fmla="*/ 2147483647 h 234"/>
                <a:gd name="T54" fmla="*/ 2147483647 w 264"/>
                <a:gd name="T55" fmla="*/ 2147483647 h 234"/>
                <a:gd name="T56" fmla="*/ 2147483647 w 264"/>
                <a:gd name="T57" fmla="*/ 2147483647 h 234"/>
                <a:gd name="T58" fmla="*/ 2147483647 w 264"/>
                <a:gd name="T59" fmla="*/ 2147483647 h 234"/>
                <a:gd name="T60" fmla="*/ 2147483647 w 264"/>
                <a:gd name="T61" fmla="*/ 2147483647 h 234"/>
                <a:gd name="T62" fmla="*/ 2147483647 w 264"/>
                <a:gd name="T63" fmla="*/ 2147483647 h 234"/>
                <a:gd name="T64" fmla="*/ 2147483647 w 264"/>
                <a:gd name="T65" fmla="*/ 2147483647 h 234"/>
                <a:gd name="T66" fmla="*/ 2147483647 w 264"/>
                <a:gd name="T67" fmla="*/ 2147483647 h 234"/>
                <a:gd name="T68" fmla="*/ 2147483647 w 264"/>
                <a:gd name="T69" fmla="*/ 2147483647 h 234"/>
                <a:gd name="T70" fmla="*/ 2147483647 w 264"/>
                <a:gd name="T71" fmla="*/ 2147483647 h 234"/>
                <a:gd name="T72" fmla="*/ 2147483647 w 264"/>
                <a:gd name="T73" fmla="*/ 2147483647 h 234"/>
                <a:gd name="T74" fmla="*/ 2147483647 w 264"/>
                <a:gd name="T75" fmla="*/ 2147483647 h 234"/>
                <a:gd name="T76" fmla="*/ 2147483647 w 264"/>
                <a:gd name="T77" fmla="*/ 2147483647 h 234"/>
                <a:gd name="T78" fmla="*/ 2147483647 w 264"/>
                <a:gd name="T79" fmla="*/ 2147483647 h 234"/>
                <a:gd name="T80" fmla="*/ 2147483647 w 264"/>
                <a:gd name="T81" fmla="*/ 2147483647 h 234"/>
                <a:gd name="T82" fmla="*/ 2147483647 w 264"/>
                <a:gd name="T83" fmla="*/ 2147483647 h 234"/>
                <a:gd name="T84" fmla="*/ 2147483647 w 264"/>
                <a:gd name="T85" fmla="*/ 2147483647 h 234"/>
                <a:gd name="T86" fmla="*/ 2147483647 w 264"/>
                <a:gd name="T87" fmla="*/ 2147483647 h 234"/>
                <a:gd name="T88" fmla="*/ 2147483647 w 264"/>
                <a:gd name="T89" fmla="*/ 2147483647 h 234"/>
                <a:gd name="T90" fmla="*/ 2147483647 w 264"/>
                <a:gd name="T91" fmla="*/ 2147483647 h 234"/>
                <a:gd name="T92" fmla="*/ 2147483647 w 264"/>
                <a:gd name="T93" fmla="*/ 2147483647 h 234"/>
                <a:gd name="T94" fmla="*/ 2147483647 w 264"/>
                <a:gd name="T95" fmla="*/ 2147483647 h 234"/>
                <a:gd name="T96" fmla="*/ 2147483647 w 264"/>
                <a:gd name="T97" fmla="*/ 2147483647 h 234"/>
                <a:gd name="T98" fmla="*/ 2147483647 w 264"/>
                <a:gd name="T99" fmla="*/ 2147483647 h 234"/>
                <a:gd name="T100" fmla="*/ 2147483647 w 264"/>
                <a:gd name="T101" fmla="*/ 2147483647 h 234"/>
                <a:gd name="T102" fmla="*/ 2147483647 w 264"/>
                <a:gd name="T103" fmla="*/ 2147483647 h 234"/>
                <a:gd name="T104" fmla="*/ 2147483647 w 264"/>
                <a:gd name="T105" fmla="*/ 2147483647 h 234"/>
                <a:gd name="T106" fmla="*/ 2147483647 w 264"/>
                <a:gd name="T107" fmla="*/ 2147483647 h 234"/>
                <a:gd name="T108" fmla="*/ 2147483647 w 264"/>
                <a:gd name="T109" fmla="*/ 2147483647 h 234"/>
                <a:gd name="T110" fmla="*/ 2147483647 w 264"/>
                <a:gd name="T111" fmla="*/ 2147483647 h 234"/>
                <a:gd name="T112" fmla="*/ 2147483647 w 264"/>
                <a:gd name="T113" fmla="*/ 2147483647 h 234"/>
                <a:gd name="T114" fmla="*/ 2147483647 w 264"/>
                <a:gd name="T115" fmla="*/ 2147483647 h 234"/>
                <a:gd name="T116" fmla="*/ 2147483647 w 264"/>
                <a:gd name="T117" fmla="*/ 2147483647 h 234"/>
                <a:gd name="T118" fmla="*/ 2147483647 w 264"/>
                <a:gd name="T119" fmla="*/ 2147483647 h 234"/>
                <a:gd name="T120" fmla="*/ 2147483647 w 264"/>
                <a:gd name="T121" fmla="*/ 2147483647 h 234"/>
                <a:gd name="T122" fmla="*/ 2147483647 w 264"/>
                <a:gd name="T123" fmla="*/ 2147483647 h 234"/>
                <a:gd name="T124" fmla="*/ 2147483647 w 264"/>
                <a:gd name="T125" fmla="*/ 2147483647 h 2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4"/>
                <a:gd name="T190" fmla="*/ 0 h 234"/>
                <a:gd name="T191" fmla="*/ 264 w 264"/>
                <a:gd name="T192" fmla="*/ 234 h 2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4" h="234">
                  <a:moveTo>
                    <a:pt x="246" y="78"/>
                  </a:moveTo>
                  <a:lnTo>
                    <a:pt x="228" y="78"/>
                  </a:lnTo>
                  <a:lnTo>
                    <a:pt x="228" y="60"/>
                  </a:lnTo>
                  <a:lnTo>
                    <a:pt x="246" y="42"/>
                  </a:lnTo>
                  <a:lnTo>
                    <a:pt x="246" y="30"/>
                  </a:lnTo>
                  <a:lnTo>
                    <a:pt x="234" y="30"/>
                  </a:lnTo>
                  <a:lnTo>
                    <a:pt x="222" y="36"/>
                  </a:lnTo>
                  <a:lnTo>
                    <a:pt x="216" y="36"/>
                  </a:lnTo>
                  <a:lnTo>
                    <a:pt x="216" y="30"/>
                  </a:lnTo>
                  <a:lnTo>
                    <a:pt x="204" y="30"/>
                  </a:lnTo>
                  <a:lnTo>
                    <a:pt x="192" y="12"/>
                  </a:lnTo>
                  <a:lnTo>
                    <a:pt x="138" y="12"/>
                  </a:lnTo>
                  <a:lnTo>
                    <a:pt x="132" y="6"/>
                  </a:lnTo>
                  <a:lnTo>
                    <a:pt x="120" y="6"/>
                  </a:lnTo>
                  <a:lnTo>
                    <a:pt x="108" y="12"/>
                  </a:lnTo>
                  <a:lnTo>
                    <a:pt x="90" y="6"/>
                  </a:lnTo>
                  <a:lnTo>
                    <a:pt x="66" y="6"/>
                  </a:lnTo>
                  <a:lnTo>
                    <a:pt x="42" y="12"/>
                  </a:lnTo>
                  <a:lnTo>
                    <a:pt x="30" y="6"/>
                  </a:lnTo>
                  <a:lnTo>
                    <a:pt x="24" y="0"/>
                  </a:lnTo>
                  <a:lnTo>
                    <a:pt x="18" y="0"/>
                  </a:lnTo>
                  <a:lnTo>
                    <a:pt x="18" y="24"/>
                  </a:lnTo>
                  <a:lnTo>
                    <a:pt x="0" y="30"/>
                  </a:lnTo>
                  <a:lnTo>
                    <a:pt x="12" y="42"/>
                  </a:lnTo>
                  <a:lnTo>
                    <a:pt x="30" y="48"/>
                  </a:lnTo>
                  <a:lnTo>
                    <a:pt x="30" y="60"/>
                  </a:lnTo>
                  <a:lnTo>
                    <a:pt x="36" y="60"/>
                  </a:lnTo>
                  <a:lnTo>
                    <a:pt x="42" y="66"/>
                  </a:lnTo>
                  <a:lnTo>
                    <a:pt x="42" y="84"/>
                  </a:lnTo>
                  <a:lnTo>
                    <a:pt x="60" y="90"/>
                  </a:lnTo>
                  <a:lnTo>
                    <a:pt x="72" y="120"/>
                  </a:lnTo>
                  <a:lnTo>
                    <a:pt x="84" y="132"/>
                  </a:lnTo>
                  <a:lnTo>
                    <a:pt x="96" y="138"/>
                  </a:lnTo>
                  <a:lnTo>
                    <a:pt x="114" y="150"/>
                  </a:lnTo>
                  <a:lnTo>
                    <a:pt x="126" y="156"/>
                  </a:lnTo>
                  <a:lnTo>
                    <a:pt x="132" y="168"/>
                  </a:lnTo>
                  <a:lnTo>
                    <a:pt x="132" y="174"/>
                  </a:lnTo>
                  <a:lnTo>
                    <a:pt x="126" y="180"/>
                  </a:lnTo>
                  <a:lnTo>
                    <a:pt x="138" y="180"/>
                  </a:lnTo>
                  <a:lnTo>
                    <a:pt x="156" y="198"/>
                  </a:lnTo>
                  <a:lnTo>
                    <a:pt x="162" y="210"/>
                  </a:lnTo>
                  <a:lnTo>
                    <a:pt x="174" y="216"/>
                  </a:lnTo>
                  <a:lnTo>
                    <a:pt x="192" y="234"/>
                  </a:lnTo>
                  <a:lnTo>
                    <a:pt x="210" y="204"/>
                  </a:lnTo>
                  <a:lnTo>
                    <a:pt x="198" y="198"/>
                  </a:lnTo>
                  <a:lnTo>
                    <a:pt x="192" y="198"/>
                  </a:lnTo>
                  <a:lnTo>
                    <a:pt x="186" y="192"/>
                  </a:lnTo>
                  <a:lnTo>
                    <a:pt x="186" y="186"/>
                  </a:lnTo>
                  <a:lnTo>
                    <a:pt x="192" y="180"/>
                  </a:lnTo>
                  <a:lnTo>
                    <a:pt x="198" y="180"/>
                  </a:lnTo>
                  <a:lnTo>
                    <a:pt x="204" y="168"/>
                  </a:lnTo>
                  <a:lnTo>
                    <a:pt x="204" y="162"/>
                  </a:lnTo>
                  <a:lnTo>
                    <a:pt x="210" y="156"/>
                  </a:lnTo>
                  <a:lnTo>
                    <a:pt x="228" y="156"/>
                  </a:lnTo>
                  <a:lnTo>
                    <a:pt x="228" y="132"/>
                  </a:lnTo>
                  <a:lnTo>
                    <a:pt x="258" y="132"/>
                  </a:lnTo>
                  <a:lnTo>
                    <a:pt x="258" y="126"/>
                  </a:lnTo>
                  <a:lnTo>
                    <a:pt x="252" y="114"/>
                  </a:lnTo>
                  <a:lnTo>
                    <a:pt x="240" y="102"/>
                  </a:lnTo>
                  <a:lnTo>
                    <a:pt x="264" y="96"/>
                  </a:lnTo>
                  <a:lnTo>
                    <a:pt x="258" y="84"/>
                  </a:lnTo>
                  <a:lnTo>
                    <a:pt x="252" y="78"/>
                  </a:lnTo>
                  <a:lnTo>
                    <a:pt x="246" y="78"/>
                  </a:lnTo>
                  <a:close/>
                </a:path>
              </a:pathLst>
            </a:custGeom>
            <a:solidFill>
              <a:schemeClr val="accent1"/>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86" name="Bolivien" descr="© INSCALE GmbH, 05.05.2010&#10;http://www.presentationload.com/">
              <a:extLst>
                <a:ext uri="{FF2B5EF4-FFF2-40B4-BE49-F238E27FC236}">
                  <a16:creationId xmlns:a16="http://schemas.microsoft.com/office/drawing/2014/main" id="{E3B21E86-927B-48F3-9937-32D7B43A7E8F}"/>
                </a:ext>
              </a:extLst>
            </p:cNvPr>
            <p:cNvSpPr>
              <a:spLocks/>
            </p:cNvSpPr>
            <p:nvPr/>
          </p:nvSpPr>
          <p:spPr bwMode="gray">
            <a:xfrm>
              <a:off x="2172467" y="4563098"/>
              <a:ext cx="354373" cy="421799"/>
            </a:xfrm>
            <a:custGeom>
              <a:avLst/>
              <a:gdLst>
                <a:gd name="T0" fmla="*/ 2147483647 w 894"/>
                <a:gd name="T1" fmla="*/ 2147483647 h 1056"/>
                <a:gd name="T2" fmla="*/ 2147483647 w 894"/>
                <a:gd name="T3" fmla="*/ 2147483647 h 1056"/>
                <a:gd name="T4" fmla="*/ 2147483647 w 894"/>
                <a:gd name="T5" fmla="*/ 2147483647 h 1056"/>
                <a:gd name="T6" fmla="*/ 2147483647 w 894"/>
                <a:gd name="T7" fmla="*/ 2147483647 h 1056"/>
                <a:gd name="T8" fmla="*/ 2147483647 w 894"/>
                <a:gd name="T9" fmla="*/ 2147483647 h 1056"/>
                <a:gd name="T10" fmla="*/ 2147483647 w 894"/>
                <a:gd name="T11" fmla="*/ 2147483647 h 1056"/>
                <a:gd name="T12" fmla="*/ 2147483647 w 894"/>
                <a:gd name="T13" fmla="*/ 2147483647 h 1056"/>
                <a:gd name="T14" fmla="*/ 2147483647 w 894"/>
                <a:gd name="T15" fmla="*/ 2147483647 h 1056"/>
                <a:gd name="T16" fmla="*/ 2147483647 w 894"/>
                <a:gd name="T17" fmla="*/ 2147483647 h 1056"/>
                <a:gd name="T18" fmla="*/ 2147483647 w 894"/>
                <a:gd name="T19" fmla="*/ 2147483647 h 1056"/>
                <a:gd name="T20" fmla="*/ 2147483647 w 894"/>
                <a:gd name="T21" fmla="*/ 2147483647 h 1056"/>
                <a:gd name="T22" fmla="*/ 2147483647 w 894"/>
                <a:gd name="T23" fmla="*/ 2147483647 h 1056"/>
                <a:gd name="T24" fmla="*/ 2147483647 w 894"/>
                <a:gd name="T25" fmla="*/ 2147483647 h 1056"/>
                <a:gd name="T26" fmla="*/ 2147483647 w 894"/>
                <a:gd name="T27" fmla="*/ 2147483647 h 1056"/>
                <a:gd name="T28" fmla="*/ 2147483647 w 894"/>
                <a:gd name="T29" fmla="*/ 2147483647 h 1056"/>
                <a:gd name="T30" fmla="*/ 2147483647 w 894"/>
                <a:gd name="T31" fmla="*/ 2147483647 h 1056"/>
                <a:gd name="T32" fmla="*/ 2147483647 w 894"/>
                <a:gd name="T33" fmla="*/ 2147483647 h 1056"/>
                <a:gd name="T34" fmla="*/ 2147483647 w 894"/>
                <a:gd name="T35" fmla="*/ 2147483647 h 1056"/>
                <a:gd name="T36" fmla="*/ 2147483647 w 894"/>
                <a:gd name="T37" fmla="*/ 2147483647 h 1056"/>
                <a:gd name="T38" fmla="*/ 2147483647 w 894"/>
                <a:gd name="T39" fmla="*/ 2147483647 h 1056"/>
                <a:gd name="T40" fmla="*/ 2147483647 w 894"/>
                <a:gd name="T41" fmla="*/ 2147483647 h 1056"/>
                <a:gd name="T42" fmla="*/ 2147483647 w 894"/>
                <a:gd name="T43" fmla="*/ 2147483647 h 1056"/>
                <a:gd name="T44" fmla="*/ 2147483647 w 894"/>
                <a:gd name="T45" fmla="*/ 2147483647 h 1056"/>
                <a:gd name="T46" fmla="*/ 2147483647 w 894"/>
                <a:gd name="T47" fmla="*/ 2147483647 h 1056"/>
                <a:gd name="T48" fmla="*/ 0 w 894"/>
                <a:gd name="T49" fmla="*/ 2147483647 h 1056"/>
                <a:gd name="T50" fmla="*/ 2147483647 w 894"/>
                <a:gd name="T51" fmla="*/ 2147483647 h 1056"/>
                <a:gd name="T52" fmla="*/ 2147483647 w 894"/>
                <a:gd name="T53" fmla="*/ 2147483647 h 1056"/>
                <a:gd name="T54" fmla="*/ 2147483647 w 894"/>
                <a:gd name="T55" fmla="*/ 2147483647 h 1056"/>
                <a:gd name="T56" fmla="*/ 2147483647 w 894"/>
                <a:gd name="T57" fmla="*/ 2147483647 h 1056"/>
                <a:gd name="T58" fmla="*/ 2147483647 w 894"/>
                <a:gd name="T59" fmla="*/ 2147483647 h 1056"/>
                <a:gd name="T60" fmla="*/ 2147483647 w 894"/>
                <a:gd name="T61" fmla="*/ 2147483647 h 1056"/>
                <a:gd name="T62" fmla="*/ 2147483647 w 894"/>
                <a:gd name="T63" fmla="*/ 2147483647 h 1056"/>
                <a:gd name="T64" fmla="*/ 2147483647 w 894"/>
                <a:gd name="T65" fmla="*/ 2147483647 h 1056"/>
                <a:gd name="T66" fmla="*/ 2147483647 w 894"/>
                <a:gd name="T67" fmla="*/ 2147483647 h 1056"/>
                <a:gd name="T68" fmla="*/ 2147483647 w 894"/>
                <a:gd name="T69" fmla="*/ 2147483647 h 1056"/>
                <a:gd name="T70" fmla="*/ 2147483647 w 894"/>
                <a:gd name="T71" fmla="*/ 2147483647 h 1056"/>
                <a:gd name="T72" fmla="*/ 2147483647 w 894"/>
                <a:gd name="T73" fmla="*/ 2147483647 h 1056"/>
                <a:gd name="T74" fmla="*/ 2147483647 w 894"/>
                <a:gd name="T75" fmla="*/ 2147483647 h 1056"/>
                <a:gd name="T76" fmla="*/ 2147483647 w 894"/>
                <a:gd name="T77" fmla="*/ 2147483647 h 1056"/>
                <a:gd name="T78" fmla="*/ 2147483647 w 894"/>
                <a:gd name="T79" fmla="*/ 2147483647 h 1056"/>
                <a:gd name="T80" fmla="*/ 2147483647 w 894"/>
                <a:gd name="T81" fmla="*/ 2147483647 h 1056"/>
                <a:gd name="T82" fmla="*/ 2147483647 w 894"/>
                <a:gd name="T83" fmla="*/ 2147483647 h 1056"/>
                <a:gd name="T84" fmla="*/ 2147483647 w 894"/>
                <a:gd name="T85" fmla="*/ 2147483647 h 1056"/>
                <a:gd name="T86" fmla="*/ 2147483647 w 894"/>
                <a:gd name="T87" fmla="*/ 2147483647 h 1056"/>
                <a:gd name="T88" fmla="*/ 2147483647 w 894"/>
                <a:gd name="T89" fmla="*/ 2147483647 h 1056"/>
                <a:gd name="T90" fmla="*/ 2147483647 w 894"/>
                <a:gd name="T91" fmla="*/ 2147483647 h 1056"/>
                <a:gd name="T92" fmla="*/ 2147483647 w 894"/>
                <a:gd name="T93" fmla="*/ 2147483647 h 1056"/>
                <a:gd name="T94" fmla="*/ 2147483647 w 894"/>
                <a:gd name="T95" fmla="*/ 2147483647 h 1056"/>
                <a:gd name="T96" fmla="*/ 2147483647 w 894"/>
                <a:gd name="T97" fmla="*/ 2147483647 h 1056"/>
                <a:gd name="T98" fmla="*/ 2147483647 w 894"/>
                <a:gd name="T99" fmla="*/ 2147483647 h 1056"/>
                <a:gd name="T100" fmla="*/ 2147483647 w 894"/>
                <a:gd name="T101" fmla="*/ 2147483647 h 10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94"/>
                <a:gd name="T154" fmla="*/ 0 h 1056"/>
                <a:gd name="T155" fmla="*/ 894 w 894"/>
                <a:gd name="T156" fmla="*/ 1056 h 10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94" h="1056">
                  <a:moveTo>
                    <a:pt x="882" y="744"/>
                  </a:moveTo>
                  <a:lnTo>
                    <a:pt x="882" y="738"/>
                  </a:lnTo>
                  <a:lnTo>
                    <a:pt x="888" y="732"/>
                  </a:lnTo>
                  <a:lnTo>
                    <a:pt x="888" y="708"/>
                  </a:lnTo>
                  <a:lnTo>
                    <a:pt x="894" y="696"/>
                  </a:lnTo>
                  <a:lnTo>
                    <a:pt x="894" y="684"/>
                  </a:lnTo>
                  <a:lnTo>
                    <a:pt x="882" y="648"/>
                  </a:lnTo>
                  <a:lnTo>
                    <a:pt x="876" y="636"/>
                  </a:lnTo>
                  <a:lnTo>
                    <a:pt x="864" y="624"/>
                  </a:lnTo>
                  <a:lnTo>
                    <a:pt x="840" y="612"/>
                  </a:lnTo>
                  <a:lnTo>
                    <a:pt x="834" y="606"/>
                  </a:lnTo>
                  <a:lnTo>
                    <a:pt x="822" y="600"/>
                  </a:lnTo>
                  <a:lnTo>
                    <a:pt x="816" y="588"/>
                  </a:lnTo>
                  <a:lnTo>
                    <a:pt x="816" y="576"/>
                  </a:lnTo>
                  <a:lnTo>
                    <a:pt x="822" y="558"/>
                  </a:lnTo>
                  <a:lnTo>
                    <a:pt x="822" y="546"/>
                  </a:lnTo>
                  <a:lnTo>
                    <a:pt x="828" y="540"/>
                  </a:lnTo>
                  <a:lnTo>
                    <a:pt x="828" y="534"/>
                  </a:lnTo>
                  <a:lnTo>
                    <a:pt x="768" y="534"/>
                  </a:lnTo>
                  <a:lnTo>
                    <a:pt x="720" y="528"/>
                  </a:lnTo>
                  <a:lnTo>
                    <a:pt x="690" y="522"/>
                  </a:lnTo>
                  <a:lnTo>
                    <a:pt x="684" y="516"/>
                  </a:lnTo>
                  <a:lnTo>
                    <a:pt x="684" y="474"/>
                  </a:lnTo>
                  <a:lnTo>
                    <a:pt x="690" y="462"/>
                  </a:lnTo>
                  <a:lnTo>
                    <a:pt x="684" y="456"/>
                  </a:lnTo>
                  <a:lnTo>
                    <a:pt x="672" y="450"/>
                  </a:lnTo>
                  <a:lnTo>
                    <a:pt x="666" y="438"/>
                  </a:lnTo>
                  <a:lnTo>
                    <a:pt x="660" y="432"/>
                  </a:lnTo>
                  <a:lnTo>
                    <a:pt x="660" y="426"/>
                  </a:lnTo>
                  <a:lnTo>
                    <a:pt x="678" y="426"/>
                  </a:lnTo>
                  <a:lnTo>
                    <a:pt x="678" y="396"/>
                  </a:lnTo>
                  <a:lnTo>
                    <a:pt x="672" y="384"/>
                  </a:lnTo>
                  <a:lnTo>
                    <a:pt x="666" y="378"/>
                  </a:lnTo>
                  <a:lnTo>
                    <a:pt x="660" y="366"/>
                  </a:lnTo>
                  <a:lnTo>
                    <a:pt x="660" y="336"/>
                  </a:lnTo>
                  <a:lnTo>
                    <a:pt x="654" y="330"/>
                  </a:lnTo>
                  <a:lnTo>
                    <a:pt x="648" y="318"/>
                  </a:lnTo>
                  <a:lnTo>
                    <a:pt x="624" y="306"/>
                  </a:lnTo>
                  <a:lnTo>
                    <a:pt x="564" y="306"/>
                  </a:lnTo>
                  <a:lnTo>
                    <a:pt x="558" y="300"/>
                  </a:lnTo>
                  <a:lnTo>
                    <a:pt x="546" y="294"/>
                  </a:lnTo>
                  <a:lnTo>
                    <a:pt x="534" y="282"/>
                  </a:lnTo>
                  <a:lnTo>
                    <a:pt x="534" y="276"/>
                  </a:lnTo>
                  <a:lnTo>
                    <a:pt x="510" y="276"/>
                  </a:lnTo>
                  <a:lnTo>
                    <a:pt x="498" y="270"/>
                  </a:lnTo>
                  <a:lnTo>
                    <a:pt x="486" y="258"/>
                  </a:lnTo>
                  <a:lnTo>
                    <a:pt x="474" y="252"/>
                  </a:lnTo>
                  <a:lnTo>
                    <a:pt x="468" y="240"/>
                  </a:lnTo>
                  <a:lnTo>
                    <a:pt x="468" y="234"/>
                  </a:lnTo>
                  <a:lnTo>
                    <a:pt x="456" y="234"/>
                  </a:lnTo>
                  <a:lnTo>
                    <a:pt x="450" y="240"/>
                  </a:lnTo>
                  <a:lnTo>
                    <a:pt x="438" y="240"/>
                  </a:lnTo>
                  <a:lnTo>
                    <a:pt x="426" y="234"/>
                  </a:lnTo>
                  <a:lnTo>
                    <a:pt x="420" y="222"/>
                  </a:lnTo>
                  <a:lnTo>
                    <a:pt x="414" y="228"/>
                  </a:lnTo>
                  <a:lnTo>
                    <a:pt x="384" y="228"/>
                  </a:lnTo>
                  <a:lnTo>
                    <a:pt x="372" y="222"/>
                  </a:lnTo>
                  <a:lnTo>
                    <a:pt x="366" y="216"/>
                  </a:lnTo>
                  <a:lnTo>
                    <a:pt x="366" y="210"/>
                  </a:lnTo>
                  <a:lnTo>
                    <a:pt x="360" y="198"/>
                  </a:lnTo>
                  <a:lnTo>
                    <a:pt x="360" y="192"/>
                  </a:lnTo>
                  <a:lnTo>
                    <a:pt x="354" y="186"/>
                  </a:lnTo>
                  <a:lnTo>
                    <a:pt x="330" y="186"/>
                  </a:lnTo>
                  <a:lnTo>
                    <a:pt x="324" y="156"/>
                  </a:lnTo>
                  <a:lnTo>
                    <a:pt x="318" y="150"/>
                  </a:lnTo>
                  <a:lnTo>
                    <a:pt x="306" y="144"/>
                  </a:lnTo>
                  <a:lnTo>
                    <a:pt x="294" y="132"/>
                  </a:lnTo>
                  <a:lnTo>
                    <a:pt x="294" y="120"/>
                  </a:lnTo>
                  <a:lnTo>
                    <a:pt x="300" y="114"/>
                  </a:lnTo>
                  <a:lnTo>
                    <a:pt x="300" y="96"/>
                  </a:lnTo>
                  <a:lnTo>
                    <a:pt x="294" y="84"/>
                  </a:lnTo>
                  <a:lnTo>
                    <a:pt x="288" y="78"/>
                  </a:lnTo>
                  <a:lnTo>
                    <a:pt x="288" y="48"/>
                  </a:lnTo>
                  <a:lnTo>
                    <a:pt x="294" y="42"/>
                  </a:lnTo>
                  <a:lnTo>
                    <a:pt x="294" y="36"/>
                  </a:lnTo>
                  <a:lnTo>
                    <a:pt x="300" y="30"/>
                  </a:lnTo>
                  <a:lnTo>
                    <a:pt x="300" y="0"/>
                  </a:lnTo>
                  <a:lnTo>
                    <a:pt x="288" y="0"/>
                  </a:lnTo>
                  <a:lnTo>
                    <a:pt x="276" y="6"/>
                  </a:lnTo>
                  <a:lnTo>
                    <a:pt x="276" y="12"/>
                  </a:lnTo>
                  <a:lnTo>
                    <a:pt x="270" y="12"/>
                  </a:lnTo>
                  <a:lnTo>
                    <a:pt x="258" y="0"/>
                  </a:lnTo>
                  <a:lnTo>
                    <a:pt x="246" y="12"/>
                  </a:lnTo>
                  <a:lnTo>
                    <a:pt x="210" y="12"/>
                  </a:lnTo>
                  <a:lnTo>
                    <a:pt x="198" y="18"/>
                  </a:lnTo>
                  <a:lnTo>
                    <a:pt x="192" y="24"/>
                  </a:lnTo>
                  <a:lnTo>
                    <a:pt x="186" y="36"/>
                  </a:lnTo>
                  <a:lnTo>
                    <a:pt x="180" y="42"/>
                  </a:lnTo>
                  <a:lnTo>
                    <a:pt x="180" y="48"/>
                  </a:lnTo>
                  <a:lnTo>
                    <a:pt x="144" y="48"/>
                  </a:lnTo>
                  <a:lnTo>
                    <a:pt x="138" y="78"/>
                  </a:lnTo>
                  <a:lnTo>
                    <a:pt x="102" y="78"/>
                  </a:lnTo>
                  <a:lnTo>
                    <a:pt x="90" y="96"/>
                  </a:lnTo>
                  <a:lnTo>
                    <a:pt x="84" y="102"/>
                  </a:lnTo>
                  <a:lnTo>
                    <a:pt x="60" y="114"/>
                  </a:lnTo>
                  <a:lnTo>
                    <a:pt x="42" y="114"/>
                  </a:lnTo>
                  <a:lnTo>
                    <a:pt x="42" y="108"/>
                  </a:lnTo>
                  <a:lnTo>
                    <a:pt x="36" y="102"/>
                  </a:lnTo>
                  <a:lnTo>
                    <a:pt x="12" y="102"/>
                  </a:lnTo>
                  <a:lnTo>
                    <a:pt x="0" y="96"/>
                  </a:lnTo>
                  <a:lnTo>
                    <a:pt x="0" y="114"/>
                  </a:lnTo>
                  <a:lnTo>
                    <a:pt x="6" y="132"/>
                  </a:lnTo>
                  <a:lnTo>
                    <a:pt x="18" y="144"/>
                  </a:lnTo>
                  <a:lnTo>
                    <a:pt x="30" y="162"/>
                  </a:lnTo>
                  <a:lnTo>
                    <a:pt x="42" y="174"/>
                  </a:lnTo>
                  <a:lnTo>
                    <a:pt x="54" y="192"/>
                  </a:lnTo>
                  <a:lnTo>
                    <a:pt x="66" y="216"/>
                  </a:lnTo>
                  <a:lnTo>
                    <a:pt x="66" y="228"/>
                  </a:lnTo>
                  <a:lnTo>
                    <a:pt x="60" y="234"/>
                  </a:lnTo>
                  <a:lnTo>
                    <a:pt x="54" y="246"/>
                  </a:lnTo>
                  <a:lnTo>
                    <a:pt x="48" y="252"/>
                  </a:lnTo>
                  <a:lnTo>
                    <a:pt x="60" y="300"/>
                  </a:lnTo>
                  <a:lnTo>
                    <a:pt x="42" y="330"/>
                  </a:lnTo>
                  <a:lnTo>
                    <a:pt x="48" y="330"/>
                  </a:lnTo>
                  <a:lnTo>
                    <a:pt x="60" y="342"/>
                  </a:lnTo>
                  <a:lnTo>
                    <a:pt x="66" y="354"/>
                  </a:lnTo>
                  <a:lnTo>
                    <a:pt x="66" y="360"/>
                  </a:lnTo>
                  <a:lnTo>
                    <a:pt x="60" y="372"/>
                  </a:lnTo>
                  <a:lnTo>
                    <a:pt x="48" y="384"/>
                  </a:lnTo>
                  <a:lnTo>
                    <a:pt x="36" y="408"/>
                  </a:lnTo>
                  <a:lnTo>
                    <a:pt x="42" y="426"/>
                  </a:lnTo>
                  <a:lnTo>
                    <a:pt x="48" y="438"/>
                  </a:lnTo>
                  <a:lnTo>
                    <a:pt x="54" y="444"/>
                  </a:lnTo>
                  <a:lnTo>
                    <a:pt x="54" y="450"/>
                  </a:lnTo>
                  <a:lnTo>
                    <a:pt x="42" y="468"/>
                  </a:lnTo>
                  <a:lnTo>
                    <a:pt x="54" y="480"/>
                  </a:lnTo>
                  <a:lnTo>
                    <a:pt x="78" y="498"/>
                  </a:lnTo>
                  <a:lnTo>
                    <a:pt x="78" y="516"/>
                  </a:lnTo>
                  <a:lnTo>
                    <a:pt x="102" y="528"/>
                  </a:lnTo>
                  <a:lnTo>
                    <a:pt x="90" y="558"/>
                  </a:lnTo>
                  <a:lnTo>
                    <a:pt x="78" y="546"/>
                  </a:lnTo>
                  <a:lnTo>
                    <a:pt x="78" y="558"/>
                  </a:lnTo>
                  <a:lnTo>
                    <a:pt x="66" y="582"/>
                  </a:lnTo>
                  <a:lnTo>
                    <a:pt x="54" y="588"/>
                  </a:lnTo>
                  <a:lnTo>
                    <a:pt x="36" y="606"/>
                  </a:lnTo>
                  <a:lnTo>
                    <a:pt x="48" y="630"/>
                  </a:lnTo>
                  <a:lnTo>
                    <a:pt x="42" y="636"/>
                  </a:lnTo>
                  <a:lnTo>
                    <a:pt x="60" y="666"/>
                  </a:lnTo>
                  <a:lnTo>
                    <a:pt x="84" y="666"/>
                  </a:lnTo>
                  <a:lnTo>
                    <a:pt x="96" y="744"/>
                  </a:lnTo>
                  <a:lnTo>
                    <a:pt x="108" y="750"/>
                  </a:lnTo>
                  <a:lnTo>
                    <a:pt x="114" y="750"/>
                  </a:lnTo>
                  <a:lnTo>
                    <a:pt x="138" y="762"/>
                  </a:lnTo>
                  <a:lnTo>
                    <a:pt x="144" y="774"/>
                  </a:lnTo>
                  <a:lnTo>
                    <a:pt x="144" y="780"/>
                  </a:lnTo>
                  <a:lnTo>
                    <a:pt x="138" y="792"/>
                  </a:lnTo>
                  <a:lnTo>
                    <a:pt x="126" y="804"/>
                  </a:lnTo>
                  <a:lnTo>
                    <a:pt x="144" y="822"/>
                  </a:lnTo>
                  <a:lnTo>
                    <a:pt x="138" y="828"/>
                  </a:lnTo>
                  <a:lnTo>
                    <a:pt x="132" y="840"/>
                  </a:lnTo>
                  <a:lnTo>
                    <a:pt x="126" y="846"/>
                  </a:lnTo>
                  <a:lnTo>
                    <a:pt x="126" y="858"/>
                  </a:lnTo>
                  <a:lnTo>
                    <a:pt x="132" y="870"/>
                  </a:lnTo>
                  <a:lnTo>
                    <a:pt x="138" y="876"/>
                  </a:lnTo>
                  <a:lnTo>
                    <a:pt x="138" y="900"/>
                  </a:lnTo>
                  <a:lnTo>
                    <a:pt x="144" y="900"/>
                  </a:lnTo>
                  <a:lnTo>
                    <a:pt x="150" y="906"/>
                  </a:lnTo>
                  <a:lnTo>
                    <a:pt x="162" y="912"/>
                  </a:lnTo>
                  <a:lnTo>
                    <a:pt x="168" y="918"/>
                  </a:lnTo>
                  <a:lnTo>
                    <a:pt x="180" y="924"/>
                  </a:lnTo>
                  <a:lnTo>
                    <a:pt x="186" y="930"/>
                  </a:lnTo>
                  <a:lnTo>
                    <a:pt x="186" y="996"/>
                  </a:lnTo>
                  <a:lnTo>
                    <a:pt x="210" y="1020"/>
                  </a:lnTo>
                  <a:lnTo>
                    <a:pt x="210" y="1044"/>
                  </a:lnTo>
                  <a:lnTo>
                    <a:pt x="216" y="1056"/>
                  </a:lnTo>
                  <a:lnTo>
                    <a:pt x="270" y="1056"/>
                  </a:lnTo>
                  <a:lnTo>
                    <a:pt x="270" y="1026"/>
                  </a:lnTo>
                  <a:lnTo>
                    <a:pt x="282" y="1026"/>
                  </a:lnTo>
                  <a:lnTo>
                    <a:pt x="282" y="1008"/>
                  </a:lnTo>
                  <a:lnTo>
                    <a:pt x="306" y="1002"/>
                  </a:lnTo>
                  <a:lnTo>
                    <a:pt x="318" y="978"/>
                  </a:lnTo>
                  <a:lnTo>
                    <a:pt x="324" y="984"/>
                  </a:lnTo>
                  <a:lnTo>
                    <a:pt x="348" y="996"/>
                  </a:lnTo>
                  <a:lnTo>
                    <a:pt x="360" y="996"/>
                  </a:lnTo>
                  <a:lnTo>
                    <a:pt x="378" y="1002"/>
                  </a:lnTo>
                  <a:lnTo>
                    <a:pt x="432" y="1002"/>
                  </a:lnTo>
                  <a:lnTo>
                    <a:pt x="462" y="1050"/>
                  </a:lnTo>
                  <a:lnTo>
                    <a:pt x="474" y="996"/>
                  </a:lnTo>
                  <a:lnTo>
                    <a:pt x="546" y="990"/>
                  </a:lnTo>
                  <a:lnTo>
                    <a:pt x="582" y="1014"/>
                  </a:lnTo>
                  <a:lnTo>
                    <a:pt x="582" y="996"/>
                  </a:lnTo>
                  <a:lnTo>
                    <a:pt x="594" y="924"/>
                  </a:lnTo>
                  <a:lnTo>
                    <a:pt x="594" y="900"/>
                  </a:lnTo>
                  <a:lnTo>
                    <a:pt x="588" y="894"/>
                  </a:lnTo>
                  <a:lnTo>
                    <a:pt x="588" y="888"/>
                  </a:lnTo>
                  <a:lnTo>
                    <a:pt x="576" y="864"/>
                  </a:lnTo>
                  <a:lnTo>
                    <a:pt x="576" y="852"/>
                  </a:lnTo>
                  <a:lnTo>
                    <a:pt x="582" y="846"/>
                  </a:lnTo>
                  <a:lnTo>
                    <a:pt x="594" y="840"/>
                  </a:lnTo>
                  <a:lnTo>
                    <a:pt x="606" y="828"/>
                  </a:lnTo>
                  <a:lnTo>
                    <a:pt x="612" y="798"/>
                  </a:lnTo>
                  <a:lnTo>
                    <a:pt x="714" y="780"/>
                  </a:lnTo>
                  <a:lnTo>
                    <a:pt x="792" y="768"/>
                  </a:lnTo>
                  <a:lnTo>
                    <a:pt x="846" y="810"/>
                  </a:lnTo>
                  <a:lnTo>
                    <a:pt x="864" y="846"/>
                  </a:lnTo>
                  <a:lnTo>
                    <a:pt x="864" y="840"/>
                  </a:lnTo>
                  <a:lnTo>
                    <a:pt x="870" y="834"/>
                  </a:lnTo>
                  <a:lnTo>
                    <a:pt x="882" y="828"/>
                  </a:lnTo>
                  <a:lnTo>
                    <a:pt x="888" y="822"/>
                  </a:lnTo>
                  <a:lnTo>
                    <a:pt x="876" y="816"/>
                  </a:lnTo>
                  <a:lnTo>
                    <a:pt x="870" y="810"/>
                  </a:lnTo>
                  <a:lnTo>
                    <a:pt x="870" y="786"/>
                  </a:lnTo>
                  <a:lnTo>
                    <a:pt x="876" y="774"/>
                  </a:lnTo>
                  <a:lnTo>
                    <a:pt x="882" y="768"/>
                  </a:lnTo>
                  <a:lnTo>
                    <a:pt x="888" y="756"/>
                  </a:lnTo>
                  <a:lnTo>
                    <a:pt x="882" y="744"/>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87" name="Bhutan" descr="© INSCALE GmbH, 05.05.2010&#10;http://www.presentationload.com/">
              <a:extLst>
                <a:ext uri="{FF2B5EF4-FFF2-40B4-BE49-F238E27FC236}">
                  <a16:creationId xmlns:a16="http://schemas.microsoft.com/office/drawing/2014/main" id="{9706C740-E31C-425B-A7AF-09F925E3E122}"/>
                </a:ext>
              </a:extLst>
            </p:cNvPr>
            <p:cNvSpPr>
              <a:spLocks/>
            </p:cNvSpPr>
            <p:nvPr/>
          </p:nvSpPr>
          <p:spPr bwMode="gray">
            <a:xfrm>
              <a:off x="6570770" y="3344744"/>
              <a:ext cx="92513" cy="53313"/>
            </a:xfrm>
            <a:custGeom>
              <a:avLst/>
              <a:gdLst>
                <a:gd name="T0" fmla="*/ 2147483647 w 234"/>
                <a:gd name="T1" fmla="*/ 2147483647 h 132"/>
                <a:gd name="T2" fmla="*/ 2147483647 w 234"/>
                <a:gd name="T3" fmla="*/ 2147483647 h 132"/>
                <a:gd name="T4" fmla="*/ 2147483647 w 234"/>
                <a:gd name="T5" fmla="*/ 2147483647 h 132"/>
                <a:gd name="T6" fmla="*/ 2147483647 w 234"/>
                <a:gd name="T7" fmla="*/ 2147483647 h 132"/>
                <a:gd name="T8" fmla="*/ 2147483647 w 234"/>
                <a:gd name="T9" fmla="*/ 2147483647 h 132"/>
                <a:gd name="T10" fmla="*/ 2147483647 w 234"/>
                <a:gd name="T11" fmla="*/ 2147483647 h 132"/>
                <a:gd name="T12" fmla="*/ 2147483647 w 234"/>
                <a:gd name="T13" fmla="*/ 2147483647 h 132"/>
                <a:gd name="T14" fmla="*/ 2147483647 w 234"/>
                <a:gd name="T15" fmla="*/ 2147483647 h 132"/>
                <a:gd name="T16" fmla="*/ 2147483647 w 234"/>
                <a:gd name="T17" fmla="*/ 2147483647 h 132"/>
                <a:gd name="T18" fmla="*/ 2147483647 w 234"/>
                <a:gd name="T19" fmla="*/ 2147483647 h 132"/>
                <a:gd name="T20" fmla="*/ 2147483647 w 234"/>
                <a:gd name="T21" fmla="*/ 2147483647 h 132"/>
                <a:gd name="T22" fmla="*/ 2147483647 w 234"/>
                <a:gd name="T23" fmla="*/ 2147483647 h 132"/>
                <a:gd name="T24" fmla="*/ 2147483647 w 234"/>
                <a:gd name="T25" fmla="*/ 2147483647 h 132"/>
                <a:gd name="T26" fmla="*/ 2147483647 w 234"/>
                <a:gd name="T27" fmla="*/ 2147483647 h 132"/>
                <a:gd name="T28" fmla="*/ 2147483647 w 234"/>
                <a:gd name="T29" fmla="*/ 2147483647 h 132"/>
                <a:gd name="T30" fmla="*/ 2147483647 w 234"/>
                <a:gd name="T31" fmla="*/ 2147483647 h 132"/>
                <a:gd name="T32" fmla="*/ 2147483647 w 234"/>
                <a:gd name="T33" fmla="*/ 2147483647 h 132"/>
                <a:gd name="T34" fmla="*/ 2147483647 w 234"/>
                <a:gd name="T35" fmla="*/ 2147483647 h 132"/>
                <a:gd name="T36" fmla="*/ 2147483647 w 234"/>
                <a:gd name="T37" fmla="*/ 2147483647 h 132"/>
                <a:gd name="T38" fmla="*/ 2147483647 w 234"/>
                <a:gd name="T39" fmla="*/ 2147483647 h 132"/>
                <a:gd name="T40" fmla="*/ 2147483647 w 234"/>
                <a:gd name="T41" fmla="*/ 2147483647 h 132"/>
                <a:gd name="T42" fmla="*/ 2147483647 w 234"/>
                <a:gd name="T43" fmla="*/ 2147483647 h 132"/>
                <a:gd name="T44" fmla="*/ 2147483647 w 234"/>
                <a:gd name="T45" fmla="*/ 2147483647 h 132"/>
                <a:gd name="T46" fmla="*/ 2147483647 w 234"/>
                <a:gd name="T47" fmla="*/ 2147483647 h 132"/>
                <a:gd name="T48" fmla="*/ 2147483647 w 234"/>
                <a:gd name="T49" fmla="*/ 2147483647 h 132"/>
                <a:gd name="T50" fmla="*/ 2147483647 w 234"/>
                <a:gd name="T51" fmla="*/ 2147483647 h 132"/>
                <a:gd name="T52" fmla="*/ 2147483647 w 234"/>
                <a:gd name="T53" fmla="*/ 2147483647 h 132"/>
                <a:gd name="T54" fmla="*/ 2147483647 w 234"/>
                <a:gd name="T55" fmla="*/ 2147483647 h 132"/>
                <a:gd name="T56" fmla="*/ 2147483647 w 234"/>
                <a:gd name="T57" fmla="*/ 2147483647 h 132"/>
                <a:gd name="T58" fmla="*/ 2147483647 w 234"/>
                <a:gd name="T59" fmla="*/ 0 h 132"/>
                <a:gd name="T60" fmla="*/ 2147483647 w 234"/>
                <a:gd name="T61" fmla="*/ 0 h 132"/>
                <a:gd name="T62" fmla="*/ 2147483647 w 234"/>
                <a:gd name="T63" fmla="*/ 2147483647 h 132"/>
                <a:gd name="T64" fmla="*/ 2147483647 w 234"/>
                <a:gd name="T65" fmla="*/ 2147483647 h 132"/>
                <a:gd name="T66" fmla="*/ 2147483647 w 234"/>
                <a:gd name="T67" fmla="*/ 2147483647 h 132"/>
                <a:gd name="T68" fmla="*/ 2147483647 w 234"/>
                <a:gd name="T69" fmla="*/ 2147483647 h 132"/>
                <a:gd name="T70" fmla="*/ 2147483647 w 234"/>
                <a:gd name="T71" fmla="*/ 2147483647 h 132"/>
                <a:gd name="T72" fmla="*/ 2147483647 w 234"/>
                <a:gd name="T73" fmla="*/ 2147483647 h 132"/>
                <a:gd name="T74" fmla="*/ 2147483647 w 234"/>
                <a:gd name="T75" fmla="*/ 2147483647 h 132"/>
                <a:gd name="T76" fmla="*/ 0 w 234"/>
                <a:gd name="T77" fmla="*/ 2147483647 h 132"/>
                <a:gd name="T78" fmla="*/ 0 w 234"/>
                <a:gd name="T79" fmla="*/ 2147483647 h 132"/>
                <a:gd name="T80" fmla="*/ 2147483647 w 234"/>
                <a:gd name="T81" fmla="*/ 2147483647 h 132"/>
                <a:gd name="T82" fmla="*/ 2147483647 w 234"/>
                <a:gd name="T83" fmla="*/ 2147483647 h 132"/>
                <a:gd name="T84" fmla="*/ 2147483647 w 234"/>
                <a:gd name="T85" fmla="*/ 2147483647 h 132"/>
                <a:gd name="T86" fmla="*/ 2147483647 w 234"/>
                <a:gd name="T87" fmla="*/ 2147483647 h 132"/>
                <a:gd name="T88" fmla="*/ 2147483647 w 234"/>
                <a:gd name="T89" fmla="*/ 2147483647 h 132"/>
                <a:gd name="T90" fmla="*/ 2147483647 w 234"/>
                <a:gd name="T91" fmla="*/ 2147483647 h 132"/>
                <a:gd name="T92" fmla="*/ 2147483647 w 234"/>
                <a:gd name="T93" fmla="*/ 2147483647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4"/>
                <a:gd name="T142" fmla="*/ 0 h 132"/>
                <a:gd name="T143" fmla="*/ 234 w 234"/>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4" h="132">
                  <a:moveTo>
                    <a:pt x="78" y="132"/>
                  </a:moveTo>
                  <a:lnTo>
                    <a:pt x="90" y="132"/>
                  </a:lnTo>
                  <a:lnTo>
                    <a:pt x="102" y="126"/>
                  </a:lnTo>
                  <a:lnTo>
                    <a:pt x="108" y="120"/>
                  </a:lnTo>
                  <a:lnTo>
                    <a:pt x="126" y="120"/>
                  </a:lnTo>
                  <a:lnTo>
                    <a:pt x="138" y="126"/>
                  </a:lnTo>
                  <a:lnTo>
                    <a:pt x="168" y="126"/>
                  </a:lnTo>
                  <a:lnTo>
                    <a:pt x="180" y="120"/>
                  </a:lnTo>
                  <a:lnTo>
                    <a:pt x="192" y="120"/>
                  </a:lnTo>
                  <a:lnTo>
                    <a:pt x="198" y="126"/>
                  </a:lnTo>
                  <a:lnTo>
                    <a:pt x="210" y="126"/>
                  </a:lnTo>
                  <a:lnTo>
                    <a:pt x="234" y="114"/>
                  </a:lnTo>
                  <a:lnTo>
                    <a:pt x="234" y="108"/>
                  </a:lnTo>
                  <a:lnTo>
                    <a:pt x="222" y="96"/>
                  </a:lnTo>
                  <a:lnTo>
                    <a:pt x="222" y="72"/>
                  </a:lnTo>
                  <a:lnTo>
                    <a:pt x="198" y="72"/>
                  </a:lnTo>
                  <a:lnTo>
                    <a:pt x="192" y="66"/>
                  </a:lnTo>
                  <a:lnTo>
                    <a:pt x="192" y="42"/>
                  </a:lnTo>
                  <a:lnTo>
                    <a:pt x="186" y="30"/>
                  </a:lnTo>
                  <a:lnTo>
                    <a:pt x="174" y="18"/>
                  </a:lnTo>
                  <a:lnTo>
                    <a:pt x="162" y="12"/>
                  </a:lnTo>
                  <a:lnTo>
                    <a:pt x="150" y="12"/>
                  </a:lnTo>
                  <a:lnTo>
                    <a:pt x="138" y="18"/>
                  </a:lnTo>
                  <a:lnTo>
                    <a:pt x="126" y="18"/>
                  </a:lnTo>
                  <a:lnTo>
                    <a:pt x="114" y="24"/>
                  </a:lnTo>
                  <a:lnTo>
                    <a:pt x="108" y="30"/>
                  </a:lnTo>
                  <a:lnTo>
                    <a:pt x="102" y="30"/>
                  </a:lnTo>
                  <a:lnTo>
                    <a:pt x="102" y="6"/>
                  </a:lnTo>
                  <a:lnTo>
                    <a:pt x="78" y="6"/>
                  </a:lnTo>
                  <a:lnTo>
                    <a:pt x="66" y="0"/>
                  </a:lnTo>
                  <a:lnTo>
                    <a:pt x="54" y="0"/>
                  </a:lnTo>
                  <a:lnTo>
                    <a:pt x="48" y="12"/>
                  </a:lnTo>
                  <a:lnTo>
                    <a:pt x="36" y="24"/>
                  </a:lnTo>
                  <a:lnTo>
                    <a:pt x="30" y="36"/>
                  </a:lnTo>
                  <a:lnTo>
                    <a:pt x="18" y="54"/>
                  </a:lnTo>
                  <a:lnTo>
                    <a:pt x="12" y="66"/>
                  </a:lnTo>
                  <a:lnTo>
                    <a:pt x="6" y="72"/>
                  </a:lnTo>
                  <a:lnTo>
                    <a:pt x="6" y="78"/>
                  </a:lnTo>
                  <a:lnTo>
                    <a:pt x="0" y="78"/>
                  </a:lnTo>
                  <a:lnTo>
                    <a:pt x="0" y="90"/>
                  </a:lnTo>
                  <a:lnTo>
                    <a:pt x="18" y="108"/>
                  </a:lnTo>
                  <a:lnTo>
                    <a:pt x="42" y="120"/>
                  </a:lnTo>
                  <a:lnTo>
                    <a:pt x="54" y="120"/>
                  </a:lnTo>
                  <a:lnTo>
                    <a:pt x="54" y="114"/>
                  </a:lnTo>
                  <a:lnTo>
                    <a:pt x="54" y="120"/>
                  </a:lnTo>
                  <a:lnTo>
                    <a:pt x="66" y="132"/>
                  </a:lnTo>
                  <a:lnTo>
                    <a:pt x="78" y="13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88" name="Benin" descr="© INSCALE GmbH, 05.05.2010&#10;http://www.presentationload.com/">
              <a:extLst>
                <a:ext uri="{FF2B5EF4-FFF2-40B4-BE49-F238E27FC236}">
                  <a16:creationId xmlns:a16="http://schemas.microsoft.com/office/drawing/2014/main" id="{D43699DA-AAF4-4A4A-85D2-5265536D256D}"/>
                </a:ext>
              </a:extLst>
            </p:cNvPr>
            <p:cNvSpPr>
              <a:spLocks/>
            </p:cNvSpPr>
            <p:nvPr/>
          </p:nvSpPr>
          <p:spPr bwMode="gray">
            <a:xfrm>
              <a:off x="4151311" y="3855920"/>
              <a:ext cx="87809" cy="197571"/>
            </a:xfrm>
            <a:custGeom>
              <a:avLst/>
              <a:gdLst>
                <a:gd name="T0" fmla="*/ 2147483647 w 222"/>
                <a:gd name="T1" fmla="*/ 2147483647 h 498"/>
                <a:gd name="T2" fmla="*/ 2147483647 w 222"/>
                <a:gd name="T3" fmla="*/ 2147483647 h 498"/>
                <a:gd name="T4" fmla="*/ 2147483647 w 222"/>
                <a:gd name="T5" fmla="*/ 2147483647 h 498"/>
                <a:gd name="T6" fmla="*/ 2147483647 w 222"/>
                <a:gd name="T7" fmla="*/ 2147483647 h 498"/>
                <a:gd name="T8" fmla="*/ 2147483647 w 222"/>
                <a:gd name="T9" fmla="*/ 2147483647 h 498"/>
                <a:gd name="T10" fmla="*/ 2147483647 w 222"/>
                <a:gd name="T11" fmla="*/ 2147483647 h 498"/>
                <a:gd name="T12" fmla="*/ 2147483647 w 222"/>
                <a:gd name="T13" fmla="*/ 2147483647 h 498"/>
                <a:gd name="T14" fmla="*/ 2147483647 w 222"/>
                <a:gd name="T15" fmla="*/ 2147483647 h 498"/>
                <a:gd name="T16" fmla="*/ 2147483647 w 222"/>
                <a:gd name="T17" fmla="*/ 2147483647 h 498"/>
                <a:gd name="T18" fmla="*/ 2147483647 w 222"/>
                <a:gd name="T19" fmla="*/ 2147483647 h 498"/>
                <a:gd name="T20" fmla="*/ 2147483647 w 222"/>
                <a:gd name="T21" fmla="*/ 2147483647 h 498"/>
                <a:gd name="T22" fmla="*/ 2147483647 w 222"/>
                <a:gd name="T23" fmla="*/ 2147483647 h 498"/>
                <a:gd name="T24" fmla="*/ 2147483647 w 222"/>
                <a:gd name="T25" fmla="*/ 2147483647 h 498"/>
                <a:gd name="T26" fmla="*/ 2147483647 w 222"/>
                <a:gd name="T27" fmla="*/ 2147483647 h 498"/>
                <a:gd name="T28" fmla="*/ 2147483647 w 222"/>
                <a:gd name="T29" fmla="*/ 2147483647 h 498"/>
                <a:gd name="T30" fmla="*/ 2147483647 w 222"/>
                <a:gd name="T31" fmla="*/ 2147483647 h 498"/>
                <a:gd name="T32" fmla="*/ 2147483647 w 222"/>
                <a:gd name="T33" fmla="*/ 2147483647 h 498"/>
                <a:gd name="T34" fmla="*/ 2147483647 w 222"/>
                <a:gd name="T35" fmla="*/ 2147483647 h 498"/>
                <a:gd name="T36" fmla="*/ 2147483647 w 222"/>
                <a:gd name="T37" fmla="*/ 2147483647 h 498"/>
                <a:gd name="T38" fmla="*/ 2147483647 w 222"/>
                <a:gd name="T39" fmla="*/ 2147483647 h 498"/>
                <a:gd name="T40" fmla="*/ 2147483647 w 222"/>
                <a:gd name="T41" fmla="*/ 2147483647 h 498"/>
                <a:gd name="T42" fmla="*/ 2147483647 w 222"/>
                <a:gd name="T43" fmla="*/ 2147483647 h 498"/>
                <a:gd name="T44" fmla="*/ 2147483647 w 222"/>
                <a:gd name="T45" fmla="*/ 2147483647 h 498"/>
                <a:gd name="T46" fmla="*/ 0 w 222"/>
                <a:gd name="T47" fmla="*/ 2147483647 h 498"/>
                <a:gd name="T48" fmla="*/ 2147483647 w 222"/>
                <a:gd name="T49" fmla="*/ 2147483647 h 498"/>
                <a:gd name="T50" fmla="*/ 2147483647 w 222"/>
                <a:gd name="T51" fmla="*/ 2147483647 h 498"/>
                <a:gd name="T52" fmla="*/ 2147483647 w 222"/>
                <a:gd name="T53" fmla="*/ 2147483647 h 498"/>
                <a:gd name="T54" fmla="*/ 2147483647 w 222"/>
                <a:gd name="T55" fmla="*/ 2147483647 h 498"/>
                <a:gd name="T56" fmla="*/ 2147483647 w 222"/>
                <a:gd name="T57" fmla="*/ 2147483647 h 498"/>
                <a:gd name="T58" fmla="*/ 2147483647 w 222"/>
                <a:gd name="T59" fmla="*/ 2147483647 h 498"/>
                <a:gd name="T60" fmla="*/ 2147483647 w 222"/>
                <a:gd name="T61" fmla="*/ 2147483647 h 498"/>
                <a:gd name="T62" fmla="*/ 2147483647 w 222"/>
                <a:gd name="T63" fmla="*/ 2147483647 h 498"/>
                <a:gd name="T64" fmla="*/ 2147483647 w 222"/>
                <a:gd name="T65" fmla="*/ 2147483647 h 498"/>
                <a:gd name="T66" fmla="*/ 2147483647 w 222"/>
                <a:gd name="T67" fmla="*/ 2147483647 h 498"/>
                <a:gd name="T68" fmla="*/ 2147483647 w 222"/>
                <a:gd name="T69" fmla="*/ 2147483647 h 4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2"/>
                <a:gd name="T106" fmla="*/ 0 h 498"/>
                <a:gd name="T107" fmla="*/ 222 w 222"/>
                <a:gd name="T108" fmla="*/ 498 h 4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2" h="498">
                  <a:moveTo>
                    <a:pt x="138" y="372"/>
                  </a:moveTo>
                  <a:lnTo>
                    <a:pt x="144" y="342"/>
                  </a:lnTo>
                  <a:lnTo>
                    <a:pt x="138" y="306"/>
                  </a:lnTo>
                  <a:lnTo>
                    <a:pt x="144" y="276"/>
                  </a:lnTo>
                  <a:lnTo>
                    <a:pt x="162" y="276"/>
                  </a:lnTo>
                  <a:lnTo>
                    <a:pt x="174" y="252"/>
                  </a:lnTo>
                  <a:lnTo>
                    <a:pt x="174" y="222"/>
                  </a:lnTo>
                  <a:lnTo>
                    <a:pt x="180" y="216"/>
                  </a:lnTo>
                  <a:lnTo>
                    <a:pt x="186" y="204"/>
                  </a:lnTo>
                  <a:lnTo>
                    <a:pt x="198" y="198"/>
                  </a:lnTo>
                  <a:lnTo>
                    <a:pt x="198" y="156"/>
                  </a:lnTo>
                  <a:lnTo>
                    <a:pt x="210" y="150"/>
                  </a:lnTo>
                  <a:lnTo>
                    <a:pt x="216" y="150"/>
                  </a:lnTo>
                  <a:lnTo>
                    <a:pt x="222" y="144"/>
                  </a:lnTo>
                  <a:lnTo>
                    <a:pt x="222" y="132"/>
                  </a:lnTo>
                  <a:lnTo>
                    <a:pt x="216" y="126"/>
                  </a:lnTo>
                  <a:lnTo>
                    <a:pt x="216" y="114"/>
                  </a:lnTo>
                  <a:lnTo>
                    <a:pt x="210" y="102"/>
                  </a:lnTo>
                  <a:lnTo>
                    <a:pt x="204" y="96"/>
                  </a:lnTo>
                  <a:lnTo>
                    <a:pt x="192" y="72"/>
                  </a:lnTo>
                  <a:lnTo>
                    <a:pt x="198" y="66"/>
                  </a:lnTo>
                  <a:lnTo>
                    <a:pt x="198" y="60"/>
                  </a:lnTo>
                  <a:lnTo>
                    <a:pt x="204" y="48"/>
                  </a:lnTo>
                  <a:lnTo>
                    <a:pt x="198" y="42"/>
                  </a:lnTo>
                  <a:lnTo>
                    <a:pt x="186" y="36"/>
                  </a:lnTo>
                  <a:lnTo>
                    <a:pt x="180" y="36"/>
                  </a:lnTo>
                  <a:lnTo>
                    <a:pt x="174" y="30"/>
                  </a:lnTo>
                  <a:lnTo>
                    <a:pt x="168" y="30"/>
                  </a:lnTo>
                  <a:lnTo>
                    <a:pt x="162" y="24"/>
                  </a:lnTo>
                  <a:lnTo>
                    <a:pt x="156" y="12"/>
                  </a:lnTo>
                  <a:lnTo>
                    <a:pt x="144" y="0"/>
                  </a:lnTo>
                  <a:lnTo>
                    <a:pt x="114" y="12"/>
                  </a:lnTo>
                  <a:lnTo>
                    <a:pt x="114" y="36"/>
                  </a:lnTo>
                  <a:lnTo>
                    <a:pt x="120" y="36"/>
                  </a:lnTo>
                  <a:lnTo>
                    <a:pt x="114" y="42"/>
                  </a:lnTo>
                  <a:lnTo>
                    <a:pt x="108" y="60"/>
                  </a:lnTo>
                  <a:lnTo>
                    <a:pt x="96" y="60"/>
                  </a:lnTo>
                  <a:lnTo>
                    <a:pt x="90" y="66"/>
                  </a:lnTo>
                  <a:lnTo>
                    <a:pt x="84" y="66"/>
                  </a:lnTo>
                  <a:lnTo>
                    <a:pt x="84" y="78"/>
                  </a:lnTo>
                  <a:lnTo>
                    <a:pt x="78" y="72"/>
                  </a:lnTo>
                  <a:lnTo>
                    <a:pt x="48" y="72"/>
                  </a:lnTo>
                  <a:lnTo>
                    <a:pt x="30" y="90"/>
                  </a:lnTo>
                  <a:lnTo>
                    <a:pt x="24" y="102"/>
                  </a:lnTo>
                  <a:lnTo>
                    <a:pt x="12" y="102"/>
                  </a:lnTo>
                  <a:lnTo>
                    <a:pt x="6" y="114"/>
                  </a:lnTo>
                  <a:lnTo>
                    <a:pt x="0" y="132"/>
                  </a:lnTo>
                  <a:lnTo>
                    <a:pt x="0" y="162"/>
                  </a:lnTo>
                  <a:lnTo>
                    <a:pt x="12" y="168"/>
                  </a:lnTo>
                  <a:lnTo>
                    <a:pt x="42" y="198"/>
                  </a:lnTo>
                  <a:lnTo>
                    <a:pt x="42" y="240"/>
                  </a:lnTo>
                  <a:lnTo>
                    <a:pt x="54" y="252"/>
                  </a:lnTo>
                  <a:lnTo>
                    <a:pt x="60" y="264"/>
                  </a:lnTo>
                  <a:lnTo>
                    <a:pt x="60" y="294"/>
                  </a:lnTo>
                  <a:lnTo>
                    <a:pt x="66" y="306"/>
                  </a:lnTo>
                  <a:lnTo>
                    <a:pt x="54" y="318"/>
                  </a:lnTo>
                  <a:lnTo>
                    <a:pt x="54" y="378"/>
                  </a:lnTo>
                  <a:lnTo>
                    <a:pt x="66" y="390"/>
                  </a:lnTo>
                  <a:lnTo>
                    <a:pt x="54" y="396"/>
                  </a:lnTo>
                  <a:lnTo>
                    <a:pt x="60" y="462"/>
                  </a:lnTo>
                  <a:lnTo>
                    <a:pt x="60" y="468"/>
                  </a:lnTo>
                  <a:lnTo>
                    <a:pt x="72" y="480"/>
                  </a:lnTo>
                  <a:lnTo>
                    <a:pt x="72" y="492"/>
                  </a:lnTo>
                  <a:lnTo>
                    <a:pt x="84" y="492"/>
                  </a:lnTo>
                  <a:lnTo>
                    <a:pt x="96" y="498"/>
                  </a:lnTo>
                  <a:lnTo>
                    <a:pt x="108" y="498"/>
                  </a:lnTo>
                  <a:lnTo>
                    <a:pt x="120" y="474"/>
                  </a:lnTo>
                  <a:lnTo>
                    <a:pt x="126" y="480"/>
                  </a:lnTo>
                  <a:lnTo>
                    <a:pt x="138" y="486"/>
                  </a:lnTo>
                  <a:lnTo>
                    <a:pt x="138" y="37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89" name="Belize" descr="© INSCALE GmbH, 05.05.2010&#10;http://www.presentationload.com/">
              <a:extLst>
                <a:ext uri="{FF2B5EF4-FFF2-40B4-BE49-F238E27FC236}">
                  <a16:creationId xmlns:a16="http://schemas.microsoft.com/office/drawing/2014/main" id="{877C298E-3641-448E-8BA0-CB2375B8A6B1}"/>
                </a:ext>
              </a:extLst>
            </p:cNvPr>
            <p:cNvSpPr>
              <a:spLocks/>
            </p:cNvSpPr>
            <p:nvPr/>
          </p:nvSpPr>
          <p:spPr bwMode="gray">
            <a:xfrm>
              <a:off x="1633067" y="3659917"/>
              <a:ext cx="42336" cy="84673"/>
            </a:xfrm>
            <a:custGeom>
              <a:avLst/>
              <a:gdLst>
                <a:gd name="T0" fmla="*/ 2147483647 w 108"/>
                <a:gd name="T1" fmla="*/ 2147483647 h 210"/>
                <a:gd name="T2" fmla="*/ 2147483647 w 108"/>
                <a:gd name="T3" fmla="*/ 2147483647 h 210"/>
                <a:gd name="T4" fmla="*/ 2147483647 w 108"/>
                <a:gd name="T5" fmla="*/ 2147483647 h 210"/>
                <a:gd name="T6" fmla="*/ 2147483647 w 108"/>
                <a:gd name="T7" fmla="*/ 2147483647 h 210"/>
                <a:gd name="T8" fmla="*/ 2147483647 w 108"/>
                <a:gd name="T9" fmla="*/ 2147483647 h 210"/>
                <a:gd name="T10" fmla="*/ 2147483647 w 108"/>
                <a:gd name="T11" fmla="*/ 0 h 210"/>
                <a:gd name="T12" fmla="*/ 2147483647 w 108"/>
                <a:gd name="T13" fmla="*/ 2147483647 h 210"/>
                <a:gd name="T14" fmla="*/ 2147483647 w 108"/>
                <a:gd name="T15" fmla="*/ 2147483647 h 210"/>
                <a:gd name="T16" fmla="*/ 2147483647 w 108"/>
                <a:gd name="T17" fmla="*/ 2147483647 h 210"/>
                <a:gd name="T18" fmla="*/ 2147483647 w 108"/>
                <a:gd name="T19" fmla="*/ 2147483647 h 210"/>
                <a:gd name="T20" fmla="*/ 2147483647 w 108"/>
                <a:gd name="T21" fmla="*/ 2147483647 h 210"/>
                <a:gd name="T22" fmla="*/ 2147483647 w 108"/>
                <a:gd name="T23" fmla="*/ 2147483647 h 210"/>
                <a:gd name="T24" fmla="*/ 2147483647 w 108"/>
                <a:gd name="T25" fmla="*/ 2147483647 h 210"/>
                <a:gd name="T26" fmla="*/ 2147483647 w 108"/>
                <a:gd name="T27" fmla="*/ 2147483647 h 210"/>
                <a:gd name="T28" fmla="*/ 2147483647 w 108"/>
                <a:gd name="T29" fmla="*/ 2147483647 h 210"/>
                <a:gd name="T30" fmla="*/ 2147483647 w 108"/>
                <a:gd name="T31" fmla="*/ 2147483647 h 210"/>
                <a:gd name="T32" fmla="*/ 2147483647 w 108"/>
                <a:gd name="T33" fmla="*/ 2147483647 h 210"/>
                <a:gd name="T34" fmla="*/ 2147483647 w 108"/>
                <a:gd name="T35" fmla="*/ 2147483647 h 210"/>
                <a:gd name="T36" fmla="*/ 0 w 108"/>
                <a:gd name="T37" fmla="*/ 2147483647 h 210"/>
                <a:gd name="T38" fmla="*/ 2147483647 w 108"/>
                <a:gd name="T39" fmla="*/ 2147483647 h 210"/>
                <a:gd name="T40" fmla="*/ 2147483647 w 108"/>
                <a:gd name="T41" fmla="*/ 2147483647 h 210"/>
                <a:gd name="T42" fmla="*/ 2147483647 w 108"/>
                <a:gd name="T43" fmla="*/ 2147483647 h 210"/>
                <a:gd name="T44" fmla="*/ 2147483647 w 108"/>
                <a:gd name="T45" fmla="*/ 2147483647 h 210"/>
                <a:gd name="T46" fmla="*/ 2147483647 w 108"/>
                <a:gd name="T47" fmla="*/ 2147483647 h 210"/>
                <a:gd name="T48" fmla="*/ 2147483647 w 108"/>
                <a:gd name="T49" fmla="*/ 2147483647 h 210"/>
                <a:gd name="T50" fmla="*/ 2147483647 w 108"/>
                <a:gd name="T51" fmla="*/ 2147483647 h 210"/>
                <a:gd name="T52" fmla="*/ 2147483647 w 108"/>
                <a:gd name="T53" fmla="*/ 2147483647 h 210"/>
                <a:gd name="T54" fmla="*/ 2147483647 w 108"/>
                <a:gd name="T55" fmla="*/ 2147483647 h 2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8"/>
                <a:gd name="T85" fmla="*/ 0 h 210"/>
                <a:gd name="T86" fmla="*/ 108 w 108"/>
                <a:gd name="T87" fmla="*/ 210 h 2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8" h="210">
                  <a:moveTo>
                    <a:pt x="108" y="30"/>
                  </a:moveTo>
                  <a:lnTo>
                    <a:pt x="108" y="24"/>
                  </a:lnTo>
                  <a:lnTo>
                    <a:pt x="102" y="24"/>
                  </a:lnTo>
                  <a:lnTo>
                    <a:pt x="90" y="18"/>
                  </a:lnTo>
                  <a:lnTo>
                    <a:pt x="84" y="12"/>
                  </a:lnTo>
                  <a:lnTo>
                    <a:pt x="78" y="0"/>
                  </a:lnTo>
                  <a:lnTo>
                    <a:pt x="78" y="6"/>
                  </a:lnTo>
                  <a:lnTo>
                    <a:pt x="72" y="12"/>
                  </a:lnTo>
                  <a:lnTo>
                    <a:pt x="72" y="24"/>
                  </a:lnTo>
                  <a:lnTo>
                    <a:pt x="66" y="36"/>
                  </a:lnTo>
                  <a:lnTo>
                    <a:pt x="54" y="42"/>
                  </a:lnTo>
                  <a:lnTo>
                    <a:pt x="48" y="48"/>
                  </a:lnTo>
                  <a:lnTo>
                    <a:pt x="42" y="48"/>
                  </a:lnTo>
                  <a:lnTo>
                    <a:pt x="42" y="42"/>
                  </a:lnTo>
                  <a:lnTo>
                    <a:pt x="36" y="36"/>
                  </a:lnTo>
                  <a:lnTo>
                    <a:pt x="30" y="36"/>
                  </a:lnTo>
                  <a:lnTo>
                    <a:pt x="30" y="42"/>
                  </a:lnTo>
                  <a:lnTo>
                    <a:pt x="24" y="54"/>
                  </a:lnTo>
                  <a:lnTo>
                    <a:pt x="0" y="210"/>
                  </a:lnTo>
                  <a:lnTo>
                    <a:pt x="30" y="210"/>
                  </a:lnTo>
                  <a:lnTo>
                    <a:pt x="42" y="168"/>
                  </a:lnTo>
                  <a:lnTo>
                    <a:pt x="60" y="174"/>
                  </a:lnTo>
                  <a:lnTo>
                    <a:pt x="84" y="150"/>
                  </a:lnTo>
                  <a:lnTo>
                    <a:pt x="84" y="90"/>
                  </a:lnTo>
                  <a:lnTo>
                    <a:pt x="90" y="78"/>
                  </a:lnTo>
                  <a:lnTo>
                    <a:pt x="96" y="60"/>
                  </a:lnTo>
                  <a:lnTo>
                    <a:pt x="108" y="36"/>
                  </a:lnTo>
                  <a:lnTo>
                    <a:pt x="108" y="30"/>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90" name="Belgien" descr="© INSCALE GmbH, 05.05.2010&#10;http://www.presentationload.com/">
              <a:extLst>
                <a:ext uri="{FF2B5EF4-FFF2-40B4-BE49-F238E27FC236}">
                  <a16:creationId xmlns:a16="http://schemas.microsoft.com/office/drawing/2014/main" id="{4F009A1F-51E0-4B0F-87CF-CE0D36EBAACF}"/>
                </a:ext>
              </a:extLst>
            </p:cNvPr>
            <p:cNvSpPr>
              <a:spLocks/>
            </p:cNvSpPr>
            <p:nvPr/>
          </p:nvSpPr>
          <p:spPr bwMode="gray">
            <a:xfrm>
              <a:off x="4234416" y="2612477"/>
              <a:ext cx="89377" cy="61153"/>
            </a:xfrm>
            <a:custGeom>
              <a:avLst/>
              <a:gdLst>
                <a:gd name="T0" fmla="*/ 0 w 222"/>
                <a:gd name="T1" fmla="*/ 2147483647 h 150"/>
                <a:gd name="T2" fmla="*/ 2147483647 w 222"/>
                <a:gd name="T3" fmla="*/ 2147483647 h 150"/>
                <a:gd name="T4" fmla="*/ 2147483647 w 222"/>
                <a:gd name="T5" fmla="*/ 2147483647 h 150"/>
                <a:gd name="T6" fmla="*/ 2147483647 w 222"/>
                <a:gd name="T7" fmla="*/ 2147483647 h 150"/>
                <a:gd name="T8" fmla="*/ 2147483647 w 222"/>
                <a:gd name="T9" fmla="*/ 2147483647 h 150"/>
                <a:gd name="T10" fmla="*/ 2147483647 w 222"/>
                <a:gd name="T11" fmla="*/ 2147483647 h 150"/>
                <a:gd name="T12" fmla="*/ 2147483647 w 222"/>
                <a:gd name="T13" fmla="*/ 2147483647 h 150"/>
                <a:gd name="T14" fmla="*/ 2147483647 w 222"/>
                <a:gd name="T15" fmla="*/ 2147483647 h 150"/>
                <a:gd name="T16" fmla="*/ 2147483647 w 222"/>
                <a:gd name="T17" fmla="*/ 2147483647 h 150"/>
                <a:gd name="T18" fmla="*/ 2147483647 w 222"/>
                <a:gd name="T19" fmla="*/ 2147483647 h 150"/>
                <a:gd name="T20" fmla="*/ 2147483647 w 222"/>
                <a:gd name="T21" fmla="*/ 2147483647 h 150"/>
                <a:gd name="T22" fmla="*/ 2147483647 w 222"/>
                <a:gd name="T23" fmla="*/ 2147483647 h 150"/>
                <a:gd name="T24" fmla="*/ 2147483647 w 222"/>
                <a:gd name="T25" fmla="*/ 2147483647 h 150"/>
                <a:gd name="T26" fmla="*/ 2147483647 w 222"/>
                <a:gd name="T27" fmla="*/ 2147483647 h 150"/>
                <a:gd name="T28" fmla="*/ 2147483647 w 222"/>
                <a:gd name="T29" fmla="*/ 2147483647 h 150"/>
                <a:gd name="T30" fmla="*/ 2147483647 w 222"/>
                <a:gd name="T31" fmla="*/ 2147483647 h 150"/>
                <a:gd name="T32" fmla="*/ 2147483647 w 222"/>
                <a:gd name="T33" fmla="*/ 2147483647 h 150"/>
                <a:gd name="T34" fmla="*/ 2147483647 w 222"/>
                <a:gd name="T35" fmla="*/ 2147483647 h 150"/>
                <a:gd name="T36" fmla="*/ 2147483647 w 222"/>
                <a:gd name="T37" fmla="*/ 2147483647 h 150"/>
                <a:gd name="T38" fmla="*/ 2147483647 w 222"/>
                <a:gd name="T39" fmla="*/ 2147483647 h 150"/>
                <a:gd name="T40" fmla="*/ 2147483647 w 222"/>
                <a:gd name="T41" fmla="*/ 2147483647 h 150"/>
                <a:gd name="T42" fmla="*/ 2147483647 w 222"/>
                <a:gd name="T43" fmla="*/ 2147483647 h 150"/>
                <a:gd name="T44" fmla="*/ 2147483647 w 222"/>
                <a:gd name="T45" fmla="*/ 2147483647 h 150"/>
                <a:gd name="T46" fmla="*/ 2147483647 w 222"/>
                <a:gd name="T47" fmla="*/ 2147483647 h 150"/>
                <a:gd name="T48" fmla="*/ 2147483647 w 222"/>
                <a:gd name="T49" fmla="*/ 2147483647 h 150"/>
                <a:gd name="T50" fmla="*/ 2147483647 w 222"/>
                <a:gd name="T51" fmla="*/ 2147483647 h 150"/>
                <a:gd name="T52" fmla="*/ 2147483647 w 222"/>
                <a:gd name="T53" fmla="*/ 2147483647 h 150"/>
                <a:gd name="T54" fmla="*/ 2147483647 w 222"/>
                <a:gd name="T55" fmla="*/ 2147483647 h 150"/>
                <a:gd name="T56" fmla="*/ 2147483647 w 222"/>
                <a:gd name="T57" fmla="*/ 2147483647 h 150"/>
                <a:gd name="T58" fmla="*/ 2147483647 w 222"/>
                <a:gd name="T59" fmla="*/ 2147483647 h 150"/>
                <a:gd name="T60" fmla="*/ 2147483647 w 222"/>
                <a:gd name="T61" fmla="*/ 2147483647 h 150"/>
                <a:gd name="T62" fmla="*/ 2147483647 w 222"/>
                <a:gd name="T63" fmla="*/ 2147483647 h 150"/>
                <a:gd name="T64" fmla="*/ 2147483647 w 222"/>
                <a:gd name="T65" fmla="*/ 2147483647 h 150"/>
                <a:gd name="T66" fmla="*/ 2147483647 w 222"/>
                <a:gd name="T67" fmla="*/ 2147483647 h 150"/>
                <a:gd name="T68" fmla="*/ 2147483647 w 222"/>
                <a:gd name="T69" fmla="*/ 2147483647 h 150"/>
                <a:gd name="T70" fmla="*/ 2147483647 w 222"/>
                <a:gd name="T71" fmla="*/ 2147483647 h 150"/>
                <a:gd name="T72" fmla="*/ 2147483647 w 222"/>
                <a:gd name="T73" fmla="*/ 2147483647 h 150"/>
                <a:gd name="T74" fmla="*/ 2147483647 w 222"/>
                <a:gd name="T75" fmla="*/ 2147483647 h 150"/>
                <a:gd name="T76" fmla="*/ 2147483647 w 222"/>
                <a:gd name="T77" fmla="*/ 2147483647 h 150"/>
                <a:gd name="T78" fmla="*/ 2147483647 w 222"/>
                <a:gd name="T79" fmla="*/ 2147483647 h 150"/>
                <a:gd name="T80" fmla="*/ 2147483647 w 222"/>
                <a:gd name="T81" fmla="*/ 0 h 150"/>
                <a:gd name="T82" fmla="*/ 2147483647 w 222"/>
                <a:gd name="T83" fmla="*/ 0 h 150"/>
                <a:gd name="T84" fmla="*/ 2147483647 w 222"/>
                <a:gd name="T85" fmla="*/ 2147483647 h 150"/>
                <a:gd name="T86" fmla="*/ 2147483647 w 222"/>
                <a:gd name="T87" fmla="*/ 0 h 150"/>
                <a:gd name="T88" fmla="*/ 2147483647 w 222"/>
                <a:gd name="T89" fmla="*/ 2147483647 h 150"/>
                <a:gd name="T90" fmla="*/ 2147483647 w 222"/>
                <a:gd name="T91" fmla="*/ 2147483647 h 150"/>
                <a:gd name="T92" fmla="*/ 2147483647 w 222"/>
                <a:gd name="T93" fmla="*/ 2147483647 h 150"/>
                <a:gd name="T94" fmla="*/ 2147483647 w 222"/>
                <a:gd name="T95" fmla="*/ 2147483647 h 150"/>
                <a:gd name="T96" fmla="*/ 2147483647 w 222"/>
                <a:gd name="T97" fmla="*/ 2147483647 h 150"/>
                <a:gd name="T98" fmla="*/ 2147483647 w 222"/>
                <a:gd name="T99" fmla="*/ 2147483647 h 150"/>
                <a:gd name="T100" fmla="*/ 2147483647 w 222"/>
                <a:gd name="T101" fmla="*/ 2147483647 h 150"/>
                <a:gd name="T102" fmla="*/ 0 w 222"/>
                <a:gd name="T103" fmla="*/ 2147483647 h 150"/>
                <a:gd name="T104" fmla="*/ 0 w 222"/>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150"/>
                <a:gd name="T161" fmla="*/ 222 w 222"/>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150">
                  <a:moveTo>
                    <a:pt x="0" y="42"/>
                  </a:moveTo>
                  <a:lnTo>
                    <a:pt x="6" y="60"/>
                  </a:lnTo>
                  <a:lnTo>
                    <a:pt x="30" y="66"/>
                  </a:lnTo>
                  <a:lnTo>
                    <a:pt x="42" y="78"/>
                  </a:lnTo>
                  <a:lnTo>
                    <a:pt x="66" y="78"/>
                  </a:lnTo>
                  <a:lnTo>
                    <a:pt x="78" y="84"/>
                  </a:lnTo>
                  <a:lnTo>
                    <a:pt x="84" y="90"/>
                  </a:lnTo>
                  <a:lnTo>
                    <a:pt x="84" y="114"/>
                  </a:lnTo>
                  <a:lnTo>
                    <a:pt x="108" y="114"/>
                  </a:lnTo>
                  <a:lnTo>
                    <a:pt x="120" y="102"/>
                  </a:lnTo>
                  <a:lnTo>
                    <a:pt x="120" y="126"/>
                  </a:lnTo>
                  <a:lnTo>
                    <a:pt x="132" y="126"/>
                  </a:lnTo>
                  <a:lnTo>
                    <a:pt x="144" y="132"/>
                  </a:lnTo>
                  <a:lnTo>
                    <a:pt x="150" y="132"/>
                  </a:lnTo>
                  <a:lnTo>
                    <a:pt x="162" y="144"/>
                  </a:lnTo>
                  <a:lnTo>
                    <a:pt x="180" y="144"/>
                  </a:lnTo>
                  <a:lnTo>
                    <a:pt x="192" y="150"/>
                  </a:lnTo>
                  <a:lnTo>
                    <a:pt x="192" y="144"/>
                  </a:lnTo>
                  <a:lnTo>
                    <a:pt x="186" y="132"/>
                  </a:lnTo>
                  <a:lnTo>
                    <a:pt x="174" y="120"/>
                  </a:lnTo>
                  <a:lnTo>
                    <a:pt x="174" y="114"/>
                  </a:lnTo>
                  <a:lnTo>
                    <a:pt x="180" y="114"/>
                  </a:lnTo>
                  <a:lnTo>
                    <a:pt x="192" y="108"/>
                  </a:lnTo>
                  <a:lnTo>
                    <a:pt x="198" y="102"/>
                  </a:lnTo>
                  <a:lnTo>
                    <a:pt x="204" y="102"/>
                  </a:lnTo>
                  <a:lnTo>
                    <a:pt x="204" y="96"/>
                  </a:lnTo>
                  <a:lnTo>
                    <a:pt x="210" y="90"/>
                  </a:lnTo>
                  <a:lnTo>
                    <a:pt x="222" y="90"/>
                  </a:lnTo>
                  <a:lnTo>
                    <a:pt x="216" y="84"/>
                  </a:lnTo>
                  <a:lnTo>
                    <a:pt x="216" y="66"/>
                  </a:lnTo>
                  <a:lnTo>
                    <a:pt x="204" y="54"/>
                  </a:lnTo>
                  <a:lnTo>
                    <a:pt x="180" y="54"/>
                  </a:lnTo>
                  <a:lnTo>
                    <a:pt x="180" y="42"/>
                  </a:lnTo>
                  <a:lnTo>
                    <a:pt x="186" y="36"/>
                  </a:lnTo>
                  <a:lnTo>
                    <a:pt x="186" y="18"/>
                  </a:lnTo>
                  <a:lnTo>
                    <a:pt x="180" y="12"/>
                  </a:lnTo>
                  <a:lnTo>
                    <a:pt x="174" y="12"/>
                  </a:lnTo>
                  <a:lnTo>
                    <a:pt x="162" y="18"/>
                  </a:lnTo>
                  <a:lnTo>
                    <a:pt x="150" y="18"/>
                  </a:lnTo>
                  <a:lnTo>
                    <a:pt x="144" y="12"/>
                  </a:lnTo>
                  <a:lnTo>
                    <a:pt x="144" y="0"/>
                  </a:lnTo>
                  <a:lnTo>
                    <a:pt x="108" y="0"/>
                  </a:lnTo>
                  <a:lnTo>
                    <a:pt x="108" y="6"/>
                  </a:lnTo>
                  <a:lnTo>
                    <a:pt x="96" y="0"/>
                  </a:lnTo>
                  <a:lnTo>
                    <a:pt x="96" y="12"/>
                  </a:lnTo>
                  <a:lnTo>
                    <a:pt x="78" y="6"/>
                  </a:lnTo>
                  <a:lnTo>
                    <a:pt x="72" y="18"/>
                  </a:lnTo>
                  <a:lnTo>
                    <a:pt x="66" y="12"/>
                  </a:lnTo>
                  <a:lnTo>
                    <a:pt x="42" y="12"/>
                  </a:lnTo>
                  <a:lnTo>
                    <a:pt x="36" y="6"/>
                  </a:lnTo>
                  <a:lnTo>
                    <a:pt x="24" y="6"/>
                  </a:lnTo>
                  <a:lnTo>
                    <a:pt x="0" y="24"/>
                  </a:lnTo>
                  <a:lnTo>
                    <a:pt x="0" y="42"/>
                  </a:lnTo>
                  <a:close/>
                </a:path>
              </a:pathLst>
            </a:custGeom>
            <a:solidFill>
              <a:schemeClr val="accent1"/>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91" name="Bangladesh" descr="© INSCALE GmbH, 05.05.2010&#10;http://www.presentationload.com/">
              <a:extLst>
                <a:ext uri="{FF2B5EF4-FFF2-40B4-BE49-F238E27FC236}">
                  <a16:creationId xmlns:a16="http://schemas.microsoft.com/office/drawing/2014/main" id="{18D0AAA2-DFCC-490E-8A4D-EB9CCE180F88}"/>
                </a:ext>
              </a:extLst>
            </p:cNvPr>
            <p:cNvSpPr>
              <a:spLocks/>
            </p:cNvSpPr>
            <p:nvPr/>
          </p:nvSpPr>
          <p:spPr bwMode="gray">
            <a:xfrm>
              <a:off x="6558226" y="3402761"/>
              <a:ext cx="148962" cy="169347"/>
            </a:xfrm>
            <a:custGeom>
              <a:avLst/>
              <a:gdLst>
                <a:gd name="T0" fmla="*/ 2147483647 w 372"/>
                <a:gd name="T1" fmla="*/ 2147483647 h 426"/>
                <a:gd name="T2" fmla="*/ 2147483647 w 372"/>
                <a:gd name="T3" fmla="*/ 2147483647 h 426"/>
                <a:gd name="T4" fmla="*/ 2147483647 w 372"/>
                <a:gd name="T5" fmla="*/ 2147483647 h 426"/>
                <a:gd name="T6" fmla="*/ 2147483647 w 372"/>
                <a:gd name="T7" fmla="*/ 2147483647 h 426"/>
                <a:gd name="T8" fmla="*/ 2147483647 w 372"/>
                <a:gd name="T9" fmla="*/ 2147483647 h 426"/>
                <a:gd name="T10" fmla="*/ 2147483647 w 372"/>
                <a:gd name="T11" fmla="*/ 2147483647 h 426"/>
                <a:gd name="T12" fmla="*/ 2147483647 w 372"/>
                <a:gd name="T13" fmla="*/ 2147483647 h 426"/>
                <a:gd name="T14" fmla="*/ 2147483647 w 372"/>
                <a:gd name="T15" fmla="*/ 2147483647 h 426"/>
                <a:gd name="T16" fmla="*/ 2147483647 w 372"/>
                <a:gd name="T17" fmla="*/ 2147483647 h 426"/>
                <a:gd name="T18" fmla="*/ 2147483647 w 372"/>
                <a:gd name="T19" fmla="*/ 2147483647 h 426"/>
                <a:gd name="T20" fmla="*/ 2147483647 w 372"/>
                <a:gd name="T21" fmla="*/ 2147483647 h 426"/>
                <a:gd name="T22" fmla="*/ 2147483647 w 372"/>
                <a:gd name="T23" fmla="*/ 2147483647 h 426"/>
                <a:gd name="T24" fmla="*/ 2147483647 w 372"/>
                <a:gd name="T25" fmla="*/ 2147483647 h 426"/>
                <a:gd name="T26" fmla="*/ 2147483647 w 372"/>
                <a:gd name="T27" fmla="*/ 2147483647 h 426"/>
                <a:gd name="T28" fmla="*/ 2147483647 w 372"/>
                <a:gd name="T29" fmla="*/ 2147483647 h 426"/>
                <a:gd name="T30" fmla="*/ 2147483647 w 372"/>
                <a:gd name="T31" fmla="*/ 2147483647 h 426"/>
                <a:gd name="T32" fmla="*/ 2147483647 w 372"/>
                <a:gd name="T33" fmla="*/ 2147483647 h 426"/>
                <a:gd name="T34" fmla="*/ 2147483647 w 372"/>
                <a:gd name="T35" fmla="*/ 2147483647 h 426"/>
                <a:gd name="T36" fmla="*/ 2147483647 w 372"/>
                <a:gd name="T37" fmla="*/ 2147483647 h 426"/>
                <a:gd name="T38" fmla="*/ 2147483647 w 372"/>
                <a:gd name="T39" fmla="*/ 2147483647 h 426"/>
                <a:gd name="T40" fmla="*/ 2147483647 w 372"/>
                <a:gd name="T41" fmla="*/ 2147483647 h 426"/>
                <a:gd name="T42" fmla="*/ 2147483647 w 372"/>
                <a:gd name="T43" fmla="*/ 2147483647 h 426"/>
                <a:gd name="T44" fmla="*/ 2147483647 w 372"/>
                <a:gd name="T45" fmla="*/ 2147483647 h 426"/>
                <a:gd name="T46" fmla="*/ 2147483647 w 372"/>
                <a:gd name="T47" fmla="*/ 2147483647 h 426"/>
                <a:gd name="T48" fmla="*/ 2147483647 w 372"/>
                <a:gd name="T49" fmla="*/ 2147483647 h 426"/>
                <a:gd name="T50" fmla="*/ 2147483647 w 372"/>
                <a:gd name="T51" fmla="*/ 2147483647 h 426"/>
                <a:gd name="T52" fmla="*/ 2147483647 w 372"/>
                <a:gd name="T53" fmla="*/ 2147483647 h 426"/>
                <a:gd name="T54" fmla="*/ 2147483647 w 372"/>
                <a:gd name="T55" fmla="*/ 2147483647 h 426"/>
                <a:gd name="T56" fmla="*/ 2147483647 w 372"/>
                <a:gd name="T57" fmla="*/ 2147483647 h 426"/>
                <a:gd name="T58" fmla="*/ 2147483647 w 372"/>
                <a:gd name="T59" fmla="*/ 2147483647 h 426"/>
                <a:gd name="T60" fmla="*/ 2147483647 w 372"/>
                <a:gd name="T61" fmla="*/ 2147483647 h 426"/>
                <a:gd name="T62" fmla="*/ 2147483647 w 372"/>
                <a:gd name="T63" fmla="*/ 2147483647 h 426"/>
                <a:gd name="T64" fmla="*/ 2147483647 w 372"/>
                <a:gd name="T65" fmla="*/ 2147483647 h 426"/>
                <a:gd name="T66" fmla="*/ 2147483647 w 372"/>
                <a:gd name="T67" fmla="*/ 2147483647 h 426"/>
                <a:gd name="T68" fmla="*/ 2147483647 w 372"/>
                <a:gd name="T69" fmla="*/ 2147483647 h 426"/>
                <a:gd name="T70" fmla="*/ 2147483647 w 372"/>
                <a:gd name="T71" fmla="*/ 2147483647 h 426"/>
                <a:gd name="T72" fmla="*/ 2147483647 w 372"/>
                <a:gd name="T73" fmla="*/ 2147483647 h 426"/>
                <a:gd name="T74" fmla="*/ 2147483647 w 372"/>
                <a:gd name="T75" fmla="*/ 2147483647 h 426"/>
                <a:gd name="T76" fmla="*/ 2147483647 w 372"/>
                <a:gd name="T77" fmla="*/ 2147483647 h 426"/>
                <a:gd name="T78" fmla="*/ 2147483647 w 372"/>
                <a:gd name="T79" fmla="*/ 2147483647 h 426"/>
                <a:gd name="T80" fmla="*/ 2147483647 w 372"/>
                <a:gd name="T81" fmla="*/ 2147483647 h 426"/>
                <a:gd name="T82" fmla="*/ 2147483647 w 372"/>
                <a:gd name="T83" fmla="*/ 2147483647 h 426"/>
                <a:gd name="T84" fmla="*/ 2147483647 w 372"/>
                <a:gd name="T85" fmla="*/ 0 h 426"/>
                <a:gd name="T86" fmla="*/ 2147483647 w 372"/>
                <a:gd name="T87" fmla="*/ 2147483647 h 426"/>
                <a:gd name="T88" fmla="*/ 0 w 372"/>
                <a:gd name="T89" fmla="*/ 2147483647 h 426"/>
                <a:gd name="T90" fmla="*/ 2147483647 w 372"/>
                <a:gd name="T91" fmla="*/ 2147483647 h 426"/>
                <a:gd name="T92" fmla="*/ 2147483647 w 372"/>
                <a:gd name="T93" fmla="*/ 2147483647 h 426"/>
                <a:gd name="T94" fmla="*/ 2147483647 w 372"/>
                <a:gd name="T95" fmla="*/ 2147483647 h 426"/>
                <a:gd name="T96" fmla="*/ 2147483647 w 372"/>
                <a:gd name="T97" fmla="*/ 2147483647 h 426"/>
                <a:gd name="T98" fmla="*/ 2147483647 w 372"/>
                <a:gd name="T99" fmla="*/ 2147483647 h 426"/>
                <a:gd name="T100" fmla="*/ 2147483647 w 372"/>
                <a:gd name="T101" fmla="*/ 2147483647 h 426"/>
                <a:gd name="T102" fmla="*/ 2147483647 w 372"/>
                <a:gd name="T103" fmla="*/ 2147483647 h 426"/>
                <a:gd name="T104" fmla="*/ 2147483647 w 372"/>
                <a:gd name="T105" fmla="*/ 2147483647 h 426"/>
                <a:gd name="T106" fmla="*/ 2147483647 w 372"/>
                <a:gd name="T107" fmla="*/ 2147483647 h 426"/>
                <a:gd name="T108" fmla="*/ 2147483647 w 372"/>
                <a:gd name="T109" fmla="*/ 2147483647 h 426"/>
                <a:gd name="T110" fmla="*/ 2147483647 w 372"/>
                <a:gd name="T111" fmla="*/ 2147483647 h 426"/>
                <a:gd name="T112" fmla="*/ 2147483647 w 372"/>
                <a:gd name="T113" fmla="*/ 2147483647 h 426"/>
                <a:gd name="T114" fmla="*/ 2147483647 w 372"/>
                <a:gd name="T115" fmla="*/ 2147483647 h 4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2"/>
                <a:gd name="T175" fmla="*/ 0 h 426"/>
                <a:gd name="T176" fmla="*/ 372 w 372"/>
                <a:gd name="T177" fmla="*/ 426 h 4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2" h="426">
                  <a:moveTo>
                    <a:pt x="132" y="414"/>
                  </a:moveTo>
                  <a:lnTo>
                    <a:pt x="138" y="354"/>
                  </a:lnTo>
                  <a:lnTo>
                    <a:pt x="144" y="354"/>
                  </a:lnTo>
                  <a:lnTo>
                    <a:pt x="150" y="360"/>
                  </a:lnTo>
                  <a:lnTo>
                    <a:pt x="162" y="360"/>
                  </a:lnTo>
                  <a:lnTo>
                    <a:pt x="174" y="366"/>
                  </a:lnTo>
                  <a:lnTo>
                    <a:pt x="192" y="372"/>
                  </a:lnTo>
                  <a:lnTo>
                    <a:pt x="216" y="372"/>
                  </a:lnTo>
                  <a:lnTo>
                    <a:pt x="210" y="366"/>
                  </a:lnTo>
                  <a:lnTo>
                    <a:pt x="210" y="348"/>
                  </a:lnTo>
                  <a:lnTo>
                    <a:pt x="204" y="342"/>
                  </a:lnTo>
                  <a:lnTo>
                    <a:pt x="222" y="342"/>
                  </a:lnTo>
                  <a:lnTo>
                    <a:pt x="258" y="360"/>
                  </a:lnTo>
                  <a:lnTo>
                    <a:pt x="270" y="360"/>
                  </a:lnTo>
                  <a:lnTo>
                    <a:pt x="282" y="348"/>
                  </a:lnTo>
                  <a:lnTo>
                    <a:pt x="282" y="336"/>
                  </a:lnTo>
                  <a:lnTo>
                    <a:pt x="270" y="300"/>
                  </a:lnTo>
                  <a:lnTo>
                    <a:pt x="318" y="354"/>
                  </a:lnTo>
                  <a:lnTo>
                    <a:pt x="318" y="360"/>
                  </a:lnTo>
                  <a:lnTo>
                    <a:pt x="312" y="366"/>
                  </a:lnTo>
                  <a:lnTo>
                    <a:pt x="312" y="390"/>
                  </a:lnTo>
                  <a:lnTo>
                    <a:pt x="306" y="402"/>
                  </a:lnTo>
                  <a:lnTo>
                    <a:pt x="306" y="414"/>
                  </a:lnTo>
                  <a:lnTo>
                    <a:pt x="312" y="420"/>
                  </a:lnTo>
                  <a:lnTo>
                    <a:pt x="324" y="420"/>
                  </a:lnTo>
                  <a:lnTo>
                    <a:pt x="330" y="426"/>
                  </a:lnTo>
                  <a:lnTo>
                    <a:pt x="336" y="414"/>
                  </a:lnTo>
                  <a:lnTo>
                    <a:pt x="336" y="408"/>
                  </a:lnTo>
                  <a:lnTo>
                    <a:pt x="372" y="414"/>
                  </a:lnTo>
                  <a:lnTo>
                    <a:pt x="360" y="354"/>
                  </a:lnTo>
                  <a:lnTo>
                    <a:pt x="360" y="348"/>
                  </a:lnTo>
                  <a:lnTo>
                    <a:pt x="354" y="342"/>
                  </a:lnTo>
                  <a:lnTo>
                    <a:pt x="348" y="330"/>
                  </a:lnTo>
                  <a:lnTo>
                    <a:pt x="342" y="312"/>
                  </a:lnTo>
                  <a:lnTo>
                    <a:pt x="336" y="300"/>
                  </a:lnTo>
                  <a:lnTo>
                    <a:pt x="336" y="288"/>
                  </a:lnTo>
                  <a:lnTo>
                    <a:pt x="330" y="276"/>
                  </a:lnTo>
                  <a:lnTo>
                    <a:pt x="330" y="270"/>
                  </a:lnTo>
                  <a:lnTo>
                    <a:pt x="324" y="258"/>
                  </a:lnTo>
                  <a:lnTo>
                    <a:pt x="324" y="240"/>
                  </a:lnTo>
                  <a:lnTo>
                    <a:pt x="318" y="234"/>
                  </a:lnTo>
                  <a:lnTo>
                    <a:pt x="306" y="228"/>
                  </a:lnTo>
                  <a:lnTo>
                    <a:pt x="288" y="228"/>
                  </a:lnTo>
                  <a:lnTo>
                    <a:pt x="288" y="252"/>
                  </a:lnTo>
                  <a:lnTo>
                    <a:pt x="282" y="288"/>
                  </a:lnTo>
                  <a:lnTo>
                    <a:pt x="264" y="264"/>
                  </a:lnTo>
                  <a:lnTo>
                    <a:pt x="258" y="264"/>
                  </a:lnTo>
                  <a:lnTo>
                    <a:pt x="240" y="246"/>
                  </a:lnTo>
                  <a:lnTo>
                    <a:pt x="234" y="234"/>
                  </a:lnTo>
                  <a:lnTo>
                    <a:pt x="234" y="216"/>
                  </a:lnTo>
                  <a:lnTo>
                    <a:pt x="240" y="204"/>
                  </a:lnTo>
                  <a:lnTo>
                    <a:pt x="252" y="192"/>
                  </a:lnTo>
                  <a:lnTo>
                    <a:pt x="258" y="192"/>
                  </a:lnTo>
                  <a:lnTo>
                    <a:pt x="270" y="186"/>
                  </a:lnTo>
                  <a:lnTo>
                    <a:pt x="276" y="186"/>
                  </a:lnTo>
                  <a:lnTo>
                    <a:pt x="282" y="180"/>
                  </a:lnTo>
                  <a:lnTo>
                    <a:pt x="288" y="168"/>
                  </a:lnTo>
                  <a:lnTo>
                    <a:pt x="294" y="150"/>
                  </a:lnTo>
                  <a:lnTo>
                    <a:pt x="294" y="138"/>
                  </a:lnTo>
                  <a:lnTo>
                    <a:pt x="300" y="138"/>
                  </a:lnTo>
                  <a:lnTo>
                    <a:pt x="306" y="132"/>
                  </a:lnTo>
                  <a:lnTo>
                    <a:pt x="306" y="126"/>
                  </a:lnTo>
                  <a:lnTo>
                    <a:pt x="282" y="102"/>
                  </a:lnTo>
                  <a:lnTo>
                    <a:pt x="276" y="102"/>
                  </a:lnTo>
                  <a:lnTo>
                    <a:pt x="228" y="114"/>
                  </a:lnTo>
                  <a:lnTo>
                    <a:pt x="210" y="114"/>
                  </a:lnTo>
                  <a:lnTo>
                    <a:pt x="198" y="108"/>
                  </a:lnTo>
                  <a:lnTo>
                    <a:pt x="138" y="108"/>
                  </a:lnTo>
                  <a:lnTo>
                    <a:pt x="132" y="102"/>
                  </a:lnTo>
                  <a:lnTo>
                    <a:pt x="126" y="102"/>
                  </a:lnTo>
                  <a:lnTo>
                    <a:pt x="126" y="66"/>
                  </a:lnTo>
                  <a:lnTo>
                    <a:pt x="120" y="66"/>
                  </a:lnTo>
                  <a:lnTo>
                    <a:pt x="120" y="36"/>
                  </a:lnTo>
                  <a:lnTo>
                    <a:pt x="114" y="30"/>
                  </a:lnTo>
                  <a:lnTo>
                    <a:pt x="108" y="30"/>
                  </a:lnTo>
                  <a:lnTo>
                    <a:pt x="102" y="24"/>
                  </a:lnTo>
                  <a:lnTo>
                    <a:pt x="96" y="42"/>
                  </a:lnTo>
                  <a:lnTo>
                    <a:pt x="90" y="36"/>
                  </a:lnTo>
                  <a:lnTo>
                    <a:pt x="78" y="36"/>
                  </a:lnTo>
                  <a:lnTo>
                    <a:pt x="72" y="30"/>
                  </a:lnTo>
                  <a:lnTo>
                    <a:pt x="66" y="18"/>
                  </a:lnTo>
                  <a:lnTo>
                    <a:pt x="66" y="12"/>
                  </a:lnTo>
                  <a:lnTo>
                    <a:pt x="60" y="0"/>
                  </a:lnTo>
                  <a:lnTo>
                    <a:pt x="42" y="6"/>
                  </a:lnTo>
                  <a:lnTo>
                    <a:pt x="48" y="12"/>
                  </a:lnTo>
                  <a:lnTo>
                    <a:pt x="24" y="0"/>
                  </a:lnTo>
                  <a:lnTo>
                    <a:pt x="6" y="0"/>
                  </a:lnTo>
                  <a:lnTo>
                    <a:pt x="18" y="18"/>
                  </a:lnTo>
                  <a:lnTo>
                    <a:pt x="6" y="30"/>
                  </a:lnTo>
                  <a:lnTo>
                    <a:pt x="0" y="42"/>
                  </a:lnTo>
                  <a:lnTo>
                    <a:pt x="0" y="48"/>
                  </a:lnTo>
                  <a:lnTo>
                    <a:pt x="6" y="60"/>
                  </a:lnTo>
                  <a:lnTo>
                    <a:pt x="18" y="66"/>
                  </a:lnTo>
                  <a:lnTo>
                    <a:pt x="30" y="78"/>
                  </a:lnTo>
                  <a:lnTo>
                    <a:pt x="36" y="78"/>
                  </a:lnTo>
                  <a:lnTo>
                    <a:pt x="66" y="96"/>
                  </a:lnTo>
                  <a:lnTo>
                    <a:pt x="66" y="108"/>
                  </a:lnTo>
                  <a:lnTo>
                    <a:pt x="30" y="108"/>
                  </a:lnTo>
                  <a:lnTo>
                    <a:pt x="30" y="138"/>
                  </a:lnTo>
                  <a:lnTo>
                    <a:pt x="24" y="138"/>
                  </a:lnTo>
                  <a:lnTo>
                    <a:pt x="12" y="150"/>
                  </a:lnTo>
                  <a:lnTo>
                    <a:pt x="24" y="162"/>
                  </a:lnTo>
                  <a:lnTo>
                    <a:pt x="36" y="168"/>
                  </a:lnTo>
                  <a:lnTo>
                    <a:pt x="54" y="168"/>
                  </a:lnTo>
                  <a:lnTo>
                    <a:pt x="66" y="174"/>
                  </a:lnTo>
                  <a:lnTo>
                    <a:pt x="72" y="180"/>
                  </a:lnTo>
                  <a:lnTo>
                    <a:pt x="72" y="186"/>
                  </a:lnTo>
                  <a:lnTo>
                    <a:pt x="66" y="204"/>
                  </a:lnTo>
                  <a:lnTo>
                    <a:pt x="60" y="210"/>
                  </a:lnTo>
                  <a:lnTo>
                    <a:pt x="54" y="222"/>
                  </a:lnTo>
                  <a:lnTo>
                    <a:pt x="66" y="252"/>
                  </a:lnTo>
                  <a:lnTo>
                    <a:pt x="96" y="276"/>
                  </a:lnTo>
                  <a:lnTo>
                    <a:pt x="96" y="306"/>
                  </a:lnTo>
                  <a:lnTo>
                    <a:pt x="114" y="348"/>
                  </a:lnTo>
                  <a:lnTo>
                    <a:pt x="108" y="378"/>
                  </a:lnTo>
                  <a:lnTo>
                    <a:pt x="132" y="414"/>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92" name="Bahrain" descr="© INSCALE GmbH, 05.05.2010&#10;http://www.presentationload.com/">
              <a:extLst>
                <a:ext uri="{FF2B5EF4-FFF2-40B4-BE49-F238E27FC236}">
                  <a16:creationId xmlns:a16="http://schemas.microsoft.com/office/drawing/2014/main" id="{DA3FCA0E-ED7C-4BDD-BD23-DF6481CB841C}"/>
                </a:ext>
              </a:extLst>
            </p:cNvPr>
            <p:cNvSpPr>
              <a:spLocks/>
            </p:cNvSpPr>
            <p:nvPr/>
          </p:nvSpPr>
          <p:spPr bwMode="gray">
            <a:xfrm>
              <a:off x="5526467" y="3404329"/>
              <a:ext cx="10976" cy="21952"/>
            </a:xfrm>
            <a:custGeom>
              <a:avLst/>
              <a:gdLst>
                <a:gd name="T0" fmla="*/ 2147483647 w 15"/>
                <a:gd name="T1" fmla="*/ 0 h 28"/>
                <a:gd name="T2" fmla="*/ 2147483647 w 15"/>
                <a:gd name="T3" fmla="*/ 2147483647 h 28"/>
                <a:gd name="T4" fmla="*/ 2147483647 w 15"/>
                <a:gd name="T5" fmla="*/ 2147483647 h 28"/>
                <a:gd name="T6" fmla="*/ 2033064304 w 15"/>
                <a:gd name="T7" fmla="*/ 2147483647 h 28"/>
                <a:gd name="T8" fmla="*/ 813445092 w 15"/>
                <a:gd name="T9" fmla="*/ 2147483647 h 28"/>
                <a:gd name="T10" fmla="*/ 2147483647 w 15"/>
                <a:gd name="T11" fmla="*/ 0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9" y="0"/>
                  </a:moveTo>
                  <a:cubicBezTo>
                    <a:pt x="14" y="0"/>
                    <a:pt x="15" y="10"/>
                    <a:pt x="14" y="14"/>
                  </a:cubicBezTo>
                  <a:cubicBezTo>
                    <a:pt x="13" y="18"/>
                    <a:pt x="15" y="28"/>
                    <a:pt x="9" y="28"/>
                  </a:cubicBezTo>
                  <a:cubicBezTo>
                    <a:pt x="4" y="27"/>
                    <a:pt x="5" y="21"/>
                    <a:pt x="5" y="18"/>
                  </a:cubicBezTo>
                  <a:cubicBezTo>
                    <a:pt x="5" y="14"/>
                    <a:pt x="0" y="14"/>
                    <a:pt x="2" y="8"/>
                  </a:cubicBezTo>
                  <a:close/>
                </a:path>
              </a:pathLst>
            </a:custGeom>
            <a:grpFill/>
            <a:ln w="3175">
              <a:solidFill>
                <a:schemeClr val="bg1"/>
              </a:solidFill>
              <a:round/>
              <a:headEnd/>
              <a:tailEnd/>
            </a:ln>
          </p:spPr>
          <p:txBody>
            <a:bodyPr/>
            <a:lstStyle/>
            <a:p>
              <a:endParaRPr lang="en-US" dirty="0"/>
            </a:p>
          </p:txBody>
        </p:sp>
        <p:sp>
          <p:nvSpPr>
            <p:cNvPr id="393" name="Äthiopien" descr="© INSCALE GmbH, 05.05.2010&#10;http://www.presentationload.com/">
              <a:extLst>
                <a:ext uri="{FF2B5EF4-FFF2-40B4-BE49-F238E27FC236}">
                  <a16:creationId xmlns:a16="http://schemas.microsoft.com/office/drawing/2014/main" id="{128894D6-A83C-406A-8C79-E8886B642F8B}"/>
                </a:ext>
              </a:extLst>
            </p:cNvPr>
            <p:cNvSpPr>
              <a:spLocks/>
            </p:cNvSpPr>
            <p:nvPr/>
          </p:nvSpPr>
          <p:spPr bwMode="gray">
            <a:xfrm>
              <a:off x="5062332" y="3775950"/>
              <a:ext cx="420230" cy="366918"/>
            </a:xfrm>
            <a:custGeom>
              <a:avLst/>
              <a:gdLst>
                <a:gd name="T0" fmla="*/ 2147483647 w 1056"/>
                <a:gd name="T1" fmla="*/ 2147483647 h 924"/>
                <a:gd name="T2" fmla="*/ 2147483647 w 1056"/>
                <a:gd name="T3" fmla="*/ 2147483647 h 924"/>
                <a:gd name="T4" fmla="*/ 2147483647 w 1056"/>
                <a:gd name="T5" fmla="*/ 2147483647 h 924"/>
                <a:gd name="T6" fmla="*/ 2147483647 w 1056"/>
                <a:gd name="T7" fmla="*/ 2147483647 h 924"/>
                <a:gd name="T8" fmla="*/ 2147483647 w 1056"/>
                <a:gd name="T9" fmla="*/ 2147483647 h 924"/>
                <a:gd name="T10" fmla="*/ 2147483647 w 1056"/>
                <a:gd name="T11" fmla="*/ 2147483647 h 924"/>
                <a:gd name="T12" fmla="*/ 2147483647 w 1056"/>
                <a:gd name="T13" fmla="*/ 2147483647 h 924"/>
                <a:gd name="T14" fmla="*/ 2147483647 w 1056"/>
                <a:gd name="T15" fmla="*/ 2147483647 h 924"/>
                <a:gd name="T16" fmla="*/ 2147483647 w 1056"/>
                <a:gd name="T17" fmla="*/ 2147483647 h 924"/>
                <a:gd name="T18" fmla="*/ 2147483647 w 1056"/>
                <a:gd name="T19" fmla="*/ 2147483647 h 924"/>
                <a:gd name="T20" fmla="*/ 2147483647 w 1056"/>
                <a:gd name="T21" fmla="*/ 2147483647 h 924"/>
                <a:gd name="T22" fmla="*/ 2147483647 w 1056"/>
                <a:gd name="T23" fmla="*/ 2147483647 h 924"/>
                <a:gd name="T24" fmla="*/ 2147483647 w 1056"/>
                <a:gd name="T25" fmla="*/ 2147483647 h 924"/>
                <a:gd name="T26" fmla="*/ 2147483647 w 1056"/>
                <a:gd name="T27" fmla="*/ 2147483647 h 924"/>
                <a:gd name="T28" fmla="*/ 2147483647 w 1056"/>
                <a:gd name="T29" fmla="*/ 2147483647 h 924"/>
                <a:gd name="T30" fmla="*/ 2147483647 w 1056"/>
                <a:gd name="T31" fmla="*/ 2147483647 h 924"/>
                <a:gd name="T32" fmla="*/ 2147483647 w 1056"/>
                <a:gd name="T33" fmla="*/ 2147483647 h 924"/>
                <a:gd name="T34" fmla="*/ 2147483647 w 1056"/>
                <a:gd name="T35" fmla="*/ 2147483647 h 924"/>
                <a:gd name="T36" fmla="*/ 2147483647 w 1056"/>
                <a:gd name="T37" fmla="*/ 2147483647 h 924"/>
                <a:gd name="T38" fmla="*/ 2147483647 w 1056"/>
                <a:gd name="T39" fmla="*/ 2147483647 h 924"/>
                <a:gd name="T40" fmla="*/ 2147483647 w 1056"/>
                <a:gd name="T41" fmla="*/ 2147483647 h 924"/>
                <a:gd name="T42" fmla="*/ 2147483647 w 1056"/>
                <a:gd name="T43" fmla="*/ 2147483647 h 924"/>
                <a:gd name="T44" fmla="*/ 2147483647 w 1056"/>
                <a:gd name="T45" fmla="*/ 2147483647 h 924"/>
                <a:gd name="T46" fmla="*/ 2147483647 w 1056"/>
                <a:gd name="T47" fmla="*/ 2147483647 h 924"/>
                <a:gd name="T48" fmla="*/ 2147483647 w 1056"/>
                <a:gd name="T49" fmla="*/ 2147483647 h 924"/>
                <a:gd name="T50" fmla="*/ 2147483647 w 1056"/>
                <a:gd name="T51" fmla="*/ 2147483647 h 924"/>
                <a:gd name="T52" fmla="*/ 2147483647 w 1056"/>
                <a:gd name="T53" fmla="*/ 2147483647 h 924"/>
                <a:gd name="T54" fmla="*/ 2147483647 w 1056"/>
                <a:gd name="T55" fmla="*/ 2147483647 h 924"/>
                <a:gd name="T56" fmla="*/ 2147483647 w 1056"/>
                <a:gd name="T57" fmla="*/ 2147483647 h 924"/>
                <a:gd name="T58" fmla="*/ 2147483647 w 1056"/>
                <a:gd name="T59" fmla="*/ 2147483647 h 924"/>
                <a:gd name="T60" fmla="*/ 2147483647 w 1056"/>
                <a:gd name="T61" fmla="*/ 2147483647 h 924"/>
                <a:gd name="T62" fmla="*/ 2147483647 w 1056"/>
                <a:gd name="T63" fmla="*/ 2147483647 h 924"/>
                <a:gd name="T64" fmla="*/ 2147483647 w 1056"/>
                <a:gd name="T65" fmla="*/ 2147483647 h 924"/>
                <a:gd name="T66" fmla="*/ 2147483647 w 1056"/>
                <a:gd name="T67" fmla="*/ 2147483647 h 924"/>
                <a:gd name="T68" fmla="*/ 2147483647 w 1056"/>
                <a:gd name="T69" fmla="*/ 2147483647 h 924"/>
                <a:gd name="T70" fmla="*/ 2147483647 w 1056"/>
                <a:gd name="T71" fmla="*/ 2147483647 h 924"/>
                <a:gd name="T72" fmla="*/ 2147483647 w 1056"/>
                <a:gd name="T73" fmla="*/ 0 h 924"/>
                <a:gd name="T74" fmla="*/ 2147483647 w 1056"/>
                <a:gd name="T75" fmla="*/ 2147483647 h 924"/>
                <a:gd name="T76" fmla="*/ 2147483647 w 1056"/>
                <a:gd name="T77" fmla="*/ 2147483647 h 924"/>
                <a:gd name="T78" fmla="*/ 2147483647 w 1056"/>
                <a:gd name="T79" fmla="*/ 2147483647 h 924"/>
                <a:gd name="T80" fmla="*/ 2147483647 w 1056"/>
                <a:gd name="T81" fmla="*/ 2147483647 h 924"/>
                <a:gd name="T82" fmla="*/ 2147483647 w 1056"/>
                <a:gd name="T83" fmla="*/ 2147483647 h 924"/>
                <a:gd name="T84" fmla="*/ 2147483647 w 1056"/>
                <a:gd name="T85" fmla="*/ 2147483647 h 924"/>
                <a:gd name="T86" fmla="*/ 2147483647 w 1056"/>
                <a:gd name="T87" fmla="*/ 2147483647 h 924"/>
                <a:gd name="T88" fmla="*/ 2147483647 w 1056"/>
                <a:gd name="T89" fmla="*/ 2147483647 h 924"/>
                <a:gd name="T90" fmla="*/ 2147483647 w 1056"/>
                <a:gd name="T91" fmla="*/ 2147483647 h 924"/>
                <a:gd name="T92" fmla="*/ 2147483647 w 1056"/>
                <a:gd name="T93" fmla="*/ 2147483647 h 924"/>
                <a:gd name="T94" fmla="*/ 2147483647 w 1056"/>
                <a:gd name="T95" fmla="*/ 2147483647 h 924"/>
                <a:gd name="T96" fmla="*/ 2147483647 w 1056"/>
                <a:gd name="T97" fmla="*/ 2147483647 h 924"/>
                <a:gd name="T98" fmla="*/ 2147483647 w 1056"/>
                <a:gd name="T99" fmla="*/ 2147483647 h 924"/>
                <a:gd name="T100" fmla="*/ 2147483647 w 1056"/>
                <a:gd name="T101" fmla="*/ 2147483647 h 924"/>
                <a:gd name="T102" fmla="*/ 2147483647 w 1056"/>
                <a:gd name="T103" fmla="*/ 2147483647 h 924"/>
                <a:gd name="T104" fmla="*/ 2147483647 w 1056"/>
                <a:gd name="T105" fmla="*/ 2147483647 h 924"/>
                <a:gd name="T106" fmla="*/ 2147483647 w 1056"/>
                <a:gd name="T107" fmla="*/ 2147483647 h 924"/>
                <a:gd name="T108" fmla="*/ 2147483647 w 1056"/>
                <a:gd name="T109" fmla="*/ 2147483647 h 924"/>
                <a:gd name="T110" fmla="*/ 2147483647 w 1056"/>
                <a:gd name="T111" fmla="*/ 2147483647 h 924"/>
                <a:gd name="T112" fmla="*/ 2147483647 w 1056"/>
                <a:gd name="T113" fmla="*/ 2147483647 h 924"/>
                <a:gd name="T114" fmla="*/ 2147483647 w 1056"/>
                <a:gd name="T115" fmla="*/ 2147483647 h 924"/>
                <a:gd name="T116" fmla="*/ 2147483647 w 1056"/>
                <a:gd name="T117" fmla="*/ 2147483647 h 9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56"/>
                <a:gd name="T178" fmla="*/ 0 h 924"/>
                <a:gd name="T179" fmla="*/ 1056 w 1056"/>
                <a:gd name="T180" fmla="*/ 924 h 9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56" h="924">
                  <a:moveTo>
                    <a:pt x="84" y="642"/>
                  </a:moveTo>
                  <a:lnTo>
                    <a:pt x="108" y="642"/>
                  </a:lnTo>
                  <a:lnTo>
                    <a:pt x="114" y="666"/>
                  </a:lnTo>
                  <a:lnTo>
                    <a:pt x="126" y="666"/>
                  </a:lnTo>
                  <a:lnTo>
                    <a:pt x="126" y="702"/>
                  </a:lnTo>
                  <a:lnTo>
                    <a:pt x="138" y="708"/>
                  </a:lnTo>
                  <a:lnTo>
                    <a:pt x="138" y="726"/>
                  </a:lnTo>
                  <a:lnTo>
                    <a:pt x="156" y="762"/>
                  </a:lnTo>
                  <a:lnTo>
                    <a:pt x="168" y="768"/>
                  </a:lnTo>
                  <a:lnTo>
                    <a:pt x="186" y="768"/>
                  </a:lnTo>
                  <a:lnTo>
                    <a:pt x="192" y="774"/>
                  </a:lnTo>
                  <a:lnTo>
                    <a:pt x="198" y="786"/>
                  </a:lnTo>
                  <a:lnTo>
                    <a:pt x="198" y="804"/>
                  </a:lnTo>
                  <a:lnTo>
                    <a:pt x="210" y="840"/>
                  </a:lnTo>
                  <a:lnTo>
                    <a:pt x="282" y="846"/>
                  </a:lnTo>
                  <a:lnTo>
                    <a:pt x="360" y="906"/>
                  </a:lnTo>
                  <a:lnTo>
                    <a:pt x="390" y="906"/>
                  </a:lnTo>
                  <a:lnTo>
                    <a:pt x="402" y="912"/>
                  </a:lnTo>
                  <a:lnTo>
                    <a:pt x="432" y="912"/>
                  </a:lnTo>
                  <a:lnTo>
                    <a:pt x="444" y="918"/>
                  </a:lnTo>
                  <a:lnTo>
                    <a:pt x="450" y="918"/>
                  </a:lnTo>
                  <a:lnTo>
                    <a:pt x="462" y="924"/>
                  </a:lnTo>
                  <a:lnTo>
                    <a:pt x="486" y="906"/>
                  </a:lnTo>
                  <a:lnTo>
                    <a:pt x="486" y="894"/>
                  </a:lnTo>
                  <a:lnTo>
                    <a:pt x="498" y="882"/>
                  </a:lnTo>
                  <a:lnTo>
                    <a:pt x="510" y="882"/>
                  </a:lnTo>
                  <a:lnTo>
                    <a:pt x="522" y="876"/>
                  </a:lnTo>
                  <a:lnTo>
                    <a:pt x="528" y="870"/>
                  </a:lnTo>
                  <a:lnTo>
                    <a:pt x="534" y="870"/>
                  </a:lnTo>
                  <a:lnTo>
                    <a:pt x="552" y="852"/>
                  </a:lnTo>
                  <a:lnTo>
                    <a:pt x="576" y="882"/>
                  </a:lnTo>
                  <a:lnTo>
                    <a:pt x="606" y="882"/>
                  </a:lnTo>
                  <a:lnTo>
                    <a:pt x="612" y="876"/>
                  </a:lnTo>
                  <a:lnTo>
                    <a:pt x="636" y="882"/>
                  </a:lnTo>
                  <a:lnTo>
                    <a:pt x="636" y="876"/>
                  </a:lnTo>
                  <a:lnTo>
                    <a:pt x="648" y="864"/>
                  </a:lnTo>
                  <a:lnTo>
                    <a:pt x="660" y="864"/>
                  </a:lnTo>
                  <a:lnTo>
                    <a:pt x="672" y="858"/>
                  </a:lnTo>
                  <a:lnTo>
                    <a:pt x="696" y="858"/>
                  </a:lnTo>
                  <a:lnTo>
                    <a:pt x="714" y="840"/>
                  </a:lnTo>
                  <a:lnTo>
                    <a:pt x="714" y="828"/>
                  </a:lnTo>
                  <a:lnTo>
                    <a:pt x="726" y="822"/>
                  </a:lnTo>
                  <a:lnTo>
                    <a:pt x="732" y="816"/>
                  </a:lnTo>
                  <a:lnTo>
                    <a:pt x="744" y="810"/>
                  </a:lnTo>
                  <a:lnTo>
                    <a:pt x="756" y="810"/>
                  </a:lnTo>
                  <a:lnTo>
                    <a:pt x="762" y="804"/>
                  </a:lnTo>
                  <a:lnTo>
                    <a:pt x="846" y="804"/>
                  </a:lnTo>
                  <a:lnTo>
                    <a:pt x="1056" y="558"/>
                  </a:lnTo>
                  <a:lnTo>
                    <a:pt x="984" y="564"/>
                  </a:lnTo>
                  <a:lnTo>
                    <a:pt x="948" y="546"/>
                  </a:lnTo>
                  <a:lnTo>
                    <a:pt x="936" y="534"/>
                  </a:lnTo>
                  <a:lnTo>
                    <a:pt x="918" y="528"/>
                  </a:lnTo>
                  <a:lnTo>
                    <a:pt x="906" y="522"/>
                  </a:lnTo>
                  <a:lnTo>
                    <a:pt x="882" y="516"/>
                  </a:lnTo>
                  <a:lnTo>
                    <a:pt x="810" y="492"/>
                  </a:lnTo>
                  <a:lnTo>
                    <a:pt x="774" y="474"/>
                  </a:lnTo>
                  <a:lnTo>
                    <a:pt x="768" y="462"/>
                  </a:lnTo>
                  <a:lnTo>
                    <a:pt x="762" y="456"/>
                  </a:lnTo>
                  <a:lnTo>
                    <a:pt x="756" y="444"/>
                  </a:lnTo>
                  <a:lnTo>
                    <a:pt x="732" y="444"/>
                  </a:lnTo>
                  <a:lnTo>
                    <a:pt x="732" y="438"/>
                  </a:lnTo>
                  <a:lnTo>
                    <a:pt x="726" y="432"/>
                  </a:lnTo>
                  <a:lnTo>
                    <a:pt x="714" y="408"/>
                  </a:lnTo>
                  <a:lnTo>
                    <a:pt x="708" y="402"/>
                  </a:lnTo>
                  <a:lnTo>
                    <a:pt x="702" y="390"/>
                  </a:lnTo>
                  <a:lnTo>
                    <a:pt x="696" y="384"/>
                  </a:lnTo>
                  <a:lnTo>
                    <a:pt x="690" y="372"/>
                  </a:lnTo>
                  <a:lnTo>
                    <a:pt x="690" y="360"/>
                  </a:lnTo>
                  <a:lnTo>
                    <a:pt x="678" y="348"/>
                  </a:lnTo>
                  <a:lnTo>
                    <a:pt x="696" y="318"/>
                  </a:lnTo>
                  <a:lnTo>
                    <a:pt x="690" y="312"/>
                  </a:lnTo>
                  <a:lnTo>
                    <a:pt x="678" y="306"/>
                  </a:lnTo>
                  <a:lnTo>
                    <a:pt x="666" y="306"/>
                  </a:lnTo>
                  <a:lnTo>
                    <a:pt x="660" y="312"/>
                  </a:lnTo>
                  <a:lnTo>
                    <a:pt x="654" y="312"/>
                  </a:lnTo>
                  <a:lnTo>
                    <a:pt x="648" y="318"/>
                  </a:lnTo>
                  <a:lnTo>
                    <a:pt x="624" y="318"/>
                  </a:lnTo>
                  <a:lnTo>
                    <a:pt x="612" y="306"/>
                  </a:lnTo>
                  <a:lnTo>
                    <a:pt x="612" y="294"/>
                  </a:lnTo>
                  <a:lnTo>
                    <a:pt x="606" y="276"/>
                  </a:lnTo>
                  <a:lnTo>
                    <a:pt x="606" y="264"/>
                  </a:lnTo>
                  <a:lnTo>
                    <a:pt x="624" y="246"/>
                  </a:lnTo>
                  <a:lnTo>
                    <a:pt x="654" y="192"/>
                  </a:lnTo>
                  <a:lnTo>
                    <a:pt x="642" y="174"/>
                  </a:lnTo>
                  <a:lnTo>
                    <a:pt x="630" y="174"/>
                  </a:lnTo>
                  <a:lnTo>
                    <a:pt x="618" y="168"/>
                  </a:lnTo>
                  <a:lnTo>
                    <a:pt x="612" y="162"/>
                  </a:lnTo>
                  <a:lnTo>
                    <a:pt x="612" y="138"/>
                  </a:lnTo>
                  <a:lnTo>
                    <a:pt x="600" y="126"/>
                  </a:lnTo>
                  <a:lnTo>
                    <a:pt x="576" y="114"/>
                  </a:lnTo>
                  <a:lnTo>
                    <a:pt x="570" y="108"/>
                  </a:lnTo>
                  <a:lnTo>
                    <a:pt x="546" y="72"/>
                  </a:lnTo>
                  <a:lnTo>
                    <a:pt x="534" y="66"/>
                  </a:lnTo>
                  <a:lnTo>
                    <a:pt x="528" y="60"/>
                  </a:lnTo>
                  <a:lnTo>
                    <a:pt x="516" y="60"/>
                  </a:lnTo>
                  <a:lnTo>
                    <a:pt x="498" y="36"/>
                  </a:lnTo>
                  <a:lnTo>
                    <a:pt x="468" y="36"/>
                  </a:lnTo>
                  <a:lnTo>
                    <a:pt x="462" y="30"/>
                  </a:lnTo>
                  <a:lnTo>
                    <a:pt x="444" y="30"/>
                  </a:lnTo>
                  <a:lnTo>
                    <a:pt x="432" y="36"/>
                  </a:lnTo>
                  <a:lnTo>
                    <a:pt x="420" y="36"/>
                  </a:lnTo>
                  <a:lnTo>
                    <a:pt x="420" y="24"/>
                  </a:lnTo>
                  <a:lnTo>
                    <a:pt x="414" y="18"/>
                  </a:lnTo>
                  <a:lnTo>
                    <a:pt x="408" y="24"/>
                  </a:lnTo>
                  <a:lnTo>
                    <a:pt x="402" y="36"/>
                  </a:lnTo>
                  <a:lnTo>
                    <a:pt x="372" y="36"/>
                  </a:lnTo>
                  <a:lnTo>
                    <a:pt x="366" y="24"/>
                  </a:lnTo>
                  <a:lnTo>
                    <a:pt x="360" y="18"/>
                  </a:lnTo>
                  <a:lnTo>
                    <a:pt x="354" y="18"/>
                  </a:lnTo>
                  <a:lnTo>
                    <a:pt x="342" y="6"/>
                  </a:lnTo>
                  <a:lnTo>
                    <a:pt x="330" y="0"/>
                  </a:lnTo>
                  <a:lnTo>
                    <a:pt x="330" y="12"/>
                  </a:lnTo>
                  <a:lnTo>
                    <a:pt x="324" y="24"/>
                  </a:lnTo>
                  <a:lnTo>
                    <a:pt x="318" y="42"/>
                  </a:lnTo>
                  <a:lnTo>
                    <a:pt x="318" y="54"/>
                  </a:lnTo>
                  <a:lnTo>
                    <a:pt x="306" y="66"/>
                  </a:lnTo>
                  <a:lnTo>
                    <a:pt x="288" y="48"/>
                  </a:lnTo>
                  <a:lnTo>
                    <a:pt x="288" y="42"/>
                  </a:lnTo>
                  <a:lnTo>
                    <a:pt x="282" y="36"/>
                  </a:lnTo>
                  <a:lnTo>
                    <a:pt x="276" y="36"/>
                  </a:lnTo>
                  <a:lnTo>
                    <a:pt x="276" y="42"/>
                  </a:lnTo>
                  <a:lnTo>
                    <a:pt x="270" y="48"/>
                  </a:lnTo>
                  <a:lnTo>
                    <a:pt x="234" y="48"/>
                  </a:lnTo>
                  <a:lnTo>
                    <a:pt x="234" y="90"/>
                  </a:lnTo>
                  <a:lnTo>
                    <a:pt x="228" y="96"/>
                  </a:lnTo>
                  <a:lnTo>
                    <a:pt x="222" y="108"/>
                  </a:lnTo>
                  <a:lnTo>
                    <a:pt x="216" y="114"/>
                  </a:lnTo>
                  <a:lnTo>
                    <a:pt x="210" y="126"/>
                  </a:lnTo>
                  <a:lnTo>
                    <a:pt x="210" y="174"/>
                  </a:lnTo>
                  <a:lnTo>
                    <a:pt x="180" y="174"/>
                  </a:lnTo>
                  <a:lnTo>
                    <a:pt x="174" y="180"/>
                  </a:lnTo>
                  <a:lnTo>
                    <a:pt x="168" y="192"/>
                  </a:lnTo>
                  <a:lnTo>
                    <a:pt x="162" y="198"/>
                  </a:lnTo>
                  <a:lnTo>
                    <a:pt x="162" y="234"/>
                  </a:lnTo>
                  <a:lnTo>
                    <a:pt x="156" y="240"/>
                  </a:lnTo>
                  <a:lnTo>
                    <a:pt x="144" y="240"/>
                  </a:lnTo>
                  <a:lnTo>
                    <a:pt x="138" y="246"/>
                  </a:lnTo>
                  <a:lnTo>
                    <a:pt x="138" y="270"/>
                  </a:lnTo>
                  <a:lnTo>
                    <a:pt x="126" y="288"/>
                  </a:lnTo>
                  <a:lnTo>
                    <a:pt x="126" y="294"/>
                  </a:lnTo>
                  <a:lnTo>
                    <a:pt x="132" y="300"/>
                  </a:lnTo>
                  <a:lnTo>
                    <a:pt x="132" y="336"/>
                  </a:lnTo>
                  <a:lnTo>
                    <a:pt x="126" y="342"/>
                  </a:lnTo>
                  <a:lnTo>
                    <a:pt x="114" y="342"/>
                  </a:lnTo>
                  <a:lnTo>
                    <a:pt x="108" y="336"/>
                  </a:lnTo>
                  <a:lnTo>
                    <a:pt x="108" y="324"/>
                  </a:lnTo>
                  <a:lnTo>
                    <a:pt x="102" y="324"/>
                  </a:lnTo>
                  <a:lnTo>
                    <a:pt x="84" y="342"/>
                  </a:lnTo>
                  <a:lnTo>
                    <a:pt x="84" y="360"/>
                  </a:lnTo>
                  <a:lnTo>
                    <a:pt x="90" y="372"/>
                  </a:lnTo>
                  <a:lnTo>
                    <a:pt x="90" y="390"/>
                  </a:lnTo>
                  <a:lnTo>
                    <a:pt x="84" y="396"/>
                  </a:lnTo>
                  <a:lnTo>
                    <a:pt x="72" y="402"/>
                  </a:lnTo>
                  <a:lnTo>
                    <a:pt x="66" y="414"/>
                  </a:lnTo>
                  <a:lnTo>
                    <a:pt x="66" y="426"/>
                  </a:lnTo>
                  <a:lnTo>
                    <a:pt x="72" y="438"/>
                  </a:lnTo>
                  <a:lnTo>
                    <a:pt x="72" y="450"/>
                  </a:lnTo>
                  <a:lnTo>
                    <a:pt x="78" y="456"/>
                  </a:lnTo>
                  <a:lnTo>
                    <a:pt x="78" y="492"/>
                  </a:lnTo>
                  <a:lnTo>
                    <a:pt x="72" y="504"/>
                  </a:lnTo>
                  <a:lnTo>
                    <a:pt x="72" y="516"/>
                  </a:lnTo>
                  <a:lnTo>
                    <a:pt x="66" y="522"/>
                  </a:lnTo>
                  <a:lnTo>
                    <a:pt x="54" y="522"/>
                  </a:lnTo>
                  <a:lnTo>
                    <a:pt x="48" y="528"/>
                  </a:lnTo>
                  <a:lnTo>
                    <a:pt x="42" y="522"/>
                  </a:lnTo>
                  <a:lnTo>
                    <a:pt x="6" y="522"/>
                  </a:lnTo>
                  <a:lnTo>
                    <a:pt x="12" y="546"/>
                  </a:lnTo>
                  <a:lnTo>
                    <a:pt x="6" y="552"/>
                  </a:lnTo>
                  <a:lnTo>
                    <a:pt x="0" y="564"/>
                  </a:lnTo>
                  <a:lnTo>
                    <a:pt x="0" y="576"/>
                  </a:lnTo>
                  <a:lnTo>
                    <a:pt x="6" y="576"/>
                  </a:lnTo>
                  <a:lnTo>
                    <a:pt x="18" y="582"/>
                  </a:lnTo>
                  <a:lnTo>
                    <a:pt x="42" y="582"/>
                  </a:lnTo>
                  <a:lnTo>
                    <a:pt x="48" y="588"/>
                  </a:lnTo>
                  <a:lnTo>
                    <a:pt x="60" y="594"/>
                  </a:lnTo>
                  <a:lnTo>
                    <a:pt x="66" y="606"/>
                  </a:lnTo>
                  <a:lnTo>
                    <a:pt x="78" y="612"/>
                  </a:lnTo>
                  <a:lnTo>
                    <a:pt x="78" y="630"/>
                  </a:lnTo>
                  <a:lnTo>
                    <a:pt x="84" y="642"/>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94" name="Ägypten" descr="© INSCALE GmbH, 05.05.2010&#10;http://www.presentationload.com/">
              <a:extLst>
                <a:ext uri="{FF2B5EF4-FFF2-40B4-BE49-F238E27FC236}">
                  <a16:creationId xmlns:a16="http://schemas.microsoft.com/office/drawing/2014/main" id="{715FABFC-78D3-4304-AE3B-94F1E5281BA3}"/>
                </a:ext>
              </a:extLst>
            </p:cNvPr>
            <p:cNvSpPr>
              <a:spLocks/>
            </p:cNvSpPr>
            <p:nvPr/>
          </p:nvSpPr>
          <p:spPr bwMode="gray">
            <a:xfrm>
              <a:off x="4809881" y="3238119"/>
              <a:ext cx="313605" cy="319877"/>
            </a:xfrm>
            <a:custGeom>
              <a:avLst/>
              <a:gdLst>
                <a:gd name="T0" fmla="*/ 2147483647 w 792"/>
                <a:gd name="T1" fmla="*/ 2147483647 h 804"/>
                <a:gd name="T2" fmla="*/ 2147483647 w 792"/>
                <a:gd name="T3" fmla="*/ 2147483647 h 804"/>
                <a:gd name="T4" fmla="*/ 2147483647 w 792"/>
                <a:gd name="T5" fmla="*/ 2147483647 h 804"/>
                <a:gd name="T6" fmla="*/ 2147483647 w 792"/>
                <a:gd name="T7" fmla="*/ 2147483647 h 804"/>
                <a:gd name="T8" fmla="*/ 2147483647 w 792"/>
                <a:gd name="T9" fmla="*/ 2147483647 h 804"/>
                <a:gd name="T10" fmla="*/ 2147483647 w 792"/>
                <a:gd name="T11" fmla="*/ 2147483647 h 804"/>
                <a:gd name="T12" fmla="*/ 2147483647 w 792"/>
                <a:gd name="T13" fmla="*/ 2147483647 h 804"/>
                <a:gd name="T14" fmla="*/ 2147483647 w 792"/>
                <a:gd name="T15" fmla="*/ 2147483647 h 804"/>
                <a:gd name="T16" fmla="*/ 2147483647 w 792"/>
                <a:gd name="T17" fmla="*/ 2147483647 h 804"/>
                <a:gd name="T18" fmla="*/ 2147483647 w 792"/>
                <a:gd name="T19" fmla="*/ 2147483647 h 804"/>
                <a:gd name="T20" fmla="*/ 2147483647 w 792"/>
                <a:gd name="T21" fmla="*/ 2147483647 h 804"/>
                <a:gd name="T22" fmla="*/ 2147483647 w 792"/>
                <a:gd name="T23" fmla="*/ 2147483647 h 804"/>
                <a:gd name="T24" fmla="*/ 2147483647 w 792"/>
                <a:gd name="T25" fmla="*/ 2147483647 h 804"/>
                <a:gd name="T26" fmla="*/ 2147483647 w 792"/>
                <a:gd name="T27" fmla="*/ 2147483647 h 804"/>
                <a:gd name="T28" fmla="*/ 2147483647 w 792"/>
                <a:gd name="T29" fmla="*/ 2147483647 h 804"/>
                <a:gd name="T30" fmla="*/ 2147483647 w 792"/>
                <a:gd name="T31" fmla="*/ 2147483647 h 804"/>
                <a:gd name="T32" fmla="*/ 2147483647 w 792"/>
                <a:gd name="T33" fmla="*/ 2147483647 h 804"/>
                <a:gd name="T34" fmla="*/ 2147483647 w 792"/>
                <a:gd name="T35" fmla="*/ 2147483647 h 804"/>
                <a:gd name="T36" fmla="*/ 2147483647 w 792"/>
                <a:gd name="T37" fmla="*/ 2147483647 h 804"/>
                <a:gd name="T38" fmla="*/ 2147483647 w 792"/>
                <a:gd name="T39" fmla="*/ 2147483647 h 804"/>
                <a:gd name="T40" fmla="*/ 2147483647 w 792"/>
                <a:gd name="T41" fmla="*/ 2147483647 h 804"/>
                <a:gd name="T42" fmla="*/ 2147483647 w 792"/>
                <a:gd name="T43" fmla="*/ 2147483647 h 804"/>
                <a:gd name="T44" fmla="*/ 2147483647 w 792"/>
                <a:gd name="T45" fmla="*/ 2147483647 h 804"/>
                <a:gd name="T46" fmla="*/ 2147483647 w 792"/>
                <a:gd name="T47" fmla="*/ 2147483647 h 804"/>
                <a:gd name="T48" fmla="*/ 2147483647 w 792"/>
                <a:gd name="T49" fmla="*/ 2147483647 h 804"/>
                <a:gd name="T50" fmla="*/ 2147483647 w 792"/>
                <a:gd name="T51" fmla="*/ 2147483647 h 804"/>
                <a:gd name="T52" fmla="*/ 2147483647 w 792"/>
                <a:gd name="T53" fmla="*/ 2147483647 h 804"/>
                <a:gd name="T54" fmla="*/ 2147483647 w 792"/>
                <a:gd name="T55" fmla="*/ 2147483647 h 804"/>
                <a:gd name="T56" fmla="*/ 2147483647 w 792"/>
                <a:gd name="T57" fmla="*/ 2147483647 h 804"/>
                <a:gd name="T58" fmla="*/ 2147483647 w 792"/>
                <a:gd name="T59" fmla="*/ 2147483647 h 804"/>
                <a:gd name="T60" fmla="*/ 2147483647 w 792"/>
                <a:gd name="T61" fmla="*/ 2147483647 h 804"/>
                <a:gd name="T62" fmla="*/ 2147483647 w 792"/>
                <a:gd name="T63" fmla="*/ 2147483647 h 804"/>
                <a:gd name="T64" fmla="*/ 2147483647 w 792"/>
                <a:gd name="T65" fmla="*/ 2147483647 h 804"/>
                <a:gd name="T66" fmla="*/ 2147483647 w 792"/>
                <a:gd name="T67" fmla="*/ 2147483647 h 804"/>
                <a:gd name="T68" fmla="*/ 2147483647 w 792"/>
                <a:gd name="T69" fmla="*/ 2147483647 h 804"/>
                <a:gd name="T70" fmla="*/ 2147483647 w 792"/>
                <a:gd name="T71" fmla="*/ 2147483647 h 804"/>
                <a:gd name="T72" fmla="*/ 2147483647 w 792"/>
                <a:gd name="T73" fmla="*/ 2147483647 h 804"/>
                <a:gd name="T74" fmla="*/ 2147483647 w 792"/>
                <a:gd name="T75" fmla="*/ 2147483647 h 804"/>
                <a:gd name="T76" fmla="*/ 2147483647 w 792"/>
                <a:gd name="T77" fmla="*/ 2147483647 h 804"/>
                <a:gd name="T78" fmla="*/ 2147483647 w 792"/>
                <a:gd name="T79" fmla="*/ 2147483647 h 804"/>
                <a:gd name="T80" fmla="*/ 2147483647 w 792"/>
                <a:gd name="T81" fmla="*/ 2147483647 h 804"/>
                <a:gd name="T82" fmla="*/ 2147483647 w 792"/>
                <a:gd name="T83" fmla="*/ 2147483647 h 804"/>
                <a:gd name="T84" fmla="*/ 2147483647 w 792"/>
                <a:gd name="T85" fmla="*/ 2147483647 h 804"/>
                <a:gd name="T86" fmla="*/ 2147483647 w 792"/>
                <a:gd name="T87" fmla="*/ 2147483647 h 804"/>
                <a:gd name="T88" fmla="*/ 2147483647 w 792"/>
                <a:gd name="T89" fmla="*/ 2147483647 h 804"/>
                <a:gd name="T90" fmla="*/ 2147483647 w 792"/>
                <a:gd name="T91" fmla="*/ 0 h 804"/>
                <a:gd name="T92" fmla="*/ 2147483647 w 792"/>
                <a:gd name="T93" fmla="*/ 2147483647 h 804"/>
                <a:gd name="T94" fmla="*/ 2147483647 w 792"/>
                <a:gd name="T95" fmla="*/ 0 h 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2"/>
                <a:gd name="T145" fmla="*/ 0 h 804"/>
                <a:gd name="T146" fmla="*/ 792 w 792"/>
                <a:gd name="T147" fmla="*/ 804 h 8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92" h="804">
                  <a:moveTo>
                    <a:pt x="12" y="18"/>
                  </a:moveTo>
                  <a:lnTo>
                    <a:pt x="6" y="24"/>
                  </a:lnTo>
                  <a:lnTo>
                    <a:pt x="6" y="54"/>
                  </a:lnTo>
                  <a:lnTo>
                    <a:pt x="18" y="60"/>
                  </a:lnTo>
                  <a:lnTo>
                    <a:pt x="24" y="72"/>
                  </a:lnTo>
                  <a:lnTo>
                    <a:pt x="24" y="78"/>
                  </a:lnTo>
                  <a:lnTo>
                    <a:pt x="18" y="84"/>
                  </a:lnTo>
                  <a:lnTo>
                    <a:pt x="12" y="96"/>
                  </a:lnTo>
                  <a:lnTo>
                    <a:pt x="6" y="102"/>
                  </a:lnTo>
                  <a:lnTo>
                    <a:pt x="0" y="114"/>
                  </a:lnTo>
                  <a:lnTo>
                    <a:pt x="0" y="120"/>
                  </a:lnTo>
                  <a:lnTo>
                    <a:pt x="6" y="132"/>
                  </a:lnTo>
                  <a:lnTo>
                    <a:pt x="18" y="144"/>
                  </a:lnTo>
                  <a:lnTo>
                    <a:pt x="30" y="180"/>
                  </a:lnTo>
                  <a:lnTo>
                    <a:pt x="30" y="264"/>
                  </a:lnTo>
                  <a:lnTo>
                    <a:pt x="36" y="342"/>
                  </a:lnTo>
                  <a:lnTo>
                    <a:pt x="36" y="438"/>
                  </a:lnTo>
                  <a:lnTo>
                    <a:pt x="42" y="534"/>
                  </a:lnTo>
                  <a:lnTo>
                    <a:pt x="42" y="624"/>
                  </a:lnTo>
                  <a:lnTo>
                    <a:pt x="48" y="702"/>
                  </a:lnTo>
                  <a:lnTo>
                    <a:pt x="48" y="774"/>
                  </a:lnTo>
                  <a:lnTo>
                    <a:pt x="474" y="780"/>
                  </a:lnTo>
                  <a:lnTo>
                    <a:pt x="492" y="762"/>
                  </a:lnTo>
                  <a:lnTo>
                    <a:pt x="498" y="762"/>
                  </a:lnTo>
                  <a:lnTo>
                    <a:pt x="498" y="774"/>
                  </a:lnTo>
                  <a:lnTo>
                    <a:pt x="618" y="780"/>
                  </a:lnTo>
                  <a:lnTo>
                    <a:pt x="624" y="786"/>
                  </a:lnTo>
                  <a:lnTo>
                    <a:pt x="630" y="798"/>
                  </a:lnTo>
                  <a:lnTo>
                    <a:pt x="636" y="804"/>
                  </a:lnTo>
                  <a:lnTo>
                    <a:pt x="654" y="804"/>
                  </a:lnTo>
                  <a:lnTo>
                    <a:pt x="660" y="798"/>
                  </a:lnTo>
                  <a:lnTo>
                    <a:pt x="672" y="774"/>
                  </a:lnTo>
                  <a:lnTo>
                    <a:pt x="684" y="762"/>
                  </a:lnTo>
                  <a:lnTo>
                    <a:pt x="696" y="762"/>
                  </a:lnTo>
                  <a:lnTo>
                    <a:pt x="702" y="756"/>
                  </a:lnTo>
                  <a:lnTo>
                    <a:pt x="720" y="756"/>
                  </a:lnTo>
                  <a:lnTo>
                    <a:pt x="726" y="750"/>
                  </a:lnTo>
                  <a:lnTo>
                    <a:pt x="732" y="738"/>
                  </a:lnTo>
                  <a:lnTo>
                    <a:pt x="732" y="714"/>
                  </a:lnTo>
                  <a:lnTo>
                    <a:pt x="762" y="714"/>
                  </a:lnTo>
                  <a:lnTo>
                    <a:pt x="786" y="690"/>
                  </a:lnTo>
                  <a:lnTo>
                    <a:pt x="780" y="684"/>
                  </a:lnTo>
                  <a:lnTo>
                    <a:pt x="774" y="672"/>
                  </a:lnTo>
                  <a:lnTo>
                    <a:pt x="774" y="624"/>
                  </a:lnTo>
                  <a:lnTo>
                    <a:pt x="792" y="618"/>
                  </a:lnTo>
                  <a:lnTo>
                    <a:pt x="786" y="618"/>
                  </a:lnTo>
                  <a:lnTo>
                    <a:pt x="756" y="588"/>
                  </a:lnTo>
                  <a:lnTo>
                    <a:pt x="732" y="552"/>
                  </a:lnTo>
                  <a:lnTo>
                    <a:pt x="726" y="528"/>
                  </a:lnTo>
                  <a:lnTo>
                    <a:pt x="714" y="492"/>
                  </a:lnTo>
                  <a:lnTo>
                    <a:pt x="702" y="468"/>
                  </a:lnTo>
                  <a:lnTo>
                    <a:pt x="690" y="462"/>
                  </a:lnTo>
                  <a:lnTo>
                    <a:pt x="684" y="450"/>
                  </a:lnTo>
                  <a:lnTo>
                    <a:pt x="672" y="444"/>
                  </a:lnTo>
                  <a:lnTo>
                    <a:pt x="666" y="432"/>
                  </a:lnTo>
                  <a:lnTo>
                    <a:pt x="654" y="396"/>
                  </a:lnTo>
                  <a:lnTo>
                    <a:pt x="654" y="378"/>
                  </a:lnTo>
                  <a:lnTo>
                    <a:pt x="618" y="336"/>
                  </a:lnTo>
                  <a:lnTo>
                    <a:pt x="618" y="318"/>
                  </a:lnTo>
                  <a:lnTo>
                    <a:pt x="606" y="294"/>
                  </a:lnTo>
                  <a:lnTo>
                    <a:pt x="594" y="282"/>
                  </a:lnTo>
                  <a:lnTo>
                    <a:pt x="588" y="270"/>
                  </a:lnTo>
                  <a:lnTo>
                    <a:pt x="576" y="258"/>
                  </a:lnTo>
                  <a:lnTo>
                    <a:pt x="570" y="246"/>
                  </a:lnTo>
                  <a:lnTo>
                    <a:pt x="558" y="234"/>
                  </a:lnTo>
                  <a:lnTo>
                    <a:pt x="552" y="222"/>
                  </a:lnTo>
                  <a:lnTo>
                    <a:pt x="546" y="216"/>
                  </a:lnTo>
                  <a:lnTo>
                    <a:pt x="552" y="210"/>
                  </a:lnTo>
                  <a:lnTo>
                    <a:pt x="552" y="198"/>
                  </a:lnTo>
                  <a:lnTo>
                    <a:pt x="540" y="174"/>
                  </a:lnTo>
                  <a:lnTo>
                    <a:pt x="528" y="168"/>
                  </a:lnTo>
                  <a:lnTo>
                    <a:pt x="522" y="168"/>
                  </a:lnTo>
                  <a:lnTo>
                    <a:pt x="540" y="144"/>
                  </a:lnTo>
                  <a:lnTo>
                    <a:pt x="558" y="156"/>
                  </a:lnTo>
                  <a:lnTo>
                    <a:pt x="558" y="174"/>
                  </a:lnTo>
                  <a:lnTo>
                    <a:pt x="564" y="186"/>
                  </a:lnTo>
                  <a:lnTo>
                    <a:pt x="576" y="198"/>
                  </a:lnTo>
                  <a:lnTo>
                    <a:pt x="582" y="210"/>
                  </a:lnTo>
                  <a:lnTo>
                    <a:pt x="588" y="216"/>
                  </a:lnTo>
                  <a:lnTo>
                    <a:pt x="588" y="246"/>
                  </a:lnTo>
                  <a:lnTo>
                    <a:pt x="606" y="264"/>
                  </a:lnTo>
                  <a:lnTo>
                    <a:pt x="612" y="276"/>
                  </a:lnTo>
                  <a:lnTo>
                    <a:pt x="636" y="300"/>
                  </a:lnTo>
                  <a:lnTo>
                    <a:pt x="648" y="306"/>
                  </a:lnTo>
                  <a:lnTo>
                    <a:pt x="654" y="306"/>
                  </a:lnTo>
                  <a:lnTo>
                    <a:pt x="666" y="300"/>
                  </a:lnTo>
                  <a:lnTo>
                    <a:pt x="678" y="288"/>
                  </a:lnTo>
                  <a:lnTo>
                    <a:pt x="672" y="270"/>
                  </a:lnTo>
                  <a:lnTo>
                    <a:pt x="684" y="246"/>
                  </a:lnTo>
                  <a:lnTo>
                    <a:pt x="684" y="234"/>
                  </a:lnTo>
                  <a:lnTo>
                    <a:pt x="690" y="222"/>
                  </a:lnTo>
                  <a:lnTo>
                    <a:pt x="690" y="198"/>
                  </a:lnTo>
                  <a:lnTo>
                    <a:pt x="696" y="186"/>
                  </a:lnTo>
                  <a:lnTo>
                    <a:pt x="696" y="180"/>
                  </a:lnTo>
                  <a:lnTo>
                    <a:pt x="702" y="168"/>
                  </a:lnTo>
                  <a:lnTo>
                    <a:pt x="648" y="24"/>
                  </a:lnTo>
                  <a:lnTo>
                    <a:pt x="642" y="24"/>
                  </a:lnTo>
                  <a:lnTo>
                    <a:pt x="636" y="30"/>
                  </a:lnTo>
                  <a:lnTo>
                    <a:pt x="624" y="30"/>
                  </a:lnTo>
                  <a:lnTo>
                    <a:pt x="600" y="42"/>
                  </a:lnTo>
                  <a:lnTo>
                    <a:pt x="576" y="42"/>
                  </a:lnTo>
                  <a:lnTo>
                    <a:pt x="564" y="36"/>
                  </a:lnTo>
                  <a:lnTo>
                    <a:pt x="558" y="30"/>
                  </a:lnTo>
                  <a:lnTo>
                    <a:pt x="552" y="36"/>
                  </a:lnTo>
                  <a:lnTo>
                    <a:pt x="540" y="42"/>
                  </a:lnTo>
                  <a:lnTo>
                    <a:pt x="534" y="42"/>
                  </a:lnTo>
                  <a:lnTo>
                    <a:pt x="510" y="30"/>
                  </a:lnTo>
                  <a:lnTo>
                    <a:pt x="504" y="24"/>
                  </a:lnTo>
                  <a:lnTo>
                    <a:pt x="504" y="18"/>
                  </a:lnTo>
                  <a:lnTo>
                    <a:pt x="498" y="12"/>
                  </a:lnTo>
                  <a:lnTo>
                    <a:pt x="486" y="6"/>
                  </a:lnTo>
                  <a:lnTo>
                    <a:pt x="468" y="6"/>
                  </a:lnTo>
                  <a:lnTo>
                    <a:pt x="456" y="12"/>
                  </a:lnTo>
                  <a:lnTo>
                    <a:pt x="438" y="12"/>
                  </a:lnTo>
                  <a:lnTo>
                    <a:pt x="432" y="18"/>
                  </a:lnTo>
                  <a:lnTo>
                    <a:pt x="420" y="18"/>
                  </a:lnTo>
                  <a:lnTo>
                    <a:pt x="414" y="12"/>
                  </a:lnTo>
                  <a:lnTo>
                    <a:pt x="390" y="12"/>
                  </a:lnTo>
                  <a:lnTo>
                    <a:pt x="378" y="18"/>
                  </a:lnTo>
                  <a:lnTo>
                    <a:pt x="372" y="24"/>
                  </a:lnTo>
                  <a:lnTo>
                    <a:pt x="366" y="36"/>
                  </a:lnTo>
                  <a:lnTo>
                    <a:pt x="360" y="42"/>
                  </a:lnTo>
                  <a:lnTo>
                    <a:pt x="336" y="42"/>
                  </a:lnTo>
                  <a:lnTo>
                    <a:pt x="324" y="54"/>
                  </a:lnTo>
                  <a:lnTo>
                    <a:pt x="312" y="60"/>
                  </a:lnTo>
                  <a:lnTo>
                    <a:pt x="306" y="60"/>
                  </a:lnTo>
                  <a:lnTo>
                    <a:pt x="300" y="54"/>
                  </a:lnTo>
                  <a:lnTo>
                    <a:pt x="288" y="54"/>
                  </a:lnTo>
                  <a:lnTo>
                    <a:pt x="276" y="48"/>
                  </a:lnTo>
                  <a:lnTo>
                    <a:pt x="264" y="48"/>
                  </a:lnTo>
                  <a:lnTo>
                    <a:pt x="258" y="42"/>
                  </a:lnTo>
                  <a:lnTo>
                    <a:pt x="204" y="42"/>
                  </a:lnTo>
                  <a:lnTo>
                    <a:pt x="198" y="36"/>
                  </a:lnTo>
                  <a:lnTo>
                    <a:pt x="186" y="30"/>
                  </a:lnTo>
                  <a:lnTo>
                    <a:pt x="174" y="18"/>
                  </a:lnTo>
                  <a:lnTo>
                    <a:pt x="126" y="18"/>
                  </a:lnTo>
                  <a:lnTo>
                    <a:pt x="120" y="12"/>
                  </a:lnTo>
                  <a:lnTo>
                    <a:pt x="96" y="0"/>
                  </a:lnTo>
                  <a:lnTo>
                    <a:pt x="78" y="0"/>
                  </a:lnTo>
                  <a:lnTo>
                    <a:pt x="66" y="12"/>
                  </a:lnTo>
                  <a:lnTo>
                    <a:pt x="54" y="12"/>
                  </a:lnTo>
                  <a:lnTo>
                    <a:pt x="42" y="6"/>
                  </a:lnTo>
                  <a:lnTo>
                    <a:pt x="36" y="6"/>
                  </a:lnTo>
                  <a:lnTo>
                    <a:pt x="36" y="0"/>
                  </a:lnTo>
                  <a:lnTo>
                    <a:pt x="30" y="0"/>
                  </a:lnTo>
                  <a:lnTo>
                    <a:pt x="12" y="18"/>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95" name="Azerbaijan" descr="© INSCALE GmbH, 05.05.2010&#10;http://www.presentationload.com/">
              <a:extLst>
                <a:ext uri="{FF2B5EF4-FFF2-40B4-BE49-F238E27FC236}">
                  <a16:creationId xmlns:a16="http://schemas.microsoft.com/office/drawing/2014/main" id="{3A41EE99-7351-4D20-82B0-18F253750FBA}"/>
                </a:ext>
              </a:extLst>
            </p:cNvPr>
            <p:cNvSpPr>
              <a:spLocks noEditPoints="1"/>
            </p:cNvSpPr>
            <p:nvPr/>
          </p:nvSpPr>
          <p:spPr bwMode="gray">
            <a:xfrm>
              <a:off x="5319488" y="2910401"/>
              <a:ext cx="144258" cy="116034"/>
            </a:xfrm>
            <a:custGeom>
              <a:avLst/>
              <a:gdLst>
                <a:gd name="T0" fmla="*/ 2147483647 w 360"/>
                <a:gd name="T1" fmla="*/ 2147483647 h 288"/>
                <a:gd name="T2" fmla="*/ 2147483647 w 360"/>
                <a:gd name="T3" fmla="*/ 2147483647 h 288"/>
                <a:gd name="T4" fmla="*/ 2147483647 w 360"/>
                <a:gd name="T5" fmla="*/ 2147483647 h 288"/>
                <a:gd name="T6" fmla="*/ 2147483647 w 360"/>
                <a:gd name="T7" fmla="*/ 2147483647 h 288"/>
                <a:gd name="T8" fmla="*/ 2147483647 w 360"/>
                <a:gd name="T9" fmla="*/ 2147483647 h 288"/>
                <a:gd name="T10" fmla="*/ 2147483647 w 360"/>
                <a:gd name="T11" fmla="*/ 2147483647 h 288"/>
                <a:gd name="T12" fmla="*/ 2147483647 w 360"/>
                <a:gd name="T13" fmla="*/ 2147483647 h 288"/>
                <a:gd name="T14" fmla="*/ 2147483647 w 360"/>
                <a:gd name="T15" fmla="*/ 2147483647 h 288"/>
                <a:gd name="T16" fmla="*/ 2147483647 w 360"/>
                <a:gd name="T17" fmla="*/ 2147483647 h 288"/>
                <a:gd name="T18" fmla="*/ 2147483647 w 360"/>
                <a:gd name="T19" fmla="*/ 2147483647 h 288"/>
                <a:gd name="T20" fmla="*/ 2147483647 w 360"/>
                <a:gd name="T21" fmla="*/ 2147483647 h 288"/>
                <a:gd name="T22" fmla="*/ 2147483647 w 360"/>
                <a:gd name="T23" fmla="*/ 2147483647 h 288"/>
                <a:gd name="T24" fmla="*/ 2147483647 w 360"/>
                <a:gd name="T25" fmla="*/ 2147483647 h 288"/>
                <a:gd name="T26" fmla="*/ 2147483647 w 360"/>
                <a:gd name="T27" fmla="*/ 0 h 288"/>
                <a:gd name="T28" fmla="*/ 2147483647 w 360"/>
                <a:gd name="T29" fmla="*/ 2147483647 h 288"/>
                <a:gd name="T30" fmla="*/ 2147483647 w 360"/>
                <a:gd name="T31" fmla="*/ 2147483647 h 288"/>
                <a:gd name="T32" fmla="*/ 2147483647 w 360"/>
                <a:gd name="T33" fmla="*/ 2147483647 h 288"/>
                <a:gd name="T34" fmla="*/ 2147483647 w 360"/>
                <a:gd name="T35" fmla="*/ 2147483647 h 288"/>
                <a:gd name="T36" fmla="*/ 2147483647 w 360"/>
                <a:gd name="T37" fmla="*/ 2147483647 h 288"/>
                <a:gd name="T38" fmla="*/ 2147483647 w 360"/>
                <a:gd name="T39" fmla="*/ 0 h 288"/>
                <a:gd name="T40" fmla="*/ 2147483647 w 360"/>
                <a:gd name="T41" fmla="*/ 2147483647 h 288"/>
                <a:gd name="T42" fmla="*/ 2147483647 w 360"/>
                <a:gd name="T43" fmla="*/ 2147483647 h 288"/>
                <a:gd name="T44" fmla="*/ 2147483647 w 360"/>
                <a:gd name="T45" fmla="*/ 2147483647 h 288"/>
                <a:gd name="T46" fmla="*/ 2147483647 w 360"/>
                <a:gd name="T47" fmla="*/ 2147483647 h 288"/>
                <a:gd name="T48" fmla="*/ 2147483647 w 360"/>
                <a:gd name="T49" fmla="*/ 2147483647 h 288"/>
                <a:gd name="T50" fmla="*/ 2147483647 w 360"/>
                <a:gd name="T51" fmla="*/ 2147483647 h 288"/>
                <a:gd name="T52" fmla="*/ 2147483647 w 360"/>
                <a:gd name="T53" fmla="*/ 2147483647 h 288"/>
                <a:gd name="T54" fmla="*/ 0 w 360"/>
                <a:gd name="T55" fmla="*/ 2147483647 h 288"/>
                <a:gd name="T56" fmla="*/ 2147483647 w 360"/>
                <a:gd name="T57" fmla="*/ 2147483647 h 288"/>
                <a:gd name="T58" fmla="*/ 2147483647 w 360"/>
                <a:gd name="T59" fmla="*/ 2147483647 h 288"/>
                <a:gd name="T60" fmla="*/ 2147483647 w 360"/>
                <a:gd name="T61" fmla="*/ 2147483647 h 288"/>
                <a:gd name="T62" fmla="*/ 2147483647 w 360"/>
                <a:gd name="T63" fmla="*/ 2147483647 h 288"/>
                <a:gd name="T64" fmla="*/ 2147483647 w 360"/>
                <a:gd name="T65" fmla="*/ 2147483647 h 288"/>
                <a:gd name="T66" fmla="*/ 2147483647 w 360"/>
                <a:gd name="T67" fmla="*/ 2147483647 h 288"/>
                <a:gd name="T68" fmla="*/ 2147483647 w 360"/>
                <a:gd name="T69" fmla="*/ 2147483647 h 288"/>
                <a:gd name="T70" fmla="*/ 2147483647 w 360"/>
                <a:gd name="T71" fmla="*/ 2147483647 h 288"/>
                <a:gd name="T72" fmla="*/ 2147483647 w 360"/>
                <a:gd name="T73" fmla="*/ 2147483647 h 288"/>
                <a:gd name="T74" fmla="*/ 2147483647 w 360"/>
                <a:gd name="T75" fmla="*/ 2147483647 h 288"/>
                <a:gd name="T76" fmla="*/ 2147483647 w 360"/>
                <a:gd name="T77" fmla="*/ 2147483647 h 288"/>
                <a:gd name="T78" fmla="*/ 2147483647 w 360"/>
                <a:gd name="T79" fmla="*/ 2147483647 h 288"/>
                <a:gd name="T80" fmla="*/ 2147483647 w 360"/>
                <a:gd name="T81" fmla="*/ 2147483647 h 288"/>
                <a:gd name="T82" fmla="*/ 2147483647 w 360"/>
                <a:gd name="T83" fmla="*/ 2147483647 h 288"/>
                <a:gd name="T84" fmla="*/ 2147483647 w 360"/>
                <a:gd name="T85" fmla="*/ 2147483647 h 288"/>
                <a:gd name="T86" fmla="*/ 2147483647 w 360"/>
                <a:gd name="T87" fmla="*/ 2147483647 h 288"/>
                <a:gd name="T88" fmla="*/ 2147483647 w 360"/>
                <a:gd name="T89" fmla="*/ 2147483647 h 288"/>
                <a:gd name="T90" fmla="*/ 2147483647 w 360"/>
                <a:gd name="T91" fmla="*/ 2147483647 h 288"/>
                <a:gd name="T92" fmla="*/ 2147483647 w 360"/>
                <a:gd name="T93" fmla="*/ 2147483647 h 288"/>
                <a:gd name="T94" fmla="*/ 2147483647 w 360"/>
                <a:gd name="T95" fmla="*/ 2147483647 h 288"/>
                <a:gd name="T96" fmla="*/ 2147483647 w 360"/>
                <a:gd name="T97" fmla="*/ 2147483647 h 288"/>
                <a:gd name="T98" fmla="*/ 2147483647 w 360"/>
                <a:gd name="T99" fmla="*/ 2147483647 h 288"/>
                <a:gd name="T100" fmla="*/ 2147483647 w 360"/>
                <a:gd name="T101" fmla="*/ 2147483647 h 288"/>
                <a:gd name="T102" fmla="*/ 2147483647 w 360"/>
                <a:gd name="T103" fmla="*/ 2147483647 h 288"/>
                <a:gd name="T104" fmla="*/ 2147483647 w 360"/>
                <a:gd name="T105" fmla="*/ 2147483647 h 288"/>
                <a:gd name="T106" fmla="*/ 2147483647 w 360"/>
                <a:gd name="T107" fmla="*/ 2147483647 h 288"/>
                <a:gd name="T108" fmla="*/ 2147483647 w 360"/>
                <a:gd name="T109" fmla="*/ 2147483647 h 288"/>
                <a:gd name="T110" fmla="*/ 2147483647 w 360"/>
                <a:gd name="T111" fmla="*/ 2147483647 h 288"/>
                <a:gd name="T112" fmla="*/ 2147483647 w 360"/>
                <a:gd name="T113" fmla="*/ 2147483647 h 288"/>
                <a:gd name="T114" fmla="*/ 2147483647 w 360"/>
                <a:gd name="T115" fmla="*/ 2147483647 h 288"/>
                <a:gd name="T116" fmla="*/ 2147483647 w 360"/>
                <a:gd name="T117" fmla="*/ 2147483647 h 288"/>
                <a:gd name="T118" fmla="*/ 2147483647 w 360"/>
                <a:gd name="T119" fmla="*/ 2147483647 h 288"/>
                <a:gd name="T120" fmla="*/ 2147483647 w 360"/>
                <a:gd name="T121" fmla="*/ 2147483647 h 2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0"/>
                <a:gd name="T184" fmla="*/ 0 h 288"/>
                <a:gd name="T185" fmla="*/ 360 w 360"/>
                <a:gd name="T186" fmla="*/ 288 h 2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0" h="288">
                  <a:moveTo>
                    <a:pt x="66" y="186"/>
                  </a:moveTo>
                  <a:lnTo>
                    <a:pt x="36" y="186"/>
                  </a:lnTo>
                  <a:lnTo>
                    <a:pt x="24" y="174"/>
                  </a:lnTo>
                  <a:lnTo>
                    <a:pt x="6" y="174"/>
                  </a:lnTo>
                  <a:lnTo>
                    <a:pt x="12" y="186"/>
                  </a:lnTo>
                  <a:lnTo>
                    <a:pt x="12" y="192"/>
                  </a:lnTo>
                  <a:lnTo>
                    <a:pt x="18" y="204"/>
                  </a:lnTo>
                  <a:lnTo>
                    <a:pt x="36" y="222"/>
                  </a:lnTo>
                  <a:lnTo>
                    <a:pt x="48" y="228"/>
                  </a:lnTo>
                  <a:lnTo>
                    <a:pt x="84" y="240"/>
                  </a:lnTo>
                  <a:lnTo>
                    <a:pt x="90" y="240"/>
                  </a:lnTo>
                  <a:lnTo>
                    <a:pt x="84" y="234"/>
                  </a:lnTo>
                  <a:lnTo>
                    <a:pt x="84" y="222"/>
                  </a:lnTo>
                  <a:lnTo>
                    <a:pt x="78" y="216"/>
                  </a:lnTo>
                  <a:lnTo>
                    <a:pt x="78" y="204"/>
                  </a:lnTo>
                  <a:lnTo>
                    <a:pt x="72" y="198"/>
                  </a:lnTo>
                  <a:lnTo>
                    <a:pt x="72" y="186"/>
                  </a:lnTo>
                  <a:lnTo>
                    <a:pt x="66" y="186"/>
                  </a:lnTo>
                  <a:close/>
                  <a:moveTo>
                    <a:pt x="354" y="108"/>
                  </a:moveTo>
                  <a:lnTo>
                    <a:pt x="348" y="102"/>
                  </a:lnTo>
                  <a:lnTo>
                    <a:pt x="330" y="102"/>
                  </a:lnTo>
                  <a:lnTo>
                    <a:pt x="318" y="108"/>
                  </a:lnTo>
                  <a:lnTo>
                    <a:pt x="306" y="108"/>
                  </a:lnTo>
                  <a:lnTo>
                    <a:pt x="288" y="90"/>
                  </a:lnTo>
                  <a:lnTo>
                    <a:pt x="288" y="84"/>
                  </a:lnTo>
                  <a:lnTo>
                    <a:pt x="264" y="54"/>
                  </a:lnTo>
                  <a:lnTo>
                    <a:pt x="264" y="42"/>
                  </a:lnTo>
                  <a:lnTo>
                    <a:pt x="216" y="0"/>
                  </a:lnTo>
                  <a:lnTo>
                    <a:pt x="216" y="30"/>
                  </a:lnTo>
                  <a:lnTo>
                    <a:pt x="210" y="36"/>
                  </a:lnTo>
                  <a:lnTo>
                    <a:pt x="192" y="36"/>
                  </a:lnTo>
                  <a:lnTo>
                    <a:pt x="192" y="48"/>
                  </a:lnTo>
                  <a:lnTo>
                    <a:pt x="186" y="54"/>
                  </a:lnTo>
                  <a:lnTo>
                    <a:pt x="162" y="54"/>
                  </a:lnTo>
                  <a:lnTo>
                    <a:pt x="156" y="48"/>
                  </a:lnTo>
                  <a:lnTo>
                    <a:pt x="144" y="42"/>
                  </a:lnTo>
                  <a:lnTo>
                    <a:pt x="138" y="30"/>
                  </a:lnTo>
                  <a:lnTo>
                    <a:pt x="120" y="12"/>
                  </a:lnTo>
                  <a:lnTo>
                    <a:pt x="84" y="0"/>
                  </a:lnTo>
                  <a:lnTo>
                    <a:pt x="72" y="0"/>
                  </a:lnTo>
                  <a:lnTo>
                    <a:pt x="60" y="12"/>
                  </a:lnTo>
                  <a:lnTo>
                    <a:pt x="78" y="30"/>
                  </a:lnTo>
                  <a:lnTo>
                    <a:pt x="84" y="30"/>
                  </a:lnTo>
                  <a:lnTo>
                    <a:pt x="90" y="36"/>
                  </a:lnTo>
                  <a:lnTo>
                    <a:pt x="96" y="48"/>
                  </a:lnTo>
                  <a:lnTo>
                    <a:pt x="102" y="54"/>
                  </a:lnTo>
                  <a:lnTo>
                    <a:pt x="108" y="66"/>
                  </a:lnTo>
                  <a:lnTo>
                    <a:pt x="102" y="72"/>
                  </a:lnTo>
                  <a:lnTo>
                    <a:pt x="84" y="54"/>
                  </a:lnTo>
                  <a:lnTo>
                    <a:pt x="72" y="54"/>
                  </a:lnTo>
                  <a:lnTo>
                    <a:pt x="60" y="60"/>
                  </a:lnTo>
                  <a:lnTo>
                    <a:pt x="42" y="42"/>
                  </a:lnTo>
                  <a:lnTo>
                    <a:pt x="42" y="36"/>
                  </a:lnTo>
                  <a:lnTo>
                    <a:pt x="36" y="30"/>
                  </a:lnTo>
                  <a:lnTo>
                    <a:pt x="12" y="30"/>
                  </a:lnTo>
                  <a:lnTo>
                    <a:pt x="0" y="42"/>
                  </a:lnTo>
                  <a:lnTo>
                    <a:pt x="0" y="48"/>
                  </a:lnTo>
                  <a:lnTo>
                    <a:pt x="6" y="48"/>
                  </a:lnTo>
                  <a:lnTo>
                    <a:pt x="12" y="54"/>
                  </a:lnTo>
                  <a:lnTo>
                    <a:pt x="12" y="66"/>
                  </a:lnTo>
                  <a:lnTo>
                    <a:pt x="30" y="66"/>
                  </a:lnTo>
                  <a:lnTo>
                    <a:pt x="36" y="72"/>
                  </a:lnTo>
                  <a:lnTo>
                    <a:pt x="36" y="96"/>
                  </a:lnTo>
                  <a:lnTo>
                    <a:pt x="30" y="102"/>
                  </a:lnTo>
                  <a:lnTo>
                    <a:pt x="36" y="102"/>
                  </a:lnTo>
                  <a:lnTo>
                    <a:pt x="42" y="108"/>
                  </a:lnTo>
                  <a:lnTo>
                    <a:pt x="66" y="120"/>
                  </a:lnTo>
                  <a:lnTo>
                    <a:pt x="72" y="126"/>
                  </a:lnTo>
                  <a:lnTo>
                    <a:pt x="72" y="132"/>
                  </a:lnTo>
                  <a:lnTo>
                    <a:pt x="54" y="150"/>
                  </a:lnTo>
                  <a:lnTo>
                    <a:pt x="42" y="150"/>
                  </a:lnTo>
                  <a:lnTo>
                    <a:pt x="72" y="162"/>
                  </a:lnTo>
                  <a:lnTo>
                    <a:pt x="84" y="180"/>
                  </a:lnTo>
                  <a:lnTo>
                    <a:pt x="114" y="186"/>
                  </a:lnTo>
                  <a:lnTo>
                    <a:pt x="114" y="198"/>
                  </a:lnTo>
                  <a:lnTo>
                    <a:pt x="120" y="210"/>
                  </a:lnTo>
                  <a:lnTo>
                    <a:pt x="120" y="240"/>
                  </a:lnTo>
                  <a:lnTo>
                    <a:pt x="132" y="240"/>
                  </a:lnTo>
                  <a:lnTo>
                    <a:pt x="138" y="228"/>
                  </a:lnTo>
                  <a:lnTo>
                    <a:pt x="144" y="222"/>
                  </a:lnTo>
                  <a:lnTo>
                    <a:pt x="144" y="216"/>
                  </a:lnTo>
                  <a:lnTo>
                    <a:pt x="156" y="204"/>
                  </a:lnTo>
                  <a:lnTo>
                    <a:pt x="174" y="192"/>
                  </a:lnTo>
                  <a:lnTo>
                    <a:pt x="186" y="186"/>
                  </a:lnTo>
                  <a:lnTo>
                    <a:pt x="198" y="174"/>
                  </a:lnTo>
                  <a:lnTo>
                    <a:pt x="210" y="168"/>
                  </a:lnTo>
                  <a:lnTo>
                    <a:pt x="222" y="168"/>
                  </a:lnTo>
                  <a:lnTo>
                    <a:pt x="228" y="180"/>
                  </a:lnTo>
                  <a:lnTo>
                    <a:pt x="234" y="186"/>
                  </a:lnTo>
                  <a:lnTo>
                    <a:pt x="234" y="204"/>
                  </a:lnTo>
                  <a:lnTo>
                    <a:pt x="228" y="210"/>
                  </a:lnTo>
                  <a:lnTo>
                    <a:pt x="228" y="222"/>
                  </a:lnTo>
                  <a:lnTo>
                    <a:pt x="234" y="222"/>
                  </a:lnTo>
                  <a:lnTo>
                    <a:pt x="240" y="228"/>
                  </a:lnTo>
                  <a:lnTo>
                    <a:pt x="240" y="234"/>
                  </a:lnTo>
                  <a:lnTo>
                    <a:pt x="234" y="240"/>
                  </a:lnTo>
                  <a:lnTo>
                    <a:pt x="222" y="240"/>
                  </a:lnTo>
                  <a:lnTo>
                    <a:pt x="222" y="246"/>
                  </a:lnTo>
                  <a:lnTo>
                    <a:pt x="234" y="258"/>
                  </a:lnTo>
                  <a:lnTo>
                    <a:pt x="246" y="264"/>
                  </a:lnTo>
                  <a:lnTo>
                    <a:pt x="252" y="270"/>
                  </a:lnTo>
                  <a:lnTo>
                    <a:pt x="258" y="270"/>
                  </a:lnTo>
                  <a:lnTo>
                    <a:pt x="264" y="276"/>
                  </a:lnTo>
                  <a:lnTo>
                    <a:pt x="264" y="282"/>
                  </a:lnTo>
                  <a:lnTo>
                    <a:pt x="282" y="282"/>
                  </a:lnTo>
                  <a:lnTo>
                    <a:pt x="282" y="288"/>
                  </a:lnTo>
                  <a:lnTo>
                    <a:pt x="288" y="282"/>
                  </a:lnTo>
                  <a:lnTo>
                    <a:pt x="288" y="258"/>
                  </a:lnTo>
                  <a:lnTo>
                    <a:pt x="282" y="252"/>
                  </a:lnTo>
                  <a:lnTo>
                    <a:pt x="276" y="252"/>
                  </a:lnTo>
                  <a:lnTo>
                    <a:pt x="270" y="246"/>
                  </a:lnTo>
                  <a:lnTo>
                    <a:pt x="288" y="240"/>
                  </a:lnTo>
                  <a:lnTo>
                    <a:pt x="288" y="210"/>
                  </a:lnTo>
                  <a:lnTo>
                    <a:pt x="300" y="222"/>
                  </a:lnTo>
                  <a:lnTo>
                    <a:pt x="306" y="222"/>
                  </a:lnTo>
                  <a:lnTo>
                    <a:pt x="318" y="210"/>
                  </a:lnTo>
                  <a:lnTo>
                    <a:pt x="300" y="192"/>
                  </a:lnTo>
                  <a:lnTo>
                    <a:pt x="300" y="138"/>
                  </a:lnTo>
                  <a:lnTo>
                    <a:pt x="318" y="138"/>
                  </a:lnTo>
                  <a:lnTo>
                    <a:pt x="330" y="126"/>
                  </a:lnTo>
                  <a:lnTo>
                    <a:pt x="360" y="132"/>
                  </a:lnTo>
                  <a:lnTo>
                    <a:pt x="360" y="120"/>
                  </a:lnTo>
                  <a:lnTo>
                    <a:pt x="354" y="108"/>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96" name="Australien" descr="© INSCALE GmbH, 05.05.2010&#10;http://www.presentationload.com/">
              <a:extLst>
                <a:ext uri="{FF2B5EF4-FFF2-40B4-BE49-F238E27FC236}">
                  <a16:creationId xmlns:a16="http://schemas.microsoft.com/office/drawing/2014/main" id="{0D39C67E-D2F1-43E8-9341-DAF7B27FADEA}"/>
                </a:ext>
              </a:extLst>
            </p:cNvPr>
            <p:cNvSpPr>
              <a:spLocks noEditPoints="1"/>
            </p:cNvSpPr>
            <p:nvPr/>
          </p:nvSpPr>
          <p:spPr bwMode="gray">
            <a:xfrm>
              <a:off x="7207387" y="4592891"/>
              <a:ext cx="1128976" cy="1058416"/>
            </a:xfrm>
            <a:custGeom>
              <a:avLst/>
              <a:gdLst>
                <a:gd name="T0" fmla="*/ 2147483647 w 2838"/>
                <a:gd name="T1" fmla="*/ 2147483647 h 2664"/>
                <a:gd name="T2" fmla="*/ 2147483647 w 2838"/>
                <a:gd name="T3" fmla="*/ 2147483647 h 2664"/>
                <a:gd name="T4" fmla="*/ 2147483647 w 2838"/>
                <a:gd name="T5" fmla="*/ 2147483647 h 2664"/>
                <a:gd name="T6" fmla="*/ 2147483647 w 2838"/>
                <a:gd name="T7" fmla="*/ 2147483647 h 2664"/>
                <a:gd name="T8" fmla="*/ 2147483647 w 2838"/>
                <a:gd name="T9" fmla="*/ 2147483647 h 2664"/>
                <a:gd name="T10" fmla="*/ 2147483647 w 2838"/>
                <a:gd name="T11" fmla="*/ 2147483647 h 2664"/>
                <a:gd name="T12" fmla="*/ 2147483647 w 2838"/>
                <a:gd name="T13" fmla="*/ 2147483647 h 2664"/>
                <a:gd name="T14" fmla="*/ 2147483647 w 2838"/>
                <a:gd name="T15" fmla="*/ 2147483647 h 2664"/>
                <a:gd name="T16" fmla="*/ 2147483647 w 2838"/>
                <a:gd name="T17" fmla="*/ 2147483647 h 2664"/>
                <a:gd name="T18" fmla="*/ 2147483647 w 2838"/>
                <a:gd name="T19" fmla="*/ 2147483647 h 2664"/>
                <a:gd name="T20" fmla="*/ 2147483647 w 2838"/>
                <a:gd name="T21" fmla="*/ 2147483647 h 2664"/>
                <a:gd name="T22" fmla="*/ 2147483647 w 2838"/>
                <a:gd name="T23" fmla="*/ 2147483647 h 2664"/>
                <a:gd name="T24" fmla="*/ 2147483647 w 2838"/>
                <a:gd name="T25" fmla="*/ 2147483647 h 2664"/>
                <a:gd name="T26" fmla="*/ 2147483647 w 2838"/>
                <a:gd name="T27" fmla="*/ 2147483647 h 2664"/>
                <a:gd name="T28" fmla="*/ 2147483647 w 2838"/>
                <a:gd name="T29" fmla="*/ 2147483647 h 2664"/>
                <a:gd name="T30" fmla="*/ 2147483647 w 2838"/>
                <a:gd name="T31" fmla="*/ 2147483647 h 2664"/>
                <a:gd name="T32" fmla="*/ 2147483647 w 2838"/>
                <a:gd name="T33" fmla="*/ 2147483647 h 2664"/>
                <a:gd name="T34" fmla="*/ 2147483647 w 2838"/>
                <a:gd name="T35" fmla="*/ 2147483647 h 2664"/>
                <a:gd name="T36" fmla="*/ 2147483647 w 2838"/>
                <a:gd name="T37" fmla="*/ 2147483647 h 2664"/>
                <a:gd name="T38" fmla="*/ 2147483647 w 2838"/>
                <a:gd name="T39" fmla="*/ 2147483647 h 2664"/>
                <a:gd name="T40" fmla="*/ 2147483647 w 2838"/>
                <a:gd name="T41" fmla="*/ 2147483647 h 2664"/>
                <a:gd name="T42" fmla="*/ 2147483647 w 2838"/>
                <a:gd name="T43" fmla="*/ 2147483647 h 2664"/>
                <a:gd name="T44" fmla="*/ 2147483647 w 2838"/>
                <a:gd name="T45" fmla="*/ 2147483647 h 2664"/>
                <a:gd name="T46" fmla="*/ 2147483647 w 2838"/>
                <a:gd name="T47" fmla="*/ 2147483647 h 2664"/>
                <a:gd name="T48" fmla="*/ 2147483647 w 2838"/>
                <a:gd name="T49" fmla="*/ 2147483647 h 2664"/>
                <a:gd name="T50" fmla="*/ 2147483647 w 2838"/>
                <a:gd name="T51" fmla="*/ 2147483647 h 2664"/>
                <a:gd name="T52" fmla="*/ 2147483647 w 2838"/>
                <a:gd name="T53" fmla="*/ 2147483647 h 2664"/>
                <a:gd name="T54" fmla="*/ 2147483647 w 2838"/>
                <a:gd name="T55" fmla="*/ 2147483647 h 2664"/>
                <a:gd name="T56" fmla="*/ 2147483647 w 2838"/>
                <a:gd name="T57" fmla="*/ 2147483647 h 2664"/>
                <a:gd name="T58" fmla="*/ 2147483647 w 2838"/>
                <a:gd name="T59" fmla="*/ 2147483647 h 2664"/>
                <a:gd name="T60" fmla="*/ 2147483647 w 2838"/>
                <a:gd name="T61" fmla="*/ 2147483647 h 2664"/>
                <a:gd name="T62" fmla="*/ 2147483647 w 2838"/>
                <a:gd name="T63" fmla="*/ 2147483647 h 2664"/>
                <a:gd name="T64" fmla="*/ 2147483647 w 2838"/>
                <a:gd name="T65" fmla="*/ 2147483647 h 2664"/>
                <a:gd name="T66" fmla="*/ 2147483647 w 2838"/>
                <a:gd name="T67" fmla="*/ 2147483647 h 2664"/>
                <a:gd name="T68" fmla="*/ 2147483647 w 2838"/>
                <a:gd name="T69" fmla="*/ 2147483647 h 2664"/>
                <a:gd name="T70" fmla="*/ 2147483647 w 2838"/>
                <a:gd name="T71" fmla="*/ 2147483647 h 2664"/>
                <a:gd name="T72" fmla="*/ 2147483647 w 2838"/>
                <a:gd name="T73" fmla="*/ 2147483647 h 2664"/>
                <a:gd name="T74" fmla="*/ 2147483647 w 2838"/>
                <a:gd name="T75" fmla="*/ 2147483647 h 2664"/>
                <a:gd name="T76" fmla="*/ 2147483647 w 2838"/>
                <a:gd name="T77" fmla="*/ 2147483647 h 2664"/>
                <a:gd name="T78" fmla="*/ 2147483647 w 2838"/>
                <a:gd name="T79" fmla="*/ 2147483647 h 2664"/>
                <a:gd name="T80" fmla="*/ 2147483647 w 2838"/>
                <a:gd name="T81" fmla="*/ 2147483647 h 2664"/>
                <a:gd name="T82" fmla="*/ 2147483647 w 2838"/>
                <a:gd name="T83" fmla="*/ 2147483647 h 2664"/>
                <a:gd name="T84" fmla="*/ 2147483647 w 2838"/>
                <a:gd name="T85" fmla="*/ 2147483647 h 2664"/>
                <a:gd name="T86" fmla="*/ 2147483647 w 2838"/>
                <a:gd name="T87" fmla="*/ 2147483647 h 2664"/>
                <a:gd name="T88" fmla="*/ 2147483647 w 2838"/>
                <a:gd name="T89" fmla="*/ 2147483647 h 2664"/>
                <a:gd name="T90" fmla="*/ 2147483647 w 2838"/>
                <a:gd name="T91" fmla="*/ 2147483647 h 2664"/>
                <a:gd name="T92" fmla="*/ 2147483647 w 2838"/>
                <a:gd name="T93" fmla="*/ 2147483647 h 2664"/>
                <a:gd name="T94" fmla="*/ 2147483647 w 2838"/>
                <a:gd name="T95" fmla="*/ 2147483647 h 2664"/>
                <a:gd name="T96" fmla="*/ 2147483647 w 2838"/>
                <a:gd name="T97" fmla="*/ 2147483647 h 2664"/>
                <a:gd name="T98" fmla="*/ 2147483647 w 2838"/>
                <a:gd name="T99" fmla="*/ 2147483647 h 2664"/>
                <a:gd name="T100" fmla="*/ 2147483647 w 2838"/>
                <a:gd name="T101" fmla="*/ 2147483647 h 2664"/>
                <a:gd name="T102" fmla="*/ 2147483647 w 2838"/>
                <a:gd name="T103" fmla="*/ 2147483647 h 2664"/>
                <a:gd name="T104" fmla="*/ 2147483647 w 2838"/>
                <a:gd name="T105" fmla="*/ 2147483647 h 2664"/>
                <a:gd name="T106" fmla="*/ 2147483647 w 2838"/>
                <a:gd name="T107" fmla="*/ 2147483647 h 2664"/>
                <a:gd name="T108" fmla="*/ 2147483647 w 2838"/>
                <a:gd name="T109" fmla="*/ 2147483647 h 2664"/>
                <a:gd name="T110" fmla="*/ 2147483647 w 2838"/>
                <a:gd name="T111" fmla="*/ 2147483647 h 2664"/>
                <a:gd name="T112" fmla="*/ 2147483647 w 2838"/>
                <a:gd name="T113" fmla="*/ 2147483647 h 2664"/>
                <a:gd name="T114" fmla="*/ 2147483647 w 2838"/>
                <a:gd name="T115" fmla="*/ 2147483647 h 2664"/>
                <a:gd name="T116" fmla="*/ 2147483647 w 2838"/>
                <a:gd name="T117" fmla="*/ 2147483647 h 26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38"/>
                <a:gd name="T178" fmla="*/ 0 h 2664"/>
                <a:gd name="T179" fmla="*/ 2838 w 2838"/>
                <a:gd name="T180" fmla="*/ 2664 h 266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38" h="2664">
                  <a:moveTo>
                    <a:pt x="1530" y="66"/>
                  </a:moveTo>
                  <a:lnTo>
                    <a:pt x="1524" y="60"/>
                  </a:lnTo>
                  <a:lnTo>
                    <a:pt x="1518" y="60"/>
                  </a:lnTo>
                  <a:lnTo>
                    <a:pt x="1506" y="66"/>
                  </a:lnTo>
                  <a:lnTo>
                    <a:pt x="1500" y="72"/>
                  </a:lnTo>
                  <a:lnTo>
                    <a:pt x="1494" y="84"/>
                  </a:lnTo>
                  <a:lnTo>
                    <a:pt x="1494" y="102"/>
                  </a:lnTo>
                  <a:lnTo>
                    <a:pt x="1506" y="102"/>
                  </a:lnTo>
                  <a:lnTo>
                    <a:pt x="1512" y="90"/>
                  </a:lnTo>
                  <a:lnTo>
                    <a:pt x="1524" y="78"/>
                  </a:lnTo>
                  <a:lnTo>
                    <a:pt x="1530" y="66"/>
                  </a:lnTo>
                  <a:close/>
                  <a:moveTo>
                    <a:pt x="1476" y="2016"/>
                  </a:moveTo>
                  <a:lnTo>
                    <a:pt x="1464" y="2016"/>
                  </a:lnTo>
                  <a:lnTo>
                    <a:pt x="1440" y="2028"/>
                  </a:lnTo>
                  <a:lnTo>
                    <a:pt x="1440" y="2034"/>
                  </a:lnTo>
                  <a:lnTo>
                    <a:pt x="1452" y="2046"/>
                  </a:lnTo>
                  <a:lnTo>
                    <a:pt x="1452" y="2052"/>
                  </a:lnTo>
                  <a:lnTo>
                    <a:pt x="1470" y="2052"/>
                  </a:lnTo>
                  <a:lnTo>
                    <a:pt x="1482" y="2046"/>
                  </a:lnTo>
                  <a:lnTo>
                    <a:pt x="1488" y="2040"/>
                  </a:lnTo>
                  <a:lnTo>
                    <a:pt x="1506" y="2040"/>
                  </a:lnTo>
                  <a:lnTo>
                    <a:pt x="1512" y="2034"/>
                  </a:lnTo>
                  <a:lnTo>
                    <a:pt x="1530" y="2034"/>
                  </a:lnTo>
                  <a:lnTo>
                    <a:pt x="1536" y="2028"/>
                  </a:lnTo>
                  <a:lnTo>
                    <a:pt x="1512" y="2028"/>
                  </a:lnTo>
                  <a:lnTo>
                    <a:pt x="1500" y="2016"/>
                  </a:lnTo>
                  <a:lnTo>
                    <a:pt x="1476" y="2016"/>
                  </a:lnTo>
                  <a:close/>
                  <a:moveTo>
                    <a:pt x="2802" y="1164"/>
                  </a:moveTo>
                  <a:lnTo>
                    <a:pt x="2802" y="1134"/>
                  </a:lnTo>
                  <a:lnTo>
                    <a:pt x="2796" y="1116"/>
                  </a:lnTo>
                  <a:lnTo>
                    <a:pt x="2796" y="1092"/>
                  </a:lnTo>
                  <a:lnTo>
                    <a:pt x="2790" y="1086"/>
                  </a:lnTo>
                  <a:lnTo>
                    <a:pt x="2778" y="1086"/>
                  </a:lnTo>
                  <a:lnTo>
                    <a:pt x="2772" y="1080"/>
                  </a:lnTo>
                  <a:lnTo>
                    <a:pt x="2760" y="1080"/>
                  </a:lnTo>
                  <a:lnTo>
                    <a:pt x="2760" y="1062"/>
                  </a:lnTo>
                  <a:lnTo>
                    <a:pt x="2742" y="1050"/>
                  </a:lnTo>
                  <a:lnTo>
                    <a:pt x="2742" y="1014"/>
                  </a:lnTo>
                  <a:lnTo>
                    <a:pt x="2736" y="1008"/>
                  </a:lnTo>
                  <a:lnTo>
                    <a:pt x="2724" y="1002"/>
                  </a:lnTo>
                  <a:lnTo>
                    <a:pt x="2718" y="996"/>
                  </a:lnTo>
                  <a:lnTo>
                    <a:pt x="2706" y="996"/>
                  </a:lnTo>
                  <a:lnTo>
                    <a:pt x="2712" y="996"/>
                  </a:lnTo>
                  <a:lnTo>
                    <a:pt x="2718" y="990"/>
                  </a:lnTo>
                  <a:lnTo>
                    <a:pt x="2730" y="990"/>
                  </a:lnTo>
                  <a:lnTo>
                    <a:pt x="2742" y="984"/>
                  </a:lnTo>
                  <a:lnTo>
                    <a:pt x="2760" y="966"/>
                  </a:lnTo>
                  <a:lnTo>
                    <a:pt x="2754" y="954"/>
                  </a:lnTo>
                  <a:lnTo>
                    <a:pt x="2736" y="936"/>
                  </a:lnTo>
                  <a:lnTo>
                    <a:pt x="2730" y="936"/>
                  </a:lnTo>
                  <a:lnTo>
                    <a:pt x="2730" y="930"/>
                  </a:lnTo>
                  <a:lnTo>
                    <a:pt x="2712" y="912"/>
                  </a:lnTo>
                  <a:lnTo>
                    <a:pt x="2700" y="906"/>
                  </a:lnTo>
                  <a:lnTo>
                    <a:pt x="2694" y="912"/>
                  </a:lnTo>
                  <a:lnTo>
                    <a:pt x="2694" y="936"/>
                  </a:lnTo>
                  <a:lnTo>
                    <a:pt x="2670" y="930"/>
                  </a:lnTo>
                  <a:lnTo>
                    <a:pt x="2670" y="924"/>
                  </a:lnTo>
                  <a:lnTo>
                    <a:pt x="2676" y="918"/>
                  </a:lnTo>
                  <a:lnTo>
                    <a:pt x="2676" y="906"/>
                  </a:lnTo>
                  <a:lnTo>
                    <a:pt x="2682" y="894"/>
                  </a:lnTo>
                  <a:lnTo>
                    <a:pt x="2688" y="876"/>
                  </a:lnTo>
                  <a:lnTo>
                    <a:pt x="2688" y="858"/>
                  </a:lnTo>
                  <a:lnTo>
                    <a:pt x="2682" y="852"/>
                  </a:lnTo>
                  <a:lnTo>
                    <a:pt x="2676" y="840"/>
                  </a:lnTo>
                  <a:lnTo>
                    <a:pt x="2670" y="840"/>
                  </a:lnTo>
                  <a:lnTo>
                    <a:pt x="2652" y="822"/>
                  </a:lnTo>
                  <a:lnTo>
                    <a:pt x="2652" y="816"/>
                  </a:lnTo>
                  <a:lnTo>
                    <a:pt x="2658" y="804"/>
                  </a:lnTo>
                  <a:lnTo>
                    <a:pt x="2658" y="792"/>
                  </a:lnTo>
                  <a:lnTo>
                    <a:pt x="2664" y="774"/>
                  </a:lnTo>
                  <a:lnTo>
                    <a:pt x="2664" y="762"/>
                  </a:lnTo>
                  <a:lnTo>
                    <a:pt x="2652" y="750"/>
                  </a:lnTo>
                  <a:lnTo>
                    <a:pt x="2628" y="732"/>
                  </a:lnTo>
                  <a:lnTo>
                    <a:pt x="2598" y="720"/>
                  </a:lnTo>
                  <a:lnTo>
                    <a:pt x="2580" y="708"/>
                  </a:lnTo>
                  <a:lnTo>
                    <a:pt x="2568" y="702"/>
                  </a:lnTo>
                  <a:lnTo>
                    <a:pt x="2556" y="708"/>
                  </a:lnTo>
                  <a:lnTo>
                    <a:pt x="2550" y="696"/>
                  </a:lnTo>
                  <a:lnTo>
                    <a:pt x="2538" y="684"/>
                  </a:lnTo>
                  <a:lnTo>
                    <a:pt x="2532" y="672"/>
                  </a:lnTo>
                  <a:lnTo>
                    <a:pt x="2520" y="660"/>
                  </a:lnTo>
                  <a:lnTo>
                    <a:pt x="2514" y="642"/>
                  </a:lnTo>
                  <a:lnTo>
                    <a:pt x="2514" y="594"/>
                  </a:lnTo>
                  <a:lnTo>
                    <a:pt x="2520" y="576"/>
                  </a:lnTo>
                  <a:lnTo>
                    <a:pt x="2526" y="564"/>
                  </a:lnTo>
                  <a:lnTo>
                    <a:pt x="2526" y="546"/>
                  </a:lnTo>
                  <a:lnTo>
                    <a:pt x="2520" y="504"/>
                  </a:lnTo>
                  <a:lnTo>
                    <a:pt x="2502" y="462"/>
                  </a:lnTo>
                  <a:lnTo>
                    <a:pt x="2490" y="426"/>
                  </a:lnTo>
                  <a:lnTo>
                    <a:pt x="2490" y="402"/>
                  </a:lnTo>
                  <a:lnTo>
                    <a:pt x="2496" y="390"/>
                  </a:lnTo>
                  <a:lnTo>
                    <a:pt x="2502" y="384"/>
                  </a:lnTo>
                  <a:lnTo>
                    <a:pt x="2502" y="324"/>
                  </a:lnTo>
                  <a:lnTo>
                    <a:pt x="2496" y="312"/>
                  </a:lnTo>
                  <a:lnTo>
                    <a:pt x="2496" y="300"/>
                  </a:lnTo>
                  <a:lnTo>
                    <a:pt x="2472" y="294"/>
                  </a:lnTo>
                  <a:lnTo>
                    <a:pt x="2460" y="288"/>
                  </a:lnTo>
                  <a:lnTo>
                    <a:pt x="2454" y="276"/>
                  </a:lnTo>
                  <a:lnTo>
                    <a:pt x="2442" y="270"/>
                  </a:lnTo>
                  <a:lnTo>
                    <a:pt x="2424" y="270"/>
                  </a:lnTo>
                  <a:lnTo>
                    <a:pt x="2418" y="282"/>
                  </a:lnTo>
                  <a:lnTo>
                    <a:pt x="2412" y="288"/>
                  </a:lnTo>
                  <a:lnTo>
                    <a:pt x="2412" y="282"/>
                  </a:lnTo>
                  <a:lnTo>
                    <a:pt x="2406" y="276"/>
                  </a:lnTo>
                  <a:lnTo>
                    <a:pt x="2400" y="264"/>
                  </a:lnTo>
                  <a:lnTo>
                    <a:pt x="2400" y="228"/>
                  </a:lnTo>
                  <a:lnTo>
                    <a:pt x="2406" y="216"/>
                  </a:lnTo>
                  <a:lnTo>
                    <a:pt x="2406" y="204"/>
                  </a:lnTo>
                  <a:lnTo>
                    <a:pt x="2388" y="180"/>
                  </a:lnTo>
                  <a:lnTo>
                    <a:pt x="2394" y="96"/>
                  </a:lnTo>
                  <a:lnTo>
                    <a:pt x="2382" y="90"/>
                  </a:lnTo>
                  <a:lnTo>
                    <a:pt x="2364" y="72"/>
                  </a:lnTo>
                  <a:lnTo>
                    <a:pt x="2364" y="66"/>
                  </a:lnTo>
                  <a:lnTo>
                    <a:pt x="2370" y="48"/>
                  </a:lnTo>
                  <a:lnTo>
                    <a:pt x="2370" y="24"/>
                  </a:lnTo>
                  <a:lnTo>
                    <a:pt x="2364" y="18"/>
                  </a:lnTo>
                  <a:lnTo>
                    <a:pt x="2346" y="18"/>
                  </a:lnTo>
                  <a:lnTo>
                    <a:pt x="2346" y="0"/>
                  </a:lnTo>
                  <a:lnTo>
                    <a:pt x="2316" y="12"/>
                  </a:lnTo>
                  <a:lnTo>
                    <a:pt x="2310" y="30"/>
                  </a:lnTo>
                  <a:lnTo>
                    <a:pt x="2298" y="36"/>
                  </a:lnTo>
                  <a:lnTo>
                    <a:pt x="2292" y="42"/>
                  </a:lnTo>
                  <a:lnTo>
                    <a:pt x="2280" y="48"/>
                  </a:lnTo>
                  <a:lnTo>
                    <a:pt x="2280" y="66"/>
                  </a:lnTo>
                  <a:lnTo>
                    <a:pt x="2286" y="78"/>
                  </a:lnTo>
                  <a:lnTo>
                    <a:pt x="2286" y="90"/>
                  </a:lnTo>
                  <a:lnTo>
                    <a:pt x="2292" y="102"/>
                  </a:lnTo>
                  <a:lnTo>
                    <a:pt x="2292" y="114"/>
                  </a:lnTo>
                  <a:lnTo>
                    <a:pt x="2286" y="126"/>
                  </a:lnTo>
                  <a:lnTo>
                    <a:pt x="2274" y="138"/>
                  </a:lnTo>
                  <a:lnTo>
                    <a:pt x="2268" y="150"/>
                  </a:lnTo>
                  <a:lnTo>
                    <a:pt x="2238" y="180"/>
                  </a:lnTo>
                  <a:lnTo>
                    <a:pt x="2256" y="192"/>
                  </a:lnTo>
                  <a:lnTo>
                    <a:pt x="2256" y="198"/>
                  </a:lnTo>
                  <a:lnTo>
                    <a:pt x="2250" y="204"/>
                  </a:lnTo>
                  <a:lnTo>
                    <a:pt x="2238" y="228"/>
                  </a:lnTo>
                  <a:lnTo>
                    <a:pt x="2232" y="234"/>
                  </a:lnTo>
                  <a:lnTo>
                    <a:pt x="2232" y="264"/>
                  </a:lnTo>
                  <a:lnTo>
                    <a:pt x="2238" y="276"/>
                  </a:lnTo>
                  <a:lnTo>
                    <a:pt x="2238" y="288"/>
                  </a:lnTo>
                  <a:lnTo>
                    <a:pt x="2232" y="300"/>
                  </a:lnTo>
                  <a:lnTo>
                    <a:pt x="2214" y="408"/>
                  </a:lnTo>
                  <a:lnTo>
                    <a:pt x="2208" y="432"/>
                  </a:lnTo>
                  <a:lnTo>
                    <a:pt x="2202" y="438"/>
                  </a:lnTo>
                  <a:lnTo>
                    <a:pt x="2190" y="462"/>
                  </a:lnTo>
                  <a:lnTo>
                    <a:pt x="2178" y="474"/>
                  </a:lnTo>
                  <a:lnTo>
                    <a:pt x="2172" y="486"/>
                  </a:lnTo>
                  <a:lnTo>
                    <a:pt x="2166" y="492"/>
                  </a:lnTo>
                  <a:lnTo>
                    <a:pt x="2166" y="516"/>
                  </a:lnTo>
                  <a:lnTo>
                    <a:pt x="2160" y="534"/>
                  </a:lnTo>
                  <a:lnTo>
                    <a:pt x="2154" y="546"/>
                  </a:lnTo>
                  <a:lnTo>
                    <a:pt x="2142" y="552"/>
                  </a:lnTo>
                  <a:lnTo>
                    <a:pt x="2088" y="570"/>
                  </a:lnTo>
                  <a:lnTo>
                    <a:pt x="2076" y="570"/>
                  </a:lnTo>
                  <a:lnTo>
                    <a:pt x="2064" y="576"/>
                  </a:lnTo>
                  <a:lnTo>
                    <a:pt x="2058" y="576"/>
                  </a:lnTo>
                  <a:lnTo>
                    <a:pt x="2058" y="570"/>
                  </a:lnTo>
                  <a:lnTo>
                    <a:pt x="2052" y="564"/>
                  </a:lnTo>
                  <a:lnTo>
                    <a:pt x="2028" y="516"/>
                  </a:lnTo>
                  <a:lnTo>
                    <a:pt x="2022" y="510"/>
                  </a:lnTo>
                  <a:lnTo>
                    <a:pt x="1998" y="492"/>
                  </a:lnTo>
                  <a:lnTo>
                    <a:pt x="1956" y="474"/>
                  </a:lnTo>
                  <a:lnTo>
                    <a:pt x="1920" y="462"/>
                  </a:lnTo>
                  <a:lnTo>
                    <a:pt x="1908" y="456"/>
                  </a:lnTo>
                  <a:lnTo>
                    <a:pt x="1896" y="438"/>
                  </a:lnTo>
                  <a:lnTo>
                    <a:pt x="1884" y="426"/>
                  </a:lnTo>
                  <a:lnTo>
                    <a:pt x="1872" y="402"/>
                  </a:lnTo>
                  <a:lnTo>
                    <a:pt x="1866" y="396"/>
                  </a:lnTo>
                  <a:lnTo>
                    <a:pt x="1830" y="396"/>
                  </a:lnTo>
                  <a:lnTo>
                    <a:pt x="1806" y="348"/>
                  </a:lnTo>
                  <a:lnTo>
                    <a:pt x="1824" y="330"/>
                  </a:lnTo>
                  <a:lnTo>
                    <a:pt x="1824" y="306"/>
                  </a:lnTo>
                  <a:lnTo>
                    <a:pt x="1830" y="294"/>
                  </a:lnTo>
                  <a:lnTo>
                    <a:pt x="1836" y="288"/>
                  </a:lnTo>
                  <a:lnTo>
                    <a:pt x="1848" y="282"/>
                  </a:lnTo>
                  <a:lnTo>
                    <a:pt x="1854" y="276"/>
                  </a:lnTo>
                  <a:lnTo>
                    <a:pt x="1848" y="228"/>
                  </a:lnTo>
                  <a:lnTo>
                    <a:pt x="1866" y="210"/>
                  </a:lnTo>
                  <a:lnTo>
                    <a:pt x="1872" y="216"/>
                  </a:lnTo>
                  <a:lnTo>
                    <a:pt x="1884" y="216"/>
                  </a:lnTo>
                  <a:lnTo>
                    <a:pt x="1890" y="222"/>
                  </a:lnTo>
                  <a:lnTo>
                    <a:pt x="1896" y="222"/>
                  </a:lnTo>
                  <a:lnTo>
                    <a:pt x="1902" y="216"/>
                  </a:lnTo>
                  <a:lnTo>
                    <a:pt x="1908" y="204"/>
                  </a:lnTo>
                  <a:lnTo>
                    <a:pt x="1908" y="180"/>
                  </a:lnTo>
                  <a:lnTo>
                    <a:pt x="1944" y="144"/>
                  </a:lnTo>
                  <a:lnTo>
                    <a:pt x="1938" y="132"/>
                  </a:lnTo>
                  <a:lnTo>
                    <a:pt x="1914" y="108"/>
                  </a:lnTo>
                  <a:lnTo>
                    <a:pt x="1890" y="108"/>
                  </a:lnTo>
                  <a:lnTo>
                    <a:pt x="1872" y="114"/>
                  </a:lnTo>
                  <a:lnTo>
                    <a:pt x="1848" y="126"/>
                  </a:lnTo>
                  <a:lnTo>
                    <a:pt x="1842" y="138"/>
                  </a:lnTo>
                  <a:lnTo>
                    <a:pt x="1842" y="120"/>
                  </a:lnTo>
                  <a:lnTo>
                    <a:pt x="1812" y="126"/>
                  </a:lnTo>
                  <a:lnTo>
                    <a:pt x="1794" y="138"/>
                  </a:lnTo>
                  <a:lnTo>
                    <a:pt x="1788" y="120"/>
                  </a:lnTo>
                  <a:lnTo>
                    <a:pt x="1752" y="114"/>
                  </a:lnTo>
                  <a:lnTo>
                    <a:pt x="1746" y="108"/>
                  </a:lnTo>
                  <a:lnTo>
                    <a:pt x="1734" y="102"/>
                  </a:lnTo>
                  <a:lnTo>
                    <a:pt x="1728" y="96"/>
                  </a:lnTo>
                  <a:lnTo>
                    <a:pt x="1716" y="90"/>
                  </a:lnTo>
                  <a:lnTo>
                    <a:pt x="1674" y="90"/>
                  </a:lnTo>
                  <a:lnTo>
                    <a:pt x="1662" y="84"/>
                  </a:lnTo>
                  <a:lnTo>
                    <a:pt x="1650" y="84"/>
                  </a:lnTo>
                  <a:lnTo>
                    <a:pt x="1650" y="78"/>
                  </a:lnTo>
                  <a:lnTo>
                    <a:pt x="1644" y="72"/>
                  </a:lnTo>
                  <a:lnTo>
                    <a:pt x="1632" y="48"/>
                  </a:lnTo>
                  <a:lnTo>
                    <a:pt x="1626" y="42"/>
                  </a:lnTo>
                  <a:lnTo>
                    <a:pt x="1620" y="42"/>
                  </a:lnTo>
                  <a:lnTo>
                    <a:pt x="1620" y="54"/>
                  </a:lnTo>
                  <a:lnTo>
                    <a:pt x="1614" y="60"/>
                  </a:lnTo>
                  <a:lnTo>
                    <a:pt x="1602" y="54"/>
                  </a:lnTo>
                  <a:lnTo>
                    <a:pt x="1596" y="54"/>
                  </a:lnTo>
                  <a:lnTo>
                    <a:pt x="1584" y="48"/>
                  </a:lnTo>
                  <a:lnTo>
                    <a:pt x="1566" y="48"/>
                  </a:lnTo>
                  <a:lnTo>
                    <a:pt x="1566" y="60"/>
                  </a:lnTo>
                  <a:lnTo>
                    <a:pt x="1572" y="66"/>
                  </a:lnTo>
                  <a:lnTo>
                    <a:pt x="1554" y="66"/>
                  </a:lnTo>
                  <a:lnTo>
                    <a:pt x="1548" y="72"/>
                  </a:lnTo>
                  <a:lnTo>
                    <a:pt x="1548" y="78"/>
                  </a:lnTo>
                  <a:lnTo>
                    <a:pt x="1554" y="84"/>
                  </a:lnTo>
                  <a:lnTo>
                    <a:pt x="1566" y="84"/>
                  </a:lnTo>
                  <a:lnTo>
                    <a:pt x="1590" y="96"/>
                  </a:lnTo>
                  <a:lnTo>
                    <a:pt x="1596" y="96"/>
                  </a:lnTo>
                  <a:lnTo>
                    <a:pt x="1608" y="90"/>
                  </a:lnTo>
                  <a:lnTo>
                    <a:pt x="1614" y="84"/>
                  </a:lnTo>
                  <a:lnTo>
                    <a:pt x="1644" y="102"/>
                  </a:lnTo>
                  <a:lnTo>
                    <a:pt x="1638" y="102"/>
                  </a:lnTo>
                  <a:lnTo>
                    <a:pt x="1632" y="108"/>
                  </a:lnTo>
                  <a:lnTo>
                    <a:pt x="1596" y="126"/>
                  </a:lnTo>
                  <a:lnTo>
                    <a:pt x="1572" y="126"/>
                  </a:lnTo>
                  <a:lnTo>
                    <a:pt x="1554" y="132"/>
                  </a:lnTo>
                  <a:lnTo>
                    <a:pt x="1512" y="132"/>
                  </a:lnTo>
                  <a:lnTo>
                    <a:pt x="1500" y="138"/>
                  </a:lnTo>
                  <a:lnTo>
                    <a:pt x="1482" y="144"/>
                  </a:lnTo>
                  <a:lnTo>
                    <a:pt x="1470" y="156"/>
                  </a:lnTo>
                  <a:lnTo>
                    <a:pt x="1452" y="162"/>
                  </a:lnTo>
                  <a:lnTo>
                    <a:pt x="1440" y="168"/>
                  </a:lnTo>
                  <a:lnTo>
                    <a:pt x="1434" y="174"/>
                  </a:lnTo>
                  <a:lnTo>
                    <a:pt x="1428" y="174"/>
                  </a:lnTo>
                  <a:lnTo>
                    <a:pt x="1428" y="186"/>
                  </a:lnTo>
                  <a:lnTo>
                    <a:pt x="1422" y="204"/>
                  </a:lnTo>
                  <a:lnTo>
                    <a:pt x="1422" y="228"/>
                  </a:lnTo>
                  <a:lnTo>
                    <a:pt x="1428" y="234"/>
                  </a:lnTo>
                  <a:lnTo>
                    <a:pt x="1440" y="240"/>
                  </a:lnTo>
                  <a:lnTo>
                    <a:pt x="1446" y="246"/>
                  </a:lnTo>
                  <a:lnTo>
                    <a:pt x="1452" y="246"/>
                  </a:lnTo>
                  <a:lnTo>
                    <a:pt x="1398" y="246"/>
                  </a:lnTo>
                  <a:lnTo>
                    <a:pt x="1368" y="282"/>
                  </a:lnTo>
                  <a:lnTo>
                    <a:pt x="1368" y="312"/>
                  </a:lnTo>
                  <a:lnTo>
                    <a:pt x="1362" y="324"/>
                  </a:lnTo>
                  <a:lnTo>
                    <a:pt x="1362" y="330"/>
                  </a:lnTo>
                  <a:lnTo>
                    <a:pt x="1368" y="336"/>
                  </a:lnTo>
                  <a:lnTo>
                    <a:pt x="1380" y="336"/>
                  </a:lnTo>
                  <a:lnTo>
                    <a:pt x="1404" y="348"/>
                  </a:lnTo>
                  <a:lnTo>
                    <a:pt x="1410" y="354"/>
                  </a:lnTo>
                  <a:lnTo>
                    <a:pt x="1410" y="390"/>
                  </a:lnTo>
                  <a:lnTo>
                    <a:pt x="1386" y="366"/>
                  </a:lnTo>
                  <a:lnTo>
                    <a:pt x="1356" y="366"/>
                  </a:lnTo>
                  <a:lnTo>
                    <a:pt x="1344" y="390"/>
                  </a:lnTo>
                  <a:lnTo>
                    <a:pt x="1308" y="354"/>
                  </a:lnTo>
                  <a:lnTo>
                    <a:pt x="1302" y="384"/>
                  </a:lnTo>
                  <a:lnTo>
                    <a:pt x="1278" y="396"/>
                  </a:lnTo>
                  <a:lnTo>
                    <a:pt x="1284" y="420"/>
                  </a:lnTo>
                  <a:lnTo>
                    <a:pt x="1254" y="414"/>
                  </a:lnTo>
                  <a:lnTo>
                    <a:pt x="1284" y="354"/>
                  </a:lnTo>
                  <a:lnTo>
                    <a:pt x="1278" y="348"/>
                  </a:lnTo>
                  <a:lnTo>
                    <a:pt x="1272" y="336"/>
                  </a:lnTo>
                  <a:lnTo>
                    <a:pt x="1272" y="324"/>
                  </a:lnTo>
                  <a:lnTo>
                    <a:pt x="1266" y="318"/>
                  </a:lnTo>
                  <a:lnTo>
                    <a:pt x="1254" y="312"/>
                  </a:lnTo>
                  <a:lnTo>
                    <a:pt x="1236" y="312"/>
                  </a:lnTo>
                  <a:lnTo>
                    <a:pt x="1224" y="282"/>
                  </a:lnTo>
                  <a:lnTo>
                    <a:pt x="1224" y="276"/>
                  </a:lnTo>
                  <a:lnTo>
                    <a:pt x="1230" y="270"/>
                  </a:lnTo>
                  <a:lnTo>
                    <a:pt x="1230" y="258"/>
                  </a:lnTo>
                  <a:lnTo>
                    <a:pt x="1224" y="246"/>
                  </a:lnTo>
                  <a:lnTo>
                    <a:pt x="1218" y="240"/>
                  </a:lnTo>
                  <a:lnTo>
                    <a:pt x="1206" y="234"/>
                  </a:lnTo>
                  <a:lnTo>
                    <a:pt x="1194" y="240"/>
                  </a:lnTo>
                  <a:lnTo>
                    <a:pt x="1188" y="246"/>
                  </a:lnTo>
                  <a:lnTo>
                    <a:pt x="1176" y="252"/>
                  </a:lnTo>
                  <a:lnTo>
                    <a:pt x="1176" y="264"/>
                  </a:lnTo>
                  <a:lnTo>
                    <a:pt x="1182" y="270"/>
                  </a:lnTo>
                  <a:lnTo>
                    <a:pt x="1182" y="282"/>
                  </a:lnTo>
                  <a:lnTo>
                    <a:pt x="1146" y="276"/>
                  </a:lnTo>
                  <a:lnTo>
                    <a:pt x="1152" y="306"/>
                  </a:lnTo>
                  <a:lnTo>
                    <a:pt x="1134" y="300"/>
                  </a:lnTo>
                  <a:lnTo>
                    <a:pt x="1116" y="306"/>
                  </a:lnTo>
                  <a:lnTo>
                    <a:pt x="1122" y="312"/>
                  </a:lnTo>
                  <a:lnTo>
                    <a:pt x="1122" y="330"/>
                  </a:lnTo>
                  <a:lnTo>
                    <a:pt x="1116" y="342"/>
                  </a:lnTo>
                  <a:lnTo>
                    <a:pt x="1110" y="348"/>
                  </a:lnTo>
                  <a:lnTo>
                    <a:pt x="1098" y="354"/>
                  </a:lnTo>
                  <a:lnTo>
                    <a:pt x="1092" y="360"/>
                  </a:lnTo>
                  <a:lnTo>
                    <a:pt x="1104" y="324"/>
                  </a:lnTo>
                  <a:lnTo>
                    <a:pt x="1080" y="348"/>
                  </a:lnTo>
                  <a:lnTo>
                    <a:pt x="1062" y="348"/>
                  </a:lnTo>
                  <a:lnTo>
                    <a:pt x="1056" y="360"/>
                  </a:lnTo>
                  <a:lnTo>
                    <a:pt x="1050" y="366"/>
                  </a:lnTo>
                  <a:lnTo>
                    <a:pt x="1050" y="378"/>
                  </a:lnTo>
                  <a:lnTo>
                    <a:pt x="1056" y="390"/>
                  </a:lnTo>
                  <a:lnTo>
                    <a:pt x="1056" y="396"/>
                  </a:lnTo>
                  <a:lnTo>
                    <a:pt x="1062" y="408"/>
                  </a:lnTo>
                  <a:lnTo>
                    <a:pt x="1014" y="384"/>
                  </a:lnTo>
                  <a:lnTo>
                    <a:pt x="1008" y="420"/>
                  </a:lnTo>
                  <a:lnTo>
                    <a:pt x="996" y="426"/>
                  </a:lnTo>
                  <a:lnTo>
                    <a:pt x="1008" y="450"/>
                  </a:lnTo>
                  <a:lnTo>
                    <a:pt x="1032" y="450"/>
                  </a:lnTo>
                  <a:lnTo>
                    <a:pt x="1026" y="468"/>
                  </a:lnTo>
                  <a:lnTo>
                    <a:pt x="954" y="474"/>
                  </a:lnTo>
                  <a:lnTo>
                    <a:pt x="948" y="468"/>
                  </a:lnTo>
                  <a:lnTo>
                    <a:pt x="936" y="462"/>
                  </a:lnTo>
                  <a:lnTo>
                    <a:pt x="930" y="462"/>
                  </a:lnTo>
                  <a:lnTo>
                    <a:pt x="918" y="468"/>
                  </a:lnTo>
                  <a:lnTo>
                    <a:pt x="912" y="474"/>
                  </a:lnTo>
                  <a:lnTo>
                    <a:pt x="918" y="486"/>
                  </a:lnTo>
                  <a:lnTo>
                    <a:pt x="918" y="492"/>
                  </a:lnTo>
                  <a:lnTo>
                    <a:pt x="924" y="504"/>
                  </a:lnTo>
                  <a:lnTo>
                    <a:pt x="930" y="510"/>
                  </a:lnTo>
                  <a:lnTo>
                    <a:pt x="930" y="540"/>
                  </a:lnTo>
                  <a:lnTo>
                    <a:pt x="924" y="564"/>
                  </a:lnTo>
                  <a:lnTo>
                    <a:pt x="930" y="600"/>
                  </a:lnTo>
                  <a:lnTo>
                    <a:pt x="912" y="600"/>
                  </a:lnTo>
                  <a:lnTo>
                    <a:pt x="906" y="522"/>
                  </a:lnTo>
                  <a:lnTo>
                    <a:pt x="888" y="510"/>
                  </a:lnTo>
                  <a:lnTo>
                    <a:pt x="888" y="480"/>
                  </a:lnTo>
                  <a:lnTo>
                    <a:pt x="870" y="480"/>
                  </a:lnTo>
                  <a:lnTo>
                    <a:pt x="852" y="504"/>
                  </a:lnTo>
                  <a:lnTo>
                    <a:pt x="822" y="534"/>
                  </a:lnTo>
                  <a:lnTo>
                    <a:pt x="804" y="546"/>
                  </a:lnTo>
                  <a:lnTo>
                    <a:pt x="792" y="558"/>
                  </a:lnTo>
                  <a:lnTo>
                    <a:pt x="786" y="570"/>
                  </a:lnTo>
                  <a:lnTo>
                    <a:pt x="786" y="600"/>
                  </a:lnTo>
                  <a:lnTo>
                    <a:pt x="792" y="606"/>
                  </a:lnTo>
                  <a:lnTo>
                    <a:pt x="792" y="618"/>
                  </a:lnTo>
                  <a:lnTo>
                    <a:pt x="798" y="618"/>
                  </a:lnTo>
                  <a:lnTo>
                    <a:pt x="816" y="636"/>
                  </a:lnTo>
                  <a:lnTo>
                    <a:pt x="810" y="648"/>
                  </a:lnTo>
                  <a:lnTo>
                    <a:pt x="792" y="654"/>
                  </a:lnTo>
                  <a:lnTo>
                    <a:pt x="774" y="666"/>
                  </a:lnTo>
                  <a:lnTo>
                    <a:pt x="750" y="678"/>
                  </a:lnTo>
                  <a:lnTo>
                    <a:pt x="750" y="696"/>
                  </a:lnTo>
                  <a:lnTo>
                    <a:pt x="720" y="726"/>
                  </a:lnTo>
                  <a:lnTo>
                    <a:pt x="702" y="732"/>
                  </a:lnTo>
                  <a:lnTo>
                    <a:pt x="690" y="744"/>
                  </a:lnTo>
                  <a:lnTo>
                    <a:pt x="666" y="756"/>
                  </a:lnTo>
                  <a:lnTo>
                    <a:pt x="630" y="762"/>
                  </a:lnTo>
                  <a:lnTo>
                    <a:pt x="600" y="768"/>
                  </a:lnTo>
                  <a:lnTo>
                    <a:pt x="588" y="768"/>
                  </a:lnTo>
                  <a:lnTo>
                    <a:pt x="534" y="762"/>
                  </a:lnTo>
                  <a:lnTo>
                    <a:pt x="492" y="780"/>
                  </a:lnTo>
                  <a:lnTo>
                    <a:pt x="438" y="786"/>
                  </a:lnTo>
                  <a:lnTo>
                    <a:pt x="432" y="798"/>
                  </a:lnTo>
                  <a:lnTo>
                    <a:pt x="414" y="798"/>
                  </a:lnTo>
                  <a:lnTo>
                    <a:pt x="402" y="804"/>
                  </a:lnTo>
                  <a:lnTo>
                    <a:pt x="396" y="810"/>
                  </a:lnTo>
                  <a:lnTo>
                    <a:pt x="384" y="816"/>
                  </a:lnTo>
                  <a:lnTo>
                    <a:pt x="372" y="828"/>
                  </a:lnTo>
                  <a:lnTo>
                    <a:pt x="342" y="828"/>
                  </a:lnTo>
                  <a:lnTo>
                    <a:pt x="324" y="834"/>
                  </a:lnTo>
                  <a:lnTo>
                    <a:pt x="312" y="840"/>
                  </a:lnTo>
                  <a:lnTo>
                    <a:pt x="306" y="852"/>
                  </a:lnTo>
                  <a:lnTo>
                    <a:pt x="294" y="858"/>
                  </a:lnTo>
                  <a:lnTo>
                    <a:pt x="288" y="870"/>
                  </a:lnTo>
                  <a:lnTo>
                    <a:pt x="282" y="876"/>
                  </a:lnTo>
                  <a:lnTo>
                    <a:pt x="282" y="882"/>
                  </a:lnTo>
                  <a:lnTo>
                    <a:pt x="276" y="882"/>
                  </a:lnTo>
                  <a:lnTo>
                    <a:pt x="270" y="888"/>
                  </a:lnTo>
                  <a:lnTo>
                    <a:pt x="252" y="888"/>
                  </a:lnTo>
                  <a:lnTo>
                    <a:pt x="240" y="894"/>
                  </a:lnTo>
                  <a:lnTo>
                    <a:pt x="228" y="894"/>
                  </a:lnTo>
                  <a:lnTo>
                    <a:pt x="216" y="900"/>
                  </a:lnTo>
                  <a:lnTo>
                    <a:pt x="210" y="906"/>
                  </a:lnTo>
                  <a:lnTo>
                    <a:pt x="198" y="912"/>
                  </a:lnTo>
                  <a:lnTo>
                    <a:pt x="192" y="930"/>
                  </a:lnTo>
                  <a:lnTo>
                    <a:pt x="150" y="972"/>
                  </a:lnTo>
                  <a:lnTo>
                    <a:pt x="150" y="978"/>
                  </a:lnTo>
                  <a:lnTo>
                    <a:pt x="162" y="912"/>
                  </a:lnTo>
                  <a:lnTo>
                    <a:pt x="144" y="918"/>
                  </a:lnTo>
                  <a:lnTo>
                    <a:pt x="120" y="978"/>
                  </a:lnTo>
                  <a:lnTo>
                    <a:pt x="90" y="1038"/>
                  </a:lnTo>
                  <a:lnTo>
                    <a:pt x="90" y="1056"/>
                  </a:lnTo>
                  <a:lnTo>
                    <a:pt x="96" y="1062"/>
                  </a:lnTo>
                  <a:lnTo>
                    <a:pt x="108" y="1068"/>
                  </a:lnTo>
                  <a:lnTo>
                    <a:pt x="114" y="1068"/>
                  </a:lnTo>
                  <a:lnTo>
                    <a:pt x="108" y="1080"/>
                  </a:lnTo>
                  <a:lnTo>
                    <a:pt x="96" y="1086"/>
                  </a:lnTo>
                  <a:lnTo>
                    <a:pt x="90" y="1098"/>
                  </a:lnTo>
                  <a:lnTo>
                    <a:pt x="66" y="1122"/>
                  </a:lnTo>
                  <a:lnTo>
                    <a:pt x="66" y="1134"/>
                  </a:lnTo>
                  <a:lnTo>
                    <a:pt x="72" y="1152"/>
                  </a:lnTo>
                  <a:lnTo>
                    <a:pt x="72" y="1164"/>
                  </a:lnTo>
                  <a:lnTo>
                    <a:pt x="84" y="1188"/>
                  </a:lnTo>
                  <a:lnTo>
                    <a:pt x="84" y="1200"/>
                  </a:lnTo>
                  <a:lnTo>
                    <a:pt x="102" y="1236"/>
                  </a:lnTo>
                  <a:lnTo>
                    <a:pt x="108" y="1254"/>
                  </a:lnTo>
                  <a:lnTo>
                    <a:pt x="114" y="1266"/>
                  </a:lnTo>
                  <a:lnTo>
                    <a:pt x="114" y="1278"/>
                  </a:lnTo>
                  <a:lnTo>
                    <a:pt x="108" y="1278"/>
                  </a:lnTo>
                  <a:lnTo>
                    <a:pt x="96" y="1266"/>
                  </a:lnTo>
                  <a:lnTo>
                    <a:pt x="90" y="1254"/>
                  </a:lnTo>
                  <a:lnTo>
                    <a:pt x="72" y="1236"/>
                  </a:lnTo>
                  <a:lnTo>
                    <a:pt x="66" y="1224"/>
                  </a:lnTo>
                  <a:lnTo>
                    <a:pt x="48" y="1218"/>
                  </a:lnTo>
                  <a:lnTo>
                    <a:pt x="66" y="1266"/>
                  </a:lnTo>
                  <a:lnTo>
                    <a:pt x="30" y="1236"/>
                  </a:lnTo>
                  <a:lnTo>
                    <a:pt x="30" y="1290"/>
                  </a:lnTo>
                  <a:lnTo>
                    <a:pt x="60" y="1350"/>
                  </a:lnTo>
                  <a:lnTo>
                    <a:pt x="66" y="1356"/>
                  </a:lnTo>
                  <a:lnTo>
                    <a:pt x="66" y="1368"/>
                  </a:lnTo>
                  <a:lnTo>
                    <a:pt x="60" y="1374"/>
                  </a:lnTo>
                  <a:lnTo>
                    <a:pt x="54" y="1386"/>
                  </a:lnTo>
                  <a:lnTo>
                    <a:pt x="54" y="1398"/>
                  </a:lnTo>
                  <a:lnTo>
                    <a:pt x="48" y="1410"/>
                  </a:lnTo>
                  <a:lnTo>
                    <a:pt x="54" y="1416"/>
                  </a:lnTo>
                  <a:lnTo>
                    <a:pt x="60" y="1428"/>
                  </a:lnTo>
                  <a:lnTo>
                    <a:pt x="78" y="1446"/>
                  </a:lnTo>
                  <a:lnTo>
                    <a:pt x="84" y="1458"/>
                  </a:lnTo>
                  <a:lnTo>
                    <a:pt x="90" y="1464"/>
                  </a:lnTo>
                  <a:lnTo>
                    <a:pt x="96" y="1476"/>
                  </a:lnTo>
                  <a:lnTo>
                    <a:pt x="96" y="1506"/>
                  </a:lnTo>
                  <a:lnTo>
                    <a:pt x="90" y="1518"/>
                  </a:lnTo>
                  <a:lnTo>
                    <a:pt x="84" y="1524"/>
                  </a:lnTo>
                  <a:lnTo>
                    <a:pt x="90" y="1542"/>
                  </a:lnTo>
                  <a:lnTo>
                    <a:pt x="90" y="1554"/>
                  </a:lnTo>
                  <a:lnTo>
                    <a:pt x="96" y="1572"/>
                  </a:lnTo>
                  <a:lnTo>
                    <a:pt x="96" y="1590"/>
                  </a:lnTo>
                  <a:lnTo>
                    <a:pt x="102" y="1596"/>
                  </a:lnTo>
                  <a:lnTo>
                    <a:pt x="102" y="1602"/>
                  </a:lnTo>
                  <a:lnTo>
                    <a:pt x="96" y="1602"/>
                  </a:lnTo>
                  <a:lnTo>
                    <a:pt x="78" y="1620"/>
                  </a:lnTo>
                  <a:lnTo>
                    <a:pt x="84" y="1626"/>
                  </a:lnTo>
                  <a:lnTo>
                    <a:pt x="84" y="1638"/>
                  </a:lnTo>
                  <a:lnTo>
                    <a:pt x="90" y="1650"/>
                  </a:lnTo>
                  <a:lnTo>
                    <a:pt x="90" y="1662"/>
                  </a:lnTo>
                  <a:lnTo>
                    <a:pt x="96" y="1668"/>
                  </a:lnTo>
                  <a:lnTo>
                    <a:pt x="96" y="1674"/>
                  </a:lnTo>
                  <a:lnTo>
                    <a:pt x="102" y="1674"/>
                  </a:lnTo>
                  <a:lnTo>
                    <a:pt x="108" y="1680"/>
                  </a:lnTo>
                  <a:lnTo>
                    <a:pt x="126" y="1716"/>
                  </a:lnTo>
                  <a:lnTo>
                    <a:pt x="126" y="1728"/>
                  </a:lnTo>
                  <a:lnTo>
                    <a:pt x="108" y="1764"/>
                  </a:lnTo>
                  <a:lnTo>
                    <a:pt x="90" y="1782"/>
                  </a:lnTo>
                  <a:lnTo>
                    <a:pt x="90" y="1824"/>
                  </a:lnTo>
                  <a:lnTo>
                    <a:pt x="84" y="1842"/>
                  </a:lnTo>
                  <a:lnTo>
                    <a:pt x="60" y="1866"/>
                  </a:lnTo>
                  <a:lnTo>
                    <a:pt x="42" y="1866"/>
                  </a:lnTo>
                  <a:lnTo>
                    <a:pt x="30" y="1872"/>
                  </a:lnTo>
                  <a:lnTo>
                    <a:pt x="18" y="1866"/>
                  </a:lnTo>
                  <a:lnTo>
                    <a:pt x="6" y="1866"/>
                  </a:lnTo>
                  <a:lnTo>
                    <a:pt x="0" y="1920"/>
                  </a:lnTo>
                  <a:lnTo>
                    <a:pt x="12" y="1920"/>
                  </a:lnTo>
                  <a:lnTo>
                    <a:pt x="24" y="1926"/>
                  </a:lnTo>
                  <a:lnTo>
                    <a:pt x="42" y="1926"/>
                  </a:lnTo>
                  <a:lnTo>
                    <a:pt x="54" y="1932"/>
                  </a:lnTo>
                  <a:lnTo>
                    <a:pt x="72" y="1950"/>
                  </a:lnTo>
                  <a:lnTo>
                    <a:pt x="78" y="1962"/>
                  </a:lnTo>
                  <a:lnTo>
                    <a:pt x="108" y="1956"/>
                  </a:lnTo>
                  <a:lnTo>
                    <a:pt x="114" y="1968"/>
                  </a:lnTo>
                  <a:lnTo>
                    <a:pt x="138" y="1980"/>
                  </a:lnTo>
                  <a:lnTo>
                    <a:pt x="174" y="1980"/>
                  </a:lnTo>
                  <a:lnTo>
                    <a:pt x="210" y="1968"/>
                  </a:lnTo>
                  <a:lnTo>
                    <a:pt x="234" y="1968"/>
                  </a:lnTo>
                  <a:lnTo>
                    <a:pt x="234" y="1950"/>
                  </a:lnTo>
                  <a:lnTo>
                    <a:pt x="228" y="1944"/>
                  </a:lnTo>
                  <a:lnTo>
                    <a:pt x="264" y="1950"/>
                  </a:lnTo>
                  <a:lnTo>
                    <a:pt x="276" y="1932"/>
                  </a:lnTo>
                  <a:lnTo>
                    <a:pt x="318" y="1926"/>
                  </a:lnTo>
                  <a:lnTo>
                    <a:pt x="354" y="1890"/>
                  </a:lnTo>
                  <a:lnTo>
                    <a:pt x="366" y="1884"/>
                  </a:lnTo>
                  <a:lnTo>
                    <a:pt x="372" y="1884"/>
                  </a:lnTo>
                  <a:lnTo>
                    <a:pt x="420" y="1908"/>
                  </a:lnTo>
                  <a:lnTo>
                    <a:pt x="426" y="1902"/>
                  </a:lnTo>
                  <a:lnTo>
                    <a:pt x="474" y="1878"/>
                  </a:lnTo>
                  <a:lnTo>
                    <a:pt x="480" y="1872"/>
                  </a:lnTo>
                  <a:lnTo>
                    <a:pt x="486" y="1872"/>
                  </a:lnTo>
                  <a:lnTo>
                    <a:pt x="498" y="1878"/>
                  </a:lnTo>
                  <a:lnTo>
                    <a:pt x="504" y="1884"/>
                  </a:lnTo>
                  <a:lnTo>
                    <a:pt x="516" y="1884"/>
                  </a:lnTo>
                  <a:lnTo>
                    <a:pt x="528" y="1890"/>
                  </a:lnTo>
                  <a:lnTo>
                    <a:pt x="534" y="1890"/>
                  </a:lnTo>
                  <a:lnTo>
                    <a:pt x="552" y="1884"/>
                  </a:lnTo>
                  <a:lnTo>
                    <a:pt x="576" y="1872"/>
                  </a:lnTo>
                  <a:lnTo>
                    <a:pt x="582" y="1872"/>
                  </a:lnTo>
                  <a:lnTo>
                    <a:pt x="594" y="1878"/>
                  </a:lnTo>
                  <a:lnTo>
                    <a:pt x="606" y="1878"/>
                  </a:lnTo>
                  <a:lnTo>
                    <a:pt x="624" y="1884"/>
                  </a:lnTo>
                  <a:lnTo>
                    <a:pt x="636" y="1884"/>
                  </a:lnTo>
                  <a:lnTo>
                    <a:pt x="648" y="1878"/>
                  </a:lnTo>
                  <a:lnTo>
                    <a:pt x="654" y="1872"/>
                  </a:lnTo>
                  <a:lnTo>
                    <a:pt x="654" y="1848"/>
                  </a:lnTo>
                  <a:lnTo>
                    <a:pt x="666" y="1848"/>
                  </a:lnTo>
                  <a:lnTo>
                    <a:pt x="672" y="1842"/>
                  </a:lnTo>
                  <a:lnTo>
                    <a:pt x="678" y="1842"/>
                  </a:lnTo>
                  <a:lnTo>
                    <a:pt x="684" y="1836"/>
                  </a:lnTo>
                  <a:lnTo>
                    <a:pt x="690" y="1824"/>
                  </a:lnTo>
                  <a:lnTo>
                    <a:pt x="702" y="1788"/>
                  </a:lnTo>
                  <a:lnTo>
                    <a:pt x="714" y="1776"/>
                  </a:lnTo>
                  <a:lnTo>
                    <a:pt x="726" y="1770"/>
                  </a:lnTo>
                  <a:lnTo>
                    <a:pt x="744" y="1764"/>
                  </a:lnTo>
                  <a:lnTo>
                    <a:pt x="756" y="1764"/>
                  </a:lnTo>
                  <a:lnTo>
                    <a:pt x="774" y="1770"/>
                  </a:lnTo>
                  <a:lnTo>
                    <a:pt x="798" y="1770"/>
                  </a:lnTo>
                  <a:lnTo>
                    <a:pt x="822" y="1758"/>
                  </a:lnTo>
                  <a:lnTo>
                    <a:pt x="840" y="1752"/>
                  </a:lnTo>
                  <a:lnTo>
                    <a:pt x="858" y="1740"/>
                  </a:lnTo>
                  <a:lnTo>
                    <a:pt x="876" y="1734"/>
                  </a:lnTo>
                  <a:lnTo>
                    <a:pt x="912" y="1734"/>
                  </a:lnTo>
                  <a:lnTo>
                    <a:pt x="918" y="1740"/>
                  </a:lnTo>
                  <a:lnTo>
                    <a:pt x="930" y="1740"/>
                  </a:lnTo>
                  <a:lnTo>
                    <a:pt x="942" y="1746"/>
                  </a:lnTo>
                  <a:lnTo>
                    <a:pt x="972" y="1740"/>
                  </a:lnTo>
                  <a:lnTo>
                    <a:pt x="1044" y="1704"/>
                  </a:lnTo>
                  <a:lnTo>
                    <a:pt x="1074" y="1692"/>
                  </a:lnTo>
                  <a:lnTo>
                    <a:pt x="1098" y="1686"/>
                  </a:lnTo>
                  <a:lnTo>
                    <a:pt x="1140" y="1680"/>
                  </a:lnTo>
                  <a:lnTo>
                    <a:pt x="1176" y="1674"/>
                  </a:lnTo>
                  <a:lnTo>
                    <a:pt x="1224" y="1674"/>
                  </a:lnTo>
                  <a:lnTo>
                    <a:pt x="1236" y="1662"/>
                  </a:lnTo>
                  <a:lnTo>
                    <a:pt x="1254" y="1680"/>
                  </a:lnTo>
                  <a:lnTo>
                    <a:pt x="1266" y="1686"/>
                  </a:lnTo>
                  <a:lnTo>
                    <a:pt x="1278" y="1698"/>
                  </a:lnTo>
                  <a:lnTo>
                    <a:pt x="1302" y="1710"/>
                  </a:lnTo>
                  <a:lnTo>
                    <a:pt x="1320" y="1716"/>
                  </a:lnTo>
                  <a:lnTo>
                    <a:pt x="1332" y="1716"/>
                  </a:lnTo>
                  <a:lnTo>
                    <a:pt x="1338" y="1710"/>
                  </a:lnTo>
                  <a:lnTo>
                    <a:pt x="1338" y="1716"/>
                  </a:lnTo>
                  <a:lnTo>
                    <a:pt x="1344" y="1722"/>
                  </a:lnTo>
                  <a:lnTo>
                    <a:pt x="1350" y="1734"/>
                  </a:lnTo>
                  <a:lnTo>
                    <a:pt x="1356" y="1740"/>
                  </a:lnTo>
                  <a:lnTo>
                    <a:pt x="1374" y="1740"/>
                  </a:lnTo>
                  <a:lnTo>
                    <a:pt x="1380" y="1734"/>
                  </a:lnTo>
                  <a:lnTo>
                    <a:pt x="1380" y="1752"/>
                  </a:lnTo>
                  <a:lnTo>
                    <a:pt x="1392" y="1752"/>
                  </a:lnTo>
                  <a:lnTo>
                    <a:pt x="1398" y="1758"/>
                  </a:lnTo>
                  <a:lnTo>
                    <a:pt x="1398" y="1770"/>
                  </a:lnTo>
                  <a:lnTo>
                    <a:pt x="1386" y="1794"/>
                  </a:lnTo>
                  <a:lnTo>
                    <a:pt x="1380" y="1800"/>
                  </a:lnTo>
                  <a:lnTo>
                    <a:pt x="1374" y="1812"/>
                  </a:lnTo>
                  <a:lnTo>
                    <a:pt x="1392" y="1842"/>
                  </a:lnTo>
                  <a:lnTo>
                    <a:pt x="1410" y="1830"/>
                  </a:lnTo>
                  <a:lnTo>
                    <a:pt x="1428" y="1866"/>
                  </a:lnTo>
                  <a:lnTo>
                    <a:pt x="1428" y="1872"/>
                  </a:lnTo>
                  <a:lnTo>
                    <a:pt x="1434" y="1878"/>
                  </a:lnTo>
                  <a:lnTo>
                    <a:pt x="1434" y="1902"/>
                  </a:lnTo>
                  <a:lnTo>
                    <a:pt x="1440" y="1914"/>
                  </a:lnTo>
                  <a:lnTo>
                    <a:pt x="1440" y="1926"/>
                  </a:lnTo>
                  <a:lnTo>
                    <a:pt x="1422" y="1926"/>
                  </a:lnTo>
                  <a:lnTo>
                    <a:pt x="1410" y="1920"/>
                  </a:lnTo>
                  <a:lnTo>
                    <a:pt x="1404" y="1920"/>
                  </a:lnTo>
                  <a:lnTo>
                    <a:pt x="1410" y="1956"/>
                  </a:lnTo>
                  <a:lnTo>
                    <a:pt x="1446" y="1956"/>
                  </a:lnTo>
                  <a:lnTo>
                    <a:pt x="1452" y="1962"/>
                  </a:lnTo>
                  <a:lnTo>
                    <a:pt x="1452" y="1968"/>
                  </a:lnTo>
                  <a:lnTo>
                    <a:pt x="1470" y="1968"/>
                  </a:lnTo>
                  <a:lnTo>
                    <a:pt x="1470" y="1956"/>
                  </a:lnTo>
                  <a:lnTo>
                    <a:pt x="1464" y="1938"/>
                  </a:lnTo>
                  <a:lnTo>
                    <a:pt x="1464" y="1926"/>
                  </a:lnTo>
                  <a:lnTo>
                    <a:pt x="1470" y="1914"/>
                  </a:lnTo>
                  <a:lnTo>
                    <a:pt x="1476" y="1908"/>
                  </a:lnTo>
                  <a:lnTo>
                    <a:pt x="1500" y="1896"/>
                  </a:lnTo>
                  <a:lnTo>
                    <a:pt x="1512" y="1896"/>
                  </a:lnTo>
                  <a:lnTo>
                    <a:pt x="1518" y="1890"/>
                  </a:lnTo>
                  <a:lnTo>
                    <a:pt x="1530" y="1884"/>
                  </a:lnTo>
                  <a:lnTo>
                    <a:pt x="1542" y="1872"/>
                  </a:lnTo>
                  <a:lnTo>
                    <a:pt x="1548" y="1860"/>
                  </a:lnTo>
                  <a:lnTo>
                    <a:pt x="1566" y="1842"/>
                  </a:lnTo>
                  <a:lnTo>
                    <a:pt x="1566" y="1836"/>
                  </a:lnTo>
                  <a:lnTo>
                    <a:pt x="1590" y="1842"/>
                  </a:lnTo>
                  <a:lnTo>
                    <a:pt x="1608" y="1788"/>
                  </a:lnTo>
                  <a:lnTo>
                    <a:pt x="1638" y="1788"/>
                  </a:lnTo>
                  <a:lnTo>
                    <a:pt x="1650" y="1782"/>
                  </a:lnTo>
                  <a:lnTo>
                    <a:pt x="1662" y="1770"/>
                  </a:lnTo>
                  <a:lnTo>
                    <a:pt x="1668" y="1752"/>
                  </a:lnTo>
                  <a:lnTo>
                    <a:pt x="1668" y="1740"/>
                  </a:lnTo>
                  <a:lnTo>
                    <a:pt x="1668" y="1746"/>
                  </a:lnTo>
                  <a:lnTo>
                    <a:pt x="1674" y="1752"/>
                  </a:lnTo>
                  <a:lnTo>
                    <a:pt x="1674" y="1764"/>
                  </a:lnTo>
                  <a:lnTo>
                    <a:pt x="1680" y="1776"/>
                  </a:lnTo>
                  <a:lnTo>
                    <a:pt x="1680" y="1782"/>
                  </a:lnTo>
                  <a:lnTo>
                    <a:pt x="1668" y="1794"/>
                  </a:lnTo>
                  <a:lnTo>
                    <a:pt x="1662" y="1806"/>
                  </a:lnTo>
                  <a:lnTo>
                    <a:pt x="1650" y="1812"/>
                  </a:lnTo>
                  <a:lnTo>
                    <a:pt x="1644" y="1818"/>
                  </a:lnTo>
                  <a:lnTo>
                    <a:pt x="1620" y="1818"/>
                  </a:lnTo>
                  <a:lnTo>
                    <a:pt x="1614" y="1830"/>
                  </a:lnTo>
                  <a:lnTo>
                    <a:pt x="1632" y="1866"/>
                  </a:lnTo>
                  <a:lnTo>
                    <a:pt x="1620" y="1866"/>
                  </a:lnTo>
                  <a:lnTo>
                    <a:pt x="1614" y="1872"/>
                  </a:lnTo>
                  <a:lnTo>
                    <a:pt x="1602" y="1878"/>
                  </a:lnTo>
                  <a:lnTo>
                    <a:pt x="1566" y="1914"/>
                  </a:lnTo>
                  <a:lnTo>
                    <a:pt x="1566" y="1926"/>
                  </a:lnTo>
                  <a:lnTo>
                    <a:pt x="1560" y="1932"/>
                  </a:lnTo>
                  <a:lnTo>
                    <a:pt x="1554" y="1944"/>
                  </a:lnTo>
                  <a:lnTo>
                    <a:pt x="1542" y="1956"/>
                  </a:lnTo>
                  <a:lnTo>
                    <a:pt x="1518" y="1968"/>
                  </a:lnTo>
                  <a:lnTo>
                    <a:pt x="1512" y="1974"/>
                  </a:lnTo>
                  <a:lnTo>
                    <a:pt x="1512" y="1980"/>
                  </a:lnTo>
                  <a:lnTo>
                    <a:pt x="1518" y="1986"/>
                  </a:lnTo>
                  <a:lnTo>
                    <a:pt x="1548" y="1986"/>
                  </a:lnTo>
                  <a:lnTo>
                    <a:pt x="1560" y="1980"/>
                  </a:lnTo>
                  <a:lnTo>
                    <a:pt x="1572" y="1980"/>
                  </a:lnTo>
                  <a:lnTo>
                    <a:pt x="1584" y="1968"/>
                  </a:lnTo>
                  <a:lnTo>
                    <a:pt x="1602" y="1932"/>
                  </a:lnTo>
                  <a:lnTo>
                    <a:pt x="1608" y="1926"/>
                  </a:lnTo>
                  <a:lnTo>
                    <a:pt x="1614" y="1914"/>
                  </a:lnTo>
                  <a:lnTo>
                    <a:pt x="1626" y="1908"/>
                  </a:lnTo>
                  <a:lnTo>
                    <a:pt x="1632" y="1902"/>
                  </a:lnTo>
                  <a:lnTo>
                    <a:pt x="1632" y="1920"/>
                  </a:lnTo>
                  <a:lnTo>
                    <a:pt x="1638" y="1932"/>
                  </a:lnTo>
                  <a:lnTo>
                    <a:pt x="1638" y="1956"/>
                  </a:lnTo>
                  <a:lnTo>
                    <a:pt x="1626" y="1968"/>
                  </a:lnTo>
                  <a:lnTo>
                    <a:pt x="1614" y="1974"/>
                  </a:lnTo>
                  <a:lnTo>
                    <a:pt x="1602" y="1986"/>
                  </a:lnTo>
                  <a:lnTo>
                    <a:pt x="1602" y="2004"/>
                  </a:lnTo>
                  <a:lnTo>
                    <a:pt x="1608" y="2010"/>
                  </a:lnTo>
                  <a:lnTo>
                    <a:pt x="1614" y="2010"/>
                  </a:lnTo>
                  <a:lnTo>
                    <a:pt x="1632" y="2016"/>
                  </a:lnTo>
                  <a:lnTo>
                    <a:pt x="1662" y="2016"/>
                  </a:lnTo>
                  <a:lnTo>
                    <a:pt x="1668" y="2028"/>
                  </a:lnTo>
                  <a:lnTo>
                    <a:pt x="1644" y="2052"/>
                  </a:lnTo>
                  <a:lnTo>
                    <a:pt x="1644" y="2058"/>
                  </a:lnTo>
                  <a:lnTo>
                    <a:pt x="1650" y="2064"/>
                  </a:lnTo>
                  <a:lnTo>
                    <a:pt x="1668" y="2100"/>
                  </a:lnTo>
                  <a:lnTo>
                    <a:pt x="1674" y="2106"/>
                  </a:lnTo>
                  <a:lnTo>
                    <a:pt x="1674" y="2118"/>
                  </a:lnTo>
                  <a:lnTo>
                    <a:pt x="1626" y="2166"/>
                  </a:lnTo>
                  <a:lnTo>
                    <a:pt x="1626" y="2178"/>
                  </a:lnTo>
                  <a:lnTo>
                    <a:pt x="1638" y="2190"/>
                  </a:lnTo>
                  <a:lnTo>
                    <a:pt x="1644" y="2202"/>
                  </a:lnTo>
                  <a:lnTo>
                    <a:pt x="1668" y="2214"/>
                  </a:lnTo>
                  <a:lnTo>
                    <a:pt x="1680" y="2226"/>
                  </a:lnTo>
                  <a:lnTo>
                    <a:pt x="1692" y="2232"/>
                  </a:lnTo>
                  <a:lnTo>
                    <a:pt x="1716" y="2256"/>
                  </a:lnTo>
                  <a:lnTo>
                    <a:pt x="1728" y="2262"/>
                  </a:lnTo>
                  <a:lnTo>
                    <a:pt x="1800" y="2262"/>
                  </a:lnTo>
                  <a:lnTo>
                    <a:pt x="1824" y="2286"/>
                  </a:lnTo>
                  <a:lnTo>
                    <a:pt x="1842" y="2292"/>
                  </a:lnTo>
                  <a:lnTo>
                    <a:pt x="1872" y="2286"/>
                  </a:lnTo>
                  <a:lnTo>
                    <a:pt x="1902" y="2274"/>
                  </a:lnTo>
                  <a:lnTo>
                    <a:pt x="1932" y="2256"/>
                  </a:lnTo>
                  <a:lnTo>
                    <a:pt x="1944" y="2250"/>
                  </a:lnTo>
                  <a:lnTo>
                    <a:pt x="1944" y="2226"/>
                  </a:lnTo>
                  <a:lnTo>
                    <a:pt x="1956" y="2214"/>
                  </a:lnTo>
                  <a:lnTo>
                    <a:pt x="1962" y="2214"/>
                  </a:lnTo>
                  <a:lnTo>
                    <a:pt x="1974" y="2226"/>
                  </a:lnTo>
                  <a:lnTo>
                    <a:pt x="1974" y="2256"/>
                  </a:lnTo>
                  <a:lnTo>
                    <a:pt x="1992" y="2256"/>
                  </a:lnTo>
                  <a:lnTo>
                    <a:pt x="1980" y="2280"/>
                  </a:lnTo>
                  <a:lnTo>
                    <a:pt x="1998" y="2280"/>
                  </a:lnTo>
                  <a:lnTo>
                    <a:pt x="1998" y="2292"/>
                  </a:lnTo>
                  <a:lnTo>
                    <a:pt x="2004" y="2298"/>
                  </a:lnTo>
                  <a:lnTo>
                    <a:pt x="2010" y="2310"/>
                  </a:lnTo>
                  <a:lnTo>
                    <a:pt x="2016" y="2316"/>
                  </a:lnTo>
                  <a:lnTo>
                    <a:pt x="2028" y="2316"/>
                  </a:lnTo>
                  <a:lnTo>
                    <a:pt x="2040" y="2304"/>
                  </a:lnTo>
                  <a:lnTo>
                    <a:pt x="2046" y="2304"/>
                  </a:lnTo>
                  <a:lnTo>
                    <a:pt x="2052" y="2298"/>
                  </a:lnTo>
                  <a:lnTo>
                    <a:pt x="2070" y="2292"/>
                  </a:lnTo>
                  <a:lnTo>
                    <a:pt x="2082" y="2286"/>
                  </a:lnTo>
                  <a:lnTo>
                    <a:pt x="2088" y="2280"/>
                  </a:lnTo>
                  <a:lnTo>
                    <a:pt x="2100" y="2274"/>
                  </a:lnTo>
                  <a:lnTo>
                    <a:pt x="2124" y="2250"/>
                  </a:lnTo>
                  <a:lnTo>
                    <a:pt x="2136" y="2244"/>
                  </a:lnTo>
                  <a:lnTo>
                    <a:pt x="2148" y="2232"/>
                  </a:lnTo>
                  <a:lnTo>
                    <a:pt x="2160" y="2226"/>
                  </a:lnTo>
                  <a:lnTo>
                    <a:pt x="2154" y="2214"/>
                  </a:lnTo>
                  <a:lnTo>
                    <a:pt x="2190" y="2202"/>
                  </a:lnTo>
                  <a:lnTo>
                    <a:pt x="2202" y="2214"/>
                  </a:lnTo>
                  <a:lnTo>
                    <a:pt x="2220" y="2214"/>
                  </a:lnTo>
                  <a:lnTo>
                    <a:pt x="2256" y="2208"/>
                  </a:lnTo>
                  <a:lnTo>
                    <a:pt x="2298" y="2196"/>
                  </a:lnTo>
                  <a:lnTo>
                    <a:pt x="2316" y="2178"/>
                  </a:lnTo>
                  <a:lnTo>
                    <a:pt x="2328" y="2148"/>
                  </a:lnTo>
                  <a:lnTo>
                    <a:pt x="2334" y="2118"/>
                  </a:lnTo>
                  <a:lnTo>
                    <a:pt x="2340" y="2100"/>
                  </a:lnTo>
                  <a:lnTo>
                    <a:pt x="2346" y="2088"/>
                  </a:lnTo>
                  <a:lnTo>
                    <a:pt x="2376" y="2058"/>
                  </a:lnTo>
                  <a:lnTo>
                    <a:pt x="2382" y="2058"/>
                  </a:lnTo>
                  <a:lnTo>
                    <a:pt x="2382" y="2034"/>
                  </a:lnTo>
                  <a:lnTo>
                    <a:pt x="2388" y="2034"/>
                  </a:lnTo>
                  <a:lnTo>
                    <a:pt x="2394" y="2028"/>
                  </a:lnTo>
                  <a:lnTo>
                    <a:pt x="2406" y="2022"/>
                  </a:lnTo>
                  <a:lnTo>
                    <a:pt x="2418" y="2010"/>
                  </a:lnTo>
                  <a:lnTo>
                    <a:pt x="2424" y="1998"/>
                  </a:lnTo>
                  <a:lnTo>
                    <a:pt x="2442" y="1980"/>
                  </a:lnTo>
                  <a:lnTo>
                    <a:pt x="2442" y="1956"/>
                  </a:lnTo>
                  <a:lnTo>
                    <a:pt x="2448" y="1944"/>
                  </a:lnTo>
                  <a:lnTo>
                    <a:pt x="2454" y="1926"/>
                  </a:lnTo>
                  <a:lnTo>
                    <a:pt x="2460" y="1914"/>
                  </a:lnTo>
                  <a:lnTo>
                    <a:pt x="2490" y="1884"/>
                  </a:lnTo>
                  <a:lnTo>
                    <a:pt x="2502" y="1866"/>
                  </a:lnTo>
                  <a:lnTo>
                    <a:pt x="2526" y="1842"/>
                  </a:lnTo>
                  <a:lnTo>
                    <a:pt x="2538" y="1836"/>
                  </a:lnTo>
                  <a:lnTo>
                    <a:pt x="2550" y="1824"/>
                  </a:lnTo>
                  <a:lnTo>
                    <a:pt x="2556" y="1812"/>
                  </a:lnTo>
                  <a:lnTo>
                    <a:pt x="2556" y="1800"/>
                  </a:lnTo>
                  <a:lnTo>
                    <a:pt x="2562" y="1788"/>
                  </a:lnTo>
                  <a:lnTo>
                    <a:pt x="2562" y="1782"/>
                  </a:lnTo>
                  <a:lnTo>
                    <a:pt x="2586" y="1782"/>
                  </a:lnTo>
                  <a:lnTo>
                    <a:pt x="2610" y="1770"/>
                  </a:lnTo>
                  <a:lnTo>
                    <a:pt x="2622" y="1752"/>
                  </a:lnTo>
                  <a:lnTo>
                    <a:pt x="2646" y="1728"/>
                  </a:lnTo>
                  <a:lnTo>
                    <a:pt x="2670" y="1698"/>
                  </a:lnTo>
                  <a:lnTo>
                    <a:pt x="2688" y="1674"/>
                  </a:lnTo>
                  <a:lnTo>
                    <a:pt x="2700" y="1662"/>
                  </a:lnTo>
                  <a:lnTo>
                    <a:pt x="2700" y="1656"/>
                  </a:lnTo>
                  <a:lnTo>
                    <a:pt x="2706" y="1638"/>
                  </a:lnTo>
                  <a:lnTo>
                    <a:pt x="2706" y="1614"/>
                  </a:lnTo>
                  <a:lnTo>
                    <a:pt x="2712" y="1596"/>
                  </a:lnTo>
                  <a:lnTo>
                    <a:pt x="2718" y="1590"/>
                  </a:lnTo>
                  <a:lnTo>
                    <a:pt x="2730" y="1572"/>
                  </a:lnTo>
                  <a:lnTo>
                    <a:pt x="2754" y="1542"/>
                  </a:lnTo>
                  <a:lnTo>
                    <a:pt x="2772" y="1494"/>
                  </a:lnTo>
                  <a:lnTo>
                    <a:pt x="2796" y="1458"/>
                  </a:lnTo>
                  <a:lnTo>
                    <a:pt x="2808" y="1428"/>
                  </a:lnTo>
                  <a:lnTo>
                    <a:pt x="2814" y="1416"/>
                  </a:lnTo>
                  <a:lnTo>
                    <a:pt x="2814" y="1386"/>
                  </a:lnTo>
                  <a:lnTo>
                    <a:pt x="2802" y="1362"/>
                  </a:lnTo>
                  <a:lnTo>
                    <a:pt x="2820" y="1308"/>
                  </a:lnTo>
                  <a:lnTo>
                    <a:pt x="2832" y="1290"/>
                  </a:lnTo>
                  <a:lnTo>
                    <a:pt x="2838" y="1266"/>
                  </a:lnTo>
                  <a:lnTo>
                    <a:pt x="2838" y="1224"/>
                  </a:lnTo>
                  <a:lnTo>
                    <a:pt x="2832" y="1194"/>
                  </a:lnTo>
                  <a:lnTo>
                    <a:pt x="2832" y="1176"/>
                  </a:lnTo>
                  <a:lnTo>
                    <a:pt x="2802" y="1164"/>
                  </a:lnTo>
                  <a:close/>
                  <a:moveTo>
                    <a:pt x="2016" y="2436"/>
                  </a:moveTo>
                  <a:lnTo>
                    <a:pt x="2022" y="2442"/>
                  </a:lnTo>
                  <a:lnTo>
                    <a:pt x="2028" y="2442"/>
                  </a:lnTo>
                  <a:lnTo>
                    <a:pt x="2040" y="2436"/>
                  </a:lnTo>
                  <a:lnTo>
                    <a:pt x="2046" y="2430"/>
                  </a:lnTo>
                  <a:lnTo>
                    <a:pt x="2034" y="2418"/>
                  </a:lnTo>
                  <a:lnTo>
                    <a:pt x="2016" y="2436"/>
                  </a:lnTo>
                  <a:close/>
                  <a:moveTo>
                    <a:pt x="1992" y="2454"/>
                  </a:moveTo>
                  <a:lnTo>
                    <a:pt x="1974" y="2454"/>
                  </a:lnTo>
                  <a:lnTo>
                    <a:pt x="1962" y="2466"/>
                  </a:lnTo>
                  <a:lnTo>
                    <a:pt x="1962" y="2472"/>
                  </a:lnTo>
                  <a:lnTo>
                    <a:pt x="1962" y="2460"/>
                  </a:lnTo>
                  <a:lnTo>
                    <a:pt x="1938" y="2460"/>
                  </a:lnTo>
                  <a:lnTo>
                    <a:pt x="1926" y="2466"/>
                  </a:lnTo>
                  <a:lnTo>
                    <a:pt x="1914" y="2466"/>
                  </a:lnTo>
                  <a:lnTo>
                    <a:pt x="1908" y="2478"/>
                  </a:lnTo>
                  <a:lnTo>
                    <a:pt x="1890" y="2460"/>
                  </a:lnTo>
                  <a:lnTo>
                    <a:pt x="1854" y="2460"/>
                  </a:lnTo>
                  <a:lnTo>
                    <a:pt x="1830" y="2430"/>
                  </a:lnTo>
                  <a:lnTo>
                    <a:pt x="1824" y="2436"/>
                  </a:lnTo>
                  <a:lnTo>
                    <a:pt x="1818" y="2436"/>
                  </a:lnTo>
                  <a:lnTo>
                    <a:pt x="1812" y="2442"/>
                  </a:lnTo>
                  <a:lnTo>
                    <a:pt x="1806" y="2442"/>
                  </a:lnTo>
                  <a:lnTo>
                    <a:pt x="1776" y="2412"/>
                  </a:lnTo>
                  <a:lnTo>
                    <a:pt x="1776" y="2424"/>
                  </a:lnTo>
                  <a:lnTo>
                    <a:pt x="1782" y="2448"/>
                  </a:lnTo>
                  <a:lnTo>
                    <a:pt x="1782" y="2472"/>
                  </a:lnTo>
                  <a:lnTo>
                    <a:pt x="1776" y="2478"/>
                  </a:lnTo>
                  <a:lnTo>
                    <a:pt x="1776" y="2484"/>
                  </a:lnTo>
                  <a:lnTo>
                    <a:pt x="1770" y="2490"/>
                  </a:lnTo>
                  <a:lnTo>
                    <a:pt x="1770" y="2502"/>
                  </a:lnTo>
                  <a:lnTo>
                    <a:pt x="1776" y="2514"/>
                  </a:lnTo>
                  <a:lnTo>
                    <a:pt x="1776" y="2532"/>
                  </a:lnTo>
                  <a:lnTo>
                    <a:pt x="1764" y="2538"/>
                  </a:lnTo>
                  <a:lnTo>
                    <a:pt x="1758" y="2544"/>
                  </a:lnTo>
                  <a:lnTo>
                    <a:pt x="1752" y="2544"/>
                  </a:lnTo>
                  <a:lnTo>
                    <a:pt x="1740" y="2532"/>
                  </a:lnTo>
                  <a:lnTo>
                    <a:pt x="1740" y="2538"/>
                  </a:lnTo>
                  <a:lnTo>
                    <a:pt x="1734" y="2544"/>
                  </a:lnTo>
                  <a:lnTo>
                    <a:pt x="1734" y="2556"/>
                  </a:lnTo>
                  <a:lnTo>
                    <a:pt x="1728" y="2574"/>
                  </a:lnTo>
                  <a:lnTo>
                    <a:pt x="1728" y="2586"/>
                  </a:lnTo>
                  <a:lnTo>
                    <a:pt x="1740" y="2610"/>
                  </a:lnTo>
                  <a:lnTo>
                    <a:pt x="1740" y="2616"/>
                  </a:lnTo>
                  <a:lnTo>
                    <a:pt x="1746" y="2628"/>
                  </a:lnTo>
                  <a:lnTo>
                    <a:pt x="1770" y="2628"/>
                  </a:lnTo>
                  <a:lnTo>
                    <a:pt x="1752" y="2640"/>
                  </a:lnTo>
                  <a:lnTo>
                    <a:pt x="1758" y="2664"/>
                  </a:lnTo>
                  <a:lnTo>
                    <a:pt x="1770" y="2658"/>
                  </a:lnTo>
                  <a:lnTo>
                    <a:pt x="1776" y="2658"/>
                  </a:lnTo>
                  <a:lnTo>
                    <a:pt x="1782" y="2652"/>
                  </a:lnTo>
                  <a:lnTo>
                    <a:pt x="1794" y="2652"/>
                  </a:lnTo>
                  <a:lnTo>
                    <a:pt x="1800" y="2658"/>
                  </a:lnTo>
                  <a:lnTo>
                    <a:pt x="1818" y="2658"/>
                  </a:lnTo>
                  <a:lnTo>
                    <a:pt x="1830" y="2652"/>
                  </a:lnTo>
                  <a:lnTo>
                    <a:pt x="1836" y="2646"/>
                  </a:lnTo>
                  <a:lnTo>
                    <a:pt x="1842" y="2634"/>
                  </a:lnTo>
                  <a:lnTo>
                    <a:pt x="1854" y="2634"/>
                  </a:lnTo>
                  <a:lnTo>
                    <a:pt x="1860" y="2640"/>
                  </a:lnTo>
                  <a:lnTo>
                    <a:pt x="1860" y="2646"/>
                  </a:lnTo>
                  <a:lnTo>
                    <a:pt x="1848" y="2658"/>
                  </a:lnTo>
                  <a:lnTo>
                    <a:pt x="1866" y="2664"/>
                  </a:lnTo>
                  <a:lnTo>
                    <a:pt x="1884" y="2646"/>
                  </a:lnTo>
                  <a:lnTo>
                    <a:pt x="1890" y="2634"/>
                  </a:lnTo>
                  <a:lnTo>
                    <a:pt x="1902" y="2628"/>
                  </a:lnTo>
                  <a:lnTo>
                    <a:pt x="1908" y="2616"/>
                  </a:lnTo>
                  <a:lnTo>
                    <a:pt x="1920" y="2604"/>
                  </a:lnTo>
                  <a:lnTo>
                    <a:pt x="1914" y="2604"/>
                  </a:lnTo>
                  <a:lnTo>
                    <a:pt x="1902" y="2592"/>
                  </a:lnTo>
                  <a:lnTo>
                    <a:pt x="1920" y="2562"/>
                  </a:lnTo>
                  <a:lnTo>
                    <a:pt x="1950" y="2562"/>
                  </a:lnTo>
                  <a:lnTo>
                    <a:pt x="1962" y="2538"/>
                  </a:lnTo>
                  <a:lnTo>
                    <a:pt x="1962" y="2514"/>
                  </a:lnTo>
                  <a:lnTo>
                    <a:pt x="1968" y="2502"/>
                  </a:lnTo>
                  <a:lnTo>
                    <a:pt x="1980" y="2496"/>
                  </a:lnTo>
                  <a:lnTo>
                    <a:pt x="1986" y="2484"/>
                  </a:lnTo>
                  <a:lnTo>
                    <a:pt x="1992" y="2478"/>
                  </a:lnTo>
                  <a:lnTo>
                    <a:pt x="1998" y="2466"/>
                  </a:lnTo>
                  <a:lnTo>
                    <a:pt x="1998" y="2460"/>
                  </a:lnTo>
                  <a:lnTo>
                    <a:pt x="1992" y="2454"/>
                  </a:lnTo>
                  <a:close/>
                  <a:moveTo>
                    <a:pt x="1902" y="246"/>
                  </a:moveTo>
                  <a:lnTo>
                    <a:pt x="1890" y="258"/>
                  </a:lnTo>
                  <a:lnTo>
                    <a:pt x="1890" y="270"/>
                  </a:lnTo>
                  <a:lnTo>
                    <a:pt x="1884" y="282"/>
                  </a:lnTo>
                  <a:lnTo>
                    <a:pt x="1884" y="294"/>
                  </a:lnTo>
                  <a:lnTo>
                    <a:pt x="1896" y="300"/>
                  </a:lnTo>
                  <a:lnTo>
                    <a:pt x="1920" y="300"/>
                  </a:lnTo>
                  <a:lnTo>
                    <a:pt x="1926" y="294"/>
                  </a:lnTo>
                  <a:lnTo>
                    <a:pt x="1932" y="294"/>
                  </a:lnTo>
                  <a:lnTo>
                    <a:pt x="1926" y="282"/>
                  </a:lnTo>
                  <a:lnTo>
                    <a:pt x="1932" y="252"/>
                  </a:lnTo>
                  <a:lnTo>
                    <a:pt x="1920" y="252"/>
                  </a:lnTo>
                  <a:lnTo>
                    <a:pt x="1908" y="246"/>
                  </a:lnTo>
                  <a:lnTo>
                    <a:pt x="1902" y="246"/>
                  </a:lnTo>
                  <a:close/>
                  <a:moveTo>
                    <a:pt x="1770" y="2334"/>
                  </a:moveTo>
                  <a:lnTo>
                    <a:pt x="1758" y="2376"/>
                  </a:lnTo>
                  <a:lnTo>
                    <a:pt x="1812" y="2328"/>
                  </a:lnTo>
                  <a:lnTo>
                    <a:pt x="1770" y="2334"/>
                  </a:lnTo>
                  <a:close/>
                  <a:moveTo>
                    <a:pt x="2034" y="2400"/>
                  </a:moveTo>
                  <a:lnTo>
                    <a:pt x="2016" y="2358"/>
                  </a:lnTo>
                  <a:lnTo>
                    <a:pt x="1998" y="2376"/>
                  </a:lnTo>
                  <a:lnTo>
                    <a:pt x="1998" y="2394"/>
                  </a:lnTo>
                  <a:lnTo>
                    <a:pt x="2010" y="2406"/>
                  </a:lnTo>
                  <a:lnTo>
                    <a:pt x="2028" y="2406"/>
                  </a:lnTo>
                  <a:lnTo>
                    <a:pt x="2034" y="2400"/>
                  </a:lnTo>
                  <a:close/>
                </a:path>
              </a:pathLst>
            </a:custGeom>
            <a:solidFill>
              <a:schemeClr val="accent2"/>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97" name="Armenien" descr="© INSCALE GmbH, 05.05.2010&#10;http://www.presentationload.com/">
              <a:extLst>
                <a:ext uri="{FF2B5EF4-FFF2-40B4-BE49-F238E27FC236}">
                  <a16:creationId xmlns:a16="http://schemas.microsoft.com/office/drawing/2014/main" id="{732EFBD8-8E7F-48F3-816F-1AF8DFB6661D}"/>
                </a:ext>
              </a:extLst>
            </p:cNvPr>
            <p:cNvSpPr>
              <a:spLocks/>
            </p:cNvSpPr>
            <p:nvPr/>
          </p:nvSpPr>
          <p:spPr bwMode="gray">
            <a:xfrm>
              <a:off x="5280288" y="2927650"/>
              <a:ext cx="87809" cy="84673"/>
            </a:xfrm>
            <a:custGeom>
              <a:avLst/>
              <a:gdLst>
                <a:gd name="T0" fmla="*/ 2147483647 w 222"/>
                <a:gd name="T1" fmla="*/ 2147483647 h 210"/>
                <a:gd name="T2" fmla="*/ 2147483647 w 222"/>
                <a:gd name="T3" fmla="*/ 2147483647 h 210"/>
                <a:gd name="T4" fmla="*/ 2147483647 w 222"/>
                <a:gd name="T5" fmla="*/ 2147483647 h 210"/>
                <a:gd name="T6" fmla="*/ 2147483647 w 222"/>
                <a:gd name="T7" fmla="*/ 2147483647 h 210"/>
                <a:gd name="T8" fmla="*/ 2147483647 w 222"/>
                <a:gd name="T9" fmla="*/ 2147483647 h 210"/>
                <a:gd name="T10" fmla="*/ 2147483647 w 222"/>
                <a:gd name="T11" fmla="*/ 2147483647 h 210"/>
                <a:gd name="T12" fmla="*/ 2147483647 w 222"/>
                <a:gd name="T13" fmla="*/ 2147483647 h 210"/>
                <a:gd name="T14" fmla="*/ 2147483647 w 222"/>
                <a:gd name="T15" fmla="*/ 2147483647 h 210"/>
                <a:gd name="T16" fmla="*/ 2147483647 w 222"/>
                <a:gd name="T17" fmla="*/ 2147483647 h 210"/>
                <a:gd name="T18" fmla="*/ 2147483647 w 222"/>
                <a:gd name="T19" fmla="*/ 2147483647 h 210"/>
                <a:gd name="T20" fmla="*/ 2147483647 w 222"/>
                <a:gd name="T21" fmla="*/ 2147483647 h 210"/>
                <a:gd name="T22" fmla="*/ 2147483647 w 222"/>
                <a:gd name="T23" fmla="*/ 2147483647 h 210"/>
                <a:gd name="T24" fmla="*/ 2147483647 w 222"/>
                <a:gd name="T25" fmla="*/ 2147483647 h 210"/>
                <a:gd name="T26" fmla="*/ 2147483647 w 222"/>
                <a:gd name="T27" fmla="*/ 2147483647 h 210"/>
                <a:gd name="T28" fmla="*/ 2147483647 w 222"/>
                <a:gd name="T29" fmla="*/ 2147483647 h 210"/>
                <a:gd name="T30" fmla="*/ 2147483647 w 222"/>
                <a:gd name="T31" fmla="*/ 2147483647 h 210"/>
                <a:gd name="T32" fmla="*/ 2147483647 w 222"/>
                <a:gd name="T33" fmla="*/ 2147483647 h 210"/>
                <a:gd name="T34" fmla="*/ 2147483647 w 222"/>
                <a:gd name="T35" fmla="*/ 2147483647 h 210"/>
                <a:gd name="T36" fmla="*/ 2147483647 w 222"/>
                <a:gd name="T37" fmla="*/ 2147483647 h 210"/>
                <a:gd name="T38" fmla="*/ 2147483647 w 222"/>
                <a:gd name="T39" fmla="*/ 0 h 210"/>
                <a:gd name="T40" fmla="*/ 2147483647 w 222"/>
                <a:gd name="T41" fmla="*/ 0 h 210"/>
                <a:gd name="T42" fmla="*/ 2147483647 w 222"/>
                <a:gd name="T43" fmla="*/ 2147483647 h 210"/>
                <a:gd name="T44" fmla="*/ 2147483647 w 222"/>
                <a:gd name="T45" fmla="*/ 2147483647 h 210"/>
                <a:gd name="T46" fmla="*/ 2147483647 w 222"/>
                <a:gd name="T47" fmla="*/ 2147483647 h 210"/>
                <a:gd name="T48" fmla="*/ 0 w 222"/>
                <a:gd name="T49" fmla="*/ 2147483647 h 210"/>
                <a:gd name="T50" fmla="*/ 2147483647 w 222"/>
                <a:gd name="T51" fmla="*/ 2147483647 h 210"/>
                <a:gd name="T52" fmla="*/ 2147483647 w 222"/>
                <a:gd name="T53" fmla="*/ 2147483647 h 210"/>
                <a:gd name="T54" fmla="*/ 2147483647 w 222"/>
                <a:gd name="T55" fmla="*/ 2147483647 h 210"/>
                <a:gd name="T56" fmla="*/ 2147483647 w 222"/>
                <a:gd name="T57" fmla="*/ 2147483647 h 210"/>
                <a:gd name="T58" fmla="*/ 2147483647 w 222"/>
                <a:gd name="T59" fmla="*/ 2147483647 h 210"/>
                <a:gd name="T60" fmla="*/ 2147483647 w 222"/>
                <a:gd name="T61" fmla="*/ 2147483647 h 210"/>
                <a:gd name="T62" fmla="*/ 2147483647 w 222"/>
                <a:gd name="T63" fmla="*/ 2147483647 h 210"/>
                <a:gd name="T64" fmla="*/ 2147483647 w 222"/>
                <a:gd name="T65" fmla="*/ 2147483647 h 210"/>
                <a:gd name="T66" fmla="*/ 2147483647 w 222"/>
                <a:gd name="T67" fmla="*/ 2147483647 h 210"/>
                <a:gd name="T68" fmla="*/ 2147483647 w 222"/>
                <a:gd name="T69" fmla="*/ 2147483647 h 210"/>
                <a:gd name="T70" fmla="*/ 2147483647 w 222"/>
                <a:gd name="T71" fmla="*/ 2147483647 h 210"/>
                <a:gd name="T72" fmla="*/ 2147483647 w 222"/>
                <a:gd name="T73" fmla="*/ 2147483647 h 210"/>
                <a:gd name="T74" fmla="*/ 2147483647 w 222"/>
                <a:gd name="T75" fmla="*/ 2147483647 h 210"/>
                <a:gd name="T76" fmla="*/ 2147483647 w 222"/>
                <a:gd name="T77" fmla="*/ 2147483647 h 210"/>
                <a:gd name="T78" fmla="*/ 2147483647 w 222"/>
                <a:gd name="T79" fmla="*/ 2147483647 h 210"/>
                <a:gd name="T80" fmla="*/ 2147483647 w 222"/>
                <a:gd name="T81" fmla="*/ 2147483647 h 210"/>
                <a:gd name="T82" fmla="*/ 2147483647 w 222"/>
                <a:gd name="T83" fmla="*/ 2147483647 h 210"/>
                <a:gd name="T84" fmla="*/ 2147483647 w 222"/>
                <a:gd name="T85" fmla="*/ 2147483647 h 210"/>
                <a:gd name="T86" fmla="*/ 2147483647 w 222"/>
                <a:gd name="T87" fmla="*/ 2147483647 h 210"/>
                <a:gd name="T88" fmla="*/ 2147483647 w 222"/>
                <a:gd name="T89" fmla="*/ 2147483647 h 210"/>
                <a:gd name="T90" fmla="*/ 2147483647 w 222"/>
                <a:gd name="T91" fmla="*/ 2147483647 h 210"/>
                <a:gd name="T92" fmla="*/ 2147483647 w 222"/>
                <a:gd name="T93" fmla="*/ 2147483647 h 210"/>
                <a:gd name="T94" fmla="*/ 2147483647 w 222"/>
                <a:gd name="T95" fmla="*/ 2147483647 h 210"/>
                <a:gd name="T96" fmla="*/ 2147483647 w 222"/>
                <a:gd name="T97" fmla="*/ 2147483647 h 210"/>
                <a:gd name="T98" fmla="*/ 2147483647 w 222"/>
                <a:gd name="T99" fmla="*/ 2147483647 h 210"/>
                <a:gd name="T100" fmla="*/ 2147483647 w 222"/>
                <a:gd name="T101" fmla="*/ 2147483647 h 210"/>
                <a:gd name="T102" fmla="*/ 2147483647 w 222"/>
                <a:gd name="T103" fmla="*/ 2147483647 h 210"/>
                <a:gd name="T104" fmla="*/ 2147483647 w 222"/>
                <a:gd name="T105" fmla="*/ 2147483647 h 210"/>
                <a:gd name="T106" fmla="*/ 2147483647 w 222"/>
                <a:gd name="T107" fmla="*/ 2147483647 h 2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2"/>
                <a:gd name="T163" fmla="*/ 0 h 210"/>
                <a:gd name="T164" fmla="*/ 222 w 222"/>
                <a:gd name="T165" fmla="*/ 210 h 21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2" h="210">
                  <a:moveTo>
                    <a:pt x="222" y="168"/>
                  </a:moveTo>
                  <a:lnTo>
                    <a:pt x="216" y="156"/>
                  </a:lnTo>
                  <a:lnTo>
                    <a:pt x="216" y="144"/>
                  </a:lnTo>
                  <a:lnTo>
                    <a:pt x="186" y="138"/>
                  </a:lnTo>
                  <a:lnTo>
                    <a:pt x="174" y="120"/>
                  </a:lnTo>
                  <a:lnTo>
                    <a:pt x="144" y="108"/>
                  </a:lnTo>
                  <a:lnTo>
                    <a:pt x="156" y="108"/>
                  </a:lnTo>
                  <a:lnTo>
                    <a:pt x="174" y="90"/>
                  </a:lnTo>
                  <a:lnTo>
                    <a:pt x="174" y="84"/>
                  </a:lnTo>
                  <a:lnTo>
                    <a:pt x="168" y="78"/>
                  </a:lnTo>
                  <a:lnTo>
                    <a:pt x="144" y="66"/>
                  </a:lnTo>
                  <a:lnTo>
                    <a:pt x="138" y="60"/>
                  </a:lnTo>
                  <a:lnTo>
                    <a:pt x="132" y="60"/>
                  </a:lnTo>
                  <a:lnTo>
                    <a:pt x="138" y="54"/>
                  </a:lnTo>
                  <a:lnTo>
                    <a:pt x="138" y="30"/>
                  </a:lnTo>
                  <a:lnTo>
                    <a:pt x="132" y="24"/>
                  </a:lnTo>
                  <a:lnTo>
                    <a:pt x="114" y="24"/>
                  </a:lnTo>
                  <a:lnTo>
                    <a:pt x="114" y="12"/>
                  </a:lnTo>
                  <a:lnTo>
                    <a:pt x="102" y="6"/>
                  </a:lnTo>
                  <a:lnTo>
                    <a:pt x="96" y="0"/>
                  </a:lnTo>
                  <a:lnTo>
                    <a:pt x="84" y="0"/>
                  </a:lnTo>
                  <a:lnTo>
                    <a:pt x="84" y="18"/>
                  </a:lnTo>
                  <a:lnTo>
                    <a:pt x="30" y="12"/>
                  </a:lnTo>
                  <a:lnTo>
                    <a:pt x="24" y="18"/>
                  </a:lnTo>
                  <a:lnTo>
                    <a:pt x="0" y="24"/>
                  </a:lnTo>
                  <a:lnTo>
                    <a:pt x="6" y="30"/>
                  </a:lnTo>
                  <a:lnTo>
                    <a:pt x="6" y="42"/>
                  </a:lnTo>
                  <a:lnTo>
                    <a:pt x="18" y="78"/>
                  </a:lnTo>
                  <a:lnTo>
                    <a:pt x="18" y="90"/>
                  </a:lnTo>
                  <a:lnTo>
                    <a:pt x="24" y="102"/>
                  </a:lnTo>
                  <a:lnTo>
                    <a:pt x="30" y="108"/>
                  </a:lnTo>
                  <a:lnTo>
                    <a:pt x="42" y="114"/>
                  </a:lnTo>
                  <a:lnTo>
                    <a:pt x="54" y="114"/>
                  </a:lnTo>
                  <a:lnTo>
                    <a:pt x="66" y="108"/>
                  </a:lnTo>
                  <a:lnTo>
                    <a:pt x="72" y="108"/>
                  </a:lnTo>
                  <a:lnTo>
                    <a:pt x="72" y="114"/>
                  </a:lnTo>
                  <a:lnTo>
                    <a:pt x="78" y="120"/>
                  </a:lnTo>
                  <a:lnTo>
                    <a:pt x="78" y="132"/>
                  </a:lnTo>
                  <a:lnTo>
                    <a:pt x="84" y="144"/>
                  </a:lnTo>
                  <a:lnTo>
                    <a:pt x="84" y="150"/>
                  </a:lnTo>
                  <a:lnTo>
                    <a:pt x="90" y="156"/>
                  </a:lnTo>
                  <a:lnTo>
                    <a:pt x="108" y="132"/>
                  </a:lnTo>
                  <a:lnTo>
                    <a:pt x="126" y="132"/>
                  </a:lnTo>
                  <a:lnTo>
                    <a:pt x="138" y="144"/>
                  </a:lnTo>
                  <a:lnTo>
                    <a:pt x="174" y="144"/>
                  </a:lnTo>
                  <a:lnTo>
                    <a:pt x="174" y="156"/>
                  </a:lnTo>
                  <a:lnTo>
                    <a:pt x="180" y="162"/>
                  </a:lnTo>
                  <a:lnTo>
                    <a:pt x="180" y="174"/>
                  </a:lnTo>
                  <a:lnTo>
                    <a:pt x="186" y="186"/>
                  </a:lnTo>
                  <a:lnTo>
                    <a:pt x="186" y="198"/>
                  </a:lnTo>
                  <a:lnTo>
                    <a:pt x="192" y="204"/>
                  </a:lnTo>
                  <a:lnTo>
                    <a:pt x="192" y="210"/>
                  </a:lnTo>
                  <a:lnTo>
                    <a:pt x="222" y="210"/>
                  </a:lnTo>
                  <a:lnTo>
                    <a:pt x="222" y="168"/>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98" name="Argentinien" descr="© INSCALE GmbH, 05.05.2010&#10;http://www.presentationload.com/">
              <a:extLst>
                <a:ext uri="{FF2B5EF4-FFF2-40B4-BE49-F238E27FC236}">
                  <a16:creationId xmlns:a16="http://schemas.microsoft.com/office/drawing/2014/main" id="{C16E6200-ACEE-429B-9AE4-522D53FED0D6}"/>
                </a:ext>
              </a:extLst>
            </p:cNvPr>
            <p:cNvSpPr>
              <a:spLocks noEditPoints="1"/>
            </p:cNvSpPr>
            <p:nvPr/>
          </p:nvSpPr>
          <p:spPr bwMode="gray">
            <a:xfrm>
              <a:off x="2228915" y="4953536"/>
              <a:ext cx="434342" cy="970607"/>
            </a:xfrm>
            <a:custGeom>
              <a:avLst/>
              <a:gdLst>
                <a:gd name="T0" fmla="*/ 2147483647 w 1092"/>
                <a:gd name="T1" fmla="*/ 2147483647 h 2442"/>
                <a:gd name="T2" fmla="*/ 2147483647 w 1092"/>
                <a:gd name="T3" fmla="*/ 2147483647 h 2442"/>
                <a:gd name="T4" fmla="*/ 2147483647 w 1092"/>
                <a:gd name="T5" fmla="*/ 2147483647 h 2442"/>
                <a:gd name="T6" fmla="*/ 2147483647 w 1092"/>
                <a:gd name="T7" fmla="*/ 2147483647 h 2442"/>
                <a:gd name="T8" fmla="*/ 2147483647 w 1092"/>
                <a:gd name="T9" fmla="*/ 2147483647 h 2442"/>
                <a:gd name="T10" fmla="*/ 2147483647 w 1092"/>
                <a:gd name="T11" fmla="*/ 2147483647 h 2442"/>
                <a:gd name="T12" fmla="*/ 2147483647 w 1092"/>
                <a:gd name="T13" fmla="*/ 2147483647 h 2442"/>
                <a:gd name="T14" fmla="*/ 2147483647 w 1092"/>
                <a:gd name="T15" fmla="*/ 2147483647 h 2442"/>
                <a:gd name="T16" fmla="*/ 2147483647 w 1092"/>
                <a:gd name="T17" fmla="*/ 2147483647 h 2442"/>
                <a:gd name="T18" fmla="*/ 2147483647 w 1092"/>
                <a:gd name="T19" fmla="*/ 2147483647 h 2442"/>
                <a:gd name="T20" fmla="*/ 2147483647 w 1092"/>
                <a:gd name="T21" fmla="*/ 0 h 2442"/>
                <a:gd name="T22" fmla="*/ 2147483647 w 1092"/>
                <a:gd name="T23" fmla="*/ 2147483647 h 2442"/>
                <a:gd name="T24" fmla="*/ 2147483647 w 1092"/>
                <a:gd name="T25" fmla="*/ 2147483647 h 2442"/>
                <a:gd name="T26" fmla="*/ 2147483647 w 1092"/>
                <a:gd name="T27" fmla="*/ 2147483647 h 2442"/>
                <a:gd name="T28" fmla="*/ 2147483647 w 1092"/>
                <a:gd name="T29" fmla="*/ 2147483647 h 2442"/>
                <a:gd name="T30" fmla="*/ 2147483647 w 1092"/>
                <a:gd name="T31" fmla="*/ 2147483647 h 2442"/>
                <a:gd name="T32" fmla="*/ 2147483647 w 1092"/>
                <a:gd name="T33" fmla="*/ 2147483647 h 2442"/>
                <a:gd name="T34" fmla="*/ 2147483647 w 1092"/>
                <a:gd name="T35" fmla="*/ 2147483647 h 2442"/>
                <a:gd name="T36" fmla="*/ 2147483647 w 1092"/>
                <a:gd name="T37" fmla="*/ 2147483647 h 2442"/>
                <a:gd name="T38" fmla="*/ 2147483647 w 1092"/>
                <a:gd name="T39" fmla="*/ 2147483647 h 2442"/>
                <a:gd name="T40" fmla="*/ 2147483647 w 1092"/>
                <a:gd name="T41" fmla="*/ 2147483647 h 2442"/>
                <a:gd name="T42" fmla="*/ 2147483647 w 1092"/>
                <a:gd name="T43" fmla="*/ 2147483647 h 2442"/>
                <a:gd name="T44" fmla="*/ 2147483647 w 1092"/>
                <a:gd name="T45" fmla="*/ 2147483647 h 2442"/>
                <a:gd name="T46" fmla="*/ 2147483647 w 1092"/>
                <a:gd name="T47" fmla="*/ 2147483647 h 2442"/>
                <a:gd name="T48" fmla="*/ 2147483647 w 1092"/>
                <a:gd name="T49" fmla="*/ 2147483647 h 2442"/>
                <a:gd name="T50" fmla="*/ 2147483647 w 1092"/>
                <a:gd name="T51" fmla="*/ 2147483647 h 2442"/>
                <a:gd name="T52" fmla="*/ 2147483647 w 1092"/>
                <a:gd name="T53" fmla="*/ 2147483647 h 2442"/>
                <a:gd name="T54" fmla="*/ 2147483647 w 1092"/>
                <a:gd name="T55" fmla="*/ 2147483647 h 2442"/>
                <a:gd name="T56" fmla="*/ 2147483647 w 1092"/>
                <a:gd name="T57" fmla="*/ 2147483647 h 2442"/>
                <a:gd name="T58" fmla="*/ 2147483647 w 1092"/>
                <a:gd name="T59" fmla="*/ 2147483647 h 2442"/>
                <a:gd name="T60" fmla="*/ 2147483647 w 1092"/>
                <a:gd name="T61" fmla="*/ 2147483647 h 2442"/>
                <a:gd name="T62" fmla="*/ 2147483647 w 1092"/>
                <a:gd name="T63" fmla="*/ 2147483647 h 2442"/>
                <a:gd name="T64" fmla="*/ 2147483647 w 1092"/>
                <a:gd name="T65" fmla="*/ 2147483647 h 2442"/>
                <a:gd name="T66" fmla="*/ 2147483647 w 1092"/>
                <a:gd name="T67" fmla="*/ 2147483647 h 2442"/>
                <a:gd name="T68" fmla="*/ 2147483647 w 1092"/>
                <a:gd name="T69" fmla="*/ 2147483647 h 2442"/>
                <a:gd name="T70" fmla="*/ 2147483647 w 1092"/>
                <a:gd name="T71" fmla="*/ 2147483647 h 2442"/>
                <a:gd name="T72" fmla="*/ 2147483647 w 1092"/>
                <a:gd name="T73" fmla="*/ 2147483647 h 2442"/>
                <a:gd name="T74" fmla="*/ 2147483647 w 1092"/>
                <a:gd name="T75" fmla="*/ 2147483647 h 2442"/>
                <a:gd name="T76" fmla="*/ 2147483647 w 1092"/>
                <a:gd name="T77" fmla="*/ 2147483647 h 2442"/>
                <a:gd name="T78" fmla="*/ 2147483647 w 1092"/>
                <a:gd name="T79" fmla="*/ 2147483647 h 2442"/>
                <a:gd name="T80" fmla="*/ 2147483647 w 1092"/>
                <a:gd name="T81" fmla="*/ 2147483647 h 2442"/>
                <a:gd name="T82" fmla="*/ 2147483647 w 1092"/>
                <a:gd name="T83" fmla="*/ 2147483647 h 2442"/>
                <a:gd name="T84" fmla="*/ 2147483647 w 1092"/>
                <a:gd name="T85" fmla="*/ 2147483647 h 2442"/>
                <a:gd name="T86" fmla="*/ 2147483647 w 1092"/>
                <a:gd name="T87" fmla="*/ 2147483647 h 2442"/>
                <a:gd name="T88" fmla="*/ 2147483647 w 1092"/>
                <a:gd name="T89" fmla="*/ 2147483647 h 2442"/>
                <a:gd name="T90" fmla="*/ 2147483647 w 1092"/>
                <a:gd name="T91" fmla="*/ 2147483647 h 2442"/>
                <a:gd name="T92" fmla="*/ 2147483647 w 1092"/>
                <a:gd name="T93" fmla="*/ 2147483647 h 2442"/>
                <a:gd name="T94" fmla="*/ 2147483647 w 1092"/>
                <a:gd name="T95" fmla="*/ 2147483647 h 2442"/>
                <a:gd name="T96" fmla="*/ 2147483647 w 1092"/>
                <a:gd name="T97" fmla="*/ 2147483647 h 2442"/>
                <a:gd name="T98" fmla="*/ 2147483647 w 1092"/>
                <a:gd name="T99" fmla="*/ 2147483647 h 2442"/>
                <a:gd name="T100" fmla="*/ 2147483647 w 1092"/>
                <a:gd name="T101" fmla="*/ 2147483647 h 2442"/>
                <a:gd name="T102" fmla="*/ 2147483647 w 1092"/>
                <a:gd name="T103" fmla="*/ 2147483647 h 2442"/>
                <a:gd name="T104" fmla="*/ 2147483647 w 1092"/>
                <a:gd name="T105" fmla="*/ 2147483647 h 2442"/>
                <a:gd name="T106" fmla="*/ 2147483647 w 1092"/>
                <a:gd name="T107" fmla="*/ 2147483647 h 2442"/>
                <a:gd name="T108" fmla="*/ 2147483647 w 1092"/>
                <a:gd name="T109" fmla="*/ 2147483647 h 2442"/>
                <a:gd name="T110" fmla="*/ 2147483647 w 1092"/>
                <a:gd name="T111" fmla="*/ 2147483647 h 2442"/>
                <a:gd name="T112" fmla="*/ 2147483647 w 1092"/>
                <a:gd name="T113" fmla="*/ 2147483647 h 244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2"/>
                <a:gd name="T172" fmla="*/ 0 h 2442"/>
                <a:gd name="T173" fmla="*/ 1092 w 1092"/>
                <a:gd name="T174" fmla="*/ 2442 h 244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2" h="2442">
                  <a:moveTo>
                    <a:pt x="954" y="534"/>
                  </a:moveTo>
                  <a:lnTo>
                    <a:pt x="978" y="528"/>
                  </a:lnTo>
                  <a:lnTo>
                    <a:pt x="984" y="504"/>
                  </a:lnTo>
                  <a:lnTo>
                    <a:pt x="990" y="498"/>
                  </a:lnTo>
                  <a:lnTo>
                    <a:pt x="990" y="480"/>
                  </a:lnTo>
                  <a:lnTo>
                    <a:pt x="1026" y="480"/>
                  </a:lnTo>
                  <a:lnTo>
                    <a:pt x="1026" y="462"/>
                  </a:lnTo>
                  <a:lnTo>
                    <a:pt x="1032" y="450"/>
                  </a:lnTo>
                  <a:lnTo>
                    <a:pt x="1038" y="444"/>
                  </a:lnTo>
                  <a:lnTo>
                    <a:pt x="1092" y="426"/>
                  </a:lnTo>
                  <a:lnTo>
                    <a:pt x="1092" y="390"/>
                  </a:lnTo>
                  <a:lnTo>
                    <a:pt x="1086" y="372"/>
                  </a:lnTo>
                  <a:lnTo>
                    <a:pt x="1086" y="342"/>
                  </a:lnTo>
                  <a:lnTo>
                    <a:pt x="1080" y="336"/>
                  </a:lnTo>
                  <a:lnTo>
                    <a:pt x="1074" y="336"/>
                  </a:lnTo>
                  <a:lnTo>
                    <a:pt x="1074" y="324"/>
                  </a:lnTo>
                  <a:lnTo>
                    <a:pt x="1062" y="300"/>
                  </a:lnTo>
                  <a:lnTo>
                    <a:pt x="1056" y="294"/>
                  </a:lnTo>
                  <a:lnTo>
                    <a:pt x="1038" y="294"/>
                  </a:lnTo>
                  <a:lnTo>
                    <a:pt x="1032" y="300"/>
                  </a:lnTo>
                  <a:lnTo>
                    <a:pt x="1020" y="306"/>
                  </a:lnTo>
                  <a:lnTo>
                    <a:pt x="1020" y="384"/>
                  </a:lnTo>
                  <a:lnTo>
                    <a:pt x="1008" y="390"/>
                  </a:lnTo>
                  <a:lnTo>
                    <a:pt x="1002" y="402"/>
                  </a:lnTo>
                  <a:lnTo>
                    <a:pt x="990" y="408"/>
                  </a:lnTo>
                  <a:lnTo>
                    <a:pt x="984" y="414"/>
                  </a:lnTo>
                  <a:lnTo>
                    <a:pt x="978" y="414"/>
                  </a:lnTo>
                  <a:lnTo>
                    <a:pt x="966" y="426"/>
                  </a:lnTo>
                  <a:lnTo>
                    <a:pt x="954" y="450"/>
                  </a:lnTo>
                  <a:lnTo>
                    <a:pt x="948" y="456"/>
                  </a:lnTo>
                  <a:lnTo>
                    <a:pt x="948" y="450"/>
                  </a:lnTo>
                  <a:lnTo>
                    <a:pt x="942" y="444"/>
                  </a:lnTo>
                  <a:lnTo>
                    <a:pt x="930" y="444"/>
                  </a:lnTo>
                  <a:lnTo>
                    <a:pt x="924" y="450"/>
                  </a:lnTo>
                  <a:lnTo>
                    <a:pt x="924" y="468"/>
                  </a:lnTo>
                  <a:lnTo>
                    <a:pt x="912" y="450"/>
                  </a:lnTo>
                  <a:lnTo>
                    <a:pt x="852" y="450"/>
                  </a:lnTo>
                  <a:lnTo>
                    <a:pt x="834" y="444"/>
                  </a:lnTo>
                  <a:lnTo>
                    <a:pt x="822" y="438"/>
                  </a:lnTo>
                  <a:lnTo>
                    <a:pt x="816" y="432"/>
                  </a:lnTo>
                  <a:lnTo>
                    <a:pt x="804" y="426"/>
                  </a:lnTo>
                  <a:lnTo>
                    <a:pt x="798" y="426"/>
                  </a:lnTo>
                  <a:lnTo>
                    <a:pt x="786" y="432"/>
                  </a:lnTo>
                  <a:lnTo>
                    <a:pt x="762" y="432"/>
                  </a:lnTo>
                  <a:lnTo>
                    <a:pt x="756" y="426"/>
                  </a:lnTo>
                  <a:lnTo>
                    <a:pt x="756" y="414"/>
                  </a:lnTo>
                  <a:lnTo>
                    <a:pt x="762" y="402"/>
                  </a:lnTo>
                  <a:lnTo>
                    <a:pt x="768" y="396"/>
                  </a:lnTo>
                  <a:lnTo>
                    <a:pt x="774" y="384"/>
                  </a:lnTo>
                  <a:lnTo>
                    <a:pt x="780" y="378"/>
                  </a:lnTo>
                  <a:lnTo>
                    <a:pt x="780" y="342"/>
                  </a:lnTo>
                  <a:lnTo>
                    <a:pt x="798" y="342"/>
                  </a:lnTo>
                  <a:lnTo>
                    <a:pt x="804" y="336"/>
                  </a:lnTo>
                  <a:lnTo>
                    <a:pt x="804" y="330"/>
                  </a:lnTo>
                  <a:lnTo>
                    <a:pt x="798" y="318"/>
                  </a:lnTo>
                  <a:lnTo>
                    <a:pt x="792" y="312"/>
                  </a:lnTo>
                  <a:lnTo>
                    <a:pt x="798" y="300"/>
                  </a:lnTo>
                  <a:lnTo>
                    <a:pt x="804" y="294"/>
                  </a:lnTo>
                  <a:lnTo>
                    <a:pt x="804" y="282"/>
                  </a:lnTo>
                  <a:lnTo>
                    <a:pt x="810" y="276"/>
                  </a:lnTo>
                  <a:lnTo>
                    <a:pt x="804" y="270"/>
                  </a:lnTo>
                  <a:lnTo>
                    <a:pt x="792" y="264"/>
                  </a:lnTo>
                  <a:lnTo>
                    <a:pt x="774" y="258"/>
                  </a:lnTo>
                  <a:lnTo>
                    <a:pt x="762" y="252"/>
                  </a:lnTo>
                  <a:lnTo>
                    <a:pt x="750" y="252"/>
                  </a:lnTo>
                  <a:lnTo>
                    <a:pt x="744" y="246"/>
                  </a:lnTo>
                  <a:lnTo>
                    <a:pt x="708" y="228"/>
                  </a:lnTo>
                  <a:lnTo>
                    <a:pt x="690" y="216"/>
                  </a:lnTo>
                  <a:lnTo>
                    <a:pt x="678" y="210"/>
                  </a:lnTo>
                  <a:lnTo>
                    <a:pt x="672" y="204"/>
                  </a:lnTo>
                  <a:lnTo>
                    <a:pt x="666" y="204"/>
                  </a:lnTo>
                  <a:lnTo>
                    <a:pt x="660" y="198"/>
                  </a:lnTo>
                  <a:lnTo>
                    <a:pt x="648" y="192"/>
                  </a:lnTo>
                  <a:lnTo>
                    <a:pt x="642" y="186"/>
                  </a:lnTo>
                  <a:lnTo>
                    <a:pt x="630" y="180"/>
                  </a:lnTo>
                  <a:lnTo>
                    <a:pt x="600" y="180"/>
                  </a:lnTo>
                  <a:lnTo>
                    <a:pt x="564" y="162"/>
                  </a:lnTo>
                  <a:lnTo>
                    <a:pt x="558" y="156"/>
                  </a:lnTo>
                  <a:lnTo>
                    <a:pt x="552" y="156"/>
                  </a:lnTo>
                  <a:lnTo>
                    <a:pt x="546" y="138"/>
                  </a:lnTo>
                  <a:lnTo>
                    <a:pt x="534" y="132"/>
                  </a:lnTo>
                  <a:lnTo>
                    <a:pt x="516" y="114"/>
                  </a:lnTo>
                  <a:lnTo>
                    <a:pt x="492" y="102"/>
                  </a:lnTo>
                  <a:lnTo>
                    <a:pt x="486" y="96"/>
                  </a:lnTo>
                  <a:lnTo>
                    <a:pt x="480" y="84"/>
                  </a:lnTo>
                  <a:lnTo>
                    <a:pt x="468" y="78"/>
                  </a:lnTo>
                  <a:lnTo>
                    <a:pt x="462" y="66"/>
                  </a:lnTo>
                  <a:lnTo>
                    <a:pt x="456" y="60"/>
                  </a:lnTo>
                  <a:lnTo>
                    <a:pt x="456" y="54"/>
                  </a:lnTo>
                  <a:lnTo>
                    <a:pt x="438" y="36"/>
                  </a:lnTo>
                  <a:lnTo>
                    <a:pt x="402" y="12"/>
                  </a:lnTo>
                  <a:lnTo>
                    <a:pt x="330" y="18"/>
                  </a:lnTo>
                  <a:lnTo>
                    <a:pt x="318" y="72"/>
                  </a:lnTo>
                  <a:lnTo>
                    <a:pt x="288" y="24"/>
                  </a:lnTo>
                  <a:lnTo>
                    <a:pt x="234" y="24"/>
                  </a:lnTo>
                  <a:lnTo>
                    <a:pt x="216" y="18"/>
                  </a:lnTo>
                  <a:lnTo>
                    <a:pt x="204" y="18"/>
                  </a:lnTo>
                  <a:lnTo>
                    <a:pt x="180" y="6"/>
                  </a:lnTo>
                  <a:lnTo>
                    <a:pt x="174" y="0"/>
                  </a:lnTo>
                  <a:lnTo>
                    <a:pt x="162" y="24"/>
                  </a:lnTo>
                  <a:lnTo>
                    <a:pt x="138" y="30"/>
                  </a:lnTo>
                  <a:lnTo>
                    <a:pt x="138" y="48"/>
                  </a:lnTo>
                  <a:lnTo>
                    <a:pt x="126" y="48"/>
                  </a:lnTo>
                  <a:lnTo>
                    <a:pt x="126" y="78"/>
                  </a:lnTo>
                  <a:lnTo>
                    <a:pt x="114" y="78"/>
                  </a:lnTo>
                  <a:lnTo>
                    <a:pt x="126" y="96"/>
                  </a:lnTo>
                  <a:lnTo>
                    <a:pt x="114" y="180"/>
                  </a:lnTo>
                  <a:lnTo>
                    <a:pt x="108" y="180"/>
                  </a:lnTo>
                  <a:lnTo>
                    <a:pt x="102" y="186"/>
                  </a:lnTo>
                  <a:lnTo>
                    <a:pt x="90" y="192"/>
                  </a:lnTo>
                  <a:lnTo>
                    <a:pt x="72" y="198"/>
                  </a:lnTo>
                  <a:lnTo>
                    <a:pt x="60" y="210"/>
                  </a:lnTo>
                  <a:lnTo>
                    <a:pt x="48" y="216"/>
                  </a:lnTo>
                  <a:lnTo>
                    <a:pt x="42" y="228"/>
                  </a:lnTo>
                  <a:lnTo>
                    <a:pt x="36" y="234"/>
                  </a:lnTo>
                  <a:lnTo>
                    <a:pt x="36" y="240"/>
                  </a:lnTo>
                  <a:lnTo>
                    <a:pt x="42" y="246"/>
                  </a:lnTo>
                  <a:lnTo>
                    <a:pt x="54" y="252"/>
                  </a:lnTo>
                  <a:lnTo>
                    <a:pt x="66" y="252"/>
                  </a:lnTo>
                  <a:lnTo>
                    <a:pt x="66" y="258"/>
                  </a:lnTo>
                  <a:lnTo>
                    <a:pt x="42" y="282"/>
                  </a:lnTo>
                  <a:lnTo>
                    <a:pt x="42" y="300"/>
                  </a:lnTo>
                  <a:lnTo>
                    <a:pt x="48" y="306"/>
                  </a:lnTo>
                  <a:lnTo>
                    <a:pt x="60" y="312"/>
                  </a:lnTo>
                  <a:lnTo>
                    <a:pt x="72" y="324"/>
                  </a:lnTo>
                  <a:lnTo>
                    <a:pt x="78" y="336"/>
                  </a:lnTo>
                  <a:lnTo>
                    <a:pt x="72" y="342"/>
                  </a:lnTo>
                  <a:lnTo>
                    <a:pt x="66" y="354"/>
                  </a:lnTo>
                  <a:lnTo>
                    <a:pt x="54" y="366"/>
                  </a:lnTo>
                  <a:lnTo>
                    <a:pt x="48" y="366"/>
                  </a:lnTo>
                  <a:lnTo>
                    <a:pt x="54" y="366"/>
                  </a:lnTo>
                  <a:lnTo>
                    <a:pt x="60" y="372"/>
                  </a:lnTo>
                  <a:lnTo>
                    <a:pt x="84" y="384"/>
                  </a:lnTo>
                  <a:lnTo>
                    <a:pt x="90" y="396"/>
                  </a:lnTo>
                  <a:lnTo>
                    <a:pt x="90" y="408"/>
                  </a:lnTo>
                  <a:lnTo>
                    <a:pt x="78" y="414"/>
                  </a:lnTo>
                  <a:lnTo>
                    <a:pt x="72" y="420"/>
                  </a:lnTo>
                  <a:lnTo>
                    <a:pt x="54" y="420"/>
                  </a:lnTo>
                  <a:lnTo>
                    <a:pt x="54" y="432"/>
                  </a:lnTo>
                  <a:lnTo>
                    <a:pt x="48" y="450"/>
                  </a:lnTo>
                  <a:lnTo>
                    <a:pt x="48" y="462"/>
                  </a:lnTo>
                  <a:lnTo>
                    <a:pt x="42" y="474"/>
                  </a:lnTo>
                  <a:lnTo>
                    <a:pt x="42" y="486"/>
                  </a:lnTo>
                  <a:lnTo>
                    <a:pt x="30" y="498"/>
                  </a:lnTo>
                  <a:lnTo>
                    <a:pt x="24" y="510"/>
                  </a:lnTo>
                  <a:lnTo>
                    <a:pt x="18" y="516"/>
                  </a:lnTo>
                  <a:lnTo>
                    <a:pt x="18" y="582"/>
                  </a:lnTo>
                  <a:lnTo>
                    <a:pt x="6" y="594"/>
                  </a:lnTo>
                  <a:lnTo>
                    <a:pt x="6" y="606"/>
                  </a:lnTo>
                  <a:lnTo>
                    <a:pt x="18" y="630"/>
                  </a:lnTo>
                  <a:lnTo>
                    <a:pt x="30" y="666"/>
                  </a:lnTo>
                  <a:lnTo>
                    <a:pt x="36" y="678"/>
                  </a:lnTo>
                  <a:lnTo>
                    <a:pt x="36" y="684"/>
                  </a:lnTo>
                  <a:lnTo>
                    <a:pt x="12" y="684"/>
                  </a:lnTo>
                  <a:lnTo>
                    <a:pt x="18" y="738"/>
                  </a:lnTo>
                  <a:lnTo>
                    <a:pt x="6" y="744"/>
                  </a:lnTo>
                  <a:lnTo>
                    <a:pt x="0" y="744"/>
                  </a:lnTo>
                  <a:lnTo>
                    <a:pt x="0" y="768"/>
                  </a:lnTo>
                  <a:lnTo>
                    <a:pt x="6" y="774"/>
                  </a:lnTo>
                  <a:lnTo>
                    <a:pt x="6" y="780"/>
                  </a:lnTo>
                  <a:lnTo>
                    <a:pt x="18" y="786"/>
                  </a:lnTo>
                  <a:lnTo>
                    <a:pt x="36" y="804"/>
                  </a:lnTo>
                  <a:lnTo>
                    <a:pt x="36" y="816"/>
                  </a:lnTo>
                  <a:lnTo>
                    <a:pt x="30" y="822"/>
                  </a:lnTo>
                  <a:lnTo>
                    <a:pt x="30" y="828"/>
                  </a:lnTo>
                  <a:lnTo>
                    <a:pt x="48" y="846"/>
                  </a:lnTo>
                  <a:lnTo>
                    <a:pt x="60" y="876"/>
                  </a:lnTo>
                  <a:lnTo>
                    <a:pt x="66" y="888"/>
                  </a:lnTo>
                  <a:lnTo>
                    <a:pt x="60" y="894"/>
                  </a:lnTo>
                  <a:lnTo>
                    <a:pt x="60" y="906"/>
                  </a:lnTo>
                  <a:lnTo>
                    <a:pt x="72" y="918"/>
                  </a:lnTo>
                  <a:lnTo>
                    <a:pt x="96" y="918"/>
                  </a:lnTo>
                  <a:lnTo>
                    <a:pt x="102" y="960"/>
                  </a:lnTo>
                  <a:lnTo>
                    <a:pt x="108" y="972"/>
                  </a:lnTo>
                  <a:lnTo>
                    <a:pt x="114" y="978"/>
                  </a:lnTo>
                  <a:lnTo>
                    <a:pt x="120" y="990"/>
                  </a:lnTo>
                  <a:lnTo>
                    <a:pt x="120" y="996"/>
                  </a:lnTo>
                  <a:lnTo>
                    <a:pt x="102" y="1014"/>
                  </a:lnTo>
                  <a:lnTo>
                    <a:pt x="102" y="1038"/>
                  </a:lnTo>
                  <a:lnTo>
                    <a:pt x="96" y="1056"/>
                  </a:lnTo>
                  <a:lnTo>
                    <a:pt x="96" y="1086"/>
                  </a:lnTo>
                  <a:lnTo>
                    <a:pt x="84" y="1086"/>
                  </a:lnTo>
                  <a:lnTo>
                    <a:pt x="90" y="1092"/>
                  </a:lnTo>
                  <a:lnTo>
                    <a:pt x="96" y="1104"/>
                  </a:lnTo>
                  <a:lnTo>
                    <a:pt x="102" y="1110"/>
                  </a:lnTo>
                  <a:lnTo>
                    <a:pt x="108" y="1122"/>
                  </a:lnTo>
                  <a:lnTo>
                    <a:pt x="114" y="1128"/>
                  </a:lnTo>
                  <a:lnTo>
                    <a:pt x="114" y="1140"/>
                  </a:lnTo>
                  <a:lnTo>
                    <a:pt x="108" y="1152"/>
                  </a:lnTo>
                  <a:lnTo>
                    <a:pt x="108" y="1158"/>
                  </a:lnTo>
                  <a:lnTo>
                    <a:pt x="102" y="1176"/>
                  </a:lnTo>
                  <a:lnTo>
                    <a:pt x="78" y="1182"/>
                  </a:lnTo>
                  <a:lnTo>
                    <a:pt x="78" y="1188"/>
                  </a:lnTo>
                  <a:lnTo>
                    <a:pt x="84" y="1194"/>
                  </a:lnTo>
                  <a:lnTo>
                    <a:pt x="84" y="1206"/>
                  </a:lnTo>
                  <a:lnTo>
                    <a:pt x="90" y="1224"/>
                  </a:lnTo>
                  <a:lnTo>
                    <a:pt x="96" y="1236"/>
                  </a:lnTo>
                  <a:lnTo>
                    <a:pt x="96" y="1284"/>
                  </a:lnTo>
                  <a:lnTo>
                    <a:pt x="126" y="1308"/>
                  </a:lnTo>
                  <a:lnTo>
                    <a:pt x="126" y="1326"/>
                  </a:lnTo>
                  <a:lnTo>
                    <a:pt x="132" y="1326"/>
                  </a:lnTo>
                  <a:lnTo>
                    <a:pt x="150" y="1344"/>
                  </a:lnTo>
                  <a:lnTo>
                    <a:pt x="150" y="1350"/>
                  </a:lnTo>
                  <a:lnTo>
                    <a:pt x="144" y="1362"/>
                  </a:lnTo>
                  <a:lnTo>
                    <a:pt x="132" y="1368"/>
                  </a:lnTo>
                  <a:lnTo>
                    <a:pt x="126" y="1374"/>
                  </a:lnTo>
                  <a:lnTo>
                    <a:pt x="120" y="1374"/>
                  </a:lnTo>
                  <a:lnTo>
                    <a:pt x="132" y="1416"/>
                  </a:lnTo>
                  <a:lnTo>
                    <a:pt x="114" y="1428"/>
                  </a:lnTo>
                  <a:lnTo>
                    <a:pt x="132" y="1446"/>
                  </a:lnTo>
                  <a:lnTo>
                    <a:pt x="132" y="1452"/>
                  </a:lnTo>
                  <a:lnTo>
                    <a:pt x="126" y="1464"/>
                  </a:lnTo>
                  <a:lnTo>
                    <a:pt x="126" y="1470"/>
                  </a:lnTo>
                  <a:lnTo>
                    <a:pt x="144" y="1482"/>
                  </a:lnTo>
                  <a:lnTo>
                    <a:pt x="144" y="1494"/>
                  </a:lnTo>
                  <a:lnTo>
                    <a:pt x="138" y="1500"/>
                  </a:lnTo>
                  <a:lnTo>
                    <a:pt x="138" y="1530"/>
                  </a:lnTo>
                  <a:lnTo>
                    <a:pt x="144" y="1536"/>
                  </a:lnTo>
                  <a:lnTo>
                    <a:pt x="150" y="1548"/>
                  </a:lnTo>
                  <a:lnTo>
                    <a:pt x="150" y="1572"/>
                  </a:lnTo>
                  <a:lnTo>
                    <a:pt x="156" y="1584"/>
                  </a:lnTo>
                  <a:lnTo>
                    <a:pt x="174" y="1602"/>
                  </a:lnTo>
                  <a:lnTo>
                    <a:pt x="186" y="1608"/>
                  </a:lnTo>
                  <a:lnTo>
                    <a:pt x="198" y="1620"/>
                  </a:lnTo>
                  <a:lnTo>
                    <a:pt x="192" y="1620"/>
                  </a:lnTo>
                  <a:lnTo>
                    <a:pt x="180" y="1626"/>
                  </a:lnTo>
                  <a:lnTo>
                    <a:pt x="174" y="1632"/>
                  </a:lnTo>
                  <a:lnTo>
                    <a:pt x="174" y="1644"/>
                  </a:lnTo>
                  <a:lnTo>
                    <a:pt x="180" y="1656"/>
                  </a:lnTo>
                  <a:lnTo>
                    <a:pt x="180" y="1674"/>
                  </a:lnTo>
                  <a:lnTo>
                    <a:pt x="186" y="1686"/>
                  </a:lnTo>
                  <a:lnTo>
                    <a:pt x="186" y="1698"/>
                  </a:lnTo>
                  <a:lnTo>
                    <a:pt x="192" y="1704"/>
                  </a:lnTo>
                  <a:lnTo>
                    <a:pt x="216" y="1716"/>
                  </a:lnTo>
                  <a:lnTo>
                    <a:pt x="210" y="1746"/>
                  </a:lnTo>
                  <a:lnTo>
                    <a:pt x="216" y="1746"/>
                  </a:lnTo>
                  <a:lnTo>
                    <a:pt x="228" y="1752"/>
                  </a:lnTo>
                  <a:lnTo>
                    <a:pt x="234" y="1758"/>
                  </a:lnTo>
                  <a:lnTo>
                    <a:pt x="234" y="1764"/>
                  </a:lnTo>
                  <a:lnTo>
                    <a:pt x="240" y="1776"/>
                  </a:lnTo>
                  <a:lnTo>
                    <a:pt x="240" y="1806"/>
                  </a:lnTo>
                  <a:lnTo>
                    <a:pt x="252" y="1818"/>
                  </a:lnTo>
                  <a:lnTo>
                    <a:pt x="282" y="1818"/>
                  </a:lnTo>
                  <a:lnTo>
                    <a:pt x="294" y="1824"/>
                  </a:lnTo>
                  <a:lnTo>
                    <a:pt x="294" y="1830"/>
                  </a:lnTo>
                  <a:lnTo>
                    <a:pt x="288" y="1836"/>
                  </a:lnTo>
                  <a:lnTo>
                    <a:pt x="276" y="1836"/>
                  </a:lnTo>
                  <a:lnTo>
                    <a:pt x="264" y="1842"/>
                  </a:lnTo>
                  <a:lnTo>
                    <a:pt x="246" y="1842"/>
                  </a:lnTo>
                  <a:lnTo>
                    <a:pt x="252" y="1848"/>
                  </a:lnTo>
                  <a:lnTo>
                    <a:pt x="258" y="1848"/>
                  </a:lnTo>
                  <a:lnTo>
                    <a:pt x="270" y="1854"/>
                  </a:lnTo>
                  <a:lnTo>
                    <a:pt x="276" y="1860"/>
                  </a:lnTo>
                  <a:lnTo>
                    <a:pt x="288" y="1860"/>
                  </a:lnTo>
                  <a:lnTo>
                    <a:pt x="312" y="1884"/>
                  </a:lnTo>
                  <a:lnTo>
                    <a:pt x="306" y="1890"/>
                  </a:lnTo>
                  <a:lnTo>
                    <a:pt x="300" y="1902"/>
                  </a:lnTo>
                  <a:lnTo>
                    <a:pt x="288" y="1914"/>
                  </a:lnTo>
                  <a:lnTo>
                    <a:pt x="312" y="1932"/>
                  </a:lnTo>
                  <a:lnTo>
                    <a:pt x="306" y="1956"/>
                  </a:lnTo>
                  <a:lnTo>
                    <a:pt x="330" y="1980"/>
                  </a:lnTo>
                  <a:lnTo>
                    <a:pt x="324" y="2016"/>
                  </a:lnTo>
                  <a:lnTo>
                    <a:pt x="336" y="2040"/>
                  </a:lnTo>
                  <a:lnTo>
                    <a:pt x="324" y="2046"/>
                  </a:lnTo>
                  <a:lnTo>
                    <a:pt x="318" y="2088"/>
                  </a:lnTo>
                  <a:lnTo>
                    <a:pt x="324" y="2088"/>
                  </a:lnTo>
                  <a:lnTo>
                    <a:pt x="348" y="2112"/>
                  </a:lnTo>
                  <a:lnTo>
                    <a:pt x="348" y="2118"/>
                  </a:lnTo>
                  <a:lnTo>
                    <a:pt x="342" y="2118"/>
                  </a:lnTo>
                  <a:lnTo>
                    <a:pt x="330" y="2124"/>
                  </a:lnTo>
                  <a:lnTo>
                    <a:pt x="324" y="2130"/>
                  </a:lnTo>
                  <a:lnTo>
                    <a:pt x="348" y="2154"/>
                  </a:lnTo>
                  <a:lnTo>
                    <a:pt x="348" y="2160"/>
                  </a:lnTo>
                  <a:lnTo>
                    <a:pt x="342" y="2166"/>
                  </a:lnTo>
                  <a:lnTo>
                    <a:pt x="336" y="2166"/>
                  </a:lnTo>
                  <a:lnTo>
                    <a:pt x="330" y="2172"/>
                  </a:lnTo>
                  <a:lnTo>
                    <a:pt x="324" y="2172"/>
                  </a:lnTo>
                  <a:lnTo>
                    <a:pt x="324" y="2196"/>
                  </a:lnTo>
                  <a:lnTo>
                    <a:pt x="312" y="2202"/>
                  </a:lnTo>
                  <a:lnTo>
                    <a:pt x="312" y="2214"/>
                  </a:lnTo>
                  <a:lnTo>
                    <a:pt x="318" y="2226"/>
                  </a:lnTo>
                  <a:lnTo>
                    <a:pt x="324" y="2232"/>
                  </a:lnTo>
                  <a:lnTo>
                    <a:pt x="324" y="2268"/>
                  </a:lnTo>
                  <a:lnTo>
                    <a:pt x="354" y="2274"/>
                  </a:lnTo>
                  <a:lnTo>
                    <a:pt x="354" y="2280"/>
                  </a:lnTo>
                  <a:lnTo>
                    <a:pt x="360" y="2286"/>
                  </a:lnTo>
                  <a:lnTo>
                    <a:pt x="360" y="2298"/>
                  </a:lnTo>
                  <a:lnTo>
                    <a:pt x="366" y="2304"/>
                  </a:lnTo>
                  <a:lnTo>
                    <a:pt x="378" y="2310"/>
                  </a:lnTo>
                  <a:lnTo>
                    <a:pt x="384" y="2310"/>
                  </a:lnTo>
                  <a:lnTo>
                    <a:pt x="396" y="2298"/>
                  </a:lnTo>
                  <a:lnTo>
                    <a:pt x="414" y="2298"/>
                  </a:lnTo>
                  <a:lnTo>
                    <a:pt x="426" y="2304"/>
                  </a:lnTo>
                  <a:lnTo>
                    <a:pt x="438" y="2316"/>
                  </a:lnTo>
                  <a:lnTo>
                    <a:pt x="438" y="2340"/>
                  </a:lnTo>
                  <a:lnTo>
                    <a:pt x="456" y="2364"/>
                  </a:lnTo>
                  <a:lnTo>
                    <a:pt x="468" y="2382"/>
                  </a:lnTo>
                  <a:lnTo>
                    <a:pt x="504" y="2400"/>
                  </a:lnTo>
                  <a:lnTo>
                    <a:pt x="522" y="2418"/>
                  </a:lnTo>
                  <a:lnTo>
                    <a:pt x="534" y="2418"/>
                  </a:lnTo>
                  <a:lnTo>
                    <a:pt x="546" y="2412"/>
                  </a:lnTo>
                  <a:lnTo>
                    <a:pt x="642" y="2412"/>
                  </a:lnTo>
                  <a:lnTo>
                    <a:pt x="666" y="2430"/>
                  </a:lnTo>
                  <a:lnTo>
                    <a:pt x="660" y="2442"/>
                  </a:lnTo>
                  <a:lnTo>
                    <a:pt x="666" y="2424"/>
                  </a:lnTo>
                  <a:lnTo>
                    <a:pt x="672" y="2418"/>
                  </a:lnTo>
                  <a:lnTo>
                    <a:pt x="684" y="2418"/>
                  </a:lnTo>
                  <a:lnTo>
                    <a:pt x="690" y="2424"/>
                  </a:lnTo>
                  <a:lnTo>
                    <a:pt x="702" y="2424"/>
                  </a:lnTo>
                  <a:lnTo>
                    <a:pt x="714" y="2430"/>
                  </a:lnTo>
                  <a:lnTo>
                    <a:pt x="720" y="2436"/>
                  </a:lnTo>
                  <a:lnTo>
                    <a:pt x="678" y="2382"/>
                  </a:lnTo>
                  <a:lnTo>
                    <a:pt x="660" y="2382"/>
                  </a:lnTo>
                  <a:lnTo>
                    <a:pt x="666" y="2370"/>
                  </a:lnTo>
                  <a:lnTo>
                    <a:pt x="630" y="2340"/>
                  </a:lnTo>
                  <a:lnTo>
                    <a:pt x="630" y="2310"/>
                  </a:lnTo>
                  <a:lnTo>
                    <a:pt x="618" y="2298"/>
                  </a:lnTo>
                  <a:lnTo>
                    <a:pt x="624" y="2286"/>
                  </a:lnTo>
                  <a:lnTo>
                    <a:pt x="630" y="2286"/>
                  </a:lnTo>
                  <a:lnTo>
                    <a:pt x="642" y="2274"/>
                  </a:lnTo>
                  <a:lnTo>
                    <a:pt x="642" y="2268"/>
                  </a:lnTo>
                  <a:lnTo>
                    <a:pt x="636" y="2268"/>
                  </a:lnTo>
                  <a:lnTo>
                    <a:pt x="624" y="2262"/>
                  </a:lnTo>
                  <a:lnTo>
                    <a:pt x="606" y="2262"/>
                  </a:lnTo>
                  <a:lnTo>
                    <a:pt x="618" y="2250"/>
                  </a:lnTo>
                  <a:lnTo>
                    <a:pt x="618" y="2232"/>
                  </a:lnTo>
                  <a:lnTo>
                    <a:pt x="636" y="2256"/>
                  </a:lnTo>
                  <a:lnTo>
                    <a:pt x="648" y="2262"/>
                  </a:lnTo>
                  <a:lnTo>
                    <a:pt x="666" y="2262"/>
                  </a:lnTo>
                  <a:lnTo>
                    <a:pt x="672" y="2256"/>
                  </a:lnTo>
                  <a:lnTo>
                    <a:pt x="678" y="2244"/>
                  </a:lnTo>
                  <a:lnTo>
                    <a:pt x="678" y="2226"/>
                  </a:lnTo>
                  <a:lnTo>
                    <a:pt x="672" y="2208"/>
                  </a:lnTo>
                  <a:lnTo>
                    <a:pt x="666" y="2196"/>
                  </a:lnTo>
                  <a:lnTo>
                    <a:pt x="666" y="2178"/>
                  </a:lnTo>
                  <a:lnTo>
                    <a:pt x="678" y="2154"/>
                  </a:lnTo>
                  <a:lnTo>
                    <a:pt x="690" y="2142"/>
                  </a:lnTo>
                  <a:lnTo>
                    <a:pt x="708" y="2130"/>
                  </a:lnTo>
                  <a:lnTo>
                    <a:pt x="738" y="2100"/>
                  </a:lnTo>
                  <a:lnTo>
                    <a:pt x="726" y="2088"/>
                  </a:lnTo>
                  <a:lnTo>
                    <a:pt x="702" y="2088"/>
                  </a:lnTo>
                  <a:lnTo>
                    <a:pt x="726" y="2082"/>
                  </a:lnTo>
                  <a:lnTo>
                    <a:pt x="726" y="2064"/>
                  </a:lnTo>
                  <a:lnTo>
                    <a:pt x="714" y="2040"/>
                  </a:lnTo>
                  <a:lnTo>
                    <a:pt x="708" y="2034"/>
                  </a:lnTo>
                  <a:lnTo>
                    <a:pt x="696" y="2028"/>
                  </a:lnTo>
                  <a:lnTo>
                    <a:pt x="690" y="2028"/>
                  </a:lnTo>
                  <a:lnTo>
                    <a:pt x="684" y="2034"/>
                  </a:lnTo>
                  <a:lnTo>
                    <a:pt x="672" y="2016"/>
                  </a:lnTo>
                  <a:lnTo>
                    <a:pt x="642" y="2016"/>
                  </a:lnTo>
                  <a:lnTo>
                    <a:pt x="636" y="2010"/>
                  </a:lnTo>
                  <a:lnTo>
                    <a:pt x="624" y="2004"/>
                  </a:lnTo>
                  <a:lnTo>
                    <a:pt x="606" y="1992"/>
                  </a:lnTo>
                  <a:lnTo>
                    <a:pt x="582" y="1968"/>
                  </a:lnTo>
                  <a:lnTo>
                    <a:pt x="570" y="1950"/>
                  </a:lnTo>
                  <a:lnTo>
                    <a:pt x="564" y="1938"/>
                  </a:lnTo>
                  <a:lnTo>
                    <a:pt x="564" y="1926"/>
                  </a:lnTo>
                  <a:lnTo>
                    <a:pt x="570" y="1914"/>
                  </a:lnTo>
                  <a:lnTo>
                    <a:pt x="570" y="1908"/>
                  </a:lnTo>
                  <a:lnTo>
                    <a:pt x="576" y="1908"/>
                  </a:lnTo>
                  <a:lnTo>
                    <a:pt x="582" y="1902"/>
                  </a:lnTo>
                  <a:lnTo>
                    <a:pt x="594" y="1878"/>
                  </a:lnTo>
                  <a:lnTo>
                    <a:pt x="606" y="1878"/>
                  </a:lnTo>
                  <a:lnTo>
                    <a:pt x="612" y="1860"/>
                  </a:lnTo>
                  <a:lnTo>
                    <a:pt x="666" y="1860"/>
                  </a:lnTo>
                  <a:lnTo>
                    <a:pt x="654" y="1848"/>
                  </a:lnTo>
                  <a:lnTo>
                    <a:pt x="654" y="1824"/>
                  </a:lnTo>
                  <a:lnTo>
                    <a:pt x="666" y="1824"/>
                  </a:lnTo>
                  <a:lnTo>
                    <a:pt x="666" y="1794"/>
                  </a:lnTo>
                  <a:lnTo>
                    <a:pt x="660" y="1788"/>
                  </a:lnTo>
                  <a:lnTo>
                    <a:pt x="654" y="1776"/>
                  </a:lnTo>
                  <a:lnTo>
                    <a:pt x="642" y="1764"/>
                  </a:lnTo>
                  <a:lnTo>
                    <a:pt x="642" y="1746"/>
                  </a:lnTo>
                  <a:lnTo>
                    <a:pt x="648" y="1728"/>
                  </a:lnTo>
                  <a:lnTo>
                    <a:pt x="654" y="1716"/>
                  </a:lnTo>
                  <a:lnTo>
                    <a:pt x="666" y="1710"/>
                  </a:lnTo>
                  <a:lnTo>
                    <a:pt x="672" y="1704"/>
                  </a:lnTo>
                  <a:lnTo>
                    <a:pt x="684" y="1704"/>
                  </a:lnTo>
                  <a:lnTo>
                    <a:pt x="684" y="1692"/>
                  </a:lnTo>
                  <a:lnTo>
                    <a:pt x="660" y="1692"/>
                  </a:lnTo>
                  <a:lnTo>
                    <a:pt x="648" y="1686"/>
                  </a:lnTo>
                  <a:lnTo>
                    <a:pt x="642" y="1680"/>
                  </a:lnTo>
                  <a:lnTo>
                    <a:pt x="642" y="1674"/>
                  </a:lnTo>
                  <a:lnTo>
                    <a:pt x="654" y="1668"/>
                  </a:lnTo>
                  <a:lnTo>
                    <a:pt x="666" y="1668"/>
                  </a:lnTo>
                  <a:lnTo>
                    <a:pt x="702" y="1686"/>
                  </a:lnTo>
                  <a:lnTo>
                    <a:pt x="708" y="1692"/>
                  </a:lnTo>
                  <a:lnTo>
                    <a:pt x="714" y="1692"/>
                  </a:lnTo>
                  <a:lnTo>
                    <a:pt x="720" y="1686"/>
                  </a:lnTo>
                  <a:lnTo>
                    <a:pt x="732" y="1680"/>
                  </a:lnTo>
                  <a:lnTo>
                    <a:pt x="732" y="1656"/>
                  </a:lnTo>
                  <a:lnTo>
                    <a:pt x="726" y="1644"/>
                  </a:lnTo>
                  <a:lnTo>
                    <a:pt x="708" y="1626"/>
                  </a:lnTo>
                  <a:lnTo>
                    <a:pt x="696" y="1626"/>
                  </a:lnTo>
                  <a:lnTo>
                    <a:pt x="690" y="1632"/>
                  </a:lnTo>
                  <a:lnTo>
                    <a:pt x="690" y="1650"/>
                  </a:lnTo>
                  <a:lnTo>
                    <a:pt x="684" y="1656"/>
                  </a:lnTo>
                  <a:lnTo>
                    <a:pt x="666" y="1656"/>
                  </a:lnTo>
                  <a:lnTo>
                    <a:pt x="654" y="1650"/>
                  </a:lnTo>
                  <a:lnTo>
                    <a:pt x="648" y="1644"/>
                  </a:lnTo>
                  <a:lnTo>
                    <a:pt x="648" y="1638"/>
                  </a:lnTo>
                  <a:lnTo>
                    <a:pt x="612" y="1638"/>
                  </a:lnTo>
                  <a:lnTo>
                    <a:pt x="606" y="1632"/>
                  </a:lnTo>
                  <a:lnTo>
                    <a:pt x="606" y="1572"/>
                  </a:lnTo>
                  <a:lnTo>
                    <a:pt x="600" y="1566"/>
                  </a:lnTo>
                  <a:lnTo>
                    <a:pt x="594" y="1554"/>
                  </a:lnTo>
                  <a:lnTo>
                    <a:pt x="588" y="1536"/>
                  </a:lnTo>
                  <a:lnTo>
                    <a:pt x="588" y="1524"/>
                  </a:lnTo>
                  <a:lnTo>
                    <a:pt x="594" y="1518"/>
                  </a:lnTo>
                  <a:lnTo>
                    <a:pt x="600" y="1518"/>
                  </a:lnTo>
                  <a:lnTo>
                    <a:pt x="606" y="1524"/>
                  </a:lnTo>
                  <a:lnTo>
                    <a:pt x="618" y="1524"/>
                  </a:lnTo>
                  <a:lnTo>
                    <a:pt x="624" y="1530"/>
                  </a:lnTo>
                  <a:lnTo>
                    <a:pt x="636" y="1536"/>
                  </a:lnTo>
                  <a:lnTo>
                    <a:pt x="672" y="1548"/>
                  </a:lnTo>
                  <a:lnTo>
                    <a:pt x="690" y="1560"/>
                  </a:lnTo>
                  <a:lnTo>
                    <a:pt x="708" y="1560"/>
                  </a:lnTo>
                  <a:lnTo>
                    <a:pt x="726" y="1554"/>
                  </a:lnTo>
                  <a:lnTo>
                    <a:pt x="738" y="1542"/>
                  </a:lnTo>
                  <a:lnTo>
                    <a:pt x="750" y="1536"/>
                  </a:lnTo>
                  <a:lnTo>
                    <a:pt x="768" y="1530"/>
                  </a:lnTo>
                  <a:lnTo>
                    <a:pt x="774" y="1524"/>
                  </a:lnTo>
                  <a:lnTo>
                    <a:pt x="774" y="1512"/>
                  </a:lnTo>
                  <a:lnTo>
                    <a:pt x="762" y="1506"/>
                  </a:lnTo>
                  <a:lnTo>
                    <a:pt x="750" y="1494"/>
                  </a:lnTo>
                  <a:lnTo>
                    <a:pt x="738" y="1488"/>
                  </a:lnTo>
                  <a:lnTo>
                    <a:pt x="738" y="1464"/>
                  </a:lnTo>
                  <a:lnTo>
                    <a:pt x="744" y="1452"/>
                  </a:lnTo>
                  <a:lnTo>
                    <a:pt x="750" y="1446"/>
                  </a:lnTo>
                  <a:lnTo>
                    <a:pt x="750" y="1434"/>
                  </a:lnTo>
                  <a:lnTo>
                    <a:pt x="756" y="1422"/>
                  </a:lnTo>
                  <a:lnTo>
                    <a:pt x="744" y="1410"/>
                  </a:lnTo>
                  <a:lnTo>
                    <a:pt x="726" y="1410"/>
                  </a:lnTo>
                  <a:lnTo>
                    <a:pt x="720" y="1386"/>
                  </a:lnTo>
                  <a:lnTo>
                    <a:pt x="714" y="1380"/>
                  </a:lnTo>
                  <a:lnTo>
                    <a:pt x="714" y="1368"/>
                  </a:lnTo>
                  <a:lnTo>
                    <a:pt x="720" y="1362"/>
                  </a:lnTo>
                  <a:lnTo>
                    <a:pt x="726" y="1362"/>
                  </a:lnTo>
                  <a:lnTo>
                    <a:pt x="732" y="1374"/>
                  </a:lnTo>
                  <a:lnTo>
                    <a:pt x="738" y="1380"/>
                  </a:lnTo>
                  <a:lnTo>
                    <a:pt x="738" y="1386"/>
                  </a:lnTo>
                  <a:lnTo>
                    <a:pt x="744" y="1398"/>
                  </a:lnTo>
                  <a:lnTo>
                    <a:pt x="756" y="1398"/>
                  </a:lnTo>
                  <a:lnTo>
                    <a:pt x="750" y="1380"/>
                  </a:lnTo>
                  <a:lnTo>
                    <a:pt x="828" y="1386"/>
                  </a:lnTo>
                  <a:lnTo>
                    <a:pt x="834" y="1380"/>
                  </a:lnTo>
                  <a:lnTo>
                    <a:pt x="840" y="1380"/>
                  </a:lnTo>
                  <a:lnTo>
                    <a:pt x="846" y="1374"/>
                  </a:lnTo>
                  <a:lnTo>
                    <a:pt x="864" y="1368"/>
                  </a:lnTo>
                  <a:lnTo>
                    <a:pt x="894" y="1362"/>
                  </a:lnTo>
                  <a:lnTo>
                    <a:pt x="930" y="1350"/>
                  </a:lnTo>
                  <a:lnTo>
                    <a:pt x="972" y="1338"/>
                  </a:lnTo>
                  <a:lnTo>
                    <a:pt x="1002" y="1326"/>
                  </a:lnTo>
                  <a:lnTo>
                    <a:pt x="1014" y="1320"/>
                  </a:lnTo>
                  <a:lnTo>
                    <a:pt x="1014" y="1284"/>
                  </a:lnTo>
                  <a:lnTo>
                    <a:pt x="1032" y="1272"/>
                  </a:lnTo>
                  <a:lnTo>
                    <a:pt x="1044" y="1218"/>
                  </a:lnTo>
                  <a:lnTo>
                    <a:pt x="1038" y="1194"/>
                  </a:lnTo>
                  <a:lnTo>
                    <a:pt x="1038" y="1170"/>
                  </a:lnTo>
                  <a:lnTo>
                    <a:pt x="1032" y="1170"/>
                  </a:lnTo>
                  <a:lnTo>
                    <a:pt x="1026" y="1164"/>
                  </a:lnTo>
                  <a:lnTo>
                    <a:pt x="1002" y="1152"/>
                  </a:lnTo>
                  <a:lnTo>
                    <a:pt x="990" y="1152"/>
                  </a:lnTo>
                  <a:lnTo>
                    <a:pt x="984" y="1146"/>
                  </a:lnTo>
                  <a:lnTo>
                    <a:pt x="978" y="1146"/>
                  </a:lnTo>
                  <a:lnTo>
                    <a:pt x="972" y="1140"/>
                  </a:lnTo>
                  <a:lnTo>
                    <a:pt x="990" y="1122"/>
                  </a:lnTo>
                  <a:lnTo>
                    <a:pt x="990" y="1092"/>
                  </a:lnTo>
                  <a:lnTo>
                    <a:pt x="984" y="1080"/>
                  </a:lnTo>
                  <a:lnTo>
                    <a:pt x="978" y="1074"/>
                  </a:lnTo>
                  <a:lnTo>
                    <a:pt x="954" y="1062"/>
                  </a:lnTo>
                  <a:lnTo>
                    <a:pt x="918" y="1050"/>
                  </a:lnTo>
                  <a:lnTo>
                    <a:pt x="906" y="1044"/>
                  </a:lnTo>
                  <a:lnTo>
                    <a:pt x="888" y="1032"/>
                  </a:lnTo>
                  <a:lnTo>
                    <a:pt x="876" y="1020"/>
                  </a:lnTo>
                  <a:lnTo>
                    <a:pt x="876" y="1002"/>
                  </a:lnTo>
                  <a:lnTo>
                    <a:pt x="882" y="990"/>
                  </a:lnTo>
                  <a:lnTo>
                    <a:pt x="888" y="990"/>
                  </a:lnTo>
                  <a:lnTo>
                    <a:pt x="888" y="984"/>
                  </a:lnTo>
                  <a:lnTo>
                    <a:pt x="858" y="948"/>
                  </a:lnTo>
                  <a:lnTo>
                    <a:pt x="858" y="900"/>
                  </a:lnTo>
                  <a:lnTo>
                    <a:pt x="882" y="900"/>
                  </a:lnTo>
                  <a:lnTo>
                    <a:pt x="888" y="894"/>
                  </a:lnTo>
                  <a:lnTo>
                    <a:pt x="894" y="894"/>
                  </a:lnTo>
                  <a:lnTo>
                    <a:pt x="894" y="888"/>
                  </a:lnTo>
                  <a:lnTo>
                    <a:pt x="888" y="876"/>
                  </a:lnTo>
                  <a:lnTo>
                    <a:pt x="876" y="870"/>
                  </a:lnTo>
                  <a:lnTo>
                    <a:pt x="870" y="858"/>
                  </a:lnTo>
                  <a:lnTo>
                    <a:pt x="864" y="852"/>
                  </a:lnTo>
                  <a:lnTo>
                    <a:pt x="876" y="834"/>
                  </a:lnTo>
                  <a:lnTo>
                    <a:pt x="864" y="822"/>
                  </a:lnTo>
                  <a:lnTo>
                    <a:pt x="858" y="810"/>
                  </a:lnTo>
                  <a:lnTo>
                    <a:pt x="852" y="804"/>
                  </a:lnTo>
                  <a:lnTo>
                    <a:pt x="864" y="792"/>
                  </a:lnTo>
                  <a:lnTo>
                    <a:pt x="882" y="792"/>
                  </a:lnTo>
                  <a:lnTo>
                    <a:pt x="858" y="774"/>
                  </a:lnTo>
                  <a:lnTo>
                    <a:pt x="858" y="738"/>
                  </a:lnTo>
                  <a:lnTo>
                    <a:pt x="882" y="726"/>
                  </a:lnTo>
                  <a:lnTo>
                    <a:pt x="876" y="726"/>
                  </a:lnTo>
                  <a:lnTo>
                    <a:pt x="852" y="702"/>
                  </a:lnTo>
                  <a:lnTo>
                    <a:pt x="852" y="696"/>
                  </a:lnTo>
                  <a:lnTo>
                    <a:pt x="870" y="678"/>
                  </a:lnTo>
                  <a:lnTo>
                    <a:pt x="870" y="666"/>
                  </a:lnTo>
                  <a:lnTo>
                    <a:pt x="876" y="654"/>
                  </a:lnTo>
                  <a:lnTo>
                    <a:pt x="876" y="642"/>
                  </a:lnTo>
                  <a:lnTo>
                    <a:pt x="882" y="636"/>
                  </a:lnTo>
                  <a:lnTo>
                    <a:pt x="900" y="636"/>
                  </a:lnTo>
                  <a:lnTo>
                    <a:pt x="906" y="630"/>
                  </a:lnTo>
                  <a:lnTo>
                    <a:pt x="912" y="618"/>
                  </a:lnTo>
                  <a:lnTo>
                    <a:pt x="918" y="612"/>
                  </a:lnTo>
                  <a:lnTo>
                    <a:pt x="918" y="588"/>
                  </a:lnTo>
                  <a:lnTo>
                    <a:pt x="930" y="588"/>
                  </a:lnTo>
                  <a:lnTo>
                    <a:pt x="948" y="570"/>
                  </a:lnTo>
                  <a:lnTo>
                    <a:pt x="948" y="558"/>
                  </a:lnTo>
                  <a:lnTo>
                    <a:pt x="954" y="546"/>
                  </a:lnTo>
                  <a:lnTo>
                    <a:pt x="954" y="534"/>
                  </a:lnTo>
                  <a:close/>
                  <a:moveTo>
                    <a:pt x="930" y="1020"/>
                  </a:moveTo>
                  <a:lnTo>
                    <a:pt x="942" y="1020"/>
                  </a:lnTo>
                  <a:lnTo>
                    <a:pt x="930" y="1014"/>
                  </a:lnTo>
                  <a:lnTo>
                    <a:pt x="930" y="1020"/>
                  </a:lnTo>
                  <a:close/>
                </a:path>
              </a:pathLst>
            </a:custGeom>
            <a:solidFill>
              <a:schemeClr val="accent5"/>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399" name="Angola" descr="© INSCALE GmbH, 05.05.2010&#10;http://www.presentationload.com/">
              <a:extLst>
                <a:ext uri="{FF2B5EF4-FFF2-40B4-BE49-F238E27FC236}">
                  <a16:creationId xmlns:a16="http://schemas.microsoft.com/office/drawing/2014/main" id="{7524A064-E4BD-4755-AE31-A0B9E2E03FE1}"/>
                </a:ext>
              </a:extLst>
            </p:cNvPr>
            <p:cNvSpPr>
              <a:spLocks noEditPoints="1"/>
            </p:cNvSpPr>
            <p:nvPr/>
          </p:nvSpPr>
          <p:spPr bwMode="gray">
            <a:xfrm>
              <a:off x="4457075" y="4389048"/>
              <a:ext cx="352805" cy="440615"/>
            </a:xfrm>
            <a:custGeom>
              <a:avLst/>
              <a:gdLst>
                <a:gd name="T0" fmla="*/ 2147483647 w 888"/>
                <a:gd name="T1" fmla="*/ 2147483647 h 1104"/>
                <a:gd name="T2" fmla="*/ 2147483647 w 888"/>
                <a:gd name="T3" fmla="*/ 2147483647 h 1104"/>
                <a:gd name="T4" fmla="*/ 2147483647 w 888"/>
                <a:gd name="T5" fmla="*/ 2147483647 h 1104"/>
                <a:gd name="T6" fmla="*/ 2147483647 w 888"/>
                <a:gd name="T7" fmla="*/ 0 h 1104"/>
                <a:gd name="T8" fmla="*/ 2147483647 w 888"/>
                <a:gd name="T9" fmla="*/ 2147483647 h 1104"/>
                <a:gd name="T10" fmla="*/ 2147483647 w 888"/>
                <a:gd name="T11" fmla="*/ 2147483647 h 1104"/>
                <a:gd name="T12" fmla="*/ 2147483647 w 888"/>
                <a:gd name="T13" fmla="*/ 2147483647 h 1104"/>
                <a:gd name="T14" fmla="*/ 2147483647 w 888"/>
                <a:gd name="T15" fmla="*/ 2147483647 h 1104"/>
                <a:gd name="T16" fmla="*/ 2147483647 w 888"/>
                <a:gd name="T17" fmla="*/ 2147483647 h 1104"/>
                <a:gd name="T18" fmla="*/ 2147483647 w 888"/>
                <a:gd name="T19" fmla="*/ 2147483647 h 1104"/>
                <a:gd name="T20" fmla="*/ 2147483647 w 888"/>
                <a:gd name="T21" fmla="*/ 2147483647 h 1104"/>
                <a:gd name="T22" fmla="*/ 2147483647 w 888"/>
                <a:gd name="T23" fmla="*/ 2147483647 h 1104"/>
                <a:gd name="T24" fmla="*/ 2147483647 w 888"/>
                <a:gd name="T25" fmla="*/ 2147483647 h 1104"/>
                <a:gd name="T26" fmla="*/ 2147483647 w 888"/>
                <a:gd name="T27" fmla="*/ 2147483647 h 1104"/>
                <a:gd name="T28" fmla="*/ 2147483647 w 888"/>
                <a:gd name="T29" fmla="*/ 2147483647 h 1104"/>
                <a:gd name="T30" fmla="*/ 2147483647 w 888"/>
                <a:gd name="T31" fmla="*/ 2147483647 h 1104"/>
                <a:gd name="T32" fmla="*/ 2147483647 w 888"/>
                <a:gd name="T33" fmla="*/ 2147483647 h 1104"/>
                <a:gd name="T34" fmla="*/ 2147483647 w 888"/>
                <a:gd name="T35" fmla="*/ 2147483647 h 1104"/>
                <a:gd name="T36" fmla="*/ 2147483647 w 888"/>
                <a:gd name="T37" fmla="*/ 2147483647 h 1104"/>
                <a:gd name="T38" fmla="*/ 2147483647 w 888"/>
                <a:gd name="T39" fmla="*/ 2147483647 h 1104"/>
                <a:gd name="T40" fmla="*/ 2147483647 w 888"/>
                <a:gd name="T41" fmla="*/ 2147483647 h 1104"/>
                <a:gd name="T42" fmla="*/ 2147483647 w 888"/>
                <a:gd name="T43" fmla="*/ 2147483647 h 1104"/>
                <a:gd name="T44" fmla="*/ 2147483647 w 888"/>
                <a:gd name="T45" fmla="*/ 2147483647 h 1104"/>
                <a:gd name="T46" fmla="*/ 2147483647 w 888"/>
                <a:gd name="T47" fmla="*/ 2147483647 h 1104"/>
                <a:gd name="T48" fmla="*/ 2147483647 w 888"/>
                <a:gd name="T49" fmla="*/ 2147483647 h 1104"/>
                <a:gd name="T50" fmla="*/ 2147483647 w 888"/>
                <a:gd name="T51" fmla="*/ 2147483647 h 1104"/>
                <a:gd name="T52" fmla="*/ 2147483647 w 888"/>
                <a:gd name="T53" fmla="*/ 2147483647 h 1104"/>
                <a:gd name="T54" fmla="*/ 2147483647 w 888"/>
                <a:gd name="T55" fmla="*/ 2147483647 h 1104"/>
                <a:gd name="T56" fmla="*/ 2147483647 w 888"/>
                <a:gd name="T57" fmla="*/ 2147483647 h 1104"/>
                <a:gd name="T58" fmla="*/ 2147483647 w 888"/>
                <a:gd name="T59" fmla="*/ 2147483647 h 1104"/>
                <a:gd name="T60" fmla="*/ 2147483647 w 888"/>
                <a:gd name="T61" fmla="*/ 2147483647 h 1104"/>
                <a:gd name="T62" fmla="*/ 2147483647 w 888"/>
                <a:gd name="T63" fmla="*/ 2147483647 h 1104"/>
                <a:gd name="T64" fmla="*/ 2147483647 w 888"/>
                <a:gd name="T65" fmla="*/ 2147483647 h 1104"/>
                <a:gd name="T66" fmla="*/ 2147483647 w 888"/>
                <a:gd name="T67" fmla="*/ 2147483647 h 1104"/>
                <a:gd name="T68" fmla="*/ 2147483647 w 888"/>
                <a:gd name="T69" fmla="*/ 2147483647 h 1104"/>
                <a:gd name="T70" fmla="*/ 2147483647 w 888"/>
                <a:gd name="T71" fmla="*/ 2147483647 h 1104"/>
                <a:gd name="T72" fmla="*/ 2147483647 w 888"/>
                <a:gd name="T73" fmla="*/ 2147483647 h 1104"/>
                <a:gd name="T74" fmla="*/ 0 w 888"/>
                <a:gd name="T75" fmla="*/ 2147483647 h 1104"/>
                <a:gd name="T76" fmla="*/ 2147483647 w 888"/>
                <a:gd name="T77" fmla="*/ 2147483647 h 1104"/>
                <a:gd name="T78" fmla="*/ 2147483647 w 888"/>
                <a:gd name="T79" fmla="*/ 2147483647 h 1104"/>
                <a:gd name="T80" fmla="*/ 2147483647 w 888"/>
                <a:gd name="T81" fmla="*/ 2147483647 h 1104"/>
                <a:gd name="T82" fmla="*/ 2147483647 w 888"/>
                <a:gd name="T83" fmla="*/ 2147483647 h 1104"/>
                <a:gd name="T84" fmla="*/ 2147483647 w 888"/>
                <a:gd name="T85" fmla="*/ 2147483647 h 1104"/>
                <a:gd name="T86" fmla="*/ 2147483647 w 888"/>
                <a:gd name="T87" fmla="*/ 2147483647 h 1104"/>
                <a:gd name="T88" fmla="*/ 2147483647 w 888"/>
                <a:gd name="T89" fmla="*/ 2147483647 h 1104"/>
                <a:gd name="T90" fmla="*/ 2147483647 w 888"/>
                <a:gd name="T91" fmla="*/ 2147483647 h 1104"/>
                <a:gd name="T92" fmla="*/ 2147483647 w 888"/>
                <a:gd name="T93" fmla="*/ 2147483647 h 1104"/>
                <a:gd name="T94" fmla="*/ 2147483647 w 888"/>
                <a:gd name="T95" fmla="*/ 2147483647 h 11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8"/>
                <a:gd name="T145" fmla="*/ 0 h 1104"/>
                <a:gd name="T146" fmla="*/ 888 w 888"/>
                <a:gd name="T147" fmla="*/ 1104 h 11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8" h="1104">
                  <a:moveTo>
                    <a:pt x="42" y="114"/>
                  </a:moveTo>
                  <a:lnTo>
                    <a:pt x="42" y="120"/>
                  </a:lnTo>
                  <a:lnTo>
                    <a:pt x="48" y="120"/>
                  </a:lnTo>
                  <a:lnTo>
                    <a:pt x="54" y="114"/>
                  </a:lnTo>
                  <a:lnTo>
                    <a:pt x="66" y="108"/>
                  </a:lnTo>
                  <a:lnTo>
                    <a:pt x="72" y="102"/>
                  </a:lnTo>
                  <a:lnTo>
                    <a:pt x="72" y="96"/>
                  </a:lnTo>
                  <a:lnTo>
                    <a:pt x="66" y="84"/>
                  </a:lnTo>
                  <a:lnTo>
                    <a:pt x="66" y="78"/>
                  </a:lnTo>
                  <a:lnTo>
                    <a:pt x="60" y="66"/>
                  </a:lnTo>
                  <a:lnTo>
                    <a:pt x="96" y="36"/>
                  </a:lnTo>
                  <a:lnTo>
                    <a:pt x="102" y="24"/>
                  </a:lnTo>
                  <a:lnTo>
                    <a:pt x="102" y="18"/>
                  </a:lnTo>
                  <a:lnTo>
                    <a:pt x="96" y="12"/>
                  </a:lnTo>
                  <a:lnTo>
                    <a:pt x="96" y="6"/>
                  </a:lnTo>
                  <a:lnTo>
                    <a:pt x="90" y="0"/>
                  </a:lnTo>
                  <a:lnTo>
                    <a:pt x="84" y="6"/>
                  </a:lnTo>
                  <a:lnTo>
                    <a:pt x="72" y="12"/>
                  </a:lnTo>
                  <a:lnTo>
                    <a:pt x="66" y="18"/>
                  </a:lnTo>
                  <a:lnTo>
                    <a:pt x="54" y="24"/>
                  </a:lnTo>
                  <a:lnTo>
                    <a:pt x="54" y="42"/>
                  </a:lnTo>
                  <a:lnTo>
                    <a:pt x="36" y="42"/>
                  </a:lnTo>
                  <a:lnTo>
                    <a:pt x="36" y="60"/>
                  </a:lnTo>
                  <a:lnTo>
                    <a:pt x="42" y="114"/>
                  </a:lnTo>
                  <a:close/>
                  <a:moveTo>
                    <a:pt x="876" y="546"/>
                  </a:moveTo>
                  <a:lnTo>
                    <a:pt x="852" y="546"/>
                  </a:lnTo>
                  <a:lnTo>
                    <a:pt x="840" y="534"/>
                  </a:lnTo>
                  <a:lnTo>
                    <a:pt x="828" y="534"/>
                  </a:lnTo>
                  <a:lnTo>
                    <a:pt x="828" y="546"/>
                  </a:lnTo>
                  <a:lnTo>
                    <a:pt x="804" y="552"/>
                  </a:lnTo>
                  <a:lnTo>
                    <a:pt x="774" y="546"/>
                  </a:lnTo>
                  <a:lnTo>
                    <a:pt x="768" y="564"/>
                  </a:lnTo>
                  <a:lnTo>
                    <a:pt x="762" y="558"/>
                  </a:lnTo>
                  <a:lnTo>
                    <a:pt x="756" y="558"/>
                  </a:lnTo>
                  <a:lnTo>
                    <a:pt x="750" y="552"/>
                  </a:lnTo>
                  <a:lnTo>
                    <a:pt x="750" y="528"/>
                  </a:lnTo>
                  <a:lnTo>
                    <a:pt x="756" y="522"/>
                  </a:lnTo>
                  <a:lnTo>
                    <a:pt x="756" y="510"/>
                  </a:lnTo>
                  <a:lnTo>
                    <a:pt x="762" y="498"/>
                  </a:lnTo>
                  <a:lnTo>
                    <a:pt x="762" y="480"/>
                  </a:lnTo>
                  <a:lnTo>
                    <a:pt x="756" y="474"/>
                  </a:lnTo>
                  <a:lnTo>
                    <a:pt x="744" y="450"/>
                  </a:lnTo>
                  <a:lnTo>
                    <a:pt x="732" y="432"/>
                  </a:lnTo>
                  <a:lnTo>
                    <a:pt x="726" y="414"/>
                  </a:lnTo>
                  <a:lnTo>
                    <a:pt x="726" y="402"/>
                  </a:lnTo>
                  <a:lnTo>
                    <a:pt x="732" y="396"/>
                  </a:lnTo>
                  <a:lnTo>
                    <a:pt x="732" y="384"/>
                  </a:lnTo>
                  <a:lnTo>
                    <a:pt x="726" y="360"/>
                  </a:lnTo>
                  <a:lnTo>
                    <a:pt x="732" y="354"/>
                  </a:lnTo>
                  <a:lnTo>
                    <a:pt x="738" y="342"/>
                  </a:lnTo>
                  <a:lnTo>
                    <a:pt x="738" y="330"/>
                  </a:lnTo>
                  <a:lnTo>
                    <a:pt x="732" y="318"/>
                  </a:lnTo>
                  <a:lnTo>
                    <a:pt x="720" y="306"/>
                  </a:lnTo>
                  <a:lnTo>
                    <a:pt x="714" y="288"/>
                  </a:lnTo>
                  <a:lnTo>
                    <a:pt x="726" y="270"/>
                  </a:lnTo>
                  <a:lnTo>
                    <a:pt x="726" y="246"/>
                  </a:lnTo>
                  <a:lnTo>
                    <a:pt x="636" y="246"/>
                  </a:lnTo>
                  <a:lnTo>
                    <a:pt x="636" y="222"/>
                  </a:lnTo>
                  <a:lnTo>
                    <a:pt x="624" y="216"/>
                  </a:lnTo>
                  <a:lnTo>
                    <a:pt x="612" y="216"/>
                  </a:lnTo>
                  <a:lnTo>
                    <a:pt x="612" y="222"/>
                  </a:lnTo>
                  <a:lnTo>
                    <a:pt x="564" y="222"/>
                  </a:lnTo>
                  <a:lnTo>
                    <a:pt x="558" y="228"/>
                  </a:lnTo>
                  <a:lnTo>
                    <a:pt x="558" y="234"/>
                  </a:lnTo>
                  <a:lnTo>
                    <a:pt x="564" y="240"/>
                  </a:lnTo>
                  <a:lnTo>
                    <a:pt x="570" y="252"/>
                  </a:lnTo>
                  <a:lnTo>
                    <a:pt x="570" y="264"/>
                  </a:lnTo>
                  <a:lnTo>
                    <a:pt x="558" y="264"/>
                  </a:lnTo>
                  <a:lnTo>
                    <a:pt x="558" y="270"/>
                  </a:lnTo>
                  <a:lnTo>
                    <a:pt x="552" y="276"/>
                  </a:lnTo>
                  <a:lnTo>
                    <a:pt x="552" y="294"/>
                  </a:lnTo>
                  <a:lnTo>
                    <a:pt x="510" y="300"/>
                  </a:lnTo>
                  <a:lnTo>
                    <a:pt x="504" y="294"/>
                  </a:lnTo>
                  <a:lnTo>
                    <a:pt x="492" y="300"/>
                  </a:lnTo>
                  <a:lnTo>
                    <a:pt x="468" y="300"/>
                  </a:lnTo>
                  <a:lnTo>
                    <a:pt x="462" y="312"/>
                  </a:lnTo>
                  <a:lnTo>
                    <a:pt x="450" y="306"/>
                  </a:lnTo>
                  <a:lnTo>
                    <a:pt x="420" y="306"/>
                  </a:lnTo>
                  <a:lnTo>
                    <a:pt x="408" y="282"/>
                  </a:lnTo>
                  <a:lnTo>
                    <a:pt x="402" y="276"/>
                  </a:lnTo>
                  <a:lnTo>
                    <a:pt x="402" y="264"/>
                  </a:lnTo>
                  <a:lnTo>
                    <a:pt x="390" y="252"/>
                  </a:lnTo>
                  <a:lnTo>
                    <a:pt x="384" y="252"/>
                  </a:lnTo>
                  <a:lnTo>
                    <a:pt x="378" y="246"/>
                  </a:lnTo>
                  <a:lnTo>
                    <a:pt x="378" y="240"/>
                  </a:lnTo>
                  <a:lnTo>
                    <a:pt x="384" y="234"/>
                  </a:lnTo>
                  <a:lnTo>
                    <a:pt x="384" y="210"/>
                  </a:lnTo>
                  <a:lnTo>
                    <a:pt x="366" y="192"/>
                  </a:lnTo>
                  <a:lnTo>
                    <a:pt x="366" y="150"/>
                  </a:lnTo>
                  <a:lnTo>
                    <a:pt x="354" y="138"/>
                  </a:lnTo>
                  <a:lnTo>
                    <a:pt x="348" y="126"/>
                  </a:lnTo>
                  <a:lnTo>
                    <a:pt x="342" y="120"/>
                  </a:lnTo>
                  <a:lnTo>
                    <a:pt x="324" y="120"/>
                  </a:lnTo>
                  <a:lnTo>
                    <a:pt x="318" y="126"/>
                  </a:lnTo>
                  <a:lnTo>
                    <a:pt x="294" y="126"/>
                  </a:lnTo>
                  <a:lnTo>
                    <a:pt x="276" y="132"/>
                  </a:lnTo>
                  <a:lnTo>
                    <a:pt x="246" y="132"/>
                  </a:lnTo>
                  <a:lnTo>
                    <a:pt x="234" y="126"/>
                  </a:lnTo>
                  <a:lnTo>
                    <a:pt x="222" y="126"/>
                  </a:lnTo>
                  <a:lnTo>
                    <a:pt x="210" y="132"/>
                  </a:lnTo>
                  <a:lnTo>
                    <a:pt x="180" y="132"/>
                  </a:lnTo>
                  <a:lnTo>
                    <a:pt x="168" y="126"/>
                  </a:lnTo>
                  <a:lnTo>
                    <a:pt x="144" y="132"/>
                  </a:lnTo>
                  <a:lnTo>
                    <a:pt x="132" y="126"/>
                  </a:lnTo>
                  <a:lnTo>
                    <a:pt x="126" y="132"/>
                  </a:lnTo>
                  <a:lnTo>
                    <a:pt x="102" y="126"/>
                  </a:lnTo>
                  <a:lnTo>
                    <a:pt x="54" y="150"/>
                  </a:lnTo>
                  <a:lnTo>
                    <a:pt x="48" y="156"/>
                  </a:lnTo>
                  <a:lnTo>
                    <a:pt x="54" y="168"/>
                  </a:lnTo>
                  <a:lnTo>
                    <a:pt x="60" y="174"/>
                  </a:lnTo>
                  <a:lnTo>
                    <a:pt x="66" y="186"/>
                  </a:lnTo>
                  <a:lnTo>
                    <a:pt x="90" y="210"/>
                  </a:lnTo>
                  <a:lnTo>
                    <a:pt x="84" y="234"/>
                  </a:lnTo>
                  <a:lnTo>
                    <a:pt x="90" y="246"/>
                  </a:lnTo>
                  <a:lnTo>
                    <a:pt x="108" y="270"/>
                  </a:lnTo>
                  <a:lnTo>
                    <a:pt x="120" y="300"/>
                  </a:lnTo>
                  <a:lnTo>
                    <a:pt x="126" y="330"/>
                  </a:lnTo>
                  <a:lnTo>
                    <a:pt x="120" y="354"/>
                  </a:lnTo>
                  <a:lnTo>
                    <a:pt x="108" y="378"/>
                  </a:lnTo>
                  <a:lnTo>
                    <a:pt x="102" y="384"/>
                  </a:lnTo>
                  <a:lnTo>
                    <a:pt x="102" y="408"/>
                  </a:lnTo>
                  <a:lnTo>
                    <a:pt x="114" y="408"/>
                  </a:lnTo>
                  <a:lnTo>
                    <a:pt x="114" y="438"/>
                  </a:lnTo>
                  <a:lnTo>
                    <a:pt x="126" y="474"/>
                  </a:lnTo>
                  <a:lnTo>
                    <a:pt x="150" y="510"/>
                  </a:lnTo>
                  <a:lnTo>
                    <a:pt x="162" y="552"/>
                  </a:lnTo>
                  <a:lnTo>
                    <a:pt x="162" y="582"/>
                  </a:lnTo>
                  <a:lnTo>
                    <a:pt x="156" y="594"/>
                  </a:lnTo>
                  <a:lnTo>
                    <a:pt x="150" y="612"/>
                  </a:lnTo>
                  <a:lnTo>
                    <a:pt x="144" y="618"/>
                  </a:lnTo>
                  <a:lnTo>
                    <a:pt x="138" y="630"/>
                  </a:lnTo>
                  <a:lnTo>
                    <a:pt x="144" y="642"/>
                  </a:lnTo>
                  <a:lnTo>
                    <a:pt x="144" y="660"/>
                  </a:lnTo>
                  <a:lnTo>
                    <a:pt x="138" y="666"/>
                  </a:lnTo>
                  <a:lnTo>
                    <a:pt x="126" y="672"/>
                  </a:lnTo>
                  <a:lnTo>
                    <a:pt x="108" y="672"/>
                  </a:lnTo>
                  <a:lnTo>
                    <a:pt x="96" y="690"/>
                  </a:lnTo>
                  <a:lnTo>
                    <a:pt x="102" y="714"/>
                  </a:lnTo>
                  <a:lnTo>
                    <a:pt x="78" y="714"/>
                  </a:lnTo>
                  <a:lnTo>
                    <a:pt x="66" y="720"/>
                  </a:lnTo>
                  <a:lnTo>
                    <a:pt x="66" y="750"/>
                  </a:lnTo>
                  <a:lnTo>
                    <a:pt x="60" y="762"/>
                  </a:lnTo>
                  <a:lnTo>
                    <a:pt x="60" y="774"/>
                  </a:lnTo>
                  <a:lnTo>
                    <a:pt x="48" y="786"/>
                  </a:lnTo>
                  <a:lnTo>
                    <a:pt x="48" y="858"/>
                  </a:lnTo>
                  <a:lnTo>
                    <a:pt x="36" y="864"/>
                  </a:lnTo>
                  <a:lnTo>
                    <a:pt x="30" y="870"/>
                  </a:lnTo>
                  <a:lnTo>
                    <a:pt x="30" y="912"/>
                  </a:lnTo>
                  <a:lnTo>
                    <a:pt x="6" y="930"/>
                  </a:lnTo>
                  <a:lnTo>
                    <a:pt x="6" y="966"/>
                  </a:lnTo>
                  <a:lnTo>
                    <a:pt x="18" y="984"/>
                  </a:lnTo>
                  <a:lnTo>
                    <a:pt x="0" y="1002"/>
                  </a:lnTo>
                  <a:lnTo>
                    <a:pt x="0" y="1044"/>
                  </a:lnTo>
                  <a:lnTo>
                    <a:pt x="18" y="1044"/>
                  </a:lnTo>
                  <a:lnTo>
                    <a:pt x="36" y="1038"/>
                  </a:lnTo>
                  <a:lnTo>
                    <a:pt x="42" y="1044"/>
                  </a:lnTo>
                  <a:lnTo>
                    <a:pt x="72" y="1044"/>
                  </a:lnTo>
                  <a:lnTo>
                    <a:pt x="90" y="1026"/>
                  </a:lnTo>
                  <a:lnTo>
                    <a:pt x="90" y="1020"/>
                  </a:lnTo>
                  <a:lnTo>
                    <a:pt x="120" y="1020"/>
                  </a:lnTo>
                  <a:lnTo>
                    <a:pt x="126" y="1026"/>
                  </a:lnTo>
                  <a:lnTo>
                    <a:pt x="132" y="1038"/>
                  </a:lnTo>
                  <a:lnTo>
                    <a:pt x="156" y="1050"/>
                  </a:lnTo>
                  <a:lnTo>
                    <a:pt x="168" y="1050"/>
                  </a:lnTo>
                  <a:lnTo>
                    <a:pt x="174" y="1056"/>
                  </a:lnTo>
                  <a:lnTo>
                    <a:pt x="480" y="1056"/>
                  </a:lnTo>
                  <a:lnTo>
                    <a:pt x="480" y="1062"/>
                  </a:lnTo>
                  <a:lnTo>
                    <a:pt x="504" y="1086"/>
                  </a:lnTo>
                  <a:lnTo>
                    <a:pt x="540" y="1086"/>
                  </a:lnTo>
                  <a:lnTo>
                    <a:pt x="546" y="1098"/>
                  </a:lnTo>
                  <a:lnTo>
                    <a:pt x="618" y="1092"/>
                  </a:lnTo>
                  <a:lnTo>
                    <a:pt x="624" y="1104"/>
                  </a:lnTo>
                  <a:lnTo>
                    <a:pt x="696" y="1104"/>
                  </a:lnTo>
                  <a:lnTo>
                    <a:pt x="732" y="1098"/>
                  </a:lnTo>
                  <a:lnTo>
                    <a:pt x="780" y="1092"/>
                  </a:lnTo>
                  <a:lnTo>
                    <a:pt x="816" y="1080"/>
                  </a:lnTo>
                  <a:lnTo>
                    <a:pt x="828" y="1074"/>
                  </a:lnTo>
                  <a:lnTo>
                    <a:pt x="738" y="984"/>
                  </a:lnTo>
                  <a:lnTo>
                    <a:pt x="738" y="966"/>
                  </a:lnTo>
                  <a:lnTo>
                    <a:pt x="732" y="954"/>
                  </a:lnTo>
                  <a:lnTo>
                    <a:pt x="732" y="702"/>
                  </a:lnTo>
                  <a:lnTo>
                    <a:pt x="858" y="708"/>
                  </a:lnTo>
                  <a:lnTo>
                    <a:pt x="864" y="708"/>
                  </a:lnTo>
                  <a:lnTo>
                    <a:pt x="876" y="696"/>
                  </a:lnTo>
                  <a:lnTo>
                    <a:pt x="876" y="672"/>
                  </a:lnTo>
                  <a:lnTo>
                    <a:pt x="870" y="666"/>
                  </a:lnTo>
                  <a:lnTo>
                    <a:pt x="870" y="660"/>
                  </a:lnTo>
                  <a:lnTo>
                    <a:pt x="888" y="654"/>
                  </a:lnTo>
                  <a:lnTo>
                    <a:pt x="876" y="642"/>
                  </a:lnTo>
                  <a:lnTo>
                    <a:pt x="876" y="588"/>
                  </a:lnTo>
                  <a:lnTo>
                    <a:pt x="882" y="588"/>
                  </a:lnTo>
                  <a:lnTo>
                    <a:pt x="888" y="582"/>
                  </a:lnTo>
                  <a:lnTo>
                    <a:pt x="888" y="564"/>
                  </a:lnTo>
                  <a:lnTo>
                    <a:pt x="876" y="552"/>
                  </a:lnTo>
                  <a:lnTo>
                    <a:pt x="876" y="546"/>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400" name="Andorra" descr="© INSCALE GmbH, 05.05.2010&#10;http://www.presentationload.com/">
              <a:extLst>
                <a:ext uri="{FF2B5EF4-FFF2-40B4-BE49-F238E27FC236}">
                  <a16:creationId xmlns:a16="http://schemas.microsoft.com/office/drawing/2014/main" id="{E87E9200-9ED5-410E-B878-FB1D813B184E}"/>
                </a:ext>
              </a:extLst>
            </p:cNvPr>
            <p:cNvSpPr>
              <a:spLocks/>
            </p:cNvSpPr>
            <p:nvPr/>
          </p:nvSpPr>
          <p:spPr bwMode="gray">
            <a:xfrm>
              <a:off x="4190512" y="2888449"/>
              <a:ext cx="12544" cy="6272"/>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401" name="Algerien" descr="© INSCALE GmbH, 05.05.2010&#10;http://www.presentationload.com/">
              <a:extLst>
                <a:ext uri="{FF2B5EF4-FFF2-40B4-BE49-F238E27FC236}">
                  <a16:creationId xmlns:a16="http://schemas.microsoft.com/office/drawing/2014/main" id="{44D7D396-64F7-4A1F-AFDC-32CF5B42EB94}"/>
                </a:ext>
              </a:extLst>
            </p:cNvPr>
            <p:cNvSpPr>
              <a:spLocks/>
            </p:cNvSpPr>
            <p:nvPr/>
          </p:nvSpPr>
          <p:spPr bwMode="gray">
            <a:xfrm>
              <a:off x="3878475" y="3062500"/>
              <a:ext cx="588008" cy="580169"/>
            </a:xfrm>
            <a:custGeom>
              <a:avLst/>
              <a:gdLst>
                <a:gd name="T0" fmla="*/ 2147483647 w 1476"/>
                <a:gd name="T1" fmla="*/ 2147483647 h 1464"/>
                <a:gd name="T2" fmla="*/ 2147483647 w 1476"/>
                <a:gd name="T3" fmla="*/ 2147483647 h 1464"/>
                <a:gd name="T4" fmla="*/ 2147483647 w 1476"/>
                <a:gd name="T5" fmla="*/ 2147483647 h 1464"/>
                <a:gd name="T6" fmla="*/ 2147483647 w 1476"/>
                <a:gd name="T7" fmla="*/ 2147483647 h 1464"/>
                <a:gd name="T8" fmla="*/ 2147483647 w 1476"/>
                <a:gd name="T9" fmla="*/ 2147483647 h 1464"/>
                <a:gd name="T10" fmla="*/ 2147483647 w 1476"/>
                <a:gd name="T11" fmla="*/ 2147483647 h 1464"/>
                <a:gd name="T12" fmla="*/ 2147483647 w 1476"/>
                <a:gd name="T13" fmla="*/ 2147483647 h 1464"/>
                <a:gd name="T14" fmla="*/ 2147483647 w 1476"/>
                <a:gd name="T15" fmla="*/ 2147483647 h 1464"/>
                <a:gd name="T16" fmla="*/ 2147483647 w 1476"/>
                <a:gd name="T17" fmla="*/ 2147483647 h 1464"/>
                <a:gd name="T18" fmla="*/ 2147483647 w 1476"/>
                <a:gd name="T19" fmla="*/ 2147483647 h 1464"/>
                <a:gd name="T20" fmla="*/ 2147483647 w 1476"/>
                <a:gd name="T21" fmla="*/ 2147483647 h 1464"/>
                <a:gd name="T22" fmla="*/ 2147483647 w 1476"/>
                <a:gd name="T23" fmla="*/ 2147483647 h 1464"/>
                <a:gd name="T24" fmla="*/ 2147483647 w 1476"/>
                <a:gd name="T25" fmla="*/ 2147483647 h 1464"/>
                <a:gd name="T26" fmla="*/ 2147483647 w 1476"/>
                <a:gd name="T27" fmla="*/ 2147483647 h 1464"/>
                <a:gd name="T28" fmla="*/ 2147483647 w 1476"/>
                <a:gd name="T29" fmla="*/ 2147483647 h 1464"/>
                <a:gd name="T30" fmla="*/ 2147483647 w 1476"/>
                <a:gd name="T31" fmla="*/ 2147483647 h 1464"/>
                <a:gd name="T32" fmla="*/ 2147483647 w 1476"/>
                <a:gd name="T33" fmla="*/ 2147483647 h 1464"/>
                <a:gd name="T34" fmla="*/ 2147483647 w 1476"/>
                <a:gd name="T35" fmla="*/ 2147483647 h 1464"/>
                <a:gd name="T36" fmla="*/ 2147483647 w 1476"/>
                <a:gd name="T37" fmla="*/ 2147483647 h 1464"/>
                <a:gd name="T38" fmla="*/ 2147483647 w 1476"/>
                <a:gd name="T39" fmla="*/ 2147483647 h 1464"/>
                <a:gd name="T40" fmla="*/ 2147483647 w 1476"/>
                <a:gd name="T41" fmla="*/ 2147483647 h 1464"/>
                <a:gd name="T42" fmla="*/ 2147483647 w 1476"/>
                <a:gd name="T43" fmla="*/ 2147483647 h 1464"/>
                <a:gd name="T44" fmla="*/ 2147483647 w 1476"/>
                <a:gd name="T45" fmla="*/ 2147483647 h 1464"/>
                <a:gd name="T46" fmla="*/ 2147483647 w 1476"/>
                <a:gd name="T47" fmla="*/ 2147483647 h 1464"/>
                <a:gd name="T48" fmla="*/ 2147483647 w 1476"/>
                <a:gd name="T49" fmla="*/ 2147483647 h 1464"/>
                <a:gd name="T50" fmla="*/ 2147483647 w 1476"/>
                <a:gd name="T51" fmla="*/ 2147483647 h 1464"/>
                <a:gd name="T52" fmla="*/ 2147483647 w 1476"/>
                <a:gd name="T53" fmla="*/ 2147483647 h 1464"/>
                <a:gd name="T54" fmla="*/ 2147483647 w 1476"/>
                <a:gd name="T55" fmla="*/ 2147483647 h 1464"/>
                <a:gd name="T56" fmla="*/ 2147483647 w 1476"/>
                <a:gd name="T57" fmla="*/ 2147483647 h 1464"/>
                <a:gd name="T58" fmla="*/ 2147483647 w 1476"/>
                <a:gd name="T59" fmla="*/ 2147483647 h 1464"/>
                <a:gd name="T60" fmla="*/ 2147483647 w 1476"/>
                <a:gd name="T61" fmla="*/ 2147483647 h 1464"/>
                <a:gd name="T62" fmla="*/ 2147483647 w 1476"/>
                <a:gd name="T63" fmla="*/ 2147483647 h 1464"/>
                <a:gd name="T64" fmla="*/ 2147483647 w 1476"/>
                <a:gd name="T65" fmla="*/ 2147483647 h 1464"/>
                <a:gd name="T66" fmla="*/ 2147483647 w 1476"/>
                <a:gd name="T67" fmla="*/ 2147483647 h 1464"/>
                <a:gd name="T68" fmla="*/ 2147483647 w 1476"/>
                <a:gd name="T69" fmla="*/ 2147483647 h 1464"/>
                <a:gd name="T70" fmla="*/ 2147483647 w 1476"/>
                <a:gd name="T71" fmla="*/ 2147483647 h 1464"/>
                <a:gd name="T72" fmla="*/ 2147483647 w 1476"/>
                <a:gd name="T73" fmla="*/ 2147483647 h 1464"/>
                <a:gd name="T74" fmla="*/ 2147483647 w 1476"/>
                <a:gd name="T75" fmla="*/ 2147483647 h 1464"/>
                <a:gd name="T76" fmla="*/ 2147483647 w 1476"/>
                <a:gd name="T77" fmla="*/ 2147483647 h 1464"/>
                <a:gd name="T78" fmla="*/ 2147483647 w 1476"/>
                <a:gd name="T79" fmla="*/ 2147483647 h 1464"/>
                <a:gd name="T80" fmla="*/ 2147483647 w 1476"/>
                <a:gd name="T81" fmla="*/ 2147483647 h 1464"/>
                <a:gd name="T82" fmla="*/ 2147483647 w 1476"/>
                <a:gd name="T83" fmla="*/ 2147483647 h 1464"/>
                <a:gd name="T84" fmla="*/ 2147483647 w 1476"/>
                <a:gd name="T85" fmla="*/ 2147483647 h 1464"/>
                <a:gd name="T86" fmla="*/ 2147483647 w 1476"/>
                <a:gd name="T87" fmla="*/ 2147483647 h 1464"/>
                <a:gd name="T88" fmla="*/ 2147483647 w 1476"/>
                <a:gd name="T89" fmla="*/ 2147483647 h 1464"/>
                <a:gd name="T90" fmla="*/ 2147483647 w 1476"/>
                <a:gd name="T91" fmla="*/ 2147483647 h 1464"/>
                <a:gd name="T92" fmla="*/ 2147483647 w 1476"/>
                <a:gd name="T93" fmla="*/ 2147483647 h 1464"/>
                <a:gd name="T94" fmla="*/ 2147483647 w 1476"/>
                <a:gd name="T95" fmla="*/ 2147483647 h 1464"/>
                <a:gd name="T96" fmla="*/ 2147483647 w 1476"/>
                <a:gd name="T97" fmla="*/ 2147483647 h 1464"/>
                <a:gd name="T98" fmla="*/ 2147483647 w 1476"/>
                <a:gd name="T99" fmla="*/ 2147483647 h 1464"/>
                <a:gd name="T100" fmla="*/ 2147483647 w 1476"/>
                <a:gd name="T101" fmla="*/ 2147483647 h 1464"/>
                <a:gd name="T102" fmla="*/ 2147483647 w 1476"/>
                <a:gd name="T103" fmla="*/ 2147483647 h 1464"/>
                <a:gd name="T104" fmla="*/ 2147483647 w 1476"/>
                <a:gd name="T105" fmla="*/ 2147483647 h 14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76"/>
                <a:gd name="T160" fmla="*/ 0 h 1464"/>
                <a:gd name="T161" fmla="*/ 1476 w 1476"/>
                <a:gd name="T162" fmla="*/ 1464 h 14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76" h="1464">
                  <a:moveTo>
                    <a:pt x="360" y="534"/>
                  </a:moveTo>
                  <a:lnTo>
                    <a:pt x="318" y="534"/>
                  </a:lnTo>
                  <a:lnTo>
                    <a:pt x="312" y="546"/>
                  </a:lnTo>
                  <a:lnTo>
                    <a:pt x="306" y="552"/>
                  </a:lnTo>
                  <a:lnTo>
                    <a:pt x="294" y="576"/>
                  </a:lnTo>
                  <a:lnTo>
                    <a:pt x="282" y="588"/>
                  </a:lnTo>
                  <a:lnTo>
                    <a:pt x="258" y="588"/>
                  </a:lnTo>
                  <a:lnTo>
                    <a:pt x="246" y="582"/>
                  </a:lnTo>
                  <a:lnTo>
                    <a:pt x="234" y="582"/>
                  </a:lnTo>
                  <a:lnTo>
                    <a:pt x="228" y="594"/>
                  </a:lnTo>
                  <a:lnTo>
                    <a:pt x="204" y="600"/>
                  </a:lnTo>
                  <a:lnTo>
                    <a:pt x="204" y="606"/>
                  </a:lnTo>
                  <a:lnTo>
                    <a:pt x="198" y="618"/>
                  </a:lnTo>
                  <a:lnTo>
                    <a:pt x="186" y="618"/>
                  </a:lnTo>
                  <a:lnTo>
                    <a:pt x="180" y="612"/>
                  </a:lnTo>
                  <a:lnTo>
                    <a:pt x="168" y="606"/>
                  </a:lnTo>
                  <a:lnTo>
                    <a:pt x="138" y="624"/>
                  </a:lnTo>
                  <a:lnTo>
                    <a:pt x="120" y="624"/>
                  </a:lnTo>
                  <a:lnTo>
                    <a:pt x="120" y="630"/>
                  </a:lnTo>
                  <a:lnTo>
                    <a:pt x="90" y="660"/>
                  </a:lnTo>
                  <a:lnTo>
                    <a:pt x="78" y="666"/>
                  </a:lnTo>
                  <a:lnTo>
                    <a:pt x="72" y="672"/>
                  </a:lnTo>
                  <a:lnTo>
                    <a:pt x="60" y="678"/>
                  </a:lnTo>
                  <a:lnTo>
                    <a:pt x="54" y="708"/>
                  </a:lnTo>
                  <a:lnTo>
                    <a:pt x="54" y="768"/>
                  </a:lnTo>
                  <a:lnTo>
                    <a:pt x="0" y="768"/>
                  </a:lnTo>
                  <a:lnTo>
                    <a:pt x="54" y="768"/>
                  </a:lnTo>
                  <a:lnTo>
                    <a:pt x="54" y="804"/>
                  </a:lnTo>
                  <a:lnTo>
                    <a:pt x="312" y="984"/>
                  </a:lnTo>
                  <a:lnTo>
                    <a:pt x="720" y="1296"/>
                  </a:lnTo>
                  <a:lnTo>
                    <a:pt x="720" y="1320"/>
                  </a:lnTo>
                  <a:lnTo>
                    <a:pt x="744" y="1320"/>
                  </a:lnTo>
                  <a:lnTo>
                    <a:pt x="750" y="1326"/>
                  </a:lnTo>
                  <a:lnTo>
                    <a:pt x="750" y="1344"/>
                  </a:lnTo>
                  <a:lnTo>
                    <a:pt x="762" y="1356"/>
                  </a:lnTo>
                  <a:lnTo>
                    <a:pt x="798" y="1356"/>
                  </a:lnTo>
                  <a:lnTo>
                    <a:pt x="804" y="1386"/>
                  </a:lnTo>
                  <a:lnTo>
                    <a:pt x="810" y="1386"/>
                  </a:lnTo>
                  <a:lnTo>
                    <a:pt x="816" y="1380"/>
                  </a:lnTo>
                  <a:lnTo>
                    <a:pt x="846" y="1380"/>
                  </a:lnTo>
                  <a:lnTo>
                    <a:pt x="858" y="1386"/>
                  </a:lnTo>
                  <a:lnTo>
                    <a:pt x="870" y="1410"/>
                  </a:lnTo>
                  <a:lnTo>
                    <a:pt x="870" y="1428"/>
                  </a:lnTo>
                  <a:lnTo>
                    <a:pt x="852" y="1446"/>
                  </a:lnTo>
                  <a:lnTo>
                    <a:pt x="852" y="1452"/>
                  </a:lnTo>
                  <a:lnTo>
                    <a:pt x="858" y="1458"/>
                  </a:lnTo>
                  <a:lnTo>
                    <a:pt x="870" y="1464"/>
                  </a:lnTo>
                  <a:lnTo>
                    <a:pt x="900" y="1464"/>
                  </a:lnTo>
                  <a:lnTo>
                    <a:pt x="906" y="1458"/>
                  </a:lnTo>
                  <a:lnTo>
                    <a:pt x="924" y="1458"/>
                  </a:lnTo>
                  <a:lnTo>
                    <a:pt x="954" y="1452"/>
                  </a:lnTo>
                  <a:lnTo>
                    <a:pt x="984" y="1440"/>
                  </a:lnTo>
                  <a:lnTo>
                    <a:pt x="1020" y="1434"/>
                  </a:lnTo>
                  <a:lnTo>
                    <a:pt x="1038" y="1434"/>
                  </a:lnTo>
                  <a:lnTo>
                    <a:pt x="1062" y="1416"/>
                  </a:lnTo>
                  <a:lnTo>
                    <a:pt x="1098" y="1386"/>
                  </a:lnTo>
                  <a:lnTo>
                    <a:pt x="1128" y="1350"/>
                  </a:lnTo>
                  <a:lnTo>
                    <a:pt x="1158" y="1326"/>
                  </a:lnTo>
                  <a:lnTo>
                    <a:pt x="1182" y="1314"/>
                  </a:lnTo>
                  <a:lnTo>
                    <a:pt x="1224" y="1284"/>
                  </a:lnTo>
                  <a:lnTo>
                    <a:pt x="1272" y="1248"/>
                  </a:lnTo>
                  <a:lnTo>
                    <a:pt x="1332" y="1206"/>
                  </a:lnTo>
                  <a:lnTo>
                    <a:pt x="1386" y="1170"/>
                  </a:lnTo>
                  <a:lnTo>
                    <a:pt x="1434" y="1134"/>
                  </a:lnTo>
                  <a:lnTo>
                    <a:pt x="1464" y="1110"/>
                  </a:lnTo>
                  <a:lnTo>
                    <a:pt x="1476" y="1104"/>
                  </a:lnTo>
                  <a:lnTo>
                    <a:pt x="1476" y="1098"/>
                  </a:lnTo>
                  <a:lnTo>
                    <a:pt x="1470" y="1092"/>
                  </a:lnTo>
                  <a:lnTo>
                    <a:pt x="1464" y="1080"/>
                  </a:lnTo>
                  <a:lnTo>
                    <a:pt x="1458" y="1062"/>
                  </a:lnTo>
                  <a:lnTo>
                    <a:pt x="1452" y="1050"/>
                  </a:lnTo>
                  <a:lnTo>
                    <a:pt x="1452" y="1044"/>
                  </a:lnTo>
                  <a:lnTo>
                    <a:pt x="1440" y="1032"/>
                  </a:lnTo>
                  <a:lnTo>
                    <a:pt x="1428" y="1032"/>
                  </a:lnTo>
                  <a:lnTo>
                    <a:pt x="1392" y="1014"/>
                  </a:lnTo>
                  <a:lnTo>
                    <a:pt x="1386" y="1014"/>
                  </a:lnTo>
                  <a:lnTo>
                    <a:pt x="1362" y="1026"/>
                  </a:lnTo>
                  <a:lnTo>
                    <a:pt x="1338" y="1002"/>
                  </a:lnTo>
                  <a:lnTo>
                    <a:pt x="1338" y="960"/>
                  </a:lnTo>
                  <a:lnTo>
                    <a:pt x="1332" y="954"/>
                  </a:lnTo>
                  <a:lnTo>
                    <a:pt x="1326" y="942"/>
                  </a:lnTo>
                  <a:lnTo>
                    <a:pt x="1314" y="930"/>
                  </a:lnTo>
                  <a:lnTo>
                    <a:pt x="1308" y="912"/>
                  </a:lnTo>
                  <a:lnTo>
                    <a:pt x="1296" y="900"/>
                  </a:lnTo>
                  <a:lnTo>
                    <a:pt x="1290" y="888"/>
                  </a:lnTo>
                  <a:lnTo>
                    <a:pt x="1290" y="882"/>
                  </a:lnTo>
                  <a:lnTo>
                    <a:pt x="1296" y="876"/>
                  </a:lnTo>
                  <a:lnTo>
                    <a:pt x="1308" y="876"/>
                  </a:lnTo>
                  <a:lnTo>
                    <a:pt x="1320" y="870"/>
                  </a:lnTo>
                  <a:lnTo>
                    <a:pt x="1326" y="864"/>
                  </a:lnTo>
                  <a:lnTo>
                    <a:pt x="1332" y="852"/>
                  </a:lnTo>
                  <a:lnTo>
                    <a:pt x="1332" y="840"/>
                  </a:lnTo>
                  <a:lnTo>
                    <a:pt x="1326" y="834"/>
                  </a:lnTo>
                  <a:lnTo>
                    <a:pt x="1326" y="828"/>
                  </a:lnTo>
                  <a:lnTo>
                    <a:pt x="1320" y="774"/>
                  </a:lnTo>
                  <a:lnTo>
                    <a:pt x="1332" y="750"/>
                  </a:lnTo>
                  <a:lnTo>
                    <a:pt x="1326" y="732"/>
                  </a:lnTo>
                  <a:lnTo>
                    <a:pt x="1326" y="726"/>
                  </a:lnTo>
                  <a:lnTo>
                    <a:pt x="1332" y="720"/>
                  </a:lnTo>
                  <a:lnTo>
                    <a:pt x="1332" y="690"/>
                  </a:lnTo>
                  <a:lnTo>
                    <a:pt x="1338" y="678"/>
                  </a:lnTo>
                  <a:lnTo>
                    <a:pt x="1338" y="672"/>
                  </a:lnTo>
                  <a:lnTo>
                    <a:pt x="1326" y="648"/>
                  </a:lnTo>
                  <a:lnTo>
                    <a:pt x="1302" y="588"/>
                  </a:lnTo>
                  <a:lnTo>
                    <a:pt x="1290" y="570"/>
                  </a:lnTo>
                  <a:lnTo>
                    <a:pt x="1296" y="564"/>
                  </a:lnTo>
                  <a:lnTo>
                    <a:pt x="1308" y="558"/>
                  </a:lnTo>
                  <a:lnTo>
                    <a:pt x="1296" y="528"/>
                  </a:lnTo>
                  <a:lnTo>
                    <a:pt x="1284" y="480"/>
                  </a:lnTo>
                  <a:lnTo>
                    <a:pt x="1278" y="438"/>
                  </a:lnTo>
                  <a:lnTo>
                    <a:pt x="1272" y="414"/>
                  </a:lnTo>
                  <a:lnTo>
                    <a:pt x="1266" y="408"/>
                  </a:lnTo>
                  <a:lnTo>
                    <a:pt x="1260" y="396"/>
                  </a:lnTo>
                  <a:lnTo>
                    <a:pt x="1236" y="384"/>
                  </a:lnTo>
                  <a:lnTo>
                    <a:pt x="1230" y="378"/>
                  </a:lnTo>
                  <a:lnTo>
                    <a:pt x="1224" y="378"/>
                  </a:lnTo>
                  <a:lnTo>
                    <a:pt x="1224" y="336"/>
                  </a:lnTo>
                  <a:lnTo>
                    <a:pt x="1212" y="324"/>
                  </a:lnTo>
                  <a:lnTo>
                    <a:pt x="1194" y="318"/>
                  </a:lnTo>
                  <a:lnTo>
                    <a:pt x="1182" y="318"/>
                  </a:lnTo>
                  <a:lnTo>
                    <a:pt x="1182" y="288"/>
                  </a:lnTo>
                  <a:lnTo>
                    <a:pt x="1170" y="288"/>
                  </a:lnTo>
                  <a:lnTo>
                    <a:pt x="1170" y="246"/>
                  </a:lnTo>
                  <a:lnTo>
                    <a:pt x="1194" y="222"/>
                  </a:lnTo>
                  <a:lnTo>
                    <a:pt x="1218" y="204"/>
                  </a:lnTo>
                  <a:lnTo>
                    <a:pt x="1218" y="198"/>
                  </a:lnTo>
                  <a:lnTo>
                    <a:pt x="1224" y="192"/>
                  </a:lnTo>
                  <a:lnTo>
                    <a:pt x="1224" y="180"/>
                  </a:lnTo>
                  <a:lnTo>
                    <a:pt x="1230" y="168"/>
                  </a:lnTo>
                  <a:lnTo>
                    <a:pt x="1230" y="126"/>
                  </a:lnTo>
                  <a:lnTo>
                    <a:pt x="1224" y="114"/>
                  </a:lnTo>
                  <a:lnTo>
                    <a:pt x="1224" y="78"/>
                  </a:lnTo>
                  <a:lnTo>
                    <a:pt x="1230" y="66"/>
                  </a:lnTo>
                  <a:lnTo>
                    <a:pt x="1230" y="54"/>
                  </a:lnTo>
                  <a:lnTo>
                    <a:pt x="1212" y="48"/>
                  </a:lnTo>
                  <a:lnTo>
                    <a:pt x="1254" y="30"/>
                  </a:lnTo>
                  <a:lnTo>
                    <a:pt x="1254" y="18"/>
                  </a:lnTo>
                  <a:lnTo>
                    <a:pt x="1242" y="18"/>
                  </a:lnTo>
                  <a:lnTo>
                    <a:pt x="1236" y="12"/>
                  </a:lnTo>
                  <a:lnTo>
                    <a:pt x="1224" y="12"/>
                  </a:lnTo>
                  <a:lnTo>
                    <a:pt x="1206" y="24"/>
                  </a:lnTo>
                  <a:lnTo>
                    <a:pt x="1170" y="6"/>
                  </a:lnTo>
                  <a:lnTo>
                    <a:pt x="1152" y="6"/>
                  </a:lnTo>
                  <a:lnTo>
                    <a:pt x="1152" y="18"/>
                  </a:lnTo>
                  <a:lnTo>
                    <a:pt x="1116" y="18"/>
                  </a:lnTo>
                  <a:lnTo>
                    <a:pt x="1092" y="0"/>
                  </a:lnTo>
                  <a:lnTo>
                    <a:pt x="1086" y="30"/>
                  </a:lnTo>
                  <a:lnTo>
                    <a:pt x="1056" y="18"/>
                  </a:lnTo>
                  <a:lnTo>
                    <a:pt x="1026" y="42"/>
                  </a:lnTo>
                  <a:lnTo>
                    <a:pt x="1002" y="30"/>
                  </a:lnTo>
                  <a:lnTo>
                    <a:pt x="984" y="30"/>
                  </a:lnTo>
                  <a:lnTo>
                    <a:pt x="966" y="24"/>
                  </a:lnTo>
                  <a:lnTo>
                    <a:pt x="948" y="24"/>
                  </a:lnTo>
                  <a:lnTo>
                    <a:pt x="924" y="30"/>
                  </a:lnTo>
                  <a:lnTo>
                    <a:pt x="906" y="30"/>
                  </a:lnTo>
                  <a:lnTo>
                    <a:pt x="900" y="36"/>
                  </a:lnTo>
                  <a:lnTo>
                    <a:pt x="888" y="36"/>
                  </a:lnTo>
                  <a:lnTo>
                    <a:pt x="876" y="42"/>
                  </a:lnTo>
                  <a:lnTo>
                    <a:pt x="816" y="42"/>
                  </a:lnTo>
                  <a:lnTo>
                    <a:pt x="810" y="48"/>
                  </a:lnTo>
                  <a:lnTo>
                    <a:pt x="750" y="48"/>
                  </a:lnTo>
                  <a:lnTo>
                    <a:pt x="744" y="54"/>
                  </a:lnTo>
                  <a:lnTo>
                    <a:pt x="726" y="54"/>
                  </a:lnTo>
                  <a:lnTo>
                    <a:pt x="714" y="60"/>
                  </a:lnTo>
                  <a:lnTo>
                    <a:pt x="696" y="66"/>
                  </a:lnTo>
                  <a:lnTo>
                    <a:pt x="684" y="78"/>
                  </a:lnTo>
                  <a:lnTo>
                    <a:pt x="678" y="90"/>
                  </a:lnTo>
                  <a:lnTo>
                    <a:pt x="666" y="102"/>
                  </a:lnTo>
                  <a:lnTo>
                    <a:pt x="666" y="108"/>
                  </a:lnTo>
                  <a:lnTo>
                    <a:pt x="636" y="108"/>
                  </a:lnTo>
                  <a:lnTo>
                    <a:pt x="624" y="114"/>
                  </a:lnTo>
                  <a:lnTo>
                    <a:pt x="606" y="114"/>
                  </a:lnTo>
                  <a:lnTo>
                    <a:pt x="594" y="120"/>
                  </a:lnTo>
                  <a:lnTo>
                    <a:pt x="588" y="126"/>
                  </a:lnTo>
                  <a:lnTo>
                    <a:pt x="588" y="132"/>
                  </a:lnTo>
                  <a:lnTo>
                    <a:pt x="558" y="162"/>
                  </a:lnTo>
                  <a:lnTo>
                    <a:pt x="546" y="168"/>
                  </a:lnTo>
                  <a:lnTo>
                    <a:pt x="522" y="168"/>
                  </a:lnTo>
                  <a:lnTo>
                    <a:pt x="528" y="174"/>
                  </a:lnTo>
                  <a:lnTo>
                    <a:pt x="534" y="186"/>
                  </a:lnTo>
                  <a:lnTo>
                    <a:pt x="546" y="192"/>
                  </a:lnTo>
                  <a:lnTo>
                    <a:pt x="540" y="198"/>
                  </a:lnTo>
                  <a:lnTo>
                    <a:pt x="540" y="210"/>
                  </a:lnTo>
                  <a:lnTo>
                    <a:pt x="552" y="210"/>
                  </a:lnTo>
                  <a:lnTo>
                    <a:pt x="546" y="276"/>
                  </a:lnTo>
                  <a:lnTo>
                    <a:pt x="558" y="294"/>
                  </a:lnTo>
                  <a:lnTo>
                    <a:pt x="546" y="324"/>
                  </a:lnTo>
                  <a:lnTo>
                    <a:pt x="564" y="324"/>
                  </a:lnTo>
                  <a:lnTo>
                    <a:pt x="564" y="354"/>
                  </a:lnTo>
                  <a:lnTo>
                    <a:pt x="588" y="372"/>
                  </a:lnTo>
                  <a:lnTo>
                    <a:pt x="570" y="390"/>
                  </a:lnTo>
                  <a:lnTo>
                    <a:pt x="570" y="402"/>
                  </a:lnTo>
                  <a:lnTo>
                    <a:pt x="516" y="408"/>
                  </a:lnTo>
                  <a:lnTo>
                    <a:pt x="504" y="402"/>
                  </a:lnTo>
                  <a:lnTo>
                    <a:pt x="486" y="402"/>
                  </a:lnTo>
                  <a:lnTo>
                    <a:pt x="486" y="408"/>
                  </a:lnTo>
                  <a:lnTo>
                    <a:pt x="480" y="414"/>
                  </a:lnTo>
                  <a:lnTo>
                    <a:pt x="474" y="408"/>
                  </a:lnTo>
                  <a:lnTo>
                    <a:pt x="462" y="408"/>
                  </a:lnTo>
                  <a:lnTo>
                    <a:pt x="462" y="414"/>
                  </a:lnTo>
                  <a:lnTo>
                    <a:pt x="456" y="420"/>
                  </a:lnTo>
                  <a:lnTo>
                    <a:pt x="456" y="432"/>
                  </a:lnTo>
                  <a:lnTo>
                    <a:pt x="432" y="432"/>
                  </a:lnTo>
                  <a:lnTo>
                    <a:pt x="420" y="438"/>
                  </a:lnTo>
                  <a:lnTo>
                    <a:pt x="396" y="438"/>
                  </a:lnTo>
                  <a:lnTo>
                    <a:pt x="390" y="444"/>
                  </a:lnTo>
                  <a:lnTo>
                    <a:pt x="390" y="456"/>
                  </a:lnTo>
                  <a:lnTo>
                    <a:pt x="396" y="462"/>
                  </a:lnTo>
                  <a:lnTo>
                    <a:pt x="402" y="474"/>
                  </a:lnTo>
                  <a:lnTo>
                    <a:pt x="414" y="492"/>
                  </a:lnTo>
                  <a:lnTo>
                    <a:pt x="390" y="504"/>
                  </a:lnTo>
                  <a:lnTo>
                    <a:pt x="390" y="510"/>
                  </a:lnTo>
                  <a:lnTo>
                    <a:pt x="378" y="522"/>
                  </a:lnTo>
                  <a:lnTo>
                    <a:pt x="366" y="528"/>
                  </a:lnTo>
                  <a:lnTo>
                    <a:pt x="360" y="534"/>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402" name="Albanien" descr="© INSCALE GmbH, 05.05.2010&#10;http://www.presentationload.com/">
              <a:extLst>
                <a:ext uri="{FF2B5EF4-FFF2-40B4-BE49-F238E27FC236}">
                  <a16:creationId xmlns:a16="http://schemas.microsoft.com/office/drawing/2014/main" id="{F8A0C542-1B2D-43EA-800F-0633268C92F4}"/>
                </a:ext>
              </a:extLst>
            </p:cNvPr>
            <p:cNvSpPr>
              <a:spLocks/>
            </p:cNvSpPr>
            <p:nvPr/>
          </p:nvSpPr>
          <p:spPr bwMode="gray">
            <a:xfrm>
              <a:off x="4642102" y="2888449"/>
              <a:ext cx="58016" cy="97217"/>
            </a:xfrm>
            <a:custGeom>
              <a:avLst/>
              <a:gdLst>
                <a:gd name="T0" fmla="*/ 2147483647 w 144"/>
                <a:gd name="T1" fmla="*/ 2147483647 h 246"/>
                <a:gd name="T2" fmla="*/ 2147483647 w 144"/>
                <a:gd name="T3" fmla="*/ 2147483647 h 246"/>
                <a:gd name="T4" fmla="*/ 2147483647 w 144"/>
                <a:gd name="T5" fmla="*/ 2147483647 h 246"/>
                <a:gd name="T6" fmla="*/ 2147483647 w 144"/>
                <a:gd name="T7" fmla="*/ 2147483647 h 246"/>
                <a:gd name="T8" fmla="*/ 2147483647 w 144"/>
                <a:gd name="T9" fmla="*/ 2147483647 h 246"/>
                <a:gd name="T10" fmla="*/ 2147483647 w 144"/>
                <a:gd name="T11" fmla="*/ 2147483647 h 246"/>
                <a:gd name="T12" fmla="*/ 2147483647 w 144"/>
                <a:gd name="T13" fmla="*/ 2147483647 h 246"/>
                <a:gd name="T14" fmla="*/ 2147483647 w 144"/>
                <a:gd name="T15" fmla="*/ 2147483647 h 246"/>
                <a:gd name="T16" fmla="*/ 2147483647 w 144"/>
                <a:gd name="T17" fmla="*/ 2147483647 h 246"/>
                <a:gd name="T18" fmla="*/ 2147483647 w 144"/>
                <a:gd name="T19" fmla="*/ 2147483647 h 246"/>
                <a:gd name="T20" fmla="*/ 2147483647 w 144"/>
                <a:gd name="T21" fmla="*/ 2147483647 h 246"/>
                <a:gd name="T22" fmla="*/ 2147483647 w 144"/>
                <a:gd name="T23" fmla="*/ 2147483647 h 246"/>
                <a:gd name="T24" fmla="*/ 2147483647 w 144"/>
                <a:gd name="T25" fmla="*/ 2147483647 h 246"/>
                <a:gd name="T26" fmla="*/ 2147483647 w 144"/>
                <a:gd name="T27" fmla="*/ 2147483647 h 246"/>
                <a:gd name="T28" fmla="*/ 2147483647 w 144"/>
                <a:gd name="T29" fmla="*/ 2147483647 h 246"/>
                <a:gd name="T30" fmla="*/ 2147483647 w 144"/>
                <a:gd name="T31" fmla="*/ 2147483647 h 246"/>
                <a:gd name="T32" fmla="*/ 2147483647 w 144"/>
                <a:gd name="T33" fmla="*/ 2147483647 h 246"/>
                <a:gd name="T34" fmla="*/ 2147483647 w 144"/>
                <a:gd name="T35" fmla="*/ 2147483647 h 246"/>
                <a:gd name="T36" fmla="*/ 2147483647 w 144"/>
                <a:gd name="T37" fmla="*/ 2147483647 h 246"/>
                <a:gd name="T38" fmla="*/ 2147483647 w 144"/>
                <a:gd name="T39" fmla="*/ 0 h 246"/>
                <a:gd name="T40" fmla="*/ 2147483647 w 144"/>
                <a:gd name="T41" fmla="*/ 2147483647 h 246"/>
                <a:gd name="T42" fmla="*/ 2147483647 w 144"/>
                <a:gd name="T43" fmla="*/ 2147483647 h 246"/>
                <a:gd name="T44" fmla="*/ 0 w 144"/>
                <a:gd name="T45" fmla="*/ 2147483647 h 246"/>
                <a:gd name="T46" fmla="*/ 2147483647 w 144"/>
                <a:gd name="T47" fmla="*/ 2147483647 h 246"/>
                <a:gd name="T48" fmla="*/ 2147483647 w 144"/>
                <a:gd name="T49" fmla="*/ 2147483647 h 246"/>
                <a:gd name="T50" fmla="*/ 2147483647 w 144"/>
                <a:gd name="T51" fmla="*/ 2147483647 h 246"/>
                <a:gd name="T52" fmla="*/ 2147483647 w 144"/>
                <a:gd name="T53" fmla="*/ 2147483647 h 246"/>
                <a:gd name="T54" fmla="*/ 2147483647 w 144"/>
                <a:gd name="T55" fmla="*/ 2147483647 h 246"/>
                <a:gd name="T56" fmla="*/ 2147483647 w 144"/>
                <a:gd name="T57" fmla="*/ 2147483647 h 246"/>
                <a:gd name="T58" fmla="*/ 2147483647 w 144"/>
                <a:gd name="T59" fmla="*/ 2147483647 h 246"/>
                <a:gd name="T60" fmla="*/ 2147483647 w 144"/>
                <a:gd name="T61" fmla="*/ 2147483647 h 246"/>
                <a:gd name="T62" fmla="*/ 2147483647 w 144"/>
                <a:gd name="T63" fmla="*/ 2147483647 h 246"/>
                <a:gd name="T64" fmla="*/ 2147483647 w 144"/>
                <a:gd name="T65" fmla="*/ 2147483647 h 246"/>
                <a:gd name="T66" fmla="*/ 2147483647 w 144"/>
                <a:gd name="T67" fmla="*/ 2147483647 h 246"/>
                <a:gd name="T68" fmla="*/ 2147483647 w 144"/>
                <a:gd name="T69" fmla="*/ 2147483647 h 246"/>
                <a:gd name="T70" fmla="*/ 2147483647 w 144"/>
                <a:gd name="T71" fmla="*/ 2147483647 h 246"/>
                <a:gd name="T72" fmla="*/ 2147483647 w 144"/>
                <a:gd name="T73" fmla="*/ 2147483647 h 246"/>
                <a:gd name="T74" fmla="*/ 2147483647 w 144"/>
                <a:gd name="T75" fmla="*/ 2147483647 h 246"/>
                <a:gd name="T76" fmla="*/ 2147483647 w 144"/>
                <a:gd name="T77" fmla="*/ 2147483647 h 246"/>
                <a:gd name="T78" fmla="*/ 2147483647 w 144"/>
                <a:gd name="T79" fmla="*/ 2147483647 h 246"/>
                <a:gd name="T80" fmla="*/ 2147483647 w 144"/>
                <a:gd name="T81" fmla="*/ 2147483647 h 246"/>
                <a:gd name="T82" fmla="*/ 2147483647 w 144"/>
                <a:gd name="T83" fmla="*/ 2147483647 h 246"/>
                <a:gd name="T84" fmla="*/ 2147483647 w 144"/>
                <a:gd name="T85" fmla="*/ 2147483647 h 246"/>
                <a:gd name="T86" fmla="*/ 2147483647 w 144"/>
                <a:gd name="T87" fmla="*/ 2147483647 h 246"/>
                <a:gd name="T88" fmla="*/ 2147483647 w 144"/>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4"/>
                <a:gd name="T136" fmla="*/ 0 h 246"/>
                <a:gd name="T137" fmla="*/ 144 w 144"/>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4" h="246">
                  <a:moveTo>
                    <a:pt x="96" y="210"/>
                  </a:moveTo>
                  <a:lnTo>
                    <a:pt x="96" y="204"/>
                  </a:lnTo>
                  <a:lnTo>
                    <a:pt x="108" y="204"/>
                  </a:lnTo>
                  <a:lnTo>
                    <a:pt x="120" y="198"/>
                  </a:lnTo>
                  <a:lnTo>
                    <a:pt x="120" y="174"/>
                  </a:lnTo>
                  <a:lnTo>
                    <a:pt x="138" y="174"/>
                  </a:lnTo>
                  <a:lnTo>
                    <a:pt x="144" y="168"/>
                  </a:lnTo>
                  <a:lnTo>
                    <a:pt x="144" y="138"/>
                  </a:lnTo>
                  <a:lnTo>
                    <a:pt x="120" y="144"/>
                  </a:lnTo>
                  <a:lnTo>
                    <a:pt x="120" y="126"/>
                  </a:lnTo>
                  <a:lnTo>
                    <a:pt x="114" y="126"/>
                  </a:lnTo>
                  <a:lnTo>
                    <a:pt x="108" y="120"/>
                  </a:lnTo>
                  <a:lnTo>
                    <a:pt x="108" y="96"/>
                  </a:lnTo>
                  <a:lnTo>
                    <a:pt x="102" y="84"/>
                  </a:lnTo>
                  <a:lnTo>
                    <a:pt x="102" y="42"/>
                  </a:lnTo>
                  <a:lnTo>
                    <a:pt x="96" y="24"/>
                  </a:lnTo>
                  <a:lnTo>
                    <a:pt x="84" y="24"/>
                  </a:lnTo>
                  <a:lnTo>
                    <a:pt x="72" y="6"/>
                  </a:lnTo>
                  <a:lnTo>
                    <a:pt x="66" y="12"/>
                  </a:lnTo>
                  <a:lnTo>
                    <a:pt x="36" y="0"/>
                  </a:lnTo>
                  <a:lnTo>
                    <a:pt x="36" y="18"/>
                  </a:lnTo>
                  <a:lnTo>
                    <a:pt x="24" y="24"/>
                  </a:lnTo>
                  <a:lnTo>
                    <a:pt x="0" y="24"/>
                  </a:lnTo>
                  <a:lnTo>
                    <a:pt x="18" y="36"/>
                  </a:lnTo>
                  <a:lnTo>
                    <a:pt x="24" y="30"/>
                  </a:lnTo>
                  <a:lnTo>
                    <a:pt x="30" y="48"/>
                  </a:lnTo>
                  <a:lnTo>
                    <a:pt x="18" y="60"/>
                  </a:lnTo>
                  <a:lnTo>
                    <a:pt x="24" y="66"/>
                  </a:lnTo>
                  <a:lnTo>
                    <a:pt x="48" y="66"/>
                  </a:lnTo>
                  <a:lnTo>
                    <a:pt x="48" y="84"/>
                  </a:lnTo>
                  <a:lnTo>
                    <a:pt x="42" y="96"/>
                  </a:lnTo>
                  <a:lnTo>
                    <a:pt x="42" y="114"/>
                  </a:lnTo>
                  <a:lnTo>
                    <a:pt x="36" y="132"/>
                  </a:lnTo>
                  <a:lnTo>
                    <a:pt x="36" y="156"/>
                  </a:lnTo>
                  <a:lnTo>
                    <a:pt x="24" y="180"/>
                  </a:lnTo>
                  <a:lnTo>
                    <a:pt x="24" y="186"/>
                  </a:lnTo>
                  <a:lnTo>
                    <a:pt x="42" y="204"/>
                  </a:lnTo>
                  <a:lnTo>
                    <a:pt x="54" y="210"/>
                  </a:lnTo>
                  <a:lnTo>
                    <a:pt x="60" y="216"/>
                  </a:lnTo>
                  <a:lnTo>
                    <a:pt x="60" y="234"/>
                  </a:lnTo>
                  <a:lnTo>
                    <a:pt x="66" y="240"/>
                  </a:lnTo>
                  <a:lnTo>
                    <a:pt x="84" y="240"/>
                  </a:lnTo>
                  <a:lnTo>
                    <a:pt x="90" y="246"/>
                  </a:lnTo>
                  <a:lnTo>
                    <a:pt x="96" y="246"/>
                  </a:lnTo>
                  <a:lnTo>
                    <a:pt x="96" y="210"/>
                  </a:lnTo>
                  <a:close/>
                </a:path>
              </a:pathLst>
            </a:custGeom>
            <a:solidFill>
              <a:schemeClr val="accent1"/>
            </a:solid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sp>
          <p:nvSpPr>
            <p:cNvPr id="403" name="Afghanistan" descr="© INSCALE GmbH, 05.05.2010&#10;http://www.presentationload.com/">
              <a:extLst>
                <a:ext uri="{FF2B5EF4-FFF2-40B4-BE49-F238E27FC236}">
                  <a16:creationId xmlns:a16="http://schemas.microsoft.com/office/drawing/2014/main" id="{95EEC5BA-99E5-423D-B823-BB3787DB1861}"/>
                </a:ext>
              </a:extLst>
            </p:cNvPr>
            <p:cNvSpPr>
              <a:spLocks/>
            </p:cNvSpPr>
            <p:nvPr/>
          </p:nvSpPr>
          <p:spPr bwMode="gray">
            <a:xfrm>
              <a:off x="5761670" y="3018595"/>
              <a:ext cx="360645" cy="293221"/>
            </a:xfrm>
            <a:custGeom>
              <a:avLst/>
              <a:gdLst>
                <a:gd name="T0" fmla="*/ 2147483647 w 906"/>
                <a:gd name="T1" fmla="*/ 2147483647 h 738"/>
                <a:gd name="T2" fmla="*/ 2147483647 w 906"/>
                <a:gd name="T3" fmla="*/ 2147483647 h 738"/>
                <a:gd name="T4" fmla="*/ 2147483647 w 906"/>
                <a:gd name="T5" fmla="*/ 2147483647 h 738"/>
                <a:gd name="T6" fmla="*/ 2147483647 w 906"/>
                <a:gd name="T7" fmla="*/ 2147483647 h 738"/>
                <a:gd name="T8" fmla="*/ 2147483647 w 906"/>
                <a:gd name="T9" fmla="*/ 2147483647 h 738"/>
                <a:gd name="T10" fmla="*/ 2147483647 w 906"/>
                <a:gd name="T11" fmla="*/ 0 h 738"/>
                <a:gd name="T12" fmla="*/ 2147483647 w 906"/>
                <a:gd name="T13" fmla="*/ 2147483647 h 738"/>
                <a:gd name="T14" fmla="*/ 2147483647 w 906"/>
                <a:gd name="T15" fmla="*/ 2147483647 h 738"/>
                <a:gd name="T16" fmla="*/ 2147483647 w 906"/>
                <a:gd name="T17" fmla="*/ 2147483647 h 738"/>
                <a:gd name="T18" fmla="*/ 2147483647 w 906"/>
                <a:gd name="T19" fmla="*/ 2147483647 h 738"/>
                <a:gd name="T20" fmla="*/ 2147483647 w 906"/>
                <a:gd name="T21" fmla="*/ 2147483647 h 738"/>
                <a:gd name="T22" fmla="*/ 2147483647 w 906"/>
                <a:gd name="T23" fmla="*/ 2147483647 h 738"/>
                <a:gd name="T24" fmla="*/ 2147483647 w 906"/>
                <a:gd name="T25" fmla="*/ 2147483647 h 738"/>
                <a:gd name="T26" fmla="*/ 2147483647 w 906"/>
                <a:gd name="T27" fmla="*/ 2147483647 h 738"/>
                <a:gd name="T28" fmla="*/ 2147483647 w 906"/>
                <a:gd name="T29" fmla="*/ 2147483647 h 738"/>
                <a:gd name="T30" fmla="*/ 2147483647 w 906"/>
                <a:gd name="T31" fmla="*/ 2147483647 h 738"/>
                <a:gd name="T32" fmla="*/ 2147483647 w 906"/>
                <a:gd name="T33" fmla="*/ 2147483647 h 738"/>
                <a:gd name="T34" fmla="*/ 2147483647 w 906"/>
                <a:gd name="T35" fmla="*/ 2147483647 h 738"/>
                <a:gd name="T36" fmla="*/ 2147483647 w 906"/>
                <a:gd name="T37" fmla="*/ 2147483647 h 738"/>
                <a:gd name="T38" fmla="*/ 2147483647 w 906"/>
                <a:gd name="T39" fmla="*/ 2147483647 h 738"/>
                <a:gd name="T40" fmla="*/ 2147483647 w 906"/>
                <a:gd name="T41" fmla="*/ 2147483647 h 738"/>
                <a:gd name="T42" fmla="*/ 2147483647 w 906"/>
                <a:gd name="T43" fmla="*/ 2147483647 h 738"/>
                <a:gd name="T44" fmla="*/ 2147483647 w 906"/>
                <a:gd name="T45" fmla="*/ 2147483647 h 738"/>
                <a:gd name="T46" fmla="*/ 0 w 906"/>
                <a:gd name="T47" fmla="*/ 2147483647 h 738"/>
                <a:gd name="T48" fmla="*/ 2147483647 w 906"/>
                <a:gd name="T49" fmla="*/ 2147483647 h 738"/>
                <a:gd name="T50" fmla="*/ 2147483647 w 906"/>
                <a:gd name="T51" fmla="*/ 2147483647 h 738"/>
                <a:gd name="T52" fmla="*/ 2147483647 w 906"/>
                <a:gd name="T53" fmla="*/ 2147483647 h 738"/>
                <a:gd name="T54" fmla="*/ 2147483647 w 906"/>
                <a:gd name="T55" fmla="*/ 2147483647 h 738"/>
                <a:gd name="T56" fmla="*/ 2147483647 w 906"/>
                <a:gd name="T57" fmla="*/ 2147483647 h 738"/>
                <a:gd name="T58" fmla="*/ 2147483647 w 906"/>
                <a:gd name="T59" fmla="*/ 2147483647 h 738"/>
                <a:gd name="T60" fmla="*/ 2147483647 w 906"/>
                <a:gd name="T61" fmla="*/ 2147483647 h 738"/>
                <a:gd name="T62" fmla="*/ 2147483647 w 906"/>
                <a:gd name="T63" fmla="*/ 2147483647 h 738"/>
                <a:gd name="T64" fmla="*/ 2147483647 w 906"/>
                <a:gd name="T65" fmla="*/ 2147483647 h 738"/>
                <a:gd name="T66" fmla="*/ 2147483647 w 906"/>
                <a:gd name="T67" fmla="*/ 2147483647 h 738"/>
                <a:gd name="T68" fmla="*/ 2147483647 w 906"/>
                <a:gd name="T69" fmla="*/ 2147483647 h 738"/>
                <a:gd name="T70" fmla="*/ 2147483647 w 906"/>
                <a:gd name="T71" fmla="*/ 2147483647 h 738"/>
                <a:gd name="T72" fmla="*/ 2147483647 w 906"/>
                <a:gd name="T73" fmla="*/ 2147483647 h 738"/>
                <a:gd name="T74" fmla="*/ 2147483647 w 906"/>
                <a:gd name="T75" fmla="*/ 2147483647 h 738"/>
                <a:gd name="T76" fmla="*/ 2147483647 w 906"/>
                <a:gd name="T77" fmla="*/ 2147483647 h 738"/>
                <a:gd name="T78" fmla="*/ 2147483647 w 906"/>
                <a:gd name="T79" fmla="*/ 2147483647 h 738"/>
                <a:gd name="T80" fmla="*/ 2147483647 w 906"/>
                <a:gd name="T81" fmla="*/ 2147483647 h 738"/>
                <a:gd name="T82" fmla="*/ 2147483647 w 906"/>
                <a:gd name="T83" fmla="*/ 2147483647 h 738"/>
                <a:gd name="T84" fmla="*/ 2147483647 w 906"/>
                <a:gd name="T85" fmla="*/ 2147483647 h 738"/>
                <a:gd name="T86" fmla="*/ 2147483647 w 906"/>
                <a:gd name="T87" fmla="*/ 2147483647 h 738"/>
                <a:gd name="T88" fmla="*/ 2147483647 w 906"/>
                <a:gd name="T89" fmla="*/ 2147483647 h 738"/>
                <a:gd name="T90" fmla="*/ 2147483647 w 906"/>
                <a:gd name="T91" fmla="*/ 2147483647 h 738"/>
                <a:gd name="T92" fmla="*/ 2147483647 w 906"/>
                <a:gd name="T93" fmla="*/ 2147483647 h 738"/>
                <a:gd name="T94" fmla="*/ 2147483647 w 906"/>
                <a:gd name="T95" fmla="*/ 2147483647 h 738"/>
                <a:gd name="T96" fmla="*/ 2147483647 w 906"/>
                <a:gd name="T97" fmla="*/ 2147483647 h 738"/>
                <a:gd name="T98" fmla="*/ 2147483647 w 906"/>
                <a:gd name="T99" fmla="*/ 2147483647 h 738"/>
                <a:gd name="T100" fmla="*/ 2147483647 w 906"/>
                <a:gd name="T101" fmla="*/ 2147483647 h 738"/>
                <a:gd name="T102" fmla="*/ 2147483647 w 906"/>
                <a:gd name="T103" fmla="*/ 2147483647 h 738"/>
                <a:gd name="T104" fmla="*/ 2147483647 w 906"/>
                <a:gd name="T105" fmla="*/ 2147483647 h 738"/>
                <a:gd name="T106" fmla="*/ 2147483647 w 906"/>
                <a:gd name="T107" fmla="*/ 2147483647 h 738"/>
                <a:gd name="T108" fmla="*/ 2147483647 w 906"/>
                <a:gd name="T109" fmla="*/ 2147483647 h 7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6"/>
                <a:gd name="T166" fmla="*/ 0 h 738"/>
                <a:gd name="T167" fmla="*/ 906 w 906"/>
                <a:gd name="T168" fmla="*/ 738 h 7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6" h="738">
                  <a:moveTo>
                    <a:pt x="894" y="108"/>
                  </a:moveTo>
                  <a:lnTo>
                    <a:pt x="894" y="96"/>
                  </a:lnTo>
                  <a:lnTo>
                    <a:pt x="906" y="96"/>
                  </a:lnTo>
                  <a:lnTo>
                    <a:pt x="900" y="90"/>
                  </a:lnTo>
                  <a:lnTo>
                    <a:pt x="876" y="90"/>
                  </a:lnTo>
                  <a:lnTo>
                    <a:pt x="840" y="102"/>
                  </a:lnTo>
                  <a:lnTo>
                    <a:pt x="840" y="84"/>
                  </a:lnTo>
                  <a:lnTo>
                    <a:pt x="816" y="84"/>
                  </a:lnTo>
                  <a:lnTo>
                    <a:pt x="792" y="96"/>
                  </a:lnTo>
                  <a:lnTo>
                    <a:pt x="786" y="102"/>
                  </a:lnTo>
                  <a:lnTo>
                    <a:pt x="780" y="114"/>
                  </a:lnTo>
                  <a:lnTo>
                    <a:pt x="774" y="120"/>
                  </a:lnTo>
                  <a:lnTo>
                    <a:pt x="756" y="120"/>
                  </a:lnTo>
                  <a:lnTo>
                    <a:pt x="750" y="126"/>
                  </a:lnTo>
                  <a:lnTo>
                    <a:pt x="744" y="138"/>
                  </a:lnTo>
                  <a:lnTo>
                    <a:pt x="732" y="144"/>
                  </a:lnTo>
                  <a:lnTo>
                    <a:pt x="726" y="150"/>
                  </a:lnTo>
                  <a:lnTo>
                    <a:pt x="720" y="150"/>
                  </a:lnTo>
                  <a:lnTo>
                    <a:pt x="690" y="120"/>
                  </a:lnTo>
                  <a:lnTo>
                    <a:pt x="690" y="114"/>
                  </a:lnTo>
                  <a:lnTo>
                    <a:pt x="678" y="48"/>
                  </a:lnTo>
                  <a:lnTo>
                    <a:pt x="660" y="48"/>
                  </a:lnTo>
                  <a:lnTo>
                    <a:pt x="660" y="18"/>
                  </a:lnTo>
                  <a:lnTo>
                    <a:pt x="642" y="0"/>
                  </a:lnTo>
                  <a:lnTo>
                    <a:pt x="624" y="0"/>
                  </a:lnTo>
                  <a:lnTo>
                    <a:pt x="618" y="6"/>
                  </a:lnTo>
                  <a:lnTo>
                    <a:pt x="618" y="30"/>
                  </a:lnTo>
                  <a:lnTo>
                    <a:pt x="612" y="36"/>
                  </a:lnTo>
                  <a:lnTo>
                    <a:pt x="606" y="36"/>
                  </a:lnTo>
                  <a:lnTo>
                    <a:pt x="594" y="48"/>
                  </a:lnTo>
                  <a:lnTo>
                    <a:pt x="594" y="54"/>
                  </a:lnTo>
                  <a:lnTo>
                    <a:pt x="600" y="60"/>
                  </a:lnTo>
                  <a:lnTo>
                    <a:pt x="606" y="60"/>
                  </a:lnTo>
                  <a:lnTo>
                    <a:pt x="600" y="84"/>
                  </a:lnTo>
                  <a:lnTo>
                    <a:pt x="588" y="72"/>
                  </a:lnTo>
                  <a:lnTo>
                    <a:pt x="570" y="72"/>
                  </a:lnTo>
                  <a:lnTo>
                    <a:pt x="558" y="78"/>
                  </a:lnTo>
                  <a:lnTo>
                    <a:pt x="546" y="90"/>
                  </a:lnTo>
                  <a:lnTo>
                    <a:pt x="546" y="120"/>
                  </a:lnTo>
                  <a:lnTo>
                    <a:pt x="540" y="120"/>
                  </a:lnTo>
                  <a:lnTo>
                    <a:pt x="534" y="114"/>
                  </a:lnTo>
                  <a:lnTo>
                    <a:pt x="528" y="102"/>
                  </a:lnTo>
                  <a:lnTo>
                    <a:pt x="522" y="96"/>
                  </a:lnTo>
                  <a:lnTo>
                    <a:pt x="510" y="96"/>
                  </a:lnTo>
                  <a:lnTo>
                    <a:pt x="504" y="102"/>
                  </a:lnTo>
                  <a:lnTo>
                    <a:pt x="492" y="108"/>
                  </a:lnTo>
                  <a:lnTo>
                    <a:pt x="474" y="126"/>
                  </a:lnTo>
                  <a:lnTo>
                    <a:pt x="468" y="126"/>
                  </a:lnTo>
                  <a:lnTo>
                    <a:pt x="456" y="114"/>
                  </a:lnTo>
                  <a:lnTo>
                    <a:pt x="444" y="108"/>
                  </a:lnTo>
                  <a:lnTo>
                    <a:pt x="438" y="102"/>
                  </a:lnTo>
                  <a:lnTo>
                    <a:pt x="426" y="102"/>
                  </a:lnTo>
                  <a:lnTo>
                    <a:pt x="414" y="108"/>
                  </a:lnTo>
                  <a:lnTo>
                    <a:pt x="396" y="84"/>
                  </a:lnTo>
                  <a:lnTo>
                    <a:pt x="384" y="96"/>
                  </a:lnTo>
                  <a:lnTo>
                    <a:pt x="342" y="96"/>
                  </a:lnTo>
                  <a:lnTo>
                    <a:pt x="330" y="90"/>
                  </a:lnTo>
                  <a:lnTo>
                    <a:pt x="324" y="84"/>
                  </a:lnTo>
                  <a:lnTo>
                    <a:pt x="312" y="78"/>
                  </a:lnTo>
                  <a:lnTo>
                    <a:pt x="300" y="78"/>
                  </a:lnTo>
                  <a:lnTo>
                    <a:pt x="300" y="102"/>
                  </a:lnTo>
                  <a:lnTo>
                    <a:pt x="264" y="102"/>
                  </a:lnTo>
                  <a:lnTo>
                    <a:pt x="252" y="108"/>
                  </a:lnTo>
                  <a:lnTo>
                    <a:pt x="246" y="120"/>
                  </a:lnTo>
                  <a:lnTo>
                    <a:pt x="246" y="180"/>
                  </a:lnTo>
                  <a:lnTo>
                    <a:pt x="234" y="180"/>
                  </a:lnTo>
                  <a:lnTo>
                    <a:pt x="222" y="186"/>
                  </a:lnTo>
                  <a:lnTo>
                    <a:pt x="216" y="198"/>
                  </a:lnTo>
                  <a:lnTo>
                    <a:pt x="180" y="216"/>
                  </a:lnTo>
                  <a:lnTo>
                    <a:pt x="168" y="216"/>
                  </a:lnTo>
                  <a:lnTo>
                    <a:pt x="168" y="228"/>
                  </a:lnTo>
                  <a:lnTo>
                    <a:pt x="156" y="252"/>
                  </a:lnTo>
                  <a:lnTo>
                    <a:pt x="150" y="258"/>
                  </a:lnTo>
                  <a:lnTo>
                    <a:pt x="138" y="264"/>
                  </a:lnTo>
                  <a:lnTo>
                    <a:pt x="114" y="264"/>
                  </a:lnTo>
                  <a:lnTo>
                    <a:pt x="90" y="240"/>
                  </a:lnTo>
                  <a:lnTo>
                    <a:pt x="84" y="240"/>
                  </a:lnTo>
                  <a:lnTo>
                    <a:pt x="78" y="246"/>
                  </a:lnTo>
                  <a:lnTo>
                    <a:pt x="66" y="246"/>
                  </a:lnTo>
                  <a:lnTo>
                    <a:pt x="60" y="240"/>
                  </a:lnTo>
                  <a:lnTo>
                    <a:pt x="48" y="240"/>
                  </a:lnTo>
                  <a:lnTo>
                    <a:pt x="42" y="234"/>
                  </a:lnTo>
                  <a:lnTo>
                    <a:pt x="36" y="240"/>
                  </a:lnTo>
                  <a:lnTo>
                    <a:pt x="30" y="252"/>
                  </a:lnTo>
                  <a:lnTo>
                    <a:pt x="30" y="258"/>
                  </a:lnTo>
                  <a:lnTo>
                    <a:pt x="36" y="270"/>
                  </a:lnTo>
                  <a:lnTo>
                    <a:pt x="36" y="294"/>
                  </a:lnTo>
                  <a:lnTo>
                    <a:pt x="42" y="300"/>
                  </a:lnTo>
                  <a:lnTo>
                    <a:pt x="42" y="306"/>
                  </a:lnTo>
                  <a:lnTo>
                    <a:pt x="18" y="312"/>
                  </a:lnTo>
                  <a:lnTo>
                    <a:pt x="30" y="330"/>
                  </a:lnTo>
                  <a:lnTo>
                    <a:pt x="24" y="330"/>
                  </a:lnTo>
                  <a:lnTo>
                    <a:pt x="18" y="336"/>
                  </a:lnTo>
                  <a:lnTo>
                    <a:pt x="6" y="342"/>
                  </a:lnTo>
                  <a:lnTo>
                    <a:pt x="0" y="348"/>
                  </a:lnTo>
                  <a:lnTo>
                    <a:pt x="0" y="354"/>
                  </a:lnTo>
                  <a:lnTo>
                    <a:pt x="12" y="366"/>
                  </a:lnTo>
                  <a:lnTo>
                    <a:pt x="12" y="396"/>
                  </a:lnTo>
                  <a:lnTo>
                    <a:pt x="36" y="396"/>
                  </a:lnTo>
                  <a:lnTo>
                    <a:pt x="42" y="402"/>
                  </a:lnTo>
                  <a:lnTo>
                    <a:pt x="42" y="408"/>
                  </a:lnTo>
                  <a:lnTo>
                    <a:pt x="24" y="426"/>
                  </a:lnTo>
                  <a:lnTo>
                    <a:pt x="18" y="438"/>
                  </a:lnTo>
                  <a:lnTo>
                    <a:pt x="30" y="462"/>
                  </a:lnTo>
                  <a:lnTo>
                    <a:pt x="42" y="480"/>
                  </a:lnTo>
                  <a:lnTo>
                    <a:pt x="54" y="504"/>
                  </a:lnTo>
                  <a:lnTo>
                    <a:pt x="60" y="510"/>
                  </a:lnTo>
                  <a:lnTo>
                    <a:pt x="60" y="564"/>
                  </a:lnTo>
                  <a:lnTo>
                    <a:pt x="66" y="570"/>
                  </a:lnTo>
                  <a:lnTo>
                    <a:pt x="72" y="570"/>
                  </a:lnTo>
                  <a:lnTo>
                    <a:pt x="84" y="576"/>
                  </a:lnTo>
                  <a:lnTo>
                    <a:pt x="120" y="576"/>
                  </a:lnTo>
                  <a:lnTo>
                    <a:pt x="126" y="582"/>
                  </a:lnTo>
                  <a:lnTo>
                    <a:pt x="138" y="606"/>
                  </a:lnTo>
                  <a:lnTo>
                    <a:pt x="114" y="654"/>
                  </a:lnTo>
                  <a:lnTo>
                    <a:pt x="108" y="660"/>
                  </a:lnTo>
                  <a:lnTo>
                    <a:pt x="102" y="672"/>
                  </a:lnTo>
                  <a:lnTo>
                    <a:pt x="84" y="690"/>
                  </a:lnTo>
                  <a:lnTo>
                    <a:pt x="84" y="702"/>
                  </a:lnTo>
                  <a:lnTo>
                    <a:pt x="120" y="702"/>
                  </a:lnTo>
                  <a:lnTo>
                    <a:pt x="132" y="708"/>
                  </a:lnTo>
                  <a:lnTo>
                    <a:pt x="150" y="720"/>
                  </a:lnTo>
                  <a:lnTo>
                    <a:pt x="168" y="726"/>
                  </a:lnTo>
                  <a:lnTo>
                    <a:pt x="192" y="738"/>
                  </a:lnTo>
                  <a:lnTo>
                    <a:pt x="210" y="738"/>
                  </a:lnTo>
                  <a:lnTo>
                    <a:pt x="228" y="732"/>
                  </a:lnTo>
                  <a:lnTo>
                    <a:pt x="234" y="732"/>
                  </a:lnTo>
                  <a:lnTo>
                    <a:pt x="240" y="726"/>
                  </a:lnTo>
                  <a:lnTo>
                    <a:pt x="294" y="726"/>
                  </a:lnTo>
                  <a:lnTo>
                    <a:pt x="294" y="732"/>
                  </a:lnTo>
                  <a:lnTo>
                    <a:pt x="318" y="732"/>
                  </a:lnTo>
                  <a:lnTo>
                    <a:pt x="324" y="726"/>
                  </a:lnTo>
                  <a:lnTo>
                    <a:pt x="348" y="726"/>
                  </a:lnTo>
                  <a:lnTo>
                    <a:pt x="366" y="720"/>
                  </a:lnTo>
                  <a:lnTo>
                    <a:pt x="396" y="720"/>
                  </a:lnTo>
                  <a:lnTo>
                    <a:pt x="444" y="696"/>
                  </a:lnTo>
                  <a:lnTo>
                    <a:pt x="450" y="696"/>
                  </a:lnTo>
                  <a:lnTo>
                    <a:pt x="456" y="690"/>
                  </a:lnTo>
                  <a:lnTo>
                    <a:pt x="456" y="660"/>
                  </a:lnTo>
                  <a:lnTo>
                    <a:pt x="450" y="654"/>
                  </a:lnTo>
                  <a:lnTo>
                    <a:pt x="450" y="636"/>
                  </a:lnTo>
                  <a:lnTo>
                    <a:pt x="444" y="624"/>
                  </a:lnTo>
                  <a:lnTo>
                    <a:pt x="444" y="606"/>
                  </a:lnTo>
                  <a:lnTo>
                    <a:pt x="450" y="594"/>
                  </a:lnTo>
                  <a:lnTo>
                    <a:pt x="462" y="588"/>
                  </a:lnTo>
                  <a:lnTo>
                    <a:pt x="468" y="576"/>
                  </a:lnTo>
                  <a:lnTo>
                    <a:pt x="486" y="576"/>
                  </a:lnTo>
                  <a:lnTo>
                    <a:pt x="486" y="588"/>
                  </a:lnTo>
                  <a:lnTo>
                    <a:pt x="528" y="588"/>
                  </a:lnTo>
                  <a:lnTo>
                    <a:pt x="534" y="582"/>
                  </a:lnTo>
                  <a:lnTo>
                    <a:pt x="534" y="576"/>
                  </a:lnTo>
                  <a:lnTo>
                    <a:pt x="528" y="570"/>
                  </a:lnTo>
                  <a:lnTo>
                    <a:pt x="522" y="570"/>
                  </a:lnTo>
                  <a:lnTo>
                    <a:pt x="522" y="564"/>
                  </a:lnTo>
                  <a:lnTo>
                    <a:pt x="528" y="558"/>
                  </a:lnTo>
                  <a:lnTo>
                    <a:pt x="534" y="558"/>
                  </a:lnTo>
                  <a:lnTo>
                    <a:pt x="546" y="552"/>
                  </a:lnTo>
                  <a:lnTo>
                    <a:pt x="552" y="546"/>
                  </a:lnTo>
                  <a:lnTo>
                    <a:pt x="564" y="540"/>
                  </a:lnTo>
                  <a:lnTo>
                    <a:pt x="594" y="540"/>
                  </a:lnTo>
                  <a:lnTo>
                    <a:pt x="594" y="552"/>
                  </a:lnTo>
                  <a:lnTo>
                    <a:pt x="600" y="558"/>
                  </a:lnTo>
                  <a:lnTo>
                    <a:pt x="612" y="558"/>
                  </a:lnTo>
                  <a:lnTo>
                    <a:pt x="624" y="552"/>
                  </a:lnTo>
                  <a:lnTo>
                    <a:pt x="630" y="540"/>
                  </a:lnTo>
                  <a:lnTo>
                    <a:pt x="636" y="534"/>
                  </a:lnTo>
                  <a:lnTo>
                    <a:pt x="636" y="528"/>
                  </a:lnTo>
                  <a:lnTo>
                    <a:pt x="630" y="522"/>
                  </a:lnTo>
                  <a:lnTo>
                    <a:pt x="630" y="510"/>
                  </a:lnTo>
                  <a:lnTo>
                    <a:pt x="624" y="498"/>
                  </a:lnTo>
                  <a:lnTo>
                    <a:pt x="624" y="480"/>
                  </a:lnTo>
                  <a:lnTo>
                    <a:pt x="630" y="474"/>
                  </a:lnTo>
                  <a:lnTo>
                    <a:pt x="636" y="474"/>
                  </a:lnTo>
                  <a:lnTo>
                    <a:pt x="636" y="438"/>
                  </a:lnTo>
                  <a:lnTo>
                    <a:pt x="642" y="432"/>
                  </a:lnTo>
                  <a:lnTo>
                    <a:pt x="660" y="432"/>
                  </a:lnTo>
                  <a:lnTo>
                    <a:pt x="690" y="414"/>
                  </a:lnTo>
                  <a:lnTo>
                    <a:pt x="684" y="414"/>
                  </a:lnTo>
                  <a:lnTo>
                    <a:pt x="672" y="408"/>
                  </a:lnTo>
                  <a:lnTo>
                    <a:pt x="672" y="402"/>
                  </a:lnTo>
                  <a:lnTo>
                    <a:pt x="666" y="396"/>
                  </a:lnTo>
                  <a:lnTo>
                    <a:pt x="666" y="390"/>
                  </a:lnTo>
                  <a:lnTo>
                    <a:pt x="654" y="384"/>
                  </a:lnTo>
                  <a:lnTo>
                    <a:pt x="642" y="372"/>
                  </a:lnTo>
                  <a:lnTo>
                    <a:pt x="642" y="360"/>
                  </a:lnTo>
                  <a:lnTo>
                    <a:pt x="660" y="360"/>
                  </a:lnTo>
                  <a:lnTo>
                    <a:pt x="666" y="366"/>
                  </a:lnTo>
                  <a:lnTo>
                    <a:pt x="684" y="372"/>
                  </a:lnTo>
                  <a:lnTo>
                    <a:pt x="690" y="372"/>
                  </a:lnTo>
                  <a:lnTo>
                    <a:pt x="696" y="366"/>
                  </a:lnTo>
                  <a:lnTo>
                    <a:pt x="714" y="366"/>
                  </a:lnTo>
                  <a:lnTo>
                    <a:pt x="714" y="336"/>
                  </a:lnTo>
                  <a:lnTo>
                    <a:pt x="708" y="330"/>
                  </a:lnTo>
                  <a:lnTo>
                    <a:pt x="708" y="318"/>
                  </a:lnTo>
                  <a:lnTo>
                    <a:pt x="714" y="306"/>
                  </a:lnTo>
                  <a:lnTo>
                    <a:pt x="738" y="282"/>
                  </a:lnTo>
                  <a:lnTo>
                    <a:pt x="738" y="276"/>
                  </a:lnTo>
                  <a:lnTo>
                    <a:pt x="732" y="264"/>
                  </a:lnTo>
                  <a:lnTo>
                    <a:pt x="726" y="258"/>
                  </a:lnTo>
                  <a:lnTo>
                    <a:pt x="726" y="228"/>
                  </a:lnTo>
                  <a:lnTo>
                    <a:pt x="696" y="198"/>
                  </a:lnTo>
                  <a:lnTo>
                    <a:pt x="696" y="192"/>
                  </a:lnTo>
                  <a:lnTo>
                    <a:pt x="702" y="186"/>
                  </a:lnTo>
                  <a:lnTo>
                    <a:pt x="708" y="174"/>
                  </a:lnTo>
                  <a:lnTo>
                    <a:pt x="714" y="168"/>
                  </a:lnTo>
                  <a:lnTo>
                    <a:pt x="738" y="156"/>
                  </a:lnTo>
                  <a:lnTo>
                    <a:pt x="744" y="150"/>
                  </a:lnTo>
                  <a:lnTo>
                    <a:pt x="768" y="138"/>
                  </a:lnTo>
                  <a:lnTo>
                    <a:pt x="774" y="138"/>
                  </a:lnTo>
                  <a:lnTo>
                    <a:pt x="780" y="132"/>
                  </a:lnTo>
                  <a:lnTo>
                    <a:pt x="822" y="132"/>
                  </a:lnTo>
                  <a:lnTo>
                    <a:pt x="828" y="126"/>
                  </a:lnTo>
                  <a:lnTo>
                    <a:pt x="852" y="126"/>
                  </a:lnTo>
                  <a:lnTo>
                    <a:pt x="864" y="132"/>
                  </a:lnTo>
                  <a:lnTo>
                    <a:pt x="876" y="132"/>
                  </a:lnTo>
                  <a:lnTo>
                    <a:pt x="882" y="126"/>
                  </a:lnTo>
                  <a:lnTo>
                    <a:pt x="894" y="126"/>
                  </a:lnTo>
                  <a:lnTo>
                    <a:pt x="900" y="120"/>
                  </a:lnTo>
                  <a:lnTo>
                    <a:pt x="894" y="114"/>
                  </a:lnTo>
                  <a:lnTo>
                    <a:pt x="894" y="108"/>
                  </a:lnTo>
                  <a:close/>
                </a:path>
              </a:pathLst>
            </a:custGeom>
            <a:grpFill/>
            <a:ln w="3175">
              <a:solidFill>
                <a:schemeClr val="bg1"/>
              </a:solidFill>
              <a:round/>
              <a:headEnd/>
              <a:tailEnd/>
            </a:ln>
          </p:spPr>
          <p:txBody>
            <a:bodyPr/>
            <a:lstStyle/>
            <a:p>
              <a:pPr>
                <a:spcBef>
                  <a:spcPct val="0"/>
                </a:spcBef>
              </a:pPr>
              <a:endParaRPr lang="en-US" sz="1800" dirty="0">
                <a:solidFill>
                  <a:schemeClr val="tx1"/>
                </a:solidFill>
                <a:latin typeface="Calibri" pitchFamily="34" charset="0"/>
              </a:endParaRPr>
            </a:p>
          </p:txBody>
        </p:sp>
      </p:grpSp>
      <p:sp>
        <p:nvSpPr>
          <p:cNvPr id="4" name="Ellipse 3">
            <a:extLst>
              <a:ext uri="{FF2B5EF4-FFF2-40B4-BE49-F238E27FC236}">
                <a16:creationId xmlns:a16="http://schemas.microsoft.com/office/drawing/2014/main" id="{023A115D-1B25-4B7F-BA99-78C81CB96037}"/>
              </a:ext>
            </a:extLst>
          </p:cNvPr>
          <p:cNvSpPr/>
          <p:nvPr/>
        </p:nvSpPr>
        <p:spPr bwMode="gray">
          <a:xfrm>
            <a:off x="4727848" y="5489229"/>
            <a:ext cx="100011" cy="10001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r>
              <a:rPr lang="en-US" sz="1200" dirty="0">
                <a:solidFill>
                  <a:schemeClr val="tx1"/>
                </a:solidFill>
              </a:rPr>
              <a:t>Area 01</a:t>
            </a:r>
          </a:p>
        </p:txBody>
      </p:sp>
      <p:sp>
        <p:nvSpPr>
          <p:cNvPr id="183" name="Ellipse 182">
            <a:extLst>
              <a:ext uri="{FF2B5EF4-FFF2-40B4-BE49-F238E27FC236}">
                <a16:creationId xmlns:a16="http://schemas.microsoft.com/office/drawing/2014/main" id="{A0B93F22-68EF-4A55-85E4-343862E8F16D}"/>
              </a:ext>
            </a:extLst>
          </p:cNvPr>
          <p:cNvSpPr/>
          <p:nvPr/>
        </p:nvSpPr>
        <p:spPr bwMode="gray">
          <a:xfrm>
            <a:off x="5771819" y="5489229"/>
            <a:ext cx="100011" cy="100011"/>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r>
              <a:rPr lang="en-US" sz="1200" dirty="0">
                <a:solidFill>
                  <a:schemeClr val="tx1"/>
                </a:solidFill>
              </a:rPr>
              <a:t>Area 02</a:t>
            </a:r>
          </a:p>
        </p:txBody>
      </p:sp>
      <p:sp>
        <p:nvSpPr>
          <p:cNvPr id="184" name="Ellipse 183">
            <a:extLst>
              <a:ext uri="{FF2B5EF4-FFF2-40B4-BE49-F238E27FC236}">
                <a16:creationId xmlns:a16="http://schemas.microsoft.com/office/drawing/2014/main" id="{C1AC86E9-0617-4DD5-A4E3-B5BF8EB05389}"/>
              </a:ext>
            </a:extLst>
          </p:cNvPr>
          <p:cNvSpPr/>
          <p:nvPr/>
        </p:nvSpPr>
        <p:spPr bwMode="gray">
          <a:xfrm>
            <a:off x="6823936" y="5489229"/>
            <a:ext cx="100011" cy="10001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r>
              <a:rPr lang="en-US" sz="1200" dirty="0">
                <a:solidFill>
                  <a:schemeClr val="tx1"/>
                </a:solidFill>
              </a:rPr>
              <a:t>Area 03</a:t>
            </a:r>
          </a:p>
        </p:txBody>
      </p:sp>
      <p:graphicFrame>
        <p:nvGraphicFramePr>
          <p:cNvPr id="185" name="Diagramm 184">
            <a:extLst>
              <a:ext uri="{FF2B5EF4-FFF2-40B4-BE49-F238E27FC236}">
                <a16:creationId xmlns:a16="http://schemas.microsoft.com/office/drawing/2014/main" id="{503DE102-ADAF-46BD-AD28-8EC4A57AA578}"/>
              </a:ext>
            </a:extLst>
          </p:cNvPr>
          <p:cNvGraphicFramePr/>
          <p:nvPr>
            <p:extLst>
              <p:ext uri="{D42A27DB-BD31-4B8C-83A1-F6EECF244321}">
                <p14:modId xmlns:p14="http://schemas.microsoft.com/office/powerpoint/2010/main" val="1047802800"/>
              </p:ext>
            </p:extLst>
          </p:nvPr>
        </p:nvGraphicFramePr>
        <p:xfrm>
          <a:off x="9048328" y="4468487"/>
          <a:ext cx="2520000" cy="184083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7" name="Diagramm 186">
            <a:extLst>
              <a:ext uri="{FF2B5EF4-FFF2-40B4-BE49-F238E27FC236}">
                <a16:creationId xmlns:a16="http://schemas.microsoft.com/office/drawing/2014/main" id="{A3BC516E-1CDA-42CD-B2C2-6CEA023A9892}"/>
              </a:ext>
            </a:extLst>
          </p:cNvPr>
          <p:cNvGraphicFramePr/>
          <p:nvPr>
            <p:extLst>
              <p:ext uri="{D42A27DB-BD31-4B8C-83A1-F6EECF244321}">
                <p14:modId xmlns:p14="http://schemas.microsoft.com/office/powerpoint/2010/main" val="2329766709"/>
              </p:ext>
            </p:extLst>
          </p:nvPr>
        </p:nvGraphicFramePr>
        <p:xfrm>
          <a:off x="9048608" y="1754123"/>
          <a:ext cx="2520000" cy="1818893"/>
        </p:xfrm>
        <a:graphic>
          <a:graphicData uri="http://schemas.openxmlformats.org/drawingml/2006/chart">
            <c:chart xmlns:c="http://schemas.openxmlformats.org/drawingml/2006/chart" xmlns:r="http://schemas.openxmlformats.org/officeDocument/2006/relationships" r:id="rId3"/>
          </a:graphicData>
        </a:graphic>
      </p:graphicFrame>
      <p:sp>
        <p:nvSpPr>
          <p:cNvPr id="203" name="Textplatzhalter 15">
            <a:extLst>
              <a:ext uri="{FF2B5EF4-FFF2-40B4-BE49-F238E27FC236}">
                <a16:creationId xmlns:a16="http://schemas.microsoft.com/office/drawing/2014/main" id="{3B6E5EB5-3571-424A-BBAA-616AA0D40C4F}"/>
              </a:ext>
            </a:extLst>
          </p:cNvPr>
          <p:cNvSpPr txBox="1">
            <a:spLocks/>
          </p:cNvSpPr>
          <p:nvPr/>
        </p:nvSpPr>
        <p:spPr bwMode="gray">
          <a:xfrm>
            <a:off x="9048328" y="3645056"/>
            <a:ext cx="2520000" cy="288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lgn="ctr"/>
            <a:r>
              <a:rPr lang="en-US" dirty="0"/>
              <a:t>Maecenas porttitor congue</a:t>
            </a:r>
          </a:p>
        </p:txBody>
      </p:sp>
      <p:sp>
        <p:nvSpPr>
          <p:cNvPr id="204" name="Textplatzhalter 15">
            <a:extLst>
              <a:ext uri="{FF2B5EF4-FFF2-40B4-BE49-F238E27FC236}">
                <a16:creationId xmlns:a16="http://schemas.microsoft.com/office/drawing/2014/main" id="{E1470A2D-1C97-413F-9C45-F1010269DC1F}"/>
              </a:ext>
            </a:extLst>
          </p:cNvPr>
          <p:cNvSpPr txBox="1">
            <a:spLocks/>
          </p:cNvSpPr>
          <p:nvPr/>
        </p:nvSpPr>
        <p:spPr bwMode="gray">
          <a:xfrm>
            <a:off x="9048328" y="4149112"/>
            <a:ext cx="2520000" cy="288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lgn="ctr"/>
            <a:r>
              <a:rPr lang="en-US" dirty="0"/>
              <a:t>Maecenas porttitor congue</a:t>
            </a:r>
          </a:p>
        </p:txBody>
      </p:sp>
      <p:cxnSp>
        <p:nvCxnSpPr>
          <p:cNvPr id="12" name="Gerader Verbinder 11">
            <a:extLst>
              <a:ext uri="{FF2B5EF4-FFF2-40B4-BE49-F238E27FC236}">
                <a16:creationId xmlns:a16="http://schemas.microsoft.com/office/drawing/2014/main" id="{7A4C81A3-8C50-4922-BEA1-27A7EDD94483}"/>
              </a:ext>
            </a:extLst>
          </p:cNvPr>
          <p:cNvCxnSpPr/>
          <p:nvPr/>
        </p:nvCxnSpPr>
        <p:spPr bwMode="gray">
          <a:xfrm>
            <a:off x="8544616" y="4031466"/>
            <a:ext cx="3024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72324C53-EEA5-4164-BD46-46DED6D547F7}"/>
              </a:ext>
            </a:extLst>
          </p:cNvPr>
          <p:cNvCxnSpPr/>
          <p:nvPr/>
        </p:nvCxnSpPr>
        <p:spPr bwMode="gray">
          <a:xfrm>
            <a:off x="623392" y="4031466"/>
            <a:ext cx="3024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10" name="Textplatzhalter 15">
            <a:extLst>
              <a:ext uri="{FF2B5EF4-FFF2-40B4-BE49-F238E27FC236}">
                <a16:creationId xmlns:a16="http://schemas.microsoft.com/office/drawing/2014/main" id="{D1F28560-2208-40F8-AE18-9B8CC1CDF3BA}"/>
              </a:ext>
            </a:extLst>
          </p:cNvPr>
          <p:cNvSpPr txBox="1">
            <a:spLocks/>
          </p:cNvSpPr>
          <p:nvPr/>
        </p:nvSpPr>
        <p:spPr bwMode="gray">
          <a:xfrm>
            <a:off x="623392" y="3668246"/>
            <a:ext cx="2520000" cy="288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lgn="ctr"/>
            <a:r>
              <a:rPr lang="en-US" dirty="0"/>
              <a:t>Maecenas porttitor congue</a:t>
            </a:r>
          </a:p>
        </p:txBody>
      </p:sp>
      <p:sp>
        <p:nvSpPr>
          <p:cNvPr id="211" name="Textplatzhalter 15">
            <a:extLst>
              <a:ext uri="{FF2B5EF4-FFF2-40B4-BE49-F238E27FC236}">
                <a16:creationId xmlns:a16="http://schemas.microsoft.com/office/drawing/2014/main" id="{530F2DF9-38EA-47D2-B3A7-88D27A377145}"/>
              </a:ext>
            </a:extLst>
          </p:cNvPr>
          <p:cNvSpPr txBox="1">
            <a:spLocks/>
          </p:cNvSpPr>
          <p:nvPr/>
        </p:nvSpPr>
        <p:spPr bwMode="gray">
          <a:xfrm>
            <a:off x="623392" y="4172302"/>
            <a:ext cx="2520000" cy="288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lgn="ctr"/>
            <a:r>
              <a:rPr lang="en-US" dirty="0"/>
              <a:t>Maecenas porttitor congue</a:t>
            </a:r>
          </a:p>
        </p:txBody>
      </p:sp>
      <p:grpSp>
        <p:nvGrpSpPr>
          <p:cNvPr id="6" name="Gruppieren 5">
            <a:extLst>
              <a:ext uri="{FF2B5EF4-FFF2-40B4-BE49-F238E27FC236}">
                <a16:creationId xmlns:a16="http://schemas.microsoft.com/office/drawing/2014/main" id="{CD76FC1E-1A59-403B-A8AF-C181363F8317}"/>
              </a:ext>
            </a:extLst>
          </p:cNvPr>
          <p:cNvGrpSpPr/>
          <p:nvPr/>
        </p:nvGrpSpPr>
        <p:grpSpPr bwMode="gray">
          <a:xfrm>
            <a:off x="4007768" y="2708920"/>
            <a:ext cx="337995" cy="337995"/>
            <a:chOff x="4007768" y="2708920"/>
            <a:chExt cx="337995" cy="337995"/>
          </a:xfrm>
        </p:grpSpPr>
        <p:sp>
          <p:nvSpPr>
            <p:cNvPr id="198" name="Ellipse 197">
              <a:extLst>
                <a:ext uri="{FF2B5EF4-FFF2-40B4-BE49-F238E27FC236}">
                  <a16:creationId xmlns:a16="http://schemas.microsoft.com/office/drawing/2014/main" id="{30DBEABB-8874-411D-B72E-05ED86A69DAF}"/>
                </a:ext>
              </a:extLst>
            </p:cNvPr>
            <p:cNvSpPr/>
            <p:nvPr/>
          </p:nvSpPr>
          <p:spPr bwMode="gray">
            <a:xfrm flipH="1">
              <a:off x="4007768" y="2708920"/>
              <a:ext cx="337995" cy="337995"/>
            </a:xfrm>
            <a:prstGeom prst="ellipse">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5"/>
                </a:solidFill>
              </a:endParaRPr>
            </a:p>
          </p:txBody>
        </p:sp>
        <p:sp>
          <p:nvSpPr>
            <p:cNvPr id="213" name="Freeform 5">
              <a:extLst>
                <a:ext uri="{FF2B5EF4-FFF2-40B4-BE49-F238E27FC236}">
                  <a16:creationId xmlns:a16="http://schemas.microsoft.com/office/drawing/2014/main" id="{283EE678-B7C9-4C7C-B92A-80913D88E6E3}"/>
                </a:ext>
              </a:extLst>
            </p:cNvPr>
            <p:cNvSpPr>
              <a:spLocks/>
            </p:cNvSpPr>
            <p:nvPr/>
          </p:nvSpPr>
          <p:spPr bwMode="gray">
            <a:xfrm flipH="1">
              <a:off x="4098716" y="2769138"/>
              <a:ext cx="136981" cy="217559"/>
            </a:xfrm>
            <a:custGeom>
              <a:avLst/>
              <a:gdLst>
                <a:gd name="T0" fmla="*/ 58 w 289"/>
                <a:gd name="T1" fmla="*/ 0 h 459"/>
                <a:gd name="T2" fmla="*/ 0 w 289"/>
                <a:gd name="T3" fmla="*/ 57 h 459"/>
                <a:gd name="T4" fmla="*/ 174 w 289"/>
                <a:gd name="T5" fmla="*/ 229 h 459"/>
                <a:gd name="T6" fmla="*/ 0 w 289"/>
                <a:gd name="T7" fmla="*/ 401 h 459"/>
                <a:gd name="T8" fmla="*/ 58 w 289"/>
                <a:gd name="T9" fmla="*/ 459 h 459"/>
                <a:gd name="T10" fmla="*/ 289 w 289"/>
                <a:gd name="T11" fmla="*/ 229 h 459"/>
                <a:gd name="T12" fmla="*/ 58 w 289"/>
                <a:gd name="T13" fmla="*/ 0 h 459"/>
              </a:gdLst>
              <a:ahLst/>
              <a:cxnLst>
                <a:cxn ang="0">
                  <a:pos x="T0" y="T1"/>
                </a:cxn>
                <a:cxn ang="0">
                  <a:pos x="T2" y="T3"/>
                </a:cxn>
                <a:cxn ang="0">
                  <a:pos x="T4" y="T5"/>
                </a:cxn>
                <a:cxn ang="0">
                  <a:pos x="T6" y="T7"/>
                </a:cxn>
                <a:cxn ang="0">
                  <a:pos x="T8" y="T9"/>
                </a:cxn>
                <a:cxn ang="0">
                  <a:pos x="T10" y="T11"/>
                </a:cxn>
                <a:cxn ang="0">
                  <a:pos x="T12" y="T13"/>
                </a:cxn>
              </a:cxnLst>
              <a:rect l="0" t="0" r="r" b="b"/>
              <a:pathLst>
                <a:path w="289" h="459">
                  <a:moveTo>
                    <a:pt x="58" y="0"/>
                  </a:moveTo>
                  <a:lnTo>
                    <a:pt x="0" y="57"/>
                  </a:lnTo>
                  <a:lnTo>
                    <a:pt x="174" y="229"/>
                  </a:lnTo>
                  <a:lnTo>
                    <a:pt x="0" y="401"/>
                  </a:lnTo>
                  <a:lnTo>
                    <a:pt x="58" y="459"/>
                  </a:lnTo>
                  <a:lnTo>
                    <a:pt x="289" y="229"/>
                  </a:lnTo>
                  <a:lnTo>
                    <a:pt x="58"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17" name="Gruppieren 216">
            <a:extLst>
              <a:ext uri="{FF2B5EF4-FFF2-40B4-BE49-F238E27FC236}">
                <a16:creationId xmlns:a16="http://schemas.microsoft.com/office/drawing/2014/main" id="{14F6A08E-2D9B-4BE8-BE5D-D6F3A678619C}"/>
              </a:ext>
            </a:extLst>
          </p:cNvPr>
          <p:cNvGrpSpPr/>
          <p:nvPr/>
        </p:nvGrpSpPr>
        <p:grpSpPr bwMode="gray">
          <a:xfrm>
            <a:off x="4007768" y="5089801"/>
            <a:ext cx="337995" cy="337995"/>
            <a:chOff x="4007768" y="2708920"/>
            <a:chExt cx="337995" cy="337995"/>
          </a:xfrm>
        </p:grpSpPr>
        <p:sp>
          <p:nvSpPr>
            <p:cNvPr id="218" name="Ellipse 217">
              <a:extLst>
                <a:ext uri="{FF2B5EF4-FFF2-40B4-BE49-F238E27FC236}">
                  <a16:creationId xmlns:a16="http://schemas.microsoft.com/office/drawing/2014/main" id="{CB1BD48E-E9A4-450B-8CDE-0550AD0C9E6A}"/>
                </a:ext>
              </a:extLst>
            </p:cNvPr>
            <p:cNvSpPr/>
            <p:nvPr/>
          </p:nvSpPr>
          <p:spPr bwMode="gray">
            <a:xfrm flipH="1">
              <a:off x="4007768" y="2708920"/>
              <a:ext cx="337995" cy="337995"/>
            </a:xfrm>
            <a:prstGeom prst="ellipse">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5"/>
                </a:solidFill>
              </a:endParaRPr>
            </a:p>
          </p:txBody>
        </p:sp>
        <p:sp>
          <p:nvSpPr>
            <p:cNvPr id="219" name="Freeform 5">
              <a:extLst>
                <a:ext uri="{FF2B5EF4-FFF2-40B4-BE49-F238E27FC236}">
                  <a16:creationId xmlns:a16="http://schemas.microsoft.com/office/drawing/2014/main" id="{89A766DD-1CD6-433E-B51D-1A215CCA73C0}"/>
                </a:ext>
              </a:extLst>
            </p:cNvPr>
            <p:cNvSpPr>
              <a:spLocks/>
            </p:cNvSpPr>
            <p:nvPr/>
          </p:nvSpPr>
          <p:spPr bwMode="gray">
            <a:xfrm flipH="1">
              <a:off x="4098716" y="2769138"/>
              <a:ext cx="136981" cy="217559"/>
            </a:xfrm>
            <a:custGeom>
              <a:avLst/>
              <a:gdLst>
                <a:gd name="T0" fmla="*/ 58 w 289"/>
                <a:gd name="T1" fmla="*/ 0 h 459"/>
                <a:gd name="T2" fmla="*/ 0 w 289"/>
                <a:gd name="T3" fmla="*/ 57 h 459"/>
                <a:gd name="T4" fmla="*/ 174 w 289"/>
                <a:gd name="T5" fmla="*/ 229 h 459"/>
                <a:gd name="T6" fmla="*/ 0 w 289"/>
                <a:gd name="T7" fmla="*/ 401 h 459"/>
                <a:gd name="T8" fmla="*/ 58 w 289"/>
                <a:gd name="T9" fmla="*/ 459 h 459"/>
                <a:gd name="T10" fmla="*/ 289 w 289"/>
                <a:gd name="T11" fmla="*/ 229 h 459"/>
                <a:gd name="T12" fmla="*/ 58 w 289"/>
                <a:gd name="T13" fmla="*/ 0 h 459"/>
              </a:gdLst>
              <a:ahLst/>
              <a:cxnLst>
                <a:cxn ang="0">
                  <a:pos x="T0" y="T1"/>
                </a:cxn>
                <a:cxn ang="0">
                  <a:pos x="T2" y="T3"/>
                </a:cxn>
                <a:cxn ang="0">
                  <a:pos x="T4" y="T5"/>
                </a:cxn>
                <a:cxn ang="0">
                  <a:pos x="T6" y="T7"/>
                </a:cxn>
                <a:cxn ang="0">
                  <a:pos x="T8" y="T9"/>
                </a:cxn>
                <a:cxn ang="0">
                  <a:pos x="T10" y="T11"/>
                </a:cxn>
                <a:cxn ang="0">
                  <a:pos x="T12" y="T13"/>
                </a:cxn>
              </a:cxnLst>
              <a:rect l="0" t="0" r="r" b="b"/>
              <a:pathLst>
                <a:path w="289" h="459">
                  <a:moveTo>
                    <a:pt x="58" y="0"/>
                  </a:moveTo>
                  <a:lnTo>
                    <a:pt x="0" y="57"/>
                  </a:lnTo>
                  <a:lnTo>
                    <a:pt x="174" y="229"/>
                  </a:lnTo>
                  <a:lnTo>
                    <a:pt x="0" y="401"/>
                  </a:lnTo>
                  <a:lnTo>
                    <a:pt x="58" y="459"/>
                  </a:lnTo>
                  <a:lnTo>
                    <a:pt x="289" y="229"/>
                  </a:lnTo>
                  <a:lnTo>
                    <a:pt x="58"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04" name="Gruppieren 403">
            <a:extLst>
              <a:ext uri="{FF2B5EF4-FFF2-40B4-BE49-F238E27FC236}">
                <a16:creationId xmlns:a16="http://schemas.microsoft.com/office/drawing/2014/main" id="{756EF395-259C-44F0-8243-E32C13E5AB32}"/>
              </a:ext>
            </a:extLst>
          </p:cNvPr>
          <p:cNvGrpSpPr/>
          <p:nvPr/>
        </p:nvGrpSpPr>
        <p:grpSpPr bwMode="gray">
          <a:xfrm flipH="1">
            <a:off x="7896200" y="2708920"/>
            <a:ext cx="337995" cy="337995"/>
            <a:chOff x="4007768" y="2708920"/>
            <a:chExt cx="337995" cy="337995"/>
          </a:xfrm>
        </p:grpSpPr>
        <p:sp>
          <p:nvSpPr>
            <p:cNvPr id="408" name="Ellipse 407">
              <a:extLst>
                <a:ext uri="{FF2B5EF4-FFF2-40B4-BE49-F238E27FC236}">
                  <a16:creationId xmlns:a16="http://schemas.microsoft.com/office/drawing/2014/main" id="{32EAFE12-94C3-4678-A3AB-A40384394F7A}"/>
                </a:ext>
              </a:extLst>
            </p:cNvPr>
            <p:cNvSpPr/>
            <p:nvPr/>
          </p:nvSpPr>
          <p:spPr bwMode="gray">
            <a:xfrm flipH="1">
              <a:off x="4007768" y="2708920"/>
              <a:ext cx="337995" cy="337995"/>
            </a:xfrm>
            <a:prstGeom prst="ellipse">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5"/>
                </a:solidFill>
              </a:endParaRPr>
            </a:p>
          </p:txBody>
        </p:sp>
        <p:sp>
          <p:nvSpPr>
            <p:cNvPr id="409" name="Freeform 5">
              <a:extLst>
                <a:ext uri="{FF2B5EF4-FFF2-40B4-BE49-F238E27FC236}">
                  <a16:creationId xmlns:a16="http://schemas.microsoft.com/office/drawing/2014/main" id="{BFB0107F-C18C-4323-B57D-CF2AAC71D93E}"/>
                </a:ext>
              </a:extLst>
            </p:cNvPr>
            <p:cNvSpPr>
              <a:spLocks/>
            </p:cNvSpPr>
            <p:nvPr/>
          </p:nvSpPr>
          <p:spPr bwMode="gray">
            <a:xfrm flipH="1">
              <a:off x="4098716" y="2769138"/>
              <a:ext cx="136981" cy="217559"/>
            </a:xfrm>
            <a:custGeom>
              <a:avLst/>
              <a:gdLst>
                <a:gd name="T0" fmla="*/ 58 w 289"/>
                <a:gd name="T1" fmla="*/ 0 h 459"/>
                <a:gd name="T2" fmla="*/ 0 w 289"/>
                <a:gd name="T3" fmla="*/ 57 h 459"/>
                <a:gd name="T4" fmla="*/ 174 w 289"/>
                <a:gd name="T5" fmla="*/ 229 h 459"/>
                <a:gd name="T6" fmla="*/ 0 w 289"/>
                <a:gd name="T7" fmla="*/ 401 h 459"/>
                <a:gd name="T8" fmla="*/ 58 w 289"/>
                <a:gd name="T9" fmla="*/ 459 h 459"/>
                <a:gd name="T10" fmla="*/ 289 w 289"/>
                <a:gd name="T11" fmla="*/ 229 h 459"/>
                <a:gd name="T12" fmla="*/ 58 w 289"/>
                <a:gd name="T13" fmla="*/ 0 h 459"/>
              </a:gdLst>
              <a:ahLst/>
              <a:cxnLst>
                <a:cxn ang="0">
                  <a:pos x="T0" y="T1"/>
                </a:cxn>
                <a:cxn ang="0">
                  <a:pos x="T2" y="T3"/>
                </a:cxn>
                <a:cxn ang="0">
                  <a:pos x="T4" y="T5"/>
                </a:cxn>
                <a:cxn ang="0">
                  <a:pos x="T6" y="T7"/>
                </a:cxn>
                <a:cxn ang="0">
                  <a:pos x="T8" y="T9"/>
                </a:cxn>
                <a:cxn ang="0">
                  <a:pos x="T10" y="T11"/>
                </a:cxn>
                <a:cxn ang="0">
                  <a:pos x="T12" y="T13"/>
                </a:cxn>
              </a:cxnLst>
              <a:rect l="0" t="0" r="r" b="b"/>
              <a:pathLst>
                <a:path w="289" h="459">
                  <a:moveTo>
                    <a:pt x="58" y="0"/>
                  </a:moveTo>
                  <a:lnTo>
                    <a:pt x="0" y="57"/>
                  </a:lnTo>
                  <a:lnTo>
                    <a:pt x="174" y="229"/>
                  </a:lnTo>
                  <a:lnTo>
                    <a:pt x="0" y="401"/>
                  </a:lnTo>
                  <a:lnTo>
                    <a:pt x="58" y="459"/>
                  </a:lnTo>
                  <a:lnTo>
                    <a:pt x="289" y="229"/>
                  </a:lnTo>
                  <a:lnTo>
                    <a:pt x="58"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05" name="Gruppieren 404">
            <a:extLst>
              <a:ext uri="{FF2B5EF4-FFF2-40B4-BE49-F238E27FC236}">
                <a16:creationId xmlns:a16="http://schemas.microsoft.com/office/drawing/2014/main" id="{338FEDE9-0B0E-4E0B-8DF2-CCAD58A8800D}"/>
              </a:ext>
            </a:extLst>
          </p:cNvPr>
          <p:cNvGrpSpPr/>
          <p:nvPr/>
        </p:nvGrpSpPr>
        <p:grpSpPr bwMode="gray">
          <a:xfrm flipH="1">
            <a:off x="7896200" y="5089801"/>
            <a:ext cx="337995" cy="337995"/>
            <a:chOff x="4007768" y="2708920"/>
            <a:chExt cx="337995" cy="337995"/>
          </a:xfrm>
        </p:grpSpPr>
        <p:sp>
          <p:nvSpPr>
            <p:cNvPr id="406" name="Ellipse 405">
              <a:extLst>
                <a:ext uri="{FF2B5EF4-FFF2-40B4-BE49-F238E27FC236}">
                  <a16:creationId xmlns:a16="http://schemas.microsoft.com/office/drawing/2014/main" id="{A5D2F8BC-D14D-4FBC-8757-AD53F3674C43}"/>
                </a:ext>
              </a:extLst>
            </p:cNvPr>
            <p:cNvSpPr/>
            <p:nvPr/>
          </p:nvSpPr>
          <p:spPr bwMode="gray">
            <a:xfrm flipH="1">
              <a:off x="4007768" y="2708920"/>
              <a:ext cx="337995" cy="337995"/>
            </a:xfrm>
            <a:prstGeom prst="ellipse">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5"/>
                </a:solidFill>
              </a:endParaRPr>
            </a:p>
          </p:txBody>
        </p:sp>
        <p:sp>
          <p:nvSpPr>
            <p:cNvPr id="407" name="Freeform 5">
              <a:extLst>
                <a:ext uri="{FF2B5EF4-FFF2-40B4-BE49-F238E27FC236}">
                  <a16:creationId xmlns:a16="http://schemas.microsoft.com/office/drawing/2014/main" id="{0177298A-C49F-46E4-B95B-BEF0AB8994F4}"/>
                </a:ext>
              </a:extLst>
            </p:cNvPr>
            <p:cNvSpPr>
              <a:spLocks/>
            </p:cNvSpPr>
            <p:nvPr/>
          </p:nvSpPr>
          <p:spPr bwMode="gray">
            <a:xfrm flipH="1">
              <a:off x="4098716" y="2769138"/>
              <a:ext cx="136981" cy="217559"/>
            </a:xfrm>
            <a:custGeom>
              <a:avLst/>
              <a:gdLst>
                <a:gd name="T0" fmla="*/ 58 w 289"/>
                <a:gd name="T1" fmla="*/ 0 h 459"/>
                <a:gd name="T2" fmla="*/ 0 w 289"/>
                <a:gd name="T3" fmla="*/ 57 h 459"/>
                <a:gd name="T4" fmla="*/ 174 w 289"/>
                <a:gd name="T5" fmla="*/ 229 h 459"/>
                <a:gd name="T6" fmla="*/ 0 w 289"/>
                <a:gd name="T7" fmla="*/ 401 h 459"/>
                <a:gd name="T8" fmla="*/ 58 w 289"/>
                <a:gd name="T9" fmla="*/ 459 h 459"/>
                <a:gd name="T10" fmla="*/ 289 w 289"/>
                <a:gd name="T11" fmla="*/ 229 h 459"/>
                <a:gd name="T12" fmla="*/ 58 w 289"/>
                <a:gd name="T13" fmla="*/ 0 h 459"/>
              </a:gdLst>
              <a:ahLst/>
              <a:cxnLst>
                <a:cxn ang="0">
                  <a:pos x="T0" y="T1"/>
                </a:cxn>
                <a:cxn ang="0">
                  <a:pos x="T2" y="T3"/>
                </a:cxn>
                <a:cxn ang="0">
                  <a:pos x="T4" y="T5"/>
                </a:cxn>
                <a:cxn ang="0">
                  <a:pos x="T6" y="T7"/>
                </a:cxn>
                <a:cxn ang="0">
                  <a:pos x="T8" y="T9"/>
                </a:cxn>
                <a:cxn ang="0">
                  <a:pos x="T10" y="T11"/>
                </a:cxn>
                <a:cxn ang="0">
                  <a:pos x="T12" y="T13"/>
                </a:cxn>
              </a:cxnLst>
              <a:rect l="0" t="0" r="r" b="b"/>
              <a:pathLst>
                <a:path w="289" h="459">
                  <a:moveTo>
                    <a:pt x="58" y="0"/>
                  </a:moveTo>
                  <a:lnTo>
                    <a:pt x="0" y="57"/>
                  </a:lnTo>
                  <a:lnTo>
                    <a:pt x="174" y="229"/>
                  </a:lnTo>
                  <a:lnTo>
                    <a:pt x="0" y="401"/>
                  </a:lnTo>
                  <a:lnTo>
                    <a:pt x="58" y="459"/>
                  </a:lnTo>
                  <a:lnTo>
                    <a:pt x="289" y="229"/>
                  </a:lnTo>
                  <a:lnTo>
                    <a:pt x="58"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grpSp>
      <p:graphicFrame>
        <p:nvGraphicFramePr>
          <p:cNvPr id="212" name="Diagramm 211">
            <a:extLst>
              <a:ext uri="{FF2B5EF4-FFF2-40B4-BE49-F238E27FC236}">
                <a16:creationId xmlns:a16="http://schemas.microsoft.com/office/drawing/2014/main" id="{BEE9CBA0-4B98-413E-82DB-AD325261EC90}"/>
              </a:ext>
            </a:extLst>
          </p:cNvPr>
          <p:cNvGraphicFramePr/>
          <p:nvPr>
            <p:extLst>
              <p:ext uri="{D42A27DB-BD31-4B8C-83A1-F6EECF244321}">
                <p14:modId xmlns:p14="http://schemas.microsoft.com/office/powerpoint/2010/main" val="3288571912"/>
              </p:ext>
            </p:extLst>
          </p:nvPr>
        </p:nvGraphicFramePr>
        <p:xfrm>
          <a:off x="623672" y="1754123"/>
          <a:ext cx="2520000" cy="181889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4" name="Diagramm 213">
            <a:extLst>
              <a:ext uri="{FF2B5EF4-FFF2-40B4-BE49-F238E27FC236}">
                <a16:creationId xmlns:a16="http://schemas.microsoft.com/office/drawing/2014/main" id="{14FFDCA1-1992-4BDF-B2BB-AE141F39D7BA}"/>
              </a:ext>
            </a:extLst>
          </p:cNvPr>
          <p:cNvGraphicFramePr/>
          <p:nvPr>
            <p:extLst>
              <p:ext uri="{D42A27DB-BD31-4B8C-83A1-F6EECF244321}">
                <p14:modId xmlns:p14="http://schemas.microsoft.com/office/powerpoint/2010/main" val="2596967462"/>
              </p:ext>
            </p:extLst>
          </p:nvPr>
        </p:nvGraphicFramePr>
        <p:xfrm>
          <a:off x="623392" y="4468487"/>
          <a:ext cx="2520000" cy="1840833"/>
        </p:xfrm>
        <a:graphic>
          <a:graphicData uri="http://schemas.openxmlformats.org/drawingml/2006/chart">
            <c:chart xmlns:c="http://schemas.openxmlformats.org/drawingml/2006/chart" xmlns:r="http://schemas.openxmlformats.org/officeDocument/2006/relationships" r:id="rId5"/>
          </a:graphicData>
        </a:graphic>
      </p:graphicFrame>
      <p:sp>
        <p:nvSpPr>
          <p:cNvPr id="7" name="Fußzeilenplatzhalter 6">
            <a:extLst>
              <a:ext uri="{FF2B5EF4-FFF2-40B4-BE49-F238E27FC236}">
                <a16:creationId xmlns:a16="http://schemas.microsoft.com/office/drawing/2014/main" id="{17B24271-5FC8-4C3A-9535-71BFB9B12BCA}"/>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112E8015-18E6-4030-8473-A3F001EF70EC}"/>
              </a:ext>
            </a:extLst>
          </p:cNvPr>
          <p:cNvSpPr>
            <a:spLocks noGrp="1"/>
          </p:cNvSpPr>
          <p:nvPr>
            <p:ph type="sldNum" sz="quarter" idx="12"/>
          </p:nvPr>
        </p:nvSpPr>
        <p:spPr/>
        <p:txBody>
          <a:bodyPr/>
          <a:lstStyle/>
          <a:p>
            <a:fld id="{CE82B8A1-0CCE-4815-9668-383D7DE7D8B4}" type="slidenum">
              <a:rPr lang="en-US" noProof="0" smtClean="0"/>
              <a:t>52</a:t>
            </a:fld>
            <a:endParaRPr lang="en-US" noProof="0" dirty="0"/>
          </a:p>
        </p:txBody>
      </p:sp>
    </p:spTree>
    <p:extLst>
      <p:ext uri="{BB962C8B-B14F-4D97-AF65-F5344CB8AC3E}">
        <p14:creationId xmlns:p14="http://schemas.microsoft.com/office/powerpoint/2010/main" val="288728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123F51D7-D11F-471D-9CD7-593E786DE54C}"/>
              </a:ext>
            </a:extLst>
          </p:cNvPr>
          <p:cNvSpPr txBox="1">
            <a:spLocks/>
          </p:cNvSpPr>
          <p:nvPr/>
        </p:nvSpPr>
        <p:spPr bwMode="gray">
          <a:xfrm>
            <a:off x="623393" y="332656"/>
            <a:ext cx="5328145" cy="1800104"/>
          </a:xfrm>
          <a:prstGeom prst="rect">
            <a:avLst/>
          </a:prstGeom>
        </p:spPr>
        <p:txBody>
          <a:bodyPr vert="horz" lIns="0" tIns="0" rIns="0" bIns="0" rtlCol="0" anchor="b">
            <a:noAutofit/>
          </a:bodyPr>
          <a:lstStyle>
            <a:lvl1pPr algn="l" defTabSz="914400" rtl="0" eaLnBrk="1" latinLnBrk="0" hangingPunct="1">
              <a:lnSpc>
                <a:spcPct val="80000"/>
              </a:lnSpc>
              <a:spcBef>
                <a:spcPct val="0"/>
              </a:spcBef>
              <a:buNone/>
              <a:defRPr sz="6000" kern="1200" cap="none" baseline="0">
                <a:solidFill>
                  <a:schemeClr val="accent1"/>
                </a:solidFill>
                <a:latin typeface="+mj-lt"/>
                <a:ea typeface="+mj-ea"/>
                <a:cs typeface="+mj-cs"/>
              </a:defRPr>
            </a:lvl1pPr>
          </a:lstStyle>
          <a:p>
            <a:r>
              <a:rPr lang="en-US" dirty="0"/>
              <a:t>Agenda</a:t>
            </a:r>
            <a:br>
              <a:rPr lang="en-US" dirty="0"/>
            </a:br>
            <a:r>
              <a:rPr lang="en-US" dirty="0"/>
              <a:t>without images</a:t>
            </a:r>
          </a:p>
        </p:txBody>
      </p:sp>
      <p:sp>
        <p:nvSpPr>
          <p:cNvPr id="4" name="Textplatzhalter 14">
            <a:extLst>
              <a:ext uri="{FF2B5EF4-FFF2-40B4-BE49-F238E27FC236}">
                <a16:creationId xmlns:a16="http://schemas.microsoft.com/office/drawing/2014/main" id="{39F6920F-9D5F-44AD-94AF-1B4DC9C8EBC0}"/>
              </a:ext>
            </a:extLst>
          </p:cNvPr>
          <p:cNvSpPr txBox="1">
            <a:spLocks/>
          </p:cNvSpPr>
          <p:nvPr/>
        </p:nvSpPr>
        <p:spPr bwMode="gray">
          <a:xfrm>
            <a:off x="623888" y="3427398"/>
            <a:ext cx="2447512" cy="792000"/>
          </a:xfrm>
          <a:prstGeom prst="rect">
            <a:avLst/>
          </a:prstGeom>
          <a:noFill/>
        </p:spPr>
        <p:txBody>
          <a:bodyPr lIns="0" tIns="0" rIns="0" bIns="0" anchor="b"/>
          <a:lstStyle>
            <a:lvl1pPr marL="0" indent="0" algn="r" defTabSz="914400" rtl="0" eaLnBrk="1" latinLnBrk="0" hangingPunct="1">
              <a:spcBef>
                <a:spcPts val="0"/>
              </a:spcBef>
              <a:buFont typeface="Arial" panose="020B0604020202020204" pitchFamily="34" charset="0"/>
              <a:buNone/>
              <a:defRPr sz="1600" kern="1200">
                <a:solidFill>
                  <a:schemeClr val="accent1"/>
                </a:solidFill>
                <a:latin typeface="DraegerSanTabBol" pitchFamily="2" charset="0"/>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2pPr>
            <a:lvl3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3pPr>
            <a:lvl4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4pPr>
            <a:lvl5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5pPr>
            <a:lvl6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6pPr>
            <a:lvl7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7pPr>
            <a:lvl8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8pPr>
            <a:lvl9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9pPr>
          </a:lstStyle>
          <a:p>
            <a:pPr algn="l"/>
            <a:r>
              <a:rPr lang="en-US" dirty="0">
                <a:solidFill>
                  <a:schemeClr val="accent5"/>
                </a:solidFill>
                <a:latin typeface="+mj-lt"/>
              </a:rPr>
              <a:t>Item </a:t>
            </a:r>
            <a:r>
              <a:rPr lang="en-US" sz="6000" dirty="0">
                <a:solidFill>
                  <a:schemeClr val="accent5"/>
                </a:solidFill>
                <a:latin typeface="+mj-lt"/>
              </a:rPr>
              <a:t>03</a:t>
            </a:r>
          </a:p>
        </p:txBody>
      </p:sp>
      <p:sp>
        <p:nvSpPr>
          <p:cNvPr id="5" name="Textplatzhalter 21">
            <a:extLst>
              <a:ext uri="{FF2B5EF4-FFF2-40B4-BE49-F238E27FC236}">
                <a16:creationId xmlns:a16="http://schemas.microsoft.com/office/drawing/2014/main" id="{715BE5A9-F5E9-4DF6-8DCE-60AB013E5649}"/>
              </a:ext>
            </a:extLst>
          </p:cNvPr>
          <p:cNvSpPr txBox="1">
            <a:spLocks/>
          </p:cNvSpPr>
          <p:nvPr/>
        </p:nvSpPr>
        <p:spPr bwMode="gray">
          <a:xfrm>
            <a:off x="623888" y="4293192"/>
            <a:ext cx="2447512" cy="1368000"/>
          </a:xfrm>
          <a:prstGeom prst="rect">
            <a:avLst/>
          </a:prstGeom>
        </p:spPr>
        <p:txBody>
          <a:bodyPr lIns="0" tIns="0" rIns="0" bIns="0"/>
          <a:lstStyle>
            <a:lvl1pPr marL="0" indent="0" algn="r" defTabSz="914400" rtl="0" eaLnBrk="1" latinLnBrk="0" hangingPunct="1">
              <a:spcBef>
                <a:spcPts val="0"/>
              </a:spcBef>
              <a:buFont typeface="Arial" panose="020B0604020202020204" pitchFamily="34" charset="0"/>
              <a:buNone/>
              <a:defRPr sz="2400" kern="1200">
                <a:solidFill>
                  <a:schemeClr val="tx1"/>
                </a:solidFill>
                <a:latin typeface="+mn-lt"/>
                <a:ea typeface="+mn-ea"/>
                <a:cs typeface="+mn-cs"/>
              </a:defRPr>
            </a:lvl1pPr>
            <a:lvl2pPr marL="0" indent="0" algn="l" defTabSz="914400" rtl="0" eaLnBrk="1" latinLnBrk="0" hangingPunct="1">
              <a:spcBef>
                <a:spcPts val="0"/>
              </a:spcBef>
              <a:buFont typeface="Arial" panose="020B0604020202020204" pitchFamily="34" charset="0"/>
              <a:buNone/>
              <a:defRPr sz="2400" kern="1200">
                <a:solidFill>
                  <a:schemeClr val="tx1"/>
                </a:solidFill>
                <a:latin typeface="+mn-lt"/>
                <a:ea typeface="+mn-ea"/>
                <a:cs typeface="+mn-cs"/>
              </a:defRPr>
            </a:lvl2pPr>
            <a:lvl3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3pPr>
            <a:lvl4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4pPr>
            <a:lvl5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5pPr>
            <a:lvl6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6pPr>
            <a:lvl7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7pPr>
            <a:lvl8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8pPr>
            <a:lvl9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9pPr>
          </a:lstStyle>
          <a:p>
            <a:pPr algn="l"/>
            <a:r>
              <a:rPr lang="en-US" sz="1800" dirty="0"/>
              <a:t>Lorem ipsum dolor sit amet, consectetuer adipiscing elit. </a:t>
            </a:r>
          </a:p>
        </p:txBody>
      </p:sp>
      <p:cxnSp>
        <p:nvCxnSpPr>
          <p:cNvPr id="13" name="Gerader Verbinder 12">
            <a:extLst>
              <a:ext uri="{FF2B5EF4-FFF2-40B4-BE49-F238E27FC236}">
                <a16:creationId xmlns:a16="http://schemas.microsoft.com/office/drawing/2014/main" id="{43FCD617-6187-48D9-BD7C-7C06E829899B}"/>
              </a:ext>
            </a:extLst>
          </p:cNvPr>
          <p:cNvCxnSpPr/>
          <p:nvPr/>
        </p:nvCxnSpPr>
        <p:spPr bwMode="gray">
          <a:xfrm>
            <a:off x="2135560" y="4005064"/>
            <a:ext cx="936253"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6" name="Textplatzhalter 14">
            <a:extLst>
              <a:ext uri="{FF2B5EF4-FFF2-40B4-BE49-F238E27FC236}">
                <a16:creationId xmlns:a16="http://schemas.microsoft.com/office/drawing/2014/main" id="{D171072C-764D-4374-9E2A-7D1D6B480C3C}"/>
              </a:ext>
            </a:extLst>
          </p:cNvPr>
          <p:cNvSpPr txBox="1">
            <a:spLocks/>
          </p:cNvSpPr>
          <p:nvPr/>
        </p:nvSpPr>
        <p:spPr bwMode="gray">
          <a:xfrm>
            <a:off x="3503712" y="3429088"/>
            <a:ext cx="2376000" cy="792000"/>
          </a:xfrm>
          <a:prstGeom prst="rect">
            <a:avLst/>
          </a:prstGeom>
          <a:noFill/>
        </p:spPr>
        <p:txBody>
          <a:bodyPr lIns="0" tIns="0" rIns="0" bIns="0" anchor="b"/>
          <a:lstStyle>
            <a:lvl1pPr marL="0" indent="0" algn="r" defTabSz="914400" rtl="0" eaLnBrk="1" latinLnBrk="0" hangingPunct="1">
              <a:spcBef>
                <a:spcPts val="0"/>
              </a:spcBef>
              <a:buFont typeface="Arial" panose="020B0604020202020204" pitchFamily="34" charset="0"/>
              <a:buNone/>
              <a:defRPr sz="1600" kern="1200">
                <a:solidFill>
                  <a:schemeClr val="accent1"/>
                </a:solidFill>
                <a:latin typeface="DraegerSanTabBol" pitchFamily="2" charset="0"/>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2pPr>
            <a:lvl3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3pPr>
            <a:lvl4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4pPr>
            <a:lvl5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5pPr>
            <a:lvl6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6pPr>
            <a:lvl7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7pPr>
            <a:lvl8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8pPr>
            <a:lvl9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9pPr>
          </a:lstStyle>
          <a:p>
            <a:pPr algn="l"/>
            <a:r>
              <a:rPr lang="en-US" dirty="0">
                <a:solidFill>
                  <a:schemeClr val="accent5"/>
                </a:solidFill>
                <a:latin typeface="+mj-lt"/>
              </a:rPr>
              <a:t>Item </a:t>
            </a:r>
            <a:r>
              <a:rPr lang="en-US" sz="6000" dirty="0">
                <a:solidFill>
                  <a:schemeClr val="accent5"/>
                </a:solidFill>
                <a:latin typeface="+mj-lt"/>
              </a:rPr>
              <a:t>04</a:t>
            </a:r>
          </a:p>
        </p:txBody>
      </p:sp>
      <p:sp>
        <p:nvSpPr>
          <p:cNvPr id="7" name="Textplatzhalter 21">
            <a:extLst>
              <a:ext uri="{FF2B5EF4-FFF2-40B4-BE49-F238E27FC236}">
                <a16:creationId xmlns:a16="http://schemas.microsoft.com/office/drawing/2014/main" id="{06E73323-9ADA-46EF-9EFF-3BA78F64B08C}"/>
              </a:ext>
            </a:extLst>
          </p:cNvPr>
          <p:cNvSpPr txBox="1">
            <a:spLocks/>
          </p:cNvSpPr>
          <p:nvPr/>
        </p:nvSpPr>
        <p:spPr bwMode="gray">
          <a:xfrm>
            <a:off x="3503712" y="4293192"/>
            <a:ext cx="2376000" cy="1368000"/>
          </a:xfrm>
          <a:prstGeom prst="rect">
            <a:avLst/>
          </a:prstGeom>
        </p:spPr>
        <p:txBody>
          <a:bodyPr lIns="0" tIns="0" rIns="0" bIns="0"/>
          <a:lstStyle>
            <a:defPPr>
              <a:defRPr lang="de-DE"/>
            </a:defPPr>
            <a:lvl1pPr indent="0">
              <a:spcBef>
                <a:spcPts val="0"/>
              </a:spcBef>
              <a:buFont typeface="Arial" panose="020B0604020202020204" pitchFamily="34" charset="0"/>
              <a:buNone/>
            </a:lvl1pPr>
            <a:lvl2pPr marL="0" indent="0">
              <a:spcBef>
                <a:spcPts val="0"/>
              </a:spcBef>
              <a:buFont typeface="Arial" panose="020B0604020202020204" pitchFamily="34" charset="0"/>
              <a:buNone/>
              <a:defRPr sz="2400"/>
            </a:lvl2pPr>
            <a:lvl3pPr marL="0" indent="0">
              <a:spcBef>
                <a:spcPts val="0"/>
              </a:spcBef>
              <a:buFont typeface="Symbol" panose="05050102010706020507" pitchFamily="18" charset="2"/>
              <a:buNone/>
              <a:defRPr sz="2400"/>
            </a:lvl3pPr>
            <a:lvl4pPr marL="0" indent="0">
              <a:spcBef>
                <a:spcPts val="0"/>
              </a:spcBef>
              <a:buFont typeface="Symbol" panose="05050102010706020507" pitchFamily="18" charset="2"/>
              <a:buNone/>
              <a:defRPr sz="2400"/>
            </a:lvl4pPr>
            <a:lvl5pPr marL="0" indent="0">
              <a:spcBef>
                <a:spcPts val="0"/>
              </a:spcBef>
              <a:buFont typeface="Symbol" panose="05050102010706020507" pitchFamily="18" charset="2"/>
              <a:buNone/>
              <a:defRPr sz="2400"/>
            </a:lvl5pPr>
            <a:lvl6pPr marL="0" indent="0">
              <a:spcBef>
                <a:spcPts val="0"/>
              </a:spcBef>
              <a:buFont typeface="Symbol" panose="05050102010706020507" pitchFamily="18" charset="2"/>
              <a:buNone/>
              <a:defRPr sz="2400"/>
            </a:lvl6pPr>
            <a:lvl7pPr marL="0" indent="0">
              <a:spcBef>
                <a:spcPts val="0"/>
              </a:spcBef>
              <a:buFont typeface="Symbol" panose="05050102010706020507" pitchFamily="18" charset="2"/>
              <a:buNone/>
              <a:defRPr sz="2400"/>
            </a:lvl7pPr>
            <a:lvl8pPr marL="0" indent="0">
              <a:spcBef>
                <a:spcPts val="0"/>
              </a:spcBef>
              <a:buFont typeface="Symbol" panose="05050102010706020507" pitchFamily="18" charset="2"/>
              <a:buNone/>
              <a:defRPr sz="2400"/>
            </a:lvl8pPr>
            <a:lvl9pPr marL="0" indent="0">
              <a:spcBef>
                <a:spcPts val="0"/>
              </a:spcBef>
              <a:buFont typeface="Symbol" panose="05050102010706020507" pitchFamily="18" charset="2"/>
              <a:buNone/>
              <a:defRPr sz="2400"/>
            </a:lvl9pPr>
          </a:lstStyle>
          <a:p>
            <a:r>
              <a:rPr lang="en-US" dirty="0"/>
              <a:t>Maecenas porttitor congue massa Fusce posuere, magna sed pulvinar</a:t>
            </a:r>
          </a:p>
        </p:txBody>
      </p:sp>
      <p:cxnSp>
        <p:nvCxnSpPr>
          <p:cNvPr id="14" name="Gerader Verbinder 13">
            <a:extLst>
              <a:ext uri="{FF2B5EF4-FFF2-40B4-BE49-F238E27FC236}">
                <a16:creationId xmlns:a16="http://schemas.microsoft.com/office/drawing/2014/main" id="{AC24DA7A-7BC3-48FD-B1D8-656D12826192}"/>
              </a:ext>
            </a:extLst>
          </p:cNvPr>
          <p:cNvCxnSpPr>
            <a:cxnSpLocks/>
          </p:cNvCxnSpPr>
          <p:nvPr/>
        </p:nvCxnSpPr>
        <p:spPr bwMode="gray">
          <a:xfrm>
            <a:off x="5015880" y="4035544"/>
            <a:ext cx="86422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8" name="Textplatzhalter 14">
            <a:extLst>
              <a:ext uri="{FF2B5EF4-FFF2-40B4-BE49-F238E27FC236}">
                <a16:creationId xmlns:a16="http://schemas.microsoft.com/office/drawing/2014/main" id="{FA40485F-98C4-4109-9784-93779E88D4EA}"/>
              </a:ext>
            </a:extLst>
          </p:cNvPr>
          <p:cNvSpPr txBox="1">
            <a:spLocks/>
          </p:cNvSpPr>
          <p:nvPr/>
        </p:nvSpPr>
        <p:spPr bwMode="gray">
          <a:xfrm>
            <a:off x="6312024" y="908720"/>
            <a:ext cx="2376000" cy="792000"/>
          </a:xfrm>
          <a:prstGeom prst="rect">
            <a:avLst/>
          </a:prstGeom>
          <a:noFill/>
        </p:spPr>
        <p:txBody>
          <a:bodyPr lIns="0" tIns="0" rIns="0" bIns="0" anchor="b"/>
          <a:lstStyle>
            <a:lvl1pPr marL="0" indent="0" algn="r" defTabSz="914400" rtl="0" eaLnBrk="1" latinLnBrk="0" hangingPunct="1">
              <a:spcBef>
                <a:spcPts val="0"/>
              </a:spcBef>
              <a:buFont typeface="Arial" panose="020B0604020202020204" pitchFamily="34" charset="0"/>
              <a:buNone/>
              <a:defRPr sz="1600" kern="1200">
                <a:solidFill>
                  <a:schemeClr val="accent1"/>
                </a:solidFill>
                <a:latin typeface="DraegerSanTabBol" pitchFamily="2" charset="0"/>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2pPr>
            <a:lvl3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3pPr>
            <a:lvl4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4pPr>
            <a:lvl5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5pPr>
            <a:lvl6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6pPr>
            <a:lvl7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7pPr>
            <a:lvl8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8pPr>
            <a:lvl9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9pPr>
          </a:lstStyle>
          <a:p>
            <a:pPr algn="l"/>
            <a:r>
              <a:rPr lang="en-US" dirty="0">
                <a:solidFill>
                  <a:schemeClr val="accent5"/>
                </a:solidFill>
                <a:latin typeface="+mj-lt"/>
              </a:rPr>
              <a:t>Item </a:t>
            </a:r>
            <a:r>
              <a:rPr lang="en-US" sz="6000" dirty="0">
                <a:solidFill>
                  <a:schemeClr val="accent5"/>
                </a:solidFill>
                <a:latin typeface="+mj-lt"/>
              </a:rPr>
              <a:t>01</a:t>
            </a:r>
          </a:p>
        </p:txBody>
      </p:sp>
      <p:sp>
        <p:nvSpPr>
          <p:cNvPr id="9" name="Textplatzhalter 21">
            <a:extLst>
              <a:ext uri="{FF2B5EF4-FFF2-40B4-BE49-F238E27FC236}">
                <a16:creationId xmlns:a16="http://schemas.microsoft.com/office/drawing/2014/main" id="{07096D38-893C-4E44-B175-1F1CF83EA805}"/>
              </a:ext>
            </a:extLst>
          </p:cNvPr>
          <p:cNvSpPr txBox="1">
            <a:spLocks/>
          </p:cNvSpPr>
          <p:nvPr/>
        </p:nvSpPr>
        <p:spPr bwMode="gray">
          <a:xfrm>
            <a:off x="6312024" y="1774426"/>
            <a:ext cx="2376000" cy="1368000"/>
          </a:xfrm>
          <a:prstGeom prst="rect">
            <a:avLst/>
          </a:prstGeom>
        </p:spPr>
        <p:txBody>
          <a:bodyPr lIns="0" tIns="0" rIns="0" bIns="0"/>
          <a:lstStyle>
            <a:defPPr>
              <a:defRPr lang="de-DE"/>
            </a:defPPr>
            <a:lvl1pPr indent="0">
              <a:spcBef>
                <a:spcPts val="0"/>
              </a:spcBef>
              <a:buFont typeface="Arial" panose="020B0604020202020204" pitchFamily="34" charset="0"/>
              <a:buNone/>
            </a:lvl1pPr>
            <a:lvl2pPr marL="0" indent="0">
              <a:spcBef>
                <a:spcPts val="0"/>
              </a:spcBef>
              <a:buFont typeface="Arial" panose="020B0604020202020204" pitchFamily="34" charset="0"/>
              <a:buNone/>
              <a:defRPr sz="2400"/>
            </a:lvl2pPr>
            <a:lvl3pPr marL="0" indent="0">
              <a:spcBef>
                <a:spcPts val="0"/>
              </a:spcBef>
              <a:buFont typeface="Symbol" panose="05050102010706020507" pitchFamily="18" charset="2"/>
              <a:buNone/>
              <a:defRPr sz="2400"/>
            </a:lvl3pPr>
            <a:lvl4pPr marL="0" indent="0">
              <a:spcBef>
                <a:spcPts val="0"/>
              </a:spcBef>
              <a:buFont typeface="Symbol" panose="05050102010706020507" pitchFamily="18" charset="2"/>
              <a:buNone/>
              <a:defRPr sz="2400"/>
            </a:lvl4pPr>
            <a:lvl5pPr marL="0" indent="0">
              <a:spcBef>
                <a:spcPts val="0"/>
              </a:spcBef>
              <a:buFont typeface="Symbol" panose="05050102010706020507" pitchFamily="18" charset="2"/>
              <a:buNone/>
              <a:defRPr sz="2400"/>
            </a:lvl5pPr>
            <a:lvl6pPr marL="0" indent="0">
              <a:spcBef>
                <a:spcPts val="0"/>
              </a:spcBef>
              <a:buFont typeface="Symbol" panose="05050102010706020507" pitchFamily="18" charset="2"/>
              <a:buNone/>
              <a:defRPr sz="2400"/>
            </a:lvl6pPr>
            <a:lvl7pPr marL="0" indent="0">
              <a:spcBef>
                <a:spcPts val="0"/>
              </a:spcBef>
              <a:buFont typeface="Symbol" panose="05050102010706020507" pitchFamily="18" charset="2"/>
              <a:buNone/>
              <a:defRPr sz="2400"/>
            </a:lvl7pPr>
            <a:lvl8pPr marL="0" indent="0">
              <a:spcBef>
                <a:spcPts val="0"/>
              </a:spcBef>
              <a:buFont typeface="Symbol" panose="05050102010706020507" pitchFamily="18" charset="2"/>
              <a:buNone/>
              <a:defRPr sz="2400"/>
            </a:lvl8pPr>
            <a:lvl9pPr marL="0" indent="0">
              <a:spcBef>
                <a:spcPts val="0"/>
              </a:spcBef>
              <a:buFont typeface="Symbol" panose="05050102010706020507" pitchFamily="18" charset="2"/>
              <a:buNone/>
              <a:defRPr sz="2400"/>
            </a:lvl9pPr>
          </a:lstStyle>
          <a:p>
            <a:r>
              <a:rPr lang="en-US" dirty="0"/>
              <a:t>Ultricies, purus lectus malesuada libero, sit amet commodo magna eros quis </a:t>
            </a:r>
          </a:p>
        </p:txBody>
      </p:sp>
      <p:cxnSp>
        <p:nvCxnSpPr>
          <p:cNvPr id="16" name="Gerader Verbinder 15">
            <a:extLst>
              <a:ext uri="{FF2B5EF4-FFF2-40B4-BE49-F238E27FC236}">
                <a16:creationId xmlns:a16="http://schemas.microsoft.com/office/drawing/2014/main" id="{E5CD2825-C7DC-488A-9D39-39629A35C77C}"/>
              </a:ext>
            </a:extLst>
          </p:cNvPr>
          <p:cNvCxnSpPr>
            <a:cxnSpLocks/>
          </p:cNvCxnSpPr>
          <p:nvPr/>
        </p:nvCxnSpPr>
        <p:spPr bwMode="gray">
          <a:xfrm>
            <a:off x="7721600" y="1484696"/>
            <a:ext cx="96681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0" name="Textplatzhalter 14">
            <a:extLst>
              <a:ext uri="{FF2B5EF4-FFF2-40B4-BE49-F238E27FC236}">
                <a16:creationId xmlns:a16="http://schemas.microsoft.com/office/drawing/2014/main" id="{B290C162-54A2-4730-A300-C6A527529D6C}"/>
              </a:ext>
            </a:extLst>
          </p:cNvPr>
          <p:cNvSpPr txBox="1">
            <a:spLocks/>
          </p:cNvSpPr>
          <p:nvPr/>
        </p:nvSpPr>
        <p:spPr bwMode="gray">
          <a:xfrm>
            <a:off x="9120336" y="908720"/>
            <a:ext cx="2376000" cy="792000"/>
          </a:xfrm>
          <a:prstGeom prst="rect">
            <a:avLst/>
          </a:prstGeom>
          <a:noFill/>
        </p:spPr>
        <p:txBody>
          <a:bodyPr lIns="0" tIns="0" rIns="0" bIns="0" anchor="b"/>
          <a:lstStyle>
            <a:lvl1pPr marL="0" indent="0" algn="r" defTabSz="914400" rtl="0" eaLnBrk="1" latinLnBrk="0" hangingPunct="1">
              <a:spcBef>
                <a:spcPts val="0"/>
              </a:spcBef>
              <a:buFont typeface="Arial" panose="020B0604020202020204" pitchFamily="34" charset="0"/>
              <a:buNone/>
              <a:defRPr sz="1600" kern="1200">
                <a:solidFill>
                  <a:schemeClr val="accent1"/>
                </a:solidFill>
                <a:latin typeface="DraegerSanTabBol" pitchFamily="2" charset="0"/>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2pPr>
            <a:lvl3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3pPr>
            <a:lvl4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4pPr>
            <a:lvl5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5pPr>
            <a:lvl6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6pPr>
            <a:lvl7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7pPr>
            <a:lvl8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8pPr>
            <a:lvl9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9pPr>
          </a:lstStyle>
          <a:p>
            <a:pPr algn="l"/>
            <a:r>
              <a:rPr lang="en-US" dirty="0">
                <a:solidFill>
                  <a:schemeClr val="accent5"/>
                </a:solidFill>
                <a:latin typeface="+mj-lt"/>
              </a:rPr>
              <a:t>Item </a:t>
            </a:r>
            <a:r>
              <a:rPr lang="en-US" sz="6000" dirty="0">
                <a:solidFill>
                  <a:schemeClr val="accent5"/>
                </a:solidFill>
                <a:latin typeface="+mj-lt"/>
              </a:rPr>
              <a:t>02</a:t>
            </a:r>
          </a:p>
        </p:txBody>
      </p:sp>
      <p:sp>
        <p:nvSpPr>
          <p:cNvPr id="11" name="Textplatzhalter 21">
            <a:extLst>
              <a:ext uri="{FF2B5EF4-FFF2-40B4-BE49-F238E27FC236}">
                <a16:creationId xmlns:a16="http://schemas.microsoft.com/office/drawing/2014/main" id="{7986EEB2-836B-4535-BD47-FBDE808640E0}"/>
              </a:ext>
            </a:extLst>
          </p:cNvPr>
          <p:cNvSpPr txBox="1">
            <a:spLocks/>
          </p:cNvSpPr>
          <p:nvPr/>
        </p:nvSpPr>
        <p:spPr bwMode="gray">
          <a:xfrm>
            <a:off x="9120335" y="1774514"/>
            <a:ext cx="2447777" cy="1368000"/>
          </a:xfrm>
          <a:prstGeom prst="rect">
            <a:avLst/>
          </a:prstGeom>
        </p:spPr>
        <p:txBody>
          <a:bodyPr lIns="0" tIns="0" rIns="0" bIns="0"/>
          <a:lstStyle>
            <a:defPPr>
              <a:defRPr lang="de-DE"/>
            </a:defPPr>
            <a:lvl1pPr indent="0">
              <a:spcBef>
                <a:spcPts val="0"/>
              </a:spcBef>
              <a:buFont typeface="Arial" panose="020B0604020202020204" pitchFamily="34" charset="0"/>
              <a:buNone/>
            </a:lvl1pPr>
            <a:lvl2pPr marL="0" indent="0">
              <a:spcBef>
                <a:spcPts val="0"/>
              </a:spcBef>
              <a:buFont typeface="Arial" panose="020B0604020202020204" pitchFamily="34" charset="0"/>
              <a:buNone/>
              <a:defRPr sz="2400"/>
            </a:lvl2pPr>
            <a:lvl3pPr marL="0" indent="0">
              <a:spcBef>
                <a:spcPts val="0"/>
              </a:spcBef>
              <a:buFont typeface="Symbol" panose="05050102010706020507" pitchFamily="18" charset="2"/>
              <a:buNone/>
              <a:defRPr sz="2400"/>
            </a:lvl3pPr>
            <a:lvl4pPr marL="0" indent="0">
              <a:spcBef>
                <a:spcPts val="0"/>
              </a:spcBef>
              <a:buFont typeface="Symbol" panose="05050102010706020507" pitchFamily="18" charset="2"/>
              <a:buNone/>
              <a:defRPr sz="2400"/>
            </a:lvl4pPr>
            <a:lvl5pPr marL="0" indent="0">
              <a:spcBef>
                <a:spcPts val="0"/>
              </a:spcBef>
              <a:buFont typeface="Symbol" panose="05050102010706020507" pitchFamily="18" charset="2"/>
              <a:buNone/>
              <a:defRPr sz="2400"/>
            </a:lvl5pPr>
            <a:lvl6pPr marL="0" indent="0">
              <a:spcBef>
                <a:spcPts val="0"/>
              </a:spcBef>
              <a:buFont typeface="Symbol" panose="05050102010706020507" pitchFamily="18" charset="2"/>
              <a:buNone/>
              <a:defRPr sz="2400"/>
            </a:lvl6pPr>
            <a:lvl7pPr marL="0" indent="0">
              <a:spcBef>
                <a:spcPts val="0"/>
              </a:spcBef>
              <a:buFont typeface="Symbol" panose="05050102010706020507" pitchFamily="18" charset="2"/>
              <a:buNone/>
              <a:defRPr sz="2400"/>
            </a:lvl7pPr>
            <a:lvl8pPr marL="0" indent="0">
              <a:spcBef>
                <a:spcPts val="0"/>
              </a:spcBef>
              <a:buFont typeface="Symbol" panose="05050102010706020507" pitchFamily="18" charset="2"/>
              <a:buNone/>
              <a:defRPr sz="2400"/>
            </a:lvl8pPr>
            <a:lvl9pPr marL="0" indent="0">
              <a:spcBef>
                <a:spcPts val="0"/>
              </a:spcBef>
              <a:buFont typeface="Symbol" panose="05050102010706020507" pitchFamily="18" charset="2"/>
              <a:buNone/>
              <a:defRPr sz="2400"/>
            </a:lvl9pPr>
          </a:lstStyle>
          <a:p>
            <a:r>
              <a:rPr lang="en-US" dirty="0"/>
              <a:t>Nunc viverra imperdiet enim Fusce est Vivamus a tellus</a:t>
            </a:r>
          </a:p>
        </p:txBody>
      </p:sp>
      <p:cxnSp>
        <p:nvCxnSpPr>
          <p:cNvPr id="17" name="Gerader Verbinder 16">
            <a:extLst>
              <a:ext uri="{FF2B5EF4-FFF2-40B4-BE49-F238E27FC236}">
                <a16:creationId xmlns:a16="http://schemas.microsoft.com/office/drawing/2014/main" id="{B079DB4D-173A-416B-82DF-B09D43552FE8}"/>
              </a:ext>
            </a:extLst>
          </p:cNvPr>
          <p:cNvCxnSpPr>
            <a:cxnSpLocks/>
          </p:cNvCxnSpPr>
          <p:nvPr/>
        </p:nvCxnSpPr>
        <p:spPr bwMode="gray">
          <a:xfrm>
            <a:off x="10632504" y="1527914"/>
            <a:ext cx="936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3" name="Textplatzhalter 14">
            <a:extLst>
              <a:ext uri="{FF2B5EF4-FFF2-40B4-BE49-F238E27FC236}">
                <a16:creationId xmlns:a16="http://schemas.microsoft.com/office/drawing/2014/main" id="{557F71EE-DCEA-4482-A57B-F7C6140A4703}"/>
              </a:ext>
            </a:extLst>
          </p:cNvPr>
          <p:cNvSpPr txBox="1">
            <a:spLocks/>
          </p:cNvSpPr>
          <p:nvPr/>
        </p:nvSpPr>
        <p:spPr bwMode="gray">
          <a:xfrm>
            <a:off x="6312024" y="3427486"/>
            <a:ext cx="2376000" cy="792000"/>
          </a:xfrm>
          <a:prstGeom prst="rect">
            <a:avLst/>
          </a:prstGeom>
          <a:noFill/>
        </p:spPr>
        <p:txBody>
          <a:bodyPr lIns="0" tIns="0" rIns="0" bIns="0" anchor="b"/>
          <a:lstStyle>
            <a:lvl1pPr marL="0" indent="0" algn="r" defTabSz="914400" rtl="0" eaLnBrk="1" latinLnBrk="0" hangingPunct="1">
              <a:spcBef>
                <a:spcPts val="0"/>
              </a:spcBef>
              <a:buFont typeface="Arial" panose="020B0604020202020204" pitchFamily="34" charset="0"/>
              <a:buNone/>
              <a:defRPr sz="1600" kern="1200">
                <a:solidFill>
                  <a:schemeClr val="accent1"/>
                </a:solidFill>
                <a:latin typeface="DraegerSanTabBol" pitchFamily="2" charset="0"/>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2pPr>
            <a:lvl3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3pPr>
            <a:lvl4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4pPr>
            <a:lvl5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5pPr>
            <a:lvl6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6pPr>
            <a:lvl7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7pPr>
            <a:lvl8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8pPr>
            <a:lvl9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9pPr>
          </a:lstStyle>
          <a:p>
            <a:pPr algn="l"/>
            <a:r>
              <a:rPr lang="en-US" dirty="0">
                <a:solidFill>
                  <a:schemeClr val="accent5"/>
                </a:solidFill>
                <a:latin typeface="+mj-lt"/>
              </a:rPr>
              <a:t>Item </a:t>
            </a:r>
            <a:r>
              <a:rPr lang="en-US" sz="6000" dirty="0">
                <a:solidFill>
                  <a:schemeClr val="accent5"/>
                </a:solidFill>
                <a:latin typeface="+mj-lt"/>
              </a:rPr>
              <a:t>05</a:t>
            </a:r>
          </a:p>
        </p:txBody>
      </p:sp>
      <p:sp>
        <p:nvSpPr>
          <p:cNvPr id="24" name="Textplatzhalter 21">
            <a:extLst>
              <a:ext uri="{FF2B5EF4-FFF2-40B4-BE49-F238E27FC236}">
                <a16:creationId xmlns:a16="http://schemas.microsoft.com/office/drawing/2014/main" id="{88A6F4B4-7302-43BC-92EA-BD9CBD156E2E}"/>
              </a:ext>
            </a:extLst>
          </p:cNvPr>
          <p:cNvSpPr txBox="1">
            <a:spLocks/>
          </p:cNvSpPr>
          <p:nvPr/>
        </p:nvSpPr>
        <p:spPr bwMode="gray">
          <a:xfrm>
            <a:off x="6312024" y="4293192"/>
            <a:ext cx="2376000" cy="1368000"/>
          </a:xfrm>
          <a:prstGeom prst="rect">
            <a:avLst/>
          </a:prstGeom>
        </p:spPr>
        <p:txBody>
          <a:bodyPr lIns="0" tIns="0" rIns="0" bIns="0"/>
          <a:lstStyle>
            <a:defPPr>
              <a:defRPr lang="de-DE"/>
            </a:defPPr>
            <a:lvl1pPr indent="0">
              <a:spcBef>
                <a:spcPts val="0"/>
              </a:spcBef>
              <a:buFont typeface="Arial" panose="020B0604020202020204" pitchFamily="34" charset="0"/>
              <a:buNone/>
            </a:lvl1pPr>
            <a:lvl2pPr marL="0" indent="0">
              <a:spcBef>
                <a:spcPts val="0"/>
              </a:spcBef>
              <a:buFont typeface="Arial" panose="020B0604020202020204" pitchFamily="34" charset="0"/>
              <a:buNone/>
              <a:defRPr sz="2400"/>
            </a:lvl2pPr>
            <a:lvl3pPr marL="0" indent="0">
              <a:spcBef>
                <a:spcPts val="0"/>
              </a:spcBef>
              <a:buFont typeface="Symbol" panose="05050102010706020507" pitchFamily="18" charset="2"/>
              <a:buNone/>
              <a:defRPr sz="2400"/>
            </a:lvl3pPr>
            <a:lvl4pPr marL="0" indent="0">
              <a:spcBef>
                <a:spcPts val="0"/>
              </a:spcBef>
              <a:buFont typeface="Symbol" panose="05050102010706020507" pitchFamily="18" charset="2"/>
              <a:buNone/>
              <a:defRPr sz="2400"/>
            </a:lvl4pPr>
            <a:lvl5pPr marL="0" indent="0">
              <a:spcBef>
                <a:spcPts val="0"/>
              </a:spcBef>
              <a:buFont typeface="Symbol" panose="05050102010706020507" pitchFamily="18" charset="2"/>
              <a:buNone/>
              <a:defRPr sz="2400"/>
            </a:lvl5pPr>
            <a:lvl6pPr marL="0" indent="0">
              <a:spcBef>
                <a:spcPts val="0"/>
              </a:spcBef>
              <a:buFont typeface="Symbol" panose="05050102010706020507" pitchFamily="18" charset="2"/>
              <a:buNone/>
              <a:defRPr sz="2400"/>
            </a:lvl6pPr>
            <a:lvl7pPr marL="0" indent="0">
              <a:spcBef>
                <a:spcPts val="0"/>
              </a:spcBef>
              <a:buFont typeface="Symbol" panose="05050102010706020507" pitchFamily="18" charset="2"/>
              <a:buNone/>
              <a:defRPr sz="2400"/>
            </a:lvl7pPr>
            <a:lvl8pPr marL="0" indent="0">
              <a:spcBef>
                <a:spcPts val="0"/>
              </a:spcBef>
              <a:buFont typeface="Symbol" panose="05050102010706020507" pitchFamily="18" charset="2"/>
              <a:buNone/>
              <a:defRPr sz="2400"/>
            </a:lvl8pPr>
            <a:lvl9pPr marL="0" indent="0">
              <a:spcBef>
                <a:spcPts val="0"/>
              </a:spcBef>
              <a:buFont typeface="Symbol" panose="05050102010706020507" pitchFamily="18" charset="2"/>
              <a:buNone/>
              <a:defRPr sz="2400"/>
            </a:lvl9pPr>
          </a:lstStyle>
          <a:p>
            <a:r>
              <a:rPr lang="en-US" dirty="0"/>
              <a:t>Ultricies, purus lectus malesuada libero, sit amet commodo magna eros quis </a:t>
            </a:r>
          </a:p>
        </p:txBody>
      </p:sp>
      <p:cxnSp>
        <p:nvCxnSpPr>
          <p:cNvPr id="25" name="Gerader Verbinder 24">
            <a:extLst>
              <a:ext uri="{FF2B5EF4-FFF2-40B4-BE49-F238E27FC236}">
                <a16:creationId xmlns:a16="http://schemas.microsoft.com/office/drawing/2014/main" id="{56B901E1-5FE4-405E-B3E2-B2FCEF57276E}"/>
              </a:ext>
            </a:extLst>
          </p:cNvPr>
          <p:cNvCxnSpPr>
            <a:cxnSpLocks/>
          </p:cNvCxnSpPr>
          <p:nvPr/>
        </p:nvCxnSpPr>
        <p:spPr bwMode="gray">
          <a:xfrm>
            <a:off x="7824192" y="4003462"/>
            <a:ext cx="86422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7" name="Textplatzhalter 14">
            <a:extLst>
              <a:ext uri="{FF2B5EF4-FFF2-40B4-BE49-F238E27FC236}">
                <a16:creationId xmlns:a16="http://schemas.microsoft.com/office/drawing/2014/main" id="{78B13034-854C-4FB3-A13F-D6E42A011B26}"/>
              </a:ext>
            </a:extLst>
          </p:cNvPr>
          <p:cNvSpPr txBox="1">
            <a:spLocks/>
          </p:cNvSpPr>
          <p:nvPr/>
        </p:nvSpPr>
        <p:spPr bwMode="gray">
          <a:xfrm>
            <a:off x="9120336" y="3427398"/>
            <a:ext cx="2376000" cy="792000"/>
          </a:xfrm>
          <a:prstGeom prst="rect">
            <a:avLst/>
          </a:prstGeom>
          <a:noFill/>
        </p:spPr>
        <p:txBody>
          <a:bodyPr lIns="0" tIns="0" rIns="0" bIns="0" anchor="b"/>
          <a:lstStyle>
            <a:lvl1pPr marL="0" indent="0" algn="r" defTabSz="914400" rtl="0" eaLnBrk="1" latinLnBrk="0" hangingPunct="1">
              <a:spcBef>
                <a:spcPts val="0"/>
              </a:spcBef>
              <a:buFont typeface="Arial" panose="020B0604020202020204" pitchFamily="34" charset="0"/>
              <a:buNone/>
              <a:defRPr sz="1600" kern="1200">
                <a:solidFill>
                  <a:schemeClr val="accent1"/>
                </a:solidFill>
                <a:latin typeface="DraegerSanTabBol" pitchFamily="2" charset="0"/>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2pPr>
            <a:lvl3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3pPr>
            <a:lvl4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4pPr>
            <a:lvl5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5pPr>
            <a:lvl6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6pPr>
            <a:lvl7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7pPr>
            <a:lvl8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8pPr>
            <a:lvl9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9pPr>
          </a:lstStyle>
          <a:p>
            <a:pPr algn="l"/>
            <a:r>
              <a:rPr lang="en-US" dirty="0">
                <a:solidFill>
                  <a:schemeClr val="accent5"/>
                </a:solidFill>
                <a:latin typeface="+mj-lt"/>
              </a:rPr>
              <a:t>Item </a:t>
            </a:r>
            <a:r>
              <a:rPr lang="en-US" sz="6000" dirty="0">
                <a:solidFill>
                  <a:schemeClr val="accent5"/>
                </a:solidFill>
                <a:latin typeface="+mj-lt"/>
              </a:rPr>
              <a:t>06</a:t>
            </a:r>
          </a:p>
        </p:txBody>
      </p:sp>
      <p:sp>
        <p:nvSpPr>
          <p:cNvPr id="28" name="Textplatzhalter 21">
            <a:extLst>
              <a:ext uri="{FF2B5EF4-FFF2-40B4-BE49-F238E27FC236}">
                <a16:creationId xmlns:a16="http://schemas.microsoft.com/office/drawing/2014/main" id="{AEBB4AAA-9249-4398-B22E-6EDDC61192B5}"/>
              </a:ext>
            </a:extLst>
          </p:cNvPr>
          <p:cNvSpPr txBox="1">
            <a:spLocks/>
          </p:cNvSpPr>
          <p:nvPr/>
        </p:nvSpPr>
        <p:spPr bwMode="gray">
          <a:xfrm>
            <a:off x="9120335" y="4293192"/>
            <a:ext cx="2447777" cy="1368000"/>
          </a:xfrm>
          <a:prstGeom prst="rect">
            <a:avLst/>
          </a:prstGeom>
        </p:spPr>
        <p:txBody>
          <a:bodyPr lIns="0" tIns="0" rIns="0" bIns="0"/>
          <a:lstStyle>
            <a:defPPr>
              <a:defRPr lang="de-DE"/>
            </a:defPPr>
            <a:lvl1pPr indent="0">
              <a:spcBef>
                <a:spcPts val="0"/>
              </a:spcBef>
              <a:buFont typeface="Arial" panose="020B0604020202020204" pitchFamily="34" charset="0"/>
              <a:buNone/>
            </a:lvl1pPr>
            <a:lvl2pPr marL="0" indent="0">
              <a:spcBef>
                <a:spcPts val="0"/>
              </a:spcBef>
              <a:buFont typeface="Arial" panose="020B0604020202020204" pitchFamily="34" charset="0"/>
              <a:buNone/>
              <a:defRPr sz="2400"/>
            </a:lvl2pPr>
            <a:lvl3pPr marL="0" indent="0">
              <a:spcBef>
                <a:spcPts val="0"/>
              </a:spcBef>
              <a:buFont typeface="Symbol" panose="05050102010706020507" pitchFamily="18" charset="2"/>
              <a:buNone/>
              <a:defRPr sz="2400"/>
            </a:lvl3pPr>
            <a:lvl4pPr marL="0" indent="0">
              <a:spcBef>
                <a:spcPts val="0"/>
              </a:spcBef>
              <a:buFont typeface="Symbol" panose="05050102010706020507" pitchFamily="18" charset="2"/>
              <a:buNone/>
              <a:defRPr sz="2400"/>
            </a:lvl4pPr>
            <a:lvl5pPr marL="0" indent="0">
              <a:spcBef>
                <a:spcPts val="0"/>
              </a:spcBef>
              <a:buFont typeface="Symbol" panose="05050102010706020507" pitchFamily="18" charset="2"/>
              <a:buNone/>
              <a:defRPr sz="2400"/>
            </a:lvl5pPr>
            <a:lvl6pPr marL="0" indent="0">
              <a:spcBef>
                <a:spcPts val="0"/>
              </a:spcBef>
              <a:buFont typeface="Symbol" panose="05050102010706020507" pitchFamily="18" charset="2"/>
              <a:buNone/>
              <a:defRPr sz="2400"/>
            </a:lvl6pPr>
            <a:lvl7pPr marL="0" indent="0">
              <a:spcBef>
                <a:spcPts val="0"/>
              </a:spcBef>
              <a:buFont typeface="Symbol" panose="05050102010706020507" pitchFamily="18" charset="2"/>
              <a:buNone/>
              <a:defRPr sz="2400"/>
            </a:lvl7pPr>
            <a:lvl8pPr marL="0" indent="0">
              <a:spcBef>
                <a:spcPts val="0"/>
              </a:spcBef>
              <a:buFont typeface="Symbol" panose="05050102010706020507" pitchFamily="18" charset="2"/>
              <a:buNone/>
              <a:defRPr sz="2400"/>
            </a:lvl8pPr>
            <a:lvl9pPr marL="0" indent="0">
              <a:spcBef>
                <a:spcPts val="0"/>
              </a:spcBef>
              <a:buFont typeface="Symbol" panose="05050102010706020507" pitchFamily="18" charset="2"/>
              <a:buNone/>
              <a:defRPr sz="2400"/>
            </a:lvl9pPr>
          </a:lstStyle>
          <a:p>
            <a:r>
              <a:rPr lang="en-US" dirty="0"/>
              <a:t>Nunc viverra imperdiet enim Fusce est Vivamus a tellus</a:t>
            </a:r>
          </a:p>
        </p:txBody>
      </p:sp>
      <p:cxnSp>
        <p:nvCxnSpPr>
          <p:cNvPr id="29" name="Gerader Verbinder 28">
            <a:extLst>
              <a:ext uri="{FF2B5EF4-FFF2-40B4-BE49-F238E27FC236}">
                <a16:creationId xmlns:a16="http://schemas.microsoft.com/office/drawing/2014/main" id="{0BC3955A-7AF2-4C73-A17C-AC543B3D4F76}"/>
              </a:ext>
            </a:extLst>
          </p:cNvPr>
          <p:cNvCxnSpPr>
            <a:cxnSpLocks/>
          </p:cNvCxnSpPr>
          <p:nvPr/>
        </p:nvCxnSpPr>
        <p:spPr bwMode="gray">
          <a:xfrm>
            <a:off x="10632504" y="4046592"/>
            <a:ext cx="936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Fußzeilenplatzhalter 11">
            <a:extLst>
              <a:ext uri="{FF2B5EF4-FFF2-40B4-BE49-F238E27FC236}">
                <a16:creationId xmlns:a16="http://schemas.microsoft.com/office/drawing/2014/main" id="{0BD98956-E371-47A7-AB8C-748BEA052027}"/>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01094C50-2A16-43E3-AC54-8EEC857CCC79}"/>
              </a:ext>
            </a:extLst>
          </p:cNvPr>
          <p:cNvSpPr>
            <a:spLocks noGrp="1"/>
          </p:cNvSpPr>
          <p:nvPr>
            <p:ph type="sldNum" sz="quarter" idx="12"/>
          </p:nvPr>
        </p:nvSpPr>
        <p:spPr/>
        <p:txBody>
          <a:bodyPr/>
          <a:lstStyle/>
          <a:p>
            <a:fld id="{CE82B8A1-0CCE-4815-9668-383D7DE7D8B4}" type="slidenum">
              <a:rPr lang="en-US" smtClean="0"/>
              <a:t>53</a:t>
            </a:fld>
            <a:endParaRPr lang="en-US" dirty="0"/>
          </a:p>
        </p:txBody>
      </p:sp>
    </p:spTree>
    <p:extLst>
      <p:ext uri="{BB962C8B-B14F-4D97-AF65-F5344CB8AC3E}">
        <p14:creationId xmlns:p14="http://schemas.microsoft.com/office/powerpoint/2010/main" val="51730950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dplatzhalter 17">
            <a:extLst>
              <a:ext uri="{FF2B5EF4-FFF2-40B4-BE49-F238E27FC236}">
                <a16:creationId xmlns:a16="http://schemas.microsoft.com/office/drawing/2014/main" id="{9217CF57-67DE-4E61-AF46-47A18DD3828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432" t="17593" r="3219" b="12024"/>
          <a:stretch/>
        </p:blipFill>
        <p:spPr bwMode="gray">
          <a:xfrm>
            <a:off x="6096000" y="2924051"/>
            <a:ext cx="2664296" cy="1152327"/>
          </a:xfrm>
          <a:prstGeom prst="rect">
            <a:avLst/>
          </a:prstGeom>
        </p:spPr>
      </p:pic>
      <p:sp>
        <p:nvSpPr>
          <p:cNvPr id="4" name="Titel 1">
            <a:extLst>
              <a:ext uri="{FF2B5EF4-FFF2-40B4-BE49-F238E27FC236}">
                <a16:creationId xmlns:a16="http://schemas.microsoft.com/office/drawing/2014/main" id="{A1F49F17-7C29-4D43-8092-E8388950143F}"/>
              </a:ext>
            </a:extLst>
          </p:cNvPr>
          <p:cNvSpPr txBox="1">
            <a:spLocks/>
          </p:cNvSpPr>
          <p:nvPr/>
        </p:nvSpPr>
        <p:spPr bwMode="gray">
          <a:xfrm>
            <a:off x="623393" y="332656"/>
            <a:ext cx="5328145" cy="1800104"/>
          </a:xfrm>
          <a:prstGeom prst="rect">
            <a:avLst/>
          </a:prstGeom>
        </p:spPr>
        <p:txBody>
          <a:bodyPr vert="horz" lIns="0" tIns="0" rIns="0" bIns="0" rtlCol="0" anchor="b">
            <a:noAutofit/>
          </a:bodyPr>
          <a:lstStyle>
            <a:lvl1pPr algn="l" defTabSz="914400" rtl="0" eaLnBrk="1" latinLnBrk="0" hangingPunct="1">
              <a:lnSpc>
                <a:spcPct val="80000"/>
              </a:lnSpc>
              <a:spcBef>
                <a:spcPct val="0"/>
              </a:spcBef>
              <a:buNone/>
              <a:defRPr sz="6000" kern="1200" cap="none" baseline="0">
                <a:solidFill>
                  <a:schemeClr val="accent1"/>
                </a:solidFill>
                <a:latin typeface="+mj-lt"/>
                <a:ea typeface="+mj-ea"/>
                <a:cs typeface="+mj-cs"/>
              </a:defRPr>
            </a:lvl1pPr>
          </a:lstStyle>
          <a:p>
            <a:r>
              <a:rPr lang="en-US" dirty="0"/>
              <a:t>Agenda with nine items</a:t>
            </a:r>
          </a:p>
        </p:txBody>
      </p:sp>
      <p:sp>
        <p:nvSpPr>
          <p:cNvPr id="5" name="Textplatzhalter 14">
            <a:extLst>
              <a:ext uri="{FF2B5EF4-FFF2-40B4-BE49-F238E27FC236}">
                <a16:creationId xmlns:a16="http://schemas.microsoft.com/office/drawing/2014/main" id="{CCAF56E6-673A-4130-9799-753F40F48E6B}"/>
              </a:ext>
            </a:extLst>
          </p:cNvPr>
          <p:cNvSpPr txBox="1">
            <a:spLocks/>
          </p:cNvSpPr>
          <p:nvPr/>
        </p:nvSpPr>
        <p:spPr bwMode="gray">
          <a:xfrm>
            <a:off x="9120188" y="331763"/>
            <a:ext cx="2447925" cy="288925"/>
          </a:xfrm>
          <a:prstGeom prst="rect">
            <a:avLst/>
          </a:prstGeom>
        </p:spPr>
        <p:txBody>
          <a:bodyPr lIns="0" rIns="0"/>
          <a:lstStyle>
            <a:defPPr>
              <a:defRPr lang="de-DE"/>
            </a:defPPr>
            <a:lvl1pPr indent="0">
              <a:spcBef>
                <a:spcPts val="0"/>
              </a:spcBef>
              <a:buFont typeface="Arial" panose="020B0604020202020204" pitchFamily="34" charset="0"/>
              <a:buNone/>
              <a:defRPr sz="1600">
                <a:solidFill>
                  <a:schemeClr val="accent5"/>
                </a:solidFill>
                <a:latin typeface="+mj-lt"/>
              </a:defRPr>
            </a:lvl1pPr>
            <a:lvl2pPr marL="0" indent="0">
              <a:spcBef>
                <a:spcPts val="0"/>
              </a:spcBef>
              <a:buFont typeface="Arial" panose="020B0604020202020204" pitchFamily="34" charset="0"/>
              <a:buNone/>
              <a:defRPr sz="1600">
                <a:latin typeface="+mj-lt"/>
              </a:defRPr>
            </a:lvl2pPr>
            <a:lvl3pPr marL="0" indent="0">
              <a:spcBef>
                <a:spcPts val="0"/>
              </a:spcBef>
              <a:buFont typeface="Symbol" panose="05050102010706020507" pitchFamily="18" charset="2"/>
              <a:buNone/>
              <a:defRPr sz="1600">
                <a:latin typeface="+mj-lt"/>
              </a:defRPr>
            </a:lvl3pPr>
            <a:lvl4pPr marL="0" indent="0">
              <a:spcBef>
                <a:spcPts val="0"/>
              </a:spcBef>
              <a:buFont typeface="Symbol" panose="05050102010706020507" pitchFamily="18" charset="2"/>
              <a:buNone/>
              <a:defRPr sz="1600">
                <a:latin typeface="+mj-lt"/>
              </a:defRPr>
            </a:lvl4pPr>
            <a:lvl5pPr marL="0" indent="0">
              <a:spcBef>
                <a:spcPts val="0"/>
              </a:spcBef>
              <a:buFont typeface="Symbol" panose="05050102010706020507" pitchFamily="18" charset="2"/>
              <a:buNone/>
              <a:defRPr sz="1600">
                <a:latin typeface="+mj-lt"/>
              </a:defRPr>
            </a:lvl5pPr>
            <a:lvl6pPr marL="0" indent="0">
              <a:spcBef>
                <a:spcPts val="0"/>
              </a:spcBef>
              <a:buFont typeface="Symbol" panose="05050102010706020507" pitchFamily="18" charset="2"/>
              <a:buNone/>
              <a:defRPr sz="1600">
                <a:latin typeface="+mj-lt"/>
              </a:defRPr>
            </a:lvl6pPr>
            <a:lvl7pPr marL="0" indent="0">
              <a:spcBef>
                <a:spcPts val="0"/>
              </a:spcBef>
              <a:buFont typeface="Symbol" panose="05050102010706020507" pitchFamily="18" charset="2"/>
              <a:buNone/>
              <a:defRPr sz="1600">
                <a:latin typeface="+mj-lt"/>
              </a:defRPr>
            </a:lvl7pPr>
            <a:lvl8pPr marL="0" indent="0">
              <a:spcBef>
                <a:spcPts val="0"/>
              </a:spcBef>
              <a:buFont typeface="Symbol" panose="05050102010706020507" pitchFamily="18" charset="2"/>
              <a:buNone/>
              <a:defRPr sz="1600">
                <a:latin typeface="+mj-lt"/>
              </a:defRPr>
            </a:lvl8pPr>
            <a:lvl9pPr marL="0" indent="0">
              <a:spcBef>
                <a:spcPts val="0"/>
              </a:spcBef>
              <a:buFont typeface="Symbol" panose="05050102010706020507" pitchFamily="18" charset="2"/>
              <a:buNone/>
              <a:defRPr sz="1600">
                <a:latin typeface="+mj-lt"/>
              </a:defRPr>
            </a:lvl9pPr>
          </a:lstStyle>
          <a:p>
            <a:r>
              <a:rPr lang="en-US" dirty="0"/>
              <a:t>Item 05</a:t>
            </a:r>
          </a:p>
        </p:txBody>
      </p:sp>
      <p:sp>
        <p:nvSpPr>
          <p:cNvPr id="6" name="Textplatzhalter 21">
            <a:extLst>
              <a:ext uri="{FF2B5EF4-FFF2-40B4-BE49-F238E27FC236}">
                <a16:creationId xmlns:a16="http://schemas.microsoft.com/office/drawing/2014/main" id="{4FC5C189-5131-45D1-8E0F-DA0ED9151401}"/>
              </a:ext>
            </a:extLst>
          </p:cNvPr>
          <p:cNvSpPr txBox="1">
            <a:spLocks/>
          </p:cNvSpPr>
          <p:nvPr/>
        </p:nvSpPr>
        <p:spPr bwMode="gray">
          <a:xfrm>
            <a:off x="9120188" y="692784"/>
            <a:ext cx="2447925" cy="792000"/>
          </a:xfrm>
          <a:prstGeom prst="rect">
            <a:avLst/>
          </a:prstGeom>
        </p:spPr>
        <p:txBody>
          <a:bodyPr lIns="0" tIns="0" rIns="0" bIns="0"/>
          <a:lstStyle>
            <a:lvl1pPr marL="0" indent="0" algn="r" defTabSz="914400" rtl="0" eaLnBrk="1" latinLnBrk="0" hangingPunct="1">
              <a:spcBef>
                <a:spcPts val="0"/>
              </a:spcBef>
              <a:buFont typeface="Arial" panose="020B0604020202020204" pitchFamily="34" charset="0"/>
              <a:buNone/>
              <a:defRPr sz="2400" kern="1200">
                <a:solidFill>
                  <a:schemeClr val="tx1"/>
                </a:solidFill>
                <a:latin typeface="+mn-lt"/>
                <a:ea typeface="+mn-ea"/>
                <a:cs typeface="+mn-cs"/>
              </a:defRPr>
            </a:lvl1pPr>
            <a:lvl2pPr marL="0" indent="0" algn="l" defTabSz="914400" rtl="0" eaLnBrk="1" latinLnBrk="0" hangingPunct="1">
              <a:spcBef>
                <a:spcPts val="0"/>
              </a:spcBef>
              <a:buFont typeface="Arial" panose="020B0604020202020204" pitchFamily="34" charset="0"/>
              <a:buNone/>
              <a:defRPr sz="2400" kern="1200">
                <a:solidFill>
                  <a:schemeClr val="tx1"/>
                </a:solidFill>
                <a:latin typeface="+mn-lt"/>
                <a:ea typeface="+mn-ea"/>
                <a:cs typeface="+mn-cs"/>
              </a:defRPr>
            </a:lvl2pPr>
            <a:lvl3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3pPr>
            <a:lvl4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4pPr>
            <a:lvl5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5pPr>
            <a:lvl6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6pPr>
            <a:lvl7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7pPr>
            <a:lvl8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8pPr>
            <a:lvl9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9pPr>
          </a:lstStyle>
          <a:p>
            <a:pPr algn="l"/>
            <a:r>
              <a:rPr lang="en-US" sz="1800" dirty="0"/>
              <a:t>Nunc viverra imperdiet enim. Fusce est. Vivamus</a:t>
            </a:r>
            <a:br>
              <a:rPr lang="en-US" sz="1800" dirty="0"/>
            </a:br>
            <a:r>
              <a:rPr lang="en-US" sz="1800" dirty="0"/>
              <a:t>a tellus.</a:t>
            </a:r>
          </a:p>
        </p:txBody>
      </p:sp>
      <p:pic>
        <p:nvPicPr>
          <p:cNvPr id="9" name="Bildplatzhalter 17">
            <a:extLst>
              <a:ext uri="{FF2B5EF4-FFF2-40B4-BE49-F238E27FC236}">
                <a16:creationId xmlns:a16="http://schemas.microsoft.com/office/drawing/2014/main" id="{91567BC4-7948-4C35-9B7A-E601D207F607}"/>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084" t="12543" r="3287" b="7890"/>
          <a:stretch/>
        </p:blipFill>
        <p:spPr bwMode="gray">
          <a:xfrm>
            <a:off x="191344" y="2420888"/>
            <a:ext cx="5760640" cy="2808312"/>
          </a:xfrm>
          <a:prstGeom prst="rect">
            <a:avLst/>
          </a:prstGeom>
        </p:spPr>
      </p:pic>
      <p:sp>
        <p:nvSpPr>
          <p:cNvPr id="14" name="Textplatzhalter 14">
            <a:extLst>
              <a:ext uri="{FF2B5EF4-FFF2-40B4-BE49-F238E27FC236}">
                <a16:creationId xmlns:a16="http://schemas.microsoft.com/office/drawing/2014/main" id="{1888D4D3-F51A-49C9-BAAE-E2AE6F7E344A}"/>
              </a:ext>
            </a:extLst>
          </p:cNvPr>
          <p:cNvSpPr txBox="1">
            <a:spLocks/>
          </p:cNvSpPr>
          <p:nvPr/>
        </p:nvSpPr>
        <p:spPr bwMode="gray">
          <a:xfrm>
            <a:off x="9120188" y="1627907"/>
            <a:ext cx="2447925" cy="288925"/>
          </a:xfrm>
          <a:prstGeom prst="rect">
            <a:avLst/>
          </a:prstGeom>
        </p:spPr>
        <p:txBody>
          <a:bodyPr lIns="0" rIns="0"/>
          <a:lstStyle>
            <a:defPPr>
              <a:defRPr lang="de-DE"/>
            </a:defPPr>
            <a:lvl1pPr indent="0">
              <a:spcBef>
                <a:spcPts val="0"/>
              </a:spcBef>
              <a:buFont typeface="Arial" panose="020B0604020202020204" pitchFamily="34" charset="0"/>
              <a:buNone/>
              <a:defRPr sz="1600">
                <a:solidFill>
                  <a:schemeClr val="accent5"/>
                </a:solidFill>
                <a:latin typeface="+mj-lt"/>
              </a:defRPr>
            </a:lvl1pPr>
            <a:lvl2pPr marL="0" indent="0">
              <a:spcBef>
                <a:spcPts val="0"/>
              </a:spcBef>
              <a:buFont typeface="Arial" panose="020B0604020202020204" pitchFamily="34" charset="0"/>
              <a:buNone/>
              <a:defRPr sz="1600">
                <a:latin typeface="+mj-lt"/>
              </a:defRPr>
            </a:lvl2pPr>
            <a:lvl3pPr marL="0" indent="0">
              <a:spcBef>
                <a:spcPts val="0"/>
              </a:spcBef>
              <a:buFont typeface="Symbol" panose="05050102010706020507" pitchFamily="18" charset="2"/>
              <a:buNone/>
              <a:defRPr sz="1600">
                <a:latin typeface="+mj-lt"/>
              </a:defRPr>
            </a:lvl3pPr>
            <a:lvl4pPr marL="0" indent="0">
              <a:spcBef>
                <a:spcPts val="0"/>
              </a:spcBef>
              <a:buFont typeface="Symbol" panose="05050102010706020507" pitchFamily="18" charset="2"/>
              <a:buNone/>
              <a:defRPr sz="1600">
                <a:latin typeface="+mj-lt"/>
              </a:defRPr>
            </a:lvl4pPr>
            <a:lvl5pPr marL="0" indent="0">
              <a:spcBef>
                <a:spcPts val="0"/>
              </a:spcBef>
              <a:buFont typeface="Symbol" panose="05050102010706020507" pitchFamily="18" charset="2"/>
              <a:buNone/>
              <a:defRPr sz="1600">
                <a:latin typeface="+mj-lt"/>
              </a:defRPr>
            </a:lvl5pPr>
            <a:lvl6pPr marL="0" indent="0">
              <a:spcBef>
                <a:spcPts val="0"/>
              </a:spcBef>
              <a:buFont typeface="Symbol" panose="05050102010706020507" pitchFamily="18" charset="2"/>
              <a:buNone/>
              <a:defRPr sz="1600">
                <a:latin typeface="+mj-lt"/>
              </a:defRPr>
            </a:lvl6pPr>
            <a:lvl7pPr marL="0" indent="0">
              <a:spcBef>
                <a:spcPts val="0"/>
              </a:spcBef>
              <a:buFont typeface="Symbol" panose="05050102010706020507" pitchFamily="18" charset="2"/>
              <a:buNone/>
              <a:defRPr sz="1600">
                <a:latin typeface="+mj-lt"/>
              </a:defRPr>
            </a:lvl7pPr>
            <a:lvl8pPr marL="0" indent="0">
              <a:spcBef>
                <a:spcPts val="0"/>
              </a:spcBef>
              <a:buFont typeface="Symbol" panose="05050102010706020507" pitchFamily="18" charset="2"/>
              <a:buNone/>
              <a:defRPr sz="1600">
                <a:latin typeface="+mj-lt"/>
              </a:defRPr>
            </a:lvl8pPr>
            <a:lvl9pPr marL="0" indent="0">
              <a:spcBef>
                <a:spcPts val="0"/>
              </a:spcBef>
              <a:buFont typeface="Symbol" panose="05050102010706020507" pitchFamily="18" charset="2"/>
              <a:buNone/>
              <a:defRPr sz="1600">
                <a:latin typeface="+mj-lt"/>
              </a:defRPr>
            </a:lvl9pPr>
          </a:lstStyle>
          <a:p>
            <a:r>
              <a:rPr lang="en-US" dirty="0"/>
              <a:t>Item 06</a:t>
            </a:r>
          </a:p>
        </p:txBody>
      </p:sp>
      <p:sp>
        <p:nvSpPr>
          <p:cNvPr id="15" name="Textplatzhalter 21">
            <a:extLst>
              <a:ext uri="{FF2B5EF4-FFF2-40B4-BE49-F238E27FC236}">
                <a16:creationId xmlns:a16="http://schemas.microsoft.com/office/drawing/2014/main" id="{FEAF2495-483F-497C-8E43-0FF4B61E0E28}"/>
              </a:ext>
            </a:extLst>
          </p:cNvPr>
          <p:cNvSpPr txBox="1">
            <a:spLocks/>
          </p:cNvSpPr>
          <p:nvPr/>
        </p:nvSpPr>
        <p:spPr bwMode="gray">
          <a:xfrm>
            <a:off x="9120188" y="1988928"/>
            <a:ext cx="2447925" cy="792000"/>
          </a:xfrm>
          <a:prstGeom prst="rect">
            <a:avLst/>
          </a:prstGeom>
        </p:spPr>
        <p:txBody>
          <a:bodyPr lIns="0" tIns="0" rIns="0" bIns="0"/>
          <a:lstStyle>
            <a:lvl1pPr marL="0" indent="0" algn="r" defTabSz="914400" rtl="0" eaLnBrk="1" latinLnBrk="0" hangingPunct="1">
              <a:spcBef>
                <a:spcPts val="0"/>
              </a:spcBef>
              <a:buFont typeface="Arial" panose="020B0604020202020204" pitchFamily="34" charset="0"/>
              <a:buNone/>
              <a:defRPr sz="2400" kern="1200">
                <a:solidFill>
                  <a:schemeClr val="tx1"/>
                </a:solidFill>
                <a:latin typeface="+mn-lt"/>
                <a:ea typeface="+mn-ea"/>
                <a:cs typeface="+mn-cs"/>
              </a:defRPr>
            </a:lvl1pPr>
            <a:lvl2pPr marL="0" indent="0" algn="l" defTabSz="914400" rtl="0" eaLnBrk="1" latinLnBrk="0" hangingPunct="1">
              <a:spcBef>
                <a:spcPts val="0"/>
              </a:spcBef>
              <a:buFont typeface="Arial" panose="020B0604020202020204" pitchFamily="34" charset="0"/>
              <a:buNone/>
              <a:defRPr sz="2400" kern="1200">
                <a:solidFill>
                  <a:schemeClr val="tx1"/>
                </a:solidFill>
                <a:latin typeface="+mn-lt"/>
                <a:ea typeface="+mn-ea"/>
                <a:cs typeface="+mn-cs"/>
              </a:defRPr>
            </a:lvl2pPr>
            <a:lvl3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3pPr>
            <a:lvl4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4pPr>
            <a:lvl5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5pPr>
            <a:lvl6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6pPr>
            <a:lvl7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7pPr>
            <a:lvl8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8pPr>
            <a:lvl9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9pPr>
          </a:lstStyle>
          <a:p>
            <a:pPr algn="l"/>
            <a:r>
              <a:rPr lang="en-US" sz="1800" dirty="0"/>
              <a:t>Fusce posuere, magna sed pulvinar ultricies, purus lectus malesuada libero</a:t>
            </a:r>
          </a:p>
        </p:txBody>
      </p:sp>
      <p:sp>
        <p:nvSpPr>
          <p:cNvPr id="28" name="Textplatzhalter 14">
            <a:extLst>
              <a:ext uri="{FF2B5EF4-FFF2-40B4-BE49-F238E27FC236}">
                <a16:creationId xmlns:a16="http://schemas.microsoft.com/office/drawing/2014/main" id="{0D5F855D-A949-41C9-8304-293FF218B461}"/>
              </a:ext>
            </a:extLst>
          </p:cNvPr>
          <p:cNvSpPr txBox="1">
            <a:spLocks/>
          </p:cNvSpPr>
          <p:nvPr/>
        </p:nvSpPr>
        <p:spPr bwMode="gray">
          <a:xfrm>
            <a:off x="9120188" y="2924051"/>
            <a:ext cx="2447925" cy="288925"/>
          </a:xfrm>
          <a:prstGeom prst="rect">
            <a:avLst/>
          </a:prstGeom>
        </p:spPr>
        <p:txBody>
          <a:bodyPr lIns="0" rIns="0"/>
          <a:lstStyle>
            <a:defPPr>
              <a:defRPr lang="de-DE"/>
            </a:defPPr>
            <a:lvl1pPr indent="0">
              <a:spcBef>
                <a:spcPts val="0"/>
              </a:spcBef>
              <a:buFont typeface="Arial" panose="020B0604020202020204" pitchFamily="34" charset="0"/>
              <a:buNone/>
              <a:defRPr sz="1600">
                <a:solidFill>
                  <a:schemeClr val="accent5"/>
                </a:solidFill>
                <a:latin typeface="+mj-lt"/>
              </a:defRPr>
            </a:lvl1pPr>
            <a:lvl2pPr marL="0" indent="0">
              <a:spcBef>
                <a:spcPts val="0"/>
              </a:spcBef>
              <a:buFont typeface="Arial" panose="020B0604020202020204" pitchFamily="34" charset="0"/>
              <a:buNone/>
              <a:defRPr sz="1600">
                <a:latin typeface="+mj-lt"/>
              </a:defRPr>
            </a:lvl2pPr>
            <a:lvl3pPr marL="0" indent="0">
              <a:spcBef>
                <a:spcPts val="0"/>
              </a:spcBef>
              <a:buFont typeface="Symbol" panose="05050102010706020507" pitchFamily="18" charset="2"/>
              <a:buNone/>
              <a:defRPr sz="1600">
                <a:latin typeface="+mj-lt"/>
              </a:defRPr>
            </a:lvl3pPr>
            <a:lvl4pPr marL="0" indent="0">
              <a:spcBef>
                <a:spcPts val="0"/>
              </a:spcBef>
              <a:buFont typeface="Symbol" panose="05050102010706020507" pitchFamily="18" charset="2"/>
              <a:buNone/>
              <a:defRPr sz="1600">
                <a:latin typeface="+mj-lt"/>
              </a:defRPr>
            </a:lvl4pPr>
            <a:lvl5pPr marL="0" indent="0">
              <a:spcBef>
                <a:spcPts val="0"/>
              </a:spcBef>
              <a:buFont typeface="Symbol" panose="05050102010706020507" pitchFamily="18" charset="2"/>
              <a:buNone/>
              <a:defRPr sz="1600">
                <a:latin typeface="+mj-lt"/>
              </a:defRPr>
            </a:lvl5pPr>
            <a:lvl6pPr marL="0" indent="0">
              <a:spcBef>
                <a:spcPts val="0"/>
              </a:spcBef>
              <a:buFont typeface="Symbol" panose="05050102010706020507" pitchFamily="18" charset="2"/>
              <a:buNone/>
              <a:defRPr sz="1600">
                <a:latin typeface="+mj-lt"/>
              </a:defRPr>
            </a:lvl6pPr>
            <a:lvl7pPr marL="0" indent="0">
              <a:spcBef>
                <a:spcPts val="0"/>
              </a:spcBef>
              <a:buFont typeface="Symbol" panose="05050102010706020507" pitchFamily="18" charset="2"/>
              <a:buNone/>
              <a:defRPr sz="1600">
                <a:latin typeface="+mj-lt"/>
              </a:defRPr>
            </a:lvl7pPr>
            <a:lvl8pPr marL="0" indent="0">
              <a:spcBef>
                <a:spcPts val="0"/>
              </a:spcBef>
              <a:buFont typeface="Symbol" panose="05050102010706020507" pitchFamily="18" charset="2"/>
              <a:buNone/>
              <a:defRPr sz="1600">
                <a:latin typeface="+mj-lt"/>
              </a:defRPr>
            </a:lvl8pPr>
            <a:lvl9pPr marL="0" indent="0">
              <a:spcBef>
                <a:spcPts val="0"/>
              </a:spcBef>
              <a:buFont typeface="Symbol" panose="05050102010706020507" pitchFamily="18" charset="2"/>
              <a:buNone/>
              <a:defRPr sz="1600">
                <a:latin typeface="+mj-lt"/>
              </a:defRPr>
            </a:lvl9pPr>
          </a:lstStyle>
          <a:p>
            <a:r>
              <a:rPr lang="en-US" dirty="0"/>
              <a:t>Item 07</a:t>
            </a:r>
          </a:p>
        </p:txBody>
      </p:sp>
      <p:sp>
        <p:nvSpPr>
          <p:cNvPr id="29" name="Textplatzhalter 21">
            <a:extLst>
              <a:ext uri="{FF2B5EF4-FFF2-40B4-BE49-F238E27FC236}">
                <a16:creationId xmlns:a16="http://schemas.microsoft.com/office/drawing/2014/main" id="{589771B5-282C-437E-B2F0-85A97F1A245E}"/>
              </a:ext>
            </a:extLst>
          </p:cNvPr>
          <p:cNvSpPr txBox="1">
            <a:spLocks/>
          </p:cNvSpPr>
          <p:nvPr/>
        </p:nvSpPr>
        <p:spPr bwMode="gray">
          <a:xfrm>
            <a:off x="9120188" y="3285072"/>
            <a:ext cx="2447925" cy="792000"/>
          </a:xfrm>
          <a:prstGeom prst="rect">
            <a:avLst/>
          </a:prstGeom>
        </p:spPr>
        <p:txBody>
          <a:bodyPr lIns="0" tIns="0" rIns="0" bIns="0"/>
          <a:lstStyle>
            <a:lvl1pPr marL="0" indent="0" algn="r" defTabSz="914400" rtl="0" eaLnBrk="1" latinLnBrk="0" hangingPunct="1">
              <a:spcBef>
                <a:spcPts val="0"/>
              </a:spcBef>
              <a:buFont typeface="Arial" panose="020B0604020202020204" pitchFamily="34" charset="0"/>
              <a:buNone/>
              <a:defRPr sz="2400" kern="1200">
                <a:solidFill>
                  <a:schemeClr val="tx1"/>
                </a:solidFill>
                <a:latin typeface="+mn-lt"/>
                <a:ea typeface="+mn-ea"/>
                <a:cs typeface="+mn-cs"/>
              </a:defRPr>
            </a:lvl1pPr>
            <a:lvl2pPr marL="0" indent="0" algn="l" defTabSz="914400" rtl="0" eaLnBrk="1" latinLnBrk="0" hangingPunct="1">
              <a:spcBef>
                <a:spcPts val="0"/>
              </a:spcBef>
              <a:buFont typeface="Arial" panose="020B0604020202020204" pitchFamily="34" charset="0"/>
              <a:buNone/>
              <a:defRPr sz="2400" kern="1200">
                <a:solidFill>
                  <a:schemeClr val="tx1"/>
                </a:solidFill>
                <a:latin typeface="+mn-lt"/>
                <a:ea typeface="+mn-ea"/>
                <a:cs typeface="+mn-cs"/>
              </a:defRPr>
            </a:lvl2pPr>
            <a:lvl3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3pPr>
            <a:lvl4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4pPr>
            <a:lvl5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5pPr>
            <a:lvl6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6pPr>
            <a:lvl7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7pPr>
            <a:lvl8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8pPr>
            <a:lvl9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9pPr>
          </a:lstStyle>
          <a:p>
            <a:pPr algn="l"/>
            <a:r>
              <a:rPr lang="en-US" sz="1800" dirty="0"/>
              <a:t>Nunc viverra imperdiet enim. Fusce est. Vivamus</a:t>
            </a:r>
            <a:br>
              <a:rPr lang="en-US" sz="1800" dirty="0"/>
            </a:br>
            <a:r>
              <a:rPr lang="en-US" sz="1800" dirty="0"/>
              <a:t>a tellus.</a:t>
            </a:r>
          </a:p>
        </p:txBody>
      </p:sp>
      <p:sp>
        <p:nvSpPr>
          <p:cNvPr id="32" name="Textplatzhalter 14">
            <a:extLst>
              <a:ext uri="{FF2B5EF4-FFF2-40B4-BE49-F238E27FC236}">
                <a16:creationId xmlns:a16="http://schemas.microsoft.com/office/drawing/2014/main" id="{83EB458C-BA40-4825-A803-2F3C63D493B1}"/>
              </a:ext>
            </a:extLst>
          </p:cNvPr>
          <p:cNvSpPr txBox="1">
            <a:spLocks/>
          </p:cNvSpPr>
          <p:nvPr/>
        </p:nvSpPr>
        <p:spPr bwMode="gray">
          <a:xfrm>
            <a:off x="9120188" y="4220195"/>
            <a:ext cx="2447925" cy="288925"/>
          </a:xfrm>
          <a:prstGeom prst="rect">
            <a:avLst/>
          </a:prstGeom>
        </p:spPr>
        <p:txBody>
          <a:bodyPr lIns="0" rIns="0"/>
          <a:lstStyle>
            <a:defPPr>
              <a:defRPr lang="de-DE"/>
            </a:defPPr>
            <a:lvl1pPr indent="0">
              <a:spcBef>
                <a:spcPts val="0"/>
              </a:spcBef>
              <a:buFont typeface="Arial" panose="020B0604020202020204" pitchFamily="34" charset="0"/>
              <a:buNone/>
              <a:defRPr sz="1600">
                <a:solidFill>
                  <a:schemeClr val="accent5"/>
                </a:solidFill>
                <a:latin typeface="+mj-lt"/>
              </a:defRPr>
            </a:lvl1pPr>
            <a:lvl2pPr marL="0" indent="0">
              <a:spcBef>
                <a:spcPts val="0"/>
              </a:spcBef>
              <a:buFont typeface="Arial" panose="020B0604020202020204" pitchFamily="34" charset="0"/>
              <a:buNone/>
              <a:defRPr sz="1600">
                <a:latin typeface="+mj-lt"/>
              </a:defRPr>
            </a:lvl2pPr>
            <a:lvl3pPr marL="0" indent="0">
              <a:spcBef>
                <a:spcPts val="0"/>
              </a:spcBef>
              <a:buFont typeface="Symbol" panose="05050102010706020507" pitchFamily="18" charset="2"/>
              <a:buNone/>
              <a:defRPr sz="1600">
                <a:latin typeface="+mj-lt"/>
              </a:defRPr>
            </a:lvl3pPr>
            <a:lvl4pPr marL="0" indent="0">
              <a:spcBef>
                <a:spcPts val="0"/>
              </a:spcBef>
              <a:buFont typeface="Symbol" panose="05050102010706020507" pitchFamily="18" charset="2"/>
              <a:buNone/>
              <a:defRPr sz="1600">
                <a:latin typeface="+mj-lt"/>
              </a:defRPr>
            </a:lvl4pPr>
            <a:lvl5pPr marL="0" indent="0">
              <a:spcBef>
                <a:spcPts val="0"/>
              </a:spcBef>
              <a:buFont typeface="Symbol" panose="05050102010706020507" pitchFamily="18" charset="2"/>
              <a:buNone/>
              <a:defRPr sz="1600">
                <a:latin typeface="+mj-lt"/>
              </a:defRPr>
            </a:lvl5pPr>
            <a:lvl6pPr marL="0" indent="0">
              <a:spcBef>
                <a:spcPts val="0"/>
              </a:spcBef>
              <a:buFont typeface="Symbol" panose="05050102010706020507" pitchFamily="18" charset="2"/>
              <a:buNone/>
              <a:defRPr sz="1600">
                <a:latin typeface="+mj-lt"/>
              </a:defRPr>
            </a:lvl6pPr>
            <a:lvl7pPr marL="0" indent="0">
              <a:spcBef>
                <a:spcPts val="0"/>
              </a:spcBef>
              <a:buFont typeface="Symbol" panose="05050102010706020507" pitchFamily="18" charset="2"/>
              <a:buNone/>
              <a:defRPr sz="1600">
                <a:latin typeface="+mj-lt"/>
              </a:defRPr>
            </a:lvl7pPr>
            <a:lvl8pPr marL="0" indent="0">
              <a:spcBef>
                <a:spcPts val="0"/>
              </a:spcBef>
              <a:buFont typeface="Symbol" panose="05050102010706020507" pitchFamily="18" charset="2"/>
              <a:buNone/>
              <a:defRPr sz="1600">
                <a:latin typeface="+mj-lt"/>
              </a:defRPr>
            </a:lvl8pPr>
            <a:lvl9pPr marL="0" indent="0">
              <a:spcBef>
                <a:spcPts val="0"/>
              </a:spcBef>
              <a:buFont typeface="Symbol" panose="05050102010706020507" pitchFamily="18" charset="2"/>
              <a:buNone/>
              <a:defRPr sz="1600">
                <a:latin typeface="+mj-lt"/>
              </a:defRPr>
            </a:lvl9pPr>
          </a:lstStyle>
          <a:p>
            <a:r>
              <a:rPr lang="en-US" dirty="0"/>
              <a:t>Item 08</a:t>
            </a:r>
          </a:p>
        </p:txBody>
      </p:sp>
      <p:sp>
        <p:nvSpPr>
          <p:cNvPr id="33" name="Textplatzhalter 21">
            <a:extLst>
              <a:ext uri="{FF2B5EF4-FFF2-40B4-BE49-F238E27FC236}">
                <a16:creationId xmlns:a16="http://schemas.microsoft.com/office/drawing/2014/main" id="{231A2769-65BD-4542-85B5-044E19753929}"/>
              </a:ext>
            </a:extLst>
          </p:cNvPr>
          <p:cNvSpPr txBox="1">
            <a:spLocks/>
          </p:cNvSpPr>
          <p:nvPr/>
        </p:nvSpPr>
        <p:spPr bwMode="gray">
          <a:xfrm>
            <a:off x="9120188" y="4581216"/>
            <a:ext cx="2447925" cy="792000"/>
          </a:xfrm>
          <a:prstGeom prst="rect">
            <a:avLst/>
          </a:prstGeom>
        </p:spPr>
        <p:txBody>
          <a:bodyPr lIns="0" tIns="0" rIns="0" bIns="0"/>
          <a:lstStyle>
            <a:lvl1pPr marL="0" indent="0" algn="r" defTabSz="914400" rtl="0" eaLnBrk="1" latinLnBrk="0" hangingPunct="1">
              <a:spcBef>
                <a:spcPts val="0"/>
              </a:spcBef>
              <a:buFont typeface="Arial" panose="020B0604020202020204" pitchFamily="34" charset="0"/>
              <a:buNone/>
              <a:defRPr sz="2400" kern="1200">
                <a:solidFill>
                  <a:schemeClr val="tx1"/>
                </a:solidFill>
                <a:latin typeface="+mn-lt"/>
                <a:ea typeface="+mn-ea"/>
                <a:cs typeface="+mn-cs"/>
              </a:defRPr>
            </a:lvl1pPr>
            <a:lvl2pPr marL="0" indent="0" algn="l" defTabSz="914400" rtl="0" eaLnBrk="1" latinLnBrk="0" hangingPunct="1">
              <a:spcBef>
                <a:spcPts val="0"/>
              </a:spcBef>
              <a:buFont typeface="Arial" panose="020B0604020202020204" pitchFamily="34" charset="0"/>
              <a:buNone/>
              <a:defRPr sz="2400" kern="1200">
                <a:solidFill>
                  <a:schemeClr val="tx1"/>
                </a:solidFill>
                <a:latin typeface="+mn-lt"/>
                <a:ea typeface="+mn-ea"/>
                <a:cs typeface="+mn-cs"/>
              </a:defRPr>
            </a:lvl2pPr>
            <a:lvl3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3pPr>
            <a:lvl4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4pPr>
            <a:lvl5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5pPr>
            <a:lvl6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6pPr>
            <a:lvl7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7pPr>
            <a:lvl8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8pPr>
            <a:lvl9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9pPr>
          </a:lstStyle>
          <a:p>
            <a:pPr algn="l"/>
            <a:r>
              <a:rPr lang="en-US" sz="1800" dirty="0"/>
              <a:t>Maecenas porttitor congue massa Fusce posuere</a:t>
            </a:r>
          </a:p>
        </p:txBody>
      </p:sp>
      <p:pic>
        <p:nvPicPr>
          <p:cNvPr id="20" name="Bildplatzhalter 17">
            <a:extLst>
              <a:ext uri="{FF2B5EF4-FFF2-40B4-BE49-F238E27FC236}">
                <a16:creationId xmlns:a16="http://schemas.microsoft.com/office/drawing/2014/main" id="{6969DD8E-CED7-4A2D-A022-06C7AD3B4AC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202" t="14279" r="3189" b="1769"/>
          <a:stretch/>
        </p:blipFill>
        <p:spPr bwMode="gray">
          <a:xfrm>
            <a:off x="3432622" y="5373217"/>
            <a:ext cx="2519362" cy="1296143"/>
          </a:xfrm>
          <a:prstGeom prst="rect">
            <a:avLst/>
          </a:prstGeom>
        </p:spPr>
      </p:pic>
      <p:sp>
        <p:nvSpPr>
          <p:cNvPr id="37" name="Textplatzhalter 14">
            <a:extLst>
              <a:ext uri="{FF2B5EF4-FFF2-40B4-BE49-F238E27FC236}">
                <a16:creationId xmlns:a16="http://schemas.microsoft.com/office/drawing/2014/main" id="{88D72AE1-83FC-4611-8B5A-647F54EEAD47}"/>
              </a:ext>
            </a:extLst>
          </p:cNvPr>
          <p:cNvSpPr txBox="1">
            <a:spLocks/>
          </p:cNvSpPr>
          <p:nvPr/>
        </p:nvSpPr>
        <p:spPr bwMode="gray">
          <a:xfrm>
            <a:off x="9120188" y="5517232"/>
            <a:ext cx="2447925" cy="288925"/>
          </a:xfrm>
          <a:prstGeom prst="rect">
            <a:avLst/>
          </a:prstGeom>
        </p:spPr>
        <p:txBody>
          <a:bodyPr lIns="0" rIns="0"/>
          <a:lstStyle>
            <a:defPPr>
              <a:defRPr lang="de-DE"/>
            </a:defPPr>
            <a:lvl1pPr indent="0">
              <a:spcBef>
                <a:spcPts val="0"/>
              </a:spcBef>
              <a:buFont typeface="Arial" panose="020B0604020202020204" pitchFamily="34" charset="0"/>
              <a:buNone/>
              <a:defRPr sz="1600">
                <a:solidFill>
                  <a:schemeClr val="accent5"/>
                </a:solidFill>
                <a:latin typeface="+mj-lt"/>
              </a:defRPr>
            </a:lvl1pPr>
            <a:lvl2pPr marL="0" indent="0">
              <a:spcBef>
                <a:spcPts val="0"/>
              </a:spcBef>
              <a:buFont typeface="Arial" panose="020B0604020202020204" pitchFamily="34" charset="0"/>
              <a:buNone/>
              <a:defRPr sz="1600">
                <a:latin typeface="+mj-lt"/>
              </a:defRPr>
            </a:lvl2pPr>
            <a:lvl3pPr marL="0" indent="0">
              <a:spcBef>
                <a:spcPts val="0"/>
              </a:spcBef>
              <a:buFont typeface="Symbol" panose="05050102010706020507" pitchFamily="18" charset="2"/>
              <a:buNone/>
              <a:defRPr sz="1600">
                <a:latin typeface="+mj-lt"/>
              </a:defRPr>
            </a:lvl3pPr>
            <a:lvl4pPr marL="0" indent="0">
              <a:spcBef>
                <a:spcPts val="0"/>
              </a:spcBef>
              <a:buFont typeface="Symbol" panose="05050102010706020507" pitchFamily="18" charset="2"/>
              <a:buNone/>
              <a:defRPr sz="1600">
                <a:latin typeface="+mj-lt"/>
              </a:defRPr>
            </a:lvl4pPr>
            <a:lvl5pPr marL="0" indent="0">
              <a:spcBef>
                <a:spcPts val="0"/>
              </a:spcBef>
              <a:buFont typeface="Symbol" panose="05050102010706020507" pitchFamily="18" charset="2"/>
              <a:buNone/>
              <a:defRPr sz="1600">
                <a:latin typeface="+mj-lt"/>
              </a:defRPr>
            </a:lvl5pPr>
            <a:lvl6pPr marL="0" indent="0">
              <a:spcBef>
                <a:spcPts val="0"/>
              </a:spcBef>
              <a:buFont typeface="Symbol" panose="05050102010706020507" pitchFamily="18" charset="2"/>
              <a:buNone/>
              <a:defRPr sz="1600">
                <a:latin typeface="+mj-lt"/>
              </a:defRPr>
            </a:lvl6pPr>
            <a:lvl7pPr marL="0" indent="0">
              <a:spcBef>
                <a:spcPts val="0"/>
              </a:spcBef>
              <a:buFont typeface="Symbol" panose="05050102010706020507" pitchFamily="18" charset="2"/>
              <a:buNone/>
              <a:defRPr sz="1600">
                <a:latin typeface="+mj-lt"/>
              </a:defRPr>
            </a:lvl7pPr>
            <a:lvl8pPr marL="0" indent="0">
              <a:spcBef>
                <a:spcPts val="0"/>
              </a:spcBef>
              <a:buFont typeface="Symbol" panose="05050102010706020507" pitchFamily="18" charset="2"/>
              <a:buNone/>
              <a:defRPr sz="1600">
                <a:latin typeface="+mj-lt"/>
              </a:defRPr>
            </a:lvl8pPr>
            <a:lvl9pPr marL="0" indent="0">
              <a:spcBef>
                <a:spcPts val="0"/>
              </a:spcBef>
              <a:buFont typeface="Symbol" panose="05050102010706020507" pitchFamily="18" charset="2"/>
              <a:buNone/>
              <a:defRPr sz="1600">
                <a:latin typeface="+mj-lt"/>
              </a:defRPr>
            </a:lvl9pPr>
          </a:lstStyle>
          <a:p>
            <a:r>
              <a:rPr lang="en-US" dirty="0"/>
              <a:t>Item 09</a:t>
            </a:r>
          </a:p>
        </p:txBody>
      </p:sp>
      <p:sp>
        <p:nvSpPr>
          <p:cNvPr id="38" name="Textplatzhalter 21">
            <a:extLst>
              <a:ext uri="{FF2B5EF4-FFF2-40B4-BE49-F238E27FC236}">
                <a16:creationId xmlns:a16="http://schemas.microsoft.com/office/drawing/2014/main" id="{98C3DD9C-1011-4DBC-BDD0-E7AD2EFAD046}"/>
              </a:ext>
            </a:extLst>
          </p:cNvPr>
          <p:cNvSpPr txBox="1">
            <a:spLocks/>
          </p:cNvSpPr>
          <p:nvPr/>
        </p:nvSpPr>
        <p:spPr bwMode="gray">
          <a:xfrm>
            <a:off x="9120188" y="5877368"/>
            <a:ext cx="2447925" cy="792000"/>
          </a:xfrm>
          <a:prstGeom prst="rect">
            <a:avLst/>
          </a:prstGeom>
        </p:spPr>
        <p:txBody>
          <a:bodyPr lIns="0" tIns="0" rIns="0" bIns="0"/>
          <a:lstStyle>
            <a:lvl1pPr marL="0" indent="0" algn="r" defTabSz="914400" rtl="0" eaLnBrk="1" latinLnBrk="0" hangingPunct="1">
              <a:spcBef>
                <a:spcPts val="0"/>
              </a:spcBef>
              <a:buFont typeface="Arial" panose="020B0604020202020204" pitchFamily="34" charset="0"/>
              <a:buNone/>
              <a:defRPr sz="2400" kern="1200">
                <a:solidFill>
                  <a:schemeClr val="tx1"/>
                </a:solidFill>
                <a:latin typeface="+mn-lt"/>
                <a:ea typeface="+mn-ea"/>
                <a:cs typeface="+mn-cs"/>
              </a:defRPr>
            </a:lvl1pPr>
            <a:lvl2pPr marL="0" indent="0" algn="l" defTabSz="914400" rtl="0" eaLnBrk="1" latinLnBrk="0" hangingPunct="1">
              <a:spcBef>
                <a:spcPts val="0"/>
              </a:spcBef>
              <a:buFont typeface="Arial" panose="020B0604020202020204" pitchFamily="34" charset="0"/>
              <a:buNone/>
              <a:defRPr sz="2400" kern="1200">
                <a:solidFill>
                  <a:schemeClr val="tx1"/>
                </a:solidFill>
                <a:latin typeface="+mn-lt"/>
                <a:ea typeface="+mn-ea"/>
                <a:cs typeface="+mn-cs"/>
              </a:defRPr>
            </a:lvl2pPr>
            <a:lvl3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3pPr>
            <a:lvl4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4pPr>
            <a:lvl5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5pPr>
            <a:lvl6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6pPr>
            <a:lvl7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7pPr>
            <a:lvl8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8pPr>
            <a:lvl9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9pPr>
          </a:lstStyle>
          <a:p>
            <a:pPr algn="l"/>
            <a:r>
              <a:rPr lang="en-US" sz="1800" dirty="0"/>
              <a:t>Lorem ipsum dolor sit amet, consectetuer</a:t>
            </a:r>
          </a:p>
        </p:txBody>
      </p:sp>
      <p:sp>
        <p:nvSpPr>
          <p:cNvPr id="39" name="Textplatzhalter 14">
            <a:extLst>
              <a:ext uri="{FF2B5EF4-FFF2-40B4-BE49-F238E27FC236}">
                <a16:creationId xmlns:a16="http://schemas.microsoft.com/office/drawing/2014/main" id="{0370126F-D8E2-4BB9-8946-A35C068D5EEF}"/>
              </a:ext>
            </a:extLst>
          </p:cNvPr>
          <p:cNvSpPr txBox="1">
            <a:spLocks/>
          </p:cNvSpPr>
          <p:nvPr/>
        </p:nvSpPr>
        <p:spPr bwMode="gray">
          <a:xfrm>
            <a:off x="6311900" y="331763"/>
            <a:ext cx="2376488" cy="288925"/>
          </a:xfrm>
          <a:prstGeom prst="rect">
            <a:avLst/>
          </a:prstGeom>
        </p:spPr>
        <p:txBody>
          <a:bodyPr lIns="0" rIns="0"/>
          <a:lstStyle>
            <a:lvl1pPr marL="0" indent="0" algn="r" defTabSz="914400" rtl="0" eaLnBrk="1" latinLnBrk="0" hangingPunct="1">
              <a:spcBef>
                <a:spcPts val="0"/>
              </a:spcBef>
              <a:buFont typeface="Arial" panose="020B0604020202020204" pitchFamily="34" charset="0"/>
              <a:buNone/>
              <a:defRPr sz="1600" kern="1200">
                <a:solidFill>
                  <a:schemeClr val="accent1"/>
                </a:solidFill>
                <a:latin typeface="DraegerSanTabBol" pitchFamily="2" charset="0"/>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2pPr>
            <a:lvl3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3pPr>
            <a:lvl4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4pPr>
            <a:lvl5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5pPr>
            <a:lvl6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6pPr>
            <a:lvl7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7pPr>
            <a:lvl8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8pPr>
            <a:lvl9pPr marL="0" indent="0" algn="l" defTabSz="914400" rtl="0" eaLnBrk="1" latinLnBrk="0" hangingPunct="1">
              <a:spcBef>
                <a:spcPts val="0"/>
              </a:spcBef>
              <a:buFont typeface="Symbol" panose="05050102010706020507" pitchFamily="18" charset="2"/>
              <a:buNone/>
              <a:defRPr sz="1600" kern="1200">
                <a:solidFill>
                  <a:schemeClr val="tx1"/>
                </a:solidFill>
                <a:latin typeface="+mj-lt"/>
                <a:ea typeface="+mn-ea"/>
                <a:cs typeface="+mn-cs"/>
              </a:defRPr>
            </a:lvl9pPr>
          </a:lstStyle>
          <a:p>
            <a:pPr algn="l"/>
            <a:r>
              <a:rPr lang="en-US" dirty="0">
                <a:solidFill>
                  <a:schemeClr val="accent5"/>
                </a:solidFill>
                <a:latin typeface="+mj-lt"/>
              </a:rPr>
              <a:t>Item 01</a:t>
            </a:r>
          </a:p>
        </p:txBody>
      </p:sp>
      <p:sp>
        <p:nvSpPr>
          <p:cNvPr id="40" name="Textplatzhalter 21">
            <a:extLst>
              <a:ext uri="{FF2B5EF4-FFF2-40B4-BE49-F238E27FC236}">
                <a16:creationId xmlns:a16="http://schemas.microsoft.com/office/drawing/2014/main" id="{A704086E-BE27-471C-9A7B-D2DE104F197E}"/>
              </a:ext>
            </a:extLst>
          </p:cNvPr>
          <p:cNvSpPr txBox="1">
            <a:spLocks/>
          </p:cNvSpPr>
          <p:nvPr/>
        </p:nvSpPr>
        <p:spPr bwMode="gray">
          <a:xfrm>
            <a:off x="6311900" y="692784"/>
            <a:ext cx="2376488" cy="792000"/>
          </a:xfrm>
          <a:prstGeom prst="rect">
            <a:avLst/>
          </a:prstGeom>
        </p:spPr>
        <p:txBody>
          <a:bodyPr lIns="0" tIns="0" rIns="0" bIns="0"/>
          <a:lstStyle>
            <a:lvl1pPr marL="0" indent="0" algn="r" defTabSz="914400" rtl="0" eaLnBrk="1" latinLnBrk="0" hangingPunct="1">
              <a:spcBef>
                <a:spcPts val="0"/>
              </a:spcBef>
              <a:buFont typeface="Arial" panose="020B0604020202020204" pitchFamily="34" charset="0"/>
              <a:buNone/>
              <a:defRPr sz="2400" kern="1200">
                <a:solidFill>
                  <a:schemeClr val="tx1"/>
                </a:solidFill>
                <a:latin typeface="+mn-lt"/>
                <a:ea typeface="+mn-ea"/>
                <a:cs typeface="+mn-cs"/>
              </a:defRPr>
            </a:lvl1pPr>
            <a:lvl2pPr marL="0" indent="0" algn="l" defTabSz="914400" rtl="0" eaLnBrk="1" latinLnBrk="0" hangingPunct="1">
              <a:spcBef>
                <a:spcPts val="0"/>
              </a:spcBef>
              <a:buFont typeface="Arial" panose="020B0604020202020204" pitchFamily="34" charset="0"/>
              <a:buNone/>
              <a:defRPr sz="2400" kern="1200">
                <a:solidFill>
                  <a:schemeClr val="tx1"/>
                </a:solidFill>
                <a:latin typeface="+mn-lt"/>
                <a:ea typeface="+mn-ea"/>
                <a:cs typeface="+mn-cs"/>
              </a:defRPr>
            </a:lvl2pPr>
            <a:lvl3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3pPr>
            <a:lvl4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4pPr>
            <a:lvl5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5pPr>
            <a:lvl6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6pPr>
            <a:lvl7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7pPr>
            <a:lvl8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8pPr>
            <a:lvl9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9pPr>
          </a:lstStyle>
          <a:p>
            <a:pPr algn="l"/>
            <a:r>
              <a:rPr lang="en-US" sz="1800" dirty="0"/>
              <a:t>Lorem ipsum dolor sit amet, consectetuer</a:t>
            </a:r>
          </a:p>
        </p:txBody>
      </p:sp>
      <p:sp>
        <p:nvSpPr>
          <p:cNvPr id="41" name="Textplatzhalter 14">
            <a:extLst>
              <a:ext uri="{FF2B5EF4-FFF2-40B4-BE49-F238E27FC236}">
                <a16:creationId xmlns:a16="http://schemas.microsoft.com/office/drawing/2014/main" id="{17D51C77-1243-4FA2-A68E-A1AF4115698A}"/>
              </a:ext>
            </a:extLst>
          </p:cNvPr>
          <p:cNvSpPr txBox="1">
            <a:spLocks/>
          </p:cNvSpPr>
          <p:nvPr/>
        </p:nvSpPr>
        <p:spPr bwMode="gray">
          <a:xfrm>
            <a:off x="6311900" y="1627907"/>
            <a:ext cx="2376488" cy="288925"/>
          </a:xfrm>
          <a:prstGeom prst="rect">
            <a:avLst/>
          </a:prstGeom>
        </p:spPr>
        <p:txBody>
          <a:bodyPr lIns="0" rIns="0"/>
          <a:lstStyle>
            <a:defPPr>
              <a:defRPr lang="de-DE"/>
            </a:defPPr>
            <a:lvl1pPr indent="0">
              <a:spcBef>
                <a:spcPts val="0"/>
              </a:spcBef>
              <a:buFont typeface="Arial" panose="020B0604020202020204" pitchFamily="34" charset="0"/>
              <a:buNone/>
              <a:defRPr sz="1600">
                <a:solidFill>
                  <a:schemeClr val="accent5"/>
                </a:solidFill>
                <a:latin typeface="+mj-lt"/>
              </a:defRPr>
            </a:lvl1pPr>
            <a:lvl2pPr marL="0" indent="0">
              <a:spcBef>
                <a:spcPts val="0"/>
              </a:spcBef>
              <a:buFont typeface="Arial" panose="020B0604020202020204" pitchFamily="34" charset="0"/>
              <a:buNone/>
              <a:defRPr sz="1600">
                <a:latin typeface="+mj-lt"/>
              </a:defRPr>
            </a:lvl2pPr>
            <a:lvl3pPr marL="0" indent="0">
              <a:spcBef>
                <a:spcPts val="0"/>
              </a:spcBef>
              <a:buFont typeface="Symbol" panose="05050102010706020507" pitchFamily="18" charset="2"/>
              <a:buNone/>
              <a:defRPr sz="1600">
                <a:latin typeface="+mj-lt"/>
              </a:defRPr>
            </a:lvl3pPr>
            <a:lvl4pPr marL="0" indent="0">
              <a:spcBef>
                <a:spcPts val="0"/>
              </a:spcBef>
              <a:buFont typeface="Symbol" panose="05050102010706020507" pitchFamily="18" charset="2"/>
              <a:buNone/>
              <a:defRPr sz="1600">
                <a:latin typeface="+mj-lt"/>
              </a:defRPr>
            </a:lvl4pPr>
            <a:lvl5pPr marL="0" indent="0">
              <a:spcBef>
                <a:spcPts val="0"/>
              </a:spcBef>
              <a:buFont typeface="Symbol" panose="05050102010706020507" pitchFamily="18" charset="2"/>
              <a:buNone/>
              <a:defRPr sz="1600">
                <a:latin typeface="+mj-lt"/>
              </a:defRPr>
            </a:lvl5pPr>
            <a:lvl6pPr marL="0" indent="0">
              <a:spcBef>
                <a:spcPts val="0"/>
              </a:spcBef>
              <a:buFont typeface="Symbol" panose="05050102010706020507" pitchFamily="18" charset="2"/>
              <a:buNone/>
              <a:defRPr sz="1600">
                <a:latin typeface="+mj-lt"/>
              </a:defRPr>
            </a:lvl6pPr>
            <a:lvl7pPr marL="0" indent="0">
              <a:spcBef>
                <a:spcPts val="0"/>
              </a:spcBef>
              <a:buFont typeface="Symbol" panose="05050102010706020507" pitchFamily="18" charset="2"/>
              <a:buNone/>
              <a:defRPr sz="1600">
                <a:latin typeface="+mj-lt"/>
              </a:defRPr>
            </a:lvl7pPr>
            <a:lvl8pPr marL="0" indent="0">
              <a:spcBef>
                <a:spcPts val="0"/>
              </a:spcBef>
              <a:buFont typeface="Symbol" panose="05050102010706020507" pitchFamily="18" charset="2"/>
              <a:buNone/>
              <a:defRPr sz="1600">
                <a:latin typeface="+mj-lt"/>
              </a:defRPr>
            </a:lvl8pPr>
            <a:lvl9pPr marL="0" indent="0">
              <a:spcBef>
                <a:spcPts val="0"/>
              </a:spcBef>
              <a:buFont typeface="Symbol" panose="05050102010706020507" pitchFamily="18" charset="2"/>
              <a:buNone/>
              <a:defRPr sz="1600">
                <a:latin typeface="+mj-lt"/>
              </a:defRPr>
            </a:lvl9pPr>
          </a:lstStyle>
          <a:p>
            <a:r>
              <a:rPr lang="en-US" dirty="0"/>
              <a:t>Item 02</a:t>
            </a:r>
          </a:p>
        </p:txBody>
      </p:sp>
      <p:sp>
        <p:nvSpPr>
          <p:cNvPr id="42" name="Textplatzhalter 21">
            <a:extLst>
              <a:ext uri="{FF2B5EF4-FFF2-40B4-BE49-F238E27FC236}">
                <a16:creationId xmlns:a16="http://schemas.microsoft.com/office/drawing/2014/main" id="{77C10810-D19F-4180-97A3-8166D1F41544}"/>
              </a:ext>
            </a:extLst>
          </p:cNvPr>
          <p:cNvSpPr txBox="1">
            <a:spLocks/>
          </p:cNvSpPr>
          <p:nvPr/>
        </p:nvSpPr>
        <p:spPr bwMode="gray">
          <a:xfrm>
            <a:off x="6311900" y="1988928"/>
            <a:ext cx="2376488" cy="792000"/>
          </a:xfrm>
          <a:prstGeom prst="rect">
            <a:avLst/>
          </a:prstGeom>
        </p:spPr>
        <p:txBody>
          <a:bodyPr lIns="0" tIns="0" rIns="0" bIns="0"/>
          <a:lstStyle>
            <a:lvl1pPr marL="0" indent="0" algn="r" defTabSz="914400" rtl="0" eaLnBrk="1" latinLnBrk="0" hangingPunct="1">
              <a:spcBef>
                <a:spcPts val="0"/>
              </a:spcBef>
              <a:buFont typeface="Arial" panose="020B0604020202020204" pitchFamily="34" charset="0"/>
              <a:buNone/>
              <a:defRPr sz="2400" kern="1200">
                <a:solidFill>
                  <a:schemeClr val="tx1"/>
                </a:solidFill>
                <a:latin typeface="+mn-lt"/>
                <a:ea typeface="+mn-ea"/>
                <a:cs typeface="+mn-cs"/>
              </a:defRPr>
            </a:lvl1pPr>
            <a:lvl2pPr marL="0" indent="0" algn="l" defTabSz="914400" rtl="0" eaLnBrk="1" latinLnBrk="0" hangingPunct="1">
              <a:spcBef>
                <a:spcPts val="0"/>
              </a:spcBef>
              <a:buFont typeface="Arial" panose="020B0604020202020204" pitchFamily="34" charset="0"/>
              <a:buNone/>
              <a:defRPr sz="2400" kern="1200">
                <a:solidFill>
                  <a:schemeClr val="tx1"/>
                </a:solidFill>
                <a:latin typeface="+mn-lt"/>
                <a:ea typeface="+mn-ea"/>
                <a:cs typeface="+mn-cs"/>
              </a:defRPr>
            </a:lvl2pPr>
            <a:lvl3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3pPr>
            <a:lvl4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4pPr>
            <a:lvl5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5pPr>
            <a:lvl6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6pPr>
            <a:lvl7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7pPr>
            <a:lvl8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8pPr>
            <a:lvl9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9pPr>
          </a:lstStyle>
          <a:p>
            <a:pPr algn="l"/>
            <a:r>
              <a:rPr lang="en-US" sz="1800" dirty="0"/>
              <a:t>Maecenas porttitor congue massa Fusce posuere</a:t>
            </a:r>
          </a:p>
        </p:txBody>
      </p:sp>
      <p:sp>
        <p:nvSpPr>
          <p:cNvPr id="45" name="Textplatzhalter 14">
            <a:extLst>
              <a:ext uri="{FF2B5EF4-FFF2-40B4-BE49-F238E27FC236}">
                <a16:creationId xmlns:a16="http://schemas.microsoft.com/office/drawing/2014/main" id="{414D10BC-8939-4D34-948B-028C6B9FF85D}"/>
              </a:ext>
            </a:extLst>
          </p:cNvPr>
          <p:cNvSpPr txBox="1">
            <a:spLocks/>
          </p:cNvSpPr>
          <p:nvPr/>
        </p:nvSpPr>
        <p:spPr bwMode="gray">
          <a:xfrm>
            <a:off x="6311900" y="4220195"/>
            <a:ext cx="2376488" cy="288925"/>
          </a:xfrm>
          <a:prstGeom prst="rect">
            <a:avLst/>
          </a:prstGeom>
        </p:spPr>
        <p:txBody>
          <a:bodyPr lIns="0" rIns="0"/>
          <a:lstStyle>
            <a:defPPr>
              <a:defRPr lang="de-DE"/>
            </a:defPPr>
            <a:lvl1pPr indent="0">
              <a:spcBef>
                <a:spcPts val="0"/>
              </a:spcBef>
              <a:buFont typeface="Arial" panose="020B0604020202020204" pitchFamily="34" charset="0"/>
              <a:buNone/>
              <a:defRPr sz="1600">
                <a:solidFill>
                  <a:schemeClr val="accent5"/>
                </a:solidFill>
                <a:latin typeface="+mj-lt"/>
              </a:defRPr>
            </a:lvl1pPr>
            <a:lvl2pPr marL="0" indent="0">
              <a:spcBef>
                <a:spcPts val="0"/>
              </a:spcBef>
              <a:buFont typeface="Arial" panose="020B0604020202020204" pitchFamily="34" charset="0"/>
              <a:buNone/>
              <a:defRPr sz="1600">
                <a:latin typeface="+mj-lt"/>
              </a:defRPr>
            </a:lvl2pPr>
            <a:lvl3pPr marL="0" indent="0">
              <a:spcBef>
                <a:spcPts val="0"/>
              </a:spcBef>
              <a:buFont typeface="Symbol" panose="05050102010706020507" pitchFamily="18" charset="2"/>
              <a:buNone/>
              <a:defRPr sz="1600">
                <a:latin typeface="+mj-lt"/>
              </a:defRPr>
            </a:lvl3pPr>
            <a:lvl4pPr marL="0" indent="0">
              <a:spcBef>
                <a:spcPts val="0"/>
              </a:spcBef>
              <a:buFont typeface="Symbol" panose="05050102010706020507" pitchFamily="18" charset="2"/>
              <a:buNone/>
              <a:defRPr sz="1600">
                <a:latin typeface="+mj-lt"/>
              </a:defRPr>
            </a:lvl4pPr>
            <a:lvl5pPr marL="0" indent="0">
              <a:spcBef>
                <a:spcPts val="0"/>
              </a:spcBef>
              <a:buFont typeface="Symbol" panose="05050102010706020507" pitchFamily="18" charset="2"/>
              <a:buNone/>
              <a:defRPr sz="1600">
                <a:latin typeface="+mj-lt"/>
              </a:defRPr>
            </a:lvl5pPr>
            <a:lvl6pPr marL="0" indent="0">
              <a:spcBef>
                <a:spcPts val="0"/>
              </a:spcBef>
              <a:buFont typeface="Symbol" panose="05050102010706020507" pitchFamily="18" charset="2"/>
              <a:buNone/>
              <a:defRPr sz="1600">
                <a:latin typeface="+mj-lt"/>
              </a:defRPr>
            </a:lvl6pPr>
            <a:lvl7pPr marL="0" indent="0">
              <a:spcBef>
                <a:spcPts val="0"/>
              </a:spcBef>
              <a:buFont typeface="Symbol" panose="05050102010706020507" pitchFamily="18" charset="2"/>
              <a:buNone/>
              <a:defRPr sz="1600">
                <a:latin typeface="+mj-lt"/>
              </a:defRPr>
            </a:lvl7pPr>
            <a:lvl8pPr marL="0" indent="0">
              <a:spcBef>
                <a:spcPts val="0"/>
              </a:spcBef>
              <a:buFont typeface="Symbol" panose="05050102010706020507" pitchFamily="18" charset="2"/>
              <a:buNone/>
              <a:defRPr sz="1600">
                <a:latin typeface="+mj-lt"/>
              </a:defRPr>
            </a:lvl8pPr>
            <a:lvl9pPr marL="0" indent="0">
              <a:spcBef>
                <a:spcPts val="0"/>
              </a:spcBef>
              <a:buFont typeface="Symbol" panose="05050102010706020507" pitchFamily="18" charset="2"/>
              <a:buNone/>
              <a:defRPr sz="1600">
                <a:latin typeface="+mj-lt"/>
              </a:defRPr>
            </a:lvl9pPr>
          </a:lstStyle>
          <a:p>
            <a:r>
              <a:rPr lang="en-US" dirty="0"/>
              <a:t>Item 03</a:t>
            </a:r>
          </a:p>
        </p:txBody>
      </p:sp>
      <p:sp>
        <p:nvSpPr>
          <p:cNvPr id="46" name="Textplatzhalter 21">
            <a:extLst>
              <a:ext uri="{FF2B5EF4-FFF2-40B4-BE49-F238E27FC236}">
                <a16:creationId xmlns:a16="http://schemas.microsoft.com/office/drawing/2014/main" id="{D6139A54-88E8-44A5-B9D5-7DC46D922299}"/>
              </a:ext>
            </a:extLst>
          </p:cNvPr>
          <p:cNvSpPr txBox="1">
            <a:spLocks/>
          </p:cNvSpPr>
          <p:nvPr/>
        </p:nvSpPr>
        <p:spPr bwMode="gray">
          <a:xfrm>
            <a:off x="6311900" y="4581216"/>
            <a:ext cx="2376488" cy="792000"/>
          </a:xfrm>
          <a:prstGeom prst="rect">
            <a:avLst/>
          </a:prstGeom>
        </p:spPr>
        <p:txBody>
          <a:bodyPr lIns="0" tIns="0" rIns="0" bIns="0"/>
          <a:lstStyle>
            <a:lvl1pPr marL="0" indent="0" algn="r" defTabSz="914400" rtl="0" eaLnBrk="1" latinLnBrk="0" hangingPunct="1">
              <a:spcBef>
                <a:spcPts val="0"/>
              </a:spcBef>
              <a:buFont typeface="Arial" panose="020B0604020202020204" pitchFamily="34" charset="0"/>
              <a:buNone/>
              <a:defRPr sz="2400" kern="1200">
                <a:solidFill>
                  <a:schemeClr val="tx1"/>
                </a:solidFill>
                <a:latin typeface="+mn-lt"/>
                <a:ea typeface="+mn-ea"/>
                <a:cs typeface="+mn-cs"/>
              </a:defRPr>
            </a:lvl1pPr>
            <a:lvl2pPr marL="0" indent="0" algn="l" defTabSz="914400" rtl="0" eaLnBrk="1" latinLnBrk="0" hangingPunct="1">
              <a:spcBef>
                <a:spcPts val="0"/>
              </a:spcBef>
              <a:buFont typeface="Arial" panose="020B0604020202020204" pitchFamily="34" charset="0"/>
              <a:buNone/>
              <a:defRPr sz="2400" kern="1200">
                <a:solidFill>
                  <a:schemeClr val="tx1"/>
                </a:solidFill>
                <a:latin typeface="+mn-lt"/>
                <a:ea typeface="+mn-ea"/>
                <a:cs typeface="+mn-cs"/>
              </a:defRPr>
            </a:lvl2pPr>
            <a:lvl3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3pPr>
            <a:lvl4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4pPr>
            <a:lvl5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5pPr>
            <a:lvl6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6pPr>
            <a:lvl7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7pPr>
            <a:lvl8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8pPr>
            <a:lvl9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9pPr>
          </a:lstStyle>
          <a:p>
            <a:pPr algn="l"/>
            <a:r>
              <a:rPr lang="en-US" sz="1800" dirty="0"/>
              <a:t>Fusce posuere, magna sed pulvinar ultricies, purus lectus malesuada libero</a:t>
            </a:r>
          </a:p>
        </p:txBody>
      </p:sp>
      <p:sp>
        <p:nvSpPr>
          <p:cNvPr id="47" name="Textplatzhalter 14">
            <a:extLst>
              <a:ext uri="{FF2B5EF4-FFF2-40B4-BE49-F238E27FC236}">
                <a16:creationId xmlns:a16="http://schemas.microsoft.com/office/drawing/2014/main" id="{95D818CC-E8A2-4287-8B54-8B52D0C35991}"/>
              </a:ext>
            </a:extLst>
          </p:cNvPr>
          <p:cNvSpPr txBox="1">
            <a:spLocks/>
          </p:cNvSpPr>
          <p:nvPr/>
        </p:nvSpPr>
        <p:spPr bwMode="gray">
          <a:xfrm>
            <a:off x="6311900" y="5517232"/>
            <a:ext cx="2376488" cy="288925"/>
          </a:xfrm>
          <a:prstGeom prst="rect">
            <a:avLst/>
          </a:prstGeom>
        </p:spPr>
        <p:txBody>
          <a:bodyPr lIns="0" rIns="0"/>
          <a:lstStyle>
            <a:defPPr>
              <a:defRPr lang="de-DE"/>
            </a:defPPr>
            <a:lvl1pPr indent="0">
              <a:spcBef>
                <a:spcPts val="0"/>
              </a:spcBef>
              <a:buFont typeface="Arial" panose="020B0604020202020204" pitchFamily="34" charset="0"/>
              <a:buNone/>
              <a:defRPr sz="1600">
                <a:solidFill>
                  <a:schemeClr val="accent5"/>
                </a:solidFill>
                <a:latin typeface="+mj-lt"/>
              </a:defRPr>
            </a:lvl1pPr>
            <a:lvl2pPr marL="0" indent="0">
              <a:spcBef>
                <a:spcPts val="0"/>
              </a:spcBef>
              <a:buFont typeface="Arial" panose="020B0604020202020204" pitchFamily="34" charset="0"/>
              <a:buNone/>
              <a:defRPr sz="1600">
                <a:latin typeface="+mj-lt"/>
              </a:defRPr>
            </a:lvl2pPr>
            <a:lvl3pPr marL="0" indent="0">
              <a:spcBef>
                <a:spcPts val="0"/>
              </a:spcBef>
              <a:buFont typeface="Symbol" panose="05050102010706020507" pitchFamily="18" charset="2"/>
              <a:buNone/>
              <a:defRPr sz="1600">
                <a:latin typeface="+mj-lt"/>
              </a:defRPr>
            </a:lvl3pPr>
            <a:lvl4pPr marL="0" indent="0">
              <a:spcBef>
                <a:spcPts val="0"/>
              </a:spcBef>
              <a:buFont typeface="Symbol" panose="05050102010706020507" pitchFamily="18" charset="2"/>
              <a:buNone/>
              <a:defRPr sz="1600">
                <a:latin typeface="+mj-lt"/>
              </a:defRPr>
            </a:lvl4pPr>
            <a:lvl5pPr marL="0" indent="0">
              <a:spcBef>
                <a:spcPts val="0"/>
              </a:spcBef>
              <a:buFont typeface="Symbol" panose="05050102010706020507" pitchFamily="18" charset="2"/>
              <a:buNone/>
              <a:defRPr sz="1600">
                <a:latin typeface="+mj-lt"/>
              </a:defRPr>
            </a:lvl5pPr>
            <a:lvl6pPr marL="0" indent="0">
              <a:spcBef>
                <a:spcPts val="0"/>
              </a:spcBef>
              <a:buFont typeface="Symbol" panose="05050102010706020507" pitchFamily="18" charset="2"/>
              <a:buNone/>
              <a:defRPr sz="1600">
                <a:latin typeface="+mj-lt"/>
              </a:defRPr>
            </a:lvl6pPr>
            <a:lvl7pPr marL="0" indent="0">
              <a:spcBef>
                <a:spcPts val="0"/>
              </a:spcBef>
              <a:buFont typeface="Symbol" panose="05050102010706020507" pitchFamily="18" charset="2"/>
              <a:buNone/>
              <a:defRPr sz="1600">
                <a:latin typeface="+mj-lt"/>
              </a:defRPr>
            </a:lvl7pPr>
            <a:lvl8pPr marL="0" indent="0">
              <a:spcBef>
                <a:spcPts val="0"/>
              </a:spcBef>
              <a:buFont typeface="Symbol" panose="05050102010706020507" pitchFamily="18" charset="2"/>
              <a:buNone/>
              <a:defRPr sz="1600">
                <a:latin typeface="+mj-lt"/>
              </a:defRPr>
            </a:lvl8pPr>
            <a:lvl9pPr marL="0" indent="0">
              <a:spcBef>
                <a:spcPts val="0"/>
              </a:spcBef>
              <a:buFont typeface="Symbol" panose="05050102010706020507" pitchFamily="18" charset="2"/>
              <a:buNone/>
              <a:defRPr sz="1600">
                <a:latin typeface="+mj-lt"/>
              </a:defRPr>
            </a:lvl9pPr>
          </a:lstStyle>
          <a:p>
            <a:r>
              <a:rPr lang="en-US" dirty="0"/>
              <a:t>Item 04</a:t>
            </a:r>
          </a:p>
        </p:txBody>
      </p:sp>
      <p:sp>
        <p:nvSpPr>
          <p:cNvPr id="48" name="Textplatzhalter 21">
            <a:extLst>
              <a:ext uri="{FF2B5EF4-FFF2-40B4-BE49-F238E27FC236}">
                <a16:creationId xmlns:a16="http://schemas.microsoft.com/office/drawing/2014/main" id="{04C272BA-ED74-4467-B93A-9EF18B901543}"/>
              </a:ext>
            </a:extLst>
          </p:cNvPr>
          <p:cNvSpPr txBox="1">
            <a:spLocks/>
          </p:cNvSpPr>
          <p:nvPr/>
        </p:nvSpPr>
        <p:spPr bwMode="gray">
          <a:xfrm>
            <a:off x="6311900" y="5877368"/>
            <a:ext cx="2376488" cy="792000"/>
          </a:xfrm>
          <a:prstGeom prst="rect">
            <a:avLst/>
          </a:prstGeom>
        </p:spPr>
        <p:txBody>
          <a:bodyPr lIns="0" tIns="0" rIns="0" bIns="0"/>
          <a:lstStyle>
            <a:lvl1pPr marL="0" indent="0" algn="r" defTabSz="914400" rtl="0" eaLnBrk="1" latinLnBrk="0" hangingPunct="1">
              <a:spcBef>
                <a:spcPts val="0"/>
              </a:spcBef>
              <a:buFont typeface="Arial" panose="020B0604020202020204" pitchFamily="34" charset="0"/>
              <a:buNone/>
              <a:defRPr sz="2400" kern="1200">
                <a:solidFill>
                  <a:schemeClr val="tx1"/>
                </a:solidFill>
                <a:latin typeface="+mn-lt"/>
                <a:ea typeface="+mn-ea"/>
                <a:cs typeface="+mn-cs"/>
              </a:defRPr>
            </a:lvl1pPr>
            <a:lvl2pPr marL="0" indent="0" algn="l" defTabSz="914400" rtl="0" eaLnBrk="1" latinLnBrk="0" hangingPunct="1">
              <a:spcBef>
                <a:spcPts val="0"/>
              </a:spcBef>
              <a:buFont typeface="Arial" panose="020B0604020202020204" pitchFamily="34" charset="0"/>
              <a:buNone/>
              <a:defRPr sz="2400" kern="1200">
                <a:solidFill>
                  <a:schemeClr val="tx1"/>
                </a:solidFill>
                <a:latin typeface="+mn-lt"/>
                <a:ea typeface="+mn-ea"/>
                <a:cs typeface="+mn-cs"/>
              </a:defRPr>
            </a:lvl2pPr>
            <a:lvl3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3pPr>
            <a:lvl4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4pPr>
            <a:lvl5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5pPr>
            <a:lvl6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6pPr>
            <a:lvl7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7pPr>
            <a:lvl8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8pPr>
            <a:lvl9pPr marL="0" indent="0" algn="l" defTabSz="914400" rtl="0" eaLnBrk="1" latinLnBrk="0" hangingPunct="1">
              <a:spcBef>
                <a:spcPts val="0"/>
              </a:spcBef>
              <a:buFont typeface="Symbol" panose="05050102010706020507" pitchFamily="18" charset="2"/>
              <a:buNone/>
              <a:defRPr sz="2400" kern="1200">
                <a:solidFill>
                  <a:schemeClr val="tx1"/>
                </a:solidFill>
                <a:latin typeface="+mn-lt"/>
                <a:ea typeface="+mn-ea"/>
                <a:cs typeface="+mn-cs"/>
              </a:defRPr>
            </a:lvl9pPr>
          </a:lstStyle>
          <a:p>
            <a:pPr algn="l"/>
            <a:r>
              <a:rPr lang="en-US" sz="1800" dirty="0"/>
              <a:t>Nunc viverra imperdiet enim. Fusce est. Vivamus</a:t>
            </a:r>
            <a:br>
              <a:rPr lang="en-US" sz="1800" dirty="0"/>
            </a:br>
            <a:r>
              <a:rPr lang="en-US" sz="1800" dirty="0"/>
              <a:t>a tellus.</a:t>
            </a:r>
          </a:p>
        </p:txBody>
      </p:sp>
      <p:sp>
        <p:nvSpPr>
          <p:cNvPr id="3" name="Fußzeilenplatzhalter 2">
            <a:extLst>
              <a:ext uri="{FF2B5EF4-FFF2-40B4-BE49-F238E27FC236}">
                <a16:creationId xmlns:a16="http://schemas.microsoft.com/office/drawing/2014/main" id="{5C460090-E3AB-4920-8A2B-706919841A9B}"/>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847E9F8D-26D1-41A1-A1F5-7AC6B0006E10}"/>
              </a:ext>
            </a:extLst>
          </p:cNvPr>
          <p:cNvSpPr>
            <a:spLocks noGrp="1"/>
          </p:cNvSpPr>
          <p:nvPr>
            <p:ph type="sldNum" sz="quarter" idx="12"/>
          </p:nvPr>
        </p:nvSpPr>
        <p:spPr/>
        <p:txBody>
          <a:bodyPr/>
          <a:lstStyle/>
          <a:p>
            <a:fld id="{CE82B8A1-0CCE-4815-9668-383D7DE7D8B4}" type="slidenum">
              <a:rPr lang="en-US" smtClean="0"/>
              <a:t>54</a:t>
            </a:fld>
            <a:endParaRPr lang="en-US" dirty="0"/>
          </a:p>
        </p:txBody>
      </p:sp>
    </p:spTree>
    <p:extLst>
      <p:ext uri="{BB962C8B-B14F-4D97-AF65-F5344CB8AC3E}">
        <p14:creationId xmlns:p14="http://schemas.microsoft.com/office/powerpoint/2010/main" val="109544879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CE20E8BC-99E2-4194-87A7-AB4A63285A78}"/>
              </a:ext>
            </a:extLst>
          </p:cNvPr>
          <p:cNvSpPr>
            <a:spLocks noGrp="1"/>
          </p:cNvSpPr>
          <p:nvPr>
            <p:ph type="title"/>
          </p:nvPr>
        </p:nvSpPr>
        <p:spPr bwMode="gray"/>
        <p:txBody>
          <a:bodyPr/>
          <a:lstStyle/>
          <a:p>
            <a:r>
              <a:rPr lang="en-US" dirty="0"/>
              <a:t>Growth </a:t>
            </a:r>
            <a:br>
              <a:rPr lang="en-US" dirty="0"/>
            </a:br>
            <a:r>
              <a:rPr lang="en-US" dirty="0"/>
              <a:t>Lorem ipsum</a:t>
            </a:r>
          </a:p>
        </p:txBody>
      </p:sp>
      <p:grpSp>
        <p:nvGrpSpPr>
          <p:cNvPr id="4" name="Gruppieren 3">
            <a:extLst>
              <a:ext uri="{FF2B5EF4-FFF2-40B4-BE49-F238E27FC236}">
                <a16:creationId xmlns:a16="http://schemas.microsoft.com/office/drawing/2014/main" id="{33BEFEBA-BB0E-4727-B1D0-ABA8F88E1552}"/>
              </a:ext>
            </a:extLst>
          </p:cNvPr>
          <p:cNvGrpSpPr/>
          <p:nvPr/>
        </p:nvGrpSpPr>
        <p:grpSpPr bwMode="gray">
          <a:xfrm>
            <a:off x="4151784" y="1196752"/>
            <a:ext cx="6876966" cy="6160258"/>
            <a:chOff x="2325622" y="2075703"/>
            <a:chExt cx="3940391" cy="3529730"/>
          </a:xfrm>
        </p:grpSpPr>
        <p:sp>
          <p:nvSpPr>
            <p:cNvPr id="31" name="Bogen 30">
              <a:extLst>
                <a:ext uri="{FF2B5EF4-FFF2-40B4-BE49-F238E27FC236}">
                  <a16:creationId xmlns:a16="http://schemas.microsoft.com/office/drawing/2014/main" id="{8BC83A97-FF4B-4AB7-96E8-C50C9FF9AD47}"/>
                </a:ext>
              </a:extLst>
            </p:cNvPr>
            <p:cNvSpPr/>
            <p:nvPr/>
          </p:nvSpPr>
          <p:spPr bwMode="gray">
            <a:xfrm>
              <a:off x="2736283" y="2075703"/>
              <a:ext cx="3529730" cy="3529730"/>
            </a:xfrm>
            <a:prstGeom prst="arc">
              <a:avLst>
                <a:gd name="adj1" fmla="val 11999637"/>
                <a:gd name="adj2" fmla="val 9883077"/>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extplatzhalter 15">
              <a:extLst>
                <a:ext uri="{FF2B5EF4-FFF2-40B4-BE49-F238E27FC236}">
                  <a16:creationId xmlns:a16="http://schemas.microsoft.com/office/drawing/2014/main" id="{9A3D1EB5-A104-4FE1-9562-697671F499EC}"/>
                </a:ext>
              </a:extLst>
            </p:cNvPr>
            <p:cNvSpPr txBox="1">
              <a:spLocks/>
            </p:cNvSpPr>
            <p:nvPr/>
          </p:nvSpPr>
          <p:spPr bwMode="gray">
            <a:xfrm>
              <a:off x="3143672" y="2834042"/>
              <a:ext cx="2808000" cy="2124000"/>
            </a:xfrm>
            <a:prstGeom prst="rect">
              <a:avLst/>
            </a:prstGeom>
          </p:spPr>
          <p:txBody>
            <a:bodyPr lIns="72000" tIns="36000" rIns="72000" bIns="36000" anchor="ct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lgn="ctr"/>
              <a:r>
                <a:rPr lang="en-US" sz="2800" dirty="0"/>
                <a:t>Lorem ipsum dolor</a:t>
              </a:r>
              <a:br>
                <a:rPr lang="en-US" sz="2800" dirty="0"/>
              </a:br>
              <a:r>
                <a:rPr lang="en-US" sz="2800" dirty="0"/>
                <a:t>sit amet, consectetuer adipiscing elit.</a:t>
              </a:r>
            </a:p>
            <a:p>
              <a:pPr lvl="1" algn="ctr"/>
              <a:r>
                <a:rPr lang="en-US" sz="2800" dirty="0"/>
                <a:t>Maecenas porttitor congue</a:t>
              </a:r>
              <a:br>
                <a:rPr lang="en-US" sz="2800" dirty="0"/>
              </a:br>
              <a:r>
                <a:rPr lang="en-US" sz="2800" dirty="0"/>
                <a:t>massa. Fusce posuere, magna</a:t>
              </a:r>
              <a:br>
                <a:rPr lang="en-US" sz="2800" dirty="0"/>
              </a:br>
              <a:r>
                <a:rPr lang="en-US" sz="2800" dirty="0"/>
                <a:t>sed pulvinar</a:t>
              </a:r>
            </a:p>
          </p:txBody>
        </p:sp>
        <p:grpSp>
          <p:nvGrpSpPr>
            <p:cNvPr id="14" name="Gruppieren 13">
              <a:extLst>
                <a:ext uri="{FF2B5EF4-FFF2-40B4-BE49-F238E27FC236}">
                  <a16:creationId xmlns:a16="http://schemas.microsoft.com/office/drawing/2014/main" id="{BB59365F-1EAA-4131-B13A-1480276BFDB8}"/>
                </a:ext>
              </a:extLst>
            </p:cNvPr>
            <p:cNvGrpSpPr/>
            <p:nvPr/>
          </p:nvGrpSpPr>
          <p:grpSpPr bwMode="gray">
            <a:xfrm>
              <a:off x="2325622" y="3325716"/>
              <a:ext cx="864000" cy="864000"/>
              <a:chOff x="2325622" y="3325716"/>
              <a:chExt cx="864000" cy="864000"/>
            </a:xfrm>
          </p:grpSpPr>
          <p:sp>
            <p:nvSpPr>
              <p:cNvPr id="3" name="Ellipse 2">
                <a:extLst>
                  <a:ext uri="{FF2B5EF4-FFF2-40B4-BE49-F238E27FC236}">
                    <a16:creationId xmlns:a16="http://schemas.microsoft.com/office/drawing/2014/main" id="{8E44DEE1-37C3-4408-9FF2-6F2062BEA77C}"/>
                  </a:ext>
                </a:extLst>
              </p:cNvPr>
              <p:cNvSpPr/>
              <p:nvPr/>
            </p:nvSpPr>
            <p:spPr bwMode="gray">
              <a:xfrm>
                <a:off x="2325622" y="3325716"/>
                <a:ext cx="864000" cy="864000"/>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ihandform: Form 7">
                <a:extLst>
                  <a:ext uri="{FF2B5EF4-FFF2-40B4-BE49-F238E27FC236}">
                    <a16:creationId xmlns:a16="http://schemas.microsoft.com/office/drawing/2014/main" id="{59A64FC1-BDFF-4ACB-A238-139CDF4C3B56}"/>
                  </a:ext>
                </a:extLst>
              </p:cNvPr>
              <p:cNvSpPr/>
              <p:nvPr/>
            </p:nvSpPr>
            <p:spPr bwMode="gray">
              <a:xfrm>
                <a:off x="2586172" y="3567216"/>
                <a:ext cx="342900" cy="381000"/>
              </a:xfrm>
              <a:custGeom>
                <a:avLst/>
                <a:gdLst>
                  <a:gd name="connsiteX0" fmla="*/ 266700 w 342900"/>
                  <a:gd name="connsiteY0" fmla="*/ 95250 h 381000"/>
                  <a:gd name="connsiteX1" fmla="*/ 171450 w 342900"/>
                  <a:gd name="connsiteY1" fmla="*/ 190500 h 381000"/>
                  <a:gd name="connsiteX2" fmla="*/ 76200 w 342900"/>
                  <a:gd name="connsiteY2" fmla="*/ 95250 h 381000"/>
                  <a:gd name="connsiteX3" fmla="*/ 171450 w 342900"/>
                  <a:gd name="connsiteY3" fmla="*/ 0 h 381000"/>
                  <a:gd name="connsiteX4" fmla="*/ 266700 w 342900"/>
                  <a:gd name="connsiteY4" fmla="*/ 95250 h 381000"/>
                  <a:gd name="connsiteX5" fmla="*/ 0 w 342900"/>
                  <a:gd name="connsiteY5" fmla="*/ 381000 h 381000"/>
                  <a:gd name="connsiteX6" fmla="*/ 342900 w 342900"/>
                  <a:gd name="connsiteY6" fmla="*/ 381000 h 381000"/>
                  <a:gd name="connsiteX7" fmla="*/ 342900 w 342900"/>
                  <a:gd name="connsiteY7" fmla="*/ 297180 h 381000"/>
                  <a:gd name="connsiteX8" fmla="*/ 307658 w 342900"/>
                  <a:gd name="connsiteY8" fmla="*/ 243840 h 381000"/>
                  <a:gd name="connsiteX9" fmla="*/ 227648 w 342900"/>
                  <a:gd name="connsiteY9" fmla="*/ 220980 h 381000"/>
                  <a:gd name="connsiteX10" fmla="*/ 200025 w 342900"/>
                  <a:gd name="connsiteY10" fmla="*/ 257175 h 381000"/>
                  <a:gd name="connsiteX11" fmla="*/ 142875 w 342900"/>
                  <a:gd name="connsiteY11" fmla="*/ 257175 h 381000"/>
                  <a:gd name="connsiteX12" fmla="*/ 116205 w 342900"/>
                  <a:gd name="connsiteY12" fmla="*/ 220980 h 381000"/>
                  <a:gd name="connsiteX13" fmla="*/ 36195 w 342900"/>
                  <a:gd name="connsiteY13" fmla="*/ 243840 h 381000"/>
                  <a:gd name="connsiteX14" fmla="*/ 0 w 342900"/>
                  <a:gd name="connsiteY14" fmla="*/ 297180 h 381000"/>
                  <a:gd name="connsiteX15" fmla="*/ 0 w 342900"/>
                  <a:gd name="connsiteY15" fmla="*/ 38100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2900" h="381000">
                    <a:moveTo>
                      <a:pt x="266700" y="95250"/>
                    </a:moveTo>
                    <a:cubicBezTo>
                      <a:pt x="266700" y="147638"/>
                      <a:pt x="223838" y="190500"/>
                      <a:pt x="171450" y="190500"/>
                    </a:cubicBezTo>
                    <a:cubicBezTo>
                      <a:pt x="119063" y="190500"/>
                      <a:pt x="76200" y="147638"/>
                      <a:pt x="76200" y="95250"/>
                    </a:cubicBezTo>
                    <a:cubicBezTo>
                      <a:pt x="76200" y="42863"/>
                      <a:pt x="119063" y="0"/>
                      <a:pt x="171450" y="0"/>
                    </a:cubicBezTo>
                    <a:cubicBezTo>
                      <a:pt x="223838" y="0"/>
                      <a:pt x="266700" y="42863"/>
                      <a:pt x="266700" y="95250"/>
                    </a:cubicBezTo>
                    <a:moveTo>
                      <a:pt x="0" y="381000"/>
                    </a:moveTo>
                    <a:lnTo>
                      <a:pt x="342900" y="381000"/>
                    </a:lnTo>
                    <a:lnTo>
                      <a:pt x="342900" y="297180"/>
                    </a:lnTo>
                    <a:cubicBezTo>
                      <a:pt x="342900" y="274320"/>
                      <a:pt x="328613" y="253365"/>
                      <a:pt x="307658" y="243840"/>
                    </a:cubicBezTo>
                    <a:cubicBezTo>
                      <a:pt x="282893" y="233363"/>
                      <a:pt x="254318" y="222885"/>
                      <a:pt x="227648" y="220980"/>
                    </a:cubicBezTo>
                    <a:lnTo>
                      <a:pt x="200025" y="257175"/>
                    </a:lnTo>
                    <a:lnTo>
                      <a:pt x="142875" y="257175"/>
                    </a:lnTo>
                    <a:lnTo>
                      <a:pt x="116205" y="220980"/>
                    </a:lnTo>
                    <a:cubicBezTo>
                      <a:pt x="89535" y="222885"/>
                      <a:pt x="60960" y="234315"/>
                      <a:pt x="36195" y="243840"/>
                    </a:cubicBezTo>
                    <a:cubicBezTo>
                      <a:pt x="14288" y="253365"/>
                      <a:pt x="0" y="274320"/>
                      <a:pt x="0" y="297180"/>
                    </a:cubicBezTo>
                    <a:lnTo>
                      <a:pt x="0" y="381000"/>
                    </a:lnTo>
                    <a:close/>
                  </a:path>
                </a:pathLst>
              </a:custGeom>
              <a:solidFill>
                <a:schemeClr val="bg1"/>
              </a:solidFill>
              <a:ln w="9525" cap="flat">
                <a:noFill/>
                <a:prstDash val="solid"/>
                <a:miter/>
              </a:ln>
            </p:spPr>
            <p:txBody>
              <a:bodyPr rtlCol="0" anchor="ctr"/>
              <a:lstStyle/>
              <a:p>
                <a:endParaRPr lang="en-US" dirty="0"/>
              </a:p>
            </p:txBody>
          </p:sp>
        </p:grpSp>
      </p:grpSp>
      <p:sp>
        <p:nvSpPr>
          <p:cNvPr id="23" name="Rechteck 22">
            <a:extLst>
              <a:ext uri="{FF2B5EF4-FFF2-40B4-BE49-F238E27FC236}">
                <a16:creationId xmlns:a16="http://schemas.microsoft.com/office/drawing/2014/main" id="{709B2C75-A53B-4458-96E4-8A7161519363}"/>
              </a:ext>
            </a:extLst>
          </p:cNvPr>
          <p:cNvSpPr/>
          <p:nvPr/>
        </p:nvSpPr>
        <p:spPr bwMode="gray">
          <a:xfrm>
            <a:off x="12288880" y="188640"/>
            <a:ext cx="1728000" cy="64804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t"/>
          <a:lstStyle/>
          <a:p>
            <a:pPr algn="l"/>
            <a:r>
              <a:rPr lang="en-US" sz="1200" dirty="0">
                <a:solidFill>
                  <a:schemeClr val="tx1"/>
                </a:solidFill>
                <a:latin typeface="+mj-lt"/>
              </a:rPr>
              <a:t>Note:</a:t>
            </a:r>
          </a:p>
          <a:p>
            <a:r>
              <a:rPr lang="en-US" sz="1200" dirty="0">
                <a:solidFill>
                  <a:schemeClr val="tx1"/>
                </a:solidFill>
              </a:rPr>
              <a:t>An animation has been added to the circle. Please note that this page only works in combination with the following page.</a:t>
            </a:r>
          </a:p>
          <a:p>
            <a:endParaRPr lang="en-US" sz="1200" dirty="0">
              <a:solidFill>
                <a:schemeClr val="tx1"/>
              </a:solidFill>
            </a:endParaRPr>
          </a:p>
          <a:p>
            <a:r>
              <a:rPr lang="en-US" sz="1200" dirty="0">
                <a:solidFill>
                  <a:schemeClr val="tx1"/>
                </a:solidFill>
              </a:rPr>
              <a:t>The line breaks of the text must be exactly the same as on the following slide.</a:t>
            </a:r>
          </a:p>
        </p:txBody>
      </p:sp>
      <p:sp>
        <p:nvSpPr>
          <p:cNvPr id="5" name="Fußzeilenplatzhalter 4">
            <a:extLst>
              <a:ext uri="{FF2B5EF4-FFF2-40B4-BE49-F238E27FC236}">
                <a16:creationId xmlns:a16="http://schemas.microsoft.com/office/drawing/2014/main" id="{68B9652A-DB1C-4CE4-BAFC-65AC6F31BB28}"/>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82D1DC00-1989-43AF-963D-59B220010F92}"/>
              </a:ext>
            </a:extLst>
          </p:cNvPr>
          <p:cNvSpPr>
            <a:spLocks noGrp="1"/>
          </p:cNvSpPr>
          <p:nvPr>
            <p:ph type="sldNum" sz="quarter" idx="12"/>
          </p:nvPr>
        </p:nvSpPr>
        <p:spPr/>
        <p:txBody>
          <a:bodyPr/>
          <a:lstStyle/>
          <a:p>
            <a:fld id="{CE82B8A1-0CCE-4815-9668-383D7DE7D8B4}" type="slidenum">
              <a:rPr lang="en-US" noProof="0" smtClean="0"/>
              <a:t>55</a:t>
            </a:fld>
            <a:endParaRPr lang="en-US" noProof="0" dirty="0"/>
          </a:p>
        </p:txBody>
      </p:sp>
    </p:spTree>
    <p:extLst>
      <p:ext uri="{BB962C8B-B14F-4D97-AF65-F5344CB8AC3E}">
        <p14:creationId xmlns:p14="http://schemas.microsoft.com/office/powerpoint/2010/main" val="3831329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4"/>
                                        </p:tgtEl>
                                      </p:cBhvr>
                                      <p:by x="57300" y="57300"/>
                                    </p:animScale>
                                  </p:childTnLst>
                                </p:cTn>
                              </p:par>
                              <p:par>
                                <p:cTn id="7" presetID="42" presetClass="path" presetSubtype="0" accel="50000" decel="50000" fill="hold" nodeType="withEffect">
                                  <p:stCondLst>
                                    <p:cond delay="0"/>
                                  </p:stCondLst>
                                  <p:childTnLst>
                                    <p:animMotion origin="layout" path="M 3.95833E-6 -1.11111E-6 L -0.27045 -0.06435 " pathEditMode="relative" rAng="0" ptsTypes="AA">
                                      <p:cBhvr>
                                        <p:cTn id="8" dur="2000" fill="hold"/>
                                        <p:tgtEl>
                                          <p:spTgt spid="4"/>
                                        </p:tgtEl>
                                        <p:attrNameLst>
                                          <p:attrName>ppt_x</p:attrName>
                                          <p:attrName>ppt_y</p:attrName>
                                        </p:attrNameLst>
                                      </p:cBhvr>
                                      <p:rCtr x="-13529" y="-321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Bogen 30">
            <a:extLst>
              <a:ext uri="{FF2B5EF4-FFF2-40B4-BE49-F238E27FC236}">
                <a16:creationId xmlns:a16="http://schemas.microsoft.com/office/drawing/2014/main" id="{8BC83A97-FF4B-4AB7-96E8-C50C9FF9AD47}"/>
              </a:ext>
            </a:extLst>
          </p:cNvPr>
          <p:cNvSpPr/>
          <p:nvPr/>
        </p:nvSpPr>
        <p:spPr bwMode="gray">
          <a:xfrm>
            <a:off x="2736283" y="2075703"/>
            <a:ext cx="3529730" cy="3529730"/>
          </a:xfrm>
          <a:prstGeom prst="arc">
            <a:avLst>
              <a:gd name="adj1" fmla="val 351670"/>
              <a:gd name="adj2" fmla="val 9883077"/>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Bogen 24">
            <a:extLst>
              <a:ext uri="{FF2B5EF4-FFF2-40B4-BE49-F238E27FC236}">
                <a16:creationId xmlns:a16="http://schemas.microsoft.com/office/drawing/2014/main" id="{D8C389B9-A55E-498A-9F5A-4B71E94776DA}"/>
              </a:ext>
            </a:extLst>
          </p:cNvPr>
          <p:cNvSpPr/>
          <p:nvPr/>
        </p:nvSpPr>
        <p:spPr bwMode="gray">
          <a:xfrm>
            <a:off x="6163790" y="-1255738"/>
            <a:ext cx="8581554" cy="8581554"/>
          </a:xfrm>
          <a:prstGeom prst="arc">
            <a:avLst>
              <a:gd name="adj1" fmla="val 9124600"/>
              <a:gd name="adj2" fmla="val 10008032"/>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el 8">
            <a:extLst>
              <a:ext uri="{FF2B5EF4-FFF2-40B4-BE49-F238E27FC236}">
                <a16:creationId xmlns:a16="http://schemas.microsoft.com/office/drawing/2014/main" id="{CE20E8BC-99E2-4194-87A7-AB4A63285A78}"/>
              </a:ext>
            </a:extLst>
          </p:cNvPr>
          <p:cNvSpPr>
            <a:spLocks noGrp="1"/>
          </p:cNvSpPr>
          <p:nvPr>
            <p:ph type="title"/>
          </p:nvPr>
        </p:nvSpPr>
        <p:spPr bwMode="gray"/>
        <p:txBody>
          <a:bodyPr/>
          <a:lstStyle/>
          <a:p>
            <a:r>
              <a:rPr lang="en-US" dirty="0"/>
              <a:t>Growth </a:t>
            </a:r>
            <a:br>
              <a:rPr lang="en-US" dirty="0"/>
            </a:br>
            <a:r>
              <a:rPr lang="en-US" dirty="0"/>
              <a:t>Lorem ipsum</a:t>
            </a:r>
          </a:p>
        </p:txBody>
      </p:sp>
      <p:sp>
        <p:nvSpPr>
          <p:cNvPr id="10" name="Bogen 9">
            <a:extLst>
              <a:ext uri="{FF2B5EF4-FFF2-40B4-BE49-F238E27FC236}">
                <a16:creationId xmlns:a16="http://schemas.microsoft.com/office/drawing/2014/main" id="{430D66AE-31BE-4D82-8BB1-F2002E21D1BE}"/>
              </a:ext>
            </a:extLst>
          </p:cNvPr>
          <p:cNvSpPr/>
          <p:nvPr/>
        </p:nvSpPr>
        <p:spPr bwMode="gray">
          <a:xfrm>
            <a:off x="6011390" y="-1408138"/>
            <a:ext cx="8581554" cy="8581554"/>
          </a:xfrm>
          <a:prstGeom prst="arc">
            <a:avLst>
              <a:gd name="adj1" fmla="val 10806365"/>
              <a:gd name="adj2" fmla="val 13382984"/>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Bogen 10">
            <a:extLst>
              <a:ext uri="{FF2B5EF4-FFF2-40B4-BE49-F238E27FC236}">
                <a16:creationId xmlns:a16="http://schemas.microsoft.com/office/drawing/2014/main" id="{D52EA6CA-B538-405B-A505-662999C361BA}"/>
              </a:ext>
            </a:extLst>
          </p:cNvPr>
          <p:cNvSpPr/>
          <p:nvPr/>
        </p:nvSpPr>
        <p:spPr bwMode="gray">
          <a:xfrm>
            <a:off x="2736283" y="2075703"/>
            <a:ext cx="3529730" cy="3529730"/>
          </a:xfrm>
          <a:prstGeom prst="arc">
            <a:avLst>
              <a:gd name="adj1" fmla="val 12024365"/>
              <a:gd name="adj2" fmla="val 19610553"/>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Bogen 26">
            <a:extLst>
              <a:ext uri="{FF2B5EF4-FFF2-40B4-BE49-F238E27FC236}">
                <a16:creationId xmlns:a16="http://schemas.microsoft.com/office/drawing/2014/main" id="{3754AB30-C7BB-435A-AB9F-14E5FF2D25A3}"/>
              </a:ext>
            </a:extLst>
          </p:cNvPr>
          <p:cNvSpPr/>
          <p:nvPr/>
        </p:nvSpPr>
        <p:spPr bwMode="gray">
          <a:xfrm>
            <a:off x="6011390" y="-1408138"/>
            <a:ext cx="8581554" cy="8581554"/>
          </a:xfrm>
          <a:prstGeom prst="arc">
            <a:avLst>
              <a:gd name="adj1" fmla="val 6711159"/>
              <a:gd name="adj2" fmla="val 8129303"/>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extplatzhalter 15">
            <a:extLst>
              <a:ext uri="{FF2B5EF4-FFF2-40B4-BE49-F238E27FC236}">
                <a16:creationId xmlns:a16="http://schemas.microsoft.com/office/drawing/2014/main" id="{9A3D1EB5-A104-4FE1-9562-697671F499EC}"/>
              </a:ext>
            </a:extLst>
          </p:cNvPr>
          <p:cNvSpPr txBox="1">
            <a:spLocks/>
          </p:cNvSpPr>
          <p:nvPr/>
        </p:nvSpPr>
        <p:spPr bwMode="gray">
          <a:xfrm>
            <a:off x="3143672" y="2834042"/>
            <a:ext cx="2808000" cy="2124000"/>
          </a:xfrm>
          <a:prstGeom prst="rect">
            <a:avLst/>
          </a:prstGeom>
        </p:spPr>
        <p:txBody>
          <a:bodyPr lIns="72000" tIns="36000" rIns="72000" bIns="36000" anchor="ct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lgn="ctr"/>
            <a:r>
              <a:rPr lang="en-US" dirty="0"/>
              <a:t>Lorem ipsum dolor</a:t>
            </a:r>
            <a:br>
              <a:rPr lang="en-US" dirty="0"/>
            </a:br>
            <a:r>
              <a:rPr lang="en-US" dirty="0"/>
              <a:t>sit amet, consectetuer adipiscing elit.</a:t>
            </a:r>
          </a:p>
          <a:p>
            <a:pPr lvl="1" algn="ctr"/>
            <a:r>
              <a:rPr lang="en-US" dirty="0"/>
              <a:t>Maecenas porttitor congue</a:t>
            </a:r>
            <a:br>
              <a:rPr lang="en-US" dirty="0"/>
            </a:br>
            <a:r>
              <a:rPr lang="en-US" dirty="0"/>
              <a:t>massa. Fusce posuere, magna sed pulvinar</a:t>
            </a:r>
          </a:p>
        </p:txBody>
      </p:sp>
      <p:sp>
        <p:nvSpPr>
          <p:cNvPr id="30" name="Textplatzhalter 15">
            <a:extLst>
              <a:ext uri="{FF2B5EF4-FFF2-40B4-BE49-F238E27FC236}">
                <a16:creationId xmlns:a16="http://schemas.microsoft.com/office/drawing/2014/main" id="{EC667789-DDDB-4720-B62F-D052CA81CBAA}"/>
              </a:ext>
            </a:extLst>
          </p:cNvPr>
          <p:cNvSpPr txBox="1">
            <a:spLocks/>
          </p:cNvSpPr>
          <p:nvPr/>
        </p:nvSpPr>
        <p:spPr bwMode="gray">
          <a:xfrm>
            <a:off x="7392144" y="2348880"/>
            <a:ext cx="4175992" cy="2736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Aft>
                <a:spcPts val="600"/>
              </a:spcAft>
            </a:pPr>
            <a:r>
              <a:rPr lang="en-US" dirty="0"/>
              <a:t>Lorem ipsum dolor sit amet,</a:t>
            </a:r>
            <a:br>
              <a:rPr lang="en-US" dirty="0"/>
            </a:br>
            <a:r>
              <a:rPr lang="en-US" dirty="0"/>
              <a:t>consectetuer adipiscing elit.</a:t>
            </a:r>
          </a:p>
          <a:p>
            <a:pPr lvl="1"/>
            <a:r>
              <a:rPr lang="en-US" dirty="0"/>
              <a:t>Maecenas porttitor congue massa.</a:t>
            </a:r>
            <a:br>
              <a:rPr lang="en-US" dirty="0"/>
            </a:br>
            <a:r>
              <a:rPr lang="en-US" dirty="0"/>
              <a:t>Fusce posuere, magna sed pulvinar</a:t>
            </a:r>
          </a:p>
          <a:p>
            <a:pPr lvl="2"/>
            <a:r>
              <a:rPr lang="en-US" dirty="0"/>
              <a:t>Lorem ipsum dolor sit amet,</a:t>
            </a:r>
            <a:br>
              <a:rPr lang="en-US" dirty="0"/>
            </a:br>
            <a:r>
              <a:rPr lang="en-US" dirty="0"/>
              <a:t>consectetuer adipiscing elit</a:t>
            </a:r>
          </a:p>
          <a:p>
            <a:pPr lvl="2"/>
            <a:r>
              <a:rPr lang="en-US" dirty="0"/>
              <a:t>Maecenas porttitor congue massa.</a:t>
            </a:r>
            <a:br>
              <a:rPr lang="en-US" dirty="0"/>
            </a:br>
            <a:r>
              <a:rPr lang="en-US" dirty="0"/>
              <a:t>Fusce posuere, magna sed pulvinar</a:t>
            </a:r>
          </a:p>
          <a:p>
            <a:pPr lvl="2"/>
            <a:r>
              <a:rPr lang="en-US" dirty="0"/>
              <a:t>Nunc viverra imperdiet enim.</a:t>
            </a:r>
            <a:br>
              <a:rPr lang="en-US" dirty="0"/>
            </a:br>
            <a:r>
              <a:rPr lang="en-US" dirty="0"/>
              <a:t>Fusce est. Vivamus a tellus</a:t>
            </a:r>
          </a:p>
        </p:txBody>
      </p:sp>
      <p:sp>
        <p:nvSpPr>
          <p:cNvPr id="21" name="Textplatzhalter 3">
            <a:extLst>
              <a:ext uri="{FF2B5EF4-FFF2-40B4-BE49-F238E27FC236}">
                <a16:creationId xmlns:a16="http://schemas.microsoft.com/office/drawing/2014/main" id="{CBA601CD-8F58-4C90-B26B-85057179A9B7}"/>
              </a:ext>
            </a:extLst>
          </p:cNvPr>
          <p:cNvSpPr txBox="1">
            <a:spLocks/>
          </p:cNvSpPr>
          <p:nvPr/>
        </p:nvSpPr>
        <p:spPr bwMode="gray">
          <a:xfrm>
            <a:off x="7392144" y="1664864"/>
            <a:ext cx="4175992" cy="540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rPr>
              <a:t>Lorem ipsum</a:t>
            </a:r>
            <a:br>
              <a:rPr lang="en-US" sz="4000" dirty="0">
                <a:solidFill>
                  <a:schemeClr val="accent5"/>
                </a:solidFill>
              </a:rPr>
            </a:br>
            <a:r>
              <a:rPr lang="en-US" sz="4000" dirty="0">
                <a:solidFill>
                  <a:schemeClr val="accent5"/>
                </a:solidFill>
              </a:rPr>
              <a:t>dolor sit amet</a:t>
            </a:r>
          </a:p>
        </p:txBody>
      </p:sp>
      <p:grpSp>
        <p:nvGrpSpPr>
          <p:cNvPr id="14" name="Gruppieren 13">
            <a:extLst>
              <a:ext uri="{FF2B5EF4-FFF2-40B4-BE49-F238E27FC236}">
                <a16:creationId xmlns:a16="http://schemas.microsoft.com/office/drawing/2014/main" id="{BB59365F-1EAA-4131-B13A-1480276BFDB8}"/>
              </a:ext>
            </a:extLst>
          </p:cNvPr>
          <p:cNvGrpSpPr/>
          <p:nvPr/>
        </p:nvGrpSpPr>
        <p:grpSpPr bwMode="gray">
          <a:xfrm>
            <a:off x="2325622" y="3325716"/>
            <a:ext cx="864000" cy="864000"/>
            <a:chOff x="2325622" y="3325716"/>
            <a:chExt cx="864000" cy="864000"/>
          </a:xfrm>
        </p:grpSpPr>
        <p:sp>
          <p:nvSpPr>
            <p:cNvPr id="3" name="Ellipse 2">
              <a:extLst>
                <a:ext uri="{FF2B5EF4-FFF2-40B4-BE49-F238E27FC236}">
                  <a16:creationId xmlns:a16="http://schemas.microsoft.com/office/drawing/2014/main" id="{8E44DEE1-37C3-4408-9FF2-6F2062BEA77C}"/>
                </a:ext>
              </a:extLst>
            </p:cNvPr>
            <p:cNvSpPr/>
            <p:nvPr/>
          </p:nvSpPr>
          <p:spPr bwMode="gray">
            <a:xfrm>
              <a:off x="2325622" y="3325716"/>
              <a:ext cx="864000" cy="864000"/>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ihandform: Form 7">
              <a:extLst>
                <a:ext uri="{FF2B5EF4-FFF2-40B4-BE49-F238E27FC236}">
                  <a16:creationId xmlns:a16="http://schemas.microsoft.com/office/drawing/2014/main" id="{59A64FC1-BDFF-4ACB-A238-139CDF4C3B56}"/>
                </a:ext>
              </a:extLst>
            </p:cNvPr>
            <p:cNvSpPr/>
            <p:nvPr/>
          </p:nvSpPr>
          <p:spPr bwMode="gray">
            <a:xfrm>
              <a:off x="2586172" y="3567216"/>
              <a:ext cx="342900" cy="381000"/>
            </a:xfrm>
            <a:custGeom>
              <a:avLst/>
              <a:gdLst>
                <a:gd name="connsiteX0" fmla="*/ 266700 w 342900"/>
                <a:gd name="connsiteY0" fmla="*/ 95250 h 381000"/>
                <a:gd name="connsiteX1" fmla="*/ 171450 w 342900"/>
                <a:gd name="connsiteY1" fmla="*/ 190500 h 381000"/>
                <a:gd name="connsiteX2" fmla="*/ 76200 w 342900"/>
                <a:gd name="connsiteY2" fmla="*/ 95250 h 381000"/>
                <a:gd name="connsiteX3" fmla="*/ 171450 w 342900"/>
                <a:gd name="connsiteY3" fmla="*/ 0 h 381000"/>
                <a:gd name="connsiteX4" fmla="*/ 266700 w 342900"/>
                <a:gd name="connsiteY4" fmla="*/ 95250 h 381000"/>
                <a:gd name="connsiteX5" fmla="*/ 0 w 342900"/>
                <a:gd name="connsiteY5" fmla="*/ 381000 h 381000"/>
                <a:gd name="connsiteX6" fmla="*/ 342900 w 342900"/>
                <a:gd name="connsiteY6" fmla="*/ 381000 h 381000"/>
                <a:gd name="connsiteX7" fmla="*/ 342900 w 342900"/>
                <a:gd name="connsiteY7" fmla="*/ 297180 h 381000"/>
                <a:gd name="connsiteX8" fmla="*/ 307658 w 342900"/>
                <a:gd name="connsiteY8" fmla="*/ 243840 h 381000"/>
                <a:gd name="connsiteX9" fmla="*/ 227648 w 342900"/>
                <a:gd name="connsiteY9" fmla="*/ 220980 h 381000"/>
                <a:gd name="connsiteX10" fmla="*/ 200025 w 342900"/>
                <a:gd name="connsiteY10" fmla="*/ 257175 h 381000"/>
                <a:gd name="connsiteX11" fmla="*/ 142875 w 342900"/>
                <a:gd name="connsiteY11" fmla="*/ 257175 h 381000"/>
                <a:gd name="connsiteX12" fmla="*/ 116205 w 342900"/>
                <a:gd name="connsiteY12" fmla="*/ 220980 h 381000"/>
                <a:gd name="connsiteX13" fmla="*/ 36195 w 342900"/>
                <a:gd name="connsiteY13" fmla="*/ 243840 h 381000"/>
                <a:gd name="connsiteX14" fmla="*/ 0 w 342900"/>
                <a:gd name="connsiteY14" fmla="*/ 297180 h 381000"/>
                <a:gd name="connsiteX15" fmla="*/ 0 w 342900"/>
                <a:gd name="connsiteY15" fmla="*/ 38100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2900" h="381000">
                  <a:moveTo>
                    <a:pt x="266700" y="95250"/>
                  </a:moveTo>
                  <a:cubicBezTo>
                    <a:pt x="266700" y="147638"/>
                    <a:pt x="223838" y="190500"/>
                    <a:pt x="171450" y="190500"/>
                  </a:cubicBezTo>
                  <a:cubicBezTo>
                    <a:pt x="119063" y="190500"/>
                    <a:pt x="76200" y="147638"/>
                    <a:pt x="76200" y="95250"/>
                  </a:cubicBezTo>
                  <a:cubicBezTo>
                    <a:pt x="76200" y="42863"/>
                    <a:pt x="119063" y="0"/>
                    <a:pt x="171450" y="0"/>
                  </a:cubicBezTo>
                  <a:cubicBezTo>
                    <a:pt x="223838" y="0"/>
                    <a:pt x="266700" y="42863"/>
                    <a:pt x="266700" y="95250"/>
                  </a:cubicBezTo>
                  <a:moveTo>
                    <a:pt x="0" y="381000"/>
                  </a:moveTo>
                  <a:lnTo>
                    <a:pt x="342900" y="381000"/>
                  </a:lnTo>
                  <a:lnTo>
                    <a:pt x="342900" y="297180"/>
                  </a:lnTo>
                  <a:cubicBezTo>
                    <a:pt x="342900" y="274320"/>
                    <a:pt x="328613" y="253365"/>
                    <a:pt x="307658" y="243840"/>
                  </a:cubicBezTo>
                  <a:cubicBezTo>
                    <a:pt x="282893" y="233363"/>
                    <a:pt x="254318" y="222885"/>
                    <a:pt x="227648" y="220980"/>
                  </a:cubicBezTo>
                  <a:lnTo>
                    <a:pt x="200025" y="257175"/>
                  </a:lnTo>
                  <a:lnTo>
                    <a:pt x="142875" y="257175"/>
                  </a:lnTo>
                  <a:lnTo>
                    <a:pt x="116205" y="220980"/>
                  </a:lnTo>
                  <a:cubicBezTo>
                    <a:pt x="89535" y="222885"/>
                    <a:pt x="60960" y="234315"/>
                    <a:pt x="36195" y="243840"/>
                  </a:cubicBezTo>
                  <a:cubicBezTo>
                    <a:pt x="14288" y="253365"/>
                    <a:pt x="0" y="274320"/>
                    <a:pt x="0" y="297180"/>
                  </a:cubicBezTo>
                  <a:lnTo>
                    <a:pt x="0" y="381000"/>
                  </a:lnTo>
                  <a:close/>
                </a:path>
              </a:pathLst>
            </a:custGeom>
            <a:solidFill>
              <a:schemeClr val="bg1"/>
            </a:solidFill>
            <a:ln w="9525" cap="flat">
              <a:noFill/>
              <a:prstDash val="solid"/>
              <a:miter/>
            </a:ln>
          </p:spPr>
          <p:txBody>
            <a:bodyPr rtlCol="0" anchor="ctr"/>
            <a:lstStyle/>
            <a:p>
              <a:endParaRPr lang="en-US" dirty="0"/>
            </a:p>
          </p:txBody>
        </p:sp>
      </p:grpSp>
      <p:grpSp>
        <p:nvGrpSpPr>
          <p:cNvPr id="13" name="Gruppieren 12">
            <a:extLst>
              <a:ext uri="{FF2B5EF4-FFF2-40B4-BE49-F238E27FC236}">
                <a16:creationId xmlns:a16="http://schemas.microsoft.com/office/drawing/2014/main" id="{EFA2CACE-FC54-49D7-9376-49589746A89C}"/>
              </a:ext>
            </a:extLst>
          </p:cNvPr>
          <p:cNvGrpSpPr/>
          <p:nvPr/>
        </p:nvGrpSpPr>
        <p:grpSpPr bwMode="gray">
          <a:xfrm>
            <a:off x="6482417" y="5068466"/>
            <a:ext cx="864000" cy="864000"/>
            <a:chOff x="6482417" y="5068466"/>
            <a:chExt cx="864000" cy="864000"/>
          </a:xfrm>
        </p:grpSpPr>
        <p:sp>
          <p:nvSpPr>
            <p:cNvPr id="24" name="Ellipse 23">
              <a:extLst>
                <a:ext uri="{FF2B5EF4-FFF2-40B4-BE49-F238E27FC236}">
                  <a16:creationId xmlns:a16="http://schemas.microsoft.com/office/drawing/2014/main" id="{ABAA106B-9D14-4DD6-A716-59BB6CD1B42A}"/>
                </a:ext>
              </a:extLst>
            </p:cNvPr>
            <p:cNvSpPr/>
            <p:nvPr/>
          </p:nvSpPr>
          <p:spPr bwMode="gray">
            <a:xfrm>
              <a:off x="6482417" y="5068466"/>
              <a:ext cx="864000" cy="864000"/>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Freihandform: Form 11">
              <a:extLst>
                <a:ext uri="{FF2B5EF4-FFF2-40B4-BE49-F238E27FC236}">
                  <a16:creationId xmlns:a16="http://schemas.microsoft.com/office/drawing/2014/main" id="{96112C13-40BD-4100-A339-0F5DE41CEF0C}"/>
                </a:ext>
              </a:extLst>
            </p:cNvPr>
            <p:cNvSpPr/>
            <p:nvPr/>
          </p:nvSpPr>
          <p:spPr bwMode="gray">
            <a:xfrm>
              <a:off x="6685817" y="5309966"/>
              <a:ext cx="457200" cy="381000"/>
            </a:xfrm>
            <a:custGeom>
              <a:avLst/>
              <a:gdLst>
                <a:gd name="connsiteX0" fmla="*/ 157163 w 457200"/>
                <a:gd name="connsiteY0" fmla="*/ 119063 h 381000"/>
                <a:gd name="connsiteX1" fmla="*/ 104775 w 457200"/>
                <a:gd name="connsiteY1" fmla="*/ 171450 h 381000"/>
                <a:gd name="connsiteX2" fmla="*/ 52388 w 457200"/>
                <a:gd name="connsiteY2" fmla="*/ 119063 h 381000"/>
                <a:gd name="connsiteX3" fmla="*/ 104775 w 457200"/>
                <a:gd name="connsiteY3" fmla="*/ 66675 h 381000"/>
                <a:gd name="connsiteX4" fmla="*/ 157163 w 457200"/>
                <a:gd name="connsiteY4" fmla="*/ 119063 h 381000"/>
                <a:gd name="connsiteX5" fmla="*/ 285750 w 457200"/>
                <a:gd name="connsiteY5" fmla="*/ 0 h 381000"/>
                <a:gd name="connsiteX6" fmla="*/ 190500 w 457200"/>
                <a:gd name="connsiteY6" fmla="*/ 95250 h 381000"/>
                <a:gd name="connsiteX7" fmla="*/ 285750 w 457200"/>
                <a:gd name="connsiteY7" fmla="*/ 190500 h 381000"/>
                <a:gd name="connsiteX8" fmla="*/ 381000 w 457200"/>
                <a:gd name="connsiteY8" fmla="*/ 95250 h 381000"/>
                <a:gd name="connsiteX9" fmla="*/ 285750 w 457200"/>
                <a:gd name="connsiteY9" fmla="*/ 0 h 381000"/>
                <a:gd name="connsiteX10" fmla="*/ 114300 w 457200"/>
                <a:gd name="connsiteY10" fmla="*/ 381000 h 381000"/>
                <a:gd name="connsiteX11" fmla="*/ 457200 w 457200"/>
                <a:gd name="connsiteY11" fmla="*/ 381000 h 381000"/>
                <a:gd name="connsiteX12" fmla="*/ 457200 w 457200"/>
                <a:gd name="connsiteY12" fmla="*/ 297180 h 381000"/>
                <a:gd name="connsiteX13" fmla="*/ 421958 w 457200"/>
                <a:gd name="connsiteY13" fmla="*/ 243840 h 381000"/>
                <a:gd name="connsiteX14" fmla="*/ 341948 w 457200"/>
                <a:gd name="connsiteY14" fmla="*/ 220028 h 381000"/>
                <a:gd name="connsiteX15" fmla="*/ 314325 w 457200"/>
                <a:gd name="connsiteY15" fmla="*/ 257175 h 381000"/>
                <a:gd name="connsiteX16" fmla="*/ 257175 w 457200"/>
                <a:gd name="connsiteY16" fmla="*/ 257175 h 381000"/>
                <a:gd name="connsiteX17" fmla="*/ 230505 w 457200"/>
                <a:gd name="connsiteY17" fmla="*/ 220980 h 381000"/>
                <a:gd name="connsiteX18" fmla="*/ 150495 w 457200"/>
                <a:gd name="connsiteY18" fmla="*/ 244792 h 381000"/>
                <a:gd name="connsiteX19" fmla="*/ 115253 w 457200"/>
                <a:gd name="connsiteY19" fmla="*/ 298133 h 381000"/>
                <a:gd name="connsiteX20" fmla="*/ 115253 w 457200"/>
                <a:gd name="connsiteY20" fmla="*/ 381000 h 381000"/>
                <a:gd name="connsiteX21" fmla="*/ 142875 w 457200"/>
                <a:gd name="connsiteY21" fmla="*/ 226695 h 381000"/>
                <a:gd name="connsiteX22" fmla="*/ 193358 w 457200"/>
                <a:gd name="connsiteY22" fmla="*/ 208597 h 381000"/>
                <a:gd name="connsiteX23" fmla="*/ 187643 w 457200"/>
                <a:gd name="connsiteY23" fmla="*/ 205740 h 381000"/>
                <a:gd name="connsiteX24" fmla="*/ 139065 w 457200"/>
                <a:gd name="connsiteY24" fmla="*/ 192405 h 381000"/>
                <a:gd name="connsiteX25" fmla="*/ 70485 w 457200"/>
                <a:gd name="connsiteY25" fmla="*/ 192405 h 381000"/>
                <a:gd name="connsiteX26" fmla="*/ 21908 w 457200"/>
                <a:gd name="connsiteY26" fmla="*/ 205740 h 381000"/>
                <a:gd name="connsiteX27" fmla="*/ 0 w 457200"/>
                <a:gd name="connsiteY27" fmla="*/ 236220 h 381000"/>
                <a:gd name="connsiteX28" fmla="*/ 0 w 457200"/>
                <a:gd name="connsiteY28" fmla="*/ 284797 h 381000"/>
                <a:gd name="connsiteX29" fmla="*/ 96203 w 457200"/>
                <a:gd name="connsiteY29" fmla="*/ 284797 h 381000"/>
                <a:gd name="connsiteX30" fmla="*/ 142875 w 457200"/>
                <a:gd name="connsiteY30" fmla="*/ 226695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57200" h="381000">
                  <a:moveTo>
                    <a:pt x="157163" y="119063"/>
                  </a:moveTo>
                  <a:cubicBezTo>
                    <a:pt x="157163" y="147638"/>
                    <a:pt x="133350" y="171450"/>
                    <a:pt x="104775" y="171450"/>
                  </a:cubicBezTo>
                  <a:cubicBezTo>
                    <a:pt x="76200" y="171450"/>
                    <a:pt x="52388" y="147638"/>
                    <a:pt x="52388" y="119063"/>
                  </a:cubicBezTo>
                  <a:cubicBezTo>
                    <a:pt x="52388" y="90488"/>
                    <a:pt x="76200" y="66675"/>
                    <a:pt x="104775" y="66675"/>
                  </a:cubicBezTo>
                  <a:cubicBezTo>
                    <a:pt x="133350" y="66675"/>
                    <a:pt x="157163" y="90488"/>
                    <a:pt x="157163" y="119063"/>
                  </a:cubicBezTo>
                  <a:moveTo>
                    <a:pt x="285750" y="0"/>
                  </a:moveTo>
                  <a:cubicBezTo>
                    <a:pt x="233363" y="0"/>
                    <a:pt x="190500" y="42863"/>
                    <a:pt x="190500" y="95250"/>
                  </a:cubicBezTo>
                  <a:cubicBezTo>
                    <a:pt x="190500" y="147638"/>
                    <a:pt x="233363" y="190500"/>
                    <a:pt x="285750" y="190500"/>
                  </a:cubicBezTo>
                  <a:cubicBezTo>
                    <a:pt x="338138" y="190500"/>
                    <a:pt x="381000" y="147638"/>
                    <a:pt x="381000" y="95250"/>
                  </a:cubicBezTo>
                  <a:cubicBezTo>
                    <a:pt x="381000" y="42863"/>
                    <a:pt x="338138" y="0"/>
                    <a:pt x="285750" y="0"/>
                  </a:cubicBezTo>
                  <a:moveTo>
                    <a:pt x="114300" y="381000"/>
                  </a:moveTo>
                  <a:lnTo>
                    <a:pt x="457200" y="381000"/>
                  </a:lnTo>
                  <a:lnTo>
                    <a:pt x="457200" y="297180"/>
                  </a:lnTo>
                  <a:cubicBezTo>
                    <a:pt x="457200" y="274320"/>
                    <a:pt x="442913" y="253365"/>
                    <a:pt x="421958" y="243840"/>
                  </a:cubicBezTo>
                  <a:cubicBezTo>
                    <a:pt x="397193" y="233363"/>
                    <a:pt x="368618" y="222885"/>
                    <a:pt x="341948" y="220028"/>
                  </a:cubicBezTo>
                  <a:lnTo>
                    <a:pt x="314325" y="257175"/>
                  </a:lnTo>
                  <a:lnTo>
                    <a:pt x="257175" y="257175"/>
                  </a:lnTo>
                  <a:lnTo>
                    <a:pt x="230505" y="220980"/>
                  </a:lnTo>
                  <a:cubicBezTo>
                    <a:pt x="203835" y="222885"/>
                    <a:pt x="175260" y="234315"/>
                    <a:pt x="150495" y="244792"/>
                  </a:cubicBezTo>
                  <a:cubicBezTo>
                    <a:pt x="128588" y="253365"/>
                    <a:pt x="115253" y="274320"/>
                    <a:pt x="115253" y="298133"/>
                  </a:cubicBezTo>
                  <a:lnTo>
                    <a:pt x="115253" y="381000"/>
                  </a:lnTo>
                  <a:close/>
                  <a:moveTo>
                    <a:pt x="142875" y="226695"/>
                  </a:moveTo>
                  <a:cubicBezTo>
                    <a:pt x="157163" y="220980"/>
                    <a:pt x="174308" y="213360"/>
                    <a:pt x="193358" y="208597"/>
                  </a:cubicBezTo>
                  <a:cubicBezTo>
                    <a:pt x="191453" y="207645"/>
                    <a:pt x="189548" y="206692"/>
                    <a:pt x="187643" y="205740"/>
                  </a:cubicBezTo>
                  <a:cubicBezTo>
                    <a:pt x="172403" y="200025"/>
                    <a:pt x="155258" y="193358"/>
                    <a:pt x="139065" y="192405"/>
                  </a:cubicBezTo>
                  <a:lnTo>
                    <a:pt x="70485" y="192405"/>
                  </a:lnTo>
                  <a:cubicBezTo>
                    <a:pt x="54293" y="193358"/>
                    <a:pt x="36195" y="200025"/>
                    <a:pt x="21908" y="205740"/>
                  </a:cubicBezTo>
                  <a:cubicBezTo>
                    <a:pt x="8573" y="210503"/>
                    <a:pt x="0" y="222885"/>
                    <a:pt x="0" y="236220"/>
                  </a:cubicBezTo>
                  <a:lnTo>
                    <a:pt x="0" y="284797"/>
                  </a:lnTo>
                  <a:lnTo>
                    <a:pt x="96203" y="284797"/>
                  </a:lnTo>
                  <a:cubicBezTo>
                    <a:pt x="100013" y="259080"/>
                    <a:pt x="117158" y="237172"/>
                    <a:pt x="142875" y="226695"/>
                  </a:cubicBezTo>
                </a:path>
              </a:pathLst>
            </a:custGeom>
            <a:solidFill>
              <a:schemeClr val="bg1"/>
            </a:solidFill>
            <a:ln w="9525" cap="flat">
              <a:noFill/>
              <a:prstDash val="solid"/>
              <a:miter/>
            </a:ln>
          </p:spPr>
          <p:txBody>
            <a:bodyPr rtlCol="0" anchor="ctr"/>
            <a:lstStyle/>
            <a:p>
              <a:endParaRPr lang="en-US" dirty="0"/>
            </a:p>
          </p:txBody>
        </p:sp>
      </p:grpSp>
      <p:sp>
        <p:nvSpPr>
          <p:cNvPr id="4" name="Fußzeilenplatzhalter 3">
            <a:extLst>
              <a:ext uri="{FF2B5EF4-FFF2-40B4-BE49-F238E27FC236}">
                <a16:creationId xmlns:a16="http://schemas.microsoft.com/office/drawing/2014/main" id="{B77C928F-5727-486C-BE3A-F010C62C224F}"/>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470E48B4-A051-4A70-A1FC-644B9A0486AB}"/>
              </a:ext>
            </a:extLst>
          </p:cNvPr>
          <p:cNvSpPr>
            <a:spLocks noGrp="1"/>
          </p:cNvSpPr>
          <p:nvPr>
            <p:ph type="sldNum" sz="quarter" idx="12"/>
          </p:nvPr>
        </p:nvSpPr>
        <p:spPr/>
        <p:txBody>
          <a:bodyPr/>
          <a:lstStyle/>
          <a:p>
            <a:fld id="{CE82B8A1-0CCE-4815-9668-383D7DE7D8B4}" type="slidenum">
              <a:rPr lang="en-US" noProof="0" smtClean="0"/>
              <a:t>56</a:t>
            </a:fld>
            <a:endParaRPr lang="en-US" noProof="0" dirty="0"/>
          </a:p>
        </p:txBody>
      </p:sp>
    </p:spTree>
    <p:extLst>
      <p:ext uri="{BB962C8B-B14F-4D97-AF65-F5344CB8AC3E}">
        <p14:creationId xmlns:p14="http://schemas.microsoft.com/office/powerpoint/2010/main" val="3158712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m 8">
            <a:extLst>
              <a:ext uri="{FF2B5EF4-FFF2-40B4-BE49-F238E27FC236}">
                <a16:creationId xmlns:a16="http://schemas.microsoft.com/office/drawing/2014/main" id="{06D5E3FE-03AC-4F69-A6E4-93591DECB5F7}"/>
              </a:ext>
            </a:extLst>
          </p:cNvPr>
          <p:cNvGraphicFramePr/>
          <p:nvPr>
            <p:custDataLst>
              <p:tags r:id="rId1"/>
            </p:custDataLst>
            <p:extLst>
              <p:ext uri="{D42A27DB-BD31-4B8C-83A1-F6EECF244321}">
                <p14:modId xmlns:p14="http://schemas.microsoft.com/office/powerpoint/2010/main" val="3804329699"/>
              </p:ext>
            </p:extLst>
          </p:nvPr>
        </p:nvGraphicFramePr>
        <p:xfrm>
          <a:off x="9751026" y="1197769"/>
          <a:ext cx="4535487" cy="4535487"/>
        </p:xfrm>
        <a:graphic>
          <a:graphicData uri="http://schemas.openxmlformats.org/drawingml/2006/chart">
            <c:chart xmlns:c="http://schemas.openxmlformats.org/drawingml/2006/chart" xmlns:r="http://schemas.openxmlformats.org/officeDocument/2006/relationships" r:id="rId8"/>
          </a:graphicData>
        </a:graphic>
      </p:graphicFrame>
      <p:sp>
        <p:nvSpPr>
          <p:cNvPr id="10" name="Freeform 154">
            <a:extLst>
              <a:ext uri="{FF2B5EF4-FFF2-40B4-BE49-F238E27FC236}">
                <a16:creationId xmlns:a16="http://schemas.microsoft.com/office/drawing/2014/main" id="{501A435D-1C05-45C6-83F3-C64398D29F57}"/>
              </a:ext>
            </a:extLst>
          </p:cNvPr>
          <p:cNvSpPr>
            <a:spLocks/>
          </p:cNvSpPr>
          <p:nvPr>
            <p:custDataLst>
              <p:tags r:id="rId2"/>
            </p:custDataLst>
          </p:nvPr>
        </p:nvSpPr>
        <p:spPr bwMode="gray">
          <a:xfrm rot="16200000" flipH="1">
            <a:off x="9711415" y="2766511"/>
            <a:ext cx="3128758" cy="1430595"/>
          </a:xfrm>
          <a:custGeom>
            <a:avLst/>
            <a:gdLst/>
            <a:ahLst/>
            <a:cxnLst/>
            <a:rect l="l" t="t" r="r" b="b"/>
            <a:pathLst>
              <a:path w="3128758" h="1430595">
                <a:moveTo>
                  <a:pt x="3126083" y="1407406"/>
                </a:moveTo>
                <a:lnTo>
                  <a:pt x="3128758" y="1419893"/>
                </a:lnTo>
                <a:lnTo>
                  <a:pt x="3034217" y="1430595"/>
                </a:lnTo>
                <a:lnTo>
                  <a:pt x="3034217" y="1417217"/>
                </a:lnTo>
                <a:close/>
                <a:moveTo>
                  <a:pt x="0" y="1394028"/>
                </a:moveTo>
                <a:lnTo>
                  <a:pt x="94541" y="1404731"/>
                </a:lnTo>
                <a:lnTo>
                  <a:pt x="92757" y="1415433"/>
                </a:lnTo>
                <a:lnTo>
                  <a:pt x="0" y="1407406"/>
                </a:lnTo>
                <a:close/>
                <a:moveTo>
                  <a:pt x="3101110" y="1245081"/>
                </a:moveTo>
                <a:lnTo>
                  <a:pt x="3103785" y="1257568"/>
                </a:lnTo>
                <a:lnTo>
                  <a:pt x="3011028" y="1276298"/>
                </a:lnTo>
                <a:lnTo>
                  <a:pt x="3008352" y="1263811"/>
                </a:lnTo>
                <a:close/>
                <a:moveTo>
                  <a:pt x="27649" y="1231703"/>
                </a:moveTo>
                <a:lnTo>
                  <a:pt x="120406" y="1251325"/>
                </a:lnTo>
                <a:lnTo>
                  <a:pt x="117730" y="1263811"/>
                </a:lnTo>
                <a:lnTo>
                  <a:pt x="24973" y="1242406"/>
                </a:lnTo>
                <a:close/>
                <a:moveTo>
                  <a:pt x="3059191" y="1084541"/>
                </a:moveTo>
                <a:lnTo>
                  <a:pt x="3063650" y="1097028"/>
                </a:lnTo>
                <a:lnTo>
                  <a:pt x="2881704" y="1154109"/>
                </a:lnTo>
                <a:lnTo>
                  <a:pt x="2878136" y="1143406"/>
                </a:lnTo>
                <a:close/>
                <a:moveTo>
                  <a:pt x="71351" y="1072054"/>
                </a:moveTo>
                <a:lnTo>
                  <a:pt x="250622" y="1130919"/>
                </a:lnTo>
                <a:lnTo>
                  <a:pt x="246162" y="1143405"/>
                </a:lnTo>
                <a:lnTo>
                  <a:pt x="67784" y="1084541"/>
                </a:lnTo>
                <a:close/>
                <a:moveTo>
                  <a:pt x="3000326" y="932919"/>
                </a:moveTo>
                <a:lnTo>
                  <a:pt x="3003893" y="943622"/>
                </a:lnTo>
                <a:lnTo>
                  <a:pt x="2918272" y="981081"/>
                </a:lnTo>
                <a:lnTo>
                  <a:pt x="2913812" y="971270"/>
                </a:lnTo>
                <a:close/>
                <a:moveTo>
                  <a:pt x="132892" y="920433"/>
                </a:moveTo>
                <a:lnTo>
                  <a:pt x="216730" y="957892"/>
                </a:lnTo>
                <a:lnTo>
                  <a:pt x="213162" y="968595"/>
                </a:lnTo>
                <a:lnTo>
                  <a:pt x="126649" y="931136"/>
                </a:lnTo>
                <a:close/>
                <a:moveTo>
                  <a:pt x="2924515" y="785757"/>
                </a:moveTo>
                <a:lnTo>
                  <a:pt x="2930758" y="795568"/>
                </a:lnTo>
                <a:lnTo>
                  <a:pt x="2848704" y="841946"/>
                </a:lnTo>
                <a:lnTo>
                  <a:pt x="2842460" y="832135"/>
                </a:lnTo>
                <a:close/>
                <a:moveTo>
                  <a:pt x="208702" y="773271"/>
                </a:moveTo>
                <a:lnTo>
                  <a:pt x="288973" y="821433"/>
                </a:lnTo>
                <a:lnTo>
                  <a:pt x="282730" y="832136"/>
                </a:lnTo>
                <a:lnTo>
                  <a:pt x="202459" y="783082"/>
                </a:lnTo>
                <a:close/>
                <a:moveTo>
                  <a:pt x="2836218" y="646622"/>
                </a:moveTo>
                <a:lnTo>
                  <a:pt x="2842461" y="657325"/>
                </a:lnTo>
                <a:lnTo>
                  <a:pt x="2690839" y="768812"/>
                </a:lnTo>
                <a:lnTo>
                  <a:pt x="2681920" y="758109"/>
                </a:lnTo>
                <a:close/>
                <a:moveTo>
                  <a:pt x="298784" y="635919"/>
                </a:moveTo>
                <a:lnTo>
                  <a:pt x="450406" y="747406"/>
                </a:lnTo>
                <a:lnTo>
                  <a:pt x="442379" y="758109"/>
                </a:lnTo>
                <a:lnTo>
                  <a:pt x="290757" y="646622"/>
                </a:lnTo>
                <a:close/>
                <a:moveTo>
                  <a:pt x="2732757" y="519973"/>
                </a:moveTo>
                <a:lnTo>
                  <a:pt x="2740784" y="528000"/>
                </a:lnTo>
                <a:lnTo>
                  <a:pt x="2669433" y="591324"/>
                </a:lnTo>
                <a:lnTo>
                  <a:pt x="2660514" y="581513"/>
                </a:lnTo>
                <a:close/>
                <a:moveTo>
                  <a:pt x="402243" y="509271"/>
                </a:moveTo>
                <a:lnTo>
                  <a:pt x="473595" y="572596"/>
                </a:lnTo>
                <a:lnTo>
                  <a:pt x="465568" y="581515"/>
                </a:lnTo>
                <a:lnTo>
                  <a:pt x="394216" y="518190"/>
                </a:lnTo>
                <a:close/>
                <a:moveTo>
                  <a:pt x="2614136" y="402244"/>
                </a:moveTo>
                <a:lnTo>
                  <a:pt x="2624838" y="410271"/>
                </a:lnTo>
                <a:lnTo>
                  <a:pt x="2561514" y="482514"/>
                </a:lnTo>
                <a:lnTo>
                  <a:pt x="2551703" y="473595"/>
                </a:lnTo>
                <a:close/>
                <a:moveTo>
                  <a:pt x="519973" y="393325"/>
                </a:moveTo>
                <a:lnTo>
                  <a:pt x="583297" y="462893"/>
                </a:lnTo>
                <a:lnTo>
                  <a:pt x="575270" y="471812"/>
                </a:lnTo>
                <a:lnTo>
                  <a:pt x="511946" y="402244"/>
                </a:lnTo>
                <a:close/>
                <a:moveTo>
                  <a:pt x="2488380" y="298784"/>
                </a:moveTo>
                <a:lnTo>
                  <a:pt x="2499083" y="306811"/>
                </a:lnTo>
                <a:lnTo>
                  <a:pt x="2386704" y="459325"/>
                </a:lnTo>
                <a:lnTo>
                  <a:pt x="2376893" y="450406"/>
                </a:lnTo>
                <a:close/>
                <a:moveTo>
                  <a:pt x="649298" y="290757"/>
                </a:moveTo>
                <a:lnTo>
                  <a:pt x="760785" y="444163"/>
                </a:lnTo>
                <a:lnTo>
                  <a:pt x="750082" y="452190"/>
                </a:lnTo>
                <a:lnTo>
                  <a:pt x="638595" y="298784"/>
                </a:lnTo>
                <a:close/>
                <a:moveTo>
                  <a:pt x="2349245" y="210487"/>
                </a:moveTo>
                <a:lnTo>
                  <a:pt x="2359947" y="216730"/>
                </a:lnTo>
                <a:lnTo>
                  <a:pt x="2313569" y="297001"/>
                </a:lnTo>
                <a:lnTo>
                  <a:pt x="2302866" y="290758"/>
                </a:lnTo>
                <a:close/>
                <a:moveTo>
                  <a:pt x="787541" y="201568"/>
                </a:moveTo>
                <a:lnTo>
                  <a:pt x="833919" y="283622"/>
                </a:lnTo>
                <a:lnTo>
                  <a:pt x="824108" y="290757"/>
                </a:lnTo>
                <a:lnTo>
                  <a:pt x="777730" y="207811"/>
                </a:lnTo>
                <a:close/>
                <a:moveTo>
                  <a:pt x="2203867" y="134676"/>
                </a:moveTo>
                <a:lnTo>
                  <a:pt x="2214569" y="140919"/>
                </a:lnTo>
                <a:lnTo>
                  <a:pt x="2176218" y="224757"/>
                </a:lnTo>
                <a:lnTo>
                  <a:pt x="2163731" y="221190"/>
                </a:lnTo>
                <a:close/>
                <a:moveTo>
                  <a:pt x="935595" y="130216"/>
                </a:moveTo>
                <a:lnTo>
                  <a:pt x="973054" y="216730"/>
                </a:lnTo>
                <a:lnTo>
                  <a:pt x="963243" y="221189"/>
                </a:lnTo>
                <a:lnTo>
                  <a:pt x="924892" y="134676"/>
                </a:lnTo>
                <a:close/>
                <a:moveTo>
                  <a:pt x="2049568" y="75811"/>
                </a:moveTo>
                <a:lnTo>
                  <a:pt x="2060271" y="79379"/>
                </a:lnTo>
                <a:lnTo>
                  <a:pt x="2001406" y="258649"/>
                </a:lnTo>
                <a:lnTo>
                  <a:pt x="1990703" y="254190"/>
                </a:lnTo>
                <a:close/>
                <a:moveTo>
                  <a:pt x="1089000" y="71351"/>
                </a:moveTo>
                <a:lnTo>
                  <a:pt x="1146081" y="250622"/>
                </a:lnTo>
                <a:lnTo>
                  <a:pt x="1135378" y="254189"/>
                </a:lnTo>
                <a:lnTo>
                  <a:pt x="1078297" y="75811"/>
                </a:lnTo>
                <a:close/>
                <a:moveTo>
                  <a:pt x="1889920" y="33000"/>
                </a:moveTo>
                <a:lnTo>
                  <a:pt x="1902407" y="35676"/>
                </a:lnTo>
                <a:lnTo>
                  <a:pt x="1883677" y="128433"/>
                </a:lnTo>
                <a:lnTo>
                  <a:pt x="1871190" y="125757"/>
                </a:lnTo>
                <a:close/>
                <a:moveTo>
                  <a:pt x="1249541" y="31217"/>
                </a:moveTo>
                <a:lnTo>
                  <a:pt x="1268271" y="122191"/>
                </a:lnTo>
                <a:lnTo>
                  <a:pt x="1255784" y="125758"/>
                </a:lnTo>
                <a:lnTo>
                  <a:pt x="1237054" y="33001"/>
                </a:lnTo>
                <a:close/>
                <a:moveTo>
                  <a:pt x="1727595" y="8027"/>
                </a:moveTo>
                <a:lnTo>
                  <a:pt x="1740081" y="8027"/>
                </a:lnTo>
                <a:lnTo>
                  <a:pt x="1729379" y="102568"/>
                </a:lnTo>
                <a:lnTo>
                  <a:pt x="1716892" y="100784"/>
                </a:lnTo>
                <a:close/>
                <a:moveTo>
                  <a:pt x="1411865" y="6244"/>
                </a:moveTo>
                <a:lnTo>
                  <a:pt x="1421676" y="100785"/>
                </a:lnTo>
                <a:lnTo>
                  <a:pt x="1409189" y="100785"/>
                </a:lnTo>
                <a:lnTo>
                  <a:pt x="1398487" y="8028"/>
                </a:lnTo>
                <a:close/>
                <a:moveTo>
                  <a:pt x="1563487" y="0"/>
                </a:moveTo>
                <a:lnTo>
                  <a:pt x="1575973" y="0"/>
                </a:lnTo>
                <a:lnTo>
                  <a:pt x="1575973" y="187297"/>
                </a:lnTo>
                <a:lnTo>
                  <a:pt x="1563487" y="187297"/>
                </a:lnTo>
                <a:close/>
              </a:path>
            </a:pathLst>
          </a:custGeom>
          <a:solidFill>
            <a:schemeClr val="tx1"/>
          </a:solidFill>
          <a:ln w="25400">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1" name="Gruppieren 10">
            <a:extLst>
              <a:ext uri="{FF2B5EF4-FFF2-40B4-BE49-F238E27FC236}">
                <a16:creationId xmlns:a16="http://schemas.microsoft.com/office/drawing/2014/main" id="{38EB6D01-7C47-4B2A-9CB8-35C15758E65F}"/>
              </a:ext>
            </a:extLst>
          </p:cNvPr>
          <p:cNvGrpSpPr/>
          <p:nvPr>
            <p:custDataLst>
              <p:tags r:id="rId3"/>
            </p:custDataLst>
          </p:nvPr>
        </p:nvGrpSpPr>
        <p:grpSpPr bwMode="gray">
          <a:xfrm rot="16521701">
            <a:off x="11910930" y="1409616"/>
            <a:ext cx="215680" cy="4177335"/>
            <a:chOff x="4464170" y="1844780"/>
            <a:chExt cx="215680" cy="4177335"/>
          </a:xfrm>
          <a:solidFill>
            <a:schemeClr val="bg2"/>
          </a:solidFill>
        </p:grpSpPr>
        <p:sp>
          <p:nvSpPr>
            <p:cNvPr id="12" name="Gleichschenkliges Dreieck 11">
              <a:extLst>
                <a:ext uri="{FF2B5EF4-FFF2-40B4-BE49-F238E27FC236}">
                  <a16:creationId xmlns:a16="http://schemas.microsoft.com/office/drawing/2014/main" id="{0BB2F5BE-B9DA-4F21-BFAC-A9ACE99E183C}"/>
                </a:ext>
              </a:extLst>
            </p:cNvPr>
            <p:cNvSpPr/>
            <p:nvPr>
              <p:custDataLst>
                <p:tags r:id="rId4"/>
              </p:custDataLst>
            </p:nvPr>
          </p:nvSpPr>
          <p:spPr bwMode="gray">
            <a:xfrm>
              <a:off x="4500563" y="1844780"/>
              <a:ext cx="147976" cy="2089045"/>
            </a:xfrm>
            <a:prstGeom prst="triangl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 name="Ellipse 12">
              <a:extLst>
                <a:ext uri="{FF2B5EF4-FFF2-40B4-BE49-F238E27FC236}">
                  <a16:creationId xmlns:a16="http://schemas.microsoft.com/office/drawing/2014/main" id="{D22D57E1-4952-411E-A557-376A19127435}"/>
                </a:ext>
              </a:extLst>
            </p:cNvPr>
            <p:cNvSpPr/>
            <p:nvPr>
              <p:custDataLst>
                <p:tags r:id="rId5"/>
              </p:custDataLst>
            </p:nvPr>
          </p:nvSpPr>
          <p:spPr bwMode="gray">
            <a:xfrm>
              <a:off x="4464170" y="3825240"/>
              <a:ext cx="215680" cy="215680"/>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p>
          </p:txBody>
        </p:sp>
        <p:sp>
          <p:nvSpPr>
            <p:cNvPr id="14" name="Gleichschenkliges Dreieck 13">
              <a:extLst>
                <a:ext uri="{FF2B5EF4-FFF2-40B4-BE49-F238E27FC236}">
                  <a16:creationId xmlns:a16="http://schemas.microsoft.com/office/drawing/2014/main" id="{B69D6C47-BD00-48B7-A3EB-B9EB49973D5C}"/>
                </a:ext>
              </a:extLst>
            </p:cNvPr>
            <p:cNvSpPr/>
            <p:nvPr>
              <p:custDataLst>
                <p:tags r:id="rId6"/>
              </p:custDataLst>
            </p:nvPr>
          </p:nvSpPr>
          <p:spPr bwMode="gray">
            <a:xfrm flipV="1">
              <a:off x="4500563" y="3933070"/>
              <a:ext cx="147976" cy="2089045"/>
            </a:xfrm>
            <a:prstGeom prst="triangl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17" name="Textplatzhalter 3">
            <a:extLst>
              <a:ext uri="{FF2B5EF4-FFF2-40B4-BE49-F238E27FC236}">
                <a16:creationId xmlns:a16="http://schemas.microsoft.com/office/drawing/2014/main" id="{E7F5D1B5-BE44-4DBA-9ADE-153918584DF7}"/>
              </a:ext>
            </a:extLst>
          </p:cNvPr>
          <p:cNvSpPr txBox="1">
            <a:spLocks/>
          </p:cNvSpPr>
          <p:nvPr/>
        </p:nvSpPr>
        <p:spPr bwMode="gray">
          <a:xfrm>
            <a:off x="623392" y="1196752"/>
            <a:ext cx="8136432" cy="1296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t>Speedometer diagram –</a:t>
            </a:r>
            <a:br>
              <a:rPr lang="en-US" sz="4000" dirty="0"/>
            </a:br>
            <a:r>
              <a:rPr lang="en-US" sz="4000" dirty="0"/>
              <a:t>Lorem ipsum sit amet, consectetuer</a:t>
            </a:r>
          </a:p>
        </p:txBody>
      </p:sp>
      <p:sp>
        <p:nvSpPr>
          <p:cNvPr id="19" name="Textplatzhalter 15">
            <a:extLst>
              <a:ext uri="{FF2B5EF4-FFF2-40B4-BE49-F238E27FC236}">
                <a16:creationId xmlns:a16="http://schemas.microsoft.com/office/drawing/2014/main" id="{BDFB3DB6-3568-4982-B01B-4E68CE6E0A6C}"/>
              </a:ext>
            </a:extLst>
          </p:cNvPr>
          <p:cNvSpPr txBox="1">
            <a:spLocks/>
          </p:cNvSpPr>
          <p:nvPr/>
        </p:nvSpPr>
        <p:spPr bwMode="gray">
          <a:xfrm>
            <a:off x="623393" y="3428401"/>
            <a:ext cx="8064995" cy="2736903"/>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Aft>
                <a:spcPts val="600"/>
              </a:spcAft>
            </a:pPr>
            <a:r>
              <a:rPr lang="en-US" dirty="0"/>
              <a:t>Lorem ipsum dolor sit amet, consectetuer adipiscing elit.</a:t>
            </a:r>
          </a:p>
          <a:p>
            <a:pPr lvl="1"/>
            <a:r>
              <a:rPr lang="en-US" dirty="0"/>
              <a:t>Maecenas porttitor congue massa. Fusce posuere, magna sed pulvinar</a:t>
            </a:r>
          </a:p>
          <a:p>
            <a:pPr lvl="2"/>
            <a:r>
              <a:rPr lang="en-US" dirty="0"/>
              <a:t>Lorem ipsum dolor sit amet, consectetuer adipiscing elit</a:t>
            </a:r>
          </a:p>
          <a:p>
            <a:pPr lvl="2"/>
            <a:r>
              <a:rPr lang="en-US" dirty="0"/>
              <a:t>Maecenas porttitor congue massa. Fusce posuere, magna sed pulvinar</a:t>
            </a:r>
          </a:p>
          <a:p>
            <a:pPr lvl="2"/>
            <a:r>
              <a:rPr lang="en-US" dirty="0"/>
              <a:t>Nunc viverra imperdiet enim. Fusce est. Vivamus a tellus.</a:t>
            </a:r>
          </a:p>
        </p:txBody>
      </p:sp>
      <p:grpSp>
        <p:nvGrpSpPr>
          <p:cNvPr id="24" name="Gruppieren 23">
            <a:extLst>
              <a:ext uri="{FF2B5EF4-FFF2-40B4-BE49-F238E27FC236}">
                <a16:creationId xmlns:a16="http://schemas.microsoft.com/office/drawing/2014/main" id="{686EEA0A-E481-4C52-875E-38E0ADC84D8D}"/>
              </a:ext>
            </a:extLst>
          </p:cNvPr>
          <p:cNvGrpSpPr/>
          <p:nvPr/>
        </p:nvGrpSpPr>
        <p:grpSpPr bwMode="gray">
          <a:xfrm>
            <a:off x="623392" y="2660899"/>
            <a:ext cx="6732492" cy="191923"/>
            <a:chOff x="638371" y="2996880"/>
            <a:chExt cx="6732492" cy="191923"/>
          </a:xfrm>
        </p:grpSpPr>
        <p:sp>
          <p:nvSpPr>
            <p:cNvPr id="20" name="Ellipse 19">
              <a:extLst>
                <a:ext uri="{FF2B5EF4-FFF2-40B4-BE49-F238E27FC236}">
                  <a16:creationId xmlns:a16="http://schemas.microsoft.com/office/drawing/2014/main" id="{FC7B3221-CFAC-46CC-9E8E-4D40DF224DAD}"/>
                </a:ext>
              </a:extLst>
            </p:cNvPr>
            <p:cNvSpPr/>
            <p:nvPr/>
          </p:nvSpPr>
          <p:spPr bwMode="gray">
            <a:xfrm>
              <a:off x="638371" y="2996880"/>
              <a:ext cx="179764" cy="179764"/>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504000" tIns="0" rIns="0" bIns="0" rtlCol="0" anchor="t" anchorCtr="0"/>
            <a:lstStyle/>
            <a:p>
              <a:r>
                <a:rPr lang="en-US" sz="1200" dirty="0">
                  <a:solidFill>
                    <a:schemeClr val="tx1"/>
                  </a:solidFill>
                </a:rPr>
                <a:t>Lorem ipsum dolor</a:t>
              </a:r>
              <a:br>
                <a:rPr lang="en-US" sz="1200" dirty="0">
                  <a:solidFill>
                    <a:schemeClr val="tx1"/>
                  </a:solidFill>
                </a:rPr>
              </a:br>
              <a:r>
                <a:rPr lang="en-US" sz="1200" dirty="0">
                  <a:solidFill>
                    <a:schemeClr val="tx1"/>
                  </a:solidFill>
                </a:rPr>
                <a:t>sit amet, consectetuer</a:t>
              </a:r>
            </a:p>
          </p:txBody>
        </p:sp>
        <p:sp>
          <p:nvSpPr>
            <p:cNvPr id="21" name="Ellipse 20">
              <a:extLst>
                <a:ext uri="{FF2B5EF4-FFF2-40B4-BE49-F238E27FC236}">
                  <a16:creationId xmlns:a16="http://schemas.microsoft.com/office/drawing/2014/main" id="{170B484A-62CF-4DDF-B672-0867527A31AF}"/>
                </a:ext>
              </a:extLst>
            </p:cNvPr>
            <p:cNvSpPr/>
            <p:nvPr/>
          </p:nvSpPr>
          <p:spPr bwMode="gray">
            <a:xfrm>
              <a:off x="2822614" y="3009039"/>
              <a:ext cx="179764" cy="179764"/>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504000" tIns="0" rIns="0" bIns="0" rtlCol="0" anchor="t" anchorCtr="0"/>
            <a:lstStyle/>
            <a:p>
              <a:r>
                <a:rPr lang="en-US" sz="1200" dirty="0">
                  <a:solidFill>
                    <a:schemeClr val="tx1"/>
                  </a:solidFill>
                </a:rPr>
                <a:t>Adipiscing elit.</a:t>
              </a:r>
              <a:br>
                <a:rPr lang="en-US" sz="1200" dirty="0">
                  <a:solidFill>
                    <a:schemeClr val="tx1"/>
                  </a:solidFill>
                </a:rPr>
              </a:br>
              <a:r>
                <a:rPr lang="en-US" sz="1200" dirty="0">
                  <a:solidFill>
                    <a:schemeClr val="tx1"/>
                  </a:solidFill>
                </a:rPr>
                <a:t>Maecenas porttitor congue</a:t>
              </a:r>
            </a:p>
          </p:txBody>
        </p:sp>
        <p:sp>
          <p:nvSpPr>
            <p:cNvPr id="22" name="Ellipse 21">
              <a:extLst>
                <a:ext uri="{FF2B5EF4-FFF2-40B4-BE49-F238E27FC236}">
                  <a16:creationId xmlns:a16="http://schemas.microsoft.com/office/drawing/2014/main" id="{1DAE6BA6-134C-4DD4-AA83-449357498572}"/>
                </a:ext>
              </a:extLst>
            </p:cNvPr>
            <p:cNvSpPr/>
            <p:nvPr/>
          </p:nvSpPr>
          <p:spPr bwMode="gray">
            <a:xfrm>
              <a:off x="5006857" y="2996880"/>
              <a:ext cx="179764" cy="179764"/>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504000" tIns="0" rIns="0" bIns="0" rtlCol="0" anchor="t" anchorCtr="0"/>
            <a:lstStyle/>
            <a:p>
              <a:r>
                <a:rPr lang="en-US" sz="1200" dirty="0">
                  <a:solidFill>
                    <a:schemeClr val="tx1"/>
                  </a:solidFill>
                </a:rPr>
                <a:t>Massa Fusce posuere,</a:t>
              </a:r>
              <a:br>
                <a:rPr lang="en-US" sz="1200" dirty="0">
                  <a:solidFill>
                    <a:schemeClr val="tx1"/>
                  </a:solidFill>
                </a:rPr>
              </a:br>
              <a:r>
                <a:rPr lang="en-US" sz="1200" dirty="0">
                  <a:solidFill>
                    <a:schemeClr val="tx1"/>
                  </a:solidFill>
                </a:rPr>
                <a:t>magna sed pulvinar</a:t>
              </a:r>
            </a:p>
          </p:txBody>
        </p:sp>
        <p:sp>
          <p:nvSpPr>
            <p:cNvPr id="23" name="Ellipse 22">
              <a:extLst>
                <a:ext uri="{FF2B5EF4-FFF2-40B4-BE49-F238E27FC236}">
                  <a16:creationId xmlns:a16="http://schemas.microsoft.com/office/drawing/2014/main" id="{53B27189-AA68-4F35-8876-9726D3E57810}"/>
                </a:ext>
              </a:extLst>
            </p:cNvPr>
            <p:cNvSpPr/>
            <p:nvPr/>
          </p:nvSpPr>
          <p:spPr bwMode="gray">
            <a:xfrm>
              <a:off x="7191099" y="2996880"/>
              <a:ext cx="179764" cy="179764"/>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504000" tIns="0" rIns="0" bIns="0" rtlCol="0" anchor="t" anchorCtr="0"/>
            <a:lstStyle/>
            <a:p>
              <a:r>
                <a:rPr lang="en-US" sz="1200" dirty="0">
                  <a:solidFill>
                    <a:schemeClr val="tx1"/>
                  </a:solidFill>
                </a:rPr>
                <a:t>ultricies, purus lectus</a:t>
              </a:r>
              <a:br>
                <a:rPr lang="en-US" sz="1200" dirty="0">
                  <a:solidFill>
                    <a:schemeClr val="tx1"/>
                  </a:solidFill>
                </a:rPr>
              </a:br>
              <a:r>
                <a:rPr lang="en-US" sz="1200" dirty="0">
                  <a:solidFill>
                    <a:schemeClr val="tx1"/>
                  </a:solidFill>
                </a:rPr>
                <a:t>malesuada libero</a:t>
              </a:r>
            </a:p>
          </p:txBody>
        </p:sp>
      </p:grpSp>
      <p:sp>
        <p:nvSpPr>
          <p:cNvPr id="2" name="Fußzeilenplatzhalter 1">
            <a:extLst>
              <a:ext uri="{FF2B5EF4-FFF2-40B4-BE49-F238E27FC236}">
                <a16:creationId xmlns:a16="http://schemas.microsoft.com/office/drawing/2014/main" id="{259BAE21-E8B3-4ED0-8C51-D1560966089C}"/>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6B6D2D1A-22BC-499F-B916-1EDF89FF137D}"/>
              </a:ext>
            </a:extLst>
          </p:cNvPr>
          <p:cNvSpPr>
            <a:spLocks noGrp="1"/>
          </p:cNvSpPr>
          <p:nvPr>
            <p:ph type="sldNum" sz="quarter" idx="12"/>
          </p:nvPr>
        </p:nvSpPr>
        <p:spPr/>
        <p:txBody>
          <a:bodyPr/>
          <a:lstStyle/>
          <a:p>
            <a:fld id="{CE82B8A1-0CCE-4815-9668-383D7DE7D8B4}" type="slidenum">
              <a:rPr lang="en-US" smtClean="0"/>
              <a:t>57</a:t>
            </a:fld>
            <a:endParaRPr lang="en-US" dirty="0"/>
          </a:p>
        </p:txBody>
      </p:sp>
    </p:spTree>
    <p:extLst>
      <p:ext uri="{BB962C8B-B14F-4D97-AF65-F5344CB8AC3E}">
        <p14:creationId xmlns:p14="http://schemas.microsoft.com/office/powerpoint/2010/main" val="3712282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m 9">
            <a:extLst>
              <a:ext uri="{FF2B5EF4-FFF2-40B4-BE49-F238E27FC236}">
                <a16:creationId xmlns:a16="http://schemas.microsoft.com/office/drawing/2014/main" id="{AE3D5247-BEC4-4F9E-801F-F4511CDB9150}"/>
              </a:ext>
            </a:extLst>
          </p:cNvPr>
          <p:cNvGraphicFramePr/>
          <p:nvPr>
            <p:extLst>
              <p:ext uri="{D42A27DB-BD31-4B8C-83A1-F6EECF244321}">
                <p14:modId xmlns:p14="http://schemas.microsoft.com/office/powerpoint/2010/main" val="47371243"/>
              </p:ext>
            </p:extLst>
          </p:nvPr>
        </p:nvGraphicFramePr>
        <p:xfrm>
          <a:off x="768350" y="1340768"/>
          <a:ext cx="5327649" cy="4535970"/>
        </p:xfrm>
        <a:graphic>
          <a:graphicData uri="http://schemas.openxmlformats.org/drawingml/2006/chart">
            <c:chart xmlns:c="http://schemas.openxmlformats.org/drawingml/2006/chart" xmlns:r="http://schemas.openxmlformats.org/officeDocument/2006/relationships" r:id="rId2"/>
          </a:graphicData>
        </a:graphic>
      </p:graphicFrame>
      <p:sp>
        <p:nvSpPr>
          <p:cNvPr id="17" name="Textplatzhalter 3">
            <a:extLst>
              <a:ext uri="{FF2B5EF4-FFF2-40B4-BE49-F238E27FC236}">
                <a16:creationId xmlns:a16="http://schemas.microsoft.com/office/drawing/2014/main" id="{1A292568-6298-4DBC-97FD-B78EAE59B373}"/>
              </a:ext>
            </a:extLst>
          </p:cNvPr>
          <p:cNvSpPr txBox="1">
            <a:spLocks/>
          </p:cNvSpPr>
          <p:nvPr/>
        </p:nvSpPr>
        <p:spPr bwMode="gray">
          <a:xfrm>
            <a:off x="6240463" y="1268760"/>
            <a:ext cx="4463543" cy="1296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t>Lorem ipsum sit amet, consectetuer</a:t>
            </a:r>
          </a:p>
        </p:txBody>
      </p:sp>
      <p:sp>
        <p:nvSpPr>
          <p:cNvPr id="18" name="Textplatzhalter 15">
            <a:extLst>
              <a:ext uri="{FF2B5EF4-FFF2-40B4-BE49-F238E27FC236}">
                <a16:creationId xmlns:a16="http://schemas.microsoft.com/office/drawing/2014/main" id="{2FC173FC-0BBD-4936-A94C-28C5F46E3073}"/>
              </a:ext>
            </a:extLst>
          </p:cNvPr>
          <p:cNvSpPr txBox="1">
            <a:spLocks/>
          </p:cNvSpPr>
          <p:nvPr/>
        </p:nvSpPr>
        <p:spPr bwMode="gray">
          <a:xfrm>
            <a:off x="7680175" y="2708321"/>
            <a:ext cx="3888433" cy="3600404"/>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Aft>
                <a:spcPts val="600"/>
              </a:spcAft>
            </a:pPr>
            <a:r>
              <a:rPr lang="en-US" dirty="0"/>
              <a:t>Lorem ipsum dolor sit amet,</a:t>
            </a:r>
            <a:br>
              <a:rPr lang="en-US" dirty="0"/>
            </a:br>
            <a:r>
              <a:rPr lang="en-US" dirty="0"/>
              <a:t>consectetuer adipiscing elit.</a:t>
            </a:r>
          </a:p>
          <a:p>
            <a:pPr lvl="1"/>
            <a:r>
              <a:rPr lang="en-US" dirty="0"/>
              <a:t>Maecenas porttitor congue massa.</a:t>
            </a:r>
            <a:br>
              <a:rPr lang="en-US" dirty="0"/>
            </a:br>
            <a:r>
              <a:rPr lang="en-US" dirty="0"/>
              <a:t>Fusce posuere, magna sed pulvinar</a:t>
            </a:r>
          </a:p>
          <a:p>
            <a:pPr lvl="2"/>
            <a:r>
              <a:rPr lang="en-US" dirty="0"/>
              <a:t>Lorem ipsum dolor sit amet,</a:t>
            </a:r>
            <a:br>
              <a:rPr lang="en-US" dirty="0"/>
            </a:br>
            <a:r>
              <a:rPr lang="en-US" dirty="0"/>
              <a:t>consectetuer adipiscing elit</a:t>
            </a:r>
          </a:p>
          <a:p>
            <a:pPr lvl="2"/>
            <a:r>
              <a:rPr lang="en-US" dirty="0"/>
              <a:t>Maecenas porttitor congue massa.</a:t>
            </a:r>
            <a:br>
              <a:rPr lang="en-US" dirty="0"/>
            </a:br>
            <a:r>
              <a:rPr lang="en-US" dirty="0"/>
              <a:t>Fusce posuere, magna sed pulvinar</a:t>
            </a:r>
          </a:p>
          <a:p>
            <a:pPr lvl="2"/>
            <a:r>
              <a:rPr lang="en-US" dirty="0"/>
              <a:t>Nunc viverra imperdiet enim. Fusce est. Vivamus a tellus.</a:t>
            </a:r>
          </a:p>
        </p:txBody>
      </p:sp>
      <p:cxnSp>
        <p:nvCxnSpPr>
          <p:cNvPr id="19" name="Gerader Verbinder 18">
            <a:extLst>
              <a:ext uri="{FF2B5EF4-FFF2-40B4-BE49-F238E27FC236}">
                <a16:creationId xmlns:a16="http://schemas.microsoft.com/office/drawing/2014/main" id="{3415D27C-A1E1-4333-A007-FFA1A3850EC4}"/>
              </a:ext>
            </a:extLst>
          </p:cNvPr>
          <p:cNvCxnSpPr/>
          <p:nvPr/>
        </p:nvCxnSpPr>
        <p:spPr bwMode="gray">
          <a:xfrm>
            <a:off x="6240910" y="2780928"/>
            <a:ext cx="1295697"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uppieren 10">
            <a:extLst>
              <a:ext uri="{FF2B5EF4-FFF2-40B4-BE49-F238E27FC236}">
                <a16:creationId xmlns:a16="http://schemas.microsoft.com/office/drawing/2014/main" id="{84C33A72-4797-4352-A4E6-172720D139C6}"/>
              </a:ext>
            </a:extLst>
          </p:cNvPr>
          <p:cNvGrpSpPr/>
          <p:nvPr/>
        </p:nvGrpSpPr>
        <p:grpSpPr bwMode="gray">
          <a:xfrm>
            <a:off x="609087" y="789721"/>
            <a:ext cx="2462577" cy="2338487"/>
            <a:chOff x="407368" y="789721"/>
            <a:chExt cx="2462577" cy="2338487"/>
          </a:xfrm>
        </p:grpSpPr>
        <p:sp>
          <p:nvSpPr>
            <p:cNvPr id="9" name="Freeform 9">
              <a:extLst>
                <a:ext uri="{FF2B5EF4-FFF2-40B4-BE49-F238E27FC236}">
                  <a16:creationId xmlns:a16="http://schemas.microsoft.com/office/drawing/2014/main" id="{5EE0F038-8F6E-4646-BA29-97069128AAC0}"/>
                </a:ext>
              </a:extLst>
            </p:cNvPr>
            <p:cNvSpPr>
              <a:spLocks/>
            </p:cNvSpPr>
            <p:nvPr/>
          </p:nvSpPr>
          <p:spPr bwMode="gray">
            <a:xfrm flipH="1">
              <a:off x="407368" y="789721"/>
              <a:ext cx="2462577" cy="2338487"/>
            </a:xfrm>
            <a:custGeom>
              <a:avLst/>
              <a:gdLst>
                <a:gd name="T0" fmla="*/ 260 w 1304"/>
                <a:gd name="T1" fmla="*/ 0 h 1239"/>
                <a:gd name="T2" fmla="*/ 0 w 1304"/>
                <a:gd name="T3" fmla="*/ 261 h 1239"/>
                <a:gd name="T4" fmla="*/ 0 w 1304"/>
                <a:gd name="T5" fmla="*/ 913 h 1239"/>
                <a:gd name="T6" fmla="*/ 0 w 1304"/>
                <a:gd name="T7" fmla="*/ 1239 h 1239"/>
                <a:gd name="T8" fmla="*/ 326 w 1304"/>
                <a:gd name="T9" fmla="*/ 913 h 1239"/>
                <a:gd name="T10" fmla="*/ 1304 w 1304"/>
                <a:gd name="T11" fmla="*/ 913 h 1239"/>
                <a:gd name="T12" fmla="*/ 1304 w 1304"/>
                <a:gd name="T13" fmla="*/ 0 h 1239"/>
                <a:gd name="T14" fmla="*/ 260 w 1304"/>
                <a:gd name="T15" fmla="*/ 0 h 12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4" h="1239">
                  <a:moveTo>
                    <a:pt x="260" y="0"/>
                  </a:moveTo>
                  <a:cubicBezTo>
                    <a:pt x="116" y="0"/>
                    <a:pt x="0" y="116"/>
                    <a:pt x="0" y="261"/>
                  </a:cubicBezTo>
                  <a:cubicBezTo>
                    <a:pt x="0" y="913"/>
                    <a:pt x="0" y="913"/>
                    <a:pt x="0" y="913"/>
                  </a:cubicBezTo>
                  <a:cubicBezTo>
                    <a:pt x="0" y="1239"/>
                    <a:pt x="0" y="1239"/>
                    <a:pt x="0" y="1239"/>
                  </a:cubicBezTo>
                  <a:cubicBezTo>
                    <a:pt x="326" y="913"/>
                    <a:pt x="326" y="913"/>
                    <a:pt x="326" y="913"/>
                  </a:cubicBezTo>
                  <a:cubicBezTo>
                    <a:pt x="1304" y="913"/>
                    <a:pt x="1304" y="913"/>
                    <a:pt x="1304" y="913"/>
                  </a:cubicBezTo>
                  <a:cubicBezTo>
                    <a:pt x="1304" y="0"/>
                    <a:pt x="1304" y="0"/>
                    <a:pt x="1304" y="0"/>
                  </a:cubicBezTo>
                  <a:lnTo>
                    <a:pt x="26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Textplatzhalter 3">
              <a:extLst>
                <a:ext uri="{FF2B5EF4-FFF2-40B4-BE49-F238E27FC236}">
                  <a16:creationId xmlns:a16="http://schemas.microsoft.com/office/drawing/2014/main" id="{A247F03B-6DE7-444B-BE74-4BA11219AC78}"/>
                </a:ext>
              </a:extLst>
            </p:cNvPr>
            <p:cNvSpPr txBox="1">
              <a:spLocks/>
            </p:cNvSpPr>
            <p:nvPr/>
          </p:nvSpPr>
          <p:spPr bwMode="gray">
            <a:xfrm>
              <a:off x="551384" y="923996"/>
              <a:ext cx="2160240" cy="1440000"/>
            </a:xfrm>
            <a:prstGeom prst="rect">
              <a:avLst/>
            </a:prstGeom>
          </p:spPr>
          <p:txBody>
            <a:bodyPr wrap="squar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2400" dirty="0">
                  <a:solidFill>
                    <a:schemeClr val="bg1"/>
                  </a:solidFill>
                </a:rPr>
                <a:t>Lorem ipsum dolor sit amet, consectetuer</a:t>
              </a:r>
            </a:p>
          </p:txBody>
        </p:sp>
      </p:grpSp>
      <p:sp>
        <p:nvSpPr>
          <p:cNvPr id="2" name="Fußzeilenplatzhalter 1">
            <a:extLst>
              <a:ext uri="{FF2B5EF4-FFF2-40B4-BE49-F238E27FC236}">
                <a16:creationId xmlns:a16="http://schemas.microsoft.com/office/drawing/2014/main" id="{C1342CBA-1390-41F6-952C-359F41837E21}"/>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46338F0A-5C3C-4105-9D05-43D5E98F9A85}"/>
              </a:ext>
            </a:extLst>
          </p:cNvPr>
          <p:cNvSpPr>
            <a:spLocks noGrp="1"/>
          </p:cNvSpPr>
          <p:nvPr>
            <p:ph type="sldNum" sz="quarter" idx="12"/>
          </p:nvPr>
        </p:nvSpPr>
        <p:spPr/>
        <p:txBody>
          <a:bodyPr/>
          <a:lstStyle/>
          <a:p>
            <a:fld id="{CE82B8A1-0CCE-4815-9668-383D7DE7D8B4}" type="slidenum">
              <a:rPr lang="en-US" smtClean="0"/>
              <a:t>58</a:t>
            </a:fld>
            <a:endParaRPr lang="en-US" dirty="0"/>
          </a:p>
        </p:txBody>
      </p:sp>
    </p:spTree>
    <p:extLst>
      <p:ext uri="{BB962C8B-B14F-4D97-AF65-F5344CB8AC3E}">
        <p14:creationId xmlns:p14="http://schemas.microsoft.com/office/powerpoint/2010/main" val="45773617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360C3B5-9DAB-4B8B-8E5D-A3A44FACA449}"/>
              </a:ext>
            </a:extLst>
          </p:cNvPr>
          <p:cNvSpPr/>
          <p:nvPr/>
        </p:nvSpPr>
        <p:spPr bwMode="gray">
          <a:xfrm>
            <a:off x="8183563" y="188912"/>
            <a:ext cx="3817093" cy="6480175"/>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icture</a:t>
            </a:r>
          </a:p>
        </p:txBody>
      </p:sp>
      <p:sp>
        <p:nvSpPr>
          <p:cNvPr id="7" name="Textplatzhalter 3">
            <a:extLst>
              <a:ext uri="{FF2B5EF4-FFF2-40B4-BE49-F238E27FC236}">
                <a16:creationId xmlns:a16="http://schemas.microsoft.com/office/drawing/2014/main" id="{D2474466-E514-48F8-80BD-AC94148C0552}"/>
              </a:ext>
            </a:extLst>
          </p:cNvPr>
          <p:cNvSpPr txBox="1">
            <a:spLocks/>
          </p:cNvSpPr>
          <p:nvPr/>
        </p:nvSpPr>
        <p:spPr bwMode="gray">
          <a:xfrm>
            <a:off x="623392" y="188640"/>
            <a:ext cx="5328146" cy="1512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t>First Name</a:t>
            </a:r>
          </a:p>
          <a:p>
            <a:pPr algn="l"/>
            <a:r>
              <a:rPr lang="en-US" sz="4000" dirty="0"/>
              <a:t>Surname</a:t>
            </a:r>
          </a:p>
        </p:txBody>
      </p:sp>
      <p:cxnSp>
        <p:nvCxnSpPr>
          <p:cNvPr id="8" name="Gerader Verbinder 7">
            <a:extLst>
              <a:ext uri="{FF2B5EF4-FFF2-40B4-BE49-F238E27FC236}">
                <a16:creationId xmlns:a16="http://schemas.microsoft.com/office/drawing/2014/main" id="{3FCA4547-E06B-4E84-863A-77215929B4C4}"/>
              </a:ext>
            </a:extLst>
          </p:cNvPr>
          <p:cNvCxnSpPr/>
          <p:nvPr/>
        </p:nvCxnSpPr>
        <p:spPr bwMode="gray">
          <a:xfrm>
            <a:off x="623392" y="1988840"/>
            <a:ext cx="1295697"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extplatzhalter 3">
            <a:extLst>
              <a:ext uri="{FF2B5EF4-FFF2-40B4-BE49-F238E27FC236}">
                <a16:creationId xmlns:a16="http://schemas.microsoft.com/office/drawing/2014/main" id="{E1DB8920-42FF-405B-A856-D036D42450DC}"/>
              </a:ext>
            </a:extLst>
          </p:cNvPr>
          <p:cNvSpPr txBox="1">
            <a:spLocks/>
          </p:cNvSpPr>
          <p:nvPr/>
        </p:nvSpPr>
        <p:spPr bwMode="gray">
          <a:xfrm>
            <a:off x="623392" y="2277016"/>
            <a:ext cx="7344000" cy="504000"/>
          </a:xfrm>
          <a:prstGeom prst="rect">
            <a:avLst/>
          </a:prstGeom>
        </p:spPr>
        <p:txBody>
          <a:bodyPr wrap="squar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00" dirty="0">
                <a:solidFill>
                  <a:schemeClr val="tx1"/>
                </a:solidFill>
                <a:latin typeface="+mn-lt"/>
              </a:rPr>
              <a:t>First-name.Surname@draeger.com </a:t>
            </a:r>
            <a:r>
              <a:rPr lang="en-US" sz="1600" dirty="0">
                <a:latin typeface="+mn-lt"/>
              </a:rPr>
              <a:t>|</a:t>
            </a:r>
            <a:r>
              <a:rPr lang="en-US" sz="1600" dirty="0">
                <a:solidFill>
                  <a:schemeClr val="tx1"/>
                </a:solidFill>
                <a:latin typeface="+mn-lt"/>
              </a:rPr>
              <a:t> Tel +49 451 882-2076</a:t>
            </a:r>
            <a:r>
              <a:rPr lang="en-US" sz="1600" dirty="0">
                <a:latin typeface="+mn-lt"/>
              </a:rPr>
              <a:t> | </a:t>
            </a:r>
            <a:r>
              <a:rPr lang="en-US" sz="1600" dirty="0">
                <a:solidFill>
                  <a:schemeClr val="tx1"/>
                </a:solidFill>
                <a:latin typeface="+mn-lt"/>
              </a:rPr>
              <a:t>Mobile +49 152 000 000 00</a:t>
            </a:r>
          </a:p>
        </p:txBody>
      </p:sp>
      <p:sp>
        <p:nvSpPr>
          <p:cNvPr id="11" name="Textplatzhalter 15">
            <a:extLst>
              <a:ext uri="{FF2B5EF4-FFF2-40B4-BE49-F238E27FC236}">
                <a16:creationId xmlns:a16="http://schemas.microsoft.com/office/drawing/2014/main" id="{E4704846-EB9F-41A9-A0E0-AE83BF30C49A}"/>
              </a:ext>
            </a:extLst>
          </p:cNvPr>
          <p:cNvSpPr txBox="1">
            <a:spLocks/>
          </p:cNvSpPr>
          <p:nvPr/>
        </p:nvSpPr>
        <p:spPr bwMode="gray">
          <a:xfrm>
            <a:off x="640532" y="2780927"/>
            <a:ext cx="7111231" cy="3528000"/>
          </a:xfrm>
          <a:prstGeom prst="rect">
            <a:avLst/>
          </a:prstGeom>
        </p:spPr>
        <p:txBody>
          <a:bodyPr lIns="0" tIns="0" rIns="0" bIns="0" numCol="2" spcCol="50400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Aft>
                <a:spcPts val="600"/>
              </a:spcAft>
            </a:pPr>
            <a:r>
              <a:rPr lang="en-US" dirty="0"/>
              <a:t>Lorem ipsum dolor sit amet, consectetuer adipiscing elit.</a:t>
            </a:r>
          </a:p>
          <a:p>
            <a:pPr lvl="1"/>
            <a:r>
              <a:rPr lang="en-US" dirty="0"/>
              <a:t>Maecenas porttitor congue massa.</a:t>
            </a:r>
            <a:br>
              <a:rPr lang="en-US" dirty="0"/>
            </a:br>
            <a:r>
              <a:rPr lang="en-US" dirty="0"/>
              <a:t>Fusce posuere, magna sed pulvinar.</a:t>
            </a:r>
          </a:p>
          <a:p>
            <a:pPr lvl="2"/>
            <a:r>
              <a:rPr lang="en-US" dirty="0"/>
              <a:t>Lorem ipsum dolor sit amet, consectetuer adipiscing elit</a:t>
            </a:r>
          </a:p>
          <a:p>
            <a:pPr lvl="2"/>
            <a:r>
              <a:rPr lang="en-US" dirty="0"/>
              <a:t>Maecenas porttitor congue massa.</a:t>
            </a:r>
          </a:p>
          <a:p>
            <a:pPr lvl="2"/>
            <a:r>
              <a:rPr lang="en-US" dirty="0"/>
              <a:t>Fusce posuere, magna sed pulvinar</a:t>
            </a:r>
            <a:br>
              <a:rPr lang="en-US" dirty="0"/>
            </a:br>
            <a:r>
              <a:rPr lang="en-US" dirty="0"/>
              <a:t>Nunc viverra imperdiet enim</a:t>
            </a:r>
          </a:p>
          <a:p>
            <a:pPr lvl="2"/>
            <a:r>
              <a:rPr lang="en-US" dirty="0"/>
              <a:t>Fusce </a:t>
            </a:r>
            <a:r>
              <a:rPr lang="en-US" dirty="0" err="1"/>
              <a:t>est</a:t>
            </a:r>
            <a:r>
              <a:rPr lang="en-US" dirty="0"/>
              <a:t> Vivamus a tellus</a:t>
            </a:r>
          </a:p>
          <a:p>
            <a:pPr lvl="2"/>
            <a:r>
              <a:rPr lang="en-US" dirty="0"/>
              <a:t>Lorem ipsum dolor sit amet,</a:t>
            </a:r>
            <a:br>
              <a:rPr lang="en-US" dirty="0"/>
            </a:br>
            <a:r>
              <a:rPr lang="en-US" dirty="0"/>
              <a:t>consectetuer adipiscing elit</a:t>
            </a:r>
          </a:p>
          <a:p>
            <a:pPr lvl="2"/>
            <a:r>
              <a:rPr lang="en-US" dirty="0"/>
              <a:t>Maecenas porttitor congue </a:t>
            </a:r>
            <a:r>
              <a:rPr lang="en-US" dirty="0" err="1"/>
              <a:t>massa</a:t>
            </a:r>
            <a:r>
              <a:rPr lang="en-US" dirty="0"/>
              <a:t> </a:t>
            </a:r>
            <a:r>
              <a:rPr lang="en-US" dirty="0" err="1"/>
              <a:t>fusce</a:t>
            </a:r>
            <a:r>
              <a:rPr lang="en-US" dirty="0"/>
              <a:t> posuere, magna sed pulvinar ultricies, </a:t>
            </a:r>
          </a:p>
          <a:p>
            <a:pPr lvl="2"/>
            <a:r>
              <a:rPr lang="en-US" dirty="0"/>
              <a:t>Purus lectus malesuada libero, sit amet commodo magna eros </a:t>
            </a:r>
            <a:r>
              <a:rPr lang="en-US" dirty="0" err="1"/>
              <a:t>quis</a:t>
            </a:r>
            <a:r>
              <a:rPr lang="en-US" dirty="0"/>
              <a:t> </a:t>
            </a:r>
            <a:r>
              <a:rPr lang="en-US" dirty="0" err="1"/>
              <a:t>urna</a:t>
            </a:r>
            <a:endParaRPr lang="en-US" dirty="0"/>
          </a:p>
          <a:p>
            <a:pPr lvl="2"/>
            <a:r>
              <a:rPr lang="en-US" dirty="0"/>
              <a:t>Nunc viverra imperdiet enim</a:t>
            </a:r>
          </a:p>
          <a:p>
            <a:pPr lvl="2"/>
            <a:r>
              <a:rPr lang="en-US" dirty="0" err="1"/>
              <a:t>Fusce</a:t>
            </a:r>
            <a:r>
              <a:rPr lang="en-US" dirty="0"/>
              <a:t> est. Vivamus a tellus</a:t>
            </a:r>
          </a:p>
          <a:p>
            <a:pPr marL="0" lvl="2" indent="0">
              <a:buNone/>
            </a:pPr>
            <a:endParaRPr lang="en-US" dirty="0"/>
          </a:p>
          <a:p>
            <a:pPr marL="0" lvl="2" indent="0">
              <a:buNone/>
            </a:pPr>
            <a:r>
              <a:rPr lang="en-US" dirty="0" err="1"/>
              <a:t>Pellentesque</a:t>
            </a:r>
            <a:r>
              <a:rPr lang="en-US" dirty="0"/>
              <a:t> habitant morbi tristique senectus et netus et malesuada fames ac turpis egestas. Proin pharetra nonummy pede. Mauris et orci.</a:t>
            </a:r>
          </a:p>
          <a:p>
            <a:pPr marL="0" lvl="2" indent="0">
              <a:buNone/>
            </a:pPr>
            <a:r>
              <a:rPr lang="en-US" dirty="0"/>
              <a:t>Lorem ipsum dolor sit amet, consectetuer adipiscing elit. Maecenas porttitor congue massa. Fusce posuere, magna sed pulvinar ultricies, habitant morbi</a:t>
            </a:r>
          </a:p>
        </p:txBody>
      </p:sp>
      <p:sp>
        <p:nvSpPr>
          <p:cNvPr id="12" name="Textplatzhalter 3">
            <a:extLst>
              <a:ext uri="{FF2B5EF4-FFF2-40B4-BE49-F238E27FC236}">
                <a16:creationId xmlns:a16="http://schemas.microsoft.com/office/drawing/2014/main" id="{0801BBA7-5004-44FD-8773-3CB223DF11A3}"/>
              </a:ext>
            </a:extLst>
          </p:cNvPr>
          <p:cNvSpPr txBox="1">
            <a:spLocks/>
          </p:cNvSpPr>
          <p:nvPr/>
        </p:nvSpPr>
        <p:spPr bwMode="gray">
          <a:xfrm>
            <a:off x="2063552" y="1736848"/>
            <a:ext cx="3888000" cy="324000"/>
          </a:xfrm>
          <a:prstGeom prst="rect">
            <a:avLst/>
          </a:prstGeom>
        </p:spPr>
        <p:txBody>
          <a:bodyPr wrap="squar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2000" dirty="0">
                <a:solidFill>
                  <a:schemeClr val="accent5"/>
                </a:solidFill>
              </a:rPr>
              <a:t>Position</a:t>
            </a:r>
          </a:p>
        </p:txBody>
      </p:sp>
      <p:sp>
        <p:nvSpPr>
          <p:cNvPr id="2" name="Fußzeilenplatzhalter 1">
            <a:extLst>
              <a:ext uri="{FF2B5EF4-FFF2-40B4-BE49-F238E27FC236}">
                <a16:creationId xmlns:a16="http://schemas.microsoft.com/office/drawing/2014/main" id="{3315D391-537E-4F58-94FA-A142A01589D3}"/>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53C9CB64-AA9E-461B-A76E-E491A151E6A3}"/>
              </a:ext>
            </a:extLst>
          </p:cNvPr>
          <p:cNvSpPr>
            <a:spLocks noGrp="1"/>
          </p:cNvSpPr>
          <p:nvPr>
            <p:ph type="sldNum" sz="quarter" idx="12"/>
          </p:nvPr>
        </p:nvSpPr>
        <p:spPr/>
        <p:txBody>
          <a:bodyPr/>
          <a:lstStyle/>
          <a:p>
            <a:fld id="{CE82B8A1-0CCE-4815-9668-383D7DE7D8B4}" type="slidenum">
              <a:rPr lang="en-US" smtClean="0"/>
              <a:t>59</a:t>
            </a:fld>
            <a:endParaRPr lang="en-US" dirty="0"/>
          </a:p>
        </p:txBody>
      </p:sp>
    </p:spTree>
    <p:extLst>
      <p:ext uri="{BB962C8B-B14F-4D97-AF65-F5344CB8AC3E}">
        <p14:creationId xmlns:p14="http://schemas.microsoft.com/office/powerpoint/2010/main" val="7991790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platzhalter 9">
            <a:extLst>
              <a:ext uri="{FF2B5EF4-FFF2-40B4-BE49-F238E27FC236}">
                <a16:creationId xmlns:a16="http://schemas.microsoft.com/office/drawing/2014/main" id="{74F07ADA-F932-4946-A782-782556A65FFA}"/>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l="1147" t="5084" r="4046" b="18647"/>
          <a:stretch/>
        </p:blipFill>
        <p:spPr bwMode="gray">
          <a:xfrm>
            <a:off x="192831" y="188640"/>
            <a:ext cx="11807825" cy="6480448"/>
          </a:xfrm>
        </p:spPr>
      </p:pic>
      <p:sp>
        <p:nvSpPr>
          <p:cNvPr id="2" name="Titel 1">
            <a:extLst>
              <a:ext uri="{FF2B5EF4-FFF2-40B4-BE49-F238E27FC236}">
                <a16:creationId xmlns:a16="http://schemas.microsoft.com/office/drawing/2014/main" id="{ED3B7623-8612-4758-910E-3B37BD3BC7B6}"/>
              </a:ext>
            </a:extLst>
          </p:cNvPr>
          <p:cNvSpPr>
            <a:spLocks noGrp="1"/>
          </p:cNvSpPr>
          <p:nvPr>
            <p:ph type="ctrTitle"/>
          </p:nvPr>
        </p:nvSpPr>
        <p:spPr bwMode="gray"/>
        <p:txBody>
          <a:bodyPr/>
          <a:lstStyle/>
          <a:p>
            <a:r>
              <a:rPr lang="en-US" dirty="0"/>
              <a:t>Lorem ipsum dolor sit amet</a:t>
            </a:r>
          </a:p>
        </p:txBody>
      </p:sp>
      <p:sp>
        <p:nvSpPr>
          <p:cNvPr id="3" name="Untertitel 2">
            <a:extLst>
              <a:ext uri="{FF2B5EF4-FFF2-40B4-BE49-F238E27FC236}">
                <a16:creationId xmlns:a16="http://schemas.microsoft.com/office/drawing/2014/main" id="{C3FCBCAF-68DD-4EB2-98FF-B9FFC6421419}"/>
              </a:ext>
            </a:extLst>
          </p:cNvPr>
          <p:cNvSpPr>
            <a:spLocks noGrp="1"/>
          </p:cNvSpPr>
          <p:nvPr>
            <p:ph type="subTitle" idx="15"/>
          </p:nvPr>
        </p:nvSpPr>
        <p:spPr bwMode="gray"/>
        <p:txBody>
          <a:bodyPr/>
          <a:lstStyle/>
          <a:p>
            <a:r>
              <a:rPr lang="en-US" dirty="0"/>
              <a:t>August 2019, Lübeck</a:t>
            </a:r>
          </a:p>
        </p:txBody>
      </p:sp>
      <p:sp>
        <p:nvSpPr>
          <p:cNvPr id="13" name="Textplatzhalter 12">
            <a:extLst>
              <a:ext uri="{FF2B5EF4-FFF2-40B4-BE49-F238E27FC236}">
                <a16:creationId xmlns:a16="http://schemas.microsoft.com/office/drawing/2014/main" id="{12E6FD22-0CCF-4C55-8C80-DC44952A43D5}"/>
              </a:ext>
            </a:extLst>
          </p:cNvPr>
          <p:cNvSpPr>
            <a:spLocks noGrp="1"/>
          </p:cNvSpPr>
          <p:nvPr>
            <p:ph type="body" sz="quarter" idx="26"/>
          </p:nvPr>
        </p:nvSpPr>
        <p:spPr bwMode="gray"/>
        <p:txBody>
          <a:bodyPr/>
          <a:lstStyle/>
          <a:p>
            <a:endParaRPr lang="en-US" dirty="0"/>
          </a:p>
        </p:txBody>
      </p:sp>
      <p:sp>
        <p:nvSpPr>
          <p:cNvPr id="16" name="Fußzeilenplatzhalter 15">
            <a:extLst>
              <a:ext uri="{FF2B5EF4-FFF2-40B4-BE49-F238E27FC236}">
                <a16:creationId xmlns:a16="http://schemas.microsoft.com/office/drawing/2014/main" id="{703A1A61-90B4-4C66-B424-A1C37A07A082}"/>
              </a:ext>
            </a:extLst>
          </p:cNvPr>
          <p:cNvSpPr>
            <a:spLocks noGrp="1"/>
          </p:cNvSpPr>
          <p:nvPr>
            <p:ph type="ftr" sz="quarter" idx="27"/>
          </p:nvPr>
        </p:nvSpPr>
        <p:spPr bwMode="gray"/>
        <p:txBody>
          <a:bodyPr/>
          <a:lstStyle/>
          <a:p>
            <a:r>
              <a:rPr lang="en-US">
                <a:solidFill>
                  <a:schemeClr val="bg1"/>
                </a:solidFill>
              </a:rPr>
              <a:t>Footnote: Please insert appropriate company</a:t>
            </a:r>
            <a:endParaRPr lang="de-DE" dirty="0">
              <a:solidFill>
                <a:schemeClr val="bg1"/>
              </a:solidFill>
            </a:endParaRPr>
          </a:p>
        </p:txBody>
      </p:sp>
    </p:spTree>
    <p:extLst>
      <p:ext uri="{BB962C8B-B14F-4D97-AF65-F5344CB8AC3E}">
        <p14:creationId xmlns:p14="http://schemas.microsoft.com/office/powerpoint/2010/main" val="332892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3">
            <a:extLst>
              <a:ext uri="{FF2B5EF4-FFF2-40B4-BE49-F238E27FC236}">
                <a16:creationId xmlns:a16="http://schemas.microsoft.com/office/drawing/2014/main" id="{D24EAC90-944D-47A2-BD25-B1952D077FE8}"/>
              </a:ext>
            </a:extLst>
          </p:cNvPr>
          <p:cNvSpPr txBox="1">
            <a:spLocks/>
          </p:cNvSpPr>
          <p:nvPr/>
        </p:nvSpPr>
        <p:spPr bwMode="gray">
          <a:xfrm>
            <a:off x="6234163" y="2312888"/>
            <a:ext cx="4463543" cy="1296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t>Lorem ipsum sit amet, consectetuer</a:t>
            </a:r>
          </a:p>
        </p:txBody>
      </p:sp>
      <p:sp>
        <p:nvSpPr>
          <p:cNvPr id="6" name="Textplatzhalter 15">
            <a:extLst>
              <a:ext uri="{FF2B5EF4-FFF2-40B4-BE49-F238E27FC236}">
                <a16:creationId xmlns:a16="http://schemas.microsoft.com/office/drawing/2014/main" id="{FA3613C8-0B26-441E-9E7B-37F2D4D6D00C}"/>
              </a:ext>
            </a:extLst>
          </p:cNvPr>
          <p:cNvSpPr txBox="1">
            <a:spLocks/>
          </p:cNvSpPr>
          <p:nvPr/>
        </p:nvSpPr>
        <p:spPr bwMode="gray">
          <a:xfrm>
            <a:off x="7680176" y="3752449"/>
            <a:ext cx="3887937" cy="2556276"/>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Aft>
                <a:spcPts val="600"/>
              </a:spcAft>
            </a:pPr>
            <a:r>
              <a:rPr lang="en-US" dirty="0"/>
              <a:t>Lorem ipsum dolor sit amet, consectetuer </a:t>
            </a:r>
          </a:p>
          <a:p>
            <a:pPr lvl="1"/>
            <a:r>
              <a:rPr lang="en-US" dirty="0"/>
              <a:t>Maecenas porttitor congue </a:t>
            </a:r>
            <a:r>
              <a:rPr lang="en-US" dirty="0" err="1"/>
              <a:t>massa</a:t>
            </a:r>
            <a:r>
              <a:rPr lang="en-US" dirty="0"/>
              <a:t>.</a:t>
            </a:r>
            <a:br>
              <a:rPr lang="en-US" dirty="0"/>
            </a:br>
            <a:r>
              <a:rPr lang="en-US" dirty="0" err="1"/>
              <a:t>Fusce</a:t>
            </a:r>
            <a:r>
              <a:rPr lang="en-US" dirty="0"/>
              <a:t> </a:t>
            </a:r>
            <a:r>
              <a:rPr lang="en-US" dirty="0" err="1"/>
              <a:t>posuere</a:t>
            </a:r>
            <a:r>
              <a:rPr lang="en-US" dirty="0"/>
              <a:t>, magna sed pulvinar</a:t>
            </a:r>
          </a:p>
          <a:p>
            <a:pPr lvl="2"/>
            <a:r>
              <a:rPr lang="en-US" dirty="0"/>
              <a:t>Lorem ipsum dolor sit amet, consectetuer adipiscing </a:t>
            </a:r>
          </a:p>
          <a:p>
            <a:pPr lvl="2"/>
            <a:r>
              <a:rPr lang="en-US" dirty="0"/>
              <a:t>Maecenas porttitor congue massa. Fusce posuere, magna sed pulvinar</a:t>
            </a:r>
          </a:p>
          <a:p>
            <a:pPr lvl="2"/>
            <a:r>
              <a:rPr lang="en-US" dirty="0"/>
              <a:t>Nunc viverra imperdiet enim. Fusce est. Vivamus </a:t>
            </a:r>
          </a:p>
        </p:txBody>
      </p:sp>
      <p:cxnSp>
        <p:nvCxnSpPr>
          <p:cNvPr id="7" name="Gerader Verbinder 6">
            <a:extLst>
              <a:ext uri="{FF2B5EF4-FFF2-40B4-BE49-F238E27FC236}">
                <a16:creationId xmlns:a16="http://schemas.microsoft.com/office/drawing/2014/main" id="{FA0F7F1F-4005-4D9C-A665-916038BC9720}"/>
              </a:ext>
            </a:extLst>
          </p:cNvPr>
          <p:cNvCxnSpPr/>
          <p:nvPr/>
        </p:nvCxnSpPr>
        <p:spPr bwMode="gray">
          <a:xfrm>
            <a:off x="6234610" y="3825056"/>
            <a:ext cx="1295697"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Rectangle 24">
            <a:extLst>
              <a:ext uri="{FF2B5EF4-FFF2-40B4-BE49-F238E27FC236}">
                <a16:creationId xmlns:a16="http://schemas.microsoft.com/office/drawing/2014/main" id="{29A98A46-9DA5-4C4D-92FF-5D46D7E542F2}"/>
              </a:ext>
            </a:extLst>
          </p:cNvPr>
          <p:cNvSpPr/>
          <p:nvPr/>
        </p:nvSpPr>
        <p:spPr bwMode="gray">
          <a:xfrm rot="5400000">
            <a:off x="1484286" y="2370492"/>
            <a:ext cx="2598660" cy="430887"/>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fontAlgn="base">
              <a:spcBef>
                <a:spcPct val="0"/>
              </a:spcBef>
              <a:spcAft>
                <a:spcPct val="0"/>
              </a:spcAft>
              <a:buClr>
                <a:srgbClr val="001489"/>
              </a:buClr>
              <a:buFont typeface="Wingdings" pitchFamily="2" charset="2"/>
              <a:buNone/>
            </a:pPr>
            <a:r>
              <a:rPr lang="en-US" sz="2800" dirty="0">
                <a:solidFill>
                  <a:schemeClr val="bg2"/>
                </a:solidFill>
              </a:rPr>
              <a:t>vulputate imperdiet</a:t>
            </a:r>
          </a:p>
        </p:txBody>
      </p:sp>
      <p:sp>
        <p:nvSpPr>
          <p:cNvPr id="13" name="Rectangle 13">
            <a:extLst>
              <a:ext uri="{FF2B5EF4-FFF2-40B4-BE49-F238E27FC236}">
                <a16:creationId xmlns:a16="http://schemas.microsoft.com/office/drawing/2014/main" id="{D72CCC06-DFC6-44E0-B7BA-DE9402A6C523}"/>
              </a:ext>
            </a:extLst>
          </p:cNvPr>
          <p:cNvSpPr/>
          <p:nvPr/>
        </p:nvSpPr>
        <p:spPr bwMode="gray">
          <a:xfrm rot="5400000">
            <a:off x="1208710" y="2017612"/>
            <a:ext cx="2069669" cy="615553"/>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fontAlgn="base">
              <a:spcBef>
                <a:spcPct val="0"/>
              </a:spcBef>
              <a:spcAft>
                <a:spcPct val="0"/>
              </a:spcAft>
              <a:buClr>
                <a:srgbClr val="001489"/>
              </a:buClr>
              <a:buFont typeface="Wingdings" pitchFamily="2" charset="2"/>
              <a:buNone/>
            </a:pPr>
            <a:r>
              <a:rPr lang="en-US" sz="4000" dirty="0">
                <a:solidFill>
                  <a:schemeClr val="accent2"/>
                </a:solidFill>
              </a:rPr>
              <a:t>amet odio </a:t>
            </a:r>
          </a:p>
        </p:txBody>
      </p:sp>
      <p:sp>
        <p:nvSpPr>
          <p:cNvPr id="17" name="Textplatzhalter 3">
            <a:extLst>
              <a:ext uri="{FF2B5EF4-FFF2-40B4-BE49-F238E27FC236}">
                <a16:creationId xmlns:a16="http://schemas.microsoft.com/office/drawing/2014/main" id="{A41D61A4-7521-4766-9A77-2376F39DB5BE}"/>
              </a:ext>
            </a:extLst>
          </p:cNvPr>
          <p:cNvSpPr txBox="1">
            <a:spLocks/>
          </p:cNvSpPr>
          <p:nvPr/>
        </p:nvSpPr>
        <p:spPr bwMode="gray">
          <a:xfrm>
            <a:off x="3431704" y="1353395"/>
            <a:ext cx="4463543" cy="468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2"/>
                </a:solidFill>
              </a:rPr>
              <a:t>Praesent pretium</a:t>
            </a:r>
          </a:p>
        </p:txBody>
      </p:sp>
      <p:sp>
        <p:nvSpPr>
          <p:cNvPr id="18" name="Textplatzhalter 3">
            <a:extLst>
              <a:ext uri="{FF2B5EF4-FFF2-40B4-BE49-F238E27FC236}">
                <a16:creationId xmlns:a16="http://schemas.microsoft.com/office/drawing/2014/main" id="{37390B2A-B1B7-429F-9F34-7ECC40ABB18F}"/>
              </a:ext>
            </a:extLst>
          </p:cNvPr>
          <p:cNvSpPr txBox="1">
            <a:spLocks/>
          </p:cNvSpPr>
          <p:nvPr/>
        </p:nvSpPr>
        <p:spPr bwMode="gray">
          <a:xfrm>
            <a:off x="623392" y="4089699"/>
            <a:ext cx="5071442" cy="468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2"/>
                </a:solidFill>
              </a:rPr>
              <a:t>ultricies ipsum tellus</a:t>
            </a:r>
          </a:p>
        </p:txBody>
      </p:sp>
      <p:sp>
        <p:nvSpPr>
          <p:cNvPr id="19" name="Textplatzhalter 3">
            <a:extLst>
              <a:ext uri="{FF2B5EF4-FFF2-40B4-BE49-F238E27FC236}">
                <a16:creationId xmlns:a16="http://schemas.microsoft.com/office/drawing/2014/main" id="{219810D5-D662-472D-9E26-D3CF8F5E70EE}"/>
              </a:ext>
            </a:extLst>
          </p:cNvPr>
          <p:cNvSpPr txBox="1">
            <a:spLocks/>
          </p:cNvSpPr>
          <p:nvPr/>
        </p:nvSpPr>
        <p:spPr bwMode="gray">
          <a:xfrm>
            <a:off x="2628315" y="4601730"/>
            <a:ext cx="2506178" cy="971528"/>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r"/>
            <a:r>
              <a:rPr lang="en-US" sz="3000" dirty="0">
                <a:solidFill>
                  <a:schemeClr val="accent5"/>
                </a:solidFill>
                <a:latin typeface="+mn-lt"/>
              </a:rPr>
              <a:t>Suspendisse </a:t>
            </a:r>
            <a:br>
              <a:rPr lang="en-US" sz="3000" dirty="0">
                <a:solidFill>
                  <a:schemeClr val="accent5"/>
                </a:solidFill>
                <a:latin typeface="+mn-lt"/>
              </a:rPr>
            </a:br>
            <a:r>
              <a:rPr lang="en-US" sz="3000" dirty="0">
                <a:solidFill>
                  <a:schemeClr val="accent5"/>
                </a:solidFill>
                <a:latin typeface="+mn-lt"/>
              </a:rPr>
              <a:t>id mauris </a:t>
            </a:r>
          </a:p>
        </p:txBody>
      </p:sp>
      <p:sp>
        <p:nvSpPr>
          <p:cNvPr id="20" name="Textplatzhalter 3">
            <a:extLst>
              <a:ext uri="{FF2B5EF4-FFF2-40B4-BE49-F238E27FC236}">
                <a16:creationId xmlns:a16="http://schemas.microsoft.com/office/drawing/2014/main" id="{DB1EA559-1FDC-4ABE-8844-CD0F33AAF95E}"/>
              </a:ext>
            </a:extLst>
          </p:cNvPr>
          <p:cNvSpPr txBox="1">
            <a:spLocks/>
          </p:cNvSpPr>
          <p:nvPr/>
        </p:nvSpPr>
        <p:spPr bwMode="gray">
          <a:xfrm>
            <a:off x="911424" y="620688"/>
            <a:ext cx="5473054" cy="455824"/>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3000" dirty="0">
                <a:solidFill>
                  <a:schemeClr val="accent5"/>
                </a:solidFill>
                <a:latin typeface="+mn-lt"/>
              </a:rPr>
              <a:t>Suspendisse vestibulum</a:t>
            </a:r>
          </a:p>
        </p:txBody>
      </p:sp>
      <p:sp>
        <p:nvSpPr>
          <p:cNvPr id="21" name="Textplatzhalter 3">
            <a:extLst>
              <a:ext uri="{FF2B5EF4-FFF2-40B4-BE49-F238E27FC236}">
                <a16:creationId xmlns:a16="http://schemas.microsoft.com/office/drawing/2014/main" id="{505DE16A-C440-47C0-A92E-0F4465209586}"/>
              </a:ext>
            </a:extLst>
          </p:cNvPr>
          <p:cNvSpPr txBox="1">
            <a:spLocks/>
          </p:cNvSpPr>
          <p:nvPr/>
        </p:nvSpPr>
        <p:spPr bwMode="gray">
          <a:xfrm>
            <a:off x="3431704" y="2060896"/>
            <a:ext cx="2519834" cy="432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2000" dirty="0">
                <a:solidFill>
                  <a:schemeClr val="bg2"/>
                </a:solidFill>
                <a:latin typeface="+mn-lt"/>
              </a:rPr>
              <a:t>Suspendisse </a:t>
            </a:r>
            <a:br>
              <a:rPr lang="en-US" sz="2000" dirty="0">
                <a:solidFill>
                  <a:schemeClr val="bg2"/>
                </a:solidFill>
                <a:latin typeface="+mn-lt"/>
              </a:rPr>
            </a:br>
            <a:r>
              <a:rPr lang="en-US" sz="2000" dirty="0">
                <a:solidFill>
                  <a:schemeClr val="bg2"/>
                </a:solidFill>
                <a:latin typeface="+mn-lt"/>
              </a:rPr>
              <a:t>id mauris </a:t>
            </a:r>
          </a:p>
        </p:txBody>
      </p:sp>
      <p:sp>
        <p:nvSpPr>
          <p:cNvPr id="22" name="Textplatzhalter 3">
            <a:extLst>
              <a:ext uri="{FF2B5EF4-FFF2-40B4-BE49-F238E27FC236}">
                <a16:creationId xmlns:a16="http://schemas.microsoft.com/office/drawing/2014/main" id="{25A2D536-F18C-413F-B70C-2F701B641325}"/>
              </a:ext>
            </a:extLst>
          </p:cNvPr>
          <p:cNvSpPr txBox="1">
            <a:spLocks/>
          </p:cNvSpPr>
          <p:nvPr/>
        </p:nvSpPr>
        <p:spPr bwMode="gray">
          <a:xfrm>
            <a:off x="3431704" y="3429000"/>
            <a:ext cx="2519834" cy="432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2000" dirty="0">
                <a:solidFill>
                  <a:schemeClr val="bg2"/>
                </a:solidFill>
                <a:latin typeface="+mn-lt"/>
              </a:rPr>
              <a:t>amet odio feugiat</a:t>
            </a:r>
          </a:p>
        </p:txBody>
      </p:sp>
      <p:sp>
        <p:nvSpPr>
          <p:cNvPr id="23" name="Textplatzhalter 3">
            <a:extLst>
              <a:ext uri="{FF2B5EF4-FFF2-40B4-BE49-F238E27FC236}">
                <a16:creationId xmlns:a16="http://schemas.microsoft.com/office/drawing/2014/main" id="{34FEF132-5601-4830-84C3-7961B0DF8875}"/>
              </a:ext>
            </a:extLst>
          </p:cNvPr>
          <p:cNvSpPr txBox="1">
            <a:spLocks/>
          </p:cNvSpPr>
          <p:nvPr/>
        </p:nvSpPr>
        <p:spPr bwMode="gray">
          <a:xfrm>
            <a:off x="623886" y="1196752"/>
            <a:ext cx="1224000" cy="1152000"/>
          </a:xfrm>
          <a:prstGeom prst="rect">
            <a:avLst/>
          </a:prstGeom>
        </p:spPr>
        <p:txBody>
          <a:bodyPr wrap="squar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r"/>
            <a:r>
              <a:rPr lang="en-US" sz="2000" dirty="0">
                <a:latin typeface="+mn-lt"/>
              </a:rPr>
              <a:t>amet </a:t>
            </a:r>
            <a:br>
              <a:rPr lang="en-US" sz="2000" dirty="0">
                <a:latin typeface="+mn-lt"/>
              </a:rPr>
            </a:br>
            <a:r>
              <a:rPr lang="en-US" sz="2000" dirty="0">
                <a:latin typeface="+mn-lt"/>
              </a:rPr>
              <a:t>odio </a:t>
            </a:r>
            <a:br>
              <a:rPr lang="en-US" sz="2000" dirty="0">
                <a:latin typeface="+mn-lt"/>
              </a:rPr>
            </a:br>
            <a:r>
              <a:rPr lang="en-US" sz="2000" dirty="0">
                <a:latin typeface="+mn-lt"/>
              </a:rPr>
              <a:t>feugiat</a:t>
            </a:r>
          </a:p>
        </p:txBody>
      </p:sp>
      <p:sp>
        <p:nvSpPr>
          <p:cNvPr id="2" name="Fußzeilenplatzhalter 1">
            <a:extLst>
              <a:ext uri="{FF2B5EF4-FFF2-40B4-BE49-F238E27FC236}">
                <a16:creationId xmlns:a16="http://schemas.microsoft.com/office/drawing/2014/main" id="{C686F290-E1AB-4FA1-B6DB-7A27BC96D90F}"/>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CFFFE893-16D3-4822-9B63-9E28CA5D9845}"/>
              </a:ext>
            </a:extLst>
          </p:cNvPr>
          <p:cNvSpPr>
            <a:spLocks noGrp="1"/>
          </p:cNvSpPr>
          <p:nvPr>
            <p:ph type="sldNum" sz="quarter" idx="12"/>
          </p:nvPr>
        </p:nvSpPr>
        <p:spPr/>
        <p:txBody>
          <a:bodyPr/>
          <a:lstStyle/>
          <a:p>
            <a:fld id="{CE82B8A1-0CCE-4815-9668-383D7DE7D8B4}" type="slidenum">
              <a:rPr lang="en-US" smtClean="0"/>
              <a:t>60</a:t>
            </a:fld>
            <a:endParaRPr lang="en-US" dirty="0"/>
          </a:p>
        </p:txBody>
      </p:sp>
    </p:spTree>
    <p:extLst>
      <p:ext uri="{BB962C8B-B14F-4D97-AF65-F5344CB8AC3E}">
        <p14:creationId xmlns:p14="http://schemas.microsoft.com/office/powerpoint/2010/main" val="112315487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4">
            <a:extLst>
              <a:ext uri="{FF2B5EF4-FFF2-40B4-BE49-F238E27FC236}">
                <a16:creationId xmlns:a16="http://schemas.microsoft.com/office/drawing/2014/main" id="{29A98A46-9DA5-4C4D-92FF-5D46D7E542F2}"/>
              </a:ext>
            </a:extLst>
          </p:cNvPr>
          <p:cNvSpPr/>
          <p:nvPr/>
        </p:nvSpPr>
        <p:spPr bwMode="gray">
          <a:xfrm rot="5400000">
            <a:off x="1484286" y="2370492"/>
            <a:ext cx="2598660" cy="430887"/>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fontAlgn="base">
              <a:spcBef>
                <a:spcPct val="0"/>
              </a:spcBef>
              <a:spcAft>
                <a:spcPct val="0"/>
              </a:spcAft>
              <a:buClr>
                <a:srgbClr val="001489"/>
              </a:buClr>
              <a:buFont typeface="Wingdings" pitchFamily="2" charset="2"/>
              <a:buNone/>
            </a:pPr>
            <a:r>
              <a:rPr lang="en-US" sz="2800" dirty="0">
                <a:solidFill>
                  <a:schemeClr val="bg2"/>
                </a:solidFill>
              </a:rPr>
              <a:t>vulputate imperdiet</a:t>
            </a:r>
          </a:p>
        </p:txBody>
      </p:sp>
      <p:sp>
        <p:nvSpPr>
          <p:cNvPr id="13" name="Rectangle 13">
            <a:extLst>
              <a:ext uri="{FF2B5EF4-FFF2-40B4-BE49-F238E27FC236}">
                <a16:creationId xmlns:a16="http://schemas.microsoft.com/office/drawing/2014/main" id="{D72CCC06-DFC6-44E0-B7BA-DE9402A6C523}"/>
              </a:ext>
            </a:extLst>
          </p:cNvPr>
          <p:cNvSpPr/>
          <p:nvPr/>
        </p:nvSpPr>
        <p:spPr bwMode="gray">
          <a:xfrm rot="5400000">
            <a:off x="1208710" y="2017612"/>
            <a:ext cx="2069669" cy="615553"/>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fontAlgn="base">
              <a:spcBef>
                <a:spcPct val="0"/>
              </a:spcBef>
              <a:spcAft>
                <a:spcPct val="0"/>
              </a:spcAft>
              <a:buClr>
                <a:srgbClr val="001489"/>
              </a:buClr>
              <a:buFont typeface="Wingdings" pitchFamily="2" charset="2"/>
              <a:buNone/>
            </a:pPr>
            <a:r>
              <a:rPr lang="en-US" sz="4000" dirty="0">
                <a:solidFill>
                  <a:schemeClr val="accent2"/>
                </a:solidFill>
              </a:rPr>
              <a:t>amet odio </a:t>
            </a:r>
          </a:p>
        </p:txBody>
      </p:sp>
      <p:sp>
        <p:nvSpPr>
          <p:cNvPr id="17" name="Textplatzhalter 3">
            <a:extLst>
              <a:ext uri="{FF2B5EF4-FFF2-40B4-BE49-F238E27FC236}">
                <a16:creationId xmlns:a16="http://schemas.microsoft.com/office/drawing/2014/main" id="{A41D61A4-7521-4766-9A77-2376F39DB5BE}"/>
              </a:ext>
            </a:extLst>
          </p:cNvPr>
          <p:cNvSpPr txBox="1">
            <a:spLocks/>
          </p:cNvSpPr>
          <p:nvPr/>
        </p:nvSpPr>
        <p:spPr bwMode="gray">
          <a:xfrm>
            <a:off x="3431704" y="1353395"/>
            <a:ext cx="4463543" cy="468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t>Praesent pretium</a:t>
            </a:r>
          </a:p>
        </p:txBody>
      </p:sp>
      <p:sp>
        <p:nvSpPr>
          <p:cNvPr id="18" name="Textplatzhalter 3">
            <a:extLst>
              <a:ext uri="{FF2B5EF4-FFF2-40B4-BE49-F238E27FC236}">
                <a16:creationId xmlns:a16="http://schemas.microsoft.com/office/drawing/2014/main" id="{37390B2A-B1B7-429F-9F34-7ECC40ABB18F}"/>
              </a:ext>
            </a:extLst>
          </p:cNvPr>
          <p:cNvSpPr txBox="1">
            <a:spLocks/>
          </p:cNvSpPr>
          <p:nvPr/>
        </p:nvSpPr>
        <p:spPr bwMode="gray">
          <a:xfrm>
            <a:off x="623392" y="4089699"/>
            <a:ext cx="5071442" cy="468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t>ultricies ipsum tellus</a:t>
            </a:r>
          </a:p>
        </p:txBody>
      </p:sp>
      <p:sp>
        <p:nvSpPr>
          <p:cNvPr id="19" name="Textplatzhalter 3">
            <a:extLst>
              <a:ext uri="{FF2B5EF4-FFF2-40B4-BE49-F238E27FC236}">
                <a16:creationId xmlns:a16="http://schemas.microsoft.com/office/drawing/2014/main" id="{219810D5-D662-472D-9E26-D3CF8F5E70EE}"/>
              </a:ext>
            </a:extLst>
          </p:cNvPr>
          <p:cNvSpPr txBox="1">
            <a:spLocks/>
          </p:cNvSpPr>
          <p:nvPr/>
        </p:nvSpPr>
        <p:spPr bwMode="gray">
          <a:xfrm>
            <a:off x="2628315" y="4601730"/>
            <a:ext cx="2506178" cy="971528"/>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r"/>
            <a:r>
              <a:rPr lang="en-US" sz="3000" dirty="0">
                <a:solidFill>
                  <a:schemeClr val="accent5"/>
                </a:solidFill>
                <a:latin typeface="+mn-lt"/>
              </a:rPr>
              <a:t>Suspendisse </a:t>
            </a:r>
            <a:br>
              <a:rPr lang="en-US" sz="3000" dirty="0">
                <a:solidFill>
                  <a:schemeClr val="accent5"/>
                </a:solidFill>
                <a:latin typeface="+mn-lt"/>
              </a:rPr>
            </a:br>
            <a:r>
              <a:rPr lang="en-US" sz="3000" dirty="0">
                <a:solidFill>
                  <a:schemeClr val="accent5"/>
                </a:solidFill>
                <a:latin typeface="+mn-lt"/>
              </a:rPr>
              <a:t>id mauris </a:t>
            </a:r>
          </a:p>
        </p:txBody>
      </p:sp>
      <p:sp>
        <p:nvSpPr>
          <p:cNvPr id="20" name="Textplatzhalter 3">
            <a:extLst>
              <a:ext uri="{FF2B5EF4-FFF2-40B4-BE49-F238E27FC236}">
                <a16:creationId xmlns:a16="http://schemas.microsoft.com/office/drawing/2014/main" id="{DB1EA559-1FDC-4ABE-8844-CD0F33AAF95E}"/>
              </a:ext>
            </a:extLst>
          </p:cNvPr>
          <p:cNvSpPr txBox="1">
            <a:spLocks/>
          </p:cNvSpPr>
          <p:nvPr/>
        </p:nvSpPr>
        <p:spPr bwMode="gray">
          <a:xfrm>
            <a:off x="911424" y="620688"/>
            <a:ext cx="5473054" cy="455824"/>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3000" dirty="0">
                <a:solidFill>
                  <a:schemeClr val="accent5"/>
                </a:solidFill>
                <a:latin typeface="+mn-lt"/>
              </a:rPr>
              <a:t>Suspendisse vestibulum</a:t>
            </a:r>
          </a:p>
        </p:txBody>
      </p:sp>
      <p:sp>
        <p:nvSpPr>
          <p:cNvPr id="21" name="Textplatzhalter 3">
            <a:extLst>
              <a:ext uri="{FF2B5EF4-FFF2-40B4-BE49-F238E27FC236}">
                <a16:creationId xmlns:a16="http://schemas.microsoft.com/office/drawing/2014/main" id="{505DE16A-C440-47C0-A92E-0F4465209586}"/>
              </a:ext>
            </a:extLst>
          </p:cNvPr>
          <p:cNvSpPr txBox="1">
            <a:spLocks/>
          </p:cNvSpPr>
          <p:nvPr/>
        </p:nvSpPr>
        <p:spPr bwMode="gray">
          <a:xfrm>
            <a:off x="3431704" y="2060896"/>
            <a:ext cx="2519834" cy="432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2000" dirty="0">
                <a:solidFill>
                  <a:schemeClr val="bg2"/>
                </a:solidFill>
                <a:latin typeface="+mn-lt"/>
              </a:rPr>
              <a:t>Suspendisse </a:t>
            </a:r>
            <a:br>
              <a:rPr lang="en-US" sz="2000" dirty="0">
                <a:solidFill>
                  <a:schemeClr val="bg2"/>
                </a:solidFill>
                <a:latin typeface="+mn-lt"/>
              </a:rPr>
            </a:br>
            <a:r>
              <a:rPr lang="en-US" sz="2000" dirty="0">
                <a:solidFill>
                  <a:schemeClr val="bg2"/>
                </a:solidFill>
                <a:latin typeface="+mn-lt"/>
              </a:rPr>
              <a:t>id mauris </a:t>
            </a:r>
          </a:p>
        </p:txBody>
      </p:sp>
      <p:sp>
        <p:nvSpPr>
          <p:cNvPr id="22" name="Textplatzhalter 3">
            <a:extLst>
              <a:ext uri="{FF2B5EF4-FFF2-40B4-BE49-F238E27FC236}">
                <a16:creationId xmlns:a16="http://schemas.microsoft.com/office/drawing/2014/main" id="{25A2D536-F18C-413F-B70C-2F701B641325}"/>
              </a:ext>
            </a:extLst>
          </p:cNvPr>
          <p:cNvSpPr txBox="1">
            <a:spLocks/>
          </p:cNvSpPr>
          <p:nvPr/>
        </p:nvSpPr>
        <p:spPr bwMode="gray">
          <a:xfrm>
            <a:off x="3431704" y="3429000"/>
            <a:ext cx="2519834" cy="432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2000" dirty="0">
                <a:solidFill>
                  <a:schemeClr val="bg2"/>
                </a:solidFill>
                <a:latin typeface="+mn-lt"/>
              </a:rPr>
              <a:t>amet odio feugiat</a:t>
            </a:r>
          </a:p>
        </p:txBody>
      </p:sp>
      <p:sp>
        <p:nvSpPr>
          <p:cNvPr id="23" name="Textplatzhalter 3">
            <a:extLst>
              <a:ext uri="{FF2B5EF4-FFF2-40B4-BE49-F238E27FC236}">
                <a16:creationId xmlns:a16="http://schemas.microsoft.com/office/drawing/2014/main" id="{34FEF132-5601-4830-84C3-7961B0DF8875}"/>
              </a:ext>
            </a:extLst>
          </p:cNvPr>
          <p:cNvSpPr txBox="1">
            <a:spLocks/>
          </p:cNvSpPr>
          <p:nvPr/>
        </p:nvSpPr>
        <p:spPr bwMode="gray">
          <a:xfrm>
            <a:off x="623886" y="1196752"/>
            <a:ext cx="1224000" cy="1152000"/>
          </a:xfrm>
          <a:prstGeom prst="rect">
            <a:avLst/>
          </a:prstGeom>
        </p:spPr>
        <p:txBody>
          <a:bodyPr wrap="squar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r"/>
            <a:r>
              <a:rPr lang="en-US" sz="2000" dirty="0">
                <a:latin typeface="+mn-lt"/>
              </a:rPr>
              <a:t>amet </a:t>
            </a:r>
            <a:br>
              <a:rPr lang="en-US" sz="2000" dirty="0">
                <a:latin typeface="+mn-lt"/>
              </a:rPr>
            </a:br>
            <a:r>
              <a:rPr lang="en-US" sz="2000" dirty="0">
                <a:latin typeface="+mn-lt"/>
              </a:rPr>
              <a:t>odio </a:t>
            </a:r>
            <a:br>
              <a:rPr lang="en-US" sz="2000" dirty="0">
                <a:latin typeface="+mn-lt"/>
              </a:rPr>
            </a:br>
            <a:r>
              <a:rPr lang="en-US" sz="2000" dirty="0">
                <a:latin typeface="+mn-lt"/>
              </a:rPr>
              <a:t>feugiat</a:t>
            </a:r>
          </a:p>
        </p:txBody>
      </p:sp>
      <p:sp>
        <p:nvSpPr>
          <p:cNvPr id="15" name="Rectangle 24">
            <a:extLst>
              <a:ext uri="{FF2B5EF4-FFF2-40B4-BE49-F238E27FC236}">
                <a16:creationId xmlns:a16="http://schemas.microsoft.com/office/drawing/2014/main" id="{2B04D2A2-6250-4B83-B1DB-1136F5680BF9}"/>
              </a:ext>
            </a:extLst>
          </p:cNvPr>
          <p:cNvSpPr/>
          <p:nvPr/>
        </p:nvSpPr>
        <p:spPr bwMode="gray">
          <a:xfrm rot="5400000">
            <a:off x="6021386" y="4722538"/>
            <a:ext cx="2598660" cy="430887"/>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fontAlgn="base">
              <a:spcBef>
                <a:spcPct val="0"/>
              </a:spcBef>
              <a:spcAft>
                <a:spcPct val="0"/>
              </a:spcAft>
              <a:buClr>
                <a:srgbClr val="001489"/>
              </a:buClr>
              <a:buFont typeface="Wingdings" pitchFamily="2" charset="2"/>
              <a:buNone/>
            </a:pPr>
            <a:r>
              <a:rPr lang="en-US" sz="2800" dirty="0">
                <a:solidFill>
                  <a:schemeClr val="bg2"/>
                </a:solidFill>
              </a:rPr>
              <a:t>vulputate imperdiet</a:t>
            </a:r>
          </a:p>
        </p:txBody>
      </p:sp>
      <p:sp>
        <p:nvSpPr>
          <p:cNvPr id="16" name="Rectangle 13">
            <a:extLst>
              <a:ext uri="{FF2B5EF4-FFF2-40B4-BE49-F238E27FC236}">
                <a16:creationId xmlns:a16="http://schemas.microsoft.com/office/drawing/2014/main" id="{F0C55808-FA16-4552-938E-4D67C67CA019}"/>
              </a:ext>
            </a:extLst>
          </p:cNvPr>
          <p:cNvSpPr/>
          <p:nvPr/>
        </p:nvSpPr>
        <p:spPr bwMode="gray">
          <a:xfrm>
            <a:off x="8382592" y="4109591"/>
            <a:ext cx="2069669" cy="615553"/>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fontAlgn="base">
              <a:spcBef>
                <a:spcPct val="0"/>
              </a:spcBef>
              <a:spcAft>
                <a:spcPct val="0"/>
              </a:spcAft>
              <a:buClr>
                <a:srgbClr val="001489"/>
              </a:buClr>
              <a:buFont typeface="Wingdings" pitchFamily="2" charset="2"/>
              <a:buNone/>
            </a:pPr>
            <a:r>
              <a:rPr lang="en-US" sz="4000" dirty="0">
                <a:solidFill>
                  <a:schemeClr val="accent2"/>
                </a:solidFill>
              </a:rPr>
              <a:t>amet odio </a:t>
            </a:r>
          </a:p>
        </p:txBody>
      </p:sp>
      <p:sp>
        <p:nvSpPr>
          <p:cNvPr id="25" name="Textplatzhalter 3">
            <a:extLst>
              <a:ext uri="{FF2B5EF4-FFF2-40B4-BE49-F238E27FC236}">
                <a16:creationId xmlns:a16="http://schemas.microsoft.com/office/drawing/2014/main" id="{0974852D-29DC-4E0C-80FF-1A1D7511392C}"/>
              </a:ext>
            </a:extLst>
          </p:cNvPr>
          <p:cNvSpPr txBox="1">
            <a:spLocks/>
          </p:cNvSpPr>
          <p:nvPr/>
        </p:nvSpPr>
        <p:spPr bwMode="gray">
          <a:xfrm>
            <a:off x="6320679" y="3068960"/>
            <a:ext cx="5071442" cy="468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t>ultricies ipsum tellus</a:t>
            </a:r>
          </a:p>
        </p:txBody>
      </p:sp>
      <p:sp>
        <p:nvSpPr>
          <p:cNvPr id="26" name="Textplatzhalter 3">
            <a:extLst>
              <a:ext uri="{FF2B5EF4-FFF2-40B4-BE49-F238E27FC236}">
                <a16:creationId xmlns:a16="http://schemas.microsoft.com/office/drawing/2014/main" id="{2D9FD416-1695-4AE5-8322-93985124096F}"/>
              </a:ext>
            </a:extLst>
          </p:cNvPr>
          <p:cNvSpPr txBox="1">
            <a:spLocks/>
          </p:cNvSpPr>
          <p:nvPr/>
        </p:nvSpPr>
        <p:spPr bwMode="gray">
          <a:xfrm>
            <a:off x="7323892" y="1597945"/>
            <a:ext cx="2506178" cy="971528"/>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r"/>
            <a:r>
              <a:rPr lang="en-US" sz="3000" dirty="0">
                <a:solidFill>
                  <a:schemeClr val="accent5"/>
                </a:solidFill>
                <a:latin typeface="+mn-lt"/>
              </a:rPr>
              <a:t>Suspendisse </a:t>
            </a:r>
            <a:br>
              <a:rPr lang="en-US" sz="3000" dirty="0">
                <a:solidFill>
                  <a:schemeClr val="accent5"/>
                </a:solidFill>
                <a:latin typeface="+mn-lt"/>
              </a:rPr>
            </a:br>
            <a:r>
              <a:rPr lang="en-US" sz="3000" dirty="0">
                <a:solidFill>
                  <a:schemeClr val="accent5"/>
                </a:solidFill>
                <a:latin typeface="+mn-lt"/>
              </a:rPr>
              <a:t>id mauris </a:t>
            </a:r>
          </a:p>
        </p:txBody>
      </p:sp>
      <p:sp>
        <p:nvSpPr>
          <p:cNvPr id="27" name="Textplatzhalter 3">
            <a:extLst>
              <a:ext uri="{FF2B5EF4-FFF2-40B4-BE49-F238E27FC236}">
                <a16:creationId xmlns:a16="http://schemas.microsoft.com/office/drawing/2014/main" id="{8218E756-17D6-4D67-98CA-4D2E12A15B26}"/>
              </a:ext>
            </a:extLst>
          </p:cNvPr>
          <p:cNvSpPr txBox="1">
            <a:spLocks/>
          </p:cNvSpPr>
          <p:nvPr/>
        </p:nvSpPr>
        <p:spPr bwMode="gray">
          <a:xfrm>
            <a:off x="4292600" y="2511212"/>
            <a:ext cx="5473054" cy="455824"/>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3000" dirty="0">
                <a:solidFill>
                  <a:schemeClr val="accent5"/>
                </a:solidFill>
                <a:latin typeface="+mn-lt"/>
              </a:rPr>
              <a:t>Suspendisse vestibulum</a:t>
            </a:r>
          </a:p>
        </p:txBody>
      </p:sp>
      <p:sp>
        <p:nvSpPr>
          <p:cNvPr id="28" name="Textplatzhalter 3">
            <a:extLst>
              <a:ext uri="{FF2B5EF4-FFF2-40B4-BE49-F238E27FC236}">
                <a16:creationId xmlns:a16="http://schemas.microsoft.com/office/drawing/2014/main" id="{EF504EDD-59C0-42B0-8D5F-CFEF90585EAD}"/>
              </a:ext>
            </a:extLst>
          </p:cNvPr>
          <p:cNvSpPr txBox="1">
            <a:spLocks/>
          </p:cNvSpPr>
          <p:nvPr/>
        </p:nvSpPr>
        <p:spPr bwMode="gray">
          <a:xfrm>
            <a:off x="10132204" y="2107032"/>
            <a:ext cx="1867709" cy="432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2000" dirty="0">
                <a:solidFill>
                  <a:schemeClr val="bg2"/>
                </a:solidFill>
                <a:latin typeface="+mn-lt"/>
              </a:rPr>
              <a:t>Suspendisse </a:t>
            </a:r>
            <a:br>
              <a:rPr lang="en-US" sz="2000" dirty="0">
                <a:solidFill>
                  <a:schemeClr val="bg2"/>
                </a:solidFill>
                <a:latin typeface="+mn-lt"/>
              </a:rPr>
            </a:br>
            <a:r>
              <a:rPr lang="en-US" sz="2000" dirty="0">
                <a:solidFill>
                  <a:schemeClr val="bg2"/>
                </a:solidFill>
                <a:latin typeface="+mn-lt"/>
              </a:rPr>
              <a:t>id mauris </a:t>
            </a:r>
          </a:p>
        </p:txBody>
      </p:sp>
      <p:sp>
        <p:nvSpPr>
          <p:cNvPr id="29" name="Textplatzhalter 3">
            <a:extLst>
              <a:ext uri="{FF2B5EF4-FFF2-40B4-BE49-F238E27FC236}">
                <a16:creationId xmlns:a16="http://schemas.microsoft.com/office/drawing/2014/main" id="{38B1F8C6-119E-419D-9612-BB68BDADFA77}"/>
              </a:ext>
            </a:extLst>
          </p:cNvPr>
          <p:cNvSpPr txBox="1">
            <a:spLocks/>
          </p:cNvSpPr>
          <p:nvPr/>
        </p:nvSpPr>
        <p:spPr bwMode="gray">
          <a:xfrm>
            <a:off x="9192344" y="3573064"/>
            <a:ext cx="2519834" cy="432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2000" dirty="0">
                <a:solidFill>
                  <a:schemeClr val="bg2"/>
                </a:solidFill>
                <a:latin typeface="+mn-lt"/>
              </a:rPr>
              <a:t>amet odio feugiat</a:t>
            </a:r>
          </a:p>
        </p:txBody>
      </p:sp>
      <p:sp>
        <p:nvSpPr>
          <p:cNvPr id="30" name="Textplatzhalter 3">
            <a:extLst>
              <a:ext uri="{FF2B5EF4-FFF2-40B4-BE49-F238E27FC236}">
                <a16:creationId xmlns:a16="http://schemas.microsoft.com/office/drawing/2014/main" id="{AEA4821C-54D0-4A2C-B8FC-C47EFF3E4818}"/>
              </a:ext>
            </a:extLst>
          </p:cNvPr>
          <p:cNvSpPr txBox="1">
            <a:spLocks/>
          </p:cNvSpPr>
          <p:nvPr/>
        </p:nvSpPr>
        <p:spPr bwMode="gray">
          <a:xfrm rot="5400000">
            <a:off x="5756701" y="4992436"/>
            <a:ext cx="1974695" cy="432000"/>
          </a:xfrm>
          <a:prstGeom prst="rect">
            <a:avLst/>
          </a:prstGeom>
        </p:spPr>
        <p:txBody>
          <a:bodyPr wrap="squar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r"/>
            <a:r>
              <a:rPr lang="en-US" sz="2000" dirty="0">
                <a:latin typeface="+mn-lt"/>
              </a:rPr>
              <a:t>Amet odio feugiat</a:t>
            </a:r>
          </a:p>
        </p:txBody>
      </p:sp>
      <p:sp>
        <p:nvSpPr>
          <p:cNvPr id="31" name="Rectangle 13">
            <a:extLst>
              <a:ext uri="{FF2B5EF4-FFF2-40B4-BE49-F238E27FC236}">
                <a16:creationId xmlns:a16="http://schemas.microsoft.com/office/drawing/2014/main" id="{671453C8-172E-4CA7-9909-AA741A42423C}"/>
              </a:ext>
            </a:extLst>
          </p:cNvPr>
          <p:cNvSpPr/>
          <p:nvPr/>
        </p:nvSpPr>
        <p:spPr bwMode="gray">
          <a:xfrm>
            <a:off x="9480376" y="1013247"/>
            <a:ext cx="2069669" cy="615553"/>
          </a:xfrm>
          <a:prstGeom prst="rect">
            <a:avLst/>
          </a:prstGeom>
          <a:noFill/>
          <a:ln w="317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fontAlgn="base">
              <a:spcBef>
                <a:spcPct val="0"/>
              </a:spcBef>
              <a:spcAft>
                <a:spcPct val="0"/>
              </a:spcAft>
              <a:buClr>
                <a:srgbClr val="001489"/>
              </a:buClr>
              <a:buFont typeface="Wingdings" pitchFamily="2" charset="2"/>
              <a:buNone/>
            </a:pPr>
            <a:r>
              <a:rPr lang="en-US" sz="4000" dirty="0">
                <a:solidFill>
                  <a:schemeClr val="accent2"/>
                </a:solidFill>
              </a:rPr>
              <a:t>amet odio </a:t>
            </a:r>
          </a:p>
        </p:txBody>
      </p:sp>
      <p:sp>
        <p:nvSpPr>
          <p:cNvPr id="32" name="Textplatzhalter 3">
            <a:extLst>
              <a:ext uri="{FF2B5EF4-FFF2-40B4-BE49-F238E27FC236}">
                <a16:creationId xmlns:a16="http://schemas.microsoft.com/office/drawing/2014/main" id="{BD3D3329-8C5A-44F0-95C3-0F8F60AF1ED7}"/>
              </a:ext>
            </a:extLst>
          </p:cNvPr>
          <p:cNvSpPr txBox="1">
            <a:spLocks/>
          </p:cNvSpPr>
          <p:nvPr/>
        </p:nvSpPr>
        <p:spPr bwMode="gray">
          <a:xfrm>
            <a:off x="8382592" y="5005327"/>
            <a:ext cx="1867709" cy="432000"/>
          </a:xfrm>
          <a:prstGeom prst="rect">
            <a:avLst/>
          </a:prstGeom>
        </p:spPr>
        <p:txBody>
          <a:bodyPr wrap="squar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2000" dirty="0">
                <a:solidFill>
                  <a:schemeClr val="bg2"/>
                </a:solidFill>
                <a:latin typeface="+mn-lt"/>
              </a:rPr>
              <a:t>Suspendisse </a:t>
            </a:r>
            <a:br>
              <a:rPr lang="en-US" sz="2000" dirty="0">
                <a:solidFill>
                  <a:schemeClr val="bg2"/>
                </a:solidFill>
                <a:latin typeface="+mn-lt"/>
              </a:rPr>
            </a:br>
            <a:r>
              <a:rPr lang="en-US" sz="2000" dirty="0">
                <a:solidFill>
                  <a:schemeClr val="bg2"/>
                </a:solidFill>
                <a:latin typeface="+mn-lt"/>
              </a:rPr>
              <a:t>id mauris </a:t>
            </a:r>
          </a:p>
        </p:txBody>
      </p:sp>
      <p:sp>
        <p:nvSpPr>
          <p:cNvPr id="2" name="Fußzeilenplatzhalter 1">
            <a:extLst>
              <a:ext uri="{FF2B5EF4-FFF2-40B4-BE49-F238E27FC236}">
                <a16:creationId xmlns:a16="http://schemas.microsoft.com/office/drawing/2014/main" id="{5B66A736-0161-4C47-BB63-1AC45566DE58}"/>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360FBB75-77A9-43F1-9A87-EA415E137BA5}"/>
              </a:ext>
            </a:extLst>
          </p:cNvPr>
          <p:cNvSpPr>
            <a:spLocks noGrp="1"/>
          </p:cNvSpPr>
          <p:nvPr>
            <p:ph type="sldNum" sz="quarter" idx="12"/>
          </p:nvPr>
        </p:nvSpPr>
        <p:spPr/>
        <p:txBody>
          <a:bodyPr/>
          <a:lstStyle/>
          <a:p>
            <a:fld id="{CE82B8A1-0CCE-4815-9668-383D7DE7D8B4}" type="slidenum">
              <a:rPr lang="en-US" smtClean="0"/>
              <a:t>61</a:t>
            </a:fld>
            <a:endParaRPr lang="en-US" dirty="0"/>
          </a:p>
        </p:txBody>
      </p:sp>
    </p:spTree>
    <p:extLst>
      <p:ext uri="{BB962C8B-B14F-4D97-AF65-F5344CB8AC3E}">
        <p14:creationId xmlns:p14="http://schemas.microsoft.com/office/powerpoint/2010/main" val="75366293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Diagramm 19">
            <a:extLst>
              <a:ext uri="{FF2B5EF4-FFF2-40B4-BE49-F238E27FC236}">
                <a16:creationId xmlns:a16="http://schemas.microsoft.com/office/drawing/2014/main" id="{A992DC0B-63DD-4F2A-BE9E-2FBB1FCCF444}"/>
              </a:ext>
            </a:extLst>
          </p:cNvPr>
          <p:cNvGraphicFramePr/>
          <p:nvPr>
            <p:extLst>
              <p:ext uri="{D42A27DB-BD31-4B8C-83A1-F6EECF244321}">
                <p14:modId xmlns:p14="http://schemas.microsoft.com/office/powerpoint/2010/main" val="3314311917"/>
              </p:ext>
            </p:extLst>
          </p:nvPr>
        </p:nvGraphicFramePr>
        <p:xfrm>
          <a:off x="7256700" y="414471"/>
          <a:ext cx="4112513" cy="394413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Diagramm 12">
            <a:extLst>
              <a:ext uri="{FF2B5EF4-FFF2-40B4-BE49-F238E27FC236}">
                <a16:creationId xmlns:a16="http://schemas.microsoft.com/office/drawing/2014/main" id="{F5069F03-3096-4263-91C2-CAB2DF1FFFC1}"/>
              </a:ext>
            </a:extLst>
          </p:cNvPr>
          <p:cNvGraphicFramePr/>
          <p:nvPr>
            <p:extLst>
              <p:ext uri="{D42A27DB-BD31-4B8C-83A1-F6EECF244321}">
                <p14:modId xmlns:p14="http://schemas.microsoft.com/office/powerpoint/2010/main" val="3552607716"/>
              </p:ext>
            </p:extLst>
          </p:nvPr>
        </p:nvGraphicFramePr>
        <p:xfrm>
          <a:off x="3079491" y="2189662"/>
          <a:ext cx="3747383" cy="4714058"/>
        </p:xfrm>
        <a:graphic>
          <a:graphicData uri="http://schemas.openxmlformats.org/drawingml/2006/chart">
            <c:chart xmlns:c="http://schemas.openxmlformats.org/drawingml/2006/chart" xmlns:r="http://schemas.openxmlformats.org/officeDocument/2006/relationships" r:id="rId3"/>
          </a:graphicData>
        </a:graphic>
      </p:graphicFrame>
      <p:grpSp>
        <p:nvGrpSpPr>
          <p:cNvPr id="48" name="Gruppieren 47">
            <a:extLst>
              <a:ext uri="{FF2B5EF4-FFF2-40B4-BE49-F238E27FC236}">
                <a16:creationId xmlns:a16="http://schemas.microsoft.com/office/drawing/2014/main" id="{43F367E0-9C42-486F-9789-B9ECB70DF9CD}"/>
              </a:ext>
            </a:extLst>
          </p:cNvPr>
          <p:cNvGrpSpPr/>
          <p:nvPr/>
        </p:nvGrpSpPr>
        <p:grpSpPr bwMode="gray">
          <a:xfrm>
            <a:off x="2711624" y="3175"/>
            <a:ext cx="8851900" cy="6854825"/>
            <a:chOff x="13590588" y="3175"/>
            <a:chExt cx="8851900" cy="6854825"/>
          </a:xfrm>
        </p:grpSpPr>
        <p:sp>
          <p:nvSpPr>
            <p:cNvPr id="44" name="Freeform 12">
              <a:extLst>
                <a:ext uri="{FF2B5EF4-FFF2-40B4-BE49-F238E27FC236}">
                  <a16:creationId xmlns:a16="http://schemas.microsoft.com/office/drawing/2014/main" id="{9D5BC39A-7F19-4643-A4CE-88F33CE91BFB}"/>
                </a:ext>
              </a:extLst>
            </p:cNvPr>
            <p:cNvSpPr>
              <a:spLocks/>
            </p:cNvSpPr>
            <p:nvPr/>
          </p:nvSpPr>
          <p:spPr bwMode="gray">
            <a:xfrm>
              <a:off x="18846801" y="1730375"/>
              <a:ext cx="2062163" cy="2017713"/>
            </a:xfrm>
            <a:custGeom>
              <a:avLst/>
              <a:gdLst>
                <a:gd name="T0" fmla="*/ 379 w 763"/>
                <a:gd name="T1" fmla="*/ 0 h 748"/>
                <a:gd name="T2" fmla="*/ 0 w 763"/>
                <a:gd name="T3" fmla="*/ 378 h 748"/>
                <a:gd name="T4" fmla="*/ 382 w 763"/>
                <a:gd name="T5" fmla="*/ 748 h 748"/>
                <a:gd name="T6" fmla="*/ 763 w 763"/>
                <a:gd name="T7" fmla="*/ 378 h 748"/>
                <a:gd name="T8" fmla="*/ 379 w 763"/>
                <a:gd name="T9" fmla="*/ 0 h 748"/>
              </a:gdLst>
              <a:ahLst/>
              <a:cxnLst>
                <a:cxn ang="0">
                  <a:pos x="T0" y="T1"/>
                </a:cxn>
                <a:cxn ang="0">
                  <a:pos x="T2" y="T3"/>
                </a:cxn>
                <a:cxn ang="0">
                  <a:pos x="T4" y="T5"/>
                </a:cxn>
                <a:cxn ang="0">
                  <a:pos x="T6" y="T7"/>
                </a:cxn>
                <a:cxn ang="0">
                  <a:pos x="T8" y="T9"/>
                </a:cxn>
              </a:cxnLst>
              <a:rect l="0" t="0" r="r" b="b"/>
              <a:pathLst>
                <a:path w="763" h="748">
                  <a:moveTo>
                    <a:pt x="379" y="0"/>
                  </a:moveTo>
                  <a:cubicBezTo>
                    <a:pt x="167" y="3"/>
                    <a:pt x="0" y="170"/>
                    <a:pt x="0" y="378"/>
                  </a:cubicBezTo>
                  <a:cubicBezTo>
                    <a:pt x="2" y="586"/>
                    <a:pt x="170" y="748"/>
                    <a:pt x="382" y="748"/>
                  </a:cubicBezTo>
                  <a:cubicBezTo>
                    <a:pt x="594" y="746"/>
                    <a:pt x="760" y="586"/>
                    <a:pt x="763" y="378"/>
                  </a:cubicBezTo>
                  <a:cubicBezTo>
                    <a:pt x="763" y="169"/>
                    <a:pt x="591" y="0"/>
                    <a:pt x="37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3">
              <a:extLst>
                <a:ext uri="{FF2B5EF4-FFF2-40B4-BE49-F238E27FC236}">
                  <a16:creationId xmlns:a16="http://schemas.microsoft.com/office/drawing/2014/main" id="{99819A62-722A-4FC3-A3D9-841F514F5EFF}"/>
                </a:ext>
              </a:extLst>
            </p:cNvPr>
            <p:cNvSpPr>
              <a:spLocks/>
            </p:cNvSpPr>
            <p:nvPr/>
          </p:nvSpPr>
          <p:spPr bwMode="gray">
            <a:xfrm>
              <a:off x="14736763" y="2836863"/>
              <a:ext cx="2182813" cy="2178050"/>
            </a:xfrm>
            <a:custGeom>
              <a:avLst/>
              <a:gdLst>
                <a:gd name="T0" fmla="*/ 803 w 808"/>
                <a:gd name="T1" fmla="*/ 410 h 807"/>
                <a:gd name="T2" fmla="*/ 407 w 808"/>
                <a:gd name="T3" fmla="*/ 5 h 807"/>
                <a:gd name="T4" fmla="*/ 2 w 808"/>
                <a:gd name="T5" fmla="*/ 400 h 807"/>
                <a:gd name="T6" fmla="*/ 397 w 808"/>
                <a:gd name="T7" fmla="*/ 802 h 807"/>
                <a:gd name="T8" fmla="*/ 803 w 808"/>
                <a:gd name="T9" fmla="*/ 410 h 807"/>
              </a:gdLst>
              <a:ahLst/>
              <a:cxnLst>
                <a:cxn ang="0">
                  <a:pos x="T0" y="T1"/>
                </a:cxn>
                <a:cxn ang="0">
                  <a:pos x="T2" y="T3"/>
                </a:cxn>
                <a:cxn ang="0">
                  <a:pos x="T4" y="T5"/>
                </a:cxn>
                <a:cxn ang="0">
                  <a:pos x="T6" y="T7"/>
                </a:cxn>
                <a:cxn ang="0">
                  <a:pos x="T8" y="T9"/>
                </a:cxn>
              </a:cxnLst>
              <a:rect l="0" t="0" r="r" b="b"/>
              <a:pathLst>
                <a:path w="808" h="807">
                  <a:moveTo>
                    <a:pt x="803" y="410"/>
                  </a:moveTo>
                  <a:cubicBezTo>
                    <a:pt x="808" y="192"/>
                    <a:pt x="631" y="10"/>
                    <a:pt x="407" y="5"/>
                  </a:cubicBezTo>
                  <a:cubicBezTo>
                    <a:pt x="189" y="0"/>
                    <a:pt x="5" y="179"/>
                    <a:pt x="2" y="400"/>
                  </a:cubicBezTo>
                  <a:cubicBezTo>
                    <a:pt x="0" y="618"/>
                    <a:pt x="173" y="800"/>
                    <a:pt x="397" y="802"/>
                  </a:cubicBezTo>
                  <a:cubicBezTo>
                    <a:pt x="618" y="807"/>
                    <a:pt x="800" y="632"/>
                    <a:pt x="803" y="4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14">
              <a:extLst>
                <a:ext uri="{FF2B5EF4-FFF2-40B4-BE49-F238E27FC236}">
                  <a16:creationId xmlns:a16="http://schemas.microsoft.com/office/drawing/2014/main" id="{2F258E29-BA40-4CA0-BDEF-A5BE2233A692}"/>
                </a:ext>
              </a:extLst>
            </p:cNvPr>
            <p:cNvSpPr>
              <a:spLocks noEditPoints="1"/>
            </p:cNvSpPr>
            <p:nvPr/>
          </p:nvSpPr>
          <p:spPr bwMode="gray">
            <a:xfrm>
              <a:off x="13590588" y="3175"/>
              <a:ext cx="8851900" cy="6854825"/>
            </a:xfrm>
            <a:custGeom>
              <a:avLst/>
              <a:gdLst>
                <a:gd name="T0" fmla="*/ 1660 w 3277"/>
                <a:gd name="T1" fmla="*/ 0 h 2540"/>
                <a:gd name="T2" fmla="*/ 1610 w 3277"/>
                <a:gd name="T3" fmla="*/ 0 h 2540"/>
                <a:gd name="T4" fmla="*/ 0 w 3277"/>
                <a:gd name="T5" fmla="*/ 0 h 2540"/>
                <a:gd name="T6" fmla="*/ 0 w 3277"/>
                <a:gd name="T7" fmla="*/ 2540 h 2540"/>
                <a:gd name="T8" fmla="*/ 714 w 3277"/>
                <a:gd name="T9" fmla="*/ 2540 h 2540"/>
                <a:gd name="T10" fmla="*/ 713 w 3277"/>
                <a:gd name="T11" fmla="*/ 2528 h 2540"/>
                <a:gd name="T12" fmla="*/ 713 w 3277"/>
                <a:gd name="T13" fmla="*/ 2429 h 2540"/>
                <a:gd name="T14" fmla="*/ 566 w 3277"/>
                <a:gd name="T15" fmla="*/ 2429 h 2540"/>
                <a:gd name="T16" fmla="*/ 455 w 3277"/>
                <a:gd name="T17" fmla="*/ 2332 h 2540"/>
                <a:gd name="T18" fmla="*/ 566 w 3277"/>
                <a:gd name="T19" fmla="*/ 2232 h 2540"/>
                <a:gd name="T20" fmla="*/ 710 w 3277"/>
                <a:gd name="T21" fmla="*/ 2232 h 2540"/>
                <a:gd name="T22" fmla="*/ 710 w 3277"/>
                <a:gd name="T23" fmla="*/ 2050 h 2540"/>
                <a:gd name="T24" fmla="*/ 281 w 3277"/>
                <a:gd name="T25" fmla="*/ 1713 h 2540"/>
                <a:gd name="T26" fmla="*/ 240 w 3277"/>
                <a:gd name="T27" fmla="*/ 1301 h 2540"/>
                <a:gd name="T28" fmla="*/ 856 w 3277"/>
                <a:gd name="T29" fmla="*/ 853 h 2540"/>
                <a:gd name="T30" fmla="*/ 1422 w 3277"/>
                <a:gd name="T31" fmla="*/ 1360 h 2540"/>
                <a:gd name="T32" fmla="*/ 1316 w 3277"/>
                <a:gd name="T33" fmla="*/ 1808 h 2540"/>
                <a:gd name="T34" fmla="*/ 922 w 3277"/>
                <a:gd name="T35" fmla="*/ 2052 h 2540"/>
                <a:gd name="T36" fmla="*/ 922 w 3277"/>
                <a:gd name="T37" fmla="*/ 2229 h 2540"/>
                <a:gd name="T38" fmla="*/ 1068 w 3277"/>
                <a:gd name="T39" fmla="*/ 2232 h 2540"/>
                <a:gd name="T40" fmla="*/ 1183 w 3277"/>
                <a:gd name="T41" fmla="*/ 2329 h 2540"/>
                <a:gd name="T42" fmla="*/ 1068 w 3277"/>
                <a:gd name="T43" fmla="*/ 2429 h 2540"/>
                <a:gd name="T44" fmla="*/ 919 w 3277"/>
                <a:gd name="T45" fmla="*/ 2429 h 2540"/>
                <a:gd name="T46" fmla="*/ 919 w 3277"/>
                <a:gd name="T47" fmla="*/ 2530 h 2540"/>
                <a:gd name="T48" fmla="*/ 918 w 3277"/>
                <a:gd name="T49" fmla="*/ 2540 h 2540"/>
                <a:gd name="T50" fmla="*/ 1660 w 3277"/>
                <a:gd name="T51" fmla="*/ 2540 h 2540"/>
                <a:gd name="T52" fmla="*/ 1660 w 3277"/>
                <a:gd name="T53" fmla="*/ 2415 h 2540"/>
                <a:gd name="T54" fmla="*/ 3274 w 3277"/>
                <a:gd name="T55" fmla="*/ 2415 h 2540"/>
                <a:gd name="T56" fmla="*/ 3274 w 3277"/>
                <a:gd name="T57" fmla="*/ 72 h 2540"/>
                <a:gd name="T58" fmla="*/ 3277 w 3277"/>
                <a:gd name="T59" fmla="*/ 72 h 2540"/>
                <a:gd name="T60" fmla="*/ 3277 w 3277"/>
                <a:gd name="T61" fmla="*/ 0 h 2540"/>
                <a:gd name="T62" fmla="*/ 1660 w 3277"/>
                <a:gd name="T63" fmla="*/ 0 h 2540"/>
                <a:gd name="T64" fmla="*/ 3170 w 3277"/>
                <a:gd name="T65" fmla="*/ 645 h 2540"/>
                <a:gd name="T66" fmla="*/ 3074 w 3277"/>
                <a:gd name="T67" fmla="*/ 740 h 2540"/>
                <a:gd name="T68" fmla="*/ 2978 w 3277"/>
                <a:gd name="T69" fmla="*/ 645 h 2540"/>
                <a:gd name="T70" fmla="*/ 2978 w 3277"/>
                <a:gd name="T71" fmla="*/ 530 h 2540"/>
                <a:gd name="T72" fmla="*/ 2811 w 3277"/>
                <a:gd name="T73" fmla="*/ 694 h 2540"/>
                <a:gd name="T74" fmla="*/ 2877 w 3277"/>
                <a:gd name="T75" fmla="*/ 1187 h 2540"/>
                <a:gd name="T76" fmla="*/ 2629 w 3277"/>
                <a:gd name="T77" fmla="*/ 1496 h 2540"/>
                <a:gd name="T78" fmla="*/ 1902 w 3277"/>
                <a:gd name="T79" fmla="*/ 1387 h 2540"/>
                <a:gd name="T80" fmla="*/ 1887 w 3277"/>
                <a:gd name="T81" fmla="*/ 653 h 2540"/>
                <a:gd name="T82" fmla="*/ 2684 w 3277"/>
                <a:gd name="T83" fmla="*/ 558 h 2540"/>
                <a:gd name="T84" fmla="*/ 2748 w 3277"/>
                <a:gd name="T85" fmla="*/ 479 h 2540"/>
                <a:gd name="T86" fmla="*/ 2826 w 3277"/>
                <a:gd name="T87" fmla="*/ 405 h 2540"/>
                <a:gd name="T88" fmla="*/ 2821 w 3277"/>
                <a:gd name="T89" fmla="*/ 392 h 2540"/>
                <a:gd name="T90" fmla="*/ 2731 w 3277"/>
                <a:gd name="T91" fmla="*/ 392 h 2540"/>
                <a:gd name="T92" fmla="*/ 2627 w 3277"/>
                <a:gd name="T93" fmla="*/ 301 h 2540"/>
                <a:gd name="T94" fmla="*/ 2729 w 3277"/>
                <a:gd name="T95" fmla="*/ 204 h 2540"/>
                <a:gd name="T96" fmla="*/ 3068 w 3277"/>
                <a:gd name="T97" fmla="*/ 198 h 2540"/>
                <a:gd name="T98" fmla="*/ 3170 w 3277"/>
                <a:gd name="T99" fmla="*/ 293 h 2540"/>
                <a:gd name="T100" fmla="*/ 3170 w 3277"/>
                <a:gd name="T101" fmla="*/ 645 h 2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77" h="2540">
                  <a:moveTo>
                    <a:pt x="1660" y="0"/>
                  </a:moveTo>
                  <a:cubicBezTo>
                    <a:pt x="1610" y="0"/>
                    <a:pt x="1610" y="0"/>
                    <a:pt x="1610" y="0"/>
                  </a:cubicBezTo>
                  <a:cubicBezTo>
                    <a:pt x="0" y="0"/>
                    <a:pt x="0" y="0"/>
                    <a:pt x="0" y="0"/>
                  </a:cubicBezTo>
                  <a:cubicBezTo>
                    <a:pt x="0" y="1271"/>
                    <a:pt x="0" y="2056"/>
                    <a:pt x="0" y="2540"/>
                  </a:cubicBezTo>
                  <a:cubicBezTo>
                    <a:pt x="714" y="2540"/>
                    <a:pt x="714" y="2540"/>
                    <a:pt x="714" y="2540"/>
                  </a:cubicBezTo>
                  <a:cubicBezTo>
                    <a:pt x="714" y="2536"/>
                    <a:pt x="713" y="2532"/>
                    <a:pt x="713" y="2528"/>
                  </a:cubicBezTo>
                  <a:cubicBezTo>
                    <a:pt x="713" y="2498"/>
                    <a:pt x="713" y="2467"/>
                    <a:pt x="713" y="2429"/>
                  </a:cubicBezTo>
                  <a:cubicBezTo>
                    <a:pt x="659" y="2429"/>
                    <a:pt x="613" y="2429"/>
                    <a:pt x="566" y="2429"/>
                  </a:cubicBezTo>
                  <a:cubicBezTo>
                    <a:pt x="499" y="2429"/>
                    <a:pt x="455" y="2392"/>
                    <a:pt x="455" y="2332"/>
                  </a:cubicBezTo>
                  <a:cubicBezTo>
                    <a:pt x="455" y="2270"/>
                    <a:pt x="499" y="2232"/>
                    <a:pt x="566" y="2232"/>
                  </a:cubicBezTo>
                  <a:cubicBezTo>
                    <a:pt x="613" y="2229"/>
                    <a:pt x="659" y="2232"/>
                    <a:pt x="710" y="2232"/>
                  </a:cubicBezTo>
                  <a:cubicBezTo>
                    <a:pt x="710" y="2166"/>
                    <a:pt x="710" y="2109"/>
                    <a:pt x="710" y="2050"/>
                  </a:cubicBezTo>
                  <a:cubicBezTo>
                    <a:pt x="515" y="2001"/>
                    <a:pt x="367" y="1894"/>
                    <a:pt x="281" y="1713"/>
                  </a:cubicBezTo>
                  <a:cubicBezTo>
                    <a:pt x="215" y="1580"/>
                    <a:pt x="205" y="1441"/>
                    <a:pt x="240" y="1301"/>
                  </a:cubicBezTo>
                  <a:cubicBezTo>
                    <a:pt x="308" y="1029"/>
                    <a:pt x="566" y="842"/>
                    <a:pt x="856" y="853"/>
                  </a:cubicBezTo>
                  <a:cubicBezTo>
                    <a:pt x="1138" y="863"/>
                    <a:pt x="1378" y="1078"/>
                    <a:pt x="1422" y="1360"/>
                  </a:cubicBezTo>
                  <a:cubicBezTo>
                    <a:pt x="1448" y="1523"/>
                    <a:pt x="1411" y="1675"/>
                    <a:pt x="1316" y="1808"/>
                  </a:cubicBezTo>
                  <a:cubicBezTo>
                    <a:pt x="1221" y="1943"/>
                    <a:pt x="1084" y="2020"/>
                    <a:pt x="922" y="2052"/>
                  </a:cubicBezTo>
                  <a:cubicBezTo>
                    <a:pt x="922" y="2112"/>
                    <a:pt x="922" y="2166"/>
                    <a:pt x="922" y="2229"/>
                  </a:cubicBezTo>
                  <a:cubicBezTo>
                    <a:pt x="970" y="2229"/>
                    <a:pt x="1019" y="2229"/>
                    <a:pt x="1068" y="2232"/>
                  </a:cubicBezTo>
                  <a:cubicBezTo>
                    <a:pt x="1141" y="2232"/>
                    <a:pt x="1183" y="2267"/>
                    <a:pt x="1183" y="2329"/>
                  </a:cubicBezTo>
                  <a:cubicBezTo>
                    <a:pt x="1186" y="2392"/>
                    <a:pt x="1141" y="2429"/>
                    <a:pt x="1068" y="2429"/>
                  </a:cubicBezTo>
                  <a:cubicBezTo>
                    <a:pt x="1022" y="2429"/>
                    <a:pt x="976" y="2429"/>
                    <a:pt x="919" y="2429"/>
                  </a:cubicBezTo>
                  <a:cubicBezTo>
                    <a:pt x="919" y="2465"/>
                    <a:pt x="919" y="2498"/>
                    <a:pt x="919" y="2530"/>
                  </a:cubicBezTo>
                  <a:cubicBezTo>
                    <a:pt x="919" y="2534"/>
                    <a:pt x="919" y="2537"/>
                    <a:pt x="918" y="2540"/>
                  </a:cubicBezTo>
                  <a:cubicBezTo>
                    <a:pt x="1660" y="2540"/>
                    <a:pt x="1660" y="2540"/>
                    <a:pt x="1660" y="2540"/>
                  </a:cubicBezTo>
                  <a:cubicBezTo>
                    <a:pt x="1660" y="2498"/>
                    <a:pt x="1660" y="2456"/>
                    <a:pt x="1660" y="2415"/>
                  </a:cubicBezTo>
                  <a:cubicBezTo>
                    <a:pt x="3274" y="2415"/>
                    <a:pt x="3274" y="2415"/>
                    <a:pt x="3274" y="2415"/>
                  </a:cubicBezTo>
                  <a:cubicBezTo>
                    <a:pt x="3274" y="1249"/>
                    <a:pt x="3274" y="524"/>
                    <a:pt x="3274" y="72"/>
                  </a:cubicBezTo>
                  <a:cubicBezTo>
                    <a:pt x="3277" y="72"/>
                    <a:pt x="3277" y="72"/>
                    <a:pt x="3277" y="72"/>
                  </a:cubicBezTo>
                  <a:cubicBezTo>
                    <a:pt x="3277" y="47"/>
                    <a:pt x="3277" y="23"/>
                    <a:pt x="3277" y="0"/>
                  </a:cubicBezTo>
                  <a:lnTo>
                    <a:pt x="1660" y="0"/>
                  </a:lnTo>
                  <a:close/>
                  <a:moveTo>
                    <a:pt x="3170" y="645"/>
                  </a:moveTo>
                  <a:cubicBezTo>
                    <a:pt x="3170" y="702"/>
                    <a:pt x="3125" y="740"/>
                    <a:pt x="3074" y="740"/>
                  </a:cubicBezTo>
                  <a:cubicBezTo>
                    <a:pt x="3022" y="740"/>
                    <a:pt x="2984" y="702"/>
                    <a:pt x="2978" y="645"/>
                  </a:cubicBezTo>
                  <a:cubicBezTo>
                    <a:pt x="2976" y="610"/>
                    <a:pt x="2978" y="574"/>
                    <a:pt x="2978" y="530"/>
                  </a:cubicBezTo>
                  <a:cubicBezTo>
                    <a:pt x="2919" y="590"/>
                    <a:pt x="2867" y="640"/>
                    <a:pt x="2811" y="694"/>
                  </a:cubicBezTo>
                  <a:cubicBezTo>
                    <a:pt x="2903" y="847"/>
                    <a:pt x="2931" y="1011"/>
                    <a:pt x="2877" y="1187"/>
                  </a:cubicBezTo>
                  <a:cubicBezTo>
                    <a:pt x="2833" y="1320"/>
                    <a:pt x="2751" y="1423"/>
                    <a:pt x="2629" y="1496"/>
                  </a:cubicBezTo>
                  <a:cubicBezTo>
                    <a:pt x="2398" y="1640"/>
                    <a:pt x="2090" y="1594"/>
                    <a:pt x="1902" y="1387"/>
                  </a:cubicBezTo>
                  <a:cubicBezTo>
                    <a:pt x="1717" y="1184"/>
                    <a:pt x="1709" y="870"/>
                    <a:pt x="1887" y="653"/>
                  </a:cubicBezTo>
                  <a:cubicBezTo>
                    <a:pt x="2046" y="457"/>
                    <a:pt x="2369" y="354"/>
                    <a:pt x="2684" y="558"/>
                  </a:cubicBezTo>
                  <a:cubicBezTo>
                    <a:pt x="2702" y="533"/>
                    <a:pt x="2723" y="505"/>
                    <a:pt x="2748" y="479"/>
                  </a:cubicBezTo>
                  <a:cubicBezTo>
                    <a:pt x="2772" y="454"/>
                    <a:pt x="2800" y="430"/>
                    <a:pt x="2826" y="405"/>
                  </a:cubicBezTo>
                  <a:cubicBezTo>
                    <a:pt x="2824" y="403"/>
                    <a:pt x="2824" y="397"/>
                    <a:pt x="2821" y="392"/>
                  </a:cubicBezTo>
                  <a:cubicBezTo>
                    <a:pt x="2789" y="392"/>
                    <a:pt x="2762" y="395"/>
                    <a:pt x="2731" y="392"/>
                  </a:cubicBezTo>
                  <a:cubicBezTo>
                    <a:pt x="2668" y="389"/>
                    <a:pt x="2629" y="354"/>
                    <a:pt x="2627" y="301"/>
                  </a:cubicBezTo>
                  <a:cubicBezTo>
                    <a:pt x="2624" y="247"/>
                    <a:pt x="2662" y="206"/>
                    <a:pt x="2729" y="204"/>
                  </a:cubicBezTo>
                  <a:cubicBezTo>
                    <a:pt x="2841" y="201"/>
                    <a:pt x="2955" y="198"/>
                    <a:pt x="3068" y="198"/>
                  </a:cubicBezTo>
                  <a:cubicBezTo>
                    <a:pt x="3128" y="198"/>
                    <a:pt x="3170" y="237"/>
                    <a:pt x="3170" y="293"/>
                  </a:cubicBezTo>
                  <a:cubicBezTo>
                    <a:pt x="3173" y="411"/>
                    <a:pt x="3173" y="528"/>
                    <a:pt x="3170" y="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Rechteck 46">
              <a:extLst>
                <a:ext uri="{FF2B5EF4-FFF2-40B4-BE49-F238E27FC236}">
                  <a16:creationId xmlns:a16="http://schemas.microsoft.com/office/drawing/2014/main" id="{FAB5E35C-199A-492C-BA69-24F7FC6C887E}"/>
                </a:ext>
              </a:extLst>
            </p:cNvPr>
            <p:cNvSpPr/>
            <p:nvPr/>
          </p:nvSpPr>
          <p:spPr bwMode="gray">
            <a:xfrm>
              <a:off x="17617280" y="5949280"/>
              <a:ext cx="4825208" cy="90872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a:t>
              </a:r>
            </a:p>
          </p:txBody>
        </p:sp>
      </p:grpSp>
      <p:sp>
        <p:nvSpPr>
          <p:cNvPr id="37" name="Textplatzhalter 3">
            <a:extLst>
              <a:ext uri="{FF2B5EF4-FFF2-40B4-BE49-F238E27FC236}">
                <a16:creationId xmlns:a16="http://schemas.microsoft.com/office/drawing/2014/main" id="{4F226925-F952-4D97-945D-1B28DCC8BF7D}"/>
              </a:ext>
            </a:extLst>
          </p:cNvPr>
          <p:cNvSpPr txBox="1">
            <a:spLocks/>
          </p:cNvSpPr>
          <p:nvPr/>
        </p:nvSpPr>
        <p:spPr bwMode="gray">
          <a:xfrm>
            <a:off x="8164656" y="3933056"/>
            <a:ext cx="1584000" cy="504000"/>
          </a:xfrm>
          <a:prstGeom prst="rect">
            <a:avLst/>
          </a:prstGeom>
          <a:noFill/>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r"/>
            <a:r>
              <a:rPr lang="en-US" dirty="0"/>
              <a:t>40%</a:t>
            </a:r>
          </a:p>
        </p:txBody>
      </p:sp>
      <p:sp>
        <p:nvSpPr>
          <p:cNvPr id="39" name="Textplatzhalter 3">
            <a:extLst>
              <a:ext uri="{FF2B5EF4-FFF2-40B4-BE49-F238E27FC236}">
                <a16:creationId xmlns:a16="http://schemas.microsoft.com/office/drawing/2014/main" id="{610DE0BB-0529-48C6-9A70-AED1A33AA015}"/>
              </a:ext>
            </a:extLst>
          </p:cNvPr>
          <p:cNvSpPr txBox="1">
            <a:spLocks/>
          </p:cNvSpPr>
          <p:nvPr/>
        </p:nvSpPr>
        <p:spPr bwMode="gray">
          <a:xfrm>
            <a:off x="2063552" y="3861104"/>
            <a:ext cx="1584000" cy="504000"/>
          </a:xfrm>
          <a:prstGeom prst="rect">
            <a:avLst/>
          </a:prstGeom>
          <a:noFill/>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r"/>
            <a:r>
              <a:rPr lang="en-US" dirty="0"/>
              <a:t>80%</a:t>
            </a:r>
          </a:p>
        </p:txBody>
      </p:sp>
      <p:sp>
        <p:nvSpPr>
          <p:cNvPr id="2" name="Titel 1">
            <a:extLst>
              <a:ext uri="{FF2B5EF4-FFF2-40B4-BE49-F238E27FC236}">
                <a16:creationId xmlns:a16="http://schemas.microsoft.com/office/drawing/2014/main" id="{AFAF7DEC-FAE1-4DB8-9B32-000BDF5CDBA4}"/>
              </a:ext>
            </a:extLst>
          </p:cNvPr>
          <p:cNvSpPr>
            <a:spLocks noGrp="1"/>
          </p:cNvSpPr>
          <p:nvPr>
            <p:ph type="title"/>
          </p:nvPr>
        </p:nvSpPr>
        <p:spPr bwMode="gray"/>
        <p:txBody>
          <a:bodyPr/>
          <a:lstStyle/>
          <a:p>
            <a:r>
              <a:rPr lang="en-US" dirty="0"/>
              <a:t>Data visualization lorem ipsum</a:t>
            </a:r>
            <a:br>
              <a:rPr lang="en-US" dirty="0"/>
            </a:br>
            <a:r>
              <a:rPr lang="en-US" dirty="0"/>
              <a:t>dolor sit amet, consectetuer</a:t>
            </a:r>
          </a:p>
        </p:txBody>
      </p:sp>
      <p:sp>
        <p:nvSpPr>
          <p:cNvPr id="22" name="Textplatzhalter 4">
            <a:extLst>
              <a:ext uri="{FF2B5EF4-FFF2-40B4-BE49-F238E27FC236}">
                <a16:creationId xmlns:a16="http://schemas.microsoft.com/office/drawing/2014/main" id="{6E360558-04D9-410C-A8B8-1E2B3978CD03}"/>
              </a:ext>
            </a:extLst>
          </p:cNvPr>
          <p:cNvSpPr txBox="1">
            <a:spLocks/>
          </p:cNvSpPr>
          <p:nvPr/>
        </p:nvSpPr>
        <p:spPr bwMode="gray">
          <a:xfrm>
            <a:off x="8760608" y="4689344"/>
            <a:ext cx="2808000" cy="1620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sz="2000" dirty="0"/>
              <a:t>Lorem ipsum dolor sit</a:t>
            </a:r>
          </a:p>
          <a:p>
            <a:pPr lvl="1"/>
            <a:r>
              <a:rPr lang="en-US" sz="2000" dirty="0"/>
              <a:t>amet, consectetuer adipiscing elit. Maecenas porttitor congue</a:t>
            </a:r>
          </a:p>
        </p:txBody>
      </p:sp>
      <p:sp>
        <p:nvSpPr>
          <p:cNvPr id="23" name="Textplatzhalter 4">
            <a:extLst>
              <a:ext uri="{FF2B5EF4-FFF2-40B4-BE49-F238E27FC236}">
                <a16:creationId xmlns:a16="http://schemas.microsoft.com/office/drawing/2014/main" id="{C8E34CB8-43A3-4F03-942D-DAA39BF61E61}"/>
              </a:ext>
            </a:extLst>
          </p:cNvPr>
          <p:cNvSpPr txBox="1">
            <a:spLocks/>
          </p:cNvSpPr>
          <p:nvPr/>
        </p:nvSpPr>
        <p:spPr bwMode="gray">
          <a:xfrm>
            <a:off x="623888" y="1773238"/>
            <a:ext cx="2591792" cy="1871786"/>
          </a:xfrm>
          <a:prstGeom prst="rect">
            <a:avLst/>
          </a:prstGeom>
        </p:spPr>
        <p:txBody>
          <a:bodyPr lIns="0" tIns="0" rIns="0" bIns="0" anchor="b"/>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lgn="r"/>
            <a:r>
              <a:rPr lang="en-US" sz="2000" dirty="0"/>
              <a:t>Lorem ipsum dolor sit</a:t>
            </a:r>
          </a:p>
          <a:p>
            <a:pPr lvl="1" algn="r"/>
            <a:r>
              <a:rPr lang="en-US" sz="2000" dirty="0"/>
              <a:t>amet, consectetuer adipiscing elit. Maecenas porttitor congue</a:t>
            </a:r>
          </a:p>
        </p:txBody>
      </p:sp>
      <p:cxnSp>
        <p:nvCxnSpPr>
          <p:cNvPr id="50" name="Gerader Verbinder 49">
            <a:extLst>
              <a:ext uri="{FF2B5EF4-FFF2-40B4-BE49-F238E27FC236}">
                <a16:creationId xmlns:a16="http://schemas.microsoft.com/office/drawing/2014/main" id="{6F5BE4DC-B336-4372-BD5F-094856D903EF}"/>
              </a:ext>
            </a:extLst>
          </p:cNvPr>
          <p:cNvCxnSpPr/>
          <p:nvPr/>
        </p:nvCxnSpPr>
        <p:spPr bwMode="gray">
          <a:xfrm>
            <a:off x="8760585" y="4581128"/>
            <a:ext cx="988071"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2CC7C6D9-47AD-4A75-8833-B3BC85999274}"/>
              </a:ext>
            </a:extLst>
          </p:cNvPr>
          <p:cNvCxnSpPr/>
          <p:nvPr/>
        </p:nvCxnSpPr>
        <p:spPr bwMode="gray">
          <a:xfrm>
            <a:off x="2659481" y="3748088"/>
            <a:ext cx="988071"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4" name="Fußzeilenplatzhalter 3">
            <a:extLst>
              <a:ext uri="{FF2B5EF4-FFF2-40B4-BE49-F238E27FC236}">
                <a16:creationId xmlns:a16="http://schemas.microsoft.com/office/drawing/2014/main" id="{E0337858-F386-4FBF-A690-7316B0E46A93}"/>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D3560D7E-06F8-47C6-96CE-75BF74678E36}"/>
              </a:ext>
            </a:extLst>
          </p:cNvPr>
          <p:cNvSpPr>
            <a:spLocks noGrp="1"/>
          </p:cNvSpPr>
          <p:nvPr>
            <p:ph type="sldNum" sz="quarter" idx="12"/>
          </p:nvPr>
        </p:nvSpPr>
        <p:spPr/>
        <p:txBody>
          <a:bodyPr/>
          <a:lstStyle/>
          <a:p>
            <a:fld id="{CE82B8A1-0CCE-4815-9668-383D7DE7D8B4}" type="slidenum">
              <a:rPr lang="en-US" noProof="0" smtClean="0"/>
              <a:t>62</a:t>
            </a:fld>
            <a:endParaRPr lang="en-US" noProof="0" dirty="0"/>
          </a:p>
        </p:txBody>
      </p:sp>
    </p:spTree>
    <p:extLst>
      <p:ext uri="{BB962C8B-B14F-4D97-AF65-F5344CB8AC3E}">
        <p14:creationId xmlns:p14="http://schemas.microsoft.com/office/powerpoint/2010/main" val="278107989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Diagramm 28">
            <a:extLst>
              <a:ext uri="{FF2B5EF4-FFF2-40B4-BE49-F238E27FC236}">
                <a16:creationId xmlns:a16="http://schemas.microsoft.com/office/drawing/2014/main" id="{2C770E19-91F6-4415-A2CB-50F2F9C3FC67}"/>
              </a:ext>
            </a:extLst>
          </p:cNvPr>
          <p:cNvGraphicFramePr/>
          <p:nvPr>
            <p:extLst>
              <p:ext uri="{D42A27DB-BD31-4B8C-83A1-F6EECF244321}">
                <p14:modId xmlns:p14="http://schemas.microsoft.com/office/powerpoint/2010/main" val="3301448619"/>
              </p:ext>
            </p:extLst>
          </p:nvPr>
        </p:nvGraphicFramePr>
        <p:xfrm>
          <a:off x="8258075" y="512532"/>
          <a:ext cx="3036037" cy="309628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Diagramm 19">
            <a:extLst>
              <a:ext uri="{FF2B5EF4-FFF2-40B4-BE49-F238E27FC236}">
                <a16:creationId xmlns:a16="http://schemas.microsoft.com/office/drawing/2014/main" id="{A992DC0B-63DD-4F2A-BE9E-2FBB1FCCF444}"/>
              </a:ext>
            </a:extLst>
          </p:cNvPr>
          <p:cNvGraphicFramePr/>
          <p:nvPr>
            <p:extLst>
              <p:ext uri="{D42A27DB-BD31-4B8C-83A1-F6EECF244321}">
                <p14:modId xmlns:p14="http://schemas.microsoft.com/office/powerpoint/2010/main" val="2727282137"/>
              </p:ext>
            </p:extLst>
          </p:nvPr>
        </p:nvGraphicFramePr>
        <p:xfrm>
          <a:off x="5385379" y="3218639"/>
          <a:ext cx="2534917" cy="367746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Diagramm 12">
            <a:extLst>
              <a:ext uri="{FF2B5EF4-FFF2-40B4-BE49-F238E27FC236}">
                <a16:creationId xmlns:a16="http://schemas.microsoft.com/office/drawing/2014/main" id="{F5069F03-3096-4263-91C2-CAB2DF1FFFC1}"/>
              </a:ext>
            </a:extLst>
          </p:cNvPr>
          <p:cNvGraphicFramePr/>
          <p:nvPr>
            <p:extLst>
              <p:ext uri="{D42A27DB-BD31-4B8C-83A1-F6EECF244321}">
                <p14:modId xmlns:p14="http://schemas.microsoft.com/office/powerpoint/2010/main" val="1311443185"/>
              </p:ext>
            </p:extLst>
          </p:nvPr>
        </p:nvGraphicFramePr>
        <p:xfrm>
          <a:off x="521541" y="1772816"/>
          <a:ext cx="2557498" cy="3672403"/>
        </p:xfrm>
        <a:graphic>
          <a:graphicData uri="http://schemas.openxmlformats.org/drawingml/2006/chart">
            <c:chart xmlns:c="http://schemas.openxmlformats.org/drawingml/2006/chart" xmlns:r="http://schemas.openxmlformats.org/officeDocument/2006/relationships" r:id="rId4"/>
          </a:graphicData>
        </a:graphic>
      </p:graphicFrame>
      <p:grpSp>
        <p:nvGrpSpPr>
          <p:cNvPr id="16" name="Gruppieren 15">
            <a:extLst>
              <a:ext uri="{FF2B5EF4-FFF2-40B4-BE49-F238E27FC236}">
                <a16:creationId xmlns:a16="http://schemas.microsoft.com/office/drawing/2014/main" id="{F687C795-9527-44BE-94ED-42BDD3F3AF9D}"/>
              </a:ext>
            </a:extLst>
          </p:cNvPr>
          <p:cNvGrpSpPr/>
          <p:nvPr/>
        </p:nvGrpSpPr>
        <p:grpSpPr bwMode="gray">
          <a:xfrm>
            <a:off x="116064" y="817254"/>
            <a:ext cx="3352502" cy="5707037"/>
            <a:chOff x="12901613" y="168275"/>
            <a:chExt cx="3829050" cy="6518275"/>
          </a:xfrm>
        </p:grpSpPr>
        <p:sp>
          <p:nvSpPr>
            <p:cNvPr id="11" name="Freeform 9">
              <a:extLst>
                <a:ext uri="{FF2B5EF4-FFF2-40B4-BE49-F238E27FC236}">
                  <a16:creationId xmlns:a16="http://schemas.microsoft.com/office/drawing/2014/main" id="{5C9ADC64-3A43-4795-A7F0-B499826A787A}"/>
                </a:ext>
              </a:extLst>
            </p:cNvPr>
            <p:cNvSpPr>
              <a:spLocks/>
            </p:cNvSpPr>
            <p:nvPr/>
          </p:nvSpPr>
          <p:spPr bwMode="gray">
            <a:xfrm>
              <a:off x="13936663" y="1887538"/>
              <a:ext cx="1758950" cy="1724025"/>
            </a:xfrm>
            <a:custGeom>
              <a:avLst/>
              <a:gdLst>
                <a:gd name="T0" fmla="*/ 325 w 653"/>
                <a:gd name="T1" fmla="*/ 0 h 640"/>
                <a:gd name="T2" fmla="*/ 0 w 653"/>
                <a:gd name="T3" fmla="*/ 323 h 640"/>
                <a:gd name="T4" fmla="*/ 327 w 653"/>
                <a:gd name="T5" fmla="*/ 640 h 640"/>
                <a:gd name="T6" fmla="*/ 653 w 653"/>
                <a:gd name="T7" fmla="*/ 323 h 640"/>
                <a:gd name="T8" fmla="*/ 325 w 653"/>
                <a:gd name="T9" fmla="*/ 0 h 640"/>
              </a:gdLst>
              <a:ahLst/>
              <a:cxnLst>
                <a:cxn ang="0">
                  <a:pos x="T0" y="T1"/>
                </a:cxn>
                <a:cxn ang="0">
                  <a:pos x="T2" y="T3"/>
                </a:cxn>
                <a:cxn ang="0">
                  <a:pos x="T4" y="T5"/>
                </a:cxn>
                <a:cxn ang="0">
                  <a:pos x="T6" y="T7"/>
                </a:cxn>
                <a:cxn ang="0">
                  <a:pos x="T8" y="T9"/>
                </a:cxn>
              </a:cxnLst>
              <a:rect l="0" t="0" r="r" b="b"/>
              <a:pathLst>
                <a:path w="653" h="640">
                  <a:moveTo>
                    <a:pt x="325" y="0"/>
                  </a:moveTo>
                  <a:cubicBezTo>
                    <a:pt x="143" y="2"/>
                    <a:pt x="0" y="145"/>
                    <a:pt x="0" y="323"/>
                  </a:cubicBezTo>
                  <a:cubicBezTo>
                    <a:pt x="2" y="501"/>
                    <a:pt x="146" y="640"/>
                    <a:pt x="327" y="640"/>
                  </a:cubicBezTo>
                  <a:cubicBezTo>
                    <a:pt x="508" y="638"/>
                    <a:pt x="651" y="501"/>
                    <a:pt x="653" y="323"/>
                  </a:cubicBezTo>
                  <a:cubicBezTo>
                    <a:pt x="653" y="144"/>
                    <a:pt x="505" y="0"/>
                    <a:pt x="32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10">
              <a:extLst>
                <a:ext uri="{FF2B5EF4-FFF2-40B4-BE49-F238E27FC236}">
                  <a16:creationId xmlns:a16="http://schemas.microsoft.com/office/drawing/2014/main" id="{4EE6B9FD-AF81-42B0-9FA7-AA10156DACA7}"/>
                </a:ext>
              </a:extLst>
            </p:cNvPr>
            <p:cNvSpPr>
              <a:spLocks noEditPoints="1"/>
            </p:cNvSpPr>
            <p:nvPr/>
          </p:nvSpPr>
          <p:spPr bwMode="gray">
            <a:xfrm>
              <a:off x="12901613" y="168275"/>
              <a:ext cx="3829050" cy="6518275"/>
            </a:xfrm>
            <a:custGeom>
              <a:avLst/>
              <a:gdLst>
                <a:gd name="T0" fmla="*/ 0 w 1421"/>
                <a:gd name="T1" fmla="*/ 0 h 2420"/>
                <a:gd name="T2" fmla="*/ 0 w 1421"/>
                <a:gd name="T3" fmla="*/ 2420 h 2420"/>
                <a:gd name="T4" fmla="*/ 1419 w 1421"/>
                <a:gd name="T5" fmla="*/ 2420 h 2420"/>
                <a:gd name="T6" fmla="*/ 1419 w 1421"/>
                <a:gd name="T7" fmla="*/ 416 h 2420"/>
                <a:gd name="T8" fmla="*/ 1421 w 1421"/>
                <a:gd name="T9" fmla="*/ 416 h 2420"/>
                <a:gd name="T10" fmla="*/ 1421 w 1421"/>
                <a:gd name="T11" fmla="*/ 0 h 2420"/>
                <a:gd name="T12" fmla="*/ 0 w 1421"/>
                <a:gd name="T13" fmla="*/ 0 h 2420"/>
                <a:gd name="T14" fmla="*/ 789 w 1421"/>
                <a:gd name="T15" fmla="*/ 1443 h 2420"/>
                <a:gd name="T16" fmla="*/ 789 w 1421"/>
                <a:gd name="T17" fmla="*/ 1532 h 2420"/>
                <a:gd name="T18" fmla="*/ 922 w 1421"/>
                <a:gd name="T19" fmla="*/ 1532 h 2420"/>
                <a:gd name="T20" fmla="*/ 1000 w 1421"/>
                <a:gd name="T21" fmla="*/ 1610 h 2420"/>
                <a:gd name="T22" fmla="*/ 1000 w 1421"/>
                <a:gd name="T23" fmla="*/ 1610 h 2420"/>
                <a:gd name="T24" fmla="*/ 922 w 1421"/>
                <a:gd name="T25" fmla="*/ 1688 h 2420"/>
                <a:gd name="T26" fmla="*/ 789 w 1421"/>
                <a:gd name="T27" fmla="*/ 1688 h 2420"/>
                <a:gd name="T28" fmla="*/ 789 w 1421"/>
                <a:gd name="T29" fmla="*/ 1822 h 2420"/>
                <a:gd name="T30" fmla="*/ 711 w 1421"/>
                <a:gd name="T31" fmla="*/ 1900 h 2420"/>
                <a:gd name="T32" fmla="*/ 632 w 1421"/>
                <a:gd name="T33" fmla="*/ 1822 h 2420"/>
                <a:gd name="T34" fmla="*/ 632 w 1421"/>
                <a:gd name="T35" fmla="*/ 1688 h 2420"/>
                <a:gd name="T36" fmla="*/ 499 w 1421"/>
                <a:gd name="T37" fmla="*/ 1688 h 2420"/>
                <a:gd name="T38" fmla="*/ 421 w 1421"/>
                <a:gd name="T39" fmla="*/ 1610 h 2420"/>
                <a:gd name="T40" fmla="*/ 421 w 1421"/>
                <a:gd name="T41" fmla="*/ 1610 h 2420"/>
                <a:gd name="T42" fmla="*/ 499 w 1421"/>
                <a:gd name="T43" fmla="*/ 1532 h 2420"/>
                <a:gd name="T44" fmla="*/ 632 w 1421"/>
                <a:gd name="T45" fmla="*/ 1532 h 2420"/>
                <a:gd name="T46" fmla="*/ 632 w 1421"/>
                <a:gd name="T47" fmla="*/ 1443 h 2420"/>
                <a:gd name="T48" fmla="*/ 219 w 1421"/>
                <a:gd name="T49" fmla="*/ 958 h 2420"/>
                <a:gd name="T50" fmla="*/ 711 w 1421"/>
                <a:gd name="T51" fmla="*/ 466 h 2420"/>
                <a:gd name="T52" fmla="*/ 1202 w 1421"/>
                <a:gd name="T53" fmla="*/ 958 h 2420"/>
                <a:gd name="T54" fmla="*/ 789 w 1421"/>
                <a:gd name="T55" fmla="*/ 1443 h 2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21" h="2420">
                  <a:moveTo>
                    <a:pt x="0" y="0"/>
                  </a:moveTo>
                  <a:cubicBezTo>
                    <a:pt x="0" y="2420"/>
                    <a:pt x="0" y="2420"/>
                    <a:pt x="0" y="2420"/>
                  </a:cubicBezTo>
                  <a:cubicBezTo>
                    <a:pt x="1419" y="2420"/>
                    <a:pt x="1419" y="2420"/>
                    <a:pt x="1419" y="2420"/>
                  </a:cubicBezTo>
                  <a:cubicBezTo>
                    <a:pt x="1419" y="1423"/>
                    <a:pt x="1419" y="803"/>
                    <a:pt x="1419" y="416"/>
                  </a:cubicBezTo>
                  <a:cubicBezTo>
                    <a:pt x="1421" y="416"/>
                    <a:pt x="1421" y="416"/>
                    <a:pt x="1421" y="416"/>
                  </a:cubicBezTo>
                  <a:cubicBezTo>
                    <a:pt x="1421" y="0"/>
                    <a:pt x="1421" y="0"/>
                    <a:pt x="1421" y="0"/>
                  </a:cubicBezTo>
                  <a:lnTo>
                    <a:pt x="0" y="0"/>
                  </a:lnTo>
                  <a:close/>
                  <a:moveTo>
                    <a:pt x="789" y="1443"/>
                  </a:moveTo>
                  <a:cubicBezTo>
                    <a:pt x="789" y="1532"/>
                    <a:pt x="789" y="1532"/>
                    <a:pt x="789" y="1532"/>
                  </a:cubicBezTo>
                  <a:cubicBezTo>
                    <a:pt x="922" y="1532"/>
                    <a:pt x="922" y="1532"/>
                    <a:pt x="922" y="1532"/>
                  </a:cubicBezTo>
                  <a:cubicBezTo>
                    <a:pt x="965" y="1532"/>
                    <a:pt x="1000" y="1567"/>
                    <a:pt x="1000" y="1610"/>
                  </a:cubicBezTo>
                  <a:cubicBezTo>
                    <a:pt x="1000" y="1610"/>
                    <a:pt x="1000" y="1610"/>
                    <a:pt x="1000" y="1610"/>
                  </a:cubicBezTo>
                  <a:cubicBezTo>
                    <a:pt x="1000" y="1653"/>
                    <a:pt x="965" y="1688"/>
                    <a:pt x="922" y="1688"/>
                  </a:cubicBezTo>
                  <a:cubicBezTo>
                    <a:pt x="789" y="1688"/>
                    <a:pt x="789" y="1688"/>
                    <a:pt x="789" y="1688"/>
                  </a:cubicBezTo>
                  <a:cubicBezTo>
                    <a:pt x="789" y="1822"/>
                    <a:pt x="789" y="1822"/>
                    <a:pt x="789" y="1822"/>
                  </a:cubicBezTo>
                  <a:cubicBezTo>
                    <a:pt x="789" y="1865"/>
                    <a:pt x="754" y="1900"/>
                    <a:pt x="711" y="1900"/>
                  </a:cubicBezTo>
                  <a:cubicBezTo>
                    <a:pt x="668" y="1900"/>
                    <a:pt x="632" y="1865"/>
                    <a:pt x="632" y="1822"/>
                  </a:cubicBezTo>
                  <a:cubicBezTo>
                    <a:pt x="632" y="1688"/>
                    <a:pt x="632" y="1688"/>
                    <a:pt x="632" y="1688"/>
                  </a:cubicBezTo>
                  <a:cubicBezTo>
                    <a:pt x="499" y="1688"/>
                    <a:pt x="499" y="1688"/>
                    <a:pt x="499" y="1688"/>
                  </a:cubicBezTo>
                  <a:cubicBezTo>
                    <a:pt x="456" y="1688"/>
                    <a:pt x="421" y="1653"/>
                    <a:pt x="421" y="1610"/>
                  </a:cubicBezTo>
                  <a:cubicBezTo>
                    <a:pt x="421" y="1610"/>
                    <a:pt x="421" y="1610"/>
                    <a:pt x="421" y="1610"/>
                  </a:cubicBezTo>
                  <a:cubicBezTo>
                    <a:pt x="421" y="1567"/>
                    <a:pt x="456" y="1532"/>
                    <a:pt x="499" y="1532"/>
                  </a:cubicBezTo>
                  <a:cubicBezTo>
                    <a:pt x="632" y="1532"/>
                    <a:pt x="632" y="1532"/>
                    <a:pt x="632" y="1532"/>
                  </a:cubicBezTo>
                  <a:cubicBezTo>
                    <a:pt x="632" y="1443"/>
                    <a:pt x="632" y="1443"/>
                    <a:pt x="632" y="1443"/>
                  </a:cubicBezTo>
                  <a:cubicBezTo>
                    <a:pt x="398" y="1405"/>
                    <a:pt x="219" y="1202"/>
                    <a:pt x="219" y="958"/>
                  </a:cubicBezTo>
                  <a:cubicBezTo>
                    <a:pt x="219" y="686"/>
                    <a:pt x="439" y="466"/>
                    <a:pt x="711" y="466"/>
                  </a:cubicBezTo>
                  <a:cubicBezTo>
                    <a:pt x="982" y="466"/>
                    <a:pt x="1202" y="686"/>
                    <a:pt x="1202" y="958"/>
                  </a:cubicBezTo>
                  <a:cubicBezTo>
                    <a:pt x="1202" y="1202"/>
                    <a:pt x="1023" y="1405"/>
                    <a:pt x="789" y="14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itel 1">
            <a:extLst>
              <a:ext uri="{FF2B5EF4-FFF2-40B4-BE49-F238E27FC236}">
                <a16:creationId xmlns:a16="http://schemas.microsoft.com/office/drawing/2014/main" id="{AFAF7DEC-FAE1-4DB8-9B32-000BDF5CDBA4}"/>
              </a:ext>
            </a:extLst>
          </p:cNvPr>
          <p:cNvSpPr>
            <a:spLocks noGrp="1"/>
          </p:cNvSpPr>
          <p:nvPr>
            <p:ph type="title"/>
          </p:nvPr>
        </p:nvSpPr>
        <p:spPr bwMode="gray">
          <a:xfrm>
            <a:off x="623393" y="548792"/>
            <a:ext cx="8137192" cy="864000"/>
          </a:xfrm>
        </p:spPr>
        <p:txBody>
          <a:bodyPr/>
          <a:lstStyle/>
          <a:p>
            <a:r>
              <a:rPr lang="en-US" dirty="0"/>
              <a:t>Data visualization lorem ipsum</a:t>
            </a:r>
            <a:br>
              <a:rPr lang="en-US" dirty="0"/>
            </a:br>
            <a:r>
              <a:rPr lang="en-US" dirty="0"/>
              <a:t>dolor sit amet, consectetuer</a:t>
            </a:r>
          </a:p>
        </p:txBody>
      </p:sp>
      <p:cxnSp>
        <p:nvCxnSpPr>
          <p:cNvPr id="51" name="Gerader Verbinder 50">
            <a:extLst>
              <a:ext uri="{FF2B5EF4-FFF2-40B4-BE49-F238E27FC236}">
                <a16:creationId xmlns:a16="http://schemas.microsoft.com/office/drawing/2014/main" id="{2CC7C6D9-47AD-4A75-8833-B3BC85999274}"/>
              </a:ext>
            </a:extLst>
          </p:cNvPr>
          <p:cNvCxnSpPr/>
          <p:nvPr/>
        </p:nvCxnSpPr>
        <p:spPr bwMode="gray">
          <a:xfrm>
            <a:off x="2875505" y="3388048"/>
            <a:ext cx="988071"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7" name="Freeform 14">
            <a:extLst>
              <a:ext uri="{FF2B5EF4-FFF2-40B4-BE49-F238E27FC236}">
                <a16:creationId xmlns:a16="http://schemas.microsoft.com/office/drawing/2014/main" id="{95D41B9D-3EF5-492C-B571-84FEAED23C4E}"/>
              </a:ext>
            </a:extLst>
          </p:cNvPr>
          <p:cNvSpPr>
            <a:spLocks/>
          </p:cNvSpPr>
          <p:nvPr/>
        </p:nvSpPr>
        <p:spPr bwMode="gray">
          <a:xfrm>
            <a:off x="5011310" y="2084388"/>
            <a:ext cx="3395663" cy="4773613"/>
          </a:xfrm>
          <a:custGeom>
            <a:avLst/>
            <a:gdLst>
              <a:gd name="T0" fmla="*/ 524 w 1257"/>
              <a:gd name="T1" fmla="*/ 1769 h 1769"/>
              <a:gd name="T2" fmla="*/ 377 w 1257"/>
              <a:gd name="T3" fmla="*/ 1621 h 1769"/>
              <a:gd name="T4" fmla="*/ 378 w 1257"/>
              <a:gd name="T5" fmla="*/ 1520 h 1769"/>
              <a:gd name="T6" fmla="*/ 480 w 1257"/>
              <a:gd name="T7" fmla="*/ 1520 h 1769"/>
              <a:gd name="T8" fmla="*/ 541 w 1257"/>
              <a:gd name="T9" fmla="*/ 1581 h 1769"/>
              <a:gd name="T10" fmla="*/ 541 w 1257"/>
              <a:gd name="T11" fmla="*/ 1465 h 1769"/>
              <a:gd name="T12" fmla="*/ 425 w 1257"/>
              <a:gd name="T13" fmla="*/ 1465 h 1769"/>
              <a:gd name="T14" fmla="*/ 355 w 1257"/>
              <a:gd name="T15" fmla="*/ 1395 h 1769"/>
              <a:gd name="T16" fmla="*/ 425 w 1257"/>
              <a:gd name="T17" fmla="*/ 1326 h 1769"/>
              <a:gd name="T18" fmla="*/ 542 w 1257"/>
              <a:gd name="T19" fmla="*/ 1326 h 1769"/>
              <a:gd name="T20" fmla="*/ 543 w 1257"/>
              <a:gd name="T21" fmla="*/ 1278 h 1769"/>
              <a:gd name="T22" fmla="*/ 244 w 1257"/>
              <a:gd name="T23" fmla="*/ 1051 h 1769"/>
              <a:gd name="T24" fmla="*/ 210 w 1257"/>
              <a:gd name="T25" fmla="*/ 755 h 1769"/>
              <a:gd name="T26" fmla="*/ 657 w 1257"/>
              <a:gd name="T27" fmla="*/ 427 h 1769"/>
              <a:gd name="T28" fmla="*/ 1058 w 1257"/>
              <a:gd name="T29" fmla="*/ 810 h 1769"/>
              <a:gd name="T30" fmla="*/ 683 w 1257"/>
              <a:gd name="T31" fmla="*/ 1283 h 1769"/>
              <a:gd name="T32" fmla="*/ 685 w 1257"/>
              <a:gd name="T33" fmla="*/ 1326 h 1769"/>
              <a:gd name="T34" fmla="*/ 804 w 1257"/>
              <a:gd name="T35" fmla="*/ 1326 h 1769"/>
              <a:gd name="T36" fmla="*/ 874 w 1257"/>
              <a:gd name="T37" fmla="*/ 1395 h 1769"/>
              <a:gd name="T38" fmla="*/ 804 w 1257"/>
              <a:gd name="T39" fmla="*/ 1465 h 1769"/>
              <a:gd name="T40" fmla="*/ 688 w 1257"/>
              <a:gd name="T41" fmla="*/ 1465 h 1769"/>
              <a:gd name="T42" fmla="*/ 689 w 1257"/>
              <a:gd name="T43" fmla="*/ 1567 h 1769"/>
              <a:gd name="T44" fmla="*/ 699 w 1257"/>
              <a:gd name="T45" fmla="*/ 1571 h 1769"/>
              <a:gd name="T46" fmla="*/ 747 w 1257"/>
              <a:gd name="T47" fmla="*/ 1524 h 1769"/>
              <a:gd name="T48" fmla="*/ 851 w 1257"/>
              <a:gd name="T49" fmla="*/ 1517 h 1769"/>
              <a:gd name="T50" fmla="*/ 849 w 1257"/>
              <a:gd name="T51" fmla="*/ 1622 h 1769"/>
              <a:gd name="T52" fmla="*/ 708 w 1257"/>
              <a:gd name="T53" fmla="*/ 1769 h 1769"/>
              <a:gd name="T54" fmla="*/ 1254 w 1257"/>
              <a:gd name="T55" fmla="*/ 1769 h 1769"/>
              <a:gd name="T56" fmla="*/ 1254 w 1257"/>
              <a:gd name="T57" fmla="*/ 366 h 1769"/>
              <a:gd name="T58" fmla="*/ 1257 w 1257"/>
              <a:gd name="T59" fmla="*/ 366 h 1769"/>
              <a:gd name="T60" fmla="*/ 1257 w 1257"/>
              <a:gd name="T61" fmla="*/ 0 h 1769"/>
              <a:gd name="T62" fmla="*/ 0 w 1257"/>
              <a:gd name="T63" fmla="*/ 0 h 1769"/>
              <a:gd name="T64" fmla="*/ 0 w 1257"/>
              <a:gd name="T65" fmla="*/ 1769 h 1769"/>
              <a:gd name="T66" fmla="*/ 524 w 1257"/>
              <a:gd name="T67" fmla="*/ 1769 h 1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57" h="1769">
                <a:moveTo>
                  <a:pt x="524" y="1769"/>
                </a:moveTo>
                <a:cubicBezTo>
                  <a:pt x="474" y="1721"/>
                  <a:pt x="425" y="1672"/>
                  <a:pt x="377" y="1621"/>
                </a:cubicBezTo>
                <a:cubicBezTo>
                  <a:pt x="347" y="1591"/>
                  <a:pt x="350" y="1547"/>
                  <a:pt x="378" y="1520"/>
                </a:cubicBezTo>
                <a:cubicBezTo>
                  <a:pt x="405" y="1493"/>
                  <a:pt x="446" y="1493"/>
                  <a:pt x="480" y="1520"/>
                </a:cubicBezTo>
                <a:cubicBezTo>
                  <a:pt x="500" y="1538"/>
                  <a:pt x="518" y="1558"/>
                  <a:pt x="541" y="1581"/>
                </a:cubicBezTo>
                <a:cubicBezTo>
                  <a:pt x="541" y="1556"/>
                  <a:pt x="541" y="1512"/>
                  <a:pt x="541" y="1465"/>
                </a:cubicBezTo>
                <a:cubicBezTo>
                  <a:pt x="425" y="1465"/>
                  <a:pt x="425" y="1465"/>
                  <a:pt x="425" y="1465"/>
                </a:cubicBezTo>
                <a:cubicBezTo>
                  <a:pt x="387" y="1465"/>
                  <a:pt x="355" y="1434"/>
                  <a:pt x="355" y="1395"/>
                </a:cubicBezTo>
                <a:cubicBezTo>
                  <a:pt x="355" y="1357"/>
                  <a:pt x="387" y="1326"/>
                  <a:pt x="425" y="1326"/>
                </a:cubicBezTo>
                <a:cubicBezTo>
                  <a:pt x="542" y="1326"/>
                  <a:pt x="542" y="1326"/>
                  <a:pt x="542" y="1326"/>
                </a:cubicBezTo>
                <a:cubicBezTo>
                  <a:pt x="542" y="1307"/>
                  <a:pt x="542" y="1290"/>
                  <a:pt x="543" y="1278"/>
                </a:cubicBezTo>
                <a:cubicBezTo>
                  <a:pt x="412" y="1246"/>
                  <a:pt x="309" y="1173"/>
                  <a:pt x="244" y="1051"/>
                </a:cubicBezTo>
                <a:cubicBezTo>
                  <a:pt x="196" y="957"/>
                  <a:pt x="185" y="858"/>
                  <a:pt x="210" y="755"/>
                </a:cubicBezTo>
                <a:cubicBezTo>
                  <a:pt x="257" y="555"/>
                  <a:pt x="445" y="416"/>
                  <a:pt x="657" y="427"/>
                </a:cubicBezTo>
                <a:cubicBezTo>
                  <a:pt x="863" y="437"/>
                  <a:pt x="1035" y="600"/>
                  <a:pt x="1058" y="810"/>
                </a:cubicBezTo>
                <a:cubicBezTo>
                  <a:pt x="1077" y="999"/>
                  <a:pt x="961" y="1225"/>
                  <a:pt x="683" y="1283"/>
                </a:cubicBezTo>
                <a:cubicBezTo>
                  <a:pt x="684" y="1289"/>
                  <a:pt x="684" y="1304"/>
                  <a:pt x="685" y="1326"/>
                </a:cubicBezTo>
                <a:cubicBezTo>
                  <a:pt x="804" y="1326"/>
                  <a:pt x="804" y="1326"/>
                  <a:pt x="804" y="1326"/>
                </a:cubicBezTo>
                <a:cubicBezTo>
                  <a:pt x="842" y="1326"/>
                  <a:pt x="874" y="1357"/>
                  <a:pt x="874" y="1395"/>
                </a:cubicBezTo>
                <a:cubicBezTo>
                  <a:pt x="874" y="1434"/>
                  <a:pt x="842" y="1465"/>
                  <a:pt x="804" y="1465"/>
                </a:cubicBezTo>
                <a:cubicBezTo>
                  <a:pt x="688" y="1465"/>
                  <a:pt x="688" y="1465"/>
                  <a:pt x="688" y="1465"/>
                </a:cubicBezTo>
                <a:cubicBezTo>
                  <a:pt x="689" y="1514"/>
                  <a:pt x="689" y="1556"/>
                  <a:pt x="689" y="1567"/>
                </a:cubicBezTo>
                <a:cubicBezTo>
                  <a:pt x="692" y="1567"/>
                  <a:pt x="695" y="1569"/>
                  <a:pt x="699" y="1571"/>
                </a:cubicBezTo>
                <a:cubicBezTo>
                  <a:pt x="716" y="1554"/>
                  <a:pt x="729" y="1539"/>
                  <a:pt x="747" y="1524"/>
                </a:cubicBezTo>
                <a:cubicBezTo>
                  <a:pt x="781" y="1492"/>
                  <a:pt x="821" y="1490"/>
                  <a:pt x="851" y="1517"/>
                </a:cubicBezTo>
                <a:cubicBezTo>
                  <a:pt x="881" y="1544"/>
                  <a:pt x="882" y="1586"/>
                  <a:pt x="849" y="1622"/>
                </a:cubicBezTo>
                <a:cubicBezTo>
                  <a:pt x="802" y="1671"/>
                  <a:pt x="755" y="1720"/>
                  <a:pt x="708" y="1769"/>
                </a:cubicBezTo>
                <a:cubicBezTo>
                  <a:pt x="1254" y="1769"/>
                  <a:pt x="1254" y="1769"/>
                  <a:pt x="1254" y="1769"/>
                </a:cubicBezTo>
                <a:cubicBezTo>
                  <a:pt x="1254" y="1098"/>
                  <a:pt x="1254" y="657"/>
                  <a:pt x="1254" y="366"/>
                </a:cubicBezTo>
                <a:cubicBezTo>
                  <a:pt x="1257" y="366"/>
                  <a:pt x="1257" y="366"/>
                  <a:pt x="1257" y="366"/>
                </a:cubicBezTo>
                <a:cubicBezTo>
                  <a:pt x="1257" y="0"/>
                  <a:pt x="1257" y="0"/>
                  <a:pt x="1257" y="0"/>
                </a:cubicBezTo>
                <a:cubicBezTo>
                  <a:pt x="0" y="0"/>
                  <a:pt x="0" y="0"/>
                  <a:pt x="0" y="0"/>
                </a:cubicBezTo>
                <a:cubicBezTo>
                  <a:pt x="0" y="951"/>
                  <a:pt x="0" y="1477"/>
                  <a:pt x="0" y="1769"/>
                </a:cubicBezTo>
                <a:lnTo>
                  <a:pt x="524" y="17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5">
            <a:extLst>
              <a:ext uri="{FF2B5EF4-FFF2-40B4-BE49-F238E27FC236}">
                <a16:creationId xmlns:a16="http://schemas.microsoft.com/office/drawing/2014/main" id="{88714845-90C1-4D1B-8D26-3BED6614E2B8}"/>
              </a:ext>
            </a:extLst>
          </p:cNvPr>
          <p:cNvSpPr>
            <a:spLocks noEditPoints="1"/>
          </p:cNvSpPr>
          <p:nvPr/>
        </p:nvSpPr>
        <p:spPr bwMode="gray">
          <a:xfrm>
            <a:off x="8112126" y="3175"/>
            <a:ext cx="3452813" cy="5192713"/>
          </a:xfrm>
          <a:custGeom>
            <a:avLst/>
            <a:gdLst>
              <a:gd name="T0" fmla="*/ 0 w 1278"/>
              <a:gd name="T1" fmla="*/ 0 h 1924"/>
              <a:gd name="T2" fmla="*/ 0 w 1278"/>
              <a:gd name="T3" fmla="*/ 1924 h 1924"/>
              <a:gd name="T4" fmla="*/ 1276 w 1278"/>
              <a:gd name="T5" fmla="*/ 1924 h 1924"/>
              <a:gd name="T6" fmla="*/ 1276 w 1278"/>
              <a:gd name="T7" fmla="*/ 125 h 1924"/>
              <a:gd name="T8" fmla="*/ 1278 w 1278"/>
              <a:gd name="T9" fmla="*/ 125 h 1924"/>
              <a:gd name="T10" fmla="*/ 1278 w 1278"/>
              <a:gd name="T11" fmla="*/ 0 h 1924"/>
              <a:gd name="T12" fmla="*/ 0 w 1278"/>
              <a:gd name="T13" fmla="*/ 0 h 1924"/>
              <a:gd name="T14" fmla="*/ 1196 w 1278"/>
              <a:gd name="T15" fmla="*/ 566 h 1924"/>
              <a:gd name="T16" fmla="*/ 1123 w 1278"/>
              <a:gd name="T17" fmla="*/ 638 h 1924"/>
              <a:gd name="T18" fmla="*/ 1050 w 1278"/>
              <a:gd name="T19" fmla="*/ 566 h 1924"/>
              <a:gd name="T20" fmla="*/ 1050 w 1278"/>
              <a:gd name="T21" fmla="*/ 478 h 1924"/>
              <a:gd name="T22" fmla="*/ 920 w 1278"/>
              <a:gd name="T23" fmla="*/ 602 h 1924"/>
              <a:gd name="T24" fmla="*/ 971 w 1278"/>
              <a:gd name="T25" fmla="*/ 981 h 1924"/>
              <a:gd name="T26" fmla="*/ 783 w 1278"/>
              <a:gd name="T27" fmla="*/ 1219 h 1924"/>
              <a:gd name="T28" fmla="*/ 224 w 1278"/>
              <a:gd name="T29" fmla="*/ 1136 h 1924"/>
              <a:gd name="T30" fmla="*/ 211 w 1278"/>
              <a:gd name="T31" fmla="*/ 571 h 1924"/>
              <a:gd name="T32" fmla="*/ 824 w 1278"/>
              <a:gd name="T33" fmla="*/ 498 h 1924"/>
              <a:gd name="T34" fmla="*/ 873 w 1278"/>
              <a:gd name="T35" fmla="*/ 438 h 1924"/>
              <a:gd name="T36" fmla="*/ 933 w 1278"/>
              <a:gd name="T37" fmla="*/ 381 h 1924"/>
              <a:gd name="T38" fmla="*/ 928 w 1278"/>
              <a:gd name="T39" fmla="*/ 371 h 1924"/>
              <a:gd name="T40" fmla="*/ 859 w 1278"/>
              <a:gd name="T41" fmla="*/ 371 h 1924"/>
              <a:gd name="T42" fmla="*/ 780 w 1278"/>
              <a:gd name="T43" fmla="*/ 301 h 1924"/>
              <a:gd name="T44" fmla="*/ 857 w 1278"/>
              <a:gd name="T45" fmla="*/ 226 h 1924"/>
              <a:gd name="T46" fmla="*/ 1119 w 1278"/>
              <a:gd name="T47" fmla="*/ 222 h 1924"/>
              <a:gd name="T48" fmla="*/ 1196 w 1278"/>
              <a:gd name="T49" fmla="*/ 295 h 1924"/>
              <a:gd name="T50" fmla="*/ 1196 w 1278"/>
              <a:gd name="T51" fmla="*/ 566 h 1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78" h="1924">
                <a:moveTo>
                  <a:pt x="0" y="0"/>
                </a:moveTo>
                <a:cubicBezTo>
                  <a:pt x="0" y="1924"/>
                  <a:pt x="0" y="1924"/>
                  <a:pt x="0" y="1924"/>
                </a:cubicBezTo>
                <a:cubicBezTo>
                  <a:pt x="1276" y="1924"/>
                  <a:pt x="1276" y="1924"/>
                  <a:pt x="1276" y="1924"/>
                </a:cubicBezTo>
                <a:cubicBezTo>
                  <a:pt x="1276" y="1029"/>
                  <a:pt x="1276" y="472"/>
                  <a:pt x="1276" y="125"/>
                </a:cubicBezTo>
                <a:cubicBezTo>
                  <a:pt x="1278" y="125"/>
                  <a:pt x="1278" y="125"/>
                  <a:pt x="1278" y="125"/>
                </a:cubicBezTo>
                <a:cubicBezTo>
                  <a:pt x="1278" y="77"/>
                  <a:pt x="1278" y="36"/>
                  <a:pt x="1278" y="0"/>
                </a:cubicBezTo>
                <a:lnTo>
                  <a:pt x="0" y="0"/>
                </a:lnTo>
                <a:close/>
                <a:moveTo>
                  <a:pt x="1196" y="566"/>
                </a:moveTo>
                <a:cubicBezTo>
                  <a:pt x="1196" y="609"/>
                  <a:pt x="1162" y="638"/>
                  <a:pt x="1123" y="638"/>
                </a:cubicBezTo>
                <a:cubicBezTo>
                  <a:pt x="1083" y="638"/>
                  <a:pt x="1053" y="609"/>
                  <a:pt x="1050" y="566"/>
                </a:cubicBezTo>
                <a:cubicBezTo>
                  <a:pt x="1048" y="538"/>
                  <a:pt x="1050" y="511"/>
                  <a:pt x="1050" y="478"/>
                </a:cubicBezTo>
                <a:cubicBezTo>
                  <a:pt x="1004" y="522"/>
                  <a:pt x="964" y="561"/>
                  <a:pt x="920" y="602"/>
                </a:cubicBezTo>
                <a:cubicBezTo>
                  <a:pt x="991" y="720"/>
                  <a:pt x="1013" y="847"/>
                  <a:pt x="971" y="981"/>
                </a:cubicBezTo>
                <a:cubicBezTo>
                  <a:pt x="938" y="1084"/>
                  <a:pt x="874" y="1163"/>
                  <a:pt x="783" y="1219"/>
                </a:cubicBezTo>
                <a:cubicBezTo>
                  <a:pt x="604" y="1330"/>
                  <a:pt x="368" y="1295"/>
                  <a:pt x="224" y="1136"/>
                </a:cubicBezTo>
                <a:cubicBezTo>
                  <a:pt x="83" y="979"/>
                  <a:pt x="76" y="738"/>
                  <a:pt x="211" y="571"/>
                </a:cubicBezTo>
                <a:cubicBezTo>
                  <a:pt x="335" y="420"/>
                  <a:pt x="582" y="341"/>
                  <a:pt x="824" y="498"/>
                </a:cubicBezTo>
                <a:cubicBezTo>
                  <a:pt x="838" y="479"/>
                  <a:pt x="854" y="458"/>
                  <a:pt x="873" y="438"/>
                </a:cubicBezTo>
                <a:cubicBezTo>
                  <a:pt x="891" y="418"/>
                  <a:pt x="912" y="400"/>
                  <a:pt x="933" y="381"/>
                </a:cubicBezTo>
                <a:cubicBezTo>
                  <a:pt x="931" y="379"/>
                  <a:pt x="931" y="375"/>
                  <a:pt x="928" y="371"/>
                </a:cubicBezTo>
                <a:cubicBezTo>
                  <a:pt x="904" y="371"/>
                  <a:pt x="882" y="372"/>
                  <a:pt x="859" y="371"/>
                </a:cubicBezTo>
                <a:cubicBezTo>
                  <a:pt x="811" y="369"/>
                  <a:pt x="783" y="341"/>
                  <a:pt x="780" y="301"/>
                </a:cubicBezTo>
                <a:cubicBezTo>
                  <a:pt x="778" y="259"/>
                  <a:pt x="808" y="228"/>
                  <a:pt x="857" y="226"/>
                </a:cubicBezTo>
                <a:cubicBezTo>
                  <a:pt x="944" y="224"/>
                  <a:pt x="1032" y="222"/>
                  <a:pt x="1119" y="222"/>
                </a:cubicBezTo>
                <a:cubicBezTo>
                  <a:pt x="1165" y="222"/>
                  <a:pt x="1196" y="251"/>
                  <a:pt x="1196" y="295"/>
                </a:cubicBezTo>
                <a:cubicBezTo>
                  <a:pt x="1198" y="385"/>
                  <a:pt x="1198" y="475"/>
                  <a:pt x="1196" y="5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6">
            <a:extLst>
              <a:ext uri="{FF2B5EF4-FFF2-40B4-BE49-F238E27FC236}">
                <a16:creationId xmlns:a16="http://schemas.microsoft.com/office/drawing/2014/main" id="{8BCBD19D-F091-47BB-AD46-D5219C51BF3B}"/>
              </a:ext>
            </a:extLst>
          </p:cNvPr>
          <p:cNvSpPr>
            <a:spLocks/>
          </p:cNvSpPr>
          <p:nvPr/>
        </p:nvSpPr>
        <p:spPr bwMode="gray">
          <a:xfrm>
            <a:off x="8809620" y="1519194"/>
            <a:ext cx="1583933" cy="1551083"/>
          </a:xfrm>
          <a:custGeom>
            <a:avLst/>
            <a:gdLst>
              <a:gd name="T0" fmla="*/ 324 w 653"/>
              <a:gd name="T1" fmla="*/ 0 h 640"/>
              <a:gd name="T2" fmla="*/ 0 w 653"/>
              <a:gd name="T3" fmla="*/ 323 h 640"/>
              <a:gd name="T4" fmla="*/ 327 w 653"/>
              <a:gd name="T5" fmla="*/ 640 h 640"/>
              <a:gd name="T6" fmla="*/ 653 w 653"/>
              <a:gd name="T7" fmla="*/ 323 h 640"/>
              <a:gd name="T8" fmla="*/ 324 w 653"/>
              <a:gd name="T9" fmla="*/ 0 h 640"/>
            </a:gdLst>
            <a:ahLst/>
            <a:cxnLst>
              <a:cxn ang="0">
                <a:pos x="T0" y="T1"/>
              </a:cxn>
              <a:cxn ang="0">
                <a:pos x="T2" y="T3"/>
              </a:cxn>
              <a:cxn ang="0">
                <a:pos x="T4" y="T5"/>
              </a:cxn>
              <a:cxn ang="0">
                <a:pos x="T6" y="T7"/>
              </a:cxn>
              <a:cxn ang="0">
                <a:pos x="T8" y="T9"/>
              </a:cxn>
            </a:cxnLst>
            <a:rect l="0" t="0" r="r" b="b"/>
            <a:pathLst>
              <a:path w="653" h="640">
                <a:moveTo>
                  <a:pt x="324" y="0"/>
                </a:moveTo>
                <a:cubicBezTo>
                  <a:pt x="143" y="2"/>
                  <a:pt x="0" y="145"/>
                  <a:pt x="0" y="323"/>
                </a:cubicBezTo>
                <a:cubicBezTo>
                  <a:pt x="2" y="502"/>
                  <a:pt x="145" y="640"/>
                  <a:pt x="327" y="640"/>
                </a:cubicBezTo>
                <a:cubicBezTo>
                  <a:pt x="507" y="638"/>
                  <a:pt x="650" y="502"/>
                  <a:pt x="653" y="323"/>
                </a:cubicBezTo>
                <a:cubicBezTo>
                  <a:pt x="653" y="144"/>
                  <a:pt x="505" y="0"/>
                  <a:pt x="3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Textplatzhalter 3">
            <a:extLst>
              <a:ext uri="{FF2B5EF4-FFF2-40B4-BE49-F238E27FC236}">
                <a16:creationId xmlns:a16="http://schemas.microsoft.com/office/drawing/2014/main" id="{4F226925-F952-4D97-945D-1B28DCC8BF7D}"/>
              </a:ext>
            </a:extLst>
          </p:cNvPr>
          <p:cNvSpPr txBox="1">
            <a:spLocks/>
          </p:cNvSpPr>
          <p:nvPr/>
        </p:nvSpPr>
        <p:spPr bwMode="gray">
          <a:xfrm>
            <a:off x="8164656" y="2714639"/>
            <a:ext cx="1584000" cy="504000"/>
          </a:xfrm>
          <a:prstGeom prst="rect">
            <a:avLst/>
          </a:prstGeom>
          <a:noFill/>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r"/>
            <a:r>
              <a:rPr lang="en-US" dirty="0"/>
              <a:t>30%</a:t>
            </a:r>
          </a:p>
        </p:txBody>
      </p:sp>
      <p:sp>
        <p:nvSpPr>
          <p:cNvPr id="22" name="Textplatzhalter 4">
            <a:extLst>
              <a:ext uri="{FF2B5EF4-FFF2-40B4-BE49-F238E27FC236}">
                <a16:creationId xmlns:a16="http://schemas.microsoft.com/office/drawing/2014/main" id="{6E360558-04D9-410C-A8B8-1E2B3978CD03}"/>
              </a:ext>
            </a:extLst>
          </p:cNvPr>
          <p:cNvSpPr txBox="1">
            <a:spLocks/>
          </p:cNvSpPr>
          <p:nvPr/>
        </p:nvSpPr>
        <p:spPr bwMode="gray">
          <a:xfrm>
            <a:off x="8760608" y="3429000"/>
            <a:ext cx="2808000" cy="1512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sz="2000" dirty="0"/>
              <a:t>Lorem ipsum dolor sit</a:t>
            </a:r>
          </a:p>
          <a:p>
            <a:pPr lvl="1"/>
            <a:r>
              <a:rPr lang="en-US" sz="2000" dirty="0"/>
              <a:t>amet, consectetuer adipiscing elit. Maecenas porttitor congue</a:t>
            </a:r>
          </a:p>
        </p:txBody>
      </p:sp>
      <p:cxnSp>
        <p:nvCxnSpPr>
          <p:cNvPr id="50" name="Gerader Verbinder 49">
            <a:extLst>
              <a:ext uri="{FF2B5EF4-FFF2-40B4-BE49-F238E27FC236}">
                <a16:creationId xmlns:a16="http://schemas.microsoft.com/office/drawing/2014/main" id="{6F5BE4DC-B336-4372-BD5F-094856D903EF}"/>
              </a:ext>
            </a:extLst>
          </p:cNvPr>
          <p:cNvCxnSpPr/>
          <p:nvPr/>
        </p:nvCxnSpPr>
        <p:spPr bwMode="gray">
          <a:xfrm>
            <a:off x="8760585" y="3356992"/>
            <a:ext cx="988071"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42" name="Freeform 6">
            <a:extLst>
              <a:ext uri="{FF2B5EF4-FFF2-40B4-BE49-F238E27FC236}">
                <a16:creationId xmlns:a16="http://schemas.microsoft.com/office/drawing/2014/main" id="{2E96A59F-AA66-48DF-A6E7-C0303A20FD22}"/>
              </a:ext>
            </a:extLst>
          </p:cNvPr>
          <p:cNvSpPr>
            <a:spLocks/>
          </p:cNvSpPr>
          <p:nvPr/>
        </p:nvSpPr>
        <p:spPr bwMode="gray">
          <a:xfrm>
            <a:off x="5917175" y="3608816"/>
            <a:ext cx="1583933" cy="1551083"/>
          </a:xfrm>
          <a:custGeom>
            <a:avLst/>
            <a:gdLst>
              <a:gd name="T0" fmla="*/ 324 w 653"/>
              <a:gd name="T1" fmla="*/ 0 h 640"/>
              <a:gd name="T2" fmla="*/ 0 w 653"/>
              <a:gd name="T3" fmla="*/ 323 h 640"/>
              <a:gd name="T4" fmla="*/ 327 w 653"/>
              <a:gd name="T5" fmla="*/ 640 h 640"/>
              <a:gd name="T6" fmla="*/ 653 w 653"/>
              <a:gd name="T7" fmla="*/ 323 h 640"/>
              <a:gd name="T8" fmla="*/ 324 w 653"/>
              <a:gd name="T9" fmla="*/ 0 h 640"/>
            </a:gdLst>
            <a:ahLst/>
            <a:cxnLst>
              <a:cxn ang="0">
                <a:pos x="T0" y="T1"/>
              </a:cxn>
              <a:cxn ang="0">
                <a:pos x="T2" y="T3"/>
              </a:cxn>
              <a:cxn ang="0">
                <a:pos x="T4" y="T5"/>
              </a:cxn>
              <a:cxn ang="0">
                <a:pos x="T6" y="T7"/>
              </a:cxn>
              <a:cxn ang="0">
                <a:pos x="T8" y="T9"/>
              </a:cxn>
            </a:cxnLst>
            <a:rect l="0" t="0" r="r" b="b"/>
            <a:pathLst>
              <a:path w="653" h="640">
                <a:moveTo>
                  <a:pt x="324" y="0"/>
                </a:moveTo>
                <a:cubicBezTo>
                  <a:pt x="143" y="2"/>
                  <a:pt x="0" y="145"/>
                  <a:pt x="0" y="323"/>
                </a:cubicBezTo>
                <a:cubicBezTo>
                  <a:pt x="2" y="502"/>
                  <a:pt x="145" y="640"/>
                  <a:pt x="327" y="640"/>
                </a:cubicBezTo>
                <a:cubicBezTo>
                  <a:pt x="507" y="638"/>
                  <a:pt x="650" y="502"/>
                  <a:pt x="653" y="323"/>
                </a:cubicBezTo>
                <a:cubicBezTo>
                  <a:pt x="653" y="144"/>
                  <a:pt x="505" y="0"/>
                  <a:pt x="3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Textplatzhalter 3">
            <a:extLst>
              <a:ext uri="{FF2B5EF4-FFF2-40B4-BE49-F238E27FC236}">
                <a16:creationId xmlns:a16="http://schemas.microsoft.com/office/drawing/2014/main" id="{C32D7C8A-AE01-4D8C-9D6D-7271842805AB}"/>
              </a:ext>
            </a:extLst>
          </p:cNvPr>
          <p:cNvSpPr txBox="1">
            <a:spLocks/>
          </p:cNvSpPr>
          <p:nvPr/>
        </p:nvSpPr>
        <p:spPr bwMode="gray">
          <a:xfrm>
            <a:off x="4869566" y="4329128"/>
            <a:ext cx="1584000" cy="504000"/>
          </a:xfrm>
          <a:prstGeom prst="rect">
            <a:avLst/>
          </a:prstGeom>
          <a:noFill/>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r"/>
            <a:r>
              <a:rPr lang="en-US" dirty="0"/>
              <a:t>20%</a:t>
            </a:r>
          </a:p>
        </p:txBody>
      </p:sp>
      <p:sp>
        <p:nvSpPr>
          <p:cNvPr id="31" name="Textplatzhalter 4">
            <a:extLst>
              <a:ext uri="{FF2B5EF4-FFF2-40B4-BE49-F238E27FC236}">
                <a16:creationId xmlns:a16="http://schemas.microsoft.com/office/drawing/2014/main" id="{3AD09ED2-02E5-420E-9B6E-EAF7065CD15A}"/>
              </a:ext>
            </a:extLst>
          </p:cNvPr>
          <p:cNvSpPr txBox="1">
            <a:spLocks/>
          </p:cNvSpPr>
          <p:nvPr/>
        </p:nvSpPr>
        <p:spPr bwMode="gray">
          <a:xfrm>
            <a:off x="2968330" y="5085184"/>
            <a:ext cx="2695622" cy="1223541"/>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lgn="r"/>
            <a:r>
              <a:rPr lang="en-US" sz="2000" dirty="0"/>
              <a:t>Lorem ipsum dolor sit</a:t>
            </a:r>
          </a:p>
          <a:p>
            <a:pPr lvl="1" algn="r"/>
            <a:r>
              <a:rPr lang="en-US" sz="2000" dirty="0"/>
              <a:t>amet, consectetuer adipiscing elit. Maecenas porttitor congue</a:t>
            </a:r>
          </a:p>
        </p:txBody>
      </p:sp>
      <p:cxnSp>
        <p:nvCxnSpPr>
          <p:cNvPr id="32" name="Gerader Verbinder 31">
            <a:extLst>
              <a:ext uri="{FF2B5EF4-FFF2-40B4-BE49-F238E27FC236}">
                <a16:creationId xmlns:a16="http://schemas.microsoft.com/office/drawing/2014/main" id="{E3A62B72-D681-4BDE-B0BC-56CF2B78256D}"/>
              </a:ext>
            </a:extLst>
          </p:cNvPr>
          <p:cNvCxnSpPr/>
          <p:nvPr/>
        </p:nvCxnSpPr>
        <p:spPr bwMode="gray">
          <a:xfrm>
            <a:off x="4968259" y="4977200"/>
            <a:ext cx="988071"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39" name="Textplatzhalter 3">
            <a:extLst>
              <a:ext uri="{FF2B5EF4-FFF2-40B4-BE49-F238E27FC236}">
                <a16:creationId xmlns:a16="http://schemas.microsoft.com/office/drawing/2014/main" id="{610DE0BB-0529-48C6-9A70-AED1A33AA015}"/>
              </a:ext>
            </a:extLst>
          </p:cNvPr>
          <p:cNvSpPr txBox="1">
            <a:spLocks/>
          </p:cNvSpPr>
          <p:nvPr/>
        </p:nvSpPr>
        <p:spPr bwMode="gray">
          <a:xfrm>
            <a:off x="2279576" y="3501064"/>
            <a:ext cx="1584000" cy="504000"/>
          </a:xfrm>
          <a:prstGeom prst="rect">
            <a:avLst/>
          </a:prstGeom>
          <a:noFill/>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r"/>
            <a:r>
              <a:rPr lang="en-US" dirty="0"/>
              <a:t>80%</a:t>
            </a:r>
          </a:p>
        </p:txBody>
      </p:sp>
      <p:sp>
        <p:nvSpPr>
          <p:cNvPr id="23" name="Textplatzhalter 4">
            <a:extLst>
              <a:ext uri="{FF2B5EF4-FFF2-40B4-BE49-F238E27FC236}">
                <a16:creationId xmlns:a16="http://schemas.microsoft.com/office/drawing/2014/main" id="{C8E34CB8-43A3-4F03-942D-DAA39BF61E61}"/>
              </a:ext>
            </a:extLst>
          </p:cNvPr>
          <p:cNvSpPr txBox="1">
            <a:spLocks/>
          </p:cNvSpPr>
          <p:nvPr/>
        </p:nvSpPr>
        <p:spPr bwMode="gray">
          <a:xfrm>
            <a:off x="3071813" y="1773238"/>
            <a:ext cx="2611692" cy="1511746"/>
          </a:xfrm>
          <a:prstGeom prst="rect">
            <a:avLst/>
          </a:prstGeom>
        </p:spPr>
        <p:txBody>
          <a:bodyPr lIns="0" tIns="0" rIns="0" bIns="0" anchor="b"/>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sz="2000" dirty="0"/>
              <a:t>Lorem ipsum dolor sit</a:t>
            </a:r>
          </a:p>
          <a:p>
            <a:pPr lvl="1"/>
            <a:r>
              <a:rPr lang="en-US" sz="2000" dirty="0"/>
              <a:t>amet, consectetuer adipiscing elit. Maecenas porttitor congue</a:t>
            </a:r>
          </a:p>
        </p:txBody>
      </p:sp>
      <p:sp>
        <p:nvSpPr>
          <p:cNvPr id="4" name="Fußzeilenplatzhalter 3">
            <a:extLst>
              <a:ext uri="{FF2B5EF4-FFF2-40B4-BE49-F238E27FC236}">
                <a16:creationId xmlns:a16="http://schemas.microsoft.com/office/drawing/2014/main" id="{69990F05-92BE-434D-AAA1-485DA79D8D65}"/>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A50FC55B-499F-4FE6-90BE-E8F31EC8A31D}"/>
              </a:ext>
            </a:extLst>
          </p:cNvPr>
          <p:cNvSpPr>
            <a:spLocks noGrp="1"/>
          </p:cNvSpPr>
          <p:nvPr>
            <p:ph type="sldNum" sz="quarter" idx="12"/>
          </p:nvPr>
        </p:nvSpPr>
        <p:spPr/>
        <p:txBody>
          <a:bodyPr/>
          <a:lstStyle/>
          <a:p>
            <a:fld id="{CE82B8A1-0CCE-4815-9668-383D7DE7D8B4}" type="slidenum">
              <a:rPr lang="en-US" noProof="0" smtClean="0"/>
              <a:t>63</a:t>
            </a:fld>
            <a:endParaRPr lang="en-US" noProof="0" dirty="0"/>
          </a:p>
        </p:txBody>
      </p:sp>
    </p:spTree>
    <p:extLst>
      <p:ext uri="{BB962C8B-B14F-4D97-AF65-F5344CB8AC3E}">
        <p14:creationId xmlns:p14="http://schemas.microsoft.com/office/powerpoint/2010/main" val="178818774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03529DE9-F9EF-47A6-972C-CF536B1DD8BE}"/>
              </a:ext>
            </a:extLst>
          </p:cNvPr>
          <p:cNvSpPr>
            <a:spLocks noGrp="1"/>
          </p:cNvSpPr>
          <p:nvPr>
            <p:ph type="title"/>
          </p:nvPr>
        </p:nvSpPr>
        <p:spPr bwMode="gray"/>
        <p:txBody>
          <a:bodyPr/>
          <a:lstStyle/>
          <a:p>
            <a:r>
              <a:rPr lang="en-US" dirty="0"/>
              <a:t>Intersection </a:t>
            </a:r>
            <a:br>
              <a:rPr lang="en-US" dirty="0"/>
            </a:br>
            <a:r>
              <a:rPr lang="en-US" dirty="0"/>
              <a:t>of three circles</a:t>
            </a:r>
          </a:p>
        </p:txBody>
      </p:sp>
      <p:grpSp>
        <p:nvGrpSpPr>
          <p:cNvPr id="42" name="Gruppieren 41">
            <a:extLst>
              <a:ext uri="{FF2B5EF4-FFF2-40B4-BE49-F238E27FC236}">
                <a16:creationId xmlns:a16="http://schemas.microsoft.com/office/drawing/2014/main" id="{CA0F3A3D-8988-4853-9357-486872B44CB8}"/>
              </a:ext>
            </a:extLst>
          </p:cNvPr>
          <p:cNvGrpSpPr>
            <a:grpSpLocks noChangeAspect="1"/>
          </p:cNvGrpSpPr>
          <p:nvPr/>
        </p:nvGrpSpPr>
        <p:grpSpPr bwMode="gray">
          <a:xfrm>
            <a:off x="8328328" y="1772816"/>
            <a:ext cx="720000" cy="684030"/>
            <a:chOff x="3720159" y="1794590"/>
            <a:chExt cx="4751683" cy="4514308"/>
          </a:xfrm>
        </p:grpSpPr>
        <p:sp>
          <p:nvSpPr>
            <p:cNvPr id="35" name="Freihandform: Form 34">
              <a:extLst>
                <a:ext uri="{FF2B5EF4-FFF2-40B4-BE49-F238E27FC236}">
                  <a16:creationId xmlns:a16="http://schemas.microsoft.com/office/drawing/2014/main" id="{16FE4514-5E73-4C36-8FAD-465CA810E1E0}"/>
                </a:ext>
              </a:extLst>
            </p:cNvPr>
            <p:cNvSpPr/>
            <p:nvPr/>
          </p:nvSpPr>
          <p:spPr bwMode="gray">
            <a:xfrm>
              <a:off x="5918978" y="4153492"/>
              <a:ext cx="354047" cy="304973"/>
            </a:xfrm>
            <a:custGeom>
              <a:avLst/>
              <a:gdLst>
                <a:gd name="connsiteX0" fmla="*/ 177024 w 354047"/>
                <a:gd name="connsiteY0" fmla="*/ 0 h 304973"/>
                <a:gd name="connsiteX1" fmla="*/ 209959 w 354047"/>
                <a:gd name="connsiteY1" fmla="*/ 39431 h 304973"/>
                <a:gd name="connsiteX2" fmla="*/ 304298 w 354047"/>
                <a:gd name="connsiteY2" fmla="*/ 188590 h 304973"/>
                <a:gd name="connsiteX3" fmla="*/ 354047 w 354047"/>
                <a:gd name="connsiteY3" fmla="*/ 291863 h 304973"/>
                <a:gd name="connsiteX4" fmla="*/ 344085 w 354047"/>
                <a:gd name="connsiteY4" fmla="*/ 293384 h 304973"/>
                <a:gd name="connsiteX5" fmla="*/ 177023 w 354047"/>
                <a:gd name="connsiteY5" fmla="*/ 304973 h 304973"/>
                <a:gd name="connsiteX6" fmla="*/ 9963 w 354047"/>
                <a:gd name="connsiteY6" fmla="*/ 293384 h 304973"/>
                <a:gd name="connsiteX7" fmla="*/ 0 w 354047"/>
                <a:gd name="connsiteY7" fmla="*/ 291863 h 304973"/>
                <a:gd name="connsiteX8" fmla="*/ 49749 w 354047"/>
                <a:gd name="connsiteY8" fmla="*/ 188590 h 304973"/>
                <a:gd name="connsiteX9" fmla="*/ 144088 w 354047"/>
                <a:gd name="connsiteY9" fmla="*/ 39431 h 304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4047" h="304973">
                  <a:moveTo>
                    <a:pt x="177024" y="0"/>
                  </a:moveTo>
                  <a:lnTo>
                    <a:pt x="209959" y="39431"/>
                  </a:lnTo>
                  <a:cubicBezTo>
                    <a:pt x="244562" y="86874"/>
                    <a:pt x="276104" y="136690"/>
                    <a:pt x="304298" y="188590"/>
                  </a:cubicBezTo>
                  <a:lnTo>
                    <a:pt x="354047" y="291863"/>
                  </a:lnTo>
                  <a:lnTo>
                    <a:pt x="344085" y="293384"/>
                  </a:lnTo>
                  <a:lnTo>
                    <a:pt x="177023" y="304973"/>
                  </a:lnTo>
                  <a:lnTo>
                    <a:pt x="9963" y="293384"/>
                  </a:lnTo>
                  <a:lnTo>
                    <a:pt x="0" y="291863"/>
                  </a:lnTo>
                  <a:lnTo>
                    <a:pt x="49749" y="188590"/>
                  </a:lnTo>
                  <a:cubicBezTo>
                    <a:pt x="77943" y="136690"/>
                    <a:pt x="109486" y="86874"/>
                    <a:pt x="144088" y="39431"/>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ihandform: Form 30">
              <a:extLst>
                <a:ext uri="{FF2B5EF4-FFF2-40B4-BE49-F238E27FC236}">
                  <a16:creationId xmlns:a16="http://schemas.microsoft.com/office/drawing/2014/main" id="{5ACAD5F4-569F-436E-AF14-2BFDE5264BB1}"/>
                </a:ext>
              </a:extLst>
            </p:cNvPr>
            <p:cNvSpPr/>
            <p:nvPr/>
          </p:nvSpPr>
          <p:spPr bwMode="gray">
            <a:xfrm>
              <a:off x="3720159" y="3658134"/>
              <a:ext cx="2553253" cy="2650764"/>
            </a:xfrm>
            <a:custGeom>
              <a:avLst/>
              <a:gdLst>
                <a:gd name="connsiteX0" fmla="*/ 2208783 w 2553253"/>
                <a:gd name="connsiteY0" fmla="*/ 788741 h 2650764"/>
                <a:gd name="connsiteX1" fmla="*/ 2375842 w 2553253"/>
                <a:gd name="connsiteY1" fmla="*/ 800330 h 2650764"/>
                <a:gd name="connsiteX2" fmla="*/ 2239660 w 2553253"/>
                <a:gd name="connsiteY2" fmla="*/ 793454 h 2650764"/>
                <a:gd name="connsiteX3" fmla="*/ 2552866 w 2553253"/>
                <a:gd name="connsiteY3" fmla="*/ 787220 h 2650764"/>
                <a:gd name="connsiteX4" fmla="*/ 2553253 w 2553253"/>
                <a:gd name="connsiteY4" fmla="*/ 788023 h 2650764"/>
                <a:gd name="connsiteX5" fmla="*/ 2542903 w 2553253"/>
                <a:gd name="connsiteY5" fmla="*/ 788741 h 2650764"/>
                <a:gd name="connsiteX6" fmla="*/ 1154914 w 2553253"/>
                <a:gd name="connsiteY6" fmla="*/ 0 h 2650764"/>
                <a:gd name="connsiteX7" fmla="*/ 1204663 w 2553253"/>
                <a:gd name="connsiteY7" fmla="*/ 103273 h 2650764"/>
                <a:gd name="connsiteX8" fmla="*/ 2189569 w 2553253"/>
                <a:gd name="connsiteY8" fmla="*/ 787408 h 2650764"/>
                <a:gd name="connsiteX9" fmla="*/ 2198433 w 2553253"/>
                <a:gd name="connsiteY9" fmla="*/ 788023 h 2650764"/>
                <a:gd name="connsiteX10" fmla="*/ 2192481 w 2553253"/>
                <a:gd name="connsiteY10" fmla="*/ 800378 h 2650764"/>
                <a:gd name="connsiteX11" fmla="*/ 2087810 w 2553253"/>
                <a:gd name="connsiteY11" fmla="*/ 1318827 h 2650764"/>
                <a:gd name="connsiteX12" fmla="*/ 2315284 w 2553253"/>
                <a:gd name="connsiteY12" fmla="*/ 2063526 h 2650764"/>
                <a:gd name="connsiteX13" fmla="*/ 2375842 w 2553253"/>
                <a:gd name="connsiteY13" fmla="*/ 2144509 h 2650764"/>
                <a:gd name="connsiteX14" fmla="*/ 2359724 w 2553253"/>
                <a:gd name="connsiteY14" fmla="*/ 2166063 h 2650764"/>
                <a:gd name="connsiteX15" fmla="*/ 1331937 w 2553253"/>
                <a:gd name="connsiteY15" fmla="*/ 2650764 h 2650764"/>
                <a:gd name="connsiteX16" fmla="*/ 0 w 2553253"/>
                <a:gd name="connsiteY16" fmla="*/ 1318827 h 2650764"/>
                <a:gd name="connsiteX17" fmla="*/ 1063506 w 2553253"/>
                <a:gd name="connsiteY17" fmla="*/ 13950 h 265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53253" h="2650764">
                  <a:moveTo>
                    <a:pt x="2208783" y="788741"/>
                  </a:moveTo>
                  <a:lnTo>
                    <a:pt x="2375842" y="800330"/>
                  </a:lnTo>
                  <a:cubicBezTo>
                    <a:pt x="2329867" y="800330"/>
                    <a:pt x="2284435" y="798001"/>
                    <a:pt x="2239660" y="793454"/>
                  </a:cubicBezTo>
                  <a:close/>
                  <a:moveTo>
                    <a:pt x="2552866" y="787220"/>
                  </a:moveTo>
                  <a:lnTo>
                    <a:pt x="2553253" y="788023"/>
                  </a:lnTo>
                  <a:lnTo>
                    <a:pt x="2542903" y="788741"/>
                  </a:lnTo>
                  <a:close/>
                  <a:moveTo>
                    <a:pt x="1154914" y="0"/>
                  </a:moveTo>
                  <a:lnTo>
                    <a:pt x="1204663" y="103273"/>
                  </a:lnTo>
                  <a:cubicBezTo>
                    <a:pt x="1402019" y="466571"/>
                    <a:pt x="1763487" y="727782"/>
                    <a:pt x="2189569" y="787408"/>
                  </a:cubicBezTo>
                  <a:lnTo>
                    <a:pt x="2198433" y="788023"/>
                  </a:lnTo>
                  <a:lnTo>
                    <a:pt x="2192481" y="800378"/>
                  </a:lnTo>
                  <a:cubicBezTo>
                    <a:pt x="2125081" y="959728"/>
                    <a:pt x="2087810" y="1134925"/>
                    <a:pt x="2087810" y="1318827"/>
                  </a:cubicBezTo>
                  <a:cubicBezTo>
                    <a:pt x="2087810" y="1594680"/>
                    <a:pt x="2171669" y="1850947"/>
                    <a:pt x="2315284" y="2063526"/>
                  </a:cubicBezTo>
                  <a:lnTo>
                    <a:pt x="2375842" y="2144509"/>
                  </a:lnTo>
                  <a:lnTo>
                    <a:pt x="2359724" y="2166063"/>
                  </a:lnTo>
                  <a:cubicBezTo>
                    <a:pt x="2115428" y="2462082"/>
                    <a:pt x="1745717" y="2650764"/>
                    <a:pt x="1331937" y="2650764"/>
                  </a:cubicBezTo>
                  <a:cubicBezTo>
                    <a:pt x="596329" y="2650764"/>
                    <a:pt x="0" y="2054435"/>
                    <a:pt x="0" y="1318827"/>
                  </a:cubicBezTo>
                  <a:cubicBezTo>
                    <a:pt x="0" y="675170"/>
                    <a:pt x="456565" y="138149"/>
                    <a:pt x="1063506" y="13950"/>
                  </a:cubicBez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Freihandform: Form 31">
              <a:extLst>
                <a:ext uri="{FF2B5EF4-FFF2-40B4-BE49-F238E27FC236}">
                  <a16:creationId xmlns:a16="http://schemas.microsoft.com/office/drawing/2014/main" id="{4B8ECFFF-872E-4186-B0E5-ED28B63A8FA4}"/>
                </a:ext>
              </a:extLst>
            </p:cNvPr>
            <p:cNvSpPr/>
            <p:nvPr/>
          </p:nvSpPr>
          <p:spPr bwMode="gray">
            <a:xfrm>
              <a:off x="4764063" y="1794590"/>
              <a:ext cx="2663874" cy="2650764"/>
            </a:xfrm>
            <a:custGeom>
              <a:avLst/>
              <a:gdLst>
                <a:gd name="connsiteX0" fmla="*/ 1331937 w 2663874"/>
                <a:gd name="connsiteY0" fmla="*/ 0 h 2650764"/>
                <a:gd name="connsiteX1" fmla="*/ 2663874 w 2663874"/>
                <a:gd name="connsiteY1" fmla="*/ 1331937 h 2650764"/>
                <a:gd name="connsiteX2" fmla="*/ 2583053 w 2663874"/>
                <a:gd name="connsiteY2" fmla="*/ 1789902 h 2650764"/>
                <a:gd name="connsiteX3" fmla="*/ 2549779 w 2663874"/>
                <a:gd name="connsiteY3" fmla="*/ 1869952 h 2650764"/>
                <a:gd name="connsiteX4" fmla="*/ 2517066 w 2663874"/>
                <a:gd name="connsiteY4" fmla="*/ 1937861 h 2650764"/>
                <a:gd name="connsiteX5" fmla="*/ 2496350 w 2663874"/>
                <a:gd name="connsiteY5" fmla="*/ 1977716 h 2650764"/>
                <a:gd name="connsiteX6" fmla="*/ 2423797 w 2663874"/>
                <a:gd name="connsiteY6" fmla="*/ 2094553 h 2650764"/>
                <a:gd name="connsiteX7" fmla="*/ 2411341 w 2663874"/>
                <a:gd name="connsiteY7" fmla="*/ 2111004 h 2650764"/>
                <a:gd name="connsiteX8" fmla="*/ 2346168 w 2663874"/>
                <a:gd name="connsiteY8" fmla="*/ 2193056 h 2650764"/>
                <a:gd name="connsiteX9" fmla="*/ 2208607 w 2663874"/>
                <a:gd name="connsiteY9" fmla="*/ 2333941 h 2650764"/>
                <a:gd name="connsiteX10" fmla="*/ 2185013 w 2663874"/>
                <a:gd name="connsiteY10" fmla="*/ 2352624 h 2650764"/>
                <a:gd name="connsiteX11" fmla="*/ 2046039 w 2663874"/>
                <a:gd name="connsiteY11" fmla="*/ 2453952 h 2650764"/>
                <a:gd name="connsiteX12" fmla="*/ 2001466 w 2663874"/>
                <a:gd name="connsiteY12" fmla="*/ 2481538 h 2650764"/>
                <a:gd name="connsiteX13" fmla="*/ 1821820 w 2663874"/>
                <a:gd name="connsiteY13" fmla="*/ 2570745 h 2650764"/>
                <a:gd name="connsiteX14" fmla="*/ 1689311 w 2663874"/>
                <a:gd name="connsiteY14" fmla="*/ 2614532 h 2650764"/>
                <a:gd name="connsiteX15" fmla="*/ 1650849 w 2663874"/>
                <a:gd name="connsiteY15" fmla="*/ 2624168 h 2650764"/>
                <a:gd name="connsiteX16" fmla="*/ 1550638 w 2663874"/>
                <a:gd name="connsiteY16" fmla="*/ 2644404 h 2650764"/>
                <a:gd name="connsiteX17" fmla="*/ 1508961 w 2663874"/>
                <a:gd name="connsiteY17" fmla="*/ 2650764 h 2650764"/>
                <a:gd name="connsiteX18" fmla="*/ 1459212 w 2663874"/>
                <a:gd name="connsiteY18" fmla="*/ 2547491 h 2650764"/>
                <a:gd name="connsiteX19" fmla="*/ 288032 w 2663874"/>
                <a:gd name="connsiteY19" fmla="*/ 1850434 h 2650764"/>
                <a:gd name="connsiteX20" fmla="*/ 151850 w 2663874"/>
                <a:gd name="connsiteY20" fmla="*/ 1857311 h 2650764"/>
                <a:gd name="connsiteX21" fmla="*/ 111009 w 2663874"/>
                <a:gd name="connsiteY21" fmla="*/ 1863544 h 2650764"/>
                <a:gd name="connsiteX22" fmla="*/ 104671 w 2663874"/>
                <a:gd name="connsiteY22" fmla="*/ 1850387 h 2650764"/>
                <a:gd name="connsiteX23" fmla="*/ 0 w 2663874"/>
                <a:gd name="connsiteY23" fmla="*/ 1331937 h 2650764"/>
                <a:gd name="connsiteX24" fmla="*/ 1331937 w 2663874"/>
                <a:gd name="connsiteY24" fmla="*/ 0 h 265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63874" h="2650764">
                  <a:moveTo>
                    <a:pt x="1331937" y="0"/>
                  </a:moveTo>
                  <a:cubicBezTo>
                    <a:pt x="2067545" y="0"/>
                    <a:pt x="2663874" y="596329"/>
                    <a:pt x="2663874" y="1331937"/>
                  </a:cubicBezTo>
                  <a:cubicBezTo>
                    <a:pt x="2663874" y="1492851"/>
                    <a:pt x="2635339" y="1647101"/>
                    <a:pt x="2583053" y="1789902"/>
                  </a:cubicBezTo>
                  <a:lnTo>
                    <a:pt x="2549779" y="1869952"/>
                  </a:lnTo>
                  <a:lnTo>
                    <a:pt x="2517066" y="1937861"/>
                  </a:lnTo>
                  <a:lnTo>
                    <a:pt x="2496350" y="1977716"/>
                  </a:lnTo>
                  <a:lnTo>
                    <a:pt x="2423797" y="2094553"/>
                  </a:lnTo>
                  <a:lnTo>
                    <a:pt x="2411341" y="2111004"/>
                  </a:lnTo>
                  <a:lnTo>
                    <a:pt x="2346168" y="2193056"/>
                  </a:lnTo>
                  <a:lnTo>
                    <a:pt x="2208607" y="2333941"/>
                  </a:lnTo>
                  <a:lnTo>
                    <a:pt x="2185013" y="2352624"/>
                  </a:lnTo>
                  <a:lnTo>
                    <a:pt x="2046039" y="2453952"/>
                  </a:lnTo>
                  <a:lnTo>
                    <a:pt x="2001466" y="2481538"/>
                  </a:lnTo>
                  <a:lnTo>
                    <a:pt x="1821820" y="2570745"/>
                  </a:lnTo>
                  <a:lnTo>
                    <a:pt x="1689311" y="2614532"/>
                  </a:lnTo>
                  <a:lnTo>
                    <a:pt x="1650849" y="2624168"/>
                  </a:lnTo>
                  <a:lnTo>
                    <a:pt x="1550638" y="2644404"/>
                  </a:lnTo>
                  <a:lnTo>
                    <a:pt x="1508961" y="2650764"/>
                  </a:lnTo>
                  <a:lnTo>
                    <a:pt x="1459212" y="2547491"/>
                  </a:lnTo>
                  <a:cubicBezTo>
                    <a:pt x="1233662" y="2132293"/>
                    <a:pt x="793763" y="1850434"/>
                    <a:pt x="288032" y="1850434"/>
                  </a:cubicBezTo>
                  <a:cubicBezTo>
                    <a:pt x="242057" y="1850434"/>
                    <a:pt x="196625" y="1852764"/>
                    <a:pt x="151850" y="1857311"/>
                  </a:cubicBezTo>
                  <a:lnTo>
                    <a:pt x="111009" y="1863544"/>
                  </a:lnTo>
                  <a:lnTo>
                    <a:pt x="104671" y="1850387"/>
                  </a:lnTo>
                  <a:cubicBezTo>
                    <a:pt x="37271" y="1691036"/>
                    <a:pt x="0" y="1515839"/>
                    <a:pt x="0" y="1331937"/>
                  </a:cubicBezTo>
                  <a:cubicBezTo>
                    <a:pt x="0" y="596329"/>
                    <a:pt x="596329" y="0"/>
                    <a:pt x="1331937" y="0"/>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Freihandform: Form 24">
              <a:extLst>
                <a:ext uri="{FF2B5EF4-FFF2-40B4-BE49-F238E27FC236}">
                  <a16:creationId xmlns:a16="http://schemas.microsoft.com/office/drawing/2014/main" id="{B03531AA-6043-4F1C-B209-D8B13F7DBF4D}"/>
                </a:ext>
              </a:extLst>
            </p:cNvPr>
            <p:cNvSpPr/>
            <p:nvPr/>
          </p:nvSpPr>
          <p:spPr bwMode="gray">
            <a:xfrm>
              <a:off x="5807968" y="4445355"/>
              <a:ext cx="576064" cy="1357289"/>
            </a:xfrm>
            <a:custGeom>
              <a:avLst/>
              <a:gdLst>
                <a:gd name="connsiteX0" fmla="*/ 111009 w 576064"/>
                <a:gd name="connsiteY0" fmla="*/ 0 h 1357289"/>
                <a:gd name="connsiteX1" fmla="*/ 151850 w 576064"/>
                <a:gd name="connsiteY1" fmla="*/ 6234 h 1357289"/>
                <a:gd name="connsiteX2" fmla="*/ 288032 w 576064"/>
                <a:gd name="connsiteY2" fmla="*/ 13110 h 1357289"/>
                <a:gd name="connsiteX3" fmla="*/ 464716 w 576064"/>
                <a:gd name="connsiteY3" fmla="*/ 854 h 1357289"/>
                <a:gd name="connsiteX4" fmla="*/ 471394 w 576064"/>
                <a:gd name="connsiteY4" fmla="*/ 13157 h 1357289"/>
                <a:gd name="connsiteX5" fmla="*/ 576064 w 576064"/>
                <a:gd name="connsiteY5" fmla="*/ 531607 h 1357289"/>
                <a:gd name="connsiteX6" fmla="*/ 348590 w 576064"/>
                <a:gd name="connsiteY6" fmla="*/ 1276306 h 1357289"/>
                <a:gd name="connsiteX7" fmla="*/ 288032 w 576064"/>
                <a:gd name="connsiteY7" fmla="*/ 1357289 h 1357289"/>
                <a:gd name="connsiteX8" fmla="*/ 227474 w 576064"/>
                <a:gd name="connsiteY8" fmla="*/ 1276306 h 1357289"/>
                <a:gd name="connsiteX9" fmla="*/ 0 w 576064"/>
                <a:gd name="connsiteY9" fmla="*/ 531607 h 1357289"/>
                <a:gd name="connsiteX10" fmla="*/ 104671 w 576064"/>
                <a:gd name="connsiteY10" fmla="*/ 13158 h 1357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6064" h="1357289">
                  <a:moveTo>
                    <a:pt x="111009" y="0"/>
                  </a:moveTo>
                  <a:lnTo>
                    <a:pt x="151850" y="6234"/>
                  </a:lnTo>
                  <a:cubicBezTo>
                    <a:pt x="196625" y="10781"/>
                    <a:pt x="242057" y="13110"/>
                    <a:pt x="288032" y="13110"/>
                  </a:cubicBezTo>
                  <a:lnTo>
                    <a:pt x="464716" y="854"/>
                  </a:lnTo>
                  <a:lnTo>
                    <a:pt x="471394" y="13157"/>
                  </a:lnTo>
                  <a:cubicBezTo>
                    <a:pt x="538794" y="172508"/>
                    <a:pt x="576064" y="347705"/>
                    <a:pt x="576064" y="531607"/>
                  </a:cubicBezTo>
                  <a:cubicBezTo>
                    <a:pt x="576064" y="807460"/>
                    <a:pt x="492205" y="1063727"/>
                    <a:pt x="348590" y="1276306"/>
                  </a:cubicBezTo>
                  <a:lnTo>
                    <a:pt x="288032" y="1357289"/>
                  </a:lnTo>
                  <a:lnTo>
                    <a:pt x="227474" y="1276306"/>
                  </a:lnTo>
                  <a:cubicBezTo>
                    <a:pt x="83859" y="1063727"/>
                    <a:pt x="0" y="807460"/>
                    <a:pt x="0" y="531607"/>
                  </a:cubicBezTo>
                  <a:cubicBezTo>
                    <a:pt x="0" y="347705"/>
                    <a:pt x="37271" y="172508"/>
                    <a:pt x="104671" y="13158"/>
                  </a:cubicBez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Ellipse 22">
              <a:extLst>
                <a:ext uri="{FF2B5EF4-FFF2-40B4-BE49-F238E27FC236}">
                  <a16:creationId xmlns:a16="http://schemas.microsoft.com/office/drawing/2014/main" id="{04018E7E-BA86-4567-81C5-84544ACAEECC}"/>
                </a:ext>
              </a:extLst>
            </p:cNvPr>
            <p:cNvSpPr/>
            <p:nvPr/>
          </p:nvSpPr>
          <p:spPr bwMode="gray">
            <a:xfrm>
              <a:off x="5807968" y="3645024"/>
              <a:ext cx="2663874" cy="2663874"/>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Freihandform: Form 33">
              <a:extLst>
                <a:ext uri="{FF2B5EF4-FFF2-40B4-BE49-F238E27FC236}">
                  <a16:creationId xmlns:a16="http://schemas.microsoft.com/office/drawing/2014/main" id="{E14B2A41-9816-49E9-9A4B-6736B6FD4E67}"/>
                </a:ext>
              </a:extLst>
            </p:cNvPr>
            <p:cNvSpPr/>
            <p:nvPr/>
          </p:nvSpPr>
          <p:spPr bwMode="gray">
            <a:xfrm>
              <a:off x="6096000" y="3658134"/>
              <a:ext cx="2375842" cy="2650764"/>
            </a:xfrm>
            <a:custGeom>
              <a:avLst/>
              <a:gdLst>
                <a:gd name="connsiteX0" fmla="*/ 1220929 w 2375842"/>
                <a:gd name="connsiteY0" fmla="*/ 0 h 2650764"/>
                <a:gd name="connsiteX1" fmla="*/ 1312337 w 2375842"/>
                <a:gd name="connsiteY1" fmla="*/ 13950 h 2650764"/>
                <a:gd name="connsiteX2" fmla="*/ 2375842 w 2375842"/>
                <a:gd name="connsiteY2" fmla="*/ 1318827 h 2650764"/>
                <a:gd name="connsiteX3" fmla="*/ 1043905 w 2375842"/>
                <a:gd name="connsiteY3" fmla="*/ 2650764 h 2650764"/>
                <a:gd name="connsiteX4" fmla="*/ 16118 w 2375842"/>
                <a:gd name="connsiteY4" fmla="*/ 2166063 h 2650764"/>
                <a:gd name="connsiteX5" fmla="*/ 0 w 2375842"/>
                <a:gd name="connsiteY5" fmla="*/ 2144509 h 2650764"/>
                <a:gd name="connsiteX6" fmla="*/ 60558 w 2375842"/>
                <a:gd name="connsiteY6" fmla="*/ 2063526 h 2650764"/>
                <a:gd name="connsiteX7" fmla="*/ 288032 w 2375842"/>
                <a:gd name="connsiteY7" fmla="*/ 1318827 h 2650764"/>
                <a:gd name="connsiteX8" fmla="*/ 183362 w 2375842"/>
                <a:gd name="connsiteY8" fmla="*/ 800377 h 2650764"/>
                <a:gd name="connsiteX9" fmla="*/ 176684 w 2375842"/>
                <a:gd name="connsiteY9" fmla="*/ 788074 h 2650764"/>
                <a:gd name="connsiteX10" fmla="*/ 186273 w 2375842"/>
                <a:gd name="connsiteY10" fmla="*/ 787408 h 2650764"/>
                <a:gd name="connsiteX11" fmla="*/ 1171180 w 2375842"/>
                <a:gd name="connsiteY11" fmla="*/ 103273 h 265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5842" h="2650764">
                  <a:moveTo>
                    <a:pt x="1220929" y="0"/>
                  </a:moveTo>
                  <a:lnTo>
                    <a:pt x="1312337" y="13950"/>
                  </a:lnTo>
                  <a:cubicBezTo>
                    <a:pt x="1919278" y="138149"/>
                    <a:pt x="2375842" y="675170"/>
                    <a:pt x="2375842" y="1318827"/>
                  </a:cubicBezTo>
                  <a:cubicBezTo>
                    <a:pt x="2375842" y="2054435"/>
                    <a:pt x="1779513" y="2650764"/>
                    <a:pt x="1043905" y="2650764"/>
                  </a:cubicBezTo>
                  <a:cubicBezTo>
                    <a:pt x="630126" y="2650764"/>
                    <a:pt x="260415" y="2462082"/>
                    <a:pt x="16118" y="2166063"/>
                  </a:cubicBezTo>
                  <a:lnTo>
                    <a:pt x="0" y="2144509"/>
                  </a:lnTo>
                  <a:lnTo>
                    <a:pt x="60558" y="2063526"/>
                  </a:lnTo>
                  <a:cubicBezTo>
                    <a:pt x="204173" y="1850947"/>
                    <a:pt x="288032" y="1594680"/>
                    <a:pt x="288032" y="1318827"/>
                  </a:cubicBezTo>
                  <a:cubicBezTo>
                    <a:pt x="288032" y="1134925"/>
                    <a:pt x="250762" y="959728"/>
                    <a:pt x="183362" y="800377"/>
                  </a:cubicBezTo>
                  <a:lnTo>
                    <a:pt x="176684" y="788074"/>
                  </a:lnTo>
                  <a:lnTo>
                    <a:pt x="186273" y="787408"/>
                  </a:lnTo>
                  <a:cubicBezTo>
                    <a:pt x="612357" y="727782"/>
                    <a:pt x="973824" y="466571"/>
                    <a:pt x="1171180" y="103273"/>
                  </a:cubicBez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Freihandform: Form 37">
              <a:extLst>
                <a:ext uri="{FF2B5EF4-FFF2-40B4-BE49-F238E27FC236}">
                  <a16:creationId xmlns:a16="http://schemas.microsoft.com/office/drawing/2014/main" id="{5B31108F-388A-4276-AEFD-27383576E023}"/>
                </a:ext>
              </a:extLst>
            </p:cNvPr>
            <p:cNvSpPr/>
            <p:nvPr/>
          </p:nvSpPr>
          <p:spPr bwMode="gray">
            <a:xfrm>
              <a:off x="5928941" y="3645024"/>
              <a:ext cx="1387989" cy="813440"/>
            </a:xfrm>
            <a:custGeom>
              <a:avLst/>
              <a:gdLst>
                <a:gd name="connsiteX0" fmla="*/ 0 w 1387989"/>
                <a:gd name="connsiteY0" fmla="*/ 801851 h 813440"/>
                <a:gd name="connsiteX1" fmla="*/ 167060 w 1387989"/>
                <a:gd name="connsiteY1" fmla="*/ 813440 h 813440"/>
                <a:gd name="connsiteX2" fmla="*/ 30878 w 1387989"/>
                <a:gd name="connsiteY2" fmla="*/ 806564 h 813440"/>
                <a:gd name="connsiteX3" fmla="*/ 1210965 w 1387989"/>
                <a:gd name="connsiteY3" fmla="*/ 0 h 813440"/>
                <a:gd name="connsiteX4" fmla="*/ 1347148 w 1387989"/>
                <a:gd name="connsiteY4" fmla="*/ 6877 h 813440"/>
                <a:gd name="connsiteX5" fmla="*/ 1387989 w 1387989"/>
                <a:gd name="connsiteY5" fmla="*/ 13110 h 813440"/>
                <a:gd name="connsiteX6" fmla="*/ 1338240 w 1387989"/>
                <a:gd name="connsiteY6" fmla="*/ 116383 h 813440"/>
                <a:gd name="connsiteX7" fmla="*/ 353333 w 1387989"/>
                <a:gd name="connsiteY7" fmla="*/ 800518 h 813440"/>
                <a:gd name="connsiteX8" fmla="*/ 334122 w 1387989"/>
                <a:gd name="connsiteY8" fmla="*/ 801851 h 813440"/>
                <a:gd name="connsiteX9" fmla="*/ 344084 w 1387989"/>
                <a:gd name="connsiteY9" fmla="*/ 800330 h 813440"/>
                <a:gd name="connsiteX10" fmla="*/ 294335 w 1387989"/>
                <a:gd name="connsiteY10" fmla="*/ 697057 h 813440"/>
                <a:gd name="connsiteX11" fmla="*/ 199996 w 1387989"/>
                <a:gd name="connsiteY11" fmla="*/ 547898 h 813440"/>
                <a:gd name="connsiteX12" fmla="*/ 167061 w 1387989"/>
                <a:gd name="connsiteY12" fmla="*/ 508467 h 813440"/>
                <a:gd name="connsiteX13" fmla="*/ 246818 w 1387989"/>
                <a:gd name="connsiteY13" fmla="*/ 412980 h 813440"/>
                <a:gd name="connsiteX14" fmla="*/ 1210965 w 1387989"/>
                <a:gd name="connsiteY14" fmla="*/ 0 h 813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7989" h="813440">
                  <a:moveTo>
                    <a:pt x="0" y="801851"/>
                  </a:moveTo>
                  <a:lnTo>
                    <a:pt x="167060" y="813440"/>
                  </a:lnTo>
                  <a:cubicBezTo>
                    <a:pt x="121085" y="813440"/>
                    <a:pt x="75653" y="811111"/>
                    <a:pt x="30878" y="806564"/>
                  </a:cubicBezTo>
                  <a:close/>
                  <a:moveTo>
                    <a:pt x="1210965" y="0"/>
                  </a:moveTo>
                  <a:cubicBezTo>
                    <a:pt x="1256941" y="0"/>
                    <a:pt x="1302372" y="2330"/>
                    <a:pt x="1347148" y="6877"/>
                  </a:cubicBezTo>
                  <a:lnTo>
                    <a:pt x="1387989" y="13110"/>
                  </a:lnTo>
                  <a:lnTo>
                    <a:pt x="1338240" y="116383"/>
                  </a:lnTo>
                  <a:cubicBezTo>
                    <a:pt x="1140884" y="479681"/>
                    <a:pt x="779417" y="740892"/>
                    <a:pt x="353333" y="800518"/>
                  </a:cubicBezTo>
                  <a:lnTo>
                    <a:pt x="334122" y="801851"/>
                  </a:lnTo>
                  <a:lnTo>
                    <a:pt x="344084" y="800330"/>
                  </a:lnTo>
                  <a:lnTo>
                    <a:pt x="294335" y="697057"/>
                  </a:lnTo>
                  <a:cubicBezTo>
                    <a:pt x="266141" y="645157"/>
                    <a:pt x="234599" y="595341"/>
                    <a:pt x="199996" y="547898"/>
                  </a:cubicBezTo>
                  <a:lnTo>
                    <a:pt x="167061" y="508467"/>
                  </a:lnTo>
                  <a:lnTo>
                    <a:pt x="246818" y="412980"/>
                  </a:lnTo>
                  <a:cubicBezTo>
                    <a:pt x="489400" y="158546"/>
                    <a:pt x="831668" y="0"/>
                    <a:pt x="1210965"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ihandform: Form 40">
              <a:extLst>
                <a:ext uri="{FF2B5EF4-FFF2-40B4-BE49-F238E27FC236}">
                  <a16:creationId xmlns:a16="http://schemas.microsoft.com/office/drawing/2014/main" id="{022E7B22-0A0F-4CAC-876C-F0DA41C123FA}"/>
                </a:ext>
              </a:extLst>
            </p:cNvPr>
            <p:cNvSpPr/>
            <p:nvPr/>
          </p:nvSpPr>
          <p:spPr bwMode="gray">
            <a:xfrm>
              <a:off x="4875072" y="3645024"/>
              <a:ext cx="1387990" cy="813440"/>
            </a:xfrm>
            <a:custGeom>
              <a:avLst/>
              <a:gdLst>
                <a:gd name="connsiteX0" fmla="*/ 1387990 w 1387990"/>
                <a:gd name="connsiteY0" fmla="*/ 801851 h 813440"/>
                <a:gd name="connsiteX1" fmla="*/ 1357111 w 1387990"/>
                <a:gd name="connsiteY1" fmla="*/ 806564 h 813440"/>
                <a:gd name="connsiteX2" fmla="*/ 1220928 w 1387990"/>
                <a:gd name="connsiteY2" fmla="*/ 813440 h 813440"/>
                <a:gd name="connsiteX3" fmla="*/ 177023 w 1387990"/>
                <a:gd name="connsiteY3" fmla="*/ 0 h 813440"/>
                <a:gd name="connsiteX4" fmla="*/ 1141171 w 1387990"/>
                <a:gd name="connsiteY4" fmla="*/ 412980 h 813440"/>
                <a:gd name="connsiteX5" fmla="*/ 1220929 w 1387990"/>
                <a:gd name="connsiteY5" fmla="*/ 508467 h 813440"/>
                <a:gd name="connsiteX6" fmla="*/ 1187993 w 1387990"/>
                <a:gd name="connsiteY6" fmla="*/ 547898 h 813440"/>
                <a:gd name="connsiteX7" fmla="*/ 1093654 w 1387990"/>
                <a:gd name="connsiteY7" fmla="*/ 697057 h 813440"/>
                <a:gd name="connsiteX8" fmla="*/ 1043905 w 1387990"/>
                <a:gd name="connsiteY8" fmla="*/ 800330 h 813440"/>
                <a:gd name="connsiteX9" fmla="*/ 1053868 w 1387990"/>
                <a:gd name="connsiteY9" fmla="*/ 801851 h 813440"/>
                <a:gd name="connsiteX10" fmla="*/ 1034655 w 1387990"/>
                <a:gd name="connsiteY10" fmla="*/ 800518 h 813440"/>
                <a:gd name="connsiteX11" fmla="*/ 49749 w 1387990"/>
                <a:gd name="connsiteY11" fmla="*/ 116383 h 813440"/>
                <a:gd name="connsiteX12" fmla="*/ 0 w 1387990"/>
                <a:gd name="connsiteY12" fmla="*/ 13110 h 813440"/>
                <a:gd name="connsiteX13" fmla="*/ 40841 w 1387990"/>
                <a:gd name="connsiteY13" fmla="*/ 6877 h 813440"/>
                <a:gd name="connsiteX14" fmla="*/ 177023 w 1387990"/>
                <a:gd name="connsiteY14" fmla="*/ 0 h 813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7990" h="813440">
                  <a:moveTo>
                    <a:pt x="1387990" y="801851"/>
                  </a:moveTo>
                  <a:lnTo>
                    <a:pt x="1357111" y="806564"/>
                  </a:lnTo>
                  <a:cubicBezTo>
                    <a:pt x="1312335" y="811111"/>
                    <a:pt x="1266904" y="813440"/>
                    <a:pt x="1220928" y="813440"/>
                  </a:cubicBezTo>
                  <a:close/>
                  <a:moveTo>
                    <a:pt x="177023" y="0"/>
                  </a:moveTo>
                  <a:cubicBezTo>
                    <a:pt x="556322" y="0"/>
                    <a:pt x="898589" y="158546"/>
                    <a:pt x="1141171" y="412980"/>
                  </a:cubicBezTo>
                  <a:lnTo>
                    <a:pt x="1220929" y="508467"/>
                  </a:lnTo>
                  <a:lnTo>
                    <a:pt x="1187993" y="547898"/>
                  </a:lnTo>
                  <a:cubicBezTo>
                    <a:pt x="1153391" y="595341"/>
                    <a:pt x="1121848" y="645157"/>
                    <a:pt x="1093654" y="697057"/>
                  </a:cubicBezTo>
                  <a:lnTo>
                    <a:pt x="1043905" y="800330"/>
                  </a:lnTo>
                  <a:lnTo>
                    <a:pt x="1053868" y="801851"/>
                  </a:lnTo>
                  <a:lnTo>
                    <a:pt x="1034655" y="800518"/>
                  </a:lnTo>
                  <a:cubicBezTo>
                    <a:pt x="608573" y="740892"/>
                    <a:pt x="247105" y="479681"/>
                    <a:pt x="49749" y="116383"/>
                  </a:cubicBezTo>
                  <a:lnTo>
                    <a:pt x="0" y="13110"/>
                  </a:lnTo>
                  <a:lnTo>
                    <a:pt x="40841" y="6877"/>
                  </a:lnTo>
                  <a:cubicBezTo>
                    <a:pt x="85616" y="2330"/>
                    <a:pt x="131048" y="0"/>
                    <a:pt x="177023"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3" name="Gruppieren 42">
            <a:extLst>
              <a:ext uri="{FF2B5EF4-FFF2-40B4-BE49-F238E27FC236}">
                <a16:creationId xmlns:a16="http://schemas.microsoft.com/office/drawing/2014/main" id="{845858AC-2E0C-402F-A74B-38DDC8DEC8EF}"/>
              </a:ext>
            </a:extLst>
          </p:cNvPr>
          <p:cNvGrpSpPr>
            <a:grpSpLocks noChangeAspect="1"/>
          </p:cNvGrpSpPr>
          <p:nvPr/>
        </p:nvGrpSpPr>
        <p:grpSpPr bwMode="gray">
          <a:xfrm>
            <a:off x="4583912" y="2715713"/>
            <a:ext cx="720000" cy="684030"/>
            <a:chOff x="3720159" y="1794590"/>
            <a:chExt cx="4751683" cy="4514308"/>
          </a:xfrm>
        </p:grpSpPr>
        <p:sp>
          <p:nvSpPr>
            <p:cNvPr id="45" name="Freihandform: Form 44">
              <a:extLst>
                <a:ext uri="{FF2B5EF4-FFF2-40B4-BE49-F238E27FC236}">
                  <a16:creationId xmlns:a16="http://schemas.microsoft.com/office/drawing/2014/main" id="{2DA11167-A14F-4719-90B0-AA7A4243F599}"/>
                </a:ext>
              </a:extLst>
            </p:cNvPr>
            <p:cNvSpPr/>
            <p:nvPr/>
          </p:nvSpPr>
          <p:spPr bwMode="gray">
            <a:xfrm>
              <a:off x="3720159" y="3658134"/>
              <a:ext cx="2553253" cy="2650764"/>
            </a:xfrm>
            <a:custGeom>
              <a:avLst/>
              <a:gdLst>
                <a:gd name="connsiteX0" fmla="*/ 2208783 w 2553253"/>
                <a:gd name="connsiteY0" fmla="*/ 788741 h 2650764"/>
                <a:gd name="connsiteX1" fmla="*/ 2375842 w 2553253"/>
                <a:gd name="connsiteY1" fmla="*/ 800330 h 2650764"/>
                <a:gd name="connsiteX2" fmla="*/ 2239660 w 2553253"/>
                <a:gd name="connsiteY2" fmla="*/ 793454 h 2650764"/>
                <a:gd name="connsiteX3" fmla="*/ 2552866 w 2553253"/>
                <a:gd name="connsiteY3" fmla="*/ 787220 h 2650764"/>
                <a:gd name="connsiteX4" fmla="*/ 2553253 w 2553253"/>
                <a:gd name="connsiteY4" fmla="*/ 788023 h 2650764"/>
                <a:gd name="connsiteX5" fmla="*/ 2542903 w 2553253"/>
                <a:gd name="connsiteY5" fmla="*/ 788741 h 2650764"/>
                <a:gd name="connsiteX6" fmla="*/ 1154914 w 2553253"/>
                <a:gd name="connsiteY6" fmla="*/ 0 h 2650764"/>
                <a:gd name="connsiteX7" fmla="*/ 1204663 w 2553253"/>
                <a:gd name="connsiteY7" fmla="*/ 103273 h 2650764"/>
                <a:gd name="connsiteX8" fmla="*/ 2189569 w 2553253"/>
                <a:gd name="connsiteY8" fmla="*/ 787408 h 2650764"/>
                <a:gd name="connsiteX9" fmla="*/ 2198433 w 2553253"/>
                <a:gd name="connsiteY9" fmla="*/ 788023 h 2650764"/>
                <a:gd name="connsiteX10" fmla="*/ 2192481 w 2553253"/>
                <a:gd name="connsiteY10" fmla="*/ 800378 h 2650764"/>
                <a:gd name="connsiteX11" fmla="*/ 2087810 w 2553253"/>
                <a:gd name="connsiteY11" fmla="*/ 1318827 h 2650764"/>
                <a:gd name="connsiteX12" fmla="*/ 2315284 w 2553253"/>
                <a:gd name="connsiteY12" fmla="*/ 2063526 h 2650764"/>
                <a:gd name="connsiteX13" fmla="*/ 2375842 w 2553253"/>
                <a:gd name="connsiteY13" fmla="*/ 2144509 h 2650764"/>
                <a:gd name="connsiteX14" fmla="*/ 2359724 w 2553253"/>
                <a:gd name="connsiteY14" fmla="*/ 2166063 h 2650764"/>
                <a:gd name="connsiteX15" fmla="*/ 1331937 w 2553253"/>
                <a:gd name="connsiteY15" fmla="*/ 2650764 h 2650764"/>
                <a:gd name="connsiteX16" fmla="*/ 0 w 2553253"/>
                <a:gd name="connsiteY16" fmla="*/ 1318827 h 2650764"/>
                <a:gd name="connsiteX17" fmla="*/ 1063506 w 2553253"/>
                <a:gd name="connsiteY17" fmla="*/ 13950 h 265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53253" h="2650764">
                  <a:moveTo>
                    <a:pt x="2208783" y="788741"/>
                  </a:moveTo>
                  <a:lnTo>
                    <a:pt x="2375842" y="800330"/>
                  </a:lnTo>
                  <a:cubicBezTo>
                    <a:pt x="2329867" y="800330"/>
                    <a:pt x="2284435" y="798001"/>
                    <a:pt x="2239660" y="793454"/>
                  </a:cubicBezTo>
                  <a:close/>
                  <a:moveTo>
                    <a:pt x="2552866" y="787220"/>
                  </a:moveTo>
                  <a:lnTo>
                    <a:pt x="2553253" y="788023"/>
                  </a:lnTo>
                  <a:lnTo>
                    <a:pt x="2542903" y="788741"/>
                  </a:lnTo>
                  <a:close/>
                  <a:moveTo>
                    <a:pt x="1154914" y="0"/>
                  </a:moveTo>
                  <a:lnTo>
                    <a:pt x="1204663" y="103273"/>
                  </a:lnTo>
                  <a:cubicBezTo>
                    <a:pt x="1402019" y="466571"/>
                    <a:pt x="1763487" y="727782"/>
                    <a:pt x="2189569" y="787408"/>
                  </a:cubicBezTo>
                  <a:lnTo>
                    <a:pt x="2198433" y="788023"/>
                  </a:lnTo>
                  <a:lnTo>
                    <a:pt x="2192481" y="800378"/>
                  </a:lnTo>
                  <a:cubicBezTo>
                    <a:pt x="2125081" y="959728"/>
                    <a:pt x="2087810" y="1134925"/>
                    <a:pt x="2087810" y="1318827"/>
                  </a:cubicBezTo>
                  <a:cubicBezTo>
                    <a:pt x="2087810" y="1594680"/>
                    <a:pt x="2171669" y="1850947"/>
                    <a:pt x="2315284" y="2063526"/>
                  </a:cubicBezTo>
                  <a:lnTo>
                    <a:pt x="2375842" y="2144509"/>
                  </a:lnTo>
                  <a:lnTo>
                    <a:pt x="2359724" y="2166063"/>
                  </a:lnTo>
                  <a:cubicBezTo>
                    <a:pt x="2115428" y="2462082"/>
                    <a:pt x="1745717" y="2650764"/>
                    <a:pt x="1331937" y="2650764"/>
                  </a:cubicBezTo>
                  <a:cubicBezTo>
                    <a:pt x="596329" y="2650764"/>
                    <a:pt x="0" y="2054435"/>
                    <a:pt x="0" y="1318827"/>
                  </a:cubicBezTo>
                  <a:cubicBezTo>
                    <a:pt x="0" y="675170"/>
                    <a:pt x="456565" y="138149"/>
                    <a:pt x="1063506" y="13950"/>
                  </a:cubicBez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Form 45">
              <a:extLst>
                <a:ext uri="{FF2B5EF4-FFF2-40B4-BE49-F238E27FC236}">
                  <a16:creationId xmlns:a16="http://schemas.microsoft.com/office/drawing/2014/main" id="{C33D1BB1-B544-47A2-884B-560B7FB177AB}"/>
                </a:ext>
              </a:extLst>
            </p:cNvPr>
            <p:cNvSpPr/>
            <p:nvPr/>
          </p:nvSpPr>
          <p:spPr bwMode="gray">
            <a:xfrm>
              <a:off x="4764063" y="1794590"/>
              <a:ext cx="2663874" cy="2650764"/>
            </a:xfrm>
            <a:custGeom>
              <a:avLst/>
              <a:gdLst>
                <a:gd name="connsiteX0" fmla="*/ 1331937 w 2663874"/>
                <a:gd name="connsiteY0" fmla="*/ 0 h 2650764"/>
                <a:gd name="connsiteX1" fmla="*/ 2663874 w 2663874"/>
                <a:gd name="connsiteY1" fmla="*/ 1331937 h 2650764"/>
                <a:gd name="connsiteX2" fmla="*/ 2583053 w 2663874"/>
                <a:gd name="connsiteY2" fmla="*/ 1789902 h 2650764"/>
                <a:gd name="connsiteX3" fmla="*/ 2549779 w 2663874"/>
                <a:gd name="connsiteY3" fmla="*/ 1869952 h 2650764"/>
                <a:gd name="connsiteX4" fmla="*/ 2517066 w 2663874"/>
                <a:gd name="connsiteY4" fmla="*/ 1937861 h 2650764"/>
                <a:gd name="connsiteX5" fmla="*/ 2496350 w 2663874"/>
                <a:gd name="connsiteY5" fmla="*/ 1977716 h 2650764"/>
                <a:gd name="connsiteX6" fmla="*/ 2423797 w 2663874"/>
                <a:gd name="connsiteY6" fmla="*/ 2094553 h 2650764"/>
                <a:gd name="connsiteX7" fmla="*/ 2411341 w 2663874"/>
                <a:gd name="connsiteY7" fmla="*/ 2111004 h 2650764"/>
                <a:gd name="connsiteX8" fmla="*/ 2346168 w 2663874"/>
                <a:gd name="connsiteY8" fmla="*/ 2193056 h 2650764"/>
                <a:gd name="connsiteX9" fmla="*/ 2208607 w 2663874"/>
                <a:gd name="connsiteY9" fmla="*/ 2333941 h 2650764"/>
                <a:gd name="connsiteX10" fmla="*/ 2185013 w 2663874"/>
                <a:gd name="connsiteY10" fmla="*/ 2352624 h 2650764"/>
                <a:gd name="connsiteX11" fmla="*/ 2046039 w 2663874"/>
                <a:gd name="connsiteY11" fmla="*/ 2453952 h 2650764"/>
                <a:gd name="connsiteX12" fmla="*/ 2001466 w 2663874"/>
                <a:gd name="connsiteY12" fmla="*/ 2481538 h 2650764"/>
                <a:gd name="connsiteX13" fmla="*/ 1821820 w 2663874"/>
                <a:gd name="connsiteY13" fmla="*/ 2570745 h 2650764"/>
                <a:gd name="connsiteX14" fmla="*/ 1689311 w 2663874"/>
                <a:gd name="connsiteY14" fmla="*/ 2614532 h 2650764"/>
                <a:gd name="connsiteX15" fmla="*/ 1650849 w 2663874"/>
                <a:gd name="connsiteY15" fmla="*/ 2624168 h 2650764"/>
                <a:gd name="connsiteX16" fmla="*/ 1550638 w 2663874"/>
                <a:gd name="connsiteY16" fmla="*/ 2644404 h 2650764"/>
                <a:gd name="connsiteX17" fmla="*/ 1508961 w 2663874"/>
                <a:gd name="connsiteY17" fmla="*/ 2650764 h 2650764"/>
                <a:gd name="connsiteX18" fmla="*/ 1459212 w 2663874"/>
                <a:gd name="connsiteY18" fmla="*/ 2547491 h 2650764"/>
                <a:gd name="connsiteX19" fmla="*/ 288032 w 2663874"/>
                <a:gd name="connsiteY19" fmla="*/ 1850434 h 2650764"/>
                <a:gd name="connsiteX20" fmla="*/ 151850 w 2663874"/>
                <a:gd name="connsiteY20" fmla="*/ 1857311 h 2650764"/>
                <a:gd name="connsiteX21" fmla="*/ 111009 w 2663874"/>
                <a:gd name="connsiteY21" fmla="*/ 1863544 h 2650764"/>
                <a:gd name="connsiteX22" fmla="*/ 104671 w 2663874"/>
                <a:gd name="connsiteY22" fmla="*/ 1850387 h 2650764"/>
                <a:gd name="connsiteX23" fmla="*/ 0 w 2663874"/>
                <a:gd name="connsiteY23" fmla="*/ 1331937 h 2650764"/>
                <a:gd name="connsiteX24" fmla="*/ 1331937 w 2663874"/>
                <a:gd name="connsiteY24" fmla="*/ 0 h 265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63874" h="2650764">
                  <a:moveTo>
                    <a:pt x="1331937" y="0"/>
                  </a:moveTo>
                  <a:cubicBezTo>
                    <a:pt x="2067545" y="0"/>
                    <a:pt x="2663874" y="596329"/>
                    <a:pt x="2663874" y="1331937"/>
                  </a:cubicBezTo>
                  <a:cubicBezTo>
                    <a:pt x="2663874" y="1492851"/>
                    <a:pt x="2635339" y="1647101"/>
                    <a:pt x="2583053" y="1789902"/>
                  </a:cubicBezTo>
                  <a:lnTo>
                    <a:pt x="2549779" y="1869952"/>
                  </a:lnTo>
                  <a:lnTo>
                    <a:pt x="2517066" y="1937861"/>
                  </a:lnTo>
                  <a:lnTo>
                    <a:pt x="2496350" y="1977716"/>
                  </a:lnTo>
                  <a:lnTo>
                    <a:pt x="2423797" y="2094553"/>
                  </a:lnTo>
                  <a:lnTo>
                    <a:pt x="2411341" y="2111004"/>
                  </a:lnTo>
                  <a:lnTo>
                    <a:pt x="2346168" y="2193056"/>
                  </a:lnTo>
                  <a:lnTo>
                    <a:pt x="2208607" y="2333941"/>
                  </a:lnTo>
                  <a:lnTo>
                    <a:pt x="2185013" y="2352624"/>
                  </a:lnTo>
                  <a:lnTo>
                    <a:pt x="2046039" y="2453952"/>
                  </a:lnTo>
                  <a:lnTo>
                    <a:pt x="2001466" y="2481538"/>
                  </a:lnTo>
                  <a:lnTo>
                    <a:pt x="1821820" y="2570745"/>
                  </a:lnTo>
                  <a:lnTo>
                    <a:pt x="1689311" y="2614532"/>
                  </a:lnTo>
                  <a:lnTo>
                    <a:pt x="1650849" y="2624168"/>
                  </a:lnTo>
                  <a:lnTo>
                    <a:pt x="1550638" y="2644404"/>
                  </a:lnTo>
                  <a:lnTo>
                    <a:pt x="1508961" y="2650764"/>
                  </a:lnTo>
                  <a:lnTo>
                    <a:pt x="1459212" y="2547491"/>
                  </a:lnTo>
                  <a:cubicBezTo>
                    <a:pt x="1233662" y="2132293"/>
                    <a:pt x="793763" y="1850434"/>
                    <a:pt x="288032" y="1850434"/>
                  </a:cubicBezTo>
                  <a:cubicBezTo>
                    <a:pt x="242057" y="1850434"/>
                    <a:pt x="196625" y="1852764"/>
                    <a:pt x="151850" y="1857311"/>
                  </a:cubicBezTo>
                  <a:lnTo>
                    <a:pt x="111009" y="1863544"/>
                  </a:lnTo>
                  <a:lnTo>
                    <a:pt x="104671" y="1850387"/>
                  </a:lnTo>
                  <a:cubicBezTo>
                    <a:pt x="37271" y="1691036"/>
                    <a:pt x="0" y="1515839"/>
                    <a:pt x="0" y="1331937"/>
                  </a:cubicBezTo>
                  <a:cubicBezTo>
                    <a:pt x="0" y="596329"/>
                    <a:pt x="596329" y="0"/>
                    <a:pt x="1331937" y="0"/>
                  </a:cubicBez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Freihandform: Form 48">
              <a:extLst>
                <a:ext uri="{FF2B5EF4-FFF2-40B4-BE49-F238E27FC236}">
                  <a16:creationId xmlns:a16="http://schemas.microsoft.com/office/drawing/2014/main" id="{76954FF3-C0BF-47E3-A912-CE70D4FD4B95}"/>
                </a:ext>
              </a:extLst>
            </p:cNvPr>
            <p:cNvSpPr/>
            <p:nvPr/>
          </p:nvSpPr>
          <p:spPr bwMode="gray">
            <a:xfrm>
              <a:off x="6096000" y="3658134"/>
              <a:ext cx="2375842" cy="2650764"/>
            </a:xfrm>
            <a:custGeom>
              <a:avLst/>
              <a:gdLst>
                <a:gd name="connsiteX0" fmla="*/ 1220929 w 2375842"/>
                <a:gd name="connsiteY0" fmla="*/ 0 h 2650764"/>
                <a:gd name="connsiteX1" fmla="*/ 1312337 w 2375842"/>
                <a:gd name="connsiteY1" fmla="*/ 13950 h 2650764"/>
                <a:gd name="connsiteX2" fmla="*/ 2375842 w 2375842"/>
                <a:gd name="connsiteY2" fmla="*/ 1318827 h 2650764"/>
                <a:gd name="connsiteX3" fmla="*/ 1043905 w 2375842"/>
                <a:gd name="connsiteY3" fmla="*/ 2650764 h 2650764"/>
                <a:gd name="connsiteX4" fmla="*/ 16118 w 2375842"/>
                <a:gd name="connsiteY4" fmla="*/ 2166063 h 2650764"/>
                <a:gd name="connsiteX5" fmla="*/ 0 w 2375842"/>
                <a:gd name="connsiteY5" fmla="*/ 2144509 h 2650764"/>
                <a:gd name="connsiteX6" fmla="*/ 60558 w 2375842"/>
                <a:gd name="connsiteY6" fmla="*/ 2063526 h 2650764"/>
                <a:gd name="connsiteX7" fmla="*/ 288032 w 2375842"/>
                <a:gd name="connsiteY7" fmla="*/ 1318827 h 2650764"/>
                <a:gd name="connsiteX8" fmla="*/ 183362 w 2375842"/>
                <a:gd name="connsiteY8" fmla="*/ 800377 h 2650764"/>
                <a:gd name="connsiteX9" fmla="*/ 176684 w 2375842"/>
                <a:gd name="connsiteY9" fmla="*/ 788074 h 2650764"/>
                <a:gd name="connsiteX10" fmla="*/ 186273 w 2375842"/>
                <a:gd name="connsiteY10" fmla="*/ 787408 h 2650764"/>
                <a:gd name="connsiteX11" fmla="*/ 1171180 w 2375842"/>
                <a:gd name="connsiteY11" fmla="*/ 103273 h 265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5842" h="2650764">
                  <a:moveTo>
                    <a:pt x="1220929" y="0"/>
                  </a:moveTo>
                  <a:lnTo>
                    <a:pt x="1312337" y="13950"/>
                  </a:lnTo>
                  <a:cubicBezTo>
                    <a:pt x="1919278" y="138149"/>
                    <a:pt x="2375842" y="675170"/>
                    <a:pt x="2375842" y="1318827"/>
                  </a:cubicBezTo>
                  <a:cubicBezTo>
                    <a:pt x="2375842" y="2054435"/>
                    <a:pt x="1779513" y="2650764"/>
                    <a:pt x="1043905" y="2650764"/>
                  </a:cubicBezTo>
                  <a:cubicBezTo>
                    <a:pt x="630126" y="2650764"/>
                    <a:pt x="260415" y="2462082"/>
                    <a:pt x="16118" y="2166063"/>
                  </a:cubicBezTo>
                  <a:lnTo>
                    <a:pt x="0" y="2144509"/>
                  </a:lnTo>
                  <a:lnTo>
                    <a:pt x="60558" y="2063526"/>
                  </a:lnTo>
                  <a:cubicBezTo>
                    <a:pt x="204173" y="1850947"/>
                    <a:pt x="288032" y="1594680"/>
                    <a:pt x="288032" y="1318827"/>
                  </a:cubicBezTo>
                  <a:cubicBezTo>
                    <a:pt x="288032" y="1134925"/>
                    <a:pt x="250762" y="959728"/>
                    <a:pt x="183362" y="800377"/>
                  </a:cubicBezTo>
                  <a:lnTo>
                    <a:pt x="176684" y="788074"/>
                  </a:lnTo>
                  <a:lnTo>
                    <a:pt x="186273" y="787408"/>
                  </a:lnTo>
                  <a:cubicBezTo>
                    <a:pt x="612357" y="727782"/>
                    <a:pt x="973824" y="466571"/>
                    <a:pt x="1171180" y="103273"/>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Form 50">
              <a:extLst>
                <a:ext uri="{FF2B5EF4-FFF2-40B4-BE49-F238E27FC236}">
                  <a16:creationId xmlns:a16="http://schemas.microsoft.com/office/drawing/2014/main" id="{92CB43F8-FE9A-4810-8DDC-6E96582F3B33}"/>
                </a:ext>
              </a:extLst>
            </p:cNvPr>
            <p:cNvSpPr/>
            <p:nvPr/>
          </p:nvSpPr>
          <p:spPr bwMode="gray">
            <a:xfrm>
              <a:off x="4875072" y="3645024"/>
              <a:ext cx="1387990" cy="813440"/>
            </a:xfrm>
            <a:custGeom>
              <a:avLst/>
              <a:gdLst>
                <a:gd name="connsiteX0" fmla="*/ 1387990 w 1387990"/>
                <a:gd name="connsiteY0" fmla="*/ 801851 h 813440"/>
                <a:gd name="connsiteX1" fmla="*/ 1357111 w 1387990"/>
                <a:gd name="connsiteY1" fmla="*/ 806564 h 813440"/>
                <a:gd name="connsiteX2" fmla="*/ 1220928 w 1387990"/>
                <a:gd name="connsiteY2" fmla="*/ 813440 h 813440"/>
                <a:gd name="connsiteX3" fmla="*/ 177023 w 1387990"/>
                <a:gd name="connsiteY3" fmla="*/ 0 h 813440"/>
                <a:gd name="connsiteX4" fmla="*/ 1141171 w 1387990"/>
                <a:gd name="connsiteY4" fmla="*/ 412980 h 813440"/>
                <a:gd name="connsiteX5" fmla="*/ 1220929 w 1387990"/>
                <a:gd name="connsiteY5" fmla="*/ 508467 h 813440"/>
                <a:gd name="connsiteX6" fmla="*/ 1187993 w 1387990"/>
                <a:gd name="connsiteY6" fmla="*/ 547898 h 813440"/>
                <a:gd name="connsiteX7" fmla="*/ 1093654 w 1387990"/>
                <a:gd name="connsiteY7" fmla="*/ 697057 h 813440"/>
                <a:gd name="connsiteX8" fmla="*/ 1043905 w 1387990"/>
                <a:gd name="connsiteY8" fmla="*/ 800330 h 813440"/>
                <a:gd name="connsiteX9" fmla="*/ 1053868 w 1387990"/>
                <a:gd name="connsiteY9" fmla="*/ 801851 h 813440"/>
                <a:gd name="connsiteX10" fmla="*/ 1034655 w 1387990"/>
                <a:gd name="connsiteY10" fmla="*/ 800518 h 813440"/>
                <a:gd name="connsiteX11" fmla="*/ 49749 w 1387990"/>
                <a:gd name="connsiteY11" fmla="*/ 116383 h 813440"/>
                <a:gd name="connsiteX12" fmla="*/ 0 w 1387990"/>
                <a:gd name="connsiteY12" fmla="*/ 13110 h 813440"/>
                <a:gd name="connsiteX13" fmla="*/ 40841 w 1387990"/>
                <a:gd name="connsiteY13" fmla="*/ 6877 h 813440"/>
                <a:gd name="connsiteX14" fmla="*/ 177023 w 1387990"/>
                <a:gd name="connsiteY14" fmla="*/ 0 h 813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7990" h="813440">
                  <a:moveTo>
                    <a:pt x="1387990" y="801851"/>
                  </a:moveTo>
                  <a:lnTo>
                    <a:pt x="1357111" y="806564"/>
                  </a:lnTo>
                  <a:cubicBezTo>
                    <a:pt x="1312335" y="811111"/>
                    <a:pt x="1266904" y="813440"/>
                    <a:pt x="1220928" y="813440"/>
                  </a:cubicBezTo>
                  <a:close/>
                  <a:moveTo>
                    <a:pt x="177023" y="0"/>
                  </a:moveTo>
                  <a:cubicBezTo>
                    <a:pt x="556322" y="0"/>
                    <a:pt x="898589" y="158546"/>
                    <a:pt x="1141171" y="412980"/>
                  </a:cubicBezTo>
                  <a:lnTo>
                    <a:pt x="1220929" y="508467"/>
                  </a:lnTo>
                  <a:lnTo>
                    <a:pt x="1187993" y="547898"/>
                  </a:lnTo>
                  <a:cubicBezTo>
                    <a:pt x="1153391" y="595341"/>
                    <a:pt x="1121848" y="645157"/>
                    <a:pt x="1093654" y="697057"/>
                  </a:cubicBezTo>
                  <a:lnTo>
                    <a:pt x="1043905" y="800330"/>
                  </a:lnTo>
                  <a:lnTo>
                    <a:pt x="1053868" y="801851"/>
                  </a:lnTo>
                  <a:lnTo>
                    <a:pt x="1034655" y="800518"/>
                  </a:lnTo>
                  <a:cubicBezTo>
                    <a:pt x="608573" y="740892"/>
                    <a:pt x="247105" y="479681"/>
                    <a:pt x="49749" y="116383"/>
                  </a:cubicBezTo>
                  <a:lnTo>
                    <a:pt x="0" y="13110"/>
                  </a:lnTo>
                  <a:lnTo>
                    <a:pt x="40841" y="6877"/>
                  </a:lnTo>
                  <a:cubicBezTo>
                    <a:pt x="85616" y="2330"/>
                    <a:pt x="131048" y="0"/>
                    <a:pt x="177023" y="0"/>
                  </a:cubicBez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Form 43">
              <a:extLst>
                <a:ext uri="{FF2B5EF4-FFF2-40B4-BE49-F238E27FC236}">
                  <a16:creationId xmlns:a16="http://schemas.microsoft.com/office/drawing/2014/main" id="{5FEBEB02-AF91-4390-A7D2-D2E55269C2C2}"/>
                </a:ext>
              </a:extLst>
            </p:cNvPr>
            <p:cNvSpPr/>
            <p:nvPr/>
          </p:nvSpPr>
          <p:spPr bwMode="gray">
            <a:xfrm>
              <a:off x="5918978" y="4153492"/>
              <a:ext cx="354047" cy="304973"/>
            </a:xfrm>
            <a:custGeom>
              <a:avLst/>
              <a:gdLst>
                <a:gd name="connsiteX0" fmla="*/ 177024 w 354047"/>
                <a:gd name="connsiteY0" fmla="*/ 0 h 304973"/>
                <a:gd name="connsiteX1" fmla="*/ 209959 w 354047"/>
                <a:gd name="connsiteY1" fmla="*/ 39431 h 304973"/>
                <a:gd name="connsiteX2" fmla="*/ 304298 w 354047"/>
                <a:gd name="connsiteY2" fmla="*/ 188590 h 304973"/>
                <a:gd name="connsiteX3" fmla="*/ 354047 w 354047"/>
                <a:gd name="connsiteY3" fmla="*/ 291863 h 304973"/>
                <a:gd name="connsiteX4" fmla="*/ 344085 w 354047"/>
                <a:gd name="connsiteY4" fmla="*/ 293384 h 304973"/>
                <a:gd name="connsiteX5" fmla="*/ 177023 w 354047"/>
                <a:gd name="connsiteY5" fmla="*/ 304973 h 304973"/>
                <a:gd name="connsiteX6" fmla="*/ 9963 w 354047"/>
                <a:gd name="connsiteY6" fmla="*/ 293384 h 304973"/>
                <a:gd name="connsiteX7" fmla="*/ 0 w 354047"/>
                <a:gd name="connsiteY7" fmla="*/ 291863 h 304973"/>
                <a:gd name="connsiteX8" fmla="*/ 49749 w 354047"/>
                <a:gd name="connsiteY8" fmla="*/ 188590 h 304973"/>
                <a:gd name="connsiteX9" fmla="*/ 144088 w 354047"/>
                <a:gd name="connsiteY9" fmla="*/ 39431 h 304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4047" h="304973">
                  <a:moveTo>
                    <a:pt x="177024" y="0"/>
                  </a:moveTo>
                  <a:lnTo>
                    <a:pt x="209959" y="39431"/>
                  </a:lnTo>
                  <a:cubicBezTo>
                    <a:pt x="244562" y="86874"/>
                    <a:pt x="276104" y="136690"/>
                    <a:pt x="304298" y="188590"/>
                  </a:cubicBezTo>
                  <a:lnTo>
                    <a:pt x="354047" y="291863"/>
                  </a:lnTo>
                  <a:lnTo>
                    <a:pt x="344085" y="293384"/>
                  </a:lnTo>
                  <a:lnTo>
                    <a:pt x="177023" y="304973"/>
                  </a:lnTo>
                  <a:lnTo>
                    <a:pt x="9963" y="293384"/>
                  </a:lnTo>
                  <a:lnTo>
                    <a:pt x="0" y="291863"/>
                  </a:lnTo>
                  <a:lnTo>
                    <a:pt x="49749" y="188590"/>
                  </a:lnTo>
                  <a:cubicBezTo>
                    <a:pt x="77943" y="136690"/>
                    <a:pt x="109486" y="86874"/>
                    <a:pt x="144088" y="39431"/>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Form 46">
              <a:extLst>
                <a:ext uri="{FF2B5EF4-FFF2-40B4-BE49-F238E27FC236}">
                  <a16:creationId xmlns:a16="http://schemas.microsoft.com/office/drawing/2014/main" id="{1B1A63C6-C8EE-437C-A1AD-33D10E12F413}"/>
                </a:ext>
              </a:extLst>
            </p:cNvPr>
            <p:cNvSpPr/>
            <p:nvPr/>
          </p:nvSpPr>
          <p:spPr bwMode="gray">
            <a:xfrm>
              <a:off x="5807968" y="4445355"/>
              <a:ext cx="576064" cy="1357289"/>
            </a:xfrm>
            <a:custGeom>
              <a:avLst/>
              <a:gdLst>
                <a:gd name="connsiteX0" fmla="*/ 111009 w 576064"/>
                <a:gd name="connsiteY0" fmla="*/ 0 h 1357289"/>
                <a:gd name="connsiteX1" fmla="*/ 151850 w 576064"/>
                <a:gd name="connsiteY1" fmla="*/ 6234 h 1357289"/>
                <a:gd name="connsiteX2" fmla="*/ 288032 w 576064"/>
                <a:gd name="connsiteY2" fmla="*/ 13110 h 1357289"/>
                <a:gd name="connsiteX3" fmla="*/ 464716 w 576064"/>
                <a:gd name="connsiteY3" fmla="*/ 854 h 1357289"/>
                <a:gd name="connsiteX4" fmla="*/ 471394 w 576064"/>
                <a:gd name="connsiteY4" fmla="*/ 13157 h 1357289"/>
                <a:gd name="connsiteX5" fmla="*/ 576064 w 576064"/>
                <a:gd name="connsiteY5" fmla="*/ 531607 h 1357289"/>
                <a:gd name="connsiteX6" fmla="*/ 348590 w 576064"/>
                <a:gd name="connsiteY6" fmla="*/ 1276306 h 1357289"/>
                <a:gd name="connsiteX7" fmla="*/ 288032 w 576064"/>
                <a:gd name="connsiteY7" fmla="*/ 1357289 h 1357289"/>
                <a:gd name="connsiteX8" fmla="*/ 227474 w 576064"/>
                <a:gd name="connsiteY8" fmla="*/ 1276306 h 1357289"/>
                <a:gd name="connsiteX9" fmla="*/ 0 w 576064"/>
                <a:gd name="connsiteY9" fmla="*/ 531607 h 1357289"/>
                <a:gd name="connsiteX10" fmla="*/ 104671 w 576064"/>
                <a:gd name="connsiteY10" fmla="*/ 13158 h 1357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6064" h="1357289">
                  <a:moveTo>
                    <a:pt x="111009" y="0"/>
                  </a:moveTo>
                  <a:lnTo>
                    <a:pt x="151850" y="6234"/>
                  </a:lnTo>
                  <a:cubicBezTo>
                    <a:pt x="196625" y="10781"/>
                    <a:pt x="242057" y="13110"/>
                    <a:pt x="288032" y="13110"/>
                  </a:cubicBezTo>
                  <a:lnTo>
                    <a:pt x="464716" y="854"/>
                  </a:lnTo>
                  <a:lnTo>
                    <a:pt x="471394" y="13157"/>
                  </a:lnTo>
                  <a:cubicBezTo>
                    <a:pt x="538794" y="172508"/>
                    <a:pt x="576064" y="347705"/>
                    <a:pt x="576064" y="531607"/>
                  </a:cubicBezTo>
                  <a:cubicBezTo>
                    <a:pt x="576064" y="807460"/>
                    <a:pt x="492205" y="1063727"/>
                    <a:pt x="348590" y="1276306"/>
                  </a:cubicBezTo>
                  <a:lnTo>
                    <a:pt x="288032" y="1357289"/>
                  </a:lnTo>
                  <a:lnTo>
                    <a:pt x="227474" y="1276306"/>
                  </a:lnTo>
                  <a:cubicBezTo>
                    <a:pt x="83859" y="1063727"/>
                    <a:pt x="0" y="807460"/>
                    <a:pt x="0" y="531607"/>
                  </a:cubicBezTo>
                  <a:cubicBezTo>
                    <a:pt x="0" y="347705"/>
                    <a:pt x="37271" y="172508"/>
                    <a:pt x="104671" y="13158"/>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Form 49">
              <a:extLst>
                <a:ext uri="{FF2B5EF4-FFF2-40B4-BE49-F238E27FC236}">
                  <a16:creationId xmlns:a16="http://schemas.microsoft.com/office/drawing/2014/main" id="{38D36252-89D1-4EE9-8B1F-C13ACE8AF6BC}"/>
                </a:ext>
              </a:extLst>
            </p:cNvPr>
            <p:cNvSpPr/>
            <p:nvPr/>
          </p:nvSpPr>
          <p:spPr bwMode="gray">
            <a:xfrm>
              <a:off x="5928941" y="3645024"/>
              <a:ext cx="1387989" cy="813440"/>
            </a:xfrm>
            <a:custGeom>
              <a:avLst/>
              <a:gdLst>
                <a:gd name="connsiteX0" fmla="*/ 0 w 1387989"/>
                <a:gd name="connsiteY0" fmla="*/ 801851 h 813440"/>
                <a:gd name="connsiteX1" fmla="*/ 167060 w 1387989"/>
                <a:gd name="connsiteY1" fmla="*/ 813440 h 813440"/>
                <a:gd name="connsiteX2" fmla="*/ 30878 w 1387989"/>
                <a:gd name="connsiteY2" fmla="*/ 806564 h 813440"/>
                <a:gd name="connsiteX3" fmla="*/ 1210965 w 1387989"/>
                <a:gd name="connsiteY3" fmla="*/ 0 h 813440"/>
                <a:gd name="connsiteX4" fmla="*/ 1347148 w 1387989"/>
                <a:gd name="connsiteY4" fmla="*/ 6877 h 813440"/>
                <a:gd name="connsiteX5" fmla="*/ 1387989 w 1387989"/>
                <a:gd name="connsiteY5" fmla="*/ 13110 h 813440"/>
                <a:gd name="connsiteX6" fmla="*/ 1338240 w 1387989"/>
                <a:gd name="connsiteY6" fmla="*/ 116383 h 813440"/>
                <a:gd name="connsiteX7" fmla="*/ 353333 w 1387989"/>
                <a:gd name="connsiteY7" fmla="*/ 800518 h 813440"/>
                <a:gd name="connsiteX8" fmla="*/ 334122 w 1387989"/>
                <a:gd name="connsiteY8" fmla="*/ 801851 h 813440"/>
                <a:gd name="connsiteX9" fmla="*/ 344084 w 1387989"/>
                <a:gd name="connsiteY9" fmla="*/ 800330 h 813440"/>
                <a:gd name="connsiteX10" fmla="*/ 294335 w 1387989"/>
                <a:gd name="connsiteY10" fmla="*/ 697057 h 813440"/>
                <a:gd name="connsiteX11" fmla="*/ 199996 w 1387989"/>
                <a:gd name="connsiteY11" fmla="*/ 547898 h 813440"/>
                <a:gd name="connsiteX12" fmla="*/ 167061 w 1387989"/>
                <a:gd name="connsiteY12" fmla="*/ 508467 h 813440"/>
                <a:gd name="connsiteX13" fmla="*/ 246818 w 1387989"/>
                <a:gd name="connsiteY13" fmla="*/ 412980 h 813440"/>
                <a:gd name="connsiteX14" fmla="*/ 1210965 w 1387989"/>
                <a:gd name="connsiteY14" fmla="*/ 0 h 813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7989" h="813440">
                  <a:moveTo>
                    <a:pt x="0" y="801851"/>
                  </a:moveTo>
                  <a:lnTo>
                    <a:pt x="167060" y="813440"/>
                  </a:lnTo>
                  <a:cubicBezTo>
                    <a:pt x="121085" y="813440"/>
                    <a:pt x="75653" y="811111"/>
                    <a:pt x="30878" y="806564"/>
                  </a:cubicBezTo>
                  <a:close/>
                  <a:moveTo>
                    <a:pt x="1210965" y="0"/>
                  </a:moveTo>
                  <a:cubicBezTo>
                    <a:pt x="1256941" y="0"/>
                    <a:pt x="1302372" y="2330"/>
                    <a:pt x="1347148" y="6877"/>
                  </a:cubicBezTo>
                  <a:lnTo>
                    <a:pt x="1387989" y="13110"/>
                  </a:lnTo>
                  <a:lnTo>
                    <a:pt x="1338240" y="116383"/>
                  </a:lnTo>
                  <a:cubicBezTo>
                    <a:pt x="1140884" y="479681"/>
                    <a:pt x="779417" y="740892"/>
                    <a:pt x="353333" y="800518"/>
                  </a:cubicBezTo>
                  <a:lnTo>
                    <a:pt x="334122" y="801851"/>
                  </a:lnTo>
                  <a:lnTo>
                    <a:pt x="344084" y="800330"/>
                  </a:lnTo>
                  <a:lnTo>
                    <a:pt x="294335" y="697057"/>
                  </a:lnTo>
                  <a:cubicBezTo>
                    <a:pt x="266141" y="645157"/>
                    <a:pt x="234599" y="595341"/>
                    <a:pt x="199996" y="547898"/>
                  </a:cubicBezTo>
                  <a:lnTo>
                    <a:pt x="167061" y="508467"/>
                  </a:lnTo>
                  <a:lnTo>
                    <a:pt x="246818" y="412980"/>
                  </a:lnTo>
                  <a:cubicBezTo>
                    <a:pt x="489400" y="158546"/>
                    <a:pt x="831668" y="0"/>
                    <a:pt x="1210965"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2" name="Gruppieren 51">
            <a:extLst>
              <a:ext uri="{FF2B5EF4-FFF2-40B4-BE49-F238E27FC236}">
                <a16:creationId xmlns:a16="http://schemas.microsoft.com/office/drawing/2014/main" id="{6E7E50E1-A6A4-40A6-BF8B-415F9A62B3B3}"/>
              </a:ext>
            </a:extLst>
          </p:cNvPr>
          <p:cNvGrpSpPr>
            <a:grpSpLocks noChangeAspect="1"/>
          </p:cNvGrpSpPr>
          <p:nvPr/>
        </p:nvGrpSpPr>
        <p:grpSpPr bwMode="gray">
          <a:xfrm>
            <a:off x="839416" y="1988840"/>
            <a:ext cx="720000" cy="684030"/>
            <a:chOff x="3720159" y="1794590"/>
            <a:chExt cx="4751683" cy="4514308"/>
          </a:xfrm>
        </p:grpSpPr>
        <p:sp>
          <p:nvSpPr>
            <p:cNvPr id="54" name="Freihandform: Form 53">
              <a:extLst>
                <a:ext uri="{FF2B5EF4-FFF2-40B4-BE49-F238E27FC236}">
                  <a16:creationId xmlns:a16="http://schemas.microsoft.com/office/drawing/2014/main" id="{959F029A-7C54-49AC-955A-CD97DA8A05A9}"/>
                </a:ext>
              </a:extLst>
            </p:cNvPr>
            <p:cNvSpPr/>
            <p:nvPr/>
          </p:nvSpPr>
          <p:spPr bwMode="gray">
            <a:xfrm>
              <a:off x="3720159" y="3658134"/>
              <a:ext cx="2553253" cy="2650764"/>
            </a:xfrm>
            <a:custGeom>
              <a:avLst/>
              <a:gdLst>
                <a:gd name="connsiteX0" fmla="*/ 2208783 w 2553253"/>
                <a:gd name="connsiteY0" fmla="*/ 788741 h 2650764"/>
                <a:gd name="connsiteX1" fmla="*/ 2375842 w 2553253"/>
                <a:gd name="connsiteY1" fmla="*/ 800330 h 2650764"/>
                <a:gd name="connsiteX2" fmla="*/ 2239660 w 2553253"/>
                <a:gd name="connsiteY2" fmla="*/ 793454 h 2650764"/>
                <a:gd name="connsiteX3" fmla="*/ 2552866 w 2553253"/>
                <a:gd name="connsiteY3" fmla="*/ 787220 h 2650764"/>
                <a:gd name="connsiteX4" fmla="*/ 2553253 w 2553253"/>
                <a:gd name="connsiteY4" fmla="*/ 788023 h 2650764"/>
                <a:gd name="connsiteX5" fmla="*/ 2542903 w 2553253"/>
                <a:gd name="connsiteY5" fmla="*/ 788741 h 2650764"/>
                <a:gd name="connsiteX6" fmla="*/ 1154914 w 2553253"/>
                <a:gd name="connsiteY6" fmla="*/ 0 h 2650764"/>
                <a:gd name="connsiteX7" fmla="*/ 1204663 w 2553253"/>
                <a:gd name="connsiteY7" fmla="*/ 103273 h 2650764"/>
                <a:gd name="connsiteX8" fmla="*/ 2189569 w 2553253"/>
                <a:gd name="connsiteY8" fmla="*/ 787408 h 2650764"/>
                <a:gd name="connsiteX9" fmla="*/ 2198433 w 2553253"/>
                <a:gd name="connsiteY9" fmla="*/ 788023 h 2650764"/>
                <a:gd name="connsiteX10" fmla="*/ 2192481 w 2553253"/>
                <a:gd name="connsiteY10" fmla="*/ 800378 h 2650764"/>
                <a:gd name="connsiteX11" fmla="*/ 2087810 w 2553253"/>
                <a:gd name="connsiteY11" fmla="*/ 1318827 h 2650764"/>
                <a:gd name="connsiteX12" fmla="*/ 2315284 w 2553253"/>
                <a:gd name="connsiteY12" fmla="*/ 2063526 h 2650764"/>
                <a:gd name="connsiteX13" fmla="*/ 2375842 w 2553253"/>
                <a:gd name="connsiteY13" fmla="*/ 2144509 h 2650764"/>
                <a:gd name="connsiteX14" fmla="*/ 2359724 w 2553253"/>
                <a:gd name="connsiteY14" fmla="*/ 2166063 h 2650764"/>
                <a:gd name="connsiteX15" fmla="*/ 1331937 w 2553253"/>
                <a:gd name="connsiteY15" fmla="*/ 2650764 h 2650764"/>
                <a:gd name="connsiteX16" fmla="*/ 0 w 2553253"/>
                <a:gd name="connsiteY16" fmla="*/ 1318827 h 2650764"/>
                <a:gd name="connsiteX17" fmla="*/ 1063506 w 2553253"/>
                <a:gd name="connsiteY17" fmla="*/ 13950 h 265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53253" h="2650764">
                  <a:moveTo>
                    <a:pt x="2208783" y="788741"/>
                  </a:moveTo>
                  <a:lnTo>
                    <a:pt x="2375842" y="800330"/>
                  </a:lnTo>
                  <a:cubicBezTo>
                    <a:pt x="2329867" y="800330"/>
                    <a:pt x="2284435" y="798001"/>
                    <a:pt x="2239660" y="793454"/>
                  </a:cubicBezTo>
                  <a:close/>
                  <a:moveTo>
                    <a:pt x="2552866" y="787220"/>
                  </a:moveTo>
                  <a:lnTo>
                    <a:pt x="2553253" y="788023"/>
                  </a:lnTo>
                  <a:lnTo>
                    <a:pt x="2542903" y="788741"/>
                  </a:lnTo>
                  <a:close/>
                  <a:moveTo>
                    <a:pt x="1154914" y="0"/>
                  </a:moveTo>
                  <a:lnTo>
                    <a:pt x="1204663" y="103273"/>
                  </a:lnTo>
                  <a:cubicBezTo>
                    <a:pt x="1402019" y="466571"/>
                    <a:pt x="1763487" y="727782"/>
                    <a:pt x="2189569" y="787408"/>
                  </a:cubicBezTo>
                  <a:lnTo>
                    <a:pt x="2198433" y="788023"/>
                  </a:lnTo>
                  <a:lnTo>
                    <a:pt x="2192481" y="800378"/>
                  </a:lnTo>
                  <a:cubicBezTo>
                    <a:pt x="2125081" y="959728"/>
                    <a:pt x="2087810" y="1134925"/>
                    <a:pt x="2087810" y="1318827"/>
                  </a:cubicBezTo>
                  <a:cubicBezTo>
                    <a:pt x="2087810" y="1594680"/>
                    <a:pt x="2171669" y="1850947"/>
                    <a:pt x="2315284" y="2063526"/>
                  </a:cubicBezTo>
                  <a:lnTo>
                    <a:pt x="2375842" y="2144509"/>
                  </a:lnTo>
                  <a:lnTo>
                    <a:pt x="2359724" y="2166063"/>
                  </a:lnTo>
                  <a:cubicBezTo>
                    <a:pt x="2115428" y="2462082"/>
                    <a:pt x="1745717" y="2650764"/>
                    <a:pt x="1331937" y="2650764"/>
                  </a:cubicBezTo>
                  <a:cubicBezTo>
                    <a:pt x="596329" y="2650764"/>
                    <a:pt x="0" y="2054435"/>
                    <a:pt x="0" y="1318827"/>
                  </a:cubicBezTo>
                  <a:cubicBezTo>
                    <a:pt x="0" y="675170"/>
                    <a:pt x="456565" y="138149"/>
                    <a:pt x="1063506" y="13950"/>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Freihandform: Form 54">
              <a:extLst>
                <a:ext uri="{FF2B5EF4-FFF2-40B4-BE49-F238E27FC236}">
                  <a16:creationId xmlns:a16="http://schemas.microsoft.com/office/drawing/2014/main" id="{8BF72118-6E85-40A6-A205-E44140A61D8A}"/>
                </a:ext>
              </a:extLst>
            </p:cNvPr>
            <p:cNvSpPr/>
            <p:nvPr/>
          </p:nvSpPr>
          <p:spPr bwMode="gray">
            <a:xfrm>
              <a:off x="4764063" y="1794590"/>
              <a:ext cx="2663874" cy="2650764"/>
            </a:xfrm>
            <a:custGeom>
              <a:avLst/>
              <a:gdLst>
                <a:gd name="connsiteX0" fmla="*/ 1331937 w 2663874"/>
                <a:gd name="connsiteY0" fmla="*/ 0 h 2650764"/>
                <a:gd name="connsiteX1" fmla="*/ 2663874 w 2663874"/>
                <a:gd name="connsiteY1" fmla="*/ 1331937 h 2650764"/>
                <a:gd name="connsiteX2" fmla="*/ 2583053 w 2663874"/>
                <a:gd name="connsiteY2" fmla="*/ 1789902 h 2650764"/>
                <a:gd name="connsiteX3" fmla="*/ 2549779 w 2663874"/>
                <a:gd name="connsiteY3" fmla="*/ 1869952 h 2650764"/>
                <a:gd name="connsiteX4" fmla="*/ 2517066 w 2663874"/>
                <a:gd name="connsiteY4" fmla="*/ 1937861 h 2650764"/>
                <a:gd name="connsiteX5" fmla="*/ 2496350 w 2663874"/>
                <a:gd name="connsiteY5" fmla="*/ 1977716 h 2650764"/>
                <a:gd name="connsiteX6" fmla="*/ 2423797 w 2663874"/>
                <a:gd name="connsiteY6" fmla="*/ 2094553 h 2650764"/>
                <a:gd name="connsiteX7" fmla="*/ 2411341 w 2663874"/>
                <a:gd name="connsiteY7" fmla="*/ 2111004 h 2650764"/>
                <a:gd name="connsiteX8" fmla="*/ 2346168 w 2663874"/>
                <a:gd name="connsiteY8" fmla="*/ 2193056 h 2650764"/>
                <a:gd name="connsiteX9" fmla="*/ 2208607 w 2663874"/>
                <a:gd name="connsiteY9" fmla="*/ 2333941 h 2650764"/>
                <a:gd name="connsiteX10" fmla="*/ 2185013 w 2663874"/>
                <a:gd name="connsiteY10" fmla="*/ 2352624 h 2650764"/>
                <a:gd name="connsiteX11" fmla="*/ 2046039 w 2663874"/>
                <a:gd name="connsiteY11" fmla="*/ 2453952 h 2650764"/>
                <a:gd name="connsiteX12" fmla="*/ 2001466 w 2663874"/>
                <a:gd name="connsiteY12" fmla="*/ 2481538 h 2650764"/>
                <a:gd name="connsiteX13" fmla="*/ 1821820 w 2663874"/>
                <a:gd name="connsiteY13" fmla="*/ 2570745 h 2650764"/>
                <a:gd name="connsiteX14" fmla="*/ 1689311 w 2663874"/>
                <a:gd name="connsiteY14" fmla="*/ 2614532 h 2650764"/>
                <a:gd name="connsiteX15" fmla="*/ 1650849 w 2663874"/>
                <a:gd name="connsiteY15" fmla="*/ 2624168 h 2650764"/>
                <a:gd name="connsiteX16" fmla="*/ 1550638 w 2663874"/>
                <a:gd name="connsiteY16" fmla="*/ 2644404 h 2650764"/>
                <a:gd name="connsiteX17" fmla="*/ 1508961 w 2663874"/>
                <a:gd name="connsiteY17" fmla="*/ 2650764 h 2650764"/>
                <a:gd name="connsiteX18" fmla="*/ 1459212 w 2663874"/>
                <a:gd name="connsiteY18" fmla="*/ 2547491 h 2650764"/>
                <a:gd name="connsiteX19" fmla="*/ 288032 w 2663874"/>
                <a:gd name="connsiteY19" fmla="*/ 1850434 h 2650764"/>
                <a:gd name="connsiteX20" fmla="*/ 151850 w 2663874"/>
                <a:gd name="connsiteY20" fmla="*/ 1857311 h 2650764"/>
                <a:gd name="connsiteX21" fmla="*/ 111009 w 2663874"/>
                <a:gd name="connsiteY21" fmla="*/ 1863544 h 2650764"/>
                <a:gd name="connsiteX22" fmla="*/ 104671 w 2663874"/>
                <a:gd name="connsiteY22" fmla="*/ 1850387 h 2650764"/>
                <a:gd name="connsiteX23" fmla="*/ 0 w 2663874"/>
                <a:gd name="connsiteY23" fmla="*/ 1331937 h 2650764"/>
                <a:gd name="connsiteX24" fmla="*/ 1331937 w 2663874"/>
                <a:gd name="connsiteY24" fmla="*/ 0 h 265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63874" h="2650764">
                  <a:moveTo>
                    <a:pt x="1331937" y="0"/>
                  </a:moveTo>
                  <a:cubicBezTo>
                    <a:pt x="2067545" y="0"/>
                    <a:pt x="2663874" y="596329"/>
                    <a:pt x="2663874" y="1331937"/>
                  </a:cubicBezTo>
                  <a:cubicBezTo>
                    <a:pt x="2663874" y="1492851"/>
                    <a:pt x="2635339" y="1647101"/>
                    <a:pt x="2583053" y="1789902"/>
                  </a:cubicBezTo>
                  <a:lnTo>
                    <a:pt x="2549779" y="1869952"/>
                  </a:lnTo>
                  <a:lnTo>
                    <a:pt x="2517066" y="1937861"/>
                  </a:lnTo>
                  <a:lnTo>
                    <a:pt x="2496350" y="1977716"/>
                  </a:lnTo>
                  <a:lnTo>
                    <a:pt x="2423797" y="2094553"/>
                  </a:lnTo>
                  <a:lnTo>
                    <a:pt x="2411341" y="2111004"/>
                  </a:lnTo>
                  <a:lnTo>
                    <a:pt x="2346168" y="2193056"/>
                  </a:lnTo>
                  <a:lnTo>
                    <a:pt x="2208607" y="2333941"/>
                  </a:lnTo>
                  <a:lnTo>
                    <a:pt x="2185013" y="2352624"/>
                  </a:lnTo>
                  <a:lnTo>
                    <a:pt x="2046039" y="2453952"/>
                  </a:lnTo>
                  <a:lnTo>
                    <a:pt x="2001466" y="2481538"/>
                  </a:lnTo>
                  <a:lnTo>
                    <a:pt x="1821820" y="2570745"/>
                  </a:lnTo>
                  <a:lnTo>
                    <a:pt x="1689311" y="2614532"/>
                  </a:lnTo>
                  <a:lnTo>
                    <a:pt x="1650849" y="2624168"/>
                  </a:lnTo>
                  <a:lnTo>
                    <a:pt x="1550638" y="2644404"/>
                  </a:lnTo>
                  <a:lnTo>
                    <a:pt x="1508961" y="2650764"/>
                  </a:lnTo>
                  <a:lnTo>
                    <a:pt x="1459212" y="2547491"/>
                  </a:lnTo>
                  <a:cubicBezTo>
                    <a:pt x="1233662" y="2132293"/>
                    <a:pt x="793763" y="1850434"/>
                    <a:pt x="288032" y="1850434"/>
                  </a:cubicBezTo>
                  <a:cubicBezTo>
                    <a:pt x="242057" y="1850434"/>
                    <a:pt x="196625" y="1852764"/>
                    <a:pt x="151850" y="1857311"/>
                  </a:cubicBezTo>
                  <a:lnTo>
                    <a:pt x="111009" y="1863544"/>
                  </a:lnTo>
                  <a:lnTo>
                    <a:pt x="104671" y="1850387"/>
                  </a:lnTo>
                  <a:cubicBezTo>
                    <a:pt x="37271" y="1691036"/>
                    <a:pt x="0" y="1515839"/>
                    <a:pt x="0" y="1331937"/>
                  </a:cubicBezTo>
                  <a:cubicBezTo>
                    <a:pt x="0" y="596329"/>
                    <a:pt x="596329" y="0"/>
                    <a:pt x="1331937" y="0"/>
                  </a:cubicBez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Ellipse 56">
              <a:extLst>
                <a:ext uri="{FF2B5EF4-FFF2-40B4-BE49-F238E27FC236}">
                  <a16:creationId xmlns:a16="http://schemas.microsoft.com/office/drawing/2014/main" id="{9E3C3C70-A182-4539-A1E7-7DC62543983D}"/>
                </a:ext>
              </a:extLst>
            </p:cNvPr>
            <p:cNvSpPr/>
            <p:nvPr/>
          </p:nvSpPr>
          <p:spPr bwMode="gray">
            <a:xfrm>
              <a:off x="5807968" y="3645024"/>
              <a:ext cx="2663874" cy="2663874"/>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Freihandform: Form 57">
              <a:extLst>
                <a:ext uri="{FF2B5EF4-FFF2-40B4-BE49-F238E27FC236}">
                  <a16:creationId xmlns:a16="http://schemas.microsoft.com/office/drawing/2014/main" id="{5F2024AE-9C1B-4A05-9EFE-7A8738C7FB02}"/>
                </a:ext>
              </a:extLst>
            </p:cNvPr>
            <p:cNvSpPr/>
            <p:nvPr/>
          </p:nvSpPr>
          <p:spPr bwMode="gray">
            <a:xfrm>
              <a:off x="6096000" y="3658134"/>
              <a:ext cx="2375842" cy="2650764"/>
            </a:xfrm>
            <a:custGeom>
              <a:avLst/>
              <a:gdLst>
                <a:gd name="connsiteX0" fmla="*/ 1220929 w 2375842"/>
                <a:gd name="connsiteY0" fmla="*/ 0 h 2650764"/>
                <a:gd name="connsiteX1" fmla="*/ 1312337 w 2375842"/>
                <a:gd name="connsiteY1" fmla="*/ 13950 h 2650764"/>
                <a:gd name="connsiteX2" fmla="*/ 2375842 w 2375842"/>
                <a:gd name="connsiteY2" fmla="*/ 1318827 h 2650764"/>
                <a:gd name="connsiteX3" fmla="*/ 1043905 w 2375842"/>
                <a:gd name="connsiteY3" fmla="*/ 2650764 h 2650764"/>
                <a:gd name="connsiteX4" fmla="*/ 16118 w 2375842"/>
                <a:gd name="connsiteY4" fmla="*/ 2166063 h 2650764"/>
                <a:gd name="connsiteX5" fmla="*/ 0 w 2375842"/>
                <a:gd name="connsiteY5" fmla="*/ 2144509 h 2650764"/>
                <a:gd name="connsiteX6" fmla="*/ 60558 w 2375842"/>
                <a:gd name="connsiteY6" fmla="*/ 2063526 h 2650764"/>
                <a:gd name="connsiteX7" fmla="*/ 288032 w 2375842"/>
                <a:gd name="connsiteY7" fmla="*/ 1318827 h 2650764"/>
                <a:gd name="connsiteX8" fmla="*/ 183362 w 2375842"/>
                <a:gd name="connsiteY8" fmla="*/ 800377 h 2650764"/>
                <a:gd name="connsiteX9" fmla="*/ 176684 w 2375842"/>
                <a:gd name="connsiteY9" fmla="*/ 788074 h 2650764"/>
                <a:gd name="connsiteX10" fmla="*/ 186273 w 2375842"/>
                <a:gd name="connsiteY10" fmla="*/ 787408 h 2650764"/>
                <a:gd name="connsiteX11" fmla="*/ 1171180 w 2375842"/>
                <a:gd name="connsiteY11" fmla="*/ 103273 h 265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5842" h="2650764">
                  <a:moveTo>
                    <a:pt x="1220929" y="0"/>
                  </a:moveTo>
                  <a:lnTo>
                    <a:pt x="1312337" y="13950"/>
                  </a:lnTo>
                  <a:cubicBezTo>
                    <a:pt x="1919278" y="138149"/>
                    <a:pt x="2375842" y="675170"/>
                    <a:pt x="2375842" y="1318827"/>
                  </a:cubicBezTo>
                  <a:cubicBezTo>
                    <a:pt x="2375842" y="2054435"/>
                    <a:pt x="1779513" y="2650764"/>
                    <a:pt x="1043905" y="2650764"/>
                  </a:cubicBezTo>
                  <a:cubicBezTo>
                    <a:pt x="630126" y="2650764"/>
                    <a:pt x="260415" y="2462082"/>
                    <a:pt x="16118" y="2166063"/>
                  </a:cubicBezTo>
                  <a:lnTo>
                    <a:pt x="0" y="2144509"/>
                  </a:lnTo>
                  <a:lnTo>
                    <a:pt x="60558" y="2063526"/>
                  </a:lnTo>
                  <a:cubicBezTo>
                    <a:pt x="204173" y="1850947"/>
                    <a:pt x="288032" y="1594680"/>
                    <a:pt x="288032" y="1318827"/>
                  </a:cubicBezTo>
                  <a:cubicBezTo>
                    <a:pt x="288032" y="1134925"/>
                    <a:pt x="250762" y="959728"/>
                    <a:pt x="183362" y="800377"/>
                  </a:cubicBezTo>
                  <a:lnTo>
                    <a:pt x="176684" y="788074"/>
                  </a:lnTo>
                  <a:lnTo>
                    <a:pt x="186273" y="787408"/>
                  </a:lnTo>
                  <a:cubicBezTo>
                    <a:pt x="612357" y="727782"/>
                    <a:pt x="973824" y="466571"/>
                    <a:pt x="1171180" y="103273"/>
                  </a:cubicBez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Freihandform: Form 58">
              <a:extLst>
                <a:ext uri="{FF2B5EF4-FFF2-40B4-BE49-F238E27FC236}">
                  <a16:creationId xmlns:a16="http://schemas.microsoft.com/office/drawing/2014/main" id="{C9575E20-97B7-4BCE-94A7-5AF4940A5807}"/>
                </a:ext>
              </a:extLst>
            </p:cNvPr>
            <p:cNvSpPr/>
            <p:nvPr/>
          </p:nvSpPr>
          <p:spPr bwMode="gray">
            <a:xfrm>
              <a:off x="5928941" y="3645024"/>
              <a:ext cx="1387989" cy="813440"/>
            </a:xfrm>
            <a:custGeom>
              <a:avLst/>
              <a:gdLst>
                <a:gd name="connsiteX0" fmla="*/ 0 w 1387989"/>
                <a:gd name="connsiteY0" fmla="*/ 801851 h 813440"/>
                <a:gd name="connsiteX1" fmla="*/ 167060 w 1387989"/>
                <a:gd name="connsiteY1" fmla="*/ 813440 h 813440"/>
                <a:gd name="connsiteX2" fmla="*/ 30878 w 1387989"/>
                <a:gd name="connsiteY2" fmla="*/ 806564 h 813440"/>
                <a:gd name="connsiteX3" fmla="*/ 1210965 w 1387989"/>
                <a:gd name="connsiteY3" fmla="*/ 0 h 813440"/>
                <a:gd name="connsiteX4" fmla="*/ 1347148 w 1387989"/>
                <a:gd name="connsiteY4" fmla="*/ 6877 h 813440"/>
                <a:gd name="connsiteX5" fmla="*/ 1387989 w 1387989"/>
                <a:gd name="connsiteY5" fmla="*/ 13110 h 813440"/>
                <a:gd name="connsiteX6" fmla="*/ 1338240 w 1387989"/>
                <a:gd name="connsiteY6" fmla="*/ 116383 h 813440"/>
                <a:gd name="connsiteX7" fmla="*/ 353333 w 1387989"/>
                <a:gd name="connsiteY7" fmla="*/ 800518 h 813440"/>
                <a:gd name="connsiteX8" fmla="*/ 334122 w 1387989"/>
                <a:gd name="connsiteY8" fmla="*/ 801851 h 813440"/>
                <a:gd name="connsiteX9" fmla="*/ 344084 w 1387989"/>
                <a:gd name="connsiteY9" fmla="*/ 800330 h 813440"/>
                <a:gd name="connsiteX10" fmla="*/ 294335 w 1387989"/>
                <a:gd name="connsiteY10" fmla="*/ 697057 h 813440"/>
                <a:gd name="connsiteX11" fmla="*/ 199996 w 1387989"/>
                <a:gd name="connsiteY11" fmla="*/ 547898 h 813440"/>
                <a:gd name="connsiteX12" fmla="*/ 167061 w 1387989"/>
                <a:gd name="connsiteY12" fmla="*/ 508467 h 813440"/>
                <a:gd name="connsiteX13" fmla="*/ 246818 w 1387989"/>
                <a:gd name="connsiteY13" fmla="*/ 412980 h 813440"/>
                <a:gd name="connsiteX14" fmla="*/ 1210965 w 1387989"/>
                <a:gd name="connsiteY14" fmla="*/ 0 h 813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7989" h="813440">
                  <a:moveTo>
                    <a:pt x="0" y="801851"/>
                  </a:moveTo>
                  <a:lnTo>
                    <a:pt x="167060" y="813440"/>
                  </a:lnTo>
                  <a:cubicBezTo>
                    <a:pt x="121085" y="813440"/>
                    <a:pt x="75653" y="811111"/>
                    <a:pt x="30878" y="806564"/>
                  </a:cubicBezTo>
                  <a:close/>
                  <a:moveTo>
                    <a:pt x="1210965" y="0"/>
                  </a:moveTo>
                  <a:cubicBezTo>
                    <a:pt x="1256941" y="0"/>
                    <a:pt x="1302372" y="2330"/>
                    <a:pt x="1347148" y="6877"/>
                  </a:cubicBezTo>
                  <a:lnTo>
                    <a:pt x="1387989" y="13110"/>
                  </a:lnTo>
                  <a:lnTo>
                    <a:pt x="1338240" y="116383"/>
                  </a:lnTo>
                  <a:cubicBezTo>
                    <a:pt x="1140884" y="479681"/>
                    <a:pt x="779417" y="740892"/>
                    <a:pt x="353333" y="800518"/>
                  </a:cubicBezTo>
                  <a:lnTo>
                    <a:pt x="334122" y="801851"/>
                  </a:lnTo>
                  <a:lnTo>
                    <a:pt x="344084" y="800330"/>
                  </a:lnTo>
                  <a:lnTo>
                    <a:pt x="294335" y="697057"/>
                  </a:lnTo>
                  <a:cubicBezTo>
                    <a:pt x="266141" y="645157"/>
                    <a:pt x="234599" y="595341"/>
                    <a:pt x="199996" y="547898"/>
                  </a:cubicBezTo>
                  <a:lnTo>
                    <a:pt x="167061" y="508467"/>
                  </a:lnTo>
                  <a:lnTo>
                    <a:pt x="246818" y="412980"/>
                  </a:lnTo>
                  <a:cubicBezTo>
                    <a:pt x="489400" y="158546"/>
                    <a:pt x="831668" y="0"/>
                    <a:pt x="1210965" y="0"/>
                  </a:cubicBez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Freihandform: Form 55">
              <a:extLst>
                <a:ext uri="{FF2B5EF4-FFF2-40B4-BE49-F238E27FC236}">
                  <a16:creationId xmlns:a16="http://schemas.microsoft.com/office/drawing/2014/main" id="{E6F8FFD0-4E6E-49EB-8E13-30F62B98BBB4}"/>
                </a:ext>
              </a:extLst>
            </p:cNvPr>
            <p:cNvSpPr/>
            <p:nvPr/>
          </p:nvSpPr>
          <p:spPr bwMode="gray">
            <a:xfrm>
              <a:off x="5807968" y="4445355"/>
              <a:ext cx="576064" cy="1357289"/>
            </a:xfrm>
            <a:custGeom>
              <a:avLst/>
              <a:gdLst>
                <a:gd name="connsiteX0" fmla="*/ 111009 w 576064"/>
                <a:gd name="connsiteY0" fmla="*/ 0 h 1357289"/>
                <a:gd name="connsiteX1" fmla="*/ 151850 w 576064"/>
                <a:gd name="connsiteY1" fmla="*/ 6234 h 1357289"/>
                <a:gd name="connsiteX2" fmla="*/ 288032 w 576064"/>
                <a:gd name="connsiteY2" fmla="*/ 13110 h 1357289"/>
                <a:gd name="connsiteX3" fmla="*/ 464716 w 576064"/>
                <a:gd name="connsiteY3" fmla="*/ 854 h 1357289"/>
                <a:gd name="connsiteX4" fmla="*/ 471394 w 576064"/>
                <a:gd name="connsiteY4" fmla="*/ 13157 h 1357289"/>
                <a:gd name="connsiteX5" fmla="*/ 576064 w 576064"/>
                <a:gd name="connsiteY5" fmla="*/ 531607 h 1357289"/>
                <a:gd name="connsiteX6" fmla="*/ 348590 w 576064"/>
                <a:gd name="connsiteY6" fmla="*/ 1276306 h 1357289"/>
                <a:gd name="connsiteX7" fmla="*/ 288032 w 576064"/>
                <a:gd name="connsiteY7" fmla="*/ 1357289 h 1357289"/>
                <a:gd name="connsiteX8" fmla="*/ 227474 w 576064"/>
                <a:gd name="connsiteY8" fmla="*/ 1276306 h 1357289"/>
                <a:gd name="connsiteX9" fmla="*/ 0 w 576064"/>
                <a:gd name="connsiteY9" fmla="*/ 531607 h 1357289"/>
                <a:gd name="connsiteX10" fmla="*/ 104671 w 576064"/>
                <a:gd name="connsiteY10" fmla="*/ 13158 h 1357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6064" h="1357289">
                  <a:moveTo>
                    <a:pt x="111009" y="0"/>
                  </a:moveTo>
                  <a:lnTo>
                    <a:pt x="151850" y="6234"/>
                  </a:lnTo>
                  <a:cubicBezTo>
                    <a:pt x="196625" y="10781"/>
                    <a:pt x="242057" y="13110"/>
                    <a:pt x="288032" y="13110"/>
                  </a:cubicBezTo>
                  <a:lnTo>
                    <a:pt x="464716" y="854"/>
                  </a:lnTo>
                  <a:lnTo>
                    <a:pt x="471394" y="13157"/>
                  </a:lnTo>
                  <a:cubicBezTo>
                    <a:pt x="538794" y="172508"/>
                    <a:pt x="576064" y="347705"/>
                    <a:pt x="576064" y="531607"/>
                  </a:cubicBezTo>
                  <a:cubicBezTo>
                    <a:pt x="576064" y="807460"/>
                    <a:pt x="492205" y="1063727"/>
                    <a:pt x="348590" y="1276306"/>
                  </a:cubicBezTo>
                  <a:lnTo>
                    <a:pt x="288032" y="1357289"/>
                  </a:lnTo>
                  <a:lnTo>
                    <a:pt x="227474" y="1276306"/>
                  </a:lnTo>
                  <a:cubicBezTo>
                    <a:pt x="83859" y="1063727"/>
                    <a:pt x="0" y="807460"/>
                    <a:pt x="0" y="531607"/>
                  </a:cubicBezTo>
                  <a:cubicBezTo>
                    <a:pt x="0" y="347705"/>
                    <a:pt x="37271" y="172508"/>
                    <a:pt x="104671" y="13158"/>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Freihandform: Form 59">
              <a:extLst>
                <a:ext uri="{FF2B5EF4-FFF2-40B4-BE49-F238E27FC236}">
                  <a16:creationId xmlns:a16="http://schemas.microsoft.com/office/drawing/2014/main" id="{38AF8BEA-23BE-4A32-8643-B17FCACAFBA0}"/>
                </a:ext>
              </a:extLst>
            </p:cNvPr>
            <p:cNvSpPr/>
            <p:nvPr/>
          </p:nvSpPr>
          <p:spPr bwMode="gray">
            <a:xfrm>
              <a:off x="4875072" y="3645024"/>
              <a:ext cx="1387990" cy="813440"/>
            </a:xfrm>
            <a:custGeom>
              <a:avLst/>
              <a:gdLst>
                <a:gd name="connsiteX0" fmla="*/ 1387990 w 1387990"/>
                <a:gd name="connsiteY0" fmla="*/ 801851 h 813440"/>
                <a:gd name="connsiteX1" fmla="*/ 1357111 w 1387990"/>
                <a:gd name="connsiteY1" fmla="*/ 806564 h 813440"/>
                <a:gd name="connsiteX2" fmla="*/ 1220928 w 1387990"/>
                <a:gd name="connsiteY2" fmla="*/ 813440 h 813440"/>
                <a:gd name="connsiteX3" fmla="*/ 177023 w 1387990"/>
                <a:gd name="connsiteY3" fmla="*/ 0 h 813440"/>
                <a:gd name="connsiteX4" fmla="*/ 1141171 w 1387990"/>
                <a:gd name="connsiteY4" fmla="*/ 412980 h 813440"/>
                <a:gd name="connsiteX5" fmla="*/ 1220929 w 1387990"/>
                <a:gd name="connsiteY5" fmla="*/ 508467 h 813440"/>
                <a:gd name="connsiteX6" fmla="*/ 1187993 w 1387990"/>
                <a:gd name="connsiteY6" fmla="*/ 547898 h 813440"/>
                <a:gd name="connsiteX7" fmla="*/ 1093654 w 1387990"/>
                <a:gd name="connsiteY7" fmla="*/ 697057 h 813440"/>
                <a:gd name="connsiteX8" fmla="*/ 1043905 w 1387990"/>
                <a:gd name="connsiteY8" fmla="*/ 800330 h 813440"/>
                <a:gd name="connsiteX9" fmla="*/ 1053868 w 1387990"/>
                <a:gd name="connsiteY9" fmla="*/ 801851 h 813440"/>
                <a:gd name="connsiteX10" fmla="*/ 1034655 w 1387990"/>
                <a:gd name="connsiteY10" fmla="*/ 800518 h 813440"/>
                <a:gd name="connsiteX11" fmla="*/ 49749 w 1387990"/>
                <a:gd name="connsiteY11" fmla="*/ 116383 h 813440"/>
                <a:gd name="connsiteX12" fmla="*/ 0 w 1387990"/>
                <a:gd name="connsiteY12" fmla="*/ 13110 h 813440"/>
                <a:gd name="connsiteX13" fmla="*/ 40841 w 1387990"/>
                <a:gd name="connsiteY13" fmla="*/ 6877 h 813440"/>
                <a:gd name="connsiteX14" fmla="*/ 177023 w 1387990"/>
                <a:gd name="connsiteY14" fmla="*/ 0 h 813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7990" h="813440">
                  <a:moveTo>
                    <a:pt x="1387990" y="801851"/>
                  </a:moveTo>
                  <a:lnTo>
                    <a:pt x="1357111" y="806564"/>
                  </a:lnTo>
                  <a:cubicBezTo>
                    <a:pt x="1312335" y="811111"/>
                    <a:pt x="1266904" y="813440"/>
                    <a:pt x="1220928" y="813440"/>
                  </a:cubicBezTo>
                  <a:close/>
                  <a:moveTo>
                    <a:pt x="177023" y="0"/>
                  </a:moveTo>
                  <a:cubicBezTo>
                    <a:pt x="556322" y="0"/>
                    <a:pt x="898589" y="158546"/>
                    <a:pt x="1141171" y="412980"/>
                  </a:cubicBezTo>
                  <a:lnTo>
                    <a:pt x="1220929" y="508467"/>
                  </a:lnTo>
                  <a:lnTo>
                    <a:pt x="1187993" y="547898"/>
                  </a:lnTo>
                  <a:cubicBezTo>
                    <a:pt x="1153391" y="595341"/>
                    <a:pt x="1121848" y="645157"/>
                    <a:pt x="1093654" y="697057"/>
                  </a:cubicBezTo>
                  <a:lnTo>
                    <a:pt x="1043905" y="800330"/>
                  </a:lnTo>
                  <a:lnTo>
                    <a:pt x="1053868" y="801851"/>
                  </a:lnTo>
                  <a:lnTo>
                    <a:pt x="1034655" y="800518"/>
                  </a:lnTo>
                  <a:cubicBezTo>
                    <a:pt x="608573" y="740892"/>
                    <a:pt x="247105" y="479681"/>
                    <a:pt x="49749" y="116383"/>
                  </a:cubicBezTo>
                  <a:lnTo>
                    <a:pt x="0" y="13110"/>
                  </a:lnTo>
                  <a:lnTo>
                    <a:pt x="40841" y="6877"/>
                  </a:lnTo>
                  <a:cubicBezTo>
                    <a:pt x="85616" y="2330"/>
                    <a:pt x="131048" y="0"/>
                    <a:pt x="177023"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Freihandform: Form 52">
              <a:extLst>
                <a:ext uri="{FF2B5EF4-FFF2-40B4-BE49-F238E27FC236}">
                  <a16:creationId xmlns:a16="http://schemas.microsoft.com/office/drawing/2014/main" id="{A3775DBC-1C00-48FA-98F0-C6C4558A0B69}"/>
                </a:ext>
              </a:extLst>
            </p:cNvPr>
            <p:cNvSpPr/>
            <p:nvPr/>
          </p:nvSpPr>
          <p:spPr bwMode="gray">
            <a:xfrm>
              <a:off x="5918978" y="4153492"/>
              <a:ext cx="354047" cy="304973"/>
            </a:xfrm>
            <a:custGeom>
              <a:avLst/>
              <a:gdLst>
                <a:gd name="connsiteX0" fmla="*/ 177024 w 354047"/>
                <a:gd name="connsiteY0" fmla="*/ 0 h 304973"/>
                <a:gd name="connsiteX1" fmla="*/ 209959 w 354047"/>
                <a:gd name="connsiteY1" fmla="*/ 39431 h 304973"/>
                <a:gd name="connsiteX2" fmla="*/ 304298 w 354047"/>
                <a:gd name="connsiteY2" fmla="*/ 188590 h 304973"/>
                <a:gd name="connsiteX3" fmla="*/ 354047 w 354047"/>
                <a:gd name="connsiteY3" fmla="*/ 291863 h 304973"/>
                <a:gd name="connsiteX4" fmla="*/ 344085 w 354047"/>
                <a:gd name="connsiteY4" fmla="*/ 293384 h 304973"/>
                <a:gd name="connsiteX5" fmla="*/ 177023 w 354047"/>
                <a:gd name="connsiteY5" fmla="*/ 304973 h 304973"/>
                <a:gd name="connsiteX6" fmla="*/ 9963 w 354047"/>
                <a:gd name="connsiteY6" fmla="*/ 293384 h 304973"/>
                <a:gd name="connsiteX7" fmla="*/ 0 w 354047"/>
                <a:gd name="connsiteY7" fmla="*/ 291863 h 304973"/>
                <a:gd name="connsiteX8" fmla="*/ 49749 w 354047"/>
                <a:gd name="connsiteY8" fmla="*/ 188590 h 304973"/>
                <a:gd name="connsiteX9" fmla="*/ 144088 w 354047"/>
                <a:gd name="connsiteY9" fmla="*/ 39431 h 304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4047" h="304973">
                  <a:moveTo>
                    <a:pt x="177024" y="0"/>
                  </a:moveTo>
                  <a:lnTo>
                    <a:pt x="209959" y="39431"/>
                  </a:lnTo>
                  <a:cubicBezTo>
                    <a:pt x="244562" y="86874"/>
                    <a:pt x="276104" y="136690"/>
                    <a:pt x="304298" y="188590"/>
                  </a:cubicBezTo>
                  <a:lnTo>
                    <a:pt x="354047" y="291863"/>
                  </a:lnTo>
                  <a:lnTo>
                    <a:pt x="344085" y="293384"/>
                  </a:lnTo>
                  <a:lnTo>
                    <a:pt x="177023" y="304973"/>
                  </a:lnTo>
                  <a:lnTo>
                    <a:pt x="9963" y="293384"/>
                  </a:lnTo>
                  <a:lnTo>
                    <a:pt x="0" y="291863"/>
                  </a:lnTo>
                  <a:lnTo>
                    <a:pt x="49749" y="188590"/>
                  </a:lnTo>
                  <a:cubicBezTo>
                    <a:pt x="77943" y="136690"/>
                    <a:pt x="109486" y="86874"/>
                    <a:pt x="144088" y="39431"/>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8" name="Textplatzhalter 15">
            <a:extLst>
              <a:ext uri="{FF2B5EF4-FFF2-40B4-BE49-F238E27FC236}">
                <a16:creationId xmlns:a16="http://schemas.microsoft.com/office/drawing/2014/main" id="{E0233265-6DD4-42CC-9079-92D9B3F01248}"/>
              </a:ext>
            </a:extLst>
          </p:cNvPr>
          <p:cNvSpPr txBox="1">
            <a:spLocks/>
          </p:cNvSpPr>
          <p:nvPr/>
        </p:nvSpPr>
        <p:spPr bwMode="gray">
          <a:xfrm>
            <a:off x="8184608" y="2852935"/>
            <a:ext cx="3384000" cy="3455789"/>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Aft>
                <a:spcPts val="600"/>
              </a:spcAft>
            </a:pPr>
            <a:r>
              <a:rPr lang="en-US" dirty="0"/>
              <a:t>Lorem ipsum dolor sit amet, consectetuer adipiscing elit.</a:t>
            </a:r>
          </a:p>
          <a:p>
            <a:pPr lvl="1"/>
            <a:r>
              <a:rPr lang="en-US" dirty="0"/>
              <a:t>Maecenas porttitor congue massa.</a:t>
            </a:r>
            <a:br>
              <a:rPr lang="en-US" dirty="0"/>
            </a:br>
            <a:r>
              <a:rPr lang="en-US" dirty="0"/>
              <a:t>Fusce posuere, magna sed pulvinar.</a:t>
            </a:r>
          </a:p>
          <a:p>
            <a:pPr lvl="2"/>
            <a:r>
              <a:rPr lang="en-US" dirty="0"/>
              <a:t>Lorem ipsum dolor sit amet, consectetuer adipiscing elit</a:t>
            </a:r>
          </a:p>
          <a:p>
            <a:pPr lvl="2"/>
            <a:r>
              <a:rPr lang="en-US" dirty="0"/>
              <a:t>Maecenas porttitor congue massa. Fusce posuere, magna sed pulvinar</a:t>
            </a:r>
          </a:p>
          <a:p>
            <a:pPr lvl="2"/>
            <a:r>
              <a:rPr lang="en-US" dirty="0"/>
              <a:t>Nunc viverra imperdiet enim. Fusce est. Vivamus a tellus</a:t>
            </a:r>
          </a:p>
        </p:txBody>
      </p:sp>
      <p:sp>
        <p:nvSpPr>
          <p:cNvPr id="69" name="Textplatzhalter 15">
            <a:extLst>
              <a:ext uri="{FF2B5EF4-FFF2-40B4-BE49-F238E27FC236}">
                <a16:creationId xmlns:a16="http://schemas.microsoft.com/office/drawing/2014/main" id="{45BBFE1D-8794-45A8-A204-71B01E8FB966}"/>
              </a:ext>
            </a:extLst>
          </p:cNvPr>
          <p:cNvSpPr txBox="1">
            <a:spLocks/>
          </p:cNvSpPr>
          <p:nvPr/>
        </p:nvSpPr>
        <p:spPr bwMode="gray">
          <a:xfrm>
            <a:off x="4440200" y="3573296"/>
            <a:ext cx="3312000" cy="2736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Aft>
                <a:spcPts val="600"/>
              </a:spcAft>
            </a:pPr>
            <a:r>
              <a:rPr lang="en-US" dirty="0"/>
              <a:t>Lorem ipsum dolor sit amet, consectetuer adipiscing elit.</a:t>
            </a:r>
          </a:p>
          <a:p>
            <a:pPr lvl="1"/>
            <a:r>
              <a:rPr lang="en-US" dirty="0"/>
              <a:t>Maecenas porttitor congue massa.</a:t>
            </a:r>
            <a:br>
              <a:rPr lang="en-US" dirty="0"/>
            </a:br>
            <a:r>
              <a:rPr lang="en-US" dirty="0"/>
              <a:t>Fusce posuere, magna sed pulvinar.</a:t>
            </a:r>
          </a:p>
          <a:p>
            <a:pPr lvl="2"/>
            <a:r>
              <a:rPr lang="en-US" dirty="0"/>
              <a:t>Lorem ipsum dolor sit amet, consectetuer adipiscing elit</a:t>
            </a:r>
          </a:p>
          <a:p>
            <a:pPr lvl="2"/>
            <a:r>
              <a:rPr lang="en-US" dirty="0"/>
              <a:t>Maecenas porttitor congue massa. Fusce posuere, magna sed pulvinar</a:t>
            </a:r>
          </a:p>
          <a:p>
            <a:pPr lvl="2"/>
            <a:r>
              <a:rPr lang="en-US" dirty="0"/>
              <a:t>Nunc viverra imperdiet enim. Fusce est. Vivamus a tellus</a:t>
            </a:r>
          </a:p>
        </p:txBody>
      </p:sp>
      <p:sp>
        <p:nvSpPr>
          <p:cNvPr id="70" name="Textplatzhalter 15">
            <a:extLst>
              <a:ext uri="{FF2B5EF4-FFF2-40B4-BE49-F238E27FC236}">
                <a16:creationId xmlns:a16="http://schemas.microsoft.com/office/drawing/2014/main" id="{34121B65-C205-4A86-9F54-8D0F42269215}"/>
              </a:ext>
            </a:extLst>
          </p:cNvPr>
          <p:cNvSpPr txBox="1">
            <a:spLocks/>
          </p:cNvSpPr>
          <p:nvPr/>
        </p:nvSpPr>
        <p:spPr bwMode="gray">
          <a:xfrm>
            <a:off x="623392" y="3140968"/>
            <a:ext cx="3384000" cy="3167757"/>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spcAft>
                <a:spcPts val="600"/>
              </a:spcAft>
            </a:pPr>
            <a:r>
              <a:rPr lang="en-US" dirty="0"/>
              <a:t>Lorem ipsum dolor sit amet, consectetuer adipiscing elit.</a:t>
            </a:r>
          </a:p>
          <a:p>
            <a:pPr lvl="1"/>
            <a:r>
              <a:rPr lang="en-US" dirty="0"/>
              <a:t>Maecenas porttitor congue </a:t>
            </a:r>
            <a:r>
              <a:rPr lang="en-US" dirty="0" err="1"/>
              <a:t>massa</a:t>
            </a:r>
            <a:r>
              <a:rPr lang="en-US" dirty="0"/>
              <a:t>.</a:t>
            </a:r>
            <a:br>
              <a:rPr lang="en-US" dirty="0"/>
            </a:br>
            <a:r>
              <a:rPr lang="en-US" dirty="0" err="1"/>
              <a:t>Fusce</a:t>
            </a:r>
            <a:r>
              <a:rPr lang="en-US" dirty="0"/>
              <a:t> </a:t>
            </a:r>
            <a:r>
              <a:rPr lang="en-US" dirty="0" err="1"/>
              <a:t>posuere</a:t>
            </a:r>
            <a:r>
              <a:rPr lang="en-US" dirty="0"/>
              <a:t>, magna sed pulvinar.</a:t>
            </a:r>
          </a:p>
          <a:p>
            <a:pPr lvl="2"/>
            <a:r>
              <a:rPr lang="en-US" dirty="0"/>
              <a:t>Lorem ipsum dolor sit amet, consectetuer adipiscing elit</a:t>
            </a:r>
          </a:p>
          <a:p>
            <a:pPr lvl="2"/>
            <a:r>
              <a:rPr lang="en-US" dirty="0"/>
              <a:t>Maecenas porttitor congue massa. Fusce posuere, magna sed pulvinar</a:t>
            </a:r>
          </a:p>
          <a:p>
            <a:pPr lvl="2"/>
            <a:r>
              <a:rPr lang="en-US" dirty="0"/>
              <a:t>Nunc viverra imperdiet enim. Fusce est. Vivamus a tellus</a:t>
            </a:r>
          </a:p>
        </p:txBody>
      </p:sp>
      <p:sp>
        <p:nvSpPr>
          <p:cNvPr id="5" name="Freihandform: Form 4">
            <a:extLst>
              <a:ext uri="{FF2B5EF4-FFF2-40B4-BE49-F238E27FC236}">
                <a16:creationId xmlns:a16="http://schemas.microsoft.com/office/drawing/2014/main" id="{58C3E768-EBCC-4FC7-B4A7-C31E282BEE27}"/>
              </a:ext>
            </a:extLst>
          </p:cNvPr>
          <p:cNvSpPr/>
          <p:nvPr/>
        </p:nvSpPr>
        <p:spPr bwMode="gray">
          <a:xfrm>
            <a:off x="-6350" y="1619250"/>
            <a:ext cx="760412" cy="454818"/>
          </a:xfrm>
          <a:custGeom>
            <a:avLst/>
            <a:gdLst>
              <a:gd name="connsiteX0" fmla="*/ 0 w 755650"/>
              <a:gd name="connsiteY0" fmla="*/ 0 h 457200"/>
              <a:gd name="connsiteX1" fmla="*/ 755650 w 755650"/>
              <a:gd name="connsiteY1" fmla="*/ 457200 h 457200"/>
              <a:gd name="connsiteX0" fmla="*/ 0 w 755650"/>
              <a:gd name="connsiteY0" fmla="*/ 0 h 457200"/>
              <a:gd name="connsiteX1" fmla="*/ 755650 w 755650"/>
              <a:gd name="connsiteY1" fmla="*/ 457200 h 457200"/>
              <a:gd name="connsiteX0" fmla="*/ 0 w 760412"/>
              <a:gd name="connsiteY0" fmla="*/ 0 h 454818"/>
              <a:gd name="connsiteX1" fmla="*/ 760412 w 760412"/>
              <a:gd name="connsiteY1" fmla="*/ 454818 h 454818"/>
              <a:gd name="connsiteX0" fmla="*/ 0 w 760412"/>
              <a:gd name="connsiteY0" fmla="*/ 0 h 454818"/>
              <a:gd name="connsiteX1" fmla="*/ 760412 w 760412"/>
              <a:gd name="connsiteY1" fmla="*/ 454818 h 454818"/>
            </a:gdLst>
            <a:ahLst/>
            <a:cxnLst>
              <a:cxn ang="0">
                <a:pos x="connsiteX0" y="connsiteY0"/>
              </a:cxn>
              <a:cxn ang="0">
                <a:pos x="connsiteX1" y="connsiteY1"/>
              </a:cxn>
            </a:cxnLst>
            <a:rect l="l" t="t" r="r" b="b"/>
            <a:pathLst>
              <a:path w="760412" h="454818">
                <a:moveTo>
                  <a:pt x="0" y="0"/>
                </a:moveTo>
                <a:cubicBezTo>
                  <a:pt x="256645" y="178594"/>
                  <a:pt x="529961" y="333374"/>
                  <a:pt x="760412" y="454818"/>
                </a:cubicBezTo>
              </a:path>
            </a:pathLst>
          </a:custGeom>
          <a:noFill/>
          <a:ln w="381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Freihandform: Form 5">
            <a:extLst>
              <a:ext uri="{FF2B5EF4-FFF2-40B4-BE49-F238E27FC236}">
                <a16:creationId xmlns:a16="http://schemas.microsoft.com/office/drawing/2014/main" id="{F56DDB0E-0A38-494F-BA94-B70EBA7D6696}"/>
              </a:ext>
            </a:extLst>
          </p:cNvPr>
          <p:cNvSpPr/>
          <p:nvPr/>
        </p:nvSpPr>
        <p:spPr bwMode="gray">
          <a:xfrm>
            <a:off x="1714500" y="2500312"/>
            <a:ext cx="2665413" cy="534987"/>
          </a:xfrm>
          <a:custGeom>
            <a:avLst/>
            <a:gdLst>
              <a:gd name="connsiteX0" fmla="*/ 0 w 2671763"/>
              <a:gd name="connsiteY0" fmla="*/ 0 h 538162"/>
              <a:gd name="connsiteX1" fmla="*/ 2671763 w 2671763"/>
              <a:gd name="connsiteY1" fmla="*/ 538162 h 538162"/>
              <a:gd name="connsiteX0" fmla="*/ 0 w 2671763"/>
              <a:gd name="connsiteY0" fmla="*/ 0 h 538162"/>
              <a:gd name="connsiteX1" fmla="*/ 2671763 w 2671763"/>
              <a:gd name="connsiteY1" fmla="*/ 538162 h 538162"/>
              <a:gd name="connsiteX0" fmla="*/ 0 w 2671763"/>
              <a:gd name="connsiteY0" fmla="*/ 0 h 538162"/>
              <a:gd name="connsiteX1" fmla="*/ 2671763 w 2671763"/>
              <a:gd name="connsiteY1" fmla="*/ 538162 h 538162"/>
              <a:gd name="connsiteX0" fmla="*/ 0 w 2671763"/>
              <a:gd name="connsiteY0" fmla="*/ 0 h 538162"/>
              <a:gd name="connsiteX1" fmla="*/ 2671763 w 2671763"/>
              <a:gd name="connsiteY1" fmla="*/ 538162 h 538162"/>
              <a:gd name="connsiteX0" fmla="*/ 0 w 2671763"/>
              <a:gd name="connsiteY0" fmla="*/ 0 h 538162"/>
              <a:gd name="connsiteX1" fmla="*/ 2671763 w 2671763"/>
              <a:gd name="connsiteY1" fmla="*/ 538162 h 538162"/>
              <a:gd name="connsiteX0" fmla="*/ 0 w 2671763"/>
              <a:gd name="connsiteY0" fmla="*/ 0 h 538162"/>
              <a:gd name="connsiteX1" fmla="*/ 2671763 w 2671763"/>
              <a:gd name="connsiteY1" fmla="*/ 538162 h 538162"/>
              <a:gd name="connsiteX0" fmla="*/ 0 w 2665413"/>
              <a:gd name="connsiteY0" fmla="*/ 0 h 534987"/>
              <a:gd name="connsiteX1" fmla="*/ 2665413 w 2665413"/>
              <a:gd name="connsiteY1" fmla="*/ 534987 h 534987"/>
              <a:gd name="connsiteX0" fmla="*/ 0 w 2665413"/>
              <a:gd name="connsiteY0" fmla="*/ 0 h 534987"/>
              <a:gd name="connsiteX1" fmla="*/ 2665413 w 2665413"/>
              <a:gd name="connsiteY1" fmla="*/ 534987 h 534987"/>
            </a:gdLst>
            <a:ahLst/>
            <a:cxnLst>
              <a:cxn ang="0">
                <a:pos x="connsiteX0" y="connsiteY0"/>
              </a:cxn>
              <a:cxn ang="0">
                <a:pos x="connsiteX1" y="connsiteY1"/>
              </a:cxn>
            </a:cxnLst>
            <a:rect l="l" t="t" r="r" b="b"/>
            <a:pathLst>
              <a:path w="2665413" h="534987">
                <a:moveTo>
                  <a:pt x="0" y="0"/>
                </a:moveTo>
                <a:cubicBezTo>
                  <a:pt x="854075" y="319087"/>
                  <a:pt x="1770062" y="503237"/>
                  <a:pt x="2665413" y="534987"/>
                </a:cubicBezTo>
              </a:path>
            </a:pathLst>
          </a:custGeom>
          <a:noFill/>
          <a:ln w="28575"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ihandform: Form 6">
            <a:extLst>
              <a:ext uri="{FF2B5EF4-FFF2-40B4-BE49-F238E27FC236}">
                <a16:creationId xmlns:a16="http://schemas.microsoft.com/office/drawing/2014/main" id="{2B2AD57D-855E-48D8-911B-BB953770B6E6}"/>
              </a:ext>
            </a:extLst>
          </p:cNvPr>
          <p:cNvSpPr/>
          <p:nvPr/>
        </p:nvSpPr>
        <p:spPr bwMode="gray">
          <a:xfrm>
            <a:off x="5514975" y="2324100"/>
            <a:ext cx="2590800" cy="673100"/>
          </a:xfrm>
          <a:custGeom>
            <a:avLst/>
            <a:gdLst>
              <a:gd name="connsiteX0" fmla="*/ 0 w 2590800"/>
              <a:gd name="connsiteY0" fmla="*/ 673100 h 673100"/>
              <a:gd name="connsiteX1" fmla="*/ 2590800 w 2590800"/>
              <a:gd name="connsiteY1" fmla="*/ 0 h 673100"/>
              <a:gd name="connsiteX0" fmla="*/ 0 w 2590800"/>
              <a:gd name="connsiteY0" fmla="*/ 673100 h 673100"/>
              <a:gd name="connsiteX1" fmla="*/ 2590800 w 2590800"/>
              <a:gd name="connsiteY1" fmla="*/ 0 h 673100"/>
              <a:gd name="connsiteX0" fmla="*/ 0 w 2590800"/>
              <a:gd name="connsiteY0" fmla="*/ 673100 h 673100"/>
              <a:gd name="connsiteX1" fmla="*/ 2590800 w 2590800"/>
              <a:gd name="connsiteY1" fmla="*/ 0 h 673100"/>
              <a:gd name="connsiteX0" fmla="*/ 0 w 2590800"/>
              <a:gd name="connsiteY0" fmla="*/ 673100 h 673100"/>
              <a:gd name="connsiteX1" fmla="*/ 2590800 w 2590800"/>
              <a:gd name="connsiteY1" fmla="*/ 0 h 673100"/>
            </a:gdLst>
            <a:ahLst/>
            <a:cxnLst>
              <a:cxn ang="0">
                <a:pos x="connsiteX0" y="connsiteY0"/>
              </a:cxn>
              <a:cxn ang="0">
                <a:pos x="connsiteX1" y="connsiteY1"/>
              </a:cxn>
            </a:cxnLst>
            <a:rect l="l" t="t" r="r" b="b"/>
            <a:pathLst>
              <a:path w="2590800" h="673100">
                <a:moveTo>
                  <a:pt x="0" y="673100"/>
                </a:moveTo>
                <a:cubicBezTo>
                  <a:pt x="863600" y="594783"/>
                  <a:pt x="1901825" y="316442"/>
                  <a:pt x="2590800" y="0"/>
                </a:cubicBezTo>
              </a:path>
            </a:pathLst>
          </a:custGeom>
          <a:noFill/>
          <a:ln w="254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ihandform: Form 7">
            <a:extLst>
              <a:ext uri="{FF2B5EF4-FFF2-40B4-BE49-F238E27FC236}">
                <a16:creationId xmlns:a16="http://schemas.microsoft.com/office/drawing/2014/main" id="{7A8C26E0-F087-46E7-B753-CE6B3497946E}"/>
              </a:ext>
            </a:extLst>
          </p:cNvPr>
          <p:cNvSpPr/>
          <p:nvPr/>
        </p:nvSpPr>
        <p:spPr bwMode="gray">
          <a:xfrm>
            <a:off x="9045575" y="-3175"/>
            <a:ext cx="2159000" cy="1838325"/>
          </a:xfrm>
          <a:custGeom>
            <a:avLst/>
            <a:gdLst>
              <a:gd name="connsiteX0" fmla="*/ 0 w 2159000"/>
              <a:gd name="connsiteY0" fmla="*/ 1838325 h 1838325"/>
              <a:gd name="connsiteX1" fmla="*/ 2159000 w 2159000"/>
              <a:gd name="connsiteY1" fmla="*/ 0 h 1838325"/>
              <a:gd name="connsiteX0" fmla="*/ 0 w 2159000"/>
              <a:gd name="connsiteY0" fmla="*/ 1838325 h 1838325"/>
              <a:gd name="connsiteX1" fmla="*/ 2159000 w 2159000"/>
              <a:gd name="connsiteY1" fmla="*/ 0 h 1838325"/>
              <a:gd name="connsiteX0" fmla="*/ 0 w 2159000"/>
              <a:gd name="connsiteY0" fmla="*/ 1838325 h 1838325"/>
              <a:gd name="connsiteX1" fmla="*/ 2159000 w 2159000"/>
              <a:gd name="connsiteY1" fmla="*/ 0 h 1838325"/>
              <a:gd name="connsiteX0" fmla="*/ 0 w 2159000"/>
              <a:gd name="connsiteY0" fmla="*/ 1838325 h 1838325"/>
              <a:gd name="connsiteX1" fmla="*/ 2159000 w 2159000"/>
              <a:gd name="connsiteY1" fmla="*/ 0 h 1838325"/>
              <a:gd name="connsiteX0" fmla="*/ 0 w 2159000"/>
              <a:gd name="connsiteY0" fmla="*/ 1838325 h 1838325"/>
              <a:gd name="connsiteX1" fmla="*/ 2159000 w 2159000"/>
              <a:gd name="connsiteY1" fmla="*/ 0 h 1838325"/>
            </a:gdLst>
            <a:ahLst/>
            <a:cxnLst>
              <a:cxn ang="0">
                <a:pos x="connsiteX0" y="connsiteY0"/>
              </a:cxn>
              <a:cxn ang="0">
                <a:pos x="connsiteX1" y="connsiteY1"/>
              </a:cxn>
            </a:cxnLst>
            <a:rect l="l" t="t" r="r" b="b"/>
            <a:pathLst>
              <a:path w="2159000" h="1838325">
                <a:moveTo>
                  <a:pt x="0" y="1838325"/>
                </a:moveTo>
                <a:cubicBezTo>
                  <a:pt x="795867" y="1377950"/>
                  <a:pt x="1633008" y="650875"/>
                  <a:pt x="2159000" y="0"/>
                </a:cubicBezTo>
              </a:path>
            </a:pathLst>
          </a:custGeom>
          <a:noFill/>
          <a:ln w="15875"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Fußzeilenplatzhalter 1">
            <a:extLst>
              <a:ext uri="{FF2B5EF4-FFF2-40B4-BE49-F238E27FC236}">
                <a16:creationId xmlns:a16="http://schemas.microsoft.com/office/drawing/2014/main" id="{446C1C0A-D760-4C01-B42A-5505F79C7A0B}"/>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EE637765-6072-4FA1-8F22-19C6C9103840}"/>
              </a:ext>
            </a:extLst>
          </p:cNvPr>
          <p:cNvSpPr>
            <a:spLocks noGrp="1"/>
          </p:cNvSpPr>
          <p:nvPr>
            <p:ph type="sldNum" sz="quarter" idx="12"/>
          </p:nvPr>
        </p:nvSpPr>
        <p:spPr/>
        <p:txBody>
          <a:bodyPr/>
          <a:lstStyle/>
          <a:p>
            <a:fld id="{CE82B8A1-0CCE-4815-9668-383D7DE7D8B4}" type="slidenum">
              <a:rPr lang="en-US" noProof="0" smtClean="0"/>
              <a:t>64</a:t>
            </a:fld>
            <a:endParaRPr lang="en-US" noProof="0" dirty="0"/>
          </a:p>
        </p:txBody>
      </p:sp>
    </p:spTree>
    <p:extLst>
      <p:ext uri="{BB962C8B-B14F-4D97-AF65-F5344CB8AC3E}">
        <p14:creationId xmlns:p14="http://schemas.microsoft.com/office/powerpoint/2010/main" val="32089220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F6FF0A-0C47-46CD-AECF-2DBCB0EC2CF9}"/>
              </a:ext>
            </a:extLst>
          </p:cNvPr>
          <p:cNvSpPr>
            <a:spLocks noGrp="1"/>
          </p:cNvSpPr>
          <p:nvPr>
            <p:ph type="title"/>
          </p:nvPr>
        </p:nvSpPr>
        <p:spPr bwMode="gray"/>
        <p:txBody>
          <a:bodyPr/>
          <a:lstStyle/>
          <a:p>
            <a:r>
              <a:rPr lang="en-US" dirty="0"/>
              <a:t>Logos plus text</a:t>
            </a:r>
          </a:p>
        </p:txBody>
      </p:sp>
      <p:sp>
        <p:nvSpPr>
          <p:cNvPr id="34" name="Freihandform: Form 33">
            <a:extLst>
              <a:ext uri="{FF2B5EF4-FFF2-40B4-BE49-F238E27FC236}">
                <a16:creationId xmlns:a16="http://schemas.microsoft.com/office/drawing/2014/main" id="{C2384FC7-22C9-4237-8805-CF56BBC622CC}"/>
              </a:ext>
            </a:extLst>
          </p:cNvPr>
          <p:cNvSpPr/>
          <p:nvPr/>
        </p:nvSpPr>
        <p:spPr bwMode="gray">
          <a:xfrm>
            <a:off x="8499527" y="4016729"/>
            <a:ext cx="3692473" cy="1560148"/>
          </a:xfrm>
          <a:custGeom>
            <a:avLst/>
            <a:gdLst>
              <a:gd name="connsiteX0" fmla="*/ 4557486 w 4557486"/>
              <a:gd name="connsiteY0" fmla="*/ 0 h 1915886"/>
              <a:gd name="connsiteX1" fmla="*/ 4412343 w 4557486"/>
              <a:gd name="connsiteY1" fmla="*/ 304800 h 1915886"/>
              <a:gd name="connsiteX2" fmla="*/ 0 w 4557486"/>
              <a:gd name="connsiteY2" fmla="*/ 1915886 h 1915886"/>
              <a:gd name="connsiteX0" fmla="*/ 4557486 w 4557486"/>
              <a:gd name="connsiteY0" fmla="*/ 0 h 1915886"/>
              <a:gd name="connsiteX1" fmla="*/ 0 w 4557486"/>
              <a:gd name="connsiteY1" fmla="*/ 1915886 h 1915886"/>
              <a:gd name="connsiteX0" fmla="*/ 4557486 w 4557486"/>
              <a:gd name="connsiteY0" fmla="*/ 0 h 1915886"/>
              <a:gd name="connsiteX1" fmla="*/ 0 w 4557486"/>
              <a:gd name="connsiteY1" fmla="*/ 1915886 h 1915886"/>
              <a:gd name="connsiteX0" fmla="*/ 4557486 w 4557486"/>
              <a:gd name="connsiteY0" fmla="*/ 0 h 1915957"/>
              <a:gd name="connsiteX1" fmla="*/ 0 w 4557486"/>
              <a:gd name="connsiteY1" fmla="*/ 1915886 h 1915957"/>
              <a:gd name="connsiteX0" fmla="*/ 4557486 w 4557486"/>
              <a:gd name="connsiteY0" fmla="*/ 0 h 1909608"/>
              <a:gd name="connsiteX1" fmla="*/ 0 w 4557486"/>
              <a:gd name="connsiteY1" fmla="*/ 1909536 h 1909608"/>
              <a:gd name="connsiteX0" fmla="*/ 4557486 w 4557486"/>
              <a:gd name="connsiteY0" fmla="*/ 0 h 1909615"/>
              <a:gd name="connsiteX1" fmla="*/ 0 w 4557486"/>
              <a:gd name="connsiteY1" fmla="*/ 1909536 h 1909615"/>
              <a:gd name="connsiteX0" fmla="*/ 4530828 w 4530828"/>
              <a:gd name="connsiteY0" fmla="*/ 0 h 1874074"/>
              <a:gd name="connsiteX1" fmla="*/ 0 w 4530828"/>
              <a:gd name="connsiteY1" fmla="*/ 1873992 h 1874074"/>
              <a:gd name="connsiteX0" fmla="*/ 4477512 w 4477512"/>
              <a:gd name="connsiteY0" fmla="*/ 0 h 1891844"/>
              <a:gd name="connsiteX1" fmla="*/ 0 w 4477512"/>
              <a:gd name="connsiteY1" fmla="*/ 1891764 h 1891844"/>
            </a:gdLst>
            <a:ahLst/>
            <a:cxnLst>
              <a:cxn ang="0">
                <a:pos x="connsiteX0" y="connsiteY0"/>
              </a:cxn>
              <a:cxn ang="0">
                <a:pos x="connsiteX1" y="connsiteY1"/>
              </a:cxn>
            </a:cxnLst>
            <a:rect l="l" t="t" r="r" b="b"/>
            <a:pathLst>
              <a:path w="4477512" h="1891844">
                <a:moveTo>
                  <a:pt x="4477512" y="0"/>
                </a:moveTo>
                <a:cubicBezTo>
                  <a:pt x="3402850" y="1146629"/>
                  <a:pt x="1665212" y="1900835"/>
                  <a:pt x="0" y="1891764"/>
                </a:cubicBezTo>
              </a:path>
            </a:pathLst>
          </a:custGeom>
          <a:noFill/>
          <a:ln w="15875" cap="rnd">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5" name="Freihandform: Form 34">
            <a:extLst>
              <a:ext uri="{FF2B5EF4-FFF2-40B4-BE49-F238E27FC236}">
                <a16:creationId xmlns:a16="http://schemas.microsoft.com/office/drawing/2014/main" id="{F0B1C68A-3E5E-4BBA-BD0A-2ADAD577C7D0}"/>
              </a:ext>
            </a:extLst>
          </p:cNvPr>
          <p:cNvSpPr/>
          <p:nvPr/>
        </p:nvSpPr>
        <p:spPr bwMode="gray">
          <a:xfrm>
            <a:off x="4526457" y="4025280"/>
            <a:ext cx="3831350" cy="1562188"/>
          </a:xfrm>
          <a:custGeom>
            <a:avLst/>
            <a:gdLst>
              <a:gd name="connsiteX0" fmla="*/ 0 w 4514850"/>
              <a:gd name="connsiteY0" fmla="*/ 0 h 1885950"/>
              <a:gd name="connsiteX1" fmla="*/ 4514850 w 4514850"/>
              <a:gd name="connsiteY1" fmla="*/ 1885950 h 1885950"/>
              <a:gd name="connsiteX0" fmla="*/ 0 w 4476750"/>
              <a:gd name="connsiteY0" fmla="*/ 0 h 1854200"/>
              <a:gd name="connsiteX1" fmla="*/ 4476750 w 4476750"/>
              <a:gd name="connsiteY1" fmla="*/ 1854200 h 1854200"/>
              <a:gd name="connsiteX0" fmla="*/ 0 w 4476750"/>
              <a:gd name="connsiteY0" fmla="*/ 0 h 1854200"/>
              <a:gd name="connsiteX1" fmla="*/ 4476750 w 4476750"/>
              <a:gd name="connsiteY1" fmla="*/ 1854200 h 1854200"/>
              <a:gd name="connsiteX0" fmla="*/ 0 w 4476750"/>
              <a:gd name="connsiteY0" fmla="*/ 0 h 1854298"/>
              <a:gd name="connsiteX1" fmla="*/ 4476750 w 4476750"/>
              <a:gd name="connsiteY1" fmla="*/ 1854200 h 1854298"/>
              <a:gd name="connsiteX0" fmla="*/ 0 w 4476750"/>
              <a:gd name="connsiteY0" fmla="*/ 0 h 1839489"/>
              <a:gd name="connsiteX1" fmla="*/ 4476750 w 4476750"/>
              <a:gd name="connsiteY1" fmla="*/ 1839390 h 1839489"/>
              <a:gd name="connsiteX0" fmla="*/ 0 w 4467864"/>
              <a:gd name="connsiteY0" fmla="*/ 0 h 1821719"/>
              <a:gd name="connsiteX1" fmla="*/ 4467864 w 4467864"/>
              <a:gd name="connsiteY1" fmla="*/ 1821618 h 1821719"/>
            </a:gdLst>
            <a:ahLst/>
            <a:cxnLst>
              <a:cxn ang="0">
                <a:pos x="connsiteX0" y="connsiteY0"/>
              </a:cxn>
              <a:cxn ang="0">
                <a:pos x="connsiteX1" y="connsiteY1"/>
              </a:cxn>
            </a:cxnLst>
            <a:rect l="l" t="t" r="r" b="b"/>
            <a:pathLst>
              <a:path w="4467864" h="1821719">
                <a:moveTo>
                  <a:pt x="0" y="0"/>
                </a:moveTo>
                <a:cubicBezTo>
                  <a:pt x="984250" y="1018117"/>
                  <a:pt x="2778764" y="1832201"/>
                  <a:pt x="4467864" y="1821618"/>
                </a:cubicBezTo>
              </a:path>
            </a:pathLst>
          </a:custGeom>
          <a:noFill/>
          <a:ln w="25400" cap="rnd">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6" name="Freihandform: Form 35">
            <a:extLst>
              <a:ext uri="{FF2B5EF4-FFF2-40B4-BE49-F238E27FC236}">
                <a16:creationId xmlns:a16="http://schemas.microsoft.com/office/drawing/2014/main" id="{FEDAB761-E807-447A-B268-CD1E43241AF1}"/>
              </a:ext>
            </a:extLst>
          </p:cNvPr>
          <p:cNvSpPr/>
          <p:nvPr/>
        </p:nvSpPr>
        <p:spPr bwMode="gray">
          <a:xfrm>
            <a:off x="2893562" y="1042948"/>
            <a:ext cx="1521274" cy="2895206"/>
          </a:xfrm>
          <a:custGeom>
            <a:avLst/>
            <a:gdLst>
              <a:gd name="connsiteX0" fmla="*/ 1733550 w 1733550"/>
              <a:gd name="connsiteY0" fmla="*/ 3321050 h 3321050"/>
              <a:gd name="connsiteX1" fmla="*/ 0 w 1733550"/>
              <a:gd name="connsiteY1" fmla="*/ 0 h 3321050"/>
              <a:gd name="connsiteX0" fmla="*/ 1733550 w 1733550"/>
              <a:gd name="connsiteY0" fmla="*/ 3321050 h 3321050"/>
              <a:gd name="connsiteX1" fmla="*/ 0 w 1733550"/>
              <a:gd name="connsiteY1" fmla="*/ 0 h 3321050"/>
              <a:gd name="connsiteX0" fmla="*/ 1733550 w 1733550"/>
              <a:gd name="connsiteY0" fmla="*/ 3321050 h 3321050"/>
              <a:gd name="connsiteX1" fmla="*/ 0 w 1733550"/>
              <a:gd name="connsiteY1" fmla="*/ 0 h 3321050"/>
              <a:gd name="connsiteX0" fmla="*/ 1685925 w 1685925"/>
              <a:gd name="connsiteY0" fmla="*/ 3106738 h 3106738"/>
              <a:gd name="connsiteX1" fmla="*/ 0 w 1685925"/>
              <a:gd name="connsiteY1" fmla="*/ 0 h 3106738"/>
              <a:gd name="connsiteX0" fmla="*/ 1685925 w 1685925"/>
              <a:gd name="connsiteY0" fmla="*/ 3106738 h 3106738"/>
              <a:gd name="connsiteX1" fmla="*/ 0 w 1685925"/>
              <a:gd name="connsiteY1" fmla="*/ 0 h 3106738"/>
              <a:gd name="connsiteX0" fmla="*/ 1685925 w 1685925"/>
              <a:gd name="connsiteY0" fmla="*/ 3106738 h 3106738"/>
              <a:gd name="connsiteX1" fmla="*/ 0 w 1685925"/>
              <a:gd name="connsiteY1" fmla="*/ 0 h 3106738"/>
              <a:gd name="connsiteX0" fmla="*/ 1685925 w 1685925"/>
              <a:gd name="connsiteY0" fmla="*/ 3106738 h 3106738"/>
              <a:gd name="connsiteX1" fmla="*/ 0 w 1685925"/>
              <a:gd name="connsiteY1" fmla="*/ 0 h 3106738"/>
              <a:gd name="connsiteX0" fmla="*/ 1724025 w 1724025"/>
              <a:gd name="connsiteY0" fmla="*/ 3274378 h 3274378"/>
              <a:gd name="connsiteX1" fmla="*/ 0 w 1724025"/>
              <a:gd name="connsiteY1" fmla="*/ 0 h 3274378"/>
              <a:gd name="connsiteX0" fmla="*/ 1724025 w 1724025"/>
              <a:gd name="connsiteY0" fmla="*/ 3274378 h 3274378"/>
              <a:gd name="connsiteX1" fmla="*/ 0 w 1724025"/>
              <a:gd name="connsiteY1" fmla="*/ 0 h 3274378"/>
              <a:gd name="connsiteX0" fmla="*/ 1635166 w 1635166"/>
              <a:gd name="connsiteY0" fmla="*/ 2889321 h 2889321"/>
              <a:gd name="connsiteX1" fmla="*/ 0 w 1635166"/>
              <a:gd name="connsiteY1" fmla="*/ 0 h 2889321"/>
              <a:gd name="connsiteX0" fmla="*/ 1635166 w 1635166"/>
              <a:gd name="connsiteY0" fmla="*/ 2889321 h 2889321"/>
              <a:gd name="connsiteX1" fmla="*/ 0 w 1635166"/>
              <a:gd name="connsiteY1" fmla="*/ 0 h 2889321"/>
              <a:gd name="connsiteX0" fmla="*/ 1635166 w 1635166"/>
              <a:gd name="connsiteY0" fmla="*/ 2889321 h 2889321"/>
              <a:gd name="connsiteX1" fmla="*/ 0 w 1635166"/>
              <a:gd name="connsiteY1" fmla="*/ 0 h 2889321"/>
              <a:gd name="connsiteX0" fmla="*/ 1796223 w 1796223"/>
              <a:gd name="connsiteY0" fmla="*/ 3361386 h 3361386"/>
              <a:gd name="connsiteX1" fmla="*/ 0 w 1796223"/>
              <a:gd name="connsiteY1" fmla="*/ 0 h 3361386"/>
              <a:gd name="connsiteX0" fmla="*/ 1796223 w 1796223"/>
              <a:gd name="connsiteY0" fmla="*/ 3361386 h 3361386"/>
              <a:gd name="connsiteX1" fmla="*/ 0 w 1796223"/>
              <a:gd name="connsiteY1" fmla="*/ 0 h 3361386"/>
              <a:gd name="connsiteX0" fmla="*/ 1774008 w 1774008"/>
              <a:gd name="connsiteY0" fmla="*/ 3376196 h 3376196"/>
              <a:gd name="connsiteX1" fmla="*/ 0 w 1774008"/>
              <a:gd name="connsiteY1" fmla="*/ 0 h 3376196"/>
              <a:gd name="connsiteX0" fmla="*/ 1774008 w 1774008"/>
              <a:gd name="connsiteY0" fmla="*/ 3376196 h 3376196"/>
              <a:gd name="connsiteX1" fmla="*/ 0 w 1774008"/>
              <a:gd name="connsiteY1" fmla="*/ 0 h 3376196"/>
              <a:gd name="connsiteX0" fmla="*/ 1774008 w 1774008"/>
              <a:gd name="connsiteY0" fmla="*/ 3376196 h 3376196"/>
              <a:gd name="connsiteX1" fmla="*/ 0 w 1774008"/>
              <a:gd name="connsiteY1" fmla="*/ 0 h 3376196"/>
            </a:gdLst>
            <a:ahLst/>
            <a:cxnLst>
              <a:cxn ang="0">
                <a:pos x="connsiteX0" y="connsiteY0"/>
              </a:cxn>
              <a:cxn ang="0">
                <a:pos x="connsiteX1" y="connsiteY1"/>
              </a:cxn>
            </a:cxnLst>
            <a:rect l="l" t="t" r="r" b="b"/>
            <a:pathLst>
              <a:path w="1774008" h="3376196">
                <a:moveTo>
                  <a:pt x="1774008" y="3376196"/>
                </a:moveTo>
                <a:cubicBezTo>
                  <a:pt x="933176" y="2517361"/>
                  <a:pt x="231414" y="1366262"/>
                  <a:pt x="0" y="0"/>
                </a:cubicBezTo>
              </a:path>
            </a:pathLst>
          </a:custGeom>
          <a:noFill/>
          <a:ln w="38100" cap="rnd">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7" name="Freihandform: Form 36">
            <a:extLst>
              <a:ext uri="{FF2B5EF4-FFF2-40B4-BE49-F238E27FC236}">
                <a16:creationId xmlns:a16="http://schemas.microsoft.com/office/drawing/2014/main" id="{B9030997-23D4-4937-8F7E-2A13CE9C9091}"/>
              </a:ext>
            </a:extLst>
          </p:cNvPr>
          <p:cNvSpPr/>
          <p:nvPr/>
        </p:nvSpPr>
        <p:spPr bwMode="gray">
          <a:xfrm>
            <a:off x="2783632" y="-39718"/>
            <a:ext cx="22686" cy="479138"/>
          </a:xfrm>
          <a:custGeom>
            <a:avLst/>
            <a:gdLst>
              <a:gd name="connsiteX0" fmla="*/ 19050 w 19050"/>
              <a:gd name="connsiteY0" fmla="*/ 425450 h 425450"/>
              <a:gd name="connsiteX1" fmla="*/ 0 w 19050"/>
              <a:gd name="connsiteY1" fmla="*/ 0 h 425450"/>
              <a:gd name="connsiteX0" fmla="*/ 33860 w 33860"/>
              <a:gd name="connsiteY0" fmla="*/ 780888 h 780888"/>
              <a:gd name="connsiteX1" fmla="*/ 0 w 33860"/>
              <a:gd name="connsiteY1" fmla="*/ 0 h 780888"/>
              <a:gd name="connsiteX0" fmla="*/ 26455 w 26455"/>
              <a:gd name="connsiteY0" fmla="*/ 558739 h 558739"/>
              <a:gd name="connsiteX1" fmla="*/ 0 w 26455"/>
              <a:gd name="connsiteY1" fmla="*/ 0 h 558739"/>
            </a:gdLst>
            <a:ahLst/>
            <a:cxnLst>
              <a:cxn ang="0">
                <a:pos x="connsiteX0" y="connsiteY0"/>
              </a:cxn>
              <a:cxn ang="0">
                <a:pos x="connsiteX1" y="connsiteY1"/>
              </a:cxn>
            </a:cxnLst>
            <a:rect l="l" t="t" r="r" b="b"/>
            <a:pathLst>
              <a:path w="26455" h="558739">
                <a:moveTo>
                  <a:pt x="26455" y="558739"/>
                </a:moveTo>
                <a:lnTo>
                  <a:pt x="0" y="0"/>
                </a:lnTo>
              </a:path>
            </a:pathLst>
          </a:custGeom>
          <a:noFill/>
          <a:ln w="38100" cap="rnd">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9" name="Ellipse 38">
            <a:extLst>
              <a:ext uri="{FF2B5EF4-FFF2-40B4-BE49-F238E27FC236}">
                <a16:creationId xmlns:a16="http://schemas.microsoft.com/office/drawing/2014/main" id="{AC5AE1E7-2C5C-4841-997F-ECB93B90F290}"/>
              </a:ext>
            </a:extLst>
          </p:cNvPr>
          <p:cNvSpPr/>
          <p:nvPr/>
        </p:nvSpPr>
        <p:spPr bwMode="gray">
          <a:xfrm>
            <a:off x="2797410" y="1791210"/>
            <a:ext cx="1224000" cy="1224000"/>
          </a:xfrm>
          <a:prstGeom prst="ellipse">
            <a:avLst/>
          </a:prstGeom>
          <a:solidFill>
            <a:schemeClr val="bg1"/>
          </a:solidFill>
          <a:ln w="38100" cap="rnd">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dirty="0">
                <a:solidFill>
                  <a:schemeClr val="accent5"/>
                </a:solidFill>
              </a:rPr>
              <a:t>Logo</a:t>
            </a:r>
          </a:p>
        </p:txBody>
      </p:sp>
      <p:sp>
        <p:nvSpPr>
          <p:cNvPr id="40" name="Ellipse 39">
            <a:extLst>
              <a:ext uri="{FF2B5EF4-FFF2-40B4-BE49-F238E27FC236}">
                <a16:creationId xmlns:a16="http://schemas.microsoft.com/office/drawing/2014/main" id="{BA323958-88DF-46C5-BAA3-FB0B8FE369D2}"/>
              </a:ext>
            </a:extLst>
          </p:cNvPr>
          <p:cNvSpPr/>
          <p:nvPr/>
        </p:nvSpPr>
        <p:spPr bwMode="gray">
          <a:xfrm>
            <a:off x="5576132" y="4508183"/>
            <a:ext cx="1224000" cy="1224000"/>
          </a:xfrm>
          <a:prstGeom prst="ellipse">
            <a:avLst/>
          </a:prstGeom>
          <a:solidFill>
            <a:schemeClr val="bg1"/>
          </a:solidFill>
          <a:ln w="25400" cap="rnd">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dirty="0">
                <a:solidFill>
                  <a:schemeClr val="accent5"/>
                </a:solidFill>
              </a:rPr>
              <a:t>Logo</a:t>
            </a:r>
          </a:p>
        </p:txBody>
      </p:sp>
      <p:sp>
        <p:nvSpPr>
          <p:cNvPr id="41" name="Ellipse 40">
            <a:extLst>
              <a:ext uri="{FF2B5EF4-FFF2-40B4-BE49-F238E27FC236}">
                <a16:creationId xmlns:a16="http://schemas.microsoft.com/office/drawing/2014/main" id="{A135DD2E-C486-4B0C-8AB0-B73332C8777E}"/>
              </a:ext>
            </a:extLst>
          </p:cNvPr>
          <p:cNvSpPr/>
          <p:nvPr/>
        </p:nvSpPr>
        <p:spPr bwMode="gray">
          <a:xfrm>
            <a:off x="10145586" y="4508183"/>
            <a:ext cx="1224000" cy="1224000"/>
          </a:xfrm>
          <a:prstGeom prst="ellipse">
            <a:avLst/>
          </a:prstGeom>
          <a:solidFill>
            <a:schemeClr val="bg1"/>
          </a:solidFill>
          <a:ln w="15875" cap="rnd">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dirty="0">
                <a:solidFill>
                  <a:schemeClr val="accent5"/>
                </a:solidFill>
              </a:rPr>
              <a:t>Logo</a:t>
            </a:r>
          </a:p>
        </p:txBody>
      </p:sp>
      <p:sp>
        <p:nvSpPr>
          <p:cNvPr id="42" name="Textplatzhalter 15">
            <a:extLst>
              <a:ext uri="{FF2B5EF4-FFF2-40B4-BE49-F238E27FC236}">
                <a16:creationId xmlns:a16="http://schemas.microsoft.com/office/drawing/2014/main" id="{F5CB83C8-553A-4627-8D3B-B1EEC604A0B9}"/>
              </a:ext>
            </a:extLst>
          </p:cNvPr>
          <p:cNvSpPr txBox="1">
            <a:spLocks/>
          </p:cNvSpPr>
          <p:nvPr/>
        </p:nvSpPr>
        <p:spPr bwMode="gray">
          <a:xfrm>
            <a:off x="623392" y="3068960"/>
            <a:ext cx="2448421" cy="2232000"/>
          </a:xfrm>
          <a:prstGeom prst="rect">
            <a:avLst/>
          </a:prstGeom>
        </p:spPr>
        <p:txBody>
          <a:bodyPr lIns="72000" tIns="36000" rIns="72000" bIns="36000" anchor="t"/>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lgn="r"/>
            <a:r>
              <a:rPr lang="en-US" sz="1800" dirty="0"/>
              <a:t>Lorem ipsum dolor sit amet, consectetuer adipiscing elit.</a:t>
            </a:r>
          </a:p>
          <a:p>
            <a:pPr lvl="1" algn="r"/>
            <a:r>
              <a:rPr lang="en-US" sz="1800" dirty="0"/>
              <a:t>Maecenas porttitor congue massa. Fusce posuere, magna sed</a:t>
            </a:r>
          </a:p>
        </p:txBody>
      </p:sp>
      <p:sp>
        <p:nvSpPr>
          <p:cNvPr id="46" name="Textplatzhalter 15">
            <a:extLst>
              <a:ext uri="{FF2B5EF4-FFF2-40B4-BE49-F238E27FC236}">
                <a16:creationId xmlns:a16="http://schemas.microsoft.com/office/drawing/2014/main" id="{72C5899A-ADC7-4227-B9BC-2F717B330169}"/>
              </a:ext>
            </a:extLst>
          </p:cNvPr>
          <p:cNvSpPr txBox="1">
            <a:spLocks/>
          </p:cNvSpPr>
          <p:nvPr/>
        </p:nvSpPr>
        <p:spPr bwMode="gray">
          <a:xfrm>
            <a:off x="5576132" y="2061444"/>
            <a:ext cx="2448000" cy="2231652"/>
          </a:xfrm>
          <a:prstGeom prst="rect">
            <a:avLst/>
          </a:prstGeom>
        </p:spPr>
        <p:txBody>
          <a:bodyPr lIns="72000" tIns="36000" rIns="72000" bIns="36000" anchor="b"/>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r>
              <a:rPr lang="en-US" sz="1800" dirty="0"/>
              <a:t>Lorem ipsum dolor sit amet, consectetuer adipiscing elit.</a:t>
            </a:r>
          </a:p>
          <a:p>
            <a:pPr lvl="1"/>
            <a:r>
              <a:rPr lang="en-US" sz="1800" dirty="0"/>
              <a:t>Maecenas porttitor congue massa. Fusce posuere, magna sed</a:t>
            </a:r>
          </a:p>
        </p:txBody>
      </p:sp>
      <p:sp>
        <p:nvSpPr>
          <p:cNvPr id="47" name="Textplatzhalter 15">
            <a:extLst>
              <a:ext uri="{FF2B5EF4-FFF2-40B4-BE49-F238E27FC236}">
                <a16:creationId xmlns:a16="http://schemas.microsoft.com/office/drawing/2014/main" id="{B6D632BA-2CBE-42A2-9D64-17A7DBFFFDB0}"/>
              </a:ext>
            </a:extLst>
          </p:cNvPr>
          <p:cNvSpPr txBox="1">
            <a:spLocks/>
          </p:cNvSpPr>
          <p:nvPr/>
        </p:nvSpPr>
        <p:spPr bwMode="gray">
          <a:xfrm>
            <a:off x="8921586" y="2061444"/>
            <a:ext cx="2448000" cy="2231652"/>
          </a:xfrm>
          <a:prstGeom prst="rect">
            <a:avLst/>
          </a:prstGeom>
        </p:spPr>
        <p:txBody>
          <a:bodyPr lIns="72000" tIns="36000" rIns="72000" bIns="36000" anchor="b"/>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algn="r"/>
            <a:r>
              <a:rPr lang="en-US" sz="1800" dirty="0"/>
              <a:t>Lorem ipsum dolor sit amet, consectetuer adipiscing elit.</a:t>
            </a:r>
          </a:p>
          <a:p>
            <a:pPr lvl="1" algn="r"/>
            <a:r>
              <a:rPr lang="en-US" sz="1800" dirty="0"/>
              <a:t>Maecenas porttitor congue massa. Fusce posuere, magna sed</a:t>
            </a:r>
          </a:p>
        </p:txBody>
      </p:sp>
      <p:sp>
        <p:nvSpPr>
          <p:cNvPr id="4" name="Fußzeilenplatzhalter 3">
            <a:extLst>
              <a:ext uri="{FF2B5EF4-FFF2-40B4-BE49-F238E27FC236}">
                <a16:creationId xmlns:a16="http://schemas.microsoft.com/office/drawing/2014/main" id="{785D169B-97A0-4A7A-862A-CDC9399BEEE0}"/>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22387E80-4051-4195-BFAE-CD713F2C92F2}"/>
              </a:ext>
            </a:extLst>
          </p:cNvPr>
          <p:cNvSpPr>
            <a:spLocks noGrp="1"/>
          </p:cNvSpPr>
          <p:nvPr>
            <p:ph type="sldNum" sz="quarter" idx="12"/>
          </p:nvPr>
        </p:nvSpPr>
        <p:spPr/>
        <p:txBody>
          <a:bodyPr/>
          <a:lstStyle/>
          <a:p>
            <a:fld id="{CE82B8A1-0CCE-4815-9668-383D7DE7D8B4}" type="slidenum">
              <a:rPr lang="en-US" noProof="0" smtClean="0"/>
              <a:t>65</a:t>
            </a:fld>
            <a:endParaRPr lang="en-US" noProof="0" dirty="0"/>
          </a:p>
        </p:txBody>
      </p:sp>
    </p:spTree>
    <p:extLst>
      <p:ext uri="{BB962C8B-B14F-4D97-AF65-F5344CB8AC3E}">
        <p14:creationId xmlns:p14="http://schemas.microsoft.com/office/powerpoint/2010/main" val="145172831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68" name="Gruppieren 307">
            <a:extLst>
              <a:ext uri="{FF2B5EF4-FFF2-40B4-BE49-F238E27FC236}">
                <a16:creationId xmlns:a16="http://schemas.microsoft.com/office/drawing/2014/main" id="{214313B7-6BC2-4663-981F-9CEC7D8ACD63}"/>
              </a:ext>
            </a:extLst>
          </p:cNvPr>
          <p:cNvGrpSpPr>
            <a:grpSpLocks noChangeAspect="1"/>
          </p:cNvGrpSpPr>
          <p:nvPr/>
        </p:nvGrpSpPr>
        <p:grpSpPr bwMode="gray">
          <a:xfrm>
            <a:off x="5702430" y="518315"/>
            <a:ext cx="4553154" cy="6150768"/>
            <a:chOff x="-7162800" y="-939800"/>
            <a:chExt cx="5307012" cy="7169150"/>
          </a:xfrm>
          <a:solidFill>
            <a:schemeClr val="accent6"/>
          </a:solidFill>
        </p:grpSpPr>
        <p:sp>
          <p:nvSpPr>
            <p:cNvPr id="8169" name="Freeform 6">
              <a:extLst>
                <a:ext uri="{FF2B5EF4-FFF2-40B4-BE49-F238E27FC236}">
                  <a16:creationId xmlns:a16="http://schemas.microsoft.com/office/drawing/2014/main" id="{BAB0D961-CB5D-4B8C-A298-16CC74F3458B}"/>
                </a:ext>
              </a:extLst>
            </p:cNvPr>
            <p:cNvSpPr>
              <a:spLocks noEditPoints="1"/>
            </p:cNvSpPr>
            <p:nvPr/>
          </p:nvSpPr>
          <p:spPr bwMode="gray">
            <a:xfrm>
              <a:off x="-6621463" y="23813"/>
              <a:ext cx="2805112" cy="2452688"/>
            </a:xfrm>
            <a:custGeom>
              <a:avLst/>
              <a:gdLst/>
              <a:ahLst/>
              <a:cxnLst>
                <a:cxn ang="0">
                  <a:pos x="909" y="40"/>
                </a:cxn>
                <a:cxn ang="0">
                  <a:pos x="704" y="0"/>
                </a:cxn>
                <a:cxn ang="0">
                  <a:pos x="675" y="106"/>
                </a:cxn>
                <a:cxn ang="0">
                  <a:pos x="666" y="220"/>
                </a:cxn>
                <a:cxn ang="0">
                  <a:pos x="597" y="151"/>
                </a:cxn>
                <a:cxn ang="0">
                  <a:pos x="569" y="269"/>
                </a:cxn>
                <a:cxn ang="0">
                  <a:pos x="500" y="194"/>
                </a:cxn>
                <a:cxn ang="0">
                  <a:pos x="477" y="102"/>
                </a:cxn>
                <a:cxn ang="0">
                  <a:pos x="366" y="90"/>
                </a:cxn>
                <a:cxn ang="0">
                  <a:pos x="264" y="99"/>
                </a:cxn>
                <a:cxn ang="0">
                  <a:pos x="170" y="144"/>
                </a:cxn>
                <a:cxn ang="0">
                  <a:pos x="141" y="208"/>
                </a:cxn>
                <a:cxn ang="0">
                  <a:pos x="174" y="276"/>
                </a:cxn>
                <a:cxn ang="0">
                  <a:pos x="243" y="345"/>
                </a:cxn>
                <a:cxn ang="0">
                  <a:pos x="198" y="371"/>
                </a:cxn>
                <a:cxn ang="0">
                  <a:pos x="172" y="529"/>
                </a:cxn>
                <a:cxn ang="0">
                  <a:pos x="108" y="704"/>
                </a:cxn>
                <a:cxn ang="0">
                  <a:pos x="2" y="709"/>
                </a:cxn>
                <a:cxn ang="0">
                  <a:pos x="0" y="791"/>
                </a:cxn>
                <a:cxn ang="0">
                  <a:pos x="82" y="810"/>
                </a:cxn>
                <a:cxn ang="0">
                  <a:pos x="172" y="886"/>
                </a:cxn>
                <a:cxn ang="0">
                  <a:pos x="271" y="886"/>
                </a:cxn>
                <a:cxn ang="0">
                  <a:pos x="335" y="820"/>
                </a:cxn>
                <a:cxn ang="0">
                  <a:pos x="422" y="886"/>
                </a:cxn>
                <a:cxn ang="0">
                  <a:pos x="413" y="987"/>
                </a:cxn>
                <a:cxn ang="0">
                  <a:pos x="399" y="1046"/>
                </a:cxn>
                <a:cxn ang="0">
                  <a:pos x="517" y="1044"/>
                </a:cxn>
                <a:cxn ang="0">
                  <a:pos x="578" y="1044"/>
                </a:cxn>
                <a:cxn ang="0">
                  <a:pos x="604" y="983"/>
                </a:cxn>
                <a:cxn ang="0">
                  <a:pos x="557" y="881"/>
                </a:cxn>
                <a:cxn ang="0">
                  <a:pos x="595" y="836"/>
                </a:cxn>
                <a:cxn ang="0">
                  <a:pos x="687" y="803"/>
                </a:cxn>
                <a:cxn ang="0">
                  <a:pos x="734" y="874"/>
                </a:cxn>
                <a:cxn ang="0">
                  <a:pos x="824" y="813"/>
                </a:cxn>
                <a:cxn ang="0">
                  <a:pos x="831" y="919"/>
                </a:cxn>
                <a:cxn ang="0">
                  <a:pos x="822" y="1009"/>
                </a:cxn>
                <a:cxn ang="0">
                  <a:pos x="852" y="1094"/>
                </a:cxn>
                <a:cxn ang="0">
                  <a:pos x="890" y="1153"/>
                </a:cxn>
                <a:cxn ang="0">
                  <a:pos x="954" y="1209"/>
                </a:cxn>
                <a:cxn ang="0">
                  <a:pos x="989" y="1335"/>
                </a:cxn>
                <a:cxn ang="0">
                  <a:pos x="1022" y="1391"/>
                </a:cxn>
                <a:cxn ang="0">
                  <a:pos x="982" y="1483"/>
                </a:cxn>
                <a:cxn ang="0">
                  <a:pos x="1044" y="1542"/>
                </a:cxn>
                <a:cxn ang="0">
                  <a:pos x="1084" y="1493"/>
                </a:cxn>
                <a:cxn ang="0">
                  <a:pos x="1202" y="1450"/>
                </a:cxn>
                <a:cxn ang="0">
                  <a:pos x="1304" y="1412"/>
                </a:cxn>
                <a:cxn ang="0">
                  <a:pos x="1405" y="1389"/>
                </a:cxn>
                <a:cxn ang="0">
                  <a:pos x="1391" y="1290"/>
                </a:cxn>
                <a:cxn ang="0">
                  <a:pos x="1386" y="1176"/>
                </a:cxn>
                <a:cxn ang="0">
                  <a:pos x="1502" y="1103"/>
                </a:cxn>
                <a:cxn ang="0">
                  <a:pos x="1547" y="940"/>
                </a:cxn>
                <a:cxn ang="0">
                  <a:pos x="1533" y="796"/>
                </a:cxn>
                <a:cxn ang="0">
                  <a:pos x="1493" y="635"/>
                </a:cxn>
                <a:cxn ang="0">
                  <a:pos x="1597" y="619"/>
                </a:cxn>
                <a:cxn ang="0">
                  <a:pos x="1726" y="548"/>
                </a:cxn>
                <a:cxn ang="0">
                  <a:pos x="1589" y="446"/>
                </a:cxn>
                <a:cxn ang="0">
                  <a:pos x="1415" y="328"/>
                </a:cxn>
                <a:cxn ang="0">
                  <a:pos x="1322" y="319"/>
                </a:cxn>
                <a:cxn ang="0">
                  <a:pos x="1162" y="290"/>
                </a:cxn>
                <a:cxn ang="0">
                  <a:pos x="694" y="425"/>
                </a:cxn>
                <a:cxn ang="0">
                  <a:pos x="857" y="479"/>
                </a:cxn>
                <a:cxn ang="0">
                  <a:pos x="772" y="555"/>
                </a:cxn>
                <a:cxn ang="0">
                  <a:pos x="692" y="432"/>
                </a:cxn>
              </a:cxnLst>
              <a:rect l="0" t="0" r="r" b="b"/>
              <a:pathLst>
                <a:path w="1767" h="1545">
                  <a:moveTo>
                    <a:pt x="1093" y="231"/>
                  </a:moveTo>
                  <a:lnTo>
                    <a:pt x="1067" y="205"/>
                  </a:lnTo>
                  <a:lnTo>
                    <a:pt x="1044" y="182"/>
                  </a:lnTo>
                  <a:lnTo>
                    <a:pt x="1022" y="149"/>
                  </a:lnTo>
                  <a:lnTo>
                    <a:pt x="961" y="97"/>
                  </a:lnTo>
                  <a:lnTo>
                    <a:pt x="933" y="54"/>
                  </a:lnTo>
                  <a:lnTo>
                    <a:pt x="909" y="40"/>
                  </a:lnTo>
                  <a:lnTo>
                    <a:pt x="869" y="33"/>
                  </a:lnTo>
                  <a:lnTo>
                    <a:pt x="831" y="42"/>
                  </a:lnTo>
                  <a:lnTo>
                    <a:pt x="798" y="45"/>
                  </a:lnTo>
                  <a:lnTo>
                    <a:pt x="770" y="38"/>
                  </a:lnTo>
                  <a:lnTo>
                    <a:pt x="748" y="16"/>
                  </a:lnTo>
                  <a:lnTo>
                    <a:pt x="727" y="0"/>
                  </a:lnTo>
                  <a:lnTo>
                    <a:pt x="704" y="0"/>
                  </a:lnTo>
                  <a:lnTo>
                    <a:pt x="682" y="12"/>
                  </a:lnTo>
                  <a:lnTo>
                    <a:pt x="668" y="45"/>
                  </a:lnTo>
                  <a:lnTo>
                    <a:pt x="661" y="71"/>
                  </a:lnTo>
                  <a:lnTo>
                    <a:pt x="652" y="90"/>
                  </a:lnTo>
                  <a:lnTo>
                    <a:pt x="649" y="118"/>
                  </a:lnTo>
                  <a:lnTo>
                    <a:pt x="666" y="116"/>
                  </a:lnTo>
                  <a:lnTo>
                    <a:pt x="675" y="106"/>
                  </a:lnTo>
                  <a:lnTo>
                    <a:pt x="687" y="106"/>
                  </a:lnTo>
                  <a:lnTo>
                    <a:pt x="706" y="120"/>
                  </a:lnTo>
                  <a:lnTo>
                    <a:pt x="715" y="142"/>
                  </a:lnTo>
                  <a:lnTo>
                    <a:pt x="715" y="175"/>
                  </a:lnTo>
                  <a:lnTo>
                    <a:pt x="706" y="205"/>
                  </a:lnTo>
                  <a:lnTo>
                    <a:pt x="689" y="217"/>
                  </a:lnTo>
                  <a:lnTo>
                    <a:pt x="666" y="220"/>
                  </a:lnTo>
                  <a:lnTo>
                    <a:pt x="656" y="196"/>
                  </a:lnTo>
                  <a:lnTo>
                    <a:pt x="654" y="179"/>
                  </a:lnTo>
                  <a:lnTo>
                    <a:pt x="647" y="175"/>
                  </a:lnTo>
                  <a:lnTo>
                    <a:pt x="640" y="189"/>
                  </a:lnTo>
                  <a:lnTo>
                    <a:pt x="628" y="191"/>
                  </a:lnTo>
                  <a:lnTo>
                    <a:pt x="614" y="175"/>
                  </a:lnTo>
                  <a:lnTo>
                    <a:pt x="597" y="151"/>
                  </a:lnTo>
                  <a:lnTo>
                    <a:pt x="581" y="151"/>
                  </a:lnTo>
                  <a:lnTo>
                    <a:pt x="562" y="161"/>
                  </a:lnTo>
                  <a:lnTo>
                    <a:pt x="557" y="184"/>
                  </a:lnTo>
                  <a:lnTo>
                    <a:pt x="564" y="203"/>
                  </a:lnTo>
                  <a:lnTo>
                    <a:pt x="574" y="217"/>
                  </a:lnTo>
                  <a:lnTo>
                    <a:pt x="576" y="246"/>
                  </a:lnTo>
                  <a:lnTo>
                    <a:pt x="569" y="269"/>
                  </a:lnTo>
                  <a:lnTo>
                    <a:pt x="550" y="286"/>
                  </a:lnTo>
                  <a:lnTo>
                    <a:pt x="531" y="281"/>
                  </a:lnTo>
                  <a:lnTo>
                    <a:pt x="517" y="260"/>
                  </a:lnTo>
                  <a:lnTo>
                    <a:pt x="505" y="239"/>
                  </a:lnTo>
                  <a:lnTo>
                    <a:pt x="491" y="217"/>
                  </a:lnTo>
                  <a:lnTo>
                    <a:pt x="489" y="205"/>
                  </a:lnTo>
                  <a:lnTo>
                    <a:pt x="500" y="194"/>
                  </a:lnTo>
                  <a:lnTo>
                    <a:pt x="515" y="187"/>
                  </a:lnTo>
                  <a:lnTo>
                    <a:pt x="519" y="177"/>
                  </a:lnTo>
                  <a:lnTo>
                    <a:pt x="512" y="161"/>
                  </a:lnTo>
                  <a:lnTo>
                    <a:pt x="496" y="149"/>
                  </a:lnTo>
                  <a:lnTo>
                    <a:pt x="493" y="135"/>
                  </a:lnTo>
                  <a:lnTo>
                    <a:pt x="489" y="113"/>
                  </a:lnTo>
                  <a:lnTo>
                    <a:pt x="477" y="102"/>
                  </a:lnTo>
                  <a:lnTo>
                    <a:pt x="456" y="97"/>
                  </a:lnTo>
                  <a:lnTo>
                    <a:pt x="425" y="94"/>
                  </a:lnTo>
                  <a:lnTo>
                    <a:pt x="408" y="94"/>
                  </a:lnTo>
                  <a:lnTo>
                    <a:pt x="399" y="99"/>
                  </a:lnTo>
                  <a:lnTo>
                    <a:pt x="387" y="102"/>
                  </a:lnTo>
                  <a:lnTo>
                    <a:pt x="375" y="97"/>
                  </a:lnTo>
                  <a:lnTo>
                    <a:pt x="366" y="90"/>
                  </a:lnTo>
                  <a:lnTo>
                    <a:pt x="352" y="90"/>
                  </a:lnTo>
                  <a:lnTo>
                    <a:pt x="337" y="102"/>
                  </a:lnTo>
                  <a:lnTo>
                    <a:pt x="323" y="109"/>
                  </a:lnTo>
                  <a:lnTo>
                    <a:pt x="309" y="116"/>
                  </a:lnTo>
                  <a:lnTo>
                    <a:pt x="293" y="113"/>
                  </a:lnTo>
                  <a:lnTo>
                    <a:pt x="278" y="104"/>
                  </a:lnTo>
                  <a:lnTo>
                    <a:pt x="264" y="99"/>
                  </a:lnTo>
                  <a:lnTo>
                    <a:pt x="248" y="99"/>
                  </a:lnTo>
                  <a:lnTo>
                    <a:pt x="224" y="106"/>
                  </a:lnTo>
                  <a:lnTo>
                    <a:pt x="207" y="116"/>
                  </a:lnTo>
                  <a:lnTo>
                    <a:pt x="198" y="127"/>
                  </a:lnTo>
                  <a:lnTo>
                    <a:pt x="191" y="137"/>
                  </a:lnTo>
                  <a:lnTo>
                    <a:pt x="184" y="142"/>
                  </a:lnTo>
                  <a:lnTo>
                    <a:pt x="170" y="144"/>
                  </a:lnTo>
                  <a:lnTo>
                    <a:pt x="160" y="156"/>
                  </a:lnTo>
                  <a:lnTo>
                    <a:pt x="158" y="168"/>
                  </a:lnTo>
                  <a:lnTo>
                    <a:pt x="167" y="177"/>
                  </a:lnTo>
                  <a:lnTo>
                    <a:pt x="174" y="187"/>
                  </a:lnTo>
                  <a:lnTo>
                    <a:pt x="170" y="196"/>
                  </a:lnTo>
                  <a:lnTo>
                    <a:pt x="158" y="205"/>
                  </a:lnTo>
                  <a:lnTo>
                    <a:pt x="141" y="208"/>
                  </a:lnTo>
                  <a:lnTo>
                    <a:pt x="130" y="215"/>
                  </a:lnTo>
                  <a:lnTo>
                    <a:pt x="120" y="231"/>
                  </a:lnTo>
                  <a:lnTo>
                    <a:pt x="120" y="248"/>
                  </a:lnTo>
                  <a:lnTo>
                    <a:pt x="122" y="264"/>
                  </a:lnTo>
                  <a:lnTo>
                    <a:pt x="134" y="274"/>
                  </a:lnTo>
                  <a:lnTo>
                    <a:pt x="156" y="274"/>
                  </a:lnTo>
                  <a:lnTo>
                    <a:pt x="174" y="276"/>
                  </a:lnTo>
                  <a:lnTo>
                    <a:pt x="200" y="279"/>
                  </a:lnTo>
                  <a:lnTo>
                    <a:pt x="226" y="286"/>
                  </a:lnTo>
                  <a:lnTo>
                    <a:pt x="252" y="302"/>
                  </a:lnTo>
                  <a:lnTo>
                    <a:pt x="262" y="316"/>
                  </a:lnTo>
                  <a:lnTo>
                    <a:pt x="267" y="335"/>
                  </a:lnTo>
                  <a:lnTo>
                    <a:pt x="262" y="345"/>
                  </a:lnTo>
                  <a:lnTo>
                    <a:pt x="243" y="345"/>
                  </a:lnTo>
                  <a:lnTo>
                    <a:pt x="231" y="335"/>
                  </a:lnTo>
                  <a:lnTo>
                    <a:pt x="224" y="321"/>
                  </a:lnTo>
                  <a:lnTo>
                    <a:pt x="212" y="312"/>
                  </a:lnTo>
                  <a:lnTo>
                    <a:pt x="205" y="312"/>
                  </a:lnTo>
                  <a:lnTo>
                    <a:pt x="198" y="328"/>
                  </a:lnTo>
                  <a:lnTo>
                    <a:pt x="196" y="345"/>
                  </a:lnTo>
                  <a:lnTo>
                    <a:pt x="198" y="371"/>
                  </a:lnTo>
                  <a:lnTo>
                    <a:pt x="191" y="397"/>
                  </a:lnTo>
                  <a:lnTo>
                    <a:pt x="184" y="425"/>
                  </a:lnTo>
                  <a:lnTo>
                    <a:pt x="182" y="456"/>
                  </a:lnTo>
                  <a:lnTo>
                    <a:pt x="193" y="477"/>
                  </a:lnTo>
                  <a:lnTo>
                    <a:pt x="193" y="496"/>
                  </a:lnTo>
                  <a:lnTo>
                    <a:pt x="189" y="515"/>
                  </a:lnTo>
                  <a:lnTo>
                    <a:pt x="172" y="529"/>
                  </a:lnTo>
                  <a:lnTo>
                    <a:pt x="153" y="546"/>
                  </a:lnTo>
                  <a:lnTo>
                    <a:pt x="137" y="572"/>
                  </a:lnTo>
                  <a:lnTo>
                    <a:pt x="134" y="605"/>
                  </a:lnTo>
                  <a:lnTo>
                    <a:pt x="127" y="640"/>
                  </a:lnTo>
                  <a:lnTo>
                    <a:pt x="118" y="666"/>
                  </a:lnTo>
                  <a:lnTo>
                    <a:pt x="113" y="694"/>
                  </a:lnTo>
                  <a:lnTo>
                    <a:pt x="108" y="704"/>
                  </a:lnTo>
                  <a:lnTo>
                    <a:pt x="89" y="706"/>
                  </a:lnTo>
                  <a:lnTo>
                    <a:pt x="70" y="701"/>
                  </a:lnTo>
                  <a:lnTo>
                    <a:pt x="59" y="697"/>
                  </a:lnTo>
                  <a:lnTo>
                    <a:pt x="40" y="694"/>
                  </a:lnTo>
                  <a:lnTo>
                    <a:pt x="19" y="694"/>
                  </a:lnTo>
                  <a:lnTo>
                    <a:pt x="4" y="699"/>
                  </a:lnTo>
                  <a:lnTo>
                    <a:pt x="2" y="709"/>
                  </a:lnTo>
                  <a:lnTo>
                    <a:pt x="9" y="720"/>
                  </a:lnTo>
                  <a:lnTo>
                    <a:pt x="19" y="725"/>
                  </a:lnTo>
                  <a:lnTo>
                    <a:pt x="21" y="737"/>
                  </a:lnTo>
                  <a:lnTo>
                    <a:pt x="19" y="746"/>
                  </a:lnTo>
                  <a:lnTo>
                    <a:pt x="7" y="761"/>
                  </a:lnTo>
                  <a:lnTo>
                    <a:pt x="2" y="772"/>
                  </a:lnTo>
                  <a:lnTo>
                    <a:pt x="0" y="791"/>
                  </a:lnTo>
                  <a:lnTo>
                    <a:pt x="4" y="805"/>
                  </a:lnTo>
                  <a:lnTo>
                    <a:pt x="16" y="815"/>
                  </a:lnTo>
                  <a:lnTo>
                    <a:pt x="33" y="815"/>
                  </a:lnTo>
                  <a:lnTo>
                    <a:pt x="49" y="810"/>
                  </a:lnTo>
                  <a:lnTo>
                    <a:pt x="61" y="803"/>
                  </a:lnTo>
                  <a:lnTo>
                    <a:pt x="75" y="801"/>
                  </a:lnTo>
                  <a:lnTo>
                    <a:pt x="82" y="810"/>
                  </a:lnTo>
                  <a:lnTo>
                    <a:pt x="85" y="829"/>
                  </a:lnTo>
                  <a:lnTo>
                    <a:pt x="85" y="843"/>
                  </a:lnTo>
                  <a:lnTo>
                    <a:pt x="89" y="857"/>
                  </a:lnTo>
                  <a:lnTo>
                    <a:pt x="104" y="874"/>
                  </a:lnTo>
                  <a:lnTo>
                    <a:pt x="120" y="886"/>
                  </a:lnTo>
                  <a:lnTo>
                    <a:pt x="144" y="888"/>
                  </a:lnTo>
                  <a:lnTo>
                    <a:pt x="172" y="886"/>
                  </a:lnTo>
                  <a:lnTo>
                    <a:pt x="200" y="886"/>
                  </a:lnTo>
                  <a:lnTo>
                    <a:pt x="222" y="881"/>
                  </a:lnTo>
                  <a:lnTo>
                    <a:pt x="231" y="876"/>
                  </a:lnTo>
                  <a:lnTo>
                    <a:pt x="245" y="879"/>
                  </a:lnTo>
                  <a:lnTo>
                    <a:pt x="255" y="883"/>
                  </a:lnTo>
                  <a:lnTo>
                    <a:pt x="264" y="888"/>
                  </a:lnTo>
                  <a:lnTo>
                    <a:pt x="271" y="886"/>
                  </a:lnTo>
                  <a:lnTo>
                    <a:pt x="281" y="872"/>
                  </a:lnTo>
                  <a:lnTo>
                    <a:pt x="288" y="853"/>
                  </a:lnTo>
                  <a:lnTo>
                    <a:pt x="295" y="836"/>
                  </a:lnTo>
                  <a:lnTo>
                    <a:pt x="307" y="822"/>
                  </a:lnTo>
                  <a:lnTo>
                    <a:pt x="316" y="815"/>
                  </a:lnTo>
                  <a:lnTo>
                    <a:pt x="328" y="815"/>
                  </a:lnTo>
                  <a:lnTo>
                    <a:pt x="335" y="820"/>
                  </a:lnTo>
                  <a:lnTo>
                    <a:pt x="345" y="831"/>
                  </a:lnTo>
                  <a:lnTo>
                    <a:pt x="363" y="843"/>
                  </a:lnTo>
                  <a:lnTo>
                    <a:pt x="375" y="853"/>
                  </a:lnTo>
                  <a:lnTo>
                    <a:pt x="389" y="864"/>
                  </a:lnTo>
                  <a:lnTo>
                    <a:pt x="401" y="864"/>
                  </a:lnTo>
                  <a:lnTo>
                    <a:pt x="413" y="872"/>
                  </a:lnTo>
                  <a:lnTo>
                    <a:pt x="422" y="886"/>
                  </a:lnTo>
                  <a:lnTo>
                    <a:pt x="427" y="900"/>
                  </a:lnTo>
                  <a:lnTo>
                    <a:pt x="430" y="912"/>
                  </a:lnTo>
                  <a:lnTo>
                    <a:pt x="432" y="928"/>
                  </a:lnTo>
                  <a:lnTo>
                    <a:pt x="427" y="954"/>
                  </a:lnTo>
                  <a:lnTo>
                    <a:pt x="420" y="964"/>
                  </a:lnTo>
                  <a:lnTo>
                    <a:pt x="413" y="978"/>
                  </a:lnTo>
                  <a:lnTo>
                    <a:pt x="413" y="987"/>
                  </a:lnTo>
                  <a:lnTo>
                    <a:pt x="420" y="994"/>
                  </a:lnTo>
                  <a:lnTo>
                    <a:pt x="434" y="999"/>
                  </a:lnTo>
                  <a:lnTo>
                    <a:pt x="437" y="1006"/>
                  </a:lnTo>
                  <a:lnTo>
                    <a:pt x="439" y="1016"/>
                  </a:lnTo>
                  <a:lnTo>
                    <a:pt x="427" y="1025"/>
                  </a:lnTo>
                  <a:lnTo>
                    <a:pt x="413" y="1035"/>
                  </a:lnTo>
                  <a:lnTo>
                    <a:pt x="399" y="1046"/>
                  </a:lnTo>
                  <a:lnTo>
                    <a:pt x="396" y="1058"/>
                  </a:lnTo>
                  <a:lnTo>
                    <a:pt x="399" y="1070"/>
                  </a:lnTo>
                  <a:lnTo>
                    <a:pt x="413" y="1075"/>
                  </a:lnTo>
                  <a:lnTo>
                    <a:pt x="437" y="1075"/>
                  </a:lnTo>
                  <a:lnTo>
                    <a:pt x="465" y="1068"/>
                  </a:lnTo>
                  <a:lnTo>
                    <a:pt x="493" y="1056"/>
                  </a:lnTo>
                  <a:lnTo>
                    <a:pt x="517" y="1044"/>
                  </a:lnTo>
                  <a:lnTo>
                    <a:pt x="531" y="1032"/>
                  </a:lnTo>
                  <a:lnTo>
                    <a:pt x="541" y="1023"/>
                  </a:lnTo>
                  <a:lnTo>
                    <a:pt x="555" y="1023"/>
                  </a:lnTo>
                  <a:lnTo>
                    <a:pt x="559" y="1027"/>
                  </a:lnTo>
                  <a:lnTo>
                    <a:pt x="564" y="1037"/>
                  </a:lnTo>
                  <a:lnTo>
                    <a:pt x="569" y="1044"/>
                  </a:lnTo>
                  <a:lnTo>
                    <a:pt x="578" y="1044"/>
                  </a:lnTo>
                  <a:lnTo>
                    <a:pt x="588" y="1035"/>
                  </a:lnTo>
                  <a:lnTo>
                    <a:pt x="593" y="1025"/>
                  </a:lnTo>
                  <a:lnTo>
                    <a:pt x="597" y="1018"/>
                  </a:lnTo>
                  <a:lnTo>
                    <a:pt x="607" y="1013"/>
                  </a:lnTo>
                  <a:lnTo>
                    <a:pt x="616" y="1004"/>
                  </a:lnTo>
                  <a:lnTo>
                    <a:pt x="616" y="997"/>
                  </a:lnTo>
                  <a:lnTo>
                    <a:pt x="604" y="983"/>
                  </a:lnTo>
                  <a:lnTo>
                    <a:pt x="590" y="971"/>
                  </a:lnTo>
                  <a:lnTo>
                    <a:pt x="578" y="964"/>
                  </a:lnTo>
                  <a:lnTo>
                    <a:pt x="569" y="957"/>
                  </a:lnTo>
                  <a:lnTo>
                    <a:pt x="564" y="935"/>
                  </a:lnTo>
                  <a:lnTo>
                    <a:pt x="564" y="914"/>
                  </a:lnTo>
                  <a:lnTo>
                    <a:pt x="564" y="890"/>
                  </a:lnTo>
                  <a:lnTo>
                    <a:pt x="557" y="881"/>
                  </a:lnTo>
                  <a:lnTo>
                    <a:pt x="548" y="869"/>
                  </a:lnTo>
                  <a:lnTo>
                    <a:pt x="541" y="860"/>
                  </a:lnTo>
                  <a:lnTo>
                    <a:pt x="541" y="848"/>
                  </a:lnTo>
                  <a:lnTo>
                    <a:pt x="548" y="834"/>
                  </a:lnTo>
                  <a:lnTo>
                    <a:pt x="564" y="829"/>
                  </a:lnTo>
                  <a:lnTo>
                    <a:pt x="576" y="829"/>
                  </a:lnTo>
                  <a:lnTo>
                    <a:pt x="595" y="836"/>
                  </a:lnTo>
                  <a:lnTo>
                    <a:pt x="607" y="838"/>
                  </a:lnTo>
                  <a:lnTo>
                    <a:pt x="619" y="838"/>
                  </a:lnTo>
                  <a:lnTo>
                    <a:pt x="633" y="834"/>
                  </a:lnTo>
                  <a:lnTo>
                    <a:pt x="645" y="824"/>
                  </a:lnTo>
                  <a:lnTo>
                    <a:pt x="659" y="810"/>
                  </a:lnTo>
                  <a:lnTo>
                    <a:pt x="673" y="803"/>
                  </a:lnTo>
                  <a:lnTo>
                    <a:pt x="687" y="803"/>
                  </a:lnTo>
                  <a:lnTo>
                    <a:pt x="699" y="805"/>
                  </a:lnTo>
                  <a:lnTo>
                    <a:pt x="706" y="815"/>
                  </a:lnTo>
                  <a:lnTo>
                    <a:pt x="708" y="831"/>
                  </a:lnTo>
                  <a:lnTo>
                    <a:pt x="708" y="846"/>
                  </a:lnTo>
                  <a:lnTo>
                    <a:pt x="711" y="862"/>
                  </a:lnTo>
                  <a:lnTo>
                    <a:pt x="720" y="869"/>
                  </a:lnTo>
                  <a:lnTo>
                    <a:pt x="734" y="874"/>
                  </a:lnTo>
                  <a:lnTo>
                    <a:pt x="744" y="874"/>
                  </a:lnTo>
                  <a:lnTo>
                    <a:pt x="763" y="864"/>
                  </a:lnTo>
                  <a:lnTo>
                    <a:pt x="772" y="848"/>
                  </a:lnTo>
                  <a:lnTo>
                    <a:pt x="789" y="841"/>
                  </a:lnTo>
                  <a:lnTo>
                    <a:pt x="800" y="831"/>
                  </a:lnTo>
                  <a:lnTo>
                    <a:pt x="808" y="820"/>
                  </a:lnTo>
                  <a:lnTo>
                    <a:pt x="824" y="813"/>
                  </a:lnTo>
                  <a:lnTo>
                    <a:pt x="838" y="815"/>
                  </a:lnTo>
                  <a:lnTo>
                    <a:pt x="848" y="824"/>
                  </a:lnTo>
                  <a:lnTo>
                    <a:pt x="855" y="841"/>
                  </a:lnTo>
                  <a:lnTo>
                    <a:pt x="857" y="869"/>
                  </a:lnTo>
                  <a:lnTo>
                    <a:pt x="855" y="890"/>
                  </a:lnTo>
                  <a:lnTo>
                    <a:pt x="848" y="905"/>
                  </a:lnTo>
                  <a:lnTo>
                    <a:pt x="831" y="919"/>
                  </a:lnTo>
                  <a:lnTo>
                    <a:pt x="815" y="931"/>
                  </a:lnTo>
                  <a:lnTo>
                    <a:pt x="803" y="942"/>
                  </a:lnTo>
                  <a:lnTo>
                    <a:pt x="805" y="954"/>
                  </a:lnTo>
                  <a:lnTo>
                    <a:pt x="815" y="961"/>
                  </a:lnTo>
                  <a:lnTo>
                    <a:pt x="817" y="975"/>
                  </a:lnTo>
                  <a:lnTo>
                    <a:pt x="822" y="990"/>
                  </a:lnTo>
                  <a:lnTo>
                    <a:pt x="822" y="1009"/>
                  </a:lnTo>
                  <a:lnTo>
                    <a:pt x="817" y="1027"/>
                  </a:lnTo>
                  <a:lnTo>
                    <a:pt x="819" y="1042"/>
                  </a:lnTo>
                  <a:lnTo>
                    <a:pt x="838" y="1053"/>
                  </a:lnTo>
                  <a:lnTo>
                    <a:pt x="862" y="1063"/>
                  </a:lnTo>
                  <a:lnTo>
                    <a:pt x="864" y="1075"/>
                  </a:lnTo>
                  <a:lnTo>
                    <a:pt x="862" y="1084"/>
                  </a:lnTo>
                  <a:lnTo>
                    <a:pt x="852" y="1094"/>
                  </a:lnTo>
                  <a:lnTo>
                    <a:pt x="852" y="1101"/>
                  </a:lnTo>
                  <a:lnTo>
                    <a:pt x="852" y="1112"/>
                  </a:lnTo>
                  <a:lnTo>
                    <a:pt x="862" y="1122"/>
                  </a:lnTo>
                  <a:lnTo>
                    <a:pt x="876" y="1124"/>
                  </a:lnTo>
                  <a:lnTo>
                    <a:pt x="883" y="1129"/>
                  </a:lnTo>
                  <a:lnTo>
                    <a:pt x="890" y="1138"/>
                  </a:lnTo>
                  <a:lnTo>
                    <a:pt x="890" y="1153"/>
                  </a:lnTo>
                  <a:lnTo>
                    <a:pt x="893" y="1164"/>
                  </a:lnTo>
                  <a:lnTo>
                    <a:pt x="897" y="1169"/>
                  </a:lnTo>
                  <a:lnTo>
                    <a:pt x="902" y="1181"/>
                  </a:lnTo>
                  <a:lnTo>
                    <a:pt x="909" y="1188"/>
                  </a:lnTo>
                  <a:lnTo>
                    <a:pt x="933" y="1193"/>
                  </a:lnTo>
                  <a:lnTo>
                    <a:pt x="945" y="1195"/>
                  </a:lnTo>
                  <a:lnTo>
                    <a:pt x="954" y="1209"/>
                  </a:lnTo>
                  <a:lnTo>
                    <a:pt x="954" y="1233"/>
                  </a:lnTo>
                  <a:lnTo>
                    <a:pt x="940" y="1257"/>
                  </a:lnTo>
                  <a:lnTo>
                    <a:pt x="928" y="1283"/>
                  </a:lnTo>
                  <a:lnTo>
                    <a:pt x="923" y="1309"/>
                  </a:lnTo>
                  <a:lnTo>
                    <a:pt x="928" y="1318"/>
                  </a:lnTo>
                  <a:lnTo>
                    <a:pt x="956" y="1332"/>
                  </a:lnTo>
                  <a:lnTo>
                    <a:pt x="989" y="1335"/>
                  </a:lnTo>
                  <a:lnTo>
                    <a:pt x="1020" y="1335"/>
                  </a:lnTo>
                  <a:lnTo>
                    <a:pt x="1034" y="1344"/>
                  </a:lnTo>
                  <a:lnTo>
                    <a:pt x="1046" y="1365"/>
                  </a:lnTo>
                  <a:lnTo>
                    <a:pt x="1051" y="1379"/>
                  </a:lnTo>
                  <a:lnTo>
                    <a:pt x="1048" y="1389"/>
                  </a:lnTo>
                  <a:lnTo>
                    <a:pt x="1037" y="1394"/>
                  </a:lnTo>
                  <a:lnTo>
                    <a:pt x="1022" y="1391"/>
                  </a:lnTo>
                  <a:lnTo>
                    <a:pt x="1013" y="1403"/>
                  </a:lnTo>
                  <a:lnTo>
                    <a:pt x="1013" y="1420"/>
                  </a:lnTo>
                  <a:lnTo>
                    <a:pt x="1020" y="1429"/>
                  </a:lnTo>
                  <a:lnTo>
                    <a:pt x="1022" y="1448"/>
                  </a:lnTo>
                  <a:lnTo>
                    <a:pt x="1018" y="1462"/>
                  </a:lnTo>
                  <a:lnTo>
                    <a:pt x="1001" y="1472"/>
                  </a:lnTo>
                  <a:lnTo>
                    <a:pt x="982" y="1483"/>
                  </a:lnTo>
                  <a:lnTo>
                    <a:pt x="975" y="1493"/>
                  </a:lnTo>
                  <a:lnTo>
                    <a:pt x="971" y="1507"/>
                  </a:lnTo>
                  <a:lnTo>
                    <a:pt x="975" y="1524"/>
                  </a:lnTo>
                  <a:lnTo>
                    <a:pt x="992" y="1533"/>
                  </a:lnTo>
                  <a:lnTo>
                    <a:pt x="1011" y="1542"/>
                  </a:lnTo>
                  <a:lnTo>
                    <a:pt x="1025" y="1545"/>
                  </a:lnTo>
                  <a:lnTo>
                    <a:pt x="1044" y="1542"/>
                  </a:lnTo>
                  <a:lnTo>
                    <a:pt x="1053" y="1540"/>
                  </a:lnTo>
                  <a:lnTo>
                    <a:pt x="1060" y="1526"/>
                  </a:lnTo>
                  <a:lnTo>
                    <a:pt x="1058" y="1516"/>
                  </a:lnTo>
                  <a:lnTo>
                    <a:pt x="1056" y="1507"/>
                  </a:lnTo>
                  <a:lnTo>
                    <a:pt x="1056" y="1498"/>
                  </a:lnTo>
                  <a:lnTo>
                    <a:pt x="1065" y="1493"/>
                  </a:lnTo>
                  <a:lnTo>
                    <a:pt x="1084" y="1493"/>
                  </a:lnTo>
                  <a:lnTo>
                    <a:pt x="1098" y="1493"/>
                  </a:lnTo>
                  <a:lnTo>
                    <a:pt x="1112" y="1490"/>
                  </a:lnTo>
                  <a:lnTo>
                    <a:pt x="1124" y="1481"/>
                  </a:lnTo>
                  <a:lnTo>
                    <a:pt x="1155" y="1462"/>
                  </a:lnTo>
                  <a:lnTo>
                    <a:pt x="1171" y="1455"/>
                  </a:lnTo>
                  <a:lnTo>
                    <a:pt x="1188" y="1450"/>
                  </a:lnTo>
                  <a:lnTo>
                    <a:pt x="1202" y="1450"/>
                  </a:lnTo>
                  <a:lnTo>
                    <a:pt x="1214" y="1443"/>
                  </a:lnTo>
                  <a:lnTo>
                    <a:pt x="1228" y="1429"/>
                  </a:lnTo>
                  <a:lnTo>
                    <a:pt x="1240" y="1415"/>
                  </a:lnTo>
                  <a:lnTo>
                    <a:pt x="1254" y="1405"/>
                  </a:lnTo>
                  <a:lnTo>
                    <a:pt x="1273" y="1403"/>
                  </a:lnTo>
                  <a:lnTo>
                    <a:pt x="1289" y="1405"/>
                  </a:lnTo>
                  <a:lnTo>
                    <a:pt x="1304" y="1412"/>
                  </a:lnTo>
                  <a:lnTo>
                    <a:pt x="1315" y="1415"/>
                  </a:lnTo>
                  <a:lnTo>
                    <a:pt x="1334" y="1408"/>
                  </a:lnTo>
                  <a:lnTo>
                    <a:pt x="1353" y="1398"/>
                  </a:lnTo>
                  <a:lnTo>
                    <a:pt x="1365" y="1394"/>
                  </a:lnTo>
                  <a:lnTo>
                    <a:pt x="1379" y="1391"/>
                  </a:lnTo>
                  <a:lnTo>
                    <a:pt x="1396" y="1391"/>
                  </a:lnTo>
                  <a:lnTo>
                    <a:pt x="1405" y="1389"/>
                  </a:lnTo>
                  <a:lnTo>
                    <a:pt x="1408" y="1379"/>
                  </a:lnTo>
                  <a:lnTo>
                    <a:pt x="1403" y="1370"/>
                  </a:lnTo>
                  <a:lnTo>
                    <a:pt x="1396" y="1361"/>
                  </a:lnTo>
                  <a:lnTo>
                    <a:pt x="1393" y="1349"/>
                  </a:lnTo>
                  <a:lnTo>
                    <a:pt x="1398" y="1327"/>
                  </a:lnTo>
                  <a:lnTo>
                    <a:pt x="1398" y="1304"/>
                  </a:lnTo>
                  <a:lnTo>
                    <a:pt x="1391" y="1290"/>
                  </a:lnTo>
                  <a:lnTo>
                    <a:pt x="1379" y="1261"/>
                  </a:lnTo>
                  <a:lnTo>
                    <a:pt x="1377" y="1240"/>
                  </a:lnTo>
                  <a:lnTo>
                    <a:pt x="1382" y="1219"/>
                  </a:lnTo>
                  <a:lnTo>
                    <a:pt x="1389" y="1207"/>
                  </a:lnTo>
                  <a:lnTo>
                    <a:pt x="1393" y="1200"/>
                  </a:lnTo>
                  <a:lnTo>
                    <a:pt x="1391" y="1186"/>
                  </a:lnTo>
                  <a:lnTo>
                    <a:pt x="1386" y="1176"/>
                  </a:lnTo>
                  <a:lnTo>
                    <a:pt x="1379" y="1162"/>
                  </a:lnTo>
                  <a:lnTo>
                    <a:pt x="1379" y="1148"/>
                  </a:lnTo>
                  <a:lnTo>
                    <a:pt x="1391" y="1136"/>
                  </a:lnTo>
                  <a:lnTo>
                    <a:pt x="1412" y="1134"/>
                  </a:lnTo>
                  <a:lnTo>
                    <a:pt x="1431" y="1136"/>
                  </a:lnTo>
                  <a:lnTo>
                    <a:pt x="1452" y="1134"/>
                  </a:lnTo>
                  <a:lnTo>
                    <a:pt x="1502" y="1103"/>
                  </a:lnTo>
                  <a:lnTo>
                    <a:pt x="1533" y="1072"/>
                  </a:lnTo>
                  <a:lnTo>
                    <a:pt x="1547" y="1044"/>
                  </a:lnTo>
                  <a:lnTo>
                    <a:pt x="1549" y="1016"/>
                  </a:lnTo>
                  <a:lnTo>
                    <a:pt x="1542" y="994"/>
                  </a:lnTo>
                  <a:lnTo>
                    <a:pt x="1535" y="978"/>
                  </a:lnTo>
                  <a:lnTo>
                    <a:pt x="1540" y="957"/>
                  </a:lnTo>
                  <a:lnTo>
                    <a:pt x="1547" y="940"/>
                  </a:lnTo>
                  <a:lnTo>
                    <a:pt x="1545" y="924"/>
                  </a:lnTo>
                  <a:lnTo>
                    <a:pt x="1535" y="907"/>
                  </a:lnTo>
                  <a:lnTo>
                    <a:pt x="1533" y="890"/>
                  </a:lnTo>
                  <a:lnTo>
                    <a:pt x="1545" y="874"/>
                  </a:lnTo>
                  <a:lnTo>
                    <a:pt x="1547" y="850"/>
                  </a:lnTo>
                  <a:lnTo>
                    <a:pt x="1535" y="829"/>
                  </a:lnTo>
                  <a:lnTo>
                    <a:pt x="1533" y="796"/>
                  </a:lnTo>
                  <a:lnTo>
                    <a:pt x="1516" y="765"/>
                  </a:lnTo>
                  <a:lnTo>
                    <a:pt x="1495" y="742"/>
                  </a:lnTo>
                  <a:lnTo>
                    <a:pt x="1481" y="718"/>
                  </a:lnTo>
                  <a:lnTo>
                    <a:pt x="1469" y="685"/>
                  </a:lnTo>
                  <a:lnTo>
                    <a:pt x="1467" y="657"/>
                  </a:lnTo>
                  <a:lnTo>
                    <a:pt x="1471" y="640"/>
                  </a:lnTo>
                  <a:lnTo>
                    <a:pt x="1493" y="635"/>
                  </a:lnTo>
                  <a:lnTo>
                    <a:pt x="1514" y="631"/>
                  </a:lnTo>
                  <a:lnTo>
                    <a:pt x="1526" y="619"/>
                  </a:lnTo>
                  <a:lnTo>
                    <a:pt x="1530" y="605"/>
                  </a:lnTo>
                  <a:lnTo>
                    <a:pt x="1547" y="590"/>
                  </a:lnTo>
                  <a:lnTo>
                    <a:pt x="1571" y="590"/>
                  </a:lnTo>
                  <a:lnTo>
                    <a:pt x="1585" y="600"/>
                  </a:lnTo>
                  <a:lnTo>
                    <a:pt x="1597" y="619"/>
                  </a:lnTo>
                  <a:lnTo>
                    <a:pt x="1613" y="621"/>
                  </a:lnTo>
                  <a:lnTo>
                    <a:pt x="1632" y="614"/>
                  </a:lnTo>
                  <a:lnTo>
                    <a:pt x="1646" y="607"/>
                  </a:lnTo>
                  <a:lnTo>
                    <a:pt x="1665" y="609"/>
                  </a:lnTo>
                  <a:lnTo>
                    <a:pt x="1677" y="609"/>
                  </a:lnTo>
                  <a:lnTo>
                    <a:pt x="1698" y="586"/>
                  </a:lnTo>
                  <a:lnTo>
                    <a:pt x="1726" y="548"/>
                  </a:lnTo>
                  <a:lnTo>
                    <a:pt x="1745" y="531"/>
                  </a:lnTo>
                  <a:lnTo>
                    <a:pt x="1750" y="524"/>
                  </a:lnTo>
                  <a:lnTo>
                    <a:pt x="1757" y="510"/>
                  </a:lnTo>
                  <a:lnTo>
                    <a:pt x="1767" y="498"/>
                  </a:lnTo>
                  <a:lnTo>
                    <a:pt x="1724" y="498"/>
                  </a:lnTo>
                  <a:lnTo>
                    <a:pt x="1641" y="498"/>
                  </a:lnTo>
                  <a:lnTo>
                    <a:pt x="1589" y="446"/>
                  </a:lnTo>
                  <a:lnTo>
                    <a:pt x="1575" y="437"/>
                  </a:lnTo>
                  <a:lnTo>
                    <a:pt x="1559" y="432"/>
                  </a:lnTo>
                  <a:lnTo>
                    <a:pt x="1549" y="423"/>
                  </a:lnTo>
                  <a:lnTo>
                    <a:pt x="1528" y="394"/>
                  </a:lnTo>
                  <a:lnTo>
                    <a:pt x="1476" y="390"/>
                  </a:lnTo>
                  <a:lnTo>
                    <a:pt x="1443" y="359"/>
                  </a:lnTo>
                  <a:lnTo>
                    <a:pt x="1415" y="328"/>
                  </a:lnTo>
                  <a:lnTo>
                    <a:pt x="1400" y="319"/>
                  </a:lnTo>
                  <a:lnTo>
                    <a:pt x="1398" y="328"/>
                  </a:lnTo>
                  <a:lnTo>
                    <a:pt x="1384" y="333"/>
                  </a:lnTo>
                  <a:lnTo>
                    <a:pt x="1360" y="324"/>
                  </a:lnTo>
                  <a:lnTo>
                    <a:pt x="1339" y="314"/>
                  </a:lnTo>
                  <a:lnTo>
                    <a:pt x="1330" y="307"/>
                  </a:lnTo>
                  <a:lnTo>
                    <a:pt x="1322" y="319"/>
                  </a:lnTo>
                  <a:lnTo>
                    <a:pt x="1301" y="321"/>
                  </a:lnTo>
                  <a:lnTo>
                    <a:pt x="1254" y="307"/>
                  </a:lnTo>
                  <a:lnTo>
                    <a:pt x="1235" y="300"/>
                  </a:lnTo>
                  <a:lnTo>
                    <a:pt x="1204" y="281"/>
                  </a:lnTo>
                  <a:lnTo>
                    <a:pt x="1188" y="276"/>
                  </a:lnTo>
                  <a:lnTo>
                    <a:pt x="1174" y="279"/>
                  </a:lnTo>
                  <a:lnTo>
                    <a:pt x="1162" y="290"/>
                  </a:lnTo>
                  <a:lnTo>
                    <a:pt x="1141" y="295"/>
                  </a:lnTo>
                  <a:lnTo>
                    <a:pt x="1126" y="288"/>
                  </a:lnTo>
                  <a:lnTo>
                    <a:pt x="1112" y="276"/>
                  </a:lnTo>
                  <a:lnTo>
                    <a:pt x="1096" y="253"/>
                  </a:lnTo>
                  <a:lnTo>
                    <a:pt x="1093" y="231"/>
                  </a:lnTo>
                  <a:lnTo>
                    <a:pt x="1093" y="231"/>
                  </a:lnTo>
                  <a:close/>
                  <a:moveTo>
                    <a:pt x="694" y="425"/>
                  </a:moveTo>
                  <a:lnTo>
                    <a:pt x="694" y="425"/>
                  </a:lnTo>
                  <a:lnTo>
                    <a:pt x="725" y="437"/>
                  </a:lnTo>
                  <a:lnTo>
                    <a:pt x="751" y="458"/>
                  </a:lnTo>
                  <a:lnTo>
                    <a:pt x="779" y="468"/>
                  </a:lnTo>
                  <a:lnTo>
                    <a:pt x="808" y="475"/>
                  </a:lnTo>
                  <a:lnTo>
                    <a:pt x="836" y="477"/>
                  </a:lnTo>
                  <a:lnTo>
                    <a:pt x="857" y="479"/>
                  </a:lnTo>
                  <a:lnTo>
                    <a:pt x="869" y="505"/>
                  </a:lnTo>
                  <a:lnTo>
                    <a:pt x="869" y="536"/>
                  </a:lnTo>
                  <a:lnTo>
                    <a:pt x="864" y="562"/>
                  </a:lnTo>
                  <a:lnTo>
                    <a:pt x="834" y="574"/>
                  </a:lnTo>
                  <a:lnTo>
                    <a:pt x="812" y="569"/>
                  </a:lnTo>
                  <a:lnTo>
                    <a:pt x="798" y="555"/>
                  </a:lnTo>
                  <a:lnTo>
                    <a:pt x="772" y="555"/>
                  </a:lnTo>
                  <a:lnTo>
                    <a:pt x="756" y="541"/>
                  </a:lnTo>
                  <a:lnTo>
                    <a:pt x="751" y="517"/>
                  </a:lnTo>
                  <a:lnTo>
                    <a:pt x="748" y="498"/>
                  </a:lnTo>
                  <a:lnTo>
                    <a:pt x="725" y="487"/>
                  </a:lnTo>
                  <a:lnTo>
                    <a:pt x="704" y="472"/>
                  </a:lnTo>
                  <a:lnTo>
                    <a:pt x="692" y="446"/>
                  </a:lnTo>
                  <a:lnTo>
                    <a:pt x="692" y="432"/>
                  </a:lnTo>
                  <a:lnTo>
                    <a:pt x="694" y="425"/>
                  </a:lnTo>
                  <a:close/>
                </a:path>
              </a:pathLst>
            </a:custGeom>
            <a:pattFill prst="wdDnDiag">
              <a:fgClr>
                <a:schemeClr val="accent2"/>
              </a:fgClr>
              <a:bgClr>
                <a:schemeClr val="bg1"/>
              </a:bgClr>
            </a:pattFill>
            <a:ln w="9525" cap="rnd"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p>
              <a:endParaRPr lang="en-US" dirty="0"/>
            </a:p>
          </p:txBody>
        </p:sp>
        <p:sp>
          <p:nvSpPr>
            <p:cNvPr id="8251" name="Freeform 12">
              <a:extLst>
                <a:ext uri="{FF2B5EF4-FFF2-40B4-BE49-F238E27FC236}">
                  <a16:creationId xmlns:a16="http://schemas.microsoft.com/office/drawing/2014/main" id="{C430A69F-2B3C-49CE-A845-A191DA69E910}"/>
                </a:ext>
              </a:extLst>
            </p:cNvPr>
            <p:cNvSpPr>
              <a:spLocks/>
            </p:cNvSpPr>
            <p:nvPr/>
          </p:nvSpPr>
          <p:spPr bwMode="gray">
            <a:xfrm>
              <a:off x="-5522913" y="698500"/>
              <a:ext cx="280987" cy="236538"/>
            </a:xfrm>
            <a:custGeom>
              <a:avLst/>
              <a:gdLst/>
              <a:ahLst/>
              <a:cxnLst>
                <a:cxn ang="0">
                  <a:pos x="2" y="0"/>
                </a:cxn>
                <a:cxn ang="0">
                  <a:pos x="33" y="12"/>
                </a:cxn>
                <a:cxn ang="0">
                  <a:pos x="59" y="33"/>
                </a:cxn>
                <a:cxn ang="0">
                  <a:pos x="87" y="43"/>
                </a:cxn>
                <a:cxn ang="0">
                  <a:pos x="116" y="50"/>
                </a:cxn>
                <a:cxn ang="0">
                  <a:pos x="144" y="52"/>
                </a:cxn>
                <a:cxn ang="0">
                  <a:pos x="165" y="54"/>
                </a:cxn>
                <a:cxn ang="0">
                  <a:pos x="177" y="80"/>
                </a:cxn>
                <a:cxn ang="0">
                  <a:pos x="177" y="111"/>
                </a:cxn>
                <a:cxn ang="0">
                  <a:pos x="172" y="137"/>
                </a:cxn>
                <a:cxn ang="0">
                  <a:pos x="142" y="149"/>
                </a:cxn>
                <a:cxn ang="0">
                  <a:pos x="120" y="144"/>
                </a:cxn>
                <a:cxn ang="0">
                  <a:pos x="106" y="130"/>
                </a:cxn>
                <a:cxn ang="0">
                  <a:pos x="80" y="130"/>
                </a:cxn>
                <a:cxn ang="0">
                  <a:pos x="64" y="116"/>
                </a:cxn>
                <a:cxn ang="0">
                  <a:pos x="56" y="73"/>
                </a:cxn>
                <a:cxn ang="0">
                  <a:pos x="12" y="47"/>
                </a:cxn>
                <a:cxn ang="0">
                  <a:pos x="0" y="21"/>
                </a:cxn>
                <a:cxn ang="0">
                  <a:pos x="0" y="7"/>
                </a:cxn>
                <a:cxn ang="0">
                  <a:pos x="2" y="0"/>
                </a:cxn>
              </a:cxnLst>
              <a:rect l="0" t="0" r="r" b="b"/>
              <a:pathLst>
                <a:path w="177" h="149">
                  <a:moveTo>
                    <a:pt x="2" y="0"/>
                  </a:moveTo>
                  <a:lnTo>
                    <a:pt x="33" y="12"/>
                  </a:lnTo>
                  <a:lnTo>
                    <a:pt x="59" y="33"/>
                  </a:lnTo>
                  <a:lnTo>
                    <a:pt x="87" y="43"/>
                  </a:lnTo>
                  <a:lnTo>
                    <a:pt x="116" y="50"/>
                  </a:lnTo>
                  <a:lnTo>
                    <a:pt x="144" y="52"/>
                  </a:lnTo>
                  <a:lnTo>
                    <a:pt x="165" y="54"/>
                  </a:lnTo>
                  <a:lnTo>
                    <a:pt x="177" y="80"/>
                  </a:lnTo>
                  <a:lnTo>
                    <a:pt x="177" y="111"/>
                  </a:lnTo>
                  <a:lnTo>
                    <a:pt x="172" y="137"/>
                  </a:lnTo>
                  <a:lnTo>
                    <a:pt x="142" y="149"/>
                  </a:lnTo>
                  <a:lnTo>
                    <a:pt x="120" y="144"/>
                  </a:lnTo>
                  <a:lnTo>
                    <a:pt x="106" y="130"/>
                  </a:lnTo>
                  <a:lnTo>
                    <a:pt x="80" y="130"/>
                  </a:lnTo>
                  <a:lnTo>
                    <a:pt x="64" y="116"/>
                  </a:lnTo>
                  <a:lnTo>
                    <a:pt x="56" y="73"/>
                  </a:lnTo>
                  <a:lnTo>
                    <a:pt x="12" y="47"/>
                  </a:lnTo>
                  <a:lnTo>
                    <a:pt x="0" y="21"/>
                  </a:lnTo>
                  <a:lnTo>
                    <a:pt x="0" y="7"/>
                  </a:lnTo>
                  <a:lnTo>
                    <a:pt x="2" y="0"/>
                  </a:lnTo>
                  <a:close/>
                </a:path>
              </a:pathLst>
            </a:custGeom>
            <a:pattFill prst="dkHorz">
              <a:fgClr>
                <a:schemeClr val="accent2"/>
              </a:fgClr>
              <a:bgClr>
                <a:schemeClr val="bg1"/>
              </a:bgClr>
            </a:pattFill>
            <a:ln w="9525" cap="rnd"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p>
              <a:endParaRPr lang="en-US" dirty="0"/>
            </a:p>
          </p:txBody>
        </p:sp>
        <p:sp>
          <p:nvSpPr>
            <p:cNvPr id="8252" name="Freeform 13">
              <a:extLst>
                <a:ext uri="{FF2B5EF4-FFF2-40B4-BE49-F238E27FC236}">
                  <a16:creationId xmlns:a16="http://schemas.microsoft.com/office/drawing/2014/main" id="{E6FE6647-19D4-4E48-ABC6-B01CA6C48BB7}"/>
                </a:ext>
              </a:extLst>
            </p:cNvPr>
            <p:cNvSpPr>
              <a:spLocks/>
            </p:cNvSpPr>
            <p:nvPr/>
          </p:nvSpPr>
          <p:spPr bwMode="gray">
            <a:xfrm>
              <a:off x="-5594350" y="192088"/>
              <a:ext cx="107950" cy="180975"/>
            </a:xfrm>
            <a:custGeom>
              <a:avLst/>
              <a:gdLst/>
              <a:ahLst/>
              <a:cxnLst>
                <a:cxn ang="0">
                  <a:pos x="2" y="12"/>
                </a:cxn>
                <a:cxn ang="0">
                  <a:pos x="19" y="10"/>
                </a:cxn>
                <a:cxn ang="0">
                  <a:pos x="28" y="0"/>
                </a:cxn>
                <a:cxn ang="0">
                  <a:pos x="40" y="0"/>
                </a:cxn>
                <a:cxn ang="0">
                  <a:pos x="59" y="14"/>
                </a:cxn>
                <a:cxn ang="0">
                  <a:pos x="68" y="36"/>
                </a:cxn>
                <a:cxn ang="0">
                  <a:pos x="68" y="69"/>
                </a:cxn>
                <a:cxn ang="0">
                  <a:pos x="59" y="97"/>
                </a:cxn>
                <a:cxn ang="0">
                  <a:pos x="42" y="111"/>
                </a:cxn>
                <a:cxn ang="0">
                  <a:pos x="19" y="114"/>
                </a:cxn>
                <a:cxn ang="0">
                  <a:pos x="9" y="90"/>
                </a:cxn>
                <a:cxn ang="0">
                  <a:pos x="7" y="73"/>
                </a:cxn>
                <a:cxn ang="0">
                  <a:pos x="0" y="69"/>
                </a:cxn>
                <a:cxn ang="0">
                  <a:pos x="0" y="45"/>
                </a:cxn>
                <a:cxn ang="0">
                  <a:pos x="2" y="12"/>
                </a:cxn>
              </a:cxnLst>
              <a:rect l="0" t="0" r="r" b="b"/>
              <a:pathLst>
                <a:path w="68" h="114">
                  <a:moveTo>
                    <a:pt x="2" y="12"/>
                  </a:moveTo>
                  <a:lnTo>
                    <a:pt x="19" y="10"/>
                  </a:lnTo>
                  <a:lnTo>
                    <a:pt x="28" y="0"/>
                  </a:lnTo>
                  <a:lnTo>
                    <a:pt x="40" y="0"/>
                  </a:lnTo>
                  <a:lnTo>
                    <a:pt x="59" y="14"/>
                  </a:lnTo>
                  <a:lnTo>
                    <a:pt x="68" y="36"/>
                  </a:lnTo>
                  <a:lnTo>
                    <a:pt x="68" y="69"/>
                  </a:lnTo>
                  <a:lnTo>
                    <a:pt x="59" y="97"/>
                  </a:lnTo>
                  <a:lnTo>
                    <a:pt x="42" y="111"/>
                  </a:lnTo>
                  <a:lnTo>
                    <a:pt x="19" y="114"/>
                  </a:lnTo>
                  <a:lnTo>
                    <a:pt x="9" y="90"/>
                  </a:lnTo>
                  <a:lnTo>
                    <a:pt x="7" y="73"/>
                  </a:lnTo>
                  <a:lnTo>
                    <a:pt x="0" y="69"/>
                  </a:lnTo>
                  <a:lnTo>
                    <a:pt x="0" y="45"/>
                  </a:lnTo>
                  <a:lnTo>
                    <a:pt x="2" y="12"/>
                  </a:lnTo>
                  <a:close/>
                </a:path>
              </a:pathLst>
            </a:custGeom>
            <a:pattFill prst="wdDnDiag">
              <a:fgClr>
                <a:schemeClr val="accent2"/>
              </a:fgClr>
              <a:bgClr>
                <a:schemeClr val="bg1"/>
              </a:bgClr>
            </a:pattFill>
            <a:ln w="9525" cap="rnd"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p>
              <a:endParaRPr lang="en-US" dirty="0"/>
            </a:p>
          </p:txBody>
        </p:sp>
        <p:sp>
          <p:nvSpPr>
            <p:cNvPr id="8253" name="Freeform 14">
              <a:extLst>
                <a:ext uri="{FF2B5EF4-FFF2-40B4-BE49-F238E27FC236}">
                  <a16:creationId xmlns:a16="http://schemas.microsoft.com/office/drawing/2014/main" id="{5403F6F5-EB2E-4560-9A09-E50F17228527}"/>
                </a:ext>
              </a:extLst>
            </p:cNvPr>
            <p:cNvSpPr>
              <a:spLocks/>
            </p:cNvSpPr>
            <p:nvPr/>
          </p:nvSpPr>
          <p:spPr bwMode="gray">
            <a:xfrm>
              <a:off x="-5489575" y="-939800"/>
              <a:ext cx="1365250" cy="1492250"/>
            </a:xfrm>
            <a:custGeom>
              <a:avLst/>
              <a:gdLst/>
              <a:ahLst/>
              <a:cxnLst>
                <a:cxn ang="0">
                  <a:pos x="73" y="12"/>
                </a:cxn>
                <a:cxn ang="0">
                  <a:pos x="111" y="28"/>
                </a:cxn>
                <a:cxn ang="0">
                  <a:pos x="170" y="23"/>
                </a:cxn>
                <a:cxn ang="0">
                  <a:pos x="272" y="73"/>
                </a:cxn>
                <a:cxn ang="0">
                  <a:pos x="326" y="31"/>
                </a:cxn>
                <a:cxn ang="0">
                  <a:pos x="373" y="52"/>
                </a:cxn>
                <a:cxn ang="0">
                  <a:pos x="454" y="66"/>
                </a:cxn>
                <a:cxn ang="0">
                  <a:pos x="480" y="132"/>
                </a:cxn>
                <a:cxn ang="0">
                  <a:pos x="437" y="175"/>
                </a:cxn>
                <a:cxn ang="0">
                  <a:pos x="373" y="220"/>
                </a:cxn>
                <a:cxn ang="0">
                  <a:pos x="439" y="220"/>
                </a:cxn>
                <a:cxn ang="0">
                  <a:pos x="461" y="184"/>
                </a:cxn>
                <a:cxn ang="0">
                  <a:pos x="468" y="250"/>
                </a:cxn>
                <a:cxn ang="0">
                  <a:pos x="430" y="290"/>
                </a:cxn>
                <a:cxn ang="0">
                  <a:pos x="534" y="288"/>
                </a:cxn>
                <a:cxn ang="0">
                  <a:pos x="558" y="340"/>
                </a:cxn>
                <a:cxn ang="0">
                  <a:pos x="588" y="314"/>
                </a:cxn>
                <a:cxn ang="0">
                  <a:pos x="628" y="300"/>
                </a:cxn>
                <a:cxn ang="0">
                  <a:pos x="695" y="352"/>
                </a:cxn>
                <a:cxn ang="0">
                  <a:pos x="772" y="345"/>
                </a:cxn>
                <a:cxn ang="0">
                  <a:pos x="827" y="319"/>
                </a:cxn>
                <a:cxn ang="0">
                  <a:pos x="860" y="390"/>
                </a:cxn>
                <a:cxn ang="0">
                  <a:pos x="817" y="465"/>
                </a:cxn>
                <a:cxn ang="0">
                  <a:pos x="777" y="503"/>
                </a:cxn>
                <a:cxn ang="0">
                  <a:pos x="742" y="482"/>
                </a:cxn>
                <a:cxn ang="0">
                  <a:pos x="744" y="531"/>
                </a:cxn>
                <a:cxn ang="0">
                  <a:pos x="770" y="574"/>
                </a:cxn>
                <a:cxn ang="0">
                  <a:pos x="728" y="619"/>
                </a:cxn>
                <a:cxn ang="0">
                  <a:pos x="735" y="680"/>
                </a:cxn>
                <a:cxn ang="0">
                  <a:pos x="768" y="751"/>
                </a:cxn>
                <a:cxn ang="0">
                  <a:pos x="754" y="805"/>
                </a:cxn>
                <a:cxn ang="0">
                  <a:pos x="704" y="820"/>
                </a:cxn>
                <a:cxn ang="0">
                  <a:pos x="680" y="869"/>
                </a:cxn>
                <a:cxn ang="0">
                  <a:pos x="685" y="935"/>
                </a:cxn>
                <a:cxn ang="0">
                  <a:pos x="626" y="921"/>
                </a:cxn>
                <a:cxn ang="0">
                  <a:pos x="562" y="860"/>
                </a:cxn>
                <a:cxn ang="0">
                  <a:pos x="532" y="791"/>
                </a:cxn>
                <a:cxn ang="0">
                  <a:pos x="529" y="730"/>
                </a:cxn>
                <a:cxn ang="0">
                  <a:pos x="470" y="756"/>
                </a:cxn>
                <a:cxn ang="0">
                  <a:pos x="409" y="791"/>
                </a:cxn>
                <a:cxn ang="0">
                  <a:pos x="380" y="838"/>
                </a:cxn>
                <a:cxn ang="0">
                  <a:pos x="309" y="756"/>
                </a:cxn>
                <a:cxn ang="0">
                  <a:pos x="260" y="657"/>
                </a:cxn>
                <a:cxn ang="0">
                  <a:pos x="151" y="607"/>
                </a:cxn>
                <a:cxn ang="0">
                  <a:pos x="87" y="550"/>
                </a:cxn>
                <a:cxn ang="0">
                  <a:pos x="104" y="520"/>
                </a:cxn>
                <a:cxn ang="0">
                  <a:pos x="142" y="515"/>
                </a:cxn>
                <a:cxn ang="0">
                  <a:pos x="128" y="468"/>
                </a:cxn>
                <a:cxn ang="0">
                  <a:pos x="73" y="456"/>
                </a:cxn>
                <a:cxn ang="0">
                  <a:pos x="64" y="416"/>
                </a:cxn>
                <a:cxn ang="0">
                  <a:pos x="104" y="378"/>
                </a:cxn>
                <a:cxn ang="0">
                  <a:pos x="83" y="359"/>
                </a:cxn>
                <a:cxn ang="0">
                  <a:pos x="21" y="387"/>
                </a:cxn>
                <a:cxn ang="0">
                  <a:pos x="0" y="364"/>
                </a:cxn>
                <a:cxn ang="0">
                  <a:pos x="43" y="321"/>
                </a:cxn>
                <a:cxn ang="0">
                  <a:pos x="99" y="307"/>
                </a:cxn>
                <a:cxn ang="0">
                  <a:pos x="130" y="264"/>
                </a:cxn>
                <a:cxn ang="0">
                  <a:pos x="113" y="208"/>
                </a:cxn>
                <a:cxn ang="0">
                  <a:pos x="59" y="179"/>
                </a:cxn>
                <a:cxn ang="0">
                  <a:pos x="47" y="142"/>
                </a:cxn>
                <a:cxn ang="0">
                  <a:pos x="54" y="87"/>
                </a:cxn>
                <a:cxn ang="0">
                  <a:pos x="19" y="52"/>
                </a:cxn>
                <a:cxn ang="0">
                  <a:pos x="17" y="0"/>
                </a:cxn>
              </a:cxnLst>
              <a:rect l="0" t="0" r="r" b="b"/>
              <a:pathLst>
                <a:path w="860" h="940">
                  <a:moveTo>
                    <a:pt x="17" y="0"/>
                  </a:moveTo>
                  <a:lnTo>
                    <a:pt x="50" y="2"/>
                  </a:lnTo>
                  <a:lnTo>
                    <a:pt x="73" y="12"/>
                  </a:lnTo>
                  <a:lnTo>
                    <a:pt x="92" y="26"/>
                  </a:lnTo>
                  <a:lnTo>
                    <a:pt x="102" y="33"/>
                  </a:lnTo>
                  <a:lnTo>
                    <a:pt x="111" y="28"/>
                  </a:lnTo>
                  <a:lnTo>
                    <a:pt x="123" y="16"/>
                  </a:lnTo>
                  <a:lnTo>
                    <a:pt x="154" y="16"/>
                  </a:lnTo>
                  <a:lnTo>
                    <a:pt x="170" y="23"/>
                  </a:lnTo>
                  <a:lnTo>
                    <a:pt x="210" y="45"/>
                  </a:lnTo>
                  <a:lnTo>
                    <a:pt x="243" y="64"/>
                  </a:lnTo>
                  <a:lnTo>
                    <a:pt x="272" y="73"/>
                  </a:lnTo>
                  <a:lnTo>
                    <a:pt x="298" y="71"/>
                  </a:lnTo>
                  <a:lnTo>
                    <a:pt x="305" y="42"/>
                  </a:lnTo>
                  <a:lnTo>
                    <a:pt x="326" y="31"/>
                  </a:lnTo>
                  <a:lnTo>
                    <a:pt x="350" y="31"/>
                  </a:lnTo>
                  <a:lnTo>
                    <a:pt x="361" y="45"/>
                  </a:lnTo>
                  <a:lnTo>
                    <a:pt x="373" y="52"/>
                  </a:lnTo>
                  <a:lnTo>
                    <a:pt x="402" y="59"/>
                  </a:lnTo>
                  <a:lnTo>
                    <a:pt x="435" y="64"/>
                  </a:lnTo>
                  <a:lnTo>
                    <a:pt x="454" y="66"/>
                  </a:lnTo>
                  <a:lnTo>
                    <a:pt x="475" y="85"/>
                  </a:lnTo>
                  <a:lnTo>
                    <a:pt x="480" y="113"/>
                  </a:lnTo>
                  <a:lnTo>
                    <a:pt x="480" y="132"/>
                  </a:lnTo>
                  <a:lnTo>
                    <a:pt x="470" y="149"/>
                  </a:lnTo>
                  <a:lnTo>
                    <a:pt x="454" y="163"/>
                  </a:lnTo>
                  <a:lnTo>
                    <a:pt x="437" y="175"/>
                  </a:lnTo>
                  <a:lnTo>
                    <a:pt x="418" y="191"/>
                  </a:lnTo>
                  <a:lnTo>
                    <a:pt x="402" y="205"/>
                  </a:lnTo>
                  <a:lnTo>
                    <a:pt x="373" y="220"/>
                  </a:lnTo>
                  <a:lnTo>
                    <a:pt x="392" y="231"/>
                  </a:lnTo>
                  <a:lnTo>
                    <a:pt x="423" y="231"/>
                  </a:lnTo>
                  <a:lnTo>
                    <a:pt x="439" y="220"/>
                  </a:lnTo>
                  <a:lnTo>
                    <a:pt x="444" y="201"/>
                  </a:lnTo>
                  <a:lnTo>
                    <a:pt x="447" y="186"/>
                  </a:lnTo>
                  <a:lnTo>
                    <a:pt x="461" y="184"/>
                  </a:lnTo>
                  <a:lnTo>
                    <a:pt x="468" y="196"/>
                  </a:lnTo>
                  <a:lnTo>
                    <a:pt x="468" y="222"/>
                  </a:lnTo>
                  <a:lnTo>
                    <a:pt x="468" y="250"/>
                  </a:lnTo>
                  <a:lnTo>
                    <a:pt x="461" y="267"/>
                  </a:lnTo>
                  <a:lnTo>
                    <a:pt x="444" y="279"/>
                  </a:lnTo>
                  <a:lnTo>
                    <a:pt x="430" y="290"/>
                  </a:lnTo>
                  <a:lnTo>
                    <a:pt x="475" y="286"/>
                  </a:lnTo>
                  <a:lnTo>
                    <a:pt x="510" y="286"/>
                  </a:lnTo>
                  <a:lnTo>
                    <a:pt x="534" y="288"/>
                  </a:lnTo>
                  <a:lnTo>
                    <a:pt x="546" y="302"/>
                  </a:lnTo>
                  <a:lnTo>
                    <a:pt x="550" y="323"/>
                  </a:lnTo>
                  <a:lnTo>
                    <a:pt x="558" y="340"/>
                  </a:lnTo>
                  <a:lnTo>
                    <a:pt x="569" y="345"/>
                  </a:lnTo>
                  <a:lnTo>
                    <a:pt x="579" y="333"/>
                  </a:lnTo>
                  <a:lnTo>
                    <a:pt x="588" y="314"/>
                  </a:lnTo>
                  <a:lnTo>
                    <a:pt x="588" y="298"/>
                  </a:lnTo>
                  <a:lnTo>
                    <a:pt x="609" y="290"/>
                  </a:lnTo>
                  <a:lnTo>
                    <a:pt x="628" y="300"/>
                  </a:lnTo>
                  <a:lnTo>
                    <a:pt x="652" y="319"/>
                  </a:lnTo>
                  <a:lnTo>
                    <a:pt x="678" y="345"/>
                  </a:lnTo>
                  <a:lnTo>
                    <a:pt x="695" y="352"/>
                  </a:lnTo>
                  <a:lnTo>
                    <a:pt x="725" y="361"/>
                  </a:lnTo>
                  <a:lnTo>
                    <a:pt x="756" y="359"/>
                  </a:lnTo>
                  <a:lnTo>
                    <a:pt x="772" y="345"/>
                  </a:lnTo>
                  <a:lnTo>
                    <a:pt x="782" y="328"/>
                  </a:lnTo>
                  <a:lnTo>
                    <a:pt x="803" y="316"/>
                  </a:lnTo>
                  <a:lnTo>
                    <a:pt x="827" y="319"/>
                  </a:lnTo>
                  <a:lnTo>
                    <a:pt x="848" y="335"/>
                  </a:lnTo>
                  <a:lnTo>
                    <a:pt x="855" y="357"/>
                  </a:lnTo>
                  <a:lnTo>
                    <a:pt x="860" y="390"/>
                  </a:lnTo>
                  <a:lnTo>
                    <a:pt x="850" y="416"/>
                  </a:lnTo>
                  <a:lnTo>
                    <a:pt x="829" y="449"/>
                  </a:lnTo>
                  <a:lnTo>
                    <a:pt x="817" y="465"/>
                  </a:lnTo>
                  <a:lnTo>
                    <a:pt x="817" y="484"/>
                  </a:lnTo>
                  <a:lnTo>
                    <a:pt x="796" y="501"/>
                  </a:lnTo>
                  <a:lnTo>
                    <a:pt x="777" y="503"/>
                  </a:lnTo>
                  <a:lnTo>
                    <a:pt x="763" y="501"/>
                  </a:lnTo>
                  <a:lnTo>
                    <a:pt x="751" y="484"/>
                  </a:lnTo>
                  <a:lnTo>
                    <a:pt x="742" y="482"/>
                  </a:lnTo>
                  <a:lnTo>
                    <a:pt x="735" y="489"/>
                  </a:lnTo>
                  <a:lnTo>
                    <a:pt x="737" y="510"/>
                  </a:lnTo>
                  <a:lnTo>
                    <a:pt x="744" y="531"/>
                  </a:lnTo>
                  <a:lnTo>
                    <a:pt x="756" y="538"/>
                  </a:lnTo>
                  <a:lnTo>
                    <a:pt x="770" y="555"/>
                  </a:lnTo>
                  <a:lnTo>
                    <a:pt x="770" y="574"/>
                  </a:lnTo>
                  <a:lnTo>
                    <a:pt x="761" y="593"/>
                  </a:lnTo>
                  <a:lnTo>
                    <a:pt x="749" y="607"/>
                  </a:lnTo>
                  <a:lnTo>
                    <a:pt x="728" y="619"/>
                  </a:lnTo>
                  <a:lnTo>
                    <a:pt x="721" y="638"/>
                  </a:lnTo>
                  <a:lnTo>
                    <a:pt x="721" y="664"/>
                  </a:lnTo>
                  <a:lnTo>
                    <a:pt x="735" y="680"/>
                  </a:lnTo>
                  <a:lnTo>
                    <a:pt x="751" y="704"/>
                  </a:lnTo>
                  <a:lnTo>
                    <a:pt x="763" y="727"/>
                  </a:lnTo>
                  <a:lnTo>
                    <a:pt x="768" y="751"/>
                  </a:lnTo>
                  <a:lnTo>
                    <a:pt x="772" y="772"/>
                  </a:lnTo>
                  <a:lnTo>
                    <a:pt x="770" y="794"/>
                  </a:lnTo>
                  <a:lnTo>
                    <a:pt x="754" y="805"/>
                  </a:lnTo>
                  <a:lnTo>
                    <a:pt x="735" y="815"/>
                  </a:lnTo>
                  <a:lnTo>
                    <a:pt x="716" y="812"/>
                  </a:lnTo>
                  <a:lnTo>
                    <a:pt x="704" y="820"/>
                  </a:lnTo>
                  <a:lnTo>
                    <a:pt x="690" y="829"/>
                  </a:lnTo>
                  <a:lnTo>
                    <a:pt x="680" y="846"/>
                  </a:lnTo>
                  <a:lnTo>
                    <a:pt x="680" y="869"/>
                  </a:lnTo>
                  <a:lnTo>
                    <a:pt x="683" y="902"/>
                  </a:lnTo>
                  <a:lnTo>
                    <a:pt x="687" y="926"/>
                  </a:lnTo>
                  <a:lnTo>
                    <a:pt x="685" y="935"/>
                  </a:lnTo>
                  <a:lnTo>
                    <a:pt x="671" y="940"/>
                  </a:lnTo>
                  <a:lnTo>
                    <a:pt x="647" y="931"/>
                  </a:lnTo>
                  <a:lnTo>
                    <a:pt x="626" y="921"/>
                  </a:lnTo>
                  <a:lnTo>
                    <a:pt x="607" y="907"/>
                  </a:lnTo>
                  <a:lnTo>
                    <a:pt x="584" y="883"/>
                  </a:lnTo>
                  <a:lnTo>
                    <a:pt x="562" y="860"/>
                  </a:lnTo>
                  <a:lnTo>
                    <a:pt x="541" y="846"/>
                  </a:lnTo>
                  <a:lnTo>
                    <a:pt x="532" y="817"/>
                  </a:lnTo>
                  <a:lnTo>
                    <a:pt x="532" y="791"/>
                  </a:lnTo>
                  <a:lnTo>
                    <a:pt x="532" y="770"/>
                  </a:lnTo>
                  <a:lnTo>
                    <a:pt x="532" y="753"/>
                  </a:lnTo>
                  <a:lnTo>
                    <a:pt x="529" y="730"/>
                  </a:lnTo>
                  <a:lnTo>
                    <a:pt x="522" y="720"/>
                  </a:lnTo>
                  <a:lnTo>
                    <a:pt x="498" y="730"/>
                  </a:lnTo>
                  <a:lnTo>
                    <a:pt x="470" y="756"/>
                  </a:lnTo>
                  <a:lnTo>
                    <a:pt x="447" y="770"/>
                  </a:lnTo>
                  <a:lnTo>
                    <a:pt x="421" y="779"/>
                  </a:lnTo>
                  <a:lnTo>
                    <a:pt x="409" y="791"/>
                  </a:lnTo>
                  <a:lnTo>
                    <a:pt x="395" y="803"/>
                  </a:lnTo>
                  <a:lnTo>
                    <a:pt x="387" y="820"/>
                  </a:lnTo>
                  <a:lnTo>
                    <a:pt x="380" y="838"/>
                  </a:lnTo>
                  <a:lnTo>
                    <a:pt x="354" y="812"/>
                  </a:lnTo>
                  <a:lnTo>
                    <a:pt x="331" y="789"/>
                  </a:lnTo>
                  <a:lnTo>
                    <a:pt x="309" y="756"/>
                  </a:lnTo>
                  <a:lnTo>
                    <a:pt x="300" y="723"/>
                  </a:lnTo>
                  <a:lnTo>
                    <a:pt x="279" y="685"/>
                  </a:lnTo>
                  <a:lnTo>
                    <a:pt x="260" y="657"/>
                  </a:lnTo>
                  <a:lnTo>
                    <a:pt x="229" y="635"/>
                  </a:lnTo>
                  <a:lnTo>
                    <a:pt x="187" y="616"/>
                  </a:lnTo>
                  <a:lnTo>
                    <a:pt x="151" y="607"/>
                  </a:lnTo>
                  <a:lnTo>
                    <a:pt x="121" y="590"/>
                  </a:lnTo>
                  <a:lnTo>
                    <a:pt x="99" y="572"/>
                  </a:lnTo>
                  <a:lnTo>
                    <a:pt x="87" y="550"/>
                  </a:lnTo>
                  <a:lnTo>
                    <a:pt x="85" y="527"/>
                  </a:lnTo>
                  <a:lnTo>
                    <a:pt x="90" y="517"/>
                  </a:lnTo>
                  <a:lnTo>
                    <a:pt x="104" y="520"/>
                  </a:lnTo>
                  <a:lnTo>
                    <a:pt x="121" y="522"/>
                  </a:lnTo>
                  <a:lnTo>
                    <a:pt x="132" y="522"/>
                  </a:lnTo>
                  <a:lnTo>
                    <a:pt x="142" y="515"/>
                  </a:lnTo>
                  <a:lnTo>
                    <a:pt x="144" y="498"/>
                  </a:lnTo>
                  <a:lnTo>
                    <a:pt x="142" y="484"/>
                  </a:lnTo>
                  <a:lnTo>
                    <a:pt x="128" y="468"/>
                  </a:lnTo>
                  <a:lnTo>
                    <a:pt x="118" y="458"/>
                  </a:lnTo>
                  <a:lnTo>
                    <a:pt x="92" y="458"/>
                  </a:lnTo>
                  <a:lnTo>
                    <a:pt x="73" y="456"/>
                  </a:lnTo>
                  <a:lnTo>
                    <a:pt x="61" y="449"/>
                  </a:lnTo>
                  <a:lnTo>
                    <a:pt x="59" y="432"/>
                  </a:lnTo>
                  <a:lnTo>
                    <a:pt x="64" y="416"/>
                  </a:lnTo>
                  <a:lnTo>
                    <a:pt x="76" y="399"/>
                  </a:lnTo>
                  <a:lnTo>
                    <a:pt x="92" y="390"/>
                  </a:lnTo>
                  <a:lnTo>
                    <a:pt x="104" y="378"/>
                  </a:lnTo>
                  <a:lnTo>
                    <a:pt x="104" y="366"/>
                  </a:lnTo>
                  <a:lnTo>
                    <a:pt x="99" y="359"/>
                  </a:lnTo>
                  <a:lnTo>
                    <a:pt x="83" y="359"/>
                  </a:lnTo>
                  <a:lnTo>
                    <a:pt x="61" y="364"/>
                  </a:lnTo>
                  <a:lnTo>
                    <a:pt x="43" y="378"/>
                  </a:lnTo>
                  <a:lnTo>
                    <a:pt x="21" y="387"/>
                  </a:lnTo>
                  <a:lnTo>
                    <a:pt x="12" y="387"/>
                  </a:lnTo>
                  <a:lnTo>
                    <a:pt x="0" y="375"/>
                  </a:lnTo>
                  <a:lnTo>
                    <a:pt x="0" y="364"/>
                  </a:lnTo>
                  <a:lnTo>
                    <a:pt x="5" y="349"/>
                  </a:lnTo>
                  <a:lnTo>
                    <a:pt x="17" y="338"/>
                  </a:lnTo>
                  <a:lnTo>
                    <a:pt x="43" y="321"/>
                  </a:lnTo>
                  <a:lnTo>
                    <a:pt x="64" y="316"/>
                  </a:lnTo>
                  <a:lnTo>
                    <a:pt x="83" y="309"/>
                  </a:lnTo>
                  <a:lnTo>
                    <a:pt x="99" y="307"/>
                  </a:lnTo>
                  <a:lnTo>
                    <a:pt x="113" y="298"/>
                  </a:lnTo>
                  <a:lnTo>
                    <a:pt x="125" y="286"/>
                  </a:lnTo>
                  <a:lnTo>
                    <a:pt x="130" y="264"/>
                  </a:lnTo>
                  <a:lnTo>
                    <a:pt x="130" y="243"/>
                  </a:lnTo>
                  <a:lnTo>
                    <a:pt x="128" y="222"/>
                  </a:lnTo>
                  <a:lnTo>
                    <a:pt x="113" y="208"/>
                  </a:lnTo>
                  <a:lnTo>
                    <a:pt x="99" y="198"/>
                  </a:lnTo>
                  <a:lnTo>
                    <a:pt x="78" y="189"/>
                  </a:lnTo>
                  <a:lnTo>
                    <a:pt x="59" y="179"/>
                  </a:lnTo>
                  <a:lnTo>
                    <a:pt x="54" y="175"/>
                  </a:lnTo>
                  <a:lnTo>
                    <a:pt x="47" y="158"/>
                  </a:lnTo>
                  <a:lnTo>
                    <a:pt x="47" y="142"/>
                  </a:lnTo>
                  <a:lnTo>
                    <a:pt x="52" y="125"/>
                  </a:lnTo>
                  <a:lnTo>
                    <a:pt x="52" y="106"/>
                  </a:lnTo>
                  <a:lnTo>
                    <a:pt x="54" y="87"/>
                  </a:lnTo>
                  <a:lnTo>
                    <a:pt x="45" y="68"/>
                  </a:lnTo>
                  <a:lnTo>
                    <a:pt x="28" y="57"/>
                  </a:lnTo>
                  <a:lnTo>
                    <a:pt x="19" y="52"/>
                  </a:lnTo>
                  <a:lnTo>
                    <a:pt x="7" y="31"/>
                  </a:lnTo>
                  <a:lnTo>
                    <a:pt x="7" y="12"/>
                  </a:lnTo>
                  <a:lnTo>
                    <a:pt x="17" y="0"/>
                  </a:lnTo>
                  <a:close/>
                </a:path>
              </a:pathLst>
            </a:custGeom>
            <a:pattFill prst="dkHorz">
              <a:fgClr>
                <a:schemeClr val="accent2"/>
              </a:fgClr>
              <a:bgClr>
                <a:schemeClr val="bg1"/>
              </a:bgClr>
            </a:pattFill>
            <a:ln w="9525" cap="rnd"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p>
              <a:endParaRPr lang="en-US" dirty="0"/>
            </a:p>
          </p:txBody>
        </p:sp>
        <p:sp>
          <p:nvSpPr>
            <p:cNvPr id="8627" name="Freeform 21">
              <a:extLst>
                <a:ext uri="{FF2B5EF4-FFF2-40B4-BE49-F238E27FC236}">
                  <a16:creationId xmlns:a16="http://schemas.microsoft.com/office/drawing/2014/main" id="{7765B3D0-96AD-4B07-9E70-C5BF83C1BCA2}"/>
                </a:ext>
              </a:extLst>
            </p:cNvPr>
            <p:cNvSpPr>
              <a:spLocks/>
            </p:cNvSpPr>
            <p:nvPr/>
          </p:nvSpPr>
          <p:spPr bwMode="gray">
            <a:xfrm>
              <a:off x="-4410075" y="-520700"/>
              <a:ext cx="2135187" cy="1335088"/>
            </a:xfrm>
            <a:custGeom>
              <a:avLst/>
              <a:gdLst/>
              <a:ahLst/>
              <a:cxnLst>
                <a:cxn ang="0">
                  <a:pos x="102" y="357"/>
                </a:cxn>
                <a:cxn ang="0">
                  <a:pos x="185" y="277"/>
                </a:cxn>
                <a:cxn ang="0">
                  <a:pos x="201" y="315"/>
                </a:cxn>
                <a:cxn ang="0">
                  <a:pos x="237" y="338"/>
                </a:cxn>
                <a:cxn ang="0">
                  <a:pos x="284" y="343"/>
                </a:cxn>
                <a:cxn ang="0">
                  <a:pos x="331" y="326"/>
                </a:cxn>
                <a:cxn ang="0">
                  <a:pos x="350" y="258"/>
                </a:cxn>
                <a:cxn ang="0">
                  <a:pos x="355" y="225"/>
                </a:cxn>
                <a:cxn ang="0">
                  <a:pos x="454" y="215"/>
                </a:cxn>
                <a:cxn ang="0">
                  <a:pos x="504" y="178"/>
                </a:cxn>
                <a:cxn ang="0">
                  <a:pos x="525" y="211"/>
                </a:cxn>
                <a:cxn ang="0">
                  <a:pos x="551" y="154"/>
                </a:cxn>
                <a:cxn ang="0">
                  <a:pos x="626" y="59"/>
                </a:cxn>
                <a:cxn ang="0">
                  <a:pos x="669" y="5"/>
                </a:cxn>
                <a:cxn ang="0">
                  <a:pos x="747" y="19"/>
                </a:cxn>
                <a:cxn ang="0">
                  <a:pos x="711" y="36"/>
                </a:cxn>
                <a:cxn ang="0">
                  <a:pos x="650" y="97"/>
                </a:cxn>
                <a:cxn ang="0">
                  <a:pos x="667" y="133"/>
                </a:cxn>
                <a:cxn ang="0">
                  <a:pos x="702" y="64"/>
                </a:cxn>
                <a:cxn ang="0">
                  <a:pos x="756" y="74"/>
                </a:cxn>
                <a:cxn ang="0">
                  <a:pos x="799" y="52"/>
                </a:cxn>
                <a:cxn ang="0">
                  <a:pos x="839" y="45"/>
                </a:cxn>
                <a:cxn ang="0">
                  <a:pos x="863" y="88"/>
                </a:cxn>
                <a:cxn ang="0">
                  <a:pos x="877" y="142"/>
                </a:cxn>
                <a:cxn ang="0">
                  <a:pos x="962" y="168"/>
                </a:cxn>
                <a:cxn ang="0">
                  <a:pos x="1007" y="204"/>
                </a:cxn>
                <a:cxn ang="0">
                  <a:pos x="1087" y="185"/>
                </a:cxn>
                <a:cxn ang="0">
                  <a:pos x="1106" y="232"/>
                </a:cxn>
                <a:cxn ang="0">
                  <a:pos x="1118" y="284"/>
                </a:cxn>
                <a:cxn ang="0">
                  <a:pos x="1127" y="333"/>
                </a:cxn>
                <a:cxn ang="0">
                  <a:pos x="1153" y="400"/>
                </a:cxn>
                <a:cxn ang="0">
                  <a:pos x="1215" y="421"/>
                </a:cxn>
                <a:cxn ang="0">
                  <a:pos x="1278" y="428"/>
                </a:cxn>
                <a:cxn ang="0">
                  <a:pos x="1307" y="501"/>
                </a:cxn>
                <a:cxn ang="0">
                  <a:pos x="1323" y="600"/>
                </a:cxn>
                <a:cxn ang="0">
                  <a:pos x="1337" y="667"/>
                </a:cxn>
                <a:cxn ang="0">
                  <a:pos x="1274" y="714"/>
                </a:cxn>
                <a:cxn ang="0">
                  <a:pos x="1222" y="631"/>
                </a:cxn>
                <a:cxn ang="0">
                  <a:pos x="1167" y="615"/>
                </a:cxn>
                <a:cxn ang="0">
                  <a:pos x="1089" y="624"/>
                </a:cxn>
                <a:cxn ang="0">
                  <a:pos x="1035" y="683"/>
                </a:cxn>
                <a:cxn ang="0">
                  <a:pos x="969" y="737"/>
                </a:cxn>
                <a:cxn ang="0">
                  <a:pos x="889" y="752"/>
                </a:cxn>
                <a:cxn ang="0">
                  <a:pos x="827" y="766"/>
                </a:cxn>
                <a:cxn ang="0">
                  <a:pos x="735" y="730"/>
                </a:cxn>
                <a:cxn ang="0">
                  <a:pos x="622" y="721"/>
                </a:cxn>
                <a:cxn ang="0">
                  <a:pos x="530" y="667"/>
                </a:cxn>
                <a:cxn ang="0">
                  <a:pos x="461" y="719"/>
                </a:cxn>
                <a:cxn ang="0">
                  <a:pos x="374" y="792"/>
                </a:cxn>
                <a:cxn ang="0">
                  <a:pos x="374" y="841"/>
                </a:cxn>
                <a:cxn ang="0">
                  <a:pos x="248" y="841"/>
                </a:cxn>
                <a:cxn ang="0">
                  <a:pos x="156" y="766"/>
                </a:cxn>
                <a:cxn ang="0">
                  <a:pos x="83" y="733"/>
                </a:cxn>
                <a:cxn ang="0">
                  <a:pos x="22" y="671"/>
                </a:cxn>
                <a:cxn ang="0">
                  <a:pos x="24" y="556"/>
                </a:cxn>
                <a:cxn ang="0">
                  <a:pos x="90" y="530"/>
                </a:cxn>
                <a:cxn ang="0">
                  <a:pos x="71" y="440"/>
                </a:cxn>
              </a:cxnLst>
              <a:rect l="0" t="0" r="r" b="b"/>
              <a:pathLst>
                <a:path w="1345" h="841">
                  <a:moveTo>
                    <a:pt x="55" y="416"/>
                  </a:moveTo>
                  <a:lnTo>
                    <a:pt x="62" y="393"/>
                  </a:lnTo>
                  <a:lnTo>
                    <a:pt x="81" y="378"/>
                  </a:lnTo>
                  <a:lnTo>
                    <a:pt x="102" y="357"/>
                  </a:lnTo>
                  <a:lnTo>
                    <a:pt x="128" y="331"/>
                  </a:lnTo>
                  <a:lnTo>
                    <a:pt x="147" y="308"/>
                  </a:lnTo>
                  <a:lnTo>
                    <a:pt x="166" y="286"/>
                  </a:lnTo>
                  <a:lnTo>
                    <a:pt x="185" y="277"/>
                  </a:lnTo>
                  <a:lnTo>
                    <a:pt x="196" y="277"/>
                  </a:lnTo>
                  <a:lnTo>
                    <a:pt x="201" y="284"/>
                  </a:lnTo>
                  <a:lnTo>
                    <a:pt x="201" y="298"/>
                  </a:lnTo>
                  <a:lnTo>
                    <a:pt x="201" y="315"/>
                  </a:lnTo>
                  <a:lnTo>
                    <a:pt x="201" y="329"/>
                  </a:lnTo>
                  <a:lnTo>
                    <a:pt x="206" y="338"/>
                  </a:lnTo>
                  <a:lnTo>
                    <a:pt x="218" y="341"/>
                  </a:lnTo>
                  <a:lnTo>
                    <a:pt x="237" y="338"/>
                  </a:lnTo>
                  <a:lnTo>
                    <a:pt x="251" y="329"/>
                  </a:lnTo>
                  <a:lnTo>
                    <a:pt x="265" y="324"/>
                  </a:lnTo>
                  <a:lnTo>
                    <a:pt x="274" y="329"/>
                  </a:lnTo>
                  <a:lnTo>
                    <a:pt x="284" y="343"/>
                  </a:lnTo>
                  <a:lnTo>
                    <a:pt x="296" y="355"/>
                  </a:lnTo>
                  <a:lnTo>
                    <a:pt x="307" y="355"/>
                  </a:lnTo>
                  <a:lnTo>
                    <a:pt x="322" y="350"/>
                  </a:lnTo>
                  <a:lnTo>
                    <a:pt x="331" y="326"/>
                  </a:lnTo>
                  <a:lnTo>
                    <a:pt x="341" y="308"/>
                  </a:lnTo>
                  <a:lnTo>
                    <a:pt x="350" y="284"/>
                  </a:lnTo>
                  <a:lnTo>
                    <a:pt x="350" y="272"/>
                  </a:lnTo>
                  <a:lnTo>
                    <a:pt x="350" y="258"/>
                  </a:lnTo>
                  <a:lnTo>
                    <a:pt x="341" y="248"/>
                  </a:lnTo>
                  <a:lnTo>
                    <a:pt x="336" y="244"/>
                  </a:lnTo>
                  <a:lnTo>
                    <a:pt x="341" y="232"/>
                  </a:lnTo>
                  <a:lnTo>
                    <a:pt x="355" y="225"/>
                  </a:lnTo>
                  <a:lnTo>
                    <a:pt x="369" y="215"/>
                  </a:lnTo>
                  <a:lnTo>
                    <a:pt x="400" y="213"/>
                  </a:lnTo>
                  <a:lnTo>
                    <a:pt x="437" y="213"/>
                  </a:lnTo>
                  <a:lnTo>
                    <a:pt x="454" y="215"/>
                  </a:lnTo>
                  <a:lnTo>
                    <a:pt x="473" y="208"/>
                  </a:lnTo>
                  <a:lnTo>
                    <a:pt x="480" y="187"/>
                  </a:lnTo>
                  <a:lnTo>
                    <a:pt x="489" y="175"/>
                  </a:lnTo>
                  <a:lnTo>
                    <a:pt x="504" y="178"/>
                  </a:lnTo>
                  <a:lnTo>
                    <a:pt x="506" y="189"/>
                  </a:lnTo>
                  <a:lnTo>
                    <a:pt x="508" y="199"/>
                  </a:lnTo>
                  <a:lnTo>
                    <a:pt x="513" y="208"/>
                  </a:lnTo>
                  <a:lnTo>
                    <a:pt x="525" y="211"/>
                  </a:lnTo>
                  <a:lnTo>
                    <a:pt x="534" y="208"/>
                  </a:lnTo>
                  <a:lnTo>
                    <a:pt x="537" y="196"/>
                  </a:lnTo>
                  <a:lnTo>
                    <a:pt x="539" y="178"/>
                  </a:lnTo>
                  <a:lnTo>
                    <a:pt x="551" y="154"/>
                  </a:lnTo>
                  <a:lnTo>
                    <a:pt x="581" y="126"/>
                  </a:lnTo>
                  <a:lnTo>
                    <a:pt x="619" y="85"/>
                  </a:lnTo>
                  <a:lnTo>
                    <a:pt x="624" y="76"/>
                  </a:lnTo>
                  <a:lnTo>
                    <a:pt x="626" y="59"/>
                  </a:lnTo>
                  <a:lnTo>
                    <a:pt x="626" y="41"/>
                  </a:lnTo>
                  <a:lnTo>
                    <a:pt x="636" y="26"/>
                  </a:lnTo>
                  <a:lnTo>
                    <a:pt x="650" y="15"/>
                  </a:lnTo>
                  <a:lnTo>
                    <a:pt x="669" y="5"/>
                  </a:lnTo>
                  <a:lnTo>
                    <a:pt x="688" y="0"/>
                  </a:lnTo>
                  <a:lnTo>
                    <a:pt x="709" y="10"/>
                  </a:lnTo>
                  <a:lnTo>
                    <a:pt x="728" y="17"/>
                  </a:lnTo>
                  <a:lnTo>
                    <a:pt x="747" y="19"/>
                  </a:lnTo>
                  <a:lnTo>
                    <a:pt x="770" y="19"/>
                  </a:lnTo>
                  <a:lnTo>
                    <a:pt x="773" y="26"/>
                  </a:lnTo>
                  <a:lnTo>
                    <a:pt x="742" y="34"/>
                  </a:lnTo>
                  <a:lnTo>
                    <a:pt x="711" y="36"/>
                  </a:lnTo>
                  <a:lnTo>
                    <a:pt x="690" y="48"/>
                  </a:lnTo>
                  <a:lnTo>
                    <a:pt x="676" y="59"/>
                  </a:lnTo>
                  <a:lnTo>
                    <a:pt x="659" y="76"/>
                  </a:lnTo>
                  <a:lnTo>
                    <a:pt x="650" y="97"/>
                  </a:lnTo>
                  <a:lnTo>
                    <a:pt x="650" y="114"/>
                  </a:lnTo>
                  <a:lnTo>
                    <a:pt x="645" y="133"/>
                  </a:lnTo>
                  <a:lnTo>
                    <a:pt x="655" y="142"/>
                  </a:lnTo>
                  <a:lnTo>
                    <a:pt x="667" y="133"/>
                  </a:lnTo>
                  <a:lnTo>
                    <a:pt x="669" y="116"/>
                  </a:lnTo>
                  <a:lnTo>
                    <a:pt x="676" y="100"/>
                  </a:lnTo>
                  <a:lnTo>
                    <a:pt x="690" y="76"/>
                  </a:lnTo>
                  <a:lnTo>
                    <a:pt x="702" y="64"/>
                  </a:lnTo>
                  <a:lnTo>
                    <a:pt x="716" y="57"/>
                  </a:lnTo>
                  <a:lnTo>
                    <a:pt x="735" y="59"/>
                  </a:lnTo>
                  <a:lnTo>
                    <a:pt x="747" y="67"/>
                  </a:lnTo>
                  <a:lnTo>
                    <a:pt x="756" y="74"/>
                  </a:lnTo>
                  <a:lnTo>
                    <a:pt x="770" y="74"/>
                  </a:lnTo>
                  <a:lnTo>
                    <a:pt x="782" y="69"/>
                  </a:lnTo>
                  <a:lnTo>
                    <a:pt x="789" y="62"/>
                  </a:lnTo>
                  <a:lnTo>
                    <a:pt x="799" y="52"/>
                  </a:lnTo>
                  <a:lnTo>
                    <a:pt x="808" y="52"/>
                  </a:lnTo>
                  <a:lnTo>
                    <a:pt x="818" y="52"/>
                  </a:lnTo>
                  <a:lnTo>
                    <a:pt x="827" y="55"/>
                  </a:lnTo>
                  <a:lnTo>
                    <a:pt x="839" y="45"/>
                  </a:lnTo>
                  <a:lnTo>
                    <a:pt x="851" y="43"/>
                  </a:lnTo>
                  <a:lnTo>
                    <a:pt x="860" y="55"/>
                  </a:lnTo>
                  <a:lnTo>
                    <a:pt x="865" y="71"/>
                  </a:lnTo>
                  <a:lnTo>
                    <a:pt x="863" y="88"/>
                  </a:lnTo>
                  <a:lnTo>
                    <a:pt x="860" y="102"/>
                  </a:lnTo>
                  <a:lnTo>
                    <a:pt x="858" y="114"/>
                  </a:lnTo>
                  <a:lnTo>
                    <a:pt x="858" y="128"/>
                  </a:lnTo>
                  <a:lnTo>
                    <a:pt x="877" y="142"/>
                  </a:lnTo>
                  <a:lnTo>
                    <a:pt x="903" y="149"/>
                  </a:lnTo>
                  <a:lnTo>
                    <a:pt x="924" y="163"/>
                  </a:lnTo>
                  <a:lnTo>
                    <a:pt x="936" y="166"/>
                  </a:lnTo>
                  <a:lnTo>
                    <a:pt x="962" y="168"/>
                  </a:lnTo>
                  <a:lnTo>
                    <a:pt x="978" y="178"/>
                  </a:lnTo>
                  <a:lnTo>
                    <a:pt x="983" y="192"/>
                  </a:lnTo>
                  <a:lnTo>
                    <a:pt x="993" y="206"/>
                  </a:lnTo>
                  <a:lnTo>
                    <a:pt x="1007" y="204"/>
                  </a:lnTo>
                  <a:lnTo>
                    <a:pt x="1009" y="185"/>
                  </a:lnTo>
                  <a:lnTo>
                    <a:pt x="1030" y="180"/>
                  </a:lnTo>
                  <a:lnTo>
                    <a:pt x="1061" y="182"/>
                  </a:lnTo>
                  <a:lnTo>
                    <a:pt x="1087" y="185"/>
                  </a:lnTo>
                  <a:lnTo>
                    <a:pt x="1104" y="189"/>
                  </a:lnTo>
                  <a:lnTo>
                    <a:pt x="1111" y="204"/>
                  </a:lnTo>
                  <a:lnTo>
                    <a:pt x="1113" y="218"/>
                  </a:lnTo>
                  <a:lnTo>
                    <a:pt x="1106" y="232"/>
                  </a:lnTo>
                  <a:lnTo>
                    <a:pt x="1101" y="244"/>
                  </a:lnTo>
                  <a:lnTo>
                    <a:pt x="1101" y="258"/>
                  </a:lnTo>
                  <a:lnTo>
                    <a:pt x="1108" y="272"/>
                  </a:lnTo>
                  <a:lnTo>
                    <a:pt x="1118" y="284"/>
                  </a:lnTo>
                  <a:lnTo>
                    <a:pt x="1127" y="296"/>
                  </a:lnTo>
                  <a:lnTo>
                    <a:pt x="1127" y="308"/>
                  </a:lnTo>
                  <a:lnTo>
                    <a:pt x="1127" y="322"/>
                  </a:lnTo>
                  <a:lnTo>
                    <a:pt x="1127" y="333"/>
                  </a:lnTo>
                  <a:lnTo>
                    <a:pt x="1139" y="350"/>
                  </a:lnTo>
                  <a:lnTo>
                    <a:pt x="1148" y="371"/>
                  </a:lnTo>
                  <a:lnTo>
                    <a:pt x="1151" y="385"/>
                  </a:lnTo>
                  <a:lnTo>
                    <a:pt x="1153" y="400"/>
                  </a:lnTo>
                  <a:lnTo>
                    <a:pt x="1172" y="404"/>
                  </a:lnTo>
                  <a:lnTo>
                    <a:pt x="1198" y="402"/>
                  </a:lnTo>
                  <a:lnTo>
                    <a:pt x="1207" y="409"/>
                  </a:lnTo>
                  <a:lnTo>
                    <a:pt x="1215" y="421"/>
                  </a:lnTo>
                  <a:lnTo>
                    <a:pt x="1224" y="433"/>
                  </a:lnTo>
                  <a:lnTo>
                    <a:pt x="1236" y="433"/>
                  </a:lnTo>
                  <a:lnTo>
                    <a:pt x="1252" y="428"/>
                  </a:lnTo>
                  <a:lnTo>
                    <a:pt x="1278" y="428"/>
                  </a:lnTo>
                  <a:lnTo>
                    <a:pt x="1290" y="433"/>
                  </a:lnTo>
                  <a:lnTo>
                    <a:pt x="1300" y="459"/>
                  </a:lnTo>
                  <a:lnTo>
                    <a:pt x="1304" y="482"/>
                  </a:lnTo>
                  <a:lnTo>
                    <a:pt x="1307" y="501"/>
                  </a:lnTo>
                  <a:lnTo>
                    <a:pt x="1316" y="522"/>
                  </a:lnTo>
                  <a:lnTo>
                    <a:pt x="1321" y="551"/>
                  </a:lnTo>
                  <a:lnTo>
                    <a:pt x="1321" y="589"/>
                  </a:lnTo>
                  <a:lnTo>
                    <a:pt x="1323" y="600"/>
                  </a:lnTo>
                  <a:lnTo>
                    <a:pt x="1337" y="619"/>
                  </a:lnTo>
                  <a:lnTo>
                    <a:pt x="1345" y="636"/>
                  </a:lnTo>
                  <a:lnTo>
                    <a:pt x="1340" y="662"/>
                  </a:lnTo>
                  <a:lnTo>
                    <a:pt x="1337" y="667"/>
                  </a:lnTo>
                  <a:lnTo>
                    <a:pt x="1328" y="674"/>
                  </a:lnTo>
                  <a:lnTo>
                    <a:pt x="1316" y="690"/>
                  </a:lnTo>
                  <a:lnTo>
                    <a:pt x="1295" y="709"/>
                  </a:lnTo>
                  <a:lnTo>
                    <a:pt x="1274" y="714"/>
                  </a:lnTo>
                  <a:lnTo>
                    <a:pt x="1262" y="700"/>
                  </a:lnTo>
                  <a:lnTo>
                    <a:pt x="1248" y="681"/>
                  </a:lnTo>
                  <a:lnTo>
                    <a:pt x="1233" y="652"/>
                  </a:lnTo>
                  <a:lnTo>
                    <a:pt x="1222" y="631"/>
                  </a:lnTo>
                  <a:lnTo>
                    <a:pt x="1205" y="610"/>
                  </a:lnTo>
                  <a:lnTo>
                    <a:pt x="1191" y="600"/>
                  </a:lnTo>
                  <a:lnTo>
                    <a:pt x="1179" y="605"/>
                  </a:lnTo>
                  <a:lnTo>
                    <a:pt x="1167" y="615"/>
                  </a:lnTo>
                  <a:lnTo>
                    <a:pt x="1153" y="626"/>
                  </a:lnTo>
                  <a:lnTo>
                    <a:pt x="1141" y="633"/>
                  </a:lnTo>
                  <a:lnTo>
                    <a:pt x="1120" y="631"/>
                  </a:lnTo>
                  <a:lnTo>
                    <a:pt x="1089" y="624"/>
                  </a:lnTo>
                  <a:lnTo>
                    <a:pt x="1068" y="629"/>
                  </a:lnTo>
                  <a:lnTo>
                    <a:pt x="1044" y="641"/>
                  </a:lnTo>
                  <a:lnTo>
                    <a:pt x="1037" y="659"/>
                  </a:lnTo>
                  <a:lnTo>
                    <a:pt x="1035" y="683"/>
                  </a:lnTo>
                  <a:lnTo>
                    <a:pt x="1021" y="700"/>
                  </a:lnTo>
                  <a:lnTo>
                    <a:pt x="1000" y="707"/>
                  </a:lnTo>
                  <a:lnTo>
                    <a:pt x="985" y="728"/>
                  </a:lnTo>
                  <a:lnTo>
                    <a:pt x="969" y="737"/>
                  </a:lnTo>
                  <a:lnTo>
                    <a:pt x="950" y="735"/>
                  </a:lnTo>
                  <a:lnTo>
                    <a:pt x="926" y="735"/>
                  </a:lnTo>
                  <a:lnTo>
                    <a:pt x="910" y="740"/>
                  </a:lnTo>
                  <a:lnTo>
                    <a:pt x="889" y="752"/>
                  </a:lnTo>
                  <a:lnTo>
                    <a:pt x="879" y="768"/>
                  </a:lnTo>
                  <a:lnTo>
                    <a:pt x="872" y="787"/>
                  </a:lnTo>
                  <a:lnTo>
                    <a:pt x="851" y="778"/>
                  </a:lnTo>
                  <a:lnTo>
                    <a:pt x="827" y="766"/>
                  </a:lnTo>
                  <a:lnTo>
                    <a:pt x="801" y="759"/>
                  </a:lnTo>
                  <a:lnTo>
                    <a:pt x="778" y="756"/>
                  </a:lnTo>
                  <a:lnTo>
                    <a:pt x="759" y="747"/>
                  </a:lnTo>
                  <a:lnTo>
                    <a:pt x="735" y="730"/>
                  </a:lnTo>
                  <a:lnTo>
                    <a:pt x="716" y="721"/>
                  </a:lnTo>
                  <a:lnTo>
                    <a:pt x="690" y="721"/>
                  </a:lnTo>
                  <a:lnTo>
                    <a:pt x="652" y="721"/>
                  </a:lnTo>
                  <a:lnTo>
                    <a:pt x="622" y="721"/>
                  </a:lnTo>
                  <a:lnTo>
                    <a:pt x="593" y="704"/>
                  </a:lnTo>
                  <a:lnTo>
                    <a:pt x="572" y="688"/>
                  </a:lnTo>
                  <a:lnTo>
                    <a:pt x="553" y="676"/>
                  </a:lnTo>
                  <a:lnTo>
                    <a:pt x="530" y="667"/>
                  </a:lnTo>
                  <a:lnTo>
                    <a:pt x="511" y="678"/>
                  </a:lnTo>
                  <a:lnTo>
                    <a:pt x="499" y="695"/>
                  </a:lnTo>
                  <a:lnTo>
                    <a:pt x="485" y="711"/>
                  </a:lnTo>
                  <a:lnTo>
                    <a:pt x="461" y="719"/>
                  </a:lnTo>
                  <a:lnTo>
                    <a:pt x="430" y="733"/>
                  </a:lnTo>
                  <a:lnTo>
                    <a:pt x="404" y="749"/>
                  </a:lnTo>
                  <a:lnTo>
                    <a:pt x="383" y="770"/>
                  </a:lnTo>
                  <a:lnTo>
                    <a:pt x="374" y="792"/>
                  </a:lnTo>
                  <a:lnTo>
                    <a:pt x="371" y="813"/>
                  </a:lnTo>
                  <a:lnTo>
                    <a:pt x="378" y="827"/>
                  </a:lnTo>
                  <a:lnTo>
                    <a:pt x="374" y="834"/>
                  </a:lnTo>
                  <a:lnTo>
                    <a:pt x="374" y="841"/>
                  </a:lnTo>
                  <a:lnTo>
                    <a:pt x="359" y="841"/>
                  </a:lnTo>
                  <a:lnTo>
                    <a:pt x="331" y="841"/>
                  </a:lnTo>
                  <a:lnTo>
                    <a:pt x="289" y="841"/>
                  </a:lnTo>
                  <a:lnTo>
                    <a:pt x="248" y="841"/>
                  </a:lnTo>
                  <a:lnTo>
                    <a:pt x="196" y="789"/>
                  </a:lnTo>
                  <a:lnTo>
                    <a:pt x="182" y="780"/>
                  </a:lnTo>
                  <a:lnTo>
                    <a:pt x="166" y="775"/>
                  </a:lnTo>
                  <a:lnTo>
                    <a:pt x="156" y="766"/>
                  </a:lnTo>
                  <a:lnTo>
                    <a:pt x="147" y="752"/>
                  </a:lnTo>
                  <a:lnTo>
                    <a:pt x="135" y="737"/>
                  </a:lnTo>
                  <a:lnTo>
                    <a:pt x="109" y="735"/>
                  </a:lnTo>
                  <a:lnTo>
                    <a:pt x="83" y="733"/>
                  </a:lnTo>
                  <a:lnTo>
                    <a:pt x="74" y="723"/>
                  </a:lnTo>
                  <a:lnTo>
                    <a:pt x="50" y="702"/>
                  </a:lnTo>
                  <a:lnTo>
                    <a:pt x="31" y="681"/>
                  </a:lnTo>
                  <a:lnTo>
                    <a:pt x="22" y="671"/>
                  </a:lnTo>
                  <a:lnTo>
                    <a:pt x="7" y="662"/>
                  </a:lnTo>
                  <a:lnTo>
                    <a:pt x="0" y="582"/>
                  </a:lnTo>
                  <a:lnTo>
                    <a:pt x="10" y="565"/>
                  </a:lnTo>
                  <a:lnTo>
                    <a:pt x="24" y="556"/>
                  </a:lnTo>
                  <a:lnTo>
                    <a:pt x="36" y="548"/>
                  </a:lnTo>
                  <a:lnTo>
                    <a:pt x="55" y="551"/>
                  </a:lnTo>
                  <a:lnTo>
                    <a:pt x="74" y="541"/>
                  </a:lnTo>
                  <a:lnTo>
                    <a:pt x="90" y="530"/>
                  </a:lnTo>
                  <a:lnTo>
                    <a:pt x="92" y="508"/>
                  </a:lnTo>
                  <a:lnTo>
                    <a:pt x="88" y="487"/>
                  </a:lnTo>
                  <a:lnTo>
                    <a:pt x="83" y="463"/>
                  </a:lnTo>
                  <a:lnTo>
                    <a:pt x="71" y="440"/>
                  </a:lnTo>
                  <a:lnTo>
                    <a:pt x="55" y="416"/>
                  </a:lnTo>
                  <a:close/>
                </a:path>
              </a:pathLst>
            </a:custGeom>
            <a:pattFill prst="dkVert">
              <a:fgClr>
                <a:schemeClr val="accent2"/>
              </a:fgClr>
              <a:bgClr>
                <a:schemeClr val="bg1"/>
              </a:bgClr>
            </a:pattFill>
            <a:ln w="9525" cap="rnd"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p>
              <a:endParaRPr lang="en-US" dirty="0"/>
            </a:p>
          </p:txBody>
        </p:sp>
        <p:sp>
          <p:nvSpPr>
            <p:cNvPr id="8628" name="Freeform 22">
              <a:extLst>
                <a:ext uri="{FF2B5EF4-FFF2-40B4-BE49-F238E27FC236}">
                  <a16:creationId xmlns:a16="http://schemas.microsoft.com/office/drawing/2014/main" id="{19AF6115-C339-484E-AFE5-318869892E12}"/>
                </a:ext>
              </a:extLst>
            </p:cNvPr>
            <p:cNvSpPr>
              <a:spLocks/>
            </p:cNvSpPr>
            <p:nvPr/>
          </p:nvSpPr>
          <p:spPr bwMode="gray">
            <a:xfrm>
              <a:off x="-2613025" y="-201612"/>
              <a:ext cx="228600" cy="274638"/>
            </a:xfrm>
            <a:custGeom>
              <a:avLst/>
              <a:gdLst/>
              <a:ahLst/>
              <a:cxnLst>
                <a:cxn ang="0">
                  <a:pos x="2" y="26"/>
                </a:cxn>
                <a:cxn ang="0">
                  <a:pos x="7" y="7"/>
                </a:cxn>
                <a:cxn ang="0">
                  <a:pos x="19" y="0"/>
                </a:cxn>
                <a:cxn ang="0">
                  <a:pos x="40" y="0"/>
                </a:cxn>
                <a:cxn ang="0">
                  <a:pos x="54" y="21"/>
                </a:cxn>
                <a:cxn ang="0">
                  <a:pos x="73" y="40"/>
                </a:cxn>
                <a:cxn ang="0">
                  <a:pos x="90" y="52"/>
                </a:cxn>
                <a:cxn ang="0">
                  <a:pos x="104" y="59"/>
                </a:cxn>
                <a:cxn ang="0">
                  <a:pos x="118" y="66"/>
                </a:cxn>
                <a:cxn ang="0">
                  <a:pos x="137" y="85"/>
                </a:cxn>
                <a:cxn ang="0">
                  <a:pos x="142" y="99"/>
                </a:cxn>
                <a:cxn ang="0">
                  <a:pos x="144" y="123"/>
                </a:cxn>
                <a:cxn ang="0">
                  <a:pos x="139" y="142"/>
                </a:cxn>
                <a:cxn ang="0">
                  <a:pos x="127" y="161"/>
                </a:cxn>
                <a:cxn ang="0">
                  <a:pos x="104" y="168"/>
                </a:cxn>
                <a:cxn ang="0">
                  <a:pos x="83" y="173"/>
                </a:cxn>
                <a:cxn ang="0">
                  <a:pos x="57" y="170"/>
                </a:cxn>
                <a:cxn ang="0">
                  <a:pos x="40" y="166"/>
                </a:cxn>
                <a:cxn ang="0">
                  <a:pos x="28" y="147"/>
                </a:cxn>
                <a:cxn ang="0">
                  <a:pos x="26" y="130"/>
                </a:cxn>
                <a:cxn ang="0">
                  <a:pos x="26" y="111"/>
                </a:cxn>
                <a:cxn ang="0">
                  <a:pos x="31" y="107"/>
                </a:cxn>
                <a:cxn ang="0">
                  <a:pos x="54" y="111"/>
                </a:cxn>
                <a:cxn ang="0">
                  <a:pos x="64" y="107"/>
                </a:cxn>
                <a:cxn ang="0">
                  <a:pos x="68" y="85"/>
                </a:cxn>
                <a:cxn ang="0">
                  <a:pos x="68" y="69"/>
                </a:cxn>
                <a:cxn ang="0">
                  <a:pos x="57" y="55"/>
                </a:cxn>
                <a:cxn ang="0">
                  <a:pos x="40" y="64"/>
                </a:cxn>
                <a:cxn ang="0">
                  <a:pos x="33" y="83"/>
                </a:cxn>
                <a:cxn ang="0">
                  <a:pos x="28" y="95"/>
                </a:cxn>
                <a:cxn ang="0">
                  <a:pos x="24" y="99"/>
                </a:cxn>
                <a:cxn ang="0">
                  <a:pos x="14" y="85"/>
                </a:cxn>
                <a:cxn ang="0">
                  <a:pos x="5" y="62"/>
                </a:cxn>
                <a:cxn ang="0">
                  <a:pos x="0" y="43"/>
                </a:cxn>
                <a:cxn ang="0">
                  <a:pos x="2" y="26"/>
                </a:cxn>
              </a:cxnLst>
              <a:rect l="0" t="0" r="r" b="b"/>
              <a:pathLst>
                <a:path w="144" h="173">
                  <a:moveTo>
                    <a:pt x="2" y="26"/>
                  </a:moveTo>
                  <a:lnTo>
                    <a:pt x="7" y="7"/>
                  </a:lnTo>
                  <a:lnTo>
                    <a:pt x="19" y="0"/>
                  </a:lnTo>
                  <a:lnTo>
                    <a:pt x="40" y="0"/>
                  </a:lnTo>
                  <a:lnTo>
                    <a:pt x="54" y="21"/>
                  </a:lnTo>
                  <a:lnTo>
                    <a:pt x="73" y="40"/>
                  </a:lnTo>
                  <a:lnTo>
                    <a:pt x="90" y="52"/>
                  </a:lnTo>
                  <a:lnTo>
                    <a:pt x="104" y="59"/>
                  </a:lnTo>
                  <a:lnTo>
                    <a:pt x="118" y="66"/>
                  </a:lnTo>
                  <a:lnTo>
                    <a:pt x="137" y="85"/>
                  </a:lnTo>
                  <a:lnTo>
                    <a:pt x="142" y="99"/>
                  </a:lnTo>
                  <a:lnTo>
                    <a:pt x="144" y="123"/>
                  </a:lnTo>
                  <a:lnTo>
                    <a:pt x="139" y="142"/>
                  </a:lnTo>
                  <a:lnTo>
                    <a:pt x="127" y="161"/>
                  </a:lnTo>
                  <a:lnTo>
                    <a:pt x="104" y="168"/>
                  </a:lnTo>
                  <a:lnTo>
                    <a:pt x="83" y="173"/>
                  </a:lnTo>
                  <a:lnTo>
                    <a:pt x="57" y="170"/>
                  </a:lnTo>
                  <a:lnTo>
                    <a:pt x="40" y="166"/>
                  </a:lnTo>
                  <a:lnTo>
                    <a:pt x="28" y="147"/>
                  </a:lnTo>
                  <a:lnTo>
                    <a:pt x="26" y="130"/>
                  </a:lnTo>
                  <a:lnTo>
                    <a:pt x="26" y="111"/>
                  </a:lnTo>
                  <a:lnTo>
                    <a:pt x="31" y="107"/>
                  </a:lnTo>
                  <a:lnTo>
                    <a:pt x="54" y="111"/>
                  </a:lnTo>
                  <a:lnTo>
                    <a:pt x="64" y="107"/>
                  </a:lnTo>
                  <a:lnTo>
                    <a:pt x="68" y="85"/>
                  </a:lnTo>
                  <a:lnTo>
                    <a:pt x="68" y="69"/>
                  </a:lnTo>
                  <a:lnTo>
                    <a:pt x="57" y="55"/>
                  </a:lnTo>
                  <a:lnTo>
                    <a:pt x="40" y="64"/>
                  </a:lnTo>
                  <a:lnTo>
                    <a:pt x="33" y="83"/>
                  </a:lnTo>
                  <a:lnTo>
                    <a:pt x="28" y="95"/>
                  </a:lnTo>
                  <a:lnTo>
                    <a:pt x="24" y="99"/>
                  </a:lnTo>
                  <a:lnTo>
                    <a:pt x="14" y="85"/>
                  </a:lnTo>
                  <a:lnTo>
                    <a:pt x="5" y="62"/>
                  </a:lnTo>
                  <a:lnTo>
                    <a:pt x="0" y="43"/>
                  </a:lnTo>
                  <a:lnTo>
                    <a:pt x="2" y="26"/>
                  </a:lnTo>
                  <a:close/>
                </a:path>
              </a:pathLst>
            </a:custGeom>
            <a:pattFill prst="dkVert">
              <a:fgClr>
                <a:schemeClr val="accent2"/>
              </a:fgClr>
              <a:bgClr>
                <a:schemeClr val="bg1"/>
              </a:bgClr>
            </a:pattFill>
            <a:ln w="9525" cap="rnd"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p>
              <a:endParaRPr lang="en-US" dirty="0"/>
            </a:p>
          </p:txBody>
        </p:sp>
        <p:sp>
          <p:nvSpPr>
            <p:cNvPr id="8629" name="Freeform 23">
              <a:extLst>
                <a:ext uri="{FF2B5EF4-FFF2-40B4-BE49-F238E27FC236}">
                  <a16:creationId xmlns:a16="http://schemas.microsoft.com/office/drawing/2014/main" id="{91EAEF8C-0A6E-4FB4-A52F-E3FA3363CC12}"/>
                </a:ext>
              </a:extLst>
            </p:cNvPr>
            <p:cNvSpPr>
              <a:spLocks/>
            </p:cNvSpPr>
            <p:nvPr/>
          </p:nvSpPr>
          <p:spPr bwMode="gray">
            <a:xfrm>
              <a:off x="-3003550" y="-749300"/>
              <a:ext cx="379412" cy="458788"/>
            </a:xfrm>
            <a:custGeom>
              <a:avLst/>
              <a:gdLst/>
              <a:ahLst/>
              <a:cxnLst>
                <a:cxn ang="0">
                  <a:pos x="7" y="147"/>
                </a:cxn>
                <a:cxn ang="0">
                  <a:pos x="21" y="163"/>
                </a:cxn>
                <a:cxn ang="0">
                  <a:pos x="36" y="185"/>
                </a:cxn>
                <a:cxn ang="0">
                  <a:pos x="36" y="196"/>
                </a:cxn>
                <a:cxn ang="0">
                  <a:pos x="24" y="206"/>
                </a:cxn>
                <a:cxn ang="0">
                  <a:pos x="10" y="211"/>
                </a:cxn>
                <a:cxn ang="0">
                  <a:pos x="10" y="225"/>
                </a:cxn>
                <a:cxn ang="0">
                  <a:pos x="12" y="251"/>
                </a:cxn>
                <a:cxn ang="0">
                  <a:pos x="24" y="258"/>
                </a:cxn>
                <a:cxn ang="0">
                  <a:pos x="47" y="277"/>
                </a:cxn>
                <a:cxn ang="0">
                  <a:pos x="69" y="286"/>
                </a:cxn>
                <a:cxn ang="0">
                  <a:pos x="97" y="289"/>
                </a:cxn>
                <a:cxn ang="0">
                  <a:pos x="111" y="284"/>
                </a:cxn>
                <a:cxn ang="0">
                  <a:pos x="121" y="265"/>
                </a:cxn>
                <a:cxn ang="0">
                  <a:pos x="125" y="248"/>
                </a:cxn>
                <a:cxn ang="0">
                  <a:pos x="130" y="227"/>
                </a:cxn>
                <a:cxn ang="0">
                  <a:pos x="140" y="220"/>
                </a:cxn>
                <a:cxn ang="0">
                  <a:pos x="158" y="215"/>
                </a:cxn>
                <a:cxn ang="0">
                  <a:pos x="180" y="220"/>
                </a:cxn>
                <a:cxn ang="0">
                  <a:pos x="187" y="229"/>
                </a:cxn>
                <a:cxn ang="0">
                  <a:pos x="192" y="248"/>
                </a:cxn>
                <a:cxn ang="0">
                  <a:pos x="189" y="258"/>
                </a:cxn>
                <a:cxn ang="0">
                  <a:pos x="184" y="267"/>
                </a:cxn>
                <a:cxn ang="0">
                  <a:pos x="189" y="272"/>
                </a:cxn>
                <a:cxn ang="0">
                  <a:pos x="203" y="272"/>
                </a:cxn>
                <a:cxn ang="0">
                  <a:pos x="220" y="258"/>
                </a:cxn>
                <a:cxn ang="0">
                  <a:pos x="236" y="241"/>
                </a:cxn>
                <a:cxn ang="0">
                  <a:pos x="239" y="227"/>
                </a:cxn>
                <a:cxn ang="0">
                  <a:pos x="227" y="203"/>
                </a:cxn>
                <a:cxn ang="0">
                  <a:pos x="210" y="187"/>
                </a:cxn>
                <a:cxn ang="0">
                  <a:pos x="189" y="168"/>
                </a:cxn>
                <a:cxn ang="0">
                  <a:pos x="177" y="154"/>
                </a:cxn>
                <a:cxn ang="0">
                  <a:pos x="173" y="137"/>
                </a:cxn>
                <a:cxn ang="0">
                  <a:pos x="173" y="123"/>
                </a:cxn>
                <a:cxn ang="0">
                  <a:pos x="180" y="111"/>
                </a:cxn>
                <a:cxn ang="0">
                  <a:pos x="189" y="100"/>
                </a:cxn>
                <a:cxn ang="0">
                  <a:pos x="192" y="83"/>
                </a:cxn>
                <a:cxn ang="0">
                  <a:pos x="175" y="71"/>
                </a:cxn>
                <a:cxn ang="0">
                  <a:pos x="149" y="71"/>
                </a:cxn>
                <a:cxn ang="0">
                  <a:pos x="128" y="66"/>
                </a:cxn>
                <a:cxn ang="0">
                  <a:pos x="111" y="55"/>
                </a:cxn>
                <a:cxn ang="0">
                  <a:pos x="107" y="29"/>
                </a:cxn>
                <a:cxn ang="0">
                  <a:pos x="107" y="10"/>
                </a:cxn>
                <a:cxn ang="0">
                  <a:pos x="102" y="3"/>
                </a:cxn>
                <a:cxn ang="0">
                  <a:pos x="81" y="0"/>
                </a:cxn>
                <a:cxn ang="0">
                  <a:pos x="59" y="7"/>
                </a:cxn>
                <a:cxn ang="0">
                  <a:pos x="43" y="17"/>
                </a:cxn>
                <a:cxn ang="0">
                  <a:pos x="33" y="31"/>
                </a:cxn>
                <a:cxn ang="0">
                  <a:pos x="21" y="52"/>
                </a:cxn>
                <a:cxn ang="0">
                  <a:pos x="21" y="71"/>
                </a:cxn>
                <a:cxn ang="0">
                  <a:pos x="36" y="76"/>
                </a:cxn>
                <a:cxn ang="0">
                  <a:pos x="59" y="81"/>
                </a:cxn>
                <a:cxn ang="0">
                  <a:pos x="69" y="88"/>
                </a:cxn>
                <a:cxn ang="0">
                  <a:pos x="69" y="102"/>
                </a:cxn>
                <a:cxn ang="0">
                  <a:pos x="59" y="109"/>
                </a:cxn>
                <a:cxn ang="0">
                  <a:pos x="36" y="107"/>
                </a:cxn>
                <a:cxn ang="0">
                  <a:pos x="19" y="107"/>
                </a:cxn>
                <a:cxn ang="0">
                  <a:pos x="7" y="114"/>
                </a:cxn>
                <a:cxn ang="0">
                  <a:pos x="3" y="130"/>
                </a:cxn>
                <a:cxn ang="0">
                  <a:pos x="0" y="130"/>
                </a:cxn>
                <a:cxn ang="0">
                  <a:pos x="7" y="147"/>
                </a:cxn>
              </a:cxnLst>
              <a:rect l="0" t="0" r="r" b="b"/>
              <a:pathLst>
                <a:path w="239" h="289">
                  <a:moveTo>
                    <a:pt x="7" y="147"/>
                  </a:moveTo>
                  <a:lnTo>
                    <a:pt x="21" y="163"/>
                  </a:lnTo>
                  <a:lnTo>
                    <a:pt x="36" y="185"/>
                  </a:lnTo>
                  <a:lnTo>
                    <a:pt x="36" y="196"/>
                  </a:lnTo>
                  <a:lnTo>
                    <a:pt x="24" y="206"/>
                  </a:lnTo>
                  <a:lnTo>
                    <a:pt x="10" y="211"/>
                  </a:lnTo>
                  <a:lnTo>
                    <a:pt x="10" y="225"/>
                  </a:lnTo>
                  <a:lnTo>
                    <a:pt x="12" y="251"/>
                  </a:lnTo>
                  <a:lnTo>
                    <a:pt x="24" y="258"/>
                  </a:lnTo>
                  <a:lnTo>
                    <a:pt x="47" y="277"/>
                  </a:lnTo>
                  <a:lnTo>
                    <a:pt x="69" y="286"/>
                  </a:lnTo>
                  <a:lnTo>
                    <a:pt x="97" y="289"/>
                  </a:lnTo>
                  <a:lnTo>
                    <a:pt x="111" y="284"/>
                  </a:lnTo>
                  <a:lnTo>
                    <a:pt x="121" y="265"/>
                  </a:lnTo>
                  <a:lnTo>
                    <a:pt x="125" y="248"/>
                  </a:lnTo>
                  <a:lnTo>
                    <a:pt x="130" y="227"/>
                  </a:lnTo>
                  <a:lnTo>
                    <a:pt x="140" y="220"/>
                  </a:lnTo>
                  <a:lnTo>
                    <a:pt x="158" y="215"/>
                  </a:lnTo>
                  <a:lnTo>
                    <a:pt x="180" y="220"/>
                  </a:lnTo>
                  <a:lnTo>
                    <a:pt x="187" y="229"/>
                  </a:lnTo>
                  <a:lnTo>
                    <a:pt x="192" y="248"/>
                  </a:lnTo>
                  <a:lnTo>
                    <a:pt x="189" y="258"/>
                  </a:lnTo>
                  <a:lnTo>
                    <a:pt x="184" y="267"/>
                  </a:lnTo>
                  <a:lnTo>
                    <a:pt x="189" y="272"/>
                  </a:lnTo>
                  <a:lnTo>
                    <a:pt x="203" y="272"/>
                  </a:lnTo>
                  <a:lnTo>
                    <a:pt x="220" y="258"/>
                  </a:lnTo>
                  <a:lnTo>
                    <a:pt x="236" y="241"/>
                  </a:lnTo>
                  <a:lnTo>
                    <a:pt x="239" y="227"/>
                  </a:lnTo>
                  <a:lnTo>
                    <a:pt x="227" y="203"/>
                  </a:lnTo>
                  <a:lnTo>
                    <a:pt x="210" y="187"/>
                  </a:lnTo>
                  <a:lnTo>
                    <a:pt x="189" y="168"/>
                  </a:lnTo>
                  <a:lnTo>
                    <a:pt x="177" y="154"/>
                  </a:lnTo>
                  <a:lnTo>
                    <a:pt x="173" y="137"/>
                  </a:lnTo>
                  <a:lnTo>
                    <a:pt x="173" y="123"/>
                  </a:lnTo>
                  <a:lnTo>
                    <a:pt x="180" y="111"/>
                  </a:lnTo>
                  <a:lnTo>
                    <a:pt x="189" y="100"/>
                  </a:lnTo>
                  <a:lnTo>
                    <a:pt x="192" y="83"/>
                  </a:lnTo>
                  <a:lnTo>
                    <a:pt x="175" y="71"/>
                  </a:lnTo>
                  <a:lnTo>
                    <a:pt x="149" y="71"/>
                  </a:lnTo>
                  <a:lnTo>
                    <a:pt x="128" y="66"/>
                  </a:lnTo>
                  <a:lnTo>
                    <a:pt x="111" y="55"/>
                  </a:lnTo>
                  <a:lnTo>
                    <a:pt x="107" y="29"/>
                  </a:lnTo>
                  <a:lnTo>
                    <a:pt x="107" y="10"/>
                  </a:lnTo>
                  <a:lnTo>
                    <a:pt x="102" y="3"/>
                  </a:lnTo>
                  <a:lnTo>
                    <a:pt x="81" y="0"/>
                  </a:lnTo>
                  <a:lnTo>
                    <a:pt x="59" y="7"/>
                  </a:lnTo>
                  <a:lnTo>
                    <a:pt x="43" y="17"/>
                  </a:lnTo>
                  <a:lnTo>
                    <a:pt x="33" y="31"/>
                  </a:lnTo>
                  <a:lnTo>
                    <a:pt x="21" y="52"/>
                  </a:lnTo>
                  <a:lnTo>
                    <a:pt x="21" y="71"/>
                  </a:lnTo>
                  <a:lnTo>
                    <a:pt x="36" y="76"/>
                  </a:lnTo>
                  <a:lnTo>
                    <a:pt x="59" y="81"/>
                  </a:lnTo>
                  <a:lnTo>
                    <a:pt x="69" y="88"/>
                  </a:lnTo>
                  <a:lnTo>
                    <a:pt x="69" y="102"/>
                  </a:lnTo>
                  <a:lnTo>
                    <a:pt x="59" y="109"/>
                  </a:lnTo>
                  <a:lnTo>
                    <a:pt x="36" y="107"/>
                  </a:lnTo>
                  <a:lnTo>
                    <a:pt x="19" y="107"/>
                  </a:lnTo>
                  <a:lnTo>
                    <a:pt x="7" y="114"/>
                  </a:lnTo>
                  <a:lnTo>
                    <a:pt x="3" y="130"/>
                  </a:lnTo>
                  <a:lnTo>
                    <a:pt x="0" y="130"/>
                  </a:lnTo>
                  <a:lnTo>
                    <a:pt x="7" y="147"/>
                  </a:lnTo>
                  <a:close/>
                </a:path>
              </a:pathLst>
            </a:custGeom>
            <a:pattFill prst="dkVert">
              <a:fgClr>
                <a:schemeClr val="accent2"/>
              </a:fgClr>
              <a:bgClr>
                <a:schemeClr val="bg1"/>
              </a:bgClr>
            </a:pattFill>
            <a:ln w="9525" cap="rnd"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p>
              <a:endParaRPr lang="en-US" dirty="0"/>
            </a:p>
          </p:txBody>
        </p:sp>
        <p:sp>
          <p:nvSpPr>
            <p:cNvPr id="8630" name="Freeform 24">
              <a:extLst>
                <a:ext uri="{FF2B5EF4-FFF2-40B4-BE49-F238E27FC236}">
                  <a16:creationId xmlns:a16="http://schemas.microsoft.com/office/drawing/2014/main" id="{31F13F41-819B-490A-9880-20B8C70D1657}"/>
                </a:ext>
              </a:extLst>
            </p:cNvPr>
            <p:cNvSpPr>
              <a:spLocks/>
            </p:cNvSpPr>
            <p:nvPr/>
          </p:nvSpPr>
          <p:spPr bwMode="gray">
            <a:xfrm>
              <a:off x="-4886325" y="203200"/>
              <a:ext cx="376237" cy="330200"/>
            </a:xfrm>
            <a:custGeom>
              <a:avLst/>
              <a:gdLst/>
              <a:ahLst/>
              <a:cxnLst>
                <a:cxn ang="0">
                  <a:pos x="237" y="194"/>
                </a:cxn>
                <a:cxn ang="0">
                  <a:pos x="229" y="206"/>
                </a:cxn>
                <a:cxn ang="0">
                  <a:pos x="208" y="208"/>
                </a:cxn>
                <a:cxn ang="0">
                  <a:pos x="180" y="201"/>
                </a:cxn>
                <a:cxn ang="0">
                  <a:pos x="161" y="194"/>
                </a:cxn>
                <a:cxn ang="0">
                  <a:pos x="142" y="187"/>
                </a:cxn>
                <a:cxn ang="0">
                  <a:pos x="126" y="175"/>
                </a:cxn>
                <a:cxn ang="0">
                  <a:pos x="111" y="168"/>
                </a:cxn>
                <a:cxn ang="0">
                  <a:pos x="95" y="163"/>
                </a:cxn>
                <a:cxn ang="0">
                  <a:pos x="81" y="166"/>
                </a:cxn>
                <a:cxn ang="0">
                  <a:pos x="69" y="177"/>
                </a:cxn>
                <a:cxn ang="0">
                  <a:pos x="48" y="182"/>
                </a:cxn>
                <a:cxn ang="0">
                  <a:pos x="33" y="175"/>
                </a:cxn>
                <a:cxn ang="0">
                  <a:pos x="19" y="163"/>
                </a:cxn>
                <a:cxn ang="0">
                  <a:pos x="12" y="151"/>
                </a:cxn>
                <a:cxn ang="0">
                  <a:pos x="3" y="140"/>
                </a:cxn>
                <a:cxn ang="0">
                  <a:pos x="0" y="118"/>
                </a:cxn>
                <a:cxn ang="0">
                  <a:pos x="7" y="100"/>
                </a:cxn>
                <a:cxn ang="0">
                  <a:pos x="15" y="83"/>
                </a:cxn>
                <a:cxn ang="0">
                  <a:pos x="29" y="71"/>
                </a:cxn>
                <a:cxn ang="0">
                  <a:pos x="41" y="59"/>
                </a:cxn>
                <a:cxn ang="0">
                  <a:pos x="67" y="50"/>
                </a:cxn>
                <a:cxn ang="0">
                  <a:pos x="90" y="36"/>
                </a:cxn>
                <a:cxn ang="0">
                  <a:pos x="118" y="10"/>
                </a:cxn>
                <a:cxn ang="0">
                  <a:pos x="142" y="0"/>
                </a:cxn>
                <a:cxn ang="0">
                  <a:pos x="149" y="10"/>
                </a:cxn>
                <a:cxn ang="0">
                  <a:pos x="152" y="33"/>
                </a:cxn>
                <a:cxn ang="0">
                  <a:pos x="152" y="50"/>
                </a:cxn>
                <a:cxn ang="0">
                  <a:pos x="152" y="71"/>
                </a:cxn>
                <a:cxn ang="0">
                  <a:pos x="152" y="97"/>
                </a:cxn>
                <a:cxn ang="0">
                  <a:pos x="161" y="126"/>
                </a:cxn>
                <a:cxn ang="0">
                  <a:pos x="182" y="140"/>
                </a:cxn>
                <a:cxn ang="0">
                  <a:pos x="204" y="163"/>
                </a:cxn>
                <a:cxn ang="0">
                  <a:pos x="227" y="187"/>
                </a:cxn>
                <a:cxn ang="0">
                  <a:pos x="237" y="194"/>
                </a:cxn>
              </a:cxnLst>
              <a:rect l="0" t="0" r="r" b="b"/>
              <a:pathLst>
                <a:path w="237" h="208">
                  <a:moveTo>
                    <a:pt x="237" y="194"/>
                  </a:moveTo>
                  <a:lnTo>
                    <a:pt x="229" y="206"/>
                  </a:lnTo>
                  <a:lnTo>
                    <a:pt x="208" y="208"/>
                  </a:lnTo>
                  <a:lnTo>
                    <a:pt x="180" y="201"/>
                  </a:lnTo>
                  <a:lnTo>
                    <a:pt x="161" y="194"/>
                  </a:lnTo>
                  <a:lnTo>
                    <a:pt x="142" y="187"/>
                  </a:lnTo>
                  <a:lnTo>
                    <a:pt x="126" y="175"/>
                  </a:lnTo>
                  <a:lnTo>
                    <a:pt x="111" y="168"/>
                  </a:lnTo>
                  <a:lnTo>
                    <a:pt x="95" y="163"/>
                  </a:lnTo>
                  <a:lnTo>
                    <a:pt x="81" y="166"/>
                  </a:lnTo>
                  <a:lnTo>
                    <a:pt x="69" y="177"/>
                  </a:lnTo>
                  <a:lnTo>
                    <a:pt x="48" y="182"/>
                  </a:lnTo>
                  <a:lnTo>
                    <a:pt x="33" y="175"/>
                  </a:lnTo>
                  <a:lnTo>
                    <a:pt x="19" y="163"/>
                  </a:lnTo>
                  <a:lnTo>
                    <a:pt x="12" y="151"/>
                  </a:lnTo>
                  <a:lnTo>
                    <a:pt x="3" y="140"/>
                  </a:lnTo>
                  <a:lnTo>
                    <a:pt x="0" y="118"/>
                  </a:lnTo>
                  <a:lnTo>
                    <a:pt x="7" y="100"/>
                  </a:lnTo>
                  <a:lnTo>
                    <a:pt x="15" y="83"/>
                  </a:lnTo>
                  <a:lnTo>
                    <a:pt x="29" y="71"/>
                  </a:lnTo>
                  <a:lnTo>
                    <a:pt x="41" y="59"/>
                  </a:lnTo>
                  <a:lnTo>
                    <a:pt x="67" y="50"/>
                  </a:lnTo>
                  <a:lnTo>
                    <a:pt x="90" y="36"/>
                  </a:lnTo>
                  <a:lnTo>
                    <a:pt x="118" y="10"/>
                  </a:lnTo>
                  <a:lnTo>
                    <a:pt x="142" y="0"/>
                  </a:lnTo>
                  <a:lnTo>
                    <a:pt x="149" y="10"/>
                  </a:lnTo>
                  <a:lnTo>
                    <a:pt x="152" y="33"/>
                  </a:lnTo>
                  <a:lnTo>
                    <a:pt x="152" y="50"/>
                  </a:lnTo>
                  <a:lnTo>
                    <a:pt x="152" y="71"/>
                  </a:lnTo>
                  <a:lnTo>
                    <a:pt x="152" y="97"/>
                  </a:lnTo>
                  <a:lnTo>
                    <a:pt x="161" y="126"/>
                  </a:lnTo>
                  <a:lnTo>
                    <a:pt x="182" y="140"/>
                  </a:lnTo>
                  <a:lnTo>
                    <a:pt x="204" y="163"/>
                  </a:lnTo>
                  <a:lnTo>
                    <a:pt x="227" y="187"/>
                  </a:lnTo>
                  <a:lnTo>
                    <a:pt x="237" y="194"/>
                  </a:lnTo>
                  <a:close/>
                </a:path>
              </a:pathLst>
            </a:custGeom>
            <a:pattFill prst="dkVert">
              <a:fgClr>
                <a:schemeClr val="accent2"/>
              </a:fgClr>
              <a:bgClr>
                <a:schemeClr val="bg1"/>
              </a:bgClr>
            </a:pattFill>
            <a:ln w="9525" cap="rnd"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p>
              <a:endParaRPr lang="en-US" dirty="0"/>
            </a:p>
          </p:txBody>
        </p:sp>
        <p:sp>
          <p:nvSpPr>
            <p:cNvPr id="8631" name="Freeform 25">
              <a:extLst>
                <a:ext uri="{FF2B5EF4-FFF2-40B4-BE49-F238E27FC236}">
                  <a16:creationId xmlns:a16="http://schemas.microsoft.com/office/drawing/2014/main" id="{E59393EE-61FA-4B4D-8BEF-95A14EA8E90A}"/>
                </a:ext>
              </a:extLst>
            </p:cNvPr>
            <p:cNvSpPr>
              <a:spLocks/>
            </p:cNvSpPr>
            <p:nvPr/>
          </p:nvSpPr>
          <p:spPr bwMode="gray">
            <a:xfrm>
              <a:off x="-7162800" y="1298575"/>
              <a:ext cx="2055812" cy="1984375"/>
            </a:xfrm>
            <a:custGeom>
              <a:avLst/>
              <a:gdLst/>
              <a:ahLst/>
              <a:cxnLst>
                <a:cxn ang="0">
                  <a:pos x="435" y="158"/>
                </a:cxn>
                <a:cxn ang="0">
                  <a:pos x="338" y="224"/>
                </a:cxn>
                <a:cxn ang="0">
                  <a:pos x="336" y="291"/>
                </a:cxn>
                <a:cxn ang="0">
                  <a:pos x="265" y="328"/>
                </a:cxn>
                <a:cxn ang="0">
                  <a:pos x="192" y="359"/>
                </a:cxn>
                <a:cxn ang="0">
                  <a:pos x="123" y="343"/>
                </a:cxn>
                <a:cxn ang="0">
                  <a:pos x="31" y="376"/>
                </a:cxn>
                <a:cxn ang="0">
                  <a:pos x="74" y="470"/>
                </a:cxn>
                <a:cxn ang="0">
                  <a:pos x="109" y="558"/>
                </a:cxn>
                <a:cxn ang="0">
                  <a:pos x="95" y="654"/>
                </a:cxn>
                <a:cxn ang="0">
                  <a:pos x="50" y="735"/>
                </a:cxn>
                <a:cxn ang="0">
                  <a:pos x="60" y="798"/>
                </a:cxn>
                <a:cxn ang="0">
                  <a:pos x="15" y="853"/>
                </a:cxn>
                <a:cxn ang="0">
                  <a:pos x="10" y="947"/>
                </a:cxn>
                <a:cxn ang="0">
                  <a:pos x="52" y="1051"/>
                </a:cxn>
                <a:cxn ang="0">
                  <a:pos x="64" y="1101"/>
                </a:cxn>
                <a:cxn ang="0">
                  <a:pos x="114" y="1157"/>
                </a:cxn>
                <a:cxn ang="0">
                  <a:pos x="187" y="1250"/>
                </a:cxn>
                <a:cxn ang="0">
                  <a:pos x="253" y="1250"/>
                </a:cxn>
                <a:cxn ang="0">
                  <a:pos x="305" y="1179"/>
                </a:cxn>
                <a:cxn ang="0">
                  <a:pos x="357" y="1139"/>
                </a:cxn>
                <a:cxn ang="0">
                  <a:pos x="430" y="1117"/>
                </a:cxn>
                <a:cxn ang="0">
                  <a:pos x="608" y="1013"/>
                </a:cxn>
                <a:cxn ang="0">
                  <a:pos x="674" y="952"/>
                </a:cxn>
                <a:cxn ang="0">
                  <a:pos x="759" y="1046"/>
                </a:cxn>
                <a:cxn ang="0">
                  <a:pos x="846" y="978"/>
                </a:cxn>
                <a:cxn ang="0">
                  <a:pos x="945" y="900"/>
                </a:cxn>
                <a:cxn ang="0">
                  <a:pos x="990" y="836"/>
                </a:cxn>
                <a:cxn ang="0">
                  <a:pos x="1000" y="737"/>
                </a:cxn>
                <a:cxn ang="0">
                  <a:pos x="1075" y="678"/>
                </a:cxn>
                <a:cxn ang="0">
                  <a:pos x="1127" y="600"/>
                </a:cxn>
                <a:cxn ang="0">
                  <a:pos x="1229" y="584"/>
                </a:cxn>
                <a:cxn ang="0">
                  <a:pos x="1269" y="480"/>
                </a:cxn>
                <a:cxn ang="0">
                  <a:pos x="1274" y="390"/>
                </a:cxn>
                <a:cxn ang="0">
                  <a:pos x="1231" y="350"/>
                </a:cxn>
                <a:cxn ang="0">
                  <a:pos x="1193" y="309"/>
                </a:cxn>
                <a:cxn ang="0">
                  <a:pos x="1203" y="260"/>
                </a:cxn>
                <a:cxn ang="0">
                  <a:pos x="1163" y="187"/>
                </a:cxn>
                <a:cxn ang="0">
                  <a:pos x="1156" y="128"/>
                </a:cxn>
                <a:cxn ang="0">
                  <a:pos x="1196" y="38"/>
                </a:cxn>
                <a:cxn ang="0">
                  <a:pos x="1141" y="28"/>
                </a:cxn>
                <a:cxn ang="0">
                  <a:pos x="1075" y="71"/>
                </a:cxn>
                <a:cxn ang="0">
                  <a:pos x="1047" y="12"/>
                </a:cxn>
                <a:cxn ang="0">
                  <a:pos x="986" y="21"/>
                </a:cxn>
                <a:cxn ang="0">
                  <a:pos x="917" y="26"/>
                </a:cxn>
                <a:cxn ang="0">
                  <a:pos x="889" y="66"/>
                </a:cxn>
                <a:cxn ang="0">
                  <a:pos x="910" y="154"/>
                </a:cxn>
                <a:cxn ang="0">
                  <a:pos x="957" y="201"/>
                </a:cxn>
                <a:cxn ang="0">
                  <a:pos x="919" y="241"/>
                </a:cxn>
                <a:cxn ang="0">
                  <a:pos x="882" y="220"/>
                </a:cxn>
                <a:cxn ang="0">
                  <a:pos x="778" y="272"/>
                </a:cxn>
                <a:cxn ang="0">
                  <a:pos x="754" y="232"/>
                </a:cxn>
                <a:cxn ang="0">
                  <a:pos x="761" y="191"/>
                </a:cxn>
                <a:cxn ang="0">
                  <a:pos x="773" y="125"/>
                </a:cxn>
                <a:cxn ang="0">
                  <a:pos x="742" y="61"/>
                </a:cxn>
                <a:cxn ang="0">
                  <a:pos x="676" y="17"/>
                </a:cxn>
                <a:cxn ang="0">
                  <a:pos x="629" y="50"/>
                </a:cxn>
                <a:cxn ang="0">
                  <a:pos x="586" y="76"/>
                </a:cxn>
                <a:cxn ang="0">
                  <a:pos x="485" y="85"/>
                </a:cxn>
              </a:cxnLst>
              <a:rect l="0" t="0" r="r" b="b"/>
              <a:pathLst>
                <a:path w="1295" h="1250">
                  <a:moveTo>
                    <a:pt x="461" y="83"/>
                  </a:moveTo>
                  <a:lnTo>
                    <a:pt x="454" y="104"/>
                  </a:lnTo>
                  <a:lnTo>
                    <a:pt x="452" y="125"/>
                  </a:lnTo>
                  <a:lnTo>
                    <a:pt x="449" y="142"/>
                  </a:lnTo>
                  <a:lnTo>
                    <a:pt x="435" y="158"/>
                  </a:lnTo>
                  <a:lnTo>
                    <a:pt x="411" y="161"/>
                  </a:lnTo>
                  <a:lnTo>
                    <a:pt x="395" y="168"/>
                  </a:lnTo>
                  <a:lnTo>
                    <a:pt x="371" y="189"/>
                  </a:lnTo>
                  <a:lnTo>
                    <a:pt x="357" y="213"/>
                  </a:lnTo>
                  <a:lnTo>
                    <a:pt x="338" y="224"/>
                  </a:lnTo>
                  <a:lnTo>
                    <a:pt x="319" y="232"/>
                  </a:lnTo>
                  <a:lnTo>
                    <a:pt x="312" y="241"/>
                  </a:lnTo>
                  <a:lnTo>
                    <a:pt x="319" y="255"/>
                  </a:lnTo>
                  <a:lnTo>
                    <a:pt x="334" y="265"/>
                  </a:lnTo>
                  <a:lnTo>
                    <a:pt x="336" y="291"/>
                  </a:lnTo>
                  <a:lnTo>
                    <a:pt x="326" y="319"/>
                  </a:lnTo>
                  <a:lnTo>
                    <a:pt x="310" y="338"/>
                  </a:lnTo>
                  <a:lnTo>
                    <a:pt x="293" y="340"/>
                  </a:lnTo>
                  <a:lnTo>
                    <a:pt x="279" y="333"/>
                  </a:lnTo>
                  <a:lnTo>
                    <a:pt x="265" y="328"/>
                  </a:lnTo>
                  <a:lnTo>
                    <a:pt x="248" y="338"/>
                  </a:lnTo>
                  <a:lnTo>
                    <a:pt x="239" y="352"/>
                  </a:lnTo>
                  <a:lnTo>
                    <a:pt x="218" y="357"/>
                  </a:lnTo>
                  <a:lnTo>
                    <a:pt x="206" y="352"/>
                  </a:lnTo>
                  <a:lnTo>
                    <a:pt x="192" y="359"/>
                  </a:lnTo>
                  <a:lnTo>
                    <a:pt x="187" y="376"/>
                  </a:lnTo>
                  <a:lnTo>
                    <a:pt x="171" y="380"/>
                  </a:lnTo>
                  <a:lnTo>
                    <a:pt x="154" y="373"/>
                  </a:lnTo>
                  <a:lnTo>
                    <a:pt x="142" y="357"/>
                  </a:lnTo>
                  <a:lnTo>
                    <a:pt x="123" y="343"/>
                  </a:lnTo>
                  <a:lnTo>
                    <a:pt x="107" y="345"/>
                  </a:lnTo>
                  <a:lnTo>
                    <a:pt x="97" y="354"/>
                  </a:lnTo>
                  <a:lnTo>
                    <a:pt x="85" y="369"/>
                  </a:lnTo>
                  <a:lnTo>
                    <a:pt x="45" y="369"/>
                  </a:lnTo>
                  <a:lnTo>
                    <a:pt x="31" y="376"/>
                  </a:lnTo>
                  <a:lnTo>
                    <a:pt x="26" y="395"/>
                  </a:lnTo>
                  <a:lnTo>
                    <a:pt x="36" y="413"/>
                  </a:lnTo>
                  <a:lnTo>
                    <a:pt x="60" y="435"/>
                  </a:lnTo>
                  <a:lnTo>
                    <a:pt x="67" y="451"/>
                  </a:lnTo>
                  <a:lnTo>
                    <a:pt x="74" y="470"/>
                  </a:lnTo>
                  <a:lnTo>
                    <a:pt x="67" y="494"/>
                  </a:lnTo>
                  <a:lnTo>
                    <a:pt x="62" y="513"/>
                  </a:lnTo>
                  <a:lnTo>
                    <a:pt x="74" y="539"/>
                  </a:lnTo>
                  <a:lnTo>
                    <a:pt x="95" y="550"/>
                  </a:lnTo>
                  <a:lnTo>
                    <a:pt x="109" y="558"/>
                  </a:lnTo>
                  <a:lnTo>
                    <a:pt x="114" y="574"/>
                  </a:lnTo>
                  <a:lnTo>
                    <a:pt x="104" y="598"/>
                  </a:lnTo>
                  <a:lnTo>
                    <a:pt x="100" y="619"/>
                  </a:lnTo>
                  <a:lnTo>
                    <a:pt x="97" y="635"/>
                  </a:lnTo>
                  <a:lnTo>
                    <a:pt x="95" y="654"/>
                  </a:lnTo>
                  <a:lnTo>
                    <a:pt x="78" y="671"/>
                  </a:lnTo>
                  <a:lnTo>
                    <a:pt x="57" y="692"/>
                  </a:lnTo>
                  <a:lnTo>
                    <a:pt x="48" y="706"/>
                  </a:lnTo>
                  <a:lnTo>
                    <a:pt x="45" y="723"/>
                  </a:lnTo>
                  <a:lnTo>
                    <a:pt x="50" y="735"/>
                  </a:lnTo>
                  <a:lnTo>
                    <a:pt x="64" y="737"/>
                  </a:lnTo>
                  <a:lnTo>
                    <a:pt x="74" y="744"/>
                  </a:lnTo>
                  <a:lnTo>
                    <a:pt x="78" y="763"/>
                  </a:lnTo>
                  <a:lnTo>
                    <a:pt x="74" y="787"/>
                  </a:lnTo>
                  <a:lnTo>
                    <a:pt x="60" y="798"/>
                  </a:lnTo>
                  <a:lnTo>
                    <a:pt x="38" y="806"/>
                  </a:lnTo>
                  <a:lnTo>
                    <a:pt x="12" y="803"/>
                  </a:lnTo>
                  <a:lnTo>
                    <a:pt x="0" y="817"/>
                  </a:lnTo>
                  <a:lnTo>
                    <a:pt x="0" y="836"/>
                  </a:lnTo>
                  <a:lnTo>
                    <a:pt x="15" y="853"/>
                  </a:lnTo>
                  <a:lnTo>
                    <a:pt x="31" y="867"/>
                  </a:lnTo>
                  <a:lnTo>
                    <a:pt x="36" y="895"/>
                  </a:lnTo>
                  <a:lnTo>
                    <a:pt x="34" y="919"/>
                  </a:lnTo>
                  <a:lnTo>
                    <a:pt x="19" y="928"/>
                  </a:lnTo>
                  <a:lnTo>
                    <a:pt x="10" y="947"/>
                  </a:lnTo>
                  <a:lnTo>
                    <a:pt x="10" y="964"/>
                  </a:lnTo>
                  <a:lnTo>
                    <a:pt x="26" y="983"/>
                  </a:lnTo>
                  <a:lnTo>
                    <a:pt x="43" y="992"/>
                  </a:lnTo>
                  <a:lnTo>
                    <a:pt x="48" y="1037"/>
                  </a:lnTo>
                  <a:lnTo>
                    <a:pt x="52" y="1051"/>
                  </a:lnTo>
                  <a:lnTo>
                    <a:pt x="67" y="1058"/>
                  </a:lnTo>
                  <a:lnTo>
                    <a:pt x="78" y="1063"/>
                  </a:lnTo>
                  <a:lnTo>
                    <a:pt x="81" y="1077"/>
                  </a:lnTo>
                  <a:lnTo>
                    <a:pt x="74" y="1091"/>
                  </a:lnTo>
                  <a:lnTo>
                    <a:pt x="64" y="1101"/>
                  </a:lnTo>
                  <a:lnTo>
                    <a:pt x="60" y="1120"/>
                  </a:lnTo>
                  <a:lnTo>
                    <a:pt x="62" y="1136"/>
                  </a:lnTo>
                  <a:lnTo>
                    <a:pt x="76" y="1148"/>
                  </a:lnTo>
                  <a:lnTo>
                    <a:pt x="104" y="1146"/>
                  </a:lnTo>
                  <a:lnTo>
                    <a:pt x="114" y="1157"/>
                  </a:lnTo>
                  <a:lnTo>
                    <a:pt x="119" y="1179"/>
                  </a:lnTo>
                  <a:lnTo>
                    <a:pt x="116" y="1202"/>
                  </a:lnTo>
                  <a:lnTo>
                    <a:pt x="116" y="1217"/>
                  </a:lnTo>
                  <a:lnTo>
                    <a:pt x="137" y="1247"/>
                  </a:lnTo>
                  <a:lnTo>
                    <a:pt x="187" y="1250"/>
                  </a:lnTo>
                  <a:lnTo>
                    <a:pt x="197" y="1235"/>
                  </a:lnTo>
                  <a:lnTo>
                    <a:pt x="213" y="1221"/>
                  </a:lnTo>
                  <a:lnTo>
                    <a:pt x="230" y="1231"/>
                  </a:lnTo>
                  <a:lnTo>
                    <a:pt x="241" y="1245"/>
                  </a:lnTo>
                  <a:lnTo>
                    <a:pt x="253" y="1250"/>
                  </a:lnTo>
                  <a:lnTo>
                    <a:pt x="270" y="1247"/>
                  </a:lnTo>
                  <a:lnTo>
                    <a:pt x="277" y="1226"/>
                  </a:lnTo>
                  <a:lnTo>
                    <a:pt x="279" y="1200"/>
                  </a:lnTo>
                  <a:lnTo>
                    <a:pt x="286" y="1183"/>
                  </a:lnTo>
                  <a:lnTo>
                    <a:pt x="305" y="1179"/>
                  </a:lnTo>
                  <a:lnTo>
                    <a:pt x="322" y="1188"/>
                  </a:lnTo>
                  <a:lnTo>
                    <a:pt x="329" y="1186"/>
                  </a:lnTo>
                  <a:lnTo>
                    <a:pt x="336" y="1172"/>
                  </a:lnTo>
                  <a:lnTo>
                    <a:pt x="338" y="1155"/>
                  </a:lnTo>
                  <a:lnTo>
                    <a:pt x="357" y="1139"/>
                  </a:lnTo>
                  <a:lnTo>
                    <a:pt x="376" y="1129"/>
                  </a:lnTo>
                  <a:lnTo>
                    <a:pt x="395" y="1136"/>
                  </a:lnTo>
                  <a:lnTo>
                    <a:pt x="404" y="1143"/>
                  </a:lnTo>
                  <a:lnTo>
                    <a:pt x="414" y="1139"/>
                  </a:lnTo>
                  <a:lnTo>
                    <a:pt x="430" y="1117"/>
                  </a:lnTo>
                  <a:lnTo>
                    <a:pt x="473" y="1096"/>
                  </a:lnTo>
                  <a:lnTo>
                    <a:pt x="497" y="1087"/>
                  </a:lnTo>
                  <a:lnTo>
                    <a:pt x="537" y="1044"/>
                  </a:lnTo>
                  <a:lnTo>
                    <a:pt x="582" y="1025"/>
                  </a:lnTo>
                  <a:lnTo>
                    <a:pt x="608" y="1013"/>
                  </a:lnTo>
                  <a:lnTo>
                    <a:pt x="626" y="971"/>
                  </a:lnTo>
                  <a:lnTo>
                    <a:pt x="641" y="945"/>
                  </a:lnTo>
                  <a:lnTo>
                    <a:pt x="657" y="931"/>
                  </a:lnTo>
                  <a:lnTo>
                    <a:pt x="669" y="933"/>
                  </a:lnTo>
                  <a:lnTo>
                    <a:pt x="674" y="952"/>
                  </a:lnTo>
                  <a:lnTo>
                    <a:pt x="678" y="959"/>
                  </a:lnTo>
                  <a:lnTo>
                    <a:pt x="711" y="983"/>
                  </a:lnTo>
                  <a:lnTo>
                    <a:pt x="742" y="999"/>
                  </a:lnTo>
                  <a:lnTo>
                    <a:pt x="752" y="1016"/>
                  </a:lnTo>
                  <a:lnTo>
                    <a:pt x="759" y="1046"/>
                  </a:lnTo>
                  <a:lnTo>
                    <a:pt x="775" y="1065"/>
                  </a:lnTo>
                  <a:lnTo>
                    <a:pt x="794" y="1065"/>
                  </a:lnTo>
                  <a:lnTo>
                    <a:pt x="806" y="1042"/>
                  </a:lnTo>
                  <a:lnTo>
                    <a:pt x="815" y="1009"/>
                  </a:lnTo>
                  <a:lnTo>
                    <a:pt x="846" y="978"/>
                  </a:lnTo>
                  <a:lnTo>
                    <a:pt x="877" y="966"/>
                  </a:lnTo>
                  <a:lnTo>
                    <a:pt x="893" y="957"/>
                  </a:lnTo>
                  <a:lnTo>
                    <a:pt x="910" y="926"/>
                  </a:lnTo>
                  <a:lnTo>
                    <a:pt x="919" y="914"/>
                  </a:lnTo>
                  <a:lnTo>
                    <a:pt x="945" y="900"/>
                  </a:lnTo>
                  <a:lnTo>
                    <a:pt x="948" y="883"/>
                  </a:lnTo>
                  <a:lnTo>
                    <a:pt x="938" y="862"/>
                  </a:lnTo>
                  <a:lnTo>
                    <a:pt x="938" y="841"/>
                  </a:lnTo>
                  <a:lnTo>
                    <a:pt x="962" y="836"/>
                  </a:lnTo>
                  <a:lnTo>
                    <a:pt x="990" y="836"/>
                  </a:lnTo>
                  <a:lnTo>
                    <a:pt x="1002" y="817"/>
                  </a:lnTo>
                  <a:lnTo>
                    <a:pt x="1012" y="796"/>
                  </a:lnTo>
                  <a:lnTo>
                    <a:pt x="1016" y="768"/>
                  </a:lnTo>
                  <a:lnTo>
                    <a:pt x="1014" y="744"/>
                  </a:lnTo>
                  <a:lnTo>
                    <a:pt x="1000" y="737"/>
                  </a:lnTo>
                  <a:lnTo>
                    <a:pt x="986" y="730"/>
                  </a:lnTo>
                  <a:lnTo>
                    <a:pt x="990" y="713"/>
                  </a:lnTo>
                  <a:lnTo>
                    <a:pt x="1007" y="697"/>
                  </a:lnTo>
                  <a:lnTo>
                    <a:pt x="1033" y="680"/>
                  </a:lnTo>
                  <a:lnTo>
                    <a:pt x="1075" y="678"/>
                  </a:lnTo>
                  <a:lnTo>
                    <a:pt x="1097" y="678"/>
                  </a:lnTo>
                  <a:lnTo>
                    <a:pt x="1108" y="661"/>
                  </a:lnTo>
                  <a:lnTo>
                    <a:pt x="1111" y="638"/>
                  </a:lnTo>
                  <a:lnTo>
                    <a:pt x="1113" y="619"/>
                  </a:lnTo>
                  <a:lnTo>
                    <a:pt x="1127" y="600"/>
                  </a:lnTo>
                  <a:lnTo>
                    <a:pt x="1151" y="598"/>
                  </a:lnTo>
                  <a:lnTo>
                    <a:pt x="1167" y="609"/>
                  </a:lnTo>
                  <a:lnTo>
                    <a:pt x="1182" y="619"/>
                  </a:lnTo>
                  <a:lnTo>
                    <a:pt x="1205" y="607"/>
                  </a:lnTo>
                  <a:lnTo>
                    <a:pt x="1229" y="584"/>
                  </a:lnTo>
                  <a:lnTo>
                    <a:pt x="1252" y="558"/>
                  </a:lnTo>
                  <a:lnTo>
                    <a:pt x="1260" y="529"/>
                  </a:lnTo>
                  <a:lnTo>
                    <a:pt x="1269" y="515"/>
                  </a:lnTo>
                  <a:lnTo>
                    <a:pt x="1264" y="506"/>
                  </a:lnTo>
                  <a:lnTo>
                    <a:pt x="1269" y="480"/>
                  </a:lnTo>
                  <a:lnTo>
                    <a:pt x="1281" y="454"/>
                  </a:lnTo>
                  <a:lnTo>
                    <a:pt x="1295" y="430"/>
                  </a:lnTo>
                  <a:lnTo>
                    <a:pt x="1295" y="406"/>
                  </a:lnTo>
                  <a:lnTo>
                    <a:pt x="1286" y="392"/>
                  </a:lnTo>
                  <a:lnTo>
                    <a:pt x="1274" y="390"/>
                  </a:lnTo>
                  <a:lnTo>
                    <a:pt x="1250" y="385"/>
                  </a:lnTo>
                  <a:lnTo>
                    <a:pt x="1243" y="378"/>
                  </a:lnTo>
                  <a:lnTo>
                    <a:pt x="1238" y="366"/>
                  </a:lnTo>
                  <a:lnTo>
                    <a:pt x="1234" y="361"/>
                  </a:lnTo>
                  <a:lnTo>
                    <a:pt x="1231" y="350"/>
                  </a:lnTo>
                  <a:lnTo>
                    <a:pt x="1231" y="335"/>
                  </a:lnTo>
                  <a:lnTo>
                    <a:pt x="1224" y="326"/>
                  </a:lnTo>
                  <a:lnTo>
                    <a:pt x="1217" y="321"/>
                  </a:lnTo>
                  <a:lnTo>
                    <a:pt x="1203" y="319"/>
                  </a:lnTo>
                  <a:lnTo>
                    <a:pt x="1193" y="309"/>
                  </a:lnTo>
                  <a:lnTo>
                    <a:pt x="1193" y="298"/>
                  </a:lnTo>
                  <a:lnTo>
                    <a:pt x="1193" y="291"/>
                  </a:lnTo>
                  <a:lnTo>
                    <a:pt x="1203" y="281"/>
                  </a:lnTo>
                  <a:lnTo>
                    <a:pt x="1205" y="272"/>
                  </a:lnTo>
                  <a:lnTo>
                    <a:pt x="1203" y="260"/>
                  </a:lnTo>
                  <a:lnTo>
                    <a:pt x="1179" y="250"/>
                  </a:lnTo>
                  <a:lnTo>
                    <a:pt x="1160" y="239"/>
                  </a:lnTo>
                  <a:lnTo>
                    <a:pt x="1158" y="224"/>
                  </a:lnTo>
                  <a:lnTo>
                    <a:pt x="1163" y="206"/>
                  </a:lnTo>
                  <a:lnTo>
                    <a:pt x="1163" y="187"/>
                  </a:lnTo>
                  <a:lnTo>
                    <a:pt x="1158" y="172"/>
                  </a:lnTo>
                  <a:lnTo>
                    <a:pt x="1156" y="158"/>
                  </a:lnTo>
                  <a:lnTo>
                    <a:pt x="1146" y="151"/>
                  </a:lnTo>
                  <a:lnTo>
                    <a:pt x="1144" y="139"/>
                  </a:lnTo>
                  <a:lnTo>
                    <a:pt x="1156" y="128"/>
                  </a:lnTo>
                  <a:lnTo>
                    <a:pt x="1172" y="116"/>
                  </a:lnTo>
                  <a:lnTo>
                    <a:pt x="1189" y="102"/>
                  </a:lnTo>
                  <a:lnTo>
                    <a:pt x="1196" y="87"/>
                  </a:lnTo>
                  <a:lnTo>
                    <a:pt x="1198" y="66"/>
                  </a:lnTo>
                  <a:lnTo>
                    <a:pt x="1196" y="38"/>
                  </a:lnTo>
                  <a:lnTo>
                    <a:pt x="1189" y="21"/>
                  </a:lnTo>
                  <a:lnTo>
                    <a:pt x="1179" y="12"/>
                  </a:lnTo>
                  <a:lnTo>
                    <a:pt x="1165" y="10"/>
                  </a:lnTo>
                  <a:lnTo>
                    <a:pt x="1149" y="17"/>
                  </a:lnTo>
                  <a:lnTo>
                    <a:pt x="1141" y="28"/>
                  </a:lnTo>
                  <a:lnTo>
                    <a:pt x="1130" y="38"/>
                  </a:lnTo>
                  <a:lnTo>
                    <a:pt x="1113" y="45"/>
                  </a:lnTo>
                  <a:lnTo>
                    <a:pt x="1104" y="61"/>
                  </a:lnTo>
                  <a:lnTo>
                    <a:pt x="1085" y="71"/>
                  </a:lnTo>
                  <a:lnTo>
                    <a:pt x="1075" y="71"/>
                  </a:lnTo>
                  <a:lnTo>
                    <a:pt x="1061" y="66"/>
                  </a:lnTo>
                  <a:lnTo>
                    <a:pt x="1052" y="59"/>
                  </a:lnTo>
                  <a:lnTo>
                    <a:pt x="1049" y="43"/>
                  </a:lnTo>
                  <a:lnTo>
                    <a:pt x="1049" y="28"/>
                  </a:lnTo>
                  <a:lnTo>
                    <a:pt x="1047" y="12"/>
                  </a:lnTo>
                  <a:lnTo>
                    <a:pt x="1040" y="2"/>
                  </a:lnTo>
                  <a:lnTo>
                    <a:pt x="1028" y="0"/>
                  </a:lnTo>
                  <a:lnTo>
                    <a:pt x="1014" y="0"/>
                  </a:lnTo>
                  <a:lnTo>
                    <a:pt x="1000" y="7"/>
                  </a:lnTo>
                  <a:lnTo>
                    <a:pt x="986" y="21"/>
                  </a:lnTo>
                  <a:lnTo>
                    <a:pt x="974" y="31"/>
                  </a:lnTo>
                  <a:lnTo>
                    <a:pt x="960" y="35"/>
                  </a:lnTo>
                  <a:lnTo>
                    <a:pt x="948" y="35"/>
                  </a:lnTo>
                  <a:lnTo>
                    <a:pt x="936" y="33"/>
                  </a:lnTo>
                  <a:lnTo>
                    <a:pt x="917" y="26"/>
                  </a:lnTo>
                  <a:lnTo>
                    <a:pt x="905" y="26"/>
                  </a:lnTo>
                  <a:lnTo>
                    <a:pt x="889" y="31"/>
                  </a:lnTo>
                  <a:lnTo>
                    <a:pt x="882" y="45"/>
                  </a:lnTo>
                  <a:lnTo>
                    <a:pt x="882" y="57"/>
                  </a:lnTo>
                  <a:lnTo>
                    <a:pt x="889" y="66"/>
                  </a:lnTo>
                  <a:lnTo>
                    <a:pt x="898" y="78"/>
                  </a:lnTo>
                  <a:lnTo>
                    <a:pt x="905" y="87"/>
                  </a:lnTo>
                  <a:lnTo>
                    <a:pt x="905" y="111"/>
                  </a:lnTo>
                  <a:lnTo>
                    <a:pt x="905" y="132"/>
                  </a:lnTo>
                  <a:lnTo>
                    <a:pt x="910" y="154"/>
                  </a:lnTo>
                  <a:lnTo>
                    <a:pt x="919" y="161"/>
                  </a:lnTo>
                  <a:lnTo>
                    <a:pt x="931" y="168"/>
                  </a:lnTo>
                  <a:lnTo>
                    <a:pt x="945" y="180"/>
                  </a:lnTo>
                  <a:lnTo>
                    <a:pt x="957" y="194"/>
                  </a:lnTo>
                  <a:lnTo>
                    <a:pt x="957" y="201"/>
                  </a:lnTo>
                  <a:lnTo>
                    <a:pt x="948" y="210"/>
                  </a:lnTo>
                  <a:lnTo>
                    <a:pt x="938" y="215"/>
                  </a:lnTo>
                  <a:lnTo>
                    <a:pt x="934" y="222"/>
                  </a:lnTo>
                  <a:lnTo>
                    <a:pt x="929" y="232"/>
                  </a:lnTo>
                  <a:lnTo>
                    <a:pt x="919" y="241"/>
                  </a:lnTo>
                  <a:lnTo>
                    <a:pt x="910" y="241"/>
                  </a:lnTo>
                  <a:lnTo>
                    <a:pt x="905" y="234"/>
                  </a:lnTo>
                  <a:lnTo>
                    <a:pt x="900" y="224"/>
                  </a:lnTo>
                  <a:lnTo>
                    <a:pt x="896" y="220"/>
                  </a:lnTo>
                  <a:lnTo>
                    <a:pt x="882" y="220"/>
                  </a:lnTo>
                  <a:lnTo>
                    <a:pt x="872" y="229"/>
                  </a:lnTo>
                  <a:lnTo>
                    <a:pt x="858" y="241"/>
                  </a:lnTo>
                  <a:lnTo>
                    <a:pt x="834" y="253"/>
                  </a:lnTo>
                  <a:lnTo>
                    <a:pt x="806" y="265"/>
                  </a:lnTo>
                  <a:lnTo>
                    <a:pt x="778" y="272"/>
                  </a:lnTo>
                  <a:lnTo>
                    <a:pt x="754" y="272"/>
                  </a:lnTo>
                  <a:lnTo>
                    <a:pt x="740" y="267"/>
                  </a:lnTo>
                  <a:lnTo>
                    <a:pt x="737" y="255"/>
                  </a:lnTo>
                  <a:lnTo>
                    <a:pt x="740" y="243"/>
                  </a:lnTo>
                  <a:lnTo>
                    <a:pt x="754" y="232"/>
                  </a:lnTo>
                  <a:lnTo>
                    <a:pt x="768" y="222"/>
                  </a:lnTo>
                  <a:lnTo>
                    <a:pt x="780" y="213"/>
                  </a:lnTo>
                  <a:lnTo>
                    <a:pt x="778" y="203"/>
                  </a:lnTo>
                  <a:lnTo>
                    <a:pt x="775" y="196"/>
                  </a:lnTo>
                  <a:lnTo>
                    <a:pt x="761" y="191"/>
                  </a:lnTo>
                  <a:lnTo>
                    <a:pt x="754" y="184"/>
                  </a:lnTo>
                  <a:lnTo>
                    <a:pt x="754" y="175"/>
                  </a:lnTo>
                  <a:lnTo>
                    <a:pt x="761" y="161"/>
                  </a:lnTo>
                  <a:lnTo>
                    <a:pt x="768" y="151"/>
                  </a:lnTo>
                  <a:lnTo>
                    <a:pt x="773" y="125"/>
                  </a:lnTo>
                  <a:lnTo>
                    <a:pt x="771" y="109"/>
                  </a:lnTo>
                  <a:lnTo>
                    <a:pt x="768" y="97"/>
                  </a:lnTo>
                  <a:lnTo>
                    <a:pt x="763" y="83"/>
                  </a:lnTo>
                  <a:lnTo>
                    <a:pt x="754" y="69"/>
                  </a:lnTo>
                  <a:lnTo>
                    <a:pt x="742" y="61"/>
                  </a:lnTo>
                  <a:lnTo>
                    <a:pt x="730" y="61"/>
                  </a:lnTo>
                  <a:lnTo>
                    <a:pt x="716" y="50"/>
                  </a:lnTo>
                  <a:lnTo>
                    <a:pt x="704" y="40"/>
                  </a:lnTo>
                  <a:lnTo>
                    <a:pt x="686" y="28"/>
                  </a:lnTo>
                  <a:lnTo>
                    <a:pt x="676" y="17"/>
                  </a:lnTo>
                  <a:lnTo>
                    <a:pt x="669" y="12"/>
                  </a:lnTo>
                  <a:lnTo>
                    <a:pt x="657" y="12"/>
                  </a:lnTo>
                  <a:lnTo>
                    <a:pt x="648" y="19"/>
                  </a:lnTo>
                  <a:lnTo>
                    <a:pt x="636" y="33"/>
                  </a:lnTo>
                  <a:lnTo>
                    <a:pt x="629" y="50"/>
                  </a:lnTo>
                  <a:lnTo>
                    <a:pt x="622" y="69"/>
                  </a:lnTo>
                  <a:lnTo>
                    <a:pt x="612" y="83"/>
                  </a:lnTo>
                  <a:lnTo>
                    <a:pt x="605" y="85"/>
                  </a:lnTo>
                  <a:lnTo>
                    <a:pt x="596" y="80"/>
                  </a:lnTo>
                  <a:lnTo>
                    <a:pt x="586" y="76"/>
                  </a:lnTo>
                  <a:lnTo>
                    <a:pt x="572" y="73"/>
                  </a:lnTo>
                  <a:lnTo>
                    <a:pt x="563" y="78"/>
                  </a:lnTo>
                  <a:lnTo>
                    <a:pt x="541" y="83"/>
                  </a:lnTo>
                  <a:lnTo>
                    <a:pt x="513" y="83"/>
                  </a:lnTo>
                  <a:lnTo>
                    <a:pt x="485" y="85"/>
                  </a:lnTo>
                  <a:lnTo>
                    <a:pt x="461" y="83"/>
                  </a:lnTo>
                  <a:close/>
                </a:path>
              </a:pathLst>
            </a:custGeom>
            <a:pattFill prst="wdUpDiag">
              <a:fgClr>
                <a:schemeClr val="accent2"/>
              </a:fgClr>
              <a:bgClr>
                <a:schemeClr val="bg1"/>
              </a:bgClr>
            </a:pattFill>
            <a:ln w="9525" cap="rnd"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p>
              <a:endParaRPr lang="en-US" dirty="0"/>
            </a:p>
          </p:txBody>
        </p:sp>
        <p:sp>
          <p:nvSpPr>
            <p:cNvPr id="8632" name="Freeform 26">
              <a:extLst>
                <a:ext uri="{FF2B5EF4-FFF2-40B4-BE49-F238E27FC236}">
                  <a16:creationId xmlns:a16="http://schemas.microsoft.com/office/drawing/2014/main" id="{02284E3F-6493-4E66-B048-82D83594D63A}"/>
                </a:ext>
              </a:extLst>
            </p:cNvPr>
            <p:cNvSpPr>
              <a:spLocks/>
            </p:cNvSpPr>
            <p:nvPr/>
          </p:nvSpPr>
          <p:spPr bwMode="gray">
            <a:xfrm>
              <a:off x="-4435475" y="855663"/>
              <a:ext cx="1530350" cy="1901825"/>
            </a:xfrm>
            <a:custGeom>
              <a:avLst/>
              <a:gdLst/>
              <a:ahLst/>
              <a:cxnLst>
                <a:cxn ang="0">
                  <a:pos x="900" y="801"/>
                </a:cxn>
                <a:cxn ang="0">
                  <a:pos x="846" y="822"/>
                </a:cxn>
                <a:cxn ang="0">
                  <a:pos x="775" y="803"/>
                </a:cxn>
                <a:cxn ang="0">
                  <a:pos x="742" y="848"/>
                </a:cxn>
                <a:cxn ang="0">
                  <a:pos x="666" y="832"/>
                </a:cxn>
                <a:cxn ang="0">
                  <a:pos x="581" y="867"/>
                </a:cxn>
                <a:cxn ang="0">
                  <a:pos x="536" y="936"/>
                </a:cxn>
                <a:cxn ang="0">
                  <a:pos x="548" y="1047"/>
                </a:cxn>
                <a:cxn ang="0">
                  <a:pos x="548" y="1179"/>
                </a:cxn>
                <a:cxn ang="0">
                  <a:pos x="496" y="1198"/>
                </a:cxn>
                <a:cxn ang="0">
                  <a:pos x="430" y="1172"/>
                </a:cxn>
                <a:cxn ang="0">
                  <a:pos x="378" y="1158"/>
                </a:cxn>
                <a:cxn ang="0">
                  <a:pos x="307" y="1125"/>
                </a:cxn>
                <a:cxn ang="0">
                  <a:pos x="316" y="1056"/>
                </a:cxn>
                <a:cxn ang="0">
                  <a:pos x="295" y="1002"/>
                </a:cxn>
                <a:cxn ang="0">
                  <a:pos x="290" y="955"/>
                </a:cxn>
                <a:cxn ang="0">
                  <a:pos x="203" y="950"/>
                </a:cxn>
                <a:cxn ang="0">
                  <a:pos x="142" y="898"/>
                </a:cxn>
                <a:cxn ang="0">
                  <a:pos x="94" y="844"/>
                </a:cxn>
                <a:cxn ang="0">
                  <a:pos x="31" y="813"/>
                </a:cxn>
                <a:cxn ang="0">
                  <a:pos x="21" y="780"/>
                </a:cxn>
                <a:cxn ang="0">
                  <a:pos x="5" y="695"/>
                </a:cxn>
                <a:cxn ang="0">
                  <a:pos x="14" y="662"/>
                </a:cxn>
                <a:cxn ang="0">
                  <a:pos x="2" y="624"/>
                </a:cxn>
                <a:cxn ang="0">
                  <a:pos x="54" y="612"/>
                </a:cxn>
                <a:cxn ang="0">
                  <a:pos x="156" y="548"/>
                </a:cxn>
                <a:cxn ang="0">
                  <a:pos x="165" y="470"/>
                </a:cxn>
                <a:cxn ang="0">
                  <a:pos x="170" y="416"/>
                </a:cxn>
                <a:cxn ang="0">
                  <a:pos x="156" y="366"/>
                </a:cxn>
                <a:cxn ang="0">
                  <a:pos x="158" y="305"/>
                </a:cxn>
                <a:cxn ang="0">
                  <a:pos x="118" y="218"/>
                </a:cxn>
                <a:cxn ang="0">
                  <a:pos x="90" y="133"/>
                </a:cxn>
                <a:cxn ang="0">
                  <a:pos x="137" y="107"/>
                </a:cxn>
                <a:cxn ang="0">
                  <a:pos x="170" y="66"/>
                </a:cxn>
                <a:cxn ang="0">
                  <a:pos x="220" y="95"/>
                </a:cxn>
                <a:cxn ang="0">
                  <a:pos x="269" y="83"/>
                </a:cxn>
                <a:cxn ang="0">
                  <a:pos x="321" y="62"/>
                </a:cxn>
                <a:cxn ang="0">
                  <a:pos x="373" y="0"/>
                </a:cxn>
                <a:cxn ang="0">
                  <a:pos x="399" y="22"/>
                </a:cxn>
                <a:cxn ang="0">
                  <a:pos x="439" y="52"/>
                </a:cxn>
                <a:cxn ang="0">
                  <a:pos x="468" y="69"/>
                </a:cxn>
                <a:cxn ang="0">
                  <a:pos x="538" y="74"/>
                </a:cxn>
                <a:cxn ang="0">
                  <a:pos x="572" y="92"/>
                </a:cxn>
                <a:cxn ang="0">
                  <a:pos x="607" y="97"/>
                </a:cxn>
                <a:cxn ang="0">
                  <a:pos x="602" y="156"/>
                </a:cxn>
                <a:cxn ang="0">
                  <a:pos x="593" y="220"/>
                </a:cxn>
                <a:cxn ang="0">
                  <a:pos x="557" y="258"/>
                </a:cxn>
                <a:cxn ang="0">
                  <a:pos x="605" y="293"/>
                </a:cxn>
                <a:cxn ang="0">
                  <a:pos x="649" y="326"/>
                </a:cxn>
                <a:cxn ang="0">
                  <a:pos x="628" y="378"/>
                </a:cxn>
                <a:cxn ang="0">
                  <a:pos x="619" y="433"/>
                </a:cxn>
                <a:cxn ang="0">
                  <a:pos x="626" y="463"/>
                </a:cxn>
                <a:cxn ang="0">
                  <a:pos x="590" y="477"/>
                </a:cxn>
                <a:cxn ang="0">
                  <a:pos x="602" y="534"/>
                </a:cxn>
                <a:cxn ang="0">
                  <a:pos x="668" y="588"/>
                </a:cxn>
                <a:cxn ang="0">
                  <a:pos x="735" y="610"/>
                </a:cxn>
                <a:cxn ang="0">
                  <a:pos x="805" y="636"/>
                </a:cxn>
                <a:cxn ang="0">
                  <a:pos x="834" y="666"/>
                </a:cxn>
                <a:cxn ang="0">
                  <a:pos x="888" y="676"/>
                </a:cxn>
                <a:cxn ang="0">
                  <a:pos x="914" y="657"/>
                </a:cxn>
                <a:cxn ang="0">
                  <a:pos x="938" y="674"/>
                </a:cxn>
                <a:cxn ang="0">
                  <a:pos x="942" y="733"/>
                </a:cxn>
                <a:cxn ang="0">
                  <a:pos x="964" y="782"/>
                </a:cxn>
              </a:cxnLst>
              <a:rect l="0" t="0" r="r" b="b"/>
              <a:pathLst>
                <a:path w="964" h="1198">
                  <a:moveTo>
                    <a:pt x="954" y="815"/>
                  </a:moveTo>
                  <a:lnTo>
                    <a:pt x="933" y="806"/>
                  </a:lnTo>
                  <a:lnTo>
                    <a:pt x="900" y="801"/>
                  </a:lnTo>
                  <a:lnTo>
                    <a:pt x="874" y="803"/>
                  </a:lnTo>
                  <a:lnTo>
                    <a:pt x="860" y="818"/>
                  </a:lnTo>
                  <a:lnTo>
                    <a:pt x="846" y="822"/>
                  </a:lnTo>
                  <a:lnTo>
                    <a:pt x="831" y="806"/>
                  </a:lnTo>
                  <a:lnTo>
                    <a:pt x="803" y="799"/>
                  </a:lnTo>
                  <a:lnTo>
                    <a:pt x="775" y="803"/>
                  </a:lnTo>
                  <a:lnTo>
                    <a:pt x="753" y="808"/>
                  </a:lnTo>
                  <a:lnTo>
                    <a:pt x="746" y="832"/>
                  </a:lnTo>
                  <a:lnTo>
                    <a:pt x="742" y="848"/>
                  </a:lnTo>
                  <a:lnTo>
                    <a:pt x="725" y="844"/>
                  </a:lnTo>
                  <a:lnTo>
                    <a:pt x="709" y="832"/>
                  </a:lnTo>
                  <a:lnTo>
                    <a:pt x="666" y="832"/>
                  </a:lnTo>
                  <a:lnTo>
                    <a:pt x="633" y="834"/>
                  </a:lnTo>
                  <a:lnTo>
                    <a:pt x="600" y="855"/>
                  </a:lnTo>
                  <a:lnTo>
                    <a:pt x="581" y="867"/>
                  </a:lnTo>
                  <a:lnTo>
                    <a:pt x="562" y="877"/>
                  </a:lnTo>
                  <a:lnTo>
                    <a:pt x="548" y="896"/>
                  </a:lnTo>
                  <a:lnTo>
                    <a:pt x="536" y="936"/>
                  </a:lnTo>
                  <a:lnTo>
                    <a:pt x="541" y="997"/>
                  </a:lnTo>
                  <a:lnTo>
                    <a:pt x="546" y="1023"/>
                  </a:lnTo>
                  <a:lnTo>
                    <a:pt x="548" y="1047"/>
                  </a:lnTo>
                  <a:lnTo>
                    <a:pt x="560" y="1089"/>
                  </a:lnTo>
                  <a:lnTo>
                    <a:pt x="553" y="1151"/>
                  </a:lnTo>
                  <a:lnTo>
                    <a:pt x="548" y="1179"/>
                  </a:lnTo>
                  <a:lnTo>
                    <a:pt x="529" y="1181"/>
                  </a:lnTo>
                  <a:lnTo>
                    <a:pt x="515" y="1196"/>
                  </a:lnTo>
                  <a:lnTo>
                    <a:pt x="496" y="1198"/>
                  </a:lnTo>
                  <a:lnTo>
                    <a:pt x="475" y="1177"/>
                  </a:lnTo>
                  <a:lnTo>
                    <a:pt x="451" y="1165"/>
                  </a:lnTo>
                  <a:lnTo>
                    <a:pt x="430" y="1172"/>
                  </a:lnTo>
                  <a:lnTo>
                    <a:pt x="409" y="1184"/>
                  </a:lnTo>
                  <a:lnTo>
                    <a:pt x="392" y="1165"/>
                  </a:lnTo>
                  <a:lnTo>
                    <a:pt x="378" y="1158"/>
                  </a:lnTo>
                  <a:lnTo>
                    <a:pt x="354" y="1165"/>
                  </a:lnTo>
                  <a:lnTo>
                    <a:pt x="321" y="1153"/>
                  </a:lnTo>
                  <a:lnTo>
                    <a:pt x="307" y="1125"/>
                  </a:lnTo>
                  <a:lnTo>
                    <a:pt x="300" y="1094"/>
                  </a:lnTo>
                  <a:lnTo>
                    <a:pt x="305" y="1063"/>
                  </a:lnTo>
                  <a:lnTo>
                    <a:pt x="316" y="1056"/>
                  </a:lnTo>
                  <a:lnTo>
                    <a:pt x="323" y="1040"/>
                  </a:lnTo>
                  <a:lnTo>
                    <a:pt x="321" y="1023"/>
                  </a:lnTo>
                  <a:lnTo>
                    <a:pt x="295" y="1002"/>
                  </a:lnTo>
                  <a:lnTo>
                    <a:pt x="286" y="990"/>
                  </a:lnTo>
                  <a:lnTo>
                    <a:pt x="293" y="971"/>
                  </a:lnTo>
                  <a:lnTo>
                    <a:pt x="290" y="955"/>
                  </a:lnTo>
                  <a:lnTo>
                    <a:pt x="269" y="945"/>
                  </a:lnTo>
                  <a:lnTo>
                    <a:pt x="224" y="948"/>
                  </a:lnTo>
                  <a:lnTo>
                    <a:pt x="203" y="950"/>
                  </a:lnTo>
                  <a:lnTo>
                    <a:pt x="177" y="943"/>
                  </a:lnTo>
                  <a:lnTo>
                    <a:pt x="153" y="922"/>
                  </a:lnTo>
                  <a:lnTo>
                    <a:pt x="142" y="898"/>
                  </a:lnTo>
                  <a:lnTo>
                    <a:pt x="123" y="881"/>
                  </a:lnTo>
                  <a:lnTo>
                    <a:pt x="101" y="870"/>
                  </a:lnTo>
                  <a:lnTo>
                    <a:pt x="94" y="844"/>
                  </a:lnTo>
                  <a:lnTo>
                    <a:pt x="78" y="829"/>
                  </a:lnTo>
                  <a:lnTo>
                    <a:pt x="52" y="818"/>
                  </a:lnTo>
                  <a:lnTo>
                    <a:pt x="31" y="813"/>
                  </a:lnTo>
                  <a:lnTo>
                    <a:pt x="16" y="825"/>
                  </a:lnTo>
                  <a:lnTo>
                    <a:pt x="21" y="803"/>
                  </a:lnTo>
                  <a:lnTo>
                    <a:pt x="21" y="780"/>
                  </a:lnTo>
                  <a:lnTo>
                    <a:pt x="2" y="737"/>
                  </a:lnTo>
                  <a:lnTo>
                    <a:pt x="0" y="716"/>
                  </a:lnTo>
                  <a:lnTo>
                    <a:pt x="5" y="695"/>
                  </a:lnTo>
                  <a:lnTo>
                    <a:pt x="12" y="683"/>
                  </a:lnTo>
                  <a:lnTo>
                    <a:pt x="16" y="676"/>
                  </a:lnTo>
                  <a:lnTo>
                    <a:pt x="14" y="662"/>
                  </a:lnTo>
                  <a:lnTo>
                    <a:pt x="9" y="652"/>
                  </a:lnTo>
                  <a:lnTo>
                    <a:pt x="2" y="638"/>
                  </a:lnTo>
                  <a:lnTo>
                    <a:pt x="2" y="624"/>
                  </a:lnTo>
                  <a:lnTo>
                    <a:pt x="14" y="612"/>
                  </a:lnTo>
                  <a:lnTo>
                    <a:pt x="35" y="610"/>
                  </a:lnTo>
                  <a:lnTo>
                    <a:pt x="54" y="612"/>
                  </a:lnTo>
                  <a:lnTo>
                    <a:pt x="75" y="610"/>
                  </a:lnTo>
                  <a:lnTo>
                    <a:pt x="125" y="579"/>
                  </a:lnTo>
                  <a:lnTo>
                    <a:pt x="156" y="548"/>
                  </a:lnTo>
                  <a:lnTo>
                    <a:pt x="170" y="520"/>
                  </a:lnTo>
                  <a:lnTo>
                    <a:pt x="172" y="492"/>
                  </a:lnTo>
                  <a:lnTo>
                    <a:pt x="165" y="470"/>
                  </a:lnTo>
                  <a:lnTo>
                    <a:pt x="158" y="454"/>
                  </a:lnTo>
                  <a:lnTo>
                    <a:pt x="163" y="433"/>
                  </a:lnTo>
                  <a:lnTo>
                    <a:pt x="170" y="416"/>
                  </a:lnTo>
                  <a:lnTo>
                    <a:pt x="168" y="400"/>
                  </a:lnTo>
                  <a:lnTo>
                    <a:pt x="158" y="383"/>
                  </a:lnTo>
                  <a:lnTo>
                    <a:pt x="156" y="366"/>
                  </a:lnTo>
                  <a:lnTo>
                    <a:pt x="168" y="350"/>
                  </a:lnTo>
                  <a:lnTo>
                    <a:pt x="170" y="326"/>
                  </a:lnTo>
                  <a:lnTo>
                    <a:pt x="158" y="305"/>
                  </a:lnTo>
                  <a:lnTo>
                    <a:pt x="156" y="272"/>
                  </a:lnTo>
                  <a:lnTo>
                    <a:pt x="139" y="241"/>
                  </a:lnTo>
                  <a:lnTo>
                    <a:pt x="118" y="218"/>
                  </a:lnTo>
                  <a:lnTo>
                    <a:pt x="104" y="194"/>
                  </a:lnTo>
                  <a:lnTo>
                    <a:pt x="92" y="161"/>
                  </a:lnTo>
                  <a:lnTo>
                    <a:pt x="90" y="133"/>
                  </a:lnTo>
                  <a:lnTo>
                    <a:pt x="94" y="116"/>
                  </a:lnTo>
                  <a:lnTo>
                    <a:pt x="116" y="111"/>
                  </a:lnTo>
                  <a:lnTo>
                    <a:pt x="137" y="107"/>
                  </a:lnTo>
                  <a:lnTo>
                    <a:pt x="149" y="95"/>
                  </a:lnTo>
                  <a:lnTo>
                    <a:pt x="153" y="81"/>
                  </a:lnTo>
                  <a:lnTo>
                    <a:pt x="170" y="66"/>
                  </a:lnTo>
                  <a:lnTo>
                    <a:pt x="194" y="66"/>
                  </a:lnTo>
                  <a:lnTo>
                    <a:pt x="208" y="76"/>
                  </a:lnTo>
                  <a:lnTo>
                    <a:pt x="220" y="95"/>
                  </a:lnTo>
                  <a:lnTo>
                    <a:pt x="236" y="97"/>
                  </a:lnTo>
                  <a:lnTo>
                    <a:pt x="255" y="90"/>
                  </a:lnTo>
                  <a:lnTo>
                    <a:pt x="269" y="83"/>
                  </a:lnTo>
                  <a:lnTo>
                    <a:pt x="288" y="85"/>
                  </a:lnTo>
                  <a:lnTo>
                    <a:pt x="300" y="85"/>
                  </a:lnTo>
                  <a:lnTo>
                    <a:pt x="321" y="62"/>
                  </a:lnTo>
                  <a:lnTo>
                    <a:pt x="349" y="24"/>
                  </a:lnTo>
                  <a:lnTo>
                    <a:pt x="368" y="7"/>
                  </a:lnTo>
                  <a:lnTo>
                    <a:pt x="373" y="0"/>
                  </a:lnTo>
                  <a:lnTo>
                    <a:pt x="383" y="7"/>
                  </a:lnTo>
                  <a:lnTo>
                    <a:pt x="390" y="17"/>
                  </a:lnTo>
                  <a:lnTo>
                    <a:pt x="399" y="22"/>
                  </a:lnTo>
                  <a:lnTo>
                    <a:pt x="420" y="22"/>
                  </a:lnTo>
                  <a:lnTo>
                    <a:pt x="432" y="33"/>
                  </a:lnTo>
                  <a:lnTo>
                    <a:pt x="439" y="52"/>
                  </a:lnTo>
                  <a:lnTo>
                    <a:pt x="442" y="62"/>
                  </a:lnTo>
                  <a:lnTo>
                    <a:pt x="458" y="64"/>
                  </a:lnTo>
                  <a:lnTo>
                    <a:pt x="468" y="69"/>
                  </a:lnTo>
                  <a:lnTo>
                    <a:pt x="491" y="74"/>
                  </a:lnTo>
                  <a:lnTo>
                    <a:pt x="515" y="74"/>
                  </a:lnTo>
                  <a:lnTo>
                    <a:pt x="538" y="74"/>
                  </a:lnTo>
                  <a:lnTo>
                    <a:pt x="550" y="74"/>
                  </a:lnTo>
                  <a:lnTo>
                    <a:pt x="564" y="88"/>
                  </a:lnTo>
                  <a:lnTo>
                    <a:pt x="572" y="92"/>
                  </a:lnTo>
                  <a:lnTo>
                    <a:pt x="588" y="92"/>
                  </a:lnTo>
                  <a:lnTo>
                    <a:pt x="600" y="88"/>
                  </a:lnTo>
                  <a:lnTo>
                    <a:pt x="607" y="97"/>
                  </a:lnTo>
                  <a:lnTo>
                    <a:pt x="607" y="111"/>
                  </a:lnTo>
                  <a:lnTo>
                    <a:pt x="605" y="142"/>
                  </a:lnTo>
                  <a:lnTo>
                    <a:pt x="602" y="156"/>
                  </a:lnTo>
                  <a:lnTo>
                    <a:pt x="600" y="180"/>
                  </a:lnTo>
                  <a:lnTo>
                    <a:pt x="593" y="196"/>
                  </a:lnTo>
                  <a:lnTo>
                    <a:pt x="593" y="220"/>
                  </a:lnTo>
                  <a:lnTo>
                    <a:pt x="581" y="232"/>
                  </a:lnTo>
                  <a:lnTo>
                    <a:pt x="562" y="246"/>
                  </a:lnTo>
                  <a:lnTo>
                    <a:pt x="557" y="258"/>
                  </a:lnTo>
                  <a:lnTo>
                    <a:pt x="557" y="267"/>
                  </a:lnTo>
                  <a:lnTo>
                    <a:pt x="572" y="284"/>
                  </a:lnTo>
                  <a:lnTo>
                    <a:pt x="605" y="293"/>
                  </a:lnTo>
                  <a:lnTo>
                    <a:pt x="635" y="298"/>
                  </a:lnTo>
                  <a:lnTo>
                    <a:pt x="647" y="312"/>
                  </a:lnTo>
                  <a:lnTo>
                    <a:pt x="649" y="326"/>
                  </a:lnTo>
                  <a:lnTo>
                    <a:pt x="647" y="340"/>
                  </a:lnTo>
                  <a:lnTo>
                    <a:pt x="635" y="359"/>
                  </a:lnTo>
                  <a:lnTo>
                    <a:pt x="628" y="378"/>
                  </a:lnTo>
                  <a:lnTo>
                    <a:pt x="619" y="397"/>
                  </a:lnTo>
                  <a:lnTo>
                    <a:pt x="614" y="416"/>
                  </a:lnTo>
                  <a:lnTo>
                    <a:pt x="619" y="433"/>
                  </a:lnTo>
                  <a:lnTo>
                    <a:pt x="628" y="442"/>
                  </a:lnTo>
                  <a:lnTo>
                    <a:pt x="628" y="451"/>
                  </a:lnTo>
                  <a:lnTo>
                    <a:pt x="626" y="463"/>
                  </a:lnTo>
                  <a:lnTo>
                    <a:pt x="619" y="466"/>
                  </a:lnTo>
                  <a:lnTo>
                    <a:pt x="602" y="470"/>
                  </a:lnTo>
                  <a:lnTo>
                    <a:pt x="590" y="477"/>
                  </a:lnTo>
                  <a:lnTo>
                    <a:pt x="588" y="494"/>
                  </a:lnTo>
                  <a:lnTo>
                    <a:pt x="593" y="515"/>
                  </a:lnTo>
                  <a:lnTo>
                    <a:pt x="602" y="534"/>
                  </a:lnTo>
                  <a:lnTo>
                    <a:pt x="621" y="560"/>
                  </a:lnTo>
                  <a:lnTo>
                    <a:pt x="640" y="577"/>
                  </a:lnTo>
                  <a:lnTo>
                    <a:pt x="668" y="588"/>
                  </a:lnTo>
                  <a:lnTo>
                    <a:pt x="690" y="593"/>
                  </a:lnTo>
                  <a:lnTo>
                    <a:pt x="720" y="603"/>
                  </a:lnTo>
                  <a:lnTo>
                    <a:pt x="735" y="610"/>
                  </a:lnTo>
                  <a:lnTo>
                    <a:pt x="758" y="619"/>
                  </a:lnTo>
                  <a:lnTo>
                    <a:pt x="782" y="629"/>
                  </a:lnTo>
                  <a:lnTo>
                    <a:pt x="805" y="636"/>
                  </a:lnTo>
                  <a:lnTo>
                    <a:pt x="808" y="638"/>
                  </a:lnTo>
                  <a:lnTo>
                    <a:pt x="824" y="652"/>
                  </a:lnTo>
                  <a:lnTo>
                    <a:pt x="834" y="666"/>
                  </a:lnTo>
                  <a:lnTo>
                    <a:pt x="846" y="676"/>
                  </a:lnTo>
                  <a:lnTo>
                    <a:pt x="872" y="678"/>
                  </a:lnTo>
                  <a:lnTo>
                    <a:pt x="888" y="676"/>
                  </a:lnTo>
                  <a:lnTo>
                    <a:pt x="890" y="676"/>
                  </a:lnTo>
                  <a:lnTo>
                    <a:pt x="900" y="662"/>
                  </a:lnTo>
                  <a:lnTo>
                    <a:pt x="914" y="657"/>
                  </a:lnTo>
                  <a:lnTo>
                    <a:pt x="926" y="655"/>
                  </a:lnTo>
                  <a:lnTo>
                    <a:pt x="935" y="662"/>
                  </a:lnTo>
                  <a:lnTo>
                    <a:pt x="938" y="674"/>
                  </a:lnTo>
                  <a:lnTo>
                    <a:pt x="938" y="697"/>
                  </a:lnTo>
                  <a:lnTo>
                    <a:pt x="938" y="721"/>
                  </a:lnTo>
                  <a:lnTo>
                    <a:pt x="942" y="733"/>
                  </a:lnTo>
                  <a:lnTo>
                    <a:pt x="954" y="751"/>
                  </a:lnTo>
                  <a:lnTo>
                    <a:pt x="961" y="770"/>
                  </a:lnTo>
                  <a:lnTo>
                    <a:pt x="964" y="782"/>
                  </a:lnTo>
                  <a:lnTo>
                    <a:pt x="959" y="801"/>
                  </a:lnTo>
                  <a:lnTo>
                    <a:pt x="954" y="815"/>
                  </a:lnTo>
                  <a:close/>
                </a:path>
              </a:pathLst>
            </a:custGeom>
            <a:pattFill prst="dkVert">
              <a:fgClr>
                <a:schemeClr val="accent2"/>
              </a:fgClr>
              <a:bgClr>
                <a:schemeClr val="bg1"/>
              </a:bgClr>
            </a:pattFill>
            <a:ln w="9525" cap="rnd"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p>
              <a:endParaRPr lang="en-US" dirty="0"/>
            </a:p>
          </p:txBody>
        </p:sp>
        <p:sp>
          <p:nvSpPr>
            <p:cNvPr id="8633" name="Freeform 27">
              <a:extLst>
                <a:ext uri="{FF2B5EF4-FFF2-40B4-BE49-F238E27FC236}">
                  <a16:creationId xmlns:a16="http://schemas.microsoft.com/office/drawing/2014/main" id="{9F830BBB-9A51-4742-9988-A97A2AB4D562}"/>
                </a:ext>
              </a:extLst>
            </p:cNvPr>
            <p:cNvSpPr>
              <a:spLocks/>
            </p:cNvSpPr>
            <p:nvPr/>
          </p:nvSpPr>
          <p:spPr bwMode="gray">
            <a:xfrm>
              <a:off x="-3659188" y="2124075"/>
              <a:ext cx="1803400" cy="1323975"/>
            </a:xfrm>
            <a:custGeom>
              <a:avLst/>
              <a:gdLst/>
              <a:ahLst/>
              <a:cxnLst>
                <a:cxn ang="0">
                  <a:pos x="411" y="2"/>
                </a:cxn>
                <a:cxn ang="0">
                  <a:pos x="357" y="23"/>
                </a:cxn>
                <a:cxn ang="0">
                  <a:pos x="290" y="2"/>
                </a:cxn>
                <a:cxn ang="0">
                  <a:pos x="253" y="49"/>
                </a:cxn>
                <a:cxn ang="0">
                  <a:pos x="177" y="33"/>
                </a:cxn>
                <a:cxn ang="0">
                  <a:pos x="92" y="68"/>
                </a:cxn>
                <a:cxn ang="0">
                  <a:pos x="47" y="137"/>
                </a:cxn>
                <a:cxn ang="0">
                  <a:pos x="59" y="248"/>
                </a:cxn>
                <a:cxn ang="0">
                  <a:pos x="59" y="380"/>
                </a:cxn>
                <a:cxn ang="0">
                  <a:pos x="113" y="413"/>
                </a:cxn>
                <a:cxn ang="0">
                  <a:pos x="146" y="342"/>
                </a:cxn>
                <a:cxn ang="0">
                  <a:pos x="198" y="359"/>
                </a:cxn>
                <a:cxn ang="0">
                  <a:pos x="241" y="392"/>
                </a:cxn>
                <a:cxn ang="0">
                  <a:pos x="248" y="470"/>
                </a:cxn>
                <a:cxn ang="0">
                  <a:pos x="146" y="512"/>
                </a:cxn>
                <a:cxn ang="0">
                  <a:pos x="94" y="534"/>
                </a:cxn>
                <a:cxn ang="0">
                  <a:pos x="118" y="604"/>
                </a:cxn>
                <a:cxn ang="0">
                  <a:pos x="64" y="671"/>
                </a:cxn>
                <a:cxn ang="0">
                  <a:pos x="7" y="685"/>
                </a:cxn>
                <a:cxn ang="0">
                  <a:pos x="7" y="760"/>
                </a:cxn>
                <a:cxn ang="0">
                  <a:pos x="153" y="834"/>
                </a:cxn>
                <a:cxn ang="0">
                  <a:pos x="276" y="727"/>
                </a:cxn>
                <a:cxn ang="0">
                  <a:pos x="399" y="715"/>
                </a:cxn>
                <a:cxn ang="0">
                  <a:pos x="543" y="604"/>
                </a:cxn>
                <a:cxn ang="0">
                  <a:pos x="602" y="557"/>
                </a:cxn>
                <a:cxn ang="0">
                  <a:pos x="709" y="534"/>
                </a:cxn>
                <a:cxn ang="0">
                  <a:pos x="810" y="484"/>
                </a:cxn>
                <a:cxn ang="0">
                  <a:pos x="900" y="427"/>
                </a:cxn>
                <a:cxn ang="0">
                  <a:pos x="876" y="363"/>
                </a:cxn>
                <a:cxn ang="0">
                  <a:pos x="933" y="347"/>
                </a:cxn>
                <a:cxn ang="0">
                  <a:pos x="992" y="404"/>
                </a:cxn>
                <a:cxn ang="0">
                  <a:pos x="1023" y="439"/>
                </a:cxn>
                <a:cxn ang="0">
                  <a:pos x="1042" y="491"/>
                </a:cxn>
                <a:cxn ang="0">
                  <a:pos x="1110" y="432"/>
                </a:cxn>
                <a:cxn ang="0">
                  <a:pos x="1131" y="248"/>
                </a:cxn>
                <a:cxn ang="0">
                  <a:pos x="1110" y="151"/>
                </a:cxn>
                <a:cxn ang="0">
                  <a:pos x="1122" y="94"/>
                </a:cxn>
                <a:cxn ang="0">
                  <a:pos x="1046" y="49"/>
                </a:cxn>
                <a:cxn ang="0">
                  <a:pos x="994" y="33"/>
                </a:cxn>
                <a:cxn ang="0">
                  <a:pos x="952" y="30"/>
                </a:cxn>
                <a:cxn ang="0">
                  <a:pos x="883" y="78"/>
                </a:cxn>
                <a:cxn ang="0">
                  <a:pos x="838" y="64"/>
                </a:cxn>
                <a:cxn ang="0">
                  <a:pos x="779" y="82"/>
                </a:cxn>
                <a:cxn ang="0">
                  <a:pos x="753" y="156"/>
                </a:cxn>
                <a:cxn ang="0">
                  <a:pos x="742" y="137"/>
                </a:cxn>
                <a:cxn ang="0">
                  <a:pos x="704" y="163"/>
                </a:cxn>
                <a:cxn ang="0">
                  <a:pos x="638" y="191"/>
                </a:cxn>
                <a:cxn ang="0">
                  <a:pos x="586" y="165"/>
                </a:cxn>
                <a:cxn ang="0">
                  <a:pos x="557" y="137"/>
                </a:cxn>
                <a:cxn ang="0">
                  <a:pos x="522" y="158"/>
                </a:cxn>
                <a:cxn ang="0">
                  <a:pos x="472" y="158"/>
                </a:cxn>
                <a:cxn ang="0">
                  <a:pos x="449" y="130"/>
                </a:cxn>
                <a:cxn ang="0">
                  <a:pos x="468" y="87"/>
                </a:cxn>
                <a:cxn ang="0">
                  <a:pos x="458" y="56"/>
                </a:cxn>
                <a:cxn ang="0">
                  <a:pos x="465" y="16"/>
                </a:cxn>
              </a:cxnLst>
              <a:rect l="0" t="0" r="r" b="b"/>
              <a:pathLst>
                <a:path w="1136" h="834">
                  <a:moveTo>
                    <a:pt x="465" y="16"/>
                  </a:moveTo>
                  <a:lnTo>
                    <a:pt x="444" y="7"/>
                  </a:lnTo>
                  <a:lnTo>
                    <a:pt x="411" y="2"/>
                  </a:lnTo>
                  <a:lnTo>
                    <a:pt x="385" y="4"/>
                  </a:lnTo>
                  <a:lnTo>
                    <a:pt x="371" y="19"/>
                  </a:lnTo>
                  <a:lnTo>
                    <a:pt x="357" y="23"/>
                  </a:lnTo>
                  <a:lnTo>
                    <a:pt x="342" y="7"/>
                  </a:lnTo>
                  <a:lnTo>
                    <a:pt x="314" y="0"/>
                  </a:lnTo>
                  <a:lnTo>
                    <a:pt x="290" y="2"/>
                  </a:lnTo>
                  <a:lnTo>
                    <a:pt x="264" y="9"/>
                  </a:lnTo>
                  <a:lnTo>
                    <a:pt x="257" y="33"/>
                  </a:lnTo>
                  <a:lnTo>
                    <a:pt x="253" y="49"/>
                  </a:lnTo>
                  <a:lnTo>
                    <a:pt x="236" y="45"/>
                  </a:lnTo>
                  <a:lnTo>
                    <a:pt x="220" y="33"/>
                  </a:lnTo>
                  <a:lnTo>
                    <a:pt x="177" y="33"/>
                  </a:lnTo>
                  <a:lnTo>
                    <a:pt x="144" y="35"/>
                  </a:lnTo>
                  <a:lnTo>
                    <a:pt x="111" y="56"/>
                  </a:lnTo>
                  <a:lnTo>
                    <a:pt x="92" y="68"/>
                  </a:lnTo>
                  <a:lnTo>
                    <a:pt x="73" y="78"/>
                  </a:lnTo>
                  <a:lnTo>
                    <a:pt x="59" y="97"/>
                  </a:lnTo>
                  <a:lnTo>
                    <a:pt x="47" y="137"/>
                  </a:lnTo>
                  <a:lnTo>
                    <a:pt x="52" y="198"/>
                  </a:lnTo>
                  <a:lnTo>
                    <a:pt x="57" y="224"/>
                  </a:lnTo>
                  <a:lnTo>
                    <a:pt x="59" y="248"/>
                  </a:lnTo>
                  <a:lnTo>
                    <a:pt x="71" y="290"/>
                  </a:lnTo>
                  <a:lnTo>
                    <a:pt x="64" y="352"/>
                  </a:lnTo>
                  <a:lnTo>
                    <a:pt x="59" y="380"/>
                  </a:lnTo>
                  <a:lnTo>
                    <a:pt x="68" y="401"/>
                  </a:lnTo>
                  <a:lnTo>
                    <a:pt x="90" y="418"/>
                  </a:lnTo>
                  <a:lnTo>
                    <a:pt x="113" y="413"/>
                  </a:lnTo>
                  <a:lnTo>
                    <a:pt x="132" y="394"/>
                  </a:lnTo>
                  <a:lnTo>
                    <a:pt x="142" y="378"/>
                  </a:lnTo>
                  <a:lnTo>
                    <a:pt x="146" y="342"/>
                  </a:lnTo>
                  <a:lnTo>
                    <a:pt x="168" y="333"/>
                  </a:lnTo>
                  <a:lnTo>
                    <a:pt x="191" y="338"/>
                  </a:lnTo>
                  <a:lnTo>
                    <a:pt x="198" y="359"/>
                  </a:lnTo>
                  <a:lnTo>
                    <a:pt x="198" y="378"/>
                  </a:lnTo>
                  <a:lnTo>
                    <a:pt x="208" y="387"/>
                  </a:lnTo>
                  <a:lnTo>
                    <a:pt x="241" y="392"/>
                  </a:lnTo>
                  <a:lnTo>
                    <a:pt x="255" y="408"/>
                  </a:lnTo>
                  <a:lnTo>
                    <a:pt x="257" y="444"/>
                  </a:lnTo>
                  <a:lnTo>
                    <a:pt x="248" y="470"/>
                  </a:lnTo>
                  <a:lnTo>
                    <a:pt x="212" y="484"/>
                  </a:lnTo>
                  <a:lnTo>
                    <a:pt x="182" y="498"/>
                  </a:lnTo>
                  <a:lnTo>
                    <a:pt x="146" y="512"/>
                  </a:lnTo>
                  <a:lnTo>
                    <a:pt x="120" y="515"/>
                  </a:lnTo>
                  <a:lnTo>
                    <a:pt x="106" y="517"/>
                  </a:lnTo>
                  <a:lnTo>
                    <a:pt x="94" y="534"/>
                  </a:lnTo>
                  <a:lnTo>
                    <a:pt x="99" y="560"/>
                  </a:lnTo>
                  <a:lnTo>
                    <a:pt x="113" y="586"/>
                  </a:lnTo>
                  <a:lnTo>
                    <a:pt x="118" y="604"/>
                  </a:lnTo>
                  <a:lnTo>
                    <a:pt x="108" y="626"/>
                  </a:lnTo>
                  <a:lnTo>
                    <a:pt x="85" y="652"/>
                  </a:lnTo>
                  <a:lnTo>
                    <a:pt x="64" y="671"/>
                  </a:lnTo>
                  <a:lnTo>
                    <a:pt x="42" y="673"/>
                  </a:lnTo>
                  <a:lnTo>
                    <a:pt x="23" y="671"/>
                  </a:lnTo>
                  <a:lnTo>
                    <a:pt x="7" y="685"/>
                  </a:lnTo>
                  <a:lnTo>
                    <a:pt x="0" y="708"/>
                  </a:lnTo>
                  <a:lnTo>
                    <a:pt x="5" y="746"/>
                  </a:lnTo>
                  <a:lnTo>
                    <a:pt x="7" y="760"/>
                  </a:lnTo>
                  <a:lnTo>
                    <a:pt x="38" y="798"/>
                  </a:lnTo>
                  <a:lnTo>
                    <a:pt x="78" y="831"/>
                  </a:lnTo>
                  <a:lnTo>
                    <a:pt x="153" y="834"/>
                  </a:lnTo>
                  <a:lnTo>
                    <a:pt x="184" y="798"/>
                  </a:lnTo>
                  <a:lnTo>
                    <a:pt x="224" y="765"/>
                  </a:lnTo>
                  <a:lnTo>
                    <a:pt x="276" y="727"/>
                  </a:lnTo>
                  <a:lnTo>
                    <a:pt x="319" y="723"/>
                  </a:lnTo>
                  <a:lnTo>
                    <a:pt x="366" y="732"/>
                  </a:lnTo>
                  <a:lnTo>
                    <a:pt x="399" y="715"/>
                  </a:lnTo>
                  <a:lnTo>
                    <a:pt x="442" y="668"/>
                  </a:lnTo>
                  <a:lnTo>
                    <a:pt x="486" y="626"/>
                  </a:lnTo>
                  <a:lnTo>
                    <a:pt x="543" y="604"/>
                  </a:lnTo>
                  <a:lnTo>
                    <a:pt x="583" y="590"/>
                  </a:lnTo>
                  <a:lnTo>
                    <a:pt x="597" y="574"/>
                  </a:lnTo>
                  <a:lnTo>
                    <a:pt x="602" y="557"/>
                  </a:lnTo>
                  <a:lnTo>
                    <a:pt x="619" y="548"/>
                  </a:lnTo>
                  <a:lnTo>
                    <a:pt x="661" y="545"/>
                  </a:lnTo>
                  <a:lnTo>
                    <a:pt x="709" y="534"/>
                  </a:lnTo>
                  <a:lnTo>
                    <a:pt x="746" y="517"/>
                  </a:lnTo>
                  <a:lnTo>
                    <a:pt x="768" y="491"/>
                  </a:lnTo>
                  <a:lnTo>
                    <a:pt x="810" y="484"/>
                  </a:lnTo>
                  <a:lnTo>
                    <a:pt x="843" y="484"/>
                  </a:lnTo>
                  <a:lnTo>
                    <a:pt x="872" y="453"/>
                  </a:lnTo>
                  <a:lnTo>
                    <a:pt x="900" y="427"/>
                  </a:lnTo>
                  <a:lnTo>
                    <a:pt x="905" y="404"/>
                  </a:lnTo>
                  <a:lnTo>
                    <a:pt x="893" y="382"/>
                  </a:lnTo>
                  <a:lnTo>
                    <a:pt x="876" y="363"/>
                  </a:lnTo>
                  <a:lnTo>
                    <a:pt x="879" y="354"/>
                  </a:lnTo>
                  <a:lnTo>
                    <a:pt x="900" y="342"/>
                  </a:lnTo>
                  <a:lnTo>
                    <a:pt x="933" y="347"/>
                  </a:lnTo>
                  <a:lnTo>
                    <a:pt x="964" y="361"/>
                  </a:lnTo>
                  <a:lnTo>
                    <a:pt x="983" y="378"/>
                  </a:lnTo>
                  <a:lnTo>
                    <a:pt x="992" y="404"/>
                  </a:lnTo>
                  <a:lnTo>
                    <a:pt x="994" y="420"/>
                  </a:lnTo>
                  <a:lnTo>
                    <a:pt x="1009" y="430"/>
                  </a:lnTo>
                  <a:lnTo>
                    <a:pt x="1023" y="439"/>
                  </a:lnTo>
                  <a:lnTo>
                    <a:pt x="1025" y="453"/>
                  </a:lnTo>
                  <a:lnTo>
                    <a:pt x="1023" y="472"/>
                  </a:lnTo>
                  <a:lnTo>
                    <a:pt x="1042" y="491"/>
                  </a:lnTo>
                  <a:lnTo>
                    <a:pt x="1065" y="500"/>
                  </a:lnTo>
                  <a:lnTo>
                    <a:pt x="1086" y="486"/>
                  </a:lnTo>
                  <a:lnTo>
                    <a:pt x="1110" y="432"/>
                  </a:lnTo>
                  <a:lnTo>
                    <a:pt x="1122" y="349"/>
                  </a:lnTo>
                  <a:lnTo>
                    <a:pt x="1127" y="290"/>
                  </a:lnTo>
                  <a:lnTo>
                    <a:pt x="1131" y="248"/>
                  </a:lnTo>
                  <a:lnTo>
                    <a:pt x="1136" y="215"/>
                  </a:lnTo>
                  <a:lnTo>
                    <a:pt x="1124" y="177"/>
                  </a:lnTo>
                  <a:lnTo>
                    <a:pt x="1110" y="151"/>
                  </a:lnTo>
                  <a:lnTo>
                    <a:pt x="1108" y="134"/>
                  </a:lnTo>
                  <a:lnTo>
                    <a:pt x="1120" y="113"/>
                  </a:lnTo>
                  <a:lnTo>
                    <a:pt x="1122" y="94"/>
                  </a:lnTo>
                  <a:lnTo>
                    <a:pt x="1108" y="75"/>
                  </a:lnTo>
                  <a:lnTo>
                    <a:pt x="1079" y="56"/>
                  </a:lnTo>
                  <a:lnTo>
                    <a:pt x="1046" y="49"/>
                  </a:lnTo>
                  <a:lnTo>
                    <a:pt x="1025" y="38"/>
                  </a:lnTo>
                  <a:lnTo>
                    <a:pt x="1011" y="38"/>
                  </a:lnTo>
                  <a:lnTo>
                    <a:pt x="994" y="33"/>
                  </a:lnTo>
                  <a:lnTo>
                    <a:pt x="978" y="30"/>
                  </a:lnTo>
                  <a:lnTo>
                    <a:pt x="964" y="28"/>
                  </a:lnTo>
                  <a:lnTo>
                    <a:pt x="952" y="30"/>
                  </a:lnTo>
                  <a:lnTo>
                    <a:pt x="923" y="52"/>
                  </a:lnTo>
                  <a:lnTo>
                    <a:pt x="897" y="68"/>
                  </a:lnTo>
                  <a:lnTo>
                    <a:pt x="883" y="78"/>
                  </a:lnTo>
                  <a:lnTo>
                    <a:pt x="864" y="78"/>
                  </a:lnTo>
                  <a:lnTo>
                    <a:pt x="853" y="71"/>
                  </a:lnTo>
                  <a:lnTo>
                    <a:pt x="838" y="64"/>
                  </a:lnTo>
                  <a:lnTo>
                    <a:pt x="824" y="61"/>
                  </a:lnTo>
                  <a:lnTo>
                    <a:pt x="805" y="68"/>
                  </a:lnTo>
                  <a:lnTo>
                    <a:pt x="779" y="82"/>
                  </a:lnTo>
                  <a:lnTo>
                    <a:pt x="770" y="101"/>
                  </a:lnTo>
                  <a:lnTo>
                    <a:pt x="763" y="125"/>
                  </a:lnTo>
                  <a:lnTo>
                    <a:pt x="753" y="156"/>
                  </a:lnTo>
                  <a:lnTo>
                    <a:pt x="746" y="177"/>
                  </a:lnTo>
                  <a:lnTo>
                    <a:pt x="744" y="149"/>
                  </a:lnTo>
                  <a:lnTo>
                    <a:pt x="742" y="137"/>
                  </a:lnTo>
                  <a:lnTo>
                    <a:pt x="727" y="137"/>
                  </a:lnTo>
                  <a:lnTo>
                    <a:pt x="718" y="149"/>
                  </a:lnTo>
                  <a:lnTo>
                    <a:pt x="704" y="163"/>
                  </a:lnTo>
                  <a:lnTo>
                    <a:pt x="685" y="177"/>
                  </a:lnTo>
                  <a:lnTo>
                    <a:pt x="664" y="184"/>
                  </a:lnTo>
                  <a:lnTo>
                    <a:pt x="638" y="191"/>
                  </a:lnTo>
                  <a:lnTo>
                    <a:pt x="614" y="191"/>
                  </a:lnTo>
                  <a:lnTo>
                    <a:pt x="595" y="182"/>
                  </a:lnTo>
                  <a:lnTo>
                    <a:pt x="586" y="165"/>
                  </a:lnTo>
                  <a:lnTo>
                    <a:pt x="579" y="146"/>
                  </a:lnTo>
                  <a:lnTo>
                    <a:pt x="569" y="137"/>
                  </a:lnTo>
                  <a:lnTo>
                    <a:pt x="557" y="137"/>
                  </a:lnTo>
                  <a:lnTo>
                    <a:pt x="548" y="137"/>
                  </a:lnTo>
                  <a:lnTo>
                    <a:pt x="536" y="149"/>
                  </a:lnTo>
                  <a:lnTo>
                    <a:pt x="522" y="158"/>
                  </a:lnTo>
                  <a:lnTo>
                    <a:pt x="508" y="163"/>
                  </a:lnTo>
                  <a:lnTo>
                    <a:pt x="486" y="165"/>
                  </a:lnTo>
                  <a:lnTo>
                    <a:pt x="472" y="158"/>
                  </a:lnTo>
                  <a:lnTo>
                    <a:pt x="463" y="144"/>
                  </a:lnTo>
                  <a:lnTo>
                    <a:pt x="458" y="137"/>
                  </a:lnTo>
                  <a:lnTo>
                    <a:pt x="449" y="130"/>
                  </a:lnTo>
                  <a:lnTo>
                    <a:pt x="458" y="118"/>
                  </a:lnTo>
                  <a:lnTo>
                    <a:pt x="468" y="104"/>
                  </a:lnTo>
                  <a:lnTo>
                    <a:pt x="468" y="87"/>
                  </a:lnTo>
                  <a:lnTo>
                    <a:pt x="460" y="78"/>
                  </a:lnTo>
                  <a:lnTo>
                    <a:pt x="458" y="68"/>
                  </a:lnTo>
                  <a:lnTo>
                    <a:pt x="458" y="56"/>
                  </a:lnTo>
                  <a:lnTo>
                    <a:pt x="465" y="45"/>
                  </a:lnTo>
                  <a:lnTo>
                    <a:pt x="468" y="30"/>
                  </a:lnTo>
                  <a:lnTo>
                    <a:pt x="465" y="16"/>
                  </a:lnTo>
                  <a:close/>
                </a:path>
              </a:pathLst>
            </a:custGeom>
            <a:pattFill prst="wdDnDiag">
              <a:fgClr>
                <a:schemeClr val="accent2"/>
              </a:fgClr>
              <a:bgClr>
                <a:schemeClr val="bg1"/>
              </a:bgClr>
            </a:pattFill>
            <a:ln w="9525" cap="rnd"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p>
              <a:endParaRPr lang="en-US" dirty="0"/>
            </a:p>
          </p:txBody>
        </p:sp>
        <p:sp>
          <p:nvSpPr>
            <p:cNvPr id="8634" name="Freeform 28">
              <a:extLst>
                <a:ext uri="{FF2B5EF4-FFF2-40B4-BE49-F238E27FC236}">
                  <a16:creationId xmlns:a16="http://schemas.microsoft.com/office/drawing/2014/main" id="{55AE1B2C-3BB7-4792-8364-43E851CB860F}"/>
                </a:ext>
              </a:extLst>
            </p:cNvPr>
            <p:cNvSpPr>
              <a:spLocks/>
            </p:cNvSpPr>
            <p:nvPr/>
          </p:nvSpPr>
          <p:spPr bwMode="gray">
            <a:xfrm>
              <a:off x="-4889500" y="2146300"/>
              <a:ext cx="1638300" cy="1289050"/>
            </a:xfrm>
            <a:custGeom>
              <a:avLst/>
              <a:gdLst/>
              <a:ahLst/>
              <a:cxnLst>
                <a:cxn ang="0">
                  <a:pos x="312" y="33"/>
                </a:cxn>
                <a:cxn ang="0">
                  <a:pos x="305" y="54"/>
                </a:cxn>
                <a:cxn ang="0">
                  <a:pos x="243" y="71"/>
                </a:cxn>
                <a:cxn ang="0">
                  <a:pos x="198" y="68"/>
                </a:cxn>
                <a:cxn ang="0">
                  <a:pos x="149" y="78"/>
                </a:cxn>
                <a:cxn ang="0">
                  <a:pos x="111" y="113"/>
                </a:cxn>
                <a:cxn ang="0">
                  <a:pos x="64" y="125"/>
                </a:cxn>
                <a:cxn ang="0">
                  <a:pos x="7" y="156"/>
                </a:cxn>
                <a:cxn ang="0">
                  <a:pos x="19" y="205"/>
                </a:cxn>
                <a:cxn ang="0">
                  <a:pos x="69" y="222"/>
                </a:cxn>
                <a:cxn ang="0">
                  <a:pos x="83" y="288"/>
                </a:cxn>
                <a:cxn ang="0">
                  <a:pos x="94" y="357"/>
                </a:cxn>
                <a:cxn ang="0">
                  <a:pos x="76" y="394"/>
                </a:cxn>
                <a:cxn ang="0">
                  <a:pos x="31" y="491"/>
                </a:cxn>
                <a:cxn ang="0">
                  <a:pos x="2" y="564"/>
                </a:cxn>
                <a:cxn ang="0">
                  <a:pos x="26" y="614"/>
                </a:cxn>
                <a:cxn ang="0">
                  <a:pos x="57" y="567"/>
                </a:cxn>
                <a:cxn ang="0">
                  <a:pos x="59" y="621"/>
                </a:cxn>
                <a:cxn ang="0">
                  <a:pos x="109" y="633"/>
                </a:cxn>
                <a:cxn ang="0">
                  <a:pos x="149" y="659"/>
                </a:cxn>
                <a:cxn ang="0">
                  <a:pos x="222" y="749"/>
                </a:cxn>
                <a:cxn ang="0">
                  <a:pos x="267" y="794"/>
                </a:cxn>
                <a:cxn ang="0">
                  <a:pos x="317" y="812"/>
                </a:cxn>
                <a:cxn ang="0">
                  <a:pos x="314" y="763"/>
                </a:cxn>
                <a:cxn ang="0">
                  <a:pos x="357" y="744"/>
                </a:cxn>
                <a:cxn ang="0">
                  <a:pos x="416" y="756"/>
                </a:cxn>
                <a:cxn ang="0">
                  <a:pos x="477" y="782"/>
                </a:cxn>
                <a:cxn ang="0">
                  <a:pos x="522" y="775"/>
                </a:cxn>
                <a:cxn ang="0">
                  <a:pos x="527" y="680"/>
                </a:cxn>
                <a:cxn ang="0">
                  <a:pos x="581" y="692"/>
                </a:cxn>
                <a:cxn ang="0">
                  <a:pos x="628" y="732"/>
                </a:cxn>
                <a:cxn ang="0">
                  <a:pos x="716" y="730"/>
                </a:cxn>
                <a:cxn ang="0">
                  <a:pos x="782" y="746"/>
                </a:cxn>
                <a:cxn ang="0">
                  <a:pos x="798" y="657"/>
                </a:cxn>
                <a:cxn ang="0">
                  <a:pos x="860" y="638"/>
                </a:cxn>
                <a:cxn ang="0">
                  <a:pos x="888" y="572"/>
                </a:cxn>
                <a:cxn ang="0">
                  <a:pos x="881" y="503"/>
                </a:cxn>
                <a:cxn ang="0">
                  <a:pos x="957" y="484"/>
                </a:cxn>
                <a:cxn ang="0">
                  <a:pos x="1032" y="430"/>
                </a:cxn>
                <a:cxn ang="0">
                  <a:pos x="983" y="373"/>
                </a:cxn>
                <a:cxn ang="0">
                  <a:pos x="966" y="324"/>
                </a:cxn>
                <a:cxn ang="0">
                  <a:pos x="917" y="364"/>
                </a:cxn>
                <a:cxn ang="0">
                  <a:pos x="865" y="404"/>
                </a:cxn>
                <a:cxn ang="0">
                  <a:pos x="815" y="368"/>
                </a:cxn>
                <a:cxn ang="0">
                  <a:pos x="761" y="364"/>
                </a:cxn>
                <a:cxn ang="0">
                  <a:pos x="695" y="371"/>
                </a:cxn>
                <a:cxn ang="0">
                  <a:pos x="640" y="352"/>
                </a:cxn>
                <a:cxn ang="0">
                  <a:pos x="586" y="281"/>
                </a:cxn>
                <a:cxn ang="0">
                  <a:pos x="609" y="227"/>
                </a:cxn>
                <a:cxn ang="0">
                  <a:pos x="572" y="177"/>
                </a:cxn>
                <a:cxn ang="0">
                  <a:pos x="555" y="132"/>
                </a:cxn>
                <a:cxn ang="0">
                  <a:pos x="463" y="130"/>
                </a:cxn>
                <a:cxn ang="0">
                  <a:pos x="409" y="68"/>
                </a:cxn>
                <a:cxn ang="0">
                  <a:pos x="364" y="16"/>
                </a:cxn>
                <a:cxn ang="0">
                  <a:pos x="302" y="12"/>
                </a:cxn>
              </a:cxnLst>
              <a:rect l="0" t="0" r="r" b="b"/>
              <a:pathLst>
                <a:path w="1032" h="812">
                  <a:moveTo>
                    <a:pt x="302" y="12"/>
                  </a:moveTo>
                  <a:lnTo>
                    <a:pt x="305" y="24"/>
                  </a:lnTo>
                  <a:lnTo>
                    <a:pt x="312" y="33"/>
                  </a:lnTo>
                  <a:lnTo>
                    <a:pt x="317" y="42"/>
                  </a:lnTo>
                  <a:lnTo>
                    <a:pt x="314" y="52"/>
                  </a:lnTo>
                  <a:lnTo>
                    <a:pt x="305" y="54"/>
                  </a:lnTo>
                  <a:lnTo>
                    <a:pt x="288" y="54"/>
                  </a:lnTo>
                  <a:lnTo>
                    <a:pt x="274" y="57"/>
                  </a:lnTo>
                  <a:lnTo>
                    <a:pt x="243" y="71"/>
                  </a:lnTo>
                  <a:lnTo>
                    <a:pt x="224" y="78"/>
                  </a:lnTo>
                  <a:lnTo>
                    <a:pt x="213" y="75"/>
                  </a:lnTo>
                  <a:lnTo>
                    <a:pt x="198" y="68"/>
                  </a:lnTo>
                  <a:lnTo>
                    <a:pt x="182" y="66"/>
                  </a:lnTo>
                  <a:lnTo>
                    <a:pt x="163" y="68"/>
                  </a:lnTo>
                  <a:lnTo>
                    <a:pt x="149" y="78"/>
                  </a:lnTo>
                  <a:lnTo>
                    <a:pt x="137" y="92"/>
                  </a:lnTo>
                  <a:lnTo>
                    <a:pt x="123" y="106"/>
                  </a:lnTo>
                  <a:lnTo>
                    <a:pt x="111" y="113"/>
                  </a:lnTo>
                  <a:lnTo>
                    <a:pt x="97" y="113"/>
                  </a:lnTo>
                  <a:lnTo>
                    <a:pt x="80" y="118"/>
                  </a:lnTo>
                  <a:lnTo>
                    <a:pt x="64" y="125"/>
                  </a:lnTo>
                  <a:lnTo>
                    <a:pt x="33" y="144"/>
                  </a:lnTo>
                  <a:lnTo>
                    <a:pt x="21" y="153"/>
                  </a:lnTo>
                  <a:lnTo>
                    <a:pt x="7" y="156"/>
                  </a:lnTo>
                  <a:lnTo>
                    <a:pt x="5" y="170"/>
                  </a:lnTo>
                  <a:lnTo>
                    <a:pt x="7" y="191"/>
                  </a:lnTo>
                  <a:lnTo>
                    <a:pt x="19" y="205"/>
                  </a:lnTo>
                  <a:lnTo>
                    <a:pt x="33" y="215"/>
                  </a:lnTo>
                  <a:lnTo>
                    <a:pt x="54" y="217"/>
                  </a:lnTo>
                  <a:lnTo>
                    <a:pt x="69" y="222"/>
                  </a:lnTo>
                  <a:lnTo>
                    <a:pt x="76" y="234"/>
                  </a:lnTo>
                  <a:lnTo>
                    <a:pt x="80" y="255"/>
                  </a:lnTo>
                  <a:lnTo>
                    <a:pt x="83" y="288"/>
                  </a:lnTo>
                  <a:lnTo>
                    <a:pt x="80" y="321"/>
                  </a:lnTo>
                  <a:lnTo>
                    <a:pt x="83" y="342"/>
                  </a:lnTo>
                  <a:lnTo>
                    <a:pt x="94" y="357"/>
                  </a:lnTo>
                  <a:lnTo>
                    <a:pt x="97" y="368"/>
                  </a:lnTo>
                  <a:lnTo>
                    <a:pt x="92" y="380"/>
                  </a:lnTo>
                  <a:lnTo>
                    <a:pt x="76" y="394"/>
                  </a:lnTo>
                  <a:lnTo>
                    <a:pt x="54" y="416"/>
                  </a:lnTo>
                  <a:lnTo>
                    <a:pt x="33" y="449"/>
                  </a:lnTo>
                  <a:lnTo>
                    <a:pt x="31" y="491"/>
                  </a:lnTo>
                  <a:lnTo>
                    <a:pt x="26" y="524"/>
                  </a:lnTo>
                  <a:lnTo>
                    <a:pt x="14" y="546"/>
                  </a:lnTo>
                  <a:lnTo>
                    <a:pt x="2" y="564"/>
                  </a:lnTo>
                  <a:lnTo>
                    <a:pt x="0" y="593"/>
                  </a:lnTo>
                  <a:lnTo>
                    <a:pt x="9" y="609"/>
                  </a:lnTo>
                  <a:lnTo>
                    <a:pt x="26" y="614"/>
                  </a:lnTo>
                  <a:lnTo>
                    <a:pt x="45" y="595"/>
                  </a:lnTo>
                  <a:lnTo>
                    <a:pt x="47" y="574"/>
                  </a:lnTo>
                  <a:lnTo>
                    <a:pt x="57" y="567"/>
                  </a:lnTo>
                  <a:lnTo>
                    <a:pt x="64" y="576"/>
                  </a:lnTo>
                  <a:lnTo>
                    <a:pt x="59" y="598"/>
                  </a:lnTo>
                  <a:lnTo>
                    <a:pt x="59" y="621"/>
                  </a:lnTo>
                  <a:lnTo>
                    <a:pt x="64" y="631"/>
                  </a:lnTo>
                  <a:lnTo>
                    <a:pt x="87" y="635"/>
                  </a:lnTo>
                  <a:lnTo>
                    <a:pt x="109" y="633"/>
                  </a:lnTo>
                  <a:lnTo>
                    <a:pt x="123" y="628"/>
                  </a:lnTo>
                  <a:lnTo>
                    <a:pt x="135" y="633"/>
                  </a:lnTo>
                  <a:lnTo>
                    <a:pt x="149" y="659"/>
                  </a:lnTo>
                  <a:lnTo>
                    <a:pt x="163" y="692"/>
                  </a:lnTo>
                  <a:lnTo>
                    <a:pt x="187" y="730"/>
                  </a:lnTo>
                  <a:lnTo>
                    <a:pt x="222" y="749"/>
                  </a:lnTo>
                  <a:lnTo>
                    <a:pt x="250" y="758"/>
                  </a:lnTo>
                  <a:lnTo>
                    <a:pt x="265" y="772"/>
                  </a:lnTo>
                  <a:lnTo>
                    <a:pt x="267" y="794"/>
                  </a:lnTo>
                  <a:lnTo>
                    <a:pt x="272" y="808"/>
                  </a:lnTo>
                  <a:lnTo>
                    <a:pt x="295" y="812"/>
                  </a:lnTo>
                  <a:lnTo>
                    <a:pt x="317" y="812"/>
                  </a:lnTo>
                  <a:lnTo>
                    <a:pt x="324" y="798"/>
                  </a:lnTo>
                  <a:lnTo>
                    <a:pt x="321" y="779"/>
                  </a:lnTo>
                  <a:lnTo>
                    <a:pt x="314" y="763"/>
                  </a:lnTo>
                  <a:lnTo>
                    <a:pt x="321" y="739"/>
                  </a:lnTo>
                  <a:lnTo>
                    <a:pt x="338" y="732"/>
                  </a:lnTo>
                  <a:lnTo>
                    <a:pt x="357" y="744"/>
                  </a:lnTo>
                  <a:lnTo>
                    <a:pt x="369" y="758"/>
                  </a:lnTo>
                  <a:lnTo>
                    <a:pt x="390" y="758"/>
                  </a:lnTo>
                  <a:lnTo>
                    <a:pt x="416" y="756"/>
                  </a:lnTo>
                  <a:lnTo>
                    <a:pt x="437" y="756"/>
                  </a:lnTo>
                  <a:lnTo>
                    <a:pt x="456" y="761"/>
                  </a:lnTo>
                  <a:lnTo>
                    <a:pt x="477" y="782"/>
                  </a:lnTo>
                  <a:lnTo>
                    <a:pt x="491" y="791"/>
                  </a:lnTo>
                  <a:lnTo>
                    <a:pt x="513" y="789"/>
                  </a:lnTo>
                  <a:lnTo>
                    <a:pt x="522" y="775"/>
                  </a:lnTo>
                  <a:lnTo>
                    <a:pt x="522" y="735"/>
                  </a:lnTo>
                  <a:lnTo>
                    <a:pt x="517" y="706"/>
                  </a:lnTo>
                  <a:lnTo>
                    <a:pt x="527" y="680"/>
                  </a:lnTo>
                  <a:lnTo>
                    <a:pt x="546" y="671"/>
                  </a:lnTo>
                  <a:lnTo>
                    <a:pt x="565" y="671"/>
                  </a:lnTo>
                  <a:lnTo>
                    <a:pt x="581" y="692"/>
                  </a:lnTo>
                  <a:lnTo>
                    <a:pt x="583" y="723"/>
                  </a:lnTo>
                  <a:lnTo>
                    <a:pt x="598" y="732"/>
                  </a:lnTo>
                  <a:lnTo>
                    <a:pt x="628" y="732"/>
                  </a:lnTo>
                  <a:lnTo>
                    <a:pt x="647" y="725"/>
                  </a:lnTo>
                  <a:lnTo>
                    <a:pt x="680" y="723"/>
                  </a:lnTo>
                  <a:lnTo>
                    <a:pt x="716" y="730"/>
                  </a:lnTo>
                  <a:lnTo>
                    <a:pt x="742" y="742"/>
                  </a:lnTo>
                  <a:lnTo>
                    <a:pt x="770" y="746"/>
                  </a:lnTo>
                  <a:lnTo>
                    <a:pt x="782" y="746"/>
                  </a:lnTo>
                  <a:lnTo>
                    <a:pt x="775" y="694"/>
                  </a:lnTo>
                  <a:lnTo>
                    <a:pt x="782" y="671"/>
                  </a:lnTo>
                  <a:lnTo>
                    <a:pt x="798" y="657"/>
                  </a:lnTo>
                  <a:lnTo>
                    <a:pt x="817" y="659"/>
                  </a:lnTo>
                  <a:lnTo>
                    <a:pt x="839" y="657"/>
                  </a:lnTo>
                  <a:lnTo>
                    <a:pt x="860" y="638"/>
                  </a:lnTo>
                  <a:lnTo>
                    <a:pt x="883" y="612"/>
                  </a:lnTo>
                  <a:lnTo>
                    <a:pt x="893" y="590"/>
                  </a:lnTo>
                  <a:lnTo>
                    <a:pt x="888" y="572"/>
                  </a:lnTo>
                  <a:lnTo>
                    <a:pt x="874" y="546"/>
                  </a:lnTo>
                  <a:lnTo>
                    <a:pt x="869" y="520"/>
                  </a:lnTo>
                  <a:lnTo>
                    <a:pt x="881" y="503"/>
                  </a:lnTo>
                  <a:lnTo>
                    <a:pt x="895" y="501"/>
                  </a:lnTo>
                  <a:lnTo>
                    <a:pt x="921" y="498"/>
                  </a:lnTo>
                  <a:lnTo>
                    <a:pt x="957" y="484"/>
                  </a:lnTo>
                  <a:lnTo>
                    <a:pt x="987" y="470"/>
                  </a:lnTo>
                  <a:lnTo>
                    <a:pt x="1023" y="456"/>
                  </a:lnTo>
                  <a:lnTo>
                    <a:pt x="1032" y="430"/>
                  </a:lnTo>
                  <a:lnTo>
                    <a:pt x="1030" y="394"/>
                  </a:lnTo>
                  <a:lnTo>
                    <a:pt x="1016" y="378"/>
                  </a:lnTo>
                  <a:lnTo>
                    <a:pt x="983" y="373"/>
                  </a:lnTo>
                  <a:lnTo>
                    <a:pt x="973" y="364"/>
                  </a:lnTo>
                  <a:lnTo>
                    <a:pt x="973" y="345"/>
                  </a:lnTo>
                  <a:lnTo>
                    <a:pt x="966" y="324"/>
                  </a:lnTo>
                  <a:lnTo>
                    <a:pt x="943" y="319"/>
                  </a:lnTo>
                  <a:lnTo>
                    <a:pt x="921" y="328"/>
                  </a:lnTo>
                  <a:lnTo>
                    <a:pt x="917" y="364"/>
                  </a:lnTo>
                  <a:lnTo>
                    <a:pt x="907" y="380"/>
                  </a:lnTo>
                  <a:lnTo>
                    <a:pt x="888" y="399"/>
                  </a:lnTo>
                  <a:lnTo>
                    <a:pt x="865" y="404"/>
                  </a:lnTo>
                  <a:lnTo>
                    <a:pt x="843" y="387"/>
                  </a:lnTo>
                  <a:lnTo>
                    <a:pt x="834" y="366"/>
                  </a:lnTo>
                  <a:lnTo>
                    <a:pt x="815" y="368"/>
                  </a:lnTo>
                  <a:lnTo>
                    <a:pt x="801" y="383"/>
                  </a:lnTo>
                  <a:lnTo>
                    <a:pt x="782" y="385"/>
                  </a:lnTo>
                  <a:lnTo>
                    <a:pt x="761" y="364"/>
                  </a:lnTo>
                  <a:lnTo>
                    <a:pt x="737" y="352"/>
                  </a:lnTo>
                  <a:lnTo>
                    <a:pt x="716" y="359"/>
                  </a:lnTo>
                  <a:lnTo>
                    <a:pt x="695" y="371"/>
                  </a:lnTo>
                  <a:lnTo>
                    <a:pt x="678" y="352"/>
                  </a:lnTo>
                  <a:lnTo>
                    <a:pt x="664" y="345"/>
                  </a:lnTo>
                  <a:lnTo>
                    <a:pt x="640" y="352"/>
                  </a:lnTo>
                  <a:lnTo>
                    <a:pt x="607" y="340"/>
                  </a:lnTo>
                  <a:lnTo>
                    <a:pt x="593" y="312"/>
                  </a:lnTo>
                  <a:lnTo>
                    <a:pt x="586" y="281"/>
                  </a:lnTo>
                  <a:lnTo>
                    <a:pt x="591" y="250"/>
                  </a:lnTo>
                  <a:lnTo>
                    <a:pt x="602" y="243"/>
                  </a:lnTo>
                  <a:lnTo>
                    <a:pt x="609" y="227"/>
                  </a:lnTo>
                  <a:lnTo>
                    <a:pt x="607" y="210"/>
                  </a:lnTo>
                  <a:lnTo>
                    <a:pt x="581" y="189"/>
                  </a:lnTo>
                  <a:lnTo>
                    <a:pt x="572" y="177"/>
                  </a:lnTo>
                  <a:lnTo>
                    <a:pt x="579" y="158"/>
                  </a:lnTo>
                  <a:lnTo>
                    <a:pt x="576" y="142"/>
                  </a:lnTo>
                  <a:lnTo>
                    <a:pt x="555" y="132"/>
                  </a:lnTo>
                  <a:lnTo>
                    <a:pt x="510" y="135"/>
                  </a:lnTo>
                  <a:lnTo>
                    <a:pt x="489" y="137"/>
                  </a:lnTo>
                  <a:lnTo>
                    <a:pt x="463" y="130"/>
                  </a:lnTo>
                  <a:lnTo>
                    <a:pt x="439" y="109"/>
                  </a:lnTo>
                  <a:lnTo>
                    <a:pt x="428" y="85"/>
                  </a:lnTo>
                  <a:lnTo>
                    <a:pt x="409" y="68"/>
                  </a:lnTo>
                  <a:lnTo>
                    <a:pt x="387" y="57"/>
                  </a:lnTo>
                  <a:lnTo>
                    <a:pt x="380" y="31"/>
                  </a:lnTo>
                  <a:lnTo>
                    <a:pt x="364" y="16"/>
                  </a:lnTo>
                  <a:lnTo>
                    <a:pt x="338" y="5"/>
                  </a:lnTo>
                  <a:lnTo>
                    <a:pt x="317" y="0"/>
                  </a:lnTo>
                  <a:lnTo>
                    <a:pt x="302" y="12"/>
                  </a:lnTo>
                  <a:close/>
                </a:path>
              </a:pathLst>
            </a:custGeom>
            <a:pattFill prst="dkHorz">
              <a:fgClr>
                <a:schemeClr val="accent2"/>
              </a:fgClr>
              <a:bgClr>
                <a:schemeClr val="bg1"/>
              </a:bgClr>
            </a:pattFill>
            <a:ln w="9525" cap="rnd"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p>
              <a:endParaRPr lang="en-US" dirty="0"/>
            </a:p>
          </p:txBody>
        </p:sp>
        <p:sp>
          <p:nvSpPr>
            <p:cNvPr id="8635" name="Freeform 29">
              <a:extLst>
                <a:ext uri="{FF2B5EF4-FFF2-40B4-BE49-F238E27FC236}">
                  <a16:creationId xmlns:a16="http://schemas.microsoft.com/office/drawing/2014/main" id="{A35FB829-72FD-4615-A925-B22C2F5B4677}"/>
                </a:ext>
              </a:extLst>
            </p:cNvPr>
            <p:cNvSpPr>
              <a:spLocks/>
            </p:cNvSpPr>
            <p:nvPr/>
          </p:nvSpPr>
          <p:spPr bwMode="gray">
            <a:xfrm>
              <a:off x="-6119813" y="2116138"/>
              <a:ext cx="1384300" cy="2100263"/>
            </a:xfrm>
            <a:custGeom>
              <a:avLst/>
              <a:gdLst/>
              <a:ahLst/>
              <a:cxnLst>
                <a:cxn ang="0">
                  <a:pos x="572" y="69"/>
                </a:cxn>
                <a:cxn ang="0">
                  <a:pos x="494" y="83"/>
                </a:cxn>
                <a:cxn ang="0">
                  <a:pos x="451" y="146"/>
                </a:cxn>
                <a:cxn ang="0">
                  <a:pos x="350" y="182"/>
                </a:cxn>
                <a:cxn ang="0">
                  <a:pos x="357" y="229"/>
                </a:cxn>
                <a:cxn ang="0">
                  <a:pos x="333" y="321"/>
                </a:cxn>
                <a:cxn ang="0">
                  <a:pos x="291" y="368"/>
                </a:cxn>
                <a:cxn ang="0">
                  <a:pos x="236" y="442"/>
                </a:cxn>
                <a:cxn ang="0">
                  <a:pos x="149" y="527"/>
                </a:cxn>
                <a:cxn ang="0">
                  <a:pos x="144" y="595"/>
                </a:cxn>
                <a:cxn ang="0">
                  <a:pos x="125" y="659"/>
                </a:cxn>
                <a:cxn ang="0">
                  <a:pos x="69" y="680"/>
                </a:cxn>
                <a:cxn ang="0">
                  <a:pos x="97" y="768"/>
                </a:cxn>
                <a:cxn ang="0">
                  <a:pos x="88" y="836"/>
                </a:cxn>
                <a:cxn ang="0">
                  <a:pos x="0" y="921"/>
                </a:cxn>
                <a:cxn ang="0">
                  <a:pos x="78" y="961"/>
                </a:cxn>
                <a:cxn ang="0">
                  <a:pos x="163" y="959"/>
                </a:cxn>
                <a:cxn ang="0">
                  <a:pos x="208" y="1046"/>
                </a:cxn>
                <a:cxn ang="0">
                  <a:pos x="208" y="1110"/>
                </a:cxn>
                <a:cxn ang="0">
                  <a:pos x="189" y="1167"/>
                </a:cxn>
                <a:cxn ang="0">
                  <a:pos x="229" y="1240"/>
                </a:cxn>
                <a:cxn ang="0">
                  <a:pos x="277" y="1202"/>
                </a:cxn>
                <a:cxn ang="0">
                  <a:pos x="295" y="1252"/>
                </a:cxn>
                <a:cxn ang="0">
                  <a:pos x="362" y="1257"/>
                </a:cxn>
                <a:cxn ang="0">
                  <a:pos x="347" y="1290"/>
                </a:cxn>
                <a:cxn ang="0">
                  <a:pos x="366" y="1323"/>
                </a:cxn>
                <a:cxn ang="0">
                  <a:pos x="409" y="1278"/>
                </a:cxn>
                <a:cxn ang="0">
                  <a:pos x="440" y="1219"/>
                </a:cxn>
                <a:cxn ang="0">
                  <a:pos x="451" y="1124"/>
                </a:cxn>
                <a:cxn ang="0">
                  <a:pos x="435" y="1035"/>
                </a:cxn>
                <a:cxn ang="0">
                  <a:pos x="432" y="964"/>
                </a:cxn>
                <a:cxn ang="0">
                  <a:pos x="482" y="905"/>
                </a:cxn>
                <a:cxn ang="0">
                  <a:pos x="522" y="917"/>
                </a:cxn>
                <a:cxn ang="0">
                  <a:pos x="574" y="924"/>
                </a:cxn>
                <a:cxn ang="0">
                  <a:pos x="614" y="931"/>
                </a:cxn>
                <a:cxn ang="0">
                  <a:pos x="617" y="853"/>
                </a:cxn>
                <a:cxn ang="0">
                  <a:pos x="662" y="865"/>
                </a:cxn>
                <a:cxn ang="0">
                  <a:pos x="725" y="824"/>
                </a:cxn>
                <a:cxn ang="0">
                  <a:pos x="716" y="775"/>
                </a:cxn>
                <a:cxn ang="0">
                  <a:pos x="749" y="735"/>
                </a:cxn>
                <a:cxn ang="0">
                  <a:pos x="777" y="737"/>
                </a:cxn>
                <a:cxn ang="0">
                  <a:pos x="829" y="664"/>
                </a:cxn>
                <a:cxn ang="0">
                  <a:pos x="839" y="595"/>
                </a:cxn>
                <a:cxn ang="0">
                  <a:pos x="801" y="633"/>
                </a:cxn>
                <a:cxn ang="0">
                  <a:pos x="801" y="543"/>
                </a:cxn>
                <a:cxn ang="0">
                  <a:pos x="851" y="413"/>
                </a:cxn>
                <a:cxn ang="0">
                  <a:pos x="858" y="361"/>
                </a:cxn>
                <a:cxn ang="0">
                  <a:pos x="851" y="253"/>
                </a:cxn>
                <a:cxn ang="0">
                  <a:pos x="794" y="224"/>
                </a:cxn>
                <a:cxn ang="0">
                  <a:pos x="749" y="175"/>
                </a:cxn>
                <a:cxn ang="0">
                  <a:pos x="744" y="208"/>
                </a:cxn>
                <a:cxn ang="0">
                  <a:pos x="695" y="224"/>
                </a:cxn>
                <a:cxn ang="0">
                  <a:pos x="659" y="175"/>
                </a:cxn>
                <a:cxn ang="0">
                  <a:pos x="704" y="111"/>
                </a:cxn>
                <a:cxn ang="0">
                  <a:pos x="721" y="76"/>
                </a:cxn>
                <a:cxn ang="0">
                  <a:pos x="718" y="26"/>
                </a:cxn>
                <a:cxn ang="0">
                  <a:pos x="612" y="0"/>
                </a:cxn>
              </a:cxnLst>
              <a:rect l="0" t="0" r="r" b="b"/>
              <a:pathLst>
                <a:path w="872" h="1323">
                  <a:moveTo>
                    <a:pt x="612" y="0"/>
                  </a:moveTo>
                  <a:lnTo>
                    <a:pt x="603" y="14"/>
                  </a:lnTo>
                  <a:lnTo>
                    <a:pt x="595" y="43"/>
                  </a:lnTo>
                  <a:lnTo>
                    <a:pt x="572" y="69"/>
                  </a:lnTo>
                  <a:lnTo>
                    <a:pt x="548" y="92"/>
                  </a:lnTo>
                  <a:lnTo>
                    <a:pt x="525" y="104"/>
                  </a:lnTo>
                  <a:lnTo>
                    <a:pt x="510" y="94"/>
                  </a:lnTo>
                  <a:lnTo>
                    <a:pt x="494" y="83"/>
                  </a:lnTo>
                  <a:lnTo>
                    <a:pt x="470" y="85"/>
                  </a:lnTo>
                  <a:lnTo>
                    <a:pt x="456" y="104"/>
                  </a:lnTo>
                  <a:lnTo>
                    <a:pt x="454" y="123"/>
                  </a:lnTo>
                  <a:lnTo>
                    <a:pt x="451" y="146"/>
                  </a:lnTo>
                  <a:lnTo>
                    <a:pt x="440" y="163"/>
                  </a:lnTo>
                  <a:lnTo>
                    <a:pt x="418" y="163"/>
                  </a:lnTo>
                  <a:lnTo>
                    <a:pt x="376" y="165"/>
                  </a:lnTo>
                  <a:lnTo>
                    <a:pt x="350" y="182"/>
                  </a:lnTo>
                  <a:lnTo>
                    <a:pt x="333" y="198"/>
                  </a:lnTo>
                  <a:lnTo>
                    <a:pt x="329" y="215"/>
                  </a:lnTo>
                  <a:lnTo>
                    <a:pt x="343" y="222"/>
                  </a:lnTo>
                  <a:lnTo>
                    <a:pt x="357" y="229"/>
                  </a:lnTo>
                  <a:lnTo>
                    <a:pt x="359" y="253"/>
                  </a:lnTo>
                  <a:lnTo>
                    <a:pt x="355" y="281"/>
                  </a:lnTo>
                  <a:lnTo>
                    <a:pt x="345" y="302"/>
                  </a:lnTo>
                  <a:lnTo>
                    <a:pt x="333" y="321"/>
                  </a:lnTo>
                  <a:lnTo>
                    <a:pt x="305" y="321"/>
                  </a:lnTo>
                  <a:lnTo>
                    <a:pt x="281" y="326"/>
                  </a:lnTo>
                  <a:lnTo>
                    <a:pt x="281" y="347"/>
                  </a:lnTo>
                  <a:lnTo>
                    <a:pt x="291" y="368"/>
                  </a:lnTo>
                  <a:lnTo>
                    <a:pt x="288" y="385"/>
                  </a:lnTo>
                  <a:lnTo>
                    <a:pt x="262" y="399"/>
                  </a:lnTo>
                  <a:lnTo>
                    <a:pt x="253" y="411"/>
                  </a:lnTo>
                  <a:lnTo>
                    <a:pt x="236" y="442"/>
                  </a:lnTo>
                  <a:lnTo>
                    <a:pt x="220" y="451"/>
                  </a:lnTo>
                  <a:lnTo>
                    <a:pt x="189" y="463"/>
                  </a:lnTo>
                  <a:lnTo>
                    <a:pt x="158" y="494"/>
                  </a:lnTo>
                  <a:lnTo>
                    <a:pt x="149" y="527"/>
                  </a:lnTo>
                  <a:lnTo>
                    <a:pt x="137" y="550"/>
                  </a:lnTo>
                  <a:lnTo>
                    <a:pt x="142" y="565"/>
                  </a:lnTo>
                  <a:lnTo>
                    <a:pt x="147" y="579"/>
                  </a:lnTo>
                  <a:lnTo>
                    <a:pt x="144" y="595"/>
                  </a:lnTo>
                  <a:lnTo>
                    <a:pt x="135" y="614"/>
                  </a:lnTo>
                  <a:lnTo>
                    <a:pt x="125" y="626"/>
                  </a:lnTo>
                  <a:lnTo>
                    <a:pt x="123" y="640"/>
                  </a:lnTo>
                  <a:lnTo>
                    <a:pt x="125" y="659"/>
                  </a:lnTo>
                  <a:lnTo>
                    <a:pt x="116" y="680"/>
                  </a:lnTo>
                  <a:lnTo>
                    <a:pt x="97" y="683"/>
                  </a:lnTo>
                  <a:lnTo>
                    <a:pt x="83" y="676"/>
                  </a:lnTo>
                  <a:lnTo>
                    <a:pt x="69" y="680"/>
                  </a:lnTo>
                  <a:lnTo>
                    <a:pt x="62" y="706"/>
                  </a:lnTo>
                  <a:lnTo>
                    <a:pt x="64" y="723"/>
                  </a:lnTo>
                  <a:lnTo>
                    <a:pt x="78" y="744"/>
                  </a:lnTo>
                  <a:lnTo>
                    <a:pt x="97" y="768"/>
                  </a:lnTo>
                  <a:lnTo>
                    <a:pt x="114" y="784"/>
                  </a:lnTo>
                  <a:lnTo>
                    <a:pt x="121" y="803"/>
                  </a:lnTo>
                  <a:lnTo>
                    <a:pt x="114" y="822"/>
                  </a:lnTo>
                  <a:lnTo>
                    <a:pt x="88" y="836"/>
                  </a:lnTo>
                  <a:lnTo>
                    <a:pt x="59" y="850"/>
                  </a:lnTo>
                  <a:lnTo>
                    <a:pt x="29" y="874"/>
                  </a:lnTo>
                  <a:lnTo>
                    <a:pt x="12" y="895"/>
                  </a:lnTo>
                  <a:lnTo>
                    <a:pt x="0" y="921"/>
                  </a:lnTo>
                  <a:lnTo>
                    <a:pt x="0" y="940"/>
                  </a:lnTo>
                  <a:lnTo>
                    <a:pt x="14" y="957"/>
                  </a:lnTo>
                  <a:lnTo>
                    <a:pt x="43" y="966"/>
                  </a:lnTo>
                  <a:lnTo>
                    <a:pt x="78" y="961"/>
                  </a:lnTo>
                  <a:lnTo>
                    <a:pt x="99" y="942"/>
                  </a:lnTo>
                  <a:lnTo>
                    <a:pt x="121" y="935"/>
                  </a:lnTo>
                  <a:lnTo>
                    <a:pt x="144" y="938"/>
                  </a:lnTo>
                  <a:lnTo>
                    <a:pt x="163" y="959"/>
                  </a:lnTo>
                  <a:lnTo>
                    <a:pt x="180" y="985"/>
                  </a:lnTo>
                  <a:lnTo>
                    <a:pt x="192" y="1009"/>
                  </a:lnTo>
                  <a:lnTo>
                    <a:pt x="206" y="1030"/>
                  </a:lnTo>
                  <a:lnTo>
                    <a:pt x="208" y="1046"/>
                  </a:lnTo>
                  <a:lnTo>
                    <a:pt x="203" y="1065"/>
                  </a:lnTo>
                  <a:lnTo>
                    <a:pt x="196" y="1077"/>
                  </a:lnTo>
                  <a:lnTo>
                    <a:pt x="196" y="1096"/>
                  </a:lnTo>
                  <a:lnTo>
                    <a:pt x="208" y="1110"/>
                  </a:lnTo>
                  <a:lnTo>
                    <a:pt x="217" y="1127"/>
                  </a:lnTo>
                  <a:lnTo>
                    <a:pt x="213" y="1136"/>
                  </a:lnTo>
                  <a:lnTo>
                    <a:pt x="196" y="1150"/>
                  </a:lnTo>
                  <a:lnTo>
                    <a:pt x="189" y="1167"/>
                  </a:lnTo>
                  <a:lnTo>
                    <a:pt x="192" y="1195"/>
                  </a:lnTo>
                  <a:lnTo>
                    <a:pt x="203" y="1216"/>
                  </a:lnTo>
                  <a:lnTo>
                    <a:pt x="215" y="1233"/>
                  </a:lnTo>
                  <a:lnTo>
                    <a:pt x="229" y="1240"/>
                  </a:lnTo>
                  <a:lnTo>
                    <a:pt x="246" y="1238"/>
                  </a:lnTo>
                  <a:lnTo>
                    <a:pt x="253" y="1221"/>
                  </a:lnTo>
                  <a:lnTo>
                    <a:pt x="262" y="1207"/>
                  </a:lnTo>
                  <a:lnTo>
                    <a:pt x="277" y="1202"/>
                  </a:lnTo>
                  <a:lnTo>
                    <a:pt x="286" y="1205"/>
                  </a:lnTo>
                  <a:lnTo>
                    <a:pt x="293" y="1224"/>
                  </a:lnTo>
                  <a:lnTo>
                    <a:pt x="293" y="1242"/>
                  </a:lnTo>
                  <a:lnTo>
                    <a:pt x="295" y="1252"/>
                  </a:lnTo>
                  <a:lnTo>
                    <a:pt x="312" y="1261"/>
                  </a:lnTo>
                  <a:lnTo>
                    <a:pt x="331" y="1259"/>
                  </a:lnTo>
                  <a:lnTo>
                    <a:pt x="345" y="1252"/>
                  </a:lnTo>
                  <a:lnTo>
                    <a:pt x="362" y="1257"/>
                  </a:lnTo>
                  <a:lnTo>
                    <a:pt x="369" y="1268"/>
                  </a:lnTo>
                  <a:lnTo>
                    <a:pt x="369" y="1276"/>
                  </a:lnTo>
                  <a:lnTo>
                    <a:pt x="359" y="1287"/>
                  </a:lnTo>
                  <a:lnTo>
                    <a:pt x="347" y="1290"/>
                  </a:lnTo>
                  <a:lnTo>
                    <a:pt x="338" y="1299"/>
                  </a:lnTo>
                  <a:lnTo>
                    <a:pt x="336" y="1311"/>
                  </a:lnTo>
                  <a:lnTo>
                    <a:pt x="343" y="1320"/>
                  </a:lnTo>
                  <a:lnTo>
                    <a:pt x="366" y="1323"/>
                  </a:lnTo>
                  <a:lnTo>
                    <a:pt x="390" y="1318"/>
                  </a:lnTo>
                  <a:lnTo>
                    <a:pt x="404" y="1313"/>
                  </a:lnTo>
                  <a:lnTo>
                    <a:pt x="409" y="1297"/>
                  </a:lnTo>
                  <a:lnTo>
                    <a:pt x="409" y="1278"/>
                  </a:lnTo>
                  <a:lnTo>
                    <a:pt x="409" y="1257"/>
                  </a:lnTo>
                  <a:lnTo>
                    <a:pt x="416" y="1242"/>
                  </a:lnTo>
                  <a:lnTo>
                    <a:pt x="432" y="1228"/>
                  </a:lnTo>
                  <a:lnTo>
                    <a:pt x="440" y="1219"/>
                  </a:lnTo>
                  <a:lnTo>
                    <a:pt x="454" y="1202"/>
                  </a:lnTo>
                  <a:lnTo>
                    <a:pt x="458" y="1174"/>
                  </a:lnTo>
                  <a:lnTo>
                    <a:pt x="456" y="1143"/>
                  </a:lnTo>
                  <a:lnTo>
                    <a:pt x="451" y="1124"/>
                  </a:lnTo>
                  <a:lnTo>
                    <a:pt x="442" y="1087"/>
                  </a:lnTo>
                  <a:lnTo>
                    <a:pt x="432" y="1070"/>
                  </a:lnTo>
                  <a:lnTo>
                    <a:pt x="430" y="1051"/>
                  </a:lnTo>
                  <a:lnTo>
                    <a:pt x="435" y="1035"/>
                  </a:lnTo>
                  <a:lnTo>
                    <a:pt x="440" y="1020"/>
                  </a:lnTo>
                  <a:lnTo>
                    <a:pt x="437" y="999"/>
                  </a:lnTo>
                  <a:lnTo>
                    <a:pt x="425" y="983"/>
                  </a:lnTo>
                  <a:lnTo>
                    <a:pt x="432" y="964"/>
                  </a:lnTo>
                  <a:lnTo>
                    <a:pt x="449" y="945"/>
                  </a:lnTo>
                  <a:lnTo>
                    <a:pt x="463" y="928"/>
                  </a:lnTo>
                  <a:lnTo>
                    <a:pt x="470" y="914"/>
                  </a:lnTo>
                  <a:lnTo>
                    <a:pt x="482" y="905"/>
                  </a:lnTo>
                  <a:lnTo>
                    <a:pt x="496" y="907"/>
                  </a:lnTo>
                  <a:lnTo>
                    <a:pt x="503" y="917"/>
                  </a:lnTo>
                  <a:lnTo>
                    <a:pt x="513" y="921"/>
                  </a:lnTo>
                  <a:lnTo>
                    <a:pt x="522" y="917"/>
                  </a:lnTo>
                  <a:lnTo>
                    <a:pt x="532" y="909"/>
                  </a:lnTo>
                  <a:lnTo>
                    <a:pt x="555" y="907"/>
                  </a:lnTo>
                  <a:lnTo>
                    <a:pt x="567" y="912"/>
                  </a:lnTo>
                  <a:lnTo>
                    <a:pt x="574" y="924"/>
                  </a:lnTo>
                  <a:lnTo>
                    <a:pt x="579" y="938"/>
                  </a:lnTo>
                  <a:lnTo>
                    <a:pt x="588" y="942"/>
                  </a:lnTo>
                  <a:lnTo>
                    <a:pt x="605" y="940"/>
                  </a:lnTo>
                  <a:lnTo>
                    <a:pt x="614" y="931"/>
                  </a:lnTo>
                  <a:lnTo>
                    <a:pt x="624" y="912"/>
                  </a:lnTo>
                  <a:lnTo>
                    <a:pt x="624" y="893"/>
                  </a:lnTo>
                  <a:lnTo>
                    <a:pt x="619" y="869"/>
                  </a:lnTo>
                  <a:lnTo>
                    <a:pt x="617" y="853"/>
                  </a:lnTo>
                  <a:lnTo>
                    <a:pt x="621" y="848"/>
                  </a:lnTo>
                  <a:lnTo>
                    <a:pt x="636" y="848"/>
                  </a:lnTo>
                  <a:lnTo>
                    <a:pt x="647" y="855"/>
                  </a:lnTo>
                  <a:lnTo>
                    <a:pt x="662" y="865"/>
                  </a:lnTo>
                  <a:lnTo>
                    <a:pt x="688" y="865"/>
                  </a:lnTo>
                  <a:lnTo>
                    <a:pt x="704" y="855"/>
                  </a:lnTo>
                  <a:lnTo>
                    <a:pt x="718" y="839"/>
                  </a:lnTo>
                  <a:lnTo>
                    <a:pt x="725" y="824"/>
                  </a:lnTo>
                  <a:lnTo>
                    <a:pt x="728" y="810"/>
                  </a:lnTo>
                  <a:lnTo>
                    <a:pt x="723" y="794"/>
                  </a:lnTo>
                  <a:lnTo>
                    <a:pt x="718" y="784"/>
                  </a:lnTo>
                  <a:lnTo>
                    <a:pt x="716" y="775"/>
                  </a:lnTo>
                  <a:lnTo>
                    <a:pt x="718" y="758"/>
                  </a:lnTo>
                  <a:lnTo>
                    <a:pt x="725" y="742"/>
                  </a:lnTo>
                  <a:lnTo>
                    <a:pt x="737" y="732"/>
                  </a:lnTo>
                  <a:lnTo>
                    <a:pt x="749" y="735"/>
                  </a:lnTo>
                  <a:lnTo>
                    <a:pt x="756" y="742"/>
                  </a:lnTo>
                  <a:lnTo>
                    <a:pt x="761" y="749"/>
                  </a:lnTo>
                  <a:lnTo>
                    <a:pt x="768" y="749"/>
                  </a:lnTo>
                  <a:lnTo>
                    <a:pt x="777" y="737"/>
                  </a:lnTo>
                  <a:lnTo>
                    <a:pt x="792" y="720"/>
                  </a:lnTo>
                  <a:lnTo>
                    <a:pt x="808" y="706"/>
                  </a:lnTo>
                  <a:lnTo>
                    <a:pt x="827" y="683"/>
                  </a:lnTo>
                  <a:lnTo>
                    <a:pt x="829" y="664"/>
                  </a:lnTo>
                  <a:lnTo>
                    <a:pt x="839" y="650"/>
                  </a:lnTo>
                  <a:lnTo>
                    <a:pt x="834" y="640"/>
                  </a:lnTo>
                  <a:lnTo>
                    <a:pt x="834" y="617"/>
                  </a:lnTo>
                  <a:lnTo>
                    <a:pt x="839" y="595"/>
                  </a:lnTo>
                  <a:lnTo>
                    <a:pt x="832" y="586"/>
                  </a:lnTo>
                  <a:lnTo>
                    <a:pt x="822" y="593"/>
                  </a:lnTo>
                  <a:lnTo>
                    <a:pt x="820" y="614"/>
                  </a:lnTo>
                  <a:lnTo>
                    <a:pt x="801" y="633"/>
                  </a:lnTo>
                  <a:lnTo>
                    <a:pt x="784" y="628"/>
                  </a:lnTo>
                  <a:lnTo>
                    <a:pt x="775" y="612"/>
                  </a:lnTo>
                  <a:lnTo>
                    <a:pt x="777" y="583"/>
                  </a:lnTo>
                  <a:lnTo>
                    <a:pt x="801" y="543"/>
                  </a:lnTo>
                  <a:lnTo>
                    <a:pt x="806" y="510"/>
                  </a:lnTo>
                  <a:lnTo>
                    <a:pt x="808" y="468"/>
                  </a:lnTo>
                  <a:lnTo>
                    <a:pt x="829" y="435"/>
                  </a:lnTo>
                  <a:lnTo>
                    <a:pt x="851" y="413"/>
                  </a:lnTo>
                  <a:lnTo>
                    <a:pt x="867" y="399"/>
                  </a:lnTo>
                  <a:lnTo>
                    <a:pt x="872" y="387"/>
                  </a:lnTo>
                  <a:lnTo>
                    <a:pt x="869" y="376"/>
                  </a:lnTo>
                  <a:lnTo>
                    <a:pt x="858" y="361"/>
                  </a:lnTo>
                  <a:lnTo>
                    <a:pt x="855" y="340"/>
                  </a:lnTo>
                  <a:lnTo>
                    <a:pt x="858" y="307"/>
                  </a:lnTo>
                  <a:lnTo>
                    <a:pt x="855" y="274"/>
                  </a:lnTo>
                  <a:lnTo>
                    <a:pt x="851" y="253"/>
                  </a:lnTo>
                  <a:lnTo>
                    <a:pt x="844" y="241"/>
                  </a:lnTo>
                  <a:lnTo>
                    <a:pt x="829" y="236"/>
                  </a:lnTo>
                  <a:lnTo>
                    <a:pt x="808" y="234"/>
                  </a:lnTo>
                  <a:lnTo>
                    <a:pt x="794" y="224"/>
                  </a:lnTo>
                  <a:lnTo>
                    <a:pt x="782" y="210"/>
                  </a:lnTo>
                  <a:lnTo>
                    <a:pt x="780" y="189"/>
                  </a:lnTo>
                  <a:lnTo>
                    <a:pt x="782" y="175"/>
                  </a:lnTo>
                  <a:lnTo>
                    <a:pt x="749" y="175"/>
                  </a:lnTo>
                  <a:lnTo>
                    <a:pt x="740" y="180"/>
                  </a:lnTo>
                  <a:lnTo>
                    <a:pt x="740" y="189"/>
                  </a:lnTo>
                  <a:lnTo>
                    <a:pt x="742" y="198"/>
                  </a:lnTo>
                  <a:lnTo>
                    <a:pt x="744" y="208"/>
                  </a:lnTo>
                  <a:lnTo>
                    <a:pt x="737" y="222"/>
                  </a:lnTo>
                  <a:lnTo>
                    <a:pt x="728" y="224"/>
                  </a:lnTo>
                  <a:lnTo>
                    <a:pt x="709" y="227"/>
                  </a:lnTo>
                  <a:lnTo>
                    <a:pt x="695" y="224"/>
                  </a:lnTo>
                  <a:lnTo>
                    <a:pt x="676" y="215"/>
                  </a:lnTo>
                  <a:lnTo>
                    <a:pt x="659" y="206"/>
                  </a:lnTo>
                  <a:lnTo>
                    <a:pt x="655" y="189"/>
                  </a:lnTo>
                  <a:lnTo>
                    <a:pt x="659" y="175"/>
                  </a:lnTo>
                  <a:lnTo>
                    <a:pt x="666" y="165"/>
                  </a:lnTo>
                  <a:lnTo>
                    <a:pt x="702" y="144"/>
                  </a:lnTo>
                  <a:lnTo>
                    <a:pt x="706" y="130"/>
                  </a:lnTo>
                  <a:lnTo>
                    <a:pt x="704" y="111"/>
                  </a:lnTo>
                  <a:lnTo>
                    <a:pt x="697" y="102"/>
                  </a:lnTo>
                  <a:lnTo>
                    <a:pt x="697" y="85"/>
                  </a:lnTo>
                  <a:lnTo>
                    <a:pt x="706" y="73"/>
                  </a:lnTo>
                  <a:lnTo>
                    <a:pt x="721" y="76"/>
                  </a:lnTo>
                  <a:lnTo>
                    <a:pt x="732" y="71"/>
                  </a:lnTo>
                  <a:lnTo>
                    <a:pt x="735" y="61"/>
                  </a:lnTo>
                  <a:lnTo>
                    <a:pt x="730" y="47"/>
                  </a:lnTo>
                  <a:lnTo>
                    <a:pt x="718" y="26"/>
                  </a:lnTo>
                  <a:lnTo>
                    <a:pt x="704" y="17"/>
                  </a:lnTo>
                  <a:lnTo>
                    <a:pt x="673" y="17"/>
                  </a:lnTo>
                  <a:lnTo>
                    <a:pt x="640" y="14"/>
                  </a:lnTo>
                  <a:lnTo>
                    <a:pt x="612" y="0"/>
                  </a:lnTo>
                  <a:close/>
                </a:path>
              </a:pathLst>
            </a:custGeom>
            <a:pattFill prst="dkVert">
              <a:fgClr>
                <a:schemeClr val="accent2"/>
              </a:fgClr>
              <a:bgClr>
                <a:schemeClr val="bg1"/>
              </a:bgClr>
            </a:pattFill>
            <a:ln w="9525" cap="rnd"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p>
              <a:endParaRPr lang="en-US" dirty="0"/>
            </a:p>
          </p:txBody>
        </p:sp>
        <p:sp>
          <p:nvSpPr>
            <p:cNvPr id="8636" name="Freeform 30">
              <a:extLst>
                <a:ext uri="{FF2B5EF4-FFF2-40B4-BE49-F238E27FC236}">
                  <a16:creationId xmlns:a16="http://schemas.microsoft.com/office/drawing/2014/main" id="{81B803D6-5407-4041-AFFD-8F77B6B40516}"/>
                </a:ext>
              </a:extLst>
            </p:cNvPr>
            <p:cNvSpPr>
              <a:spLocks/>
            </p:cNvSpPr>
            <p:nvPr/>
          </p:nvSpPr>
          <p:spPr bwMode="gray">
            <a:xfrm>
              <a:off x="-7143750" y="2776538"/>
              <a:ext cx="1398587" cy="1863725"/>
            </a:xfrm>
            <a:custGeom>
              <a:avLst/>
              <a:gdLst/>
              <a:ahLst/>
              <a:cxnLst>
                <a:cxn ang="0">
                  <a:pos x="747" y="115"/>
                </a:cxn>
                <a:cxn ang="0">
                  <a:pos x="699" y="52"/>
                </a:cxn>
                <a:cxn ang="0">
                  <a:pos x="657" y="2"/>
                </a:cxn>
                <a:cxn ang="0">
                  <a:pos x="614" y="40"/>
                </a:cxn>
                <a:cxn ang="0">
                  <a:pos x="525" y="113"/>
                </a:cxn>
                <a:cxn ang="0">
                  <a:pos x="418" y="186"/>
                </a:cxn>
                <a:cxn ang="0">
                  <a:pos x="383" y="205"/>
                </a:cxn>
                <a:cxn ang="0">
                  <a:pos x="326" y="224"/>
                </a:cxn>
                <a:cxn ang="0">
                  <a:pos x="310" y="257"/>
                </a:cxn>
                <a:cxn ang="0">
                  <a:pos x="267" y="269"/>
                </a:cxn>
                <a:cxn ang="0">
                  <a:pos x="241" y="319"/>
                </a:cxn>
                <a:cxn ang="0">
                  <a:pos x="201" y="290"/>
                </a:cxn>
                <a:cxn ang="0">
                  <a:pos x="125" y="316"/>
                </a:cxn>
                <a:cxn ang="0">
                  <a:pos x="69" y="342"/>
                </a:cxn>
                <a:cxn ang="0">
                  <a:pos x="24" y="408"/>
                </a:cxn>
                <a:cxn ang="0">
                  <a:pos x="12" y="453"/>
                </a:cxn>
                <a:cxn ang="0">
                  <a:pos x="3" y="515"/>
                </a:cxn>
                <a:cxn ang="0">
                  <a:pos x="40" y="569"/>
                </a:cxn>
                <a:cxn ang="0">
                  <a:pos x="97" y="619"/>
                </a:cxn>
                <a:cxn ang="0">
                  <a:pos x="128" y="673"/>
                </a:cxn>
                <a:cxn ang="0">
                  <a:pos x="95" y="732"/>
                </a:cxn>
                <a:cxn ang="0">
                  <a:pos x="111" y="770"/>
                </a:cxn>
                <a:cxn ang="0">
                  <a:pos x="170" y="779"/>
                </a:cxn>
                <a:cxn ang="0">
                  <a:pos x="246" y="767"/>
                </a:cxn>
                <a:cxn ang="0">
                  <a:pos x="298" y="749"/>
                </a:cxn>
                <a:cxn ang="0">
                  <a:pos x="357" y="756"/>
                </a:cxn>
                <a:cxn ang="0">
                  <a:pos x="416" y="784"/>
                </a:cxn>
                <a:cxn ang="0">
                  <a:pos x="437" y="843"/>
                </a:cxn>
                <a:cxn ang="0">
                  <a:pos x="425" y="874"/>
                </a:cxn>
                <a:cxn ang="0">
                  <a:pos x="442" y="930"/>
                </a:cxn>
                <a:cxn ang="0">
                  <a:pos x="418" y="987"/>
                </a:cxn>
                <a:cxn ang="0">
                  <a:pos x="449" y="1025"/>
                </a:cxn>
                <a:cxn ang="0">
                  <a:pos x="480" y="1075"/>
                </a:cxn>
                <a:cxn ang="0">
                  <a:pos x="553" y="1112"/>
                </a:cxn>
                <a:cxn ang="0">
                  <a:pos x="617" y="1089"/>
                </a:cxn>
                <a:cxn ang="0">
                  <a:pos x="678" y="1122"/>
                </a:cxn>
                <a:cxn ang="0">
                  <a:pos x="733" y="1150"/>
                </a:cxn>
                <a:cxn ang="0">
                  <a:pos x="773" y="1157"/>
                </a:cxn>
                <a:cxn ang="0">
                  <a:pos x="825" y="1070"/>
                </a:cxn>
                <a:cxn ang="0">
                  <a:pos x="853" y="992"/>
                </a:cxn>
                <a:cxn ang="0">
                  <a:pos x="853" y="956"/>
                </a:cxn>
                <a:cxn ang="0">
                  <a:pos x="881" y="909"/>
                </a:cxn>
                <a:cxn ang="0">
                  <a:pos x="860" y="857"/>
                </a:cxn>
                <a:cxn ang="0">
                  <a:pos x="860" y="817"/>
                </a:cxn>
                <a:cxn ang="0">
                  <a:pos x="834" y="751"/>
                </a:cxn>
                <a:cxn ang="0">
                  <a:pos x="862" y="711"/>
                </a:cxn>
                <a:cxn ang="0">
                  <a:pos x="841" y="661"/>
                </a:cxn>
                <a:cxn ang="0">
                  <a:pos x="851" y="614"/>
                </a:cxn>
                <a:cxn ang="0">
                  <a:pos x="808" y="543"/>
                </a:cxn>
                <a:cxn ang="0">
                  <a:pos x="744" y="526"/>
                </a:cxn>
                <a:cxn ang="0">
                  <a:pos x="659" y="541"/>
                </a:cxn>
                <a:cxn ang="0">
                  <a:pos x="657" y="479"/>
                </a:cxn>
                <a:cxn ang="0">
                  <a:pos x="733" y="420"/>
                </a:cxn>
                <a:cxn ang="0">
                  <a:pos x="759" y="368"/>
                </a:cxn>
                <a:cxn ang="0">
                  <a:pos x="709" y="307"/>
                </a:cxn>
                <a:cxn ang="0">
                  <a:pos x="728" y="260"/>
                </a:cxn>
                <a:cxn ang="0">
                  <a:pos x="770" y="243"/>
                </a:cxn>
                <a:cxn ang="0">
                  <a:pos x="780" y="198"/>
                </a:cxn>
                <a:cxn ang="0">
                  <a:pos x="787" y="149"/>
                </a:cxn>
              </a:cxnLst>
              <a:rect l="0" t="0" r="r" b="b"/>
              <a:pathLst>
                <a:path w="881" h="1174">
                  <a:moveTo>
                    <a:pt x="782" y="134"/>
                  </a:moveTo>
                  <a:lnTo>
                    <a:pt x="763" y="134"/>
                  </a:lnTo>
                  <a:lnTo>
                    <a:pt x="747" y="115"/>
                  </a:lnTo>
                  <a:lnTo>
                    <a:pt x="740" y="85"/>
                  </a:lnTo>
                  <a:lnTo>
                    <a:pt x="730" y="68"/>
                  </a:lnTo>
                  <a:lnTo>
                    <a:pt x="699" y="52"/>
                  </a:lnTo>
                  <a:lnTo>
                    <a:pt x="666" y="28"/>
                  </a:lnTo>
                  <a:lnTo>
                    <a:pt x="662" y="21"/>
                  </a:lnTo>
                  <a:lnTo>
                    <a:pt x="657" y="2"/>
                  </a:lnTo>
                  <a:lnTo>
                    <a:pt x="645" y="0"/>
                  </a:lnTo>
                  <a:lnTo>
                    <a:pt x="629" y="14"/>
                  </a:lnTo>
                  <a:lnTo>
                    <a:pt x="614" y="40"/>
                  </a:lnTo>
                  <a:lnTo>
                    <a:pt x="596" y="82"/>
                  </a:lnTo>
                  <a:lnTo>
                    <a:pt x="570" y="94"/>
                  </a:lnTo>
                  <a:lnTo>
                    <a:pt x="525" y="113"/>
                  </a:lnTo>
                  <a:lnTo>
                    <a:pt x="485" y="156"/>
                  </a:lnTo>
                  <a:lnTo>
                    <a:pt x="461" y="165"/>
                  </a:lnTo>
                  <a:lnTo>
                    <a:pt x="418" y="186"/>
                  </a:lnTo>
                  <a:lnTo>
                    <a:pt x="402" y="208"/>
                  </a:lnTo>
                  <a:lnTo>
                    <a:pt x="392" y="212"/>
                  </a:lnTo>
                  <a:lnTo>
                    <a:pt x="383" y="205"/>
                  </a:lnTo>
                  <a:lnTo>
                    <a:pt x="364" y="198"/>
                  </a:lnTo>
                  <a:lnTo>
                    <a:pt x="345" y="208"/>
                  </a:lnTo>
                  <a:lnTo>
                    <a:pt x="326" y="224"/>
                  </a:lnTo>
                  <a:lnTo>
                    <a:pt x="324" y="241"/>
                  </a:lnTo>
                  <a:lnTo>
                    <a:pt x="317" y="255"/>
                  </a:lnTo>
                  <a:lnTo>
                    <a:pt x="310" y="257"/>
                  </a:lnTo>
                  <a:lnTo>
                    <a:pt x="293" y="248"/>
                  </a:lnTo>
                  <a:lnTo>
                    <a:pt x="274" y="252"/>
                  </a:lnTo>
                  <a:lnTo>
                    <a:pt x="267" y="269"/>
                  </a:lnTo>
                  <a:lnTo>
                    <a:pt x="265" y="295"/>
                  </a:lnTo>
                  <a:lnTo>
                    <a:pt x="258" y="316"/>
                  </a:lnTo>
                  <a:lnTo>
                    <a:pt x="241" y="319"/>
                  </a:lnTo>
                  <a:lnTo>
                    <a:pt x="229" y="314"/>
                  </a:lnTo>
                  <a:lnTo>
                    <a:pt x="218" y="300"/>
                  </a:lnTo>
                  <a:lnTo>
                    <a:pt x="201" y="290"/>
                  </a:lnTo>
                  <a:lnTo>
                    <a:pt x="185" y="304"/>
                  </a:lnTo>
                  <a:lnTo>
                    <a:pt x="175" y="319"/>
                  </a:lnTo>
                  <a:lnTo>
                    <a:pt x="125" y="316"/>
                  </a:lnTo>
                  <a:lnTo>
                    <a:pt x="107" y="328"/>
                  </a:lnTo>
                  <a:lnTo>
                    <a:pt x="90" y="333"/>
                  </a:lnTo>
                  <a:lnTo>
                    <a:pt x="69" y="342"/>
                  </a:lnTo>
                  <a:lnTo>
                    <a:pt x="57" y="364"/>
                  </a:lnTo>
                  <a:lnTo>
                    <a:pt x="40" y="385"/>
                  </a:lnTo>
                  <a:lnTo>
                    <a:pt x="24" y="408"/>
                  </a:lnTo>
                  <a:lnTo>
                    <a:pt x="7" y="425"/>
                  </a:lnTo>
                  <a:lnTo>
                    <a:pt x="7" y="441"/>
                  </a:lnTo>
                  <a:lnTo>
                    <a:pt x="12" y="453"/>
                  </a:lnTo>
                  <a:lnTo>
                    <a:pt x="7" y="467"/>
                  </a:lnTo>
                  <a:lnTo>
                    <a:pt x="0" y="496"/>
                  </a:lnTo>
                  <a:lnTo>
                    <a:pt x="3" y="515"/>
                  </a:lnTo>
                  <a:lnTo>
                    <a:pt x="19" y="534"/>
                  </a:lnTo>
                  <a:lnTo>
                    <a:pt x="33" y="545"/>
                  </a:lnTo>
                  <a:lnTo>
                    <a:pt x="40" y="569"/>
                  </a:lnTo>
                  <a:lnTo>
                    <a:pt x="55" y="586"/>
                  </a:lnTo>
                  <a:lnTo>
                    <a:pt x="78" y="609"/>
                  </a:lnTo>
                  <a:lnTo>
                    <a:pt x="97" y="619"/>
                  </a:lnTo>
                  <a:lnTo>
                    <a:pt x="114" y="623"/>
                  </a:lnTo>
                  <a:lnTo>
                    <a:pt x="125" y="645"/>
                  </a:lnTo>
                  <a:lnTo>
                    <a:pt x="128" y="673"/>
                  </a:lnTo>
                  <a:lnTo>
                    <a:pt x="121" y="697"/>
                  </a:lnTo>
                  <a:lnTo>
                    <a:pt x="104" y="715"/>
                  </a:lnTo>
                  <a:lnTo>
                    <a:pt x="95" y="732"/>
                  </a:lnTo>
                  <a:lnTo>
                    <a:pt x="97" y="749"/>
                  </a:lnTo>
                  <a:lnTo>
                    <a:pt x="102" y="763"/>
                  </a:lnTo>
                  <a:lnTo>
                    <a:pt x="111" y="770"/>
                  </a:lnTo>
                  <a:lnTo>
                    <a:pt x="130" y="777"/>
                  </a:lnTo>
                  <a:lnTo>
                    <a:pt x="149" y="779"/>
                  </a:lnTo>
                  <a:lnTo>
                    <a:pt x="170" y="779"/>
                  </a:lnTo>
                  <a:lnTo>
                    <a:pt x="192" y="775"/>
                  </a:lnTo>
                  <a:lnTo>
                    <a:pt x="211" y="770"/>
                  </a:lnTo>
                  <a:lnTo>
                    <a:pt x="246" y="767"/>
                  </a:lnTo>
                  <a:lnTo>
                    <a:pt x="272" y="767"/>
                  </a:lnTo>
                  <a:lnTo>
                    <a:pt x="286" y="758"/>
                  </a:lnTo>
                  <a:lnTo>
                    <a:pt x="298" y="749"/>
                  </a:lnTo>
                  <a:lnTo>
                    <a:pt x="314" y="744"/>
                  </a:lnTo>
                  <a:lnTo>
                    <a:pt x="338" y="746"/>
                  </a:lnTo>
                  <a:lnTo>
                    <a:pt x="357" y="756"/>
                  </a:lnTo>
                  <a:lnTo>
                    <a:pt x="376" y="770"/>
                  </a:lnTo>
                  <a:lnTo>
                    <a:pt x="395" y="777"/>
                  </a:lnTo>
                  <a:lnTo>
                    <a:pt x="416" y="784"/>
                  </a:lnTo>
                  <a:lnTo>
                    <a:pt x="430" y="803"/>
                  </a:lnTo>
                  <a:lnTo>
                    <a:pt x="437" y="824"/>
                  </a:lnTo>
                  <a:lnTo>
                    <a:pt x="437" y="843"/>
                  </a:lnTo>
                  <a:lnTo>
                    <a:pt x="430" y="857"/>
                  </a:lnTo>
                  <a:lnTo>
                    <a:pt x="425" y="862"/>
                  </a:lnTo>
                  <a:lnTo>
                    <a:pt x="425" y="874"/>
                  </a:lnTo>
                  <a:lnTo>
                    <a:pt x="428" y="890"/>
                  </a:lnTo>
                  <a:lnTo>
                    <a:pt x="442" y="907"/>
                  </a:lnTo>
                  <a:lnTo>
                    <a:pt x="442" y="930"/>
                  </a:lnTo>
                  <a:lnTo>
                    <a:pt x="437" y="956"/>
                  </a:lnTo>
                  <a:lnTo>
                    <a:pt x="428" y="973"/>
                  </a:lnTo>
                  <a:lnTo>
                    <a:pt x="418" y="987"/>
                  </a:lnTo>
                  <a:lnTo>
                    <a:pt x="416" y="1004"/>
                  </a:lnTo>
                  <a:lnTo>
                    <a:pt x="428" y="1018"/>
                  </a:lnTo>
                  <a:lnTo>
                    <a:pt x="449" y="1025"/>
                  </a:lnTo>
                  <a:lnTo>
                    <a:pt x="466" y="1037"/>
                  </a:lnTo>
                  <a:lnTo>
                    <a:pt x="473" y="1058"/>
                  </a:lnTo>
                  <a:lnTo>
                    <a:pt x="480" y="1075"/>
                  </a:lnTo>
                  <a:lnTo>
                    <a:pt x="492" y="1091"/>
                  </a:lnTo>
                  <a:lnTo>
                    <a:pt x="520" y="1108"/>
                  </a:lnTo>
                  <a:lnTo>
                    <a:pt x="553" y="1112"/>
                  </a:lnTo>
                  <a:lnTo>
                    <a:pt x="584" y="1110"/>
                  </a:lnTo>
                  <a:lnTo>
                    <a:pt x="600" y="1100"/>
                  </a:lnTo>
                  <a:lnTo>
                    <a:pt x="617" y="1089"/>
                  </a:lnTo>
                  <a:lnTo>
                    <a:pt x="638" y="1091"/>
                  </a:lnTo>
                  <a:lnTo>
                    <a:pt x="657" y="1108"/>
                  </a:lnTo>
                  <a:lnTo>
                    <a:pt x="678" y="1122"/>
                  </a:lnTo>
                  <a:lnTo>
                    <a:pt x="697" y="1129"/>
                  </a:lnTo>
                  <a:lnTo>
                    <a:pt x="716" y="1134"/>
                  </a:lnTo>
                  <a:lnTo>
                    <a:pt x="733" y="1150"/>
                  </a:lnTo>
                  <a:lnTo>
                    <a:pt x="749" y="1162"/>
                  </a:lnTo>
                  <a:lnTo>
                    <a:pt x="759" y="1174"/>
                  </a:lnTo>
                  <a:lnTo>
                    <a:pt x="773" y="1157"/>
                  </a:lnTo>
                  <a:lnTo>
                    <a:pt x="787" y="1136"/>
                  </a:lnTo>
                  <a:lnTo>
                    <a:pt x="808" y="1105"/>
                  </a:lnTo>
                  <a:lnTo>
                    <a:pt x="825" y="1070"/>
                  </a:lnTo>
                  <a:lnTo>
                    <a:pt x="829" y="1034"/>
                  </a:lnTo>
                  <a:lnTo>
                    <a:pt x="837" y="999"/>
                  </a:lnTo>
                  <a:lnTo>
                    <a:pt x="853" y="992"/>
                  </a:lnTo>
                  <a:lnTo>
                    <a:pt x="860" y="980"/>
                  </a:lnTo>
                  <a:lnTo>
                    <a:pt x="862" y="966"/>
                  </a:lnTo>
                  <a:lnTo>
                    <a:pt x="853" y="956"/>
                  </a:lnTo>
                  <a:lnTo>
                    <a:pt x="853" y="940"/>
                  </a:lnTo>
                  <a:lnTo>
                    <a:pt x="860" y="926"/>
                  </a:lnTo>
                  <a:lnTo>
                    <a:pt x="881" y="909"/>
                  </a:lnTo>
                  <a:lnTo>
                    <a:pt x="881" y="893"/>
                  </a:lnTo>
                  <a:lnTo>
                    <a:pt x="865" y="876"/>
                  </a:lnTo>
                  <a:lnTo>
                    <a:pt x="860" y="857"/>
                  </a:lnTo>
                  <a:lnTo>
                    <a:pt x="860" y="836"/>
                  </a:lnTo>
                  <a:lnTo>
                    <a:pt x="874" y="824"/>
                  </a:lnTo>
                  <a:lnTo>
                    <a:pt x="860" y="817"/>
                  </a:lnTo>
                  <a:lnTo>
                    <a:pt x="848" y="800"/>
                  </a:lnTo>
                  <a:lnTo>
                    <a:pt x="837" y="779"/>
                  </a:lnTo>
                  <a:lnTo>
                    <a:pt x="834" y="751"/>
                  </a:lnTo>
                  <a:lnTo>
                    <a:pt x="841" y="734"/>
                  </a:lnTo>
                  <a:lnTo>
                    <a:pt x="858" y="720"/>
                  </a:lnTo>
                  <a:lnTo>
                    <a:pt x="862" y="711"/>
                  </a:lnTo>
                  <a:lnTo>
                    <a:pt x="853" y="694"/>
                  </a:lnTo>
                  <a:lnTo>
                    <a:pt x="841" y="680"/>
                  </a:lnTo>
                  <a:lnTo>
                    <a:pt x="841" y="661"/>
                  </a:lnTo>
                  <a:lnTo>
                    <a:pt x="848" y="649"/>
                  </a:lnTo>
                  <a:lnTo>
                    <a:pt x="853" y="630"/>
                  </a:lnTo>
                  <a:lnTo>
                    <a:pt x="851" y="614"/>
                  </a:lnTo>
                  <a:lnTo>
                    <a:pt x="837" y="593"/>
                  </a:lnTo>
                  <a:lnTo>
                    <a:pt x="825" y="569"/>
                  </a:lnTo>
                  <a:lnTo>
                    <a:pt x="808" y="543"/>
                  </a:lnTo>
                  <a:lnTo>
                    <a:pt x="789" y="522"/>
                  </a:lnTo>
                  <a:lnTo>
                    <a:pt x="766" y="519"/>
                  </a:lnTo>
                  <a:lnTo>
                    <a:pt x="744" y="526"/>
                  </a:lnTo>
                  <a:lnTo>
                    <a:pt x="723" y="545"/>
                  </a:lnTo>
                  <a:lnTo>
                    <a:pt x="688" y="550"/>
                  </a:lnTo>
                  <a:lnTo>
                    <a:pt x="659" y="541"/>
                  </a:lnTo>
                  <a:lnTo>
                    <a:pt x="645" y="524"/>
                  </a:lnTo>
                  <a:lnTo>
                    <a:pt x="645" y="505"/>
                  </a:lnTo>
                  <a:lnTo>
                    <a:pt x="657" y="479"/>
                  </a:lnTo>
                  <a:lnTo>
                    <a:pt x="674" y="458"/>
                  </a:lnTo>
                  <a:lnTo>
                    <a:pt x="704" y="434"/>
                  </a:lnTo>
                  <a:lnTo>
                    <a:pt x="733" y="420"/>
                  </a:lnTo>
                  <a:lnTo>
                    <a:pt x="759" y="406"/>
                  </a:lnTo>
                  <a:lnTo>
                    <a:pt x="766" y="387"/>
                  </a:lnTo>
                  <a:lnTo>
                    <a:pt x="759" y="368"/>
                  </a:lnTo>
                  <a:lnTo>
                    <a:pt x="742" y="352"/>
                  </a:lnTo>
                  <a:lnTo>
                    <a:pt x="723" y="328"/>
                  </a:lnTo>
                  <a:lnTo>
                    <a:pt x="709" y="307"/>
                  </a:lnTo>
                  <a:lnTo>
                    <a:pt x="707" y="290"/>
                  </a:lnTo>
                  <a:lnTo>
                    <a:pt x="714" y="264"/>
                  </a:lnTo>
                  <a:lnTo>
                    <a:pt x="728" y="260"/>
                  </a:lnTo>
                  <a:lnTo>
                    <a:pt x="742" y="267"/>
                  </a:lnTo>
                  <a:lnTo>
                    <a:pt x="761" y="264"/>
                  </a:lnTo>
                  <a:lnTo>
                    <a:pt x="770" y="243"/>
                  </a:lnTo>
                  <a:lnTo>
                    <a:pt x="768" y="224"/>
                  </a:lnTo>
                  <a:lnTo>
                    <a:pt x="770" y="210"/>
                  </a:lnTo>
                  <a:lnTo>
                    <a:pt x="780" y="198"/>
                  </a:lnTo>
                  <a:lnTo>
                    <a:pt x="789" y="179"/>
                  </a:lnTo>
                  <a:lnTo>
                    <a:pt x="792" y="163"/>
                  </a:lnTo>
                  <a:lnTo>
                    <a:pt x="787" y="149"/>
                  </a:lnTo>
                  <a:lnTo>
                    <a:pt x="782" y="134"/>
                  </a:lnTo>
                  <a:close/>
                </a:path>
              </a:pathLst>
            </a:custGeom>
            <a:pattFill prst="ltHorz">
              <a:fgClr>
                <a:schemeClr val="accent2"/>
              </a:fgClr>
              <a:bgClr>
                <a:schemeClr val="bg1"/>
              </a:bgClr>
            </a:pattFill>
            <a:ln w="9525" cap="rnd"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p>
              <a:endParaRPr lang="en-US" dirty="0"/>
            </a:p>
          </p:txBody>
        </p:sp>
        <p:sp>
          <p:nvSpPr>
            <p:cNvPr id="8637" name="Freeform 31">
              <a:extLst>
                <a:ext uri="{FF2B5EF4-FFF2-40B4-BE49-F238E27FC236}">
                  <a16:creationId xmlns:a16="http://schemas.microsoft.com/office/drawing/2014/main" id="{1CADF519-2346-4AB3-A1D8-CB81F38D7E1F}"/>
                </a:ext>
              </a:extLst>
            </p:cNvPr>
            <p:cNvSpPr>
              <a:spLocks/>
            </p:cNvSpPr>
            <p:nvPr/>
          </p:nvSpPr>
          <p:spPr bwMode="gray">
            <a:xfrm>
              <a:off x="-7050088" y="3957638"/>
              <a:ext cx="608012" cy="487363"/>
            </a:xfrm>
            <a:custGeom>
              <a:avLst/>
              <a:gdLst/>
              <a:ahLst/>
              <a:cxnLst>
                <a:cxn ang="0">
                  <a:pos x="36" y="26"/>
                </a:cxn>
                <a:cxn ang="0">
                  <a:pos x="5" y="42"/>
                </a:cxn>
                <a:cxn ang="0">
                  <a:pos x="7" y="78"/>
                </a:cxn>
                <a:cxn ang="0">
                  <a:pos x="48" y="87"/>
                </a:cxn>
                <a:cxn ang="0">
                  <a:pos x="78" y="104"/>
                </a:cxn>
                <a:cxn ang="0">
                  <a:pos x="85" y="134"/>
                </a:cxn>
                <a:cxn ang="0">
                  <a:pos x="95" y="182"/>
                </a:cxn>
                <a:cxn ang="0">
                  <a:pos x="133" y="229"/>
                </a:cxn>
                <a:cxn ang="0">
                  <a:pos x="161" y="274"/>
                </a:cxn>
                <a:cxn ang="0">
                  <a:pos x="187" y="257"/>
                </a:cxn>
                <a:cxn ang="0">
                  <a:pos x="208" y="238"/>
                </a:cxn>
                <a:cxn ang="0">
                  <a:pos x="227" y="267"/>
                </a:cxn>
                <a:cxn ang="0">
                  <a:pos x="246" y="295"/>
                </a:cxn>
                <a:cxn ang="0">
                  <a:pos x="267" y="283"/>
                </a:cxn>
                <a:cxn ang="0">
                  <a:pos x="286" y="286"/>
                </a:cxn>
                <a:cxn ang="0">
                  <a:pos x="317" y="307"/>
                </a:cxn>
                <a:cxn ang="0">
                  <a:pos x="357" y="300"/>
                </a:cxn>
                <a:cxn ang="0">
                  <a:pos x="369" y="274"/>
                </a:cxn>
                <a:cxn ang="0">
                  <a:pos x="359" y="243"/>
                </a:cxn>
                <a:cxn ang="0">
                  <a:pos x="378" y="212"/>
                </a:cxn>
                <a:cxn ang="0">
                  <a:pos x="383" y="163"/>
                </a:cxn>
                <a:cxn ang="0">
                  <a:pos x="366" y="130"/>
                </a:cxn>
                <a:cxn ang="0">
                  <a:pos x="371" y="113"/>
                </a:cxn>
                <a:cxn ang="0">
                  <a:pos x="378" y="80"/>
                </a:cxn>
                <a:cxn ang="0">
                  <a:pos x="357" y="40"/>
                </a:cxn>
                <a:cxn ang="0">
                  <a:pos x="317" y="26"/>
                </a:cxn>
                <a:cxn ang="0">
                  <a:pos x="279" y="2"/>
                </a:cxn>
                <a:cxn ang="0">
                  <a:pos x="239" y="5"/>
                </a:cxn>
                <a:cxn ang="0">
                  <a:pos x="213" y="23"/>
                </a:cxn>
                <a:cxn ang="0">
                  <a:pos x="152" y="26"/>
                </a:cxn>
                <a:cxn ang="0">
                  <a:pos x="111" y="35"/>
                </a:cxn>
                <a:cxn ang="0">
                  <a:pos x="71" y="33"/>
                </a:cxn>
                <a:cxn ang="0">
                  <a:pos x="43" y="19"/>
                </a:cxn>
              </a:cxnLst>
              <a:rect l="0" t="0" r="r" b="b"/>
              <a:pathLst>
                <a:path w="383" h="307">
                  <a:moveTo>
                    <a:pt x="43" y="19"/>
                  </a:moveTo>
                  <a:lnTo>
                    <a:pt x="36" y="26"/>
                  </a:lnTo>
                  <a:lnTo>
                    <a:pt x="14" y="33"/>
                  </a:lnTo>
                  <a:lnTo>
                    <a:pt x="5" y="42"/>
                  </a:lnTo>
                  <a:lnTo>
                    <a:pt x="0" y="59"/>
                  </a:lnTo>
                  <a:lnTo>
                    <a:pt x="7" y="78"/>
                  </a:lnTo>
                  <a:lnTo>
                    <a:pt x="31" y="90"/>
                  </a:lnTo>
                  <a:lnTo>
                    <a:pt x="48" y="87"/>
                  </a:lnTo>
                  <a:lnTo>
                    <a:pt x="66" y="92"/>
                  </a:lnTo>
                  <a:lnTo>
                    <a:pt x="78" y="104"/>
                  </a:lnTo>
                  <a:lnTo>
                    <a:pt x="85" y="116"/>
                  </a:lnTo>
                  <a:lnTo>
                    <a:pt x="85" y="134"/>
                  </a:lnTo>
                  <a:lnTo>
                    <a:pt x="83" y="156"/>
                  </a:lnTo>
                  <a:lnTo>
                    <a:pt x="95" y="182"/>
                  </a:lnTo>
                  <a:lnTo>
                    <a:pt x="118" y="208"/>
                  </a:lnTo>
                  <a:lnTo>
                    <a:pt x="133" y="229"/>
                  </a:lnTo>
                  <a:lnTo>
                    <a:pt x="142" y="260"/>
                  </a:lnTo>
                  <a:lnTo>
                    <a:pt x="161" y="274"/>
                  </a:lnTo>
                  <a:lnTo>
                    <a:pt x="175" y="271"/>
                  </a:lnTo>
                  <a:lnTo>
                    <a:pt x="187" y="257"/>
                  </a:lnTo>
                  <a:lnTo>
                    <a:pt x="194" y="241"/>
                  </a:lnTo>
                  <a:lnTo>
                    <a:pt x="208" y="238"/>
                  </a:lnTo>
                  <a:lnTo>
                    <a:pt x="222" y="250"/>
                  </a:lnTo>
                  <a:lnTo>
                    <a:pt x="227" y="267"/>
                  </a:lnTo>
                  <a:lnTo>
                    <a:pt x="234" y="281"/>
                  </a:lnTo>
                  <a:lnTo>
                    <a:pt x="246" y="295"/>
                  </a:lnTo>
                  <a:lnTo>
                    <a:pt x="258" y="295"/>
                  </a:lnTo>
                  <a:lnTo>
                    <a:pt x="267" y="283"/>
                  </a:lnTo>
                  <a:lnTo>
                    <a:pt x="277" y="279"/>
                  </a:lnTo>
                  <a:lnTo>
                    <a:pt x="286" y="286"/>
                  </a:lnTo>
                  <a:lnTo>
                    <a:pt x="296" y="297"/>
                  </a:lnTo>
                  <a:lnTo>
                    <a:pt x="317" y="307"/>
                  </a:lnTo>
                  <a:lnTo>
                    <a:pt x="340" y="307"/>
                  </a:lnTo>
                  <a:lnTo>
                    <a:pt x="357" y="300"/>
                  </a:lnTo>
                  <a:lnTo>
                    <a:pt x="364" y="288"/>
                  </a:lnTo>
                  <a:lnTo>
                    <a:pt x="369" y="274"/>
                  </a:lnTo>
                  <a:lnTo>
                    <a:pt x="357" y="260"/>
                  </a:lnTo>
                  <a:lnTo>
                    <a:pt x="359" y="243"/>
                  </a:lnTo>
                  <a:lnTo>
                    <a:pt x="369" y="229"/>
                  </a:lnTo>
                  <a:lnTo>
                    <a:pt x="378" y="212"/>
                  </a:lnTo>
                  <a:lnTo>
                    <a:pt x="383" y="186"/>
                  </a:lnTo>
                  <a:lnTo>
                    <a:pt x="383" y="163"/>
                  </a:lnTo>
                  <a:lnTo>
                    <a:pt x="369" y="146"/>
                  </a:lnTo>
                  <a:lnTo>
                    <a:pt x="366" y="130"/>
                  </a:lnTo>
                  <a:lnTo>
                    <a:pt x="366" y="118"/>
                  </a:lnTo>
                  <a:lnTo>
                    <a:pt x="371" y="113"/>
                  </a:lnTo>
                  <a:lnTo>
                    <a:pt x="378" y="99"/>
                  </a:lnTo>
                  <a:lnTo>
                    <a:pt x="378" y="80"/>
                  </a:lnTo>
                  <a:lnTo>
                    <a:pt x="371" y="59"/>
                  </a:lnTo>
                  <a:lnTo>
                    <a:pt x="357" y="40"/>
                  </a:lnTo>
                  <a:lnTo>
                    <a:pt x="336" y="33"/>
                  </a:lnTo>
                  <a:lnTo>
                    <a:pt x="317" y="26"/>
                  </a:lnTo>
                  <a:lnTo>
                    <a:pt x="298" y="12"/>
                  </a:lnTo>
                  <a:lnTo>
                    <a:pt x="279" y="2"/>
                  </a:lnTo>
                  <a:lnTo>
                    <a:pt x="255" y="0"/>
                  </a:lnTo>
                  <a:lnTo>
                    <a:pt x="239" y="5"/>
                  </a:lnTo>
                  <a:lnTo>
                    <a:pt x="227" y="14"/>
                  </a:lnTo>
                  <a:lnTo>
                    <a:pt x="213" y="23"/>
                  </a:lnTo>
                  <a:lnTo>
                    <a:pt x="187" y="23"/>
                  </a:lnTo>
                  <a:lnTo>
                    <a:pt x="152" y="26"/>
                  </a:lnTo>
                  <a:lnTo>
                    <a:pt x="133" y="31"/>
                  </a:lnTo>
                  <a:lnTo>
                    <a:pt x="111" y="35"/>
                  </a:lnTo>
                  <a:lnTo>
                    <a:pt x="90" y="35"/>
                  </a:lnTo>
                  <a:lnTo>
                    <a:pt x="71" y="33"/>
                  </a:lnTo>
                  <a:lnTo>
                    <a:pt x="52" y="26"/>
                  </a:lnTo>
                  <a:lnTo>
                    <a:pt x="43" y="19"/>
                  </a:lnTo>
                  <a:close/>
                </a:path>
              </a:pathLst>
            </a:custGeom>
            <a:pattFill prst="ltVert">
              <a:fgClr>
                <a:schemeClr val="accent2"/>
              </a:fgClr>
              <a:bgClr>
                <a:schemeClr val="bg1"/>
              </a:bgClr>
            </a:pattFill>
            <a:ln w="9525" cap="rnd"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p>
              <a:endParaRPr lang="en-US" dirty="0"/>
            </a:p>
          </p:txBody>
        </p:sp>
        <p:sp>
          <p:nvSpPr>
            <p:cNvPr id="8638" name="Freeform 32">
              <a:extLst>
                <a:ext uri="{FF2B5EF4-FFF2-40B4-BE49-F238E27FC236}">
                  <a16:creationId xmlns:a16="http://schemas.microsoft.com/office/drawing/2014/main" id="{61E9AD07-132B-4370-BB08-7291E1751C41}"/>
                </a:ext>
              </a:extLst>
            </p:cNvPr>
            <p:cNvSpPr>
              <a:spLocks/>
            </p:cNvSpPr>
            <p:nvPr/>
          </p:nvSpPr>
          <p:spPr bwMode="gray">
            <a:xfrm>
              <a:off x="-6461125" y="3863975"/>
              <a:ext cx="1879600" cy="2081213"/>
            </a:xfrm>
            <a:custGeom>
              <a:avLst/>
              <a:gdLst/>
              <a:ahLst/>
              <a:cxnLst>
                <a:cxn ang="0">
                  <a:pos x="624" y="156"/>
                </a:cxn>
                <a:cxn ang="0">
                  <a:pos x="581" y="222"/>
                </a:cxn>
                <a:cxn ang="0">
                  <a:pos x="574" y="186"/>
                </a:cxn>
                <a:cxn ang="0">
                  <a:pos x="546" y="158"/>
                </a:cxn>
                <a:cxn ang="0">
                  <a:pos x="501" y="104"/>
                </a:cxn>
                <a:cxn ang="0">
                  <a:pos x="430" y="151"/>
                </a:cxn>
                <a:cxn ang="0">
                  <a:pos x="430" y="241"/>
                </a:cxn>
                <a:cxn ang="0">
                  <a:pos x="423" y="307"/>
                </a:cxn>
                <a:cxn ang="0">
                  <a:pos x="357" y="451"/>
                </a:cxn>
                <a:cxn ang="0">
                  <a:pos x="300" y="555"/>
                </a:cxn>
                <a:cxn ang="0">
                  <a:pos x="246" y="612"/>
                </a:cxn>
                <a:cxn ang="0">
                  <a:pos x="156" y="723"/>
                </a:cxn>
                <a:cxn ang="0">
                  <a:pos x="106" y="864"/>
                </a:cxn>
                <a:cxn ang="0">
                  <a:pos x="55" y="982"/>
                </a:cxn>
                <a:cxn ang="0">
                  <a:pos x="38" y="1103"/>
                </a:cxn>
                <a:cxn ang="0">
                  <a:pos x="7" y="1176"/>
                </a:cxn>
                <a:cxn ang="0">
                  <a:pos x="57" y="1238"/>
                </a:cxn>
                <a:cxn ang="0">
                  <a:pos x="92" y="1289"/>
                </a:cxn>
                <a:cxn ang="0">
                  <a:pos x="144" y="1273"/>
                </a:cxn>
                <a:cxn ang="0">
                  <a:pos x="244" y="1261"/>
                </a:cxn>
                <a:cxn ang="0">
                  <a:pos x="310" y="1275"/>
                </a:cxn>
                <a:cxn ang="0">
                  <a:pos x="390" y="1271"/>
                </a:cxn>
                <a:cxn ang="0">
                  <a:pos x="340" y="1235"/>
                </a:cxn>
                <a:cxn ang="0">
                  <a:pos x="404" y="1155"/>
                </a:cxn>
                <a:cxn ang="0">
                  <a:pos x="470" y="1178"/>
                </a:cxn>
                <a:cxn ang="0">
                  <a:pos x="480" y="1219"/>
                </a:cxn>
                <a:cxn ang="0">
                  <a:pos x="508" y="1233"/>
                </a:cxn>
                <a:cxn ang="0">
                  <a:pos x="588" y="1212"/>
                </a:cxn>
                <a:cxn ang="0">
                  <a:pos x="657" y="1249"/>
                </a:cxn>
                <a:cxn ang="0">
                  <a:pos x="617" y="1193"/>
                </a:cxn>
                <a:cxn ang="0">
                  <a:pos x="624" y="1171"/>
                </a:cxn>
                <a:cxn ang="0">
                  <a:pos x="733" y="1233"/>
                </a:cxn>
                <a:cxn ang="0">
                  <a:pos x="808" y="1259"/>
                </a:cxn>
                <a:cxn ang="0">
                  <a:pos x="898" y="1306"/>
                </a:cxn>
                <a:cxn ang="0">
                  <a:pos x="971" y="1259"/>
                </a:cxn>
                <a:cxn ang="0">
                  <a:pos x="1009" y="1214"/>
                </a:cxn>
                <a:cxn ang="0">
                  <a:pos x="1028" y="1089"/>
                </a:cxn>
                <a:cxn ang="0">
                  <a:pos x="1033" y="954"/>
                </a:cxn>
                <a:cxn ang="0">
                  <a:pos x="999" y="822"/>
                </a:cxn>
                <a:cxn ang="0">
                  <a:pos x="1089" y="789"/>
                </a:cxn>
                <a:cxn ang="0">
                  <a:pos x="1101" y="697"/>
                </a:cxn>
                <a:cxn ang="0">
                  <a:pos x="1141" y="697"/>
                </a:cxn>
                <a:cxn ang="0">
                  <a:pos x="1148" y="633"/>
                </a:cxn>
                <a:cxn ang="0">
                  <a:pos x="1174" y="529"/>
                </a:cxn>
                <a:cxn ang="0">
                  <a:pos x="1089" y="408"/>
                </a:cxn>
                <a:cxn ang="0">
                  <a:pos x="1073" y="260"/>
                </a:cxn>
                <a:cxn ang="0">
                  <a:pos x="1042" y="167"/>
                </a:cxn>
                <a:cxn ang="0">
                  <a:pos x="985" y="160"/>
                </a:cxn>
                <a:cxn ang="0">
                  <a:pos x="952" y="80"/>
                </a:cxn>
                <a:cxn ang="0">
                  <a:pos x="886" y="19"/>
                </a:cxn>
                <a:cxn ang="0">
                  <a:pos x="740" y="14"/>
                </a:cxn>
                <a:cxn ang="0">
                  <a:pos x="773" y="82"/>
                </a:cxn>
                <a:cxn ang="0">
                  <a:pos x="678" y="113"/>
                </a:cxn>
              </a:cxnLst>
              <a:rect l="0" t="0" r="r" b="b"/>
              <a:pathLst>
                <a:path w="1184" h="1311">
                  <a:moveTo>
                    <a:pt x="669" y="101"/>
                  </a:moveTo>
                  <a:lnTo>
                    <a:pt x="655" y="118"/>
                  </a:lnTo>
                  <a:lnTo>
                    <a:pt x="647" y="127"/>
                  </a:lnTo>
                  <a:lnTo>
                    <a:pt x="631" y="141"/>
                  </a:lnTo>
                  <a:lnTo>
                    <a:pt x="624" y="156"/>
                  </a:lnTo>
                  <a:lnTo>
                    <a:pt x="624" y="177"/>
                  </a:lnTo>
                  <a:lnTo>
                    <a:pt x="624" y="196"/>
                  </a:lnTo>
                  <a:lnTo>
                    <a:pt x="619" y="212"/>
                  </a:lnTo>
                  <a:lnTo>
                    <a:pt x="605" y="217"/>
                  </a:lnTo>
                  <a:lnTo>
                    <a:pt x="581" y="222"/>
                  </a:lnTo>
                  <a:lnTo>
                    <a:pt x="558" y="219"/>
                  </a:lnTo>
                  <a:lnTo>
                    <a:pt x="551" y="210"/>
                  </a:lnTo>
                  <a:lnTo>
                    <a:pt x="553" y="198"/>
                  </a:lnTo>
                  <a:lnTo>
                    <a:pt x="562" y="189"/>
                  </a:lnTo>
                  <a:lnTo>
                    <a:pt x="574" y="186"/>
                  </a:lnTo>
                  <a:lnTo>
                    <a:pt x="584" y="175"/>
                  </a:lnTo>
                  <a:lnTo>
                    <a:pt x="584" y="167"/>
                  </a:lnTo>
                  <a:lnTo>
                    <a:pt x="577" y="156"/>
                  </a:lnTo>
                  <a:lnTo>
                    <a:pt x="560" y="151"/>
                  </a:lnTo>
                  <a:lnTo>
                    <a:pt x="546" y="158"/>
                  </a:lnTo>
                  <a:lnTo>
                    <a:pt x="527" y="160"/>
                  </a:lnTo>
                  <a:lnTo>
                    <a:pt x="510" y="151"/>
                  </a:lnTo>
                  <a:lnTo>
                    <a:pt x="508" y="141"/>
                  </a:lnTo>
                  <a:lnTo>
                    <a:pt x="508" y="123"/>
                  </a:lnTo>
                  <a:lnTo>
                    <a:pt x="501" y="104"/>
                  </a:lnTo>
                  <a:lnTo>
                    <a:pt x="492" y="101"/>
                  </a:lnTo>
                  <a:lnTo>
                    <a:pt x="477" y="106"/>
                  </a:lnTo>
                  <a:lnTo>
                    <a:pt x="461" y="137"/>
                  </a:lnTo>
                  <a:lnTo>
                    <a:pt x="444" y="139"/>
                  </a:lnTo>
                  <a:lnTo>
                    <a:pt x="430" y="151"/>
                  </a:lnTo>
                  <a:lnTo>
                    <a:pt x="430" y="172"/>
                  </a:lnTo>
                  <a:lnTo>
                    <a:pt x="435" y="191"/>
                  </a:lnTo>
                  <a:lnTo>
                    <a:pt x="451" y="208"/>
                  </a:lnTo>
                  <a:lnTo>
                    <a:pt x="451" y="224"/>
                  </a:lnTo>
                  <a:lnTo>
                    <a:pt x="430" y="241"/>
                  </a:lnTo>
                  <a:lnTo>
                    <a:pt x="423" y="255"/>
                  </a:lnTo>
                  <a:lnTo>
                    <a:pt x="423" y="271"/>
                  </a:lnTo>
                  <a:lnTo>
                    <a:pt x="432" y="281"/>
                  </a:lnTo>
                  <a:lnTo>
                    <a:pt x="430" y="295"/>
                  </a:lnTo>
                  <a:lnTo>
                    <a:pt x="423" y="307"/>
                  </a:lnTo>
                  <a:lnTo>
                    <a:pt x="407" y="314"/>
                  </a:lnTo>
                  <a:lnTo>
                    <a:pt x="399" y="349"/>
                  </a:lnTo>
                  <a:lnTo>
                    <a:pt x="395" y="385"/>
                  </a:lnTo>
                  <a:lnTo>
                    <a:pt x="378" y="420"/>
                  </a:lnTo>
                  <a:lnTo>
                    <a:pt x="357" y="451"/>
                  </a:lnTo>
                  <a:lnTo>
                    <a:pt x="343" y="472"/>
                  </a:lnTo>
                  <a:lnTo>
                    <a:pt x="329" y="489"/>
                  </a:lnTo>
                  <a:lnTo>
                    <a:pt x="317" y="508"/>
                  </a:lnTo>
                  <a:lnTo>
                    <a:pt x="303" y="529"/>
                  </a:lnTo>
                  <a:lnTo>
                    <a:pt x="300" y="555"/>
                  </a:lnTo>
                  <a:lnTo>
                    <a:pt x="295" y="578"/>
                  </a:lnTo>
                  <a:lnTo>
                    <a:pt x="291" y="595"/>
                  </a:lnTo>
                  <a:lnTo>
                    <a:pt x="284" y="602"/>
                  </a:lnTo>
                  <a:lnTo>
                    <a:pt x="265" y="609"/>
                  </a:lnTo>
                  <a:lnTo>
                    <a:pt x="246" y="612"/>
                  </a:lnTo>
                  <a:lnTo>
                    <a:pt x="232" y="621"/>
                  </a:lnTo>
                  <a:lnTo>
                    <a:pt x="213" y="645"/>
                  </a:lnTo>
                  <a:lnTo>
                    <a:pt x="187" y="671"/>
                  </a:lnTo>
                  <a:lnTo>
                    <a:pt x="170" y="697"/>
                  </a:lnTo>
                  <a:lnTo>
                    <a:pt x="156" y="723"/>
                  </a:lnTo>
                  <a:lnTo>
                    <a:pt x="147" y="760"/>
                  </a:lnTo>
                  <a:lnTo>
                    <a:pt x="135" y="786"/>
                  </a:lnTo>
                  <a:lnTo>
                    <a:pt x="123" y="805"/>
                  </a:lnTo>
                  <a:lnTo>
                    <a:pt x="111" y="831"/>
                  </a:lnTo>
                  <a:lnTo>
                    <a:pt x="106" y="864"/>
                  </a:lnTo>
                  <a:lnTo>
                    <a:pt x="104" y="878"/>
                  </a:lnTo>
                  <a:lnTo>
                    <a:pt x="95" y="904"/>
                  </a:lnTo>
                  <a:lnTo>
                    <a:pt x="76" y="935"/>
                  </a:lnTo>
                  <a:lnTo>
                    <a:pt x="62" y="961"/>
                  </a:lnTo>
                  <a:lnTo>
                    <a:pt x="55" y="982"/>
                  </a:lnTo>
                  <a:lnTo>
                    <a:pt x="52" y="1001"/>
                  </a:lnTo>
                  <a:lnTo>
                    <a:pt x="52" y="1051"/>
                  </a:lnTo>
                  <a:lnTo>
                    <a:pt x="50" y="1072"/>
                  </a:lnTo>
                  <a:lnTo>
                    <a:pt x="45" y="1089"/>
                  </a:lnTo>
                  <a:lnTo>
                    <a:pt x="38" y="1103"/>
                  </a:lnTo>
                  <a:lnTo>
                    <a:pt x="19" y="1115"/>
                  </a:lnTo>
                  <a:lnTo>
                    <a:pt x="7" y="1124"/>
                  </a:lnTo>
                  <a:lnTo>
                    <a:pt x="0" y="1138"/>
                  </a:lnTo>
                  <a:lnTo>
                    <a:pt x="3" y="1157"/>
                  </a:lnTo>
                  <a:lnTo>
                    <a:pt x="7" y="1176"/>
                  </a:lnTo>
                  <a:lnTo>
                    <a:pt x="12" y="1193"/>
                  </a:lnTo>
                  <a:lnTo>
                    <a:pt x="17" y="1219"/>
                  </a:lnTo>
                  <a:lnTo>
                    <a:pt x="21" y="1233"/>
                  </a:lnTo>
                  <a:lnTo>
                    <a:pt x="36" y="1238"/>
                  </a:lnTo>
                  <a:lnTo>
                    <a:pt x="57" y="1238"/>
                  </a:lnTo>
                  <a:lnTo>
                    <a:pt x="69" y="1233"/>
                  </a:lnTo>
                  <a:lnTo>
                    <a:pt x="83" y="1238"/>
                  </a:lnTo>
                  <a:lnTo>
                    <a:pt x="88" y="1254"/>
                  </a:lnTo>
                  <a:lnTo>
                    <a:pt x="88" y="1273"/>
                  </a:lnTo>
                  <a:lnTo>
                    <a:pt x="92" y="1289"/>
                  </a:lnTo>
                  <a:lnTo>
                    <a:pt x="104" y="1297"/>
                  </a:lnTo>
                  <a:lnTo>
                    <a:pt x="116" y="1294"/>
                  </a:lnTo>
                  <a:lnTo>
                    <a:pt x="125" y="1285"/>
                  </a:lnTo>
                  <a:lnTo>
                    <a:pt x="132" y="1273"/>
                  </a:lnTo>
                  <a:lnTo>
                    <a:pt x="144" y="1273"/>
                  </a:lnTo>
                  <a:lnTo>
                    <a:pt x="156" y="1278"/>
                  </a:lnTo>
                  <a:lnTo>
                    <a:pt x="170" y="1282"/>
                  </a:lnTo>
                  <a:lnTo>
                    <a:pt x="201" y="1282"/>
                  </a:lnTo>
                  <a:lnTo>
                    <a:pt x="225" y="1280"/>
                  </a:lnTo>
                  <a:lnTo>
                    <a:pt x="244" y="1261"/>
                  </a:lnTo>
                  <a:lnTo>
                    <a:pt x="251" y="1249"/>
                  </a:lnTo>
                  <a:lnTo>
                    <a:pt x="265" y="1242"/>
                  </a:lnTo>
                  <a:lnTo>
                    <a:pt x="281" y="1245"/>
                  </a:lnTo>
                  <a:lnTo>
                    <a:pt x="295" y="1259"/>
                  </a:lnTo>
                  <a:lnTo>
                    <a:pt x="310" y="1275"/>
                  </a:lnTo>
                  <a:lnTo>
                    <a:pt x="324" y="1285"/>
                  </a:lnTo>
                  <a:lnTo>
                    <a:pt x="338" y="1287"/>
                  </a:lnTo>
                  <a:lnTo>
                    <a:pt x="369" y="1287"/>
                  </a:lnTo>
                  <a:lnTo>
                    <a:pt x="385" y="1282"/>
                  </a:lnTo>
                  <a:lnTo>
                    <a:pt x="390" y="1271"/>
                  </a:lnTo>
                  <a:lnTo>
                    <a:pt x="388" y="1261"/>
                  </a:lnTo>
                  <a:lnTo>
                    <a:pt x="373" y="1252"/>
                  </a:lnTo>
                  <a:lnTo>
                    <a:pt x="357" y="1252"/>
                  </a:lnTo>
                  <a:lnTo>
                    <a:pt x="345" y="1247"/>
                  </a:lnTo>
                  <a:lnTo>
                    <a:pt x="340" y="1235"/>
                  </a:lnTo>
                  <a:lnTo>
                    <a:pt x="345" y="1221"/>
                  </a:lnTo>
                  <a:lnTo>
                    <a:pt x="362" y="1202"/>
                  </a:lnTo>
                  <a:lnTo>
                    <a:pt x="381" y="1178"/>
                  </a:lnTo>
                  <a:lnTo>
                    <a:pt x="392" y="1162"/>
                  </a:lnTo>
                  <a:lnTo>
                    <a:pt x="404" y="1155"/>
                  </a:lnTo>
                  <a:lnTo>
                    <a:pt x="414" y="1155"/>
                  </a:lnTo>
                  <a:lnTo>
                    <a:pt x="428" y="1162"/>
                  </a:lnTo>
                  <a:lnTo>
                    <a:pt x="435" y="1171"/>
                  </a:lnTo>
                  <a:lnTo>
                    <a:pt x="454" y="1176"/>
                  </a:lnTo>
                  <a:lnTo>
                    <a:pt x="470" y="1178"/>
                  </a:lnTo>
                  <a:lnTo>
                    <a:pt x="487" y="1181"/>
                  </a:lnTo>
                  <a:lnTo>
                    <a:pt x="499" y="1190"/>
                  </a:lnTo>
                  <a:lnTo>
                    <a:pt x="499" y="1197"/>
                  </a:lnTo>
                  <a:lnTo>
                    <a:pt x="489" y="1212"/>
                  </a:lnTo>
                  <a:lnTo>
                    <a:pt x="480" y="1219"/>
                  </a:lnTo>
                  <a:lnTo>
                    <a:pt x="473" y="1228"/>
                  </a:lnTo>
                  <a:lnTo>
                    <a:pt x="468" y="1245"/>
                  </a:lnTo>
                  <a:lnTo>
                    <a:pt x="480" y="1254"/>
                  </a:lnTo>
                  <a:lnTo>
                    <a:pt x="496" y="1247"/>
                  </a:lnTo>
                  <a:lnTo>
                    <a:pt x="508" y="1233"/>
                  </a:lnTo>
                  <a:lnTo>
                    <a:pt x="513" y="1219"/>
                  </a:lnTo>
                  <a:lnTo>
                    <a:pt x="520" y="1212"/>
                  </a:lnTo>
                  <a:lnTo>
                    <a:pt x="536" y="1212"/>
                  </a:lnTo>
                  <a:lnTo>
                    <a:pt x="567" y="1214"/>
                  </a:lnTo>
                  <a:lnTo>
                    <a:pt x="588" y="1212"/>
                  </a:lnTo>
                  <a:lnTo>
                    <a:pt x="598" y="1207"/>
                  </a:lnTo>
                  <a:lnTo>
                    <a:pt x="612" y="1209"/>
                  </a:lnTo>
                  <a:lnTo>
                    <a:pt x="624" y="1221"/>
                  </a:lnTo>
                  <a:lnTo>
                    <a:pt x="640" y="1238"/>
                  </a:lnTo>
                  <a:lnTo>
                    <a:pt x="657" y="1249"/>
                  </a:lnTo>
                  <a:lnTo>
                    <a:pt x="669" y="1254"/>
                  </a:lnTo>
                  <a:lnTo>
                    <a:pt x="671" y="1240"/>
                  </a:lnTo>
                  <a:lnTo>
                    <a:pt x="659" y="1226"/>
                  </a:lnTo>
                  <a:lnTo>
                    <a:pt x="643" y="1212"/>
                  </a:lnTo>
                  <a:lnTo>
                    <a:pt x="617" y="1193"/>
                  </a:lnTo>
                  <a:lnTo>
                    <a:pt x="600" y="1183"/>
                  </a:lnTo>
                  <a:lnTo>
                    <a:pt x="591" y="1169"/>
                  </a:lnTo>
                  <a:lnTo>
                    <a:pt x="598" y="1160"/>
                  </a:lnTo>
                  <a:lnTo>
                    <a:pt x="617" y="1164"/>
                  </a:lnTo>
                  <a:lnTo>
                    <a:pt x="624" y="1171"/>
                  </a:lnTo>
                  <a:lnTo>
                    <a:pt x="643" y="1190"/>
                  </a:lnTo>
                  <a:lnTo>
                    <a:pt x="662" y="1204"/>
                  </a:lnTo>
                  <a:lnTo>
                    <a:pt x="678" y="1219"/>
                  </a:lnTo>
                  <a:lnTo>
                    <a:pt x="707" y="1230"/>
                  </a:lnTo>
                  <a:lnTo>
                    <a:pt x="733" y="1233"/>
                  </a:lnTo>
                  <a:lnTo>
                    <a:pt x="747" y="1238"/>
                  </a:lnTo>
                  <a:lnTo>
                    <a:pt x="756" y="1247"/>
                  </a:lnTo>
                  <a:lnTo>
                    <a:pt x="768" y="1252"/>
                  </a:lnTo>
                  <a:lnTo>
                    <a:pt x="792" y="1252"/>
                  </a:lnTo>
                  <a:lnTo>
                    <a:pt x="808" y="1259"/>
                  </a:lnTo>
                  <a:lnTo>
                    <a:pt x="827" y="1282"/>
                  </a:lnTo>
                  <a:lnTo>
                    <a:pt x="839" y="1294"/>
                  </a:lnTo>
                  <a:lnTo>
                    <a:pt x="860" y="1306"/>
                  </a:lnTo>
                  <a:lnTo>
                    <a:pt x="877" y="1311"/>
                  </a:lnTo>
                  <a:lnTo>
                    <a:pt x="898" y="1306"/>
                  </a:lnTo>
                  <a:lnTo>
                    <a:pt x="917" y="1297"/>
                  </a:lnTo>
                  <a:lnTo>
                    <a:pt x="924" y="1282"/>
                  </a:lnTo>
                  <a:lnTo>
                    <a:pt x="936" y="1259"/>
                  </a:lnTo>
                  <a:lnTo>
                    <a:pt x="952" y="1247"/>
                  </a:lnTo>
                  <a:lnTo>
                    <a:pt x="971" y="1259"/>
                  </a:lnTo>
                  <a:lnTo>
                    <a:pt x="992" y="1271"/>
                  </a:lnTo>
                  <a:lnTo>
                    <a:pt x="1018" y="1261"/>
                  </a:lnTo>
                  <a:lnTo>
                    <a:pt x="1028" y="1242"/>
                  </a:lnTo>
                  <a:lnTo>
                    <a:pt x="1023" y="1226"/>
                  </a:lnTo>
                  <a:lnTo>
                    <a:pt x="1009" y="1214"/>
                  </a:lnTo>
                  <a:lnTo>
                    <a:pt x="1009" y="1195"/>
                  </a:lnTo>
                  <a:lnTo>
                    <a:pt x="1021" y="1183"/>
                  </a:lnTo>
                  <a:lnTo>
                    <a:pt x="1023" y="1150"/>
                  </a:lnTo>
                  <a:lnTo>
                    <a:pt x="1030" y="1126"/>
                  </a:lnTo>
                  <a:lnTo>
                    <a:pt x="1028" y="1089"/>
                  </a:lnTo>
                  <a:lnTo>
                    <a:pt x="1023" y="1060"/>
                  </a:lnTo>
                  <a:lnTo>
                    <a:pt x="1016" y="1030"/>
                  </a:lnTo>
                  <a:lnTo>
                    <a:pt x="1018" y="1004"/>
                  </a:lnTo>
                  <a:lnTo>
                    <a:pt x="1028" y="982"/>
                  </a:lnTo>
                  <a:lnTo>
                    <a:pt x="1033" y="954"/>
                  </a:lnTo>
                  <a:lnTo>
                    <a:pt x="1025" y="923"/>
                  </a:lnTo>
                  <a:lnTo>
                    <a:pt x="1014" y="893"/>
                  </a:lnTo>
                  <a:lnTo>
                    <a:pt x="997" y="867"/>
                  </a:lnTo>
                  <a:lnTo>
                    <a:pt x="990" y="843"/>
                  </a:lnTo>
                  <a:lnTo>
                    <a:pt x="999" y="822"/>
                  </a:lnTo>
                  <a:lnTo>
                    <a:pt x="1021" y="824"/>
                  </a:lnTo>
                  <a:lnTo>
                    <a:pt x="1037" y="829"/>
                  </a:lnTo>
                  <a:lnTo>
                    <a:pt x="1051" y="824"/>
                  </a:lnTo>
                  <a:lnTo>
                    <a:pt x="1068" y="805"/>
                  </a:lnTo>
                  <a:lnTo>
                    <a:pt x="1089" y="789"/>
                  </a:lnTo>
                  <a:lnTo>
                    <a:pt x="1108" y="782"/>
                  </a:lnTo>
                  <a:lnTo>
                    <a:pt x="1125" y="763"/>
                  </a:lnTo>
                  <a:lnTo>
                    <a:pt x="1125" y="744"/>
                  </a:lnTo>
                  <a:lnTo>
                    <a:pt x="1115" y="713"/>
                  </a:lnTo>
                  <a:lnTo>
                    <a:pt x="1101" y="697"/>
                  </a:lnTo>
                  <a:lnTo>
                    <a:pt x="1094" y="678"/>
                  </a:lnTo>
                  <a:lnTo>
                    <a:pt x="1099" y="659"/>
                  </a:lnTo>
                  <a:lnTo>
                    <a:pt x="1113" y="656"/>
                  </a:lnTo>
                  <a:lnTo>
                    <a:pt x="1127" y="680"/>
                  </a:lnTo>
                  <a:lnTo>
                    <a:pt x="1141" y="697"/>
                  </a:lnTo>
                  <a:lnTo>
                    <a:pt x="1170" y="701"/>
                  </a:lnTo>
                  <a:lnTo>
                    <a:pt x="1184" y="689"/>
                  </a:lnTo>
                  <a:lnTo>
                    <a:pt x="1179" y="668"/>
                  </a:lnTo>
                  <a:lnTo>
                    <a:pt x="1160" y="652"/>
                  </a:lnTo>
                  <a:lnTo>
                    <a:pt x="1148" y="633"/>
                  </a:lnTo>
                  <a:lnTo>
                    <a:pt x="1148" y="614"/>
                  </a:lnTo>
                  <a:lnTo>
                    <a:pt x="1158" y="597"/>
                  </a:lnTo>
                  <a:lnTo>
                    <a:pt x="1172" y="581"/>
                  </a:lnTo>
                  <a:lnTo>
                    <a:pt x="1177" y="557"/>
                  </a:lnTo>
                  <a:lnTo>
                    <a:pt x="1174" y="529"/>
                  </a:lnTo>
                  <a:lnTo>
                    <a:pt x="1170" y="512"/>
                  </a:lnTo>
                  <a:lnTo>
                    <a:pt x="1155" y="496"/>
                  </a:lnTo>
                  <a:lnTo>
                    <a:pt x="1141" y="470"/>
                  </a:lnTo>
                  <a:lnTo>
                    <a:pt x="1118" y="434"/>
                  </a:lnTo>
                  <a:lnTo>
                    <a:pt x="1089" y="408"/>
                  </a:lnTo>
                  <a:lnTo>
                    <a:pt x="1070" y="390"/>
                  </a:lnTo>
                  <a:lnTo>
                    <a:pt x="1061" y="371"/>
                  </a:lnTo>
                  <a:lnTo>
                    <a:pt x="1059" y="338"/>
                  </a:lnTo>
                  <a:lnTo>
                    <a:pt x="1066" y="295"/>
                  </a:lnTo>
                  <a:lnTo>
                    <a:pt x="1073" y="260"/>
                  </a:lnTo>
                  <a:lnTo>
                    <a:pt x="1082" y="234"/>
                  </a:lnTo>
                  <a:lnTo>
                    <a:pt x="1084" y="196"/>
                  </a:lnTo>
                  <a:lnTo>
                    <a:pt x="1077" y="172"/>
                  </a:lnTo>
                  <a:lnTo>
                    <a:pt x="1061" y="163"/>
                  </a:lnTo>
                  <a:lnTo>
                    <a:pt x="1042" y="167"/>
                  </a:lnTo>
                  <a:lnTo>
                    <a:pt x="1023" y="184"/>
                  </a:lnTo>
                  <a:lnTo>
                    <a:pt x="1011" y="193"/>
                  </a:lnTo>
                  <a:lnTo>
                    <a:pt x="995" y="191"/>
                  </a:lnTo>
                  <a:lnTo>
                    <a:pt x="985" y="177"/>
                  </a:lnTo>
                  <a:lnTo>
                    <a:pt x="985" y="160"/>
                  </a:lnTo>
                  <a:lnTo>
                    <a:pt x="973" y="146"/>
                  </a:lnTo>
                  <a:lnTo>
                    <a:pt x="959" y="130"/>
                  </a:lnTo>
                  <a:lnTo>
                    <a:pt x="955" y="118"/>
                  </a:lnTo>
                  <a:lnTo>
                    <a:pt x="955" y="99"/>
                  </a:lnTo>
                  <a:lnTo>
                    <a:pt x="952" y="80"/>
                  </a:lnTo>
                  <a:lnTo>
                    <a:pt x="940" y="68"/>
                  </a:lnTo>
                  <a:lnTo>
                    <a:pt x="921" y="66"/>
                  </a:lnTo>
                  <a:lnTo>
                    <a:pt x="905" y="56"/>
                  </a:lnTo>
                  <a:lnTo>
                    <a:pt x="891" y="35"/>
                  </a:lnTo>
                  <a:lnTo>
                    <a:pt x="886" y="19"/>
                  </a:lnTo>
                  <a:lnTo>
                    <a:pt x="865" y="4"/>
                  </a:lnTo>
                  <a:lnTo>
                    <a:pt x="825" y="0"/>
                  </a:lnTo>
                  <a:lnTo>
                    <a:pt x="787" y="2"/>
                  </a:lnTo>
                  <a:lnTo>
                    <a:pt x="756" y="2"/>
                  </a:lnTo>
                  <a:lnTo>
                    <a:pt x="740" y="14"/>
                  </a:lnTo>
                  <a:lnTo>
                    <a:pt x="740" y="26"/>
                  </a:lnTo>
                  <a:lnTo>
                    <a:pt x="758" y="42"/>
                  </a:lnTo>
                  <a:lnTo>
                    <a:pt x="782" y="61"/>
                  </a:lnTo>
                  <a:lnTo>
                    <a:pt x="784" y="73"/>
                  </a:lnTo>
                  <a:lnTo>
                    <a:pt x="773" y="82"/>
                  </a:lnTo>
                  <a:lnTo>
                    <a:pt x="756" y="85"/>
                  </a:lnTo>
                  <a:lnTo>
                    <a:pt x="740" y="94"/>
                  </a:lnTo>
                  <a:lnTo>
                    <a:pt x="721" y="108"/>
                  </a:lnTo>
                  <a:lnTo>
                    <a:pt x="702" y="113"/>
                  </a:lnTo>
                  <a:lnTo>
                    <a:pt x="678" y="113"/>
                  </a:lnTo>
                  <a:lnTo>
                    <a:pt x="669" y="101"/>
                  </a:lnTo>
                  <a:close/>
                </a:path>
              </a:pathLst>
            </a:custGeom>
            <a:pattFill prst="wdDnDiag">
              <a:fgClr>
                <a:schemeClr val="accent2"/>
              </a:fgClr>
              <a:bgClr>
                <a:schemeClr val="bg1"/>
              </a:bgClr>
            </a:pattFill>
            <a:ln w="9525" cap="rnd"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p>
              <a:endParaRPr lang="en-US" dirty="0"/>
            </a:p>
          </p:txBody>
        </p:sp>
        <p:sp>
          <p:nvSpPr>
            <p:cNvPr id="8639" name="Freeform 33">
              <a:extLst>
                <a:ext uri="{FF2B5EF4-FFF2-40B4-BE49-F238E27FC236}">
                  <a16:creationId xmlns:a16="http://schemas.microsoft.com/office/drawing/2014/main" id="{6DC1E06C-0FC6-4287-B4C7-E72A70E7B33E}"/>
                </a:ext>
              </a:extLst>
            </p:cNvPr>
            <p:cNvSpPr>
              <a:spLocks/>
            </p:cNvSpPr>
            <p:nvPr/>
          </p:nvSpPr>
          <p:spPr bwMode="gray">
            <a:xfrm>
              <a:off x="-5445125" y="3143250"/>
              <a:ext cx="2903537" cy="3086100"/>
            </a:xfrm>
            <a:custGeom>
              <a:avLst/>
              <a:gdLst/>
              <a:ahLst/>
              <a:cxnLst>
                <a:cxn ang="0">
                  <a:pos x="116" y="539"/>
                </a:cxn>
                <a:cxn ang="0">
                  <a:pos x="100" y="468"/>
                </a:cxn>
                <a:cxn ang="0">
                  <a:pos x="251" y="492"/>
                </a:cxn>
                <a:cxn ang="0">
                  <a:pos x="315" y="572"/>
                </a:cxn>
                <a:cxn ang="0">
                  <a:pos x="371" y="647"/>
                </a:cxn>
                <a:cxn ang="0">
                  <a:pos x="442" y="688"/>
                </a:cxn>
                <a:cxn ang="0">
                  <a:pos x="449" y="862"/>
                </a:cxn>
                <a:cxn ang="0">
                  <a:pos x="537" y="1011"/>
                </a:cxn>
                <a:cxn ang="0">
                  <a:pos x="539" y="1122"/>
                </a:cxn>
                <a:cxn ang="0">
                  <a:pos x="459" y="1113"/>
                </a:cxn>
                <a:cxn ang="0">
                  <a:pos x="468" y="1236"/>
                </a:cxn>
                <a:cxn ang="0">
                  <a:pos x="359" y="1276"/>
                </a:cxn>
                <a:cxn ang="0">
                  <a:pos x="388" y="1436"/>
                </a:cxn>
                <a:cxn ang="0">
                  <a:pos x="383" y="1604"/>
                </a:cxn>
                <a:cxn ang="0">
                  <a:pos x="378" y="1715"/>
                </a:cxn>
                <a:cxn ang="0">
                  <a:pos x="277" y="1751"/>
                </a:cxn>
                <a:cxn ang="0">
                  <a:pos x="369" y="1829"/>
                </a:cxn>
                <a:cxn ang="0">
                  <a:pos x="430" y="1880"/>
                </a:cxn>
                <a:cxn ang="0">
                  <a:pos x="449" y="1942"/>
                </a:cxn>
                <a:cxn ang="0">
                  <a:pos x="487" y="1833"/>
                </a:cxn>
                <a:cxn ang="0">
                  <a:pos x="534" y="1743"/>
                </a:cxn>
                <a:cxn ang="0">
                  <a:pos x="617" y="1784"/>
                </a:cxn>
                <a:cxn ang="0">
                  <a:pos x="711" y="1829"/>
                </a:cxn>
                <a:cxn ang="0">
                  <a:pos x="785" y="1866"/>
                </a:cxn>
                <a:cxn ang="0">
                  <a:pos x="903" y="1829"/>
                </a:cxn>
                <a:cxn ang="0">
                  <a:pos x="1047" y="1765"/>
                </a:cxn>
                <a:cxn ang="0">
                  <a:pos x="1219" y="1743"/>
                </a:cxn>
                <a:cxn ang="0">
                  <a:pos x="1295" y="1722"/>
                </a:cxn>
                <a:cxn ang="0">
                  <a:pos x="1380" y="1739"/>
                </a:cxn>
                <a:cxn ang="0">
                  <a:pos x="1458" y="1722"/>
                </a:cxn>
                <a:cxn ang="0">
                  <a:pos x="1479" y="1791"/>
                </a:cxn>
                <a:cxn ang="0">
                  <a:pos x="1574" y="1831"/>
                </a:cxn>
                <a:cxn ang="0">
                  <a:pos x="1526" y="1706"/>
                </a:cxn>
                <a:cxn ang="0">
                  <a:pos x="1557" y="1588"/>
                </a:cxn>
                <a:cxn ang="0">
                  <a:pos x="1484" y="1524"/>
                </a:cxn>
                <a:cxn ang="0">
                  <a:pos x="1503" y="1417"/>
                </a:cxn>
                <a:cxn ang="0">
                  <a:pos x="1576" y="1363"/>
                </a:cxn>
                <a:cxn ang="0">
                  <a:pos x="1711" y="1257"/>
                </a:cxn>
                <a:cxn ang="0">
                  <a:pos x="1824" y="1169"/>
                </a:cxn>
                <a:cxn ang="0">
                  <a:pos x="1682" y="969"/>
                </a:cxn>
                <a:cxn ang="0">
                  <a:pos x="1595" y="869"/>
                </a:cxn>
                <a:cxn ang="0">
                  <a:pos x="1425" y="728"/>
                </a:cxn>
                <a:cxn ang="0">
                  <a:pos x="1297" y="494"/>
                </a:cxn>
                <a:cxn ang="0">
                  <a:pos x="1229" y="279"/>
                </a:cxn>
                <a:cxn ang="0">
                  <a:pos x="1132" y="118"/>
                </a:cxn>
                <a:cxn ang="0">
                  <a:pos x="948" y="104"/>
                </a:cxn>
                <a:cxn ang="0">
                  <a:pos x="867" y="78"/>
                </a:cxn>
                <a:cxn ang="0">
                  <a:pos x="787" y="128"/>
                </a:cxn>
                <a:cxn ang="0">
                  <a:pos x="664" y="135"/>
                </a:cxn>
                <a:cxn ang="0">
                  <a:pos x="617" y="166"/>
                </a:cxn>
                <a:cxn ang="0">
                  <a:pos x="499" y="31"/>
                </a:cxn>
                <a:cxn ang="0">
                  <a:pos x="404" y="17"/>
                </a:cxn>
                <a:cxn ang="0">
                  <a:pos x="336" y="102"/>
                </a:cxn>
                <a:cxn ang="0">
                  <a:pos x="291" y="128"/>
                </a:cxn>
                <a:cxn ang="0">
                  <a:pos x="279" y="208"/>
                </a:cxn>
                <a:cxn ang="0">
                  <a:pos x="192" y="206"/>
                </a:cxn>
                <a:cxn ang="0">
                  <a:pos x="163" y="295"/>
                </a:cxn>
                <a:cxn ang="0">
                  <a:pos x="97" y="270"/>
                </a:cxn>
                <a:cxn ang="0">
                  <a:pos x="38" y="281"/>
                </a:cxn>
                <a:cxn ang="0">
                  <a:pos x="10" y="388"/>
                </a:cxn>
                <a:cxn ang="0">
                  <a:pos x="33" y="527"/>
                </a:cxn>
              </a:cxnLst>
              <a:rect l="0" t="0" r="r" b="b"/>
              <a:pathLst>
                <a:path w="1829" h="1944">
                  <a:moveTo>
                    <a:pt x="29" y="555"/>
                  </a:moveTo>
                  <a:lnTo>
                    <a:pt x="38" y="567"/>
                  </a:lnTo>
                  <a:lnTo>
                    <a:pt x="62" y="567"/>
                  </a:lnTo>
                  <a:lnTo>
                    <a:pt x="81" y="562"/>
                  </a:lnTo>
                  <a:lnTo>
                    <a:pt x="100" y="548"/>
                  </a:lnTo>
                  <a:lnTo>
                    <a:pt x="116" y="539"/>
                  </a:lnTo>
                  <a:lnTo>
                    <a:pt x="133" y="536"/>
                  </a:lnTo>
                  <a:lnTo>
                    <a:pt x="144" y="527"/>
                  </a:lnTo>
                  <a:lnTo>
                    <a:pt x="142" y="515"/>
                  </a:lnTo>
                  <a:lnTo>
                    <a:pt x="118" y="496"/>
                  </a:lnTo>
                  <a:lnTo>
                    <a:pt x="100" y="480"/>
                  </a:lnTo>
                  <a:lnTo>
                    <a:pt x="100" y="468"/>
                  </a:lnTo>
                  <a:lnTo>
                    <a:pt x="116" y="456"/>
                  </a:lnTo>
                  <a:lnTo>
                    <a:pt x="147" y="456"/>
                  </a:lnTo>
                  <a:lnTo>
                    <a:pt x="185" y="454"/>
                  </a:lnTo>
                  <a:lnTo>
                    <a:pt x="225" y="458"/>
                  </a:lnTo>
                  <a:lnTo>
                    <a:pt x="246" y="473"/>
                  </a:lnTo>
                  <a:lnTo>
                    <a:pt x="251" y="492"/>
                  </a:lnTo>
                  <a:lnTo>
                    <a:pt x="265" y="510"/>
                  </a:lnTo>
                  <a:lnTo>
                    <a:pt x="281" y="520"/>
                  </a:lnTo>
                  <a:lnTo>
                    <a:pt x="300" y="522"/>
                  </a:lnTo>
                  <a:lnTo>
                    <a:pt x="312" y="534"/>
                  </a:lnTo>
                  <a:lnTo>
                    <a:pt x="315" y="553"/>
                  </a:lnTo>
                  <a:lnTo>
                    <a:pt x="315" y="572"/>
                  </a:lnTo>
                  <a:lnTo>
                    <a:pt x="319" y="584"/>
                  </a:lnTo>
                  <a:lnTo>
                    <a:pt x="333" y="600"/>
                  </a:lnTo>
                  <a:lnTo>
                    <a:pt x="345" y="614"/>
                  </a:lnTo>
                  <a:lnTo>
                    <a:pt x="345" y="631"/>
                  </a:lnTo>
                  <a:lnTo>
                    <a:pt x="355" y="645"/>
                  </a:lnTo>
                  <a:lnTo>
                    <a:pt x="371" y="647"/>
                  </a:lnTo>
                  <a:lnTo>
                    <a:pt x="383" y="638"/>
                  </a:lnTo>
                  <a:lnTo>
                    <a:pt x="402" y="621"/>
                  </a:lnTo>
                  <a:lnTo>
                    <a:pt x="421" y="617"/>
                  </a:lnTo>
                  <a:lnTo>
                    <a:pt x="437" y="626"/>
                  </a:lnTo>
                  <a:lnTo>
                    <a:pt x="444" y="650"/>
                  </a:lnTo>
                  <a:lnTo>
                    <a:pt x="442" y="688"/>
                  </a:lnTo>
                  <a:lnTo>
                    <a:pt x="433" y="714"/>
                  </a:lnTo>
                  <a:lnTo>
                    <a:pt x="426" y="749"/>
                  </a:lnTo>
                  <a:lnTo>
                    <a:pt x="419" y="792"/>
                  </a:lnTo>
                  <a:lnTo>
                    <a:pt x="421" y="825"/>
                  </a:lnTo>
                  <a:lnTo>
                    <a:pt x="430" y="844"/>
                  </a:lnTo>
                  <a:lnTo>
                    <a:pt x="449" y="862"/>
                  </a:lnTo>
                  <a:lnTo>
                    <a:pt x="478" y="888"/>
                  </a:lnTo>
                  <a:lnTo>
                    <a:pt x="501" y="924"/>
                  </a:lnTo>
                  <a:lnTo>
                    <a:pt x="515" y="950"/>
                  </a:lnTo>
                  <a:lnTo>
                    <a:pt x="530" y="966"/>
                  </a:lnTo>
                  <a:lnTo>
                    <a:pt x="534" y="983"/>
                  </a:lnTo>
                  <a:lnTo>
                    <a:pt x="537" y="1011"/>
                  </a:lnTo>
                  <a:lnTo>
                    <a:pt x="532" y="1035"/>
                  </a:lnTo>
                  <a:lnTo>
                    <a:pt x="518" y="1051"/>
                  </a:lnTo>
                  <a:lnTo>
                    <a:pt x="508" y="1068"/>
                  </a:lnTo>
                  <a:lnTo>
                    <a:pt x="508" y="1087"/>
                  </a:lnTo>
                  <a:lnTo>
                    <a:pt x="520" y="1106"/>
                  </a:lnTo>
                  <a:lnTo>
                    <a:pt x="539" y="1122"/>
                  </a:lnTo>
                  <a:lnTo>
                    <a:pt x="544" y="1143"/>
                  </a:lnTo>
                  <a:lnTo>
                    <a:pt x="530" y="1155"/>
                  </a:lnTo>
                  <a:lnTo>
                    <a:pt x="501" y="1151"/>
                  </a:lnTo>
                  <a:lnTo>
                    <a:pt x="487" y="1134"/>
                  </a:lnTo>
                  <a:lnTo>
                    <a:pt x="473" y="1110"/>
                  </a:lnTo>
                  <a:lnTo>
                    <a:pt x="459" y="1113"/>
                  </a:lnTo>
                  <a:lnTo>
                    <a:pt x="454" y="1132"/>
                  </a:lnTo>
                  <a:lnTo>
                    <a:pt x="461" y="1151"/>
                  </a:lnTo>
                  <a:lnTo>
                    <a:pt x="475" y="1167"/>
                  </a:lnTo>
                  <a:lnTo>
                    <a:pt x="485" y="1198"/>
                  </a:lnTo>
                  <a:lnTo>
                    <a:pt x="485" y="1217"/>
                  </a:lnTo>
                  <a:lnTo>
                    <a:pt x="468" y="1236"/>
                  </a:lnTo>
                  <a:lnTo>
                    <a:pt x="449" y="1243"/>
                  </a:lnTo>
                  <a:lnTo>
                    <a:pt x="428" y="1259"/>
                  </a:lnTo>
                  <a:lnTo>
                    <a:pt x="411" y="1278"/>
                  </a:lnTo>
                  <a:lnTo>
                    <a:pt x="397" y="1283"/>
                  </a:lnTo>
                  <a:lnTo>
                    <a:pt x="381" y="1278"/>
                  </a:lnTo>
                  <a:lnTo>
                    <a:pt x="359" y="1276"/>
                  </a:lnTo>
                  <a:lnTo>
                    <a:pt x="350" y="1297"/>
                  </a:lnTo>
                  <a:lnTo>
                    <a:pt x="357" y="1321"/>
                  </a:lnTo>
                  <a:lnTo>
                    <a:pt x="374" y="1347"/>
                  </a:lnTo>
                  <a:lnTo>
                    <a:pt x="385" y="1377"/>
                  </a:lnTo>
                  <a:lnTo>
                    <a:pt x="393" y="1408"/>
                  </a:lnTo>
                  <a:lnTo>
                    <a:pt x="388" y="1436"/>
                  </a:lnTo>
                  <a:lnTo>
                    <a:pt x="378" y="1458"/>
                  </a:lnTo>
                  <a:lnTo>
                    <a:pt x="376" y="1484"/>
                  </a:lnTo>
                  <a:lnTo>
                    <a:pt x="383" y="1514"/>
                  </a:lnTo>
                  <a:lnTo>
                    <a:pt x="388" y="1543"/>
                  </a:lnTo>
                  <a:lnTo>
                    <a:pt x="390" y="1580"/>
                  </a:lnTo>
                  <a:lnTo>
                    <a:pt x="383" y="1604"/>
                  </a:lnTo>
                  <a:lnTo>
                    <a:pt x="381" y="1637"/>
                  </a:lnTo>
                  <a:lnTo>
                    <a:pt x="369" y="1649"/>
                  </a:lnTo>
                  <a:lnTo>
                    <a:pt x="369" y="1668"/>
                  </a:lnTo>
                  <a:lnTo>
                    <a:pt x="383" y="1680"/>
                  </a:lnTo>
                  <a:lnTo>
                    <a:pt x="388" y="1696"/>
                  </a:lnTo>
                  <a:lnTo>
                    <a:pt x="378" y="1715"/>
                  </a:lnTo>
                  <a:lnTo>
                    <a:pt x="352" y="1725"/>
                  </a:lnTo>
                  <a:lnTo>
                    <a:pt x="331" y="1713"/>
                  </a:lnTo>
                  <a:lnTo>
                    <a:pt x="312" y="1701"/>
                  </a:lnTo>
                  <a:lnTo>
                    <a:pt x="296" y="1713"/>
                  </a:lnTo>
                  <a:lnTo>
                    <a:pt x="284" y="1736"/>
                  </a:lnTo>
                  <a:lnTo>
                    <a:pt x="277" y="1751"/>
                  </a:lnTo>
                  <a:lnTo>
                    <a:pt x="284" y="1774"/>
                  </a:lnTo>
                  <a:lnTo>
                    <a:pt x="293" y="1786"/>
                  </a:lnTo>
                  <a:lnTo>
                    <a:pt x="322" y="1788"/>
                  </a:lnTo>
                  <a:lnTo>
                    <a:pt x="336" y="1798"/>
                  </a:lnTo>
                  <a:lnTo>
                    <a:pt x="355" y="1814"/>
                  </a:lnTo>
                  <a:lnTo>
                    <a:pt x="369" y="1829"/>
                  </a:lnTo>
                  <a:lnTo>
                    <a:pt x="378" y="1833"/>
                  </a:lnTo>
                  <a:lnTo>
                    <a:pt x="383" y="1850"/>
                  </a:lnTo>
                  <a:lnTo>
                    <a:pt x="385" y="1864"/>
                  </a:lnTo>
                  <a:lnTo>
                    <a:pt x="397" y="1871"/>
                  </a:lnTo>
                  <a:lnTo>
                    <a:pt x="416" y="1873"/>
                  </a:lnTo>
                  <a:lnTo>
                    <a:pt x="430" y="1880"/>
                  </a:lnTo>
                  <a:lnTo>
                    <a:pt x="430" y="1890"/>
                  </a:lnTo>
                  <a:lnTo>
                    <a:pt x="430" y="1902"/>
                  </a:lnTo>
                  <a:lnTo>
                    <a:pt x="423" y="1914"/>
                  </a:lnTo>
                  <a:lnTo>
                    <a:pt x="423" y="1940"/>
                  </a:lnTo>
                  <a:lnTo>
                    <a:pt x="433" y="1944"/>
                  </a:lnTo>
                  <a:lnTo>
                    <a:pt x="449" y="1942"/>
                  </a:lnTo>
                  <a:lnTo>
                    <a:pt x="459" y="1925"/>
                  </a:lnTo>
                  <a:lnTo>
                    <a:pt x="482" y="1902"/>
                  </a:lnTo>
                  <a:lnTo>
                    <a:pt x="496" y="1888"/>
                  </a:lnTo>
                  <a:lnTo>
                    <a:pt x="511" y="1873"/>
                  </a:lnTo>
                  <a:lnTo>
                    <a:pt x="501" y="1857"/>
                  </a:lnTo>
                  <a:lnTo>
                    <a:pt x="487" y="1833"/>
                  </a:lnTo>
                  <a:lnTo>
                    <a:pt x="485" y="1807"/>
                  </a:lnTo>
                  <a:lnTo>
                    <a:pt x="494" y="1788"/>
                  </a:lnTo>
                  <a:lnTo>
                    <a:pt x="504" y="1769"/>
                  </a:lnTo>
                  <a:lnTo>
                    <a:pt x="513" y="1753"/>
                  </a:lnTo>
                  <a:lnTo>
                    <a:pt x="522" y="1741"/>
                  </a:lnTo>
                  <a:lnTo>
                    <a:pt x="534" y="1743"/>
                  </a:lnTo>
                  <a:lnTo>
                    <a:pt x="544" y="1767"/>
                  </a:lnTo>
                  <a:lnTo>
                    <a:pt x="551" y="1786"/>
                  </a:lnTo>
                  <a:lnTo>
                    <a:pt x="565" y="1798"/>
                  </a:lnTo>
                  <a:lnTo>
                    <a:pt x="581" y="1795"/>
                  </a:lnTo>
                  <a:lnTo>
                    <a:pt x="593" y="1786"/>
                  </a:lnTo>
                  <a:lnTo>
                    <a:pt x="617" y="1784"/>
                  </a:lnTo>
                  <a:lnTo>
                    <a:pt x="641" y="1784"/>
                  </a:lnTo>
                  <a:lnTo>
                    <a:pt x="659" y="1793"/>
                  </a:lnTo>
                  <a:lnTo>
                    <a:pt x="674" y="1807"/>
                  </a:lnTo>
                  <a:lnTo>
                    <a:pt x="690" y="1814"/>
                  </a:lnTo>
                  <a:lnTo>
                    <a:pt x="707" y="1817"/>
                  </a:lnTo>
                  <a:lnTo>
                    <a:pt x="711" y="1829"/>
                  </a:lnTo>
                  <a:lnTo>
                    <a:pt x="714" y="1847"/>
                  </a:lnTo>
                  <a:lnTo>
                    <a:pt x="716" y="1869"/>
                  </a:lnTo>
                  <a:lnTo>
                    <a:pt x="730" y="1878"/>
                  </a:lnTo>
                  <a:lnTo>
                    <a:pt x="749" y="1890"/>
                  </a:lnTo>
                  <a:lnTo>
                    <a:pt x="773" y="1880"/>
                  </a:lnTo>
                  <a:lnTo>
                    <a:pt x="785" y="1866"/>
                  </a:lnTo>
                  <a:lnTo>
                    <a:pt x="804" y="1869"/>
                  </a:lnTo>
                  <a:lnTo>
                    <a:pt x="813" y="1876"/>
                  </a:lnTo>
                  <a:lnTo>
                    <a:pt x="830" y="1876"/>
                  </a:lnTo>
                  <a:lnTo>
                    <a:pt x="853" y="1862"/>
                  </a:lnTo>
                  <a:lnTo>
                    <a:pt x="874" y="1845"/>
                  </a:lnTo>
                  <a:lnTo>
                    <a:pt x="903" y="1829"/>
                  </a:lnTo>
                  <a:lnTo>
                    <a:pt x="931" y="1821"/>
                  </a:lnTo>
                  <a:lnTo>
                    <a:pt x="955" y="1824"/>
                  </a:lnTo>
                  <a:lnTo>
                    <a:pt x="985" y="1821"/>
                  </a:lnTo>
                  <a:lnTo>
                    <a:pt x="1007" y="1807"/>
                  </a:lnTo>
                  <a:lnTo>
                    <a:pt x="1028" y="1784"/>
                  </a:lnTo>
                  <a:lnTo>
                    <a:pt x="1047" y="1765"/>
                  </a:lnTo>
                  <a:lnTo>
                    <a:pt x="1073" y="1760"/>
                  </a:lnTo>
                  <a:lnTo>
                    <a:pt x="1111" y="1751"/>
                  </a:lnTo>
                  <a:lnTo>
                    <a:pt x="1148" y="1755"/>
                  </a:lnTo>
                  <a:lnTo>
                    <a:pt x="1179" y="1760"/>
                  </a:lnTo>
                  <a:lnTo>
                    <a:pt x="1208" y="1755"/>
                  </a:lnTo>
                  <a:lnTo>
                    <a:pt x="1219" y="1743"/>
                  </a:lnTo>
                  <a:lnTo>
                    <a:pt x="1229" y="1727"/>
                  </a:lnTo>
                  <a:lnTo>
                    <a:pt x="1241" y="1703"/>
                  </a:lnTo>
                  <a:lnTo>
                    <a:pt x="1255" y="1694"/>
                  </a:lnTo>
                  <a:lnTo>
                    <a:pt x="1271" y="1692"/>
                  </a:lnTo>
                  <a:lnTo>
                    <a:pt x="1283" y="1706"/>
                  </a:lnTo>
                  <a:lnTo>
                    <a:pt x="1295" y="1722"/>
                  </a:lnTo>
                  <a:lnTo>
                    <a:pt x="1311" y="1727"/>
                  </a:lnTo>
                  <a:lnTo>
                    <a:pt x="1330" y="1734"/>
                  </a:lnTo>
                  <a:lnTo>
                    <a:pt x="1342" y="1748"/>
                  </a:lnTo>
                  <a:lnTo>
                    <a:pt x="1361" y="1758"/>
                  </a:lnTo>
                  <a:lnTo>
                    <a:pt x="1373" y="1753"/>
                  </a:lnTo>
                  <a:lnTo>
                    <a:pt x="1380" y="1739"/>
                  </a:lnTo>
                  <a:lnTo>
                    <a:pt x="1396" y="1727"/>
                  </a:lnTo>
                  <a:lnTo>
                    <a:pt x="1413" y="1727"/>
                  </a:lnTo>
                  <a:lnTo>
                    <a:pt x="1427" y="1734"/>
                  </a:lnTo>
                  <a:lnTo>
                    <a:pt x="1439" y="1736"/>
                  </a:lnTo>
                  <a:lnTo>
                    <a:pt x="1448" y="1729"/>
                  </a:lnTo>
                  <a:lnTo>
                    <a:pt x="1458" y="1722"/>
                  </a:lnTo>
                  <a:lnTo>
                    <a:pt x="1470" y="1727"/>
                  </a:lnTo>
                  <a:lnTo>
                    <a:pt x="1477" y="1743"/>
                  </a:lnTo>
                  <a:lnTo>
                    <a:pt x="1472" y="1760"/>
                  </a:lnTo>
                  <a:lnTo>
                    <a:pt x="1465" y="1769"/>
                  </a:lnTo>
                  <a:lnTo>
                    <a:pt x="1465" y="1781"/>
                  </a:lnTo>
                  <a:lnTo>
                    <a:pt x="1479" y="1791"/>
                  </a:lnTo>
                  <a:lnTo>
                    <a:pt x="1496" y="1795"/>
                  </a:lnTo>
                  <a:lnTo>
                    <a:pt x="1505" y="1814"/>
                  </a:lnTo>
                  <a:lnTo>
                    <a:pt x="1519" y="1833"/>
                  </a:lnTo>
                  <a:lnTo>
                    <a:pt x="1534" y="1843"/>
                  </a:lnTo>
                  <a:lnTo>
                    <a:pt x="1555" y="1845"/>
                  </a:lnTo>
                  <a:lnTo>
                    <a:pt x="1574" y="1831"/>
                  </a:lnTo>
                  <a:lnTo>
                    <a:pt x="1578" y="1793"/>
                  </a:lnTo>
                  <a:lnTo>
                    <a:pt x="1578" y="1767"/>
                  </a:lnTo>
                  <a:lnTo>
                    <a:pt x="1581" y="1743"/>
                  </a:lnTo>
                  <a:lnTo>
                    <a:pt x="1569" y="1729"/>
                  </a:lnTo>
                  <a:lnTo>
                    <a:pt x="1548" y="1717"/>
                  </a:lnTo>
                  <a:lnTo>
                    <a:pt x="1526" y="1706"/>
                  </a:lnTo>
                  <a:lnTo>
                    <a:pt x="1524" y="1692"/>
                  </a:lnTo>
                  <a:lnTo>
                    <a:pt x="1531" y="1675"/>
                  </a:lnTo>
                  <a:lnTo>
                    <a:pt x="1543" y="1656"/>
                  </a:lnTo>
                  <a:lnTo>
                    <a:pt x="1557" y="1635"/>
                  </a:lnTo>
                  <a:lnTo>
                    <a:pt x="1559" y="1614"/>
                  </a:lnTo>
                  <a:lnTo>
                    <a:pt x="1557" y="1588"/>
                  </a:lnTo>
                  <a:lnTo>
                    <a:pt x="1550" y="1573"/>
                  </a:lnTo>
                  <a:lnTo>
                    <a:pt x="1534" y="1564"/>
                  </a:lnTo>
                  <a:lnTo>
                    <a:pt x="1508" y="1557"/>
                  </a:lnTo>
                  <a:lnTo>
                    <a:pt x="1493" y="1557"/>
                  </a:lnTo>
                  <a:lnTo>
                    <a:pt x="1486" y="1543"/>
                  </a:lnTo>
                  <a:lnTo>
                    <a:pt x="1484" y="1524"/>
                  </a:lnTo>
                  <a:lnTo>
                    <a:pt x="1467" y="1507"/>
                  </a:lnTo>
                  <a:lnTo>
                    <a:pt x="1460" y="1500"/>
                  </a:lnTo>
                  <a:lnTo>
                    <a:pt x="1458" y="1486"/>
                  </a:lnTo>
                  <a:lnTo>
                    <a:pt x="1463" y="1462"/>
                  </a:lnTo>
                  <a:lnTo>
                    <a:pt x="1484" y="1436"/>
                  </a:lnTo>
                  <a:lnTo>
                    <a:pt x="1503" y="1417"/>
                  </a:lnTo>
                  <a:lnTo>
                    <a:pt x="1517" y="1413"/>
                  </a:lnTo>
                  <a:lnTo>
                    <a:pt x="1538" y="1415"/>
                  </a:lnTo>
                  <a:lnTo>
                    <a:pt x="1548" y="1413"/>
                  </a:lnTo>
                  <a:lnTo>
                    <a:pt x="1552" y="1394"/>
                  </a:lnTo>
                  <a:lnTo>
                    <a:pt x="1562" y="1377"/>
                  </a:lnTo>
                  <a:lnTo>
                    <a:pt x="1576" y="1363"/>
                  </a:lnTo>
                  <a:lnTo>
                    <a:pt x="1600" y="1356"/>
                  </a:lnTo>
                  <a:lnTo>
                    <a:pt x="1621" y="1356"/>
                  </a:lnTo>
                  <a:lnTo>
                    <a:pt x="1656" y="1340"/>
                  </a:lnTo>
                  <a:lnTo>
                    <a:pt x="1678" y="1318"/>
                  </a:lnTo>
                  <a:lnTo>
                    <a:pt x="1701" y="1288"/>
                  </a:lnTo>
                  <a:lnTo>
                    <a:pt x="1711" y="1257"/>
                  </a:lnTo>
                  <a:lnTo>
                    <a:pt x="1715" y="1221"/>
                  </a:lnTo>
                  <a:lnTo>
                    <a:pt x="1722" y="1198"/>
                  </a:lnTo>
                  <a:lnTo>
                    <a:pt x="1746" y="1184"/>
                  </a:lnTo>
                  <a:lnTo>
                    <a:pt x="1774" y="1184"/>
                  </a:lnTo>
                  <a:lnTo>
                    <a:pt x="1808" y="1181"/>
                  </a:lnTo>
                  <a:lnTo>
                    <a:pt x="1824" y="1169"/>
                  </a:lnTo>
                  <a:lnTo>
                    <a:pt x="1829" y="1134"/>
                  </a:lnTo>
                  <a:lnTo>
                    <a:pt x="1812" y="1066"/>
                  </a:lnTo>
                  <a:lnTo>
                    <a:pt x="1810" y="1028"/>
                  </a:lnTo>
                  <a:lnTo>
                    <a:pt x="1760" y="1006"/>
                  </a:lnTo>
                  <a:lnTo>
                    <a:pt x="1722" y="988"/>
                  </a:lnTo>
                  <a:lnTo>
                    <a:pt x="1682" y="969"/>
                  </a:lnTo>
                  <a:lnTo>
                    <a:pt x="1673" y="938"/>
                  </a:lnTo>
                  <a:lnTo>
                    <a:pt x="1668" y="914"/>
                  </a:lnTo>
                  <a:lnTo>
                    <a:pt x="1661" y="893"/>
                  </a:lnTo>
                  <a:lnTo>
                    <a:pt x="1640" y="879"/>
                  </a:lnTo>
                  <a:lnTo>
                    <a:pt x="1614" y="877"/>
                  </a:lnTo>
                  <a:lnTo>
                    <a:pt x="1595" y="869"/>
                  </a:lnTo>
                  <a:lnTo>
                    <a:pt x="1578" y="855"/>
                  </a:lnTo>
                  <a:lnTo>
                    <a:pt x="1555" y="808"/>
                  </a:lnTo>
                  <a:lnTo>
                    <a:pt x="1503" y="742"/>
                  </a:lnTo>
                  <a:lnTo>
                    <a:pt x="1493" y="737"/>
                  </a:lnTo>
                  <a:lnTo>
                    <a:pt x="1448" y="735"/>
                  </a:lnTo>
                  <a:lnTo>
                    <a:pt x="1425" y="728"/>
                  </a:lnTo>
                  <a:lnTo>
                    <a:pt x="1399" y="692"/>
                  </a:lnTo>
                  <a:lnTo>
                    <a:pt x="1373" y="647"/>
                  </a:lnTo>
                  <a:lnTo>
                    <a:pt x="1356" y="610"/>
                  </a:lnTo>
                  <a:lnTo>
                    <a:pt x="1349" y="581"/>
                  </a:lnTo>
                  <a:lnTo>
                    <a:pt x="1316" y="529"/>
                  </a:lnTo>
                  <a:lnTo>
                    <a:pt x="1297" y="494"/>
                  </a:lnTo>
                  <a:lnTo>
                    <a:pt x="1295" y="480"/>
                  </a:lnTo>
                  <a:lnTo>
                    <a:pt x="1316" y="418"/>
                  </a:lnTo>
                  <a:lnTo>
                    <a:pt x="1319" y="392"/>
                  </a:lnTo>
                  <a:lnTo>
                    <a:pt x="1307" y="366"/>
                  </a:lnTo>
                  <a:lnTo>
                    <a:pt x="1271" y="321"/>
                  </a:lnTo>
                  <a:lnTo>
                    <a:pt x="1229" y="279"/>
                  </a:lnTo>
                  <a:lnTo>
                    <a:pt x="1198" y="244"/>
                  </a:lnTo>
                  <a:lnTo>
                    <a:pt x="1196" y="225"/>
                  </a:lnTo>
                  <a:lnTo>
                    <a:pt x="1198" y="196"/>
                  </a:lnTo>
                  <a:lnTo>
                    <a:pt x="1203" y="189"/>
                  </a:lnTo>
                  <a:lnTo>
                    <a:pt x="1163" y="156"/>
                  </a:lnTo>
                  <a:lnTo>
                    <a:pt x="1132" y="118"/>
                  </a:lnTo>
                  <a:lnTo>
                    <a:pt x="1092" y="114"/>
                  </a:lnTo>
                  <a:lnTo>
                    <a:pt x="1066" y="102"/>
                  </a:lnTo>
                  <a:lnTo>
                    <a:pt x="1030" y="95"/>
                  </a:lnTo>
                  <a:lnTo>
                    <a:pt x="997" y="97"/>
                  </a:lnTo>
                  <a:lnTo>
                    <a:pt x="978" y="104"/>
                  </a:lnTo>
                  <a:lnTo>
                    <a:pt x="948" y="104"/>
                  </a:lnTo>
                  <a:lnTo>
                    <a:pt x="933" y="95"/>
                  </a:lnTo>
                  <a:lnTo>
                    <a:pt x="931" y="64"/>
                  </a:lnTo>
                  <a:lnTo>
                    <a:pt x="915" y="43"/>
                  </a:lnTo>
                  <a:lnTo>
                    <a:pt x="896" y="43"/>
                  </a:lnTo>
                  <a:lnTo>
                    <a:pt x="877" y="52"/>
                  </a:lnTo>
                  <a:lnTo>
                    <a:pt x="867" y="78"/>
                  </a:lnTo>
                  <a:lnTo>
                    <a:pt x="872" y="107"/>
                  </a:lnTo>
                  <a:lnTo>
                    <a:pt x="872" y="147"/>
                  </a:lnTo>
                  <a:lnTo>
                    <a:pt x="863" y="161"/>
                  </a:lnTo>
                  <a:lnTo>
                    <a:pt x="841" y="163"/>
                  </a:lnTo>
                  <a:lnTo>
                    <a:pt x="806" y="133"/>
                  </a:lnTo>
                  <a:lnTo>
                    <a:pt x="787" y="128"/>
                  </a:lnTo>
                  <a:lnTo>
                    <a:pt x="740" y="130"/>
                  </a:lnTo>
                  <a:lnTo>
                    <a:pt x="719" y="130"/>
                  </a:lnTo>
                  <a:lnTo>
                    <a:pt x="707" y="116"/>
                  </a:lnTo>
                  <a:lnTo>
                    <a:pt x="688" y="104"/>
                  </a:lnTo>
                  <a:lnTo>
                    <a:pt x="671" y="111"/>
                  </a:lnTo>
                  <a:lnTo>
                    <a:pt x="664" y="135"/>
                  </a:lnTo>
                  <a:lnTo>
                    <a:pt x="671" y="151"/>
                  </a:lnTo>
                  <a:lnTo>
                    <a:pt x="674" y="170"/>
                  </a:lnTo>
                  <a:lnTo>
                    <a:pt x="667" y="184"/>
                  </a:lnTo>
                  <a:lnTo>
                    <a:pt x="645" y="184"/>
                  </a:lnTo>
                  <a:lnTo>
                    <a:pt x="622" y="180"/>
                  </a:lnTo>
                  <a:lnTo>
                    <a:pt x="617" y="166"/>
                  </a:lnTo>
                  <a:lnTo>
                    <a:pt x="615" y="144"/>
                  </a:lnTo>
                  <a:lnTo>
                    <a:pt x="600" y="130"/>
                  </a:lnTo>
                  <a:lnTo>
                    <a:pt x="572" y="121"/>
                  </a:lnTo>
                  <a:lnTo>
                    <a:pt x="537" y="102"/>
                  </a:lnTo>
                  <a:lnTo>
                    <a:pt x="513" y="64"/>
                  </a:lnTo>
                  <a:lnTo>
                    <a:pt x="499" y="31"/>
                  </a:lnTo>
                  <a:lnTo>
                    <a:pt x="485" y="5"/>
                  </a:lnTo>
                  <a:lnTo>
                    <a:pt x="473" y="0"/>
                  </a:lnTo>
                  <a:lnTo>
                    <a:pt x="459" y="5"/>
                  </a:lnTo>
                  <a:lnTo>
                    <a:pt x="437" y="7"/>
                  </a:lnTo>
                  <a:lnTo>
                    <a:pt x="414" y="3"/>
                  </a:lnTo>
                  <a:lnTo>
                    <a:pt x="404" y="17"/>
                  </a:lnTo>
                  <a:lnTo>
                    <a:pt x="402" y="36"/>
                  </a:lnTo>
                  <a:lnTo>
                    <a:pt x="383" y="59"/>
                  </a:lnTo>
                  <a:lnTo>
                    <a:pt x="367" y="73"/>
                  </a:lnTo>
                  <a:lnTo>
                    <a:pt x="352" y="90"/>
                  </a:lnTo>
                  <a:lnTo>
                    <a:pt x="343" y="102"/>
                  </a:lnTo>
                  <a:lnTo>
                    <a:pt x="336" y="102"/>
                  </a:lnTo>
                  <a:lnTo>
                    <a:pt x="331" y="95"/>
                  </a:lnTo>
                  <a:lnTo>
                    <a:pt x="324" y="88"/>
                  </a:lnTo>
                  <a:lnTo>
                    <a:pt x="312" y="85"/>
                  </a:lnTo>
                  <a:lnTo>
                    <a:pt x="300" y="95"/>
                  </a:lnTo>
                  <a:lnTo>
                    <a:pt x="293" y="111"/>
                  </a:lnTo>
                  <a:lnTo>
                    <a:pt x="291" y="128"/>
                  </a:lnTo>
                  <a:lnTo>
                    <a:pt x="293" y="137"/>
                  </a:lnTo>
                  <a:lnTo>
                    <a:pt x="298" y="147"/>
                  </a:lnTo>
                  <a:lnTo>
                    <a:pt x="303" y="163"/>
                  </a:lnTo>
                  <a:lnTo>
                    <a:pt x="300" y="177"/>
                  </a:lnTo>
                  <a:lnTo>
                    <a:pt x="293" y="192"/>
                  </a:lnTo>
                  <a:lnTo>
                    <a:pt x="279" y="208"/>
                  </a:lnTo>
                  <a:lnTo>
                    <a:pt x="263" y="218"/>
                  </a:lnTo>
                  <a:lnTo>
                    <a:pt x="237" y="218"/>
                  </a:lnTo>
                  <a:lnTo>
                    <a:pt x="222" y="208"/>
                  </a:lnTo>
                  <a:lnTo>
                    <a:pt x="211" y="201"/>
                  </a:lnTo>
                  <a:lnTo>
                    <a:pt x="196" y="201"/>
                  </a:lnTo>
                  <a:lnTo>
                    <a:pt x="192" y="206"/>
                  </a:lnTo>
                  <a:lnTo>
                    <a:pt x="194" y="222"/>
                  </a:lnTo>
                  <a:lnTo>
                    <a:pt x="199" y="246"/>
                  </a:lnTo>
                  <a:lnTo>
                    <a:pt x="199" y="265"/>
                  </a:lnTo>
                  <a:lnTo>
                    <a:pt x="189" y="284"/>
                  </a:lnTo>
                  <a:lnTo>
                    <a:pt x="180" y="293"/>
                  </a:lnTo>
                  <a:lnTo>
                    <a:pt x="163" y="295"/>
                  </a:lnTo>
                  <a:lnTo>
                    <a:pt x="154" y="291"/>
                  </a:lnTo>
                  <a:lnTo>
                    <a:pt x="149" y="277"/>
                  </a:lnTo>
                  <a:lnTo>
                    <a:pt x="142" y="265"/>
                  </a:lnTo>
                  <a:lnTo>
                    <a:pt x="130" y="260"/>
                  </a:lnTo>
                  <a:lnTo>
                    <a:pt x="107" y="262"/>
                  </a:lnTo>
                  <a:lnTo>
                    <a:pt x="97" y="270"/>
                  </a:lnTo>
                  <a:lnTo>
                    <a:pt x="88" y="274"/>
                  </a:lnTo>
                  <a:lnTo>
                    <a:pt x="78" y="270"/>
                  </a:lnTo>
                  <a:lnTo>
                    <a:pt x="71" y="260"/>
                  </a:lnTo>
                  <a:lnTo>
                    <a:pt x="57" y="258"/>
                  </a:lnTo>
                  <a:lnTo>
                    <a:pt x="45" y="267"/>
                  </a:lnTo>
                  <a:lnTo>
                    <a:pt x="38" y="281"/>
                  </a:lnTo>
                  <a:lnTo>
                    <a:pt x="24" y="298"/>
                  </a:lnTo>
                  <a:lnTo>
                    <a:pt x="7" y="317"/>
                  </a:lnTo>
                  <a:lnTo>
                    <a:pt x="0" y="336"/>
                  </a:lnTo>
                  <a:lnTo>
                    <a:pt x="12" y="352"/>
                  </a:lnTo>
                  <a:lnTo>
                    <a:pt x="15" y="373"/>
                  </a:lnTo>
                  <a:lnTo>
                    <a:pt x="10" y="388"/>
                  </a:lnTo>
                  <a:lnTo>
                    <a:pt x="5" y="404"/>
                  </a:lnTo>
                  <a:lnTo>
                    <a:pt x="7" y="423"/>
                  </a:lnTo>
                  <a:lnTo>
                    <a:pt x="17" y="440"/>
                  </a:lnTo>
                  <a:lnTo>
                    <a:pt x="26" y="477"/>
                  </a:lnTo>
                  <a:lnTo>
                    <a:pt x="31" y="496"/>
                  </a:lnTo>
                  <a:lnTo>
                    <a:pt x="33" y="527"/>
                  </a:lnTo>
                  <a:lnTo>
                    <a:pt x="29" y="555"/>
                  </a:lnTo>
                  <a:close/>
                </a:path>
              </a:pathLst>
            </a:custGeom>
            <a:pattFill prst="wdUpDiag">
              <a:fgClr>
                <a:schemeClr val="accent2"/>
              </a:fgClr>
              <a:bgClr>
                <a:schemeClr val="bg1"/>
              </a:bgClr>
            </a:pattFill>
            <a:ln w="9525" cap="rnd"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p>
              <a:endParaRPr lang="en-US" dirty="0"/>
            </a:p>
          </p:txBody>
        </p:sp>
        <p:sp>
          <p:nvSpPr>
            <p:cNvPr id="8640" name="Freeform 34">
              <a:extLst>
                <a:ext uri="{FF2B5EF4-FFF2-40B4-BE49-F238E27FC236}">
                  <a16:creationId xmlns:a16="http://schemas.microsoft.com/office/drawing/2014/main" id="{E6DEA0D9-46A0-49AF-907C-3F750DB21FA9}"/>
                </a:ext>
              </a:extLst>
            </p:cNvPr>
            <p:cNvSpPr>
              <a:spLocks noEditPoints="1"/>
            </p:cNvSpPr>
            <p:nvPr/>
          </p:nvSpPr>
          <p:spPr bwMode="gray">
            <a:xfrm>
              <a:off x="-3843338" y="431800"/>
              <a:ext cx="1838325" cy="1995488"/>
            </a:xfrm>
            <a:custGeom>
              <a:avLst/>
              <a:gdLst/>
              <a:ahLst/>
              <a:cxnLst>
                <a:cxn ang="0">
                  <a:pos x="640" y="466"/>
                </a:cxn>
                <a:cxn ang="0">
                  <a:pos x="692" y="487"/>
                </a:cxn>
                <a:cxn ang="0">
                  <a:pos x="773" y="541"/>
                </a:cxn>
                <a:cxn ang="0">
                  <a:pos x="718" y="662"/>
                </a:cxn>
                <a:cxn ang="0">
                  <a:pos x="581" y="607"/>
                </a:cxn>
                <a:cxn ang="0">
                  <a:pos x="584" y="539"/>
                </a:cxn>
                <a:cxn ang="0">
                  <a:pos x="550" y="518"/>
                </a:cxn>
                <a:cxn ang="0">
                  <a:pos x="938" y="109"/>
                </a:cxn>
                <a:cxn ang="0">
                  <a:pos x="848" y="10"/>
                </a:cxn>
                <a:cxn ang="0">
                  <a:pos x="735" y="24"/>
                </a:cxn>
                <a:cxn ang="0">
                  <a:pos x="664" y="100"/>
                </a:cxn>
                <a:cxn ang="0">
                  <a:pos x="553" y="140"/>
                </a:cxn>
                <a:cxn ang="0">
                  <a:pos x="470" y="166"/>
                </a:cxn>
                <a:cxn ang="0">
                  <a:pos x="359" y="121"/>
                </a:cxn>
                <a:cxn ang="0">
                  <a:pos x="173" y="67"/>
                </a:cxn>
                <a:cxn ang="0">
                  <a:pos x="26" y="170"/>
                </a:cxn>
                <a:cxn ang="0">
                  <a:pos x="17" y="241"/>
                </a:cxn>
                <a:cxn ang="0">
                  <a:pos x="26" y="289"/>
                </a:cxn>
                <a:cxn ang="0">
                  <a:pos x="85" y="331"/>
                </a:cxn>
                <a:cxn ang="0">
                  <a:pos x="177" y="341"/>
                </a:cxn>
                <a:cxn ang="0">
                  <a:pos x="234" y="364"/>
                </a:cxn>
                <a:cxn ang="0">
                  <a:pos x="220" y="463"/>
                </a:cxn>
                <a:cxn ang="0">
                  <a:pos x="184" y="534"/>
                </a:cxn>
                <a:cxn ang="0">
                  <a:pos x="276" y="593"/>
                </a:cxn>
                <a:cxn ang="0">
                  <a:pos x="241" y="683"/>
                </a:cxn>
                <a:cxn ang="0">
                  <a:pos x="246" y="733"/>
                </a:cxn>
                <a:cxn ang="0">
                  <a:pos x="229" y="801"/>
                </a:cxn>
                <a:cxn ang="0">
                  <a:pos x="347" y="870"/>
                </a:cxn>
                <a:cxn ang="0">
                  <a:pos x="451" y="919"/>
                </a:cxn>
                <a:cxn ang="0">
                  <a:pos x="527" y="929"/>
                </a:cxn>
                <a:cxn ang="0">
                  <a:pos x="565" y="964"/>
                </a:cxn>
                <a:cxn ang="0">
                  <a:pos x="591" y="1049"/>
                </a:cxn>
                <a:cxn ang="0">
                  <a:pos x="574" y="1122"/>
                </a:cxn>
                <a:cxn ang="0">
                  <a:pos x="574" y="1184"/>
                </a:cxn>
                <a:cxn ang="0">
                  <a:pos x="602" y="1231"/>
                </a:cxn>
                <a:cxn ang="0">
                  <a:pos x="673" y="1203"/>
                </a:cxn>
                <a:cxn ang="0">
                  <a:pos x="730" y="1257"/>
                </a:cxn>
                <a:cxn ang="0">
                  <a:pos x="834" y="1215"/>
                </a:cxn>
                <a:cxn ang="0">
                  <a:pos x="869" y="1222"/>
                </a:cxn>
                <a:cxn ang="0">
                  <a:pos x="940" y="1127"/>
                </a:cxn>
                <a:cxn ang="0">
                  <a:pos x="1013" y="1134"/>
                </a:cxn>
                <a:cxn ang="0">
                  <a:pos x="1110" y="1099"/>
                </a:cxn>
                <a:cxn ang="0">
                  <a:pos x="1158" y="1061"/>
                </a:cxn>
                <a:cxn ang="0">
                  <a:pos x="1120" y="1009"/>
                </a:cxn>
                <a:cxn ang="0">
                  <a:pos x="1091" y="955"/>
                </a:cxn>
                <a:cxn ang="0">
                  <a:pos x="1120" y="874"/>
                </a:cxn>
                <a:cxn ang="0">
                  <a:pos x="1127" y="763"/>
                </a:cxn>
                <a:cxn ang="0">
                  <a:pos x="1075" y="662"/>
                </a:cxn>
                <a:cxn ang="0">
                  <a:pos x="1084" y="567"/>
                </a:cxn>
                <a:cxn ang="0">
                  <a:pos x="1054" y="482"/>
                </a:cxn>
                <a:cxn ang="0">
                  <a:pos x="962" y="404"/>
                </a:cxn>
                <a:cxn ang="0">
                  <a:pos x="895" y="319"/>
                </a:cxn>
                <a:cxn ang="0">
                  <a:pos x="980" y="199"/>
                </a:cxn>
                <a:cxn ang="0">
                  <a:pos x="983" y="62"/>
                </a:cxn>
              </a:cxnLst>
              <a:rect l="0" t="0" r="r" b="b"/>
              <a:pathLst>
                <a:path w="1158" h="1257">
                  <a:moveTo>
                    <a:pt x="550" y="518"/>
                  </a:moveTo>
                  <a:lnTo>
                    <a:pt x="579" y="487"/>
                  </a:lnTo>
                  <a:lnTo>
                    <a:pt x="595" y="478"/>
                  </a:lnTo>
                  <a:lnTo>
                    <a:pt x="636" y="475"/>
                  </a:lnTo>
                  <a:lnTo>
                    <a:pt x="640" y="466"/>
                  </a:lnTo>
                  <a:lnTo>
                    <a:pt x="652" y="461"/>
                  </a:lnTo>
                  <a:lnTo>
                    <a:pt x="664" y="463"/>
                  </a:lnTo>
                  <a:lnTo>
                    <a:pt x="669" y="478"/>
                  </a:lnTo>
                  <a:lnTo>
                    <a:pt x="676" y="487"/>
                  </a:lnTo>
                  <a:lnTo>
                    <a:pt x="692" y="487"/>
                  </a:lnTo>
                  <a:lnTo>
                    <a:pt x="718" y="478"/>
                  </a:lnTo>
                  <a:lnTo>
                    <a:pt x="737" y="489"/>
                  </a:lnTo>
                  <a:lnTo>
                    <a:pt x="751" y="522"/>
                  </a:lnTo>
                  <a:lnTo>
                    <a:pt x="770" y="530"/>
                  </a:lnTo>
                  <a:lnTo>
                    <a:pt x="773" y="541"/>
                  </a:lnTo>
                  <a:lnTo>
                    <a:pt x="763" y="560"/>
                  </a:lnTo>
                  <a:lnTo>
                    <a:pt x="765" y="622"/>
                  </a:lnTo>
                  <a:lnTo>
                    <a:pt x="758" y="643"/>
                  </a:lnTo>
                  <a:lnTo>
                    <a:pt x="737" y="659"/>
                  </a:lnTo>
                  <a:lnTo>
                    <a:pt x="718" y="662"/>
                  </a:lnTo>
                  <a:lnTo>
                    <a:pt x="699" y="648"/>
                  </a:lnTo>
                  <a:lnTo>
                    <a:pt x="695" y="629"/>
                  </a:lnTo>
                  <a:lnTo>
                    <a:pt x="673" y="619"/>
                  </a:lnTo>
                  <a:lnTo>
                    <a:pt x="586" y="619"/>
                  </a:lnTo>
                  <a:lnTo>
                    <a:pt x="581" y="607"/>
                  </a:lnTo>
                  <a:lnTo>
                    <a:pt x="588" y="600"/>
                  </a:lnTo>
                  <a:lnTo>
                    <a:pt x="600" y="591"/>
                  </a:lnTo>
                  <a:lnTo>
                    <a:pt x="607" y="537"/>
                  </a:lnTo>
                  <a:lnTo>
                    <a:pt x="600" y="527"/>
                  </a:lnTo>
                  <a:lnTo>
                    <a:pt x="584" y="539"/>
                  </a:lnTo>
                  <a:lnTo>
                    <a:pt x="572" y="556"/>
                  </a:lnTo>
                  <a:lnTo>
                    <a:pt x="558" y="558"/>
                  </a:lnTo>
                  <a:lnTo>
                    <a:pt x="550" y="539"/>
                  </a:lnTo>
                  <a:lnTo>
                    <a:pt x="550" y="518"/>
                  </a:lnTo>
                  <a:lnTo>
                    <a:pt x="550" y="518"/>
                  </a:lnTo>
                  <a:close/>
                  <a:moveTo>
                    <a:pt x="983" y="62"/>
                  </a:moveTo>
                  <a:lnTo>
                    <a:pt x="983" y="62"/>
                  </a:lnTo>
                  <a:lnTo>
                    <a:pt x="971" y="74"/>
                  </a:lnTo>
                  <a:lnTo>
                    <a:pt x="959" y="90"/>
                  </a:lnTo>
                  <a:lnTo>
                    <a:pt x="938" y="109"/>
                  </a:lnTo>
                  <a:lnTo>
                    <a:pt x="917" y="114"/>
                  </a:lnTo>
                  <a:lnTo>
                    <a:pt x="891" y="81"/>
                  </a:lnTo>
                  <a:lnTo>
                    <a:pt x="876" y="52"/>
                  </a:lnTo>
                  <a:lnTo>
                    <a:pt x="865" y="31"/>
                  </a:lnTo>
                  <a:lnTo>
                    <a:pt x="848" y="10"/>
                  </a:lnTo>
                  <a:lnTo>
                    <a:pt x="834" y="0"/>
                  </a:lnTo>
                  <a:lnTo>
                    <a:pt x="822" y="5"/>
                  </a:lnTo>
                  <a:lnTo>
                    <a:pt x="784" y="33"/>
                  </a:lnTo>
                  <a:lnTo>
                    <a:pt x="763" y="31"/>
                  </a:lnTo>
                  <a:lnTo>
                    <a:pt x="735" y="24"/>
                  </a:lnTo>
                  <a:lnTo>
                    <a:pt x="711" y="29"/>
                  </a:lnTo>
                  <a:lnTo>
                    <a:pt x="687" y="41"/>
                  </a:lnTo>
                  <a:lnTo>
                    <a:pt x="680" y="59"/>
                  </a:lnTo>
                  <a:lnTo>
                    <a:pt x="678" y="83"/>
                  </a:lnTo>
                  <a:lnTo>
                    <a:pt x="664" y="100"/>
                  </a:lnTo>
                  <a:lnTo>
                    <a:pt x="643" y="107"/>
                  </a:lnTo>
                  <a:lnTo>
                    <a:pt x="628" y="128"/>
                  </a:lnTo>
                  <a:lnTo>
                    <a:pt x="612" y="137"/>
                  </a:lnTo>
                  <a:lnTo>
                    <a:pt x="569" y="135"/>
                  </a:lnTo>
                  <a:lnTo>
                    <a:pt x="553" y="140"/>
                  </a:lnTo>
                  <a:lnTo>
                    <a:pt x="532" y="152"/>
                  </a:lnTo>
                  <a:lnTo>
                    <a:pt x="522" y="168"/>
                  </a:lnTo>
                  <a:lnTo>
                    <a:pt x="515" y="187"/>
                  </a:lnTo>
                  <a:lnTo>
                    <a:pt x="494" y="178"/>
                  </a:lnTo>
                  <a:lnTo>
                    <a:pt x="470" y="166"/>
                  </a:lnTo>
                  <a:lnTo>
                    <a:pt x="444" y="159"/>
                  </a:lnTo>
                  <a:lnTo>
                    <a:pt x="421" y="156"/>
                  </a:lnTo>
                  <a:lnTo>
                    <a:pt x="402" y="147"/>
                  </a:lnTo>
                  <a:lnTo>
                    <a:pt x="378" y="130"/>
                  </a:lnTo>
                  <a:lnTo>
                    <a:pt x="359" y="121"/>
                  </a:lnTo>
                  <a:lnTo>
                    <a:pt x="265" y="121"/>
                  </a:lnTo>
                  <a:lnTo>
                    <a:pt x="236" y="104"/>
                  </a:lnTo>
                  <a:lnTo>
                    <a:pt x="215" y="88"/>
                  </a:lnTo>
                  <a:lnTo>
                    <a:pt x="196" y="76"/>
                  </a:lnTo>
                  <a:lnTo>
                    <a:pt x="173" y="67"/>
                  </a:lnTo>
                  <a:lnTo>
                    <a:pt x="154" y="78"/>
                  </a:lnTo>
                  <a:lnTo>
                    <a:pt x="128" y="111"/>
                  </a:lnTo>
                  <a:lnTo>
                    <a:pt x="104" y="119"/>
                  </a:lnTo>
                  <a:lnTo>
                    <a:pt x="47" y="149"/>
                  </a:lnTo>
                  <a:lnTo>
                    <a:pt x="26" y="170"/>
                  </a:lnTo>
                  <a:lnTo>
                    <a:pt x="17" y="192"/>
                  </a:lnTo>
                  <a:lnTo>
                    <a:pt x="14" y="213"/>
                  </a:lnTo>
                  <a:lnTo>
                    <a:pt x="21" y="227"/>
                  </a:lnTo>
                  <a:lnTo>
                    <a:pt x="17" y="234"/>
                  </a:lnTo>
                  <a:lnTo>
                    <a:pt x="17" y="241"/>
                  </a:lnTo>
                  <a:lnTo>
                    <a:pt x="7" y="253"/>
                  </a:lnTo>
                  <a:lnTo>
                    <a:pt x="0" y="267"/>
                  </a:lnTo>
                  <a:lnTo>
                    <a:pt x="10" y="274"/>
                  </a:lnTo>
                  <a:lnTo>
                    <a:pt x="17" y="284"/>
                  </a:lnTo>
                  <a:lnTo>
                    <a:pt x="26" y="289"/>
                  </a:lnTo>
                  <a:lnTo>
                    <a:pt x="47" y="289"/>
                  </a:lnTo>
                  <a:lnTo>
                    <a:pt x="59" y="300"/>
                  </a:lnTo>
                  <a:lnTo>
                    <a:pt x="66" y="319"/>
                  </a:lnTo>
                  <a:lnTo>
                    <a:pt x="69" y="329"/>
                  </a:lnTo>
                  <a:lnTo>
                    <a:pt x="85" y="331"/>
                  </a:lnTo>
                  <a:lnTo>
                    <a:pt x="95" y="336"/>
                  </a:lnTo>
                  <a:lnTo>
                    <a:pt x="118" y="341"/>
                  </a:lnTo>
                  <a:lnTo>
                    <a:pt x="142" y="341"/>
                  </a:lnTo>
                  <a:lnTo>
                    <a:pt x="165" y="341"/>
                  </a:lnTo>
                  <a:lnTo>
                    <a:pt x="177" y="341"/>
                  </a:lnTo>
                  <a:lnTo>
                    <a:pt x="191" y="355"/>
                  </a:lnTo>
                  <a:lnTo>
                    <a:pt x="199" y="359"/>
                  </a:lnTo>
                  <a:lnTo>
                    <a:pt x="215" y="359"/>
                  </a:lnTo>
                  <a:lnTo>
                    <a:pt x="227" y="355"/>
                  </a:lnTo>
                  <a:lnTo>
                    <a:pt x="234" y="364"/>
                  </a:lnTo>
                  <a:lnTo>
                    <a:pt x="234" y="378"/>
                  </a:lnTo>
                  <a:lnTo>
                    <a:pt x="232" y="409"/>
                  </a:lnTo>
                  <a:lnTo>
                    <a:pt x="229" y="423"/>
                  </a:lnTo>
                  <a:lnTo>
                    <a:pt x="227" y="447"/>
                  </a:lnTo>
                  <a:lnTo>
                    <a:pt x="220" y="463"/>
                  </a:lnTo>
                  <a:lnTo>
                    <a:pt x="220" y="487"/>
                  </a:lnTo>
                  <a:lnTo>
                    <a:pt x="208" y="499"/>
                  </a:lnTo>
                  <a:lnTo>
                    <a:pt x="189" y="513"/>
                  </a:lnTo>
                  <a:lnTo>
                    <a:pt x="184" y="525"/>
                  </a:lnTo>
                  <a:lnTo>
                    <a:pt x="184" y="534"/>
                  </a:lnTo>
                  <a:lnTo>
                    <a:pt x="199" y="551"/>
                  </a:lnTo>
                  <a:lnTo>
                    <a:pt x="232" y="560"/>
                  </a:lnTo>
                  <a:lnTo>
                    <a:pt x="262" y="565"/>
                  </a:lnTo>
                  <a:lnTo>
                    <a:pt x="274" y="579"/>
                  </a:lnTo>
                  <a:lnTo>
                    <a:pt x="276" y="593"/>
                  </a:lnTo>
                  <a:lnTo>
                    <a:pt x="274" y="607"/>
                  </a:lnTo>
                  <a:lnTo>
                    <a:pt x="262" y="626"/>
                  </a:lnTo>
                  <a:lnTo>
                    <a:pt x="255" y="645"/>
                  </a:lnTo>
                  <a:lnTo>
                    <a:pt x="246" y="664"/>
                  </a:lnTo>
                  <a:lnTo>
                    <a:pt x="241" y="683"/>
                  </a:lnTo>
                  <a:lnTo>
                    <a:pt x="246" y="700"/>
                  </a:lnTo>
                  <a:lnTo>
                    <a:pt x="255" y="709"/>
                  </a:lnTo>
                  <a:lnTo>
                    <a:pt x="255" y="718"/>
                  </a:lnTo>
                  <a:lnTo>
                    <a:pt x="253" y="730"/>
                  </a:lnTo>
                  <a:lnTo>
                    <a:pt x="246" y="733"/>
                  </a:lnTo>
                  <a:lnTo>
                    <a:pt x="229" y="737"/>
                  </a:lnTo>
                  <a:lnTo>
                    <a:pt x="217" y="744"/>
                  </a:lnTo>
                  <a:lnTo>
                    <a:pt x="215" y="761"/>
                  </a:lnTo>
                  <a:lnTo>
                    <a:pt x="220" y="782"/>
                  </a:lnTo>
                  <a:lnTo>
                    <a:pt x="229" y="801"/>
                  </a:lnTo>
                  <a:lnTo>
                    <a:pt x="248" y="827"/>
                  </a:lnTo>
                  <a:lnTo>
                    <a:pt x="267" y="844"/>
                  </a:lnTo>
                  <a:lnTo>
                    <a:pt x="295" y="855"/>
                  </a:lnTo>
                  <a:lnTo>
                    <a:pt x="317" y="860"/>
                  </a:lnTo>
                  <a:lnTo>
                    <a:pt x="347" y="870"/>
                  </a:lnTo>
                  <a:lnTo>
                    <a:pt x="362" y="877"/>
                  </a:lnTo>
                  <a:lnTo>
                    <a:pt x="385" y="886"/>
                  </a:lnTo>
                  <a:lnTo>
                    <a:pt x="409" y="896"/>
                  </a:lnTo>
                  <a:lnTo>
                    <a:pt x="435" y="905"/>
                  </a:lnTo>
                  <a:lnTo>
                    <a:pt x="451" y="919"/>
                  </a:lnTo>
                  <a:lnTo>
                    <a:pt x="461" y="933"/>
                  </a:lnTo>
                  <a:lnTo>
                    <a:pt x="473" y="943"/>
                  </a:lnTo>
                  <a:lnTo>
                    <a:pt x="499" y="945"/>
                  </a:lnTo>
                  <a:lnTo>
                    <a:pt x="517" y="943"/>
                  </a:lnTo>
                  <a:lnTo>
                    <a:pt x="527" y="929"/>
                  </a:lnTo>
                  <a:lnTo>
                    <a:pt x="541" y="924"/>
                  </a:lnTo>
                  <a:lnTo>
                    <a:pt x="553" y="922"/>
                  </a:lnTo>
                  <a:lnTo>
                    <a:pt x="562" y="929"/>
                  </a:lnTo>
                  <a:lnTo>
                    <a:pt x="565" y="941"/>
                  </a:lnTo>
                  <a:lnTo>
                    <a:pt x="565" y="964"/>
                  </a:lnTo>
                  <a:lnTo>
                    <a:pt x="565" y="988"/>
                  </a:lnTo>
                  <a:lnTo>
                    <a:pt x="569" y="1000"/>
                  </a:lnTo>
                  <a:lnTo>
                    <a:pt x="581" y="1018"/>
                  </a:lnTo>
                  <a:lnTo>
                    <a:pt x="588" y="1037"/>
                  </a:lnTo>
                  <a:lnTo>
                    <a:pt x="591" y="1049"/>
                  </a:lnTo>
                  <a:lnTo>
                    <a:pt x="586" y="1068"/>
                  </a:lnTo>
                  <a:lnTo>
                    <a:pt x="581" y="1082"/>
                  </a:lnTo>
                  <a:lnTo>
                    <a:pt x="584" y="1096"/>
                  </a:lnTo>
                  <a:lnTo>
                    <a:pt x="581" y="1111"/>
                  </a:lnTo>
                  <a:lnTo>
                    <a:pt x="574" y="1122"/>
                  </a:lnTo>
                  <a:lnTo>
                    <a:pt x="574" y="1134"/>
                  </a:lnTo>
                  <a:lnTo>
                    <a:pt x="576" y="1144"/>
                  </a:lnTo>
                  <a:lnTo>
                    <a:pt x="584" y="1153"/>
                  </a:lnTo>
                  <a:lnTo>
                    <a:pt x="584" y="1170"/>
                  </a:lnTo>
                  <a:lnTo>
                    <a:pt x="574" y="1184"/>
                  </a:lnTo>
                  <a:lnTo>
                    <a:pt x="565" y="1196"/>
                  </a:lnTo>
                  <a:lnTo>
                    <a:pt x="574" y="1203"/>
                  </a:lnTo>
                  <a:lnTo>
                    <a:pt x="579" y="1210"/>
                  </a:lnTo>
                  <a:lnTo>
                    <a:pt x="588" y="1224"/>
                  </a:lnTo>
                  <a:lnTo>
                    <a:pt x="602" y="1231"/>
                  </a:lnTo>
                  <a:lnTo>
                    <a:pt x="624" y="1229"/>
                  </a:lnTo>
                  <a:lnTo>
                    <a:pt x="638" y="1224"/>
                  </a:lnTo>
                  <a:lnTo>
                    <a:pt x="652" y="1215"/>
                  </a:lnTo>
                  <a:lnTo>
                    <a:pt x="664" y="1203"/>
                  </a:lnTo>
                  <a:lnTo>
                    <a:pt x="673" y="1203"/>
                  </a:lnTo>
                  <a:lnTo>
                    <a:pt x="685" y="1203"/>
                  </a:lnTo>
                  <a:lnTo>
                    <a:pt x="695" y="1212"/>
                  </a:lnTo>
                  <a:lnTo>
                    <a:pt x="702" y="1231"/>
                  </a:lnTo>
                  <a:lnTo>
                    <a:pt x="711" y="1248"/>
                  </a:lnTo>
                  <a:lnTo>
                    <a:pt x="730" y="1257"/>
                  </a:lnTo>
                  <a:lnTo>
                    <a:pt x="754" y="1257"/>
                  </a:lnTo>
                  <a:lnTo>
                    <a:pt x="780" y="1250"/>
                  </a:lnTo>
                  <a:lnTo>
                    <a:pt x="801" y="1243"/>
                  </a:lnTo>
                  <a:lnTo>
                    <a:pt x="820" y="1229"/>
                  </a:lnTo>
                  <a:lnTo>
                    <a:pt x="834" y="1215"/>
                  </a:lnTo>
                  <a:lnTo>
                    <a:pt x="843" y="1203"/>
                  </a:lnTo>
                  <a:lnTo>
                    <a:pt x="858" y="1203"/>
                  </a:lnTo>
                  <a:lnTo>
                    <a:pt x="860" y="1215"/>
                  </a:lnTo>
                  <a:lnTo>
                    <a:pt x="862" y="1243"/>
                  </a:lnTo>
                  <a:lnTo>
                    <a:pt x="869" y="1222"/>
                  </a:lnTo>
                  <a:lnTo>
                    <a:pt x="879" y="1191"/>
                  </a:lnTo>
                  <a:lnTo>
                    <a:pt x="886" y="1167"/>
                  </a:lnTo>
                  <a:lnTo>
                    <a:pt x="895" y="1148"/>
                  </a:lnTo>
                  <a:lnTo>
                    <a:pt x="921" y="1134"/>
                  </a:lnTo>
                  <a:lnTo>
                    <a:pt x="940" y="1127"/>
                  </a:lnTo>
                  <a:lnTo>
                    <a:pt x="954" y="1130"/>
                  </a:lnTo>
                  <a:lnTo>
                    <a:pt x="969" y="1137"/>
                  </a:lnTo>
                  <a:lnTo>
                    <a:pt x="980" y="1144"/>
                  </a:lnTo>
                  <a:lnTo>
                    <a:pt x="999" y="1144"/>
                  </a:lnTo>
                  <a:lnTo>
                    <a:pt x="1013" y="1134"/>
                  </a:lnTo>
                  <a:lnTo>
                    <a:pt x="1039" y="1118"/>
                  </a:lnTo>
                  <a:lnTo>
                    <a:pt x="1068" y="1096"/>
                  </a:lnTo>
                  <a:lnTo>
                    <a:pt x="1080" y="1094"/>
                  </a:lnTo>
                  <a:lnTo>
                    <a:pt x="1094" y="1096"/>
                  </a:lnTo>
                  <a:lnTo>
                    <a:pt x="1110" y="1099"/>
                  </a:lnTo>
                  <a:lnTo>
                    <a:pt x="1127" y="1104"/>
                  </a:lnTo>
                  <a:lnTo>
                    <a:pt x="1141" y="1104"/>
                  </a:lnTo>
                  <a:lnTo>
                    <a:pt x="1158" y="1096"/>
                  </a:lnTo>
                  <a:lnTo>
                    <a:pt x="1158" y="1082"/>
                  </a:lnTo>
                  <a:lnTo>
                    <a:pt x="1158" y="1061"/>
                  </a:lnTo>
                  <a:lnTo>
                    <a:pt x="1155" y="1047"/>
                  </a:lnTo>
                  <a:lnTo>
                    <a:pt x="1146" y="1040"/>
                  </a:lnTo>
                  <a:lnTo>
                    <a:pt x="1134" y="1030"/>
                  </a:lnTo>
                  <a:lnTo>
                    <a:pt x="1125" y="1023"/>
                  </a:lnTo>
                  <a:lnTo>
                    <a:pt x="1120" y="1009"/>
                  </a:lnTo>
                  <a:lnTo>
                    <a:pt x="1120" y="1000"/>
                  </a:lnTo>
                  <a:lnTo>
                    <a:pt x="1117" y="993"/>
                  </a:lnTo>
                  <a:lnTo>
                    <a:pt x="1103" y="985"/>
                  </a:lnTo>
                  <a:lnTo>
                    <a:pt x="1094" y="974"/>
                  </a:lnTo>
                  <a:lnTo>
                    <a:pt x="1091" y="955"/>
                  </a:lnTo>
                  <a:lnTo>
                    <a:pt x="1091" y="936"/>
                  </a:lnTo>
                  <a:lnTo>
                    <a:pt x="1106" y="919"/>
                  </a:lnTo>
                  <a:lnTo>
                    <a:pt x="1115" y="905"/>
                  </a:lnTo>
                  <a:lnTo>
                    <a:pt x="1120" y="893"/>
                  </a:lnTo>
                  <a:lnTo>
                    <a:pt x="1120" y="874"/>
                  </a:lnTo>
                  <a:lnTo>
                    <a:pt x="1125" y="855"/>
                  </a:lnTo>
                  <a:lnTo>
                    <a:pt x="1129" y="841"/>
                  </a:lnTo>
                  <a:lnTo>
                    <a:pt x="1132" y="820"/>
                  </a:lnTo>
                  <a:lnTo>
                    <a:pt x="1127" y="794"/>
                  </a:lnTo>
                  <a:lnTo>
                    <a:pt x="1127" y="763"/>
                  </a:lnTo>
                  <a:lnTo>
                    <a:pt x="1125" y="735"/>
                  </a:lnTo>
                  <a:lnTo>
                    <a:pt x="1122" y="700"/>
                  </a:lnTo>
                  <a:lnTo>
                    <a:pt x="1110" y="693"/>
                  </a:lnTo>
                  <a:lnTo>
                    <a:pt x="1091" y="685"/>
                  </a:lnTo>
                  <a:lnTo>
                    <a:pt x="1075" y="662"/>
                  </a:lnTo>
                  <a:lnTo>
                    <a:pt x="1070" y="648"/>
                  </a:lnTo>
                  <a:lnTo>
                    <a:pt x="1068" y="631"/>
                  </a:lnTo>
                  <a:lnTo>
                    <a:pt x="1068" y="607"/>
                  </a:lnTo>
                  <a:lnTo>
                    <a:pt x="1070" y="586"/>
                  </a:lnTo>
                  <a:lnTo>
                    <a:pt x="1084" y="567"/>
                  </a:lnTo>
                  <a:lnTo>
                    <a:pt x="1089" y="558"/>
                  </a:lnTo>
                  <a:lnTo>
                    <a:pt x="1089" y="537"/>
                  </a:lnTo>
                  <a:lnTo>
                    <a:pt x="1087" y="518"/>
                  </a:lnTo>
                  <a:lnTo>
                    <a:pt x="1075" y="506"/>
                  </a:lnTo>
                  <a:lnTo>
                    <a:pt x="1054" y="482"/>
                  </a:lnTo>
                  <a:lnTo>
                    <a:pt x="1025" y="459"/>
                  </a:lnTo>
                  <a:lnTo>
                    <a:pt x="1011" y="435"/>
                  </a:lnTo>
                  <a:lnTo>
                    <a:pt x="995" y="416"/>
                  </a:lnTo>
                  <a:lnTo>
                    <a:pt x="976" y="409"/>
                  </a:lnTo>
                  <a:lnTo>
                    <a:pt x="962" y="404"/>
                  </a:lnTo>
                  <a:lnTo>
                    <a:pt x="931" y="376"/>
                  </a:lnTo>
                  <a:lnTo>
                    <a:pt x="917" y="369"/>
                  </a:lnTo>
                  <a:lnTo>
                    <a:pt x="891" y="357"/>
                  </a:lnTo>
                  <a:lnTo>
                    <a:pt x="891" y="343"/>
                  </a:lnTo>
                  <a:lnTo>
                    <a:pt x="895" y="319"/>
                  </a:lnTo>
                  <a:lnTo>
                    <a:pt x="905" y="303"/>
                  </a:lnTo>
                  <a:lnTo>
                    <a:pt x="926" y="289"/>
                  </a:lnTo>
                  <a:lnTo>
                    <a:pt x="940" y="270"/>
                  </a:lnTo>
                  <a:lnTo>
                    <a:pt x="945" y="241"/>
                  </a:lnTo>
                  <a:lnTo>
                    <a:pt x="980" y="199"/>
                  </a:lnTo>
                  <a:lnTo>
                    <a:pt x="1002" y="159"/>
                  </a:lnTo>
                  <a:lnTo>
                    <a:pt x="1013" y="128"/>
                  </a:lnTo>
                  <a:lnTo>
                    <a:pt x="1009" y="109"/>
                  </a:lnTo>
                  <a:lnTo>
                    <a:pt x="999" y="83"/>
                  </a:lnTo>
                  <a:lnTo>
                    <a:pt x="983" y="62"/>
                  </a:lnTo>
                  <a:close/>
                </a:path>
              </a:pathLst>
            </a:custGeom>
            <a:pattFill prst="wdUpDiag">
              <a:fgClr>
                <a:schemeClr val="accent2"/>
              </a:fgClr>
              <a:bgClr>
                <a:schemeClr val="bg1"/>
              </a:bgClr>
            </a:pattFill>
            <a:ln w="9525" cap="rnd"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p>
              <a:endParaRPr lang="en-US" dirty="0"/>
            </a:p>
          </p:txBody>
        </p:sp>
        <p:sp>
          <p:nvSpPr>
            <p:cNvPr id="8641" name="Freeform 35">
              <a:extLst>
                <a:ext uri="{FF2B5EF4-FFF2-40B4-BE49-F238E27FC236}">
                  <a16:creationId xmlns:a16="http://schemas.microsoft.com/office/drawing/2014/main" id="{11DF187F-B224-4047-818F-90C12F086E9F}"/>
                </a:ext>
              </a:extLst>
            </p:cNvPr>
            <p:cNvSpPr>
              <a:spLocks/>
            </p:cNvSpPr>
            <p:nvPr/>
          </p:nvSpPr>
          <p:spPr bwMode="gray">
            <a:xfrm>
              <a:off x="-2970213" y="1163638"/>
              <a:ext cx="354012" cy="319088"/>
            </a:xfrm>
            <a:custGeom>
              <a:avLst/>
              <a:gdLst/>
              <a:ahLst/>
              <a:cxnLst>
                <a:cxn ang="0">
                  <a:pos x="0" y="57"/>
                </a:cxn>
                <a:cxn ang="0">
                  <a:pos x="29" y="26"/>
                </a:cxn>
                <a:cxn ang="0">
                  <a:pos x="45" y="17"/>
                </a:cxn>
                <a:cxn ang="0">
                  <a:pos x="86" y="14"/>
                </a:cxn>
                <a:cxn ang="0">
                  <a:pos x="90" y="5"/>
                </a:cxn>
                <a:cxn ang="0">
                  <a:pos x="102" y="0"/>
                </a:cxn>
                <a:cxn ang="0">
                  <a:pos x="114" y="2"/>
                </a:cxn>
                <a:cxn ang="0">
                  <a:pos x="119" y="17"/>
                </a:cxn>
                <a:cxn ang="0">
                  <a:pos x="126" y="26"/>
                </a:cxn>
                <a:cxn ang="0">
                  <a:pos x="142" y="26"/>
                </a:cxn>
                <a:cxn ang="0">
                  <a:pos x="154" y="21"/>
                </a:cxn>
                <a:cxn ang="0">
                  <a:pos x="168" y="17"/>
                </a:cxn>
                <a:cxn ang="0">
                  <a:pos x="187" y="28"/>
                </a:cxn>
                <a:cxn ang="0">
                  <a:pos x="197" y="52"/>
                </a:cxn>
                <a:cxn ang="0">
                  <a:pos x="201" y="61"/>
                </a:cxn>
                <a:cxn ang="0">
                  <a:pos x="220" y="69"/>
                </a:cxn>
                <a:cxn ang="0">
                  <a:pos x="223" y="80"/>
                </a:cxn>
                <a:cxn ang="0">
                  <a:pos x="220" y="90"/>
                </a:cxn>
                <a:cxn ang="0">
                  <a:pos x="213" y="99"/>
                </a:cxn>
                <a:cxn ang="0">
                  <a:pos x="215" y="139"/>
                </a:cxn>
                <a:cxn ang="0">
                  <a:pos x="215" y="161"/>
                </a:cxn>
                <a:cxn ang="0">
                  <a:pos x="208" y="182"/>
                </a:cxn>
                <a:cxn ang="0">
                  <a:pos x="187" y="198"/>
                </a:cxn>
                <a:cxn ang="0">
                  <a:pos x="168" y="201"/>
                </a:cxn>
                <a:cxn ang="0">
                  <a:pos x="149" y="187"/>
                </a:cxn>
                <a:cxn ang="0">
                  <a:pos x="145" y="168"/>
                </a:cxn>
                <a:cxn ang="0">
                  <a:pos x="123" y="158"/>
                </a:cxn>
                <a:cxn ang="0">
                  <a:pos x="90" y="158"/>
                </a:cxn>
                <a:cxn ang="0">
                  <a:pos x="55" y="158"/>
                </a:cxn>
                <a:cxn ang="0">
                  <a:pos x="36" y="158"/>
                </a:cxn>
                <a:cxn ang="0">
                  <a:pos x="31" y="146"/>
                </a:cxn>
                <a:cxn ang="0">
                  <a:pos x="38" y="139"/>
                </a:cxn>
                <a:cxn ang="0">
                  <a:pos x="50" y="130"/>
                </a:cxn>
                <a:cxn ang="0">
                  <a:pos x="55" y="106"/>
                </a:cxn>
                <a:cxn ang="0">
                  <a:pos x="57" y="76"/>
                </a:cxn>
                <a:cxn ang="0">
                  <a:pos x="50" y="66"/>
                </a:cxn>
                <a:cxn ang="0">
                  <a:pos x="34" y="78"/>
                </a:cxn>
                <a:cxn ang="0">
                  <a:pos x="22" y="95"/>
                </a:cxn>
                <a:cxn ang="0">
                  <a:pos x="8" y="97"/>
                </a:cxn>
                <a:cxn ang="0">
                  <a:pos x="0" y="78"/>
                </a:cxn>
                <a:cxn ang="0">
                  <a:pos x="0" y="78"/>
                </a:cxn>
                <a:cxn ang="0">
                  <a:pos x="0" y="78"/>
                </a:cxn>
                <a:cxn ang="0">
                  <a:pos x="0" y="57"/>
                </a:cxn>
              </a:cxnLst>
              <a:rect l="0" t="0" r="r" b="b"/>
              <a:pathLst>
                <a:path w="223" h="201">
                  <a:moveTo>
                    <a:pt x="0" y="57"/>
                  </a:moveTo>
                  <a:lnTo>
                    <a:pt x="29" y="26"/>
                  </a:lnTo>
                  <a:lnTo>
                    <a:pt x="45" y="17"/>
                  </a:lnTo>
                  <a:lnTo>
                    <a:pt x="86" y="14"/>
                  </a:lnTo>
                  <a:lnTo>
                    <a:pt x="90" y="5"/>
                  </a:lnTo>
                  <a:lnTo>
                    <a:pt x="102" y="0"/>
                  </a:lnTo>
                  <a:lnTo>
                    <a:pt x="114" y="2"/>
                  </a:lnTo>
                  <a:lnTo>
                    <a:pt x="119" y="17"/>
                  </a:lnTo>
                  <a:lnTo>
                    <a:pt x="126" y="26"/>
                  </a:lnTo>
                  <a:lnTo>
                    <a:pt x="142" y="26"/>
                  </a:lnTo>
                  <a:lnTo>
                    <a:pt x="154" y="21"/>
                  </a:lnTo>
                  <a:lnTo>
                    <a:pt x="168" y="17"/>
                  </a:lnTo>
                  <a:lnTo>
                    <a:pt x="187" y="28"/>
                  </a:lnTo>
                  <a:lnTo>
                    <a:pt x="197" y="52"/>
                  </a:lnTo>
                  <a:lnTo>
                    <a:pt x="201" y="61"/>
                  </a:lnTo>
                  <a:lnTo>
                    <a:pt x="220" y="69"/>
                  </a:lnTo>
                  <a:lnTo>
                    <a:pt x="223" y="80"/>
                  </a:lnTo>
                  <a:lnTo>
                    <a:pt x="220" y="90"/>
                  </a:lnTo>
                  <a:lnTo>
                    <a:pt x="213" y="99"/>
                  </a:lnTo>
                  <a:lnTo>
                    <a:pt x="215" y="139"/>
                  </a:lnTo>
                  <a:lnTo>
                    <a:pt x="215" y="161"/>
                  </a:lnTo>
                  <a:lnTo>
                    <a:pt x="208" y="182"/>
                  </a:lnTo>
                  <a:lnTo>
                    <a:pt x="187" y="198"/>
                  </a:lnTo>
                  <a:lnTo>
                    <a:pt x="168" y="201"/>
                  </a:lnTo>
                  <a:lnTo>
                    <a:pt x="149" y="187"/>
                  </a:lnTo>
                  <a:lnTo>
                    <a:pt x="145" y="168"/>
                  </a:lnTo>
                  <a:lnTo>
                    <a:pt x="123" y="158"/>
                  </a:lnTo>
                  <a:lnTo>
                    <a:pt x="90" y="158"/>
                  </a:lnTo>
                  <a:lnTo>
                    <a:pt x="55" y="158"/>
                  </a:lnTo>
                  <a:lnTo>
                    <a:pt x="36" y="158"/>
                  </a:lnTo>
                  <a:lnTo>
                    <a:pt x="31" y="146"/>
                  </a:lnTo>
                  <a:lnTo>
                    <a:pt x="38" y="139"/>
                  </a:lnTo>
                  <a:lnTo>
                    <a:pt x="50" y="130"/>
                  </a:lnTo>
                  <a:lnTo>
                    <a:pt x="55" y="106"/>
                  </a:lnTo>
                  <a:lnTo>
                    <a:pt x="57" y="76"/>
                  </a:lnTo>
                  <a:lnTo>
                    <a:pt x="50" y="66"/>
                  </a:lnTo>
                  <a:lnTo>
                    <a:pt x="34" y="78"/>
                  </a:lnTo>
                  <a:lnTo>
                    <a:pt x="22" y="95"/>
                  </a:lnTo>
                  <a:lnTo>
                    <a:pt x="8" y="97"/>
                  </a:lnTo>
                  <a:lnTo>
                    <a:pt x="0" y="78"/>
                  </a:lnTo>
                  <a:lnTo>
                    <a:pt x="0" y="78"/>
                  </a:lnTo>
                  <a:lnTo>
                    <a:pt x="0" y="78"/>
                  </a:lnTo>
                  <a:lnTo>
                    <a:pt x="0" y="57"/>
                  </a:lnTo>
                  <a:close/>
                </a:path>
              </a:pathLst>
            </a:custGeom>
            <a:pattFill prst="narHorz">
              <a:fgClr>
                <a:schemeClr val="accent2"/>
              </a:fgClr>
              <a:bgClr>
                <a:schemeClr val="bg1"/>
              </a:bgClr>
            </a:pattFill>
            <a:ln w="9525" cap="rnd"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p>
              <a:endParaRPr lang="en-US" dirty="0"/>
            </a:p>
          </p:txBody>
        </p:sp>
      </p:grpSp>
      <p:sp>
        <p:nvSpPr>
          <p:cNvPr id="14284" name="Ellipse 14283">
            <a:extLst>
              <a:ext uri="{FF2B5EF4-FFF2-40B4-BE49-F238E27FC236}">
                <a16:creationId xmlns:a16="http://schemas.microsoft.com/office/drawing/2014/main" id="{BFD6FA95-61E7-45A2-A50F-F4C8323BC163}"/>
              </a:ext>
            </a:extLst>
          </p:cNvPr>
          <p:cNvSpPr/>
          <p:nvPr/>
        </p:nvSpPr>
        <p:spPr bwMode="gray">
          <a:xfrm>
            <a:off x="8028954" y="1268760"/>
            <a:ext cx="216024" cy="216024"/>
          </a:xfrm>
          <a:prstGeom prst="ellipse">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el 3">
            <a:extLst>
              <a:ext uri="{FF2B5EF4-FFF2-40B4-BE49-F238E27FC236}">
                <a16:creationId xmlns:a16="http://schemas.microsoft.com/office/drawing/2014/main" id="{60EC8D8A-C876-4EC5-A94B-31EA320D0A60}"/>
              </a:ext>
            </a:extLst>
          </p:cNvPr>
          <p:cNvSpPr>
            <a:spLocks noGrp="1"/>
          </p:cNvSpPr>
          <p:nvPr>
            <p:ph type="title"/>
          </p:nvPr>
        </p:nvSpPr>
        <p:spPr bwMode="gray"/>
        <p:txBody>
          <a:bodyPr/>
          <a:lstStyle/>
          <a:p>
            <a:r>
              <a:rPr lang="en-US" dirty="0"/>
              <a:t>Map:</a:t>
            </a:r>
            <a:br>
              <a:rPr lang="en-US" dirty="0"/>
            </a:br>
            <a:r>
              <a:rPr lang="en-US" dirty="0"/>
              <a:t>Germany</a:t>
            </a:r>
          </a:p>
        </p:txBody>
      </p:sp>
      <p:sp>
        <p:nvSpPr>
          <p:cNvPr id="5" name="Textplatzhalter 4">
            <a:extLst>
              <a:ext uri="{FF2B5EF4-FFF2-40B4-BE49-F238E27FC236}">
                <a16:creationId xmlns:a16="http://schemas.microsoft.com/office/drawing/2014/main" id="{701C482D-C885-4CA3-930D-F81A8465950A}"/>
              </a:ext>
            </a:extLst>
          </p:cNvPr>
          <p:cNvSpPr>
            <a:spLocks noGrp="1"/>
          </p:cNvSpPr>
          <p:nvPr>
            <p:ph type="body" sz="quarter" idx="15"/>
          </p:nvPr>
        </p:nvSpPr>
        <p:spPr bwMode="gray"/>
        <p:txBody>
          <a:bodyPr/>
          <a:lstStyle/>
          <a:p>
            <a:r>
              <a:rPr lang="en-US" dirty="0"/>
              <a:t>Lorem ipsum dolor sit amet, consectetuer adipiscing elit.</a:t>
            </a:r>
          </a:p>
          <a:p>
            <a:pPr lvl="1"/>
            <a:r>
              <a:rPr lang="en-US" dirty="0"/>
              <a:t>Maecenas porttitor congue massa. Fusce posuere, magna sed pulvinar ultricies, purus lectus malesuada libero, sit amet commodo magna eros quis urna.</a:t>
            </a:r>
          </a:p>
          <a:p>
            <a:pPr lvl="1"/>
            <a:endParaRPr lang="en-US" dirty="0"/>
          </a:p>
          <a:p>
            <a:pPr lvl="1"/>
            <a:r>
              <a:rPr lang="en-US" dirty="0"/>
              <a:t>Nunc viverra imperdiet enim.</a:t>
            </a:r>
          </a:p>
          <a:p>
            <a:pPr lvl="1"/>
            <a:r>
              <a:rPr lang="en-US" dirty="0"/>
              <a:t>Fusce est. Vivamus a tellus.</a:t>
            </a:r>
          </a:p>
        </p:txBody>
      </p:sp>
      <p:sp>
        <p:nvSpPr>
          <p:cNvPr id="9" name="Textplatzhalter 4">
            <a:extLst>
              <a:ext uri="{FF2B5EF4-FFF2-40B4-BE49-F238E27FC236}">
                <a16:creationId xmlns:a16="http://schemas.microsoft.com/office/drawing/2014/main" id="{F875E214-8B1B-4F67-8541-9AA730A5BD30}"/>
              </a:ext>
            </a:extLst>
          </p:cNvPr>
          <p:cNvSpPr txBox="1">
            <a:spLocks/>
          </p:cNvSpPr>
          <p:nvPr/>
        </p:nvSpPr>
        <p:spPr bwMode="gray">
          <a:xfrm>
            <a:off x="9624392" y="4783811"/>
            <a:ext cx="1944000" cy="828069"/>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lgn="r"/>
            <a:r>
              <a:rPr lang="en-US" dirty="0"/>
              <a:t>CO</a:t>
            </a:r>
            <a:r>
              <a:rPr lang="en-US" baseline="-25000" dirty="0"/>
              <a:t>2</a:t>
            </a:r>
            <a:r>
              <a:rPr lang="en-US" dirty="0"/>
              <a:t> we can save with our combined heating and power plant in Lübeck</a:t>
            </a:r>
          </a:p>
        </p:txBody>
      </p:sp>
      <p:sp>
        <p:nvSpPr>
          <p:cNvPr id="10" name="Textplatzhalter 3">
            <a:extLst>
              <a:ext uri="{FF2B5EF4-FFF2-40B4-BE49-F238E27FC236}">
                <a16:creationId xmlns:a16="http://schemas.microsoft.com/office/drawing/2014/main" id="{DBF1DA53-7FCE-4822-A88A-51E5733DE442}"/>
              </a:ext>
            </a:extLst>
          </p:cNvPr>
          <p:cNvSpPr txBox="1">
            <a:spLocks/>
          </p:cNvSpPr>
          <p:nvPr/>
        </p:nvSpPr>
        <p:spPr bwMode="gray">
          <a:xfrm>
            <a:off x="9624392" y="4063768"/>
            <a:ext cx="194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r"/>
            <a:r>
              <a:rPr lang="en-US" dirty="0">
                <a:solidFill>
                  <a:schemeClr val="accent5"/>
                </a:solidFill>
              </a:rPr>
              <a:t>25%</a:t>
            </a:r>
          </a:p>
        </p:txBody>
      </p:sp>
      <p:sp>
        <p:nvSpPr>
          <p:cNvPr id="14285" name="Textplatzhalter 4">
            <a:extLst>
              <a:ext uri="{FF2B5EF4-FFF2-40B4-BE49-F238E27FC236}">
                <a16:creationId xmlns:a16="http://schemas.microsoft.com/office/drawing/2014/main" id="{2E206F09-5F63-48A3-A82B-98D18B05A062}"/>
              </a:ext>
            </a:extLst>
          </p:cNvPr>
          <p:cNvSpPr txBox="1">
            <a:spLocks/>
          </p:cNvSpPr>
          <p:nvPr/>
        </p:nvSpPr>
        <p:spPr bwMode="gray">
          <a:xfrm>
            <a:off x="4007768" y="1736835"/>
            <a:ext cx="1944000" cy="828069"/>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CO</a:t>
            </a:r>
            <a:r>
              <a:rPr lang="en-US" baseline="-25000" dirty="0"/>
              <a:t>2</a:t>
            </a:r>
            <a:r>
              <a:rPr lang="en-US" dirty="0"/>
              <a:t> we can save with our combined heating and power plant in Lübeck</a:t>
            </a:r>
          </a:p>
        </p:txBody>
      </p:sp>
      <p:sp>
        <p:nvSpPr>
          <p:cNvPr id="14286" name="Textplatzhalter 3">
            <a:extLst>
              <a:ext uri="{FF2B5EF4-FFF2-40B4-BE49-F238E27FC236}">
                <a16:creationId xmlns:a16="http://schemas.microsoft.com/office/drawing/2014/main" id="{FF01260F-1428-4120-A534-E39F5B3D51A4}"/>
              </a:ext>
            </a:extLst>
          </p:cNvPr>
          <p:cNvSpPr txBox="1">
            <a:spLocks/>
          </p:cNvSpPr>
          <p:nvPr/>
        </p:nvSpPr>
        <p:spPr bwMode="gray">
          <a:xfrm>
            <a:off x="4007768" y="1016792"/>
            <a:ext cx="194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dirty="0">
                <a:solidFill>
                  <a:schemeClr val="accent5"/>
                </a:solidFill>
              </a:rPr>
              <a:t>25%</a:t>
            </a:r>
          </a:p>
        </p:txBody>
      </p:sp>
      <p:grpSp>
        <p:nvGrpSpPr>
          <p:cNvPr id="2" name="Gruppieren 1">
            <a:extLst>
              <a:ext uri="{FF2B5EF4-FFF2-40B4-BE49-F238E27FC236}">
                <a16:creationId xmlns:a16="http://schemas.microsoft.com/office/drawing/2014/main" id="{01463055-9022-4231-8782-B8CF84492E0F}"/>
              </a:ext>
            </a:extLst>
          </p:cNvPr>
          <p:cNvGrpSpPr/>
          <p:nvPr/>
        </p:nvGrpSpPr>
        <p:grpSpPr bwMode="gray">
          <a:xfrm>
            <a:off x="4475820" y="3991700"/>
            <a:ext cx="3240360" cy="3240360"/>
            <a:chOff x="4295800" y="4005064"/>
            <a:chExt cx="3240360" cy="3240360"/>
          </a:xfrm>
        </p:grpSpPr>
        <p:sp>
          <p:nvSpPr>
            <p:cNvPr id="14289" name="Ellipse 14288">
              <a:extLst>
                <a:ext uri="{FF2B5EF4-FFF2-40B4-BE49-F238E27FC236}">
                  <a16:creationId xmlns:a16="http://schemas.microsoft.com/office/drawing/2014/main" id="{8E1D6C5B-F437-4B2E-883E-47105DCD6B1C}"/>
                </a:ext>
              </a:extLst>
            </p:cNvPr>
            <p:cNvSpPr/>
            <p:nvPr/>
          </p:nvSpPr>
          <p:spPr bwMode="gray">
            <a:xfrm>
              <a:off x="4295800" y="4005064"/>
              <a:ext cx="3240360" cy="3240360"/>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287" name="Textplatzhalter 4">
              <a:extLst>
                <a:ext uri="{FF2B5EF4-FFF2-40B4-BE49-F238E27FC236}">
                  <a16:creationId xmlns:a16="http://schemas.microsoft.com/office/drawing/2014/main" id="{3482DF51-0FC3-491D-8496-8024516B6E2C}"/>
                </a:ext>
              </a:extLst>
            </p:cNvPr>
            <p:cNvSpPr txBox="1">
              <a:spLocks/>
            </p:cNvSpPr>
            <p:nvPr/>
          </p:nvSpPr>
          <p:spPr bwMode="gray">
            <a:xfrm>
              <a:off x="5015880" y="5491063"/>
              <a:ext cx="1944000" cy="828069"/>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solidFill>
                    <a:schemeClr val="bg1"/>
                  </a:solidFill>
                </a:rPr>
                <a:t>CO</a:t>
              </a:r>
              <a:r>
                <a:rPr lang="en-US" baseline="-25000" dirty="0">
                  <a:solidFill>
                    <a:schemeClr val="bg1"/>
                  </a:solidFill>
                </a:rPr>
                <a:t>2</a:t>
              </a:r>
              <a:r>
                <a:rPr lang="en-US" dirty="0">
                  <a:solidFill>
                    <a:schemeClr val="bg1"/>
                  </a:solidFill>
                </a:rPr>
                <a:t> we can save with our combined heating and power plant in Lübeck</a:t>
              </a:r>
            </a:p>
          </p:txBody>
        </p:sp>
        <p:sp>
          <p:nvSpPr>
            <p:cNvPr id="14288" name="Textplatzhalter 3">
              <a:extLst>
                <a:ext uri="{FF2B5EF4-FFF2-40B4-BE49-F238E27FC236}">
                  <a16:creationId xmlns:a16="http://schemas.microsoft.com/office/drawing/2014/main" id="{A5EE2696-0332-4119-B9F9-B5E118FB5A3D}"/>
                </a:ext>
              </a:extLst>
            </p:cNvPr>
            <p:cNvSpPr txBox="1">
              <a:spLocks/>
            </p:cNvSpPr>
            <p:nvPr/>
          </p:nvSpPr>
          <p:spPr bwMode="gray">
            <a:xfrm>
              <a:off x="5015880" y="4771020"/>
              <a:ext cx="194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dirty="0">
                  <a:solidFill>
                    <a:schemeClr val="bg1"/>
                  </a:solidFill>
                </a:rPr>
                <a:t>25%</a:t>
              </a:r>
            </a:p>
          </p:txBody>
        </p:sp>
      </p:grpSp>
      <p:cxnSp>
        <p:nvCxnSpPr>
          <p:cNvPr id="14290" name="Gerader Verbinder 14289">
            <a:extLst>
              <a:ext uri="{FF2B5EF4-FFF2-40B4-BE49-F238E27FC236}">
                <a16:creationId xmlns:a16="http://schemas.microsoft.com/office/drawing/2014/main" id="{D72DB9F2-42BA-4F4E-8602-677A8F04C20E}"/>
              </a:ext>
            </a:extLst>
          </p:cNvPr>
          <p:cNvCxnSpPr/>
          <p:nvPr/>
        </p:nvCxnSpPr>
        <p:spPr bwMode="gray">
          <a:xfrm>
            <a:off x="5519936" y="1556792"/>
            <a:ext cx="4316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291" name="Gerader Verbinder 14290">
            <a:extLst>
              <a:ext uri="{FF2B5EF4-FFF2-40B4-BE49-F238E27FC236}">
                <a16:creationId xmlns:a16="http://schemas.microsoft.com/office/drawing/2014/main" id="{8242B13E-D01F-472D-BD20-5A115873E89A}"/>
              </a:ext>
            </a:extLst>
          </p:cNvPr>
          <p:cNvCxnSpPr/>
          <p:nvPr/>
        </p:nvCxnSpPr>
        <p:spPr bwMode="gray">
          <a:xfrm>
            <a:off x="9552384" y="4603768"/>
            <a:ext cx="4316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8642" name="Textplatzhalter 3">
            <a:extLst>
              <a:ext uri="{FF2B5EF4-FFF2-40B4-BE49-F238E27FC236}">
                <a16:creationId xmlns:a16="http://schemas.microsoft.com/office/drawing/2014/main" id="{AD47B12E-4D05-4196-84ED-3E70A7133F6C}"/>
              </a:ext>
            </a:extLst>
          </p:cNvPr>
          <p:cNvSpPr txBox="1">
            <a:spLocks/>
          </p:cNvSpPr>
          <p:nvPr/>
        </p:nvSpPr>
        <p:spPr bwMode="gray">
          <a:xfrm>
            <a:off x="8377113" y="1160688"/>
            <a:ext cx="2519362"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dirty="0">
                <a:solidFill>
                  <a:schemeClr val="accent5"/>
                </a:solidFill>
              </a:rPr>
              <a:t>Lübeck</a:t>
            </a:r>
          </a:p>
        </p:txBody>
      </p:sp>
      <p:sp>
        <p:nvSpPr>
          <p:cNvPr id="6" name="Fußzeilenplatzhalter 5">
            <a:extLst>
              <a:ext uri="{FF2B5EF4-FFF2-40B4-BE49-F238E27FC236}">
                <a16:creationId xmlns:a16="http://schemas.microsoft.com/office/drawing/2014/main" id="{97ADE627-E8D9-4D04-87B4-6208F9013890}"/>
              </a:ext>
            </a:extLst>
          </p:cNvPr>
          <p:cNvSpPr>
            <a:spLocks noGrp="1"/>
          </p:cNvSpPr>
          <p:nvPr>
            <p:ph type="ftr" sz="quarter" idx="16"/>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B018EAFE-69E9-44F4-A968-F25A5CBDBB38}"/>
              </a:ext>
            </a:extLst>
          </p:cNvPr>
          <p:cNvSpPr>
            <a:spLocks noGrp="1"/>
          </p:cNvSpPr>
          <p:nvPr>
            <p:ph type="sldNum" sz="quarter" idx="12"/>
          </p:nvPr>
        </p:nvSpPr>
        <p:spPr/>
        <p:txBody>
          <a:bodyPr/>
          <a:lstStyle/>
          <a:p>
            <a:fld id="{CE82B8A1-0CCE-4815-9668-383D7DE7D8B4}" type="slidenum">
              <a:rPr lang="en-US" noProof="0" smtClean="0"/>
              <a:pPr/>
              <a:t>66</a:t>
            </a:fld>
            <a:endParaRPr lang="en-US" noProof="0" dirty="0"/>
          </a:p>
        </p:txBody>
      </p:sp>
    </p:spTree>
    <p:extLst>
      <p:ext uri="{BB962C8B-B14F-4D97-AF65-F5344CB8AC3E}">
        <p14:creationId xmlns:p14="http://schemas.microsoft.com/office/powerpoint/2010/main" val="335097888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59" name="Group 40">
            <a:extLst>
              <a:ext uri="{FF2B5EF4-FFF2-40B4-BE49-F238E27FC236}">
                <a16:creationId xmlns:a16="http://schemas.microsoft.com/office/drawing/2014/main" id="{6BB8A277-05F8-45C3-BC63-39878D6A5C58}"/>
              </a:ext>
            </a:extLst>
          </p:cNvPr>
          <p:cNvGrpSpPr>
            <a:grpSpLocks/>
          </p:cNvGrpSpPr>
          <p:nvPr/>
        </p:nvGrpSpPr>
        <p:grpSpPr bwMode="gray">
          <a:xfrm>
            <a:off x="3981366" y="1052736"/>
            <a:ext cx="7485624" cy="4667250"/>
            <a:chOff x="5602" y="1162"/>
            <a:chExt cx="7538" cy="4814"/>
          </a:xfrm>
          <a:solidFill>
            <a:schemeClr val="accent6"/>
          </a:solidFill>
        </p:grpSpPr>
        <p:sp>
          <p:nvSpPr>
            <p:cNvPr id="6260" name="Freeform 10">
              <a:extLst>
                <a:ext uri="{FF2B5EF4-FFF2-40B4-BE49-F238E27FC236}">
                  <a16:creationId xmlns:a16="http://schemas.microsoft.com/office/drawing/2014/main" id="{6843FB29-7767-454D-8EA2-50AB8D3038D4}"/>
                </a:ext>
              </a:extLst>
            </p:cNvPr>
            <p:cNvSpPr>
              <a:spLocks noEditPoints="1"/>
            </p:cNvSpPr>
            <p:nvPr/>
          </p:nvSpPr>
          <p:spPr bwMode="gray">
            <a:xfrm>
              <a:off x="9568" y="1420"/>
              <a:ext cx="1030" cy="1318"/>
            </a:xfrm>
            <a:custGeom>
              <a:avLst/>
              <a:gdLst>
                <a:gd name="T0" fmla="*/ 216 w 436"/>
                <a:gd name="T1" fmla="*/ 555 h 558"/>
                <a:gd name="T2" fmla="*/ 195 w 436"/>
                <a:gd name="T3" fmla="*/ 542 h 558"/>
                <a:gd name="T4" fmla="*/ 189 w 436"/>
                <a:gd name="T5" fmla="*/ 517 h 558"/>
                <a:gd name="T6" fmla="*/ 176 w 436"/>
                <a:gd name="T7" fmla="*/ 502 h 558"/>
                <a:gd name="T8" fmla="*/ 148 w 436"/>
                <a:gd name="T9" fmla="*/ 495 h 558"/>
                <a:gd name="T10" fmla="*/ 115 w 436"/>
                <a:gd name="T11" fmla="*/ 507 h 558"/>
                <a:gd name="T12" fmla="*/ 73 w 436"/>
                <a:gd name="T13" fmla="*/ 501 h 558"/>
                <a:gd name="T14" fmla="*/ 46 w 436"/>
                <a:gd name="T15" fmla="*/ 472 h 558"/>
                <a:gd name="T16" fmla="*/ 38 w 436"/>
                <a:gd name="T17" fmla="*/ 444 h 558"/>
                <a:gd name="T18" fmla="*/ 48 w 436"/>
                <a:gd name="T19" fmla="*/ 421 h 558"/>
                <a:gd name="T20" fmla="*/ 63 w 436"/>
                <a:gd name="T21" fmla="*/ 391 h 558"/>
                <a:gd name="T22" fmla="*/ 39 w 436"/>
                <a:gd name="T23" fmla="*/ 388 h 558"/>
                <a:gd name="T24" fmla="*/ 16 w 436"/>
                <a:gd name="T25" fmla="*/ 337 h 558"/>
                <a:gd name="T26" fmla="*/ 24 w 436"/>
                <a:gd name="T27" fmla="*/ 292 h 558"/>
                <a:gd name="T28" fmla="*/ 12 w 436"/>
                <a:gd name="T29" fmla="*/ 261 h 558"/>
                <a:gd name="T30" fmla="*/ 7 w 436"/>
                <a:gd name="T31" fmla="*/ 214 h 558"/>
                <a:gd name="T32" fmla="*/ 36 w 436"/>
                <a:gd name="T33" fmla="*/ 168 h 558"/>
                <a:gd name="T34" fmla="*/ 46 w 436"/>
                <a:gd name="T35" fmla="*/ 128 h 558"/>
                <a:gd name="T36" fmla="*/ 84 w 436"/>
                <a:gd name="T37" fmla="*/ 128 h 558"/>
                <a:gd name="T38" fmla="*/ 115 w 436"/>
                <a:gd name="T39" fmla="*/ 121 h 558"/>
                <a:gd name="T40" fmla="*/ 143 w 436"/>
                <a:gd name="T41" fmla="*/ 136 h 558"/>
                <a:gd name="T42" fmla="*/ 155 w 436"/>
                <a:gd name="T43" fmla="*/ 144 h 558"/>
                <a:gd name="T44" fmla="*/ 166 w 436"/>
                <a:gd name="T45" fmla="*/ 115 h 558"/>
                <a:gd name="T46" fmla="*/ 185 w 436"/>
                <a:gd name="T47" fmla="*/ 84 h 558"/>
                <a:gd name="T48" fmla="*/ 182 w 436"/>
                <a:gd name="T49" fmla="*/ 57 h 558"/>
                <a:gd name="T50" fmla="*/ 190 w 436"/>
                <a:gd name="T51" fmla="*/ 61 h 558"/>
                <a:gd name="T52" fmla="*/ 199 w 436"/>
                <a:gd name="T53" fmla="*/ 41 h 558"/>
                <a:gd name="T54" fmla="*/ 196 w 436"/>
                <a:gd name="T55" fmla="*/ 17 h 558"/>
                <a:gd name="T56" fmla="*/ 203 w 436"/>
                <a:gd name="T57" fmla="*/ 1 h 558"/>
                <a:gd name="T58" fmla="*/ 223 w 436"/>
                <a:gd name="T59" fmla="*/ 7 h 558"/>
                <a:gd name="T60" fmla="*/ 222 w 436"/>
                <a:gd name="T61" fmla="*/ 28 h 558"/>
                <a:gd name="T62" fmla="*/ 245 w 436"/>
                <a:gd name="T63" fmla="*/ 55 h 558"/>
                <a:gd name="T64" fmla="*/ 286 w 436"/>
                <a:gd name="T65" fmla="*/ 47 h 558"/>
                <a:gd name="T66" fmla="*/ 296 w 436"/>
                <a:gd name="T67" fmla="*/ 37 h 558"/>
                <a:gd name="T68" fmla="*/ 326 w 436"/>
                <a:gd name="T69" fmla="*/ 49 h 558"/>
                <a:gd name="T70" fmla="*/ 311 w 436"/>
                <a:gd name="T71" fmla="*/ 96 h 558"/>
                <a:gd name="T72" fmla="*/ 282 w 436"/>
                <a:gd name="T73" fmla="*/ 87 h 558"/>
                <a:gd name="T74" fmla="*/ 282 w 436"/>
                <a:gd name="T75" fmla="*/ 109 h 558"/>
                <a:gd name="T76" fmla="*/ 310 w 436"/>
                <a:gd name="T77" fmla="*/ 122 h 558"/>
                <a:gd name="T78" fmla="*/ 344 w 436"/>
                <a:gd name="T79" fmla="*/ 145 h 558"/>
                <a:gd name="T80" fmla="*/ 337 w 436"/>
                <a:gd name="T81" fmla="*/ 164 h 558"/>
                <a:gd name="T82" fmla="*/ 364 w 436"/>
                <a:gd name="T83" fmla="*/ 169 h 558"/>
                <a:gd name="T84" fmla="*/ 371 w 436"/>
                <a:gd name="T85" fmla="*/ 219 h 558"/>
                <a:gd name="T86" fmla="*/ 380 w 436"/>
                <a:gd name="T87" fmla="*/ 267 h 558"/>
                <a:gd name="T88" fmla="*/ 377 w 436"/>
                <a:gd name="T89" fmla="*/ 289 h 558"/>
                <a:gd name="T90" fmla="*/ 406 w 436"/>
                <a:gd name="T91" fmla="*/ 310 h 558"/>
                <a:gd name="T92" fmla="*/ 433 w 436"/>
                <a:gd name="T93" fmla="*/ 371 h 558"/>
                <a:gd name="T94" fmla="*/ 411 w 436"/>
                <a:gd name="T95" fmla="*/ 413 h 558"/>
                <a:gd name="T96" fmla="*/ 412 w 436"/>
                <a:gd name="T97" fmla="*/ 429 h 558"/>
                <a:gd name="T98" fmla="*/ 374 w 436"/>
                <a:gd name="T99" fmla="*/ 460 h 558"/>
                <a:gd name="T100" fmla="*/ 343 w 436"/>
                <a:gd name="T101" fmla="*/ 466 h 558"/>
                <a:gd name="T102" fmla="*/ 314 w 436"/>
                <a:gd name="T103" fmla="*/ 469 h 558"/>
                <a:gd name="T104" fmla="*/ 238 w 436"/>
                <a:gd name="T105" fmla="*/ 552 h 558"/>
                <a:gd name="T106" fmla="*/ 240 w 436"/>
                <a:gd name="T107" fmla="*/ 529 h 558"/>
                <a:gd name="T108" fmla="*/ 260 w 436"/>
                <a:gd name="T109" fmla="*/ 506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6" h="558">
                  <a:moveTo>
                    <a:pt x="238" y="553"/>
                  </a:moveTo>
                  <a:cubicBezTo>
                    <a:pt x="228" y="558"/>
                    <a:pt x="228" y="558"/>
                    <a:pt x="228" y="558"/>
                  </a:cubicBezTo>
                  <a:cubicBezTo>
                    <a:pt x="219" y="558"/>
                    <a:pt x="219" y="558"/>
                    <a:pt x="219" y="558"/>
                  </a:cubicBezTo>
                  <a:cubicBezTo>
                    <a:pt x="216" y="555"/>
                    <a:pt x="216" y="555"/>
                    <a:pt x="216" y="555"/>
                  </a:cubicBezTo>
                  <a:cubicBezTo>
                    <a:pt x="214" y="546"/>
                    <a:pt x="214" y="546"/>
                    <a:pt x="214" y="546"/>
                  </a:cubicBezTo>
                  <a:cubicBezTo>
                    <a:pt x="211" y="545"/>
                    <a:pt x="211" y="545"/>
                    <a:pt x="211" y="545"/>
                  </a:cubicBezTo>
                  <a:cubicBezTo>
                    <a:pt x="199" y="544"/>
                    <a:pt x="199" y="544"/>
                    <a:pt x="199" y="544"/>
                  </a:cubicBezTo>
                  <a:cubicBezTo>
                    <a:pt x="195" y="542"/>
                    <a:pt x="195" y="542"/>
                    <a:pt x="195" y="542"/>
                  </a:cubicBezTo>
                  <a:cubicBezTo>
                    <a:pt x="193" y="538"/>
                    <a:pt x="193" y="538"/>
                    <a:pt x="193" y="538"/>
                  </a:cubicBezTo>
                  <a:cubicBezTo>
                    <a:pt x="192" y="531"/>
                    <a:pt x="192" y="531"/>
                    <a:pt x="192" y="531"/>
                  </a:cubicBezTo>
                  <a:cubicBezTo>
                    <a:pt x="190" y="524"/>
                    <a:pt x="190" y="524"/>
                    <a:pt x="190" y="524"/>
                  </a:cubicBezTo>
                  <a:cubicBezTo>
                    <a:pt x="189" y="517"/>
                    <a:pt x="189" y="517"/>
                    <a:pt x="189" y="517"/>
                  </a:cubicBezTo>
                  <a:cubicBezTo>
                    <a:pt x="188" y="511"/>
                    <a:pt x="188" y="511"/>
                    <a:pt x="188" y="511"/>
                  </a:cubicBezTo>
                  <a:cubicBezTo>
                    <a:pt x="184" y="509"/>
                    <a:pt x="184" y="509"/>
                    <a:pt x="184" y="509"/>
                  </a:cubicBezTo>
                  <a:cubicBezTo>
                    <a:pt x="180" y="510"/>
                    <a:pt x="180" y="510"/>
                    <a:pt x="180" y="510"/>
                  </a:cubicBezTo>
                  <a:cubicBezTo>
                    <a:pt x="176" y="502"/>
                    <a:pt x="176" y="502"/>
                    <a:pt x="176" y="502"/>
                  </a:cubicBezTo>
                  <a:cubicBezTo>
                    <a:pt x="169" y="503"/>
                    <a:pt x="169" y="503"/>
                    <a:pt x="169" y="503"/>
                  </a:cubicBezTo>
                  <a:cubicBezTo>
                    <a:pt x="165" y="498"/>
                    <a:pt x="165" y="498"/>
                    <a:pt x="165" y="498"/>
                  </a:cubicBezTo>
                  <a:cubicBezTo>
                    <a:pt x="161" y="495"/>
                    <a:pt x="161" y="495"/>
                    <a:pt x="161" y="495"/>
                  </a:cubicBezTo>
                  <a:cubicBezTo>
                    <a:pt x="148" y="495"/>
                    <a:pt x="148" y="495"/>
                    <a:pt x="148" y="495"/>
                  </a:cubicBezTo>
                  <a:cubicBezTo>
                    <a:pt x="138" y="495"/>
                    <a:pt x="138" y="495"/>
                    <a:pt x="138" y="495"/>
                  </a:cubicBezTo>
                  <a:cubicBezTo>
                    <a:pt x="131" y="497"/>
                    <a:pt x="131" y="497"/>
                    <a:pt x="131" y="497"/>
                  </a:cubicBezTo>
                  <a:cubicBezTo>
                    <a:pt x="125" y="503"/>
                    <a:pt x="125" y="503"/>
                    <a:pt x="125" y="503"/>
                  </a:cubicBezTo>
                  <a:cubicBezTo>
                    <a:pt x="115" y="507"/>
                    <a:pt x="115" y="507"/>
                    <a:pt x="115" y="507"/>
                  </a:cubicBezTo>
                  <a:cubicBezTo>
                    <a:pt x="100" y="508"/>
                    <a:pt x="100" y="508"/>
                    <a:pt x="100" y="508"/>
                  </a:cubicBezTo>
                  <a:cubicBezTo>
                    <a:pt x="90" y="509"/>
                    <a:pt x="90" y="509"/>
                    <a:pt x="90" y="509"/>
                  </a:cubicBezTo>
                  <a:cubicBezTo>
                    <a:pt x="78" y="505"/>
                    <a:pt x="78" y="505"/>
                    <a:pt x="78" y="505"/>
                  </a:cubicBezTo>
                  <a:cubicBezTo>
                    <a:pt x="73" y="501"/>
                    <a:pt x="73" y="501"/>
                    <a:pt x="73" y="501"/>
                  </a:cubicBezTo>
                  <a:cubicBezTo>
                    <a:pt x="60" y="502"/>
                    <a:pt x="60" y="502"/>
                    <a:pt x="60" y="502"/>
                  </a:cubicBezTo>
                  <a:cubicBezTo>
                    <a:pt x="58" y="498"/>
                    <a:pt x="56" y="493"/>
                    <a:pt x="55" y="490"/>
                  </a:cubicBezTo>
                  <a:cubicBezTo>
                    <a:pt x="53" y="487"/>
                    <a:pt x="51" y="484"/>
                    <a:pt x="49" y="481"/>
                  </a:cubicBezTo>
                  <a:cubicBezTo>
                    <a:pt x="48" y="478"/>
                    <a:pt x="47" y="475"/>
                    <a:pt x="46" y="472"/>
                  </a:cubicBezTo>
                  <a:cubicBezTo>
                    <a:pt x="45" y="471"/>
                    <a:pt x="45" y="469"/>
                    <a:pt x="45" y="469"/>
                  </a:cubicBezTo>
                  <a:cubicBezTo>
                    <a:pt x="45" y="467"/>
                    <a:pt x="44" y="463"/>
                    <a:pt x="44" y="460"/>
                  </a:cubicBezTo>
                  <a:cubicBezTo>
                    <a:pt x="43" y="457"/>
                    <a:pt x="41" y="453"/>
                    <a:pt x="40" y="450"/>
                  </a:cubicBezTo>
                  <a:cubicBezTo>
                    <a:pt x="40" y="448"/>
                    <a:pt x="39" y="446"/>
                    <a:pt x="38" y="444"/>
                  </a:cubicBezTo>
                  <a:cubicBezTo>
                    <a:pt x="38" y="441"/>
                    <a:pt x="36" y="437"/>
                    <a:pt x="35" y="434"/>
                  </a:cubicBezTo>
                  <a:cubicBezTo>
                    <a:pt x="34" y="432"/>
                    <a:pt x="31" y="428"/>
                    <a:pt x="30" y="426"/>
                  </a:cubicBezTo>
                  <a:cubicBezTo>
                    <a:pt x="40" y="424"/>
                    <a:pt x="40" y="424"/>
                    <a:pt x="40" y="424"/>
                  </a:cubicBezTo>
                  <a:cubicBezTo>
                    <a:pt x="48" y="421"/>
                    <a:pt x="48" y="421"/>
                    <a:pt x="48" y="421"/>
                  </a:cubicBezTo>
                  <a:cubicBezTo>
                    <a:pt x="55" y="412"/>
                    <a:pt x="55" y="412"/>
                    <a:pt x="55" y="412"/>
                  </a:cubicBezTo>
                  <a:cubicBezTo>
                    <a:pt x="61" y="402"/>
                    <a:pt x="61" y="402"/>
                    <a:pt x="61" y="402"/>
                  </a:cubicBezTo>
                  <a:cubicBezTo>
                    <a:pt x="66" y="393"/>
                    <a:pt x="66" y="393"/>
                    <a:pt x="66" y="393"/>
                  </a:cubicBezTo>
                  <a:cubicBezTo>
                    <a:pt x="63" y="391"/>
                    <a:pt x="63" y="391"/>
                    <a:pt x="63" y="391"/>
                  </a:cubicBezTo>
                  <a:cubicBezTo>
                    <a:pt x="57" y="400"/>
                    <a:pt x="57" y="400"/>
                    <a:pt x="57" y="400"/>
                  </a:cubicBezTo>
                  <a:cubicBezTo>
                    <a:pt x="48" y="398"/>
                    <a:pt x="48" y="398"/>
                    <a:pt x="48" y="398"/>
                  </a:cubicBezTo>
                  <a:cubicBezTo>
                    <a:pt x="44" y="395"/>
                    <a:pt x="44" y="395"/>
                    <a:pt x="44" y="395"/>
                  </a:cubicBezTo>
                  <a:cubicBezTo>
                    <a:pt x="39" y="388"/>
                    <a:pt x="39" y="388"/>
                    <a:pt x="39" y="388"/>
                  </a:cubicBezTo>
                  <a:cubicBezTo>
                    <a:pt x="37" y="364"/>
                    <a:pt x="37" y="364"/>
                    <a:pt x="37" y="364"/>
                  </a:cubicBezTo>
                  <a:cubicBezTo>
                    <a:pt x="39" y="356"/>
                    <a:pt x="39" y="356"/>
                    <a:pt x="39" y="356"/>
                  </a:cubicBezTo>
                  <a:cubicBezTo>
                    <a:pt x="17" y="344"/>
                    <a:pt x="17" y="344"/>
                    <a:pt x="17" y="344"/>
                  </a:cubicBezTo>
                  <a:cubicBezTo>
                    <a:pt x="16" y="337"/>
                    <a:pt x="16" y="337"/>
                    <a:pt x="16" y="337"/>
                  </a:cubicBezTo>
                  <a:cubicBezTo>
                    <a:pt x="35" y="314"/>
                    <a:pt x="35" y="314"/>
                    <a:pt x="35" y="314"/>
                  </a:cubicBezTo>
                  <a:cubicBezTo>
                    <a:pt x="38" y="309"/>
                    <a:pt x="38" y="309"/>
                    <a:pt x="38" y="309"/>
                  </a:cubicBezTo>
                  <a:cubicBezTo>
                    <a:pt x="36" y="299"/>
                    <a:pt x="36" y="299"/>
                    <a:pt x="36" y="299"/>
                  </a:cubicBezTo>
                  <a:cubicBezTo>
                    <a:pt x="24" y="292"/>
                    <a:pt x="24" y="292"/>
                    <a:pt x="24" y="292"/>
                  </a:cubicBezTo>
                  <a:cubicBezTo>
                    <a:pt x="17" y="289"/>
                    <a:pt x="17" y="289"/>
                    <a:pt x="17" y="289"/>
                  </a:cubicBezTo>
                  <a:cubicBezTo>
                    <a:pt x="17" y="286"/>
                    <a:pt x="17" y="286"/>
                    <a:pt x="17" y="286"/>
                  </a:cubicBezTo>
                  <a:cubicBezTo>
                    <a:pt x="14" y="270"/>
                    <a:pt x="14" y="270"/>
                    <a:pt x="14" y="270"/>
                  </a:cubicBezTo>
                  <a:cubicBezTo>
                    <a:pt x="12" y="261"/>
                    <a:pt x="12" y="261"/>
                    <a:pt x="12" y="261"/>
                  </a:cubicBezTo>
                  <a:cubicBezTo>
                    <a:pt x="11" y="256"/>
                    <a:pt x="11" y="256"/>
                    <a:pt x="11" y="256"/>
                  </a:cubicBezTo>
                  <a:cubicBezTo>
                    <a:pt x="6" y="252"/>
                    <a:pt x="6" y="252"/>
                    <a:pt x="6" y="252"/>
                  </a:cubicBezTo>
                  <a:cubicBezTo>
                    <a:pt x="0" y="235"/>
                    <a:pt x="0" y="235"/>
                    <a:pt x="0" y="235"/>
                  </a:cubicBezTo>
                  <a:cubicBezTo>
                    <a:pt x="7" y="214"/>
                    <a:pt x="7" y="214"/>
                    <a:pt x="7" y="214"/>
                  </a:cubicBezTo>
                  <a:cubicBezTo>
                    <a:pt x="12" y="204"/>
                    <a:pt x="12" y="204"/>
                    <a:pt x="12" y="204"/>
                  </a:cubicBezTo>
                  <a:cubicBezTo>
                    <a:pt x="12" y="190"/>
                    <a:pt x="12" y="190"/>
                    <a:pt x="12" y="190"/>
                  </a:cubicBezTo>
                  <a:cubicBezTo>
                    <a:pt x="23" y="181"/>
                    <a:pt x="23" y="181"/>
                    <a:pt x="23" y="181"/>
                  </a:cubicBezTo>
                  <a:cubicBezTo>
                    <a:pt x="36" y="168"/>
                    <a:pt x="36" y="168"/>
                    <a:pt x="36" y="168"/>
                  </a:cubicBezTo>
                  <a:cubicBezTo>
                    <a:pt x="44" y="150"/>
                    <a:pt x="44" y="150"/>
                    <a:pt x="44" y="150"/>
                  </a:cubicBezTo>
                  <a:cubicBezTo>
                    <a:pt x="44" y="137"/>
                    <a:pt x="44" y="137"/>
                    <a:pt x="44" y="137"/>
                  </a:cubicBezTo>
                  <a:cubicBezTo>
                    <a:pt x="42" y="135"/>
                    <a:pt x="42" y="135"/>
                    <a:pt x="42" y="135"/>
                  </a:cubicBezTo>
                  <a:cubicBezTo>
                    <a:pt x="46" y="128"/>
                    <a:pt x="46" y="128"/>
                    <a:pt x="46" y="128"/>
                  </a:cubicBezTo>
                  <a:cubicBezTo>
                    <a:pt x="48" y="129"/>
                    <a:pt x="50" y="131"/>
                    <a:pt x="52" y="131"/>
                  </a:cubicBezTo>
                  <a:cubicBezTo>
                    <a:pt x="54" y="132"/>
                    <a:pt x="57" y="132"/>
                    <a:pt x="60" y="132"/>
                  </a:cubicBezTo>
                  <a:cubicBezTo>
                    <a:pt x="64" y="132"/>
                    <a:pt x="69" y="132"/>
                    <a:pt x="73" y="131"/>
                  </a:cubicBezTo>
                  <a:cubicBezTo>
                    <a:pt x="76" y="131"/>
                    <a:pt x="81" y="129"/>
                    <a:pt x="84" y="128"/>
                  </a:cubicBezTo>
                  <a:cubicBezTo>
                    <a:pt x="88" y="127"/>
                    <a:pt x="94" y="127"/>
                    <a:pt x="98" y="125"/>
                  </a:cubicBezTo>
                  <a:cubicBezTo>
                    <a:pt x="100" y="124"/>
                    <a:pt x="100" y="121"/>
                    <a:pt x="102" y="120"/>
                  </a:cubicBezTo>
                  <a:cubicBezTo>
                    <a:pt x="103" y="120"/>
                    <a:pt x="106" y="121"/>
                    <a:pt x="108" y="121"/>
                  </a:cubicBezTo>
                  <a:cubicBezTo>
                    <a:pt x="110" y="121"/>
                    <a:pt x="113" y="121"/>
                    <a:pt x="115" y="121"/>
                  </a:cubicBezTo>
                  <a:cubicBezTo>
                    <a:pt x="118" y="122"/>
                    <a:pt x="121" y="123"/>
                    <a:pt x="123" y="124"/>
                  </a:cubicBezTo>
                  <a:cubicBezTo>
                    <a:pt x="125" y="125"/>
                    <a:pt x="128" y="126"/>
                    <a:pt x="130" y="127"/>
                  </a:cubicBezTo>
                  <a:cubicBezTo>
                    <a:pt x="132" y="127"/>
                    <a:pt x="135" y="128"/>
                    <a:pt x="136" y="129"/>
                  </a:cubicBezTo>
                  <a:cubicBezTo>
                    <a:pt x="139" y="131"/>
                    <a:pt x="141" y="133"/>
                    <a:pt x="143" y="136"/>
                  </a:cubicBezTo>
                  <a:cubicBezTo>
                    <a:pt x="144" y="137"/>
                    <a:pt x="145" y="141"/>
                    <a:pt x="145" y="143"/>
                  </a:cubicBezTo>
                  <a:cubicBezTo>
                    <a:pt x="146" y="145"/>
                    <a:pt x="146" y="149"/>
                    <a:pt x="148" y="150"/>
                  </a:cubicBezTo>
                  <a:cubicBezTo>
                    <a:pt x="149" y="150"/>
                    <a:pt x="151" y="150"/>
                    <a:pt x="152" y="149"/>
                  </a:cubicBezTo>
                  <a:cubicBezTo>
                    <a:pt x="153" y="148"/>
                    <a:pt x="154" y="146"/>
                    <a:pt x="155" y="144"/>
                  </a:cubicBezTo>
                  <a:cubicBezTo>
                    <a:pt x="156" y="143"/>
                    <a:pt x="157" y="140"/>
                    <a:pt x="157" y="138"/>
                  </a:cubicBezTo>
                  <a:cubicBezTo>
                    <a:pt x="157" y="136"/>
                    <a:pt x="155" y="132"/>
                    <a:pt x="156" y="130"/>
                  </a:cubicBezTo>
                  <a:cubicBezTo>
                    <a:pt x="157" y="128"/>
                    <a:pt x="161" y="128"/>
                    <a:pt x="162" y="127"/>
                  </a:cubicBezTo>
                  <a:cubicBezTo>
                    <a:pt x="165" y="124"/>
                    <a:pt x="164" y="118"/>
                    <a:pt x="166" y="115"/>
                  </a:cubicBezTo>
                  <a:cubicBezTo>
                    <a:pt x="168" y="112"/>
                    <a:pt x="171" y="108"/>
                    <a:pt x="174" y="105"/>
                  </a:cubicBezTo>
                  <a:cubicBezTo>
                    <a:pt x="176" y="103"/>
                    <a:pt x="178" y="101"/>
                    <a:pt x="180" y="99"/>
                  </a:cubicBezTo>
                  <a:cubicBezTo>
                    <a:pt x="181" y="97"/>
                    <a:pt x="183" y="95"/>
                    <a:pt x="184" y="93"/>
                  </a:cubicBezTo>
                  <a:cubicBezTo>
                    <a:pt x="184" y="90"/>
                    <a:pt x="185" y="87"/>
                    <a:pt x="185" y="84"/>
                  </a:cubicBezTo>
                  <a:cubicBezTo>
                    <a:pt x="185" y="82"/>
                    <a:pt x="184" y="78"/>
                    <a:pt x="184" y="76"/>
                  </a:cubicBezTo>
                  <a:cubicBezTo>
                    <a:pt x="183" y="75"/>
                    <a:pt x="182" y="73"/>
                    <a:pt x="182" y="71"/>
                  </a:cubicBezTo>
                  <a:cubicBezTo>
                    <a:pt x="181" y="69"/>
                    <a:pt x="181" y="66"/>
                    <a:pt x="181" y="63"/>
                  </a:cubicBezTo>
                  <a:cubicBezTo>
                    <a:pt x="181" y="62"/>
                    <a:pt x="181" y="59"/>
                    <a:pt x="182" y="57"/>
                  </a:cubicBezTo>
                  <a:cubicBezTo>
                    <a:pt x="182" y="55"/>
                    <a:pt x="182" y="50"/>
                    <a:pt x="185" y="50"/>
                  </a:cubicBezTo>
                  <a:cubicBezTo>
                    <a:pt x="186" y="50"/>
                    <a:pt x="186" y="54"/>
                    <a:pt x="186" y="55"/>
                  </a:cubicBezTo>
                  <a:cubicBezTo>
                    <a:pt x="187" y="57"/>
                    <a:pt x="186" y="59"/>
                    <a:pt x="187" y="60"/>
                  </a:cubicBezTo>
                  <a:cubicBezTo>
                    <a:pt x="188" y="61"/>
                    <a:pt x="189" y="61"/>
                    <a:pt x="190" y="61"/>
                  </a:cubicBezTo>
                  <a:cubicBezTo>
                    <a:pt x="191" y="61"/>
                    <a:pt x="192" y="62"/>
                    <a:pt x="193" y="62"/>
                  </a:cubicBezTo>
                  <a:cubicBezTo>
                    <a:pt x="196" y="61"/>
                    <a:pt x="199" y="59"/>
                    <a:pt x="200" y="57"/>
                  </a:cubicBezTo>
                  <a:cubicBezTo>
                    <a:pt x="201" y="55"/>
                    <a:pt x="201" y="51"/>
                    <a:pt x="201" y="48"/>
                  </a:cubicBezTo>
                  <a:cubicBezTo>
                    <a:pt x="200" y="46"/>
                    <a:pt x="200" y="43"/>
                    <a:pt x="199" y="41"/>
                  </a:cubicBezTo>
                  <a:cubicBezTo>
                    <a:pt x="198" y="39"/>
                    <a:pt x="195" y="39"/>
                    <a:pt x="193" y="37"/>
                  </a:cubicBezTo>
                  <a:cubicBezTo>
                    <a:pt x="192" y="35"/>
                    <a:pt x="192" y="31"/>
                    <a:pt x="192" y="29"/>
                  </a:cubicBezTo>
                  <a:cubicBezTo>
                    <a:pt x="192" y="27"/>
                    <a:pt x="192" y="24"/>
                    <a:pt x="193" y="22"/>
                  </a:cubicBezTo>
                  <a:cubicBezTo>
                    <a:pt x="193" y="20"/>
                    <a:pt x="195" y="19"/>
                    <a:pt x="196" y="17"/>
                  </a:cubicBezTo>
                  <a:cubicBezTo>
                    <a:pt x="197" y="16"/>
                    <a:pt x="197" y="13"/>
                    <a:pt x="197" y="12"/>
                  </a:cubicBezTo>
                  <a:cubicBezTo>
                    <a:pt x="197" y="10"/>
                    <a:pt x="198" y="7"/>
                    <a:pt x="198" y="5"/>
                  </a:cubicBezTo>
                  <a:cubicBezTo>
                    <a:pt x="198" y="4"/>
                    <a:pt x="197" y="3"/>
                    <a:pt x="198" y="2"/>
                  </a:cubicBezTo>
                  <a:cubicBezTo>
                    <a:pt x="199" y="1"/>
                    <a:pt x="202" y="1"/>
                    <a:pt x="203" y="1"/>
                  </a:cubicBezTo>
                  <a:cubicBezTo>
                    <a:pt x="205" y="1"/>
                    <a:pt x="208" y="0"/>
                    <a:pt x="210" y="0"/>
                  </a:cubicBezTo>
                  <a:cubicBezTo>
                    <a:pt x="212" y="0"/>
                    <a:pt x="214" y="1"/>
                    <a:pt x="215" y="1"/>
                  </a:cubicBezTo>
                  <a:cubicBezTo>
                    <a:pt x="216" y="2"/>
                    <a:pt x="217" y="3"/>
                    <a:pt x="218" y="4"/>
                  </a:cubicBezTo>
                  <a:cubicBezTo>
                    <a:pt x="220" y="5"/>
                    <a:pt x="221" y="6"/>
                    <a:pt x="223" y="7"/>
                  </a:cubicBezTo>
                  <a:cubicBezTo>
                    <a:pt x="224" y="9"/>
                    <a:pt x="227" y="10"/>
                    <a:pt x="228" y="12"/>
                  </a:cubicBezTo>
                  <a:cubicBezTo>
                    <a:pt x="229" y="12"/>
                    <a:pt x="229" y="13"/>
                    <a:pt x="230" y="14"/>
                  </a:cubicBezTo>
                  <a:cubicBezTo>
                    <a:pt x="223" y="22"/>
                    <a:pt x="223" y="22"/>
                    <a:pt x="223" y="22"/>
                  </a:cubicBezTo>
                  <a:cubicBezTo>
                    <a:pt x="222" y="28"/>
                    <a:pt x="222" y="28"/>
                    <a:pt x="222" y="28"/>
                  </a:cubicBezTo>
                  <a:cubicBezTo>
                    <a:pt x="227" y="39"/>
                    <a:pt x="227" y="39"/>
                    <a:pt x="227" y="39"/>
                  </a:cubicBezTo>
                  <a:cubicBezTo>
                    <a:pt x="233" y="48"/>
                    <a:pt x="233" y="48"/>
                    <a:pt x="233" y="48"/>
                  </a:cubicBezTo>
                  <a:cubicBezTo>
                    <a:pt x="238" y="51"/>
                    <a:pt x="238" y="51"/>
                    <a:pt x="238" y="51"/>
                  </a:cubicBezTo>
                  <a:cubicBezTo>
                    <a:pt x="245" y="55"/>
                    <a:pt x="245" y="55"/>
                    <a:pt x="245" y="55"/>
                  </a:cubicBezTo>
                  <a:cubicBezTo>
                    <a:pt x="259" y="57"/>
                    <a:pt x="259" y="57"/>
                    <a:pt x="259" y="57"/>
                  </a:cubicBezTo>
                  <a:cubicBezTo>
                    <a:pt x="272" y="58"/>
                    <a:pt x="272" y="58"/>
                    <a:pt x="272" y="58"/>
                  </a:cubicBezTo>
                  <a:cubicBezTo>
                    <a:pt x="281" y="52"/>
                    <a:pt x="281" y="52"/>
                    <a:pt x="281" y="52"/>
                  </a:cubicBezTo>
                  <a:cubicBezTo>
                    <a:pt x="286" y="47"/>
                    <a:pt x="286" y="47"/>
                    <a:pt x="286" y="47"/>
                  </a:cubicBezTo>
                  <a:cubicBezTo>
                    <a:pt x="289" y="44"/>
                    <a:pt x="289" y="44"/>
                    <a:pt x="289" y="44"/>
                  </a:cubicBezTo>
                  <a:cubicBezTo>
                    <a:pt x="292" y="40"/>
                    <a:pt x="292" y="40"/>
                    <a:pt x="292" y="40"/>
                  </a:cubicBezTo>
                  <a:cubicBezTo>
                    <a:pt x="294" y="36"/>
                    <a:pt x="294" y="36"/>
                    <a:pt x="294" y="36"/>
                  </a:cubicBezTo>
                  <a:cubicBezTo>
                    <a:pt x="296" y="37"/>
                    <a:pt x="296" y="37"/>
                    <a:pt x="296" y="37"/>
                  </a:cubicBezTo>
                  <a:cubicBezTo>
                    <a:pt x="308" y="38"/>
                    <a:pt x="308" y="38"/>
                    <a:pt x="308" y="38"/>
                  </a:cubicBezTo>
                  <a:cubicBezTo>
                    <a:pt x="308" y="41"/>
                    <a:pt x="308" y="41"/>
                    <a:pt x="308" y="41"/>
                  </a:cubicBezTo>
                  <a:cubicBezTo>
                    <a:pt x="316" y="45"/>
                    <a:pt x="316" y="45"/>
                    <a:pt x="316" y="45"/>
                  </a:cubicBezTo>
                  <a:cubicBezTo>
                    <a:pt x="326" y="49"/>
                    <a:pt x="326" y="49"/>
                    <a:pt x="326" y="49"/>
                  </a:cubicBezTo>
                  <a:cubicBezTo>
                    <a:pt x="335" y="51"/>
                    <a:pt x="335" y="51"/>
                    <a:pt x="335" y="51"/>
                  </a:cubicBezTo>
                  <a:cubicBezTo>
                    <a:pt x="337" y="54"/>
                    <a:pt x="337" y="54"/>
                    <a:pt x="337" y="54"/>
                  </a:cubicBezTo>
                  <a:cubicBezTo>
                    <a:pt x="323" y="79"/>
                    <a:pt x="323" y="79"/>
                    <a:pt x="323" y="79"/>
                  </a:cubicBezTo>
                  <a:cubicBezTo>
                    <a:pt x="311" y="96"/>
                    <a:pt x="311" y="96"/>
                    <a:pt x="311" y="96"/>
                  </a:cubicBezTo>
                  <a:cubicBezTo>
                    <a:pt x="305" y="92"/>
                    <a:pt x="305" y="92"/>
                    <a:pt x="305" y="92"/>
                  </a:cubicBezTo>
                  <a:cubicBezTo>
                    <a:pt x="305" y="89"/>
                    <a:pt x="305" y="89"/>
                    <a:pt x="305" y="89"/>
                  </a:cubicBezTo>
                  <a:cubicBezTo>
                    <a:pt x="290" y="87"/>
                    <a:pt x="290" y="87"/>
                    <a:pt x="290" y="87"/>
                  </a:cubicBezTo>
                  <a:cubicBezTo>
                    <a:pt x="282" y="87"/>
                    <a:pt x="282" y="87"/>
                    <a:pt x="282" y="87"/>
                  </a:cubicBezTo>
                  <a:cubicBezTo>
                    <a:pt x="278" y="91"/>
                    <a:pt x="278" y="91"/>
                    <a:pt x="278" y="91"/>
                  </a:cubicBezTo>
                  <a:cubicBezTo>
                    <a:pt x="278" y="96"/>
                    <a:pt x="278" y="96"/>
                    <a:pt x="278" y="96"/>
                  </a:cubicBezTo>
                  <a:cubicBezTo>
                    <a:pt x="279" y="101"/>
                    <a:pt x="279" y="101"/>
                    <a:pt x="279" y="101"/>
                  </a:cubicBezTo>
                  <a:cubicBezTo>
                    <a:pt x="282" y="109"/>
                    <a:pt x="282" y="109"/>
                    <a:pt x="282" y="109"/>
                  </a:cubicBezTo>
                  <a:cubicBezTo>
                    <a:pt x="284" y="109"/>
                    <a:pt x="287" y="107"/>
                    <a:pt x="290" y="106"/>
                  </a:cubicBezTo>
                  <a:cubicBezTo>
                    <a:pt x="291" y="106"/>
                    <a:pt x="293" y="105"/>
                    <a:pt x="295" y="105"/>
                  </a:cubicBezTo>
                  <a:cubicBezTo>
                    <a:pt x="299" y="105"/>
                    <a:pt x="305" y="107"/>
                    <a:pt x="309" y="109"/>
                  </a:cubicBezTo>
                  <a:cubicBezTo>
                    <a:pt x="310" y="122"/>
                    <a:pt x="310" y="122"/>
                    <a:pt x="310" y="122"/>
                  </a:cubicBezTo>
                  <a:cubicBezTo>
                    <a:pt x="319" y="129"/>
                    <a:pt x="319" y="129"/>
                    <a:pt x="319" y="129"/>
                  </a:cubicBezTo>
                  <a:cubicBezTo>
                    <a:pt x="331" y="132"/>
                    <a:pt x="331" y="132"/>
                    <a:pt x="331" y="132"/>
                  </a:cubicBezTo>
                  <a:cubicBezTo>
                    <a:pt x="340" y="140"/>
                    <a:pt x="340" y="140"/>
                    <a:pt x="340" y="140"/>
                  </a:cubicBezTo>
                  <a:cubicBezTo>
                    <a:pt x="344" y="145"/>
                    <a:pt x="344" y="145"/>
                    <a:pt x="344" y="145"/>
                  </a:cubicBezTo>
                  <a:cubicBezTo>
                    <a:pt x="343" y="149"/>
                    <a:pt x="343" y="149"/>
                    <a:pt x="343" y="149"/>
                  </a:cubicBezTo>
                  <a:cubicBezTo>
                    <a:pt x="332" y="149"/>
                    <a:pt x="332" y="149"/>
                    <a:pt x="332" y="149"/>
                  </a:cubicBezTo>
                  <a:cubicBezTo>
                    <a:pt x="333" y="157"/>
                    <a:pt x="333" y="157"/>
                    <a:pt x="333" y="157"/>
                  </a:cubicBezTo>
                  <a:cubicBezTo>
                    <a:pt x="337" y="164"/>
                    <a:pt x="337" y="164"/>
                    <a:pt x="337" y="164"/>
                  </a:cubicBezTo>
                  <a:cubicBezTo>
                    <a:pt x="342" y="168"/>
                    <a:pt x="342" y="168"/>
                    <a:pt x="342" y="168"/>
                  </a:cubicBezTo>
                  <a:cubicBezTo>
                    <a:pt x="350" y="167"/>
                    <a:pt x="350" y="167"/>
                    <a:pt x="350" y="167"/>
                  </a:cubicBezTo>
                  <a:cubicBezTo>
                    <a:pt x="356" y="165"/>
                    <a:pt x="356" y="165"/>
                    <a:pt x="356" y="165"/>
                  </a:cubicBezTo>
                  <a:cubicBezTo>
                    <a:pt x="364" y="169"/>
                    <a:pt x="364" y="169"/>
                    <a:pt x="364" y="169"/>
                  </a:cubicBezTo>
                  <a:cubicBezTo>
                    <a:pt x="378" y="176"/>
                    <a:pt x="378" y="176"/>
                    <a:pt x="378" y="176"/>
                  </a:cubicBezTo>
                  <a:cubicBezTo>
                    <a:pt x="380" y="187"/>
                    <a:pt x="380" y="187"/>
                    <a:pt x="380" y="187"/>
                  </a:cubicBezTo>
                  <a:cubicBezTo>
                    <a:pt x="376" y="207"/>
                    <a:pt x="376" y="207"/>
                    <a:pt x="376" y="207"/>
                  </a:cubicBezTo>
                  <a:cubicBezTo>
                    <a:pt x="371" y="219"/>
                    <a:pt x="371" y="219"/>
                    <a:pt x="371" y="219"/>
                  </a:cubicBezTo>
                  <a:cubicBezTo>
                    <a:pt x="369" y="233"/>
                    <a:pt x="369" y="233"/>
                    <a:pt x="369" y="233"/>
                  </a:cubicBezTo>
                  <a:cubicBezTo>
                    <a:pt x="377" y="248"/>
                    <a:pt x="377" y="248"/>
                    <a:pt x="377" y="248"/>
                  </a:cubicBezTo>
                  <a:cubicBezTo>
                    <a:pt x="376" y="258"/>
                    <a:pt x="376" y="258"/>
                    <a:pt x="376" y="258"/>
                  </a:cubicBezTo>
                  <a:cubicBezTo>
                    <a:pt x="380" y="267"/>
                    <a:pt x="380" y="267"/>
                    <a:pt x="380" y="267"/>
                  </a:cubicBezTo>
                  <a:cubicBezTo>
                    <a:pt x="385" y="272"/>
                    <a:pt x="385" y="272"/>
                    <a:pt x="385" y="272"/>
                  </a:cubicBezTo>
                  <a:cubicBezTo>
                    <a:pt x="390" y="275"/>
                    <a:pt x="390" y="275"/>
                    <a:pt x="390" y="275"/>
                  </a:cubicBezTo>
                  <a:cubicBezTo>
                    <a:pt x="381" y="278"/>
                    <a:pt x="381" y="278"/>
                    <a:pt x="381" y="278"/>
                  </a:cubicBezTo>
                  <a:cubicBezTo>
                    <a:pt x="377" y="289"/>
                    <a:pt x="377" y="289"/>
                    <a:pt x="377" y="289"/>
                  </a:cubicBezTo>
                  <a:cubicBezTo>
                    <a:pt x="372" y="298"/>
                    <a:pt x="372" y="298"/>
                    <a:pt x="372" y="298"/>
                  </a:cubicBezTo>
                  <a:cubicBezTo>
                    <a:pt x="377" y="299"/>
                    <a:pt x="383" y="301"/>
                    <a:pt x="388" y="303"/>
                  </a:cubicBezTo>
                  <a:cubicBezTo>
                    <a:pt x="390" y="304"/>
                    <a:pt x="392" y="306"/>
                    <a:pt x="394" y="307"/>
                  </a:cubicBezTo>
                  <a:cubicBezTo>
                    <a:pt x="397" y="308"/>
                    <a:pt x="402" y="309"/>
                    <a:pt x="406" y="310"/>
                  </a:cubicBezTo>
                  <a:cubicBezTo>
                    <a:pt x="408" y="312"/>
                    <a:pt x="412" y="322"/>
                    <a:pt x="412" y="331"/>
                  </a:cubicBezTo>
                  <a:cubicBezTo>
                    <a:pt x="415" y="339"/>
                    <a:pt x="415" y="339"/>
                    <a:pt x="415" y="339"/>
                  </a:cubicBezTo>
                  <a:cubicBezTo>
                    <a:pt x="424" y="356"/>
                    <a:pt x="424" y="356"/>
                    <a:pt x="424" y="356"/>
                  </a:cubicBezTo>
                  <a:cubicBezTo>
                    <a:pt x="433" y="371"/>
                    <a:pt x="433" y="371"/>
                    <a:pt x="433" y="371"/>
                  </a:cubicBezTo>
                  <a:cubicBezTo>
                    <a:pt x="436" y="390"/>
                    <a:pt x="436" y="390"/>
                    <a:pt x="436" y="390"/>
                  </a:cubicBezTo>
                  <a:cubicBezTo>
                    <a:pt x="433" y="402"/>
                    <a:pt x="433" y="402"/>
                    <a:pt x="433" y="402"/>
                  </a:cubicBezTo>
                  <a:cubicBezTo>
                    <a:pt x="420" y="404"/>
                    <a:pt x="420" y="404"/>
                    <a:pt x="420" y="404"/>
                  </a:cubicBezTo>
                  <a:cubicBezTo>
                    <a:pt x="411" y="413"/>
                    <a:pt x="411" y="413"/>
                    <a:pt x="411" y="413"/>
                  </a:cubicBezTo>
                  <a:cubicBezTo>
                    <a:pt x="404" y="420"/>
                    <a:pt x="404" y="420"/>
                    <a:pt x="404" y="420"/>
                  </a:cubicBezTo>
                  <a:cubicBezTo>
                    <a:pt x="406" y="427"/>
                    <a:pt x="406" y="427"/>
                    <a:pt x="406" y="427"/>
                  </a:cubicBezTo>
                  <a:cubicBezTo>
                    <a:pt x="411" y="425"/>
                    <a:pt x="411" y="425"/>
                    <a:pt x="411" y="425"/>
                  </a:cubicBezTo>
                  <a:cubicBezTo>
                    <a:pt x="412" y="429"/>
                    <a:pt x="412" y="429"/>
                    <a:pt x="412" y="429"/>
                  </a:cubicBezTo>
                  <a:cubicBezTo>
                    <a:pt x="407" y="441"/>
                    <a:pt x="407" y="441"/>
                    <a:pt x="407" y="441"/>
                  </a:cubicBezTo>
                  <a:cubicBezTo>
                    <a:pt x="407" y="450"/>
                    <a:pt x="407" y="450"/>
                    <a:pt x="407" y="450"/>
                  </a:cubicBezTo>
                  <a:cubicBezTo>
                    <a:pt x="389" y="455"/>
                    <a:pt x="389" y="455"/>
                    <a:pt x="389" y="455"/>
                  </a:cubicBezTo>
                  <a:cubicBezTo>
                    <a:pt x="374" y="460"/>
                    <a:pt x="374" y="460"/>
                    <a:pt x="374" y="460"/>
                  </a:cubicBezTo>
                  <a:cubicBezTo>
                    <a:pt x="367" y="465"/>
                    <a:pt x="367" y="465"/>
                    <a:pt x="367" y="465"/>
                  </a:cubicBezTo>
                  <a:cubicBezTo>
                    <a:pt x="362" y="468"/>
                    <a:pt x="362" y="468"/>
                    <a:pt x="362" y="468"/>
                  </a:cubicBezTo>
                  <a:cubicBezTo>
                    <a:pt x="355" y="468"/>
                    <a:pt x="355" y="468"/>
                    <a:pt x="355" y="468"/>
                  </a:cubicBezTo>
                  <a:cubicBezTo>
                    <a:pt x="343" y="466"/>
                    <a:pt x="343" y="466"/>
                    <a:pt x="343" y="466"/>
                  </a:cubicBezTo>
                  <a:cubicBezTo>
                    <a:pt x="335" y="462"/>
                    <a:pt x="335" y="462"/>
                    <a:pt x="335" y="462"/>
                  </a:cubicBezTo>
                  <a:cubicBezTo>
                    <a:pt x="327" y="461"/>
                    <a:pt x="327" y="461"/>
                    <a:pt x="327" y="461"/>
                  </a:cubicBezTo>
                  <a:cubicBezTo>
                    <a:pt x="320" y="463"/>
                    <a:pt x="320" y="463"/>
                    <a:pt x="320" y="463"/>
                  </a:cubicBezTo>
                  <a:cubicBezTo>
                    <a:pt x="314" y="469"/>
                    <a:pt x="314" y="469"/>
                    <a:pt x="314" y="469"/>
                  </a:cubicBezTo>
                  <a:cubicBezTo>
                    <a:pt x="310" y="476"/>
                    <a:pt x="310" y="476"/>
                    <a:pt x="310" y="476"/>
                  </a:cubicBezTo>
                  <a:cubicBezTo>
                    <a:pt x="311" y="481"/>
                    <a:pt x="311" y="481"/>
                    <a:pt x="311" y="481"/>
                  </a:cubicBezTo>
                  <a:cubicBezTo>
                    <a:pt x="312" y="496"/>
                    <a:pt x="312" y="496"/>
                    <a:pt x="312" y="496"/>
                  </a:cubicBezTo>
                  <a:moveTo>
                    <a:pt x="238" y="552"/>
                  </a:moveTo>
                  <a:cubicBezTo>
                    <a:pt x="236" y="548"/>
                    <a:pt x="236" y="548"/>
                    <a:pt x="236" y="548"/>
                  </a:cubicBezTo>
                  <a:cubicBezTo>
                    <a:pt x="233" y="540"/>
                    <a:pt x="233" y="540"/>
                    <a:pt x="233" y="540"/>
                  </a:cubicBezTo>
                  <a:cubicBezTo>
                    <a:pt x="233" y="534"/>
                    <a:pt x="233" y="534"/>
                    <a:pt x="233" y="534"/>
                  </a:cubicBezTo>
                  <a:cubicBezTo>
                    <a:pt x="240" y="529"/>
                    <a:pt x="240" y="529"/>
                    <a:pt x="240" y="529"/>
                  </a:cubicBezTo>
                  <a:cubicBezTo>
                    <a:pt x="246" y="521"/>
                    <a:pt x="246" y="521"/>
                    <a:pt x="246" y="521"/>
                  </a:cubicBezTo>
                  <a:cubicBezTo>
                    <a:pt x="251" y="512"/>
                    <a:pt x="251" y="512"/>
                    <a:pt x="251" y="512"/>
                  </a:cubicBezTo>
                  <a:cubicBezTo>
                    <a:pt x="253" y="507"/>
                    <a:pt x="253" y="507"/>
                    <a:pt x="253" y="507"/>
                  </a:cubicBezTo>
                  <a:cubicBezTo>
                    <a:pt x="260" y="506"/>
                    <a:pt x="260" y="506"/>
                    <a:pt x="260" y="506"/>
                  </a:cubicBezTo>
                  <a:cubicBezTo>
                    <a:pt x="290" y="497"/>
                    <a:pt x="290" y="497"/>
                    <a:pt x="290" y="497"/>
                  </a:cubicBezTo>
                  <a:cubicBezTo>
                    <a:pt x="312" y="495"/>
                    <a:pt x="312" y="495"/>
                    <a:pt x="312" y="495"/>
                  </a:cubicBezTo>
                </a:path>
              </a:pathLst>
            </a:custGeom>
            <a:grp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61" name="Freeform 11">
              <a:extLst>
                <a:ext uri="{FF2B5EF4-FFF2-40B4-BE49-F238E27FC236}">
                  <a16:creationId xmlns:a16="http://schemas.microsoft.com/office/drawing/2014/main" id="{F952408F-1528-4144-A805-3C59A9E86BF0}"/>
                </a:ext>
              </a:extLst>
            </p:cNvPr>
            <p:cNvSpPr>
              <a:spLocks noEditPoints="1"/>
            </p:cNvSpPr>
            <p:nvPr/>
          </p:nvSpPr>
          <p:spPr bwMode="gray">
            <a:xfrm>
              <a:off x="9568" y="1420"/>
              <a:ext cx="1030" cy="1318"/>
            </a:xfrm>
            <a:custGeom>
              <a:avLst/>
              <a:gdLst>
                <a:gd name="T0" fmla="*/ 216 w 436"/>
                <a:gd name="T1" fmla="*/ 555 h 558"/>
                <a:gd name="T2" fmla="*/ 195 w 436"/>
                <a:gd name="T3" fmla="*/ 542 h 558"/>
                <a:gd name="T4" fmla="*/ 189 w 436"/>
                <a:gd name="T5" fmla="*/ 517 h 558"/>
                <a:gd name="T6" fmla="*/ 176 w 436"/>
                <a:gd name="T7" fmla="*/ 502 h 558"/>
                <a:gd name="T8" fmla="*/ 148 w 436"/>
                <a:gd name="T9" fmla="*/ 495 h 558"/>
                <a:gd name="T10" fmla="*/ 115 w 436"/>
                <a:gd name="T11" fmla="*/ 507 h 558"/>
                <a:gd name="T12" fmla="*/ 73 w 436"/>
                <a:gd name="T13" fmla="*/ 501 h 558"/>
                <a:gd name="T14" fmla="*/ 46 w 436"/>
                <a:gd name="T15" fmla="*/ 472 h 558"/>
                <a:gd name="T16" fmla="*/ 38 w 436"/>
                <a:gd name="T17" fmla="*/ 444 h 558"/>
                <a:gd name="T18" fmla="*/ 48 w 436"/>
                <a:gd name="T19" fmla="*/ 421 h 558"/>
                <a:gd name="T20" fmla="*/ 63 w 436"/>
                <a:gd name="T21" fmla="*/ 391 h 558"/>
                <a:gd name="T22" fmla="*/ 39 w 436"/>
                <a:gd name="T23" fmla="*/ 388 h 558"/>
                <a:gd name="T24" fmla="*/ 16 w 436"/>
                <a:gd name="T25" fmla="*/ 337 h 558"/>
                <a:gd name="T26" fmla="*/ 24 w 436"/>
                <a:gd name="T27" fmla="*/ 292 h 558"/>
                <a:gd name="T28" fmla="*/ 12 w 436"/>
                <a:gd name="T29" fmla="*/ 261 h 558"/>
                <a:gd name="T30" fmla="*/ 7 w 436"/>
                <a:gd name="T31" fmla="*/ 214 h 558"/>
                <a:gd name="T32" fmla="*/ 36 w 436"/>
                <a:gd name="T33" fmla="*/ 168 h 558"/>
                <a:gd name="T34" fmla="*/ 46 w 436"/>
                <a:gd name="T35" fmla="*/ 128 h 558"/>
                <a:gd name="T36" fmla="*/ 84 w 436"/>
                <a:gd name="T37" fmla="*/ 128 h 558"/>
                <a:gd name="T38" fmla="*/ 115 w 436"/>
                <a:gd name="T39" fmla="*/ 121 h 558"/>
                <a:gd name="T40" fmla="*/ 143 w 436"/>
                <a:gd name="T41" fmla="*/ 136 h 558"/>
                <a:gd name="T42" fmla="*/ 155 w 436"/>
                <a:gd name="T43" fmla="*/ 144 h 558"/>
                <a:gd name="T44" fmla="*/ 166 w 436"/>
                <a:gd name="T45" fmla="*/ 115 h 558"/>
                <a:gd name="T46" fmla="*/ 185 w 436"/>
                <a:gd name="T47" fmla="*/ 84 h 558"/>
                <a:gd name="T48" fmla="*/ 182 w 436"/>
                <a:gd name="T49" fmla="*/ 57 h 558"/>
                <a:gd name="T50" fmla="*/ 190 w 436"/>
                <a:gd name="T51" fmla="*/ 61 h 558"/>
                <a:gd name="T52" fmla="*/ 199 w 436"/>
                <a:gd name="T53" fmla="*/ 41 h 558"/>
                <a:gd name="T54" fmla="*/ 196 w 436"/>
                <a:gd name="T55" fmla="*/ 17 h 558"/>
                <a:gd name="T56" fmla="*/ 203 w 436"/>
                <a:gd name="T57" fmla="*/ 1 h 558"/>
                <a:gd name="T58" fmla="*/ 223 w 436"/>
                <a:gd name="T59" fmla="*/ 7 h 558"/>
                <a:gd name="T60" fmla="*/ 222 w 436"/>
                <a:gd name="T61" fmla="*/ 28 h 558"/>
                <a:gd name="T62" fmla="*/ 245 w 436"/>
                <a:gd name="T63" fmla="*/ 55 h 558"/>
                <a:gd name="T64" fmla="*/ 286 w 436"/>
                <a:gd name="T65" fmla="*/ 47 h 558"/>
                <a:gd name="T66" fmla="*/ 296 w 436"/>
                <a:gd name="T67" fmla="*/ 37 h 558"/>
                <a:gd name="T68" fmla="*/ 326 w 436"/>
                <a:gd name="T69" fmla="*/ 49 h 558"/>
                <a:gd name="T70" fmla="*/ 311 w 436"/>
                <a:gd name="T71" fmla="*/ 96 h 558"/>
                <a:gd name="T72" fmla="*/ 282 w 436"/>
                <a:gd name="T73" fmla="*/ 87 h 558"/>
                <a:gd name="T74" fmla="*/ 282 w 436"/>
                <a:gd name="T75" fmla="*/ 109 h 558"/>
                <a:gd name="T76" fmla="*/ 310 w 436"/>
                <a:gd name="T77" fmla="*/ 122 h 558"/>
                <a:gd name="T78" fmla="*/ 344 w 436"/>
                <a:gd name="T79" fmla="*/ 145 h 558"/>
                <a:gd name="T80" fmla="*/ 337 w 436"/>
                <a:gd name="T81" fmla="*/ 164 h 558"/>
                <a:gd name="T82" fmla="*/ 364 w 436"/>
                <a:gd name="T83" fmla="*/ 169 h 558"/>
                <a:gd name="T84" fmla="*/ 371 w 436"/>
                <a:gd name="T85" fmla="*/ 219 h 558"/>
                <a:gd name="T86" fmla="*/ 380 w 436"/>
                <a:gd name="T87" fmla="*/ 267 h 558"/>
                <a:gd name="T88" fmla="*/ 377 w 436"/>
                <a:gd name="T89" fmla="*/ 289 h 558"/>
                <a:gd name="T90" fmla="*/ 406 w 436"/>
                <a:gd name="T91" fmla="*/ 310 h 558"/>
                <a:gd name="T92" fmla="*/ 433 w 436"/>
                <a:gd name="T93" fmla="*/ 371 h 558"/>
                <a:gd name="T94" fmla="*/ 411 w 436"/>
                <a:gd name="T95" fmla="*/ 413 h 558"/>
                <a:gd name="T96" fmla="*/ 412 w 436"/>
                <a:gd name="T97" fmla="*/ 429 h 558"/>
                <a:gd name="T98" fmla="*/ 374 w 436"/>
                <a:gd name="T99" fmla="*/ 460 h 558"/>
                <a:gd name="T100" fmla="*/ 343 w 436"/>
                <a:gd name="T101" fmla="*/ 466 h 558"/>
                <a:gd name="T102" fmla="*/ 314 w 436"/>
                <a:gd name="T103" fmla="*/ 469 h 558"/>
                <a:gd name="T104" fmla="*/ 238 w 436"/>
                <a:gd name="T105" fmla="*/ 552 h 558"/>
                <a:gd name="T106" fmla="*/ 240 w 436"/>
                <a:gd name="T107" fmla="*/ 529 h 558"/>
                <a:gd name="T108" fmla="*/ 260 w 436"/>
                <a:gd name="T109" fmla="*/ 506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6" h="558">
                  <a:moveTo>
                    <a:pt x="238" y="553"/>
                  </a:moveTo>
                  <a:cubicBezTo>
                    <a:pt x="228" y="558"/>
                    <a:pt x="228" y="558"/>
                    <a:pt x="228" y="558"/>
                  </a:cubicBezTo>
                  <a:cubicBezTo>
                    <a:pt x="219" y="558"/>
                    <a:pt x="219" y="558"/>
                    <a:pt x="219" y="558"/>
                  </a:cubicBezTo>
                  <a:cubicBezTo>
                    <a:pt x="216" y="555"/>
                    <a:pt x="216" y="555"/>
                    <a:pt x="216" y="555"/>
                  </a:cubicBezTo>
                  <a:cubicBezTo>
                    <a:pt x="214" y="546"/>
                    <a:pt x="214" y="546"/>
                    <a:pt x="214" y="546"/>
                  </a:cubicBezTo>
                  <a:cubicBezTo>
                    <a:pt x="211" y="545"/>
                    <a:pt x="211" y="545"/>
                    <a:pt x="211" y="545"/>
                  </a:cubicBezTo>
                  <a:cubicBezTo>
                    <a:pt x="199" y="544"/>
                    <a:pt x="199" y="544"/>
                    <a:pt x="199" y="544"/>
                  </a:cubicBezTo>
                  <a:cubicBezTo>
                    <a:pt x="195" y="542"/>
                    <a:pt x="195" y="542"/>
                    <a:pt x="195" y="542"/>
                  </a:cubicBezTo>
                  <a:cubicBezTo>
                    <a:pt x="193" y="538"/>
                    <a:pt x="193" y="538"/>
                    <a:pt x="193" y="538"/>
                  </a:cubicBezTo>
                  <a:cubicBezTo>
                    <a:pt x="192" y="531"/>
                    <a:pt x="192" y="531"/>
                    <a:pt x="192" y="531"/>
                  </a:cubicBezTo>
                  <a:cubicBezTo>
                    <a:pt x="190" y="524"/>
                    <a:pt x="190" y="524"/>
                    <a:pt x="190" y="524"/>
                  </a:cubicBezTo>
                  <a:cubicBezTo>
                    <a:pt x="189" y="517"/>
                    <a:pt x="189" y="517"/>
                    <a:pt x="189" y="517"/>
                  </a:cubicBezTo>
                  <a:cubicBezTo>
                    <a:pt x="188" y="511"/>
                    <a:pt x="188" y="511"/>
                    <a:pt x="188" y="511"/>
                  </a:cubicBezTo>
                  <a:cubicBezTo>
                    <a:pt x="184" y="509"/>
                    <a:pt x="184" y="509"/>
                    <a:pt x="184" y="509"/>
                  </a:cubicBezTo>
                  <a:cubicBezTo>
                    <a:pt x="180" y="510"/>
                    <a:pt x="180" y="510"/>
                    <a:pt x="180" y="510"/>
                  </a:cubicBezTo>
                  <a:cubicBezTo>
                    <a:pt x="176" y="502"/>
                    <a:pt x="176" y="502"/>
                    <a:pt x="176" y="502"/>
                  </a:cubicBezTo>
                  <a:cubicBezTo>
                    <a:pt x="169" y="503"/>
                    <a:pt x="169" y="503"/>
                    <a:pt x="169" y="503"/>
                  </a:cubicBezTo>
                  <a:cubicBezTo>
                    <a:pt x="165" y="498"/>
                    <a:pt x="165" y="498"/>
                    <a:pt x="165" y="498"/>
                  </a:cubicBezTo>
                  <a:cubicBezTo>
                    <a:pt x="161" y="495"/>
                    <a:pt x="161" y="495"/>
                    <a:pt x="161" y="495"/>
                  </a:cubicBezTo>
                  <a:cubicBezTo>
                    <a:pt x="148" y="495"/>
                    <a:pt x="148" y="495"/>
                    <a:pt x="148" y="495"/>
                  </a:cubicBezTo>
                  <a:cubicBezTo>
                    <a:pt x="138" y="495"/>
                    <a:pt x="138" y="495"/>
                    <a:pt x="138" y="495"/>
                  </a:cubicBezTo>
                  <a:cubicBezTo>
                    <a:pt x="131" y="497"/>
                    <a:pt x="131" y="497"/>
                    <a:pt x="131" y="497"/>
                  </a:cubicBezTo>
                  <a:cubicBezTo>
                    <a:pt x="125" y="503"/>
                    <a:pt x="125" y="503"/>
                    <a:pt x="125" y="503"/>
                  </a:cubicBezTo>
                  <a:cubicBezTo>
                    <a:pt x="115" y="507"/>
                    <a:pt x="115" y="507"/>
                    <a:pt x="115" y="507"/>
                  </a:cubicBezTo>
                  <a:cubicBezTo>
                    <a:pt x="100" y="508"/>
                    <a:pt x="100" y="508"/>
                    <a:pt x="100" y="508"/>
                  </a:cubicBezTo>
                  <a:cubicBezTo>
                    <a:pt x="90" y="509"/>
                    <a:pt x="90" y="509"/>
                    <a:pt x="90" y="509"/>
                  </a:cubicBezTo>
                  <a:cubicBezTo>
                    <a:pt x="78" y="505"/>
                    <a:pt x="78" y="505"/>
                    <a:pt x="78" y="505"/>
                  </a:cubicBezTo>
                  <a:cubicBezTo>
                    <a:pt x="73" y="501"/>
                    <a:pt x="73" y="501"/>
                    <a:pt x="73" y="501"/>
                  </a:cubicBezTo>
                  <a:cubicBezTo>
                    <a:pt x="60" y="502"/>
                    <a:pt x="60" y="502"/>
                    <a:pt x="60" y="502"/>
                  </a:cubicBezTo>
                  <a:cubicBezTo>
                    <a:pt x="58" y="498"/>
                    <a:pt x="56" y="493"/>
                    <a:pt x="55" y="490"/>
                  </a:cubicBezTo>
                  <a:cubicBezTo>
                    <a:pt x="53" y="487"/>
                    <a:pt x="51" y="484"/>
                    <a:pt x="49" y="481"/>
                  </a:cubicBezTo>
                  <a:cubicBezTo>
                    <a:pt x="48" y="478"/>
                    <a:pt x="47" y="475"/>
                    <a:pt x="46" y="472"/>
                  </a:cubicBezTo>
                  <a:cubicBezTo>
                    <a:pt x="45" y="471"/>
                    <a:pt x="45" y="469"/>
                    <a:pt x="45" y="469"/>
                  </a:cubicBezTo>
                  <a:cubicBezTo>
                    <a:pt x="45" y="467"/>
                    <a:pt x="44" y="463"/>
                    <a:pt x="44" y="460"/>
                  </a:cubicBezTo>
                  <a:cubicBezTo>
                    <a:pt x="43" y="457"/>
                    <a:pt x="41" y="453"/>
                    <a:pt x="40" y="450"/>
                  </a:cubicBezTo>
                  <a:cubicBezTo>
                    <a:pt x="40" y="448"/>
                    <a:pt x="39" y="446"/>
                    <a:pt x="38" y="444"/>
                  </a:cubicBezTo>
                  <a:cubicBezTo>
                    <a:pt x="38" y="441"/>
                    <a:pt x="36" y="437"/>
                    <a:pt x="35" y="434"/>
                  </a:cubicBezTo>
                  <a:cubicBezTo>
                    <a:pt x="34" y="432"/>
                    <a:pt x="31" y="428"/>
                    <a:pt x="30" y="426"/>
                  </a:cubicBezTo>
                  <a:cubicBezTo>
                    <a:pt x="40" y="424"/>
                    <a:pt x="40" y="424"/>
                    <a:pt x="40" y="424"/>
                  </a:cubicBezTo>
                  <a:cubicBezTo>
                    <a:pt x="48" y="421"/>
                    <a:pt x="48" y="421"/>
                    <a:pt x="48" y="421"/>
                  </a:cubicBezTo>
                  <a:cubicBezTo>
                    <a:pt x="55" y="412"/>
                    <a:pt x="55" y="412"/>
                    <a:pt x="55" y="412"/>
                  </a:cubicBezTo>
                  <a:cubicBezTo>
                    <a:pt x="61" y="402"/>
                    <a:pt x="61" y="402"/>
                    <a:pt x="61" y="402"/>
                  </a:cubicBezTo>
                  <a:cubicBezTo>
                    <a:pt x="66" y="393"/>
                    <a:pt x="66" y="393"/>
                    <a:pt x="66" y="393"/>
                  </a:cubicBezTo>
                  <a:cubicBezTo>
                    <a:pt x="63" y="391"/>
                    <a:pt x="63" y="391"/>
                    <a:pt x="63" y="391"/>
                  </a:cubicBezTo>
                  <a:cubicBezTo>
                    <a:pt x="57" y="400"/>
                    <a:pt x="57" y="400"/>
                    <a:pt x="57" y="400"/>
                  </a:cubicBezTo>
                  <a:cubicBezTo>
                    <a:pt x="48" y="398"/>
                    <a:pt x="48" y="398"/>
                    <a:pt x="48" y="398"/>
                  </a:cubicBezTo>
                  <a:cubicBezTo>
                    <a:pt x="44" y="395"/>
                    <a:pt x="44" y="395"/>
                    <a:pt x="44" y="395"/>
                  </a:cubicBezTo>
                  <a:cubicBezTo>
                    <a:pt x="39" y="388"/>
                    <a:pt x="39" y="388"/>
                    <a:pt x="39" y="388"/>
                  </a:cubicBezTo>
                  <a:cubicBezTo>
                    <a:pt x="37" y="364"/>
                    <a:pt x="37" y="364"/>
                    <a:pt x="37" y="364"/>
                  </a:cubicBezTo>
                  <a:cubicBezTo>
                    <a:pt x="39" y="356"/>
                    <a:pt x="39" y="356"/>
                    <a:pt x="39" y="356"/>
                  </a:cubicBezTo>
                  <a:cubicBezTo>
                    <a:pt x="17" y="344"/>
                    <a:pt x="17" y="344"/>
                    <a:pt x="17" y="344"/>
                  </a:cubicBezTo>
                  <a:cubicBezTo>
                    <a:pt x="16" y="337"/>
                    <a:pt x="16" y="337"/>
                    <a:pt x="16" y="337"/>
                  </a:cubicBezTo>
                  <a:cubicBezTo>
                    <a:pt x="35" y="314"/>
                    <a:pt x="35" y="314"/>
                    <a:pt x="35" y="314"/>
                  </a:cubicBezTo>
                  <a:cubicBezTo>
                    <a:pt x="38" y="309"/>
                    <a:pt x="38" y="309"/>
                    <a:pt x="38" y="309"/>
                  </a:cubicBezTo>
                  <a:cubicBezTo>
                    <a:pt x="36" y="299"/>
                    <a:pt x="36" y="299"/>
                    <a:pt x="36" y="299"/>
                  </a:cubicBezTo>
                  <a:cubicBezTo>
                    <a:pt x="24" y="292"/>
                    <a:pt x="24" y="292"/>
                    <a:pt x="24" y="292"/>
                  </a:cubicBezTo>
                  <a:cubicBezTo>
                    <a:pt x="17" y="289"/>
                    <a:pt x="17" y="289"/>
                    <a:pt x="17" y="289"/>
                  </a:cubicBezTo>
                  <a:cubicBezTo>
                    <a:pt x="17" y="286"/>
                    <a:pt x="17" y="286"/>
                    <a:pt x="17" y="286"/>
                  </a:cubicBezTo>
                  <a:cubicBezTo>
                    <a:pt x="14" y="270"/>
                    <a:pt x="14" y="270"/>
                    <a:pt x="14" y="270"/>
                  </a:cubicBezTo>
                  <a:cubicBezTo>
                    <a:pt x="12" y="261"/>
                    <a:pt x="12" y="261"/>
                    <a:pt x="12" y="261"/>
                  </a:cubicBezTo>
                  <a:cubicBezTo>
                    <a:pt x="11" y="256"/>
                    <a:pt x="11" y="256"/>
                    <a:pt x="11" y="256"/>
                  </a:cubicBezTo>
                  <a:cubicBezTo>
                    <a:pt x="6" y="252"/>
                    <a:pt x="6" y="252"/>
                    <a:pt x="6" y="252"/>
                  </a:cubicBezTo>
                  <a:cubicBezTo>
                    <a:pt x="0" y="235"/>
                    <a:pt x="0" y="235"/>
                    <a:pt x="0" y="235"/>
                  </a:cubicBezTo>
                  <a:cubicBezTo>
                    <a:pt x="7" y="214"/>
                    <a:pt x="7" y="214"/>
                    <a:pt x="7" y="214"/>
                  </a:cubicBezTo>
                  <a:cubicBezTo>
                    <a:pt x="12" y="204"/>
                    <a:pt x="12" y="204"/>
                    <a:pt x="12" y="204"/>
                  </a:cubicBezTo>
                  <a:cubicBezTo>
                    <a:pt x="12" y="190"/>
                    <a:pt x="12" y="190"/>
                    <a:pt x="12" y="190"/>
                  </a:cubicBezTo>
                  <a:cubicBezTo>
                    <a:pt x="23" y="181"/>
                    <a:pt x="23" y="181"/>
                    <a:pt x="23" y="181"/>
                  </a:cubicBezTo>
                  <a:cubicBezTo>
                    <a:pt x="36" y="168"/>
                    <a:pt x="36" y="168"/>
                    <a:pt x="36" y="168"/>
                  </a:cubicBezTo>
                  <a:cubicBezTo>
                    <a:pt x="44" y="150"/>
                    <a:pt x="44" y="150"/>
                    <a:pt x="44" y="150"/>
                  </a:cubicBezTo>
                  <a:cubicBezTo>
                    <a:pt x="44" y="137"/>
                    <a:pt x="44" y="137"/>
                    <a:pt x="44" y="137"/>
                  </a:cubicBezTo>
                  <a:cubicBezTo>
                    <a:pt x="42" y="135"/>
                    <a:pt x="42" y="135"/>
                    <a:pt x="42" y="135"/>
                  </a:cubicBezTo>
                  <a:cubicBezTo>
                    <a:pt x="46" y="128"/>
                    <a:pt x="46" y="128"/>
                    <a:pt x="46" y="128"/>
                  </a:cubicBezTo>
                  <a:cubicBezTo>
                    <a:pt x="48" y="129"/>
                    <a:pt x="50" y="131"/>
                    <a:pt x="52" y="131"/>
                  </a:cubicBezTo>
                  <a:cubicBezTo>
                    <a:pt x="54" y="132"/>
                    <a:pt x="57" y="132"/>
                    <a:pt x="60" y="132"/>
                  </a:cubicBezTo>
                  <a:cubicBezTo>
                    <a:pt x="64" y="132"/>
                    <a:pt x="69" y="132"/>
                    <a:pt x="73" y="131"/>
                  </a:cubicBezTo>
                  <a:cubicBezTo>
                    <a:pt x="76" y="131"/>
                    <a:pt x="81" y="129"/>
                    <a:pt x="84" y="128"/>
                  </a:cubicBezTo>
                  <a:cubicBezTo>
                    <a:pt x="88" y="127"/>
                    <a:pt x="94" y="127"/>
                    <a:pt x="98" y="125"/>
                  </a:cubicBezTo>
                  <a:cubicBezTo>
                    <a:pt x="100" y="124"/>
                    <a:pt x="100" y="121"/>
                    <a:pt x="102" y="120"/>
                  </a:cubicBezTo>
                  <a:cubicBezTo>
                    <a:pt x="103" y="120"/>
                    <a:pt x="106" y="121"/>
                    <a:pt x="108" y="121"/>
                  </a:cubicBezTo>
                  <a:cubicBezTo>
                    <a:pt x="110" y="121"/>
                    <a:pt x="113" y="121"/>
                    <a:pt x="115" y="121"/>
                  </a:cubicBezTo>
                  <a:cubicBezTo>
                    <a:pt x="118" y="122"/>
                    <a:pt x="121" y="123"/>
                    <a:pt x="123" y="124"/>
                  </a:cubicBezTo>
                  <a:cubicBezTo>
                    <a:pt x="125" y="125"/>
                    <a:pt x="128" y="126"/>
                    <a:pt x="130" y="127"/>
                  </a:cubicBezTo>
                  <a:cubicBezTo>
                    <a:pt x="132" y="127"/>
                    <a:pt x="135" y="128"/>
                    <a:pt x="136" y="129"/>
                  </a:cubicBezTo>
                  <a:cubicBezTo>
                    <a:pt x="139" y="131"/>
                    <a:pt x="141" y="133"/>
                    <a:pt x="143" y="136"/>
                  </a:cubicBezTo>
                  <a:cubicBezTo>
                    <a:pt x="144" y="137"/>
                    <a:pt x="145" y="141"/>
                    <a:pt x="145" y="143"/>
                  </a:cubicBezTo>
                  <a:cubicBezTo>
                    <a:pt x="146" y="145"/>
                    <a:pt x="146" y="149"/>
                    <a:pt x="148" y="150"/>
                  </a:cubicBezTo>
                  <a:cubicBezTo>
                    <a:pt x="149" y="150"/>
                    <a:pt x="151" y="150"/>
                    <a:pt x="152" y="149"/>
                  </a:cubicBezTo>
                  <a:cubicBezTo>
                    <a:pt x="153" y="148"/>
                    <a:pt x="154" y="146"/>
                    <a:pt x="155" y="144"/>
                  </a:cubicBezTo>
                  <a:cubicBezTo>
                    <a:pt x="156" y="143"/>
                    <a:pt x="157" y="140"/>
                    <a:pt x="157" y="138"/>
                  </a:cubicBezTo>
                  <a:cubicBezTo>
                    <a:pt x="157" y="136"/>
                    <a:pt x="155" y="132"/>
                    <a:pt x="156" y="130"/>
                  </a:cubicBezTo>
                  <a:cubicBezTo>
                    <a:pt x="157" y="128"/>
                    <a:pt x="161" y="128"/>
                    <a:pt x="162" y="127"/>
                  </a:cubicBezTo>
                  <a:cubicBezTo>
                    <a:pt x="165" y="124"/>
                    <a:pt x="164" y="118"/>
                    <a:pt x="166" y="115"/>
                  </a:cubicBezTo>
                  <a:cubicBezTo>
                    <a:pt x="168" y="112"/>
                    <a:pt x="171" y="108"/>
                    <a:pt x="174" y="105"/>
                  </a:cubicBezTo>
                  <a:cubicBezTo>
                    <a:pt x="176" y="103"/>
                    <a:pt x="178" y="101"/>
                    <a:pt x="180" y="99"/>
                  </a:cubicBezTo>
                  <a:cubicBezTo>
                    <a:pt x="181" y="97"/>
                    <a:pt x="183" y="95"/>
                    <a:pt x="184" y="93"/>
                  </a:cubicBezTo>
                  <a:cubicBezTo>
                    <a:pt x="184" y="90"/>
                    <a:pt x="185" y="87"/>
                    <a:pt x="185" y="84"/>
                  </a:cubicBezTo>
                  <a:cubicBezTo>
                    <a:pt x="185" y="82"/>
                    <a:pt x="184" y="78"/>
                    <a:pt x="184" y="76"/>
                  </a:cubicBezTo>
                  <a:cubicBezTo>
                    <a:pt x="183" y="75"/>
                    <a:pt x="182" y="73"/>
                    <a:pt x="182" y="71"/>
                  </a:cubicBezTo>
                  <a:cubicBezTo>
                    <a:pt x="181" y="69"/>
                    <a:pt x="181" y="66"/>
                    <a:pt x="181" y="63"/>
                  </a:cubicBezTo>
                  <a:cubicBezTo>
                    <a:pt x="181" y="62"/>
                    <a:pt x="181" y="59"/>
                    <a:pt x="182" y="57"/>
                  </a:cubicBezTo>
                  <a:cubicBezTo>
                    <a:pt x="182" y="55"/>
                    <a:pt x="182" y="50"/>
                    <a:pt x="185" y="50"/>
                  </a:cubicBezTo>
                  <a:cubicBezTo>
                    <a:pt x="186" y="50"/>
                    <a:pt x="186" y="54"/>
                    <a:pt x="186" y="55"/>
                  </a:cubicBezTo>
                  <a:cubicBezTo>
                    <a:pt x="187" y="57"/>
                    <a:pt x="186" y="59"/>
                    <a:pt x="187" y="60"/>
                  </a:cubicBezTo>
                  <a:cubicBezTo>
                    <a:pt x="188" y="61"/>
                    <a:pt x="189" y="61"/>
                    <a:pt x="190" y="61"/>
                  </a:cubicBezTo>
                  <a:cubicBezTo>
                    <a:pt x="191" y="61"/>
                    <a:pt x="192" y="62"/>
                    <a:pt x="193" y="62"/>
                  </a:cubicBezTo>
                  <a:cubicBezTo>
                    <a:pt x="196" y="61"/>
                    <a:pt x="199" y="59"/>
                    <a:pt x="200" y="57"/>
                  </a:cubicBezTo>
                  <a:cubicBezTo>
                    <a:pt x="201" y="55"/>
                    <a:pt x="201" y="51"/>
                    <a:pt x="201" y="48"/>
                  </a:cubicBezTo>
                  <a:cubicBezTo>
                    <a:pt x="200" y="46"/>
                    <a:pt x="200" y="43"/>
                    <a:pt x="199" y="41"/>
                  </a:cubicBezTo>
                  <a:cubicBezTo>
                    <a:pt x="198" y="39"/>
                    <a:pt x="195" y="39"/>
                    <a:pt x="193" y="37"/>
                  </a:cubicBezTo>
                  <a:cubicBezTo>
                    <a:pt x="192" y="35"/>
                    <a:pt x="192" y="31"/>
                    <a:pt x="192" y="29"/>
                  </a:cubicBezTo>
                  <a:cubicBezTo>
                    <a:pt x="192" y="27"/>
                    <a:pt x="192" y="24"/>
                    <a:pt x="193" y="22"/>
                  </a:cubicBezTo>
                  <a:cubicBezTo>
                    <a:pt x="193" y="20"/>
                    <a:pt x="195" y="19"/>
                    <a:pt x="196" y="17"/>
                  </a:cubicBezTo>
                  <a:cubicBezTo>
                    <a:pt x="197" y="16"/>
                    <a:pt x="197" y="13"/>
                    <a:pt x="197" y="12"/>
                  </a:cubicBezTo>
                  <a:cubicBezTo>
                    <a:pt x="197" y="10"/>
                    <a:pt x="198" y="7"/>
                    <a:pt x="198" y="5"/>
                  </a:cubicBezTo>
                  <a:cubicBezTo>
                    <a:pt x="198" y="4"/>
                    <a:pt x="197" y="3"/>
                    <a:pt x="198" y="2"/>
                  </a:cubicBezTo>
                  <a:cubicBezTo>
                    <a:pt x="199" y="1"/>
                    <a:pt x="202" y="1"/>
                    <a:pt x="203" y="1"/>
                  </a:cubicBezTo>
                  <a:cubicBezTo>
                    <a:pt x="205" y="1"/>
                    <a:pt x="208" y="0"/>
                    <a:pt x="210" y="0"/>
                  </a:cubicBezTo>
                  <a:cubicBezTo>
                    <a:pt x="212" y="0"/>
                    <a:pt x="214" y="1"/>
                    <a:pt x="215" y="1"/>
                  </a:cubicBezTo>
                  <a:cubicBezTo>
                    <a:pt x="216" y="2"/>
                    <a:pt x="217" y="3"/>
                    <a:pt x="218" y="4"/>
                  </a:cubicBezTo>
                  <a:cubicBezTo>
                    <a:pt x="220" y="5"/>
                    <a:pt x="221" y="6"/>
                    <a:pt x="223" y="7"/>
                  </a:cubicBezTo>
                  <a:cubicBezTo>
                    <a:pt x="224" y="9"/>
                    <a:pt x="227" y="10"/>
                    <a:pt x="228" y="12"/>
                  </a:cubicBezTo>
                  <a:cubicBezTo>
                    <a:pt x="229" y="12"/>
                    <a:pt x="229" y="13"/>
                    <a:pt x="230" y="14"/>
                  </a:cubicBezTo>
                  <a:cubicBezTo>
                    <a:pt x="223" y="22"/>
                    <a:pt x="223" y="22"/>
                    <a:pt x="223" y="22"/>
                  </a:cubicBezTo>
                  <a:cubicBezTo>
                    <a:pt x="222" y="28"/>
                    <a:pt x="222" y="28"/>
                    <a:pt x="222" y="28"/>
                  </a:cubicBezTo>
                  <a:cubicBezTo>
                    <a:pt x="227" y="39"/>
                    <a:pt x="227" y="39"/>
                    <a:pt x="227" y="39"/>
                  </a:cubicBezTo>
                  <a:cubicBezTo>
                    <a:pt x="233" y="48"/>
                    <a:pt x="233" y="48"/>
                    <a:pt x="233" y="48"/>
                  </a:cubicBezTo>
                  <a:cubicBezTo>
                    <a:pt x="238" y="51"/>
                    <a:pt x="238" y="51"/>
                    <a:pt x="238" y="51"/>
                  </a:cubicBezTo>
                  <a:cubicBezTo>
                    <a:pt x="245" y="55"/>
                    <a:pt x="245" y="55"/>
                    <a:pt x="245" y="55"/>
                  </a:cubicBezTo>
                  <a:cubicBezTo>
                    <a:pt x="259" y="57"/>
                    <a:pt x="259" y="57"/>
                    <a:pt x="259" y="57"/>
                  </a:cubicBezTo>
                  <a:cubicBezTo>
                    <a:pt x="272" y="58"/>
                    <a:pt x="272" y="58"/>
                    <a:pt x="272" y="58"/>
                  </a:cubicBezTo>
                  <a:cubicBezTo>
                    <a:pt x="281" y="52"/>
                    <a:pt x="281" y="52"/>
                    <a:pt x="281" y="52"/>
                  </a:cubicBezTo>
                  <a:cubicBezTo>
                    <a:pt x="286" y="47"/>
                    <a:pt x="286" y="47"/>
                    <a:pt x="286" y="47"/>
                  </a:cubicBezTo>
                  <a:cubicBezTo>
                    <a:pt x="289" y="44"/>
                    <a:pt x="289" y="44"/>
                    <a:pt x="289" y="44"/>
                  </a:cubicBezTo>
                  <a:cubicBezTo>
                    <a:pt x="292" y="40"/>
                    <a:pt x="292" y="40"/>
                    <a:pt x="292" y="40"/>
                  </a:cubicBezTo>
                  <a:cubicBezTo>
                    <a:pt x="294" y="36"/>
                    <a:pt x="294" y="36"/>
                    <a:pt x="294" y="36"/>
                  </a:cubicBezTo>
                  <a:cubicBezTo>
                    <a:pt x="296" y="37"/>
                    <a:pt x="296" y="37"/>
                    <a:pt x="296" y="37"/>
                  </a:cubicBezTo>
                  <a:cubicBezTo>
                    <a:pt x="308" y="38"/>
                    <a:pt x="308" y="38"/>
                    <a:pt x="308" y="38"/>
                  </a:cubicBezTo>
                  <a:cubicBezTo>
                    <a:pt x="308" y="41"/>
                    <a:pt x="308" y="41"/>
                    <a:pt x="308" y="41"/>
                  </a:cubicBezTo>
                  <a:cubicBezTo>
                    <a:pt x="316" y="45"/>
                    <a:pt x="316" y="45"/>
                    <a:pt x="316" y="45"/>
                  </a:cubicBezTo>
                  <a:cubicBezTo>
                    <a:pt x="326" y="49"/>
                    <a:pt x="326" y="49"/>
                    <a:pt x="326" y="49"/>
                  </a:cubicBezTo>
                  <a:cubicBezTo>
                    <a:pt x="335" y="51"/>
                    <a:pt x="335" y="51"/>
                    <a:pt x="335" y="51"/>
                  </a:cubicBezTo>
                  <a:cubicBezTo>
                    <a:pt x="337" y="54"/>
                    <a:pt x="337" y="54"/>
                    <a:pt x="337" y="54"/>
                  </a:cubicBezTo>
                  <a:cubicBezTo>
                    <a:pt x="323" y="79"/>
                    <a:pt x="323" y="79"/>
                    <a:pt x="323" y="79"/>
                  </a:cubicBezTo>
                  <a:cubicBezTo>
                    <a:pt x="311" y="96"/>
                    <a:pt x="311" y="96"/>
                    <a:pt x="311" y="96"/>
                  </a:cubicBezTo>
                  <a:cubicBezTo>
                    <a:pt x="305" y="92"/>
                    <a:pt x="305" y="92"/>
                    <a:pt x="305" y="92"/>
                  </a:cubicBezTo>
                  <a:cubicBezTo>
                    <a:pt x="305" y="89"/>
                    <a:pt x="305" y="89"/>
                    <a:pt x="305" y="89"/>
                  </a:cubicBezTo>
                  <a:cubicBezTo>
                    <a:pt x="290" y="87"/>
                    <a:pt x="290" y="87"/>
                    <a:pt x="290" y="87"/>
                  </a:cubicBezTo>
                  <a:cubicBezTo>
                    <a:pt x="282" y="87"/>
                    <a:pt x="282" y="87"/>
                    <a:pt x="282" y="87"/>
                  </a:cubicBezTo>
                  <a:cubicBezTo>
                    <a:pt x="278" y="91"/>
                    <a:pt x="278" y="91"/>
                    <a:pt x="278" y="91"/>
                  </a:cubicBezTo>
                  <a:cubicBezTo>
                    <a:pt x="278" y="96"/>
                    <a:pt x="278" y="96"/>
                    <a:pt x="278" y="96"/>
                  </a:cubicBezTo>
                  <a:cubicBezTo>
                    <a:pt x="279" y="101"/>
                    <a:pt x="279" y="101"/>
                    <a:pt x="279" y="101"/>
                  </a:cubicBezTo>
                  <a:cubicBezTo>
                    <a:pt x="282" y="109"/>
                    <a:pt x="282" y="109"/>
                    <a:pt x="282" y="109"/>
                  </a:cubicBezTo>
                  <a:cubicBezTo>
                    <a:pt x="284" y="109"/>
                    <a:pt x="287" y="107"/>
                    <a:pt x="290" y="106"/>
                  </a:cubicBezTo>
                  <a:cubicBezTo>
                    <a:pt x="291" y="106"/>
                    <a:pt x="293" y="105"/>
                    <a:pt x="295" y="105"/>
                  </a:cubicBezTo>
                  <a:cubicBezTo>
                    <a:pt x="299" y="105"/>
                    <a:pt x="305" y="107"/>
                    <a:pt x="309" y="109"/>
                  </a:cubicBezTo>
                  <a:cubicBezTo>
                    <a:pt x="310" y="122"/>
                    <a:pt x="310" y="122"/>
                    <a:pt x="310" y="122"/>
                  </a:cubicBezTo>
                  <a:cubicBezTo>
                    <a:pt x="319" y="129"/>
                    <a:pt x="319" y="129"/>
                    <a:pt x="319" y="129"/>
                  </a:cubicBezTo>
                  <a:cubicBezTo>
                    <a:pt x="331" y="132"/>
                    <a:pt x="331" y="132"/>
                    <a:pt x="331" y="132"/>
                  </a:cubicBezTo>
                  <a:cubicBezTo>
                    <a:pt x="340" y="140"/>
                    <a:pt x="340" y="140"/>
                    <a:pt x="340" y="140"/>
                  </a:cubicBezTo>
                  <a:cubicBezTo>
                    <a:pt x="344" y="145"/>
                    <a:pt x="344" y="145"/>
                    <a:pt x="344" y="145"/>
                  </a:cubicBezTo>
                  <a:cubicBezTo>
                    <a:pt x="343" y="149"/>
                    <a:pt x="343" y="149"/>
                    <a:pt x="343" y="149"/>
                  </a:cubicBezTo>
                  <a:cubicBezTo>
                    <a:pt x="332" y="149"/>
                    <a:pt x="332" y="149"/>
                    <a:pt x="332" y="149"/>
                  </a:cubicBezTo>
                  <a:cubicBezTo>
                    <a:pt x="333" y="157"/>
                    <a:pt x="333" y="157"/>
                    <a:pt x="333" y="157"/>
                  </a:cubicBezTo>
                  <a:cubicBezTo>
                    <a:pt x="337" y="164"/>
                    <a:pt x="337" y="164"/>
                    <a:pt x="337" y="164"/>
                  </a:cubicBezTo>
                  <a:cubicBezTo>
                    <a:pt x="342" y="168"/>
                    <a:pt x="342" y="168"/>
                    <a:pt x="342" y="168"/>
                  </a:cubicBezTo>
                  <a:cubicBezTo>
                    <a:pt x="350" y="167"/>
                    <a:pt x="350" y="167"/>
                    <a:pt x="350" y="167"/>
                  </a:cubicBezTo>
                  <a:cubicBezTo>
                    <a:pt x="356" y="165"/>
                    <a:pt x="356" y="165"/>
                    <a:pt x="356" y="165"/>
                  </a:cubicBezTo>
                  <a:cubicBezTo>
                    <a:pt x="364" y="169"/>
                    <a:pt x="364" y="169"/>
                    <a:pt x="364" y="169"/>
                  </a:cubicBezTo>
                  <a:cubicBezTo>
                    <a:pt x="378" y="176"/>
                    <a:pt x="378" y="176"/>
                    <a:pt x="378" y="176"/>
                  </a:cubicBezTo>
                  <a:cubicBezTo>
                    <a:pt x="380" y="187"/>
                    <a:pt x="380" y="187"/>
                    <a:pt x="380" y="187"/>
                  </a:cubicBezTo>
                  <a:cubicBezTo>
                    <a:pt x="376" y="207"/>
                    <a:pt x="376" y="207"/>
                    <a:pt x="376" y="207"/>
                  </a:cubicBezTo>
                  <a:cubicBezTo>
                    <a:pt x="371" y="219"/>
                    <a:pt x="371" y="219"/>
                    <a:pt x="371" y="219"/>
                  </a:cubicBezTo>
                  <a:cubicBezTo>
                    <a:pt x="369" y="233"/>
                    <a:pt x="369" y="233"/>
                    <a:pt x="369" y="233"/>
                  </a:cubicBezTo>
                  <a:cubicBezTo>
                    <a:pt x="377" y="248"/>
                    <a:pt x="377" y="248"/>
                    <a:pt x="377" y="248"/>
                  </a:cubicBezTo>
                  <a:cubicBezTo>
                    <a:pt x="376" y="258"/>
                    <a:pt x="376" y="258"/>
                    <a:pt x="376" y="258"/>
                  </a:cubicBezTo>
                  <a:cubicBezTo>
                    <a:pt x="380" y="267"/>
                    <a:pt x="380" y="267"/>
                    <a:pt x="380" y="267"/>
                  </a:cubicBezTo>
                  <a:cubicBezTo>
                    <a:pt x="385" y="272"/>
                    <a:pt x="385" y="272"/>
                    <a:pt x="385" y="272"/>
                  </a:cubicBezTo>
                  <a:cubicBezTo>
                    <a:pt x="390" y="275"/>
                    <a:pt x="390" y="275"/>
                    <a:pt x="390" y="275"/>
                  </a:cubicBezTo>
                  <a:cubicBezTo>
                    <a:pt x="381" y="278"/>
                    <a:pt x="381" y="278"/>
                    <a:pt x="381" y="278"/>
                  </a:cubicBezTo>
                  <a:cubicBezTo>
                    <a:pt x="377" y="289"/>
                    <a:pt x="377" y="289"/>
                    <a:pt x="377" y="289"/>
                  </a:cubicBezTo>
                  <a:cubicBezTo>
                    <a:pt x="372" y="298"/>
                    <a:pt x="372" y="298"/>
                    <a:pt x="372" y="298"/>
                  </a:cubicBezTo>
                  <a:cubicBezTo>
                    <a:pt x="377" y="299"/>
                    <a:pt x="383" y="301"/>
                    <a:pt x="388" y="303"/>
                  </a:cubicBezTo>
                  <a:cubicBezTo>
                    <a:pt x="390" y="304"/>
                    <a:pt x="392" y="306"/>
                    <a:pt x="394" y="307"/>
                  </a:cubicBezTo>
                  <a:cubicBezTo>
                    <a:pt x="397" y="308"/>
                    <a:pt x="402" y="309"/>
                    <a:pt x="406" y="310"/>
                  </a:cubicBezTo>
                  <a:cubicBezTo>
                    <a:pt x="408" y="312"/>
                    <a:pt x="412" y="322"/>
                    <a:pt x="412" y="331"/>
                  </a:cubicBezTo>
                  <a:cubicBezTo>
                    <a:pt x="415" y="339"/>
                    <a:pt x="415" y="339"/>
                    <a:pt x="415" y="339"/>
                  </a:cubicBezTo>
                  <a:cubicBezTo>
                    <a:pt x="424" y="356"/>
                    <a:pt x="424" y="356"/>
                    <a:pt x="424" y="356"/>
                  </a:cubicBezTo>
                  <a:cubicBezTo>
                    <a:pt x="433" y="371"/>
                    <a:pt x="433" y="371"/>
                    <a:pt x="433" y="371"/>
                  </a:cubicBezTo>
                  <a:cubicBezTo>
                    <a:pt x="436" y="390"/>
                    <a:pt x="436" y="390"/>
                    <a:pt x="436" y="390"/>
                  </a:cubicBezTo>
                  <a:cubicBezTo>
                    <a:pt x="433" y="402"/>
                    <a:pt x="433" y="402"/>
                    <a:pt x="433" y="402"/>
                  </a:cubicBezTo>
                  <a:cubicBezTo>
                    <a:pt x="420" y="404"/>
                    <a:pt x="420" y="404"/>
                    <a:pt x="420" y="404"/>
                  </a:cubicBezTo>
                  <a:cubicBezTo>
                    <a:pt x="411" y="413"/>
                    <a:pt x="411" y="413"/>
                    <a:pt x="411" y="413"/>
                  </a:cubicBezTo>
                  <a:cubicBezTo>
                    <a:pt x="404" y="420"/>
                    <a:pt x="404" y="420"/>
                    <a:pt x="404" y="420"/>
                  </a:cubicBezTo>
                  <a:cubicBezTo>
                    <a:pt x="406" y="427"/>
                    <a:pt x="406" y="427"/>
                    <a:pt x="406" y="427"/>
                  </a:cubicBezTo>
                  <a:cubicBezTo>
                    <a:pt x="411" y="425"/>
                    <a:pt x="411" y="425"/>
                    <a:pt x="411" y="425"/>
                  </a:cubicBezTo>
                  <a:cubicBezTo>
                    <a:pt x="412" y="429"/>
                    <a:pt x="412" y="429"/>
                    <a:pt x="412" y="429"/>
                  </a:cubicBezTo>
                  <a:cubicBezTo>
                    <a:pt x="407" y="441"/>
                    <a:pt x="407" y="441"/>
                    <a:pt x="407" y="441"/>
                  </a:cubicBezTo>
                  <a:cubicBezTo>
                    <a:pt x="407" y="450"/>
                    <a:pt x="407" y="450"/>
                    <a:pt x="407" y="450"/>
                  </a:cubicBezTo>
                  <a:cubicBezTo>
                    <a:pt x="389" y="455"/>
                    <a:pt x="389" y="455"/>
                    <a:pt x="389" y="455"/>
                  </a:cubicBezTo>
                  <a:cubicBezTo>
                    <a:pt x="374" y="460"/>
                    <a:pt x="374" y="460"/>
                    <a:pt x="374" y="460"/>
                  </a:cubicBezTo>
                  <a:cubicBezTo>
                    <a:pt x="367" y="465"/>
                    <a:pt x="367" y="465"/>
                    <a:pt x="367" y="465"/>
                  </a:cubicBezTo>
                  <a:cubicBezTo>
                    <a:pt x="362" y="468"/>
                    <a:pt x="362" y="468"/>
                    <a:pt x="362" y="468"/>
                  </a:cubicBezTo>
                  <a:cubicBezTo>
                    <a:pt x="355" y="468"/>
                    <a:pt x="355" y="468"/>
                    <a:pt x="355" y="468"/>
                  </a:cubicBezTo>
                  <a:cubicBezTo>
                    <a:pt x="343" y="466"/>
                    <a:pt x="343" y="466"/>
                    <a:pt x="343" y="466"/>
                  </a:cubicBezTo>
                  <a:cubicBezTo>
                    <a:pt x="335" y="462"/>
                    <a:pt x="335" y="462"/>
                    <a:pt x="335" y="462"/>
                  </a:cubicBezTo>
                  <a:cubicBezTo>
                    <a:pt x="327" y="461"/>
                    <a:pt x="327" y="461"/>
                    <a:pt x="327" y="461"/>
                  </a:cubicBezTo>
                  <a:cubicBezTo>
                    <a:pt x="320" y="463"/>
                    <a:pt x="320" y="463"/>
                    <a:pt x="320" y="463"/>
                  </a:cubicBezTo>
                  <a:cubicBezTo>
                    <a:pt x="314" y="469"/>
                    <a:pt x="314" y="469"/>
                    <a:pt x="314" y="469"/>
                  </a:cubicBezTo>
                  <a:cubicBezTo>
                    <a:pt x="310" y="476"/>
                    <a:pt x="310" y="476"/>
                    <a:pt x="310" y="476"/>
                  </a:cubicBezTo>
                  <a:cubicBezTo>
                    <a:pt x="311" y="481"/>
                    <a:pt x="311" y="481"/>
                    <a:pt x="311" y="481"/>
                  </a:cubicBezTo>
                  <a:cubicBezTo>
                    <a:pt x="312" y="496"/>
                    <a:pt x="312" y="496"/>
                    <a:pt x="312" y="496"/>
                  </a:cubicBezTo>
                  <a:moveTo>
                    <a:pt x="238" y="552"/>
                  </a:moveTo>
                  <a:cubicBezTo>
                    <a:pt x="236" y="548"/>
                    <a:pt x="236" y="548"/>
                    <a:pt x="236" y="548"/>
                  </a:cubicBezTo>
                  <a:cubicBezTo>
                    <a:pt x="233" y="540"/>
                    <a:pt x="233" y="540"/>
                    <a:pt x="233" y="540"/>
                  </a:cubicBezTo>
                  <a:cubicBezTo>
                    <a:pt x="233" y="534"/>
                    <a:pt x="233" y="534"/>
                    <a:pt x="233" y="534"/>
                  </a:cubicBezTo>
                  <a:cubicBezTo>
                    <a:pt x="240" y="529"/>
                    <a:pt x="240" y="529"/>
                    <a:pt x="240" y="529"/>
                  </a:cubicBezTo>
                  <a:cubicBezTo>
                    <a:pt x="246" y="521"/>
                    <a:pt x="246" y="521"/>
                    <a:pt x="246" y="521"/>
                  </a:cubicBezTo>
                  <a:cubicBezTo>
                    <a:pt x="251" y="512"/>
                    <a:pt x="251" y="512"/>
                    <a:pt x="251" y="512"/>
                  </a:cubicBezTo>
                  <a:cubicBezTo>
                    <a:pt x="253" y="507"/>
                    <a:pt x="253" y="507"/>
                    <a:pt x="253" y="507"/>
                  </a:cubicBezTo>
                  <a:cubicBezTo>
                    <a:pt x="260" y="506"/>
                    <a:pt x="260" y="506"/>
                    <a:pt x="260" y="506"/>
                  </a:cubicBezTo>
                  <a:cubicBezTo>
                    <a:pt x="290" y="497"/>
                    <a:pt x="290" y="497"/>
                    <a:pt x="290" y="497"/>
                  </a:cubicBezTo>
                  <a:cubicBezTo>
                    <a:pt x="312" y="495"/>
                    <a:pt x="312" y="495"/>
                    <a:pt x="312" y="495"/>
                  </a:cubicBezTo>
                </a:path>
              </a:pathLst>
            </a:custGeom>
            <a:pattFill prst="dkDnDiag">
              <a:fgClr>
                <a:schemeClr val="accent2"/>
              </a:fgClr>
              <a:bgClr>
                <a:schemeClr val="bg1"/>
              </a:bgClr>
            </a:patt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62" name="Freeform 12">
              <a:extLst>
                <a:ext uri="{FF2B5EF4-FFF2-40B4-BE49-F238E27FC236}">
                  <a16:creationId xmlns:a16="http://schemas.microsoft.com/office/drawing/2014/main" id="{71D3FED6-760A-4A73-9A10-645ECFC67B0F}"/>
                </a:ext>
              </a:extLst>
            </p:cNvPr>
            <p:cNvSpPr>
              <a:spLocks noEditPoints="1"/>
            </p:cNvSpPr>
            <p:nvPr/>
          </p:nvSpPr>
          <p:spPr bwMode="gray">
            <a:xfrm>
              <a:off x="7135" y="2334"/>
              <a:ext cx="2603" cy="2428"/>
            </a:xfrm>
            <a:custGeom>
              <a:avLst/>
              <a:gdLst>
                <a:gd name="T0" fmla="*/ 304 w 1102"/>
                <a:gd name="T1" fmla="*/ 723 h 1028"/>
                <a:gd name="T2" fmla="*/ 344 w 1102"/>
                <a:gd name="T3" fmla="*/ 655 h 1028"/>
                <a:gd name="T4" fmla="*/ 297 w 1102"/>
                <a:gd name="T5" fmla="*/ 595 h 1028"/>
                <a:gd name="T6" fmla="*/ 305 w 1102"/>
                <a:gd name="T7" fmla="*/ 525 h 1028"/>
                <a:gd name="T8" fmla="*/ 310 w 1102"/>
                <a:gd name="T9" fmla="*/ 481 h 1028"/>
                <a:gd name="T10" fmla="*/ 322 w 1102"/>
                <a:gd name="T11" fmla="*/ 450 h 1028"/>
                <a:gd name="T12" fmla="*/ 269 w 1102"/>
                <a:gd name="T13" fmla="*/ 449 h 1028"/>
                <a:gd name="T14" fmla="*/ 227 w 1102"/>
                <a:gd name="T15" fmla="*/ 368 h 1028"/>
                <a:gd name="T16" fmla="*/ 151 w 1102"/>
                <a:gd name="T17" fmla="*/ 353 h 1028"/>
                <a:gd name="T18" fmla="*/ 94 w 1102"/>
                <a:gd name="T19" fmla="*/ 305 h 1028"/>
                <a:gd name="T20" fmla="*/ 150 w 1102"/>
                <a:gd name="T21" fmla="*/ 264 h 1028"/>
                <a:gd name="T22" fmla="*/ 38 w 1102"/>
                <a:gd name="T23" fmla="*/ 225 h 1028"/>
                <a:gd name="T24" fmla="*/ 4 w 1102"/>
                <a:gd name="T25" fmla="*/ 177 h 1028"/>
                <a:gd name="T26" fmla="*/ 90 w 1102"/>
                <a:gd name="T27" fmla="*/ 132 h 1028"/>
                <a:gd name="T28" fmla="*/ 206 w 1102"/>
                <a:gd name="T29" fmla="*/ 55 h 1028"/>
                <a:gd name="T30" fmla="*/ 305 w 1102"/>
                <a:gd name="T31" fmla="*/ 38 h 1028"/>
                <a:gd name="T32" fmla="*/ 418 w 1102"/>
                <a:gd name="T33" fmla="*/ 21 h 1028"/>
                <a:gd name="T34" fmla="*/ 466 w 1102"/>
                <a:gd name="T35" fmla="*/ 33 h 1028"/>
                <a:gd name="T36" fmla="*/ 400 w 1102"/>
                <a:gd name="T37" fmla="*/ 70 h 1028"/>
                <a:gd name="T38" fmla="*/ 337 w 1102"/>
                <a:gd name="T39" fmla="*/ 142 h 1028"/>
                <a:gd name="T40" fmla="*/ 380 w 1102"/>
                <a:gd name="T41" fmla="*/ 152 h 1028"/>
                <a:gd name="T42" fmla="*/ 422 w 1102"/>
                <a:gd name="T43" fmla="*/ 142 h 1028"/>
                <a:gd name="T44" fmla="*/ 388 w 1102"/>
                <a:gd name="T45" fmla="*/ 197 h 1028"/>
                <a:gd name="T46" fmla="*/ 347 w 1102"/>
                <a:gd name="T47" fmla="*/ 219 h 1028"/>
                <a:gd name="T48" fmla="*/ 391 w 1102"/>
                <a:gd name="T49" fmla="*/ 235 h 1028"/>
                <a:gd name="T50" fmla="*/ 415 w 1102"/>
                <a:gd name="T51" fmla="*/ 234 h 1028"/>
                <a:gd name="T52" fmla="*/ 456 w 1102"/>
                <a:gd name="T53" fmla="*/ 170 h 1028"/>
                <a:gd name="T54" fmla="*/ 539 w 1102"/>
                <a:gd name="T55" fmla="*/ 179 h 1028"/>
                <a:gd name="T56" fmla="*/ 531 w 1102"/>
                <a:gd name="T57" fmla="*/ 118 h 1028"/>
                <a:gd name="T58" fmla="*/ 499 w 1102"/>
                <a:gd name="T59" fmla="*/ 75 h 1028"/>
                <a:gd name="T60" fmla="*/ 544 w 1102"/>
                <a:gd name="T61" fmla="*/ 46 h 1028"/>
                <a:gd name="T62" fmla="*/ 611 w 1102"/>
                <a:gd name="T63" fmla="*/ 72 h 1028"/>
                <a:gd name="T64" fmla="*/ 662 w 1102"/>
                <a:gd name="T65" fmla="*/ 59 h 1028"/>
                <a:gd name="T66" fmla="*/ 676 w 1102"/>
                <a:gd name="T67" fmla="*/ 111 h 1028"/>
                <a:gd name="T68" fmla="*/ 705 w 1102"/>
                <a:gd name="T69" fmla="*/ 200 h 1028"/>
                <a:gd name="T70" fmla="*/ 698 w 1102"/>
                <a:gd name="T71" fmla="*/ 266 h 1028"/>
                <a:gd name="T72" fmla="*/ 724 w 1102"/>
                <a:gd name="T73" fmla="*/ 329 h 1028"/>
                <a:gd name="T74" fmla="*/ 736 w 1102"/>
                <a:gd name="T75" fmla="*/ 392 h 1028"/>
                <a:gd name="T76" fmla="*/ 698 w 1102"/>
                <a:gd name="T77" fmla="*/ 434 h 1028"/>
                <a:gd name="T78" fmla="*/ 728 w 1102"/>
                <a:gd name="T79" fmla="*/ 522 h 1028"/>
                <a:gd name="T80" fmla="*/ 847 w 1102"/>
                <a:gd name="T81" fmla="*/ 563 h 1028"/>
                <a:gd name="T82" fmla="*/ 968 w 1102"/>
                <a:gd name="T83" fmla="*/ 583 h 1028"/>
                <a:gd name="T84" fmla="*/ 1063 w 1102"/>
                <a:gd name="T85" fmla="*/ 571 h 1028"/>
                <a:gd name="T86" fmla="*/ 1102 w 1102"/>
                <a:gd name="T87" fmla="*/ 633 h 1028"/>
                <a:gd name="T88" fmla="*/ 1061 w 1102"/>
                <a:gd name="T89" fmla="*/ 655 h 1028"/>
                <a:gd name="T90" fmla="*/ 1041 w 1102"/>
                <a:gd name="T91" fmla="*/ 745 h 1028"/>
                <a:gd name="T92" fmla="*/ 963 w 1102"/>
                <a:gd name="T93" fmla="*/ 822 h 1028"/>
                <a:gd name="T94" fmla="*/ 821 w 1102"/>
                <a:gd name="T95" fmla="*/ 795 h 1028"/>
                <a:gd name="T96" fmla="*/ 733 w 1102"/>
                <a:gd name="T97" fmla="*/ 858 h 1028"/>
                <a:gd name="T98" fmla="*/ 523 w 1102"/>
                <a:gd name="T99" fmla="*/ 908 h 1028"/>
                <a:gd name="T100" fmla="*/ 469 w 1102"/>
                <a:gd name="T101" fmla="*/ 959 h 1028"/>
                <a:gd name="T102" fmla="*/ 341 w 1102"/>
                <a:gd name="T103" fmla="*/ 996 h 1028"/>
                <a:gd name="T104" fmla="*/ 266 w 1102"/>
                <a:gd name="T105" fmla="*/ 996 h 1028"/>
                <a:gd name="T106" fmla="*/ 221 w 1102"/>
                <a:gd name="T107" fmla="*/ 980 h 1028"/>
                <a:gd name="T108" fmla="*/ 242 w 1102"/>
                <a:gd name="T109" fmla="*/ 901 h 1028"/>
                <a:gd name="T110" fmla="*/ 559 w 1102"/>
                <a:gd name="T111" fmla="*/ 177 h 1028"/>
                <a:gd name="T112" fmla="*/ 562 w 1102"/>
                <a:gd name="T113" fmla="*/ 192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02" h="1028">
                  <a:moveTo>
                    <a:pt x="250" y="796"/>
                  </a:moveTo>
                  <a:cubicBezTo>
                    <a:pt x="259" y="785"/>
                    <a:pt x="259" y="785"/>
                    <a:pt x="259" y="785"/>
                  </a:cubicBezTo>
                  <a:cubicBezTo>
                    <a:pt x="274" y="773"/>
                    <a:pt x="274" y="773"/>
                    <a:pt x="274" y="773"/>
                  </a:cubicBezTo>
                  <a:cubicBezTo>
                    <a:pt x="285" y="767"/>
                    <a:pt x="285" y="767"/>
                    <a:pt x="285" y="767"/>
                  </a:cubicBezTo>
                  <a:cubicBezTo>
                    <a:pt x="302" y="768"/>
                    <a:pt x="302" y="768"/>
                    <a:pt x="302" y="768"/>
                  </a:cubicBezTo>
                  <a:cubicBezTo>
                    <a:pt x="313" y="762"/>
                    <a:pt x="313" y="762"/>
                    <a:pt x="313" y="762"/>
                  </a:cubicBezTo>
                  <a:cubicBezTo>
                    <a:pt x="303" y="745"/>
                    <a:pt x="303" y="745"/>
                    <a:pt x="303" y="745"/>
                  </a:cubicBezTo>
                  <a:cubicBezTo>
                    <a:pt x="304" y="723"/>
                    <a:pt x="304" y="723"/>
                    <a:pt x="304" y="723"/>
                  </a:cubicBezTo>
                  <a:cubicBezTo>
                    <a:pt x="305" y="706"/>
                    <a:pt x="305" y="706"/>
                    <a:pt x="305" y="706"/>
                  </a:cubicBezTo>
                  <a:cubicBezTo>
                    <a:pt x="307" y="698"/>
                    <a:pt x="307" y="698"/>
                    <a:pt x="307" y="698"/>
                  </a:cubicBezTo>
                  <a:cubicBezTo>
                    <a:pt x="316" y="692"/>
                    <a:pt x="316" y="692"/>
                    <a:pt x="316" y="692"/>
                  </a:cubicBezTo>
                  <a:cubicBezTo>
                    <a:pt x="328" y="697"/>
                    <a:pt x="328" y="697"/>
                    <a:pt x="328" y="697"/>
                  </a:cubicBezTo>
                  <a:cubicBezTo>
                    <a:pt x="333" y="696"/>
                    <a:pt x="333" y="696"/>
                    <a:pt x="333" y="696"/>
                  </a:cubicBezTo>
                  <a:cubicBezTo>
                    <a:pt x="342" y="696"/>
                    <a:pt x="342" y="696"/>
                    <a:pt x="342" y="696"/>
                  </a:cubicBezTo>
                  <a:cubicBezTo>
                    <a:pt x="344" y="681"/>
                    <a:pt x="344" y="681"/>
                    <a:pt x="344" y="681"/>
                  </a:cubicBezTo>
                  <a:cubicBezTo>
                    <a:pt x="344" y="655"/>
                    <a:pt x="344" y="655"/>
                    <a:pt x="344" y="655"/>
                  </a:cubicBezTo>
                  <a:cubicBezTo>
                    <a:pt x="335" y="647"/>
                    <a:pt x="335" y="647"/>
                    <a:pt x="335" y="647"/>
                  </a:cubicBezTo>
                  <a:cubicBezTo>
                    <a:pt x="322" y="635"/>
                    <a:pt x="322" y="635"/>
                    <a:pt x="322" y="635"/>
                  </a:cubicBezTo>
                  <a:cubicBezTo>
                    <a:pt x="313" y="630"/>
                    <a:pt x="313" y="630"/>
                    <a:pt x="313" y="630"/>
                  </a:cubicBezTo>
                  <a:cubicBezTo>
                    <a:pt x="297" y="624"/>
                    <a:pt x="297" y="624"/>
                    <a:pt x="297" y="624"/>
                  </a:cubicBezTo>
                  <a:cubicBezTo>
                    <a:pt x="295" y="622"/>
                    <a:pt x="291" y="622"/>
                    <a:pt x="289" y="619"/>
                  </a:cubicBezTo>
                  <a:cubicBezTo>
                    <a:pt x="288" y="617"/>
                    <a:pt x="288" y="613"/>
                    <a:pt x="289" y="611"/>
                  </a:cubicBezTo>
                  <a:cubicBezTo>
                    <a:pt x="290" y="608"/>
                    <a:pt x="294" y="605"/>
                    <a:pt x="295" y="602"/>
                  </a:cubicBezTo>
                  <a:cubicBezTo>
                    <a:pt x="296" y="600"/>
                    <a:pt x="297" y="597"/>
                    <a:pt x="297" y="595"/>
                  </a:cubicBezTo>
                  <a:cubicBezTo>
                    <a:pt x="296" y="592"/>
                    <a:pt x="292" y="590"/>
                    <a:pt x="291" y="587"/>
                  </a:cubicBezTo>
                  <a:cubicBezTo>
                    <a:pt x="289" y="583"/>
                    <a:pt x="286" y="578"/>
                    <a:pt x="286" y="574"/>
                  </a:cubicBezTo>
                  <a:cubicBezTo>
                    <a:pt x="285" y="572"/>
                    <a:pt x="285" y="568"/>
                    <a:pt x="287" y="566"/>
                  </a:cubicBezTo>
                  <a:cubicBezTo>
                    <a:pt x="288" y="563"/>
                    <a:pt x="294" y="563"/>
                    <a:pt x="295" y="560"/>
                  </a:cubicBezTo>
                  <a:cubicBezTo>
                    <a:pt x="296" y="558"/>
                    <a:pt x="296" y="554"/>
                    <a:pt x="296" y="552"/>
                  </a:cubicBezTo>
                  <a:cubicBezTo>
                    <a:pt x="296" y="549"/>
                    <a:pt x="296" y="545"/>
                    <a:pt x="297" y="542"/>
                  </a:cubicBezTo>
                  <a:cubicBezTo>
                    <a:pt x="298" y="539"/>
                    <a:pt x="301" y="536"/>
                    <a:pt x="302" y="534"/>
                  </a:cubicBezTo>
                  <a:cubicBezTo>
                    <a:pt x="303" y="531"/>
                    <a:pt x="304" y="527"/>
                    <a:pt x="305" y="525"/>
                  </a:cubicBezTo>
                  <a:cubicBezTo>
                    <a:pt x="306" y="522"/>
                    <a:pt x="308" y="517"/>
                    <a:pt x="310" y="514"/>
                  </a:cubicBezTo>
                  <a:cubicBezTo>
                    <a:pt x="312" y="512"/>
                    <a:pt x="314" y="508"/>
                    <a:pt x="316" y="506"/>
                  </a:cubicBezTo>
                  <a:cubicBezTo>
                    <a:pt x="314" y="505"/>
                    <a:pt x="314" y="505"/>
                    <a:pt x="314" y="505"/>
                  </a:cubicBezTo>
                  <a:cubicBezTo>
                    <a:pt x="307" y="500"/>
                    <a:pt x="307" y="500"/>
                    <a:pt x="307" y="500"/>
                  </a:cubicBezTo>
                  <a:cubicBezTo>
                    <a:pt x="307" y="500"/>
                    <a:pt x="298" y="494"/>
                    <a:pt x="299" y="492"/>
                  </a:cubicBezTo>
                  <a:cubicBezTo>
                    <a:pt x="299" y="489"/>
                    <a:pt x="302" y="484"/>
                    <a:pt x="302" y="484"/>
                  </a:cubicBezTo>
                  <a:cubicBezTo>
                    <a:pt x="308" y="476"/>
                    <a:pt x="308" y="476"/>
                    <a:pt x="308" y="476"/>
                  </a:cubicBezTo>
                  <a:cubicBezTo>
                    <a:pt x="310" y="481"/>
                    <a:pt x="310" y="481"/>
                    <a:pt x="310" y="481"/>
                  </a:cubicBezTo>
                  <a:cubicBezTo>
                    <a:pt x="318" y="487"/>
                    <a:pt x="318" y="487"/>
                    <a:pt x="318" y="487"/>
                  </a:cubicBezTo>
                  <a:cubicBezTo>
                    <a:pt x="321" y="492"/>
                    <a:pt x="321" y="492"/>
                    <a:pt x="321" y="492"/>
                  </a:cubicBezTo>
                  <a:cubicBezTo>
                    <a:pt x="323" y="487"/>
                    <a:pt x="330" y="484"/>
                    <a:pt x="333" y="480"/>
                  </a:cubicBezTo>
                  <a:cubicBezTo>
                    <a:pt x="334" y="479"/>
                    <a:pt x="335" y="478"/>
                    <a:pt x="335" y="477"/>
                  </a:cubicBezTo>
                  <a:cubicBezTo>
                    <a:pt x="334" y="475"/>
                    <a:pt x="331" y="474"/>
                    <a:pt x="330" y="472"/>
                  </a:cubicBezTo>
                  <a:cubicBezTo>
                    <a:pt x="329" y="470"/>
                    <a:pt x="330" y="467"/>
                    <a:pt x="329" y="464"/>
                  </a:cubicBezTo>
                  <a:cubicBezTo>
                    <a:pt x="329" y="462"/>
                    <a:pt x="330" y="459"/>
                    <a:pt x="329" y="457"/>
                  </a:cubicBezTo>
                  <a:cubicBezTo>
                    <a:pt x="328" y="454"/>
                    <a:pt x="325" y="451"/>
                    <a:pt x="322" y="450"/>
                  </a:cubicBezTo>
                  <a:cubicBezTo>
                    <a:pt x="320" y="448"/>
                    <a:pt x="316" y="447"/>
                    <a:pt x="314" y="447"/>
                  </a:cubicBezTo>
                  <a:cubicBezTo>
                    <a:pt x="311" y="447"/>
                    <a:pt x="307" y="447"/>
                    <a:pt x="305" y="449"/>
                  </a:cubicBezTo>
                  <a:cubicBezTo>
                    <a:pt x="304" y="450"/>
                    <a:pt x="304" y="453"/>
                    <a:pt x="302" y="453"/>
                  </a:cubicBezTo>
                  <a:cubicBezTo>
                    <a:pt x="300" y="454"/>
                    <a:pt x="297" y="451"/>
                    <a:pt x="294" y="450"/>
                  </a:cubicBezTo>
                  <a:cubicBezTo>
                    <a:pt x="293" y="449"/>
                    <a:pt x="291" y="447"/>
                    <a:pt x="289" y="447"/>
                  </a:cubicBezTo>
                  <a:cubicBezTo>
                    <a:pt x="287" y="447"/>
                    <a:pt x="284" y="448"/>
                    <a:pt x="281" y="449"/>
                  </a:cubicBezTo>
                  <a:cubicBezTo>
                    <a:pt x="280" y="449"/>
                    <a:pt x="280" y="450"/>
                    <a:pt x="279" y="450"/>
                  </a:cubicBezTo>
                  <a:cubicBezTo>
                    <a:pt x="276" y="451"/>
                    <a:pt x="272" y="450"/>
                    <a:pt x="269" y="449"/>
                  </a:cubicBezTo>
                  <a:cubicBezTo>
                    <a:pt x="265" y="447"/>
                    <a:pt x="261" y="441"/>
                    <a:pt x="257" y="440"/>
                  </a:cubicBezTo>
                  <a:cubicBezTo>
                    <a:pt x="255" y="440"/>
                    <a:pt x="253" y="441"/>
                    <a:pt x="252" y="441"/>
                  </a:cubicBezTo>
                  <a:cubicBezTo>
                    <a:pt x="250" y="441"/>
                    <a:pt x="248" y="439"/>
                    <a:pt x="247" y="438"/>
                  </a:cubicBezTo>
                  <a:cubicBezTo>
                    <a:pt x="245" y="437"/>
                    <a:pt x="243" y="432"/>
                    <a:pt x="243" y="432"/>
                  </a:cubicBezTo>
                  <a:cubicBezTo>
                    <a:pt x="229" y="431"/>
                    <a:pt x="229" y="431"/>
                    <a:pt x="229" y="431"/>
                  </a:cubicBezTo>
                  <a:cubicBezTo>
                    <a:pt x="233" y="405"/>
                    <a:pt x="233" y="405"/>
                    <a:pt x="233" y="405"/>
                  </a:cubicBezTo>
                  <a:cubicBezTo>
                    <a:pt x="232" y="387"/>
                    <a:pt x="232" y="387"/>
                    <a:pt x="232" y="387"/>
                  </a:cubicBezTo>
                  <a:cubicBezTo>
                    <a:pt x="227" y="368"/>
                    <a:pt x="227" y="368"/>
                    <a:pt x="227" y="368"/>
                  </a:cubicBezTo>
                  <a:cubicBezTo>
                    <a:pt x="232" y="361"/>
                    <a:pt x="232" y="361"/>
                    <a:pt x="232" y="361"/>
                  </a:cubicBezTo>
                  <a:cubicBezTo>
                    <a:pt x="245" y="353"/>
                    <a:pt x="245" y="353"/>
                    <a:pt x="245" y="353"/>
                  </a:cubicBezTo>
                  <a:cubicBezTo>
                    <a:pt x="243" y="342"/>
                    <a:pt x="243" y="342"/>
                    <a:pt x="243" y="342"/>
                  </a:cubicBezTo>
                  <a:cubicBezTo>
                    <a:pt x="232" y="329"/>
                    <a:pt x="232" y="329"/>
                    <a:pt x="232" y="329"/>
                  </a:cubicBezTo>
                  <a:cubicBezTo>
                    <a:pt x="224" y="334"/>
                    <a:pt x="224" y="334"/>
                    <a:pt x="224" y="334"/>
                  </a:cubicBezTo>
                  <a:cubicBezTo>
                    <a:pt x="196" y="347"/>
                    <a:pt x="196" y="347"/>
                    <a:pt x="196" y="347"/>
                  </a:cubicBezTo>
                  <a:cubicBezTo>
                    <a:pt x="165" y="352"/>
                    <a:pt x="165" y="352"/>
                    <a:pt x="165" y="352"/>
                  </a:cubicBezTo>
                  <a:cubicBezTo>
                    <a:pt x="151" y="353"/>
                    <a:pt x="151" y="353"/>
                    <a:pt x="151" y="353"/>
                  </a:cubicBezTo>
                  <a:cubicBezTo>
                    <a:pt x="130" y="359"/>
                    <a:pt x="130" y="359"/>
                    <a:pt x="130" y="359"/>
                  </a:cubicBezTo>
                  <a:cubicBezTo>
                    <a:pt x="127" y="358"/>
                    <a:pt x="127" y="358"/>
                    <a:pt x="127" y="358"/>
                  </a:cubicBezTo>
                  <a:cubicBezTo>
                    <a:pt x="115" y="354"/>
                    <a:pt x="115" y="354"/>
                    <a:pt x="115" y="354"/>
                  </a:cubicBezTo>
                  <a:cubicBezTo>
                    <a:pt x="98" y="346"/>
                    <a:pt x="98" y="346"/>
                    <a:pt x="98" y="346"/>
                  </a:cubicBezTo>
                  <a:cubicBezTo>
                    <a:pt x="82" y="330"/>
                    <a:pt x="82" y="330"/>
                    <a:pt x="82" y="330"/>
                  </a:cubicBezTo>
                  <a:cubicBezTo>
                    <a:pt x="82" y="330"/>
                    <a:pt x="85" y="324"/>
                    <a:pt x="86" y="322"/>
                  </a:cubicBezTo>
                  <a:cubicBezTo>
                    <a:pt x="87" y="319"/>
                    <a:pt x="89" y="316"/>
                    <a:pt x="90" y="314"/>
                  </a:cubicBezTo>
                  <a:cubicBezTo>
                    <a:pt x="91" y="311"/>
                    <a:pt x="92" y="307"/>
                    <a:pt x="94" y="305"/>
                  </a:cubicBezTo>
                  <a:cubicBezTo>
                    <a:pt x="95" y="303"/>
                    <a:pt x="98" y="300"/>
                    <a:pt x="100" y="299"/>
                  </a:cubicBezTo>
                  <a:cubicBezTo>
                    <a:pt x="102" y="297"/>
                    <a:pt x="105" y="295"/>
                    <a:pt x="108" y="293"/>
                  </a:cubicBezTo>
                  <a:cubicBezTo>
                    <a:pt x="110" y="292"/>
                    <a:pt x="113" y="290"/>
                    <a:pt x="116" y="289"/>
                  </a:cubicBezTo>
                  <a:cubicBezTo>
                    <a:pt x="118" y="288"/>
                    <a:pt x="121" y="287"/>
                    <a:pt x="123" y="286"/>
                  </a:cubicBezTo>
                  <a:cubicBezTo>
                    <a:pt x="125" y="286"/>
                    <a:pt x="128" y="286"/>
                    <a:pt x="131" y="285"/>
                  </a:cubicBezTo>
                  <a:cubicBezTo>
                    <a:pt x="133" y="285"/>
                    <a:pt x="138" y="284"/>
                    <a:pt x="138" y="284"/>
                  </a:cubicBezTo>
                  <a:cubicBezTo>
                    <a:pt x="147" y="280"/>
                    <a:pt x="147" y="280"/>
                    <a:pt x="147" y="280"/>
                  </a:cubicBezTo>
                  <a:cubicBezTo>
                    <a:pt x="150" y="264"/>
                    <a:pt x="150" y="264"/>
                    <a:pt x="150" y="264"/>
                  </a:cubicBezTo>
                  <a:cubicBezTo>
                    <a:pt x="151" y="253"/>
                    <a:pt x="151" y="253"/>
                    <a:pt x="151" y="253"/>
                  </a:cubicBezTo>
                  <a:cubicBezTo>
                    <a:pt x="148" y="242"/>
                    <a:pt x="148" y="242"/>
                    <a:pt x="148" y="242"/>
                  </a:cubicBezTo>
                  <a:cubicBezTo>
                    <a:pt x="127" y="228"/>
                    <a:pt x="127" y="228"/>
                    <a:pt x="127" y="228"/>
                  </a:cubicBezTo>
                  <a:cubicBezTo>
                    <a:pt x="105" y="217"/>
                    <a:pt x="105" y="217"/>
                    <a:pt x="105" y="217"/>
                  </a:cubicBezTo>
                  <a:cubicBezTo>
                    <a:pt x="100" y="213"/>
                    <a:pt x="100" y="213"/>
                    <a:pt x="100" y="213"/>
                  </a:cubicBezTo>
                  <a:cubicBezTo>
                    <a:pt x="81" y="214"/>
                    <a:pt x="81" y="214"/>
                    <a:pt x="81" y="214"/>
                  </a:cubicBezTo>
                  <a:cubicBezTo>
                    <a:pt x="55" y="217"/>
                    <a:pt x="55" y="217"/>
                    <a:pt x="55" y="217"/>
                  </a:cubicBezTo>
                  <a:cubicBezTo>
                    <a:pt x="38" y="225"/>
                    <a:pt x="38" y="225"/>
                    <a:pt x="38" y="225"/>
                  </a:cubicBezTo>
                  <a:cubicBezTo>
                    <a:pt x="24" y="232"/>
                    <a:pt x="24" y="232"/>
                    <a:pt x="24" y="232"/>
                  </a:cubicBezTo>
                  <a:cubicBezTo>
                    <a:pt x="14" y="237"/>
                    <a:pt x="14" y="237"/>
                    <a:pt x="14" y="237"/>
                  </a:cubicBezTo>
                  <a:cubicBezTo>
                    <a:pt x="2" y="242"/>
                    <a:pt x="2" y="242"/>
                    <a:pt x="2" y="242"/>
                  </a:cubicBezTo>
                  <a:cubicBezTo>
                    <a:pt x="0" y="230"/>
                    <a:pt x="0" y="230"/>
                    <a:pt x="0" y="230"/>
                  </a:cubicBezTo>
                  <a:cubicBezTo>
                    <a:pt x="7" y="221"/>
                    <a:pt x="7" y="221"/>
                    <a:pt x="7" y="221"/>
                  </a:cubicBezTo>
                  <a:cubicBezTo>
                    <a:pt x="11" y="208"/>
                    <a:pt x="11" y="208"/>
                    <a:pt x="11" y="208"/>
                  </a:cubicBezTo>
                  <a:cubicBezTo>
                    <a:pt x="9" y="189"/>
                    <a:pt x="9" y="189"/>
                    <a:pt x="9" y="189"/>
                  </a:cubicBezTo>
                  <a:cubicBezTo>
                    <a:pt x="4" y="177"/>
                    <a:pt x="4" y="177"/>
                    <a:pt x="4" y="177"/>
                  </a:cubicBezTo>
                  <a:cubicBezTo>
                    <a:pt x="22" y="175"/>
                    <a:pt x="22" y="175"/>
                    <a:pt x="22" y="175"/>
                  </a:cubicBezTo>
                  <a:cubicBezTo>
                    <a:pt x="32" y="168"/>
                    <a:pt x="32" y="168"/>
                    <a:pt x="32" y="168"/>
                  </a:cubicBezTo>
                  <a:cubicBezTo>
                    <a:pt x="47" y="155"/>
                    <a:pt x="47" y="155"/>
                    <a:pt x="47" y="155"/>
                  </a:cubicBezTo>
                  <a:cubicBezTo>
                    <a:pt x="56" y="147"/>
                    <a:pt x="56" y="147"/>
                    <a:pt x="56" y="147"/>
                  </a:cubicBezTo>
                  <a:cubicBezTo>
                    <a:pt x="75" y="149"/>
                    <a:pt x="75" y="149"/>
                    <a:pt x="75" y="149"/>
                  </a:cubicBezTo>
                  <a:cubicBezTo>
                    <a:pt x="85" y="148"/>
                    <a:pt x="85" y="148"/>
                    <a:pt x="85" y="148"/>
                  </a:cubicBezTo>
                  <a:cubicBezTo>
                    <a:pt x="90" y="140"/>
                    <a:pt x="90" y="140"/>
                    <a:pt x="90" y="140"/>
                  </a:cubicBezTo>
                  <a:cubicBezTo>
                    <a:pt x="90" y="132"/>
                    <a:pt x="90" y="132"/>
                    <a:pt x="90" y="132"/>
                  </a:cubicBezTo>
                  <a:cubicBezTo>
                    <a:pt x="109" y="129"/>
                    <a:pt x="109" y="129"/>
                    <a:pt x="109" y="129"/>
                  </a:cubicBezTo>
                  <a:cubicBezTo>
                    <a:pt x="121" y="113"/>
                    <a:pt x="121" y="113"/>
                    <a:pt x="121" y="113"/>
                  </a:cubicBezTo>
                  <a:cubicBezTo>
                    <a:pt x="131" y="91"/>
                    <a:pt x="131" y="91"/>
                    <a:pt x="131" y="91"/>
                  </a:cubicBezTo>
                  <a:cubicBezTo>
                    <a:pt x="133" y="81"/>
                    <a:pt x="133" y="81"/>
                    <a:pt x="133" y="81"/>
                  </a:cubicBezTo>
                  <a:cubicBezTo>
                    <a:pt x="157" y="86"/>
                    <a:pt x="157" y="86"/>
                    <a:pt x="157" y="86"/>
                  </a:cubicBezTo>
                  <a:cubicBezTo>
                    <a:pt x="198" y="83"/>
                    <a:pt x="198" y="83"/>
                    <a:pt x="198" y="83"/>
                  </a:cubicBezTo>
                  <a:cubicBezTo>
                    <a:pt x="194" y="62"/>
                    <a:pt x="194" y="62"/>
                    <a:pt x="194" y="62"/>
                  </a:cubicBezTo>
                  <a:cubicBezTo>
                    <a:pt x="206" y="55"/>
                    <a:pt x="206" y="55"/>
                    <a:pt x="206" y="55"/>
                  </a:cubicBezTo>
                  <a:cubicBezTo>
                    <a:pt x="205" y="41"/>
                    <a:pt x="205" y="41"/>
                    <a:pt x="205" y="41"/>
                  </a:cubicBezTo>
                  <a:cubicBezTo>
                    <a:pt x="210" y="30"/>
                    <a:pt x="210" y="30"/>
                    <a:pt x="210" y="30"/>
                  </a:cubicBezTo>
                  <a:cubicBezTo>
                    <a:pt x="222" y="28"/>
                    <a:pt x="222" y="28"/>
                    <a:pt x="222" y="28"/>
                  </a:cubicBezTo>
                  <a:cubicBezTo>
                    <a:pt x="234" y="28"/>
                    <a:pt x="234" y="28"/>
                    <a:pt x="234" y="28"/>
                  </a:cubicBezTo>
                  <a:cubicBezTo>
                    <a:pt x="244" y="39"/>
                    <a:pt x="244" y="39"/>
                    <a:pt x="244" y="39"/>
                  </a:cubicBezTo>
                  <a:cubicBezTo>
                    <a:pt x="263" y="43"/>
                    <a:pt x="263" y="43"/>
                    <a:pt x="263" y="43"/>
                  </a:cubicBezTo>
                  <a:cubicBezTo>
                    <a:pt x="286" y="42"/>
                    <a:pt x="286" y="42"/>
                    <a:pt x="286" y="42"/>
                  </a:cubicBezTo>
                  <a:cubicBezTo>
                    <a:pt x="305" y="38"/>
                    <a:pt x="305" y="38"/>
                    <a:pt x="305" y="38"/>
                  </a:cubicBezTo>
                  <a:cubicBezTo>
                    <a:pt x="322" y="29"/>
                    <a:pt x="322" y="29"/>
                    <a:pt x="322" y="29"/>
                  </a:cubicBezTo>
                  <a:cubicBezTo>
                    <a:pt x="339" y="16"/>
                    <a:pt x="339" y="16"/>
                    <a:pt x="339" y="16"/>
                  </a:cubicBezTo>
                  <a:cubicBezTo>
                    <a:pt x="351" y="0"/>
                    <a:pt x="351" y="0"/>
                    <a:pt x="351" y="0"/>
                  </a:cubicBezTo>
                  <a:cubicBezTo>
                    <a:pt x="356" y="2"/>
                    <a:pt x="356" y="2"/>
                    <a:pt x="356" y="2"/>
                  </a:cubicBezTo>
                  <a:cubicBezTo>
                    <a:pt x="359" y="18"/>
                    <a:pt x="359" y="18"/>
                    <a:pt x="359" y="18"/>
                  </a:cubicBezTo>
                  <a:cubicBezTo>
                    <a:pt x="372" y="17"/>
                    <a:pt x="372" y="17"/>
                    <a:pt x="372" y="17"/>
                  </a:cubicBezTo>
                  <a:cubicBezTo>
                    <a:pt x="401" y="20"/>
                    <a:pt x="401" y="20"/>
                    <a:pt x="401" y="20"/>
                  </a:cubicBezTo>
                  <a:cubicBezTo>
                    <a:pt x="418" y="21"/>
                    <a:pt x="418" y="21"/>
                    <a:pt x="418" y="21"/>
                  </a:cubicBezTo>
                  <a:cubicBezTo>
                    <a:pt x="437" y="28"/>
                    <a:pt x="437" y="28"/>
                    <a:pt x="437" y="28"/>
                  </a:cubicBezTo>
                  <a:cubicBezTo>
                    <a:pt x="448" y="21"/>
                    <a:pt x="448" y="21"/>
                    <a:pt x="448" y="21"/>
                  </a:cubicBezTo>
                  <a:cubicBezTo>
                    <a:pt x="458" y="9"/>
                    <a:pt x="458" y="9"/>
                    <a:pt x="458" y="9"/>
                  </a:cubicBezTo>
                  <a:cubicBezTo>
                    <a:pt x="479" y="9"/>
                    <a:pt x="479" y="9"/>
                    <a:pt x="479" y="9"/>
                  </a:cubicBezTo>
                  <a:cubicBezTo>
                    <a:pt x="485" y="9"/>
                    <a:pt x="485" y="9"/>
                    <a:pt x="485" y="9"/>
                  </a:cubicBezTo>
                  <a:cubicBezTo>
                    <a:pt x="477" y="20"/>
                    <a:pt x="477" y="20"/>
                    <a:pt x="477" y="20"/>
                  </a:cubicBezTo>
                  <a:cubicBezTo>
                    <a:pt x="471" y="26"/>
                    <a:pt x="471" y="26"/>
                    <a:pt x="471" y="26"/>
                  </a:cubicBezTo>
                  <a:cubicBezTo>
                    <a:pt x="466" y="33"/>
                    <a:pt x="466" y="33"/>
                    <a:pt x="466" y="33"/>
                  </a:cubicBezTo>
                  <a:cubicBezTo>
                    <a:pt x="459" y="38"/>
                    <a:pt x="459" y="38"/>
                    <a:pt x="459" y="38"/>
                  </a:cubicBezTo>
                  <a:cubicBezTo>
                    <a:pt x="440" y="43"/>
                    <a:pt x="440" y="43"/>
                    <a:pt x="440" y="43"/>
                  </a:cubicBezTo>
                  <a:cubicBezTo>
                    <a:pt x="431" y="47"/>
                    <a:pt x="431" y="47"/>
                    <a:pt x="431" y="47"/>
                  </a:cubicBezTo>
                  <a:cubicBezTo>
                    <a:pt x="423" y="53"/>
                    <a:pt x="423" y="53"/>
                    <a:pt x="423" y="53"/>
                  </a:cubicBezTo>
                  <a:cubicBezTo>
                    <a:pt x="420" y="62"/>
                    <a:pt x="420" y="62"/>
                    <a:pt x="420" y="62"/>
                  </a:cubicBezTo>
                  <a:cubicBezTo>
                    <a:pt x="418" y="66"/>
                    <a:pt x="418" y="66"/>
                    <a:pt x="418" y="66"/>
                  </a:cubicBezTo>
                  <a:cubicBezTo>
                    <a:pt x="414" y="67"/>
                    <a:pt x="414" y="67"/>
                    <a:pt x="414" y="67"/>
                  </a:cubicBezTo>
                  <a:cubicBezTo>
                    <a:pt x="400" y="70"/>
                    <a:pt x="400" y="70"/>
                    <a:pt x="400" y="70"/>
                  </a:cubicBezTo>
                  <a:cubicBezTo>
                    <a:pt x="389" y="72"/>
                    <a:pt x="389" y="72"/>
                    <a:pt x="389" y="72"/>
                  </a:cubicBezTo>
                  <a:cubicBezTo>
                    <a:pt x="389" y="82"/>
                    <a:pt x="389" y="82"/>
                    <a:pt x="389" y="82"/>
                  </a:cubicBezTo>
                  <a:cubicBezTo>
                    <a:pt x="378" y="91"/>
                    <a:pt x="378" y="91"/>
                    <a:pt x="378" y="91"/>
                  </a:cubicBezTo>
                  <a:cubicBezTo>
                    <a:pt x="365" y="99"/>
                    <a:pt x="365" y="99"/>
                    <a:pt x="365" y="99"/>
                  </a:cubicBezTo>
                  <a:cubicBezTo>
                    <a:pt x="346" y="107"/>
                    <a:pt x="346" y="107"/>
                    <a:pt x="346" y="107"/>
                  </a:cubicBezTo>
                  <a:cubicBezTo>
                    <a:pt x="329" y="114"/>
                    <a:pt x="329" y="114"/>
                    <a:pt x="329" y="114"/>
                  </a:cubicBezTo>
                  <a:cubicBezTo>
                    <a:pt x="332" y="136"/>
                    <a:pt x="332" y="136"/>
                    <a:pt x="332" y="136"/>
                  </a:cubicBezTo>
                  <a:cubicBezTo>
                    <a:pt x="337" y="142"/>
                    <a:pt x="337" y="142"/>
                    <a:pt x="337" y="142"/>
                  </a:cubicBezTo>
                  <a:cubicBezTo>
                    <a:pt x="348" y="145"/>
                    <a:pt x="348" y="145"/>
                    <a:pt x="348" y="145"/>
                  </a:cubicBezTo>
                  <a:cubicBezTo>
                    <a:pt x="352" y="147"/>
                    <a:pt x="352" y="147"/>
                    <a:pt x="352" y="147"/>
                  </a:cubicBezTo>
                  <a:cubicBezTo>
                    <a:pt x="355" y="162"/>
                    <a:pt x="355" y="162"/>
                    <a:pt x="355" y="162"/>
                  </a:cubicBezTo>
                  <a:cubicBezTo>
                    <a:pt x="358" y="168"/>
                    <a:pt x="358" y="168"/>
                    <a:pt x="358" y="168"/>
                  </a:cubicBezTo>
                  <a:cubicBezTo>
                    <a:pt x="360" y="167"/>
                    <a:pt x="362" y="166"/>
                    <a:pt x="364" y="165"/>
                  </a:cubicBezTo>
                  <a:cubicBezTo>
                    <a:pt x="365" y="164"/>
                    <a:pt x="366" y="162"/>
                    <a:pt x="367" y="162"/>
                  </a:cubicBezTo>
                  <a:cubicBezTo>
                    <a:pt x="369" y="160"/>
                    <a:pt x="373" y="160"/>
                    <a:pt x="375" y="158"/>
                  </a:cubicBezTo>
                  <a:cubicBezTo>
                    <a:pt x="377" y="157"/>
                    <a:pt x="379" y="154"/>
                    <a:pt x="380" y="152"/>
                  </a:cubicBezTo>
                  <a:cubicBezTo>
                    <a:pt x="381" y="150"/>
                    <a:pt x="381" y="147"/>
                    <a:pt x="382" y="145"/>
                  </a:cubicBezTo>
                  <a:cubicBezTo>
                    <a:pt x="383" y="144"/>
                    <a:pt x="384" y="142"/>
                    <a:pt x="385" y="141"/>
                  </a:cubicBezTo>
                  <a:cubicBezTo>
                    <a:pt x="388" y="141"/>
                    <a:pt x="391" y="143"/>
                    <a:pt x="393" y="142"/>
                  </a:cubicBezTo>
                  <a:cubicBezTo>
                    <a:pt x="396" y="142"/>
                    <a:pt x="398" y="141"/>
                    <a:pt x="400" y="140"/>
                  </a:cubicBezTo>
                  <a:cubicBezTo>
                    <a:pt x="402" y="139"/>
                    <a:pt x="404" y="136"/>
                    <a:pt x="406" y="135"/>
                  </a:cubicBezTo>
                  <a:cubicBezTo>
                    <a:pt x="408" y="134"/>
                    <a:pt x="411" y="132"/>
                    <a:pt x="413" y="131"/>
                  </a:cubicBezTo>
                  <a:cubicBezTo>
                    <a:pt x="416" y="130"/>
                    <a:pt x="419" y="131"/>
                    <a:pt x="421" y="129"/>
                  </a:cubicBezTo>
                  <a:cubicBezTo>
                    <a:pt x="422" y="142"/>
                    <a:pt x="422" y="142"/>
                    <a:pt x="422" y="142"/>
                  </a:cubicBezTo>
                  <a:cubicBezTo>
                    <a:pt x="423" y="155"/>
                    <a:pt x="423" y="155"/>
                    <a:pt x="423" y="155"/>
                  </a:cubicBezTo>
                  <a:cubicBezTo>
                    <a:pt x="432" y="170"/>
                    <a:pt x="432" y="170"/>
                    <a:pt x="432" y="170"/>
                  </a:cubicBezTo>
                  <a:cubicBezTo>
                    <a:pt x="426" y="181"/>
                    <a:pt x="426" y="181"/>
                    <a:pt x="426" y="181"/>
                  </a:cubicBezTo>
                  <a:cubicBezTo>
                    <a:pt x="421" y="183"/>
                    <a:pt x="421" y="183"/>
                    <a:pt x="421" y="183"/>
                  </a:cubicBezTo>
                  <a:cubicBezTo>
                    <a:pt x="412" y="182"/>
                    <a:pt x="412" y="182"/>
                    <a:pt x="412" y="182"/>
                  </a:cubicBezTo>
                  <a:cubicBezTo>
                    <a:pt x="399" y="182"/>
                    <a:pt x="399" y="182"/>
                    <a:pt x="399" y="182"/>
                  </a:cubicBezTo>
                  <a:cubicBezTo>
                    <a:pt x="393" y="190"/>
                    <a:pt x="393" y="190"/>
                    <a:pt x="393" y="190"/>
                  </a:cubicBezTo>
                  <a:cubicBezTo>
                    <a:pt x="388" y="197"/>
                    <a:pt x="388" y="197"/>
                    <a:pt x="388" y="197"/>
                  </a:cubicBezTo>
                  <a:cubicBezTo>
                    <a:pt x="388" y="206"/>
                    <a:pt x="388" y="206"/>
                    <a:pt x="388" y="206"/>
                  </a:cubicBezTo>
                  <a:cubicBezTo>
                    <a:pt x="386" y="213"/>
                    <a:pt x="386" y="213"/>
                    <a:pt x="386" y="213"/>
                  </a:cubicBezTo>
                  <a:cubicBezTo>
                    <a:pt x="371" y="214"/>
                    <a:pt x="371" y="214"/>
                    <a:pt x="371" y="214"/>
                  </a:cubicBezTo>
                  <a:cubicBezTo>
                    <a:pt x="364" y="214"/>
                    <a:pt x="364" y="214"/>
                    <a:pt x="364" y="214"/>
                  </a:cubicBezTo>
                  <a:cubicBezTo>
                    <a:pt x="360" y="211"/>
                    <a:pt x="360" y="211"/>
                    <a:pt x="360" y="211"/>
                  </a:cubicBezTo>
                  <a:cubicBezTo>
                    <a:pt x="351" y="209"/>
                    <a:pt x="351" y="209"/>
                    <a:pt x="351" y="209"/>
                  </a:cubicBezTo>
                  <a:cubicBezTo>
                    <a:pt x="347" y="212"/>
                    <a:pt x="347" y="212"/>
                    <a:pt x="347" y="212"/>
                  </a:cubicBezTo>
                  <a:cubicBezTo>
                    <a:pt x="347" y="219"/>
                    <a:pt x="347" y="219"/>
                    <a:pt x="347" y="219"/>
                  </a:cubicBezTo>
                  <a:cubicBezTo>
                    <a:pt x="350" y="227"/>
                    <a:pt x="350" y="227"/>
                    <a:pt x="350" y="227"/>
                  </a:cubicBezTo>
                  <a:cubicBezTo>
                    <a:pt x="354" y="236"/>
                    <a:pt x="354" y="236"/>
                    <a:pt x="354" y="236"/>
                  </a:cubicBezTo>
                  <a:cubicBezTo>
                    <a:pt x="361" y="248"/>
                    <a:pt x="361" y="248"/>
                    <a:pt x="361" y="248"/>
                  </a:cubicBezTo>
                  <a:cubicBezTo>
                    <a:pt x="363" y="250"/>
                    <a:pt x="363" y="250"/>
                    <a:pt x="363" y="250"/>
                  </a:cubicBezTo>
                  <a:cubicBezTo>
                    <a:pt x="366" y="248"/>
                    <a:pt x="366" y="248"/>
                    <a:pt x="366" y="248"/>
                  </a:cubicBezTo>
                  <a:cubicBezTo>
                    <a:pt x="375" y="241"/>
                    <a:pt x="375" y="241"/>
                    <a:pt x="375" y="241"/>
                  </a:cubicBezTo>
                  <a:cubicBezTo>
                    <a:pt x="383" y="237"/>
                    <a:pt x="383" y="237"/>
                    <a:pt x="383" y="237"/>
                  </a:cubicBezTo>
                  <a:cubicBezTo>
                    <a:pt x="391" y="235"/>
                    <a:pt x="391" y="235"/>
                    <a:pt x="391" y="235"/>
                  </a:cubicBezTo>
                  <a:cubicBezTo>
                    <a:pt x="390" y="242"/>
                    <a:pt x="390" y="242"/>
                    <a:pt x="390" y="242"/>
                  </a:cubicBezTo>
                  <a:cubicBezTo>
                    <a:pt x="390" y="248"/>
                    <a:pt x="390" y="248"/>
                    <a:pt x="390" y="248"/>
                  </a:cubicBezTo>
                  <a:cubicBezTo>
                    <a:pt x="394" y="253"/>
                    <a:pt x="394" y="253"/>
                    <a:pt x="394" y="253"/>
                  </a:cubicBezTo>
                  <a:cubicBezTo>
                    <a:pt x="403" y="253"/>
                    <a:pt x="403" y="253"/>
                    <a:pt x="403" y="253"/>
                  </a:cubicBezTo>
                  <a:cubicBezTo>
                    <a:pt x="412" y="249"/>
                    <a:pt x="412" y="249"/>
                    <a:pt x="412" y="249"/>
                  </a:cubicBezTo>
                  <a:cubicBezTo>
                    <a:pt x="417" y="245"/>
                    <a:pt x="417" y="245"/>
                    <a:pt x="417" y="245"/>
                  </a:cubicBezTo>
                  <a:cubicBezTo>
                    <a:pt x="418" y="239"/>
                    <a:pt x="418" y="239"/>
                    <a:pt x="418" y="239"/>
                  </a:cubicBezTo>
                  <a:cubicBezTo>
                    <a:pt x="415" y="234"/>
                    <a:pt x="415" y="234"/>
                    <a:pt x="415" y="234"/>
                  </a:cubicBezTo>
                  <a:cubicBezTo>
                    <a:pt x="412" y="228"/>
                    <a:pt x="412" y="228"/>
                    <a:pt x="412" y="228"/>
                  </a:cubicBezTo>
                  <a:cubicBezTo>
                    <a:pt x="413" y="224"/>
                    <a:pt x="413" y="224"/>
                    <a:pt x="413" y="224"/>
                  </a:cubicBezTo>
                  <a:cubicBezTo>
                    <a:pt x="425" y="219"/>
                    <a:pt x="425" y="219"/>
                    <a:pt x="425" y="219"/>
                  </a:cubicBezTo>
                  <a:cubicBezTo>
                    <a:pt x="435" y="213"/>
                    <a:pt x="435" y="213"/>
                    <a:pt x="435" y="213"/>
                  </a:cubicBezTo>
                  <a:cubicBezTo>
                    <a:pt x="445" y="207"/>
                    <a:pt x="445" y="207"/>
                    <a:pt x="445" y="207"/>
                  </a:cubicBezTo>
                  <a:cubicBezTo>
                    <a:pt x="451" y="194"/>
                    <a:pt x="451" y="194"/>
                    <a:pt x="451" y="194"/>
                  </a:cubicBezTo>
                  <a:cubicBezTo>
                    <a:pt x="455" y="180"/>
                    <a:pt x="455" y="180"/>
                    <a:pt x="455" y="180"/>
                  </a:cubicBezTo>
                  <a:cubicBezTo>
                    <a:pt x="456" y="170"/>
                    <a:pt x="456" y="170"/>
                    <a:pt x="456" y="170"/>
                  </a:cubicBezTo>
                  <a:cubicBezTo>
                    <a:pt x="466" y="167"/>
                    <a:pt x="466" y="167"/>
                    <a:pt x="466" y="167"/>
                  </a:cubicBezTo>
                  <a:cubicBezTo>
                    <a:pt x="473" y="164"/>
                    <a:pt x="473" y="164"/>
                    <a:pt x="473" y="164"/>
                  </a:cubicBezTo>
                  <a:cubicBezTo>
                    <a:pt x="481" y="166"/>
                    <a:pt x="481" y="166"/>
                    <a:pt x="481" y="166"/>
                  </a:cubicBezTo>
                  <a:cubicBezTo>
                    <a:pt x="489" y="171"/>
                    <a:pt x="489" y="171"/>
                    <a:pt x="489" y="171"/>
                  </a:cubicBezTo>
                  <a:cubicBezTo>
                    <a:pt x="496" y="178"/>
                    <a:pt x="496" y="178"/>
                    <a:pt x="496" y="178"/>
                  </a:cubicBezTo>
                  <a:cubicBezTo>
                    <a:pt x="513" y="181"/>
                    <a:pt x="513" y="181"/>
                    <a:pt x="513" y="181"/>
                  </a:cubicBezTo>
                  <a:cubicBezTo>
                    <a:pt x="530" y="182"/>
                    <a:pt x="530" y="182"/>
                    <a:pt x="530" y="182"/>
                  </a:cubicBezTo>
                  <a:cubicBezTo>
                    <a:pt x="539" y="179"/>
                    <a:pt x="539" y="179"/>
                    <a:pt x="539" y="179"/>
                  </a:cubicBezTo>
                  <a:cubicBezTo>
                    <a:pt x="551" y="169"/>
                    <a:pt x="551" y="169"/>
                    <a:pt x="551" y="169"/>
                  </a:cubicBezTo>
                  <a:cubicBezTo>
                    <a:pt x="558" y="159"/>
                    <a:pt x="558" y="159"/>
                    <a:pt x="558" y="159"/>
                  </a:cubicBezTo>
                  <a:cubicBezTo>
                    <a:pt x="559" y="152"/>
                    <a:pt x="559" y="152"/>
                    <a:pt x="559" y="152"/>
                  </a:cubicBezTo>
                  <a:cubicBezTo>
                    <a:pt x="557" y="143"/>
                    <a:pt x="557" y="143"/>
                    <a:pt x="557" y="143"/>
                  </a:cubicBezTo>
                  <a:cubicBezTo>
                    <a:pt x="550" y="136"/>
                    <a:pt x="550" y="136"/>
                    <a:pt x="550" y="136"/>
                  </a:cubicBezTo>
                  <a:cubicBezTo>
                    <a:pt x="542" y="132"/>
                    <a:pt x="542" y="132"/>
                    <a:pt x="542" y="132"/>
                  </a:cubicBezTo>
                  <a:cubicBezTo>
                    <a:pt x="536" y="126"/>
                    <a:pt x="536" y="126"/>
                    <a:pt x="536" y="126"/>
                  </a:cubicBezTo>
                  <a:cubicBezTo>
                    <a:pt x="531" y="118"/>
                    <a:pt x="531" y="118"/>
                    <a:pt x="531" y="118"/>
                  </a:cubicBezTo>
                  <a:cubicBezTo>
                    <a:pt x="523" y="102"/>
                    <a:pt x="523" y="102"/>
                    <a:pt x="523" y="102"/>
                  </a:cubicBezTo>
                  <a:cubicBezTo>
                    <a:pt x="523" y="98"/>
                    <a:pt x="523" y="98"/>
                    <a:pt x="523" y="98"/>
                  </a:cubicBezTo>
                  <a:cubicBezTo>
                    <a:pt x="522" y="92"/>
                    <a:pt x="522" y="92"/>
                    <a:pt x="522" y="92"/>
                  </a:cubicBezTo>
                  <a:cubicBezTo>
                    <a:pt x="515" y="88"/>
                    <a:pt x="515" y="88"/>
                    <a:pt x="515" y="88"/>
                  </a:cubicBezTo>
                  <a:cubicBezTo>
                    <a:pt x="511" y="85"/>
                    <a:pt x="511" y="85"/>
                    <a:pt x="511" y="85"/>
                  </a:cubicBezTo>
                  <a:cubicBezTo>
                    <a:pt x="505" y="85"/>
                    <a:pt x="505" y="85"/>
                    <a:pt x="505" y="85"/>
                  </a:cubicBezTo>
                  <a:cubicBezTo>
                    <a:pt x="499" y="84"/>
                    <a:pt x="499" y="84"/>
                    <a:pt x="499" y="84"/>
                  </a:cubicBezTo>
                  <a:cubicBezTo>
                    <a:pt x="499" y="75"/>
                    <a:pt x="499" y="75"/>
                    <a:pt x="499" y="75"/>
                  </a:cubicBezTo>
                  <a:cubicBezTo>
                    <a:pt x="496" y="67"/>
                    <a:pt x="496" y="67"/>
                    <a:pt x="496" y="67"/>
                  </a:cubicBezTo>
                  <a:cubicBezTo>
                    <a:pt x="497" y="59"/>
                    <a:pt x="497" y="59"/>
                    <a:pt x="497" y="59"/>
                  </a:cubicBezTo>
                  <a:cubicBezTo>
                    <a:pt x="497" y="54"/>
                    <a:pt x="497" y="54"/>
                    <a:pt x="497" y="54"/>
                  </a:cubicBezTo>
                  <a:cubicBezTo>
                    <a:pt x="496" y="48"/>
                    <a:pt x="496" y="48"/>
                    <a:pt x="496" y="48"/>
                  </a:cubicBezTo>
                  <a:cubicBezTo>
                    <a:pt x="504" y="49"/>
                    <a:pt x="504" y="49"/>
                    <a:pt x="504" y="49"/>
                  </a:cubicBezTo>
                  <a:cubicBezTo>
                    <a:pt x="528" y="51"/>
                    <a:pt x="528" y="51"/>
                    <a:pt x="528" y="51"/>
                  </a:cubicBezTo>
                  <a:cubicBezTo>
                    <a:pt x="534" y="50"/>
                    <a:pt x="534" y="50"/>
                    <a:pt x="534" y="50"/>
                  </a:cubicBezTo>
                  <a:cubicBezTo>
                    <a:pt x="544" y="46"/>
                    <a:pt x="544" y="46"/>
                    <a:pt x="544" y="46"/>
                  </a:cubicBezTo>
                  <a:cubicBezTo>
                    <a:pt x="554" y="43"/>
                    <a:pt x="554" y="43"/>
                    <a:pt x="554" y="43"/>
                  </a:cubicBezTo>
                  <a:cubicBezTo>
                    <a:pt x="560" y="39"/>
                    <a:pt x="560" y="39"/>
                    <a:pt x="560" y="39"/>
                  </a:cubicBezTo>
                  <a:cubicBezTo>
                    <a:pt x="571" y="41"/>
                    <a:pt x="571" y="41"/>
                    <a:pt x="571" y="41"/>
                  </a:cubicBezTo>
                  <a:cubicBezTo>
                    <a:pt x="574" y="45"/>
                    <a:pt x="574" y="45"/>
                    <a:pt x="574" y="45"/>
                  </a:cubicBezTo>
                  <a:cubicBezTo>
                    <a:pt x="583" y="57"/>
                    <a:pt x="583" y="57"/>
                    <a:pt x="583" y="57"/>
                  </a:cubicBezTo>
                  <a:cubicBezTo>
                    <a:pt x="589" y="71"/>
                    <a:pt x="589" y="71"/>
                    <a:pt x="589" y="71"/>
                  </a:cubicBezTo>
                  <a:cubicBezTo>
                    <a:pt x="600" y="73"/>
                    <a:pt x="600" y="73"/>
                    <a:pt x="600" y="73"/>
                  </a:cubicBezTo>
                  <a:cubicBezTo>
                    <a:pt x="611" y="72"/>
                    <a:pt x="611" y="72"/>
                    <a:pt x="611" y="72"/>
                  </a:cubicBezTo>
                  <a:cubicBezTo>
                    <a:pt x="622" y="66"/>
                    <a:pt x="622" y="66"/>
                    <a:pt x="622" y="66"/>
                  </a:cubicBezTo>
                  <a:cubicBezTo>
                    <a:pt x="626" y="63"/>
                    <a:pt x="626" y="63"/>
                    <a:pt x="626" y="63"/>
                  </a:cubicBezTo>
                  <a:cubicBezTo>
                    <a:pt x="632" y="72"/>
                    <a:pt x="632" y="72"/>
                    <a:pt x="632" y="72"/>
                  </a:cubicBezTo>
                  <a:cubicBezTo>
                    <a:pt x="634" y="71"/>
                    <a:pt x="636" y="68"/>
                    <a:pt x="638" y="67"/>
                  </a:cubicBezTo>
                  <a:cubicBezTo>
                    <a:pt x="640" y="65"/>
                    <a:pt x="642" y="64"/>
                    <a:pt x="643" y="63"/>
                  </a:cubicBezTo>
                  <a:cubicBezTo>
                    <a:pt x="645" y="62"/>
                    <a:pt x="646" y="60"/>
                    <a:pt x="647" y="59"/>
                  </a:cubicBezTo>
                  <a:cubicBezTo>
                    <a:pt x="648" y="58"/>
                    <a:pt x="650" y="57"/>
                    <a:pt x="651" y="57"/>
                  </a:cubicBezTo>
                  <a:cubicBezTo>
                    <a:pt x="654" y="57"/>
                    <a:pt x="659" y="58"/>
                    <a:pt x="662" y="59"/>
                  </a:cubicBezTo>
                  <a:cubicBezTo>
                    <a:pt x="665" y="59"/>
                    <a:pt x="669" y="58"/>
                    <a:pt x="671" y="58"/>
                  </a:cubicBezTo>
                  <a:cubicBezTo>
                    <a:pt x="674" y="58"/>
                    <a:pt x="677" y="59"/>
                    <a:pt x="679" y="58"/>
                  </a:cubicBezTo>
                  <a:cubicBezTo>
                    <a:pt x="678" y="61"/>
                    <a:pt x="678" y="61"/>
                    <a:pt x="678" y="61"/>
                  </a:cubicBezTo>
                  <a:cubicBezTo>
                    <a:pt x="675" y="72"/>
                    <a:pt x="675" y="72"/>
                    <a:pt x="675" y="72"/>
                  </a:cubicBezTo>
                  <a:cubicBezTo>
                    <a:pt x="675" y="89"/>
                    <a:pt x="675" y="89"/>
                    <a:pt x="675" y="89"/>
                  </a:cubicBezTo>
                  <a:cubicBezTo>
                    <a:pt x="677" y="100"/>
                    <a:pt x="677" y="100"/>
                    <a:pt x="677" y="100"/>
                  </a:cubicBezTo>
                  <a:cubicBezTo>
                    <a:pt x="677" y="103"/>
                    <a:pt x="677" y="103"/>
                    <a:pt x="677" y="103"/>
                  </a:cubicBezTo>
                  <a:cubicBezTo>
                    <a:pt x="676" y="111"/>
                    <a:pt x="676" y="111"/>
                    <a:pt x="676" y="111"/>
                  </a:cubicBezTo>
                  <a:cubicBezTo>
                    <a:pt x="680" y="124"/>
                    <a:pt x="680" y="124"/>
                    <a:pt x="680" y="124"/>
                  </a:cubicBezTo>
                  <a:cubicBezTo>
                    <a:pt x="688" y="142"/>
                    <a:pt x="688" y="142"/>
                    <a:pt x="688" y="142"/>
                  </a:cubicBezTo>
                  <a:cubicBezTo>
                    <a:pt x="694" y="150"/>
                    <a:pt x="694" y="150"/>
                    <a:pt x="694" y="150"/>
                  </a:cubicBezTo>
                  <a:cubicBezTo>
                    <a:pt x="700" y="158"/>
                    <a:pt x="700" y="158"/>
                    <a:pt x="700" y="158"/>
                  </a:cubicBezTo>
                  <a:cubicBezTo>
                    <a:pt x="701" y="163"/>
                    <a:pt x="701" y="163"/>
                    <a:pt x="701" y="163"/>
                  </a:cubicBezTo>
                  <a:cubicBezTo>
                    <a:pt x="698" y="179"/>
                    <a:pt x="698" y="179"/>
                    <a:pt x="698" y="179"/>
                  </a:cubicBezTo>
                  <a:cubicBezTo>
                    <a:pt x="698" y="190"/>
                    <a:pt x="698" y="190"/>
                    <a:pt x="698" y="190"/>
                  </a:cubicBezTo>
                  <a:cubicBezTo>
                    <a:pt x="705" y="200"/>
                    <a:pt x="705" y="200"/>
                    <a:pt x="705" y="200"/>
                  </a:cubicBezTo>
                  <a:cubicBezTo>
                    <a:pt x="709" y="208"/>
                    <a:pt x="709" y="208"/>
                    <a:pt x="709" y="208"/>
                  </a:cubicBezTo>
                  <a:cubicBezTo>
                    <a:pt x="705" y="216"/>
                    <a:pt x="705" y="216"/>
                    <a:pt x="705" y="216"/>
                  </a:cubicBezTo>
                  <a:cubicBezTo>
                    <a:pt x="700" y="223"/>
                    <a:pt x="700" y="223"/>
                    <a:pt x="700" y="223"/>
                  </a:cubicBezTo>
                  <a:cubicBezTo>
                    <a:pt x="697" y="231"/>
                    <a:pt x="697" y="231"/>
                    <a:pt x="697" y="231"/>
                  </a:cubicBezTo>
                  <a:cubicBezTo>
                    <a:pt x="699" y="243"/>
                    <a:pt x="699" y="243"/>
                    <a:pt x="699" y="243"/>
                  </a:cubicBezTo>
                  <a:cubicBezTo>
                    <a:pt x="700" y="249"/>
                    <a:pt x="700" y="249"/>
                    <a:pt x="700" y="249"/>
                  </a:cubicBezTo>
                  <a:cubicBezTo>
                    <a:pt x="700" y="258"/>
                    <a:pt x="700" y="258"/>
                    <a:pt x="700" y="258"/>
                  </a:cubicBezTo>
                  <a:cubicBezTo>
                    <a:pt x="698" y="266"/>
                    <a:pt x="698" y="266"/>
                    <a:pt x="698" y="266"/>
                  </a:cubicBezTo>
                  <a:cubicBezTo>
                    <a:pt x="697" y="280"/>
                    <a:pt x="697" y="280"/>
                    <a:pt x="697" y="280"/>
                  </a:cubicBezTo>
                  <a:cubicBezTo>
                    <a:pt x="694" y="289"/>
                    <a:pt x="694" y="289"/>
                    <a:pt x="694" y="289"/>
                  </a:cubicBezTo>
                  <a:cubicBezTo>
                    <a:pt x="701" y="296"/>
                    <a:pt x="701" y="296"/>
                    <a:pt x="701" y="296"/>
                  </a:cubicBezTo>
                  <a:cubicBezTo>
                    <a:pt x="708" y="304"/>
                    <a:pt x="708" y="304"/>
                    <a:pt x="708" y="304"/>
                  </a:cubicBezTo>
                  <a:cubicBezTo>
                    <a:pt x="711" y="311"/>
                    <a:pt x="711" y="311"/>
                    <a:pt x="711" y="311"/>
                  </a:cubicBezTo>
                  <a:cubicBezTo>
                    <a:pt x="712" y="320"/>
                    <a:pt x="712" y="320"/>
                    <a:pt x="712" y="320"/>
                  </a:cubicBezTo>
                  <a:cubicBezTo>
                    <a:pt x="714" y="330"/>
                    <a:pt x="714" y="330"/>
                    <a:pt x="714" y="330"/>
                  </a:cubicBezTo>
                  <a:cubicBezTo>
                    <a:pt x="724" y="329"/>
                    <a:pt x="724" y="329"/>
                    <a:pt x="724" y="329"/>
                  </a:cubicBezTo>
                  <a:cubicBezTo>
                    <a:pt x="735" y="330"/>
                    <a:pt x="735" y="330"/>
                    <a:pt x="735" y="330"/>
                  </a:cubicBezTo>
                  <a:cubicBezTo>
                    <a:pt x="743" y="332"/>
                    <a:pt x="743" y="332"/>
                    <a:pt x="743" y="332"/>
                  </a:cubicBezTo>
                  <a:cubicBezTo>
                    <a:pt x="745" y="341"/>
                    <a:pt x="745" y="341"/>
                    <a:pt x="745" y="341"/>
                  </a:cubicBezTo>
                  <a:cubicBezTo>
                    <a:pt x="749" y="353"/>
                    <a:pt x="749" y="353"/>
                    <a:pt x="749" y="353"/>
                  </a:cubicBezTo>
                  <a:cubicBezTo>
                    <a:pt x="750" y="361"/>
                    <a:pt x="750" y="361"/>
                    <a:pt x="750" y="361"/>
                  </a:cubicBezTo>
                  <a:cubicBezTo>
                    <a:pt x="745" y="371"/>
                    <a:pt x="745" y="371"/>
                    <a:pt x="745" y="371"/>
                  </a:cubicBezTo>
                  <a:cubicBezTo>
                    <a:pt x="739" y="382"/>
                    <a:pt x="739" y="382"/>
                    <a:pt x="739" y="382"/>
                  </a:cubicBezTo>
                  <a:cubicBezTo>
                    <a:pt x="736" y="392"/>
                    <a:pt x="736" y="392"/>
                    <a:pt x="736" y="392"/>
                  </a:cubicBezTo>
                  <a:cubicBezTo>
                    <a:pt x="733" y="399"/>
                    <a:pt x="733" y="399"/>
                    <a:pt x="733" y="399"/>
                  </a:cubicBezTo>
                  <a:cubicBezTo>
                    <a:pt x="725" y="407"/>
                    <a:pt x="725" y="407"/>
                    <a:pt x="725" y="407"/>
                  </a:cubicBezTo>
                  <a:cubicBezTo>
                    <a:pt x="713" y="405"/>
                    <a:pt x="713" y="405"/>
                    <a:pt x="713" y="405"/>
                  </a:cubicBezTo>
                  <a:cubicBezTo>
                    <a:pt x="707" y="411"/>
                    <a:pt x="707" y="411"/>
                    <a:pt x="707" y="411"/>
                  </a:cubicBezTo>
                  <a:cubicBezTo>
                    <a:pt x="699" y="416"/>
                    <a:pt x="699" y="416"/>
                    <a:pt x="699" y="416"/>
                  </a:cubicBezTo>
                  <a:cubicBezTo>
                    <a:pt x="690" y="423"/>
                    <a:pt x="690" y="423"/>
                    <a:pt x="690" y="423"/>
                  </a:cubicBezTo>
                  <a:cubicBezTo>
                    <a:pt x="695" y="427"/>
                    <a:pt x="695" y="427"/>
                    <a:pt x="695" y="427"/>
                  </a:cubicBezTo>
                  <a:cubicBezTo>
                    <a:pt x="698" y="434"/>
                    <a:pt x="698" y="434"/>
                    <a:pt x="698" y="434"/>
                  </a:cubicBezTo>
                  <a:cubicBezTo>
                    <a:pt x="698" y="450"/>
                    <a:pt x="698" y="450"/>
                    <a:pt x="698" y="450"/>
                  </a:cubicBezTo>
                  <a:cubicBezTo>
                    <a:pt x="694" y="458"/>
                    <a:pt x="694" y="458"/>
                    <a:pt x="694" y="458"/>
                  </a:cubicBezTo>
                  <a:cubicBezTo>
                    <a:pt x="683" y="457"/>
                    <a:pt x="683" y="457"/>
                    <a:pt x="683" y="457"/>
                  </a:cubicBezTo>
                  <a:cubicBezTo>
                    <a:pt x="685" y="480"/>
                    <a:pt x="685" y="480"/>
                    <a:pt x="685" y="480"/>
                  </a:cubicBezTo>
                  <a:cubicBezTo>
                    <a:pt x="689" y="492"/>
                    <a:pt x="689" y="492"/>
                    <a:pt x="689" y="492"/>
                  </a:cubicBezTo>
                  <a:cubicBezTo>
                    <a:pt x="692" y="498"/>
                    <a:pt x="692" y="498"/>
                    <a:pt x="692" y="498"/>
                  </a:cubicBezTo>
                  <a:cubicBezTo>
                    <a:pt x="710" y="511"/>
                    <a:pt x="710" y="511"/>
                    <a:pt x="710" y="511"/>
                  </a:cubicBezTo>
                  <a:cubicBezTo>
                    <a:pt x="728" y="522"/>
                    <a:pt x="728" y="522"/>
                    <a:pt x="728" y="522"/>
                  </a:cubicBezTo>
                  <a:cubicBezTo>
                    <a:pt x="748" y="538"/>
                    <a:pt x="748" y="538"/>
                    <a:pt x="748" y="538"/>
                  </a:cubicBezTo>
                  <a:cubicBezTo>
                    <a:pt x="760" y="553"/>
                    <a:pt x="760" y="553"/>
                    <a:pt x="760" y="553"/>
                  </a:cubicBezTo>
                  <a:cubicBezTo>
                    <a:pt x="771" y="571"/>
                    <a:pt x="771" y="571"/>
                    <a:pt x="771" y="571"/>
                  </a:cubicBezTo>
                  <a:cubicBezTo>
                    <a:pt x="781" y="567"/>
                    <a:pt x="781" y="567"/>
                    <a:pt x="781" y="567"/>
                  </a:cubicBezTo>
                  <a:cubicBezTo>
                    <a:pt x="802" y="561"/>
                    <a:pt x="802" y="561"/>
                    <a:pt x="802" y="561"/>
                  </a:cubicBezTo>
                  <a:cubicBezTo>
                    <a:pt x="816" y="559"/>
                    <a:pt x="816" y="559"/>
                    <a:pt x="816" y="559"/>
                  </a:cubicBezTo>
                  <a:cubicBezTo>
                    <a:pt x="822" y="560"/>
                    <a:pt x="822" y="560"/>
                    <a:pt x="822" y="560"/>
                  </a:cubicBezTo>
                  <a:cubicBezTo>
                    <a:pt x="847" y="563"/>
                    <a:pt x="847" y="563"/>
                    <a:pt x="847" y="563"/>
                  </a:cubicBezTo>
                  <a:cubicBezTo>
                    <a:pt x="856" y="566"/>
                    <a:pt x="856" y="566"/>
                    <a:pt x="856" y="566"/>
                  </a:cubicBezTo>
                  <a:cubicBezTo>
                    <a:pt x="878" y="583"/>
                    <a:pt x="878" y="583"/>
                    <a:pt x="878" y="583"/>
                  </a:cubicBezTo>
                  <a:cubicBezTo>
                    <a:pt x="898" y="590"/>
                    <a:pt x="898" y="590"/>
                    <a:pt x="898" y="590"/>
                  </a:cubicBezTo>
                  <a:cubicBezTo>
                    <a:pt x="915" y="583"/>
                    <a:pt x="915" y="583"/>
                    <a:pt x="915" y="583"/>
                  </a:cubicBezTo>
                  <a:cubicBezTo>
                    <a:pt x="924" y="580"/>
                    <a:pt x="924" y="580"/>
                    <a:pt x="924" y="580"/>
                  </a:cubicBezTo>
                  <a:cubicBezTo>
                    <a:pt x="942" y="579"/>
                    <a:pt x="942" y="579"/>
                    <a:pt x="942" y="579"/>
                  </a:cubicBezTo>
                  <a:cubicBezTo>
                    <a:pt x="953" y="577"/>
                    <a:pt x="953" y="577"/>
                    <a:pt x="953" y="577"/>
                  </a:cubicBezTo>
                  <a:cubicBezTo>
                    <a:pt x="968" y="583"/>
                    <a:pt x="968" y="583"/>
                    <a:pt x="968" y="583"/>
                  </a:cubicBezTo>
                  <a:cubicBezTo>
                    <a:pt x="983" y="593"/>
                    <a:pt x="983" y="593"/>
                    <a:pt x="983" y="593"/>
                  </a:cubicBezTo>
                  <a:cubicBezTo>
                    <a:pt x="1003" y="578"/>
                    <a:pt x="1003" y="578"/>
                    <a:pt x="1003" y="578"/>
                  </a:cubicBezTo>
                  <a:cubicBezTo>
                    <a:pt x="1014" y="569"/>
                    <a:pt x="1014" y="569"/>
                    <a:pt x="1014" y="569"/>
                  </a:cubicBezTo>
                  <a:cubicBezTo>
                    <a:pt x="1026" y="564"/>
                    <a:pt x="1026" y="564"/>
                    <a:pt x="1026" y="564"/>
                  </a:cubicBezTo>
                  <a:cubicBezTo>
                    <a:pt x="1038" y="558"/>
                    <a:pt x="1038" y="558"/>
                    <a:pt x="1038" y="558"/>
                  </a:cubicBezTo>
                  <a:cubicBezTo>
                    <a:pt x="1040" y="555"/>
                    <a:pt x="1040" y="555"/>
                    <a:pt x="1040" y="555"/>
                  </a:cubicBezTo>
                  <a:cubicBezTo>
                    <a:pt x="1058" y="566"/>
                    <a:pt x="1058" y="566"/>
                    <a:pt x="1058" y="566"/>
                  </a:cubicBezTo>
                  <a:cubicBezTo>
                    <a:pt x="1063" y="571"/>
                    <a:pt x="1063" y="571"/>
                    <a:pt x="1063" y="571"/>
                  </a:cubicBezTo>
                  <a:cubicBezTo>
                    <a:pt x="1067" y="577"/>
                    <a:pt x="1067" y="577"/>
                    <a:pt x="1067" y="577"/>
                  </a:cubicBezTo>
                  <a:cubicBezTo>
                    <a:pt x="1080" y="566"/>
                    <a:pt x="1080" y="566"/>
                    <a:pt x="1080" y="566"/>
                  </a:cubicBezTo>
                  <a:cubicBezTo>
                    <a:pt x="1098" y="575"/>
                    <a:pt x="1098" y="575"/>
                    <a:pt x="1098" y="575"/>
                  </a:cubicBezTo>
                  <a:cubicBezTo>
                    <a:pt x="1092" y="588"/>
                    <a:pt x="1092" y="588"/>
                    <a:pt x="1092" y="588"/>
                  </a:cubicBezTo>
                  <a:cubicBezTo>
                    <a:pt x="1091" y="594"/>
                    <a:pt x="1091" y="594"/>
                    <a:pt x="1091" y="594"/>
                  </a:cubicBezTo>
                  <a:cubicBezTo>
                    <a:pt x="1092" y="610"/>
                    <a:pt x="1092" y="610"/>
                    <a:pt x="1092" y="610"/>
                  </a:cubicBezTo>
                  <a:cubicBezTo>
                    <a:pt x="1098" y="621"/>
                    <a:pt x="1098" y="621"/>
                    <a:pt x="1098" y="621"/>
                  </a:cubicBezTo>
                  <a:cubicBezTo>
                    <a:pt x="1102" y="633"/>
                    <a:pt x="1102" y="633"/>
                    <a:pt x="1102" y="633"/>
                  </a:cubicBezTo>
                  <a:cubicBezTo>
                    <a:pt x="1102" y="643"/>
                    <a:pt x="1102" y="643"/>
                    <a:pt x="1102" y="643"/>
                  </a:cubicBezTo>
                  <a:cubicBezTo>
                    <a:pt x="1102" y="652"/>
                    <a:pt x="1102" y="652"/>
                    <a:pt x="1102" y="652"/>
                  </a:cubicBezTo>
                  <a:cubicBezTo>
                    <a:pt x="1100" y="657"/>
                    <a:pt x="1100" y="657"/>
                    <a:pt x="1100" y="657"/>
                  </a:cubicBezTo>
                  <a:cubicBezTo>
                    <a:pt x="1094" y="661"/>
                    <a:pt x="1094" y="661"/>
                    <a:pt x="1094" y="661"/>
                  </a:cubicBezTo>
                  <a:cubicBezTo>
                    <a:pt x="1086" y="660"/>
                    <a:pt x="1086" y="660"/>
                    <a:pt x="1086" y="660"/>
                  </a:cubicBezTo>
                  <a:cubicBezTo>
                    <a:pt x="1077" y="657"/>
                    <a:pt x="1077" y="657"/>
                    <a:pt x="1077" y="657"/>
                  </a:cubicBezTo>
                  <a:cubicBezTo>
                    <a:pt x="1068" y="656"/>
                    <a:pt x="1068" y="656"/>
                    <a:pt x="1068" y="656"/>
                  </a:cubicBezTo>
                  <a:cubicBezTo>
                    <a:pt x="1061" y="655"/>
                    <a:pt x="1061" y="655"/>
                    <a:pt x="1061" y="655"/>
                  </a:cubicBezTo>
                  <a:cubicBezTo>
                    <a:pt x="1062" y="661"/>
                    <a:pt x="1062" y="661"/>
                    <a:pt x="1062" y="661"/>
                  </a:cubicBezTo>
                  <a:cubicBezTo>
                    <a:pt x="1064" y="672"/>
                    <a:pt x="1064" y="672"/>
                    <a:pt x="1064" y="672"/>
                  </a:cubicBezTo>
                  <a:cubicBezTo>
                    <a:pt x="1067" y="680"/>
                    <a:pt x="1067" y="680"/>
                    <a:pt x="1067" y="680"/>
                  </a:cubicBezTo>
                  <a:cubicBezTo>
                    <a:pt x="1073" y="690"/>
                    <a:pt x="1073" y="690"/>
                    <a:pt x="1073" y="690"/>
                  </a:cubicBezTo>
                  <a:cubicBezTo>
                    <a:pt x="1060" y="704"/>
                    <a:pt x="1060" y="704"/>
                    <a:pt x="1060" y="704"/>
                  </a:cubicBezTo>
                  <a:cubicBezTo>
                    <a:pt x="1053" y="714"/>
                    <a:pt x="1053" y="714"/>
                    <a:pt x="1053" y="714"/>
                  </a:cubicBezTo>
                  <a:cubicBezTo>
                    <a:pt x="1045" y="727"/>
                    <a:pt x="1045" y="727"/>
                    <a:pt x="1045" y="727"/>
                  </a:cubicBezTo>
                  <a:cubicBezTo>
                    <a:pt x="1041" y="745"/>
                    <a:pt x="1041" y="745"/>
                    <a:pt x="1041" y="745"/>
                  </a:cubicBezTo>
                  <a:cubicBezTo>
                    <a:pt x="1041" y="762"/>
                    <a:pt x="1041" y="762"/>
                    <a:pt x="1041" y="762"/>
                  </a:cubicBezTo>
                  <a:cubicBezTo>
                    <a:pt x="1039" y="772"/>
                    <a:pt x="1039" y="772"/>
                    <a:pt x="1039" y="772"/>
                  </a:cubicBezTo>
                  <a:cubicBezTo>
                    <a:pt x="1027" y="782"/>
                    <a:pt x="1027" y="782"/>
                    <a:pt x="1027" y="782"/>
                  </a:cubicBezTo>
                  <a:cubicBezTo>
                    <a:pt x="1018" y="789"/>
                    <a:pt x="1018" y="789"/>
                    <a:pt x="1018" y="789"/>
                  </a:cubicBezTo>
                  <a:cubicBezTo>
                    <a:pt x="1006" y="795"/>
                    <a:pt x="1006" y="795"/>
                    <a:pt x="1006" y="795"/>
                  </a:cubicBezTo>
                  <a:cubicBezTo>
                    <a:pt x="1002" y="802"/>
                    <a:pt x="1002" y="802"/>
                    <a:pt x="1002" y="802"/>
                  </a:cubicBezTo>
                  <a:cubicBezTo>
                    <a:pt x="978" y="817"/>
                    <a:pt x="978" y="817"/>
                    <a:pt x="978" y="817"/>
                  </a:cubicBezTo>
                  <a:cubicBezTo>
                    <a:pt x="963" y="822"/>
                    <a:pt x="963" y="822"/>
                    <a:pt x="963" y="822"/>
                  </a:cubicBezTo>
                  <a:cubicBezTo>
                    <a:pt x="930" y="831"/>
                    <a:pt x="930" y="831"/>
                    <a:pt x="930" y="831"/>
                  </a:cubicBezTo>
                  <a:cubicBezTo>
                    <a:pt x="914" y="834"/>
                    <a:pt x="914" y="834"/>
                    <a:pt x="914" y="834"/>
                  </a:cubicBezTo>
                  <a:cubicBezTo>
                    <a:pt x="902" y="823"/>
                    <a:pt x="902" y="823"/>
                    <a:pt x="902" y="823"/>
                  </a:cubicBezTo>
                  <a:cubicBezTo>
                    <a:pt x="882" y="819"/>
                    <a:pt x="882" y="819"/>
                    <a:pt x="882" y="819"/>
                  </a:cubicBezTo>
                  <a:cubicBezTo>
                    <a:pt x="863" y="807"/>
                    <a:pt x="863" y="807"/>
                    <a:pt x="863" y="807"/>
                  </a:cubicBezTo>
                  <a:cubicBezTo>
                    <a:pt x="849" y="801"/>
                    <a:pt x="849" y="801"/>
                    <a:pt x="849" y="801"/>
                  </a:cubicBezTo>
                  <a:cubicBezTo>
                    <a:pt x="837" y="802"/>
                    <a:pt x="837" y="802"/>
                    <a:pt x="837" y="802"/>
                  </a:cubicBezTo>
                  <a:cubicBezTo>
                    <a:pt x="821" y="795"/>
                    <a:pt x="821" y="795"/>
                    <a:pt x="821" y="795"/>
                  </a:cubicBezTo>
                  <a:cubicBezTo>
                    <a:pt x="809" y="788"/>
                    <a:pt x="809" y="788"/>
                    <a:pt x="809" y="788"/>
                  </a:cubicBezTo>
                  <a:cubicBezTo>
                    <a:pt x="799" y="789"/>
                    <a:pt x="799" y="789"/>
                    <a:pt x="799" y="789"/>
                  </a:cubicBezTo>
                  <a:cubicBezTo>
                    <a:pt x="790" y="795"/>
                    <a:pt x="790" y="795"/>
                    <a:pt x="790" y="795"/>
                  </a:cubicBezTo>
                  <a:cubicBezTo>
                    <a:pt x="778" y="801"/>
                    <a:pt x="778" y="801"/>
                    <a:pt x="778" y="801"/>
                  </a:cubicBezTo>
                  <a:cubicBezTo>
                    <a:pt x="764" y="807"/>
                    <a:pt x="764" y="807"/>
                    <a:pt x="764" y="807"/>
                  </a:cubicBezTo>
                  <a:cubicBezTo>
                    <a:pt x="762" y="838"/>
                    <a:pt x="762" y="838"/>
                    <a:pt x="762" y="838"/>
                  </a:cubicBezTo>
                  <a:cubicBezTo>
                    <a:pt x="740" y="849"/>
                    <a:pt x="740" y="849"/>
                    <a:pt x="740" y="849"/>
                  </a:cubicBezTo>
                  <a:cubicBezTo>
                    <a:pt x="733" y="858"/>
                    <a:pt x="733" y="858"/>
                    <a:pt x="733" y="858"/>
                  </a:cubicBezTo>
                  <a:cubicBezTo>
                    <a:pt x="716" y="872"/>
                    <a:pt x="716" y="872"/>
                    <a:pt x="716" y="872"/>
                  </a:cubicBezTo>
                  <a:cubicBezTo>
                    <a:pt x="698" y="875"/>
                    <a:pt x="698" y="875"/>
                    <a:pt x="698" y="875"/>
                  </a:cubicBezTo>
                  <a:cubicBezTo>
                    <a:pt x="668" y="877"/>
                    <a:pt x="668" y="877"/>
                    <a:pt x="668" y="877"/>
                  </a:cubicBezTo>
                  <a:cubicBezTo>
                    <a:pt x="627" y="912"/>
                    <a:pt x="627" y="912"/>
                    <a:pt x="627" y="912"/>
                  </a:cubicBezTo>
                  <a:cubicBezTo>
                    <a:pt x="580" y="950"/>
                    <a:pt x="580" y="950"/>
                    <a:pt x="580" y="950"/>
                  </a:cubicBezTo>
                  <a:cubicBezTo>
                    <a:pt x="566" y="929"/>
                    <a:pt x="566" y="929"/>
                    <a:pt x="566" y="929"/>
                  </a:cubicBezTo>
                  <a:cubicBezTo>
                    <a:pt x="541" y="911"/>
                    <a:pt x="541" y="911"/>
                    <a:pt x="541" y="911"/>
                  </a:cubicBezTo>
                  <a:cubicBezTo>
                    <a:pt x="523" y="908"/>
                    <a:pt x="523" y="908"/>
                    <a:pt x="523" y="908"/>
                  </a:cubicBezTo>
                  <a:cubicBezTo>
                    <a:pt x="515" y="916"/>
                    <a:pt x="515" y="916"/>
                    <a:pt x="515" y="916"/>
                  </a:cubicBezTo>
                  <a:cubicBezTo>
                    <a:pt x="508" y="929"/>
                    <a:pt x="508" y="929"/>
                    <a:pt x="508" y="929"/>
                  </a:cubicBezTo>
                  <a:cubicBezTo>
                    <a:pt x="499" y="941"/>
                    <a:pt x="499" y="941"/>
                    <a:pt x="499" y="941"/>
                  </a:cubicBezTo>
                  <a:cubicBezTo>
                    <a:pt x="483" y="940"/>
                    <a:pt x="483" y="940"/>
                    <a:pt x="483" y="940"/>
                  </a:cubicBezTo>
                  <a:cubicBezTo>
                    <a:pt x="469" y="940"/>
                    <a:pt x="469" y="940"/>
                    <a:pt x="469" y="940"/>
                  </a:cubicBezTo>
                  <a:cubicBezTo>
                    <a:pt x="461" y="944"/>
                    <a:pt x="461" y="944"/>
                    <a:pt x="461" y="944"/>
                  </a:cubicBezTo>
                  <a:cubicBezTo>
                    <a:pt x="455" y="950"/>
                    <a:pt x="455" y="950"/>
                    <a:pt x="455" y="950"/>
                  </a:cubicBezTo>
                  <a:cubicBezTo>
                    <a:pt x="469" y="959"/>
                    <a:pt x="469" y="959"/>
                    <a:pt x="469" y="959"/>
                  </a:cubicBezTo>
                  <a:cubicBezTo>
                    <a:pt x="466" y="965"/>
                    <a:pt x="466" y="965"/>
                    <a:pt x="466" y="965"/>
                  </a:cubicBezTo>
                  <a:cubicBezTo>
                    <a:pt x="458" y="974"/>
                    <a:pt x="458" y="974"/>
                    <a:pt x="458" y="974"/>
                  </a:cubicBezTo>
                  <a:cubicBezTo>
                    <a:pt x="444" y="980"/>
                    <a:pt x="444" y="980"/>
                    <a:pt x="444" y="980"/>
                  </a:cubicBezTo>
                  <a:cubicBezTo>
                    <a:pt x="431" y="985"/>
                    <a:pt x="431" y="985"/>
                    <a:pt x="431" y="985"/>
                  </a:cubicBezTo>
                  <a:cubicBezTo>
                    <a:pt x="405" y="976"/>
                    <a:pt x="405" y="976"/>
                    <a:pt x="405" y="976"/>
                  </a:cubicBezTo>
                  <a:cubicBezTo>
                    <a:pt x="390" y="973"/>
                    <a:pt x="390" y="973"/>
                    <a:pt x="390" y="973"/>
                  </a:cubicBezTo>
                  <a:cubicBezTo>
                    <a:pt x="390" y="973"/>
                    <a:pt x="365" y="979"/>
                    <a:pt x="363" y="980"/>
                  </a:cubicBezTo>
                  <a:cubicBezTo>
                    <a:pt x="361" y="981"/>
                    <a:pt x="341" y="996"/>
                    <a:pt x="341" y="996"/>
                  </a:cubicBezTo>
                  <a:cubicBezTo>
                    <a:pt x="327" y="1006"/>
                    <a:pt x="327" y="1006"/>
                    <a:pt x="327" y="1006"/>
                  </a:cubicBezTo>
                  <a:cubicBezTo>
                    <a:pt x="313" y="1015"/>
                    <a:pt x="313" y="1015"/>
                    <a:pt x="313" y="1015"/>
                  </a:cubicBezTo>
                  <a:cubicBezTo>
                    <a:pt x="304" y="1011"/>
                    <a:pt x="304" y="1011"/>
                    <a:pt x="304" y="1011"/>
                  </a:cubicBezTo>
                  <a:cubicBezTo>
                    <a:pt x="299" y="1004"/>
                    <a:pt x="299" y="1004"/>
                    <a:pt x="299" y="1004"/>
                  </a:cubicBezTo>
                  <a:cubicBezTo>
                    <a:pt x="299" y="984"/>
                    <a:pt x="299" y="984"/>
                    <a:pt x="299" y="984"/>
                  </a:cubicBezTo>
                  <a:cubicBezTo>
                    <a:pt x="287" y="982"/>
                    <a:pt x="287" y="982"/>
                    <a:pt x="287" y="982"/>
                  </a:cubicBezTo>
                  <a:cubicBezTo>
                    <a:pt x="274" y="989"/>
                    <a:pt x="274" y="989"/>
                    <a:pt x="274" y="989"/>
                  </a:cubicBezTo>
                  <a:cubicBezTo>
                    <a:pt x="266" y="996"/>
                    <a:pt x="266" y="996"/>
                    <a:pt x="266" y="996"/>
                  </a:cubicBezTo>
                  <a:cubicBezTo>
                    <a:pt x="263" y="1010"/>
                    <a:pt x="263" y="1010"/>
                    <a:pt x="263" y="1010"/>
                  </a:cubicBezTo>
                  <a:cubicBezTo>
                    <a:pt x="260" y="1022"/>
                    <a:pt x="260" y="1022"/>
                    <a:pt x="260" y="1022"/>
                  </a:cubicBezTo>
                  <a:cubicBezTo>
                    <a:pt x="250" y="1028"/>
                    <a:pt x="250" y="1028"/>
                    <a:pt x="250" y="1028"/>
                  </a:cubicBezTo>
                  <a:cubicBezTo>
                    <a:pt x="232" y="1028"/>
                    <a:pt x="232" y="1028"/>
                    <a:pt x="232" y="1028"/>
                  </a:cubicBezTo>
                  <a:cubicBezTo>
                    <a:pt x="235" y="1019"/>
                    <a:pt x="235" y="1019"/>
                    <a:pt x="235" y="1019"/>
                  </a:cubicBezTo>
                  <a:cubicBezTo>
                    <a:pt x="231" y="999"/>
                    <a:pt x="231" y="999"/>
                    <a:pt x="231" y="999"/>
                  </a:cubicBezTo>
                  <a:cubicBezTo>
                    <a:pt x="231" y="990"/>
                    <a:pt x="231" y="990"/>
                    <a:pt x="231" y="990"/>
                  </a:cubicBezTo>
                  <a:cubicBezTo>
                    <a:pt x="221" y="980"/>
                    <a:pt x="221" y="980"/>
                    <a:pt x="221" y="980"/>
                  </a:cubicBezTo>
                  <a:cubicBezTo>
                    <a:pt x="221" y="957"/>
                    <a:pt x="221" y="957"/>
                    <a:pt x="221" y="957"/>
                  </a:cubicBezTo>
                  <a:cubicBezTo>
                    <a:pt x="226" y="947"/>
                    <a:pt x="226" y="947"/>
                    <a:pt x="226" y="947"/>
                  </a:cubicBezTo>
                  <a:cubicBezTo>
                    <a:pt x="226" y="936"/>
                    <a:pt x="226" y="936"/>
                    <a:pt x="226" y="936"/>
                  </a:cubicBezTo>
                  <a:cubicBezTo>
                    <a:pt x="219" y="927"/>
                    <a:pt x="219" y="927"/>
                    <a:pt x="219" y="927"/>
                  </a:cubicBezTo>
                  <a:cubicBezTo>
                    <a:pt x="218" y="915"/>
                    <a:pt x="218" y="915"/>
                    <a:pt x="218" y="915"/>
                  </a:cubicBezTo>
                  <a:cubicBezTo>
                    <a:pt x="222" y="910"/>
                    <a:pt x="222" y="910"/>
                    <a:pt x="222" y="910"/>
                  </a:cubicBezTo>
                  <a:cubicBezTo>
                    <a:pt x="222" y="910"/>
                    <a:pt x="232" y="910"/>
                    <a:pt x="234" y="909"/>
                  </a:cubicBezTo>
                  <a:cubicBezTo>
                    <a:pt x="236" y="907"/>
                    <a:pt x="242" y="901"/>
                    <a:pt x="242" y="901"/>
                  </a:cubicBezTo>
                  <a:cubicBezTo>
                    <a:pt x="242" y="901"/>
                    <a:pt x="241" y="890"/>
                    <a:pt x="242" y="887"/>
                  </a:cubicBezTo>
                  <a:cubicBezTo>
                    <a:pt x="242" y="884"/>
                    <a:pt x="240" y="870"/>
                    <a:pt x="240" y="870"/>
                  </a:cubicBezTo>
                  <a:cubicBezTo>
                    <a:pt x="250" y="857"/>
                    <a:pt x="250" y="857"/>
                    <a:pt x="250" y="857"/>
                  </a:cubicBezTo>
                  <a:cubicBezTo>
                    <a:pt x="257" y="847"/>
                    <a:pt x="257" y="847"/>
                    <a:pt x="257" y="847"/>
                  </a:cubicBezTo>
                  <a:cubicBezTo>
                    <a:pt x="256" y="829"/>
                    <a:pt x="256" y="829"/>
                    <a:pt x="256" y="829"/>
                  </a:cubicBezTo>
                  <a:cubicBezTo>
                    <a:pt x="254" y="809"/>
                    <a:pt x="254" y="809"/>
                    <a:pt x="254" y="809"/>
                  </a:cubicBezTo>
                  <a:lnTo>
                    <a:pt x="250" y="796"/>
                  </a:lnTo>
                  <a:close/>
                  <a:moveTo>
                    <a:pt x="559" y="177"/>
                  </a:moveTo>
                  <a:cubicBezTo>
                    <a:pt x="563" y="173"/>
                    <a:pt x="563" y="173"/>
                    <a:pt x="563" y="173"/>
                  </a:cubicBezTo>
                  <a:cubicBezTo>
                    <a:pt x="568" y="170"/>
                    <a:pt x="568" y="170"/>
                    <a:pt x="568" y="170"/>
                  </a:cubicBezTo>
                  <a:cubicBezTo>
                    <a:pt x="572" y="171"/>
                    <a:pt x="572" y="171"/>
                    <a:pt x="572" y="171"/>
                  </a:cubicBezTo>
                  <a:cubicBezTo>
                    <a:pt x="577" y="176"/>
                    <a:pt x="577" y="176"/>
                    <a:pt x="577" y="176"/>
                  </a:cubicBezTo>
                  <a:cubicBezTo>
                    <a:pt x="577" y="179"/>
                    <a:pt x="577" y="179"/>
                    <a:pt x="577" y="179"/>
                  </a:cubicBezTo>
                  <a:cubicBezTo>
                    <a:pt x="574" y="185"/>
                    <a:pt x="574" y="185"/>
                    <a:pt x="574" y="185"/>
                  </a:cubicBezTo>
                  <a:cubicBezTo>
                    <a:pt x="574" y="185"/>
                    <a:pt x="570" y="189"/>
                    <a:pt x="569" y="189"/>
                  </a:cubicBezTo>
                  <a:cubicBezTo>
                    <a:pt x="569" y="189"/>
                    <a:pt x="562" y="192"/>
                    <a:pt x="562" y="192"/>
                  </a:cubicBezTo>
                  <a:cubicBezTo>
                    <a:pt x="558" y="192"/>
                    <a:pt x="558" y="192"/>
                    <a:pt x="558" y="192"/>
                  </a:cubicBezTo>
                  <a:cubicBezTo>
                    <a:pt x="556" y="189"/>
                    <a:pt x="556" y="189"/>
                    <a:pt x="556" y="189"/>
                  </a:cubicBezTo>
                  <a:cubicBezTo>
                    <a:pt x="556" y="182"/>
                    <a:pt x="556" y="182"/>
                    <a:pt x="556" y="182"/>
                  </a:cubicBezTo>
                  <a:lnTo>
                    <a:pt x="559" y="177"/>
                  </a:lnTo>
                  <a:close/>
                </a:path>
              </a:pathLst>
            </a:custGeom>
            <a:pattFill prst="wdDnDiag">
              <a:fgClr>
                <a:schemeClr val="accent2"/>
              </a:fgClr>
              <a:bgClr>
                <a:schemeClr val="bg1"/>
              </a:bgClr>
            </a:patt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63" name="Freeform 13">
              <a:extLst>
                <a:ext uri="{FF2B5EF4-FFF2-40B4-BE49-F238E27FC236}">
                  <a16:creationId xmlns:a16="http://schemas.microsoft.com/office/drawing/2014/main" id="{34640C87-D002-400E-8EC5-E889CA04A8F2}"/>
                </a:ext>
              </a:extLst>
            </p:cNvPr>
            <p:cNvSpPr>
              <a:spLocks/>
            </p:cNvSpPr>
            <p:nvPr/>
          </p:nvSpPr>
          <p:spPr bwMode="gray">
            <a:xfrm>
              <a:off x="8732" y="2447"/>
              <a:ext cx="1098" cy="1236"/>
            </a:xfrm>
            <a:custGeom>
              <a:avLst/>
              <a:gdLst>
                <a:gd name="T0" fmla="*/ 153 w 465"/>
                <a:gd name="T1" fmla="*/ 488 h 523"/>
                <a:gd name="T2" fmla="*/ 150 w 465"/>
                <a:gd name="T3" fmla="*/ 441 h 523"/>
                <a:gd name="T4" fmla="*/ 164 w 465"/>
                <a:gd name="T5" fmla="*/ 397 h 523"/>
                <a:gd name="T6" fmla="*/ 186 w 465"/>
                <a:gd name="T7" fmla="*/ 394 h 523"/>
                <a:gd name="T8" fmla="*/ 212 w 465"/>
                <a:gd name="T9" fmla="*/ 362 h 523"/>
                <a:gd name="T10" fmla="*/ 244 w 465"/>
                <a:gd name="T11" fmla="*/ 323 h 523"/>
                <a:gd name="T12" fmla="*/ 280 w 465"/>
                <a:gd name="T13" fmla="*/ 287 h 523"/>
                <a:gd name="T14" fmla="*/ 331 w 465"/>
                <a:gd name="T15" fmla="*/ 291 h 523"/>
                <a:gd name="T16" fmla="*/ 357 w 465"/>
                <a:gd name="T17" fmla="*/ 293 h 523"/>
                <a:gd name="T18" fmla="*/ 384 w 465"/>
                <a:gd name="T19" fmla="*/ 292 h 523"/>
                <a:gd name="T20" fmla="*/ 418 w 465"/>
                <a:gd name="T21" fmla="*/ 290 h 523"/>
                <a:gd name="T22" fmla="*/ 447 w 465"/>
                <a:gd name="T23" fmla="*/ 291 h 523"/>
                <a:gd name="T24" fmla="*/ 464 w 465"/>
                <a:gd name="T25" fmla="*/ 266 h 523"/>
                <a:gd name="T26" fmla="*/ 440 w 465"/>
                <a:gd name="T27" fmla="*/ 247 h 523"/>
                <a:gd name="T28" fmla="*/ 417 w 465"/>
                <a:gd name="T29" fmla="*/ 240 h 523"/>
                <a:gd name="T30" fmla="*/ 386 w 465"/>
                <a:gd name="T31" fmla="*/ 229 h 523"/>
                <a:gd name="T32" fmla="*/ 398 w 465"/>
                <a:gd name="T33" fmla="*/ 209 h 523"/>
                <a:gd name="T34" fmla="*/ 433 w 465"/>
                <a:gd name="T35" fmla="*/ 175 h 523"/>
                <a:gd name="T36" fmla="*/ 423 w 465"/>
                <a:gd name="T37" fmla="*/ 165 h 523"/>
                <a:gd name="T38" fmla="*/ 387 w 465"/>
                <a:gd name="T39" fmla="*/ 145 h 523"/>
                <a:gd name="T40" fmla="*/ 351 w 465"/>
                <a:gd name="T41" fmla="*/ 129 h 523"/>
                <a:gd name="T42" fmla="*/ 329 w 465"/>
                <a:gd name="T43" fmla="*/ 66 h 523"/>
                <a:gd name="T44" fmla="*/ 317 w 465"/>
                <a:gd name="T45" fmla="*/ 13 h 523"/>
                <a:gd name="T46" fmla="*/ 287 w 465"/>
                <a:gd name="T47" fmla="*/ 0 h 523"/>
                <a:gd name="T48" fmla="*/ 255 w 465"/>
                <a:gd name="T49" fmla="*/ 31 h 523"/>
                <a:gd name="T50" fmla="*/ 242 w 465"/>
                <a:gd name="T51" fmla="*/ 63 h 523"/>
                <a:gd name="T52" fmla="*/ 222 w 465"/>
                <a:gd name="T53" fmla="*/ 53 h 523"/>
                <a:gd name="T54" fmla="*/ 224 w 465"/>
                <a:gd name="T55" fmla="*/ 41 h 523"/>
                <a:gd name="T56" fmla="*/ 182 w 465"/>
                <a:gd name="T57" fmla="*/ 34 h 523"/>
                <a:gd name="T58" fmla="*/ 165 w 465"/>
                <a:gd name="T59" fmla="*/ 22 h 523"/>
                <a:gd name="T60" fmla="*/ 149 w 465"/>
                <a:gd name="T61" fmla="*/ 42 h 523"/>
                <a:gd name="T62" fmla="*/ 118 w 465"/>
                <a:gd name="T63" fmla="*/ 44 h 523"/>
                <a:gd name="T64" fmla="*/ 117 w 465"/>
                <a:gd name="T65" fmla="*/ 14 h 523"/>
                <a:gd name="T66" fmla="*/ 93 w 465"/>
                <a:gd name="T67" fmla="*/ 9 h 523"/>
                <a:gd name="T68" fmla="*/ 78 w 465"/>
                <a:gd name="T69" fmla="*/ 11 h 523"/>
                <a:gd name="T70" fmla="*/ 69 w 465"/>
                <a:gd name="T71" fmla="*/ 48 h 523"/>
                <a:gd name="T72" fmla="*/ 27 w 465"/>
                <a:gd name="T73" fmla="*/ 45 h 523"/>
                <a:gd name="T74" fmla="*/ 1 w 465"/>
                <a:gd name="T75" fmla="*/ 55 h 523"/>
                <a:gd name="T76" fmla="*/ 18 w 465"/>
                <a:gd name="T77" fmla="*/ 102 h 523"/>
                <a:gd name="T78" fmla="*/ 22 w 465"/>
                <a:gd name="T79" fmla="*/ 142 h 523"/>
                <a:gd name="T80" fmla="*/ 24 w 465"/>
                <a:gd name="T81" fmla="*/ 175 h 523"/>
                <a:gd name="T82" fmla="*/ 24 w 465"/>
                <a:gd name="T83" fmla="*/ 210 h 523"/>
                <a:gd name="T84" fmla="*/ 25 w 465"/>
                <a:gd name="T85" fmla="*/ 248 h 523"/>
                <a:gd name="T86" fmla="*/ 38 w 465"/>
                <a:gd name="T87" fmla="*/ 282 h 523"/>
                <a:gd name="T88" fmla="*/ 69 w 465"/>
                <a:gd name="T89" fmla="*/ 293 h 523"/>
                <a:gd name="T90" fmla="*/ 63 w 465"/>
                <a:gd name="T91" fmla="*/ 334 h 523"/>
                <a:gd name="T92" fmla="*/ 37 w 465"/>
                <a:gd name="T93" fmla="*/ 357 h 523"/>
                <a:gd name="T94" fmla="*/ 19 w 465"/>
                <a:gd name="T95" fmla="*/ 379 h 523"/>
                <a:gd name="T96" fmla="*/ 7 w 465"/>
                <a:gd name="T97" fmla="*/ 409 h 523"/>
                <a:gd name="T98" fmla="*/ 34 w 465"/>
                <a:gd name="T99" fmla="*/ 463 h 523"/>
                <a:gd name="T100" fmla="*/ 95 w 465"/>
                <a:gd name="T101" fmla="*/ 523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5" h="523">
                  <a:moveTo>
                    <a:pt x="140" y="511"/>
                  </a:moveTo>
                  <a:cubicBezTo>
                    <a:pt x="145" y="501"/>
                    <a:pt x="145" y="501"/>
                    <a:pt x="145" y="501"/>
                  </a:cubicBezTo>
                  <a:cubicBezTo>
                    <a:pt x="155" y="493"/>
                    <a:pt x="155" y="493"/>
                    <a:pt x="155" y="493"/>
                  </a:cubicBezTo>
                  <a:cubicBezTo>
                    <a:pt x="153" y="488"/>
                    <a:pt x="153" y="488"/>
                    <a:pt x="153" y="488"/>
                  </a:cubicBezTo>
                  <a:cubicBezTo>
                    <a:pt x="139" y="465"/>
                    <a:pt x="139" y="465"/>
                    <a:pt x="139" y="465"/>
                  </a:cubicBezTo>
                  <a:cubicBezTo>
                    <a:pt x="139" y="456"/>
                    <a:pt x="139" y="456"/>
                    <a:pt x="139" y="456"/>
                  </a:cubicBezTo>
                  <a:cubicBezTo>
                    <a:pt x="143" y="447"/>
                    <a:pt x="143" y="447"/>
                    <a:pt x="143" y="447"/>
                  </a:cubicBezTo>
                  <a:cubicBezTo>
                    <a:pt x="150" y="441"/>
                    <a:pt x="150" y="441"/>
                    <a:pt x="150" y="441"/>
                  </a:cubicBezTo>
                  <a:cubicBezTo>
                    <a:pt x="155" y="432"/>
                    <a:pt x="155" y="432"/>
                    <a:pt x="155" y="432"/>
                  </a:cubicBezTo>
                  <a:cubicBezTo>
                    <a:pt x="157" y="425"/>
                    <a:pt x="157" y="425"/>
                    <a:pt x="157" y="425"/>
                  </a:cubicBezTo>
                  <a:cubicBezTo>
                    <a:pt x="159" y="402"/>
                    <a:pt x="159" y="402"/>
                    <a:pt x="159" y="402"/>
                  </a:cubicBezTo>
                  <a:cubicBezTo>
                    <a:pt x="164" y="397"/>
                    <a:pt x="164" y="397"/>
                    <a:pt x="164" y="397"/>
                  </a:cubicBezTo>
                  <a:cubicBezTo>
                    <a:pt x="174" y="387"/>
                    <a:pt x="174" y="387"/>
                    <a:pt x="174" y="387"/>
                  </a:cubicBezTo>
                  <a:cubicBezTo>
                    <a:pt x="178" y="381"/>
                    <a:pt x="178" y="381"/>
                    <a:pt x="178" y="381"/>
                  </a:cubicBezTo>
                  <a:cubicBezTo>
                    <a:pt x="187" y="386"/>
                    <a:pt x="187" y="386"/>
                    <a:pt x="187" y="386"/>
                  </a:cubicBezTo>
                  <a:cubicBezTo>
                    <a:pt x="186" y="394"/>
                    <a:pt x="186" y="394"/>
                    <a:pt x="186" y="394"/>
                  </a:cubicBezTo>
                  <a:cubicBezTo>
                    <a:pt x="192" y="396"/>
                    <a:pt x="192" y="396"/>
                    <a:pt x="192" y="396"/>
                  </a:cubicBezTo>
                  <a:cubicBezTo>
                    <a:pt x="199" y="382"/>
                    <a:pt x="199" y="382"/>
                    <a:pt x="199" y="382"/>
                  </a:cubicBezTo>
                  <a:cubicBezTo>
                    <a:pt x="204" y="371"/>
                    <a:pt x="204" y="371"/>
                    <a:pt x="204" y="371"/>
                  </a:cubicBezTo>
                  <a:cubicBezTo>
                    <a:pt x="212" y="362"/>
                    <a:pt x="212" y="362"/>
                    <a:pt x="212" y="362"/>
                  </a:cubicBezTo>
                  <a:cubicBezTo>
                    <a:pt x="222" y="354"/>
                    <a:pt x="222" y="354"/>
                    <a:pt x="222" y="354"/>
                  </a:cubicBezTo>
                  <a:cubicBezTo>
                    <a:pt x="214" y="338"/>
                    <a:pt x="214" y="338"/>
                    <a:pt x="214" y="338"/>
                  </a:cubicBezTo>
                  <a:cubicBezTo>
                    <a:pt x="230" y="324"/>
                    <a:pt x="230" y="324"/>
                    <a:pt x="230" y="324"/>
                  </a:cubicBezTo>
                  <a:cubicBezTo>
                    <a:pt x="244" y="323"/>
                    <a:pt x="244" y="323"/>
                    <a:pt x="244" y="323"/>
                  </a:cubicBezTo>
                  <a:cubicBezTo>
                    <a:pt x="249" y="328"/>
                    <a:pt x="249" y="328"/>
                    <a:pt x="249" y="328"/>
                  </a:cubicBezTo>
                  <a:cubicBezTo>
                    <a:pt x="267" y="321"/>
                    <a:pt x="267" y="321"/>
                    <a:pt x="267" y="321"/>
                  </a:cubicBezTo>
                  <a:cubicBezTo>
                    <a:pt x="261" y="296"/>
                    <a:pt x="261" y="296"/>
                    <a:pt x="261" y="296"/>
                  </a:cubicBezTo>
                  <a:cubicBezTo>
                    <a:pt x="280" y="287"/>
                    <a:pt x="280" y="287"/>
                    <a:pt x="280" y="287"/>
                  </a:cubicBezTo>
                  <a:cubicBezTo>
                    <a:pt x="290" y="289"/>
                    <a:pt x="290" y="289"/>
                    <a:pt x="290" y="289"/>
                  </a:cubicBezTo>
                  <a:cubicBezTo>
                    <a:pt x="300" y="284"/>
                    <a:pt x="300" y="284"/>
                    <a:pt x="300" y="284"/>
                  </a:cubicBezTo>
                  <a:cubicBezTo>
                    <a:pt x="319" y="291"/>
                    <a:pt x="319" y="291"/>
                    <a:pt x="319" y="291"/>
                  </a:cubicBezTo>
                  <a:cubicBezTo>
                    <a:pt x="331" y="291"/>
                    <a:pt x="331" y="291"/>
                    <a:pt x="331" y="291"/>
                  </a:cubicBezTo>
                  <a:cubicBezTo>
                    <a:pt x="338" y="290"/>
                    <a:pt x="338" y="290"/>
                    <a:pt x="338" y="290"/>
                  </a:cubicBezTo>
                  <a:cubicBezTo>
                    <a:pt x="341" y="294"/>
                    <a:pt x="341" y="294"/>
                    <a:pt x="341" y="294"/>
                  </a:cubicBezTo>
                  <a:cubicBezTo>
                    <a:pt x="348" y="289"/>
                    <a:pt x="348" y="289"/>
                    <a:pt x="348" y="289"/>
                  </a:cubicBezTo>
                  <a:cubicBezTo>
                    <a:pt x="357" y="293"/>
                    <a:pt x="357" y="293"/>
                    <a:pt x="357" y="293"/>
                  </a:cubicBezTo>
                  <a:cubicBezTo>
                    <a:pt x="367" y="283"/>
                    <a:pt x="367" y="283"/>
                    <a:pt x="367" y="283"/>
                  </a:cubicBezTo>
                  <a:cubicBezTo>
                    <a:pt x="375" y="279"/>
                    <a:pt x="375" y="279"/>
                    <a:pt x="375" y="279"/>
                  </a:cubicBezTo>
                  <a:cubicBezTo>
                    <a:pt x="382" y="279"/>
                    <a:pt x="382" y="279"/>
                    <a:pt x="382" y="279"/>
                  </a:cubicBezTo>
                  <a:cubicBezTo>
                    <a:pt x="384" y="292"/>
                    <a:pt x="384" y="292"/>
                    <a:pt x="384" y="292"/>
                  </a:cubicBezTo>
                  <a:cubicBezTo>
                    <a:pt x="395" y="292"/>
                    <a:pt x="395" y="292"/>
                    <a:pt x="395" y="292"/>
                  </a:cubicBezTo>
                  <a:cubicBezTo>
                    <a:pt x="404" y="290"/>
                    <a:pt x="404" y="290"/>
                    <a:pt x="404" y="290"/>
                  </a:cubicBezTo>
                  <a:cubicBezTo>
                    <a:pt x="406" y="291"/>
                    <a:pt x="409" y="290"/>
                    <a:pt x="411" y="290"/>
                  </a:cubicBezTo>
                  <a:cubicBezTo>
                    <a:pt x="413" y="290"/>
                    <a:pt x="416" y="290"/>
                    <a:pt x="418" y="290"/>
                  </a:cubicBezTo>
                  <a:cubicBezTo>
                    <a:pt x="421" y="290"/>
                    <a:pt x="424" y="290"/>
                    <a:pt x="427" y="290"/>
                  </a:cubicBezTo>
                  <a:cubicBezTo>
                    <a:pt x="430" y="290"/>
                    <a:pt x="434" y="288"/>
                    <a:pt x="435" y="289"/>
                  </a:cubicBezTo>
                  <a:cubicBezTo>
                    <a:pt x="441" y="294"/>
                    <a:pt x="441" y="294"/>
                    <a:pt x="441" y="294"/>
                  </a:cubicBezTo>
                  <a:cubicBezTo>
                    <a:pt x="447" y="291"/>
                    <a:pt x="447" y="291"/>
                    <a:pt x="447" y="291"/>
                  </a:cubicBezTo>
                  <a:cubicBezTo>
                    <a:pt x="457" y="292"/>
                    <a:pt x="457" y="292"/>
                    <a:pt x="457" y="292"/>
                  </a:cubicBezTo>
                  <a:cubicBezTo>
                    <a:pt x="461" y="291"/>
                    <a:pt x="461" y="291"/>
                    <a:pt x="461" y="291"/>
                  </a:cubicBezTo>
                  <a:cubicBezTo>
                    <a:pt x="465" y="287"/>
                    <a:pt x="465" y="287"/>
                    <a:pt x="465" y="287"/>
                  </a:cubicBezTo>
                  <a:cubicBezTo>
                    <a:pt x="464" y="266"/>
                    <a:pt x="464" y="266"/>
                    <a:pt x="464" y="266"/>
                  </a:cubicBezTo>
                  <a:cubicBezTo>
                    <a:pt x="459" y="264"/>
                    <a:pt x="459" y="264"/>
                    <a:pt x="459" y="264"/>
                  </a:cubicBezTo>
                  <a:cubicBezTo>
                    <a:pt x="454" y="261"/>
                    <a:pt x="454" y="261"/>
                    <a:pt x="454" y="261"/>
                  </a:cubicBezTo>
                  <a:cubicBezTo>
                    <a:pt x="449" y="255"/>
                    <a:pt x="449" y="255"/>
                    <a:pt x="449" y="255"/>
                  </a:cubicBezTo>
                  <a:cubicBezTo>
                    <a:pt x="440" y="247"/>
                    <a:pt x="440" y="247"/>
                    <a:pt x="440" y="247"/>
                  </a:cubicBezTo>
                  <a:cubicBezTo>
                    <a:pt x="435" y="240"/>
                    <a:pt x="435" y="240"/>
                    <a:pt x="435" y="240"/>
                  </a:cubicBezTo>
                  <a:cubicBezTo>
                    <a:pt x="429" y="239"/>
                    <a:pt x="429" y="239"/>
                    <a:pt x="429" y="239"/>
                  </a:cubicBezTo>
                  <a:cubicBezTo>
                    <a:pt x="425" y="240"/>
                    <a:pt x="425" y="240"/>
                    <a:pt x="425" y="240"/>
                  </a:cubicBezTo>
                  <a:cubicBezTo>
                    <a:pt x="417" y="240"/>
                    <a:pt x="417" y="240"/>
                    <a:pt x="417" y="240"/>
                  </a:cubicBezTo>
                  <a:cubicBezTo>
                    <a:pt x="407" y="238"/>
                    <a:pt x="407" y="238"/>
                    <a:pt x="407" y="238"/>
                  </a:cubicBezTo>
                  <a:cubicBezTo>
                    <a:pt x="394" y="235"/>
                    <a:pt x="394" y="235"/>
                    <a:pt x="394" y="235"/>
                  </a:cubicBezTo>
                  <a:cubicBezTo>
                    <a:pt x="387" y="231"/>
                    <a:pt x="387" y="231"/>
                    <a:pt x="387" y="231"/>
                  </a:cubicBezTo>
                  <a:cubicBezTo>
                    <a:pt x="386" y="229"/>
                    <a:pt x="386" y="229"/>
                    <a:pt x="386" y="229"/>
                  </a:cubicBezTo>
                  <a:cubicBezTo>
                    <a:pt x="390" y="224"/>
                    <a:pt x="390" y="224"/>
                    <a:pt x="390" y="224"/>
                  </a:cubicBezTo>
                  <a:cubicBezTo>
                    <a:pt x="394" y="219"/>
                    <a:pt x="394" y="219"/>
                    <a:pt x="394" y="219"/>
                  </a:cubicBezTo>
                  <a:cubicBezTo>
                    <a:pt x="398" y="211"/>
                    <a:pt x="398" y="211"/>
                    <a:pt x="398" y="211"/>
                  </a:cubicBezTo>
                  <a:cubicBezTo>
                    <a:pt x="398" y="209"/>
                    <a:pt x="398" y="209"/>
                    <a:pt x="398" y="209"/>
                  </a:cubicBezTo>
                  <a:cubicBezTo>
                    <a:pt x="409" y="198"/>
                    <a:pt x="409" y="198"/>
                    <a:pt x="409" y="198"/>
                  </a:cubicBezTo>
                  <a:cubicBezTo>
                    <a:pt x="422" y="183"/>
                    <a:pt x="422" y="183"/>
                    <a:pt x="422" y="183"/>
                  </a:cubicBezTo>
                  <a:cubicBezTo>
                    <a:pt x="427" y="178"/>
                    <a:pt x="427" y="178"/>
                    <a:pt x="427" y="178"/>
                  </a:cubicBezTo>
                  <a:cubicBezTo>
                    <a:pt x="433" y="175"/>
                    <a:pt x="433" y="175"/>
                    <a:pt x="433" y="175"/>
                  </a:cubicBezTo>
                  <a:cubicBezTo>
                    <a:pt x="432" y="165"/>
                    <a:pt x="432" y="165"/>
                    <a:pt x="432" y="165"/>
                  </a:cubicBezTo>
                  <a:cubicBezTo>
                    <a:pt x="431" y="160"/>
                    <a:pt x="431" y="160"/>
                    <a:pt x="431" y="160"/>
                  </a:cubicBezTo>
                  <a:cubicBezTo>
                    <a:pt x="428" y="161"/>
                    <a:pt x="428" y="161"/>
                    <a:pt x="428" y="161"/>
                  </a:cubicBezTo>
                  <a:cubicBezTo>
                    <a:pt x="423" y="165"/>
                    <a:pt x="423" y="165"/>
                    <a:pt x="423" y="165"/>
                  </a:cubicBezTo>
                  <a:cubicBezTo>
                    <a:pt x="417" y="163"/>
                    <a:pt x="417" y="163"/>
                    <a:pt x="417" y="163"/>
                  </a:cubicBezTo>
                  <a:cubicBezTo>
                    <a:pt x="411" y="155"/>
                    <a:pt x="411" y="155"/>
                    <a:pt x="411" y="155"/>
                  </a:cubicBezTo>
                  <a:cubicBezTo>
                    <a:pt x="402" y="140"/>
                    <a:pt x="402" y="140"/>
                    <a:pt x="402" y="140"/>
                  </a:cubicBezTo>
                  <a:cubicBezTo>
                    <a:pt x="387" y="145"/>
                    <a:pt x="387" y="145"/>
                    <a:pt x="387" y="145"/>
                  </a:cubicBezTo>
                  <a:cubicBezTo>
                    <a:pt x="370" y="149"/>
                    <a:pt x="370" y="149"/>
                    <a:pt x="370" y="149"/>
                  </a:cubicBezTo>
                  <a:cubicBezTo>
                    <a:pt x="362" y="150"/>
                    <a:pt x="362" y="150"/>
                    <a:pt x="362" y="150"/>
                  </a:cubicBezTo>
                  <a:cubicBezTo>
                    <a:pt x="357" y="142"/>
                    <a:pt x="357" y="142"/>
                    <a:pt x="357" y="142"/>
                  </a:cubicBezTo>
                  <a:cubicBezTo>
                    <a:pt x="351" y="129"/>
                    <a:pt x="351" y="129"/>
                    <a:pt x="351" y="129"/>
                  </a:cubicBezTo>
                  <a:cubicBezTo>
                    <a:pt x="344" y="116"/>
                    <a:pt x="344" y="116"/>
                    <a:pt x="344" y="116"/>
                  </a:cubicBezTo>
                  <a:cubicBezTo>
                    <a:pt x="338" y="97"/>
                    <a:pt x="338" y="97"/>
                    <a:pt x="338" y="97"/>
                  </a:cubicBezTo>
                  <a:cubicBezTo>
                    <a:pt x="335" y="83"/>
                    <a:pt x="335" y="83"/>
                    <a:pt x="335" y="83"/>
                  </a:cubicBezTo>
                  <a:cubicBezTo>
                    <a:pt x="329" y="66"/>
                    <a:pt x="329" y="66"/>
                    <a:pt x="329" y="66"/>
                  </a:cubicBezTo>
                  <a:cubicBezTo>
                    <a:pt x="323" y="45"/>
                    <a:pt x="323" y="45"/>
                    <a:pt x="323" y="45"/>
                  </a:cubicBezTo>
                  <a:cubicBezTo>
                    <a:pt x="320" y="30"/>
                    <a:pt x="320" y="30"/>
                    <a:pt x="320" y="30"/>
                  </a:cubicBezTo>
                  <a:cubicBezTo>
                    <a:pt x="319" y="20"/>
                    <a:pt x="319" y="20"/>
                    <a:pt x="319" y="20"/>
                  </a:cubicBezTo>
                  <a:cubicBezTo>
                    <a:pt x="317" y="13"/>
                    <a:pt x="317" y="13"/>
                    <a:pt x="317" y="13"/>
                  </a:cubicBezTo>
                  <a:cubicBezTo>
                    <a:pt x="315" y="11"/>
                    <a:pt x="315" y="11"/>
                    <a:pt x="315" y="11"/>
                  </a:cubicBezTo>
                  <a:cubicBezTo>
                    <a:pt x="301" y="8"/>
                    <a:pt x="301" y="8"/>
                    <a:pt x="301" y="8"/>
                  </a:cubicBezTo>
                  <a:cubicBezTo>
                    <a:pt x="298" y="2"/>
                    <a:pt x="298" y="2"/>
                    <a:pt x="298" y="2"/>
                  </a:cubicBezTo>
                  <a:cubicBezTo>
                    <a:pt x="287" y="0"/>
                    <a:pt x="287" y="0"/>
                    <a:pt x="287" y="0"/>
                  </a:cubicBezTo>
                  <a:cubicBezTo>
                    <a:pt x="280" y="0"/>
                    <a:pt x="280" y="0"/>
                    <a:pt x="280" y="0"/>
                  </a:cubicBezTo>
                  <a:cubicBezTo>
                    <a:pt x="266" y="18"/>
                    <a:pt x="266" y="18"/>
                    <a:pt x="266" y="18"/>
                  </a:cubicBezTo>
                  <a:cubicBezTo>
                    <a:pt x="258" y="23"/>
                    <a:pt x="258" y="23"/>
                    <a:pt x="258" y="23"/>
                  </a:cubicBezTo>
                  <a:cubicBezTo>
                    <a:pt x="255" y="31"/>
                    <a:pt x="255" y="31"/>
                    <a:pt x="255" y="31"/>
                  </a:cubicBezTo>
                  <a:cubicBezTo>
                    <a:pt x="252" y="44"/>
                    <a:pt x="252" y="44"/>
                    <a:pt x="252" y="44"/>
                  </a:cubicBezTo>
                  <a:cubicBezTo>
                    <a:pt x="251" y="52"/>
                    <a:pt x="251" y="52"/>
                    <a:pt x="251" y="52"/>
                  </a:cubicBezTo>
                  <a:cubicBezTo>
                    <a:pt x="248" y="59"/>
                    <a:pt x="248" y="59"/>
                    <a:pt x="248" y="59"/>
                  </a:cubicBezTo>
                  <a:cubicBezTo>
                    <a:pt x="242" y="63"/>
                    <a:pt x="242" y="63"/>
                    <a:pt x="242" y="63"/>
                  </a:cubicBezTo>
                  <a:cubicBezTo>
                    <a:pt x="236" y="64"/>
                    <a:pt x="236" y="64"/>
                    <a:pt x="236" y="64"/>
                  </a:cubicBezTo>
                  <a:cubicBezTo>
                    <a:pt x="228" y="62"/>
                    <a:pt x="228" y="62"/>
                    <a:pt x="228" y="62"/>
                  </a:cubicBezTo>
                  <a:cubicBezTo>
                    <a:pt x="223" y="57"/>
                    <a:pt x="223" y="57"/>
                    <a:pt x="223" y="57"/>
                  </a:cubicBezTo>
                  <a:cubicBezTo>
                    <a:pt x="222" y="53"/>
                    <a:pt x="222" y="53"/>
                    <a:pt x="222" y="53"/>
                  </a:cubicBezTo>
                  <a:cubicBezTo>
                    <a:pt x="222" y="48"/>
                    <a:pt x="222" y="48"/>
                    <a:pt x="222" y="48"/>
                  </a:cubicBezTo>
                  <a:cubicBezTo>
                    <a:pt x="230" y="45"/>
                    <a:pt x="230" y="45"/>
                    <a:pt x="230" y="45"/>
                  </a:cubicBezTo>
                  <a:cubicBezTo>
                    <a:pt x="229" y="40"/>
                    <a:pt x="229" y="40"/>
                    <a:pt x="229" y="40"/>
                  </a:cubicBezTo>
                  <a:cubicBezTo>
                    <a:pt x="224" y="41"/>
                    <a:pt x="224" y="41"/>
                    <a:pt x="224" y="41"/>
                  </a:cubicBezTo>
                  <a:cubicBezTo>
                    <a:pt x="208" y="43"/>
                    <a:pt x="208" y="43"/>
                    <a:pt x="208" y="43"/>
                  </a:cubicBezTo>
                  <a:cubicBezTo>
                    <a:pt x="191" y="45"/>
                    <a:pt x="191" y="45"/>
                    <a:pt x="191" y="45"/>
                  </a:cubicBezTo>
                  <a:cubicBezTo>
                    <a:pt x="182" y="43"/>
                    <a:pt x="182" y="43"/>
                    <a:pt x="182" y="43"/>
                  </a:cubicBezTo>
                  <a:cubicBezTo>
                    <a:pt x="182" y="34"/>
                    <a:pt x="182" y="34"/>
                    <a:pt x="182" y="34"/>
                  </a:cubicBezTo>
                  <a:cubicBezTo>
                    <a:pt x="179" y="27"/>
                    <a:pt x="179" y="27"/>
                    <a:pt x="179" y="27"/>
                  </a:cubicBezTo>
                  <a:cubicBezTo>
                    <a:pt x="178" y="25"/>
                    <a:pt x="178" y="25"/>
                    <a:pt x="178" y="25"/>
                  </a:cubicBezTo>
                  <a:cubicBezTo>
                    <a:pt x="173" y="24"/>
                    <a:pt x="173" y="24"/>
                    <a:pt x="173" y="24"/>
                  </a:cubicBezTo>
                  <a:cubicBezTo>
                    <a:pt x="165" y="22"/>
                    <a:pt x="165" y="22"/>
                    <a:pt x="165" y="22"/>
                  </a:cubicBezTo>
                  <a:cubicBezTo>
                    <a:pt x="157" y="25"/>
                    <a:pt x="157" y="25"/>
                    <a:pt x="157" y="25"/>
                  </a:cubicBezTo>
                  <a:cubicBezTo>
                    <a:pt x="153" y="28"/>
                    <a:pt x="153" y="28"/>
                    <a:pt x="153" y="28"/>
                  </a:cubicBezTo>
                  <a:cubicBezTo>
                    <a:pt x="151" y="35"/>
                    <a:pt x="151" y="35"/>
                    <a:pt x="151" y="35"/>
                  </a:cubicBezTo>
                  <a:cubicBezTo>
                    <a:pt x="149" y="42"/>
                    <a:pt x="149" y="42"/>
                    <a:pt x="149" y="42"/>
                  </a:cubicBezTo>
                  <a:cubicBezTo>
                    <a:pt x="141" y="44"/>
                    <a:pt x="141" y="44"/>
                    <a:pt x="141" y="44"/>
                  </a:cubicBezTo>
                  <a:cubicBezTo>
                    <a:pt x="133" y="45"/>
                    <a:pt x="133" y="45"/>
                    <a:pt x="133" y="45"/>
                  </a:cubicBezTo>
                  <a:cubicBezTo>
                    <a:pt x="124" y="44"/>
                    <a:pt x="124" y="44"/>
                    <a:pt x="124" y="44"/>
                  </a:cubicBezTo>
                  <a:cubicBezTo>
                    <a:pt x="118" y="44"/>
                    <a:pt x="118" y="44"/>
                    <a:pt x="118" y="44"/>
                  </a:cubicBezTo>
                  <a:cubicBezTo>
                    <a:pt x="118" y="40"/>
                    <a:pt x="118" y="40"/>
                    <a:pt x="118" y="40"/>
                  </a:cubicBezTo>
                  <a:cubicBezTo>
                    <a:pt x="119" y="29"/>
                    <a:pt x="119" y="29"/>
                    <a:pt x="119" y="29"/>
                  </a:cubicBezTo>
                  <a:cubicBezTo>
                    <a:pt x="119" y="20"/>
                    <a:pt x="119" y="20"/>
                    <a:pt x="119" y="20"/>
                  </a:cubicBezTo>
                  <a:cubicBezTo>
                    <a:pt x="117" y="14"/>
                    <a:pt x="117" y="14"/>
                    <a:pt x="117" y="14"/>
                  </a:cubicBezTo>
                  <a:cubicBezTo>
                    <a:pt x="112" y="5"/>
                    <a:pt x="112" y="5"/>
                    <a:pt x="112" y="5"/>
                  </a:cubicBezTo>
                  <a:cubicBezTo>
                    <a:pt x="106" y="7"/>
                    <a:pt x="106" y="7"/>
                    <a:pt x="106" y="7"/>
                  </a:cubicBezTo>
                  <a:cubicBezTo>
                    <a:pt x="97" y="9"/>
                    <a:pt x="97" y="9"/>
                    <a:pt x="97" y="9"/>
                  </a:cubicBezTo>
                  <a:cubicBezTo>
                    <a:pt x="93" y="9"/>
                    <a:pt x="93" y="9"/>
                    <a:pt x="93" y="9"/>
                  </a:cubicBezTo>
                  <a:cubicBezTo>
                    <a:pt x="87" y="9"/>
                    <a:pt x="87" y="9"/>
                    <a:pt x="87" y="9"/>
                  </a:cubicBezTo>
                  <a:cubicBezTo>
                    <a:pt x="82" y="6"/>
                    <a:pt x="82" y="6"/>
                    <a:pt x="82" y="6"/>
                  </a:cubicBezTo>
                  <a:cubicBezTo>
                    <a:pt x="78" y="5"/>
                    <a:pt x="78" y="5"/>
                    <a:pt x="78" y="5"/>
                  </a:cubicBezTo>
                  <a:cubicBezTo>
                    <a:pt x="78" y="11"/>
                    <a:pt x="78" y="11"/>
                    <a:pt x="78" y="11"/>
                  </a:cubicBezTo>
                  <a:cubicBezTo>
                    <a:pt x="78" y="39"/>
                    <a:pt x="78" y="39"/>
                    <a:pt x="78" y="39"/>
                  </a:cubicBezTo>
                  <a:cubicBezTo>
                    <a:pt x="76" y="43"/>
                    <a:pt x="76" y="43"/>
                    <a:pt x="76" y="43"/>
                  </a:cubicBezTo>
                  <a:cubicBezTo>
                    <a:pt x="73" y="46"/>
                    <a:pt x="73" y="46"/>
                    <a:pt x="73" y="46"/>
                  </a:cubicBezTo>
                  <a:cubicBezTo>
                    <a:pt x="69" y="48"/>
                    <a:pt x="69" y="48"/>
                    <a:pt x="69" y="48"/>
                  </a:cubicBezTo>
                  <a:cubicBezTo>
                    <a:pt x="57" y="47"/>
                    <a:pt x="57" y="47"/>
                    <a:pt x="57" y="47"/>
                  </a:cubicBezTo>
                  <a:cubicBezTo>
                    <a:pt x="51" y="45"/>
                    <a:pt x="51" y="45"/>
                    <a:pt x="51" y="45"/>
                  </a:cubicBezTo>
                  <a:cubicBezTo>
                    <a:pt x="40" y="43"/>
                    <a:pt x="40" y="43"/>
                    <a:pt x="40" y="43"/>
                  </a:cubicBezTo>
                  <a:cubicBezTo>
                    <a:pt x="27" y="45"/>
                    <a:pt x="27" y="45"/>
                    <a:pt x="27" y="45"/>
                  </a:cubicBezTo>
                  <a:cubicBezTo>
                    <a:pt x="20" y="47"/>
                    <a:pt x="20" y="47"/>
                    <a:pt x="20" y="47"/>
                  </a:cubicBezTo>
                  <a:cubicBezTo>
                    <a:pt x="14" y="51"/>
                    <a:pt x="14" y="51"/>
                    <a:pt x="14" y="51"/>
                  </a:cubicBezTo>
                  <a:cubicBezTo>
                    <a:pt x="1" y="52"/>
                    <a:pt x="1" y="52"/>
                    <a:pt x="1" y="52"/>
                  </a:cubicBezTo>
                  <a:cubicBezTo>
                    <a:pt x="1" y="55"/>
                    <a:pt x="1" y="55"/>
                    <a:pt x="1" y="55"/>
                  </a:cubicBezTo>
                  <a:cubicBezTo>
                    <a:pt x="0" y="63"/>
                    <a:pt x="0" y="63"/>
                    <a:pt x="0" y="63"/>
                  </a:cubicBezTo>
                  <a:cubicBezTo>
                    <a:pt x="4" y="76"/>
                    <a:pt x="4" y="76"/>
                    <a:pt x="4" y="76"/>
                  </a:cubicBezTo>
                  <a:cubicBezTo>
                    <a:pt x="12" y="94"/>
                    <a:pt x="12" y="94"/>
                    <a:pt x="12" y="94"/>
                  </a:cubicBezTo>
                  <a:cubicBezTo>
                    <a:pt x="18" y="102"/>
                    <a:pt x="18" y="102"/>
                    <a:pt x="18" y="102"/>
                  </a:cubicBezTo>
                  <a:cubicBezTo>
                    <a:pt x="24" y="110"/>
                    <a:pt x="24" y="110"/>
                    <a:pt x="24" y="110"/>
                  </a:cubicBezTo>
                  <a:cubicBezTo>
                    <a:pt x="25" y="115"/>
                    <a:pt x="25" y="115"/>
                    <a:pt x="25" y="115"/>
                  </a:cubicBezTo>
                  <a:cubicBezTo>
                    <a:pt x="22" y="131"/>
                    <a:pt x="22" y="131"/>
                    <a:pt x="22" y="131"/>
                  </a:cubicBezTo>
                  <a:cubicBezTo>
                    <a:pt x="22" y="142"/>
                    <a:pt x="22" y="142"/>
                    <a:pt x="22" y="142"/>
                  </a:cubicBezTo>
                  <a:cubicBezTo>
                    <a:pt x="29" y="152"/>
                    <a:pt x="29" y="152"/>
                    <a:pt x="29" y="152"/>
                  </a:cubicBezTo>
                  <a:cubicBezTo>
                    <a:pt x="33" y="160"/>
                    <a:pt x="33" y="160"/>
                    <a:pt x="33" y="160"/>
                  </a:cubicBezTo>
                  <a:cubicBezTo>
                    <a:pt x="29" y="168"/>
                    <a:pt x="29" y="168"/>
                    <a:pt x="29" y="168"/>
                  </a:cubicBezTo>
                  <a:cubicBezTo>
                    <a:pt x="24" y="175"/>
                    <a:pt x="24" y="175"/>
                    <a:pt x="24" y="175"/>
                  </a:cubicBezTo>
                  <a:cubicBezTo>
                    <a:pt x="21" y="183"/>
                    <a:pt x="21" y="183"/>
                    <a:pt x="21" y="183"/>
                  </a:cubicBezTo>
                  <a:cubicBezTo>
                    <a:pt x="23" y="195"/>
                    <a:pt x="23" y="195"/>
                    <a:pt x="23" y="195"/>
                  </a:cubicBezTo>
                  <a:cubicBezTo>
                    <a:pt x="24" y="201"/>
                    <a:pt x="24" y="201"/>
                    <a:pt x="24" y="201"/>
                  </a:cubicBezTo>
                  <a:cubicBezTo>
                    <a:pt x="24" y="210"/>
                    <a:pt x="24" y="210"/>
                    <a:pt x="24" y="210"/>
                  </a:cubicBezTo>
                  <a:cubicBezTo>
                    <a:pt x="22" y="218"/>
                    <a:pt x="22" y="218"/>
                    <a:pt x="22" y="218"/>
                  </a:cubicBezTo>
                  <a:cubicBezTo>
                    <a:pt x="21" y="232"/>
                    <a:pt x="21" y="232"/>
                    <a:pt x="21" y="232"/>
                  </a:cubicBezTo>
                  <a:cubicBezTo>
                    <a:pt x="18" y="241"/>
                    <a:pt x="18" y="241"/>
                    <a:pt x="18" y="241"/>
                  </a:cubicBezTo>
                  <a:cubicBezTo>
                    <a:pt x="25" y="248"/>
                    <a:pt x="25" y="248"/>
                    <a:pt x="25" y="248"/>
                  </a:cubicBezTo>
                  <a:cubicBezTo>
                    <a:pt x="32" y="256"/>
                    <a:pt x="32" y="256"/>
                    <a:pt x="32" y="256"/>
                  </a:cubicBezTo>
                  <a:cubicBezTo>
                    <a:pt x="35" y="263"/>
                    <a:pt x="35" y="263"/>
                    <a:pt x="35" y="263"/>
                  </a:cubicBezTo>
                  <a:cubicBezTo>
                    <a:pt x="36" y="272"/>
                    <a:pt x="36" y="272"/>
                    <a:pt x="36" y="272"/>
                  </a:cubicBezTo>
                  <a:cubicBezTo>
                    <a:pt x="38" y="282"/>
                    <a:pt x="38" y="282"/>
                    <a:pt x="38" y="282"/>
                  </a:cubicBezTo>
                  <a:cubicBezTo>
                    <a:pt x="48" y="281"/>
                    <a:pt x="48" y="281"/>
                    <a:pt x="48" y="281"/>
                  </a:cubicBezTo>
                  <a:cubicBezTo>
                    <a:pt x="59" y="282"/>
                    <a:pt x="59" y="282"/>
                    <a:pt x="59" y="282"/>
                  </a:cubicBezTo>
                  <a:cubicBezTo>
                    <a:pt x="67" y="284"/>
                    <a:pt x="67" y="284"/>
                    <a:pt x="67" y="284"/>
                  </a:cubicBezTo>
                  <a:cubicBezTo>
                    <a:pt x="69" y="293"/>
                    <a:pt x="69" y="293"/>
                    <a:pt x="69" y="293"/>
                  </a:cubicBezTo>
                  <a:cubicBezTo>
                    <a:pt x="73" y="305"/>
                    <a:pt x="73" y="305"/>
                    <a:pt x="73" y="305"/>
                  </a:cubicBezTo>
                  <a:cubicBezTo>
                    <a:pt x="74" y="313"/>
                    <a:pt x="74" y="313"/>
                    <a:pt x="74" y="313"/>
                  </a:cubicBezTo>
                  <a:cubicBezTo>
                    <a:pt x="69" y="323"/>
                    <a:pt x="69" y="323"/>
                    <a:pt x="69" y="323"/>
                  </a:cubicBezTo>
                  <a:cubicBezTo>
                    <a:pt x="63" y="334"/>
                    <a:pt x="63" y="334"/>
                    <a:pt x="63" y="334"/>
                  </a:cubicBezTo>
                  <a:cubicBezTo>
                    <a:pt x="60" y="344"/>
                    <a:pt x="60" y="344"/>
                    <a:pt x="60" y="344"/>
                  </a:cubicBezTo>
                  <a:cubicBezTo>
                    <a:pt x="57" y="351"/>
                    <a:pt x="57" y="351"/>
                    <a:pt x="57" y="351"/>
                  </a:cubicBezTo>
                  <a:cubicBezTo>
                    <a:pt x="49" y="359"/>
                    <a:pt x="49" y="359"/>
                    <a:pt x="49" y="359"/>
                  </a:cubicBezTo>
                  <a:cubicBezTo>
                    <a:pt x="37" y="357"/>
                    <a:pt x="37" y="357"/>
                    <a:pt x="37" y="357"/>
                  </a:cubicBezTo>
                  <a:cubicBezTo>
                    <a:pt x="31" y="363"/>
                    <a:pt x="31" y="363"/>
                    <a:pt x="31" y="363"/>
                  </a:cubicBezTo>
                  <a:cubicBezTo>
                    <a:pt x="23" y="368"/>
                    <a:pt x="23" y="368"/>
                    <a:pt x="23" y="368"/>
                  </a:cubicBezTo>
                  <a:cubicBezTo>
                    <a:pt x="14" y="375"/>
                    <a:pt x="14" y="375"/>
                    <a:pt x="14" y="375"/>
                  </a:cubicBezTo>
                  <a:cubicBezTo>
                    <a:pt x="19" y="379"/>
                    <a:pt x="19" y="379"/>
                    <a:pt x="19" y="379"/>
                  </a:cubicBezTo>
                  <a:cubicBezTo>
                    <a:pt x="22" y="386"/>
                    <a:pt x="22" y="386"/>
                    <a:pt x="22" y="386"/>
                  </a:cubicBezTo>
                  <a:cubicBezTo>
                    <a:pt x="22" y="402"/>
                    <a:pt x="22" y="402"/>
                    <a:pt x="22" y="402"/>
                  </a:cubicBezTo>
                  <a:cubicBezTo>
                    <a:pt x="18" y="410"/>
                    <a:pt x="18" y="410"/>
                    <a:pt x="18" y="410"/>
                  </a:cubicBezTo>
                  <a:cubicBezTo>
                    <a:pt x="7" y="409"/>
                    <a:pt x="7" y="409"/>
                    <a:pt x="7" y="409"/>
                  </a:cubicBezTo>
                  <a:cubicBezTo>
                    <a:pt x="9" y="432"/>
                    <a:pt x="9" y="432"/>
                    <a:pt x="9" y="432"/>
                  </a:cubicBezTo>
                  <a:cubicBezTo>
                    <a:pt x="13" y="444"/>
                    <a:pt x="13" y="444"/>
                    <a:pt x="13" y="444"/>
                  </a:cubicBezTo>
                  <a:cubicBezTo>
                    <a:pt x="16" y="450"/>
                    <a:pt x="16" y="450"/>
                    <a:pt x="16" y="450"/>
                  </a:cubicBezTo>
                  <a:cubicBezTo>
                    <a:pt x="34" y="463"/>
                    <a:pt x="34" y="463"/>
                    <a:pt x="34" y="463"/>
                  </a:cubicBezTo>
                  <a:cubicBezTo>
                    <a:pt x="52" y="474"/>
                    <a:pt x="52" y="474"/>
                    <a:pt x="52" y="474"/>
                  </a:cubicBezTo>
                  <a:cubicBezTo>
                    <a:pt x="72" y="490"/>
                    <a:pt x="72" y="490"/>
                    <a:pt x="72" y="490"/>
                  </a:cubicBezTo>
                  <a:cubicBezTo>
                    <a:pt x="84" y="505"/>
                    <a:pt x="84" y="505"/>
                    <a:pt x="84" y="505"/>
                  </a:cubicBezTo>
                  <a:cubicBezTo>
                    <a:pt x="95" y="523"/>
                    <a:pt x="95" y="523"/>
                    <a:pt x="95" y="523"/>
                  </a:cubicBezTo>
                  <a:cubicBezTo>
                    <a:pt x="105" y="519"/>
                    <a:pt x="105" y="519"/>
                    <a:pt x="105" y="519"/>
                  </a:cubicBezTo>
                  <a:cubicBezTo>
                    <a:pt x="126" y="513"/>
                    <a:pt x="126" y="513"/>
                    <a:pt x="126" y="513"/>
                  </a:cubicBezTo>
                  <a:lnTo>
                    <a:pt x="140" y="511"/>
                  </a:lnTo>
                  <a:close/>
                </a:path>
              </a:pathLst>
            </a:custGeom>
            <a:pattFill prst="ltUpDiag">
              <a:fgClr>
                <a:schemeClr val="accent2"/>
              </a:fgClr>
              <a:bgClr>
                <a:schemeClr val="bg1"/>
              </a:bgClr>
            </a:patt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64" name="Freeform 14">
              <a:extLst>
                <a:ext uri="{FF2B5EF4-FFF2-40B4-BE49-F238E27FC236}">
                  <a16:creationId xmlns:a16="http://schemas.microsoft.com/office/drawing/2014/main" id="{50414DA3-D635-4F9E-A346-9BE87E9384FF}"/>
                </a:ext>
              </a:extLst>
            </p:cNvPr>
            <p:cNvSpPr>
              <a:spLocks/>
            </p:cNvSpPr>
            <p:nvPr/>
          </p:nvSpPr>
          <p:spPr bwMode="gray">
            <a:xfrm>
              <a:off x="9641" y="3146"/>
              <a:ext cx="931" cy="1127"/>
            </a:xfrm>
            <a:custGeom>
              <a:avLst/>
              <a:gdLst>
                <a:gd name="T0" fmla="*/ 754 w 931"/>
                <a:gd name="T1" fmla="*/ 471 h 1127"/>
                <a:gd name="T2" fmla="*/ 728 w 931"/>
                <a:gd name="T3" fmla="*/ 530 h 1127"/>
                <a:gd name="T4" fmla="*/ 685 w 931"/>
                <a:gd name="T5" fmla="*/ 617 h 1127"/>
                <a:gd name="T6" fmla="*/ 624 w 931"/>
                <a:gd name="T7" fmla="*/ 612 h 1127"/>
                <a:gd name="T8" fmla="*/ 581 w 931"/>
                <a:gd name="T9" fmla="*/ 674 h 1127"/>
                <a:gd name="T10" fmla="*/ 489 w 931"/>
                <a:gd name="T11" fmla="*/ 719 h 1127"/>
                <a:gd name="T12" fmla="*/ 456 w 931"/>
                <a:gd name="T13" fmla="*/ 773 h 1127"/>
                <a:gd name="T14" fmla="*/ 440 w 931"/>
                <a:gd name="T15" fmla="*/ 841 h 1127"/>
                <a:gd name="T16" fmla="*/ 487 w 931"/>
                <a:gd name="T17" fmla="*/ 955 h 1127"/>
                <a:gd name="T18" fmla="*/ 442 w 931"/>
                <a:gd name="T19" fmla="*/ 1040 h 1127"/>
                <a:gd name="T20" fmla="*/ 383 w 931"/>
                <a:gd name="T21" fmla="*/ 1021 h 1127"/>
                <a:gd name="T22" fmla="*/ 279 w 931"/>
                <a:gd name="T23" fmla="*/ 995 h 1127"/>
                <a:gd name="T24" fmla="*/ 206 w 931"/>
                <a:gd name="T25" fmla="*/ 1052 h 1127"/>
                <a:gd name="T26" fmla="*/ 199 w 931"/>
                <a:gd name="T27" fmla="*/ 1113 h 1127"/>
                <a:gd name="T28" fmla="*/ 111 w 931"/>
                <a:gd name="T29" fmla="*/ 1125 h 1127"/>
                <a:gd name="T30" fmla="*/ 69 w 931"/>
                <a:gd name="T31" fmla="*/ 1092 h 1127"/>
                <a:gd name="T32" fmla="*/ 33 w 931"/>
                <a:gd name="T33" fmla="*/ 1023 h 1127"/>
                <a:gd name="T34" fmla="*/ 57 w 931"/>
                <a:gd name="T35" fmla="*/ 929 h 1127"/>
                <a:gd name="T36" fmla="*/ 40 w 931"/>
                <a:gd name="T37" fmla="*/ 820 h 1127"/>
                <a:gd name="T38" fmla="*/ 7 w 931"/>
                <a:gd name="T39" fmla="*/ 775 h 1127"/>
                <a:gd name="T40" fmla="*/ 17 w 931"/>
                <a:gd name="T41" fmla="*/ 737 h 1127"/>
                <a:gd name="T42" fmla="*/ 78 w 931"/>
                <a:gd name="T43" fmla="*/ 749 h 1127"/>
                <a:gd name="T44" fmla="*/ 97 w 931"/>
                <a:gd name="T45" fmla="*/ 707 h 1127"/>
                <a:gd name="T46" fmla="*/ 74 w 931"/>
                <a:gd name="T47" fmla="*/ 629 h 1127"/>
                <a:gd name="T48" fmla="*/ 88 w 931"/>
                <a:gd name="T49" fmla="*/ 546 h 1127"/>
                <a:gd name="T50" fmla="*/ 135 w 931"/>
                <a:gd name="T51" fmla="*/ 549 h 1127"/>
                <a:gd name="T52" fmla="*/ 163 w 931"/>
                <a:gd name="T53" fmla="*/ 525 h 1127"/>
                <a:gd name="T54" fmla="*/ 144 w 931"/>
                <a:gd name="T55" fmla="*/ 485 h 1127"/>
                <a:gd name="T56" fmla="*/ 128 w 931"/>
                <a:gd name="T57" fmla="*/ 471 h 1127"/>
                <a:gd name="T58" fmla="*/ 133 w 931"/>
                <a:gd name="T59" fmla="*/ 445 h 1127"/>
                <a:gd name="T60" fmla="*/ 156 w 931"/>
                <a:gd name="T61" fmla="*/ 381 h 1127"/>
                <a:gd name="T62" fmla="*/ 166 w 931"/>
                <a:gd name="T63" fmla="*/ 343 h 1127"/>
                <a:gd name="T64" fmla="*/ 123 w 931"/>
                <a:gd name="T65" fmla="*/ 289 h 1127"/>
                <a:gd name="T66" fmla="*/ 126 w 931"/>
                <a:gd name="T67" fmla="*/ 251 h 1127"/>
                <a:gd name="T68" fmla="*/ 128 w 931"/>
                <a:gd name="T69" fmla="*/ 215 h 1127"/>
                <a:gd name="T70" fmla="*/ 199 w 931"/>
                <a:gd name="T71" fmla="*/ 180 h 1127"/>
                <a:gd name="T72" fmla="*/ 248 w 931"/>
                <a:gd name="T73" fmla="*/ 147 h 1127"/>
                <a:gd name="T74" fmla="*/ 303 w 931"/>
                <a:gd name="T75" fmla="*/ 93 h 1127"/>
                <a:gd name="T76" fmla="*/ 312 w 931"/>
                <a:gd name="T77" fmla="*/ 41 h 1127"/>
                <a:gd name="T78" fmla="*/ 317 w 931"/>
                <a:gd name="T79" fmla="*/ 5 h 1127"/>
                <a:gd name="T80" fmla="*/ 352 w 931"/>
                <a:gd name="T81" fmla="*/ 64 h 1127"/>
                <a:gd name="T82" fmla="*/ 418 w 931"/>
                <a:gd name="T83" fmla="*/ 114 h 1127"/>
                <a:gd name="T84" fmla="*/ 494 w 931"/>
                <a:gd name="T85" fmla="*/ 100 h 1127"/>
                <a:gd name="T86" fmla="*/ 508 w 931"/>
                <a:gd name="T87" fmla="*/ 192 h 1127"/>
                <a:gd name="T88" fmla="*/ 567 w 931"/>
                <a:gd name="T89" fmla="*/ 152 h 1127"/>
                <a:gd name="T90" fmla="*/ 622 w 931"/>
                <a:gd name="T91" fmla="*/ 137 h 1127"/>
                <a:gd name="T92" fmla="*/ 662 w 931"/>
                <a:gd name="T93" fmla="*/ 140 h 1127"/>
                <a:gd name="T94" fmla="*/ 714 w 931"/>
                <a:gd name="T95" fmla="*/ 137 h 1127"/>
                <a:gd name="T96" fmla="*/ 714 w 931"/>
                <a:gd name="T97" fmla="*/ 199 h 1127"/>
                <a:gd name="T98" fmla="*/ 747 w 931"/>
                <a:gd name="T99" fmla="*/ 265 h 1127"/>
                <a:gd name="T100" fmla="*/ 777 w 931"/>
                <a:gd name="T101" fmla="*/ 232 h 1127"/>
                <a:gd name="T102" fmla="*/ 905 w 931"/>
                <a:gd name="T103" fmla="*/ 201 h 1127"/>
                <a:gd name="T104" fmla="*/ 929 w 931"/>
                <a:gd name="T105" fmla="*/ 282 h 1127"/>
                <a:gd name="T106" fmla="*/ 846 w 931"/>
                <a:gd name="T107" fmla="*/ 338 h 1127"/>
                <a:gd name="T108" fmla="*/ 785 w 931"/>
                <a:gd name="T109" fmla="*/ 367 h 1127"/>
                <a:gd name="T110" fmla="*/ 806 w 931"/>
                <a:gd name="T111" fmla="*/ 437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1" h="1127">
                  <a:moveTo>
                    <a:pt x="806" y="435"/>
                  </a:moveTo>
                  <a:lnTo>
                    <a:pt x="775" y="468"/>
                  </a:lnTo>
                  <a:lnTo>
                    <a:pt x="754" y="471"/>
                  </a:lnTo>
                  <a:lnTo>
                    <a:pt x="733" y="480"/>
                  </a:lnTo>
                  <a:lnTo>
                    <a:pt x="718" y="492"/>
                  </a:lnTo>
                  <a:lnTo>
                    <a:pt x="728" y="530"/>
                  </a:lnTo>
                  <a:lnTo>
                    <a:pt x="716" y="563"/>
                  </a:lnTo>
                  <a:lnTo>
                    <a:pt x="692" y="586"/>
                  </a:lnTo>
                  <a:lnTo>
                    <a:pt x="685" y="617"/>
                  </a:lnTo>
                  <a:lnTo>
                    <a:pt x="664" y="638"/>
                  </a:lnTo>
                  <a:lnTo>
                    <a:pt x="638" y="636"/>
                  </a:lnTo>
                  <a:lnTo>
                    <a:pt x="624" y="612"/>
                  </a:lnTo>
                  <a:lnTo>
                    <a:pt x="598" y="615"/>
                  </a:lnTo>
                  <a:lnTo>
                    <a:pt x="593" y="634"/>
                  </a:lnTo>
                  <a:lnTo>
                    <a:pt x="581" y="674"/>
                  </a:lnTo>
                  <a:lnTo>
                    <a:pt x="551" y="690"/>
                  </a:lnTo>
                  <a:lnTo>
                    <a:pt x="527" y="716"/>
                  </a:lnTo>
                  <a:lnTo>
                    <a:pt x="489" y="719"/>
                  </a:lnTo>
                  <a:lnTo>
                    <a:pt x="468" y="730"/>
                  </a:lnTo>
                  <a:lnTo>
                    <a:pt x="454" y="756"/>
                  </a:lnTo>
                  <a:lnTo>
                    <a:pt x="456" y="773"/>
                  </a:lnTo>
                  <a:lnTo>
                    <a:pt x="473" y="808"/>
                  </a:lnTo>
                  <a:lnTo>
                    <a:pt x="459" y="815"/>
                  </a:lnTo>
                  <a:lnTo>
                    <a:pt x="440" y="841"/>
                  </a:lnTo>
                  <a:lnTo>
                    <a:pt x="440" y="889"/>
                  </a:lnTo>
                  <a:lnTo>
                    <a:pt x="461" y="917"/>
                  </a:lnTo>
                  <a:lnTo>
                    <a:pt x="487" y="955"/>
                  </a:lnTo>
                  <a:lnTo>
                    <a:pt x="477" y="1000"/>
                  </a:lnTo>
                  <a:lnTo>
                    <a:pt x="466" y="1021"/>
                  </a:lnTo>
                  <a:lnTo>
                    <a:pt x="442" y="1040"/>
                  </a:lnTo>
                  <a:lnTo>
                    <a:pt x="411" y="1040"/>
                  </a:lnTo>
                  <a:lnTo>
                    <a:pt x="402" y="1028"/>
                  </a:lnTo>
                  <a:lnTo>
                    <a:pt x="383" y="1021"/>
                  </a:lnTo>
                  <a:lnTo>
                    <a:pt x="326" y="1014"/>
                  </a:lnTo>
                  <a:lnTo>
                    <a:pt x="312" y="1002"/>
                  </a:lnTo>
                  <a:lnTo>
                    <a:pt x="279" y="995"/>
                  </a:lnTo>
                  <a:lnTo>
                    <a:pt x="239" y="1002"/>
                  </a:lnTo>
                  <a:lnTo>
                    <a:pt x="215" y="1028"/>
                  </a:lnTo>
                  <a:lnTo>
                    <a:pt x="206" y="1052"/>
                  </a:lnTo>
                  <a:lnTo>
                    <a:pt x="211" y="1085"/>
                  </a:lnTo>
                  <a:lnTo>
                    <a:pt x="208" y="1104"/>
                  </a:lnTo>
                  <a:lnTo>
                    <a:pt x="199" y="1113"/>
                  </a:lnTo>
                  <a:lnTo>
                    <a:pt x="161" y="1127"/>
                  </a:lnTo>
                  <a:lnTo>
                    <a:pt x="133" y="1127"/>
                  </a:lnTo>
                  <a:lnTo>
                    <a:pt x="111" y="1125"/>
                  </a:lnTo>
                  <a:lnTo>
                    <a:pt x="95" y="1115"/>
                  </a:lnTo>
                  <a:lnTo>
                    <a:pt x="78" y="1106"/>
                  </a:lnTo>
                  <a:lnTo>
                    <a:pt x="69" y="1092"/>
                  </a:lnTo>
                  <a:lnTo>
                    <a:pt x="59" y="1071"/>
                  </a:lnTo>
                  <a:lnTo>
                    <a:pt x="52" y="1054"/>
                  </a:lnTo>
                  <a:lnTo>
                    <a:pt x="33" y="1023"/>
                  </a:lnTo>
                  <a:lnTo>
                    <a:pt x="26" y="1009"/>
                  </a:lnTo>
                  <a:lnTo>
                    <a:pt x="40" y="971"/>
                  </a:lnTo>
                  <a:lnTo>
                    <a:pt x="57" y="929"/>
                  </a:lnTo>
                  <a:lnTo>
                    <a:pt x="62" y="849"/>
                  </a:lnTo>
                  <a:lnTo>
                    <a:pt x="59" y="832"/>
                  </a:lnTo>
                  <a:lnTo>
                    <a:pt x="40" y="820"/>
                  </a:lnTo>
                  <a:lnTo>
                    <a:pt x="29" y="818"/>
                  </a:lnTo>
                  <a:lnTo>
                    <a:pt x="14" y="794"/>
                  </a:lnTo>
                  <a:lnTo>
                    <a:pt x="7" y="775"/>
                  </a:lnTo>
                  <a:lnTo>
                    <a:pt x="3" y="749"/>
                  </a:lnTo>
                  <a:lnTo>
                    <a:pt x="0" y="735"/>
                  </a:lnTo>
                  <a:lnTo>
                    <a:pt x="17" y="737"/>
                  </a:lnTo>
                  <a:lnTo>
                    <a:pt x="38" y="740"/>
                  </a:lnTo>
                  <a:lnTo>
                    <a:pt x="59" y="747"/>
                  </a:lnTo>
                  <a:lnTo>
                    <a:pt x="78" y="749"/>
                  </a:lnTo>
                  <a:lnTo>
                    <a:pt x="92" y="740"/>
                  </a:lnTo>
                  <a:lnTo>
                    <a:pt x="97" y="728"/>
                  </a:lnTo>
                  <a:lnTo>
                    <a:pt x="97" y="707"/>
                  </a:lnTo>
                  <a:lnTo>
                    <a:pt x="97" y="683"/>
                  </a:lnTo>
                  <a:lnTo>
                    <a:pt x="88" y="655"/>
                  </a:lnTo>
                  <a:lnTo>
                    <a:pt x="74" y="629"/>
                  </a:lnTo>
                  <a:lnTo>
                    <a:pt x="71" y="591"/>
                  </a:lnTo>
                  <a:lnTo>
                    <a:pt x="74" y="577"/>
                  </a:lnTo>
                  <a:lnTo>
                    <a:pt x="88" y="546"/>
                  </a:lnTo>
                  <a:lnTo>
                    <a:pt x="109" y="544"/>
                  </a:lnTo>
                  <a:lnTo>
                    <a:pt x="121" y="546"/>
                  </a:lnTo>
                  <a:lnTo>
                    <a:pt x="135" y="549"/>
                  </a:lnTo>
                  <a:lnTo>
                    <a:pt x="142" y="553"/>
                  </a:lnTo>
                  <a:lnTo>
                    <a:pt x="166" y="532"/>
                  </a:lnTo>
                  <a:lnTo>
                    <a:pt x="163" y="525"/>
                  </a:lnTo>
                  <a:lnTo>
                    <a:pt x="151" y="508"/>
                  </a:lnTo>
                  <a:lnTo>
                    <a:pt x="142" y="499"/>
                  </a:lnTo>
                  <a:lnTo>
                    <a:pt x="144" y="485"/>
                  </a:lnTo>
                  <a:lnTo>
                    <a:pt x="114" y="478"/>
                  </a:lnTo>
                  <a:lnTo>
                    <a:pt x="114" y="468"/>
                  </a:lnTo>
                  <a:lnTo>
                    <a:pt x="128" y="471"/>
                  </a:lnTo>
                  <a:lnTo>
                    <a:pt x="135" y="466"/>
                  </a:lnTo>
                  <a:lnTo>
                    <a:pt x="140" y="454"/>
                  </a:lnTo>
                  <a:lnTo>
                    <a:pt x="133" y="445"/>
                  </a:lnTo>
                  <a:lnTo>
                    <a:pt x="126" y="435"/>
                  </a:lnTo>
                  <a:lnTo>
                    <a:pt x="135" y="402"/>
                  </a:lnTo>
                  <a:lnTo>
                    <a:pt x="156" y="381"/>
                  </a:lnTo>
                  <a:lnTo>
                    <a:pt x="185" y="367"/>
                  </a:lnTo>
                  <a:lnTo>
                    <a:pt x="182" y="348"/>
                  </a:lnTo>
                  <a:lnTo>
                    <a:pt x="166" y="343"/>
                  </a:lnTo>
                  <a:lnTo>
                    <a:pt x="156" y="338"/>
                  </a:lnTo>
                  <a:lnTo>
                    <a:pt x="123" y="338"/>
                  </a:lnTo>
                  <a:lnTo>
                    <a:pt x="123" y="289"/>
                  </a:lnTo>
                  <a:lnTo>
                    <a:pt x="135" y="258"/>
                  </a:lnTo>
                  <a:lnTo>
                    <a:pt x="130" y="249"/>
                  </a:lnTo>
                  <a:lnTo>
                    <a:pt x="126" y="251"/>
                  </a:lnTo>
                  <a:lnTo>
                    <a:pt x="123" y="239"/>
                  </a:lnTo>
                  <a:lnTo>
                    <a:pt x="109" y="241"/>
                  </a:lnTo>
                  <a:lnTo>
                    <a:pt x="128" y="215"/>
                  </a:lnTo>
                  <a:lnTo>
                    <a:pt x="144" y="206"/>
                  </a:lnTo>
                  <a:lnTo>
                    <a:pt x="173" y="197"/>
                  </a:lnTo>
                  <a:lnTo>
                    <a:pt x="199" y="180"/>
                  </a:lnTo>
                  <a:lnTo>
                    <a:pt x="215" y="166"/>
                  </a:lnTo>
                  <a:lnTo>
                    <a:pt x="225" y="163"/>
                  </a:lnTo>
                  <a:lnTo>
                    <a:pt x="248" y="147"/>
                  </a:lnTo>
                  <a:lnTo>
                    <a:pt x="265" y="123"/>
                  </a:lnTo>
                  <a:lnTo>
                    <a:pt x="293" y="104"/>
                  </a:lnTo>
                  <a:lnTo>
                    <a:pt x="303" y="93"/>
                  </a:lnTo>
                  <a:lnTo>
                    <a:pt x="300" y="74"/>
                  </a:lnTo>
                  <a:lnTo>
                    <a:pt x="300" y="55"/>
                  </a:lnTo>
                  <a:lnTo>
                    <a:pt x="312" y="41"/>
                  </a:lnTo>
                  <a:lnTo>
                    <a:pt x="324" y="29"/>
                  </a:lnTo>
                  <a:lnTo>
                    <a:pt x="322" y="22"/>
                  </a:lnTo>
                  <a:lnTo>
                    <a:pt x="317" y="5"/>
                  </a:lnTo>
                  <a:lnTo>
                    <a:pt x="336" y="0"/>
                  </a:lnTo>
                  <a:lnTo>
                    <a:pt x="350" y="24"/>
                  </a:lnTo>
                  <a:lnTo>
                    <a:pt x="352" y="64"/>
                  </a:lnTo>
                  <a:lnTo>
                    <a:pt x="357" y="107"/>
                  </a:lnTo>
                  <a:lnTo>
                    <a:pt x="392" y="104"/>
                  </a:lnTo>
                  <a:lnTo>
                    <a:pt x="418" y="114"/>
                  </a:lnTo>
                  <a:lnTo>
                    <a:pt x="428" y="116"/>
                  </a:lnTo>
                  <a:lnTo>
                    <a:pt x="449" y="111"/>
                  </a:lnTo>
                  <a:lnTo>
                    <a:pt x="494" y="100"/>
                  </a:lnTo>
                  <a:lnTo>
                    <a:pt x="501" y="154"/>
                  </a:lnTo>
                  <a:lnTo>
                    <a:pt x="499" y="171"/>
                  </a:lnTo>
                  <a:lnTo>
                    <a:pt x="508" y="192"/>
                  </a:lnTo>
                  <a:lnTo>
                    <a:pt x="527" y="182"/>
                  </a:lnTo>
                  <a:lnTo>
                    <a:pt x="544" y="175"/>
                  </a:lnTo>
                  <a:lnTo>
                    <a:pt x="567" y="152"/>
                  </a:lnTo>
                  <a:lnTo>
                    <a:pt x="586" y="142"/>
                  </a:lnTo>
                  <a:lnTo>
                    <a:pt x="612" y="133"/>
                  </a:lnTo>
                  <a:lnTo>
                    <a:pt x="622" y="137"/>
                  </a:lnTo>
                  <a:lnTo>
                    <a:pt x="638" y="152"/>
                  </a:lnTo>
                  <a:lnTo>
                    <a:pt x="648" y="149"/>
                  </a:lnTo>
                  <a:lnTo>
                    <a:pt x="662" y="140"/>
                  </a:lnTo>
                  <a:lnTo>
                    <a:pt x="671" y="133"/>
                  </a:lnTo>
                  <a:lnTo>
                    <a:pt x="690" y="130"/>
                  </a:lnTo>
                  <a:lnTo>
                    <a:pt x="714" y="137"/>
                  </a:lnTo>
                  <a:lnTo>
                    <a:pt x="723" y="152"/>
                  </a:lnTo>
                  <a:lnTo>
                    <a:pt x="721" y="175"/>
                  </a:lnTo>
                  <a:lnTo>
                    <a:pt x="714" y="199"/>
                  </a:lnTo>
                  <a:lnTo>
                    <a:pt x="721" y="215"/>
                  </a:lnTo>
                  <a:lnTo>
                    <a:pt x="742" y="204"/>
                  </a:lnTo>
                  <a:lnTo>
                    <a:pt x="747" y="265"/>
                  </a:lnTo>
                  <a:lnTo>
                    <a:pt x="759" y="256"/>
                  </a:lnTo>
                  <a:lnTo>
                    <a:pt x="766" y="241"/>
                  </a:lnTo>
                  <a:lnTo>
                    <a:pt x="777" y="232"/>
                  </a:lnTo>
                  <a:lnTo>
                    <a:pt x="822" y="220"/>
                  </a:lnTo>
                  <a:lnTo>
                    <a:pt x="891" y="180"/>
                  </a:lnTo>
                  <a:lnTo>
                    <a:pt x="905" y="201"/>
                  </a:lnTo>
                  <a:lnTo>
                    <a:pt x="926" y="234"/>
                  </a:lnTo>
                  <a:lnTo>
                    <a:pt x="931" y="260"/>
                  </a:lnTo>
                  <a:lnTo>
                    <a:pt x="929" y="282"/>
                  </a:lnTo>
                  <a:lnTo>
                    <a:pt x="912" y="303"/>
                  </a:lnTo>
                  <a:lnTo>
                    <a:pt x="884" y="324"/>
                  </a:lnTo>
                  <a:lnTo>
                    <a:pt x="846" y="338"/>
                  </a:lnTo>
                  <a:lnTo>
                    <a:pt x="813" y="350"/>
                  </a:lnTo>
                  <a:lnTo>
                    <a:pt x="785" y="357"/>
                  </a:lnTo>
                  <a:lnTo>
                    <a:pt x="785" y="367"/>
                  </a:lnTo>
                  <a:lnTo>
                    <a:pt x="787" y="378"/>
                  </a:lnTo>
                  <a:lnTo>
                    <a:pt x="799" y="409"/>
                  </a:lnTo>
                  <a:lnTo>
                    <a:pt x="806" y="437"/>
                  </a:lnTo>
                  <a:lnTo>
                    <a:pt x="806" y="435"/>
                  </a:lnTo>
                  <a:close/>
                </a:path>
              </a:pathLst>
            </a:custGeom>
            <a:grp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65" name="Freeform 15">
              <a:extLst>
                <a:ext uri="{FF2B5EF4-FFF2-40B4-BE49-F238E27FC236}">
                  <a16:creationId xmlns:a16="http://schemas.microsoft.com/office/drawing/2014/main" id="{535E3455-8DB4-4C05-9D84-523844C7072A}"/>
                </a:ext>
              </a:extLst>
            </p:cNvPr>
            <p:cNvSpPr>
              <a:spLocks/>
            </p:cNvSpPr>
            <p:nvPr/>
          </p:nvSpPr>
          <p:spPr bwMode="gray">
            <a:xfrm>
              <a:off x="9641" y="3146"/>
              <a:ext cx="931" cy="1127"/>
            </a:xfrm>
            <a:custGeom>
              <a:avLst/>
              <a:gdLst>
                <a:gd name="T0" fmla="*/ 754 w 931"/>
                <a:gd name="T1" fmla="*/ 471 h 1127"/>
                <a:gd name="T2" fmla="*/ 728 w 931"/>
                <a:gd name="T3" fmla="*/ 530 h 1127"/>
                <a:gd name="T4" fmla="*/ 685 w 931"/>
                <a:gd name="T5" fmla="*/ 617 h 1127"/>
                <a:gd name="T6" fmla="*/ 624 w 931"/>
                <a:gd name="T7" fmla="*/ 612 h 1127"/>
                <a:gd name="T8" fmla="*/ 581 w 931"/>
                <a:gd name="T9" fmla="*/ 674 h 1127"/>
                <a:gd name="T10" fmla="*/ 489 w 931"/>
                <a:gd name="T11" fmla="*/ 719 h 1127"/>
                <a:gd name="T12" fmla="*/ 456 w 931"/>
                <a:gd name="T13" fmla="*/ 773 h 1127"/>
                <a:gd name="T14" fmla="*/ 440 w 931"/>
                <a:gd name="T15" fmla="*/ 841 h 1127"/>
                <a:gd name="T16" fmla="*/ 487 w 931"/>
                <a:gd name="T17" fmla="*/ 955 h 1127"/>
                <a:gd name="T18" fmla="*/ 442 w 931"/>
                <a:gd name="T19" fmla="*/ 1040 h 1127"/>
                <a:gd name="T20" fmla="*/ 383 w 931"/>
                <a:gd name="T21" fmla="*/ 1021 h 1127"/>
                <a:gd name="T22" fmla="*/ 279 w 931"/>
                <a:gd name="T23" fmla="*/ 995 h 1127"/>
                <a:gd name="T24" fmla="*/ 206 w 931"/>
                <a:gd name="T25" fmla="*/ 1052 h 1127"/>
                <a:gd name="T26" fmla="*/ 199 w 931"/>
                <a:gd name="T27" fmla="*/ 1113 h 1127"/>
                <a:gd name="T28" fmla="*/ 111 w 931"/>
                <a:gd name="T29" fmla="*/ 1125 h 1127"/>
                <a:gd name="T30" fmla="*/ 69 w 931"/>
                <a:gd name="T31" fmla="*/ 1092 h 1127"/>
                <a:gd name="T32" fmla="*/ 33 w 931"/>
                <a:gd name="T33" fmla="*/ 1023 h 1127"/>
                <a:gd name="T34" fmla="*/ 57 w 931"/>
                <a:gd name="T35" fmla="*/ 929 h 1127"/>
                <a:gd name="T36" fmla="*/ 40 w 931"/>
                <a:gd name="T37" fmla="*/ 820 h 1127"/>
                <a:gd name="T38" fmla="*/ 7 w 931"/>
                <a:gd name="T39" fmla="*/ 775 h 1127"/>
                <a:gd name="T40" fmla="*/ 17 w 931"/>
                <a:gd name="T41" fmla="*/ 737 h 1127"/>
                <a:gd name="T42" fmla="*/ 78 w 931"/>
                <a:gd name="T43" fmla="*/ 749 h 1127"/>
                <a:gd name="T44" fmla="*/ 97 w 931"/>
                <a:gd name="T45" fmla="*/ 707 h 1127"/>
                <a:gd name="T46" fmla="*/ 74 w 931"/>
                <a:gd name="T47" fmla="*/ 629 h 1127"/>
                <a:gd name="T48" fmla="*/ 88 w 931"/>
                <a:gd name="T49" fmla="*/ 546 h 1127"/>
                <a:gd name="T50" fmla="*/ 135 w 931"/>
                <a:gd name="T51" fmla="*/ 549 h 1127"/>
                <a:gd name="T52" fmla="*/ 163 w 931"/>
                <a:gd name="T53" fmla="*/ 525 h 1127"/>
                <a:gd name="T54" fmla="*/ 144 w 931"/>
                <a:gd name="T55" fmla="*/ 485 h 1127"/>
                <a:gd name="T56" fmla="*/ 128 w 931"/>
                <a:gd name="T57" fmla="*/ 471 h 1127"/>
                <a:gd name="T58" fmla="*/ 133 w 931"/>
                <a:gd name="T59" fmla="*/ 445 h 1127"/>
                <a:gd name="T60" fmla="*/ 156 w 931"/>
                <a:gd name="T61" fmla="*/ 381 h 1127"/>
                <a:gd name="T62" fmla="*/ 166 w 931"/>
                <a:gd name="T63" fmla="*/ 343 h 1127"/>
                <a:gd name="T64" fmla="*/ 123 w 931"/>
                <a:gd name="T65" fmla="*/ 289 h 1127"/>
                <a:gd name="T66" fmla="*/ 126 w 931"/>
                <a:gd name="T67" fmla="*/ 251 h 1127"/>
                <a:gd name="T68" fmla="*/ 128 w 931"/>
                <a:gd name="T69" fmla="*/ 215 h 1127"/>
                <a:gd name="T70" fmla="*/ 199 w 931"/>
                <a:gd name="T71" fmla="*/ 180 h 1127"/>
                <a:gd name="T72" fmla="*/ 248 w 931"/>
                <a:gd name="T73" fmla="*/ 147 h 1127"/>
                <a:gd name="T74" fmla="*/ 303 w 931"/>
                <a:gd name="T75" fmla="*/ 93 h 1127"/>
                <a:gd name="T76" fmla="*/ 312 w 931"/>
                <a:gd name="T77" fmla="*/ 41 h 1127"/>
                <a:gd name="T78" fmla="*/ 317 w 931"/>
                <a:gd name="T79" fmla="*/ 5 h 1127"/>
                <a:gd name="T80" fmla="*/ 352 w 931"/>
                <a:gd name="T81" fmla="*/ 64 h 1127"/>
                <a:gd name="T82" fmla="*/ 418 w 931"/>
                <a:gd name="T83" fmla="*/ 114 h 1127"/>
                <a:gd name="T84" fmla="*/ 494 w 931"/>
                <a:gd name="T85" fmla="*/ 100 h 1127"/>
                <a:gd name="T86" fmla="*/ 508 w 931"/>
                <a:gd name="T87" fmla="*/ 192 h 1127"/>
                <a:gd name="T88" fmla="*/ 567 w 931"/>
                <a:gd name="T89" fmla="*/ 152 h 1127"/>
                <a:gd name="T90" fmla="*/ 622 w 931"/>
                <a:gd name="T91" fmla="*/ 137 h 1127"/>
                <a:gd name="T92" fmla="*/ 662 w 931"/>
                <a:gd name="T93" fmla="*/ 140 h 1127"/>
                <a:gd name="T94" fmla="*/ 714 w 931"/>
                <a:gd name="T95" fmla="*/ 137 h 1127"/>
                <a:gd name="T96" fmla="*/ 714 w 931"/>
                <a:gd name="T97" fmla="*/ 199 h 1127"/>
                <a:gd name="T98" fmla="*/ 747 w 931"/>
                <a:gd name="T99" fmla="*/ 265 h 1127"/>
                <a:gd name="T100" fmla="*/ 777 w 931"/>
                <a:gd name="T101" fmla="*/ 232 h 1127"/>
                <a:gd name="T102" fmla="*/ 905 w 931"/>
                <a:gd name="T103" fmla="*/ 201 h 1127"/>
                <a:gd name="T104" fmla="*/ 929 w 931"/>
                <a:gd name="T105" fmla="*/ 282 h 1127"/>
                <a:gd name="T106" fmla="*/ 846 w 931"/>
                <a:gd name="T107" fmla="*/ 338 h 1127"/>
                <a:gd name="T108" fmla="*/ 785 w 931"/>
                <a:gd name="T109" fmla="*/ 367 h 1127"/>
                <a:gd name="T110" fmla="*/ 806 w 931"/>
                <a:gd name="T111" fmla="*/ 437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1" h="1127">
                  <a:moveTo>
                    <a:pt x="806" y="435"/>
                  </a:moveTo>
                  <a:lnTo>
                    <a:pt x="775" y="468"/>
                  </a:lnTo>
                  <a:lnTo>
                    <a:pt x="754" y="471"/>
                  </a:lnTo>
                  <a:lnTo>
                    <a:pt x="733" y="480"/>
                  </a:lnTo>
                  <a:lnTo>
                    <a:pt x="718" y="492"/>
                  </a:lnTo>
                  <a:lnTo>
                    <a:pt x="728" y="530"/>
                  </a:lnTo>
                  <a:lnTo>
                    <a:pt x="716" y="563"/>
                  </a:lnTo>
                  <a:lnTo>
                    <a:pt x="692" y="586"/>
                  </a:lnTo>
                  <a:lnTo>
                    <a:pt x="685" y="617"/>
                  </a:lnTo>
                  <a:lnTo>
                    <a:pt x="664" y="638"/>
                  </a:lnTo>
                  <a:lnTo>
                    <a:pt x="638" y="636"/>
                  </a:lnTo>
                  <a:lnTo>
                    <a:pt x="624" y="612"/>
                  </a:lnTo>
                  <a:lnTo>
                    <a:pt x="598" y="615"/>
                  </a:lnTo>
                  <a:lnTo>
                    <a:pt x="593" y="634"/>
                  </a:lnTo>
                  <a:lnTo>
                    <a:pt x="581" y="674"/>
                  </a:lnTo>
                  <a:lnTo>
                    <a:pt x="551" y="690"/>
                  </a:lnTo>
                  <a:lnTo>
                    <a:pt x="527" y="716"/>
                  </a:lnTo>
                  <a:lnTo>
                    <a:pt x="489" y="719"/>
                  </a:lnTo>
                  <a:lnTo>
                    <a:pt x="468" y="730"/>
                  </a:lnTo>
                  <a:lnTo>
                    <a:pt x="454" y="756"/>
                  </a:lnTo>
                  <a:lnTo>
                    <a:pt x="456" y="773"/>
                  </a:lnTo>
                  <a:lnTo>
                    <a:pt x="473" y="808"/>
                  </a:lnTo>
                  <a:lnTo>
                    <a:pt x="459" y="815"/>
                  </a:lnTo>
                  <a:lnTo>
                    <a:pt x="440" y="841"/>
                  </a:lnTo>
                  <a:lnTo>
                    <a:pt x="440" y="889"/>
                  </a:lnTo>
                  <a:lnTo>
                    <a:pt x="461" y="917"/>
                  </a:lnTo>
                  <a:lnTo>
                    <a:pt x="487" y="955"/>
                  </a:lnTo>
                  <a:lnTo>
                    <a:pt x="477" y="1000"/>
                  </a:lnTo>
                  <a:lnTo>
                    <a:pt x="466" y="1021"/>
                  </a:lnTo>
                  <a:lnTo>
                    <a:pt x="442" y="1040"/>
                  </a:lnTo>
                  <a:lnTo>
                    <a:pt x="411" y="1040"/>
                  </a:lnTo>
                  <a:lnTo>
                    <a:pt x="402" y="1028"/>
                  </a:lnTo>
                  <a:lnTo>
                    <a:pt x="383" y="1021"/>
                  </a:lnTo>
                  <a:lnTo>
                    <a:pt x="326" y="1014"/>
                  </a:lnTo>
                  <a:lnTo>
                    <a:pt x="312" y="1002"/>
                  </a:lnTo>
                  <a:lnTo>
                    <a:pt x="279" y="995"/>
                  </a:lnTo>
                  <a:lnTo>
                    <a:pt x="239" y="1002"/>
                  </a:lnTo>
                  <a:lnTo>
                    <a:pt x="215" y="1028"/>
                  </a:lnTo>
                  <a:lnTo>
                    <a:pt x="206" y="1052"/>
                  </a:lnTo>
                  <a:lnTo>
                    <a:pt x="211" y="1085"/>
                  </a:lnTo>
                  <a:lnTo>
                    <a:pt x="208" y="1104"/>
                  </a:lnTo>
                  <a:lnTo>
                    <a:pt x="199" y="1113"/>
                  </a:lnTo>
                  <a:lnTo>
                    <a:pt x="161" y="1127"/>
                  </a:lnTo>
                  <a:lnTo>
                    <a:pt x="133" y="1127"/>
                  </a:lnTo>
                  <a:lnTo>
                    <a:pt x="111" y="1125"/>
                  </a:lnTo>
                  <a:lnTo>
                    <a:pt x="95" y="1115"/>
                  </a:lnTo>
                  <a:lnTo>
                    <a:pt x="78" y="1106"/>
                  </a:lnTo>
                  <a:lnTo>
                    <a:pt x="69" y="1092"/>
                  </a:lnTo>
                  <a:lnTo>
                    <a:pt x="59" y="1071"/>
                  </a:lnTo>
                  <a:lnTo>
                    <a:pt x="52" y="1054"/>
                  </a:lnTo>
                  <a:lnTo>
                    <a:pt x="33" y="1023"/>
                  </a:lnTo>
                  <a:lnTo>
                    <a:pt x="26" y="1009"/>
                  </a:lnTo>
                  <a:lnTo>
                    <a:pt x="40" y="971"/>
                  </a:lnTo>
                  <a:lnTo>
                    <a:pt x="57" y="929"/>
                  </a:lnTo>
                  <a:lnTo>
                    <a:pt x="62" y="849"/>
                  </a:lnTo>
                  <a:lnTo>
                    <a:pt x="59" y="832"/>
                  </a:lnTo>
                  <a:lnTo>
                    <a:pt x="40" y="820"/>
                  </a:lnTo>
                  <a:lnTo>
                    <a:pt x="29" y="818"/>
                  </a:lnTo>
                  <a:lnTo>
                    <a:pt x="14" y="794"/>
                  </a:lnTo>
                  <a:lnTo>
                    <a:pt x="7" y="775"/>
                  </a:lnTo>
                  <a:lnTo>
                    <a:pt x="3" y="749"/>
                  </a:lnTo>
                  <a:lnTo>
                    <a:pt x="0" y="735"/>
                  </a:lnTo>
                  <a:lnTo>
                    <a:pt x="17" y="737"/>
                  </a:lnTo>
                  <a:lnTo>
                    <a:pt x="38" y="740"/>
                  </a:lnTo>
                  <a:lnTo>
                    <a:pt x="59" y="747"/>
                  </a:lnTo>
                  <a:lnTo>
                    <a:pt x="78" y="749"/>
                  </a:lnTo>
                  <a:lnTo>
                    <a:pt x="92" y="740"/>
                  </a:lnTo>
                  <a:lnTo>
                    <a:pt x="97" y="728"/>
                  </a:lnTo>
                  <a:lnTo>
                    <a:pt x="97" y="707"/>
                  </a:lnTo>
                  <a:lnTo>
                    <a:pt x="97" y="683"/>
                  </a:lnTo>
                  <a:lnTo>
                    <a:pt x="88" y="655"/>
                  </a:lnTo>
                  <a:lnTo>
                    <a:pt x="74" y="629"/>
                  </a:lnTo>
                  <a:lnTo>
                    <a:pt x="71" y="591"/>
                  </a:lnTo>
                  <a:lnTo>
                    <a:pt x="74" y="577"/>
                  </a:lnTo>
                  <a:lnTo>
                    <a:pt x="88" y="546"/>
                  </a:lnTo>
                  <a:lnTo>
                    <a:pt x="109" y="544"/>
                  </a:lnTo>
                  <a:lnTo>
                    <a:pt x="121" y="546"/>
                  </a:lnTo>
                  <a:lnTo>
                    <a:pt x="135" y="549"/>
                  </a:lnTo>
                  <a:lnTo>
                    <a:pt x="142" y="553"/>
                  </a:lnTo>
                  <a:lnTo>
                    <a:pt x="166" y="532"/>
                  </a:lnTo>
                  <a:lnTo>
                    <a:pt x="163" y="525"/>
                  </a:lnTo>
                  <a:lnTo>
                    <a:pt x="151" y="508"/>
                  </a:lnTo>
                  <a:lnTo>
                    <a:pt x="142" y="499"/>
                  </a:lnTo>
                  <a:lnTo>
                    <a:pt x="144" y="485"/>
                  </a:lnTo>
                  <a:lnTo>
                    <a:pt x="114" y="478"/>
                  </a:lnTo>
                  <a:lnTo>
                    <a:pt x="114" y="468"/>
                  </a:lnTo>
                  <a:lnTo>
                    <a:pt x="128" y="471"/>
                  </a:lnTo>
                  <a:lnTo>
                    <a:pt x="135" y="466"/>
                  </a:lnTo>
                  <a:lnTo>
                    <a:pt x="140" y="454"/>
                  </a:lnTo>
                  <a:lnTo>
                    <a:pt x="133" y="445"/>
                  </a:lnTo>
                  <a:lnTo>
                    <a:pt x="126" y="435"/>
                  </a:lnTo>
                  <a:lnTo>
                    <a:pt x="135" y="402"/>
                  </a:lnTo>
                  <a:lnTo>
                    <a:pt x="156" y="381"/>
                  </a:lnTo>
                  <a:lnTo>
                    <a:pt x="185" y="367"/>
                  </a:lnTo>
                  <a:lnTo>
                    <a:pt x="182" y="348"/>
                  </a:lnTo>
                  <a:lnTo>
                    <a:pt x="166" y="343"/>
                  </a:lnTo>
                  <a:lnTo>
                    <a:pt x="156" y="338"/>
                  </a:lnTo>
                  <a:lnTo>
                    <a:pt x="123" y="338"/>
                  </a:lnTo>
                  <a:lnTo>
                    <a:pt x="123" y="289"/>
                  </a:lnTo>
                  <a:lnTo>
                    <a:pt x="135" y="258"/>
                  </a:lnTo>
                  <a:lnTo>
                    <a:pt x="130" y="249"/>
                  </a:lnTo>
                  <a:lnTo>
                    <a:pt x="126" y="251"/>
                  </a:lnTo>
                  <a:lnTo>
                    <a:pt x="123" y="239"/>
                  </a:lnTo>
                  <a:lnTo>
                    <a:pt x="109" y="241"/>
                  </a:lnTo>
                  <a:lnTo>
                    <a:pt x="128" y="215"/>
                  </a:lnTo>
                  <a:lnTo>
                    <a:pt x="144" y="206"/>
                  </a:lnTo>
                  <a:lnTo>
                    <a:pt x="173" y="197"/>
                  </a:lnTo>
                  <a:lnTo>
                    <a:pt x="199" y="180"/>
                  </a:lnTo>
                  <a:lnTo>
                    <a:pt x="215" y="166"/>
                  </a:lnTo>
                  <a:lnTo>
                    <a:pt x="225" y="163"/>
                  </a:lnTo>
                  <a:lnTo>
                    <a:pt x="248" y="147"/>
                  </a:lnTo>
                  <a:lnTo>
                    <a:pt x="265" y="123"/>
                  </a:lnTo>
                  <a:lnTo>
                    <a:pt x="293" y="104"/>
                  </a:lnTo>
                  <a:lnTo>
                    <a:pt x="303" y="93"/>
                  </a:lnTo>
                  <a:lnTo>
                    <a:pt x="300" y="74"/>
                  </a:lnTo>
                  <a:lnTo>
                    <a:pt x="300" y="55"/>
                  </a:lnTo>
                  <a:lnTo>
                    <a:pt x="312" y="41"/>
                  </a:lnTo>
                  <a:lnTo>
                    <a:pt x="324" y="29"/>
                  </a:lnTo>
                  <a:lnTo>
                    <a:pt x="322" y="22"/>
                  </a:lnTo>
                  <a:lnTo>
                    <a:pt x="317" y="5"/>
                  </a:lnTo>
                  <a:lnTo>
                    <a:pt x="336" y="0"/>
                  </a:lnTo>
                  <a:lnTo>
                    <a:pt x="350" y="24"/>
                  </a:lnTo>
                  <a:lnTo>
                    <a:pt x="352" y="64"/>
                  </a:lnTo>
                  <a:lnTo>
                    <a:pt x="357" y="107"/>
                  </a:lnTo>
                  <a:lnTo>
                    <a:pt x="392" y="104"/>
                  </a:lnTo>
                  <a:lnTo>
                    <a:pt x="418" y="114"/>
                  </a:lnTo>
                  <a:lnTo>
                    <a:pt x="428" y="116"/>
                  </a:lnTo>
                  <a:lnTo>
                    <a:pt x="449" y="111"/>
                  </a:lnTo>
                  <a:lnTo>
                    <a:pt x="494" y="100"/>
                  </a:lnTo>
                  <a:lnTo>
                    <a:pt x="501" y="154"/>
                  </a:lnTo>
                  <a:lnTo>
                    <a:pt x="499" y="171"/>
                  </a:lnTo>
                  <a:lnTo>
                    <a:pt x="508" y="192"/>
                  </a:lnTo>
                  <a:lnTo>
                    <a:pt x="527" y="182"/>
                  </a:lnTo>
                  <a:lnTo>
                    <a:pt x="544" y="175"/>
                  </a:lnTo>
                  <a:lnTo>
                    <a:pt x="567" y="152"/>
                  </a:lnTo>
                  <a:lnTo>
                    <a:pt x="586" y="142"/>
                  </a:lnTo>
                  <a:lnTo>
                    <a:pt x="612" y="133"/>
                  </a:lnTo>
                  <a:lnTo>
                    <a:pt x="622" y="137"/>
                  </a:lnTo>
                  <a:lnTo>
                    <a:pt x="638" y="152"/>
                  </a:lnTo>
                  <a:lnTo>
                    <a:pt x="648" y="149"/>
                  </a:lnTo>
                  <a:lnTo>
                    <a:pt x="662" y="140"/>
                  </a:lnTo>
                  <a:lnTo>
                    <a:pt x="671" y="133"/>
                  </a:lnTo>
                  <a:lnTo>
                    <a:pt x="690" y="130"/>
                  </a:lnTo>
                  <a:lnTo>
                    <a:pt x="714" y="137"/>
                  </a:lnTo>
                  <a:lnTo>
                    <a:pt x="723" y="152"/>
                  </a:lnTo>
                  <a:lnTo>
                    <a:pt x="721" y="175"/>
                  </a:lnTo>
                  <a:lnTo>
                    <a:pt x="714" y="199"/>
                  </a:lnTo>
                  <a:lnTo>
                    <a:pt x="721" y="215"/>
                  </a:lnTo>
                  <a:lnTo>
                    <a:pt x="742" y="204"/>
                  </a:lnTo>
                  <a:lnTo>
                    <a:pt x="747" y="265"/>
                  </a:lnTo>
                  <a:lnTo>
                    <a:pt x="759" y="256"/>
                  </a:lnTo>
                  <a:lnTo>
                    <a:pt x="766" y="241"/>
                  </a:lnTo>
                  <a:lnTo>
                    <a:pt x="777" y="232"/>
                  </a:lnTo>
                  <a:lnTo>
                    <a:pt x="822" y="220"/>
                  </a:lnTo>
                  <a:lnTo>
                    <a:pt x="891" y="180"/>
                  </a:lnTo>
                  <a:lnTo>
                    <a:pt x="905" y="201"/>
                  </a:lnTo>
                  <a:lnTo>
                    <a:pt x="926" y="234"/>
                  </a:lnTo>
                  <a:lnTo>
                    <a:pt x="931" y="260"/>
                  </a:lnTo>
                  <a:lnTo>
                    <a:pt x="929" y="282"/>
                  </a:lnTo>
                  <a:lnTo>
                    <a:pt x="912" y="303"/>
                  </a:lnTo>
                  <a:lnTo>
                    <a:pt x="884" y="324"/>
                  </a:lnTo>
                  <a:lnTo>
                    <a:pt x="846" y="338"/>
                  </a:lnTo>
                  <a:lnTo>
                    <a:pt x="813" y="350"/>
                  </a:lnTo>
                  <a:lnTo>
                    <a:pt x="785" y="357"/>
                  </a:lnTo>
                  <a:lnTo>
                    <a:pt x="785" y="367"/>
                  </a:lnTo>
                  <a:lnTo>
                    <a:pt x="787" y="378"/>
                  </a:lnTo>
                  <a:lnTo>
                    <a:pt x="799" y="409"/>
                  </a:lnTo>
                  <a:lnTo>
                    <a:pt x="806" y="437"/>
                  </a:lnTo>
                </a:path>
              </a:pathLst>
            </a:custGeom>
            <a:pattFill prst="ltHorz">
              <a:fgClr>
                <a:schemeClr val="accent2"/>
              </a:fgClr>
              <a:bgClr>
                <a:schemeClr val="bg1"/>
              </a:bgClr>
            </a:patt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66" name="Freeform 16">
              <a:extLst>
                <a:ext uri="{FF2B5EF4-FFF2-40B4-BE49-F238E27FC236}">
                  <a16:creationId xmlns:a16="http://schemas.microsoft.com/office/drawing/2014/main" id="{8E9B0671-599F-4972-801A-01089DF89A06}"/>
                </a:ext>
              </a:extLst>
            </p:cNvPr>
            <p:cNvSpPr>
              <a:spLocks/>
            </p:cNvSpPr>
            <p:nvPr/>
          </p:nvSpPr>
          <p:spPr bwMode="gray">
            <a:xfrm>
              <a:off x="9644" y="2589"/>
              <a:ext cx="987" cy="822"/>
            </a:xfrm>
            <a:custGeom>
              <a:avLst/>
              <a:gdLst>
                <a:gd name="T0" fmla="*/ 774 w 987"/>
                <a:gd name="T1" fmla="*/ 789 h 822"/>
                <a:gd name="T2" fmla="*/ 744 w 987"/>
                <a:gd name="T3" fmla="*/ 822 h 822"/>
                <a:gd name="T4" fmla="*/ 711 w 987"/>
                <a:gd name="T5" fmla="*/ 756 h 822"/>
                <a:gd name="T6" fmla="*/ 711 w 987"/>
                <a:gd name="T7" fmla="*/ 694 h 822"/>
                <a:gd name="T8" fmla="*/ 659 w 987"/>
                <a:gd name="T9" fmla="*/ 697 h 822"/>
                <a:gd name="T10" fmla="*/ 619 w 987"/>
                <a:gd name="T11" fmla="*/ 694 h 822"/>
                <a:gd name="T12" fmla="*/ 564 w 987"/>
                <a:gd name="T13" fmla="*/ 709 h 822"/>
                <a:gd name="T14" fmla="*/ 505 w 987"/>
                <a:gd name="T15" fmla="*/ 749 h 822"/>
                <a:gd name="T16" fmla="*/ 491 w 987"/>
                <a:gd name="T17" fmla="*/ 657 h 822"/>
                <a:gd name="T18" fmla="*/ 415 w 987"/>
                <a:gd name="T19" fmla="*/ 671 h 822"/>
                <a:gd name="T20" fmla="*/ 349 w 987"/>
                <a:gd name="T21" fmla="*/ 621 h 822"/>
                <a:gd name="T22" fmla="*/ 314 w 987"/>
                <a:gd name="T23" fmla="*/ 562 h 822"/>
                <a:gd name="T24" fmla="*/ 134 w 987"/>
                <a:gd name="T25" fmla="*/ 572 h 822"/>
                <a:gd name="T26" fmla="*/ 167 w 987"/>
                <a:gd name="T27" fmla="*/ 548 h 822"/>
                <a:gd name="T28" fmla="*/ 184 w 987"/>
                <a:gd name="T29" fmla="*/ 487 h 822"/>
                <a:gd name="T30" fmla="*/ 148 w 987"/>
                <a:gd name="T31" fmla="*/ 461 h 822"/>
                <a:gd name="T32" fmla="*/ 101 w 987"/>
                <a:gd name="T33" fmla="*/ 423 h 822"/>
                <a:gd name="T34" fmla="*/ 49 w 987"/>
                <a:gd name="T35" fmla="*/ 420 h 822"/>
                <a:gd name="T36" fmla="*/ 0 w 987"/>
                <a:gd name="T37" fmla="*/ 399 h 822"/>
                <a:gd name="T38" fmla="*/ 28 w 987"/>
                <a:gd name="T39" fmla="*/ 357 h 822"/>
                <a:gd name="T40" fmla="*/ 85 w 987"/>
                <a:gd name="T41" fmla="*/ 291 h 822"/>
                <a:gd name="T42" fmla="*/ 130 w 987"/>
                <a:gd name="T43" fmla="*/ 260 h 822"/>
                <a:gd name="T44" fmla="*/ 174 w 987"/>
                <a:gd name="T45" fmla="*/ 283 h 822"/>
                <a:gd name="T46" fmla="*/ 224 w 987"/>
                <a:gd name="T47" fmla="*/ 317 h 822"/>
                <a:gd name="T48" fmla="*/ 293 w 987"/>
                <a:gd name="T49" fmla="*/ 305 h 822"/>
                <a:gd name="T50" fmla="*/ 337 w 987"/>
                <a:gd name="T51" fmla="*/ 321 h 822"/>
                <a:gd name="T52" fmla="*/ 380 w 987"/>
                <a:gd name="T53" fmla="*/ 298 h 822"/>
                <a:gd name="T54" fmla="*/ 437 w 987"/>
                <a:gd name="T55" fmla="*/ 302 h 822"/>
                <a:gd name="T56" fmla="*/ 448 w 987"/>
                <a:gd name="T57" fmla="*/ 260 h 822"/>
                <a:gd name="T58" fmla="*/ 479 w 987"/>
                <a:gd name="T59" fmla="*/ 203 h 822"/>
                <a:gd name="T60" fmla="*/ 486 w 987"/>
                <a:gd name="T61" fmla="*/ 137 h 822"/>
                <a:gd name="T62" fmla="*/ 474 w 987"/>
                <a:gd name="T63" fmla="*/ 92 h 822"/>
                <a:gd name="T64" fmla="*/ 517 w 987"/>
                <a:gd name="T65" fmla="*/ 40 h 822"/>
                <a:gd name="T66" fmla="*/ 609 w 987"/>
                <a:gd name="T67" fmla="*/ 5 h 822"/>
                <a:gd name="T68" fmla="*/ 815 w 987"/>
                <a:gd name="T69" fmla="*/ 26 h 822"/>
                <a:gd name="T70" fmla="*/ 928 w 987"/>
                <a:gd name="T71" fmla="*/ 14 h 822"/>
                <a:gd name="T72" fmla="*/ 947 w 987"/>
                <a:gd name="T73" fmla="*/ 99 h 822"/>
                <a:gd name="T74" fmla="*/ 980 w 987"/>
                <a:gd name="T75" fmla="*/ 116 h 822"/>
                <a:gd name="T76" fmla="*/ 949 w 987"/>
                <a:gd name="T77" fmla="*/ 267 h 822"/>
                <a:gd name="T78" fmla="*/ 919 w 987"/>
                <a:gd name="T79" fmla="*/ 300 h 822"/>
                <a:gd name="T80" fmla="*/ 940 w 987"/>
                <a:gd name="T81" fmla="*/ 324 h 822"/>
                <a:gd name="T82" fmla="*/ 914 w 987"/>
                <a:gd name="T83" fmla="*/ 409 h 822"/>
                <a:gd name="T84" fmla="*/ 848 w 987"/>
                <a:gd name="T85" fmla="*/ 435 h 822"/>
                <a:gd name="T86" fmla="*/ 824 w 987"/>
                <a:gd name="T87" fmla="*/ 480 h 822"/>
                <a:gd name="T88" fmla="*/ 855 w 987"/>
                <a:gd name="T89" fmla="*/ 522 h 822"/>
                <a:gd name="T90" fmla="*/ 869 w 987"/>
                <a:gd name="T91" fmla="*/ 539 h 822"/>
                <a:gd name="T92" fmla="*/ 888 w 987"/>
                <a:gd name="T93" fmla="*/ 579 h 822"/>
                <a:gd name="T94" fmla="*/ 935 w 987"/>
                <a:gd name="T95" fmla="*/ 635 h 822"/>
                <a:gd name="T96" fmla="*/ 926 w 987"/>
                <a:gd name="T97" fmla="*/ 668 h 822"/>
                <a:gd name="T98" fmla="*/ 930 w 987"/>
                <a:gd name="T99" fmla="*/ 704 h 822"/>
                <a:gd name="T100" fmla="*/ 911 w 987"/>
                <a:gd name="T101" fmla="*/ 725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87" h="822">
                  <a:moveTo>
                    <a:pt x="888" y="737"/>
                  </a:moveTo>
                  <a:lnTo>
                    <a:pt x="819" y="777"/>
                  </a:lnTo>
                  <a:lnTo>
                    <a:pt x="774" y="789"/>
                  </a:lnTo>
                  <a:lnTo>
                    <a:pt x="763" y="798"/>
                  </a:lnTo>
                  <a:lnTo>
                    <a:pt x="756" y="813"/>
                  </a:lnTo>
                  <a:lnTo>
                    <a:pt x="744" y="822"/>
                  </a:lnTo>
                  <a:lnTo>
                    <a:pt x="739" y="761"/>
                  </a:lnTo>
                  <a:lnTo>
                    <a:pt x="718" y="772"/>
                  </a:lnTo>
                  <a:lnTo>
                    <a:pt x="711" y="756"/>
                  </a:lnTo>
                  <a:lnTo>
                    <a:pt x="718" y="732"/>
                  </a:lnTo>
                  <a:lnTo>
                    <a:pt x="720" y="709"/>
                  </a:lnTo>
                  <a:lnTo>
                    <a:pt x="711" y="694"/>
                  </a:lnTo>
                  <a:lnTo>
                    <a:pt x="687" y="687"/>
                  </a:lnTo>
                  <a:lnTo>
                    <a:pt x="668" y="690"/>
                  </a:lnTo>
                  <a:lnTo>
                    <a:pt x="659" y="697"/>
                  </a:lnTo>
                  <a:lnTo>
                    <a:pt x="645" y="706"/>
                  </a:lnTo>
                  <a:lnTo>
                    <a:pt x="635" y="709"/>
                  </a:lnTo>
                  <a:lnTo>
                    <a:pt x="619" y="694"/>
                  </a:lnTo>
                  <a:lnTo>
                    <a:pt x="609" y="690"/>
                  </a:lnTo>
                  <a:lnTo>
                    <a:pt x="583" y="699"/>
                  </a:lnTo>
                  <a:lnTo>
                    <a:pt x="564" y="709"/>
                  </a:lnTo>
                  <a:lnTo>
                    <a:pt x="541" y="732"/>
                  </a:lnTo>
                  <a:lnTo>
                    <a:pt x="524" y="739"/>
                  </a:lnTo>
                  <a:lnTo>
                    <a:pt x="505" y="749"/>
                  </a:lnTo>
                  <a:lnTo>
                    <a:pt x="496" y="728"/>
                  </a:lnTo>
                  <a:lnTo>
                    <a:pt x="498" y="711"/>
                  </a:lnTo>
                  <a:lnTo>
                    <a:pt x="491" y="657"/>
                  </a:lnTo>
                  <a:lnTo>
                    <a:pt x="446" y="668"/>
                  </a:lnTo>
                  <a:lnTo>
                    <a:pt x="425" y="673"/>
                  </a:lnTo>
                  <a:lnTo>
                    <a:pt x="415" y="671"/>
                  </a:lnTo>
                  <a:lnTo>
                    <a:pt x="389" y="661"/>
                  </a:lnTo>
                  <a:lnTo>
                    <a:pt x="354" y="664"/>
                  </a:lnTo>
                  <a:lnTo>
                    <a:pt x="349" y="621"/>
                  </a:lnTo>
                  <a:lnTo>
                    <a:pt x="347" y="581"/>
                  </a:lnTo>
                  <a:lnTo>
                    <a:pt x="333" y="557"/>
                  </a:lnTo>
                  <a:lnTo>
                    <a:pt x="314" y="562"/>
                  </a:lnTo>
                  <a:lnTo>
                    <a:pt x="260" y="583"/>
                  </a:lnTo>
                  <a:lnTo>
                    <a:pt x="203" y="593"/>
                  </a:lnTo>
                  <a:lnTo>
                    <a:pt x="134" y="572"/>
                  </a:lnTo>
                  <a:lnTo>
                    <a:pt x="130" y="553"/>
                  </a:lnTo>
                  <a:lnTo>
                    <a:pt x="144" y="546"/>
                  </a:lnTo>
                  <a:lnTo>
                    <a:pt x="167" y="548"/>
                  </a:lnTo>
                  <a:lnTo>
                    <a:pt x="177" y="546"/>
                  </a:lnTo>
                  <a:lnTo>
                    <a:pt x="186" y="536"/>
                  </a:lnTo>
                  <a:lnTo>
                    <a:pt x="184" y="487"/>
                  </a:lnTo>
                  <a:lnTo>
                    <a:pt x="172" y="482"/>
                  </a:lnTo>
                  <a:lnTo>
                    <a:pt x="160" y="475"/>
                  </a:lnTo>
                  <a:lnTo>
                    <a:pt x="148" y="461"/>
                  </a:lnTo>
                  <a:lnTo>
                    <a:pt x="127" y="442"/>
                  </a:lnTo>
                  <a:lnTo>
                    <a:pt x="115" y="425"/>
                  </a:lnTo>
                  <a:lnTo>
                    <a:pt x="101" y="423"/>
                  </a:lnTo>
                  <a:lnTo>
                    <a:pt x="92" y="425"/>
                  </a:lnTo>
                  <a:lnTo>
                    <a:pt x="73" y="425"/>
                  </a:lnTo>
                  <a:lnTo>
                    <a:pt x="49" y="420"/>
                  </a:lnTo>
                  <a:lnTo>
                    <a:pt x="19" y="413"/>
                  </a:lnTo>
                  <a:lnTo>
                    <a:pt x="2" y="404"/>
                  </a:lnTo>
                  <a:lnTo>
                    <a:pt x="0" y="399"/>
                  </a:lnTo>
                  <a:lnTo>
                    <a:pt x="9" y="387"/>
                  </a:lnTo>
                  <a:lnTo>
                    <a:pt x="19" y="376"/>
                  </a:lnTo>
                  <a:lnTo>
                    <a:pt x="28" y="357"/>
                  </a:lnTo>
                  <a:lnTo>
                    <a:pt x="28" y="352"/>
                  </a:lnTo>
                  <a:lnTo>
                    <a:pt x="54" y="326"/>
                  </a:lnTo>
                  <a:lnTo>
                    <a:pt x="85" y="291"/>
                  </a:lnTo>
                  <a:lnTo>
                    <a:pt x="97" y="279"/>
                  </a:lnTo>
                  <a:lnTo>
                    <a:pt x="111" y="269"/>
                  </a:lnTo>
                  <a:lnTo>
                    <a:pt x="130" y="260"/>
                  </a:lnTo>
                  <a:lnTo>
                    <a:pt x="151" y="250"/>
                  </a:lnTo>
                  <a:lnTo>
                    <a:pt x="165" y="246"/>
                  </a:lnTo>
                  <a:lnTo>
                    <a:pt x="174" y="283"/>
                  </a:lnTo>
                  <a:lnTo>
                    <a:pt x="182" y="300"/>
                  </a:lnTo>
                  <a:lnTo>
                    <a:pt x="193" y="305"/>
                  </a:lnTo>
                  <a:lnTo>
                    <a:pt x="224" y="317"/>
                  </a:lnTo>
                  <a:lnTo>
                    <a:pt x="243" y="307"/>
                  </a:lnTo>
                  <a:lnTo>
                    <a:pt x="264" y="307"/>
                  </a:lnTo>
                  <a:lnTo>
                    <a:pt x="293" y="305"/>
                  </a:lnTo>
                  <a:lnTo>
                    <a:pt x="297" y="331"/>
                  </a:lnTo>
                  <a:lnTo>
                    <a:pt x="319" y="331"/>
                  </a:lnTo>
                  <a:lnTo>
                    <a:pt x="337" y="321"/>
                  </a:lnTo>
                  <a:lnTo>
                    <a:pt x="352" y="309"/>
                  </a:lnTo>
                  <a:lnTo>
                    <a:pt x="371" y="305"/>
                  </a:lnTo>
                  <a:lnTo>
                    <a:pt x="380" y="298"/>
                  </a:lnTo>
                  <a:lnTo>
                    <a:pt x="406" y="305"/>
                  </a:lnTo>
                  <a:lnTo>
                    <a:pt x="427" y="307"/>
                  </a:lnTo>
                  <a:lnTo>
                    <a:pt x="437" y="302"/>
                  </a:lnTo>
                  <a:lnTo>
                    <a:pt x="437" y="293"/>
                  </a:lnTo>
                  <a:lnTo>
                    <a:pt x="439" y="272"/>
                  </a:lnTo>
                  <a:lnTo>
                    <a:pt x="448" y="260"/>
                  </a:lnTo>
                  <a:lnTo>
                    <a:pt x="463" y="250"/>
                  </a:lnTo>
                  <a:lnTo>
                    <a:pt x="472" y="234"/>
                  </a:lnTo>
                  <a:lnTo>
                    <a:pt x="479" y="203"/>
                  </a:lnTo>
                  <a:lnTo>
                    <a:pt x="493" y="165"/>
                  </a:lnTo>
                  <a:lnTo>
                    <a:pt x="491" y="156"/>
                  </a:lnTo>
                  <a:lnTo>
                    <a:pt x="486" y="137"/>
                  </a:lnTo>
                  <a:lnTo>
                    <a:pt x="482" y="125"/>
                  </a:lnTo>
                  <a:lnTo>
                    <a:pt x="474" y="106"/>
                  </a:lnTo>
                  <a:lnTo>
                    <a:pt x="474" y="92"/>
                  </a:lnTo>
                  <a:lnTo>
                    <a:pt x="491" y="80"/>
                  </a:lnTo>
                  <a:lnTo>
                    <a:pt x="505" y="61"/>
                  </a:lnTo>
                  <a:lnTo>
                    <a:pt x="517" y="40"/>
                  </a:lnTo>
                  <a:lnTo>
                    <a:pt x="522" y="28"/>
                  </a:lnTo>
                  <a:lnTo>
                    <a:pt x="538" y="26"/>
                  </a:lnTo>
                  <a:lnTo>
                    <a:pt x="609" y="5"/>
                  </a:lnTo>
                  <a:lnTo>
                    <a:pt x="661" y="0"/>
                  </a:lnTo>
                  <a:lnTo>
                    <a:pt x="722" y="26"/>
                  </a:lnTo>
                  <a:lnTo>
                    <a:pt x="815" y="26"/>
                  </a:lnTo>
                  <a:lnTo>
                    <a:pt x="874" y="17"/>
                  </a:lnTo>
                  <a:lnTo>
                    <a:pt x="914" y="2"/>
                  </a:lnTo>
                  <a:lnTo>
                    <a:pt x="928" y="14"/>
                  </a:lnTo>
                  <a:lnTo>
                    <a:pt x="940" y="24"/>
                  </a:lnTo>
                  <a:lnTo>
                    <a:pt x="942" y="83"/>
                  </a:lnTo>
                  <a:lnTo>
                    <a:pt x="947" y="99"/>
                  </a:lnTo>
                  <a:lnTo>
                    <a:pt x="966" y="97"/>
                  </a:lnTo>
                  <a:lnTo>
                    <a:pt x="987" y="102"/>
                  </a:lnTo>
                  <a:lnTo>
                    <a:pt x="980" y="116"/>
                  </a:lnTo>
                  <a:lnTo>
                    <a:pt x="928" y="229"/>
                  </a:lnTo>
                  <a:lnTo>
                    <a:pt x="945" y="246"/>
                  </a:lnTo>
                  <a:lnTo>
                    <a:pt x="949" y="267"/>
                  </a:lnTo>
                  <a:lnTo>
                    <a:pt x="945" y="279"/>
                  </a:lnTo>
                  <a:lnTo>
                    <a:pt x="933" y="286"/>
                  </a:lnTo>
                  <a:lnTo>
                    <a:pt x="919" y="300"/>
                  </a:lnTo>
                  <a:lnTo>
                    <a:pt x="914" y="312"/>
                  </a:lnTo>
                  <a:lnTo>
                    <a:pt x="926" y="321"/>
                  </a:lnTo>
                  <a:lnTo>
                    <a:pt x="940" y="324"/>
                  </a:lnTo>
                  <a:lnTo>
                    <a:pt x="949" y="326"/>
                  </a:lnTo>
                  <a:lnTo>
                    <a:pt x="933" y="371"/>
                  </a:lnTo>
                  <a:lnTo>
                    <a:pt x="914" y="409"/>
                  </a:lnTo>
                  <a:lnTo>
                    <a:pt x="881" y="439"/>
                  </a:lnTo>
                  <a:lnTo>
                    <a:pt x="862" y="437"/>
                  </a:lnTo>
                  <a:lnTo>
                    <a:pt x="848" y="435"/>
                  </a:lnTo>
                  <a:lnTo>
                    <a:pt x="834" y="435"/>
                  </a:lnTo>
                  <a:lnTo>
                    <a:pt x="836" y="472"/>
                  </a:lnTo>
                  <a:lnTo>
                    <a:pt x="824" y="480"/>
                  </a:lnTo>
                  <a:lnTo>
                    <a:pt x="834" y="494"/>
                  </a:lnTo>
                  <a:lnTo>
                    <a:pt x="845" y="503"/>
                  </a:lnTo>
                  <a:lnTo>
                    <a:pt x="855" y="522"/>
                  </a:lnTo>
                  <a:lnTo>
                    <a:pt x="859" y="531"/>
                  </a:lnTo>
                  <a:lnTo>
                    <a:pt x="867" y="529"/>
                  </a:lnTo>
                  <a:lnTo>
                    <a:pt x="869" y="539"/>
                  </a:lnTo>
                  <a:lnTo>
                    <a:pt x="885" y="557"/>
                  </a:lnTo>
                  <a:lnTo>
                    <a:pt x="897" y="567"/>
                  </a:lnTo>
                  <a:lnTo>
                    <a:pt x="888" y="579"/>
                  </a:lnTo>
                  <a:lnTo>
                    <a:pt x="895" y="591"/>
                  </a:lnTo>
                  <a:lnTo>
                    <a:pt x="911" y="614"/>
                  </a:lnTo>
                  <a:lnTo>
                    <a:pt x="935" y="635"/>
                  </a:lnTo>
                  <a:lnTo>
                    <a:pt x="949" y="645"/>
                  </a:lnTo>
                  <a:lnTo>
                    <a:pt x="933" y="657"/>
                  </a:lnTo>
                  <a:lnTo>
                    <a:pt x="926" y="668"/>
                  </a:lnTo>
                  <a:lnTo>
                    <a:pt x="923" y="680"/>
                  </a:lnTo>
                  <a:lnTo>
                    <a:pt x="926" y="692"/>
                  </a:lnTo>
                  <a:lnTo>
                    <a:pt x="930" y="704"/>
                  </a:lnTo>
                  <a:lnTo>
                    <a:pt x="935" y="709"/>
                  </a:lnTo>
                  <a:lnTo>
                    <a:pt x="919" y="716"/>
                  </a:lnTo>
                  <a:lnTo>
                    <a:pt x="911" y="725"/>
                  </a:lnTo>
                  <a:lnTo>
                    <a:pt x="888" y="737"/>
                  </a:lnTo>
                  <a:close/>
                </a:path>
              </a:pathLst>
            </a:custGeom>
            <a:pattFill prst="dkUpDiag">
              <a:fgClr>
                <a:schemeClr val="accent2"/>
              </a:fgClr>
              <a:bgClr>
                <a:schemeClr val="bg1"/>
              </a:bgClr>
            </a:patt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67" name="Freeform 17">
              <a:extLst>
                <a:ext uri="{FF2B5EF4-FFF2-40B4-BE49-F238E27FC236}">
                  <a16:creationId xmlns:a16="http://schemas.microsoft.com/office/drawing/2014/main" id="{0C81E9B8-D71B-4947-8595-74E27CB05202}"/>
                </a:ext>
              </a:extLst>
            </p:cNvPr>
            <p:cNvSpPr>
              <a:spLocks noEditPoints="1"/>
            </p:cNvSpPr>
            <p:nvPr/>
          </p:nvSpPr>
          <p:spPr bwMode="gray">
            <a:xfrm>
              <a:off x="9060" y="3189"/>
              <a:ext cx="766" cy="546"/>
            </a:xfrm>
            <a:custGeom>
              <a:avLst/>
              <a:gdLst>
                <a:gd name="T0" fmla="*/ 458 w 766"/>
                <a:gd name="T1" fmla="*/ 394 h 546"/>
                <a:gd name="T2" fmla="*/ 480 w 766"/>
                <a:gd name="T3" fmla="*/ 354 h 546"/>
                <a:gd name="T4" fmla="*/ 477 w 766"/>
                <a:gd name="T5" fmla="*/ 291 h 546"/>
                <a:gd name="T6" fmla="*/ 489 w 766"/>
                <a:gd name="T7" fmla="*/ 189 h 546"/>
                <a:gd name="T8" fmla="*/ 482 w 766"/>
                <a:gd name="T9" fmla="*/ 135 h 546"/>
                <a:gd name="T10" fmla="*/ 440 w 766"/>
                <a:gd name="T11" fmla="*/ 132 h 546"/>
                <a:gd name="T12" fmla="*/ 416 w 766"/>
                <a:gd name="T13" fmla="*/ 106 h 546"/>
                <a:gd name="T14" fmla="*/ 423 w 766"/>
                <a:gd name="T15" fmla="*/ 76 h 546"/>
                <a:gd name="T16" fmla="*/ 442 w 766"/>
                <a:gd name="T17" fmla="*/ 21 h 546"/>
                <a:gd name="T18" fmla="*/ 357 w 766"/>
                <a:gd name="T19" fmla="*/ 0 h 546"/>
                <a:gd name="T20" fmla="*/ 260 w 766"/>
                <a:gd name="T21" fmla="*/ 33 h 546"/>
                <a:gd name="T22" fmla="*/ 215 w 766"/>
                <a:gd name="T23" fmla="*/ 24 h 546"/>
                <a:gd name="T24" fmla="*/ 196 w 766"/>
                <a:gd name="T25" fmla="*/ 94 h 546"/>
                <a:gd name="T26" fmla="*/ 154 w 766"/>
                <a:gd name="T27" fmla="*/ 135 h 546"/>
                <a:gd name="T28" fmla="*/ 125 w 766"/>
                <a:gd name="T29" fmla="*/ 194 h 546"/>
                <a:gd name="T30" fmla="*/ 114 w 766"/>
                <a:gd name="T31" fmla="*/ 170 h 546"/>
                <a:gd name="T32" fmla="*/ 83 w 766"/>
                <a:gd name="T33" fmla="*/ 172 h 546"/>
                <a:gd name="T34" fmla="*/ 47 w 766"/>
                <a:gd name="T35" fmla="*/ 208 h 546"/>
                <a:gd name="T36" fmla="*/ 38 w 766"/>
                <a:gd name="T37" fmla="*/ 279 h 546"/>
                <a:gd name="T38" fmla="*/ 10 w 766"/>
                <a:gd name="T39" fmla="*/ 314 h 546"/>
                <a:gd name="T40" fmla="*/ 0 w 766"/>
                <a:gd name="T41" fmla="*/ 357 h 546"/>
                <a:gd name="T42" fmla="*/ 38 w 766"/>
                <a:gd name="T43" fmla="*/ 423 h 546"/>
                <a:gd name="T44" fmla="*/ 3 w 766"/>
                <a:gd name="T45" fmla="*/ 465 h 546"/>
                <a:gd name="T46" fmla="*/ 76 w 766"/>
                <a:gd name="T47" fmla="*/ 475 h 546"/>
                <a:gd name="T48" fmla="*/ 149 w 766"/>
                <a:gd name="T49" fmla="*/ 522 h 546"/>
                <a:gd name="T50" fmla="*/ 236 w 766"/>
                <a:gd name="T51" fmla="*/ 522 h 546"/>
                <a:gd name="T52" fmla="*/ 300 w 766"/>
                <a:gd name="T53" fmla="*/ 513 h 546"/>
                <a:gd name="T54" fmla="*/ 362 w 766"/>
                <a:gd name="T55" fmla="*/ 522 h 546"/>
                <a:gd name="T56" fmla="*/ 444 w 766"/>
                <a:gd name="T57" fmla="*/ 510 h 546"/>
                <a:gd name="T58" fmla="*/ 499 w 766"/>
                <a:gd name="T59" fmla="*/ 477 h 546"/>
                <a:gd name="T60" fmla="*/ 532 w 766"/>
                <a:gd name="T61" fmla="*/ 456 h 546"/>
                <a:gd name="T62" fmla="*/ 737 w 766"/>
                <a:gd name="T63" fmla="*/ 295 h 546"/>
                <a:gd name="T64" fmla="*/ 763 w 766"/>
                <a:gd name="T65" fmla="*/ 305 h 546"/>
                <a:gd name="T66" fmla="*/ 737 w 766"/>
                <a:gd name="T67" fmla="*/ 338 h 546"/>
                <a:gd name="T68" fmla="*/ 707 w 766"/>
                <a:gd name="T69" fmla="*/ 392 h 546"/>
                <a:gd name="T70" fmla="*/ 721 w 766"/>
                <a:gd name="T71" fmla="*/ 411 h 546"/>
                <a:gd name="T72" fmla="*/ 709 w 766"/>
                <a:gd name="T73" fmla="*/ 428 h 546"/>
                <a:gd name="T74" fmla="*/ 695 w 766"/>
                <a:gd name="T75" fmla="*/ 435 h 546"/>
                <a:gd name="T76" fmla="*/ 723 w 766"/>
                <a:gd name="T77" fmla="*/ 456 h 546"/>
                <a:gd name="T78" fmla="*/ 744 w 766"/>
                <a:gd name="T79" fmla="*/ 482 h 546"/>
                <a:gd name="T80" fmla="*/ 723 w 766"/>
                <a:gd name="T81" fmla="*/ 510 h 546"/>
                <a:gd name="T82" fmla="*/ 702 w 766"/>
                <a:gd name="T83" fmla="*/ 503 h 546"/>
                <a:gd name="T84" fmla="*/ 669 w 766"/>
                <a:gd name="T85" fmla="*/ 503 h 546"/>
                <a:gd name="T86" fmla="*/ 595 w 766"/>
                <a:gd name="T87" fmla="*/ 508 h 546"/>
                <a:gd name="T88" fmla="*/ 610 w 766"/>
                <a:gd name="T89" fmla="*/ 472 h 546"/>
                <a:gd name="T90" fmla="*/ 614 w 766"/>
                <a:gd name="T91" fmla="*/ 454 h 546"/>
                <a:gd name="T92" fmla="*/ 593 w 766"/>
                <a:gd name="T93" fmla="*/ 439 h 546"/>
                <a:gd name="T94" fmla="*/ 565 w 766"/>
                <a:gd name="T95" fmla="*/ 406 h 546"/>
                <a:gd name="T96" fmla="*/ 546 w 766"/>
                <a:gd name="T97" fmla="*/ 371 h 546"/>
                <a:gd name="T98" fmla="*/ 536 w 766"/>
                <a:gd name="T99" fmla="*/ 307 h 546"/>
                <a:gd name="T100" fmla="*/ 544 w 766"/>
                <a:gd name="T101" fmla="*/ 269 h 546"/>
                <a:gd name="T102" fmla="*/ 565 w 766"/>
                <a:gd name="T103" fmla="*/ 279 h 546"/>
                <a:gd name="T104" fmla="*/ 555 w 766"/>
                <a:gd name="T105" fmla="*/ 291 h 546"/>
                <a:gd name="T106" fmla="*/ 569 w 766"/>
                <a:gd name="T107" fmla="*/ 302 h 546"/>
                <a:gd name="T108" fmla="*/ 598 w 766"/>
                <a:gd name="T109" fmla="*/ 291 h 546"/>
                <a:gd name="T110" fmla="*/ 636 w 766"/>
                <a:gd name="T111" fmla="*/ 30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66" h="546">
                  <a:moveTo>
                    <a:pt x="532" y="456"/>
                  </a:moveTo>
                  <a:lnTo>
                    <a:pt x="458" y="394"/>
                  </a:lnTo>
                  <a:lnTo>
                    <a:pt x="468" y="380"/>
                  </a:lnTo>
                  <a:lnTo>
                    <a:pt x="480" y="354"/>
                  </a:lnTo>
                  <a:lnTo>
                    <a:pt x="477" y="326"/>
                  </a:lnTo>
                  <a:lnTo>
                    <a:pt x="477" y="291"/>
                  </a:lnTo>
                  <a:lnTo>
                    <a:pt x="484" y="231"/>
                  </a:lnTo>
                  <a:lnTo>
                    <a:pt x="489" y="189"/>
                  </a:lnTo>
                  <a:lnTo>
                    <a:pt x="499" y="137"/>
                  </a:lnTo>
                  <a:lnTo>
                    <a:pt x="482" y="135"/>
                  </a:lnTo>
                  <a:lnTo>
                    <a:pt x="461" y="144"/>
                  </a:lnTo>
                  <a:lnTo>
                    <a:pt x="440" y="132"/>
                  </a:lnTo>
                  <a:lnTo>
                    <a:pt x="423" y="125"/>
                  </a:lnTo>
                  <a:lnTo>
                    <a:pt x="416" y="106"/>
                  </a:lnTo>
                  <a:lnTo>
                    <a:pt x="414" y="92"/>
                  </a:lnTo>
                  <a:lnTo>
                    <a:pt x="423" y="76"/>
                  </a:lnTo>
                  <a:lnTo>
                    <a:pt x="442" y="40"/>
                  </a:lnTo>
                  <a:lnTo>
                    <a:pt x="442" y="21"/>
                  </a:lnTo>
                  <a:lnTo>
                    <a:pt x="409" y="12"/>
                  </a:lnTo>
                  <a:lnTo>
                    <a:pt x="357" y="0"/>
                  </a:lnTo>
                  <a:lnTo>
                    <a:pt x="303" y="17"/>
                  </a:lnTo>
                  <a:lnTo>
                    <a:pt x="260" y="33"/>
                  </a:lnTo>
                  <a:lnTo>
                    <a:pt x="248" y="21"/>
                  </a:lnTo>
                  <a:lnTo>
                    <a:pt x="215" y="24"/>
                  </a:lnTo>
                  <a:lnTo>
                    <a:pt x="177" y="57"/>
                  </a:lnTo>
                  <a:lnTo>
                    <a:pt x="196" y="94"/>
                  </a:lnTo>
                  <a:lnTo>
                    <a:pt x="173" y="113"/>
                  </a:lnTo>
                  <a:lnTo>
                    <a:pt x="154" y="135"/>
                  </a:lnTo>
                  <a:lnTo>
                    <a:pt x="142" y="161"/>
                  </a:lnTo>
                  <a:lnTo>
                    <a:pt x="125" y="194"/>
                  </a:lnTo>
                  <a:lnTo>
                    <a:pt x="111" y="189"/>
                  </a:lnTo>
                  <a:lnTo>
                    <a:pt x="114" y="170"/>
                  </a:lnTo>
                  <a:lnTo>
                    <a:pt x="92" y="158"/>
                  </a:lnTo>
                  <a:lnTo>
                    <a:pt x="83" y="172"/>
                  </a:lnTo>
                  <a:lnTo>
                    <a:pt x="59" y="196"/>
                  </a:lnTo>
                  <a:lnTo>
                    <a:pt x="47" y="208"/>
                  </a:lnTo>
                  <a:lnTo>
                    <a:pt x="43" y="262"/>
                  </a:lnTo>
                  <a:lnTo>
                    <a:pt x="38" y="279"/>
                  </a:lnTo>
                  <a:lnTo>
                    <a:pt x="26" y="300"/>
                  </a:lnTo>
                  <a:lnTo>
                    <a:pt x="10" y="314"/>
                  </a:lnTo>
                  <a:lnTo>
                    <a:pt x="0" y="335"/>
                  </a:lnTo>
                  <a:lnTo>
                    <a:pt x="0" y="357"/>
                  </a:lnTo>
                  <a:lnTo>
                    <a:pt x="33" y="411"/>
                  </a:lnTo>
                  <a:lnTo>
                    <a:pt x="38" y="423"/>
                  </a:lnTo>
                  <a:lnTo>
                    <a:pt x="14" y="442"/>
                  </a:lnTo>
                  <a:lnTo>
                    <a:pt x="3" y="465"/>
                  </a:lnTo>
                  <a:lnTo>
                    <a:pt x="17" y="468"/>
                  </a:lnTo>
                  <a:lnTo>
                    <a:pt x="76" y="475"/>
                  </a:lnTo>
                  <a:lnTo>
                    <a:pt x="97" y="482"/>
                  </a:lnTo>
                  <a:lnTo>
                    <a:pt x="149" y="522"/>
                  </a:lnTo>
                  <a:lnTo>
                    <a:pt x="196" y="539"/>
                  </a:lnTo>
                  <a:lnTo>
                    <a:pt x="236" y="522"/>
                  </a:lnTo>
                  <a:lnTo>
                    <a:pt x="258" y="515"/>
                  </a:lnTo>
                  <a:lnTo>
                    <a:pt x="300" y="513"/>
                  </a:lnTo>
                  <a:lnTo>
                    <a:pt x="326" y="508"/>
                  </a:lnTo>
                  <a:lnTo>
                    <a:pt x="362" y="522"/>
                  </a:lnTo>
                  <a:lnTo>
                    <a:pt x="397" y="546"/>
                  </a:lnTo>
                  <a:lnTo>
                    <a:pt x="444" y="510"/>
                  </a:lnTo>
                  <a:lnTo>
                    <a:pt x="470" y="489"/>
                  </a:lnTo>
                  <a:lnTo>
                    <a:pt x="499" y="477"/>
                  </a:lnTo>
                  <a:lnTo>
                    <a:pt x="527" y="463"/>
                  </a:lnTo>
                  <a:lnTo>
                    <a:pt x="532" y="456"/>
                  </a:lnTo>
                  <a:close/>
                  <a:moveTo>
                    <a:pt x="704" y="295"/>
                  </a:moveTo>
                  <a:lnTo>
                    <a:pt x="737" y="295"/>
                  </a:lnTo>
                  <a:lnTo>
                    <a:pt x="747" y="300"/>
                  </a:lnTo>
                  <a:lnTo>
                    <a:pt x="763" y="305"/>
                  </a:lnTo>
                  <a:lnTo>
                    <a:pt x="766" y="324"/>
                  </a:lnTo>
                  <a:lnTo>
                    <a:pt x="737" y="338"/>
                  </a:lnTo>
                  <a:lnTo>
                    <a:pt x="716" y="359"/>
                  </a:lnTo>
                  <a:lnTo>
                    <a:pt x="707" y="392"/>
                  </a:lnTo>
                  <a:lnTo>
                    <a:pt x="714" y="402"/>
                  </a:lnTo>
                  <a:lnTo>
                    <a:pt x="721" y="411"/>
                  </a:lnTo>
                  <a:lnTo>
                    <a:pt x="716" y="423"/>
                  </a:lnTo>
                  <a:lnTo>
                    <a:pt x="709" y="428"/>
                  </a:lnTo>
                  <a:lnTo>
                    <a:pt x="695" y="425"/>
                  </a:lnTo>
                  <a:lnTo>
                    <a:pt x="695" y="435"/>
                  </a:lnTo>
                  <a:lnTo>
                    <a:pt x="725" y="442"/>
                  </a:lnTo>
                  <a:lnTo>
                    <a:pt x="723" y="456"/>
                  </a:lnTo>
                  <a:lnTo>
                    <a:pt x="732" y="465"/>
                  </a:lnTo>
                  <a:lnTo>
                    <a:pt x="744" y="482"/>
                  </a:lnTo>
                  <a:lnTo>
                    <a:pt x="747" y="489"/>
                  </a:lnTo>
                  <a:lnTo>
                    <a:pt x="723" y="510"/>
                  </a:lnTo>
                  <a:lnTo>
                    <a:pt x="716" y="506"/>
                  </a:lnTo>
                  <a:lnTo>
                    <a:pt x="702" y="503"/>
                  </a:lnTo>
                  <a:lnTo>
                    <a:pt x="690" y="501"/>
                  </a:lnTo>
                  <a:lnTo>
                    <a:pt x="669" y="503"/>
                  </a:lnTo>
                  <a:lnTo>
                    <a:pt x="626" y="482"/>
                  </a:lnTo>
                  <a:lnTo>
                    <a:pt x="595" y="508"/>
                  </a:lnTo>
                  <a:lnTo>
                    <a:pt x="586" y="494"/>
                  </a:lnTo>
                  <a:lnTo>
                    <a:pt x="610" y="472"/>
                  </a:lnTo>
                  <a:lnTo>
                    <a:pt x="614" y="463"/>
                  </a:lnTo>
                  <a:lnTo>
                    <a:pt x="614" y="454"/>
                  </a:lnTo>
                  <a:lnTo>
                    <a:pt x="605" y="444"/>
                  </a:lnTo>
                  <a:lnTo>
                    <a:pt x="593" y="439"/>
                  </a:lnTo>
                  <a:lnTo>
                    <a:pt x="574" y="425"/>
                  </a:lnTo>
                  <a:lnTo>
                    <a:pt x="565" y="406"/>
                  </a:lnTo>
                  <a:lnTo>
                    <a:pt x="553" y="390"/>
                  </a:lnTo>
                  <a:lnTo>
                    <a:pt x="546" y="371"/>
                  </a:lnTo>
                  <a:lnTo>
                    <a:pt x="539" y="338"/>
                  </a:lnTo>
                  <a:lnTo>
                    <a:pt x="536" y="307"/>
                  </a:lnTo>
                  <a:lnTo>
                    <a:pt x="536" y="283"/>
                  </a:lnTo>
                  <a:lnTo>
                    <a:pt x="544" y="269"/>
                  </a:lnTo>
                  <a:lnTo>
                    <a:pt x="555" y="269"/>
                  </a:lnTo>
                  <a:lnTo>
                    <a:pt x="565" y="279"/>
                  </a:lnTo>
                  <a:lnTo>
                    <a:pt x="567" y="286"/>
                  </a:lnTo>
                  <a:lnTo>
                    <a:pt x="555" y="291"/>
                  </a:lnTo>
                  <a:lnTo>
                    <a:pt x="558" y="298"/>
                  </a:lnTo>
                  <a:lnTo>
                    <a:pt x="569" y="302"/>
                  </a:lnTo>
                  <a:lnTo>
                    <a:pt x="581" y="302"/>
                  </a:lnTo>
                  <a:lnTo>
                    <a:pt x="598" y="291"/>
                  </a:lnTo>
                  <a:lnTo>
                    <a:pt x="612" y="274"/>
                  </a:lnTo>
                  <a:lnTo>
                    <a:pt x="636" y="300"/>
                  </a:lnTo>
                  <a:lnTo>
                    <a:pt x="704" y="295"/>
                  </a:lnTo>
                  <a:close/>
                </a:path>
              </a:pathLst>
            </a:custGeom>
            <a:pattFill prst="dkVert">
              <a:fgClr>
                <a:schemeClr val="accent2"/>
              </a:fgClr>
              <a:bgClr>
                <a:schemeClr val="bg1"/>
              </a:bgClr>
            </a:patt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68" name="Freeform 18">
              <a:extLst>
                <a:ext uri="{FF2B5EF4-FFF2-40B4-BE49-F238E27FC236}">
                  <a16:creationId xmlns:a16="http://schemas.microsoft.com/office/drawing/2014/main" id="{8AF42B5D-0EB3-4E1C-AE8C-F5AA99E6926C}"/>
                </a:ext>
              </a:extLst>
            </p:cNvPr>
            <p:cNvSpPr>
              <a:spLocks/>
            </p:cNvSpPr>
            <p:nvPr/>
          </p:nvSpPr>
          <p:spPr bwMode="gray">
            <a:xfrm>
              <a:off x="9348" y="3106"/>
              <a:ext cx="617" cy="577"/>
            </a:xfrm>
            <a:custGeom>
              <a:avLst/>
              <a:gdLst>
                <a:gd name="T0" fmla="*/ 176 w 261"/>
                <a:gd name="T1" fmla="*/ 139 h 244"/>
                <a:gd name="T2" fmla="*/ 179 w 261"/>
                <a:gd name="T3" fmla="*/ 122 h 244"/>
                <a:gd name="T4" fmla="*/ 176 w 261"/>
                <a:gd name="T5" fmla="*/ 118 h 244"/>
                <a:gd name="T6" fmla="*/ 178 w 261"/>
                <a:gd name="T7" fmla="*/ 108 h 244"/>
                <a:gd name="T8" fmla="*/ 197 w 261"/>
                <a:gd name="T9" fmla="*/ 100 h 244"/>
                <a:gd name="T10" fmla="*/ 215 w 261"/>
                <a:gd name="T11" fmla="*/ 87 h 244"/>
                <a:gd name="T12" fmla="*/ 229 w 261"/>
                <a:gd name="T13" fmla="*/ 79 h 244"/>
                <a:gd name="T14" fmla="*/ 248 w 261"/>
                <a:gd name="T15" fmla="*/ 61 h 244"/>
                <a:gd name="T16" fmla="*/ 251 w 261"/>
                <a:gd name="T17" fmla="*/ 48 h 244"/>
                <a:gd name="T18" fmla="*/ 256 w 261"/>
                <a:gd name="T19" fmla="*/ 34 h 244"/>
                <a:gd name="T20" fmla="*/ 260 w 261"/>
                <a:gd name="T21" fmla="*/ 26 h 244"/>
                <a:gd name="T22" fmla="*/ 235 w 261"/>
                <a:gd name="T23" fmla="*/ 28 h 244"/>
                <a:gd name="T24" fmla="*/ 182 w 261"/>
                <a:gd name="T25" fmla="*/ 23 h 244"/>
                <a:gd name="T26" fmla="*/ 174 w 261"/>
                <a:gd name="T27" fmla="*/ 10 h 244"/>
                <a:gd name="T28" fmla="*/ 157 w 261"/>
                <a:gd name="T29" fmla="*/ 11 h 244"/>
                <a:gd name="T30" fmla="*/ 143 w 261"/>
                <a:gd name="T31" fmla="*/ 11 h 244"/>
                <a:gd name="T32" fmla="*/ 123 w 261"/>
                <a:gd name="T33" fmla="*/ 13 h 244"/>
                <a:gd name="T34" fmla="*/ 114 w 261"/>
                <a:gd name="T35" fmla="*/ 0 h 244"/>
                <a:gd name="T36" fmla="*/ 96 w 261"/>
                <a:gd name="T37" fmla="*/ 14 h 244"/>
                <a:gd name="T38" fmla="*/ 80 w 261"/>
                <a:gd name="T39" fmla="*/ 15 h 244"/>
                <a:gd name="T40" fmla="*/ 70 w 261"/>
                <a:gd name="T41" fmla="*/ 12 h 244"/>
                <a:gd name="T42" fmla="*/ 39 w 261"/>
                <a:gd name="T43" fmla="*/ 5 h 244"/>
                <a:gd name="T44" fmla="*/ 19 w 261"/>
                <a:gd name="T45" fmla="*/ 8 h 244"/>
                <a:gd name="T46" fmla="*/ 6 w 261"/>
                <a:gd name="T47" fmla="*/ 42 h 244"/>
                <a:gd name="T48" fmla="*/ 51 w 261"/>
                <a:gd name="T49" fmla="*/ 40 h 244"/>
                <a:gd name="T50" fmla="*/ 65 w 261"/>
                <a:gd name="T51" fmla="*/ 52 h 244"/>
                <a:gd name="T52" fmla="*/ 53 w 261"/>
                <a:gd name="T53" fmla="*/ 74 h 244"/>
                <a:gd name="T54" fmla="*/ 57 w 261"/>
                <a:gd name="T55" fmla="*/ 88 h 244"/>
                <a:gd name="T56" fmla="*/ 73 w 261"/>
                <a:gd name="T57" fmla="*/ 96 h 244"/>
                <a:gd name="T58" fmla="*/ 89 w 261"/>
                <a:gd name="T59" fmla="*/ 93 h 244"/>
                <a:gd name="T60" fmla="*/ 83 w 261"/>
                <a:gd name="T61" fmla="*/ 133 h 244"/>
                <a:gd name="T62" fmla="*/ 80 w 261"/>
                <a:gd name="T63" fmla="*/ 173 h 244"/>
                <a:gd name="T64" fmla="*/ 76 w 261"/>
                <a:gd name="T65" fmla="*/ 196 h 244"/>
                <a:gd name="T66" fmla="*/ 103 w 261"/>
                <a:gd name="T67" fmla="*/ 228 h 244"/>
                <a:gd name="T68" fmla="*/ 126 w 261"/>
                <a:gd name="T69" fmla="*/ 244 h 244"/>
                <a:gd name="T70" fmla="*/ 138 w 261"/>
                <a:gd name="T71" fmla="*/ 231 h 244"/>
                <a:gd name="T72" fmla="*/ 134 w 261"/>
                <a:gd name="T73" fmla="*/ 223 h 244"/>
                <a:gd name="T74" fmla="*/ 121 w 261"/>
                <a:gd name="T75" fmla="*/ 215 h 244"/>
                <a:gd name="T76" fmla="*/ 112 w 261"/>
                <a:gd name="T77" fmla="*/ 200 h 244"/>
                <a:gd name="T78" fmla="*/ 106 w 261"/>
                <a:gd name="T79" fmla="*/ 178 h 244"/>
                <a:gd name="T80" fmla="*/ 105 w 261"/>
                <a:gd name="T81" fmla="*/ 155 h 244"/>
                <a:gd name="T82" fmla="*/ 113 w 261"/>
                <a:gd name="T83" fmla="*/ 149 h 244"/>
                <a:gd name="T84" fmla="*/ 118 w 261"/>
                <a:gd name="T85" fmla="*/ 156 h 244"/>
                <a:gd name="T86" fmla="*/ 114 w 261"/>
                <a:gd name="T87" fmla="*/ 161 h 244"/>
                <a:gd name="T88" fmla="*/ 124 w 261"/>
                <a:gd name="T89" fmla="*/ 163 h 244"/>
                <a:gd name="T90" fmla="*/ 137 w 261"/>
                <a:gd name="T91" fmla="*/ 151 h 244"/>
                <a:gd name="T92" fmla="*/ 176 w 261"/>
                <a:gd name="T93" fmla="*/ 16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1" h="244">
                  <a:moveTo>
                    <a:pt x="176" y="160"/>
                  </a:moveTo>
                  <a:cubicBezTo>
                    <a:pt x="176" y="139"/>
                    <a:pt x="176" y="139"/>
                    <a:pt x="176" y="139"/>
                  </a:cubicBezTo>
                  <a:cubicBezTo>
                    <a:pt x="181" y="126"/>
                    <a:pt x="181" y="126"/>
                    <a:pt x="181" y="126"/>
                  </a:cubicBezTo>
                  <a:cubicBezTo>
                    <a:pt x="179" y="122"/>
                    <a:pt x="179" y="122"/>
                    <a:pt x="179" y="122"/>
                  </a:cubicBezTo>
                  <a:cubicBezTo>
                    <a:pt x="177" y="123"/>
                    <a:pt x="177" y="123"/>
                    <a:pt x="177" y="123"/>
                  </a:cubicBezTo>
                  <a:cubicBezTo>
                    <a:pt x="176" y="118"/>
                    <a:pt x="176" y="118"/>
                    <a:pt x="176" y="118"/>
                  </a:cubicBezTo>
                  <a:cubicBezTo>
                    <a:pt x="170" y="119"/>
                    <a:pt x="170" y="119"/>
                    <a:pt x="170" y="119"/>
                  </a:cubicBezTo>
                  <a:cubicBezTo>
                    <a:pt x="178" y="108"/>
                    <a:pt x="178" y="108"/>
                    <a:pt x="178" y="108"/>
                  </a:cubicBezTo>
                  <a:cubicBezTo>
                    <a:pt x="185" y="104"/>
                    <a:pt x="185" y="104"/>
                    <a:pt x="185" y="104"/>
                  </a:cubicBezTo>
                  <a:cubicBezTo>
                    <a:pt x="197" y="100"/>
                    <a:pt x="197" y="100"/>
                    <a:pt x="197" y="100"/>
                  </a:cubicBezTo>
                  <a:cubicBezTo>
                    <a:pt x="208" y="93"/>
                    <a:pt x="208" y="93"/>
                    <a:pt x="208" y="93"/>
                  </a:cubicBezTo>
                  <a:cubicBezTo>
                    <a:pt x="215" y="87"/>
                    <a:pt x="215" y="87"/>
                    <a:pt x="215" y="87"/>
                  </a:cubicBezTo>
                  <a:cubicBezTo>
                    <a:pt x="219" y="86"/>
                    <a:pt x="219" y="86"/>
                    <a:pt x="219" y="86"/>
                  </a:cubicBezTo>
                  <a:cubicBezTo>
                    <a:pt x="229" y="79"/>
                    <a:pt x="229" y="79"/>
                    <a:pt x="229" y="79"/>
                  </a:cubicBezTo>
                  <a:cubicBezTo>
                    <a:pt x="236" y="69"/>
                    <a:pt x="236" y="69"/>
                    <a:pt x="236" y="69"/>
                  </a:cubicBezTo>
                  <a:cubicBezTo>
                    <a:pt x="248" y="61"/>
                    <a:pt x="248" y="61"/>
                    <a:pt x="248" y="61"/>
                  </a:cubicBezTo>
                  <a:cubicBezTo>
                    <a:pt x="252" y="56"/>
                    <a:pt x="252" y="56"/>
                    <a:pt x="252" y="56"/>
                  </a:cubicBezTo>
                  <a:cubicBezTo>
                    <a:pt x="251" y="48"/>
                    <a:pt x="251" y="48"/>
                    <a:pt x="251" y="48"/>
                  </a:cubicBezTo>
                  <a:cubicBezTo>
                    <a:pt x="251" y="40"/>
                    <a:pt x="251" y="40"/>
                    <a:pt x="251" y="40"/>
                  </a:cubicBezTo>
                  <a:cubicBezTo>
                    <a:pt x="256" y="34"/>
                    <a:pt x="256" y="34"/>
                    <a:pt x="256" y="34"/>
                  </a:cubicBezTo>
                  <a:cubicBezTo>
                    <a:pt x="261" y="29"/>
                    <a:pt x="261" y="29"/>
                    <a:pt x="261" y="29"/>
                  </a:cubicBezTo>
                  <a:cubicBezTo>
                    <a:pt x="260" y="26"/>
                    <a:pt x="260" y="26"/>
                    <a:pt x="260" y="26"/>
                  </a:cubicBezTo>
                  <a:cubicBezTo>
                    <a:pt x="258" y="19"/>
                    <a:pt x="258" y="19"/>
                    <a:pt x="258" y="19"/>
                  </a:cubicBezTo>
                  <a:cubicBezTo>
                    <a:pt x="235" y="28"/>
                    <a:pt x="235" y="28"/>
                    <a:pt x="235" y="28"/>
                  </a:cubicBezTo>
                  <a:cubicBezTo>
                    <a:pt x="211" y="32"/>
                    <a:pt x="211" y="32"/>
                    <a:pt x="211" y="32"/>
                  </a:cubicBezTo>
                  <a:cubicBezTo>
                    <a:pt x="182" y="23"/>
                    <a:pt x="182" y="23"/>
                    <a:pt x="182" y="23"/>
                  </a:cubicBezTo>
                  <a:cubicBezTo>
                    <a:pt x="180" y="15"/>
                    <a:pt x="180" y="15"/>
                    <a:pt x="180" y="15"/>
                  </a:cubicBezTo>
                  <a:cubicBezTo>
                    <a:pt x="174" y="10"/>
                    <a:pt x="174" y="10"/>
                    <a:pt x="174" y="10"/>
                  </a:cubicBezTo>
                  <a:cubicBezTo>
                    <a:pt x="173" y="9"/>
                    <a:pt x="169" y="11"/>
                    <a:pt x="166" y="11"/>
                  </a:cubicBezTo>
                  <a:cubicBezTo>
                    <a:pt x="163" y="11"/>
                    <a:pt x="160" y="11"/>
                    <a:pt x="157" y="11"/>
                  </a:cubicBezTo>
                  <a:cubicBezTo>
                    <a:pt x="155" y="11"/>
                    <a:pt x="152" y="11"/>
                    <a:pt x="150" y="11"/>
                  </a:cubicBezTo>
                  <a:cubicBezTo>
                    <a:pt x="148" y="11"/>
                    <a:pt x="145" y="12"/>
                    <a:pt x="143" y="11"/>
                  </a:cubicBezTo>
                  <a:cubicBezTo>
                    <a:pt x="134" y="13"/>
                    <a:pt x="134" y="13"/>
                    <a:pt x="134" y="13"/>
                  </a:cubicBezTo>
                  <a:cubicBezTo>
                    <a:pt x="123" y="13"/>
                    <a:pt x="123" y="13"/>
                    <a:pt x="123" y="13"/>
                  </a:cubicBezTo>
                  <a:cubicBezTo>
                    <a:pt x="121" y="0"/>
                    <a:pt x="121" y="0"/>
                    <a:pt x="121" y="0"/>
                  </a:cubicBezTo>
                  <a:cubicBezTo>
                    <a:pt x="114" y="0"/>
                    <a:pt x="114" y="0"/>
                    <a:pt x="114" y="0"/>
                  </a:cubicBezTo>
                  <a:cubicBezTo>
                    <a:pt x="106" y="4"/>
                    <a:pt x="106" y="4"/>
                    <a:pt x="106" y="4"/>
                  </a:cubicBezTo>
                  <a:cubicBezTo>
                    <a:pt x="96" y="14"/>
                    <a:pt x="96" y="14"/>
                    <a:pt x="96" y="14"/>
                  </a:cubicBezTo>
                  <a:cubicBezTo>
                    <a:pt x="87" y="10"/>
                    <a:pt x="87" y="10"/>
                    <a:pt x="87" y="10"/>
                  </a:cubicBezTo>
                  <a:cubicBezTo>
                    <a:pt x="80" y="15"/>
                    <a:pt x="80" y="15"/>
                    <a:pt x="80" y="15"/>
                  </a:cubicBezTo>
                  <a:cubicBezTo>
                    <a:pt x="77" y="11"/>
                    <a:pt x="77" y="11"/>
                    <a:pt x="77" y="11"/>
                  </a:cubicBezTo>
                  <a:cubicBezTo>
                    <a:pt x="70" y="12"/>
                    <a:pt x="70" y="12"/>
                    <a:pt x="70" y="12"/>
                  </a:cubicBezTo>
                  <a:cubicBezTo>
                    <a:pt x="58" y="12"/>
                    <a:pt x="58" y="12"/>
                    <a:pt x="58" y="12"/>
                  </a:cubicBezTo>
                  <a:cubicBezTo>
                    <a:pt x="39" y="5"/>
                    <a:pt x="39" y="5"/>
                    <a:pt x="39" y="5"/>
                  </a:cubicBezTo>
                  <a:cubicBezTo>
                    <a:pt x="29" y="10"/>
                    <a:pt x="29" y="10"/>
                    <a:pt x="29" y="10"/>
                  </a:cubicBezTo>
                  <a:cubicBezTo>
                    <a:pt x="19" y="8"/>
                    <a:pt x="19" y="8"/>
                    <a:pt x="19" y="8"/>
                  </a:cubicBezTo>
                  <a:cubicBezTo>
                    <a:pt x="0" y="17"/>
                    <a:pt x="0" y="17"/>
                    <a:pt x="0" y="17"/>
                  </a:cubicBezTo>
                  <a:cubicBezTo>
                    <a:pt x="6" y="42"/>
                    <a:pt x="6" y="42"/>
                    <a:pt x="6" y="42"/>
                  </a:cubicBezTo>
                  <a:cubicBezTo>
                    <a:pt x="29" y="35"/>
                    <a:pt x="29" y="35"/>
                    <a:pt x="29" y="35"/>
                  </a:cubicBezTo>
                  <a:cubicBezTo>
                    <a:pt x="51" y="40"/>
                    <a:pt x="51" y="40"/>
                    <a:pt x="51" y="40"/>
                  </a:cubicBezTo>
                  <a:cubicBezTo>
                    <a:pt x="65" y="44"/>
                    <a:pt x="65" y="44"/>
                    <a:pt x="65" y="44"/>
                  </a:cubicBezTo>
                  <a:cubicBezTo>
                    <a:pt x="65" y="52"/>
                    <a:pt x="65" y="52"/>
                    <a:pt x="65" y="52"/>
                  </a:cubicBezTo>
                  <a:cubicBezTo>
                    <a:pt x="57" y="67"/>
                    <a:pt x="57" y="67"/>
                    <a:pt x="57" y="67"/>
                  </a:cubicBezTo>
                  <a:cubicBezTo>
                    <a:pt x="53" y="74"/>
                    <a:pt x="53" y="74"/>
                    <a:pt x="53" y="74"/>
                  </a:cubicBezTo>
                  <a:cubicBezTo>
                    <a:pt x="54" y="80"/>
                    <a:pt x="54" y="80"/>
                    <a:pt x="54" y="80"/>
                  </a:cubicBezTo>
                  <a:cubicBezTo>
                    <a:pt x="57" y="88"/>
                    <a:pt x="57" y="88"/>
                    <a:pt x="57" y="88"/>
                  </a:cubicBezTo>
                  <a:cubicBezTo>
                    <a:pt x="64" y="91"/>
                    <a:pt x="64" y="91"/>
                    <a:pt x="64" y="91"/>
                  </a:cubicBezTo>
                  <a:cubicBezTo>
                    <a:pt x="73" y="96"/>
                    <a:pt x="73" y="96"/>
                    <a:pt x="73" y="96"/>
                  </a:cubicBezTo>
                  <a:cubicBezTo>
                    <a:pt x="82" y="92"/>
                    <a:pt x="82" y="92"/>
                    <a:pt x="82" y="92"/>
                  </a:cubicBezTo>
                  <a:cubicBezTo>
                    <a:pt x="89" y="93"/>
                    <a:pt x="89" y="93"/>
                    <a:pt x="89" y="93"/>
                  </a:cubicBezTo>
                  <a:cubicBezTo>
                    <a:pt x="85" y="115"/>
                    <a:pt x="85" y="115"/>
                    <a:pt x="85" y="115"/>
                  </a:cubicBezTo>
                  <a:cubicBezTo>
                    <a:pt x="83" y="133"/>
                    <a:pt x="83" y="133"/>
                    <a:pt x="83" y="133"/>
                  </a:cubicBezTo>
                  <a:cubicBezTo>
                    <a:pt x="80" y="158"/>
                    <a:pt x="80" y="158"/>
                    <a:pt x="80" y="158"/>
                  </a:cubicBezTo>
                  <a:cubicBezTo>
                    <a:pt x="80" y="173"/>
                    <a:pt x="80" y="173"/>
                    <a:pt x="80" y="173"/>
                  </a:cubicBezTo>
                  <a:cubicBezTo>
                    <a:pt x="81" y="185"/>
                    <a:pt x="81" y="185"/>
                    <a:pt x="81" y="185"/>
                  </a:cubicBezTo>
                  <a:cubicBezTo>
                    <a:pt x="76" y="196"/>
                    <a:pt x="76" y="196"/>
                    <a:pt x="76" y="196"/>
                  </a:cubicBezTo>
                  <a:cubicBezTo>
                    <a:pt x="72" y="202"/>
                    <a:pt x="72" y="202"/>
                    <a:pt x="72" y="202"/>
                  </a:cubicBezTo>
                  <a:cubicBezTo>
                    <a:pt x="103" y="228"/>
                    <a:pt x="103" y="228"/>
                    <a:pt x="103" y="228"/>
                  </a:cubicBezTo>
                  <a:cubicBezTo>
                    <a:pt x="121" y="239"/>
                    <a:pt x="121" y="239"/>
                    <a:pt x="121" y="239"/>
                  </a:cubicBezTo>
                  <a:cubicBezTo>
                    <a:pt x="126" y="244"/>
                    <a:pt x="126" y="244"/>
                    <a:pt x="126" y="244"/>
                  </a:cubicBezTo>
                  <a:cubicBezTo>
                    <a:pt x="136" y="235"/>
                    <a:pt x="136" y="235"/>
                    <a:pt x="136" y="235"/>
                  </a:cubicBezTo>
                  <a:cubicBezTo>
                    <a:pt x="138" y="231"/>
                    <a:pt x="138" y="231"/>
                    <a:pt x="138" y="231"/>
                  </a:cubicBezTo>
                  <a:cubicBezTo>
                    <a:pt x="138" y="227"/>
                    <a:pt x="138" y="227"/>
                    <a:pt x="138" y="227"/>
                  </a:cubicBezTo>
                  <a:cubicBezTo>
                    <a:pt x="134" y="223"/>
                    <a:pt x="134" y="223"/>
                    <a:pt x="134" y="223"/>
                  </a:cubicBezTo>
                  <a:cubicBezTo>
                    <a:pt x="129" y="221"/>
                    <a:pt x="129" y="221"/>
                    <a:pt x="129" y="221"/>
                  </a:cubicBezTo>
                  <a:cubicBezTo>
                    <a:pt x="121" y="215"/>
                    <a:pt x="121" y="215"/>
                    <a:pt x="121" y="215"/>
                  </a:cubicBezTo>
                  <a:cubicBezTo>
                    <a:pt x="117" y="207"/>
                    <a:pt x="117" y="207"/>
                    <a:pt x="117" y="207"/>
                  </a:cubicBezTo>
                  <a:cubicBezTo>
                    <a:pt x="112" y="200"/>
                    <a:pt x="112" y="200"/>
                    <a:pt x="112" y="200"/>
                  </a:cubicBezTo>
                  <a:cubicBezTo>
                    <a:pt x="109" y="192"/>
                    <a:pt x="109" y="192"/>
                    <a:pt x="109" y="192"/>
                  </a:cubicBezTo>
                  <a:cubicBezTo>
                    <a:pt x="106" y="178"/>
                    <a:pt x="106" y="178"/>
                    <a:pt x="106" y="178"/>
                  </a:cubicBezTo>
                  <a:cubicBezTo>
                    <a:pt x="105" y="165"/>
                    <a:pt x="105" y="165"/>
                    <a:pt x="105" y="165"/>
                  </a:cubicBezTo>
                  <a:cubicBezTo>
                    <a:pt x="105" y="155"/>
                    <a:pt x="105" y="155"/>
                    <a:pt x="105" y="155"/>
                  </a:cubicBezTo>
                  <a:cubicBezTo>
                    <a:pt x="108" y="149"/>
                    <a:pt x="108" y="149"/>
                    <a:pt x="108" y="149"/>
                  </a:cubicBezTo>
                  <a:cubicBezTo>
                    <a:pt x="113" y="149"/>
                    <a:pt x="113" y="149"/>
                    <a:pt x="113" y="149"/>
                  </a:cubicBezTo>
                  <a:cubicBezTo>
                    <a:pt x="117" y="153"/>
                    <a:pt x="117" y="153"/>
                    <a:pt x="117" y="153"/>
                  </a:cubicBezTo>
                  <a:cubicBezTo>
                    <a:pt x="118" y="156"/>
                    <a:pt x="118" y="156"/>
                    <a:pt x="118" y="156"/>
                  </a:cubicBezTo>
                  <a:cubicBezTo>
                    <a:pt x="113" y="158"/>
                    <a:pt x="113" y="158"/>
                    <a:pt x="113" y="158"/>
                  </a:cubicBezTo>
                  <a:cubicBezTo>
                    <a:pt x="114" y="161"/>
                    <a:pt x="114" y="161"/>
                    <a:pt x="114" y="161"/>
                  </a:cubicBezTo>
                  <a:cubicBezTo>
                    <a:pt x="119" y="163"/>
                    <a:pt x="119" y="163"/>
                    <a:pt x="119" y="163"/>
                  </a:cubicBezTo>
                  <a:cubicBezTo>
                    <a:pt x="124" y="163"/>
                    <a:pt x="124" y="163"/>
                    <a:pt x="124" y="163"/>
                  </a:cubicBezTo>
                  <a:cubicBezTo>
                    <a:pt x="131" y="158"/>
                    <a:pt x="131" y="158"/>
                    <a:pt x="131" y="158"/>
                  </a:cubicBezTo>
                  <a:cubicBezTo>
                    <a:pt x="137" y="151"/>
                    <a:pt x="137" y="151"/>
                    <a:pt x="137" y="151"/>
                  </a:cubicBezTo>
                  <a:cubicBezTo>
                    <a:pt x="147" y="162"/>
                    <a:pt x="147" y="162"/>
                    <a:pt x="147" y="162"/>
                  </a:cubicBezTo>
                  <a:lnTo>
                    <a:pt x="176" y="160"/>
                  </a:lnTo>
                  <a:close/>
                </a:path>
              </a:pathLst>
            </a:custGeom>
            <a:pattFill prst="dkHorz">
              <a:fgClr>
                <a:schemeClr val="accent2"/>
              </a:fgClr>
              <a:bgClr>
                <a:schemeClr val="bg1"/>
              </a:bgClr>
            </a:patt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69" name="Freeform 19">
              <a:extLst>
                <a:ext uri="{FF2B5EF4-FFF2-40B4-BE49-F238E27FC236}">
                  <a16:creationId xmlns:a16="http://schemas.microsoft.com/office/drawing/2014/main" id="{1316DA5F-9788-4979-B530-D577B686C28C}"/>
                </a:ext>
              </a:extLst>
            </p:cNvPr>
            <p:cNvSpPr>
              <a:spLocks/>
            </p:cNvSpPr>
            <p:nvPr/>
          </p:nvSpPr>
          <p:spPr bwMode="gray">
            <a:xfrm>
              <a:off x="10426" y="2691"/>
              <a:ext cx="637" cy="921"/>
            </a:xfrm>
            <a:custGeom>
              <a:avLst/>
              <a:gdLst>
                <a:gd name="T0" fmla="*/ 101 w 270"/>
                <a:gd name="T1" fmla="*/ 16 h 390"/>
                <a:gd name="T2" fmla="*/ 143 w 270"/>
                <a:gd name="T3" fmla="*/ 46 h 390"/>
                <a:gd name="T4" fmla="*/ 166 w 270"/>
                <a:gd name="T5" fmla="*/ 48 h 390"/>
                <a:gd name="T6" fmla="*/ 216 w 270"/>
                <a:gd name="T7" fmla="*/ 58 h 390"/>
                <a:gd name="T8" fmla="*/ 217 w 270"/>
                <a:gd name="T9" fmla="*/ 78 h 390"/>
                <a:gd name="T10" fmla="*/ 219 w 270"/>
                <a:gd name="T11" fmla="*/ 111 h 390"/>
                <a:gd name="T12" fmla="*/ 201 w 270"/>
                <a:gd name="T13" fmla="*/ 127 h 390"/>
                <a:gd name="T14" fmla="*/ 186 w 270"/>
                <a:gd name="T15" fmla="*/ 132 h 390"/>
                <a:gd name="T16" fmla="*/ 188 w 270"/>
                <a:gd name="T17" fmla="*/ 145 h 390"/>
                <a:gd name="T18" fmla="*/ 200 w 270"/>
                <a:gd name="T19" fmla="*/ 153 h 390"/>
                <a:gd name="T20" fmla="*/ 224 w 270"/>
                <a:gd name="T21" fmla="*/ 151 h 390"/>
                <a:gd name="T22" fmla="*/ 238 w 270"/>
                <a:gd name="T23" fmla="*/ 145 h 390"/>
                <a:gd name="T24" fmla="*/ 253 w 270"/>
                <a:gd name="T25" fmla="*/ 153 h 390"/>
                <a:gd name="T26" fmla="*/ 260 w 270"/>
                <a:gd name="T27" fmla="*/ 192 h 390"/>
                <a:gd name="T28" fmla="*/ 255 w 270"/>
                <a:gd name="T29" fmla="*/ 233 h 390"/>
                <a:gd name="T30" fmla="*/ 259 w 270"/>
                <a:gd name="T31" fmla="*/ 241 h 390"/>
                <a:gd name="T32" fmla="*/ 270 w 270"/>
                <a:gd name="T33" fmla="*/ 260 h 390"/>
                <a:gd name="T34" fmla="*/ 258 w 270"/>
                <a:gd name="T35" fmla="*/ 272 h 390"/>
                <a:gd name="T36" fmla="*/ 241 w 270"/>
                <a:gd name="T37" fmla="*/ 291 h 390"/>
                <a:gd name="T38" fmla="*/ 232 w 270"/>
                <a:gd name="T39" fmla="*/ 308 h 390"/>
                <a:gd name="T40" fmla="*/ 208 w 270"/>
                <a:gd name="T41" fmla="*/ 307 h 390"/>
                <a:gd name="T42" fmla="*/ 194 w 270"/>
                <a:gd name="T43" fmla="*/ 315 h 390"/>
                <a:gd name="T44" fmla="*/ 177 w 270"/>
                <a:gd name="T45" fmla="*/ 331 h 390"/>
                <a:gd name="T46" fmla="*/ 166 w 270"/>
                <a:gd name="T47" fmla="*/ 332 h 390"/>
                <a:gd name="T48" fmla="*/ 155 w 270"/>
                <a:gd name="T49" fmla="*/ 314 h 390"/>
                <a:gd name="T50" fmla="*/ 137 w 270"/>
                <a:gd name="T51" fmla="*/ 311 h 390"/>
                <a:gd name="T52" fmla="*/ 125 w 270"/>
                <a:gd name="T53" fmla="*/ 326 h 390"/>
                <a:gd name="T54" fmla="*/ 115 w 270"/>
                <a:gd name="T55" fmla="*/ 354 h 390"/>
                <a:gd name="T56" fmla="*/ 105 w 270"/>
                <a:gd name="T57" fmla="*/ 373 h 390"/>
                <a:gd name="T58" fmla="*/ 70 w 270"/>
                <a:gd name="T59" fmla="*/ 382 h 390"/>
                <a:gd name="T60" fmla="*/ 47 w 270"/>
                <a:gd name="T61" fmla="*/ 390 h 390"/>
                <a:gd name="T62" fmla="*/ 31 w 270"/>
                <a:gd name="T63" fmla="*/ 381 h 390"/>
                <a:gd name="T64" fmla="*/ 9 w 270"/>
                <a:gd name="T65" fmla="*/ 378 h 390"/>
                <a:gd name="T66" fmla="*/ 1 w 270"/>
                <a:gd name="T67" fmla="*/ 353 h 390"/>
                <a:gd name="T68" fmla="*/ 0 w 270"/>
                <a:gd name="T69" fmla="*/ 344 h 390"/>
                <a:gd name="T70" fmla="*/ 26 w 270"/>
                <a:gd name="T71" fmla="*/ 336 h 390"/>
                <a:gd name="T72" fmla="*/ 54 w 270"/>
                <a:gd name="T73" fmla="*/ 321 h 390"/>
                <a:gd name="T74" fmla="*/ 62 w 270"/>
                <a:gd name="T75" fmla="*/ 303 h 390"/>
                <a:gd name="T76" fmla="*/ 51 w 270"/>
                <a:gd name="T77" fmla="*/ 278 h 390"/>
                <a:gd name="T78" fmla="*/ 55 w 270"/>
                <a:gd name="T79" fmla="*/ 264 h 390"/>
                <a:gd name="T80" fmla="*/ 65 w 270"/>
                <a:gd name="T81" fmla="*/ 257 h 390"/>
                <a:gd name="T82" fmla="*/ 61 w 270"/>
                <a:gd name="T83" fmla="*/ 250 h 390"/>
                <a:gd name="T84" fmla="*/ 61 w 270"/>
                <a:gd name="T85" fmla="*/ 240 h 390"/>
                <a:gd name="T86" fmla="*/ 71 w 270"/>
                <a:gd name="T87" fmla="*/ 230 h 390"/>
                <a:gd name="T88" fmla="*/ 55 w 270"/>
                <a:gd name="T89" fmla="*/ 217 h 390"/>
                <a:gd name="T90" fmla="*/ 45 w 270"/>
                <a:gd name="T91" fmla="*/ 202 h 390"/>
                <a:gd name="T92" fmla="*/ 44 w 270"/>
                <a:gd name="T93" fmla="*/ 193 h 390"/>
                <a:gd name="T94" fmla="*/ 36 w 270"/>
                <a:gd name="T95" fmla="*/ 181 h 390"/>
                <a:gd name="T96" fmla="*/ 31 w 270"/>
                <a:gd name="T97" fmla="*/ 178 h 390"/>
                <a:gd name="T98" fmla="*/ 22 w 270"/>
                <a:gd name="T99" fmla="*/ 166 h 390"/>
                <a:gd name="T100" fmla="*/ 23 w 270"/>
                <a:gd name="T101" fmla="*/ 157 h 390"/>
                <a:gd name="T102" fmla="*/ 28 w 270"/>
                <a:gd name="T103" fmla="*/ 141 h 390"/>
                <a:gd name="T104" fmla="*/ 42 w 270"/>
                <a:gd name="T105" fmla="*/ 143 h 390"/>
                <a:gd name="T106" fmla="*/ 64 w 270"/>
                <a:gd name="T107" fmla="*/ 114 h 390"/>
                <a:gd name="T108" fmla="*/ 67 w 270"/>
                <a:gd name="T109" fmla="*/ 94 h 390"/>
                <a:gd name="T110" fmla="*/ 56 w 270"/>
                <a:gd name="T111" fmla="*/ 89 h 390"/>
                <a:gd name="T112" fmla="*/ 64 w 270"/>
                <a:gd name="T113" fmla="*/ 78 h 390"/>
                <a:gd name="T114" fmla="*/ 71 w 270"/>
                <a:gd name="T115" fmla="*/ 70 h 390"/>
                <a:gd name="T116" fmla="*/ 62 w 270"/>
                <a:gd name="T117" fmla="*/ 54 h 390"/>
                <a:gd name="T118" fmla="*/ 87 w 270"/>
                <a:gd name="T119" fmla="*/ 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0" h="390">
                  <a:moveTo>
                    <a:pt x="87" y="0"/>
                  </a:moveTo>
                  <a:cubicBezTo>
                    <a:pt x="89" y="6"/>
                    <a:pt x="96" y="12"/>
                    <a:pt x="101" y="16"/>
                  </a:cubicBezTo>
                  <a:cubicBezTo>
                    <a:pt x="111" y="25"/>
                    <a:pt x="126" y="33"/>
                    <a:pt x="136" y="41"/>
                  </a:cubicBezTo>
                  <a:cubicBezTo>
                    <a:pt x="138" y="43"/>
                    <a:pt x="141" y="45"/>
                    <a:pt x="143" y="46"/>
                  </a:cubicBezTo>
                  <a:cubicBezTo>
                    <a:pt x="146" y="48"/>
                    <a:pt x="150" y="51"/>
                    <a:pt x="154" y="52"/>
                  </a:cubicBezTo>
                  <a:cubicBezTo>
                    <a:pt x="157" y="52"/>
                    <a:pt x="162" y="49"/>
                    <a:pt x="166" y="48"/>
                  </a:cubicBezTo>
                  <a:cubicBezTo>
                    <a:pt x="168" y="47"/>
                    <a:pt x="176" y="45"/>
                    <a:pt x="176" y="45"/>
                  </a:cubicBezTo>
                  <a:cubicBezTo>
                    <a:pt x="216" y="58"/>
                    <a:pt x="216" y="58"/>
                    <a:pt x="216" y="58"/>
                  </a:cubicBezTo>
                  <a:cubicBezTo>
                    <a:pt x="216" y="67"/>
                    <a:pt x="216" y="67"/>
                    <a:pt x="216" y="67"/>
                  </a:cubicBezTo>
                  <a:cubicBezTo>
                    <a:pt x="217" y="78"/>
                    <a:pt x="217" y="78"/>
                    <a:pt x="217" y="78"/>
                  </a:cubicBezTo>
                  <a:cubicBezTo>
                    <a:pt x="218" y="102"/>
                    <a:pt x="218" y="102"/>
                    <a:pt x="218" y="102"/>
                  </a:cubicBezTo>
                  <a:cubicBezTo>
                    <a:pt x="219" y="111"/>
                    <a:pt x="219" y="111"/>
                    <a:pt x="219" y="111"/>
                  </a:cubicBezTo>
                  <a:cubicBezTo>
                    <a:pt x="209" y="124"/>
                    <a:pt x="209" y="124"/>
                    <a:pt x="209" y="124"/>
                  </a:cubicBezTo>
                  <a:cubicBezTo>
                    <a:pt x="201" y="127"/>
                    <a:pt x="201" y="127"/>
                    <a:pt x="201" y="127"/>
                  </a:cubicBezTo>
                  <a:cubicBezTo>
                    <a:pt x="189" y="130"/>
                    <a:pt x="189" y="130"/>
                    <a:pt x="189" y="130"/>
                  </a:cubicBezTo>
                  <a:cubicBezTo>
                    <a:pt x="186" y="132"/>
                    <a:pt x="186" y="132"/>
                    <a:pt x="186" y="132"/>
                  </a:cubicBezTo>
                  <a:cubicBezTo>
                    <a:pt x="185" y="138"/>
                    <a:pt x="185" y="138"/>
                    <a:pt x="185" y="138"/>
                  </a:cubicBezTo>
                  <a:cubicBezTo>
                    <a:pt x="188" y="145"/>
                    <a:pt x="188" y="145"/>
                    <a:pt x="188" y="145"/>
                  </a:cubicBezTo>
                  <a:cubicBezTo>
                    <a:pt x="192" y="150"/>
                    <a:pt x="192" y="150"/>
                    <a:pt x="192" y="150"/>
                  </a:cubicBezTo>
                  <a:cubicBezTo>
                    <a:pt x="200" y="153"/>
                    <a:pt x="200" y="153"/>
                    <a:pt x="200" y="153"/>
                  </a:cubicBezTo>
                  <a:cubicBezTo>
                    <a:pt x="217" y="154"/>
                    <a:pt x="217" y="154"/>
                    <a:pt x="217" y="154"/>
                  </a:cubicBezTo>
                  <a:cubicBezTo>
                    <a:pt x="224" y="151"/>
                    <a:pt x="224" y="151"/>
                    <a:pt x="224" y="151"/>
                  </a:cubicBezTo>
                  <a:cubicBezTo>
                    <a:pt x="231" y="147"/>
                    <a:pt x="231" y="147"/>
                    <a:pt x="231" y="147"/>
                  </a:cubicBezTo>
                  <a:cubicBezTo>
                    <a:pt x="238" y="145"/>
                    <a:pt x="238" y="145"/>
                    <a:pt x="238" y="145"/>
                  </a:cubicBezTo>
                  <a:cubicBezTo>
                    <a:pt x="244" y="147"/>
                    <a:pt x="244" y="147"/>
                    <a:pt x="244" y="147"/>
                  </a:cubicBezTo>
                  <a:cubicBezTo>
                    <a:pt x="253" y="153"/>
                    <a:pt x="253" y="153"/>
                    <a:pt x="253" y="153"/>
                  </a:cubicBezTo>
                  <a:cubicBezTo>
                    <a:pt x="256" y="169"/>
                    <a:pt x="256" y="169"/>
                    <a:pt x="256" y="169"/>
                  </a:cubicBezTo>
                  <a:cubicBezTo>
                    <a:pt x="260" y="192"/>
                    <a:pt x="260" y="192"/>
                    <a:pt x="260" y="192"/>
                  </a:cubicBezTo>
                  <a:cubicBezTo>
                    <a:pt x="262" y="224"/>
                    <a:pt x="262" y="224"/>
                    <a:pt x="262" y="224"/>
                  </a:cubicBezTo>
                  <a:cubicBezTo>
                    <a:pt x="255" y="233"/>
                    <a:pt x="255" y="233"/>
                    <a:pt x="255" y="233"/>
                  </a:cubicBezTo>
                  <a:cubicBezTo>
                    <a:pt x="252" y="236"/>
                    <a:pt x="252" y="236"/>
                    <a:pt x="252" y="236"/>
                  </a:cubicBezTo>
                  <a:cubicBezTo>
                    <a:pt x="259" y="241"/>
                    <a:pt x="259" y="241"/>
                    <a:pt x="259" y="241"/>
                  </a:cubicBezTo>
                  <a:cubicBezTo>
                    <a:pt x="265" y="248"/>
                    <a:pt x="265" y="248"/>
                    <a:pt x="265" y="248"/>
                  </a:cubicBezTo>
                  <a:cubicBezTo>
                    <a:pt x="270" y="260"/>
                    <a:pt x="270" y="260"/>
                    <a:pt x="270" y="260"/>
                  </a:cubicBezTo>
                  <a:cubicBezTo>
                    <a:pt x="267" y="270"/>
                    <a:pt x="267" y="270"/>
                    <a:pt x="267" y="270"/>
                  </a:cubicBezTo>
                  <a:cubicBezTo>
                    <a:pt x="258" y="272"/>
                    <a:pt x="258" y="272"/>
                    <a:pt x="258" y="272"/>
                  </a:cubicBezTo>
                  <a:cubicBezTo>
                    <a:pt x="249" y="281"/>
                    <a:pt x="249" y="281"/>
                    <a:pt x="249" y="281"/>
                  </a:cubicBezTo>
                  <a:cubicBezTo>
                    <a:pt x="241" y="291"/>
                    <a:pt x="241" y="291"/>
                    <a:pt x="241" y="291"/>
                  </a:cubicBezTo>
                  <a:cubicBezTo>
                    <a:pt x="235" y="298"/>
                    <a:pt x="235" y="298"/>
                    <a:pt x="235" y="298"/>
                  </a:cubicBezTo>
                  <a:cubicBezTo>
                    <a:pt x="232" y="308"/>
                    <a:pt x="232" y="308"/>
                    <a:pt x="232" y="308"/>
                  </a:cubicBezTo>
                  <a:cubicBezTo>
                    <a:pt x="224" y="306"/>
                    <a:pt x="224" y="306"/>
                    <a:pt x="224" y="306"/>
                  </a:cubicBezTo>
                  <a:cubicBezTo>
                    <a:pt x="208" y="307"/>
                    <a:pt x="208" y="307"/>
                    <a:pt x="208" y="307"/>
                  </a:cubicBezTo>
                  <a:cubicBezTo>
                    <a:pt x="200" y="309"/>
                    <a:pt x="200" y="309"/>
                    <a:pt x="200" y="309"/>
                  </a:cubicBezTo>
                  <a:cubicBezTo>
                    <a:pt x="194" y="315"/>
                    <a:pt x="194" y="315"/>
                    <a:pt x="194" y="315"/>
                  </a:cubicBezTo>
                  <a:cubicBezTo>
                    <a:pt x="186" y="324"/>
                    <a:pt x="186" y="324"/>
                    <a:pt x="186" y="324"/>
                  </a:cubicBezTo>
                  <a:cubicBezTo>
                    <a:pt x="177" y="331"/>
                    <a:pt x="177" y="331"/>
                    <a:pt x="177" y="331"/>
                  </a:cubicBezTo>
                  <a:cubicBezTo>
                    <a:pt x="172" y="335"/>
                    <a:pt x="172" y="335"/>
                    <a:pt x="172" y="335"/>
                  </a:cubicBezTo>
                  <a:cubicBezTo>
                    <a:pt x="166" y="332"/>
                    <a:pt x="166" y="332"/>
                    <a:pt x="166" y="332"/>
                  </a:cubicBezTo>
                  <a:cubicBezTo>
                    <a:pt x="162" y="325"/>
                    <a:pt x="162" y="325"/>
                    <a:pt x="162" y="325"/>
                  </a:cubicBezTo>
                  <a:cubicBezTo>
                    <a:pt x="155" y="314"/>
                    <a:pt x="155" y="314"/>
                    <a:pt x="155" y="314"/>
                  </a:cubicBezTo>
                  <a:cubicBezTo>
                    <a:pt x="146" y="310"/>
                    <a:pt x="146" y="310"/>
                    <a:pt x="146" y="310"/>
                  </a:cubicBezTo>
                  <a:cubicBezTo>
                    <a:pt x="137" y="311"/>
                    <a:pt x="137" y="311"/>
                    <a:pt x="137" y="311"/>
                  </a:cubicBezTo>
                  <a:cubicBezTo>
                    <a:pt x="128" y="316"/>
                    <a:pt x="128" y="316"/>
                    <a:pt x="128" y="316"/>
                  </a:cubicBezTo>
                  <a:cubicBezTo>
                    <a:pt x="128" y="316"/>
                    <a:pt x="126" y="325"/>
                    <a:pt x="125" y="326"/>
                  </a:cubicBezTo>
                  <a:cubicBezTo>
                    <a:pt x="125" y="327"/>
                    <a:pt x="119" y="339"/>
                    <a:pt x="119" y="339"/>
                  </a:cubicBezTo>
                  <a:cubicBezTo>
                    <a:pt x="115" y="354"/>
                    <a:pt x="115" y="354"/>
                    <a:pt x="115" y="354"/>
                  </a:cubicBezTo>
                  <a:cubicBezTo>
                    <a:pt x="113" y="364"/>
                    <a:pt x="113" y="364"/>
                    <a:pt x="113" y="364"/>
                  </a:cubicBezTo>
                  <a:cubicBezTo>
                    <a:pt x="105" y="373"/>
                    <a:pt x="105" y="373"/>
                    <a:pt x="105" y="373"/>
                  </a:cubicBezTo>
                  <a:cubicBezTo>
                    <a:pt x="92" y="377"/>
                    <a:pt x="92" y="377"/>
                    <a:pt x="92" y="377"/>
                  </a:cubicBezTo>
                  <a:cubicBezTo>
                    <a:pt x="70" y="382"/>
                    <a:pt x="70" y="382"/>
                    <a:pt x="70" y="382"/>
                  </a:cubicBezTo>
                  <a:cubicBezTo>
                    <a:pt x="60" y="385"/>
                    <a:pt x="60" y="385"/>
                    <a:pt x="60" y="385"/>
                  </a:cubicBezTo>
                  <a:cubicBezTo>
                    <a:pt x="47" y="390"/>
                    <a:pt x="47" y="390"/>
                    <a:pt x="47" y="390"/>
                  </a:cubicBezTo>
                  <a:cubicBezTo>
                    <a:pt x="35" y="390"/>
                    <a:pt x="35" y="390"/>
                    <a:pt x="35" y="390"/>
                  </a:cubicBezTo>
                  <a:cubicBezTo>
                    <a:pt x="31" y="381"/>
                    <a:pt x="31" y="381"/>
                    <a:pt x="31" y="381"/>
                  </a:cubicBezTo>
                  <a:cubicBezTo>
                    <a:pt x="19" y="379"/>
                    <a:pt x="19" y="379"/>
                    <a:pt x="19" y="379"/>
                  </a:cubicBezTo>
                  <a:cubicBezTo>
                    <a:pt x="9" y="378"/>
                    <a:pt x="9" y="378"/>
                    <a:pt x="9" y="378"/>
                  </a:cubicBezTo>
                  <a:cubicBezTo>
                    <a:pt x="6" y="366"/>
                    <a:pt x="6" y="366"/>
                    <a:pt x="6" y="366"/>
                  </a:cubicBezTo>
                  <a:cubicBezTo>
                    <a:pt x="1" y="353"/>
                    <a:pt x="1" y="353"/>
                    <a:pt x="1" y="353"/>
                  </a:cubicBezTo>
                  <a:cubicBezTo>
                    <a:pt x="0" y="348"/>
                    <a:pt x="0" y="348"/>
                    <a:pt x="0" y="348"/>
                  </a:cubicBezTo>
                  <a:cubicBezTo>
                    <a:pt x="0" y="344"/>
                    <a:pt x="0" y="344"/>
                    <a:pt x="0" y="344"/>
                  </a:cubicBezTo>
                  <a:cubicBezTo>
                    <a:pt x="12" y="341"/>
                    <a:pt x="12" y="341"/>
                    <a:pt x="12" y="341"/>
                  </a:cubicBezTo>
                  <a:cubicBezTo>
                    <a:pt x="26" y="336"/>
                    <a:pt x="26" y="336"/>
                    <a:pt x="26" y="336"/>
                  </a:cubicBezTo>
                  <a:cubicBezTo>
                    <a:pt x="42" y="330"/>
                    <a:pt x="42" y="330"/>
                    <a:pt x="42" y="330"/>
                  </a:cubicBezTo>
                  <a:cubicBezTo>
                    <a:pt x="54" y="321"/>
                    <a:pt x="54" y="321"/>
                    <a:pt x="54" y="321"/>
                  </a:cubicBezTo>
                  <a:cubicBezTo>
                    <a:pt x="61" y="312"/>
                    <a:pt x="61" y="312"/>
                    <a:pt x="61" y="312"/>
                  </a:cubicBezTo>
                  <a:cubicBezTo>
                    <a:pt x="62" y="303"/>
                    <a:pt x="62" y="303"/>
                    <a:pt x="62" y="303"/>
                  </a:cubicBezTo>
                  <a:cubicBezTo>
                    <a:pt x="60" y="292"/>
                    <a:pt x="60" y="292"/>
                    <a:pt x="60" y="292"/>
                  </a:cubicBezTo>
                  <a:cubicBezTo>
                    <a:pt x="51" y="278"/>
                    <a:pt x="51" y="278"/>
                    <a:pt x="51" y="278"/>
                  </a:cubicBezTo>
                  <a:cubicBezTo>
                    <a:pt x="45" y="269"/>
                    <a:pt x="45" y="269"/>
                    <a:pt x="45" y="269"/>
                  </a:cubicBezTo>
                  <a:cubicBezTo>
                    <a:pt x="55" y="264"/>
                    <a:pt x="55" y="264"/>
                    <a:pt x="55" y="264"/>
                  </a:cubicBezTo>
                  <a:cubicBezTo>
                    <a:pt x="58" y="260"/>
                    <a:pt x="58" y="260"/>
                    <a:pt x="58" y="260"/>
                  </a:cubicBezTo>
                  <a:cubicBezTo>
                    <a:pt x="65" y="257"/>
                    <a:pt x="65" y="257"/>
                    <a:pt x="65" y="257"/>
                  </a:cubicBezTo>
                  <a:cubicBezTo>
                    <a:pt x="63" y="255"/>
                    <a:pt x="63" y="255"/>
                    <a:pt x="63" y="255"/>
                  </a:cubicBezTo>
                  <a:cubicBezTo>
                    <a:pt x="61" y="250"/>
                    <a:pt x="61" y="250"/>
                    <a:pt x="61" y="250"/>
                  </a:cubicBezTo>
                  <a:cubicBezTo>
                    <a:pt x="60" y="245"/>
                    <a:pt x="60" y="245"/>
                    <a:pt x="60" y="245"/>
                  </a:cubicBezTo>
                  <a:cubicBezTo>
                    <a:pt x="61" y="240"/>
                    <a:pt x="61" y="240"/>
                    <a:pt x="61" y="240"/>
                  </a:cubicBezTo>
                  <a:cubicBezTo>
                    <a:pt x="64" y="235"/>
                    <a:pt x="64" y="235"/>
                    <a:pt x="64" y="235"/>
                  </a:cubicBezTo>
                  <a:cubicBezTo>
                    <a:pt x="71" y="230"/>
                    <a:pt x="71" y="230"/>
                    <a:pt x="71" y="230"/>
                  </a:cubicBezTo>
                  <a:cubicBezTo>
                    <a:pt x="65" y="226"/>
                    <a:pt x="65" y="226"/>
                    <a:pt x="65" y="226"/>
                  </a:cubicBezTo>
                  <a:cubicBezTo>
                    <a:pt x="55" y="217"/>
                    <a:pt x="55" y="217"/>
                    <a:pt x="55" y="217"/>
                  </a:cubicBezTo>
                  <a:cubicBezTo>
                    <a:pt x="48" y="207"/>
                    <a:pt x="48" y="207"/>
                    <a:pt x="48" y="207"/>
                  </a:cubicBezTo>
                  <a:cubicBezTo>
                    <a:pt x="45" y="202"/>
                    <a:pt x="45" y="202"/>
                    <a:pt x="45" y="202"/>
                  </a:cubicBezTo>
                  <a:cubicBezTo>
                    <a:pt x="49" y="197"/>
                    <a:pt x="49" y="197"/>
                    <a:pt x="49" y="197"/>
                  </a:cubicBezTo>
                  <a:cubicBezTo>
                    <a:pt x="44" y="193"/>
                    <a:pt x="44" y="193"/>
                    <a:pt x="44" y="193"/>
                  </a:cubicBezTo>
                  <a:cubicBezTo>
                    <a:pt x="37" y="185"/>
                    <a:pt x="37" y="185"/>
                    <a:pt x="37" y="185"/>
                  </a:cubicBezTo>
                  <a:cubicBezTo>
                    <a:pt x="36" y="181"/>
                    <a:pt x="36" y="181"/>
                    <a:pt x="36" y="181"/>
                  </a:cubicBezTo>
                  <a:cubicBezTo>
                    <a:pt x="33" y="182"/>
                    <a:pt x="33" y="182"/>
                    <a:pt x="33" y="182"/>
                  </a:cubicBezTo>
                  <a:cubicBezTo>
                    <a:pt x="31" y="178"/>
                    <a:pt x="31" y="178"/>
                    <a:pt x="31" y="178"/>
                  </a:cubicBezTo>
                  <a:cubicBezTo>
                    <a:pt x="27" y="170"/>
                    <a:pt x="27" y="170"/>
                    <a:pt x="27" y="170"/>
                  </a:cubicBezTo>
                  <a:cubicBezTo>
                    <a:pt x="22" y="166"/>
                    <a:pt x="22" y="166"/>
                    <a:pt x="22" y="166"/>
                  </a:cubicBezTo>
                  <a:cubicBezTo>
                    <a:pt x="18" y="160"/>
                    <a:pt x="18" y="160"/>
                    <a:pt x="18" y="160"/>
                  </a:cubicBezTo>
                  <a:cubicBezTo>
                    <a:pt x="23" y="157"/>
                    <a:pt x="23" y="157"/>
                    <a:pt x="23" y="157"/>
                  </a:cubicBezTo>
                  <a:cubicBezTo>
                    <a:pt x="22" y="141"/>
                    <a:pt x="22" y="141"/>
                    <a:pt x="22" y="141"/>
                  </a:cubicBezTo>
                  <a:cubicBezTo>
                    <a:pt x="28" y="141"/>
                    <a:pt x="28" y="141"/>
                    <a:pt x="28" y="141"/>
                  </a:cubicBezTo>
                  <a:cubicBezTo>
                    <a:pt x="34" y="142"/>
                    <a:pt x="34" y="142"/>
                    <a:pt x="34" y="142"/>
                  </a:cubicBezTo>
                  <a:cubicBezTo>
                    <a:pt x="42" y="143"/>
                    <a:pt x="42" y="143"/>
                    <a:pt x="42" y="143"/>
                  </a:cubicBezTo>
                  <a:cubicBezTo>
                    <a:pt x="56" y="130"/>
                    <a:pt x="56" y="130"/>
                    <a:pt x="56" y="130"/>
                  </a:cubicBezTo>
                  <a:cubicBezTo>
                    <a:pt x="64" y="114"/>
                    <a:pt x="64" y="114"/>
                    <a:pt x="64" y="114"/>
                  </a:cubicBezTo>
                  <a:cubicBezTo>
                    <a:pt x="71" y="95"/>
                    <a:pt x="71" y="95"/>
                    <a:pt x="71" y="95"/>
                  </a:cubicBezTo>
                  <a:cubicBezTo>
                    <a:pt x="67" y="94"/>
                    <a:pt x="67" y="94"/>
                    <a:pt x="67" y="94"/>
                  </a:cubicBezTo>
                  <a:cubicBezTo>
                    <a:pt x="61" y="93"/>
                    <a:pt x="61" y="93"/>
                    <a:pt x="61" y="93"/>
                  </a:cubicBezTo>
                  <a:cubicBezTo>
                    <a:pt x="56" y="89"/>
                    <a:pt x="56" y="89"/>
                    <a:pt x="56" y="89"/>
                  </a:cubicBezTo>
                  <a:cubicBezTo>
                    <a:pt x="58" y="84"/>
                    <a:pt x="58" y="84"/>
                    <a:pt x="58" y="84"/>
                  </a:cubicBezTo>
                  <a:cubicBezTo>
                    <a:pt x="64" y="78"/>
                    <a:pt x="64" y="78"/>
                    <a:pt x="64" y="78"/>
                  </a:cubicBezTo>
                  <a:cubicBezTo>
                    <a:pt x="69" y="75"/>
                    <a:pt x="69" y="75"/>
                    <a:pt x="69" y="75"/>
                  </a:cubicBezTo>
                  <a:cubicBezTo>
                    <a:pt x="71" y="70"/>
                    <a:pt x="71" y="70"/>
                    <a:pt x="71" y="70"/>
                  </a:cubicBezTo>
                  <a:cubicBezTo>
                    <a:pt x="69" y="61"/>
                    <a:pt x="69" y="61"/>
                    <a:pt x="69" y="61"/>
                  </a:cubicBezTo>
                  <a:cubicBezTo>
                    <a:pt x="62" y="54"/>
                    <a:pt x="62" y="54"/>
                    <a:pt x="62" y="54"/>
                  </a:cubicBezTo>
                  <a:cubicBezTo>
                    <a:pt x="84" y="6"/>
                    <a:pt x="84" y="6"/>
                    <a:pt x="84" y="6"/>
                  </a:cubicBezTo>
                  <a:lnTo>
                    <a:pt x="87" y="0"/>
                  </a:lnTo>
                  <a:close/>
                </a:path>
              </a:pathLst>
            </a:custGeom>
            <a:pattFill prst="dkVert">
              <a:fgClr>
                <a:schemeClr val="accent2"/>
              </a:fgClr>
              <a:bgClr>
                <a:schemeClr val="bg1"/>
              </a:bgClr>
            </a:patt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70" name="Freeform 20">
              <a:extLst>
                <a:ext uri="{FF2B5EF4-FFF2-40B4-BE49-F238E27FC236}">
                  <a16:creationId xmlns:a16="http://schemas.microsoft.com/office/drawing/2014/main" id="{B682A8C2-56A8-48B2-A838-F0BFCC1722AC}"/>
                </a:ext>
              </a:extLst>
            </p:cNvPr>
            <p:cNvSpPr>
              <a:spLocks/>
            </p:cNvSpPr>
            <p:nvPr/>
          </p:nvSpPr>
          <p:spPr bwMode="gray">
            <a:xfrm>
              <a:off x="9655" y="2528"/>
              <a:ext cx="482" cy="392"/>
            </a:xfrm>
            <a:custGeom>
              <a:avLst/>
              <a:gdLst>
                <a:gd name="T0" fmla="*/ 191 w 204"/>
                <a:gd name="T1" fmla="*/ 89 h 166"/>
                <a:gd name="T2" fmla="*/ 179 w 204"/>
                <a:gd name="T3" fmla="*/ 86 h 166"/>
                <a:gd name="T4" fmla="*/ 174 w 204"/>
                <a:gd name="T5" fmla="*/ 76 h 166"/>
                <a:gd name="T6" fmla="*/ 158 w 204"/>
                <a:gd name="T7" fmla="*/ 73 h 166"/>
                <a:gd name="T8" fmla="*/ 155 w 204"/>
                <a:gd name="T9" fmla="*/ 62 h 166"/>
                <a:gd name="T10" fmla="*/ 152 w 204"/>
                <a:gd name="T11" fmla="*/ 48 h 166"/>
                <a:gd name="T12" fmla="*/ 147 w 204"/>
                <a:gd name="T13" fmla="*/ 40 h 166"/>
                <a:gd name="T14" fmla="*/ 139 w 204"/>
                <a:gd name="T15" fmla="*/ 33 h 166"/>
                <a:gd name="T16" fmla="*/ 128 w 204"/>
                <a:gd name="T17" fmla="*/ 29 h 166"/>
                <a:gd name="T18" fmla="*/ 111 w 204"/>
                <a:gd name="T19" fmla="*/ 26 h 166"/>
                <a:gd name="T20" fmla="*/ 94 w 204"/>
                <a:gd name="T21" fmla="*/ 28 h 166"/>
                <a:gd name="T22" fmla="*/ 78 w 204"/>
                <a:gd name="T23" fmla="*/ 38 h 166"/>
                <a:gd name="T24" fmla="*/ 53 w 204"/>
                <a:gd name="T25" fmla="*/ 40 h 166"/>
                <a:gd name="T26" fmla="*/ 36 w 204"/>
                <a:gd name="T27" fmla="*/ 32 h 166"/>
                <a:gd name="T28" fmla="*/ 18 w 204"/>
                <a:gd name="T29" fmla="*/ 21 h 166"/>
                <a:gd name="T30" fmla="*/ 9 w 204"/>
                <a:gd name="T31" fmla="*/ 3 h 166"/>
                <a:gd name="T32" fmla="*/ 3 w 204"/>
                <a:gd name="T33" fmla="*/ 9 h 166"/>
                <a:gd name="T34" fmla="*/ 5 w 204"/>
                <a:gd name="T35" fmla="*/ 29 h 166"/>
                <a:gd name="T36" fmla="*/ 9 w 204"/>
                <a:gd name="T37" fmla="*/ 48 h 166"/>
                <a:gd name="T38" fmla="*/ 11 w 204"/>
                <a:gd name="T39" fmla="*/ 69 h 166"/>
                <a:gd name="T40" fmla="*/ 17 w 204"/>
                <a:gd name="T41" fmla="*/ 85 h 166"/>
                <a:gd name="T42" fmla="*/ 11 w 204"/>
                <a:gd name="T43" fmla="*/ 107 h 166"/>
                <a:gd name="T44" fmla="*/ 26 w 204"/>
                <a:gd name="T45" fmla="*/ 129 h 166"/>
                <a:gd name="T46" fmla="*/ 37 w 204"/>
                <a:gd name="T47" fmla="*/ 127 h 166"/>
                <a:gd name="T48" fmla="*/ 41 w 204"/>
                <a:gd name="T49" fmla="*/ 131 h 166"/>
                <a:gd name="T50" fmla="*/ 50 w 204"/>
                <a:gd name="T51" fmla="*/ 136 h 166"/>
                <a:gd name="T52" fmla="*/ 65 w 204"/>
                <a:gd name="T53" fmla="*/ 130 h 166"/>
                <a:gd name="T54" fmla="*/ 72 w 204"/>
                <a:gd name="T55" fmla="*/ 153 h 166"/>
                <a:gd name="T56" fmla="*/ 90 w 204"/>
                <a:gd name="T57" fmla="*/ 160 h 166"/>
                <a:gd name="T58" fmla="*/ 107 w 204"/>
                <a:gd name="T59" fmla="*/ 156 h 166"/>
                <a:gd name="T60" fmla="*/ 121 w 204"/>
                <a:gd name="T61" fmla="*/ 166 h 166"/>
                <a:gd name="T62" fmla="*/ 138 w 204"/>
                <a:gd name="T63" fmla="*/ 162 h 166"/>
                <a:gd name="T64" fmla="*/ 152 w 204"/>
                <a:gd name="T65" fmla="*/ 155 h 166"/>
                <a:gd name="T66" fmla="*/ 167 w 204"/>
                <a:gd name="T67" fmla="*/ 155 h 166"/>
                <a:gd name="T68" fmla="*/ 180 w 204"/>
                <a:gd name="T69" fmla="*/ 154 h 166"/>
                <a:gd name="T70" fmla="*/ 181 w 204"/>
                <a:gd name="T71" fmla="*/ 141 h 166"/>
                <a:gd name="T72" fmla="*/ 191 w 204"/>
                <a:gd name="T73" fmla="*/ 132 h 166"/>
                <a:gd name="T74" fmla="*/ 198 w 204"/>
                <a:gd name="T75" fmla="*/ 112 h 166"/>
                <a:gd name="T76" fmla="*/ 203 w 204"/>
                <a:gd name="T77" fmla="*/ 9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4" h="166">
                  <a:moveTo>
                    <a:pt x="201" y="84"/>
                  </a:moveTo>
                  <a:cubicBezTo>
                    <a:pt x="191" y="89"/>
                    <a:pt x="191" y="89"/>
                    <a:pt x="191" y="89"/>
                  </a:cubicBezTo>
                  <a:cubicBezTo>
                    <a:pt x="182" y="89"/>
                    <a:pt x="182" y="89"/>
                    <a:pt x="182" y="89"/>
                  </a:cubicBezTo>
                  <a:cubicBezTo>
                    <a:pt x="179" y="86"/>
                    <a:pt x="179" y="86"/>
                    <a:pt x="179" y="86"/>
                  </a:cubicBezTo>
                  <a:cubicBezTo>
                    <a:pt x="177" y="77"/>
                    <a:pt x="177" y="77"/>
                    <a:pt x="177" y="77"/>
                  </a:cubicBezTo>
                  <a:cubicBezTo>
                    <a:pt x="174" y="76"/>
                    <a:pt x="174" y="76"/>
                    <a:pt x="174" y="76"/>
                  </a:cubicBezTo>
                  <a:cubicBezTo>
                    <a:pt x="162" y="75"/>
                    <a:pt x="162" y="75"/>
                    <a:pt x="162" y="75"/>
                  </a:cubicBezTo>
                  <a:cubicBezTo>
                    <a:pt x="158" y="73"/>
                    <a:pt x="158" y="73"/>
                    <a:pt x="158" y="73"/>
                  </a:cubicBezTo>
                  <a:cubicBezTo>
                    <a:pt x="156" y="69"/>
                    <a:pt x="156" y="69"/>
                    <a:pt x="156" y="69"/>
                  </a:cubicBezTo>
                  <a:cubicBezTo>
                    <a:pt x="155" y="62"/>
                    <a:pt x="155" y="62"/>
                    <a:pt x="155" y="62"/>
                  </a:cubicBezTo>
                  <a:cubicBezTo>
                    <a:pt x="153" y="55"/>
                    <a:pt x="153" y="55"/>
                    <a:pt x="153" y="55"/>
                  </a:cubicBezTo>
                  <a:cubicBezTo>
                    <a:pt x="152" y="48"/>
                    <a:pt x="152" y="48"/>
                    <a:pt x="152" y="48"/>
                  </a:cubicBezTo>
                  <a:cubicBezTo>
                    <a:pt x="151" y="42"/>
                    <a:pt x="151" y="42"/>
                    <a:pt x="151" y="42"/>
                  </a:cubicBezTo>
                  <a:cubicBezTo>
                    <a:pt x="147" y="40"/>
                    <a:pt x="147" y="40"/>
                    <a:pt x="147" y="40"/>
                  </a:cubicBezTo>
                  <a:cubicBezTo>
                    <a:pt x="143" y="41"/>
                    <a:pt x="143" y="41"/>
                    <a:pt x="143" y="41"/>
                  </a:cubicBezTo>
                  <a:cubicBezTo>
                    <a:pt x="139" y="33"/>
                    <a:pt x="139" y="33"/>
                    <a:pt x="139" y="33"/>
                  </a:cubicBezTo>
                  <a:cubicBezTo>
                    <a:pt x="132" y="34"/>
                    <a:pt x="132" y="34"/>
                    <a:pt x="132" y="34"/>
                  </a:cubicBezTo>
                  <a:cubicBezTo>
                    <a:pt x="128" y="29"/>
                    <a:pt x="128" y="29"/>
                    <a:pt x="128" y="29"/>
                  </a:cubicBezTo>
                  <a:cubicBezTo>
                    <a:pt x="124" y="26"/>
                    <a:pt x="124" y="26"/>
                    <a:pt x="124" y="26"/>
                  </a:cubicBezTo>
                  <a:cubicBezTo>
                    <a:pt x="111" y="26"/>
                    <a:pt x="111" y="26"/>
                    <a:pt x="111" y="26"/>
                  </a:cubicBezTo>
                  <a:cubicBezTo>
                    <a:pt x="101" y="26"/>
                    <a:pt x="101" y="26"/>
                    <a:pt x="101" y="26"/>
                  </a:cubicBezTo>
                  <a:cubicBezTo>
                    <a:pt x="94" y="28"/>
                    <a:pt x="94" y="28"/>
                    <a:pt x="94" y="28"/>
                  </a:cubicBezTo>
                  <a:cubicBezTo>
                    <a:pt x="88" y="34"/>
                    <a:pt x="88" y="34"/>
                    <a:pt x="88" y="34"/>
                  </a:cubicBezTo>
                  <a:cubicBezTo>
                    <a:pt x="78" y="38"/>
                    <a:pt x="78" y="38"/>
                    <a:pt x="78" y="38"/>
                  </a:cubicBezTo>
                  <a:cubicBezTo>
                    <a:pt x="63" y="39"/>
                    <a:pt x="63" y="39"/>
                    <a:pt x="63" y="39"/>
                  </a:cubicBezTo>
                  <a:cubicBezTo>
                    <a:pt x="53" y="40"/>
                    <a:pt x="53" y="40"/>
                    <a:pt x="53" y="40"/>
                  </a:cubicBezTo>
                  <a:cubicBezTo>
                    <a:pt x="41" y="36"/>
                    <a:pt x="41" y="36"/>
                    <a:pt x="41" y="36"/>
                  </a:cubicBezTo>
                  <a:cubicBezTo>
                    <a:pt x="36" y="32"/>
                    <a:pt x="36" y="32"/>
                    <a:pt x="36" y="32"/>
                  </a:cubicBezTo>
                  <a:cubicBezTo>
                    <a:pt x="23" y="33"/>
                    <a:pt x="23" y="33"/>
                    <a:pt x="23" y="33"/>
                  </a:cubicBezTo>
                  <a:cubicBezTo>
                    <a:pt x="21" y="29"/>
                    <a:pt x="19" y="24"/>
                    <a:pt x="18" y="21"/>
                  </a:cubicBezTo>
                  <a:cubicBezTo>
                    <a:pt x="16" y="18"/>
                    <a:pt x="14" y="15"/>
                    <a:pt x="12" y="12"/>
                  </a:cubicBezTo>
                  <a:cubicBezTo>
                    <a:pt x="11" y="9"/>
                    <a:pt x="10" y="6"/>
                    <a:pt x="9" y="3"/>
                  </a:cubicBezTo>
                  <a:cubicBezTo>
                    <a:pt x="8" y="2"/>
                    <a:pt x="8" y="0"/>
                    <a:pt x="8" y="0"/>
                  </a:cubicBezTo>
                  <a:cubicBezTo>
                    <a:pt x="7" y="3"/>
                    <a:pt x="4" y="6"/>
                    <a:pt x="3" y="9"/>
                  </a:cubicBezTo>
                  <a:cubicBezTo>
                    <a:pt x="2" y="11"/>
                    <a:pt x="0" y="15"/>
                    <a:pt x="0" y="17"/>
                  </a:cubicBezTo>
                  <a:cubicBezTo>
                    <a:pt x="0" y="21"/>
                    <a:pt x="4" y="25"/>
                    <a:pt x="5" y="29"/>
                  </a:cubicBezTo>
                  <a:cubicBezTo>
                    <a:pt x="6" y="31"/>
                    <a:pt x="7" y="34"/>
                    <a:pt x="8" y="36"/>
                  </a:cubicBezTo>
                  <a:cubicBezTo>
                    <a:pt x="8" y="40"/>
                    <a:pt x="8" y="44"/>
                    <a:pt x="9" y="48"/>
                  </a:cubicBezTo>
                  <a:cubicBezTo>
                    <a:pt x="9" y="51"/>
                    <a:pt x="8" y="56"/>
                    <a:pt x="9" y="60"/>
                  </a:cubicBezTo>
                  <a:cubicBezTo>
                    <a:pt x="9" y="63"/>
                    <a:pt x="11" y="66"/>
                    <a:pt x="11" y="69"/>
                  </a:cubicBezTo>
                  <a:cubicBezTo>
                    <a:pt x="12" y="72"/>
                    <a:pt x="12" y="75"/>
                    <a:pt x="13" y="78"/>
                  </a:cubicBezTo>
                  <a:cubicBezTo>
                    <a:pt x="14" y="80"/>
                    <a:pt x="17" y="83"/>
                    <a:pt x="17" y="85"/>
                  </a:cubicBezTo>
                  <a:cubicBezTo>
                    <a:pt x="17" y="88"/>
                    <a:pt x="14" y="91"/>
                    <a:pt x="13" y="93"/>
                  </a:cubicBezTo>
                  <a:cubicBezTo>
                    <a:pt x="12" y="97"/>
                    <a:pt x="13" y="103"/>
                    <a:pt x="11" y="107"/>
                  </a:cubicBezTo>
                  <a:cubicBezTo>
                    <a:pt x="20" y="121"/>
                    <a:pt x="20" y="121"/>
                    <a:pt x="20" y="121"/>
                  </a:cubicBezTo>
                  <a:cubicBezTo>
                    <a:pt x="26" y="129"/>
                    <a:pt x="26" y="129"/>
                    <a:pt x="26" y="129"/>
                  </a:cubicBezTo>
                  <a:cubicBezTo>
                    <a:pt x="32" y="131"/>
                    <a:pt x="32" y="131"/>
                    <a:pt x="32" y="131"/>
                  </a:cubicBezTo>
                  <a:cubicBezTo>
                    <a:pt x="37" y="127"/>
                    <a:pt x="37" y="127"/>
                    <a:pt x="37" y="127"/>
                  </a:cubicBezTo>
                  <a:cubicBezTo>
                    <a:pt x="40" y="126"/>
                    <a:pt x="40" y="126"/>
                    <a:pt x="40" y="126"/>
                  </a:cubicBezTo>
                  <a:cubicBezTo>
                    <a:pt x="41" y="131"/>
                    <a:pt x="41" y="131"/>
                    <a:pt x="41" y="131"/>
                  </a:cubicBezTo>
                  <a:cubicBezTo>
                    <a:pt x="42" y="141"/>
                    <a:pt x="42" y="141"/>
                    <a:pt x="42" y="141"/>
                  </a:cubicBezTo>
                  <a:cubicBezTo>
                    <a:pt x="50" y="136"/>
                    <a:pt x="50" y="136"/>
                    <a:pt x="50" y="136"/>
                  </a:cubicBezTo>
                  <a:cubicBezTo>
                    <a:pt x="59" y="132"/>
                    <a:pt x="59" y="132"/>
                    <a:pt x="59" y="132"/>
                  </a:cubicBezTo>
                  <a:cubicBezTo>
                    <a:pt x="65" y="130"/>
                    <a:pt x="65" y="130"/>
                    <a:pt x="65" y="130"/>
                  </a:cubicBezTo>
                  <a:cubicBezTo>
                    <a:pt x="69" y="146"/>
                    <a:pt x="69" y="146"/>
                    <a:pt x="69" y="146"/>
                  </a:cubicBezTo>
                  <a:cubicBezTo>
                    <a:pt x="72" y="153"/>
                    <a:pt x="72" y="153"/>
                    <a:pt x="72" y="153"/>
                  </a:cubicBezTo>
                  <a:cubicBezTo>
                    <a:pt x="77" y="155"/>
                    <a:pt x="77" y="155"/>
                    <a:pt x="77" y="155"/>
                  </a:cubicBezTo>
                  <a:cubicBezTo>
                    <a:pt x="90" y="160"/>
                    <a:pt x="90" y="160"/>
                    <a:pt x="90" y="160"/>
                  </a:cubicBezTo>
                  <a:cubicBezTo>
                    <a:pt x="98" y="156"/>
                    <a:pt x="98" y="156"/>
                    <a:pt x="98" y="156"/>
                  </a:cubicBezTo>
                  <a:cubicBezTo>
                    <a:pt x="107" y="156"/>
                    <a:pt x="107" y="156"/>
                    <a:pt x="107" y="156"/>
                  </a:cubicBezTo>
                  <a:cubicBezTo>
                    <a:pt x="119" y="155"/>
                    <a:pt x="119" y="155"/>
                    <a:pt x="119" y="155"/>
                  </a:cubicBezTo>
                  <a:cubicBezTo>
                    <a:pt x="121" y="166"/>
                    <a:pt x="121" y="166"/>
                    <a:pt x="121" y="166"/>
                  </a:cubicBezTo>
                  <a:cubicBezTo>
                    <a:pt x="130" y="166"/>
                    <a:pt x="130" y="166"/>
                    <a:pt x="130" y="166"/>
                  </a:cubicBezTo>
                  <a:cubicBezTo>
                    <a:pt x="138" y="162"/>
                    <a:pt x="138" y="162"/>
                    <a:pt x="138" y="162"/>
                  </a:cubicBezTo>
                  <a:cubicBezTo>
                    <a:pt x="144" y="157"/>
                    <a:pt x="144" y="157"/>
                    <a:pt x="144" y="157"/>
                  </a:cubicBezTo>
                  <a:cubicBezTo>
                    <a:pt x="152" y="155"/>
                    <a:pt x="152" y="155"/>
                    <a:pt x="152" y="155"/>
                  </a:cubicBezTo>
                  <a:cubicBezTo>
                    <a:pt x="156" y="152"/>
                    <a:pt x="156" y="152"/>
                    <a:pt x="156" y="152"/>
                  </a:cubicBezTo>
                  <a:cubicBezTo>
                    <a:pt x="167" y="155"/>
                    <a:pt x="167" y="155"/>
                    <a:pt x="167" y="155"/>
                  </a:cubicBezTo>
                  <a:cubicBezTo>
                    <a:pt x="176" y="156"/>
                    <a:pt x="176" y="156"/>
                    <a:pt x="176" y="156"/>
                  </a:cubicBezTo>
                  <a:cubicBezTo>
                    <a:pt x="180" y="154"/>
                    <a:pt x="180" y="154"/>
                    <a:pt x="180" y="154"/>
                  </a:cubicBezTo>
                  <a:cubicBezTo>
                    <a:pt x="180" y="150"/>
                    <a:pt x="180" y="150"/>
                    <a:pt x="180" y="150"/>
                  </a:cubicBezTo>
                  <a:cubicBezTo>
                    <a:pt x="181" y="141"/>
                    <a:pt x="181" y="141"/>
                    <a:pt x="181" y="141"/>
                  </a:cubicBezTo>
                  <a:cubicBezTo>
                    <a:pt x="185" y="136"/>
                    <a:pt x="185" y="136"/>
                    <a:pt x="185" y="136"/>
                  </a:cubicBezTo>
                  <a:cubicBezTo>
                    <a:pt x="191" y="132"/>
                    <a:pt x="191" y="132"/>
                    <a:pt x="191" y="132"/>
                  </a:cubicBezTo>
                  <a:cubicBezTo>
                    <a:pt x="195" y="125"/>
                    <a:pt x="195" y="125"/>
                    <a:pt x="195" y="125"/>
                  </a:cubicBezTo>
                  <a:cubicBezTo>
                    <a:pt x="198" y="112"/>
                    <a:pt x="198" y="112"/>
                    <a:pt x="198" y="112"/>
                  </a:cubicBezTo>
                  <a:cubicBezTo>
                    <a:pt x="204" y="96"/>
                    <a:pt x="204" y="96"/>
                    <a:pt x="204" y="96"/>
                  </a:cubicBezTo>
                  <a:cubicBezTo>
                    <a:pt x="203" y="92"/>
                    <a:pt x="203" y="92"/>
                    <a:pt x="203" y="92"/>
                  </a:cubicBezTo>
                  <a:lnTo>
                    <a:pt x="201" y="84"/>
                  </a:lnTo>
                  <a:close/>
                </a:path>
              </a:pathLst>
            </a:custGeom>
            <a:pattFill prst="dkHorz">
              <a:fgClr>
                <a:schemeClr val="accent2"/>
              </a:fgClr>
              <a:bgClr>
                <a:schemeClr val="bg1"/>
              </a:bgClr>
            </a:patt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71" name="Freeform 21">
              <a:extLst>
                <a:ext uri="{FF2B5EF4-FFF2-40B4-BE49-F238E27FC236}">
                  <a16:creationId xmlns:a16="http://schemas.microsoft.com/office/drawing/2014/main" id="{802EF432-D5A7-44C1-8394-CDD6BCAAA7AC}"/>
                </a:ext>
              </a:extLst>
            </p:cNvPr>
            <p:cNvSpPr>
              <a:spLocks noEditPoints="1"/>
            </p:cNvSpPr>
            <p:nvPr/>
          </p:nvSpPr>
          <p:spPr bwMode="gray">
            <a:xfrm>
              <a:off x="7912" y="1916"/>
              <a:ext cx="1141" cy="1016"/>
            </a:xfrm>
            <a:custGeom>
              <a:avLst/>
              <a:gdLst>
                <a:gd name="T0" fmla="*/ 130 w 483"/>
                <a:gd name="T1" fmla="*/ 215 h 430"/>
                <a:gd name="T2" fmla="*/ 89 w 483"/>
                <a:gd name="T3" fmla="*/ 243 h 430"/>
                <a:gd name="T4" fmla="*/ 49 w 483"/>
                <a:gd name="T5" fmla="*/ 268 h 430"/>
                <a:gd name="T6" fmla="*/ 8 w 483"/>
                <a:gd name="T7" fmla="*/ 319 h 430"/>
                <a:gd name="T8" fmla="*/ 35 w 483"/>
                <a:gd name="T9" fmla="*/ 342 h 430"/>
                <a:gd name="T10" fmla="*/ 56 w 483"/>
                <a:gd name="T11" fmla="*/ 318 h 430"/>
                <a:gd name="T12" fmla="*/ 92 w 483"/>
                <a:gd name="T13" fmla="*/ 306 h 430"/>
                <a:gd name="T14" fmla="*/ 92 w 483"/>
                <a:gd name="T15" fmla="*/ 360 h 430"/>
                <a:gd name="T16" fmla="*/ 59 w 483"/>
                <a:gd name="T17" fmla="*/ 383 h 430"/>
                <a:gd name="T18" fmla="*/ 22 w 483"/>
                <a:gd name="T19" fmla="*/ 386 h 430"/>
                <a:gd name="T20" fmla="*/ 32 w 483"/>
                <a:gd name="T21" fmla="*/ 425 h 430"/>
                <a:gd name="T22" fmla="*/ 62 w 483"/>
                <a:gd name="T23" fmla="*/ 412 h 430"/>
                <a:gd name="T24" fmla="*/ 83 w 483"/>
                <a:gd name="T25" fmla="*/ 426 h 430"/>
                <a:gd name="T26" fmla="*/ 84 w 483"/>
                <a:gd name="T27" fmla="*/ 401 h 430"/>
                <a:gd name="T28" fmla="*/ 126 w 483"/>
                <a:gd name="T29" fmla="*/ 357 h 430"/>
                <a:gd name="T30" fmla="*/ 160 w 483"/>
                <a:gd name="T31" fmla="*/ 348 h 430"/>
                <a:gd name="T32" fmla="*/ 222 w 483"/>
                <a:gd name="T33" fmla="*/ 346 h 430"/>
                <a:gd name="T34" fmla="*/ 213 w 483"/>
                <a:gd name="T35" fmla="*/ 309 h 430"/>
                <a:gd name="T36" fmla="*/ 193 w 483"/>
                <a:gd name="T37" fmla="*/ 269 h 430"/>
                <a:gd name="T38" fmla="*/ 170 w 483"/>
                <a:gd name="T39" fmla="*/ 252 h 430"/>
                <a:gd name="T40" fmla="*/ 175 w 483"/>
                <a:gd name="T41" fmla="*/ 226 h 430"/>
                <a:gd name="T42" fmla="*/ 231 w 483"/>
                <a:gd name="T43" fmla="*/ 216 h 430"/>
                <a:gd name="T44" fmla="*/ 271 w 483"/>
                <a:gd name="T45" fmla="*/ 250 h 430"/>
                <a:gd name="T46" fmla="*/ 309 w 483"/>
                <a:gd name="T47" fmla="*/ 244 h 430"/>
                <a:gd name="T48" fmla="*/ 342 w 483"/>
                <a:gd name="T49" fmla="*/ 235 h 430"/>
                <a:gd name="T50" fmla="*/ 375 w 483"/>
                <a:gd name="T51" fmla="*/ 202 h 430"/>
                <a:gd name="T52" fmla="*/ 390 w 483"/>
                <a:gd name="T53" fmla="*/ 164 h 430"/>
                <a:gd name="T54" fmla="*/ 437 w 483"/>
                <a:gd name="T55" fmla="*/ 180 h 430"/>
                <a:gd name="T56" fmla="*/ 465 w 483"/>
                <a:gd name="T57" fmla="*/ 162 h 430"/>
                <a:gd name="T58" fmla="*/ 473 w 483"/>
                <a:gd name="T59" fmla="*/ 103 h 430"/>
                <a:gd name="T60" fmla="*/ 437 w 483"/>
                <a:gd name="T61" fmla="*/ 84 h 430"/>
                <a:gd name="T62" fmla="*/ 435 w 483"/>
                <a:gd name="T63" fmla="*/ 53 h 430"/>
                <a:gd name="T64" fmla="*/ 419 w 483"/>
                <a:gd name="T65" fmla="*/ 60 h 430"/>
                <a:gd name="T66" fmla="*/ 413 w 483"/>
                <a:gd name="T67" fmla="*/ 100 h 430"/>
                <a:gd name="T68" fmla="*/ 359 w 483"/>
                <a:gd name="T69" fmla="*/ 128 h 430"/>
                <a:gd name="T70" fmla="*/ 312 w 483"/>
                <a:gd name="T71" fmla="*/ 159 h 430"/>
                <a:gd name="T72" fmla="*/ 283 w 483"/>
                <a:gd name="T73" fmla="*/ 158 h 430"/>
                <a:gd name="T74" fmla="*/ 241 w 483"/>
                <a:gd name="T75" fmla="*/ 135 h 430"/>
                <a:gd name="T76" fmla="*/ 206 w 483"/>
                <a:gd name="T77" fmla="*/ 95 h 430"/>
                <a:gd name="T78" fmla="*/ 239 w 483"/>
                <a:gd name="T79" fmla="*/ 67 h 430"/>
                <a:gd name="T80" fmla="*/ 263 w 483"/>
                <a:gd name="T81" fmla="*/ 25 h 430"/>
                <a:gd name="T82" fmla="*/ 219 w 483"/>
                <a:gd name="T83" fmla="*/ 8 h 430"/>
                <a:gd name="T84" fmla="*/ 195 w 483"/>
                <a:gd name="T85" fmla="*/ 37 h 430"/>
                <a:gd name="T86" fmla="*/ 164 w 483"/>
                <a:gd name="T87" fmla="*/ 77 h 430"/>
                <a:gd name="T88" fmla="*/ 119 w 483"/>
                <a:gd name="T89" fmla="*/ 113 h 430"/>
                <a:gd name="T90" fmla="*/ 77 w 483"/>
                <a:gd name="T91" fmla="*/ 106 h 430"/>
                <a:gd name="T92" fmla="*/ 97 w 483"/>
                <a:gd name="T93" fmla="*/ 141 h 430"/>
                <a:gd name="T94" fmla="*/ 134 w 483"/>
                <a:gd name="T95" fmla="*/ 173 h 430"/>
                <a:gd name="T96" fmla="*/ 53 w 483"/>
                <a:gd name="T97" fmla="*/ 55 h 430"/>
                <a:gd name="T98" fmla="*/ 83 w 483"/>
                <a:gd name="T99" fmla="*/ 78 h 430"/>
                <a:gd name="T100" fmla="*/ 60 w 483"/>
                <a:gd name="T101" fmla="*/ 91 h 430"/>
                <a:gd name="T102" fmla="*/ 37 w 483"/>
                <a:gd name="T103" fmla="*/ 63 h 430"/>
                <a:gd name="T104" fmla="*/ 243 w 483"/>
                <a:gd name="T105" fmla="*/ 348 h 430"/>
                <a:gd name="T106" fmla="*/ 233 w 483"/>
                <a:gd name="T107" fmla="*/ 369 h 430"/>
                <a:gd name="T108" fmla="*/ 108 w 483"/>
                <a:gd name="T109" fmla="*/ 5 h 430"/>
                <a:gd name="T110" fmla="*/ 117 w 483"/>
                <a:gd name="T111" fmla="*/ 26 h 430"/>
                <a:gd name="T112" fmla="*/ 94 w 483"/>
                <a:gd name="T113" fmla="*/ 34 h 430"/>
                <a:gd name="T114" fmla="*/ 65 w 483"/>
                <a:gd name="T115" fmla="*/ 31 h 430"/>
                <a:gd name="T116" fmla="*/ 51 w 483"/>
                <a:gd name="T117" fmla="*/ 10 h 430"/>
                <a:gd name="T118" fmla="*/ 85 w 483"/>
                <a:gd name="T119" fmla="*/ 1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3" h="430">
                  <a:moveTo>
                    <a:pt x="156" y="186"/>
                  </a:moveTo>
                  <a:cubicBezTo>
                    <a:pt x="148" y="197"/>
                    <a:pt x="148" y="197"/>
                    <a:pt x="148" y="197"/>
                  </a:cubicBezTo>
                  <a:cubicBezTo>
                    <a:pt x="142" y="203"/>
                    <a:pt x="142" y="203"/>
                    <a:pt x="142" y="203"/>
                  </a:cubicBezTo>
                  <a:cubicBezTo>
                    <a:pt x="137" y="210"/>
                    <a:pt x="137" y="210"/>
                    <a:pt x="137" y="210"/>
                  </a:cubicBezTo>
                  <a:cubicBezTo>
                    <a:pt x="130" y="215"/>
                    <a:pt x="130" y="215"/>
                    <a:pt x="130" y="215"/>
                  </a:cubicBezTo>
                  <a:cubicBezTo>
                    <a:pt x="111" y="220"/>
                    <a:pt x="111" y="220"/>
                    <a:pt x="111" y="220"/>
                  </a:cubicBezTo>
                  <a:cubicBezTo>
                    <a:pt x="102" y="224"/>
                    <a:pt x="102" y="224"/>
                    <a:pt x="102" y="224"/>
                  </a:cubicBezTo>
                  <a:cubicBezTo>
                    <a:pt x="94" y="230"/>
                    <a:pt x="94" y="230"/>
                    <a:pt x="94" y="230"/>
                  </a:cubicBezTo>
                  <a:cubicBezTo>
                    <a:pt x="91" y="239"/>
                    <a:pt x="91" y="239"/>
                    <a:pt x="91" y="239"/>
                  </a:cubicBezTo>
                  <a:cubicBezTo>
                    <a:pt x="89" y="243"/>
                    <a:pt x="89" y="243"/>
                    <a:pt x="89" y="243"/>
                  </a:cubicBezTo>
                  <a:cubicBezTo>
                    <a:pt x="85" y="244"/>
                    <a:pt x="85" y="244"/>
                    <a:pt x="85" y="244"/>
                  </a:cubicBezTo>
                  <a:cubicBezTo>
                    <a:pt x="71" y="247"/>
                    <a:pt x="71" y="247"/>
                    <a:pt x="71" y="247"/>
                  </a:cubicBezTo>
                  <a:cubicBezTo>
                    <a:pt x="60" y="249"/>
                    <a:pt x="60" y="249"/>
                    <a:pt x="60" y="249"/>
                  </a:cubicBezTo>
                  <a:cubicBezTo>
                    <a:pt x="60" y="259"/>
                    <a:pt x="60" y="259"/>
                    <a:pt x="60" y="259"/>
                  </a:cubicBezTo>
                  <a:cubicBezTo>
                    <a:pt x="49" y="268"/>
                    <a:pt x="49" y="268"/>
                    <a:pt x="49" y="268"/>
                  </a:cubicBezTo>
                  <a:cubicBezTo>
                    <a:pt x="36" y="276"/>
                    <a:pt x="36" y="276"/>
                    <a:pt x="36" y="276"/>
                  </a:cubicBezTo>
                  <a:cubicBezTo>
                    <a:pt x="17" y="284"/>
                    <a:pt x="17" y="284"/>
                    <a:pt x="17" y="284"/>
                  </a:cubicBezTo>
                  <a:cubicBezTo>
                    <a:pt x="0" y="291"/>
                    <a:pt x="0" y="291"/>
                    <a:pt x="0" y="291"/>
                  </a:cubicBezTo>
                  <a:cubicBezTo>
                    <a:pt x="3" y="313"/>
                    <a:pt x="3" y="313"/>
                    <a:pt x="3" y="313"/>
                  </a:cubicBezTo>
                  <a:cubicBezTo>
                    <a:pt x="8" y="319"/>
                    <a:pt x="8" y="319"/>
                    <a:pt x="8" y="319"/>
                  </a:cubicBezTo>
                  <a:cubicBezTo>
                    <a:pt x="19" y="322"/>
                    <a:pt x="19" y="322"/>
                    <a:pt x="19" y="322"/>
                  </a:cubicBezTo>
                  <a:cubicBezTo>
                    <a:pt x="23" y="324"/>
                    <a:pt x="23" y="324"/>
                    <a:pt x="23" y="324"/>
                  </a:cubicBezTo>
                  <a:cubicBezTo>
                    <a:pt x="26" y="339"/>
                    <a:pt x="26" y="339"/>
                    <a:pt x="26" y="339"/>
                  </a:cubicBezTo>
                  <a:cubicBezTo>
                    <a:pt x="29" y="345"/>
                    <a:pt x="29" y="345"/>
                    <a:pt x="29" y="345"/>
                  </a:cubicBezTo>
                  <a:cubicBezTo>
                    <a:pt x="31" y="344"/>
                    <a:pt x="33" y="343"/>
                    <a:pt x="35" y="342"/>
                  </a:cubicBezTo>
                  <a:cubicBezTo>
                    <a:pt x="36" y="341"/>
                    <a:pt x="37" y="339"/>
                    <a:pt x="38" y="339"/>
                  </a:cubicBezTo>
                  <a:cubicBezTo>
                    <a:pt x="40" y="337"/>
                    <a:pt x="44" y="337"/>
                    <a:pt x="46" y="335"/>
                  </a:cubicBezTo>
                  <a:cubicBezTo>
                    <a:pt x="48" y="334"/>
                    <a:pt x="50" y="331"/>
                    <a:pt x="51" y="329"/>
                  </a:cubicBezTo>
                  <a:cubicBezTo>
                    <a:pt x="52" y="327"/>
                    <a:pt x="52" y="324"/>
                    <a:pt x="53" y="322"/>
                  </a:cubicBezTo>
                  <a:cubicBezTo>
                    <a:pt x="54" y="321"/>
                    <a:pt x="55" y="319"/>
                    <a:pt x="56" y="318"/>
                  </a:cubicBezTo>
                  <a:cubicBezTo>
                    <a:pt x="59" y="318"/>
                    <a:pt x="62" y="320"/>
                    <a:pt x="64" y="319"/>
                  </a:cubicBezTo>
                  <a:cubicBezTo>
                    <a:pt x="67" y="319"/>
                    <a:pt x="69" y="318"/>
                    <a:pt x="71" y="317"/>
                  </a:cubicBezTo>
                  <a:cubicBezTo>
                    <a:pt x="73" y="316"/>
                    <a:pt x="75" y="313"/>
                    <a:pt x="77" y="312"/>
                  </a:cubicBezTo>
                  <a:cubicBezTo>
                    <a:pt x="79" y="311"/>
                    <a:pt x="82" y="309"/>
                    <a:pt x="84" y="308"/>
                  </a:cubicBezTo>
                  <a:cubicBezTo>
                    <a:pt x="87" y="307"/>
                    <a:pt x="90" y="308"/>
                    <a:pt x="92" y="306"/>
                  </a:cubicBezTo>
                  <a:cubicBezTo>
                    <a:pt x="93" y="319"/>
                    <a:pt x="93" y="319"/>
                    <a:pt x="93" y="319"/>
                  </a:cubicBezTo>
                  <a:cubicBezTo>
                    <a:pt x="94" y="332"/>
                    <a:pt x="94" y="332"/>
                    <a:pt x="94" y="332"/>
                  </a:cubicBezTo>
                  <a:cubicBezTo>
                    <a:pt x="103" y="347"/>
                    <a:pt x="103" y="347"/>
                    <a:pt x="103" y="347"/>
                  </a:cubicBezTo>
                  <a:cubicBezTo>
                    <a:pt x="97" y="358"/>
                    <a:pt x="97" y="358"/>
                    <a:pt x="97" y="358"/>
                  </a:cubicBezTo>
                  <a:cubicBezTo>
                    <a:pt x="92" y="360"/>
                    <a:pt x="92" y="360"/>
                    <a:pt x="92" y="360"/>
                  </a:cubicBezTo>
                  <a:cubicBezTo>
                    <a:pt x="83" y="359"/>
                    <a:pt x="83" y="359"/>
                    <a:pt x="83" y="359"/>
                  </a:cubicBezTo>
                  <a:cubicBezTo>
                    <a:pt x="70" y="359"/>
                    <a:pt x="70" y="359"/>
                    <a:pt x="70" y="359"/>
                  </a:cubicBezTo>
                  <a:cubicBezTo>
                    <a:pt x="64" y="367"/>
                    <a:pt x="64" y="367"/>
                    <a:pt x="64" y="367"/>
                  </a:cubicBezTo>
                  <a:cubicBezTo>
                    <a:pt x="59" y="374"/>
                    <a:pt x="59" y="374"/>
                    <a:pt x="59" y="374"/>
                  </a:cubicBezTo>
                  <a:cubicBezTo>
                    <a:pt x="59" y="383"/>
                    <a:pt x="59" y="383"/>
                    <a:pt x="59" y="383"/>
                  </a:cubicBezTo>
                  <a:cubicBezTo>
                    <a:pt x="57" y="390"/>
                    <a:pt x="57" y="390"/>
                    <a:pt x="57" y="390"/>
                  </a:cubicBezTo>
                  <a:cubicBezTo>
                    <a:pt x="42" y="391"/>
                    <a:pt x="42" y="391"/>
                    <a:pt x="42" y="391"/>
                  </a:cubicBezTo>
                  <a:cubicBezTo>
                    <a:pt x="35" y="391"/>
                    <a:pt x="35" y="391"/>
                    <a:pt x="35" y="391"/>
                  </a:cubicBezTo>
                  <a:cubicBezTo>
                    <a:pt x="31" y="388"/>
                    <a:pt x="31" y="388"/>
                    <a:pt x="31" y="388"/>
                  </a:cubicBezTo>
                  <a:cubicBezTo>
                    <a:pt x="22" y="386"/>
                    <a:pt x="22" y="386"/>
                    <a:pt x="22" y="386"/>
                  </a:cubicBezTo>
                  <a:cubicBezTo>
                    <a:pt x="18" y="389"/>
                    <a:pt x="18" y="389"/>
                    <a:pt x="18" y="389"/>
                  </a:cubicBezTo>
                  <a:cubicBezTo>
                    <a:pt x="18" y="396"/>
                    <a:pt x="18" y="396"/>
                    <a:pt x="18" y="396"/>
                  </a:cubicBezTo>
                  <a:cubicBezTo>
                    <a:pt x="21" y="404"/>
                    <a:pt x="21" y="404"/>
                    <a:pt x="21" y="404"/>
                  </a:cubicBezTo>
                  <a:cubicBezTo>
                    <a:pt x="25" y="413"/>
                    <a:pt x="25" y="413"/>
                    <a:pt x="25" y="413"/>
                  </a:cubicBezTo>
                  <a:cubicBezTo>
                    <a:pt x="32" y="425"/>
                    <a:pt x="32" y="425"/>
                    <a:pt x="32" y="425"/>
                  </a:cubicBezTo>
                  <a:cubicBezTo>
                    <a:pt x="34" y="427"/>
                    <a:pt x="34" y="427"/>
                    <a:pt x="34" y="427"/>
                  </a:cubicBezTo>
                  <a:cubicBezTo>
                    <a:pt x="37" y="425"/>
                    <a:pt x="37" y="425"/>
                    <a:pt x="37" y="425"/>
                  </a:cubicBezTo>
                  <a:cubicBezTo>
                    <a:pt x="46" y="418"/>
                    <a:pt x="46" y="418"/>
                    <a:pt x="46" y="418"/>
                  </a:cubicBezTo>
                  <a:cubicBezTo>
                    <a:pt x="54" y="414"/>
                    <a:pt x="54" y="414"/>
                    <a:pt x="54" y="414"/>
                  </a:cubicBezTo>
                  <a:cubicBezTo>
                    <a:pt x="62" y="412"/>
                    <a:pt x="62" y="412"/>
                    <a:pt x="62" y="412"/>
                  </a:cubicBezTo>
                  <a:cubicBezTo>
                    <a:pt x="61" y="419"/>
                    <a:pt x="61" y="419"/>
                    <a:pt x="61" y="419"/>
                  </a:cubicBezTo>
                  <a:cubicBezTo>
                    <a:pt x="61" y="425"/>
                    <a:pt x="61" y="425"/>
                    <a:pt x="61" y="425"/>
                  </a:cubicBezTo>
                  <a:cubicBezTo>
                    <a:pt x="65" y="430"/>
                    <a:pt x="65" y="430"/>
                    <a:pt x="65" y="430"/>
                  </a:cubicBezTo>
                  <a:cubicBezTo>
                    <a:pt x="74" y="430"/>
                    <a:pt x="74" y="430"/>
                    <a:pt x="74" y="430"/>
                  </a:cubicBezTo>
                  <a:cubicBezTo>
                    <a:pt x="83" y="426"/>
                    <a:pt x="83" y="426"/>
                    <a:pt x="83" y="426"/>
                  </a:cubicBezTo>
                  <a:cubicBezTo>
                    <a:pt x="88" y="422"/>
                    <a:pt x="88" y="422"/>
                    <a:pt x="88" y="422"/>
                  </a:cubicBezTo>
                  <a:cubicBezTo>
                    <a:pt x="89" y="416"/>
                    <a:pt x="89" y="416"/>
                    <a:pt x="89" y="416"/>
                  </a:cubicBezTo>
                  <a:cubicBezTo>
                    <a:pt x="86" y="411"/>
                    <a:pt x="86" y="411"/>
                    <a:pt x="86" y="411"/>
                  </a:cubicBezTo>
                  <a:cubicBezTo>
                    <a:pt x="83" y="405"/>
                    <a:pt x="83" y="405"/>
                    <a:pt x="83" y="405"/>
                  </a:cubicBezTo>
                  <a:cubicBezTo>
                    <a:pt x="84" y="401"/>
                    <a:pt x="84" y="401"/>
                    <a:pt x="84" y="401"/>
                  </a:cubicBezTo>
                  <a:cubicBezTo>
                    <a:pt x="96" y="396"/>
                    <a:pt x="96" y="396"/>
                    <a:pt x="96" y="396"/>
                  </a:cubicBezTo>
                  <a:cubicBezTo>
                    <a:pt x="106" y="390"/>
                    <a:pt x="106" y="390"/>
                    <a:pt x="106" y="390"/>
                  </a:cubicBezTo>
                  <a:cubicBezTo>
                    <a:pt x="116" y="384"/>
                    <a:pt x="116" y="384"/>
                    <a:pt x="116" y="384"/>
                  </a:cubicBezTo>
                  <a:cubicBezTo>
                    <a:pt x="122" y="371"/>
                    <a:pt x="122" y="371"/>
                    <a:pt x="122" y="371"/>
                  </a:cubicBezTo>
                  <a:cubicBezTo>
                    <a:pt x="126" y="357"/>
                    <a:pt x="126" y="357"/>
                    <a:pt x="126" y="357"/>
                  </a:cubicBezTo>
                  <a:cubicBezTo>
                    <a:pt x="127" y="347"/>
                    <a:pt x="127" y="347"/>
                    <a:pt x="127" y="347"/>
                  </a:cubicBezTo>
                  <a:cubicBezTo>
                    <a:pt x="137" y="344"/>
                    <a:pt x="137" y="344"/>
                    <a:pt x="137" y="344"/>
                  </a:cubicBezTo>
                  <a:cubicBezTo>
                    <a:pt x="144" y="341"/>
                    <a:pt x="144" y="341"/>
                    <a:pt x="144" y="341"/>
                  </a:cubicBezTo>
                  <a:cubicBezTo>
                    <a:pt x="152" y="343"/>
                    <a:pt x="152" y="343"/>
                    <a:pt x="152" y="343"/>
                  </a:cubicBezTo>
                  <a:cubicBezTo>
                    <a:pt x="160" y="348"/>
                    <a:pt x="160" y="348"/>
                    <a:pt x="160" y="348"/>
                  </a:cubicBezTo>
                  <a:cubicBezTo>
                    <a:pt x="167" y="355"/>
                    <a:pt x="167" y="355"/>
                    <a:pt x="167" y="355"/>
                  </a:cubicBezTo>
                  <a:cubicBezTo>
                    <a:pt x="184" y="358"/>
                    <a:pt x="184" y="358"/>
                    <a:pt x="184" y="358"/>
                  </a:cubicBezTo>
                  <a:cubicBezTo>
                    <a:pt x="201" y="359"/>
                    <a:pt x="201" y="359"/>
                    <a:pt x="201" y="359"/>
                  </a:cubicBezTo>
                  <a:cubicBezTo>
                    <a:pt x="210" y="356"/>
                    <a:pt x="210" y="356"/>
                    <a:pt x="210" y="356"/>
                  </a:cubicBezTo>
                  <a:cubicBezTo>
                    <a:pt x="222" y="346"/>
                    <a:pt x="222" y="346"/>
                    <a:pt x="222" y="346"/>
                  </a:cubicBezTo>
                  <a:cubicBezTo>
                    <a:pt x="229" y="336"/>
                    <a:pt x="229" y="336"/>
                    <a:pt x="229" y="336"/>
                  </a:cubicBezTo>
                  <a:cubicBezTo>
                    <a:pt x="230" y="329"/>
                    <a:pt x="230" y="329"/>
                    <a:pt x="230" y="329"/>
                  </a:cubicBezTo>
                  <a:cubicBezTo>
                    <a:pt x="228" y="320"/>
                    <a:pt x="228" y="320"/>
                    <a:pt x="228" y="320"/>
                  </a:cubicBezTo>
                  <a:cubicBezTo>
                    <a:pt x="221" y="313"/>
                    <a:pt x="221" y="313"/>
                    <a:pt x="221" y="313"/>
                  </a:cubicBezTo>
                  <a:cubicBezTo>
                    <a:pt x="213" y="309"/>
                    <a:pt x="213" y="309"/>
                    <a:pt x="213" y="309"/>
                  </a:cubicBezTo>
                  <a:cubicBezTo>
                    <a:pt x="207" y="303"/>
                    <a:pt x="207" y="303"/>
                    <a:pt x="207" y="303"/>
                  </a:cubicBezTo>
                  <a:cubicBezTo>
                    <a:pt x="202" y="295"/>
                    <a:pt x="202" y="295"/>
                    <a:pt x="202" y="295"/>
                  </a:cubicBezTo>
                  <a:cubicBezTo>
                    <a:pt x="194" y="279"/>
                    <a:pt x="194" y="279"/>
                    <a:pt x="194" y="279"/>
                  </a:cubicBezTo>
                  <a:cubicBezTo>
                    <a:pt x="194" y="275"/>
                    <a:pt x="194" y="275"/>
                    <a:pt x="194" y="275"/>
                  </a:cubicBezTo>
                  <a:cubicBezTo>
                    <a:pt x="193" y="269"/>
                    <a:pt x="193" y="269"/>
                    <a:pt x="193" y="269"/>
                  </a:cubicBezTo>
                  <a:cubicBezTo>
                    <a:pt x="186" y="265"/>
                    <a:pt x="186" y="265"/>
                    <a:pt x="186" y="265"/>
                  </a:cubicBezTo>
                  <a:cubicBezTo>
                    <a:pt x="182" y="262"/>
                    <a:pt x="182" y="262"/>
                    <a:pt x="182" y="262"/>
                  </a:cubicBezTo>
                  <a:cubicBezTo>
                    <a:pt x="176" y="262"/>
                    <a:pt x="176" y="262"/>
                    <a:pt x="176" y="262"/>
                  </a:cubicBezTo>
                  <a:cubicBezTo>
                    <a:pt x="170" y="261"/>
                    <a:pt x="170" y="261"/>
                    <a:pt x="170" y="261"/>
                  </a:cubicBezTo>
                  <a:cubicBezTo>
                    <a:pt x="170" y="252"/>
                    <a:pt x="170" y="252"/>
                    <a:pt x="170" y="252"/>
                  </a:cubicBezTo>
                  <a:cubicBezTo>
                    <a:pt x="167" y="244"/>
                    <a:pt x="167" y="244"/>
                    <a:pt x="167" y="244"/>
                  </a:cubicBezTo>
                  <a:cubicBezTo>
                    <a:pt x="168" y="236"/>
                    <a:pt x="168" y="236"/>
                    <a:pt x="168" y="236"/>
                  </a:cubicBezTo>
                  <a:cubicBezTo>
                    <a:pt x="168" y="231"/>
                    <a:pt x="168" y="231"/>
                    <a:pt x="168" y="231"/>
                  </a:cubicBezTo>
                  <a:cubicBezTo>
                    <a:pt x="167" y="225"/>
                    <a:pt x="167" y="225"/>
                    <a:pt x="167" y="225"/>
                  </a:cubicBezTo>
                  <a:cubicBezTo>
                    <a:pt x="175" y="226"/>
                    <a:pt x="175" y="226"/>
                    <a:pt x="175" y="226"/>
                  </a:cubicBezTo>
                  <a:cubicBezTo>
                    <a:pt x="199" y="228"/>
                    <a:pt x="199" y="228"/>
                    <a:pt x="199" y="228"/>
                  </a:cubicBezTo>
                  <a:cubicBezTo>
                    <a:pt x="205" y="227"/>
                    <a:pt x="205" y="227"/>
                    <a:pt x="205" y="227"/>
                  </a:cubicBezTo>
                  <a:cubicBezTo>
                    <a:pt x="215" y="223"/>
                    <a:pt x="215" y="223"/>
                    <a:pt x="215" y="223"/>
                  </a:cubicBezTo>
                  <a:cubicBezTo>
                    <a:pt x="225" y="220"/>
                    <a:pt x="225" y="220"/>
                    <a:pt x="225" y="220"/>
                  </a:cubicBezTo>
                  <a:cubicBezTo>
                    <a:pt x="231" y="216"/>
                    <a:pt x="231" y="216"/>
                    <a:pt x="231" y="216"/>
                  </a:cubicBezTo>
                  <a:cubicBezTo>
                    <a:pt x="242" y="218"/>
                    <a:pt x="242" y="218"/>
                    <a:pt x="242" y="218"/>
                  </a:cubicBezTo>
                  <a:cubicBezTo>
                    <a:pt x="245" y="222"/>
                    <a:pt x="245" y="222"/>
                    <a:pt x="245" y="222"/>
                  </a:cubicBezTo>
                  <a:cubicBezTo>
                    <a:pt x="254" y="234"/>
                    <a:pt x="254" y="234"/>
                    <a:pt x="254" y="234"/>
                  </a:cubicBezTo>
                  <a:cubicBezTo>
                    <a:pt x="260" y="248"/>
                    <a:pt x="260" y="248"/>
                    <a:pt x="260" y="248"/>
                  </a:cubicBezTo>
                  <a:cubicBezTo>
                    <a:pt x="271" y="250"/>
                    <a:pt x="271" y="250"/>
                    <a:pt x="271" y="250"/>
                  </a:cubicBezTo>
                  <a:cubicBezTo>
                    <a:pt x="282" y="249"/>
                    <a:pt x="282" y="249"/>
                    <a:pt x="282" y="249"/>
                  </a:cubicBezTo>
                  <a:cubicBezTo>
                    <a:pt x="293" y="243"/>
                    <a:pt x="293" y="243"/>
                    <a:pt x="293" y="243"/>
                  </a:cubicBezTo>
                  <a:cubicBezTo>
                    <a:pt x="297" y="240"/>
                    <a:pt x="297" y="240"/>
                    <a:pt x="297" y="240"/>
                  </a:cubicBezTo>
                  <a:cubicBezTo>
                    <a:pt x="303" y="249"/>
                    <a:pt x="303" y="249"/>
                    <a:pt x="303" y="249"/>
                  </a:cubicBezTo>
                  <a:cubicBezTo>
                    <a:pt x="305" y="248"/>
                    <a:pt x="307" y="245"/>
                    <a:pt x="309" y="244"/>
                  </a:cubicBezTo>
                  <a:cubicBezTo>
                    <a:pt x="311" y="242"/>
                    <a:pt x="313" y="241"/>
                    <a:pt x="314" y="240"/>
                  </a:cubicBezTo>
                  <a:cubicBezTo>
                    <a:pt x="316" y="239"/>
                    <a:pt x="317" y="237"/>
                    <a:pt x="318" y="236"/>
                  </a:cubicBezTo>
                  <a:cubicBezTo>
                    <a:pt x="319" y="235"/>
                    <a:pt x="321" y="234"/>
                    <a:pt x="322" y="234"/>
                  </a:cubicBezTo>
                  <a:cubicBezTo>
                    <a:pt x="325" y="234"/>
                    <a:pt x="330" y="235"/>
                    <a:pt x="333" y="236"/>
                  </a:cubicBezTo>
                  <a:cubicBezTo>
                    <a:pt x="336" y="236"/>
                    <a:pt x="340" y="235"/>
                    <a:pt x="342" y="235"/>
                  </a:cubicBezTo>
                  <a:cubicBezTo>
                    <a:pt x="345" y="235"/>
                    <a:pt x="348" y="236"/>
                    <a:pt x="350" y="235"/>
                  </a:cubicBezTo>
                  <a:cubicBezTo>
                    <a:pt x="353" y="234"/>
                    <a:pt x="355" y="230"/>
                    <a:pt x="357" y="228"/>
                  </a:cubicBezTo>
                  <a:cubicBezTo>
                    <a:pt x="360" y="225"/>
                    <a:pt x="362" y="220"/>
                    <a:pt x="364" y="216"/>
                  </a:cubicBezTo>
                  <a:cubicBezTo>
                    <a:pt x="366" y="214"/>
                    <a:pt x="367" y="210"/>
                    <a:pt x="368" y="208"/>
                  </a:cubicBezTo>
                  <a:cubicBezTo>
                    <a:pt x="370" y="206"/>
                    <a:pt x="373" y="204"/>
                    <a:pt x="375" y="202"/>
                  </a:cubicBezTo>
                  <a:cubicBezTo>
                    <a:pt x="376" y="200"/>
                    <a:pt x="376" y="197"/>
                    <a:pt x="377" y="196"/>
                  </a:cubicBezTo>
                  <a:cubicBezTo>
                    <a:pt x="379" y="194"/>
                    <a:pt x="383" y="192"/>
                    <a:pt x="385" y="190"/>
                  </a:cubicBezTo>
                  <a:cubicBezTo>
                    <a:pt x="387" y="188"/>
                    <a:pt x="389" y="184"/>
                    <a:pt x="389" y="182"/>
                  </a:cubicBezTo>
                  <a:cubicBezTo>
                    <a:pt x="390" y="178"/>
                    <a:pt x="386" y="174"/>
                    <a:pt x="387" y="171"/>
                  </a:cubicBezTo>
                  <a:cubicBezTo>
                    <a:pt x="387" y="168"/>
                    <a:pt x="389" y="166"/>
                    <a:pt x="390" y="164"/>
                  </a:cubicBezTo>
                  <a:cubicBezTo>
                    <a:pt x="395" y="168"/>
                    <a:pt x="395" y="168"/>
                    <a:pt x="395" y="168"/>
                  </a:cubicBezTo>
                  <a:cubicBezTo>
                    <a:pt x="402" y="173"/>
                    <a:pt x="402" y="173"/>
                    <a:pt x="402" y="173"/>
                  </a:cubicBezTo>
                  <a:cubicBezTo>
                    <a:pt x="409" y="176"/>
                    <a:pt x="409" y="176"/>
                    <a:pt x="409" y="176"/>
                  </a:cubicBezTo>
                  <a:cubicBezTo>
                    <a:pt x="419" y="178"/>
                    <a:pt x="419" y="178"/>
                    <a:pt x="419" y="178"/>
                  </a:cubicBezTo>
                  <a:cubicBezTo>
                    <a:pt x="437" y="180"/>
                    <a:pt x="437" y="180"/>
                    <a:pt x="437" y="180"/>
                  </a:cubicBezTo>
                  <a:cubicBezTo>
                    <a:pt x="449" y="181"/>
                    <a:pt x="449" y="181"/>
                    <a:pt x="449" y="181"/>
                  </a:cubicBezTo>
                  <a:cubicBezTo>
                    <a:pt x="454" y="180"/>
                    <a:pt x="454" y="180"/>
                    <a:pt x="454" y="180"/>
                  </a:cubicBezTo>
                  <a:cubicBezTo>
                    <a:pt x="458" y="178"/>
                    <a:pt x="458" y="178"/>
                    <a:pt x="458" y="178"/>
                  </a:cubicBezTo>
                  <a:cubicBezTo>
                    <a:pt x="462" y="173"/>
                    <a:pt x="462" y="173"/>
                    <a:pt x="462" y="173"/>
                  </a:cubicBezTo>
                  <a:cubicBezTo>
                    <a:pt x="465" y="162"/>
                    <a:pt x="465" y="162"/>
                    <a:pt x="465" y="162"/>
                  </a:cubicBezTo>
                  <a:cubicBezTo>
                    <a:pt x="471" y="144"/>
                    <a:pt x="471" y="144"/>
                    <a:pt x="471" y="144"/>
                  </a:cubicBezTo>
                  <a:cubicBezTo>
                    <a:pt x="477" y="132"/>
                    <a:pt x="477" y="132"/>
                    <a:pt x="477" y="132"/>
                  </a:cubicBezTo>
                  <a:cubicBezTo>
                    <a:pt x="483" y="118"/>
                    <a:pt x="483" y="118"/>
                    <a:pt x="483" y="118"/>
                  </a:cubicBezTo>
                  <a:cubicBezTo>
                    <a:pt x="482" y="111"/>
                    <a:pt x="482" y="111"/>
                    <a:pt x="482" y="111"/>
                  </a:cubicBezTo>
                  <a:cubicBezTo>
                    <a:pt x="473" y="103"/>
                    <a:pt x="473" y="103"/>
                    <a:pt x="473" y="103"/>
                  </a:cubicBezTo>
                  <a:cubicBezTo>
                    <a:pt x="466" y="102"/>
                    <a:pt x="466" y="102"/>
                    <a:pt x="466" y="102"/>
                  </a:cubicBezTo>
                  <a:cubicBezTo>
                    <a:pt x="460" y="99"/>
                    <a:pt x="460" y="99"/>
                    <a:pt x="460" y="99"/>
                  </a:cubicBezTo>
                  <a:cubicBezTo>
                    <a:pt x="454" y="95"/>
                    <a:pt x="454" y="95"/>
                    <a:pt x="454" y="95"/>
                  </a:cubicBezTo>
                  <a:cubicBezTo>
                    <a:pt x="443" y="90"/>
                    <a:pt x="443" y="90"/>
                    <a:pt x="443" y="90"/>
                  </a:cubicBezTo>
                  <a:cubicBezTo>
                    <a:pt x="437" y="84"/>
                    <a:pt x="437" y="84"/>
                    <a:pt x="437" y="84"/>
                  </a:cubicBezTo>
                  <a:cubicBezTo>
                    <a:pt x="445" y="80"/>
                    <a:pt x="445" y="80"/>
                    <a:pt x="445" y="80"/>
                  </a:cubicBezTo>
                  <a:cubicBezTo>
                    <a:pt x="445" y="71"/>
                    <a:pt x="445" y="71"/>
                    <a:pt x="445" y="71"/>
                  </a:cubicBezTo>
                  <a:cubicBezTo>
                    <a:pt x="442" y="62"/>
                    <a:pt x="442" y="62"/>
                    <a:pt x="442" y="62"/>
                  </a:cubicBezTo>
                  <a:cubicBezTo>
                    <a:pt x="437" y="60"/>
                    <a:pt x="437" y="60"/>
                    <a:pt x="437" y="60"/>
                  </a:cubicBezTo>
                  <a:cubicBezTo>
                    <a:pt x="435" y="53"/>
                    <a:pt x="435" y="53"/>
                    <a:pt x="435" y="53"/>
                  </a:cubicBezTo>
                  <a:cubicBezTo>
                    <a:pt x="435" y="47"/>
                    <a:pt x="435" y="47"/>
                    <a:pt x="435" y="47"/>
                  </a:cubicBezTo>
                  <a:cubicBezTo>
                    <a:pt x="428" y="47"/>
                    <a:pt x="428" y="47"/>
                    <a:pt x="428" y="47"/>
                  </a:cubicBezTo>
                  <a:cubicBezTo>
                    <a:pt x="425" y="46"/>
                    <a:pt x="425" y="46"/>
                    <a:pt x="425" y="46"/>
                  </a:cubicBezTo>
                  <a:cubicBezTo>
                    <a:pt x="422" y="53"/>
                    <a:pt x="422" y="53"/>
                    <a:pt x="422" y="53"/>
                  </a:cubicBezTo>
                  <a:cubicBezTo>
                    <a:pt x="419" y="60"/>
                    <a:pt x="419" y="60"/>
                    <a:pt x="419" y="60"/>
                  </a:cubicBezTo>
                  <a:cubicBezTo>
                    <a:pt x="418" y="70"/>
                    <a:pt x="418" y="70"/>
                    <a:pt x="418" y="70"/>
                  </a:cubicBezTo>
                  <a:cubicBezTo>
                    <a:pt x="423" y="76"/>
                    <a:pt x="423" y="76"/>
                    <a:pt x="423" y="76"/>
                  </a:cubicBezTo>
                  <a:cubicBezTo>
                    <a:pt x="423" y="76"/>
                    <a:pt x="426" y="82"/>
                    <a:pt x="427" y="82"/>
                  </a:cubicBezTo>
                  <a:cubicBezTo>
                    <a:pt x="426" y="91"/>
                    <a:pt x="426" y="91"/>
                    <a:pt x="426" y="91"/>
                  </a:cubicBezTo>
                  <a:cubicBezTo>
                    <a:pt x="413" y="100"/>
                    <a:pt x="413" y="100"/>
                    <a:pt x="413" y="100"/>
                  </a:cubicBezTo>
                  <a:cubicBezTo>
                    <a:pt x="402" y="106"/>
                    <a:pt x="402" y="106"/>
                    <a:pt x="402" y="106"/>
                  </a:cubicBezTo>
                  <a:cubicBezTo>
                    <a:pt x="388" y="104"/>
                    <a:pt x="388" y="104"/>
                    <a:pt x="388" y="104"/>
                  </a:cubicBezTo>
                  <a:cubicBezTo>
                    <a:pt x="379" y="106"/>
                    <a:pt x="379" y="106"/>
                    <a:pt x="379" y="106"/>
                  </a:cubicBezTo>
                  <a:cubicBezTo>
                    <a:pt x="371" y="116"/>
                    <a:pt x="371" y="116"/>
                    <a:pt x="371" y="116"/>
                  </a:cubicBezTo>
                  <a:cubicBezTo>
                    <a:pt x="359" y="128"/>
                    <a:pt x="359" y="128"/>
                    <a:pt x="359" y="128"/>
                  </a:cubicBezTo>
                  <a:cubicBezTo>
                    <a:pt x="349" y="134"/>
                    <a:pt x="349" y="134"/>
                    <a:pt x="349" y="134"/>
                  </a:cubicBezTo>
                  <a:cubicBezTo>
                    <a:pt x="338" y="139"/>
                    <a:pt x="338" y="139"/>
                    <a:pt x="338" y="139"/>
                  </a:cubicBezTo>
                  <a:cubicBezTo>
                    <a:pt x="323" y="144"/>
                    <a:pt x="323" y="144"/>
                    <a:pt x="323" y="144"/>
                  </a:cubicBezTo>
                  <a:cubicBezTo>
                    <a:pt x="313" y="152"/>
                    <a:pt x="313" y="152"/>
                    <a:pt x="313" y="152"/>
                  </a:cubicBezTo>
                  <a:cubicBezTo>
                    <a:pt x="312" y="159"/>
                    <a:pt x="312" y="159"/>
                    <a:pt x="312" y="159"/>
                  </a:cubicBezTo>
                  <a:cubicBezTo>
                    <a:pt x="312" y="166"/>
                    <a:pt x="312" y="166"/>
                    <a:pt x="312" y="166"/>
                  </a:cubicBezTo>
                  <a:cubicBezTo>
                    <a:pt x="305" y="167"/>
                    <a:pt x="305" y="167"/>
                    <a:pt x="305" y="167"/>
                  </a:cubicBezTo>
                  <a:cubicBezTo>
                    <a:pt x="297" y="166"/>
                    <a:pt x="297" y="166"/>
                    <a:pt x="297" y="166"/>
                  </a:cubicBezTo>
                  <a:cubicBezTo>
                    <a:pt x="289" y="163"/>
                    <a:pt x="289" y="163"/>
                    <a:pt x="289" y="163"/>
                  </a:cubicBezTo>
                  <a:cubicBezTo>
                    <a:pt x="283" y="158"/>
                    <a:pt x="283" y="158"/>
                    <a:pt x="283" y="158"/>
                  </a:cubicBezTo>
                  <a:cubicBezTo>
                    <a:pt x="276" y="151"/>
                    <a:pt x="276" y="151"/>
                    <a:pt x="276" y="151"/>
                  </a:cubicBezTo>
                  <a:cubicBezTo>
                    <a:pt x="271" y="144"/>
                    <a:pt x="271" y="144"/>
                    <a:pt x="271" y="144"/>
                  </a:cubicBezTo>
                  <a:cubicBezTo>
                    <a:pt x="267" y="137"/>
                    <a:pt x="267" y="137"/>
                    <a:pt x="267" y="137"/>
                  </a:cubicBezTo>
                  <a:cubicBezTo>
                    <a:pt x="260" y="132"/>
                    <a:pt x="260" y="132"/>
                    <a:pt x="260" y="132"/>
                  </a:cubicBezTo>
                  <a:cubicBezTo>
                    <a:pt x="241" y="135"/>
                    <a:pt x="241" y="135"/>
                    <a:pt x="241" y="135"/>
                  </a:cubicBezTo>
                  <a:cubicBezTo>
                    <a:pt x="223" y="136"/>
                    <a:pt x="223" y="136"/>
                    <a:pt x="223" y="136"/>
                  </a:cubicBezTo>
                  <a:cubicBezTo>
                    <a:pt x="211" y="136"/>
                    <a:pt x="211" y="136"/>
                    <a:pt x="211" y="136"/>
                  </a:cubicBezTo>
                  <a:cubicBezTo>
                    <a:pt x="209" y="123"/>
                    <a:pt x="209" y="123"/>
                    <a:pt x="209" y="123"/>
                  </a:cubicBezTo>
                  <a:cubicBezTo>
                    <a:pt x="207" y="111"/>
                    <a:pt x="207" y="111"/>
                    <a:pt x="207" y="111"/>
                  </a:cubicBezTo>
                  <a:cubicBezTo>
                    <a:pt x="206" y="95"/>
                    <a:pt x="206" y="95"/>
                    <a:pt x="206" y="95"/>
                  </a:cubicBezTo>
                  <a:cubicBezTo>
                    <a:pt x="222" y="94"/>
                    <a:pt x="222" y="94"/>
                    <a:pt x="222" y="94"/>
                  </a:cubicBezTo>
                  <a:cubicBezTo>
                    <a:pt x="228" y="92"/>
                    <a:pt x="228" y="92"/>
                    <a:pt x="228" y="92"/>
                  </a:cubicBezTo>
                  <a:cubicBezTo>
                    <a:pt x="235" y="88"/>
                    <a:pt x="235" y="88"/>
                    <a:pt x="235" y="88"/>
                  </a:cubicBezTo>
                  <a:cubicBezTo>
                    <a:pt x="238" y="80"/>
                    <a:pt x="238" y="80"/>
                    <a:pt x="238" y="80"/>
                  </a:cubicBezTo>
                  <a:cubicBezTo>
                    <a:pt x="239" y="67"/>
                    <a:pt x="239" y="67"/>
                    <a:pt x="239" y="67"/>
                  </a:cubicBezTo>
                  <a:cubicBezTo>
                    <a:pt x="241" y="57"/>
                    <a:pt x="241" y="57"/>
                    <a:pt x="241" y="57"/>
                  </a:cubicBezTo>
                  <a:cubicBezTo>
                    <a:pt x="249" y="49"/>
                    <a:pt x="249" y="49"/>
                    <a:pt x="249" y="49"/>
                  </a:cubicBezTo>
                  <a:cubicBezTo>
                    <a:pt x="254" y="42"/>
                    <a:pt x="254" y="42"/>
                    <a:pt x="254" y="42"/>
                  </a:cubicBezTo>
                  <a:cubicBezTo>
                    <a:pt x="261" y="28"/>
                    <a:pt x="261" y="28"/>
                    <a:pt x="261" y="28"/>
                  </a:cubicBezTo>
                  <a:cubicBezTo>
                    <a:pt x="263" y="25"/>
                    <a:pt x="263" y="25"/>
                    <a:pt x="263" y="25"/>
                  </a:cubicBezTo>
                  <a:cubicBezTo>
                    <a:pt x="254" y="20"/>
                    <a:pt x="254" y="20"/>
                    <a:pt x="254" y="20"/>
                  </a:cubicBezTo>
                  <a:cubicBezTo>
                    <a:pt x="243" y="21"/>
                    <a:pt x="243" y="21"/>
                    <a:pt x="243" y="21"/>
                  </a:cubicBezTo>
                  <a:cubicBezTo>
                    <a:pt x="230" y="19"/>
                    <a:pt x="230" y="19"/>
                    <a:pt x="230" y="19"/>
                  </a:cubicBezTo>
                  <a:cubicBezTo>
                    <a:pt x="223" y="10"/>
                    <a:pt x="223" y="10"/>
                    <a:pt x="223" y="10"/>
                  </a:cubicBezTo>
                  <a:cubicBezTo>
                    <a:pt x="219" y="8"/>
                    <a:pt x="219" y="8"/>
                    <a:pt x="219" y="8"/>
                  </a:cubicBezTo>
                  <a:cubicBezTo>
                    <a:pt x="212" y="16"/>
                    <a:pt x="212" y="16"/>
                    <a:pt x="212" y="16"/>
                  </a:cubicBezTo>
                  <a:cubicBezTo>
                    <a:pt x="204" y="17"/>
                    <a:pt x="204" y="17"/>
                    <a:pt x="204" y="17"/>
                  </a:cubicBezTo>
                  <a:cubicBezTo>
                    <a:pt x="189" y="17"/>
                    <a:pt x="189" y="17"/>
                    <a:pt x="189" y="17"/>
                  </a:cubicBezTo>
                  <a:cubicBezTo>
                    <a:pt x="188" y="28"/>
                    <a:pt x="188" y="28"/>
                    <a:pt x="188" y="28"/>
                  </a:cubicBezTo>
                  <a:cubicBezTo>
                    <a:pt x="195" y="37"/>
                    <a:pt x="195" y="37"/>
                    <a:pt x="195" y="37"/>
                  </a:cubicBezTo>
                  <a:cubicBezTo>
                    <a:pt x="197" y="45"/>
                    <a:pt x="197" y="45"/>
                    <a:pt x="197" y="45"/>
                  </a:cubicBezTo>
                  <a:cubicBezTo>
                    <a:pt x="193" y="57"/>
                    <a:pt x="193" y="57"/>
                    <a:pt x="193" y="57"/>
                  </a:cubicBezTo>
                  <a:cubicBezTo>
                    <a:pt x="187" y="66"/>
                    <a:pt x="187" y="66"/>
                    <a:pt x="187" y="66"/>
                  </a:cubicBezTo>
                  <a:cubicBezTo>
                    <a:pt x="187" y="76"/>
                    <a:pt x="187" y="76"/>
                    <a:pt x="187" y="76"/>
                  </a:cubicBezTo>
                  <a:cubicBezTo>
                    <a:pt x="164" y="77"/>
                    <a:pt x="164" y="77"/>
                    <a:pt x="164" y="77"/>
                  </a:cubicBezTo>
                  <a:cubicBezTo>
                    <a:pt x="160" y="90"/>
                    <a:pt x="160" y="90"/>
                    <a:pt x="160" y="90"/>
                  </a:cubicBezTo>
                  <a:cubicBezTo>
                    <a:pt x="136" y="93"/>
                    <a:pt x="136" y="93"/>
                    <a:pt x="136" y="93"/>
                  </a:cubicBezTo>
                  <a:cubicBezTo>
                    <a:pt x="132" y="104"/>
                    <a:pt x="132" y="104"/>
                    <a:pt x="132" y="104"/>
                  </a:cubicBezTo>
                  <a:cubicBezTo>
                    <a:pt x="130" y="110"/>
                    <a:pt x="130" y="110"/>
                    <a:pt x="130" y="110"/>
                  </a:cubicBezTo>
                  <a:cubicBezTo>
                    <a:pt x="119" y="113"/>
                    <a:pt x="119" y="113"/>
                    <a:pt x="119" y="113"/>
                  </a:cubicBezTo>
                  <a:cubicBezTo>
                    <a:pt x="110" y="120"/>
                    <a:pt x="110" y="120"/>
                    <a:pt x="110" y="120"/>
                  </a:cubicBezTo>
                  <a:cubicBezTo>
                    <a:pt x="100" y="113"/>
                    <a:pt x="100" y="113"/>
                    <a:pt x="100" y="113"/>
                  </a:cubicBezTo>
                  <a:cubicBezTo>
                    <a:pt x="98" y="106"/>
                    <a:pt x="98" y="106"/>
                    <a:pt x="98" y="106"/>
                  </a:cubicBezTo>
                  <a:cubicBezTo>
                    <a:pt x="87" y="106"/>
                    <a:pt x="87" y="106"/>
                    <a:pt x="87" y="106"/>
                  </a:cubicBezTo>
                  <a:cubicBezTo>
                    <a:pt x="77" y="106"/>
                    <a:pt x="77" y="106"/>
                    <a:pt x="77" y="106"/>
                  </a:cubicBezTo>
                  <a:cubicBezTo>
                    <a:pt x="72" y="110"/>
                    <a:pt x="72" y="110"/>
                    <a:pt x="72" y="110"/>
                  </a:cubicBezTo>
                  <a:cubicBezTo>
                    <a:pt x="69" y="116"/>
                    <a:pt x="69" y="116"/>
                    <a:pt x="69" y="116"/>
                  </a:cubicBezTo>
                  <a:cubicBezTo>
                    <a:pt x="68" y="121"/>
                    <a:pt x="68" y="121"/>
                    <a:pt x="68" y="121"/>
                  </a:cubicBezTo>
                  <a:cubicBezTo>
                    <a:pt x="77" y="136"/>
                    <a:pt x="77" y="136"/>
                    <a:pt x="77" y="136"/>
                  </a:cubicBezTo>
                  <a:cubicBezTo>
                    <a:pt x="97" y="141"/>
                    <a:pt x="97" y="141"/>
                    <a:pt x="97" y="141"/>
                  </a:cubicBezTo>
                  <a:cubicBezTo>
                    <a:pt x="114" y="136"/>
                    <a:pt x="114" y="136"/>
                    <a:pt x="114" y="136"/>
                  </a:cubicBezTo>
                  <a:cubicBezTo>
                    <a:pt x="128" y="138"/>
                    <a:pt x="128" y="138"/>
                    <a:pt x="128" y="138"/>
                  </a:cubicBezTo>
                  <a:cubicBezTo>
                    <a:pt x="128" y="152"/>
                    <a:pt x="128" y="152"/>
                    <a:pt x="128" y="152"/>
                  </a:cubicBezTo>
                  <a:cubicBezTo>
                    <a:pt x="129" y="162"/>
                    <a:pt x="129" y="162"/>
                    <a:pt x="129" y="162"/>
                  </a:cubicBezTo>
                  <a:cubicBezTo>
                    <a:pt x="134" y="173"/>
                    <a:pt x="134" y="173"/>
                    <a:pt x="134" y="173"/>
                  </a:cubicBezTo>
                  <a:cubicBezTo>
                    <a:pt x="136" y="178"/>
                    <a:pt x="136" y="178"/>
                    <a:pt x="136" y="178"/>
                  </a:cubicBezTo>
                  <a:cubicBezTo>
                    <a:pt x="158" y="178"/>
                    <a:pt x="158" y="178"/>
                    <a:pt x="158" y="178"/>
                  </a:cubicBezTo>
                  <a:cubicBezTo>
                    <a:pt x="156" y="186"/>
                    <a:pt x="156" y="186"/>
                    <a:pt x="156" y="186"/>
                  </a:cubicBezTo>
                  <a:moveTo>
                    <a:pt x="49" y="52"/>
                  </a:moveTo>
                  <a:cubicBezTo>
                    <a:pt x="53" y="55"/>
                    <a:pt x="53" y="55"/>
                    <a:pt x="53" y="55"/>
                  </a:cubicBezTo>
                  <a:cubicBezTo>
                    <a:pt x="58" y="52"/>
                    <a:pt x="58" y="52"/>
                    <a:pt x="58" y="52"/>
                  </a:cubicBezTo>
                  <a:cubicBezTo>
                    <a:pt x="62" y="56"/>
                    <a:pt x="62" y="56"/>
                    <a:pt x="62" y="56"/>
                  </a:cubicBezTo>
                  <a:cubicBezTo>
                    <a:pt x="71" y="63"/>
                    <a:pt x="71" y="63"/>
                    <a:pt x="71" y="63"/>
                  </a:cubicBezTo>
                  <a:cubicBezTo>
                    <a:pt x="79" y="71"/>
                    <a:pt x="79" y="71"/>
                    <a:pt x="79" y="71"/>
                  </a:cubicBezTo>
                  <a:cubicBezTo>
                    <a:pt x="83" y="78"/>
                    <a:pt x="83" y="78"/>
                    <a:pt x="83" y="78"/>
                  </a:cubicBezTo>
                  <a:cubicBezTo>
                    <a:pt x="82" y="86"/>
                    <a:pt x="82" y="86"/>
                    <a:pt x="82" y="86"/>
                  </a:cubicBezTo>
                  <a:cubicBezTo>
                    <a:pt x="80" y="92"/>
                    <a:pt x="80" y="92"/>
                    <a:pt x="80" y="92"/>
                  </a:cubicBezTo>
                  <a:cubicBezTo>
                    <a:pt x="77" y="95"/>
                    <a:pt x="77" y="95"/>
                    <a:pt x="77" y="95"/>
                  </a:cubicBezTo>
                  <a:cubicBezTo>
                    <a:pt x="69" y="96"/>
                    <a:pt x="69" y="96"/>
                    <a:pt x="69" y="96"/>
                  </a:cubicBezTo>
                  <a:cubicBezTo>
                    <a:pt x="60" y="91"/>
                    <a:pt x="60" y="91"/>
                    <a:pt x="60" y="91"/>
                  </a:cubicBezTo>
                  <a:cubicBezTo>
                    <a:pt x="48" y="88"/>
                    <a:pt x="48" y="88"/>
                    <a:pt x="48" y="88"/>
                  </a:cubicBezTo>
                  <a:cubicBezTo>
                    <a:pt x="27" y="85"/>
                    <a:pt x="27" y="85"/>
                    <a:pt x="27" y="85"/>
                  </a:cubicBezTo>
                  <a:cubicBezTo>
                    <a:pt x="25" y="69"/>
                    <a:pt x="25" y="69"/>
                    <a:pt x="25" y="69"/>
                  </a:cubicBezTo>
                  <a:cubicBezTo>
                    <a:pt x="25" y="69"/>
                    <a:pt x="25" y="69"/>
                    <a:pt x="25" y="69"/>
                  </a:cubicBezTo>
                  <a:cubicBezTo>
                    <a:pt x="37" y="63"/>
                    <a:pt x="37" y="63"/>
                    <a:pt x="37" y="63"/>
                  </a:cubicBezTo>
                  <a:lnTo>
                    <a:pt x="49" y="52"/>
                  </a:lnTo>
                  <a:close/>
                  <a:moveTo>
                    <a:pt x="230" y="354"/>
                  </a:moveTo>
                  <a:cubicBezTo>
                    <a:pt x="234" y="350"/>
                    <a:pt x="234" y="350"/>
                    <a:pt x="234" y="350"/>
                  </a:cubicBezTo>
                  <a:cubicBezTo>
                    <a:pt x="239" y="347"/>
                    <a:pt x="239" y="347"/>
                    <a:pt x="239" y="347"/>
                  </a:cubicBezTo>
                  <a:cubicBezTo>
                    <a:pt x="243" y="348"/>
                    <a:pt x="243" y="348"/>
                    <a:pt x="243" y="348"/>
                  </a:cubicBezTo>
                  <a:cubicBezTo>
                    <a:pt x="248" y="353"/>
                    <a:pt x="248" y="353"/>
                    <a:pt x="248" y="353"/>
                  </a:cubicBezTo>
                  <a:cubicBezTo>
                    <a:pt x="248" y="356"/>
                    <a:pt x="248" y="356"/>
                    <a:pt x="248" y="356"/>
                  </a:cubicBezTo>
                  <a:cubicBezTo>
                    <a:pt x="245" y="362"/>
                    <a:pt x="245" y="362"/>
                    <a:pt x="245" y="362"/>
                  </a:cubicBezTo>
                  <a:cubicBezTo>
                    <a:pt x="245" y="362"/>
                    <a:pt x="241" y="366"/>
                    <a:pt x="240" y="366"/>
                  </a:cubicBezTo>
                  <a:cubicBezTo>
                    <a:pt x="240" y="366"/>
                    <a:pt x="233" y="369"/>
                    <a:pt x="233" y="369"/>
                  </a:cubicBezTo>
                  <a:cubicBezTo>
                    <a:pt x="229" y="369"/>
                    <a:pt x="229" y="369"/>
                    <a:pt x="229" y="369"/>
                  </a:cubicBezTo>
                  <a:cubicBezTo>
                    <a:pt x="227" y="366"/>
                    <a:pt x="227" y="366"/>
                    <a:pt x="227" y="366"/>
                  </a:cubicBezTo>
                  <a:cubicBezTo>
                    <a:pt x="227" y="359"/>
                    <a:pt x="227" y="359"/>
                    <a:pt x="227" y="359"/>
                  </a:cubicBezTo>
                  <a:lnTo>
                    <a:pt x="230" y="354"/>
                  </a:lnTo>
                  <a:close/>
                  <a:moveTo>
                    <a:pt x="108" y="5"/>
                  </a:moveTo>
                  <a:cubicBezTo>
                    <a:pt x="114" y="5"/>
                    <a:pt x="114" y="5"/>
                    <a:pt x="114" y="5"/>
                  </a:cubicBezTo>
                  <a:cubicBezTo>
                    <a:pt x="121" y="9"/>
                    <a:pt x="121" y="9"/>
                    <a:pt x="121" y="9"/>
                  </a:cubicBezTo>
                  <a:cubicBezTo>
                    <a:pt x="121" y="15"/>
                    <a:pt x="121" y="15"/>
                    <a:pt x="121" y="15"/>
                  </a:cubicBezTo>
                  <a:cubicBezTo>
                    <a:pt x="122" y="19"/>
                    <a:pt x="122" y="19"/>
                    <a:pt x="122" y="19"/>
                  </a:cubicBezTo>
                  <a:cubicBezTo>
                    <a:pt x="117" y="26"/>
                    <a:pt x="117" y="26"/>
                    <a:pt x="117" y="26"/>
                  </a:cubicBezTo>
                  <a:cubicBezTo>
                    <a:pt x="115" y="32"/>
                    <a:pt x="115" y="32"/>
                    <a:pt x="115" y="32"/>
                  </a:cubicBezTo>
                  <a:cubicBezTo>
                    <a:pt x="111" y="36"/>
                    <a:pt x="111" y="36"/>
                    <a:pt x="111" y="36"/>
                  </a:cubicBezTo>
                  <a:cubicBezTo>
                    <a:pt x="107" y="35"/>
                    <a:pt x="107" y="35"/>
                    <a:pt x="107" y="35"/>
                  </a:cubicBezTo>
                  <a:cubicBezTo>
                    <a:pt x="100" y="35"/>
                    <a:pt x="100" y="35"/>
                    <a:pt x="100" y="35"/>
                  </a:cubicBezTo>
                  <a:cubicBezTo>
                    <a:pt x="94" y="34"/>
                    <a:pt x="94" y="34"/>
                    <a:pt x="94" y="34"/>
                  </a:cubicBezTo>
                  <a:cubicBezTo>
                    <a:pt x="85" y="38"/>
                    <a:pt x="85" y="38"/>
                    <a:pt x="85" y="38"/>
                  </a:cubicBezTo>
                  <a:cubicBezTo>
                    <a:pt x="78" y="39"/>
                    <a:pt x="78" y="39"/>
                    <a:pt x="78" y="39"/>
                  </a:cubicBezTo>
                  <a:cubicBezTo>
                    <a:pt x="72" y="37"/>
                    <a:pt x="72" y="37"/>
                    <a:pt x="72" y="37"/>
                  </a:cubicBezTo>
                  <a:cubicBezTo>
                    <a:pt x="68" y="35"/>
                    <a:pt x="68" y="35"/>
                    <a:pt x="68" y="35"/>
                  </a:cubicBezTo>
                  <a:cubicBezTo>
                    <a:pt x="65" y="31"/>
                    <a:pt x="65" y="31"/>
                    <a:pt x="65" y="31"/>
                  </a:cubicBezTo>
                  <a:cubicBezTo>
                    <a:pt x="67" y="29"/>
                    <a:pt x="67" y="29"/>
                    <a:pt x="67" y="29"/>
                  </a:cubicBezTo>
                  <a:cubicBezTo>
                    <a:pt x="72" y="24"/>
                    <a:pt x="72" y="24"/>
                    <a:pt x="72" y="24"/>
                  </a:cubicBezTo>
                  <a:cubicBezTo>
                    <a:pt x="64" y="16"/>
                    <a:pt x="64" y="16"/>
                    <a:pt x="64" y="16"/>
                  </a:cubicBezTo>
                  <a:cubicBezTo>
                    <a:pt x="57" y="12"/>
                    <a:pt x="57" y="12"/>
                    <a:pt x="57" y="12"/>
                  </a:cubicBezTo>
                  <a:cubicBezTo>
                    <a:pt x="51" y="10"/>
                    <a:pt x="51" y="10"/>
                    <a:pt x="51" y="10"/>
                  </a:cubicBezTo>
                  <a:cubicBezTo>
                    <a:pt x="58" y="1"/>
                    <a:pt x="58" y="1"/>
                    <a:pt x="58" y="1"/>
                  </a:cubicBezTo>
                  <a:cubicBezTo>
                    <a:pt x="64" y="0"/>
                    <a:pt x="64" y="0"/>
                    <a:pt x="64" y="0"/>
                  </a:cubicBezTo>
                  <a:cubicBezTo>
                    <a:pt x="70" y="4"/>
                    <a:pt x="70" y="4"/>
                    <a:pt x="70" y="4"/>
                  </a:cubicBezTo>
                  <a:cubicBezTo>
                    <a:pt x="78" y="12"/>
                    <a:pt x="78" y="12"/>
                    <a:pt x="78" y="12"/>
                  </a:cubicBezTo>
                  <a:cubicBezTo>
                    <a:pt x="78" y="12"/>
                    <a:pt x="80" y="17"/>
                    <a:pt x="85" y="18"/>
                  </a:cubicBezTo>
                  <a:cubicBezTo>
                    <a:pt x="89" y="18"/>
                    <a:pt x="101" y="14"/>
                    <a:pt x="101" y="14"/>
                  </a:cubicBezTo>
                  <a:lnTo>
                    <a:pt x="108" y="5"/>
                  </a:lnTo>
                  <a:close/>
                </a:path>
              </a:pathLst>
            </a:custGeom>
            <a:pattFill prst="narHorz">
              <a:fgClr>
                <a:schemeClr val="accent2"/>
              </a:fgClr>
              <a:bgClr>
                <a:schemeClr val="bg1"/>
              </a:bgClr>
            </a:patt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72" name="Freeform 22">
              <a:extLst>
                <a:ext uri="{FF2B5EF4-FFF2-40B4-BE49-F238E27FC236}">
                  <a16:creationId xmlns:a16="http://schemas.microsoft.com/office/drawing/2014/main" id="{1A55FBD5-2E78-474A-996D-A247DF39AE44}"/>
                </a:ext>
              </a:extLst>
            </p:cNvPr>
            <p:cNvSpPr>
              <a:spLocks noEditPoints="1"/>
            </p:cNvSpPr>
            <p:nvPr/>
          </p:nvSpPr>
          <p:spPr bwMode="gray">
            <a:xfrm>
              <a:off x="6927" y="3111"/>
              <a:ext cx="1021" cy="1375"/>
            </a:xfrm>
            <a:custGeom>
              <a:avLst/>
              <a:gdLst>
                <a:gd name="T0" fmla="*/ 160 w 432"/>
                <a:gd name="T1" fmla="*/ 83 h 582"/>
                <a:gd name="T2" fmla="*/ 189 w 432"/>
                <a:gd name="T3" fmla="*/ 130 h 582"/>
                <a:gd name="T4" fmla="*/ 198 w 432"/>
                <a:gd name="T5" fmla="*/ 168 h 582"/>
                <a:gd name="T6" fmla="*/ 220 w 432"/>
                <a:gd name="T7" fmla="*/ 125 h 582"/>
                <a:gd name="T8" fmla="*/ 219 w 432"/>
                <a:gd name="T9" fmla="*/ 65 h 582"/>
                <a:gd name="T10" fmla="*/ 239 w 432"/>
                <a:gd name="T11" fmla="*/ 24 h 582"/>
                <a:gd name="T12" fmla="*/ 320 w 432"/>
                <a:gd name="T13" fmla="*/ 0 h 582"/>
                <a:gd name="T14" fmla="*/ 315 w 432"/>
                <a:gd name="T15" fmla="*/ 39 h 582"/>
                <a:gd name="T16" fmla="*/ 331 w 432"/>
                <a:gd name="T17" fmla="*/ 103 h 582"/>
                <a:gd name="T18" fmla="*/ 357 w 432"/>
                <a:gd name="T19" fmla="*/ 120 h 582"/>
                <a:gd name="T20" fmla="*/ 382 w 432"/>
                <a:gd name="T21" fmla="*/ 121 h 582"/>
                <a:gd name="T22" fmla="*/ 410 w 432"/>
                <a:gd name="T23" fmla="*/ 121 h 582"/>
                <a:gd name="T24" fmla="*/ 423 w 432"/>
                <a:gd name="T25" fmla="*/ 148 h 582"/>
                <a:gd name="T26" fmla="*/ 398 w 432"/>
                <a:gd name="T27" fmla="*/ 152 h 582"/>
                <a:gd name="T28" fmla="*/ 395 w 432"/>
                <a:gd name="T29" fmla="*/ 171 h 582"/>
                <a:gd name="T30" fmla="*/ 393 w 432"/>
                <a:gd name="T31" fmla="*/ 196 h 582"/>
                <a:gd name="T32" fmla="*/ 383 w 432"/>
                <a:gd name="T33" fmla="*/ 231 h 582"/>
                <a:gd name="T34" fmla="*/ 385 w 432"/>
                <a:gd name="T35" fmla="*/ 266 h 582"/>
                <a:gd name="T36" fmla="*/ 385 w 432"/>
                <a:gd name="T37" fmla="*/ 295 h 582"/>
                <a:gd name="T38" fmla="*/ 432 w 432"/>
                <a:gd name="T39" fmla="*/ 326 h 582"/>
                <a:gd name="T40" fmla="*/ 416 w 432"/>
                <a:gd name="T41" fmla="*/ 368 h 582"/>
                <a:gd name="T42" fmla="*/ 392 w 432"/>
                <a:gd name="T43" fmla="*/ 394 h 582"/>
                <a:gd name="T44" fmla="*/ 373 w 432"/>
                <a:gd name="T45" fmla="*/ 438 h 582"/>
                <a:gd name="T46" fmla="*/ 317 w 432"/>
                <a:gd name="T47" fmla="*/ 478 h 582"/>
                <a:gd name="T48" fmla="*/ 276 w 432"/>
                <a:gd name="T49" fmla="*/ 491 h 582"/>
                <a:gd name="T50" fmla="*/ 223 w 432"/>
                <a:gd name="T51" fmla="*/ 528 h 582"/>
                <a:gd name="T52" fmla="*/ 181 w 432"/>
                <a:gd name="T53" fmla="*/ 570 h 582"/>
                <a:gd name="T54" fmla="*/ 156 w 432"/>
                <a:gd name="T55" fmla="*/ 560 h 582"/>
                <a:gd name="T56" fmla="*/ 122 w 432"/>
                <a:gd name="T57" fmla="*/ 516 h 582"/>
                <a:gd name="T58" fmla="*/ 84 w 432"/>
                <a:gd name="T59" fmla="*/ 505 h 582"/>
                <a:gd name="T60" fmla="*/ 49 w 432"/>
                <a:gd name="T61" fmla="*/ 509 h 582"/>
                <a:gd name="T62" fmla="*/ 41 w 432"/>
                <a:gd name="T63" fmla="*/ 480 h 582"/>
                <a:gd name="T64" fmla="*/ 74 w 432"/>
                <a:gd name="T65" fmla="*/ 485 h 582"/>
                <a:gd name="T66" fmla="*/ 92 w 432"/>
                <a:gd name="T67" fmla="*/ 466 h 582"/>
                <a:gd name="T68" fmla="*/ 90 w 432"/>
                <a:gd name="T69" fmla="*/ 447 h 582"/>
                <a:gd name="T70" fmla="*/ 50 w 432"/>
                <a:gd name="T71" fmla="*/ 440 h 582"/>
                <a:gd name="T72" fmla="*/ 28 w 432"/>
                <a:gd name="T73" fmla="*/ 433 h 582"/>
                <a:gd name="T74" fmla="*/ 30 w 432"/>
                <a:gd name="T75" fmla="*/ 365 h 582"/>
                <a:gd name="T76" fmla="*/ 61 w 432"/>
                <a:gd name="T77" fmla="*/ 354 h 582"/>
                <a:gd name="T78" fmla="*/ 97 w 432"/>
                <a:gd name="T79" fmla="*/ 309 h 582"/>
                <a:gd name="T80" fmla="*/ 120 w 432"/>
                <a:gd name="T81" fmla="*/ 249 h 582"/>
                <a:gd name="T82" fmla="*/ 149 w 432"/>
                <a:gd name="T83" fmla="*/ 193 h 582"/>
                <a:gd name="T84" fmla="*/ 158 w 432"/>
                <a:gd name="T85" fmla="*/ 136 h 582"/>
                <a:gd name="T86" fmla="*/ 106 w 432"/>
                <a:gd name="T87" fmla="*/ 82 h 582"/>
                <a:gd name="T88" fmla="*/ 105 w 432"/>
                <a:gd name="T89" fmla="*/ 117 h 582"/>
                <a:gd name="T90" fmla="*/ 108 w 432"/>
                <a:gd name="T91" fmla="*/ 133 h 582"/>
                <a:gd name="T92" fmla="*/ 102 w 432"/>
                <a:gd name="T93" fmla="*/ 180 h 582"/>
                <a:gd name="T94" fmla="*/ 112 w 432"/>
                <a:gd name="T95" fmla="*/ 189 h 582"/>
                <a:gd name="T96" fmla="*/ 109 w 432"/>
                <a:gd name="T97" fmla="*/ 223 h 582"/>
                <a:gd name="T98" fmla="*/ 72 w 432"/>
                <a:gd name="T99" fmla="*/ 220 h 582"/>
                <a:gd name="T100" fmla="*/ 35 w 432"/>
                <a:gd name="T101" fmla="*/ 223 h 582"/>
                <a:gd name="T102" fmla="*/ 7 w 432"/>
                <a:gd name="T103" fmla="*/ 195 h 582"/>
                <a:gd name="T104" fmla="*/ 0 w 432"/>
                <a:gd name="T105" fmla="*/ 273 h 582"/>
                <a:gd name="T106" fmla="*/ 18 w 432"/>
                <a:gd name="T107" fmla="*/ 271 h 582"/>
                <a:gd name="T108" fmla="*/ 43 w 432"/>
                <a:gd name="T109" fmla="*/ 272 h 582"/>
                <a:gd name="T110" fmla="*/ 33 w 432"/>
                <a:gd name="T111" fmla="*/ 284 h 582"/>
                <a:gd name="T112" fmla="*/ 64 w 432"/>
                <a:gd name="T113" fmla="*/ 241 h 582"/>
                <a:gd name="T114" fmla="*/ 84 w 432"/>
                <a:gd name="T115" fmla="*/ 253 h 582"/>
                <a:gd name="T116" fmla="*/ 65 w 432"/>
                <a:gd name="T117" fmla="*/ 283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32" h="582">
                  <a:moveTo>
                    <a:pt x="130" y="62"/>
                  </a:moveTo>
                  <a:cubicBezTo>
                    <a:pt x="149" y="78"/>
                    <a:pt x="149" y="78"/>
                    <a:pt x="149" y="78"/>
                  </a:cubicBezTo>
                  <a:cubicBezTo>
                    <a:pt x="150" y="78"/>
                    <a:pt x="150" y="78"/>
                    <a:pt x="150" y="78"/>
                  </a:cubicBezTo>
                  <a:cubicBezTo>
                    <a:pt x="160" y="83"/>
                    <a:pt x="160" y="83"/>
                    <a:pt x="160" y="83"/>
                  </a:cubicBezTo>
                  <a:cubicBezTo>
                    <a:pt x="164" y="98"/>
                    <a:pt x="164" y="98"/>
                    <a:pt x="164" y="98"/>
                  </a:cubicBezTo>
                  <a:cubicBezTo>
                    <a:pt x="169" y="112"/>
                    <a:pt x="169" y="112"/>
                    <a:pt x="169" y="112"/>
                  </a:cubicBezTo>
                  <a:cubicBezTo>
                    <a:pt x="182" y="122"/>
                    <a:pt x="182" y="122"/>
                    <a:pt x="182" y="122"/>
                  </a:cubicBezTo>
                  <a:cubicBezTo>
                    <a:pt x="189" y="130"/>
                    <a:pt x="189" y="130"/>
                    <a:pt x="189" y="130"/>
                  </a:cubicBezTo>
                  <a:cubicBezTo>
                    <a:pt x="197" y="136"/>
                    <a:pt x="197" y="136"/>
                    <a:pt x="197" y="136"/>
                  </a:cubicBezTo>
                  <a:cubicBezTo>
                    <a:pt x="197" y="151"/>
                    <a:pt x="197" y="151"/>
                    <a:pt x="197" y="151"/>
                  </a:cubicBezTo>
                  <a:cubicBezTo>
                    <a:pt x="192" y="164"/>
                    <a:pt x="192" y="164"/>
                    <a:pt x="192" y="164"/>
                  </a:cubicBezTo>
                  <a:cubicBezTo>
                    <a:pt x="198" y="168"/>
                    <a:pt x="198" y="168"/>
                    <a:pt x="198" y="168"/>
                  </a:cubicBezTo>
                  <a:cubicBezTo>
                    <a:pt x="204" y="161"/>
                    <a:pt x="204" y="161"/>
                    <a:pt x="204" y="161"/>
                  </a:cubicBezTo>
                  <a:cubicBezTo>
                    <a:pt x="213" y="152"/>
                    <a:pt x="213" y="152"/>
                    <a:pt x="213" y="152"/>
                  </a:cubicBezTo>
                  <a:cubicBezTo>
                    <a:pt x="219" y="142"/>
                    <a:pt x="219" y="142"/>
                    <a:pt x="219" y="142"/>
                  </a:cubicBezTo>
                  <a:cubicBezTo>
                    <a:pt x="220" y="125"/>
                    <a:pt x="220" y="125"/>
                    <a:pt x="220" y="125"/>
                  </a:cubicBezTo>
                  <a:cubicBezTo>
                    <a:pt x="232" y="116"/>
                    <a:pt x="232" y="116"/>
                    <a:pt x="232" y="116"/>
                  </a:cubicBezTo>
                  <a:cubicBezTo>
                    <a:pt x="241" y="108"/>
                    <a:pt x="241" y="108"/>
                    <a:pt x="241" y="108"/>
                  </a:cubicBezTo>
                  <a:cubicBezTo>
                    <a:pt x="232" y="89"/>
                    <a:pt x="232" y="89"/>
                    <a:pt x="232" y="89"/>
                  </a:cubicBezTo>
                  <a:cubicBezTo>
                    <a:pt x="219" y="65"/>
                    <a:pt x="219" y="65"/>
                    <a:pt x="219" y="65"/>
                  </a:cubicBezTo>
                  <a:cubicBezTo>
                    <a:pt x="215" y="60"/>
                    <a:pt x="215" y="60"/>
                    <a:pt x="215" y="60"/>
                  </a:cubicBezTo>
                  <a:cubicBezTo>
                    <a:pt x="215" y="42"/>
                    <a:pt x="215" y="42"/>
                    <a:pt x="215" y="42"/>
                  </a:cubicBezTo>
                  <a:cubicBezTo>
                    <a:pt x="217" y="30"/>
                    <a:pt x="217" y="30"/>
                    <a:pt x="217" y="30"/>
                  </a:cubicBezTo>
                  <a:cubicBezTo>
                    <a:pt x="239" y="24"/>
                    <a:pt x="239" y="24"/>
                    <a:pt x="239" y="24"/>
                  </a:cubicBezTo>
                  <a:cubicBezTo>
                    <a:pt x="253" y="23"/>
                    <a:pt x="253" y="23"/>
                    <a:pt x="253" y="23"/>
                  </a:cubicBezTo>
                  <a:cubicBezTo>
                    <a:pt x="284" y="18"/>
                    <a:pt x="284" y="18"/>
                    <a:pt x="284" y="18"/>
                  </a:cubicBezTo>
                  <a:cubicBezTo>
                    <a:pt x="312" y="5"/>
                    <a:pt x="312" y="5"/>
                    <a:pt x="312" y="5"/>
                  </a:cubicBezTo>
                  <a:cubicBezTo>
                    <a:pt x="320" y="0"/>
                    <a:pt x="320" y="0"/>
                    <a:pt x="320" y="0"/>
                  </a:cubicBezTo>
                  <a:cubicBezTo>
                    <a:pt x="331" y="13"/>
                    <a:pt x="331" y="13"/>
                    <a:pt x="331" y="13"/>
                  </a:cubicBezTo>
                  <a:cubicBezTo>
                    <a:pt x="333" y="24"/>
                    <a:pt x="333" y="24"/>
                    <a:pt x="333" y="24"/>
                  </a:cubicBezTo>
                  <a:cubicBezTo>
                    <a:pt x="320" y="32"/>
                    <a:pt x="320" y="32"/>
                    <a:pt x="320" y="32"/>
                  </a:cubicBezTo>
                  <a:cubicBezTo>
                    <a:pt x="315" y="39"/>
                    <a:pt x="315" y="39"/>
                    <a:pt x="315" y="39"/>
                  </a:cubicBezTo>
                  <a:cubicBezTo>
                    <a:pt x="320" y="58"/>
                    <a:pt x="320" y="58"/>
                    <a:pt x="320" y="58"/>
                  </a:cubicBezTo>
                  <a:cubicBezTo>
                    <a:pt x="321" y="76"/>
                    <a:pt x="321" y="76"/>
                    <a:pt x="321" y="76"/>
                  </a:cubicBezTo>
                  <a:cubicBezTo>
                    <a:pt x="317" y="102"/>
                    <a:pt x="317" y="102"/>
                    <a:pt x="317" y="102"/>
                  </a:cubicBezTo>
                  <a:cubicBezTo>
                    <a:pt x="331" y="103"/>
                    <a:pt x="331" y="103"/>
                    <a:pt x="331" y="103"/>
                  </a:cubicBezTo>
                  <a:cubicBezTo>
                    <a:pt x="331" y="103"/>
                    <a:pt x="333" y="108"/>
                    <a:pt x="335" y="109"/>
                  </a:cubicBezTo>
                  <a:cubicBezTo>
                    <a:pt x="336" y="110"/>
                    <a:pt x="338" y="112"/>
                    <a:pt x="340" y="112"/>
                  </a:cubicBezTo>
                  <a:cubicBezTo>
                    <a:pt x="341" y="112"/>
                    <a:pt x="343" y="111"/>
                    <a:pt x="345" y="111"/>
                  </a:cubicBezTo>
                  <a:cubicBezTo>
                    <a:pt x="349" y="112"/>
                    <a:pt x="353" y="118"/>
                    <a:pt x="357" y="120"/>
                  </a:cubicBezTo>
                  <a:cubicBezTo>
                    <a:pt x="360" y="121"/>
                    <a:pt x="364" y="122"/>
                    <a:pt x="367" y="121"/>
                  </a:cubicBezTo>
                  <a:cubicBezTo>
                    <a:pt x="368" y="121"/>
                    <a:pt x="368" y="120"/>
                    <a:pt x="369" y="120"/>
                  </a:cubicBezTo>
                  <a:cubicBezTo>
                    <a:pt x="372" y="119"/>
                    <a:pt x="375" y="118"/>
                    <a:pt x="377" y="118"/>
                  </a:cubicBezTo>
                  <a:cubicBezTo>
                    <a:pt x="379" y="118"/>
                    <a:pt x="381" y="120"/>
                    <a:pt x="382" y="121"/>
                  </a:cubicBezTo>
                  <a:cubicBezTo>
                    <a:pt x="385" y="122"/>
                    <a:pt x="388" y="125"/>
                    <a:pt x="390" y="124"/>
                  </a:cubicBezTo>
                  <a:cubicBezTo>
                    <a:pt x="392" y="124"/>
                    <a:pt x="392" y="121"/>
                    <a:pt x="393" y="120"/>
                  </a:cubicBezTo>
                  <a:cubicBezTo>
                    <a:pt x="395" y="118"/>
                    <a:pt x="399" y="118"/>
                    <a:pt x="402" y="118"/>
                  </a:cubicBezTo>
                  <a:cubicBezTo>
                    <a:pt x="404" y="118"/>
                    <a:pt x="408" y="119"/>
                    <a:pt x="410" y="121"/>
                  </a:cubicBezTo>
                  <a:cubicBezTo>
                    <a:pt x="413" y="122"/>
                    <a:pt x="416" y="125"/>
                    <a:pt x="417" y="128"/>
                  </a:cubicBezTo>
                  <a:cubicBezTo>
                    <a:pt x="418" y="130"/>
                    <a:pt x="417" y="133"/>
                    <a:pt x="417" y="135"/>
                  </a:cubicBezTo>
                  <a:cubicBezTo>
                    <a:pt x="418" y="138"/>
                    <a:pt x="417" y="141"/>
                    <a:pt x="418" y="143"/>
                  </a:cubicBezTo>
                  <a:cubicBezTo>
                    <a:pt x="419" y="145"/>
                    <a:pt x="422" y="146"/>
                    <a:pt x="423" y="148"/>
                  </a:cubicBezTo>
                  <a:cubicBezTo>
                    <a:pt x="423" y="149"/>
                    <a:pt x="422" y="150"/>
                    <a:pt x="421" y="151"/>
                  </a:cubicBezTo>
                  <a:cubicBezTo>
                    <a:pt x="418" y="155"/>
                    <a:pt x="411" y="158"/>
                    <a:pt x="409" y="163"/>
                  </a:cubicBezTo>
                  <a:cubicBezTo>
                    <a:pt x="406" y="158"/>
                    <a:pt x="406" y="158"/>
                    <a:pt x="406" y="158"/>
                  </a:cubicBezTo>
                  <a:cubicBezTo>
                    <a:pt x="398" y="152"/>
                    <a:pt x="398" y="152"/>
                    <a:pt x="398" y="152"/>
                  </a:cubicBezTo>
                  <a:cubicBezTo>
                    <a:pt x="396" y="147"/>
                    <a:pt x="396" y="147"/>
                    <a:pt x="396" y="147"/>
                  </a:cubicBezTo>
                  <a:cubicBezTo>
                    <a:pt x="390" y="155"/>
                    <a:pt x="390" y="155"/>
                    <a:pt x="390" y="155"/>
                  </a:cubicBezTo>
                  <a:cubicBezTo>
                    <a:pt x="390" y="155"/>
                    <a:pt x="387" y="160"/>
                    <a:pt x="387" y="163"/>
                  </a:cubicBezTo>
                  <a:cubicBezTo>
                    <a:pt x="386" y="165"/>
                    <a:pt x="395" y="171"/>
                    <a:pt x="395" y="171"/>
                  </a:cubicBezTo>
                  <a:cubicBezTo>
                    <a:pt x="402" y="176"/>
                    <a:pt x="402" y="176"/>
                    <a:pt x="402" y="176"/>
                  </a:cubicBezTo>
                  <a:cubicBezTo>
                    <a:pt x="404" y="177"/>
                    <a:pt x="404" y="177"/>
                    <a:pt x="404" y="177"/>
                  </a:cubicBezTo>
                  <a:cubicBezTo>
                    <a:pt x="402" y="179"/>
                    <a:pt x="400" y="183"/>
                    <a:pt x="398" y="185"/>
                  </a:cubicBezTo>
                  <a:cubicBezTo>
                    <a:pt x="396" y="188"/>
                    <a:pt x="394" y="193"/>
                    <a:pt x="393" y="196"/>
                  </a:cubicBezTo>
                  <a:cubicBezTo>
                    <a:pt x="392" y="198"/>
                    <a:pt x="391" y="202"/>
                    <a:pt x="390" y="205"/>
                  </a:cubicBezTo>
                  <a:cubicBezTo>
                    <a:pt x="389" y="207"/>
                    <a:pt x="386" y="210"/>
                    <a:pt x="385" y="213"/>
                  </a:cubicBezTo>
                  <a:cubicBezTo>
                    <a:pt x="384" y="216"/>
                    <a:pt x="384" y="220"/>
                    <a:pt x="384" y="223"/>
                  </a:cubicBezTo>
                  <a:cubicBezTo>
                    <a:pt x="384" y="225"/>
                    <a:pt x="384" y="229"/>
                    <a:pt x="383" y="231"/>
                  </a:cubicBezTo>
                  <a:cubicBezTo>
                    <a:pt x="382" y="234"/>
                    <a:pt x="376" y="234"/>
                    <a:pt x="375" y="237"/>
                  </a:cubicBezTo>
                  <a:cubicBezTo>
                    <a:pt x="373" y="239"/>
                    <a:pt x="373" y="243"/>
                    <a:pt x="374" y="245"/>
                  </a:cubicBezTo>
                  <a:cubicBezTo>
                    <a:pt x="374" y="249"/>
                    <a:pt x="377" y="254"/>
                    <a:pt x="379" y="258"/>
                  </a:cubicBezTo>
                  <a:cubicBezTo>
                    <a:pt x="380" y="261"/>
                    <a:pt x="384" y="263"/>
                    <a:pt x="385" y="266"/>
                  </a:cubicBezTo>
                  <a:cubicBezTo>
                    <a:pt x="385" y="268"/>
                    <a:pt x="384" y="271"/>
                    <a:pt x="383" y="273"/>
                  </a:cubicBezTo>
                  <a:cubicBezTo>
                    <a:pt x="382" y="276"/>
                    <a:pt x="378" y="279"/>
                    <a:pt x="377" y="282"/>
                  </a:cubicBezTo>
                  <a:cubicBezTo>
                    <a:pt x="376" y="284"/>
                    <a:pt x="376" y="288"/>
                    <a:pt x="377" y="290"/>
                  </a:cubicBezTo>
                  <a:cubicBezTo>
                    <a:pt x="379" y="293"/>
                    <a:pt x="383" y="293"/>
                    <a:pt x="385" y="295"/>
                  </a:cubicBezTo>
                  <a:cubicBezTo>
                    <a:pt x="401" y="301"/>
                    <a:pt x="401" y="301"/>
                    <a:pt x="401" y="301"/>
                  </a:cubicBezTo>
                  <a:cubicBezTo>
                    <a:pt x="410" y="306"/>
                    <a:pt x="410" y="306"/>
                    <a:pt x="410" y="306"/>
                  </a:cubicBezTo>
                  <a:cubicBezTo>
                    <a:pt x="423" y="318"/>
                    <a:pt x="423" y="318"/>
                    <a:pt x="423" y="318"/>
                  </a:cubicBezTo>
                  <a:cubicBezTo>
                    <a:pt x="432" y="326"/>
                    <a:pt x="432" y="326"/>
                    <a:pt x="432" y="326"/>
                  </a:cubicBezTo>
                  <a:cubicBezTo>
                    <a:pt x="432" y="352"/>
                    <a:pt x="432" y="352"/>
                    <a:pt x="432" y="352"/>
                  </a:cubicBezTo>
                  <a:cubicBezTo>
                    <a:pt x="430" y="367"/>
                    <a:pt x="430" y="367"/>
                    <a:pt x="430" y="367"/>
                  </a:cubicBezTo>
                  <a:cubicBezTo>
                    <a:pt x="421" y="367"/>
                    <a:pt x="421" y="367"/>
                    <a:pt x="421" y="367"/>
                  </a:cubicBezTo>
                  <a:cubicBezTo>
                    <a:pt x="416" y="368"/>
                    <a:pt x="416" y="368"/>
                    <a:pt x="416" y="368"/>
                  </a:cubicBezTo>
                  <a:cubicBezTo>
                    <a:pt x="404" y="363"/>
                    <a:pt x="404" y="363"/>
                    <a:pt x="404" y="363"/>
                  </a:cubicBezTo>
                  <a:cubicBezTo>
                    <a:pt x="395" y="369"/>
                    <a:pt x="395" y="369"/>
                    <a:pt x="395" y="369"/>
                  </a:cubicBezTo>
                  <a:cubicBezTo>
                    <a:pt x="393" y="377"/>
                    <a:pt x="393" y="377"/>
                    <a:pt x="393" y="377"/>
                  </a:cubicBezTo>
                  <a:cubicBezTo>
                    <a:pt x="392" y="394"/>
                    <a:pt x="392" y="394"/>
                    <a:pt x="392" y="394"/>
                  </a:cubicBezTo>
                  <a:cubicBezTo>
                    <a:pt x="391" y="416"/>
                    <a:pt x="391" y="416"/>
                    <a:pt x="391" y="416"/>
                  </a:cubicBezTo>
                  <a:cubicBezTo>
                    <a:pt x="401" y="433"/>
                    <a:pt x="401" y="433"/>
                    <a:pt x="401" y="433"/>
                  </a:cubicBezTo>
                  <a:cubicBezTo>
                    <a:pt x="390" y="439"/>
                    <a:pt x="390" y="439"/>
                    <a:pt x="390" y="439"/>
                  </a:cubicBezTo>
                  <a:cubicBezTo>
                    <a:pt x="373" y="438"/>
                    <a:pt x="373" y="438"/>
                    <a:pt x="373" y="438"/>
                  </a:cubicBezTo>
                  <a:cubicBezTo>
                    <a:pt x="362" y="444"/>
                    <a:pt x="362" y="444"/>
                    <a:pt x="362" y="444"/>
                  </a:cubicBezTo>
                  <a:cubicBezTo>
                    <a:pt x="347" y="456"/>
                    <a:pt x="347" y="456"/>
                    <a:pt x="347" y="456"/>
                  </a:cubicBezTo>
                  <a:cubicBezTo>
                    <a:pt x="338" y="467"/>
                    <a:pt x="338" y="467"/>
                    <a:pt x="338" y="467"/>
                  </a:cubicBezTo>
                  <a:cubicBezTo>
                    <a:pt x="317" y="478"/>
                    <a:pt x="317" y="478"/>
                    <a:pt x="317" y="478"/>
                  </a:cubicBezTo>
                  <a:cubicBezTo>
                    <a:pt x="306" y="472"/>
                    <a:pt x="306" y="472"/>
                    <a:pt x="306" y="472"/>
                  </a:cubicBezTo>
                  <a:cubicBezTo>
                    <a:pt x="295" y="481"/>
                    <a:pt x="295" y="481"/>
                    <a:pt x="295" y="481"/>
                  </a:cubicBezTo>
                  <a:cubicBezTo>
                    <a:pt x="286" y="486"/>
                    <a:pt x="286" y="486"/>
                    <a:pt x="286" y="486"/>
                  </a:cubicBezTo>
                  <a:cubicBezTo>
                    <a:pt x="276" y="491"/>
                    <a:pt x="276" y="491"/>
                    <a:pt x="276" y="491"/>
                  </a:cubicBezTo>
                  <a:cubicBezTo>
                    <a:pt x="267" y="505"/>
                    <a:pt x="267" y="505"/>
                    <a:pt x="267" y="505"/>
                  </a:cubicBezTo>
                  <a:cubicBezTo>
                    <a:pt x="254" y="519"/>
                    <a:pt x="254" y="519"/>
                    <a:pt x="254" y="519"/>
                  </a:cubicBezTo>
                  <a:cubicBezTo>
                    <a:pt x="243" y="526"/>
                    <a:pt x="243" y="526"/>
                    <a:pt x="243" y="526"/>
                  </a:cubicBezTo>
                  <a:cubicBezTo>
                    <a:pt x="223" y="528"/>
                    <a:pt x="223" y="528"/>
                    <a:pt x="223" y="528"/>
                  </a:cubicBezTo>
                  <a:cubicBezTo>
                    <a:pt x="211" y="531"/>
                    <a:pt x="211" y="531"/>
                    <a:pt x="211" y="531"/>
                  </a:cubicBezTo>
                  <a:cubicBezTo>
                    <a:pt x="201" y="541"/>
                    <a:pt x="201" y="541"/>
                    <a:pt x="201" y="541"/>
                  </a:cubicBezTo>
                  <a:cubicBezTo>
                    <a:pt x="201" y="541"/>
                    <a:pt x="190" y="552"/>
                    <a:pt x="191" y="555"/>
                  </a:cubicBezTo>
                  <a:cubicBezTo>
                    <a:pt x="191" y="558"/>
                    <a:pt x="181" y="570"/>
                    <a:pt x="181" y="570"/>
                  </a:cubicBezTo>
                  <a:cubicBezTo>
                    <a:pt x="171" y="578"/>
                    <a:pt x="171" y="578"/>
                    <a:pt x="171" y="578"/>
                  </a:cubicBezTo>
                  <a:cubicBezTo>
                    <a:pt x="158" y="582"/>
                    <a:pt x="158" y="582"/>
                    <a:pt x="158" y="582"/>
                  </a:cubicBezTo>
                  <a:cubicBezTo>
                    <a:pt x="160" y="576"/>
                    <a:pt x="160" y="576"/>
                    <a:pt x="160" y="576"/>
                  </a:cubicBezTo>
                  <a:cubicBezTo>
                    <a:pt x="156" y="560"/>
                    <a:pt x="156" y="560"/>
                    <a:pt x="156" y="560"/>
                  </a:cubicBezTo>
                  <a:cubicBezTo>
                    <a:pt x="151" y="538"/>
                    <a:pt x="151" y="538"/>
                    <a:pt x="151" y="538"/>
                  </a:cubicBezTo>
                  <a:cubicBezTo>
                    <a:pt x="150" y="526"/>
                    <a:pt x="150" y="526"/>
                    <a:pt x="150" y="526"/>
                  </a:cubicBezTo>
                  <a:cubicBezTo>
                    <a:pt x="135" y="522"/>
                    <a:pt x="135" y="522"/>
                    <a:pt x="135" y="522"/>
                  </a:cubicBezTo>
                  <a:cubicBezTo>
                    <a:pt x="122" y="516"/>
                    <a:pt x="122" y="516"/>
                    <a:pt x="122" y="516"/>
                  </a:cubicBezTo>
                  <a:cubicBezTo>
                    <a:pt x="108" y="504"/>
                    <a:pt x="108" y="504"/>
                    <a:pt x="108" y="504"/>
                  </a:cubicBezTo>
                  <a:cubicBezTo>
                    <a:pt x="101" y="496"/>
                    <a:pt x="101" y="496"/>
                    <a:pt x="101" y="496"/>
                  </a:cubicBezTo>
                  <a:cubicBezTo>
                    <a:pt x="96" y="494"/>
                    <a:pt x="96" y="494"/>
                    <a:pt x="96" y="494"/>
                  </a:cubicBezTo>
                  <a:cubicBezTo>
                    <a:pt x="84" y="505"/>
                    <a:pt x="84" y="505"/>
                    <a:pt x="84" y="505"/>
                  </a:cubicBezTo>
                  <a:cubicBezTo>
                    <a:pt x="78" y="514"/>
                    <a:pt x="78" y="514"/>
                    <a:pt x="78" y="514"/>
                  </a:cubicBezTo>
                  <a:cubicBezTo>
                    <a:pt x="65" y="521"/>
                    <a:pt x="65" y="521"/>
                    <a:pt x="65" y="521"/>
                  </a:cubicBezTo>
                  <a:cubicBezTo>
                    <a:pt x="54" y="519"/>
                    <a:pt x="54" y="519"/>
                    <a:pt x="54" y="519"/>
                  </a:cubicBezTo>
                  <a:cubicBezTo>
                    <a:pt x="49" y="509"/>
                    <a:pt x="49" y="509"/>
                    <a:pt x="49" y="509"/>
                  </a:cubicBezTo>
                  <a:cubicBezTo>
                    <a:pt x="46" y="503"/>
                    <a:pt x="46" y="503"/>
                    <a:pt x="46" y="503"/>
                  </a:cubicBezTo>
                  <a:cubicBezTo>
                    <a:pt x="37" y="496"/>
                    <a:pt x="37" y="496"/>
                    <a:pt x="37" y="496"/>
                  </a:cubicBezTo>
                  <a:cubicBezTo>
                    <a:pt x="38" y="487"/>
                    <a:pt x="38" y="487"/>
                    <a:pt x="38" y="487"/>
                  </a:cubicBezTo>
                  <a:cubicBezTo>
                    <a:pt x="41" y="480"/>
                    <a:pt x="41" y="480"/>
                    <a:pt x="41" y="480"/>
                  </a:cubicBezTo>
                  <a:cubicBezTo>
                    <a:pt x="54" y="480"/>
                    <a:pt x="54" y="480"/>
                    <a:pt x="54" y="480"/>
                  </a:cubicBezTo>
                  <a:cubicBezTo>
                    <a:pt x="64" y="490"/>
                    <a:pt x="64" y="490"/>
                    <a:pt x="64" y="490"/>
                  </a:cubicBezTo>
                  <a:cubicBezTo>
                    <a:pt x="75" y="493"/>
                    <a:pt x="75" y="493"/>
                    <a:pt x="75" y="493"/>
                  </a:cubicBezTo>
                  <a:cubicBezTo>
                    <a:pt x="74" y="485"/>
                    <a:pt x="74" y="485"/>
                    <a:pt x="74" y="485"/>
                  </a:cubicBezTo>
                  <a:cubicBezTo>
                    <a:pt x="77" y="479"/>
                    <a:pt x="77" y="479"/>
                    <a:pt x="77" y="479"/>
                  </a:cubicBezTo>
                  <a:cubicBezTo>
                    <a:pt x="82" y="478"/>
                    <a:pt x="82" y="478"/>
                    <a:pt x="82" y="478"/>
                  </a:cubicBezTo>
                  <a:cubicBezTo>
                    <a:pt x="86" y="473"/>
                    <a:pt x="86" y="473"/>
                    <a:pt x="86" y="473"/>
                  </a:cubicBezTo>
                  <a:cubicBezTo>
                    <a:pt x="92" y="466"/>
                    <a:pt x="92" y="466"/>
                    <a:pt x="92" y="466"/>
                  </a:cubicBezTo>
                  <a:cubicBezTo>
                    <a:pt x="101" y="457"/>
                    <a:pt x="101" y="457"/>
                    <a:pt x="101" y="457"/>
                  </a:cubicBezTo>
                  <a:cubicBezTo>
                    <a:pt x="104" y="452"/>
                    <a:pt x="104" y="452"/>
                    <a:pt x="104" y="452"/>
                  </a:cubicBezTo>
                  <a:cubicBezTo>
                    <a:pt x="99" y="449"/>
                    <a:pt x="99" y="449"/>
                    <a:pt x="99" y="449"/>
                  </a:cubicBezTo>
                  <a:cubicBezTo>
                    <a:pt x="90" y="447"/>
                    <a:pt x="90" y="447"/>
                    <a:pt x="90" y="447"/>
                  </a:cubicBezTo>
                  <a:cubicBezTo>
                    <a:pt x="80" y="442"/>
                    <a:pt x="80" y="442"/>
                    <a:pt x="80" y="442"/>
                  </a:cubicBezTo>
                  <a:cubicBezTo>
                    <a:pt x="70" y="433"/>
                    <a:pt x="70" y="433"/>
                    <a:pt x="70" y="433"/>
                  </a:cubicBezTo>
                  <a:cubicBezTo>
                    <a:pt x="61" y="435"/>
                    <a:pt x="61" y="435"/>
                    <a:pt x="61" y="435"/>
                  </a:cubicBezTo>
                  <a:cubicBezTo>
                    <a:pt x="50" y="440"/>
                    <a:pt x="50" y="440"/>
                    <a:pt x="50" y="440"/>
                  </a:cubicBezTo>
                  <a:cubicBezTo>
                    <a:pt x="46" y="433"/>
                    <a:pt x="46" y="433"/>
                    <a:pt x="46" y="433"/>
                  </a:cubicBezTo>
                  <a:cubicBezTo>
                    <a:pt x="40" y="435"/>
                    <a:pt x="40" y="435"/>
                    <a:pt x="40" y="435"/>
                  </a:cubicBezTo>
                  <a:cubicBezTo>
                    <a:pt x="30" y="439"/>
                    <a:pt x="30" y="439"/>
                    <a:pt x="30" y="439"/>
                  </a:cubicBezTo>
                  <a:cubicBezTo>
                    <a:pt x="28" y="433"/>
                    <a:pt x="28" y="433"/>
                    <a:pt x="28" y="433"/>
                  </a:cubicBezTo>
                  <a:cubicBezTo>
                    <a:pt x="28" y="405"/>
                    <a:pt x="28" y="405"/>
                    <a:pt x="28" y="405"/>
                  </a:cubicBezTo>
                  <a:cubicBezTo>
                    <a:pt x="25" y="387"/>
                    <a:pt x="25" y="387"/>
                    <a:pt x="25" y="387"/>
                  </a:cubicBezTo>
                  <a:cubicBezTo>
                    <a:pt x="25" y="367"/>
                    <a:pt x="25" y="367"/>
                    <a:pt x="25" y="367"/>
                  </a:cubicBezTo>
                  <a:cubicBezTo>
                    <a:pt x="30" y="365"/>
                    <a:pt x="30" y="365"/>
                    <a:pt x="30" y="365"/>
                  </a:cubicBezTo>
                  <a:cubicBezTo>
                    <a:pt x="41" y="355"/>
                    <a:pt x="41" y="355"/>
                    <a:pt x="41" y="355"/>
                  </a:cubicBezTo>
                  <a:cubicBezTo>
                    <a:pt x="50" y="349"/>
                    <a:pt x="50" y="349"/>
                    <a:pt x="50" y="349"/>
                  </a:cubicBezTo>
                  <a:cubicBezTo>
                    <a:pt x="56" y="349"/>
                    <a:pt x="56" y="349"/>
                    <a:pt x="56" y="349"/>
                  </a:cubicBezTo>
                  <a:cubicBezTo>
                    <a:pt x="61" y="354"/>
                    <a:pt x="61" y="354"/>
                    <a:pt x="61" y="354"/>
                  </a:cubicBezTo>
                  <a:cubicBezTo>
                    <a:pt x="72" y="353"/>
                    <a:pt x="72" y="353"/>
                    <a:pt x="72" y="353"/>
                  </a:cubicBezTo>
                  <a:cubicBezTo>
                    <a:pt x="76" y="345"/>
                    <a:pt x="76" y="345"/>
                    <a:pt x="76" y="345"/>
                  </a:cubicBezTo>
                  <a:cubicBezTo>
                    <a:pt x="78" y="330"/>
                    <a:pt x="78" y="330"/>
                    <a:pt x="78" y="330"/>
                  </a:cubicBezTo>
                  <a:cubicBezTo>
                    <a:pt x="97" y="309"/>
                    <a:pt x="97" y="309"/>
                    <a:pt x="97" y="309"/>
                  </a:cubicBezTo>
                  <a:cubicBezTo>
                    <a:pt x="123" y="277"/>
                    <a:pt x="123" y="277"/>
                    <a:pt x="123" y="277"/>
                  </a:cubicBezTo>
                  <a:cubicBezTo>
                    <a:pt x="125" y="265"/>
                    <a:pt x="125" y="265"/>
                    <a:pt x="125" y="265"/>
                  </a:cubicBezTo>
                  <a:cubicBezTo>
                    <a:pt x="117" y="258"/>
                    <a:pt x="117" y="258"/>
                    <a:pt x="117" y="258"/>
                  </a:cubicBezTo>
                  <a:cubicBezTo>
                    <a:pt x="120" y="249"/>
                    <a:pt x="120" y="249"/>
                    <a:pt x="120" y="249"/>
                  </a:cubicBezTo>
                  <a:cubicBezTo>
                    <a:pt x="134" y="234"/>
                    <a:pt x="134" y="234"/>
                    <a:pt x="134" y="234"/>
                  </a:cubicBezTo>
                  <a:cubicBezTo>
                    <a:pt x="141" y="225"/>
                    <a:pt x="141" y="225"/>
                    <a:pt x="141" y="225"/>
                  </a:cubicBezTo>
                  <a:cubicBezTo>
                    <a:pt x="146" y="207"/>
                    <a:pt x="146" y="207"/>
                    <a:pt x="146" y="207"/>
                  </a:cubicBezTo>
                  <a:cubicBezTo>
                    <a:pt x="149" y="193"/>
                    <a:pt x="149" y="193"/>
                    <a:pt x="149" y="193"/>
                  </a:cubicBezTo>
                  <a:cubicBezTo>
                    <a:pt x="162" y="184"/>
                    <a:pt x="162" y="184"/>
                    <a:pt x="162" y="184"/>
                  </a:cubicBezTo>
                  <a:cubicBezTo>
                    <a:pt x="163" y="164"/>
                    <a:pt x="163" y="164"/>
                    <a:pt x="163" y="164"/>
                  </a:cubicBezTo>
                  <a:cubicBezTo>
                    <a:pt x="158" y="153"/>
                    <a:pt x="158" y="153"/>
                    <a:pt x="158" y="153"/>
                  </a:cubicBezTo>
                  <a:cubicBezTo>
                    <a:pt x="158" y="136"/>
                    <a:pt x="158" y="136"/>
                    <a:pt x="158" y="136"/>
                  </a:cubicBezTo>
                  <a:cubicBezTo>
                    <a:pt x="151" y="133"/>
                    <a:pt x="151" y="133"/>
                    <a:pt x="151" y="133"/>
                  </a:cubicBezTo>
                  <a:cubicBezTo>
                    <a:pt x="138" y="123"/>
                    <a:pt x="138" y="123"/>
                    <a:pt x="138" y="123"/>
                  </a:cubicBezTo>
                  <a:cubicBezTo>
                    <a:pt x="123" y="106"/>
                    <a:pt x="123" y="106"/>
                    <a:pt x="123" y="106"/>
                  </a:cubicBezTo>
                  <a:cubicBezTo>
                    <a:pt x="106" y="82"/>
                    <a:pt x="106" y="82"/>
                    <a:pt x="106" y="82"/>
                  </a:cubicBezTo>
                  <a:lnTo>
                    <a:pt x="130" y="62"/>
                  </a:lnTo>
                  <a:close/>
                  <a:moveTo>
                    <a:pt x="82" y="102"/>
                  </a:moveTo>
                  <a:cubicBezTo>
                    <a:pt x="98" y="117"/>
                    <a:pt x="98" y="117"/>
                    <a:pt x="98" y="117"/>
                  </a:cubicBezTo>
                  <a:cubicBezTo>
                    <a:pt x="105" y="117"/>
                    <a:pt x="105" y="117"/>
                    <a:pt x="105" y="117"/>
                  </a:cubicBezTo>
                  <a:cubicBezTo>
                    <a:pt x="113" y="125"/>
                    <a:pt x="113" y="125"/>
                    <a:pt x="113" y="125"/>
                  </a:cubicBezTo>
                  <a:cubicBezTo>
                    <a:pt x="97" y="134"/>
                    <a:pt x="97" y="134"/>
                    <a:pt x="97" y="134"/>
                  </a:cubicBezTo>
                  <a:cubicBezTo>
                    <a:pt x="97" y="137"/>
                    <a:pt x="97" y="137"/>
                    <a:pt x="97" y="137"/>
                  </a:cubicBezTo>
                  <a:cubicBezTo>
                    <a:pt x="108" y="133"/>
                    <a:pt x="108" y="133"/>
                    <a:pt x="108" y="133"/>
                  </a:cubicBezTo>
                  <a:cubicBezTo>
                    <a:pt x="118" y="149"/>
                    <a:pt x="118" y="149"/>
                    <a:pt x="118" y="149"/>
                  </a:cubicBezTo>
                  <a:cubicBezTo>
                    <a:pt x="110" y="156"/>
                    <a:pt x="110" y="156"/>
                    <a:pt x="110" y="156"/>
                  </a:cubicBezTo>
                  <a:cubicBezTo>
                    <a:pt x="103" y="174"/>
                    <a:pt x="103" y="174"/>
                    <a:pt x="103" y="174"/>
                  </a:cubicBezTo>
                  <a:cubicBezTo>
                    <a:pt x="102" y="180"/>
                    <a:pt x="102" y="180"/>
                    <a:pt x="102" y="180"/>
                  </a:cubicBezTo>
                  <a:cubicBezTo>
                    <a:pt x="97" y="195"/>
                    <a:pt x="97" y="195"/>
                    <a:pt x="97" y="195"/>
                  </a:cubicBezTo>
                  <a:cubicBezTo>
                    <a:pt x="104" y="196"/>
                    <a:pt x="104" y="196"/>
                    <a:pt x="104" y="196"/>
                  </a:cubicBezTo>
                  <a:cubicBezTo>
                    <a:pt x="106" y="190"/>
                    <a:pt x="106" y="190"/>
                    <a:pt x="106" y="190"/>
                  </a:cubicBezTo>
                  <a:cubicBezTo>
                    <a:pt x="112" y="189"/>
                    <a:pt x="112" y="189"/>
                    <a:pt x="112" y="189"/>
                  </a:cubicBezTo>
                  <a:cubicBezTo>
                    <a:pt x="116" y="192"/>
                    <a:pt x="116" y="192"/>
                    <a:pt x="116" y="192"/>
                  </a:cubicBezTo>
                  <a:cubicBezTo>
                    <a:pt x="113" y="199"/>
                    <a:pt x="113" y="199"/>
                    <a:pt x="113" y="199"/>
                  </a:cubicBezTo>
                  <a:cubicBezTo>
                    <a:pt x="113" y="211"/>
                    <a:pt x="113" y="211"/>
                    <a:pt x="113" y="211"/>
                  </a:cubicBezTo>
                  <a:cubicBezTo>
                    <a:pt x="109" y="223"/>
                    <a:pt x="109" y="223"/>
                    <a:pt x="109" y="223"/>
                  </a:cubicBezTo>
                  <a:cubicBezTo>
                    <a:pt x="103" y="230"/>
                    <a:pt x="103" y="230"/>
                    <a:pt x="103" y="230"/>
                  </a:cubicBezTo>
                  <a:cubicBezTo>
                    <a:pt x="93" y="230"/>
                    <a:pt x="93" y="230"/>
                    <a:pt x="93" y="230"/>
                  </a:cubicBezTo>
                  <a:cubicBezTo>
                    <a:pt x="81" y="225"/>
                    <a:pt x="81" y="225"/>
                    <a:pt x="81" y="225"/>
                  </a:cubicBezTo>
                  <a:cubicBezTo>
                    <a:pt x="72" y="220"/>
                    <a:pt x="72" y="220"/>
                    <a:pt x="72" y="220"/>
                  </a:cubicBezTo>
                  <a:cubicBezTo>
                    <a:pt x="65" y="227"/>
                    <a:pt x="65" y="227"/>
                    <a:pt x="65" y="227"/>
                  </a:cubicBezTo>
                  <a:cubicBezTo>
                    <a:pt x="57" y="231"/>
                    <a:pt x="57" y="231"/>
                    <a:pt x="57" y="231"/>
                  </a:cubicBezTo>
                  <a:cubicBezTo>
                    <a:pt x="51" y="230"/>
                    <a:pt x="51" y="230"/>
                    <a:pt x="51" y="230"/>
                  </a:cubicBezTo>
                  <a:cubicBezTo>
                    <a:pt x="35" y="223"/>
                    <a:pt x="35" y="223"/>
                    <a:pt x="35" y="223"/>
                  </a:cubicBezTo>
                  <a:cubicBezTo>
                    <a:pt x="21" y="213"/>
                    <a:pt x="21" y="213"/>
                    <a:pt x="21" y="213"/>
                  </a:cubicBezTo>
                  <a:cubicBezTo>
                    <a:pt x="26" y="209"/>
                    <a:pt x="26" y="209"/>
                    <a:pt x="26" y="209"/>
                  </a:cubicBezTo>
                  <a:cubicBezTo>
                    <a:pt x="13" y="200"/>
                    <a:pt x="13" y="200"/>
                    <a:pt x="13" y="200"/>
                  </a:cubicBezTo>
                  <a:cubicBezTo>
                    <a:pt x="7" y="195"/>
                    <a:pt x="7" y="195"/>
                    <a:pt x="7" y="195"/>
                  </a:cubicBezTo>
                  <a:cubicBezTo>
                    <a:pt x="5" y="160"/>
                    <a:pt x="5" y="160"/>
                    <a:pt x="5" y="160"/>
                  </a:cubicBezTo>
                  <a:lnTo>
                    <a:pt x="82" y="102"/>
                  </a:lnTo>
                  <a:close/>
                  <a:moveTo>
                    <a:pt x="7" y="263"/>
                  </a:moveTo>
                  <a:cubicBezTo>
                    <a:pt x="0" y="273"/>
                    <a:pt x="0" y="273"/>
                    <a:pt x="0" y="273"/>
                  </a:cubicBezTo>
                  <a:cubicBezTo>
                    <a:pt x="2" y="282"/>
                    <a:pt x="2" y="282"/>
                    <a:pt x="2" y="282"/>
                  </a:cubicBezTo>
                  <a:cubicBezTo>
                    <a:pt x="9" y="287"/>
                    <a:pt x="9" y="287"/>
                    <a:pt x="9" y="287"/>
                  </a:cubicBezTo>
                  <a:cubicBezTo>
                    <a:pt x="15" y="282"/>
                    <a:pt x="15" y="282"/>
                    <a:pt x="15" y="282"/>
                  </a:cubicBezTo>
                  <a:cubicBezTo>
                    <a:pt x="18" y="271"/>
                    <a:pt x="18" y="271"/>
                    <a:pt x="18" y="271"/>
                  </a:cubicBezTo>
                  <a:cubicBezTo>
                    <a:pt x="17" y="261"/>
                    <a:pt x="17" y="261"/>
                    <a:pt x="17" y="261"/>
                  </a:cubicBezTo>
                  <a:lnTo>
                    <a:pt x="7" y="263"/>
                  </a:lnTo>
                  <a:close/>
                  <a:moveTo>
                    <a:pt x="35" y="271"/>
                  </a:moveTo>
                  <a:cubicBezTo>
                    <a:pt x="43" y="272"/>
                    <a:pt x="43" y="272"/>
                    <a:pt x="43" y="272"/>
                  </a:cubicBezTo>
                  <a:cubicBezTo>
                    <a:pt x="50" y="277"/>
                    <a:pt x="50" y="277"/>
                    <a:pt x="50" y="277"/>
                  </a:cubicBezTo>
                  <a:cubicBezTo>
                    <a:pt x="44" y="286"/>
                    <a:pt x="44" y="286"/>
                    <a:pt x="44" y="286"/>
                  </a:cubicBezTo>
                  <a:cubicBezTo>
                    <a:pt x="37" y="289"/>
                    <a:pt x="37" y="289"/>
                    <a:pt x="37" y="289"/>
                  </a:cubicBezTo>
                  <a:cubicBezTo>
                    <a:pt x="33" y="284"/>
                    <a:pt x="33" y="284"/>
                    <a:pt x="33" y="284"/>
                  </a:cubicBezTo>
                  <a:lnTo>
                    <a:pt x="35" y="271"/>
                  </a:lnTo>
                  <a:close/>
                  <a:moveTo>
                    <a:pt x="45" y="268"/>
                  </a:moveTo>
                  <a:cubicBezTo>
                    <a:pt x="57" y="253"/>
                    <a:pt x="57" y="253"/>
                    <a:pt x="57" y="253"/>
                  </a:cubicBezTo>
                  <a:cubicBezTo>
                    <a:pt x="64" y="241"/>
                    <a:pt x="64" y="241"/>
                    <a:pt x="64" y="241"/>
                  </a:cubicBezTo>
                  <a:cubicBezTo>
                    <a:pt x="61" y="236"/>
                    <a:pt x="61" y="236"/>
                    <a:pt x="61" y="236"/>
                  </a:cubicBezTo>
                  <a:cubicBezTo>
                    <a:pt x="66" y="233"/>
                    <a:pt x="66" y="233"/>
                    <a:pt x="66" y="233"/>
                  </a:cubicBezTo>
                  <a:cubicBezTo>
                    <a:pt x="74" y="242"/>
                    <a:pt x="74" y="242"/>
                    <a:pt x="74" y="242"/>
                  </a:cubicBezTo>
                  <a:cubicBezTo>
                    <a:pt x="84" y="253"/>
                    <a:pt x="84" y="253"/>
                    <a:pt x="84" y="253"/>
                  </a:cubicBezTo>
                  <a:cubicBezTo>
                    <a:pt x="87" y="258"/>
                    <a:pt x="87" y="258"/>
                    <a:pt x="87" y="258"/>
                  </a:cubicBezTo>
                  <a:cubicBezTo>
                    <a:pt x="78" y="274"/>
                    <a:pt x="78" y="274"/>
                    <a:pt x="78" y="274"/>
                  </a:cubicBezTo>
                  <a:cubicBezTo>
                    <a:pt x="72" y="284"/>
                    <a:pt x="72" y="284"/>
                    <a:pt x="72" y="284"/>
                  </a:cubicBezTo>
                  <a:cubicBezTo>
                    <a:pt x="65" y="283"/>
                    <a:pt x="65" y="283"/>
                    <a:pt x="65" y="283"/>
                  </a:cubicBezTo>
                  <a:cubicBezTo>
                    <a:pt x="58" y="275"/>
                    <a:pt x="58" y="275"/>
                    <a:pt x="58" y="275"/>
                  </a:cubicBezTo>
                  <a:lnTo>
                    <a:pt x="45" y="268"/>
                  </a:lnTo>
                  <a:close/>
                </a:path>
              </a:pathLst>
            </a:custGeom>
            <a:pattFill prst="ltHorz">
              <a:fgClr>
                <a:schemeClr val="accent2"/>
              </a:fgClr>
              <a:bgClr>
                <a:schemeClr val="bg1"/>
              </a:bgClr>
            </a:patt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73" name="Freeform 23">
              <a:extLst>
                <a:ext uri="{FF2B5EF4-FFF2-40B4-BE49-F238E27FC236}">
                  <a16:creationId xmlns:a16="http://schemas.microsoft.com/office/drawing/2014/main" id="{5331D370-3A41-4986-8AD9-4C09B0555E50}"/>
                </a:ext>
              </a:extLst>
            </p:cNvPr>
            <p:cNvSpPr>
              <a:spLocks/>
            </p:cNvSpPr>
            <p:nvPr/>
          </p:nvSpPr>
          <p:spPr bwMode="gray">
            <a:xfrm>
              <a:off x="8278" y="1646"/>
              <a:ext cx="163" cy="180"/>
            </a:xfrm>
            <a:custGeom>
              <a:avLst/>
              <a:gdLst>
                <a:gd name="T0" fmla="*/ 0 w 163"/>
                <a:gd name="T1" fmla="*/ 123 h 180"/>
                <a:gd name="T2" fmla="*/ 24 w 163"/>
                <a:gd name="T3" fmla="*/ 133 h 180"/>
                <a:gd name="T4" fmla="*/ 26 w 163"/>
                <a:gd name="T5" fmla="*/ 166 h 180"/>
                <a:gd name="T6" fmla="*/ 45 w 163"/>
                <a:gd name="T7" fmla="*/ 163 h 180"/>
                <a:gd name="T8" fmla="*/ 57 w 163"/>
                <a:gd name="T9" fmla="*/ 180 h 180"/>
                <a:gd name="T10" fmla="*/ 83 w 163"/>
                <a:gd name="T11" fmla="*/ 175 h 180"/>
                <a:gd name="T12" fmla="*/ 95 w 163"/>
                <a:gd name="T13" fmla="*/ 163 h 180"/>
                <a:gd name="T14" fmla="*/ 90 w 163"/>
                <a:gd name="T15" fmla="*/ 126 h 180"/>
                <a:gd name="T16" fmla="*/ 111 w 163"/>
                <a:gd name="T17" fmla="*/ 111 h 180"/>
                <a:gd name="T18" fmla="*/ 121 w 163"/>
                <a:gd name="T19" fmla="*/ 97 h 180"/>
                <a:gd name="T20" fmla="*/ 128 w 163"/>
                <a:gd name="T21" fmla="*/ 83 h 180"/>
                <a:gd name="T22" fmla="*/ 133 w 163"/>
                <a:gd name="T23" fmla="*/ 74 h 180"/>
                <a:gd name="T24" fmla="*/ 149 w 163"/>
                <a:gd name="T25" fmla="*/ 74 h 180"/>
                <a:gd name="T26" fmla="*/ 163 w 163"/>
                <a:gd name="T27" fmla="*/ 64 h 180"/>
                <a:gd name="T28" fmla="*/ 163 w 163"/>
                <a:gd name="T29" fmla="*/ 55 h 180"/>
                <a:gd name="T30" fmla="*/ 161 w 163"/>
                <a:gd name="T31" fmla="*/ 48 h 180"/>
                <a:gd name="T32" fmla="*/ 147 w 163"/>
                <a:gd name="T33" fmla="*/ 43 h 180"/>
                <a:gd name="T34" fmla="*/ 144 w 163"/>
                <a:gd name="T35" fmla="*/ 26 h 180"/>
                <a:gd name="T36" fmla="*/ 161 w 163"/>
                <a:gd name="T37" fmla="*/ 12 h 180"/>
                <a:gd name="T38" fmla="*/ 161 w 163"/>
                <a:gd name="T39" fmla="*/ 3 h 180"/>
                <a:gd name="T40" fmla="*/ 149 w 163"/>
                <a:gd name="T41" fmla="*/ 0 h 180"/>
                <a:gd name="T42" fmla="*/ 133 w 163"/>
                <a:gd name="T43" fmla="*/ 15 h 180"/>
                <a:gd name="T44" fmla="*/ 116 w 163"/>
                <a:gd name="T45" fmla="*/ 22 h 180"/>
                <a:gd name="T46" fmla="*/ 97 w 163"/>
                <a:gd name="T47" fmla="*/ 31 h 180"/>
                <a:gd name="T48" fmla="*/ 74 w 163"/>
                <a:gd name="T49" fmla="*/ 34 h 180"/>
                <a:gd name="T50" fmla="*/ 55 w 163"/>
                <a:gd name="T51" fmla="*/ 43 h 180"/>
                <a:gd name="T52" fmla="*/ 29 w 163"/>
                <a:gd name="T53" fmla="*/ 69 h 180"/>
                <a:gd name="T54" fmla="*/ 24 w 163"/>
                <a:gd name="T55" fmla="*/ 100 h 180"/>
                <a:gd name="T56" fmla="*/ 0 w 163"/>
                <a:gd name="T57" fmla="*/ 12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3" h="180">
                  <a:moveTo>
                    <a:pt x="0" y="123"/>
                  </a:moveTo>
                  <a:lnTo>
                    <a:pt x="24" y="133"/>
                  </a:lnTo>
                  <a:lnTo>
                    <a:pt x="26" y="166"/>
                  </a:lnTo>
                  <a:lnTo>
                    <a:pt x="45" y="163"/>
                  </a:lnTo>
                  <a:lnTo>
                    <a:pt x="57" y="180"/>
                  </a:lnTo>
                  <a:lnTo>
                    <a:pt x="83" y="175"/>
                  </a:lnTo>
                  <a:lnTo>
                    <a:pt x="95" y="163"/>
                  </a:lnTo>
                  <a:lnTo>
                    <a:pt x="90" y="126"/>
                  </a:lnTo>
                  <a:lnTo>
                    <a:pt x="111" y="111"/>
                  </a:lnTo>
                  <a:lnTo>
                    <a:pt x="121" y="97"/>
                  </a:lnTo>
                  <a:lnTo>
                    <a:pt x="128" y="83"/>
                  </a:lnTo>
                  <a:lnTo>
                    <a:pt x="133" y="74"/>
                  </a:lnTo>
                  <a:lnTo>
                    <a:pt x="149" y="74"/>
                  </a:lnTo>
                  <a:lnTo>
                    <a:pt x="163" y="64"/>
                  </a:lnTo>
                  <a:lnTo>
                    <a:pt x="163" y="55"/>
                  </a:lnTo>
                  <a:lnTo>
                    <a:pt x="161" y="48"/>
                  </a:lnTo>
                  <a:lnTo>
                    <a:pt x="147" y="43"/>
                  </a:lnTo>
                  <a:lnTo>
                    <a:pt x="144" y="26"/>
                  </a:lnTo>
                  <a:lnTo>
                    <a:pt x="161" y="12"/>
                  </a:lnTo>
                  <a:lnTo>
                    <a:pt x="161" y="3"/>
                  </a:lnTo>
                  <a:lnTo>
                    <a:pt x="149" y="0"/>
                  </a:lnTo>
                  <a:lnTo>
                    <a:pt x="133" y="15"/>
                  </a:lnTo>
                  <a:lnTo>
                    <a:pt x="116" y="22"/>
                  </a:lnTo>
                  <a:lnTo>
                    <a:pt x="97" y="31"/>
                  </a:lnTo>
                  <a:lnTo>
                    <a:pt x="74" y="34"/>
                  </a:lnTo>
                  <a:lnTo>
                    <a:pt x="55" y="43"/>
                  </a:lnTo>
                  <a:lnTo>
                    <a:pt x="29" y="69"/>
                  </a:lnTo>
                  <a:lnTo>
                    <a:pt x="24" y="100"/>
                  </a:lnTo>
                  <a:lnTo>
                    <a:pt x="0" y="123"/>
                  </a:lnTo>
                  <a:close/>
                </a:path>
              </a:pathLst>
            </a:custGeom>
            <a:pattFill prst="ltHorz">
              <a:fgClr>
                <a:schemeClr val="accent2"/>
              </a:fgClr>
              <a:bgClr>
                <a:schemeClr val="bg1"/>
              </a:bgClr>
            </a:patt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74" name="Freeform 24">
              <a:extLst>
                <a:ext uri="{FF2B5EF4-FFF2-40B4-BE49-F238E27FC236}">
                  <a16:creationId xmlns:a16="http://schemas.microsoft.com/office/drawing/2014/main" id="{13D2CB7D-6FD8-4489-BFA7-C09B60959301}"/>
                </a:ext>
              </a:extLst>
            </p:cNvPr>
            <p:cNvSpPr>
              <a:spLocks noEditPoints="1"/>
            </p:cNvSpPr>
            <p:nvPr/>
          </p:nvSpPr>
          <p:spPr bwMode="gray">
            <a:xfrm>
              <a:off x="7903" y="1757"/>
              <a:ext cx="1018" cy="553"/>
            </a:xfrm>
            <a:custGeom>
              <a:avLst/>
              <a:gdLst>
                <a:gd name="T0" fmla="*/ 36 w 431"/>
                <a:gd name="T1" fmla="*/ 165 h 234"/>
                <a:gd name="T2" fmla="*/ 66 w 431"/>
                <a:gd name="T3" fmla="*/ 189 h 234"/>
                <a:gd name="T4" fmla="*/ 76 w 431"/>
                <a:gd name="T5" fmla="*/ 177 h 234"/>
                <a:gd name="T6" fmla="*/ 102 w 431"/>
                <a:gd name="T7" fmla="*/ 173 h 234"/>
                <a:gd name="T8" fmla="*/ 123 w 431"/>
                <a:gd name="T9" fmla="*/ 180 h 234"/>
                <a:gd name="T10" fmla="*/ 140 w 431"/>
                <a:gd name="T11" fmla="*/ 160 h 234"/>
                <a:gd name="T12" fmla="*/ 191 w 431"/>
                <a:gd name="T13" fmla="*/ 143 h 234"/>
                <a:gd name="T14" fmla="*/ 201 w 431"/>
                <a:gd name="T15" fmla="*/ 112 h 234"/>
                <a:gd name="T16" fmla="*/ 193 w 431"/>
                <a:gd name="T17" fmla="*/ 84 h 234"/>
                <a:gd name="T18" fmla="*/ 223 w 431"/>
                <a:gd name="T19" fmla="*/ 75 h 234"/>
                <a:gd name="T20" fmla="*/ 247 w 431"/>
                <a:gd name="T21" fmla="*/ 88 h 234"/>
                <a:gd name="T22" fmla="*/ 265 w 431"/>
                <a:gd name="T23" fmla="*/ 95 h 234"/>
                <a:gd name="T24" fmla="*/ 245 w 431"/>
                <a:gd name="T25" fmla="*/ 124 h 234"/>
                <a:gd name="T26" fmla="*/ 239 w 431"/>
                <a:gd name="T27" fmla="*/ 155 h 234"/>
                <a:gd name="T28" fmla="*/ 210 w 431"/>
                <a:gd name="T29" fmla="*/ 162 h 234"/>
                <a:gd name="T30" fmla="*/ 215 w 431"/>
                <a:gd name="T31" fmla="*/ 203 h 234"/>
                <a:gd name="T32" fmla="*/ 264 w 431"/>
                <a:gd name="T33" fmla="*/ 199 h 234"/>
                <a:gd name="T34" fmla="*/ 280 w 431"/>
                <a:gd name="T35" fmla="*/ 218 h 234"/>
                <a:gd name="T36" fmla="*/ 301 w 431"/>
                <a:gd name="T37" fmla="*/ 233 h 234"/>
                <a:gd name="T38" fmla="*/ 316 w 431"/>
                <a:gd name="T39" fmla="*/ 226 h 234"/>
                <a:gd name="T40" fmla="*/ 342 w 431"/>
                <a:gd name="T41" fmla="*/ 206 h 234"/>
                <a:gd name="T42" fmla="*/ 375 w 431"/>
                <a:gd name="T43" fmla="*/ 183 h 234"/>
                <a:gd name="T44" fmla="*/ 406 w 431"/>
                <a:gd name="T45" fmla="*/ 173 h 234"/>
                <a:gd name="T46" fmla="*/ 431 w 431"/>
                <a:gd name="T47" fmla="*/ 149 h 234"/>
                <a:gd name="T48" fmla="*/ 423 w 431"/>
                <a:gd name="T49" fmla="*/ 127 h 234"/>
                <a:gd name="T50" fmla="*/ 420 w 431"/>
                <a:gd name="T51" fmla="*/ 107 h 234"/>
                <a:gd name="T52" fmla="*/ 410 w 431"/>
                <a:gd name="T53" fmla="*/ 88 h 234"/>
                <a:gd name="T54" fmla="*/ 389 w 431"/>
                <a:gd name="T55" fmla="*/ 74 h 234"/>
                <a:gd name="T56" fmla="*/ 368 w 431"/>
                <a:gd name="T57" fmla="*/ 33 h 234"/>
                <a:gd name="T58" fmla="*/ 353 w 431"/>
                <a:gd name="T59" fmla="*/ 17 h 234"/>
                <a:gd name="T60" fmla="*/ 341 w 431"/>
                <a:gd name="T61" fmla="*/ 24 h 234"/>
                <a:gd name="T62" fmla="*/ 335 w 431"/>
                <a:gd name="T63" fmla="*/ 46 h 234"/>
                <a:gd name="T64" fmla="*/ 310 w 431"/>
                <a:gd name="T65" fmla="*/ 58 h 234"/>
                <a:gd name="T66" fmla="*/ 308 w 431"/>
                <a:gd name="T67" fmla="*/ 42 h 234"/>
                <a:gd name="T68" fmla="*/ 284 w 431"/>
                <a:gd name="T69" fmla="*/ 26 h 234"/>
                <a:gd name="T70" fmla="*/ 264 w 431"/>
                <a:gd name="T71" fmla="*/ 20 h 234"/>
                <a:gd name="T72" fmla="*/ 238 w 431"/>
                <a:gd name="T73" fmla="*/ 30 h 234"/>
                <a:gd name="T74" fmla="*/ 215 w 431"/>
                <a:gd name="T75" fmla="*/ 17 h 234"/>
                <a:gd name="T76" fmla="*/ 197 w 431"/>
                <a:gd name="T77" fmla="*/ 6 h 234"/>
                <a:gd name="T78" fmla="*/ 183 w 431"/>
                <a:gd name="T79" fmla="*/ 29 h 234"/>
                <a:gd name="T80" fmla="*/ 169 w 431"/>
                <a:gd name="T81" fmla="*/ 9 h 234"/>
                <a:gd name="T82" fmla="*/ 142 w 431"/>
                <a:gd name="T83" fmla="*/ 10 h 234"/>
                <a:gd name="T84" fmla="*/ 111 w 431"/>
                <a:gd name="T85" fmla="*/ 28 h 234"/>
                <a:gd name="T86" fmla="*/ 119 w 431"/>
                <a:gd name="T87" fmla="*/ 61 h 234"/>
                <a:gd name="T88" fmla="*/ 125 w 431"/>
                <a:gd name="T89" fmla="*/ 76 h 234"/>
                <a:gd name="T90" fmla="*/ 121 w 431"/>
                <a:gd name="T91" fmla="*/ 93 h 234"/>
                <a:gd name="T92" fmla="*/ 111 w 431"/>
                <a:gd name="T93" fmla="*/ 102 h 234"/>
                <a:gd name="T94" fmla="*/ 89 w 431"/>
                <a:gd name="T95" fmla="*/ 105 h 234"/>
                <a:gd name="T96" fmla="*/ 72 w 431"/>
                <a:gd name="T97" fmla="*/ 102 h 234"/>
                <a:gd name="T98" fmla="*/ 59 w 431"/>
                <a:gd name="T99" fmla="*/ 107 h 234"/>
                <a:gd name="T100" fmla="*/ 62 w 431"/>
                <a:gd name="T101" fmla="*/ 119 h 234"/>
                <a:gd name="T102" fmla="*/ 83 w 431"/>
                <a:gd name="T103" fmla="*/ 138 h 234"/>
                <a:gd name="T104" fmla="*/ 84 w 431"/>
                <a:gd name="T105" fmla="*/ 159 h 234"/>
                <a:gd name="T106" fmla="*/ 64 w 431"/>
                <a:gd name="T107" fmla="*/ 158 h 234"/>
                <a:gd name="T108" fmla="*/ 29 w 431"/>
                <a:gd name="T109" fmla="*/ 136 h 234"/>
                <a:gd name="T110" fmla="*/ 0 w 431"/>
                <a:gd name="T111" fmla="*/ 139 h 234"/>
                <a:gd name="T112" fmla="*/ 24 w 431"/>
                <a:gd name="T113" fmla="*/ 1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31" h="234">
                  <a:moveTo>
                    <a:pt x="31" y="152"/>
                  </a:moveTo>
                  <a:cubicBezTo>
                    <a:pt x="32" y="159"/>
                    <a:pt x="32" y="159"/>
                    <a:pt x="32" y="159"/>
                  </a:cubicBezTo>
                  <a:cubicBezTo>
                    <a:pt x="36" y="165"/>
                    <a:pt x="36" y="165"/>
                    <a:pt x="36" y="165"/>
                  </a:cubicBezTo>
                  <a:cubicBezTo>
                    <a:pt x="52" y="180"/>
                    <a:pt x="52" y="180"/>
                    <a:pt x="52" y="180"/>
                  </a:cubicBezTo>
                  <a:cubicBezTo>
                    <a:pt x="57" y="187"/>
                    <a:pt x="57" y="187"/>
                    <a:pt x="57" y="187"/>
                  </a:cubicBezTo>
                  <a:cubicBezTo>
                    <a:pt x="66" y="189"/>
                    <a:pt x="66" y="189"/>
                    <a:pt x="66" y="189"/>
                  </a:cubicBezTo>
                  <a:cubicBezTo>
                    <a:pt x="72" y="188"/>
                    <a:pt x="72" y="188"/>
                    <a:pt x="72" y="188"/>
                  </a:cubicBezTo>
                  <a:cubicBezTo>
                    <a:pt x="73" y="183"/>
                    <a:pt x="73" y="183"/>
                    <a:pt x="73" y="183"/>
                  </a:cubicBezTo>
                  <a:cubicBezTo>
                    <a:pt x="76" y="177"/>
                    <a:pt x="76" y="177"/>
                    <a:pt x="76" y="177"/>
                  </a:cubicBezTo>
                  <a:cubicBezTo>
                    <a:pt x="81" y="173"/>
                    <a:pt x="81" y="173"/>
                    <a:pt x="81" y="173"/>
                  </a:cubicBezTo>
                  <a:cubicBezTo>
                    <a:pt x="91" y="173"/>
                    <a:pt x="91" y="173"/>
                    <a:pt x="91" y="173"/>
                  </a:cubicBezTo>
                  <a:cubicBezTo>
                    <a:pt x="102" y="173"/>
                    <a:pt x="102" y="173"/>
                    <a:pt x="102" y="173"/>
                  </a:cubicBezTo>
                  <a:cubicBezTo>
                    <a:pt x="104" y="180"/>
                    <a:pt x="104" y="180"/>
                    <a:pt x="104" y="180"/>
                  </a:cubicBezTo>
                  <a:cubicBezTo>
                    <a:pt x="114" y="187"/>
                    <a:pt x="114" y="187"/>
                    <a:pt x="114" y="187"/>
                  </a:cubicBezTo>
                  <a:cubicBezTo>
                    <a:pt x="123" y="180"/>
                    <a:pt x="123" y="180"/>
                    <a:pt x="123" y="180"/>
                  </a:cubicBezTo>
                  <a:cubicBezTo>
                    <a:pt x="134" y="177"/>
                    <a:pt x="134" y="177"/>
                    <a:pt x="134" y="177"/>
                  </a:cubicBezTo>
                  <a:cubicBezTo>
                    <a:pt x="136" y="171"/>
                    <a:pt x="136" y="171"/>
                    <a:pt x="136" y="171"/>
                  </a:cubicBezTo>
                  <a:cubicBezTo>
                    <a:pt x="140" y="160"/>
                    <a:pt x="140" y="160"/>
                    <a:pt x="140" y="160"/>
                  </a:cubicBezTo>
                  <a:cubicBezTo>
                    <a:pt x="164" y="157"/>
                    <a:pt x="164" y="157"/>
                    <a:pt x="164" y="157"/>
                  </a:cubicBezTo>
                  <a:cubicBezTo>
                    <a:pt x="168" y="144"/>
                    <a:pt x="168" y="144"/>
                    <a:pt x="168" y="144"/>
                  </a:cubicBezTo>
                  <a:cubicBezTo>
                    <a:pt x="191" y="143"/>
                    <a:pt x="191" y="143"/>
                    <a:pt x="191" y="143"/>
                  </a:cubicBezTo>
                  <a:cubicBezTo>
                    <a:pt x="191" y="133"/>
                    <a:pt x="191" y="133"/>
                    <a:pt x="191" y="133"/>
                  </a:cubicBezTo>
                  <a:cubicBezTo>
                    <a:pt x="197" y="124"/>
                    <a:pt x="197" y="124"/>
                    <a:pt x="197" y="124"/>
                  </a:cubicBezTo>
                  <a:cubicBezTo>
                    <a:pt x="201" y="112"/>
                    <a:pt x="201" y="112"/>
                    <a:pt x="201" y="112"/>
                  </a:cubicBezTo>
                  <a:cubicBezTo>
                    <a:pt x="199" y="104"/>
                    <a:pt x="199" y="104"/>
                    <a:pt x="199" y="104"/>
                  </a:cubicBezTo>
                  <a:cubicBezTo>
                    <a:pt x="192" y="95"/>
                    <a:pt x="192" y="95"/>
                    <a:pt x="192" y="95"/>
                  </a:cubicBezTo>
                  <a:cubicBezTo>
                    <a:pt x="193" y="84"/>
                    <a:pt x="193" y="84"/>
                    <a:pt x="193" y="84"/>
                  </a:cubicBezTo>
                  <a:cubicBezTo>
                    <a:pt x="208" y="84"/>
                    <a:pt x="208" y="84"/>
                    <a:pt x="208" y="84"/>
                  </a:cubicBezTo>
                  <a:cubicBezTo>
                    <a:pt x="216" y="83"/>
                    <a:pt x="216" y="83"/>
                    <a:pt x="216" y="83"/>
                  </a:cubicBezTo>
                  <a:cubicBezTo>
                    <a:pt x="223" y="75"/>
                    <a:pt x="223" y="75"/>
                    <a:pt x="223" y="75"/>
                  </a:cubicBezTo>
                  <a:cubicBezTo>
                    <a:pt x="227" y="77"/>
                    <a:pt x="227" y="77"/>
                    <a:pt x="227" y="77"/>
                  </a:cubicBezTo>
                  <a:cubicBezTo>
                    <a:pt x="234" y="86"/>
                    <a:pt x="234" y="86"/>
                    <a:pt x="234" y="86"/>
                  </a:cubicBezTo>
                  <a:cubicBezTo>
                    <a:pt x="247" y="88"/>
                    <a:pt x="247" y="88"/>
                    <a:pt x="247" y="88"/>
                  </a:cubicBezTo>
                  <a:cubicBezTo>
                    <a:pt x="258" y="87"/>
                    <a:pt x="258" y="87"/>
                    <a:pt x="258" y="87"/>
                  </a:cubicBezTo>
                  <a:cubicBezTo>
                    <a:pt x="267" y="92"/>
                    <a:pt x="267" y="92"/>
                    <a:pt x="267" y="92"/>
                  </a:cubicBezTo>
                  <a:cubicBezTo>
                    <a:pt x="265" y="95"/>
                    <a:pt x="265" y="95"/>
                    <a:pt x="265" y="95"/>
                  </a:cubicBezTo>
                  <a:cubicBezTo>
                    <a:pt x="258" y="109"/>
                    <a:pt x="258" y="109"/>
                    <a:pt x="258" y="109"/>
                  </a:cubicBezTo>
                  <a:cubicBezTo>
                    <a:pt x="253" y="116"/>
                    <a:pt x="253" y="116"/>
                    <a:pt x="253" y="116"/>
                  </a:cubicBezTo>
                  <a:cubicBezTo>
                    <a:pt x="245" y="124"/>
                    <a:pt x="245" y="124"/>
                    <a:pt x="245" y="124"/>
                  </a:cubicBezTo>
                  <a:cubicBezTo>
                    <a:pt x="243" y="134"/>
                    <a:pt x="243" y="134"/>
                    <a:pt x="243" y="134"/>
                  </a:cubicBezTo>
                  <a:cubicBezTo>
                    <a:pt x="242" y="147"/>
                    <a:pt x="242" y="147"/>
                    <a:pt x="242" y="147"/>
                  </a:cubicBezTo>
                  <a:cubicBezTo>
                    <a:pt x="239" y="155"/>
                    <a:pt x="239" y="155"/>
                    <a:pt x="239" y="155"/>
                  </a:cubicBezTo>
                  <a:cubicBezTo>
                    <a:pt x="232" y="159"/>
                    <a:pt x="232" y="159"/>
                    <a:pt x="232" y="159"/>
                  </a:cubicBezTo>
                  <a:cubicBezTo>
                    <a:pt x="226" y="161"/>
                    <a:pt x="226" y="161"/>
                    <a:pt x="226" y="161"/>
                  </a:cubicBezTo>
                  <a:cubicBezTo>
                    <a:pt x="210" y="162"/>
                    <a:pt x="210" y="162"/>
                    <a:pt x="210" y="162"/>
                  </a:cubicBezTo>
                  <a:cubicBezTo>
                    <a:pt x="211" y="178"/>
                    <a:pt x="211" y="178"/>
                    <a:pt x="211" y="178"/>
                  </a:cubicBezTo>
                  <a:cubicBezTo>
                    <a:pt x="213" y="190"/>
                    <a:pt x="213" y="190"/>
                    <a:pt x="213" y="190"/>
                  </a:cubicBezTo>
                  <a:cubicBezTo>
                    <a:pt x="215" y="203"/>
                    <a:pt x="215" y="203"/>
                    <a:pt x="215" y="203"/>
                  </a:cubicBezTo>
                  <a:cubicBezTo>
                    <a:pt x="227" y="203"/>
                    <a:pt x="227" y="203"/>
                    <a:pt x="227" y="203"/>
                  </a:cubicBezTo>
                  <a:cubicBezTo>
                    <a:pt x="245" y="202"/>
                    <a:pt x="245" y="202"/>
                    <a:pt x="245" y="202"/>
                  </a:cubicBezTo>
                  <a:cubicBezTo>
                    <a:pt x="264" y="199"/>
                    <a:pt x="264" y="199"/>
                    <a:pt x="264" y="199"/>
                  </a:cubicBezTo>
                  <a:cubicBezTo>
                    <a:pt x="271" y="204"/>
                    <a:pt x="271" y="204"/>
                    <a:pt x="271" y="204"/>
                  </a:cubicBezTo>
                  <a:cubicBezTo>
                    <a:pt x="275" y="211"/>
                    <a:pt x="275" y="211"/>
                    <a:pt x="275" y="211"/>
                  </a:cubicBezTo>
                  <a:cubicBezTo>
                    <a:pt x="280" y="218"/>
                    <a:pt x="280" y="218"/>
                    <a:pt x="280" y="218"/>
                  </a:cubicBezTo>
                  <a:cubicBezTo>
                    <a:pt x="287" y="225"/>
                    <a:pt x="287" y="225"/>
                    <a:pt x="287" y="225"/>
                  </a:cubicBezTo>
                  <a:cubicBezTo>
                    <a:pt x="293" y="230"/>
                    <a:pt x="293" y="230"/>
                    <a:pt x="293" y="230"/>
                  </a:cubicBezTo>
                  <a:cubicBezTo>
                    <a:pt x="301" y="233"/>
                    <a:pt x="301" y="233"/>
                    <a:pt x="301" y="233"/>
                  </a:cubicBezTo>
                  <a:cubicBezTo>
                    <a:pt x="309" y="234"/>
                    <a:pt x="309" y="234"/>
                    <a:pt x="309" y="234"/>
                  </a:cubicBezTo>
                  <a:cubicBezTo>
                    <a:pt x="316" y="233"/>
                    <a:pt x="316" y="233"/>
                    <a:pt x="316" y="233"/>
                  </a:cubicBezTo>
                  <a:cubicBezTo>
                    <a:pt x="316" y="226"/>
                    <a:pt x="316" y="226"/>
                    <a:pt x="316" y="226"/>
                  </a:cubicBezTo>
                  <a:cubicBezTo>
                    <a:pt x="317" y="219"/>
                    <a:pt x="317" y="219"/>
                    <a:pt x="317" y="219"/>
                  </a:cubicBezTo>
                  <a:cubicBezTo>
                    <a:pt x="327" y="211"/>
                    <a:pt x="327" y="211"/>
                    <a:pt x="327" y="211"/>
                  </a:cubicBezTo>
                  <a:cubicBezTo>
                    <a:pt x="342" y="206"/>
                    <a:pt x="342" y="206"/>
                    <a:pt x="342" y="206"/>
                  </a:cubicBezTo>
                  <a:cubicBezTo>
                    <a:pt x="353" y="201"/>
                    <a:pt x="353" y="201"/>
                    <a:pt x="353" y="201"/>
                  </a:cubicBezTo>
                  <a:cubicBezTo>
                    <a:pt x="363" y="195"/>
                    <a:pt x="363" y="195"/>
                    <a:pt x="363" y="195"/>
                  </a:cubicBezTo>
                  <a:cubicBezTo>
                    <a:pt x="375" y="183"/>
                    <a:pt x="375" y="183"/>
                    <a:pt x="375" y="183"/>
                  </a:cubicBezTo>
                  <a:cubicBezTo>
                    <a:pt x="383" y="173"/>
                    <a:pt x="383" y="173"/>
                    <a:pt x="383" y="173"/>
                  </a:cubicBezTo>
                  <a:cubicBezTo>
                    <a:pt x="392" y="171"/>
                    <a:pt x="392" y="171"/>
                    <a:pt x="392" y="171"/>
                  </a:cubicBezTo>
                  <a:cubicBezTo>
                    <a:pt x="406" y="173"/>
                    <a:pt x="406" y="173"/>
                    <a:pt x="406" y="173"/>
                  </a:cubicBezTo>
                  <a:cubicBezTo>
                    <a:pt x="417" y="167"/>
                    <a:pt x="417" y="167"/>
                    <a:pt x="417" y="167"/>
                  </a:cubicBezTo>
                  <a:cubicBezTo>
                    <a:pt x="430" y="158"/>
                    <a:pt x="430" y="158"/>
                    <a:pt x="430" y="158"/>
                  </a:cubicBezTo>
                  <a:cubicBezTo>
                    <a:pt x="431" y="149"/>
                    <a:pt x="431" y="149"/>
                    <a:pt x="431" y="149"/>
                  </a:cubicBezTo>
                  <a:cubicBezTo>
                    <a:pt x="430" y="149"/>
                    <a:pt x="427" y="143"/>
                    <a:pt x="427" y="143"/>
                  </a:cubicBezTo>
                  <a:cubicBezTo>
                    <a:pt x="422" y="137"/>
                    <a:pt x="422" y="137"/>
                    <a:pt x="422" y="137"/>
                  </a:cubicBezTo>
                  <a:cubicBezTo>
                    <a:pt x="423" y="127"/>
                    <a:pt x="423" y="127"/>
                    <a:pt x="423" y="127"/>
                  </a:cubicBezTo>
                  <a:cubicBezTo>
                    <a:pt x="426" y="120"/>
                    <a:pt x="426" y="120"/>
                    <a:pt x="426" y="120"/>
                  </a:cubicBezTo>
                  <a:cubicBezTo>
                    <a:pt x="429" y="113"/>
                    <a:pt x="429" y="113"/>
                    <a:pt x="429" y="113"/>
                  </a:cubicBezTo>
                  <a:cubicBezTo>
                    <a:pt x="420" y="107"/>
                    <a:pt x="420" y="107"/>
                    <a:pt x="420" y="107"/>
                  </a:cubicBezTo>
                  <a:cubicBezTo>
                    <a:pt x="418" y="96"/>
                    <a:pt x="418" y="96"/>
                    <a:pt x="418" y="96"/>
                  </a:cubicBezTo>
                  <a:cubicBezTo>
                    <a:pt x="419" y="89"/>
                    <a:pt x="419" y="89"/>
                    <a:pt x="419" y="89"/>
                  </a:cubicBezTo>
                  <a:cubicBezTo>
                    <a:pt x="410" y="88"/>
                    <a:pt x="410" y="88"/>
                    <a:pt x="410" y="88"/>
                  </a:cubicBezTo>
                  <a:cubicBezTo>
                    <a:pt x="402" y="87"/>
                    <a:pt x="402" y="87"/>
                    <a:pt x="402" y="87"/>
                  </a:cubicBezTo>
                  <a:cubicBezTo>
                    <a:pt x="396" y="84"/>
                    <a:pt x="396" y="84"/>
                    <a:pt x="396" y="84"/>
                  </a:cubicBezTo>
                  <a:cubicBezTo>
                    <a:pt x="389" y="74"/>
                    <a:pt x="389" y="74"/>
                    <a:pt x="389" y="74"/>
                  </a:cubicBezTo>
                  <a:cubicBezTo>
                    <a:pt x="385" y="61"/>
                    <a:pt x="385" y="61"/>
                    <a:pt x="385" y="61"/>
                  </a:cubicBezTo>
                  <a:cubicBezTo>
                    <a:pt x="376" y="44"/>
                    <a:pt x="376" y="44"/>
                    <a:pt x="376" y="44"/>
                  </a:cubicBezTo>
                  <a:cubicBezTo>
                    <a:pt x="368" y="33"/>
                    <a:pt x="368" y="33"/>
                    <a:pt x="368" y="33"/>
                  </a:cubicBezTo>
                  <a:cubicBezTo>
                    <a:pt x="361" y="24"/>
                    <a:pt x="361" y="24"/>
                    <a:pt x="361" y="24"/>
                  </a:cubicBezTo>
                  <a:cubicBezTo>
                    <a:pt x="358" y="21"/>
                    <a:pt x="358" y="21"/>
                    <a:pt x="358" y="21"/>
                  </a:cubicBezTo>
                  <a:cubicBezTo>
                    <a:pt x="353" y="17"/>
                    <a:pt x="353" y="17"/>
                    <a:pt x="353" y="17"/>
                  </a:cubicBezTo>
                  <a:cubicBezTo>
                    <a:pt x="348" y="17"/>
                    <a:pt x="348" y="17"/>
                    <a:pt x="348" y="17"/>
                  </a:cubicBezTo>
                  <a:cubicBezTo>
                    <a:pt x="343" y="19"/>
                    <a:pt x="343" y="19"/>
                    <a:pt x="343" y="19"/>
                  </a:cubicBezTo>
                  <a:cubicBezTo>
                    <a:pt x="341" y="24"/>
                    <a:pt x="341" y="24"/>
                    <a:pt x="341" y="24"/>
                  </a:cubicBezTo>
                  <a:cubicBezTo>
                    <a:pt x="339" y="32"/>
                    <a:pt x="339" y="32"/>
                    <a:pt x="339" y="32"/>
                  </a:cubicBezTo>
                  <a:cubicBezTo>
                    <a:pt x="337" y="38"/>
                    <a:pt x="337" y="38"/>
                    <a:pt x="337" y="38"/>
                  </a:cubicBezTo>
                  <a:cubicBezTo>
                    <a:pt x="335" y="46"/>
                    <a:pt x="335" y="46"/>
                    <a:pt x="335" y="46"/>
                  </a:cubicBezTo>
                  <a:cubicBezTo>
                    <a:pt x="328" y="52"/>
                    <a:pt x="328" y="52"/>
                    <a:pt x="328" y="52"/>
                  </a:cubicBezTo>
                  <a:cubicBezTo>
                    <a:pt x="321" y="57"/>
                    <a:pt x="321" y="57"/>
                    <a:pt x="321" y="57"/>
                  </a:cubicBezTo>
                  <a:cubicBezTo>
                    <a:pt x="310" y="58"/>
                    <a:pt x="310" y="58"/>
                    <a:pt x="310" y="58"/>
                  </a:cubicBezTo>
                  <a:cubicBezTo>
                    <a:pt x="309" y="51"/>
                    <a:pt x="309" y="51"/>
                    <a:pt x="309" y="51"/>
                  </a:cubicBezTo>
                  <a:cubicBezTo>
                    <a:pt x="310" y="46"/>
                    <a:pt x="310" y="46"/>
                    <a:pt x="310" y="46"/>
                  </a:cubicBezTo>
                  <a:cubicBezTo>
                    <a:pt x="308" y="42"/>
                    <a:pt x="308" y="42"/>
                    <a:pt x="308" y="42"/>
                  </a:cubicBezTo>
                  <a:cubicBezTo>
                    <a:pt x="303" y="40"/>
                    <a:pt x="303" y="40"/>
                    <a:pt x="303" y="40"/>
                  </a:cubicBezTo>
                  <a:cubicBezTo>
                    <a:pt x="293" y="31"/>
                    <a:pt x="293" y="31"/>
                    <a:pt x="293" y="31"/>
                  </a:cubicBezTo>
                  <a:cubicBezTo>
                    <a:pt x="284" y="26"/>
                    <a:pt x="284" y="26"/>
                    <a:pt x="284" y="26"/>
                  </a:cubicBezTo>
                  <a:cubicBezTo>
                    <a:pt x="275" y="23"/>
                    <a:pt x="275" y="23"/>
                    <a:pt x="275" y="23"/>
                  </a:cubicBezTo>
                  <a:cubicBezTo>
                    <a:pt x="273" y="18"/>
                    <a:pt x="273" y="18"/>
                    <a:pt x="273" y="18"/>
                  </a:cubicBezTo>
                  <a:cubicBezTo>
                    <a:pt x="270" y="18"/>
                    <a:pt x="266" y="19"/>
                    <a:pt x="264" y="20"/>
                  </a:cubicBezTo>
                  <a:cubicBezTo>
                    <a:pt x="262" y="21"/>
                    <a:pt x="260" y="23"/>
                    <a:pt x="258" y="24"/>
                  </a:cubicBezTo>
                  <a:cubicBezTo>
                    <a:pt x="255" y="25"/>
                    <a:pt x="250" y="26"/>
                    <a:pt x="247" y="27"/>
                  </a:cubicBezTo>
                  <a:cubicBezTo>
                    <a:pt x="244" y="28"/>
                    <a:pt x="241" y="30"/>
                    <a:pt x="238" y="30"/>
                  </a:cubicBezTo>
                  <a:cubicBezTo>
                    <a:pt x="235" y="30"/>
                    <a:pt x="232" y="28"/>
                    <a:pt x="230" y="27"/>
                  </a:cubicBezTo>
                  <a:cubicBezTo>
                    <a:pt x="227" y="26"/>
                    <a:pt x="223" y="25"/>
                    <a:pt x="221" y="23"/>
                  </a:cubicBezTo>
                  <a:cubicBezTo>
                    <a:pt x="219" y="21"/>
                    <a:pt x="217" y="19"/>
                    <a:pt x="215" y="17"/>
                  </a:cubicBezTo>
                  <a:cubicBezTo>
                    <a:pt x="214" y="14"/>
                    <a:pt x="211" y="11"/>
                    <a:pt x="209" y="9"/>
                  </a:cubicBezTo>
                  <a:cubicBezTo>
                    <a:pt x="208" y="6"/>
                    <a:pt x="207" y="2"/>
                    <a:pt x="205" y="0"/>
                  </a:cubicBezTo>
                  <a:cubicBezTo>
                    <a:pt x="197" y="6"/>
                    <a:pt x="197" y="6"/>
                    <a:pt x="197" y="6"/>
                  </a:cubicBezTo>
                  <a:cubicBezTo>
                    <a:pt x="199" y="22"/>
                    <a:pt x="199" y="22"/>
                    <a:pt x="199" y="22"/>
                  </a:cubicBezTo>
                  <a:cubicBezTo>
                    <a:pt x="194" y="27"/>
                    <a:pt x="194" y="27"/>
                    <a:pt x="194" y="27"/>
                  </a:cubicBezTo>
                  <a:cubicBezTo>
                    <a:pt x="183" y="29"/>
                    <a:pt x="183" y="29"/>
                    <a:pt x="183" y="29"/>
                  </a:cubicBezTo>
                  <a:cubicBezTo>
                    <a:pt x="178" y="22"/>
                    <a:pt x="178" y="22"/>
                    <a:pt x="178" y="22"/>
                  </a:cubicBezTo>
                  <a:cubicBezTo>
                    <a:pt x="170" y="23"/>
                    <a:pt x="170" y="23"/>
                    <a:pt x="170" y="23"/>
                  </a:cubicBezTo>
                  <a:cubicBezTo>
                    <a:pt x="169" y="9"/>
                    <a:pt x="169" y="9"/>
                    <a:pt x="169" y="9"/>
                  </a:cubicBezTo>
                  <a:cubicBezTo>
                    <a:pt x="159" y="5"/>
                    <a:pt x="159" y="5"/>
                    <a:pt x="159" y="5"/>
                  </a:cubicBezTo>
                  <a:cubicBezTo>
                    <a:pt x="151" y="9"/>
                    <a:pt x="151" y="9"/>
                    <a:pt x="151" y="9"/>
                  </a:cubicBezTo>
                  <a:cubicBezTo>
                    <a:pt x="142" y="10"/>
                    <a:pt x="142" y="10"/>
                    <a:pt x="142" y="10"/>
                  </a:cubicBezTo>
                  <a:cubicBezTo>
                    <a:pt x="132" y="12"/>
                    <a:pt x="132" y="12"/>
                    <a:pt x="132" y="12"/>
                  </a:cubicBezTo>
                  <a:cubicBezTo>
                    <a:pt x="120" y="16"/>
                    <a:pt x="120" y="16"/>
                    <a:pt x="120" y="16"/>
                  </a:cubicBezTo>
                  <a:cubicBezTo>
                    <a:pt x="111" y="28"/>
                    <a:pt x="111" y="28"/>
                    <a:pt x="111" y="28"/>
                  </a:cubicBezTo>
                  <a:cubicBezTo>
                    <a:pt x="113" y="42"/>
                    <a:pt x="113" y="42"/>
                    <a:pt x="113" y="42"/>
                  </a:cubicBezTo>
                  <a:cubicBezTo>
                    <a:pt x="119" y="49"/>
                    <a:pt x="119" y="49"/>
                    <a:pt x="119" y="49"/>
                  </a:cubicBezTo>
                  <a:cubicBezTo>
                    <a:pt x="119" y="61"/>
                    <a:pt x="119" y="61"/>
                    <a:pt x="119" y="61"/>
                  </a:cubicBezTo>
                  <a:cubicBezTo>
                    <a:pt x="112" y="72"/>
                    <a:pt x="112" y="72"/>
                    <a:pt x="112" y="72"/>
                  </a:cubicBezTo>
                  <a:cubicBezTo>
                    <a:pt x="116" y="72"/>
                    <a:pt x="116" y="72"/>
                    <a:pt x="118" y="72"/>
                  </a:cubicBezTo>
                  <a:cubicBezTo>
                    <a:pt x="125" y="76"/>
                    <a:pt x="125" y="76"/>
                    <a:pt x="125" y="76"/>
                  </a:cubicBezTo>
                  <a:cubicBezTo>
                    <a:pt x="125" y="82"/>
                    <a:pt x="125" y="82"/>
                    <a:pt x="125" y="82"/>
                  </a:cubicBezTo>
                  <a:cubicBezTo>
                    <a:pt x="126" y="86"/>
                    <a:pt x="126" y="86"/>
                    <a:pt x="126" y="86"/>
                  </a:cubicBezTo>
                  <a:cubicBezTo>
                    <a:pt x="121" y="93"/>
                    <a:pt x="121" y="93"/>
                    <a:pt x="121" y="93"/>
                  </a:cubicBezTo>
                  <a:cubicBezTo>
                    <a:pt x="119" y="99"/>
                    <a:pt x="119" y="99"/>
                    <a:pt x="119" y="99"/>
                  </a:cubicBezTo>
                  <a:cubicBezTo>
                    <a:pt x="115" y="103"/>
                    <a:pt x="115" y="103"/>
                    <a:pt x="115" y="103"/>
                  </a:cubicBezTo>
                  <a:cubicBezTo>
                    <a:pt x="111" y="102"/>
                    <a:pt x="111" y="102"/>
                    <a:pt x="111" y="102"/>
                  </a:cubicBezTo>
                  <a:cubicBezTo>
                    <a:pt x="104" y="102"/>
                    <a:pt x="104" y="102"/>
                    <a:pt x="104" y="102"/>
                  </a:cubicBezTo>
                  <a:cubicBezTo>
                    <a:pt x="98" y="101"/>
                    <a:pt x="98" y="101"/>
                    <a:pt x="98" y="101"/>
                  </a:cubicBezTo>
                  <a:cubicBezTo>
                    <a:pt x="89" y="105"/>
                    <a:pt x="89" y="105"/>
                    <a:pt x="89" y="105"/>
                  </a:cubicBezTo>
                  <a:cubicBezTo>
                    <a:pt x="82" y="106"/>
                    <a:pt x="82" y="106"/>
                    <a:pt x="82" y="106"/>
                  </a:cubicBezTo>
                  <a:cubicBezTo>
                    <a:pt x="76" y="104"/>
                    <a:pt x="76" y="104"/>
                    <a:pt x="76" y="104"/>
                  </a:cubicBezTo>
                  <a:cubicBezTo>
                    <a:pt x="72" y="102"/>
                    <a:pt x="72" y="102"/>
                    <a:pt x="72" y="102"/>
                  </a:cubicBezTo>
                  <a:cubicBezTo>
                    <a:pt x="69" y="98"/>
                    <a:pt x="69" y="98"/>
                    <a:pt x="69" y="98"/>
                  </a:cubicBezTo>
                  <a:cubicBezTo>
                    <a:pt x="64" y="102"/>
                    <a:pt x="64" y="102"/>
                    <a:pt x="64" y="102"/>
                  </a:cubicBezTo>
                  <a:cubicBezTo>
                    <a:pt x="59" y="107"/>
                    <a:pt x="59" y="107"/>
                    <a:pt x="59" y="107"/>
                  </a:cubicBezTo>
                  <a:cubicBezTo>
                    <a:pt x="53" y="119"/>
                    <a:pt x="53" y="119"/>
                    <a:pt x="53" y="119"/>
                  </a:cubicBezTo>
                  <a:cubicBezTo>
                    <a:pt x="57" y="122"/>
                    <a:pt x="57" y="122"/>
                    <a:pt x="57" y="122"/>
                  </a:cubicBezTo>
                  <a:cubicBezTo>
                    <a:pt x="62" y="119"/>
                    <a:pt x="62" y="119"/>
                    <a:pt x="62" y="119"/>
                  </a:cubicBezTo>
                  <a:cubicBezTo>
                    <a:pt x="66" y="123"/>
                    <a:pt x="66" y="123"/>
                    <a:pt x="66" y="123"/>
                  </a:cubicBezTo>
                  <a:cubicBezTo>
                    <a:pt x="75" y="130"/>
                    <a:pt x="75" y="130"/>
                    <a:pt x="75" y="130"/>
                  </a:cubicBezTo>
                  <a:cubicBezTo>
                    <a:pt x="83" y="138"/>
                    <a:pt x="83" y="138"/>
                    <a:pt x="83" y="138"/>
                  </a:cubicBezTo>
                  <a:cubicBezTo>
                    <a:pt x="87" y="145"/>
                    <a:pt x="87" y="145"/>
                    <a:pt x="87" y="145"/>
                  </a:cubicBezTo>
                  <a:cubicBezTo>
                    <a:pt x="86" y="153"/>
                    <a:pt x="86" y="153"/>
                    <a:pt x="86" y="153"/>
                  </a:cubicBezTo>
                  <a:cubicBezTo>
                    <a:pt x="84" y="159"/>
                    <a:pt x="84" y="159"/>
                    <a:pt x="84" y="159"/>
                  </a:cubicBezTo>
                  <a:cubicBezTo>
                    <a:pt x="81" y="162"/>
                    <a:pt x="81" y="162"/>
                    <a:pt x="81" y="162"/>
                  </a:cubicBezTo>
                  <a:cubicBezTo>
                    <a:pt x="73" y="163"/>
                    <a:pt x="73" y="163"/>
                    <a:pt x="73" y="163"/>
                  </a:cubicBezTo>
                  <a:cubicBezTo>
                    <a:pt x="64" y="158"/>
                    <a:pt x="64" y="158"/>
                    <a:pt x="64" y="158"/>
                  </a:cubicBezTo>
                  <a:cubicBezTo>
                    <a:pt x="52" y="155"/>
                    <a:pt x="52" y="155"/>
                    <a:pt x="52" y="155"/>
                  </a:cubicBezTo>
                  <a:lnTo>
                    <a:pt x="31" y="152"/>
                  </a:lnTo>
                  <a:close/>
                  <a:moveTo>
                    <a:pt x="29" y="136"/>
                  </a:moveTo>
                  <a:cubicBezTo>
                    <a:pt x="31" y="152"/>
                    <a:pt x="31" y="152"/>
                    <a:pt x="31" y="152"/>
                  </a:cubicBezTo>
                  <a:cubicBezTo>
                    <a:pt x="13" y="151"/>
                    <a:pt x="13" y="151"/>
                    <a:pt x="13" y="151"/>
                  </a:cubicBezTo>
                  <a:cubicBezTo>
                    <a:pt x="0" y="139"/>
                    <a:pt x="0" y="139"/>
                    <a:pt x="0" y="139"/>
                  </a:cubicBezTo>
                  <a:cubicBezTo>
                    <a:pt x="0" y="130"/>
                    <a:pt x="0" y="130"/>
                    <a:pt x="0" y="130"/>
                  </a:cubicBezTo>
                  <a:cubicBezTo>
                    <a:pt x="4" y="130"/>
                    <a:pt x="8" y="132"/>
                    <a:pt x="11" y="133"/>
                  </a:cubicBezTo>
                  <a:cubicBezTo>
                    <a:pt x="15" y="133"/>
                    <a:pt x="21" y="133"/>
                    <a:pt x="24" y="134"/>
                  </a:cubicBezTo>
                  <a:cubicBezTo>
                    <a:pt x="26" y="134"/>
                    <a:pt x="28" y="135"/>
                    <a:pt x="29" y="136"/>
                  </a:cubicBezTo>
                  <a:close/>
                </a:path>
              </a:pathLst>
            </a:custGeom>
            <a:pattFill prst="dkHorz">
              <a:fgClr>
                <a:schemeClr val="accent2"/>
              </a:fgClr>
              <a:bgClr>
                <a:schemeClr val="bg1"/>
              </a:bgClr>
            </a:patt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75" name="Freeform 25">
              <a:extLst>
                <a:ext uri="{FF2B5EF4-FFF2-40B4-BE49-F238E27FC236}">
                  <a16:creationId xmlns:a16="http://schemas.microsoft.com/office/drawing/2014/main" id="{2AD4F543-A1EC-4AE9-A82B-D6D4F5B569BB}"/>
                </a:ext>
              </a:extLst>
            </p:cNvPr>
            <p:cNvSpPr>
              <a:spLocks noEditPoints="1"/>
            </p:cNvSpPr>
            <p:nvPr/>
          </p:nvSpPr>
          <p:spPr bwMode="gray">
            <a:xfrm>
              <a:off x="9691" y="1162"/>
              <a:ext cx="770" cy="612"/>
            </a:xfrm>
            <a:custGeom>
              <a:avLst/>
              <a:gdLst>
                <a:gd name="T0" fmla="*/ 104 w 326"/>
                <a:gd name="T1" fmla="*/ 239 h 259"/>
                <a:gd name="T2" fmla="*/ 96 w 326"/>
                <a:gd name="T3" fmla="*/ 259 h 259"/>
                <a:gd name="T4" fmla="*/ 78 w 326"/>
                <a:gd name="T5" fmla="*/ 236 h 259"/>
                <a:gd name="T6" fmla="*/ 50 w 326"/>
                <a:gd name="T7" fmla="*/ 229 h 259"/>
                <a:gd name="T8" fmla="*/ 30 w 326"/>
                <a:gd name="T9" fmla="*/ 217 h 259"/>
                <a:gd name="T10" fmla="*/ 44 w 326"/>
                <a:gd name="T11" fmla="*/ 191 h 259"/>
                <a:gd name="T12" fmla="*/ 78 w 326"/>
                <a:gd name="T13" fmla="*/ 177 h 259"/>
                <a:gd name="T14" fmla="*/ 102 w 326"/>
                <a:gd name="T15" fmla="*/ 191 h 259"/>
                <a:gd name="T16" fmla="*/ 108 w 326"/>
                <a:gd name="T17" fmla="*/ 211 h 259"/>
                <a:gd name="T18" fmla="*/ 176 w 326"/>
                <a:gd name="T19" fmla="*/ 120 h 259"/>
                <a:gd name="T20" fmla="*/ 158 w 326"/>
                <a:gd name="T21" fmla="*/ 109 h 259"/>
                <a:gd name="T22" fmla="*/ 145 w 326"/>
                <a:gd name="T23" fmla="*/ 121 h 259"/>
                <a:gd name="T24" fmla="*/ 141 w 326"/>
                <a:gd name="T25" fmla="*/ 146 h 259"/>
                <a:gd name="T26" fmla="*/ 124 w 326"/>
                <a:gd name="T27" fmla="*/ 134 h 259"/>
                <a:gd name="T28" fmla="*/ 97 w 326"/>
                <a:gd name="T29" fmla="*/ 137 h 259"/>
                <a:gd name="T30" fmla="*/ 83 w 326"/>
                <a:gd name="T31" fmla="*/ 146 h 259"/>
                <a:gd name="T32" fmla="*/ 77 w 326"/>
                <a:gd name="T33" fmla="*/ 159 h 259"/>
                <a:gd name="T34" fmla="*/ 42 w 326"/>
                <a:gd name="T35" fmla="*/ 166 h 259"/>
                <a:gd name="T36" fmla="*/ 38 w 326"/>
                <a:gd name="T37" fmla="*/ 151 h 259"/>
                <a:gd name="T38" fmla="*/ 12 w 326"/>
                <a:gd name="T39" fmla="*/ 144 h 259"/>
                <a:gd name="T40" fmla="*/ 5 w 326"/>
                <a:gd name="T41" fmla="*/ 122 h 259"/>
                <a:gd name="T42" fmla="*/ 14 w 326"/>
                <a:gd name="T43" fmla="*/ 93 h 259"/>
                <a:gd name="T44" fmla="*/ 32 w 326"/>
                <a:gd name="T45" fmla="*/ 68 h 259"/>
                <a:gd name="T46" fmla="*/ 49 w 326"/>
                <a:gd name="T47" fmla="*/ 43 h 259"/>
                <a:gd name="T48" fmla="*/ 77 w 326"/>
                <a:gd name="T49" fmla="*/ 32 h 259"/>
                <a:gd name="T50" fmla="*/ 102 w 326"/>
                <a:gd name="T51" fmla="*/ 26 h 259"/>
                <a:gd name="T52" fmla="*/ 110 w 326"/>
                <a:gd name="T53" fmla="*/ 10 h 259"/>
                <a:gd name="T54" fmla="*/ 121 w 326"/>
                <a:gd name="T55" fmla="*/ 0 h 259"/>
                <a:gd name="T56" fmla="*/ 146 w 326"/>
                <a:gd name="T57" fmla="*/ 14 h 259"/>
                <a:gd name="T58" fmla="*/ 151 w 326"/>
                <a:gd name="T59" fmla="*/ 39 h 259"/>
                <a:gd name="T60" fmla="*/ 169 w 326"/>
                <a:gd name="T61" fmla="*/ 34 h 259"/>
                <a:gd name="T62" fmla="*/ 172 w 326"/>
                <a:gd name="T63" fmla="*/ 15 h 259"/>
                <a:gd name="T64" fmla="*/ 189 w 326"/>
                <a:gd name="T65" fmla="*/ 33 h 259"/>
                <a:gd name="T66" fmla="*/ 195 w 326"/>
                <a:gd name="T67" fmla="*/ 51 h 259"/>
                <a:gd name="T68" fmla="*/ 217 w 326"/>
                <a:gd name="T69" fmla="*/ 48 h 259"/>
                <a:gd name="T70" fmla="*/ 209 w 326"/>
                <a:gd name="T71" fmla="*/ 74 h 259"/>
                <a:gd name="T72" fmla="*/ 220 w 326"/>
                <a:gd name="T73" fmla="*/ 99 h 259"/>
                <a:gd name="T74" fmla="*/ 203 w 326"/>
                <a:gd name="T75" fmla="*/ 92 h 259"/>
                <a:gd name="T76" fmla="*/ 179 w 326"/>
                <a:gd name="T77" fmla="*/ 95 h 259"/>
                <a:gd name="T78" fmla="*/ 174 w 326"/>
                <a:gd name="T79" fmla="*/ 116 h 259"/>
                <a:gd name="T80" fmla="*/ 309 w 326"/>
                <a:gd name="T81" fmla="*/ 148 h 259"/>
                <a:gd name="T82" fmla="*/ 289 w 326"/>
                <a:gd name="T83" fmla="*/ 132 h 259"/>
                <a:gd name="T84" fmla="*/ 269 w 326"/>
                <a:gd name="T85" fmla="*/ 126 h 259"/>
                <a:gd name="T86" fmla="*/ 272 w 326"/>
                <a:gd name="T87" fmla="*/ 106 h 259"/>
                <a:gd name="T88" fmla="*/ 254 w 326"/>
                <a:gd name="T89" fmla="*/ 96 h 259"/>
                <a:gd name="T90" fmla="*/ 264 w 326"/>
                <a:gd name="T91" fmla="*/ 81 h 259"/>
                <a:gd name="T92" fmla="*/ 277 w 326"/>
                <a:gd name="T93" fmla="*/ 81 h 259"/>
                <a:gd name="T94" fmla="*/ 296 w 326"/>
                <a:gd name="T95" fmla="*/ 93 h 259"/>
                <a:gd name="T96" fmla="*/ 319 w 326"/>
                <a:gd name="T97" fmla="*/ 105 h 259"/>
                <a:gd name="T98" fmla="*/ 310 w 326"/>
                <a:gd name="T99" fmla="*/ 111 h 259"/>
                <a:gd name="T100" fmla="*/ 316 w 326"/>
                <a:gd name="T101" fmla="*/ 136 h 259"/>
                <a:gd name="T102" fmla="*/ 326 w 326"/>
                <a:gd name="T103" fmla="*/ 154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6" h="259">
                  <a:moveTo>
                    <a:pt x="121" y="215"/>
                  </a:moveTo>
                  <a:cubicBezTo>
                    <a:pt x="119" y="217"/>
                    <a:pt x="116" y="221"/>
                    <a:pt x="114" y="224"/>
                  </a:cubicBezTo>
                  <a:cubicBezTo>
                    <a:pt x="112" y="227"/>
                    <a:pt x="113" y="233"/>
                    <a:pt x="110" y="236"/>
                  </a:cubicBezTo>
                  <a:cubicBezTo>
                    <a:pt x="109" y="237"/>
                    <a:pt x="105" y="237"/>
                    <a:pt x="104" y="239"/>
                  </a:cubicBezTo>
                  <a:cubicBezTo>
                    <a:pt x="103" y="241"/>
                    <a:pt x="105" y="245"/>
                    <a:pt x="105" y="247"/>
                  </a:cubicBezTo>
                  <a:cubicBezTo>
                    <a:pt x="105" y="249"/>
                    <a:pt x="104" y="252"/>
                    <a:pt x="103" y="253"/>
                  </a:cubicBezTo>
                  <a:cubicBezTo>
                    <a:pt x="102" y="255"/>
                    <a:pt x="101" y="257"/>
                    <a:pt x="100" y="258"/>
                  </a:cubicBezTo>
                  <a:cubicBezTo>
                    <a:pt x="99" y="259"/>
                    <a:pt x="97" y="259"/>
                    <a:pt x="96" y="259"/>
                  </a:cubicBezTo>
                  <a:cubicBezTo>
                    <a:pt x="94" y="258"/>
                    <a:pt x="94" y="254"/>
                    <a:pt x="93" y="252"/>
                  </a:cubicBezTo>
                  <a:cubicBezTo>
                    <a:pt x="93" y="250"/>
                    <a:pt x="92" y="246"/>
                    <a:pt x="91" y="245"/>
                  </a:cubicBezTo>
                  <a:cubicBezTo>
                    <a:pt x="89" y="242"/>
                    <a:pt x="87" y="240"/>
                    <a:pt x="84" y="238"/>
                  </a:cubicBezTo>
                  <a:cubicBezTo>
                    <a:pt x="83" y="237"/>
                    <a:pt x="80" y="236"/>
                    <a:pt x="78" y="236"/>
                  </a:cubicBezTo>
                  <a:cubicBezTo>
                    <a:pt x="76" y="235"/>
                    <a:pt x="73" y="234"/>
                    <a:pt x="71" y="233"/>
                  </a:cubicBezTo>
                  <a:cubicBezTo>
                    <a:pt x="69" y="232"/>
                    <a:pt x="66" y="231"/>
                    <a:pt x="63" y="230"/>
                  </a:cubicBezTo>
                  <a:cubicBezTo>
                    <a:pt x="61" y="230"/>
                    <a:pt x="58" y="230"/>
                    <a:pt x="56" y="230"/>
                  </a:cubicBezTo>
                  <a:cubicBezTo>
                    <a:pt x="54" y="230"/>
                    <a:pt x="51" y="229"/>
                    <a:pt x="50" y="229"/>
                  </a:cubicBezTo>
                  <a:cubicBezTo>
                    <a:pt x="52" y="222"/>
                    <a:pt x="52" y="222"/>
                    <a:pt x="52" y="222"/>
                  </a:cubicBezTo>
                  <a:cubicBezTo>
                    <a:pt x="43" y="223"/>
                    <a:pt x="43" y="223"/>
                    <a:pt x="43" y="223"/>
                  </a:cubicBezTo>
                  <a:cubicBezTo>
                    <a:pt x="33" y="221"/>
                    <a:pt x="33" y="221"/>
                    <a:pt x="33" y="221"/>
                  </a:cubicBezTo>
                  <a:cubicBezTo>
                    <a:pt x="30" y="217"/>
                    <a:pt x="30" y="217"/>
                    <a:pt x="30" y="217"/>
                  </a:cubicBezTo>
                  <a:cubicBezTo>
                    <a:pt x="32" y="209"/>
                    <a:pt x="32" y="209"/>
                    <a:pt x="32" y="209"/>
                  </a:cubicBezTo>
                  <a:cubicBezTo>
                    <a:pt x="33" y="203"/>
                    <a:pt x="33" y="203"/>
                    <a:pt x="33" y="203"/>
                  </a:cubicBezTo>
                  <a:cubicBezTo>
                    <a:pt x="37" y="196"/>
                    <a:pt x="37" y="196"/>
                    <a:pt x="37" y="196"/>
                  </a:cubicBezTo>
                  <a:cubicBezTo>
                    <a:pt x="44" y="191"/>
                    <a:pt x="44" y="191"/>
                    <a:pt x="44" y="191"/>
                  </a:cubicBezTo>
                  <a:cubicBezTo>
                    <a:pt x="50" y="188"/>
                    <a:pt x="50" y="188"/>
                    <a:pt x="50" y="188"/>
                  </a:cubicBezTo>
                  <a:cubicBezTo>
                    <a:pt x="59" y="183"/>
                    <a:pt x="59" y="183"/>
                    <a:pt x="59" y="183"/>
                  </a:cubicBezTo>
                  <a:cubicBezTo>
                    <a:pt x="70" y="178"/>
                    <a:pt x="70" y="178"/>
                    <a:pt x="70" y="178"/>
                  </a:cubicBezTo>
                  <a:cubicBezTo>
                    <a:pt x="78" y="177"/>
                    <a:pt x="78" y="177"/>
                    <a:pt x="78" y="177"/>
                  </a:cubicBezTo>
                  <a:cubicBezTo>
                    <a:pt x="83" y="181"/>
                    <a:pt x="83" y="181"/>
                    <a:pt x="83" y="181"/>
                  </a:cubicBezTo>
                  <a:cubicBezTo>
                    <a:pt x="90" y="186"/>
                    <a:pt x="90" y="186"/>
                    <a:pt x="90" y="186"/>
                  </a:cubicBezTo>
                  <a:cubicBezTo>
                    <a:pt x="96" y="188"/>
                    <a:pt x="96" y="188"/>
                    <a:pt x="96" y="188"/>
                  </a:cubicBezTo>
                  <a:cubicBezTo>
                    <a:pt x="102" y="191"/>
                    <a:pt x="102" y="191"/>
                    <a:pt x="102" y="191"/>
                  </a:cubicBezTo>
                  <a:cubicBezTo>
                    <a:pt x="106" y="197"/>
                    <a:pt x="106" y="197"/>
                    <a:pt x="106" y="197"/>
                  </a:cubicBezTo>
                  <a:cubicBezTo>
                    <a:pt x="108" y="202"/>
                    <a:pt x="108" y="202"/>
                    <a:pt x="108" y="202"/>
                  </a:cubicBezTo>
                  <a:cubicBezTo>
                    <a:pt x="105" y="207"/>
                    <a:pt x="105" y="207"/>
                    <a:pt x="105" y="207"/>
                  </a:cubicBezTo>
                  <a:cubicBezTo>
                    <a:pt x="108" y="211"/>
                    <a:pt x="108" y="211"/>
                    <a:pt x="108" y="211"/>
                  </a:cubicBezTo>
                  <a:cubicBezTo>
                    <a:pt x="114" y="213"/>
                    <a:pt x="114" y="213"/>
                    <a:pt x="114" y="213"/>
                  </a:cubicBezTo>
                  <a:cubicBezTo>
                    <a:pt x="118" y="214"/>
                    <a:pt x="118" y="214"/>
                    <a:pt x="118" y="214"/>
                  </a:cubicBezTo>
                  <a:lnTo>
                    <a:pt x="121" y="215"/>
                  </a:lnTo>
                  <a:close/>
                  <a:moveTo>
                    <a:pt x="176" y="120"/>
                  </a:moveTo>
                  <a:cubicBezTo>
                    <a:pt x="174" y="119"/>
                    <a:pt x="172" y="118"/>
                    <a:pt x="171" y="116"/>
                  </a:cubicBezTo>
                  <a:cubicBezTo>
                    <a:pt x="169" y="115"/>
                    <a:pt x="168" y="114"/>
                    <a:pt x="166" y="113"/>
                  </a:cubicBezTo>
                  <a:cubicBezTo>
                    <a:pt x="165" y="112"/>
                    <a:pt x="164" y="111"/>
                    <a:pt x="163" y="110"/>
                  </a:cubicBezTo>
                  <a:cubicBezTo>
                    <a:pt x="162" y="110"/>
                    <a:pt x="160" y="109"/>
                    <a:pt x="158" y="109"/>
                  </a:cubicBezTo>
                  <a:cubicBezTo>
                    <a:pt x="156" y="109"/>
                    <a:pt x="153" y="110"/>
                    <a:pt x="151" y="110"/>
                  </a:cubicBezTo>
                  <a:cubicBezTo>
                    <a:pt x="150" y="110"/>
                    <a:pt x="147" y="110"/>
                    <a:pt x="146" y="111"/>
                  </a:cubicBezTo>
                  <a:cubicBezTo>
                    <a:pt x="145" y="112"/>
                    <a:pt x="146" y="113"/>
                    <a:pt x="146" y="114"/>
                  </a:cubicBezTo>
                  <a:cubicBezTo>
                    <a:pt x="146" y="116"/>
                    <a:pt x="145" y="119"/>
                    <a:pt x="145" y="121"/>
                  </a:cubicBezTo>
                  <a:cubicBezTo>
                    <a:pt x="145" y="122"/>
                    <a:pt x="145" y="125"/>
                    <a:pt x="144" y="126"/>
                  </a:cubicBezTo>
                  <a:cubicBezTo>
                    <a:pt x="143" y="128"/>
                    <a:pt x="141" y="129"/>
                    <a:pt x="141" y="131"/>
                  </a:cubicBezTo>
                  <a:cubicBezTo>
                    <a:pt x="140" y="133"/>
                    <a:pt x="140" y="136"/>
                    <a:pt x="140" y="138"/>
                  </a:cubicBezTo>
                  <a:cubicBezTo>
                    <a:pt x="140" y="140"/>
                    <a:pt x="140" y="144"/>
                    <a:pt x="141" y="146"/>
                  </a:cubicBezTo>
                  <a:cubicBezTo>
                    <a:pt x="137" y="141"/>
                    <a:pt x="137" y="141"/>
                    <a:pt x="137" y="141"/>
                  </a:cubicBezTo>
                  <a:cubicBezTo>
                    <a:pt x="134" y="139"/>
                    <a:pt x="134" y="139"/>
                    <a:pt x="134" y="139"/>
                  </a:cubicBezTo>
                  <a:cubicBezTo>
                    <a:pt x="129" y="136"/>
                    <a:pt x="129" y="136"/>
                    <a:pt x="129" y="136"/>
                  </a:cubicBezTo>
                  <a:cubicBezTo>
                    <a:pt x="124" y="134"/>
                    <a:pt x="124" y="134"/>
                    <a:pt x="124" y="134"/>
                  </a:cubicBezTo>
                  <a:cubicBezTo>
                    <a:pt x="121" y="135"/>
                    <a:pt x="121" y="135"/>
                    <a:pt x="121" y="135"/>
                  </a:cubicBezTo>
                  <a:cubicBezTo>
                    <a:pt x="116" y="137"/>
                    <a:pt x="116" y="137"/>
                    <a:pt x="116" y="137"/>
                  </a:cubicBezTo>
                  <a:cubicBezTo>
                    <a:pt x="108" y="137"/>
                    <a:pt x="108" y="137"/>
                    <a:pt x="108" y="137"/>
                  </a:cubicBezTo>
                  <a:cubicBezTo>
                    <a:pt x="97" y="137"/>
                    <a:pt x="97" y="137"/>
                    <a:pt x="97" y="137"/>
                  </a:cubicBezTo>
                  <a:cubicBezTo>
                    <a:pt x="92" y="138"/>
                    <a:pt x="92" y="138"/>
                    <a:pt x="92" y="138"/>
                  </a:cubicBezTo>
                  <a:cubicBezTo>
                    <a:pt x="90" y="141"/>
                    <a:pt x="90" y="141"/>
                    <a:pt x="90" y="141"/>
                  </a:cubicBezTo>
                  <a:cubicBezTo>
                    <a:pt x="86" y="143"/>
                    <a:pt x="86" y="143"/>
                    <a:pt x="86" y="143"/>
                  </a:cubicBezTo>
                  <a:cubicBezTo>
                    <a:pt x="83" y="146"/>
                    <a:pt x="83" y="146"/>
                    <a:pt x="83" y="146"/>
                  </a:cubicBezTo>
                  <a:cubicBezTo>
                    <a:pt x="78" y="148"/>
                    <a:pt x="78" y="148"/>
                    <a:pt x="78" y="148"/>
                  </a:cubicBezTo>
                  <a:cubicBezTo>
                    <a:pt x="76" y="155"/>
                    <a:pt x="76" y="155"/>
                    <a:pt x="76" y="155"/>
                  </a:cubicBezTo>
                  <a:cubicBezTo>
                    <a:pt x="78" y="158"/>
                    <a:pt x="78" y="158"/>
                    <a:pt x="78" y="158"/>
                  </a:cubicBezTo>
                  <a:cubicBezTo>
                    <a:pt x="77" y="159"/>
                    <a:pt x="77" y="159"/>
                    <a:pt x="77" y="159"/>
                  </a:cubicBezTo>
                  <a:cubicBezTo>
                    <a:pt x="57" y="158"/>
                    <a:pt x="57" y="158"/>
                    <a:pt x="57" y="158"/>
                  </a:cubicBezTo>
                  <a:cubicBezTo>
                    <a:pt x="46" y="161"/>
                    <a:pt x="46" y="161"/>
                    <a:pt x="46" y="161"/>
                  </a:cubicBezTo>
                  <a:cubicBezTo>
                    <a:pt x="44" y="164"/>
                    <a:pt x="44" y="164"/>
                    <a:pt x="44" y="164"/>
                  </a:cubicBezTo>
                  <a:cubicBezTo>
                    <a:pt x="42" y="166"/>
                    <a:pt x="42" y="166"/>
                    <a:pt x="42" y="166"/>
                  </a:cubicBezTo>
                  <a:cubicBezTo>
                    <a:pt x="39" y="166"/>
                    <a:pt x="39" y="166"/>
                    <a:pt x="39" y="166"/>
                  </a:cubicBezTo>
                  <a:cubicBezTo>
                    <a:pt x="38" y="162"/>
                    <a:pt x="38" y="162"/>
                    <a:pt x="38" y="162"/>
                  </a:cubicBezTo>
                  <a:cubicBezTo>
                    <a:pt x="39" y="158"/>
                    <a:pt x="39" y="158"/>
                    <a:pt x="39" y="158"/>
                  </a:cubicBezTo>
                  <a:cubicBezTo>
                    <a:pt x="38" y="151"/>
                    <a:pt x="38" y="151"/>
                    <a:pt x="38" y="151"/>
                  </a:cubicBezTo>
                  <a:cubicBezTo>
                    <a:pt x="35" y="149"/>
                    <a:pt x="35" y="149"/>
                    <a:pt x="35" y="149"/>
                  </a:cubicBezTo>
                  <a:cubicBezTo>
                    <a:pt x="27" y="149"/>
                    <a:pt x="27" y="149"/>
                    <a:pt x="27" y="149"/>
                  </a:cubicBezTo>
                  <a:cubicBezTo>
                    <a:pt x="17" y="149"/>
                    <a:pt x="17" y="149"/>
                    <a:pt x="17" y="149"/>
                  </a:cubicBezTo>
                  <a:cubicBezTo>
                    <a:pt x="12" y="144"/>
                    <a:pt x="12" y="144"/>
                    <a:pt x="12" y="144"/>
                  </a:cubicBezTo>
                  <a:cubicBezTo>
                    <a:pt x="6" y="140"/>
                    <a:pt x="6" y="140"/>
                    <a:pt x="6" y="140"/>
                  </a:cubicBezTo>
                  <a:cubicBezTo>
                    <a:pt x="0" y="138"/>
                    <a:pt x="0" y="138"/>
                    <a:pt x="0" y="138"/>
                  </a:cubicBezTo>
                  <a:cubicBezTo>
                    <a:pt x="1" y="131"/>
                    <a:pt x="1" y="131"/>
                    <a:pt x="1" y="131"/>
                  </a:cubicBezTo>
                  <a:cubicBezTo>
                    <a:pt x="5" y="122"/>
                    <a:pt x="5" y="122"/>
                    <a:pt x="5" y="122"/>
                  </a:cubicBezTo>
                  <a:cubicBezTo>
                    <a:pt x="6" y="116"/>
                    <a:pt x="6" y="116"/>
                    <a:pt x="6" y="116"/>
                  </a:cubicBezTo>
                  <a:cubicBezTo>
                    <a:pt x="3" y="107"/>
                    <a:pt x="3" y="107"/>
                    <a:pt x="3" y="107"/>
                  </a:cubicBezTo>
                  <a:cubicBezTo>
                    <a:pt x="7" y="100"/>
                    <a:pt x="7" y="100"/>
                    <a:pt x="7" y="100"/>
                  </a:cubicBezTo>
                  <a:cubicBezTo>
                    <a:pt x="14" y="93"/>
                    <a:pt x="14" y="93"/>
                    <a:pt x="14" y="93"/>
                  </a:cubicBezTo>
                  <a:cubicBezTo>
                    <a:pt x="21" y="87"/>
                    <a:pt x="21" y="87"/>
                    <a:pt x="21" y="87"/>
                  </a:cubicBezTo>
                  <a:cubicBezTo>
                    <a:pt x="26" y="81"/>
                    <a:pt x="26" y="81"/>
                    <a:pt x="26" y="81"/>
                  </a:cubicBezTo>
                  <a:cubicBezTo>
                    <a:pt x="30" y="75"/>
                    <a:pt x="30" y="75"/>
                    <a:pt x="30" y="75"/>
                  </a:cubicBezTo>
                  <a:cubicBezTo>
                    <a:pt x="32" y="68"/>
                    <a:pt x="32" y="68"/>
                    <a:pt x="32" y="68"/>
                  </a:cubicBezTo>
                  <a:cubicBezTo>
                    <a:pt x="35" y="60"/>
                    <a:pt x="35" y="60"/>
                    <a:pt x="35" y="60"/>
                  </a:cubicBezTo>
                  <a:cubicBezTo>
                    <a:pt x="38" y="53"/>
                    <a:pt x="38" y="53"/>
                    <a:pt x="38" y="53"/>
                  </a:cubicBezTo>
                  <a:cubicBezTo>
                    <a:pt x="43" y="47"/>
                    <a:pt x="43" y="47"/>
                    <a:pt x="43" y="47"/>
                  </a:cubicBezTo>
                  <a:cubicBezTo>
                    <a:pt x="49" y="43"/>
                    <a:pt x="49" y="43"/>
                    <a:pt x="49" y="43"/>
                  </a:cubicBezTo>
                  <a:cubicBezTo>
                    <a:pt x="55" y="38"/>
                    <a:pt x="55" y="38"/>
                    <a:pt x="55" y="38"/>
                  </a:cubicBezTo>
                  <a:cubicBezTo>
                    <a:pt x="62" y="34"/>
                    <a:pt x="62" y="34"/>
                    <a:pt x="62" y="34"/>
                  </a:cubicBezTo>
                  <a:cubicBezTo>
                    <a:pt x="71" y="32"/>
                    <a:pt x="71" y="32"/>
                    <a:pt x="71" y="32"/>
                  </a:cubicBezTo>
                  <a:cubicBezTo>
                    <a:pt x="77" y="32"/>
                    <a:pt x="77" y="32"/>
                    <a:pt x="77" y="32"/>
                  </a:cubicBezTo>
                  <a:cubicBezTo>
                    <a:pt x="82" y="31"/>
                    <a:pt x="82" y="31"/>
                    <a:pt x="82" y="31"/>
                  </a:cubicBezTo>
                  <a:cubicBezTo>
                    <a:pt x="88" y="27"/>
                    <a:pt x="88" y="27"/>
                    <a:pt x="88" y="27"/>
                  </a:cubicBezTo>
                  <a:cubicBezTo>
                    <a:pt x="94" y="24"/>
                    <a:pt x="94" y="24"/>
                    <a:pt x="94" y="24"/>
                  </a:cubicBezTo>
                  <a:cubicBezTo>
                    <a:pt x="102" y="26"/>
                    <a:pt x="102" y="26"/>
                    <a:pt x="102" y="26"/>
                  </a:cubicBezTo>
                  <a:cubicBezTo>
                    <a:pt x="108" y="26"/>
                    <a:pt x="108" y="26"/>
                    <a:pt x="108" y="26"/>
                  </a:cubicBezTo>
                  <a:cubicBezTo>
                    <a:pt x="112" y="21"/>
                    <a:pt x="112" y="21"/>
                    <a:pt x="112" y="21"/>
                  </a:cubicBezTo>
                  <a:cubicBezTo>
                    <a:pt x="111" y="15"/>
                    <a:pt x="111" y="15"/>
                    <a:pt x="111" y="15"/>
                  </a:cubicBezTo>
                  <a:cubicBezTo>
                    <a:pt x="110" y="10"/>
                    <a:pt x="110" y="10"/>
                    <a:pt x="110" y="10"/>
                  </a:cubicBezTo>
                  <a:cubicBezTo>
                    <a:pt x="106" y="7"/>
                    <a:pt x="106" y="7"/>
                    <a:pt x="106" y="7"/>
                  </a:cubicBezTo>
                  <a:cubicBezTo>
                    <a:pt x="107" y="1"/>
                    <a:pt x="107" y="1"/>
                    <a:pt x="107" y="1"/>
                  </a:cubicBezTo>
                  <a:cubicBezTo>
                    <a:pt x="112" y="0"/>
                    <a:pt x="112" y="0"/>
                    <a:pt x="112" y="0"/>
                  </a:cubicBezTo>
                  <a:cubicBezTo>
                    <a:pt x="121" y="0"/>
                    <a:pt x="121" y="0"/>
                    <a:pt x="121" y="0"/>
                  </a:cubicBezTo>
                  <a:cubicBezTo>
                    <a:pt x="132" y="2"/>
                    <a:pt x="132" y="2"/>
                    <a:pt x="132" y="2"/>
                  </a:cubicBezTo>
                  <a:cubicBezTo>
                    <a:pt x="138" y="5"/>
                    <a:pt x="138" y="5"/>
                    <a:pt x="138" y="5"/>
                  </a:cubicBezTo>
                  <a:cubicBezTo>
                    <a:pt x="148" y="9"/>
                    <a:pt x="148" y="9"/>
                    <a:pt x="148" y="9"/>
                  </a:cubicBezTo>
                  <a:cubicBezTo>
                    <a:pt x="146" y="14"/>
                    <a:pt x="146" y="14"/>
                    <a:pt x="146" y="14"/>
                  </a:cubicBezTo>
                  <a:cubicBezTo>
                    <a:pt x="146" y="19"/>
                    <a:pt x="146" y="19"/>
                    <a:pt x="146" y="19"/>
                  </a:cubicBezTo>
                  <a:cubicBezTo>
                    <a:pt x="146" y="26"/>
                    <a:pt x="146" y="26"/>
                    <a:pt x="146" y="26"/>
                  </a:cubicBezTo>
                  <a:cubicBezTo>
                    <a:pt x="148" y="32"/>
                    <a:pt x="148" y="32"/>
                    <a:pt x="148" y="32"/>
                  </a:cubicBezTo>
                  <a:cubicBezTo>
                    <a:pt x="151" y="39"/>
                    <a:pt x="151" y="39"/>
                    <a:pt x="151" y="39"/>
                  </a:cubicBezTo>
                  <a:cubicBezTo>
                    <a:pt x="155" y="43"/>
                    <a:pt x="155" y="43"/>
                    <a:pt x="155" y="43"/>
                  </a:cubicBezTo>
                  <a:cubicBezTo>
                    <a:pt x="162" y="45"/>
                    <a:pt x="162" y="45"/>
                    <a:pt x="162" y="45"/>
                  </a:cubicBezTo>
                  <a:cubicBezTo>
                    <a:pt x="165" y="42"/>
                    <a:pt x="165" y="42"/>
                    <a:pt x="165" y="42"/>
                  </a:cubicBezTo>
                  <a:cubicBezTo>
                    <a:pt x="169" y="34"/>
                    <a:pt x="169" y="34"/>
                    <a:pt x="169" y="34"/>
                  </a:cubicBezTo>
                  <a:cubicBezTo>
                    <a:pt x="165" y="20"/>
                    <a:pt x="165" y="20"/>
                    <a:pt x="165" y="20"/>
                  </a:cubicBezTo>
                  <a:cubicBezTo>
                    <a:pt x="164" y="14"/>
                    <a:pt x="164" y="14"/>
                    <a:pt x="164" y="14"/>
                  </a:cubicBezTo>
                  <a:cubicBezTo>
                    <a:pt x="165" y="9"/>
                    <a:pt x="165" y="9"/>
                    <a:pt x="165" y="9"/>
                  </a:cubicBezTo>
                  <a:cubicBezTo>
                    <a:pt x="172" y="15"/>
                    <a:pt x="172" y="15"/>
                    <a:pt x="172" y="15"/>
                  </a:cubicBezTo>
                  <a:cubicBezTo>
                    <a:pt x="178" y="20"/>
                    <a:pt x="178" y="20"/>
                    <a:pt x="178" y="20"/>
                  </a:cubicBezTo>
                  <a:cubicBezTo>
                    <a:pt x="183" y="25"/>
                    <a:pt x="183" y="25"/>
                    <a:pt x="183" y="25"/>
                  </a:cubicBezTo>
                  <a:cubicBezTo>
                    <a:pt x="187" y="29"/>
                    <a:pt x="187" y="29"/>
                    <a:pt x="187" y="29"/>
                  </a:cubicBezTo>
                  <a:cubicBezTo>
                    <a:pt x="189" y="33"/>
                    <a:pt x="189" y="33"/>
                    <a:pt x="189" y="33"/>
                  </a:cubicBezTo>
                  <a:cubicBezTo>
                    <a:pt x="189" y="38"/>
                    <a:pt x="189" y="38"/>
                    <a:pt x="189" y="38"/>
                  </a:cubicBezTo>
                  <a:cubicBezTo>
                    <a:pt x="188" y="48"/>
                    <a:pt x="188" y="48"/>
                    <a:pt x="188" y="48"/>
                  </a:cubicBezTo>
                  <a:cubicBezTo>
                    <a:pt x="189" y="52"/>
                    <a:pt x="189" y="52"/>
                    <a:pt x="189" y="52"/>
                  </a:cubicBezTo>
                  <a:cubicBezTo>
                    <a:pt x="195" y="51"/>
                    <a:pt x="195" y="51"/>
                    <a:pt x="195" y="51"/>
                  </a:cubicBezTo>
                  <a:cubicBezTo>
                    <a:pt x="197" y="48"/>
                    <a:pt x="197" y="48"/>
                    <a:pt x="197" y="48"/>
                  </a:cubicBezTo>
                  <a:cubicBezTo>
                    <a:pt x="203" y="45"/>
                    <a:pt x="203" y="45"/>
                    <a:pt x="203" y="45"/>
                  </a:cubicBezTo>
                  <a:cubicBezTo>
                    <a:pt x="209" y="44"/>
                    <a:pt x="209" y="44"/>
                    <a:pt x="209" y="44"/>
                  </a:cubicBezTo>
                  <a:cubicBezTo>
                    <a:pt x="217" y="48"/>
                    <a:pt x="217" y="48"/>
                    <a:pt x="217" y="48"/>
                  </a:cubicBezTo>
                  <a:cubicBezTo>
                    <a:pt x="220" y="57"/>
                    <a:pt x="220" y="57"/>
                    <a:pt x="220" y="57"/>
                  </a:cubicBezTo>
                  <a:cubicBezTo>
                    <a:pt x="217" y="59"/>
                    <a:pt x="217" y="59"/>
                    <a:pt x="217" y="59"/>
                  </a:cubicBezTo>
                  <a:cubicBezTo>
                    <a:pt x="212" y="67"/>
                    <a:pt x="212" y="67"/>
                    <a:pt x="212" y="67"/>
                  </a:cubicBezTo>
                  <a:cubicBezTo>
                    <a:pt x="209" y="74"/>
                    <a:pt x="209" y="74"/>
                    <a:pt x="209" y="74"/>
                  </a:cubicBezTo>
                  <a:cubicBezTo>
                    <a:pt x="211" y="81"/>
                    <a:pt x="211" y="81"/>
                    <a:pt x="211" y="81"/>
                  </a:cubicBezTo>
                  <a:cubicBezTo>
                    <a:pt x="217" y="86"/>
                    <a:pt x="217" y="86"/>
                    <a:pt x="217" y="86"/>
                  </a:cubicBezTo>
                  <a:cubicBezTo>
                    <a:pt x="221" y="92"/>
                    <a:pt x="221" y="92"/>
                    <a:pt x="221" y="92"/>
                  </a:cubicBezTo>
                  <a:cubicBezTo>
                    <a:pt x="220" y="99"/>
                    <a:pt x="220" y="99"/>
                    <a:pt x="220" y="99"/>
                  </a:cubicBezTo>
                  <a:cubicBezTo>
                    <a:pt x="215" y="100"/>
                    <a:pt x="215" y="100"/>
                    <a:pt x="215" y="100"/>
                  </a:cubicBezTo>
                  <a:cubicBezTo>
                    <a:pt x="210" y="99"/>
                    <a:pt x="210" y="99"/>
                    <a:pt x="210" y="99"/>
                  </a:cubicBezTo>
                  <a:cubicBezTo>
                    <a:pt x="207" y="94"/>
                    <a:pt x="207" y="94"/>
                    <a:pt x="207" y="94"/>
                  </a:cubicBezTo>
                  <a:cubicBezTo>
                    <a:pt x="203" y="92"/>
                    <a:pt x="203" y="92"/>
                    <a:pt x="203" y="92"/>
                  </a:cubicBezTo>
                  <a:cubicBezTo>
                    <a:pt x="194" y="91"/>
                    <a:pt x="194" y="91"/>
                    <a:pt x="194" y="91"/>
                  </a:cubicBezTo>
                  <a:cubicBezTo>
                    <a:pt x="188" y="91"/>
                    <a:pt x="188" y="91"/>
                    <a:pt x="188" y="91"/>
                  </a:cubicBezTo>
                  <a:cubicBezTo>
                    <a:pt x="181" y="92"/>
                    <a:pt x="181" y="92"/>
                    <a:pt x="181" y="92"/>
                  </a:cubicBezTo>
                  <a:cubicBezTo>
                    <a:pt x="179" y="95"/>
                    <a:pt x="179" y="95"/>
                    <a:pt x="179" y="95"/>
                  </a:cubicBezTo>
                  <a:cubicBezTo>
                    <a:pt x="175" y="100"/>
                    <a:pt x="175" y="100"/>
                    <a:pt x="175" y="100"/>
                  </a:cubicBezTo>
                  <a:cubicBezTo>
                    <a:pt x="176" y="105"/>
                    <a:pt x="176" y="105"/>
                    <a:pt x="176" y="105"/>
                  </a:cubicBezTo>
                  <a:cubicBezTo>
                    <a:pt x="175" y="111"/>
                    <a:pt x="175" y="111"/>
                    <a:pt x="175" y="111"/>
                  </a:cubicBezTo>
                  <a:cubicBezTo>
                    <a:pt x="174" y="116"/>
                    <a:pt x="174" y="116"/>
                    <a:pt x="174" y="116"/>
                  </a:cubicBezTo>
                  <a:lnTo>
                    <a:pt x="176" y="120"/>
                  </a:lnTo>
                  <a:close/>
                  <a:moveTo>
                    <a:pt x="326" y="154"/>
                  </a:moveTo>
                  <a:cubicBezTo>
                    <a:pt x="323" y="153"/>
                    <a:pt x="319" y="152"/>
                    <a:pt x="317" y="151"/>
                  </a:cubicBezTo>
                  <a:cubicBezTo>
                    <a:pt x="314" y="150"/>
                    <a:pt x="311" y="150"/>
                    <a:pt x="309" y="148"/>
                  </a:cubicBezTo>
                  <a:cubicBezTo>
                    <a:pt x="307" y="147"/>
                    <a:pt x="305" y="145"/>
                    <a:pt x="303" y="144"/>
                  </a:cubicBezTo>
                  <a:cubicBezTo>
                    <a:pt x="302" y="142"/>
                    <a:pt x="299" y="140"/>
                    <a:pt x="297" y="139"/>
                  </a:cubicBezTo>
                  <a:cubicBezTo>
                    <a:pt x="296" y="138"/>
                    <a:pt x="294" y="136"/>
                    <a:pt x="293" y="135"/>
                  </a:cubicBezTo>
                  <a:cubicBezTo>
                    <a:pt x="292" y="134"/>
                    <a:pt x="290" y="133"/>
                    <a:pt x="289" y="132"/>
                  </a:cubicBezTo>
                  <a:cubicBezTo>
                    <a:pt x="287" y="131"/>
                    <a:pt x="284" y="131"/>
                    <a:pt x="282" y="131"/>
                  </a:cubicBezTo>
                  <a:cubicBezTo>
                    <a:pt x="280" y="130"/>
                    <a:pt x="277" y="131"/>
                    <a:pt x="275" y="131"/>
                  </a:cubicBezTo>
                  <a:cubicBezTo>
                    <a:pt x="272" y="132"/>
                    <a:pt x="269" y="132"/>
                    <a:pt x="266" y="131"/>
                  </a:cubicBezTo>
                  <a:cubicBezTo>
                    <a:pt x="269" y="126"/>
                    <a:pt x="269" y="126"/>
                    <a:pt x="269" y="126"/>
                  </a:cubicBezTo>
                  <a:cubicBezTo>
                    <a:pt x="271" y="121"/>
                    <a:pt x="271" y="121"/>
                    <a:pt x="271" y="121"/>
                  </a:cubicBezTo>
                  <a:cubicBezTo>
                    <a:pt x="274" y="114"/>
                    <a:pt x="274" y="114"/>
                    <a:pt x="274" y="114"/>
                  </a:cubicBezTo>
                  <a:cubicBezTo>
                    <a:pt x="276" y="110"/>
                    <a:pt x="276" y="110"/>
                    <a:pt x="276" y="110"/>
                  </a:cubicBezTo>
                  <a:cubicBezTo>
                    <a:pt x="272" y="106"/>
                    <a:pt x="272" y="106"/>
                    <a:pt x="272" y="106"/>
                  </a:cubicBezTo>
                  <a:cubicBezTo>
                    <a:pt x="268" y="103"/>
                    <a:pt x="268" y="103"/>
                    <a:pt x="268" y="103"/>
                  </a:cubicBezTo>
                  <a:cubicBezTo>
                    <a:pt x="262" y="102"/>
                    <a:pt x="262" y="102"/>
                    <a:pt x="262" y="102"/>
                  </a:cubicBezTo>
                  <a:cubicBezTo>
                    <a:pt x="257" y="100"/>
                    <a:pt x="257" y="100"/>
                    <a:pt x="257" y="100"/>
                  </a:cubicBezTo>
                  <a:cubicBezTo>
                    <a:pt x="254" y="96"/>
                    <a:pt x="254" y="96"/>
                    <a:pt x="254" y="96"/>
                  </a:cubicBezTo>
                  <a:cubicBezTo>
                    <a:pt x="256" y="93"/>
                    <a:pt x="256" y="93"/>
                    <a:pt x="256" y="93"/>
                  </a:cubicBezTo>
                  <a:cubicBezTo>
                    <a:pt x="255" y="88"/>
                    <a:pt x="255" y="88"/>
                    <a:pt x="255" y="88"/>
                  </a:cubicBezTo>
                  <a:cubicBezTo>
                    <a:pt x="260" y="85"/>
                    <a:pt x="260" y="85"/>
                    <a:pt x="260" y="85"/>
                  </a:cubicBezTo>
                  <a:cubicBezTo>
                    <a:pt x="264" y="81"/>
                    <a:pt x="264" y="81"/>
                    <a:pt x="264" y="81"/>
                  </a:cubicBezTo>
                  <a:cubicBezTo>
                    <a:pt x="268" y="79"/>
                    <a:pt x="268" y="79"/>
                    <a:pt x="268" y="79"/>
                  </a:cubicBezTo>
                  <a:cubicBezTo>
                    <a:pt x="271" y="78"/>
                    <a:pt x="271" y="78"/>
                    <a:pt x="271" y="78"/>
                  </a:cubicBezTo>
                  <a:cubicBezTo>
                    <a:pt x="276" y="79"/>
                    <a:pt x="276" y="79"/>
                    <a:pt x="276" y="79"/>
                  </a:cubicBezTo>
                  <a:cubicBezTo>
                    <a:pt x="277" y="81"/>
                    <a:pt x="277" y="81"/>
                    <a:pt x="277" y="81"/>
                  </a:cubicBezTo>
                  <a:cubicBezTo>
                    <a:pt x="279" y="86"/>
                    <a:pt x="279" y="86"/>
                    <a:pt x="279" y="86"/>
                  </a:cubicBezTo>
                  <a:cubicBezTo>
                    <a:pt x="282" y="87"/>
                    <a:pt x="282" y="87"/>
                    <a:pt x="282" y="87"/>
                  </a:cubicBezTo>
                  <a:cubicBezTo>
                    <a:pt x="288" y="90"/>
                    <a:pt x="288" y="90"/>
                    <a:pt x="288" y="90"/>
                  </a:cubicBezTo>
                  <a:cubicBezTo>
                    <a:pt x="296" y="93"/>
                    <a:pt x="296" y="93"/>
                    <a:pt x="296" y="93"/>
                  </a:cubicBezTo>
                  <a:cubicBezTo>
                    <a:pt x="300" y="94"/>
                    <a:pt x="300" y="94"/>
                    <a:pt x="300" y="94"/>
                  </a:cubicBezTo>
                  <a:cubicBezTo>
                    <a:pt x="307" y="96"/>
                    <a:pt x="307" y="96"/>
                    <a:pt x="307" y="96"/>
                  </a:cubicBezTo>
                  <a:cubicBezTo>
                    <a:pt x="314" y="102"/>
                    <a:pt x="314" y="102"/>
                    <a:pt x="314" y="102"/>
                  </a:cubicBezTo>
                  <a:cubicBezTo>
                    <a:pt x="319" y="105"/>
                    <a:pt x="319" y="105"/>
                    <a:pt x="319" y="105"/>
                  </a:cubicBezTo>
                  <a:cubicBezTo>
                    <a:pt x="321" y="109"/>
                    <a:pt x="321" y="109"/>
                    <a:pt x="321" y="109"/>
                  </a:cubicBezTo>
                  <a:cubicBezTo>
                    <a:pt x="318" y="111"/>
                    <a:pt x="318" y="111"/>
                    <a:pt x="318" y="111"/>
                  </a:cubicBezTo>
                  <a:cubicBezTo>
                    <a:pt x="314" y="112"/>
                    <a:pt x="314" y="112"/>
                    <a:pt x="314" y="112"/>
                  </a:cubicBezTo>
                  <a:cubicBezTo>
                    <a:pt x="310" y="111"/>
                    <a:pt x="310" y="111"/>
                    <a:pt x="310" y="111"/>
                  </a:cubicBezTo>
                  <a:cubicBezTo>
                    <a:pt x="306" y="115"/>
                    <a:pt x="306" y="115"/>
                    <a:pt x="306" y="115"/>
                  </a:cubicBezTo>
                  <a:cubicBezTo>
                    <a:pt x="306" y="121"/>
                    <a:pt x="306" y="121"/>
                    <a:pt x="306" y="121"/>
                  </a:cubicBezTo>
                  <a:cubicBezTo>
                    <a:pt x="313" y="128"/>
                    <a:pt x="313" y="128"/>
                    <a:pt x="313" y="128"/>
                  </a:cubicBezTo>
                  <a:cubicBezTo>
                    <a:pt x="316" y="136"/>
                    <a:pt x="316" y="136"/>
                    <a:pt x="316" y="136"/>
                  </a:cubicBezTo>
                  <a:cubicBezTo>
                    <a:pt x="318" y="139"/>
                    <a:pt x="318" y="139"/>
                    <a:pt x="318" y="139"/>
                  </a:cubicBezTo>
                  <a:cubicBezTo>
                    <a:pt x="322" y="144"/>
                    <a:pt x="322" y="144"/>
                    <a:pt x="322" y="144"/>
                  </a:cubicBezTo>
                  <a:cubicBezTo>
                    <a:pt x="325" y="149"/>
                    <a:pt x="325" y="149"/>
                    <a:pt x="325" y="149"/>
                  </a:cubicBezTo>
                  <a:lnTo>
                    <a:pt x="326" y="154"/>
                  </a:lnTo>
                  <a:close/>
                </a:path>
              </a:pathLst>
            </a:custGeom>
            <a:pattFill prst="dkUpDiag">
              <a:fgClr>
                <a:schemeClr val="accent2"/>
              </a:fgClr>
              <a:bgClr>
                <a:schemeClr val="bg1"/>
              </a:bgClr>
            </a:patt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76" name="Freeform 26">
              <a:extLst>
                <a:ext uri="{FF2B5EF4-FFF2-40B4-BE49-F238E27FC236}">
                  <a16:creationId xmlns:a16="http://schemas.microsoft.com/office/drawing/2014/main" id="{DDD48020-5E77-4E98-8191-FAC407EA55C0}"/>
                </a:ext>
              </a:extLst>
            </p:cNvPr>
            <p:cNvSpPr>
              <a:spLocks noEditPoints="1"/>
            </p:cNvSpPr>
            <p:nvPr/>
          </p:nvSpPr>
          <p:spPr bwMode="gray">
            <a:xfrm>
              <a:off x="10300" y="1741"/>
              <a:ext cx="1474" cy="1675"/>
            </a:xfrm>
            <a:custGeom>
              <a:avLst/>
              <a:gdLst>
                <a:gd name="T0" fmla="*/ 422 w 624"/>
                <a:gd name="T1" fmla="*/ 79 h 709"/>
                <a:gd name="T2" fmla="*/ 388 w 624"/>
                <a:gd name="T3" fmla="*/ 64 h 709"/>
                <a:gd name="T4" fmla="*/ 373 w 624"/>
                <a:gd name="T5" fmla="*/ 35 h 709"/>
                <a:gd name="T6" fmla="*/ 334 w 624"/>
                <a:gd name="T7" fmla="*/ 52 h 709"/>
                <a:gd name="T8" fmla="*/ 360 w 624"/>
                <a:gd name="T9" fmla="*/ 66 h 709"/>
                <a:gd name="T10" fmla="*/ 320 w 624"/>
                <a:gd name="T11" fmla="*/ 101 h 709"/>
                <a:gd name="T12" fmla="*/ 271 w 624"/>
                <a:gd name="T13" fmla="*/ 78 h 709"/>
                <a:gd name="T14" fmla="*/ 223 w 624"/>
                <a:gd name="T15" fmla="*/ 90 h 709"/>
                <a:gd name="T16" fmla="*/ 158 w 624"/>
                <a:gd name="T17" fmla="*/ 76 h 709"/>
                <a:gd name="T18" fmla="*/ 165 w 624"/>
                <a:gd name="T19" fmla="*/ 116 h 709"/>
                <a:gd name="T20" fmla="*/ 131 w 624"/>
                <a:gd name="T21" fmla="*/ 146 h 709"/>
                <a:gd name="T22" fmla="*/ 108 w 624"/>
                <a:gd name="T23" fmla="*/ 192 h 709"/>
                <a:gd name="T24" fmla="*/ 123 w 624"/>
                <a:gd name="T25" fmla="*/ 266 h 709"/>
                <a:gd name="T26" fmla="*/ 102 w 624"/>
                <a:gd name="T27" fmla="*/ 293 h 709"/>
                <a:gd name="T28" fmla="*/ 52 w 624"/>
                <a:gd name="T29" fmla="*/ 332 h 709"/>
                <a:gd name="T30" fmla="*/ 4 w 624"/>
                <a:gd name="T31" fmla="*/ 333 h 709"/>
                <a:gd name="T32" fmla="*/ 92 w 624"/>
                <a:gd name="T33" fmla="*/ 366 h 709"/>
                <a:gd name="T34" fmla="*/ 131 w 624"/>
                <a:gd name="T35" fmla="*/ 400 h 709"/>
                <a:gd name="T36" fmla="*/ 219 w 624"/>
                <a:gd name="T37" fmla="*/ 450 h 709"/>
                <a:gd name="T38" fmla="*/ 272 w 624"/>
                <a:gd name="T39" fmla="*/ 513 h 709"/>
                <a:gd name="T40" fmla="*/ 241 w 624"/>
                <a:gd name="T41" fmla="*/ 547 h 709"/>
                <a:gd name="T42" fmla="*/ 291 w 624"/>
                <a:gd name="T43" fmla="*/ 547 h 709"/>
                <a:gd name="T44" fmla="*/ 308 w 624"/>
                <a:gd name="T45" fmla="*/ 635 h 709"/>
                <a:gd name="T46" fmla="*/ 333 w 624"/>
                <a:gd name="T47" fmla="*/ 685 h 709"/>
                <a:gd name="T48" fmla="*/ 377 w 624"/>
                <a:gd name="T49" fmla="*/ 684 h 709"/>
                <a:gd name="T50" fmla="*/ 465 w 624"/>
                <a:gd name="T51" fmla="*/ 709 h 709"/>
                <a:gd name="T52" fmla="*/ 480 w 624"/>
                <a:gd name="T53" fmla="*/ 681 h 709"/>
                <a:gd name="T54" fmla="*/ 511 w 624"/>
                <a:gd name="T55" fmla="*/ 608 h 709"/>
                <a:gd name="T56" fmla="*/ 497 w 624"/>
                <a:gd name="T57" fmla="*/ 542 h 709"/>
                <a:gd name="T58" fmla="*/ 511 w 624"/>
                <a:gd name="T59" fmla="*/ 497 h 709"/>
                <a:gd name="T60" fmla="*/ 503 w 624"/>
                <a:gd name="T61" fmla="*/ 437 h 709"/>
                <a:gd name="T62" fmla="*/ 490 w 624"/>
                <a:gd name="T63" fmla="*/ 377 h 709"/>
                <a:gd name="T64" fmla="*/ 521 w 624"/>
                <a:gd name="T65" fmla="*/ 321 h 709"/>
                <a:gd name="T66" fmla="*/ 546 w 624"/>
                <a:gd name="T67" fmla="*/ 276 h 709"/>
                <a:gd name="T68" fmla="*/ 582 w 624"/>
                <a:gd name="T69" fmla="*/ 224 h 709"/>
                <a:gd name="T70" fmla="*/ 616 w 624"/>
                <a:gd name="T71" fmla="*/ 202 h 709"/>
                <a:gd name="T72" fmla="*/ 612 w 624"/>
                <a:gd name="T73" fmla="*/ 171 h 709"/>
                <a:gd name="T74" fmla="*/ 606 w 624"/>
                <a:gd name="T75" fmla="*/ 114 h 709"/>
                <a:gd name="T76" fmla="*/ 577 w 624"/>
                <a:gd name="T77" fmla="*/ 106 h 709"/>
                <a:gd name="T78" fmla="*/ 549 w 624"/>
                <a:gd name="T79" fmla="*/ 75 h 709"/>
                <a:gd name="T80" fmla="*/ 404 w 624"/>
                <a:gd name="T81" fmla="*/ 343 h 709"/>
                <a:gd name="T82" fmla="*/ 474 w 624"/>
                <a:gd name="T83" fmla="*/ 291 h 709"/>
                <a:gd name="T84" fmla="*/ 477 w 624"/>
                <a:gd name="T85" fmla="*/ 206 h 709"/>
                <a:gd name="T86" fmla="*/ 506 w 624"/>
                <a:gd name="T87" fmla="*/ 174 h 709"/>
                <a:gd name="T88" fmla="*/ 558 w 624"/>
                <a:gd name="T89" fmla="*/ 153 h 709"/>
                <a:gd name="T90" fmla="*/ 526 w 624"/>
                <a:gd name="T91" fmla="*/ 110 h 709"/>
                <a:gd name="T92" fmla="*/ 455 w 624"/>
                <a:gd name="T93" fmla="*/ 133 h 709"/>
                <a:gd name="T94" fmla="*/ 396 w 624"/>
                <a:gd name="T95" fmla="*/ 159 h 709"/>
                <a:gd name="T96" fmla="*/ 309 w 624"/>
                <a:gd name="T97" fmla="*/ 177 h 709"/>
                <a:gd name="T98" fmla="*/ 272 w 624"/>
                <a:gd name="T99" fmla="*/ 220 h 709"/>
                <a:gd name="T100" fmla="*/ 299 w 624"/>
                <a:gd name="T101" fmla="*/ 245 h 709"/>
                <a:gd name="T102" fmla="*/ 283 w 624"/>
                <a:gd name="T103" fmla="*/ 305 h 709"/>
                <a:gd name="T104" fmla="*/ 338 w 624"/>
                <a:gd name="T105" fmla="*/ 317 h 709"/>
                <a:gd name="T106" fmla="*/ 475 w 624"/>
                <a:gd name="T107" fmla="*/ 74 h 709"/>
                <a:gd name="T108" fmla="*/ 464 w 624"/>
                <a:gd name="T109" fmla="*/ 4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4" h="709">
                  <a:moveTo>
                    <a:pt x="487" y="0"/>
                  </a:moveTo>
                  <a:cubicBezTo>
                    <a:pt x="450" y="51"/>
                    <a:pt x="450" y="51"/>
                    <a:pt x="450" y="51"/>
                  </a:cubicBezTo>
                  <a:cubicBezTo>
                    <a:pt x="445" y="55"/>
                    <a:pt x="445" y="55"/>
                    <a:pt x="445" y="55"/>
                  </a:cubicBezTo>
                  <a:cubicBezTo>
                    <a:pt x="436" y="64"/>
                    <a:pt x="436" y="64"/>
                    <a:pt x="436" y="64"/>
                  </a:cubicBezTo>
                  <a:cubicBezTo>
                    <a:pt x="426" y="68"/>
                    <a:pt x="426" y="68"/>
                    <a:pt x="426" y="68"/>
                  </a:cubicBezTo>
                  <a:cubicBezTo>
                    <a:pt x="422" y="79"/>
                    <a:pt x="422" y="79"/>
                    <a:pt x="422" y="79"/>
                  </a:cubicBezTo>
                  <a:cubicBezTo>
                    <a:pt x="420" y="89"/>
                    <a:pt x="420" y="89"/>
                    <a:pt x="420" y="89"/>
                  </a:cubicBezTo>
                  <a:cubicBezTo>
                    <a:pt x="415" y="87"/>
                    <a:pt x="415" y="87"/>
                    <a:pt x="415" y="87"/>
                  </a:cubicBezTo>
                  <a:cubicBezTo>
                    <a:pt x="405" y="84"/>
                    <a:pt x="405" y="84"/>
                    <a:pt x="405" y="84"/>
                  </a:cubicBezTo>
                  <a:cubicBezTo>
                    <a:pt x="404" y="76"/>
                    <a:pt x="404" y="76"/>
                    <a:pt x="404" y="76"/>
                  </a:cubicBezTo>
                  <a:cubicBezTo>
                    <a:pt x="395" y="65"/>
                    <a:pt x="395" y="65"/>
                    <a:pt x="395" y="65"/>
                  </a:cubicBezTo>
                  <a:cubicBezTo>
                    <a:pt x="388" y="64"/>
                    <a:pt x="388" y="64"/>
                    <a:pt x="388" y="64"/>
                  </a:cubicBezTo>
                  <a:cubicBezTo>
                    <a:pt x="379" y="56"/>
                    <a:pt x="379" y="56"/>
                    <a:pt x="379" y="56"/>
                  </a:cubicBezTo>
                  <a:cubicBezTo>
                    <a:pt x="380" y="55"/>
                    <a:pt x="380" y="55"/>
                    <a:pt x="380" y="55"/>
                  </a:cubicBezTo>
                  <a:cubicBezTo>
                    <a:pt x="383" y="49"/>
                    <a:pt x="383" y="49"/>
                    <a:pt x="383" y="49"/>
                  </a:cubicBezTo>
                  <a:cubicBezTo>
                    <a:pt x="377" y="47"/>
                    <a:pt x="377" y="47"/>
                    <a:pt x="377" y="47"/>
                  </a:cubicBezTo>
                  <a:cubicBezTo>
                    <a:pt x="381" y="40"/>
                    <a:pt x="381" y="40"/>
                    <a:pt x="381" y="40"/>
                  </a:cubicBezTo>
                  <a:cubicBezTo>
                    <a:pt x="373" y="35"/>
                    <a:pt x="373" y="35"/>
                    <a:pt x="373" y="35"/>
                  </a:cubicBezTo>
                  <a:cubicBezTo>
                    <a:pt x="369" y="38"/>
                    <a:pt x="369" y="38"/>
                    <a:pt x="369" y="38"/>
                  </a:cubicBezTo>
                  <a:cubicBezTo>
                    <a:pt x="361" y="39"/>
                    <a:pt x="361" y="39"/>
                    <a:pt x="361" y="39"/>
                  </a:cubicBezTo>
                  <a:cubicBezTo>
                    <a:pt x="352" y="41"/>
                    <a:pt x="352" y="41"/>
                    <a:pt x="352" y="41"/>
                  </a:cubicBezTo>
                  <a:cubicBezTo>
                    <a:pt x="344" y="42"/>
                    <a:pt x="344" y="42"/>
                    <a:pt x="344" y="42"/>
                  </a:cubicBezTo>
                  <a:cubicBezTo>
                    <a:pt x="341" y="49"/>
                    <a:pt x="341" y="49"/>
                    <a:pt x="341" y="49"/>
                  </a:cubicBezTo>
                  <a:cubicBezTo>
                    <a:pt x="334" y="52"/>
                    <a:pt x="334" y="52"/>
                    <a:pt x="334" y="52"/>
                  </a:cubicBezTo>
                  <a:cubicBezTo>
                    <a:pt x="330" y="54"/>
                    <a:pt x="330" y="54"/>
                    <a:pt x="330" y="54"/>
                  </a:cubicBezTo>
                  <a:cubicBezTo>
                    <a:pt x="330" y="58"/>
                    <a:pt x="330" y="58"/>
                    <a:pt x="330" y="58"/>
                  </a:cubicBezTo>
                  <a:cubicBezTo>
                    <a:pt x="339" y="60"/>
                    <a:pt x="339" y="60"/>
                    <a:pt x="339" y="60"/>
                  </a:cubicBezTo>
                  <a:cubicBezTo>
                    <a:pt x="344" y="57"/>
                    <a:pt x="344" y="57"/>
                    <a:pt x="344" y="57"/>
                  </a:cubicBezTo>
                  <a:cubicBezTo>
                    <a:pt x="352" y="57"/>
                    <a:pt x="352" y="57"/>
                    <a:pt x="352" y="57"/>
                  </a:cubicBezTo>
                  <a:cubicBezTo>
                    <a:pt x="360" y="66"/>
                    <a:pt x="360" y="66"/>
                    <a:pt x="360" y="66"/>
                  </a:cubicBezTo>
                  <a:cubicBezTo>
                    <a:pt x="363" y="80"/>
                    <a:pt x="363" y="80"/>
                    <a:pt x="363" y="80"/>
                  </a:cubicBezTo>
                  <a:cubicBezTo>
                    <a:pt x="364" y="86"/>
                    <a:pt x="364" y="86"/>
                    <a:pt x="364" y="86"/>
                  </a:cubicBezTo>
                  <a:cubicBezTo>
                    <a:pt x="355" y="90"/>
                    <a:pt x="355" y="90"/>
                    <a:pt x="355" y="90"/>
                  </a:cubicBezTo>
                  <a:cubicBezTo>
                    <a:pt x="342" y="92"/>
                    <a:pt x="342" y="92"/>
                    <a:pt x="342" y="92"/>
                  </a:cubicBezTo>
                  <a:cubicBezTo>
                    <a:pt x="329" y="97"/>
                    <a:pt x="329" y="97"/>
                    <a:pt x="329" y="97"/>
                  </a:cubicBezTo>
                  <a:cubicBezTo>
                    <a:pt x="320" y="101"/>
                    <a:pt x="320" y="101"/>
                    <a:pt x="320" y="101"/>
                  </a:cubicBezTo>
                  <a:cubicBezTo>
                    <a:pt x="310" y="100"/>
                    <a:pt x="310" y="100"/>
                    <a:pt x="310" y="100"/>
                  </a:cubicBezTo>
                  <a:cubicBezTo>
                    <a:pt x="298" y="91"/>
                    <a:pt x="298" y="91"/>
                    <a:pt x="298" y="91"/>
                  </a:cubicBezTo>
                  <a:cubicBezTo>
                    <a:pt x="291" y="88"/>
                    <a:pt x="291" y="88"/>
                    <a:pt x="291" y="88"/>
                  </a:cubicBezTo>
                  <a:cubicBezTo>
                    <a:pt x="277" y="89"/>
                    <a:pt x="277" y="89"/>
                    <a:pt x="277" y="89"/>
                  </a:cubicBezTo>
                  <a:cubicBezTo>
                    <a:pt x="273" y="84"/>
                    <a:pt x="273" y="84"/>
                    <a:pt x="273" y="84"/>
                  </a:cubicBezTo>
                  <a:cubicBezTo>
                    <a:pt x="271" y="78"/>
                    <a:pt x="271" y="78"/>
                    <a:pt x="271" y="78"/>
                  </a:cubicBezTo>
                  <a:cubicBezTo>
                    <a:pt x="266" y="78"/>
                    <a:pt x="266" y="78"/>
                    <a:pt x="266" y="78"/>
                  </a:cubicBezTo>
                  <a:cubicBezTo>
                    <a:pt x="259" y="76"/>
                    <a:pt x="259" y="76"/>
                    <a:pt x="259" y="76"/>
                  </a:cubicBezTo>
                  <a:cubicBezTo>
                    <a:pt x="247" y="66"/>
                    <a:pt x="247" y="66"/>
                    <a:pt x="247" y="66"/>
                  </a:cubicBezTo>
                  <a:cubicBezTo>
                    <a:pt x="243" y="76"/>
                    <a:pt x="243" y="76"/>
                    <a:pt x="243" y="76"/>
                  </a:cubicBezTo>
                  <a:cubicBezTo>
                    <a:pt x="232" y="87"/>
                    <a:pt x="232" y="87"/>
                    <a:pt x="232" y="87"/>
                  </a:cubicBezTo>
                  <a:cubicBezTo>
                    <a:pt x="223" y="90"/>
                    <a:pt x="223" y="90"/>
                    <a:pt x="223" y="90"/>
                  </a:cubicBezTo>
                  <a:cubicBezTo>
                    <a:pt x="206" y="92"/>
                    <a:pt x="206" y="92"/>
                    <a:pt x="206" y="92"/>
                  </a:cubicBezTo>
                  <a:cubicBezTo>
                    <a:pt x="197" y="86"/>
                    <a:pt x="197" y="86"/>
                    <a:pt x="197" y="86"/>
                  </a:cubicBezTo>
                  <a:cubicBezTo>
                    <a:pt x="191" y="80"/>
                    <a:pt x="191" y="80"/>
                    <a:pt x="191" y="80"/>
                  </a:cubicBezTo>
                  <a:cubicBezTo>
                    <a:pt x="177" y="73"/>
                    <a:pt x="177" y="73"/>
                    <a:pt x="177" y="73"/>
                  </a:cubicBezTo>
                  <a:cubicBezTo>
                    <a:pt x="167" y="72"/>
                    <a:pt x="167" y="72"/>
                    <a:pt x="167" y="72"/>
                  </a:cubicBezTo>
                  <a:cubicBezTo>
                    <a:pt x="158" y="76"/>
                    <a:pt x="158" y="76"/>
                    <a:pt x="158" y="76"/>
                  </a:cubicBezTo>
                  <a:cubicBezTo>
                    <a:pt x="146" y="79"/>
                    <a:pt x="146" y="79"/>
                    <a:pt x="146" y="79"/>
                  </a:cubicBezTo>
                  <a:cubicBezTo>
                    <a:pt x="141" y="84"/>
                    <a:pt x="141" y="84"/>
                    <a:pt x="141" y="84"/>
                  </a:cubicBezTo>
                  <a:cubicBezTo>
                    <a:pt x="141" y="92"/>
                    <a:pt x="141" y="92"/>
                    <a:pt x="141" y="92"/>
                  </a:cubicBezTo>
                  <a:cubicBezTo>
                    <a:pt x="147" y="103"/>
                    <a:pt x="147" y="103"/>
                    <a:pt x="147" y="103"/>
                  </a:cubicBezTo>
                  <a:cubicBezTo>
                    <a:pt x="152" y="107"/>
                    <a:pt x="152" y="107"/>
                    <a:pt x="152" y="107"/>
                  </a:cubicBezTo>
                  <a:cubicBezTo>
                    <a:pt x="165" y="116"/>
                    <a:pt x="165" y="116"/>
                    <a:pt x="165" y="116"/>
                  </a:cubicBezTo>
                  <a:cubicBezTo>
                    <a:pt x="169" y="120"/>
                    <a:pt x="169" y="120"/>
                    <a:pt x="169" y="120"/>
                  </a:cubicBezTo>
                  <a:cubicBezTo>
                    <a:pt x="168" y="133"/>
                    <a:pt x="168" y="133"/>
                    <a:pt x="168" y="133"/>
                  </a:cubicBezTo>
                  <a:cubicBezTo>
                    <a:pt x="164" y="140"/>
                    <a:pt x="164" y="140"/>
                    <a:pt x="164" y="140"/>
                  </a:cubicBezTo>
                  <a:cubicBezTo>
                    <a:pt x="151" y="140"/>
                    <a:pt x="151" y="140"/>
                    <a:pt x="151" y="140"/>
                  </a:cubicBezTo>
                  <a:cubicBezTo>
                    <a:pt x="135" y="142"/>
                    <a:pt x="135" y="142"/>
                    <a:pt x="135" y="142"/>
                  </a:cubicBezTo>
                  <a:cubicBezTo>
                    <a:pt x="131" y="146"/>
                    <a:pt x="131" y="146"/>
                    <a:pt x="131" y="146"/>
                  </a:cubicBezTo>
                  <a:cubicBezTo>
                    <a:pt x="128" y="162"/>
                    <a:pt x="128" y="162"/>
                    <a:pt x="128" y="162"/>
                  </a:cubicBezTo>
                  <a:cubicBezTo>
                    <a:pt x="122" y="167"/>
                    <a:pt x="122" y="167"/>
                    <a:pt x="122" y="167"/>
                  </a:cubicBezTo>
                  <a:cubicBezTo>
                    <a:pt x="118" y="178"/>
                    <a:pt x="118" y="178"/>
                    <a:pt x="118" y="178"/>
                  </a:cubicBezTo>
                  <a:cubicBezTo>
                    <a:pt x="116" y="184"/>
                    <a:pt x="116" y="184"/>
                    <a:pt x="116" y="184"/>
                  </a:cubicBezTo>
                  <a:cubicBezTo>
                    <a:pt x="113" y="186"/>
                    <a:pt x="113" y="186"/>
                    <a:pt x="113" y="186"/>
                  </a:cubicBezTo>
                  <a:cubicBezTo>
                    <a:pt x="108" y="192"/>
                    <a:pt x="108" y="192"/>
                    <a:pt x="108" y="192"/>
                  </a:cubicBezTo>
                  <a:cubicBezTo>
                    <a:pt x="102" y="195"/>
                    <a:pt x="102" y="195"/>
                    <a:pt x="102" y="195"/>
                  </a:cubicBezTo>
                  <a:cubicBezTo>
                    <a:pt x="105" y="203"/>
                    <a:pt x="105" y="203"/>
                    <a:pt x="105" y="203"/>
                  </a:cubicBezTo>
                  <a:cubicBezTo>
                    <a:pt x="114" y="220"/>
                    <a:pt x="114" y="220"/>
                    <a:pt x="114" y="220"/>
                  </a:cubicBezTo>
                  <a:cubicBezTo>
                    <a:pt x="123" y="235"/>
                    <a:pt x="123" y="235"/>
                    <a:pt x="123" y="235"/>
                  </a:cubicBezTo>
                  <a:cubicBezTo>
                    <a:pt x="126" y="254"/>
                    <a:pt x="126" y="254"/>
                    <a:pt x="126" y="254"/>
                  </a:cubicBezTo>
                  <a:cubicBezTo>
                    <a:pt x="123" y="266"/>
                    <a:pt x="123" y="266"/>
                    <a:pt x="123" y="266"/>
                  </a:cubicBezTo>
                  <a:cubicBezTo>
                    <a:pt x="110" y="268"/>
                    <a:pt x="110" y="268"/>
                    <a:pt x="110" y="268"/>
                  </a:cubicBezTo>
                  <a:cubicBezTo>
                    <a:pt x="101" y="277"/>
                    <a:pt x="101" y="277"/>
                    <a:pt x="101" y="277"/>
                  </a:cubicBezTo>
                  <a:cubicBezTo>
                    <a:pt x="94" y="284"/>
                    <a:pt x="94" y="284"/>
                    <a:pt x="94" y="284"/>
                  </a:cubicBezTo>
                  <a:cubicBezTo>
                    <a:pt x="96" y="291"/>
                    <a:pt x="96" y="291"/>
                    <a:pt x="96" y="291"/>
                  </a:cubicBezTo>
                  <a:cubicBezTo>
                    <a:pt x="101" y="289"/>
                    <a:pt x="101" y="289"/>
                    <a:pt x="101" y="289"/>
                  </a:cubicBezTo>
                  <a:cubicBezTo>
                    <a:pt x="102" y="293"/>
                    <a:pt x="102" y="293"/>
                    <a:pt x="102" y="293"/>
                  </a:cubicBezTo>
                  <a:cubicBezTo>
                    <a:pt x="97" y="305"/>
                    <a:pt x="97" y="305"/>
                    <a:pt x="97" y="305"/>
                  </a:cubicBezTo>
                  <a:cubicBezTo>
                    <a:pt x="97" y="314"/>
                    <a:pt x="97" y="314"/>
                    <a:pt x="97" y="314"/>
                  </a:cubicBezTo>
                  <a:cubicBezTo>
                    <a:pt x="79" y="319"/>
                    <a:pt x="79" y="319"/>
                    <a:pt x="79" y="319"/>
                  </a:cubicBezTo>
                  <a:cubicBezTo>
                    <a:pt x="64" y="324"/>
                    <a:pt x="64" y="324"/>
                    <a:pt x="64" y="324"/>
                  </a:cubicBezTo>
                  <a:cubicBezTo>
                    <a:pt x="57" y="329"/>
                    <a:pt x="57" y="329"/>
                    <a:pt x="57" y="329"/>
                  </a:cubicBezTo>
                  <a:cubicBezTo>
                    <a:pt x="52" y="332"/>
                    <a:pt x="52" y="332"/>
                    <a:pt x="52" y="332"/>
                  </a:cubicBezTo>
                  <a:cubicBezTo>
                    <a:pt x="45" y="332"/>
                    <a:pt x="45" y="332"/>
                    <a:pt x="45" y="332"/>
                  </a:cubicBezTo>
                  <a:cubicBezTo>
                    <a:pt x="33" y="330"/>
                    <a:pt x="33" y="330"/>
                    <a:pt x="33" y="330"/>
                  </a:cubicBezTo>
                  <a:cubicBezTo>
                    <a:pt x="25" y="326"/>
                    <a:pt x="25" y="326"/>
                    <a:pt x="25" y="326"/>
                  </a:cubicBezTo>
                  <a:cubicBezTo>
                    <a:pt x="17" y="325"/>
                    <a:pt x="17" y="325"/>
                    <a:pt x="17" y="325"/>
                  </a:cubicBezTo>
                  <a:cubicBezTo>
                    <a:pt x="10" y="327"/>
                    <a:pt x="10" y="327"/>
                    <a:pt x="10" y="327"/>
                  </a:cubicBezTo>
                  <a:cubicBezTo>
                    <a:pt x="4" y="333"/>
                    <a:pt x="4" y="333"/>
                    <a:pt x="4" y="333"/>
                  </a:cubicBezTo>
                  <a:cubicBezTo>
                    <a:pt x="0" y="340"/>
                    <a:pt x="0" y="340"/>
                    <a:pt x="0" y="340"/>
                  </a:cubicBezTo>
                  <a:cubicBezTo>
                    <a:pt x="1" y="345"/>
                    <a:pt x="1" y="345"/>
                    <a:pt x="1" y="345"/>
                  </a:cubicBezTo>
                  <a:cubicBezTo>
                    <a:pt x="2" y="360"/>
                    <a:pt x="2" y="360"/>
                    <a:pt x="2" y="360"/>
                  </a:cubicBezTo>
                  <a:cubicBezTo>
                    <a:pt x="28" y="370"/>
                    <a:pt x="28" y="370"/>
                    <a:pt x="28" y="370"/>
                  </a:cubicBezTo>
                  <a:cubicBezTo>
                    <a:pt x="67" y="370"/>
                    <a:pt x="67" y="370"/>
                    <a:pt x="67" y="370"/>
                  </a:cubicBezTo>
                  <a:cubicBezTo>
                    <a:pt x="92" y="366"/>
                    <a:pt x="92" y="366"/>
                    <a:pt x="92" y="366"/>
                  </a:cubicBezTo>
                  <a:cubicBezTo>
                    <a:pt x="109" y="360"/>
                    <a:pt x="109" y="360"/>
                    <a:pt x="109" y="360"/>
                  </a:cubicBezTo>
                  <a:cubicBezTo>
                    <a:pt x="115" y="365"/>
                    <a:pt x="115" y="365"/>
                    <a:pt x="115" y="365"/>
                  </a:cubicBezTo>
                  <a:cubicBezTo>
                    <a:pt x="120" y="369"/>
                    <a:pt x="120" y="369"/>
                    <a:pt x="120" y="369"/>
                  </a:cubicBezTo>
                  <a:cubicBezTo>
                    <a:pt x="121" y="394"/>
                    <a:pt x="121" y="394"/>
                    <a:pt x="121" y="394"/>
                  </a:cubicBezTo>
                  <a:cubicBezTo>
                    <a:pt x="123" y="401"/>
                    <a:pt x="123" y="401"/>
                    <a:pt x="123" y="401"/>
                  </a:cubicBezTo>
                  <a:cubicBezTo>
                    <a:pt x="131" y="400"/>
                    <a:pt x="131" y="400"/>
                    <a:pt x="131" y="400"/>
                  </a:cubicBezTo>
                  <a:cubicBezTo>
                    <a:pt x="140" y="402"/>
                    <a:pt x="140" y="402"/>
                    <a:pt x="140" y="402"/>
                  </a:cubicBezTo>
                  <a:cubicBezTo>
                    <a:pt x="142" y="408"/>
                    <a:pt x="149" y="414"/>
                    <a:pt x="154" y="418"/>
                  </a:cubicBezTo>
                  <a:cubicBezTo>
                    <a:pt x="164" y="427"/>
                    <a:pt x="179" y="435"/>
                    <a:pt x="189" y="443"/>
                  </a:cubicBezTo>
                  <a:cubicBezTo>
                    <a:pt x="191" y="445"/>
                    <a:pt x="194" y="447"/>
                    <a:pt x="196" y="448"/>
                  </a:cubicBezTo>
                  <a:cubicBezTo>
                    <a:pt x="199" y="450"/>
                    <a:pt x="203" y="453"/>
                    <a:pt x="207" y="454"/>
                  </a:cubicBezTo>
                  <a:cubicBezTo>
                    <a:pt x="210" y="454"/>
                    <a:pt x="215" y="451"/>
                    <a:pt x="219" y="450"/>
                  </a:cubicBezTo>
                  <a:cubicBezTo>
                    <a:pt x="221" y="449"/>
                    <a:pt x="229" y="447"/>
                    <a:pt x="229" y="447"/>
                  </a:cubicBezTo>
                  <a:cubicBezTo>
                    <a:pt x="269" y="460"/>
                    <a:pt x="269" y="460"/>
                    <a:pt x="269" y="460"/>
                  </a:cubicBezTo>
                  <a:cubicBezTo>
                    <a:pt x="269" y="469"/>
                    <a:pt x="269" y="469"/>
                    <a:pt x="269" y="469"/>
                  </a:cubicBezTo>
                  <a:cubicBezTo>
                    <a:pt x="270" y="480"/>
                    <a:pt x="270" y="480"/>
                    <a:pt x="270" y="480"/>
                  </a:cubicBezTo>
                  <a:cubicBezTo>
                    <a:pt x="271" y="504"/>
                    <a:pt x="271" y="504"/>
                    <a:pt x="271" y="504"/>
                  </a:cubicBezTo>
                  <a:cubicBezTo>
                    <a:pt x="272" y="513"/>
                    <a:pt x="272" y="513"/>
                    <a:pt x="272" y="513"/>
                  </a:cubicBezTo>
                  <a:cubicBezTo>
                    <a:pt x="262" y="526"/>
                    <a:pt x="262" y="526"/>
                    <a:pt x="262" y="526"/>
                  </a:cubicBezTo>
                  <a:cubicBezTo>
                    <a:pt x="254" y="529"/>
                    <a:pt x="254" y="529"/>
                    <a:pt x="254" y="529"/>
                  </a:cubicBezTo>
                  <a:cubicBezTo>
                    <a:pt x="242" y="532"/>
                    <a:pt x="242" y="532"/>
                    <a:pt x="242" y="532"/>
                  </a:cubicBezTo>
                  <a:cubicBezTo>
                    <a:pt x="239" y="534"/>
                    <a:pt x="239" y="534"/>
                    <a:pt x="239" y="534"/>
                  </a:cubicBezTo>
                  <a:cubicBezTo>
                    <a:pt x="238" y="540"/>
                    <a:pt x="238" y="540"/>
                    <a:pt x="238" y="540"/>
                  </a:cubicBezTo>
                  <a:cubicBezTo>
                    <a:pt x="241" y="547"/>
                    <a:pt x="241" y="547"/>
                    <a:pt x="241" y="547"/>
                  </a:cubicBezTo>
                  <a:cubicBezTo>
                    <a:pt x="245" y="552"/>
                    <a:pt x="245" y="552"/>
                    <a:pt x="245" y="552"/>
                  </a:cubicBezTo>
                  <a:cubicBezTo>
                    <a:pt x="253" y="555"/>
                    <a:pt x="253" y="555"/>
                    <a:pt x="253" y="555"/>
                  </a:cubicBezTo>
                  <a:cubicBezTo>
                    <a:pt x="270" y="556"/>
                    <a:pt x="270" y="556"/>
                    <a:pt x="270" y="556"/>
                  </a:cubicBezTo>
                  <a:cubicBezTo>
                    <a:pt x="277" y="553"/>
                    <a:pt x="277" y="553"/>
                    <a:pt x="277" y="553"/>
                  </a:cubicBezTo>
                  <a:cubicBezTo>
                    <a:pt x="284" y="549"/>
                    <a:pt x="284" y="549"/>
                    <a:pt x="284" y="549"/>
                  </a:cubicBezTo>
                  <a:cubicBezTo>
                    <a:pt x="291" y="547"/>
                    <a:pt x="291" y="547"/>
                    <a:pt x="291" y="547"/>
                  </a:cubicBezTo>
                  <a:cubicBezTo>
                    <a:pt x="297" y="549"/>
                    <a:pt x="297" y="549"/>
                    <a:pt x="297" y="549"/>
                  </a:cubicBezTo>
                  <a:cubicBezTo>
                    <a:pt x="306" y="555"/>
                    <a:pt x="306" y="555"/>
                    <a:pt x="306" y="555"/>
                  </a:cubicBezTo>
                  <a:cubicBezTo>
                    <a:pt x="309" y="571"/>
                    <a:pt x="309" y="571"/>
                    <a:pt x="309" y="571"/>
                  </a:cubicBezTo>
                  <a:cubicBezTo>
                    <a:pt x="313" y="594"/>
                    <a:pt x="313" y="594"/>
                    <a:pt x="313" y="594"/>
                  </a:cubicBezTo>
                  <a:cubicBezTo>
                    <a:pt x="315" y="626"/>
                    <a:pt x="315" y="626"/>
                    <a:pt x="315" y="626"/>
                  </a:cubicBezTo>
                  <a:cubicBezTo>
                    <a:pt x="308" y="635"/>
                    <a:pt x="308" y="635"/>
                    <a:pt x="308" y="635"/>
                  </a:cubicBezTo>
                  <a:cubicBezTo>
                    <a:pt x="305" y="638"/>
                    <a:pt x="305" y="638"/>
                    <a:pt x="305" y="638"/>
                  </a:cubicBezTo>
                  <a:cubicBezTo>
                    <a:pt x="312" y="643"/>
                    <a:pt x="312" y="643"/>
                    <a:pt x="312" y="643"/>
                  </a:cubicBezTo>
                  <a:cubicBezTo>
                    <a:pt x="318" y="650"/>
                    <a:pt x="318" y="650"/>
                    <a:pt x="318" y="650"/>
                  </a:cubicBezTo>
                  <a:cubicBezTo>
                    <a:pt x="323" y="662"/>
                    <a:pt x="323" y="662"/>
                    <a:pt x="323" y="662"/>
                  </a:cubicBezTo>
                  <a:cubicBezTo>
                    <a:pt x="320" y="672"/>
                    <a:pt x="320" y="672"/>
                    <a:pt x="320" y="672"/>
                  </a:cubicBezTo>
                  <a:cubicBezTo>
                    <a:pt x="333" y="685"/>
                    <a:pt x="333" y="685"/>
                    <a:pt x="333" y="685"/>
                  </a:cubicBezTo>
                  <a:cubicBezTo>
                    <a:pt x="336" y="683"/>
                    <a:pt x="336" y="683"/>
                    <a:pt x="336" y="683"/>
                  </a:cubicBezTo>
                  <a:cubicBezTo>
                    <a:pt x="342" y="679"/>
                    <a:pt x="342" y="679"/>
                    <a:pt x="342" y="679"/>
                  </a:cubicBezTo>
                  <a:cubicBezTo>
                    <a:pt x="348" y="678"/>
                    <a:pt x="348" y="678"/>
                    <a:pt x="348" y="678"/>
                  </a:cubicBezTo>
                  <a:cubicBezTo>
                    <a:pt x="356" y="678"/>
                    <a:pt x="356" y="678"/>
                    <a:pt x="356" y="678"/>
                  </a:cubicBezTo>
                  <a:cubicBezTo>
                    <a:pt x="365" y="681"/>
                    <a:pt x="365" y="681"/>
                    <a:pt x="365" y="681"/>
                  </a:cubicBezTo>
                  <a:cubicBezTo>
                    <a:pt x="377" y="684"/>
                    <a:pt x="377" y="684"/>
                    <a:pt x="377" y="684"/>
                  </a:cubicBezTo>
                  <a:cubicBezTo>
                    <a:pt x="395" y="687"/>
                    <a:pt x="395" y="687"/>
                    <a:pt x="395" y="687"/>
                  </a:cubicBezTo>
                  <a:cubicBezTo>
                    <a:pt x="416" y="688"/>
                    <a:pt x="416" y="688"/>
                    <a:pt x="416" y="688"/>
                  </a:cubicBezTo>
                  <a:cubicBezTo>
                    <a:pt x="429" y="691"/>
                    <a:pt x="429" y="691"/>
                    <a:pt x="429" y="691"/>
                  </a:cubicBezTo>
                  <a:cubicBezTo>
                    <a:pt x="439" y="695"/>
                    <a:pt x="439" y="695"/>
                    <a:pt x="439" y="695"/>
                  </a:cubicBezTo>
                  <a:cubicBezTo>
                    <a:pt x="454" y="703"/>
                    <a:pt x="454" y="703"/>
                    <a:pt x="454" y="703"/>
                  </a:cubicBezTo>
                  <a:cubicBezTo>
                    <a:pt x="465" y="709"/>
                    <a:pt x="465" y="709"/>
                    <a:pt x="465" y="709"/>
                  </a:cubicBezTo>
                  <a:cubicBezTo>
                    <a:pt x="468" y="707"/>
                    <a:pt x="468" y="707"/>
                    <a:pt x="468" y="707"/>
                  </a:cubicBezTo>
                  <a:cubicBezTo>
                    <a:pt x="470" y="702"/>
                    <a:pt x="470" y="702"/>
                    <a:pt x="470" y="702"/>
                  </a:cubicBezTo>
                  <a:cubicBezTo>
                    <a:pt x="471" y="696"/>
                    <a:pt x="471" y="696"/>
                    <a:pt x="471" y="696"/>
                  </a:cubicBezTo>
                  <a:cubicBezTo>
                    <a:pt x="469" y="688"/>
                    <a:pt x="469" y="688"/>
                    <a:pt x="469" y="688"/>
                  </a:cubicBezTo>
                  <a:cubicBezTo>
                    <a:pt x="480" y="688"/>
                    <a:pt x="480" y="688"/>
                    <a:pt x="480" y="688"/>
                  </a:cubicBezTo>
                  <a:cubicBezTo>
                    <a:pt x="480" y="681"/>
                    <a:pt x="480" y="681"/>
                    <a:pt x="480" y="681"/>
                  </a:cubicBezTo>
                  <a:cubicBezTo>
                    <a:pt x="477" y="674"/>
                    <a:pt x="477" y="674"/>
                    <a:pt x="477" y="674"/>
                  </a:cubicBezTo>
                  <a:cubicBezTo>
                    <a:pt x="478" y="665"/>
                    <a:pt x="478" y="665"/>
                    <a:pt x="478" y="665"/>
                  </a:cubicBezTo>
                  <a:cubicBezTo>
                    <a:pt x="483" y="651"/>
                    <a:pt x="483" y="651"/>
                    <a:pt x="483" y="651"/>
                  </a:cubicBezTo>
                  <a:cubicBezTo>
                    <a:pt x="495" y="638"/>
                    <a:pt x="495" y="638"/>
                    <a:pt x="495" y="638"/>
                  </a:cubicBezTo>
                  <a:cubicBezTo>
                    <a:pt x="507" y="616"/>
                    <a:pt x="507" y="616"/>
                    <a:pt x="507" y="616"/>
                  </a:cubicBezTo>
                  <a:cubicBezTo>
                    <a:pt x="511" y="608"/>
                    <a:pt x="511" y="608"/>
                    <a:pt x="511" y="608"/>
                  </a:cubicBezTo>
                  <a:cubicBezTo>
                    <a:pt x="518" y="605"/>
                    <a:pt x="518" y="605"/>
                    <a:pt x="518" y="605"/>
                  </a:cubicBezTo>
                  <a:cubicBezTo>
                    <a:pt x="529" y="599"/>
                    <a:pt x="529" y="599"/>
                    <a:pt x="529" y="599"/>
                  </a:cubicBezTo>
                  <a:cubicBezTo>
                    <a:pt x="527" y="596"/>
                    <a:pt x="523" y="593"/>
                    <a:pt x="521" y="590"/>
                  </a:cubicBezTo>
                  <a:cubicBezTo>
                    <a:pt x="519" y="587"/>
                    <a:pt x="517" y="584"/>
                    <a:pt x="516" y="581"/>
                  </a:cubicBezTo>
                  <a:cubicBezTo>
                    <a:pt x="513" y="575"/>
                    <a:pt x="511" y="567"/>
                    <a:pt x="509" y="561"/>
                  </a:cubicBezTo>
                  <a:cubicBezTo>
                    <a:pt x="506" y="555"/>
                    <a:pt x="500" y="548"/>
                    <a:pt x="497" y="542"/>
                  </a:cubicBezTo>
                  <a:cubicBezTo>
                    <a:pt x="496" y="540"/>
                    <a:pt x="496" y="536"/>
                    <a:pt x="495" y="533"/>
                  </a:cubicBezTo>
                  <a:cubicBezTo>
                    <a:pt x="493" y="531"/>
                    <a:pt x="489" y="530"/>
                    <a:pt x="488" y="528"/>
                  </a:cubicBezTo>
                  <a:cubicBezTo>
                    <a:pt x="488" y="526"/>
                    <a:pt x="489" y="523"/>
                    <a:pt x="490" y="521"/>
                  </a:cubicBezTo>
                  <a:cubicBezTo>
                    <a:pt x="491" y="519"/>
                    <a:pt x="495" y="519"/>
                    <a:pt x="497" y="517"/>
                  </a:cubicBezTo>
                  <a:cubicBezTo>
                    <a:pt x="499" y="514"/>
                    <a:pt x="501" y="510"/>
                    <a:pt x="503" y="507"/>
                  </a:cubicBezTo>
                  <a:cubicBezTo>
                    <a:pt x="505" y="504"/>
                    <a:pt x="509" y="501"/>
                    <a:pt x="511" y="497"/>
                  </a:cubicBezTo>
                  <a:cubicBezTo>
                    <a:pt x="512" y="495"/>
                    <a:pt x="513" y="491"/>
                    <a:pt x="514" y="488"/>
                  </a:cubicBezTo>
                  <a:cubicBezTo>
                    <a:pt x="514" y="486"/>
                    <a:pt x="515" y="483"/>
                    <a:pt x="516" y="480"/>
                  </a:cubicBezTo>
                  <a:cubicBezTo>
                    <a:pt x="516" y="477"/>
                    <a:pt x="516" y="474"/>
                    <a:pt x="516" y="471"/>
                  </a:cubicBezTo>
                  <a:cubicBezTo>
                    <a:pt x="515" y="467"/>
                    <a:pt x="513" y="462"/>
                    <a:pt x="511" y="458"/>
                  </a:cubicBezTo>
                  <a:cubicBezTo>
                    <a:pt x="510" y="455"/>
                    <a:pt x="509" y="452"/>
                    <a:pt x="508" y="449"/>
                  </a:cubicBezTo>
                  <a:cubicBezTo>
                    <a:pt x="506" y="446"/>
                    <a:pt x="505" y="440"/>
                    <a:pt x="503" y="437"/>
                  </a:cubicBezTo>
                  <a:cubicBezTo>
                    <a:pt x="502" y="433"/>
                    <a:pt x="499" y="429"/>
                    <a:pt x="498" y="425"/>
                  </a:cubicBezTo>
                  <a:cubicBezTo>
                    <a:pt x="497" y="423"/>
                    <a:pt x="497" y="421"/>
                    <a:pt x="497" y="419"/>
                  </a:cubicBezTo>
                  <a:cubicBezTo>
                    <a:pt x="496" y="416"/>
                    <a:pt x="495" y="412"/>
                    <a:pt x="494" y="408"/>
                  </a:cubicBezTo>
                  <a:cubicBezTo>
                    <a:pt x="494" y="406"/>
                    <a:pt x="493" y="402"/>
                    <a:pt x="492" y="399"/>
                  </a:cubicBezTo>
                  <a:cubicBezTo>
                    <a:pt x="492" y="396"/>
                    <a:pt x="491" y="392"/>
                    <a:pt x="491" y="389"/>
                  </a:cubicBezTo>
                  <a:cubicBezTo>
                    <a:pt x="490" y="385"/>
                    <a:pt x="489" y="381"/>
                    <a:pt x="490" y="377"/>
                  </a:cubicBezTo>
                  <a:cubicBezTo>
                    <a:pt x="490" y="375"/>
                    <a:pt x="491" y="373"/>
                    <a:pt x="492" y="371"/>
                  </a:cubicBezTo>
                  <a:cubicBezTo>
                    <a:pt x="493" y="368"/>
                    <a:pt x="497" y="365"/>
                    <a:pt x="499" y="362"/>
                  </a:cubicBezTo>
                  <a:cubicBezTo>
                    <a:pt x="501" y="359"/>
                    <a:pt x="503" y="356"/>
                    <a:pt x="505" y="353"/>
                  </a:cubicBezTo>
                  <a:cubicBezTo>
                    <a:pt x="508" y="349"/>
                    <a:pt x="511" y="345"/>
                    <a:pt x="514" y="341"/>
                  </a:cubicBezTo>
                  <a:cubicBezTo>
                    <a:pt x="516" y="337"/>
                    <a:pt x="519" y="333"/>
                    <a:pt x="520" y="329"/>
                  </a:cubicBezTo>
                  <a:cubicBezTo>
                    <a:pt x="521" y="327"/>
                    <a:pt x="521" y="323"/>
                    <a:pt x="521" y="321"/>
                  </a:cubicBezTo>
                  <a:cubicBezTo>
                    <a:pt x="521" y="318"/>
                    <a:pt x="521" y="314"/>
                    <a:pt x="522" y="311"/>
                  </a:cubicBezTo>
                  <a:cubicBezTo>
                    <a:pt x="523" y="308"/>
                    <a:pt x="526" y="305"/>
                    <a:pt x="528" y="303"/>
                  </a:cubicBezTo>
                  <a:cubicBezTo>
                    <a:pt x="530" y="302"/>
                    <a:pt x="533" y="302"/>
                    <a:pt x="534" y="301"/>
                  </a:cubicBezTo>
                  <a:cubicBezTo>
                    <a:pt x="537" y="299"/>
                    <a:pt x="539" y="297"/>
                    <a:pt x="541" y="294"/>
                  </a:cubicBezTo>
                  <a:cubicBezTo>
                    <a:pt x="542" y="291"/>
                    <a:pt x="543" y="286"/>
                    <a:pt x="544" y="283"/>
                  </a:cubicBezTo>
                  <a:cubicBezTo>
                    <a:pt x="545" y="281"/>
                    <a:pt x="545" y="278"/>
                    <a:pt x="546" y="276"/>
                  </a:cubicBezTo>
                  <a:cubicBezTo>
                    <a:pt x="547" y="275"/>
                    <a:pt x="549" y="272"/>
                    <a:pt x="550" y="271"/>
                  </a:cubicBezTo>
                  <a:cubicBezTo>
                    <a:pt x="552" y="270"/>
                    <a:pt x="554" y="270"/>
                    <a:pt x="556" y="269"/>
                  </a:cubicBezTo>
                  <a:cubicBezTo>
                    <a:pt x="559" y="267"/>
                    <a:pt x="563" y="262"/>
                    <a:pt x="565" y="259"/>
                  </a:cubicBezTo>
                  <a:cubicBezTo>
                    <a:pt x="567" y="256"/>
                    <a:pt x="568" y="250"/>
                    <a:pt x="570" y="247"/>
                  </a:cubicBezTo>
                  <a:cubicBezTo>
                    <a:pt x="572" y="244"/>
                    <a:pt x="575" y="240"/>
                    <a:pt x="576" y="236"/>
                  </a:cubicBezTo>
                  <a:cubicBezTo>
                    <a:pt x="578" y="233"/>
                    <a:pt x="580" y="228"/>
                    <a:pt x="582" y="224"/>
                  </a:cubicBezTo>
                  <a:cubicBezTo>
                    <a:pt x="583" y="221"/>
                    <a:pt x="586" y="218"/>
                    <a:pt x="588" y="215"/>
                  </a:cubicBezTo>
                  <a:cubicBezTo>
                    <a:pt x="589" y="213"/>
                    <a:pt x="590" y="211"/>
                    <a:pt x="591" y="209"/>
                  </a:cubicBezTo>
                  <a:cubicBezTo>
                    <a:pt x="592" y="207"/>
                    <a:pt x="593" y="203"/>
                    <a:pt x="595" y="202"/>
                  </a:cubicBezTo>
                  <a:cubicBezTo>
                    <a:pt x="596" y="201"/>
                    <a:pt x="598" y="202"/>
                    <a:pt x="599" y="203"/>
                  </a:cubicBezTo>
                  <a:cubicBezTo>
                    <a:pt x="603" y="203"/>
                    <a:pt x="607" y="203"/>
                    <a:pt x="610" y="203"/>
                  </a:cubicBezTo>
                  <a:cubicBezTo>
                    <a:pt x="612" y="202"/>
                    <a:pt x="614" y="202"/>
                    <a:pt x="616" y="202"/>
                  </a:cubicBezTo>
                  <a:cubicBezTo>
                    <a:pt x="619" y="201"/>
                    <a:pt x="622" y="200"/>
                    <a:pt x="623" y="197"/>
                  </a:cubicBezTo>
                  <a:cubicBezTo>
                    <a:pt x="624" y="196"/>
                    <a:pt x="623" y="193"/>
                    <a:pt x="622" y="191"/>
                  </a:cubicBezTo>
                  <a:cubicBezTo>
                    <a:pt x="622" y="190"/>
                    <a:pt x="621" y="188"/>
                    <a:pt x="621" y="187"/>
                  </a:cubicBezTo>
                  <a:cubicBezTo>
                    <a:pt x="619" y="185"/>
                    <a:pt x="617" y="182"/>
                    <a:pt x="614" y="179"/>
                  </a:cubicBezTo>
                  <a:cubicBezTo>
                    <a:pt x="614" y="179"/>
                    <a:pt x="612" y="179"/>
                    <a:pt x="612" y="178"/>
                  </a:cubicBezTo>
                  <a:cubicBezTo>
                    <a:pt x="611" y="176"/>
                    <a:pt x="612" y="173"/>
                    <a:pt x="612" y="171"/>
                  </a:cubicBezTo>
                  <a:cubicBezTo>
                    <a:pt x="612" y="169"/>
                    <a:pt x="613" y="166"/>
                    <a:pt x="614" y="163"/>
                  </a:cubicBezTo>
                  <a:cubicBezTo>
                    <a:pt x="614" y="159"/>
                    <a:pt x="614" y="153"/>
                    <a:pt x="613" y="149"/>
                  </a:cubicBezTo>
                  <a:cubicBezTo>
                    <a:pt x="612" y="144"/>
                    <a:pt x="607" y="138"/>
                    <a:pt x="607" y="133"/>
                  </a:cubicBezTo>
                  <a:cubicBezTo>
                    <a:pt x="608" y="130"/>
                    <a:pt x="612" y="127"/>
                    <a:pt x="612" y="123"/>
                  </a:cubicBezTo>
                  <a:cubicBezTo>
                    <a:pt x="612" y="122"/>
                    <a:pt x="610" y="120"/>
                    <a:pt x="609" y="119"/>
                  </a:cubicBezTo>
                  <a:cubicBezTo>
                    <a:pt x="608" y="117"/>
                    <a:pt x="607" y="115"/>
                    <a:pt x="606" y="114"/>
                  </a:cubicBezTo>
                  <a:cubicBezTo>
                    <a:pt x="603" y="113"/>
                    <a:pt x="599" y="114"/>
                    <a:pt x="597" y="113"/>
                  </a:cubicBezTo>
                  <a:cubicBezTo>
                    <a:pt x="594" y="112"/>
                    <a:pt x="592" y="109"/>
                    <a:pt x="590" y="107"/>
                  </a:cubicBezTo>
                  <a:cubicBezTo>
                    <a:pt x="588" y="106"/>
                    <a:pt x="587" y="104"/>
                    <a:pt x="585" y="104"/>
                  </a:cubicBezTo>
                  <a:cubicBezTo>
                    <a:pt x="584" y="104"/>
                    <a:pt x="583" y="104"/>
                    <a:pt x="582" y="105"/>
                  </a:cubicBezTo>
                  <a:cubicBezTo>
                    <a:pt x="581" y="105"/>
                    <a:pt x="579" y="106"/>
                    <a:pt x="578" y="106"/>
                  </a:cubicBezTo>
                  <a:cubicBezTo>
                    <a:pt x="578" y="106"/>
                    <a:pt x="577" y="106"/>
                    <a:pt x="577" y="106"/>
                  </a:cubicBezTo>
                  <a:cubicBezTo>
                    <a:pt x="576" y="106"/>
                    <a:pt x="574" y="107"/>
                    <a:pt x="573" y="106"/>
                  </a:cubicBezTo>
                  <a:cubicBezTo>
                    <a:pt x="571" y="105"/>
                    <a:pt x="569" y="102"/>
                    <a:pt x="568" y="100"/>
                  </a:cubicBezTo>
                  <a:cubicBezTo>
                    <a:pt x="568" y="99"/>
                    <a:pt x="567" y="98"/>
                    <a:pt x="566" y="98"/>
                  </a:cubicBezTo>
                  <a:cubicBezTo>
                    <a:pt x="565" y="95"/>
                    <a:pt x="563" y="90"/>
                    <a:pt x="561" y="88"/>
                  </a:cubicBezTo>
                  <a:cubicBezTo>
                    <a:pt x="559" y="86"/>
                    <a:pt x="557" y="83"/>
                    <a:pt x="555" y="81"/>
                  </a:cubicBezTo>
                  <a:cubicBezTo>
                    <a:pt x="553" y="80"/>
                    <a:pt x="551" y="77"/>
                    <a:pt x="549" y="75"/>
                  </a:cubicBezTo>
                  <a:cubicBezTo>
                    <a:pt x="549" y="74"/>
                    <a:pt x="548" y="69"/>
                    <a:pt x="548" y="69"/>
                  </a:cubicBezTo>
                  <a:cubicBezTo>
                    <a:pt x="523" y="22"/>
                    <a:pt x="523" y="22"/>
                    <a:pt x="523" y="22"/>
                  </a:cubicBezTo>
                  <a:lnTo>
                    <a:pt x="487" y="0"/>
                  </a:lnTo>
                  <a:close/>
                  <a:moveTo>
                    <a:pt x="376" y="327"/>
                  </a:moveTo>
                  <a:cubicBezTo>
                    <a:pt x="395" y="339"/>
                    <a:pt x="395" y="339"/>
                    <a:pt x="395" y="339"/>
                  </a:cubicBezTo>
                  <a:cubicBezTo>
                    <a:pt x="404" y="343"/>
                    <a:pt x="404" y="343"/>
                    <a:pt x="404" y="343"/>
                  </a:cubicBezTo>
                  <a:cubicBezTo>
                    <a:pt x="415" y="343"/>
                    <a:pt x="415" y="343"/>
                    <a:pt x="415" y="343"/>
                  </a:cubicBezTo>
                  <a:cubicBezTo>
                    <a:pt x="420" y="340"/>
                    <a:pt x="420" y="340"/>
                    <a:pt x="420" y="340"/>
                  </a:cubicBezTo>
                  <a:cubicBezTo>
                    <a:pt x="434" y="332"/>
                    <a:pt x="434" y="332"/>
                    <a:pt x="434" y="332"/>
                  </a:cubicBezTo>
                  <a:cubicBezTo>
                    <a:pt x="443" y="326"/>
                    <a:pt x="443" y="326"/>
                    <a:pt x="443" y="326"/>
                  </a:cubicBezTo>
                  <a:cubicBezTo>
                    <a:pt x="463" y="306"/>
                    <a:pt x="463" y="306"/>
                    <a:pt x="463" y="306"/>
                  </a:cubicBezTo>
                  <a:cubicBezTo>
                    <a:pt x="474" y="291"/>
                    <a:pt x="474" y="291"/>
                    <a:pt x="474" y="291"/>
                  </a:cubicBezTo>
                  <a:cubicBezTo>
                    <a:pt x="481" y="273"/>
                    <a:pt x="481" y="273"/>
                    <a:pt x="481" y="273"/>
                  </a:cubicBezTo>
                  <a:cubicBezTo>
                    <a:pt x="485" y="250"/>
                    <a:pt x="485" y="250"/>
                    <a:pt x="485" y="250"/>
                  </a:cubicBezTo>
                  <a:cubicBezTo>
                    <a:pt x="485" y="234"/>
                    <a:pt x="485" y="234"/>
                    <a:pt x="485" y="234"/>
                  </a:cubicBezTo>
                  <a:cubicBezTo>
                    <a:pt x="483" y="221"/>
                    <a:pt x="483" y="221"/>
                    <a:pt x="483" y="221"/>
                  </a:cubicBezTo>
                  <a:cubicBezTo>
                    <a:pt x="481" y="214"/>
                    <a:pt x="481" y="214"/>
                    <a:pt x="481" y="214"/>
                  </a:cubicBezTo>
                  <a:cubicBezTo>
                    <a:pt x="477" y="206"/>
                    <a:pt x="477" y="206"/>
                    <a:pt x="477" y="206"/>
                  </a:cubicBezTo>
                  <a:cubicBezTo>
                    <a:pt x="477" y="198"/>
                    <a:pt x="477" y="198"/>
                    <a:pt x="477" y="198"/>
                  </a:cubicBezTo>
                  <a:cubicBezTo>
                    <a:pt x="483" y="185"/>
                    <a:pt x="483" y="185"/>
                    <a:pt x="483" y="185"/>
                  </a:cubicBezTo>
                  <a:cubicBezTo>
                    <a:pt x="486" y="175"/>
                    <a:pt x="486" y="175"/>
                    <a:pt x="486" y="175"/>
                  </a:cubicBezTo>
                  <a:cubicBezTo>
                    <a:pt x="490" y="173"/>
                    <a:pt x="490" y="173"/>
                    <a:pt x="490" y="173"/>
                  </a:cubicBezTo>
                  <a:cubicBezTo>
                    <a:pt x="498" y="174"/>
                    <a:pt x="498" y="174"/>
                    <a:pt x="498" y="174"/>
                  </a:cubicBezTo>
                  <a:cubicBezTo>
                    <a:pt x="506" y="174"/>
                    <a:pt x="506" y="174"/>
                    <a:pt x="506" y="174"/>
                  </a:cubicBezTo>
                  <a:cubicBezTo>
                    <a:pt x="515" y="176"/>
                    <a:pt x="515" y="176"/>
                    <a:pt x="515" y="176"/>
                  </a:cubicBezTo>
                  <a:cubicBezTo>
                    <a:pt x="520" y="172"/>
                    <a:pt x="520" y="172"/>
                    <a:pt x="520" y="172"/>
                  </a:cubicBezTo>
                  <a:cubicBezTo>
                    <a:pt x="526" y="166"/>
                    <a:pt x="526" y="166"/>
                    <a:pt x="526" y="166"/>
                  </a:cubicBezTo>
                  <a:cubicBezTo>
                    <a:pt x="538" y="164"/>
                    <a:pt x="538" y="164"/>
                    <a:pt x="538" y="164"/>
                  </a:cubicBezTo>
                  <a:cubicBezTo>
                    <a:pt x="546" y="157"/>
                    <a:pt x="546" y="157"/>
                    <a:pt x="546" y="157"/>
                  </a:cubicBezTo>
                  <a:cubicBezTo>
                    <a:pt x="558" y="153"/>
                    <a:pt x="558" y="153"/>
                    <a:pt x="558" y="153"/>
                  </a:cubicBezTo>
                  <a:cubicBezTo>
                    <a:pt x="564" y="148"/>
                    <a:pt x="564" y="148"/>
                    <a:pt x="564" y="148"/>
                  </a:cubicBezTo>
                  <a:cubicBezTo>
                    <a:pt x="576" y="134"/>
                    <a:pt x="576" y="134"/>
                    <a:pt x="576" y="134"/>
                  </a:cubicBezTo>
                  <a:cubicBezTo>
                    <a:pt x="569" y="130"/>
                    <a:pt x="569" y="130"/>
                    <a:pt x="569" y="130"/>
                  </a:cubicBezTo>
                  <a:cubicBezTo>
                    <a:pt x="553" y="122"/>
                    <a:pt x="553" y="122"/>
                    <a:pt x="553" y="122"/>
                  </a:cubicBezTo>
                  <a:cubicBezTo>
                    <a:pt x="539" y="117"/>
                    <a:pt x="539" y="117"/>
                    <a:pt x="539" y="117"/>
                  </a:cubicBezTo>
                  <a:cubicBezTo>
                    <a:pt x="526" y="110"/>
                    <a:pt x="526" y="110"/>
                    <a:pt x="526" y="110"/>
                  </a:cubicBezTo>
                  <a:cubicBezTo>
                    <a:pt x="516" y="102"/>
                    <a:pt x="516" y="102"/>
                    <a:pt x="516" y="102"/>
                  </a:cubicBezTo>
                  <a:cubicBezTo>
                    <a:pt x="505" y="102"/>
                    <a:pt x="505" y="102"/>
                    <a:pt x="505" y="102"/>
                  </a:cubicBezTo>
                  <a:cubicBezTo>
                    <a:pt x="496" y="110"/>
                    <a:pt x="496" y="110"/>
                    <a:pt x="496" y="110"/>
                  </a:cubicBezTo>
                  <a:cubicBezTo>
                    <a:pt x="486" y="122"/>
                    <a:pt x="486" y="122"/>
                    <a:pt x="486" y="122"/>
                  </a:cubicBezTo>
                  <a:cubicBezTo>
                    <a:pt x="470" y="129"/>
                    <a:pt x="470" y="129"/>
                    <a:pt x="470" y="129"/>
                  </a:cubicBezTo>
                  <a:cubicBezTo>
                    <a:pt x="455" y="133"/>
                    <a:pt x="455" y="133"/>
                    <a:pt x="455" y="133"/>
                  </a:cubicBezTo>
                  <a:cubicBezTo>
                    <a:pt x="441" y="136"/>
                    <a:pt x="441" y="136"/>
                    <a:pt x="441" y="136"/>
                  </a:cubicBezTo>
                  <a:cubicBezTo>
                    <a:pt x="437" y="151"/>
                    <a:pt x="437" y="151"/>
                    <a:pt x="437" y="151"/>
                  </a:cubicBezTo>
                  <a:cubicBezTo>
                    <a:pt x="429" y="151"/>
                    <a:pt x="429" y="151"/>
                    <a:pt x="429" y="151"/>
                  </a:cubicBezTo>
                  <a:cubicBezTo>
                    <a:pt x="417" y="156"/>
                    <a:pt x="417" y="156"/>
                    <a:pt x="417" y="156"/>
                  </a:cubicBezTo>
                  <a:cubicBezTo>
                    <a:pt x="401" y="159"/>
                    <a:pt x="401" y="159"/>
                    <a:pt x="401" y="159"/>
                  </a:cubicBezTo>
                  <a:cubicBezTo>
                    <a:pt x="396" y="159"/>
                    <a:pt x="396" y="159"/>
                    <a:pt x="396" y="159"/>
                  </a:cubicBezTo>
                  <a:cubicBezTo>
                    <a:pt x="382" y="159"/>
                    <a:pt x="382" y="159"/>
                    <a:pt x="382" y="159"/>
                  </a:cubicBezTo>
                  <a:cubicBezTo>
                    <a:pt x="368" y="161"/>
                    <a:pt x="368" y="161"/>
                    <a:pt x="368" y="161"/>
                  </a:cubicBezTo>
                  <a:cubicBezTo>
                    <a:pt x="357" y="169"/>
                    <a:pt x="357" y="169"/>
                    <a:pt x="357" y="169"/>
                  </a:cubicBezTo>
                  <a:cubicBezTo>
                    <a:pt x="340" y="173"/>
                    <a:pt x="340" y="173"/>
                    <a:pt x="340" y="173"/>
                  </a:cubicBezTo>
                  <a:cubicBezTo>
                    <a:pt x="323" y="174"/>
                    <a:pt x="323" y="174"/>
                    <a:pt x="323" y="174"/>
                  </a:cubicBezTo>
                  <a:cubicBezTo>
                    <a:pt x="309" y="177"/>
                    <a:pt x="309" y="177"/>
                    <a:pt x="309" y="177"/>
                  </a:cubicBezTo>
                  <a:cubicBezTo>
                    <a:pt x="301" y="185"/>
                    <a:pt x="301" y="185"/>
                    <a:pt x="301" y="185"/>
                  </a:cubicBezTo>
                  <a:cubicBezTo>
                    <a:pt x="291" y="192"/>
                    <a:pt x="291" y="192"/>
                    <a:pt x="291" y="192"/>
                  </a:cubicBezTo>
                  <a:cubicBezTo>
                    <a:pt x="290" y="198"/>
                    <a:pt x="290" y="198"/>
                    <a:pt x="290" y="198"/>
                  </a:cubicBezTo>
                  <a:cubicBezTo>
                    <a:pt x="288" y="207"/>
                    <a:pt x="288" y="207"/>
                    <a:pt x="288" y="207"/>
                  </a:cubicBezTo>
                  <a:cubicBezTo>
                    <a:pt x="280" y="216"/>
                    <a:pt x="280" y="216"/>
                    <a:pt x="280" y="216"/>
                  </a:cubicBezTo>
                  <a:cubicBezTo>
                    <a:pt x="272" y="220"/>
                    <a:pt x="272" y="220"/>
                    <a:pt x="272" y="220"/>
                  </a:cubicBezTo>
                  <a:cubicBezTo>
                    <a:pt x="272" y="225"/>
                    <a:pt x="272" y="225"/>
                    <a:pt x="272" y="225"/>
                  </a:cubicBezTo>
                  <a:cubicBezTo>
                    <a:pt x="279" y="233"/>
                    <a:pt x="279" y="233"/>
                    <a:pt x="279" y="233"/>
                  </a:cubicBezTo>
                  <a:cubicBezTo>
                    <a:pt x="279" y="241"/>
                    <a:pt x="279" y="241"/>
                    <a:pt x="279" y="241"/>
                  </a:cubicBezTo>
                  <a:cubicBezTo>
                    <a:pt x="282" y="243"/>
                    <a:pt x="282" y="243"/>
                    <a:pt x="282" y="243"/>
                  </a:cubicBezTo>
                  <a:cubicBezTo>
                    <a:pt x="289" y="237"/>
                    <a:pt x="289" y="237"/>
                    <a:pt x="289" y="237"/>
                  </a:cubicBezTo>
                  <a:cubicBezTo>
                    <a:pt x="299" y="245"/>
                    <a:pt x="299" y="245"/>
                    <a:pt x="299" y="245"/>
                  </a:cubicBezTo>
                  <a:cubicBezTo>
                    <a:pt x="294" y="250"/>
                    <a:pt x="294" y="250"/>
                    <a:pt x="294" y="250"/>
                  </a:cubicBezTo>
                  <a:cubicBezTo>
                    <a:pt x="284" y="258"/>
                    <a:pt x="284" y="258"/>
                    <a:pt x="284" y="258"/>
                  </a:cubicBezTo>
                  <a:cubicBezTo>
                    <a:pt x="282" y="267"/>
                    <a:pt x="282" y="267"/>
                    <a:pt x="282" y="267"/>
                  </a:cubicBezTo>
                  <a:cubicBezTo>
                    <a:pt x="286" y="284"/>
                    <a:pt x="286" y="284"/>
                    <a:pt x="286" y="284"/>
                  </a:cubicBezTo>
                  <a:cubicBezTo>
                    <a:pt x="292" y="286"/>
                    <a:pt x="292" y="286"/>
                    <a:pt x="292" y="286"/>
                  </a:cubicBezTo>
                  <a:cubicBezTo>
                    <a:pt x="283" y="305"/>
                    <a:pt x="283" y="305"/>
                    <a:pt x="283" y="305"/>
                  </a:cubicBezTo>
                  <a:cubicBezTo>
                    <a:pt x="293" y="311"/>
                    <a:pt x="293" y="311"/>
                    <a:pt x="293" y="311"/>
                  </a:cubicBezTo>
                  <a:cubicBezTo>
                    <a:pt x="303" y="316"/>
                    <a:pt x="303" y="316"/>
                    <a:pt x="303" y="316"/>
                  </a:cubicBezTo>
                  <a:cubicBezTo>
                    <a:pt x="313" y="317"/>
                    <a:pt x="313" y="317"/>
                    <a:pt x="313" y="317"/>
                  </a:cubicBezTo>
                  <a:cubicBezTo>
                    <a:pt x="323" y="316"/>
                    <a:pt x="323" y="316"/>
                    <a:pt x="323" y="316"/>
                  </a:cubicBezTo>
                  <a:cubicBezTo>
                    <a:pt x="330" y="311"/>
                    <a:pt x="330" y="311"/>
                    <a:pt x="330" y="311"/>
                  </a:cubicBezTo>
                  <a:cubicBezTo>
                    <a:pt x="338" y="317"/>
                    <a:pt x="338" y="317"/>
                    <a:pt x="338" y="317"/>
                  </a:cubicBezTo>
                  <a:cubicBezTo>
                    <a:pt x="354" y="327"/>
                    <a:pt x="354" y="327"/>
                    <a:pt x="354" y="327"/>
                  </a:cubicBezTo>
                  <a:cubicBezTo>
                    <a:pt x="367" y="334"/>
                    <a:pt x="367" y="334"/>
                    <a:pt x="367" y="334"/>
                  </a:cubicBezTo>
                  <a:lnTo>
                    <a:pt x="376" y="327"/>
                  </a:lnTo>
                  <a:close/>
                  <a:moveTo>
                    <a:pt x="481" y="59"/>
                  </a:moveTo>
                  <a:cubicBezTo>
                    <a:pt x="480" y="64"/>
                    <a:pt x="480" y="64"/>
                    <a:pt x="480" y="64"/>
                  </a:cubicBezTo>
                  <a:cubicBezTo>
                    <a:pt x="475" y="74"/>
                    <a:pt x="475" y="74"/>
                    <a:pt x="475" y="74"/>
                  </a:cubicBezTo>
                  <a:cubicBezTo>
                    <a:pt x="466" y="81"/>
                    <a:pt x="466" y="81"/>
                    <a:pt x="466" y="81"/>
                  </a:cubicBezTo>
                  <a:cubicBezTo>
                    <a:pt x="458" y="79"/>
                    <a:pt x="458" y="79"/>
                    <a:pt x="458" y="79"/>
                  </a:cubicBezTo>
                  <a:cubicBezTo>
                    <a:pt x="452" y="74"/>
                    <a:pt x="452" y="74"/>
                    <a:pt x="452" y="74"/>
                  </a:cubicBezTo>
                  <a:cubicBezTo>
                    <a:pt x="452" y="64"/>
                    <a:pt x="452" y="64"/>
                    <a:pt x="452" y="64"/>
                  </a:cubicBezTo>
                  <a:cubicBezTo>
                    <a:pt x="457" y="54"/>
                    <a:pt x="457" y="54"/>
                    <a:pt x="457" y="54"/>
                  </a:cubicBezTo>
                  <a:cubicBezTo>
                    <a:pt x="464" y="49"/>
                    <a:pt x="464" y="49"/>
                    <a:pt x="464" y="49"/>
                  </a:cubicBezTo>
                  <a:cubicBezTo>
                    <a:pt x="472" y="52"/>
                    <a:pt x="472" y="52"/>
                    <a:pt x="472" y="52"/>
                  </a:cubicBezTo>
                  <a:lnTo>
                    <a:pt x="481" y="59"/>
                  </a:lnTo>
                  <a:close/>
                </a:path>
              </a:pathLst>
            </a:custGeom>
            <a:pattFill prst="dkHorz">
              <a:fgClr>
                <a:schemeClr val="accent2"/>
              </a:fgClr>
              <a:bgClr>
                <a:schemeClr val="bg1"/>
              </a:bgClr>
            </a:patt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77" name="Freeform 27">
              <a:extLst>
                <a:ext uri="{FF2B5EF4-FFF2-40B4-BE49-F238E27FC236}">
                  <a16:creationId xmlns:a16="http://schemas.microsoft.com/office/drawing/2014/main" id="{F1AF9495-EFFA-4394-BAF5-C7B875656A5C}"/>
                </a:ext>
              </a:extLst>
            </p:cNvPr>
            <p:cNvSpPr>
              <a:spLocks/>
            </p:cNvSpPr>
            <p:nvPr/>
          </p:nvSpPr>
          <p:spPr bwMode="gray">
            <a:xfrm>
              <a:off x="10943" y="1982"/>
              <a:ext cx="718" cy="548"/>
            </a:xfrm>
            <a:custGeom>
              <a:avLst/>
              <a:gdLst>
                <a:gd name="T0" fmla="*/ 666 w 718"/>
                <a:gd name="T1" fmla="*/ 90 h 548"/>
                <a:gd name="T2" fmla="*/ 619 w 718"/>
                <a:gd name="T3" fmla="*/ 61 h 548"/>
                <a:gd name="T4" fmla="*/ 593 w 718"/>
                <a:gd name="T5" fmla="*/ 94 h 548"/>
                <a:gd name="T6" fmla="*/ 631 w 718"/>
                <a:gd name="T7" fmla="*/ 120 h 548"/>
                <a:gd name="T8" fmla="*/ 628 w 718"/>
                <a:gd name="T9" fmla="*/ 146 h 548"/>
                <a:gd name="T10" fmla="*/ 586 w 718"/>
                <a:gd name="T11" fmla="*/ 165 h 548"/>
                <a:gd name="T12" fmla="*/ 571 w 718"/>
                <a:gd name="T13" fmla="*/ 153 h 548"/>
                <a:gd name="T14" fmla="*/ 593 w 718"/>
                <a:gd name="T15" fmla="*/ 120 h 548"/>
                <a:gd name="T16" fmla="*/ 569 w 718"/>
                <a:gd name="T17" fmla="*/ 80 h 548"/>
                <a:gd name="T18" fmla="*/ 536 w 718"/>
                <a:gd name="T19" fmla="*/ 92 h 548"/>
                <a:gd name="T20" fmla="*/ 517 w 718"/>
                <a:gd name="T21" fmla="*/ 111 h 548"/>
                <a:gd name="T22" fmla="*/ 529 w 718"/>
                <a:gd name="T23" fmla="*/ 137 h 548"/>
                <a:gd name="T24" fmla="*/ 501 w 718"/>
                <a:gd name="T25" fmla="*/ 161 h 548"/>
                <a:gd name="T26" fmla="*/ 498 w 718"/>
                <a:gd name="T27" fmla="*/ 196 h 548"/>
                <a:gd name="T28" fmla="*/ 484 w 718"/>
                <a:gd name="T29" fmla="*/ 246 h 548"/>
                <a:gd name="T30" fmla="*/ 498 w 718"/>
                <a:gd name="T31" fmla="*/ 281 h 548"/>
                <a:gd name="T32" fmla="*/ 446 w 718"/>
                <a:gd name="T33" fmla="*/ 288 h 548"/>
                <a:gd name="T34" fmla="*/ 411 w 718"/>
                <a:gd name="T35" fmla="*/ 248 h 548"/>
                <a:gd name="T36" fmla="*/ 326 w 718"/>
                <a:gd name="T37" fmla="*/ 212 h 548"/>
                <a:gd name="T38" fmla="*/ 272 w 718"/>
                <a:gd name="T39" fmla="*/ 205 h 548"/>
                <a:gd name="T40" fmla="*/ 264 w 718"/>
                <a:gd name="T41" fmla="*/ 238 h 548"/>
                <a:gd name="T42" fmla="*/ 260 w 718"/>
                <a:gd name="T43" fmla="*/ 272 h 548"/>
                <a:gd name="T44" fmla="*/ 205 w 718"/>
                <a:gd name="T45" fmla="*/ 324 h 548"/>
                <a:gd name="T46" fmla="*/ 191 w 718"/>
                <a:gd name="T47" fmla="*/ 416 h 548"/>
                <a:gd name="T48" fmla="*/ 224 w 718"/>
                <a:gd name="T49" fmla="*/ 463 h 548"/>
                <a:gd name="T50" fmla="*/ 246 w 718"/>
                <a:gd name="T51" fmla="*/ 531 h 548"/>
                <a:gd name="T52" fmla="*/ 194 w 718"/>
                <a:gd name="T53" fmla="*/ 531 h 548"/>
                <a:gd name="T54" fmla="*/ 137 w 718"/>
                <a:gd name="T55" fmla="*/ 494 h 548"/>
                <a:gd name="T56" fmla="*/ 97 w 718"/>
                <a:gd name="T57" fmla="*/ 508 h 548"/>
                <a:gd name="T58" fmla="*/ 49 w 718"/>
                <a:gd name="T59" fmla="*/ 494 h 548"/>
                <a:gd name="T60" fmla="*/ 47 w 718"/>
                <a:gd name="T61" fmla="*/ 435 h 548"/>
                <a:gd name="T62" fmla="*/ 23 w 718"/>
                <a:gd name="T63" fmla="*/ 390 h 548"/>
                <a:gd name="T64" fmla="*/ 52 w 718"/>
                <a:gd name="T65" fmla="*/ 349 h 548"/>
                <a:gd name="T66" fmla="*/ 40 w 718"/>
                <a:gd name="T67" fmla="*/ 319 h 548"/>
                <a:gd name="T68" fmla="*/ 16 w 718"/>
                <a:gd name="T69" fmla="*/ 328 h 548"/>
                <a:gd name="T70" fmla="*/ 0 w 718"/>
                <a:gd name="T71" fmla="*/ 290 h 548"/>
                <a:gd name="T72" fmla="*/ 19 w 718"/>
                <a:gd name="T73" fmla="*/ 269 h 548"/>
                <a:gd name="T74" fmla="*/ 42 w 718"/>
                <a:gd name="T75" fmla="*/ 227 h 548"/>
                <a:gd name="T76" fmla="*/ 68 w 718"/>
                <a:gd name="T77" fmla="*/ 196 h 548"/>
                <a:gd name="T78" fmla="*/ 120 w 718"/>
                <a:gd name="T79" fmla="*/ 170 h 548"/>
                <a:gd name="T80" fmla="*/ 201 w 718"/>
                <a:gd name="T81" fmla="*/ 158 h 548"/>
                <a:gd name="T82" fmla="*/ 260 w 718"/>
                <a:gd name="T83" fmla="*/ 135 h 548"/>
                <a:gd name="T84" fmla="*/ 305 w 718"/>
                <a:gd name="T85" fmla="*/ 135 h 548"/>
                <a:gd name="T86" fmla="*/ 371 w 718"/>
                <a:gd name="T87" fmla="*/ 116 h 548"/>
                <a:gd name="T88" fmla="*/ 399 w 718"/>
                <a:gd name="T89" fmla="*/ 80 h 548"/>
                <a:gd name="T90" fmla="*/ 468 w 718"/>
                <a:gd name="T91" fmla="*/ 64 h 548"/>
                <a:gd name="T92" fmla="*/ 529 w 718"/>
                <a:gd name="T93" fmla="*/ 19 h 548"/>
                <a:gd name="T94" fmla="*/ 576 w 718"/>
                <a:gd name="T95" fmla="*/ 0 h 548"/>
                <a:gd name="T96" fmla="*/ 631 w 718"/>
                <a:gd name="T97" fmla="*/ 35 h 548"/>
                <a:gd name="T98" fmla="*/ 701 w 718"/>
                <a:gd name="T99" fmla="*/ 66 h 548"/>
                <a:gd name="T100" fmla="*/ 690 w 718"/>
                <a:gd name="T101" fmla="*/ 109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8" h="548">
                  <a:moveTo>
                    <a:pt x="690" y="109"/>
                  </a:moveTo>
                  <a:lnTo>
                    <a:pt x="666" y="90"/>
                  </a:lnTo>
                  <a:lnTo>
                    <a:pt x="640" y="71"/>
                  </a:lnTo>
                  <a:lnTo>
                    <a:pt x="619" y="61"/>
                  </a:lnTo>
                  <a:lnTo>
                    <a:pt x="590" y="71"/>
                  </a:lnTo>
                  <a:lnTo>
                    <a:pt x="593" y="94"/>
                  </a:lnTo>
                  <a:lnTo>
                    <a:pt x="614" y="109"/>
                  </a:lnTo>
                  <a:lnTo>
                    <a:pt x="631" y="120"/>
                  </a:lnTo>
                  <a:lnTo>
                    <a:pt x="649" y="130"/>
                  </a:lnTo>
                  <a:lnTo>
                    <a:pt x="628" y="146"/>
                  </a:lnTo>
                  <a:lnTo>
                    <a:pt x="600" y="151"/>
                  </a:lnTo>
                  <a:lnTo>
                    <a:pt x="586" y="165"/>
                  </a:lnTo>
                  <a:lnTo>
                    <a:pt x="574" y="172"/>
                  </a:lnTo>
                  <a:lnTo>
                    <a:pt x="571" y="153"/>
                  </a:lnTo>
                  <a:lnTo>
                    <a:pt x="609" y="135"/>
                  </a:lnTo>
                  <a:lnTo>
                    <a:pt x="593" y="120"/>
                  </a:lnTo>
                  <a:lnTo>
                    <a:pt x="576" y="94"/>
                  </a:lnTo>
                  <a:lnTo>
                    <a:pt x="569" y="80"/>
                  </a:lnTo>
                  <a:lnTo>
                    <a:pt x="557" y="85"/>
                  </a:lnTo>
                  <a:lnTo>
                    <a:pt x="536" y="92"/>
                  </a:lnTo>
                  <a:lnTo>
                    <a:pt x="527" y="99"/>
                  </a:lnTo>
                  <a:lnTo>
                    <a:pt x="517" y="111"/>
                  </a:lnTo>
                  <a:lnTo>
                    <a:pt x="538" y="125"/>
                  </a:lnTo>
                  <a:lnTo>
                    <a:pt x="529" y="137"/>
                  </a:lnTo>
                  <a:lnTo>
                    <a:pt x="512" y="144"/>
                  </a:lnTo>
                  <a:lnTo>
                    <a:pt x="501" y="161"/>
                  </a:lnTo>
                  <a:lnTo>
                    <a:pt x="505" y="175"/>
                  </a:lnTo>
                  <a:lnTo>
                    <a:pt x="498" y="196"/>
                  </a:lnTo>
                  <a:lnTo>
                    <a:pt x="484" y="227"/>
                  </a:lnTo>
                  <a:lnTo>
                    <a:pt x="484" y="246"/>
                  </a:lnTo>
                  <a:lnTo>
                    <a:pt x="494" y="264"/>
                  </a:lnTo>
                  <a:lnTo>
                    <a:pt x="498" y="281"/>
                  </a:lnTo>
                  <a:lnTo>
                    <a:pt x="472" y="286"/>
                  </a:lnTo>
                  <a:lnTo>
                    <a:pt x="446" y="288"/>
                  </a:lnTo>
                  <a:lnTo>
                    <a:pt x="425" y="279"/>
                  </a:lnTo>
                  <a:lnTo>
                    <a:pt x="411" y="248"/>
                  </a:lnTo>
                  <a:lnTo>
                    <a:pt x="373" y="231"/>
                  </a:lnTo>
                  <a:lnTo>
                    <a:pt x="326" y="212"/>
                  </a:lnTo>
                  <a:lnTo>
                    <a:pt x="297" y="201"/>
                  </a:lnTo>
                  <a:lnTo>
                    <a:pt x="272" y="205"/>
                  </a:lnTo>
                  <a:lnTo>
                    <a:pt x="253" y="212"/>
                  </a:lnTo>
                  <a:lnTo>
                    <a:pt x="264" y="238"/>
                  </a:lnTo>
                  <a:lnTo>
                    <a:pt x="272" y="250"/>
                  </a:lnTo>
                  <a:lnTo>
                    <a:pt x="260" y="272"/>
                  </a:lnTo>
                  <a:lnTo>
                    <a:pt x="229" y="298"/>
                  </a:lnTo>
                  <a:lnTo>
                    <a:pt x="205" y="324"/>
                  </a:lnTo>
                  <a:lnTo>
                    <a:pt x="198" y="368"/>
                  </a:lnTo>
                  <a:lnTo>
                    <a:pt x="191" y="416"/>
                  </a:lnTo>
                  <a:lnTo>
                    <a:pt x="208" y="446"/>
                  </a:lnTo>
                  <a:lnTo>
                    <a:pt x="224" y="463"/>
                  </a:lnTo>
                  <a:lnTo>
                    <a:pt x="238" y="496"/>
                  </a:lnTo>
                  <a:lnTo>
                    <a:pt x="246" y="531"/>
                  </a:lnTo>
                  <a:lnTo>
                    <a:pt x="224" y="548"/>
                  </a:lnTo>
                  <a:lnTo>
                    <a:pt x="194" y="531"/>
                  </a:lnTo>
                  <a:lnTo>
                    <a:pt x="156" y="508"/>
                  </a:lnTo>
                  <a:lnTo>
                    <a:pt x="137" y="494"/>
                  </a:lnTo>
                  <a:lnTo>
                    <a:pt x="120" y="505"/>
                  </a:lnTo>
                  <a:lnTo>
                    <a:pt x="97" y="508"/>
                  </a:lnTo>
                  <a:lnTo>
                    <a:pt x="73" y="505"/>
                  </a:lnTo>
                  <a:lnTo>
                    <a:pt x="49" y="494"/>
                  </a:lnTo>
                  <a:lnTo>
                    <a:pt x="26" y="479"/>
                  </a:lnTo>
                  <a:lnTo>
                    <a:pt x="47" y="435"/>
                  </a:lnTo>
                  <a:lnTo>
                    <a:pt x="33" y="430"/>
                  </a:lnTo>
                  <a:lnTo>
                    <a:pt x="23" y="390"/>
                  </a:lnTo>
                  <a:lnTo>
                    <a:pt x="28" y="368"/>
                  </a:lnTo>
                  <a:lnTo>
                    <a:pt x="52" y="349"/>
                  </a:lnTo>
                  <a:lnTo>
                    <a:pt x="64" y="338"/>
                  </a:lnTo>
                  <a:lnTo>
                    <a:pt x="40" y="319"/>
                  </a:lnTo>
                  <a:lnTo>
                    <a:pt x="23" y="333"/>
                  </a:lnTo>
                  <a:lnTo>
                    <a:pt x="16" y="328"/>
                  </a:lnTo>
                  <a:lnTo>
                    <a:pt x="16" y="309"/>
                  </a:lnTo>
                  <a:lnTo>
                    <a:pt x="0" y="290"/>
                  </a:lnTo>
                  <a:lnTo>
                    <a:pt x="0" y="279"/>
                  </a:lnTo>
                  <a:lnTo>
                    <a:pt x="19" y="269"/>
                  </a:lnTo>
                  <a:lnTo>
                    <a:pt x="38" y="248"/>
                  </a:lnTo>
                  <a:lnTo>
                    <a:pt x="42" y="227"/>
                  </a:lnTo>
                  <a:lnTo>
                    <a:pt x="45" y="212"/>
                  </a:lnTo>
                  <a:lnTo>
                    <a:pt x="68" y="196"/>
                  </a:lnTo>
                  <a:lnTo>
                    <a:pt x="87" y="177"/>
                  </a:lnTo>
                  <a:lnTo>
                    <a:pt x="120" y="170"/>
                  </a:lnTo>
                  <a:lnTo>
                    <a:pt x="160" y="168"/>
                  </a:lnTo>
                  <a:lnTo>
                    <a:pt x="201" y="158"/>
                  </a:lnTo>
                  <a:lnTo>
                    <a:pt x="227" y="139"/>
                  </a:lnTo>
                  <a:lnTo>
                    <a:pt x="260" y="135"/>
                  </a:lnTo>
                  <a:lnTo>
                    <a:pt x="293" y="135"/>
                  </a:lnTo>
                  <a:lnTo>
                    <a:pt x="305" y="135"/>
                  </a:lnTo>
                  <a:lnTo>
                    <a:pt x="342" y="127"/>
                  </a:lnTo>
                  <a:lnTo>
                    <a:pt x="371" y="116"/>
                  </a:lnTo>
                  <a:lnTo>
                    <a:pt x="390" y="116"/>
                  </a:lnTo>
                  <a:lnTo>
                    <a:pt x="399" y="80"/>
                  </a:lnTo>
                  <a:lnTo>
                    <a:pt x="432" y="73"/>
                  </a:lnTo>
                  <a:lnTo>
                    <a:pt x="468" y="64"/>
                  </a:lnTo>
                  <a:lnTo>
                    <a:pt x="505" y="47"/>
                  </a:lnTo>
                  <a:lnTo>
                    <a:pt x="529" y="19"/>
                  </a:lnTo>
                  <a:lnTo>
                    <a:pt x="550" y="0"/>
                  </a:lnTo>
                  <a:lnTo>
                    <a:pt x="576" y="0"/>
                  </a:lnTo>
                  <a:lnTo>
                    <a:pt x="600" y="19"/>
                  </a:lnTo>
                  <a:lnTo>
                    <a:pt x="631" y="35"/>
                  </a:lnTo>
                  <a:lnTo>
                    <a:pt x="664" y="47"/>
                  </a:lnTo>
                  <a:lnTo>
                    <a:pt x="701" y="66"/>
                  </a:lnTo>
                  <a:lnTo>
                    <a:pt x="718" y="75"/>
                  </a:lnTo>
                  <a:lnTo>
                    <a:pt x="690" y="109"/>
                  </a:lnTo>
                  <a:close/>
                </a:path>
              </a:pathLst>
            </a:custGeom>
            <a:pattFill prst="narVert">
              <a:fgClr>
                <a:schemeClr val="accent2"/>
              </a:fgClr>
              <a:bgClr>
                <a:schemeClr val="bg1"/>
              </a:bgClr>
            </a:patt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78" name="Freeform 28">
              <a:extLst>
                <a:ext uri="{FF2B5EF4-FFF2-40B4-BE49-F238E27FC236}">
                  <a16:creationId xmlns:a16="http://schemas.microsoft.com/office/drawing/2014/main" id="{34A0E394-9898-4AE7-A82F-8053CE344A74}"/>
                </a:ext>
              </a:extLst>
            </p:cNvPr>
            <p:cNvSpPr>
              <a:spLocks noEditPoints="1"/>
            </p:cNvSpPr>
            <p:nvPr/>
          </p:nvSpPr>
          <p:spPr bwMode="gray">
            <a:xfrm>
              <a:off x="11134" y="2043"/>
              <a:ext cx="499" cy="508"/>
            </a:xfrm>
            <a:custGeom>
              <a:avLst/>
              <a:gdLst>
                <a:gd name="T0" fmla="*/ 55 w 499"/>
                <a:gd name="T1" fmla="*/ 470 h 508"/>
                <a:gd name="T2" fmla="*/ 47 w 499"/>
                <a:gd name="T3" fmla="*/ 435 h 508"/>
                <a:gd name="T4" fmla="*/ 33 w 499"/>
                <a:gd name="T5" fmla="*/ 402 h 508"/>
                <a:gd name="T6" fmla="*/ 17 w 499"/>
                <a:gd name="T7" fmla="*/ 385 h 508"/>
                <a:gd name="T8" fmla="*/ 0 w 499"/>
                <a:gd name="T9" fmla="*/ 355 h 508"/>
                <a:gd name="T10" fmla="*/ 7 w 499"/>
                <a:gd name="T11" fmla="*/ 307 h 508"/>
                <a:gd name="T12" fmla="*/ 14 w 499"/>
                <a:gd name="T13" fmla="*/ 263 h 508"/>
                <a:gd name="T14" fmla="*/ 38 w 499"/>
                <a:gd name="T15" fmla="*/ 237 h 508"/>
                <a:gd name="T16" fmla="*/ 69 w 499"/>
                <a:gd name="T17" fmla="*/ 211 h 508"/>
                <a:gd name="T18" fmla="*/ 81 w 499"/>
                <a:gd name="T19" fmla="*/ 189 h 508"/>
                <a:gd name="T20" fmla="*/ 73 w 499"/>
                <a:gd name="T21" fmla="*/ 177 h 508"/>
                <a:gd name="T22" fmla="*/ 62 w 499"/>
                <a:gd name="T23" fmla="*/ 151 h 508"/>
                <a:gd name="T24" fmla="*/ 81 w 499"/>
                <a:gd name="T25" fmla="*/ 144 h 508"/>
                <a:gd name="T26" fmla="*/ 106 w 499"/>
                <a:gd name="T27" fmla="*/ 140 h 508"/>
                <a:gd name="T28" fmla="*/ 135 w 499"/>
                <a:gd name="T29" fmla="*/ 151 h 508"/>
                <a:gd name="T30" fmla="*/ 182 w 499"/>
                <a:gd name="T31" fmla="*/ 170 h 508"/>
                <a:gd name="T32" fmla="*/ 220 w 499"/>
                <a:gd name="T33" fmla="*/ 187 h 508"/>
                <a:gd name="T34" fmla="*/ 234 w 499"/>
                <a:gd name="T35" fmla="*/ 218 h 508"/>
                <a:gd name="T36" fmla="*/ 255 w 499"/>
                <a:gd name="T37" fmla="*/ 227 h 508"/>
                <a:gd name="T38" fmla="*/ 281 w 499"/>
                <a:gd name="T39" fmla="*/ 225 h 508"/>
                <a:gd name="T40" fmla="*/ 307 w 499"/>
                <a:gd name="T41" fmla="*/ 220 h 508"/>
                <a:gd name="T42" fmla="*/ 312 w 499"/>
                <a:gd name="T43" fmla="*/ 251 h 508"/>
                <a:gd name="T44" fmla="*/ 312 w 499"/>
                <a:gd name="T45" fmla="*/ 288 h 508"/>
                <a:gd name="T46" fmla="*/ 303 w 499"/>
                <a:gd name="T47" fmla="*/ 343 h 508"/>
                <a:gd name="T48" fmla="*/ 286 w 499"/>
                <a:gd name="T49" fmla="*/ 385 h 508"/>
                <a:gd name="T50" fmla="*/ 260 w 499"/>
                <a:gd name="T51" fmla="*/ 421 h 508"/>
                <a:gd name="T52" fmla="*/ 213 w 499"/>
                <a:gd name="T53" fmla="*/ 468 h 508"/>
                <a:gd name="T54" fmla="*/ 192 w 499"/>
                <a:gd name="T55" fmla="*/ 482 h 508"/>
                <a:gd name="T56" fmla="*/ 158 w 499"/>
                <a:gd name="T57" fmla="*/ 501 h 508"/>
                <a:gd name="T58" fmla="*/ 147 w 499"/>
                <a:gd name="T59" fmla="*/ 508 h 508"/>
                <a:gd name="T60" fmla="*/ 121 w 499"/>
                <a:gd name="T61" fmla="*/ 508 h 508"/>
                <a:gd name="T62" fmla="*/ 99 w 499"/>
                <a:gd name="T63" fmla="*/ 499 h 508"/>
                <a:gd name="T64" fmla="*/ 55 w 499"/>
                <a:gd name="T65" fmla="*/ 470 h 508"/>
                <a:gd name="T66" fmla="*/ 499 w 499"/>
                <a:gd name="T67" fmla="*/ 48 h 508"/>
                <a:gd name="T68" fmla="*/ 475 w 499"/>
                <a:gd name="T69" fmla="*/ 29 h 508"/>
                <a:gd name="T70" fmla="*/ 449 w 499"/>
                <a:gd name="T71" fmla="*/ 10 h 508"/>
                <a:gd name="T72" fmla="*/ 428 w 499"/>
                <a:gd name="T73" fmla="*/ 0 h 508"/>
                <a:gd name="T74" fmla="*/ 399 w 499"/>
                <a:gd name="T75" fmla="*/ 10 h 508"/>
                <a:gd name="T76" fmla="*/ 402 w 499"/>
                <a:gd name="T77" fmla="*/ 33 h 508"/>
                <a:gd name="T78" fmla="*/ 423 w 499"/>
                <a:gd name="T79" fmla="*/ 48 h 508"/>
                <a:gd name="T80" fmla="*/ 440 w 499"/>
                <a:gd name="T81" fmla="*/ 59 h 508"/>
                <a:gd name="T82" fmla="*/ 458 w 499"/>
                <a:gd name="T83" fmla="*/ 69 h 508"/>
                <a:gd name="T84" fmla="*/ 484 w 499"/>
                <a:gd name="T85" fmla="*/ 59 h 508"/>
                <a:gd name="T86" fmla="*/ 499 w 499"/>
                <a:gd name="T87" fmla="*/ 48 h 508"/>
                <a:gd name="T88" fmla="*/ 383 w 499"/>
                <a:gd name="T89" fmla="*/ 111 h 508"/>
                <a:gd name="T90" fmla="*/ 380 w 499"/>
                <a:gd name="T91" fmla="*/ 92 h 508"/>
                <a:gd name="T92" fmla="*/ 418 w 499"/>
                <a:gd name="T93" fmla="*/ 74 h 508"/>
                <a:gd name="T94" fmla="*/ 402 w 499"/>
                <a:gd name="T95" fmla="*/ 59 h 508"/>
                <a:gd name="T96" fmla="*/ 385 w 499"/>
                <a:gd name="T97" fmla="*/ 33 h 508"/>
                <a:gd name="T98" fmla="*/ 378 w 499"/>
                <a:gd name="T99" fmla="*/ 19 h 508"/>
                <a:gd name="T100" fmla="*/ 366 w 499"/>
                <a:gd name="T101" fmla="*/ 24 h 508"/>
                <a:gd name="T102" fmla="*/ 345 w 499"/>
                <a:gd name="T103" fmla="*/ 31 h 508"/>
                <a:gd name="T104" fmla="*/ 336 w 499"/>
                <a:gd name="T105" fmla="*/ 38 h 508"/>
                <a:gd name="T106" fmla="*/ 326 w 499"/>
                <a:gd name="T107" fmla="*/ 50 h 508"/>
                <a:gd name="T108" fmla="*/ 347 w 499"/>
                <a:gd name="T109" fmla="*/ 64 h 508"/>
                <a:gd name="T110" fmla="*/ 338 w 499"/>
                <a:gd name="T111" fmla="*/ 76 h 508"/>
                <a:gd name="T112" fmla="*/ 321 w 499"/>
                <a:gd name="T113" fmla="*/ 83 h 508"/>
                <a:gd name="T114" fmla="*/ 310 w 499"/>
                <a:gd name="T115" fmla="*/ 100 h 508"/>
                <a:gd name="T116" fmla="*/ 314 w 499"/>
                <a:gd name="T117" fmla="*/ 114 h 508"/>
                <a:gd name="T118" fmla="*/ 324 w 499"/>
                <a:gd name="T119" fmla="*/ 107 h 508"/>
                <a:gd name="T120" fmla="*/ 343 w 499"/>
                <a:gd name="T121" fmla="*/ 109 h 508"/>
                <a:gd name="T122" fmla="*/ 362 w 499"/>
                <a:gd name="T123" fmla="*/ 109 h 508"/>
                <a:gd name="T124" fmla="*/ 383 w 499"/>
                <a:gd name="T125" fmla="*/ 111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9" h="508">
                  <a:moveTo>
                    <a:pt x="55" y="470"/>
                  </a:moveTo>
                  <a:lnTo>
                    <a:pt x="47" y="435"/>
                  </a:lnTo>
                  <a:lnTo>
                    <a:pt x="33" y="402"/>
                  </a:lnTo>
                  <a:lnTo>
                    <a:pt x="17" y="385"/>
                  </a:lnTo>
                  <a:lnTo>
                    <a:pt x="0" y="355"/>
                  </a:lnTo>
                  <a:lnTo>
                    <a:pt x="7" y="307"/>
                  </a:lnTo>
                  <a:lnTo>
                    <a:pt x="14" y="263"/>
                  </a:lnTo>
                  <a:lnTo>
                    <a:pt x="38" y="237"/>
                  </a:lnTo>
                  <a:lnTo>
                    <a:pt x="69" y="211"/>
                  </a:lnTo>
                  <a:lnTo>
                    <a:pt x="81" y="189"/>
                  </a:lnTo>
                  <a:lnTo>
                    <a:pt x="73" y="177"/>
                  </a:lnTo>
                  <a:lnTo>
                    <a:pt x="62" y="151"/>
                  </a:lnTo>
                  <a:lnTo>
                    <a:pt x="81" y="144"/>
                  </a:lnTo>
                  <a:lnTo>
                    <a:pt x="106" y="140"/>
                  </a:lnTo>
                  <a:lnTo>
                    <a:pt x="135" y="151"/>
                  </a:lnTo>
                  <a:lnTo>
                    <a:pt x="182" y="170"/>
                  </a:lnTo>
                  <a:lnTo>
                    <a:pt x="220" y="187"/>
                  </a:lnTo>
                  <a:lnTo>
                    <a:pt x="234" y="218"/>
                  </a:lnTo>
                  <a:lnTo>
                    <a:pt x="255" y="227"/>
                  </a:lnTo>
                  <a:lnTo>
                    <a:pt x="281" y="225"/>
                  </a:lnTo>
                  <a:lnTo>
                    <a:pt x="307" y="220"/>
                  </a:lnTo>
                  <a:lnTo>
                    <a:pt x="312" y="251"/>
                  </a:lnTo>
                  <a:lnTo>
                    <a:pt x="312" y="288"/>
                  </a:lnTo>
                  <a:lnTo>
                    <a:pt x="303" y="343"/>
                  </a:lnTo>
                  <a:lnTo>
                    <a:pt x="286" y="385"/>
                  </a:lnTo>
                  <a:lnTo>
                    <a:pt x="260" y="421"/>
                  </a:lnTo>
                  <a:lnTo>
                    <a:pt x="213" y="468"/>
                  </a:lnTo>
                  <a:lnTo>
                    <a:pt x="192" y="482"/>
                  </a:lnTo>
                  <a:lnTo>
                    <a:pt x="158" y="501"/>
                  </a:lnTo>
                  <a:lnTo>
                    <a:pt x="147" y="508"/>
                  </a:lnTo>
                  <a:lnTo>
                    <a:pt x="121" y="508"/>
                  </a:lnTo>
                  <a:lnTo>
                    <a:pt x="99" y="499"/>
                  </a:lnTo>
                  <a:lnTo>
                    <a:pt x="55" y="470"/>
                  </a:lnTo>
                  <a:close/>
                  <a:moveTo>
                    <a:pt x="499" y="48"/>
                  </a:moveTo>
                  <a:lnTo>
                    <a:pt x="475" y="29"/>
                  </a:lnTo>
                  <a:lnTo>
                    <a:pt x="449" y="10"/>
                  </a:lnTo>
                  <a:lnTo>
                    <a:pt x="428" y="0"/>
                  </a:lnTo>
                  <a:lnTo>
                    <a:pt x="399" y="10"/>
                  </a:lnTo>
                  <a:lnTo>
                    <a:pt x="402" y="33"/>
                  </a:lnTo>
                  <a:lnTo>
                    <a:pt x="423" y="48"/>
                  </a:lnTo>
                  <a:lnTo>
                    <a:pt x="440" y="59"/>
                  </a:lnTo>
                  <a:lnTo>
                    <a:pt x="458" y="69"/>
                  </a:lnTo>
                  <a:lnTo>
                    <a:pt x="484" y="59"/>
                  </a:lnTo>
                  <a:lnTo>
                    <a:pt x="499" y="48"/>
                  </a:lnTo>
                  <a:close/>
                  <a:moveTo>
                    <a:pt x="383" y="111"/>
                  </a:moveTo>
                  <a:lnTo>
                    <a:pt x="380" y="92"/>
                  </a:lnTo>
                  <a:lnTo>
                    <a:pt x="418" y="74"/>
                  </a:lnTo>
                  <a:lnTo>
                    <a:pt x="402" y="59"/>
                  </a:lnTo>
                  <a:lnTo>
                    <a:pt x="385" y="33"/>
                  </a:lnTo>
                  <a:lnTo>
                    <a:pt x="378" y="19"/>
                  </a:lnTo>
                  <a:lnTo>
                    <a:pt x="366" y="24"/>
                  </a:lnTo>
                  <a:lnTo>
                    <a:pt x="345" y="31"/>
                  </a:lnTo>
                  <a:lnTo>
                    <a:pt x="336" y="38"/>
                  </a:lnTo>
                  <a:lnTo>
                    <a:pt x="326" y="50"/>
                  </a:lnTo>
                  <a:lnTo>
                    <a:pt x="347" y="64"/>
                  </a:lnTo>
                  <a:lnTo>
                    <a:pt x="338" y="76"/>
                  </a:lnTo>
                  <a:lnTo>
                    <a:pt x="321" y="83"/>
                  </a:lnTo>
                  <a:lnTo>
                    <a:pt x="310" y="100"/>
                  </a:lnTo>
                  <a:lnTo>
                    <a:pt x="314" y="114"/>
                  </a:lnTo>
                  <a:lnTo>
                    <a:pt x="324" y="107"/>
                  </a:lnTo>
                  <a:lnTo>
                    <a:pt x="343" y="109"/>
                  </a:lnTo>
                  <a:lnTo>
                    <a:pt x="362" y="109"/>
                  </a:lnTo>
                  <a:lnTo>
                    <a:pt x="383" y="111"/>
                  </a:lnTo>
                  <a:close/>
                </a:path>
              </a:pathLst>
            </a:custGeom>
            <a:pattFill prst="wdUpDiag">
              <a:fgClr>
                <a:schemeClr val="accent2"/>
              </a:fgClr>
              <a:bgClr>
                <a:schemeClr val="bg1"/>
              </a:bgClr>
            </a:patt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79" name="Freeform 29">
              <a:extLst>
                <a:ext uri="{FF2B5EF4-FFF2-40B4-BE49-F238E27FC236}">
                  <a16:creationId xmlns:a16="http://schemas.microsoft.com/office/drawing/2014/main" id="{BDB45025-D851-4EA1-8E4F-D5585E58FF0E}"/>
                </a:ext>
              </a:extLst>
            </p:cNvPr>
            <p:cNvSpPr>
              <a:spLocks/>
            </p:cNvSpPr>
            <p:nvPr/>
          </p:nvSpPr>
          <p:spPr bwMode="gray">
            <a:xfrm>
              <a:off x="10081" y="2986"/>
              <a:ext cx="3059" cy="2147"/>
            </a:xfrm>
            <a:custGeom>
              <a:avLst/>
              <a:gdLst>
                <a:gd name="T0" fmla="*/ 238 w 1295"/>
                <a:gd name="T1" fmla="*/ 252 h 909"/>
                <a:gd name="T2" fmla="*/ 292 w 1295"/>
                <a:gd name="T3" fmla="*/ 185 h 909"/>
                <a:gd name="T4" fmla="*/ 346 w 1295"/>
                <a:gd name="T5" fmla="*/ 184 h 909"/>
                <a:gd name="T6" fmla="*/ 413 w 1295"/>
                <a:gd name="T7" fmla="*/ 145 h 909"/>
                <a:gd name="T8" fmla="*/ 488 w 1295"/>
                <a:gd name="T9" fmla="*/ 160 h 909"/>
                <a:gd name="T10" fmla="*/ 564 w 1295"/>
                <a:gd name="T11" fmla="*/ 169 h 909"/>
                <a:gd name="T12" fmla="*/ 600 w 1295"/>
                <a:gd name="T13" fmla="*/ 89 h 909"/>
                <a:gd name="T14" fmla="*/ 588 w 1295"/>
                <a:gd name="T15" fmla="*/ 6 h 909"/>
                <a:gd name="T16" fmla="*/ 648 w 1295"/>
                <a:gd name="T17" fmla="*/ 13 h 909"/>
                <a:gd name="T18" fmla="*/ 747 w 1295"/>
                <a:gd name="T19" fmla="*/ 19 h 909"/>
                <a:gd name="T20" fmla="*/ 860 w 1295"/>
                <a:gd name="T21" fmla="*/ 54 h 909"/>
                <a:gd name="T22" fmla="*/ 864 w 1295"/>
                <a:gd name="T23" fmla="*/ 133 h 909"/>
                <a:gd name="T24" fmla="*/ 985 w 1295"/>
                <a:gd name="T25" fmla="*/ 202 h 909"/>
                <a:gd name="T26" fmla="*/ 1115 w 1295"/>
                <a:gd name="T27" fmla="*/ 201 h 909"/>
                <a:gd name="T28" fmla="*/ 1173 w 1295"/>
                <a:gd name="T29" fmla="*/ 139 h 909"/>
                <a:gd name="T30" fmla="*/ 1222 w 1295"/>
                <a:gd name="T31" fmla="*/ 67 h 909"/>
                <a:gd name="T32" fmla="*/ 1291 w 1295"/>
                <a:gd name="T33" fmla="*/ 126 h 909"/>
                <a:gd name="T34" fmla="*/ 1276 w 1295"/>
                <a:gd name="T35" fmla="*/ 181 h 909"/>
                <a:gd name="T36" fmla="*/ 1267 w 1295"/>
                <a:gd name="T37" fmla="*/ 252 h 909"/>
                <a:gd name="T38" fmla="*/ 1261 w 1295"/>
                <a:gd name="T39" fmla="*/ 313 h 909"/>
                <a:gd name="T40" fmla="*/ 1240 w 1295"/>
                <a:gd name="T41" fmla="*/ 361 h 909"/>
                <a:gd name="T42" fmla="*/ 1242 w 1295"/>
                <a:gd name="T43" fmla="*/ 441 h 909"/>
                <a:gd name="T44" fmla="*/ 1278 w 1295"/>
                <a:gd name="T45" fmla="*/ 523 h 909"/>
                <a:gd name="T46" fmla="*/ 1189 w 1295"/>
                <a:gd name="T47" fmla="*/ 528 h 909"/>
                <a:gd name="T48" fmla="*/ 1123 w 1295"/>
                <a:gd name="T49" fmla="*/ 493 h 909"/>
                <a:gd name="T50" fmla="*/ 1109 w 1295"/>
                <a:gd name="T51" fmla="*/ 440 h 909"/>
                <a:gd name="T52" fmla="*/ 1070 w 1295"/>
                <a:gd name="T53" fmla="*/ 460 h 909"/>
                <a:gd name="T54" fmla="*/ 1020 w 1295"/>
                <a:gd name="T55" fmla="*/ 499 h 909"/>
                <a:gd name="T56" fmla="*/ 981 w 1295"/>
                <a:gd name="T57" fmla="*/ 575 h 909"/>
                <a:gd name="T58" fmla="*/ 995 w 1295"/>
                <a:gd name="T59" fmla="*/ 656 h 909"/>
                <a:gd name="T60" fmla="*/ 1058 w 1295"/>
                <a:gd name="T61" fmla="*/ 674 h 909"/>
                <a:gd name="T62" fmla="*/ 1025 w 1295"/>
                <a:gd name="T63" fmla="*/ 729 h 909"/>
                <a:gd name="T64" fmla="*/ 1069 w 1295"/>
                <a:gd name="T65" fmla="*/ 821 h 909"/>
                <a:gd name="T66" fmla="*/ 996 w 1295"/>
                <a:gd name="T67" fmla="*/ 860 h 909"/>
                <a:gd name="T68" fmla="*/ 947 w 1295"/>
                <a:gd name="T69" fmla="*/ 790 h 909"/>
                <a:gd name="T70" fmla="*/ 928 w 1295"/>
                <a:gd name="T71" fmla="*/ 710 h 909"/>
                <a:gd name="T72" fmla="*/ 861 w 1295"/>
                <a:gd name="T73" fmla="*/ 712 h 909"/>
                <a:gd name="T74" fmla="*/ 778 w 1295"/>
                <a:gd name="T75" fmla="*/ 733 h 909"/>
                <a:gd name="T76" fmla="*/ 737 w 1295"/>
                <a:gd name="T77" fmla="*/ 781 h 909"/>
                <a:gd name="T78" fmla="*/ 632 w 1295"/>
                <a:gd name="T79" fmla="*/ 771 h 909"/>
                <a:gd name="T80" fmla="*/ 577 w 1295"/>
                <a:gd name="T81" fmla="*/ 696 h 909"/>
                <a:gd name="T82" fmla="*/ 576 w 1295"/>
                <a:gd name="T83" fmla="*/ 582 h 909"/>
                <a:gd name="T84" fmla="*/ 523 w 1295"/>
                <a:gd name="T85" fmla="*/ 607 h 909"/>
                <a:gd name="T86" fmla="*/ 444 w 1295"/>
                <a:gd name="T87" fmla="*/ 580 h 909"/>
                <a:gd name="T88" fmla="*/ 439 w 1295"/>
                <a:gd name="T89" fmla="*/ 676 h 909"/>
                <a:gd name="T90" fmla="*/ 414 w 1295"/>
                <a:gd name="T91" fmla="*/ 835 h 909"/>
                <a:gd name="T92" fmla="*/ 375 w 1295"/>
                <a:gd name="T93" fmla="*/ 898 h 909"/>
                <a:gd name="T94" fmla="*/ 306 w 1295"/>
                <a:gd name="T95" fmla="*/ 829 h 909"/>
                <a:gd name="T96" fmla="*/ 307 w 1295"/>
                <a:gd name="T97" fmla="*/ 729 h 909"/>
                <a:gd name="T98" fmla="*/ 312 w 1295"/>
                <a:gd name="T99" fmla="*/ 630 h 909"/>
                <a:gd name="T100" fmla="*/ 257 w 1295"/>
                <a:gd name="T101" fmla="*/ 541 h 909"/>
                <a:gd name="T102" fmla="*/ 243 w 1295"/>
                <a:gd name="T103" fmla="*/ 472 h 909"/>
                <a:gd name="T104" fmla="*/ 204 w 1295"/>
                <a:gd name="T105" fmla="*/ 439 h 909"/>
                <a:gd name="T106" fmla="*/ 163 w 1295"/>
                <a:gd name="T107" fmla="*/ 497 h 909"/>
                <a:gd name="T108" fmla="*/ 86 w 1295"/>
                <a:gd name="T109" fmla="*/ 505 h 909"/>
                <a:gd name="T110" fmla="*/ 9 w 1295"/>
                <a:gd name="T111" fmla="*/ 456 h 909"/>
                <a:gd name="T112" fmla="*/ 21 w 1295"/>
                <a:gd name="T113" fmla="*/ 372 h 909"/>
                <a:gd name="T114" fmla="*/ 95 w 1295"/>
                <a:gd name="T115" fmla="*/ 338 h 909"/>
                <a:gd name="T116" fmla="*/ 142 w 1295"/>
                <a:gd name="T117" fmla="*/ 266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95" h="909">
                  <a:moveTo>
                    <a:pt x="155" y="253"/>
                  </a:moveTo>
                  <a:cubicBezTo>
                    <a:pt x="165" y="254"/>
                    <a:pt x="165" y="254"/>
                    <a:pt x="165" y="254"/>
                  </a:cubicBezTo>
                  <a:cubicBezTo>
                    <a:pt x="177" y="256"/>
                    <a:pt x="177" y="256"/>
                    <a:pt x="177" y="256"/>
                  </a:cubicBezTo>
                  <a:cubicBezTo>
                    <a:pt x="181" y="265"/>
                    <a:pt x="181" y="265"/>
                    <a:pt x="181" y="265"/>
                  </a:cubicBezTo>
                  <a:cubicBezTo>
                    <a:pt x="193" y="265"/>
                    <a:pt x="193" y="265"/>
                    <a:pt x="193" y="265"/>
                  </a:cubicBezTo>
                  <a:cubicBezTo>
                    <a:pt x="206" y="260"/>
                    <a:pt x="206" y="260"/>
                    <a:pt x="206" y="260"/>
                  </a:cubicBezTo>
                  <a:cubicBezTo>
                    <a:pt x="216" y="257"/>
                    <a:pt x="216" y="257"/>
                    <a:pt x="216" y="257"/>
                  </a:cubicBezTo>
                  <a:cubicBezTo>
                    <a:pt x="238" y="252"/>
                    <a:pt x="238" y="252"/>
                    <a:pt x="238" y="252"/>
                  </a:cubicBezTo>
                  <a:cubicBezTo>
                    <a:pt x="251" y="248"/>
                    <a:pt x="251" y="248"/>
                    <a:pt x="251" y="248"/>
                  </a:cubicBezTo>
                  <a:cubicBezTo>
                    <a:pt x="259" y="239"/>
                    <a:pt x="259" y="239"/>
                    <a:pt x="259" y="239"/>
                  </a:cubicBezTo>
                  <a:cubicBezTo>
                    <a:pt x="261" y="229"/>
                    <a:pt x="261" y="229"/>
                    <a:pt x="261" y="229"/>
                  </a:cubicBezTo>
                  <a:cubicBezTo>
                    <a:pt x="265" y="214"/>
                    <a:pt x="265" y="214"/>
                    <a:pt x="265" y="214"/>
                  </a:cubicBezTo>
                  <a:cubicBezTo>
                    <a:pt x="265" y="214"/>
                    <a:pt x="271" y="202"/>
                    <a:pt x="271" y="201"/>
                  </a:cubicBezTo>
                  <a:cubicBezTo>
                    <a:pt x="272" y="200"/>
                    <a:pt x="274" y="191"/>
                    <a:pt x="274" y="191"/>
                  </a:cubicBezTo>
                  <a:cubicBezTo>
                    <a:pt x="283" y="186"/>
                    <a:pt x="283" y="186"/>
                    <a:pt x="283" y="186"/>
                  </a:cubicBezTo>
                  <a:cubicBezTo>
                    <a:pt x="292" y="185"/>
                    <a:pt x="292" y="185"/>
                    <a:pt x="292" y="185"/>
                  </a:cubicBezTo>
                  <a:cubicBezTo>
                    <a:pt x="301" y="189"/>
                    <a:pt x="301" y="189"/>
                    <a:pt x="301" y="189"/>
                  </a:cubicBezTo>
                  <a:cubicBezTo>
                    <a:pt x="308" y="200"/>
                    <a:pt x="308" y="200"/>
                    <a:pt x="308" y="200"/>
                  </a:cubicBezTo>
                  <a:cubicBezTo>
                    <a:pt x="312" y="207"/>
                    <a:pt x="312" y="207"/>
                    <a:pt x="312" y="207"/>
                  </a:cubicBezTo>
                  <a:cubicBezTo>
                    <a:pt x="318" y="210"/>
                    <a:pt x="318" y="210"/>
                    <a:pt x="318" y="210"/>
                  </a:cubicBezTo>
                  <a:cubicBezTo>
                    <a:pt x="323" y="206"/>
                    <a:pt x="323" y="206"/>
                    <a:pt x="323" y="206"/>
                  </a:cubicBezTo>
                  <a:cubicBezTo>
                    <a:pt x="332" y="199"/>
                    <a:pt x="332" y="199"/>
                    <a:pt x="332" y="199"/>
                  </a:cubicBezTo>
                  <a:cubicBezTo>
                    <a:pt x="340" y="190"/>
                    <a:pt x="340" y="190"/>
                    <a:pt x="340" y="190"/>
                  </a:cubicBezTo>
                  <a:cubicBezTo>
                    <a:pt x="346" y="184"/>
                    <a:pt x="346" y="184"/>
                    <a:pt x="346" y="184"/>
                  </a:cubicBezTo>
                  <a:cubicBezTo>
                    <a:pt x="354" y="182"/>
                    <a:pt x="354" y="182"/>
                    <a:pt x="354" y="182"/>
                  </a:cubicBezTo>
                  <a:cubicBezTo>
                    <a:pt x="370" y="181"/>
                    <a:pt x="370" y="181"/>
                    <a:pt x="370" y="181"/>
                  </a:cubicBezTo>
                  <a:cubicBezTo>
                    <a:pt x="378" y="183"/>
                    <a:pt x="378" y="183"/>
                    <a:pt x="378" y="183"/>
                  </a:cubicBezTo>
                  <a:cubicBezTo>
                    <a:pt x="381" y="173"/>
                    <a:pt x="381" y="173"/>
                    <a:pt x="381" y="173"/>
                  </a:cubicBezTo>
                  <a:cubicBezTo>
                    <a:pt x="387" y="166"/>
                    <a:pt x="387" y="166"/>
                    <a:pt x="387" y="166"/>
                  </a:cubicBezTo>
                  <a:cubicBezTo>
                    <a:pt x="395" y="156"/>
                    <a:pt x="395" y="156"/>
                    <a:pt x="395" y="156"/>
                  </a:cubicBezTo>
                  <a:cubicBezTo>
                    <a:pt x="404" y="147"/>
                    <a:pt x="404" y="147"/>
                    <a:pt x="404" y="147"/>
                  </a:cubicBezTo>
                  <a:cubicBezTo>
                    <a:pt x="413" y="145"/>
                    <a:pt x="413" y="145"/>
                    <a:pt x="413" y="145"/>
                  </a:cubicBezTo>
                  <a:cubicBezTo>
                    <a:pt x="426" y="158"/>
                    <a:pt x="426" y="158"/>
                    <a:pt x="426" y="158"/>
                  </a:cubicBezTo>
                  <a:cubicBezTo>
                    <a:pt x="429" y="156"/>
                    <a:pt x="429" y="156"/>
                    <a:pt x="429" y="156"/>
                  </a:cubicBezTo>
                  <a:cubicBezTo>
                    <a:pt x="435" y="152"/>
                    <a:pt x="435" y="152"/>
                    <a:pt x="435" y="152"/>
                  </a:cubicBezTo>
                  <a:cubicBezTo>
                    <a:pt x="441" y="151"/>
                    <a:pt x="441" y="151"/>
                    <a:pt x="441" y="151"/>
                  </a:cubicBezTo>
                  <a:cubicBezTo>
                    <a:pt x="449" y="151"/>
                    <a:pt x="449" y="151"/>
                    <a:pt x="449" y="151"/>
                  </a:cubicBezTo>
                  <a:cubicBezTo>
                    <a:pt x="458" y="154"/>
                    <a:pt x="458" y="154"/>
                    <a:pt x="458" y="154"/>
                  </a:cubicBezTo>
                  <a:cubicBezTo>
                    <a:pt x="470" y="157"/>
                    <a:pt x="470" y="157"/>
                    <a:pt x="470" y="157"/>
                  </a:cubicBezTo>
                  <a:cubicBezTo>
                    <a:pt x="488" y="160"/>
                    <a:pt x="488" y="160"/>
                    <a:pt x="488" y="160"/>
                  </a:cubicBezTo>
                  <a:cubicBezTo>
                    <a:pt x="509" y="161"/>
                    <a:pt x="509" y="161"/>
                    <a:pt x="509" y="161"/>
                  </a:cubicBezTo>
                  <a:cubicBezTo>
                    <a:pt x="522" y="164"/>
                    <a:pt x="522" y="164"/>
                    <a:pt x="522" y="164"/>
                  </a:cubicBezTo>
                  <a:cubicBezTo>
                    <a:pt x="532" y="168"/>
                    <a:pt x="532" y="168"/>
                    <a:pt x="532" y="168"/>
                  </a:cubicBezTo>
                  <a:cubicBezTo>
                    <a:pt x="547" y="176"/>
                    <a:pt x="547" y="176"/>
                    <a:pt x="547" y="176"/>
                  </a:cubicBezTo>
                  <a:cubicBezTo>
                    <a:pt x="558" y="182"/>
                    <a:pt x="558" y="182"/>
                    <a:pt x="558" y="182"/>
                  </a:cubicBezTo>
                  <a:cubicBezTo>
                    <a:pt x="561" y="180"/>
                    <a:pt x="561" y="180"/>
                    <a:pt x="561" y="180"/>
                  </a:cubicBezTo>
                  <a:cubicBezTo>
                    <a:pt x="563" y="175"/>
                    <a:pt x="563" y="175"/>
                    <a:pt x="563" y="175"/>
                  </a:cubicBezTo>
                  <a:cubicBezTo>
                    <a:pt x="564" y="169"/>
                    <a:pt x="564" y="169"/>
                    <a:pt x="564" y="169"/>
                  </a:cubicBezTo>
                  <a:cubicBezTo>
                    <a:pt x="562" y="161"/>
                    <a:pt x="562" y="161"/>
                    <a:pt x="562" y="161"/>
                  </a:cubicBezTo>
                  <a:cubicBezTo>
                    <a:pt x="573" y="161"/>
                    <a:pt x="573" y="161"/>
                    <a:pt x="573" y="161"/>
                  </a:cubicBezTo>
                  <a:cubicBezTo>
                    <a:pt x="573" y="154"/>
                    <a:pt x="573" y="154"/>
                    <a:pt x="573" y="154"/>
                  </a:cubicBezTo>
                  <a:cubicBezTo>
                    <a:pt x="570" y="147"/>
                    <a:pt x="570" y="147"/>
                    <a:pt x="570" y="147"/>
                  </a:cubicBezTo>
                  <a:cubicBezTo>
                    <a:pt x="571" y="138"/>
                    <a:pt x="571" y="138"/>
                    <a:pt x="571" y="138"/>
                  </a:cubicBezTo>
                  <a:cubicBezTo>
                    <a:pt x="576" y="124"/>
                    <a:pt x="576" y="124"/>
                    <a:pt x="576" y="124"/>
                  </a:cubicBezTo>
                  <a:cubicBezTo>
                    <a:pt x="588" y="111"/>
                    <a:pt x="588" y="111"/>
                    <a:pt x="588" y="111"/>
                  </a:cubicBezTo>
                  <a:cubicBezTo>
                    <a:pt x="600" y="89"/>
                    <a:pt x="600" y="89"/>
                    <a:pt x="600" y="89"/>
                  </a:cubicBezTo>
                  <a:cubicBezTo>
                    <a:pt x="604" y="81"/>
                    <a:pt x="604" y="81"/>
                    <a:pt x="604" y="81"/>
                  </a:cubicBezTo>
                  <a:cubicBezTo>
                    <a:pt x="611" y="78"/>
                    <a:pt x="611" y="78"/>
                    <a:pt x="611" y="78"/>
                  </a:cubicBezTo>
                  <a:cubicBezTo>
                    <a:pt x="622" y="72"/>
                    <a:pt x="622" y="72"/>
                    <a:pt x="622" y="72"/>
                  </a:cubicBezTo>
                  <a:cubicBezTo>
                    <a:pt x="620" y="69"/>
                    <a:pt x="616" y="66"/>
                    <a:pt x="614" y="63"/>
                  </a:cubicBezTo>
                  <a:cubicBezTo>
                    <a:pt x="612" y="60"/>
                    <a:pt x="610" y="57"/>
                    <a:pt x="609" y="54"/>
                  </a:cubicBezTo>
                  <a:cubicBezTo>
                    <a:pt x="606" y="48"/>
                    <a:pt x="604" y="40"/>
                    <a:pt x="602" y="34"/>
                  </a:cubicBezTo>
                  <a:cubicBezTo>
                    <a:pt x="599" y="28"/>
                    <a:pt x="593" y="21"/>
                    <a:pt x="590" y="15"/>
                  </a:cubicBezTo>
                  <a:cubicBezTo>
                    <a:pt x="589" y="13"/>
                    <a:pt x="589" y="9"/>
                    <a:pt x="588" y="6"/>
                  </a:cubicBezTo>
                  <a:cubicBezTo>
                    <a:pt x="596" y="10"/>
                    <a:pt x="596" y="10"/>
                    <a:pt x="596" y="10"/>
                  </a:cubicBezTo>
                  <a:cubicBezTo>
                    <a:pt x="608" y="10"/>
                    <a:pt x="608" y="10"/>
                    <a:pt x="608" y="10"/>
                  </a:cubicBezTo>
                  <a:cubicBezTo>
                    <a:pt x="612" y="6"/>
                    <a:pt x="612" y="6"/>
                    <a:pt x="612" y="6"/>
                  </a:cubicBezTo>
                  <a:cubicBezTo>
                    <a:pt x="615" y="0"/>
                    <a:pt x="615" y="0"/>
                    <a:pt x="615" y="0"/>
                  </a:cubicBezTo>
                  <a:cubicBezTo>
                    <a:pt x="627" y="0"/>
                    <a:pt x="627" y="0"/>
                    <a:pt x="627" y="0"/>
                  </a:cubicBezTo>
                  <a:cubicBezTo>
                    <a:pt x="636" y="6"/>
                    <a:pt x="636" y="6"/>
                    <a:pt x="636" y="6"/>
                  </a:cubicBezTo>
                  <a:cubicBezTo>
                    <a:pt x="639" y="12"/>
                    <a:pt x="639" y="12"/>
                    <a:pt x="639" y="12"/>
                  </a:cubicBezTo>
                  <a:cubicBezTo>
                    <a:pt x="648" y="13"/>
                    <a:pt x="648" y="13"/>
                    <a:pt x="648" y="13"/>
                  </a:cubicBezTo>
                  <a:cubicBezTo>
                    <a:pt x="659" y="9"/>
                    <a:pt x="659" y="9"/>
                    <a:pt x="659" y="9"/>
                  </a:cubicBezTo>
                  <a:cubicBezTo>
                    <a:pt x="664" y="5"/>
                    <a:pt x="664" y="5"/>
                    <a:pt x="664" y="5"/>
                  </a:cubicBezTo>
                  <a:cubicBezTo>
                    <a:pt x="669" y="3"/>
                    <a:pt x="669" y="3"/>
                    <a:pt x="669" y="3"/>
                  </a:cubicBezTo>
                  <a:cubicBezTo>
                    <a:pt x="681" y="6"/>
                    <a:pt x="681" y="6"/>
                    <a:pt x="681" y="6"/>
                  </a:cubicBezTo>
                  <a:cubicBezTo>
                    <a:pt x="693" y="7"/>
                    <a:pt x="693" y="7"/>
                    <a:pt x="693" y="7"/>
                  </a:cubicBezTo>
                  <a:cubicBezTo>
                    <a:pt x="703" y="3"/>
                    <a:pt x="703" y="3"/>
                    <a:pt x="703" y="3"/>
                  </a:cubicBezTo>
                  <a:cubicBezTo>
                    <a:pt x="729" y="9"/>
                    <a:pt x="729" y="9"/>
                    <a:pt x="729" y="9"/>
                  </a:cubicBezTo>
                  <a:cubicBezTo>
                    <a:pt x="747" y="19"/>
                    <a:pt x="747" y="19"/>
                    <a:pt x="747" y="19"/>
                  </a:cubicBezTo>
                  <a:cubicBezTo>
                    <a:pt x="770" y="23"/>
                    <a:pt x="770" y="23"/>
                    <a:pt x="770" y="23"/>
                  </a:cubicBezTo>
                  <a:cubicBezTo>
                    <a:pt x="787" y="25"/>
                    <a:pt x="787" y="25"/>
                    <a:pt x="787" y="25"/>
                  </a:cubicBezTo>
                  <a:cubicBezTo>
                    <a:pt x="804" y="33"/>
                    <a:pt x="804" y="33"/>
                    <a:pt x="804" y="33"/>
                  </a:cubicBezTo>
                  <a:cubicBezTo>
                    <a:pt x="815" y="44"/>
                    <a:pt x="815" y="44"/>
                    <a:pt x="815" y="44"/>
                  </a:cubicBezTo>
                  <a:cubicBezTo>
                    <a:pt x="827" y="50"/>
                    <a:pt x="827" y="50"/>
                    <a:pt x="827" y="50"/>
                  </a:cubicBezTo>
                  <a:cubicBezTo>
                    <a:pt x="839" y="53"/>
                    <a:pt x="839" y="53"/>
                    <a:pt x="839" y="53"/>
                  </a:cubicBezTo>
                  <a:cubicBezTo>
                    <a:pt x="859" y="44"/>
                    <a:pt x="859" y="44"/>
                    <a:pt x="859" y="44"/>
                  </a:cubicBezTo>
                  <a:cubicBezTo>
                    <a:pt x="860" y="54"/>
                    <a:pt x="860" y="54"/>
                    <a:pt x="860" y="54"/>
                  </a:cubicBezTo>
                  <a:cubicBezTo>
                    <a:pt x="865" y="62"/>
                    <a:pt x="865" y="62"/>
                    <a:pt x="865" y="62"/>
                  </a:cubicBezTo>
                  <a:cubicBezTo>
                    <a:pt x="868" y="73"/>
                    <a:pt x="868" y="73"/>
                    <a:pt x="868" y="73"/>
                  </a:cubicBezTo>
                  <a:cubicBezTo>
                    <a:pt x="862" y="80"/>
                    <a:pt x="862" y="80"/>
                    <a:pt x="862" y="80"/>
                  </a:cubicBezTo>
                  <a:cubicBezTo>
                    <a:pt x="857" y="100"/>
                    <a:pt x="857" y="100"/>
                    <a:pt x="857" y="100"/>
                  </a:cubicBezTo>
                  <a:cubicBezTo>
                    <a:pt x="859" y="108"/>
                    <a:pt x="859" y="108"/>
                    <a:pt x="859" y="108"/>
                  </a:cubicBezTo>
                  <a:cubicBezTo>
                    <a:pt x="860" y="122"/>
                    <a:pt x="860" y="122"/>
                    <a:pt x="860" y="122"/>
                  </a:cubicBezTo>
                  <a:cubicBezTo>
                    <a:pt x="859" y="129"/>
                    <a:pt x="859" y="129"/>
                    <a:pt x="859" y="129"/>
                  </a:cubicBezTo>
                  <a:cubicBezTo>
                    <a:pt x="864" y="133"/>
                    <a:pt x="864" y="133"/>
                    <a:pt x="864" y="133"/>
                  </a:cubicBezTo>
                  <a:cubicBezTo>
                    <a:pt x="877" y="140"/>
                    <a:pt x="877" y="140"/>
                    <a:pt x="877" y="140"/>
                  </a:cubicBezTo>
                  <a:cubicBezTo>
                    <a:pt x="896" y="152"/>
                    <a:pt x="896" y="152"/>
                    <a:pt x="896" y="152"/>
                  </a:cubicBezTo>
                  <a:cubicBezTo>
                    <a:pt x="908" y="159"/>
                    <a:pt x="908" y="159"/>
                    <a:pt x="908" y="159"/>
                  </a:cubicBezTo>
                  <a:cubicBezTo>
                    <a:pt x="931" y="156"/>
                    <a:pt x="931" y="156"/>
                    <a:pt x="931" y="156"/>
                  </a:cubicBezTo>
                  <a:cubicBezTo>
                    <a:pt x="945" y="170"/>
                    <a:pt x="945" y="170"/>
                    <a:pt x="945" y="170"/>
                  </a:cubicBezTo>
                  <a:cubicBezTo>
                    <a:pt x="957" y="172"/>
                    <a:pt x="957" y="172"/>
                    <a:pt x="957" y="172"/>
                  </a:cubicBezTo>
                  <a:cubicBezTo>
                    <a:pt x="976" y="184"/>
                    <a:pt x="976" y="184"/>
                    <a:pt x="976" y="184"/>
                  </a:cubicBezTo>
                  <a:cubicBezTo>
                    <a:pt x="985" y="202"/>
                    <a:pt x="985" y="202"/>
                    <a:pt x="985" y="202"/>
                  </a:cubicBezTo>
                  <a:cubicBezTo>
                    <a:pt x="993" y="211"/>
                    <a:pt x="993" y="211"/>
                    <a:pt x="993" y="211"/>
                  </a:cubicBezTo>
                  <a:cubicBezTo>
                    <a:pt x="1007" y="210"/>
                    <a:pt x="1007" y="210"/>
                    <a:pt x="1007" y="210"/>
                  </a:cubicBezTo>
                  <a:cubicBezTo>
                    <a:pt x="1015" y="223"/>
                    <a:pt x="1015" y="223"/>
                    <a:pt x="1015" y="223"/>
                  </a:cubicBezTo>
                  <a:cubicBezTo>
                    <a:pt x="1051" y="225"/>
                    <a:pt x="1051" y="225"/>
                    <a:pt x="1051" y="225"/>
                  </a:cubicBezTo>
                  <a:cubicBezTo>
                    <a:pt x="1067" y="219"/>
                    <a:pt x="1067" y="219"/>
                    <a:pt x="1067" y="219"/>
                  </a:cubicBezTo>
                  <a:cubicBezTo>
                    <a:pt x="1080" y="206"/>
                    <a:pt x="1080" y="206"/>
                    <a:pt x="1080" y="206"/>
                  </a:cubicBezTo>
                  <a:cubicBezTo>
                    <a:pt x="1092" y="200"/>
                    <a:pt x="1092" y="200"/>
                    <a:pt x="1092" y="200"/>
                  </a:cubicBezTo>
                  <a:cubicBezTo>
                    <a:pt x="1115" y="201"/>
                    <a:pt x="1115" y="201"/>
                    <a:pt x="1115" y="201"/>
                  </a:cubicBezTo>
                  <a:cubicBezTo>
                    <a:pt x="1116" y="167"/>
                    <a:pt x="1116" y="167"/>
                    <a:pt x="1116" y="167"/>
                  </a:cubicBezTo>
                  <a:cubicBezTo>
                    <a:pt x="1121" y="158"/>
                    <a:pt x="1121" y="158"/>
                    <a:pt x="1121" y="158"/>
                  </a:cubicBezTo>
                  <a:cubicBezTo>
                    <a:pt x="1123" y="146"/>
                    <a:pt x="1123" y="146"/>
                    <a:pt x="1123" y="146"/>
                  </a:cubicBezTo>
                  <a:cubicBezTo>
                    <a:pt x="1129" y="139"/>
                    <a:pt x="1129" y="139"/>
                    <a:pt x="1129" y="139"/>
                  </a:cubicBezTo>
                  <a:cubicBezTo>
                    <a:pt x="1137" y="144"/>
                    <a:pt x="1137" y="144"/>
                    <a:pt x="1137" y="144"/>
                  </a:cubicBezTo>
                  <a:cubicBezTo>
                    <a:pt x="1147" y="146"/>
                    <a:pt x="1147" y="146"/>
                    <a:pt x="1147" y="146"/>
                  </a:cubicBezTo>
                  <a:cubicBezTo>
                    <a:pt x="1163" y="146"/>
                    <a:pt x="1163" y="146"/>
                    <a:pt x="1163" y="146"/>
                  </a:cubicBezTo>
                  <a:cubicBezTo>
                    <a:pt x="1173" y="139"/>
                    <a:pt x="1173" y="139"/>
                    <a:pt x="1173" y="139"/>
                  </a:cubicBezTo>
                  <a:cubicBezTo>
                    <a:pt x="1174" y="128"/>
                    <a:pt x="1174" y="128"/>
                    <a:pt x="1174" y="128"/>
                  </a:cubicBezTo>
                  <a:cubicBezTo>
                    <a:pt x="1172" y="119"/>
                    <a:pt x="1172" y="119"/>
                    <a:pt x="1172" y="119"/>
                  </a:cubicBezTo>
                  <a:cubicBezTo>
                    <a:pt x="1178" y="118"/>
                    <a:pt x="1178" y="118"/>
                    <a:pt x="1178" y="118"/>
                  </a:cubicBezTo>
                  <a:cubicBezTo>
                    <a:pt x="1186" y="107"/>
                    <a:pt x="1186" y="107"/>
                    <a:pt x="1186" y="107"/>
                  </a:cubicBezTo>
                  <a:cubicBezTo>
                    <a:pt x="1192" y="92"/>
                    <a:pt x="1192" y="92"/>
                    <a:pt x="1192" y="92"/>
                  </a:cubicBezTo>
                  <a:cubicBezTo>
                    <a:pt x="1194" y="77"/>
                    <a:pt x="1194" y="77"/>
                    <a:pt x="1194" y="77"/>
                  </a:cubicBezTo>
                  <a:cubicBezTo>
                    <a:pt x="1208" y="71"/>
                    <a:pt x="1208" y="71"/>
                    <a:pt x="1208" y="71"/>
                  </a:cubicBezTo>
                  <a:cubicBezTo>
                    <a:pt x="1222" y="67"/>
                    <a:pt x="1222" y="67"/>
                    <a:pt x="1222" y="67"/>
                  </a:cubicBezTo>
                  <a:cubicBezTo>
                    <a:pt x="1228" y="69"/>
                    <a:pt x="1228" y="69"/>
                    <a:pt x="1228" y="69"/>
                  </a:cubicBezTo>
                  <a:cubicBezTo>
                    <a:pt x="1246" y="89"/>
                    <a:pt x="1246" y="89"/>
                    <a:pt x="1246" y="89"/>
                  </a:cubicBezTo>
                  <a:cubicBezTo>
                    <a:pt x="1247" y="102"/>
                    <a:pt x="1247" y="102"/>
                    <a:pt x="1247" y="102"/>
                  </a:cubicBezTo>
                  <a:cubicBezTo>
                    <a:pt x="1248" y="103"/>
                    <a:pt x="1251" y="102"/>
                    <a:pt x="1253" y="103"/>
                  </a:cubicBezTo>
                  <a:cubicBezTo>
                    <a:pt x="1257" y="105"/>
                    <a:pt x="1260" y="111"/>
                    <a:pt x="1264" y="113"/>
                  </a:cubicBezTo>
                  <a:cubicBezTo>
                    <a:pt x="1268" y="114"/>
                    <a:pt x="1274" y="112"/>
                    <a:pt x="1277" y="114"/>
                  </a:cubicBezTo>
                  <a:cubicBezTo>
                    <a:pt x="1280" y="114"/>
                    <a:pt x="1283" y="116"/>
                    <a:pt x="1284" y="118"/>
                  </a:cubicBezTo>
                  <a:cubicBezTo>
                    <a:pt x="1287" y="120"/>
                    <a:pt x="1289" y="123"/>
                    <a:pt x="1291" y="126"/>
                  </a:cubicBezTo>
                  <a:cubicBezTo>
                    <a:pt x="1292" y="128"/>
                    <a:pt x="1292" y="132"/>
                    <a:pt x="1292" y="134"/>
                  </a:cubicBezTo>
                  <a:cubicBezTo>
                    <a:pt x="1293" y="137"/>
                    <a:pt x="1294" y="143"/>
                    <a:pt x="1294" y="143"/>
                  </a:cubicBezTo>
                  <a:cubicBezTo>
                    <a:pt x="1295" y="144"/>
                    <a:pt x="1295" y="144"/>
                    <a:pt x="1295" y="144"/>
                  </a:cubicBezTo>
                  <a:cubicBezTo>
                    <a:pt x="1295" y="144"/>
                    <a:pt x="1294" y="147"/>
                    <a:pt x="1292" y="148"/>
                  </a:cubicBezTo>
                  <a:cubicBezTo>
                    <a:pt x="1291" y="150"/>
                    <a:pt x="1288" y="151"/>
                    <a:pt x="1287" y="153"/>
                  </a:cubicBezTo>
                  <a:cubicBezTo>
                    <a:pt x="1285" y="155"/>
                    <a:pt x="1284" y="159"/>
                    <a:pt x="1283" y="162"/>
                  </a:cubicBezTo>
                  <a:cubicBezTo>
                    <a:pt x="1281" y="164"/>
                    <a:pt x="1280" y="168"/>
                    <a:pt x="1279" y="171"/>
                  </a:cubicBezTo>
                  <a:cubicBezTo>
                    <a:pt x="1278" y="174"/>
                    <a:pt x="1277" y="178"/>
                    <a:pt x="1276" y="181"/>
                  </a:cubicBezTo>
                  <a:cubicBezTo>
                    <a:pt x="1276" y="183"/>
                    <a:pt x="1276" y="186"/>
                    <a:pt x="1276" y="188"/>
                  </a:cubicBezTo>
                  <a:cubicBezTo>
                    <a:pt x="1279" y="196"/>
                    <a:pt x="1279" y="196"/>
                    <a:pt x="1279" y="196"/>
                  </a:cubicBezTo>
                  <a:cubicBezTo>
                    <a:pt x="1278" y="207"/>
                    <a:pt x="1278" y="207"/>
                    <a:pt x="1278" y="207"/>
                  </a:cubicBezTo>
                  <a:cubicBezTo>
                    <a:pt x="1280" y="213"/>
                    <a:pt x="1280" y="213"/>
                    <a:pt x="1280" y="213"/>
                  </a:cubicBezTo>
                  <a:cubicBezTo>
                    <a:pt x="1279" y="220"/>
                    <a:pt x="1279" y="220"/>
                    <a:pt x="1279" y="220"/>
                  </a:cubicBezTo>
                  <a:cubicBezTo>
                    <a:pt x="1276" y="233"/>
                    <a:pt x="1276" y="233"/>
                    <a:pt x="1276" y="233"/>
                  </a:cubicBezTo>
                  <a:cubicBezTo>
                    <a:pt x="1270" y="243"/>
                    <a:pt x="1270" y="243"/>
                    <a:pt x="1270" y="243"/>
                  </a:cubicBezTo>
                  <a:cubicBezTo>
                    <a:pt x="1267" y="252"/>
                    <a:pt x="1267" y="252"/>
                    <a:pt x="1267" y="252"/>
                  </a:cubicBezTo>
                  <a:cubicBezTo>
                    <a:pt x="1267" y="260"/>
                    <a:pt x="1267" y="260"/>
                    <a:pt x="1267" y="260"/>
                  </a:cubicBezTo>
                  <a:cubicBezTo>
                    <a:pt x="1262" y="267"/>
                    <a:pt x="1262" y="267"/>
                    <a:pt x="1262" y="267"/>
                  </a:cubicBezTo>
                  <a:cubicBezTo>
                    <a:pt x="1255" y="272"/>
                    <a:pt x="1255" y="272"/>
                    <a:pt x="1255" y="272"/>
                  </a:cubicBezTo>
                  <a:cubicBezTo>
                    <a:pt x="1249" y="277"/>
                    <a:pt x="1249" y="277"/>
                    <a:pt x="1249" y="277"/>
                  </a:cubicBezTo>
                  <a:cubicBezTo>
                    <a:pt x="1248" y="284"/>
                    <a:pt x="1248" y="284"/>
                    <a:pt x="1248" y="284"/>
                  </a:cubicBezTo>
                  <a:cubicBezTo>
                    <a:pt x="1250" y="295"/>
                    <a:pt x="1250" y="295"/>
                    <a:pt x="1250" y="295"/>
                  </a:cubicBezTo>
                  <a:cubicBezTo>
                    <a:pt x="1255" y="303"/>
                    <a:pt x="1255" y="303"/>
                    <a:pt x="1255" y="303"/>
                  </a:cubicBezTo>
                  <a:cubicBezTo>
                    <a:pt x="1261" y="313"/>
                    <a:pt x="1261" y="313"/>
                    <a:pt x="1261" y="313"/>
                  </a:cubicBezTo>
                  <a:cubicBezTo>
                    <a:pt x="1261" y="317"/>
                    <a:pt x="1261" y="317"/>
                    <a:pt x="1261" y="317"/>
                  </a:cubicBezTo>
                  <a:cubicBezTo>
                    <a:pt x="1251" y="323"/>
                    <a:pt x="1251" y="323"/>
                    <a:pt x="1251" y="323"/>
                  </a:cubicBezTo>
                  <a:cubicBezTo>
                    <a:pt x="1239" y="330"/>
                    <a:pt x="1239" y="330"/>
                    <a:pt x="1239" y="330"/>
                  </a:cubicBezTo>
                  <a:cubicBezTo>
                    <a:pt x="1231" y="337"/>
                    <a:pt x="1231" y="337"/>
                    <a:pt x="1231" y="337"/>
                  </a:cubicBezTo>
                  <a:cubicBezTo>
                    <a:pt x="1229" y="343"/>
                    <a:pt x="1229" y="343"/>
                    <a:pt x="1229" y="343"/>
                  </a:cubicBezTo>
                  <a:cubicBezTo>
                    <a:pt x="1232" y="350"/>
                    <a:pt x="1232" y="350"/>
                    <a:pt x="1232" y="350"/>
                  </a:cubicBezTo>
                  <a:cubicBezTo>
                    <a:pt x="1237" y="354"/>
                    <a:pt x="1237" y="354"/>
                    <a:pt x="1237" y="354"/>
                  </a:cubicBezTo>
                  <a:cubicBezTo>
                    <a:pt x="1240" y="361"/>
                    <a:pt x="1240" y="361"/>
                    <a:pt x="1240" y="361"/>
                  </a:cubicBezTo>
                  <a:cubicBezTo>
                    <a:pt x="1219" y="381"/>
                    <a:pt x="1219" y="381"/>
                    <a:pt x="1219" y="381"/>
                  </a:cubicBezTo>
                  <a:cubicBezTo>
                    <a:pt x="1215" y="386"/>
                    <a:pt x="1215" y="386"/>
                    <a:pt x="1215" y="386"/>
                  </a:cubicBezTo>
                  <a:cubicBezTo>
                    <a:pt x="1216" y="406"/>
                    <a:pt x="1216" y="406"/>
                    <a:pt x="1216" y="406"/>
                  </a:cubicBezTo>
                  <a:cubicBezTo>
                    <a:pt x="1220" y="411"/>
                    <a:pt x="1220" y="411"/>
                    <a:pt x="1220" y="411"/>
                  </a:cubicBezTo>
                  <a:cubicBezTo>
                    <a:pt x="1225" y="429"/>
                    <a:pt x="1225" y="429"/>
                    <a:pt x="1225" y="429"/>
                  </a:cubicBezTo>
                  <a:cubicBezTo>
                    <a:pt x="1228" y="439"/>
                    <a:pt x="1228" y="439"/>
                    <a:pt x="1228" y="439"/>
                  </a:cubicBezTo>
                  <a:cubicBezTo>
                    <a:pt x="1233" y="443"/>
                    <a:pt x="1233" y="443"/>
                    <a:pt x="1233" y="443"/>
                  </a:cubicBezTo>
                  <a:cubicBezTo>
                    <a:pt x="1242" y="441"/>
                    <a:pt x="1242" y="441"/>
                    <a:pt x="1242" y="441"/>
                  </a:cubicBezTo>
                  <a:cubicBezTo>
                    <a:pt x="1257" y="438"/>
                    <a:pt x="1257" y="438"/>
                    <a:pt x="1257" y="438"/>
                  </a:cubicBezTo>
                  <a:cubicBezTo>
                    <a:pt x="1272" y="443"/>
                    <a:pt x="1272" y="443"/>
                    <a:pt x="1272" y="443"/>
                  </a:cubicBezTo>
                  <a:cubicBezTo>
                    <a:pt x="1278" y="451"/>
                    <a:pt x="1278" y="451"/>
                    <a:pt x="1278" y="451"/>
                  </a:cubicBezTo>
                  <a:cubicBezTo>
                    <a:pt x="1289" y="462"/>
                    <a:pt x="1289" y="462"/>
                    <a:pt x="1289" y="462"/>
                  </a:cubicBezTo>
                  <a:cubicBezTo>
                    <a:pt x="1289" y="484"/>
                    <a:pt x="1289" y="484"/>
                    <a:pt x="1289" y="484"/>
                  </a:cubicBezTo>
                  <a:cubicBezTo>
                    <a:pt x="1286" y="501"/>
                    <a:pt x="1286" y="501"/>
                    <a:pt x="1286" y="501"/>
                  </a:cubicBezTo>
                  <a:cubicBezTo>
                    <a:pt x="1281" y="511"/>
                    <a:pt x="1281" y="511"/>
                    <a:pt x="1281" y="511"/>
                  </a:cubicBezTo>
                  <a:cubicBezTo>
                    <a:pt x="1278" y="523"/>
                    <a:pt x="1278" y="523"/>
                    <a:pt x="1278" y="523"/>
                  </a:cubicBezTo>
                  <a:cubicBezTo>
                    <a:pt x="1269" y="535"/>
                    <a:pt x="1269" y="535"/>
                    <a:pt x="1269" y="535"/>
                  </a:cubicBezTo>
                  <a:cubicBezTo>
                    <a:pt x="1261" y="534"/>
                    <a:pt x="1261" y="534"/>
                    <a:pt x="1261" y="534"/>
                  </a:cubicBezTo>
                  <a:cubicBezTo>
                    <a:pt x="1255" y="530"/>
                    <a:pt x="1255" y="530"/>
                    <a:pt x="1255" y="530"/>
                  </a:cubicBezTo>
                  <a:cubicBezTo>
                    <a:pt x="1243" y="527"/>
                    <a:pt x="1243" y="527"/>
                    <a:pt x="1243" y="527"/>
                  </a:cubicBezTo>
                  <a:cubicBezTo>
                    <a:pt x="1227" y="529"/>
                    <a:pt x="1227" y="529"/>
                    <a:pt x="1227" y="529"/>
                  </a:cubicBezTo>
                  <a:cubicBezTo>
                    <a:pt x="1218" y="526"/>
                    <a:pt x="1218" y="526"/>
                    <a:pt x="1218" y="526"/>
                  </a:cubicBezTo>
                  <a:cubicBezTo>
                    <a:pt x="1198" y="525"/>
                    <a:pt x="1198" y="525"/>
                    <a:pt x="1198" y="525"/>
                  </a:cubicBezTo>
                  <a:cubicBezTo>
                    <a:pt x="1189" y="528"/>
                    <a:pt x="1189" y="528"/>
                    <a:pt x="1189" y="528"/>
                  </a:cubicBezTo>
                  <a:cubicBezTo>
                    <a:pt x="1166" y="529"/>
                    <a:pt x="1166" y="529"/>
                    <a:pt x="1166" y="529"/>
                  </a:cubicBezTo>
                  <a:cubicBezTo>
                    <a:pt x="1164" y="523"/>
                    <a:pt x="1164" y="523"/>
                    <a:pt x="1164" y="523"/>
                  </a:cubicBezTo>
                  <a:cubicBezTo>
                    <a:pt x="1160" y="516"/>
                    <a:pt x="1160" y="516"/>
                    <a:pt x="1160" y="516"/>
                  </a:cubicBezTo>
                  <a:cubicBezTo>
                    <a:pt x="1156" y="506"/>
                    <a:pt x="1156" y="506"/>
                    <a:pt x="1156" y="506"/>
                  </a:cubicBezTo>
                  <a:cubicBezTo>
                    <a:pt x="1147" y="501"/>
                    <a:pt x="1147" y="501"/>
                    <a:pt x="1147" y="501"/>
                  </a:cubicBezTo>
                  <a:cubicBezTo>
                    <a:pt x="1133" y="500"/>
                    <a:pt x="1133" y="500"/>
                    <a:pt x="1133" y="500"/>
                  </a:cubicBezTo>
                  <a:cubicBezTo>
                    <a:pt x="1128" y="498"/>
                    <a:pt x="1128" y="498"/>
                    <a:pt x="1128" y="498"/>
                  </a:cubicBezTo>
                  <a:cubicBezTo>
                    <a:pt x="1123" y="493"/>
                    <a:pt x="1123" y="493"/>
                    <a:pt x="1123" y="493"/>
                  </a:cubicBezTo>
                  <a:cubicBezTo>
                    <a:pt x="1123" y="484"/>
                    <a:pt x="1123" y="484"/>
                    <a:pt x="1123" y="484"/>
                  </a:cubicBezTo>
                  <a:cubicBezTo>
                    <a:pt x="1131" y="478"/>
                    <a:pt x="1131" y="478"/>
                    <a:pt x="1131" y="478"/>
                  </a:cubicBezTo>
                  <a:cubicBezTo>
                    <a:pt x="1131" y="467"/>
                    <a:pt x="1131" y="467"/>
                    <a:pt x="1131" y="467"/>
                  </a:cubicBezTo>
                  <a:cubicBezTo>
                    <a:pt x="1129" y="462"/>
                    <a:pt x="1129" y="462"/>
                    <a:pt x="1129" y="462"/>
                  </a:cubicBezTo>
                  <a:cubicBezTo>
                    <a:pt x="1123" y="454"/>
                    <a:pt x="1123" y="454"/>
                    <a:pt x="1123" y="454"/>
                  </a:cubicBezTo>
                  <a:cubicBezTo>
                    <a:pt x="1119" y="445"/>
                    <a:pt x="1119" y="445"/>
                    <a:pt x="1119" y="445"/>
                  </a:cubicBezTo>
                  <a:cubicBezTo>
                    <a:pt x="1118" y="440"/>
                    <a:pt x="1118" y="440"/>
                    <a:pt x="1118" y="440"/>
                  </a:cubicBezTo>
                  <a:cubicBezTo>
                    <a:pt x="1109" y="440"/>
                    <a:pt x="1109" y="440"/>
                    <a:pt x="1109" y="440"/>
                  </a:cubicBezTo>
                  <a:cubicBezTo>
                    <a:pt x="1106" y="446"/>
                    <a:pt x="1106" y="446"/>
                    <a:pt x="1106" y="446"/>
                  </a:cubicBezTo>
                  <a:cubicBezTo>
                    <a:pt x="1106" y="449"/>
                    <a:pt x="1106" y="449"/>
                    <a:pt x="1106" y="449"/>
                  </a:cubicBezTo>
                  <a:cubicBezTo>
                    <a:pt x="1104" y="455"/>
                    <a:pt x="1104" y="455"/>
                    <a:pt x="1104" y="455"/>
                  </a:cubicBezTo>
                  <a:cubicBezTo>
                    <a:pt x="1099" y="455"/>
                    <a:pt x="1099" y="455"/>
                    <a:pt x="1099" y="455"/>
                  </a:cubicBezTo>
                  <a:cubicBezTo>
                    <a:pt x="1091" y="451"/>
                    <a:pt x="1091" y="451"/>
                    <a:pt x="1091" y="451"/>
                  </a:cubicBezTo>
                  <a:cubicBezTo>
                    <a:pt x="1084" y="451"/>
                    <a:pt x="1084" y="451"/>
                    <a:pt x="1084" y="451"/>
                  </a:cubicBezTo>
                  <a:cubicBezTo>
                    <a:pt x="1073" y="454"/>
                    <a:pt x="1073" y="454"/>
                    <a:pt x="1073" y="454"/>
                  </a:cubicBezTo>
                  <a:cubicBezTo>
                    <a:pt x="1070" y="460"/>
                    <a:pt x="1070" y="460"/>
                    <a:pt x="1070" y="460"/>
                  </a:cubicBezTo>
                  <a:cubicBezTo>
                    <a:pt x="1062" y="463"/>
                    <a:pt x="1062" y="463"/>
                    <a:pt x="1062" y="463"/>
                  </a:cubicBezTo>
                  <a:cubicBezTo>
                    <a:pt x="1057" y="468"/>
                    <a:pt x="1057" y="468"/>
                    <a:pt x="1057" y="468"/>
                  </a:cubicBezTo>
                  <a:cubicBezTo>
                    <a:pt x="1045" y="472"/>
                    <a:pt x="1045" y="472"/>
                    <a:pt x="1045" y="472"/>
                  </a:cubicBezTo>
                  <a:cubicBezTo>
                    <a:pt x="1042" y="474"/>
                    <a:pt x="1042" y="474"/>
                    <a:pt x="1042" y="474"/>
                  </a:cubicBezTo>
                  <a:cubicBezTo>
                    <a:pt x="1033" y="472"/>
                    <a:pt x="1033" y="472"/>
                    <a:pt x="1033" y="472"/>
                  </a:cubicBezTo>
                  <a:cubicBezTo>
                    <a:pt x="1023" y="474"/>
                    <a:pt x="1023" y="474"/>
                    <a:pt x="1023" y="474"/>
                  </a:cubicBezTo>
                  <a:cubicBezTo>
                    <a:pt x="1018" y="484"/>
                    <a:pt x="1018" y="484"/>
                    <a:pt x="1018" y="484"/>
                  </a:cubicBezTo>
                  <a:cubicBezTo>
                    <a:pt x="1020" y="499"/>
                    <a:pt x="1020" y="499"/>
                    <a:pt x="1020" y="499"/>
                  </a:cubicBezTo>
                  <a:cubicBezTo>
                    <a:pt x="1011" y="503"/>
                    <a:pt x="1011" y="503"/>
                    <a:pt x="1011" y="503"/>
                  </a:cubicBezTo>
                  <a:cubicBezTo>
                    <a:pt x="1004" y="510"/>
                    <a:pt x="1004" y="510"/>
                    <a:pt x="1004" y="510"/>
                  </a:cubicBezTo>
                  <a:cubicBezTo>
                    <a:pt x="1001" y="519"/>
                    <a:pt x="1001" y="519"/>
                    <a:pt x="1001" y="519"/>
                  </a:cubicBezTo>
                  <a:cubicBezTo>
                    <a:pt x="986" y="535"/>
                    <a:pt x="986" y="535"/>
                    <a:pt x="986" y="535"/>
                  </a:cubicBezTo>
                  <a:cubicBezTo>
                    <a:pt x="984" y="543"/>
                    <a:pt x="984" y="543"/>
                    <a:pt x="984" y="543"/>
                  </a:cubicBezTo>
                  <a:cubicBezTo>
                    <a:pt x="984" y="558"/>
                    <a:pt x="984" y="558"/>
                    <a:pt x="984" y="558"/>
                  </a:cubicBezTo>
                  <a:cubicBezTo>
                    <a:pt x="983" y="570"/>
                    <a:pt x="983" y="570"/>
                    <a:pt x="983" y="570"/>
                  </a:cubicBezTo>
                  <a:cubicBezTo>
                    <a:pt x="981" y="575"/>
                    <a:pt x="981" y="575"/>
                    <a:pt x="981" y="575"/>
                  </a:cubicBezTo>
                  <a:cubicBezTo>
                    <a:pt x="975" y="586"/>
                    <a:pt x="975" y="586"/>
                    <a:pt x="975" y="586"/>
                  </a:cubicBezTo>
                  <a:cubicBezTo>
                    <a:pt x="977" y="604"/>
                    <a:pt x="977" y="604"/>
                    <a:pt x="977" y="604"/>
                  </a:cubicBezTo>
                  <a:cubicBezTo>
                    <a:pt x="980" y="612"/>
                    <a:pt x="980" y="612"/>
                    <a:pt x="980" y="612"/>
                  </a:cubicBezTo>
                  <a:cubicBezTo>
                    <a:pt x="977" y="619"/>
                    <a:pt x="977" y="619"/>
                    <a:pt x="977" y="619"/>
                  </a:cubicBezTo>
                  <a:cubicBezTo>
                    <a:pt x="976" y="633"/>
                    <a:pt x="976" y="633"/>
                    <a:pt x="976" y="633"/>
                  </a:cubicBezTo>
                  <a:cubicBezTo>
                    <a:pt x="983" y="643"/>
                    <a:pt x="983" y="643"/>
                    <a:pt x="983" y="643"/>
                  </a:cubicBezTo>
                  <a:cubicBezTo>
                    <a:pt x="989" y="654"/>
                    <a:pt x="989" y="654"/>
                    <a:pt x="989" y="654"/>
                  </a:cubicBezTo>
                  <a:cubicBezTo>
                    <a:pt x="995" y="656"/>
                    <a:pt x="995" y="656"/>
                    <a:pt x="995" y="656"/>
                  </a:cubicBezTo>
                  <a:cubicBezTo>
                    <a:pt x="1004" y="660"/>
                    <a:pt x="1004" y="660"/>
                    <a:pt x="1004" y="660"/>
                  </a:cubicBezTo>
                  <a:cubicBezTo>
                    <a:pt x="1011" y="659"/>
                    <a:pt x="1011" y="659"/>
                    <a:pt x="1011" y="659"/>
                  </a:cubicBezTo>
                  <a:cubicBezTo>
                    <a:pt x="1024" y="658"/>
                    <a:pt x="1024" y="658"/>
                    <a:pt x="1024" y="658"/>
                  </a:cubicBezTo>
                  <a:cubicBezTo>
                    <a:pt x="1024" y="658"/>
                    <a:pt x="1030" y="657"/>
                    <a:pt x="1033" y="655"/>
                  </a:cubicBezTo>
                  <a:cubicBezTo>
                    <a:pt x="1036" y="654"/>
                    <a:pt x="1044" y="651"/>
                    <a:pt x="1044" y="651"/>
                  </a:cubicBezTo>
                  <a:cubicBezTo>
                    <a:pt x="1046" y="657"/>
                    <a:pt x="1046" y="657"/>
                    <a:pt x="1046" y="657"/>
                  </a:cubicBezTo>
                  <a:cubicBezTo>
                    <a:pt x="1050" y="664"/>
                    <a:pt x="1050" y="664"/>
                    <a:pt x="1050" y="664"/>
                  </a:cubicBezTo>
                  <a:cubicBezTo>
                    <a:pt x="1058" y="674"/>
                    <a:pt x="1058" y="674"/>
                    <a:pt x="1058" y="674"/>
                  </a:cubicBezTo>
                  <a:cubicBezTo>
                    <a:pt x="1061" y="681"/>
                    <a:pt x="1061" y="681"/>
                    <a:pt x="1061" y="681"/>
                  </a:cubicBezTo>
                  <a:cubicBezTo>
                    <a:pt x="1059" y="685"/>
                    <a:pt x="1059" y="685"/>
                    <a:pt x="1059" y="685"/>
                  </a:cubicBezTo>
                  <a:cubicBezTo>
                    <a:pt x="1046" y="694"/>
                    <a:pt x="1046" y="694"/>
                    <a:pt x="1046" y="694"/>
                  </a:cubicBezTo>
                  <a:cubicBezTo>
                    <a:pt x="1037" y="698"/>
                    <a:pt x="1037" y="698"/>
                    <a:pt x="1037" y="698"/>
                  </a:cubicBezTo>
                  <a:cubicBezTo>
                    <a:pt x="1032" y="703"/>
                    <a:pt x="1032" y="703"/>
                    <a:pt x="1032" y="703"/>
                  </a:cubicBezTo>
                  <a:cubicBezTo>
                    <a:pt x="1031" y="705"/>
                    <a:pt x="1031" y="705"/>
                    <a:pt x="1031" y="705"/>
                  </a:cubicBezTo>
                  <a:cubicBezTo>
                    <a:pt x="1029" y="717"/>
                    <a:pt x="1029" y="717"/>
                    <a:pt x="1029" y="717"/>
                  </a:cubicBezTo>
                  <a:cubicBezTo>
                    <a:pt x="1025" y="729"/>
                    <a:pt x="1025" y="729"/>
                    <a:pt x="1025" y="729"/>
                  </a:cubicBezTo>
                  <a:cubicBezTo>
                    <a:pt x="1021" y="742"/>
                    <a:pt x="1021" y="742"/>
                    <a:pt x="1021" y="742"/>
                  </a:cubicBezTo>
                  <a:cubicBezTo>
                    <a:pt x="1023" y="753"/>
                    <a:pt x="1023" y="753"/>
                    <a:pt x="1023" y="753"/>
                  </a:cubicBezTo>
                  <a:cubicBezTo>
                    <a:pt x="1030" y="767"/>
                    <a:pt x="1030" y="767"/>
                    <a:pt x="1030" y="767"/>
                  </a:cubicBezTo>
                  <a:cubicBezTo>
                    <a:pt x="1039" y="779"/>
                    <a:pt x="1039" y="779"/>
                    <a:pt x="1039" y="779"/>
                  </a:cubicBezTo>
                  <a:cubicBezTo>
                    <a:pt x="1047" y="786"/>
                    <a:pt x="1047" y="786"/>
                    <a:pt x="1047" y="786"/>
                  </a:cubicBezTo>
                  <a:cubicBezTo>
                    <a:pt x="1057" y="798"/>
                    <a:pt x="1057" y="798"/>
                    <a:pt x="1057" y="798"/>
                  </a:cubicBezTo>
                  <a:cubicBezTo>
                    <a:pt x="1063" y="809"/>
                    <a:pt x="1063" y="809"/>
                    <a:pt x="1063" y="809"/>
                  </a:cubicBezTo>
                  <a:cubicBezTo>
                    <a:pt x="1069" y="821"/>
                    <a:pt x="1069" y="821"/>
                    <a:pt x="1069" y="821"/>
                  </a:cubicBezTo>
                  <a:cubicBezTo>
                    <a:pt x="1058" y="833"/>
                    <a:pt x="1058" y="833"/>
                    <a:pt x="1058" y="833"/>
                  </a:cubicBezTo>
                  <a:cubicBezTo>
                    <a:pt x="1044" y="851"/>
                    <a:pt x="1044" y="851"/>
                    <a:pt x="1044" y="851"/>
                  </a:cubicBezTo>
                  <a:cubicBezTo>
                    <a:pt x="1038" y="852"/>
                    <a:pt x="1038" y="852"/>
                    <a:pt x="1038" y="852"/>
                  </a:cubicBezTo>
                  <a:cubicBezTo>
                    <a:pt x="1027" y="852"/>
                    <a:pt x="1027" y="852"/>
                    <a:pt x="1027" y="852"/>
                  </a:cubicBezTo>
                  <a:cubicBezTo>
                    <a:pt x="1015" y="848"/>
                    <a:pt x="1015" y="848"/>
                    <a:pt x="1015" y="848"/>
                  </a:cubicBezTo>
                  <a:cubicBezTo>
                    <a:pt x="1004" y="849"/>
                    <a:pt x="1004" y="849"/>
                    <a:pt x="1004" y="849"/>
                  </a:cubicBezTo>
                  <a:cubicBezTo>
                    <a:pt x="999" y="856"/>
                    <a:pt x="999" y="856"/>
                    <a:pt x="999" y="856"/>
                  </a:cubicBezTo>
                  <a:cubicBezTo>
                    <a:pt x="996" y="860"/>
                    <a:pt x="996" y="860"/>
                    <a:pt x="996" y="860"/>
                  </a:cubicBezTo>
                  <a:cubicBezTo>
                    <a:pt x="992" y="856"/>
                    <a:pt x="992" y="856"/>
                    <a:pt x="992" y="856"/>
                  </a:cubicBezTo>
                  <a:cubicBezTo>
                    <a:pt x="985" y="851"/>
                    <a:pt x="985" y="851"/>
                    <a:pt x="985" y="851"/>
                  </a:cubicBezTo>
                  <a:cubicBezTo>
                    <a:pt x="986" y="839"/>
                    <a:pt x="986" y="839"/>
                    <a:pt x="986" y="839"/>
                  </a:cubicBezTo>
                  <a:cubicBezTo>
                    <a:pt x="988" y="822"/>
                    <a:pt x="988" y="822"/>
                    <a:pt x="988" y="822"/>
                  </a:cubicBezTo>
                  <a:cubicBezTo>
                    <a:pt x="984" y="810"/>
                    <a:pt x="984" y="810"/>
                    <a:pt x="984" y="810"/>
                  </a:cubicBezTo>
                  <a:cubicBezTo>
                    <a:pt x="970" y="800"/>
                    <a:pt x="970" y="800"/>
                    <a:pt x="970" y="800"/>
                  </a:cubicBezTo>
                  <a:cubicBezTo>
                    <a:pt x="952" y="793"/>
                    <a:pt x="952" y="793"/>
                    <a:pt x="952" y="793"/>
                  </a:cubicBezTo>
                  <a:cubicBezTo>
                    <a:pt x="947" y="790"/>
                    <a:pt x="947" y="790"/>
                    <a:pt x="947" y="790"/>
                  </a:cubicBezTo>
                  <a:cubicBezTo>
                    <a:pt x="948" y="776"/>
                    <a:pt x="948" y="776"/>
                    <a:pt x="948" y="776"/>
                  </a:cubicBezTo>
                  <a:cubicBezTo>
                    <a:pt x="948" y="766"/>
                    <a:pt x="948" y="766"/>
                    <a:pt x="948" y="766"/>
                  </a:cubicBezTo>
                  <a:cubicBezTo>
                    <a:pt x="944" y="760"/>
                    <a:pt x="944" y="760"/>
                    <a:pt x="944" y="760"/>
                  </a:cubicBezTo>
                  <a:cubicBezTo>
                    <a:pt x="943" y="747"/>
                    <a:pt x="943" y="747"/>
                    <a:pt x="943" y="747"/>
                  </a:cubicBezTo>
                  <a:cubicBezTo>
                    <a:pt x="948" y="745"/>
                    <a:pt x="948" y="745"/>
                    <a:pt x="948" y="745"/>
                  </a:cubicBezTo>
                  <a:cubicBezTo>
                    <a:pt x="946" y="730"/>
                    <a:pt x="946" y="730"/>
                    <a:pt x="946" y="730"/>
                  </a:cubicBezTo>
                  <a:cubicBezTo>
                    <a:pt x="934" y="719"/>
                    <a:pt x="934" y="719"/>
                    <a:pt x="934" y="719"/>
                  </a:cubicBezTo>
                  <a:cubicBezTo>
                    <a:pt x="928" y="710"/>
                    <a:pt x="928" y="710"/>
                    <a:pt x="928" y="710"/>
                  </a:cubicBezTo>
                  <a:cubicBezTo>
                    <a:pt x="922" y="701"/>
                    <a:pt x="922" y="701"/>
                    <a:pt x="922" y="701"/>
                  </a:cubicBezTo>
                  <a:cubicBezTo>
                    <a:pt x="915" y="695"/>
                    <a:pt x="915" y="695"/>
                    <a:pt x="915" y="695"/>
                  </a:cubicBezTo>
                  <a:cubicBezTo>
                    <a:pt x="907" y="699"/>
                    <a:pt x="907" y="699"/>
                    <a:pt x="907" y="699"/>
                  </a:cubicBezTo>
                  <a:cubicBezTo>
                    <a:pt x="899" y="704"/>
                    <a:pt x="899" y="704"/>
                    <a:pt x="899" y="704"/>
                  </a:cubicBezTo>
                  <a:cubicBezTo>
                    <a:pt x="887" y="701"/>
                    <a:pt x="887" y="701"/>
                    <a:pt x="887" y="701"/>
                  </a:cubicBezTo>
                  <a:cubicBezTo>
                    <a:pt x="877" y="704"/>
                    <a:pt x="877" y="704"/>
                    <a:pt x="877" y="704"/>
                  </a:cubicBezTo>
                  <a:cubicBezTo>
                    <a:pt x="867" y="709"/>
                    <a:pt x="867" y="709"/>
                    <a:pt x="867" y="709"/>
                  </a:cubicBezTo>
                  <a:cubicBezTo>
                    <a:pt x="861" y="712"/>
                    <a:pt x="861" y="712"/>
                    <a:pt x="861" y="712"/>
                  </a:cubicBezTo>
                  <a:cubicBezTo>
                    <a:pt x="853" y="715"/>
                    <a:pt x="853" y="715"/>
                    <a:pt x="853" y="715"/>
                  </a:cubicBezTo>
                  <a:cubicBezTo>
                    <a:pt x="833" y="715"/>
                    <a:pt x="833" y="715"/>
                    <a:pt x="833" y="715"/>
                  </a:cubicBezTo>
                  <a:cubicBezTo>
                    <a:pt x="820" y="719"/>
                    <a:pt x="820" y="719"/>
                    <a:pt x="820" y="719"/>
                  </a:cubicBezTo>
                  <a:cubicBezTo>
                    <a:pt x="815" y="729"/>
                    <a:pt x="815" y="729"/>
                    <a:pt x="815" y="729"/>
                  </a:cubicBezTo>
                  <a:cubicBezTo>
                    <a:pt x="807" y="735"/>
                    <a:pt x="807" y="735"/>
                    <a:pt x="807" y="735"/>
                  </a:cubicBezTo>
                  <a:cubicBezTo>
                    <a:pt x="800" y="739"/>
                    <a:pt x="800" y="739"/>
                    <a:pt x="800" y="739"/>
                  </a:cubicBezTo>
                  <a:cubicBezTo>
                    <a:pt x="792" y="741"/>
                    <a:pt x="792" y="741"/>
                    <a:pt x="792" y="741"/>
                  </a:cubicBezTo>
                  <a:cubicBezTo>
                    <a:pt x="778" y="733"/>
                    <a:pt x="778" y="733"/>
                    <a:pt x="778" y="733"/>
                  </a:cubicBezTo>
                  <a:cubicBezTo>
                    <a:pt x="767" y="727"/>
                    <a:pt x="767" y="727"/>
                    <a:pt x="767" y="727"/>
                  </a:cubicBezTo>
                  <a:cubicBezTo>
                    <a:pt x="756" y="733"/>
                    <a:pt x="756" y="733"/>
                    <a:pt x="756" y="733"/>
                  </a:cubicBezTo>
                  <a:cubicBezTo>
                    <a:pt x="752" y="741"/>
                    <a:pt x="752" y="741"/>
                    <a:pt x="752" y="741"/>
                  </a:cubicBezTo>
                  <a:cubicBezTo>
                    <a:pt x="750" y="759"/>
                    <a:pt x="750" y="759"/>
                    <a:pt x="750" y="759"/>
                  </a:cubicBezTo>
                  <a:cubicBezTo>
                    <a:pt x="751" y="769"/>
                    <a:pt x="751" y="769"/>
                    <a:pt x="751" y="769"/>
                  </a:cubicBezTo>
                  <a:cubicBezTo>
                    <a:pt x="748" y="779"/>
                    <a:pt x="748" y="779"/>
                    <a:pt x="748" y="779"/>
                  </a:cubicBezTo>
                  <a:cubicBezTo>
                    <a:pt x="742" y="783"/>
                    <a:pt x="742" y="783"/>
                    <a:pt x="742" y="783"/>
                  </a:cubicBezTo>
                  <a:cubicBezTo>
                    <a:pt x="737" y="781"/>
                    <a:pt x="737" y="781"/>
                    <a:pt x="737" y="781"/>
                  </a:cubicBezTo>
                  <a:cubicBezTo>
                    <a:pt x="724" y="779"/>
                    <a:pt x="724" y="779"/>
                    <a:pt x="724" y="779"/>
                  </a:cubicBezTo>
                  <a:cubicBezTo>
                    <a:pt x="710" y="784"/>
                    <a:pt x="710" y="784"/>
                    <a:pt x="710" y="784"/>
                  </a:cubicBezTo>
                  <a:cubicBezTo>
                    <a:pt x="695" y="788"/>
                    <a:pt x="695" y="788"/>
                    <a:pt x="695" y="788"/>
                  </a:cubicBezTo>
                  <a:cubicBezTo>
                    <a:pt x="685" y="790"/>
                    <a:pt x="685" y="790"/>
                    <a:pt x="685" y="790"/>
                  </a:cubicBezTo>
                  <a:cubicBezTo>
                    <a:pt x="677" y="787"/>
                    <a:pt x="677" y="787"/>
                    <a:pt x="677" y="787"/>
                  </a:cubicBezTo>
                  <a:cubicBezTo>
                    <a:pt x="662" y="786"/>
                    <a:pt x="662" y="786"/>
                    <a:pt x="662" y="786"/>
                  </a:cubicBezTo>
                  <a:cubicBezTo>
                    <a:pt x="651" y="780"/>
                    <a:pt x="651" y="780"/>
                    <a:pt x="651" y="780"/>
                  </a:cubicBezTo>
                  <a:cubicBezTo>
                    <a:pt x="632" y="771"/>
                    <a:pt x="632" y="771"/>
                    <a:pt x="632" y="771"/>
                  </a:cubicBezTo>
                  <a:cubicBezTo>
                    <a:pt x="622" y="761"/>
                    <a:pt x="622" y="761"/>
                    <a:pt x="622" y="761"/>
                  </a:cubicBezTo>
                  <a:cubicBezTo>
                    <a:pt x="613" y="749"/>
                    <a:pt x="613" y="749"/>
                    <a:pt x="613" y="749"/>
                  </a:cubicBezTo>
                  <a:cubicBezTo>
                    <a:pt x="610" y="740"/>
                    <a:pt x="610" y="740"/>
                    <a:pt x="610" y="740"/>
                  </a:cubicBezTo>
                  <a:cubicBezTo>
                    <a:pt x="605" y="725"/>
                    <a:pt x="605" y="725"/>
                    <a:pt x="605" y="725"/>
                  </a:cubicBezTo>
                  <a:cubicBezTo>
                    <a:pt x="596" y="719"/>
                    <a:pt x="596" y="719"/>
                    <a:pt x="596" y="719"/>
                  </a:cubicBezTo>
                  <a:cubicBezTo>
                    <a:pt x="585" y="711"/>
                    <a:pt x="585" y="711"/>
                    <a:pt x="585" y="711"/>
                  </a:cubicBezTo>
                  <a:cubicBezTo>
                    <a:pt x="574" y="705"/>
                    <a:pt x="574" y="705"/>
                    <a:pt x="574" y="705"/>
                  </a:cubicBezTo>
                  <a:cubicBezTo>
                    <a:pt x="577" y="696"/>
                    <a:pt x="577" y="696"/>
                    <a:pt x="577" y="696"/>
                  </a:cubicBezTo>
                  <a:cubicBezTo>
                    <a:pt x="578" y="680"/>
                    <a:pt x="578" y="680"/>
                    <a:pt x="578" y="680"/>
                  </a:cubicBezTo>
                  <a:cubicBezTo>
                    <a:pt x="570" y="662"/>
                    <a:pt x="570" y="662"/>
                    <a:pt x="570" y="662"/>
                  </a:cubicBezTo>
                  <a:cubicBezTo>
                    <a:pt x="566" y="651"/>
                    <a:pt x="566" y="651"/>
                    <a:pt x="566" y="651"/>
                  </a:cubicBezTo>
                  <a:cubicBezTo>
                    <a:pt x="566" y="636"/>
                    <a:pt x="566" y="636"/>
                    <a:pt x="566" y="636"/>
                  </a:cubicBezTo>
                  <a:cubicBezTo>
                    <a:pt x="568" y="626"/>
                    <a:pt x="568" y="626"/>
                    <a:pt x="568" y="626"/>
                  </a:cubicBezTo>
                  <a:cubicBezTo>
                    <a:pt x="573" y="612"/>
                    <a:pt x="573" y="612"/>
                    <a:pt x="573" y="612"/>
                  </a:cubicBezTo>
                  <a:cubicBezTo>
                    <a:pt x="576" y="593"/>
                    <a:pt x="576" y="593"/>
                    <a:pt x="576" y="593"/>
                  </a:cubicBezTo>
                  <a:cubicBezTo>
                    <a:pt x="576" y="582"/>
                    <a:pt x="576" y="582"/>
                    <a:pt x="576" y="582"/>
                  </a:cubicBezTo>
                  <a:cubicBezTo>
                    <a:pt x="570" y="574"/>
                    <a:pt x="570" y="574"/>
                    <a:pt x="570" y="574"/>
                  </a:cubicBezTo>
                  <a:cubicBezTo>
                    <a:pt x="554" y="573"/>
                    <a:pt x="554" y="573"/>
                    <a:pt x="554" y="573"/>
                  </a:cubicBezTo>
                  <a:cubicBezTo>
                    <a:pt x="549" y="577"/>
                    <a:pt x="549" y="577"/>
                    <a:pt x="549" y="577"/>
                  </a:cubicBezTo>
                  <a:cubicBezTo>
                    <a:pt x="540" y="587"/>
                    <a:pt x="540" y="587"/>
                    <a:pt x="540" y="587"/>
                  </a:cubicBezTo>
                  <a:cubicBezTo>
                    <a:pt x="539" y="598"/>
                    <a:pt x="539" y="598"/>
                    <a:pt x="539" y="598"/>
                  </a:cubicBezTo>
                  <a:cubicBezTo>
                    <a:pt x="533" y="606"/>
                    <a:pt x="533" y="606"/>
                    <a:pt x="533" y="606"/>
                  </a:cubicBezTo>
                  <a:cubicBezTo>
                    <a:pt x="532" y="609"/>
                    <a:pt x="532" y="609"/>
                    <a:pt x="532" y="609"/>
                  </a:cubicBezTo>
                  <a:cubicBezTo>
                    <a:pt x="523" y="607"/>
                    <a:pt x="523" y="607"/>
                    <a:pt x="523" y="607"/>
                  </a:cubicBezTo>
                  <a:cubicBezTo>
                    <a:pt x="518" y="601"/>
                    <a:pt x="518" y="601"/>
                    <a:pt x="518" y="601"/>
                  </a:cubicBezTo>
                  <a:cubicBezTo>
                    <a:pt x="506" y="591"/>
                    <a:pt x="506" y="591"/>
                    <a:pt x="506" y="591"/>
                  </a:cubicBezTo>
                  <a:cubicBezTo>
                    <a:pt x="506" y="582"/>
                    <a:pt x="506" y="582"/>
                    <a:pt x="506" y="582"/>
                  </a:cubicBezTo>
                  <a:cubicBezTo>
                    <a:pt x="505" y="573"/>
                    <a:pt x="505" y="573"/>
                    <a:pt x="505" y="573"/>
                  </a:cubicBezTo>
                  <a:cubicBezTo>
                    <a:pt x="494" y="569"/>
                    <a:pt x="494" y="569"/>
                    <a:pt x="494" y="569"/>
                  </a:cubicBezTo>
                  <a:cubicBezTo>
                    <a:pt x="475" y="571"/>
                    <a:pt x="475" y="571"/>
                    <a:pt x="475" y="571"/>
                  </a:cubicBezTo>
                  <a:cubicBezTo>
                    <a:pt x="459" y="574"/>
                    <a:pt x="459" y="574"/>
                    <a:pt x="459" y="574"/>
                  </a:cubicBezTo>
                  <a:cubicBezTo>
                    <a:pt x="444" y="580"/>
                    <a:pt x="444" y="580"/>
                    <a:pt x="444" y="580"/>
                  </a:cubicBezTo>
                  <a:cubicBezTo>
                    <a:pt x="434" y="591"/>
                    <a:pt x="434" y="591"/>
                    <a:pt x="434" y="591"/>
                  </a:cubicBezTo>
                  <a:cubicBezTo>
                    <a:pt x="434" y="602"/>
                    <a:pt x="434" y="602"/>
                    <a:pt x="434" y="602"/>
                  </a:cubicBezTo>
                  <a:cubicBezTo>
                    <a:pt x="436" y="619"/>
                    <a:pt x="436" y="619"/>
                    <a:pt x="436" y="619"/>
                  </a:cubicBezTo>
                  <a:cubicBezTo>
                    <a:pt x="433" y="626"/>
                    <a:pt x="433" y="626"/>
                    <a:pt x="433" y="626"/>
                  </a:cubicBezTo>
                  <a:cubicBezTo>
                    <a:pt x="422" y="633"/>
                    <a:pt x="422" y="633"/>
                    <a:pt x="422" y="633"/>
                  </a:cubicBezTo>
                  <a:cubicBezTo>
                    <a:pt x="415" y="640"/>
                    <a:pt x="415" y="640"/>
                    <a:pt x="415" y="640"/>
                  </a:cubicBezTo>
                  <a:cubicBezTo>
                    <a:pt x="416" y="655"/>
                    <a:pt x="416" y="655"/>
                    <a:pt x="416" y="655"/>
                  </a:cubicBezTo>
                  <a:cubicBezTo>
                    <a:pt x="439" y="676"/>
                    <a:pt x="439" y="676"/>
                    <a:pt x="439" y="676"/>
                  </a:cubicBezTo>
                  <a:cubicBezTo>
                    <a:pt x="439" y="705"/>
                    <a:pt x="439" y="705"/>
                    <a:pt x="439" y="705"/>
                  </a:cubicBezTo>
                  <a:cubicBezTo>
                    <a:pt x="441" y="723"/>
                    <a:pt x="441" y="723"/>
                    <a:pt x="441" y="723"/>
                  </a:cubicBezTo>
                  <a:cubicBezTo>
                    <a:pt x="447" y="734"/>
                    <a:pt x="447" y="734"/>
                    <a:pt x="447" y="734"/>
                  </a:cubicBezTo>
                  <a:cubicBezTo>
                    <a:pt x="449" y="755"/>
                    <a:pt x="449" y="755"/>
                    <a:pt x="449" y="755"/>
                  </a:cubicBezTo>
                  <a:cubicBezTo>
                    <a:pt x="440" y="771"/>
                    <a:pt x="440" y="771"/>
                    <a:pt x="440" y="771"/>
                  </a:cubicBezTo>
                  <a:cubicBezTo>
                    <a:pt x="428" y="797"/>
                    <a:pt x="428" y="797"/>
                    <a:pt x="428" y="797"/>
                  </a:cubicBezTo>
                  <a:cubicBezTo>
                    <a:pt x="415" y="812"/>
                    <a:pt x="415" y="812"/>
                    <a:pt x="415" y="812"/>
                  </a:cubicBezTo>
                  <a:cubicBezTo>
                    <a:pt x="414" y="835"/>
                    <a:pt x="414" y="835"/>
                    <a:pt x="414" y="835"/>
                  </a:cubicBezTo>
                  <a:cubicBezTo>
                    <a:pt x="413" y="842"/>
                    <a:pt x="413" y="842"/>
                    <a:pt x="413" y="842"/>
                  </a:cubicBezTo>
                  <a:cubicBezTo>
                    <a:pt x="406" y="846"/>
                    <a:pt x="406" y="846"/>
                    <a:pt x="406" y="846"/>
                  </a:cubicBezTo>
                  <a:cubicBezTo>
                    <a:pt x="396" y="854"/>
                    <a:pt x="396" y="854"/>
                    <a:pt x="396" y="854"/>
                  </a:cubicBezTo>
                  <a:cubicBezTo>
                    <a:pt x="395" y="861"/>
                    <a:pt x="395" y="861"/>
                    <a:pt x="395" y="861"/>
                  </a:cubicBezTo>
                  <a:cubicBezTo>
                    <a:pt x="389" y="870"/>
                    <a:pt x="389" y="870"/>
                    <a:pt x="389" y="870"/>
                  </a:cubicBezTo>
                  <a:cubicBezTo>
                    <a:pt x="384" y="874"/>
                    <a:pt x="384" y="874"/>
                    <a:pt x="384" y="874"/>
                  </a:cubicBezTo>
                  <a:cubicBezTo>
                    <a:pt x="377" y="887"/>
                    <a:pt x="377" y="887"/>
                    <a:pt x="377" y="887"/>
                  </a:cubicBezTo>
                  <a:cubicBezTo>
                    <a:pt x="375" y="898"/>
                    <a:pt x="375" y="898"/>
                    <a:pt x="375" y="898"/>
                  </a:cubicBezTo>
                  <a:cubicBezTo>
                    <a:pt x="374" y="907"/>
                    <a:pt x="374" y="907"/>
                    <a:pt x="374" y="907"/>
                  </a:cubicBezTo>
                  <a:cubicBezTo>
                    <a:pt x="358" y="909"/>
                    <a:pt x="358" y="909"/>
                    <a:pt x="358" y="909"/>
                  </a:cubicBezTo>
                  <a:cubicBezTo>
                    <a:pt x="346" y="898"/>
                    <a:pt x="346" y="898"/>
                    <a:pt x="346" y="898"/>
                  </a:cubicBezTo>
                  <a:cubicBezTo>
                    <a:pt x="333" y="879"/>
                    <a:pt x="333" y="879"/>
                    <a:pt x="333" y="879"/>
                  </a:cubicBezTo>
                  <a:cubicBezTo>
                    <a:pt x="322" y="869"/>
                    <a:pt x="322" y="869"/>
                    <a:pt x="322" y="869"/>
                  </a:cubicBezTo>
                  <a:cubicBezTo>
                    <a:pt x="306" y="857"/>
                    <a:pt x="306" y="857"/>
                    <a:pt x="306" y="857"/>
                  </a:cubicBezTo>
                  <a:cubicBezTo>
                    <a:pt x="304" y="845"/>
                    <a:pt x="304" y="845"/>
                    <a:pt x="304" y="845"/>
                  </a:cubicBezTo>
                  <a:cubicBezTo>
                    <a:pt x="306" y="829"/>
                    <a:pt x="306" y="829"/>
                    <a:pt x="306" y="829"/>
                  </a:cubicBezTo>
                  <a:cubicBezTo>
                    <a:pt x="300" y="813"/>
                    <a:pt x="300" y="813"/>
                    <a:pt x="300" y="813"/>
                  </a:cubicBezTo>
                  <a:cubicBezTo>
                    <a:pt x="291" y="797"/>
                    <a:pt x="291" y="797"/>
                    <a:pt x="291" y="797"/>
                  </a:cubicBezTo>
                  <a:cubicBezTo>
                    <a:pt x="287" y="786"/>
                    <a:pt x="287" y="786"/>
                    <a:pt x="287" y="786"/>
                  </a:cubicBezTo>
                  <a:cubicBezTo>
                    <a:pt x="292" y="776"/>
                    <a:pt x="292" y="776"/>
                    <a:pt x="292" y="776"/>
                  </a:cubicBezTo>
                  <a:cubicBezTo>
                    <a:pt x="297" y="761"/>
                    <a:pt x="297" y="761"/>
                    <a:pt x="297" y="761"/>
                  </a:cubicBezTo>
                  <a:cubicBezTo>
                    <a:pt x="297" y="744"/>
                    <a:pt x="297" y="744"/>
                    <a:pt x="297" y="744"/>
                  </a:cubicBezTo>
                  <a:cubicBezTo>
                    <a:pt x="300" y="735"/>
                    <a:pt x="300" y="735"/>
                    <a:pt x="300" y="735"/>
                  </a:cubicBezTo>
                  <a:cubicBezTo>
                    <a:pt x="307" y="729"/>
                    <a:pt x="307" y="729"/>
                    <a:pt x="307" y="729"/>
                  </a:cubicBezTo>
                  <a:cubicBezTo>
                    <a:pt x="314" y="718"/>
                    <a:pt x="314" y="718"/>
                    <a:pt x="314" y="718"/>
                  </a:cubicBezTo>
                  <a:cubicBezTo>
                    <a:pt x="310" y="700"/>
                    <a:pt x="310" y="700"/>
                    <a:pt x="310" y="700"/>
                  </a:cubicBezTo>
                  <a:cubicBezTo>
                    <a:pt x="311" y="686"/>
                    <a:pt x="311" y="686"/>
                    <a:pt x="311" y="686"/>
                  </a:cubicBezTo>
                  <a:cubicBezTo>
                    <a:pt x="316" y="673"/>
                    <a:pt x="316" y="673"/>
                    <a:pt x="316" y="673"/>
                  </a:cubicBezTo>
                  <a:cubicBezTo>
                    <a:pt x="317" y="664"/>
                    <a:pt x="317" y="664"/>
                    <a:pt x="317" y="664"/>
                  </a:cubicBezTo>
                  <a:cubicBezTo>
                    <a:pt x="309" y="653"/>
                    <a:pt x="309" y="653"/>
                    <a:pt x="309" y="653"/>
                  </a:cubicBezTo>
                  <a:cubicBezTo>
                    <a:pt x="306" y="642"/>
                    <a:pt x="306" y="642"/>
                    <a:pt x="306" y="642"/>
                  </a:cubicBezTo>
                  <a:cubicBezTo>
                    <a:pt x="312" y="630"/>
                    <a:pt x="312" y="630"/>
                    <a:pt x="312" y="630"/>
                  </a:cubicBezTo>
                  <a:cubicBezTo>
                    <a:pt x="314" y="614"/>
                    <a:pt x="314" y="614"/>
                    <a:pt x="314" y="614"/>
                  </a:cubicBezTo>
                  <a:cubicBezTo>
                    <a:pt x="303" y="602"/>
                    <a:pt x="303" y="602"/>
                    <a:pt x="303" y="602"/>
                  </a:cubicBezTo>
                  <a:cubicBezTo>
                    <a:pt x="292" y="599"/>
                    <a:pt x="292" y="599"/>
                    <a:pt x="292" y="599"/>
                  </a:cubicBezTo>
                  <a:cubicBezTo>
                    <a:pt x="285" y="598"/>
                    <a:pt x="285" y="598"/>
                    <a:pt x="285" y="598"/>
                  </a:cubicBezTo>
                  <a:cubicBezTo>
                    <a:pt x="275" y="588"/>
                    <a:pt x="275" y="588"/>
                    <a:pt x="275" y="588"/>
                  </a:cubicBezTo>
                  <a:cubicBezTo>
                    <a:pt x="267" y="576"/>
                    <a:pt x="267" y="576"/>
                    <a:pt x="267" y="576"/>
                  </a:cubicBezTo>
                  <a:cubicBezTo>
                    <a:pt x="259" y="556"/>
                    <a:pt x="259" y="556"/>
                    <a:pt x="259" y="556"/>
                  </a:cubicBezTo>
                  <a:cubicBezTo>
                    <a:pt x="257" y="541"/>
                    <a:pt x="257" y="541"/>
                    <a:pt x="257" y="541"/>
                  </a:cubicBezTo>
                  <a:cubicBezTo>
                    <a:pt x="260" y="518"/>
                    <a:pt x="260" y="518"/>
                    <a:pt x="260" y="518"/>
                  </a:cubicBezTo>
                  <a:cubicBezTo>
                    <a:pt x="267" y="513"/>
                    <a:pt x="267" y="513"/>
                    <a:pt x="267" y="513"/>
                  </a:cubicBezTo>
                  <a:cubicBezTo>
                    <a:pt x="276" y="503"/>
                    <a:pt x="276" y="503"/>
                    <a:pt x="276" y="503"/>
                  </a:cubicBezTo>
                  <a:cubicBezTo>
                    <a:pt x="275" y="496"/>
                    <a:pt x="275" y="496"/>
                    <a:pt x="275" y="496"/>
                  </a:cubicBezTo>
                  <a:cubicBezTo>
                    <a:pt x="271" y="494"/>
                    <a:pt x="271" y="494"/>
                    <a:pt x="271" y="494"/>
                  </a:cubicBezTo>
                  <a:cubicBezTo>
                    <a:pt x="259" y="491"/>
                    <a:pt x="259" y="491"/>
                    <a:pt x="259" y="491"/>
                  </a:cubicBezTo>
                  <a:cubicBezTo>
                    <a:pt x="249" y="478"/>
                    <a:pt x="249" y="478"/>
                    <a:pt x="249" y="478"/>
                  </a:cubicBezTo>
                  <a:cubicBezTo>
                    <a:pt x="243" y="472"/>
                    <a:pt x="243" y="472"/>
                    <a:pt x="243" y="472"/>
                  </a:cubicBezTo>
                  <a:cubicBezTo>
                    <a:pt x="229" y="477"/>
                    <a:pt x="229" y="477"/>
                    <a:pt x="229" y="477"/>
                  </a:cubicBezTo>
                  <a:cubicBezTo>
                    <a:pt x="217" y="475"/>
                    <a:pt x="217" y="475"/>
                    <a:pt x="217" y="475"/>
                  </a:cubicBezTo>
                  <a:cubicBezTo>
                    <a:pt x="215" y="468"/>
                    <a:pt x="215" y="468"/>
                    <a:pt x="215" y="468"/>
                  </a:cubicBezTo>
                  <a:cubicBezTo>
                    <a:pt x="214" y="458"/>
                    <a:pt x="214" y="458"/>
                    <a:pt x="214" y="458"/>
                  </a:cubicBezTo>
                  <a:cubicBezTo>
                    <a:pt x="213" y="443"/>
                    <a:pt x="213" y="443"/>
                    <a:pt x="213" y="443"/>
                  </a:cubicBezTo>
                  <a:cubicBezTo>
                    <a:pt x="211" y="433"/>
                    <a:pt x="211" y="433"/>
                    <a:pt x="211" y="433"/>
                  </a:cubicBezTo>
                  <a:cubicBezTo>
                    <a:pt x="209" y="435"/>
                    <a:pt x="209" y="435"/>
                    <a:pt x="209" y="435"/>
                  </a:cubicBezTo>
                  <a:cubicBezTo>
                    <a:pt x="204" y="439"/>
                    <a:pt x="204" y="439"/>
                    <a:pt x="204" y="439"/>
                  </a:cubicBezTo>
                  <a:cubicBezTo>
                    <a:pt x="185" y="441"/>
                    <a:pt x="185" y="441"/>
                    <a:pt x="185" y="441"/>
                  </a:cubicBezTo>
                  <a:cubicBezTo>
                    <a:pt x="174" y="449"/>
                    <a:pt x="174" y="449"/>
                    <a:pt x="174" y="449"/>
                  </a:cubicBezTo>
                  <a:cubicBezTo>
                    <a:pt x="171" y="457"/>
                    <a:pt x="171" y="457"/>
                    <a:pt x="171" y="457"/>
                  </a:cubicBezTo>
                  <a:cubicBezTo>
                    <a:pt x="177" y="469"/>
                    <a:pt x="177" y="469"/>
                    <a:pt x="177" y="469"/>
                  </a:cubicBezTo>
                  <a:cubicBezTo>
                    <a:pt x="180" y="475"/>
                    <a:pt x="180" y="475"/>
                    <a:pt x="180" y="475"/>
                  </a:cubicBezTo>
                  <a:cubicBezTo>
                    <a:pt x="179" y="483"/>
                    <a:pt x="179" y="483"/>
                    <a:pt x="179" y="483"/>
                  </a:cubicBezTo>
                  <a:cubicBezTo>
                    <a:pt x="171" y="491"/>
                    <a:pt x="171" y="491"/>
                    <a:pt x="171" y="491"/>
                  </a:cubicBezTo>
                  <a:cubicBezTo>
                    <a:pt x="163" y="497"/>
                    <a:pt x="163" y="497"/>
                    <a:pt x="163" y="497"/>
                  </a:cubicBezTo>
                  <a:cubicBezTo>
                    <a:pt x="154" y="501"/>
                    <a:pt x="154" y="501"/>
                    <a:pt x="154" y="501"/>
                  </a:cubicBezTo>
                  <a:cubicBezTo>
                    <a:pt x="142" y="503"/>
                    <a:pt x="142" y="503"/>
                    <a:pt x="142" y="503"/>
                  </a:cubicBezTo>
                  <a:cubicBezTo>
                    <a:pt x="130" y="506"/>
                    <a:pt x="130" y="506"/>
                    <a:pt x="130" y="506"/>
                  </a:cubicBezTo>
                  <a:cubicBezTo>
                    <a:pt x="123" y="506"/>
                    <a:pt x="123" y="506"/>
                    <a:pt x="123" y="506"/>
                  </a:cubicBezTo>
                  <a:cubicBezTo>
                    <a:pt x="119" y="503"/>
                    <a:pt x="119" y="503"/>
                    <a:pt x="119" y="503"/>
                  </a:cubicBezTo>
                  <a:cubicBezTo>
                    <a:pt x="107" y="512"/>
                    <a:pt x="107" y="512"/>
                    <a:pt x="107" y="512"/>
                  </a:cubicBezTo>
                  <a:cubicBezTo>
                    <a:pt x="96" y="511"/>
                    <a:pt x="96" y="511"/>
                    <a:pt x="96" y="511"/>
                  </a:cubicBezTo>
                  <a:cubicBezTo>
                    <a:pt x="86" y="505"/>
                    <a:pt x="86" y="505"/>
                    <a:pt x="86" y="505"/>
                  </a:cubicBezTo>
                  <a:cubicBezTo>
                    <a:pt x="79" y="501"/>
                    <a:pt x="79" y="501"/>
                    <a:pt x="79" y="501"/>
                  </a:cubicBezTo>
                  <a:cubicBezTo>
                    <a:pt x="64" y="498"/>
                    <a:pt x="64" y="498"/>
                    <a:pt x="64" y="498"/>
                  </a:cubicBezTo>
                  <a:cubicBezTo>
                    <a:pt x="53" y="500"/>
                    <a:pt x="53" y="500"/>
                    <a:pt x="53" y="500"/>
                  </a:cubicBezTo>
                  <a:cubicBezTo>
                    <a:pt x="41" y="500"/>
                    <a:pt x="41" y="500"/>
                    <a:pt x="41" y="500"/>
                  </a:cubicBezTo>
                  <a:cubicBezTo>
                    <a:pt x="28" y="494"/>
                    <a:pt x="28" y="494"/>
                    <a:pt x="28" y="494"/>
                  </a:cubicBezTo>
                  <a:cubicBezTo>
                    <a:pt x="16" y="491"/>
                    <a:pt x="16" y="491"/>
                    <a:pt x="16" y="491"/>
                  </a:cubicBezTo>
                  <a:cubicBezTo>
                    <a:pt x="20" y="472"/>
                    <a:pt x="20" y="472"/>
                    <a:pt x="20" y="472"/>
                  </a:cubicBezTo>
                  <a:cubicBezTo>
                    <a:pt x="9" y="456"/>
                    <a:pt x="9" y="456"/>
                    <a:pt x="9" y="456"/>
                  </a:cubicBezTo>
                  <a:cubicBezTo>
                    <a:pt x="0" y="444"/>
                    <a:pt x="0" y="444"/>
                    <a:pt x="0" y="444"/>
                  </a:cubicBezTo>
                  <a:cubicBezTo>
                    <a:pt x="0" y="424"/>
                    <a:pt x="0" y="424"/>
                    <a:pt x="0" y="424"/>
                  </a:cubicBezTo>
                  <a:cubicBezTo>
                    <a:pt x="8" y="413"/>
                    <a:pt x="8" y="413"/>
                    <a:pt x="8" y="413"/>
                  </a:cubicBezTo>
                  <a:cubicBezTo>
                    <a:pt x="14" y="410"/>
                    <a:pt x="14" y="410"/>
                    <a:pt x="14" y="410"/>
                  </a:cubicBezTo>
                  <a:cubicBezTo>
                    <a:pt x="7" y="395"/>
                    <a:pt x="7" y="395"/>
                    <a:pt x="7" y="395"/>
                  </a:cubicBezTo>
                  <a:cubicBezTo>
                    <a:pt x="6" y="388"/>
                    <a:pt x="6" y="388"/>
                    <a:pt x="6" y="388"/>
                  </a:cubicBezTo>
                  <a:cubicBezTo>
                    <a:pt x="12" y="377"/>
                    <a:pt x="12" y="377"/>
                    <a:pt x="12" y="377"/>
                  </a:cubicBezTo>
                  <a:cubicBezTo>
                    <a:pt x="21" y="372"/>
                    <a:pt x="21" y="372"/>
                    <a:pt x="21" y="372"/>
                  </a:cubicBezTo>
                  <a:cubicBezTo>
                    <a:pt x="37" y="371"/>
                    <a:pt x="37" y="371"/>
                    <a:pt x="37" y="371"/>
                  </a:cubicBezTo>
                  <a:cubicBezTo>
                    <a:pt x="47" y="360"/>
                    <a:pt x="47" y="360"/>
                    <a:pt x="47" y="360"/>
                  </a:cubicBezTo>
                  <a:cubicBezTo>
                    <a:pt x="60" y="353"/>
                    <a:pt x="60" y="353"/>
                    <a:pt x="60" y="353"/>
                  </a:cubicBezTo>
                  <a:cubicBezTo>
                    <a:pt x="65" y="336"/>
                    <a:pt x="65" y="336"/>
                    <a:pt x="65" y="336"/>
                  </a:cubicBezTo>
                  <a:cubicBezTo>
                    <a:pt x="67" y="328"/>
                    <a:pt x="67" y="328"/>
                    <a:pt x="67" y="328"/>
                  </a:cubicBezTo>
                  <a:cubicBezTo>
                    <a:pt x="78" y="327"/>
                    <a:pt x="78" y="327"/>
                    <a:pt x="78" y="327"/>
                  </a:cubicBezTo>
                  <a:cubicBezTo>
                    <a:pt x="84" y="337"/>
                    <a:pt x="84" y="337"/>
                    <a:pt x="84" y="337"/>
                  </a:cubicBezTo>
                  <a:cubicBezTo>
                    <a:pt x="95" y="338"/>
                    <a:pt x="95" y="338"/>
                    <a:pt x="95" y="338"/>
                  </a:cubicBezTo>
                  <a:cubicBezTo>
                    <a:pt x="104" y="329"/>
                    <a:pt x="104" y="329"/>
                    <a:pt x="104" y="329"/>
                  </a:cubicBezTo>
                  <a:cubicBezTo>
                    <a:pt x="107" y="316"/>
                    <a:pt x="107" y="316"/>
                    <a:pt x="107" y="316"/>
                  </a:cubicBezTo>
                  <a:cubicBezTo>
                    <a:pt x="117" y="306"/>
                    <a:pt x="117" y="306"/>
                    <a:pt x="117" y="306"/>
                  </a:cubicBezTo>
                  <a:cubicBezTo>
                    <a:pt x="122" y="292"/>
                    <a:pt x="122" y="292"/>
                    <a:pt x="122" y="292"/>
                  </a:cubicBezTo>
                  <a:cubicBezTo>
                    <a:pt x="118" y="276"/>
                    <a:pt x="118" y="276"/>
                    <a:pt x="118" y="276"/>
                  </a:cubicBezTo>
                  <a:cubicBezTo>
                    <a:pt x="124" y="271"/>
                    <a:pt x="124" y="271"/>
                    <a:pt x="124" y="271"/>
                  </a:cubicBezTo>
                  <a:cubicBezTo>
                    <a:pt x="133" y="267"/>
                    <a:pt x="133" y="267"/>
                    <a:pt x="133" y="267"/>
                  </a:cubicBezTo>
                  <a:cubicBezTo>
                    <a:pt x="142" y="266"/>
                    <a:pt x="142" y="266"/>
                    <a:pt x="142" y="266"/>
                  </a:cubicBezTo>
                  <a:cubicBezTo>
                    <a:pt x="155" y="252"/>
                    <a:pt x="155" y="252"/>
                    <a:pt x="155" y="252"/>
                  </a:cubicBezTo>
                </a:path>
              </a:pathLst>
            </a:custGeom>
            <a:grp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80" name="Freeform 30">
              <a:extLst>
                <a:ext uri="{FF2B5EF4-FFF2-40B4-BE49-F238E27FC236}">
                  <a16:creationId xmlns:a16="http://schemas.microsoft.com/office/drawing/2014/main" id="{A9AA80EB-6EC6-4B61-88D0-1573EA29555F}"/>
                </a:ext>
              </a:extLst>
            </p:cNvPr>
            <p:cNvSpPr>
              <a:spLocks/>
            </p:cNvSpPr>
            <p:nvPr/>
          </p:nvSpPr>
          <p:spPr bwMode="gray">
            <a:xfrm>
              <a:off x="10081" y="2986"/>
              <a:ext cx="3059" cy="2147"/>
            </a:xfrm>
            <a:custGeom>
              <a:avLst/>
              <a:gdLst>
                <a:gd name="T0" fmla="*/ 238 w 1295"/>
                <a:gd name="T1" fmla="*/ 252 h 909"/>
                <a:gd name="T2" fmla="*/ 292 w 1295"/>
                <a:gd name="T3" fmla="*/ 185 h 909"/>
                <a:gd name="T4" fmla="*/ 346 w 1295"/>
                <a:gd name="T5" fmla="*/ 184 h 909"/>
                <a:gd name="T6" fmla="*/ 413 w 1295"/>
                <a:gd name="T7" fmla="*/ 145 h 909"/>
                <a:gd name="T8" fmla="*/ 488 w 1295"/>
                <a:gd name="T9" fmla="*/ 160 h 909"/>
                <a:gd name="T10" fmla="*/ 564 w 1295"/>
                <a:gd name="T11" fmla="*/ 169 h 909"/>
                <a:gd name="T12" fmla="*/ 600 w 1295"/>
                <a:gd name="T13" fmla="*/ 89 h 909"/>
                <a:gd name="T14" fmla="*/ 588 w 1295"/>
                <a:gd name="T15" fmla="*/ 6 h 909"/>
                <a:gd name="T16" fmla="*/ 648 w 1295"/>
                <a:gd name="T17" fmla="*/ 13 h 909"/>
                <a:gd name="T18" fmla="*/ 747 w 1295"/>
                <a:gd name="T19" fmla="*/ 19 h 909"/>
                <a:gd name="T20" fmla="*/ 860 w 1295"/>
                <a:gd name="T21" fmla="*/ 54 h 909"/>
                <a:gd name="T22" fmla="*/ 864 w 1295"/>
                <a:gd name="T23" fmla="*/ 133 h 909"/>
                <a:gd name="T24" fmla="*/ 985 w 1295"/>
                <a:gd name="T25" fmla="*/ 202 h 909"/>
                <a:gd name="T26" fmla="*/ 1115 w 1295"/>
                <a:gd name="T27" fmla="*/ 201 h 909"/>
                <a:gd name="T28" fmla="*/ 1173 w 1295"/>
                <a:gd name="T29" fmla="*/ 139 h 909"/>
                <a:gd name="T30" fmla="*/ 1222 w 1295"/>
                <a:gd name="T31" fmla="*/ 67 h 909"/>
                <a:gd name="T32" fmla="*/ 1291 w 1295"/>
                <a:gd name="T33" fmla="*/ 126 h 909"/>
                <a:gd name="T34" fmla="*/ 1276 w 1295"/>
                <a:gd name="T35" fmla="*/ 181 h 909"/>
                <a:gd name="T36" fmla="*/ 1267 w 1295"/>
                <a:gd name="T37" fmla="*/ 252 h 909"/>
                <a:gd name="T38" fmla="*/ 1261 w 1295"/>
                <a:gd name="T39" fmla="*/ 313 h 909"/>
                <a:gd name="T40" fmla="*/ 1240 w 1295"/>
                <a:gd name="T41" fmla="*/ 361 h 909"/>
                <a:gd name="T42" fmla="*/ 1242 w 1295"/>
                <a:gd name="T43" fmla="*/ 441 h 909"/>
                <a:gd name="T44" fmla="*/ 1278 w 1295"/>
                <a:gd name="T45" fmla="*/ 523 h 909"/>
                <a:gd name="T46" fmla="*/ 1189 w 1295"/>
                <a:gd name="T47" fmla="*/ 528 h 909"/>
                <a:gd name="T48" fmla="*/ 1123 w 1295"/>
                <a:gd name="T49" fmla="*/ 493 h 909"/>
                <a:gd name="T50" fmla="*/ 1109 w 1295"/>
                <a:gd name="T51" fmla="*/ 440 h 909"/>
                <a:gd name="T52" fmla="*/ 1070 w 1295"/>
                <a:gd name="T53" fmla="*/ 460 h 909"/>
                <a:gd name="T54" fmla="*/ 1020 w 1295"/>
                <a:gd name="T55" fmla="*/ 499 h 909"/>
                <a:gd name="T56" fmla="*/ 981 w 1295"/>
                <a:gd name="T57" fmla="*/ 575 h 909"/>
                <a:gd name="T58" fmla="*/ 995 w 1295"/>
                <a:gd name="T59" fmla="*/ 656 h 909"/>
                <a:gd name="T60" fmla="*/ 1058 w 1295"/>
                <a:gd name="T61" fmla="*/ 674 h 909"/>
                <a:gd name="T62" fmla="*/ 1025 w 1295"/>
                <a:gd name="T63" fmla="*/ 729 h 909"/>
                <a:gd name="T64" fmla="*/ 1069 w 1295"/>
                <a:gd name="T65" fmla="*/ 821 h 909"/>
                <a:gd name="T66" fmla="*/ 996 w 1295"/>
                <a:gd name="T67" fmla="*/ 860 h 909"/>
                <a:gd name="T68" fmla="*/ 947 w 1295"/>
                <a:gd name="T69" fmla="*/ 790 h 909"/>
                <a:gd name="T70" fmla="*/ 928 w 1295"/>
                <a:gd name="T71" fmla="*/ 710 h 909"/>
                <a:gd name="T72" fmla="*/ 861 w 1295"/>
                <a:gd name="T73" fmla="*/ 712 h 909"/>
                <a:gd name="T74" fmla="*/ 778 w 1295"/>
                <a:gd name="T75" fmla="*/ 733 h 909"/>
                <a:gd name="T76" fmla="*/ 737 w 1295"/>
                <a:gd name="T77" fmla="*/ 781 h 909"/>
                <a:gd name="T78" fmla="*/ 632 w 1295"/>
                <a:gd name="T79" fmla="*/ 771 h 909"/>
                <a:gd name="T80" fmla="*/ 577 w 1295"/>
                <a:gd name="T81" fmla="*/ 696 h 909"/>
                <a:gd name="T82" fmla="*/ 576 w 1295"/>
                <a:gd name="T83" fmla="*/ 582 h 909"/>
                <a:gd name="T84" fmla="*/ 523 w 1295"/>
                <a:gd name="T85" fmla="*/ 607 h 909"/>
                <a:gd name="T86" fmla="*/ 444 w 1295"/>
                <a:gd name="T87" fmla="*/ 580 h 909"/>
                <a:gd name="T88" fmla="*/ 439 w 1295"/>
                <a:gd name="T89" fmla="*/ 676 h 909"/>
                <a:gd name="T90" fmla="*/ 414 w 1295"/>
                <a:gd name="T91" fmla="*/ 835 h 909"/>
                <a:gd name="T92" fmla="*/ 375 w 1295"/>
                <a:gd name="T93" fmla="*/ 898 h 909"/>
                <a:gd name="T94" fmla="*/ 306 w 1295"/>
                <a:gd name="T95" fmla="*/ 829 h 909"/>
                <a:gd name="T96" fmla="*/ 307 w 1295"/>
                <a:gd name="T97" fmla="*/ 729 h 909"/>
                <a:gd name="T98" fmla="*/ 312 w 1295"/>
                <a:gd name="T99" fmla="*/ 630 h 909"/>
                <a:gd name="T100" fmla="*/ 257 w 1295"/>
                <a:gd name="T101" fmla="*/ 541 h 909"/>
                <a:gd name="T102" fmla="*/ 243 w 1295"/>
                <a:gd name="T103" fmla="*/ 472 h 909"/>
                <a:gd name="T104" fmla="*/ 204 w 1295"/>
                <a:gd name="T105" fmla="*/ 439 h 909"/>
                <a:gd name="T106" fmla="*/ 163 w 1295"/>
                <a:gd name="T107" fmla="*/ 497 h 909"/>
                <a:gd name="T108" fmla="*/ 86 w 1295"/>
                <a:gd name="T109" fmla="*/ 505 h 909"/>
                <a:gd name="T110" fmla="*/ 9 w 1295"/>
                <a:gd name="T111" fmla="*/ 456 h 909"/>
                <a:gd name="T112" fmla="*/ 21 w 1295"/>
                <a:gd name="T113" fmla="*/ 372 h 909"/>
                <a:gd name="T114" fmla="*/ 95 w 1295"/>
                <a:gd name="T115" fmla="*/ 338 h 909"/>
                <a:gd name="T116" fmla="*/ 142 w 1295"/>
                <a:gd name="T117" fmla="*/ 266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95" h="909">
                  <a:moveTo>
                    <a:pt x="155" y="253"/>
                  </a:moveTo>
                  <a:cubicBezTo>
                    <a:pt x="165" y="254"/>
                    <a:pt x="165" y="254"/>
                    <a:pt x="165" y="254"/>
                  </a:cubicBezTo>
                  <a:cubicBezTo>
                    <a:pt x="177" y="256"/>
                    <a:pt x="177" y="256"/>
                    <a:pt x="177" y="256"/>
                  </a:cubicBezTo>
                  <a:cubicBezTo>
                    <a:pt x="181" y="265"/>
                    <a:pt x="181" y="265"/>
                    <a:pt x="181" y="265"/>
                  </a:cubicBezTo>
                  <a:cubicBezTo>
                    <a:pt x="193" y="265"/>
                    <a:pt x="193" y="265"/>
                    <a:pt x="193" y="265"/>
                  </a:cubicBezTo>
                  <a:cubicBezTo>
                    <a:pt x="206" y="260"/>
                    <a:pt x="206" y="260"/>
                    <a:pt x="206" y="260"/>
                  </a:cubicBezTo>
                  <a:cubicBezTo>
                    <a:pt x="216" y="257"/>
                    <a:pt x="216" y="257"/>
                    <a:pt x="216" y="257"/>
                  </a:cubicBezTo>
                  <a:cubicBezTo>
                    <a:pt x="238" y="252"/>
                    <a:pt x="238" y="252"/>
                    <a:pt x="238" y="252"/>
                  </a:cubicBezTo>
                  <a:cubicBezTo>
                    <a:pt x="251" y="248"/>
                    <a:pt x="251" y="248"/>
                    <a:pt x="251" y="248"/>
                  </a:cubicBezTo>
                  <a:cubicBezTo>
                    <a:pt x="259" y="239"/>
                    <a:pt x="259" y="239"/>
                    <a:pt x="259" y="239"/>
                  </a:cubicBezTo>
                  <a:cubicBezTo>
                    <a:pt x="261" y="229"/>
                    <a:pt x="261" y="229"/>
                    <a:pt x="261" y="229"/>
                  </a:cubicBezTo>
                  <a:cubicBezTo>
                    <a:pt x="265" y="214"/>
                    <a:pt x="265" y="214"/>
                    <a:pt x="265" y="214"/>
                  </a:cubicBezTo>
                  <a:cubicBezTo>
                    <a:pt x="265" y="214"/>
                    <a:pt x="271" y="202"/>
                    <a:pt x="271" y="201"/>
                  </a:cubicBezTo>
                  <a:cubicBezTo>
                    <a:pt x="272" y="200"/>
                    <a:pt x="274" y="191"/>
                    <a:pt x="274" y="191"/>
                  </a:cubicBezTo>
                  <a:cubicBezTo>
                    <a:pt x="283" y="186"/>
                    <a:pt x="283" y="186"/>
                    <a:pt x="283" y="186"/>
                  </a:cubicBezTo>
                  <a:cubicBezTo>
                    <a:pt x="292" y="185"/>
                    <a:pt x="292" y="185"/>
                    <a:pt x="292" y="185"/>
                  </a:cubicBezTo>
                  <a:cubicBezTo>
                    <a:pt x="301" y="189"/>
                    <a:pt x="301" y="189"/>
                    <a:pt x="301" y="189"/>
                  </a:cubicBezTo>
                  <a:cubicBezTo>
                    <a:pt x="308" y="200"/>
                    <a:pt x="308" y="200"/>
                    <a:pt x="308" y="200"/>
                  </a:cubicBezTo>
                  <a:cubicBezTo>
                    <a:pt x="312" y="207"/>
                    <a:pt x="312" y="207"/>
                    <a:pt x="312" y="207"/>
                  </a:cubicBezTo>
                  <a:cubicBezTo>
                    <a:pt x="318" y="210"/>
                    <a:pt x="318" y="210"/>
                    <a:pt x="318" y="210"/>
                  </a:cubicBezTo>
                  <a:cubicBezTo>
                    <a:pt x="323" y="206"/>
                    <a:pt x="323" y="206"/>
                    <a:pt x="323" y="206"/>
                  </a:cubicBezTo>
                  <a:cubicBezTo>
                    <a:pt x="332" y="199"/>
                    <a:pt x="332" y="199"/>
                    <a:pt x="332" y="199"/>
                  </a:cubicBezTo>
                  <a:cubicBezTo>
                    <a:pt x="340" y="190"/>
                    <a:pt x="340" y="190"/>
                    <a:pt x="340" y="190"/>
                  </a:cubicBezTo>
                  <a:cubicBezTo>
                    <a:pt x="346" y="184"/>
                    <a:pt x="346" y="184"/>
                    <a:pt x="346" y="184"/>
                  </a:cubicBezTo>
                  <a:cubicBezTo>
                    <a:pt x="354" y="182"/>
                    <a:pt x="354" y="182"/>
                    <a:pt x="354" y="182"/>
                  </a:cubicBezTo>
                  <a:cubicBezTo>
                    <a:pt x="370" y="181"/>
                    <a:pt x="370" y="181"/>
                    <a:pt x="370" y="181"/>
                  </a:cubicBezTo>
                  <a:cubicBezTo>
                    <a:pt x="378" y="183"/>
                    <a:pt x="378" y="183"/>
                    <a:pt x="378" y="183"/>
                  </a:cubicBezTo>
                  <a:cubicBezTo>
                    <a:pt x="381" y="173"/>
                    <a:pt x="381" y="173"/>
                    <a:pt x="381" y="173"/>
                  </a:cubicBezTo>
                  <a:cubicBezTo>
                    <a:pt x="387" y="166"/>
                    <a:pt x="387" y="166"/>
                    <a:pt x="387" y="166"/>
                  </a:cubicBezTo>
                  <a:cubicBezTo>
                    <a:pt x="395" y="156"/>
                    <a:pt x="395" y="156"/>
                    <a:pt x="395" y="156"/>
                  </a:cubicBezTo>
                  <a:cubicBezTo>
                    <a:pt x="404" y="147"/>
                    <a:pt x="404" y="147"/>
                    <a:pt x="404" y="147"/>
                  </a:cubicBezTo>
                  <a:cubicBezTo>
                    <a:pt x="413" y="145"/>
                    <a:pt x="413" y="145"/>
                    <a:pt x="413" y="145"/>
                  </a:cubicBezTo>
                  <a:cubicBezTo>
                    <a:pt x="426" y="158"/>
                    <a:pt x="426" y="158"/>
                    <a:pt x="426" y="158"/>
                  </a:cubicBezTo>
                  <a:cubicBezTo>
                    <a:pt x="429" y="156"/>
                    <a:pt x="429" y="156"/>
                    <a:pt x="429" y="156"/>
                  </a:cubicBezTo>
                  <a:cubicBezTo>
                    <a:pt x="435" y="152"/>
                    <a:pt x="435" y="152"/>
                    <a:pt x="435" y="152"/>
                  </a:cubicBezTo>
                  <a:cubicBezTo>
                    <a:pt x="441" y="151"/>
                    <a:pt x="441" y="151"/>
                    <a:pt x="441" y="151"/>
                  </a:cubicBezTo>
                  <a:cubicBezTo>
                    <a:pt x="449" y="151"/>
                    <a:pt x="449" y="151"/>
                    <a:pt x="449" y="151"/>
                  </a:cubicBezTo>
                  <a:cubicBezTo>
                    <a:pt x="458" y="154"/>
                    <a:pt x="458" y="154"/>
                    <a:pt x="458" y="154"/>
                  </a:cubicBezTo>
                  <a:cubicBezTo>
                    <a:pt x="470" y="157"/>
                    <a:pt x="470" y="157"/>
                    <a:pt x="470" y="157"/>
                  </a:cubicBezTo>
                  <a:cubicBezTo>
                    <a:pt x="488" y="160"/>
                    <a:pt x="488" y="160"/>
                    <a:pt x="488" y="160"/>
                  </a:cubicBezTo>
                  <a:cubicBezTo>
                    <a:pt x="509" y="161"/>
                    <a:pt x="509" y="161"/>
                    <a:pt x="509" y="161"/>
                  </a:cubicBezTo>
                  <a:cubicBezTo>
                    <a:pt x="522" y="164"/>
                    <a:pt x="522" y="164"/>
                    <a:pt x="522" y="164"/>
                  </a:cubicBezTo>
                  <a:cubicBezTo>
                    <a:pt x="532" y="168"/>
                    <a:pt x="532" y="168"/>
                    <a:pt x="532" y="168"/>
                  </a:cubicBezTo>
                  <a:cubicBezTo>
                    <a:pt x="547" y="176"/>
                    <a:pt x="547" y="176"/>
                    <a:pt x="547" y="176"/>
                  </a:cubicBezTo>
                  <a:cubicBezTo>
                    <a:pt x="558" y="182"/>
                    <a:pt x="558" y="182"/>
                    <a:pt x="558" y="182"/>
                  </a:cubicBezTo>
                  <a:cubicBezTo>
                    <a:pt x="561" y="180"/>
                    <a:pt x="561" y="180"/>
                    <a:pt x="561" y="180"/>
                  </a:cubicBezTo>
                  <a:cubicBezTo>
                    <a:pt x="563" y="175"/>
                    <a:pt x="563" y="175"/>
                    <a:pt x="563" y="175"/>
                  </a:cubicBezTo>
                  <a:cubicBezTo>
                    <a:pt x="564" y="169"/>
                    <a:pt x="564" y="169"/>
                    <a:pt x="564" y="169"/>
                  </a:cubicBezTo>
                  <a:cubicBezTo>
                    <a:pt x="562" y="161"/>
                    <a:pt x="562" y="161"/>
                    <a:pt x="562" y="161"/>
                  </a:cubicBezTo>
                  <a:cubicBezTo>
                    <a:pt x="573" y="161"/>
                    <a:pt x="573" y="161"/>
                    <a:pt x="573" y="161"/>
                  </a:cubicBezTo>
                  <a:cubicBezTo>
                    <a:pt x="573" y="154"/>
                    <a:pt x="573" y="154"/>
                    <a:pt x="573" y="154"/>
                  </a:cubicBezTo>
                  <a:cubicBezTo>
                    <a:pt x="570" y="147"/>
                    <a:pt x="570" y="147"/>
                    <a:pt x="570" y="147"/>
                  </a:cubicBezTo>
                  <a:cubicBezTo>
                    <a:pt x="571" y="138"/>
                    <a:pt x="571" y="138"/>
                    <a:pt x="571" y="138"/>
                  </a:cubicBezTo>
                  <a:cubicBezTo>
                    <a:pt x="576" y="124"/>
                    <a:pt x="576" y="124"/>
                    <a:pt x="576" y="124"/>
                  </a:cubicBezTo>
                  <a:cubicBezTo>
                    <a:pt x="588" y="111"/>
                    <a:pt x="588" y="111"/>
                    <a:pt x="588" y="111"/>
                  </a:cubicBezTo>
                  <a:cubicBezTo>
                    <a:pt x="600" y="89"/>
                    <a:pt x="600" y="89"/>
                    <a:pt x="600" y="89"/>
                  </a:cubicBezTo>
                  <a:cubicBezTo>
                    <a:pt x="604" y="81"/>
                    <a:pt x="604" y="81"/>
                    <a:pt x="604" y="81"/>
                  </a:cubicBezTo>
                  <a:cubicBezTo>
                    <a:pt x="611" y="78"/>
                    <a:pt x="611" y="78"/>
                    <a:pt x="611" y="78"/>
                  </a:cubicBezTo>
                  <a:cubicBezTo>
                    <a:pt x="622" y="72"/>
                    <a:pt x="622" y="72"/>
                    <a:pt x="622" y="72"/>
                  </a:cubicBezTo>
                  <a:cubicBezTo>
                    <a:pt x="620" y="69"/>
                    <a:pt x="616" y="66"/>
                    <a:pt x="614" y="63"/>
                  </a:cubicBezTo>
                  <a:cubicBezTo>
                    <a:pt x="612" y="60"/>
                    <a:pt x="610" y="57"/>
                    <a:pt x="609" y="54"/>
                  </a:cubicBezTo>
                  <a:cubicBezTo>
                    <a:pt x="606" y="48"/>
                    <a:pt x="604" y="40"/>
                    <a:pt x="602" y="34"/>
                  </a:cubicBezTo>
                  <a:cubicBezTo>
                    <a:pt x="599" y="28"/>
                    <a:pt x="593" y="21"/>
                    <a:pt x="590" y="15"/>
                  </a:cubicBezTo>
                  <a:cubicBezTo>
                    <a:pt x="589" y="13"/>
                    <a:pt x="589" y="9"/>
                    <a:pt x="588" y="6"/>
                  </a:cubicBezTo>
                  <a:cubicBezTo>
                    <a:pt x="596" y="10"/>
                    <a:pt x="596" y="10"/>
                    <a:pt x="596" y="10"/>
                  </a:cubicBezTo>
                  <a:cubicBezTo>
                    <a:pt x="608" y="10"/>
                    <a:pt x="608" y="10"/>
                    <a:pt x="608" y="10"/>
                  </a:cubicBezTo>
                  <a:cubicBezTo>
                    <a:pt x="612" y="6"/>
                    <a:pt x="612" y="6"/>
                    <a:pt x="612" y="6"/>
                  </a:cubicBezTo>
                  <a:cubicBezTo>
                    <a:pt x="615" y="0"/>
                    <a:pt x="615" y="0"/>
                    <a:pt x="615" y="0"/>
                  </a:cubicBezTo>
                  <a:cubicBezTo>
                    <a:pt x="627" y="0"/>
                    <a:pt x="627" y="0"/>
                    <a:pt x="627" y="0"/>
                  </a:cubicBezTo>
                  <a:cubicBezTo>
                    <a:pt x="636" y="6"/>
                    <a:pt x="636" y="6"/>
                    <a:pt x="636" y="6"/>
                  </a:cubicBezTo>
                  <a:cubicBezTo>
                    <a:pt x="639" y="12"/>
                    <a:pt x="639" y="12"/>
                    <a:pt x="639" y="12"/>
                  </a:cubicBezTo>
                  <a:cubicBezTo>
                    <a:pt x="648" y="13"/>
                    <a:pt x="648" y="13"/>
                    <a:pt x="648" y="13"/>
                  </a:cubicBezTo>
                  <a:cubicBezTo>
                    <a:pt x="659" y="9"/>
                    <a:pt x="659" y="9"/>
                    <a:pt x="659" y="9"/>
                  </a:cubicBezTo>
                  <a:cubicBezTo>
                    <a:pt x="664" y="5"/>
                    <a:pt x="664" y="5"/>
                    <a:pt x="664" y="5"/>
                  </a:cubicBezTo>
                  <a:cubicBezTo>
                    <a:pt x="669" y="3"/>
                    <a:pt x="669" y="3"/>
                    <a:pt x="669" y="3"/>
                  </a:cubicBezTo>
                  <a:cubicBezTo>
                    <a:pt x="681" y="6"/>
                    <a:pt x="681" y="6"/>
                    <a:pt x="681" y="6"/>
                  </a:cubicBezTo>
                  <a:cubicBezTo>
                    <a:pt x="693" y="7"/>
                    <a:pt x="693" y="7"/>
                    <a:pt x="693" y="7"/>
                  </a:cubicBezTo>
                  <a:cubicBezTo>
                    <a:pt x="703" y="3"/>
                    <a:pt x="703" y="3"/>
                    <a:pt x="703" y="3"/>
                  </a:cubicBezTo>
                  <a:cubicBezTo>
                    <a:pt x="729" y="9"/>
                    <a:pt x="729" y="9"/>
                    <a:pt x="729" y="9"/>
                  </a:cubicBezTo>
                  <a:cubicBezTo>
                    <a:pt x="747" y="19"/>
                    <a:pt x="747" y="19"/>
                    <a:pt x="747" y="19"/>
                  </a:cubicBezTo>
                  <a:cubicBezTo>
                    <a:pt x="770" y="23"/>
                    <a:pt x="770" y="23"/>
                    <a:pt x="770" y="23"/>
                  </a:cubicBezTo>
                  <a:cubicBezTo>
                    <a:pt x="787" y="25"/>
                    <a:pt x="787" y="25"/>
                    <a:pt x="787" y="25"/>
                  </a:cubicBezTo>
                  <a:cubicBezTo>
                    <a:pt x="804" y="33"/>
                    <a:pt x="804" y="33"/>
                    <a:pt x="804" y="33"/>
                  </a:cubicBezTo>
                  <a:cubicBezTo>
                    <a:pt x="815" y="44"/>
                    <a:pt x="815" y="44"/>
                    <a:pt x="815" y="44"/>
                  </a:cubicBezTo>
                  <a:cubicBezTo>
                    <a:pt x="827" y="50"/>
                    <a:pt x="827" y="50"/>
                    <a:pt x="827" y="50"/>
                  </a:cubicBezTo>
                  <a:cubicBezTo>
                    <a:pt x="839" y="53"/>
                    <a:pt x="839" y="53"/>
                    <a:pt x="839" y="53"/>
                  </a:cubicBezTo>
                  <a:cubicBezTo>
                    <a:pt x="859" y="44"/>
                    <a:pt x="859" y="44"/>
                    <a:pt x="859" y="44"/>
                  </a:cubicBezTo>
                  <a:cubicBezTo>
                    <a:pt x="860" y="54"/>
                    <a:pt x="860" y="54"/>
                    <a:pt x="860" y="54"/>
                  </a:cubicBezTo>
                  <a:cubicBezTo>
                    <a:pt x="865" y="62"/>
                    <a:pt x="865" y="62"/>
                    <a:pt x="865" y="62"/>
                  </a:cubicBezTo>
                  <a:cubicBezTo>
                    <a:pt x="868" y="73"/>
                    <a:pt x="868" y="73"/>
                    <a:pt x="868" y="73"/>
                  </a:cubicBezTo>
                  <a:cubicBezTo>
                    <a:pt x="862" y="80"/>
                    <a:pt x="862" y="80"/>
                    <a:pt x="862" y="80"/>
                  </a:cubicBezTo>
                  <a:cubicBezTo>
                    <a:pt x="857" y="100"/>
                    <a:pt x="857" y="100"/>
                    <a:pt x="857" y="100"/>
                  </a:cubicBezTo>
                  <a:cubicBezTo>
                    <a:pt x="859" y="108"/>
                    <a:pt x="859" y="108"/>
                    <a:pt x="859" y="108"/>
                  </a:cubicBezTo>
                  <a:cubicBezTo>
                    <a:pt x="860" y="122"/>
                    <a:pt x="860" y="122"/>
                    <a:pt x="860" y="122"/>
                  </a:cubicBezTo>
                  <a:cubicBezTo>
                    <a:pt x="859" y="129"/>
                    <a:pt x="859" y="129"/>
                    <a:pt x="859" y="129"/>
                  </a:cubicBezTo>
                  <a:cubicBezTo>
                    <a:pt x="864" y="133"/>
                    <a:pt x="864" y="133"/>
                    <a:pt x="864" y="133"/>
                  </a:cubicBezTo>
                  <a:cubicBezTo>
                    <a:pt x="877" y="140"/>
                    <a:pt x="877" y="140"/>
                    <a:pt x="877" y="140"/>
                  </a:cubicBezTo>
                  <a:cubicBezTo>
                    <a:pt x="896" y="152"/>
                    <a:pt x="896" y="152"/>
                    <a:pt x="896" y="152"/>
                  </a:cubicBezTo>
                  <a:cubicBezTo>
                    <a:pt x="908" y="159"/>
                    <a:pt x="908" y="159"/>
                    <a:pt x="908" y="159"/>
                  </a:cubicBezTo>
                  <a:cubicBezTo>
                    <a:pt x="931" y="156"/>
                    <a:pt x="931" y="156"/>
                    <a:pt x="931" y="156"/>
                  </a:cubicBezTo>
                  <a:cubicBezTo>
                    <a:pt x="945" y="170"/>
                    <a:pt x="945" y="170"/>
                    <a:pt x="945" y="170"/>
                  </a:cubicBezTo>
                  <a:cubicBezTo>
                    <a:pt x="957" y="172"/>
                    <a:pt x="957" y="172"/>
                    <a:pt x="957" y="172"/>
                  </a:cubicBezTo>
                  <a:cubicBezTo>
                    <a:pt x="976" y="184"/>
                    <a:pt x="976" y="184"/>
                    <a:pt x="976" y="184"/>
                  </a:cubicBezTo>
                  <a:cubicBezTo>
                    <a:pt x="985" y="202"/>
                    <a:pt x="985" y="202"/>
                    <a:pt x="985" y="202"/>
                  </a:cubicBezTo>
                  <a:cubicBezTo>
                    <a:pt x="993" y="211"/>
                    <a:pt x="993" y="211"/>
                    <a:pt x="993" y="211"/>
                  </a:cubicBezTo>
                  <a:cubicBezTo>
                    <a:pt x="1007" y="210"/>
                    <a:pt x="1007" y="210"/>
                    <a:pt x="1007" y="210"/>
                  </a:cubicBezTo>
                  <a:cubicBezTo>
                    <a:pt x="1015" y="223"/>
                    <a:pt x="1015" y="223"/>
                    <a:pt x="1015" y="223"/>
                  </a:cubicBezTo>
                  <a:cubicBezTo>
                    <a:pt x="1051" y="225"/>
                    <a:pt x="1051" y="225"/>
                    <a:pt x="1051" y="225"/>
                  </a:cubicBezTo>
                  <a:cubicBezTo>
                    <a:pt x="1067" y="219"/>
                    <a:pt x="1067" y="219"/>
                    <a:pt x="1067" y="219"/>
                  </a:cubicBezTo>
                  <a:cubicBezTo>
                    <a:pt x="1080" y="206"/>
                    <a:pt x="1080" y="206"/>
                    <a:pt x="1080" y="206"/>
                  </a:cubicBezTo>
                  <a:cubicBezTo>
                    <a:pt x="1092" y="200"/>
                    <a:pt x="1092" y="200"/>
                    <a:pt x="1092" y="200"/>
                  </a:cubicBezTo>
                  <a:cubicBezTo>
                    <a:pt x="1115" y="201"/>
                    <a:pt x="1115" y="201"/>
                    <a:pt x="1115" y="201"/>
                  </a:cubicBezTo>
                  <a:cubicBezTo>
                    <a:pt x="1116" y="167"/>
                    <a:pt x="1116" y="167"/>
                    <a:pt x="1116" y="167"/>
                  </a:cubicBezTo>
                  <a:cubicBezTo>
                    <a:pt x="1121" y="158"/>
                    <a:pt x="1121" y="158"/>
                    <a:pt x="1121" y="158"/>
                  </a:cubicBezTo>
                  <a:cubicBezTo>
                    <a:pt x="1123" y="146"/>
                    <a:pt x="1123" y="146"/>
                    <a:pt x="1123" y="146"/>
                  </a:cubicBezTo>
                  <a:cubicBezTo>
                    <a:pt x="1129" y="139"/>
                    <a:pt x="1129" y="139"/>
                    <a:pt x="1129" y="139"/>
                  </a:cubicBezTo>
                  <a:cubicBezTo>
                    <a:pt x="1137" y="144"/>
                    <a:pt x="1137" y="144"/>
                    <a:pt x="1137" y="144"/>
                  </a:cubicBezTo>
                  <a:cubicBezTo>
                    <a:pt x="1147" y="146"/>
                    <a:pt x="1147" y="146"/>
                    <a:pt x="1147" y="146"/>
                  </a:cubicBezTo>
                  <a:cubicBezTo>
                    <a:pt x="1163" y="146"/>
                    <a:pt x="1163" y="146"/>
                    <a:pt x="1163" y="146"/>
                  </a:cubicBezTo>
                  <a:cubicBezTo>
                    <a:pt x="1173" y="139"/>
                    <a:pt x="1173" y="139"/>
                    <a:pt x="1173" y="139"/>
                  </a:cubicBezTo>
                  <a:cubicBezTo>
                    <a:pt x="1174" y="128"/>
                    <a:pt x="1174" y="128"/>
                    <a:pt x="1174" y="128"/>
                  </a:cubicBezTo>
                  <a:cubicBezTo>
                    <a:pt x="1172" y="119"/>
                    <a:pt x="1172" y="119"/>
                    <a:pt x="1172" y="119"/>
                  </a:cubicBezTo>
                  <a:cubicBezTo>
                    <a:pt x="1178" y="118"/>
                    <a:pt x="1178" y="118"/>
                    <a:pt x="1178" y="118"/>
                  </a:cubicBezTo>
                  <a:cubicBezTo>
                    <a:pt x="1186" y="107"/>
                    <a:pt x="1186" y="107"/>
                    <a:pt x="1186" y="107"/>
                  </a:cubicBezTo>
                  <a:cubicBezTo>
                    <a:pt x="1192" y="92"/>
                    <a:pt x="1192" y="92"/>
                    <a:pt x="1192" y="92"/>
                  </a:cubicBezTo>
                  <a:cubicBezTo>
                    <a:pt x="1194" y="77"/>
                    <a:pt x="1194" y="77"/>
                    <a:pt x="1194" y="77"/>
                  </a:cubicBezTo>
                  <a:cubicBezTo>
                    <a:pt x="1208" y="71"/>
                    <a:pt x="1208" y="71"/>
                    <a:pt x="1208" y="71"/>
                  </a:cubicBezTo>
                  <a:cubicBezTo>
                    <a:pt x="1222" y="67"/>
                    <a:pt x="1222" y="67"/>
                    <a:pt x="1222" y="67"/>
                  </a:cubicBezTo>
                  <a:cubicBezTo>
                    <a:pt x="1228" y="69"/>
                    <a:pt x="1228" y="69"/>
                    <a:pt x="1228" y="69"/>
                  </a:cubicBezTo>
                  <a:cubicBezTo>
                    <a:pt x="1246" y="89"/>
                    <a:pt x="1246" y="89"/>
                    <a:pt x="1246" y="89"/>
                  </a:cubicBezTo>
                  <a:cubicBezTo>
                    <a:pt x="1247" y="102"/>
                    <a:pt x="1247" y="102"/>
                    <a:pt x="1247" y="102"/>
                  </a:cubicBezTo>
                  <a:cubicBezTo>
                    <a:pt x="1248" y="103"/>
                    <a:pt x="1251" y="102"/>
                    <a:pt x="1253" y="103"/>
                  </a:cubicBezTo>
                  <a:cubicBezTo>
                    <a:pt x="1257" y="105"/>
                    <a:pt x="1260" y="111"/>
                    <a:pt x="1264" y="113"/>
                  </a:cubicBezTo>
                  <a:cubicBezTo>
                    <a:pt x="1268" y="114"/>
                    <a:pt x="1274" y="112"/>
                    <a:pt x="1277" y="114"/>
                  </a:cubicBezTo>
                  <a:cubicBezTo>
                    <a:pt x="1280" y="114"/>
                    <a:pt x="1283" y="116"/>
                    <a:pt x="1284" y="118"/>
                  </a:cubicBezTo>
                  <a:cubicBezTo>
                    <a:pt x="1287" y="120"/>
                    <a:pt x="1289" y="123"/>
                    <a:pt x="1291" y="126"/>
                  </a:cubicBezTo>
                  <a:cubicBezTo>
                    <a:pt x="1292" y="128"/>
                    <a:pt x="1292" y="132"/>
                    <a:pt x="1292" y="134"/>
                  </a:cubicBezTo>
                  <a:cubicBezTo>
                    <a:pt x="1293" y="137"/>
                    <a:pt x="1294" y="143"/>
                    <a:pt x="1294" y="143"/>
                  </a:cubicBezTo>
                  <a:cubicBezTo>
                    <a:pt x="1295" y="144"/>
                    <a:pt x="1295" y="144"/>
                    <a:pt x="1295" y="144"/>
                  </a:cubicBezTo>
                  <a:cubicBezTo>
                    <a:pt x="1295" y="144"/>
                    <a:pt x="1294" y="147"/>
                    <a:pt x="1292" y="148"/>
                  </a:cubicBezTo>
                  <a:cubicBezTo>
                    <a:pt x="1291" y="150"/>
                    <a:pt x="1288" y="151"/>
                    <a:pt x="1287" y="153"/>
                  </a:cubicBezTo>
                  <a:cubicBezTo>
                    <a:pt x="1285" y="155"/>
                    <a:pt x="1284" y="159"/>
                    <a:pt x="1283" y="162"/>
                  </a:cubicBezTo>
                  <a:cubicBezTo>
                    <a:pt x="1281" y="164"/>
                    <a:pt x="1280" y="168"/>
                    <a:pt x="1279" y="171"/>
                  </a:cubicBezTo>
                  <a:cubicBezTo>
                    <a:pt x="1278" y="174"/>
                    <a:pt x="1277" y="178"/>
                    <a:pt x="1276" y="181"/>
                  </a:cubicBezTo>
                  <a:cubicBezTo>
                    <a:pt x="1276" y="183"/>
                    <a:pt x="1276" y="186"/>
                    <a:pt x="1276" y="188"/>
                  </a:cubicBezTo>
                  <a:cubicBezTo>
                    <a:pt x="1279" y="196"/>
                    <a:pt x="1279" y="196"/>
                    <a:pt x="1279" y="196"/>
                  </a:cubicBezTo>
                  <a:cubicBezTo>
                    <a:pt x="1278" y="207"/>
                    <a:pt x="1278" y="207"/>
                    <a:pt x="1278" y="207"/>
                  </a:cubicBezTo>
                  <a:cubicBezTo>
                    <a:pt x="1280" y="213"/>
                    <a:pt x="1280" y="213"/>
                    <a:pt x="1280" y="213"/>
                  </a:cubicBezTo>
                  <a:cubicBezTo>
                    <a:pt x="1279" y="220"/>
                    <a:pt x="1279" y="220"/>
                    <a:pt x="1279" y="220"/>
                  </a:cubicBezTo>
                  <a:cubicBezTo>
                    <a:pt x="1276" y="233"/>
                    <a:pt x="1276" y="233"/>
                    <a:pt x="1276" y="233"/>
                  </a:cubicBezTo>
                  <a:cubicBezTo>
                    <a:pt x="1270" y="243"/>
                    <a:pt x="1270" y="243"/>
                    <a:pt x="1270" y="243"/>
                  </a:cubicBezTo>
                  <a:cubicBezTo>
                    <a:pt x="1267" y="252"/>
                    <a:pt x="1267" y="252"/>
                    <a:pt x="1267" y="252"/>
                  </a:cubicBezTo>
                  <a:cubicBezTo>
                    <a:pt x="1267" y="260"/>
                    <a:pt x="1267" y="260"/>
                    <a:pt x="1267" y="260"/>
                  </a:cubicBezTo>
                  <a:cubicBezTo>
                    <a:pt x="1262" y="267"/>
                    <a:pt x="1262" y="267"/>
                    <a:pt x="1262" y="267"/>
                  </a:cubicBezTo>
                  <a:cubicBezTo>
                    <a:pt x="1255" y="272"/>
                    <a:pt x="1255" y="272"/>
                    <a:pt x="1255" y="272"/>
                  </a:cubicBezTo>
                  <a:cubicBezTo>
                    <a:pt x="1249" y="277"/>
                    <a:pt x="1249" y="277"/>
                    <a:pt x="1249" y="277"/>
                  </a:cubicBezTo>
                  <a:cubicBezTo>
                    <a:pt x="1248" y="284"/>
                    <a:pt x="1248" y="284"/>
                    <a:pt x="1248" y="284"/>
                  </a:cubicBezTo>
                  <a:cubicBezTo>
                    <a:pt x="1250" y="295"/>
                    <a:pt x="1250" y="295"/>
                    <a:pt x="1250" y="295"/>
                  </a:cubicBezTo>
                  <a:cubicBezTo>
                    <a:pt x="1255" y="303"/>
                    <a:pt x="1255" y="303"/>
                    <a:pt x="1255" y="303"/>
                  </a:cubicBezTo>
                  <a:cubicBezTo>
                    <a:pt x="1261" y="313"/>
                    <a:pt x="1261" y="313"/>
                    <a:pt x="1261" y="313"/>
                  </a:cubicBezTo>
                  <a:cubicBezTo>
                    <a:pt x="1261" y="317"/>
                    <a:pt x="1261" y="317"/>
                    <a:pt x="1261" y="317"/>
                  </a:cubicBezTo>
                  <a:cubicBezTo>
                    <a:pt x="1251" y="323"/>
                    <a:pt x="1251" y="323"/>
                    <a:pt x="1251" y="323"/>
                  </a:cubicBezTo>
                  <a:cubicBezTo>
                    <a:pt x="1239" y="330"/>
                    <a:pt x="1239" y="330"/>
                    <a:pt x="1239" y="330"/>
                  </a:cubicBezTo>
                  <a:cubicBezTo>
                    <a:pt x="1231" y="337"/>
                    <a:pt x="1231" y="337"/>
                    <a:pt x="1231" y="337"/>
                  </a:cubicBezTo>
                  <a:cubicBezTo>
                    <a:pt x="1229" y="343"/>
                    <a:pt x="1229" y="343"/>
                    <a:pt x="1229" y="343"/>
                  </a:cubicBezTo>
                  <a:cubicBezTo>
                    <a:pt x="1232" y="350"/>
                    <a:pt x="1232" y="350"/>
                    <a:pt x="1232" y="350"/>
                  </a:cubicBezTo>
                  <a:cubicBezTo>
                    <a:pt x="1237" y="354"/>
                    <a:pt x="1237" y="354"/>
                    <a:pt x="1237" y="354"/>
                  </a:cubicBezTo>
                  <a:cubicBezTo>
                    <a:pt x="1240" y="361"/>
                    <a:pt x="1240" y="361"/>
                    <a:pt x="1240" y="361"/>
                  </a:cubicBezTo>
                  <a:cubicBezTo>
                    <a:pt x="1219" y="381"/>
                    <a:pt x="1219" y="381"/>
                    <a:pt x="1219" y="381"/>
                  </a:cubicBezTo>
                  <a:cubicBezTo>
                    <a:pt x="1215" y="386"/>
                    <a:pt x="1215" y="386"/>
                    <a:pt x="1215" y="386"/>
                  </a:cubicBezTo>
                  <a:cubicBezTo>
                    <a:pt x="1216" y="406"/>
                    <a:pt x="1216" y="406"/>
                    <a:pt x="1216" y="406"/>
                  </a:cubicBezTo>
                  <a:cubicBezTo>
                    <a:pt x="1220" y="411"/>
                    <a:pt x="1220" y="411"/>
                    <a:pt x="1220" y="411"/>
                  </a:cubicBezTo>
                  <a:cubicBezTo>
                    <a:pt x="1225" y="429"/>
                    <a:pt x="1225" y="429"/>
                    <a:pt x="1225" y="429"/>
                  </a:cubicBezTo>
                  <a:cubicBezTo>
                    <a:pt x="1228" y="439"/>
                    <a:pt x="1228" y="439"/>
                    <a:pt x="1228" y="439"/>
                  </a:cubicBezTo>
                  <a:cubicBezTo>
                    <a:pt x="1233" y="443"/>
                    <a:pt x="1233" y="443"/>
                    <a:pt x="1233" y="443"/>
                  </a:cubicBezTo>
                  <a:cubicBezTo>
                    <a:pt x="1242" y="441"/>
                    <a:pt x="1242" y="441"/>
                    <a:pt x="1242" y="441"/>
                  </a:cubicBezTo>
                  <a:cubicBezTo>
                    <a:pt x="1257" y="438"/>
                    <a:pt x="1257" y="438"/>
                    <a:pt x="1257" y="438"/>
                  </a:cubicBezTo>
                  <a:cubicBezTo>
                    <a:pt x="1272" y="443"/>
                    <a:pt x="1272" y="443"/>
                    <a:pt x="1272" y="443"/>
                  </a:cubicBezTo>
                  <a:cubicBezTo>
                    <a:pt x="1278" y="451"/>
                    <a:pt x="1278" y="451"/>
                    <a:pt x="1278" y="451"/>
                  </a:cubicBezTo>
                  <a:cubicBezTo>
                    <a:pt x="1289" y="462"/>
                    <a:pt x="1289" y="462"/>
                    <a:pt x="1289" y="462"/>
                  </a:cubicBezTo>
                  <a:cubicBezTo>
                    <a:pt x="1289" y="484"/>
                    <a:pt x="1289" y="484"/>
                    <a:pt x="1289" y="484"/>
                  </a:cubicBezTo>
                  <a:cubicBezTo>
                    <a:pt x="1286" y="501"/>
                    <a:pt x="1286" y="501"/>
                    <a:pt x="1286" y="501"/>
                  </a:cubicBezTo>
                  <a:cubicBezTo>
                    <a:pt x="1281" y="511"/>
                    <a:pt x="1281" y="511"/>
                    <a:pt x="1281" y="511"/>
                  </a:cubicBezTo>
                  <a:cubicBezTo>
                    <a:pt x="1278" y="523"/>
                    <a:pt x="1278" y="523"/>
                    <a:pt x="1278" y="523"/>
                  </a:cubicBezTo>
                  <a:cubicBezTo>
                    <a:pt x="1269" y="535"/>
                    <a:pt x="1269" y="535"/>
                    <a:pt x="1269" y="535"/>
                  </a:cubicBezTo>
                  <a:cubicBezTo>
                    <a:pt x="1261" y="534"/>
                    <a:pt x="1261" y="534"/>
                    <a:pt x="1261" y="534"/>
                  </a:cubicBezTo>
                  <a:cubicBezTo>
                    <a:pt x="1255" y="530"/>
                    <a:pt x="1255" y="530"/>
                    <a:pt x="1255" y="530"/>
                  </a:cubicBezTo>
                  <a:cubicBezTo>
                    <a:pt x="1243" y="527"/>
                    <a:pt x="1243" y="527"/>
                    <a:pt x="1243" y="527"/>
                  </a:cubicBezTo>
                  <a:cubicBezTo>
                    <a:pt x="1227" y="529"/>
                    <a:pt x="1227" y="529"/>
                    <a:pt x="1227" y="529"/>
                  </a:cubicBezTo>
                  <a:cubicBezTo>
                    <a:pt x="1218" y="526"/>
                    <a:pt x="1218" y="526"/>
                    <a:pt x="1218" y="526"/>
                  </a:cubicBezTo>
                  <a:cubicBezTo>
                    <a:pt x="1198" y="525"/>
                    <a:pt x="1198" y="525"/>
                    <a:pt x="1198" y="525"/>
                  </a:cubicBezTo>
                  <a:cubicBezTo>
                    <a:pt x="1189" y="528"/>
                    <a:pt x="1189" y="528"/>
                    <a:pt x="1189" y="528"/>
                  </a:cubicBezTo>
                  <a:cubicBezTo>
                    <a:pt x="1166" y="529"/>
                    <a:pt x="1166" y="529"/>
                    <a:pt x="1166" y="529"/>
                  </a:cubicBezTo>
                  <a:cubicBezTo>
                    <a:pt x="1164" y="523"/>
                    <a:pt x="1164" y="523"/>
                    <a:pt x="1164" y="523"/>
                  </a:cubicBezTo>
                  <a:cubicBezTo>
                    <a:pt x="1160" y="516"/>
                    <a:pt x="1160" y="516"/>
                    <a:pt x="1160" y="516"/>
                  </a:cubicBezTo>
                  <a:cubicBezTo>
                    <a:pt x="1156" y="506"/>
                    <a:pt x="1156" y="506"/>
                    <a:pt x="1156" y="506"/>
                  </a:cubicBezTo>
                  <a:cubicBezTo>
                    <a:pt x="1147" y="501"/>
                    <a:pt x="1147" y="501"/>
                    <a:pt x="1147" y="501"/>
                  </a:cubicBezTo>
                  <a:cubicBezTo>
                    <a:pt x="1133" y="500"/>
                    <a:pt x="1133" y="500"/>
                    <a:pt x="1133" y="500"/>
                  </a:cubicBezTo>
                  <a:cubicBezTo>
                    <a:pt x="1128" y="498"/>
                    <a:pt x="1128" y="498"/>
                    <a:pt x="1128" y="498"/>
                  </a:cubicBezTo>
                  <a:cubicBezTo>
                    <a:pt x="1123" y="493"/>
                    <a:pt x="1123" y="493"/>
                    <a:pt x="1123" y="493"/>
                  </a:cubicBezTo>
                  <a:cubicBezTo>
                    <a:pt x="1123" y="484"/>
                    <a:pt x="1123" y="484"/>
                    <a:pt x="1123" y="484"/>
                  </a:cubicBezTo>
                  <a:cubicBezTo>
                    <a:pt x="1131" y="478"/>
                    <a:pt x="1131" y="478"/>
                    <a:pt x="1131" y="478"/>
                  </a:cubicBezTo>
                  <a:cubicBezTo>
                    <a:pt x="1131" y="467"/>
                    <a:pt x="1131" y="467"/>
                    <a:pt x="1131" y="467"/>
                  </a:cubicBezTo>
                  <a:cubicBezTo>
                    <a:pt x="1129" y="462"/>
                    <a:pt x="1129" y="462"/>
                    <a:pt x="1129" y="462"/>
                  </a:cubicBezTo>
                  <a:cubicBezTo>
                    <a:pt x="1123" y="454"/>
                    <a:pt x="1123" y="454"/>
                    <a:pt x="1123" y="454"/>
                  </a:cubicBezTo>
                  <a:cubicBezTo>
                    <a:pt x="1119" y="445"/>
                    <a:pt x="1119" y="445"/>
                    <a:pt x="1119" y="445"/>
                  </a:cubicBezTo>
                  <a:cubicBezTo>
                    <a:pt x="1118" y="440"/>
                    <a:pt x="1118" y="440"/>
                    <a:pt x="1118" y="440"/>
                  </a:cubicBezTo>
                  <a:cubicBezTo>
                    <a:pt x="1109" y="440"/>
                    <a:pt x="1109" y="440"/>
                    <a:pt x="1109" y="440"/>
                  </a:cubicBezTo>
                  <a:cubicBezTo>
                    <a:pt x="1106" y="446"/>
                    <a:pt x="1106" y="446"/>
                    <a:pt x="1106" y="446"/>
                  </a:cubicBezTo>
                  <a:cubicBezTo>
                    <a:pt x="1106" y="449"/>
                    <a:pt x="1106" y="449"/>
                    <a:pt x="1106" y="449"/>
                  </a:cubicBezTo>
                  <a:cubicBezTo>
                    <a:pt x="1104" y="455"/>
                    <a:pt x="1104" y="455"/>
                    <a:pt x="1104" y="455"/>
                  </a:cubicBezTo>
                  <a:cubicBezTo>
                    <a:pt x="1099" y="455"/>
                    <a:pt x="1099" y="455"/>
                    <a:pt x="1099" y="455"/>
                  </a:cubicBezTo>
                  <a:cubicBezTo>
                    <a:pt x="1091" y="451"/>
                    <a:pt x="1091" y="451"/>
                    <a:pt x="1091" y="451"/>
                  </a:cubicBezTo>
                  <a:cubicBezTo>
                    <a:pt x="1084" y="451"/>
                    <a:pt x="1084" y="451"/>
                    <a:pt x="1084" y="451"/>
                  </a:cubicBezTo>
                  <a:cubicBezTo>
                    <a:pt x="1073" y="454"/>
                    <a:pt x="1073" y="454"/>
                    <a:pt x="1073" y="454"/>
                  </a:cubicBezTo>
                  <a:cubicBezTo>
                    <a:pt x="1070" y="460"/>
                    <a:pt x="1070" y="460"/>
                    <a:pt x="1070" y="460"/>
                  </a:cubicBezTo>
                  <a:cubicBezTo>
                    <a:pt x="1062" y="463"/>
                    <a:pt x="1062" y="463"/>
                    <a:pt x="1062" y="463"/>
                  </a:cubicBezTo>
                  <a:cubicBezTo>
                    <a:pt x="1057" y="468"/>
                    <a:pt x="1057" y="468"/>
                    <a:pt x="1057" y="468"/>
                  </a:cubicBezTo>
                  <a:cubicBezTo>
                    <a:pt x="1045" y="472"/>
                    <a:pt x="1045" y="472"/>
                    <a:pt x="1045" y="472"/>
                  </a:cubicBezTo>
                  <a:cubicBezTo>
                    <a:pt x="1042" y="474"/>
                    <a:pt x="1042" y="474"/>
                    <a:pt x="1042" y="474"/>
                  </a:cubicBezTo>
                  <a:cubicBezTo>
                    <a:pt x="1033" y="472"/>
                    <a:pt x="1033" y="472"/>
                    <a:pt x="1033" y="472"/>
                  </a:cubicBezTo>
                  <a:cubicBezTo>
                    <a:pt x="1023" y="474"/>
                    <a:pt x="1023" y="474"/>
                    <a:pt x="1023" y="474"/>
                  </a:cubicBezTo>
                  <a:cubicBezTo>
                    <a:pt x="1018" y="484"/>
                    <a:pt x="1018" y="484"/>
                    <a:pt x="1018" y="484"/>
                  </a:cubicBezTo>
                  <a:cubicBezTo>
                    <a:pt x="1020" y="499"/>
                    <a:pt x="1020" y="499"/>
                    <a:pt x="1020" y="499"/>
                  </a:cubicBezTo>
                  <a:cubicBezTo>
                    <a:pt x="1011" y="503"/>
                    <a:pt x="1011" y="503"/>
                    <a:pt x="1011" y="503"/>
                  </a:cubicBezTo>
                  <a:cubicBezTo>
                    <a:pt x="1004" y="510"/>
                    <a:pt x="1004" y="510"/>
                    <a:pt x="1004" y="510"/>
                  </a:cubicBezTo>
                  <a:cubicBezTo>
                    <a:pt x="1001" y="519"/>
                    <a:pt x="1001" y="519"/>
                    <a:pt x="1001" y="519"/>
                  </a:cubicBezTo>
                  <a:cubicBezTo>
                    <a:pt x="986" y="535"/>
                    <a:pt x="986" y="535"/>
                    <a:pt x="986" y="535"/>
                  </a:cubicBezTo>
                  <a:cubicBezTo>
                    <a:pt x="984" y="543"/>
                    <a:pt x="984" y="543"/>
                    <a:pt x="984" y="543"/>
                  </a:cubicBezTo>
                  <a:cubicBezTo>
                    <a:pt x="984" y="558"/>
                    <a:pt x="984" y="558"/>
                    <a:pt x="984" y="558"/>
                  </a:cubicBezTo>
                  <a:cubicBezTo>
                    <a:pt x="983" y="570"/>
                    <a:pt x="983" y="570"/>
                    <a:pt x="983" y="570"/>
                  </a:cubicBezTo>
                  <a:cubicBezTo>
                    <a:pt x="981" y="575"/>
                    <a:pt x="981" y="575"/>
                    <a:pt x="981" y="575"/>
                  </a:cubicBezTo>
                  <a:cubicBezTo>
                    <a:pt x="975" y="586"/>
                    <a:pt x="975" y="586"/>
                    <a:pt x="975" y="586"/>
                  </a:cubicBezTo>
                  <a:cubicBezTo>
                    <a:pt x="977" y="604"/>
                    <a:pt x="977" y="604"/>
                    <a:pt x="977" y="604"/>
                  </a:cubicBezTo>
                  <a:cubicBezTo>
                    <a:pt x="980" y="612"/>
                    <a:pt x="980" y="612"/>
                    <a:pt x="980" y="612"/>
                  </a:cubicBezTo>
                  <a:cubicBezTo>
                    <a:pt x="977" y="619"/>
                    <a:pt x="977" y="619"/>
                    <a:pt x="977" y="619"/>
                  </a:cubicBezTo>
                  <a:cubicBezTo>
                    <a:pt x="976" y="633"/>
                    <a:pt x="976" y="633"/>
                    <a:pt x="976" y="633"/>
                  </a:cubicBezTo>
                  <a:cubicBezTo>
                    <a:pt x="983" y="643"/>
                    <a:pt x="983" y="643"/>
                    <a:pt x="983" y="643"/>
                  </a:cubicBezTo>
                  <a:cubicBezTo>
                    <a:pt x="989" y="654"/>
                    <a:pt x="989" y="654"/>
                    <a:pt x="989" y="654"/>
                  </a:cubicBezTo>
                  <a:cubicBezTo>
                    <a:pt x="995" y="656"/>
                    <a:pt x="995" y="656"/>
                    <a:pt x="995" y="656"/>
                  </a:cubicBezTo>
                  <a:cubicBezTo>
                    <a:pt x="1004" y="660"/>
                    <a:pt x="1004" y="660"/>
                    <a:pt x="1004" y="660"/>
                  </a:cubicBezTo>
                  <a:cubicBezTo>
                    <a:pt x="1011" y="659"/>
                    <a:pt x="1011" y="659"/>
                    <a:pt x="1011" y="659"/>
                  </a:cubicBezTo>
                  <a:cubicBezTo>
                    <a:pt x="1024" y="658"/>
                    <a:pt x="1024" y="658"/>
                    <a:pt x="1024" y="658"/>
                  </a:cubicBezTo>
                  <a:cubicBezTo>
                    <a:pt x="1024" y="658"/>
                    <a:pt x="1030" y="657"/>
                    <a:pt x="1033" y="655"/>
                  </a:cubicBezTo>
                  <a:cubicBezTo>
                    <a:pt x="1036" y="654"/>
                    <a:pt x="1044" y="651"/>
                    <a:pt x="1044" y="651"/>
                  </a:cubicBezTo>
                  <a:cubicBezTo>
                    <a:pt x="1046" y="657"/>
                    <a:pt x="1046" y="657"/>
                    <a:pt x="1046" y="657"/>
                  </a:cubicBezTo>
                  <a:cubicBezTo>
                    <a:pt x="1050" y="664"/>
                    <a:pt x="1050" y="664"/>
                    <a:pt x="1050" y="664"/>
                  </a:cubicBezTo>
                  <a:cubicBezTo>
                    <a:pt x="1058" y="674"/>
                    <a:pt x="1058" y="674"/>
                    <a:pt x="1058" y="674"/>
                  </a:cubicBezTo>
                  <a:cubicBezTo>
                    <a:pt x="1061" y="681"/>
                    <a:pt x="1061" y="681"/>
                    <a:pt x="1061" y="681"/>
                  </a:cubicBezTo>
                  <a:cubicBezTo>
                    <a:pt x="1059" y="685"/>
                    <a:pt x="1059" y="685"/>
                    <a:pt x="1059" y="685"/>
                  </a:cubicBezTo>
                  <a:cubicBezTo>
                    <a:pt x="1046" y="694"/>
                    <a:pt x="1046" y="694"/>
                    <a:pt x="1046" y="694"/>
                  </a:cubicBezTo>
                  <a:cubicBezTo>
                    <a:pt x="1037" y="698"/>
                    <a:pt x="1037" y="698"/>
                    <a:pt x="1037" y="698"/>
                  </a:cubicBezTo>
                  <a:cubicBezTo>
                    <a:pt x="1032" y="703"/>
                    <a:pt x="1032" y="703"/>
                    <a:pt x="1032" y="703"/>
                  </a:cubicBezTo>
                  <a:cubicBezTo>
                    <a:pt x="1031" y="705"/>
                    <a:pt x="1031" y="705"/>
                    <a:pt x="1031" y="705"/>
                  </a:cubicBezTo>
                  <a:cubicBezTo>
                    <a:pt x="1029" y="717"/>
                    <a:pt x="1029" y="717"/>
                    <a:pt x="1029" y="717"/>
                  </a:cubicBezTo>
                  <a:cubicBezTo>
                    <a:pt x="1025" y="729"/>
                    <a:pt x="1025" y="729"/>
                    <a:pt x="1025" y="729"/>
                  </a:cubicBezTo>
                  <a:cubicBezTo>
                    <a:pt x="1021" y="742"/>
                    <a:pt x="1021" y="742"/>
                    <a:pt x="1021" y="742"/>
                  </a:cubicBezTo>
                  <a:cubicBezTo>
                    <a:pt x="1023" y="753"/>
                    <a:pt x="1023" y="753"/>
                    <a:pt x="1023" y="753"/>
                  </a:cubicBezTo>
                  <a:cubicBezTo>
                    <a:pt x="1030" y="767"/>
                    <a:pt x="1030" y="767"/>
                    <a:pt x="1030" y="767"/>
                  </a:cubicBezTo>
                  <a:cubicBezTo>
                    <a:pt x="1039" y="779"/>
                    <a:pt x="1039" y="779"/>
                    <a:pt x="1039" y="779"/>
                  </a:cubicBezTo>
                  <a:cubicBezTo>
                    <a:pt x="1047" y="786"/>
                    <a:pt x="1047" y="786"/>
                    <a:pt x="1047" y="786"/>
                  </a:cubicBezTo>
                  <a:cubicBezTo>
                    <a:pt x="1057" y="798"/>
                    <a:pt x="1057" y="798"/>
                    <a:pt x="1057" y="798"/>
                  </a:cubicBezTo>
                  <a:cubicBezTo>
                    <a:pt x="1063" y="809"/>
                    <a:pt x="1063" y="809"/>
                    <a:pt x="1063" y="809"/>
                  </a:cubicBezTo>
                  <a:cubicBezTo>
                    <a:pt x="1069" y="821"/>
                    <a:pt x="1069" y="821"/>
                    <a:pt x="1069" y="821"/>
                  </a:cubicBezTo>
                  <a:cubicBezTo>
                    <a:pt x="1058" y="833"/>
                    <a:pt x="1058" y="833"/>
                    <a:pt x="1058" y="833"/>
                  </a:cubicBezTo>
                  <a:cubicBezTo>
                    <a:pt x="1044" y="851"/>
                    <a:pt x="1044" y="851"/>
                    <a:pt x="1044" y="851"/>
                  </a:cubicBezTo>
                  <a:cubicBezTo>
                    <a:pt x="1038" y="852"/>
                    <a:pt x="1038" y="852"/>
                    <a:pt x="1038" y="852"/>
                  </a:cubicBezTo>
                  <a:cubicBezTo>
                    <a:pt x="1027" y="852"/>
                    <a:pt x="1027" y="852"/>
                    <a:pt x="1027" y="852"/>
                  </a:cubicBezTo>
                  <a:cubicBezTo>
                    <a:pt x="1015" y="848"/>
                    <a:pt x="1015" y="848"/>
                    <a:pt x="1015" y="848"/>
                  </a:cubicBezTo>
                  <a:cubicBezTo>
                    <a:pt x="1004" y="849"/>
                    <a:pt x="1004" y="849"/>
                    <a:pt x="1004" y="849"/>
                  </a:cubicBezTo>
                  <a:cubicBezTo>
                    <a:pt x="999" y="856"/>
                    <a:pt x="999" y="856"/>
                    <a:pt x="999" y="856"/>
                  </a:cubicBezTo>
                  <a:cubicBezTo>
                    <a:pt x="996" y="860"/>
                    <a:pt x="996" y="860"/>
                    <a:pt x="996" y="860"/>
                  </a:cubicBezTo>
                  <a:cubicBezTo>
                    <a:pt x="992" y="856"/>
                    <a:pt x="992" y="856"/>
                    <a:pt x="992" y="856"/>
                  </a:cubicBezTo>
                  <a:cubicBezTo>
                    <a:pt x="985" y="851"/>
                    <a:pt x="985" y="851"/>
                    <a:pt x="985" y="851"/>
                  </a:cubicBezTo>
                  <a:cubicBezTo>
                    <a:pt x="986" y="839"/>
                    <a:pt x="986" y="839"/>
                    <a:pt x="986" y="839"/>
                  </a:cubicBezTo>
                  <a:cubicBezTo>
                    <a:pt x="988" y="822"/>
                    <a:pt x="988" y="822"/>
                    <a:pt x="988" y="822"/>
                  </a:cubicBezTo>
                  <a:cubicBezTo>
                    <a:pt x="984" y="810"/>
                    <a:pt x="984" y="810"/>
                    <a:pt x="984" y="810"/>
                  </a:cubicBezTo>
                  <a:cubicBezTo>
                    <a:pt x="970" y="800"/>
                    <a:pt x="970" y="800"/>
                    <a:pt x="970" y="800"/>
                  </a:cubicBezTo>
                  <a:cubicBezTo>
                    <a:pt x="952" y="793"/>
                    <a:pt x="952" y="793"/>
                    <a:pt x="952" y="793"/>
                  </a:cubicBezTo>
                  <a:cubicBezTo>
                    <a:pt x="947" y="790"/>
                    <a:pt x="947" y="790"/>
                    <a:pt x="947" y="790"/>
                  </a:cubicBezTo>
                  <a:cubicBezTo>
                    <a:pt x="948" y="776"/>
                    <a:pt x="948" y="776"/>
                    <a:pt x="948" y="776"/>
                  </a:cubicBezTo>
                  <a:cubicBezTo>
                    <a:pt x="948" y="766"/>
                    <a:pt x="948" y="766"/>
                    <a:pt x="948" y="766"/>
                  </a:cubicBezTo>
                  <a:cubicBezTo>
                    <a:pt x="944" y="760"/>
                    <a:pt x="944" y="760"/>
                    <a:pt x="944" y="760"/>
                  </a:cubicBezTo>
                  <a:cubicBezTo>
                    <a:pt x="943" y="747"/>
                    <a:pt x="943" y="747"/>
                    <a:pt x="943" y="747"/>
                  </a:cubicBezTo>
                  <a:cubicBezTo>
                    <a:pt x="948" y="745"/>
                    <a:pt x="948" y="745"/>
                    <a:pt x="948" y="745"/>
                  </a:cubicBezTo>
                  <a:cubicBezTo>
                    <a:pt x="946" y="730"/>
                    <a:pt x="946" y="730"/>
                    <a:pt x="946" y="730"/>
                  </a:cubicBezTo>
                  <a:cubicBezTo>
                    <a:pt x="934" y="719"/>
                    <a:pt x="934" y="719"/>
                    <a:pt x="934" y="719"/>
                  </a:cubicBezTo>
                  <a:cubicBezTo>
                    <a:pt x="928" y="710"/>
                    <a:pt x="928" y="710"/>
                    <a:pt x="928" y="710"/>
                  </a:cubicBezTo>
                  <a:cubicBezTo>
                    <a:pt x="922" y="701"/>
                    <a:pt x="922" y="701"/>
                    <a:pt x="922" y="701"/>
                  </a:cubicBezTo>
                  <a:cubicBezTo>
                    <a:pt x="915" y="695"/>
                    <a:pt x="915" y="695"/>
                    <a:pt x="915" y="695"/>
                  </a:cubicBezTo>
                  <a:cubicBezTo>
                    <a:pt x="907" y="699"/>
                    <a:pt x="907" y="699"/>
                    <a:pt x="907" y="699"/>
                  </a:cubicBezTo>
                  <a:cubicBezTo>
                    <a:pt x="899" y="704"/>
                    <a:pt x="899" y="704"/>
                    <a:pt x="899" y="704"/>
                  </a:cubicBezTo>
                  <a:cubicBezTo>
                    <a:pt x="887" y="701"/>
                    <a:pt x="887" y="701"/>
                    <a:pt x="887" y="701"/>
                  </a:cubicBezTo>
                  <a:cubicBezTo>
                    <a:pt x="877" y="704"/>
                    <a:pt x="877" y="704"/>
                    <a:pt x="877" y="704"/>
                  </a:cubicBezTo>
                  <a:cubicBezTo>
                    <a:pt x="867" y="709"/>
                    <a:pt x="867" y="709"/>
                    <a:pt x="867" y="709"/>
                  </a:cubicBezTo>
                  <a:cubicBezTo>
                    <a:pt x="861" y="712"/>
                    <a:pt x="861" y="712"/>
                    <a:pt x="861" y="712"/>
                  </a:cubicBezTo>
                  <a:cubicBezTo>
                    <a:pt x="853" y="715"/>
                    <a:pt x="853" y="715"/>
                    <a:pt x="853" y="715"/>
                  </a:cubicBezTo>
                  <a:cubicBezTo>
                    <a:pt x="833" y="715"/>
                    <a:pt x="833" y="715"/>
                    <a:pt x="833" y="715"/>
                  </a:cubicBezTo>
                  <a:cubicBezTo>
                    <a:pt x="820" y="719"/>
                    <a:pt x="820" y="719"/>
                    <a:pt x="820" y="719"/>
                  </a:cubicBezTo>
                  <a:cubicBezTo>
                    <a:pt x="815" y="729"/>
                    <a:pt x="815" y="729"/>
                    <a:pt x="815" y="729"/>
                  </a:cubicBezTo>
                  <a:cubicBezTo>
                    <a:pt x="807" y="735"/>
                    <a:pt x="807" y="735"/>
                    <a:pt x="807" y="735"/>
                  </a:cubicBezTo>
                  <a:cubicBezTo>
                    <a:pt x="800" y="739"/>
                    <a:pt x="800" y="739"/>
                    <a:pt x="800" y="739"/>
                  </a:cubicBezTo>
                  <a:cubicBezTo>
                    <a:pt x="792" y="741"/>
                    <a:pt x="792" y="741"/>
                    <a:pt x="792" y="741"/>
                  </a:cubicBezTo>
                  <a:cubicBezTo>
                    <a:pt x="778" y="733"/>
                    <a:pt x="778" y="733"/>
                    <a:pt x="778" y="733"/>
                  </a:cubicBezTo>
                  <a:cubicBezTo>
                    <a:pt x="767" y="727"/>
                    <a:pt x="767" y="727"/>
                    <a:pt x="767" y="727"/>
                  </a:cubicBezTo>
                  <a:cubicBezTo>
                    <a:pt x="756" y="733"/>
                    <a:pt x="756" y="733"/>
                    <a:pt x="756" y="733"/>
                  </a:cubicBezTo>
                  <a:cubicBezTo>
                    <a:pt x="752" y="741"/>
                    <a:pt x="752" y="741"/>
                    <a:pt x="752" y="741"/>
                  </a:cubicBezTo>
                  <a:cubicBezTo>
                    <a:pt x="750" y="759"/>
                    <a:pt x="750" y="759"/>
                    <a:pt x="750" y="759"/>
                  </a:cubicBezTo>
                  <a:cubicBezTo>
                    <a:pt x="751" y="769"/>
                    <a:pt x="751" y="769"/>
                    <a:pt x="751" y="769"/>
                  </a:cubicBezTo>
                  <a:cubicBezTo>
                    <a:pt x="748" y="779"/>
                    <a:pt x="748" y="779"/>
                    <a:pt x="748" y="779"/>
                  </a:cubicBezTo>
                  <a:cubicBezTo>
                    <a:pt x="742" y="783"/>
                    <a:pt x="742" y="783"/>
                    <a:pt x="742" y="783"/>
                  </a:cubicBezTo>
                  <a:cubicBezTo>
                    <a:pt x="737" y="781"/>
                    <a:pt x="737" y="781"/>
                    <a:pt x="737" y="781"/>
                  </a:cubicBezTo>
                  <a:cubicBezTo>
                    <a:pt x="724" y="779"/>
                    <a:pt x="724" y="779"/>
                    <a:pt x="724" y="779"/>
                  </a:cubicBezTo>
                  <a:cubicBezTo>
                    <a:pt x="710" y="784"/>
                    <a:pt x="710" y="784"/>
                    <a:pt x="710" y="784"/>
                  </a:cubicBezTo>
                  <a:cubicBezTo>
                    <a:pt x="695" y="788"/>
                    <a:pt x="695" y="788"/>
                    <a:pt x="695" y="788"/>
                  </a:cubicBezTo>
                  <a:cubicBezTo>
                    <a:pt x="685" y="790"/>
                    <a:pt x="685" y="790"/>
                    <a:pt x="685" y="790"/>
                  </a:cubicBezTo>
                  <a:cubicBezTo>
                    <a:pt x="677" y="787"/>
                    <a:pt x="677" y="787"/>
                    <a:pt x="677" y="787"/>
                  </a:cubicBezTo>
                  <a:cubicBezTo>
                    <a:pt x="662" y="786"/>
                    <a:pt x="662" y="786"/>
                    <a:pt x="662" y="786"/>
                  </a:cubicBezTo>
                  <a:cubicBezTo>
                    <a:pt x="651" y="780"/>
                    <a:pt x="651" y="780"/>
                    <a:pt x="651" y="780"/>
                  </a:cubicBezTo>
                  <a:cubicBezTo>
                    <a:pt x="632" y="771"/>
                    <a:pt x="632" y="771"/>
                    <a:pt x="632" y="771"/>
                  </a:cubicBezTo>
                  <a:cubicBezTo>
                    <a:pt x="622" y="761"/>
                    <a:pt x="622" y="761"/>
                    <a:pt x="622" y="761"/>
                  </a:cubicBezTo>
                  <a:cubicBezTo>
                    <a:pt x="613" y="749"/>
                    <a:pt x="613" y="749"/>
                    <a:pt x="613" y="749"/>
                  </a:cubicBezTo>
                  <a:cubicBezTo>
                    <a:pt x="610" y="740"/>
                    <a:pt x="610" y="740"/>
                    <a:pt x="610" y="740"/>
                  </a:cubicBezTo>
                  <a:cubicBezTo>
                    <a:pt x="605" y="725"/>
                    <a:pt x="605" y="725"/>
                    <a:pt x="605" y="725"/>
                  </a:cubicBezTo>
                  <a:cubicBezTo>
                    <a:pt x="596" y="719"/>
                    <a:pt x="596" y="719"/>
                    <a:pt x="596" y="719"/>
                  </a:cubicBezTo>
                  <a:cubicBezTo>
                    <a:pt x="585" y="711"/>
                    <a:pt x="585" y="711"/>
                    <a:pt x="585" y="711"/>
                  </a:cubicBezTo>
                  <a:cubicBezTo>
                    <a:pt x="574" y="705"/>
                    <a:pt x="574" y="705"/>
                    <a:pt x="574" y="705"/>
                  </a:cubicBezTo>
                  <a:cubicBezTo>
                    <a:pt x="577" y="696"/>
                    <a:pt x="577" y="696"/>
                    <a:pt x="577" y="696"/>
                  </a:cubicBezTo>
                  <a:cubicBezTo>
                    <a:pt x="578" y="680"/>
                    <a:pt x="578" y="680"/>
                    <a:pt x="578" y="680"/>
                  </a:cubicBezTo>
                  <a:cubicBezTo>
                    <a:pt x="570" y="662"/>
                    <a:pt x="570" y="662"/>
                    <a:pt x="570" y="662"/>
                  </a:cubicBezTo>
                  <a:cubicBezTo>
                    <a:pt x="566" y="651"/>
                    <a:pt x="566" y="651"/>
                    <a:pt x="566" y="651"/>
                  </a:cubicBezTo>
                  <a:cubicBezTo>
                    <a:pt x="566" y="636"/>
                    <a:pt x="566" y="636"/>
                    <a:pt x="566" y="636"/>
                  </a:cubicBezTo>
                  <a:cubicBezTo>
                    <a:pt x="568" y="626"/>
                    <a:pt x="568" y="626"/>
                    <a:pt x="568" y="626"/>
                  </a:cubicBezTo>
                  <a:cubicBezTo>
                    <a:pt x="573" y="612"/>
                    <a:pt x="573" y="612"/>
                    <a:pt x="573" y="612"/>
                  </a:cubicBezTo>
                  <a:cubicBezTo>
                    <a:pt x="576" y="593"/>
                    <a:pt x="576" y="593"/>
                    <a:pt x="576" y="593"/>
                  </a:cubicBezTo>
                  <a:cubicBezTo>
                    <a:pt x="576" y="582"/>
                    <a:pt x="576" y="582"/>
                    <a:pt x="576" y="582"/>
                  </a:cubicBezTo>
                  <a:cubicBezTo>
                    <a:pt x="570" y="574"/>
                    <a:pt x="570" y="574"/>
                    <a:pt x="570" y="574"/>
                  </a:cubicBezTo>
                  <a:cubicBezTo>
                    <a:pt x="554" y="573"/>
                    <a:pt x="554" y="573"/>
                    <a:pt x="554" y="573"/>
                  </a:cubicBezTo>
                  <a:cubicBezTo>
                    <a:pt x="549" y="577"/>
                    <a:pt x="549" y="577"/>
                    <a:pt x="549" y="577"/>
                  </a:cubicBezTo>
                  <a:cubicBezTo>
                    <a:pt x="540" y="587"/>
                    <a:pt x="540" y="587"/>
                    <a:pt x="540" y="587"/>
                  </a:cubicBezTo>
                  <a:cubicBezTo>
                    <a:pt x="539" y="598"/>
                    <a:pt x="539" y="598"/>
                    <a:pt x="539" y="598"/>
                  </a:cubicBezTo>
                  <a:cubicBezTo>
                    <a:pt x="533" y="606"/>
                    <a:pt x="533" y="606"/>
                    <a:pt x="533" y="606"/>
                  </a:cubicBezTo>
                  <a:cubicBezTo>
                    <a:pt x="532" y="609"/>
                    <a:pt x="532" y="609"/>
                    <a:pt x="532" y="609"/>
                  </a:cubicBezTo>
                  <a:cubicBezTo>
                    <a:pt x="523" y="607"/>
                    <a:pt x="523" y="607"/>
                    <a:pt x="523" y="607"/>
                  </a:cubicBezTo>
                  <a:cubicBezTo>
                    <a:pt x="518" y="601"/>
                    <a:pt x="518" y="601"/>
                    <a:pt x="518" y="601"/>
                  </a:cubicBezTo>
                  <a:cubicBezTo>
                    <a:pt x="506" y="591"/>
                    <a:pt x="506" y="591"/>
                    <a:pt x="506" y="591"/>
                  </a:cubicBezTo>
                  <a:cubicBezTo>
                    <a:pt x="506" y="582"/>
                    <a:pt x="506" y="582"/>
                    <a:pt x="506" y="582"/>
                  </a:cubicBezTo>
                  <a:cubicBezTo>
                    <a:pt x="505" y="573"/>
                    <a:pt x="505" y="573"/>
                    <a:pt x="505" y="573"/>
                  </a:cubicBezTo>
                  <a:cubicBezTo>
                    <a:pt x="494" y="569"/>
                    <a:pt x="494" y="569"/>
                    <a:pt x="494" y="569"/>
                  </a:cubicBezTo>
                  <a:cubicBezTo>
                    <a:pt x="475" y="571"/>
                    <a:pt x="475" y="571"/>
                    <a:pt x="475" y="571"/>
                  </a:cubicBezTo>
                  <a:cubicBezTo>
                    <a:pt x="459" y="574"/>
                    <a:pt x="459" y="574"/>
                    <a:pt x="459" y="574"/>
                  </a:cubicBezTo>
                  <a:cubicBezTo>
                    <a:pt x="444" y="580"/>
                    <a:pt x="444" y="580"/>
                    <a:pt x="444" y="580"/>
                  </a:cubicBezTo>
                  <a:cubicBezTo>
                    <a:pt x="434" y="591"/>
                    <a:pt x="434" y="591"/>
                    <a:pt x="434" y="591"/>
                  </a:cubicBezTo>
                  <a:cubicBezTo>
                    <a:pt x="434" y="602"/>
                    <a:pt x="434" y="602"/>
                    <a:pt x="434" y="602"/>
                  </a:cubicBezTo>
                  <a:cubicBezTo>
                    <a:pt x="436" y="619"/>
                    <a:pt x="436" y="619"/>
                    <a:pt x="436" y="619"/>
                  </a:cubicBezTo>
                  <a:cubicBezTo>
                    <a:pt x="433" y="626"/>
                    <a:pt x="433" y="626"/>
                    <a:pt x="433" y="626"/>
                  </a:cubicBezTo>
                  <a:cubicBezTo>
                    <a:pt x="422" y="633"/>
                    <a:pt x="422" y="633"/>
                    <a:pt x="422" y="633"/>
                  </a:cubicBezTo>
                  <a:cubicBezTo>
                    <a:pt x="415" y="640"/>
                    <a:pt x="415" y="640"/>
                    <a:pt x="415" y="640"/>
                  </a:cubicBezTo>
                  <a:cubicBezTo>
                    <a:pt x="416" y="655"/>
                    <a:pt x="416" y="655"/>
                    <a:pt x="416" y="655"/>
                  </a:cubicBezTo>
                  <a:cubicBezTo>
                    <a:pt x="439" y="676"/>
                    <a:pt x="439" y="676"/>
                    <a:pt x="439" y="676"/>
                  </a:cubicBezTo>
                  <a:cubicBezTo>
                    <a:pt x="439" y="705"/>
                    <a:pt x="439" y="705"/>
                    <a:pt x="439" y="705"/>
                  </a:cubicBezTo>
                  <a:cubicBezTo>
                    <a:pt x="441" y="723"/>
                    <a:pt x="441" y="723"/>
                    <a:pt x="441" y="723"/>
                  </a:cubicBezTo>
                  <a:cubicBezTo>
                    <a:pt x="447" y="734"/>
                    <a:pt x="447" y="734"/>
                    <a:pt x="447" y="734"/>
                  </a:cubicBezTo>
                  <a:cubicBezTo>
                    <a:pt x="449" y="755"/>
                    <a:pt x="449" y="755"/>
                    <a:pt x="449" y="755"/>
                  </a:cubicBezTo>
                  <a:cubicBezTo>
                    <a:pt x="440" y="771"/>
                    <a:pt x="440" y="771"/>
                    <a:pt x="440" y="771"/>
                  </a:cubicBezTo>
                  <a:cubicBezTo>
                    <a:pt x="428" y="797"/>
                    <a:pt x="428" y="797"/>
                    <a:pt x="428" y="797"/>
                  </a:cubicBezTo>
                  <a:cubicBezTo>
                    <a:pt x="415" y="812"/>
                    <a:pt x="415" y="812"/>
                    <a:pt x="415" y="812"/>
                  </a:cubicBezTo>
                  <a:cubicBezTo>
                    <a:pt x="414" y="835"/>
                    <a:pt x="414" y="835"/>
                    <a:pt x="414" y="835"/>
                  </a:cubicBezTo>
                  <a:cubicBezTo>
                    <a:pt x="413" y="842"/>
                    <a:pt x="413" y="842"/>
                    <a:pt x="413" y="842"/>
                  </a:cubicBezTo>
                  <a:cubicBezTo>
                    <a:pt x="406" y="846"/>
                    <a:pt x="406" y="846"/>
                    <a:pt x="406" y="846"/>
                  </a:cubicBezTo>
                  <a:cubicBezTo>
                    <a:pt x="396" y="854"/>
                    <a:pt x="396" y="854"/>
                    <a:pt x="396" y="854"/>
                  </a:cubicBezTo>
                  <a:cubicBezTo>
                    <a:pt x="395" y="861"/>
                    <a:pt x="395" y="861"/>
                    <a:pt x="395" y="861"/>
                  </a:cubicBezTo>
                  <a:cubicBezTo>
                    <a:pt x="389" y="870"/>
                    <a:pt x="389" y="870"/>
                    <a:pt x="389" y="870"/>
                  </a:cubicBezTo>
                  <a:cubicBezTo>
                    <a:pt x="384" y="874"/>
                    <a:pt x="384" y="874"/>
                    <a:pt x="384" y="874"/>
                  </a:cubicBezTo>
                  <a:cubicBezTo>
                    <a:pt x="377" y="887"/>
                    <a:pt x="377" y="887"/>
                    <a:pt x="377" y="887"/>
                  </a:cubicBezTo>
                  <a:cubicBezTo>
                    <a:pt x="375" y="898"/>
                    <a:pt x="375" y="898"/>
                    <a:pt x="375" y="898"/>
                  </a:cubicBezTo>
                  <a:cubicBezTo>
                    <a:pt x="374" y="907"/>
                    <a:pt x="374" y="907"/>
                    <a:pt x="374" y="907"/>
                  </a:cubicBezTo>
                  <a:cubicBezTo>
                    <a:pt x="358" y="909"/>
                    <a:pt x="358" y="909"/>
                    <a:pt x="358" y="909"/>
                  </a:cubicBezTo>
                  <a:cubicBezTo>
                    <a:pt x="346" y="898"/>
                    <a:pt x="346" y="898"/>
                    <a:pt x="346" y="898"/>
                  </a:cubicBezTo>
                  <a:cubicBezTo>
                    <a:pt x="333" y="879"/>
                    <a:pt x="333" y="879"/>
                    <a:pt x="333" y="879"/>
                  </a:cubicBezTo>
                  <a:cubicBezTo>
                    <a:pt x="322" y="869"/>
                    <a:pt x="322" y="869"/>
                    <a:pt x="322" y="869"/>
                  </a:cubicBezTo>
                  <a:cubicBezTo>
                    <a:pt x="306" y="857"/>
                    <a:pt x="306" y="857"/>
                    <a:pt x="306" y="857"/>
                  </a:cubicBezTo>
                  <a:cubicBezTo>
                    <a:pt x="304" y="845"/>
                    <a:pt x="304" y="845"/>
                    <a:pt x="304" y="845"/>
                  </a:cubicBezTo>
                  <a:cubicBezTo>
                    <a:pt x="306" y="829"/>
                    <a:pt x="306" y="829"/>
                    <a:pt x="306" y="829"/>
                  </a:cubicBezTo>
                  <a:cubicBezTo>
                    <a:pt x="300" y="813"/>
                    <a:pt x="300" y="813"/>
                    <a:pt x="300" y="813"/>
                  </a:cubicBezTo>
                  <a:cubicBezTo>
                    <a:pt x="291" y="797"/>
                    <a:pt x="291" y="797"/>
                    <a:pt x="291" y="797"/>
                  </a:cubicBezTo>
                  <a:cubicBezTo>
                    <a:pt x="287" y="786"/>
                    <a:pt x="287" y="786"/>
                    <a:pt x="287" y="786"/>
                  </a:cubicBezTo>
                  <a:cubicBezTo>
                    <a:pt x="292" y="776"/>
                    <a:pt x="292" y="776"/>
                    <a:pt x="292" y="776"/>
                  </a:cubicBezTo>
                  <a:cubicBezTo>
                    <a:pt x="297" y="761"/>
                    <a:pt x="297" y="761"/>
                    <a:pt x="297" y="761"/>
                  </a:cubicBezTo>
                  <a:cubicBezTo>
                    <a:pt x="297" y="744"/>
                    <a:pt x="297" y="744"/>
                    <a:pt x="297" y="744"/>
                  </a:cubicBezTo>
                  <a:cubicBezTo>
                    <a:pt x="300" y="735"/>
                    <a:pt x="300" y="735"/>
                    <a:pt x="300" y="735"/>
                  </a:cubicBezTo>
                  <a:cubicBezTo>
                    <a:pt x="307" y="729"/>
                    <a:pt x="307" y="729"/>
                    <a:pt x="307" y="729"/>
                  </a:cubicBezTo>
                  <a:cubicBezTo>
                    <a:pt x="314" y="718"/>
                    <a:pt x="314" y="718"/>
                    <a:pt x="314" y="718"/>
                  </a:cubicBezTo>
                  <a:cubicBezTo>
                    <a:pt x="310" y="700"/>
                    <a:pt x="310" y="700"/>
                    <a:pt x="310" y="700"/>
                  </a:cubicBezTo>
                  <a:cubicBezTo>
                    <a:pt x="311" y="686"/>
                    <a:pt x="311" y="686"/>
                    <a:pt x="311" y="686"/>
                  </a:cubicBezTo>
                  <a:cubicBezTo>
                    <a:pt x="316" y="673"/>
                    <a:pt x="316" y="673"/>
                    <a:pt x="316" y="673"/>
                  </a:cubicBezTo>
                  <a:cubicBezTo>
                    <a:pt x="317" y="664"/>
                    <a:pt x="317" y="664"/>
                    <a:pt x="317" y="664"/>
                  </a:cubicBezTo>
                  <a:cubicBezTo>
                    <a:pt x="309" y="653"/>
                    <a:pt x="309" y="653"/>
                    <a:pt x="309" y="653"/>
                  </a:cubicBezTo>
                  <a:cubicBezTo>
                    <a:pt x="306" y="642"/>
                    <a:pt x="306" y="642"/>
                    <a:pt x="306" y="642"/>
                  </a:cubicBezTo>
                  <a:cubicBezTo>
                    <a:pt x="312" y="630"/>
                    <a:pt x="312" y="630"/>
                    <a:pt x="312" y="630"/>
                  </a:cubicBezTo>
                  <a:cubicBezTo>
                    <a:pt x="314" y="614"/>
                    <a:pt x="314" y="614"/>
                    <a:pt x="314" y="614"/>
                  </a:cubicBezTo>
                  <a:cubicBezTo>
                    <a:pt x="303" y="602"/>
                    <a:pt x="303" y="602"/>
                    <a:pt x="303" y="602"/>
                  </a:cubicBezTo>
                  <a:cubicBezTo>
                    <a:pt x="292" y="599"/>
                    <a:pt x="292" y="599"/>
                    <a:pt x="292" y="599"/>
                  </a:cubicBezTo>
                  <a:cubicBezTo>
                    <a:pt x="285" y="598"/>
                    <a:pt x="285" y="598"/>
                    <a:pt x="285" y="598"/>
                  </a:cubicBezTo>
                  <a:cubicBezTo>
                    <a:pt x="275" y="588"/>
                    <a:pt x="275" y="588"/>
                    <a:pt x="275" y="588"/>
                  </a:cubicBezTo>
                  <a:cubicBezTo>
                    <a:pt x="267" y="576"/>
                    <a:pt x="267" y="576"/>
                    <a:pt x="267" y="576"/>
                  </a:cubicBezTo>
                  <a:cubicBezTo>
                    <a:pt x="259" y="556"/>
                    <a:pt x="259" y="556"/>
                    <a:pt x="259" y="556"/>
                  </a:cubicBezTo>
                  <a:cubicBezTo>
                    <a:pt x="257" y="541"/>
                    <a:pt x="257" y="541"/>
                    <a:pt x="257" y="541"/>
                  </a:cubicBezTo>
                  <a:cubicBezTo>
                    <a:pt x="260" y="518"/>
                    <a:pt x="260" y="518"/>
                    <a:pt x="260" y="518"/>
                  </a:cubicBezTo>
                  <a:cubicBezTo>
                    <a:pt x="267" y="513"/>
                    <a:pt x="267" y="513"/>
                    <a:pt x="267" y="513"/>
                  </a:cubicBezTo>
                  <a:cubicBezTo>
                    <a:pt x="276" y="503"/>
                    <a:pt x="276" y="503"/>
                    <a:pt x="276" y="503"/>
                  </a:cubicBezTo>
                  <a:cubicBezTo>
                    <a:pt x="275" y="496"/>
                    <a:pt x="275" y="496"/>
                    <a:pt x="275" y="496"/>
                  </a:cubicBezTo>
                  <a:cubicBezTo>
                    <a:pt x="271" y="494"/>
                    <a:pt x="271" y="494"/>
                    <a:pt x="271" y="494"/>
                  </a:cubicBezTo>
                  <a:cubicBezTo>
                    <a:pt x="259" y="491"/>
                    <a:pt x="259" y="491"/>
                    <a:pt x="259" y="491"/>
                  </a:cubicBezTo>
                  <a:cubicBezTo>
                    <a:pt x="249" y="478"/>
                    <a:pt x="249" y="478"/>
                    <a:pt x="249" y="478"/>
                  </a:cubicBezTo>
                  <a:cubicBezTo>
                    <a:pt x="243" y="472"/>
                    <a:pt x="243" y="472"/>
                    <a:pt x="243" y="472"/>
                  </a:cubicBezTo>
                  <a:cubicBezTo>
                    <a:pt x="229" y="477"/>
                    <a:pt x="229" y="477"/>
                    <a:pt x="229" y="477"/>
                  </a:cubicBezTo>
                  <a:cubicBezTo>
                    <a:pt x="217" y="475"/>
                    <a:pt x="217" y="475"/>
                    <a:pt x="217" y="475"/>
                  </a:cubicBezTo>
                  <a:cubicBezTo>
                    <a:pt x="215" y="468"/>
                    <a:pt x="215" y="468"/>
                    <a:pt x="215" y="468"/>
                  </a:cubicBezTo>
                  <a:cubicBezTo>
                    <a:pt x="214" y="458"/>
                    <a:pt x="214" y="458"/>
                    <a:pt x="214" y="458"/>
                  </a:cubicBezTo>
                  <a:cubicBezTo>
                    <a:pt x="213" y="443"/>
                    <a:pt x="213" y="443"/>
                    <a:pt x="213" y="443"/>
                  </a:cubicBezTo>
                  <a:cubicBezTo>
                    <a:pt x="211" y="433"/>
                    <a:pt x="211" y="433"/>
                    <a:pt x="211" y="433"/>
                  </a:cubicBezTo>
                  <a:cubicBezTo>
                    <a:pt x="209" y="435"/>
                    <a:pt x="209" y="435"/>
                    <a:pt x="209" y="435"/>
                  </a:cubicBezTo>
                  <a:cubicBezTo>
                    <a:pt x="204" y="439"/>
                    <a:pt x="204" y="439"/>
                    <a:pt x="204" y="439"/>
                  </a:cubicBezTo>
                  <a:cubicBezTo>
                    <a:pt x="185" y="441"/>
                    <a:pt x="185" y="441"/>
                    <a:pt x="185" y="441"/>
                  </a:cubicBezTo>
                  <a:cubicBezTo>
                    <a:pt x="174" y="449"/>
                    <a:pt x="174" y="449"/>
                    <a:pt x="174" y="449"/>
                  </a:cubicBezTo>
                  <a:cubicBezTo>
                    <a:pt x="171" y="457"/>
                    <a:pt x="171" y="457"/>
                    <a:pt x="171" y="457"/>
                  </a:cubicBezTo>
                  <a:cubicBezTo>
                    <a:pt x="177" y="469"/>
                    <a:pt x="177" y="469"/>
                    <a:pt x="177" y="469"/>
                  </a:cubicBezTo>
                  <a:cubicBezTo>
                    <a:pt x="180" y="475"/>
                    <a:pt x="180" y="475"/>
                    <a:pt x="180" y="475"/>
                  </a:cubicBezTo>
                  <a:cubicBezTo>
                    <a:pt x="179" y="483"/>
                    <a:pt x="179" y="483"/>
                    <a:pt x="179" y="483"/>
                  </a:cubicBezTo>
                  <a:cubicBezTo>
                    <a:pt x="171" y="491"/>
                    <a:pt x="171" y="491"/>
                    <a:pt x="171" y="491"/>
                  </a:cubicBezTo>
                  <a:cubicBezTo>
                    <a:pt x="163" y="497"/>
                    <a:pt x="163" y="497"/>
                    <a:pt x="163" y="497"/>
                  </a:cubicBezTo>
                  <a:cubicBezTo>
                    <a:pt x="154" y="501"/>
                    <a:pt x="154" y="501"/>
                    <a:pt x="154" y="501"/>
                  </a:cubicBezTo>
                  <a:cubicBezTo>
                    <a:pt x="142" y="503"/>
                    <a:pt x="142" y="503"/>
                    <a:pt x="142" y="503"/>
                  </a:cubicBezTo>
                  <a:cubicBezTo>
                    <a:pt x="130" y="506"/>
                    <a:pt x="130" y="506"/>
                    <a:pt x="130" y="506"/>
                  </a:cubicBezTo>
                  <a:cubicBezTo>
                    <a:pt x="123" y="506"/>
                    <a:pt x="123" y="506"/>
                    <a:pt x="123" y="506"/>
                  </a:cubicBezTo>
                  <a:cubicBezTo>
                    <a:pt x="119" y="503"/>
                    <a:pt x="119" y="503"/>
                    <a:pt x="119" y="503"/>
                  </a:cubicBezTo>
                  <a:cubicBezTo>
                    <a:pt x="107" y="512"/>
                    <a:pt x="107" y="512"/>
                    <a:pt x="107" y="512"/>
                  </a:cubicBezTo>
                  <a:cubicBezTo>
                    <a:pt x="96" y="511"/>
                    <a:pt x="96" y="511"/>
                    <a:pt x="96" y="511"/>
                  </a:cubicBezTo>
                  <a:cubicBezTo>
                    <a:pt x="86" y="505"/>
                    <a:pt x="86" y="505"/>
                    <a:pt x="86" y="505"/>
                  </a:cubicBezTo>
                  <a:cubicBezTo>
                    <a:pt x="79" y="501"/>
                    <a:pt x="79" y="501"/>
                    <a:pt x="79" y="501"/>
                  </a:cubicBezTo>
                  <a:cubicBezTo>
                    <a:pt x="64" y="498"/>
                    <a:pt x="64" y="498"/>
                    <a:pt x="64" y="498"/>
                  </a:cubicBezTo>
                  <a:cubicBezTo>
                    <a:pt x="53" y="500"/>
                    <a:pt x="53" y="500"/>
                    <a:pt x="53" y="500"/>
                  </a:cubicBezTo>
                  <a:cubicBezTo>
                    <a:pt x="41" y="500"/>
                    <a:pt x="41" y="500"/>
                    <a:pt x="41" y="500"/>
                  </a:cubicBezTo>
                  <a:cubicBezTo>
                    <a:pt x="28" y="494"/>
                    <a:pt x="28" y="494"/>
                    <a:pt x="28" y="494"/>
                  </a:cubicBezTo>
                  <a:cubicBezTo>
                    <a:pt x="16" y="491"/>
                    <a:pt x="16" y="491"/>
                    <a:pt x="16" y="491"/>
                  </a:cubicBezTo>
                  <a:cubicBezTo>
                    <a:pt x="20" y="472"/>
                    <a:pt x="20" y="472"/>
                    <a:pt x="20" y="472"/>
                  </a:cubicBezTo>
                  <a:cubicBezTo>
                    <a:pt x="9" y="456"/>
                    <a:pt x="9" y="456"/>
                    <a:pt x="9" y="456"/>
                  </a:cubicBezTo>
                  <a:cubicBezTo>
                    <a:pt x="0" y="444"/>
                    <a:pt x="0" y="444"/>
                    <a:pt x="0" y="444"/>
                  </a:cubicBezTo>
                  <a:cubicBezTo>
                    <a:pt x="0" y="424"/>
                    <a:pt x="0" y="424"/>
                    <a:pt x="0" y="424"/>
                  </a:cubicBezTo>
                  <a:cubicBezTo>
                    <a:pt x="8" y="413"/>
                    <a:pt x="8" y="413"/>
                    <a:pt x="8" y="413"/>
                  </a:cubicBezTo>
                  <a:cubicBezTo>
                    <a:pt x="14" y="410"/>
                    <a:pt x="14" y="410"/>
                    <a:pt x="14" y="410"/>
                  </a:cubicBezTo>
                  <a:cubicBezTo>
                    <a:pt x="7" y="395"/>
                    <a:pt x="7" y="395"/>
                    <a:pt x="7" y="395"/>
                  </a:cubicBezTo>
                  <a:cubicBezTo>
                    <a:pt x="6" y="388"/>
                    <a:pt x="6" y="388"/>
                    <a:pt x="6" y="388"/>
                  </a:cubicBezTo>
                  <a:cubicBezTo>
                    <a:pt x="12" y="377"/>
                    <a:pt x="12" y="377"/>
                    <a:pt x="12" y="377"/>
                  </a:cubicBezTo>
                  <a:cubicBezTo>
                    <a:pt x="21" y="372"/>
                    <a:pt x="21" y="372"/>
                    <a:pt x="21" y="372"/>
                  </a:cubicBezTo>
                  <a:cubicBezTo>
                    <a:pt x="37" y="371"/>
                    <a:pt x="37" y="371"/>
                    <a:pt x="37" y="371"/>
                  </a:cubicBezTo>
                  <a:cubicBezTo>
                    <a:pt x="47" y="360"/>
                    <a:pt x="47" y="360"/>
                    <a:pt x="47" y="360"/>
                  </a:cubicBezTo>
                  <a:cubicBezTo>
                    <a:pt x="60" y="353"/>
                    <a:pt x="60" y="353"/>
                    <a:pt x="60" y="353"/>
                  </a:cubicBezTo>
                  <a:cubicBezTo>
                    <a:pt x="65" y="336"/>
                    <a:pt x="65" y="336"/>
                    <a:pt x="65" y="336"/>
                  </a:cubicBezTo>
                  <a:cubicBezTo>
                    <a:pt x="67" y="328"/>
                    <a:pt x="67" y="328"/>
                    <a:pt x="67" y="328"/>
                  </a:cubicBezTo>
                  <a:cubicBezTo>
                    <a:pt x="78" y="327"/>
                    <a:pt x="78" y="327"/>
                    <a:pt x="78" y="327"/>
                  </a:cubicBezTo>
                  <a:cubicBezTo>
                    <a:pt x="84" y="337"/>
                    <a:pt x="84" y="337"/>
                    <a:pt x="84" y="337"/>
                  </a:cubicBezTo>
                  <a:cubicBezTo>
                    <a:pt x="95" y="338"/>
                    <a:pt x="95" y="338"/>
                    <a:pt x="95" y="338"/>
                  </a:cubicBezTo>
                  <a:cubicBezTo>
                    <a:pt x="104" y="329"/>
                    <a:pt x="104" y="329"/>
                    <a:pt x="104" y="329"/>
                  </a:cubicBezTo>
                  <a:cubicBezTo>
                    <a:pt x="107" y="316"/>
                    <a:pt x="107" y="316"/>
                    <a:pt x="107" y="316"/>
                  </a:cubicBezTo>
                  <a:cubicBezTo>
                    <a:pt x="117" y="306"/>
                    <a:pt x="117" y="306"/>
                    <a:pt x="117" y="306"/>
                  </a:cubicBezTo>
                  <a:cubicBezTo>
                    <a:pt x="122" y="292"/>
                    <a:pt x="122" y="292"/>
                    <a:pt x="122" y="292"/>
                  </a:cubicBezTo>
                  <a:cubicBezTo>
                    <a:pt x="118" y="276"/>
                    <a:pt x="118" y="276"/>
                    <a:pt x="118" y="276"/>
                  </a:cubicBezTo>
                  <a:cubicBezTo>
                    <a:pt x="124" y="271"/>
                    <a:pt x="124" y="271"/>
                    <a:pt x="124" y="271"/>
                  </a:cubicBezTo>
                  <a:cubicBezTo>
                    <a:pt x="133" y="267"/>
                    <a:pt x="133" y="267"/>
                    <a:pt x="133" y="267"/>
                  </a:cubicBezTo>
                  <a:cubicBezTo>
                    <a:pt x="142" y="266"/>
                    <a:pt x="142" y="266"/>
                    <a:pt x="142" y="266"/>
                  </a:cubicBezTo>
                  <a:cubicBezTo>
                    <a:pt x="155" y="252"/>
                    <a:pt x="155" y="252"/>
                    <a:pt x="155" y="252"/>
                  </a:cubicBezTo>
                </a:path>
              </a:pathLst>
            </a:custGeom>
            <a:pattFill prst="wdUpDiag">
              <a:fgClr>
                <a:schemeClr val="accent2"/>
              </a:fgClr>
              <a:bgClr>
                <a:schemeClr val="bg1"/>
              </a:bgClr>
            </a:patt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81" name="Freeform 31">
              <a:extLst>
                <a:ext uri="{FF2B5EF4-FFF2-40B4-BE49-F238E27FC236}">
                  <a16:creationId xmlns:a16="http://schemas.microsoft.com/office/drawing/2014/main" id="{109476A2-E24C-4881-A5B8-A5E8D24F3905}"/>
                </a:ext>
              </a:extLst>
            </p:cNvPr>
            <p:cNvSpPr>
              <a:spLocks/>
            </p:cNvSpPr>
            <p:nvPr/>
          </p:nvSpPr>
          <p:spPr bwMode="gray">
            <a:xfrm>
              <a:off x="8550" y="1609"/>
              <a:ext cx="1174" cy="1193"/>
            </a:xfrm>
            <a:custGeom>
              <a:avLst/>
              <a:gdLst>
                <a:gd name="T0" fmla="*/ 467 w 497"/>
                <a:gd name="T1" fmla="*/ 88 h 505"/>
                <a:gd name="T2" fmla="*/ 431 w 497"/>
                <a:gd name="T3" fmla="*/ 155 h 505"/>
                <a:gd name="T4" fmla="*/ 448 w 497"/>
                <a:gd name="T5" fmla="*/ 206 h 505"/>
                <a:gd name="T6" fmla="*/ 466 w 497"/>
                <a:gd name="T7" fmla="*/ 234 h 505"/>
                <a:gd name="T8" fmla="*/ 470 w 497"/>
                <a:gd name="T9" fmla="*/ 308 h 505"/>
                <a:gd name="T10" fmla="*/ 497 w 497"/>
                <a:gd name="T11" fmla="*/ 313 h 505"/>
                <a:gd name="T12" fmla="*/ 461 w 497"/>
                <a:gd name="T13" fmla="*/ 346 h 505"/>
                <a:gd name="T14" fmla="*/ 476 w 497"/>
                <a:gd name="T15" fmla="*/ 389 h 505"/>
                <a:gd name="T16" fmla="*/ 477 w 497"/>
                <a:gd name="T17" fmla="*/ 437 h 505"/>
                <a:gd name="T18" fmla="*/ 481 w 497"/>
                <a:gd name="T19" fmla="*/ 482 h 505"/>
                <a:gd name="T20" fmla="*/ 434 w 497"/>
                <a:gd name="T21" fmla="*/ 497 h 505"/>
                <a:gd name="T22" fmla="*/ 406 w 497"/>
                <a:gd name="T23" fmla="*/ 421 h 505"/>
                <a:gd name="T24" fmla="*/ 392 w 497"/>
                <a:gd name="T25" fmla="*/ 366 h 505"/>
                <a:gd name="T26" fmla="*/ 343 w 497"/>
                <a:gd name="T27" fmla="*/ 373 h 505"/>
                <a:gd name="T28" fmla="*/ 325 w 497"/>
                <a:gd name="T29" fmla="*/ 414 h 505"/>
                <a:gd name="T30" fmla="*/ 299 w 497"/>
                <a:gd name="T31" fmla="*/ 408 h 505"/>
                <a:gd name="T32" fmla="*/ 285 w 497"/>
                <a:gd name="T33" fmla="*/ 398 h 505"/>
                <a:gd name="T34" fmla="*/ 255 w 497"/>
                <a:gd name="T35" fmla="*/ 380 h 505"/>
                <a:gd name="T36" fmla="*/ 228 w 497"/>
                <a:gd name="T37" fmla="*/ 390 h 505"/>
                <a:gd name="T38" fmla="*/ 195 w 497"/>
                <a:gd name="T39" fmla="*/ 399 h 505"/>
                <a:gd name="T40" fmla="*/ 189 w 497"/>
                <a:gd name="T41" fmla="*/ 360 h 505"/>
                <a:gd name="T42" fmla="*/ 159 w 497"/>
                <a:gd name="T43" fmla="*/ 361 h 505"/>
                <a:gd name="T44" fmla="*/ 150 w 497"/>
                <a:gd name="T45" fmla="*/ 401 h 505"/>
                <a:gd name="T46" fmla="*/ 104 w 497"/>
                <a:gd name="T47" fmla="*/ 400 h 505"/>
                <a:gd name="T48" fmla="*/ 76 w 497"/>
                <a:gd name="T49" fmla="*/ 379 h 505"/>
                <a:gd name="T50" fmla="*/ 98 w 497"/>
                <a:gd name="T51" fmla="*/ 338 h 505"/>
                <a:gd name="T52" fmla="*/ 117 w 497"/>
                <a:gd name="T53" fmla="*/ 301 h 505"/>
                <a:gd name="T54" fmla="*/ 149 w 497"/>
                <a:gd name="T55" fmla="*/ 308 h 505"/>
                <a:gd name="T56" fmla="*/ 192 w 497"/>
                <a:gd name="T57" fmla="*/ 303 h 505"/>
                <a:gd name="T58" fmla="*/ 212 w 497"/>
                <a:gd name="T59" fmla="*/ 241 h 505"/>
                <a:gd name="T60" fmla="*/ 173 w 497"/>
                <a:gd name="T61" fmla="*/ 220 h 505"/>
                <a:gd name="T62" fmla="*/ 167 w 497"/>
                <a:gd name="T63" fmla="*/ 190 h 505"/>
                <a:gd name="T64" fmla="*/ 146 w 497"/>
                <a:gd name="T65" fmla="*/ 170 h 505"/>
                <a:gd name="T66" fmla="*/ 122 w 497"/>
                <a:gd name="T67" fmla="*/ 147 h 505"/>
                <a:gd name="T68" fmla="*/ 87 w 497"/>
                <a:gd name="T69" fmla="*/ 87 h 505"/>
                <a:gd name="T70" fmla="*/ 67 w 497"/>
                <a:gd name="T71" fmla="*/ 87 h 505"/>
                <a:gd name="T72" fmla="*/ 47 w 497"/>
                <a:gd name="T73" fmla="*/ 120 h 505"/>
                <a:gd name="T74" fmla="*/ 29 w 497"/>
                <a:gd name="T75" fmla="*/ 103 h 505"/>
                <a:gd name="T76" fmla="*/ 8 w 497"/>
                <a:gd name="T77" fmla="*/ 79 h 505"/>
                <a:gd name="T78" fmla="*/ 57 w 497"/>
                <a:gd name="T79" fmla="*/ 56 h 505"/>
                <a:gd name="T80" fmla="*/ 78 w 497"/>
                <a:gd name="T81" fmla="*/ 41 h 505"/>
                <a:gd name="T82" fmla="*/ 106 w 497"/>
                <a:gd name="T83" fmla="*/ 36 h 505"/>
                <a:gd name="T84" fmla="*/ 126 w 497"/>
                <a:gd name="T85" fmla="*/ 57 h 505"/>
                <a:gd name="T86" fmla="*/ 144 w 497"/>
                <a:gd name="T87" fmla="*/ 81 h 505"/>
                <a:gd name="T88" fmla="*/ 178 w 497"/>
                <a:gd name="T89" fmla="*/ 69 h 505"/>
                <a:gd name="T90" fmla="*/ 220 w 497"/>
                <a:gd name="T91" fmla="*/ 72 h 505"/>
                <a:gd name="T92" fmla="*/ 241 w 497"/>
                <a:gd name="T93" fmla="*/ 62 h 505"/>
                <a:gd name="T94" fmla="*/ 262 w 497"/>
                <a:gd name="T95" fmla="*/ 55 h 505"/>
                <a:gd name="T96" fmla="*/ 278 w 497"/>
                <a:gd name="T97" fmla="*/ 40 h 505"/>
                <a:gd name="T98" fmla="*/ 304 w 497"/>
                <a:gd name="T99" fmla="*/ 27 h 505"/>
                <a:gd name="T100" fmla="*/ 332 w 497"/>
                <a:gd name="T101" fmla="*/ 5 h 505"/>
                <a:gd name="T102" fmla="*/ 353 w 497"/>
                <a:gd name="T103" fmla="*/ 10 h 505"/>
                <a:gd name="T104" fmla="*/ 386 w 497"/>
                <a:gd name="T105" fmla="*/ 10 h 505"/>
                <a:gd name="T106" fmla="*/ 414 w 497"/>
                <a:gd name="T107" fmla="*/ 43 h 505"/>
                <a:gd name="T108" fmla="*/ 463 w 497"/>
                <a:gd name="T109" fmla="*/ 56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7" h="505">
                  <a:moveTo>
                    <a:pt x="477" y="48"/>
                  </a:moveTo>
                  <a:cubicBezTo>
                    <a:pt x="473" y="55"/>
                    <a:pt x="473" y="55"/>
                    <a:pt x="473" y="55"/>
                  </a:cubicBezTo>
                  <a:cubicBezTo>
                    <a:pt x="475" y="57"/>
                    <a:pt x="475" y="57"/>
                    <a:pt x="475" y="57"/>
                  </a:cubicBezTo>
                  <a:cubicBezTo>
                    <a:pt x="475" y="70"/>
                    <a:pt x="475" y="70"/>
                    <a:pt x="475" y="70"/>
                  </a:cubicBezTo>
                  <a:cubicBezTo>
                    <a:pt x="467" y="88"/>
                    <a:pt x="467" y="88"/>
                    <a:pt x="467" y="88"/>
                  </a:cubicBezTo>
                  <a:cubicBezTo>
                    <a:pt x="454" y="101"/>
                    <a:pt x="454" y="101"/>
                    <a:pt x="454" y="101"/>
                  </a:cubicBezTo>
                  <a:cubicBezTo>
                    <a:pt x="443" y="110"/>
                    <a:pt x="443" y="110"/>
                    <a:pt x="443" y="110"/>
                  </a:cubicBezTo>
                  <a:cubicBezTo>
                    <a:pt x="443" y="124"/>
                    <a:pt x="443" y="124"/>
                    <a:pt x="443" y="124"/>
                  </a:cubicBezTo>
                  <a:cubicBezTo>
                    <a:pt x="438" y="134"/>
                    <a:pt x="438" y="134"/>
                    <a:pt x="438" y="134"/>
                  </a:cubicBezTo>
                  <a:cubicBezTo>
                    <a:pt x="431" y="155"/>
                    <a:pt x="431" y="155"/>
                    <a:pt x="431" y="155"/>
                  </a:cubicBezTo>
                  <a:cubicBezTo>
                    <a:pt x="437" y="172"/>
                    <a:pt x="437" y="172"/>
                    <a:pt x="437" y="172"/>
                  </a:cubicBezTo>
                  <a:cubicBezTo>
                    <a:pt x="442" y="176"/>
                    <a:pt x="442" y="176"/>
                    <a:pt x="442" y="176"/>
                  </a:cubicBezTo>
                  <a:cubicBezTo>
                    <a:pt x="443" y="181"/>
                    <a:pt x="443" y="181"/>
                    <a:pt x="443" y="181"/>
                  </a:cubicBezTo>
                  <a:cubicBezTo>
                    <a:pt x="445" y="190"/>
                    <a:pt x="445" y="190"/>
                    <a:pt x="445" y="190"/>
                  </a:cubicBezTo>
                  <a:cubicBezTo>
                    <a:pt x="448" y="206"/>
                    <a:pt x="448" y="206"/>
                    <a:pt x="448" y="206"/>
                  </a:cubicBezTo>
                  <a:cubicBezTo>
                    <a:pt x="448" y="209"/>
                    <a:pt x="448" y="209"/>
                    <a:pt x="448" y="209"/>
                  </a:cubicBezTo>
                  <a:cubicBezTo>
                    <a:pt x="455" y="212"/>
                    <a:pt x="455" y="212"/>
                    <a:pt x="455" y="212"/>
                  </a:cubicBezTo>
                  <a:cubicBezTo>
                    <a:pt x="467" y="219"/>
                    <a:pt x="467" y="219"/>
                    <a:pt x="467" y="219"/>
                  </a:cubicBezTo>
                  <a:cubicBezTo>
                    <a:pt x="469" y="229"/>
                    <a:pt x="469" y="229"/>
                    <a:pt x="469" y="229"/>
                  </a:cubicBezTo>
                  <a:cubicBezTo>
                    <a:pt x="466" y="234"/>
                    <a:pt x="466" y="234"/>
                    <a:pt x="466" y="234"/>
                  </a:cubicBezTo>
                  <a:cubicBezTo>
                    <a:pt x="447" y="257"/>
                    <a:pt x="447" y="257"/>
                    <a:pt x="447" y="257"/>
                  </a:cubicBezTo>
                  <a:cubicBezTo>
                    <a:pt x="448" y="264"/>
                    <a:pt x="448" y="264"/>
                    <a:pt x="448" y="264"/>
                  </a:cubicBezTo>
                  <a:cubicBezTo>
                    <a:pt x="470" y="276"/>
                    <a:pt x="470" y="276"/>
                    <a:pt x="470" y="276"/>
                  </a:cubicBezTo>
                  <a:cubicBezTo>
                    <a:pt x="468" y="284"/>
                    <a:pt x="468" y="284"/>
                    <a:pt x="468" y="284"/>
                  </a:cubicBezTo>
                  <a:cubicBezTo>
                    <a:pt x="470" y="308"/>
                    <a:pt x="470" y="308"/>
                    <a:pt x="470" y="308"/>
                  </a:cubicBezTo>
                  <a:cubicBezTo>
                    <a:pt x="475" y="315"/>
                    <a:pt x="475" y="315"/>
                    <a:pt x="475" y="315"/>
                  </a:cubicBezTo>
                  <a:cubicBezTo>
                    <a:pt x="479" y="318"/>
                    <a:pt x="479" y="318"/>
                    <a:pt x="479" y="318"/>
                  </a:cubicBezTo>
                  <a:cubicBezTo>
                    <a:pt x="488" y="320"/>
                    <a:pt x="488" y="320"/>
                    <a:pt x="488" y="320"/>
                  </a:cubicBezTo>
                  <a:cubicBezTo>
                    <a:pt x="494" y="311"/>
                    <a:pt x="494" y="311"/>
                    <a:pt x="494" y="311"/>
                  </a:cubicBezTo>
                  <a:cubicBezTo>
                    <a:pt x="497" y="313"/>
                    <a:pt x="497" y="313"/>
                    <a:pt x="497" y="313"/>
                  </a:cubicBezTo>
                  <a:cubicBezTo>
                    <a:pt x="492" y="322"/>
                    <a:pt x="492" y="322"/>
                    <a:pt x="492" y="322"/>
                  </a:cubicBezTo>
                  <a:cubicBezTo>
                    <a:pt x="486" y="332"/>
                    <a:pt x="486" y="332"/>
                    <a:pt x="486" y="332"/>
                  </a:cubicBezTo>
                  <a:cubicBezTo>
                    <a:pt x="479" y="341"/>
                    <a:pt x="479" y="341"/>
                    <a:pt x="479" y="341"/>
                  </a:cubicBezTo>
                  <a:cubicBezTo>
                    <a:pt x="471" y="344"/>
                    <a:pt x="471" y="344"/>
                    <a:pt x="471" y="344"/>
                  </a:cubicBezTo>
                  <a:cubicBezTo>
                    <a:pt x="461" y="346"/>
                    <a:pt x="461" y="346"/>
                    <a:pt x="461" y="346"/>
                  </a:cubicBezTo>
                  <a:cubicBezTo>
                    <a:pt x="462" y="348"/>
                    <a:pt x="465" y="352"/>
                    <a:pt x="466" y="354"/>
                  </a:cubicBezTo>
                  <a:cubicBezTo>
                    <a:pt x="467" y="357"/>
                    <a:pt x="469" y="361"/>
                    <a:pt x="469" y="364"/>
                  </a:cubicBezTo>
                  <a:cubicBezTo>
                    <a:pt x="470" y="366"/>
                    <a:pt x="471" y="368"/>
                    <a:pt x="471" y="370"/>
                  </a:cubicBezTo>
                  <a:cubicBezTo>
                    <a:pt x="472" y="373"/>
                    <a:pt x="474" y="377"/>
                    <a:pt x="475" y="380"/>
                  </a:cubicBezTo>
                  <a:cubicBezTo>
                    <a:pt x="475" y="383"/>
                    <a:pt x="476" y="387"/>
                    <a:pt x="476" y="389"/>
                  </a:cubicBezTo>
                  <a:cubicBezTo>
                    <a:pt x="475" y="392"/>
                    <a:pt x="472" y="395"/>
                    <a:pt x="471" y="398"/>
                  </a:cubicBezTo>
                  <a:cubicBezTo>
                    <a:pt x="470" y="400"/>
                    <a:pt x="468" y="404"/>
                    <a:pt x="468" y="406"/>
                  </a:cubicBezTo>
                  <a:cubicBezTo>
                    <a:pt x="468" y="410"/>
                    <a:pt x="472" y="414"/>
                    <a:pt x="473" y="418"/>
                  </a:cubicBezTo>
                  <a:cubicBezTo>
                    <a:pt x="474" y="420"/>
                    <a:pt x="475" y="423"/>
                    <a:pt x="476" y="425"/>
                  </a:cubicBezTo>
                  <a:cubicBezTo>
                    <a:pt x="476" y="429"/>
                    <a:pt x="476" y="433"/>
                    <a:pt x="477" y="437"/>
                  </a:cubicBezTo>
                  <a:cubicBezTo>
                    <a:pt x="477" y="440"/>
                    <a:pt x="476" y="445"/>
                    <a:pt x="477" y="449"/>
                  </a:cubicBezTo>
                  <a:cubicBezTo>
                    <a:pt x="477" y="452"/>
                    <a:pt x="479" y="455"/>
                    <a:pt x="479" y="458"/>
                  </a:cubicBezTo>
                  <a:cubicBezTo>
                    <a:pt x="480" y="461"/>
                    <a:pt x="480" y="464"/>
                    <a:pt x="481" y="467"/>
                  </a:cubicBezTo>
                  <a:cubicBezTo>
                    <a:pt x="482" y="469"/>
                    <a:pt x="485" y="472"/>
                    <a:pt x="485" y="474"/>
                  </a:cubicBezTo>
                  <a:cubicBezTo>
                    <a:pt x="485" y="477"/>
                    <a:pt x="482" y="480"/>
                    <a:pt x="481" y="482"/>
                  </a:cubicBezTo>
                  <a:cubicBezTo>
                    <a:pt x="480" y="486"/>
                    <a:pt x="481" y="492"/>
                    <a:pt x="479" y="495"/>
                  </a:cubicBezTo>
                  <a:cubicBezTo>
                    <a:pt x="464" y="500"/>
                    <a:pt x="464" y="500"/>
                    <a:pt x="464" y="500"/>
                  </a:cubicBezTo>
                  <a:cubicBezTo>
                    <a:pt x="447" y="504"/>
                    <a:pt x="447" y="504"/>
                    <a:pt x="447" y="504"/>
                  </a:cubicBezTo>
                  <a:cubicBezTo>
                    <a:pt x="439" y="505"/>
                    <a:pt x="439" y="505"/>
                    <a:pt x="439" y="505"/>
                  </a:cubicBezTo>
                  <a:cubicBezTo>
                    <a:pt x="434" y="497"/>
                    <a:pt x="434" y="497"/>
                    <a:pt x="434" y="497"/>
                  </a:cubicBezTo>
                  <a:cubicBezTo>
                    <a:pt x="428" y="484"/>
                    <a:pt x="428" y="484"/>
                    <a:pt x="428" y="484"/>
                  </a:cubicBezTo>
                  <a:cubicBezTo>
                    <a:pt x="421" y="471"/>
                    <a:pt x="421" y="471"/>
                    <a:pt x="421" y="471"/>
                  </a:cubicBezTo>
                  <a:cubicBezTo>
                    <a:pt x="415" y="452"/>
                    <a:pt x="415" y="452"/>
                    <a:pt x="415" y="452"/>
                  </a:cubicBezTo>
                  <a:cubicBezTo>
                    <a:pt x="412" y="438"/>
                    <a:pt x="412" y="438"/>
                    <a:pt x="412" y="438"/>
                  </a:cubicBezTo>
                  <a:cubicBezTo>
                    <a:pt x="406" y="421"/>
                    <a:pt x="406" y="421"/>
                    <a:pt x="406" y="421"/>
                  </a:cubicBezTo>
                  <a:cubicBezTo>
                    <a:pt x="400" y="400"/>
                    <a:pt x="400" y="400"/>
                    <a:pt x="400" y="400"/>
                  </a:cubicBezTo>
                  <a:cubicBezTo>
                    <a:pt x="397" y="385"/>
                    <a:pt x="397" y="385"/>
                    <a:pt x="397" y="385"/>
                  </a:cubicBezTo>
                  <a:cubicBezTo>
                    <a:pt x="396" y="375"/>
                    <a:pt x="396" y="375"/>
                    <a:pt x="396" y="375"/>
                  </a:cubicBezTo>
                  <a:cubicBezTo>
                    <a:pt x="394" y="368"/>
                    <a:pt x="394" y="368"/>
                    <a:pt x="394" y="368"/>
                  </a:cubicBezTo>
                  <a:cubicBezTo>
                    <a:pt x="392" y="366"/>
                    <a:pt x="392" y="366"/>
                    <a:pt x="392" y="366"/>
                  </a:cubicBezTo>
                  <a:cubicBezTo>
                    <a:pt x="378" y="363"/>
                    <a:pt x="378" y="363"/>
                    <a:pt x="378" y="363"/>
                  </a:cubicBezTo>
                  <a:cubicBezTo>
                    <a:pt x="375" y="357"/>
                    <a:pt x="375" y="357"/>
                    <a:pt x="375" y="357"/>
                  </a:cubicBezTo>
                  <a:cubicBezTo>
                    <a:pt x="364" y="355"/>
                    <a:pt x="364" y="355"/>
                    <a:pt x="364" y="355"/>
                  </a:cubicBezTo>
                  <a:cubicBezTo>
                    <a:pt x="357" y="355"/>
                    <a:pt x="357" y="355"/>
                    <a:pt x="357" y="355"/>
                  </a:cubicBezTo>
                  <a:cubicBezTo>
                    <a:pt x="343" y="373"/>
                    <a:pt x="343" y="373"/>
                    <a:pt x="343" y="373"/>
                  </a:cubicBezTo>
                  <a:cubicBezTo>
                    <a:pt x="335" y="378"/>
                    <a:pt x="335" y="378"/>
                    <a:pt x="335" y="378"/>
                  </a:cubicBezTo>
                  <a:cubicBezTo>
                    <a:pt x="332" y="386"/>
                    <a:pt x="332" y="386"/>
                    <a:pt x="332" y="386"/>
                  </a:cubicBezTo>
                  <a:cubicBezTo>
                    <a:pt x="329" y="399"/>
                    <a:pt x="329" y="399"/>
                    <a:pt x="329" y="399"/>
                  </a:cubicBezTo>
                  <a:cubicBezTo>
                    <a:pt x="328" y="407"/>
                    <a:pt x="328" y="407"/>
                    <a:pt x="328" y="407"/>
                  </a:cubicBezTo>
                  <a:cubicBezTo>
                    <a:pt x="325" y="414"/>
                    <a:pt x="325" y="414"/>
                    <a:pt x="325" y="414"/>
                  </a:cubicBezTo>
                  <a:cubicBezTo>
                    <a:pt x="319" y="418"/>
                    <a:pt x="319" y="418"/>
                    <a:pt x="319" y="418"/>
                  </a:cubicBezTo>
                  <a:cubicBezTo>
                    <a:pt x="313" y="419"/>
                    <a:pt x="313" y="419"/>
                    <a:pt x="313" y="419"/>
                  </a:cubicBezTo>
                  <a:cubicBezTo>
                    <a:pt x="305" y="417"/>
                    <a:pt x="305" y="417"/>
                    <a:pt x="305" y="417"/>
                  </a:cubicBezTo>
                  <a:cubicBezTo>
                    <a:pt x="300" y="412"/>
                    <a:pt x="300" y="412"/>
                    <a:pt x="300" y="412"/>
                  </a:cubicBezTo>
                  <a:cubicBezTo>
                    <a:pt x="299" y="408"/>
                    <a:pt x="299" y="408"/>
                    <a:pt x="299" y="408"/>
                  </a:cubicBezTo>
                  <a:cubicBezTo>
                    <a:pt x="299" y="403"/>
                    <a:pt x="299" y="403"/>
                    <a:pt x="299" y="403"/>
                  </a:cubicBezTo>
                  <a:cubicBezTo>
                    <a:pt x="307" y="400"/>
                    <a:pt x="307" y="400"/>
                    <a:pt x="307" y="400"/>
                  </a:cubicBezTo>
                  <a:cubicBezTo>
                    <a:pt x="306" y="395"/>
                    <a:pt x="306" y="395"/>
                    <a:pt x="306" y="395"/>
                  </a:cubicBezTo>
                  <a:cubicBezTo>
                    <a:pt x="301" y="396"/>
                    <a:pt x="301" y="396"/>
                    <a:pt x="301" y="396"/>
                  </a:cubicBezTo>
                  <a:cubicBezTo>
                    <a:pt x="285" y="398"/>
                    <a:pt x="285" y="398"/>
                    <a:pt x="285" y="398"/>
                  </a:cubicBezTo>
                  <a:cubicBezTo>
                    <a:pt x="268" y="400"/>
                    <a:pt x="268" y="400"/>
                    <a:pt x="268" y="400"/>
                  </a:cubicBezTo>
                  <a:cubicBezTo>
                    <a:pt x="259" y="398"/>
                    <a:pt x="259" y="398"/>
                    <a:pt x="259" y="398"/>
                  </a:cubicBezTo>
                  <a:cubicBezTo>
                    <a:pt x="259" y="389"/>
                    <a:pt x="259" y="389"/>
                    <a:pt x="259" y="389"/>
                  </a:cubicBezTo>
                  <a:cubicBezTo>
                    <a:pt x="256" y="382"/>
                    <a:pt x="256" y="382"/>
                    <a:pt x="256" y="382"/>
                  </a:cubicBezTo>
                  <a:cubicBezTo>
                    <a:pt x="255" y="380"/>
                    <a:pt x="255" y="380"/>
                    <a:pt x="255" y="380"/>
                  </a:cubicBezTo>
                  <a:cubicBezTo>
                    <a:pt x="250" y="379"/>
                    <a:pt x="250" y="379"/>
                    <a:pt x="250" y="379"/>
                  </a:cubicBezTo>
                  <a:cubicBezTo>
                    <a:pt x="242" y="377"/>
                    <a:pt x="242" y="377"/>
                    <a:pt x="242" y="377"/>
                  </a:cubicBezTo>
                  <a:cubicBezTo>
                    <a:pt x="234" y="380"/>
                    <a:pt x="234" y="380"/>
                    <a:pt x="234" y="380"/>
                  </a:cubicBezTo>
                  <a:cubicBezTo>
                    <a:pt x="230" y="383"/>
                    <a:pt x="230" y="383"/>
                    <a:pt x="230" y="383"/>
                  </a:cubicBezTo>
                  <a:cubicBezTo>
                    <a:pt x="228" y="390"/>
                    <a:pt x="228" y="390"/>
                    <a:pt x="228" y="390"/>
                  </a:cubicBezTo>
                  <a:cubicBezTo>
                    <a:pt x="226" y="397"/>
                    <a:pt x="226" y="397"/>
                    <a:pt x="226" y="397"/>
                  </a:cubicBezTo>
                  <a:cubicBezTo>
                    <a:pt x="218" y="399"/>
                    <a:pt x="218" y="399"/>
                    <a:pt x="218" y="399"/>
                  </a:cubicBezTo>
                  <a:cubicBezTo>
                    <a:pt x="210" y="400"/>
                    <a:pt x="210" y="400"/>
                    <a:pt x="210" y="400"/>
                  </a:cubicBezTo>
                  <a:cubicBezTo>
                    <a:pt x="201" y="399"/>
                    <a:pt x="201" y="399"/>
                    <a:pt x="201" y="399"/>
                  </a:cubicBezTo>
                  <a:cubicBezTo>
                    <a:pt x="195" y="399"/>
                    <a:pt x="195" y="399"/>
                    <a:pt x="195" y="399"/>
                  </a:cubicBezTo>
                  <a:cubicBezTo>
                    <a:pt x="195" y="395"/>
                    <a:pt x="195" y="395"/>
                    <a:pt x="195" y="395"/>
                  </a:cubicBezTo>
                  <a:cubicBezTo>
                    <a:pt x="196" y="384"/>
                    <a:pt x="196" y="384"/>
                    <a:pt x="196" y="384"/>
                  </a:cubicBezTo>
                  <a:cubicBezTo>
                    <a:pt x="196" y="375"/>
                    <a:pt x="196" y="375"/>
                    <a:pt x="196" y="375"/>
                  </a:cubicBezTo>
                  <a:cubicBezTo>
                    <a:pt x="194" y="369"/>
                    <a:pt x="194" y="369"/>
                    <a:pt x="194" y="369"/>
                  </a:cubicBezTo>
                  <a:cubicBezTo>
                    <a:pt x="189" y="360"/>
                    <a:pt x="189" y="360"/>
                    <a:pt x="189" y="360"/>
                  </a:cubicBezTo>
                  <a:cubicBezTo>
                    <a:pt x="183" y="362"/>
                    <a:pt x="183" y="362"/>
                    <a:pt x="183" y="362"/>
                  </a:cubicBezTo>
                  <a:cubicBezTo>
                    <a:pt x="174" y="364"/>
                    <a:pt x="174" y="364"/>
                    <a:pt x="174" y="364"/>
                  </a:cubicBezTo>
                  <a:cubicBezTo>
                    <a:pt x="170" y="364"/>
                    <a:pt x="170" y="364"/>
                    <a:pt x="170" y="364"/>
                  </a:cubicBezTo>
                  <a:cubicBezTo>
                    <a:pt x="164" y="364"/>
                    <a:pt x="164" y="364"/>
                    <a:pt x="164" y="364"/>
                  </a:cubicBezTo>
                  <a:cubicBezTo>
                    <a:pt x="159" y="361"/>
                    <a:pt x="159" y="361"/>
                    <a:pt x="159" y="361"/>
                  </a:cubicBezTo>
                  <a:cubicBezTo>
                    <a:pt x="155" y="360"/>
                    <a:pt x="155" y="360"/>
                    <a:pt x="155" y="360"/>
                  </a:cubicBezTo>
                  <a:cubicBezTo>
                    <a:pt x="155" y="366"/>
                    <a:pt x="155" y="366"/>
                    <a:pt x="155" y="366"/>
                  </a:cubicBezTo>
                  <a:cubicBezTo>
                    <a:pt x="155" y="394"/>
                    <a:pt x="155" y="394"/>
                    <a:pt x="155" y="394"/>
                  </a:cubicBezTo>
                  <a:cubicBezTo>
                    <a:pt x="153" y="398"/>
                    <a:pt x="153" y="398"/>
                    <a:pt x="153" y="398"/>
                  </a:cubicBezTo>
                  <a:cubicBezTo>
                    <a:pt x="150" y="401"/>
                    <a:pt x="150" y="401"/>
                    <a:pt x="150" y="401"/>
                  </a:cubicBezTo>
                  <a:cubicBezTo>
                    <a:pt x="146" y="403"/>
                    <a:pt x="146" y="403"/>
                    <a:pt x="146" y="403"/>
                  </a:cubicBezTo>
                  <a:cubicBezTo>
                    <a:pt x="134" y="402"/>
                    <a:pt x="134" y="402"/>
                    <a:pt x="134" y="402"/>
                  </a:cubicBezTo>
                  <a:cubicBezTo>
                    <a:pt x="128" y="400"/>
                    <a:pt x="128" y="400"/>
                    <a:pt x="128" y="400"/>
                  </a:cubicBezTo>
                  <a:cubicBezTo>
                    <a:pt x="117" y="398"/>
                    <a:pt x="117" y="398"/>
                    <a:pt x="117" y="398"/>
                  </a:cubicBezTo>
                  <a:cubicBezTo>
                    <a:pt x="104" y="400"/>
                    <a:pt x="104" y="400"/>
                    <a:pt x="104" y="400"/>
                  </a:cubicBezTo>
                  <a:cubicBezTo>
                    <a:pt x="97" y="402"/>
                    <a:pt x="97" y="402"/>
                    <a:pt x="97" y="402"/>
                  </a:cubicBezTo>
                  <a:cubicBezTo>
                    <a:pt x="91" y="406"/>
                    <a:pt x="91" y="406"/>
                    <a:pt x="91" y="406"/>
                  </a:cubicBezTo>
                  <a:cubicBezTo>
                    <a:pt x="78" y="407"/>
                    <a:pt x="78" y="407"/>
                    <a:pt x="78" y="407"/>
                  </a:cubicBezTo>
                  <a:cubicBezTo>
                    <a:pt x="76" y="396"/>
                    <a:pt x="76" y="396"/>
                    <a:pt x="76" y="396"/>
                  </a:cubicBezTo>
                  <a:cubicBezTo>
                    <a:pt x="76" y="379"/>
                    <a:pt x="76" y="379"/>
                    <a:pt x="76" y="379"/>
                  </a:cubicBezTo>
                  <a:cubicBezTo>
                    <a:pt x="79" y="368"/>
                    <a:pt x="79" y="368"/>
                    <a:pt x="79" y="368"/>
                  </a:cubicBezTo>
                  <a:cubicBezTo>
                    <a:pt x="80" y="365"/>
                    <a:pt x="80" y="365"/>
                    <a:pt x="80" y="365"/>
                  </a:cubicBezTo>
                  <a:cubicBezTo>
                    <a:pt x="83" y="364"/>
                    <a:pt x="85" y="360"/>
                    <a:pt x="87" y="358"/>
                  </a:cubicBezTo>
                  <a:cubicBezTo>
                    <a:pt x="90" y="355"/>
                    <a:pt x="92" y="350"/>
                    <a:pt x="94" y="346"/>
                  </a:cubicBezTo>
                  <a:cubicBezTo>
                    <a:pt x="96" y="344"/>
                    <a:pt x="97" y="340"/>
                    <a:pt x="98" y="338"/>
                  </a:cubicBezTo>
                  <a:cubicBezTo>
                    <a:pt x="100" y="336"/>
                    <a:pt x="103" y="334"/>
                    <a:pt x="105" y="332"/>
                  </a:cubicBezTo>
                  <a:cubicBezTo>
                    <a:pt x="106" y="330"/>
                    <a:pt x="106" y="327"/>
                    <a:pt x="107" y="326"/>
                  </a:cubicBezTo>
                  <a:cubicBezTo>
                    <a:pt x="109" y="324"/>
                    <a:pt x="113" y="322"/>
                    <a:pt x="115" y="320"/>
                  </a:cubicBezTo>
                  <a:cubicBezTo>
                    <a:pt x="117" y="318"/>
                    <a:pt x="119" y="314"/>
                    <a:pt x="119" y="312"/>
                  </a:cubicBezTo>
                  <a:cubicBezTo>
                    <a:pt x="120" y="308"/>
                    <a:pt x="116" y="304"/>
                    <a:pt x="117" y="301"/>
                  </a:cubicBezTo>
                  <a:cubicBezTo>
                    <a:pt x="117" y="298"/>
                    <a:pt x="119" y="296"/>
                    <a:pt x="120" y="294"/>
                  </a:cubicBezTo>
                  <a:cubicBezTo>
                    <a:pt x="125" y="298"/>
                    <a:pt x="125" y="298"/>
                    <a:pt x="125" y="298"/>
                  </a:cubicBezTo>
                  <a:cubicBezTo>
                    <a:pt x="132" y="303"/>
                    <a:pt x="132" y="303"/>
                    <a:pt x="132" y="303"/>
                  </a:cubicBezTo>
                  <a:cubicBezTo>
                    <a:pt x="139" y="306"/>
                    <a:pt x="139" y="306"/>
                    <a:pt x="139" y="306"/>
                  </a:cubicBezTo>
                  <a:cubicBezTo>
                    <a:pt x="149" y="308"/>
                    <a:pt x="149" y="308"/>
                    <a:pt x="149" y="308"/>
                  </a:cubicBezTo>
                  <a:cubicBezTo>
                    <a:pt x="167" y="310"/>
                    <a:pt x="167" y="310"/>
                    <a:pt x="167" y="310"/>
                  </a:cubicBezTo>
                  <a:cubicBezTo>
                    <a:pt x="179" y="311"/>
                    <a:pt x="179" y="311"/>
                    <a:pt x="179" y="311"/>
                  </a:cubicBezTo>
                  <a:cubicBezTo>
                    <a:pt x="184" y="310"/>
                    <a:pt x="184" y="310"/>
                    <a:pt x="184" y="310"/>
                  </a:cubicBezTo>
                  <a:cubicBezTo>
                    <a:pt x="188" y="308"/>
                    <a:pt x="188" y="308"/>
                    <a:pt x="188" y="308"/>
                  </a:cubicBezTo>
                  <a:cubicBezTo>
                    <a:pt x="192" y="303"/>
                    <a:pt x="192" y="303"/>
                    <a:pt x="192" y="303"/>
                  </a:cubicBezTo>
                  <a:cubicBezTo>
                    <a:pt x="195" y="292"/>
                    <a:pt x="195" y="292"/>
                    <a:pt x="195" y="292"/>
                  </a:cubicBezTo>
                  <a:cubicBezTo>
                    <a:pt x="201" y="274"/>
                    <a:pt x="201" y="274"/>
                    <a:pt x="201" y="274"/>
                  </a:cubicBezTo>
                  <a:cubicBezTo>
                    <a:pt x="207" y="262"/>
                    <a:pt x="207" y="262"/>
                    <a:pt x="207" y="262"/>
                  </a:cubicBezTo>
                  <a:cubicBezTo>
                    <a:pt x="213" y="248"/>
                    <a:pt x="213" y="248"/>
                    <a:pt x="213" y="248"/>
                  </a:cubicBezTo>
                  <a:cubicBezTo>
                    <a:pt x="212" y="241"/>
                    <a:pt x="212" y="241"/>
                    <a:pt x="212" y="241"/>
                  </a:cubicBezTo>
                  <a:cubicBezTo>
                    <a:pt x="203" y="233"/>
                    <a:pt x="203" y="233"/>
                    <a:pt x="203" y="233"/>
                  </a:cubicBezTo>
                  <a:cubicBezTo>
                    <a:pt x="196" y="232"/>
                    <a:pt x="196" y="232"/>
                    <a:pt x="196" y="232"/>
                  </a:cubicBezTo>
                  <a:cubicBezTo>
                    <a:pt x="190" y="229"/>
                    <a:pt x="190" y="229"/>
                    <a:pt x="190" y="229"/>
                  </a:cubicBezTo>
                  <a:cubicBezTo>
                    <a:pt x="184" y="225"/>
                    <a:pt x="184" y="225"/>
                    <a:pt x="184" y="225"/>
                  </a:cubicBezTo>
                  <a:cubicBezTo>
                    <a:pt x="173" y="220"/>
                    <a:pt x="173" y="220"/>
                    <a:pt x="173" y="220"/>
                  </a:cubicBezTo>
                  <a:cubicBezTo>
                    <a:pt x="167" y="214"/>
                    <a:pt x="167" y="214"/>
                    <a:pt x="167" y="214"/>
                  </a:cubicBezTo>
                  <a:cubicBezTo>
                    <a:pt x="175" y="210"/>
                    <a:pt x="175" y="210"/>
                    <a:pt x="175" y="210"/>
                  </a:cubicBezTo>
                  <a:cubicBezTo>
                    <a:pt x="175" y="201"/>
                    <a:pt x="175" y="201"/>
                    <a:pt x="175" y="201"/>
                  </a:cubicBezTo>
                  <a:cubicBezTo>
                    <a:pt x="172" y="192"/>
                    <a:pt x="172" y="192"/>
                    <a:pt x="172" y="192"/>
                  </a:cubicBezTo>
                  <a:cubicBezTo>
                    <a:pt x="167" y="190"/>
                    <a:pt x="167" y="190"/>
                    <a:pt x="167" y="190"/>
                  </a:cubicBezTo>
                  <a:cubicBezTo>
                    <a:pt x="165" y="183"/>
                    <a:pt x="165" y="183"/>
                    <a:pt x="165" y="183"/>
                  </a:cubicBezTo>
                  <a:cubicBezTo>
                    <a:pt x="165" y="177"/>
                    <a:pt x="165" y="177"/>
                    <a:pt x="165" y="177"/>
                  </a:cubicBezTo>
                  <a:cubicBezTo>
                    <a:pt x="158" y="177"/>
                    <a:pt x="158" y="177"/>
                    <a:pt x="158" y="177"/>
                  </a:cubicBezTo>
                  <a:cubicBezTo>
                    <a:pt x="155" y="176"/>
                    <a:pt x="155" y="176"/>
                    <a:pt x="155" y="176"/>
                  </a:cubicBezTo>
                  <a:cubicBezTo>
                    <a:pt x="146" y="170"/>
                    <a:pt x="146" y="170"/>
                    <a:pt x="146" y="170"/>
                  </a:cubicBezTo>
                  <a:cubicBezTo>
                    <a:pt x="144" y="159"/>
                    <a:pt x="144" y="159"/>
                    <a:pt x="144" y="159"/>
                  </a:cubicBezTo>
                  <a:cubicBezTo>
                    <a:pt x="145" y="152"/>
                    <a:pt x="145" y="152"/>
                    <a:pt x="145" y="152"/>
                  </a:cubicBezTo>
                  <a:cubicBezTo>
                    <a:pt x="136" y="151"/>
                    <a:pt x="136" y="151"/>
                    <a:pt x="136" y="151"/>
                  </a:cubicBezTo>
                  <a:cubicBezTo>
                    <a:pt x="128" y="150"/>
                    <a:pt x="128" y="150"/>
                    <a:pt x="128" y="150"/>
                  </a:cubicBezTo>
                  <a:cubicBezTo>
                    <a:pt x="122" y="147"/>
                    <a:pt x="122" y="147"/>
                    <a:pt x="122" y="147"/>
                  </a:cubicBezTo>
                  <a:cubicBezTo>
                    <a:pt x="115" y="137"/>
                    <a:pt x="115" y="137"/>
                    <a:pt x="115" y="137"/>
                  </a:cubicBezTo>
                  <a:cubicBezTo>
                    <a:pt x="111" y="124"/>
                    <a:pt x="111" y="124"/>
                    <a:pt x="111" y="124"/>
                  </a:cubicBezTo>
                  <a:cubicBezTo>
                    <a:pt x="102" y="107"/>
                    <a:pt x="102" y="107"/>
                    <a:pt x="102" y="107"/>
                  </a:cubicBezTo>
                  <a:cubicBezTo>
                    <a:pt x="94" y="96"/>
                    <a:pt x="94" y="96"/>
                    <a:pt x="94" y="96"/>
                  </a:cubicBezTo>
                  <a:cubicBezTo>
                    <a:pt x="87" y="87"/>
                    <a:pt x="87" y="87"/>
                    <a:pt x="87" y="87"/>
                  </a:cubicBezTo>
                  <a:cubicBezTo>
                    <a:pt x="84" y="84"/>
                    <a:pt x="84" y="84"/>
                    <a:pt x="84" y="84"/>
                  </a:cubicBezTo>
                  <a:cubicBezTo>
                    <a:pt x="79" y="80"/>
                    <a:pt x="79" y="80"/>
                    <a:pt x="79" y="80"/>
                  </a:cubicBezTo>
                  <a:cubicBezTo>
                    <a:pt x="74" y="80"/>
                    <a:pt x="74" y="80"/>
                    <a:pt x="74" y="80"/>
                  </a:cubicBezTo>
                  <a:cubicBezTo>
                    <a:pt x="69" y="82"/>
                    <a:pt x="69" y="82"/>
                    <a:pt x="69" y="82"/>
                  </a:cubicBezTo>
                  <a:cubicBezTo>
                    <a:pt x="67" y="87"/>
                    <a:pt x="67" y="87"/>
                    <a:pt x="67" y="87"/>
                  </a:cubicBezTo>
                  <a:cubicBezTo>
                    <a:pt x="65" y="95"/>
                    <a:pt x="65" y="95"/>
                    <a:pt x="65" y="95"/>
                  </a:cubicBezTo>
                  <a:cubicBezTo>
                    <a:pt x="63" y="101"/>
                    <a:pt x="63" y="101"/>
                    <a:pt x="63" y="101"/>
                  </a:cubicBezTo>
                  <a:cubicBezTo>
                    <a:pt x="61" y="109"/>
                    <a:pt x="61" y="109"/>
                    <a:pt x="61" y="109"/>
                  </a:cubicBezTo>
                  <a:cubicBezTo>
                    <a:pt x="54" y="115"/>
                    <a:pt x="54" y="115"/>
                    <a:pt x="54" y="115"/>
                  </a:cubicBezTo>
                  <a:cubicBezTo>
                    <a:pt x="47" y="120"/>
                    <a:pt x="47" y="120"/>
                    <a:pt x="47" y="120"/>
                  </a:cubicBezTo>
                  <a:cubicBezTo>
                    <a:pt x="36" y="121"/>
                    <a:pt x="36" y="121"/>
                    <a:pt x="36" y="121"/>
                  </a:cubicBezTo>
                  <a:cubicBezTo>
                    <a:pt x="35" y="114"/>
                    <a:pt x="35" y="114"/>
                    <a:pt x="35" y="114"/>
                  </a:cubicBezTo>
                  <a:cubicBezTo>
                    <a:pt x="36" y="109"/>
                    <a:pt x="36" y="109"/>
                    <a:pt x="36" y="109"/>
                  </a:cubicBezTo>
                  <a:cubicBezTo>
                    <a:pt x="34" y="105"/>
                    <a:pt x="34" y="105"/>
                    <a:pt x="34" y="105"/>
                  </a:cubicBezTo>
                  <a:cubicBezTo>
                    <a:pt x="29" y="103"/>
                    <a:pt x="29" y="103"/>
                    <a:pt x="29" y="103"/>
                  </a:cubicBezTo>
                  <a:cubicBezTo>
                    <a:pt x="19" y="94"/>
                    <a:pt x="19" y="94"/>
                    <a:pt x="19" y="94"/>
                  </a:cubicBezTo>
                  <a:cubicBezTo>
                    <a:pt x="10" y="89"/>
                    <a:pt x="10" y="89"/>
                    <a:pt x="10" y="89"/>
                  </a:cubicBezTo>
                  <a:cubicBezTo>
                    <a:pt x="1" y="86"/>
                    <a:pt x="1" y="86"/>
                    <a:pt x="1" y="86"/>
                  </a:cubicBezTo>
                  <a:cubicBezTo>
                    <a:pt x="0" y="80"/>
                    <a:pt x="0" y="80"/>
                    <a:pt x="0" y="80"/>
                  </a:cubicBezTo>
                  <a:cubicBezTo>
                    <a:pt x="2" y="80"/>
                    <a:pt x="6" y="79"/>
                    <a:pt x="8" y="79"/>
                  </a:cubicBezTo>
                  <a:cubicBezTo>
                    <a:pt x="12" y="78"/>
                    <a:pt x="16" y="77"/>
                    <a:pt x="20" y="76"/>
                  </a:cubicBezTo>
                  <a:cubicBezTo>
                    <a:pt x="23" y="75"/>
                    <a:pt x="26" y="73"/>
                    <a:pt x="29" y="72"/>
                  </a:cubicBezTo>
                  <a:cubicBezTo>
                    <a:pt x="32" y="71"/>
                    <a:pt x="38" y="70"/>
                    <a:pt x="41" y="69"/>
                  </a:cubicBezTo>
                  <a:cubicBezTo>
                    <a:pt x="44" y="68"/>
                    <a:pt x="48" y="66"/>
                    <a:pt x="50" y="64"/>
                  </a:cubicBezTo>
                  <a:cubicBezTo>
                    <a:pt x="53" y="63"/>
                    <a:pt x="56" y="59"/>
                    <a:pt x="57" y="56"/>
                  </a:cubicBezTo>
                  <a:cubicBezTo>
                    <a:pt x="59" y="54"/>
                    <a:pt x="60" y="50"/>
                    <a:pt x="61" y="47"/>
                  </a:cubicBezTo>
                  <a:cubicBezTo>
                    <a:pt x="62" y="45"/>
                    <a:pt x="62" y="42"/>
                    <a:pt x="63" y="40"/>
                  </a:cubicBezTo>
                  <a:cubicBezTo>
                    <a:pt x="64" y="40"/>
                    <a:pt x="65" y="38"/>
                    <a:pt x="66" y="38"/>
                  </a:cubicBezTo>
                  <a:cubicBezTo>
                    <a:pt x="67" y="37"/>
                    <a:pt x="69" y="37"/>
                    <a:pt x="71" y="38"/>
                  </a:cubicBezTo>
                  <a:cubicBezTo>
                    <a:pt x="73" y="38"/>
                    <a:pt x="75" y="41"/>
                    <a:pt x="78" y="41"/>
                  </a:cubicBezTo>
                  <a:cubicBezTo>
                    <a:pt x="80" y="42"/>
                    <a:pt x="82" y="42"/>
                    <a:pt x="84" y="42"/>
                  </a:cubicBezTo>
                  <a:cubicBezTo>
                    <a:pt x="86" y="42"/>
                    <a:pt x="88" y="42"/>
                    <a:pt x="89" y="41"/>
                  </a:cubicBezTo>
                  <a:cubicBezTo>
                    <a:pt x="91" y="41"/>
                    <a:pt x="92" y="40"/>
                    <a:pt x="94" y="40"/>
                  </a:cubicBezTo>
                  <a:cubicBezTo>
                    <a:pt x="95" y="39"/>
                    <a:pt x="97" y="37"/>
                    <a:pt x="98" y="37"/>
                  </a:cubicBezTo>
                  <a:cubicBezTo>
                    <a:pt x="100" y="36"/>
                    <a:pt x="104" y="36"/>
                    <a:pt x="106" y="36"/>
                  </a:cubicBezTo>
                  <a:cubicBezTo>
                    <a:pt x="108" y="36"/>
                    <a:pt x="110" y="36"/>
                    <a:pt x="112" y="37"/>
                  </a:cubicBezTo>
                  <a:cubicBezTo>
                    <a:pt x="114" y="38"/>
                    <a:pt x="116" y="39"/>
                    <a:pt x="118" y="40"/>
                  </a:cubicBezTo>
                  <a:cubicBezTo>
                    <a:pt x="119" y="42"/>
                    <a:pt x="120" y="45"/>
                    <a:pt x="121" y="47"/>
                  </a:cubicBezTo>
                  <a:cubicBezTo>
                    <a:pt x="122" y="48"/>
                    <a:pt x="123" y="51"/>
                    <a:pt x="124" y="53"/>
                  </a:cubicBezTo>
                  <a:cubicBezTo>
                    <a:pt x="125" y="54"/>
                    <a:pt x="125" y="56"/>
                    <a:pt x="126" y="57"/>
                  </a:cubicBezTo>
                  <a:cubicBezTo>
                    <a:pt x="126" y="59"/>
                    <a:pt x="126" y="62"/>
                    <a:pt x="127" y="64"/>
                  </a:cubicBezTo>
                  <a:cubicBezTo>
                    <a:pt x="127" y="65"/>
                    <a:pt x="128" y="68"/>
                    <a:pt x="128" y="70"/>
                  </a:cubicBezTo>
                  <a:cubicBezTo>
                    <a:pt x="129" y="71"/>
                    <a:pt x="131" y="73"/>
                    <a:pt x="132" y="74"/>
                  </a:cubicBezTo>
                  <a:cubicBezTo>
                    <a:pt x="134" y="76"/>
                    <a:pt x="139" y="76"/>
                    <a:pt x="141" y="78"/>
                  </a:cubicBezTo>
                  <a:cubicBezTo>
                    <a:pt x="142" y="79"/>
                    <a:pt x="142" y="81"/>
                    <a:pt x="144" y="81"/>
                  </a:cubicBezTo>
                  <a:cubicBezTo>
                    <a:pt x="146" y="82"/>
                    <a:pt x="150" y="81"/>
                    <a:pt x="152" y="80"/>
                  </a:cubicBezTo>
                  <a:cubicBezTo>
                    <a:pt x="153" y="79"/>
                    <a:pt x="154" y="76"/>
                    <a:pt x="155" y="74"/>
                  </a:cubicBezTo>
                  <a:cubicBezTo>
                    <a:pt x="156" y="72"/>
                    <a:pt x="158" y="69"/>
                    <a:pt x="160" y="68"/>
                  </a:cubicBezTo>
                  <a:cubicBezTo>
                    <a:pt x="162" y="67"/>
                    <a:pt x="165" y="68"/>
                    <a:pt x="168" y="68"/>
                  </a:cubicBezTo>
                  <a:cubicBezTo>
                    <a:pt x="171" y="68"/>
                    <a:pt x="175" y="69"/>
                    <a:pt x="178" y="69"/>
                  </a:cubicBezTo>
                  <a:cubicBezTo>
                    <a:pt x="182" y="69"/>
                    <a:pt x="186" y="69"/>
                    <a:pt x="189" y="70"/>
                  </a:cubicBezTo>
                  <a:cubicBezTo>
                    <a:pt x="191" y="70"/>
                    <a:pt x="193" y="72"/>
                    <a:pt x="194" y="72"/>
                  </a:cubicBezTo>
                  <a:cubicBezTo>
                    <a:pt x="196" y="73"/>
                    <a:pt x="199" y="73"/>
                    <a:pt x="201" y="73"/>
                  </a:cubicBezTo>
                  <a:cubicBezTo>
                    <a:pt x="205" y="74"/>
                    <a:pt x="210" y="74"/>
                    <a:pt x="213" y="73"/>
                  </a:cubicBezTo>
                  <a:cubicBezTo>
                    <a:pt x="215" y="73"/>
                    <a:pt x="218" y="73"/>
                    <a:pt x="220" y="72"/>
                  </a:cubicBezTo>
                  <a:cubicBezTo>
                    <a:pt x="222" y="71"/>
                    <a:pt x="223" y="69"/>
                    <a:pt x="225" y="68"/>
                  </a:cubicBezTo>
                  <a:cubicBezTo>
                    <a:pt x="226" y="67"/>
                    <a:pt x="228" y="66"/>
                    <a:pt x="229" y="64"/>
                  </a:cubicBezTo>
                  <a:cubicBezTo>
                    <a:pt x="230" y="63"/>
                    <a:pt x="231" y="61"/>
                    <a:pt x="233" y="60"/>
                  </a:cubicBezTo>
                  <a:cubicBezTo>
                    <a:pt x="234" y="59"/>
                    <a:pt x="235" y="59"/>
                    <a:pt x="236" y="59"/>
                  </a:cubicBezTo>
                  <a:cubicBezTo>
                    <a:pt x="238" y="59"/>
                    <a:pt x="239" y="61"/>
                    <a:pt x="241" y="62"/>
                  </a:cubicBezTo>
                  <a:cubicBezTo>
                    <a:pt x="242" y="63"/>
                    <a:pt x="243" y="64"/>
                    <a:pt x="244" y="64"/>
                  </a:cubicBezTo>
                  <a:cubicBezTo>
                    <a:pt x="247" y="65"/>
                    <a:pt x="250" y="64"/>
                    <a:pt x="253" y="64"/>
                  </a:cubicBezTo>
                  <a:cubicBezTo>
                    <a:pt x="254" y="64"/>
                    <a:pt x="256" y="65"/>
                    <a:pt x="257" y="64"/>
                  </a:cubicBezTo>
                  <a:cubicBezTo>
                    <a:pt x="258" y="64"/>
                    <a:pt x="259" y="61"/>
                    <a:pt x="259" y="60"/>
                  </a:cubicBezTo>
                  <a:cubicBezTo>
                    <a:pt x="260" y="58"/>
                    <a:pt x="262" y="56"/>
                    <a:pt x="262" y="55"/>
                  </a:cubicBezTo>
                  <a:cubicBezTo>
                    <a:pt x="262" y="53"/>
                    <a:pt x="262" y="50"/>
                    <a:pt x="262" y="48"/>
                  </a:cubicBezTo>
                  <a:cubicBezTo>
                    <a:pt x="262" y="48"/>
                    <a:pt x="262" y="47"/>
                    <a:pt x="262" y="47"/>
                  </a:cubicBezTo>
                  <a:cubicBezTo>
                    <a:pt x="263" y="45"/>
                    <a:pt x="265" y="42"/>
                    <a:pt x="266" y="41"/>
                  </a:cubicBezTo>
                  <a:cubicBezTo>
                    <a:pt x="268" y="41"/>
                    <a:pt x="270" y="41"/>
                    <a:pt x="271" y="41"/>
                  </a:cubicBezTo>
                  <a:cubicBezTo>
                    <a:pt x="273" y="41"/>
                    <a:pt x="276" y="40"/>
                    <a:pt x="278" y="40"/>
                  </a:cubicBezTo>
                  <a:cubicBezTo>
                    <a:pt x="279" y="39"/>
                    <a:pt x="279" y="39"/>
                    <a:pt x="280" y="39"/>
                  </a:cubicBezTo>
                  <a:cubicBezTo>
                    <a:pt x="282" y="37"/>
                    <a:pt x="285" y="34"/>
                    <a:pt x="288" y="32"/>
                  </a:cubicBezTo>
                  <a:cubicBezTo>
                    <a:pt x="289" y="30"/>
                    <a:pt x="291" y="29"/>
                    <a:pt x="292" y="28"/>
                  </a:cubicBezTo>
                  <a:cubicBezTo>
                    <a:pt x="295" y="27"/>
                    <a:pt x="298" y="28"/>
                    <a:pt x="300" y="28"/>
                  </a:cubicBezTo>
                  <a:cubicBezTo>
                    <a:pt x="301" y="28"/>
                    <a:pt x="303" y="27"/>
                    <a:pt x="304" y="27"/>
                  </a:cubicBezTo>
                  <a:cubicBezTo>
                    <a:pt x="306" y="26"/>
                    <a:pt x="309" y="25"/>
                    <a:pt x="311" y="24"/>
                  </a:cubicBezTo>
                  <a:cubicBezTo>
                    <a:pt x="313" y="23"/>
                    <a:pt x="315" y="22"/>
                    <a:pt x="316" y="21"/>
                  </a:cubicBezTo>
                  <a:cubicBezTo>
                    <a:pt x="317" y="20"/>
                    <a:pt x="317" y="18"/>
                    <a:pt x="317" y="17"/>
                  </a:cubicBezTo>
                  <a:cubicBezTo>
                    <a:pt x="319" y="14"/>
                    <a:pt x="324" y="11"/>
                    <a:pt x="327" y="8"/>
                  </a:cubicBezTo>
                  <a:cubicBezTo>
                    <a:pt x="329" y="7"/>
                    <a:pt x="331" y="6"/>
                    <a:pt x="332" y="5"/>
                  </a:cubicBezTo>
                  <a:cubicBezTo>
                    <a:pt x="334" y="4"/>
                    <a:pt x="334" y="1"/>
                    <a:pt x="336" y="0"/>
                  </a:cubicBezTo>
                  <a:cubicBezTo>
                    <a:pt x="337" y="0"/>
                    <a:pt x="340" y="0"/>
                    <a:pt x="341" y="1"/>
                  </a:cubicBezTo>
                  <a:cubicBezTo>
                    <a:pt x="342" y="2"/>
                    <a:pt x="342" y="4"/>
                    <a:pt x="343" y="5"/>
                  </a:cubicBezTo>
                  <a:cubicBezTo>
                    <a:pt x="345" y="7"/>
                    <a:pt x="347" y="8"/>
                    <a:pt x="349" y="9"/>
                  </a:cubicBezTo>
                  <a:cubicBezTo>
                    <a:pt x="350" y="10"/>
                    <a:pt x="352" y="10"/>
                    <a:pt x="353" y="10"/>
                  </a:cubicBezTo>
                  <a:cubicBezTo>
                    <a:pt x="354" y="10"/>
                    <a:pt x="355" y="10"/>
                    <a:pt x="356" y="10"/>
                  </a:cubicBezTo>
                  <a:cubicBezTo>
                    <a:pt x="359" y="10"/>
                    <a:pt x="363" y="9"/>
                    <a:pt x="366" y="8"/>
                  </a:cubicBezTo>
                  <a:cubicBezTo>
                    <a:pt x="368" y="8"/>
                    <a:pt x="371" y="8"/>
                    <a:pt x="372" y="8"/>
                  </a:cubicBezTo>
                  <a:cubicBezTo>
                    <a:pt x="374" y="9"/>
                    <a:pt x="376" y="10"/>
                    <a:pt x="378" y="10"/>
                  </a:cubicBezTo>
                  <a:cubicBezTo>
                    <a:pt x="380" y="11"/>
                    <a:pt x="383" y="10"/>
                    <a:pt x="386" y="10"/>
                  </a:cubicBezTo>
                  <a:cubicBezTo>
                    <a:pt x="388" y="10"/>
                    <a:pt x="391" y="11"/>
                    <a:pt x="393" y="12"/>
                  </a:cubicBezTo>
                  <a:cubicBezTo>
                    <a:pt x="394" y="13"/>
                    <a:pt x="395" y="15"/>
                    <a:pt x="396" y="16"/>
                  </a:cubicBezTo>
                  <a:cubicBezTo>
                    <a:pt x="396" y="19"/>
                    <a:pt x="395" y="23"/>
                    <a:pt x="396" y="25"/>
                  </a:cubicBezTo>
                  <a:cubicBezTo>
                    <a:pt x="398" y="28"/>
                    <a:pt x="402" y="31"/>
                    <a:pt x="404" y="33"/>
                  </a:cubicBezTo>
                  <a:cubicBezTo>
                    <a:pt x="407" y="36"/>
                    <a:pt x="409" y="42"/>
                    <a:pt x="414" y="43"/>
                  </a:cubicBezTo>
                  <a:cubicBezTo>
                    <a:pt x="420" y="44"/>
                    <a:pt x="419" y="46"/>
                    <a:pt x="421" y="48"/>
                  </a:cubicBezTo>
                  <a:cubicBezTo>
                    <a:pt x="424" y="50"/>
                    <a:pt x="428" y="54"/>
                    <a:pt x="431" y="54"/>
                  </a:cubicBezTo>
                  <a:cubicBezTo>
                    <a:pt x="435" y="54"/>
                    <a:pt x="439" y="55"/>
                    <a:pt x="443" y="56"/>
                  </a:cubicBezTo>
                  <a:cubicBezTo>
                    <a:pt x="446" y="56"/>
                    <a:pt x="450" y="56"/>
                    <a:pt x="453" y="56"/>
                  </a:cubicBezTo>
                  <a:cubicBezTo>
                    <a:pt x="456" y="56"/>
                    <a:pt x="461" y="57"/>
                    <a:pt x="463" y="56"/>
                  </a:cubicBezTo>
                  <a:cubicBezTo>
                    <a:pt x="464" y="55"/>
                    <a:pt x="464" y="53"/>
                    <a:pt x="464" y="52"/>
                  </a:cubicBezTo>
                  <a:cubicBezTo>
                    <a:pt x="465" y="50"/>
                    <a:pt x="467" y="48"/>
                    <a:pt x="469" y="47"/>
                  </a:cubicBezTo>
                  <a:cubicBezTo>
                    <a:pt x="470" y="46"/>
                    <a:pt x="472" y="46"/>
                    <a:pt x="473" y="47"/>
                  </a:cubicBezTo>
                  <a:cubicBezTo>
                    <a:pt x="474" y="47"/>
                    <a:pt x="476" y="48"/>
                    <a:pt x="477" y="48"/>
                  </a:cubicBezTo>
                  <a:close/>
                </a:path>
              </a:pathLst>
            </a:custGeom>
            <a:pattFill prst="dkVert">
              <a:fgClr>
                <a:schemeClr val="accent2"/>
              </a:fgClr>
              <a:bgClr>
                <a:schemeClr val="bg1"/>
              </a:bgClr>
            </a:patt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82" name="Freeform 32">
              <a:extLst>
                <a:ext uri="{FF2B5EF4-FFF2-40B4-BE49-F238E27FC236}">
                  <a16:creationId xmlns:a16="http://schemas.microsoft.com/office/drawing/2014/main" id="{720B5350-8A26-4709-BA61-50BD2BC97413}"/>
                </a:ext>
              </a:extLst>
            </p:cNvPr>
            <p:cNvSpPr>
              <a:spLocks noEditPoints="1"/>
            </p:cNvSpPr>
            <p:nvPr/>
          </p:nvSpPr>
          <p:spPr bwMode="gray">
            <a:xfrm>
              <a:off x="10092" y="1427"/>
              <a:ext cx="1359" cy="775"/>
            </a:xfrm>
            <a:custGeom>
              <a:avLst/>
              <a:gdLst>
                <a:gd name="T0" fmla="*/ 172 w 575"/>
                <a:gd name="T1" fmla="*/ 50 h 328"/>
                <a:gd name="T2" fmla="*/ 147 w 575"/>
                <a:gd name="T3" fmla="*/ 39 h 328"/>
                <a:gd name="T4" fmla="*/ 127 w 575"/>
                <a:gd name="T5" fmla="*/ 27 h 328"/>
                <a:gd name="T6" fmla="*/ 112 w 575"/>
                <a:gd name="T7" fmla="*/ 19 h 328"/>
                <a:gd name="T8" fmla="*/ 86 w 575"/>
                <a:gd name="T9" fmla="*/ 17 h 328"/>
                <a:gd name="T10" fmla="*/ 67 w 575"/>
                <a:gd name="T11" fmla="*/ 8 h 328"/>
                <a:gd name="T12" fmla="*/ 52 w 575"/>
                <a:gd name="T13" fmla="*/ 3 h 328"/>
                <a:gd name="T14" fmla="*/ 29 w 575"/>
                <a:gd name="T15" fmla="*/ 2 h 328"/>
                <a:gd name="T16" fmla="*/ 12 w 575"/>
                <a:gd name="T17" fmla="*/ 8 h 328"/>
                <a:gd name="T18" fmla="*/ 0 w 575"/>
                <a:gd name="T19" fmla="*/ 25 h 328"/>
                <a:gd name="T20" fmla="*/ 16 w 575"/>
                <a:gd name="T21" fmla="*/ 48 h 328"/>
                <a:gd name="T22" fmla="*/ 50 w 575"/>
                <a:gd name="T23" fmla="*/ 55 h 328"/>
                <a:gd name="T24" fmla="*/ 67 w 575"/>
                <a:gd name="T25" fmla="*/ 41 h 328"/>
                <a:gd name="T26" fmla="*/ 74 w 575"/>
                <a:gd name="T27" fmla="*/ 34 h 328"/>
                <a:gd name="T28" fmla="*/ 94 w 575"/>
                <a:gd name="T29" fmla="*/ 42 h 328"/>
                <a:gd name="T30" fmla="*/ 115 w 575"/>
                <a:gd name="T31" fmla="*/ 51 h 328"/>
                <a:gd name="T32" fmla="*/ 83 w 575"/>
                <a:gd name="T33" fmla="*/ 89 h 328"/>
                <a:gd name="T34" fmla="*/ 60 w 575"/>
                <a:gd name="T35" fmla="*/ 84 h 328"/>
                <a:gd name="T36" fmla="*/ 57 w 575"/>
                <a:gd name="T37" fmla="*/ 98 h 328"/>
                <a:gd name="T38" fmla="*/ 73 w 575"/>
                <a:gd name="T39" fmla="*/ 102 h 328"/>
                <a:gd name="T40" fmla="*/ 97 w 575"/>
                <a:gd name="T41" fmla="*/ 126 h 328"/>
                <a:gd name="T42" fmla="*/ 122 w 575"/>
                <a:gd name="T43" fmla="*/ 142 h 328"/>
                <a:gd name="T44" fmla="*/ 111 w 575"/>
                <a:gd name="T45" fmla="*/ 154 h 328"/>
                <a:gd name="T46" fmla="*/ 128 w 575"/>
                <a:gd name="T47" fmla="*/ 164 h 328"/>
                <a:gd name="T48" fmla="*/ 156 w 575"/>
                <a:gd name="T49" fmla="*/ 173 h 328"/>
                <a:gd name="T50" fmla="*/ 149 w 575"/>
                <a:gd name="T51" fmla="*/ 216 h 328"/>
                <a:gd name="T52" fmla="*/ 154 w 575"/>
                <a:gd name="T53" fmla="*/ 255 h 328"/>
                <a:gd name="T54" fmla="*/ 168 w 575"/>
                <a:gd name="T55" fmla="*/ 272 h 328"/>
                <a:gd name="T56" fmla="*/ 150 w 575"/>
                <a:gd name="T57" fmla="*/ 295 h 328"/>
                <a:gd name="T58" fmla="*/ 184 w 575"/>
                <a:gd name="T59" fmla="*/ 307 h 328"/>
                <a:gd name="T60" fmla="*/ 201 w 575"/>
                <a:gd name="T61" fmla="*/ 319 h 328"/>
                <a:gd name="T62" fmla="*/ 210 w 575"/>
                <a:gd name="T63" fmla="*/ 300 h 328"/>
                <a:gd name="T64" fmla="*/ 223 w 575"/>
                <a:gd name="T65" fmla="*/ 275 h 328"/>
                <a:gd name="T66" fmla="*/ 256 w 575"/>
                <a:gd name="T67" fmla="*/ 266 h 328"/>
                <a:gd name="T68" fmla="*/ 240 w 575"/>
                <a:gd name="T69" fmla="*/ 240 h 328"/>
                <a:gd name="T70" fmla="*/ 229 w 575"/>
                <a:gd name="T71" fmla="*/ 217 h 328"/>
                <a:gd name="T72" fmla="*/ 255 w 575"/>
                <a:gd name="T73" fmla="*/ 205 h 328"/>
                <a:gd name="T74" fmla="*/ 285 w 575"/>
                <a:gd name="T75" fmla="*/ 219 h 328"/>
                <a:gd name="T76" fmla="*/ 320 w 575"/>
                <a:gd name="T77" fmla="*/ 220 h 328"/>
                <a:gd name="T78" fmla="*/ 347 w 575"/>
                <a:gd name="T79" fmla="*/ 209 h 328"/>
                <a:gd name="T80" fmla="*/ 361 w 575"/>
                <a:gd name="T81" fmla="*/ 217 h 328"/>
                <a:gd name="T82" fmla="*/ 386 w 575"/>
                <a:gd name="T83" fmla="*/ 224 h 328"/>
                <a:gd name="T84" fmla="*/ 417 w 575"/>
                <a:gd name="T85" fmla="*/ 230 h 328"/>
                <a:gd name="T86" fmla="*/ 452 w 575"/>
                <a:gd name="T87" fmla="*/ 219 h 328"/>
                <a:gd name="T88" fmla="*/ 440 w 575"/>
                <a:gd name="T89" fmla="*/ 190 h 328"/>
                <a:gd name="T90" fmla="*/ 418 w 575"/>
                <a:gd name="T91" fmla="*/ 191 h 328"/>
                <a:gd name="T92" fmla="*/ 429 w 575"/>
                <a:gd name="T93" fmla="*/ 182 h 328"/>
                <a:gd name="T94" fmla="*/ 449 w 575"/>
                <a:gd name="T95" fmla="*/ 172 h 328"/>
                <a:gd name="T96" fmla="*/ 469 w 575"/>
                <a:gd name="T97" fmla="*/ 173 h 328"/>
                <a:gd name="T98" fmla="*/ 468 w 575"/>
                <a:gd name="T99" fmla="*/ 188 h 328"/>
                <a:gd name="T100" fmla="*/ 483 w 575"/>
                <a:gd name="T101" fmla="*/ 198 h 328"/>
                <a:gd name="T102" fmla="*/ 503 w 575"/>
                <a:gd name="T103" fmla="*/ 220 h 328"/>
                <a:gd name="T104" fmla="*/ 514 w 575"/>
                <a:gd name="T105" fmla="*/ 201 h 328"/>
                <a:gd name="T106" fmla="*/ 538 w 575"/>
                <a:gd name="T107" fmla="*/ 184 h 328"/>
                <a:gd name="T108" fmla="*/ 372 w 575"/>
                <a:gd name="T109" fmla="*/ 43 h 328"/>
                <a:gd name="T110" fmla="*/ 338 w 575"/>
                <a:gd name="T111" fmla="*/ 38 h 328"/>
                <a:gd name="T112" fmla="*/ 307 w 575"/>
                <a:gd name="T113" fmla="*/ 20 h 328"/>
                <a:gd name="T114" fmla="*/ 188 w 575"/>
                <a:gd name="T115" fmla="*/ 46 h 328"/>
                <a:gd name="T116" fmla="*/ 563 w 575"/>
                <a:gd name="T117" fmla="*/ 207 h 328"/>
                <a:gd name="T118" fmla="*/ 540 w 575"/>
                <a:gd name="T119" fmla="*/ 207 h 328"/>
                <a:gd name="T120" fmla="*/ 552 w 575"/>
                <a:gd name="T121" fmla="*/ 182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5" h="328">
                  <a:moveTo>
                    <a:pt x="188" y="46"/>
                  </a:moveTo>
                  <a:cubicBezTo>
                    <a:pt x="188" y="46"/>
                    <a:pt x="183" y="48"/>
                    <a:pt x="181" y="49"/>
                  </a:cubicBezTo>
                  <a:cubicBezTo>
                    <a:pt x="178" y="50"/>
                    <a:pt x="174" y="50"/>
                    <a:pt x="172" y="50"/>
                  </a:cubicBezTo>
                  <a:cubicBezTo>
                    <a:pt x="170" y="50"/>
                    <a:pt x="167" y="49"/>
                    <a:pt x="166" y="48"/>
                  </a:cubicBezTo>
                  <a:cubicBezTo>
                    <a:pt x="162" y="47"/>
                    <a:pt x="159" y="43"/>
                    <a:pt x="156" y="42"/>
                  </a:cubicBezTo>
                  <a:cubicBezTo>
                    <a:pt x="153" y="41"/>
                    <a:pt x="149" y="40"/>
                    <a:pt x="147" y="39"/>
                  </a:cubicBezTo>
                  <a:cubicBezTo>
                    <a:pt x="144" y="38"/>
                    <a:pt x="141" y="38"/>
                    <a:pt x="139" y="36"/>
                  </a:cubicBezTo>
                  <a:cubicBezTo>
                    <a:pt x="137" y="35"/>
                    <a:pt x="135" y="33"/>
                    <a:pt x="133" y="32"/>
                  </a:cubicBezTo>
                  <a:cubicBezTo>
                    <a:pt x="132" y="30"/>
                    <a:pt x="129" y="28"/>
                    <a:pt x="127" y="27"/>
                  </a:cubicBezTo>
                  <a:cubicBezTo>
                    <a:pt x="126" y="26"/>
                    <a:pt x="124" y="24"/>
                    <a:pt x="123" y="23"/>
                  </a:cubicBezTo>
                  <a:cubicBezTo>
                    <a:pt x="122" y="22"/>
                    <a:pt x="120" y="21"/>
                    <a:pt x="119" y="20"/>
                  </a:cubicBezTo>
                  <a:cubicBezTo>
                    <a:pt x="117" y="19"/>
                    <a:pt x="114" y="19"/>
                    <a:pt x="112" y="19"/>
                  </a:cubicBezTo>
                  <a:cubicBezTo>
                    <a:pt x="110" y="18"/>
                    <a:pt x="107" y="19"/>
                    <a:pt x="105" y="19"/>
                  </a:cubicBezTo>
                  <a:cubicBezTo>
                    <a:pt x="102" y="20"/>
                    <a:pt x="99" y="20"/>
                    <a:pt x="96" y="19"/>
                  </a:cubicBezTo>
                  <a:cubicBezTo>
                    <a:pt x="93" y="19"/>
                    <a:pt x="89" y="18"/>
                    <a:pt x="86" y="17"/>
                  </a:cubicBezTo>
                  <a:cubicBezTo>
                    <a:pt x="84" y="16"/>
                    <a:pt x="81" y="15"/>
                    <a:pt x="78" y="13"/>
                  </a:cubicBezTo>
                  <a:cubicBezTo>
                    <a:pt x="77" y="12"/>
                    <a:pt x="75" y="10"/>
                    <a:pt x="73" y="9"/>
                  </a:cubicBezTo>
                  <a:cubicBezTo>
                    <a:pt x="71" y="8"/>
                    <a:pt x="69" y="8"/>
                    <a:pt x="67" y="8"/>
                  </a:cubicBezTo>
                  <a:cubicBezTo>
                    <a:pt x="65" y="8"/>
                    <a:pt x="62" y="7"/>
                    <a:pt x="60" y="6"/>
                  </a:cubicBezTo>
                  <a:cubicBezTo>
                    <a:pt x="59" y="5"/>
                    <a:pt x="56" y="4"/>
                    <a:pt x="54" y="3"/>
                  </a:cubicBezTo>
                  <a:cubicBezTo>
                    <a:pt x="53" y="3"/>
                    <a:pt x="52" y="3"/>
                    <a:pt x="52" y="3"/>
                  </a:cubicBezTo>
                  <a:cubicBezTo>
                    <a:pt x="48" y="2"/>
                    <a:pt x="43" y="3"/>
                    <a:pt x="40" y="3"/>
                  </a:cubicBezTo>
                  <a:cubicBezTo>
                    <a:pt x="38" y="4"/>
                    <a:pt x="36" y="5"/>
                    <a:pt x="34" y="4"/>
                  </a:cubicBezTo>
                  <a:cubicBezTo>
                    <a:pt x="32" y="4"/>
                    <a:pt x="31" y="2"/>
                    <a:pt x="29" y="2"/>
                  </a:cubicBezTo>
                  <a:cubicBezTo>
                    <a:pt x="28" y="1"/>
                    <a:pt x="25" y="0"/>
                    <a:pt x="23" y="1"/>
                  </a:cubicBezTo>
                  <a:cubicBezTo>
                    <a:pt x="21" y="1"/>
                    <a:pt x="19" y="5"/>
                    <a:pt x="17" y="6"/>
                  </a:cubicBezTo>
                  <a:cubicBezTo>
                    <a:pt x="16" y="7"/>
                    <a:pt x="14" y="7"/>
                    <a:pt x="12" y="8"/>
                  </a:cubicBezTo>
                  <a:cubicBezTo>
                    <a:pt x="11" y="9"/>
                    <a:pt x="9" y="11"/>
                    <a:pt x="8" y="11"/>
                  </a:cubicBezTo>
                  <a:cubicBezTo>
                    <a:pt x="1" y="19"/>
                    <a:pt x="1" y="19"/>
                    <a:pt x="1" y="19"/>
                  </a:cubicBezTo>
                  <a:cubicBezTo>
                    <a:pt x="0" y="25"/>
                    <a:pt x="0" y="25"/>
                    <a:pt x="0" y="25"/>
                  </a:cubicBezTo>
                  <a:cubicBezTo>
                    <a:pt x="5" y="36"/>
                    <a:pt x="5" y="36"/>
                    <a:pt x="5" y="36"/>
                  </a:cubicBezTo>
                  <a:cubicBezTo>
                    <a:pt x="11" y="45"/>
                    <a:pt x="11" y="45"/>
                    <a:pt x="11" y="45"/>
                  </a:cubicBezTo>
                  <a:cubicBezTo>
                    <a:pt x="16" y="48"/>
                    <a:pt x="16" y="48"/>
                    <a:pt x="16" y="48"/>
                  </a:cubicBezTo>
                  <a:cubicBezTo>
                    <a:pt x="23" y="52"/>
                    <a:pt x="23" y="52"/>
                    <a:pt x="23" y="52"/>
                  </a:cubicBezTo>
                  <a:cubicBezTo>
                    <a:pt x="37" y="54"/>
                    <a:pt x="37" y="54"/>
                    <a:pt x="37" y="54"/>
                  </a:cubicBezTo>
                  <a:cubicBezTo>
                    <a:pt x="50" y="55"/>
                    <a:pt x="50" y="55"/>
                    <a:pt x="50" y="55"/>
                  </a:cubicBezTo>
                  <a:cubicBezTo>
                    <a:pt x="59" y="49"/>
                    <a:pt x="59" y="49"/>
                    <a:pt x="59" y="49"/>
                  </a:cubicBezTo>
                  <a:cubicBezTo>
                    <a:pt x="64" y="44"/>
                    <a:pt x="64" y="44"/>
                    <a:pt x="64" y="44"/>
                  </a:cubicBezTo>
                  <a:cubicBezTo>
                    <a:pt x="67" y="41"/>
                    <a:pt x="67" y="41"/>
                    <a:pt x="67" y="41"/>
                  </a:cubicBezTo>
                  <a:cubicBezTo>
                    <a:pt x="70" y="37"/>
                    <a:pt x="70" y="37"/>
                    <a:pt x="70" y="37"/>
                  </a:cubicBezTo>
                  <a:cubicBezTo>
                    <a:pt x="72" y="33"/>
                    <a:pt x="72" y="33"/>
                    <a:pt x="72" y="33"/>
                  </a:cubicBezTo>
                  <a:cubicBezTo>
                    <a:pt x="74" y="34"/>
                    <a:pt x="74" y="34"/>
                    <a:pt x="74" y="34"/>
                  </a:cubicBezTo>
                  <a:cubicBezTo>
                    <a:pt x="86" y="35"/>
                    <a:pt x="86" y="35"/>
                    <a:pt x="86" y="35"/>
                  </a:cubicBezTo>
                  <a:cubicBezTo>
                    <a:pt x="86" y="38"/>
                    <a:pt x="86" y="38"/>
                    <a:pt x="86" y="38"/>
                  </a:cubicBezTo>
                  <a:cubicBezTo>
                    <a:pt x="94" y="42"/>
                    <a:pt x="94" y="42"/>
                    <a:pt x="94" y="42"/>
                  </a:cubicBezTo>
                  <a:cubicBezTo>
                    <a:pt x="104" y="46"/>
                    <a:pt x="104" y="46"/>
                    <a:pt x="104" y="46"/>
                  </a:cubicBezTo>
                  <a:cubicBezTo>
                    <a:pt x="113" y="48"/>
                    <a:pt x="113" y="48"/>
                    <a:pt x="113" y="48"/>
                  </a:cubicBezTo>
                  <a:cubicBezTo>
                    <a:pt x="115" y="51"/>
                    <a:pt x="115" y="51"/>
                    <a:pt x="115" y="51"/>
                  </a:cubicBezTo>
                  <a:cubicBezTo>
                    <a:pt x="101" y="76"/>
                    <a:pt x="101" y="76"/>
                    <a:pt x="101" y="76"/>
                  </a:cubicBezTo>
                  <a:cubicBezTo>
                    <a:pt x="89" y="93"/>
                    <a:pt x="89" y="93"/>
                    <a:pt x="89" y="93"/>
                  </a:cubicBezTo>
                  <a:cubicBezTo>
                    <a:pt x="83" y="89"/>
                    <a:pt x="83" y="89"/>
                    <a:pt x="83" y="89"/>
                  </a:cubicBezTo>
                  <a:cubicBezTo>
                    <a:pt x="83" y="86"/>
                    <a:pt x="83" y="86"/>
                    <a:pt x="83" y="86"/>
                  </a:cubicBezTo>
                  <a:cubicBezTo>
                    <a:pt x="68" y="84"/>
                    <a:pt x="68" y="84"/>
                    <a:pt x="68" y="84"/>
                  </a:cubicBezTo>
                  <a:cubicBezTo>
                    <a:pt x="60" y="84"/>
                    <a:pt x="60" y="84"/>
                    <a:pt x="60" y="84"/>
                  </a:cubicBezTo>
                  <a:cubicBezTo>
                    <a:pt x="56" y="88"/>
                    <a:pt x="56" y="88"/>
                    <a:pt x="56" y="88"/>
                  </a:cubicBezTo>
                  <a:cubicBezTo>
                    <a:pt x="56" y="93"/>
                    <a:pt x="56" y="93"/>
                    <a:pt x="56" y="93"/>
                  </a:cubicBezTo>
                  <a:cubicBezTo>
                    <a:pt x="57" y="98"/>
                    <a:pt x="57" y="98"/>
                    <a:pt x="57" y="98"/>
                  </a:cubicBezTo>
                  <a:cubicBezTo>
                    <a:pt x="60" y="106"/>
                    <a:pt x="60" y="106"/>
                    <a:pt x="60" y="106"/>
                  </a:cubicBezTo>
                  <a:cubicBezTo>
                    <a:pt x="62" y="106"/>
                    <a:pt x="65" y="104"/>
                    <a:pt x="68" y="103"/>
                  </a:cubicBezTo>
                  <a:cubicBezTo>
                    <a:pt x="69" y="103"/>
                    <a:pt x="71" y="102"/>
                    <a:pt x="73" y="102"/>
                  </a:cubicBezTo>
                  <a:cubicBezTo>
                    <a:pt x="77" y="102"/>
                    <a:pt x="83" y="104"/>
                    <a:pt x="87" y="106"/>
                  </a:cubicBezTo>
                  <a:cubicBezTo>
                    <a:pt x="88" y="119"/>
                    <a:pt x="88" y="119"/>
                    <a:pt x="88" y="119"/>
                  </a:cubicBezTo>
                  <a:cubicBezTo>
                    <a:pt x="97" y="126"/>
                    <a:pt x="97" y="126"/>
                    <a:pt x="97" y="126"/>
                  </a:cubicBezTo>
                  <a:cubicBezTo>
                    <a:pt x="109" y="129"/>
                    <a:pt x="109" y="129"/>
                    <a:pt x="109" y="129"/>
                  </a:cubicBezTo>
                  <a:cubicBezTo>
                    <a:pt x="118" y="137"/>
                    <a:pt x="118" y="137"/>
                    <a:pt x="118" y="137"/>
                  </a:cubicBezTo>
                  <a:cubicBezTo>
                    <a:pt x="122" y="142"/>
                    <a:pt x="122" y="142"/>
                    <a:pt x="122" y="142"/>
                  </a:cubicBezTo>
                  <a:cubicBezTo>
                    <a:pt x="121" y="146"/>
                    <a:pt x="121" y="146"/>
                    <a:pt x="121" y="146"/>
                  </a:cubicBezTo>
                  <a:cubicBezTo>
                    <a:pt x="110" y="146"/>
                    <a:pt x="110" y="146"/>
                    <a:pt x="110" y="146"/>
                  </a:cubicBezTo>
                  <a:cubicBezTo>
                    <a:pt x="111" y="154"/>
                    <a:pt x="111" y="154"/>
                    <a:pt x="111" y="154"/>
                  </a:cubicBezTo>
                  <a:cubicBezTo>
                    <a:pt x="115" y="161"/>
                    <a:pt x="115" y="161"/>
                    <a:pt x="115" y="161"/>
                  </a:cubicBezTo>
                  <a:cubicBezTo>
                    <a:pt x="120" y="165"/>
                    <a:pt x="120" y="165"/>
                    <a:pt x="120" y="165"/>
                  </a:cubicBezTo>
                  <a:cubicBezTo>
                    <a:pt x="128" y="164"/>
                    <a:pt x="128" y="164"/>
                    <a:pt x="128" y="164"/>
                  </a:cubicBezTo>
                  <a:cubicBezTo>
                    <a:pt x="134" y="162"/>
                    <a:pt x="134" y="162"/>
                    <a:pt x="134" y="162"/>
                  </a:cubicBezTo>
                  <a:cubicBezTo>
                    <a:pt x="142" y="166"/>
                    <a:pt x="142" y="166"/>
                    <a:pt x="142" y="166"/>
                  </a:cubicBezTo>
                  <a:cubicBezTo>
                    <a:pt x="156" y="173"/>
                    <a:pt x="156" y="173"/>
                    <a:pt x="156" y="173"/>
                  </a:cubicBezTo>
                  <a:cubicBezTo>
                    <a:pt x="158" y="184"/>
                    <a:pt x="158" y="184"/>
                    <a:pt x="158" y="184"/>
                  </a:cubicBezTo>
                  <a:cubicBezTo>
                    <a:pt x="154" y="204"/>
                    <a:pt x="154" y="204"/>
                    <a:pt x="154" y="204"/>
                  </a:cubicBezTo>
                  <a:cubicBezTo>
                    <a:pt x="149" y="216"/>
                    <a:pt x="149" y="216"/>
                    <a:pt x="149" y="216"/>
                  </a:cubicBezTo>
                  <a:cubicBezTo>
                    <a:pt x="147" y="230"/>
                    <a:pt x="147" y="230"/>
                    <a:pt x="147" y="230"/>
                  </a:cubicBezTo>
                  <a:cubicBezTo>
                    <a:pt x="155" y="245"/>
                    <a:pt x="155" y="245"/>
                    <a:pt x="155" y="245"/>
                  </a:cubicBezTo>
                  <a:cubicBezTo>
                    <a:pt x="154" y="255"/>
                    <a:pt x="154" y="255"/>
                    <a:pt x="154" y="255"/>
                  </a:cubicBezTo>
                  <a:cubicBezTo>
                    <a:pt x="158" y="264"/>
                    <a:pt x="158" y="264"/>
                    <a:pt x="158" y="264"/>
                  </a:cubicBezTo>
                  <a:cubicBezTo>
                    <a:pt x="163" y="269"/>
                    <a:pt x="163" y="269"/>
                    <a:pt x="163" y="269"/>
                  </a:cubicBezTo>
                  <a:cubicBezTo>
                    <a:pt x="168" y="272"/>
                    <a:pt x="168" y="272"/>
                    <a:pt x="168" y="272"/>
                  </a:cubicBezTo>
                  <a:cubicBezTo>
                    <a:pt x="159" y="275"/>
                    <a:pt x="159" y="275"/>
                    <a:pt x="159" y="275"/>
                  </a:cubicBezTo>
                  <a:cubicBezTo>
                    <a:pt x="155" y="286"/>
                    <a:pt x="155" y="286"/>
                    <a:pt x="155" y="286"/>
                  </a:cubicBezTo>
                  <a:cubicBezTo>
                    <a:pt x="150" y="295"/>
                    <a:pt x="150" y="295"/>
                    <a:pt x="150" y="295"/>
                  </a:cubicBezTo>
                  <a:cubicBezTo>
                    <a:pt x="155" y="296"/>
                    <a:pt x="161" y="298"/>
                    <a:pt x="166" y="300"/>
                  </a:cubicBezTo>
                  <a:cubicBezTo>
                    <a:pt x="168" y="301"/>
                    <a:pt x="170" y="303"/>
                    <a:pt x="172" y="304"/>
                  </a:cubicBezTo>
                  <a:cubicBezTo>
                    <a:pt x="175" y="305"/>
                    <a:pt x="180" y="306"/>
                    <a:pt x="184" y="307"/>
                  </a:cubicBezTo>
                  <a:cubicBezTo>
                    <a:pt x="186" y="309"/>
                    <a:pt x="190" y="319"/>
                    <a:pt x="190" y="328"/>
                  </a:cubicBezTo>
                  <a:cubicBezTo>
                    <a:pt x="196" y="325"/>
                    <a:pt x="196" y="325"/>
                    <a:pt x="196" y="325"/>
                  </a:cubicBezTo>
                  <a:cubicBezTo>
                    <a:pt x="201" y="319"/>
                    <a:pt x="201" y="319"/>
                    <a:pt x="201" y="319"/>
                  </a:cubicBezTo>
                  <a:cubicBezTo>
                    <a:pt x="204" y="317"/>
                    <a:pt x="204" y="317"/>
                    <a:pt x="204" y="317"/>
                  </a:cubicBezTo>
                  <a:cubicBezTo>
                    <a:pt x="206" y="311"/>
                    <a:pt x="206" y="311"/>
                    <a:pt x="206" y="311"/>
                  </a:cubicBezTo>
                  <a:cubicBezTo>
                    <a:pt x="210" y="300"/>
                    <a:pt x="210" y="300"/>
                    <a:pt x="210" y="300"/>
                  </a:cubicBezTo>
                  <a:cubicBezTo>
                    <a:pt x="216" y="295"/>
                    <a:pt x="216" y="295"/>
                    <a:pt x="216" y="295"/>
                  </a:cubicBezTo>
                  <a:cubicBezTo>
                    <a:pt x="219" y="279"/>
                    <a:pt x="219" y="279"/>
                    <a:pt x="219" y="279"/>
                  </a:cubicBezTo>
                  <a:cubicBezTo>
                    <a:pt x="223" y="275"/>
                    <a:pt x="223" y="275"/>
                    <a:pt x="223" y="275"/>
                  </a:cubicBezTo>
                  <a:cubicBezTo>
                    <a:pt x="239" y="273"/>
                    <a:pt x="239" y="273"/>
                    <a:pt x="239" y="273"/>
                  </a:cubicBezTo>
                  <a:cubicBezTo>
                    <a:pt x="252" y="273"/>
                    <a:pt x="252" y="273"/>
                    <a:pt x="252" y="273"/>
                  </a:cubicBezTo>
                  <a:cubicBezTo>
                    <a:pt x="256" y="266"/>
                    <a:pt x="256" y="266"/>
                    <a:pt x="256" y="266"/>
                  </a:cubicBezTo>
                  <a:cubicBezTo>
                    <a:pt x="257" y="253"/>
                    <a:pt x="257" y="253"/>
                    <a:pt x="257" y="253"/>
                  </a:cubicBezTo>
                  <a:cubicBezTo>
                    <a:pt x="253" y="249"/>
                    <a:pt x="253" y="249"/>
                    <a:pt x="253" y="249"/>
                  </a:cubicBezTo>
                  <a:cubicBezTo>
                    <a:pt x="240" y="240"/>
                    <a:pt x="240" y="240"/>
                    <a:pt x="240" y="240"/>
                  </a:cubicBezTo>
                  <a:cubicBezTo>
                    <a:pt x="235" y="236"/>
                    <a:pt x="235" y="236"/>
                    <a:pt x="235" y="236"/>
                  </a:cubicBezTo>
                  <a:cubicBezTo>
                    <a:pt x="229" y="225"/>
                    <a:pt x="229" y="225"/>
                    <a:pt x="229" y="225"/>
                  </a:cubicBezTo>
                  <a:cubicBezTo>
                    <a:pt x="229" y="217"/>
                    <a:pt x="229" y="217"/>
                    <a:pt x="229" y="217"/>
                  </a:cubicBezTo>
                  <a:cubicBezTo>
                    <a:pt x="234" y="212"/>
                    <a:pt x="234" y="212"/>
                    <a:pt x="234" y="212"/>
                  </a:cubicBezTo>
                  <a:cubicBezTo>
                    <a:pt x="246" y="209"/>
                    <a:pt x="246" y="209"/>
                    <a:pt x="246" y="209"/>
                  </a:cubicBezTo>
                  <a:cubicBezTo>
                    <a:pt x="255" y="205"/>
                    <a:pt x="255" y="205"/>
                    <a:pt x="255" y="205"/>
                  </a:cubicBezTo>
                  <a:cubicBezTo>
                    <a:pt x="265" y="206"/>
                    <a:pt x="265" y="206"/>
                    <a:pt x="265" y="206"/>
                  </a:cubicBezTo>
                  <a:cubicBezTo>
                    <a:pt x="279" y="213"/>
                    <a:pt x="279" y="213"/>
                    <a:pt x="279" y="213"/>
                  </a:cubicBezTo>
                  <a:cubicBezTo>
                    <a:pt x="285" y="219"/>
                    <a:pt x="285" y="219"/>
                    <a:pt x="285" y="219"/>
                  </a:cubicBezTo>
                  <a:cubicBezTo>
                    <a:pt x="294" y="225"/>
                    <a:pt x="294" y="225"/>
                    <a:pt x="294" y="225"/>
                  </a:cubicBezTo>
                  <a:cubicBezTo>
                    <a:pt x="311" y="223"/>
                    <a:pt x="311" y="223"/>
                    <a:pt x="311" y="223"/>
                  </a:cubicBezTo>
                  <a:cubicBezTo>
                    <a:pt x="320" y="220"/>
                    <a:pt x="320" y="220"/>
                    <a:pt x="320" y="220"/>
                  </a:cubicBezTo>
                  <a:cubicBezTo>
                    <a:pt x="331" y="209"/>
                    <a:pt x="331" y="209"/>
                    <a:pt x="331" y="209"/>
                  </a:cubicBezTo>
                  <a:cubicBezTo>
                    <a:pt x="335" y="199"/>
                    <a:pt x="335" y="199"/>
                    <a:pt x="335" y="199"/>
                  </a:cubicBezTo>
                  <a:cubicBezTo>
                    <a:pt x="347" y="209"/>
                    <a:pt x="347" y="209"/>
                    <a:pt x="347" y="209"/>
                  </a:cubicBezTo>
                  <a:cubicBezTo>
                    <a:pt x="354" y="211"/>
                    <a:pt x="354" y="211"/>
                    <a:pt x="354" y="211"/>
                  </a:cubicBezTo>
                  <a:cubicBezTo>
                    <a:pt x="359" y="211"/>
                    <a:pt x="359" y="211"/>
                    <a:pt x="359" y="211"/>
                  </a:cubicBezTo>
                  <a:cubicBezTo>
                    <a:pt x="361" y="217"/>
                    <a:pt x="361" y="217"/>
                    <a:pt x="361" y="217"/>
                  </a:cubicBezTo>
                  <a:cubicBezTo>
                    <a:pt x="365" y="222"/>
                    <a:pt x="365" y="222"/>
                    <a:pt x="365" y="222"/>
                  </a:cubicBezTo>
                  <a:cubicBezTo>
                    <a:pt x="379" y="221"/>
                    <a:pt x="379" y="221"/>
                    <a:pt x="379" y="221"/>
                  </a:cubicBezTo>
                  <a:cubicBezTo>
                    <a:pt x="386" y="224"/>
                    <a:pt x="386" y="224"/>
                    <a:pt x="386" y="224"/>
                  </a:cubicBezTo>
                  <a:cubicBezTo>
                    <a:pt x="398" y="233"/>
                    <a:pt x="398" y="233"/>
                    <a:pt x="398" y="233"/>
                  </a:cubicBezTo>
                  <a:cubicBezTo>
                    <a:pt x="408" y="234"/>
                    <a:pt x="408" y="234"/>
                    <a:pt x="408" y="234"/>
                  </a:cubicBezTo>
                  <a:cubicBezTo>
                    <a:pt x="417" y="230"/>
                    <a:pt x="417" y="230"/>
                    <a:pt x="417" y="230"/>
                  </a:cubicBezTo>
                  <a:cubicBezTo>
                    <a:pt x="430" y="225"/>
                    <a:pt x="430" y="225"/>
                    <a:pt x="430" y="225"/>
                  </a:cubicBezTo>
                  <a:cubicBezTo>
                    <a:pt x="443" y="223"/>
                    <a:pt x="443" y="223"/>
                    <a:pt x="443" y="223"/>
                  </a:cubicBezTo>
                  <a:cubicBezTo>
                    <a:pt x="452" y="219"/>
                    <a:pt x="452" y="219"/>
                    <a:pt x="452" y="219"/>
                  </a:cubicBezTo>
                  <a:cubicBezTo>
                    <a:pt x="451" y="213"/>
                    <a:pt x="451" y="213"/>
                    <a:pt x="451" y="213"/>
                  </a:cubicBezTo>
                  <a:cubicBezTo>
                    <a:pt x="448" y="199"/>
                    <a:pt x="448" y="199"/>
                    <a:pt x="448" y="199"/>
                  </a:cubicBezTo>
                  <a:cubicBezTo>
                    <a:pt x="440" y="190"/>
                    <a:pt x="440" y="190"/>
                    <a:pt x="440" y="190"/>
                  </a:cubicBezTo>
                  <a:cubicBezTo>
                    <a:pt x="432" y="190"/>
                    <a:pt x="432" y="190"/>
                    <a:pt x="432" y="190"/>
                  </a:cubicBezTo>
                  <a:cubicBezTo>
                    <a:pt x="427" y="193"/>
                    <a:pt x="427" y="193"/>
                    <a:pt x="427" y="193"/>
                  </a:cubicBezTo>
                  <a:cubicBezTo>
                    <a:pt x="418" y="191"/>
                    <a:pt x="418" y="191"/>
                    <a:pt x="418" y="191"/>
                  </a:cubicBezTo>
                  <a:cubicBezTo>
                    <a:pt x="418" y="187"/>
                    <a:pt x="418" y="187"/>
                    <a:pt x="418" y="187"/>
                  </a:cubicBezTo>
                  <a:cubicBezTo>
                    <a:pt x="422" y="185"/>
                    <a:pt x="422" y="185"/>
                    <a:pt x="422" y="185"/>
                  </a:cubicBezTo>
                  <a:cubicBezTo>
                    <a:pt x="429" y="182"/>
                    <a:pt x="429" y="182"/>
                    <a:pt x="429" y="182"/>
                  </a:cubicBezTo>
                  <a:cubicBezTo>
                    <a:pt x="432" y="175"/>
                    <a:pt x="432" y="175"/>
                    <a:pt x="432" y="175"/>
                  </a:cubicBezTo>
                  <a:cubicBezTo>
                    <a:pt x="440" y="174"/>
                    <a:pt x="440" y="174"/>
                    <a:pt x="440" y="174"/>
                  </a:cubicBezTo>
                  <a:cubicBezTo>
                    <a:pt x="449" y="172"/>
                    <a:pt x="449" y="172"/>
                    <a:pt x="449" y="172"/>
                  </a:cubicBezTo>
                  <a:cubicBezTo>
                    <a:pt x="457" y="171"/>
                    <a:pt x="457" y="171"/>
                    <a:pt x="457" y="171"/>
                  </a:cubicBezTo>
                  <a:cubicBezTo>
                    <a:pt x="461" y="168"/>
                    <a:pt x="461" y="168"/>
                    <a:pt x="461" y="168"/>
                  </a:cubicBezTo>
                  <a:cubicBezTo>
                    <a:pt x="469" y="173"/>
                    <a:pt x="469" y="173"/>
                    <a:pt x="469" y="173"/>
                  </a:cubicBezTo>
                  <a:cubicBezTo>
                    <a:pt x="465" y="180"/>
                    <a:pt x="465" y="180"/>
                    <a:pt x="465" y="180"/>
                  </a:cubicBezTo>
                  <a:cubicBezTo>
                    <a:pt x="471" y="182"/>
                    <a:pt x="471" y="182"/>
                    <a:pt x="471" y="182"/>
                  </a:cubicBezTo>
                  <a:cubicBezTo>
                    <a:pt x="468" y="188"/>
                    <a:pt x="468" y="188"/>
                    <a:pt x="468" y="188"/>
                  </a:cubicBezTo>
                  <a:cubicBezTo>
                    <a:pt x="467" y="189"/>
                    <a:pt x="467" y="189"/>
                    <a:pt x="467" y="189"/>
                  </a:cubicBezTo>
                  <a:cubicBezTo>
                    <a:pt x="476" y="197"/>
                    <a:pt x="476" y="197"/>
                    <a:pt x="476" y="197"/>
                  </a:cubicBezTo>
                  <a:cubicBezTo>
                    <a:pt x="483" y="198"/>
                    <a:pt x="483" y="198"/>
                    <a:pt x="483" y="198"/>
                  </a:cubicBezTo>
                  <a:cubicBezTo>
                    <a:pt x="492" y="209"/>
                    <a:pt x="492" y="209"/>
                    <a:pt x="492" y="209"/>
                  </a:cubicBezTo>
                  <a:cubicBezTo>
                    <a:pt x="493" y="217"/>
                    <a:pt x="493" y="217"/>
                    <a:pt x="493" y="217"/>
                  </a:cubicBezTo>
                  <a:cubicBezTo>
                    <a:pt x="503" y="220"/>
                    <a:pt x="503" y="220"/>
                    <a:pt x="503" y="220"/>
                  </a:cubicBezTo>
                  <a:cubicBezTo>
                    <a:pt x="508" y="222"/>
                    <a:pt x="508" y="222"/>
                    <a:pt x="508" y="222"/>
                  </a:cubicBezTo>
                  <a:cubicBezTo>
                    <a:pt x="510" y="212"/>
                    <a:pt x="510" y="212"/>
                    <a:pt x="510" y="212"/>
                  </a:cubicBezTo>
                  <a:cubicBezTo>
                    <a:pt x="514" y="201"/>
                    <a:pt x="514" y="201"/>
                    <a:pt x="514" y="201"/>
                  </a:cubicBezTo>
                  <a:cubicBezTo>
                    <a:pt x="524" y="197"/>
                    <a:pt x="524" y="197"/>
                    <a:pt x="524" y="197"/>
                  </a:cubicBezTo>
                  <a:cubicBezTo>
                    <a:pt x="533" y="188"/>
                    <a:pt x="533" y="188"/>
                    <a:pt x="533" y="188"/>
                  </a:cubicBezTo>
                  <a:cubicBezTo>
                    <a:pt x="538" y="184"/>
                    <a:pt x="538" y="184"/>
                    <a:pt x="538" y="184"/>
                  </a:cubicBezTo>
                  <a:cubicBezTo>
                    <a:pt x="575" y="133"/>
                    <a:pt x="575" y="133"/>
                    <a:pt x="575" y="133"/>
                  </a:cubicBezTo>
                  <a:cubicBezTo>
                    <a:pt x="417" y="44"/>
                    <a:pt x="417" y="44"/>
                    <a:pt x="417" y="44"/>
                  </a:cubicBezTo>
                  <a:cubicBezTo>
                    <a:pt x="372" y="43"/>
                    <a:pt x="372" y="43"/>
                    <a:pt x="372" y="43"/>
                  </a:cubicBezTo>
                  <a:cubicBezTo>
                    <a:pt x="358" y="44"/>
                    <a:pt x="358" y="44"/>
                    <a:pt x="358" y="44"/>
                  </a:cubicBezTo>
                  <a:cubicBezTo>
                    <a:pt x="347" y="41"/>
                    <a:pt x="347" y="41"/>
                    <a:pt x="347" y="41"/>
                  </a:cubicBezTo>
                  <a:cubicBezTo>
                    <a:pt x="338" y="38"/>
                    <a:pt x="338" y="38"/>
                    <a:pt x="338" y="38"/>
                  </a:cubicBezTo>
                  <a:cubicBezTo>
                    <a:pt x="336" y="33"/>
                    <a:pt x="336" y="33"/>
                    <a:pt x="336" y="33"/>
                  </a:cubicBezTo>
                  <a:cubicBezTo>
                    <a:pt x="329" y="30"/>
                    <a:pt x="329" y="30"/>
                    <a:pt x="329" y="30"/>
                  </a:cubicBezTo>
                  <a:cubicBezTo>
                    <a:pt x="307" y="20"/>
                    <a:pt x="307" y="20"/>
                    <a:pt x="307" y="20"/>
                  </a:cubicBezTo>
                  <a:cubicBezTo>
                    <a:pt x="256" y="13"/>
                    <a:pt x="256" y="13"/>
                    <a:pt x="256" y="13"/>
                  </a:cubicBezTo>
                  <a:cubicBezTo>
                    <a:pt x="238" y="19"/>
                    <a:pt x="238" y="19"/>
                    <a:pt x="238" y="19"/>
                  </a:cubicBezTo>
                  <a:lnTo>
                    <a:pt x="188" y="46"/>
                  </a:lnTo>
                  <a:close/>
                  <a:moveTo>
                    <a:pt x="569" y="192"/>
                  </a:moveTo>
                  <a:cubicBezTo>
                    <a:pt x="568" y="197"/>
                    <a:pt x="568" y="197"/>
                    <a:pt x="568" y="197"/>
                  </a:cubicBezTo>
                  <a:cubicBezTo>
                    <a:pt x="563" y="207"/>
                    <a:pt x="563" y="207"/>
                    <a:pt x="563" y="207"/>
                  </a:cubicBezTo>
                  <a:cubicBezTo>
                    <a:pt x="554" y="214"/>
                    <a:pt x="554" y="214"/>
                    <a:pt x="554" y="214"/>
                  </a:cubicBezTo>
                  <a:cubicBezTo>
                    <a:pt x="546" y="212"/>
                    <a:pt x="546" y="212"/>
                    <a:pt x="546" y="212"/>
                  </a:cubicBezTo>
                  <a:cubicBezTo>
                    <a:pt x="540" y="207"/>
                    <a:pt x="540" y="207"/>
                    <a:pt x="540" y="207"/>
                  </a:cubicBezTo>
                  <a:cubicBezTo>
                    <a:pt x="540" y="197"/>
                    <a:pt x="540" y="197"/>
                    <a:pt x="540" y="197"/>
                  </a:cubicBezTo>
                  <a:cubicBezTo>
                    <a:pt x="545" y="187"/>
                    <a:pt x="545" y="187"/>
                    <a:pt x="545" y="187"/>
                  </a:cubicBezTo>
                  <a:cubicBezTo>
                    <a:pt x="552" y="182"/>
                    <a:pt x="552" y="182"/>
                    <a:pt x="552" y="182"/>
                  </a:cubicBezTo>
                  <a:cubicBezTo>
                    <a:pt x="560" y="185"/>
                    <a:pt x="560" y="185"/>
                    <a:pt x="560" y="185"/>
                  </a:cubicBezTo>
                  <a:lnTo>
                    <a:pt x="569" y="192"/>
                  </a:lnTo>
                  <a:close/>
                </a:path>
              </a:pathLst>
            </a:custGeom>
            <a:pattFill prst="wdUpDiag">
              <a:fgClr>
                <a:schemeClr val="accent2"/>
              </a:fgClr>
              <a:bgClr>
                <a:schemeClr val="bg1"/>
              </a:bgClr>
            </a:patt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83" name="Freeform 33">
              <a:extLst>
                <a:ext uri="{FF2B5EF4-FFF2-40B4-BE49-F238E27FC236}">
                  <a16:creationId xmlns:a16="http://schemas.microsoft.com/office/drawing/2014/main" id="{BDBD9A74-6325-4EB7-AFA9-422507305CEA}"/>
                </a:ext>
              </a:extLst>
            </p:cNvPr>
            <p:cNvSpPr>
              <a:spLocks noEditPoints="1"/>
            </p:cNvSpPr>
            <p:nvPr/>
          </p:nvSpPr>
          <p:spPr bwMode="gray">
            <a:xfrm>
              <a:off x="9629" y="4009"/>
              <a:ext cx="1297" cy="1967"/>
            </a:xfrm>
            <a:custGeom>
              <a:avLst/>
              <a:gdLst>
                <a:gd name="T0" fmla="*/ 179 w 549"/>
                <a:gd name="T1" fmla="*/ 75 h 833"/>
                <a:gd name="T2" fmla="*/ 137 w 549"/>
                <a:gd name="T3" fmla="*/ 59 h 833"/>
                <a:gd name="T4" fmla="*/ 92 w 549"/>
                <a:gd name="T5" fmla="*/ 80 h 833"/>
                <a:gd name="T6" fmla="*/ 73 w 549"/>
                <a:gd name="T7" fmla="*/ 112 h 833"/>
                <a:gd name="T8" fmla="*/ 42 w 549"/>
                <a:gd name="T9" fmla="*/ 142 h 833"/>
                <a:gd name="T10" fmla="*/ 11 w 549"/>
                <a:gd name="T11" fmla="*/ 150 h 833"/>
                <a:gd name="T12" fmla="*/ 0 w 549"/>
                <a:gd name="T13" fmla="*/ 191 h 833"/>
                <a:gd name="T14" fmla="*/ 59 w 549"/>
                <a:gd name="T15" fmla="*/ 203 h 833"/>
                <a:gd name="T16" fmla="*/ 59 w 549"/>
                <a:gd name="T17" fmla="*/ 269 h 833"/>
                <a:gd name="T18" fmla="*/ 41 w 549"/>
                <a:gd name="T19" fmla="*/ 337 h 833"/>
                <a:gd name="T20" fmla="*/ 52 w 549"/>
                <a:gd name="T21" fmla="*/ 387 h 833"/>
                <a:gd name="T22" fmla="*/ 107 w 549"/>
                <a:gd name="T23" fmla="*/ 429 h 833"/>
                <a:gd name="T24" fmla="*/ 148 w 549"/>
                <a:gd name="T25" fmla="*/ 494 h 833"/>
                <a:gd name="T26" fmla="*/ 184 w 549"/>
                <a:gd name="T27" fmla="*/ 524 h 833"/>
                <a:gd name="T28" fmla="*/ 219 w 549"/>
                <a:gd name="T29" fmla="*/ 542 h 833"/>
                <a:gd name="T30" fmla="*/ 263 w 549"/>
                <a:gd name="T31" fmla="*/ 540 h 833"/>
                <a:gd name="T32" fmla="*/ 295 w 549"/>
                <a:gd name="T33" fmla="*/ 544 h 833"/>
                <a:gd name="T34" fmla="*/ 330 w 549"/>
                <a:gd name="T35" fmla="*/ 572 h 833"/>
                <a:gd name="T36" fmla="*/ 326 w 549"/>
                <a:gd name="T37" fmla="*/ 602 h 833"/>
                <a:gd name="T38" fmla="*/ 316 w 549"/>
                <a:gd name="T39" fmla="*/ 623 h 833"/>
                <a:gd name="T40" fmla="*/ 297 w 549"/>
                <a:gd name="T41" fmla="*/ 656 h 833"/>
                <a:gd name="T42" fmla="*/ 329 w 549"/>
                <a:gd name="T43" fmla="*/ 670 h 833"/>
                <a:gd name="T44" fmla="*/ 361 w 549"/>
                <a:gd name="T45" fmla="*/ 692 h 833"/>
                <a:gd name="T46" fmla="*/ 377 w 549"/>
                <a:gd name="T47" fmla="*/ 737 h 833"/>
                <a:gd name="T48" fmla="*/ 396 w 549"/>
                <a:gd name="T49" fmla="*/ 779 h 833"/>
                <a:gd name="T50" fmla="*/ 378 w 549"/>
                <a:gd name="T51" fmla="*/ 815 h 833"/>
                <a:gd name="T52" fmla="*/ 409 w 549"/>
                <a:gd name="T53" fmla="*/ 816 h 833"/>
                <a:gd name="T54" fmla="*/ 436 w 549"/>
                <a:gd name="T55" fmla="*/ 830 h 833"/>
                <a:gd name="T56" fmla="*/ 462 w 549"/>
                <a:gd name="T57" fmla="*/ 801 h 833"/>
                <a:gd name="T58" fmla="*/ 487 w 549"/>
                <a:gd name="T59" fmla="*/ 763 h 833"/>
                <a:gd name="T60" fmla="*/ 466 w 549"/>
                <a:gd name="T61" fmla="*/ 730 h 833"/>
                <a:gd name="T62" fmla="*/ 445 w 549"/>
                <a:gd name="T63" fmla="*/ 708 h 833"/>
                <a:gd name="T64" fmla="*/ 429 w 549"/>
                <a:gd name="T65" fmla="*/ 676 h 833"/>
                <a:gd name="T66" fmla="*/ 448 w 549"/>
                <a:gd name="T67" fmla="*/ 655 h 833"/>
                <a:gd name="T68" fmla="*/ 440 w 549"/>
                <a:gd name="T69" fmla="*/ 613 h 833"/>
                <a:gd name="T70" fmla="*/ 479 w 549"/>
                <a:gd name="T71" fmla="*/ 585 h 833"/>
                <a:gd name="T72" fmla="*/ 492 w 549"/>
                <a:gd name="T73" fmla="*/ 553 h 833"/>
                <a:gd name="T74" fmla="*/ 508 w 549"/>
                <a:gd name="T75" fmla="*/ 514 h 833"/>
                <a:gd name="T76" fmla="*/ 543 w 549"/>
                <a:gd name="T77" fmla="*/ 480 h 833"/>
                <a:gd name="T78" fmla="*/ 513 w 549"/>
                <a:gd name="T79" fmla="*/ 436 h 833"/>
                <a:gd name="T80" fmla="*/ 491 w 549"/>
                <a:gd name="T81" fmla="*/ 380 h 833"/>
                <a:gd name="T82" fmla="*/ 488 w 549"/>
                <a:gd name="T83" fmla="*/ 328 h 833"/>
                <a:gd name="T84" fmla="*/ 505 w 549"/>
                <a:gd name="T85" fmla="*/ 285 h 833"/>
                <a:gd name="T86" fmla="*/ 508 w 549"/>
                <a:gd name="T87" fmla="*/ 231 h 833"/>
                <a:gd name="T88" fmla="*/ 505 w 549"/>
                <a:gd name="T89" fmla="*/ 181 h 833"/>
                <a:gd name="T90" fmla="*/ 466 w 549"/>
                <a:gd name="T91" fmla="*/ 155 h 833"/>
                <a:gd name="T92" fmla="*/ 451 w 549"/>
                <a:gd name="T93" fmla="*/ 85 h 833"/>
                <a:gd name="T94" fmla="*/ 462 w 549"/>
                <a:gd name="T95" fmla="*/ 61 h 833"/>
                <a:gd name="T96" fmla="*/ 420 w 549"/>
                <a:gd name="T97" fmla="*/ 44 h 833"/>
                <a:gd name="T98" fmla="*/ 404 w 549"/>
                <a:gd name="T99" fmla="*/ 10 h 833"/>
                <a:gd name="T100" fmla="*/ 376 w 549"/>
                <a:gd name="T101" fmla="*/ 8 h 833"/>
                <a:gd name="T102" fmla="*/ 371 w 549"/>
                <a:gd name="T103" fmla="*/ 42 h 833"/>
                <a:gd name="T104" fmla="*/ 345 w 549"/>
                <a:gd name="T105" fmla="*/ 68 h 833"/>
                <a:gd name="T106" fmla="*/ 310 w 549"/>
                <a:gd name="T107" fmla="*/ 70 h 833"/>
                <a:gd name="T108" fmla="*/ 270 w 549"/>
                <a:gd name="T109" fmla="*/ 68 h 833"/>
                <a:gd name="T110" fmla="*/ 219 w 549"/>
                <a:gd name="T111" fmla="*/ 61 h 833"/>
                <a:gd name="T112" fmla="*/ 423 w 549"/>
                <a:gd name="T113" fmla="*/ 674 h 833"/>
                <a:gd name="T114" fmla="*/ 425 w 549"/>
                <a:gd name="T115" fmla="*/ 661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9" h="833">
                  <a:moveTo>
                    <a:pt x="207" y="58"/>
                  </a:moveTo>
                  <a:cubicBezTo>
                    <a:pt x="202" y="67"/>
                    <a:pt x="202" y="67"/>
                    <a:pt x="202" y="67"/>
                  </a:cubicBezTo>
                  <a:cubicBezTo>
                    <a:pt x="192" y="75"/>
                    <a:pt x="192" y="75"/>
                    <a:pt x="192" y="75"/>
                  </a:cubicBezTo>
                  <a:cubicBezTo>
                    <a:pt x="179" y="75"/>
                    <a:pt x="179" y="75"/>
                    <a:pt x="179" y="75"/>
                  </a:cubicBezTo>
                  <a:cubicBezTo>
                    <a:pt x="175" y="70"/>
                    <a:pt x="175" y="70"/>
                    <a:pt x="175" y="70"/>
                  </a:cubicBezTo>
                  <a:cubicBezTo>
                    <a:pt x="167" y="67"/>
                    <a:pt x="167" y="67"/>
                    <a:pt x="167" y="67"/>
                  </a:cubicBezTo>
                  <a:cubicBezTo>
                    <a:pt x="143" y="64"/>
                    <a:pt x="143" y="64"/>
                    <a:pt x="143" y="64"/>
                  </a:cubicBezTo>
                  <a:cubicBezTo>
                    <a:pt x="137" y="59"/>
                    <a:pt x="137" y="59"/>
                    <a:pt x="137" y="59"/>
                  </a:cubicBezTo>
                  <a:cubicBezTo>
                    <a:pt x="123" y="56"/>
                    <a:pt x="123" y="56"/>
                    <a:pt x="123" y="56"/>
                  </a:cubicBezTo>
                  <a:cubicBezTo>
                    <a:pt x="106" y="59"/>
                    <a:pt x="106" y="59"/>
                    <a:pt x="106" y="59"/>
                  </a:cubicBezTo>
                  <a:cubicBezTo>
                    <a:pt x="96" y="70"/>
                    <a:pt x="96" y="70"/>
                    <a:pt x="96" y="70"/>
                  </a:cubicBezTo>
                  <a:cubicBezTo>
                    <a:pt x="92" y="80"/>
                    <a:pt x="92" y="80"/>
                    <a:pt x="92" y="80"/>
                  </a:cubicBezTo>
                  <a:cubicBezTo>
                    <a:pt x="94" y="94"/>
                    <a:pt x="94" y="94"/>
                    <a:pt x="94" y="94"/>
                  </a:cubicBezTo>
                  <a:cubicBezTo>
                    <a:pt x="93" y="102"/>
                    <a:pt x="93" y="102"/>
                    <a:pt x="93" y="102"/>
                  </a:cubicBezTo>
                  <a:cubicBezTo>
                    <a:pt x="89" y="106"/>
                    <a:pt x="89" y="106"/>
                    <a:pt x="89" y="106"/>
                  </a:cubicBezTo>
                  <a:cubicBezTo>
                    <a:pt x="73" y="112"/>
                    <a:pt x="73" y="112"/>
                    <a:pt x="73" y="112"/>
                  </a:cubicBezTo>
                  <a:cubicBezTo>
                    <a:pt x="61" y="112"/>
                    <a:pt x="61" y="112"/>
                    <a:pt x="61" y="112"/>
                  </a:cubicBezTo>
                  <a:cubicBezTo>
                    <a:pt x="56" y="123"/>
                    <a:pt x="56" y="123"/>
                    <a:pt x="56" y="123"/>
                  </a:cubicBezTo>
                  <a:cubicBezTo>
                    <a:pt x="45" y="134"/>
                    <a:pt x="45" y="134"/>
                    <a:pt x="45" y="134"/>
                  </a:cubicBezTo>
                  <a:cubicBezTo>
                    <a:pt x="42" y="142"/>
                    <a:pt x="42" y="142"/>
                    <a:pt x="42" y="142"/>
                  </a:cubicBezTo>
                  <a:cubicBezTo>
                    <a:pt x="38" y="149"/>
                    <a:pt x="38" y="149"/>
                    <a:pt x="38" y="149"/>
                  </a:cubicBezTo>
                  <a:cubicBezTo>
                    <a:pt x="33" y="151"/>
                    <a:pt x="33" y="151"/>
                    <a:pt x="33" y="151"/>
                  </a:cubicBezTo>
                  <a:cubicBezTo>
                    <a:pt x="23" y="150"/>
                    <a:pt x="23" y="150"/>
                    <a:pt x="23" y="150"/>
                  </a:cubicBezTo>
                  <a:cubicBezTo>
                    <a:pt x="11" y="150"/>
                    <a:pt x="11" y="150"/>
                    <a:pt x="11" y="150"/>
                  </a:cubicBezTo>
                  <a:cubicBezTo>
                    <a:pt x="4" y="148"/>
                    <a:pt x="4" y="148"/>
                    <a:pt x="4" y="148"/>
                  </a:cubicBezTo>
                  <a:cubicBezTo>
                    <a:pt x="5" y="161"/>
                    <a:pt x="5" y="161"/>
                    <a:pt x="5" y="161"/>
                  </a:cubicBezTo>
                  <a:cubicBezTo>
                    <a:pt x="5" y="171"/>
                    <a:pt x="5" y="171"/>
                    <a:pt x="5" y="171"/>
                  </a:cubicBezTo>
                  <a:cubicBezTo>
                    <a:pt x="0" y="191"/>
                    <a:pt x="0" y="191"/>
                    <a:pt x="0" y="191"/>
                  </a:cubicBezTo>
                  <a:cubicBezTo>
                    <a:pt x="19" y="181"/>
                    <a:pt x="19" y="181"/>
                    <a:pt x="19" y="181"/>
                  </a:cubicBezTo>
                  <a:cubicBezTo>
                    <a:pt x="35" y="179"/>
                    <a:pt x="35" y="179"/>
                    <a:pt x="35" y="179"/>
                  </a:cubicBezTo>
                  <a:cubicBezTo>
                    <a:pt x="49" y="183"/>
                    <a:pt x="49" y="183"/>
                    <a:pt x="49" y="183"/>
                  </a:cubicBezTo>
                  <a:cubicBezTo>
                    <a:pt x="59" y="203"/>
                    <a:pt x="59" y="203"/>
                    <a:pt x="59" y="203"/>
                  </a:cubicBezTo>
                  <a:cubicBezTo>
                    <a:pt x="61" y="212"/>
                    <a:pt x="61" y="212"/>
                    <a:pt x="61" y="212"/>
                  </a:cubicBezTo>
                  <a:cubicBezTo>
                    <a:pt x="59" y="229"/>
                    <a:pt x="59" y="229"/>
                    <a:pt x="59" y="229"/>
                  </a:cubicBezTo>
                  <a:cubicBezTo>
                    <a:pt x="59" y="248"/>
                    <a:pt x="59" y="248"/>
                    <a:pt x="59" y="248"/>
                  </a:cubicBezTo>
                  <a:cubicBezTo>
                    <a:pt x="59" y="269"/>
                    <a:pt x="59" y="269"/>
                    <a:pt x="59" y="269"/>
                  </a:cubicBezTo>
                  <a:cubicBezTo>
                    <a:pt x="61" y="292"/>
                    <a:pt x="61" y="292"/>
                    <a:pt x="61" y="292"/>
                  </a:cubicBezTo>
                  <a:cubicBezTo>
                    <a:pt x="59" y="309"/>
                    <a:pt x="59" y="309"/>
                    <a:pt x="59" y="309"/>
                  </a:cubicBezTo>
                  <a:cubicBezTo>
                    <a:pt x="50" y="326"/>
                    <a:pt x="50" y="326"/>
                    <a:pt x="50" y="326"/>
                  </a:cubicBezTo>
                  <a:cubicBezTo>
                    <a:pt x="41" y="337"/>
                    <a:pt x="41" y="337"/>
                    <a:pt x="41" y="337"/>
                  </a:cubicBezTo>
                  <a:cubicBezTo>
                    <a:pt x="38" y="352"/>
                    <a:pt x="38" y="352"/>
                    <a:pt x="38" y="352"/>
                  </a:cubicBezTo>
                  <a:cubicBezTo>
                    <a:pt x="49" y="368"/>
                    <a:pt x="49" y="368"/>
                    <a:pt x="49" y="368"/>
                  </a:cubicBezTo>
                  <a:cubicBezTo>
                    <a:pt x="53" y="380"/>
                    <a:pt x="53" y="380"/>
                    <a:pt x="53" y="380"/>
                  </a:cubicBezTo>
                  <a:cubicBezTo>
                    <a:pt x="52" y="387"/>
                    <a:pt x="52" y="387"/>
                    <a:pt x="52" y="387"/>
                  </a:cubicBezTo>
                  <a:cubicBezTo>
                    <a:pt x="55" y="396"/>
                    <a:pt x="55" y="396"/>
                    <a:pt x="55" y="396"/>
                  </a:cubicBezTo>
                  <a:cubicBezTo>
                    <a:pt x="70" y="409"/>
                    <a:pt x="70" y="409"/>
                    <a:pt x="70" y="409"/>
                  </a:cubicBezTo>
                  <a:cubicBezTo>
                    <a:pt x="88" y="419"/>
                    <a:pt x="88" y="419"/>
                    <a:pt x="88" y="419"/>
                  </a:cubicBezTo>
                  <a:cubicBezTo>
                    <a:pt x="107" y="429"/>
                    <a:pt x="107" y="429"/>
                    <a:pt x="107" y="429"/>
                  </a:cubicBezTo>
                  <a:cubicBezTo>
                    <a:pt x="118" y="445"/>
                    <a:pt x="118" y="445"/>
                    <a:pt x="118" y="445"/>
                  </a:cubicBezTo>
                  <a:cubicBezTo>
                    <a:pt x="136" y="472"/>
                    <a:pt x="136" y="472"/>
                    <a:pt x="136" y="472"/>
                  </a:cubicBezTo>
                  <a:cubicBezTo>
                    <a:pt x="146" y="482"/>
                    <a:pt x="146" y="482"/>
                    <a:pt x="146" y="482"/>
                  </a:cubicBezTo>
                  <a:cubicBezTo>
                    <a:pt x="148" y="494"/>
                    <a:pt x="148" y="494"/>
                    <a:pt x="148" y="494"/>
                  </a:cubicBezTo>
                  <a:cubicBezTo>
                    <a:pt x="161" y="508"/>
                    <a:pt x="161" y="508"/>
                    <a:pt x="161" y="508"/>
                  </a:cubicBezTo>
                  <a:cubicBezTo>
                    <a:pt x="167" y="521"/>
                    <a:pt x="167" y="521"/>
                    <a:pt x="167" y="521"/>
                  </a:cubicBezTo>
                  <a:cubicBezTo>
                    <a:pt x="175" y="522"/>
                    <a:pt x="175" y="522"/>
                    <a:pt x="175" y="522"/>
                  </a:cubicBezTo>
                  <a:cubicBezTo>
                    <a:pt x="184" y="524"/>
                    <a:pt x="184" y="524"/>
                    <a:pt x="184" y="524"/>
                  </a:cubicBezTo>
                  <a:cubicBezTo>
                    <a:pt x="191" y="530"/>
                    <a:pt x="191" y="530"/>
                    <a:pt x="191" y="530"/>
                  </a:cubicBezTo>
                  <a:cubicBezTo>
                    <a:pt x="200" y="535"/>
                    <a:pt x="200" y="535"/>
                    <a:pt x="200" y="535"/>
                  </a:cubicBezTo>
                  <a:cubicBezTo>
                    <a:pt x="212" y="536"/>
                    <a:pt x="212" y="536"/>
                    <a:pt x="212" y="536"/>
                  </a:cubicBezTo>
                  <a:cubicBezTo>
                    <a:pt x="219" y="542"/>
                    <a:pt x="219" y="542"/>
                    <a:pt x="219" y="542"/>
                  </a:cubicBezTo>
                  <a:cubicBezTo>
                    <a:pt x="225" y="544"/>
                    <a:pt x="225" y="544"/>
                    <a:pt x="225" y="544"/>
                  </a:cubicBezTo>
                  <a:cubicBezTo>
                    <a:pt x="234" y="548"/>
                    <a:pt x="234" y="548"/>
                    <a:pt x="234" y="548"/>
                  </a:cubicBezTo>
                  <a:cubicBezTo>
                    <a:pt x="252" y="533"/>
                    <a:pt x="252" y="533"/>
                    <a:pt x="252" y="533"/>
                  </a:cubicBezTo>
                  <a:cubicBezTo>
                    <a:pt x="263" y="540"/>
                    <a:pt x="263" y="540"/>
                    <a:pt x="263" y="540"/>
                  </a:cubicBezTo>
                  <a:cubicBezTo>
                    <a:pt x="273" y="545"/>
                    <a:pt x="273" y="545"/>
                    <a:pt x="273" y="545"/>
                  </a:cubicBezTo>
                  <a:cubicBezTo>
                    <a:pt x="282" y="553"/>
                    <a:pt x="282" y="553"/>
                    <a:pt x="282" y="553"/>
                  </a:cubicBezTo>
                  <a:cubicBezTo>
                    <a:pt x="287" y="551"/>
                    <a:pt x="287" y="551"/>
                    <a:pt x="287" y="551"/>
                  </a:cubicBezTo>
                  <a:cubicBezTo>
                    <a:pt x="295" y="544"/>
                    <a:pt x="295" y="544"/>
                    <a:pt x="295" y="544"/>
                  </a:cubicBezTo>
                  <a:cubicBezTo>
                    <a:pt x="298" y="541"/>
                    <a:pt x="298" y="541"/>
                    <a:pt x="298" y="541"/>
                  </a:cubicBezTo>
                  <a:cubicBezTo>
                    <a:pt x="303" y="542"/>
                    <a:pt x="303" y="542"/>
                    <a:pt x="303" y="542"/>
                  </a:cubicBezTo>
                  <a:cubicBezTo>
                    <a:pt x="319" y="559"/>
                    <a:pt x="319" y="559"/>
                    <a:pt x="319" y="559"/>
                  </a:cubicBezTo>
                  <a:cubicBezTo>
                    <a:pt x="330" y="572"/>
                    <a:pt x="330" y="572"/>
                    <a:pt x="330" y="572"/>
                  </a:cubicBezTo>
                  <a:cubicBezTo>
                    <a:pt x="337" y="582"/>
                    <a:pt x="337" y="582"/>
                    <a:pt x="337" y="582"/>
                  </a:cubicBezTo>
                  <a:cubicBezTo>
                    <a:pt x="338" y="592"/>
                    <a:pt x="338" y="592"/>
                    <a:pt x="338" y="592"/>
                  </a:cubicBezTo>
                  <a:cubicBezTo>
                    <a:pt x="331" y="598"/>
                    <a:pt x="331" y="598"/>
                    <a:pt x="331" y="598"/>
                  </a:cubicBezTo>
                  <a:cubicBezTo>
                    <a:pt x="326" y="602"/>
                    <a:pt x="326" y="602"/>
                    <a:pt x="326" y="602"/>
                  </a:cubicBezTo>
                  <a:cubicBezTo>
                    <a:pt x="324" y="603"/>
                    <a:pt x="324" y="603"/>
                    <a:pt x="324" y="603"/>
                  </a:cubicBezTo>
                  <a:cubicBezTo>
                    <a:pt x="323" y="608"/>
                    <a:pt x="323" y="608"/>
                    <a:pt x="323" y="608"/>
                  </a:cubicBezTo>
                  <a:cubicBezTo>
                    <a:pt x="321" y="619"/>
                    <a:pt x="321" y="619"/>
                    <a:pt x="321" y="619"/>
                  </a:cubicBezTo>
                  <a:cubicBezTo>
                    <a:pt x="316" y="623"/>
                    <a:pt x="316" y="623"/>
                    <a:pt x="316" y="623"/>
                  </a:cubicBezTo>
                  <a:cubicBezTo>
                    <a:pt x="304" y="631"/>
                    <a:pt x="304" y="631"/>
                    <a:pt x="304" y="631"/>
                  </a:cubicBezTo>
                  <a:cubicBezTo>
                    <a:pt x="296" y="639"/>
                    <a:pt x="296" y="639"/>
                    <a:pt x="296" y="639"/>
                  </a:cubicBezTo>
                  <a:cubicBezTo>
                    <a:pt x="293" y="647"/>
                    <a:pt x="293" y="647"/>
                    <a:pt x="293" y="647"/>
                  </a:cubicBezTo>
                  <a:cubicBezTo>
                    <a:pt x="297" y="656"/>
                    <a:pt x="297" y="656"/>
                    <a:pt x="297" y="656"/>
                  </a:cubicBezTo>
                  <a:cubicBezTo>
                    <a:pt x="301" y="656"/>
                    <a:pt x="301" y="656"/>
                    <a:pt x="301" y="656"/>
                  </a:cubicBezTo>
                  <a:cubicBezTo>
                    <a:pt x="310" y="657"/>
                    <a:pt x="310" y="657"/>
                    <a:pt x="310" y="657"/>
                  </a:cubicBezTo>
                  <a:cubicBezTo>
                    <a:pt x="321" y="661"/>
                    <a:pt x="321" y="661"/>
                    <a:pt x="321" y="661"/>
                  </a:cubicBezTo>
                  <a:cubicBezTo>
                    <a:pt x="329" y="670"/>
                    <a:pt x="329" y="670"/>
                    <a:pt x="329" y="670"/>
                  </a:cubicBezTo>
                  <a:cubicBezTo>
                    <a:pt x="339" y="678"/>
                    <a:pt x="339" y="678"/>
                    <a:pt x="339" y="678"/>
                  </a:cubicBezTo>
                  <a:cubicBezTo>
                    <a:pt x="346" y="686"/>
                    <a:pt x="346" y="686"/>
                    <a:pt x="346" y="686"/>
                  </a:cubicBezTo>
                  <a:cubicBezTo>
                    <a:pt x="353" y="688"/>
                    <a:pt x="353" y="688"/>
                    <a:pt x="353" y="688"/>
                  </a:cubicBezTo>
                  <a:cubicBezTo>
                    <a:pt x="361" y="692"/>
                    <a:pt x="361" y="692"/>
                    <a:pt x="361" y="692"/>
                  </a:cubicBezTo>
                  <a:cubicBezTo>
                    <a:pt x="362" y="701"/>
                    <a:pt x="362" y="701"/>
                    <a:pt x="362" y="701"/>
                  </a:cubicBezTo>
                  <a:cubicBezTo>
                    <a:pt x="363" y="718"/>
                    <a:pt x="363" y="718"/>
                    <a:pt x="363" y="718"/>
                  </a:cubicBezTo>
                  <a:cubicBezTo>
                    <a:pt x="372" y="730"/>
                    <a:pt x="372" y="730"/>
                    <a:pt x="372" y="730"/>
                  </a:cubicBezTo>
                  <a:cubicBezTo>
                    <a:pt x="377" y="737"/>
                    <a:pt x="377" y="737"/>
                    <a:pt x="377" y="737"/>
                  </a:cubicBezTo>
                  <a:cubicBezTo>
                    <a:pt x="381" y="743"/>
                    <a:pt x="381" y="743"/>
                    <a:pt x="381" y="743"/>
                  </a:cubicBezTo>
                  <a:cubicBezTo>
                    <a:pt x="381" y="749"/>
                    <a:pt x="381" y="749"/>
                    <a:pt x="381" y="749"/>
                  </a:cubicBezTo>
                  <a:cubicBezTo>
                    <a:pt x="387" y="763"/>
                    <a:pt x="387" y="763"/>
                    <a:pt x="387" y="763"/>
                  </a:cubicBezTo>
                  <a:cubicBezTo>
                    <a:pt x="396" y="779"/>
                    <a:pt x="396" y="779"/>
                    <a:pt x="396" y="779"/>
                  </a:cubicBezTo>
                  <a:cubicBezTo>
                    <a:pt x="395" y="787"/>
                    <a:pt x="395" y="787"/>
                    <a:pt x="395" y="787"/>
                  </a:cubicBezTo>
                  <a:cubicBezTo>
                    <a:pt x="386" y="795"/>
                    <a:pt x="386" y="795"/>
                    <a:pt x="386" y="795"/>
                  </a:cubicBezTo>
                  <a:cubicBezTo>
                    <a:pt x="378" y="808"/>
                    <a:pt x="378" y="808"/>
                    <a:pt x="378" y="808"/>
                  </a:cubicBezTo>
                  <a:cubicBezTo>
                    <a:pt x="378" y="815"/>
                    <a:pt x="378" y="815"/>
                    <a:pt x="378" y="815"/>
                  </a:cubicBezTo>
                  <a:cubicBezTo>
                    <a:pt x="383" y="815"/>
                    <a:pt x="383" y="815"/>
                    <a:pt x="383" y="815"/>
                  </a:cubicBezTo>
                  <a:cubicBezTo>
                    <a:pt x="391" y="807"/>
                    <a:pt x="391" y="807"/>
                    <a:pt x="391" y="807"/>
                  </a:cubicBezTo>
                  <a:cubicBezTo>
                    <a:pt x="401" y="808"/>
                    <a:pt x="401" y="808"/>
                    <a:pt x="401" y="808"/>
                  </a:cubicBezTo>
                  <a:cubicBezTo>
                    <a:pt x="409" y="816"/>
                    <a:pt x="409" y="816"/>
                    <a:pt x="409" y="816"/>
                  </a:cubicBezTo>
                  <a:cubicBezTo>
                    <a:pt x="419" y="818"/>
                    <a:pt x="419" y="818"/>
                    <a:pt x="419" y="818"/>
                  </a:cubicBezTo>
                  <a:cubicBezTo>
                    <a:pt x="429" y="817"/>
                    <a:pt x="429" y="817"/>
                    <a:pt x="429" y="817"/>
                  </a:cubicBezTo>
                  <a:cubicBezTo>
                    <a:pt x="435" y="820"/>
                    <a:pt x="435" y="820"/>
                    <a:pt x="435" y="820"/>
                  </a:cubicBezTo>
                  <a:cubicBezTo>
                    <a:pt x="436" y="830"/>
                    <a:pt x="436" y="830"/>
                    <a:pt x="436" y="830"/>
                  </a:cubicBezTo>
                  <a:cubicBezTo>
                    <a:pt x="445" y="833"/>
                    <a:pt x="445" y="833"/>
                    <a:pt x="445" y="833"/>
                  </a:cubicBezTo>
                  <a:cubicBezTo>
                    <a:pt x="457" y="827"/>
                    <a:pt x="457" y="827"/>
                    <a:pt x="457" y="827"/>
                  </a:cubicBezTo>
                  <a:cubicBezTo>
                    <a:pt x="460" y="811"/>
                    <a:pt x="460" y="811"/>
                    <a:pt x="460" y="811"/>
                  </a:cubicBezTo>
                  <a:cubicBezTo>
                    <a:pt x="462" y="801"/>
                    <a:pt x="462" y="801"/>
                    <a:pt x="462" y="801"/>
                  </a:cubicBezTo>
                  <a:cubicBezTo>
                    <a:pt x="467" y="790"/>
                    <a:pt x="467" y="790"/>
                    <a:pt x="467" y="790"/>
                  </a:cubicBezTo>
                  <a:cubicBezTo>
                    <a:pt x="470" y="777"/>
                    <a:pt x="470" y="777"/>
                    <a:pt x="470" y="777"/>
                  </a:cubicBezTo>
                  <a:cubicBezTo>
                    <a:pt x="480" y="770"/>
                    <a:pt x="480" y="770"/>
                    <a:pt x="480" y="770"/>
                  </a:cubicBezTo>
                  <a:cubicBezTo>
                    <a:pt x="487" y="763"/>
                    <a:pt x="487" y="763"/>
                    <a:pt x="487" y="763"/>
                  </a:cubicBezTo>
                  <a:cubicBezTo>
                    <a:pt x="490" y="753"/>
                    <a:pt x="490" y="753"/>
                    <a:pt x="490" y="753"/>
                  </a:cubicBezTo>
                  <a:cubicBezTo>
                    <a:pt x="487" y="751"/>
                    <a:pt x="487" y="751"/>
                    <a:pt x="487" y="751"/>
                  </a:cubicBezTo>
                  <a:cubicBezTo>
                    <a:pt x="487" y="751"/>
                    <a:pt x="480" y="742"/>
                    <a:pt x="477" y="739"/>
                  </a:cubicBezTo>
                  <a:cubicBezTo>
                    <a:pt x="474" y="735"/>
                    <a:pt x="466" y="730"/>
                    <a:pt x="466" y="730"/>
                  </a:cubicBezTo>
                  <a:cubicBezTo>
                    <a:pt x="452" y="730"/>
                    <a:pt x="452" y="730"/>
                    <a:pt x="452" y="730"/>
                  </a:cubicBezTo>
                  <a:cubicBezTo>
                    <a:pt x="445" y="725"/>
                    <a:pt x="445" y="725"/>
                    <a:pt x="445" y="725"/>
                  </a:cubicBezTo>
                  <a:cubicBezTo>
                    <a:pt x="443" y="718"/>
                    <a:pt x="443" y="718"/>
                    <a:pt x="443" y="718"/>
                  </a:cubicBezTo>
                  <a:cubicBezTo>
                    <a:pt x="445" y="708"/>
                    <a:pt x="445" y="708"/>
                    <a:pt x="445" y="708"/>
                  </a:cubicBezTo>
                  <a:cubicBezTo>
                    <a:pt x="440" y="700"/>
                    <a:pt x="440" y="700"/>
                    <a:pt x="440" y="700"/>
                  </a:cubicBezTo>
                  <a:cubicBezTo>
                    <a:pt x="435" y="693"/>
                    <a:pt x="435" y="693"/>
                    <a:pt x="435" y="693"/>
                  </a:cubicBezTo>
                  <a:cubicBezTo>
                    <a:pt x="431" y="682"/>
                    <a:pt x="431" y="682"/>
                    <a:pt x="431" y="682"/>
                  </a:cubicBezTo>
                  <a:cubicBezTo>
                    <a:pt x="429" y="676"/>
                    <a:pt x="429" y="676"/>
                    <a:pt x="429" y="676"/>
                  </a:cubicBezTo>
                  <a:cubicBezTo>
                    <a:pt x="434" y="670"/>
                    <a:pt x="434" y="670"/>
                    <a:pt x="434" y="670"/>
                  </a:cubicBezTo>
                  <a:cubicBezTo>
                    <a:pt x="440" y="664"/>
                    <a:pt x="440" y="664"/>
                    <a:pt x="440" y="664"/>
                  </a:cubicBezTo>
                  <a:cubicBezTo>
                    <a:pt x="448" y="662"/>
                    <a:pt x="448" y="662"/>
                    <a:pt x="448" y="662"/>
                  </a:cubicBezTo>
                  <a:cubicBezTo>
                    <a:pt x="448" y="655"/>
                    <a:pt x="448" y="655"/>
                    <a:pt x="448" y="655"/>
                  </a:cubicBezTo>
                  <a:cubicBezTo>
                    <a:pt x="447" y="639"/>
                    <a:pt x="447" y="639"/>
                    <a:pt x="447" y="639"/>
                  </a:cubicBezTo>
                  <a:cubicBezTo>
                    <a:pt x="443" y="635"/>
                    <a:pt x="443" y="635"/>
                    <a:pt x="443" y="635"/>
                  </a:cubicBezTo>
                  <a:cubicBezTo>
                    <a:pt x="439" y="627"/>
                    <a:pt x="439" y="627"/>
                    <a:pt x="439" y="627"/>
                  </a:cubicBezTo>
                  <a:cubicBezTo>
                    <a:pt x="440" y="613"/>
                    <a:pt x="440" y="613"/>
                    <a:pt x="440" y="613"/>
                  </a:cubicBezTo>
                  <a:cubicBezTo>
                    <a:pt x="445" y="599"/>
                    <a:pt x="445" y="599"/>
                    <a:pt x="445" y="599"/>
                  </a:cubicBezTo>
                  <a:cubicBezTo>
                    <a:pt x="453" y="595"/>
                    <a:pt x="453" y="595"/>
                    <a:pt x="453" y="595"/>
                  </a:cubicBezTo>
                  <a:cubicBezTo>
                    <a:pt x="466" y="590"/>
                    <a:pt x="466" y="590"/>
                    <a:pt x="466" y="590"/>
                  </a:cubicBezTo>
                  <a:cubicBezTo>
                    <a:pt x="479" y="585"/>
                    <a:pt x="479" y="585"/>
                    <a:pt x="479" y="585"/>
                  </a:cubicBezTo>
                  <a:cubicBezTo>
                    <a:pt x="485" y="581"/>
                    <a:pt x="485" y="581"/>
                    <a:pt x="485" y="581"/>
                  </a:cubicBezTo>
                  <a:cubicBezTo>
                    <a:pt x="490" y="574"/>
                    <a:pt x="490" y="574"/>
                    <a:pt x="490" y="574"/>
                  </a:cubicBezTo>
                  <a:cubicBezTo>
                    <a:pt x="492" y="564"/>
                    <a:pt x="492" y="564"/>
                    <a:pt x="492" y="564"/>
                  </a:cubicBezTo>
                  <a:cubicBezTo>
                    <a:pt x="492" y="553"/>
                    <a:pt x="492" y="553"/>
                    <a:pt x="492" y="553"/>
                  </a:cubicBezTo>
                  <a:cubicBezTo>
                    <a:pt x="486" y="542"/>
                    <a:pt x="486" y="542"/>
                    <a:pt x="486" y="542"/>
                  </a:cubicBezTo>
                  <a:cubicBezTo>
                    <a:pt x="484" y="534"/>
                    <a:pt x="484" y="534"/>
                    <a:pt x="484" y="534"/>
                  </a:cubicBezTo>
                  <a:cubicBezTo>
                    <a:pt x="489" y="522"/>
                    <a:pt x="489" y="522"/>
                    <a:pt x="489" y="522"/>
                  </a:cubicBezTo>
                  <a:cubicBezTo>
                    <a:pt x="508" y="514"/>
                    <a:pt x="508" y="514"/>
                    <a:pt x="508" y="514"/>
                  </a:cubicBezTo>
                  <a:cubicBezTo>
                    <a:pt x="522" y="502"/>
                    <a:pt x="522" y="502"/>
                    <a:pt x="522" y="502"/>
                  </a:cubicBezTo>
                  <a:cubicBezTo>
                    <a:pt x="530" y="494"/>
                    <a:pt x="530" y="494"/>
                    <a:pt x="530" y="494"/>
                  </a:cubicBezTo>
                  <a:cubicBezTo>
                    <a:pt x="536" y="491"/>
                    <a:pt x="536" y="491"/>
                    <a:pt x="536" y="491"/>
                  </a:cubicBezTo>
                  <a:cubicBezTo>
                    <a:pt x="543" y="480"/>
                    <a:pt x="543" y="480"/>
                    <a:pt x="543" y="480"/>
                  </a:cubicBezTo>
                  <a:cubicBezTo>
                    <a:pt x="549" y="476"/>
                    <a:pt x="549" y="476"/>
                    <a:pt x="549" y="476"/>
                  </a:cubicBezTo>
                  <a:cubicBezTo>
                    <a:pt x="537" y="465"/>
                    <a:pt x="537" y="465"/>
                    <a:pt x="537" y="465"/>
                  </a:cubicBezTo>
                  <a:cubicBezTo>
                    <a:pt x="524" y="446"/>
                    <a:pt x="524" y="446"/>
                    <a:pt x="524" y="446"/>
                  </a:cubicBezTo>
                  <a:cubicBezTo>
                    <a:pt x="513" y="436"/>
                    <a:pt x="513" y="436"/>
                    <a:pt x="513" y="436"/>
                  </a:cubicBezTo>
                  <a:cubicBezTo>
                    <a:pt x="497" y="424"/>
                    <a:pt x="497" y="424"/>
                    <a:pt x="497" y="424"/>
                  </a:cubicBezTo>
                  <a:cubicBezTo>
                    <a:pt x="495" y="412"/>
                    <a:pt x="495" y="412"/>
                    <a:pt x="495" y="412"/>
                  </a:cubicBezTo>
                  <a:cubicBezTo>
                    <a:pt x="497" y="396"/>
                    <a:pt x="497" y="396"/>
                    <a:pt x="497" y="396"/>
                  </a:cubicBezTo>
                  <a:cubicBezTo>
                    <a:pt x="491" y="380"/>
                    <a:pt x="491" y="380"/>
                    <a:pt x="491" y="380"/>
                  </a:cubicBezTo>
                  <a:cubicBezTo>
                    <a:pt x="482" y="364"/>
                    <a:pt x="482" y="364"/>
                    <a:pt x="482" y="364"/>
                  </a:cubicBezTo>
                  <a:cubicBezTo>
                    <a:pt x="478" y="353"/>
                    <a:pt x="478" y="353"/>
                    <a:pt x="478" y="353"/>
                  </a:cubicBezTo>
                  <a:cubicBezTo>
                    <a:pt x="483" y="343"/>
                    <a:pt x="483" y="343"/>
                    <a:pt x="483" y="343"/>
                  </a:cubicBezTo>
                  <a:cubicBezTo>
                    <a:pt x="488" y="328"/>
                    <a:pt x="488" y="328"/>
                    <a:pt x="488" y="328"/>
                  </a:cubicBezTo>
                  <a:cubicBezTo>
                    <a:pt x="488" y="311"/>
                    <a:pt x="488" y="311"/>
                    <a:pt x="488" y="311"/>
                  </a:cubicBezTo>
                  <a:cubicBezTo>
                    <a:pt x="491" y="302"/>
                    <a:pt x="491" y="302"/>
                    <a:pt x="491" y="302"/>
                  </a:cubicBezTo>
                  <a:cubicBezTo>
                    <a:pt x="498" y="296"/>
                    <a:pt x="498" y="296"/>
                    <a:pt x="498" y="296"/>
                  </a:cubicBezTo>
                  <a:cubicBezTo>
                    <a:pt x="505" y="285"/>
                    <a:pt x="505" y="285"/>
                    <a:pt x="505" y="285"/>
                  </a:cubicBezTo>
                  <a:cubicBezTo>
                    <a:pt x="501" y="267"/>
                    <a:pt x="501" y="267"/>
                    <a:pt x="501" y="267"/>
                  </a:cubicBezTo>
                  <a:cubicBezTo>
                    <a:pt x="502" y="253"/>
                    <a:pt x="502" y="253"/>
                    <a:pt x="502" y="253"/>
                  </a:cubicBezTo>
                  <a:cubicBezTo>
                    <a:pt x="507" y="240"/>
                    <a:pt x="507" y="240"/>
                    <a:pt x="507" y="240"/>
                  </a:cubicBezTo>
                  <a:cubicBezTo>
                    <a:pt x="508" y="231"/>
                    <a:pt x="508" y="231"/>
                    <a:pt x="508" y="231"/>
                  </a:cubicBezTo>
                  <a:cubicBezTo>
                    <a:pt x="500" y="220"/>
                    <a:pt x="500" y="220"/>
                    <a:pt x="500" y="220"/>
                  </a:cubicBezTo>
                  <a:cubicBezTo>
                    <a:pt x="497" y="209"/>
                    <a:pt x="497" y="209"/>
                    <a:pt x="497" y="209"/>
                  </a:cubicBezTo>
                  <a:cubicBezTo>
                    <a:pt x="503" y="197"/>
                    <a:pt x="503" y="197"/>
                    <a:pt x="503" y="197"/>
                  </a:cubicBezTo>
                  <a:cubicBezTo>
                    <a:pt x="505" y="181"/>
                    <a:pt x="505" y="181"/>
                    <a:pt x="505" y="181"/>
                  </a:cubicBezTo>
                  <a:cubicBezTo>
                    <a:pt x="494" y="169"/>
                    <a:pt x="494" y="169"/>
                    <a:pt x="494" y="169"/>
                  </a:cubicBezTo>
                  <a:cubicBezTo>
                    <a:pt x="483" y="166"/>
                    <a:pt x="483" y="166"/>
                    <a:pt x="483" y="166"/>
                  </a:cubicBezTo>
                  <a:cubicBezTo>
                    <a:pt x="476" y="165"/>
                    <a:pt x="476" y="165"/>
                    <a:pt x="476" y="165"/>
                  </a:cubicBezTo>
                  <a:cubicBezTo>
                    <a:pt x="466" y="155"/>
                    <a:pt x="466" y="155"/>
                    <a:pt x="466" y="155"/>
                  </a:cubicBezTo>
                  <a:cubicBezTo>
                    <a:pt x="458" y="143"/>
                    <a:pt x="458" y="143"/>
                    <a:pt x="458" y="143"/>
                  </a:cubicBezTo>
                  <a:cubicBezTo>
                    <a:pt x="450" y="123"/>
                    <a:pt x="450" y="123"/>
                    <a:pt x="450" y="123"/>
                  </a:cubicBezTo>
                  <a:cubicBezTo>
                    <a:pt x="448" y="108"/>
                    <a:pt x="448" y="108"/>
                    <a:pt x="448" y="108"/>
                  </a:cubicBezTo>
                  <a:cubicBezTo>
                    <a:pt x="451" y="85"/>
                    <a:pt x="451" y="85"/>
                    <a:pt x="451" y="85"/>
                  </a:cubicBezTo>
                  <a:cubicBezTo>
                    <a:pt x="458" y="80"/>
                    <a:pt x="458" y="80"/>
                    <a:pt x="458" y="80"/>
                  </a:cubicBezTo>
                  <a:cubicBezTo>
                    <a:pt x="467" y="70"/>
                    <a:pt x="467" y="70"/>
                    <a:pt x="467" y="70"/>
                  </a:cubicBezTo>
                  <a:cubicBezTo>
                    <a:pt x="466" y="63"/>
                    <a:pt x="466" y="63"/>
                    <a:pt x="466" y="63"/>
                  </a:cubicBezTo>
                  <a:cubicBezTo>
                    <a:pt x="462" y="61"/>
                    <a:pt x="462" y="61"/>
                    <a:pt x="462" y="61"/>
                  </a:cubicBezTo>
                  <a:cubicBezTo>
                    <a:pt x="450" y="58"/>
                    <a:pt x="450" y="58"/>
                    <a:pt x="450" y="58"/>
                  </a:cubicBezTo>
                  <a:cubicBezTo>
                    <a:pt x="440" y="45"/>
                    <a:pt x="440" y="45"/>
                    <a:pt x="440" y="45"/>
                  </a:cubicBezTo>
                  <a:cubicBezTo>
                    <a:pt x="434" y="39"/>
                    <a:pt x="434" y="39"/>
                    <a:pt x="434" y="39"/>
                  </a:cubicBezTo>
                  <a:cubicBezTo>
                    <a:pt x="420" y="44"/>
                    <a:pt x="420" y="44"/>
                    <a:pt x="420" y="44"/>
                  </a:cubicBezTo>
                  <a:cubicBezTo>
                    <a:pt x="408" y="42"/>
                    <a:pt x="408" y="42"/>
                    <a:pt x="408" y="42"/>
                  </a:cubicBezTo>
                  <a:cubicBezTo>
                    <a:pt x="406" y="35"/>
                    <a:pt x="406" y="35"/>
                    <a:pt x="406" y="35"/>
                  </a:cubicBezTo>
                  <a:cubicBezTo>
                    <a:pt x="405" y="25"/>
                    <a:pt x="405" y="25"/>
                    <a:pt x="405" y="25"/>
                  </a:cubicBezTo>
                  <a:cubicBezTo>
                    <a:pt x="404" y="10"/>
                    <a:pt x="404" y="10"/>
                    <a:pt x="404" y="10"/>
                  </a:cubicBezTo>
                  <a:cubicBezTo>
                    <a:pt x="402" y="0"/>
                    <a:pt x="402" y="0"/>
                    <a:pt x="402" y="0"/>
                  </a:cubicBezTo>
                  <a:cubicBezTo>
                    <a:pt x="400" y="2"/>
                    <a:pt x="400" y="2"/>
                    <a:pt x="400" y="2"/>
                  </a:cubicBezTo>
                  <a:cubicBezTo>
                    <a:pt x="395" y="6"/>
                    <a:pt x="395" y="6"/>
                    <a:pt x="395" y="6"/>
                  </a:cubicBezTo>
                  <a:cubicBezTo>
                    <a:pt x="376" y="8"/>
                    <a:pt x="376" y="8"/>
                    <a:pt x="376" y="8"/>
                  </a:cubicBezTo>
                  <a:cubicBezTo>
                    <a:pt x="365" y="16"/>
                    <a:pt x="365" y="16"/>
                    <a:pt x="365" y="16"/>
                  </a:cubicBezTo>
                  <a:cubicBezTo>
                    <a:pt x="362" y="24"/>
                    <a:pt x="362" y="24"/>
                    <a:pt x="362" y="24"/>
                  </a:cubicBezTo>
                  <a:cubicBezTo>
                    <a:pt x="368" y="36"/>
                    <a:pt x="368" y="36"/>
                    <a:pt x="368" y="36"/>
                  </a:cubicBezTo>
                  <a:cubicBezTo>
                    <a:pt x="371" y="42"/>
                    <a:pt x="371" y="42"/>
                    <a:pt x="371" y="42"/>
                  </a:cubicBezTo>
                  <a:cubicBezTo>
                    <a:pt x="370" y="50"/>
                    <a:pt x="370" y="50"/>
                    <a:pt x="370" y="50"/>
                  </a:cubicBezTo>
                  <a:cubicBezTo>
                    <a:pt x="362" y="58"/>
                    <a:pt x="362" y="58"/>
                    <a:pt x="362" y="58"/>
                  </a:cubicBezTo>
                  <a:cubicBezTo>
                    <a:pt x="354" y="64"/>
                    <a:pt x="354" y="64"/>
                    <a:pt x="354" y="64"/>
                  </a:cubicBezTo>
                  <a:cubicBezTo>
                    <a:pt x="345" y="68"/>
                    <a:pt x="345" y="68"/>
                    <a:pt x="345" y="68"/>
                  </a:cubicBezTo>
                  <a:cubicBezTo>
                    <a:pt x="333" y="70"/>
                    <a:pt x="333" y="70"/>
                    <a:pt x="333" y="70"/>
                  </a:cubicBezTo>
                  <a:cubicBezTo>
                    <a:pt x="321" y="73"/>
                    <a:pt x="321" y="73"/>
                    <a:pt x="321" y="73"/>
                  </a:cubicBezTo>
                  <a:cubicBezTo>
                    <a:pt x="314" y="73"/>
                    <a:pt x="314" y="73"/>
                    <a:pt x="314" y="73"/>
                  </a:cubicBezTo>
                  <a:cubicBezTo>
                    <a:pt x="310" y="70"/>
                    <a:pt x="310" y="70"/>
                    <a:pt x="310" y="70"/>
                  </a:cubicBezTo>
                  <a:cubicBezTo>
                    <a:pt x="298" y="79"/>
                    <a:pt x="298" y="79"/>
                    <a:pt x="298" y="79"/>
                  </a:cubicBezTo>
                  <a:cubicBezTo>
                    <a:pt x="287" y="78"/>
                    <a:pt x="287" y="78"/>
                    <a:pt x="287" y="78"/>
                  </a:cubicBezTo>
                  <a:cubicBezTo>
                    <a:pt x="277" y="72"/>
                    <a:pt x="277" y="72"/>
                    <a:pt x="277" y="72"/>
                  </a:cubicBezTo>
                  <a:cubicBezTo>
                    <a:pt x="270" y="68"/>
                    <a:pt x="270" y="68"/>
                    <a:pt x="270" y="68"/>
                  </a:cubicBezTo>
                  <a:cubicBezTo>
                    <a:pt x="255" y="65"/>
                    <a:pt x="255" y="65"/>
                    <a:pt x="255" y="65"/>
                  </a:cubicBezTo>
                  <a:cubicBezTo>
                    <a:pt x="244" y="67"/>
                    <a:pt x="244" y="67"/>
                    <a:pt x="244" y="67"/>
                  </a:cubicBezTo>
                  <a:cubicBezTo>
                    <a:pt x="232" y="67"/>
                    <a:pt x="232" y="67"/>
                    <a:pt x="232" y="67"/>
                  </a:cubicBezTo>
                  <a:cubicBezTo>
                    <a:pt x="219" y="61"/>
                    <a:pt x="219" y="61"/>
                    <a:pt x="219" y="61"/>
                  </a:cubicBezTo>
                  <a:lnTo>
                    <a:pt x="207" y="58"/>
                  </a:lnTo>
                  <a:close/>
                  <a:moveTo>
                    <a:pt x="416" y="671"/>
                  </a:moveTo>
                  <a:cubicBezTo>
                    <a:pt x="419" y="675"/>
                    <a:pt x="419" y="675"/>
                    <a:pt x="419" y="675"/>
                  </a:cubicBezTo>
                  <a:cubicBezTo>
                    <a:pt x="423" y="674"/>
                    <a:pt x="423" y="674"/>
                    <a:pt x="423" y="674"/>
                  </a:cubicBezTo>
                  <a:cubicBezTo>
                    <a:pt x="425" y="671"/>
                    <a:pt x="425" y="671"/>
                    <a:pt x="425" y="671"/>
                  </a:cubicBezTo>
                  <a:cubicBezTo>
                    <a:pt x="428" y="667"/>
                    <a:pt x="428" y="667"/>
                    <a:pt x="428" y="667"/>
                  </a:cubicBezTo>
                  <a:cubicBezTo>
                    <a:pt x="427" y="662"/>
                    <a:pt x="427" y="662"/>
                    <a:pt x="427" y="662"/>
                  </a:cubicBezTo>
                  <a:cubicBezTo>
                    <a:pt x="425" y="661"/>
                    <a:pt x="425" y="661"/>
                    <a:pt x="425" y="661"/>
                  </a:cubicBezTo>
                  <a:cubicBezTo>
                    <a:pt x="419" y="666"/>
                    <a:pt x="419" y="666"/>
                    <a:pt x="419" y="666"/>
                  </a:cubicBezTo>
                  <a:lnTo>
                    <a:pt x="416" y="671"/>
                  </a:lnTo>
                  <a:close/>
                </a:path>
              </a:pathLst>
            </a:custGeom>
            <a:pattFill prst="dkHorz">
              <a:fgClr>
                <a:schemeClr val="accent2"/>
              </a:fgClr>
              <a:bgClr>
                <a:schemeClr val="bg1"/>
              </a:bgClr>
            </a:patt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84" name="Freeform 34">
              <a:extLst>
                <a:ext uri="{FF2B5EF4-FFF2-40B4-BE49-F238E27FC236}">
                  <a16:creationId xmlns:a16="http://schemas.microsoft.com/office/drawing/2014/main" id="{297D1FF6-E3A7-4235-8834-B71FA7A24ADD}"/>
                </a:ext>
              </a:extLst>
            </p:cNvPr>
            <p:cNvSpPr>
              <a:spLocks noEditPoints="1"/>
            </p:cNvSpPr>
            <p:nvPr/>
          </p:nvSpPr>
          <p:spPr bwMode="gray">
            <a:xfrm>
              <a:off x="5770" y="3151"/>
              <a:ext cx="1972" cy="1959"/>
            </a:xfrm>
            <a:custGeom>
              <a:avLst/>
              <a:gdLst>
                <a:gd name="T0" fmla="*/ 705 w 835"/>
                <a:gd name="T1" fmla="*/ 25 h 829"/>
                <a:gd name="T2" fmla="*/ 722 w 835"/>
                <a:gd name="T3" fmla="*/ 99 h 829"/>
                <a:gd name="T4" fmla="*/ 688 w 835"/>
                <a:gd name="T5" fmla="*/ 151 h 829"/>
                <a:gd name="T6" fmla="*/ 672 w 835"/>
                <a:gd name="T7" fmla="*/ 105 h 829"/>
                <a:gd name="T8" fmla="*/ 639 w 835"/>
                <a:gd name="T9" fmla="*/ 61 h 829"/>
                <a:gd name="T10" fmla="*/ 490 w 835"/>
                <a:gd name="T11" fmla="*/ 256 h 829"/>
                <a:gd name="T12" fmla="*/ 507 w 835"/>
                <a:gd name="T13" fmla="*/ 244 h 829"/>
                <a:gd name="T14" fmla="*/ 551 w 835"/>
                <a:gd name="T15" fmla="*/ 219 h 829"/>
                <a:gd name="T16" fmla="*/ 568 w 835"/>
                <a:gd name="T17" fmla="*/ 257 h 829"/>
                <a:gd name="T18" fmla="*/ 525 w 835"/>
                <a:gd name="T19" fmla="*/ 254 h 829"/>
                <a:gd name="T20" fmla="*/ 523 w 835"/>
                <a:gd name="T21" fmla="*/ 267 h 829"/>
                <a:gd name="T22" fmla="*/ 92 w 835"/>
                <a:gd name="T23" fmla="*/ 714 h 829"/>
                <a:gd name="T24" fmla="*/ 54 w 835"/>
                <a:gd name="T25" fmla="*/ 673 h 829"/>
                <a:gd name="T26" fmla="*/ 16 w 835"/>
                <a:gd name="T27" fmla="*/ 600 h 829"/>
                <a:gd name="T28" fmla="*/ 16 w 835"/>
                <a:gd name="T29" fmla="*/ 528 h 829"/>
                <a:gd name="T30" fmla="*/ 54 w 835"/>
                <a:gd name="T31" fmla="*/ 458 h 829"/>
                <a:gd name="T32" fmla="*/ 85 w 835"/>
                <a:gd name="T33" fmla="*/ 374 h 829"/>
                <a:gd name="T34" fmla="*/ 200 w 835"/>
                <a:gd name="T35" fmla="*/ 283 h 829"/>
                <a:gd name="T36" fmla="*/ 258 w 835"/>
                <a:gd name="T37" fmla="*/ 239 h 829"/>
                <a:gd name="T38" fmla="*/ 258 w 835"/>
                <a:gd name="T39" fmla="*/ 195 h 829"/>
                <a:gd name="T40" fmla="*/ 270 w 835"/>
                <a:gd name="T41" fmla="*/ 154 h 829"/>
                <a:gd name="T42" fmla="*/ 404 w 835"/>
                <a:gd name="T43" fmla="*/ 101 h 829"/>
                <a:gd name="T44" fmla="*/ 471 w 835"/>
                <a:gd name="T45" fmla="*/ 70 h 829"/>
                <a:gd name="T46" fmla="*/ 495 w 835"/>
                <a:gd name="T47" fmla="*/ 143 h 829"/>
                <a:gd name="T48" fmla="*/ 525 w 835"/>
                <a:gd name="T49" fmla="*/ 206 h 829"/>
                <a:gd name="T50" fmla="*/ 571 w 835"/>
                <a:gd name="T51" fmla="*/ 208 h 829"/>
                <a:gd name="T52" fmla="*/ 603 w 835"/>
                <a:gd name="T53" fmla="*/ 182 h 829"/>
                <a:gd name="T54" fmla="*/ 587 w 835"/>
                <a:gd name="T55" fmla="*/ 178 h 829"/>
                <a:gd name="T56" fmla="*/ 598 w 835"/>
                <a:gd name="T57" fmla="*/ 116 h 829"/>
                <a:gd name="T58" fmla="*/ 588 w 835"/>
                <a:gd name="T59" fmla="*/ 100 h 829"/>
                <a:gd name="T60" fmla="*/ 641 w 835"/>
                <a:gd name="T61" fmla="*/ 116 h 829"/>
                <a:gd name="T62" fmla="*/ 639 w 835"/>
                <a:gd name="T63" fmla="*/ 176 h 829"/>
                <a:gd name="T64" fmla="*/ 607 w 835"/>
                <a:gd name="T65" fmla="*/ 241 h 829"/>
                <a:gd name="T66" fmla="*/ 566 w 835"/>
                <a:gd name="T67" fmla="*/ 328 h 829"/>
                <a:gd name="T68" fmla="*/ 531 w 835"/>
                <a:gd name="T69" fmla="*/ 338 h 829"/>
                <a:gd name="T70" fmla="*/ 518 w 835"/>
                <a:gd name="T71" fmla="*/ 416 h 829"/>
                <a:gd name="T72" fmla="*/ 551 w 835"/>
                <a:gd name="T73" fmla="*/ 418 h 829"/>
                <a:gd name="T74" fmla="*/ 594 w 835"/>
                <a:gd name="T75" fmla="*/ 435 h 829"/>
                <a:gd name="T76" fmla="*/ 567 w 835"/>
                <a:gd name="T77" fmla="*/ 462 h 829"/>
                <a:gd name="T78" fmla="*/ 531 w 835"/>
                <a:gd name="T79" fmla="*/ 463 h 829"/>
                <a:gd name="T80" fmla="*/ 544 w 835"/>
                <a:gd name="T81" fmla="*/ 502 h 829"/>
                <a:gd name="T82" fmla="*/ 591 w 835"/>
                <a:gd name="T83" fmla="*/ 479 h 829"/>
                <a:gd name="T84" fmla="*/ 641 w 835"/>
                <a:gd name="T85" fmla="*/ 521 h 829"/>
                <a:gd name="T86" fmla="*/ 671 w 835"/>
                <a:gd name="T87" fmla="*/ 553 h 829"/>
                <a:gd name="T88" fmla="*/ 733 w 835"/>
                <a:gd name="T89" fmla="*/ 509 h 829"/>
                <a:gd name="T90" fmla="*/ 785 w 835"/>
                <a:gd name="T91" fmla="*/ 464 h 829"/>
                <a:gd name="T92" fmla="*/ 834 w 835"/>
                <a:gd name="T93" fmla="*/ 483 h 829"/>
                <a:gd name="T94" fmla="*/ 820 w 835"/>
                <a:gd name="T95" fmla="*/ 555 h 829"/>
                <a:gd name="T96" fmla="*/ 804 w 835"/>
                <a:gd name="T97" fmla="*/ 590 h 829"/>
                <a:gd name="T98" fmla="*/ 809 w 835"/>
                <a:gd name="T99" fmla="*/ 653 h 829"/>
                <a:gd name="T100" fmla="*/ 794 w 835"/>
                <a:gd name="T101" fmla="*/ 714 h 829"/>
                <a:gd name="T102" fmla="*/ 736 w 835"/>
                <a:gd name="T103" fmla="*/ 786 h 829"/>
                <a:gd name="T104" fmla="*/ 667 w 835"/>
                <a:gd name="T105" fmla="*/ 808 h 829"/>
                <a:gd name="T106" fmla="*/ 640 w 835"/>
                <a:gd name="T107" fmla="*/ 756 h 829"/>
                <a:gd name="T108" fmla="*/ 629 w 835"/>
                <a:gd name="T109" fmla="*/ 708 h 829"/>
                <a:gd name="T110" fmla="*/ 600 w 835"/>
                <a:gd name="T111" fmla="*/ 660 h 829"/>
                <a:gd name="T112" fmla="*/ 577 w 835"/>
                <a:gd name="T113" fmla="*/ 625 h 829"/>
                <a:gd name="T114" fmla="*/ 408 w 835"/>
                <a:gd name="T115" fmla="*/ 561 h 829"/>
                <a:gd name="T116" fmla="*/ 87 w 835"/>
                <a:gd name="T117" fmla="*/ 635 h 829"/>
                <a:gd name="T118" fmla="*/ 87 w 835"/>
                <a:gd name="T119" fmla="*/ 663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5" h="829">
                  <a:moveTo>
                    <a:pt x="676" y="0"/>
                  </a:moveTo>
                  <a:cubicBezTo>
                    <a:pt x="693" y="8"/>
                    <a:pt x="693" y="8"/>
                    <a:pt x="693" y="8"/>
                  </a:cubicBezTo>
                  <a:cubicBezTo>
                    <a:pt x="705" y="12"/>
                    <a:pt x="705" y="12"/>
                    <a:pt x="705" y="12"/>
                  </a:cubicBezTo>
                  <a:cubicBezTo>
                    <a:pt x="708" y="13"/>
                    <a:pt x="708" y="13"/>
                    <a:pt x="708" y="13"/>
                  </a:cubicBezTo>
                  <a:cubicBezTo>
                    <a:pt x="705" y="25"/>
                    <a:pt x="705" y="25"/>
                    <a:pt x="705" y="25"/>
                  </a:cubicBezTo>
                  <a:cubicBezTo>
                    <a:pt x="705" y="43"/>
                    <a:pt x="705" y="43"/>
                    <a:pt x="705" y="43"/>
                  </a:cubicBezTo>
                  <a:cubicBezTo>
                    <a:pt x="709" y="48"/>
                    <a:pt x="709" y="48"/>
                    <a:pt x="709" y="48"/>
                  </a:cubicBezTo>
                  <a:cubicBezTo>
                    <a:pt x="722" y="72"/>
                    <a:pt x="722" y="72"/>
                    <a:pt x="722" y="72"/>
                  </a:cubicBezTo>
                  <a:cubicBezTo>
                    <a:pt x="731" y="91"/>
                    <a:pt x="731" y="91"/>
                    <a:pt x="731" y="91"/>
                  </a:cubicBezTo>
                  <a:cubicBezTo>
                    <a:pt x="722" y="99"/>
                    <a:pt x="722" y="99"/>
                    <a:pt x="722" y="99"/>
                  </a:cubicBezTo>
                  <a:cubicBezTo>
                    <a:pt x="710" y="108"/>
                    <a:pt x="710" y="108"/>
                    <a:pt x="710" y="108"/>
                  </a:cubicBezTo>
                  <a:cubicBezTo>
                    <a:pt x="709" y="125"/>
                    <a:pt x="709" y="125"/>
                    <a:pt x="709" y="125"/>
                  </a:cubicBezTo>
                  <a:cubicBezTo>
                    <a:pt x="703" y="135"/>
                    <a:pt x="703" y="135"/>
                    <a:pt x="703" y="135"/>
                  </a:cubicBezTo>
                  <a:cubicBezTo>
                    <a:pt x="694" y="144"/>
                    <a:pt x="694" y="144"/>
                    <a:pt x="694" y="144"/>
                  </a:cubicBezTo>
                  <a:cubicBezTo>
                    <a:pt x="688" y="151"/>
                    <a:pt x="688" y="151"/>
                    <a:pt x="688" y="151"/>
                  </a:cubicBezTo>
                  <a:cubicBezTo>
                    <a:pt x="682" y="147"/>
                    <a:pt x="682" y="147"/>
                    <a:pt x="682" y="147"/>
                  </a:cubicBezTo>
                  <a:cubicBezTo>
                    <a:pt x="687" y="134"/>
                    <a:pt x="687" y="134"/>
                    <a:pt x="687" y="134"/>
                  </a:cubicBezTo>
                  <a:cubicBezTo>
                    <a:pt x="687" y="119"/>
                    <a:pt x="687" y="119"/>
                    <a:pt x="687" y="119"/>
                  </a:cubicBezTo>
                  <a:cubicBezTo>
                    <a:pt x="679" y="113"/>
                    <a:pt x="679" y="113"/>
                    <a:pt x="679" y="113"/>
                  </a:cubicBezTo>
                  <a:cubicBezTo>
                    <a:pt x="672" y="105"/>
                    <a:pt x="672" y="105"/>
                    <a:pt x="672" y="105"/>
                  </a:cubicBezTo>
                  <a:cubicBezTo>
                    <a:pt x="659" y="95"/>
                    <a:pt x="659" y="95"/>
                    <a:pt x="659" y="95"/>
                  </a:cubicBezTo>
                  <a:cubicBezTo>
                    <a:pt x="654" y="81"/>
                    <a:pt x="654" y="81"/>
                    <a:pt x="654" y="81"/>
                  </a:cubicBezTo>
                  <a:cubicBezTo>
                    <a:pt x="650" y="66"/>
                    <a:pt x="650" y="66"/>
                    <a:pt x="650" y="66"/>
                  </a:cubicBezTo>
                  <a:cubicBezTo>
                    <a:pt x="640" y="61"/>
                    <a:pt x="640" y="61"/>
                    <a:pt x="640" y="61"/>
                  </a:cubicBezTo>
                  <a:cubicBezTo>
                    <a:pt x="639" y="61"/>
                    <a:pt x="639" y="61"/>
                    <a:pt x="639" y="61"/>
                  </a:cubicBezTo>
                  <a:cubicBezTo>
                    <a:pt x="620" y="45"/>
                    <a:pt x="620" y="45"/>
                    <a:pt x="620" y="45"/>
                  </a:cubicBezTo>
                  <a:cubicBezTo>
                    <a:pt x="620" y="45"/>
                    <a:pt x="620" y="45"/>
                    <a:pt x="620" y="45"/>
                  </a:cubicBezTo>
                  <a:lnTo>
                    <a:pt x="676" y="0"/>
                  </a:lnTo>
                  <a:close/>
                  <a:moveTo>
                    <a:pt x="497" y="246"/>
                  </a:moveTo>
                  <a:cubicBezTo>
                    <a:pt x="490" y="256"/>
                    <a:pt x="490" y="256"/>
                    <a:pt x="490" y="256"/>
                  </a:cubicBezTo>
                  <a:cubicBezTo>
                    <a:pt x="492" y="265"/>
                    <a:pt x="492" y="265"/>
                    <a:pt x="492" y="265"/>
                  </a:cubicBezTo>
                  <a:cubicBezTo>
                    <a:pt x="499" y="270"/>
                    <a:pt x="499" y="270"/>
                    <a:pt x="499" y="270"/>
                  </a:cubicBezTo>
                  <a:cubicBezTo>
                    <a:pt x="505" y="265"/>
                    <a:pt x="505" y="265"/>
                    <a:pt x="505" y="265"/>
                  </a:cubicBezTo>
                  <a:cubicBezTo>
                    <a:pt x="508" y="254"/>
                    <a:pt x="508" y="254"/>
                    <a:pt x="508" y="254"/>
                  </a:cubicBezTo>
                  <a:cubicBezTo>
                    <a:pt x="507" y="244"/>
                    <a:pt x="507" y="244"/>
                    <a:pt x="507" y="244"/>
                  </a:cubicBezTo>
                  <a:lnTo>
                    <a:pt x="497" y="246"/>
                  </a:lnTo>
                  <a:close/>
                  <a:moveTo>
                    <a:pt x="535" y="251"/>
                  </a:moveTo>
                  <a:cubicBezTo>
                    <a:pt x="547" y="236"/>
                    <a:pt x="547" y="236"/>
                    <a:pt x="547" y="236"/>
                  </a:cubicBezTo>
                  <a:cubicBezTo>
                    <a:pt x="554" y="224"/>
                    <a:pt x="554" y="224"/>
                    <a:pt x="554" y="224"/>
                  </a:cubicBezTo>
                  <a:cubicBezTo>
                    <a:pt x="551" y="219"/>
                    <a:pt x="551" y="219"/>
                    <a:pt x="551" y="219"/>
                  </a:cubicBezTo>
                  <a:cubicBezTo>
                    <a:pt x="556" y="216"/>
                    <a:pt x="556" y="216"/>
                    <a:pt x="556" y="216"/>
                  </a:cubicBezTo>
                  <a:cubicBezTo>
                    <a:pt x="564" y="225"/>
                    <a:pt x="564" y="225"/>
                    <a:pt x="564" y="225"/>
                  </a:cubicBezTo>
                  <a:cubicBezTo>
                    <a:pt x="574" y="236"/>
                    <a:pt x="574" y="236"/>
                    <a:pt x="574" y="236"/>
                  </a:cubicBezTo>
                  <a:cubicBezTo>
                    <a:pt x="577" y="241"/>
                    <a:pt x="577" y="241"/>
                    <a:pt x="577" y="241"/>
                  </a:cubicBezTo>
                  <a:cubicBezTo>
                    <a:pt x="568" y="257"/>
                    <a:pt x="568" y="257"/>
                    <a:pt x="568" y="257"/>
                  </a:cubicBezTo>
                  <a:cubicBezTo>
                    <a:pt x="562" y="267"/>
                    <a:pt x="562" y="267"/>
                    <a:pt x="562" y="267"/>
                  </a:cubicBezTo>
                  <a:cubicBezTo>
                    <a:pt x="555" y="266"/>
                    <a:pt x="555" y="266"/>
                    <a:pt x="555" y="266"/>
                  </a:cubicBezTo>
                  <a:cubicBezTo>
                    <a:pt x="548" y="258"/>
                    <a:pt x="548" y="258"/>
                    <a:pt x="548" y="258"/>
                  </a:cubicBezTo>
                  <a:lnTo>
                    <a:pt x="535" y="251"/>
                  </a:lnTo>
                  <a:close/>
                  <a:moveTo>
                    <a:pt x="525" y="254"/>
                  </a:moveTo>
                  <a:cubicBezTo>
                    <a:pt x="533" y="255"/>
                    <a:pt x="533" y="255"/>
                    <a:pt x="533" y="255"/>
                  </a:cubicBezTo>
                  <a:cubicBezTo>
                    <a:pt x="540" y="260"/>
                    <a:pt x="540" y="260"/>
                    <a:pt x="540" y="260"/>
                  </a:cubicBezTo>
                  <a:cubicBezTo>
                    <a:pt x="534" y="269"/>
                    <a:pt x="534" y="269"/>
                    <a:pt x="534" y="269"/>
                  </a:cubicBezTo>
                  <a:cubicBezTo>
                    <a:pt x="527" y="272"/>
                    <a:pt x="527" y="272"/>
                    <a:pt x="527" y="272"/>
                  </a:cubicBezTo>
                  <a:cubicBezTo>
                    <a:pt x="523" y="267"/>
                    <a:pt x="523" y="267"/>
                    <a:pt x="523" y="267"/>
                  </a:cubicBezTo>
                  <a:lnTo>
                    <a:pt x="525" y="254"/>
                  </a:lnTo>
                  <a:close/>
                  <a:moveTo>
                    <a:pt x="96" y="666"/>
                  </a:moveTo>
                  <a:cubicBezTo>
                    <a:pt x="114" y="677"/>
                    <a:pt x="114" y="677"/>
                    <a:pt x="114" y="677"/>
                  </a:cubicBezTo>
                  <a:cubicBezTo>
                    <a:pt x="95" y="715"/>
                    <a:pt x="95" y="715"/>
                    <a:pt x="95" y="715"/>
                  </a:cubicBezTo>
                  <a:cubicBezTo>
                    <a:pt x="92" y="714"/>
                    <a:pt x="92" y="714"/>
                    <a:pt x="92" y="714"/>
                  </a:cubicBezTo>
                  <a:cubicBezTo>
                    <a:pt x="78" y="706"/>
                    <a:pt x="78" y="706"/>
                    <a:pt x="78" y="706"/>
                  </a:cubicBezTo>
                  <a:cubicBezTo>
                    <a:pt x="62" y="696"/>
                    <a:pt x="62" y="696"/>
                    <a:pt x="62" y="696"/>
                  </a:cubicBezTo>
                  <a:cubicBezTo>
                    <a:pt x="49" y="688"/>
                    <a:pt x="49" y="688"/>
                    <a:pt x="49" y="688"/>
                  </a:cubicBezTo>
                  <a:cubicBezTo>
                    <a:pt x="45" y="687"/>
                    <a:pt x="45" y="687"/>
                    <a:pt x="45" y="687"/>
                  </a:cubicBezTo>
                  <a:cubicBezTo>
                    <a:pt x="54" y="673"/>
                    <a:pt x="54" y="673"/>
                    <a:pt x="54" y="673"/>
                  </a:cubicBezTo>
                  <a:cubicBezTo>
                    <a:pt x="62" y="660"/>
                    <a:pt x="62" y="660"/>
                    <a:pt x="62" y="660"/>
                  </a:cubicBezTo>
                  <a:cubicBezTo>
                    <a:pt x="62" y="647"/>
                    <a:pt x="62" y="647"/>
                    <a:pt x="62" y="647"/>
                  </a:cubicBezTo>
                  <a:cubicBezTo>
                    <a:pt x="58" y="637"/>
                    <a:pt x="58" y="637"/>
                    <a:pt x="58" y="637"/>
                  </a:cubicBezTo>
                  <a:cubicBezTo>
                    <a:pt x="37" y="615"/>
                    <a:pt x="37" y="615"/>
                    <a:pt x="37" y="615"/>
                  </a:cubicBezTo>
                  <a:cubicBezTo>
                    <a:pt x="16" y="600"/>
                    <a:pt x="16" y="600"/>
                    <a:pt x="16" y="600"/>
                  </a:cubicBezTo>
                  <a:cubicBezTo>
                    <a:pt x="0" y="590"/>
                    <a:pt x="0" y="590"/>
                    <a:pt x="0" y="590"/>
                  </a:cubicBezTo>
                  <a:cubicBezTo>
                    <a:pt x="7" y="578"/>
                    <a:pt x="7" y="578"/>
                    <a:pt x="7" y="578"/>
                  </a:cubicBezTo>
                  <a:cubicBezTo>
                    <a:pt x="10" y="565"/>
                    <a:pt x="10" y="565"/>
                    <a:pt x="10" y="565"/>
                  </a:cubicBezTo>
                  <a:cubicBezTo>
                    <a:pt x="8" y="542"/>
                    <a:pt x="8" y="542"/>
                    <a:pt x="8" y="542"/>
                  </a:cubicBezTo>
                  <a:cubicBezTo>
                    <a:pt x="16" y="528"/>
                    <a:pt x="16" y="528"/>
                    <a:pt x="16" y="528"/>
                  </a:cubicBezTo>
                  <a:cubicBezTo>
                    <a:pt x="28" y="510"/>
                    <a:pt x="28" y="510"/>
                    <a:pt x="28" y="510"/>
                  </a:cubicBezTo>
                  <a:cubicBezTo>
                    <a:pt x="37" y="496"/>
                    <a:pt x="37" y="496"/>
                    <a:pt x="37" y="496"/>
                  </a:cubicBezTo>
                  <a:cubicBezTo>
                    <a:pt x="46" y="487"/>
                    <a:pt x="46" y="487"/>
                    <a:pt x="46" y="487"/>
                  </a:cubicBezTo>
                  <a:cubicBezTo>
                    <a:pt x="58" y="477"/>
                    <a:pt x="58" y="477"/>
                    <a:pt x="58" y="477"/>
                  </a:cubicBezTo>
                  <a:cubicBezTo>
                    <a:pt x="54" y="458"/>
                    <a:pt x="54" y="458"/>
                    <a:pt x="54" y="458"/>
                  </a:cubicBezTo>
                  <a:cubicBezTo>
                    <a:pt x="47" y="449"/>
                    <a:pt x="47" y="449"/>
                    <a:pt x="47" y="449"/>
                  </a:cubicBezTo>
                  <a:cubicBezTo>
                    <a:pt x="29" y="429"/>
                    <a:pt x="29" y="429"/>
                    <a:pt x="29" y="429"/>
                  </a:cubicBezTo>
                  <a:cubicBezTo>
                    <a:pt x="37" y="418"/>
                    <a:pt x="37" y="418"/>
                    <a:pt x="37" y="418"/>
                  </a:cubicBezTo>
                  <a:cubicBezTo>
                    <a:pt x="52" y="404"/>
                    <a:pt x="52" y="404"/>
                    <a:pt x="52" y="404"/>
                  </a:cubicBezTo>
                  <a:cubicBezTo>
                    <a:pt x="85" y="374"/>
                    <a:pt x="85" y="374"/>
                    <a:pt x="85" y="374"/>
                  </a:cubicBezTo>
                  <a:cubicBezTo>
                    <a:pt x="125" y="338"/>
                    <a:pt x="125" y="338"/>
                    <a:pt x="125" y="338"/>
                  </a:cubicBezTo>
                  <a:cubicBezTo>
                    <a:pt x="138" y="323"/>
                    <a:pt x="138" y="323"/>
                    <a:pt x="138" y="323"/>
                  </a:cubicBezTo>
                  <a:cubicBezTo>
                    <a:pt x="152" y="311"/>
                    <a:pt x="152" y="311"/>
                    <a:pt x="152" y="311"/>
                  </a:cubicBezTo>
                  <a:cubicBezTo>
                    <a:pt x="168" y="304"/>
                    <a:pt x="168" y="304"/>
                    <a:pt x="168" y="304"/>
                  </a:cubicBezTo>
                  <a:cubicBezTo>
                    <a:pt x="200" y="283"/>
                    <a:pt x="200" y="283"/>
                    <a:pt x="200" y="283"/>
                  </a:cubicBezTo>
                  <a:cubicBezTo>
                    <a:pt x="224" y="261"/>
                    <a:pt x="224" y="261"/>
                    <a:pt x="224" y="261"/>
                  </a:cubicBezTo>
                  <a:cubicBezTo>
                    <a:pt x="226" y="253"/>
                    <a:pt x="226" y="253"/>
                    <a:pt x="226" y="253"/>
                  </a:cubicBezTo>
                  <a:cubicBezTo>
                    <a:pt x="232" y="249"/>
                    <a:pt x="232" y="249"/>
                    <a:pt x="232" y="249"/>
                  </a:cubicBezTo>
                  <a:cubicBezTo>
                    <a:pt x="247" y="246"/>
                    <a:pt x="247" y="246"/>
                    <a:pt x="247" y="246"/>
                  </a:cubicBezTo>
                  <a:cubicBezTo>
                    <a:pt x="258" y="239"/>
                    <a:pt x="258" y="239"/>
                    <a:pt x="258" y="239"/>
                  </a:cubicBezTo>
                  <a:cubicBezTo>
                    <a:pt x="268" y="229"/>
                    <a:pt x="268" y="229"/>
                    <a:pt x="268" y="229"/>
                  </a:cubicBezTo>
                  <a:cubicBezTo>
                    <a:pt x="277" y="216"/>
                    <a:pt x="277" y="216"/>
                    <a:pt x="277" y="216"/>
                  </a:cubicBezTo>
                  <a:cubicBezTo>
                    <a:pt x="273" y="206"/>
                    <a:pt x="273" y="206"/>
                    <a:pt x="273" y="206"/>
                  </a:cubicBezTo>
                  <a:cubicBezTo>
                    <a:pt x="262" y="200"/>
                    <a:pt x="262" y="200"/>
                    <a:pt x="262" y="200"/>
                  </a:cubicBezTo>
                  <a:cubicBezTo>
                    <a:pt x="258" y="195"/>
                    <a:pt x="258" y="195"/>
                    <a:pt x="258" y="195"/>
                  </a:cubicBezTo>
                  <a:cubicBezTo>
                    <a:pt x="255" y="188"/>
                    <a:pt x="255" y="188"/>
                    <a:pt x="255" y="188"/>
                  </a:cubicBezTo>
                  <a:cubicBezTo>
                    <a:pt x="262" y="184"/>
                    <a:pt x="262" y="184"/>
                    <a:pt x="262" y="184"/>
                  </a:cubicBezTo>
                  <a:cubicBezTo>
                    <a:pt x="263" y="168"/>
                    <a:pt x="263" y="168"/>
                    <a:pt x="263" y="168"/>
                  </a:cubicBezTo>
                  <a:cubicBezTo>
                    <a:pt x="264" y="160"/>
                    <a:pt x="264" y="160"/>
                    <a:pt x="264" y="160"/>
                  </a:cubicBezTo>
                  <a:cubicBezTo>
                    <a:pt x="270" y="154"/>
                    <a:pt x="270" y="154"/>
                    <a:pt x="270" y="154"/>
                  </a:cubicBezTo>
                  <a:cubicBezTo>
                    <a:pt x="281" y="142"/>
                    <a:pt x="281" y="142"/>
                    <a:pt x="281" y="142"/>
                  </a:cubicBezTo>
                  <a:cubicBezTo>
                    <a:pt x="333" y="135"/>
                    <a:pt x="333" y="135"/>
                    <a:pt x="333" y="135"/>
                  </a:cubicBezTo>
                  <a:cubicBezTo>
                    <a:pt x="362" y="116"/>
                    <a:pt x="362" y="116"/>
                    <a:pt x="362" y="116"/>
                  </a:cubicBezTo>
                  <a:cubicBezTo>
                    <a:pt x="380" y="107"/>
                    <a:pt x="380" y="107"/>
                    <a:pt x="380" y="107"/>
                  </a:cubicBezTo>
                  <a:cubicBezTo>
                    <a:pt x="404" y="101"/>
                    <a:pt x="404" y="101"/>
                    <a:pt x="404" y="101"/>
                  </a:cubicBezTo>
                  <a:cubicBezTo>
                    <a:pt x="416" y="86"/>
                    <a:pt x="416" y="86"/>
                    <a:pt x="416" y="86"/>
                  </a:cubicBezTo>
                  <a:cubicBezTo>
                    <a:pt x="437" y="72"/>
                    <a:pt x="437" y="72"/>
                    <a:pt x="437" y="72"/>
                  </a:cubicBezTo>
                  <a:cubicBezTo>
                    <a:pt x="454" y="57"/>
                    <a:pt x="454" y="57"/>
                    <a:pt x="454" y="57"/>
                  </a:cubicBezTo>
                  <a:cubicBezTo>
                    <a:pt x="464" y="53"/>
                    <a:pt x="464" y="53"/>
                    <a:pt x="464" y="53"/>
                  </a:cubicBezTo>
                  <a:cubicBezTo>
                    <a:pt x="471" y="70"/>
                    <a:pt x="471" y="70"/>
                    <a:pt x="471" y="70"/>
                  </a:cubicBezTo>
                  <a:cubicBezTo>
                    <a:pt x="466" y="83"/>
                    <a:pt x="466" y="83"/>
                    <a:pt x="466" y="83"/>
                  </a:cubicBezTo>
                  <a:cubicBezTo>
                    <a:pt x="476" y="89"/>
                    <a:pt x="476" y="89"/>
                    <a:pt x="476" y="89"/>
                  </a:cubicBezTo>
                  <a:cubicBezTo>
                    <a:pt x="479" y="112"/>
                    <a:pt x="479" y="112"/>
                    <a:pt x="479" y="112"/>
                  </a:cubicBezTo>
                  <a:cubicBezTo>
                    <a:pt x="487" y="118"/>
                    <a:pt x="487" y="118"/>
                    <a:pt x="487" y="118"/>
                  </a:cubicBezTo>
                  <a:cubicBezTo>
                    <a:pt x="495" y="143"/>
                    <a:pt x="495" y="143"/>
                    <a:pt x="495" y="143"/>
                  </a:cubicBezTo>
                  <a:cubicBezTo>
                    <a:pt x="497" y="178"/>
                    <a:pt x="497" y="178"/>
                    <a:pt x="497" y="178"/>
                  </a:cubicBezTo>
                  <a:cubicBezTo>
                    <a:pt x="503" y="183"/>
                    <a:pt x="503" y="183"/>
                    <a:pt x="503" y="183"/>
                  </a:cubicBezTo>
                  <a:cubicBezTo>
                    <a:pt x="516" y="192"/>
                    <a:pt x="516" y="192"/>
                    <a:pt x="516" y="192"/>
                  </a:cubicBezTo>
                  <a:cubicBezTo>
                    <a:pt x="511" y="196"/>
                    <a:pt x="511" y="196"/>
                    <a:pt x="511" y="196"/>
                  </a:cubicBezTo>
                  <a:cubicBezTo>
                    <a:pt x="525" y="206"/>
                    <a:pt x="525" y="206"/>
                    <a:pt x="525" y="206"/>
                  </a:cubicBezTo>
                  <a:cubicBezTo>
                    <a:pt x="541" y="213"/>
                    <a:pt x="541" y="213"/>
                    <a:pt x="541" y="213"/>
                  </a:cubicBezTo>
                  <a:cubicBezTo>
                    <a:pt x="547" y="214"/>
                    <a:pt x="547" y="214"/>
                    <a:pt x="547" y="214"/>
                  </a:cubicBezTo>
                  <a:cubicBezTo>
                    <a:pt x="555" y="210"/>
                    <a:pt x="555" y="210"/>
                    <a:pt x="555" y="210"/>
                  </a:cubicBezTo>
                  <a:cubicBezTo>
                    <a:pt x="562" y="203"/>
                    <a:pt x="562" y="203"/>
                    <a:pt x="562" y="203"/>
                  </a:cubicBezTo>
                  <a:cubicBezTo>
                    <a:pt x="571" y="208"/>
                    <a:pt x="571" y="208"/>
                    <a:pt x="571" y="208"/>
                  </a:cubicBezTo>
                  <a:cubicBezTo>
                    <a:pt x="583" y="213"/>
                    <a:pt x="583" y="213"/>
                    <a:pt x="583" y="213"/>
                  </a:cubicBezTo>
                  <a:cubicBezTo>
                    <a:pt x="593" y="213"/>
                    <a:pt x="593" y="213"/>
                    <a:pt x="593" y="213"/>
                  </a:cubicBezTo>
                  <a:cubicBezTo>
                    <a:pt x="599" y="206"/>
                    <a:pt x="599" y="206"/>
                    <a:pt x="599" y="206"/>
                  </a:cubicBezTo>
                  <a:cubicBezTo>
                    <a:pt x="603" y="194"/>
                    <a:pt x="603" y="194"/>
                    <a:pt x="603" y="194"/>
                  </a:cubicBezTo>
                  <a:cubicBezTo>
                    <a:pt x="603" y="182"/>
                    <a:pt x="603" y="182"/>
                    <a:pt x="603" y="182"/>
                  </a:cubicBezTo>
                  <a:cubicBezTo>
                    <a:pt x="606" y="175"/>
                    <a:pt x="606" y="175"/>
                    <a:pt x="606" y="175"/>
                  </a:cubicBezTo>
                  <a:cubicBezTo>
                    <a:pt x="602" y="172"/>
                    <a:pt x="602" y="172"/>
                    <a:pt x="602" y="172"/>
                  </a:cubicBezTo>
                  <a:cubicBezTo>
                    <a:pt x="596" y="173"/>
                    <a:pt x="596" y="173"/>
                    <a:pt x="596" y="173"/>
                  </a:cubicBezTo>
                  <a:cubicBezTo>
                    <a:pt x="594" y="179"/>
                    <a:pt x="594" y="179"/>
                    <a:pt x="594" y="179"/>
                  </a:cubicBezTo>
                  <a:cubicBezTo>
                    <a:pt x="587" y="178"/>
                    <a:pt x="587" y="178"/>
                    <a:pt x="587" y="178"/>
                  </a:cubicBezTo>
                  <a:cubicBezTo>
                    <a:pt x="592" y="163"/>
                    <a:pt x="592" y="163"/>
                    <a:pt x="592" y="163"/>
                  </a:cubicBezTo>
                  <a:cubicBezTo>
                    <a:pt x="593" y="157"/>
                    <a:pt x="593" y="157"/>
                    <a:pt x="593" y="157"/>
                  </a:cubicBezTo>
                  <a:cubicBezTo>
                    <a:pt x="600" y="139"/>
                    <a:pt x="600" y="139"/>
                    <a:pt x="600" y="139"/>
                  </a:cubicBezTo>
                  <a:cubicBezTo>
                    <a:pt x="608" y="132"/>
                    <a:pt x="608" y="132"/>
                    <a:pt x="608" y="132"/>
                  </a:cubicBezTo>
                  <a:cubicBezTo>
                    <a:pt x="598" y="116"/>
                    <a:pt x="598" y="116"/>
                    <a:pt x="598" y="116"/>
                  </a:cubicBezTo>
                  <a:cubicBezTo>
                    <a:pt x="587" y="120"/>
                    <a:pt x="587" y="120"/>
                    <a:pt x="587" y="120"/>
                  </a:cubicBezTo>
                  <a:cubicBezTo>
                    <a:pt x="587" y="117"/>
                    <a:pt x="587" y="117"/>
                    <a:pt x="587" y="117"/>
                  </a:cubicBezTo>
                  <a:cubicBezTo>
                    <a:pt x="603" y="108"/>
                    <a:pt x="603" y="108"/>
                    <a:pt x="603" y="108"/>
                  </a:cubicBezTo>
                  <a:cubicBezTo>
                    <a:pt x="595" y="100"/>
                    <a:pt x="595" y="100"/>
                    <a:pt x="595" y="100"/>
                  </a:cubicBezTo>
                  <a:cubicBezTo>
                    <a:pt x="588" y="100"/>
                    <a:pt x="588" y="100"/>
                    <a:pt x="588" y="100"/>
                  </a:cubicBezTo>
                  <a:cubicBezTo>
                    <a:pt x="572" y="85"/>
                    <a:pt x="572" y="85"/>
                    <a:pt x="572" y="85"/>
                  </a:cubicBezTo>
                  <a:cubicBezTo>
                    <a:pt x="596" y="65"/>
                    <a:pt x="596" y="65"/>
                    <a:pt x="596" y="65"/>
                  </a:cubicBezTo>
                  <a:cubicBezTo>
                    <a:pt x="613" y="89"/>
                    <a:pt x="613" y="89"/>
                    <a:pt x="613" y="89"/>
                  </a:cubicBezTo>
                  <a:cubicBezTo>
                    <a:pt x="628" y="106"/>
                    <a:pt x="628" y="106"/>
                    <a:pt x="628" y="106"/>
                  </a:cubicBezTo>
                  <a:cubicBezTo>
                    <a:pt x="641" y="116"/>
                    <a:pt x="641" y="116"/>
                    <a:pt x="641" y="116"/>
                  </a:cubicBezTo>
                  <a:cubicBezTo>
                    <a:pt x="648" y="119"/>
                    <a:pt x="648" y="119"/>
                    <a:pt x="648" y="119"/>
                  </a:cubicBezTo>
                  <a:cubicBezTo>
                    <a:pt x="648" y="136"/>
                    <a:pt x="648" y="136"/>
                    <a:pt x="648" y="136"/>
                  </a:cubicBezTo>
                  <a:cubicBezTo>
                    <a:pt x="653" y="147"/>
                    <a:pt x="653" y="147"/>
                    <a:pt x="653" y="147"/>
                  </a:cubicBezTo>
                  <a:cubicBezTo>
                    <a:pt x="652" y="167"/>
                    <a:pt x="652" y="167"/>
                    <a:pt x="652" y="167"/>
                  </a:cubicBezTo>
                  <a:cubicBezTo>
                    <a:pt x="639" y="176"/>
                    <a:pt x="639" y="176"/>
                    <a:pt x="639" y="176"/>
                  </a:cubicBezTo>
                  <a:cubicBezTo>
                    <a:pt x="636" y="190"/>
                    <a:pt x="636" y="190"/>
                    <a:pt x="636" y="190"/>
                  </a:cubicBezTo>
                  <a:cubicBezTo>
                    <a:pt x="631" y="208"/>
                    <a:pt x="631" y="208"/>
                    <a:pt x="631" y="208"/>
                  </a:cubicBezTo>
                  <a:cubicBezTo>
                    <a:pt x="624" y="217"/>
                    <a:pt x="624" y="217"/>
                    <a:pt x="624" y="217"/>
                  </a:cubicBezTo>
                  <a:cubicBezTo>
                    <a:pt x="610" y="232"/>
                    <a:pt x="610" y="232"/>
                    <a:pt x="610" y="232"/>
                  </a:cubicBezTo>
                  <a:cubicBezTo>
                    <a:pt x="607" y="241"/>
                    <a:pt x="607" y="241"/>
                    <a:pt x="607" y="241"/>
                  </a:cubicBezTo>
                  <a:cubicBezTo>
                    <a:pt x="615" y="248"/>
                    <a:pt x="615" y="248"/>
                    <a:pt x="615" y="248"/>
                  </a:cubicBezTo>
                  <a:cubicBezTo>
                    <a:pt x="613" y="260"/>
                    <a:pt x="613" y="260"/>
                    <a:pt x="613" y="260"/>
                  </a:cubicBezTo>
                  <a:cubicBezTo>
                    <a:pt x="587" y="292"/>
                    <a:pt x="587" y="292"/>
                    <a:pt x="587" y="292"/>
                  </a:cubicBezTo>
                  <a:cubicBezTo>
                    <a:pt x="568" y="313"/>
                    <a:pt x="568" y="313"/>
                    <a:pt x="568" y="313"/>
                  </a:cubicBezTo>
                  <a:cubicBezTo>
                    <a:pt x="566" y="328"/>
                    <a:pt x="566" y="328"/>
                    <a:pt x="566" y="328"/>
                  </a:cubicBezTo>
                  <a:cubicBezTo>
                    <a:pt x="562" y="336"/>
                    <a:pt x="562" y="336"/>
                    <a:pt x="562" y="336"/>
                  </a:cubicBezTo>
                  <a:cubicBezTo>
                    <a:pt x="551" y="337"/>
                    <a:pt x="551" y="337"/>
                    <a:pt x="551" y="337"/>
                  </a:cubicBezTo>
                  <a:cubicBezTo>
                    <a:pt x="546" y="332"/>
                    <a:pt x="546" y="332"/>
                    <a:pt x="546" y="332"/>
                  </a:cubicBezTo>
                  <a:cubicBezTo>
                    <a:pt x="540" y="332"/>
                    <a:pt x="540" y="332"/>
                    <a:pt x="540" y="332"/>
                  </a:cubicBezTo>
                  <a:cubicBezTo>
                    <a:pt x="531" y="338"/>
                    <a:pt x="531" y="338"/>
                    <a:pt x="531" y="338"/>
                  </a:cubicBezTo>
                  <a:cubicBezTo>
                    <a:pt x="520" y="348"/>
                    <a:pt x="520" y="348"/>
                    <a:pt x="520" y="348"/>
                  </a:cubicBezTo>
                  <a:cubicBezTo>
                    <a:pt x="515" y="350"/>
                    <a:pt x="515" y="350"/>
                    <a:pt x="515" y="350"/>
                  </a:cubicBezTo>
                  <a:cubicBezTo>
                    <a:pt x="515" y="370"/>
                    <a:pt x="515" y="370"/>
                    <a:pt x="515" y="370"/>
                  </a:cubicBezTo>
                  <a:cubicBezTo>
                    <a:pt x="518" y="388"/>
                    <a:pt x="518" y="388"/>
                    <a:pt x="518" y="388"/>
                  </a:cubicBezTo>
                  <a:cubicBezTo>
                    <a:pt x="518" y="416"/>
                    <a:pt x="518" y="416"/>
                    <a:pt x="518" y="416"/>
                  </a:cubicBezTo>
                  <a:cubicBezTo>
                    <a:pt x="520" y="422"/>
                    <a:pt x="520" y="422"/>
                    <a:pt x="520" y="422"/>
                  </a:cubicBezTo>
                  <a:cubicBezTo>
                    <a:pt x="530" y="418"/>
                    <a:pt x="530" y="418"/>
                    <a:pt x="530" y="418"/>
                  </a:cubicBezTo>
                  <a:cubicBezTo>
                    <a:pt x="536" y="416"/>
                    <a:pt x="536" y="416"/>
                    <a:pt x="536" y="416"/>
                  </a:cubicBezTo>
                  <a:cubicBezTo>
                    <a:pt x="540" y="423"/>
                    <a:pt x="540" y="423"/>
                    <a:pt x="540" y="423"/>
                  </a:cubicBezTo>
                  <a:cubicBezTo>
                    <a:pt x="551" y="418"/>
                    <a:pt x="551" y="418"/>
                    <a:pt x="551" y="418"/>
                  </a:cubicBezTo>
                  <a:cubicBezTo>
                    <a:pt x="560" y="416"/>
                    <a:pt x="560" y="416"/>
                    <a:pt x="560" y="416"/>
                  </a:cubicBezTo>
                  <a:cubicBezTo>
                    <a:pt x="570" y="425"/>
                    <a:pt x="570" y="425"/>
                    <a:pt x="570" y="425"/>
                  </a:cubicBezTo>
                  <a:cubicBezTo>
                    <a:pt x="580" y="430"/>
                    <a:pt x="580" y="430"/>
                    <a:pt x="580" y="430"/>
                  </a:cubicBezTo>
                  <a:cubicBezTo>
                    <a:pt x="589" y="432"/>
                    <a:pt x="589" y="432"/>
                    <a:pt x="589" y="432"/>
                  </a:cubicBezTo>
                  <a:cubicBezTo>
                    <a:pt x="594" y="435"/>
                    <a:pt x="594" y="435"/>
                    <a:pt x="594" y="435"/>
                  </a:cubicBezTo>
                  <a:cubicBezTo>
                    <a:pt x="591" y="440"/>
                    <a:pt x="591" y="440"/>
                    <a:pt x="591" y="440"/>
                  </a:cubicBezTo>
                  <a:cubicBezTo>
                    <a:pt x="582" y="449"/>
                    <a:pt x="582" y="449"/>
                    <a:pt x="582" y="449"/>
                  </a:cubicBezTo>
                  <a:cubicBezTo>
                    <a:pt x="576" y="456"/>
                    <a:pt x="576" y="456"/>
                    <a:pt x="576" y="456"/>
                  </a:cubicBezTo>
                  <a:cubicBezTo>
                    <a:pt x="572" y="461"/>
                    <a:pt x="572" y="461"/>
                    <a:pt x="572" y="461"/>
                  </a:cubicBezTo>
                  <a:cubicBezTo>
                    <a:pt x="567" y="462"/>
                    <a:pt x="567" y="462"/>
                    <a:pt x="567" y="462"/>
                  </a:cubicBezTo>
                  <a:cubicBezTo>
                    <a:pt x="564" y="468"/>
                    <a:pt x="564" y="468"/>
                    <a:pt x="564" y="468"/>
                  </a:cubicBezTo>
                  <a:cubicBezTo>
                    <a:pt x="565" y="476"/>
                    <a:pt x="565" y="476"/>
                    <a:pt x="565" y="476"/>
                  </a:cubicBezTo>
                  <a:cubicBezTo>
                    <a:pt x="554" y="473"/>
                    <a:pt x="554" y="473"/>
                    <a:pt x="554" y="473"/>
                  </a:cubicBezTo>
                  <a:cubicBezTo>
                    <a:pt x="544" y="463"/>
                    <a:pt x="544" y="463"/>
                    <a:pt x="544" y="463"/>
                  </a:cubicBezTo>
                  <a:cubicBezTo>
                    <a:pt x="531" y="463"/>
                    <a:pt x="531" y="463"/>
                    <a:pt x="531" y="463"/>
                  </a:cubicBezTo>
                  <a:cubicBezTo>
                    <a:pt x="528" y="470"/>
                    <a:pt x="528" y="470"/>
                    <a:pt x="528" y="470"/>
                  </a:cubicBezTo>
                  <a:cubicBezTo>
                    <a:pt x="527" y="479"/>
                    <a:pt x="527" y="479"/>
                    <a:pt x="527" y="479"/>
                  </a:cubicBezTo>
                  <a:cubicBezTo>
                    <a:pt x="536" y="486"/>
                    <a:pt x="536" y="486"/>
                    <a:pt x="536" y="486"/>
                  </a:cubicBezTo>
                  <a:cubicBezTo>
                    <a:pt x="539" y="492"/>
                    <a:pt x="539" y="492"/>
                    <a:pt x="539" y="492"/>
                  </a:cubicBezTo>
                  <a:cubicBezTo>
                    <a:pt x="544" y="502"/>
                    <a:pt x="544" y="502"/>
                    <a:pt x="544" y="502"/>
                  </a:cubicBezTo>
                  <a:cubicBezTo>
                    <a:pt x="555" y="504"/>
                    <a:pt x="555" y="504"/>
                    <a:pt x="555" y="504"/>
                  </a:cubicBezTo>
                  <a:cubicBezTo>
                    <a:pt x="568" y="497"/>
                    <a:pt x="568" y="497"/>
                    <a:pt x="568" y="497"/>
                  </a:cubicBezTo>
                  <a:cubicBezTo>
                    <a:pt x="574" y="488"/>
                    <a:pt x="574" y="488"/>
                    <a:pt x="574" y="488"/>
                  </a:cubicBezTo>
                  <a:cubicBezTo>
                    <a:pt x="586" y="477"/>
                    <a:pt x="586" y="477"/>
                    <a:pt x="586" y="477"/>
                  </a:cubicBezTo>
                  <a:cubicBezTo>
                    <a:pt x="591" y="479"/>
                    <a:pt x="591" y="479"/>
                    <a:pt x="591" y="479"/>
                  </a:cubicBezTo>
                  <a:cubicBezTo>
                    <a:pt x="598" y="487"/>
                    <a:pt x="598" y="487"/>
                    <a:pt x="598" y="487"/>
                  </a:cubicBezTo>
                  <a:cubicBezTo>
                    <a:pt x="612" y="499"/>
                    <a:pt x="612" y="499"/>
                    <a:pt x="612" y="499"/>
                  </a:cubicBezTo>
                  <a:cubicBezTo>
                    <a:pt x="625" y="505"/>
                    <a:pt x="625" y="505"/>
                    <a:pt x="625" y="505"/>
                  </a:cubicBezTo>
                  <a:cubicBezTo>
                    <a:pt x="640" y="509"/>
                    <a:pt x="640" y="509"/>
                    <a:pt x="640" y="509"/>
                  </a:cubicBezTo>
                  <a:cubicBezTo>
                    <a:pt x="641" y="521"/>
                    <a:pt x="641" y="521"/>
                    <a:pt x="641" y="521"/>
                  </a:cubicBezTo>
                  <a:cubicBezTo>
                    <a:pt x="646" y="543"/>
                    <a:pt x="646" y="543"/>
                    <a:pt x="646" y="543"/>
                  </a:cubicBezTo>
                  <a:cubicBezTo>
                    <a:pt x="650" y="559"/>
                    <a:pt x="650" y="559"/>
                    <a:pt x="650" y="559"/>
                  </a:cubicBezTo>
                  <a:cubicBezTo>
                    <a:pt x="648" y="565"/>
                    <a:pt x="648" y="565"/>
                    <a:pt x="648" y="565"/>
                  </a:cubicBezTo>
                  <a:cubicBezTo>
                    <a:pt x="661" y="561"/>
                    <a:pt x="661" y="561"/>
                    <a:pt x="661" y="561"/>
                  </a:cubicBezTo>
                  <a:cubicBezTo>
                    <a:pt x="671" y="553"/>
                    <a:pt x="671" y="553"/>
                    <a:pt x="671" y="553"/>
                  </a:cubicBezTo>
                  <a:cubicBezTo>
                    <a:pt x="671" y="553"/>
                    <a:pt x="681" y="541"/>
                    <a:pt x="681" y="538"/>
                  </a:cubicBezTo>
                  <a:cubicBezTo>
                    <a:pt x="680" y="535"/>
                    <a:pt x="691" y="524"/>
                    <a:pt x="691" y="524"/>
                  </a:cubicBezTo>
                  <a:cubicBezTo>
                    <a:pt x="701" y="514"/>
                    <a:pt x="701" y="514"/>
                    <a:pt x="701" y="514"/>
                  </a:cubicBezTo>
                  <a:cubicBezTo>
                    <a:pt x="713" y="511"/>
                    <a:pt x="713" y="511"/>
                    <a:pt x="713" y="511"/>
                  </a:cubicBezTo>
                  <a:cubicBezTo>
                    <a:pt x="733" y="509"/>
                    <a:pt x="733" y="509"/>
                    <a:pt x="733" y="509"/>
                  </a:cubicBezTo>
                  <a:cubicBezTo>
                    <a:pt x="744" y="502"/>
                    <a:pt x="744" y="502"/>
                    <a:pt x="744" y="502"/>
                  </a:cubicBezTo>
                  <a:cubicBezTo>
                    <a:pt x="757" y="488"/>
                    <a:pt x="757" y="488"/>
                    <a:pt x="757" y="488"/>
                  </a:cubicBezTo>
                  <a:cubicBezTo>
                    <a:pt x="766" y="474"/>
                    <a:pt x="766" y="474"/>
                    <a:pt x="766" y="474"/>
                  </a:cubicBezTo>
                  <a:cubicBezTo>
                    <a:pt x="776" y="469"/>
                    <a:pt x="776" y="469"/>
                    <a:pt x="776" y="469"/>
                  </a:cubicBezTo>
                  <a:cubicBezTo>
                    <a:pt x="785" y="464"/>
                    <a:pt x="785" y="464"/>
                    <a:pt x="785" y="464"/>
                  </a:cubicBezTo>
                  <a:cubicBezTo>
                    <a:pt x="796" y="455"/>
                    <a:pt x="796" y="455"/>
                    <a:pt x="796" y="455"/>
                  </a:cubicBezTo>
                  <a:cubicBezTo>
                    <a:pt x="807" y="461"/>
                    <a:pt x="807" y="461"/>
                    <a:pt x="807" y="461"/>
                  </a:cubicBezTo>
                  <a:cubicBezTo>
                    <a:pt x="828" y="450"/>
                    <a:pt x="828" y="450"/>
                    <a:pt x="828" y="450"/>
                  </a:cubicBezTo>
                  <a:cubicBezTo>
                    <a:pt x="832" y="463"/>
                    <a:pt x="832" y="463"/>
                    <a:pt x="832" y="463"/>
                  </a:cubicBezTo>
                  <a:cubicBezTo>
                    <a:pt x="834" y="483"/>
                    <a:pt x="834" y="483"/>
                    <a:pt x="834" y="483"/>
                  </a:cubicBezTo>
                  <a:cubicBezTo>
                    <a:pt x="835" y="501"/>
                    <a:pt x="835" y="501"/>
                    <a:pt x="835" y="501"/>
                  </a:cubicBezTo>
                  <a:cubicBezTo>
                    <a:pt x="828" y="511"/>
                    <a:pt x="828" y="511"/>
                    <a:pt x="828" y="511"/>
                  </a:cubicBezTo>
                  <a:cubicBezTo>
                    <a:pt x="818" y="524"/>
                    <a:pt x="818" y="524"/>
                    <a:pt x="818" y="524"/>
                  </a:cubicBezTo>
                  <a:cubicBezTo>
                    <a:pt x="818" y="524"/>
                    <a:pt x="820" y="538"/>
                    <a:pt x="820" y="541"/>
                  </a:cubicBezTo>
                  <a:cubicBezTo>
                    <a:pt x="819" y="544"/>
                    <a:pt x="820" y="555"/>
                    <a:pt x="820" y="555"/>
                  </a:cubicBezTo>
                  <a:cubicBezTo>
                    <a:pt x="820" y="555"/>
                    <a:pt x="814" y="561"/>
                    <a:pt x="812" y="563"/>
                  </a:cubicBezTo>
                  <a:cubicBezTo>
                    <a:pt x="810" y="564"/>
                    <a:pt x="800" y="564"/>
                    <a:pt x="800" y="564"/>
                  </a:cubicBezTo>
                  <a:cubicBezTo>
                    <a:pt x="796" y="569"/>
                    <a:pt x="796" y="569"/>
                    <a:pt x="796" y="569"/>
                  </a:cubicBezTo>
                  <a:cubicBezTo>
                    <a:pt x="797" y="581"/>
                    <a:pt x="797" y="581"/>
                    <a:pt x="797" y="581"/>
                  </a:cubicBezTo>
                  <a:cubicBezTo>
                    <a:pt x="804" y="590"/>
                    <a:pt x="804" y="590"/>
                    <a:pt x="804" y="590"/>
                  </a:cubicBezTo>
                  <a:cubicBezTo>
                    <a:pt x="804" y="601"/>
                    <a:pt x="804" y="601"/>
                    <a:pt x="804" y="601"/>
                  </a:cubicBezTo>
                  <a:cubicBezTo>
                    <a:pt x="799" y="611"/>
                    <a:pt x="799" y="611"/>
                    <a:pt x="799" y="611"/>
                  </a:cubicBezTo>
                  <a:cubicBezTo>
                    <a:pt x="799" y="634"/>
                    <a:pt x="799" y="634"/>
                    <a:pt x="799" y="634"/>
                  </a:cubicBezTo>
                  <a:cubicBezTo>
                    <a:pt x="809" y="644"/>
                    <a:pt x="809" y="644"/>
                    <a:pt x="809" y="644"/>
                  </a:cubicBezTo>
                  <a:cubicBezTo>
                    <a:pt x="809" y="653"/>
                    <a:pt x="809" y="653"/>
                    <a:pt x="809" y="653"/>
                  </a:cubicBezTo>
                  <a:cubicBezTo>
                    <a:pt x="813" y="673"/>
                    <a:pt x="813" y="673"/>
                    <a:pt x="813" y="673"/>
                  </a:cubicBezTo>
                  <a:cubicBezTo>
                    <a:pt x="810" y="682"/>
                    <a:pt x="810" y="682"/>
                    <a:pt x="810" y="682"/>
                  </a:cubicBezTo>
                  <a:cubicBezTo>
                    <a:pt x="796" y="691"/>
                    <a:pt x="796" y="691"/>
                    <a:pt x="796" y="691"/>
                  </a:cubicBezTo>
                  <a:cubicBezTo>
                    <a:pt x="787" y="700"/>
                    <a:pt x="787" y="700"/>
                    <a:pt x="787" y="700"/>
                  </a:cubicBezTo>
                  <a:cubicBezTo>
                    <a:pt x="794" y="714"/>
                    <a:pt x="794" y="714"/>
                    <a:pt x="794" y="714"/>
                  </a:cubicBezTo>
                  <a:cubicBezTo>
                    <a:pt x="788" y="724"/>
                    <a:pt x="788" y="724"/>
                    <a:pt x="788" y="724"/>
                  </a:cubicBezTo>
                  <a:cubicBezTo>
                    <a:pt x="782" y="736"/>
                    <a:pt x="782" y="736"/>
                    <a:pt x="782" y="736"/>
                  </a:cubicBezTo>
                  <a:cubicBezTo>
                    <a:pt x="770" y="754"/>
                    <a:pt x="770" y="754"/>
                    <a:pt x="770" y="754"/>
                  </a:cubicBezTo>
                  <a:cubicBezTo>
                    <a:pt x="755" y="768"/>
                    <a:pt x="755" y="768"/>
                    <a:pt x="755" y="768"/>
                  </a:cubicBezTo>
                  <a:cubicBezTo>
                    <a:pt x="736" y="786"/>
                    <a:pt x="736" y="786"/>
                    <a:pt x="736" y="786"/>
                  </a:cubicBezTo>
                  <a:cubicBezTo>
                    <a:pt x="719" y="800"/>
                    <a:pt x="719" y="800"/>
                    <a:pt x="719" y="800"/>
                  </a:cubicBezTo>
                  <a:cubicBezTo>
                    <a:pt x="696" y="814"/>
                    <a:pt x="696" y="814"/>
                    <a:pt x="696" y="814"/>
                  </a:cubicBezTo>
                  <a:cubicBezTo>
                    <a:pt x="678" y="827"/>
                    <a:pt x="678" y="827"/>
                    <a:pt x="678" y="827"/>
                  </a:cubicBezTo>
                  <a:cubicBezTo>
                    <a:pt x="675" y="829"/>
                    <a:pt x="675" y="829"/>
                    <a:pt x="675" y="829"/>
                  </a:cubicBezTo>
                  <a:cubicBezTo>
                    <a:pt x="673" y="823"/>
                    <a:pt x="668" y="815"/>
                    <a:pt x="667" y="808"/>
                  </a:cubicBezTo>
                  <a:cubicBezTo>
                    <a:pt x="666" y="806"/>
                    <a:pt x="666" y="803"/>
                    <a:pt x="666" y="800"/>
                  </a:cubicBezTo>
                  <a:cubicBezTo>
                    <a:pt x="665" y="795"/>
                    <a:pt x="665" y="788"/>
                    <a:pt x="663" y="784"/>
                  </a:cubicBezTo>
                  <a:cubicBezTo>
                    <a:pt x="661" y="779"/>
                    <a:pt x="656" y="773"/>
                    <a:pt x="653" y="769"/>
                  </a:cubicBezTo>
                  <a:cubicBezTo>
                    <a:pt x="651" y="766"/>
                    <a:pt x="648" y="762"/>
                    <a:pt x="646" y="759"/>
                  </a:cubicBezTo>
                  <a:cubicBezTo>
                    <a:pt x="644" y="758"/>
                    <a:pt x="642" y="757"/>
                    <a:pt x="640" y="756"/>
                  </a:cubicBezTo>
                  <a:cubicBezTo>
                    <a:pt x="638" y="753"/>
                    <a:pt x="637" y="748"/>
                    <a:pt x="635" y="745"/>
                  </a:cubicBezTo>
                  <a:cubicBezTo>
                    <a:pt x="634" y="742"/>
                    <a:pt x="632" y="739"/>
                    <a:pt x="632" y="736"/>
                  </a:cubicBezTo>
                  <a:cubicBezTo>
                    <a:pt x="631" y="733"/>
                    <a:pt x="632" y="728"/>
                    <a:pt x="632" y="725"/>
                  </a:cubicBezTo>
                  <a:cubicBezTo>
                    <a:pt x="632" y="723"/>
                    <a:pt x="632" y="720"/>
                    <a:pt x="632" y="717"/>
                  </a:cubicBezTo>
                  <a:cubicBezTo>
                    <a:pt x="631" y="715"/>
                    <a:pt x="630" y="711"/>
                    <a:pt x="629" y="708"/>
                  </a:cubicBezTo>
                  <a:cubicBezTo>
                    <a:pt x="628" y="705"/>
                    <a:pt x="625" y="700"/>
                    <a:pt x="624" y="697"/>
                  </a:cubicBezTo>
                  <a:cubicBezTo>
                    <a:pt x="623" y="694"/>
                    <a:pt x="621" y="691"/>
                    <a:pt x="619" y="688"/>
                  </a:cubicBezTo>
                  <a:cubicBezTo>
                    <a:pt x="618" y="686"/>
                    <a:pt x="615" y="684"/>
                    <a:pt x="614" y="682"/>
                  </a:cubicBezTo>
                  <a:cubicBezTo>
                    <a:pt x="612" y="679"/>
                    <a:pt x="611" y="674"/>
                    <a:pt x="609" y="671"/>
                  </a:cubicBezTo>
                  <a:cubicBezTo>
                    <a:pt x="607" y="667"/>
                    <a:pt x="603" y="663"/>
                    <a:pt x="600" y="660"/>
                  </a:cubicBezTo>
                  <a:cubicBezTo>
                    <a:pt x="598" y="658"/>
                    <a:pt x="594" y="657"/>
                    <a:pt x="592" y="655"/>
                  </a:cubicBezTo>
                  <a:cubicBezTo>
                    <a:pt x="591" y="654"/>
                    <a:pt x="590" y="651"/>
                    <a:pt x="590" y="649"/>
                  </a:cubicBezTo>
                  <a:cubicBezTo>
                    <a:pt x="588" y="646"/>
                    <a:pt x="586" y="642"/>
                    <a:pt x="585" y="638"/>
                  </a:cubicBezTo>
                  <a:cubicBezTo>
                    <a:pt x="585" y="636"/>
                    <a:pt x="585" y="633"/>
                    <a:pt x="584" y="631"/>
                  </a:cubicBezTo>
                  <a:cubicBezTo>
                    <a:pt x="582" y="629"/>
                    <a:pt x="579" y="627"/>
                    <a:pt x="577" y="625"/>
                  </a:cubicBezTo>
                  <a:cubicBezTo>
                    <a:pt x="575" y="623"/>
                    <a:pt x="573" y="620"/>
                    <a:pt x="571" y="618"/>
                  </a:cubicBezTo>
                  <a:cubicBezTo>
                    <a:pt x="570" y="617"/>
                    <a:pt x="568" y="614"/>
                    <a:pt x="568" y="613"/>
                  </a:cubicBezTo>
                  <a:cubicBezTo>
                    <a:pt x="557" y="588"/>
                    <a:pt x="557" y="588"/>
                    <a:pt x="557" y="588"/>
                  </a:cubicBezTo>
                  <a:cubicBezTo>
                    <a:pt x="515" y="584"/>
                    <a:pt x="515" y="584"/>
                    <a:pt x="515" y="584"/>
                  </a:cubicBezTo>
                  <a:cubicBezTo>
                    <a:pt x="408" y="561"/>
                    <a:pt x="408" y="561"/>
                    <a:pt x="408" y="561"/>
                  </a:cubicBezTo>
                  <a:cubicBezTo>
                    <a:pt x="300" y="566"/>
                    <a:pt x="300" y="566"/>
                    <a:pt x="300" y="566"/>
                  </a:cubicBezTo>
                  <a:cubicBezTo>
                    <a:pt x="182" y="608"/>
                    <a:pt x="182" y="608"/>
                    <a:pt x="182" y="608"/>
                  </a:cubicBezTo>
                  <a:cubicBezTo>
                    <a:pt x="126" y="655"/>
                    <a:pt x="126" y="655"/>
                    <a:pt x="126" y="655"/>
                  </a:cubicBezTo>
                  <a:cubicBezTo>
                    <a:pt x="103" y="645"/>
                    <a:pt x="103" y="645"/>
                    <a:pt x="103" y="645"/>
                  </a:cubicBezTo>
                  <a:cubicBezTo>
                    <a:pt x="87" y="635"/>
                    <a:pt x="87" y="635"/>
                    <a:pt x="87" y="635"/>
                  </a:cubicBezTo>
                  <a:cubicBezTo>
                    <a:pt x="72" y="631"/>
                    <a:pt x="72" y="631"/>
                    <a:pt x="72" y="631"/>
                  </a:cubicBezTo>
                  <a:cubicBezTo>
                    <a:pt x="68" y="644"/>
                    <a:pt x="68" y="644"/>
                    <a:pt x="68" y="644"/>
                  </a:cubicBezTo>
                  <a:cubicBezTo>
                    <a:pt x="76" y="647"/>
                    <a:pt x="76" y="647"/>
                    <a:pt x="76" y="647"/>
                  </a:cubicBezTo>
                  <a:cubicBezTo>
                    <a:pt x="88" y="653"/>
                    <a:pt x="88" y="653"/>
                    <a:pt x="88" y="653"/>
                  </a:cubicBezTo>
                  <a:cubicBezTo>
                    <a:pt x="87" y="663"/>
                    <a:pt x="87" y="663"/>
                    <a:pt x="87" y="663"/>
                  </a:cubicBezTo>
                  <a:cubicBezTo>
                    <a:pt x="96" y="666"/>
                    <a:pt x="96" y="666"/>
                    <a:pt x="96" y="666"/>
                  </a:cubicBezTo>
                </a:path>
              </a:pathLst>
            </a:custGeom>
            <a:grp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85" name="Freeform 35">
              <a:extLst>
                <a:ext uri="{FF2B5EF4-FFF2-40B4-BE49-F238E27FC236}">
                  <a16:creationId xmlns:a16="http://schemas.microsoft.com/office/drawing/2014/main" id="{5998D1C9-3815-4B26-A535-47BF97B954D8}"/>
                </a:ext>
              </a:extLst>
            </p:cNvPr>
            <p:cNvSpPr>
              <a:spLocks noEditPoints="1"/>
            </p:cNvSpPr>
            <p:nvPr/>
          </p:nvSpPr>
          <p:spPr bwMode="gray">
            <a:xfrm>
              <a:off x="5770" y="3151"/>
              <a:ext cx="1972" cy="1959"/>
            </a:xfrm>
            <a:custGeom>
              <a:avLst/>
              <a:gdLst>
                <a:gd name="T0" fmla="*/ 705 w 835"/>
                <a:gd name="T1" fmla="*/ 25 h 829"/>
                <a:gd name="T2" fmla="*/ 722 w 835"/>
                <a:gd name="T3" fmla="*/ 99 h 829"/>
                <a:gd name="T4" fmla="*/ 688 w 835"/>
                <a:gd name="T5" fmla="*/ 151 h 829"/>
                <a:gd name="T6" fmla="*/ 672 w 835"/>
                <a:gd name="T7" fmla="*/ 105 h 829"/>
                <a:gd name="T8" fmla="*/ 639 w 835"/>
                <a:gd name="T9" fmla="*/ 61 h 829"/>
                <a:gd name="T10" fmla="*/ 490 w 835"/>
                <a:gd name="T11" fmla="*/ 256 h 829"/>
                <a:gd name="T12" fmla="*/ 507 w 835"/>
                <a:gd name="T13" fmla="*/ 244 h 829"/>
                <a:gd name="T14" fmla="*/ 551 w 835"/>
                <a:gd name="T15" fmla="*/ 219 h 829"/>
                <a:gd name="T16" fmla="*/ 568 w 835"/>
                <a:gd name="T17" fmla="*/ 257 h 829"/>
                <a:gd name="T18" fmla="*/ 525 w 835"/>
                <a:gd name="T19" fmla="*/ 254 h 829"/>
                <a:gd name="T20" fmla="*/ 523 w 835"/>
                <a:gd name="T21" fmla="*/ 267 h 829"/>
                <a:gd name="T22" fmla="*/ 92 w 835"/>
                <a:gd name="T23" fmla="*/ 714 h 829"/>
                <a:gd name="T24" fmla="*/ 54 w 835"/>
                <a:gd name="T25" fmla="*/ 673 h 829"/>
                <a:gd name="T26" fmla="*/ 16 w 835"/>
                <a:gd name="T27" fmla="*/ 600 h 829"/>
                <a:gd name="T28" fmla="*/ 16 w 835"/>
                <a:gd name="T29" fmla="*/ 528 h 829"/>
                <a:gd name="T30" fmla="*/ 54 w 835"/>
                <a:gd name="T31" fmla="*/ 458 h 829"/>
                <a:gd name="T32" fmla="*/ 85 w 835"/>
                <a:gd name="T33" fmla="*/ 374 h 829"/>
                <a:gd name="T34" fmla="*/ 200 w 835"/>
                <a:gd name="T35" fmla="*/ 283 h 829"/>
                <a:gd name="T36" fmla="*/ 258 w 835"/>
                <a:gd name="T37" fmla="*/ 239 h 829"/>
                <a:gd name="T38" fmla="*/ 258 w 835"/>
                <a:gd name="T39" fmla="*/ 195 h 829"/>
                <a:gd name="T40" fmla="*/ 270 w 835"/>
                <a:gd name="T41" fmla="*/ 154 h 829"/>
                <a:gd name="T42" fmla="*/ 404 w 835"/>
                <a:gd name="T43" fmla="*/ 101 h 829"/>
                <a:gd name="T44" fmla="*/ 471 w 835"/>
                <a:gd name="T45" fmla="*/ 70 h 829"/>
                <a:gd name="T46" fmla="*/ 495 w 835"/>
                <a:gd name="T47" fmla="*/ 143 h 829"/>
                <a:gd name="T48" fmla="*/ 525 w 835"/>
                <a:gd name="T49" fmla="*/ 206 h 829"/>
                <a:gd name="T50" fmla="*/ 571 w 835"/>
                <a:gd name="T51" fmla="*/ 208 h 829"/>
                <a:gd name="T52" fmla="*/ 603 w 835"/>
                <a:gd name="T53" fmla="*/ 182 h 829"/>
                <a:gd name="T54" fmla="*/ 587 w 835"/>
                <a:gd name="T55" fmla="*/ 178 h 829"/>
                <a:gd name="T56" fmla="*/ 598 w 835"/>
                <a:gd name="T57" fmla="*/ 116 h 829"/>
                <a:gd name="T58" fmla="*/ 588 w 835"/>
                <a:gd name="T59" fmla="*/ 100 h 829"/>
                <a:gd name="T60" fmla="*/ 641 w 835"/>
                <a:gd name="T61" fmla="*/ 116 h 829"/>
                <a:gd name="T62" fmla="*/ 639 w 835"/>
                <a:gd name="T63" fmla="*/ 176 h 829"/>
                <a:gd name="T64" fmla="*/ 607 w 835"/>
                <a:gd name="T65" fmla="*/ 241 h 829"/>
                <a:gd name="T66" fmla="*/ 566 w 835"/>
                <a:gd name="T67" fmla="*/ 328 h 829"/>
                <a:gd name="T68" fmla="*/ 531 w 835"/>
                <a:gd name="T69" fmla="*/ 338 h 829"/>
                <a:gd name="T70" fmla="*/ 518 w 835"/>
                <a:gd name="T71" fmla="*/ 416 h 829"/>
                <a:gd name="T72" fmla="*/ 551 w 835"/>
                <a:gd name="T73" fmla="*/ 418 h 829"/>
                <a:gd name="T74" fmla="*/ 594 w 835"/>
                <a:gd name="T75" fmla="*/ 435 h 829"/>
                <a:gd name="T76" fmla="*/ 567 w 835"/>
                <a:gd name="T77" fmla="*/ 462 h 829"/>
                <a:gd name="T78" fmla="*/ 531 w 835"/>
                <a:gd name="T79" fmla="*/ 463 h 829"/>
                <a:gd name="T80" fmla="*/ 544 w 835"/>
                <a:gd name="T81" fmla="*/ 502 h 829"/>
                <a:gd name="T82" fmla="*/ 591 w 835"/>
                <a:gd name="T83" fmla="*/ 479 h 829"/>
                <a:gd name="T84" fmla="*/ 641 w 835"/>
                <a:gd name="T85" fmla="*/ 521 h 829"/>
                <a:gd name="T86" fmla="*/ 671 w 835"/>
                <a:gd name="T87" fmla="*/ 553 h 829"/>
                <a:gd name="T88" fmla="*/ 733 w 835"/>
                <a:gd name="T89" fmla="*/ 509 h 829"/>
                <a:gd name="T90" fmla="*/ 785 w 835"/>
                <a:gd name="T91" fmla="*/ 464 h 829"/>
                <a:gd name="T92" fmla="*/ 834 w 835"/>
                <a:gd name="T93" fmla="*/ 483 h 829"/>
                <a:gd name="T94" fmla="*/ 820 w 835"/>
                <a:gd name="T95" fmla="*/ 555 h 829"/>
                <a:gd name="T96" fmla="*/ 804 w 835"/>
                <a:gd name="T97" fmla="*/ 590 h 829"/>
                <a:gd name="T98" fmla="*/ 809 w 835"/>
                <a:gd name="T99" fmla="*/ 653 h 829"/>
                <a:gd name="T100" fmla="*/ 794 w 835"/>
                <a:gd name="T101" fmla="*/ 714 h 829"/>
                <a:gd name="T102" fmla="*/ 736 w 835"/>
                <a:gd name="T103" fmla="*/ 786 h 829"/>
                <a:gd name="T104" fmla="*/ 667 w 835"/>
                <a:gd name="T105" fmla="*/ 808 h 829"/>
                <a:gd name="T106" fmla="*/ 640 w 835"/>
                <a:gd name="T107" fmla="*/ 756 h 829"/>
                <a:gd name="T108" fmla="*/ 629 w 835"/>
                <a:gd name="T109" fmla="*/ 708 h 829"/>
                <a:gd name="T110" fmla="*/ 600 w 835"/>
                <a:gd name="T111" fmla="*/ 660 h 829"/>
                <a:gd name="T112" fmla="*/ 577 w 835"/>
                <a:gd name="T113" fmla="*/ 625 h 829"/>
                <a:gd name="T114" fmla="*/ 408 w 835"/>
                <a:gd name="T115" fmla="*/ 561 h 829"/>
                <a:gd name="T116" fmla="*/ 87 w 835"/>
                <a:gd name="T117" fmla="*/ 635 h 829"/>
                <a:gd name="T118" fmla="*/ 87 w 835"/>
                <a:gd name="T119" fmla="*/ 663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5" h="829">
                  <a:moveTo>
                    <a:pt x="676" y="0"/>
                  </a:moveTo>
                  <a:cubicBezTo>
                    <a:pt x="693" y="8"/>
                    <a:pt x="693" y="8"/>
                    <a:pt x="693" y="8"/>
                  </a:cubicBezTo>
                  <a:cubicBezTo>
                    <a:pt x="705" y="12"/>
                    <a:pt x="705" y="12"/>
                    <a:pt x="705" y="12"/>
                  </a:cubicBezTo>
                  <a:cubicBezTo>
                    <a:pt x="708" y="13"/>
                    <a:pt x="708" y="13"/>
                    <a:pt x="708" y="13"/>
                  </a:cubicBezTo>
                  <a:cubicBezTo>
                    <a:pt x="705" y="25"/>
                    <a:pt x="705" y="25"/>
                    <a:pt x="705" y="25"/>
                  </a:cubicBezTo>
                  <a:cubicBezTo>
                    <a:pt x="705" y="43"/>
                    <a:pt x="705" y="43"/>
                    <a:pt x="705" y="43"/>
                  </a:cubicBezTo>
                  <a:cubicBezTo>
                    <a:pt x="709" y="48"/>
                    <a:pt x="709" y="48"/>
                    <a:pt x="709" y="48"/>
                  </a:cubicBezTo>
                  <a:cubicBezTo>
                    <a:pt x="722" y="72"/>
                    <a:pt x="722" y="72"/>
                    <a:pt x="722" y="72"/>
                  </a:cubicBezTo>
                  <a:cubicBezTo>
                    <a:pt x="731" y="91"/>
                    <a:pt x="731" y="91"/>
                    <a:pt x="731" y="91"/>
                  </a:cubicBezTo>
                  <a:cubicBezTo>
                    <a:pt x="722" y="99"/>
                    <a:pt x="722" y="99"/>
                    <a:pt x="722" y="99"/>
                  </a:cubicBezTo>
                  <a:cubicBezTo>
                    <a:pt x="710" y="108"/>
                    <a:pt x="710" y="108"/>
                    <a:pt x="710" y="108"/>
                  </a:cubicBezTo>
                  <a:cubicBezTo>
                    <a:pt x="709" y="125"/>
                    <a:pt x="709" y="125"/>
                    <a:pt x="709" y="125"/>
                  </a:cubicBezTo>
                  <a:cubicBezTo>
                    <a:pt x="703" y="135"/>
                    <a:pt x="703" y="135"/>
                    <a:pt x="703" y="135"/>
                  </a:cubicBezTo>
                  <a:cubicBezTo>
                    <a:pt x="694" y="144"/>
                    <a:pt x="694" y="144"/>
                    <a:pt x="694" y="144"/>
                  </a:cubicBezTo>
                  <a:cubicBezTo>
                    <a:pt x="688" y="151"/>
                    <a:pt x="688" y="151"/>
                    <a:pt x="688" y="151"/>
                  </a:cubicBezTo>
                  <a:cubicBezTo>
                    <a:pt x="682" y="147"/>
                    <a:pt x="682" y="147"/>
                    <a:pt x="682" y="147"/>
                  </a:cubicBezTo>
                  <a:cubicBezTo>
                    <a:pt x="687" y="134"/>
                    <a:pt x="687" y="134"/>
                    <a:pt x="687" y="134"/>
                  </a:cubicBezTo>
                  <a:cubicBezTo>
                    <a:pt x="687" y="119"/>
                    <a:pt x="687" y="119"/>
                    <a:pt x="687" y="119"/>
                  </a:cubicBezTo>
                  <a:cubicBezTo>
                    <a:pt x="679" y="113"/>
                    <a:pt x="679" y="113"/>
                    <a:pt x="679" y="113"/>
                  </a:cubicBezTo>
                  <a:cubicBezTo>
                    <a:pt x="672" y="105"/>
                    <a:pt x="672" y="105"/>
                    <a:pt x="672" y="105"/>
                  </a:cubicBezTo>
                  <a:cubicBezTo>
                    <a:pt x="659" y="95"/>
                    <a:pt x="659" y="95"/>
                    <a:pt x="659" y="95"/>
                  </a:cubicBezTo>
                  <a:cubicBezTo>
                    <a:pt x="654" y="81"/>
                    <a:pt x="654" y="81"/>
                    <a:pt x="654" y="81"/>
                  </a:cubicBezTo>
                  <a:cubicBezTo>
                    <a:pt x="650" y="66"/>
                    <a:pt x="650" y="66"/>
                    <a:pt x="650" y="66"/>
                  </a:cubicBezTo>
                  <a:cubicBezTo>
                    <a:pt x="640" y="61"/>
                    <a:pt x="640" y="61"/>
                    <a:pt x="640" y="61"/>
                  </a:cubicBezTo>
                  <a:cubicBezTo>
                    <a:pt x="639" y="61"/>
                    <a:pt x="639" y="61"/>
                    <a:pt x="639" y="61"/>
                  </a:cubicBezTo>
                  <a:cubicBezTo>
                    <a:pt x="620" y="45"/>
                    <a:pt x="620" y="45"/>
                    <a:pt x="620" y="45"/>
                  </a:cubicBezTo>
                  <a:cubicBezTo>
                    <a:pt x="620" y="45"/>
                    <a:pt x="620" y="45"/>
                    <a:pt x="620" y="45"/>
                  </a:cubicBezTo>
                  <a:lnTo>
                    <a:pt x="676" y="0"/>
                  </a:lnTo>
                  <a:close/>
                  <a:moveTo>
                    <a:pt x="497" y="246"/>
                  </a:moveTo>
                  <a:cubicBezTo>
                    <a:pt x="490" y="256"/>
                    <a:pt x="490" y="256"/>
                    <a:pt x="490" y="256"/>
                  </a:cubicBezTo>
                  <a:cubicBezTo>
                    <a:pt x="492" y="265"/>
                    <a:pt x="492" y="265"/>
                    <a:pt x="492" y="265"/>
                  </a:cubicBezTo>
                  <a:cubicBezTo>
                    <a:pt x="499" y="270"/>
                    <a:pt x="499" y="270"/>
                    <a:pt x="499" y="270"/>
                  </a:cubicBezTo>
                  <a:cubicBezTo>
                    <a:pt x="505" y="265"/>
                    <a:pt x="505" y="265"/>
                    <a:pt x="505" y="265"/>
                  </a:cubicBezTo>
                  <a:cubicBezTo>
                    <a:pt x="508" y="254"/>
                    <a:pt x="508" y="254"/>
                    <a:pt x="508" y="254"/>
                  </a:cubicBezTo>
                  <a:cubicBezTo>
                    <a:pt x="507" y="244"/>
                    <a:pt x="507" y="244"/>
                    <a:pt x="507" y="244"/>
                  </a:cubicBezTo>
                  <a:lnTo>
                    <a:pt x="497" y="246"/>
                  </a:lnTo>
                  <a:close/>
                  <a:moveTo>
                    <a:pt x="535" y="251"/>
                  </a:moveTo>
                  <a:cubicBezTo>
                    <a:pt x="547" y="236"/>
                    <a:pt x="547" y="236"/>
                    <a:pt x="547" y="236"/>
                  </a:cubicBezTo>
                  <a:cubicBezTo>
                    <a:pt x="554" y="224"/>
                    <a:pt x="554" y="224"/>
                    <a:pt x="554" y="224"/>
                  </a:cubicBezTo>
                  <a:cubicBezTo>
                    <a:pt x="551" y="219"/>
                    <a:pt x="551" y="219"/>
                    <a:pt x="551" y="219"/>
                  </a:cubicBezTo>
                  <a:cubicBezTo>
                    <a:pt x="556" y="216"/>
                    <a:pt x="556" y="216"/>
                    <a:pt x="556" y="216"/>
                  </a:cubicBezTo>
                  <a:cubicBezTo>
                    <a:pt x="564" y="225"/>
                    <a:pt x="564" y="225"/>
                    <a:pt x="564" y="225"/>
                  </a:cubicBezTo>
                  <a:cubicBezTo>
                    <a:pt x="574" y="236"/>
                    <a:pt x="574" y="236"/>
                    <a:pt x="574" y="236"/>
                  </a:cubicBezTo>
                  <a:cubicBezTo>
                    <a:pt x="577" y="241"/>
                    <a:pt x="577" y="241"/>
                    <a:pt x="577" y="241"/>
                  </a:cubicBezTo>
                  <a:cubicBezTo>
                    <a:pt x="568" y="257"/>
                    <a:pt x="568" y="257"/>
                    <a:pt x="568" y="257"/>
                  </a:cubicBezTo>
                  <a:cubicBezTo>
                    <a:pt x="562" y="267"/>
                    <a:pt x="562" y="267"/>
                    <a:pt x="562" y="267"/>
                  </a:cubicBezTo>
                  <a:cubicBezTo>
                    <a:pt x="555" y="266"/>
                    <a:pt x="555" y="266"/>
                    <a:pt x="555" y="266"/>
                  </a:cubicBezTo>
                  <a:cubicBezTo>
                    <a:pt x="548" y="258"/>
                    <a:pt x="548" y="258"/>
                    <a:pt x="548" y="258"/>
                  </a:cubicBezTo>
                  <a:lnTo>
                    <a:pt x="535" y="251"/>
                  </a:lnTo>
                  <a:close/>
                  <a:moveTo>
                    <a:pt x="525" y="254"/>
                  </a:moveTo>
                  <a:cubicBezTo>
                    <a:pt x="533" y="255"/>
                    <a:pt x="533" y="255"/>
                    <a:pt x="533" y="255"/>
                  </a:cubicBezTo>
                  <a:cubicBezTo>
                    <a:pt x="540" y="260"/>
                    <a:pt x="540" y="260"/>
                    <a:pt x="540" y="260"/>
                  </a:cubicBezTo>
                  <a:cubicBezTo>
                    <a:pt x="534" y="269"/>
                    <a:pt x="534" y="269"/>
                    <a:pt x="534" y="269"/>
                  </a:cubicBezTo>
                  <a:cubicBezTo>
                    <a:pt x="527" y="272"/>
                    <a:pt x="527" y="272"/>
                    <a:pt x="527" y="272"/>
                  </a:cubicBezTo>
                  <a:cubicBezTo>
                    <a:pt x="523" y="267"/>
                    <a:pt x="523" y="267"/>
                    <a:pt x="523" y="267"/>
                  </a:cubicBezTo>
                  <a:lnTo>
                    <a:pt x="525" y="254"/>
                  </a:lnTo>
                  <a:close/>
                  <a:moveTo>
                    <a:pt x="96" y="666"/>
                  </a:moveTo>
                  <a:cubicBezTo>
                    <a:pt x="114" y="677"/>
                    <a:pt x="114" y="677"/>
                    <a:pt x="114" y="677"/>
                  </a:cubicBezTo>
                  <a:cubicBezTo>
                    <a:pt x="95" y="715"/>
                    <a:pt x="95" y="715"/>
                    <a:pt x="95" y="715"/>
                  </a:cubicBezTo>
                  <a:cubicBezTo>
                    <a:pt x="92" y="714"/>
                    <a:pt x="92" y="714"/>
                    <a:pt x="92" y="714"/>
                  </a:cubicBezTo>
                  <a:cubicBezTo>
                    <a:pt x="78" y="706"/>
                    <a:pt x="78" y="706"/>
                    <a:pt x="78" y="706"/>
                  </a:cubicBezTo>
                  <a:cubicBezTo>
                    <a:pt x="62" y="696"/>
                    <a:pt x="62" y="696"/>
                    <a:pt x="62" y="696"/>
                  </a:cubicBezTo>
                  <a:cubicBezTo>
                    <a:pt x="49" y="688"/>
                    <a:pt x="49" y="688"/>
                    <a:pt x="49" y="688"/>
                  </a:cubicBezTo>
                  <a:cubicBezTo>
                    <a:pt x="45" y="687"/>
                    <a:pt x="45" y="687"/>
                    <a:pt x="45" y="687"/>
                  </a:cubicBezTo>
                  <a:cubicBezTo>
                    <a:pt x="54" y="673"/>
                    <a:pt x="54" y="673"/>
                    <a:pt x="54" y="673"/>
                  </a:cubicBezTo>
                  <a:cubicBezTo>
                    <a:pt x="62" y="660"/>
                    <a:pt x="62" y="660"/>
                    <a:pt x="62" y="660"/>
                  </a:cubicBezTo>
                  <a:cubicBezTo>
                    <a:pt x="62" y="647"/>
                    <a:pt x="62" y="647"/>
                    <a:pt x="62" y="647"/>
                  </a:cubicBezTo>
                  <a:cubicBezTo>
                    <a:pt x="58" y="637"/>
                    <a:pt x="58" y="637"/>
                    <a:pt x="58" y="637"/>
                  </a:cubicBezTo>
                  <a:cubicBezTo>
                    <a:pt x="37" y="615"/>
                    <a:pt x="37" y="615"/>
                    <a:pt x="37" y="615"/>
                  </a:cubicBezTo>
                  <a:cubicBezTo>
                    <a:pt x="16" y="600"/>
                    <a:pt x="16" y="600"/>
                    <a:pt x="16" y="600"/>
                  </a:cubicBezTo>
                  <a:cubicBezTo>
                    <a:pt x="0" y="590"/>
                    <a:pt x="0" y="590"/>
                    <a:pt x="0" y="590"/>
                  </a:cubicBezTo>
                  <a:cubicBezTo>
                    <a:pt x="7" y="578"/>
                    <a:pt x="7" y="578"/>
                    <a:pt x="7" y="578"/>
                  </a:cubicBezTo>
                  <a:cubicBezTo>
                    <a:pt x="10" y="565"/>
                    <a:pt x="10" y="565"/>
                    <a:pt x="10" y="565"/>
                  </a:cubicBezTo>
                  <a:cubicBezTo>
                    <a:pt x="8" y="542"/>
                    <a:pt x="8" y="542"/>
                    <a:pt x="8" y="542"/>
                  </a:cubicBezTo>
                  <a:cubicBezTo>
                    <a:pt x="16" y="528"/>
                    <a:pt x="16" y="528"/>
                    <a:pt x="16" y="528"/>
                  </a:cubicBezTo>
                  <a:cubicBezTo>
                    <a:pt x="28" y="510"/>
                    <a:pt x="28" y="510"/>
                    <a:pt x="28" y="510"/>
                  </a:cubicBezTo>
                  <a:cubicBezTo>
                    <a:pt x="37" y="496"/>
                    <a:pt x="37" y="496"/>
                    <a:pt x="37" y="496"/>
                  </a:cubicBezTo>
                  <a:cubicBezTo>
                    <a:pt x="46" y="487"/>
                    <a:pt x="46" y="487"/>
                    <a:pt x="46" y="487"/>
                  </a:cubicBezTo>
                  <a:cubicBezTo>
                    <a:pt x="58" y="477"/>
                    <a:pt x="58" y="477"/>
                    <a:pt x="58" y="477"/>
                  </a:cubicBezTo>
                  <a:cubicBezTo>
                    <a:pt x="54" y="458"/>
                    <a:pt x="54" y="458"/>
                    <a:pt x="54" y="458"/>
                  </a:cubicBezTo>
                  <a:cubicBezTo>
                    <a:pt x="47" y="449"/>
                    <a:pt x="47" y="449"/>
                    <a:pt x="47" y="449"/>
                  </a:cubicBezTo>
                  <a:cubicBezTo>
                    <a:pt x="29" y="429"/>
                    <a:pt x="29" y="429"/>
                    <a:pt x="29" y="429"/>
                  </a:cubicBezTo>
                  <a:cubicBezTo>
                    <a:pt x="37" y="418"/>
                    <a:pt x="37" y="418"/>
                    <a:pt x="37" y="418"/>
                  </a:cubicBezTo>
                  <a:cubicBezTo>
                    <a:pt x="52" y="404"/>
                    <a:pt x="52" y="404"/>
                    <a:pt x="52" y="404"/>
                  </a:cubicBezTo>
                  <a:cubicBezTo>
                    <a:pt x="85" y="374"/>
                    <a:pt x="85" y="374"/>
                    <a:pt x="85" y="374"/>
                  </a:cubicBezTo>
                  <a:cubicBezTo>
                    <a:pt x="125" y="338"/>
                    <a:pt x="125" y="338"/>
                    <a:pt x="125" y="338"/>
                  </a:cubicBezTo>
                  <a:cubicBezTo>
                    <a:pt x="138" y="323"/>
                    <a:pt x="138" y="323"/>
                    <a:pt x="138" y="323"/>
                  </a:cubicBezTo>
                  <a:cubicBezTo>
                    <a:pt x="152" y="311"/>
                    <a:pt x="152" y="311"/>
                    <a:pt x="152" y="311"/>
                  </a:cubicBezTo>
                  <a:cubicBezTo>
                    <a:pt x="168" y="304"/>
                    <a:pt x="168" y="304"/>
                    <a:pt x="168" y="304"/>
                  </a:cubicBezTo>
                  <a:cubicBezTo>
                    <a:pt x="200" y="283"/>
                    <a:pt x="200" y="283"/>
                    <a:pt x="200" y="283"/>
                  </a:cubicBezTo>
                  <a:cubicBezTo>
                    <a:pt x="224" y="261"/>
                    <a:pt x="224" y="261"/>
                    <a:pt x="224" y="261"/>
                  </a:cubicBezTo>
                  <a:cubicBezTo>
                    <a:pt x="226" y="253"/>
                    <a:pt x="226" y="253"/>
                    <a:pt x="226" y="253"/>
                  </a:cubicBezTo>
                  <a:cubicBezTo>
                    <a:pt x="232" y="249"/>
                    <a:pt x="232" y="249"/>
                    <a:pt x="232" y="249"/>
                  </a:cubicBezTo>
                  <a:cubicBezTo>
                    <a:pt x="247" y="246"/>
                    <a:pt x="247" y="246"/>
                    <a:pt x="247" y="246"/>
                  </a:cubicBezTo>
                  <a:cubicBezTo>
                    <a:pt x="258" y="239"/>
                    <a:pt x="258" y="239"/>
                    <a:pt x="258" y="239"/>
                  </a:cubicBezTo>
                  <a:cubicBezTo>
                    <a:pt x="268" y="229"/>
                    <a:pt x="268" y="229"/>
                    <a:pt x="268" y="229"/>
                  </a:cubicBezTo>
                  <a:cubicBezTo>
                    <a:pt x="277" y="216"/>
                    <a:pt x="277" y="216"/>
                    <a:pt x="277" y="216"/>
                  </a:cubicBezTo>
                  <a:cubicBezTo>
                    <a:pt x="273" y="206"/>
                    <a:pt x="273" y="206"/>
                    <a:pt x="273" y="206"/>
                  </a:cubicBezTo>
                  <a:cubicBezTo>
                    <a:pt x="262" y="200"/>
                    <a:pt x="262" y="200"/>
                    <a:pt x="262" y="200"/>
                  </a:cubicBezTo>
                  <a:cubicBezTo>
                    <a:pt x="258" y="195"/>
                    <a:pt x="258" y="195"/>
                    <a:pt x="258" y="195"/>
                  </a:cubicBezTo>
                  <a:cubicBezTo>
                    <a:pt x="255" y="188"/>
                    <a:pt x="255" y="188"/>
                    <a:pt x="255" y="188"/>
                  </a:cubicBezTo>
                  <a:cubicBezTo>
                    <a:pt x="262" y="184"/>
                    <a:pt x="262" y="184"/>
                    <a:pt x="262" y="184"/>
                  </a:cubicBezTo>
                  <a:cubicBezTo>
                    <a:pt x="263" y="168"/>
                    <a:pt x="263" y="168"/>
                    <a:pt x="263" y="168"/>
                  </a:cubicBezTo>
                  <a:cubicBezTo>
                    <a:pt x="264" y="160"/>
                    <a:pt x="264" y="160"/>
                    <a:pt x="264" y="160"/>
                  </a:cubicBezTo>
                  <a:cubicBezTo>
                    <a:pt x="270" y="154"/>
                    <a:pt x="270" y="154"/>
                    <a:pt x="270" y="154"/>
                  </a:cubicBezTo>
                  <a:cubicBezTo>
                    <a:pt x="281" y="142"/>
                    <a:pt x="281" y="142"/>
                    <a:pt x="281" y="142"/>
                  </a:cubicBezTo>
                  <a:cubicBezTo>
                    <a:pt x="333" y="135"/>
                    <a:pt x="333" y="135"/>
                    <a:pt x="333" y="135"/>
                  </a:cubicBezTo>
                  <a:cubicBezTo>
                    <a:pt x="362" y="116"/>
                    <a:pt x="362" y="116"/>
                    <a:pt x="362" y="116"/>
                  </a:cubicBezTo>
                  <a:cubicBezTo>
                    <a:pt x="380" y="107"/>
                    <a:pt x="380" y="107"/>
                    <a:pt x="380" y="107"/>
                  </a:cubicBezTo>
                  <a:cubicBezTo>
                    <a:pt x="404" y="101"/>
                    <a:pt x="404" y="101"/>
                    <a:pt x="404" y="101"/>
                  </a:cubicBezTo>
                  <a:cubicBezTo>
                    <a:pt x="416" y="86"/>
                    <a:pt x="416" y="86"/>
                    <a:pt x="416" y="86"/>
                  </a:cubicBezTo>
                  <a:cubicBezTo>
                    <a:pt x="437" y="72"/>
                    <a:pt x="437" y="72"/>
                    <a:pt x="437" y="72"/>
                  </a:cubicBezTo>
                  <a:cubicBezTo>
                    <a:pt x="454" y="57"/>
                    <a:pt x="454" y="57"/>
                    <a:pt x="454" y="57"/>
                  </a:cubicBezTo>
                  <a:cubicBezTo>
                    <a:pt x="464" y="53"/>
                    <a:pt x="464" y="53"/>
                    <a:pt x="464" y="53"/>
                  </a:cubicBezTo>
                  <a:cubicBezTo>
                    <a:pt x="471" y="70"/>
                    <a:pt x="471" y="70"/>
                    <a:pt x="471" y="70"/>
                  </a:cubicBezTo>
                  <a:cubicBezTo>
                    <a:pt x="466" y="83"/>
                    <a:pt x="466" y="83"/>
                    <a:pt x="466" y="83"/>
                  </a:cubicBezTo>
                  <a:cubicBezTo>
                    <a:pt x="476" y="89"/>
                    <a:pt x="476" y="89"/>
                    <a:pt x="476" y="89"/>
                  </a:cubicBezTo>
                  <a:cubicBezTo>
                    <a:pt x="479" y="112"/>
                    <a:pt x="479" y="112"/>
                    <a:pt x="479" y="112"/>
                  </a:cubicBezTo>
                  <a:cubicBezTo>
                    <a:pt x="487" y="118"/>
                    <a:pt x="487" y="118"/>
                    <a:pt x="487" y="118"/>
                  </a:cubicBezTo>
                  <a:cubicBezTo>
                    <a:pt x="495" y="143"/>
                    <a:pt x="495" y="143"/>
                    <a:pt x="495" y="143"/>
                  </a:cubicBezTo>
                  <a:cubicBezTo>
                    <a:pt x="497" y="178"/>
                    <a:pt x="497" y="178"/>
                    <a:pt x="497" y="178"/>
                  </a:cubicBezTo>
                  <a:cubicBezTo>
                    <a:pt x="503" y="183"/>
                    <a:pt x="503" y="183"/>
                    <a:pt x="503" y="183"/>
                  </a:cubicBezTo>
                  <a:cubicBezTo>
                    <a:pt x="516" y="192"/>
                    <a:pt x="516" y="192"/>
                    <a:pt x="516" y="192"/>
                  </a:cubicBezTo>
                  <a:cubicBezTo>
                    <a:pt x="511" y="196"/>
                    <a:pt x="511" y="196"/>
                    <a:pt x="511" y="196"/>
                  </a:cubicBezTo>
                  <a:cubicBezTo>
                    <a:pt x="525" y="206"/>
                    <a:pt x="525" y="206"/>
                    <a:pt x="525" y="206"/>
                  </a:cubicBezTo>
                  <a:cubicBezTo>
                    <a:pt x="541" y="213"/>
                    <a:pt x="541" y="213"/>
                    <a:pt x="541" y="213"/>
                  </a:cubicBezTo>
                  <a:cubicBezTo>
                    <a:pt x="547" y="214"/>
                    <a:pt x="547" y="214"/>
                    <a:pt x="547" y="214"/>
                  </a:cubicBezTo>
                  <a:cubicBezTo>
                    <a:pt x="555" y="210"/>
                    <a:pt x="555" y="210"/>
                    <a:pt x="555" y="210"/>
                  </a:cubicBezTo>
                  <a:cubicBezTo>
                    <a:pt x="562" y="203"/>
                    <a:pt x="562" y="203"/>
                    <a:pt x="562" y="203"/>
                  </a:cubicBezTo>
                  <a:cubicBezTo>
                    <a:pt x="571" y="208"/>
                    <a:pt x="571" y="208"/>
                    <a:pt x="571" y="208"/>
                  </a:cubicBezTo>
                  <a:cubicBezTo>
                    <a:pt x="583" y="213"/>
                    <a:pt x="583" y="213"/>
                    <a:pt x="583" y="213"/>
                  </a:cubicBezTo>
                  <a:cubicBezTo>
                    <a:pt x="593" y="213"/>
                    <a:pt x="593" y="213"/>
                    <a:pt x="593" y="213"/>
                  </a:cubicBezTo>
                  <a:cubicBezTo>
                    <a:pt x="599" y="206"/>
                    <a:pt x="599" y="206"/>
                    <a:pt x="599" y="206"/>
                  </a:cubicBezTo>
                  <a:cubicBezTo>
                    <a:pt x="603" y="194"/>
                    <a:pt x="603" y="194"/>
                    <a:pt x="603" y="194"/>
                  </a:cubicBezTo>
                  <a:cubicBezTo>
                    <a:pt x="603" y="182"/>
                    <a:pt x="603" y="182"/>
                    <a:pt x="603" y="182"/>
                  </a:cubicBezTo>
                  <a:cubicBezTo>
                    <a:pt x="606" y="175"/>
                    <a:pt x="606" y="175"/>
                    <a:pt x="606" y="175"/>
                  </a:cubicBezTo>
                  <a:cubicBezTo>
                    <a:pt x="602" y="172"/>
                    <a:pt x="602" y="172"/>
                    <a:pt x="602" y="172"/>
                  </a:cubicBezTo>
                  <a:cubicBezTo>
                    <a:pt x="596" y="173"/>
                    <a:pt x="596" y="173"/>
                    <a:pt x="596" y="173"/>
                  </a:cubicBezTo>
                  <a:cubicBezTo>
                    <a:pt x="594" y="179"/>
                    <a:pt x="594" y="179"/>
                    <a:pt x="594" y="179"/>
                  </a:cubicBezTo>
                  <a:cubicBezTo>
                    <a:pt x="587" y="178"/>
                    <a:pt x="587" y="178"/>
                    <a:pt x="587" y="178"/>
                  </a:cubicBezTo>
                  <a:cubicBezTo>
                    <a:pt x="592" y="163"/>
                    <a:pt x="592" y="163"/>
                    <a:pt x="592" y="163"/>
                  </a:cubicBezTo>
                  <a:cubicBezTo>
                    <a:pt x="593" y="157"/>
                    <a:pt x="593" y="157"/>
                    <a:pt x="593" y="157"/>
                  </a:cubicBezTo>
                  <a:cubicBezTo>
                    <a:pt x="600" y="139"/>
                    <a:pt x="600" y="139"/>
                    <a:pt x="600" y="139"/>
                  </a:cubicBezTo>
                  <a:cubicBezTo>
                    <a:pt x="608" y="132"/>
                    <a:pt x="608" y="132"/>
                    <a:pt x="608" y="132"/>
                  </a:cubicBezTo>
                  <a:cubicBezTo>
                    <a:pt x="598" y="116"/>
                    <a:pt x="598" y="116"/>
                    <a:pt x="598" y="116"/>
                  </a:cubicBezTo>
                  <a:cubicBezTo>
                    <a:pt x="587" y="120"/>
                    <a:pt x="587" y="120"/>
                    <a:pt x="587" y="120"/>
                  </a:cubicBezTo>
                  <a:cubicBezTo>
                    <a:pt x="587" y="117"/>
                    <a:pt x="587" y="117"/>
                    <a:pt x="587" y="117"/>
                  </a:cubicBezTo>
                  <a:cubicBezTo>
                    <a:pt x="603" y="108"/>
                    <a:pt x="603" y="108"/>
                    <a:pt x="603" y="108"/>
                  </a:cubicBezTo>
                  <a:cubicBezTo>
                    <a:pt x="595" y="100"/>
                    <a:pt x="595" y="100"/>
                    <a:pt x="595" y="100"/>
                  </a:cubicBezTo>
                  <a:cubicBezTo>
                    <a:pt x="588" y="100"/>
                    <a:pt x="588" y="100"/>
                    <a:pt x="588" y="100"/>
                  </a:cubicBezTo>
                  <a:cubicBezTo>
                    <a:pt x="572" y="85"/>
                    <a:pt x="572" y="85"/>
                    <a:pt x="572" y="85"/>
                  </a:cubicBezTo>
                  <a:cubicBezTo>
                    <a:pt x="596" y="65"/>
                    <a:pt x="596" y="65"/>
                    <a:pt x="596" y="65"/>
                  </a:cubicBezTo>
                  <a:cubicBezTo>
                    <a:pt x="613" y="89"/>
                    <a:pt x="613" y="89"/>
                    <a:pt x="613" y="89"/>
                  </a:cubicBezTo>
                  <a:cubicBezTo>
                    <a:pt x="628" y="106"/>
                    <a:pt x="628" y="106"/>
                    <a:pt x="628" y="106"/>
                  </a:cubicBezTo>
                  <a:cubicBezTo>
                    <a:pt x="641" y="116"/>
                    <a:pt x="641" y="116"/>
                    <a:pt x="641" y="116"/>
                  </a:cubicBezTo>
                  <a:cubicBezTo>
                    <a:pt x="648" y="119"/>
                    <a:pt x="648" y="119"/>
                    <a:pt x="648" y="119"/>
                  </a:cubicBezTo>
                  <a:cubicBezTo>
                    <a:pt x="648" y="136"/>
                    <a:pt x="648" y="136"/>
                    <a:pt x="648" y="136"/>
                  </a:cubicBezTo>
                  <a:cubicBezTo>
                    <a:pt x="653" y="147"/>
                    <a:pt x="653" y="147"/>
                    <a:pt x="653" y="147"/>
                  </a:cubicBezTo>
                  <a:cubicBezTo>
                    <a:pt x="652" y="167"/>
                    <a:pt x="652" y="167"/>
                    <a:pt x="652" y="167"/>
                  </a:cubicBezTo>
                  <a:cubicBezTo>
                    <a:pt x="639" y="176"/>
                    <a:pt x="639" y="176"/>
                    <a:pt x="639" y="176"/>
                  </a:cubicBezTo>
                  <a:cubicBezTo>
                    <a:pt x="636" y="190"/>
                    <a:pt x="636" y="190"/>
                    <a:pt x="636" y="190"/>
                  </a:cubicBezTo>
                  <a:cubicBezTo>
                    <a:pt x="631" y="208"/>
                    <a:pt x="631" y="208"/>
                    <a:pt x="631" y="208"/>
                  </a:cubicBezTo>
                  <a:cubicBezTo>
                    <a:pt x="624" y="217"/>
                    <a:pt x="624" y="217"/>
                    <a:pt x="624" y="217"/>
                  </a:cubicBezTo>
                  <a:cubicBezTo>
                    <a:pt x="610" y="232"/>
                    <a:pt x="610" y="232"/>
                    <a:pt x="610" y="232"/>
                  </a:cubicBezTo>
                  <a:cubicBezTo>
                    <a:pt x="607" y="241"/>
                    <a:pt x="607" y="241"/>
                    <a:pt x="607" y="241"/>
                  </a:cubicBezTo>
                  <a:cubicBezTo>
                    <a:pt x="615" y="248"/>
                    <a:pt x="615" y="248"/>
                    <a:pt x="615" y="248"/>
                  </a:cubicBezTo>
                  <a:cubicBezTo>
                    <a:pt x="613" y="260"/>
                    <a:pt x="613" y="260"/>
                    <a:pt x="613" y="260"/>
                  </a:cubicBezTo>
                  <a:cubicBezTo>
                    <a:pt x="587" y="292"/>
                    <a:pt x="587" y="292"/>
                    <a:pt x="587" y="292"/>
                  </a:cubicBezTo>
                  <a:cubicBezTo>
                    <a:pt x="568" y="313"/>
                    <a:pt x="568" y="313"/>
                    <a:pt x="568" y="313"/>
                  </a:cubicBezTo>
                  <a:cubicBezTo>
                    <a:pt x="566" y="328"/>
                    <a:pt x="566" y="328"/>
                    <a:pt x="566" y="328"/>
                  </a:cubicBezTo>
                  <a:cubicBezTo>
                    <a:pt x="562" y="336"/>
                    <a:pt x="562" y="336"/>
                    <a:pt x="562" y="336"/>
                  </a:cubicBezTo>
                  <a:cubicBezTo>
                    <a:pt x="551" y="337"/>
                    <a:pt x="551" y="337"/>
                    <a:pt x="551" y="337"/>
                  </a:cubicBezTo>
                  <a:cubicBezTo>
                    <a:pt x="546" y="332"/>
                    <a:pt x="546" y="332"/>
                    <a:pt x="546" y="332"/>
                  </a:cubicBezTo>
                  <a:cubicBezTo>
                    <a:pt x="540" y="332"/>
                    <a:pt x="540" y="332"/>
                    <a:pt x="540" y="332"/>
                  </a:cubicBezTo>
                  <a:cubicBezTo>
                    <a:pt x="531" y="338"/>
                    <a:pt x="531" y="338"/>
                    <a:pt x="531" y="338"/>
                  </a:cubicBezTo>
                  <a:cubicBezTo>
                    <a:pt x="520" y="348"/>
                    <a:pt x="520" y="348"/>
                    <a:pt x="520" y="348"/>
                  </a:cubicBezTo>
                  <a:cubicBezTo>
                    <a:pt x="515" y="350"/>
                    <a:pt x="515" y="350"/>
                    <a:pt x="515" y="350"/>
                  </a:cubicBezTo>
                  <a:cubicBezTo>
                    <a:pt x="515" y="370"/>
                    <a:pt x="515" y="370"/>
                    <a:pt x="515" y="370"/>
                  </a:cubicBezTo>
                  <a:cubicBezTo>
                    <a:pt x="518" y="388"/>
                    <a:pt x="518" y="388"/>
                    <a:pt x="518" y="388"/>
                  </a:cubicBezTo>
                  <a:cubicBezTo>
                    <a:pt x="518" y="416"/>
                    <a:pt x="518" y="416"/>
                    <a:pt x="518" y="416"/>
                  </a:cubicBezTo>
                  <a:cubicBezTo>
                    <a:pt x="520" y="422"/>
                    <a:pt x="520" y="422"/>
                    <a:pt x="520" y="422"/>
                  </a:cubicBezTo>
                  <a:cubicBezTo>
                    <a:pt x="530" y="418"/>
                    <a:pt x="530" y="418"/>
                    <a:pt x="530" y="418"/>
                  </a:cubicBezTo>
                  <a:cubicBezTo>
                    <a:pt x="536" y="416"/>
                    <a:pt x="536" y="416"/>
                    <a:pt x="536" y="416"/>
                  </a:cubicBezTo>
                  <a:cubicBezTo>
                    <a:pt x="540" y="423"/>
                    <a:pt x="540" y="423"/>
                    <a:pt x="540" y="423"/>
                  </a:cubicBezTo>
                  <a:cubicBezTo>
                    <a:pt x="551" y="418"/>
                    <a:pt x="551" y="418"/>
                    <a:pt x="551" y="418"/>
                  </a:cubicBezTo>
                  <a:cubicBezTo>
                    <a:pt x="560" y="416"/>
                    <a:pt x="560" y="416"/>
                    <a:pt x="560" y="416"/>
                  </a:cubicBezTo>
                  <a:cubicBezTo>
                    <a:pt x="570" y="425"/>
                    <a:pt x="570" y="425"/>
                    <a:pt x="570" y="425"/>
                  </a:cubicBezTo>
                  <a:cubicBezTo>
                    <a:pt x="580" y="430"/>
                    <a:pt x="580" y="430"/>
                    <a:pt x="580" y="430"/>
                  </a:cubicBezTo>
                  <a:cubicBezTo>
                    <a:pt x="589" y="432"/>
                    <a:pt x="589" y="432"/>
                    <a:pt x="589" y="432"/>
                  </a:cubicBezTo>
                  <a:cubicBezTo>
                    <a:pt x="594" y="435"/>
                    <a:pt x="594" y="435"/>
                    <a:pt x="594" y="435"/>
                  </a:cubicBezTo>
                  <a:cubicBezTo>
                    <a:pt x="591" y="440"/>
                    <a:pt x="591" y="440"/>
                    <a:pt x="591" y="440"/>
                  </a:cubicBezTo>
                  <a:cubicBezTo>
                    <a:pt x="582" y="449"/>
                    <a:pt x="582" y="449"/>
                    <a:pt x="582" y="449"/>
                  </a:cubicBezTo>
                  <a:cubicBezTo>
                    <a:pt x="576" y="456"/>
                    <a:pt x="576" y="456"/>
                    <a:pt x="576" y="456"/>
                  </a:cubicBezTo>
                  <a:cubicBezTo>
                    <a:pt x="572" y="461"/>
                    <a:pt x="572" y="461"/>
                    <a:pt x="572" y="461"/>
                  </a:cubicBezTo>
                  <a:cubicBezTo>
                    <a:pt x="567" y="462"/>
                    <a:pt x="567" y="462"/>
                    <a:pt x="567" y="462"/>
                  </a:cubicBezTo>
                  <a:cubicBezTo>
                    <a:pt x="564" y="468"/>
                    <a:pt x="564" y="468"/>
                    <a:pt x="564" y="468"/>
                  </a:cubicBezTo>
                  <a:cubicBezTo>
                    <a:pt x="565" y="476"/>
                    <a:pt x="565" y="476"/>
                    <a:pt x="565" y="476"/>
                  </a:cubicBezTo>
                  <a:cubicBezTo>
                    <a:pt x="554" y="473"/>
                    <a:pt x="554" y="473"/>
                    <a:pt x="554" y="473"/>
                  </a:cubicBezTo>
                  <a:cubicBezTo>
                    <a:pt x="544" y="463"/>
                    <a:pt x="544" y="463"/>
                    <a:pt x="544" y="463"/>
                  </a:cubicBezTo>
                  <a:cubicBezTo>
                    <a:pt x="531" y="463"/>
                    <a:pt x="531" y="463"/>
                    <a:pt x="531" y="463"/>
                  </a:cubicBezTo>
                  <a:cubicBezTo>
                    <a:pt x="528" y="470"/>
                    <a:pt x="528" y="470"/>
                    <a:pt x="528" y="470"/>
                  </a:cubicBezTo>
                  <a:cubicBezTo>
                    <a:pt x="527" y="479"/>
                    <a:pt x="527" y="479"/>
                    <a:pt x="527" y="479"/>
                  </a:cubicBezTo>
                  <a:cubicBezTo>
                    <a:pt x="536" y="486"/>
                    <a:pt x="536" y="486"/>
                    <a:pt x="536" y="486"/>
                  </a:cubicBezTo>
                  <a:cubicBezTo>
                    <a:pt x="539" y="492"/>
                    <a:pt x="539" y="492"/>
                    <a:pt x="539" y="492"/>
                  </a:cubicBezTo>
                  <a:cubicBezTo>
                    <a:pt x="544" y="502"/>
                    <a:pt x="544" y="502"/>
                    <a:pt x="544" y="502"/>
                  </a:cubicBezTo>
                  <a:cubicBezTo>
                    <a:pt x="555" y="504"/>
                    <a:pt x="555" y="504"/>
                    <a:pt x="555" y="504"/>
                  </a:cubicBezTo>
                  <a:cubicBezTo>
                    <a:pt x="568" y="497"/>
                    <a:pt x="568" y="497"/>
                    <a:pt x="568" y="497"/>
                  </a:cubicBezTo>
                  <a:cubicBezTo>
                    <a:pt x="574" y="488"/>
                    <a:pt x="574" y="488"/>
                    <a:pt x="574" y="488"/>
                  </a:cubicBezTo>
                  <a:cubicBezTo>
                    <a:pt x="586" y="477"/>
                    <a:pt x="586" y="477"/>
                    <a:pt x="586" y="477"/>
                  </a:cubicBezTo>
                  <a:cubicBezTo>
                    <a:pt x="591" y="479"/>
                    <a:pt x="591" y="479"/>
                    <a:pt x="591" y="479"/>
                  </a:cubicBezTo>
                  <a:cubicBezTo>
                    <a:pt x="598" y="487"/>
                    <a:pt x="598" y="487"/>
                    <a:pt x="598" y="487"/>
                  </a:cubicBezTo>
                  <a:cubicBezTo>
                    <a:pt x="612" y="499"/>
                    <a:pt x="612" y="499"/>
                    <a:pt x="612" y="499"/>
                  </a:cubicBezTo>
                  <a:cubicBezTo>
                    <a:pt x="625" y="505"/>
                    <a:pt x="625" y="505"/>
                    <a:pt x="625" y="505"/>
                  </a:cubicBezTo>
                  <a:cubicBezTo>
                    <a:pt x="640" y="509"/>
                    <a:pt x="640" y="509"/>
                    <a:pt x="640" y="509"/>
                  </a:cubicBezTo>
                  <a:cubicBezTo>
                    <a:pt x="641" y="521"/>
                    <a:pt x="641" y="521"/>
                    <a:pt x="641" y="521"/>
                  </a:cubicBezTo>
                  <a:cubicBezTo>
                    <a:pt x="646" y="543"/>
                    <a:pt x="646" y="543"/>
                    <a:pt x="646" y="543"/>
                  </a:cubicBezTo>
                  <a:cubicBezTo>
                    <a:pt x="650" y="559"/>
                    <a:pt x="650" y="559"/>
                    <a:pt x="650" y="559"/>
                  </a:cubicBezTo>
                  <a:cubicBezTo>
                    <a:pt x="648" y="565"/>
                    <a:pt x="648" y="565"/>
                    <a:pt x="648" y="565"/>
                  </a:cubicBezTo>
                  <a:cubicBezTo>
                    <a:pt x="661" y="561"/>
                    <a:pt x="661" y="561"/>
                    <a:pt x="661" y="561"/>
                  </a:cubicBezTo>
                  <a:cubicBezTo>
                    <a:pt x="671" y="553"/>
                    <a:pt x="671" y="553"/>
                    <a:pt x="671" y="553"/>
                  </a:cubicBezTo>
                  <a:cubicBezTo>
                    <a:pt x="671" y="553"/>
                    <a:pt x="681" y="541"/>
                    <a:pt x="681" y="538"/>
                  </a:cubicBezTo>
                  <a:cubicBezTo>
                    <a:pt x="680" y="535"/>
                    <a:pt x="691" y="524"/>
                    <a:pt x="691" y="524"/>
                  </a:cubicBezTo>
                  <a:cubicBezTo>
                    <a:pt x="701" y="514"/>
                    <a:pt x="701" y="514"/>
                    <a:pt x="701" y="514"/>
                  </a:cubicBezTo>
                  <a:cubicBezTo>
                    <a:pt x="713" y="511"/>
                    <a:pt x="713" y="511"/>
                    <a:pt x="713" y="511"/>
                  </a:cubicBezTo>
                  <a:cubicBezTo>
                    <a:pt x="733" y="509"/>
                    <a:pt x="733" y="509"/>
                    <a:pt x="733" y="509"/>
                  </a:cubicBezTo>
                  <a:cubicBezTo>
                    <a:pt x="744" y="502"/>
                    <a:pt x="744" y="502"/>
                    <a:pt x="744" y="502"/>
                  </a:cubicBezTo>
                  <a:cubicBezTo>
                    <a:pt x="757" y="488"/>
                    <a:pt x="757" y="488"/>
                    <a:pt x="757" y="488"/>
                  </a:cubicBezTo>
                  <a:cubicBezTo>
                    <a:pt x="766" y="474"/>
                    <a:pt x="766" y="474"/>
                    <a:pt x="766" y="474"/>
                  </a:cubicBezTo>
                  <a:cubicBezTo>
                    <a:pt x="776" y="469"/>
                    <a:pt x="776" y="469"/>
                    <a:pt x="776" y="469"/>
                  </a:cubicBezTo>
                  <a:cubicBezTo>
                    <a:pt x="785" y="464"/>
                    <a:pt x="785" y="464"/>
                    <a:pt x="785" y="464"/>
                  </a:cubicBezTo>
                  <a:cubicBezTo>
                    <a:pt x="796" y="455"/>
                    <a:pt x="796" y="455"/>
                    <a:pt x="796" y="455"/>
                  </a:cubicBezTo>
                  <a:cubicBezTo>
                    <a:pt x="807" y="461"/>
                    <a:pt x="807" y="461"/>
                    <a:pt x="807" y="461"/>
                  </a:cubicBezTo>
                  <a:cubicBezTo>
                    <a:pt x="828" y="450"/>
                    <a:pt x="828" y="450"/>
                    <a:pt x="828" y="450"/>
                  </a:cubicBezTo>
                  <a:cubicBezTo>
                    <a:pt x="832" y="463"/>
                    <a:pt x="832" y="463"/>
                    <a:pt x="832" y="463"/>
                  </a:cubicBezTo>
                  <a:cubicBezTo>
                    <a:pt x="834" y="483"/>
                    <a:pt x="834" y="483"/>
                    <a:pt x="834" y="483"/>
                  </a:cubicBezTo>
                  <a:cubicBezTo>
                    <a:pt x="835" y="501"/>
                    <a:pt x="835" y="501"/>
                    <a:pt x="835" y="501"/>
                  </a:cubicBezTo>
                  <a:cubicBezTo>
                    <a:pt x="828" y="511"/>
                    <a:pt x="828" y="511"/>
                    <a:pt x="828" y="511"/>
                  </a:cubicBezTo>
                  <a:cubicBezTo>
                    <a:pt x="818" y="524"/>
                    <a:pt x="818" y="524"/>
                    <a:pt x="818" y="524"/>
                  </a:cubicBezTo>
                  <a:cubicBezTo>
                    <a:pt x="818" y="524"/>
                    <a:pt x="820" y="538"/>
                    <a:pt x="820" y="541"/>
                  </a:cubicBezTo>
                  <a:cubicBezTo>
                    <a:pt x="819" y="544"/>
                    <a:pt x="820" y="555"/>
                    <a:pt x="820" y="555"/>
                  </a:cubicBezTo>
                  <a:cubicBezTo>
                    <a:pt x="820" y="555"/>
                    <a:pt x="814" y="561"/>
                    <a:pt x="812" y="563"/>
                  </a:cubicBezTo>
                  <a:cubicBezTo>
                    <a:pt x="810" y="564"/>
                    <a:pt x="800" y="564"/>
                    <a:pt x="800" y="564"/>
                  </a:cubicBezTo>
                  <a:cubicBezTo>
                    <a:pt x="796" y="569"/>
                    <a:pt x="796" y="569"/>
                    <a:pt x="796" y="569"/>
                  </a:cubicBezTo>
                  <a:cubicBezTo>
                    <a:pt x="797" y="581"/>
                    <a:pt x="797" y="581"/>
                    <a:pt x="797" y="581"/>
                  </a:cubicBezTo>
                  <a:cubicBezTo>
                    <a:pt x="804" y="590"/>
                    <a:pt x="804" y="590"/>
                    <a:pt x="804" y="590"/>
                  </a:cubicBezTo>
                  <a:cubicBezTo>
                    <a:pt x="804" y="601"/>
                    <a:pt x="804" y="601"/>
                    <a:pt x="804" y="601"/>
                  </a:cubicBezTo>
                  <a:cubicBezTo>
                    <a:pt x="799" y="611"/>
                    <a:pt x="799" y="611"/>
                    <a:pt x="799" y="611"/>
                  </a:cubicBezTo>
                  <a:cubicBezTo>
                    <a:pt x="799" y="634"/>
                    <a:pt x="799" y="634"/>
                    <a:pt x="799" y="634"/>
                  </a:cubicBezTo>
                  <a:cubicBezTo>
                    <a:pt x="809" y="644"/>
                    <a:pt x="809" y="644"/>
                    <a:pt x="809" y="644"/>
                  </a:cubicBezTo>
                  <a:cubicBezTo>
                    <a:pt x="809" y="653"/>
                    <a:pt x="809" y="653"/>
                    <a:pt x="809" y="653"/>
                  </a:cubicBezTo>
                  <a:cubicBezTo>
                    <a:pt x="813" y="673"/>
                    <a:pt x="813" y="673"/>
                    <a:pt x="813" y="673"/>
                  </a:cubicBezTo>
                  <a:cubicBezTo>
                    <a:pt x="810" y="682"/>
                    <a:pt x="810" y="682"/>
                    <a:pt x="810" y="682"/>
                  </a:cubicBezTo>
                  <a:cubicBezTo>
                    <a:pt x="796" y="691"/>
                    <a:pt x="796" y="691"/>
                    <a:pt x="796" y="691"/>
                  </a:cubicBezTo>
                  <a:cubicBezTo>
                    <a:pt x="787" y="700"/>
                    <a:pt x="787" y="700"/>
                    <a:pt x="787" y="700"/>
                  </a:cubicBezTo>
                  <a:cubicBezTo>
                    <a:pt x="794" y="714"/>
                    <a:pt x="794" y="714"/>
                    <a:pt x="794" y="714"/>
                  </a:cubicBezTo>
                  <a:cubicBezTo>
                    <a:pt x="788" y="724"/>
                    <a:pt x="788" y="724"/>
                    <a:pt x="788" y="724"/>
                  </a:cubicBezTo>
                  <a:cubicBezTo>
                    <a:pt x="782" y="736"/>
                    <a:pt x="782" y="736"/>
                    <a:pt x="782" y="736"/>
                  </a:cubicBezTo>
                  <a:cubicBezTo>
                    <a:pt x="770" y="754"/>
                    <a:pt x="770" y="754"/>
                    <a:pt x="770" y="754"/>
                  </a:cubicBezTo>
                  <a:cubicBezTo>
                    <a:pt x="755" y="768"/>
                    <a:pt x="755" y="768"/>
                    <a:pt x="755" y="768"/>
                  </a:cubicBezTo>
                  <a:cubicBezTo>
                    <a:pt x="736" y="786"/>
                    <a:pt x="736" y="786"/>
                    <a:pt x="736" y="786"/>
                  </a:cubicBezTo>
                  <a:cubicBezTo>
                    <a:pt x="719" y="800"/>
                    <a:pt x="719" y="800"/>
                    <a:pt x="719" y="800"/>
                  </a:cubicBezTo>
                  <a:cubicBezTo>
                    <a:pt x="696" y="814"/>
                    <a:pt x="696" y="814"/>
                    <a:pt x="696" y="814"/>
                  </a:cubicBezTo>
                  <a:cubicBezTo>
                    <a:pt x="678" y="827"/>
                    <a:pt x="678" y="827"/>
                    <a:pt x="678" y="827"/>
                  </a:cubicBezTo>
                  <a:cubicBezTo>
                    <a:pt x="675" y="829"/>
                    <a:pt x="675" y="829"/>
                    <a:pt x="675" y="829"/>
                  </a:cubicBezTo>
                  <a:cubicBezTo>
                    <a:pt x="673" y="823"/>
                    <a:pt x="668" y="815"/>
                    <a:pt x="667" y="808"/>
                  </a:cubicBezTo>
                  <a:cubicBezTo>
                    <a:pt x="666" y="806"/>
                    <a:pt x="666" y="803"/>
                    <a:pt x="666" y="800"/>
                  </a:cubicBezTo>
                  <a:cubicBezTo>
                    <a:pt x="665" y="795"/>
                    <a:pt x="665" y="788"/>
                    <a:pt x="663" y="784"/>
                  </a:cubicBezTo>
                  <a:cubicBezTo>
                    <a:pt x="661" y="779"/>
                    <a:pt x="656" y="773"/>
                    <a:pt x="653" y="769"/>
                  </a:cubicBezTo>
                  <a:cubicBezTo>
                    <a:pt x="651" y="766"/>
                    <a:pt x="648" y="762"/>
                    <a:pt x="646" y="759"/>
                  </a:cubicBezTo>
                  <a:cubicBezTo>
                    <a:pt x="644" y="758"/>
                    <a:pt x="642" y="757"/>
                    <a:pt x="640" y="756"/>
                  </a:cubicBezTo>
                  <a:cubicBezTo>
                    <a:pt x="638" y="753"/>
                    <a:pt x="637" y="748"/>
                    <a:pt x="635" y="745"/>
                  </a:cubicBezTo>
                  <a:cubicBezTo>
                    <a:pt x="634" y="742"/>
                    <a:pt x="632" y="739"/>
                    <a:pt x="632" y="736"/>
                  </a:cubicBezTo>
                  <a:cubicBezTo>
                    <a:pt x="631" y="733"/>
                    <a:pt x="632" y="728"/>
                    <a:pt x="632" y="725"/>
                  </a:cubicBezTo>
                  <a:cubicBezTo>
                    <a:pt x="632" y="723"/>
                    <a:pt x="632" y="720"/>
                    <a:pt x="632" y="717"/>
                  </a:cubicBezTo>
                  <a:cubicBezTo>
                    <a:pt x="631" y="715"/>
                    <a:pt x="630" y="711"/>
                    <a:pt x="629" y="708"/>
                  </a:cubicBezTo>
                  <a:cubicBezTo>
                    <a:pt x="628" y="705"/>
                    <a:pt x="625" y="700"/>
                    <a:pt x="624" y="697"/>
                  </a:cubicBezTo>
                  <a:cubicBezTo>
                    <a:pt x="623" y="694"/>
                    <a:pt x="621" y="691"/>
                    <a:pt x="619" y="688"/>
                  </a:cubicBezTo>
                  <a:cubicBezTo>
                    <a:pt x="618" y="686"/>
                    <a:pt x="615" y="684"/>
                    <a:pt x="614" y="682"/>
                  </a:cubicBezTo>
                  <a:cubicBezTo>
                    <a:pt x="612" y="679"/>
                    <a:pt x="611" y="674"/>
                    <a:pt x="609" y="671"/>
                  </a:cubicBezTo>
                  <a:cubicBezTo>
                    <a:pt x="607" y="667"/>
                    <a:pt x="603" y="663"/>
                    <a:pt x="600" y="660"/>
                  </a:cubicBezTo>
                  <a:cubicBezTo>
                    <a:pt x="598" y="658"/>
                    <a:pt x="594" y="657"/>
                    <a:pt x="592" y="655"/>
                  </a:cubicBezTo>
                  <a:cubicBezTo>
                    <a:pt x="591" y="654"/>
                    <a:pt x="590" y="651"/>
                    <a:pt x="590" y="649"/>
                  </a:cubicBezTo>
                  <a:cubicBezTo>
                    <a:pt x="588" y="646"/>
                    <a:pt x="586" y="642"/>
                    <a:pt x="585" y="638"/>
                  </a:cubicBezTo>
                  <a:cubicBezTo>
                    <a:pt x="585" y="636"/>
                    <a:pt x="585" y="633"/>
                    <a:pt x="584" y="631"/>
                  </a:cubicBezTo>
                  <a:cubicBezTo>
                    <a:pt x="582" y="629"/>
                    <a:pt x="579" y="627"/>
                    <a:pt x="577" y="625"/>
                  </a:cubicBezTo>
                  <a:cubicBezTo>
                    <a:pt x="575" y="623"/>
                    <a:pt x="573" y="620"/>
                    <a:pt x="571" y="618"/>
                  </a:cubicBezTo>
                  <a:cubicBezTo>
                    <a:pt x="570" y="617"/>
                    <a:pt x="568" y="614"/>
                    <a:pt x="568" y="613"/>
                  </a:cubicBezTo>
                  <a:cubicBezTo>
                    <a:pt x="557" y="588"/>
                    <a:pt x="557" y="588"/>
                    <a:pt x="557" y="588"/>
                  </a:cubicBezTo>
                  <a:cubicBezTo>
                    <a:pt x="515" y="584"/>
                    <a:pt x="515" y="584"/>
                    <a:pt x="515" y="584"/>
                  </a:cubicBezTo>
                  <a:cubicBezTo>
                    <a:pt x="408" y="561"/>
                    <a:pt x="408" y="561"/>
                    <a:pt x="408" y="561"/>
                  </a:cubicBezTo>
                  <a:cubicBezTo>
                    <a:pt x="300" y="566"/>
                    <a:pt x="300" y="566"/>
                    <a:pt x="300" y="566"/>
                  </a:cubicBezTo>
                  <a:cubicBezTo>
                    <a:pt x="182" y="608"/>
                    <a:pt x="182" y="608"/>
                    <a:pt x="182" y="608"/>
                  </a:cubicBezTo>
                  <a:cubicBezTo>
                    <a:pt x="126" y="655"/>
                    <a:pt x="126" y="655"/>
                    <a:pt x="126" y="655"/>
                  </a:cubicBezTo>
                  <a:cubicBezTo>
                    <a:pt x="103" y="645"/>
                    <a:pt x="103" y="645"/>
                    <a:pt x="103" y="645"/>
                  </a:cubicBezTo>
                  <a:cubicBezTo>
                    <a:pt x="87" y="635"/>
                    <a:pt x="87" y="635"/>
                    <a:pt x="87" y="635"/>
                  </a:cubicBezTo>
                  <a:cubicBezTo>
                    <a:pt x="72" y="631"/>
                    <a:pt x="72" y="631"/>
                    <a:pt x="72" y="631"/>
                  </a:cubicBezTo>
                  <a:cubicBezTo>
                    <a:pt x="68" y="644"/>
                    <a:pt x="68" y="644"/>
                    <a:pt x="68" y="644"/>
                  </a:cubicBezTo>
                  <a:cubicBezTo>
                    <a:pt x="76" y="647"/>
                    <a:pt x="76" y="647"/>
                    <a:pt x="76" y="647"/>
                  </a:cubicBezTo>
                  <a:cubicBezTo>
                    <a:pt x="88" y="653"/>
                    <a:pt x="88" y="653"/>
                    <a:pt x="88" y="653"/>
                  </a:cubicBezTo>
                  <a:cubicBezTo>
                    <a:pt x="87" y="663"/>
                    <a:pt x="87" y="663"/>
                    <a:pt x="87" y="663"/>
                  </a:cubicBezTo>
                  <a:cubicBezTo>
                    <a:pt x="96" y="666"/>
                    <a:pt x="96" y="666"/>
                    <a:pt x="96" y="666"/>
                  </a:cubicBezTo>
                </a:path>
              </a:pathLst>
            </a:custGeom>
            <a:pattFill prst="dkVert">
              <a:fgClr>
                <a:schemeClr val="accent2"/>
              </a:fgClr>
              <a:bgClr>
                <a:schemeClr val="bg1"/>
              </a:bgClr>
            </a:patt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86" name="Freeform 36">
              <a:extLst>
                <a:ext uri="{FF2B5EF4-FFF2-40B4-BE49-F238E27FC236}">
                  <a16:creationId xmlns:a16="http://schemas.microsoft.com/office/drawing/2014/main" id="{7F207B99-25A8-4ECE-B137-5493C2658030}"/>
                </a:ext>
              </a:extLst>
            </p:cNvPr>
            <p:cNvSpPr>
              <a:spLocks/>
            </p:cNvSpPr>
            <p:nvPr/>
          </p:nvSpPr>
          <p:spPr bwMode="gray">
            <a:xfrm>
              <a:off x="6939" y="3964"/>
              <a:ext cx="2835" cy="1918"/>
            </a:xfrm>
            <a:custGeom>
              <a:avLst/>
              <a:gdLst>
                <a:gd name="T0" fmla="*/ 1150 w 1200"/>
                <a:gd name="T1" fmla="*/ 169 h 812"/>
                <a:gd name="T2" fmla="*/ 1184 w 1200"/>
                <a:gd name="T3" fmla="*/ 153 h 812"/>
                <a:gd name="T4" fmla="*/ 1177 w 1200"/>
                <a:gd name="T5" fmla="*/ 122 h 812"/>
                <a:gd name="T6" fmla="*/ 1155 w 1200"/>
                <a:gd name="T7" fmla="*/ 81 h 812"/>
                <a:gd name="T8" fmla="*/ 1161 w 1200"/>
                <a:gd name="T9" fmla="*/ 1 h 812"/>
                <a:gd name="T10" fmla="*/ 1124 w 1200"/>
                <a:gd name="T11" fmla="*/ 55 h 812"/>
                <a:gd name="T12" fmla="*/ 1089 w 1200"/>
                <a:gd name="T13" fmla="*/ 105 h 812"/>
                <a:gd name="T14" fmla="*/ 997 w 1200"/>
                <a:gd name="T15" fmla="*/ 144 h 812"/>
                <a:gd name="T16" fmla="*/ 920 w 1200"/>
                <a:gd name="T17" fmla="*/ 112 h 812"/>
                <a:gd name="T18" fmla="*/ 861 w 1200"/>
                <a:gd name="T19" fmla="*/ 111 h 812"/>
                <a:gd name="T20" fmla="*/ 799 w 1200"/>
                <a:gd name="T21" fmla="*/ 182 h 812"/>
                <a:gd name="T22" fmla="*/ 649 w 1200"/>
                <a:gd name="T23" fmla="*/ 239 h 812"/>
                <a:gd name="T24" fmla="*/ 582 w 1200"/>
                <a:gd name="T25" fmla="*/ 251 h 812"/>
                <a:gd name="T26" fmla="*/ 552 w 1200"/>
                <a:gd name="T27" fmla="*/ 269 h 812"/>
                <a:gd name="T28" fmla="*/ 488 w 1200"/>
                <a:gd name="T29" fmla="*/ 286 h 812"/>
                <a:gd name="T30" fmla="*/ 396 w 1200"/>
                <a:gd name="T31" fmla="*/ 325 h 812"/>
                <a:gd name="T32" fmla="*/ 357 w 1200"/>
                <a:gd name="T33" fmla="*/ 299 h 812"/>
                <a:gd name="T34" fmla="*/ 315 w 1200"/>
                <a:gd name="T35" fmla="*/ 338 h 812"/>
                <a:gd name="T36" fmla="*/ 287 w 1200"/>
                <a:gd name="T37" fmla="*/ 392 h 812"/>
                <a:gd name="T38" fmla="*/ 201 w 1200"/>
                <a:gd name="T39" fmla="*/ 470 h 812"/>
                <a:gd name="T40" fmla="*/ 168 w 1200"/>
                <a:gd name="T41" fmla="*/ 440 h 812"/>
                <a:gd name="T42" fmla="*/ 137 w 1200"/>
                <a:gd name="T43" fmla="*/ 392 h 812"/>
                <a:gd name="T44" fmla="*/ 124 w 1200"/>
                <a:gd name="T45" fmla="*/ 344 h 812"/>
                <a:gd name="T46" fmla="*/ 95 w 1200"/>
                <a:gd name="T47" fmla="*/ 305 h 812"/>
                <a:gd name="T48" fmla="*/ 73 w 1200"/>
                <a:gd name="T49" fmla="*/ 269 h 812"/>
                <a:gd name="T50" fmla="*/ 20 w 1200"/>
                <a:gd name="T51" fmla="*/ 293 h 812"/>
                <a:gd name="T52" fmla="*/ 16 w 1200"/>
                <a:gd name="T53" fmla="*/ 333 h 812"/>
                <a:gd name="T54" fmla="*/ 46 w 1200"/>
                <a:gd name="T55" fmla="*/ 361 h 812"/>
                <a:gd name="T56" fmla="*/ 50 w 1200"/>
                <a:gd name="T57" fmla="*/ 418 h 812"/>
                <a:gd name="T58" fmla="*/ 20 w 1200"/>
                <a:gd name="T59" fmla="*/ 496 h 812"/>
                <a:gd name="T60" fmla="*/ 40 w 1200"/>
                <a:gd name="T61" fmla="*/ 530 h 812"/>
                <a:gd name="T62" fmla="*/ 93 w 1200"/>
                <a:gd name="T63" fmla="*/ 546 h 812"/>
                <a:gd name="T64" fmla="*/ 81 w 1200"/>
                <a:gd name="T65" fmla="*/ 604 h 812"/>
                <a:gd name="T66" fmla="*/ 101 w 1200"/>
                <a:gd name="T67" fmla="*/ 592 h 812"/>
                <a:gd name="T68" fmla="*/ 139 w 1200"/>
                <a:gd name="T69" fmla="*/ 620 h 812"/>
                <a:gd name="T70" fmla="*/ 174 w 1200"/>
                <a:gd name="T71" fmla="*/ 703 h 812"/>
                <a:gd name="T72" fmla="*/ 206 w 1200"/>
                <a:gd name="T73" fmla="*/ 748 h 812"/>
                <a:gd name="T74" fmla="*/ 242 w 1200"/>
                <a:gd name="T75" fmla="*/ 812 h 812"/>
                <a:gd name="T76" fmla="*/ 291 w 1200"/>
                <a:gd name="T77" fmla="*/ 799 h 812"/>
                <a:gd name="T78" fmla="*/ 313 w 1200"/>
                <a:gd name="T79" fmla="*/ 780 h 812"/>
                <a:gd name="T80" fmla="*/ 356 w 1200"/>
                <a:gd name="T81" fmla="*/ 770 h 812"/>
                <a:gd name="T82" fmla="*/ 410 w 1200"/>
                <a:gd name="T83" fmla="*/ 755 h 812"/>
                <a:gd name="T84" fmla="*/ 456 w 1200"/>
                <a:gd name="T85" fmla="*/ 756 h 812"/>
                <a:gd name="T86" fmla="*/ 493 w 1200"/>
                <a:gd name="T87" fmla="*/ 727 h 812"/>
                <a:gd name="T88" fmla="*/ 529 w 1200"/>
                <a:gd name="T89" fmla="*/ 702 h 812"/>
                <a:gd name="T90" fmla="*/ 555 w 1200"/>
                <a:gd name="T91" fmla="*/ 677 h 812"/>
                <a:gd name="T92" fmla="*/ 613 w 1200"/>
                <a:gd name="T93" fmla="*/ 689 h 812"/>
                <a:gd name="T94" fmla="*/ 663 w 1200"/>
                <a:gd name="T95" fmla="*/ 717 h 812"/>
                <a:gd name="T96" fmla="*/ 701 w 1200"/>
                <a:gd name="T97" fmla="*/ 727 h 812"/>
                <a:gd name="T98" fmla="*/ 768 w 1200"/>
                <a:gd name="T99" fmla="*/ 739 h 812"/>
                <a:gd name="T100" fmla="*/ 792 w 1200"/>
                <a:gd name="T101" fmla="*/ 679 h 812"/>
                <a:gd name="T102" fmla="*/ 883 w 1200"/>
                <a:gd name="T103" fmla="*/ 627 h 812"/>
                <a:gd name="T104" fmla="*/ 903 w 1200"/>
                <a:gd name="T105" fmla="*/ 564 h 812"/>
                <a:gd name="T106" fmla="*/ 956 w 1200"/>
                <a:gd name="T107" fmla="*/ 533 h 812"/>
                <a:gd name="T108" fmla="*/ 984 w 1200"/>
                <a:gd name="T109" fmla="*/ 492 h 812"/>
                <a:gd name="T110" fmla="*/ 958 w 1200"/>
                <a:gd name="T111" fmla="*/ 430 h 812"/>
                <a:gd name="T112" fmla="*/ 950 w 1200"/>
                <a:gd name="T113" fmla="*/ 373 h 812"/>
                <a:gd name="T114" fmla="*/ 1008 w 1200"/>
                <a:gd name="T115" fmla="*/ 361 h 812"/>
                <a:gd name="T116" fmla="*/ 1047 w 1200"/>
                <a:gd name="T117" fmla="*/ 317 h 812"/>
                <a:gd name="T118" fmla="*/ 1091 w 1200"/>
                <a:gd name="T119" fmla="*/ 268 h 812"/>
                <a:gd name="T120" fmla="*/ 1095 w 1200"/>
                <a:gd name="T121" fmla="*/ 234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0" h="812">
                  <a:moveTo>
                    <a:pt x="1139" y="210"/>
                  </a:moveTo>
                  <a:cubicBezTo>
                    <a:pt x="1144" y="190"/>
                    <a:pt x="1144" y="190"/>
                    <a:pt x="1144" y="190"/>
                  </a:cubicBezTo>
                  <a:cubicBezTo>
                    <a:pt x="1144" y="180"/>
                    <a:pt x="1144" y="180"/>
                    <a:pt x="1144" y="180"/>
                  </a:cubicBezTo>
                  <a:cubicBezTo>
                    <a:pt x="1143" y="167"/>
                    <a:pt x="1143" y="167"/>
                    <a:pt x="1143" y="167"/>
                  </a:cubicBezTo>
                  <a:cubicBezTo>
                    <a:pt x="1150" y="169"/>
                    <a:pt x="1150" y="169"/>
                    <a:pt x="1150" y="169"/>
                  </a:cubicBezTo>
                  <a:cubicBezTo>
                    <a:pt x="1162" y="169"/>
                    <a:pt x="1162" y="169"/>
                    <a:pt x="1162" y="169"/>
                  </a:cubicBezTo>
                  <a:cubicBezTo>
                    <a:pt x="1172" y="170"/>
                    <a:pt x="1172" y="170"/>
                    <a:pt x="1172" y="170"/>
                  </a:cubicBezTo>
                  <a:cubicBezTo>
                    <a:pt x="1177" y="168"/>
                    <a:pt x="1177" y="168"/>
                    <a:pt x="1177" y="168"/>
                  </a:cubicBezTo>
                  <a:cubicBezTo>
                    <a:pt x="1181" y="161"/>
                    <a:pt x="1181" y="161"/>
                    <a:pt x="1181" y="161"/>
                  </a:cubicBezTo>
                  <a:cubicBezTo>
                    <a:pt x="1184" y="153"/>
                    <a:pt x="1184" y="153"/>
                    <a:pt x="1184" y="153"/>
                  </a:cubicBezTo>
                  <a:cubicBezTo>
                    <a:pt x="1195" y="142"/>
                    <a:pt x="1195" y="142"/>
                    <a:pt x="1195" y="142"/>
                  </a:cubicBezTo>
                  <a:cubicBezTo>
                    <a:pt x="1200" y="131"/>
                    <a:pt x="1200" y="131"/>
                    <a:pt x="1200" y="131"/>
                  </a:cubicBezTo>
                  <a:cubicBezTo>
                    <a:pt x="1191" y="130"/>
                    <a:pt x="1191" y="130"/>
                    <a:pt x="1191" y="130"/>
                  </a:cubicBezTo>
                  <a:cubicBezTo>
                    <a:pt x="1184" y="126"/>
                    <a:pt x="1184" y="126"/>
                    <a:pt x="1184" y="126"/>
                  </a:cubicBezTo>
                  <a:cubicBezTo>
                    <a:pt x="1177" y="122"/>
                    <a:pt x="1177" y="122"/>
                    <a:pt x="1177" y="122"/>
                  </a:cubicBezTo>
                  <a:cubicBezTo>
                    <a:pt x="1173" y="116"/>
                    <a:pt x="1173" y="116"/>
                    <a:pt x="1173" y="116"/>
                  </a:cubicBezTo>
                  <a:cubicBezTo>
                    <a:pt x="1169" y="107"/>
                    <a:pt x="1169" y="107"/>
                    <a:pt x="1169" y="107"/>
                  </a:cubicBezTo>
                  <a:cubicBezTo>
                    <a:pt x="1166" y="100"/>
                    <a:pt x="1166" y="100"/>
                    <a:pt x="1166" y="100"/>
                  </a:cubicBezTo>
                  <a:cubicBezTo>
                    <a:pt x="1158" y="87"/>
                    <a:pt x="1158" y="87"/>
                    <a:pt x="1158" y="87"/>
                  </a:cubicBezTo>
                  <a:cubicBezTo>
                    <a:pt x="1155" y="81"/>
                    <a:pt x="1155" y="81"/>
                    <a:pt x="1155" y="81"/>
                  </a:cubicBezTo>
                  <a:cubicBezTo>
                    <a:pt x="1161" y="65"/>
                    <a:pt x="1161" y="65"/>
                    <a:pt x="1161" y="65"/>
                  </a:cubicBezTo>
                  <a:cubicBezTo>
                    <a:pt x="1168" y="47"/>
                    <a:pt x="1168" y="47"/>
                    <a:pt x="1168" y="47"/>
                  </a:cubicBezTo>
                  <a:cubicBezTo>
                    <a:pt x="1170" y="13"/>
                    <a:pt x="1170" y="13"/>
                    <a:pt x="1170" y="13"/>
                  </a:cubicBezTo>
                  <a:cubicBezTo>
                    <a:pt x="1169" y="6"/>
                    <a:pt x="1169" y="6"/>
                    <a:pt x="1169" y="6"/>
                  </a:cubicBezTo>
                  <a:cubicBezTo>
                    <a:pt x="1161" y="1"/>
                    <a:pt x="1161" y="1"/>
                    <a:pt x="1161" y="1"/>
                  </a:cubicBezTo>
                  <a:cubicBezTo>
                    <a:pt x="1156" y="0"/>
                    <a:pt x="1156" y="0"/>
                    <a:pt x="1156" y="0"/>
                  </a:cubicBezTo>
                  <a:cubicBezTo>
                    <a:pt x="1143" y="14"/>
                    <a:pt x="1143" y="14"/>
                    <a:pt x="1143" y="14"/>
                  </a:cubicBezTo>
                  <a:cubicBezTo>
                    <a:pt x="1136" y="24"/>
                    <a:pt x="1136" y="24"/>
                    <a:pt x="1136" y="24"/>
                  </a:cubicBezTo>
                  <a:cubicBezTo>
                    <a:pt x="1128" y="37"/>
                    <a:pt x="1128" y="37"/>
                    <a:pt x="1128" y="37"/>
                  </a:cubicBezTo>
                  <a:cubicBezTo>
                    <a:pt x="1124" y="55"/>
                    <a:pt x="1124" y="55"/>
                    <a:pt x="1124" y="55"/>
                  </a:cubicBezTo>
                  <a:cubicBezTo>
                    <a:pt x="1124" y="72"/>
                    <a:pt x="1124" y="72"/>
                    <a:pt x="1124" y="72"/>
                  </a:cubicBezTo>
                  <a:cubicBezTo>
                    <a:pt x="1122" y="82"/>
                    <a:pt x="1122" y="82"/>
                    <a:pt x="1122" y="82"/>
                  </a:cubicBezTo>
                  <a:cubicBezTo>
                    <a:pt x="1110" y="92"/>
                    <a:pt x="1110" y="92"/>
                    <a:pt x="1110" y="92"/>
                  </a:cubicBezTo>
                  <a:cubicBezTo>
                    <a:pt x="1101" y="99"/>
                    <a:pt x="1101" y="99"/>
                    <a:pt x="1101" y="99"/>
                  </a:cubicBezTo>
                  <a:cubicBezTo>
                    <a:pt x="1089" y="105"/>
                    <a:pt x="1089" y="105"/>
                    <a:pt x="1089" y="105"/>
                  </a:cubicBezTo>
                  <a:cubicBezTo>
                    <a:pt x="1085" y="112"/>
                    <a:pt x="1085" y="112"/>
                    <a:pt x="1085" y="112"/>
                  </a:cubicBezTo>
                  <a:cubicBezTo>
                    <a:pt x="1061" y="127"/>
                    <a:pt x="1061" y="127"/>
                    <a:pt x="1061" y="127"/>
                  </a:cubicBezTo>
                  <a:cubicBezTo>
                    <a:pt x="1046" y="132"/>
                    <a:pt x="1046" y="132"/>
                    <a:pt x="1046" y="132"/>
                  </a:cubicBezTo>
                  <a:cubicBezTo>
                    <a:pt x="1013" y="141"/>
                    <a:pt x="1013" y="141"/>
                    <a:pt x="1013" y="141"/>
                  </a:cubicBezTo>
                  <a:cubicBezTo>
                    <a:pt x="997" y="144"/>
                    <a:pt x="997" y="144"/>
                    <a:pt x="997" y="144"/>
                  </a:cubicBezTo>
                  <a:cubicBezTo>
                    <a:pt x="985" y="133"/>
                    <a:pt x="985" y="133"/>
                    <a:pt x="985" y="133"/>
                  </a:cubicBezTo>
                  <a:cubicBezTo>
                    <a:pt x="965" y="129"/>
                    <a:pt x="965" y="129"/>
                    <a:pt x="965" y="129"/>
                  </a:cubicBezTo>
                  <a:cubicBezTo>
                    <a:pt x="946" y="117"/>
                    <a:pt x="946" y="117"/>
                    <a:pt x="946" y="117"/>
                  </a:cubicBezTo>
                  <a:cubicBezTo>
                    <a:pt x="932" y="111"/>
                    <a:pt x="932" y="111"/>
                    <a:pt x="932" y="111"/>
                  </a:cubicBezTo>
                  <a:cubicBezTo>
                    <a:pt x="920" y="112"/>
                    <a:pt x="920" y="112"/>
                    <a:pt x="920" y="112"/>
                  </a:cubicBezTo>
                  <a:cubicBezTo>
                    <a:pt x="904" y="105"/>
                    <a:pt x="904" y="105"/>
                    <a:pt x="904" y="105"/>
                  </a:cubicBezTo>
                  <a:cubicBezTo>
                    <a:pt x="892" y="98"/>
                    <a:pt x="892" y="98"/>
                    <a:pt x="892" y="98"/>
                  </a:cubicBezTo>
                  <a:cubicBezTo>
                    <a:pt x="882" y="99"/>
                    <a:pt x="882" y="99"/>
                    <a:pt x="882" y="99"/>
                  </a:cubicBezTo>
                  <a:cubicBezTo>
                    <a:pt x="873" y="105"/>
                    <a:pt x="873" y="105"/>
                    <a:pt x="873" y="105"/>
                  </a:cubicBezTo>
                  <a:cubicBezTo>
                    <a:pt x="861" y="111"/>
                    <a:pt x="861" y="111"/>
                    <a:pt x="861" y="111"/>
                  </a:cubicBezTo>
                  <a:cubicBezTo>
                    <a:pt x="847" y="117"/>
                    <a:pt x="847" y="117"/>
                    <a:pt x="847" y="117"/>
                  </a:cubicBezTo>
                  <a:cubicBezTo>
                    <a:pt x="845" y="148"/>
                    <a:pt x="845" y="148"/>
                    <a:pt x="845" y="148"/>
                  </a:cubicBezTo>
                  <a:cubicBezTo>
                    <a:pt x="823" y="159"/>
                    <a:pt x="823" y="159"/>
                    <a:pt x="823" y="159"/>
                  </a:cubicBezTo>
                  <a:cubicBezTo>
                    <a:pt x="816" y="168"/>
                    <a:pt x="816" y="168"/>
                    <a:pt x="816" y="168"/>
                  </a:cubicBezTo>
                  <a:cubicBezTo>
                    <a:pt x="799" y="182"/>
                    <a:pt x="799" y="182"/>
                    <a:pt x="799" y="182"/>
                  </a:cubicBezTo>
                  <a:cubicBezTo>
                    <a:pt x="781" y="185"/>
                    <a:pt x="781" y="185"/>
                    <a:pt x="781" y="185"/>
                  </a:cubicBezTo>
                  <a:cubicBezTo>
                    <a:pt x="751" y="187"/>
                    <a:pt x="751" y="187"/>
                    <a:pt x="751" y="187"/>
                  </a:cubicBezTo>
                  <a:cubicBezTo>
                    <a:pt x="710" y="222"/>
                    <a:pt x="710" y="222"/>
                    <a:pt x="710" y="222"/>
                  </a:cubicBezTo>
                  <a:cubicBezTo>
                    <a:pt x="663" y="260"/>
                    <a:pt x="663" y="260"/>
                    <a:pt x="663" y="260"/>
                  </a:cubicBezTo>
                  <a:cubicBezTo>
                    <a:pt x="649" y="239"/>
                    <a:pt x="649" y="239"/>
                    <a:pt x="649" y="239"/>
                  </a:cubicBezTo>
                  <a:cubicBezTo>
                    <a:pt x="624" y="221"/>
                    <a:pt x="624" y="221"/>
                    <a:pt x="624" y="221"/>
                  </a:cubicBezTo>
                  <a:cubicBezTo>
                    <a:pt x="606" y="218"/>
                    <a:pt x="606" y="218"/>
                    <a:pt x="606" y="218"/>
                  </a:cubicBezTo>
                  <a:cubicBezTo>
                    <a:pt x="598" y="226"/>
                    <a:pt x="598" y="226"/>
                    <a:pt x="598" y="226"/>
                  </a:cubicBezTo>
                  <a:cubicBezTo>
                    <a:pt x="591" y="239"/>
                    <a:pt x="591" y="239"/>
                    <a:pt x="591" y="239"/>
                  </a:cubicBezTo>
                  <a:cubicBezTo>
                    <a:pt x="582" y="251"/>
                    <a:pt x="582" y="251"/>
                    <a:pt x="582" y="251"/>
                  </a:cubicBezTo>
                  <a:cubicBezTo>
                    <a:pt x="566" y="250"/>
                    <a:pt x="566" y="250"/>
                    <a:pt x="566" y="250"/>
                  </a:cubicBezTo>
                  <a:cubicBezTo>
                    <a:pt x="552" y="250"/>
                    <a:pt x="552" y="250"/>
                    <a:pt x="552" y="250"/>
                  </a:cubicBezTo>
                  <a:cubicBezTo>
                    <a:pt x="544" y="254"/>
                    <a:pt x="544" y="254"/>
                    <a:pt x="544" y="254"/>
                  </a:cubicBezTo>
                  <a:cubicBezTo>
                    <a:pt x="538" y="260"/>
                    <a:pt x="538" y="260"/>
                    <a:pt x="538" y="260"/>
                  </a:cubicBezTo>
                  <a:cubicBezTo>
                    <a:pt x="552" y="269"/>
                    <a:pt x="552" y="269"/>
                    <a:pt x="552" y="269"/>
                  </a:cubicBezTo>
                  <a:cubicBezTo>
                    <a:pt x="549" y="275"/>
                    <a:pt x="549" y="275"/>
                    <a:pt x="549" y="275"/>
                  </a:cubicBezTo>
                  <a:cubicBezTo>
                    <a:pt x="541" y="284"/>
                    <a:pt x="541" y="284"/>
                    <a:pt x="541" y="284"/>
                  </a:cubicBezTo>
                  <a:cubicBezTo>
                    <a:pt x="527" y="290"/>
                    <a:pt x="527" y="290"/>
                    <a:pt x="527" y="290"/>
                  </a:cubicBezTo>
                  <a:cubicBezTo>
                    <a:pt x="514" y="295"/>
                    <a:pt x="514" y="295"/>
                    <a:pt x="514" y="295"/>
                  </a:cubicBezTo>
                  <a:cubicBezTo>
                    <a:pt x="488" y="286"/>
                    <a:pt x="488" y="286"/>
                    <a:pt x="488" y="286"/>
                  </a:cubicBezTo>
                  <a:cubicBezTo>
                    <a:pt x="473" y="283"/>
                    <a:pt x="473" y="283"/>
                    <a:pt x="473" y="283"/>
                  </a:cubicBezTo>
                  <a:cubicBezTo>
                    <a:pt x="473" y="283"/>
                    <a:pt x="448" y="289"/>
                    <a:pt x="446" y="290"/>
                  </a:cubicBezTo>
                  <a:cubicBezTo>
                    <a:pt x="444" y="291"/>
                    <a:pt x="424" y="306"/>
                    <a:pt x="424" y="306"/>
                  </a:cubicBezTo>
                  <a:cubicBezTo>
                    <a:pt x="410" y="316"/>
                    <a:pt x="410" y="316"/>
                    <a:pt x="410" y="316"/>
                  </a:cubicBezTo>
                  <a:cubicBezTo>
                    <a:pt x="396" y="325"/>
                    <a:pt x="396" y="325"/>
                    <a:pt x="396" y="325"/>
                  </a:cubicBezTo>
                  <a:cubicBezTo>
                    <a:pt x="387" y="321"/>
                    <a:pt x="387" y="321"/>
                    <a:pt x="387" y="321"/>
                  </a:cubicBezTo>
                  <a:cubicBezTo>
                    <a:pt x="382" y="314"/>
                    <a:pt x="382" y="314"/>
                    <a:pt x="382" y="314"/>
                  </a:cubicBezTo>
                  <a:cubicBezTo>
                    <a:pt x="382" y="294"/>
                    <a:pt x="382" y="294"/>
                    <a:pt x="382" y="294"/>
                  </a:cubicBezTo>
                  <a:cubicBezTo>
                    <a:pt x="370" y="292"/>
                    <a:pt x="370" y="292"/>
                    <a:pt x="370" y="292"/>
                  </a:cubicBezTo>
                  <a:cubicBezTo>
                    <a:pt x="357" y="299"/>
                    <a:pt x="357" y="299"/>
                    <a:pt x="357" y="299"/>
                  </a:cubicBezTo>
                  <a:cubicBezTo>
                    <a:pt x="349" y="306"/>
                    <a:pt x="349" y="306"/>
                    <a:pt x="349" y="306"/>
                  </a:cubicBezTo>
                  <a:cubicBezTo>
                    <a:pt x="346" y="320"/>
                    <a:pt x="346" y="320"/>
                    <a:pt x="346" y="320"/>
                  </a:cubicBezTo>
                  <a:cubicBezTo>
                    <a:pt x="343" y="332"/>
                    <a:pt x="343" y="332"/>
                    <a:pt x="343" y="332"/>
                  </a:cubicBezTo>
                  <a:cubicBezTo>
                    <a:pt x="333" y="338"/>
                    <a:pt x="333" y="338"/>
                    <a:pt x="333" y="338"/>
                  </a:cubicBezTo>
                  <a:cubicBezTo>
                    <a:pt x="315" y="338"/>
                    <a:pt x="315" y="338"/>
                    <a:pt x="315" y="338"/>
                  </a:cubicBezTo>
                  <a:cubicBezTo>
                    <a:pt x="301" y="347"/>
                    <a:pt x="301" y="347"/>
                    <a:pt x="301" y="347"/>
                  </a:cubicBezTo>
                  <a:cubicBezTo>
                    <a:pt x="292" y="356"/>
                    <a:pt x="292" y="356"/>
                    <a:pt x="292" y="356"/>
                  </a:cubicBezTo>
                  <a:cubicBezTo>
                    <a:pt x="299" y="370"/>
                    <a:pt x="299" y="370"/>
                    <a:pt x="299" y="370"/>
                  </a:cubicBezTo>
                  <a:cubicBezTo>
                    <a:pt x="293" y="380"/>
                    <a:pt x="293" y="380"/>
                    <a:pt x="293" y="380"/>
                  </a:cubicBezTo>
                  <a:cubicBezTo>
                    <a:pt x="287" y="392"/>
                    <a:pt x="287" y="392"/>
                    <a:pt x="287" y="392"/>
                  </a:cubicBezTo>
                  <a:cubicBezTo>
                    <a:pt x="275" y="410"/>
                    <a:pt x="275" y="410"/>
                    <a:pt x="275" y="410"/>
                  </a:cubicBezTo>
                  <a:cubicBezTo>
                    <a:pt x="260" y="424"/>
                    <a:pt x="260" y="424"/>
                    <a:pt x="260" y="424"/>
                  </a:cubicBezTo>
                  <a:cubicBezTo>
                    <a:pt x="241" y="442"/>
                    <a:pt x="241" y="442"/>
                    <a:pt x="241" y="442"/>
                  </a:cubicBezTo>
                  <a:cubicBezTo>
                    <a:pt x="224" y="456"/>
                    <a:pt x="224" y="456"/>
                    <a:pt x="224" y="456"/>
                  </a:cubicBezTo>
                  <a:cubicBezTo>
                    <a:pt x="201" y="470"/>
                    <a:pt x="201" y="470"/>
                    <a:pt x="201" y="470"/>
                  </a:cubicBezTo>
                  <a:cubicBezTo>
                    <a:pt x="183" y="483"/>
                    <a:pt x="183" y="483"/>
                    <a:pt x="183" y="483"/>
                  </a:cubicBezTo>
                  <a:cubicBezTo>
                    <a:pt x="180" y="485"/>
                    <a:pt x="180" y="485"/>
                    <a:pt x="180" y="485"/>
                  </a:cubicBezTo>
                  <a:cubicBezTo>
                    <a:pt x="178" y="479"/>
                    <a:pt x="173" y="471"/>
                    <a:pt x="172" y="464"/>
                  </a:cubicBezTo>
                  <a:cubicBezTo>
                    <a:pt x="171" y="462"/>
                    <a:pt x="171" y="459"/>
                    <a:pt x="171" y="456"/>
                  </a:cubicBezTo>
                  <a:cubicBezTo>
                    <a:pt x="170" y="451"/>
                    <a:pt x="170" y="444"/>
                    <a:pt x="168" y="440"/>
                  </a:cubicBezTo>
                  <a:cubicBezTo>
                    <a:pt x="166" y="435"/>
                    <a:pt x="161" y="429"/>
                    <a:pt x="158" y="425"/>
                  </a:cubicBezTo>
                  <a:cubicBezTo>
                    <a:pt x="156" y="422"/>
                    <a:pt x="153" y="418"/>
                    <a:pt x="151" y="415"/>
                  </a:cubicBezTo>
                  <a:cubicBezTo>
                    <a:pt x="149" y="414"/>
                    <a:pt x="147" y="413"/>
                    <a:pt x="145" y="412"/>
                  </a:cubicBezTo>
                  <a:cubicBezTo>
                    <a:pt x="143" y="409"/>
                    <a:pt x="142" y="404"/>
                    <a:pt x="140" y="401"/>
                  </a:cubicBezTo>
                  <a:cubicBezTo>
                    <a:pt x="139" y="398"/>
                    <a:pt x="137" y="395"/>
                    <a:pt x="137" y="392"/>
                  </a:cubicBezTo>
                  <a:cubicBezTo>
                    <a:pt x="136" y="389"/>
                    <a:pt x="137" y="384"/>
                    <a:pt x="137" y="381"/>
                  </a:cubicBezTo>
                  <a:cubicBezTo>
                    <a:pt x="137" y="379"/>
                    <a:pt x="137" y="376"/>
                    <a:pt x="137" y="373"/>
                  </a:cubicBezTo>
                  <a:cubicBezTo>
                    <a:pt x="136" y="371"/>
                    <a:pt x="135" y="367"/>
                    <a:pt x="134" y="364"/>
                  </a:cubicBezTo>
                  <a:cubicBezTo>
                    <a:pt x="133" y="361"/>
                    <a:pt x="130" y="356"/>
                    <a:pt x="129" y="353"/>
                  </a:cubicBezTo>
                  <a:cubicBezTo>
                    <a:pt x="128" y="350"/>
                    <a:pt x="126" y="347"/>
                    <a:pt x="124" y="344"/>
                  </a:cubicBezTo>
                  <a:cubicBezTo>
                    <a:pt x="123" y="342"/>
                    <a:pt x="120" y="340"/>
                    <a:pt x="119" y="338"/>
                  </a:cubicBezTo>
                  <a:cubicBezTo>
                    <a:pt x="117" y="335"/>
                    <a:pt x="116" y="330"/>
                    <a:pt x="114" y="327"/>
                  </a:cubicBezTo>
                  <a:cubicBezTo>
                    <a:pt x="112" y="323"/>
                    <a:pt x="108" y="319"/>
                    <a:pt x="105" y="316"/>
                  </a:cubicBezTo>
                  <a:cubicBezTo>
                    <a:pt x="103" y="314"/>
                    <a:pt x="99" y="313"/>
                    <a:pt x="97" y="311"/>
                  </a:cubicBezTo>
                  <a:cubicBezTo>
                    <a:pt x="96" y="310"/>
                    <a:pt x="95" y="307"/>
                    <a:pt x="95" y="305"/>
                  </a:cubicBezTo>
                  <a:cubicBezTo>
                    <a:pt x="93" y="302"/>
                    <a:pt x="91" y="298"/>
                    <a:pt x="90" y="294"/>
                  </a:cubicBezTo>
                  <a:cubicBezTo>
                    <a:pt x="90" y="292"/>
                    <a:pt x="90" y="289"/>
                    <a:pt x="89" y="287"/>
                  </a:cubicBezTo>
                  <a:cubicBezTo>
                    <a:pt x="87" y="285"/>
                    <a:pt x="84" y="283"/>
                    <a:pt x="82" y="281"/>
                  </a:cubicBezTo>
                  <a:cubicBezTo>
                    <a:pt x="80" y="279"/>
                    <a:pt x="78" y="276"/>
                    <a:pt x="76" y="274"/>
                  </a:cubicBezTo>
                  <a:cubicBezTo>
                    <a:pt x="75" y="273"/>
                    <a:pt x="73" y="270"/>
                    <a:pt x="73" y="269"/>
                  </a:cubicBezTo>
                  <a:cubicBezTo>
                    <a:pt x="62" y="244"/>
                    <a:pt x="62" y="244"/>
                    <a:pt x="62" y="244"/>
                  </a:cubicBezTo>
                  <a:cubicBezTo>
                    <a:pt x="20" y="241"/>
                    <a:pt x="20" y="241"/>
                    <a:pt x="20" y="241"/>
                  </a:cubicBezTo>
                  <a:cubicBezTo>
                    <a:pt x="22" y="268"/>
                    <a:pt x="22" y="268"/>
                    <a:pt x="22" y="268"/>
                  </a:cubicBezTo>
                  <a:cubicBezTo>
                    <a:pt x="25" y="285"/>
                    <a:pt x="25" y="285"/>
                    <a:pt x="25" y="285"/>
                  </a:cubicBezTo>
                  <a:cubicBezTo>
                    <a:pt x="20" y="293"/>
                    <a:pt x="20" y="293"/>
                    <a:pt x="20" y="293"/>
                  </a:cubicBezTo>
                  <a:cubicBezTo>
                    <a:pt x="13" y="301"/>
                    <a:pt x="13" y="301"/>
                    <a:pt x="13" y="301"/>
                  </a:cubicBezTo>
                  <a:cubicBezTo>
                    <a:pt x="0" y="305"/>
                    <a:pt x="0" y="305"/>
                    <a:pt x="0" y="305"/>
                  </a:cubicBezTo>
                  <a:cubicBezTo>
                    <a:pt x="3" y="311"/>
                    <a:pt x="3" y="311"/>
                    <a:pt x="3" y="311"/>
                  </a:cubicBezTo>
                  <a:cubicBezTo>
                    <a:pt x="11" y="321"/>
                    <a:pt x="11" y="321"/>
                    <a:pt x="11" y="321"/>
                  </a:cubicBezTo>
                  <a:cubicBezTo>
                    <a:pt x="16" y="333"/>
                    <a:pt x="16" y="333"/>
                    <a:pt x="16" y="333"/>
                  </a:cubicBezTo>
                  <a:cubicBezTo>
                    <a:pt x="20" y="339"/>
                    <a:pt x="20" y="339"/>
                    <a:pt x="20" y="339"/>
                  </a:cubicBezTo>
                  <a:cubicBezTo>
                    <a:pt x="26" y="340"/>
                    <a:pt x="26" y="340"/>
                    <a:pt x="26" y="340"/>
                  </a:cubicBezTo>
                  <a:cubicBezTo>
                    <a:pt x="37" y="348"/>
                    <a:pt x="37" y="348"/>
                    <a:pt x="37" y="348"/>
                  </a:cubicBezTo>
                  <a:cubicBezTo>
                    <a:pt x="42" y="355"/>
                    <a:pt x="42" y="355"/>
                    <a:pt x="42" y="355"/>
                  </a:cubicBezTo>
                  <a:cubicBezTo>
                    <a:pt x="46" y="361"/>
                    <a:pt x="46" y="361"/>
                    <a:pt x="46" y="361"/>
                  </a:cubicBezTo>
                  <a:cubicBezTo>
                    <a:pt x="56" y="363"/>
                    <a:pt x="56" y="363"/>
                    <a:pt x="56" y="363"/>
                  </a:cubicBezTo>
                  <a:cubicBezTo>
                    <a:pt x="62" y="372"/>
                    <a:pt x="62" y="372"/>
                    <a:pt x="62" y="372"/>
                  </a:cubicBezTo>
                  <a:cubicBezTo>
                    <a:pt x="62" y="388"/>
                    <a:pt x="62" y="388"/>
                    <a:pt x="62" y="388"/>
                  </a:cubicBezTo>
                  <a:cubicBezTo>
                    <a:pt x="59" y="403"/>
                    <a:pt x="59" y="403"/>
                    <a:pt x="59" y="403"/>
                  </a:cubicBezTo>
                  <a:cubicBezTo>
                    <a:pt x="50" y="418"/>
                    <a:pt x="50" y="418"/>
                    <a:pt x="50" y="418"/>
                  </a:cubicBezTo>
                  <a:cubicBezTo>
                    <a:pt x="37" y="436"/>
                    <a:pt x="37" y="436"/>
                    <a:pt x="37" y="436"/>
                  </a:cubicBezTo>
                  <a:cubicBezTo>
                    <a:pt x="28" y="454"/>
                    <a:pt x="28" y="454"/>
                    <a:pt x="28" y="454"/>
                  </a:cubicBezTo>
                  <a:cubicBezTo>
                    <a:pt x="30" y="471"/>
                    <a:pt x="30" y="471"/>
                    <a:pt x="30" y="471"/>
                  </a:cubicBezTo>
                  <a:cubicBezTo>
                    <a:pt x="31" y="489"/>
                    <a:pt x="31" y="489"/>
                    <a:pt x="31" y="489"/>
                  </a:cubicBezTo>
                  <a:cubicBezTo>
                    <a:pt x="20" y="496"/>
                    <a:pt x="20" y="496"/>
                    <a:pt x="20" y="496"/>
                  </a:cubicBezTo>
                  <a:cubicBezTo>
                    <a:pt x="10" y="509"/>
                    <a:pt x="10" y="509"/>
                    <a:pt x="10" y="509"/>
                  </a:cubicBezTo>
                  <a:cubicBezTo>
                    <a:pt x="8" y="517"/>
                    <a:pt x="8" y="517"/>
                    <a:pt x="8" y="517"/>
                  </a:cubicBezTo>
                  <a:cubicBezTo>
                    <a:pt x="14" y="522"/>
                    <a:pt x="14" y="522"/>
                    <a:pt x="14" y="522"/>
                  </a:cubicBezTo>
                  <a:cubicBezTo>
                    <a:pt x="22" y="531"/>
                    <a:pt x="22" y="531"/>
                    <a:pt x="22" y="531"/>
                  </a:cubicBezTo>
                  <a:cubicBezTo>
                    <a:pt x="40" y="530"/>
                    <a:pt x="40" y="530"/>
                    <a:pt x="40" y="530"/>
                  </a:cubicBezTo>
                  <a:cubicBezTo>
                    <a:pt x="49" y="529"/>
                    <a:pt x="49" y="529"/>
                    <a:pt x="49" y="529"/>
                  </a:cubicBezTo>
                  <a:cubicBezTo>
                    <a:pt x="58" y="527"/>
                    <a:pt x="58" y="527"/>
                    <a:pt x="58" y="527"/>
                  </a:cubicBezTo>
                  <a:cubicBezTo>
                    <a:pt x="72" y="533"/>
                    <a:pt x="72" y="533"/>
                    <a:pt x="72" y="533"/>
                  </a:cubicBezTo>
                  <a:cubicBezTo>
                    <a:pt x="88" y="537"/>
                    <a:pt x="88" y="537"/>
                    <a:pt x="88" y="537"/>
                  </a:cubicBezTo>
                  <a:cubicBezTo>
                    <a:pt x="93" y="546"/>
                    <a:pt x="93" y="546"/>
                    <a:pt x="93" y="546"/>
                  </a:cubicBezTo>
                  <a:cubicBezTo>
                    <a:pt x="89" y="554"/>
                    <a:pt x="89" y="554"/>
                    <a:pt x="89" y="554"/>
                  </a:cubicBezTo>
                  <a:cubicBezTo>
                    <a:pt x="91" y="574"/>
                    <a:pt x="91" y="574"/>
                    <a:pt x="91" y="574"/>
                  </a:cubicBezTo>
                  <a:cubicBezTo>
                    <a:pt x="89" y="584"/>
                    <a:pt x="89" y="584"/>
                    <a:pt x="89" y="584"/>
                  </a:cubicBezTo>
                  <a:cubicBezTo>
                    <a:pt x="83" y="589"/>
                    <a:pt x="83" y="589"/>
                    <a:pt x="83" y="589"/>
                  </a:cubicBezTo>
                  <a:cubicBezTo>
                    <a:pt x="81" y="604"/>
                    <a:pt x="81" y="604"/>
                    <a:pt x="81" y="604"/>
                  </a:cubicBezTo>
                  <a:cubicBezTo>
                    <a:pt x="81" y="613"/>
                    <a:pt x="81" y="613"/>
                    <a:pt x="81" y="613"/>
                  </a:cubicBezTo>
                  <a:cubicBezTo>
                    <a:pt x="89" y="612"/>
                    <a:pt x="89" y="612"/>
                    <a:pt x="89" y="612"/>
                  </a:cubicBezTo>
                  <a:cubicBezTo>
                    <a:pt x="94" y="606"/>
                    <a:pt x="94" y="606"/>
                    <a:pt x="94" y="606"/>
                  </a:cubicBezTo>
                  <a:cubicBezTo>
                    <a:pt x="99" y="597"/>
                    <a:pt x="99" y="597"/>
                    <a:pt x="99" y="597"/>
                  </a:cubicBezTo>
                  <a:cubicBezTo>
                    <a:pt x="101" y="592"/>
                    <a:pt x="101" y="592"/>
                    <a:pt x="101" y="592"/>
                  </a:cubicBezTo>
                  <a:cubicBezTo>
                    <a:pt x="112" y="592"/>
                    <a:pt x="112" y="592"/>
                    <a:pt x="112" y="592"/>
                  </a:cubicBezTo>
                  <a:cubicBezTo>
                    <a:pt x="118" y="594"/>
                    <a:pt x="118" y="594"/>
                    <a:pt x="118" y="594"/>
                  </a:cubicBezTo>
                  <a:cubicBezTo>
                    <a:pt x="124" y="606"/>
                    <a:pt x="124" y="606"/>
                    <a:pt x="124" y="606"/>
                  </a:cubicBezTo>
                  <a:cubicBezTo>
                    <a:pt x="130" y="608"/>
                    <a:pt x="130" y="608"/>
                    <a:pt x="130" y="608"/>
                  </a:cubicBezTo>
                  <a:cubicBezTo>
                    <a:pt x="139" y="620"/>
                    <a:pt x="139" y="620"/>
                    <a:pt x="139" y="620"/>
                  </a:cubicBezTo>
                  <a:cubicBezTo>
                    <a:pt x="150" y="639"/>
                    <a:pt x="150" y="639"/>
                    <a:pt x="150" y="639"/>
                  </a:cubicBezTo>
                  <a:cubicBezTo>
                    <a:pt x="165" y="657"/>
                    <a:pt x="165" y="657"/>
                    <a:pt x="165" y="657"/>
                  </a:cubicBezTo>
                  <a:cubicBezTo>
                    <a:pt x="176" y="677"/>
                    <a:pt x="176" y="677"/>
                    <a:pt x="176" y="677"/>
                  </a:cubicBezTo>
                  <a:cubicBezTo>
                    <a:pt x="179" y="691"/>
                    <a:pt x="179" y="691"/>
                    <a:pt x="179" y="691"/>
                  </a:cubicBezTo>
                  <a:cubicBezTo>
                    <a:pt x="174" y="703"/>
                    <a:pt x="174" y="703"/>
                    <a:pt x="174" y="703"/>
                  </a:cubicBezTo>
                  <a:cubicBezTo>
                    <a:pt x="185" y="706"/>
                    <a:pt x="185" y="706"/>
                    <a:pt x="185" y="706"/>
                  </a:cubicBezTo>
                  <a:cubicBezTo>
                    <a:pt x="196" y="709"/>
                    <a:pt x="196" y="709"/>
                    <a:pt x="196" y="709"/>
                  </a:cubicBezTo>
                  <a:cubicBezTo>
                    <a:pt x="197" y="724"/>
                    <a:pt x="197" y="724"/>
                    <a:pt x="197" y="724"/>
                  </a:cubicBezTo>
                  <a:cubicBezTo>
                    <a:pt x="197" y="739"/>
                    <a:pt x="197" y="739"/>
                    <a:pt x="197" y="739"/>
                  </a:cubicBezTo>
                  <a:cubicBezTo>
                    <a:pt x="206" y="748"/>
                    <a:pt x="206" y="748"/>
                    <a:pt x="206" y="748"/>
                  </a:cubicBezTo>
                  <a:cubicBezTo>
                    <a:pt x="206" y="748"/>
                    <a:pt x="216" y="764"/>
                    <a:pt x="220" y="768"/>
                  </a:cubicBezTo>
                  <a:cubicBezTo>
                    <a:pt x="223" y="772"/>
                    <a:pt x="227" y="780"/>
                    <a:pt x="227" y="780"/>
                  </a:cubicBezTo>
                  <a:cubicBezTo>
                    <a:pt x="234" y="792"/>
                    <a:pt x="234" y="792"/>
                    <a:pt x="234" y="792"/>
                  </a:cubicBezTo>
                  <a:cubicBezTo>
                    <a:pt x="239" y="806"/>
                    <a:pt x="239" y="806"/>
                    <a:pt x="239" y="806"/>
                  </a:cubicBezTo>
                  <a:cubicBezTo>
                    <a:pt x="242" y="812"/>
                    <a:pt x="242" y="812"/>
                    <a:pt x="242" y="812"/>
                  </a:cubicBezTo>
                  <a:cubicBezTo>
                    <a:pt x="247" y="811"/>
                    <a:pt x="247" y="811"/>
                    <a:pt x="247" y="811"/>
                  </a:cubicBezTo>
                  <a:cubicBezTo>
                    <a:pt x="254" y="798"/>
                    <a:pt x="254" y="798"/>
                    <a:pt x="254" y="798"/>
                  </a:cubicBezTo>
                  <a:cubicBezTo>
                    <a:pt x="262" y="790"/>
                    <a:pt x="262" y="790"/>
                    <a:pt x="262" y="790"/>
                  </a:cubicBezTo>
                  <a:cubicBezTo>
                    <a:pt x="277" y="788"/>
                    <a:pt x="277" y="788"/>
                    <a:pt x="277" y="788"/>
                  </a:cubicBezTo>
                  <a:cubicBezTo>
                    <a:pt x="291" y="799"/>
                    <a:pt x="291" y="799"/>
                    <a:pt x="291" y="799"/>
                  </a:cubicBezTo>
                  <a:cubicBezTo>
                    <a:pt x="298" y="808"/>
                    <a:pt x="298" y="808"/>
                    <a:pt x="298" y="808"/>
                  </a:cubicBezTo>
                  <a:cubicBezTo>
                    <a:pt x="304" y="810"/>
                    <a:pt x="304" y="810"/>
                    <a:pt x="304" y="810"/>
                  </a:cubicBezTo>
                  <a:cubicBezTo>
                    <a:pt x="304" y="796"/>
                    <a:pt x="304" y="796"/>
                    <a:pt x="304" y="796"/>
                  </a:cubicBezTo>
                  <a:cubicBezTo>
                    <a:pt x="305" y="787"/>
                    <a:pt x="305" y="787"/>
                    <a:pt x="305" y="787"/>
                  </a:cubicBezTo>
                  <a:cubicBezTo>
                    <a:pt x="313" y="780"/>
                    <a:pt x="313" y="780"/>
                    <a:pt x="313" y="780"/>
                  </a:cubicBezTo>
                  <a:cubicBezTo>
                    <a:pt x="321" y="780"/>
                    <a:pt x="321" y="780"/>
                    <a:pt x="321" y="780"/>
                  </a:cubicBezTo>
                  <a:cubicBezTo>
                    <a:pt x="333" y="778"/>
                    <a:pt x="333" y="778"/>
                    <a:pt x="333" y="778"/>
                  </a:cubicBezTo>
                  <a:cubicBezTo>
                    <a:pt x="341" y="777"/>
                    <a:pt x="341" y="777"/>
                    <a:pt x="341" y="777"/>
                  </a:cubicBezTo>
                  <a:cubicBezTo>
                    <a:pt x="350" y="775"/>
                    <a:pt x="350" y="775"/>
                    <a:pt x="350" y="775"/>
                  </a:cubicBezTo>
                  <a:cubicBezTo>
                    <a:pt x="356" y="770"/>
                    <a:pt x="356" y="770"/>
                    <a:pt x="356" y="770"/>
                  </a:cubicBezTo>
                  <a:cubicBezTo>
                    <a:pt x="363" y="758"/>
                    <a:pt x="363" y="758"/>
                    <a:pt x="363" y="758"/>
                  </a:cubicBezTo>
                  <a:cubicBezTo>
                    <a:pt x="367" y="750"/>
                    <a:pt x="367" y="750"/>
                    <a:pt x="367" y="750"/>
                  </a:cubicBezTo>
                  <a:cubicBezTo>
                    <a:pt x="382" y="752"/>
                    <a:pt x="382" y="752"/>
                    <a:pt x="382" y="752"/>
                  </a:cubicBezTo>
                  <a:cubicBezTo>
                    <a:pt x="398" y="755"/>
                    <a:pt x="398" y="755"/>
                    <a:pt x="398" y="755"/>
                  </a:cubicBezTo>
                  <a:cubicBezTo>
                    <a:pt x="410" y="755"/>
                    <a:pt x="410" y="755"/>
                    <a:pt x="410" y="755"/>
                  </a:cubicBezTo>
                  <a:cubicBezTo>
                    <a:pt x="424" y="760"/>
                    <a:pt x="424" y="760"/>
                    <a:pt x="424" y="760"/>
                  </a:cubicBezTo>
                  <a:cubicBezTo>
                    <a:pt x="436" y="766"/>
                    <a:pt x="436" y="766"/>
                    <a:pt x="436" y="766"/>
                  </a:cubicBezTo>
                  <a:cubicBezTo>
                    <a:pt x="442" y="761"/>
                    <a:pt x="442" y="761"/>
                    <a:pt x="442" y="761"/>
                  </a:cubicBezTo>
                  <a:cubicBezTo>
                    <a:pt x="448" y="758"/>
                    <a:pt x="448" y="758"/>
                    <a:pt x="448" y="758"/>
                  </a:cubicBezTo>
                  <a:cubicBezTo>
                    <a:pt x="456" y="756"/>
                    <a:pt x="456" y="756"/>
                    <a:pt x="456" y="756"/>
                  </a:cubicBezTo>
                  <a:cubicBezTo>
                    <a:pt x="461" y="747"/>
                    <a:pt x="461" y="747"/>
                    <a:pt x="461" y="747"/>
                  </a:cubicBezTo>
                  <a:cubicBezTo>
                    <a:pt x="473" y="741"/>
                    <a:pt x="473" y="741"/>
                    <a:pt x="473" y="741"/>
                  </a:cubicBezTo>
                  <a:cubicBezTo>
                    <a:pt x="488" y="733"/>
                    <a:pt x="488" y="733"/>
                    <a:pt x="488" y="733"/>
                  </a:cubicBezTo>
                  <a:cubicBezTo>
                    <a:pt x="495" y="730"/>
                    <a:pt x="495" y="730"/>
                    <a:pt x="495" y="730"/>
                  </a:cubicBezTo>
                  <a:cubicBezTo>
                    <a:pt x="493" y="727"/>
                    <a:pt x="493" y="727"/>
                    <a:pt x="493" y="727"/>
                  </a:cubicBezTo>
                  <a:cubicBezTo>
                    <a:pt x="498" y="713"/>
                    <a:pt x="498" y="713"/>
                    <a:pt x="498" y="713"/>
                  </a:cubicBezTo>
                  <a:cubicBezTo>
                    <a:pt x="504" y="712"/>
                    <a:pt x="504" y="712"/>
                    <a:pt x="504" y="712"/>
                  </a:cubicBezTo>
                  <a:cubicBezTo>
                    <a:pt x="511" y="707"/>
                    <a:pt x="511" y="707"/>
                    <a:pt x="511" y="707"/>
                  </a:cubicBezTo>
                  <a:cubicBezTo>
                    <a:pt x="518" y="704"/>
                    <a:pt x="518" y="704"/>
                    <a:pt x="518" y="704"/>
                  </a:cubicBezTo>
                  <a:cubicBezTo>
                    <a:pt x="529" y="702"/>
                    <a:pt x="529" y="702"/>
                    <a:pt x="529" y="702"/>
                  </a:cubicBezTo>
                  <a:cubicBezTo>
                    <a:pt x="538" y="702"/>
                    <a:pt x="538" y="702"/>
                    <a:pt x="538" y="702"/>
                  </a:cubicBezTo>
                  <a:cubicBezTo>
                    <a:pt x="546" y="697"/>
                    <a:pt x="546" y="697"/>
                    <a:pt x="546" y="697"/>
                  </a:cubicBezTo>
                  <a:cubicBezTo>
                    <a:pt x="544" y="689"/>
                    <a:pt x="544" y="689"/>
                    <a:pt x="544" y="689"/>
                  </a:cubicBezTo>
                  <a:cubicBezTo>
                    <a:pt x="550" y="678"/>
                    <a:pt x="550" y="678"/>
                    <a:pt x="550" y="678"/>
                  </a:cubicBezTo>
                  <a:cubicBezTo>
                    <a:pt x="555" y="677"/>
                    <a:pt x="555" y="677"/>
                    <a:pt x="555" y="677"/>
                  </a:cubicBezTo>
                  <a:cubicBezTo>
                    <a:pt x="561" y="674"/>
                    <a:pt x="561" y="674"/>
                    <a:pt x="561" y="674"/>
                  </a:cubicBezTo>
                  <a:cubicBezTo>
                    <a:pt x="571" y="679"/>
                    <a:pt x="571" y="679"/>
                    <a:pt x="571" y="679"/>
                  </a:cubicBezTo>
                  <a:cubicBezTo>
                    <a:pt x="582" y="691"/>
                    <a:pt x="582" y="691"/>
                    <a:pt x="582" y="691"/>
                  </a:cubicBezTo>
                  <a:cubicBezTo>
                    <a:pt x="594" y="693"/>
                    <a:pt x="594" y="693"/>
                    <a:pt x="594" y="693"/>
                  </a:cubicBezTo>
                  <a:cubicBezTo>
                    <a:pt x="613" y="689"/>
                    <a:pt x="613" y="689"/>
                    <a:pt x="613" y="689"/>
                  </a:cubicBezTo>
                  <a:cubicBezTo>
                    <a:pt x="629" y="691"/>
                    <a:pt x="629" y="691"/>
                    <a:pt x="629" y="691"/>
                  </a:cubicBezTo>
                  <a:cubicBezTo>
                    <a:pt x="639" y="697"/>
                    <a:pt x="639" y="697"/>
                    <a:pt x="639" y="697"/>
                  </a:cubicBezTo>
                  <a:cubicBezTo>
                    <a:pt x="643" y="703"/>
                    <a:pt x="643" y="703"/>
                    <a:pt x="643" y="703"/>
                  </a:cubicBezTo>
                  <a:cubicBezTo>
                    <a:pt x="653" y="710"/>
                    <a:pt x="653" y="710"/>
                    <a:pt x="653" y="710"/>
                  </a:cubicBezTo>
                  <a:cubicBezTo>
                    <a:pt x="663" y="717"/>
                    <a:pt x="663" y="717"/>
                    <a:pt x="663" y="717"/>
                  </a:cubicBezTo>
                  <a:cubicBezTo>
                    <a:pt x="667" y="733"/>
                    <a:pt x="667" y="733"/>
                    <a:pt x="667" y="733"/>
                  </a:cubicBezTo>
                  <a:cubicBezTo>
                    <a:pt x="673" y="736"/>
                    <a:pt x="673" y="736"/>
                    <a:pt x="673" y="736"/>
                  </a:cubicBezTo>
                  <a:cubicBezTo>
                    <a:pt x="676" y="735"/>
                    <a:pt x="676" y="735"/>
                    <a:pt x="676" y="735"/>
                  </a:cubicBezTo>
                  <a:cubicBezTo>
                    <a:pt x="691" y="727"/>
                    <a:pt x="691" y="727"/>
                    <a:pt x="691" y="727"/>
                  </a:cubicBezTo>
                  <a:cubicBezTo>
                    <a:pt x="701" y="727"/>
                    <a:pt x="701" y="727"/>
                    <a:pt x="701" y="727"/>
                  </a:cubicBezTo>
                  <a:cubicBezTo>
                    <a:pt x="715" y="731"/>
                    <a:pt x="715" y="731"/>
                    <a:pt x="715" y="731"/>
                  </a:cubicBezTo>
                  <a:cubicBezTo>
                    <a:pt x="730" y="745"/>
                    <a:pt x="730" y="745"/>
                    <a:pt x="730" y="745"/>
                  </a:cubicBezTo>
                  <a:cubicBezTo>
                    <a:pt x="742" y="736"/>
                    <a:pt x="742" y="736"/>
                    <a:pt x="742" y="736"/>
                  </a:cubicBezTo>
                  <a:cubicBezTo>
                    <a:pt x="756" y="739"/>
                    <a:pt x="756" y="739"/>
                    <a:pt x="756" y="739"/>
                  </a:cubicBezTo>
                  <a:cubicBezTo>
                    <a:pt x="768" y="739"/>
                    <a:pt x="768" y="739"/>
                    <a:pt x="768" y="739"/>
                  </a:cubicBezTo>
                  <a:cubicBezTo>
                    <a:pt x="777" y="735"/>
                    <a:pt x="777" y="735"/>
                    <a:pt x="777" y="735"/>
                  </a:cubicBezTo>
                  <a:cubicBezTo>
                    <a:pt x="777" y="731"/>
                    <a:pt x="777" y="731"/>
                    <a:pt x="777" y="731"/>
                  </a:cubicBezTo>
                  <a:cubicBezTo>
                    <a:pt x="775" y="707"/>
                    <a:pt x="775" y="707"/>
                    <a:pt x="775" y="707"/>
                  </a:cubicBezTo>
                  <a:cubicBezTo>
                    <a:pt x="779" y="693"/>
                    <a:pt x="779" y="693"/>
                    <a:pt x="779" y="693"/>
                  </a:cubicBezTo>
                  <a:cubicBezTo>
                    <a:pt x="792" y="679"/>
                    <a:pt x="792" y="679"/>
                    <a:pt x="792" y="679"/>
                  </a:cubicBezTo>
                  <a:cubicBezTo>
                    <a:pt x="805" y="670"/>
                    <a:pt x="805" y="670"/>
                    <a:pt x="805" y="670"/>
                  </a:cubicBezTo>
                  <a:cubicBezTo>
                    <a:pt x="860" y="667"/>
                    <a:pt x="860" y="667"/>
                    <a:pt x="860" y="667"/>
                  </a:cubicBezTo>
                  <a:cubicBezTo>
                    <a:pt x="869" y="659"/>
                    <a:pt x="869" y="659"/>
                    <a:pt x="869" y="659"/>
                  </a:cubicBezTo>
                  <a:cubicBezTo>
                    <a:pt x="877" y="642"/>
                    <a:pt x="877" y="642"/>
                    <a:pt x="877" y="642"/>
                  </a:cubicBezTo>
                  <a:cubicBezTo>
                    <a:pt x="883" y="627"/>
                    <a:pt x="883" y="627"/>
                    <a:pt x="883" y="627"/>
                  </a:cubicBezTo>
                  <a:cubicBezTo>
                    <a:pt x="893" y="619"/>
                    <a:pt x="893" y="619"/>
                    <a:pt x="893" y="619"/>
                  </a:cubicBezTo>
                  <a:cubicBezTo>
                    <a:pt x="887" y="608"/>
                    <a:pt x="887" y="608"/>
                    <a:pt x="887" y="608"/>
                  </a:cubicBezTo>
                  <a:cubicBezTo>
                    <a:pt x="887" y="582"/>
                    <a:pt x="887" y="582"/>
                    <a:pt x="887" y="582"/>
                  </a:cubicBezTo>
                  <a:cubicBezTo>
                    <a:pt x="891" y="576"/>
                    <a:pt x="891" y="576"/>
                    <a:pt x="891" y="576"/>
                  </a:cubicBezTo>
                  <a:cubicBezTo>
                    <a:pt x="903" y="564"/>
                    <a:pt x="903" y="564"/>
                    <a:pt x="903" y="564"/>
                  </a:cubicBezTo>
                  <a:cubicBezTo>
                    <a:pt x="922" y="555"/>
                    <a:pt x="922" y="555"/>
                    <a:pt x="922" y="555"/>
                  </a:cubicBezTo>
                  <a:cubicBezTo>
                    <a:pt x="936" y="553"/>
                    <a:pt x="936" y="553"/>
                    <a:pt x="936" y="553"/>
                  </a:cubicBezTo>
                  <a:cubicBezTo>
                    <a:pt x="948" y="553"/>
                    <a:pt x="948" y="553"/>
                    <a:pt x="948" y="553"/>
                  </a:cubicBezTo>
                  <a:cubicBezTo>
                    <a:pt x="950" y="544"/>
                    <a:pt x="950" y="544"/>
                    <a:pt x="950" y="544"/>
                  </a:cubicBezTo>
                  <a:cubicBezTo>
                    <a:pt x="956" y="533"/>
                    <a:pt x="956" y="533"/>
                    <a:pt x="956" y="533"/>
                  </a:cubicBezTo>
                  <a:cubicBezTo>
                    <a:pt x="966" y="524"/>
                    <a:pt x="966" y="524"/>
                    <a:pt x="966" y="524"/>
                  </a:cubicBezTo>
                  <a:cubicBezTo>
                    <a:pt x="976" y="521"/>
                    <a:pt x="976" y="521"/>
                    <a:pt x="976" y="521"/>
                  </a:cubicBezTo>
                  <a:cubicBezTo>
                    <a:pt x="976" y="516"/>
                    <a:pt x="976" y="516"/>
                    <a:pt x="976" y="516"/>
                  </a:cubicBezTo>
                  <a:cubicBezTo>
                    <a:pt x="974" y="501"/>
                    <a:pt x="974" y="501"/>
                    <a:pt x="974" y="501"/>
                  </a:cubicBezTo>
                  <a:cubicBezTo>
                    <a:pt x="984" y="492"/>
                    <a:pt x="984" y="492"/>
                    <a:pt x="984" y="492"/>
                  </a:cubicBezTo>
                  <a:cubicBezTo>
                    <a:pt x="982" y="479"/>
                    <a:pt x="982" y="479"/>
                    <a:pt x="982" y="479"/>
                  </a:cubicBezTo>
                  <a:cubicBezTo>
                    <a:pt x="974" y="472"/>
                    <a:pt x="974" y="472"/>
                    <a:pt x="974" y="472"/>
                  </a:cubicBezTo>
                  <a:cubicBezTo>
                    <a:pt x="970" y="456"/>
                    <a:pt x="970" y="456"/>
                    <a:pt x="970" y="456"/>
                  </a:cubicBezTo>
                  <a:cubicBezTo>
                    <a:pt x="968" y="444"/>
                    <a:pt x="968" y="444"/>
                    <a:pt x="968" y="444"/>
                  </a:cubicBezTo>
                  <a:cubicBezTo>
                    <a:pt x="958" y="430"/>
                    <a:pt x="958" y="430"/>
                    <a:pt x="958" y="430"/>
                  </a:cubicBezTo>
                  <a:cubicBezTo>
                    <a:pt x="946" y="419"/>
                    <a:pt x="946" y="419"/>
                    <a:pt x="946" y="419"/>
                  </a:cubicBezTo>
                  <a:cubicBezTo>
                    <a:pt x="928" y="410"/>
                    <a:pt x="928" y="410"/>
                    <a:pt x="928" y="410"/>
                  </a:cubicBezTo>
                  <a:cubicBezTo>
                    <a:pt x="930" y="399"/>
                    <a:pt x="930" y="399"/>
                    <a:pt x="930" y="399"/>
                  </a:cubicBezTo>
                  <a:cubicBezTo>
                    <a:pt x="939" y="390"/>
                    <a:pt x="939" y="390"/>
                    <a:pt x="939" y="390"/>
                  </a:cubicBezTo>
                  <a:cubicBezTo>
                    <a:pt x="950" y="373"/>
                    <a:pt x="950" y="373"/>
                    <a:pt x="950" y="373"/>
                  </a:cubicBezTo>
                  <a:cubicBezTo>
                    <a:pt x="961" y="362"/>
                    <a:pt x="961" y="362"/>
                    <a:pt x="961" y="362"/>
                  </a:cubicBezTo>
                  <a:cubicBezTo>
                    <a:pt x="971" y="358"/>
                    <a:pt x="971" y="358"/>
                    <a:pt x="971" y="358"/>
                  </a:cubicBezTo>
                  <a:cubicBezTo>
                    <a:pt x="983" y="359"/>
                    <a:pt x="983" y="359"/>
                    <a:pt x="983" y="359"/>
                  </a:cubicBezTo>
                  <a:cubicBezTo>
                    <a:pt x="995" y="364"/>
                    <a:pt x="995" y="364"/>
                    <a:pt x="995" y="364"/>
                  </a:cubicBezTo>
                  <a:cubicBezTo>
                    <a:pt x="1008" y="361"/>
                    <a:pt x="1008" y="361"/>
                    <a:pt x="1008" y="361"/>
                  </a:cubicBezTo>
                  <a:cubicBezTo>
                    <a:pt x="1023" y="342"/>
                    <a:pt x="1023" y="342"/>
                    <a:pt x="1023" y="342"/>
                  </a:cubicBezTo>
                  <a:cubicBezTo>
                    <a:pt x="1029" y="332"/>
                    <a:pt x="1029" y="332"/>
                    <a:pt x="1029" y="332"/>
                  </a:cubicBezTo>
                  <a:cubicBezTo>
                    <a:pt x="1029" y="326"/>
                    <a:pt x="1029" y="326"/>
                    <a:pt x="1029" y="326"/>
                  </a:cubicBezTo>
                  <a:cubicBezTo>
                    <a:pt x="1035" y="321"/>
                    <a:pt x="1035" y="321"/>
                    <a:pt x="1035" y="321"/>
                  </a:cubicBezTo>
                  <a:cubicBezTo>
                    <a:pt x="1047" y="317"/>
                    <a:pt x="1047" y="317"/>
                    <a:pt x="1047" y="317"/>
                  </a:cubicBezTo>
                  <a:cubicBezTo>
                    <a:pt x="1054" y="305"/>
                    <a:pt x="1054" y="305"/>
                    <a:pt x="1054" y="305"/>
                  </a:cubicBezTo>
                  <a:cubicBezTo>
                    <a:pt x="1065" y="299"/>
                    <a:pt x="1065" y="299"/>
                    <a:pt x="1065" y="299"/>
                  </a:cubicBezTo>
                  <a:cubicBezTo>
                    <a:pt x="1089" y="289"/>
                    <a:pt x="1089" y="289"/>
                    <a:pt x="1089" y="289"/>
                  </a:cubicBezTo>
                  <a:cubicBezTo>
                    <a:pt x="1094" y="278"/>
                    <a:pt x="1094" y="278"/>
                    <a:pt x="1094" y="278"/>
                  </a:cubicBezTo>
                  <a:cubicBezTo>
                    <a:pt x="1091" y="268"/>
                    <a:pt x="1091" y="268"/>
                    <a:pt x="1091" y="268"/>
                  </a:cubicBezTo>
                  <a:cubicBezTo>
                    <a:pt x="1080" y="266"/>
                    <a:pt x="1080" y="266"/>
                    <a:pt x="1080" y="266"/>
                  </a:cubicBezTo>
                  <a:cubicBezTo>
                    <a:pt x="1072" y="258"/>
                    <a:pt x="1072" y="258"/>
                    <a:pt x="1072" y="258"/>
                  </a:cubicBezTo>
                  <a:cubicBezTo>
                    <a:pt x="1075" y="245"/>
                    <a:pt x="1075" y="245"/>
                    <a:pt x="1075" y="245"/>
                  </a:cubicBezTo>
                  <a:cubicBezTo>
                    <a:pt x="1081" y="237"/>
                    <a:pt x="1081" y="237"/>
                    <a:pt x="1081" y="237"/>
                  </a:cubicBezTo>
                  <a:cubicBezTo>
                    <a:pt x="1095" y="234"/>
                    <a:pt x="1095" y="234"/>
                    <a:pt x="1095" y="234"/>
                  </a:cubicBezTo>
                  <a:cubicBezTo>
                    <a:pt x="1111" y="223"/>
                    <a:pt x="1111" y="223"/>
                    <a:pt x="1111" y="223"/>
                  </a:cubicBezTo>
                  <a:lnTo>
                    <a:pt x="1139" y="210"/>
                  </a:lnTo>
                  <a:close/>
                </a:path>
              </a:pathLst>
            </a:custGeom>
            <a:pattFill prst="dkVert">
              <a:fgClr>
                <a:schemeClr val="accent2"/>
              </a:fgClr>
              <a:bgClr>
                <a:schemeClr val="bg1"/>
              </a:bgClr>
            </a:patt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87" name="Freeform 37">
              <a:extLst>
                <a:ext uri="{FF2B5EF4-FFF2-40B4-BE49-F238E27FC236}">
                  <a16:creationId xmlns:a16="http://schemas.microsoft.com/office/drawing/2014/main" id="{2D0F987F-F932-4953-8DE0-2C833EE683BD}"/>
                </a:ext>
              </a:extLst>
            </p:cNvPr>
            <p:cNvSpPr>
              <a:spLocks/>
            </p:cNvSpPr>
            <p:nvPr/>
          </p:nvSpPr>
          <p:spPr bwMode="gray">
            <a:xfrm>
              <a:off x="6379" y="2731"/>
              <a:ext cx="1113" cy="758"/>
            </a:xfrm>
            <a:custGeom>
              <a:avLst/>
              <a:gdLst>
                <a:gd name="T0" fmla="*/ 451 w 471"/>
                <a:gd name="T1" fmla="*/ 117 h 321"/>
                <a:gd name="T2" fmla="*/ 436 w 471"/>
                <a:gd name="T3" fmla="*/ 121 h 321"/>
                <a:gd name="T4" fmla="*/ 420 w 471"/>
                <a:gd name="T5" fmla="*/ 131 h 321"/>
                <a:gd name="T6" fmla="*/ 410 w 471"/>
                <a:gd name="T7" fmla="*/ 146 h 321"/>
                <a:gd name="T8" fmla="*/ 402 w 471"/>
                <a:gd name="T9" fmla="*/ 162 h 321"/>
                <a:gd name="T10" fmla="*/ 362 w 471"/>
                <a:gd name="T11" fmla="*/ 223 h 321"/>
                <a:gd name="T12" fmla="*/ 314 w 471"/>
                <a:gd name="T13" fmla="*/ 263 h 321"/>
                <a:gd name="T14" fmla="*/ 229 w 471"/>
                <a:gd name="T15" fmla="*/ 296 h 321"/>
                <a:gd name="T16" fmla="*/ 218 w 471"/>
                <a:gd name="T17" fmla="*/ 267 h 321"/>
                <a:gd name="T18" fmla="*/ 213 w 471"/>
                <a:gd name="T19" fmla="*/ 248 h 321"/>
                <a:gd name="T20" fmla="*/ 196 w 471"/>
                <a:gd name="T21" fmla="*/ 235 h 321"/>
                <a:gd name="T22" fmla="*/ 158 w 471"/>
                <a:gd name="T23" fmla="*/ 264 h 321"/>
                <a:gd name="T24" fmla="*/ 122 w 471"/>
                <a:gd name="T25" fmla="*/ 285 h 321"/>
                <a:gd name="T26" fmla="*/ 75 w 471"/>
                <a:gd name="T27" fmla="*/ 313 h 321"/>
                <a:gd name="T28" fmla="*/ 23 w 471"/>
                <a:gd name="T29" fmla="*/ 299 h 321"/>
                <a:gd name="T30" fmla="*/ 17 w 471"/>
                <a:gd name="T31" fmla="*/ 272 h 321"/>
                <a:gd name="T32" fmla="*/ 0 w 471"/>
                <a:gd name="T33" fmla="*/ 250 h 321"/>
                <a:gd name="T34" fmla="*/ 31 w 471"/>
                <a:gd name="T35" fmla="*/ 212 h 321"/>
                <a:gd name="T36" fmla="*/ 46 w 471"/>
                <a:gd name="T37" fmla="*/ 202 h 321"/>
                <a:gd name="T38" fmla="*/ 69 w 471"/>
                <a:gd name="T39" fmla="*/ 194 h 321"/>
                <a:gd name="T40" fmla="*/ 107 w 471"/>
                <a:gd name="T41" fmla="*/ 180 h 321"/>
                <a:gd name="T42" fmla="*/ 134 w 471"/>
                <a:gd name="T43" fmla="*/ 174 h 321"/>
                <a:gd name="T44" fmla="*/ 149 w 471"/>
                <a:gd name="T45" fmla="*/ 156 h 321"/>
                <a:gd name="T46" fmla="*/ 169 w 471"/>
                <a:gd name="T47" fmla="*/ 131 h 321"/>
                <a:gd name="T48" fmla="*/ 185 w 471"/>
                <a:gd name="T49" fmla="*/ 127 h 321"/>
                <a:gd name="T50" fmla="*/ 184 w 471"/>
                <a:gd name="T51" fmla="*/ 115 h 321"/>
                <a:gd name="T52" fmla="*/ 176 w 471"/>
                <a:gd name="T53" fmla="*/ 106 h 321"/>
                <a:gd name="T54" fmla="*/ 189 w 471"/>
                <a:gd name="T55" fmla="*/ 100 h 321"/>
                <a:gd name="T56" fmla="*/ 195 w 471"/>
                <a:gd name="T57" fmla="*/ 89 h 321"/>
                <a:gd name="T58" fmla="*/ 200 w 471"/>
                <a:gd name="T59" fmla="*/ 77 h 321"/>
                <a:gd name="T60" fmla="*/ 223 w 471"/>
                <a:gd name="T61" fmla="*/ 75 h 321"/>
                <a:gd name="T62" fmla="*/ 219 w 471"/>
                <a:gd name="T63" fmla="*/ 57 h 321"/>
                <a:gd name="T64" fmla="*/ 228 w 471"/>
                <a:gd name="T65" fmla="*/ 51 h 321"/>
                <a:gd name="T66" fmla="*/ 237 w 471"/>
                <a:gd name="T67" fmla="*/ 43 h 321"/>
                <a:gd name="T68" fmla="*/ 258 w 471"/>
                <a:gd name="T69" fmla="*/ 36 h 321"/>
                <a:gd name="T70" fmla="*/ 283 w 471"/>
                <a:gd name="T71" fmla="*/ 18 h 321"/>
                <a:gd name="T72" fmla="*/ 316 w 471"/>
                <a:gd name="T73" fmla="*/ 0 h 321"/>
                <a:gd name="T74" fmla="*/ 329 w 471"/>
                <a:gd name="T75" fmla="*/ 21 h 321"/>
                <a:gd name="T76" fmla="*/ 327 w 471"/>
                <a:gd name="T77" fmla="*/ 53 h 321"/>
                <a:gd name="T78" fmla="*/ 322 w 471"/>
                <a:gd name="T79" fmla="*/ 74 h 321"/>
                <a:gd name="T80" fmla="*/ 344 w 471"/>
                <a:gd name="T81" fmla="*/ 64 h 321"/>
                <a:gd name="T82" fmla="*/ 375 w 471"/>
                <a:gd name="T83" fmla="*/ 49 h 321"/>
                <a:gd name="T84" fmla="*/ 420 w 471"/>
                <a:gd name="T85" fmla="*/ 45 h 321"/>
                <a:gd name="T86" fmla="*/ 447 w 471"/>
                <a:gd name="T87" fmla="*/ 60 h 321"/>
                <a:gd name="T88" fmla="*/ 471 w 471"/>
                <a:gd name="T89" fmla="*/ 85 h 321"/>
                <a:gd name="T90" fmla="*/ 467 w 471"/>
                <a:gd name="T91" fmla="*/ 11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71" h="321">
                  <a:moveTo>
                    <a:pt x="458" y="116"/>
                  </a:moveTo>
                  <a:cubicBezTo>
                    <a:pt x="458" y="116"/>
                    <a:pt x="453" y="117"/>
                    <a:pt x="451" y="117"/>
                  </a:cubicBezTo>
                  <a:cubicBezTo>
                    <a:pt x="448" y="118"/>
                    <a:pt x="445" y="118"/>
                    <a:pt x="443" y="118"/>
                  </a:cubicBezTo>
                  <a:cubicBezTo>
                    <a:pt x="441" y="119"/>
                    <a:pt x="438" y="120"/>
                    <a:pt x="436" y="121"/>
                  </a:cubicBezTo>
                  <a:cubicBezTo>
                    <a:pt x="433" y="122"/>
                    <a:pt x="430" y="124"/>
                    <a:pt x="428" y="125"/>
                  </a:cubicBezTo>
                  <a:cubicBezTo>
                    <a:pt x="425" y="127"/>
                    <a:pt x="422" y="129"/>
                    <a:pt x="420" y="131"/>
                  </a:cubicBezTo>
                  <a:cubicBezTo>
                    <a:pt x="418" y="132"/>
                    <a:pt x="415" y="135"/>
                    <a:pt x="414" y="137"/>
                  </a:cubicBezTo>
                  <a:cubicBezTo>
                    <a:pt x="412" y="139"/>
                    <a:pt x="411" y="143"/>
                    <a:pt x="410" y="146"/>
                  </a:cubicBezTo>
                  <a:cubicBezTo>
                    <a:pt x="409" y="148"/>
                    <a:pt x="407" y="151"/>
                    <a:pt x="406" y="154"/>
                  </a:cubicBezTo>
                  <a:cubicBezTo>
                    <a:pt x="405" y="156"/>
                    <a:pt x="402" y="162"/>
                    <a:pt x="402" y="162"/>
                  </a:cubicBezTo>
                  <a:cubicBezTo>
                    <a:pt x="418" y="177"/>
                    <a:pt x="418" y="177"/>
                    <a:pt x="418" y="177"/>
                  </a:cubicBezTo>
                  <a:cubicBezTo>
                    <a:pt x="362" y="223"/>
                    <a:pt x="362" y="223"/>
                    <a:pt x="362" y="223"/>
                  </a:cubicBezTo>
                  <a:cubicBezTo>
                    <a:pt x="338" y="243"/>
                    <a:pt x="338" y="243"/>
                    <a:pt x="338" y="243"/>
                  </a:cubicBezTo>
                  <a:cubicBezTo>
                    <a:pt x="314" y="263"/>
                    <a:pt x="314" y="263"/>
                    <a:pt x="314" y="263"/>
                  </a:cubicBezTo>
                  <a:cubicBezTo>
                    <a:pt x="237" y="321"/>
                    <a:pt x="237" y="321"/>
                    <a:pt x="237" y="321"/>
                  </a:cubicBezTo>
                  <a:cubicBezTo>
                    <a:pt x="229" y="296"/>
                    <a:pt x="229" y="296"/>
                    <a:pt x="229" y="296"/>
                  </a:cubicBezTo>
                  <a:cubicBezTo>
                    <a:pt x="221" y="290"/>
                    <a:pt x="221" y="290"/>
                    <a:pt x="221" y="290"/>
                  </a:cubicBezTo>
                  <a:cubicBezTo>
                    <a:pt x="218" y="267"/>
                    <a:pt x="218" y="267"/>
                    <a:pt x="218" y="267"/>
                  </a:cubicBezTo>
                  <a:cubicBezTo>
                    <a:pt x="208" y="261"/>
                    <a:pt x="208" y="261"/>
                    <a:pt x="208" y="261"/>
                  </a:cubicBezTo>
                  <a:cubicBezTo>
                    <a:pt x="213" y="248"/>
                    <a:pt x="213" y="248"/>
                    <a:pt x="213" y="248"/>
                  </a:cubicBezTo>
                  <a:cubicBezTo>
                    <a:pt x="206" y="231"/>
                    <a:pt x="206" y="231"/>
                    <a:pt x="206" y="231"/>
                  </a:cubicBezTo>
                  <a:cubicBezTo>
                    <a:pt x="196" y="235"/>
                    <a:pt x="196" y="235"/>
                    <a:pt x="196" y="235"/>
                  </a:cubicBezTo>
                  <a:cubicBezTo>
                    <a:pt x="179" y="250"/>
                    <a:pt x="179" y="250"/>
                    <a:pt x="179" y="250"/>
                  </a:cubicBezTo>
                  <a:cubicBezTo>
                    <a:pt x="158" y="264"/>
                    <a:pt x="158" y="264"/>
                    <a:pt x="158" y="264"/>
                  </a:cubicBezTo>
                  <a:cubicBezTo>
                    <a:pt x="146" y="279"/>
                    <a:pt x="146" y="279"/>
                    <a:pt x="146" y="279"/>
                  </a:cubicBezTo>
                  <a:cubicBezTo>
                    <a:pt x="122" y="285"/>
                    <a:pt x="122" y="285"/>
                    <a:pt x="122" y="285"/>
                  </a:cubicBezTo>
                  <a:cubicBezTo>
                    <a:pt x="104" y="294"/>
                    <a:pt x="104" y="294"/>
                    <a:pt x="104" y="294"/>
                  </a:cubicBezTo>
                  <a:cubicBezTo>
                    <a:pt x="75" y="313"/>
                    <a:pt x="75" y="313"/>
                    <a:pt x="75" y="313"/>
                  </a:cubicBezTo>
                  <a:cubicBezTo>
                    <a:pt x="23" y="320"/>
                    <a:pt x="23" y="320"/>
                    <a:pt x="23" y="320"/>
                  </a:cubicBezTo>
                  <a:cubicBezTo>
                    <a:pt x="25" y="310"/>
                    <a:pt x="23" y="299"/>
                    <a:pt x="23" y="299"/>
                  </a:cubicBezTo>
                  <a:cubicBezTo>
                    <a:pt x="25" y="279"/>
                    <a:pt x="25" y="279"/>
                    <a:pt x="25" y="279"/>
                  </a:cubicBezTo>
                  <a:cubicBezTo>
                    <a:pt x="17" y="272"/>
                    <a:pt x="17" y="272"/>
                    <a:pt x="17" y="272"/>
                  </a:cubicBezTo>
                  <a:cubicBezTo>
                    <a:pt x="8" y="260"/>
                    <a:pt x="8" y="260"/>
                    <a:pt x="8" y="260"/>
                  </a:cubicBezTo>
                  <a:cubicBezTo>
                    <a:pt x="0" y="250"/>
                    <a:pt x="0" y="250"/>
                    <a:pt x="0" y="250"/>
                  </a:cubicBezTo>
                  <a:cubicBezTo>
                    <a:pt x="12" y="232"/>
                    <a:pt x="12" y="232"/>
                    <a:pt x="12" y="232"/>
                  </a:cubicBezTo>
                  <a:cubicBezTo>
                    <a:pt x="31" y="212"/>
                    <a:pt x="31" y="212"/>
                    <a:pt x="31" y="212"/>
                  </a:cubicBezTo>
                  <a:cubicBezTo>
                    <a:pt x="41" y="201"/>
                    <a:pt x="41" y="201"/>
                    <a:pt x="41" y="201"/>
                  </a:cubicBezTo>
                  <a:cubicBezTo>
                    <a:pt x="46" y="202"/>
                    <a:pt x="46" y="202"/>
                    <a:pt x="46" y="202"/>
                  </a:cubicBezTo>
                  <a:cubicBezTo>
                    <a:pt x="55" y="199"/>
                    <a:pt x="55" y="199"/>
                    <a:pt x="55" y="199"/>
                  </a:cubicBezTo>
                  <a:cubicBezTo>
                    <a:pt x="69" y="194"/>
                    <a:pt x="69" y="194"/>
                    <a:pt x="69" y="194"/>
                  </a:cubicBezTo>
                  <a:cubicBezTo>
                    <a:pt x="87" y="187"/>
                    <a:pt x="87" y="187"/>
                    <a:pt x="87" y="187"/>
                  </a:cubicBezTo>
                  <a:cubicBezTo>
                    <a:pt x="107" y="180"/>
                    <a:pt x="107" y="180"/>
                    <a:pt x="107" y="180"/>
                  </a:cubicBezTo>
                  <a:cubicBezTo>
                    <a:pt x="116" y="175"/>
                    <a:pt x="116" y="175"/>
                    <a:pt x="116" y="175"/>
                  </a:cubicBezTo>
                  <a:cubicBezTo>
                    <a:pt x="134" y="174"/>
                    <a:pt x="134" y="174"/>
                    <a:pt x="134" y="174"/>
                  </a:cubicBezTo>
                  <a:cubicBezTo>
                    <a:pt x="140" y="170"/>
                    <a:pt x="140" y="170"/>
                    <a:pt x="140" y="170"/>
                  </a:cubicBezTo>
                  <a:cubicBezTo>
                    <a:pt x="149" y="156"/>
                    <a:pt x="149" y="156"/>
                    <a:pt x="149" y="156"/>
                  </a:cubicBezTo>
                  <a:cubicBezTo>
                    <a:pt x="158" y="137"/>
                    <a:pt x="158" y="137"/>
                    <a:pt x="158" y="137"/>
                  </a:cubicBezTo>
                  <a:cubicBezTo>
                    <a:pt x="169" y="131"/>
                    <a:pt x="169" y="131"/>
                    <a:pt x="169" y="131"/>
                  </a:cubicBezTo>
                  <a:cubicBezTo>
                    <a:pt x="177" y="130"/>
                    <a:pt x="177" y="130"/>
                    <a:pt x="177" y="130"/>
                  </a:cubicBezTo>
                  <a:cubicBezTo>
                    <a:pt x="185" y="127"/>
                    <a:pt x="185" y="127"/>
                    <a:pt x="185" y="127"/>
                  </a:cubicBezTo>
                  <a:cubicBezTo>
                    <a:pt x="186" y="121"/>
                    <a:pt x="186" y="121"/>
                    <a:pt x="186" y="121"/>
                  </a:cubicBezTo>
                  <a:cubicBezTo>
                    <a:pt x="184" y="115"/>
                    <a:pt x="184" y="115"/>
                    <a:pt x="184" y="115"/>
                  </a:cubicBezTo>
                  <a:cubicBezTo>
                    <a:pt x="176" y="112"/>
                    <a:pt x="176" y="112"/>
                    <a:pt x="176" y="112"/>
                  </a:cubicBezTo>
                  <a:cubicBezTo>
                    <a:pt x="176" y="106"/>
                    <a:pt x="176" y="106"/>
                    <a:pt x="176" y="106"/>
                  </a:cubicBezTo>
                  <a:cubicBezTo>
                    <a:pt x="178" y="100"/>
                    <a:pt x="178" y="100"/>
                    <a:pt x="178" y="100"/>
                  </a:cubicBezTo>
                  <a:cubicBezTo>
                    <a:pt x="189" y="100"/>
                    <a:pt x="189" y="100"/>
                    <a:pt x="189" y="100"/>
                  </a:cubicBezTo>
                  <a:cubicBezTo>
                    <a:pt x="192" y="95"/>
                    <a:pt x="192" y="95"/>
                    <a:pt x="192" y="95"/>
                  </a:cubicBezTo>
                  <a:cubicBezTo>
                    <a:pt x="195" y="89"/>
                    <a:pt x="195" y="89"/>
                    <a:pt x="195" y="89"/>
                  </a:cubicBezTo>
                  <a:cubicBezTo>
                    <a:pt x="196" y="80"/>
                    <a:pt x="196" y="80"/>
                    <a:pt x="196" y="80"/>
                  </a:cubicBezTo>
                  <a:cubicBezTo>
                    <a:pt x="200" y="77"/>
                    <a:pt x="200" y="77"/>
                    <a:pt x="200" y="77"/>
                  </a:cubicBezTo>
                  <a:cubicBezTo>
                    <a:pt x="212" y="78"/>
                    <a:pt x="212" y="78"/>
                    <a:pt x="212" y="78"/>
                  </a:cubicBezTo>
                  <a:cubicBezTo>
                    <a:pt x="223" y="75"/>
                    <a:pt x="223" y="75"/>
                    <a:pt x="223" y="75"/>
                  </a:cubicBezTo>
                  <a:cubicBezTo>
                    <a:pt x="225" y="69"/>
                    <a:pt x="225" y="69"/>
                    <a:pt x="225" y="69"/>
                  </a:cubicBezTo>
                  <a:cubicBezTo>
                    <a:pt x="219" y="57"/>
                    <a:pt x="219" y="57"/>
                    <a:pt x="219" y="57"/>
                  </a:cubicBezTo>
                  <a:cubicBezTo>
                    <a:pt x="222" y="56"/>
                    <a:pt x="222" y="56"/>
                    <a:pt x="222" y="56"/>
                  </a:cubicBezTo>
                  <a:cubicBezTo>
                    <a:pt x="224" y="54"/>
                    <a:pt x="227" y="53"/>
                    <a:pt x="228" y="51"/>
                  </a:cubicBezTo>
                  <a:cubicBezTo>
                    <a:pt x="230" y="50"/>
                    <a:pt x="231" y="47"/>
                    <a:pt x="233" y="45"/>
                  </a:cubicBezTo>
                  <a:cubicBezTo>
                    <a:pt x="234" y="44"/>
                    <a:pt x="236" y="43"/>
                    <a:pt x="237" y="43"/>
                  </a:cubicBezTo>
                  <a:cubicBezTo>
                    <a:pt x="240" y="42"/>
                    <a:pt x="245" y="44"/>
                    <a:pt x="248" y="43"/>
                  </a:cubicBezTo>
                  <a:cubicBezTo>
                    <a:pt x="252" y="42"/>
                    <a:pt x="255" y="38"/>
                    <a:pt x="258" y="36"/>
                  </a:cubicBezTo>
                  <a:cubicBezTo>
                    <a:pt x="262" y="34"/>
                    <a:pt x="267" y="31"/>
                    <a:pt x="271" y="28"/>
                  </a:cubicBezTo>
                  <a:cubicBezTo>
                    <a:pt x="275" y="25"/>
                    <a:pt x="279" y="21"/>
                    <a:pt x="283" y="18"/>
                  </a:cubicBezTo>
                  <a:cubicBezTo>
                    <a:pt x="288" y="13"/>
                    <a:pt x="298" y="8"/>
                    <a:pt x="301" y="1"/>
                  </a:cubicBezTo>
                  <a:cubicBezTo>
                    <a:pt x="316" y="0"/>
                    <a:pt x="316" y="0"/>
                    <a:pt x="316" y="0"/>
                  </a:cubicBezTo>
                  <a:cubicBezTo>
                    <a:pt x="324" y="9"/>
                    <a:pt x="324" y="9"/>
                    <a:pt x="324" y="9"/>
                  </a:cubicBezTo>
                  <a:cubicBezTo>
                    <a:pt x="329" y="21"/>
                    <a:pt x="329" y="21"/>
                    <a:pt x="329" y="21"/>
                  </a:cubicBezTo>
                  <a:cubicBezTo>
                    <a:pt x="331" y="40"/>
                    <a:pt x="331" y="40"/>
                    <a:pt x="331" y="40"/>
                  </a:cubicBezTo>
                  <a:cubicBezTo>
                    <a:pt x="327" y="53"/>
                    <a:pt x="327" y="53"/>
                    <a:pt x="327" y="53"/>
                  </a:cubicBezTo>
                  <a:cubicBezTo>
                    <a:pt x="320" y="62"/>
                    <a:pt x="320" y="62"/>
                    <a:pt x="320" y="62"/>
                  </a:cubicBezTo>
                  <a:cubicBezTo>
                    <a:pt x="322" y="74"/>
                    <a:pt x="322" y="74"/>
                    <a:pt x="322" y="74"/>
                  </a:cubicBezTo>
                  <a:cubicBezTo>
                    <a:pt x="334" y="69"/>
                    <a:pt x="334" y="69"/>
                    <a:pt x="334" y="69"/>
                  </a:cubicBezTo>
                  <a:cubicBezTo>
                    <a:pt x="344" y="64"/>
                    <a:pt x="344" y="64"/>
                    <a:pt x="344" y="64"/>
                  </a:cubicBezTo>
                  <a:cubicBezTo>
                    <a:pt x="358" y="57"/>
                    <a:pt x="358" y="57"/>
                    <a:pt x="358" y="57"/>
                  </a:cubicBezTo>
                  <a:cubicBezTo>
                    <a:pt x="375" y="49"/>
                    <a:pt x="375" y="49"/>
                    <a:pt x="375" y="49"/>
                  </a:cubicBezTo>
                  <a:cubicBezTo>
                    <a:pt x="401" y="46"/>
                    <a:pt x="401" y="46"/>
                    <a:pt x="401" y="46"/>
                  </a:cubicBezTo>
                  <a:cubicBezTo>
                    <a:pt x="420" y="45"/>
                    <a:pt x="420" y="45"/>
                    <a:pt x="420" y="45"/>
                  </a:cubicBezTo>
                  <a:cubicBezTo>
                    <a:pt x="425" y="49"/>
                    <a:pt x="425" y="49"/>
                    <a:pt x="425" y="49"/>
                  </a:cubicBezTo>
                  <a:cubicBezTo>
                    <a:pt x="447" y="60"/>
                    <a:pt x="447" y="60"/>
                    <a:pt x="447" y="60"/>
                  </a:cubicBezTo>
                  <a:cubicBezTo>
                    <a:pt x="468" y="74"/>
                    <a:pt x="468" y="74"/>
                    <a:pt x="468" y="74"/>
                  </a:cubicBezTo>
                  <a:cubicBezTo>
                    <a:pt x="471" y="85"/>
                    <a:pt x="471" y="85"/>
                    <a:pt x="471" y="85"/>
                  </a:cubicBezTo>
                  <a:cubicBezTo>
                    <a:pt x="470" y="96"/>
                    <a:pt x="470" y="96"/>
                    <a:pt x="470" y="96"/>
                  </a:cubicBezTo>
                  <a:cubicBezTo>
                    <a:pt x="467" y="112"/>
                    <a:pt x="467" y="112"/>
                    <a:pt x="467" y="112"/>
                  </a:cubicBezTo>
                  <a:lnTo>
                    <a:pt x="458" y="116"/>
                  </a:lnTo>
                  <a:close/>
                </a:path>
              </a:pathLst>
            </a:custGeom>
            <a:pattFill prst="wdUpDiag">
              <a:fgClr>
                <a:schemeClr val="accent2"/>
              </a:fgClr>
              <a:bgClr>
                <a:schemeClr val="bg1"/>
              </a:bgClr>
            </a:patt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88" name="Freeform 38">
              <a:extLst>
                <a:ext uri="{FF2B5EF4-FFF2-40B4-BE49-F238E27FC236}">
                  <a16:creationId xmlns:a16="http://schemas.microsoft.com/office/drawing/2014/main" id="{76DE98A2-D0AB-4C80-A1C8-A98D238AC9DC}"/>
                </a:ext>
              </a:extLst>
            </p:cNvPr>
            <p:cNvSpPr>
              <a:spLocks noEditPoints="1"/>
            </p:cNvSpPr>
            <p:nvPr/>
          </p:nvSpPr>
          <p:spPr bwMode="gray">
            <a:xfrm>
              <a:off x="5602" y="4642"/>
              <a:ext cx="543" cy="562"/>
            </a:xfrm>
            <a:custGeom>
              <a:avLst/>
              <a:gdLst>
                <a:gd name="T0" fmla="*/ 197 w 230"/>
                <a:gd name="T1" fmla="*/ 24 h 238"/>
                <a:gd name="T2" fmla="*/ 167 w 230"/>
                <a:gd name="T3" fmla="*/ 35 h 238"/>
                <a:gd name="T4" fmla="*/ 159 w 230"/>
                <a:gd name="T5" fmla="*/ 22 h 238"/>
                <a:gd name="T6" fmla="*/ 139 w 230"/>
                <a:gd name="T7" fmla="*/ 13 h 238"/>
                <a:gd name="T8" fmla="*/ 158 w 230"/>
                <a:gd name="T9" fmla="*/ 4 h 238"/>
                <a:gd name="T10" fmla="*/ 120 w 230"/>
                <a:gd name="T11" fmla="*/ 57 h 238"/>
                <a:gd name="T12" fmla="*/ 108 w 230"/>
                <a:gd name="T13" fmla="*/ 64 h 238"/>
                <a:gd name="T14" fmla="*/ 102 w 230"/>
                <a:gd name="T15" fmla="*/ 85 h 238"/>
                <a:gd name="T16" fmla="*/ 97 w 230"/>
                <a:gd name="T17" fmla="*/ 105 h 238"/>
                <a:gd name="T18" fmla="*/ 103 w 230"/>
                <a:gd name="T19" fmla="*/ 123 h 238"/>
                <a:gd name="T20" fmla="*/ 93 w 230"/>
                <a:gd name="T21" fmla="*/ 133 h 238"/>
                <a:gd name="T22" fmla="*/ 69 w 230"/>
                <a:gd name="T23" fmla="*/ 139 h 238"/>
                <a:gd name="T24" fmla="*/ 57 w 230"/>
                <a:gd name="T25" fmla="*/ 147 h 238"/>
                <a:gd name="T26" fmla="*/ 40 w 230"/>
                <a:gd name="T27" fmla="*/ 147 h 238"/>
                <a:gd name="T28" fmla="*/ 30 w 230"/>
                <a:gd name="T29" fmla="*/ 148 h 238"/>
                <a:gd name="T30" fmla="*/ 21 w 230"/>
                <a:gd name="T31" fmla="*/ 159 h 238"/>
                <a:gd name="T32" fmla="*/ 9 w 230"/>
                <a:gd name="T33" fmla="*/ 166 h 238"/>
                <a:gd name="T34" fmla="*/ 0 w 230"/>
                <a:gd name="T35" fmla="*/ 183 h 238"/>
                <a:gd name="T36" fmla="*/ 12 w 230"/>
                <a:gd name="T37" fmla="*/ 188 h 238"/>
                <a:gd name="T38" fmla="*/ 14 w 230"/>
                <a:gd name="T39" fmla="*/ 204 h 238"/>
                <a:gd name="T40" fmla="*/ 5 w 230"/>
                <a:gd name="T41" fmla="*/ 225 h 238"/>
                <a:gd name="T42" fmla="*/ 17 w 230"/>
                <a:gd name="T43" fmla="*/ 232 h 238"/>
                <a:gd name="T44" fmla="*/ 44 w 230"/>
                <a:gd name="T45" fmla="*/ 238 h 238"/>
                <a:gd name="T46" fmla="*/ 55 w 230"/>
                <a:gd name="T47" fmla="*/ 223 h 238"/>
                <a:gd name="T48" fmla="*/ 69 w 230"/>
                <a:gd name="T49" fmla="*/ 225 h 238"/>
                <a:gd name="T50" fmla="*/ 95 w 230"/>
                <a:gd name="T51" fmla="*/ 228 h 238"/>
                <a:gd name="T52" fmla="*/ 113 w 230"/>
                <a:gd name="T53" fmla="*/ 226 h 238"/>
                <a:gd name="T54" fmla="*/ 129 w 230"/>
                <a:gd name="T55" fmla="*/ 216 h 238"/>
                <a:gd name="T56" fmla="*/ 146 w 230"/>
                <a:gd name="T57" fmla="*/ 206 h 238"/>
                <a:gd name="T58" fmla="*/ 164 w 230"/>
                <a:gd name="T59" fmla="*/ 186 h 238"/>
                <a:gd name="T60" fmla="*/ 180 w 230"/>
                <a:gd name="T61" fmla="*/ 168 h 238"/>
                <a:gd name="T62" fmla="*/ 200 w 230"/>
                <a:gd name="T63" fmla="*/ 161 h 238"/>
                <a:gd name="T64" fmla="*/ 220 w 230"/>
                <a:gd name="T65" fmla="*/ 151 h 238"/>
                <a:gd name="T66" fmla="*/ 230 w 230"/>
                <a:gd name="T67" fmla="*/ 138 h 238"/>
                <a:gd name="T68" fmla="*/ 229 w 230"/>
                <a:gd name="T69" fmla="*/ 124 h 238"/>
                <a:gd name="T70" fmla="*/ 219 w 230"/>
                <a:gd name="T71" fmla="*/ 121 h 238"/>
                <a:gd name="T72" fmla="*/ 212 w 230"/>
                <a:gd name="T73" fmla="*/ 127 h 238"/>
                <a:gd name="T74" fmla="*/ 196 w 230"/>
                <a:gd name="T75" fmla="*/ 121 h 238"/>
                <a:gd name="T76" fmla="*/ 180 w 230"/>
                <a:gd name="T77" fmla="*/ 101 h 238"/>
                <a:gd name="T78" fmla="*/ 163 w 230"/>
                <a:gd name="T79" fmla="*/ 83 h 238"/>
                <a:gd name="T80" fmla="*/ 133 w 230"/>
                <a:gd name="T81" fmla="*/ 65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0" h="238">
                  <a:moveTo>
                    <a:pt x="174" y="14"/>
                  </a:moveTo>
                  <a:cubicBezTo>
                    <a:pt x="197" y="24"/>
                    <a:pt x="197" y="24"/>
                    <a:pt x="197" y="24"/>
                  </a:cubicBezTo>
                  <a:cubicBezTo>
                    <a:pt x="185" y="46"/>
                    <a:pt x="185" y="46"/>
                    <a:pt x="185" y="46"/>
                  </a:cubicBezTo>
                  <a:cubicBezTo>
                    <a:pt x="167" y="35"/>
                    <a:pt x="167" y="35"/>
                    <a:pt x="167" y="35"/>
                  </a:cubicBezTo>
                  <a:cubicBezTo>
                    <a:pt x="158" y="32"/>
                    <a:pt x="158" y="32"/>
                    <a:pt x="158" y="32"/>
                  </a:cubicBezTo>
                  <a:cubicBezTo>
                    <a:pt x="159" y="22"/>
                    <a:pt x="159" y="22"/>
                    <a:pt x="159" y="22"/>
                  </a:cubicBezTo>
                  <a:cubicBezTo>
                    <a:pt x="147" y="16"/>
                    <a:pt x="147" y="16"/>
                    <a:pt x="147" y="16"/>
                  </a:cubicBezTo>
                  <a:cubicBezTo>
                    <a:pt x="139" y="13"/>
                    <a:pt x="139" y="13"/>
                    <a:pt x="139" y="13"/>
                  </a:cubicBezTo>
                  <a:cubicBezTo>
                    <a:pt x="143" y="0"/>
                    <a:pt x="143" y="0"/>
                    <a:pt x="143" y="0"/>
                  </a:cubicBezTo>
                  <a:cubicBezTo>
                    <a:pt x="158" y="4"/>
                    <a:pt x="158" y="4"/>
                    <a:pt x="158" y="4"/>
                  </a:cubicBezTo>
                  <a:lnTo>
                    <a:pt x="174" y="14"/>
                  </a:lnTo>
                  <a:close/>
                  <a:moveTo>
                    <a:pt x="120" y="57"/>
                  </a:moveTo>
                  <a:cubicBezTo>
                    <a:pt x="116" y="56"/>
                    <a:pt x="116" y="56"/>
                    <a:pt x="116" y="56"/>
                  </a:cubicBezTo>
                  <a:cubicBezTo>
                    <a:pt x="108" y="64"/>
                    <a:pt x="108" y="64"/>
                    <a:pt x="108" y="64"/>
                  </a:cubicBezTo>
                  <a:cubicBezTo>
                    <a:pt x="106" y="80"/>
                    <a:pt x="106" y="80"/>
                    <a:pt x="106" y="80"/>
                  </a:cubicBezTo>
                  <a:cubicBezTo>
                    <a:pt x="102" y="85"/>
                    <a:pt x="102" y="85"/>
                    <a:pt x="102" y="85"/>
                  </a:cubicBezTo>
                  <a:cubicBezTo>
                    <a:pt x="97" y="95"/>
                    <a:pt x="97" y="95"/>
                    <a:pt x="97" y="95"/>
                  </a:cubicBezTo>
                  <a:cubicBezTo>
                    <a:pt x="97" y="105"/>
                    <a:pt x="97" y="105"/>
                    <a:pt x="97" y="105"/>
                  </a:cubicBezTo>
                  <a:cubicBezTo>
                    <a:pt x="103" y="112"/>
                    <a:pt x="103" y="112"/>
                    <a:pt x="103" y="112"/>
                  </a:cubicBezTo>
                  <a:cubicBezTo>
                    <a:pt x="103" y="123"/>
                    <a:pt x="103" y="123"/>
                    <a:pt x="103" y="123"/>
                  </a:cubicBezTo>
                  <a:cubicBezTo>
                    <a:pt x="100" y="130"/>
                    <a:pt x="100" y="130"/>
                    <a:pt x="100" y="130"/>
                  </a:cubicBezTo>
                  <a:cubicBezTo>
                    <a:pt x="93" y="133"/>
                    <a:pt x="93" y="133"/>
                    <a:pt x="93" y="133"/>
                  </a:cubicBezTo>
                  <a:cubicBezTo>
                    <a:pt x="81" y="137"/>
                    <a:pt x="81" y="137"/>
                    <a:pt x="81" y="137"/>
                  </a:cubicBezTo>
                  <a:cubicBezTo>
                    <a:pt x="81" y="137"/>
                    <a:pt x="73" y="138"/>
                    <a:pt x="69" y="139"/>
                  </a:cubicBezTo>
                  <a:cubicBezTo>
                    <a:pt x="65" y="141"/>
                    <a:pt x="63" y="141"/>
                    <a:pt x="63" y="141"/>
                  </a:cubicBezTo>
                  <a:cubicBezTo>
                    <a:pt x="57" y="147"/>
                    <a:pt x="57" y="147"/>
                    <a:pt x="57" y="147"/>
                  </a:cubicBezTo>
                  <a:cubicBezTo>
                    <a:pt x="50" y="147"/>
                    <a:pt x="50" y="147"/>
                    <a:pt x="50" y="147"/>
                  </a:cubicBezTo>
                  <a:cubicBezTo>
                    <a:pt x="40" y="147"/>
                    <a:pt x="40" y="147"/>
                    <a:pt x="40" y="147"/>
                  </a:cubicBezTo>
                  <a:cubicBezTo>
                    <a:pt x="36" y="146"/>
                    <a:pt x="36" y="146"/>
                    <a:pt x="36" y="146"/>
                  </a:cubicBezTo>
                  <a:cubicBezTo>
                    <a:pt x="30" y="148"/>
                    <a:pt x="30" y="148"/>
                    <a:pt x="30" y="148"/>
                  </a:cubicBezTo>
                  <a:cubicBezTo>
                    <a:pt x="25" y="153"/>
                    <a:pt x="25" y="153"/>
                    <a:pt x="25" y="153"/>
                  </a:cubicBezTo>
                  <a:cubicBezTo>
                    <a:pt x="21" y="159"/>
                    <a:pt x="21" y="159"/>
                    <a:pt x="21" y="159"/>
                  </a:cubicBezTo>
                  <a:cubicBezTo>
                    <a:pt x="18" y="164"/>
                    <a:pt x="18" y="164"/>
                    <a:pt x="18" y="164"/>
                  </a:cubicBezTo>
                  <a:cubicBezTo>
                    <a:pt x="9" y="166"/>
                    <a:pt x="9" y="166"/>
                    <a:pt x="9" y="166"/>
                  </a:cubicBezTo>
                  <a:cubicBezTo>
                    <a:pt x="2" y="177"/>
                    <a:pt x="2" y="177"/>
                    <a:pt x="2" y="177"/>
                  </a:cubicBezTo>
                  <a:cubicBezTo>
                    <a:pt x="0" y="183"/>
                    <a:pt x="0" y="183"/>
                    <a:pt x="0" y="183"/>
                  </a:cubicBezTo>
                  <a:cubicBezTo>
                    <a:pt x="6" y="186"/>
                    <a:pt x="6" y="186"/>
                    <a:pt x="6" y="186"/>
                  </a:cubicBezTo>
                  <a:cubicBezTo>
                    <a:pt x="12" y="188"/>
                    <a:pt x="12" y="188"/>
                    <a:pt x="12" y="188"/>
                  </a:cubicBezTo>
                  <a:cubicBezTo>
                    <a:pt x="14" y="193"/>
                    <a:pt x="14" y="193"/>
                    <a:pt x="14" y="193"/>
                  </a:cubicBezTo>
                  <a:cubicBezTo>
                    <a:pt x="14" y="204"/>
                    <a:pt x="14" y="204"/>
                    <a:pt x="14" y="204"/>
                  </a:cubicBezTo>
                  <a:cubicBezTo>
                    <a:pt x="10" y="214"/>
                    <a:pt x="10" y="214"/>
                    <a:pt x="10" y="214"/>
                  </a:cubicBezTo>
                  <a:cubicBezTo>
                    <a:pt x="5" y="225"/>
                    <a:pt x="5" y="225"/>
                    <a:pt x="5" y="225"/>
                  </a:cubicBezTo>
                  <a:cubicBezTo>
                    <a:pt x="4" y="232"/>
                    <a:pt x="4" y="232"/>
                    <a:pt x="4" y="232"/>
                  </a:cubicBezTo>
                  <a:cubicBezTo>
                    <a:pt x="17" y="232"/>
                    <a:pt x="17" y="232"/>
                    <a:pt x="17" y="232"/>
                  </a:cubicBezTo>
                  <a:cubicBezTo>
                    <a:pt x="30" y="234"/>
                    <a:pt x="30" y="234"/>
                    <a:pt x="30" y="234"/>
                  </a:cubicBezTo>
                  <a:cubicBezTo>
                    <a:pt x="44" y="238"/>
                    <a:pt x="44" y="238"/>
                    <a:pt x="44" y="238"/>
                  </a:cubicBezTo>
                  <a:cubicBezTo>
                    <a:pt x="50" y="228"/>
                    <a:pt x="50" y="228"/>
                    <a:pt x="50" y="228"/>
                  </a:cubicBezTo>
                  <a:cubicBezTo>
                    <a:pt x="55" y="223"/>
                    <a:pt x="55" y="223"/>
                    <a:pt x="55" y="223"/>
                  </a:cubicBezTo>
                  <a:cubicBezTo>
                    <a:pt x="60" y="222"/>
                    <a:pt x="60" y="222"/>
                    <a:pt x="60" y="222"/>
                  </a:cubicBezTo>
                  <a:cubicBezTo>
                    <a:pt x="69" y="225"/>
                    <a:pt x="69" y="225"/>
                    <a:pt x="69" y="225"/>
                  </a:cubicBezTo>
                  <a:cubicBezTo>
                    <a:pt x="83" y="226"/>
                    <a:pt x="83" y="226"/>
                    <a:pt x="83" y="226"/>
                  </a:cubicBezTo>
                  <a:cubicBezTo>
                    <a:pt x="95" y="228"/>
                    <a:pt x="95" y="228"/>
                    <a:pt x="95" y="228"/>
                  </a:cubicBezTo>
                  <a:cubicBezTo>
                    <a:pt x="106" y="230"/>
                    <a:pt x="106" y="230"/>
                    <a:pt x="106" y="230"/>
                  </a:cubicBezTo>
                  <a:cubicBezTo>
                    <a:pt x="113" y="226"/>
                    <a:pt x="113" y="226"/>
                    <a:pt x="113" y="226"/>
                  </a:cubicBezTo>
                  <a:cubicBezTo>
                    <a:pt x="119" y="221"/>
                    <a:pt x="119" y="221"/>
                    <a:pt x="119" y="221"/>
                  </a:cubicBezTo>
                  <a:cubicBezTo>
                    <a:pt x="129" y="216"/>
                    <a:pt x="129" y="216"/>
                    <a:pt x="129" y="216"/>
                  </a:cubicBezTo>
                  <a:cubicBezTo>
                    <a:pt x="137" y="212"/>
                    <a:pt x="137" y="212"/>
                    <a:pt x="137" y="212"/>
                  </a:cubicBezTo>
                  <a:cubicBezTo>
                    <a:pt x="146" y="206"/>
                    <a:pt x="146" y="206"/>
                    <a:pt x="146" y="206"/>
                  </a:cubicBezTo>
                  <a:cubicBezTo>
                    <a:pt x="156" y="195"/>
                    <a:pt x="156" y="195"/>
                    <a:pt x="156" y="195"/>
                  </a:cubicBezTo>
                  <a:cubicBezTo>
                    <a:pt x="164" y="186"/>
                    <a:pt x="164" y="186"/>
                    <a:pt x="164" y="186"/>
                  </a:cubicBezTo>
                  <a:cubicBezTo>
                    <a:pt x="173" y="175"/>
                    <a:pt x="173" y="175"/>
                    <a:pt x="173" y="175"/>
                  </a:cubicBezTo>
                  <a:cubicBezTo>
                    <a:pt x="180" y="168"/>
                    <a:pt x="180" y="168"/>
                    <a:pt x="180" y="168"/>
                  </a:cubicBezTo>
                  <a:cubicBezTo>
                    <a:pt x="190" y="165"/>
                    <a:pt x="190" y="165"/>
                    <a:pt x="190" y="165"/>
                  </a:cubicBezTo>
                  <a:cubicBezTo>
                    <a:pt x="200" y="161"/>
                    <a:pt x="200" y="161"/>
                    <a:pt x="200" y="161"/>
                  </a:cubicBezTo>
                  <a:cubicBezTo>
                    <a:pt x="211" y="156"/>
                    <a:pt x="211" y="156"/>
                    <a:pt x="211" y="156"/>
                  </a:cubicBezTo>
                  <a:cubicBezTo>
                    <a:pt x="220" y="151"/>
                    <a:pt x="220" y="151"/>
                    <a:pt x="220" y="151"/>
                  </a:cubicBezTo>
                  <a:cubicBezTo>
                    <a:pt x="226" y="143"/>
                    <a:pt x="226" y="143"/>
                    <a:pt x="226" y="143"/>
                  </a:cubicBezTo>
                  <a:cubicBezTo>
                    <a:pt x="230" y="138"/>
                    <a:pt x="230" y="138"/>
                    <a:pt x="230" y="138"/>
                  </a:cubicBezTo>
                  <a:cubicBezTo>
                    <a:pt x="230" y="130"/>
                    <a:pt x="230" y="130"/>
                    <a:pt x="230" y="130"/>
                  </a:cubicBezTo>
                  <a:cubicBezTo>
                    <a:pt x="229" y="124"/>
                    <a:pt x="229" y="124"/>
                    <a:pt x="229" y="124"/>
                  </a:cubicBezTo>
                  <a:cubicBezTo>
                    <a:pt x="223" y="121"/>
                    <a:pt x="223" y="121"/>
                    <a:pt x="223" y="121"/>
                  </a:cubicBezTo>
                  <a:cubicBezTo>
                    <a:pt x="219" y="121"/>
                    <a:pt x="219" y="121"/>
                    <a:pt x="219" y="121"/>
                  </a:cubicBezTo>
                  <a:cubicBezTo>
                    <a:pt x="218" y="125"/>
                    <a:pt x="218" y="125"/>
                    <a:pt x="218" y="125"/>
                  </a:cubicBezTo>
                  <a:cubicBezTo>
                    <a:pt x="212" y="127"/>
                    <a:pt x="212" y="127"/>
                    <a:pt x="212" y="127"/>
                  </a:cubicBezTo>
                  <a:cubicBezTo>
                    <a:pt x="202" y="127"/>
                    <a:pt x="202" y="127"/>
                    <a:pt x="202" y="127"/>
                  </a:cubicBezTo>
                  <a:cubicBezTo>
                    <a:pt x="196" y="121"/>
                    <a:pt x="196" y="121"/>
                    <a:pt x="196" y="121"/>
                  </a:cubicBezTo>
                  <a:cubicBezTo>
                    <a:pt x="186" y="113"/>
                    <a:pt x="186" y="113"/>
                    <a:pt x="186" y="113"/>
                  </a:cubicBezTo>
                  <a:cubicBezTo>
                    <a:pt x="180" y="101"/>
                    <a:pt x="180" y="101"/>
                    <a:pt x="180" y="101"/>
                  </a:cubicBezTo>
                  <a:cubicBezTo>
                    <a:pt x="166" y="84"/>
                    <a:pt x="166" y="84"/>
                    <a:pt x="166" y="84"/>
                  </a:cubicBezTo>
                  <a:cubicBezTo>
                    <a:pt x="163" y="83"/>
                    <a:pt x="163" y="83"/>
                    <a:pt x="163" y="83"/>
                  </a:cubicBezTo>
                  <a:cubicBezTo>
                    <a:pt x="149" y="75"/>
                    <a:pt x="149" y="75"/>
                    <a:pt x="149" y="75"/>
                  </a:cubicBezTo>
                  <a:cubicBezTo>
                    <a:pt x="133" y="65"/>
                    <a:pt x="133" y="65"/>
                    <a:pt x="133" y="65"/>
                  </a:cubicBezTo>
                  <a:lnTo>
                    <a:pt x="120" y="57"/>
                  </a:lnTo>
                  <a:close/>
                </a:path>
              </a:pathLst>
            </a:custGeom>
            <a:pattFill prst="ltHorz">
              <a:fgClr>
                <a:schemeClr val="accent2"/>
              </a:fgClr>
              <a:bgClr>
                <a:schemeClr val="bg1"/>
              </a:bgClr>
            </a:patt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sp>
          <p:nvSpPr>
            <p:cNvPr id="6289" name="Freeform 39">
              <a:extLst>
                <a:ext uri="{FF2B5EF4-FFF2-40B4-BE49-F238E27FC236}">
                  <a16:creationId xmlns:a16="http://schemas.microsoft.com/office/drawing/2014/main" id="{3921807C-890D-4AA2-A8B3-E14D3685AA74}"/>
                </a:ext>
              </a:extLst>
            </p:cNvPr>
            <p:cNvSpPr>
              <a:spLocks/>
            </p:cNvSpPr>
            <p:nvPr/>
          </p:nvSpPr>
          <p:spPr bwMode="gray">
            <a:xfrm>
              <a:off x="7067" y="1899"/>
              <a:ext cx="1218" cy="853"/>
            </a:xfrm>
            <a:custGeom>
              <a:avLst/>
              <a:gdLst>
                <a:gd name="T0" fmla="*/ 324 w 516"/>
                <a:gd name="T1" fmla="*/ 71 h 361"/>
                <a:gd name="T2" fmla="*/ 302 w 516"/>
                <a:gd name="T3" fmla="*/ 78 h 361"/>
                <a:gd name="T4" fmla="*/ 281 w 516"/>
                <a:gd name="T5" fmla="*/ 81 h 361"/>
                <a:gd name="T6" fmla="*/ 249 w 516"/>
                <a:gd name="T7" fmla="*/ 69 h 361"/>
                <a:gd name="T8" fmla="*/ 232 w 516"/>
                <a:gd name="T9" fmla="*/ 48 h 361"/>
                <a:gd name="T10" fmla="*/ 243 w 516"/>
                <a:gd name="T11" fmla="*/ 17 h 361"/>
                <a:gd name="T12" fmla="*/ 217 w 516"/>
                <a:gd name="T13" fmla="*/ 11 h 361"/>
                <a:gd name="T14" fmla="*/ 186 w 516"/>
                <a:gd name="T15" fmla="*/ 8 h 361"/>
                <a:gd name="T16" fmla="*/ 138 w 516"/>
                <a:gd name="T17" fmla="*/ 6 h 361"/>
                <a:gd name="T18" fmla="*/ 103 w 516"/>
                <a:gd name="T19" fmla="*/ 6 h 361"/>
                <a:gd name="T20" fmla="*/ 106 w 516"/>
                <a:gd name="T21" fmla="*/ 33 h 361"/>
                <a:gd name="T22" fmla="*/ 98 w 516"/>
                <a:gd name="T23" fmla="*/ 55 h 361"/>
                <a:gd name="T24" fmla="*/ 73 w 516"/>
                <a:gd name="T25" fmla="*/ 70 h 361"/>
                <a:gd name="T26" fmla="*/ 60 w 516"/>
                <a:gd name="T27" fmla="*/ 93 h 361"/>
                <a:gd name="T28" fmla="*/ 41 w 516"/>
                <a:gd name="T29" fmla="*/ 121 h 361"/>
                <a:gd name="T30" fmla="*/ 69 w 516"/>
                <a:gd name="T31" fmla="*/ 145 h 361"/>
                <a:gd name="T32" fmla="*/ 104 w 516"/>
                <a:gd name="T33" fmla="*/ 136 h 361"/>
                <a:gd name="T34" fmla="*/ 140 w 516"/>
                <a:gd name="T35" fmla="*/ 139 h 361"/>
                <a:gd name="T36" fmla="*/ 150 w 516"/>
                <a:gd name="T37" fmla="*/ 166 h 361"/>
                <a:gd name="T38" fmla="*/ 132 w 516"/>
                <a:gd name="T39" fmla="*/ 183 h 361"/>
                <a:gd name="T40" fmla="*/ 119 w 516"/>
                <a:gd name="T41" fmla="*/ 208 h 361"/>
                <a:gd name="T42" fmla="*/ 96 w 516"/>
                <a:gd name="T43" fmla="*/ 215 h 361"/>
                <a:gd name="T44" fmla="*/ 75 w 516"/>
                <a:gd name="T45" fmla="*/ 224 h 361"/>
                <a:gd name="T46" fmla="*/ 78 w 516"/>
                <a:gd name="T47" fmla="*/ 234 h 361"/>
                <a:gd name="T48" fmla="*/ 78 w 516"/>
                <a:gd name="T49" fmla="*/ 265 h 361"/>
                <a:gd name="T50" fmla="*/ 66 w 516"/>
                <a:gd name="T51" fmla="*/ 281 h 361"/>
                <a:gd name="T52" fmla="*/ 28 w 516"/>
                <a:gd name="T53" fmla="*/ 314 h 361"/>
                <a:gd name="T54" fmla="*/ 10 w 516"/>
                <a:gd name="T55" fmla="*/ 335 h 361"/>
                <a:gd name="T56" fmla="*/ 5 w 516"/>
                <a:gd name="T57" fmla="*/ 344 h 361"/>
                <a:gd name="T58" fmla="*/ 10 w 516"/>
                <a:gd name="T59" fmla="*/ 353 h 361"/>
                <a:gd name="T60" fmla="*/ 51 w 516"/>
                <a:gd name="T61" fmla="*/ 359 h 361"/>
                <a:gd name="T62" fmla="*/ 85 w 516"/>
                <a:gd name="T63" fmla="*/ 331 h 361"/>
                <a:gd name="T64" fmla="*/ 119 w 516"/>
                <a:gd name="T65" fmla="*/ 324 h 361"/>
                <a:gd name="T66" fmla="*/ 150 w 516"/>
                <a:gd name="T67" fmla="*/ 297 h 361"/>
                <a:gd name="T68" fmla="*/ 186 w 516"/>
                <a:gd name="T69" fmla="*/ 270 h 361"/>
                <a:gd name="T70" fmla="*/ 235 w 516"/>
                <a:gd name="T71" fmla="*/ 239 h 361"/>
                <a:gd name="T72" fmla="*/ 251 w 516"/>
                <a:gd name="T73" fmla="*/ 212 h 361"/>
                <a:gd name="T74" fmla="*/ 292 w 516"/>
                <a:gd name="T75" fmla="*/ 227 h 361"/>
                <a:gd name="T76" fmla="*/ 351 w 516"/>
                <a:gd name="T77" fmla="*/ 213 h 361"/>
                <a:gd name="T78" fmla="*/ 385 w 516"/>
                <a:gd name="T79" fmla="*/ 186 h 361"/>
                <a:gd name="T80" fmla="*/ 430 w 516"/>
                <a:gd name="T81" fmla="*/ 204 h 361"/>
                <a:gd name="T82" fmla="*/ 477 w 516"/>
                <a:gd name="T83" fmla="*/ 205 h 361"/>
                <a:gd name="T84" fmla="*/ 515 w 516"/>
                <a:gd name="T85" fmla="*/ 194 h 361"/>
                <a:gd name="T86" fmla="*/ 492 w 516"/>
                <a:gd name="T87" fmla="*/ 180 h 361"/>
                <a:gd name="T88" fmla="*/ 486 w 516"/>
                <a:gd name="T89" fmla="*/ 145 h 361"/>
                <a:gd name="T90" fmla="*/ 435 w 516"/>
                <a:gd name="T91" fmla="*/ 143 h 361"/>
                <a:gd name="T92" fmla="*/ 411 w 516"/>
                <a:gd name="T93" fmla="*/ 127 h 361"/>
                <a:gd name="T94" fmla="*/ 386 w 516"/>
                <a:gd name="T95" fmla="*/ 99 h 361"/>
                <a:gd name="T96" fmla="*/ 354 w 516"/>
                <a:gd name="T97" fmla="*/ 79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6" h="361">
                  <a:moveTo>
                    <a:pt x="354" y="70"/>
                  </a:moveTo>
                  <a:cubicBezTo>
                    <a:pt x="349" y="69"/>
                    <a:pt x="341" y="70"/>
                    <a:pt x="336" y="70"/>
                  </a:cubicBezTo>
                  <a:cubicBezTo>
                    <a:pt x="332" y="70"/>
                    <a:pt x="328" y="71"/>
                    <a:pt x="324" y="71"/>
                  </a:cubicBezTo>
                  <a:cubicBezTo>
                    <a:pt x="322" y="72"/>
                    <a:pt x="319" y="73"/>
                    <a:pt x="317" y="73"/>
                  </a:cubicBezTo>
                  <a:cubicBezTo>
                    <a:pt x="315" y="74"/>
                    <a:pt x="312" y="75"/>
                    <a:pt x="310" y="75"/>
                  </a:cubicBezTo>
                  <a:cubicBezTo>
                    <a:pt x="307" y="76"/>
                    <a:pt x="304" y="77"/>
                    <a:pt x="302" y="78"/>
                  </a:cubicBezTo>
                  <a:cubicBezTo>
                    <a:pt x="300" y="79"/>
                    <a:pt x="297" y="81"/>
                    <a:pt x="295" y="82"/>
                  </a:cubicBezTo>
                  <a:cubicBezTo>
                    <a:pt x="294" y="83"/>
                    <a:pt x="293" y="85"/>
                    <a:pt x="291" y="87"/>
                  </a:cubicBezTo>
                  <a:cubicBezTo>
                    <a:pt x="281" y="81"/>
                    <a:pt x="281" y="81"/>
                    <a:pt x="281" y="81"/>
                  </a:cubicBezTo>
                  <a:cubicBezTo>
                    <a:pt x="275" y="73"/>
                    <a:pt x="275" y="73"/>
                    <a:pt x="275" y="73"/>
                  </a:cubicBezTo>
                  <a:cubicBezTo>
                    <a:pt x="262" y="75"/>
                    <a:pt x="262" y="75"/>
                    <a:pt x="262" y="75"/>
                  </a:cubicBezTo>
                  <a:cubicBezTo>
                    <a:pt x="249" y="69"/>
                    <a:pt x="249" y="69"/>
                    <a:pt x="249" y="69"/>
                  </a:cubicBezTo>
                  <a:cubicBezTo>
                    <a:pt x="236" y="65"/>
                    <a:pt x="236" y="65"/>
                    <a:pt x="236" y="65"/>
                  </a:cubicBezTo>
                  <a:cubicBezTo>
                    <a:pt x="232" y="61"/>
                    <a:pt x="232" y="61"/>
                    <a:pt x="232" y="61"/>
                  </a:cubicBezTo>
                  <a:cubicBezTo>
                    <a:pt x="232" y="48"/>
                    <a:pt x="232" y="48"/>
                    <a:pt x="232" y="48"/>
                  </a:cubicBezTo>
                  <a:cubicBezTo>
                    <a:pt x="237" y="37"/>
                    <a:pt x="237" y="37"/>
                    <a:pt x="237" y="37"/>
                  </a:cubicBezTo>
                  <a:cubicBezTo>
                    <a:pt x="243" y="27"/>
                    <a:pt x="243" y="27"/>
                    <a:pt x="243" y="27"/>
                  </a:cubicBezTo>
                  <a:cubicBezTo>
                    <a:pt x="243" y="17"/>
                    <a:pt x="243" y="17"/>
                    <a:pt x="243" y="17"/>
                  </a:cubicBezTo>
                  <a:cubicBezTo>
                    <a:pt x="233" y="21"/>
                    <a:pt x="233" y="21"/>
                    <a:pt x="233" y="21"/>
                  </a:cubicBezTo>
                  <a:cubicBezTo>
                    <a:pt x="223" y="17"/>
                    <a:pt x="223" y="17"/>
                    <a:pt x="223" y="17"/>
                  </a:cubicBezTo>
                  <a:cubicBezTo>
                    <a:pt x="217" y="11"/>
                    <a:pt x="217" y="11"/>
                    <a:pt x="217" y="11"/>
                  </a:cubicBezTo>
                  <a:cubicBezTo>
                    <a:pt x="207" y="3"/>
                    <a:pt x="207" y="3"/>
                    <a:pt x="207" y="3"/>
                  </a:cubicBezTo>
                  <a:cubicBezTo>
                    <a:pt x="198" y="3"/>
                    <a:pt x="198" y="3"/>
                    <a:pt x="198" y="3"/>
                  </a:cubicBezTo>
                  <a:cubicBezTo>
                    <a:pt x="186" y="8"/>
                    <a:pt x="186" y="8"/>
                    <a:pt x="186" y="8"/>
                  </a:cubicBezTo>
                  <a:cubicBezTo>
                    <a:pt x="174" y="14"/>
                    <a:pt x="174" y="14"/>
                    <a:pt x="174" y="14"/>
                  </a:cubicBezTo>
                  <a:cubicBezTo>
                    <a:pt x="155" y="10"/>
                    <a:pt x="155" y="10"/>
                    <a:pt x="155" y="10"/>
                  </a:cubicBezTo>
                  <a:cubicBezTo>
                    <a:pt x="138" y="6"/>
                    <a:pt x="138" y="6"/>
                    <a:pt x="138" y="6"/>
                  </a:cubicBezTo>
                  <a:cubicBezTo>
                    <a:pt x="127" y="0"/>
                    <a:pt x="127" y="0"/>
                    <a:pt x="127" y="0"/>
                  </a:cubicBezTo>
                  <a:cubicBezTo>
                    <a:pt x="110" y="2"/>
                    <a:pt x="110" y="2"/>
                    <a:pt x="110" y="2"/>
                  </a:cubicBezTo>
                  <a:cubicBezTo>
                    <a:pt x="103" y="6"/>
                    <a:pt x="103" y="6"/>
                    <a:pt x="103" y="6"/>
                  </a:cubicBezTo>
                  <a:cubicBezTo>
                    <a:pt x="100" y="12"/>
                    <a:pt x="100" y="12"/>
                    <a:pt x="100" y="12"/>
                  </a:cubicBezTo>
                  <a:cubicBezTo>
                    <a:pt x="98" y="21"/>
                    <a:pt x="98" y="21"/>
                    <a:pt x="98" y="21"/>
                  </a:cubicBezTo>
                  <a:cubicBezTo>
                    <a:pt x="106" y="33"/>
                    <a:pt x="106" y="33"/>
                    <a:pt x="106" y="33"/>
                  </a:cubicBezTo>
                  <a:cubicBezTo>
                    <a:pt x="111" y="45"/>
                    <a:pt x="111" y="45"/>
                    <a:pt x="111" y="45"/>
                  </a:cubicBezTo>
                  <a:cubicBezTo>
                    <a:pt x="108" y="52"/>
                    <a:pt x="108" y="52"/>
                    <a:pt x="108" y="52"/>
                  </a:cubicBezTo>
                  <a:cubicBezTo>
                    <a:pt x="98" y="55"/>
                    <a:pt x="98" y="55"/>
                    <a:pt x="98" y="55"/>
                  </a:cubicBezTo>
                  <a:cubicBezTo>
                    <a:pt x="87" y="63"/>
                    <a:pt x="87" y="63"/>
                    <a:pt x="87" y="63"/>
                  </a:cubicBezTo>
                  <a:cubicBezTo>
                    <a:pt x="81" y="68"/>
                    <a:pt x="81" y="68"/>
                    <a:pt x="81" y="68"/>
                  </a:cubicBezTo>
                  <a:cubicBezTo>
                    <a:pt x="73" y="70"/>
                    <a:pt x="73" y="70"/>
                    <a:pt x="73" y="70"/>
                  </a:cubicBezTo>
                  <a:cubicBezTo>
                    <a:pt x="69" y="76"/>
                    <a:pt x="69" y="76"/>
                    <a:pt x="69" y="76"/>
                  </a:cubicBezTo>
                  <a:cubicBezTo>
                    <a:pt x="65" y="91"/>
                    <a:pt x="65" y="91"/>
                    <a:pt x="65" y="91"/>
                  </a:cubicBezTo>
                  <a:cubicBezTo>
                    <a:pt x="60" y="93"/>
                    <a:pt x="60" y="93"/>
                    <a:pt x="60" y="93"/>
                  </a:cubicBezTo>
                  <a:cubicBezTo>
                    <a:pt x="52" y="100"/>
                    <a:pt x="52" y="100"/>
                    <a:pt x="52" y="100"/>
                  </a:cubicBezTo>
                  <a:cubicBezTo>
                    <a:pt x="50" y="113"/>
                    <a:pt x="50" y="113"/>
                    <a:pt x="50" y="113"/>
                  </a:cubicBezTo>
                  <a:cubicBezTo>
                    <a:pt x="41" y="121"/>
                    <a:pt x="41" y="121"/>
                    <a:pt x="41" y="121"/>
                  </a:cubicBezTo>
                  <a:cubicBezTo>
                    <a:pt x="37" y="131"/>
                    <a:pt x="37" y="131"/>
                    <a:pt x="37" y="131"/>
                  </a:cubicBezTo>
                  <a:cubicBezTo>
                    <a:pt x="40" y="144"/>
                    <a:pt x="40" y="144"/>
                    <a:pt x="40" y="144"/>
                  </a:cubicBezTo>
                  <a:cubicBezTo>
                    <a:pt x="69" y="145"/>
                    <a:pt x="69" y="145"/>
                    <a:pt x="69" y="145"/>
                  </a:cubicBezTo>
                  <a:cubicBezTo>
                    <a:pt x="82" y="146"/>
                    <a:pt x="82" y="146"/>
                    <a:pt x="82" y="146"/>
                  </a:cubicBezTo>
                  <a:cubicBezTo>
                    <a:pt x="94" y="141"/>
                    <a:pt x="94" y="141"/>
                    <a:pt x="94" y="141"/>
                  </a:cubicBezTo>
                  <a:cubicBezTo>
                    <a:pt x="104" y="136"/>
                    <a:pt x="104" y="136"/>
                    <a:pt x="104" y="136"/>
                  </a:cubicBezTo>
                  <a:cubicBezTo>
                    <a:pt x="119" y="132"/>
                    <a:pt x="119" y="132"/>
                    <a:pt x="119" y="132"/>
                  </a:cubicBezTo>
                  <a:cubicBezTo>
                    <a:pt x="134" y="134"/>
                    <a:pt x="134" y="134"/>
                    <a:pt x="134" y="134"/>
                  </a:cubicBezTo>
                  <a:cubicBezTo>
                    <a:pt x="140" y="139"/>
                    <a:pt x="140" y="139"/>
                    <a:pt x="140" y="139"/>
                  </a:cubicBezTo>
                  <a:cubicBezTo>
                    <a:pt x="147" y="146"/>
                    <a:pt x="147" y="146"/>
                    <a:pt x="147" y="146"/>
                  </a:cubicBezTo>
                  <a:cubicBezTo>
                    <a:pt x="155" y="161"/>
                    <a:pt x="155" y="161"/>
                    <a:pt x="155" y="161"/>
                  </a:cubicBezTo>
                  <a:cubicBezTo>
                    <a:pt x="150" y="166"/>
                    <a:pt x="150" y="166"/>
                    <a:pt x="150" y="166"/>
                  </a:cubicBezTo>
                  <a:cubicBezTo>
                    <a:pt x="150" y="173"/>
                    <a:pt x="150" y="173"/>
                    <a:pt x="150" y="173"/>
                  </a:cubicBezTo>
                  <a:cubicBezTo>
                    <a:pt x="146" y="180"/>
                    <a:pt x="146" y="180"/>
                    <a:pt x="146" y="180"/>
                  </a:cubicBezTo>
                  <a:cubicBezTo>
                    <a:pt x="132" y="183"/>
                    <a:pt x="132" y="183"/>
                    <a:pt x="132" y="183"/>
                  </a:cubicBezTo>
                  <a:cubicBezTo>
                    <a:pt x="124" y="190"/>
                    <a:pt x="124" y="190"/>
                    <a:pt x="124" y="190"/>
                  </a:cubicBezTo>
                  <a:cubicBezTo>
                    <a:pt x="120" y="199"/>
                    <a:pt x="120" y="199"/>
                    <a:pt x="120" y="199"/>
                  </a:cubicBezTo>
                  <a:cubicBezTo>
                    <a:pt x="119" y="208"/>
                    <a:pt x="119" y="208"/>
                    <a:pt x="119" y="208"/>
                  </a:cubicBezTo>
                  <a:cubicBezTo>
                    <a:pt x="117" y="208"/>
                    <a:pt x="112" y="211"/>
                    <a:pt x="111" y="212"/>
                  </a:cubicBezTo>
                  <a:cubicBezTo>
                    <a:pt x="109" y="214"/>
                    <a:pt x="106" y="215"/>
                    <a:pt x="104" y="215"/>
                  </a:cubicBezTo>
                  <a:cubicBezTo>
                    <a:pt x="101" y="216"/>
                    <a:pt x="98" y="214"/>
                    <a:pt x="96" y="215"/>
                  </a:cubicBezTo>
                  <a:cubicBezTo>
                    <a:pt x="93" y="216"/>
                    <a:pt x="91" y="219"/>
                    <a:pt x="89" y="220"/>
                  </a:cubicBezTo>
                  <a:cubicBezTo>
                    <a:pt x="87" y="221"/>
                    <a:pt x="85" y="222"/>
                    <a:pt x="84" y="223"/>
                  </a:cubicBezTo>
                  <a:cubicBezTo>
                    <a:pt x="81" y="224"/>
                    <a:pt x="77" y="222"/>
                    <a:pt x="75" y="224"/>
                  </a:cubicBezTo>
                  <a:cubicBezTo>
                    <a:pt x="74" y="224"/>
                    <a:pt x="74" y="226"/>
                    <a:pt x="74" y="226"/>
                  </a:cubicBezTo>
                  <a:cubicBezTo>
                    <a:pt x="74" y="228"/>
                    <a:pt x="74" y="229"/>
                    <a:pt x="74" y="230"/>
                  </a:cubicBezTo>
                  <a:cubicBezTo>
                    <a:pt x="75" y="232"/>
                    <a:pt x="78" y="233"/>
                    <a:pt x="78" y="234"/>
                  </a:cubicBezTo>
                  <a:cubicBezTo>
                    <a:pt x="80" y="238"/>
                    <a:pt x="78" y="244"/>
                    <a:pt x="78" y="247"/>
                  </a:cubicBezTo>
                  <a:cubicBezTo>
                    <a:pt x="78" y="251"/>
                    <a:pt x="77" y="255"/>
                    <a:pt x="77" y="258"/>
                  </a:cubicBezTo>
                  <a:cubicBezTo>
                    <a:pt x="77" y="260"/>
                    <a:pt x="78" y="263"/>
                    <a:pt x="78" y="265"/>
                  </a:cubicBezTo>
                  <a:cubicBezTo>
                    <a:pt x="78" y="267"/>
                    <a:pt x="78" y="269"/>
                    <a:pt x="77" y="270"/>
                  </a:cubicBezTo>
                  <a:cubicBezTo>
                    <a:pt x="76" y="272"/>
                    <a:pt x="73" y="273"/>
                    <a:pt x="71" y="275"/>
                  </a:cubicBezTo>
                  <a:cubicBezTo>
                    <a:pt x="69" y="276"/>
                    <a:pt x="68" y="279"/>
                    <a:pt x="66" y="281"/>
                  </a:cubicBezTo>
                  <a:cubicBezTo>
                    <a:pt x="62" y="285"/>
                    <a:pt x="56" y="289"/>
                    <a:pt x="52" y="292"/>
                  </a:cubicBezTo>
                  <a:cubicBezTo>
                    <a:pt x="48" y="295"/>
                    <a:pt x="42" y="298"/>
                    <a:pt x="39" y="301"/>
                  </a:cubicBezTo>
                  <a:cubicBezTo>
                    <a:pt x="35" y="304"/>
                    <a:pt x="31" y="310"/>
                    <a:pt x="28" y="314"/>
                  </a:cubicBezTo>
                  <a:cubicBezTo>
                    <a:pt x="27" y="316"/>
                    <a:pt x="25" y="320"/>
                    <a:pt x="24" y="322"/>
                  </a:cubicBezTo>
                  <a:cubicBezTo>
                    <a:pt x="22" y="325"/>
                    <a:pt x="20" y="329"/>
                    <a:pt x="17" y="332"/>
                  </a:cubicBezTo>
                  <a:cubicBezTo>
                    <a:pt x="15" y="333"/>
                    <a:pt x="12" y="334"/>
                    <a:pt x="10" y="335"/>
                  </a:cubicBezTo>
                  <a:cubicBezTo>
                    <a:pt x="8" y="335"/>
                    <a:pt x="6" y="334"/>
                    <a:pt x="5" y="335"/>
                  </a:cubicBezTo>
                  <a:cubicBezTo>
                    <a:pt x="3" y="336"/>
                    <a:pt x="0" y="338"/>
                    <a:pt x="0" y="339"/>
                  </a:cubicBezTo>
                  <a:cubicBezTo>
                    <a:pt x="0" y="341"/>
                    <a:pt x="3" y="343"/>
                    <a:pt x="5" y="344"/>
                  </a:cubicBezTo>
                  <a:cubicBezTo>
                    <a:pt x="6" y="344"/>
                    <a:pt x="8" y="341"/>
                    <a:pt x="9" y="342"/>
                  </a:cubicBezTo>
                  <a:cubicBezTo>
                    <a:pt x="11" y="343"/>
                    <a:pt x="10" y="346"/>
                    <a:pt x="10" y="347"/>
                  </a:cubicBezTo>
                  <a:cubicBezTo>
                    <a:pt x="10" y="349"/>
                    <a:pt x="11" y="351"/>
                    <a:pt x="10" y="353"/>
                  </a:cubicBezTo>
                  <a:cubicBezTo>
                    <a:pt x="25" y="352"/>
                    <a:pt x="25" y="352"/>
                    <a:pt x="25" y="352"/>
                  </a:cubicBezTo>
                  <a:cubicBezTo>
                    <a:pt x="33" y="361"/>
                    <a:pt x="33" y="361"/>
                    <a:pt x="33" y="361"/>
                  </a:cubicBezTo>
                  <a:cubicBezTo>
                    <a:pt x="51" y="359"/>
                    <a:pt x="51" y="359"/>
                    <a:pt x="51" y="359"/>
                  </a:cubicBezTo>
                  <a:cubicBezTo>
                    <a:pt x="61" y="352"/>
                    <a:pt x="61" y="352"/>
                    <a:pt x="61" y="352"/>
                  </a:cubicBezTo>
                  <a:cubicBezTo>
                    <a:pt x="76" y="339"/>
                    <a:pt x="76" y="339"/>
                    <a:pt x="76" y="339"/>
                  </a:cubicBezTo>
                  <a:cubicBezTo>
                    <a:pt x="85" y="331"/>
                    <a:pt x="85" y="331"/>
                    <a:pt x="85" y="331"/>
                  </a:cubicBezTo>
                  <a:cubicBezTo>
                    <a:pt x="104" y="333"/>
                    <a:pt x="104" y="333"/>
                    <a:pt x="104" y="333"/>
                  </a:cubicBezTo>
                  <a:cubicBezTo>
                    <a:pt x="114" y="332"/>
                    <a:pt x="114" y="332"/>
                    <a:pt x="114" y="332"/>
                  </a:cubicBezTo>
                  <a:cubicBezTo>
                    <a:pt x="119" y="324"/>
                    <a:pt x="119" y="324"/>
                    <a:pt x="119" y="324"/>
                  </a:cubicBezTo>
                  <a:cubicBezTo>
                    <a:pt x="119" y="316"/>
                    <a:pt x="119" y="316"/>
                    <a:pt x="119" y="316"/>
                  </a:cubicBezTo>
                  <a:cubicBezTo>
                    <a:pt x="138" y="313"/>
                    <a:pt x="138" y="313"/>
                    <a:pt x="138" y="313"/>
                  </a:cubicBezTo>
                  <a:cubicBezTo>
                    <a:pt x="150" y="297"/>
                    <a:pt x="150" y="297"/>
                    <a:pt x="150" y="297"/>
                  </a:cubicBezTo>
                  <a:cubicBezTo>
                    <a:pt x="160" y="275"/>
                    <a:pt x="160" y="275"/>
                    <a:pt x="160" y="275"/>
                  </a:cubicBezTo>
                  <a:cubicBezTo>
                    <a:pt x="162" y="265"/>
                    <a:pt x="162" y="265"/>
                    <a:pt x="162" y="265"/>
                  </a:cubicBezTo>
                  <a:cubicBezTo>
                    <a:pt x="186" y="270"/>
                    <a:pt x="186" y="270"/>
                    <a:pt x="186" y="270"/>
                  </a:cubicBezTo>
                  <a:cubicBezTo>
                    <a:pt x="227" y="267"/>
                    <a:pt x="227" y="267"/>
                    <a:pt x="227" y="267"/>
                  </a:cubicBezTo>
                  <a:cubicBezTo>
                    <a:pt x="223" y="246"/>
                    <a:pt x="223" y="246"/>
                    <a:pt x="223" y="246"/>
                  </a:cubicBezTo>
                  <a:cubicBezTo>
                    <a:pt x="235" y="239"/>
                    <a:pt x="235" y="239"/>
                    <a:pt x="235" y="239"/>
                  </a:cubicBezTo>
                  <a:cubicBezTo>
                    <a:pt x="234" y="225"/>
                    <a:pt x="234" y="225"/>
                    <a:pt x="234" y="225"/>
                  </a:cubicBezTo>
                  <a:cubicBezTo>
                    <a:pt x="239" y="214"/>
                    <a:pt x="239" y="214"/>
                    <a:pt x="239" y="214"/>
                  </a:cubicBezTo>
                  <a:cubicBezTo>
                    <a:pt x="251" y="212"/>
                    <a:pt x="251" y="212"/>
                    <a:pt x="251" y="212"/>
                  </a:cubicBezTo>
                  <a:cubicBezTo>
                    <a:pt x="263" y="212"/>
                    <a:pt x="263" y="212"/>
                    <a:pt x="263" y="212"/>
                  </a:cubicBezTo>
                  <a:cubicBezTo>
                    <a:pt x="273" y="223"/>
                    <a:pt x="273" y="223"/>
                    <a:pt x="273" y="223"/>
                  </a:cubicBezTo>
                  <a:cubicBezTo>
                    <a:pt x="292" y="227"/>
                    <a:pt x="292" y="227"/>
                    <a:pt x="292" y="227"/>
                  </a:cubicBezTo>
                  <a:cubicBezTo>
                    <a:pt x="315" y="226"/>
                    <a:pt x="315" y="226"/>
                    <a:pt x="315" y="226"/>
                  </a:cubicBezTo>
                  <a:cubicBezTo>
                    <a:pt x="334" y="222"/>
                    <a:pt x="334" y="222"/>
                    <a:pt x="334" y="222"/>
                  </a:cubicBezTo>
                  <a:cubicBezTo>
                    <a:pt x="351" y="213"/>
                    <a:pt x="351" y="213"/>
                    <a:pt x="351" y="213"/>
                  </a:cubicBezTo>
                  <a:cubicBezTo>
                    <a:pt x="368" y="200"/>
                    <a:pt x="368" y="200"/>
                    <a:pt x="368" y="200"/>
                  </a:cubicBezTo>
                  <a:cubicBezTo>
                    <a:pt x="380" y="184"/>
                    <a:pt x="380" y="184"/>
                    <a:pt x="380" y="184"/>
                  </a:cubicBezTo>
                  <a:cubicBezTo>
                    <a:pt x="385" y="186"/>
                    <a:pt x="385" y="186"/>
                    <a:pt x="385" y="186"/>
                  </a:cubicBezTo>
                  <a:cubicBezTo>
                    <a:pt x="388" y="202"/>
                    <a:pt x="388" y="202"/>
                    <a:pt x="388" y="202"/>
                  </a:cubicBezTo>
                  <a:cubicBezTo>
                    <a:pt x="401" y="201"/>
                    <a:pt x="401" y="201"/>
                    <a:pt x="401" y="201"/>
                  </a:cubicBezTo>
                  <a:cubicBezTo>
                    <a:pt x="430" y="204"/>
                    <a:pt x="430" y="204"/>
                    <a:pt x="430" y="204"/>
                  </a:cubicBezTo>
                  <a:cubicBezTo>
                    <a:pt x="447" y="205"/>
                    <a:pt x="447" y="205"/>
                    <a:pt x="447" y="205"/>
                  </a:cubicBezTo>
                  <a:cubicBezTo>
                    <a:pt x="466" y="212"/>
                    <a:pt x="466" y="212"/>
                    <a:pt x="466" y="212"/>
                  </a:cubicBezTo>
                  <a:cubicBezTo>
                    <a:pt x="477" y="205"/>
                    <a:pt x="477" y="205"/>
                    <a:pt x="477" y="205"/>
                  </a:cubicBezTo>
                  <a:cubicBezTo>
                    <a:pt x="487" y="193"/>
                    <a:pt x="487" y="193"/>
                    <a:pt x="487" y="193"/>
                  </a:cubicBezTo>
                  <a:cubicBezTo>
                    <a:pt x="508" y="193"/>
                    <a:pt x="508" y="193"/>
                    <a:pt x="508" y="193"/>
                  </a:cubicBezTo>
                  <a:cubicBezTo>
                    <a:pt x="515" y="194"/>
                    <a:pt x="515" y="194"/>
                    <a:pt x="515" y="194"/>
                  </a:cubicBezTo>
                  <a:cubicBezTo>
                    <a:pt x="516" y="185"/>
                    <a:pt x="516" y="185"/>
                    <a:pt x="516" y="185"/>
                  </a:cubicBezTo>
                  <a:cubicBezTo>
                    <a:pt x="494" y="185"/>
                    <a:pt x="494" y="185"/>
                    <a:pt x="494" y="185"/>
                  </a:cubicBezTo>
                  <a:cubicBezTo>
                    <a:pt x="492" y="180"/>
                    <a:pt x="492" y="180"/>
                    <a:pt x="492" y="180"/>
                  </a:cubicBezTo>
                  <a:cubicBezTo>
                    <a:pt x="487" y="169"/>
                    <a:pt x="487" y="169"/>
                    <a:pt x="487" y="169"/>
                  </a:cubicBezTo>
                  <a:cubicBezTo>
                    <a:pt x="486" y="159"/>
                    <a:pt x="486" y="159"/>
                    <a:pt x="486" y="159"/>
                  </a:cubicBezTo>
                  <a:cubicBezTo>
                    <a:pt x="486" y="145"/>
                    <a:pt x="486" y="145"/>
                    <a:pt x="486" y="145"/>
                  </a:cubicBezTo>
                  <a:cubicBezTo>
                    <a:pt x="472" y="143"/>
                    <a:pt x="472" y="143"/>
                    <a:pt x="472" y="143"/>
                  </a:cubicBezTo>
                  <a:cubicBezTo>
                    <a:pt x="455" y="148"/>
                    <a:pt x="455" y="148"/>
                    <a:pt x="455" y="148"/>
                  </a:cubicBezTo>
                  <a:cubicBezTo>
                    <a:pt x="435" y="143"/>
                    <a:pt x="435" y="143"/>
                    <a:pt x="435" y="143"/>
                  </a:cubicBezTo>
                  <a:cubicBezTo>
                    <a:pt x="426" y="128"/>
                    <a:pt x="426" y="128"/>
                    <a:pt x="426" y="128"/>
                  </a:cubicBezTo>
                  <a:cubicBezTo>
                    <a:pt x="420" y="129"/>
                    <a:pt x="420" y="129"/>
                    <a:pt x="420" y="129"/>
                  </a:cubicBezTo>
                  <a:cubicBezTo>
                    <a:pt x="411" y="127"/>
                    <a:pt x="411" y="127"/>
                    <a:pt x="411" y="127"/>
                  </a:cubicBezTo>
                  <a:cubicBezTo>
                    <a:pt x="406" y="120"/>
                    <a:pt x="406" y="120"/>
                    <a:pt x="406" y="120"/>
                  </a:cubicBezTo>
                  <a:cubicBezTo>
                    <a:pt x="390" y="105"/>
                    <a:pt x="390" y="105"/>
                    <a:pt x="390" y="105"/>
                  </a:cubicBezTo>
                  <a:cubicBezTo>
                    <a:pt x="386" y="99"/>
                    <a:pt x="386" y="99"/>
                    <a:pt x="386" y="99"/>
                  </a:cubicBezTo>
                  <a:cubicBezTo>
                    <a:pt x="385" y="92"/>
                    <a:pt x="385" y="92"/>
                    <a:pt x="385" y="92"/>
                  </a:cubicBezTo>
                  <a:cubicBezTo>
                    <a:pt x="367" y="91"/>
                    <a:pt x="367" y="91"/>
                    <a:pt x="367" y="91"/>
                  </a:cubicBezTo>
                  <a:cubicBezTo>
                    <a:pt x="354" y="79"/>
                    <a:pt x="354" y="79"/>
                    <a:pt x="354" y="79"/>
                  </a:cubicBezTo>
                  <a:lnTo>
                    <a:pt x="354" y="70"/>
                  </a:lnTo>
                  <a:close/>
                </a:path>
              </a:pathLst>
            </a:custGeom>
            <a:pattFill prst="ltDnDiag">
              <a:fgClr>
                <a:schemeClr val="accent2"/>
              </a:fgClr>
              <a:bgClr>
                <a:schemeClr val="bg1"/>
              </a:bgClr>
            </a:pattFill>
            <a:ln w="9525" cap="rnd"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DDDDDD"/>
                    </a:outerShdw>
                  </a:effectLst>
                </a14:hiddenEffects>
              </a:ext>
            </a:extLst>
          </p:spPr>
          <p:txBody>
            <a:bodyPr/>
            <a:lstStyle/>
            <a:p>
              <a:pPr algn="ctr" fontAlgn="base">
                <a:spcBef>
                  <a:spcPct val="0"/>
                </a:spcBef>
                <a:spcAft>
                  <a:spcPct val="0"/>
                </a:spcAft>
                <a:buClr>
                  <a:srgbClr val="BED600"/>
                </a:buClr>
                <a:buFont typeface="Wingdings 2" pitchFamily="18" charset="2"/>
                <a:buNone/>
              </a:pPr>
              <a:endParaRPr lang="en-US" b="1" dirty="0">
                <a:solidFill>
                  <a:prstClr val="black"/>
                </a:solidFill>
              </a:endParaRPr>
            </a:p>
          </p:txBody>
        </p:sp>
      </p:grpSp>
      <p:grpSp>
        <p:nvGrpSpPr>
          <p:cNvPr id="6" name="Gruppieren 5">
            <a:extLst>
              <a:ext uri="{FF2B5EF4-FFF2-40B4-BE49-F238E27FC236}">
                <a16:creationId xmlns:a16="http://schemas.microsoft.com/office/drawing/2014/main" id="{BBCCC761-7204-4A91-BAF8-957ECABE97A2}"/>
              </a:ext>
            </a:extLst>
          </p:cNvPr>
          <p:cNvGrpSpPr/>
          <p:nvPr/>
        </p:nvGrpSpPr>
        <p:grpSpPr bwMode="gray">
          <a:xfrm>
            <a:off x="3935976" y="1016792"/>
            <a:ext cx="1944000" cy="1548112"/>
            <a:chOff x="4007768" y="1016792"/>
            <a:chExt cx="1944000" cy="1548112"/>
          </a:xfrm>
        </p:grpSpPr>
        <p:sp>
          <p:nvSpPr>
            <p:cNvPr id="20222" name="Textplatzhalter 4">
              <a:extLst>
                <a:ext uri="{FF2B5EF4-FFF2-40B4-BE49-F238E27FC236}">
                  <a16:creationId xmlns:a16="http://schemas.microsoft.com/office/drawing/2014/main" id="{C55AF18C-6254-49A9-A753-6D9D8F55734B}"/>
                </a:ext>
              </a:extLst>
            </p:cNvPr>
            <p:cNvSpPr txBox="1">
              <a:spLocks/>
            </p:cNvSpPr>
            <p:nvPr/>
          </p:nvSpPr>
          <p:spPr bwMode="gray">
            <a:xfrm>
              <a:off x="4007768" y="1736835"/>
              <a:ext cx="1944000" cy="828069"/>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CO</a:t>
              </a:r>
              <a:r>
                <a:rPr lang="en-US" baseline="-25000" dirty="0"/>
                <a:t>2</a:t>
              </a:r>
              <a:r>
                <a:rPr lang="en-US" dirty="0"/>
                <a:t> we can save with our combined heating and power plant in Lübeck</a:t>
              </a:r>
            </a:p>
          </p:txBody>
        </p:sp>
        <p:sp>
          <p:nvSpPr>
            <p:cNvPr id="20223" name="Textplatzhalter 3">
              <a:extLst>
                <a:ext uri="{FF2B5EF4-FFF2-40B4-BE49-F238E27FC236}">
                  <a16:creationId xmlns:a16="http://schemas.microsoft.com/office/drawing/2014/main" id="{4042DE38-4578-4C95-8F76-D521FD388394}"/>
                </a:ext>
              </a:extLst>
            </p:cNvPr>
            <p:cNvSpPr txBox="1">
              <a:spLocks/>
            </p:cNvSpPr>
            <p:nvPr/>
          </p:nvSpPr>
          <p:spPr bwMode="gray">
            <a:xfrm>
              <a:off x="4007768" y="1016792"/>
              <a:ext cx="194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dirty="0">
                  <a:solidFill>
                    <a:schemeClr val="accent5"/>
                  </a:solidFill>
                </a:rPr>
                <a:t>25%</a:t>
              </a:r>
            </a:p>
          </p:txBody>
        </p:sp>
        <p:cxnSp>
          <p:nvCxnSpPr>
            <p:cNvPr id="20225" name="Gerader Verbinder 20224">
              <a:extLst>
                <a:ext uri="{FF2B5EF4-FFF2-40B4-BE49-F238E27FC236}">
                  <a16:creationId xmlns:a16="http://schemas.microsoft.com/office/drawing/2014/main" id="{F39FFE12-97BB-4C98-8E11-D418E4B3308E}"/>
                </a:ext>
              </a:extLst>
            </p:cNvPr>
            <p:cNvCxnSpPr/>
            <p:nvPr/>
          </p:nvCxnSpPr>
          <p:spPr bwMode="gray">
            <a:xfrm>
              <a:off x="5519936" y="1556792"/>
              <a:ext cx="4316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2" name="Gruppieren 1">
            <a:extLst>
              <a:ext uri="{FF2B5EF4-FFF2-40B4-BE49-F238E27FC236}">
                <a16:creationId xmlns:a16="http://schemas.microsoft.com/office/drawing/2014/main" id="{DC601733-CEE0-4BFD-AA2C-19F73A0C2A9A}"/>
              </a:ext>
            </a:extLst>
          </p:cNvPr>
          <p:cNvGrpSpPr/>
          <p:nvPr/>
        </p:nvGrpSpPr>
        <p:grpSpPr bwMode="gray">
          <a:xfrm>
            <a:off x="9912640" y="448972"/>
            <a:ext cx="2016008" cy="1548112"/>
            <a:chOff x="9696400" y="448972"/>
            <a:chExt cx="2016008" cy="1548112"/>
          </a:xfrm>
        </p:grpSpPr>
        <p:sp>
          <p:nvSpPr>
            <p:cNvPr id="20220" name="Textplatzhalter 4">
              <a:extLst>
                <a:ext uri="{FF2B5EF4-FFF2-40B4-BE49-F238E27FC236}">
                  <a16:creationId xmlns:a16="http://schemas.microsoft.com/office/drawing/2014/main" id="{2EF9E52E-FB0B-45F9-9967-42170EE9C519}"/>
                </a:ext>
              </a:extLst>
            </p:cNvPr>
            <p:cNvSpPr txBox="1">
              <a:spLocks/>
            </p:cNvSpPr>
            <p:nvPr/>
          </p:nvSpPr>
          <p:spPr bwMode="gray">
            <a:xfrm>
              <a:off x="9768408" y="1169015"/>
              <a:ext cx="1944000" cy="828069"/>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lgn="r"/>
              <a:r>
                <a:rPr lang="en-US" dirty="0"/>
                <a:t>CO</a:t>
              </a:r>
              <a:r>
                <a:rPr lang="en-US" baseline="-25000" dirty="0"/>
                <a:t>2</a:t>
              </a:r>
              <a:r>
                <a:rPr lang="en-US" dirty="0"/>
                <a:t> we can save with our combined heating and power plant in Lübeck</a:t>
              </a:r>
            </a:p>
          </p:txBody>
        </p:sp>
        <p:sp>
          <p:nvSpPr>
            <p:cNvPr id="20221" name="Textplatzhalter 3">
              <a:extLst>
                <a:ext uri="{FF2B5EF4-FFF2-40B4-BE49-F238E27FC236}">
                  <a16:creationId xmlns:a16="http://schemas.microsoft.com/office/drawing/2014/main" id="{6AA52031-146C-4B7D-8521-9C4BA1E5061B}"/>
                </a:ext>
              </a:extLst>
            </p:cNvPr>
            <p:cNvSpPr txBox="1">
              <a:spLocks/>
            </p:cNvSpPr>
            <p:nvPr/>
          </p:nvSpPr>
          <p:spPr bwMode="gray">
            <a:xfrm>
              <a:off x="9768408" y="448972"/>
              <a:ext cx="194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r"/>
              <a:r>
                <a:rPr lang="en-US" dirty="0">
                  <a:solidFill>
                    <a:schemeClr val="accent5"/>
                  </a:solidFill>
                </a:rPr>
                <a:t>25%</a:t>
              </a:r>
            </a:p>
          </p:txBody>
        </p:sp>
        <p:cxnSp>
          <p:nvCxnSpPr>
            <p:cNvPr id="20226" name="Gerader Verbinder 20225">
              <a:extLst>
                <a:ext uri="{FF2B5EF4-FFF2-40B4-BE49-F238E27FC236}">
                  <a16:creationId xmlns:a16="http://schemas.microsoft.com/office/drawing/2014/main" id="{6C6FC747-8CD8-4EDF-B779-87642156D066}"/>
                </a:ext>
              </a:extLst>
            </p:cNvPr>
            <p:cNvCxnSpPr/>
            <p:nvPr/>
          </p:nvCxnSpPr>
          <p:spPr bwMode="gray">
            <a:xfrm>
              <a:off x="9696400" y="988972"/>
              <a:ext cx="4316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20230" name="Gruppieren 20229">
            <a:extLst>
              <a:ext uri="{FF2B5EF4-FFF2-40B4-BE49-F238E27FC236}">
                <a16:creationId xmlns:a16="http://schemas.microsoft.com/office/drawing/2014/main" id="{F81A3C04-95CC-4896-BB11-E4319D50AE79}"/>
              </a:ext>
            </a:extLst>
          </p:cNvPr>
          <p:cNvGrpSpPr/>
          <p:nvPr/>
        </p:nvGrpSpPr>
        <p:grpSpPr bwMode="gray">
          <a:xfrm>
            <a:off x="7896200" y="4077072"/>
            <a:ext cx="3240360" cy="3240360"/>
            <a:chOff x="4295800" y="4005064"/>
            <a:chExt cx="3240360" cy="3240360"/>
          </a:xfrm>
          <a:solidFill>
            <a:schemeClr val="accent2"/>
          </a:solidFill>
        </p:grpSpPr>
        <p:sp>
          <p:nvSpPr>
            <p:cNvPr id="20227" name="Ellipse 20226">
              <a:extLst>
                <a:ext uri="{FF2B5EF4-FFF2-40B4-BE49-F238E27FC236}">
                  <a16:creationId xmlns:a16="http://schemas.microsoft.com/office/drawing/2014/main" id="{8B752CC6-84C3-4CAA-BE02-45D6A9D19035}"/>
                </a:ext>
              </a:extLst>
            </p:cNvPr>
            <p:cNvSpPr/>
            <p:nvPr/>
          </p:nvSpPr>
          <p:spPr bwMode="gray">
            <a:xfrm>
              <a:off x="4295800" y="4005064"/>
              <a:ext cx="3240360" cy="3240360"/>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228" name="Textplatzhalter 4">
              <a:extLst>
                <a:ext uri="{FF2B5EF4-FFF2-40B4-BE49-F238E27FC236}">
                  <a16:creationId xmlns:a16="http://schemas.microsoft.com/office/drawing/2014/main" id="{EAD1750F-B9A9-409D-94D7-63D5C870153D}"/>
                </a:ext>
              </a:extLst>
            </p:cNvPr>
            <p:cNvSpPr txBox="1">
              <a:spLocks/>
            </p:cNvSpPr>
            <p:nvPr/>
          </p:nvSpPr>
          <p:spPr bwMode="gray">
            <a:xfrm>
              <a:off x="5015880" y="5491063"/>
              <a:ext cx="1944000" cy="828069"/>
            </a:xfrm>
            <a:prstGeom prst="rect">
              <a:avLst/>
            </a:prstGeom>
            <a:noFill/>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solidFill>
                    <a:schemeClr val="bg1"/>
                  </a:solidFill>
                </a:rPr>
                <a:t>CO</a:t>
              </a:r>
              <a:r>
                <a:rPr lang="en-US" baseline="-25000" dirty="0">
                  <a:solidFill>
                    <a:schemeClr val="bg1"/>
                  </a:solidFill>
                </a:rPr>
                <a:t>2</a:t>
              </a:r>
              <a:r>
                <a:rPr lang="en-US" dirty="0">
                  <a:solidFill>
                    <a:schemeClr val="bg1"/>
                  </a:solidFill>
                </a:rPr>
                <a:t> we can save with our combined heating and power plant in Lübeck</a:t>
              </a:r>
            </a:p>
          </p:txBody>
        </p:sp>
        <p:sp>
          <p:nvSpPr>
            <p:cNvPr id="20229" name="Textplatzhalter 3">
              <a:extLst>
                <a:ext uri="{FF2B5EF4-FFF2-40B4-BE49-F238E27FC236}">
                  <a16:creationId xmlns:a16="http://schemas.microsoft.com/office/drawing/2014/main" id="{11A3BF99-DC9E-4044-8989-C43F8DEC67C9}"/>
                </a:ext>
              </a:extLst>
            </p:cNvPr>
            <p:cNvSpPr txBox="1">
              <a:spLocks/>
            </p:cNvSpPr>
            <p:nvPr/>
          </p:nvSpPr>
          <p:spPr bwMode="gray">
            <a:xfrm>
              <a:off x="5015880" y="4771020"/>
              <a:ext cx="1944000" cy="540000"/>
            </a:xfrm>
            <a:prstGeom prst="rect">
              <a:avLst/>
            </a:prstGeom>
            <a:noFill/>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dirty="0">
                  <a:solidFill>
                    <a:schemeClr val="bg1"/>
                  </a:solidFill>
                </a:rPr>
                <a:t>25%</a:t>
              </a:r>
            </a:p>
          </p:txBody>
        </p:sp>
      </p:grpSp>
      <p:sp>
        <p:nvSpPr>
          <p:cNvPr id="4" name="Titel 3">
            <a:extLst>
              <a:ext uri="{FF2B5EF4-FFF2-40B4-BE49-F238E27FC236}">
                <a16:creationId xmlns:a16="http://schemas.microsoft.com/office/drawing/2014/main" id="{60EC8D8A-C876-4EC5-A94B-31EA320D0A60}"/>
              </a:ext>
            </a:extLst>
          </p:cNvPr>
          <p:cNvSpPr>
            <a:spLocks noGrp="1"/>
          </p:cNvSpPr>
          <p:nvPr>
            <p:ph type="title"/>
          </p:nvPr>
        </p:nvSpPr>
        <p:spPr bwMode="gray"/>
        <p:txBody>
          <a:bodyPr/>
          <a:lstStyle/>
          <a:p>
            <a:r>
              <a:rPr lang="en-US" dirty="0"/>
              <a:t>Map:</a:t>
            </a:r>
            <a:br>
              <a:rPr lang="en-US" dirty="0"/>
            </a:br>
            <a:r>
              <a:rPr lang="en-US" dirty="0"/>
              <a:t>Switzerland</a:t>
            </a:r>
          </a:p>
        </p:txBody>
      </p:sp>
      <p:sp>
        <p:nvSpPr>
          <p:cNvPr id="5" name="Textplatzhalter 4">
            <a:extLst>
              <a:ext uri="{FF2B5EF4-FFF2-40B4-BE49-F238E27FC236}">
                <a16:creationId xmlns:a16="http://schemas.microsoft.com/office/drawing/2014/main" id="{701C482D-C885-4CA3-930D-F81A8465950A}"/>
              </a:ext>
            </a:extLst>
          </p:cNvPr>
          <p:cNvSpPr>
            <a:spLocks noGrp="1"/>
          </p:cNvSpPr>
          <p:nvPr>
            <p:ph type="body" sz="quarter" idx="15"/>
          </p:nvPr>
        </p:nvSpPr>
        <p:spPr bwMode="gray"/>
        <p:txBody>
          <a:bodyPr/>
          <a:lstStyle/>
          <a:p>
            <a:r>
              <a:rPr lang="en-US" dirty="0"/>
              <a:t>Lorem ipsum dolor sit amet, consectetuer adipiscing elit.</a:t>
            </a:r>
          </a:p>
          <a:p>
            <a:pPr lvl="1"/>
            <a:r>
              <a:rPr lang="en-US" dirty="0"/>
              <a:t>Maecenas porttitor congue massa. Fusce posuere, magna sed pulvinar ultricies, purus lectus malesuada libero, sit amet commodo magna eros quis urna.</a:t>
            </a:r>
          </a:p>
          <a:p>
            <a:pPr lvl="1"/>
            <a:endParaRPr lang="en-US" dirty="0"/>
          </a:p>
          <a:p>
            <a:pPr lvl="1"/>
            <a:r>
              <a:rPr lang="en-US" dirty="0"/>
              <a:t>Nunc viverra imperdiet enim.</a:t>
            </a:r>
            <a:br>
              <a:rPr lang="en-US" dirty="0"/>
            </a:br>
            <a:r>
              <a:rPr lang="en-US" dirty="0"/>
              <a:t>Fusce est. Vivamus a tellus.</a:t>
            </a:r>
          </a:p>
        </p:txBody>
      </p:sp>
      <p:sp>
        <p:nvSpPr>
          <p:cNvPr id="7" name="Fußzeilenplatzhalter 6">
            <a:extLst>
              <a:ext uri="{FF2B5EF4-FFF2-40B4-BE49-F238E27FC236}">
                <a16:creationId xmlns:a16="http://schemas.microsoft.com/office/drawing/2014/main" id="{E667E355-D790-4187-96FF-CF95D12D56FD}"/>
              </a:ext>
            </a:extLst>
          </p:cNvPr>
          <p:cNvSpPr>
            <a:spLocks noGrp="1"/>
          </p:cNvSpPr>
          <p:nvPr>
            <p:ph type="ftr" sz="quarter" idx="16"/>
          </p:nvPr>
        </p:nvSpPr>
        <p:spPr bwMode="gray"/>
        <p:txBody>
          <a:bodyPr/>
          <a:lstStyle/>
          <a:p>
            <a:r>
              <a:rPr lang="en-US"/>
              <a:t>Footnote: Please insert appropriate company</a:t>
            </a:r>
            <a:endParaRPr lang="de-DE" dirty="0"/>
          </a:p>
        </p:txBody>
      </p:sp>
      <p:sp>
        <p:nvSpPr>
          <p:cNvPr id="51" name="Textplatzhalter 3">
            <a:extLst>
              <a:ext uri="{FF2B5EF4-FFF2-40B4-BE49-F238E27FC236}">
                <a16:creationId xmlns:a16="http://schemas.microsoft.com/office/drawing/2014/main" id="{B23262CF-5791-44CE-A4E2-C92C8C10F7AF}"/>
              </a:ext>
            </a:extLst>
          </p:cNvPr>
          <p:cNvSpPr txBox="1">
            <a:spLocks/>
          </p:cNvSpPr>
          <p:nvPr/>
        </p:nvSpPr>
        <p:spPr bwMode="gray">
          <a:xfrm>
            <a:off x="3850547" y="3135761"/>
            <a:ext cx="2519362"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r"/>
            <a:r>
              <a:rPr lang="de-DE" dirty="0">
                <a:solidFill>
                  <a:schemeClr val="accent5"/>
                </a:solidFill>
              </a:rPr>
              <a:t>Bern</a:t>
            </a:r>
          </a:p>
        </p:txBody>
      </p:sp>
      <p:sp>
        <p:nvSpPr>
          <p:cNvPr id="52" name="Ellipse 51">
            <a:extLst>
              <a:ext uri="{FF2B5EF4-FFF2-40B4-BE49-F238E27FC236}">
                <a16:creationId xmlns:a16="http://schemas.microsoft.com/office/drawing/2014/main" id="{7F928E3B-B4C7-43D6-9820-A431545DFFB2}"/>
              </a:ext>
            </a:extLst>
          </p:cNvPr>
          <p:cNvSpPr/>
          <p:nvPr/>
        </p:nvSpPr>
        <p:spPr bwMode="gray">
          <a:xfrm>
            <a:off x="6429343" y="2958408"/>
            <a:ext cx="216024" cy="216024"/>
          </a:xfrm>
          <a:prstGeom prst="ellipse">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Foliennummernplatzhalter 2">
            <a:extLst>
              <a:ext uri="{FF2B5EF4-FFF2-40B4-BE49-F238E27FC236}">
                <a16:creationId xmlns:a16="http://schemas.microsoft.com/office/drawing/2014/main" id="{00267704-38EB-42A4-9F0B-AC9EDEB20DA3}"/>
              </a:ext>
            </a:extLst>
          </p:cNvPr>
          <p:cNvSpPr>
            <a:spLocks noGrp="1"/>
          </p:cNvSpPr>
          <p:nvPr>
            <p:ph type="sldNum" sz="quarter" idx="12"/>
          </p:nvPr>
        </p:nvSpPr>
        <p:spPr/>
        <p:txBody>
          <a:bodyPr/>
          <a:lstStyle/>
          <a:p>
            <a:fld id="{CE82B8A1-0CCE-4815-9668-383D7DE7D8B4}" type="slidenum">
              <a:rPr lang="en-US" noProof="0" smtClean="0"/>
              <a:pPr/>
              <a:t>67</a:t>
            </a:fld>
            <a:endParaRPr lang="en-US" noProof="0" dirty="0"/>
          </a:p>
        </p:txBody>
      </p:sp>
    </p:spTree>
    <p:extLst>
      <p:ext uri="{BB962C8B-B14F-4D97-AF65-F5344CB8AC3E}">
        <p14:creationId xmlns:p14="http://schemas.microsoft.com/office/powerpoint/2010/main" val="268659761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uppieren 13">
            <a:extLst>
              <a:ext uri="{FF2B5EF4-FFF2-40B4-BE49-F238E27FC236}">
                <a16:creationId xmlns:a16="http://schemas.microsoft.com/office/drawing/2014/main" id="{5D770DD4-DF84-443E-B245-81425253AC35}"/>
              </a:ext>
            </a:extLst>
          </p:cNvPr>
          <p:cNvGrpSpPr/>
          <p:nvPr/>
        </p:nvGrpSpPr>
        <p:grpSpPr bwMode="gray">
          <a:xfrm>
            <a:off x="1557717" y="692696"/>
            <a:ext cx="10658963" cy="5364660"/>
            <a:chOff x="-438066" y="548681"/>
            <a:chExt cx="12813354" cy="6448966"/>
          </a:xfrm>
        </p:grpSpPr>
        <p:sp>
          <p:nvSpPr>
            <p:cNvPr id="7988" name="Freeform 473">
              <a:extLst>
                <a:ext uri="{FF2B5EF4-FFF2-40B4-BE49-F238E27FC236}">
                  <a16:creationId xmlns:a16="http://schemas.microsoft.com/office/drawing/2014/main" id="{313112BA-C2B3-4C65-8985-BBF20C752E38}"/>
                </a:ext>
              </a:extLst>
            </p:cNvPr>
            <p:cNvSpPr>
              <a:spLocks noEditPoints="1"/>
            </p:cNvSpPr>
            <p:nvPr/>
          </p:nvSpPr>
          <p:spPr bwMode="gray">
            <a:xfrm>
              <a:off x="6002757" y="2790228"/>
              <a:ext cx="414212" cy="445439"/>
            </a:xfrm>
            <a:custGeom>
              <a:avLst/>
              <a:gdLst>
                <a:gd name="T0" fmla="*/ 81 w 837"/>
                <a:gd name="T1" fmla="*/ 259 h 900"/>
                <a:gd name="T2" fmla="*/ 34 w 837"/>
                <a:gd name="T3" fmla="*/ 193 h 900"/>
                <a:gd name="T4" fmla="*/ 43 w 837"/>
                <a:gd name="T5" fmla="*/ 148 h 900"/>
                <a:gd name="T6" fmla="*/ 81 w 837"/>
                <a:gd name="T7" fmla="*/ 99 h 900"/>
                <a:gd name="T8" fmla="*/ 135 w 837"/>
                <a:gd name="T9" fmla="*/ 54 h 900"/>
                <a:gd name="T10" fmla="*/ 173 w 837"/>
                <a:gd name="T11" fmla="*/ 111 h 900"/>
                <a:gd name="T12" fmla="*/ 189 w 837"/>
                <a:gd name="T13" fmla="*/ 54 h 900"/>
                <a:gd name="T14" fmla="*/ 248 w 837"/>
                <a:gd name="T15" fmla="*/ 75 h 900"/>
                <a:gd name="T16" fmla="*/ 260 w 837"/>
                <a:gd name="T17" fmla="*/ 37 h 900"/>
                <a:gd name="T18" fmla="*/ 324 w 837"/>
                <a:gd name="T19" fmla="*/ 4 h 900"/>
                <a:gd name="T20" fmla="*/ 411 w 837"/>
                <a:gd name="T21" fmla="*/ 26 h 900"/>
                <a:gd name="T22" fmla="*/ 497 w 837"/>
                <a:gd name="T23" fmla="*/ 75 h 900"/>
                <a:gd name="T24" fmla="*/ 520 w 837"/>
                <a:gd name="T25" fmla="*/ 127 h 900"/>
                <a:gd name="T26" fmla="*/ 482 w 837"/>
                <a:gd name="T27" fmla="*/ 127 h 900"/>
                <a:gd name="T28" fmla="*/ 459 w 837"/>
                <a:gd name="T29" fmla="*/ 127 h 900"/>
                <a:gd name="T30" fmla="*/ 395 w 837"/>
                <a:gd name="T31" fmla="*/ 165 h 900"/>
                <a:gd name="T32" fmla="*/ 411 w 837"/>
                <a:gd name="T33" fmla="*/ 203 h 900"/>
                <a:gd name="T34" fmla="*/ 428 w 837"/>
                <a:gd name="T35" fmla="*/ 276 h 900"/>
                <a:gd name="T36" fmla="*/ 605 w 837"/>
                <a:gd name="T37" fmla="*/ 458 h 900"/>
                <a:gd name="T38" fmla="*/ 660 w 837"/>
                <a:gd name="T39" fmla="*/ 496 h 900"/>
                <a:gd name="T40" fmla="*/ 806 w 837"/>
                <a:gd name="T41" fmla="*/ 623 h 900"/>
                <a:gd name="T42" fmla="*/ 730 w 837"/>
                <a:gd name="T43" fmla="*/ 585 h 900"/>
                <a:gd name="T44" fmla="*/ 747 w 837"/>
                <a:gd name="T45" fmla="*/ 668 h 900"/>
                <a:gd name="T46" fmla="*/ 702 w 837"/>
                <a:gd name="T47" fmla="*/ 751 h 900"/>
                <a:gd name="T48" fmla="*/ 638 w 837"/>
                <a:gd name="T49" fmla="*/ 789 h 900"/>
                <a:gd name="T50" fmla="*/ 648 w 837"/>
                <a:gd name="T51" fmla="*/ 734 h 900"/>
                <a:gd name="T52" fmla="*/ 664 w 837"/>
                <a:gd name="T53" fmla="*/ 668 h 900"/>
                <a:gd name="T54" fmla="*/ 589 w 837"/>
                <a:gd name="T55" fmla="*/ 595 h 900"/>
                <a:gd name="T56" fmla="*/ 551 w 837"/>
                <a:gd name="T57" fmla="*/ 552 h 900"/>
                <a:gd name="T58" fmla="*/ 449 w 837"/>
                <a:gd name="T59" fmla="*/ 512 h 900"/>
                <a:gd name="T60" fmla="*/ 374 w 837"/>
                <a:gd name="T61" fmla="*/ 441 h 900"/>
                <a:gd name="T62" fmla="*/ 319 w 837"/>
                <a:gd name="T63" fmla="*/ 404 h 900"/>
                <a:gd name="T64" fmla="*/ 260 w 837"/>
                <a:gd name="T65" fmla="*/ 292 h 900"/>
                <a:gd name="T66" fmla="*/ 135 w 837"/>
                <a:gd name="T67" fmla="*/ 248 h 900"/>
                <a:gd name="T68" fmla="*/ 67 w 837"/>
                <a:gd name="T69" fmla="*/ 292 h 900"/>
                <a:gd name="T70" fmla="*/ 411 w 837"/>
                <a:gd name="T71" fmla="*/ 276 h 900"/>
                <a:gd name="T72" fmla="*/ 248 w 837"/>
                <a:gd name="T73" fmla="*/ 375 h 900"/>
                <a:gd name="T74" fmla="*/ 270 w 837"/>
                <a:gd name="T75" fmla="*/ 387 h 900"/>
                <a:gd name="T76" fmla="*/ 142 w 837"/>
                <a:gd name="T77" fmla="*/ 541 h 900"/>
                <a:gd name="T78" fmla="*/ 206 w 837"/>
                <a:gd name="T79" fmla="*/ 541 h 900"/>
                <a:gd name="T80" fmla="*/ 218 w 837"/>
                <a:gd name="T81" fmla="*/ 611 h 900"/>
                <a:gd name="T82" fmla="*/ 163 w 837"/>
                <a:gd name="T83" fmla="*/ 706 h 900"/>
                <a:gd name="T84" fmla="*/ 126 w 837"/>
                <a:gd name="T85" fmla="*/ 696 h 900"/>
                <a:gd name="T86" fmla="*/ 135 w 837"/>
                <a:gd name="T87" fmla="*/ 640 h 900"/>
                <a:gd name="T88" fmla="*/ 119 w 837"/>
                <a:gd name="T89" fmla="*/ 569 h 900"/>
                <a:gd name="T90" fmla="*/ 109 w 837"/>
                <a:gd name="T91" fmla="*/ 569 h 900"/>
                <a:gd name="T92" fmla="*/ 513 w 837"/>
                <a:gd name="T93" fmla="*/ 557 h 900"/>
                <a:gd name="T94" fmla="*/ 119 w 837"/>
                <a:gd name="T95" fmla="*/ 685 h 900"/>
                <a:gd name="T96" fmla="*/ 119 w 837"/>
                <a:gd name="T97" fmla="*/ 696 h 900"/>
                <a:gd name="T98" fmla="*/ 445 w 837"/>
                <a:gd name="T99" fmla="*/ 779 h 900"/>
                <a:gd name="T100" fmla="*/ 482 w 837"/>
                <a:gd name="T101" fmla="*/ 779 h 900"/>
                <a:gd name="T102" fmla="*/ 596 w 837"/>
                <a:gd name="T103" fmla="*/ 772 h 900"/>
                <a:gd name="T104" fmla="*/ 596 w 837"/>
                <a:gd name="T105" fmla="*/ 829 h 900"/>
                <a:gd name="T106" fmla="*/ 558 w 837"/>
                <a:gd name="T107" fmla="*/ 890 h 900"/>
                <a:gd name="T108" fmla="*/ 428 w 837"/>
                <a:gd name="T109" fmla="*/ 817 h 900"/>
                <a:gd name="T110" fmla="*/ 378 w 837"/>
                <a:gd name="T111" fmla="*/ 890 h 900"/>
                <a:gd name="T112" fmla="*/ 378 w 837"/>
                <a:gd name="T113" fmla="*/ 89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7" h="900">
                  <a:moveTo>
                    <a:pt x="67" y="292"/>
                  </a:moveTo>
                  <a:lnTo>
                    <a:pt x="67" y="281"/>
                  </a:lnTo>
                  <a:lnTo>
                    <a:pt x="81" y="264"/>
                  </a:lnTo>
                  <a:lnTo>
                    <a:pt x="81" y="259"/>
                  </a:lnTo>
                  <a:lnTo>
                    <a:pt x="55" y="259"/>
                  </a:lnTo>
                  <a:lnTo>
                    <a:pt x="29" y="248"/>
                  </a:lnTo>
                  <a:lnTo>
                    <a:pt x="17" y="226"/>
                  </a:lnTo>
                  <a:lnTo>
                    <a:pt x="34" y="193"/>
                  </a:lnTo>
                  <a:lnTo>
                    <a:pt x="12" y="193"/>
                  </a:lnTo>
                  <a:lnTo>
                    <a:pt x="0" y="170"/>
                  </a:lnTo>
                  <a:lnTo>
                    <a:pt x="43" y="165"/>
                  </a:lnTo>
                  <a:lnTo>
                    <a:pt x="43" y="148"/>
                  </a:lnTo>
                  <a:lnTo>
                    <a:pt x="17" y="115"/>
                  </a:lnTo>
                  <a:lnTo>
                    <a:pt x="34" y="99"/>
                  </a:lnTo>
                  <a:lnTo>
                    <a:pt x="43" y="111"/>
                  </a:lnTo>
                  <a:lnTo>
                    <a:pt x="81" y="99"/>
                  </a:lnTo>
                  <a:lnTo>
                    <a:pt x="88" y="99"/>
                  </a:lnTo>
                  <a:lnTo>
                    <a:pt x="109" y="82"/>
                  </a:lnTo>
                  <a:lnTo>
                    <a:pt x="119" y="54"/>
                  </a:lnTo>
                  <a:lnTo>
                    <a:pt x="135" y="54"/>
                  </a:lnTo>
                  <a:lnTo>
                    <a:pt x="135" y="75"/>
                  </a:lnTo>
                  <a:lnTo>
                    <a:pt x="156" y="82"/>
                  </a:lnTo>
                  <a:lnTo>
                    <a:pt x="156" y="92"/>
                  </a:lnTo>
                  <a:lnTo>
                    <a:pt x="173" y="111"/>
                  </a:lnTo>
                  <a:lnTo>
                    <a:pt x="180" y="99"/>
                  </a:lnTo>
                  <a:lnTo>
                    <a:pt x="173" y="99"/>
                  </a:lnTo>
                  <a:lnTo>
                    <a:pt x="189" y="70"/>
                  </a:lnTo>
                  <a:lnTo>
                    <a:pt x="189" y="54"/>
                  </a:lnTo>
                  <a:lnTo>
                    <a:pt x="206" y="54"/>
                  </a:lnTo>
                  <a:lnTo>
                    <a:pt x="211" y="70"/>
                  </a:lnTo>
                  <a:lnTo>
                    <a:pt x="232" y="59"/>
                  </a:lnTo>
                  <a:lnTo>
                    <a:pt x="248" y="75"/>
                  </a:lnTo>
                  <a:lnTo>
                    <a:pt x="248" y="59"/>
                  </a:lnTo>
                  <a:lnTo>
                    <a:pt x="244" y="54"/>
                  </a:lnTo>
                  <a:lnTo>
                    <a:pt x="244" y="42"/>
                  </a:lnTo>
                  <a:lnTo>
                    <a:pt x="260" y="37"/>
                  </a:lnTo>
                  <a:lnTo>
                    <a:pt x="270" y="42"/>
                  </a:lnTo>
                  <a:lnTo>
                    <a:pt x="270" y="16"/>
                  </a:lnTo>
                  <a:lnTo>
                    <a:pt x="315" y="26"/>
                  </a:lnTo>
                  <a:lnTo>
                    <a:pt x="324" y="4"/>
                  </a:lnTo>
                  <a:lnTo>
                    <a:pt x="369" y="4"/>
                  </a:lnTo>
                  <a:lnTo>
                    <a:pt x="395" y="0"/>
                  </a:lnTo>
                  <a:lnTo>
                    <a:pt x="395" y="16"/>
                  </a:lnTo>
                  <a:lnTo>
                    <a:pt x="411" y="26"/>
                  </a:lnTo>
                  <a:lnTo>
                    <a:pt x="504" y="42"/>
                  </a:lnTo>
                  <a:lnTo>
                    <a:pt x="482" y="70"/>
                  </a:lnTo>
                  <a:lnTo>
                    <a:pt x="482" y="75"/>
                  </a:lnTo>
                  <a:lnTo>
                    <a:pt x="497" y="75"/>
                  </a:lnTo>
                  <a:lnTo>
                    <a:pt x="487" y="92"/>
                  </a:lnTo>
                  <a:lnTo>
                    <a:pt x="497" y="92"/>
                  </a:lnTo>
                  <a:lnTo>
                    <a:pt x="497" y="111"/>
                  </a:lnTo>
                  <a:lnTo>
                    <a:pt x="520" y="127"/>
                  </a:lnTo>
                  <a:lnTo>
                    <a:pt x="504" y="132"/>
                  </a:lnTo>
                  <a:lnTo>
                    <a:pt x="504" y="132"/>
                  </a:lnTo>
                  <a:lnTo>
                    <a:pt x="497" y="115"/>
                  </a:lnTo>
                  <a:lnTo>
                    <a:pt x="482" y="127"/>
                  </a:lnTo>
                  <a:lnTo>
                    <a:pt x="482" y="115"/>
                  </a:lnTo>
                  <a:lnTo>
                    <a:pt x="466" y="115"/>
                  </a:lnTo>
                  <a:lnTo>
                    <a:pt x="459" y="127"/>
                  </a:lnTo>
                  <a:lnTo>
                    <a:pt x="459" y="127"/>
                  </a:lnTo>
                  <a:lnTo>
                    <a:pt x="411" y="148"/>
                  </a:lnTo>
                  <a:lnTo>
                    <a:pt x="421" y="132"/>
                  </a:lnTo>
                  <a:lnTo>
                    <a:pt x="407" y="137"/>
                  </a:lnTo>
                  <a:lnTo>
                    <a:pt x="395" y="165"/>
                  </a:lnTo>
                  <a:lnTo>
                    <a:pt x="421" y="186"/>
                  </a:lnTo>
                  <a:lnTo>
                    <a:pt x="411" y="203"/>
                  </a:lnTo>
                  <a:lnTo>
                    <a:pt x="411" y="193"/>
                  </a:lnTo>
                  <a:lnTo>
                    <a:pt x="411" y="203"/>
                  </a:lnTo>
                  <a:lnTo>
                    <a:pt x="407" y="193"/>
                  </a:lnTo>
                  <a:lnTo>
                    <a:pt x="395" y="210"/>
                  </a:lnTo>
                  <a:lnTo>
                    <a:pt x="407" y="248"/>
                  </a:lnTo>
                  <a:lnTo>
                    <a:pt x="428" y="276"/>
                  </a:lnTo>
                  <a:lnTo>
                    <a:pt x="497" y="314"/>
                  </a:lnTo>
                  <a:lnTo>
                    <a:pt x="520" y="392"/>
                  </a:lnTo>
                  <a:lnTo>
                    <a:pt x="572" y="441"/>
                  </a:lnTo>
                  <a:lnTo>
                    <a:pt x="605" y="458"/>
                  </a:lnTo>
                  <a:lnTo>
                    <a:pt x="676" y="458"/>
                  </a:lnTo>
                  <a:lnTo>
                    <a:pt x="676" y="463"/>
                  </a:lnTo>
                  <a:lnTo>
                    <a:pt x="660" y="479"/>
                  </a:lnTo>
                  <a:lnTo>
                    <a:pt x="660" y="496"/>
                  </a:lnTo>
                  <a:lnTo>
                    <a:pt x="806" y="569"/>
                  </a:lnTo>
                  <a:lnTo>
                    <a:pt x="837" y="607"/>
                  </a:lnTo>
                  <a:lnTo>
                    <a:pt x="827" y="640"/>
                  </a:lnTo>
                  <a:lnTo>
                    <a:pt x="806" y="623"/>
                  </a:lnTo>
                  <a:lnTo>
                    <a:pt x="789" y="590"/>
                  </a:lnTo>
                  <a:lnTo>
                    <a:pt x="747" y="585"/>
                  </a:lnTo>
                  <a:lnTo>
                    <a:pt x="752" y="574"/>
                  </a:lnTo>
                  <a:lnTo>
                    <a:pt x="730" y="585"/>
                  </a:lnTo>
                  <a:lnTo>
                    <a:pt x="702" y="611"/>
                  </a:lnTo>
                  <a:lnTo>
                    <a:pt x="697" y="640"/>
                  </a:lnTo>
                  <a:lnTo>
                    <a:pt x="697" y="647"/>
                  </a:lnTo>
                  <a:lnTo>
                    <a:pt x="747" y="668"/>
                  </a:lnTo>
                  <a:lnTo>
                    <a:pt x="747" y="701"/>
                  </a:lnTo>
                  <a:lnTo>
                    <a:pt x="702" y="718"/>
                  </a:lnTo>
                  <a:lnTo>
                    <a:pt x="697" y="722"/>
                  </a:lnTo>
                  <a:lnTo>
                    <a:pt x="702" y="751"/>
                  </a:lnTo>
                  <a:lnTo>
                    <a:pt x="676" y="772"/>
                  </a:lnTo>
                  <a:lnTo>
                    <a:pt x="664" y="789"/>
                  </a:lnTo>
                  <a:lnTo>
                    <a:pt x="643" y="796"/>
                  </a:lnTo>
                  <a:lnTo>
                    <a:pt x="638" y="789"/>
                  </a:lnTo>
                  <a:lnTo>
                    <a:pt x="638" y="763"/>
                  </a:lnTo>
                  <a:lnTo>
                    <a:pt x="648" y="763"/>
                  </a:lnTo>
                  <a:lnTo>
                    <a:pt x="660" y="739"/>
                  </a:lnTo>
                  <a:lnTo>
                    <a:pt x="648" y="734"/>
                  </a:lnTo>
                  <a:lnTo>
                    <a:pt x="676" y="722"/>
                  </a:lnTo>
                  <a:lnTo>
                    <a:pt x="676" y="706"/>
                  </a:lnTo>
                  <a:lnTo>
                    <a:pt x="664" y="701"/>
                  </a:lnTo>
                  <a:lnTo>
                    <a:pt x="664" y="668"/>
                  </a:lnTo>
                  <a:lnTo>
                    <a:pt x="638" y="611"/>
                  </a:lnTo>
                  <a:lnTo>
                    <a:pt x="626" y="611"/>
                  </a:lnTo>
                  <a:lnTo>
                    <a:pt x="622" y="611"/>
                  </a:lnTo>
                  <a:lnTo>
                    <a:pt x="589" y="595"/>
                  </a:lnTo>
                  <a:lnTo>
                    <a:pt x="589" y="585"/>
                  </a:lnTo>
                  <a:lnTo>
                    <a:pt x="572" y="557"/>
                  </a:lnTo>
                  <a:lnTo>
                    <a:pt x="541" y="569"/>
                  </a:lnTo>
                  <a:lnTo>
                    <a:pt x="551" y="552"/>
                  </a:lnTo>
                  <a:lnTo>
                    <a:pt x="541" y="541"/>
                  </a:lnTo>
                  <a:lnTo>
                    <a:pt x="530" y="552"/>
                  </a:lnTo>
                  <a:lnTo>
                    <a:pt x="504" y="512"/>
                  </a:lnTo>
                  <a:lnTo>
                    <a:pt x="449" y="512"/>
                  </a:lnTo>
                  <a:lnTo>
                    <a:pt x="445" y="496"/>
                  </a:lnTo>
                  <a:lnTo>
                    <a:pt x="421" y="486"/>
                  </a:lnTo>
                  <a:lnTo>
                    <a:pt x="390" y="458"/>
                  </a:lnTo>
                  <a:lnTo>
                    <a:pt x="374" y="441"/>
                  </a:lnTo>
                  <a:lnTo>
                    <a:pt x="357" y="425"/>
                  </a:lnTo>
                  <a:lnTo>
                    <a:pt x="336" y="408"/>
                  </a:lnTo>
                  <a:lnTo>
                    <a:pt x="319" y="413"/>
                  </a:lnTo>
                  <a:lnTo>
                    <a:pt x="319" y="404"/>
                  </a:lnTo>
                  <a:lnTo>
                    <a:pt x="282" y="352"/>
                  </a:lnTo>
                  <a:lnTo>
                    <a:pt x="282" y="335"/>
                  </a:lnTo>
                  <a:lnTo>
                    <a:pt x="265" y="318"/>
                  </a:lnTo>
                  <a:lnTo>
                    <a:pt x="260" y="292"/>
                  </a:lnTo>
                  <a:lnTo>
                    <a:pt x="248" y="276"/>
                  </a:lnTo>
                  <a:lnTo>
                    <a:pt x="189" y="243"/>
                  </a:lnTo>
                  <a:lnTo>
                    <a:pt x="156" y="236"/>
                  </a:lnTo>
                  <a:lnTo>
                    <a:pt x="135" y="248"/>
                  </a:lnTo>
                  <a:lnTo>
                    <a:pt x="104" y="281"/>
                  </a:lnTo>
                  <a:lnTo>
                    <a:pt x="67" y="292"/>
                  </a:lnTo>
                  <a:lnTo>
                    <a:pt x="67" y="292"/>
                  </a:lnTo>
                  <a:lnTo>
                    <a:pt x="67" y="292"/>
                  </a:lnTo>
                  <a:close/>
                  <a:moveTo>
                    <a:pt x="411" y="276"/>
                  </a:moveTo>
                  <a:lnTo>
                    <a:pt x="411" y="281"/>
                  </a:lnTo>
                  <a:lnTo>
                    <a:pt x="421" y="276"/>
                  </a:lnTo>
                  <a:lnTo>
                    <a:pt x="411" y="276"/>
                  </a:lnTo>
                  <a:lnTo>
                    <a:pt x="411" y="276"/>
                  </a:lnTo>
                  <a:lnTo>
                    <a:pt x="411" y="276"/>
                  </a:lnTo>
                  <a:close/>
                  <a:moveTo>
                    <a:pt x="270" y="387"/>
                  </a:moveTo>
                  <a:lnTo>
                    <a:pt x="248" y="375"/>
                  </a:lnTo>
                  <a:lnTo>
                    <a:pt x="270" y="370"/>
                  </a:lnTo>
                  <a:lnTo>
                    <a:pt x="270" y="387"/>
                  </a:lnTo>
                  <a:lnTo>
                    <a:pt x="270" y="387"/>
                  </a:lnTo>
                  <a:lnTo>
                    <a:pt x="270" y="387"/>
                  </a:lnTo>
                  <a:close/>
                  <a:moveTo>
                    <a:pt x="109" y="569"/>
                  </a:moveTo>
                  <a:lnTo>
                    <a:pt x="119" y="536"/>
                  </a:lnTo>
                  <a:lnTo>
                    <a:pt x="126" y="541"/>
                  </a:lnTo>
                  <a:lnTo>
                    <a:pt x="142" y="541"/>
                  </a:lnTo>
                  <a:lnTo>
                    <a:pt x="189" y="512"/>
                  </a:lnTo>
                  <a:lnTo>
                    <a:pt x="211" y="519"/>
                  </a:lnTo>
                  <a:lnTo>
                    <a:pt x="218" y="536"/>
                  </a:lnTo>
                  <a:lnTo>
                    <a:pt x="206" y="541"/>
                  </a:lnTo>
                  <a:lnTo>
                    <a:pt x="211" y="541"/>
                  </a:lnTo>
                  <a:lnTo>
                    <a:pt x="227" y="574"/>
                  </a:lnTo>
                  <a:lnTo>
                    <a:pt x="211" y="595"/>
                  </a:lnTo>
                  <a:lnTo>
                    <a:pt x="218" y="611"/>
                  </a:lnTo>
                  <a:lnTo>
                    <a:pt x="211" y="696"/>
                  </a:lnTo>
                  <a:lnTo>
                    <a:pt x="173" y="680"/>
                  </a:lnTo>
                  <a:lnTo>
                    <a:pt x="173" y="701"/>
                  </a:lnTo>
                  <a:lnTo>
                    <a:pt x="163" y="706"/>
                  </a:lnTo>
                  <a:lnTo>
                    <a:pt x="152" y="706"/>
                  </a:lnTo>
                  <a:lnTo>
                    <a:pt x="135" y="696"/>
                  </a:lnTo>
                  <a:lnTo>
                    <a:pt x="126" y="706"/>
                  </a:lnTo>
                  <a:lnTo>
                    <a:pt x="126" y="696"/>
                  </a:lnTo>
                  <a:lnTo>
                    <a:pt x="135" y="696"/>
                  </a:lnTo>
                  <a:lnTo>
                    <a:pt x="126" y="668"/>
                  </a:lnTo>
                  <a:lnTo>
                    <a:pt x="135" y="640"/>
                  </a:lnTo>
                  <a:lnTo>
                    <a:pt x="135" y="640"/>
                  </a:lnTo>
                  <a:lnTo>
                    <a:pt x="142" y="630"/>
                  </a:lnTo>
                  <a:lnTo>
                    <a:pt x="126" y="630"/>
                  </a:lnTo>
                  <a:lnTo>
                    <a:pt x="135" y="590"/>
                  </a:lnTo>
                  <a:lnTo>
                    <a:pt x="119" y="569"/>
                  </a:lnTo>
                  <a:lnTo>
                    <a:pt x="109" y="569"/>
                  </a:lnTo>
                  <a:lnTo>
                    <a:pt x="109" y="569"/>
                  </a:lnTo>
                  <a:lnTo>
                    <a:pt x="109" y="569"/>
                  </a:lnTo>
                  <a:lnTo>
                    <a:pt x="109" y="569"/>
                  </a:lnTo>
                  <a:close/>
                  <a:moveTo>
                    <a:pt x="513" y="557"/>
                  </a:moveTo>
                  <a:lnTo>
                    <a:pt x="513" y="552"/>
                  </a:lnTo>
                  <a:lnTo>
                    <a:pt x="520" y="557"/>
                  </a:lnTo>
                  <a:lnTo>
                    <a:pt x="513" y="557"/>
                  </a:lnTo>
                  <a:lnTo>
                    <a:pt x="513" y="557"/>
                  </a:lnTo>
                  <a:lnTo>
                    <a:pt x="513" y="557"/>
                  </a:lnTo>
                  <a:close/>
                  <a:moveTo>
                    <a:pt x="119" y="696"/>
                  </a:moveTo>
                  <a:lnTo>
                    <a:pt x="119" y="685"/>
                  </a:lnTo>
                  <a:lnTo>
                    <a:pt x="119" y="685"/>
                  </a:lnTo>
                  <a:lnTo>
                    <a:pt x="119" y="696"/>
                  </a:lnTo>
                  <a:lnTo>
                    <a:pt x="119" y="696"/>
                  </a:lnTo>
                  <a:lnTo>
                    <a:pt x="119" y="696"/>
                  </a:lnTo>
                  <a:close/>
                  <a:moveTo>
                    <a:pt x="411" y="805"/>
                  </a:moveTo>
                  <a:lnTo>
                    <a:pt x="421" y="789"/>
                  </a:lnTo>
                  <a:lnTo>
                    <a:pt x="433" y="772"/>
                  </a:lnTo>
                  <a:lnTo>
                    <a:pt x="445" y="779"/>
                  </a:lnTo>
                  <a:lnTo>
                    <a:pt x="459" y="779"/>
                  </a:lnTo>
                  <a:lnTo>
                    <a:pt x="459" y="772"/>
                  </a:lnTo>
                  <a:lnTo>
                    <a:pt x="475" y="763"/>
                  </a:lnTo>
                  <a:lnTo>
                    <a:pt x="482" y="779"/>
                  </a:lnTo>
                  <a:lnTo>
                    <a:pt x="504" y="789"/>
                  </a:lnTo>
                  <a:lnTo>
                    <a:pt x="558" y="779"/>
                  </a:lnTo>
                  <a:lnTo>
                    <a:pt x="584" y="772"/>
                  </a:lnTo>
                  <a:lnTo>
                    <a:pt x="596" y="772"/>
                  </a:lnTo>
                  <a:lnTo>
                    <a:pt x="626" y="763"/>
                  </a:lnTo>
                  <a:lnTo>
                    <a:pt x="638" y="763"/>
                  </a:lnTo>
                  <a:lnTo>
                    <a:pt x="605" y="805"/>
                  </a:lnTo>
                  <a:lnTo>
                    <a:pt x="596" y="829"/>
                  </a:lnTo>
                  <a:lnTo>
                    <a:pt x="610" y="866"/>
                  </a:lnTo>
                  <a:lnTo>
                    <a:pt x="605" y="871"/>
                  </a:lnTo>
                  <a:lnTo>
                    <a:pt x="596" y="900"/>
                  </a:lnTo>
                  <a:lnTo>
                    <a:pt x="558" y="890"/>
                  </a:lnTo>
                  <a:lnTo>
                    <a:pt x="534" y="866"/>
                  </a:lnTo>
                  <a:lnTo>
                    <a:pt x="513" y="862"/>
                  </a:lnTo>
                  <a:lnTo>
                    <a:pt x="466" y="829"/>
                  </a:lnTo>
                  <a:lnTo>
                    <a:pt x="428" y="817"/>
                  </a:lnTo>
                  <a:lnTo>
                    <a:pt x="411" y="805"/>
                  </a:lnTo>
                  <a:lnTo>
                    <a:pt x="411" y="805"/>
                  </a:lnTo>
                  <a:lnTo>
                    <a:pt x="411" y="805"/>
                  </a:lnTo>
                  <a:close/>
                  <a:moveTo>
                    <a:pt x="378" y="890"/>
                  </a:moveTo>
                  <a:lnTo>
                    <a:pt x="378" y="883"/>
                  </a:lnTo>
                  <a:lnTo>
                    <a:pt x="390" y="883"/>
                  </a:lnTo>
                  <a:lnTo>
                    <a:pt x="378" y="890"/>
                  </a:lnTo>
                  <a:lnTo>
                    <a:pt x="378" y="890"/>
                  </a:lnTo>
                  <a:lnTo>
                    <a:pt x="378" y="890"/>
                  </a:lnTo>
                  <a:close/>
                </a:path>
              </a:pathLst>
            </a:custGeom>
            <a:pattFill prst="ltHorz">
              <a:fgClr>
                <a:schemeClr val="accent2"/>
              </a:fgClr>
              <a:bgClr>
                <a:schemeClr val="bg1"/>
              </a:bgClr>
            </a:patt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90" name="Freeform 377">
              <a:extLst>
                <a:ext uri="{FF2B5EF4-FFF2-40B4-BE49-F238E27FC236}">
                  <a16:creationId xmlns:a16="http://schemas.microsoft.com/office/drawing/2014/main" id="{FD9CCF6E-0BEC-4B90-AFC5-AD67FAC3D097}"/>
                </a:ext>
              </a:extLst>
            </p:cNvPr>
            <p:cNvSpPr>
              <a:spLocks/>
            </p:cNvSpPr>
            <p:nvPr/>
          </p:nvSpPr>
          <p:spPr bwMode="gray">
            <a:xfrm>
              <a:off x="3339825" y="4150798"/>
              <a:ext cx="8413" cy="8414"/>
            </a:xfrm>
            <a:custGeom>
              <a:avLst/>
              <a:gdLst>
                <a:gd name="T0" fmla="*/ 17 w 17"/>
                <a:gd name="T1" fmla="*/ 17 h 17"/>
                <a:gd name="T2" fmla="*/ 0 w 17"/>
                <a:gd name="T3" fmla="*/ 7 h 17"/>
                <a:gd name="T4" fmla="*/ 0 w 17"/>
                <a:gd name="T5" fmla="*/ 0 h 17"/>
                <a:gd name="T6" fmla="*/ 17 w 17"/>
                <a:gd name="T7" fmla="*/ 17 h 17"/>
                <a:gd name="T8" fmla="*/ 17 w 17"/>
                <a:gd name="T9" fmla="*/ 17 h 17"/>
                <a:gd name="T10" fmla="*/ 17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17" y="17"/>
                  </a:moveTo>
                  <a:lnTo>
                    <a:pt x="0" y="7"/>
                  </a:lnTo>
                  <a:lnTo>
                    <a:pt x="0" y="0"/>
                  </a:lnTo>
                  <a:lnTo>
                    <a:pt x="17" y="17"/>
                  </a:lnTo>
                  <a:lnTo>
                    <a:pt x="17" y="17"/>
                  </a:lnTo>
                  <a:lnTo>
                    <a:pt x="17" y="17"/>
                  </a:lnTo>
                  <a:close/>
                </a:path>
              </a:pathLst>
            </a:custGeom>
            <a:solidFill>
              <a:schemeClr val="accent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91" name="Freeform 378">
              <a:extLst>
                <a:ext uri="{FF2B5EF4-FFF2-40B4-BE49-F238E27FC236}">
                  <a16:creationId xmlns:a16="http://schemas.microsoft.com/office/drawing/2014/main" id="{9243BC40-EC4A-46BA-9260-44E5026491B2}"/>
                </a:ext>
              </a:extLst>
            </p:cNvPr>
            <p:cNvSpPr>
              <a:spLocks noEditPoints="1"/>
            </p:cNvSpPr>
            <p:nvPr/>
          </p:nvSpPr>
          <p:spPr bwMode="gray">
            <a:xfrm>
              <a:off x="3625369" y="3966187"/>
              <a:ext cx="7918" cy="28211"/>
            </a:xfrm>
            <a:custGeom>
              <a:avLst/>
              <a:gdLst>
                <a:gd name="T0" fmla="*/ 16 w 16"/>
                <a:gd name="T1" fmla="*/ 12 h 57"/>
                <a:gd name="T2" fmla="*/ 9 w 16"/>
                <a:gd name="T3" fmla="*/ 5 h 57"/>
                <a:gd name="T4" fmla="*/ 9 w 16"/>
                <a:gd name="T5" fmla="*/ 0 h 57"/>
                <a:gd name="T6" fmla="*/ 16 w 16"/>
                <a:gd name="T7" fmla="*/ 5 h 57"/>
                <a:gd name="T8" fmla="*/ 16 w 16"/>
                <a:gd name="T9" fmla="*/ 12 h 57"/>
                <a:gd name="T10" fmla="*/ 16 w 16"/>
                <a:gd name="T11" fmla="*/ 12 h 57"/>
                <a:gd name="T12" fmla="*/ 16 w 16"/>
                <a:gd name="T13" fmla="*/ 12 h 57"/>
                <a:gd name="T14" fmla="*/ 16 w 16"/>
                <a:gd name="T15" fmla="*/ 57 h 57"/>
                <a:gd name="T16" fmla="*/ 0 w 16"/>
                <a:gd name="T17" fmla="*/ 45 h 57"/>
                <a:gd name="T18" fmla="*/ 9 w 16"/>
                <a:gd name="T19" fmla="*/ 40 h 57"/>
                <a:gd name="T20" fmla="*/ 16 w 16"/>
                <a:gd name="T21" fmla="*/ 45 h 57"/>
                <a:gd name="T22" fmla="*/ 16 w 16"/>
                <a:gd name="T23" fmla="*/ 57 h 57"/>
                <a:gd name="T24" fmla="*/ 16 w 16"/>
                <a:gd name="T25" fmla="*/ 57 h 57"/>
                <a:gd name="T26" fmla="*/ 16 w 16"/>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57">
                  <a:moveTo>
                    <a:pt x="16" y="12"/>
                  </a:moveTo>
                  <a:lnTo>
                    <a:pt x="9" y="5"/>
                  </a:lnTo>
                  <a:lnTo>
                    <a:pt x="9" y="0"/>
                  </a:lnTo>
                  <a:lnTo>
                    <a:pt x="16" y="5"/>
                  </a:lnTo>
                  <a:lnTo>
                    <a:pt x="16" y="12"/>
                  </a:lnTo>
                  <a:lnTo>
                    <a:pt x="16" y="12"/>
                  </a:lnTo>
                  <a:lnTo>
                    <a:pt x="16" y="12"/>
                  </a:lnTo>
                  <a:close/>
                  <a:moveTo>
                    <a:pt x="16" y="57"/>
                  </a:moveTo>
                  <a:lnTo>
                    <a:pt x="0" y="45"/>
                  </a:lnTo>
                  <a:lnTo>
                    <a:pt x="9" y="40"/>
                  </a:lnTo>
                  <a:lnTo>
                    <a:pt x="16" y="45"/>
                  </a:lnTo>
                  <a:lnTo>
                    <a:pt x="16" y="57"/>
                  </a:lnTo>
                  <a:lnTo>
                    <a:pt x="16" y="57"/>
                  </a:lnTo>
                  <a:lnTo>
                    <a:pt x="16" y="57"/>
                  </a:lnTo>
                  <a:close/>
                </a:path>
              </a:pathLst>
            </a:custGeom>
            <a:solidFill>
              <a:schemeClr val="accent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92" name="Freeform 379">
              <a:extLst>
                <a:ext uri="{FF2B5EF4-FFF2-40B4-BE49-F238E27FC236}">
                  <a16:creationId xmlns:a16="http://schemas.microsoft.com/office/drawing/2014/main" id="{BA244473-B847-46E9-9DC2-E7F81D7E8D82}"/>
                </a:ext>
              </a:extLst>
            </p:cNvPr>
            <p:cNvSpPr>
              <a:spLocks/>
            </p:cNvSpPr>
            <p:nvPr/>
          </p:nvSpPr>
          <p:spPr bwMode="gray">
            <a:xfrm>
              <a:off x="7875867" y="3161923"/>
              <a:ext cx="498836" cy="359816"/>
            </a:xfrm>
            <a:custGeom>
              <a:avLst/>
              <a:gdLst>
                <a:gd name="T0" fmla="*/ 75 w 1008"/>
                <a:gd name="T1" fmla="*/ 243 h 727"/>
                <a:gd name="T2" fmla="*/ 137 w 1008"/>
                <a:gd name="T3" fmla="*/ 260 h 727"/>
                <a:gd name="T4" fmla="*/ 184 w 1008"/>
                <a:gd name="T5" fmla="*/ 234 h 727"/>
                <a:gd name="T6" fmla="*/ 243 w 1008"/>
                <a:gd name="T7" fmla="*/ 193 h 727"/>
                <a:gd name="T8" fmla="*/ 297 w 1008"/>
                <a:gd name="T9" fmla="*/ 111 h 727"/>
                <a:gd name="T10" fmla="*/ 361 w 1008"/>
                <a:gd name="T11" fmla="*/ 78 h 727"/>
                <a:gd name="T12" fmla="*/ 453 w 1008"/>
                <a:gd name="T13" fmla="*/ 82 h 727"/>
                <a:gd name="T14" fmla="*/ 508 w 1008"/>
                <a:gd name="T15" fmla="*/ 99 h 727"/>
                <a:gd name="T16" fmla="*/ 583 w 1008"/>
                <a:gd name="T17" fmla="*/ 94 h 727"/>
                <a:gd name="T18" fmla="*/ 621 w 1008"/>
                <a:gd name="T19" fmla="*/ 82 h 727"/>
                <a:gd name="T20" fmla="*/ 675 w 1008"/>
                <a:gd name="T21" fmla="*/ 78 h 727"/>
                <a:gd name="T22" fmla="*/ 718 w 1008"/>
                <a:gd name="T23" fmla="*/ 0 h 727"/>
                <a:gd name="T24" fmla="*/ 756 w 1008"/>
                <a:gd name="T25" fmla="*/ 42 h 727"/>
                <a:gd name="T26" fmla="*/ 777 w 1008"/>
                <a:gd name="T27" fmla="*/ 139 h 727"/>
                <a:gd name="T28" fmla="*/ 826 w 1008"/>
                <a:gd name="T29" fmla="*/ 115 h 727"/>
                <a:gd name="T30" fmla="*/ 890 w 1008"/>
                <a:gd name="T31" fmla="*/ 78 h 727"/>
                <a:gd name="T32" fmla="*/ 919 w 1008"/>
                <a:gd name="T33" fmla="*/ 94 h 727"/>
                <a:gd name="T34" fmla="*/ 994 w 1008"/>
                <a:gd name="T35" fmla="*/ 82 h 727"/>
                <a:gd name="T36" fmla="*/ 999 w 1008"/>
                <a:gd name="T37" fmla="*/ 94 h 727"/>
                <a:gd name="T38" fmla="*/ 987 w 1008"/>
                <a:gd name="T39" fmla="*/ 120 h 727"/>
                <a:gd name="T40" fmla="*/ 923 w 1008"/>
                <a:gd name="T41" fmla="*/ 120 h 727"/>
                <a:gd name="T42" fmla="*/ 784 w 1008"/>
                <a:gd name="T43" fmla="*/ 165 h 727"/>
                <a:gd name="T44" fmla="*/ 756 w 1008"/>
                <a:gd name="T45" fmla="*/ 189 h 727"/>
                <a:gd name="T46" fmla="*/ 777 w 1008"/>
                <a:gd name="T47" fmla="*/ 250 h 727"/>
                <a:gd name="T48" fmla="*/ 772 w 1008"/>
                <a:gd name="T49" fmla="*/ 283 h 727"/>
                <a:gd name="T50" fmla="*/ 730 w 1008"/>
                <a:gd name="T51" fmla="*/ 321 h 727"/>
                <a:gd name="T52" fmla="*/ 701 w 1008"/>
                <a:gd name="T53" fmla="*/ 373 h 727"/>
                <a:gd name="T54" fmla="*/ 663 w 1008"/>
                <a:gd name="T55" fmla="*/ 390 h 727"/>
                <a:gd name="T56" fmla="*/ 685 w 1008"/>
                <a:gd name="T57" fmla="*/ 415 h 727"/>
                <a:gd name="T58" fmla="*/ 633 w 1008"/>
                <a:gd name="T59" fmla="*/ 456 h 727"/>
                <a:gd name="T60" fmla="*/ 616 w 1008"/>
                <a:gd name="T61" fmla="*/ 489 h 727"/>
                <a:gd name="T62" fmla="*/ 583 w 1008"/>
                <a:gd name="T63" fmla="*/ 562 h 727"/>
                <a:gd name="T64" fmla="*/ 562 w 1008"/>
                <a:gd name="T65" fmla="*/ 545 h 727"/>
                <a:gd name="T66" fmla="*/ 491 w 1008"/>
                <a:gd name="T67" fmla="*/ 562 h 727"/>
                <a:gd name="T68" fmla="*/ 453 w 1008"/>
                <a:gd name="T69" fmla="*/ 578 h 727"/>
                <a:gd name="T70" fmla="*/ 415 w 1008"/>
                <a:gd name="T71" fmla="*/ 612 h 727"/>
                <a:gd name="T72" fmla="*/ 399 w 1008"/>
                <a:gd name="T73" fmla="*/ 678 h 727"/>
                <a:gd name="T74" fmla="*/ 314 w 1008"/>
                <a:gd name="T75" fmla="*/ 723 h 727"/>
                <a:gd name="T76" fmla="*/ 217 w 1008"/>
                <a:gd name="T77" fmla="*/ 723 h 727"/>
                <a:gd name="T78" fmla="*/ 23 w 1008"/>
                <a:gd name="T79" fmla="*/ 694 h 727"/>
                <a:gd name="T80" fmla="*/ 82 w 1008"/>
                <a:gd name="T81" fmla="*/ 578 h 727"/>
                <a:gd name="T82" fmla="*/ 23 w 1008"/>
                <a:gd name="T83" fmla="*/ 505 h 727"/>
                <a:gd name="T84" fmla="*/ 0 w 1008"/>
                <a:gd name="T85" fmla="*/ 394 h 727"/>
                <a:gd name="T86" fmla="*/ 23 w 1008"/>
                <a:gd name="T87" fmla="*/ 338 h 727"/>
                <a:gd name="T88" fmla="*/ 37 w 1008"/>
                <a:gd name="T89" fmla="*/ 300 h 727"/>
                <a:gd name="T90" fmla="*/ 54 w 1008"/>
                <a:gd name="T91" fmla="*/ 23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08" h="727">
                  <a:moveTo>
                    <a:pt x="54" y="234"/>
                  </a:moveTo>
                  <a:lnTo>
                    <a:pt x="61" y="227"/>
                  </a:lnTo>
                  <a:lnTo>
                    <a:pt x="75" y="243"/>
                  </a:lnTo>
                  <a:lnTo>
                    <a:pt x="108" y="243"/>
                  </a:lnTo>
                  <a:lnTo>
                    <a:pt x="120" y="267"/>
                  </a:lnTo>
                  <a:lnTo>
                    <a:pt x="137" y="260"/>
                  </a:lnTo>
                  <a:lnTo>
                    <a:pt x="151" y="260"/>
                  </a:lnTo>
                  <a:lnTo>
                    <a:pt x="184" y="243"/>
                  </a:lnTo>
                  <a:lnTo>
                    <a:pt x="184" y="234"/>
                  </a:lnTo>
                  <a:lnTo>
                    <a:pt x="184" y="227"/>
                  </a:lnTo>
                  <a:lnTo>
                    <a:pt x="184" y="210"/>
                  </a:lnTo>
                  <a:lnTo>
                    <a:pt x="243" y="193"/>
                  </a:lnTo>
                  <a:lnTo>
                    <a:pt x="276" y="177"/>
                  </a:lnTo>
                  <a:lnTo>
                    <a:pt x="297" y="120"/>
                  </a:lnTo>
                  <a:lnTo>
                    <a:pt x="297" y="111"/>
                  </a:lnTo>
                  <a:lnTo>
                    <a:pt x="323" y="99"/>
                  </a:lnTo>
                  <a:lnTo>
                    <a:pt x="352" y="99"/>
                  </a:lnTo>
                  <a:lnTo>
                    <a:pt x="361" y="78"/>
                  </a:lnTo>
                  <a:lnTo>
                    <a:pt x="406" y="94"/>
                  </a:lnTo>
                  <a:lnTo>
                    <a:pt x="422" y="82"/>
                  </a:lnTo>
                  <a:lnTo>
                    <a:pt x="453" y="82"/>
                  </a:lnTo>
                  <a:lnTo>
                    <a:pt x="470" y="99"/>
                  </a:lnTo>
                  <a:lnTo>
                    <a:pt x="491" y="94"/>
                  </a:lnTo>
                  <a:lnTo>
                    <a:pt x="508" y="99"/>
                  </a:lnTo>
                  <a:lnTo>
                    <a:pt x="508" y="111"/>
                  </a:lnTo>
                  <a:lnTo>
                    <a:pt x="529" y="120"/>
                  </a:lnTo>
                  <a:lnTo>
                    <a:pt x="583" y="94"/>
                  </a:lnTo>
                  <a:lnTo>
                    <a:pt x="616" y="111"/>
                  </a:lnTo>
                  <a:lnTo>
                    <a:pt x="621" y="99"/>
                  </a:lnTo>
                  <a:lnTo>
                    <a:pt x="621" y="82"/>
                  </a:lnTo>
                  <a:lnTo>
                    <a:pt x="633" y="66"/>
                  </a:lnTo>
                  <a:lnTo>
                    <a:pt x="654" y="66"/>
                  </a:lnTo>
                  <a:lnTo>
                    <a:pt x="675" y="78"/>
                  </a:lnTo>
                  <a:lnTo>
                    <a:pt x="685" y="61"/>
                  </a:lnTo>
                  <a:lnTo>
                    <a:pt x="675" y="38"/>
                  </a:lnTo>
                  <a:lnTo>
                    <a:pt x="718" y="0"/>
                  </a:lnTo>
                  <a:lnTo>
                    <a:pt x="730" y="0"/>
                  </a:lnTo>
                  <a:lnTo>
                    <a:pt x="760" y="9"/>
                  </a:lnTo>
                  <a:lnTo>
                    <a:pt x="756" y="42"/>
                  </a:lnTo>
                  <a:lnTo>
                    <a:pt x="777" y="42"/>
                  </a:lnTo>
                  <a:lnTo>
                    <a:pt x="760" y="111"/>
                  </a:lnTo>
                  <a:lnTo>
                    <a:pt x="777" y="139"/>
                  </a:lnTo>
                  <a:lnTo>
                    <a:pt x="784" y="149"/>
                  </a:lnTo>
                  <a:lnTo>
                    <a:pt x="793" y="139"/>
                  </a:lnTo>
                  <a:lnTo>
                    <a:pt x="826" y="115"/>
                  </a:lnTo>
                  <a:lnTo>
                    <a:pt x="852" y="115"/>
                  </a:lnTo>
                  <a:lnTo>
                    <a:pt x="864" y="99"/>
                  </a:lnTo>
                  <a:lnTo>
                    <a:pt x="890" y="78"/>
                  </a:lnTo>
                  <a:lnTo>
                    <a:pt x="933" y="82"/>
                  </a:lnTo>
                  <a:lnTo>
                    <a:pt x="933" y="94"/>
                  </a:lnTo>
                  <a:lnTo>
                    <a:pt x="919" y="94"/>
                  </a:lnTo>
                  <a:lnTo>
                    <a:pt x="923" y="99"/>
                  </a:lnTo>
                  <a:lnTo>
                    <a:pt x="961" y="82"/>
                  </a:lnTo>
                  <a:lnTo>
                    <a:pt x="994" y="82"/>
                  </a:lnTo>
                  <a:lnTo>
                    <a:pt x="1008" y="99"/>
                  </a:lnTo>
                  <a:lnTo>
                    <a:pt x="999" y="99"/>
                  </a:lnTo>
                  <a:lnTo>
                    <a:pt x="999" y="94"/>
                  </a:lnTo>
                  <a:lnTo>
                    <a:pt x="971" y="99"/>
                  </a:lnTo>
                  <a:lnTo>
                    <a:pt x="987" y="115"/>
                  </a:lnTo>
                  <a:lnTo>
                    <a:pt x="987" y="120"/>
                  </a:lnTo>
                  <a:lnTo>
                    <a:pt x="978" y="115"/>
                  </a:lnTo>
                  <a:lnTo>
                    <a:pt x="945" y="132"/>
                  </a:lnTo>
                  <a:lnTo>
                    <a:pt x="923" y="120"/>
                  </a:lnTo>
                  <a:lnTo>
                    <a:pt x="848" y="132"/>
                  </a:lnTo>
                  <a:lnTo>
                    <a:pt x="815" y="139"/>
                  </a:lnTo>
                  <a:lnTo>
                    <a:pt x="784" y="165"/>
                  </a:lnTo>
                  <a:lnTo>
                    <a:pt x="777" y="165"/>
                  </a:lnTo>
                  <a:lnTo>
                    <a:pt x="777" y="172"/>
                  </a:lnTo>
                  <a:lnTo>
                    <a:pt x="756" y="189"/>
                  </a:lnTo>
                  <a:lnTo>
                    <a:pt x="746" y="193"/>
                  </a:lnTo>
                  <a:lnTo>
                    <a:pt x="772" y="210"/>
                  </a:lnTo>
                  <a:lnTo>
                    <a:pt x="777" y="250"/>
                  </a:lnTo>
                  <a:lnTo>
                    <a:pt x="772" y="260"/>
                  </a:lnTo>
                  <a:lnTo>
                    <a:pt x="777" y="267"/>
                  </a:lnTo>
                  <a:lnTo>
                    <a:pt x="772" y="283"/>
                  </a:lnTo>
                  <a:lnTo>
                    <a:pt x="739" y="304"/>
                  </a:lnTo>
                  <a:lnTo>
                    <a:pt x="739" y="316"/>
                  </a:lnTo>
                  <a:lnTo>
                    <a:pt x="730" y="321"/>
                  </a:lnTo>
                  <a:lnTo>
                    <a:pt x="746" y="338"/>
                  </a:lnTo>
                  <a:lnTo>
                    <a:pt x="739" y="361"/>
                  </a:lnTo>
                  <a:lnTo>
                    <a:pt x="701" y="373"/>
                  </a:lnTo>
                  <a:lnTo>
                    <a:pt x="654" y="361"/>
                  </a:lnTo>
                  <a:lnTo>
                    <a:pt x="663" y="378"/>
                  </a:lnTo>
                  <a:lnTo>
                    <a:pt x="663" y="390"/>
                  </a:lnTo>
                  <a:lnTo>
                    <a:pt x="675" y="390"/>
                  </a:lnTo>
                  <a:lnTo>
                    <a:pt x="675" y="399"/>
                  </a:lnTo>
                  <a:lnTo>
                    <a:pt x="685" y="415"/>
                  </a:lnTo>
                  <a:lnTo>
                    <a:pt x="671" y="434"/>
                  </a:lnTo>
                  <a:lnTo>
                    <a:pt x="633" y="444"/>
                  </a:lnTo>
                  <a:lnTo>
                    <a:pt x="633" y="456"/>
                  </a:lnTo>
                  <a:lnTo>
                    <a:pt x="621" y="467"/>
                  </a:lnTo>
                  <a:lnTo>
                    <a:pt x="621" y="472"/>
                  </a:lnTo>
                  <a:lnTo>
                    <a:pt x="616" y="489"/>
                  </a:lnTo>
                  <a:lnTo>
                    <a:pt x="616" y="529"/>
                  </a:lnTo>
                  <a:lnTo>
                    <a:pt x="600" y="555"/>
                  </a:lnTo>
                  <a:lnTo>
                    <a:pt x="583" y="562"/>
                  </a:lnTo>
                  <a:lnTo>
                    <a:pt x="562" y="538"/>
                  </a:lnTo>
                  <a:lnTo>
                    <a:pt x="557" y="545"/>
                  </a:lnTo>
                  <a:lnTo>
                    <a:pt x="562" y="545"/>
                  </a:lnTo>
                  <a:lnTo>
                    <a:pt x="541" y="538"/>
                  </a:lnTo>
                  <a:lnTo>
                    <a:pt x="524" y="555"/>
                  </a:lnTo>
                  <a:lnTo>
                    <a:pt x="491" y="562"/>
                  </a:lnTo>
                  <a:lnTo>
                    <a:pt x="508" y="578"/>
                  </a:lnTo>
                  <a:lnTo>
                    <a:pt x="474" y="583"/>
                  </a:lnTo>
                  <a:lnTo>
                    <a:pt x="453" y="578"/>
                  </a:lnTo>
                  <a:lnTo>
                    <a:pt x="437" y="583"/>
                  </a:lnTo>
                  <a:lnTo>
                    <a:pt x="422" y="612"/>
                  </a:lnTo>
                  <a:lnTo>
                    <a:pt x="415" y="612"/>
                  </a:lnTo>
                  <a:lnTo>
                    <a:pt x="406" y="640"/>
                  </a:lnTo>
                  <a:lnTo>
                    <a:pt x="406" y="668"/>
                  </a:lnTo>
                  <a:lnTo>
                    <a:pt x="399" y="678"/>
                  </a:lnTo>
                  <a:lnTo>
                    <a:pt x="406" y="689"/>
                  </a:lnTo>
                  <a:lnTo>
                    <a:pt x="399" y="694"/>
                  </a:lnTo>
                  <a:lnTo>
                    <a:pt x="314" y="723"/>
                  </a:lnTo>
                  <a:lnTo>
                    <a:pt x="271" y="723"/>
                  </a:lnTo>
                  <a:lnTo>
                    <a:pt x="243" y="727"/>
                  </a:lnTo>
                  <a:lnTo>
                    <a:pt x="217" y="723"/>
                  </a:lnTo>
                  <a:lnTo>
                    <a:pt x="189" y="727"/>
                  </a:lnTo>
                  <a:lnTo>
                    <a:pt x="137" y="727"/>
                  </a:lnTo>
                  <a:lnTo>
                    <a:pt x="23" y="694"/>
                  </a:lnTo>
                  <a:lnTo>
                    <a:pt x="82" y="623"/>
                  </a:lnTo>
                  <a:lnTo>
                    <a:pt x="92" y="600"/>
                  </a:lnTo>
                  <a:lnTo>
                    <a:pt x="82" y="578"/>
                  </a:lnTo>
                  <a:lnTo>
                    <a:pt x="23" y="567"/>
                  </a:lnTo>
                  <a:lnTo>
                    <a:pt x="23" y="529"/>
                  </a:lnTo>
                  <a:lnTo>
                    <a:pt x="23" y="505"/>
                  </a:lnTo>
                  <a:lnTo>
                    <a:pt x="7" y="434"/>
                  </a:lnTo>
                  <a:lnTo>
                    <a:pt x="28" y="399"/>
                  </a:lnTo>
                  <a:lnTo>
                    <a:pt x="0" y="394"/>
                  </a:lnTo>
                  <a:lnTo>
                    <a:pt x="0" y="354"/>
                  </a:lnTo>
                  <a:lnTo>
                    <a:pt x="7" y="338"/>
                  </a:lnTo>
                  <a:lnTo>
                    <a:pt x="23" y="338"/>
                  </a:lnTo>
                  <a:lnTo>
                    <a:pt x="11" y="321"/>
                  </a:lnTo>
                  <a:lnTo>
                    <a:pt x="28" y="316"/>
                  </a:lnTo>
                  <a:lnTo>
                    <a:pt x="37" y="300"/>
                  </a:lnTo>
                  <a:lnTo>
                    <a:pt x="37" y="260"/>
                  </a:lnTo>
                  <a:lnTo>
                    <a:pt x="54" y="234"/>
                  </a:lnTo>
                  <a:lnTo>
                    <a:pt x="54" y="234"/>
                  </a:lnTo>
                  <a:lnTo>
                    <a:pt x="54" y="234"/>
                  </a:lnTo>
                  <a:close/>
                </a:path>
              </a:pathLst>
            </a:custGeom>
            <a:pattFill prst="wd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93" name="Freeform 380">
              <a:extLst>
                <a:ext uri="{FF2B5EF4-FFF2-40B4-BE49-F238E27FC236}">
                  <a16:creationId xmlns:a16="http://schemas.microsoft.com/office/drawing/2014/main" id="{DDFC70D2-2642-4585-89A8-B68DDF7262A8}"/>
                </a:ext>
              </a:extLst>
            </p:cNvPr>
            <p:cNvSpPr>
              <a:spLocks/>
            </p:cNvSpPr>
            <p:nvPr/>
          </p:nvSpPr>
          <p:spPr bwMode="gray">
            <a:xfrm>
              <a:off x="5474725" y="3216860"/>
              <a:ext cx="715098" cy="700329"/>
            </a:xfrm>
            <a:custGeom>
              <a:avLst/>
              <a:gdLst>
                <a:gd name="T0" fmla="*/ 399 w 1445"/>
                <a:gd name="T1" fmla="*/ 427 h 1415"/>
                <a:gd name="T2" fmla="*/ 446 w 1445"/>
                <a:gd name="T3" fmla="*/ 399 h 1415"/>
                <a:gd name="T4" fmla="*/ 522 w 1445"/>
                <a:gd name="T5" fmla="*/ 399 h 1415"/>
                <a:gd name="T6" fmla="*/ 522 w 1445"/>
                <a:gd name="T7" fmla="*/ 387 h 1415"/>
                <a:gd name="T8" fmla="*/ 508 w 1445"/>
                <a:gd name="T9" fmla="*/ 354 h 1415"/>
                <a:gd name="T10" fmla="*/ 508 w 1445"/>
                <a:gd name="T11" fmla="*/ 333 h 1415"/>
                <a:gd name="T12" fmla="*/ 491 w 1445"/>
                <a:gd name="T13" fmla="*/ 283 h 1415"/>
                <a:gd name="T14" fmla="*/ 491 w 1445"/>
                <a:gd name="T15" fmla="*/ 243 h 1415"/>
                <a:gd name="T16" fmla="*/ 491 w 1445"/>
                <a:gd name="T17" fmla="*/ 210 h 1415"/>
                <a:gd name="T18" fmla="*/ 484 w 1445"/>
                <a:gd name="T19" fmla="*/ 193 h 1415"/>
                <a:gd name="T20" fmla="*/ 484 w 1445"/>
                <a:gd name="T21" fmla="*/ 165 h 1415"/>
                <a:gd name="T22" fmla="*/ 538 w 1445"/>
                <a:gd name="T23" fmla="*/ 116 h 1415"/>
                <a:gd name="T24" fmla="*/ 560 w 1445"/>
                <a:gd name="T25" fmla="*/ 116 h 1415"/>
                <a:gd name="T26" fmla="*/ 597 w 1445"/>
                <a:gd name="T27" fmla="*/ 111 h 1415"/>
                <a:gd name="T28" fmla="*/ 690 w 1445"/>
                <a:gd name="T29" fmla="*/ 45 h 1415"/>
                <a:gd name="T30" fmla="*/ 786 w 1445"/>
                <a:gd name="T31" fmla="*/ 45 h 1415"/>
                <a:gd name="T32" fmla="*/ 853 w 1445"/>
                <a:gd name="T33" fmla="*/ 28 h 1415"/>
                <a:gd name="T34" fmla="*/ 938 w 1445"/>
                <a:gd name="T35" fmla="*/ 12 h 1415"/>
                <a:gd name="T36" fmla="*/ 1008 w 1445"/>
                <a:gd name="T37" fmla="*/ 21 h 1415"/>
                <a:gd name="T38" fmla="*/ 1046 w 1445"/>
                <a:gd name="T39" fmla="*/ 4 h 1415"/>
                <a:gd name="T40" fmla="*/ 1067 w 1445"/>
                <a:gd name="T41" fmla="*/ 12 h 1415"/>
                <a:gd name="T42" fmla="*/ 1110 w 1445"/>
                <a:gd name="T43" fmla="*/ 12 h 1415"/>
                <a:gd name="T44" fmla="*/ 1117 w 1445"/>
                <a:gd name="T45" fmla="*/ 0 h 1415"/>
                <a:gd name="T46" fmla="*/ 1164 w 1445"/>
                <a:gd name="T47" fmla="*/ 21 h 1415"/>
                <a:gd name="T48" fmla="*/ 1209 w 1445"/>
                <a:gd name="T49" fmla="*/ 12 h 1415"/>
                <a:gd name="T50" fmla="*/ 1176 w 1445"/>
                <a:gd name="T51" fmla="*/ 45 h 1415"/>
                <a:gd name="T52" fmla="*/ 1186 w 1445"/>
                <a:gd name="T53" fmla="*/ 99 h 1415"/>
                <a:gd name="T54" fmla="*/ 1193 w 1445"/>
                <a:gd name="T55" fmla="*/ 139 h 1415"/>
                <a:gd name="T56" fmla="*/ 1186 w 1445"/>
                <a:gd name="T57" fmla="*/ 205 h 1415"/>
                <a:gd name="T58" fmla="*/ 1155 w 1445"/>
                <a:gd name="T59" fmla="*/ 234 h 1415"/>
                <a:gd name="T60" fmla="*/ 1134 w 1445"/>
                <a:gd name="T61" fmla="*/ 260 h 1415"/>
                <a:gd name="T62" fmla="*/ 1176 w 1445"/>
                <a:gd name="T63" fmla="*/ 321 h 1415"/>
                <a:gd name="T64" fmla="*/ 1193 w 1445"/>
                <a:gd name="T65" fmla="*/ 371 h 1415"/>
                <a:gd name="T66" fmla="*/ 1278 w 1445"/>
                <a:gd name="T67" fmla="*/ 555 h 1415"/>
                <a:gd name="T68" fmla="*/ 1285 w 1445"/>
                <a:gd name="T69" fmla="*/ 600 h 1415"/>
                <a:gd name="T70" fmla="*/ 1294 w 1445"/>
                <a:gd name="T71" fmla="*/ 711 h 1415"/>
                <a:gd name="T72" fmla="*/ 1285 w 1445"/>
                <a:gd name="T73" fmla="*/ 782 h 1415"/>
                <a:gd name="T74" fmla="*/ 1299 w 1445"/>
                <a:gd name="T75" fmla="*/ 822 h 1415"/>
                <a:gd name="T76" fmla="*/ 1273 w 1445"/>
                <a:gd name="T77" fmla="*/ 855 h 1415"/>
                <a:gd name="T78" fmla="*/ 1311 w 1445"/>
                <a:gd name="T79" fmla="*/ 933 h 1415"/>
                <a:gd name="T80" fmla="*/ 1327 w 1445"/>
                <a:gd name="T81" fmla="*/ 982 h 1415"/>
                <a:gd name="T82" fmla="*/ 1337 w 1445"/>
                <a:gd name="T83" fmla="*/ 1004 h 1415"/>
                <a:gd name="T84" fmla="*/ 1419 w 1445"/>
                <a:gd name="T85" fmla="*/ 1011 h 1415"/>
                <a:gd name="T86" fmla="*/ 1134 w 1445"/>
                <a:gd name="T87" fmla="*/ 1278 h 1415"/>
                <a:gd name="T88" fmla="*/ 907 w 1445"/>
                <a:gd name="T89" fmla="*/ 1405 h 1415"/>
                <a:gd name="T90" fmla="*/ 824 w 1445"/>
                <a:gd name="T91" fmla="*/ 1405 h 1415"/>
                <a:gd name="T92" fmla="*/ 831 w 1445"/>
                <a:gd name="T93" fmla="*/ 1353 h 1415"/>
                <a:gd name="T94" fmla="*/ 760 w 1445"/>
                <a:gd name="T95" fmla="*/ 1320 h 1415"/>
                <a:gd name="T96" fmla="*/ 734 w 1445"/>
                <a:gd name="T97" fmla="*/ 1315 h 1415"/>
                <a:gd name="T98" fmla="*/ 690 w 1445"/>
                <a:gd name="T99" fmla="*/ 1282 h 1415"/>
                <a:gd name="T100" fmla="*/ 269 w 1445"/>
                <a:gd name="T101" fmla="*/ 966 h 1415"/>
                <a:gd name="T102" fmla="*/ 0 w 1445"/>
                <a:gd name="T103" fmla="*/ 760 h 1415"/>
                <a:gd name="T104" fmla="*/ 108 w 1445"/>
                <a:gd name="T105" fmla="*/ 600 h 1415"/>
                <a:gd name="T106" fmla="*/ 160 w 1445"/>
                <a:gd name="T107" fmla="*/ 593 h 1415"/>
                <a:gd name="T108" fmla="*/ 236 w 1445"/>
                <a:gd name="T109" fmla="*/ 567 h 1415"/>
                <a:gd name="T110" fmla="*/ 302 w 1445"/>
                <a:gd name="T111" fmla="*/ 522 h 1415"/>
                <a:gd name="T112" fmla="*/ 356 w 1445"/>
                <a:gd name="T113" fmla="*/ 498 h 1415"/>
                <a:gd name="T114" fmla="*/ 340 w 1445"/>
                <a:gd name="T115" fmla="*/ 482 h 1415"/>
                <a:gd name="T116" fmla="*/ 366 w 1445"/>
                <a:gd name="T117" fmla="*/ 432 h 1415"/>
                <a:gd name="T118" fmla="*/ 366 w 1445"/>
                <a:gd name="T119" fmla="*/ 432 h 1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5" h="1415">
                  <a:moveTo>
                    <a:pt x="366" y="432"/>
                  </a:moveTo>
                  <a:lnTo>
                    <a:pt x="399" y="427"/>
                  </a:lnTo>
                  <a:lnTo>
                    <a:pt x="408" y="411"/>
                  </a:lnTo>
                  <a:lnTo>
                    <a:pt x="446" y="399"/>
                  </a:lnTo>
                  <a:lnTo>
                    <a:pt x="522" y="411"/>
                  </a:lnTo>
                  <a:lnTo>
                    <a:pt x="522" y="399"/>
                  </a:lnTo>
                  <a:lnTo>
                    <a:pt x="517" y="399"/>
                  </a:lnTo>
                  <a:lnTo>
                    <a:pt x="522" y="387"/>
                  </a:lnTo>
                  <a:lnTo>
                    <a:pt x="538" y="371"/>
                  </a:lnTo>
                  <a:lnTo>
                    <a:pt x="508" y="354"/>
                  </a:lnTo>
                  <a:lnTo>
                    <a:pt x="501" y="338"/>
                  </a:lnTo>
                  <a:lnTo>
                    <a:pt x="508" y="333"/>
                  </a:lnTo>
                  <a:lnTo>
                    <a:pt x="491" y="316"/>
                  </a:lnTo>
                  <a:lnTo>
                    <a:pt x="491" y="283"/>
                  </a:lnTo>
                  <a:lnTo>
                    <a:pt x="484" y="276"/>
                  </a:lnTo>
                  <a:lnTo>
                    <a:pt x="491" y="243"/>
                  </a:lnTo>
                  <a:lnTo>
                    <a:pt x="484" y="222"/>
                  </a:lnTo>
                  <a:lnTo>
                    <a:pt x="491" y="210"/>
                  </a:lnTo>
                  <a:lnTo>
                    <a:pt x="475" y="205"/>
                  </a:lnTo>
                  <a:lnTo>
                    <a:pt x="484" y="193"/>
                  </a:lnTo>
                  <a:lnTo>
                    <a:pt x="453" y="165"/>
                  </a:lnTo>
                  <a:lnTo>
                    <a:pt x="484" y="165"/>
                  </a:lnTo>
                  <a:lnTo>
                    <a:pt x="517" y="139"/>
                  </a:lnTo>
                  <a:lnTo>
                    <a:pt x="538" y="116"/>
                  </a:lnTo>
                  <a:lnTo>
                    <a:pt x="555" y="111"/>
                  </a:lnTo>
                  <a:lnTo>
                    <a:pt x="560" y="116"/>
                  </a:lnTo>
                  <a:lnTo>
                    <a:pt x="583" y="99"/>
                  </a:lnTo>
                  <a:lnTo>
                    <a:pt x="597" y="111"/>
                  </a:lnTo>
                  <a:lnTo>
                    <a:pt x="626" y="82"/>
                  </a:lnTo>
                  <a:lnTo>
                    <a:pt x="690" y="45"/>
                  </a:lnTo>
                  <a:lnTo>
                    <a:pt x="772" y="38"/>
                  </a:lnTo>
                  <a:lnTo>
                    <a:pt x="786" y="45"/>
                  </a:lnTo>
                  <a:lnTo>
                    <a:pt x="810" y="21"/>
                  </a:lnTo>
                  <a:lnTo>
                    <a:pt x="853" y="28"/>
                  </a:lnTo>
                  <a:lnTo>
                    <a:pt x="878" y="12"/>
                  </a:lnTo>
                  <a:lnTo>
                    <a:pt x="938" y="12"/>
                  </a:lnTo>
                  <a:lnTo>
                    <a:pt x="975" y="38"/>
                  </a:lnTo>
                  <a:lnTo>
                    <a:pt x="1008" y="21"/>
                  </a:lnTo>
                  <a:lnTo>
                    <a:pt x="1046" y="12"/>
                  </a:lnTo>
                  <a:lnTo>
                    <a:pt x="1046" y="4"/>
                  </a:lnTo>
                  <a:lnTo>
                    <a:pt x="1063" y="0"/>
                  </a:lnTo>
                  <a:lnTo>
                    <a:pt x="1067" y="12"/>
                  </a:lnTo>
                  <a:lnTo>
                    <a:pt x="1096" y="12"/>
                  </a:lnTo>
                  <a:lnTo>
                    <a:pt x="1110" y="12"/>
                  </a:lnTo>
                  <a:lnTo>
                    <a:pt x="1117" y="4"/>
                  </a:lnTo>
                  <a:lnTo>
                    <a:pt x="1117" y="0"/>
                  </a:lnTo>
                  <a:lnTo>
                    <a:pt x="1155" y="12"/>
                  </a:lnTo>
                  <a:lnTo>
                    <a:pt x="1164" y="21"/>
                  </a:lnTo>
                  <a:lnTo>
                    <a:pt x="1186" y="12"/>
                  </a:lnTo>
                  <a:lnTo>
                    <a:pt x="1209" y="12"/>
                  </a:lnTo>
                  <a:lnTo>
                    <a:pt x="1219" y="21"/>
                  </a:lnTo>
                  <a:lnTo>
                    <a:pt x="1176" y="45"/>
                  </a:lnTo>
                  <a:lnTo>
                    <a:pt x="1193" y="54"/>
                  </a:lnTo>
                  <a:lnTo>
                    <a:pt x="1186" y="99"/>
                  </a:lnTo>
                  <a:lnTo>
                    <a:pt x="1193" y="116"/>
                  </a:lnTo>
                  <a:lnTo>
                    <a:pt x="1193" y="139"/>
                  </a:lnTo>
                  <a:lnTo>
                    <a:pt x="1193" y="156"/>
                  </a:lnTo>
                  <a:lnTo>
                    <a:pt x="1186" y="205"/>
                  </a:lnTo>
                  <a:lnTo>
                    <a:pt x="1155" y="222"/>
                  </a:lnTo>
                  <a:lnTo>
                    <a:pt x="1155" y="234"/>
                  </a:lnTo>
                  <a:lnTo>
                    <a:pt x="1134" y="243"/>
                  </a:lnTo>
                  <a:lnTo>
                    <a:pt x="1134" y="260"/>
                  </a:lnTo>
                  <a:lnTo>
                    <a:pt x="1148" y="316"/>
                  </a:lnTo>
                  <a:lnTo>
                    <a:pt x="1176" y="321"/>
                  </a:lnTo>
                  <a:lnTo>
                    <a:pt x="1193" y="345"/>
                  </a:lnTo>
                  <a:lnTo>
                    <a:pt x="1193" y="371"/>
                  </a:lnTo>
                  <a:lnTo>
                    <a:pt x="1240" y="411"/>
                  </a:lnTo>
                  <a:lnTo>
                    <a:pt x="1278" y="555"/>
                  </a:lnTo>
                  <a:lnTo>
                    <a:pt x="1261" y="560"/>
                  </a:lnTo>
                  <a:lnTo>
                    <a:pt x="1285" y="600"/>
                  </a:lnTo>
                  <a:lnTo>
                    <a:pt x="1294" y="638"/>
                  </a:lnTo>
                  <a:lnTo>
                    <a:pt x="1294" y="711"/>
                  </a:lnTo>
                  <a:lnTo>
                    <a:pt x="1311" y="744"/>
                  </a:lnTo>
                  <a:lnTo>
                    <a:pt x="1285" y="782"/>
                  </a:lnTo>
                  <a:lnTo>
                    <a:pt x="1299" y="815"/>
                  </a:lnTo>
                  <a:lnTo>
                    <a:pt x="1299" y="822"/>
                  </a:lnTo>
                  <a:lnTo>
                    <a:pt x="1299" y="843"/>
                  </a:lnTo>
                  <a:lnTo>
                    <a:pt x="1273" y="855"/>
                  </a:lnTo>
                  <a:lnTo>
                    <a:pt x="1261" y="871"/>
                  </a:lnTo>
                  <a:lnTo>
                    <a:pt x="1311" y="933"/>
                  </a:lnTo>
                  <a:lnTo>
                    <a:pt x="1311" y="971"/>
                  </a:lnTo>
                  <a:lnTo>
                    <a:pt x="1327" y="982"/>
                  </a:lnTo>
                  <a:lnTo>
                    <a:pt x="1327" y="987"/>
                  </a:lnTo>
                  <a:lnTo>
                    <a:pt x="1337" y="1004"/>
                  </a:lnTo>
                  <a:lnTo>
                    <a:pt x="1353" y="999"/>
                  </a:lnTo>
                  <a:lnTo>
                    <a:pt x="1419" y="1011"/>
                  </a:lnTo>
                  <a:lnTo>
                    <a:pt x="1445" y="1077"/>
                  </a:lnTo>
                  <a:lnTo>
                    <a:pt x="1134" y="1278"/>
                  </a:lnTo>
                  <a:lnTo>
                    <a:pt x="1013" y="1389"/>
                  </a:lnTo>
                  <a:lnTo>
                    <a:pt x="907" y="1405"/>
                  </a:lnTo>
                  <a:lnTo>
                    <a:pt x="841" y="1415"/>
                  </a:lnTo>
                  <a:lnTo>
                    <a:pt x="824" y="1405"/>
                  </a:lnTo>
                  <a:lnTo>
                    <a:pt x="841" y="1389"/>
                  </a:lnTo>
                  <a:lnTo>
                    <a:pt x="831" y="1353"/>
                  </a:lnTo>
                  <a:lnTo>
                    <a:pt x="777" y="1337"/>
                  </a:lnTo>
                  <a:lnTo>
                    <a:pt x="760" y="1320"/>
                  </a:lnTo>
                  <a:lnTo>
                    <a:pt x="756" y="1320"/>
                  </a:lnTo>
                  <a:lnTo>
                    <a:pt x="734" y="1315"/>
                  </a:lnTo>
                  <a:lnTo>
                    <a:pt x="723" y="1299"/>
                  </a:lnTo>
                  <a:lnTo>
                    <a:pt x="690" y="1282"/>
                  </a:lnTo>
                  <a:lnTo>
                    <a:pt x="690" y="1261"/>
                  </a:lnTo>
                  <a:lnTo>
                    <a:pt x="269" y="966"/>
                  </a:lnTo>
                  <a:lnTo>
                    <a:pt x="0" y="782"/>
                  </a:lnTo>
                  <a:lnTo>
                    <a:pt x="0" y="760"/>
                  </a:lnTo>
                  <a:lnTo>
                    <a:pt x="0" y="671"/>
                  </a:lnTo>
                  <a:lnTo>
                    <a:pt x="108" y="600"/>
                  </a:lnTo>
                  <a:lnTo>
                    <a:pt x="146" y="609"/>
                  </a:lnTo>
                  <a:lnTo>
                    <a:pt x="160" y="593"/>
                  </a:lnTo>
                  <a:lnTo>
                    <a:pt x="222" y="583"/>
                  </a:lnTo>
                  <a:lnTo>
                    <a:pt x="236" y="567"/>
                  </a:lnTo>
                  <a:lnTo>
                    <a:pt x="260" y="538"/>
                  </a:lnTo>
                  <a:lnTo>
                    <a:pt x="302" y="522"/>
                  </a:lnTo>
                  <a:lnTo>
                    <a:pt x="323" y="498"/>
                  </a:lnTo>
                  <a:lnTo>
                    <a:pt x="356" y="498"/>
                  </a:lnTo>
                  <a:lnTo>
                    <a:pt x="356" y="489"/>
                  </a:lnTo>
                  <a:lnTo>
                    <a:pt x="340" y="482"/>
                  </a:lnTo>
                  <a:lnTo>
                    <a:pt x="340" y="444"/>
                  </a:lnTo>
                  <a:lnTo>
                    <a:pt x="366" y="432"/>
                  </a:lnTo>
                  <a:lnTo>
                    <a:pt x="366" y="432"/>
                  </a:lnTo>
                  <a:lnTo>
                    <a:pt x="366" y="432"/>
                  </a:lnTo>
                  <a:close/>
                </a:path>
              </a:pathLst>
            </a:custGeom>
            <a:pattFill prst="dk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94" name="Freeform 381">
              <a:extLst>
                <a:ext uri="{FF2B5EF4-FFF2-40B4-BE49-F238E27FC236}">
                  <a16:creationId xmlns:a16="http://schemas.microsoft.com/office/drawing/2014/main" id="{8BA8EE3E-3901-447C-A490-745F1C051A72}"/>
                </a:ext>
              </a:extLst>
            </p:cNvPr>
            <p:cNvSpPr>
              <a:spLocks noEditPoints="1"/>
            </p:cNvSpPr>
            <p:nvPr/>
          </p:nvSpPr>
          <p:spPr bwMode="gray">
            <a:xfrm>
              <a:off x="7328533" y="3016907"/>
              <a:ext cx="195476" cy="148480"/>
            </a:xfrm>
            <a:custGeom>
              <a:avLst/>
              <a:gdLst>
                <a:gd name="T0" fmla="*/ 118 w 395"/>
                <a:gd name="T1" fmla="*/ 229 h 300"/>
                <a:gd name="T2" fmla="*/ 118 w 395"/>
                <a:gd name="T3" fmla="*/ 212 h 300"/>
                <a:gd name="T4" fmla="*/ 102 w 395"/>
                <a:gd name="T5" fmla="*/ 196 h 300"/>
                <a:gd name="T6" fmla="*/ 64 w 395"/>
                <a:gd name="T7" fmla="*/ 168 h 300"/>
                <a:gd name="T8" fmla="*/ 85 w 395"/>
                <a:gd name="T9" fmla="*/ 139 h 300"/>
                <a:gd name="T10" fmla="*/ 47 w 395"/>
                <a:gd name="T11" fmla="*/ 99 h 300"/>
                <a:gd name="T12" fmla="*/ 26 w 395"/>
                <a:gd name="T13" fmla="*/ 73 h 300"/>
                <a:gd name="T14" fmla="*/ 17 w 395"/>
                <a:gd name="T15" fmla="*/ 45 h 300"/>
                <a:gd name="T16" fmla="*/ 71 w 395"/>
                <a:gd name="T17" fmla="*/ 45 h 300"/>
                <a:gd name="T18" fmla="*/ 102 w 395"/>
                <a:gd name="T19" fmla="*/ 57 h 300"/>
                <a:gd name="T20" fmla="*/ 135 w 395"/>
                <a:gd name="T21" fmla="*/ 61 h 300"/>
                <a:gd name="T22" fmla="*/ 109 w 395"/>
                <a:gd name="T23" fmla="*/ 28 h 300"/>
                <a:gd name="T24" fmla="*/ 118 w 395"/>
                <a:gd name="T25" fmla="*/ 0 h 300"/>
                <a:gd name="T26" fmla="*/ 140 w 395"/>
                <a:gd name="T27" fmla="*/ 0 h 300"/>
                <a:gd name="T28" fmla="*/ 177 w 395"/>
                <a:gd name="T29" fmla="*/ 45 h 300"/>
                <a:gd name="T30" fmla="*/ 227 w 395"/>
                <a:gd name="T31" fmla="*/ 57 h 300"/>
                <a:gd name="T32" fmla="*/ 253 w 395"/>
                <a:gd name="T33" fmla="*/ 23 h 300"/>
                <a:gd name="T34" fmla="*/ 303 w 395"/>
                <a:gd name="T35" fmla="*/ 40 h 300"/>
                <a:gd name="T36" fmla="*/ 336 w 395"/>
                <a:gd name="T37" fmla="*/ 94 h 300"/>
                <a:gd name="T38" fmla="*/ 390 w 395"/>
                <a:gd name="T39" fmla="*/ 118 h 300"/>
                <a:gd name="T40" fmla="*/ 362 w 395"/>
                <a:gd name="T41" fmla="*/ 134 h 300"/>
                <a:gd name="T42" fmla="*/ 319 w 395"/>
                <a:gd name="T43" fmla="*/ 205 h 300"/>
                <a:gd name="T44" fmla="*/ 319 w 395"/>
                <a:gd name="T45" fmla="*/ 222 h 300"/>
                <a:gd name="T46" fmla="*/ 303 w 395"/>
                <a:gd name="T47" fmla="*/ 246 h 300"/>
                <a:gd name="T48" fmla="*/ 298 w 395"/>
                <a:gd name="T49" fmla="*/ 229 h 300"/>
                <a:gd name="T50" fmla="*/ 269 w 395"/>
                <a:gd name="T51" fmla="*/ 300 h 300"/>
                <a:gd name="T52" fmla="*/ 248 w 395"/>
                <a:gd name="T53" fmla="*/ 279 h 300"/>
                <a:gd name="T54" fmla="*/ 232 w 395"/>
                <a:gd name="T55" fmla="*/ 250 h 300"/>
                <a:gd name="T56" fmla="*/ 232 w 395"/>
                <a:gd name="T57" fmla="*/ 222 h 300"/>
                <a:gd name="T58" fmla="*/ 227 w 395"/>
                <a:gd name="T59" fmla="*/ 184 h 300"/>
                <a:gd name="T60" fmla="*/ 123 w 395"/>
                <a:gd name="T61" fmla="*/ 250 h 300"/>
                <a:gd name="T62" fmla="*/ 123 w 395"/>
                <a:gd name="T63" fmla="*/ 250 h 300"/>
                <a:gd name="T64" fmla="*/ 55 w 395"/>
                <a:gd name="T65" fmla="*/ 99 h 300"/>
                <a:gd name="T66" fmla="*/ 55 w 395"/>
                <a:gd name="T67" fmla="*/ 111 h 300"/>
                <a:gd name="T68" fmla="*/ 55 w 395"/>
                <a:gd name="T69" fmla="*/ 111 h 300"/>
                <a:gd name="T70" fmla="*/ 0 w 395"/>
                <a:gd name="T71" fmla="*/ 189 h 300"/>
                <a:gd name="T72" fmla="*/ 47 w 395"/>
                <a:gd name="T73" fmla="*/ 205 h 300"/>
                <a:gd name="T74" fmla="*/ 80 w 395"/>
                <a:gd name="T75" fmla="*/ 212 h 300"/>
                <a:gd name="T76" fmla="*/ 85 w 395"/>
                <a:gd name="T77" fmla="*/ 229 h 300"/>
                <a:gd name="T78" fmla="*/ 47 w 395"/>
                <a:gd name="T79" fmla="*/ 246 h 300"/>
                <a:gd name="T80" fmla="*/ 26 w 395"/>
                <a:gd name="T81" fmla="*/ 229 h 300"/>
                <a:gd name="T82" fmla="*/ 0 w 395"/>
                <a:gd name="T83" fmla="*/ 18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5" h="300">
                  <a:moveTo>
                    <a:pt x="123" y="250"/>
                  </a:moveTo>
                  <a:lnTo>
                    <a:pt x="118" y="229"/>
                  </a:lnTo>
                  <a:lnTo>
                    <a:pt x="135" y="229"/>
                  </a:lnTo>
                  <a:lnTo>
                    <a:pt x="118" y="212"/>
                  </a:lnTo>
                  <a:lnTo>
                    <a:pt x="123" y="196"/>
                  </a:lnTo>
                  <a:lnTo>
                    <a:pt x="102" y="196"/>
                  </a:lnTo>
                  <a:lnTo>
                    <a:pt x="71" y="168"/>
                  </a:lnTo>
                  <a:lnTo>
                    <a:pt x="64" y="168"/>
                  </a:lnTo>
                  <a:lnTo>
                    <a:pt x="80" y="156"/>
                  </a:lnTo>
                  <a:lnTo>
                    <a:pt x="85" y="139"/>
                  </a:lnTo>
                  <a:lnTo>
                    <a:pt x="55" y="127"/>
                  </a:lnTo>
                  <a:lnTo>
                    <a:pt x="47" y="99"/>
                  </a:lnTo>
                  <a:lnTo>
                    <a:pt x="64" y="83"/>
                  </a:lnTo>
                  <a:lnTo>
                    <a:pt x="26" y="73"/>
                  </a:lnTo>
                  <a:lnTo>
                    <a:pt x="33" y="61"/>
                  </a:lnTo>
                  <a:lnTo>
                    <a:pt x="17" y="45"/>
                  </a:lnTo>
                  <a:lnTo>
                    <a:pt x="38" y="40"/>
                  </a:lnTo>
                  <a:lnTo>
                    <a:pt x="71" y="45"/>
                  </a:lnTo>
                  <a:lnTo>
                    <a:pt x="80" y="57"/>
                  </a:lnTo>
                  <a:lnTo>
                    <a:pt x="102" y="57"/>
                  </a:lnTo>
                  <a:lnTo>
                    <a:pt x="123" y="73"/>
                  </a:lnTo>
                  <a:lnTo>
                    <a:pt x="135" y="61"/>
                  </a:lnTo>
                  <a:lnTo>
                    <a:pt x="135" y="45"/>
                  </a:lnTo>
                  <a:lnTo>
                    <a:pt x="109" y="28"/>
                  </a:lnTo>
                  <a:lnTo>
                    <a:pt x="102" y="16"/>
                  </a:lnTo>
                  <a:lnTo>
                    <a:pt x="118" y="0"/>
                  </a:lnTo>
                  <a:lnTo>
                    <a:pt x="135" y="5"/>
                  </a:lnTo>
                  <a:lnTo>
                    <a:pt x="140" y="0"/>
                  </a:lnTo>
                  <a:lnTo>
                    <a:pt x="173" y="28"/>
                  </a:lnTo>
                  <a:lnTo>
                    <a:pt x="177" y="45"/>
                  </a:lnTo>
                  <a:lnTo>
                    <a:pt x="210" y="61"/>
                  </a:lnTo>
                  <a:lnTo>
                    <a:pt x="227" y="57"/>
                  </a:lnTo>
                  <a:lnTo>
                    <a:pt x="232" y="40"/>
                  </a:lnTo>
                  <a:lnTo>
                    <a:pt x="253" y="23"/>
                  </a:lnTo>
                  <a:lnTo>
                    <a:pt x="269" y="5"/>
                  </a:lnTo>
                  <a:lnTo>
                    <a:pt x="303" y="40"/>
                  </a:lnTo>
                  <a:lnTo>
                    <a:pt x="307" y="73"/>
                  </a:lnTo>
                  <a:lnTo>
                    <a:pt x="336" y="94"/>
                  </a:lnTo>
                  <a:lnTo>
                    <a:pt x="336" y="99"/>
                  </a:lnTo>
                  <a:lnTo>
                    <a:pt x="390" y="118"/>
                  </a:lnTo>
                  <a:lnTo>
                    <a:pt x="395" y="139"/>
                  </a:lnTo>
                  <a:lnTo>
                    <a:pt x="362" y="134"/>
                  </a:lnTo>
                  <a:lnTo>
                    <a:pt x="336" y="151"/>
                  </a:lnTo>
                  <a:lnTo>
                    <a:pt x="319" y="205"/>
                  </a:lnTo>
                  <a:lnTo>
                    <a:pt x="324" y="212"/>
                  </a:lnTo>
                  <a:lnTo>
                    <a:pt x="319" y="222"/>
                  </a:lnTo>
                  <a:lnTo>
                    <a:pt x="307" y="246"/>
                  </a:lnTo>
                  <a:lnTo>
                    <a:pt x="303" y="246"/>
                  </a:lnTo>
                  <a:lnTo>
                    <a:pt x="307" y="238"/>
                  </a:lnTo>
                  <a:lnTo>
                    <a:pt x="298" y="229"/>
                  </a:lnTo>
                  <a:lnTo>
                    <a:pt x="286" y="295"/>
                  </a:lnTo>
                  <a:lnTo>
                    <a:pt x="269" y="300"/>
                  </a:lnTo>
                  <a:lnTo>
                    <a:pt x="253" y="279"/>
                  </a:lnTo>
                  <a:lnTo>
                    <a:pt x="248" y="279"/>
                  </a:lnTo>
                  <a:lnTo>
                    <a:pt x="232" y="262"/>
                  </a:lnTo>
                  <a:lnTo>
                    <a:pt x="232" y="250"/>
                  </a:lnTo>
                  <a:lnTo>
                    <a:pt x="248" y="246"/>
                  </a:lnTo>
                  <a:lnTo>
                    <a:pt x="232" y="222"/>
                  </a:lnTo>
                  <a:lnTo>
                    <a:pt x="253" y="212"/>
                  </a:lnTo>
                  <a:lnTo>
                    <a:pt x="227" y="184"/>
                  </a:lnTo>
                  <a:lnTo>
                    <a:pt x="147" y="229"/>
                  </a:lnTo>
                  <a:lnTo>
                    <a:pt x="123" y="250"/>
                  </a:lnTo>
                  <a:lnTo>
                    <a:pt x="123" y="250"/>
                  </a:lnTo>
                  <a:lnTo>
                    <a:pt x="123" y="250"/>
                  </a:lnTo>
                  <a:close/>
                  <a:moveTo>
                    <a:pt x="55" y="111"/>
                  </a:moveTo>
                  <a:lnTo>
                    <a:pt x="55" y="99"/>
                  </a:lnTo>
                  <a:lnTo>
                    <a:pt x="55" y="99"/>
                  </a:lnTo>
                  <a:lnTo>
                    <a:pt x="55" y="111"/>
                  </a:lnTo>
                  <a:lnTo>
                    <a:pt x="55" y="111"/>
                  </a:lnTo>
                  <a:lnTo>
                    <a:pt x="55" y="111"/>
                  </a:lnTo>
                  <a:close/>
                  <a:moveTo>
                    <a:pt x="0" y="189"/>
                  </a:moveTo>
                  <a:lnTo>
                    <a:pt x="0" y="189"/>
                  </a:lnTo>
                  <a:lnTo>
                    <a:pt x="26" y="184"/>
                  </a:lnTo>
                  <a:lnTo>
                    <a:pt x="47" y="205"/>
                  </a:lnTo>
                  <a:lnTo>
                    <a:pt x="71" y="196"/>
                  </a:lnTo>
                  <a:lnTo>
                    <a:pt x="80" y="212"/>
                  </a:lnTo>
                  <a:lnTo>
                    <a:pt x="85" y="222"/>
                  </a:lnTo>
                  <a:lnTo>
                    <a:pt x="85" y="229"/>
                  </a:lnTo>
                  <a:lnTo>
                    <a:pt x="102" y="262"/>
                  </a:lnTo>
                  <a:lnTo>
                    <a:pt x="47" y="246"/>
                  </a:lnTo>
                  <a:lnTo>
                    <a:pt x="38" y="229"/>
                  </a:lnTo>
                  <a:lnTo>
                    <a:pt x="26" y="229"/>
                  </a:lnTo>
                  <a:lnTo>
                    <a:pt x="0" y="189"/>
                  </a:lnTo>
                  <a:lnTo>
                    <a:pt x="0" y="189"/>
                  </a:lnTo>
                  <a:lnTo>
                    <a:pt x="0" y="189"/>
                  </a:lnTo>
                  <a:close/>
                </a:path>
              </a:pathLst>
            </a:custGeom>
            <a:pattFill prst="dk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95" name="Freeform 382">
              <a:extLst>
                <a:ext uri="{FF2B5EF4-FFF2-40B4-BE49-F238E27FC236}">
                  <a16:creationId xmlns:a16="http://schemas.microsoft.com/office/drawing/2014/main" id="{8990290F-B9FF-4E02-85D4-D41E929A74EC}"/>
                </a:ext>
              </a:extLst>
            </p:cNvPr>
            <p:cNvSpPr>
              <a:spLocks/>
            </p:cNvSpPr>
            <p:nvPr/>
          </p:nvSpPr>
          <p:spPr bwMode="gray">
            <a:xfrm>
              <a:off x="6442703" y="2982758"/>
              <a:ext cx="61859" cy="127693"/>
            </a:xfrm>
            <a:custGeom>
              <a:avLst/>
              <a:gdLst>
                <a:gd name="T0" fmla="*/ 7 w 125"/>
                <a:gd name="T1" fmla="*/ 66 h 258"/>
                <a:gd name="T2" fmla="*/ 7 w 125"/>
                <a:gd name="T3" fmla="*/ 50 h 258"/>
                <a:gd name="T4" fmla="*/ 0 w 125"/>
                <a:gd name="T5" fmla="*/ 40 h 258"/>
                <a:gd name="T6" fmla="*/ 33 w 125"/>
                <a:gd name="T7" fmla="*/ 0 h 258"/>
                <a:gd name="T8" fmla="*/ 37 w 125"/>
                <a:gd name="T9" fmla="*/ 0 h 258"/>
                <a:gd name="T10" fmla="*/ 37 w 125"/>
                <a:gd name="T11" fmla="*/ 17 h 258"/>
                <a:gd name="T12" fmla="*/ 54 w 125"/>
                <a:gd name="T13" fmla="*/ 12 h 258"/>
                <a:gd name="T14" fmla="*/ 71 w 125"/>
                <a:gd name="T15" fmla="*/ 22 h 258"/>
                <a:gd name="T16" fmla="*/ 92 w 125"/>
                <a:gd name="T17" fmla="*/ 33 h 258"/>
                <a:gd name="T18" fmla="*/ 92 w 125"/>
                <a:gd name="T19" fmla="*/ 66 h 258"/>
                <a:gd name="T20" fmla="*/ 87 w 125"/>
                <a:gd name="T21" fmla="*/ 95 h 258"/>
                <a:gd name="T22" fmla="*/ 92 w 125"/>
                <a:gd name="T23" fmla="*/ 107 h 258"/>
                <a:gd name="T24" fmla="*/ 87 w 125"/>
                <a:gd name="T25" fmla="*/ 111 h 258"/>
                <a:gd name="T26" fmla="*/ 96 w 125"/>
                <a:gd name="T27" fmla="*/ 152 h 258"/>
                <a:gd name="T28" fmla="*/ 108 w 125"/>
                <a:gd name="T29" fmla="*/ 152 h 258"/>
                <a:gd name="T30" fmla="*/ 125 w 125"/>
                <a:gd name="T31" fmla="*/ 152 h 258"/>
                <a:gd name="T32" fmla="*/ 125 w 125"/>
                <a:gd name="T33" fmla="*/ 180 h 258"/>
                <a:gd name="T34" fmla="*/ 108 w 125"/>
                <a:gd name="T35" fmla="*/ 196 h 258"/>
                <a:gd name="T36" fmla="*/ 96 w 125"/>
                <a:gd name="T37" fmla="*/ 218 h 258"/>
                <a:gd name="T38" fmla="*/ 75 w 125"/>
                <a:gd name="T39" fmla="*/ 237 h 258"/>
                <a:gd name="T40" fmla="*/ 87 w 125"/>
                <a:gd name="T41" fmla="*/ 241 h 258"/>
                <a:gd name="T42" fmla="*/ 71 w 125"/>
                <a:gd name="T43" fmla="*/ 253 h 258"/>
                <a:gd name="T44" fmla="*/ 75 w 125"/>
                <a:gd name="T45" fmla="*/ 253 h 258"/>
                <a:gd name="T46" fmla="*/ 71 w 125"/>
                <a:gd name="T47" fmla="*/ 258 h 258"/>
                <a:gd name="T48" fmla="*/ 54 w 125"/>
                <a:gd name="T49" fmla="*/ 258 h 258"/>
                <a:gd name="T50" fmla="*/ 45 w 125"/>
                <a:gd name="T51" fmla="*/ 225 h 258"/>
                <a:gd name="T52" fmla="*/ 16 w 125"/>
                <a:gd name="T53" fmla="*/ 208 h 258"/>
                <a:gd name="T54" fmla="*/ 0 w 125"/>
                <a:gd name="T55" fmla="*/ 196 h 258"/>
                <a:gd name="T56" fmla="*/ 16 w 125"/>
                <a:gd name="T57" fmla="*/ 201 h 258"/>
                <a:gd name="T58" fmla="*/ 16 w 125"/>
                <a:gd name="T59" fmla="*/ 180 h 258"/>
                <a:gd name="T60" fmla="*/ 7 w 125"/>
                <a:gd name="T61" fmla="*/ 180 h 258"/>
                <a:gd name="T62" fmla="*/ 7 w 125"/>
                <a:gd name="T63" fmla="*/ 152 h 258"/>
                <a:gd name="T64" fmla="*/ 16 w 125"/>
                <a:gd name="T65" fmla="*/ 152 h 258"/>
                <a:gd name="T66" fmla="*/ 16 w 125"/>
                <a:gd name="T67" fmla="*/ 140 h 258"/>
                <a:gd name="T68" fmla="*/ 16 w 125"/>
                <a:gd name="T69" fmla="*/ 123 h 258"/>
                <a:gd name="T70" fmla="*/ 16 w 125"/>
                <a:gd name="T71" fmla="*/ 107 h 258"/>
                <a:gd name="T72" fmla="*/ 21 w 125"/>
                <a:gd name="T73" fmla="*/ 90 h 258"/>
                <a:gd name="T74" fmla="*/ 21 w 125"/>
                <a:gd name="T75" fmla="*/ 74 h 258"/>
                <a:gd name="T76" fmla="*/ 7 w 125"/>
                <a:gd name="T77" fmla="*/ 66 h 258"/>
                <a:gd name="T78" fmla="*/ 7 w 125"/>
                <a:gd name="T79" fmla="*/ 66 h 258"/>
                <a:gd name="T80" fmla="*/ 7 w 125"/>
                <a:gd name="T81" fmla="*/ 6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5" h="258">
                  <a:moveTo>
                    <a:pt x="7" y="66"/>
                  </a:moveTo>
                  <a:lnTo>
                    <a:pt x="7" y="50"/>
                  </a:lnTo>
                  <a:lnTo>
                    <a:pt x="0" y="40"/>
                  </a:lnTo>
                  <a:lnTo>
                    <a:pt x="33" y="0"/>
                  </a:lnTo>
                  <a:lnTo>
                    <a:pt x="37" y="0"/>
                  </a:lnTo>
                  <a:lnTo>
                    <a:pt x="37" y="17"/>
                  </a:lnTo>
                  <a:lnTo>
                    <a:pt x="54" y="12"/>
                  </a:lnTo>
                  <a:lnTo>
                    <a:pt x="71" y="22"/>
                  </a:lnTo>
                  <a:lnTo>
                    <a:pt x="92" y="33"/>
                  </a:lnTo>
                  <a:lnTo>
                    <a:pt x="92" y="66"/>
                  </a:lnTo>
                  <a:lnTo>
                    <a:pt x="87" y="95"/>
                  </a:lnTo>
                  <a:lnTo>
                    <a:pt x="92" y="107"/>
                  </a:lnTo>
                  <a:lnTo>
                    <a:pt x="87" y="111"/>
                  </a:lnTo>
                  <a:lnTo>
                    <a:pt x="96" y="152"/>
                  </a:lnTo>
                  <a:lnTo>
                    <a:pt x="108" y="152"/>
                  </a:lnTo>
                  <a:lnTo>
                    <a:pt x="125" y="152"/>
                  </a:lnTo>
                  <a:lnTo>
                    <a:pt x="125" y="180"/>
                  </a:lnTo>
                  <a:lnTo>
                    <a:pt x="108" y="196"/>
                  </a:lnTo>
                  <a:lnTo>
                    <a:pt x="96" y="218"/>
                  </a:lnTo>
                  <a:lnTo>
                    <a:pt x="75" y="237"/>
                  </a:lnTo>
                  <a:lnTo>
                    <a:pt x="87" y="241"/>
                  </a:lnTo>
                  <a:lnTo>
                    <a:pt x="71" y="253"/>
                  </a:lnTo>
                  <a:lnTo>
                    <a:pt x="75" y="253"/>
                  </a:lnTo>
                  <a:lnTo>
                    <a:pt x="71" y="258"/>
                  </a:lnTo>
                  <a:lnTo>
                    <a:pt x="54" y="258"/>
                  </a:lnTo>
                  <a:lnTo>
                    <a:pt x="45" y="225"/>
                  </a:lnTo>
                  <a:lnTo>
                    <a:pt x="16" y="208"/>
                  </a:lnTo>
                  <a:lnTo>
                    <a:pt x="0" y="196"/>
                  </a:lnTo>
                  <a:lnTo>
                    <a:pt x="16" y="201"/>
                  </a:lnTo>
                  <a:lnTo>
                    <a:pt x="16" y="180"/>
                  </a:lnTo>
                  <a:lnTo>
                    <a:pt x="7" y="180"/>
                  </a:lnTo>
                  <a:lnTo>
                    <a:pt x="7" y="152"/>
                  </a:lnTo>
                  <a:lnTo>
                    <a:pt x="16" y="152"/>
                  </a:lnTo>
                  <a:lnTo>
                    <a:pt x="16" y="140"/>
                  </a:lnTo>
                  <a:lnTo>
                    <a:pt x="16" y="123"/>
                  </a:lnTo>
                  <a:lnTo>
                    <a:pt x="16" y="107"/>
                  </a:lnTo>
                  <a:lnTo>
                    <a:pt x="21" y="90"/>
                  </a:lnTo>
                  <a:lnTo>
                    <a:pt x="21" y="74"/>
                  </a:lnTo>
                  <a:lnTo>
                    <a:pt x="7" y="66"/>
                  </a:lnTo>
                  <a:lnTo>
                    <a:pt x="7" y="66"/>
                  </a:lnTo>
                  <a:lnTo>
                    <a:pt x="7" y="66"/>
                  </a:lnTo>
                  <a:close/>
                </a:path>
              </a:pathLst>
            </a:custGeom>
            <a:pattFill prst="wd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96" name="Freeform 383">
              <a:extLst>
                <a:ext uri="{FF2B5EF4-FFF2-40B4-BE49-F238E27FC236}">
                  <a16:creationId xmlns:a16="http://schemas.microsoft.com/office/drawing/2014/main" id="{CBEF1F1D-E994-4E2D-98F4-A660E7316D24}"/>
                </a:ext>
              </a:extLst>
            </p:cNvPr>
            <p:cNvSpPr>
              <a:spLocks noEditPoints="1"/>
            </p:cNvSpPr>
            <p:nvPr/>
          </p:nvSpPr>
          <p:spPr bwMode="gray">
            <a:xfrm>
              <a:off x="7282015" y="3037695"/>
              <a:ext cx="111842" cy="108885"/>
            </a:xfrm>
            <a:custGeom>
              <a:avLst/>
              <a:gdLst>
                <a:gd name="T0" fmla="*/ 217 w 226"/>
                <a:gd name="T1" fmla="*/ 208 h 220"/>
                <a:gd name="T2" fmla="*/ 193 w 226"/>
                <a:gd name="T3" fmla="*/ 220 h 220"/>
                <a:gd name="T4" fmla="*/ 177 w 226"/>
                <a:gd name="T5" fmla="*/ 187 h 220"/>
                <a:gd name="T6" fmla="*/ 177 w 226"/>
                <a:gd name="T7" fmla="*/ 180 h 220"/>
                <a:gd name="T8" fmla="*/ 172 w 226"/>
                <a:gd name="T9" fmla="*/ 170 h 220"/>
                <a:gd name="T10" fmla="*/ 163 w 226"/>
                <a:gd name="T11" fmla="*/ 152 h 220"/>
                <a:gd name="T12" fmla="*/ 139 w 226"/>
                <a:gd name="T13" fmla="*/ 163 h 220"/>
                <a:gd name="T14" fmla="*/ 118 w 226"/>
                <a:gd name="T15" fmla="*/ 142 h 220"/>
                <a:gd name="T16" fmla="*/ 92 w 226"/>
                <a:gd name="T17" fmla="*/ 147 h 220"/>
                <a:gd name="T18" fmla="*/ 63 w 226"/>
                <a:gd name="T19" fmla="*/ 114 h 220"/>
                <a:gd name="T20" fmla="*/ 33 w 226"/>
                <a:gd name="T21" fmla="*/ 114 h 220"/>
                <a:gd name="T22" fmla="*/ 16 w 226"/>
                <a:gd name="T23" fmla="*/ 107 h 220"/>
                <a:gd name="T24" fmla="*/ 16 w 226"/>
                <a:gd name="T25" fmla="*/ 107 h 220"/>
                <a:gd name="T26" fmla="*/ 9 w 226"/>
                <a:gd name="T27" fmla="*/ 85 h 220"/>
                <a:gd name="T28" fmla="*/ 21 w 226"/>
                <a:gd name="T29" fmla="*/ 52 h 220"/>
                <a:gd name="T30" fmla="*/ 0 w 226"/>
                <a:gd name="T31" fmla="*/ 17 h 220"/>
                <a:gd name="T32" fmla="*/ 101 w 226"/>
                <a:gd name="T33" fmla="*/ 12 h 220"/>
                <a:gd name="T34" fmla="*/ 108 w 226"/>
                <a:gd name="T35" fmla="*/ 0 h 220"/>
                <a:gd name="T36" fmla="*/ 125 w 226"/>
                <a:gd name="T37" fmla="*/ 17 h 220"/>
                <a:gd name="T38" fmla="*/ 118 w 226"/>
                <a:gd name="T39" fmla="*/ 29 h 220"/>
                <a:gd name="T40" fmla="*/ 156 w 226"/>
                <a:gd name="T41" fmla="*/ 41 h 220"/>
                <a:gd name="T42" fmla="*/ 139 w 226"/>
                <a:gd name="T43" fmla="*/ 57 h 220"/>
                <a:gd name="T44" fmla="*/ 146 w 226"/>
                <a:gd name="T45" fmla="*/ 85 h 220"/>
                <a:gd name="T46" fmla="*/ 177 w 226"/>
                <a:gd name="T47" fmla="*/ 97 h 220"/>
                <a:gd name="T48" fmla="*/ 172 w 226"/>
                <a:gd name="T49" fmla="*/ 114 h 220"/>
                <a:gd name="T50" fmla="*/ 156 w 226"/>
                <a:gd name="T51" fmla="*/ 126 h 220"/>
                <a:gd name="T52" fmla="*/ 163 w 226"/>
                <a:gd name="T53" fmla="*/ 126 h 220"/>
                <a:gd name="T54" fmla="*/ 193 w 226"/>
                <a:gd name="T55" fmla="*/ 152 h 220"/>
                <a:gd name="T56" fmla="*/ 217 w 226"/>
                <a:gd name="T57" fmla="*/ 152 h 220"/>
                <a:gd name="T58" fmla="*/ 210 w 226"/>
                <a:gd name="T59" fmla="*/ 170 h 220"/>
                <a:gd name="T60" fmla="*/ 226 w 226"/>
                <a:gd name="T61" fmla="*/ 187 h 220"/>
                <a:gd name="T62" fmla="*/ 210 w 226"/>
                <a:gd name="T63" fmla="*/ 187 h 220"/>
                <a:gd name="T64" fmla="*/ 217 w 226"/>
                <a:gd name="T65" fmla="*/ 208 h 220"/>
                <a:gd name="T66" fmla="*/ 217 w 226"/>
                <a:gd name="T67" fmla="*/ 208 h 220"/>
                <a:gd name="T68" fmla="*/ 217 w 226"/>
                <a:gd name="T69" fmla="*/ 208 h 220"/>
                <a:gd name="T70" fmla="*/ 146 w 226"/>
                <a:gd name="T71" fmla="*/ 69 h 220"/>
                <a:gd name="T72" fmla="*/ 146 w 226"/>
                <a:gd name="T73" fmla="*/ 57 h 220"/>
                <a:gd name="T74" fmla="*/ 146 w 226"/>
                <a:gd name="T75" fmla="*/ 57 h 220"/>
                <a:gd name="T76" fmla="*/ 146 w 226"/>
                <a:gd name="T77" fmla="*/ 69 h 220"/>
                <a:gd name="T78" fmla="*/ 146 w 226"/>
                <a:gd name="T79" fmla="*/ 69 h 220"/>
                <a:gd name="T80" fmla="*/ 146 w 226"/>
                <a:gd name="T81" fmla="*/ 6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6" h="220">
                  <a:moveTo>
                    <a:pt x="217" y="208"/>
                  </a:moveTo>
                  <a:lnTo>
                    <a:pt x="193" y="220"/>
                  </a:lnTo>
                  <a:lnTo>
                    <a:pt x="177" y="187"/>
                  </a:lnTo>
                  <a:lnTo>
                    <a:pt x="177" y="180"/>
                  </a:lnTo>
                  <a:lnTo>
                    <a:pt x="172" y="170"/>
                  </a:lnTo>
                  <a:lnTo>
                    <a:pt x="163" y="152"/>
                  </a:lnTo>
                  <a:lnTo>
                    <a:pt x="139" y="163"/>
                  </a:lnTo>
                  <a:lnTo>
                    <a:pt x="118" y="142"/>
                  </a:lnTo>
                  <a:lnTo>
                    <a:pt x="92" y="147"/>
                  </a:lnTo>
                  <a:lnTo>
                    <a:pt x="63" y="114"/>
                  </a:lnTo>
                  <a:lnTo>
                    <a:pt x="33" y="114"/>
                  </a:lnTo>
                  <a:lnTo>
                    <a:pt x="16" y="107"/>
                  </a:lnTo>
                  <a:lnTo>
                    <a:pt x="16" y="107"/>
                  </a:lnTo>
                  <a:lnTo>
                    <a:pt x="9" y="85"/>
                  </a:lnTo>
                  <a:lnTo>
                    <a:pt x="21" y="52"/>
                  </a:lnTo>
                  <a:lnTo>
                    <a:pt x="0" y="17"/>
                  </a:lnTo>
                  <a:lnTo>
                    <a:pt x="101" y="12"/>
                  </a:lnTo>
                  <a:lnTo>
                    <a:pt x="108" y="0"/>
                  </a:lnTo>
                  <a:lnTo>
                    <a:pt x="125" y="17"/>
                  </a:lnTo>
                  <a:lnTo>
                    <a:pt x="118" y="29"/>
                  </a:lnTo>
                  <a:lnTo>
                    <a:pt x="156" y="41"/>
                  </a:lnTo>
                  <a:lnTo>
                    <a:pt x="139" y="57"/>
                  </a:lnTo>
                  <a:lnTo>
                    <a:pt x="146" y="85"/>
                  </a:lnTo>
                  <a:lnTo>
                    <a:pt x="177" y="97"/>
                  </a:lnTo>
                  <a:lnTo>
                    <a:pt x="172" y="114"/>
                  </a:lnTo>
                  <a:lnTo>
                    <a:pt x="156" y="126"/>
                  </a:lnTo>
                  <a:lnTo>
                    <a:pt x="163" y="126"/>
                  </a:lnTo>
                  <a:lnTo>
                    <a:pt x="193" y="152"/>
                  </a:lnTo>
                  <a:lnTo>
                    <a:pt x="217" y="152"/>
                  </a:lnTo>
                  <a:lnTo>
                    <a:pt x="210" y="170"/>
                  </a:lnTo>
                  <a:lnTo>
                    <a:pt x="226" y="187"/>
                  </a:lnTo>
                  <a:lnTo>
                    <a:pt x="210" y="187"/>
                  </a:lnTo>
                  <a:lnTo>
                    <a:pt x="217" y="208"/>
                  </a:lnTo>
                  <a:lnTo>
                    <a:pt x="217" y="208"/>
                  </a:lnTo>
                  <a:lnTo>
                    <a:pt x="217" y="208"/>
                  </a:lnTo>
                  <a:close/>
                  <a:moveTo>
                    <a:pt x="146" y="69"/>
                  </a:moveTo>
                  <a:lnTo>
                    <a:pt x="146" y="57"/>
                  </a:lnTo>
                  <a:lnTo>
                    <a:pt x="146" y="57"/>
                  </a:lnTo>
                  <a:lnTo>
                    <a:pt x="146" y="69"/>
                  </a:lnTo>
                  <a:lnTo>
                    <a:pt x="146" y="69"/>
                  </a:lnTo>
                  <a:lnTo>
                    <a:pt x="146" y="69"/>
                  </a:lnTo>
                  <a:close/>
                </a:path>
              </a:pathLst>
            </a:custGeom>
            <a:pattFill prst="wd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97" name="Freeform 384">
              <a:extLst>
                <a:ext uri="{FF2B5EF4-FFF2-40B4-BE49-F238E27FC236}">
                  <a16:creationId xmlns:a16="http://schemas.microsoft.com/office/drawing/2014/main" id="{562500F9-B8BE-4891-B7B5-5B3429854E54}"/>
                </a:ext>
              </a:extLst>
            </p:cNvPr>
            <p:cNvSpPr>
              <a:spLocks/>
            </p:cNvSpPr>
            <p:nvPr/>
          </p:nvSpPr>
          <p:spPr bwMode="gray">
            <a:xfrm>
              <a:off x="5823117" y="2982758"/>
              <a:ext cx="14846" cy="8414"/>
            </a:xfrm>
            <a:custGeom>
              <a:avLst/>
              <a:gdLst>
                <a:gd name="T0" fmla="*/ 0 w 30"/>
                <a:gd name="T1" fmla="*/ 0 h 17"/>
                <a:gd name="T2" fmla="*/ 30 w 30"/>
                <a:gd name="T3" fmla="*/ 0 h 17"/>
                <a:gd name="T4" fmla="*/ 30 w 30"/>
                <a:gd name="T5" fmla="*/ 12 h 17"/>
                <a:gd name="T6" fmla="*/ 0 w 30"/>
                <a:gd name="T7" fmla="*/ 17 h 17"/>
                <a:gd name="T8" fmla="*/ 0 w 30"/>
                <a:gd name="T9" fmla="*/ 0 h 17"/>
                <a:gd name="T10" fmla="*/ 0 w 30"/>
                <a:gd name="T11" fmla="*/ 0 h 17"/>
                <a:gd name="T12" fmla="*/ 0 w 30"/>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30" h="17">
                  <a:moveTo>
                    <a:pt x="0" y="0"/>
                  </a:moveTo>
                  <a:lnTo>
                    <a:pt x="30" y="0"/>
                  </a:lnTo>
                  <a:lnTo>
                    <a:pt x="30" y="12"/>
                  </a:lnTo>
                  <a:lnTo>
                    <a:pt x="0" y="17"/>
                  </a:lnTo>
                  <a:lnTo>
                    <a:pt x="0" y="0"/>
                  </a:lnTo>
                  <a:lnTo>
                    <a:pt x="0" y="0"/>
                  </a:lnTo>
                  <a:lnTo>
                    <a:pt x="0" y="0"/>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98" name="Freeform 385">
              <a:extLst>
                <a:ext uri="{FF2B5EF4-FFF2-40B4-BE49-F238E27FC236}">
                  <a16:creationId xmlns:a16="http://schemas.microsoft.com/office/drawing/2014/main" id="{C10DFB22-2000-4D0D-A64C-E19ACE4D059F}"/>
                </a:ext>
              </a:extLst>
            </p:cNvPr>
            <p:cNvSpPr>
              <a:spLocks noEditPoints="1"/>
            </p:cNvSpPr>
            <p:nvPr/>
          </p:nvSpPr>
          <p:spPr bwMode="gray">
            <a:xfrm>
              <a:off x="6184377" y="4762533"/>
              <a:ext cx="429058" cy="488498"/>
            </a:xfrm>
            <a:custGeom>
              <a:avLst/>
              <a:gdLst>
                <a:gd name="T0" fmla="*/ 75 w 867"/>
                <a:gd name="T1" fmla="*/ 23 h 987"/>
                <a:gd name="T2" fmla="*/ 54 w 867"/>
                <a:gd name="T3" fmla="*/ 94 h 987"/>
                <a:gd name="T4" fmla="*/ 21 w 867"/>
                <a:gd name="T5" fmla="*/ 85 h 987"/>
                <a:gd name="T6" fmla="*/ 9 w 867"/>
                <a:gd name="T7" fmla="*/ 40 h 987"/>
                <a:gd name="T8" fmla="*/ 37 w 867"/>
                <a:gd name="T9" fmla="*/ 23 h 987"/>
                <a:gd name="T10" fmla="*/ 59 w 867"/>
                <a:gd name="T11" fmla="*/ 7 h 987"/>
                <a:gd name="T12" fmla="*/ 75 w 867"/>
                <a:gd name="T13" fmla="*/ 0 h 987"/>
                <a:gd name="T14" fmla="*/ 92 w 867"/>
                <a:gd name="T15" fmla="*/ 16 h 987"/>
                <a:gd name="T16" fmla="*/ 817 w 867"/>
                <a:gd name="T17" fmla="*/ 966 h 987"/>
                <a:gd name="T18" fmla="*/ 654 w 867"/>
                <a:gd name="T19" fmla="*/ 982 h 987"/>
                <a:gd name="T20" fmla="*/ 616 w 867"/>
                <a:gd name="T21" fmla="*/ 987 h 987"/>
                <a:gd name="T22" fmla="*/ 498 w 867"/>
                <a:gd name="T23" fmla="*/ 970 h 987"/>
                <a:gd name="T24" fmla="*/ 470 w 867"/>
                <a:gd name="T25" fmla="*/ 942 h 987"/>
                <a:gd name="T26" fmla="*/ 118 w 867"/>
                <a:gd name="T27" fmla="*/ 916 h 987"/>
                <a:gd name="T28" fmla="*/ 54 w 867"/>
                <a:gd name="T29" fmla="*/ 933 h 987"/>
                <a:gd name="T30" fmla="*/ 0 w 867"/>
                <a:gd name="T31" fmla="*/ 933 h 987"/>
                <a:gd name="T32" fmla="*/ 0 w 867"/>
                <a:gd name="T33" fmla="*/ 838 h 987"/>
                <a:gd name="T34" fmla="*/ 9 w 867"/>
                <a:gd name="T35" fmla="*/ 814 h 987"/>
                <a:gd name="T36" fmla="*/ 37 w 867"/>
                <a:gd name="T37" fmla="*/ 748 h 987"/>
                <a:gd name="T38" fmla="*/ 54 w 867"/>
                <a:gd name="T39" fmla="*/ 682 h 987"/>
                <a:gd name="T40" fmla="*/ 80 w 867"/>
                <a:gd name="T41" fmla="*/ 616 h 987"/>
                <a:gd name="T42" fmla="*/ 113 w 867"/>
                <a:gd name="T43" fmla="*/ 583 h 987"/>
                <a:gd name="T44" fmla="*/ 146 w 867"/>
                <a:gd name="T45" fmla="*/ 472 h 987"/>
                <a:gd name="T46" fmla="*/ 134 w 867"/>
                <a:gd name="T47" fmla="*/ 451 h 987"/>
                <a:gd name="T48" fmla="*/ 80 w 867"/>
                <a:gd name="T49" fmla="*/ 333 h 987"/>
                <a:gd name="T50" fmla="*/ 80 w 867"/>
                <a:gd name="T51" fmla="*/ 333 h 987"/>
                <a:gd name="T52" fmla="*/ 113 w 867"/>
                <a:gd name="T53" fmla="*/ 283 h 987"/>
                <a:gd name="T54" fmla="*/ 75 w 867"/>
                <a:gd name="T55" fmla="*/ 184 h 987"/>
                <a:gd name="T56" fmla="*/ 26 w 867"/>
                <a:gd name="T57" fmla="*/ 118 h 987"/>
                <a:gd name="T58" fmla="*/ 96 w 867"/>
                <a:gd name="T59" fmla="*/ 101 h 987"/>
                <a:gd name="T60" fmla="*/ 335 w 867"/>
                <a:gd name="T61" fmla="*/ 111 h 987"/>
                <a:gd name="T62" fmla="*/ 344 w 867"/>
                <a:gd name="T63" fmla="*/ 139 h 987"/>
                <a:gd name="T64" fmla="*/ 361 w 867"/>
                <a:gd name="T65" fmla="*/ 196 h 987"/>
                <a:gd name="T66" fmla="*/ 432 w 867"/>
                <a:gd name="T67" fmla="*/ 262 h 987"/>
                <a:gd name="T68" fmla="*/ 444 w 867"/>
                <a:gd name="T69" fmla="*/ 262 h 987"/>
                <a:gd name="T70" fmla="*/ 470 w 867"/>
                <a:gd name="T71" fmla="*/ 250 h 987"/>
                <a:gd name="T72" fmla="*/ 529 w 867"/>
                <a:gd name="T73" fmla="*/ 229 h 987"/>
                <a:gd name="T74" fmla="*/ 545 w 867"/>
                <a:gd name="T75" fmla="*/ 184 h 987"/>
                <a:gd name="T76" fmla="*/ 600 w 867"/>
                <a:gd name="T77" fmla="*/ 184 h 987"/>
                <a:gd name="T78" fmla="*/ 616 w 867"/>
                <a:gd name="T79" fmla="*/ 205 h 987"/>
                <a:gd name="T80" fmla="*/ 708 w 867"/>
                <a:gd name="T81" fmla="*/ 222 h 987"/>
                <a:gd name="T82" fmla="*/ 708 w 867"/>
                <a:gd name="T83" fmla="*/ 295 h 987"/>
                <a:gd name="T84" fmla="*/ 708 w 867"/>
                <a:gd name="T85" fmla="*/ 377 h 987"/>
                <a:gd name="T86" fmla="*/ 741 w 867"/>
                <a:gd name="T87" fmla="*/ 427 h 987"/>
                <a:gd name="T88" fmla="*/ 730 w 867"/>
                <a:gd name="T89" fmla="*/ 467 h 987"/>
                <a:gd name="T90" fmla="*/ 758 w 867"/>
                <a:gd name="T91" fmla="*/ 472 h 987"/>
                <a:gd name="T92" fmla="*/ 817 w 867"/>
                <a:gd name="T93" fmla="*/ 472 h 987"/>
                <a:gd name="T94" fmla="*/ 855 w 867"/>
                <a:gd name="T95" fmla="*/ 467 h 987"/>
                <a:gd name="T96" fmla="*/ 855 w 867"/>
                <a:gd name="T97" fmla="*/ 522 h 987"/>
                <a:gd name="T98" fmla="*/ 867 w 867"/>
                <a:gd name="T99" fmla="*/ 578 h 987"/>
                <a:gd name="T100" fmla="*/ 855 w 867"/>
                <a:gd name="T101" fmla="*/ 628 h 987"/>
                <a:gd name="T102" fmla="*/ 720 w 867"/>
                <a:gd name="T103" fmla="*/ 855 h 987"/>
                <a:gd name="T104" fmla="*/ 800 w 867"/>
                <a:gd name="T105" fmla="*/ 949 h 987"/>
                <a:gd name="T106" fmla="*/ 817 w 867"/>
                <a:gd name="T107" fmla="*/ 966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7" h="987">
                  <a:moveTo>
                    <a:pt x="92" y="16"/>
                  </a:moveTo>
                  <a:lnTo>
                    <a:pt x="75" y="23"/>
                  </a:lnTo>
                  <a:lnTo>
                    <a:pt x="54" y="40"/>
                  </a:lnTo>
                  <a:lnTo>
                    <a:pt x="54" y="94"/>
                  </a:lnTo>
                  <a:lnTo>
                    <a:pt x="26" y="94"/>
                  </a:lnTo>
                  <a:lnTo>
                    <a:pt x="21" y="85"/>
                  </a:lnTo>
                  <a:lnTo>
                    <a:pt x="26" y="73"/>
                  </a:lnTo>
                  <a:lnTo>
                    <a:pt x="9" y="40"/>
                  </a:lnTo>
                  <a:lnTo>
                    <a:pt x="26" y="23"/>
                  </a:lnTo>
                  <a:lnTo>
                    <a:pt x="37" y="23"/>
                  </a:lnTo>
                  <a:lnTo>
                    <a:pt x="42" y="16"/>
                  </a:lnTo>
                  <a:lnTo>
                    <a:pt x="59" y="7"/>
                  </a:lnTo>
                  <a:lnTo>
                    <a:pt x="63" y="0"/>
                  </a:lnTo>
                  <a:lnTo>
                    <a:pt x="75" y="0"/>
                  </a:lnTo>
                  <a:lnTo>
                    <a:pt x="92" y="16"/>
                  </a:lnTo>
                  <a:lnTo>
                    <a:pt x="92" y="16"/>
                  </a:lnTo>
                  <a:lnTo>
                    <a:pt x="92" y="16"/>
                  </a:lnTo>
                  <a:close/>
                  <a:moveTo>
                    <a:pt x="817" y="966"/>
                  </a:moveTo>
                  <a:lnTo>
                    <a:pt x="670" y="987"/>
                  </a:lnTo>
                  <a:lnTo>
                    <a:pt x="654" y="982"/>
                  </a:lnTo>
                  <a:lnTo>
                    <a:pt x="637" y="987"/>
                  </a:lnTo>
                  <a:lnTo>
                    <a:pt x="616" y="987"/>
                  </a:lnTo>
                  <a:lnTo>
                    <a:pt x="600" y="982"/>
                  </a:lnTo>
                  <a:lnTo>
                    <a:pt x="498" y="970"/>
                  </a:lnTo>
                  <a:lnTo>
                    <a:pt x="474" y="966"/>
                  </a:lnTo>
                  <a:lnTo>
                    <a:pt x="470" y="942"/>
                  </a:lnTo>
                  <a:lnTo>
                    <a:pt x="151" y="949"/>
                  </a:lnTo>
                  <a:lnTo>
                    <a:pt x="118" y="916"/>
                  </a:lnTo>
                  <a:lnTo>
                    <a:pt x="96" y="909"/>
                  </a:lnTo>
                  <a:lnTo>
                    <a:pt x="54" y="933"/>
                  </a:lnTo>
                  <a:lnTo>
                    <a:pt x="21" y="925"/>
                  </a:lnTo>
                  <a:lnTo>
                    <a:pt x="0" y="933"/>
                  </a:lnTo>
                  <a:lnTo>
                    <a:pt x="0" y="876"/>
                  </a:lnTo>
                  <a:lnTo>
                    <a:pt x="0" y="838"/>
                  </a:lnTo>
                  <a:lnTo>
                    <a:pt x="0" y="831"/>
                  </a:lnTo>
                  <a:lnTo>
                    <a:pt x="9" y="814"/>
                  </a:lnTo>
                  <a:lnTo>
                    <a:pt x="21" y="781"/>
                  </a:lnTo>
                  <a:lnTo>
                    <a:pt x="37" y="748"/>
                  </a:lnTo>
                  <a:lnTo>
                    <a:pt x="37" y="703"/>
                  </a:lnTo>
                  <a:lnTo>
                    <a:pt x="54" y="682"/>
                  </a:lnTo>
                  <a:lnTo>
                    <a:pt x="54" y="649"/>
                  </a:lnTo>
                  <a:lnTo>
                    <a:pt x="80" y="616"/>
                  </a:lnTo>
                  <a:lnTo>
                    <a:pt x="80" y="600"/>
                  </a:lnTo>
                  <a:lnTo>
                    <a:pt x="113" y="583"/>
                  </a:lnTo>
                  <a:lnTo>
                    <a:pt x="134" y="526"/>
                  </a:lnTo>
                  <a:lnTo>
                    <a:pt x="146" y="472"/>
                  </a:lnTo>
                  <a:lnTo>
                    <a:pt x="134" y="460"/>
                  </a:lnTo>
                  <a:lnTo>
                    <a:pt x="134" y="451"/>
                  </a:lnTo>
                  <a:lnTo>
                    <a:pt x="118" y="432"/>
                  </a:lnTo>
                  <a:lnTo>
                    <a:pt x="80" y="333"/>
                  </a:lnTo>
                  <a:lnTo>
                    <a:pt x="92" y="316"/>
                  </a:lnTo>
                  <a:lnTo>
                    <a:pt x="80" y="333"/>
                  </a:lnTo>
                  <a:lnTo>
                    <a:pt x="113" y="304"/>
                  </a:lnTo>
                  <a:lnTo>
                    <a:pt x="113" y="283"/>
                  </a:lnTo>
                  <a:lnTo>
                    <a:pt x="75" y="205"/>
                  </a:lnTo>
                  <a:lnTo>
                    <a:pt x="75" y="184"/>
                  </a:lnTo>
                  <a:lnTo>
                    <a:pt x="54" y="155"/>
                  </a:lnTo>
                  <a:lnTo>
                    <a:pt x="26" y="118"/>
                  </a:lnTo>
                  <a:lnTo>
                    <a:pt x="63" y="111"/>
                  </a:lnTo>
                  <a:lnTo>
                    <a:pt x="96" y="101"/>
                  </a:lnTo>
                  <a:lnTo>
                    <a:pt x="297" y="101"/>
                  </a:lnTo>
                  <a:lnTo>
                    <a:pt x="335" y="111"/>
                  </a:lnTo>
                  <a:lnTo>
                    <a:pt x="344" y="127"/>
                  </a:lnTo>
                  <a:lnTo>
                    <a:pt x="344" y="139"/>
                  </a:lnTo>
                  <a:lnTo>
                    <a:pt x="361" y="184"/>
                  </a:lnTo>
                  <a:lnTo>
                    <a:pt x="361" y="196"/>
                  </a:lnTo>
                  <a:lnTo>
                    <a:pt x="406" y="262"/>
                  </a:lnTo>
                  <a:lnTo>
                    <a:pt x="432" y="262"/>
                  </a:lnTo>
                  <a:lnTo>
                    <a:pt x="444" y="262"/>
                  </a:lnTo>
                  <a:lnTo>
                    <a:pt x="444" y="262"/>
                  </a:lnTo>
                  <a:lnTo>
                    <a:pt x="470" y="250"/>
                  </a:lnTo>
                  <a:lnTo>
                    <a:pt x="470" y="250"/>
                  </a:lnTo>
                  <a:lnTo>
                    <a:pt x="529" y="250"/>
                  </a:lnTo>
                  <a:lnTo>
                    <a:pt x="529" y="229"/>
                  </a:lnTo>
                  <a:lnTo>
                    <a:pt x="545" y="222"/>
                  </a:lnTo>
                  <a:lnTo>
                    <a:pt x="545" y="184"/>
                  </a:lnTo>
                  <a:lnTo>
                    <a:pt x="600" y="184"/>
                  </a:lnTo>
                  <a:lnTo>
                    <a:pt x="600" y="184"/>
                  </a:lnTo>
                  <a:lnTo>
                    <a:pt x="621" y="184"/>
                  </a:lnTo>
                  <a:lnTo>
                    <a:pt x="616" y="205"/>
                  </a:lnTo>
                  <a:lnTo>
                    <a:pt x="704" y="205"/>
                  </a:lnTo>
                  <a:lnTo>
                    <a:pt x="708" y="222"/>
                  </a:lnTo>
                  <a:lnTo>
                    <a:pt x="704" y="250"/>
                  </a:lnTo>
                  <a:lnTo>
                    <a:pt x="708" y="295"/>
                  </a:lnTo>
                  <a:lnTo>
                    <a:pt x="704" y="356"/>
                  </a:lnTo>
                  <a:lnTo>
                    <a:pt x="708" y="377"/>
                  </a:lnTo>
                  <a:lnTo>
                    <a:pt x="725" y="394"/>
                  </a:lnTo>
                  <a:lnTo>
                    <a:pt x="741" y="427"/>
                  </a:lnTo>
                  <a:lnTo>
                    <a:pt x="741" y="460"/>
                  </a:lnTo>
                  <a:lnTo>
                    <a:pt x="730" y="467"/>
                  </a:lnTo>
                  <a:lnTo>
                    <a:pt x="730" y="488"/>
                  </a:lnTo>
                  <a:lnTo>
                    <a:pt x="758" y="472"/>
                  </a:lnTo>
                  <a:lnTo>
                    <a:pt x="796" y="484"/>
                  </a:lnTo>
                  <a:lnTo>
                    <a:pt x="817" y="472"/>
                  </a:lnTo>
                  <a:lnTo>
                    <a:pt x="850" y="472"/>
                  </a:lnTo>
                  <a:lnTo>
                    <a:pt x="855" y="467"/>
                  </a:lnTo>
                  <a:lnTo>
                    <a:pt x="867" y="505"/>
                  </a:lnTo>
                  <a:lnTo>
                    <a:pt x="855" y="522"/>
                  </a:lnTo>
                  <a:lnTo>
                    <a:pt x="855" y="559"/>
                  </a:lnTo>
                  <a:lnTo>
                    <a:pt x="867" y="578"/>
                  </a:lnTo>
                  <a:lnTo>
                    <a:pt x="850" y="600"/>
                  </a:lnTo>
                  <a:lnTo>
                    <a:pt x="855" y="628"/>
                  </a:lnTo>
                  <a:lnTo>
                    <a:pt x="720" y="616"/>
                  </a:lnTo>
                  <a:lnTo>
                    <a:pt x="720" y="855"/>
                  </a:lnTo>
                  <a:lnTo>
                    <a:pt x="725" y="876"/>
                  </a:lnTo>
                  <a:lnTo>
                    <a:pt x="800" y="949"/>
                  </a:lnTo>
                  <a:lnTo>
                    <a:pt x="817" y="966"/>
                  </a:lnTo>
                  <a:lnTo>
                    <a:pt x="817" y="966"/>
                  </a:lnTo>
                  <a:lnTo>
                    <a:pt x="817" y="966"/>
                  </a:lnTo>
                  <a:close/>
                </a:path>
              </a:pathLst>
            </a:custGeom>
            <a:pattFill prst="lt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00" name="Freeform 387">
              <a:extLst>
                <a:ext uri="{FF2B5EF4-FFF2-40B4-BE49-F238E27FC236}">
                  <a16:creationId xmlns:a16="http://schemas.microsoft.com/office/drawing/2014/main" id="{9D36559E-2FC8-4856-A9AD-28460EA0A42E}"/>
                </a:ext>
              </a:extLst>
            </p:cNvPr>
            <p:cNvSpPr>
              <a:spLocks noEditPoints="1"/>
            </p:cNvSpPr>
            <p:nvPr/>
          </p:nvSpPr>
          <p:spPr bwMode="gray">
            <a:xfrm>
              <a:off x="3220560" y="5393572"/>
              <a:ext cx="688869" cy="1399668"/>
            </a:xfrm>
            <a:custGeom>
              <a:avLst/>
              <a:gdLst>
                <a:gd name="T0" fmla="*/ 508 w 1392"/>
                <a:gd name="T1" fmla="*/ 21 h 2828"/>
                <a:gd name="T2" fmla="*/ 652 w 1392"/>
                <a:gd name="T3" fmla="*/ 54 h 2828"/>
                <a:gd name="T4" fmla="*/ 870 w 1392"/>
                <a:gd name="T5" fmla="*/ 132 h 2828"/>
                <a:gd name="T6" fmla="*/ 1118 w 1392"/>
                <a:gd name="T7" fmla="*/ 267 h 2828"/>
                <a:gd name="T8" fmla="*/ 1080 w 1392"/>
                <a:gd name="T9" fmla="*/ 333 h 2828"/>
                <a:gd name="T10" fmla="*/ 1170 w 1392"/>
                <a:gd name="T11" fmla="*/ 428 h 2828"/>
                <a:gd name="T12" fmla="*/ 1245 w 1392"/>
                <a:gd name="T13" fmla="*/ 428 h 2828"/>
                <a:gd name="T14" fmla="*/ 1333 w 1392"/>
                <a:gd name="T15" fmla="*/ 284 h 2828"/>
                <a:gd name="T16" fmla="*/ 1392 w 1392"/>
                <a:gd name="T17" fmla="*/ 350 h 2828"/>
                <a:gd name="T18" fmla="*/ 1278 w 1392"/>
                <a:gd name="T19" fmla="*/ 465 h 2828"/>
                <a:gd name="T20" fmla="*/ 1208 w 1392"/>
                <a:gd name="T21" fmla="*/ 539 h 2828"/>
                <a:gd name="T22" fmla="*/ 1118 w 1392"/>
                <a:gd name="T23" fmla="*/ 650 h 2828"/>
                <a:gd name="T24" fmla="*/ 1094 w 1392"/>
                <a:gd name="T25" fmla="*/ 754 h 2828"/>
                <a:gd name="T26" fmla="*/ 1063 w 1392"/>
                <a:gd name="T27" fmla="*/ 876 h 2828"/>
                <a:gd name="T28" fmla="*/ 1059 w 1392"/>
                <a:gd name="T29" fmla="*/ 997 h 2828"/>
                <a:gd name="T30" fmla="*/ 1156 w 1392"/>
                <a:gd name="T31" fmla="*/ 1141 h 2828"/>
                <a:gd name="T32" fmla="*/ 1068 w 1392"/>
                <a:gd name="T33" fmla="*/ 1321 h 2828"/>
                <a:gd name="T34" fmla="*/ 787 w 1392"/>
                <a:gd name="T35" fmla="*/ 1387 h 2828"/>
                <a:gd name="T36" fmla="*/ 787 w 1392"/>
                <a:gd name="T37" fmla="*/ 1465 h 2828"/>
                <a:gd name="T38" fmla="*/ 740 w 1392"/>
                <a:gd name="T39" fmla="*/ 1547 h 2828"/>
                <a:gd name="T40" fmla="*/ 593 w 1392"/>
                <a:gd name="T41" fmla="*/ 1547 h 2828"/>
                <a:gd name="T42" fmla="*/ 638 w 1392"/>
                <a:gd name="T43" fmla="*/ 1658 h 2828"/>
                <a:gd name="T44" fmla="*/ 702 w 1392"/>
                <a:gd name="T45" fmla="*/ 1668 h 2828"/>
                <a:gd name="T46" fmla="*/ 600 w 1392"/>
                <a:gd name="T47" fmla="*/ 1680 h 2828"/>
                <a:gd name="T48" fmla="*/ 584 w 1392"/>
                <a:gd name="T49" fmla="*/ 1791 h 2828"/>
                <a:gd name="T50" fmla="*/ 563 w 1392"/>
                <a:gd name="T51" fmla="*/ 1869 h 2828"/>
                <a:gd name="T52" fmla="*/ 421 w 1392"/>
                <a:gd name="T53" fmla="*/ 2013 h 2828"/>
                <a:gd name="T54" fmla="*/ 518 w 1392"/>
                <a:gd name="T55" fmla="*/ 2140 h 2828"/>
                <a:gd name="T56" fmla="*/ 421 w 1392"/>
                <a:gd name="T57" fmla="*/ 2251 h 2828"/>
                <a:gd name="T58" fmla="*/ 369 w 1392"/>
                <a:gd name="T59" fmla="*/ 2350 h 2828"/>
                <a:gd name="T60" fmla="*/ 315 w 1392"/>
                <a:gd name="T61" fmla="*/ 2391 h 2828"/>
                <a:gd name="T62" fmla="*/ 324 w 1392"/>
                <a:gd name="T63" fmla="*/ 2495 h 2828"/>
                <a:gd name="T64" fmla="*/ 93 w 1392"/>
                <a:gd name="T65" fmla="*/ 2502 h 2828"/>
                <a:gd name="T66" fmla="*/ 60 w 1392"/>
                <a:gd name="T67" fmla="*/ 2400 h 2828"/>
                <a:gd name="T68" fmla="*/ 8 w 1392"/>
                <a:gd name="T69" fmla="*/ 2322 h 2828"/>
                <a:gd name="T70" fmla="*/ 38 w 1392"/>
                <a:gd name="T71" fmla="*/ 2239 h 2828"/>
                <a:gd name="T72" fmla="*/ 83 w 1392"/>
                <a:gd name="T73" fmla="*/ 2112 h 2828"/>
                <a:gd name="T74" fmla="*/ 130 w 1392"/>
                <a:gd name="T75" fmla="*/ 1996 h 2828"/>
                <a:gd name="T76" fmla="*/ 147 w 1392"/>
                <a:gd name="T77" fmla="*/ 1923 h 2828"/>
                <a:gd name="T78" fmla="*/ 180 w 1392"/>
                <a:gd name="T79" fmla="*/ 1835 h 2828"/>
                <a:gd name="T80" fmla="*/ 130 w 1392"/>
                <a:gd name="T81" fmla="*/ 1769 h 2828"/>
                <a:gd name="T82" fmla="*/ 97 w 1392"/>
                <a:gd name="T83" fmla="*/ 1713 h 2828"/>
                <a:gd name="T84" fmla="*/ 130 w 1392"/>
                <a:gd name="T85" fmla="*/ 1625 h 2828"/>
                <a:gd name="T86" fmla="*/ 130 w 1392"/>
                <a:gd name="T87" fmla="*/ 1474 h 2828"/>
                <a:gd name="T88" fmla="*/ 152 w 1392"/>
                <a:gd name="T89" fmla="*/ 1354 h 2828"/>
                <a:gd name="T90" fmla="*/ 180 w 1392"/>
                <a:gd name="T91" fmla="*/ 1235 h 2828"/>
                <a:gd name="T92" fmla="*/ 201 w 1392"/>
                <a:gd name="T93" fmla="*/ 1132 h 2828"/>
                <a:gd name="T94" fmla="*/ 244 w 1392"/>
                <a:gd name="T95" fmla="*/ 976 h 2828"/>
                <a:gd name="T96" fmla="*/ 244 w 1392"/>
                <a:gd name="T97" fmla="*/ 888 h 2828"/>
                <a:gd name="T98" fmla="*/ 239 w 1392"/>
                <a:gd name="T99" fmla="*/ 782 h 2828"/>
                <a:gd name="T100" fmla="*/ 239 w 1392"/>
                <a:gd name="T101" fmla="*/ 666 h 2828"/>
                <a:gd name="T102" fmla="*/ 308 w 1392"/>
                <a:gd name="T103" fmla="*/ 477 h 2828"/>
                <a:gd name="T104" fmla="*/ 362 w 1392"/>
                <a:gd name="T105" fmla="*/ 333 h 2828"/>
                <a:gd name="T106" fmla="*/ 438 w 1392"/>
                <a:gd name="T107" fmla="*/ 165 h 2828"/>
                <a:gd name="T108" fmla="*/ 799 w 1392"/>
                <a:gd name="T109" fmla="*/ 1370 h 2828"/>
                <a:gd name="T110" fmla="*/ 345 w 1392"/>
                <a:gd name="T111" fmla="*/ 2589 h 2828"/>
                <a:gd name="T112" fmla="*/ 378 w 1392"/>
                <a:gd name="T113" fmla="*/ 2655 h 2828"/>
                <a:gd name="T114" fmla="*/ 593 w 1392"/>
                <a:gd name="T115" fmla="*/ 2790 h 2828"/>
                <a:gd name="T116" fmla="*/ 345 w 1392"/>
                <a:gd name="T117" fmla="*/ 2806 h 2828"/>
                <a:gd name="T118" fmla="*/ 686 w 1392"/>
                <a:gd name="T119" fmla="*/ 2794 h 2828"/>
                <a:gd name="T120" fmla="*/ 345 w 1392"/>
                <a:gd name="T121" fmla="*/ 2811 h 2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92" h="2828">
                  <a:moveTo>
                    <a:pt x="449" y="78"/>
                  </a:moveTo>
                  <a:lnTo>
                    <a:pt x="466" y="61"/>
                  </a:lnTo>
                  <a:lnTo>
                    <a:pt x="466" y="54"/>
                  </a:lnTo>
                  <a:lnTo>
                    <a:pt x="475" y="45"/>
                  </a:lnTo>
                  <a:lnTo>
                    <a:pt x="475" y="33"/>
                  </a:lnTo>
                  <a:lnTo>
                    <a:pt x="508" y="21"/>
                  </a:lnTo>
                  <a:lnTo>
                    <a:pt x="518" y="0"/>
                  </a:lnTo>
                  <a:lnTo>
                    <a:pt x="546" y="21"/>
                  </a:lnTo>
                  <a:lnTo>
                    <a:pt x="600" y="21"/>
                  </a:lnTo>
                  <a:lnTo>
                    <a:pt x="631" y="33"/>
                  </a:lnTo>
                  <a:lnTo>
                    <a:pt x="648" y="78"/>
                  </a:lnTo>
                  <a:lnTo>
                    <a:pt x="652" y="54"/>
                  </a:lnTo>
                  <a:lnTo>
                    <a:pt x="681" y="17"/>
                  </a:lnTo>
                  <a:lnTo>
                    <a:pt x="756" y="17"/>
                  </a:lnTo>
                  <a:lnTo>
                    <a:pt x="761" y="33"/>
                  </a:lnTo>
                  <a:lnTo>
                    <a:pt x="794" y="54"/>
                  </a:lnTo>
                  <a:lnTo>
                    <a:pt x="811" y="95"/>
                  </a:lnTo>
                  <a:lnTo>
                    <a:pt x="870" y="132"/>
                  </a:lnTo>
                  <a:lnTo>
                    <a:pt x="879" y="149"/>
                  </a:lnTo>
                  <a:lnTo>
                    <a:pt x="934" y="165"/>
                  </a:lnTo>
                  <a:lnTo>
                    <a:pt x="950" y="165"/>
                  </a:lnTo>
                  <a:lnTo>
                    <a:pt x="1030" y="227"/>
                  </a:lnTo>
                  <a:lnTo>
                    <a:pt x="1101" y="255"/>
                  </a:lnTo>
                  <a:lnTo>
                    <a:pt x="1118" y="267"/>
                  </a:lnTo>
                  <a:lnTo>
                    <a:pt x="1123" y="276"/>
                  </a:lnTo>
                  <a:lnTo>
                    <a:pt x="1123" y="284"/>
                  </a:lnTo>
                  <a:lnTo>
                    <a:pt x="1101" y="300"/>
                  </a:lnTo>
                  <a:lnTo>
                    <a:pt x="1101" y="317"/>
                  </a:lnTo>
                  <a:lnTo>
                    <a:pt x="1101" y="317"/>
                  </a:lnTo>
                  <a:lnTo>
                    <a:pt x="1080" y="333"/>
                  </a:lnTo>
                  <a:lnTo>
                    <a:pt x="1080" y="371"/>
                  </a:lnTo>
                  <a:lnTo>
                    <a:pt x="1047" y="411"/>
                  </a:lnTo>
                  <a:lnTo>
                    <a:pt x="1047" y="421"/>
                  </a:lnTo>
                  <a:lnTo>
                    <a:pt x="1111" y="421"/>
                  </a:lnTo>
                  <a:lnTo>
                    <a:pt x="1156" y="432"/>
                  </a:lnTo>
                  <a:lnTo>
                    <a:pt x="1170" y="428"/>
                  </a:lnTo>
                  <a:lnTo>
                    <a:pt x="1177" y="432"/>
                  </a:lnTo>
                  <a:lnTo>
                    <a:pt x="1193" y="432"/>
                  </a:lnTo>
                  <a:lnTo>
                    <a:pt x="1203" y="444"/>
                  </a:lnTo>
                  <a:lnTo>
                    <a:pt x="1224" y="421"/>
                  </a:lnTo>
                  <a:lnTo>
                    <a:pt x="1241" y="421"/>
                  </a:lnTo>
                  <a:lnTo>
                    <a:pt x="1245" y="428"/>
                  </a:lnTo>
                  <a:lnTo>
                    <a:pt x="1262" y="421"/>
                  </a:lnTo>
                  <a:lnTo>
                    <a:pt x="1262" y="404"/>
                  </a:lnTo>
                  <a:lnTo>
                    <a:pt x="1274" y="395"/>
                  </a:lnTo>
                  <a:lnTo>
                    <a:pt x="1300" y="378"/>
                  </a:lnTo>
                  <a:lnTo>
                    <a:pt x="1328" y="354"/>
                  </a:lnTo>
                  <a:lnTo>
                    <a:pt x="1333" y="284"/>
                  </a:lnTo>
                  <a:lnTo>
                    <a:pt x="1337" y="293"/>
                  </a:lnTo>
                  <a:lnTo>
                    <a:pt x="1366" y="276"/>
                  </a:lnTo>
                  <a:lnTo>
                    <a:pt x="1380" y="293"/>
                  </a:lnTo>
                  <a:lnTo>
                    <a:pt x="1387" y="317"/>
                  </a:lnTo>
                  <a:lnTo>
                    <a:pt x="1392" y="338"/>
                  </a:lnTo>
                  <a:lnTo>
                    <a:pt x="1392" y="350"/>
                  </a:lnTo>
                  <a:lnTo>
                    <a:pt x="1392" y="387"/>
                  </a:lnTo>
                  <a:lnTo>
                    <a:pt x="1387" y="404"/>
                  </a:lnTo>
                  <a:lnTo>
                    <a:pt x="1349" y="428"/>
                  </a:lnTo>
                  <a:lnTo>
                    <a:pt x="1316" y="432"/>
                  </a:lnTo>
                  <a:lnTo>
                    <a:pt x="1300" y="461"/>
                  </a:lnTo>
                  <a:lnTo>
                    <a:pt x="1278" y="465"/>
                  </a:lnTo>
                  <a:lnTo>
                    <a:pt x="1274" y="482"/>
                  </a:lnTo>
                  <a:lnTo>
                    <a:pt x="1245" y="489"/>
                  </a:lnTo>
                  <a:lnTo>
                    <a:pt x="1257" y="498"/>
                  </a:lnTo>
                  <a:lnTo>
                    <a:pt x="1257" y="506"/>
                  </a:lnTo>
                  <a:lnTo>
                    <a:pt x="1241" y="506"/>
                  </a:lnTo>
                  <a:lnTo>
                    <a:pt x="1208" y="539"/>
                  </a:lnTo>
                  <a:lnTo>
                    <a:pt x="1203" y="560"/>
                  </a:lnTo>
                  <a:lnTo>
                    <a:pt x="1186" y="560"/>
                  </a:lnTo>
                  <a:lnTo>
                    <a:pt x="1156" y="610"/>
                  </a:lnTo>
                  <a:lnTo>
                    <a:pt x="1139" y="614"/>
                  </a:lnTo>
                  <a:lnTo>
                    <a:pt x="1139" y="633"/>
                  </a:lnTo>
                  <a:lnTo>
                    <a:pt x="1118" y="650"/>
                  </a:lnTo>
                  <a:lnTo>
                    <a:pt x="1118" y="654"/>
                  </a:lnTo>
                  <a:lnTo>
                    <a:pt x="1101" y="671"/>
                  </a:lnTo>
                  <a:lnTo>
                    <a:pt x="1111" y="699"/>
                  </a:lnTo>
                  <a:lnTo>
                    <a:pt x="1094" y="725"/>
                  </a:lnTo>
                  <a:lnTo>
                    <a:pt x="1085" y="742"/>
                  </a:lnTo>
                  <a:lnTo>
                    <a:pt x="1094" y="754"/>
                  </a:lnTo>
                  <a:lnTo>
                    <a:pt x="1085" y="765"/>
                  </a:lnTo>
                  <a:lnTo>
                    <a:pt x="1080" y="782"/>
                  </a:lnTo>
                  <a:lnTo>
                    <a:pt x="1085" y="815"/>
                  </a:lnTo>
                  <a:lnTo>
                    <a:pt x="1080" y="820"/>
                  </a:lnTo>
                  <a:lnTo>
                    <a:pt x="1080" y="869"/>
                  </a:lnTo>
                  <a:lnTo>
                    <a:pt x="1063" y="876"/>
                  </a:lnTo>
                  <a:lnTo>
                    <a:pt x="1059" y="910"/>
                  </a:lnTo>
                  <a:lnTo>
                    <a:pt x="1059" y="926"/>
                  </a:lnTo>
                  <a:lnTo>
                    <a:pt x="1063" y="959"/>
                  </a:lnTo>
                  <a:lnTo>
                    <a:pt x="1063" y="964"/>
                  </a:lnTo>
                  <a:lnTo>
                    <a:pt x="1059" y="976"/>
                  </a:lnTo>
                  <a:lnTo>
                    <a:pt x="1059" y="997"/>
                  </a:lnTo>
                  <a:lnTo>
                    <a:pt x="1123" y="1037"/>
                  </a:lnTo>
                  <a:lnTo>
                    <a:pt x="1149" y="1058"/>
                  </a:lnTo>
                  <a:lnTo>
                    <a:pt x="1156" y="1070"/>
                  </a:lnTo>
                  <a:lnTo>
                    <a:pt x="1132" y="1091"/>
                  </a:lnTo>
                  <a:lnTo>
                    <a:pt x="1132" y="1108"/>
                  </a:lnTo>
                  <a:lnTo>
                    <a:pt x="1156" y="1141"/>
                  </a:lnTo>
                  <a:lnTo>
                    <a:pt x="1165" y="1141"/>
                  </a:lnTo>
                  <a:lnTo>
                    <a:pt x="1177" y="1141"/>
                  </a:lnTo>
                  <a:lnTo>
                    <a:pt x="1186" y="1186"/>
                  </a:lnTo>
                  <a:lnTo>
                    <a:pt x="1123" y="1264"/>
                  </a:lnTo>
                  <a:lnTo>
                    <a:pt x="1123" y="1292"/>
                  </a:lnTo>
                  <a:lnTo>
                    <a:pt x="1068" y="1321"/>
                  </a:lnTo>
                  <a:lnTo>
                    <a:pt x="960" y="1347"/>
                  </a:lnTo>
                  <a:lnTo>
                    <a:pt x="879" y="1363"/>
                  </a:lnTo>
                  <a:lnTo>
                    <a:pt x="825" y="1363"/>
                  </a:lnTo>
                  <a:lnTo>
                    <a:pt x="787" y="1347"/>
                  </a:lnTo>
                  <a:lnTo>
                    <a:pt x="794" y="1363"/>
                  </a:lnTo>
                  <a:lnTo>
                    <a:pt x="787" y="1387"/>
                  </a:lnTo>
                  <a:lnTo>
                    <a:pt x="811" y="1391"/>
                  </a:lnTo>
                  <a:lnTo>
                    <a:pt x="794" y="1391"/>
                  </a:lnTo>
                  <a:lnTo>
                    <a:pt x="811" y="1408"/>
                  </a:lnTo>
                  <a:lnTo>
                    <a:pt x="799" y="1432"/>
                  </a:lnTo>
                  <a:lnTo>
                    <a:pt x="794" y="1432"/>
                  </a:lnTo>
                  <a:lnTo>
                    <a:pt x="787" y="1465"/>
                  </a:lnTo>
                  <a:lnTo>
                    <a:pt x="778" y="1474"/>
                  </a:lnTo>
                  <a:lnTo>
                    <a:pt x="794" y="1498"/>
                  </a:lnTo>
                  <a:lnTo>
                    <a:pt x="787" y="1502"/>
                  </a:lnTo>
                  <a:lnTo>
                    <a:pt x="799" y="1502"/>
                  </a:lnTo>
                  <a:lnTo>
                    <a:pt x="787" y="1531"/>
                  </a:lnTo>
                  <a:lnTo>
                    <a:pt x="740" y="1547"/>
                  </a:lnTo>
                  <a:lnTo>
                    <a:pt x="686" y="1547"/>
                  </a:lnTo>
                  <a:lnTo>
                    <a:pt x="626" y="1519"/>
                  </a:lnTo>
                  <a:lnTo>
                    <a:pt x="615" y="1514"/>
                  </a:lnTo>
                  <a:lnTo>
                    <a:pt x="600" y="1514"/>
                  </a:lnTo>
                  <a:lnTo>
                    <a:pt x="593" y="1519"/>
                  </a:lnTo>
                  <a:lnTo>
                    <a:pt x="593" y="1547"/>
                  </a:lnTo>
                  <a:lnTo>
                    <a:pt x="600" y="1576"/>
                  </a:lnTo>
                  <a:lnTo>
                    <a:pt x="593" y="1613"/>
                  </a:lnTo>
                  <a:lnTo>
                    <a:pt x="600" y="1625"/>
                  </a:lnTo>
                  <a:lnTo>
                    <a:pt x="638" y="1642"/>
                  </a:lnTo>
                  <a:lnTo>
                    <a:pt x="631" y="1658"/>
                  </a:lnTo>
                  <a:lnTo>
                    <a:pt x="638" y="1658"/>
                  </a:lnTo>
                  <a:lnTo>
                    <a:pt x="664" y="1658"/>
                  </a:lnTo>
                  <a:lnTo>
                    <a:pt x="669" y="1642"/>
                  </a:lnTo>
                  <a:lnTo>
                    <a:pt x="648" y="1642"/>
                  </a:lnTo>
                  <a:lnTo>
                    <a:pt x="686" y="1625"/>
                  </a:lnTo>
                  <a:lnTo>
                    <a:pt x="702" y="1646"/>
                  </a:lnTo>
                  <a:lnTo>
                    <a:pt x="702" y="1668"/>
                  </a:lnTo>
                  <a:lnTo>
                    <a:pt x="690" y="1687"/>
                  </a:lnTo>
                  <a:lnTo>
                    <a:pt x="664" y="1696"/>
                  </a:lnTo>
                  <a:lnTo>
                    <a:pt x="652" y="1687"/>
                  </a:lnTo>
                  <a:lnTo>
                    <a:pt x="652" y="1668"/>
                  </a:lnTo>
                  <a:lnTo>
                    <a:pt x="648" y="1663"/>
                  </a:lnTo>
                  <a:lnTo>
                    <a:pt x="600" y="1680"/>
                  </a:lnTo>
                  <a:lnTo>
                    <a:pt x="600" y="1687"/>
                  </a:lnTo>
                  <a:lnTo>
                    <a:pt x="652" y="1703"/>
                  </a:lnTo>
                  <a:lnTo>
                    <a:pt x="610" y="1724"/>
                  </a:lnTo>
                  <a:lnTo>
                    <a:pt x="577" y="1769"/>
                  </a:lnTo>
                  <a:lnTo>
                    <a:pt x="577" y="1774"/>
                  </a:lnTo>
                  <a:lnTo>
                    <a:pt x="584" y="1791"/>
                  </a:lnTo>
                  <a:lnTo>
                    <a:pt x="577" y="1814"/>
                  </a:lnTo>
                  <a:lnTo>
                    <a:pt x="584" y="1824"/>
                  </a:lnTo>
                  <a:lnTo>
                    <a:pt x="577" y="1835"/>
                  </a:lnTo>
                  <a:lnTo>
                    <a:pt x="556" y="1852"/>
                  </a:lnTo>
                  <a:lnTo>
                    <a:pt x="556" y="1869"/>
                  </a:lnTo>
                  <a:lnTo>
                    <a:pt x="563" y="1869"/>
                  </a:lnTo>
                  <a:lnTo>
                    <a:pt x="563" y="1885"/>
                  </a:lnTo>
                  <a:lnTo>
                    <a:pt x="518" y="1880"/>
                  </a:lnTo>
                  <a:lnTo>
                    <a:pt x="466" y="1902"/>
                  </a:lnTo>
                  <a:lnTo>
                    <a:pt x="421" y="1975"/>
                  </a:lnTo>
                  <a:lnTo>
                    <a:pt x="416" y="1991"/>
                  </a:lnTo>
                  <a:lnTo>
                    <a:pt x="421" y="2013"/>
                  </a:lnTo>
                  <a:lnTo>
                    <a:pt x="475" y="2058"/>
                  </a:lnTo>
                  <a:lnTo>
                    <a:pt x="530" y="2069"/>
                  </a:lnTo>
                  <a:lnTo>
                    <a:pt x="546" y="2074"/>
                  </a:lnTo>
                  <a:lnTo>
                    <a:pt x="546" y="2107"/>
                  </a:lnTo>
                  <a:lnTo>
                    <a:pt x="541" y="2128"/>
                  </a:lnTo>
                  <a:lnTo>
                    <a:pt x="518" y="2140"/>
                  </a:lnTo>
                  <a:lnTo>
                    <a:pt x="530" y="2128"/>
                  </a:lnTo>
                  <a:lnTo>
                    <a:pt x="546" y="2145"/>
                  </a:lnTo>
                  <a:lnTo>
                    <a:pt x="530" y="2145"/>
                  </a:lnTo>
                  <a:lnTo>
                    <a:pt x="530" y="2161"/>
                  </a:lnTo>
                  <a:lnTo>
                    <a:pt x="454" y="2213"/>
                  </a:lnTo>
                  <a:lnTo>
                    <a:pt x="421" y="2251"/>
                  </a:lnTo>
                  <a:lnTo>
                    <a:pt x="416" y="2268"/>
                  </a:lnTo>
                  <a:lnTo>
                    <a:pt x="400" y="2280"/>
                  </a:lnTo>
                  <a:lnTo>
                    <a:pt x="416" y="2272"/>
                  </a:lnTo>
                  <a:lnTo>
                    <a:pt x="412" y="2329"/>
                  </a:lnTo>
                  <a:lnTo>
                    <a:pt x="400" y="2334"/>
                  </a:lnTo>
                  <a:lnTo>
                    <a:pt x="369" y="2350"/>
                  </a:lnTo>
                  <a:lnTo>
                    <a:pt x="345" y="2329"/>
                  </a:lnTo>
                  <a:lnTo>
                    <a:pt x="324" y="2334"/>
                  </a:lnTo>
                  <a:lnTo>
                    <a:pt x="345" y="2334"/>
                  </a:lnTo>
                  <a:lnTo>
                    <a:pt x="362" y="2350"/>
                  </a:lnTo>
                  <a:lnTo>
                    <a:pt x="324" y="2379"/>
                  </a:lnTo>
                  <a:lnTo>
                    <a:pt x="315" y="2391"/>
                  </a:lnTo>
                  <a:lnTo>
                    <a:pt x="308" y="2424"/>
                  </a:lnTo>
                  <a:lnTo>
                    <a:pt x="293" y="2440"/>
                  </a:lnTo>
                  <a:lnTo>
                    <a:pt x="308" y="2433"/>
                  </a:lnTo>
                  <a:lnTo>
                    <a:pt x="324" y="2490"/>
                  </a:lnTo>
                  <a:lnTo>
                    <a:pt x="277" y="2495"/>
                  </a:lnTo>
                  <a:lnTo>
                    <a:pt x="324" y="2495"/>
                  </a:lnTo>
                  <a:lnTo>
                    <a:pt x="362" y="2556"/>
                  </a:lnTo>
                  <a:lnTo>
                    <a:pt x="362" y="2568"/>
                  </a:lnTo>
                  <a:lnTo>
                    <a:pt x="256" y="2528"/>
                  </a:lnTo>
                  <a:lnTo>
                    <a:pt x="114" y="2528"/>
                  </a:lnTo>
                  <a:lnTo>
                    <a:pt x="114" y="2518"/>
                  </a:lnTo>
                  <a:lnTo>
                    <a:pt x="93" y="2502"/>
                  </a:lnTo>
                  <a:lnTo>
                    <a:pt x="83" y="2478"/>
                  </a:lnTo>
                  <a:lnTo>
                    <a:pt x="93" y="2457"/>
                  </a:lnTo>
                  <a:lnTo>
                    <a:pt x="83" y="2445"/>
                  </a:lnTo>
                  <a:lnTo>
                    <a:pt x="93" y="2433"/>
                  </a:lnTo>
                  <a:lnTo>
                    <a:pt x="93" y="2400"/>
                  </a:lnTo>
                  <a:lnTo>
                    <a:pt x="60" y="2400"/>
                  </a:lnTo>
                  <a:lnTo>
                    <a:pt x="29" y="2407"/>
                  </a:lnTo>
                  <a:lnTo>
                    <a:pt x="22" y="2367"/>
                  </a:lnTo>
                  <a:lnTo>
                    <a:pt x="8" y="2350"/>
                  </a:lnTo>
                  <a:lnTo>
                    <a:pt x="8" y="2334"/>
                  </a:lnTo>
                  <a:lnTo>
                    <a:pt x="0" y="2329"/>
                  </a:lnTo>
                  <a:lnTo>
                    <a:pt x="8" y="2322"/>
                  </a:lnTo>
                  <a:lnTo>
                    <a:pt x="0" y="2296"/>
                  </a:lnTo>
                  <a:lnTo>
                    <a:pt x="8" y="2272"/>
                  </a:lnTo>
                  <a:lnTo>
                    <a:pt x="29" y="2272"/>
                  </a:lnTo>
                  <a:lnTo>
                    <a:pt x="38" y="2272"/>
                  </a:lnTo>
                  <a:lnTo>
                    <a:pt x="29" y="2268"/>
                  </a:lnTo>
                  <a:lnTo>
                    <a:pt x="38" y="2239"/>
                  </a:lnTo>
                  <a:lnTo>
                    <a:pt x="71" y="2223"/>
                  </a:lnTo>
                  <a:lnTo>
                    <a:pt x="71" y="2197"/>
                  </a:lnTo>
                  <a:lnTo>
                    <a:pt x="93" y="2185"/>
                  </a:lnTo>
                  <a:lnTo>
                    <a:pt x="83" y="2161"/>
                  </a:lnTo>
                  <a:lnTo>
                    <a:pt x="76" y="2145"/>
                  </a:lnTo>
                  <a:lnTo>
                    <a:pt x="83" y="2112"/>
                  </a:lnTo>
                  <a:lnTo>
                    <a:pt x="83" y="2107"/>
                  </a:lnTo>
                  <a:lnTo>
                    <a:pt x="126" y="2086"/>
                  </a:lnTo>
                  <a:lnTo>
                    <a:pt x="114" y="2069"/>
                  </a:lnTo>
                  <a:lnTo>
                    <a:pt x="114" y="2046"/>
                  </a:lnTo>
                  <a:lnTo>
                    <a:pt x="130" y="2034"/>
                  </a:lnTo>
                  <a:lnTo>
                    <a:pt x="130" y="1996"/>
                  </a:lnTo>
                  <a:lnTo>
                    <a:pt x="114" y="1991"/>
                  </a:lnTo>
                  <a:lnTo>
                    <a:pt x="135" y="1975"/>
                  </a:lnTo>
                  <a:lnTo>
                    <a:pt x="130" y="1958"/>
                  </a:lnTo>
                  <a:lnTo>
                    <a:pt x="126" y="1942"/>
                  </a:lnTo>
                  <a:lnTo>
                    <a:pt x="130" y="1935"/>
                  </a:lnTo>
                  <a:lnTo>
                    <a:pt x="147" y="1923"/>
                  </a:lnTo>
                  <a:lnTo>
                    <a:pt x="163" y="1906"/>
                  </a:lnTo>
                  <a:lnTo>
                    <a:pt x="135" y="1880"/>
                  </a:lnTo>
                  <a:lnTo>
                    <a:pt x="109" y="1880"/>
                  </a:lnTo>
                  <a:lnTo>
                    <a:pt x="109" y="1864"/>
                  </a:lnTo>
                  <a:lnTo>
                    <a:pt x="163" y="1864"/>
                  </a:lnTo>
                  <a:lnTo>
                    <a:pt x="180" y="1835"/>
                  </a:lnTo>
                  <a:lnTo>
                    <a:pt x="168" y="1831"/>
                  </a:lnTo>
                  <a:lnTo>
                    <a:pt x="126" y="1831"/>
                  </a:lnTo>
                  <a:lnTo>
                    <a:pt x="126" y="1807"/>
                  </a:lnTo>
                  <a:lnTo>
                    <a:pt x="135" y="1791"/>
                  </a:lnTo>
                  <a:lnTo>
                    <a:pt x="126" y="1774"/>
                  </a:lnTo>
                  <a:lnTo>
                    <a:pt x="130" y="1769"/>
                  </a:lnTo>
                  <a:lnTo>
                    <a:pt x="130" y="1758"/>
                  </a:lnTo>
                  <a:lnTo>
                    <a:pt x="114" y="1741"/>
                  </a:lnTo>
                  <a:lnTo>
                    <a:pt x="114" y="1736"/>
                  </a:lnTo>
                  <a:lnTo>
                    <a:pt x="130" y="1736"/>
                  </a:lnTo>
                  <a:lnTo>
                    <a:pt x="130" y="1720"/>
                  </a:lnTo>
                  <a:lnTo>
                    <a:pt x="97" y="1713"/>
                  </a:lnTo>
                  <a:lnTo>
                    <a:pt x="97" y="1668"/>
                  </a:lnTo>
                  <a:lnTo>
                    <a:pt x="109" y="1646"/>
                  </a:lnTo>
                  <a:lnTo>
                    <a:pt x="97" y="1646"/>
                  </a:lnTo>
                  <a:lnTo>
                    <a:pt x="109" y="1630"/>
                  </a:lnTo>
                  <a:lnTo>
                    <a:pt x="114" y="1630"/>
                  </a:lnTo>
                  <a:lnTo>
                    <a:pt x="130" y="1625"/>
                  </a:lnTo>
                  <a:lnTo>
                    <a:pt x="114" y="1592"/>
                  </a:lnTo>
                  <a:lnTo>
                    <a:pt x="126" y="1585"/>
                  </a:lnTo>
                  <a:lnTo>
                    <a:pt x="126" y="1531"/>
                  </a:lnTo>
                  <a:lnTo>
                    <a:pt x="114" y="1514"/>
                  </a:lnTo>
                  <a:lnTo>
                    <a:pt x="126" y="1481"/>
                  </a:lnTo>
                  <a:lnTo>
                    <a:pt x="130" y="1474"/>
                  </a:lnTo>
                  <a:lnTo>
                    <a:pt x="126" y="1465"/>
                  </a:lnTo>
                  <a:lnTo>
                    <a:pt x="135" y="1441"/>
                  </a:lnTo>
                  <a:lnTo>
                    <a:pt x="130" y="1408"/>
                  </a:lnTo>
                  <a:lnTo>
                    <a:pt x="147" y="1420"/>
                  </a:lnTo>
                  <a:lnTo>
                    <a:pt x="152" y="1387"/>
                  </a:lnTo>
                  <a:lnTo>
                    <a:pt x="152" y="1354"/>
                  </a:lnTo>
                  <a:lnTo>
                    <a:pt x="185" y="1337"/>
                  </a:lnTo>
                  <a:lnTo>
                    <a:pt x="189" y="1330"/>
                  </a:lnTo>
                  <a:lnTo>
                    <a:pt x="185" y="1313"/>
                  </a:lnTo>
                  <a:lnTo>
                    <a:pt x="185" y="1280"/>
                  </a:lnTo>
                  <a:lnTo>
                    <a:pt x="168" y="1252"/>
                  </a:lnTo>
                  <a:lnTo>
                    <a:pt x="180" y="1235"/>
                  </a:lnTo>
                  <a:lnTo>
                    <a:pt x="168" y="1219"/>
                  </a:lnTo>
                  <a:lnTo>
                    <a:pt x="180" y="1202"/>
                  </a:lnTo>
                  <a:lnTo>
                    <a:pt x="168" y="1181"/>
                  </a:lnTo>
                  <a:lnTo>
                    <a:pt x="180" y="1153"/>
                  </a:lnTo>
                  <a:lnTo>
                    <a:pt x="201" y="1148"/>
                  </a:lnTo>
                  <a:lnTo>
                    <a:pt x="201" y="1132"/>
                  </a:lnTo>
                  <a:lnTo>
                    <a:pt x="223" y="1124"/>
                  </a:lnTo>
                  <a:lnTo>
                    <a:pt x="232" y="1098"/>
                  </a:lnTo>
                  <a:lnTo>
                    <a:pt x="223" y="1058"/>
                  </a:lnTo>
                  <a:lnTo>
                    <a:pt x="206" y="1054"/>
                  </a:lnTo>
                  <a:lnTo>
                    <a:pt x="223" y="1042"/>
                  </a:lnTo>
                  <a:lnTo>
                    <a:pt x="244" y="976"/>
                  </a:lnTo>
                  <a:lnTo>
                    <a:pt x="260" y="964"/>
                  </a:lnTo>
                  <a:lnTo>
                    <a:pt x="256" y="931"/>
                  </a:lnTo>
                  <a:lnTo>
                    <a:pt x="270" y="905"/>
                  </a:lnTo>
                  <a:lnTo>
                    <a:pt x="260" y="893"/>
                  </a:lnTo>
                  <a:lnTo>
                    <a:pt x="256" y="893"/>
                  </a:lnTo>
                  <a:lnTo>
                    <a:pt x="244" y="888"/>
                  </a:lnTo>
                  <a:lnTo>
                    <a:pt x="256" y="865"/>
                  </a:lnTo>
                  <a:lnTo>
                    <a:pt x="239" y="848"/>
                  </a:lnTo>
                  <a:lnTo>
                    <a:pt x="239" y="832"/>
                  </a:lnTo>
                  <a:lnTo>
                    <a:pt x="232" y="810"/>
                  </a:lnTo>
                  <a:lnTo>
                    <a:pt x="223" y="798"/>
                  </a:lnTo>
                  <a:lnTo>
                    <a:pt x="239" y="782"/>
                  </a:lnTo>
                  <a:lnTo>
                    <a:pt x="223" y="777"/>
                  </a:lnTo>
                  <a:lnTo>
                    <a:pt x="206" y="754"/>
                  </a:lnTo>
                  <a:lnTo>
                    <a:pt x="218" y="725"/>
                  </a:lnTo>
                  <a:lnTo>
                    <a:pt x="232" y="709"/>
                  </a:lnTo>
                  <a:lnTo>
                    <a:pt x="232" y="699"/>
                  </a:lnTo>
                  <a:lnTo>
                    <a:pt x="239" y="666"/>
                  </a:lnTo>
                  <a:lnTo>
                    <a:pt x="256" y="654"/>
                  </a:lnTo>
                  <a:lnTo>
                    <a:pt x="260" y="650"/>
                  </a:lnTo>
                  <a:lnTo>
                    <a:pt x="244" y="576"/>
                  </a:lnTo>
                  <a:lnTo>
                    <a:pt x="270" y="560"/>
                  </a:lnTo>
                  <a:lnTo>
                    <a:pt x="277" y="506"/>
                  </a:lnTo>
                  <a:lnTo>
                    <a:pt x="308" y="477"/>
                  </a:lnTo>
                  <a:lnTo>
                    <a:pt x="331" y="404"/>
                  </a:lnTo>
                  <a:lnTo>
                    <a:pt x="362" y="404"/>
                  </a:lnTo>
                  <a:lnTo>
                    <a:pt x="369" y="387"/>
                  </a:lnTo>
                  <a:lnTo>
                    <a:pt x="345" y="354"/>
                  </a:lnTo>
                  <a:lnTo>
                    <a:pt x="352" y="338"/>
                  </a:lnTo>
                  <a:lnTo>
                    <a:pt x="362" y="333"/>
                  </a:lnTo>
                  <a:lnTo>
                    <a:pt x="345" y="276"/>
                  </a:lnTo>
                  <a:lnTo>
                    <a:pt x="352" y="255"/>
                  </a:lnTo>
                  <a:lnTo>
                    <a:pt x="369" y="255"/>
                  </a:lnTo>
                  <a:lnTo>
                    <a:pt x="352" y="222"/>
                  </a:lnTo>
                  <a:lnTo>
                    <a:pt x="369" y="199"/>
                  </a:lnTo>
                  <a:lnTo>
                    <a:pt x="438" y="165"/>
                  </a:lnTo>
                  <a:lnTo>
                    <a:pt x="466" y="87"/>
                  </a:lnTo>
                  <a:lnTo>
                    <a:pt x="449" y="78"/>
                  </a:lnTo>
                  <a:lnTo>
                    <a:pt x="449" y="78"/>
                  </a:lnTo>
                  <a:lnTo>
                    <a:pt x="449" y="78"/>
                  </a:lnTo>
                  <a:close/>
                  <a:moveTo>
                    <a:pt x="815" y="1387"/>
                  </a:moveTo>
                  <a:lnTo>
                    <a:pt x="799" y="1370"/>
                  </a:lnTo>
                  <a:lnTo>
                    <a:pt x="815" y="1375"/>
                  </a:lnTo>
                  <a:lnTo>
                    <a:pt x="815" y="1387"/>
                  </a:lnTo>
                  <a:lnTo>
                    <a:pt x="815" y="1387"/>
                  </a:lnTo>
                  <a:lnTo>
                    <a:pt x="815" y="1387"/>
                  </a:lnTo>
                  <a:close/>
                  <a:moveTo>
                    <a:pt x="345" y="2806"/>
                  </a:moveTo>
                  <a:lnTo>
                    <a:pt x="345" y="2589"/>
                  </a:lnTo>
                  <a:lnTo>
                    <a:pt x="369" y="2622"/>
                  </a:lnTo>
                  <a:lnTo>
                    <a:pt x="378" y="2639"/>
                  </a:lnTo>
                  <a:lnTo>
                    <a:pt x="362" y="2629"/>
                  </a:lnTo>
                  <a:lnTo>
                    <a:pt x="352" y="2639"/>
                  </a:lnTo>
                  <a:lnTo>
                    <a:pt x="352" y="2646"/>
                  </a:lnTo>
                  <a:lnTo>
                    <a:pt x="378" y="2655"/>
                  </a:lnTo>
                  <a:lnTo>
                    <a:pt x="395" y="2683"/>
                  </a:lnTo>
                  <a:lnTo>
                    <a:pt x="421" y="2712"/>
                  </a:lnTo>
                  <a:lnTo>
                    <a:pt x="421" y="2717"/>
                  </a:lnTo>
                  <a:lnTo>
                    <a:pt x="518" y="2778"/>
                  </a:lnTo>
                  <a:lnTo>
                    <a:pt x="556" y="2790"/>
                  </a:lnTo>
                  <a:lnTo>
                    <a:pt x="593" y="2790"/>
                  </a:lnTo>
                  <a:lnTo>
                    <a:pt x="577" y="2823"/>
                  </a:lnTo>
                  <a:lnTo>
                    <a:pt x="541" y="2811"/>
                  </a:lnTo>
                  <a:lnTo>
                    <a:pt x="504" y="2828"/>
                  </a:lnTo>
                  <a:lnTo>
                    <a:pt x="466" y="2811"/>
                  </a:lnTo>
                  <a:lnTo>
                    <a:pt x="352" y="2811"/>
                  </a:lnTo>
                  <a:lnTo>
                    <a:pt x="345" y="2806"/>
                  </a:lnTo>
                  <a:lnTo>
                    <a:pt x="345" y="2806"/>
                  </a:lnTo>
                  <a:lnTo>
                    <a:pt x="345" y="2806"/>
                  </a:lnTo>
                  <a:close/>
                  <a:moveTo>
                    <a:pt x="626" y="2811"/>
                  </a:moveTo>
                  <a:lnTo>
                    <a:pt x="615" y="2806"/>
                  </a:lnTo>
                  <a:lnTo>
                    <a:pt x="626" y="2806"/>
                  </a:lnTo>
                  <a:lnTo>
                    <a:pt x="686" y="2794"/>
                  </a:lnTo>
                  <a:lnTo>
                    <a:pt x="681" y="2806"/>
                  </a:lnTo>
                  <a:lnTo>
                    <a:pt x="648" y="2806"/>
                  </a:lnTo>
                  <a:lnTo>
                    <a:pt x="626" y="2811"/>
                  </a:lnTo>
                  <a:lnTo>
                    <a:pt x="626" y="2811"/>
                  </a:lnTo>
                  <a:lnTo>
                    <a:pt x="626" y="2811"/>
                  </a:lnTo>
                  <a:close/>
                  <a:moveTo>
                    <a:pt x="345" y="2811"/>
                  </a:moveTo>
                  <a:lnTo>
                    <a:pt x="345" y="2806"/>
                  </a:lnTo>
                  <a:lnTo>
                    <a:pt x="352" y="2811"/>
                  </a:lnTo>
                  <a:lnTo>
                    <a:pt x="345" y="2811"/>
                  </a:lnTo>
                  <a:lnTo>
                    <a:pt x="345" y="2811"/>
                  </a:lnTo>
                  <a:lnTo>
                    <a:pt x="345" y="2811"/>
                  </a:lnTo>
                  <a:close/>
                </a:path>
              </a:pathLst>
            </a:custGeom>
            <a:pattFill prst="nar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01" name="Freeform 388">
              <a:extLst>
                <a:ext uri="{FF2B5EF4-FFF2-40B4-BE49-F238E27FC236}">
                  <a16:creationId xmlns:a16="http://schemas.microsoft.com/office/drawing/2014/main" id="{589FD50A-6B87-478F-B0DA-C25449C9EBBD}"/>
                </a:ext>
              </a:extLst>
            </p:cNvPr>
            <p:cNvSpPr>
              <a:spLocks noEditPoints="1"/>
            </p:cNvSpPr>
            <p:nvPr/>
          </p:nvSpPr>
          <p:spPr bwMode="gray">
            <a:xfrm>
              <a:off x="9696024" y="4961991"/>
              <a:ext cx="1597958" cy="1814421"/>
            </a:xfrm>
            <a:custGeom>
              <a:avLst/>
              <a:gdLst>
                <a:gd name="T0" fmla="*/ 2050 w 3229"/>
                <a:gd name="T1" fmla="*/ 41 h 3666"/>
                <a:gd name="T2" fmla="*/ 2239 w 3229"/>
                <a:gd name="T3" fmla="*/ 2190 h 3666"/>
                <a:gd name="T4" fmla="*/ 1939 w 3229"/>
                <a:gd name="T5" fmla="*/ 2152 h 3666"/>
                <a:gd name="T6" fmla="*/ 1835 w 3229"/>
                <a:gd name="T7" fmla="*/ 1930 h 3666"/>
                <a:gd name="T8" fmla="*/ 1712 w 3229"/>
                <a:gd name="T9" fmla="*/ 1902 h 3666"/>
                <a:gd name="T10" fmla="*/ 1603 w 3229"/>
                <a:gd name="T11" fmla="*/ 1885 h 3666"/>
                <a:gd name="T12" fmla="*/ 1495 w 3229"/>
                <a:gd name="T13" fmla="*/ 1746 h 3666"/>
                <a:gd name="T14" fmla="*/ 1204 w 3229"/>
                <a:gd name="T15" fmla="*/ 1630 h 3666"/>
                <a:gd name="T16" fmla="*/ 621 w 3229"/>
                <a:gd name="T17" fmla="*/ 1815 h 3666"/>
                <a:gd name="T18" fmla="*/ 309 w 3229"/>
                <a:gd name="T19" fmla="*/ 1902 h 3666"/>
                <a:gd name="T20" fmla="*/ 196 w 3229"/>
                <a:gd name="T21" fmla="*/ 1647 h 3666"/>
                <a:gd name="T22" fmla="*/ 49 w 3229"/>
                <a:gd name="T23" fmla="*/ 1243 h 3666"/>
                <a:gd name="T24" fmla="*/ 33 w 3229"/>
                <a:gd name="T25" fmla="*/ 1071 h 3666"/>
                <a:gd name="T26" fmla="*/ 285 w 3229"/>
                <a:gd name="T27" fmla="*/ 782 h 3666"/>
                <a:gd name="T28" fmla="*/ 649 w 3229"/>
                <a:gd name="T29" fmla="*/ 527 h 3666"/>
                <a:gd name="T30" fmla="*/ 751 w 3229"/>
                <a:gd name="T31" fmla="*/ 482 h 3666"/>
                <a:gd name="T32" fmla="*/ 836 w 3229"/>
                <a:gd name="T33" fmla="*/ 466 h 3666"/>
                <a:gd name="T34" fmla="*/ 848 w 3229"/>
                <a:gd name="T35" fmla="*/ 388 h 3666"/>
                <a:gd name="T36" fmla="*/ 890 w 3229"/>
                <a:gd name="T37" fmla="*/ 305 h 3666"/>
                <a:gd name="T38" fmla="*/ 956 w 3229"/>
                <a:gd name="T39" fmla="*/ 305 h 3666"/>
                <a:gd name="T40" fmla="*/ 1091 w 3229"/>
                <a:gd name="T41" fmla="*/ 362 h 3666"/>
                <a:gd name="T42" fmla="*/ 1171 w 3229"/>
                <a:gd name="T43" fmla="*/ 345 h 3666"/>
                <a:gd name="T44" fmla="*/ 1226 w 3229"/>
                <a:gd name="T45" fmla="*/ 189 h 3666"/>
                <a:gd name="T46" fmla="*/ 1365 w 3229"/>
                <a:gd name="T47" fmla="*/ 156 h 3666"/>
                <a:gd name="T48" fmla="*/ 1419 w 3229"/>
                <a:gd name="T49" fmla="*/ 123 h 3666"/>
                <a:gd name="T50" fmla="*/ 1613 w 3229"/>
                <a:gd name="T51" fmla="*/ 123 h 3666"/>
                <a:gd name="T52" fmla="*/ 1674 w 3229"/>
                <a:gd name="T53" fmla="*/ 156 h 3666"/>
                <a:gd name="T54" fmla="*/ 1603 w 3229"/>
                <a:gd name="T55" fmla="*/ 305 h 3666"/>
                <a:gd name="T56" fmla="*/ 1953 w 3229"/>
                <a:gd name="T57" fmla="*/ 544 h 3666"/>
                <a:gd name="T58" fmla="*/ 2012 w 3229"/>
                <a:gd name="T59" fmla="*/ 178 h 3666"/>
                <a:gd name="T60" fmla="*/ 2121 w 3229"/>
                <a:gd name="T61" fmla="*/ 140 h 3666"/>
                <a:gd name="T62" fmla="*/ 2267 w 3229"/>
                <a:gd name="T63" fmla="*/ 355 h 3666"/>
                <a:gd name="T64" fmla="*/ 2414 w 3229"/>
                <a:gd name="T65" fmla="*/ 676 h 3666"/>
                <a:gd name="T66" fmla="*/ 2548 w 3229"/>
                <a:gd name="T67" fmla="*/ 832 h 3666"/>
                <a:gd name="T68" fmla="*/ 2671 w 3229"/>
                <a:gd name="T69" fmla="*/ 1004 h 3666"/>
                <a:gd name="T70" fmla="*/ 2822 w 3229"/>
                <a:gd name="T71" fmla="*/ 1304 h 3666"/>
                <a:gd name="T72" fmla="*/ 2700 w 3229"/>
                <a:gd name="T73" fmla="*/ 1774 h 3666"/>
                <a:gd name="T74" fmla="*/ 2603 w 3229"/>
                <a:gd name="T75" fmla="*/ 2079 h 3666"/>
                <a:gd name="T76" fmla="*/ 1667 w 3229"/>
                <a:gd name="T77" fmla="*/ 67 h 3666"/>
                <a:gd name="T78" fmla="*/ 1280 w 3229"/>
                <a:gd name="T79" fmla="*/ 100 h 3666"/>
                <a:gd name="T80" fmla="*/ 1226 w 3229"/>
                <a:gd name="T81" fmla="*/ 133 h 3666"/>
                <a:gd name="T82" fmla="*/ 1684 w 3229"/>
                <a:gd name="T83" fmla="*/ 300 h 3666"/>
                <a:gd name="T84" fmla="*/ 1629 w 3229"/>
                <a:gd name="T85" fmla="*/ 279 h 3666"/>
                <a:gd name="T86" fmla="*/ 810 w 3229"/>
                <a:gd name="T87" fmla="*/ 378 h 3666"/>
                <a:gd name="T88" fmla="*/ 1689 w 3229"/>
                <a:gd name="T89" fmla="*/ 428 h 3666"/>
                <a:gd name="T90" fmla="*/ 1835 w 3229"/>
                <a:gd name="T91" fmla="*/ 489 h 3666"/>
                <a:gd name="T92" fmla="*/ 2338 w 3229"/>
                <a:gd name="T93" fmla="*/ 622 h 3666"/>
                <a:gd name="T94" fmla="*/ 2520 w 3229"/>
                <a:gd name="T95" fmla="*/ 745 h 3666"/>
                <a:gd name="T96" fmla="*/ 2629 w 3229"/>
                <a:gd name="T97" fmla="*/ 910 h 3666"/>
                <a:gd name="T98" fmla="*/ 2834 w 3229"/>
                <a:gd name="T99" fmla="*/ 1115 h 3666"/>
                <a:gd name="T100" fmla="*/ 2839 w 3229"/>
                <a:gd name="T101" fmla="*/ 1297 h 3666"/>
                <a:gd name="T102" fmla="*/ 1651 w 3229"/>
                <a:gd name="T103" fmla="*/ 1980 h 3666"/>
                <a:gd name="T104" fmla="*/ 2267 w 3229"/>
                <a:gd name="T105" fmla="*/ 2202 h 3666"/>
                <a:gd name="T106" fmla="*/ 2187 w 3229"/>
                <a:gd name="T107" fmla="*/ 2313 h 3666"/>
                <a:gd name="T108" fmla="*/ 2461 w 3229"/>
                <a:gd name="T109" fmla="*/ 2363 h 3666"/>
                <a:gd name="T110" fmla="*/ 2466 w 3229"/>
                <a:gd name="T111" fmla="*/ 2363 h 3666"/>
                <a:gd name="T112" fmla="*/ 2305 w 3229"/>
                <a:gd name="T113" fmla="*/ 2606 h 3666"/>
                <a:gd name="T114" fmla="*/ 2385 w 3229"/>
                <a:gd name="T115" fmla="*/ 2417 h 3666"/>
                <a:gd name="T116" fmla="*/ 2456 w 3229"/>
                <a:gd name="T117" fmla="*/ 2596 h 3666"/>
                <a:gd name="T118" fmla="*/ 2390 w 3229"/>
                <a:gd name="T119" fmla="*/ 2606 h 3666"/>
                <a:gd name="T120" fmla="*/ 2414 w 3229"/>
                <a:gd name="T121" fmla="*/ 2596 h 3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29" h="3666">
                  <a:moveTo>
                    <a:pt x="2045" y="12"/>
                  </a:moveTo>
                  <a:lnTo>
                    <a:pt x="2045" y="5"/>
                  </a:lnTo>
                  <a:lnTo>
                    <a:pt x="2045" y="0"/>
                  </a:lnTo>
                  <a:lnTo>
                    <a:pt x="2045" y="12"/>
                  </a:lnTo>
                  <a:lnTo>
                    <a:pt x="2045" y="12"/>
                  </a:lnTo>
                  <a:lnTo>
                    <a:pt x="2045" y="12"/>
                  </a:lnTo>
                  <a:close/>
                  <a:moveTo>
                    <a:pt x="2050" y="12"/>
                  </a:moveTo>
                  <a:lnTo>
                    <a:pt x="2050" y="5"/>
                  </a:lnTo>
                  <a:lnTo>
                    <a:pt x="2062" y="12"/>
                  </a:lnTo>
                  <a:lnTo>
                    <a:pt x="2050" y="12"/>
                  </a:lnTo>
                  <a:lnTo>
                    <a:pt x="2050" y="12"/>
                  </a:lnTo>
                  <a:lnTo>
                    <a:pt x="2050" y="12"/>
                  </a:lnTo>
                  <a:close/>
                  <a:moveTo>
                    <a:pt x="2050" y="57"/>
                  </a:moveTo>
                  <a:lnTo>
                    <a:pt x="2045" y="45"/>
                  </a:lnTo>
                  <a:lnTo>
                    <a:pt x="2050" y="41"/>
                  </a:lnTo>
                  <a:lnTo>
                    <a:pt x="2050" y="45"/>
                  </a:lnTo>
                  <a:lnTo>
                    <a:pt x="2050" y="57"/>
                  </a:lnTo>
                  <a:lnTo>
                    <a:pt x="2050" y="57"/>
                  </a:lnTo>
                  <a:lnTo>
                    <a:pt x="2050" y="57"/>
                  </a:lnTo>
                  <a:close/>
                  <a:moveTo>
                    <a:pt x="2348" y="2247"/>
                  </a:moveTo>
                  <a:lnTo>
                    <a:pt x="2331" y="2219"/>
                  </a:lnTo>
                  <a:lnTo>
                    <a:pt x="2305" y="2223"/>
                  </a:lnTo>
                  <a:lnTo>
                    <a:pt x="2305" y="2202"/>
                  </a:lnTo>
                  <a:lnTo>
                    <a:pt x="2293" y="2207"/>
                  </a:lnTo>
                  <a:lnTo>
                    <a:pt x="2277" y="2190"/>
                  </a:lnTo>
                  <a:lnTo>
                    <a:pt x="2284" y="2181"/>
                  </a:lnTo>
                  <a:lnTo>
                    <a:pt x="2277" y="2169"/>
                  </a:lnTo>
                  <a:lnTo>
                    <a:pt x="2267" y="2169"/>
                  </a:lnTo>
                  <a:lnTo>
                    <a:pt x="2251" y="2190"/>
                  </a:lnTo>
                  <a:lnTo>
                    <a:pt x="2239" y="2190"/>
                  </a:lnTo>
                  <a:lnTo>
                    <a:pt x="2229" y="2181"/>
                  </a:lnTo>
                  <a:lnTo>
                    <a:pt x="2246" y="2181"/>
                  </a:lnTo>
                  <a:lnTo>
                    <a:pt x="2251" y="2164"/>
                  </a:lnTo>
                  <a:lnTo>
                    <a:pt x="2246" y="2136"/>
                  </a:lnTo>
                  <a:lnTo>
                    <a:pt x="2196" y="2164"/>
                  </a:lnTo>
                  <a:lnTo>
                    <a:pt x="2225" y="2164"/>
                  </a:lnTo>
                  <a:lnTo>
                    <a:pt x="2225" y="2181"/>
                  </a:lnTo>
                  <a:lnTo>
                    <a:pt x="2196" y="2181"/>
                  </a:lnTo>
                  <a:lnTo>
                    <a:pt x="2142" y="2223"/>
                  </a:lnTo>
                  <a:lnTo>
                    <a:pt x="2062" y="2181"/>
                  </a:lnTo>
                  <a:lnTo>
                    <a:pt x="2045" y="2185"/>
                  </a:lnTo>
                  <a:lnTo>
                    <a:pt x="2024" y="2169"/>
                  </a:lnTo>
                  <a:lnTo>
                    <a:pt x="2007" y="2185"/>
                  </a:lnTo>
                  <a:lnTo>
                    <a:pt x="1977" y="2164"/>
                  </a:lnTo>
                  <a:lnTo>
                    <a:pt x="1939" y="2152"/>
                  </a:lnTo>
                  <a:lnTo>
                    <a:pt x="1873" y="2079"/>
                  </a:lnTo>
                  <a:lnTo>
                    <a:pt x="1873" y="2058"/>
                  </a:lnTo>
                  <a:lnTo>
                    <a:pt x="1885" y="2053"/>
                  </a:lnTo>
                  <a:lnTo>
                    <a:pt x="1885" y="2025"/>
                  </a:lnTo>
                  <a:lnTo>
                    <a:pt x="1873" y="2001"/>
                  </a:lnTo>
                  <a:lnTo>
                    <a:pt x="1830" y="1959"/>
                  </a:lnTo>
                  <a:lnTo>
                    <a:pt x="1852" y="1968"/>
                  </a:lnTo>
                  <a:lnTo>
                    <a:pt x="1873" y="2001"/>
                  </a:lnTo>
                  <a:lnTo>
                    <a:pt x="1868" y="1985"/>
                  </a:lnTo>
                  <a:lnTo>
                    <a:pt x="1835" y="1959"/>
                  </a:lnTo>
                  <a:lnTo>
                    <a:pt x="1835" y="1942"/>
                  </a:lnTo>
                  <a:lnTo>
                    <a:pt x="1847" y="1959"/>
                  </a:lnTo>
                  <a:lnTo>
                    <a:pt x="1852" y="1959"/>
                  </a:lnTo>
                  <a:lnTo>
                    <a:pt x="1852" y="1930"/>
                  </a:lnTo>
                  <a:lnTo>
                    <a:pt x="1835" y="1930"/>
                  </a:lnTo>
                  <a:lnTo>
                    <a:pt x="1818" y="1942"/>
                  </a:lnTo>
                  <a:lnTo>
                    <a:pt x="1830" y="1947"/>
                  </a:lnTo>
                  <a:lnTo>
                    <a:pt x="1809" y="1947"/>
                  </a:lnTo>
                  <a:lnTo>
                    <a:pt x="1792" y="1959"/>
                  </a:lnTo>
                  <a:lnTo>
                    <a:pt x="1759" y="1959"/>
                  </a:lnTo>
                  <a:lnTo>
                    <a:pt x="1792" y="1930"/>
                  </a:lnTo>
                  <a:lnTo>
                    <a:pt x="1792" y="1909"/>
                  </a:lnTo>
                  <a:lnTo>
                    <a:pt x="1792" y="1874"/>
                  </a:lnTo>
                  <a:lnTo>
                    <a:pt x="1759" y="1831"/>
                  </a:lnTo>
                  <a:lnTo>
                    <a:pt x="1755" y="1857"/>
                  </a:lnTo>
                  <a:lnTo>
                    <a:pt x="1738" y="1914"/>
                  </a:lnTo>
                  <a:lnTo>
                    <a:pt x="1722" y="1909"/>
                  </a:lnTo>
                  <a:lnTo>
                    <a:pt x="1674" y="1926"/>
                  </a:lnTo>
                  <a:lnTo>
                    <a:pt x="1689" y="1893"/>
                  </a:lnTo>
                  <a:lnTo>
                    <a:pt x="1712" y="1902"/>
                  </a:lnTo>
                  <a:lnTo>
                    <a:pt x="1722" y="1874"/>
                  </a:lnTo>
                  <a:lnTo>
                    <a:pt x="1722" y="1836"/>
                  </a:lnTo>
                  <a:lnTo>
                    <a:pt x="1726" y="1815"/>
                  </a:lnTo>
                  <a:lnTo>
                    <a:pt x="1755" y="1791"/>
                  </a:lnTo>
                  <a:lnTo>
                    <a:pt x="1743" y="1765"/>
                  </a:lnTo>
                  <a:lnTo>
                    <a:pt x="1759" y="1746"/>
                  </a:lnTo>
                  <a:lnTo>
                    <a:pt x="1738" y="1704"/>
                  </a:lnTo>
                  <a:lnTo>
                    <a:pt x="1743" y="1741"/>
                  </a:lnTo>
                  <a:lnTo>
                    <a:pt x="1722" y="1746"/>
                  </a:lnTo>
                  <a:lnTo>
                    <a:pt x="1700" y="1798"/>
                  </a:lnTo>
                  <a:lnTo>
                    <a:pt x="1684" y="1798"/>
                  </a:lnTo>
                  <a:lnTo>
                    <a:pt x="1674" y="1803"/>
                  </a:lnTo>
                  <a:lnTo>
                    <a:pt x="1646" y="1819"/>
                  </a:lnTo>
                  <a:lnTo>
                    <a:pt x="1613" y="1869"/>
                  </a:lnTo>
                  <a:lnTo>
                    <a:pt x="1603" y="1885"/>
                  </a:lnTo>
                  <a:lnTo>
                    <a:pt x="1613" y="1885"/>
                  </a:lnTo>
                  <a:lnTo>
                    <a:pt x="1613" y="1902"/>
                  </a:lnTo>
                  <a:lnTo>
                    <a:pt x="1599" y="1893"/>
                  </a:lnTo>
                  <a:lnTo>
                    <a:pt x="1592" y="1902"/>
                  </a:lnTo>
                  <a:lnTo>
                    <a:pt x="1566" y="1869"/>
                  </a:lnTo>
                  <a:lnTo>
                    <a:pt x="1549" y="1869"/>
                  </a:lnTo>
                  <a:lnTo>
                    <a:pt x="1561" y="1852"/>
                  </a:lnTo>
                  <a:lnTo>
                    <a:pt x="1575" y="1874"/>
                  </a:lnTo>
                  <a:lnTo>
                    <a:pt x="1582" y="1869"/>
                  </a:lnTo>
                  <a:lnTo>
                    <a:pt x="1575" y="1869"/>
                  </a:lnTo>
                  <a:lnTo>
                    <a:pt x="1566" y="1819"/>
                  </a:lnTo>
                  <a:lnTo>
                    <a:pt x="1537" y="1791"/>
                  </a:lnTo>
                  <a:lnTo>
                    <a:pt x="1537" y="1782"/>
                  </a:lnTo>
                  <a:lnTo>
                    <a:pt x="1528" y="1758"/>
                  </a:lnTo>
                  <a:lnTo>
                    <a:pt x="1495" y="1746"/>
                  </a:lnTo>
                  <a:lnTo>
                    <a:pt x="1485" y="1720"/>
                  </a:lnTo>
                  <a:lnTo>
                    <a:pt x="1490" y="1725"/>
                  </a:lnTo>
                  <a:lnTo>
                    <a:pt x="1495" y="1720"/>
                  </a:lnTo>
                  <a:lnTo>
                    <a:pt x="1490" y="1704"/>
                  </a:lnTo>
                  <a:lnTo>
                    <a:pt x="1469" y="1704"/>
                  </a:lnTo>
                  <a:lnTo>
                    <a:pt x="1474" y="1692"/>
                  </a:lnTo>
                  <a:lnTo>
                    <a:pt x="1452" y="1670"/>
                  </a:lnTo>
                  <a:lnTo>
                    <a:pt x="1436" y="1680"/>
                  </a:lnTo>
                  <a:lnTo>
                    <a:pt x="1415" y="1680"/>
                  </a:lnTo>
                  <a:lnTo>
                    <a:pt x="1386" y="1654"/>
                  </a:lnTo>
                  <a:lnTo>
                    <a:pt x="1351" y="1663"/>
                  </a:lnTo>
                  <a:lnTo>
                    <a:pt x="1322" y="1637"/>
                  </a:lnTo>
                  <a:lnTo>
                    <a:pt x="1275" y="1614"/>
                  </a:lnTo>
                  <a:lnTo>
                    <a:pt x="1252" y="1630"/>
                  </a:lnTo>
                  <a:lnTo>
                    <a:pt x="1204" y="1630"/>
                  </a:lnTo>
                  <a:lnTo>
                    <a:pt x="1129" y="1637"/>
                  </a:lnTo>
                  <a:lnTo>
                    <a:pt x="1058" y="1670"/>
                  </a:lnTo>
                  <a:lnTo>
                    <a:pt x="1003" y="1687"/>
                  </a:lnTo>
                  <a:lnTo>
                    <a:pt x="911" y="1680"/>
                  </a:lnTo>
                  <a:lnTo>
                    <a:pt x="826" y="1737"/>
                  </a:lnTo>
                  <a:lnTo>
                    <a:pt x="793" y="1741"/>
                  </a:lnTo>
                  <a:lnTo>
                    <a:pt x="784" y="1746"/>
                  </a:lnTo>
                  <a:lnTo>
                    <a:pt x="772" y="1791"/>
                  </a:lnTo>
                  <a:lnTo>
                    <a:pt x="755" y="1803"/>
                  </a:lnTo>
                  <a:lnTo>
                    <a:pt x="718" y="1819"/>
                  </a:lnTo>
                  <a:lnTo>
                    <a:pt x="701" y="1815"/>
                  </a:lnTo>
                  <a:lnTo>
                    <a:pt x="659" y="1815"/>
                  </a:lnTo>
                  <a:lnTo>
                    <a:pt x="642" y="1819"/>
                  </a:lnTo>
                  <a:lnTo>
                    <a:pt x="633" y="1803"/>
                  </a:lnTo>
                  <a:lnTo>
                    <a:pt x="621" y="1815"/>
                  </a:lnTo>
                  <a:lnTo>
                    <a:pt x="595" y="1803"/>
                  </a:lnTo>
                  <a:lnTo>
                    <a:pt x="557" y="1815"/>
                  </a:lnTo>
                  <a:lnTo>
                    <a:pt x="524" y="1819"/>
                  </a:lnTo>
                  <a:lnTo>
                    <a:pt x="498" y="1815"/>
                  </a:lnTo>
                  <a:lnTo>
                    <a:pt x="465" y="1831"/>
                  </a:lnTo>
                  <a:lnTo>
                    <a:pt x="448" y="1857"/>
                  </a:lnTo>
                  <a:lnTo>
                    <a:pt x="444" y="1857"/>
                  </a:lnTo>
                  <a:lnTo>
                    <a:pt x="415" y="1857"/>
                  </a:lnTo>
                  <a:lnTo>
                    <a:pt x="373" y="1893"/>
                  </a:lnTo>
                  <a:lnTo>
                    <a:pt x="340" y="1909"/>
                  </a:lnTo>
                  <a:lnTo>
                    <a:pt x="356" y="1909"/>
                  </a:lnTo>
                  <a:lnTo>
                    <a:pt x="352" y="1914"/>
                  </a:lnTo>
                  <a:lnTo>
                    <a:pt x="335" y="1909"/>
                  </a:lnTo>
                  <a:lnTo>
                    <a:pt x="323" y="1914"/>
                  </a:lnTo>
                  <a:lnTo>
                    <a:pt x="309" y="1902"/>
                  </a:lnTo>
                  <a:lnTo>
                    <a:pt x="255" y="1909"/>
                  </a:lnTo>
                  <a:lnTo>
                    <a:pt x="210" y="1885"/>
                  </a:lnTo>
                  <a:lnTo>
                    <a:pt x="189" y="1857"/>
                  </a:lnTo>
                  <a:lnTo>
                    <a:pt x="163" y="1848"/>
                  </a:lnTo>
                  <a:lnTo>
                    <a:pt x="158" y="1852"/>
                  </a:lnTo>
                  <a:lnTo>
                    <a:pt x="146" y="1848"/>
                  </a:lnTo>
                  <a:lnTo>
                    <a:pt x="141" y="1782"/>
                  </a:lnTo>
                  <a:lnTo>
                    <a:pt x="158" y="1791"/>
                  </a:lnTo>
                  <a:lnTo>
                    <a:pt x="172" y="1791"/>
                  </a:lnTo>
                  <a:lnTo>
                    <a:pt x="196" y="1765"/>
                  </a:lnTo>
                  <a:lnTo>
                    <a:pt x="189" y="1720"/>
                  </a:lnTo>
                  <a:lnTo>
                    <a:pt x="196" y="1704"/>
                  </a:lnTo>
                  <a:lnTo>
                    <a:pt x="189" y="1708"/>
                  </a:lnTo>
                  <a:lnTo>
                    <a:pt x="196" y="1725"/>
                  </a:lnTo>
                  <a:lnTo>
                    <a:pt x="196" y="1647"/>
                  </a:lnTo>
                  <a:lnTo>
                    <a:pt x="146" y="1543"/>
                  </a:lnTo>
                  <a:lnTo>
                    <a:pt x="141" y="1503"/>
                  </a:lnTo>
                  <a:lnTo>
                    <a:pt x="141" y="1465"/>
                  </a:lnTo>
                  <a:lnTo>
                    <a:pt x="134" y="1441"/>
                  </a:lnTo>
                  <a:lnTo>
                    <a:pt x="120" y="1408"/>
                  </a:lnTo>
                  <a:lnTo>
                    <a:pt x="108" y="1387"/>
                  </a:lnTo>
                  <a:lnTo>
                    <a:pt x="87" y="1354"/>
                  </a:lnTo>
                  <a:lnTo>
                    <a:pt x="87" y="1314"/>
                  </a:lnTo>
                  <a:lnTo>
                    <a:pt x="70" y="1281"/>
                  </a:lnTo>
                  <a:lnTo>
                    <a:pt x="16" y="1210"/>
                  </a:lnTo>
                  <a:lnTo>
                    <a:pt x="28" y="1193"/>
                  </a:lnTo>
                  <a:lnTo>
                    <a:pt x="28" y="1210"/>
                  </a:lnTo>
                  <a:lnTo>
                    <a:pt x="33" y="1203"/>
                  </a:lnTo>
                  <a:lnTo>
                    <a:pt x="37" y="1210"/>
                  </a:lnTo>
                  <a:lnTo>
                    <a:pt x="49" y="1243"/>
                  </a:lnTo>
                  <a:lnTo>
                    <a:pt x="66" y="1226"/>
                  </a:lnTo>
                  <a:lnTo>
                    <a:pt x="66" y="1210"/>
                  </a:lnTo>
                  <a:lnTo>
                    <a:pt x="37" y="1193"/>
                  </a:lnTo>
                  <a:lnTo>
                    <a:pt x="33" y="1170"/>
                  </a:lnTo>
                  <a:lnTo>
                    <a:pt x="37" y="1153"/>
                  </a:lnTo>
                  <a:lnTo>
                    <a:pt x="54" y="1182"/>
                  </a:lnTo>
                  <a:lnTo>
                    <a:pt x="54" y="1203"/>
                  </a:lnTo>
                  <a:lnTo>
                    <a:pt x="66" y="1193"/>
                  </a:lnTo>
                  <a:lnTo>
                    <a:pt x="82" y="1226"/>
                  </a:lnTo>
                  <a:lnTo>
                    <a:pt x="87" y="1210"/>
                  </a:lnTo>
                  <a:lnTo>
                    <a:pt x="87" y="1203"/>
                  </a:lnTo>
                  <a:lnTo>
                    <a:pt x="92" y="1182"/>
                  </a:lnTo>
                  <a:lnTo>
                    <a:pt x="54" y="1127"/>
                  </a:lnTo>
                  <a:lnTo>
                    <a:pt x="49" y="1094"/>
                  </a:lnTo>
                  <a:lnTo>
                    <a:pt x="33" y="1071"/>
                  </a:lnTo>
                  <a:lnTo>
                    <a:pt x="37" y="1021"/>
                  </a:lnTo>
                  <a:lnTo>
                    <a:pt x="54" y="1000"/>
                  </a:lnTo>
                  <a:lnTo>
                    <a:pt x="66" y="959"/>
                  </a:lnTo>
                  <a:lnTo>
                    <a:pt x="49" y="931"/>
                  </a:lnTo>
                  <a:lnTo>
                    <a:pt x="70" y="889"/>
                  </a:lnTo>
                  <a:lnTo>
                    <a:pt x="87" y="872"/>
                  </a:lnTo>
                  <a:lnTo>
                    <a:pt x="82" y="893"/>
                  </a:lnTo>
                  <a:lnTo>
                    <a:pt x="87" y="926"/>
                  </a:lnTo>
                  <a:lnTo>
                    <a:pt x="104" y="915"/>
                  </a:lnTo>
                  <a:lnTo>
                    <a:pt x="120" y="872"/>
                  </a:lnTo>
                  <a:lnTo>
                    <a:pt x="179" y="848"/>
                  </a:lnTo>
                  <a:lnTo>
                    <a:pt x="210" y="815"/>
                  </a:lnTo>
                  <a:lnTo>
                    <a:pt x="264" y="782"/>
                  </a:lnTo>
                  <a:lnTo>
                    <a:pt x="271" y="794"/>
                  </a:lnTo>
                  <a:lnTo>
                    <a:pt x="285" y="782"/>
                  </a:lnTo>
                  <a:lnTo>
                    <a:pt x="309" y="794"/>
                  </a:lnTo>
                  <a:lnTo>
                    <a:pt x="335" y="782"/>
                  </a:lnTo>
                  <a:lnTo>
                    <a:pt x="361" y="761"/>
                  </a:lnTo>
                  <a:lnTo>
                    <a:pt x="411" y="761"/>
                  </a:lnTo>
                  <a:lnTo>
                    <a:pt x="432" y="733"/>
                  </a:lnTo>
                  <a:lnTo>
                    <a:pt x="465" y="745"/>
                  </a:lnTo>
                  <a:lnTo>
                    <a:pt x="519" y="728"/>
                  </a:lnTo>
                  <a:lnTo>
                    <a:pt x="566" y="704"/>
                  </a:lnTo>
                  <a:lnTo>
                    <a:pt x="595" y="671"/>
                  </a:lnTo>
                  <a:lnTo>
                    <a:pt x="621" y="617"/>
                  </a:lnTo>
                  <a:lnTo>
                    <a:pt x="633" y="617"/>
                  </a:lnTo>
                  <a:lnTo>
                    <a:pt x="659" y="593"/>
                  </a:lnTo>
                  <a:lnTo>
                    <a:pt x="659" y="584"/>
                  </a:lnTo>
                  <a:lnTo>
                    <a:pt x="649" y="577"/>
                  </a:lnTo>
                  <a:lnTo>
                    <a:pt x="649" y="527"/>
                  </a:lnTo>
                  <a:lnTo>
                    <a:pt x="663" y="511"/>
                  </a:lnTo>
                  <a:lnTo>
                    <a:pt x="675" y="506"/>
                  </a:lnTo>
                  <a:lnTo>
                    <a:pt x="675" y="499"/>
                  </a:lnTo>
                  <a:lnTo>
                    <a:pt x="687" y="489"/>
                  </a:lnTo>
                  <a:lnTo>
                    <a:pt x="687" y="482"/>
                  </a:lnTo>
                  <a:lnTo>
                    <a:pt x="696" y="466"/>
                  </a:lnTo>
                  <a:lnTo>
                    <a:pt x="713" y="466"/>
                  </a:lnTo>
                  <a:lnTo>
                    <a:pt x="701" y="482"/>
                  </a:lnTo>
                  <a:lnTo>
                    <a:pt x="739" y="556"/>
                  </a:lnTo>
                  <a:lnTo>
                    <a:pt x="751" y="511"/>
                  </a:lnTo>
                  <a:lnTo>
                    <a:pt x="772" y="527"/>
                  </a:lnTo>
                  <a:lnTo>
                    <a:pt x="755" y="511"/>
                  </a:lnTo>
                  <a:lnTo>
                    <a:pt x="767" y="506"/>
                  </a:lnTo>
                  <a:lnTo>
                    <a:pt x="755" y="506"/>
                  </a:lnTo>
                  <a:lnTo>
                    <a:pt x="751" y="482"/>
                  </a:lnTo>
                  <a:lnTo>
                    <a:pt x="734" y="473"/>
                  </a:lnTo>
                  <a:lnTo>
                    <a:pt x="751" y="473"/>
                  </a:lnTo>
                  <a:lnTo>
                    <a:pt x="755" y="466"/>
                  </a:lnTo>
                  <a:lnTo>
                    <a:pt x="755" y="456"/>
                  </a:lnTo>
                  <a:lnTo>
                    <a:pt x="739" y="456"/>
                  </a:lnTo>
                  <a:lnTo>
                    <a:pt x="739" y="449"/>
                  </a:lnTo>
                  <a:lnTo>
                    <a:pt x="755" y="449"/>
                  </a:lnTo>
                  <a:lnTo>
                    <a:pt x="767" y="449"/>
                  </a:lnTo>
                  <a:lnTo>
                    <a:pt x="755" y="456"/>
                  </a:lnTo>
                  <a:lnTo>
                    <a:pt x="767" y="466"/>
                  </a:lnTo>
                  <a:lnTo>
                    <a:pt x="772" y="456"/>
                  </a:lnTo>
                  <a:lnTo>
                    <a:pt x="789" y="456"/>
                  </a:lnTo>
                  <a:lnTo>
                    <a:pt x="789" y="466"/>
                  </a:lnTo>
                  <a:lnTo>
                    <a:pt x="805" y="466"/>
                  </a:lnTo>
                  <a:lnTo>
                    <a:pt x="836" y="466"/>
                  </a:lnTo>
                  <a:lnTo>
                    <a:pt x="805" y="456"/>
                  </a:lnTo>
                  <a:lnTo>
                    <a:pt x="805" y="445"/>
                  </a:lnTo>
                  <a:lnTo>
                    <a:pt x="810" y="449"/>
                  </a:lnTo>
                  <a:lnTo>
                    <a:pt x="822" y="445"/>
                  </a:lnTo>
                  <a:lnTo>
                    <a:pt x="822" y="433"/>
                  </a:lnTo>
                  <a:lnTo>
                    <a:pt x="826" y="428"/>
                  </a:lnTo>
                  <a:lnTo>
                    <a:pt x="822" y="416"/>
                  </a:lnTo>
                  <a:lnTo>
                    <a:pt x="810" y="433"/>
                  </a:lnTo>
                  <a:lnTo>
                    <a:pt x="805" y="428"/>
                  </a:lnTo>
                  <a:lnTo>
                    <a:pt x="805" y="400"/>
                  </a:lnTo>
                  <a:lnTo>
                    <a:pt x="822" y="395"/>
                  </a:lnTo>
                  <a:lnTo>
                    <a:pt x="826" y="378"/>
                  </a:lnTo>
                  <a:lnTo>
                    <a:pt x="859" y="400"/>
                  </a:lnTo>
                  <a:lnTo>
                    <a:pt x="848" y="395"/>
                  </a:lnTo>
                  <a:lnTo>
                    <a:pt x="848" y="388"/>
                  </a:lnTo>
                  <a:lnTo>
                    <a:pt x="836" y="388"/>
                  </a:lnTo>
                  <a:lnTo>
                    <a:pt x="848" y="371"/>
                  </a:lnTo>
                  <a:lnTo>
                    <a:pt x="836" y="378"/>
                  </a:lnTo>
                  <a:lnTo>
                    <a:pt x="836" y="371"/>
                  </a:lnTo>
                  <a:lnTo>
                    <a:pt x="848" y="362"/>
                  </a:lnTo>
                  <a:lnTo>
                    <a:pt x="859" y="378"/>
                  </a:lnTo>
                  <a:lnTo>
                    <a:pt x="859" y="362"/>
                  </a:lnTo>
                  <a:lnTo>
                    <a:pt x="864" y="371"/>
                  </a:lnTo>
                  <a:lnTo>
                    <a:pt x="874" y="371"/>
                  </a:lnTo>
                  <a:lnTo>
                    <a:pt x="859" y="362"/>
                  </a:lnTo>
                  <a:lnTo>
                    <a:pt x="864" y="355"/>
                  </a:lnTo>
                  <a:lnTo>
                    <a:pt x="859" y="345"/>
                  </a:lnTo>
                  <a:lnTo>
                    <a:pt x="864" y="334"/>
                  </a:lnTo>
                  <a:lnTo>
                    <a:pt x="890" y="334"/>
                  </a:lnTo>
                  <a:lnTo>
                    <a:pt x="890" y="305"/>
                  </a:lnTo>
                  <a:lnTo>
                    <a:pt x="897" y="305"/>
                  </a:lnTo>
                  <a:lnTo>
                    <a:pt x="890" y="338"/>
                  </a:lnTo>
                  <a:lnTo>
                    <a:pt x="897" y="317"/>
                  </a:lnTo>
                  <a:lnTo>
                    <a:pt x="902" y="322"/>
                  </a:lnTo>
                  <a:lnTo>
                    <a:pt x="911" y="338"/>
                  </a:lnTo>
                  <a:lnTo>
                    <a:pt x="918" y="334"/>
                  </a:lnTo>
                  <a:lnTo>
                    <a:pt x="928" y="300"/>
                  </a:lnTo>
                  <a:lnTo>
                    <a:pt x="918" y="284"/>
                  </a:lnTo>
                  <a:lnTo>
                    <a:pt x="928" y="284"/>
                  </a:lnTo>
                  <a:lnTo>
                    <a:pt x="928" y="289"/>
                  </a:lnTo>
                  <a:lnTo>
                    <a:pt x="935" y="305"/>
                  </a:lnTo>
                  <a:lnTo>
                    <a:pt x="944" y="289"/>
                  </a:lnTo>
                  <a:lnTo>
                    <a:pt x="949" y="284"/>
                  </a:lnTo>
                  <a:lnTo>
                    <a:pt x="949" y="289"/>
                  </a:lnTo>
                  <a:lnTo>
                    <a:pt x="956" y="305"/>
                  </a:lnTo>
                  <a:lnTo>
                    <a:pt x="973" y="284"/>
                  </a:lnTo>
                  <a:lnTo>
                    <a:pt x="966" y="279"/>
                  </a:lnTo>
                  <a:lnTo>
                    <a:pt x="973" y="267"/>
                  </a:lnTo>
                  <a:lnTo>
                    <a:pt x="987" y="279"/>
                  </a:lnTo>
                  <a:lnTo>
                    <a:pt x="999" y="284"/>
                  </a:lnTo>
                  <a:lnTo>
                    <a:pt x="1011" y="284"/>
                  </a:lnTo>
                  <a:lnTo>
                    <a:pt x="1053" y="334"/>
                  </a:lnTo>
                  <a:lnTo>
                    <a:pt x="1063" y="338"/>
                  </a:lnTo>
                  <a:lnTo>
                    <a:pt x="1058" y="400"/>
                  </a:lnTo>
                  <a:lnTo>
                    <a:pt x="1063" y="378"/>
                  </a:lnTo>
                  <a:lnTo>
                    <a:pt x="1074" y="395"/>
                  </a:lnTo>
                  <a:lnTo>
                    <a:pt x="1063" y="371"/>
                  </a:lnTo>
                  <a:lnTo>
                    <a:pt x="1079" y="355"/>
                  </a:lnTo>
                  <a:lnTo>
                    <a:pt x="1079" y="362"/>
                  </a:lnTo>
                  <a:lnTo>
                    <a:pt x="1091" y="362"/>
                  </a:lnTo>
                  <a:lnTo>
                    <a:pt x="1079" y="345"/>
                  </a:lnTo>
                  <a:lnTo>
                    <a:pt x="1096" y="345"/>
                  </a:lnTo>
                  <a:lnTo>
                    <a:pt x="1133" y="355"/>
                  </a:lnTo>
                  <a:lnTo>
                    <a:pt x="1133" y="362"/>
                  </a:lnTo>
                  <a:lnTo>
                    <a:pt x="1133" y="378"/>
                  </a:lnTo>
                  <a:lnTo>
                    <a:pt x="1145" y="371"/>
                  </a:lnTo>
                  <a:lnTo>
                    <a:pt x="1145" y="355"/>
                  </a:lnTo>
                  <a:lnTo>
                    <a:pt x="1150" y="355"/>
                  </a:lnTo>
                  <a:lnTo>
                    <a:pt x="1171" y="378"/>
                  </a:lnTo>
                  <a:lnTo>
                    <a:pt x="1166" y="362"/>
                  </a:lnTo>
                  <a:lnTo>
                    <a:pt x="1171" y="345"/>
                  </a:lnTo>
                  <a:lnTo>
                    <a:pt x="1183" y="355"/>
                  </a:lnTo>
                  <a:lnTo>
                    <a:pt x="1188" y="345"/>
                  </a:lnTo>
                  <a:lnTo>
                    <a:pt x="1183" y="345"/>
                  </a:lnTo>
                  <a:lnTo>
                    <a:pt x="1171" y="345"/>
                  </a:lnTo>
                  <a:lnTo>
                    <a:pt x="1166" y="334"/>
                  </a:lnTo>
                  <a:lnTo>
                    <a:pt x="1183" y="334"/>
                  </a:lnTo>
                  <a:lnTo>
                    <a:pt x="1166" y="334"/>
                  </a:lnTo>
                  <a:lnTo>
                    <a:pt x="1150" y="322"/>
                  </a:lnTo>
                  <a:lnTo>
                    <a:pt x="1150" y="317"/>
                  </a:lnTo>
                  <a:lnTo>
                    <a:pt x="1162" y="300"/>
                  </a:lnTo>
                  <a:lnTo>
                    <a:pt x="1171" y="289"/>
                  </a:lnTo>
                  <a:lnTo>
                    <a:pt x="1188" y="251"/>
                  </a:lnTo>
                  <a:lnTo>
                    <a:pt x="1200" y="251"/>
                  </a:lnTo>
                  <a:lnTo>
                    <a:pt x="1214" y="234"/>
                  </a:lnTo>
                  <a:lnTo>
                    <a:pt x="1204" y="227"/>
                  </a:lnTo>
                  <a:lnTo>
                    <a:pt x="1204" y="211"/>
                  </a:lnTo>
                  <a:lnTo>
                    <a:pt x="1221" y="211"/>
                  </a:lnTo>
                  <a:lnTo>
                    <a:pt x="1221" y="189"/>
                  </a:lnTo>
                  <a:lnTo>
                    <a:pt x="1226" y="189"/>
                  </a:lnTo>
                  <a:lnTo>
                    <a:pt x="1242" y="194"/>
                  </a:lnTo>
                  <a:lnTo>
                    <a:pt x="1237" y="189"/>
                  </a:lnTo>
                  <a:lnTo>
                    <a:pt x="1237" y="173"/>
                  </a:lnTo>
                  <a:lnTo>
                    <a:pt x="1252" y="173"/>
                  </a:lnTo>
                  <a:lnTo>
                    <a:pt x="1259" y="189"/>
                  </a:lnTo>
                  <a:lnTo>
                    <a:pt x="1268" y="178"/>
                  </a:lnTo>
                  <a:lnTo>
                    <a:pt x="1252" y="173"/>
                  </a:lnTo>
                  <a:lnTo>
                    <a:pt x="1259" y="168"/>
                  </a:lnTo>
                  <a:lnTo>
                    <a:pt x="1268" y="173"/>
                  </a:lnTo>
                  <a:lnTo>
                    <a:pt x="1268" y="156"/>
                  </a:lnTo>
                  <a:lnTo>
                    <a:pt x="1296" y="168"/>
                  </a:lnTo>
                  <a:lnTo>
                    <a:pt x="1344" y="168"/>
                  </a:lnTo>
                  <a:lnTo>
                    <a:pt x="1360" y="156"/>
                  </a:lnTo>
                  <a:lnTo>
                    <a:pt x="1365" y="173"/>
                  </a:lnTo>
                  <a:lnTo>
                    <a:pt x="1365" y="156"/>
                  </a:lnTo>
                  <a:lnTo>
                    <a:pt x="1386" y="152"/>
                  </a:lnTo>
                  <a:lnTo>
                    <a:pt x="1381" y="152"/>
                  </a:lnTo>
                  <a:lnTo>
                    <a:pt x="1381" y="116"/>
                  </a:lnTo>
                  <a:lnTo>
                    <a:pt x="1365" y="100"/>
                  </a:lnTo>
                  <a:lnTo>
                    <a:pt x="1344" y="111"/>
                  </a:lnTo>
                  <a:lnTo>
                    <a:pt x="1334" y="95"/>
                  </a:lnTo>
                  <a:lnTo>
                    <a:pt x="1322" y="95"/>
                  </a:lnTo>
                  <a:lnTo>
                    <a:pt x="1334" y="78"/>
                  </a:lnTo>
                  <a:lnTo>
                    <a:pt x="1351" y="100"/>
                  </a:lnTo>
                  <a:lnTo>
                    <a:pt x="1351" y="95"/>
                  </a:lnTo>
                  <a:lnTo>
                    <a:pt x="1344" y="78"/>
                  </a:lnTo>
                  <a:lnTo>
                    <a:pt x="1360" y="78"/>
                  </a:lnTo>
                  <a:lnTo>
                    <a:pt x="1381" y="111"/>
                  </a:lnTo>
                  <a:lnTo>
                    <a:pt x="1398" y="95"/>
                  </a:lnTo>
                  <a:lnTo>
                    <a:pt x="1419" y="123"/>
                  </a:lnTo>
                  <a:lnTo>
                    <a:pt x="1431" y="116"/>
                  </a:lnTo>
                  <a:lnTo>
                    <a:pt x="1452" y="133"/>
                  </a:lnTo>
                  <a:lnTo>
                    <a:pt x="1469" y="123"/>
                  </a:lnTo>
                  <a:lnTo>
                    <a:pt x="1469" y="133"/>
                  </a:lnTo>
                  <a:lnTo>
                    <a:pt x="1474" y="133"/>
                  </a:lnTo>
                  <a:lnTo>
                    <a:pt x="1485" y="133"/>
                  </a:lnTo>
                  <a:lnTo>
                    <a:pt x="1490" y="152"/>
                  </a:lnTo>
                  <a:lnTo>
                    <a:pt x="1528" y="140"/>
                  </a:lnTo>
                  <a:lnTo>
                    <a:pt x="1537" y="152"/>
                  </a:lnTo>
                  <a:lnTo>
                    <a:pt x="1561" y="168"/>
                  </a:lnTo>
                  <a:lnTo>
                    <a:pt x="1566" y="152"/>
                  </a:lnTo>
                  <a:lnTo>
                    <a:pt x="1592" y="152"/>
                  </a:lnTo>
                  <a:lnTo>
                    <a:pt x="1592" y="140"/>
                  </a:lnTo>
                  <a:lnTo>
                    <a:pt x="1599" y="140"/>
                  </a:lnTo>
                  <a:lnTo>
                    <a:pt x="1613" y="123"/>
                  </a:lnTo>
                  <a:lnTo>
                    <a:pt x="1599" y="140"/>
                  </a:lnTo>
                  <a:lnTo>
                    <a:pt x="1599" y="152"/>
                  </a:lnTo>
                  <a:lnTo>
                    <a:pt x="1592" y="156"/>
                  </a:lnTo>
                  <a:lnTo>
                    <a:pt x="1599" y="168"/>
                  </a:lnTo>
                  <a:lnTo>
                    <a:pt x="1620" y="152"/>
                  </a:lnTo>
                  <a:lnTo>
                    <a:pt x="1613" y="156"/>
                  </a:lnTo>
                  <a:lnTo>
                    <a:pt x="1620" y="156"/>
                  </a:lnTo>
                  <a:lnTo>
                    <a:pt x="1613" y="173"/>
                  </a:lnTo>
                  <a:lnTo>
                    <a:pt x="1620" y="178"/>
                  </a:lnTo>
                  <a:lnTo>
                    <a:pt x="1637" y="173"/>
                  </a:lnTo>
                  <a:lnTo>
                    <a:pt x="1646" y="156"/>
                  </a:lnTo>
                  <a:lnTo>
                    <a:pt x="1629" y="156"/>
                  </a:lnTo>
                  <a:lnTo>
                    <a:pt x="1658" y="140"/>
                  </a:lnTo>
                  <a:lnTo>
                    <a:pt x="1658" y="168"/>
                  </a:lnTo>
                  <a:lnTo>
                    <a:pt x="1674" y="156"/>
                  </a:lnTo>
                  <a:lnTo>
                    <a:pt x="1684" y="173"/>
                  </a:lnTo>
                  <a:lnTo>
                    <a:pt x="1667" y="178"/>
                  </a:lnTo>
                  <a:lnTo>
                    <a:pt x="1658" y="206"/>
                  </a:lnTo>
                  <a:lnTo>
                    <a:pt x="1651" y="194"/>
                  </a:lnTo>
                  <a:lnTo>
                    <a:pt x="1651" y="222"/>
                  </a:lnTo>
                  <a:lnTo>
                    <a:pt x="1651" y="234"/>
                  </a:lnTo>
                  <a:lnTo>
                    <a:pt x="1646" y="234"/>
                  </a:lnTo>
                  <a:lnTo>
                    <a:pt x="1646" y="222"/>
                  </a:lnTo>
                  <a:lnTo>
                    <a:pt x="1629" y="234"/>
                  </a:lnTo>
                  <a:lnTo>
                    <a:pt x="1620" y="227"/>
                  </a:lnTo>
                  <a:lnTo>
                    <a:pt x="1613" y="234"/>
                  </a:lnTo>
                  <a:lnTo>
                    <a:pt x="1603" y="260"/>
                  </a:lnTo>
                  <a:lnTo>
                    <a:pt x="1603" y="267"/>
                  </a:lnTo>
                  <a:lnTo>
                    <a:pt x="1620" y="267"/>
                  </a:lnTo>
                  <a:lnTo>
                    <a:pt x="1603" y="305"/>
                  </a:lnTo>
                  <a:lnTo>
                    <a:pt x="1592" y="322"/>
                  </a:lnTo>
                  <a:lnTo>
                    <a:pt x="1582" y="338"/>
                  </a:lnTo>
                  <a:lnTo>
                    <a:pt x="1575" y="338"/>
                  </a:lnTo>
                  <a:lnTo>
                    <a:pt x="1575" y="355"/>
                  </a:lnTo>
                  <a:lnTo>
                    <a:pt x="1629" y="395"/>
                  </a:lnTo>
                  <a:lnTo>
                    <a:pt x="1637" y="400"/>
                  </a:lnTo>
                  <a:lnTo>
                    <a:pt x="1667" y="428"/>
                  </a:lnTo>
                  <a:lnTo>
                    <a:pt x="1689" y="428"/>
                  </a:lnTo>
                  <a:lnTo>
                    <a:pt x="1738" y="456"/>
                  </a:lnTo>
                  <a:lnTo>
                    <a:pt x="1764" y="489"/>
                  </a:lnTo>
                  <a:lnTo>
                    <a:pt x="1830" y="506"/>
                  </a:lnTo>
                  <a:lnTo>
                    <a:pt x="1847" y="539"/>
                  </a:lnTo>
                  <a:lnTo>
                    <a:pt x="1901" y="560"/>
                  </a:lnTo>
                  <a:lnTo>
                    <a:pt x="1927" y="560"/>
                  </a:lnTo>
                  <a:lnTo>
                    <a:pt x="1953" y="544"/>
                  </a:lnTo>
                  <a:lnTo>
                    <a:pt x="1960" y="511"/>
                  </a:lnTo>
                  <a:lnTo>
                    <a:pt x="1981" y="482"/>
                  </a:lnTo>
                  <a:lnTo>
                    <a:pt x="1998" y="445"/>
                  </a:lnTo>
                  <a:lnTo>
                    <a:pt x="1998" y="400"/>
                  </a:lnTo>
                  <a:lnTo>
                    <a:pt x="2012" y="362"/>
                  </a:lnTo>
                  <a:lnTo>
                    <a:pt x="2007" y="322"/>
                  </a:lnTo>
                  <a:lnTo>
                    <a:pt x="2007" y="300"/>
                  </a:lnTo>
                  <a:lnTo>
                    <a:pt x="1998" y="279"/>
                  </a:lnTo>
                  <a:lnTo>
                    <a:pt x="2012" y="234"/>
                  </a:lnTo>
                  <a:lnTo>
                    <a:pt x="2007" y="211"/>
                  </a:lnTo>
                  <a:lnTo>
                    <a:pt x="2024" y="194"/>
                  </a:lnTo>
                  <a:lnTo>
                    <a:pt x="2029" y="206"/>
                  </a:lnTo>
                  <a:lnTo>
                    <a:pt x="2024" y="178"/>
                  </a:lnTo>
                  <a:lnTo>
                    <a:pt x="2012" y="173"/>
                  </a:lnTo>
                  <a:lnTo>
                    <a:pt x="2012" y="178"/>
                  </a:lnTo>
                  <a:lnTo>
                    <a:pt x="2007" y="178"/>
                  </a:lnTo>
                  <a:lnTo>
                    <a:pt x="2029" y="140"/>
                  </a:lnTo>
                  <a:lnTo>
                    <a:pt x="2029" y="152"/>
                  </a:lnTo>
                  <a:lnTo>
                    <a:pt x="2036" y="152"/>
                  </a:lnTo>
                  <a:lnTo>
                    <a:pt x="2029" y="140"/>
                  </a:lnTo>
                  <a:lnTo>
                    <a:pt x="2045" y="95"/>
                  </a:lnTo>
                  <a:lnTo>
                    <a:pt x="2045" y="67"/>
                  </a:lnTo>
                  <a:lnTo>
                    <a:pt x="2062" y="62"/>
                  </a:lnTo>
                  <a:lnTo>
                    <a:pt x="2066" y="45"/>
                  </a:lnTo>
                  <a:lnTo>
                    <a:pt x="2078" y="57"/>
                  </a:lnTo>
                  <a:lnTo>
                    <a:pt x="2066" y="67"/>
                  </a:lnTo>
                  <a:lnTo>
                    <a:pt x="2078" y="62"/>
                  </a:lnTo>
                  <a:lnTo>
                    <a:pt x="2088" y="78"/>
                  </a:lnTo>
                  <a:lnTo>
                    <a:pt x="2100" y="133"/>
                  </a:lnTo>
                  <a:lnTo>
                    <a:pt x="2121" y="140"/>
                  </a:lnTo>
                  <a:lnTo>
                    <a:pt x="2116" y="168"/>
                  </a:lnTo>
                  <a:lnTo>
                    <a:pt x="2133" y="173"/>
                  </a:lnTo>
                  <a:lnTo>
                    <a:pt x="2133" y="178"/>
                  </a:lnTo>
                  <a:lnTo>
                    <a:pt x="2137" y="189"/>
                  </a:lnTo>
                  <a:lnTo>
                    <a:pt x="2133" y="206"/>
                  </a:lnTo>
                  <a:lnTo>
                    <a:pt x="2142" y="206"/>
                  </a:lnTo>
                  <a:lnTo>
                    <a:pt x="2142" y="251"/>
                  </a:lnTo>
                  <a:lnTo>
                    <a:pt x="2142" y="267"/>
                  </a:lnTo>
                  <a:lnTo>
                    <a:pt x="2159" y="322"/>
                  </a:lnTo>
                  <a:lnTo>
                    <a:pt x="2175" y="322"/>
                  </a:lnTo>
                  <a:lnTo>
                    <a:pt x="2213" y="300"/>
                  </a:lnTo>
                  <a:lnTo>
                    <a:pt x="2225" y="334"/>
                  </a:lnTo>
                  <a:lnTo>
                    <a:pt x="2239" y="334"/>
                  </a:lnTo>
                  <a:lnTo>
                    <a:pt x="2246" y="345"/>
                  </a:lnTo>
                  <a:lnTo>
                    <a:pt x="2267" y="355"/>
                  </a:lnTo>
                  <a:lnTo>
                    <a:pt x="2263" y="371"/>
                  </a:lnTo>
                  <a:lnTo>
                    <a:pt x="2263" y="395"/>
                  </a:lnTo>
                  <a:lnTo>
                    <a:pt x="2277" y="445"/>
                  </a:lnTo>
                  <a:lnTo>
                    <a:pt x="2277" y="473"/>
                  </a:lnTo>
                  <a:lnTo>
                    <a:pt x="2305" y="506"/>
                  </a:lnTo>
                  <a:lnTo>
                    <a:pt x="2315" y="506"/>
                  </a:lnTo>
                  <a:lnTo>
                    <a:pt x="2305" y="511"/>
                  </a:lnTo>
                  <a:lnTo>
                    <a:pt x="2322" y="560"/>
                  </a:lnTo>
                  <a:lnTo>
                    <a:pt x="2315" y="600"/>
                  </a:lnTo>
                  <a:lnTo>
                    <a:pt x="2338" y="622"/>
                  </a:lnTo>
                  <a:lnTo>
                    <a:pt x="2338" y="650"/>
                  </a:lnTo>
                  <a:lnTo>
                    <a:pt x="2352" y="671"/>
                  </a:lnTo>
                  <a:lnTo>
                    <a:pt x="2402" y="688"/>
                  </a:lnTo>
                  <a:lnTo>
                    <a:pt x="2414" y="688"/>
                  </a:lnTo>
                  <a:lnTo>
                    <a:pt x="2414" y="676"/>
                  </a:lnTo>
                  <a:lnTo>
                    <a:pt x="2428" y="721"/>
                  </a:lnTo>
                  <a:lnTo>
                    <a:pt x="2440" y="721"/>
                  </a:lnTo>
                  <a:lnTo>
                    <a:pt x="2440" y="711"/>
                  </a:lnTo>
                  <a:lnTo>
                    <a:pt x="2444" y="711"/>
                  </a:lnTo>
                  <a:lnTo>
                    <a:pt x="2444" y="728"/>
                  </a:lnTo>
                  <a:lnTo>
                    <a:pt x="2466" y="728"/>
                  </a:lnTo>
                  <a:lnTo>
                    <a:pt x="2482" y="749"/>
                  </a:lnTo>
                  <a:lnTo>
                    <a:pt x="2494" y="733"/>
                  </a:lnTo>
                  <a:lnTo>
                    <a:pt x="2515" y="749"/>
                  </a:lnTo>
                  <a:lnTo>
                    <a:pt x="2520" y="778"/>
                  </a:lnTo>
                  <a:lnTo>
                    <a:pt x="2515" y="766"/>
                  </a:lnTo>
                  <a:lnTo>
                    <a:pt x="2511" y="782"/>
                  </a:lnTo>
                  <a:lnTo>
                    <a:pt x="2515" y="799"/>
                  </a:lnTo>
                  <a:lnTo>
                    <a:pt x="2548" y="815"/>
                  </a:lnTo>
                  <a:lnTo>
                    <a:pt x="2548" y="832"/>
                  </a:lnTo>
                  <a:lnTo>
                    <a:pt x="2565" y="856"/>
                  </a:lnTo>
                  <a:lnTo>
                    <a:pt x="2565" y="893"/>
                  </a:lnTo>
                  <a:lnTo>
                    <a:pt x="2574" y="910"/>
                  </a:lnTo>
                  <a:lnTo>
                    <a:pt x="2574" y="926"/>
                  </a:lnTo>
                  <a:lnTo>
                    <a:pt x="2586" y="910"/>
                  </a:lnTo>
                  <a:lnTo>
                    <a:pt x="2603" y="931"/>
                  </a:lnTo>
                  <a:lnTo>
                    <a:pt x="2591" y="910"/>
                  </a:lnTo>
                  <a:lnTo>
                    <a:pt x="2603" y="893"/>
                  </a:lnTo>
                  <a:lnTo>
                    <a:pt x="2607" y="915"/>
                  </a:lnTo>
                  <a:lnTo>
                    <a:pt x="2638" y="926"/>
                  </a:lnTo>
                  <a:lnTo>
                    <a:pt x="2638" y="910"/>
                  </a:lnTo>
                  <a:lnTo>
                    <a:pt x="2655" y="943"/>
                  </a:lnTo>
                  <a:lnTo>
                    <a:pt x="2655" y="971"/>
                  </a:lnTo>
                  <a:lnTo>
                    <a:pt x="2662" y="1000"/>
                  </a:lnTo>
                  <a:lnTo>
                    <a:pt x="2671" y="1004"/>
                  </a:lnTo>
                  <a:lnTo>
                    <a:pt x="2676" y="1021"/>
                  </a:lnTo>
                  <a:lnTo>
                    <a:pt x="2709" y="1042"/>
                  </a:lnTo>
                  <a:lnTo>
                    <a:pt x="2714" y="1037"/>
                  </a:lnTo>
                  <a:lnTo>
                    <a:pt x="2730" y="1054"/>
                  </a:lnTo>
                  <a:lnTo>
                    <a:pt x="2747" y="1082"/>
                  </a:lnTo>
                  <a:lnTo>
                    <a:pt x="2768" y="1099"/>
                  </a:lnTo>
                  <a:lnTo>
                    <a:pt x="2785" y="1132"/>
                  </a:lnTo>
                  <a:lnTo>
                    <a:pt x="2801" y="1137"/>
                  </a:lnTo>
                  <a:lnTo>
                    <a:pt x="2801" y="1170"/>
                  </a:lnTo>
                  <a:lnTo>
                    <a:pt x="2822" y="1186"/>
                  </a:lnTo>
                  <a:lnTo>
                    <a:pt x="2818" y="1210"/>
                  </a:lnTo>
                  <a:lnTo>
                    <a:pt x="2818" y="1276"/>
                  </a:lnTo>
                  <a:lnTo>
                    <a:pt x="2806" y="1281"/>
                  </a:lnTo>
                  <a:lnTo>
                    <a:pt x="2806" y="1293"/>
                  </a:lnTo>
                  <a:lnTo>
                    <a:pt x="2822" y="1304"/>
                  </a:lnTo>
                  <a:lnTo>
                    <a:pt x="2851" y="1370"/>
                  </a:lnTo>
                  <a:lnTo>
                    <a:pt x="2851" y="1408"/>
                  </a:lnTo>
                  <a:lnTo>
                    <a:pt x="2834" y="1448"/>
                  </a:lnTo>
                  <a:lnTo>
                    <a:pt x="2822" y="1498"/>
                  </a:lnTo>
                  <a:lnTo>
                    <a:pt x="2806" y="1543"/>
                  </a:lnTo>
                  <a:lnTo>
                    <a:pt x="2818" y="1576"/>
                  </a:lnTo>
                  <a:lnTo>
                    <a:pt x="2801" y="1630"/>
                  </a:lnTo>
                  <a:lnTo>
                    <a:pt x="2780" y="1670"/>
                  </a:lnTo>
                  <a:lnTo>
                    <a:pt x="2780" y="1692"/>
                  </a:lnTo>
                  <a:lnTo>
                    <a:pt x="2747" y="1720"/>
                  </a:lnTo>
                  <a:lnTo>
                    <a:pt x="2747" y="1725"/>
                  </a:lnTo>
                  <a:lnTo>
                    <a:pt x="2726" y="1737"/>
                  </a:lnTo>
                  <a:lnTo>
                    <a:pt x="2709" y="1765"/>
                  </a:lnTo>
                  <a:lnTo>
                    <a:pt x="2700" y="1765"/>
                  </a:lnTo>
                  <a:lnTo>
                    <a:pt x="2700" y="1774"/>
                  </a:lnTo>
                  <a:lnTo>
                    <a:pt x="2692" y="1791"/>
                  </a:lnTo>
                  <a:lnTo>
                    <a:pt x="2688" y="1819"/>
                  </a:lnTo>
                  <a:lnTo>
                    <a:pt x="2676" y="1819"/>
                  </a:lnTo>
                  <a:lnTo>
                    <a:pt x="2688" y="1831"/>
                  </a:lnTo>
                  <a:lnTo>
                    <a:pt x="2662" y="1848"/>
                  </a:lnTo>
                  <a:lnTo>
                    <a:pt x="2655" y="1885"/>
                  </a:lnTo>
                  <a:lnTo>
                    <a:pt x="2645" y="1893"/>
                  </a:lnTo>
                  <a:lnTo>
                    <a:pt x="2655" y="1909"/>
                  </a:lnTo>
                  <a:lnTo>
                    <a:pt x="2645" y="1909"/>
                  </a:lnTo>
                  <a:lnTo>
                    <a:pt x="2645" y="1914"/>
                  </a:lnTo>
                  <a:lnTo>
                    <a:pt x="2638" y="1926"/>
                  </a:lnTo>
                  <a:lnTo>
                    <a:pt x="2607" y="1980"/>
                  </a:lnTo>
                  <a:lnTo>
                    <a:pt x="2607" y="2013"/>
                  </a:lnTo>
                  <a:lnTo>
                    <a:pt x="2591" y="2058"/>
                  </a:lnTo>
                  <a:lnTo>
                    <a:pt x="2603" y="2079"/>
                  </a:lnTo>
                  <a:lnTo>
                    <a:pt x="2591" y="2091"/>
                  </a:lnTo>
                  <a:lnTo>
                    <a:pt x="2591" y="2107"/>
                  </a:lnTo>
                  <a:lnTo>
                    <a:pt x="2565" y="2129"/>
                  </a:lnTo>
                  <a:lnTo>
                    <a:pt x="2477" y="2136"/>
                  </a:lnTo>
                  <a:lnTo>
                    <a:pt x="2440" y="2145"/>
                  </a:lnTo>
                  <a:lnTo>
                    <a:pt x="2376" y="2202"/>
                  </a:lnTo>
                  <a:lnTo>
                    <a:pt x="2331" y="2207"/>
                  </a:lnTo>
                  <a:lnTo>
                    <a:pt x="2338" y="2223"/>
                  </a:lnTo>
                  <a:lnTo>
                    <a:pt x="2352" y="2219"/>
                  </a:lnTo>
                  <a:lnTo>
                    <a:pt x="2352" y="2240"/>
                  </a:lnTo>
                  <a:lnTo>
                    <a:pt x="2348" y="2247"/>
                  </a:lnTo>
                  <a:lnTo>
                    <a:pt x="2348" y="2247"/>
                  </a:lnTo>
                  <a:lnTo>
                    <a:pt x="2348" y="2247"/>
                  </a:lnTo>
                  <a:close/>
                  <a:moveTo>
                    <a:pt x="1651" y="100"/>
                  </a:moveTo>
                  <a:lnTo>
                    <a:pt x="1667" y="67"/>
                  </a:lnTo>
                  <a:lnTo>
                    <a:pt x="1667" y="83"/>
                  </a:lnTo>
                  <a:lnTo>
                    <a:pt x="1651" y="100"/>
                  </a:lnTo>
                  <a:lnTo>
                    <a:pt x="1651" y="100"/>
                  </a:lnTo>
                  <a:lnTo>
                    <a:pt x="1651" y="100"/>
                  </a:lnTo>
                  <a:close/>
                  <a:moveTo>
                    <a:pt x="1377" y="95"/>
                  </a:moveTo>
                  <a:lnTo>
                    <a:pt x="1377" y="67"/>
                  </a:lnTo>
                  <a:lnTo>
                    <a:pt x="1377" y="95"/>
                  </a:lnTo>
                  <a:lnTo>
                    <a:pt x="1377" y="95"/>
                  </a:lnTo>
                  <a:lnTo>
                    <a:pt x="1377" y="95"/>
                  </a:lnTo>
                  <a:close/>
                  <a:moveTo>
                    <a:pt x="1268" y="140"/>
                  </a:moveTo>
                  <a:lnTo>
                    <a:pt x="1226" y="116"/>
                  </a:lnTo>
                  <a:lnTo>
                    <a:pt x="1221" y="83"/>
                  </a:lnTo>
                  <a:lnTo>
                    <a:pt x="1242" y="100"/>
                  </a:lnTo>
                  <a:lnTo>
                    <a:pt x="1275" y="83"/>
                  </a:lnTo>
                  <a:lnTo>
                    <a:pt x="1280" y="100"/>
                  </a:lnTo>
                  <a:lnTo>
                    <a:pt x="1280" y="83"/>
                  </a:lnTo>
                  <a:lnTo>
                    <a:pt x="1306" y="100"/>
                  </a:lnTo>
                  <a:lnTo>
                    <a:pt x="1289" y="123"/>
                  </a:lnTo>
                  <a:lnTo>
                    <a:pt x="1268" y="140"/>
                  </a:lnTo>
                  <a:lnTo>
                    <a:pt x="1268" y="140"/>
                  </a:lnTo>
                  <a:lnTo>
                    <a:pt x="1268" y="140"/>
                  </a:lnTo>
                  <a:close/>
                  <a:moveTo>
                    <a:pt x="1226" y="133"/>
                  </a:moveTo>
                  <a:lnTo>
                    <a:pt x="1200" y="123"/>
                  </a:lnTo>
                  <a:lnTo>
                    <a:pt x="1204" y="116"/>
                  </a:lnTo>
                  <a:lnTo>
                    <a:pt x="1214" y="116"/>
                  </a:lnTo>
                  <a:lnTo>
                    <a:pt x="1214" y="95"/>
                  </a:lnTo>
                  <a:lnTo>
                    <a:pt x="1221" y="95"/>
                  </a:lnTo>
                  <a:lnTo>
                    <a:pt x="1226" y="116"/>
                  </a:lnTo>
                  <a:lnTo>
                    <a:pt x="1242" y="123"/>
                  </a:lnTo>
                  <a:lnTo>
                    <a:pt x="1226" y="133"/>
                  </a:lnTo>
                  <a:lnTo>
                    <a:pt x="1226" y="133"/>
                  </a:lnTo>
                  <a:lnTo>
                    <a:pt x="1226" y="133"/>
                  </a:lnTo>
                  <a:close/>
                  <a:moveTo>
                    <a:pt x="1377" y="123"/>
                  </a:moveTo>
                  <a:lnTo>
                    <a:pt x="1377" y="116"/>
                  </a:lnTo>
                  <a:lnTo>
                    <a:pt x="1381" y="116"/>
                  </a:lnTo>
                  <a:lnTo>
                    <a:pt x="1377" y="123"/>
                  </a:lnTo>
                  <a:lnTo>
                    <a:pt x="1377" y="123"/>
                  </a:lnTo>
                  <a:lnTo>
                    <a:pt x="1377" y="123"/>
                  </a:lnTo>
                  <a:close/>
                  <a:moveTo>
                    <a:pt x="1613" y="123"/>
                  </a:moveTo>
                  <a:lnTo>
                    <a:pt x="1613" y="116"/>
                  </a:lnTo>
                  <a:lnTo>
                    <a:pt x="1620" y="116"/>
                  </a:lnTo>
                  <a:lnTo>
                    <a:pt x="1613" y="123"/>
                  </a:lnTo>
                  <a:lnTo>
                    <a:pt x="1613" y="123"/>
                  </a:lnTo>
                  <a:lnTo>
                    <a:pt x="1613" y="123"/>
                  </a:lnTo>
                  <a:close/>
                  <a:moveTo>
                    <a:pt x="1684" y="300"/>
                  </a:moveTo>
                  <a:lnTo>
                    <a:pt x="1674" y="305"/>
                  </a:lnTo>
                  <a:lnTo>
                    <a:pt x="1646" y="305"/>
                  </a:lnTo>
                  <a:lnTo>
                    <a:pt x="1651" y="279"/>
                  </a:lnTo>
                  <a:lnTo>
                    <a:pt x="1658" y="279"/>
                  </a:lnTo>
                  <a:lnTo>
                    <a:pt x="1667" y="267"/>
                  </a:lnTo>
                  <a:lnTo>
                    <a:pt x="1667" y="279"/>
                  </a:lnTo>
                  <a:lnTo>
                    <a:pt x="1674" y="279"/>
                  </a:lnTo>
                  <a:lnTo>
                    <a:pt x="1674" y="267"/>
                  </a:lnTo>
                  <a:lnTo>
                    <a:pt x="1684" y="279"/>
                  </a:lnTo>
                  <a:lnTo>
                    <a:pt x="1667" y="284"/>
                  </a:lnTo>
                  <a:lnTo>
                    <a:pt x="1667" y="300"/>
                  </a:lnTo>
                  <a:lnTo>
                    <a:pt x="1684" y="300"/>
                  </a:lnTo>
                  <a:lnTo>
                    <a:pt x="1684" y="300"/>
                  </a:lnTo>
                  <a:lnTo>
                    <a:pt x="1684" y="300"/>
                  </a:lnTo>
                  <a:close/>
                  <a:moveTo>
                    <a:pt x="1629" y="279"/>
                  </a:moveTo>
                  <a:lnTo>
                    <a:pt x="1620" y="279"/>
                  </a:lnTo>
                  <a:lnTo>
                    <a:pt x="1629" y="267"/>
                  </a:lnTo>
                  <a:lnTo>
                    <a:pt x="1637" y="267"/>
                  </a:lnTo>
                  <a:lnTo>
                    <a:pt x="1629" y="279"/>
                  </a:lnTo>
                  <a:lnTo>
                    <a:pt x="1629" y="279"/>
                  </a:lnTo>
                  <a:lnTo>
                    <a:pt x="1629" y="279"/>
                  </a:lnTo>
                  <a:close/>
                  <a:moveTo>
                    <a:pt x="859" y="338"/>
                  </a:moveTo>
                  <a:lnTo>
                    <a:pt x="848" y="334"/>
                  </a:lnTo>
                  <a:lnTo>
                    <a:pt x="859" y="322"/>
                  </a:lnTo>
                  <a:lnTo>
                    <a:pt x="859" y="338"/>
                  </a:lnTo>
                  <a:lnTo>
                    <a:pt x="859" y="338"/>
                  </a:lnTo>
                  <a:lnTo>
                    <a:pt x="859" y="338"/>
                  </a:lnTo>
                  <a:close/>
                  <a:moveTo>
                    <a:pt x="810" y="395"/>
                  </a:moveTo>
                  <a:lnTo>
                    <a:pt x="805" y="388"/>
                  </a:lnTo>
                  <a:lnTo>
                    <a:pt x="810" y="378"/>
                  </a:lnTo>
                  <a:lnTo>
                    <a:pt x="822" y="395"/>
                  </a:lnTo>
                  <a:lnTo>
                    <a:pt x="810" y="395"/>
                  </a:lnTo>
                  <a:lnTo>
                    <a:pt x="810" y="395"/>
                  </a:lnTo>
                  <a:lnTo>
                    <a:pt x="810" y="395"/>
                  </a:lnTo>
                  <a:close/>
                  <a:moveTo>
                    <a:pt x="1651" y="411"/>
                  </a:moveTo>
                  <a:lnTo>
                    <a:pt x="1651" y="400"/>
                  </a:lnTo>
                  <a:lnTo>
                    <a:pt x="1658" y="400"/>
                  </a:lnTo>
                  <a:lnTo>
                    <a:pt x="1651" y="411"/>
                  </a:lnTo>
                  <a:lnTo>
                    <a:pt x="1651" y="411"/>
                  </a:lnTo>
                  <a:lnTo>
                    <a:pt x="1651" y="411"/>
                  </a:lnTo>
                  <a:close/>
                  <a:moveTo>
                    <a:pt x="1689" y="428"/>
                  </a:moveTo>
                  <a:lnTo>
                    <a:pt x="1684" y="411"/>
                  </a:lnTo>
                  <a:lnTo>
                    <a:pt x="1689" y="400"/>
                  </a:lnTo>
                  <a:lnTo>
                    <a:pt x="1689" y="428"/>
                  </a:lnTo>
                  <a:lnTo>
                    <a:pt x="1689" y="428"/>
                  </a:lnTo>
                  <a:lnTo>
                    <a:pt x="1689" y="428"/>
                  </a:lnTo>
                  <a:close/>
                  <a:moveTo>
                    <a:pt x="1667" y="416"/>
                  </a:moveTo>
                  <a:lnTo>
                    <a:pt x="1667" y="411"/>
                  </a:lnTo>
                  <a:lnTo>
                    <a:pt x="1674" y="411"/>
                  </a:lnTo>
                  <a:lnTo>
                    <a:pt x="1667" y="416"/>
                  </a:lnTo>
                  <a:lnTo>
                    <a:pt x="1667" y="416"/>
                  </a:lnTo>
                  <a:lnTo>
                    <a:pt x="1667" y="416"/>
                  </a:lnTo>
                  <a:close/>
                  <a:moveTo>
                    <a:pt x="1835" y="489"/>
                  </a:moveTo>
                  <a:lnTo>
                    <a:pt x="1835" y="482"/>
                  </a:lnTo>
                  <a:lnTo>
                    <a:pt x="1847" y="473"/>
                  </a:lnTo>
                  <a:lnTo>
                    <a:pt x="1873" y="466"/>
                  </a:lnTo>
                  <a:lnTo>
                    <a:pt x="1873" y="473"/>
                  </a:lnTo>
                  <a:lnTo>
                    <a:pt x="1863" y="473"/>
                  </a:lnTo>
                  <a:lnTo>
                    <a:pt x="1863" y="489"/>
                  </a:lnTo>
                  <a:lnTo>
                    <a:pt x="1835" y="489"/>
                  </a:lnTo>
                  <a:lnTo>
                    <a:pt x="1835" y="489"/>
                  </a:lnTo>
                  <a:lnTo>
                    <a:pt x="1835" y="489"/>
                  </a:lnTo>
                  <a:close/>
                  <a:moveTo>
                    <a:pt x="1863" y="522"/>
                  </a:moveTo>
                  <a:lnTo>
                    <a:pt x="1852" y="511"/>
                  </a:lnTo>
                  <a:lnTo>
                    <a:pt x="1868" y="511"/>
                  </a:lnTo>
                  <a:lnTo>
                    <a:pt x="1868" y="522"/>
                  </a:lnTo>
                  <a:lnTo>
                    <a:pt x="1863" y="522"/>
                  </a:lnTo>
                  <a:lnTo>
                    <a:pt x="1863" y="522"/>
                  </a:lnTo>
                  <a:lnTo>
                    <a:pt x="1863" y="522"/>
                  </a:lnTo>
                  <a:close/>
                  <a:moveTo>
                    <a:pt x="2338" y="622"/>
                  </a:moveTo>
                  <a:lnTo>
                    <a:pt x="2322" y="600"/>
                  </a:lnTo>
                  <a:lnTo>
                    <a:pt x="2338" y="610"/>
                  </a:lnTo>
                  <a:lnTo>
                    <a:pt x="2348" y="617"/>
                  </a:lnTo>
                  <a:lnTo>
                    <a:pt x="2338" y="622"/>
                  </a:lnTo>
                  <a:lnTo>
                    <a:pt x="2338" y="622"/>
                  </a:lnTo>
                  <a:lnTo>
                    <a:pt x="2338" y="622"/>
                  </a:lnTo>
                  <a:close/>
                  <a:moveTo>
                    <a:pt x="2376" y="671"/>
                  </a:moveTo>
                  <a:lnTo>
                    <a:pt x="2369" y="671"/>
                  </a:lnTo>
                  <a:lnTo>
                    <a:pt x="2376" y="667"/>
                  </a:lnTo>
                  <a:lnTo>
                    <a:pt x="2376" y="671"/>
                  </a:lnTo>
                  <a:lnTo>
                    <a:pt x="2376" y="671"/>
                  </a:lnTo>
                  <a:lnTo>
                    <a:pt x="2376" y="671"/>
                  </a:lnTo>
                  <a:close/>
                  <a:moveTo>
                    <a:pt x="2520" y="749"/>
                  </a:moveTo>
                  <a:lnTo>
                    <a:pt x="2515" y="745"/>
                  </a:lnTo>
                  <a:lnTo>
                    <a:pt x="2520" y="733"/>
                  </a:lnTo>
                  <a:lnTo>
                    <a:pt x="2520" y="749"/>
                  </a:lnTo>
                  <a:lnTo>
                    <a:pt x="2520" y="749"/>
                  </a:lnTo>
                  <a:lnTo>
                    <a:pt x="2520" y="749"/>
                  </a:lnTo>
                  <a:close/>
                  <a:moveTo>
                    <a:pt x="2520" y="761"/>
                  </a:moveTo>
                  <a:lnTo>
                    <a:pt x="2520" y="745"/>
                  </a:lnTo>
                  <a:lnTo>
                    <a:pt x="2532" y="749"/>
                  </a:lnTo>
                  <a:lnTo>
                    <a:pt x="2520" y="761"/>
                  </a:lnTo>
                  <a:lnTo>
                    <a:pt x="2520" y="761"/>
                  </a:lnTo>
                  <a:lnTo>
                    <a:pt x="2520" y="761"/>
                  </a:lnTo>
                  <a:close/>
                  <a:moveTo>
                    <a:pt x="172" y="799"/>
                  </a:moveTo>
                  <a:lnTo>
                    <a:pt x="163" y="799"/>
                  </a:lnTo>
                  <a:lnTo>
                    <a:pt x="179" y="782"/>
                  </a:lnTo>
                  <a:lnTo>
                    <a:pt x="172" y="799"/>
                  </a:lnTo>
                  <a:lnTo>
                    <a:pt x="172" y="799"/>
                  </a:lnTo>
                  <a:lnTo>
                    <a:pt x="172" y="799"/>
                  </a:lnTo>
                  <a:close/>
                  <a:moveTo>
                    <a:pt x="2629" y="910"/>
                  </a:moveTo>
                  <a:lnTo>
                    <a:pt x="2629" y="905"/>
                  </a:lnTo>
                  <a:lnTo>
                    <a:pt x="2638" y="910"/>
                  </a:lnTo>
                  <a:lnTo>
                    <a:pt x="2629" y="910"/>
                  </a:lnTo>
                  <a:lnTo>
                    <a:pt x="2629" y="910"/>
                  </a:lnTo>
                  <a:lnTo>
                    <a:pt x="2629" y="910"/>
                  </a:lnTo>
                  <a:close/>
                  <a:moveTo>
                    <a:pt x="2688" y="1021"/>
                  </a:moveTo>
                  <a:lnTo>
                    <a:pt x="2671" y="1000"/>
                  </a:lnTo>
                  <a:lnTo>
                    <a:pt x="2688" y="1004"/>
                  </a:lnTo>
                  <a:lnTo>
                    <a:pt x="2692" y="1021"/>
                  </a:lnTo>
                  <a:lnTo>
                    <a:pt x="2688" y="1021"/>
                  </a:lnTo>
                  <a:lnTo>
                    <a:pt x="2688" y="1021"/>
                  </a:lnTo>
                  <a:lnTo>
                    <a:pt x="2688" y="1021"/>
                  </a:lnTo>
                  <a:close/>
                  <a:moveTo>
                    <a:pt x="2818" y="1170"/>
                  </a:moveTo>
                  <a:lnTo>
                    <a:pt x="2801" y="1153"/>
                  </a:lnTo>
                  <a:lnTo>
                    <a:pt x="2806" y="1132"/>
                  </a:lnTo>
                  <a:lnTo>
                    <a:pt x="2822" y="1115"/>
                  </a:lnTo>
                  <a:lnTo>
                    <a:pt x="2818" y="1099"/>
                  </a:lnTo>
                  <a:lnTo>
                    <a:pt x="2822" y="1094"/>
                  </a:lnTo>
                  <a:lnTo>
                    <a:pt x="2834" y="1115"/>
                  </a:lnTo>
                  <a:lnTo>
                    <a:pt x="2818" y="1170"/>
                  </a:lnTo>
                  <a:lnTo>
                    <a:pt x="2818" y="1170"/>
                  </a:lnTo>
                  <a:lnTo>
                    <a:pt x="2818" y="1170"/>
                  </a:lnTo>
                  <a:close/>
                  <a:moveTo>
                    <a:pt x="16" y="1203"/>
                  </a:moveTo>
                  <a:lnTo>
                    <a:pt x="0" y="1170"/>
                  </a:lnTo>
                  <a:lnTo>
                    <a:pt x="0" y="1148"/>
                  </a:lnTo>
                  <a:lnTo>
                    <a:pt x="16" y="1203"/>
                  </a:lnTo>
                  <a:lnTo>
                    <a:pt x="16" y="1203"/>
                  </a:lnTo>
                  <a:lnTo>
                    <a:pt x="16" y="1203"/>
                  </a:lnTo>
                  <a:close/>
                  <a:moveTo>
                    <a:pt x="2839" y="1297"/>
                  </a:moveTo>
                  <a:lnTo>
                    <a:pt x="2834" y="1276"/>
                  </a:lnTo>
                  <a:lnTo>
                    <a:pt x="2839" y="1264"/>
                  </a:lnTo>
                  <a:lnTo>
                    <a:pt x="2839" y="1297"/>
                  </a:lnTo>
                  <a:lnTo>
                    <a:pt x="2839" y="1297"/>
                  </a:lnTo>
                  <a:lnTo>
                    <a:pt x="2839" y="1297"/>
                  </a:lnTo>
                  <a:close/>
                  <a:moveTo>
                    <a:pt x="2839" y="1321"/>
                  </a:moveTo>
                  <a:lnTo>
                    <a:pt x="2839" y="1297"/>
                  </a:lnTo>
                  <a:lnTo>
                    <a:pt x="2851" y="1297"/>
                  </a:lnTo>
                  <a:lnTo>
                    <a:pt x="2839" y="1321"/>
                  </a:lnTo>
                  <a:lnTo>
                    <a:pt x="2839" y="1321"/>
                  </a:lnTo>
                  <a:lnTo>
                    <a:pt x="2839" y="1321"/>
                  </a:lnTo>
                  <a:close/>
                  <a:moveTo>
                    <a:pt x="1755" y="1963"/>
                  </a:moveTo>
                  <a:lnTo>
                    <a:pt x="1759" y="1963"/>
                  </a:lnTo>
                  <a:lnTo>
                    <a:pt x="1764" y="1968"/>
                  </a:lnTo>
                  <a:lnTo>
                    <a:pt x="1759" y="1980"/>
                  </a:lnTo>
                  <a:lnTo>
                    <a:pt x="1738" y="1968"/>
                  </a:lnTo>
                  <a:lnTo>
                    <a:pt x="1722" y="1996"/>
                  </a:lnTo>
                  <a:lnTo>
                    <a:pt x="1705" y="1980"/>
                  </a:lnTo>
                  <a:lnTo>
                    <a:pt x="1667" y="1985"/>
                  </a:lnTo>
                  <a:lnTo>
                    <a:pt x="1651" y="1980"/>
                  </a:lnTo>
                  <a:lnTo>
                    <a:pt x="1658" y="1963"/>
                  </a:lnTo>
                  <a:lnTo>
                    <a:pt x="1705" y="1947"/>
                  </a:lnTo>
                  <a:lnTo>
                    <a:pt x="1722" y="1959"/>
                  </a:lnTo>
                  <a:lnTo>
                    <a:pt x="1726" y="1963"/>
                  </a:lnTo>
                  <a:lnTo>
                    <a:pt x="1743" y="1968"/>
                  </a:lnTo>
                  <a:lnTo>
                    <a:pt x="1755" y="1963"/>
                  </a:lnTo>
                  <a:lnTo>
                    <a:pt x="1755" y="1963"/>
                  </a:lnTo>
                  <a:lnTo>
                    <a:pt x="1755" y="1963"/>
                  </a:lnTo>
                  <a:close/>
                  <a:moveTo>
                    <a:pt x="2267" y="2185"/>
                  </a:moveTo>
                  <a:lnTo>
                    <a:pt x="2267" y="2181"/>
                  </a:lnTo>
                  <a:lnTo>
                    <a:pt x="2284" y="2181"/>
                  </a:lnTo>
                  <a:lnTo>
                    <a:pt x="2267" y="2185"/>
                  </a:lnTo>
                  <a:lnTo>
                    <a:pt x="2267" y="2185"/>
                  </a:lnTo>
                  <a:lnTo>
                    <a:pt x="2267" y="2185"/>
                  </a:lnTo>
                  <a:close/>
                  <a:moveTo>
                    <a:pt x="2267" y="2202"/>
                  </a:moveTo>
                  <a:lnTo>
                    <a:pt x="2251" y="2190"/>
                  </a:lnTo>
                  <a:lnTo>
                    <a:pt x="2267" y="2185"/>
                  </a:lnTo>
                  <a:lnTo>
                    <a:pt x="2267" y="2202"/>
                  </a:lnTo>
                  <a:lnTo>
                    <a:pt x="2267" y="2202"/>
                  </a:lnTo>
                  <a:lnTo>
                    <a:pt x="2267" y="2202"/>
                  </a:lnTo>
                  <a:close/>
                  <a:moveTo>
                    <a:pt x="2352" y="2219"/>
                  </a:moveTo>
                  <a:lnTo>
                    <a:pt x="2359" y="2219"/>
                  </a:lnTo>
                  <a:lnTo>
                    <a:pt x="2352" y="2219"/>
                  </a:lnTo>
                  <a:lnTo>
                    <a:pt x="2352" y="2219"/>
                  </a:lnTo>
                  <a:lnTo>
                    <a:pt x="2352" y="2219"/>
                  </a:lnTo>
                  <a:close/>
                  <a:moveTo>
                    <a:pt x="2170" y="2330"/>
                  </a:moveTo>
                  <a:lnTo>
                    <a:pt x="2170" y="2301"/>
                  </a:lnTo>
                  <a:lnTo>
                    <a:pt x="2175" y="2280"/>
                  </a:lnTo>
                  <a:lnTo>
                    <a:pt x="2187" y="2289"/>
                  </a:lnTo>
                  <a:lnTo>
                    <a:pt x="2187" y="2313"/>
                  </a:lnTo>
                  <a:lnTo>
                    <a:pt x="2170" y="2330"/>
                  </a:lnTo>
                  <a:lnTo>
                    <a:pt x="2170" y="2330"/>
                  </a:lnTo>
                  <a:lnTo>
                    <a:pt x="2170" y="2330"/>
                  </a:lnTo>
                  <a:close/>
                  <a:moveTo>
                    <a:pt x="2466" y="2346"/>
                  </a:moveTo>
                  <a:lnTo>
                    <a:pt x="2440" y="2313"/>
                  </a:lnTo>
                  <a:lnTo>
                    <a:pt x="2444" y="2296"/>
                  </a:lnTo>
                  <a:lnTo>
                    <a:pt x="2456" y="2296"/>
                  </a:lnTo>
                  <a:lnTo>
                    <a:pt x="2477" y="2313"/>
                  </a:lnTo>
                  <a:lnTo>
                    <a:pt x="2477" y="2334"/>
                  </a:lnTo>
                  <a:lnTo>
                    <a:pt x="2466" y="2346"/>
                  </a:lnTo>
                  <a:lnTo>
                    <a:pt x="2466" y="2346"/>
                  </a:lnTo>
                  <a:lnTo>
                    <a:pt x="2466" y="2346"/>
                  </a:lnTo>
                  <a:close/>
                  <a:moveTo>
                    <a:pt x="2482" y="2363"/>
                  </a:moveTo>
                  <a:lnTo>
                    <a:pt x="2477" y="2351"/>
                  </a:lnTo>
                  <a:lnTo>
                    <a:pt x="2461" y="2363"/>
                  </a:lnTo>
                  <a:lnTo>
                    <a:pt x="2456" y="2351"/>
                  </a:lnTo>
                  <a:lnTo>
                    <a:pt x="2482" y="2346"/>
                  </a:lnTo>
                  <a:lnTo>
                    <a:pt x="2494" y="2351"/>
                  </a:lnTo>
                  <a:lnTo>
                    <a:pt x="2482" y="2363"/>
                  </a:lnTo>
                  <a:lnTo>
                    <a:pt x="2482" y="2363"/>
                  </a:lnTo>
                  <a:lnTo>
                    <a:pt x="2482" y="2363"/>
                  </a:lnTo>
                  <a:close/>
                  <a:moveTo>
                    <a:pt x="2239" y="2363"/>
                  </a:moveTo>
                  <a:lnTo>
                    <a:pt x="2239" y="2351"/>
                  </a:lnTo>
                  <a:lnTo>
                    <a:pt x="2246" y="2351"/>
                  </a:lnTo>
                  <a:lnTo>
                    <a:pt x="2239" y="2363"/>
                  </a:lnTo>
                  <a:lnTo>
                    <a:pt x="2239" y="2363"/>
                  </a:lnTo>
                  <a:lnTo>
                    <a:pt x="2239" y="2363"/>
                  </a:lnTo>
                  <a:close/>
                  <a:moveTo>
                    <a:pt x="2466" y="2367"/>
                  </a:moveTo>
                  <a:lnTo>
                    <a:pt x="2461" y="2367"/>
                  </a:lnTo>
                  <a:lnTo>
                    <a:pt x="2466" y="2363"/>
                  </a:lnTo>
                  <a:lnTo>
                    <a:pt x="2466" y="2367"/>
                  </a:lnTo>
                  <a:lnTo>
                    <a:pt x="2466" y="2367"/>
                  </a:lnTo>
                  <a:lnTo>
                    <a:pt x="2466" y="2367"/>
                  </a:lnTo>
                  <a:close/>
                  <a:moveTo>
                    <a:pt x="2239" y="2384"/>
                  </a:moveTo>
                  <a:lnTo>
                    <a:pt x="2246" y="2367"/>
                  </a:lnTo>
                  <a:lnTo>
                    <a:pt x="2246" y="2374"/>
                  </a:lnTo>
                  <a:lnTo>
                    <a:pt x="2239" y="2384"/>
                  </a:lnTo>
                  <a:lnTo>
                    <a:pt x="2239" y="2384"/>
                  </a:lnTo>
                  <a:lnTo>
                    <a:pt x="2239" y="2384"/>
                  </a:lnTo>
                  <a:close/>
                  <a:moveTo>
                    <a:pt x="2385" y="2630"/>
                  </a:moveTo>
                  <a:lnTo>
                    <a:pt x="2322" y="2622"/>
                  </a:lnTo>
                  <a:lnTo>
                    <a:pt x="2315" y="2613"/>
                  </a:lnTo>
                  <a:lnTo>
                    <a:pt x="2331" y="2613"/>
                  </a:lnTo>
                  <a:lnTo>
                    <a:pt x="2331" y="2606"/>
                  </a:lnTo>
                  <a:lnTo>
                    <a:pt x="2305" y="2606"/>
                  </a:lnTo>
                  <a:lnTo>
                    <a:pt x="2284" y="2573"/>
                  </a:lnTo>
                  <a:lnTo>
                    <a:pt x="2267" y="2540"/>
                  </a:lnTo>
                  <a:lnTo>
                    <a:pt x="2263" y="2511"/>
                  </a:lnTo>
                  <a:lnTo>
                    <a:pt x="2277" y="2528"/>
                  </a:lnTo>
                  <a:lnTo>
                    <a:pt x="2277" y="2535"/>
                  </a:lnTo>
                  <a:lnTo>
                    <a:pt x="2284" y="2518"/>
                  </a:lnTo>
                  <a:lnTo>
                    <a:pt x="2267" y="2502"/>
                  </a:lnTo>
                  <a:lnTo>
                    <a:pt x="2225" y="2424"/>
                  </a:lnTo>
                  <a:lnTo>
                    <a:pt x="2225" y="2400"/>
                  </a:lnTo>
                  <a:lnTo>
                    <a:pt x="2225" y="2384"/>
                  </a:lnTo>
                  <a:lnTo>
                    <a:pt x="2267" y="2384"/>
                  </a:lnTo>
                  <a:lnTo>
                    <a:pt x="2331" y="2417"/>
                  </a:lnTo>
                  <a:lnTo>
                    <a:pt x="2359" y="2424"/>
                  </a:lnTo>
                  <a:lnTo>
                    <a:pt x="2369" y="2407"/>
                  </a:lnTo>
                  <a:lnTo>
                    <a:pt x="2385" y="2417"/>
                  </a:lnTo>
                  <a:lnTo>
                    <a:pt x="2376" y="2407"/>
                  </a:lnTo>
                  <a:lnTo>
                    <a:pt x="2385" y="2400"/>
                  </a:lnTo>
                  <a:lnTo>
                    <a:pt x="2414" y="2407"/>
                  </a:lnTo>
                  <a:lnTo>
                    <a:pt x="2428" y="2391"/>
                  </a:lnTo>
                  <a:lnTo>
                    <a:pt x="2444" y="2391"/>
                  </a:lnTo>
                  <a:lnTo>
                    <a:pt x="2456" y="2384"/>
                  </a:lnTo>
                  <a:lnTo>
                    <a:pt x="2477" y="2400"/>
                  </a:lnTo>
                  <a:lnTo>
                    <a:pt x="2477" y="2474"/>
                  </a:lnTo>
                  <a:lnTo>
                    <a:pt x="2482" y="2511"/>
                  </a:lnTo>
                  <a:lnTo>
                    <a:pt x="2477" y="2511"/>
                  </a:lnTo>
                  <a:lnTo>
                    <a:pt x="2477" y="2502"/>
                  </a:lnTo>
                  <a:lnTo>
                    <a:pt x="2466" y="2485"/>
                  </a:lnTo>
                  <a:lnTo>
                    <a:pt x="2444" y="2568"/>
                  </a:lnTo>
                  <a:lnTo>
                    <a:pt x="2456" y="2568"/>
                  </a:lnTo>
                  <a:lnTo>
                    <a:pt x="2456" y="2596"/>
                  </a:lnTo>
                  <a:lnTo>
                    <a:pt x="2444" y="2589"/>
                  </a:lnTo>
                  <a:lnTo>
                    <a:pt x="2444" y="2596"/>
                  </a:lnTo>
                  <a:lnTo>
                    <a:pt x="2428" y="2585"/>
                  </a:lnTo>
                  <a:lnTo>
                    <a:pt x="2440" y="2573"/>
                  </a:lnTo>
                  <a:lnTo>
                    <a:pt x="2440" y="2585"/>
                  </a:lnTo>
                  <a:lnTo>
                    <a:pt x="2456" y="2585"/>
                  </a:lnTo>
                  <a:lnTo>
                    <a:pt x="2444" y="2573"/>
                  </a:lnTo>
                  <a:lnTo>
                    <a:pt x="2423" y="2568"/>
                  </a:lnTo>
                  <a:lnTo>
                    <a:pt x="2423" y="2573"/>
                  </a:lnTo>
                  <a:lnTo>
                    <a:pt x="2414" y="2585"/>
                  </a:lnTo>
                  <a:lnTo>
                    <a:pt x="2414" y="2568"/>
                  </a:lnTo>
                  <a:lnTo>
                    <a:pt x="2407" y="2568"/>
                  </a:lnTo>
                  <a:lnTo>
                    <a:pt x="2407" y="2596"/>
                  </a:lnTo>
                  <a:lnTo>
                    <a:pt x="2385" y="2589"/>
                  </a:lnTo>
                  <a:lnTo>
                    <a:pt x="2390" y="2606"/>
                  </a:lnTo>
                  <a:lnTo>
                    <a:pt x="2385" y="2630"/>
                  </a:lnTo>
                  <a:lnTo>
                    <a:pt x="2385" y="2630"/>
                  </a:lnTo>
                  <a:lnTo>
                    <a:pt x="2385" y="2630"/>
                  </a:lnTo>
                  <a:close/>
                  <a:moveTo>
                    <a:pt x="2461" y="2556"/>
                  </a:moveTo>
                  <a:lnTo>
                    <a:pt x="2461" y="2540"/>
                  </a:lnTo>
                  <a:lnTo>
                    <a:pt x="2466" y="2540"/>
                  </a:lnTo>
                  <a:lnTo>
                    <a:pt x="2466" y="2552"/>
                  </a:lnTo>
                  <a:lnTo>
                    <a:pt x="2461" y="2556"/>
                  </a:lnTo>
                  <a:lnTo>
                    <a:pt x="2461" y="2556"/>
                  </a:lnTo>
                  <a:lnTo>
                    <a:pt x="2461" y="2556"/>
                  </a:lnTo>
                  <a:close/>
                  <a:moveTo>
                    <a:pt x="2414" y="2596"/>
                  </a:moveTo>
                  <a:lnTo>
                    <a:pt x="2407" y="2589"/>
                  </a:lnTo>
                  <a:lnTo>
                    <a:pt x="2414" y="2585"/>
                  </a:lnTo>
                  <a:lnTo>
                    <a:pt x="2414" y="2596"/>
                  </a:lnTo>
                  <a:lnTo>
                    <a:pt x="2414" y="2596"/>
                  </a:lnTo>
                  <a:lnTo>
                    <a:pt x="2414" y="2596"/>
                  </a:lnTo>
                  <a:close/>
                  <a:moveTo>
                    <a:pt x="2407" y="2622"/>
                  </a:moveTo>
                  <a:lnTo>
                    <a:pt x="2390" y="2613"/>
                  </a:lnTo>
                  <a:lnTo>
                    <a:pt x="2407" y="2596"/>
                  </a:lnTo>
                  <a:lnTo>
                    <a:pt x="2414" y="2613"/>
                  </a:lnTo>
                  <a:lnTo>
                    <a:pt x="2407" y="2622"/>
                  </a:lnTo>
                  <a:lnTo>
                    <a:pt x="2407" y="2622"/>
                  </a:lnTo>
                  <a:lnTo>
                    <a:pt x="2407" y="2622"/>
                  </a:lnTo>
                  <a:close/>
                  <a:moveTo>
                    <a:pt x="3217" y="3666"/>
                  </a:moveTo>
                  <a:lnTo>
                    <a:pt x="3217" y="3659"/>
                  </a:lnTo>
                  <a:lnTo>
                    <a:pt x="3229" y="3643"/>
                  </a:lnTo>
                  <a:lnTo>
                    <a:pt x="3217" y="3666"/>
                  </a:lnTo>
                  <a:lnTo>
                    <a:pt x="3217" y="3666"/>
                  </a:lnTo>
                  <a:lnTo>
                    <a:pt x="3217" y="3666"/>
                  </a:lnTo>
                  <a:close/>
                </a:path>
              </a:pathLst>
            </a:custGeom>
            <a:pattFill prst="dk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02" name="Freeform 389">
              <a:extLst>
                <a:ext uri="{FF2B5EF4-FFF2-40B4-BE49-F238E27FC236}">
                  <a16:creationId xmlns:a16="http://schemas.microsoft.com/office/drawing/2014/main" id="{B11FAF99-60AC-4281-9D38-8E498D6BA297}"/>
                </a:ext>
              </a:extLst>
            </p:cNvPr>
            <p:cNvSpPr>
              <a:spLocks/>
            </p:cNvSpPr>
            <p:nvPr/>
          </p:nvSpPr>
          <p:spPr bwMode="gray">
            <a:xfrm>
              <a:off x="6107177" y="2698667"/>
              <a:ext cx="262779" cy="120763"/>
            </a:xfrm>
            <a:custGeom>
              <a:avLst/>
              <a:gdLst>
                <a:gd name="T0" fmla="*/ 54 w 531"/>
                <a:gd name="T1" fmla="*/ 189 h 244"/>
                <a:gd name="T2" fmla="*/ 21 w 531"/>
                <a:gd name="T3" fmla="*/ 199 h 244"/>
                <a:gd name="T4" fmla="*/ 0 w 531"/>
                <a:gd name="T5" fmla="*/ 182 h 244"/>
                <a:gd name="T6" fmla="*/ 4 w 531"/>
                <a:gd name="T7" fmla="*/ 149 h 244"/>
                <a:gd name="T8" fmla="*/ 16 w 531"/>
                <a:gd name="T9" fmla="*/ 133 h 244"/>
                <a:gd name="T10" fmla="*/ 49 w 531"/>
                <a:gd name="T11" fmla="*/ 154 h 244"/>
                <a:gd name="T12" fmla="*/ 59 w 531"/>
                <a:gd name="T13" fmla="*/ 149 h 244"/>
                <a:gd name="T14" fmla="*/ 92 w 531"/>
                <a:gd name="T15" fmla="*/ 144 h 244"/>
                <a:gd name="T16" fmla="*/ 108 w 531"/>
                <a:gd name="T17" fmla="*/ 149 h 244"/>
                <a:gd name="T18" fmla="*/ 222 w 531"/>
                <a:gd name="T19" fmla="*/ 128 h 244"/>
                <a:gd name="T20" fmla="*/ 236 w 531"/>
                <a:gd name="T21" fmla="*/ 144 h 244"/>
                <a:gd name="T22" fmla="*/ 231 w 531"/>
                <a:gd name="T23" fmla="*/ 128 h 244"/>
                <a:gd name="T24" fmla="*/ 222 w 531"/>
                <a:gd name="T25" fmla="*/ 88 h 244"/>
                <a:gd name="T26" fmla="*/ 269 w 531"/>
                <a:gd name="T27" fmla="*/ 43 h 244"/>
                <a:gd name="T28" fmla="*/ 302 w 531"/>
                <a:gd name="T29" fmla="*/ 22 h 244"/>
                <a:gd name="T30" fmla="*/ 361 w 531"/>
                <a:gd name="T31" fmla="*/ 43 h 244"/>
                <a:gd name="T32" fmla="*/ 375 w 531"/>
                <a:gd name="T33" fmla="*/ 22 h 244"/>
                <a:gd name="T34" fmla="*/ 451 w 531"/>
                <a:gd name="T35" fmla="*/ 33 h 244"/>
                <a:gd name="T36" fmla="*/ 517 w 531"/>
                <a:gd name="T37" fmla="*/ 33 h 244"/>
                <a:gd name="T38" fmla="*/ 505 w 531"/>
                <a:gd name="T39" fmla="*/ 59 h 244"/>
                <a:gd name="T40" fmla="*/ 522 w 531"/>
                <a:gd name="T41" fmla="*/ 128 h 244"/>
                <a:gd name="T42" fmla="*/ 489 w 531"/>
                <a:gd name="T43" fmla="*/ 116 h 244"/>
                <a:gd name="T44" fmla="*/ 500 w 531"/>
                <a:gd name="T45" fmla="*/ 144 h 244"/>
                <a:gd name="T46" fmla="*/ 484 w 531"/>
                <a:gd name="T47" fmla="*/ 166 h 244"/>
                <a:gd name="T48" fmla="*/ 484 w 531"/>
                <a:gd name="T49" fmla="*/ 189 h 244"/>
                <a:gd name="T50" fmla="*/ 451 w 531"/>
                <a:gd name="T51" fmla="*/ 199 h 244"/>
                <a:gd name="T52" fmla="*/ 371 w 531"/>
                <a:gd name="T53" fmla="*/ 222 h 244"/>
                <a:gd name="T54" fmla="*/ 345 w 531"/>
                <a:gd name="T55" fmla="*/ 244 h 244"/>
                <a:gd name="T56" fmla="*/ 198 w 531"/>
                <a:gd name="T57" fmla="*/ 211 h 244"/>
                <a:gd name="T58" fmla="*/ 184 w 531"/>
                <a:gd name="T59" fmla="*/ 182 h 244"/>
                <a:gd name="T60" fmla="*/ 113 w 531"/>
                <a:gd name="T61" fmla="*/ 189 h 244"/>
                <a:gd name="T62" fmla="*/ 59 w 531"/>
                <a:gd name="T63" fmla="*/ 199 h 244"/>
                <a:gd name="T64" fmla="*/ 59 w 531"/>
                <a:gd name="T65" fmla="*/ 19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1" h="244">
                  <a:moveTo>
                    <a:pt x="59" y="199"/>
                  </a:moveTo>
                  <a:lnTo>
                    <a:pt x="54" y="189"/>
                  </a:lnTo>
                  <a:lnTo>
                    <a:pt x="37" y="206"/>
                  </a:lnTo>
                  <a:lnTo>
                    <a:pt x="21" y="199"/>
                  </a:lnTo>
                  <a:lnTo>
                    <a:pt x="21" y="189"/>
                  </a:lnTo>
                  <a:lnTo>
                    <a:pt x="0" y="182"/>
                  </a:lnTo>
                  <a:lnTo>
                    <a:pt x="0" y="166"/>
                  </a:lnTo>
                  <a:lnTo>
                    <a:pt x="4" y="149"/>
                  </a:lnTo>
                  <a:lnTo>
                    <a:pt x="0" y="144"/>
                  </a:lnTo>
                  <a:lnTo>
                    <a:pt x="16" y="133"/>
                  </a:lnTo>
                  <a:lnTo>
                    <a:pt x="21" y="144"/>
                  </a:lnTo>
                  <a:lnTo>
                    <a:pt x="49" y="154"/>
                  </a:lnTo>
                  <a:lnTo>
                    <a:pt x="37" y="166"/>
                  </a:lnTo>
                  <a:lnTo>
                    <a:pt x="59" y="149"/>
                  </a:lnTo>
                  <a:lnTo>
                    <a:pt x="59" y="133"/>
                  </a:lnTo>
                  <a:lnTo>
                    <a:pt x="92" y="144"/>
                  </a:lnTo>
                  <a:lnTo>
                    <a:pt x="101" y="149"/>
                  </a:lnTo>
                  <a:lnTo>
                    <a:pt x="108" y="149"/>
                  </a:lnTo>
                  <a:lnTo>
                    <a:pt x="146" y="133"/>
                  </a:lnTo>
                  <a:lnTo>
                    <a:pt x="222" y="128"/>
                  </a:lnTo>
                  <a:lnTo>
                    <a:pt x="222" y="144"/>
                  </a:lnTo>
                  <a:lnTo>
                    <a:pt x="236" y="144"/>
                  </a:lnTo>
                  <a:lnTo>
                    <a:pt x="248" y="128"/>
                  </a:lnTo>
                  <a:lnTo>
                    <a:pt x="231" y="128"/>
                  </a:lnTo>
                  <a:lnTo>
                    <a:pt x="236" y="111"/>
                  </a:lnTo>
                  <a:lnTo>
                    <a:pt x="222" y="88"/>
                  </a:lnTo>
                  <a:lnTo>
                    <a:pt x="269" y="59"/>
                  </a:lnTo>
                  <a:lnTo>
                    <a:pt x="269" y="43"/>
                  </a:lnTo>
                  <a:lnTo>
                    <a:pt x="290" y="43"/>
                  </a:lnTo>
                  <a:lnTo>
                    <a:pt x="302" y="22"/>
                  </a:lnTo>
                  <a:lnTo>
                    <a:pt x="323" y="38"/>
                  </a:lnTo>
                  <a:lnTo>
                    <a:pt x="361" y="43"/>
                  </a:lnTo>
                  <a:lnTo>
                    <a:pt x="371" y="22"/>
                  </a:lnTo>
                  <a:lnTo>
                    <a:pt x="375" y="22"/>
                  </a:lnTo>
                  <a:lnTo>
                    <a:pt x="382" y="0"/>
                  </a:lnTo>
                  <a:lnTo>
                    <a:pt x="451" y="33"/>
                  </a:lnTo>
                  <a:lnTo>
                    <a:pt x="484" y="22"/>
                  </a:lnTo>
                  <a:lnTo>
                    <a:pt x="517" y="33"/>
                  </a:lnTo>
                  <a:lnTo>
                    <a:pt x="517" y="38"/>
                  </a:lnTo>
                  <a:lnTo>
                    <a:pt x="505" y="59"/>
                  </a:lnTo>
                  <a:lnTo>
                    <a:pt x="531" y="95"/>
                  </a:lnTo>
                  <a:lnTo>
                    <a:pt x="522" y="128"/>
                  </a:lnTo>
                  <a:lnTo>
                    <a:pt x="500" y="128"/>
                  </a:lnTo>
                  <a:lnTo>
                    <a:pt x="489" y="116"/>
                  </a:lnTo>
                  <a:lnTo>
                    <a:pt x="484" y="128"/>
                  </a:lnTo>
                  <a:lnTo>
                    <a:pt x="500" y="144"/>
                  </a:lnTo>
                  <a:lnTo>
                    <a:pt x="484" y="149"/>
                  </a:lnTo>
                  <a:lnTo>
                    <a:pt x="484" y="166"/>
                  </a:lnTo>
                  <a:lnTo>
                    <a:pt x="479" y="166"/>
                  </a:lnTo>
                  <a:lnTo>
                    <a:pt x="484" y="189"/>
                  </a:lnTo>
                  <a:lnTo>
                    <a:pt x="467" y="189"/>
                  </a:lnTo>
                  <a:lnTo>
                    <a:pt x="451" y="199"/>
                  </a:lnTo>
                  <a:lnTo>
                    <a:pt x="437" y="211"/>
                  </a:lnTo>
                  <a:lnTo>
                    <a:pt x="371" y="222"/>
                  </a:lnTo>
                  <a:lnTo>
                    <a:pt x="371" y="239"/>
                  </a:lnTo>
                  <a:lnTo>
                    <a:pt x="345" y="244"/>
                  </a:lnTo>
                  <a:lnTo>
                    <a:pt x="290" y="227"/>
                  </a:lnTo>
                  <a:lnTo>
                    <a:pt x="198" y="211"/>
                  </a:lnTo>
                  <a:lnTo>
                    <a:pt x="184" y="199"/>
                  </a:lnTo>
                  <a:lnTo>
                    <a:pt x="184" y="182"/>
                  </a:lnTo>
                  <a:lnTo>
                    <a:pt x="156" y="189"/>
                  </a:lnTo>
                  <a:lnTo>
                    <a:pt x="113" y="189"/>
                  </a:lnTo>
                  <a:lnTo>
                    <a:pt x="101" y="211"/>
                  </a:lnTo>
                  <a:lnTo>
                    <a:pt x="59" y="199"/>
                  </a:lnTo>
                  <a:lnTo>
                    <a:pt x="59" y="199"/>
                  </a:lnTo>
                  <a:lnTo>
                    <a:pt x="59" y="199"/>
                  </a:lnTo>
                  <a:close/>
                </a:path>
              </a:pathLst>
            </a:custGeom>
            <a:pattFill prst="wd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03" name="Freeform 390">
              <a:extLst>
                <a:ext uri="{FF2B5EF4-FFF2-40B4-BE49-F238E27FC236}">
                  <a16:creationId xmlns:a16="http://schemas.microsoft.com/office/drawing/2014/main" id="{EDC540F5-BCA3-49E5-A575-7F3765BFBDCA}"/>
                </a:ext>
              </a:extLst>
            </p:cNvPr>
            <p:cNvSpPr>
              <a:spLocks/>
            </p:cNvSpPr>
            <p:nvPr/>
          </p:nvSpPr>
          <p:spPr bwMode="gray">
            <a:xfrm>
              <a:off x="7528464" y="3647945"/>
              <a:ext cx="990" cy="14354"/>
            </a:xfrm>
            <a:custGeom>
              <a:avLst/>
              <a:gdLst>
                <a:gd name="T0" fmla="*/ 2 w 2"/>
                <a:gd name="T1" fmla="*/ 0 h 29"/>
                <a:gd name="T2" fmla="*/ 2 w 2"/>
                <a:gd name="T3" fmla="*/ 29 h 29"/>
                <a:gd name="T4" fmla="*/ 0 w 2"/>
                <a:gd name="T5" fmla="*/ 17 h 29"/>
                <a:gd name="T6" fmla="*/ 0 w 2"/>
                <a:gd name="T7" fmla="*/ 0 h 29"/>
                <a:gd name="T8" fmla="*/ 2 w 2"/>
                <a:gd name="T9" fmla="*/ 0 h 29"/>
                <a:gd name="T10" fmla="*/ 2 w 2"/>
                <a:gd name="T11" fmla="*/ 0 h 29"/>
                <a:gd name="T12" fmla="*/ 2 w 2"/>
                <a:gd name="T13" fmla="*/ 0 h 29"/>
                <a:gd name="T14" fmla="*/ 2 w 2"/>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9">
                  <a:moveTo>
                    <a:pt x="2" y="0"/>
                  </a:moveTo>
                  <a:lnTo>
                    <a:pt x="2" y="29"/>
                  </a:lnTo>
                  <a:lnTo>
                    <a:pt x="0" y="17"/>
                  </a:lnTo>
                  <a:lnTo>
                    <a:pt x="0" y="0"/>
                  </a:lnTo>
                  <a:lnTo>
                    <a:pt x="2" y="0"/>
                  </a:lnTo>
                  <a:lnTo>
                    <a:pt x="2" y="0"/>
                  </a:lnTo>
                  <a:lnTo>
                    <a:pt x="2" y="0"/>
                  </a:lnTo>
                  <a:lnTo>
                    <a:pt x="2" y="0"/>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04" name="Freeform 391">
              <a:extLst>
                <a:ext uri="{FF2B5EF4-FFF2-40B4-BE49-F238E27FC236}">
                  <a16:creationId xmlns:a16="http://schemas.microsoft.com/office/drawing/2014/main" id="{8FDCA6A6-7866-4644-8262-0B8F835A4B89}"/>
                </a:ext>
              </a:extLst>
            </p:cNvPr>
            <p:cNvSpPr>
              <a:spLocks/>
            </p:cNvSpPr>
            <p:nvPr/>
          </p:nvSpPr>
          <p:spPr bwMode="gray">
            <a:xfrm>
              <a:off x="3706033" y="4125060"/>
              <a:ext cx="5939" cy="9404"/>
            </a:xfrm>
            <a:custGeom>
              <a:avLst/>
              <a:gdLst>
                <a:gd name="T0" fmla="*/ 7 w 12"/>
                <a:gd name="T1" fmla="*/ 19 h 19"/>
                <a:gd name="T2" fmla="*/ 0 w 12"/>
                <a:gd name="T3" fmla="*/ 19 h 19"/>
                <a:gd name="T4" fmla="*/ 0 w 12"/>
                <a:gd name="T5" fmla="*/ 0 h 19"/>
                <a:gd name="T6" fmla="*/ 12 w 12"/>
                <a:gd name="T7" fmla="*/ 12 h 19"/>
                <a:gd name="T8" fmla="*/ 7 w 12"/>
                <a:gd name="T9" fmla="*/ 19 h 19"/>
                <a:gd name="T10" fmla="*/ 7 w 12"/>
                <a:gd name="T11" fmla="*/ 19 h 19"/>
                <a:gd name="T12" fmla="*/ 7 w 12"/>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2" h="19">
                  <a:moveTo>
                    <a:pt x="7" y="19"/>
                  </a:moveTo>
                  <a:lnTo>
                    <a:pt x="0" y="19"/>
                  </a:lnTo>
                  <a:lnTo>
                    <a:pt x="0" y="0"/>
                  </a:lnTo>
                  <a:lnTo>
                    <a:pt x="12" y="12"/>
                  </a:lnTo>
                  <a:lnTo>
                    <a:pt x="7" y="19"/>
                  </a:lnTo>
                  <a:lnTo>
                    <a:pt x="7" y="19"/>
                  </a:lnTo>
                  <a:lnTo>
                    <a:pt x="7" y="19"/>
                  </a:lnTo>
                  <a:close/>
                </a:path>
              </a:pathLst>
            </a:custGeom>
            <a:solidFill>
              <a:schemeClr val="accent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05" name="Freeform 392">
              <a:extLst>
                <a:ext uri="{FF2B5EF4-FFF2-40B4-BE49-F238E27FC236}">
                  <a16:creationId xmlns:a16="http://schemas.microsoft.com/office/drawing/2014/main" id="{FECD2178-31A4-4276-A57B-A7E5C4827DF9}"/>
                </a:ext>
              </a:extLst>
            </p:cNvPr>
            <p:cNvSpPr>
              <a:spLocks/>
            </p:cNvSpPr>
            <p:nvPr/>
          </p:nvSpPr>
          <p:spPr bwMode="gray">
            <a:xfrm>
              <a:off x="6470416" y="5242617"/>
              <a:ext cx="322659" cy="341504"/>
            </a:xfrm>
            <a:custGeom>
              <a:avLst/>
              <a:gdLst>
                <a:gd name="T0" fmla="*/ 0 w 652"/>
                <a:gd name="T1" fmla="*/ 525 h 690"/>
                <a:gd name="T2" fmla="*/ 0 w 652"/>
                <a:gd name="T3" fmla="*/ 322 h 690"/>
                <a:gd name="T4" fmla="*/ 71 w 652"/>
                <a:gd name="T5" fmla="*/ 322 h 690"/>
                <a:gd name="T6" fmla="*/ 71 w 652"/>
                <a:gd name="T7" fmla="*/ 45 h 690"/>
                <a:gd name="T8" fmla="*/ 232 w 652"/>
                <a:gd name="T9" fmla="*/ 17 h 690"/>
                <a:gd name="T10" fmla="*/ 253 w 652"/>
                <a:gd name="T11" fmla="*/ 55 h 690"/>
                <a:gd name="T12" fmla="*/ 303 w 652"/>
                <a:gd name="T13" fmla="*/ 17 h 690"/>
                <a:gd name="T14" fmla="*/ 312 w 652"/>
                <a:gd name="T15" fmla="*/ 29 h 690"/>
                <a:gd name="T16" fmla="*/ 340 w 652"/>
                <a:gd name="T17" fmla="*/ 0 h 690"/>
                <a:gd name="T18" fmla="*/ 366 w 652"/>
                <a:gd name="T19" fmla="*/ 0 h 690"/>
                <a:gd name="T20" fmla="*/ 366 w 652"/>
                <a:gd name="T21" fmla="*/ 29 h 690"/>
                <a:gd name="T22" fmla="*/ 416 w 652"/>
                <a:gd name="T23" fmla="*/ 88 h 690"/>
                <a:gd name="T24" fmla="*/ 416 w 652"/>
                <a:gd name="T25" fmla="*/ 100 h 690"/>
                <a:gd name="T26" fmla="*/ 430 w 652"/>
                <a:gd name="T27" fmla="*/ 128 h 690"/>
                <a:gd name="T28" fmla="*/ 468 w 652"/>
                <a:gd name="T29" fmla="*/ 161 h 690"/>
                <a:gd name="T30" fmla="*/ 501 w 652"/>
                <a:gd name="T31" fmla="*/ 178 h 690"/>
                <a:gd name="T32" fmla="*/ 506 w 652"/>
                <a:gd name="T33" fmla="*/ 211 h 690"/>
                <a:gd name="T34" fmla="*/ 539 w 652"/>
                <a:gd name="T35" fmla="*/ 211 h 690"/>
                <a:gd name="T36" fmla="*/ 539 w 652"/>
                <a:gd name="T37" fmla="*/ 248 h 690"/>
                <a:gd name="T38" fmla="*/ 560 w 652"/>
                <a:gd name="T39" fmla="*/ 289 h 690"/>
                <a:gd name="T40" fmla="*/ 598 w 652"/>
                <a:gd name="T41" fmla="*/ 289 h 690"/>
                <a:gd name="T42" fmla="*/ 631 w 652"/>
                <a:gd name="T43" fmla="*/ 305 h 690"/>
                <a:gd name="T44" fmla="*/ 631 w 652"/>
                <a:gd name="T45" fmla="*/ 322 h 690"/>
                <a:gd name="T46" fmla="*/ 648 w 652"/>
                <a:gd name="T47" fmla="*/ 322 h 690"/>
                <a:gd name="T48" fmla="*/ 652 w 652"/>
                <a:gd name="T49" fmla="*/ 338 h 690"/>
                <a:gd name="T50" fmla="*/ 631 w 652"/>
                <a:gd name="T51" fmla="*/ 338 h 690"/>
                <a:gd name="T52" fmla="*/ 626 w 652"/>
                <a:gd name="T53" fmla="*/ 348 h 690"/>
                <a:gd name="T54" fmla="*/ 577 w 652"/>
                <a:gd name="T55" fmla="*/ 364 h 690"/>
                <a:gd name="T56" fmla="*/ 555 w 652"/>
                <a:gd name="T57" fmla="*/ 397 h 690"/>
                <a:gd name="T58" fmla="*/ 529 w 652"/>
                <a:gd name="T59" fmla="*/ 414 h 690"/>
                <a:gd name="T60" fmla="*/ 522 w 652"/>
                <a:gd name="T61" fmla="*/ 421 h 690"/>
                <a:gd name="T62" fmla="*/ 518 w 652"/>
                <a:gd name="T63" fmla="*/ 421 h 690"/>
                <a:gd name="T64" fmla="*/ 485 w 652"/>
                <a:gd name="T65" fmla="*/ 447 h 690"/>
                <a:gd name="T66" fmla="*/ 475 w 652"/>
                <a:gd name="T67" fmla="*/ 492 h 690"/>
                <a:gd name="T68" fmla="*/ 447 w 652"/>
                <a:gd name="T69" fmla="*/ 515 h 690"/>
                <a:gd name="T70" fmla="*/ 409 w 652"/>
                <a:gd name="T71" fmla="*/ 525 h 690"/>
                <a:gd name="T72" fmla="*/ 392 w 652"/>
                <a:gd name="T73" fmla="*/ 581 h 690"/>
                <a:gd name="T74" fmla="*/ 383 w 652"/>
                <a:gd name="T75" fmla="*/ 598 h 690"/>
                <a:gd name="T76" fmla="*/ 324 w 652"/>
                <a:gd name="T77" fmla="*/ 615 h 690"/>
                <a:gd name="T78" fmla="*/ 303 w 652"/>
                <a:gd name="T79" fmla="*/ 603 h 690"/>
                <a:gd name="T80" fmla="*/ 291 w 652"/>
                <a:gd name="T81" fmla="*/ 598 h 690"/>
                <a:gd name="T82" fmla="*/ 270 w 652"/>
                <a:gd name="T83" fmla="*/ 598 h 690"/>
                <a:gd name="T84" fmla="*/ 237 w 652"/>
                <a:gd name="T85" fmla="*/ 565 h 690"/>
                <a:gd name="T86" fmla="*/ 206 w 652"/>
                <a:gd name="T87" fmla="*/ 570 h 690"/>
                <a:gd name="T88" fmla="*/ 194 w 652"/>
                <a:gd name="T89" fmla="*/ 586 h 690"/>
                <a:gd name="T90" fmla="*/ 182 w 652"/>
                <a:gd name="T91" fmla="*/ 624 h 690"/>
                <a:gd name="T92" fmla="*/ 152 w 652"/>
                <a:gd name="T93" fmla="*/ 652 h 690"/>
                <a:gd name="T94" fmla="*/ 140 w 652"/>
                <a:gd name="T95" fmla="*/ 674 h 690"/>
                <a:gd name="T96" fmla="*/ 123 w 652"/>
                <a:gd name="T97" fmla="*/ 674 h 690"/>
                <a:gd name="T98" fmla="*/ 114 w 652"/>
                <a:gd name="T99" fmla="*/ 690 h 690"/>
                <a:gd name="T100" fmla="*/ 43 w 652"/>
                <a:gd name="T101" fmla="*/ 681 h 690"/>
                <a:gd name="T102" fmla="*/ 38 w 652"/>
                <a:gd name="T103" fmla="*/ 657 h 690"/>
                <a:gd name="T104" fmla="*/ 59 w 652"/>
                <a:gd name="T105" fmla="*/ 636 h 690"/>
                <a:gd name="T106" fmla="*/ 55 w 652"/>
                <a:gd name="T107" fmla="*/ 615 h 690"/>
                <a:gd name="T108" fmla="*/ 22 w 652"/>
                <a:gd name="T109" fmla="*/ 548 h 690"/>
                <a:gd name="T110" fmla="*/ 0 w 652"/>
                <a:gd name="T111" fmla="*/ 525 h 690"/>
                <a:gd name="T112" fmla="*/ 0 w 652"/>
                <a:gd name="T113" fmla="*/ 525 h 690"/>
                <a:gd name="T114" fmla="*/ 0 w 652"/>
                <a:gd name="T115" fmla="*/ 52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2" h="690">
                  <a:moveTo>
                    <a:pt x="0" y="525"/>
                  </a:moveTo>
                  <a:lnTo>
                    <a:pt x="0" y="322"/>
                  </a:lnTo>
                  <a:lnTo>
                    <a:pt x="71" y="322"/>
                  </a:lnTo>
                  <a:lnTo>
                    <a:pt x="71" y="45"/>
                  </a:lnTo>
                  <a:lnTo>
                    <a:pt x="232" y="17"/>
                  </a:lnTo>
                  <a:lnTo>
                    <a:pt x="253" y="55"/>
                  </a:lnTo>
                  <a:lnTo>
                    <a:pt x="303" y="17"/>
                  </a:lnTo>
                  <a:lnTo>
                    <a:pt x="312" y="29"/>
                  </a:lnTo>
                  <a:lnTo>
                    <a:pt x="340" y="0"/>
                  </a:lnTo>
                  <a:lnTo>
                    <a:pt x="366" y="0"/>
                  </a:lnTo>
                  <a:lnTo>
                    <a:pt x="366" y="29"/>
                  </a:lnTo>
                  <a:lnTo>
                    <a:pt x="416" y="88"/>
                  </a:lnTo>
                  <a:lnTo>
                    <a:pt x="416" y="100"/>
                  </a:lnTo>
                  <a:lnTo>
                    <a:pt x="430" y="128"/>
                  </a:lnTo>
                  <a:lnTo>
                    <a:pt x="468" y="161"/>
                  </a:lnTo>
                  <a:lnTo>
                    <a:pt x="501" y="178"/>
                  </a:lnTo>
                  <a:lnTo>
                    <a:pt x="506" y="211"/>
                  </a:lnTo>
                  <a:lnTo>
                    <a:pt x="539" y="211"/>
                  </a:lnTo>
                  <a:lnTo>
                    <a:pt x="539" y="248"/>
                  </a:lnTo>
                  <a:lnTo>
                    <a:pt x="560" y="289"/>
                  </a:lnTo>
                  <a:lnTo>
                    <a:pt x="598" y="289"/>
                  </a:lnTo>
                  <a:lnTo>
                    <a:pt x="631" y="305"/>
                  </a:lnTo>
                  <a:lnTo>
                    <a:pt x="631" y="322"/>
                  </a:lnTo>
                  <a:lnTo>
                    <a:pt x="648" y="322"/>
                  </a:lnTo>
                  <a:lnTo>
                    <a:pt x="652" y="338"/>
                  </a:lnTo>
                  <a:lnTo>
                    <a:pt x="631" y="338"/>
                  </a:lnTo>
                  <a:lnTo>
                    <a:pt x="626" y="348"/>
                  </a:lnTo>
                  <a:lnTo>
                    <a:pt x="577" y="364"/>
                  </a:lnTo>
                  <a:lnTo>
                    <a:pt x="555" y="397"/>
                  </a:lnTo>
                  <a:lnTo>
                    <a:pt x="529" y="414"/>
                  </a:lnTo>
                  <a:lnTo>
                    <a:pt x="522" y="421"/>
                  </a:lnTo>
                  <a:lnTo>
                    <a:pt x="518" y="421"/>
                  </a:lnTo>
                  <a:lnTo>
                    <a:pt x="485" y="447"/>
                  </a:lnTo>
                  <a:lnTo>
                    <a:pt x="475" y="492"/>
                  </a:lnTo>
                  <a:lnTo>
                    <a:pt x="447" y="515"/>
                  </a:lnTo>
                  <a:lnTo>
                    <a:pt x="409" y="525"/>
                  </a:lnTo>
                  <a:lnTo>
                    <a:pt x="392" y="581"/>
                  </a:lnTo>
                  <a:lnTo>
                    <a:pt x="383" y="598"/>
                  </a:lnTo>
                  <a:lnTo>
                    <a:pt x="324" y="615"/>
                  </a:lnTo>
                  <a:lnTo>
                    <a:pt x="303" y="603"/>
                  </a:lnTo>
                  <a:lnTo>
                    <a:pt x="291" y="598"/>
                  </a:lnTo>
                  <a:lnTo>
                    <a:pt x="270" y="598"/>
                  </a:lnTo>
                  <a:lnTo>
                    <a:pt x="237" y="565"/>
                  </a:lnTo>
                  <a:lnTo>
                    <a:pt x="206" y="570"/>
                  </a:lnTo>
                  <a:lnTo>
                    <a:pt x="194" y="586"/>
                  </a:lnTo>
                  <a:lnTo>
                    <a:pt x="182" y="624"/>
                  </a:lnTo>
                  <a:lnTo>
                    <a:pt x="152" y="652"/>
                  </a:lnTo>
                  <a:lnTo>
                    <a:pt x="140" y="674"/>
                  </a:lnTo>
                  <a:lnTo>
                    <a:pt x="123" y="674"/>
                  </a:lnTo>
                  <a:lnTo>
                    <a:pt x="114" y="690"/>
                  </a:lnTo>
                  <a:lnTo>
                    <a:pt x="43" y="681"/>
                  </a:lnTo>
                  <a:lnTo>
                    <a:pt x="38" y="657"/>
                  </a:lnTo>
                  <a:lnTo>
                    <a:pt x="59" y="636"/>
                  </a:lnTo>
                  <a:lnTo>
                    <a:pt x="55" y="615"/>
                  </a:lnTo>
                  <a:lnTo>
                    <a:pt x="22" y="548"/>
                  </a:lnTo>
                  <a:lnTo>
                    <a:pt x="0" y="525"/>
                  </a:lnTo>
                  <a:lnTo>
                    <a:pt x="0" y="525"/>
                  </a:lnTo>
                  <a:lnTo>
                    <a:pt x="0" y="525"/>
                  </a:lnTo>
                  <a:close/>
                </a:path>
              </a:pathLst>
            </a:custGeom>
            <a:pattFill prst="lt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06" name="Freeform 393">
              <a:extLst>
                <a:ext uri="{FF2B5EF4-FFF2-40B4-BE49-F238E27FC236}">
                  <a16:creationId xmlns:a16="http://schemas.microsoft.com/office/drawing/2014/main" id="{120FD80D-7B49-471B-8432-F9425017B21B}"/>
                </a:ext>
              </a:extLst>
            </p:cNvPr>
            <p:cNvSpPr>
              <a:spLocks/>
            </p:cNvSpPr>
            <p:nvPr/>
          </p:nvSpPr>
          <p:spPr bwMode="gray">
            <a:xfrm>
              <a:off x="5862707" y="2582852"/>
              <a:ext cx="134607" cy="96018"/>
            </a:xfrm>
            <a:custGeom>
              <a:avLst/>
              <a:gdLst>
                <a:gd name="T0" fmla="*/ 255 w 272"/>
                <a:gd name="T1" fmla="*/ 128 h 194"/>
                <a:gd name="T2" fmla="*/ 239 w 272"/>
                <a:gd name="T3" fmla="*/ 128 h 194"/>
                <a:gd name="T4" fmla="*/ 222 w 272"/>
                <a:gd name="T5" fmla="*/ 145 h 194"/>
                <a:gd name="T6" fmla="*/ 222 w 272"/>
                <a:gd name="T7" fmla="*/ 161 h 194"/>
                <a:gd name="T8" fmla="*/ 239 w 272"/>
                <a:gd name="T9" fmla="*/ 178 h 194"/>
                <a:gd name="T10" fmla="*/ 227 w 272"/>
                <a:gd name="T11" fmla="*/ 185 h 194"/>
                <a:gd name="T12" fmla="*/ 206 w 272"/>
                <a:gd name="T13" fmla="*/ 194 h 194"/>
                <a:gd name="T14" fmla="*/ 189 w 272"/>
                <a:gd name="T15" fmla="*/ 178 h 194"/>
                <a:gd name="T16" fmla="*/ 163 w 272"/>
                <a:gd name="T17" fmla="*/ 161 h 194"/>
                <a:gd name="T18" fmla="*/ 163 w 272"/>
                <a:gd name="T19" fmla="*/ 145 h 194"/>
                <a:gd name="T20" fmla="*/ 163 w 272"/>
                <a:gd name="T21" fmla="*/ 128 h 194"/>
                <a:gd name="T22" fmla="*/ 163 w 272"/>
                <a:gd name="T23" fmla="*/ 128 h 194"/>
                <a:gd name="T24" fmla="*/ 137 w 272"/>
                <a:gd name="T25" fmla="*/ 156 h 194"/>
                <a:gd name="T26" fmla="*/ 113 w 272"/>
                <a:gd name="T27" fmla="*/ 145 h 194"/>
                <a:gd name="T28" fmla="*/ 113 w 272"/>
                <a:gd name="T29" fmla="*/ 123 h 194"/>
                <a:gd name="T30" fmla="*/ 83 w 272"/>
                <a:gd name="T31" fmla="*/ 112 h 194"/>
                <a:gd name="T32" fmla="*/ 76 w 272"/>
                <a:gd name="T33" fmla="*/ 102 h 194"/>
                <a:gd name="T34" fmla="*/ 54 w 272"/>
                <a:gd name="T35" fmla="*/ 102 h 194"/>
                <a:gd name="T36" fmla="*/ 45 w 272"/>
                <a:gd name="T37" fmla="*/ 69 h 194"/>
                <a:gd name="T38" fmla="*/ 21 w 272"/>
                <a:gd name="T39" fmla="*/ 74 h 194"/>
                <a:gd name="T40" fmla="*/ 7 w 272"/>
                <a:gd name="T41" fmla="*/ 69 h 194"/>
                <a:gd name="T42" fmla="*/ 0 w 272"/>
                <a:gd name="T43" fmla="*/ 45 h 194"/>
                <a:gd name="T44" fmla="*/ 59 w 272"/>
                <a:gd name="T45" fmla="*/ 12 h 194"/>
                <a:gd name="T46" fmla="*/ 59 w 272"/>
                <a:gd name="T47" fmla="*/ 29 h 194"/>
                <a:gd name="T48" fmla="*/ 76 w 272"/>
                <a:gd name="T49" fmla="*/ 17 h 194"/>
                <a:gd name="T50" fmla="*/ 92 w 272"/>
                <a:gd name="T51" fmla="*/ 29 h 194"/>
                <a:gd name="T52" fmla="*/ 120 w 272"/>
                <a:gd name="T53" fmla="*/ 17 h 194"/>
                <a:gd name="T54" fmla="*/ 120 w 272"/>
                <a:gd name="T55" fmla="*/ 29 h 194"/>
                <a:gd name="T56" fmla="*/ 120 w 272"/>
                <a:gd name="T57" fmla="*/ 12 h 194"/>
                <a:gd name="T58" fmla="*/ 130 w 272"/>
                <a:gd name="T59" fmla="*/ 17 h 194"/>
                <a:gd name="T60" fmla="*/ 130 w 272"/>
                <a:gd name="T61" fmla="*/ 12 h 194"/>
                <a:gd name="T62" fmla="*/ 137 w 272"/>
                <a:gd name="T63" fmla="*/ 0 h 194"/>
                <a:gd name="T64" fmla="*/ 146 w 272"/>
                <a:gd name="T65" fmla="*/ 12 h 194"/>
                <a:gd name="T66" fmla="*/ 163 w 272"/>
                <a:gd name="T67" fmla="*/ 0 h 194"/>
                <a:gd name="T68" fmla="*/ 168 w 272"/>
                <a:gd name="T69" fmla="*/ 12 h 194"/>
                <a:gd name="T70" fmla="*/ 175 w 272"/>
                <a:gd name="T71" fmla="*/ 0 h 194"/>
                <a:gd name="T72" fmla="*/ 189 w 272"/>
                <a:gd name="T73" fmla="*/ 29 h 194"/>
                <a:gd name="T74" fmla="*/ 206 w 272"/>
                <a:gd name="T75" fmla="*/ 17 h 194"/>
                <a:gd name="T76" fmla="*/ 227 w 272"/>
                <a:gd name="T77" fmla="*/ 34 h 194"/>
                <a:gd name="T78" fmla="*/ 217 w 272"/>
                <a:gd name="T79" fmla="*/ 69 h 194"/>
                <a:gd name="T80" fmla="*/ 222 w 272"/>
                <a:gd name="T81" fmla="*/ 74 h 194"/>
                <a:gd name="T82" fmla="*/ 243 w 272"/>
                <a:gd name="T83" fmla="*/ 74 h 194"/>
                <a:gd name="T84" fmla="*/ 260 w 272"/>
                <a:gd name="T85" fmla="*/ 86 h 194"/>
                <a:gd name="T86" fmla="*/ 272 w 272"/>
                <a:gd name="T87" fmla="*/ 112 h 194"/>
                <a:gd name="T88" fmla="*/ 255 w 272"/>
                <a:gd name="T89" fmla="*/ 123 h 194"/>
                <a:gd name="T90" fmla="*/ 255 w 272"/>
                <a:gd name="T91" fmla="*/ 128 h 194"/>
                <a:gd name="T92" fmla="*/ 255 w 272"/>
                <a:gd name="T93" fmla="*/ 128 h 194"/>
                <a:gd name="T94" fmla="*/ 255 w 272"/>
                <a:gd name="T95" fmla="*/ 12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194">
                  <a:moveTo>
                    <a:pt x="255" y="128"/>
                  </a:moveTo>
                  <a:lnTo>
                    <a:pt x="239" y="128"/>
                  </a:lnTo>
                  <a:lnTo>
                    <a:pt x="222" y="145"/>
                  </a:lnTo>
                  <a:lnTo>
                    <a:pt x="222" y="161"/>
                  </a:lnTo>
                  <a:lnTo>
                    <a:pt x="239" y="178"/>
                  </a:lnTo>
                  <a:lnTo>
                    <a:pt x="227" y="185"/>
                  </a:lnTo>
                  <a:lnTo>
                    <a:pt x="206" y="194"/>
                  </a:lnTo>
                  <a:lnTo>
                    <a:pt x="189" y="178"/>
                  </a:lnTo>
                  <a:lnTo>
                    <a:pt x="163" y="161"/>
                  </a:lnTo>
                  <a:lnTo>
                    <a:pt x="163" y="145"/>
                  </a:lnTo>
                  <a:lnTo>
                    <a:pt x="163" y="128"/>
                  </a:lnTo>
                  <a:lnTo>
                    <a:pt x="163" y="128"/>
                  </a:lnTo>
                  <a:lnTo>
                    <a:pt x="137" y="156"/>
                  </a:lnTo>
                  <a:lnTo>
                    <a:pt x="113" y="145"/>
                  </a:lnTo>
                  <a:lnTo>
                    <a:pt x="113" y="123"/>
                  </a:lnTo>
                  <a:lnTo>
                    <a:pt x="83" y="112"/>
                  </a:lnTo>
                  <a:lnTo>
                    <a:pt x="76" y="102"/>
                  </a:lnTo>
                  <a:lnTo>
                    <a:pt x="54" y="102"/>
                  </a:lnTo>
                  <a:lnTo>
                    <a:pt x="45" y="69"/>
                  </a:lnTo>
                  <a:lnTo>
                    <a:pt x="21" y="74"/>
                  </a:lnTo>
                  <a:lnTo>
                    <a:pt x="7" y="69"/>
                  </a:lnTo>
                  <a:lnTo>
                    <a:pt x="0" y="45"/>
                  </a:lnTo>
                  <a:lnTo>
                    <a:pt x="59" y="12"/>
                  </a:lnTo>
                  <a:lnTo>
                    <a:pt x="59" y="29"/>
                  </a:lnTo>
                  <a:lnTo>
                    <a:pt x="76" y="17"/>
                  </a:lnTo>
                  <a:lnTo>
                    <a:pt x="92" y="29"/>
                  </a:lnTo>
                  <a:lnTo>
                    <a:pt x="120" y="17"/>
                  </a:lnTo>
                  <a:lnTo>
                    <a:pt x="120" y="29"/>
                  </a:lnTo>
                  <a:lnTo>
                    <a:pt x="120" y="12"/>
                  </a:lnTo>
                  <a:lnTo>
                    <a:pt x="130" y="17"/>
                  </a:lnTo>
                  <a:lnTo>
                    <a:pt x="130" y="12"/>
                  </a:lnTo>
                  <a:lnTo>
                    <a:pt x="137" y="0"/>
                  </a:lnTo>
                  <a:lnTo>
                    <a:pt x="146" y="12"/>
                  </a:lnTo>
                  <a:lnTo>
                    <a:pt x="163" y="0"/>
                  </a:lnTo>
                  <a:lnTo>
                    <a:pt x="168" y="12"/>
                  </a:lnTo>
                  <a:lnTo>
                    <a:pt x="175" y="0"/>
                  </a:lnTo>
                  <a:lnTo>
                    <a:pt x="189" y="29"/>
                  </a:lnTo>
                  <a:lnTo>
                    <a:pt x="206" y="17"/>
                  </a:lnTo>
                  <a:lnTo>
                    <a:pt x="227" y="34"/>
                  </a:lnTo>
                  <a:lnTo>
                    <a:pt x="217" y="69"/>
                  </a:lnTo>
                  <a:lnTo>
                    <a:pt x="222" y="74"/>
                  </a:lnTo>
                  <a:lnTo>
                    <a:pt x="243" y="74"/>
                  </a:lnTo>
                  <a:lnTo>
                    <a:pt x="260" y="86"/>
                  </a:lnTo>
                  <a:lnTo>
                    <a:pt x="272" y="112"/>
                  </a:lnTo>
                  <a:lnTo>
                    <a:pt x="255" y="123"/>
                  </a:lnTo>
                  <a:lnTo>
                    <a:pt x="255" y="128"/>
                  </a:lnTo>
                  <a:lnTo>
                    <a:pt x="255" y="128"/>
                  </a:lnTo>
                  <a:lnTo>
                    <a:pt x="255" y="128"/>
                  </a:lnTo>
                  <a:close/>
                </a:path>
              </a:pathLst>
            </a:custGeom>
            <a:pattFill prst="lt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08" name="Freeform 395">
              <a:extLst>
                <a:ext uri="{FF2B5EF4-FFF2-40B4-BE49-F238E27FC236}">
                  <a16:creationId xmlns:a16="http://schemas.microsoft.com/office/drawing/2014/main" id="{158462BF-DDB6-4A42-8A7E-A8105AF9C587}"/>
                </a:ext>
              </a:extLst>
            </p:cNvPr>
            <p:cNvSpPr>
              <a:spLocks noEditPoints="1"/>
            </p:cNvSpPr>
            <p:nvPr/>
          </p:nvSpPr>
          <p:spPr bwMode="gray">
            <a:xfrm>
              <a:off x="8829495" y="3630623"/>
              <a:ext cx="158855" cy="220739"/>
            </a:xfrm>
            <a:custGeom>
              <a:avLst/>
              <a:gdLst>
                <a:gd name="T0" fmla="*/ 71 w 321"/>
                <a:gd name="T1" fmla="*/ 262 h 446"/>
                <a:gd name="T2" fmla="*/ 38 w 321"/>
                <a:gd name="T3" fmla="*/ 229 h 446"/>
                <a:gd name="T4" fmla="*/ 55 w 321"/>
                <a:gd name="T5" fmla="*/ 184 h 446"/>
                <a:gd name="T6" fmla="*/ 5 w 321"/>
                <a:gd name="T7" fmla="*/ 163 h 446"/>
                <a:gd name="T8" fmla="*/ 5 w 321"/>
                <a:gd name="T9" fmla="*/ 128 h 446"/>
                <a:gd name="T10" fmla="*/ 71 w 321"/>
                <a:gd name="T11" fmla="*/ 111 h 446"/>
                <a:gd name="T12" fmla="*/ 55 w 321"/>
                <a:gd name="T13" fmla="*/ 90 h 446"/>
                <a:gd name="T14" fmla="*/ 5 w 321"/>
                <a:gd name="T15" fmla="*/ 57 h 446"/>
                <a:gd name="T16" fmla="*/ 33 w 321"/>
                <a:gd name="T17" fmla="*/ 5 h 446"/>
                <a:gd name="T18" fmla="*/ 59 w 321"/>
                <a:gd name="T19" fmla="*/ 33 h 446"/>
                <a:gd name="T20" fmla="*/ 71 w 321"/>
                <a:gd name="T21" fmla="*/ 17 h 446"/>
                <a:gd name="T22" fmla="*/ 92 w 321"/>
                <a:gd name="T23" fmla="*/ 50 h 446"/>
                <a:gd name="T24" fmla="*/ 123 w 321"/>
                <a:gd name="T25" fmla="*/ 33 h 446"/>
                <a:gd name="T26" fmla="*/ 168 w 321"/>
                <a:gd name="T27" fmla="*/ 111 h 446"/>
                <a:gd name="T28" fmla="*/ 312 w 321"/>
                <a:gd name="T29" fmla="*/ 135 h 446"/>
                <a:gd name="T30" fmla="*/ 274 w 321"/>
                <a:gd name="T31" fmla="*/ 172 h 446"/>
                <a:gd name="T32" fmla="*/ 232 w 321"/>
                <a:gd name="T33" fmla="*/ 205 h 446"/>
                <a:gd name="T34" fmla="*/ 236 w 321"/>
                <a:gd name="T35" fmla="*/ 274 h 446"/>
                <a:gd name="T36" fmla="*/ 258 w 321"/>
                <a:gd name="T37" fmla="*/ 279 h 446"/>
                <a:gd name="T38" fmla="*/ 274 w 321"/>
                <a:gd name="T39" fmla="*/ 241 h 446"/>
                <a:gd name="T40" fmla="*/ 300 w 321"/>
                <a:gd name="T41" fmla="*/ 224 h 446"/>
                <a:gd name="T42" fmla="*/ 312 w 321"/>
                <a:gd name="T43" fmla="*/ 302 h 446"/>
                <a:gd name="T44" fmla="*/ 321 w 321"/>
                <a:gd name="T45" fmla="*/ 406 h 446"/>
                <a:gd name="T46" fmla="*/ 291 w 321"/>
                <a:gd name="T47" fmla="*/ 406 h 446"/>
                <a:gd name="T48" fmla="*/ 286 w 321"/>
                <a:gd name="T49" fmla="*/ 413 h 446"/>
                <a:gd name="T50" fmla="*/ 269 w 321"/>
                <a:gd name="T51" fmla="*/ 373 h 446"/>
                <a:gd name="T52" fmla="*/ 220 w 321"/>
                <a:gd name="T53" fmla="*/ 312 h 446"/>
                <a:gd name="T54" fmla="*/ 182 w 321"/>
                <a:gd name="T55" fmla="*/ 274 h 446"/>
                <a:gd name="T56" fmla="*/ 182 w 321"/>
                <a:gd name="T57" fmla="*/ 241 h 446"/>
                <a:gd name="T58" fmla="*/ 177 w 321"/>
                <a:gd name="T59" fmla="*/ 241 h 446"/>
                <a:gd name="T60" fmla="*/ 182 w 321"/>
                <a:gd name="T61" fmla="*/ 262 h 446"/>
                <a:gd name="T62" fmla="*/ 168 w 321"/>
                <a:gd name="T63" fmla="*/ 295 h 446"/>
                <a:gd name="T64" fmla="*/ 168 w 321"/>
                <a:gd name="T65" fmla="*/ 352 h 446"/>
                <a:gd name="T66" fmla="*/ 151 w 321"/>
                <a:gd name="T67" fmla="*/ 368 h 446"/>
                <a:gd name="T68" fmla="*/ 144 w 321"/>
                <a:gd name="T69" fmla="*/ 357 h 446"/>
                <a:gd name="T70" fmla="*/ 140 w 321"/>
                <a:gd name="T71" fmla="*/ 352 h 446"/>
                <a:gd name="T72" fmla="*/ 130 w 321"/>
                <a:gd name="T73" fmla="*/ 335 h 446"/>
                <a:gd name="T74" fmla="*/ 109 w 321"/>
                <a:gd name="T75" fmla="*/ 368 h 446"/>
                <a:gd name="T76" fmla="*/ 97 w 321"/>
                <a:gd name="T77" fmla="*/ 335 h 446"/>
                <a:gd name="T78" fmla="*/ 92 w 321"/>
                <a:gd name="T79" fmla="*/ 373 h 446"/>
                <a:gd name="T80" fmla="*/ 76 w 321"/>
                <a:gd name="T81" fmla="*/ 368 h 446"/>
                <a:gd name="T82" fmla="*/ 76 w 321"/>
                <a:gd name="T83" fmla="*/ 347 h 446"/>
                <a:gd name="T84" fmla="*/ 168 w 321"/>
                <a:gd name="T85" fmla="*/ 246 h 446"/>
                <a:gd name="T86" fmla="*/ 177 w 321"/>
                <a:gd name="T87" fmla="*/ 257 h 446"/>
                <a:gd name="T88" fmla="*/ 177 w 321"/>
                <a:gd name="T89" fmla="*/ 274 h 446"/>
                <a:gd name="T90" fmla="*/ 182 w 321"/>
                <a:gd name="T91" fmla="*/ 279 h 446"/>
                <a:gd name="T92" fmla="*/ 182 w 321"/>
                <a:gd name="T93" fmla="*/ 286 h 446"/>
                <a:gd name="T94" fmla="*/ 177 w 321"/>
                <a:gd name="T95" fmla="*/ 302 h 446"/>
                <a:gd name="T96" fmla="*/ 182 w 321"/>
                <a:gd name="T97" fmla="*/ 352 h 446"/>
                <a:gd name="T98" fmla="*/ 182 w 321"/>
                <a:gd name="T99" fmla="*/ 295 h 446"/>
                <a:gd name="T100" fmla="*/ 199 w 321"/>
                <a:gd name="T101" fmla="*/ 347 h 446"/>
                <a:gd name="T102" fmla="*/ 182 w 321"/>
                <a:gd name="T103" fmla="*/ 357 h 446"/>
                <a:gd name="T104" fmla="*/ 236 w 321"/>
                <a:gd name="T105" fmla="*/ 302 h 446"/>
                <a:gd name="T106" fmla="*/ 248 w 321"/>
                <a:gd name="T107" fmla="*/ 328 h 446"/>
                <a:gd name="T108" fmla="*/ 215 w 321"/>
                <a:gd name="T109" fmla="*/ 312 h 446"/>
                <a:gd name="T110" fmla="*/ 215 w 321"/>
                <a:gd name="T111" fmla="*/ 352 h 446"/>
                <a:gd name="T112" fmla="*/ 177 w 321"/>
                <a:gd name="T113" fmla="*/ 352 h 446"/>
                <a:gd name="T114" fmla="*/ 177 w 321"/>
                <a:gd name="T115" fmla="*/ 352 h 446"/>
                <a:gd name="T116" fmla="*/ 168 w 321"/>
                <a:gd name="T117" fmla="*/ 352 h 446"/>
                <a:gd name="T118" fmla="*/ 168 w 321"/>
                <a:gd name="T119" fmla="*/ 357 h 446"/>
                <a:gd name="T120" fmla="*/ 269 w 321"/>
                <a:gd name="T121" fmla="*/ 373 h 446"/>
                <a:gd name="T122" fmla="*/ 269 w 321"/>
                <a:gd name="T123" fmla="*/ 39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1" h="446">
                  <a:moveTo>
                    <a:pt x="76" y="347"/>
                  </a:moveTo>
                  <a:lnTo>
                    <a:pt x="59" y="279"/>
                  </a:lnTo>
                  <a:lnTo>
                    <a:pt x="71" y="262"/>
                  </a:lnTo>
                  <a:lnTo>
                    <a:pt x="55" y="257"/>
                  </a:lnTo>
                  <a:lnTo>
                    <a:pt x="55" y="241"/>
                  </a:lnTo>
                  <a:lnTo>
                    <a:pt x="38" y="229"/>
                  </a:lnTo>
                  <a:lnTo>
                    <a:pt x="38" y="217"/>
                  </a:lnTo>
                  <a:lnTo>
                    <a:pt x="55" y="205"/>
                  </a:lnTo>
                  <a:lnTo>
                    <a:pt x="55" y="184"/>
                  </a:lnTo>
                  <a:lnTo>
                    <a:pt x="43" y="172"/>
                  </a:lnTo>
                  <a:lnTo>
                    <a:pt x="38" y="172"/>
                  </a:lnTo>
                  <a:lnTo>
                    <a:pt x="5" y="163"/>
                  </a:lnTo>
                  <a:lnTo>
                    <a:pt x="0" y="151"/>
                  </a:lnTo>
                  <a:lnTo>
                    <a:pt x="17" y="135"/>
                  </a:lnTo>
                  <a:lnTo>
                    <a:pt x="5" y="128"/>
                  </a:lnTo>
                  <a:lnTo>
                    <a:pt x="21" y="135"/>
                  </a:lnTo>
                  <a:lnTo>
                    <a:pt x="33" y="111"/>
                  </a:lnTo>
                  <a:lnTo>
                    <a:pt x="71" y="111"/>
                  </a:lnTo>
                  <a:lnTo>
                    <a:pt x="71" y="106"/>
                  </a:lnTo>
                  <a:lnTo>
                    <a:pt x="59" y="94"/>
                  </a:lnTo>
                  <a:lnTo>
                    <a:pt x="55" y="90"/>
                  </a:lnTo>
                  <a:lnTo>
                    <a:pt x="38" y="90"/>
                  </a:lnTo>
                  <a:lnTo>
                    <a:pt x="21" y="61"/>
                  </a:lnTo>
                  <a:lnTo>
                    <a:pt x="5" y="57"/>
                  </a:lnTo>
                  <a:lnTo>
                    <a:pt x="17" y="33"/>
                  </a:lnTo>
                  <a:lnTo>
                    <a:pt x="38" y="17"/>
                  </a:lnTo>
                  <a:lnTo>
                    <a:pt x="33" y="5"/>
                  </a:lnTo>
                  <a:lnTo>
                    <a:pt x="21" y="5"/>
                  </a:lnTo>
                  <a:lnTo>
                    <a:pt x="33" y="0"/>
                  </a:lnTo>
                  <a:lnTo>
                    <a:pt x="59" y="33"/>
                  </a:lnTo>
                  <a:lnTo>
                    <a:pt x="76" y="24"/>
                  </a:lnTo>
                  <a:lnTo>
                    <a:pt x="59" y="17"/>
                  </a:lnTo>
                  <a:lnTo>
                    <a:pt x="71" y="17"/>
                  </a:lnTo>
                  <a:lnTo>
                    <a:pt x="76" y="17"/>
                  </a:lnTo>
                  <a:lnTo>
                    <a:pt x="76" y="33"/>
                  </a:lnTo>
                  <a:lnTo>
                    <a:pt x="92" y="50"/>
                  </a:lnTo>
                  <a:lnTo>
                    <a:pt x="109" y="50"/>
                  </a:lnTo>
                  <a:lnTo>
                    <a:pt x="114" y="33"/>
                  </a:lnTo>
                  <a:lnTo>
                    <a:pt x="123" y="33"/>
                  </a:lnTo>
                  <a:lnTo>
                    <a:pt x="130" y="57"/>
                  </a:lnTo>
                  <a:lnTo>
                    <a:pt x="130" y="106"/>
                  </a:lnTo>
                  <a:lnTo>
                    <a:pt x="168" y="111"/>
                  </a:lnTo>
                  <a:lnTo>
                    <a:pt x="286" y="111"/>
                  </a:lnTo>
                  <a:lnTo>
                    <a:pt x="307" y="118"/>
                  </a:lnTo>
                  <a:lnTo>
                    <a:pt x="312" y="135"/>
                  </a:lnTo>
                  <a:lnTo>
                    <a:pt x="300" y="135"/>
                  </a:lnTo>
                  <a:lnTo>
                    <a:pt x="291" y="168"/>
                  </a:lnTo>
                  <a:lnTo>
                    <a:pt x="274" y="172"/>
                  </a:lnTo>
                  <a:lnTo>
                    <a:pt x="269" y="189"/>
                  </a:lnTo>
                  <a:lnTo>
                    <a:pt x="236" y="189"/>
                  </a:lnTo>
                  <a:lnTo>
                    <a:pt x="232" y="205"/>
                  </a:lnTo>
                  <a:lnTo>
                    <a:pt x="220" y="229"/>
                  </a:lnTo>
                  <a:lnTo>
                    <a:pt x="232" y="274"/>
                  </a:lnTo>
                  <a:lnTo>
                    <a:pt x="236" y="274"/>
                  </a:lnTo>
                  <a:lnTo>
                    <a:pt x="236" y="257"/>
                  </a:lnTo>
                  <a:lnTo>
                    <a:pt x="248" y="279"/>
                  </a:lnTo>
                  <a:lnTo>
                    <a:pt x="258" y="279"/>
                  </a:lnTo>
                  <a:lnTo>
                    <a:pt x="269" y="274"/>
                  </a:lnTo>
                  <a:lnTo>
                    <a:pt x="258" y="257"/>
                  </a:lnTo>
                  <a:lnTo>
                    <a:pt x="274" y="241"/>
                  </a:lnTo>
                  <a:lnTo>
                    <a:pt x="274" y="224"/>
                  </a:lnTo>
                  <a:lnTo>
                    <a:pt x="286" y="229"/>
                  </a:lnTo>
                  <a:lnTo>
                    <a:pt x="300" y="224"/>
                  </a:lnTo>
                  <a:lnTo>
                    <a:pt x="307" y="257"/>
                  </a:lnTo>
                  <a:lnTo>
                    <a:pt x="307" y="279"/>
                  </a:lnTo>
                  <a:lnTo>
                    <a:pt x="312" y="302"/>
                  </a:lnTo>
                  <a:lnTo>
                    <a:pt x="321" y="357"/>
                  </a:lnTo>
                  <a:lnTo>
                    <a:pt x="321" y="406"/>
                  </a:lnTo>
                  <a:lnTo>
                    <a:pt x="321" y="406"/>
                  </a:lnTo>
                  <a:lnTo>
                    <a:pt x="307" y="390"/>
                  </a:lnTo>
                  <a:lnTo>
                    <a:pt x="300" y="402"/>
                  </a:lnTo>
                  <a:lnTo>
                    <a:pt x="291" y="406"/>
                  </a:lnTo>
                  <a:lnTo>
                    <a:pt x="300" y="425"/>
                  </a:lnTo>
                  <a:lnTo>
                    <a:pt x="300" y="446"/>
                  </a:lnTo>
                  <a:lnTo>
                    <a:pt x="286" y="413"/>
                  </a:lnTo>
                  <a:lnTo>
                    <a:pt x="274" y="402"/>
                  </a:lnTo>
                  <a:lnTo>
                    <a:pt x="286" y="385"/>
                  </a:lnTo>
                  <a:lnTo>
                    <a:pt x="269" y="373"/>
                  </a:lnTo>
                  <a:lnTo>
                    <a:pt x="258" y="319"/>
                  </a:lnTo>
                  <a:lnTo>
                    <a:pt x="236" y="295"/>
                  </a:lnTo>
                  <a:lnTo>
                    <a:pt x="220" y="312"/>
                  </a:lnTo>
                  <a:lnTo>
                    <a:pt x="203" y="312"/>
                  </a:lnTo>
                  <a:lnTo>
                    <a:pt x="199" y="302"/>
                  </a:lnTo>
                  <a:lnTo>
                    <a:pt x="182" y="274"/>
                  </a:lnTo>
                  <a:lnTo>
                    <a:pt x="182" y="241"/>
                  </a:lnTo>
                  <a:lnTo>
                    <a:pt x="194" y="241"/>
                  </a:lnTo>
                  <a:lnTo>
                    <a:pt x="182" y="241"/>
                  </a:lnTo>
                  <a:lnTo>
                    <a:pt x="182" y="229"/>
                  </a:lnTo>
                  <a:lnTo>
                    <a:pt x="177" y="229"/>
                  </a:lnTo>
                  <a:lnTo>
                    <a:pt x="177" y="241"/>
                  </a:lnTo>
                  <a:lnTo>
                    <a:pt x="177" y="246"/>
                  </a:lnTo>
                  <a:lnTo>
                    <a:pt x="161" y="246"/>
                  </a:lnTo>
                  <a:lnTo>
                    <a:pt x="182" y="262"/>
                  </a:lnTo>
                  <a:lnTo>
                    <a:pt x="177" y="274"/>
                  </a:lnTo>
                  <a:lnTo>
                    <a:pt x="168" y="274"/>
                  </a:lnTo>
                  <a:lnTo>
                    <a:pt x="168" y="295"/>
                  </a:lnTo>
                  <a:lnTo>
                    <a:pt x="177" y="312"/>
                  </a:lnTo>
                  <a:lnTo>
                    <a:pt x="182" y="328"/>
                  </a:lnTo>
                  <a:lnTo>
                    <a:pt x="168" y="352"/>
                  </a:lnTo>
                  <a:lnTo>
                    <a:pt x="168" y="335"/>
                  </a:lnTo>
                  <a:lnTo>
                    <a:pt x="161" y="368"/>
                  </a:lnTo>
                  <a:lnTo>
                    <a:pt x="151" y="368"/>
                  </a:lnTo>
                  <a:lnTo>
                    <a:pt x="140" y="368"/>
                  </a:lnTo>
                  <a:lnTo>
                    <a:pt x="151" y="347"/>
                  </a:lnTo>
                  <a:lnTo>
                    <a:pt x="144" y="357"/>
                  </a:lnTo>
                  <a:lnTo>
                    <a:pt x="140" y="352"/>
                  </a:lnTo>
                  <a:lnTo>
                    <a:pt x="144" y="347"/>
                  </a:lnTo>
                  <a:lnTo>
                    <a:pt x="140" y="352"/>
                  </a:lnTo>
                  <a:lnTo>
                    <a:pt x="130" y="335"/>
                  </a:lnTo>
                  <a:lnTo>
                    <a:pt x="140" y="319"/>
                  </a:lnTo>
                  <a:lnTo>
                    <a:pt x="130" y="335"/>
                  </a:lnTo>
                  <a:lnTo>
                    <a:pt x="130" y="357"/>
                  </a:lnTo>
                  <a:lnTo>
                    <a:pt x="109" y="373"/>
                  </a:lnTo>
                  <a:lnTo>
                    <a:pt x="109" y="368"/>
                  </a:lnTo>
                  <a:lnTo>
                    <a:pt x="114" y="328"/>
                  </a:lnTo>
                  <a:lnTo>
                    <a:pt x="109" y="357"/>
                  </a:lnTo>
                  <a:lnTo>
                    <a:pt x="97" y="335"/>
                  </a:lnTo>
                  <a:lnTo>
                    <a:pt x="109" y="357"/>
                  </a:lnTo>
                  <a:lnTo>
                    <a:pt x="97" y="373"/>
                  </a:lnTo>
                  <a:lnTo>
                    <a:pt x="92" y="373"/>
                  </a:lnTo>
                  <a:lnTo>
                    <a:pt x="92" y="357"/>
                  </a:lnTo>
                  <a:lnTo>
                    <a:pt x="88" y="385"/>
                  </a:lnTo>
                  <a:lnTo>
                    <a:pt x="76" y="368"/>
                  </a:lnTo>
                  <a:lnTo>
                    <a:pt x="76" y="347"/>
                  </a:lnTo>
                  <a:lnTo>
                    <a:pt x="76" y="347"/>
                  </a:lnTo>
                  <a:lnTo>
                    <a:pt x="76" y="347"/>
                  </a:lnTo>
                  <a:close/>
                  <a:moveTo>
                    <a:pt x="177" y="257"/>
                  </a:moveTo>
                  <a:lnTo>
                    <a:pt x="182" y="257"/>
                  </a:lnTo>
                  <a:lnTo>
                    <a:pt x="168" y="246"/>
                  </a:lnTo>
                  <a:lnTo>
                    <a:pt x="177" y="257"/>
                  </a:lnTo>
                  <a:lnTo>
                    <a:pt x="177" y="257"/>
                  </a:lnTo>
                  <a:lnTo>
                    <a:pt x="177" y="257"/>
                  </a:lnTo>
                  <a:close/>
                  <a:moveTo>
                    <a:pt x="182" y="279"/>
                  </a:moveTo>
                  <a:lnTo>
                    <a:pt x="177" y="279"/>
                  </a:lnTo>
                  <a:lnTo>
                    <a:pt x="177" y="274"/>
                  </a:lnTo>
                  <a:lnTo>
                    <a:pt x="182" y="279"/>
                  </a:lnTo>
                  <a:lnTo>
                    <a:pt x="182" y="279"/>
                  </a:lnTo>
                  <a:lnTo>
                    <a:pt x="182" y="279"/>
                  </a:lnTo>
                  <a:close/>
                  <a:moveTo>
                    <a:pt x="177" y="302"/>
                  </a:moveTo>
                  <a:lnTo>
                    <a:pt x="168" y="286"/>
                  </a:lnTo>
                  <a:lnTo>
                    <a:pt x="182" y="286"/>
                  </a:lnTo>
                  <a:lnTo>
                    <a:pt x="177" y="295"/>
                  </a:lnTo>
                  <a:lnTo>
                    <a:pt x="177" y="302"/>
                  </a:lnTo>
                  <a:lnTo>
                    <a:pt x="177" y="302"/>
                  </a:lnTo>
                  <a:lnTo>
                    <a:pt x="177" y="302"/>
                  </a:lnTo>
                  <a:close/>
                  <a:moveTo>
                    <a:pt x="182" y="357"/>
                  </a:moveTo>
                  <a:lnTo>
                    <a:pt x="182" y="352"/>
                  </a:lnTo>
                  <a:lnTo>
                    <a:pt x="182" y="319"/>
                  </a:lnTo>
                  <a:lnTo>
                    <a:pt x="177" y="302"/>
                  </a:lnTo>
                  <a:lnTo>
                    <a:pt x="182" y="295"/>
                  </a:lnTo>
                  <a:lnTo>
                    <a:pt x="182" y="295"/>
                  </a:lnTo>
                  <a:lnTo>
                    <a:pt x="199" y="319"/>
                  </a:lnTo>
                  <a:lnTo>
                    <a:pt x="199" y="347"/>
                  </a:lnTo>
                  <a:lnTo>
                    <a:pt x="182" y="357"/>
                  </a:lnTo>
                  <a:lnTo>
                    <a:pt x="182" y="357"/>
                  </a:lnTo>
                  <a:lnTo>
                    <a:pt x="182" y="357"/>
                  </a:lnTo>
                  <a:close/>
                  <a:moveTo>
                    <a:pt x="248" y="328"/>
                  </a:moveTo>
                  <a:lnTo>
                    <a:pt x="236" y="319"/>
                  </a:lnTo>
                  <a:lnTo>
                    <a:pt x="236" y="302"/>
                  </a:lnTo>
                  <a:lnTo>
                    <a:pt x="248" y="319"/>
                  </a:lnTo>
                  <a:lnTo>
                    <a:pt x="248" y="328"/>
                  </a:lnTo>
                  <a:lnTo>
                    <a:pt x="248" y="328"/>
                  </a:lnTo>
                  <a:lnTo>
                    <a:pt x="248" y="328"/>
                  </a:lnTo>
                  <a:close/>
                  <a:moveTo>
                    <a:pt x="215" y="352"/>
                  </a:moveTo>
                  <a:lnTo>
                    <a:pt x="215" y="312"/>
                  </a:lnTo>
                  <a:lnTo>
                    <a:pt x="220" y="335"/>
                  </a:lnTo>
                  <a:lnTo>
                    <a:pt x="215" y="352"/>
                  </a:lnTo>
                  <a:lnTo>
                    <a:pt x="215" y="352"/>
                  </a:lnTo>
                  <a:lnTo>
                    <a:pt x="215" y="352"/>
                  </a:lnTo>
                  <a:close/>
                  <a:moveTo>
                    <a:pt x="177" y="352"/>
                  </a:moveTo>
                  <a:lnTo>
                    <a:pt x="177" y="352"/>
                  </a:lnTo>
                  <a:lnTo>
                    <a:pt x="182" y="347"/>
                  </a:lnTo>
                  <a:lnTo>
                    <a:pt x="177" y="352"/>
                  </a:lnTo>
                  <a:lnTo>
                    <a:pt x="177" y="352"/>
                  </a:lnTo>
                  <a:lnTo>
                    <a:pt x="177" y="352"/>
                  </a:lnTo>
                  <a:close/>
                  <a:moveTo>
                    <a:pt x="168" y="357"/>
                  </a:moveTo>
                  <a:lnTo>
                    <a:pt x="168" y="352"/>
                  </a:lnTo>
                  <a:lnTo>
                    <a:pt x="177" y="357"/>
                  </a:lnTo>
                  <a:lnTo>
                    <a:pt x="168" y="357"/>
                  </a:lnTo>
                  <a:lnTo>
                    <a:pt x="168" y="357"/>
                  </a:lnTo>
                  <a:lnTo>
                    <a:pt x="168" y="357"/>
                  </a:lnTo>
                  <a:close/>
                  <a:moveTo>
                    <a:pt x="269" y="390"/>
                  </a:moveTo>
                  <a:lnTo>
                    <a:pt x="269" y="373"/>
                  </a:lnTo>
                  <a:lnTo>
                    <a:pt x="274" y="385"/>
                  </a:lnTo>
                  <a:lnTo>
                    <a:pt x="269" y="390"/>
                  </a:lnTo>
                  <a:lnTo>
                    <a:pt x="269" y="390"/>
                  </a:lnTo>
                  <a:lnTo>
                    <a:pt x="269" y="390"/>
                  </a:lnTo>
                  <a:close/>
                </a:path>
              </a:pathLst>
            </a:custGeom>
            <a:pattFill prst="dk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09" name="Freeform 396">
              <a:extLst>
                <a:ext uri="{FF2B5EF4-FFF2-40B4-BE49-F238E27FC236}">
                  <a16:creationId xmlns:a16="http://schemas.microsoft.com/office/drawing/2014/main" id="{5F5BA8A1-23D9-4E0B-AA54-C35C8163E2AD}"/>
                </a:ext>
              </a:extLst>
            </p:cNvPr>
            <p:cNvSpPr>
              <a:spLocks noEditPoints="1"/>
            </p:cNvSpPr>
            <p:nvPr/>
          </p:nvSpPr>
          <p:spPr bwMode="gray">
            <a:xfrm>
              <a:off x="2677185" y="3939461"/>
              <a:ext cx="47013" cy="92057"/>
            </a:xfrm>
            <a:custGeom>
              <a:avLst/>
              <a:gdLst>
                <a:gd name="T0" fmla="*/ 24 w 95"/>
                <a:gd name="T1" fmla="*/ 186 h 186"/>
                <a:gd name="T2" fmla="*/ 0 w 95"/>
                <a:gd name="T3" fmla="*/ 186 h 186"/>
                <a:gd name="T4" fmla="*/ 7 w 95"/>
                <a:gd name="T5" fmla="*/ 42 h 186"/>
                <a:gd name="T6" fmla="*/ 7 w 95"/>
                <a:gd name="T7" fmla="*/ 37 h 186"/>
                <a:gd name="T8" fmla="*/ 17 w 95"/>
                <a:gd name="T9" fmla="*/ 26 h 186"/>
                <a:gd name="T10" fmla="*/ 24 w 95"/>
                <a:gd name="T11" fmla="*/ 37 h 186"/>
                <a:gd name="T12" fmla="*/ 57 w 95"/>
                <a:gd name="T13" fmla="*/ 0 h 186"/>
                <a:gd name="T14" fmla="*/ 62 w 95"/>
                <a:gd name="T15" fmla="*/ 0 h 186"/>
                <a:gd name="T16" fmla="*/ 62 w 95"/>
                <a:gd name="T17" fmla="*/ 4 h 186"/>
                <a:gd name="T18" fmla="*/ 78 w 95"/>
                <a:gd name="T19" fmla="*/ 4 h 186"/>
                <a:gd name="T20" fmla="*/ 78 w 95"/>
                <a:gd name="T21" fmla="*/ 9 h 186"/>
                <a:gd name="T22" fmla="*/ 62 w 95"/>
                <a:gd name="T23" fmla="*/ 59 h 186"/>
                <a:gd name="T24" fmla="*/ 62 w 95"/>
                <a:gd name="T25" fmla="*/ 92 h 186"/>
                <a:gd name="T26" fmla="*/ 73 w 95"/>
                <a:gd name="T27" fmla="*/ 111 h 186"/>
                <a:gd name="T28" fmla="*/ 62 w 95"/>
                <a:gd name="T29" fmla="*/ 137 h 186"/>
                <a:gd name="T30" fmla="*/ 62 w 95"/>
                <a:gd name="T31" fmla="*/ 132 h 186"/>
                <a:gd name="T32" fmla="*/ 45 w 95"/>
                <a:gd name="T33" fmla="*/ 153 h 186"/>
                <a:gd name="T34" fmla="*/ 33 w 95"/>
                <a:gd name="T35" fmla="*/ 165 h 186"/>
                <a:gd name="T36" fmla="*/ 24 w 95"/>
                <a:gd name="T37" fmla="*/ 177 h 186"/>
                <a:gd name="T38" fmla="*/ 24 w 95"/>
                <a:gd name="T39" fmla="*/ 186 h 186"/>
                <a:gd name="T40" fmla="*/ 24 w 95"/>
                <a:gd name="T41" fmla="*/ 186 h 186"/>
                <a:gd name="T42" fmla="*/ 24 w 95"/>
                <a:gd name="T43" fmla="*/ 186 h 186"/>
                <a:gd name="T44" fmla="*/ 95 w 95"/>
                <a:gd name="T45" fmla="*/ 26 h 186"/>
                <a:gd name="T46" fmla="*/ 90 w 95"/>
                <a:gd name="T47" fmla="*/ 37 h 186"/>
                <a:gd name="T48" fmla="*/ 95 w 95"/>
                <a:gd name="T49" fmla="*/ 21 h 186"/>
                <a:gd name="T50" fmla="*/ 95 w 95"/>
                <a:gd name="T51" fmla="*/ 26 h 186"/>
                <a:gd name="T52" fmla="*/ 95 w 95"/>
                <a:gd name="T53" fmla="*/ 26 h 186"/>
                <a:gd name="T54" fmla="*/ 95 w 95"/>
                <a:gd name="T55" fmla="*/ 2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5" h="186">
                  <a:moveTo>
                    <a:pt x="24" y="186"/>
                  </a:moveTo>
                  <a:lnTo>
                    <a:pt x="0" y="186"/>
                  </a:lnTo>
                  <a:lnTo>
                    <a:pt x="7" y="42"/>
                  </a:lnTo>
                  <a:lnTo>
                    <a:pt x="7" y="37"/>
                  </a:lnTo>
                  <a:lnTo>
                    <a:pt x="17" y="26"/>
                  </a:lnTo>
                  <a:lnTo>
                    <a:pt x="24" y="37"/>
                  </a:lnTo>
                  <a:lnTo>
                    <a:pt x="57" y="0"/>
                  </a:lnTo>
                  <a:lnTo>
                    <a:pt x="62" y="0"/>
                  </a:lnTo>
                  <a:lnTo>
                    <a:pt x="62" y="4"/>
                  </a:lnTo>
                  <a:lnTo>
                    <a:pt x="78" y="4"/>
                  </a:lnTo>
                  <a:lnTo>
                    <a:pt x="78" y="9"/>
                  </a:lnTo>
                  <a:lnTo>
                    <a:pt x="62" y="59"/>
                  </a:lnTo>
                  <a:lnTo>
                    <a:pt x="62" y="92"/>
                  </a:lnTo>
                  <a:lnTo>
                    <a:pt x="73" y="111"/>
                  </a:lnTo>
                  <a:lnTo>
                    <a:pt x="62" y="137"/>
                  </a:lnTo>
                  <a:lnTo>
                    <a:pt x="62" y="132"/>
                  </a:lnTo>
                  <a:lnTo>
                    <a:pt x="45" y="153"/>
                  </a:lnTo>
                  <a:lnTo>
                    <a:pt x="33" y="165"/>
                  </a:lnTo>
                  <a:lnTo>
                    <a:pt x="24" y="177"/>
                  </a:lnTo>
                  <a:lnTo>
                    <a:pt x="24" y="186"/>
                  </a:lnTo>
                  <a:lnTo>
                    <a:pt x="24" y="186"/>
                  </a:lnTo>
                  <a:lnTo>
                    <a:pt x="24" y="186"/>
                  </a:lnTo>
                  <a:close/>
                  <a:moveTo>
                    <a:pt x="95" y="26"/>
                  </a:moveTo>
                  <a:lnTo>
                    <a:pt x="90" y="37"/>
                  </a:lnTo>
                  <a:lnTo>
                    <a:pt x="95" y="21"/>
                  </a:lnTo>
                  <a:lnTo>
                    <a:pt x="95" y="26"/>
                  </a:lnTo>
                  <a:lnTo>
                    <a:pt x="95" y="26"/>
                  </a:lnTo>
                  <a:lnTo>
                    <a:pt x="95" y="26"/>
                  </a:lnTo>
                  <a:close/>
                </a:path>
              </a:pathLst>
            </a:custGeom>
            <a:pattFill prst="dk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10" name="Freeform 397">
              <a:extLst>
                <a:ext uri="{FF2B5EF4-FFF2-40B4-BE49-F238E27FC236}">
                  <a16:creationId xmlns:a16="http://schemas.microsoft.com/office/drawing/2014/main" id="{991F46C8-BD72-43F4-9B4A-27B4BED9D6C4}"/>
                </a:ext>
              </a:extLst>
            </p:cNvPr>
            <p:cNvSpPr>
              <a:spLocks/>
            </p:cNvSpPr>
            <p:nvPr/>
          </p:nvSpPr>
          <p:spPr bwMode="gray">
            <a:xfrm>
              <a:off x="6319973" y="2872882"/>
              <a:ext cx="133122" cy="115814"/>
            </a:xfrm>
            <a:custGeom>
              <a:avLst/>
              <a:gdLst>
                <a:gd name="T0" fmla="*/ 130 w 269"/>
                <a:gd name="T1" fmla="*/ 192 h 234"/>
                <a:gd name="T2" fmla="*/ 139 w 269"/>
                <a:gd name="T3" fmla="*/ 192 h 234"/>
                <a:gd name="T4" fmla="*/ 130 w 269"/>
                <a:gd name="T5" fmla="*/ 187 h 234"/>
                <a:gd name="T6" fmla="*/ 108 w 269"/>
                <a:gd name="T7" fmla="*/ 170 h 234"/>
                <a:gd name="T8" fmla="*/ 108 w 269"/>
                <a:gd name="T9" fmla="*/ 154 h 234"/>
                <a:gd name="T10" fmla="*/ 87 w 269"/>
                <a:gd name="T11" fmla="*/ 137 h 234"/>
                <a:gd name="T12" fmla="*/ 54 w 269"/>
                <a:gd name="T13" fmla="*/ 109 h 234"/>
                <a:gd name="T14" fmla="*/ 33 w 269"/>
                <a:gd name="T15" fmla="*/ 92 h 234"/>
                <a:gd name="T16" fmla="*/ 33 w 269"/>
                <a:gd name="T17" fmla="*/ 76 h 234"/>
                <a:gd name="T18" fmla="*/ 33 w 269"/>
                <a:gd name="T19" fmla="*/ 59 h 234"/>
                <a:gd name="T20" fmla="*/ 0 w 269"/>
                <a:gd name="T21" fmla="*/ 38 h 234"/>
                <a:gd name="T22" fmla="*/ 4 w 269"/>
                <a:gd name="T23" fmla="*/ 5 h 234"/>
                <a:gd name="T24" fmla="*/ 21 w 269"/>
                <a:gd name="T25" fmla="*/ 0 h 234"/>
                <a:gd name="T26" fmla="*/ 37 w 269"/>
                <a:gd name="T27" fmla="*/ 22 h 234"/>
                <a:gd name="T28" fmla="*/ 54 w 269"/>
                <a:gd name="T29" fmla="*/ 0 h 234"/>
                <a:gd name="T30" fmla="*/ 75 w 269"/>
                <a:gd name="T31" fmla="*/ 0 h 234"/>
                <a:gd name="T32" fmla="*/ 87 w 269"/>
                <a:gd name="T33" fmla="*/ 0 h 234"/>
                <a:gd name="T34" fmla="*/ 101 w 269"/>
                <a:gd name="T35" fmla="*/ 5 h 234"/>
                <a:gd name="T36" fmla="*/ 146 w 269"/>
                <a:gd name="T37" fmla="*/ 17 h 234"/>
                <a:gd name="T38" fmla="*/ 177 w 269"/>
                <a:gd name="T39" fmla="*/ 5 h 234"/>
                <a:gd name="T40" fmla="*/ 200 w 269"/>
                <a:gd name="T41" fmla="*/ 17 h 234"/>
                <a:gd name="T42" fmla="*/ 215 w 269"/>
                <a:gd name="T43" fmla="*/ 22 h 234"/>
                <a:gd name="T44" fmla="*/ 215 w 269"/>
                <a:gd name="T45" fmla="*/ 26 h 234"/>
                <a:gd name="T46" fmla="*/ 231 w 269"/>
                <a:gd name="T47" fmla="*/ 26 h 234"/>
                <a:gd name="T48" fmla="*/ 252 w 269"/>
                <a:gd name="T49" fmla="*/ 26 h 234"/>
                <a:gd name="T50" fmla="*/ 238 w 269"/>
                <a:gd name="T51" fmla="*/ 76 h 234"/>
                <a:gd name="T52" fmla="*/ 269 w 269"/>
                <a:gd name="T53" fmla="*/ 97 h 234"/>
                <a:gd name="T54" fmla="*/ 264 w 269"/>
                <a:gd name="T55" fmla="*/ 109 h 234"/>
                <a:gd name="T56" fmla="*/ 248 w 269"/>
                <a:gd name="T57" fmla="*/ 109 h 234"/>
                <a:gd name="T58" fmla="*/ 264 w 269"/>
                <a:gd name="T59" fmla="*/ 130 h 234"/>
                <a:gd name="T60" fmla="*/ 264 w 269"/>
                <a:gd name="T61" fmla="*/ 147 h 234"/>
                <a:gd name="T62" fmla="*/ 248 w 269"/>
                <a:gd name="T63" fmla="*/ 147 h 234"/>
                <a:gd name="T64" fmla="*/ 222 w 269"/>
                <a:gd name="T65" fmla="*/ 147 h 234"/>
                <a:gd name="T66" fmla="*/ 238 w 269"/>
                <a:gd name="T67" fmla="*/ 163 h 234"/>
                <a:gd name="T68" fmla="*/ 231 w 269"/>
                <a:gd name="T69" fmla="*/ 170 h 234"/>
                <a:gd name="T70" fmla="*/ 222 w 269"/>
                <a:gd name="T71" fmla="*/ 163 h 234"/>
                <a:gd name="T72" fmla="*/ 210 w 269"/>
                <a:gd name="T73" fmla="*/ 170 h 234"/>
                <a:gd name="T74" fmla="*/ 210 w 269"/>
                <a:gd name="T75" fmla="*/ 187 h 234"/>
                <a:gd name="T76" fmla="*/ 193 w 269"/>
                <a:gd name="T77" fmla="*/ 192 h 234"/>
                <a:gd name="T78" fmla="*/ 193 w 269"/>
                <a:gd name="T79" fmla="*/ 208 h 234"/>
                <a:gd name="T80" fmla="*/ 200 w 269"/>
                <a:gd name="T81" fmla="*/ 225 h 234"/>
                <a:gd name="T82" fmla="*/ 193 w 269"/>
                <a:gd name="T83" fmla="*/ 234 h 234"/>
                <a:gd name="T84" fmla="*/ 146 w 269"/>
                <a:gd name="T85" fmla="*/ 203 h 234"/>
                <a:gd name="T86" fmla="*/ 130 w 269"/>
                <a:gd name="T87" fmla="*/ 203 h 234"/>
                <a:gd name="T88" fmla="*/ 130 w 269"/>
                <a:gd name="T89" fmla="*/ 192 h 234"/>
                <a:gd name="T90" fmla="*/ 130 w 269"/>
                <a:gd name="T91" fmla="*/ 192 h 234"/>
                <a:gd name="T92" fmla="*/ 130 w 269"/>
                <a:gd name="T93" fmla="*/ 19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9" h="234">
                  <a:moveTo>
                    <a:pt x="130" y="192"/>
                  </a:moveTo>
                  <a:lnTo>
                    <a:pt x="139" y="192"/>
                  </a:lnTo>
                  <a:lnTo>
                    <a:pt x="130" y="187"/>
                  </a:lnTo>
                  <a:lnTo>
                    <a:pt x="108" y="170"/>
                  </a:lnTo>
                  <a:lnTo>
                    <a:pt x="108" y="154"/>
                  </a:lnTo>
                  <a:lnTo>
                    <a:pt x="87" y="137"/>
                  </a:lnTo>
                  <a:lnTo>
                    <a:pt x="54" y="109"/>
                  </a:lnTo>
                  <a:lnTo>
                    <a:pt x="33" y="92"/>
                  </a:lnTo>
                  <a:lnTo>
                    <a:pt x="33" y="76"/>
                  </a:lnTo>
                  <a:lnTo>
                    <a:pt x="33" y="59"/>
                  </a:lnTo>
                  <a:lnTo>
                    <a:pt x="0" y="38"/>
                  </a:lnTo>
                  <a:lnTo>
                    <a:pt x="4" y="5"/>
                  </a:lnTo>
                  <a:lnTo>
                    <a:pt x="21" y="0"/>
                  </a:lnTo>
                  <a:lnTo>
                    <a:pt x="37" y="22"/>
                  </a:lnTo>
                  <a:lnTo>
                    <a:pt x="54" y="0"/>
                  </a:lnTo>
                  <a:lnTo>
                    <a:pt x="75" y="0"/>
                  </a:lnTo>
                  <a:lnTo>
                    <a:pt x="87" y="0"/>
                  </a:lnTo>
                  <a:lnTo>
                    <a:pt x="101" y="5"/>
                  </a:lnTo>
                  <a:lnTo>
                    <a:pt x="146" y="17"/>
                  </a:lnTo>
                  <a:lnTo>
                    <a:pt x="177" y="5"/>
                  </a:lnTo>
                  <a:lnTo>
                    <a:pt x="200" y="17"/>
                  </a:lnTo>
                  <a:lnTo>
                    <a:pt x="215" y="22"/>
                  </a:lnTo>
                  <a:lnTo>
                    <a:pt x="215" y="26"/>
                  </a:lnTo>
                  <a:lnTo>
                    <a:pt x="231" y="26"/>
                  </a:lnTo>
                  <a:lnTo>
                    <a:pt x="252" y="26"/>
                  </a:lnTo>
                  <a:lnTo>
                    <a:pt x="238" y="76"/>
                  </a:lnTo>
                  <a:lnTo>
                    <a:pt x="269" y="97"/>
                  </a:lnTo>
                  <a:lnTo>
                    <a:pt x="264" y="109"/>
                  </a:lnTo>
                  <a:lnTo>
                    <a:pt x="248" y="109"/>
                  </a:lnTo>
                  <a:lnTo>
                    <a:pt x="264" y="130"/>
                  </a:lnTo>
                  <a:lnTo>
                    <a:pt x="264" y="147"/>
                  </a:lnTo>
                  <a:lnTo>
                    <a:pt x="248" y="147"/>
                  </a:lnTo>
                  <a:lnTo>
                    <a:pt x="222" y="147"/>
                  </a:lnTo>
                  <a:lnTo>
                    <a:pt x="238" y="163"/>
                  </a:lnTo>
                  <a:lnTo>
                    <a:pt x="231" y="170"/>
                  </a:lnTo>
                  <a:lnTo>
                    <a:pt x="222" y="163"/>
                  </a:lnTo>
                  <a:lnTo>
                    <a:pt x="210" y="170"/>
                  </a:lnTo>
                  <a:lnTo>
                    <a:pt x="210" y="187"/>
                  </a:lnTo>
                  <a:lnTo>
                    <a:pt x="193" y="192"/>
                  </a:lnTo>
                  <a:lnTo>
                    <a:pt x="193" y="208"/>
                  </a:lnTo>
                  <a:lnTo>
                    <a:pt x="200" y="225"/>
                  </a:lnTo>
                  <a:lnTo>
                    <a:pt x="193" y="234"/>
                  </a:lnTo>
                  <a:lnTo>
                    <a:pt x="146" y="203"/>
                  </a:lnTo>
                  <a:lnTo>
                    <a:pt x="130" y="203"/>
                  </a:lnTo>
                  <a:lnTo>
                    <a:pt x="130" y="192"/>
                  </a:lnTo>
                  <a:lnTo>
                    <a:pt x="130" y="192"/>
                  </a:lnTo>
                  <a:lnTo>
                    <a:pt x="130" y="192"/>
                  </a:lnTo>
                  <a:close/>
                </a:path>
              </a:pathLst>
            </a:custGeom>
            <a:pattFill prst="dk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11" name="Freeform 398">
              <a:extLst>
                <a:ext uri="{FF2B5EF4-FFF2-40B4-BE49-F238E27FC236}">
                  <a16:creationId xmlns:a16="http://schemas.microsoft.com/office/drawing/2014/main" id="{AC9B10CF-F64A-4AEA-9930-85F90731A4AF}"/>
                </a:ext>
              </a:extLst>
            </p:cNvPr>
            <p:cNvSpPr>
              <a:spLocks/>
            </p:cNvSpPr>
            <p:nvPr/>
          </p:nvSpPr>
          <p:spPr bwMode="gray">
            <a:xfrm>
              <a:off x="3357641" y="4949122"/>
              <a:ext cx="419656" cy="483055"/>
            </a:xfrm>
            <a:custGeom>
              <a:avLst/>
              <a:gdLst>
                <a:gd name="T0" fmla="*/ 482 w 848"/>
                <a:gd name="T1" fmla="*/ 915 h 976"/>
                <a:gd name="T2" fmla="*/ 378 w 848"/>
                <a:gd name="T3" fmla="*/ 952 h 976"/>
                <a:gd name="T4" fmla="*/ 357 w 848"/>
                <a:gd name="T5" fmla="*/ 931 h 976"/>
                <a:gd name="T6" fmla="*/ 269 w 848"/>
                <a:gd name="T7" fmla="*/ 919 h 976"/>
                <a:gd name="T8" fmla="*/ 231 w 848"/>
                <a:gd name="T9" fmla="*/ 919 h 976"/>
                <a:gd name="T10" fmla="*/ 198 w 848"/>
                <a:gd name="T11" fmla="*/ 943 h 976"/>
                <a:gd name="T12" fmla="*/ 189 w 848"/>
                <a:gd name="T13" fmla="*/ 959 h 976"/>
                <a:gd name="T14" fmla="*/ 144 w 848"/>
                <a:gd name="T15" fmla="*/ 976 h 976"/>
                <a:gd name="T16" fmla="*/ 123 w 848"/>
                <a:gd name="T17" fmla="*/ 952 h 976"/>
                <a:gd name="T18" fmla="*/ 106 w 848"/>
                <a:gd name="T19" fmla="*/ 915 h 976"/>
                <a:gd name="T20" fmla="*/ 101 w 848"/>
                <a:gd name="T21" fmla="*/ 858 h 976"/>
                <a:gd name="T22" fmla="*/ 75 w 848"/>
                <a:gd name="T23" fmla="*/ 825 h 976"/>
                <a:gd name="T24" fmla="*/ 85 w 848"/>
                <a:gd name="T25" fmla="*/ 808 h 976"/>
                <a:gd name="T26" fmla="*/ 64 w 848"/>
                <a:gd name="T27" fmla="*/ 787 h 976"/>
                <a:gd name="T28" fmla="*/ 75 w 848"/>
                <a:gd name="T29" fmla="*/ 759 h 976"/>
                <a:gd name="T30" fmla="*/ 64 w 848"/>
                <a:gd name="T31" fmla="*/ 737 h 976"/>
                <a:gd name="T32" fmla="*/ 47 w 848"/>
                <a:gd name="T33" fmla="*/ 681 h 976"/>
                <a:gd name="T34" fmla="*/ 38 w 848"/>
                <a:gd name="T35" fmla="*/ 610 h 976"/>
                <a:gd name="T36" fmla="*/ 9 w 848"/>
                <a:gd name="T37" fmla="*/ 572 h 976"/>
                <a:gd name="T38" fmla="*/ 0 w 848"/>
                <a:gd name="T39" fmla="*/ 556 h 976"/>
                <a:gd name="T40" fmla="*/ 47 w 848"/>
                <a:gd name="T41" fmla="*/ 511 h 976"/>
                <a:gd name="T42" fmla="*/ 54 w 848"/>
                <a:gd name="T43" fmla="*/ 482 h 976"/>
                <a:gd name="T44" fmla="*/ 31 w 848"/>
                <a:gd name="T45" fmla="*/ 478 h 976"/>
                <a:gd name="T46" fmla="*/ 21 w 848"/>
                <a:gd name="T47" fmla="*/ 416 h 976"/>
                <a:gd name="T48" fmla="*/ 16 w 848"/>
                <a:gd name="T49" fmla="*/ 388 h 976"/>
                <a:gd name="T50" fmla="*/ 47 w 848"/>
                <a:gd name="T51" fmla="*/ 345 h 976"/>
                <a:gd name="T52" fmla="*/ 54 w 848"/>
                <a:gd name="T53" fmla="*/ 334 h 976"/>
                <a:gd name="T54" fmla="*/ 47 w 848"/>
                <a:gd name="T55" fmla="*/ 277 h 976"/>
                <a:gd name="T56" fmla="*/ 68 w 848"/>
                <a:gd name="T57" fmla="*/ 206 h 976"/>
                <a:gd name="T58" fmla="*/ 54 w 848"/>
                <a:gd name="T59" fmla="*/ 95 h 976"/>
                <a:gd name="T60" fmla="*/ 68 w 848"/>
                <a:gd name="T61" fmla="*/ 107 h 976"/>
                <a:gd name="T62" fmla="*/ 106 w 848"/>
                <a:gd name="T63" fmla="*/ 74 h 976"/>
                <a:gd name="T64" fmla="*/ 144 w 848"/>
                <a:gd name="T65" fmla="*/ 57 h 976"/>
                <a:gd name="T66" fmla="*/ 177 w 848"/>
                <a:gd name="T67" fmla="*/ 41 h 976"/>
                <a:gd name="T68" fmla="*/ 248 w 848"/>
                <a:gd name="T69" fmla="*/ 12 h 976"/>
                <a:gd name="T70" fmla="*/ 302 w 848"/>
                <a:gd name="T71" fmla="*/ 0 h 976"/>
                <a:gd name="T72" fmla="*/ 298 w 848"/>
                <a:gd name="T73" fmla="*/ 57 h 976"/>
                <a:gd name="T74" fmla="*/ 302 w 848"/>
                <a:gd name="T75" fmla="*/ 111 h 976"/>
                <a:gd name="T76" fmla="*/ 319 w 848"/>
                <a:gd name="T77" fmla="*/ 145 h 976"/>
                <a:gd name="T78" fmla="*/ 323 w 848"/>
                <a:gd name="T79" fmla="*/ 152 h 976"/>
                <a:gd name="T80" fmla="*/ 340 w 848"/>
                <a:gd name="T81" fmla="*/ 168 h 976"/>
                <a:gd name="T82" fmla="*/ 361 w 848"/>
                <a:gd name="T83" fmla="*/ 185 h 976"/>
                <a:gd name="T84" fmla="*/ 404 w 848"/>
                <a:gd name="T85" fmla="*/ 206 h 976"/>
                <a:gd name="T86" fmla="*/ 444 w 848"/>
                <a:gd name="T87" fmla="*/ 223 h 976"/>
                <a:gd name="T88" fmla="*/ 465 w 848"/>
                <a:gd name="T89" fmla="*/ 234 h 976"/>
                <a:gd name="T90" fmla="*/ 486 w 848"/>
                <a:gd name="T91" fmla="*/ 239 h 976"/>
                <a:gd name="T92" fmla="*/ 524 w 848"/>
                <a:gd name="T93" fmla="*/ 256 h 976"/>
                <a:gd name="T94" fmla="*/ 605 w 848"/>
                <a:gd name="T95" fmla="*/ 277 h 976"/>
                <a:gd name="T96" fmla="*/ 649 w 848"/>
                <a:gd name="T97" fmla="*/ 317 h 976"/>
                <a:gd name="T98" fmla="*/ 659 w 848"/>
                <a:gd name="T99" fmla="*/ 362 h 976"/>
                <a:gd name="T100" fmla="*/ 633 w 848"/>
                <a:gd name="T101" fmla="*/ 400 h 976"/>
                <a:gd name="T102" fmla="*/ 664 w 848"/>
                <a:gd name="T103" fmla="*/ 482 h 976"/>
                <a:gd name="T104" fmla="*/ 794 w 848"/>
                <a:gd name="T105" fmla="*/ 499 h 976"/>
                <a:gd name="T106" fmla="*/ 789 w 848"/>
                <a:gd name="T107" fmla="*/ 556 h 976"/>
                <a:gd name="T108" fmla="*/ 838 w 848"/>
                <a:gd name="T109" fmla="*/ 605 h 976"/>
                <a:gd name="T110" fmla="*/ 838 w 848"/>
                <a:gd name="T111" fmla="*/ 681 h 976"/>
                <a:gd name="T112" fmla="*/ 838 w 848"/>
                <a:gd name="T113" fmla="*/ 693 h 976"/>
                <a:gd name="T114" fmla="*/ 827 w 848"/>
                <a:gd name="T115" fmla="*/ 759 h 976"/>
                <a:gd name="T116" fmla="*/ 805 w 848"/>
                <a:gd name="T117" fmla="*/ 749 h 976"/>
                <a:gd name="T118" fmla="*/ 675 w 848"/>
                <a:gd name="T119" fmla="*/ 704 h 976"/>
                <a:gd name="T120" fmla="*/ 541 w 848"/>
                <a:gd name="T121" fmla="*/ 771 h 976"/>
                <a:gd name="T122" fmla="*/ 520 w 848"/>
                <a:gd name="T123" fmla="*/ 841 h 976"/>
                <a:gd name="T124" fmla="*/ 486 w 848"/>
                <a:gd name="T125" fmla="*/ 931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8" h="976">
                  <a:moveTo>
                    <a:pt x="486" y="931"/>
                  </a:moveTo>
                  <a:lnTo>
                    <a:pt x="482" y="915"/>
                  </a:lnTo>
                  <a:lnTo>
                    <a:pt x="404" y="915"/>
                  </a:lnTo>
                  <a:lnTo>
                    <a:pt x="378" y="952"/>
                  </a:lnTo>
                  <a:lnTo>
                    <a:pt x="373" y="976"/>
                  </a:lnTo>
                  <a:lnTo>
                    <a:pt x="357" y="931"/>
                  </a:lnTo>
                  <a:lnTo>
                    <a:pt x="323" y="919"/>
                  </a:lnTo>
                  <a:lnTo>
                    <a:pt x="269" y="919"/>
                  </a:lnTo>
                  <a:lnTo>
                    <a:pt x="243" y="898"/>
                  </a:lnTo>
                  <a:lnTo>
                    <a:pt x="231" y="919"/>
                  </a:lnTo>
                  <a:lnTo>
                    <a:pt x="198" y="931"/>
                  </a:lnTo>
                  <a:lnTo>
                    <a:pt x="198" y="943"/>
                  </a:lnTo>
                  <a:lnTo>
                    <a:pt x="189" y="952"/>
                  </a:lnTo>
                  <a:lnTo>
                    <a:pt x="189" y="959"/>
                  </a:lnTo>
                  <a:lnTo>
                    <a:pt x="172" y="976"/>
                  </a:lnTo>
                  <a:lnTo>
                    <a:pt x="144" y="976"/>
                  </a:lnTo>
                  <a:lnTo>
                    <a:pt x="123" y="976"/>
                  </a:lnTo>
                  <a:lnTo>
                    <a:pt x="123" y="952"/>
                  </a:lnTo>
                  <a:lnTo>
                    <a:pt x="118" y="919"/>
                  </a:lnTo>
                  <a:lnTo>
                    <a:pt x="106" y="915"/>
                  </a:lnTo>
                  <a:lnTo>
                    <a:pt x="101" y="882"/>
                  </a:lnTo>
                  <a:lnTo>
                    <a:pt x="101" y="858"/>
                  </a:lnTo>
                  <a:lnTo>
                    <a:pt x="85" y="832"/>
                  </a:lnTo>
                  <a:lnTo>
                    <a:pt x="75" y="825"/>
                  </a:lnTo>
                  <a:lnTo>
                    <a:pt x="75" y="820"/>
                  </a:lnTo>
                  <a:lnTo>
                    <a:pt x="85" y="808"/>
                  </a:lnTo>
                  <a:lnTo>
                    <a:pt x="64" y="792"/>
                  </a:lnTo>
                  <a:lnTo>
                    <a:pt x="64" y="787"/>
                  </a:lnTo>
                  <a:lnTo>
                    <a:pt x="64" y="771"/>
                  </a:lnTo>
                  <a:lnTo>
                    <a:pt x="75" y="759"/>
                  </a:lnTo>
                  <a:lnTo>
                    <a:pt x="75" y="754"/>
                  </a:lnTo>
                  <a:lnTo>
                    <a:pt x="64" y="737"/>
                  </a:lnTo>
                  <a:lnTo>
                    <a:pt x="85" y="716"/>
                  </a:lnTo>
                  <a:lnTo>
                    <a:pt x="47" y="681"/>
                  </a:lnTo>
                  <a:lnTo>
                    <a:pt x="31" y="622"/>
                  </a:lnTo>
                  <a:lnTo>
                    <a:pt x="38" y="610"/>
                  </a:lnTo>
                  <a:lnTo>
                    <a:pt x="21" y="610"/>
                  </a:lnTo>
                  <a:lnTo>
                    <a:pt x="9" y="572"/>
                  </a:lnTo>
                  <a:lnTo>
                    <a:pt x="9" y="565"/>
                  </a:lnTo>
                  <a:lnTo>
                    <a:pt x="0" y="556"/>
                  </a:lnTo>
                  <a:lnTo>
                    <a:pt x="0" y="556"/>
                  </a:lnTo>
                  <a:lnTo>
                    <a:pt x="47" y="511"/>
                  </a:lnTo>
                  <a:lnTo>
                    <a:pt x="38" y="499"/>
                  </a:lnTo>
                  <a:lnTo>
                    <a:pt x="54" y="482"/>
                  </a:lnTo>
                  <a:lnTo>
                    <a:pt x="47" y="478"/>
                  </a:lnTo>
                  <a:lnTo>
                    <a:pt x="31" y="478"/>
                  </a:lnTo>
                  <a:lnTo>
                    <a:pt x="16" y="437"/>
                  </a:lnTo>
                  <a:lnTo>
                    <a:pt x="21" y="416"/>
                  </a:lnTo>
                  <a:lnTo>
                    <a:pt x="31" y="404"/>
                  </a:lnTo>
                  <a:lnTo>
                    <a:pt x="16" y="388"/>
                  </a:lnTo>
                  <a:lnTo>
                    <a:pt x="16" y="371"/>
                  </a:lnTo>
                  <a:lnTo>
                    <a:pt x="47" y="345"/>
                  </a:lnTo>
                  <a:lnTo>
                    <a:pt x="47" y="334"/>
                  </a:lnTo>
                  <a:lnTo>
                    <a:pt x="54" y="334"/>
                  </a:lnTo>
                  <a:lnTo>
                    <a:pt x="38" y="293"/>
                  </a:lnTo>
                  <a:lnTo>
                    <a:pt x="47" y="277"/>
                  </a:lnTo>
                  <a:lnTo>
                    <a:pt x="47" y="234"/>
                  </a:lnTo>
                  <a:lnTo>
                    <a:pt x="68" y="206"/>
                  </a:lnTo>
                  <a:lnTo>
                    <a:pt x="9" y="95"/>
                  </a:lnTo>
                  <a:lnTo>
                    <a:pt x="54" y="95"/>
                  </a:lnTo>
                  <a:lnTo>
                    <a:pt x="64" y="107"/>
                  </a:lnTo>
                  <a:lnTo>
                    <a:pt x="68" y="107"/>
                  </a:lnTo>
                  <a:lnTo>
                    <a:pt x="92" y="95"/>
                  </a:lnTo>
                  <a:lnTo>
                    <a:pt x="106" y="74"/>
                  </a:lnTo>
                  <a:lnTo>
                    <a:pt x="135" y="74"/>
                  </a:lnTo>
                  <a:lnTo>
                    <a:pt x="144" y="57"/>
                  </a:lnTo>
                  <a:lnTo>
                    <a:pt x="161" y="50"/>
                  </a:lnTo>
                  <a:lnTo>
                    <a:pt x="177" y="41"/>
                  </a:lnTo>
                  <a:lnTo>
                    <a:pt x="210" y="17"/>
                  </a:lnTo>
                  <a:lnTo>
                    <a:pt x="248" y="12"/>
                  </a:lnTo>
                  <a:lnTo>
                    <a:pt x="286" y="12"/>
                  </a:lnTo>
                  <a:lnTo>
                    <a:pt x="302" y="0"/>
                  </a:lnTo>
                  <a:lnTo>
                    <a:pt x="302" y="41"/>
                  </a:lnTo>
                  <a:lnTo>
                    <a:pt x="298" y="57"/>
                  </a:lnTo>
                  <a:lnTo>
                    <a:pt x="302" y="95"/>
                  </a:lnTo>
                  <a:lnTo>
                    <a:pt x="302" y="111"/>
                  </a:lnTo>
                  <a:lnTo>
                    <a:pt x="302" y="128"/>
                  </a:lnTo>
                  <a:lnTo>
                    <a:pt x="319" y="145"/>
                  </a:lnTo>
                  <a:lnTo>
                    <a:pt x="307" y="152"/>
                  </a:lnTo>
                  <a:lnTo>
                    <a:pt x="323" y="152"/>
                  </a:lnTo>
                  <a:lnTo>
                    <a:pt x="323" y="168"/>
                  </a:lnTo>
                  <a:lnTo>
                    <a:pt x="340" y="168"/>
                  </a:lnTo>
                  <a:lnTo>
                    <a:pt x="340" y="185"/>
                  </a:lnTo>
                  <a:lnTo>
                    <a:pt x="361" y="185"/>
                  </a:lnTo>
                  <a:lnTo>
                    <a:pt x="373" y="206"/>
                  </a:lnTo>
                  <a:lnTo>
                    <a:pt x="404" y="206"/>
                  </a:lnTo>
                  <a:lnTo>
                    <a:pt x="416" y="206"/>
                  </a:lnTo>
                  <a:lnTo>
                    <a:pt x="444" y="223"/>
                  </a:lnTo>
                  <a:lnTo>
                    <a:pt x="465" y="218"/>
                  </a:lnTo>
                  <a:lnTo>
                    <a:pt x="465" y="234"/>
                  </a:lnTo>
                  <a:lnTo>
                    <a:pt x="482" y="251"/>
                  </a:lnTo>
                  <a:lnTo>
                    <a:pt x="486" y="239"/>
                  </a:lnTo>
                  <a:lnTo>
                    <a:pt x="512" y="256"/>
                  </a:lnTo>
                  <a:lnTo>
                    <a:pt x="524" y="256"/>
                  </a:lnTo>
                  <a:lnTo>
                    <a:pt x="550" y="289"/>
                  </a:lnTo>
                  <a:lnTo>
                    <a:pt x="605" y="277"/>
                  </a:lnTo>
                  <a:lnTo>
                    <a:pt x="642" y="305"/>
                  </a:lnTo>
                  <a:lnTo>
                    <a:pt x="649" y="317"/>
                  </a:lnTo>
                  <a:lnTo>
                    <a:pt x="642" y="326"/>
                  </a:lnTo>
                  <a:lnTo>
                    <a:pt x="659" y="362"/>
                  </a:lnTo>
                  <a:lnTo>
                    <a:pt x="659" y="400"/>
                  </a:lnTo>
                  <a:lnTo>
                    <a:pt x="633" y="400"/>
                  </a:lnTo>
                  <a:lnTo>
                    <a:pt x="659" y="421"/>
                  </a:lnTo>
                  <a:lnTo>
                    <a:pt x="664" y="482"/>
                  </a:lnTo>
                  <a:lnTo>
                    <a:pt x="794" y="482"/>
                  </a:lnTo>
                  <a:lnTo>
                    <a:pt x="794" y="499"/>
                  </a:lnTo>
                  <a:lnTo>
                    <a:pt x="784" y="515"/>
                  </a:lnTo>
                  <a:lnTo>
                    <a:pt x="789" y="556"/>
                  </a:lnTo>
                  <a:lnTo>
                    <a:pt x="838" y="582"/>
                  </a:lnTo>
                  <a:lnTo>
                    <a:pt x="838" y="605"/>
                  </a:lnTo>
                  <a:lnTo>
                    <a:pt x="848" y="626"/>
                  </a:lnTo>
                  <a:lnTo>
                    <a:pt x="838" y="681"/>
                  </a:lnTo>
                  <a:lnTo>
                    <a:pt x="838" y="693"/>
                  </a:lnTo>
                  <a:lnTo>
                    <a:pt x="838" y="693"/>
                  </a:lnTo>
                  <a:lnTo>
                    <a:pt x="810" y="737"/>
                  </a:lnTo>
                  <a:lnTo>
                    <a:pt x="827" y="759"/>
                  </a:lnTo>
                  <a:lnTo>
                    <a:pt x="805" y="771"/>
                  </a:lnTo>
                  <a:lnTo>
                    <a:pt x="805" y="749"/>
                  </a:lnTo>
                  <a:lnTo>
                    <a:pt x="742" y="716"/>
                  </a:lnTo>
                  <a:lnTo>
                    <a:pt x="675" y="704"/>
                  </a:lnTo>
                  <a:lnTo>
                    <a:pt x="557" y="733"/>
                  </a:lnTo>
                  <a:lnTo>
                    <a:pt x="541" y="771"/>
                  </a:lnTo>
                  <a:lnTo>
                    <a:pt x="520" y="804"/>
                  </a:lnTo>
                  <a:lnTo>
                    <a:pt x="520" y="841"/>
                  </a:lnTo>
                  <a:lnTo>
                    <a:pt x="486" y="931"/>
                  </a:lnTo>
                  <a:lnTo>
                    <a:pt x="486" y="931"/>
                  </a:lnTo>
                  <a:lnTo>
                    <a:pt x="486" y="931"/>
                  </a:lnTo>
                  <a:close/>
                </a:path>
              </a:pathLst>
            </a:custGeom>
            <a:pattFill prst="lt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12" name="Freeform 399">
              <a:extLst>
                <a:ext uri="{FF2B5EF4-FFF2-40B4-BE49-F238E27FC236}">
                  <a16:creationId xmlns:a16="http://schemas.microsoft.com/office/drawing/2014/main" id="{DA5DBD0D-7AC1-43E8-B925-1B282C8577F1}"/>
                </a:ext>
              </a:extLst>
            </p:cNvPr>
            <p:cNvSpPr>
              <a:spLocks noEditPoints="1"/>
            </p:cNvSpPr>
            <p:nvPr/>
          </p:nvSpPr>
          <p:spPr bwMode="gray">
            <a:xfrm>
              <a:off x="8974493" y="3558364"/>
              <a:ext cx="312267" cy="692905"/>
            </a:xfrm>
            <a:custGeom>
              <a:avLst/>
              <a:gdLst>
                <a:gd name="T0" fmla="*/ 31 w 631"/>
                <a:gd name="T1" fmla="*/ 552 h 1400"/>
                <a:gd name="T2" fmla="*/ 64 w 631"/>
                <a:gd name="T3" fmla="*/ 448 h 1400"/>
                <a:gd name="T4" fmla="*/ 92 w 631"/>
                <a:gd name="T5" fmla="*/ 354 h 1400"/>
                <a:gd name="T6" fmla="*/ 173 w 631"/>
                <a:gd name="T7" fmla="*/ 243 h 1400"/>
                <a:gd name="T8" fmla="*/ 286 w 631"/>
                <a:gd name="T9" fmla="*/ 94 h 1400"/>
                <a:gd name="T10" fmla="*/ 362 w 631"/>
                <a:gd name="T11" fmla="*/ 23 h 1400"/>
                <a:gd name="T12" fmla="*/ 442 w 631"/>
                <a:gd name="T13" fmla="*/ 73 h 1400"/>
                <a:gd name="T14" fmla="*/ 447 w 631"/>
                <a:gd name="T15" fmla="*/ 205 h 1400"/>
                <a:gd name="T16" fmla="*/ 392 w 631"/>
                <a:gd name="T17" fmla="*/ 276 h 1400"/>
                <a:gd name="T18" fmla="*/ 388 w 631"/>
                <a:gd name="T19" fmla="*/ 366 h 1400"/>
                <a:gd name="T20" fmla="*/ 463 w 631"/>
                <a:gd name="T21" fmla="*/ 387 h 1400"/>
                <a:gd name="T22" fmla="*/ 501 w 631"/>
                <a:gd name="T23" fmla="*/ 448 h 1400"/>
                <a:gd name="T24" fmla="*/ 555 w 631"/>
                <a:gd name="T25" fmla="*/ 536 h 1400"/>
                <a:gd name="T26" fmla="*/ 614 w 631"/>
                <a:gd name="T27" fmla="*/ 548 h 1400"/>
                <a:gd name="T28" fmla="*/ 555 w 631"/>
                <a:gd name="T29" fmla="*/ 625 h 1400"/>
                <a:gd name="T30" fmla="*/ 484 w 631"/>
                <a:gd name="T31" fmla="*/ 647 h 1400"/>
                <a:gd name="T32" fmla="*/ 399 w 631"/>
                <a:gd name="T33" fmla="*/ 680 h 1400"/>
                <a:gd name="T34" fmla="*/ 362 w 631"/>
                <a:gd name="T35" fmla="*/ 758 h 1400"/>
                <a:gd name="T36" fmla="*/ 451 w 631"/>
                <a:gd name="T37" fmla="*/ 923 h 1400"/>
                <a:gd name="T38" fmla="*/ 442 w 631"/>
                <a:gd name="T39" fmla="*/ 996 h 1400"/>
                <a:gd name="T40" fmla="*/ 496 w 631"/>
                <a:gd name="T41" fmla="*/ 1112 h 1400"/>
                <a:gd name="T42" fmla="*/ 506 w 631"/>
                <a:gd name="T43" fmla="*/ 1216 h 1400"/>
                <a:gd name="T44" fmla="*/ 447 w 631"/>
                <a:gd name="T45" fmla="*/ 1388 h 1400"/>
                <a:gd name="T46" fmla="*/ 463 w 631"/>
                <a:gd name="T47" fmla="*/ 1256 h 1400"/>
                <a:gd name="T48" fmla="*/ 447 w 631"/>
                <a:gd name="T49" fmla="*/ 1223 h 1400"/>
                <a:gd name="T50" fmla="*/ 425 w 631"/>
                <a:gd name="T51" fmla="*/ 1088 h 1400"/>
                <a:gd name="T52" fmla="*/ 388 w 631"/>
                <a:gd name="T53" fmla="*/ 907 h 1400"/>
                <a:gd name="T54" fmla="*/ 333 w 631"/>
                <a:gd name="T55" fmla="*/ 869 h 1400"/>
                <a:gd name="T56" fmla="*/ 286 w 631"/>
                <a:gd name="T57" fmla="*/ 918 h 1400"/>
                <a:gd name="T58" fmla="*/ 227 w 631"/>
                <a:gd name="T59" fmla="*/ 940 h 1400"/>
                <a:gd name="T60" fmla="*/ 199 w 631"/>
                <a:gd name="T61" fmla="*/ 963 h 1400"/>
                <a:gd name="T62" fmla="*/ 182 w 631"/>
                <a:gd name="T63" fmla="*/ 940 h 1400"/>
                <a:gd name="T64" fmla="*/ 144 w 631"/>
                <a:gd name="T65" fmla="*/ 947 h 1400"/>
                <a:gd name="T66" fmla="*/ 139 w 631"/>
                <a:gd name="T67" fmla="*/ 737 h 1400"/>
                <a:gd name="T68" fmla="*/ 102 w 631"/>
                <a:gd name="T69" fmla="*/ 670 h 1400"/>
                <a:gd name="T70" fmla="*/ 69 w 631"/>
                <a:gd name="T71" fmla="*/ 659 h 1400"/>
                <a:gd name="T72" fmla="*/ 47 w 631"/>
                <a:gd name="T73" fmla="*/ 642 h 1400"/>
                <a:gd name="T74" fmla="*/ 17 w 631"/>
                <a:gd name="T75" fmla="*/ 602 h 1400"/>
                <a:gd name="T76" fmla="*/ 102 w 631"/>
                <a:gd name="T77" fmla="*/ 687 h 1400"/>
                <a:gd name="T78" fmla="*/ 123 w 631"/>
                <a:gd name="T79" fmla="*/ 725 h 1400"/>
                <a:gd name="T80" fmla="*/ 118 w 631"/>
                <a:gd name="T81" fmla="*/ 703 h 1400"/>
                <a:gd name="T82" fmla="*/ 92 w 631"/>
                <a:gd name="T83" fmla="*/ 737 h 1400"/>
                <a:gd name="T84" fmla="*/ 376 w 631"/>
                <a:gd name="T85" fmla="*/ 935 h 1400"/>
                <a:gd name="T86" fmla="*/ 173 w 631"/>
                <a:gd name="T87" fmla="*/ 940 h 1400"/>
                <a:gd name="T88" fmla="*/ 430 w 631"/>
                <a:gd name="T89" fmla="*/ 1216 h 1400"/>
                <a:gd name="T90" fmla="*/ 430 w 631"/>
                <a:gd name="T91" fmla="*/ 1216 h 1400"/>
                <a:gd name="T92" fmla="*/ 409 w 631"/>
                <a:gd name="T93" fmla="*/ 1216 h 1400"/>
                <a:gd name="T94" fmla="*/ 413 w 631"/>
                <a:gd name="T95" fmla="*/ 1223 h 1400"/>
                <a:gd name="T96" fmla="*/ 442 w 631"/>
                <a:gd name="T97" fmla="*/ 1233 h 1400"/>
                <a:gd name="T98" fmla="*/ 447 w 631"/>
                <a:gd name="T99" fmla="*/ 1256 h 1400"/>
                <a:gd name="T100" fmla="*/ 430 w 631"/>
                <a:gd name="T101" fmla="*/ 1256 h 1400"/>
                <a:gd name="T102" fmla="*/ 447 w 631"/>
                <a:gd name="T103" fmla="*/ 1306 h 1400"/>
                <a:gd name="T104" fmla="*/ 425 w 631"/>
                <a:gd name="T105" fmla="*/ 1332 h 1400"/>
                <a:gd name="T106" fmla="*/ 425 w 631"/>
                <a:gd name="T107" fmla="*/ 1332 h 1400"/>
                <a:gd name="T108" fmla="*/ 399 w 631"/>
                <a:gd name="T109" fmla="*/ 1348 h 1400"/>
                <a:gd name="T110" fmla="*/ 425 w 631"/>
                <a:gd name="T111" fmla="*/ 1384 h 1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1400">
                  <a:moveTo>
                    <a:pt x="10" y="569"/>
                  </a:moveTo>
                  <a:lnTo>
                    <a:pt x="0" y="552"/>
                  </a:lnTo>
                  <a:lnTo>
                    <a:pt x="10" y="548"/>
                  </a:lnTo>
                  <a:lnTo>
                    <a:pt x="17" y="536"/>
                  </a:lnTo>
                  <a:lnTo>
                    <a:pt x="31" y="552"/>
                  </a:lnTo>
                  <a:lnTo>
                    <a:pt x="31" y="552"/>
                  </a:lnTo>
                  <a:lnTo>
                    <a:pt x="31" y="503"/>
                  </a:lnTo>
                  <a:lnTo>
                    <a:pt x="38" y="493"/>
                  </a:lnTo>
                  <a:lnTo>
                    <a:pt x="54" y="498"/>
                  </a:lnTo>
                  <a:lnTo>
                    <a:pt x="64" y="481"/>
                  </a:lnTo>
                  <a:lnTo>
                    <a:pt x="69" y="481"/>
                  </a:lnTo>
                  <a:lnTo>
                    <a:pt x="64" y="448"/>
                  </a:lnTo>
                  <a:lnTo>
                    <a:pt x="69" y="420"/>
                  </a:lnTo>
                  <a:lnTo>
                    <a:pt x="76" y="427"/>
                  </a:lnTo>
                  <a:lnTo>
                    <a:pt x="85" y="411"/>
                  </a:lnTo>
                  <a:lnTo>
                    <a:pt x="85" y="370"/>
                  </a:lnTo>
                  <a:lnTo>
                    <a:pt x="85" y="337"/>
                  </a:lnTo>
                  <a:lnTo>
                    <a:pt x="92" y="354"/>
                  </a:lnTo>
                  <a:lnTo>
                    <a:pt x="106" y="349"/>
                  </a:lnTo>
                  <a:lnTo>
                    <a:pt x="139" y="366"/>
                  </a:lnTo>
                  <a:lnTo>
                    <a:pt x="177" y="266"/>
                  </a:lnTo>
                  <a:lnTo>
                    <a:pt x="177" y="259"/>
                  </a:lnTo>
                  <a:lnTo>
                    <a:pt x="173" y="255"/>
                  </a:lnTo>
                  <a:lnTo>
                    <a:pt x="173" y="243"/>
                  </a:lnTo>
                  <a:lnTo>
                    <a:pt x="194" y="226"/>
                  </a:lnTo>
                  <a:lnTo>
                    <a:pt x="210" y="188"/>
                  </a:lnTo>
                  <a:lnTo>
                    <a:pt x="199" y="172"/>
                  </a:lnTo>
                  <a:lnTo>
                    <a:pt x="210" y="151"/>
                  </a:lnTo>
                  <a:lnTo>
                    <a:pt x="232" y="144"/>
                  </a:lnTo>
                  <a:lnTo>
                    <a:pt x="286" y="94"/>
                  </a:lnTo>
                  <a:lnTo>
                    <a:pt x="317" y="94"/>
                  </a:lnTo>
                  <a:lnTo>
                    <a:pt x="333" y="99"/>
                  </a:lnTo>
                  <a:lnTo>
                    <a:pt x="345" y="111"/>
                  </a:lnTo>
                  <a:lnTo>
                    <a:pt x="333" y="73"/>
                  </a:lnTo>
                  <a:lnTo>
                    <a:pt x="362" y="44"/>
                  </a:lnTo>
                  <a:lnTo>
                    <a:pt x="362" y="23"/>
                  </a:lnTo>
                  <a:lnTo>
                    <a:pt x="371" y="16"/>
                  </a:lnTo>
                  <a:lnTo>
                    <a:pt x="376" y="0"/>
                  </a:lnTo>
                  <a:lnTo>
                    <a:pt x="409" y="23"/>
                  </a:lnTo>
                  <a:lnTo>
                    <a:pt x="413" y="33"/>
                  </a:lnTo>
                  <a:lnTo>
                    <a:pt x="430" y="77"/>
                  </a:lnTo>
                  <a:lnTo>
                    <a:pt x="442" y="73"/>
                  </a:lnTo>
                  <a:lnTo>
                    <a:pt x="451" y="77"/>
                  </a:lnTo>
                  <a:lnTo>
                    <a:pt x="463" y="134"/>
                  </a:lnTo>
                  <a:lnTo>
                    <a:pt x="463" y="184"/>
                  </a:lnTo>
                  <a:lnTo>
                    <a:pt x="447" y="188"/>
                  </a:lnTo>
                  <a:lnTo>
                    <a:pt x="451" y="205"/>
                  </a:lnTo>
                  <a:lnTo>
                    <a:pt x="447" y="205"/>
                  </a:lnTo>
                  <a:lnTo>
                    <a:pt x="430" y="226"/>
                  </a:lnTo>
                  <a:lnTo>
                    <a:pt x="425" y="226"/>
                  </a:lnTo>
                  <a:lnTo>
                    <a:pt x="409" y="255"/>
                  </a:lnTo>
                  <a:lnTo>
                    <a:pt x="399" y="259"/>
                  </a:lnTo>
                  <a:lnTo>
                    <a:pt x="392" y="255"/>
                  </a:lnTo>
                  <a:lnTo>
                    <a:pt x="392" y="276"/>
                  </a:lnTo>
                  <a:lnTo>
                    <a:pt x="376" y="292"/>
                  </a:lnTo>
                  <a:lnTo>
                    <a:pt x="376" y="316"/>
                  </a:lnTo>
                  <a:lnTo>
                    <a:pt x="388" y="316"/>
                  </a:lnTo>
                  <a:lnTo>
                    <a:pt x="392" y="337"/>
                  </a:lnTo>
                  <a:lnTo>
                    <a:pt x="376" y="354"/>
                  </a:lnTo>
                  <a:lnTo>
                    <a:pt x="388" y="366"/>
                  </a:lnTo>
                  <a:lnTo>
                    <a:pt x="413" y="337"/>
                  </a:lnTo>
                  <a:lnTo>
                    <a:pt x="468" y="337"/>
                  </a:lnTo>
                  <a:lnTo>
                    <a:pt x="451" y="354"/>
                  </a:lnTo>
                  <a:lnTo>
                    <a:pt x="451" y="366"/>
                  </a:lnTo>
                  <a:lnTo>
                    <a:pt x="463" y="370"/>
                  </a:lnTo>
                  <a:lnTo>
                    <a:pt x="463" y="387"/>
                  </a:lnTo>
                  <a:lnTo>
                    <a:pt x="468" y="394"/>
                  </a:lnTo>
                  <a:lnTo>
                    <a:pt x="468" y="411"/>
                  </a:lnTo>
                  <a:lnTo>
                    <a:pt x="484" y="420"/>
                  </a:lnTo>
                  <a:lnTo>
                    <a:pt x="517" y="420"/>
                  </a:lnTo>
                  <a:lnTo>
                    <a:pt x="517" y="427"/>
                  </a:lnTo>
                  <a:lnTo>
                    <a:pt x="501" y="448"/>
                  </a:lnTo>
                  <a:lnTo>
                    <a:pt x="506" y="465"/>
                  </a:lnTo>
                  <a:lnTo>
                    <a:pt x="484" y="493"/>
                  </a:lnTo>
                  <a:lnTo>
                    <a:pt x="550" y="498"/>
                  </a:lnTo>
                  <a:lnTo>
                    <a:pt x="550" y="519"/>
                  </a:lnTo>
                  <a:lnTo>
                    <a:pt x="555" y="531"/>
                  </a:lnTo>
                  <a:lnTo>
                    <a:pt x="555" y="536"/>
                  </a:lnTo>
                  <a:lnTo>
                    <a:pt x="560" y="548"/>
                  </a:lnTo>
                  <a:lnTo>
                    <a:pt x="576" y="536"/>
                  </a:lnTo>
                  <a:lnTo>
                    <a:pt x="588" y="548"/>
                  </a:lnTo>
                  <a:lnTo>
                    <a:pt x="624" y="519"/>
                  </a:lnTo>
                  <a:lnTo>
                    <a:pt x="631" y="531"/>
                  </a:lnTo>
                  <a:lnTo>
                    <a:pt x="614" y="548"/>
                  </a:lnTo>
                  <a:lnTo>
                    <a:pt x="602" y="552"/>
                  </a:lnTo>
                  <a:lnTo>
                    <a:pt x="588" y="576"/>
                  </a:lnTo>
                  <a:lnTo>
                    <a:pt x="588" y="585"/>
                  </a:lnTo>
                  <a:lnTo>
                    <a:pt x="593" y="585"/>
                  </a:lnTo>
                  <a:lnTo>
                    <a:pt x="560" y="592"/>
                  </a:lnTo>
                  <a:lnTo>
                    <a:pt x="555" y="625"/>
                  </a:lnTo>
                  <a:lnTo>
                    <a:pt x="550" y="614"/>
                  </a:lnTo>
                  <a:lnTo>
                    <a:pt x="534" y="625"/>
                  </a:lnTo>
                  <a:lnTo>
                    <a:pt x="517" y="625"/>
                  </a:lnTo>
                  <a:lnTo>
                    <a:pt x="517" y="642"/>
                  </a:lnTo>
                  <a:lnTo>
                    <a:pt x="506" y="642"/>
                  </a:lnTo>
                  <a:lnTo>
                    <a:pt x="484" y="647"/>
                  </a:lnTo>
                  <a:lnTo>
                    <a:pt x="480" y="663"/>
                  </a:lnTo>
                  <a:lnTo>
                    <a:pt x="468" y="663"/>
                  </a:lnTo>
                  <a:lnTo>
                    <a:pt x="425" y="670"/>
                  </a:lnTo>
                  <a:lnTo>
                    <a:pt x="409" y="663"/>
                  </a:lnTo>
                  <a:lnTo>
                    <a:pt x="409" y="680"/>
                  </a:lnTo>
                  <a:lnTo>
                    <a:pt x="399" y="680"/>
                  </a:lnTo>
                  <a:lnTo>
                    <a:pt x="392" y="696"/>
                  </a:lnTo>
                  <a:lnTo>
                    <a:pt x="392" y="720"/>
                  </a:lnTo>
                  <a:lnTo>
                    <a:pt x="388" y="725"/>
                  </a:lnTo>
                  <a:lnTo>
                    <a:pt x="392" y="758"/>
                  </a:lnTo>
                  <a:lnTo>
                    <a:pt x="371" y="770"/>
                  </a:lnTo>
                  <a:lnTo>
                    <a:pt x="362" y="758"/>
                  </a:lnTo>
                  <a:lnTo>
                    <a:pt x="371" y="779"/>
                  </a:lnTo>
                  <a:lnTo>
                    <a:pt x="388" y="779"/>
                  </a:lnTo>
                  <a:lnTo>
                    <a:pt x="392" y="824"/>
                  </a:lnTo>
                  <a:lnTo>
                    <a:pt x="447" y="881"/>
                  </a:lnTo>
                  <a:lnTo>
                    <a:pt x="442" y="890"/>
                  </a:lnTo>
                  <a:lnTo>
                    <a:pt x="451" y="923"/>
                  </a:lnTo>
                  <a:lnTo>
                    <a:pt x="468" y="918"/>
                  </a:lnTo>
                  <a:lnTo>
                    <a:pt x="468" y="918"/>
                  </a:lnTo>
                  <a:lnTo>
                    <a:pt x="468" y="940"/>
                  </a:lnTo>
                  <a:lnTo>
                    <a:pt x="451" y="947"/>
                  </a:lnTo>
                  <a:lnTo>
                    <a:pt x="447" y="996"/>
                  </a:lnTo>
                  <a:lnTo>
                    <a:pt x="442" y="996"/>
                  </a:lnTo>
                  <a:lnTo>
                    <a:pt x="425" y="1001"/>
                  </a:lnTo>
                  <a:lnTo>
                    <a:pt x="425" y="1018"/>
                  </a:lnTo>
                  <a:lnTo>
                    <a:pt x="430" y="1046"/>
                  </a:lnTo>
                  <a:lnTo>
                    <a:pt x="451" y="1072"/>
                  </a:lnTo>
                  <a:lnTo>
                    <a:pt x="480" y="1088"/>
                  </a:lnTo>
                  <a:lnTo>
                    <a:pt x="496" y="1112"/>
                  </a:lnTo>
                  <a:lnTo>
                    <a:pt x="496" y="1157"/>
                  </a:lnTo>
                  <a:lnTo>
                    <a:pt x="484" y="1157"/>
                  </a:lnTo>
                  <a:lnTo>
                    <a:pt x="484" y="1162"/>
                  </a:lnTo>
                  <a:lnTo>
                    <a:pt x="496" y="1183"/>
                  </a:lnTo>
                  <a:lnTo>
                    <a:pt x="506" y="1199"/>
                  </a:lnTo>
                  <a:lnTo>
                    <a:pt x="506" y="1216"/>
                  </a:lnTo>
                  <a:lnTo>
                    <a:pt x="522" y="1256"/>
                  </a:lnTo>
                  <a:lnTo>
                    <a:pt x="496" y="1311"/>
                  </a:lnTo>
                  <a:lnTo>
                    <a:pt x="463" y="1332"/>
                  </a:lnTo>
                  <a:lnTo>
                    <a:pt x="463" y="1348"/>
                  </a:lnTo>
                  <a:lnTo>
                    <a:pt x="463" y="1360"/>
                  </a:lnTo>
                  <a:lnTo>
                    <a:pt x="447" y="1388"/>
                  </a:lnTo>
                  <a:lnTo>
                    <a:pt x="442" y="1332"/>
                  </a:lnTo>
                  <a:lnTo>
                    <a:pt x="447" y="1332"/>
                  </a:lnTo>
                  <a:lnTo>
                    <a:pt x="451" y="1322"/>
                  </a:lnTo>
                  <a:lnTo>
                    <a:pt x="463" y="1266"/>
                  </a:lnTo>
                  <a:lnTo>
                    <a:pt x="468" y="1266"/>
                  </a:lnTo>
                  <a:lnTo>
                    <a:pt x="463" y="1256"/>
                  </a:lnTo>
                  <a:lnTo>
                    <a:pt x="451" y="1266"/>
                  </a:lnTo>
                  <a:lnTo>
                    <a:pt x="447" y="1256"/>
                  </a:lnTo>
                  <a:lnTo>
                    <a:pt x="451" y="1240"/>
                  </a:lnTo>
                  <a:lnTo>
                    <a:pt x="451" y="1223"/>
                  </a:lnTo>
                  <a:lnTo>
                    <a:pt x="451" y="1223"/>
                  </a:lnTo>
                  <a:lnTo>
                    <a:pt x="447" y="1223"/>
                  </a:lnTo>
                  <a:lnTo>
                    <a:pt x="451" y="1216"/>
                  </a:lnTo>
                  <a:lnTo>
                    <a:pt x="447" y="1211"/>
                  </a:lnTo>
                  <a:lnTo>
                    <a:pt x="451" y="1195"/>
                  </a:lnTo>
                  <a:lnTo>
                    <a:pt x="447" y="1157"/>
                  </a:lnTo>
                  <a:lnTo>
                    <a:pt x="430" y="1112"/>
                  </a:lnTo>
                  <a:lnTo>
                    <a:pt x="425" y="1088"/>
                  </a:lnTo>
                  <a:lnTo>
                    <a:pt x="413" y="1129"/>
                  </a:lnTo>
                  <a:lnTo>
                    <a:pt x="413" y="1084"/>
                  </a:lnTo>
                  <a:lnTo>
                    <a:pt x="392" y="1029"/>
                  </a:lnTo>
                  <a:lnTo>
                    <a:pt x="388" y="956"/>
                  </a:lnTo>
                  <a:lnTo>
                    <a:pt x="376" y="940"/>
                  </a:lnTo>
                  <a:lnTo>
                    <a:pt x="388" y="907"/>
                  </a:lnTo>
                  <a:lnTo>
                    <a:pt x="392" y="907"/>
                  </a:lnTo>
                  <a:lnTo>
                    <a:pt x="362" y="907"/>
                  </a:lnTo>
                  <a:lnTo>
                    <a:pt x="345" y="864"/>
                  </a:lnTo>
                  <a:lnTo>
                    <a:pt x="333" y="836"/>
                  </a:lnTo>
                  <a:lnTo>
                    <a:pt x="324" y="864"/>
                  </a:lnTo>
                  <a:lnTo>
                    <a:pt x="333" y="869"/>
                  </a:lnTo>
                  <a:lnTo>
                    <a:pt x="324" y="890"/>
                  </a:lnTo>
                  <a:lnTo>
                    <a:pt x="307" y="907"/>
                  </a:lnTo>
                  <a:lnTo>
                    <a:pt x="291" y="907"/>
                  </a:lnTo>
                  <a:lnTo>
                    <a:pt x="286" y="902"/>
                  </a:lnTo>
                  <a:lnTo>
                    <a:pt x="286" y="885"/>
                  </a:lnTo>
                  <a:lnTo>
                    <a:pt x="286" y="918"/>
                  </a:lnTo>
                  <a:lnTo>
                    <a:pt x="269" y="918"/>
                  </a:lnTo>
                  <a:lnTo>
                    <a:pt x="269" y="923"/>
                  </a:lnTo>
                  <a:lnTo>
                    <a:pt x="253" y="940"/>
                  </a:lnTo>
                  <a:lnTo>
                    <a:pt x="232" y="963"/>
                  </a:lnTo>
                  <a:lnTo>
                    <a:pt x="215" y="963"/>
                  </a:lnTo>
                  <a:lnTo>
                    <a:pt x="227" y="940"/>
                  </a:lnTo>
                  <a:lnTo>
                    <a:pt x="215" y="963"/>
                  </a:lnTo>
                  <a:lnTo>
                    <a:pt x="210" y="963"/>
                  </a:lnTo>
                  <a:lnTo>
                    <a:pt x="210" y="940"/>
                  </a:lnTo>
                  <a:lnTo>
                    <a:pt x="215" y="940"/>
                  </a:lnTo>
                  <a:lnTo>
                    <a:pt x="210" y="940"/>
                  </a:lnTo>
                  <a:lnTo>
                    <a:pt x="199" y="963"/>
                  </a:lnTo>
                  <a:lnTo>
                    <a:pt x="182" y="963"/>
                  </a:lnTo>
                  <a:lnTo>
                    <a:pt x="182" y="940"/>
                  </a:lnTo>
                  <a:lnTo>
                    <a:pt x="199" y="935"/>
                  </a:lnTo>
                  <a:lnTo>
                    <a:pt x="173" y="956"/>
                  </a:lnTo>
                  <a:lnTo>
                    <a:pt x="173" y="956"/>
                  </a:lnTo>
                  <a:lnTo>
                    <a:pt x="182" y="940"/>
                  </a:lnTo>
                  <a:lnTo>
                    <a:pt x="173" y="947"/>
                  </a:lnTo>
                  <a:lnTo>
                    <a:pt x="177" y="940"/>
                  </a:lnTo>
                  <a:lnTo>
                    <a:pt x="173" y="923"/>
                  </a:lnTo>
                  <a:lnTo>
                    <a:pt x="161" y="923"/>
                  </a:lnTo>
                  <a:lnTo>
                    <a:pt x="161" y="940"/>
                  </a:lnTo>
                  <a:lnTo>
                    <a:pt x="144" y="947"/>
                  </a:lnTo>
                  <a:lnTo>
                    <a:pt x="144" y="923"/>
                  </a:lnTo>
                  <a:lnTo>
                    <a:pt x="173" y="829"/>
                  </a:lnTo>
                  <a:lnTo>
                    <a:pt x="156" y="774"/>
                  </a:lnTo>
                  <a:lnTo>
                    <a:pt x="144" y="758"/>
                  </a:lnTo>
                  <a:lnTo>
                    <a:pt x="144" y="741"/>
                  </a:lnTo>
                  <a:lnTo>
                    <a:pt x="139" y="737"/>
                  </a:lnTo>
                  <a:lnTo>
                    <a:pt x="128" y="737"/>
                  </a:lnTo>
                  <a:lnTo>
                    <a:pt x="128" y="713"/>
                  </a:lnTo>
                  <a:lnTo>
                    <a:pt x="123" y="713"/>
                  </a:lnTo>
                  <a:lnTo>
                    <a:pt x="118" y="703"/>
                  </a:lnTo>
                  <a:lnTo>
                    <a:pt x="123" y="696"/>
                  </a:lnTo>
                  <a:lnTo>
                    <a:pt x="102" y="670"/>
                  </a:lnTo>
                  <a:lnTo>
                    <a:pt x="106" y="659"/>
                  </a:lnTo>
                  <a:lnTo>
                    <a:pt x="102" y="663"/>
                  </a:lnTo>
                  <a:lnTo>
                    <a:pt x="85" y="647"/>
                  </a:lnTo>
                  <a:lnTo>
                    <a:pt x="69" y="647"/>
                  </a:lnTo>
                  <a:lnTo>
                    <a:pt x="76" y="663"/>
                  </a:lnTo>
                  <a:lnTo>
                    <a:pt x="69" y="659"/>
                  </a:lnTo>
                  <a:lnTo>
                    <a:pt x="69" y="663"/>
                  </a:lnTo>
                  <a:lnTo>
                    <a:pt x="54" y="642"/>
                  </a:lnTo>
                  <a:lnTo>
                    <a:pt x="69" y="642"/>
                  </a:lnTo>
                  <a:lnTo>
                    <a:pt x="54" y="642"/>
                  </a:lnTo>
                  <a:lnTo>
                    <a:pt x="64" y="609"/>
                  </a:lnTo>
                  <a:lnTo>
                    <a:pt x="47" y="642"/>
                  </a:lnTo>
                  <a:lnTo>
                    <a:pt x="38" y="630"/>
                  </a:lnTo>
                  <a:lnTo>
                    <a:pt x="47" y="625"/>
                  </a:lnTo>
                  <a:lnTo>
                    <a:pt x="47" y="614"/>
                  </a:lnTo>
                  <a:lnTo>
                    <a:pt x="31" y="602"/>
                  </a:lnTo>
                  <a:lnTo>
                    <a:pt x="38" y="630"/>
                  </a:lnTo>
                  <a:lnTo>
                    <a:pt x="17" y="602"/>
                  </a:lnTo>
                  <a:lnTo>
                    <a:pt x="10" y="569"/>
                  </a:lnTo>
                  <a:lnTo>
                    <a:pt x="10" y="569"/>
                  </a:lnTo>
                  <a:lnTo>
                    <a:pt x="10" y="569"/>
                  </a:lnTo>
                  <a:close/>
                  <a:moveTo>
                    <a:pt x="123" y="696"/>
                  </a:moveTo>
                  <a:lnTo>
                    <a:pt x="118" y="703"/>
                  </a:lnTo>
                  <a:lnTo>
                    <a:pt x="102" y="687"/>
                  </a:lnTo>
                  <a:lnTo>
                    <a:pt x="106" y="687"/>
                  </a:lnTo>
                  <a:lnTo>
                    <a:pt x="123" y="696"/>
                  </a:lnTo>
                  <a:lnTo>
                    <a:pt x="123" y="696"/>
                  </a:lnTo>
                  <a:lnTo>
                    <a:pt x="123" y="696"/>
                  </a:lnTo>
                  <a:close/>
                  <a:moveTo>
                    <a:pt x="118" y="703"/>
                  </a:moveTo>
                  <a:lnTo>
                    <a:pt x="123" y="725"/>
                  </a:lnTo>
                  <a:lnTo>
                    <a:pt x="123" y="737"/>
                  </a:lnTo>
                  <a:lnTo>
                    <a:pt x="106" y="725"/>
                  </a:lnTo>
                  <a:lnTo>
                    <a:pt x="92" y="696"/>
                  </a:lnTo>
                  <a:lnTo>
                    <a:pt x="92" y="696"/>
                  </a:lnTo>
                  <a:lnTo>
                    <a:pt x="106" y="703"/>
                  </a:lnTo>
                  <a:lnTo>
                    <a:pt x="118" y="703"/>
                  </a:lnTo>
                  <a:lnTo>
                    <a:pt x="118" y="703"/>
                  </a:lnTo>
                  <a:lnTo>
                    <a:pt x="118" y="703"/>
                  </a:lnTo>
                  <a:close/>
                  <a:moveTo>
                    <a:pt x="102" y="737"/>
                  </a:moveTo>
                  <a:lnTo>
                    <a:pt x="106" y="737"/>
                  </a:lnTo>
                  <a:lnTo>
                    <a:pt x="106" y="753"/>
                  </a:lnTo>
                  <a:lnTo>
                    <a:pt x="92" y="737"/>
                  </a:lnTo>
                  <a:lnTo>
                    <a:pt x="102" y="737"/>
                  </a:lnTo>
                  <a:lnTo>
                    <a:pt x="102" y="737"/>
                  </a:lnTo>
                  <a:lnTo>
                    <a:pt x="102" y="737"/>
                  </a:lnTo>
                  <a:close/>
                  <a:moveTo>
                    <a:pt x="376" y="907"/>
                  </a:moveTo>
                  <a:lnTo>
                    <a:pt x="376" y="918"/>
                  </a:lnTo>
                  <a:lnTo>
                    <a:pt x="376" y="935"/>
                  </a:lnTo>
                  <a:lnTo>
                    <a:pt x="371" y="923"/>
                  </a:lnTo>
                  <a:lnTo>
                    <a:pt x="376" y="907"/>
                  </a:lnTo>
                  <a:lnTo>
                    <a:pt x="376" y="907"/>
                  </a:lnTo>
                  <a:lnTo>
                    <a:pt x="376" y="907"/>
                  </a:lnTo>
                  <a:close/>
                  <a:moveTo>
                    <a:pt x="173" y="935"/>
                  </a:moveTo>
                  <a:lnTo>
                    <a:pt x="173" y="940"/>
                  </a:lnTo>
                  <a:lnTo>
                    <a:pt x="156" y="956"/>
                  </a:lnTo>
                  <a:lnTo>
                    <a:pt x="156" y="947"/>
                  </a:lnTo>
                  <a:lnTo>
                    <a:pt x="173" y="935"/>
                  </a:lnTo>
                  <a:lnTo>
                    <a:pt x="173" y="935"/>
                  </a:lnTo>
                  <a:lnTo>
                    <a:pt x="173" y="935"/>
                  </a:lnTo>
                  <a:close/>
                  <a:moveTo>
                    <a:pt x="430" y="1216"/>
                  </a:moveTo>
                  <a:lnTo>
                    <a:pt x="430" y="1195"/>
                  </a:lnTo>
                  <a:lnTo>
                    <a:pt x="442" y="1195"/>
                  </a:lnTo>
                  <a:lnTo>
                    <a:pt x="442" y="1211"/>
                  </a:lnTo>
                  <a:lnTo>
                    <a:pt x="430" y="1216"/>
                  </a:lnTo>
                  <a:lnTo>
                    <a:pt x="430" y="1216"/>
                  </a:lnTo>
                  <a:lnTo>
                    <a:pt x="430" y="1216"/>
                  </a:lnTo>
                  <a:lnTo>
                    <a:pt x="430" y="1216"/>
                  </a:lnTo>
                  <a:close/>
                  <a:moveTo>
                    <a:pt x="409" y="1216"/>
                  </a:moveTo>
                  <a:lnTo>
                    <a:pt x="399" y="1216"/>
                  </a:lnTo>
                  <a:lnTo>
                    <a:pt x="413" y="1211"/>
                  </a:lnTo>
                  <a:lnTo>
                    <a:pt x="409" y="1216"/>
                  </a:lnTo>
                  <a:lnTo>
                    <a:pt x="409" y="1216"/>
                  </a:lnTo>
                  <a:lnTo>
                    <a:pt x="409" y="1216"/>
                  </a:lnTo>
                  <a:close/>
                  <a:moveTo>
                    <a:pt x="413" y="1223"/>
                  </a:moveTo>
                  <a:lnTo>
                    <a:pt x="409" y="1216"/>
                  </a:lnTo>
                  <a:lnTo>
                    <a:pt x="413" y="1216"/>
                  </a:lnTo>
                  <a:lnTo>
                    <a:pt x="413" y="1233"/>
                  </a:lnTo>
                  <a:lnTo>
                    <a:pt x="413" y="1223"/>
                  </a:lnTo>
                  <a:lnTo>
                    <a:pt x="413" y="1223"/>
                  </a:lnTo>
                  <a:lnTo>
                    <a:pt x="413" y="1223"/>
                  </a:lnTo>
                  <a:close/>
                  <a:moveTo>
                    <a:pt x="447" y="1240"/>
                  </a:moveTo>
                  <a:lnTo>
                    <a:pt x="451" y="1249"/>
                  </a:lnTo>
                  <a:lnTo>
                    <a:pt x="442" y="1249"/>
                  </a:lnTo>
                  <a:lnTo>
                    <a:pt x="442" y="1233"/>
                  </a:lnTo>
                  <a:lnTo>
                    <a:pt x="447" y="1240"/>
                  </a:lnTo>
                  <a:lnTo>
                    <a:pt x="447" y="1240"/>
                  </a:lnTo>
                  <a:lnTo>
                    <a:pt x="447" y="1240"/>
                  </a:lnTo>
                  <a:close/>
                  <a:moveTo>
                    <a:pt x="442" y="1273"/>
                  </a:moveTo>
                  <a:lnTo>
                    <a:pt x="430" y="1256"/>
                  </a:lnTo>
                  <a:lnTo>
                    <a:pt x="447" y="1256"/>
                  </a:lnTo>
                  <a:lnTo>
                    <a:pt x="447" y="1273"/>
                  </a:lnTo>
                  <a:lnTo>
                    <a:pt x="442" y="1273"/>
                  </a:lnTo>
                  <a:lnTo>
                    <a:pt x="442" y="1273"/>
                  </a:lnTo>
                  <a:lnTo>
                    <a:pt x="442" y="1273"/>
                  </a:lnTo>
                  <a:close/>
                  <a:moveTo>
                    <a:pt x="413" y="1277"/>
                  </a:moveTo>
                  <a:lnTo>
                    <a:pt x="430" y="1256"/>
                  </a:lnTo>
                  <a:lnTo>
                    <a:pt x="425" y="1277"/>
                  </a:lnTo>
                  <a:lnTo>
                    <a:pt x="413" y="1277"/>
                  </a:lnTo>
                  <a:lnTo>
                    <a:pt x="413" y="1277"/>
                  </a:lnTo>
                  <a:lnTo>
                    <a:pt x="413" y="1277"/>
                  </a:lnTo>
                  <a:close/>
                  <a:moveTo>
                    <a:pt x="442" y="1311"/>
                  </a:moveTo>
                  <a:lnTo>
                    <a:pt x="447" y="1306"/>
                  </a:lnTo>
                  <a:lnTo>
                    <a:pt x="447" y="1322"/>
                  </a:lnTo>
                  <a:lnTo>
                    <a:pt x="442" y="1311"/>
                  </a:lnTo>
                  <a:lnTo>
                    <a:pt x="442" y="1311"/>
                  </a:lnTo>
                  <a:lnTo>
                    <a:pt x="442" y="1311"/>
                  </a:lnTo>
                  <a:close/>
                  <a:moveTo>
                    <a:pt x="425" y="1332"/>
                  </a:moveTo>
                  <a:lnTo>
                    <a:pt x="425" y="1332"/>
                  </a:lnTo>
                  <a:lnTo>
                    <a:pt x="413" y="1322"/>
                  </a:lnTo>
                  <a:lnTo>
                    <a:pt x="413" y="1322"/>
                  </a:lnTo>
                  <a:lnTo>
                    <a:pt x="413" y="1311"/>
                  </a:lnTo>
                  <a:lnTo>
                    <a:pt x="425" y="1332"/>
                  </a:lnTo>
                  <a:lnTo>
                    <a:pt x="425" y="1332"/>
                  </a:lnTo>
                  <a:lnTo>
                    <a:pt x="425" y="1332"/>
                  </a:lnTo>
                  <a:close/>
                  <a:moveTo>
                    <a:pt x="399" y="1348"/>
                  </a:moveTo>
                  <a:lnTo>
                    <a:pt x="399" y="1360"/>
                  </a:lnTo>
                  <a:lnTo>
                    <a:pt x="399" y="1348"/>
                  </a:lnTo>
                  <a:lnTo>
                    <a:pt x="399" y="1348"/>
                  </a:lnTo>
                  <a:lnTo>
                    <a:pt x="399" y="1348"/>
                  </a:lnTo>
                  <a:lnTo>
                    <a:pt x="399" y="1348"/>
                  </a:lnTo>
                  <a:close/>
                  <a:moveTo>
                    <a:pt x="425" y="1384"/>
                  </a:moveTo>
                  <a:lnTo>
                    <a:pt x="413" y="1400"/>
                  </a:lnTo>
                  <a:lnTo>
                    <a:pt x="425" y="1384"/>
                  </a:lnTo>
                  <a:lnTo>
                    <a:pt x="425" y="1384"/>
                  </a:lnTo>
                  <a:lnTo>
                    <a:pt x="425" y="1384"/>
                  </a:lnTo>
                  <a:lnTo>
                    <a:pt x="425" y="1384"/>
                  </a:lnTo>
                  <a:close/>
                </a:path>
              </a:pathLst>
            </a:custGeom>
            <a:pattFill prst="wd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13" name="Freeform 400">
              <a:extLst>
                <a:ext uri="{FF2B5EF4-FFF2-40B4-BE49-F238E27FC236}">
                  <a16:creationId xmlns:a16="http://schemas.microsoft.com/office/drawing/2014/main" id="{304F3E16-ABFF-488C-9DD1-BFD1800812BF}"/>
                </a:ext>
              </a:extLst>
            </p:cNvPr>
            <p:cNvSpPr>
              <a:spLocks/>
            </p:cNvSpPr>
            <p:nvPr/>
          </p:nvSpPr>
          <p:spPr bwMode="gray">
            <a:xfrm>
              <a:off x="5801838" y="4159211"/>
              <a:ext cx="107388" cy="220739"/>
            </a:xfrm>
            <a:custGeom>
              <a:avLst/>
              <a:gdLst>
                <a:gd name="T0" fmla="*/ 59 w 217"/>
                <a:gd name="T1" fmla="*/ 446 h 446"/>
                <a:gd name="T2" fmla="*/ 71 w 217"/>
                <a:gd name="T3" fmla="*/ 441 h 446"/>
                <a:gd name="T4" fmla="*/ 55 w 217"/>
                <a:gd name="T5" fmla="*/ 413 h 446"/>
                <a:gd name="T6" fmla="*/ 55 w 217"/>
                <a:gd name="T7" fmla="*/ 392 h 446"/>
                <a:gd name="T8" fmla="*/ 59 w 217"/>
                <a:gd name="T9" fmla="*/ 392 h 446"/>
                <a:gd name="T10" fmla="*/ 59 w 217"/>
                <a:gd name="T11" fmla="*/ 354 h 446"/>
                <a:gd name="T12" fmla="*/ 59 w 217"/>
                <a:gd name="T13" fmla="*/ 243 h 446"/>
                <a:gd name="T14" fmla="*/ 38 w 217"/>
                <a:gd name="T15" fmla="*/ 210 h 446"/>
                <a:gd name="T16" fmla="*/ 38 w 217"/>
                <a:gd name="T17" fmla="*/ 172 h 446"/>
                <a:gd name="T18" fmla="*/ 0 w 217"/>
                <a:gd name="T19" fmla="*/ 148 h 446"/>
                <a:gd name="T20" fmla="*/ 5 w 217"/>
                <a:gd name="T21" fmla="*/ 99 h 446"/>
                <a:gd name="T22" fmla="*/ 26 w 217"/>
                <a:gd name="T23" fmla="*/ 82 h 446"/>
                <a:gd name="T24" fmla="*/ 38 w 217"/>
                <a:gd name="T25" fmla="*/ 78 h 446"/>
                <a:gd name="T26" fmla="*/ 43 w 217"/>
                <a:gd name="T27" fmla="*/ 66 h 446"/>
                <a:gd name="T28" fmla="*/ 59 w 217"/>
                <a:gd name="T29" fmla="*/ 78 h 446"/>
                <a:gd name="T30" fmla="*/ 80 w 217"/>
                <a:gd name="T31" fmla="*/ 66 h 446"/>
                <a:gd name="T32" fmla="*/ 109 w 217"/>
                <a:gd name="T33" fmla="*/ 56 h 446"/>
                <a:gd name="T34" fmla="*/ 114 w 217"/>
                <a:gd name="T35" fmla="*/ 40 h 446"/>
                <a:gd name="T36" fmla="*/ 114 w 217"/>
                <a:gd name="T37" fmla="*/ 11 h 446"/>
                <a:gd name="T38" fmla="*/ 147 w 217"/>
                <a:gd name="T39" fmla="*/ 0 h 446"/>
                <a:gd name="T40" fmla="*/ 201 w 217"/>
                <a:gd name="T41" fmla="*/ 56 h 446"/>
                <a:gd name="T42" fmla="*/ 192 w 217"/>
                <a:gd name="T43" fmla="*/ 66 h 446"/>
                <a:gd name="T44" fmla="*/ 208 w 217"/>
                <a:gd name="T45" fmla="*/ 94 h 446"/>
                <a:gd name="T46" fmla="*/ 208 w 217"/>
                <a:gd name="T47" fmla="*/ 115 h 446"/>
                <a:gd name="T48" fmla="*/ 217 w 217"/>
                <a:gd name="T49" fmla="*/ 132 h 446"/>
                <a:gd name="T50" fmla="*/ 217 w 217"/>
                <a:gd name="T51" fmla="*/ 148 h 446"/>
                <a:gd name="T52" fmla="*/ 208 w 217"/>
                <a:gd name="T53" fmla="*/ 139 h 446"/>
                <a:gd name="T54" fmla="*/ 201 w 217"/>
                <a:gd name="T55" fmla="*/ 156 h 446"/>
                <a:gd name="T56" fmla="*/ 208 w 217"/>
                <a:gd name="T57" fmla="*/ 165 h 446"/>
                <a:gd name="T58" fmla="*/ 201 w 217"/>
                <a:gd name="T59" fmla="*/ 177 h 446"/>
                <a:gd name="T60" fmla="*/ 180 w 217"/>
                <a:gd name="T61" fmla="*/ 189 h 446"/>
                <a:gd name="T62" fmla="*/ 184 w 217"/>
                <a:gd name="T63" fmla="*/ 193 h 446"/>
                <a:gd name="T64" fmla="*/ 168 w 217"/>
                <a:gd name="T65" fmla="*/ 222 h 446"/>
                <a:gd name="T66" fmla="*/ 163 w 217"/>
                <a:gd name="T67" fmla="*/ 243 h 446"/>
                <a:gd name="T68" fmla="*/ 137 w 217"/>
                <a:gd name="T69" fmla="*/ 243 h 446"/>
                <a:gd name="T70" fmla="*/ 130 w 217"/>
                <a:gd name="T71" fmla="*/ 330 h 446"/>
                <a:gd name="T72" fmla="*/ 137 w 217"/>
                <a:gd name="T73" fmla="*/ 387 h 446"/>
                <a:gd name="T74" fmla="*/ 137 w 217"/>
                <a:gd name="T75" fmla="*/ 441 h 446"/>
                <a:gd name="T76" fmla="*/ 59 w 217"/>
                <a:gd name="T77" fmla="*/ 446 h 446"/>
                <a:gd name="T78" fmla="*/ 59 w 217"/>
                <a:gd name="T79" fmla="*/ 446 h 446"/>
                <a:gd name="T80" fmla="*/ 59 w 217"/>
                <a:gd name="T81"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7" h="446">
                  <a:moveTo>
                    <a:pt x="59" y="446"/>
                  </a:moveTo>
                  <a:lnTo>
                    <a:pt x="71" y="441"/>
                  </a:lnTo>
                  <a:lnTo>
                    <a:pt x="55" y="413"/>
                  </a:lnTo>
                  <a:lnTo>
                    <a:pt x="55" y="392"/>
                  </a:lnTo>
                  <a:lnTo>
                    <a:pt x="59" y="392"/>
                  </a:lnTo>
                  <a:lnTo>
                    <a:pt x="59" y="354"/>
                  </a:lnTo>
                  <a:lnTo>
                    <a:pt x="59" y="243"/>
                  </a:lnTo>
                  <a:lnTo>
                    <a:pt x="38" y="210"/>
                  </a:lnTo>
                  <a:lnTo>
                    <a:pt x="38" y="172"/>
                  </a:lnTo>
                  <a:lnTo>
                    <a:pt x="0" y="148"/>
                  </a:lnTo>
                  <a:lnTo>
                    <a:pt x="5" y="99"/>
                  </a:lnTo>
                  <a:lnTo>
                    <a:pt x="26" y="82"/>
                  </a:lnTo>
                  <a:lnTo>
                    <a:pt x="38" y="78"/>
                  </a:lnTo>
                  <a:lnTo>
                    <a:pt x="43" y="66"/>
                  </a:lnTo>
                  <a:lnTo>
                    <a:pt x="59" y="78"/>
                  </a:lnTo>
                  <a:lnTo>
                    <a:pt x="80" y="66"/>
                  </a:lnTo>
                  <a:lnTo>
                    <a:pt x="109" y="56"/>
                  </a:lnTo>
                  <a:lnTo>
                    <a:pt x="114" y="40"/>
                  </a:lnTo>
                  <a:lnTo>
                    <a:pt x="114" y="11"/>
                  </a:lnTo>
                  <a:lnTo>
                    <a:pt x="147" y="0"/>
                  </a:lnTo>
                  <a:lnTo>
                    <a:pt x="201" y="56"/>
                  </a:lnTo>
                  <a:lnTo>
                    <a:pt x="192" y="66"/>
                  </a:lnTo>
                  <a:lnTo>
                    <a:pt x="208" y="94"/>
                  </a:lnTo>
                  <a:lnTo>
                    <a:pt x="208" y="115"/>
                  </a:lnTo>
                  <a:lnTo>
                    <a:pt x="217" y="132"/>
                  </a:lnTo>
                  <a:lnTo>
                    <a:pt x="217" y="148"/>
                  </a:lnTo>
                  <a:lnTo>
                    <a:pt x="208" y="139"/>
                  </a:lnTo>
                  <a:lnTo>
                    <a:pt x="201" y="156"/>
                  </a:lnTo>
                  <a:lnTo>
                    <a:pt x="208" y="165"/>
                  </a:lnTo>
                  <a:lnTo>
                    <a:pt x="201" y="177"/>
                  </a:lnTo>
                  <a:lnTo>
                    <a:pt x="180" y="189"/>
                  </a:lnTo>
                  <a:lnTo>
                    <a:pt x="184" y="193"/>
                  </a:lnTo>
                  <a:lnTo>
                    <a:pt x="168" y="222"/>
                  </a:lnTo>
                  <a:lnTo>
                    <a:pt x="163" y="243"/>
                  </a:lnTo>
                  <a:lnTo>
                    <a:pt x="137" y="243"/>
                  </a:lnTo>
                  <a:lnTo>
                    <a:pt x="130" y="330"/>
                  </a:lnTo>
                  <a:lnTo>
                    <a:pt x="137" y="387"/>
                  </a:lnTo>
                  <a:lnTo>
                    <a:pt x="137" y="441"/>
                  </a:lnTo>
                  <a:lnTo>
                    <a:pt x="59" y="446"/>
                  </a:lnTo>
                  <a:lnTo>
                    <a:pt x="59" y="446"/>
                  </a:lnTo>
                  <a:lnTo>
                    <a:pt x="59" y="446"/>
                  </a:lnTo>
                  <a:close/>
                </a:path>
              </a:pathLst>
            </a:custGeom>
            <a:pattFill prst="nar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14" name="Freeform 401">
              <a:extLst>
                <a:ext uri="{FF2B5EF4-FFF2-40B4-BE49-F238E27FC236}">
                  <a16:creationId xmlns:a16="http://schemas.microsoft.com/office/drawing/2014/main" id="{B0F274E5-5922-4A19-AEDC-EA0B53DA7345}"/>
                </a:ext>
              </a:extLst>
            </p:cNvPr>
            <p:cNvSpPr>
              <a:spLocks/>
            </p:cNvSpPr>
            <p:nvPr/>
          </p:nvSpPr>
          <p:spPr bwMode="gray">
            <a:xfrm>
              <a:off x="6579290" y="2358648"/>
              <a:ext cx="335526" cy="237072"/>
            </a:xfrm>
            <a:custGeom>
              <a:avLst/>
              <a:gdLst>
                <a:gd name="T0" fmla="*/ 26 w 678"/>
                <a:gd name="T1" fmla="*/ 442 h 479"/>
                <a:gd name="T2" fmla="*/ 0 w 678"/>
                <a:gd name="T3" fmla="*/ 376 h 479"/>
                <a:gd name="T4" fmla="*/ 52 w 678"/>
                <a:gd name="T5" fmla="*/ 338 h 479"/>
                <a:gd name="T6" fmla="*/ 26 w 678"/>
                <a:gd name="T7" fmla="*/ 220 h 479"/>
                <a:gd name="T8" fmla="*/ 85 w 678"/>
                <a:gd name="T9" fmla="*/ 227 h 479"/>
                <a:gd name="T10" fmla="*/ 118 w 678"/>
                <a:gd name="T11" fmla="*/ 220 h 479"/>
                <a:gd name="T12" fmla="*/ 135 w 678"/>
                <a:gd name="T13" fmla="*/ 203 h 479"/>
                <a:gd name="T14" fmla="*/ 172 w 678"/>
                <a:gd name="T15" fmla="*/ 187 h 479"/>
                <a:gd name="T16" fmla="*/ 177 w 678"/>
                <a:gd name="T17" fmla="*/ 194 h 479"/>
                <a:gd name="T18" fmla="*/ 161 w 678"/>
                <a:gd name="T19" fmla="*/ 177 h 479"/>
                <a:gd name="T20" fmla="*/ 177 w 678"/>
                <a:gd name="T21" fmla="*/ 120 h 479"/>
                <a:gd name="T22" fmla="*/ 215 w 678"/>
                <a:gd name="T23" fmla="*/ 99 h 479"/>
                <a:gd name="T24" fmla="*/ 253 w 678"/>
                <a:gd name="T25" fmla="*/ 83 h 479"/>
                <a:gd name="T26" fmla="*/ 243 w 678"/>
                <a:gd name="T27" fmla="*/ 45 h 479"/>
                <a:gd name="T28" fmla="*/ 265 w 678"/>
                <a:gd name="T29" fmla="*/ 28 h 479"/>
                <a:gd name="T30" fmla="*/ 307 w 678"/>
                <a:gd name="T31" fmla="*/ 21 h 479"/>
                <a:gd name="T32" fmla="*/ 352 w 678"/>
                <a:gd name="T33" fmla="*/ 0 h 479"/>
                <a:gd name="T34" fmla="*/ 378 w 678"/>
                <a:gd name="T35" fmla="*/ 5 h 479"/>
                <a:gd name="T36" fmla="*/ 411 w 678"/>
                <a:gd name="T37" fmla="*/ 12 h 479"/>
                <a:gd name="T38" fmla="*/ 444 w 678"/>
                <a:gd name="T39" fmla="*/ 21 h 479"/>
                <a:gd name="T40" fmla="*/ 444 w 678"/>
                <a:gd name="T41" fmla="*/ 45 h 479"/>
                <a:gd name="T42" fmla="*/ 498 w 678"/>
                <a:gd name="T43" fmla="*/ 28 h 479"/>
                <a:gd name="T44" fmla="*/ 536 w 678"/>
                <a:gd name="T45" fmla="*/ 54 h 479"/>
                <a:gd name="T46" fmla="*/ 541 w 678"/>
                <a:gd name="T47" fmla="*/ 78 h 479"/>
                <a:gd name="T48" fmla="*/ 553 w 678"/>
                <a:gd name="T49" fmla="*/ 111 h 479"/>
                <a:gd name="T50" fmla="*/ 557 w 678"/>
                <a:gd name="T51" fmla="*/ 149 h 479"/>
                <a:gd name="T52" fmla="*/ 569 w 678"/>
                <a:gd name="T53" fmla="*/ 170 h 479"/>
                <a:gd name="T54" fmla="*/ 612 w 678"/>
                <a:gd name="T55" fmla="*/ 203 h 479"/>
                <a:gd name="T56" fmla="*/ 628 w 678"/>
                <a:gd name="T57" fmla="*/ 231 h 479"/>
                <a:gd name="T58" fmla="*/ 661 w 678"/>
                <a:gd name="T59" fmla="*/ 243 h 479"/>
                <a:gd name="T60" fmla="*/ 650 w 678"/>
                <a:gd name="T61" fmla="*/ 260 h 479"/>
                <a:gd name="T62" fmla="*/ 666 w 678"/>
                <a:gd name="T63" fmla="*/ 276 h 479"/>
                <a:gd name="T64" fmla="*/ 579 w 678"/>
                <a:gd name="T65" fmla="*/ 288 h 479"/>
                <a:gd name="T66" fmla="*/ 591 w 678"/>
                <a:gd name="T67" fmla="*/ 331 h 479"/>
                <a:gd name="T68" fmla="*/ 591 w 678"/>
                <a:gd name="T69" fmla="*/ 354 h 479"/>
                <a:gd name="T70" fmla="*/ 607 w 678"/>
                <a:gd name="T71" fmla="*/ 397 h 479"/>
                <a:gd name="T72" fmla="*/ 541 w 678"/>
                <a:gd name="T73" fmla="*/ 409 h 479"/>
                <a:gd name="T74" fmla="*/ 520 w 678"/>
                <a:gd name="T75" fmla="*/ 442 h 479"/>
                <a:gd name="T76" fmla="*/ 520 w 678"/>
                <a:gd name="T77" fmla="*/ 479 h 479"/>
                <a:gd name="T78" fmla="*/ 465 w 678"/>
                <a:gd name="T79" fmla="*/ 463 h 479"/>
                <a:gd name="T80" fmla="*/ 432 w 678"/>
                <a:gd name="T81" fmla="*/ 463 h 479"/>
                <a:gd name="T82" fmla="*/ 395 w 678"/>
                <a:gd name="T83" fmla="*/ 446 h 479"/>
                <a:gd name="T84" fmla="*/ 378 w 678"/>
                <a:gd name="T85" fmla="*/ 446 h 479"/>
                <a:gd name="T86" fmla="*/ 357 w 678"/>
                <a:gd name="T87" fmla="*/ 442 h 479"/>
                <a:gd name="T88" fmla="*/ 324 w 678"/>
                <a:gd name="T89" fmla="*/ 442 h 479"/>
                <a:gd name="T90" fmla="*/ 319 w 678"/>
                <a:gd name="T91" fmla="*/ 453 h 479"/>
                <a:gd name="T92" fmla="*/ 286 w 678"/>
                <a:gd name="T93" fmla="*/ 446 h 479"/>
                <a:gd name="T94" fmla="*/ 177 w 678"/>
                <a:gd name="T95" fmla="*/ 413 h 479"/>
                <a:gd name="T96" fmla="*/ 64 w 678"/>
                <a:gd name="T97" fmla="*/ 446 h 479"/>
                <a:gd name="T98" fmla="*/ 31 w 678"/>
                <a:gd name="T99" fmla="*/ 453 h 479"/>
                <a:gd name="T100" fmla="*/ 31 w 678"/>
                <a:gd name="T101" fmla="*/ 45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8" h="479">
                  <a:moveTo>
                    <a:pt x="31" y="453"/>
                  </a:moveTo>
                  <a:lnTo>
                    <a:pt x="26" y="442"/>
                  </a:lnTo>
                  <a:lnTo>
                    <a:pt x="31" y="397"/>
                  </a:lnTo>
                  <a:lnTo>
                    <a:pt x="0" y="376"/>
                  </a:lnTo>
                  <a:lnTo>
                    <a:pt x="14" y="359"/>
                  </a:lnTo>
                  <a:lnTo>
                    <a:pt x="52" y="338"/>
                  </a:lnTo>
                  <a:lnTo>
                    <a:pt x="52" y="305"/>
                  </a:lnTo>
                  <a:lnTo>
                    <a:pt x="26" y="220"/>
                  </a:lnTo>
                  <a:lnTo>
                    <a:pt x="69" y="220"/>
                  </a:lnTo>
                  <a:lnTo>
                    <a:pt x="85" y="227"/>
                  </a:lnTo>
                  <a:lnTo>
                    <a:pt x="102" y="210"/>
                  </a:lnTo>
                  <a:lnTo>
                    <a:pt x="118" y="220"/>
                  </a:lnTo>
                  <a:lnTo>
                    <a:pt x="118" y="194"/>
                  </a:lnTo>
                  <a:lnTo>
                    <a:pt x="135" y="203"/>
                  </a:lnTo>
                  <a:lnTo>
                    <a:pt x="161" y="177"/>
                  </a:lnTo>
                  <a:lnTo>
                    <a:pt x="172" y="187"/>
                  </a:lnTo>
                  <a:lnTo>
                    <a:pt x="161" y="194"/>
                  </a:lnTo>
                  <a:lnTo>
                    <a:pt x="177" y="194"/>
                  </a:lnTo>
                  <a:lnTo>
                    <a:pt x="177" y="177"/>
                  </a:lnTo>
                  <a:lnTo>
                    <a:pt x="161" y="177"/>
                  </a:lnTo>
                  <a:lnTo>
                    <a:pt x="177" y="153"/>
                  </a:lnTo>
                  <a:lnTo>
                    <a:pt x="177" y="120"/>
                  </a:lnTo>
                  <a:lnTo>
                    <a:pt x="210" y="116"/>
                  </a:lnTo>
                  <a:lnTo>
                    <a:pt x="215" y="99"/>
                  </a:lnTo>
                  <a:lnTo>
                    <a:pt x="232" y="99"/>
                  </a:lnTo>
                  <a:lnTo>
                    <a:pt x="253" y="83"/>
                  </a:lnTo>
                  <a:lnTo>
                    <a:pt x="232" y="78"/>
                  </a:lnTo>
                  <a:lnTo>
                    <a:pt x="243" y="45"/>
                  </a:lnTo>
                  <a:lnTo>
                    <a:pt x="253" y="45"/>
                  </a:lnTo>
                  <a:lnTo>
                    <a:pt x="265" y="28"/>
                  </a:lnTo>
                  <a:lnTo>
                    <a:pt x="307" y="38"/>
                  </a:lnTo>
                  <a:lnTo>
                    <a:pt x="307" y="21"/>
                  </a:lnTo>
                  <a:lnTo>
                    <a:pt x="335" y="0"/>
                  </a:lnTo>
                  <a:lnTo>
                    <a:pt x="352" y="0"/>
                  </a:lnTo>
                  <a:lnTo>
                    <a:pt x="357" y="5"/>
                  </a:lnTo>
                  <a:lnTo>
                    <a:pt x="378" y="5"/>
                  </a:lnTo>
                  <a:lnTo>
                    <a:pt x="390" y="21"/>
                  </a:lnTo>
                  <a:lnTo>
                    <a:pt x="411" y="12"/>
                  </a:lnTo>
                  <a:lnTo>
                    <a:pt x="432" y="21"/>
                  </a:lnTo>
                  <a:lnTo>
                    <a:pt x="444" y="21"/>
                  </a:lnTo>
                  <a:lnTo>
                    <a:pt x="432" y="38"/>
                  </a:lnTo>
                  <a:lnTo>
                    <a:pt x="444" y="45"/>
                  </a:lnTo>
                  <a:lnTo>
                    <a:pt x="470" y="28"/>
                  </a:lnTo>
                  <a:lnTo>
                    <a:pt x="498" y="28"/>
                  </a:lnTo>
                  <a:lnTo>
                    <a:pt x="515" y="28"/>
                  </a:lnTo>
                  <a:lnTo>
                    <a:pt x="536" y="54"/>
                  </a:lnTo>
                  <a:lnTo>
                    <a:pt x="541" y="54"/>
                  </a:lnTo>
                  <a:lnTo>
                    <a:pt x="541" y="78"/>
                  </a:lnTo>
                  <a:lnTo>
                    <a:pt x="536" y="83"/>
                  </a:lnTo>
                  <a:lnTo>
                    <a:pt x="553" y="111"/>
                  </a:lnTo>
                  <a:lnTo>
                    <a:pt x="536" y="132"/>
                  </a:lnTo>
                  <a:lnTo>
                    <a:pt x="557" y="149"/>
                  </a:lnTo>
                  <a:lnTo>
                    <a:pt x="557" y="165"/>
                  </a:lnTo>
                  <a:lnTo>
                    <a:pt x="569" y="170"/>
                  </a:lnTo>
                  <a:lnTo>
                    <a:pt x="574" y="187"/>
                  </a:lnTo>
                  <a:lnTo>
                    <a:pt x="612" y="203"/>
                  </a:lnTo>
                  <a:lnTo>
                    <a:pt x="607" y="231"/>
                  </a:lnTo>
                  <a:lnTo>
                    <a:pt x="628" y="231"/>
                  </a:lnTo>
                  <a:lnTo>
                    <a:pt x="650" y="243"/>
                  </a:lnTo>
                  <a:lnTo>
                    <a:pt x="661" y="243"/>
                  </a:lnTo>
                  <a:lnTo>
                    <a:pt x="650" y="248"/>
                  </a:lnTo>
                  <a:lnTo>
                    <a:pt x="650" y="260"/>
                  </a:lnTo>
                  <a:lnTo>
                    <a:pt x="678" y="265"/>
                  </a:lnTo>
                  <a:lnTo>
                    <a:pt x="666" y="276"/>
                  </a:lnTo>
                  <a:lnTo>
                    <a:pt x="633" y="298"/>
                  </a:lnTo>
                  <a:lnTo>
                    <a:pt x="579" y="288"/>
                  </a:lnTo>
                  <a:lnTo>
                    <a:pt x="569" y="305"/>
                  </a:lnTo>
                  <a:lnTo>
                    <a:pt x="591" y="331"/>
                  </a:lnTo>
                  <a:lnTo>
                    <a:pt x="579" y="338"/>
                  </a:lnTo>
                  <a:lnTo>
                    <a:pt x="591" y="354"/>
                  </a:lnTo>
                  <a:lnTo>
                    <a:pt x="591" y="376"/>
                  </a:lnTo>
                  <a:lnTo>
                    <a:pt x="607" y="397"/>
                  </a:lnTo>
                  <a:lnTo>
                    <a:pt x="541" y="397"/>
                  </a:lnTo>
                  <a:lnTo>
                    <a:pt x="541" y="409"/>
                  </a:lnTo>
                  <a:lnTo>
                    <a:pt x="524" y="425"/>
                  </a:lnTo>
                  <a:lnTo>
                    <a:pt x="520" y="442"/>
                  </a:lnTo>
                  <a:lnTo>
                    <a:pt x="524" y="470"/>
                  </a:lnTo>
                  <a:lnTo>
                    <a:pt x="520" y="479"/>
                  </a:lnTo>
                  <a:lnTo>
                    <a:pt x="487" y="453"/>
                  </a:lnTo>
                  <a:lnTo>
                    <a:pt x="465" y="463"/>
                  </a:lnTo>
                  <a:lnTo>
                    <a:pt x="461" y="453"/>
                  </a:lnTo>
                  <a:lnTo>
                    <a:pt x="432" y="463"/>
                  </a:lnTo>
                  <a:lnTo>
                    <a:pt x="416" y="442"/>
                  </a:lnTo>
                  <a:lnTo>
                    <a:pt x="395" y="446"/>
                  </a:lnTo>
                  <a:lnTo>
                    <a:pt x="390" y="463"/>
                  </a:lnTo>
                  <a:lnTo>
                    <a:pt x="378" y="446"/>
                  </a:lnTo>
                  <a:lnTo>
                    <a:pt x="357" y="446"/>
                  </a:lnTo>
                  <a:lnTo>
                    <a:pt x="357" y="442"/>
                  </a:lnTo>
                  <a:lnTo>
                    <a:pt x="340" y="446"/>
                  </a:lnTo>
                  <a:lnTo>
                    <a:pt x="324" y="442"/>
                  </a:lnTo>
                  <a:lnTo>
                    <a:pt x="319" y="453"/>
                  </a:lnTo>
                  <a:lnTo>
                    <a:pt x="319" y="453"/>
                  </a:lnTo>
                  <a:lnTo>
                    <a:pt x="319" y="446"/>
                  </a:lnTo>
                  <a:lnTo>
                    <a:pt x="286" y="446"/>
                  </a:lnTo>
                  <a:lnTo>
                    <a:pt x="281" y="430"/>
                  </a:lnTo>
                  <a:lnTo>
                    <a:pt x="177" y="413"/>
                  </a:lnTo>
                  <a:lnTo>
                    <a:pt x="85" y="413"/>
                  </a:lnTo>
                  <a:lnTo>
                    <a:pt x="64" y="446"/>
                  </a:lnTo>
                  <a:lnTo>
                    <a:pt x="31" y="442"/>
                  </a:lnTo>
                  <a:lnTo>
                    <a:pt x="31" y="453"/>
                  </a:lnTo>
                  <a:lnTo>
                    <a:pt x="31" y="453"/>
                  </a:lnTo>
                  <a:lnTo>
                    <a:pt x="31" y="453"/>
                  </a:lnTo>
                  <a:close/>
                </a:path>
              </a:pathLst>
            </a:custGeom>
            <a:pattFill prst="wd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16" name="Freeform 403">
              <a:extLst>
                <a:ext uri="{FF2B5EF4-FFF2-40B4-BE49-F238E27FC236}">
                  <a16:creationId xmlns:a16="http://schemas.microsoft.com/office/drawing/2014/main" id="{D378D6AB-D6CF-440C-AAD2-574E095ECCFE}"/>
                </a:ext>
              </a:extLst>
            </p:cNvPr>
            <p:cNvSpPr>
              <a:spLocks noEditPoints="1"/>
            </p:cNvSpPr>
            <p:nvPr/>
          </p:nvSpPr>
          <p:spPr bwMode="gray">
            <a:xfrm>
              <a:off x="3204229" y="4416081"/>
              <a:ext cx="1363386" cy="1435799"/>
            </a:xfrm>
            <a:custGeom>
              <a:avLst/>
              <a:gdLst>
                <a:gd name="T0" fmla="*/ 291 w 2755"/>
                <a:gd name="T1" fmla="*/ 255 h 2901"/>
                <a:gd name="T2" fmla="*/ 593 w 2755"/>
                <a:gd name="T3" fmla="*/ 312 h 2901"/>
                <a:gd name="T4" fmla="*/ 702 w 2755"/>
                <a:gd name="T5" fmla="*/ 201 h 2901"/>
                <a:gd name="T6" fmla="*/ 794 w 2755"/>
                <a:gd name="T7" fmla="*/ 90 h 2901"/>
                <a:gd name="T8" fmla="*/ 967 w 2755"/>
                <a:gd name="T9" fmla="*/ 0 h 2901"/>
                <a:gd name="T10" fmla="*/ 1009 w 2755"/>
                <a:gd name="T11" fmla="*/ 246 h 2901"/>
                <a:gd name="T12" fmla="*/ 1172 w 2755"/>
                <a:gd name="T13" fmla="*/ 239 h 2901"/>
                <a:gd name="T14" fmla="*/ 1366 w 2755"/>
                <a:gd name="T15" fmla="*/ 206 h 2901"/>
                <a:gd name="T16" fmla="*/ 1604 w 2755"/>
                <a:gd name="T17" fmla="*/ 95 h 2901"/>
                <a:gd name="T18" fmla="*/ 1600 w 2755"/>
                <a:gd name="T19" fmla="*/ 390 h 2901"/>
                <a:gd name="T20" fmla="*/ 1637 w 2755"/>
                <a:gd name="T21" fmla="*/ 506 h 2901"/>
                <a:gd name="T22" fmla="*/ 1637 w 2755"/>
                <a:gd name="T23" fmla="*/ 539 h 2901"/>
                <a:gd name="T24" fmla="*/ 1784 w 2755"/>
                <a:gd name="T25" fmla="*/ 485 h 2901"/>
                <a:gd name="T26" fmla="*/ 1869 w 2755"/>
                <a:gd name="T27" fmla="*/ 423 h 2901"/>
                <a:gd name="T28" fmla="*/ 1982 w 2755"/>
                <a:gd name="T29" fmla="*/ 461 h 2901"/>
                <a:gd name="T30" fmla="*/ 2063 w 2755"/>
                <a:gd name="T31" fmla="*/ 506 h 2901"/>
                <a:gd name="T32" fmla="*/ 2091 w 2755"/>
                <a:gd name="T33" fmla="*/ 577 h 2901"/>
                <a:gd name="T34" fmla="*/ 2301 w 2755"/>
                <a:gd name="T35" fmla="*/ 589 h 2901"/>
                <a:gd name="T36" fmla="*/ 2750 w 2755"/>
                <a:gd name="T37" fmla="*/ 884 h 2901"/>
                <a:gd name="T38" fmla="*/ 2594 w 2755"/>
                <a:gd name="T39" fmla="*/ 1172 h 2901"/>
                <a:gd name="T40" fmla="*/ 2469 w 2755"/>
                <a:gd name="T41" fmla="*/ 1309 h 2901"/>
                <a:gd name="T42" fmla="*/ 2448 w 2755"/>
                <a:gd name="T43" fmla="*/ 1625 h 2901"/>
                <a:gd name="T44" fmla="*/ 2322 w 2755"/>
                <a:gd name="T45" fmla="*/ 1937 h 2901"/>
                <a:gd name="T46" fmla="*/ 2117 w 2755"/>
                <a:gd name="T47" fmla="*/ 2053 h 2901"/>
                <a:gd name="T48" fmla="*/ 1944 w 2755"/>
                <a:gd name="T49" fmla="*/ 2143 h 2901"/>
                <a:gd name="T50" fmla="*/ 1777 w 2755"/>
                <a:gd name="T51" fmla="*/ 2287 h 2901"/>
                <a:gd name="T52" fmla="*/ 1767 w 2755"/>
                <a:gd name="T53" fmla="*/ 2476 h 2901"/>
                <a:gd name="T54" fmla="*/ 1600 w 2755"/>
                <a:gd name="T55" fmla="*/ 2719 h 2901"/>
                <a:gd name="T56" fmla="*/ 1604 w 2755"/>
                <a:gd name="T57" fmla="*/ 2625 h 2901"/>
                <a:gd name="T58" fmla="*/ 1496 w 2755"/>
                <a:gd name="T59" fmla="*/ 2851 h 2901"/>
                <a:gd name="T60" fmla="*/ 1210 w 2755"/>
                <a:gd name="T61" fmla="*/ 2620 h 2901"/>
                <a:gd name="T62" fmla="*/ 1281 w 2755"/>
                <a:gd name="T63" fmla="*/ 2464 h 2901"/>
                <a:gd name="T64" fmla="*/ 1366 w 2755"/>
                <a:gd name="T65" fmla="*/ 2259 h 2901"/>
                <a:gd name="T66" fmla="*/ 1238 w 2755"/>
                <a:gd name="T67" fmla="*/ 1992 h 2901"/>
                <a:gd name="T68" fmla="*/ 1146 w 2755"/>
                <a:gd name="T69" fmla="*/ 1659 h 2901"/>
                <a:gd name="T70" fmla="*/ 858 w 2755"/>
                <a:gd name="T71" fmla="*/ 1366 h 2901"/>
                <a:gd name="T72" fmla="*/ 631 w 2755"/>
                <a:gd name="T73" fmla="*/ 1243 h 2901"/>
                <a:gd name="T74" fmla="*/ 471 w 2755"/>
                <a:gd name="T75" fmla="*/ 1127 h 2901"/>
                <a:gd name="T76" fmla="*/ 248 w 2755"/>
                <a:gd name="T77" fmla="*/ 1061 h 2901"/>
                <a:gd name="T78" fmla="*/ 17 w 2755"/>
                <a:gd name="T79" fmla="*/ 888 h 2901"/>
                <a:gd name="T80" fmla="*/ 286 w 2755"/>
                <a:gd name="T81" fmla="*/ 683 h 2901"/>
                <a:gd name="T82" fmla="*/ 1685 w 2755"/>
                <a:gd name="T83" fmla="*/ 312 h 2901"/>
                <a:gd name="T84" fmla="*/ 1685 w 2755"/>
                <a:gd name="T85" fmla="*/ 333 h 2901"/>
                <a:gd name="T86" fmla="*/ 1706 w 2755"/>
                <a:gd name="T87" fmla="*/ 357 h 2901"/>
                <a:gd name="T88" fmla="*/ 1706 w 2755"/>
                <a:gd name="T89" fmla="*/ 390 h 2901"/>
                <a:gd name="T90" fmla="*/ 1621 w 2755"/>
                <a:gd name="T91" fmla="*/ 383 h 2901"/>
                <a:gd name="T92" fmla="*/ 1637 w 2755"/>
                <a:gd name="T93" fmla="*/ 411 h 2901"/>
                <a:gd name="T94" fmla="*/ 1685 w 2755"/>
                <a:gd name="T95" fmla="*/ 501 h 2901"/>
                <a:gd name="T96" fmla="*/ 1621 w 2755"/>
                <a:gd name="T97" fmla="*/ 407 h 2901"/>
                <a:gd name="T98" fmla="*/ 1630 w 2755"/>
                <a:gd name="T99" fmla="*/ 407 h 2901"/>
                <a:gd name="T100" fmla="*/ 1550 w 2755"/>
                <a:gd name="T101" fmla="*/ 485 h 2901"/>
                <a:gd name="T102" fmla="*/ 1831 w 2755"/>
                <a:gd name="T103" fmla="*/ 428 h 2901"/>
                <a:gd name="T104" fmla="*/ 1928 w 2755"/>
                <a:gd name="T105" fmla="*/ 449 h 2901"/>
                <a:gd name="T106" fmla="*/ 2037 w 2755"/>
                <a:gd name="T107" fmla="*/ 468 h 2901"/>
                <a:gd name="T108" fmla="*/ 1529 w 2755"/>
                <a:gd name="T109" fmla="*/ 501 h 2901"/>
                <a:gd name="T110" fmla="*/ 1760 w 2755"/>
                <a:gd name="T111" fmla="*/ 506 h 2901"/>
                <a:gd name="T112" fmla="*/ 2247 w 2755"/>
                <a:gd name="T113" fmla="*/ 577 h 2901"/>
                <a:gd name="T114" fmla="*/ 2485 w 2755"/>
                <a:gd name="T115" fmla="*/ 1309 h 2901"/>
                <a:gd name="T116" fmla="*/ 2464 w 2755"/>
                <a:gd name="T117" fmla="*/ 1370 h 2901"/>
                <a:gd name="T118" fmla="*/ 2020 w 2755"/>
                <a:gd name="T119" fmla="*/ 2143 h 2901"/>
                <a:gd name="T120" fmla="*/ 1777 w 2755"/>
                <a:gd name="T121" fmla="*/ 2313 h 2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55" h="2901">
                  <a:moveTo>
                    <a:pt x="286" y="683"/>
                  </a:moveTo>
                  <a:lnTo>
                    <a:pt x="324" y="477"/>
                  </a:lnTo>
                  <a:lnTo>
                    <a:pt x="324" y="449"/>
                  </a:lnTo>
                  <a:lnTo>
                    <a:pt x="308" y="428"/>
                  </a:lnTo>
                  <a:lnTo>
                    <a:pt x="308" y="411"/>
                  </a:lnTo>
                  <a:lnTo>
                    <a:pt x="274" y="390"/>
                  </a:lnTo>
                  <a:lnTo>
                    <a:pt x="274" y="333"/>
                  </a:lnTo>
                  <a:lnTo>
                    <a:pt x="324" y="329"/>
                  </a:lnTo>
                  <a:lnTo>
                    <a:pt x="329" y="333"/>
                  </a:lnTo>
                  <a:lnTo>
                    <a:pt x="345" y="333"/>
                  </a:lnTo>
                  <a:lnTo>
                    <a:pt x="341" y="317"/>
                  </a:lnTo>
                  <a:lnTo>
                    <a:pt x="329" y="300"/>
                  </a:lnTo>
                  <a:lnTo>
                    <a:pt x="291" y="300"/>
                  </a:lnTo>
                  <a:lnTo>
                    <a:pt x="291" y="255"/>
                  </a:lnTo>
                  <a:lnTo>
                    <a:pt x="319" y="246"/>
                  </a:lnTo>
                  <a:lnTo>
                    <a:pt x="411" y="255"/>
                  </a:lnTo>
                  <a:lnTo>
                    <a:pt x="400" y="246"/>
                  </a:lnTo>
                  <a:lnTo>
                    <a:pt x="411" y="239"/>
                  </a:lnTo>
                  <a:lnTo>
                    <a:pt x="433" y="255"/>
                  </a:lnTo>
                  <a:lnTo>
                    <a:pt x="466" y="222"/>
                  </a:lnTo>
                  <a:lnTo>
                    <a:pt x="471" y="222"/>
                  </a:lnTo>
                  <a:lnTo>
                    <a:pt x="487" y="263"/>
                  </a:lnTo>
                  <a:lnTo>
                    <a:pt x="487" y="296"/>
                  </a:lnTo>
                  <a:lnTo>
                    <a:pt x="504" y="296"/>
                  </a:lnTo>
                  <a:lnTo>
                    <a:pt x="541" y="329"/>
                  </a:lnTo>
                  <a:lnTo>
                    <a:pt x="556" y="329"/>
                  </a:lnTo>
                  <a:lnTo>
                    <a:pt x="579" y="312"/>
                  </a:lnTo>
                  <a:lnTo>
                    <a:pt x="593" y="312"/>
                  </a:lnTo>
                  <a:lnTo>
                    <a:pt x="593" y="329"/>
                  </a:lnTo>
                  <a:lnTo>
                    <a:pt x="593" y="333"/>
                  </a:lnTo>
                  <a:lnTo>
                    <a:pt x="610" y="312"/>
                  </a:lnTo>
                  <a:lnTo>
                    <a:pt x="617" y="312"/>
                  </a:lnTo>
                  <a:lnTo>
                    <a:pt x="626" y="296"/>
                  </a:lnTo>
                  <a:lnTo>
                    <a:pt x="648" y="284"/>
                  </a:lnTo>
                  <a:lnTo>
                    <a:pt x="659" y="284"/>
                  </a:lnTo>
                  <a:lnTo>
                    <a:pt x="681" y="267"/>
                  </a:lnTo>
                  <a:lnTo>
                    <a:pt x="685" y="267"/>
                  </a:lnTo>
                  <a:lnTo>
                    <a:pt x="697" y="263"/>
                  </a:lnTo>
                  <a:lnTo>
                    <a:pt x="702" y="239"/>
                  </a:lnTo>
                  <a:lnTo>
                    <a:pt x="752" y="222"/>
                  </a:lnTo>
                  <a:lnTo>
                    <a:pt x="752" y="206"/>
                  </a:lnTo>
                  <a:lnTo>
                    <a:pt x="702" y="201"/>
                  </a:lnTo>
                  <a:lnTo>
                    <a:pt x="702" y="185"/>
                  </a:lnTo>
                  <a:lnTo>
                    <a:pt x="685" y="152"/>
                  </a:lnTo>
                  <a:lnTo>
                    <a:pt x="685" y="118"/>
                  </a:lnTo>
                  <a:lnTo>
                    <a:pt x="659" y="90"/>
                  </a:lnTo>
                  <a:lnTo>
                    <a:pt x="648" y="74"/>
                  </a:lnTo>
                  <a:lnTo>
                    <a:pt x="664" y="78"/>
                  </a:lnTo>
                  <a:lnTo>
                    <a:pt x="697" y="78"/>
                  </a:lnTo>
                  <a:lnTo>
                    <a:pt x="702" y="95"/>
                  </a:lnTo>
                  <a:lnTo>
                    <a:pt x="719" y="95"/>
                  </a:lnTo>
                  <a:lnTo>
                    <a:pt x="740" y="102"/>
                  </a:lnTo>
                  <a:lnTo>
                    <a:pt x="752" y="95"/>
                  </a:lnTo>
                  <a:lnTo>
                    <a:pt x="778" y="118"/>
                  </a:lnTo>
                  <a:lnTo>
                    <a:pt x="794" y="111"/>
                  </a:lnTo>
                  <a:lnTo>
                    <a:pt x="794" y="90"/>
                  </a:lnTo>
                  <a:lnTo>
                    <a:pt x="806" y="90"/>
                  </a:lnTo>
                  <a:lnTo>
                    <a:pt x="811" y="78"/>
                  </a:lnTo>
                  <a:lnTo>
                    <a:pt x="832" y="78"/>
                  </a:lnTo>
                  <a:lnTo>
                    <a:pt x="858" y="78"/>
                  </a:lnTo>
                  <a:lnTo>
                    <a:pt x="865" y="74"/>
                  </a:lnTo>
                  <a:lnTo>
                    <a:pt x="874" y="74"/>
                  </a:lnTo>
                  <a:lnTo>
                    <a:pt x="882" y="62"/>
                  </a:lnTo>
                  <a:lnTo>
                    <a:pt x="896" y="57"/>
                  </a:lnTo>
                  <a:lnTo>
                    <a:pt x="919" y="45"/>
                  </a:lnTo>
                  <a:lnTo>
                    <a:pt x="929" y="40"/>
                  </a:lnTo>
                  <a:lnTo>
                    <a:pt x="941" y="24"/>
                  </a:lnTo>
                  <a:lnTo>
                    <a:pt x="941" y="7"/>
                  </a:lnTo>
                  <a:lnTo>
                    <a:pt x="933" y="0"/>
                  </a:lnTo>
                  <a:lnTo>
                    <a:pt x="967" y="0"/>
                  </a:lnTo>
                  <a:lnTo>
                    <a:pt x="971" y="0"/>
                  </a:lnTo>
                  <a:lnTo>
                    <a:pt x="983" y="7"/>
                  </a:lnTo>
                  <a:lnTo>
                    <a:pt x="988" y="17"/>
                  </a:lnTo>
                  <a:lnTo>
                    <a:pt x="983" y="40"/>
                  </a:lnTo>
                  <a:lnTo>
                    <a:pt x="971" y="57"/>
                  </a:lnTo>
                  <a:lnTo>
                    <a:pt x="1004" y="62"/>
                  </a:lnTo>
                  <a:lnTo>
                    <a:pt x="1004" y="74"/>
                  </a:lnTo>
                  <a:lnTo>
                    <a:pt x="1009" y="95"/>
                  </a:lnTo>
                  <a:lnTo>
                    <a:pt x="995" y="128"/>
                  </a:lnTo>
                  <a:lnTo>
                    <a:pt x="988" y="185"/>
                  </a:lnTo>
                  <a:lnTo>
                    <a:pt x="995" y="206"/>
                  </a:lnTo>
                  <a:lnTo>
                    <a:pt x="1004" y="211"/>
                  </a:lnTo>
                  <a:lnTo>
                    <a:pt x="1004" y="246"/>
                  </a:lnTo>
                  <a:lnTo>
                    <a:pt x="1009" y="246"/>
                  </a:lnTo>
                  <a:lnTo>
                    <a:pt x="1009" y="255"/>
                  </a:lnTo>
                  <a:lnTo>
                    <a:pt x="1021" y="255"/>
                  </a:lnTo>
                  <a:lnTo>
                    <a:pt x="1037" y="279"/>
                  </a:lnTo>
                  <a:lnTo>
                    <a:pt x="1059" y="284"/>
                  </a:lnTo>
                  <a:lnTo>
                    <a:pt x="1063" y="296"/>
                  </a:lnTo>
                  <a:lnTo>
                    <a:pt x="1075" y="284"/>
                  </a:lnTo>
                  <a:lnTo>
                    <a:pt x="1092" y="284"/>
                  </a:lnTo>
                  <a:lnTo>
                    <a:pt x="1092" y="267"/>
                  </a:lnTo>
                  <a:lnTo>
                    <a:pt x="1101" y="263"/>
                  </a:lnTo>
                  <a:lnTo>
                    <a:pt x="1130" y="267"/>
                  </a:lnTo>
                  <a:lnTo>
                    <a:pt x="1130" y="263"/>
                  </a:lnTo>
                  <a:lnTo>
                    <a:pt x="1146" y="255"/>
                  </a:lnTo>
                  <a:lnTo>
                    <a:pt x="1156" y="255"/>
                  </a:lnTo>
                  <a:lnTo>
                    <a:pt x="1172" y="239"/>
                  </a:lnTo>
                  <a:lnTo>
                    <a:pt x="1189" y="229"/>
                  </a:lnTo>
                  <a:lnTo>
                    <a:pt x="1210" y="246"/>
                  </a:lnTo>
                  <a:lnTo>
                    <a:pt x="1238" y="239"/>
                  </a:lnTo>
                  <a:lnTo>
                    <a:pt x="1264" y="246"/>
                  </a:lnTo>
                  <a:lnTo>
                    <a:pt x="1276" y="239"/>
                  </a:lnTo>
                  <a:lnTo>
                    <a:pt x="1276" y="229"/>
                  </a:lnTo>
                  <a:lnTo>
                    <a:pt x="1259" y="211"/>
                  </a:lnTo>
                  <a:lnTo>
                    <a:pt x="1264" y="201"/>
                  </a:lnTo>
                  <a:lnTo>
                    <a:pt x="1290" y="206"/>
                  </a:lnTo>
                  <a:lnTo>
                    <a:pt x="1335" y="189"/>
                  </a:lnTo>
                  <a:lnTo>
                    <a:pt x="1345" y="201"/>
                  </a:lnTo>
                  <a:lnTo>
                    <a:pt x="1361" y="201"/>
                  </a:lnTo>
                  <a:lnTo>
                    <a:pt x="1361" y="206"/>
                  </a:lnTo>
                  <a:lnTo>
                    <a:pt x="1366" y="206"/>
                  </a:lnTo>
                  <a:lnTo>
                    <a:pt x="1399" y="222"/>
                  </a:lnTo>
                  <a:lnTo>
                    <a:pt x="1420" y="206"/>
                  </a:lnTo>
                  <a:lnTo>
                    <a:pt x="1437" y="211"/>
                  </a:lnTo>
                  <a:lnTo>
                    <a:pt x="1453" y="206"/>
                  </a:lnTo>
                  <a:lnTo>
                    <a:pt x="1458" y="222"/>
                  </a:lnTo>
                  <a:lnTo>
                    <a:pt x="1479" y="222"/>
                  </a:lnTo>
                  <a:lnTo>
                    <a:pt x="1507" y="201"/>
                  </a:lnTo>
                  <a:lnTo>
                    <a:pt x="1524" y="152"/>
                  </a:lnTo>
                  <a:lnTo>
                    <a:pt x="1567" y="90"/>
                  </a:lnTo>
                  <a:lnTo>
                    <a:pt x="1578" y="78"/>
                  </a:lnTo>
                  <a:lnTo>
                    <a:pt x="1583" y="90"/>
                  </a:lnTo>
                  <a:lnTo>
                    <a:pt x="1578" y="62"/>
                  </a:lnTo>
                  <a:lnTo>
                    <a:pt x="1600" y="78"/>
                  </a:lnTo>
                  <a:lnTo>
                    <a:pt x="1604" y="95"/>
                  </a:lnTo>
                  <a:lnTo>
                    <a:pt x="1616" y="95"/>
                  </a:lnTo>
                  <a:lnTo>
                    <a:pt x="1616" y="152"/>
                  </a:lnTo>
                  <a:lnTo>
                    <a:pt x="1637" y="222"/>
                  </a:lnTo>
                  <a:lnTo>
                    <a:pt x="1654" y="246"/>
                  </a:lnTo>
                  <a:lnTo>
                    <a:pt x="1675" y="246"/>
                  </a:lnTo>
                  <a:lnTo>
                    <a:pt x="1692" y="255"/>
                  </a:lnTo>
                  <a:lnTo>
                    <a:pt x="1692" y="284"/>
                  </a:lnTo>
                  <a:lnTo>
                    <a:pt x="1675" y="296"/>
                  </a:lnTo>
                  <a:lnTo>
                    <a:pt x="1692" y="284"/>
                  </a:lnTo>
                  <a:lnTo>
                    <a:pt x="1692" y="296"/>
                  </a:lnTo>
                  <a:lnTo>
                    <a:pt x="1654" y="333"/>
                  </a:lnTo>
                  <a:lnTo>
                    <a:pt x="1630" y="366"/>
                  </a:lnTo>
                  <a:lnTo>
                    <a:pt x="1621" y="366"/>
                  </a:lnTo>
                  <a:lnTo>
                    <a:pt x="1600" y="390"/>
                  </a:lnTo>
                  <a:lnTo>
                    <a:pt x="1567" y="428"/>
                  </a:lnTo>
                  <a:lnTo>
                    <a:pt x="1567" y="449"/>
                  </a:lnTo>
                  <a:lnTo>
                    <a:pt x="1550" y="461"/>
                  </a:lnTo>
                  <a:lnTo>
                    <a:pt x="1550" y="477"/>
                  </a:lnTo>
                  <a:lnTo>
                    <a:pt x="1545" y="485"/>
                  </a:lnTo>
                  <a:lnTo>
                    <a:pt x="1529" y="477"/>
                  </a:lnTo>
                  <a:lnTo>
                    <a:pt x="1496" y="494"/>
                  </a:lnTo>
                  <a:lnTo>
                    <a:pt x="1529" y="494"/>
                  </a:lnTo>
                  <a:lnTo>
                    <a:pt x="1529" y="501"/>
                  </a:lnTo>
                  <a:lnTo>
                    <a:pt x="1600" y="468"/>
                  </a:lnTo>
                  <a:lnTo>
                    <a:pt x="1616" y="444"/>
                  </a:lnTo>
                  <a:lnTo>
                    <a:pt x="1630" y="444"/>
                  </a:lnTo>
                  <a:lnTo>
                    <a:pt x="1630" y="485"/>
                  </a:lnTo>
                  <a:lnTo>
                    <a:pt x="1637" y="506"/>
                  </a:lnTo>
                  <a:lnTo>
                    <a:pt x="1630" y="518"/>
                  </a:lnTo>
                  <a:lnTo>
                    <a:pt x="1604" y="506"/>
                  </a:lnTo>
                  <a:lnTo>
                    <a:pt x="1588" y="501"/>
                  </a:lnTo>
                  <a:lnTo>
                    <a:pt x="1583" y="522"/>
                  </a:lnTo>
                  <a:lnTo>
                    <a:pt x="1583" y="539"/>
                  </a:lnTo>
                  <a:lnTo>
                    <a:pt x="1588" y="551"/>
                  </a:lnTo>
                  <a:lnTo>
                    <a:pt x="1583" y="522"/>
                  </a:lnTo>
                  <a:lnTo>
                    <a:pt x="1600" y="506"/>
                  </a:lnTo>
                  <a:lnTo>
                    <a:pt x="1616" y="522"/>
                  </a:lnTo>
                  <a:lnTo>
                    <a:pt x="1616" y="551"/>
                  </a:lnTo>
                  <a:lnTo>
                    <a:pt x="1630" y="555"/>
                  </a:lnTo>
                  <a:lnTo>
                    <a:pt x="1616" y="551"/>
                  </a:lnTo>
                  <a:lnTo>
                    <a:pt x="1621" y="522"/>
                  </a:lnTo>
                  <a:lnTo>
                    <a:pt x="1637" y="539"/>
                  </a:lnTo>
                  <a:lnTo>
                    <a:pt x="1630" y="518"/>
                  </a:lnTo>
                  <a:lnTo>
                    <a:pt x="1637" y="506"/>
                  </a:lnTo>
                  <a:lnTo>
                    <a:pt x="1654" y="506"/>
                  </a:lnTo>
                  <a:lnTo>
                    <a:pt x="1659" y="518"/>
                  </a:lnTo>
                  <a:lnTo>
                    <a:pt x="1685" y="506"/>
                  </a:lnTo>
                  <a:lnTo>
                    <a:pt x="1696" y="518"/>
                  </a:lnTo>
                  <a:lnTo>
                    <a:pt x="1713" y="518"/>
                  </a:lnTo>
                  <a:lnTo>
                    <a:pt x="1739" y="501"/>
                  </a:lnTo>
                  <a:lnTo>
                    <a:pt x="1722" y="539"/>
                  </a:lnTo>
                  <a:lnTo>
                    <a:pt x="1722" y="560"/>
                  </a:lnTo>
                  <a:lnTo>
                    <a:pt x="1744" y="518"/>
                  </a:lnTo>
                  <a:lnTo>
                    <a:pt x="1760" y="506"/>
                  </a:lnTo>
                  <a:lnTo>
                    <a:pt x="1777" y="485"/>
                  </a:lnTo>
                  <a:lnTo>
                    <a:pt x="1784" y="485"/>
                  </a:lnTo>
                  <a:lnTo>
                    <a:pt x="1798" y="501"/>
                  </a:lnTo>
                  <a:lnTo>
                    <a:pt x="1798" y="485"/>
                  </a:lnTo>
                  <a:lnTo>
                    <a:pt x="1815" y="485"/>
                  </a:lnTo>
                  <a:lnTo>
                    <a:pt x="1793" y="485"/>
                  </a:lnTo>
                  <a:lnTo>
                    <a:pt x="1793" y="468"/>
                  </a:lnTo>
                  <a:lnTo>
                    <a:pt x="1805" y="477"/>
                  </a:lnTo>
                  <a:lnTo>
                    <a:pt x="1805" y="444"/>
                  </a:lnTo>
                  <a:lnTo>
                    <a:pt x="1822" y="428"/>
                  </a:lnTo>
                  <a:lnTo>
                    <a:pt x="1831" y="440"/>
                  </a:lnTo>
                  <a:lnTo>
                    <a:pt x="1848" y="423"/>
                  </a:lnTo>
                  <a:lnTo>
                    <a:pt x="1848" y="440"/>
                  </a:lnTo>
                  <a:lnTo>
                    <a:pt x="1859" y="423"/>
                  </a:lnTo>
                  <a:lnTo>
                    <a:pt x="1869" y="440"/>
                  </a:lnTo>
                  <a:lnTo>
                    <a:pt x="1869" y="423"/>
                  </a:lnTo>
                  <a:lnTo>
                    <a:pt x="1890" y="428"/>
                  </a:lnTo>
                  <a:lnTo>
                    <a:pt x="1902" y="428"/>
                  </a:lnTo>
                  <a:lnTo>
                    <a:pt x="1902" y="444"/>
                  </a:lnTo>
                  <a:lnTo>
                    <a:pt x="1907" y="428"/>
                  </a:lnTo>
                  <a:lnTo>
                    <a:pt x="1911" y="440"/>
                  </a:lnTo>
                  <a:lnTo>
                    <a:pt x="1923" y="440"/>
                  </a:lnTo>
                  <a:lnTo>
                    <a:pt x="1923" y="449"/>
                  </a:lnTo>
                  <a:lnTo>
                    <a:pt x="1956" y="444"/>
                  </a:lnTo>
                  <a:lnTo>
                    <a:pt x="1944" y="461"/>
                  </a:lnTo>
                  <a:lnTo>
                    <a:pt x="1961" y="461"/>
                  </a:lnTo>
                  <a:lnTo>
                    <a:pt x="1961" y="468"/>
                  </a:lnTo>
                  <a:lnTo>
                    <a:pt x="1966" y="449"/>
                  </a:lnTo>
                  <a:lnTo>
                    <a:pt x="1978" y="468"/>
                  </a:lnTo>
                  <a:lnTo>
                    <a:pt x="1982" y="461"/>
                  </a:lnTo>
                  <a:lnTo>
                    <a:pt x="1994" y="477"/>
                  </a:lnTo>
                  <a:lnTo>
                    <a:pt x="1994" y="468"/>
                  </a:lnTo>
                  <a:lnTo>
                    <a:pt x="2011" y="477"/>
                  </a:lnTo>
                  <a:lnTo>
                    <a:pt x="2011" y="494"/>
                  </a:lnTo>
                  <a:lnTo>
                    <a:pt x="2015" y="477"/>
                  </a:lnTo>
                  <a:lnTo>
                    <a:pt x="2015" y="501"/>
                  </a:lnTo>
                  <a:lnTo>
                    <a:pt x="2020" y="501"/>
                  </a:lnTo>
                  <a:lnTo>
                    <a:pt x="2020" y="485"/>
                  </a:lnTo>
                  <a:lnTo>
                    <a:pt x="2037" y="485"/>
                  </a:lnTo>
                  <a:lnTo>
                    <a:pt x="2048" y="485"/>
                  </a:lnTo>
                  <a:lnTo>
                    <a:pt x="2037" y="494"/>
                  </a:lnTo>
                  <a:lnTo>
                    <a:pt x="2053" y="494"/>
                  </a:lnTo>
                  <a:lnTo>
                    <a:pt x="2053" y="501"/>
                  </a:lnTo>
                  <a:lnTo>
                    <a:pt x="2063" y="506"/>
                  </a:lnTo>
                  <a:lnTo>
                    <a:pt x="2070" y="506"/>
                  </a:lnTo>
                  <a:lnTo>
                    <a:pt x="2074" y="522"/>
                  </a:lnTo>
                  <a:lnTo>
                    <a:pt x="2063" y="551"/>
                  </a:lnTo>
                  <a:lnTo>
                    <a:pt x="2074" y="534"/>
                  </a:lnTo>
                  <a:lnTo>
                    <a:pt x="2086" y="551"/>
                  </a:lnTo>
                  <a:lnTo>
                    <a:pt x="2070" y="560"/>
                  </a:lnTo>
                  <a:lnTo>
                    <a:pt x="2063" y="596"/>
                  </a:lnTo>
                  <a:lnTo>
                    <a:pt x="2053" y="617"/>
                  </a:lnTo>
                  <a:lnTo>
                    <a:pt x="2074" y="589"/>
                  </a:lnTo>
                  <a:lnTo>
                    <a:pt x="2086" y="560"/>
                  </a:lnTo>
                  <a:lnTo>
                    <a:pt x="2100" y="551"/>
                  </a:lnTo>
                  <a:lnTo>
                    <a:pt x="2107" y="560"/>
                  </a:lnTo>
                  <a:lnTo>
                    <a:pt x="2086" y="577"/>
                  </a:lnTo>
                  <a:lnTo>
                    <a:pt x="2091" y="577"/>
                  </a:lnTo>
                  <a:lnTo>
                    <a:pt x="2091" y="589"/>
                  </a:lnTo>
                  <a:lnTo>
                    <a:pt x="2117" y="560"/>
                  </a:lnTo>
                  <a:lnTo>
                    <a:pt x="2145" y="560"/>
                  </a:lnTo>
                  <a:lnTo>
                    <a:pt x="2145" y="551"/>
                  </a:lnTo>
                  <a:lnTo>
                    <a:pt x="2155" y="551"/>
                  </a:lnTo>
                  <a:lnTo>
                    <a:pt x="2200" y="560"/>
                  </a:lnTo>
                  <a:lnTo>
                    <a:pt x="2230" y="577"/>
                  </a:lnTo>
                  <a:lnTo>
                    <a:pt x="2252" y="577"/>
                  </a:lnTo>
                  <a:lnTo>
                    <a:pt x="2247" y="577"/>
                  </a:lnTo>
                  <a:lnTo>
                    <a:pt x="2263" y="572"/>
                  </a:lnTo>
                  <a:lnTo>
                    <a:pt x="2268" y="589"/>
                  </a:lnTo>
                  <a:lnTo>
                    <a:pt x="2289" y="589"/>
                  </a:lnTo>
                  <a:lnTo>
                    <a:pt x="2301" y="596"/>
                  </a:lnTo>
                  <a:lnTo>
                    <a:pt x="2301" y="589"/>
                  </a:lnTo>
                  <a:lnTo>
                    <a:pt x="2356" y="577"/>
                  </a:lnTo>
                  <a:lnTo>
                    <a:pt x="2389" y="577"/>
                  </a:lnTo>
                  <a:lnTo>
                    <a:pt x="2495" y="645"/>
                  </a:lnTo>
                  <a:lnTo>
                    <a:pt x="2556" y="704"/>
                  </a:lnTo>
                  <a:lnTo>
                    <a:pt x="2578" y="716"/>
                  </a:lnTo>
                  <a:lnTo>
                    <a:pt x="2587" y="728"/>
                  </a:lnTo>
                  <a:lnTo>
                    <a:pt x="2608" y="740"/>
                  </a:lnTo>
                  <a:lnTo>
                    <a:pt x="2615" y="744"/>
                  </a:lnTo>
                  <a:lnTo>
                    <a:pt x="2670" y="744"/>
                  </a:lnTo>
                  <a:lnTo>
                    <a:pt x="2712" y="756"/>
                  </a:lnTo>
                  <a:lnTo>
                    <a:pt x="2738" y="839"/>
                  </a:lnTo>
                  <a:lnTo>
                    <a:pt x="2750" y="884"/>
                  </a:lnTo>
                  <a:lnTo>
                    <a:pt x="2750" y="893"/>
                  </a:lnTo>
                  <a:lnTo>
                    <a:pt x="2750" y="884"/>
                  </a:lnTo>
                  <a:lnTo>
                    <a:pt x="2755" y="922"/>
                  </a:lnTo>
                  <a:lnTo>
                    <a:pt x="2750" y="922"/>
                  </a:lnTo>
                  <a:lnTo>
                    <a:pt x="2755" y="926"/>
                  </a:lnTo>
                  <a:lnTo>
                    <a:pt x="2750" y="943"/>
                  </a:lnTo>
                  <a:lnTo>
                    <a:pt x="2750" y="950"/>
                  </a:lnTo>
                  <a:lnTo>
                    <a:pt x="2750" y="959"/>
                  </a:lnTo>
                  <a:lnTo>
                    <a:pt x="2717" y="1037"/>
                  </a:lnTo>
                  <a:lnTo>
                    <a:pt x="2684" y="1077"/>
                  </a:lnTo>
                  <a:lnTo>
                    <a:pt x="2641" y="1132"/>
                  </a:lnTo>
                  <a:lnTo>
                    <a:pt x="2608" y="1160"/>
                  </a:lnTo>
                  <a:lnTo>
                    <a:pt x="2594" y="1165"/>
                  </a:lnTo>
                  <a:lnTo>
                    <a:pt x="2587" y="1160"/>
                  </a:lnTo>
                  <a:lnTo>
                    <a:pt x="2594" y="1165"/>
                  </a:lnTo>
                  <a:lnTo>
                    <a:pt x="2594" y="1172"/>
                  </a:lnTo>
                  <a:lnTo>
                    <a:pt x="2587" y="1181"/>
                  </a:lnTo>
                  <a:lnTo>
                    <a:pt x="2578" y="1172"/>
                  </a:lnTo>
                  <a:lnTo>
                    <a:pt x="2587" y="1181"/>
                  </a:lnTo>
                  <a:lnTo>
                    <a:pt x="2587" y="1188"/>
                  </a:lnTo>
                  <a:lnTo>
                    <a:pt x="2570" y="1205"/>
                  </a:lnTo>
                  <a:lnTo>
                    <a:pt x="2578" y="1188"/>
                  </a:lnTo>
                  <a:lnTo>
                    <a:pt x="2570" y="1188"/>
                  </a:lnTo>
                  <a:lnTo>
                    <a:pt x="2556" y="1243"/>
                  </a:lnTo>
                  <a:lnTo>
                    <a:pt x="2523" y="1292"/>
                  </a:lnTo>
                  <a:lnTo>
                    <a:pt x="2495" y="1325"/>
                  </a:lnTo>
                  <a:lnTo>
                    <a:pt x="2495" y="1300"/>
                  </a:lnTo>
                  <a:lnTo>
                    <a:pt x="2485" y="1300"/>
                  </a:lnTo>
                  <a:lnTo>
                    <a:pt x="2481" y="1292"/>
                  </a:lnTo>
                  <a:lnTo>
                    <a:pt x="2469" y="1309"/>
                  </a:lnTo>
                  <a:lnTo>
                    <a:pt x="2469" y="1292"/>
                  </a:lnTo>
                  <a:lnTo>
                    <a:pt x="2464" y="1300"/>
                  </a:lnTo>
                  <a:lnTo>
                    <a:pt x="2469" y="1309"/>
                  </a:lnTo>
                  <a:lnTo>
                    <a:pt x="2481" y="1309"/>
                  </a:lnTo>
                  <a:lnTo>
                    <a:pt x="2464" y="1349"/>
                  </a:lnTo>
                  <a:lnTo>
                    <a:pt x="2452" y="1349"/>
                  </a:lnTo>
                  <a:lnTo>
                    <a:pt x="2452" y="1354"/>
                  </a:lnTo>
                  <a:lnTo>
                    <a:pt x="2464" y="1370"/>
                  </a:lnTo>
                  <a:lnTo>
                    <a:pt x="2452" y="1403"/>
                  </a:lnTo>
                  <a:lnTo>
                    <a:pt x="2464" y="1394"/>
                  </a:lnTo>
                  <a:lnTo>
                    <a:pt x="2464" y="1387"/>
                  </a:lnTo>
                  <a:lnTo>
                    <a:pt x="2452" y="1444"/>
                  </a:lnTo>
                  <a:lnTo>
                    <a:pt x="2469" y="1531"/>
                  </a:lnTo>
                  <a:lnTo>
                    <a:pt x="2448" y="1625"/>
                  </a:lnTo>
                  <a:lnTo>
                    <a:pt x="2448" y="1666"/>
                  </a:lnTo>
                  <a:lnTo>
                    <a:pt x="2415" y="1703"/>
                  </a:lnTo>
                  <a:lnTo>
                    <a:pt x="2410" y="1744"/>
                  </a:lnTo>
                  <a:lnTo>
                    <a:pt x="2410" y="1793"/>
                  </a:lnTo>
                  <a:lnTo>
                    <a:pt x="2398" y="1810"/>
                  </a:lnTo>
                  <a:lnTo>
                    <a:pt x="2389" y="1814"/>
                  </a:lnTo>
                  <a:lnTo>
                    <a:pt x="2372" y="1864"/>
                  </a:lnTo>
                  <a:lnTo>
                    <a:pt x="2360" y="1855"/>
                  </a:lnTo>
                  <a:lnTo>
                    <a:pt x="2360" y="1864"/>
                  </a:lnTo>
                  <a:lnTo>
                    <a:pt x="2372" y="1864"/>
                  </a:lnTo>
                  <a:lnTo>
                    <a:pt x="2360" y="1888"/>
                  </a:lnTo>
                  <a:lnTo>
                    <a:pt x="2344" y="1904"/>
                  </a:lnTo>
                  <a:lnTo>
                    <a:pt x="2334" y="1904"/>
                  </a:lnTo>
                  <a:lnTo>
                    <a:pt x="2322" y="1937"/>
                  </a:lnTo>
                  <a:lnTo>
                    <a:pt x="2318" y="1959"/>
                  </a:lnTo>
                  <a:lnTo>
                    <a:pt x="2322" y="1992"/>
                  </a:lnTo>
                  <a:lnTo>
                    <a:pt x="2263" y="2015"/>
                  </a:lnTo>
                  <a:lnTo>
                    <a:pt x="2247" y="2032"/>
                  </a:lnTo>
                  <a:lnTo>
                    <a:pt x="2247" y="2065"/>
                  </a:lnTo>
                  <a:lnTo>
                    <a:pt x="2171" y="2065"/>
                  </a:lnTo>
                  <a:lnTo>
                    <a:pt x="2176" y="2048"/>
                  </a:lnTo>
                  <a:lnTo>
                    <a:pt x="2171" y="2036"/>
                  </a:lnTo>
                  <a:lnTo>
                    <a:pt x="2162" y="2048"/>
                  </a:lnTo>
                  <a:lnTo>
                    <a:pt x="2171" y="2065"/>
                  </a:lnTo>
                  <a:lnTo>
                    <a:pt x="2162" y="2065"/>
                  </a:lnTo>
                  <a:lnTo>
                    <a:pt x="2107" y="2070"/>
                  </a:lnTo>
                  <a:lnTo>
                    <a:pt x="2138" y="2070"/>
                  </a:lnTo>
                  <a:lnTo>
                    <a:pt x="2117" y="2053"/>
                  </a:lnTo>
                  <a:lnTo>
                    <a:pt x="2091" y="2070"/>
                  </a:lnTo>
                  <a:lnTo>
                    <a:pt x="2086" y="2065"/>
                  </a:lnTo>
                  <a:lnTo>
                    <a:pt x="2063" y="2070"/>
                  </a:lnTo>
                  <a:lnTo>
                    <a:pt x="2063" y="2086"/>
                  </a:lnTo>
                  <a:lnTo>
                    <a:pt x="2070" y="2086"/>
                  </a:lnTo>
                  <a:lnTo>
                    <a:pt x="2070" y="2093"/>
                  </a:lnTo>
                  <a:lnTo>
                    <a:pt x="2048" y="2093"/>
                  </a:lnTo>
                  <a:lnTo>
                    <a:pt x="2032" y="2103"/>
                  </a:lnTo>
                  <a:lnTo>
                    <a:pt x="2011" y="2110"/>
                  </a:lnTo>
                  <a:lnTo>
                    <a:pt x="2011" y="2126"/>
                  </a:lnTo>
                  <a:lnTo>
                    <a:pt x="1978" y="2126"/>
                  </a:lnTo>
                  <a:lnTo>
                    <a:pt x="1956" y="2131"/>
                  </a:lnTo>
                  <a:lnTo>
                    <a:pt x="1961" y="2131"/>
                  </a:lnTo>
                  <a:lnTo>
                    <a:pt x="1944" y="2143"/>
                  </a:lnTo>
                  <a:lnTo>
                    <a:pt x="1940" y="2131"/>
                  </a:lnTo>
                  <a:lnTo>
                    <a:pt x="1940" y="2143"/>
                  </a:lnTo>
                  <a:lnTo>
                    <a:pt x="1822" y="2221"/>
                  </a:lnTo>
                  <a:lnTo>
                    <a:pt x="1836" y="2221"/>
                  </a:lnTo>
                  <a:lnTo>
                    <a:pt x="1831" y="2230"/>
                  </a:lnTo>
                  <a:lnTo>
                    <a:pt x="1815" y="2254"/>
                  </a:lnTo>
                  <a:lnTo>
                    <a:pt x="1815" y="2242"/>
                  </a:lnTo>
                  <a:lnTo>
                    <a:pt x="1815" y="2237"/>
                  </a:lnTo>
                  <a:lnTo>
                    <a:pt x="1798" y="2242"/>
                  </a:lnTo>
                  <a:lnTo>
                    <a:pt x="1793" y="2254"/>
                  </a:lnTo>
                  <a:lnTo>
                    <a:pt x="1777" y="2254"/>
                  </a:lnTo>
                  <a:lnTo>
                    <a:pt x="1798" y="2259"/>
                  </a:lnTo>
                  <a:lnTo>
                    <a:pt x="1793" y="2275"/>
                  </a:lnTo>
                  <a:lnTo>
                    <a:pt x="1777" y="2287"/>
                  </a:lnTo>
                  <a:lnTo>
                    <a:pt x="1784" y="2287"/>
                  </a:lnTo>
                  <a:lnTo>
                    <a:pt x="1784" y="2308"/>
                  </a:lnTo>
                  <a:lnTo>
                    <a:pt x="1777" y="2313"/>
                  </a:lnTo>
                  <a:lnTo>
                    <a:pt x="1767" y="2296"/>
                  </a:lnTo>
                  <a:lnTo>
                    <a:pt x="1777" y="2313"/>
                  </a:lnTo>
                  <a:lnTo>
                    <a:pt x="1784" y="2329"/>
                  </a:lnTo>
                  <a:lnTo>
                    <a:pt x="1777" y="2348"/>
                  </a:lnTo>
                  <a:lnTo>
                    <a:pt x="1784" y="2381"/>
                  </a:lnTo>
                  <a:lnTo>
                    <a:pt x="1793" y="2386"/>
                  </a:lnTo>
                  <a:lnTo>
                    <a:pt x="1784" y="2386"/>
                  </a:lnTo>
                  <a:lnTo>
                    <a:pt x="1784" y="2419"/>
                  </a:lnTo>
                  <a:lnTo>
                    <a:pt x="1784" y="2440"/>
                  </a:lnTo>
                  <a:lnTo>
                    <a:pt x="1777" y="2492"/>
                  </a:lnTo>
                  <a:lnTo>
                    <a:pt x="1767" y="2476"/>
                  </a:lnTo>
                  <a:lnTo>
                    <a:pt x="1777" y="2492"/>
                  </a:lnTo>
                  <a:lnTo>
                    <a:pt x="1730" y="2530"/>
                  </a:lnTo>
                  <a:lnTo>
                    <a:pt x="1706" y="2551"/>
                  </a:lnTo>
                  <a:lnTo>
                    <a:pt x="1685" y="2592"/>
                  </a:lnTo>
                  <a:lnTo>
                    <a:pt x="1668" y="2641"/>
                  </a:lnTo>
                  <a:lnTo>
                    <a:pt x="1637" y="2686"/>
                  </a:lnTo>
                  <a:lnTo>
                    <a:pt x="1583" y="2740"/>
                  </a:lnTo>
                  <a:lnTo>
                    <a:pt x="1550" y="2757"/>
                  </a:lnTo>
                  <a:lnTo>
                    <a:pt x="1545" y="2773"/>
                  </a:lnTo>
                  <a:lnTo>
                    <a:pt x="1545" y="2757"/>
                  </a:lnTo>
                  <a:lnTo>
                    <a:pt x="1533" y="2752"/>
                  </a:lnTo>
                  <a:lnTo>
                    <a:pt x="1562" y="2752"/>
                  </a:lnTo>
                  <a:lnTo>
                    <a:pt x="1588" y="2731"/>
                  </a:lnTo>
                  <a:lnTo>
                    <a:pt x="1600" y="2719"/>
                  </a:lnTo>
                  <a:lnTo>
                    <a:pt x="1604" y="2686"/>
                  </a:lnTo>
                  <a:lnTo>
                    <a:pt x="1621" y="2696"/>
                  </a:lnTo>
                  <a:lnTo>
                    <a:pt x="1621" y="2679"/>
                  </a:lnTo>
                  <a:lnTo>
                    <a:pt x="1637" y="2662"/>
                  </a:lnTo>
                  <a:lnTo>
                    <a:pt x="1637" y="2641"/>
                  </a:lnTo>
                  <a:lnTo>
                    <a:pt x="1642" y="2641"/>
                  </a:lnTo>
                  <a:lnTo>
                    <a:pt x="1654" y="2625"/>
                  </a:lnTo>
                  <a:lnTo>
                    <a:pt x="1642" y="2625"/>
                  </a:lnTo>
                  <a:lnTo>
                    <a:pt x="1637" y="2629"/>
                  </a:lnTo>
                  <a:lnTo>
                    <a:pt x="1621" y="2629"/>
                  </a:lnTo>
                  <a:lnTo>
                    <a:pt x="1621" y="2641"/>
                  </a:lnTo>
                  <a:lnTo>
                    <a:pt x="1616" y="2641"/>
                  </a:lnTo>
                  <a:lnTo>
                    <a:pt x="1616" y="2625"/>
                  </a:lnTo>
                  <a:lnTo>
                    <a:pt x="1604" y="2625"/>
                  </a:lnTo>
                  <a:lnTo>
                    <a:pt x="1600" y="2608"/>
                  </a:lnTo>
                  <a:lnTo>
                    <a:pt x="1600" y="2620"/>
                  </a:lnTo>
                  <a:lnTo>
                    <a:pt x="1604" y="2641"/>
                  </a:lnTo>
                  <a:lnTo>
                    <a:pt x="1600" y="2674"/>
                  </a:lnTo>
                  <a:lnTo>
                    <a:pt x="1588" y="2658"/>
                  </a:lnTo>
                  <a:lnTo>
                    <a:pt x="1583" y="2686"/>
                  </a:lnTo>
                  <a:lnTo>
                    <a:pt x="1550" y="2712"/>
                  </a:lnTo>
                  <a:lnTo>
                    <a:pt x="1545" y="2736"/>
                  </a:lnTo>
                  <a:lnTo>
                    <a:pt x="1529" y="2740"/>
                  </a:lnTo>
                  <a:lnTo>
                    <a:pt x="1533" y="2757"/>
                  </a:lnTo>
                  <a:lnTo>
                    <a:pt x="1529" y="2769"/>
                  </a:lnTo>
                  <a:lnTo>
                    <a:pt x="1533" y="2773"/>
                  </a:lnTo>
                  <a:lnTo>
                    <a:pt x="1524" y="2807"/>
                  </a:lnTo>
                  <a:lnTo>
                    <a:pt x="1496" y="2851"/>
                  </a:lnTo>
                  <a:lnTo>
                    <a:pt x="1453" y="2901"/>
                  </a:lnTo>
                  <a:lnTo>
                    <a:pt x="1437" y="2901"/>
                  </a:lnTo>
                  <a:lnTo>
                    <a:pt x="1437" y="2851"/>
                  </a:lnTo>
                  <a:lnTo>
                    <a:pt x="1470" y="2823"/>
                  </a:lnTo>
                  <a:lnTo>
                    <a:pt x="1437" y="2797"/>
                  </a:lnTo>
                  <a:lnTo>
                    <a:pt x="1415" y="2757"/>
                  </a:lnTo>
                  <a:lnTo>
                    <a:pt x="1382" y="2752"/>
                  </a:lnTo>
                  <a:lnTo>
                    <a:pt x="1366" y="2719"/>
                  </a:lnTo>
                  <a:lnTo>
                    <a:pt x="1319" y="2703"/>
                  </a:lnTo>
                  <a:lnTo>
                    <a:pt x="1297" y="2674"/>
                  </a:lnTo>
                  <a:lnTo>
                    <a:pt x="1276" y="2686"/>
                  </a:lnTo>
                  <a:lnTo>
                    <a:pt x="1264" y="2686"/>
                  </a:lnTo>
                  <a:lnTo>
                    <a:pt x="1264" y="2674"/>
                  </a:lnTo>
                  <a:lnTo>
                    <a:pt x="1210" y="2620"/>
                  </a:lnTo>
                  <a:lnTo>
                    <a:pt x="1189" y="2620"/>
                  </a:lnTo>
                  <a:lnTo>
                    <a:pt x="1184" y="2629"/>
                  </a:lnTo>
                  <a:lnTo>
                    <a:pt x="1156" y="2625"/>
                  </a:lnTo>
                  <a:lnTo>
                    <a:pt x="1151" y="2625"/>
                  </a:lnTo>
                  <a:lnTo>
                    <a:pt x="1172" y="2608"/>
                  </a:lnTo>
                  <a:lnTo>
                    <a:pt x="1172" y="2592"/>
                  </a:lnTo>
                  <a:lnTo>
                    <a:pt x="1189" y="2585"/>
                  </a:lnTo>
                  <a:lnTo>
                    <a:pt x="1222" y="2535"/>
                  </a:lnTo>
                  <a:lnTo>
                    <a:pt x="1238" y="2535"/>
                  </a:lnTo>
                  <a:lnTo>
                    <a:pt x="1243" y="2514"/>
                  </a:lnTo>
                  <a:lnTo>
                    <a:pt x="1276" y="2481"/>
                  </a:lnTo>
                  <a:lnTo>
                    <a:pt x="1290" y="2481"/>
                  </a:lnTo>
                  <a:lnTo>
                    <a:pt x="1290" y="2476"/>
                  </a:lnTo>
                  <a:lnTo>
                    <a:pt x="1281" y="2464"/>
                  </a:lnTo>
                  <a:lnTo>
                    <a:pt x="1307" y="2457"/>
                  </a:lnTo>
                  <a:lnTo>
                    <a:pt x="1314" y="2440"/>
                  </a:lnTo>
                  <a:lnTo>
                    <a:pt x="1335" y="2436"/>
                  </a:lnTo>
                  <a:lnTo>
                    <a:pt x="1352" y="2407"/>
                  </a:lnTo>
                  <a:lnTo>
                    <a:pt x="1382" y="2403"/>
                  </a:lnTo>
                  <a:lnTo>
                    <a:pt x="1420" y="2381"/>
                  </a:lnTo>
                  <a:lnTo>
                    <a:pt x="1427" y="2365"/>
                  </a:lnTo>
                  <a:lnTo>
                    <a:pt x="1427" y="2325"/>
                  </a:lnTo>
                  <a:lnTo>
                    <a:pt x="1427" y="2313"/>
                  </a:lnTo>
                  <a:lnTo>
                    <a:pt x="1420" y="2292"/>
                  </a:lnTo>
                  <a:lnTo>
                    <a:pt x="1415" y="2270"/>
                  </a:lnTo>
                  <a:lnTo>
                    <a:pt x="1399" y="2254"/>
                  </a:lnTo>
                  <a:lnTo>
                    <a:pt x="1373" y="2270"/>
                  </a:lnTo>
                  <a:lnTo>
                    <a:pt x="1366" y="2259"/>
                  </a:lnTo>
                  <a:lnTo>
                    <a:pt x="1361" y="2254"/>
                  </a:lnTo>
                  <a:lnTo>
                    <a:pt x="1373" y="2230"/>
                  </a:lnTo>
                  <a:lnTo>
                    <a:pt x="1373" y="2221"/>
                  </a:lnTo>
                  <a:lnTo>
                    <a:pt x="1389" y="2164"/>
                  </a:lnTo>
                  <a:lnTo>
                    <a:pt x="1382" y="2148"/>
                  </a:lnTo>
                  <a:lnTo>
                    <a:pt x="1389" y="2148"/>
                  </a:lnTo>
                  <a:lnTo>
                    <a:pt x="1361" y="2126"/>
                  </a:lnTo>
                  <a:lnTo>
                    <a:pt x="1335" y="2143"/>
                  </a:lnTo>
                  <a:lnTo>
                    <a:pt x="1307" y="2143"/>
                  </a:lnTo>
                  <a:lnTo>
                    <a:pt x="1290" y="2053"/>
                  </a:lnTo>
                  <a:lnTo>
                    <a:pt x="1290" y="2036"/>
                  </a:lnTo>
                  <a:lnTo>
                    <a:pt x="1276" y="2015"/>
                  </a:lnTo>
                  <a:lnTo>
                    <a:pt x="1252" y="2008"/>
                  </a:lnTo>
                  <a:lnTo>
                    <a:pt x="1238" y="1992"/>
                  </a:lnTo>
                  <a:lnTo>
                    <a:pt x="1222" y="2008"/>
                  </a:lnTo>
                  <a:lnTo>
                    <a:pt x="1205" y="2008"/>
                  </a:lnTo>
                  <a:lnTo>
                    <a:pt x="1130" y="1999"/>
                  </a:lnTo>
                  <a:lnTo>
                    <a:pt x="1130" y="1954"/>
                  </a:lnTo>
                  <a:lnTo>
                    <a:pt x="1134" y="1942"/>
                  </a:lnTo>
                  <a:lnTo>
                    <a:pt x="1134" y="1909"/>
                  </a:lnTo>
                  <a:lnTo>
                    <a:pt x="1113" y="1848"/>
                  </a:lnTo>
                  <a:lnTo>
                    <a:pt x="1134" y="1836"/>
                  </a:lnTo>
                  <a:lnTo>
                    <a:pt x="1118" y="1814"/>
                  </a:lnTo>
                  <a:lnTo>
                    <a:pt x="1146" y="1770"/>
                  </a:lnTo>
                  <a:lnTo>
                    <a:pt x="1146" y="1760"/>
                  </a:lnTo>
                  <a:lnTo>
                    <a:pt x="1156" y="1703"/>
                  </a:lnTo>
                  <a:lnTo>
                    <a:pt x="1146" y="1682"/>
                  </a:lnTo>
                  <a:lnTo>
                    <a:pt x="1146" y="1659"/>
                  </a:lnTo>
                  <a:lnTo>
                    <a:pt x="1096" y="1633"/>
                  </a:lnTo>
                  <a:lnTo>
                    <a:pt x="1092" y="1592"/>
                  </a:lnTo>
                  <a:lnTo>
                    <a:pt x="1101" y="1576"/>
                  </a:lnTo>
                  <a:lnTo>
                    <a:pt x="1101" y="1559"/>
                  </a:lnTo>
                  <a:lnTo>
                    <a:pt x="971" y="1559"/>
                  </a:lnTo>
                  <a:lnTo>
                    <a:pt x="967" y="1498"/>
                  </a:lnTo>
                  <a:lnTo>
                    <a:pt x="941" y="1477"/>
                  </a:lnTo>
                  <a:lnTo>
                    <a:pt x="967" y="1477"/>
                  </a:lnTo>
                  <a:lnTo>
                    <a:pt x="967" y="1437"/>
                  </a:lnTo>
                  <a:lnTo>
                    <a:pt x="950" y="1403"/>
                  </a:lnTo>
                  <a:lnTo>
                    <a:pt x="957" y="1394"/>
                  </a:lnTo>
                  <a:lnTo>
                    <a:pt x="950" y="1382"/>
                  </a:lnTo>
                  <a:lnTo>
                    <a:pt x="912" y="1354"/>
                  </a:lnTo>
                  <a:lnTo>
                    <a:pt x="858" y="1366"/>
                  </a:lnTo>
                  <a:lnTo>
                    <a:pt x="832" y="1333"/>
                  </a:lnTo>
                  <a:lnTo>
                    <a:pt x="820" y="1333"/>
                  </a:lnTo>
                  <a:lnTo>
                    <a:pt x="794" y="1316"/>
                  </a:lnTo>
                  <a:lnTo>
                    <a:pt x="789" y="1325"/>
                  </a:lnTo>
                  <a:lnTo>
                    <a:pt x="773" y="1309"/>
                  </a:lnTo>
                  <a:lnTo>
                    <a:pt x="773" y="1292"/>
                  </a:lnTo>
                  <a:lnTo>
                    <a:pt x="752" y="1300"/>
                  </a:lnTo>
                  <a:lnTo>
                    <a:pt x="723" y="1283"/>
                  </a:lnTo>
                  <a:lnTo>
                    <a:pt x="714" y="1283"/>
                  </a:lnTo>
                  <a:lnTo>
                    <a:pt x="681" y="1283"/>
                  </a:lnTo>
                  <a:lnTo>
                    <a:pt x="669" y="1259"/>
                  </a:lnTo>
                  <a:lnTo>
                    <a:pt x="648" y="1259"/>
                  </a:lnTo>
                  <a:lnTo>
                    <a:pt x="648" y="1243"/>
                  </a:lnTo>
                  <a:lnTo>
                    <a:pt x="631" y="1243"/>
                  </a:lnTo>
                  <a:lnTo>
                    <a:pt x="631" y="1226"/>
                  </a:lnTo>
                  <a:lnTo>
                    <a:pt x="617" y="1226"/>
                  </a:lnTo>
                  <a:lnTo>
                    <a:pt x="626" y="1222"/>
                  </a:lnTo>
                  <a:lnTo>
                    <a:pt x="610" y="1205"/>
                  </a:lnTo>
                  <a:lnTo>
                    <a:pt x="610" y="1188"/>
                  </a:lnTo>
                  <a:lnTo>
                    <a:pt x="610" y="1172"/>
                  </a:lnTo>
                  <a:lnTo>
                    <a:pt x="605" y="1132"/>
                  </a:lnTo>
                  <a:lnTo>
                    <a:pt x="610" y="1115"/>
                  </a:lnTo>
                  <a:lnTo>
                    <a:pt x="610" y="1077"/>
                  </a:lnTo>
                  <a:lnTo>
                    <a:pt x="593" y="1087"/>
                  </a:lnTo>
                  <a:lnTo>
                    <a:pt x="556" y="1087"/>
                  </a:lnTo>
                  <a:lnTo>
                    <a:pt x="518" y="1094"/>
                  </a:lnTo>
                  <a:lnTo>
                    <a:pt x="487" y="1115"/>
                  </a:lnTo>
                  <a:lnTo>
                    <a:pt x="471" y="1127"/>
                  </a:lnTo>
                  <a:lnTo>
                    <a:pt x="454" y="1132"/>
                  </a:lnTo>
                  <a:lnTo>
                    <a:pt x="442" y="1148"/>
                  </a:lnTo>
                  <a:lnTo>
                    <a:pt x="416" y="1148"/>
                  </a:lnTo>
                  <a:lnTo>
                    <a:pt x="400" y="1172"/>
                  </a:lnTo>
                  <a:lnTo>
                    <a:pt x="378" y="1181"/>
                  </a:lnTo>
                  <a:lnTo>
                    <a:pt x="374" y="1181"/>
                  </a:lnTo>
                  <a:lnTo>
                    <a:pt x="362" y="1172"/>
                  </a:lnTo>
                  <a:lnTo>
                    <a:pt x="319" y="1172"/>
                  </a:lnTo>
                  <a:lnTo>
                    <a:pt x="286" y="1165"/>
                  </a:lnTo>
                  <a:lnTo>
                    <a:pt x="265" y="1181"/>
                  </a:lnTo>
                  <a:lnTo>
                    <a:pt x="248" y="1165"/>
                  </a:lnTo>
                  <a:lnTo>
                    <a:pt x="237" y="1172"/>
                  </a:lnTo>
                  <a:lnTo>
                    <a:pt x="237" y="1087"/>
                  </a:lnTo>
                  <a:lnTo>
                    <a:pt x="248" y="1061"/>
                  </a:lnTo>
                  <a:lnTo>
                    <a:pt x="194" y="1106"/>
                  </a:lnTo>
                  <a:lnTo>
                    <a:pt x="130" y="1106"/>
                  </a:lnTo>
                  <a:lnTo>
                    <a:pt x="114" y="1061"/>
                  </a:lnTo>
                  <a:lnTo>
                    <a:pt x="55" y="1054"/>
                  </a:lnTo>
                  <a:lnTo>
                    <a:pt x="76" y="1037"/>
                  </a:lnTo>
                  <a:lnTo>
                    <a:pt x="76" y="1021"/>
                  </a:lnTo>
                  <a:lnTo>
                    <a:pt x="38" y="983"/>
                  </a:lnTo>
                  <a:lnTo>
                    <a:pt x="33" y="959"/>
                  </a:lnTo>
                  <a:lnTo>
                    <a:pt x="17" y="950"/>
                  </a:lnTo>
                  <a:lnTo>
                    <a:pt x="22" y="938"/>
                  </a:lnTo>
                  <a:lnTo>
                    <a:pt x="0" y="922"/>
                  </a:lnTo>
                  <a:lnTo>
                    <a:pt x="5" y="910"/>
                  </a:lnTo>
                  <a:lnTo>
                    <a:pt x="22" y="905"/>
                  </a:lnTo>
                  <a:lnTo>
                    <a:pt x="17" y="888"/>
                  </a:lnTo>
                  <a:lnTo>
                    <a:pt x="22" y="872"/>
                  </a:lnTo>
                  <a:lnTo>
                    <a:pt x="59" y="839"/>
                  </a:lnTo>
                  <a:lnTo>
                    <a:pt x="55" y="815"/>
                  </a:lnTo>
                  <a:lnTo>
                    <a:pt x="76" y="782"/>
                  </a:lnTo>
                  <a:lnTo>
                    <a:pt x="85" y="744"/>
                  </a:lnTo>
                  <a:lnTo>
                    <a:pt x="147" y="704"/>
                  </a:lnTo>
                  <a:lnTo>
                    <a:pt x="199" y="688"/>
                  </a:lnTo>
                  <a:lnTo>
                    <a:pt x="215" y="688"/>
                  </a:lnTo>
                  <a:lnTo>
                    <a:pt x="232" y="671"/>
                  </a:lnTo>
                  <a:lnTo>
                    <a:pt x="265" y="671"/>
                  </a:lnTo>
                  <a:lnTo>
                    <a:pt x="270" y="688"/>
                  </a:lnTo>
                  <a:lnTo>
                    <a:pt x="274" y="688"/>
                  </a:lnTo>
                  <a:lnTo>
                    <a:pt x="286" y="683"/>
                  </a:lnTo>
                  <a:lnTo>
                    <a:pt x="286" y="683"/>
                  </a:lnTo>
                  <a:lnTo>
                    <a:pt x="286" y="683"/>
                  </a:lnTo>
                  <a:close/>
                  <a:moveTo>
                    <a:pt x="1654" y="222"/>
                  </a:moveTo>
                  <a:lnTo>
                    <a:pt x="1659" y="222"/>
                  </a:lnTo>
                  <a:lnTo>
                    <a:pt x="1654" y="222"/>
                  </a:lnTo>
                  <a:lnTo>
                    <a:pt x="1654" y="222"/>
                  </a:lnTo>
                  <a:lnTo>
                    <a:pt x="1654" y="222"/>
                  </a:lnTo>
                  <a:close/>
                  <a:moveTo>
                    <a:pt x="1659" y="246"/>
                  </a:moveTo>
                  <a:lnTo>
                    <a:pt x="1654" y="229"/>
                  </a:lnTo>
                  <a:lnTo>
                    <a:pt x="1659" y="222"/>
                  </a:lnTo>
                  <a:lnTo>
                    <a:pt x="1668" y="239"/>
                  </a:lnTo>
                  <a:lnTo>
                    <a:pt x="1659" y="246"/>
                  </a:lnTo>
                  <a:lnTo>
                    <a:pt x="1659" y="246"/>
                  </a:lnTo>
                  <a:lnTo>
                    <a:pt x="1659" y="246"/>
                  </a:lnTo>
                  <a:close/>
                  <a:moveTo>
                    <a:pt x="1685" y="312"/>
                  </a:moveTo>
                  <a:lnTo>
                    <a:pt x="1692" y="300"/>
                  </a:lnTo>
                  <a:lnTo>
                    <a:pt x="1685" y="312"/>
                  </a:lnTo>
                  <a:lnTo>
                    <a:pt x="1685" y="312"/>
                  </a:lnTo>
                  <a:lnTo>
                    <a:pt x="1685" y="312"/>
                  </a:lnTo>
                  <a:close/>
                  <a:moveTo>
                    <a:pt x="1668" y="329"/>
                  </a:moveTo>
                  <a:lnTo>
                    <a:pt x="1675" y="317"/>
                  </a:lnTo>
                  <a:lnTo>
                    <a:pt x="1685" y="312"/>
                  </a:lnTo>
                  <a:lnTo>
                    <a:pt x="1685" y="317"/>
                  </a:lnTo>
                  <a:lnTo>
                    <a:pt x="1668" y="329"/>
                  </a:lnTo>
                  <a:lnTo>
                    <a:pt x="1668" y="329"/>
                  </a:lnTo>
                  <a:lnTo>
                    <a:pt x="1668" y="329"/>
                  </a:lnTo>
                  <a:close/>
                  <a:moveTo>
                    <a:pt x="1668" y="357"/>
                  </a:moveTo>
                  <a:lnTo>
                    <a:pt x="1668" y="338"/>
                  </a:lnTo>
                  <a:lnTo>
                    <a:pt x="1685" y="333"/>
                  </a:lnTo>
                  <a:lnTo>
                    <a:pt x="1685" y="338"/>
                  </a:lnTo>
                  <a:lnTo>
                    <a:pt x="1668" y="357"/>
                  </a:lnTo>
                  <a:lnTo>
                    <a:pt x="1668" y="357"/>
                  </a:lnTo>
                  <a:lnTo>
                    <a:pt x="1668" y="357"/>
                  </a:lnTo>
                  <a:close/>
                  <a:moveTo>
                    <a:pt x="1654" y="366"/>
                  </a:moveTo>
                  <a:lnTo>
                    <a:pt x="1659" y="333"/>
                  </a:lnTo>
                  <a:lnTo>
                    <a:pt x="1668" y="357"/>
                  </a:lnTo>
                  <a:lnTo>
                    <a:pt x="1654" y="366"/>
                  </a:lnTo>
                  <a:lnTo>
                    <a:pt x="1654" y="366"/>
                  </a:lnTo>
                  <a:lnTo>
                    <a:pt x="1654" y="366"/>
                  </a:lnTo>
                  <a:close/>
                  <a:moveTo>
                    <a:pt x="1685" y="383"/>
                  </a:moveTo>
                  <a:lnTo>
                    <a:pt x="1659" y="374"/>
                  </a:lnTo>
                  <a:lnTo>
                    <a:pt x="1659" y="366"/>
                  </a:lnTo>
                  <a:lnTo>
                    <a:pt x="1706" y="357"/>
                  </a:lnTo>
                  <a:lnTo>
                    <a:pt x="1713" y="366"/>
                  </a:lnTo>
                  <a:lnTo>
                    <a:pt x="1685" y="383"/>
                  </a:lnTo>
                  <a:lnTo>
                    <a:pt x="1685" y="383"/>
                  </a:lnTo>
                  <a:lnTo>
                    <a:pt x="1685" y="383"/>
                  </a:lnTo>
                  <a:close/>
                  <a:moveTo>
                    <a:pt x="1654" y="383"/>
                  </a:moveTo>
                  <a:lnTo>
                    <a:pt x="1642" y="366"/>
                  </a:lnTo>
                  <a:lnTo>
                    <a:pt x="1654" y="366"/>
                  </a:lnTo>
                  <a:lnTo>
                    <a:pt x="1654" y="383"/>
                  </a:lnTo>
                  <a:lnTo>
                    <a:pt x="1654" y="383"/>
                  </a:lnTo>
                  <a:lnTo>
                    <a:pt x="1654" y="383"/>
                  </a:lnTo>
                  <a:close/>
                  <a:moveTo>
                    <a:pt x="1730" y="383"/>
                  </a:moveTo>
                  <a:lnTo>
                    <a:pt x="1730" y="390"/>
                  </a:lnTo>
                  <a:lnTo>
                    <a:pt x="1722" y="390"/>
                  </a:lnTo>
                  <a:lnTo>
                    <a:pt x="1706" y="390"/>
                  </a:lnTo>
                  <a:lnTo>
                    <a:pt x="1696" y="383"/>
                  </a:lnTo>
                  <a:lnTo>
                    <a:pt x="1713" y="374"/>
                  </a:lnTo>
                  <a:lnTo>
                    <a:pt x="1730" y="383"/>
                  </a:lnTo>
                  <a:lnTo>
                    <a:pt x="1730" y="383"/>
                  </a:lnTo>
                  <a:lnTo>
                    <a:pt x="1730" y="383"/>
                  </a:lnTo>
                  <a:close/>
                  <a:moveTo>
                    <a:pt x="1621" y="383"/>
                  </a:moveTo>
                  <a:lnTo>
                    <a:pt x="1630" y="374"/>
                  </a:lnTo>
                  <a:lnTo>
                    <a:pt x="1637" y="374"/>
                  </a:lnTo>
                  <a:lnTo>
                    <a:pt x="1621" y="383"/>
                  </a:lnTo>
                  <a:lnTo>
                    <a:pt x="1621" y="383"/>
                  </a:lnTo>
                  <a:lnTo>
                    <a:pt x="1621" y="383"/>
                  </a:lnTo>
                  <a:close/>
                  <a:moveTo>
                    <a:pt x="1630" y="395"/>
                  </a:moveTo>
                  <a:lnTo>
                    <a:pt x="1616" y="395"/>
                  </a:lnTo>
                  <a:lnTo>
                    <a:pt x="1621" y="383"/>
                  </a:lnTo>
                  <a:lnTo>
                    <a:pt x="1637" y="383"/>
                  </a:lnTo>
                  <a:lnTo>
                    <a:pt x="1642" y="383"/>
                  </a:lnTo>
                  <a:lnTo>
                    <a:pt x="1630" y="395"/>
                  </a:lnTo>
                  <a:lnTo>
                    <a:pt x="1630" y="395"/>
                  </a:lnTo>
                  <a:lnTo>
                    <a:pt x="1630" y="395"/>
                  </a:lnTo>
                  <a:close/>
                  <a:moveTo>
                    <a:pt x="1630" y="485"/>
                  </a:moveTo>
                  <a:lnTo>
                    <a:pt x="1630" y="461"/>
                  </a:lnTo>
                  <a:lnTo>
                    <a:pt x="1642" y="449"/>
                  </a:lnTo>
                  <a:lnTo>
                    <a:pt x="1630" y="449"/>
                  </a:lnTo>
                  <a:lnTo>
                    <a:pt x="1630" y="428"/>
                  </a:lnTo>
                  <a:lnTo>
                    <a:pt x="1637" y="423"/>
                  </a:lnTo>
                  <a:lnTo>
                    <a:pt x="1654" y="428"/>
                  </a:lnTo>
                  <a:lnTo>
                    <a:pt x="1637" y="423"/>
                  </a:lnTo>
                  <a:lnTo>
                    <a:pt x="1637" y="411"/>
                  </a:lnTo>
                  <a:lnTo>
                    <a:pt x="1637" y="395"/>
                  </a:lnTo>
                  <a:lnTo>
                    <a:pt x="1654" y="390"/>
                  </a:lnTo>
                  <a:lnTo>
                    <a:pt x="1659" y="390"/>
                  </a:lnTo>
                  <a:lnTo>
                    <a:pt x="1713" y="395"/>
                  </a:lnTo>
                  <a:lnTo>
                    <a:pt x="1744" y="390"/>
                  </a:lnTo>
                  <a:lnTo>
                    <a:pt x="1798" y="395"/>
                  </a:lnTo>
                  <a:lnTo>
                    <a:pt x="1793" y="444"/>
                  </a:lnTo>
                  <a:lnTo>
                    <a:pt x="1760" y="485"/>
                  </a:lnTo>
                  <a:lnTo>
                    <a:pt x="1744" y="494"/>
                  </a:lnTo>
                  <a:lnTo>
                    <a:pt x="1722" y="494"/>
                  </a:lnTo>
                  <a:lnTo>
                    <a:pt x="1706" y="506"/>
                  </a:lnTo>
                  <a:lnTo>
                    <a:pt x="1706" y="494"/>
                  </a:lnTo>
                  <a:lnTo>
                    <a:pt x="1696" y="506"/>
                  </a:lnTo>
                  <a:lnTo>
                    <a:pt x="1685" y="501"/>
                  </a:lnTo>
                  <a:lnTo>
                    <a:pt x="1659" y="506"/>
                  </a:lnTo>
                  <a:lnTo>
                    <a:pt x="1642" y="506"/>
                  </a:lnTo>
                  <a:lnTo>
                    <a:pt x="1630" y="485"/>
                  </a:lnTo>
                  <a:lnTo>
                    <a:pt x="1630" y="485"/>
                  </a:lnTo>
                  <a:lnTo>
                    <a:pt x="1630" y="485"/>
                  </a:lnTo>
                  <a:close/>
                  <a:moveTo>
                    <a:pt x="1588" y="411"/>
                  </a:moveTo>
                  <a:lnTo>
                    <a:pt x="1600" y="390"/>
                  </a:lnTo>
                  <a:lnTo>
                    <a:pt x="1604" y="390"/>
                  </a:lnTo>
                  <a:lnTo>
                    <a:pt x="1604" y="395"/>
                  </a:lnTo>
                  <a:lnTo>
                    <a:pt x="1588" y="411"/>
                  </a:lnTo>
                  <a:lnTo>
                    <a:pt x="1588" y="411"/>
                  </a:lnTo>
                  <a:lnTo>
                    <a:pt x="1588" y="411"/>
                  </a:lnTo>
                  <a:close/>
                  <a:moveTo>
                    <a:pt x="1630" y="407"/>
                  </a:moveTo>
                  <a:lnTo>
                    <a:pt x="1621" y="407"/>
                  </a:lnTo>
                  <a:lnTo>
                    <a:pt x="1637" y="395"/>
                  </a:lnTo>
                  <a:lnTo>
                    <a:pt x="1630" y="407"/>
                  </a:lnTo>
                  <a:lnTo>
                    <a:pt x="1630" y="407"/>
                  </a:lnTo>
                  <a:lnTo>
                    <a:pt x="1630" y="407"/>
                  </a:lnTo>
                  <a:close/>
                  <a:moveTo>
                    <a:pt x="1604" y="423"/>
                  </a:moveTo>
                  <a:lnTo>
                    <a:pt x="1604" y="407"/>
                  </a:lnTo>
                  <a:lnTo>
                    <a:pt x="1616" y="395"/>
                  </a:lnTo>
                  <a:lnTo>
                    <a:pt x="1621" y="407"/>
                  </a:lnTo>
                  <a:lnTo>
                    <a:pt x="1604" y="423"/>
                  </a:lnTo>
                  <a:lnTo>
                    <a:pt x="1604" y="423"/>
                  </a:lnTo>
                  <a:lnTo>
                    <a:pt x="1604" y="423"/>
                  </a:lnTo>
                  <a:close/>
                  <a:moveTo>
                    <a:pt x="1621" y="423"/>
                  </a:moveTo>
                  <a:lnTo>
                    <a:pt x="1621" y="407"/>
                  </a:lnTo>
                  <a:lnTo>
                    <a:pt x="1630" y="407"/>
                  </a:lnTo>
                  <a:lnTo>
                    <a:pt x="1630" y="411"/>
                  </a:lnTo>
                  <a:lnTo>
                    <a:pt x="1621" y="423"/>
                  </a:lnTo>
                  <a:lnTo>
                    <a:pt x="1621" y="423"/>
                  </a:lnTo>
                  <a:lnTo>
                    <a:pt x="1621" y="423"/>
                  </a:lnTo>
                  <a:close/>
                  <a:moveTo>
                    <a:pt x="1550" y="485"/>
                  </a:moveTo>
                  <a:lnTo>
                    <a:pt x="1550" y="461"/>
                  </a:lnTo>
                  <a:lnTo>
                    <a:pt x="1567" y="449"/>
                  </a:lnTo>
                  <a:lnTo>
                    <a:pt x="1578" y="428"/>
                  </a:lnTo>
                  <a:lnTo>
                    <a:pt x="1588" y="423"/>
                  </a:lnTo>
                  <a:lnTo>
                    <a:pt x="1604" y="411"/>
                  </a:lnTo>
                  <a:lnTo>
                    <a:pt x="1604" y="428"/>
                  </a:lnTo>
                  <a:lnTo>
                    <a:pt x="1600" y="449"/>
                  </a:lnTo>
                  <a:lnTo>
                    <a:pt x="1583" y="468"/>
                  </a:lnTo>
                  <a:lnTo>
                    <a:pt x="1550" y="485"/>
                  </a:lnTo>
                  <a:lnTo>
                    <a:pt x="1550" y="485"/>
                  </a:lnTo>
                  <a:lnTo>
                    <a:pt x="1550" y="485"/>
                  </a:lnTo>
                  <a:close/>
                  <a:moveTo>
                    <a:pt x="1604" y="444"/>
                  </a:moveTo>
                  <a:lnTo>
                    <a:pt x="1616" y="428"/>
                  </a:lnTo>
                  <a:lnTo>
                    <a:pt x="1630" y="423"/>
                  </a:lnTo>
                  <a:lnTo>
                    <a:pt x="1630" y="428"/>
                  </a:lnTo>
                  <a:lnTo>
                    <a:pt x="1604" y="444"/>
                  </a:lnTo>
                  <a:lnTo>
                    <a:pt x="1604" y="444"/>
                  </a:lnTo>
                  <a:lnTo>
                    <a:pt x="1604" y="444"/>
                  </a:lnTo>
                  <a:close/>
                  <a:moveTo>
                    <a:pt x="1831" y="428"/>
                  </a:moveTo>
                  <a:lnTo>
                    <a:pt x="1831" y="423"/>
                  </a:lnTo>
                  <a:lnTo>
                    <a:pt x="1836" y="428"/>
                  </a:lnTo>
                  <a:lnTo>
                    <a:pt x="1831" y="428"/>
                  </a:lnTo>
                  <a:lnTo>
                    <a:pt x="1831" y="428"/>
                  </a:lnTo>
                  <a:lnTo>
                    <a:pt x="1831" y="428"/>
                  </a:lnTo>
                  <a:close/>
                  <a:moveTo>
                    <a:pt x="1621" y="440"/>
                  </a:moveTo>
                  <a:lnTo>
                    <a:pt x="1621" y="428"/>
                  </a:lnTo>
                  <a:lnTo>
                    <a:pt x="1630" y="428"/>
                  </a:lnTo>
                  <a:lnTo>
                    <a:pt x="1621" y="440"/>
                  </a:lnTo>
                  <a:lnTo>
                    <a:pt x="1621" y="440"/>
                  </a:lnTo>
                  <a:lnTo>
                    <a:pt x="1621" y="440"/>
                  </a:lnTo>
                  <a:close/>
                  <a:moveTo>
                    <a:pt x="1588" y="468"/>
                  </a:moveTo>
                  <a:lnTo>
                    <a:pt x="1604" y="440"/>
                  </a:lnTo>
                  <a:lnTo>
                    <a:pt x="1600" y="461"/>
                  </a:lnTo>
                  <a:lnTo>
                    <a:pt x="1588" y="468"/>
                  </a:lnTo>
                  <a:lnTo>
                    <a:pt x="1588" y="468"/>
                  </a:lnTo>
                  <a:lnTo>
                    <a:pt x="1588" y="468"/>
                  </a:lnTo>
                  <a:close/>
                  <a:moveTo>
                    <a:pt x="1928" y="449"/>
                  </a:moveTo>
                  <a:lnTo>
                    <a:pt x="1940" y="444"/>
                  </a:lnTo>
                  <a:lnTo>
                    <a:pt x="1940" y="449"/>
                  </a:lnTo>
                  <a:lnTo>
                    <a:pt x="1928" y="449"/>
                  </a:lnTo>
                  <a:lnTo>
                    <a:pt x="1928" y="449"/>
                  </a:lnTo>
                  <a:lnTo>
                    <a:pt x="1928" y="449"/>
                  </a:lnTo>
                  <a:close/>
                  <a:moveTo>
                    <a:pt x="1798" y="468"/>
                  </a:moveTo>
                  <a:lnTo>
                    <a:pt x="1793" y="461"/>
                  </a:lnTo>
                  <a:lnTo>
                    <a:pt x="1798" y="449"/>
                  </a:lnTo>
                  <a:lnTo>
                    <a:pt x="1805" y="449"/>
                  </a:lnTo>
                  <a:lnTo>
                    <a:pt x="1798" y="468"/>
                  </a:lnTo>
                  <a:lnTo>
                    <a:pt x="1798" y="468"/>
                  </a:lnTo>
                  <a:lnTo>
                    <a:pt x="1798" y="468"/>
                  </a:lnTo>
                  <a:close/>
                  <a:moveTo>
                    <a:pt x="2037" y="477"/>
                  </a:moveTo>
                  <a:lnTo>
                    <a:pt x="2037" y="468"/>
                  </a:lnTo>
                  <a:lnTo>
                    <a:pt x="2048" y="468"/>
                  </a:lnTo>
                  <a:lnTo>
                    <a:pt x="2037" y="477"/>
                  </a:lnTo>
                  <a:lnTo>
                    <a:pt x="2037" y="477"/>
                  </a:lnTo>
                  <a:lnTo>
                    <a:pt x="2037" y="477"/>
                  </a:lnTo>
                  <a:close/>
                  <a:moveTo>
                    <a:pt x="1512" y="485"/>
                  </a:moveTo>
                  <a:lnTo>
                    <a:pt x="1533" y="477"/>
                  </a:lnTo>
                  <a:lnTo>
                    <a:pt x="1512" y="485"/>
                  </a:lnTo>
                  <a:lnTo>
                    <a:pt x="1512" y="485"/>
                  </a:lnTo>
                  <a:lnTo>
                    <a:pt x="1512" y="485"/>
                  </a:lnTo>
                  <a:close/>
                  <a:moveTo>
                    <a:pt x="1529" y="501"/>
                  </a:moveTo>
                  <a:lnTo>
                    <a:pt x="1533" y="485"/>
                  </a:lnTo>
                  <a:lnTo>
                    <a:pt x="1545" y="485"/>
                  </a:lnTo>
                  <a:lnTo>
                    <a:pt x="1550" y="485"/>
                  </a:lnTo>
                  <a:lnTo>
                    <a:pt x="1529" y="501"/>
                  </a:lnTo>
                  <a:lnTo>
                    <a:pt x="1529" y="501"/>
                  </a:lnTo>
                  <a:lnTo>
                    <a:pt x="1529" y="501"/>
                  </a:lnTo>
                  <a:close/>
                  <a:moveTo>
                    <a:pt x="2053" y="501"/>
                  </a:moveTo>
                  <a:lnTo>
                    <a:pt x="2063" y="494"/>
                  </a:lnTo>
                  <a:lnTo>
                    <a:pt x="2063" y="501"/>
                  </a:lnTo>
                  <a:lnTo>
                    <a:pt x="2053" y="501"/>
                  </a:lnTo>
                  <a:lnTo>
                    <a:pt x="2053" y="501"/>
                  </a:lnTo>
                  <a:lnTo>
                    <a:pt x="2053" y="501"/>
                  </a:lnTo>
                  <a:close/>
                  <a:moveTo>
                    <a:pt x="1760" y="506"/>
                  </a:moveTo>
                  <a:lnTo>
                    <a:pt x="1751" y="501"/>
                  </a:lnTo>
                  <a:lnTo>
                    <a:pt x="1760" y="494"/>
                  </a:lnTo>
                  <a:lnTo>
                    <a:pt x="1760" y="506"/>
                  </a:lnTo>
                  <a:lnTo>
                    <a:pt x="1760" y="506"/>
                  </a:lnTo>
                  <a:lnTo>
                    <a:pt x="1760" y="506"/>
                  </a:lnTo>
                  <a:close/>
                  <a:moveTo>
                    <a:pt x="1744" y="518"/>
                  </a:moveTo>
                  <a:lnTo>
                    <a:pt x="1751" y="501"/>
                  </a:lnTo>
                  <a:lnTo>
                    <a:pt x="1751" y="506"/>
                  </a:lnTo>
                  <a:lnTo>
                    <a:pt x="1744" y="518"/>
                  </a:lnTo>
                  <a:lnTo>
                    <a:pt x="1744" y="518"/>
                  </a:lnTo>
                  <a:lnTo>
                    <a:pt x="1744" y="518"/>
                  </a:lnTo>
                  <a:close/>
                  <a:moveTo>
                    <a:pt x="1630" y="522"/>
                  </a:moveTo>
                  <a:lnTo>
                    <a:pt x="1616" y="522"/>
                  </a:lnTo>
                  <a:lnTo>
                    <a:pt x="1604" y="506"/>
                  </a:lnTo>
                  <a:lnTo>
                    <a:pt x="1630" y="518"/>
                  </a:lnTo>
                  <a:lnTo>
                    <a:pt x="1630" y="522"/>
                  </a:lnTo>
                  <a:lnTo>
                    <a:pt x="1630" y="522"/>
                  </a:lnTo>
                  <a:lnTo>
                    <a:pt x="1630" y="522"/>
                  </a:lnTo>
                  <a:close/>
                  <a:moveTo>
                    <a:pt x="2247" y="577"/>
                  </a:moveTo>
                  <a:lnTo>
                    <a:pt x="2237" y="572"/>
                  </a:lnTo>
                  <a:lnTo>
                    <a:pt x="2247" y="572"/>
                  </a:lnTo>
                  <a:lnTo>
                    <a:pt x="2247" y="577"/>
                  </a:lnTo>
                  <a:lnTo>
                    <a:pt x="2247" y="577"/>
                  </a:lnTo>
                  <a:lnTo>
                    <a:pt x="2247" y="577"/>
                  </a:lnTo>
                  <a:close/>
                  <a:moveTo>
                    <a:pt x="2070" y="596"/>
                  </a:moveTo>
                  <a:lnTo>
                    <a:pt x="2070" y="577"/>
                  </a:lnTo>
                  <a:lnTo>
                    <a:pt x="2074" y="572"/>
                  </a:lnTo>
                  <a:lnTo>
                    <a:pt x="2070" y="589"/>
                  </a:lnTo>
                  <a:lnTo>
                    <a:pt x="2070" y="596"/>
                  </a:lnTo>
                  <a:lnTo>
                    <a:pt x="2070" y="596"/>
                  </a:lnTo>
                  <a:lnTo>
                    <a:pt x="2070" y="596"/>
                  </a:lnTo>
                  <a:close/>
                  <a:moveTo>
                    <a:pt x="2469" y="1333"/>
                  </a:moveTo>
                  <a:lnTo>
                    <a:pt x="2485" y="1309"/>
                  </a:lnTo>
                  <a:lnTo>
                    <a:pt x="2485" y="1316"/>
                  </a:lnTo>
                  <a:lnTo>
                    <a:pt x="2469" y="1333"/>
                  </a:lnTo>
                  <a:lnTo>
                    <a:pt x="2469" y="1333"/>
                  </a:lnTo>
                  <a:lnTo>
                    <a:pt x="2469" y="1333"/>
                  </a:lnTo>
                  <a:close/>
                  <a:moveTo>
                    <a:pt x="2464" y="1366"/>
                  </a:moveTo>
                  <a:lnTo>
                    <a:pt x="2452" y="1349"/>
                  </a:lnTo>
                  <a:lnTo>
                    <a:pt x="2464" y="1349"/>
                  </a:lnTo>
                  <a:lnTo>
                    <a:pt x="2464" y="1366"/>
                  </a:lnTo>
                  <a:lnTo>
                    <a:pt x="2464" y="1366"/>
                  </a:lnTo>
                  <a:lnTo>
                    <a:pt x="2464" y="1366"/>
                  </a:lnTo>
                  <a:close/>
                  <a:moveTo>
                    <a:pt x="2464" y="1370"/>
                  </a:moveTo>
                  <a:lnTo>
                    <a:pt x="2464" y="1366"/>
                  </a:lnTo>
                  <a:lnTo>
                    <a:pt x="2464" y="1370"/>
                  </a:lnTo>
                  <a:lnTo>
                    <a:pt x="2464" y="1370"/>
                  </a:lnTo>
                  <a:lnTo>
                    <a:pt x="2464" y="1370"/>
                  </a:lnTo>
                  <a:close/>
                  <a:moveTo>
                    <a:pt x="2086" y="2086"/>
                  </a:moveTo>
                  <a:lnTo>
                    <a:pt x="2086" y="2074"/>
                  </a:lnTo>
                  <a:lnTo>
                    <a:pt x="2091" y="2070"/>
                  </a:lnTo>
                  <a:lnTo>
                    <a:pt x="2100" y="2074"/>
                  </a:lnTo>
                  <a:lnTo>
                    <a:pt x="2086" y="2086"/>
                  </a:lnTo>
                  <a:lnTo>
                    <a:pt x="2086" y="2086"/>
                  </a:lnTo>
                  <a:lnTo>
                    <a:pt x="2086" y="2086"/>
                  </a:lnTo>
                  <a:close/>
                  <a:moveTo>
                    <a:pt x="2020" y="2143"/>
                  </a:moveTo>
                  <a:lnTo>
                    <a:pt x="2011" y="2131"/>
                  </a:lnTo>
                  <a:lnTo>
                    <a:pt x="2015" y="2119"/>
                  </a:lnTo>
                  <a:lnTo>
                    <a:pt x="2020" y="2126"/>
                  </a:lnTo>
                  <a:lnTo>
                    <a:pt x="2020" y="2143"/>
                  </a:lnTo>
                  <a:lnTo>
                    <a:pt x="2020" y="2143"/>
                  </a:lnTo>
                  <a:lnTo>
                    <a:pt x="2020" y="2143"/>
                  </a:lnTo>
                  <a:close/>
                  <a:moveTo>
                    <a:pt x="1836" y="2221"/>
                  </a:moveTo>
                  <a:lnTo>
                    <a:pt x="1836" y="2214"/>
                  </a:lnTo>
                  <a:lnTo>
                    <a:pt x="1852" y="2202"/>
                  </a:lnTo>
                  <a:lnTo>
                    <a:pt x="1836" y="2221"/>
                  </a:lnTo>
                  <a:lnTo>
                    <a:pt x="1836" y="2221"/>
                  </a:lnTo>
                  <a:lnTo>
                    <a:pt x="1836" y="2221"/>
                  </a:lnTo>
                  <a:close/>
                  <a:moveTo>
                    <a:pt x="1805" y="2254"/>
                  </a:moveTo>
                  <a:lnTo>
                    <a:pt x="1805" y="2242"/>
                  </a:lnTo>
                  <a:lnTo>
                    <a:pt x="1805" y="2254"/>
                  </a:lnTo>
                  <a:lnTo>
                    <a:pt x="1805" y="2254"/>
                  </a:lnTo>
                  <a:lnTo>
                    <a:pt x="1805" y="2254"/>
                  </a:lnTo>
                  <a:close/>
                  <a:moveTo>
                    <a:pt x="1784" y="2329"/>
                  </a:moveTo>
                  <a:lnTo>
                    <a:pt x="1777" y="2313"/>
                  </a:lnTo>
                  <a:lnTo>
                    <a:pt x="1793" y="2308"/>
                  </a:lnTo>
                  <a:lnTo>
                    <a:pt x="1793" y="2313"/>
                  </a:lnTo>
                  <a:lnTo>
                    <a:pt x="1784" y="2329"/>
                  </a:lnTo>
                  <a:lnTo>
                    <a:pt x="1784" y="2329"/>
                  </a:lnTo>
                  <a:lnTo>
                    <a:pt x="1784" y="2329"/>
                  </a:lnTo>
                  <a:close/>
                  <a:moveTo>
                    <a:pt x="1793" y="2436"/>
                  </a:moveTo>
                  <a:lnTo>
                    <a:pt x="1793" y="2403"/>
                  </a:lnTo>
                  <a:lnTo>
                    <a:pt x="1798" y="2403"/>
                  </a:lnTo>
                  <a:lnTo>
                    <a:pt x="1798" y="2419"/>
                  </a:lnTo>
                  <a:lnTo>
                    <a:pt x="1793" y="2436"/>
                  </a:lnTo>
                  <a:lnTo>
                    <a:pt x="1793" y="2436"/>
                  </a:lnTo>
                  <a:lnTo>
                    <a:pt x="1793" y="2436"/>
                  </a:lnTo>
                  <a:close/>
                </a:path>
              </a:pathLst>
            </a:custGeom>
            <a:pattFill prst="dk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17" name="Freeform 404">
              <a:extLst>
                <a:ext uri="{FF2B5EF4-FFF2-40B4-BE49-F238E27FC236}">
                  <a16:creationId xmlns:a16="http://schemas.microsoft.com/office/drawing/2014/main" id="{4656E5C2-F09A-4BA9-9C06-3CC8C1802A38}"/>
                </a:ext>
              </a:extLst>
            </p:cNvPr>
            <p:cNvSpPr>
              <a:spLocks/>
            </p:cNvSpPr>
            <p:nvPr/>
          </p:nvSpPr>
          <p:spPr bwMode="gray">
            <a:xfrm>
              <a:off x="8855228" y="3565293"/>
              <a:ext cx="116791" cy="62857"/>
            </a:xfrm>
            <a:custGeom>
              <a:avLst/>
              <a:gdLst>
                <a:gd name="T0" fmla="*/ 5 w 236"/>
                <a:gd name="T1" fmla="*/ 78 h 127"/>
                <a:gd name="T2" fmla="*/ 55 w 236"/>
                <a:gd name="T3" fmla="*/ 21 h 127"/>
                <a:gd name="T4" fmla="*/ 88 w 236"/>
                <a:gd name="T5" fmla="*/ 0 h 127"/>
                <a:gd name="T6" fmla="*/ 116 w 236"/>
                <a:gd name="T7" fmla="*/ 4 h 127"/>
                <a:gd name="T8" fmla="*/ 116 w 236"/>
                <a:gd name="T9" fmla="*/ 21 h 127"/>
                <a:gd name="T10" fmla="*/ 166 w 236"/>
                <a:gd name="T11" fmla="*/ 28 h 127"/>
                <a:gd name="T12" fmla="*/ 182 w 236"/>
                <a:gd name="T13" fmla="*/ 21 h 127"/>
                <a:gd name="T14" fmla="*/ 203 w 236"/>
                <a:gd name="T15" fmla="*/ 28 h 127"/>
                <a:gd name="T16" fmla="*/ 203 w 236"/>
                <a:gd name="T17" fmla="*/ 45 h 127"/>
                <a:gd name="T18" fmla="*/ 203 w 236"/>
                <a:gd name="T19" fmla="*/ 54 h 127"/>
                <a:gd name="T20" fmla="*/ 203 w 236"/>
                <a:gd name="T21" fmla="*/ 61 h 127"/>
                <a:gd name="T22" fmla="*/ 225 w 236"/>
                <a:gd name="T23" fmla="*/ 61 h 127"/>
                <a:gd name="T24" fmla="*/ 236 w 236"/>
                <a:gd name="T25" fmla="*/ 78 h 127"/>
                <a:gd name="T26" fmla="*/ 225 w 236"/>
                <a:gd name="T27" fmla="*/ 94 h 127"/>
                <a:gd name="T28" fmla="*/ 236 w 236"/>
                <a:gd name="T29" fmla="*/ 111 h 127"/>
                <a:gd name="T30" fmla="*/ 236 w 236"/>
                <a:gd name="T31" fmla="*/ 111 h 127"/>
                <a:gd name="T32" fmla="*/ 199 w 236"/>
                <a:gd name="T33" fmla="*/ 118 h 127"/>
                <a:gd name="T34" fmla="*/ 187 w 236"/>
                <a:gd name="T35" fmla="*/ 111 h 127"/>
                <a:gd name="T36" fmla="*/ 182 w 236"/>
                <a:gd name="T37" fmla="*/ 118 h 127"/>
                <a:gd name="T38" fmla="*/ 142 w 236"/>
                <a:gd name="T39" fmla="*/ 118 h 127"/>
                <a:gd name="T40" fmla="*/ 116 w 236"/>
                <a:gd name="T41" fmla="*/ 111 h 127"/>
                <a:gd name="T42" fmla="*/ 92 w 236"/>
                <a:gd name="T43" fmla="*/ 127 h 127"/>
                <a:gd name="T44" fmla="*/ 62 w 236"/>
                <a:gd name="T45" fmla="*/ 127 h 127"/>
                <a:gd name="T46" fmla="*/ 38 w 236"/>
                <a:gd name="T47" fmla="*/ 118 h 127"/>
                <a:gd name="T48" fmla="*/ 21 w 236"/>
                <a:gd name="T49" fmla="*/ 118 h 127"/>
                <a:gd name="T50" fmla="*/ 5 w 236"/>
                <a:gd name="T51" fmla="*/ 99 h 127"/>
                <a:gd name="T52" fmla="*/ 0 w 236"/>
                <a:gd name="T53" fmla="*/ 94 h 127"/>
                <a:gd name="T54" fmla="*/ 5 w 236"/>
                <a:gd name="T55" fmla="*/ 78 h 127"/>
                <a:gd name="T56" fmla="*/ 5 w 236"/>
                <a:gd name="T57" fmla="*/ 78 h 127"/>
                <a:gd name="T58" fmla="*/ 5 w 236"/>
                <a:gd name="T59" fmla="*/ 7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6" h="127">
                  <a:moveTo>
                    <a:pt x="5" y="78"/>
                  </a:moveTo>
                  <a:lnTo>
                    <a:pt x="55" y="21"/>
                  </a:lnTo>
                  <a:lnTo>
                    <a:pt x="88" y="0"/>
                  </a:lnTo>
                  <a:lnTo>
                    <a:pt x="116" y="4"/>
                  </a:lnTo>
                  <a:lnTo>
                    <a:pt x="116" y="21"/>
                  </a:lnTo>
                  <a:lnTo>
                    <a:pt x="166" y="28"/>
                  </a:lnTo>
                  <a:lnTo>
                    <a:pt x="182" y="21"/>
                  </a:lnTo>
                  <a:lnTo>
                    <a:pt x="203" y="28"/>
                  </a:lnTo>
                  <a:lnTo>
                    <a:pt x="203" y="45"/>
                  </a:lnTo>
                  <a:lnTo>
                    <a:pt x="203" y="54"/>
                  </a:lnTo>
                  <a:lnTo>
                    <a:pt x="203" y="61"/>
                  </a:lnTo>
                  <a:lnTo>
                    <a:pt x="225" y="61"/>
                  </a:lnTo>
                  <a:lnTo>
                    <a:pt x="236" y="78"/>
                  </a:lnTo>
                  <a:lnTo>
                    <a:pt x="225" y="94"/>
                  </a:lnTo>
                  <a:lnTo>
                    <a:pt x="236" y="111"/>
                  </a:lnTo>
                  <a:lnTo>
                    <a:pt x="236" y="111"/>
                  </a:lnTo>
                  <a:lnTo>
                    <a:pt x="199" y="118"/>
                  </a:lnTo>
                  <a:lnTo>
                    <a:pt x="187" y="111"/>
                  </a:lnTo>
                  <a:lnTo>
                    <a:pt x="182" y="118"/>
                  </a:lnTo>
                  <a:lnTo>
                    <a:pt x="142" y="118"/>
                  </a:lnTo>
                  <a:lnTo>
                    <a:pt x="116" y="111"/>
                  </a:lnTo>
                  <a:lnTo>
                    <a:pt x="92" y="127"/>
                  </a:lnTo>
                  <a:lnTo>
                    <a:pt x="62" y="127"/>
                  </a:lnTo>
                  <a:lnTo>
                    <a:pt x="38" y="118"/>
                  </a:lnTo>
                  <a:lnTo>
                    <a:pt x="21" y="118"/>
                  </a:lnTo>
                  <a:lnTo>
                    <a:pt x="5" y="99"/>
                  </a:lnTo>
                  <a:lnTo>
                    <a:pt x="0" y="94"/>
                  </a:lnTo>
                  <a:lnTo>
                    <a:pt x="5" y="78"/>
                  </a:lnTo>
                  <a:lnTo>
                    <a:pt x="5" y="78"/>
                  </a:lnTo>
                  <a:lnTo>
                    <a:pt x="5" y="78"/>
                  </a:lnTo>
                  <a:close/>
                </a:path>
              </a:pathLst>
            </a:custGeom>
            <a:pattFill prst="wd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18" name="Freeform 405">
              <a:extLst>
                <a:ext uri="{FF2B5EF4-FFF2-40B4-BE49-F238E27FC236}">
                  <a16:creationId xmlns:a16="http://schemas.microsoft.com/office/drawing/2014/main" id="{2C19E15D-8C27-41CB-A7CF-1CC2F7AD6BDD}"/>
                </a:ext>
              </a:extLst>
            </p:cNvPr>
            <p:cNvSpPr>
              <a:spLocks/>
            </p:cNvSpPr>
            <p:nvPr/>
          </p:nvSpPr>
          <p:spPr bwMode="gray">
            <a:xfrm>
              <a:off x="6551082" y="2912972"/>
              <a:ext cx="216262" cy="132147"/>
            </a:xfrm>
            <a:custGeom>
              <a:avLst/>
              <a:gdLst>
                <a:gd name="T0" fmla="*/ 400 w 437"/>
                <a:gd name="T1" fmla="*/ 200 h 267"/>
                <a:gd name="T2" fmla="*/ 366 w 437"/>
                <a:gd name="T3" fmla="*/ 210 h 267"/>
                <a:gd name="T4" fmla="*/ 345 w 437"/>
                <a:gd name="T5" fmla="*/ 193 h 267"/>
                <a:gd name="T6" fmla="*/ 329 w 437"/>
                <a:gd name="T7" fmla="*/ 193 h 267"/>
                <a:gd name="T8" fmla="*/ 324 w 437"/>
                <a:gd name="T9" fmla="*/ 200 h 267"/>
                <a:gd name="T10" fmla="*/ 303 w 437"/>
                <a:gd name="T11" fmla="*/ 200 h 267"/>
                <a:gd name="T12" fmla="*/ 291 w 437"/>
                <a:gd name="T13" fmla="*/ 217 h 267"/>
                <a:gd name="T14" fmla="*/ 286 w 437"/>
                <a:gd name="T15" fmla="*/ 217 h 267"/>
                <a:gd name="T16" fmla="*/ 286 w 437"/>
                <a:gd name="T17" fmla="*/ 226 h 267"/>
                <a:gd name="T18" fmla="*/ 260 w 437"/>
                <a:gd name="T19" fmla="*/ 226 h 267"/>
                <a:gd name="T20" fmla="*/ 270 w 437"/>
                <a:gd name="T21" fmla="*/ 238 h 267"/>
                <a:gd name="T22" fmla="*/ 270 w 437"/>
                <a:gd name="T23" fmla="*/ 255 h 267"/>
                <a:gd name="T24" fmla="*/ 206 w 437"/>
                <a:gd name="T25" fmla="*/ 267 h 267"/>
                <a:gd name="T26" fmla="*/ 140 w 437"/>
                <a:gd name="T27" fmla="*/ 238 h 267"/>
                <a:gd name="T28" fmla="*/ 92 w 437"/>
                <a:gd name="T29" fmla="*/ 255 h 267"/>
                <a:gd name="T30" fmla="*/ 43 w 437"/>
                <a:gd name="T31" fmla="*/ 255 h 267"/>
                <a:gd name="T32" fmla="*/ 43 w 437"/>
                <a:gd name="T33" fmla="*/ 217 h 267"/>
                <a:gd name="T34" fmla="*/ 38 w 437"/>
                <a:gd name="T35" fmla="*/ 200 h 267"/>
                <a:gd name="T36" fmla="*/ 17 w 437"/>
                <a:gd name="T37" fmla="*/ 184 h 267"/>
                <a:gd name="T38" fmla="*/ 0 w 437"/>
                <a:gd name="T39" fmla="*/ 165 h 267"/>
                <a:gd name="T40" fmla="*/ 17 w 437"/>
                <a:gd name="T41" fmla="*/ 160 h 267"/>
                <a:gd name="T42" fmla="*/ 5 w 437"/>
                <a:gd name="T43" fmla="*/ 144 h 267"/>
                <a:gd name="T44" fmla="*/ 5 w 437"/>
                <a:gd name="T45" fmla="*/ 127 h 267"/>
                <a:gd name="T46" fmla="*/ 33 w 437"/>
                <a:gd name="T47" fmla="*/ 122 h 267"/>
                <a:gd name="T48" fmla="*/ 43 w 437"/>
                <a:gd name="T49" fmla="*/ 99 h 267"/>
                <a:gd name="T50" fmla="*/ 17 w 437"/>
                <a:gd name="T51" fmla="*/ 73 h 267"/>
                <a:gd name="T52" fmla="*/ 0 w 437"/>
                <a:gd name="T53" fmla="*/ 44 h 267"/>
                <a:gd name="T54" fmla="*/ 5 w 437"/>
                <a:gd name="T55" fmla="*/ 28 h 267"/>
                <a:gd name="T56" fmla="*/ 22 w 437"/>
                <a:gd name="T57" fmla="*/ 0 h 267"/>
                <a:gd name="T58" fmla="*/ 43 w 437"/>
                <a:gd name="T59" fmla="*/ 16 h 267"/>
                <a:gd name="T60" fmla="*/ 38 w 437"/>
                <a:gd name="T61" fmla="*/ 28 h 267"/>
                <a:gd name="T62" fmla="*/ 38 w 437"/>
                <a:gd name="T63" fmla="*/ 44 h 267"/>
                <a:gd name="T64" fmla="*/ 76 w 437"/>
                <a:gd name="T65" fmla="*/ 33 h 267"/>
                <a:gd name="T66" fmla="*/ 130 w 437"/>
                <a:gd name="T67" fmla="*/ 49 h 267"/>
                <a:gd name="T68" fmla="*/ 152 w 437"/>
                <a:gd name="T69" fmla="*/ 44 h 267"/>
                <a:gd name="T70" fmla="*/ 215 w 437"/>
                <a:gd name="T71" fmla="*/ 56 h 267"/>
                <a:gd name="T72" fmla="*/ 239 w 437"/>
                <a:gd name="T73" fmla="*/ 49 h 267"/>
                <a:gd name="T74" fmla="*/ 270 w 437"/>
                <a:gd name="T75" fmla="*/ 28 h 267"/>
                <a:gd name="T76" fmla="*/ 329 w 437"/>
                <a:gd name="T77" fmla="*/ 11 h 267"/>
                <a:gd name="T78" fmla="*/ 345 w 437"/>
                <a:gd name="T79" fmla="*/ 11 h 267"/>
                <a:gd name="T80" fmla="*/ 357 w 437"/>
                <a:gd name="T81" fmla="*/ 28 h 267"/>
                <a:gd name="T82" fmla="*/ 366 w 437"/>
                <a:gd name="T83" fmla="*/ 16 h 267"/>
                <a:gd name="T84" fmla="*/ 378 w 437"/>
                <a:gd name="T85" fmla="*/ 28 h 267"/>
                <a:gd name="T86" fmla="*/ 395 w 437"/>
                <a:gd name="T87" fmla="*/ 28 h 267"/>
                <a:gd name="T88" fmla="*/ 400 w 437"/>
                <a:gd name="T89" fmla="*/ 44 h 267"/>
                <a:gd name="T90" fmla="*/ 437 w 437"/>
                <a:gd name="T91" fmla="*/ 49 h 267"/>
                <a:gd name="T92" fmla="*/ 437 w 437"/>
                <a:gd name="T93" fmla="*/ 73 h 267"/>
                <a:gd name="T94" fmla="*/ 411 w 437"/>
                <a:gd name="T95" fmla="*/ 73 h 267"/>
                <a:gd name="T96" fmla="*/ 395 w 437"/>
                <a:gd name="T97" fmla="*/ 99 h 267"/>
                <a:gd name="T98" fmla="*/ 395 w 437"/>
                <a:gd name="T99" fmla="*/ 139 h 267"/>
                <a:gd name="T100" fmla="*/ 378 w 437"/>
                <a:gd name="T101" fmla="*/ 139 h 267"/>
                <a:gd name="T102" fmla="*/ 362 w 437"/>
                <a:gd name="T103" fmla="*/ 160 h 267"/>
                <a:gd name="T104" fmla="*/ 378 w 437"/>
                <a:gd name="T105" fmla="*/ 160 h 267"/>
                <a:gd name="T106" fmla="*/ 400 w 437"/>
                <a:gd name="T107" fmla="*/ 200 h 267"/>
                <a:gd name="T108" fmla="*/ 400 w 437"/>
                <a:gd name="T109" fmla="*/ 200 h 267"/>
                <a:gd name="T110" fmla="*/ 400 w 437"/>
                <a:gd name="T111" fmla="*/ 20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7" h="267">
                  <a:moveTo>
                    <a:pt x="400" y="200"/>
                  </a:moveTo>
                  <a:lnTo>
                    <a:pt x="366" y="210"/>
                  </a:lnTo>
                  <a:lnTo>
                    <a:pt x="345" y="193"/>
                  </a:lnTo>
                  <a:lnTo>
                    <a:pt x="329" y="193"/>
                  </a:lnTo>
                  <a:lnTo>
                    <a:pt x="324" y="200"/>
                  </a:lnTo>
                  <a:lnTo>
                    <a:pt x="303" y="200"/>
                  </a:lnTo>
                  <a:lnTo>
                    <a:pt x="291" y="217"/>
                  </a:lnTo>
                  <a:lnTo>
                    <a:pt x="286" y="217"/>
                  </a:lnTo>
                  <a:lnTo>
                    <a:pt x="286" y="226"/>
                  </a:lnTo>
                  <a:lnTo>
                    <a:pt x="260" y="226"/>
                  </a:lnTo>
                  <a:lnTo>
                    <a:pt x="270" y="238"/>
                  </a:lnTo>
                  <a:lnTo>
                    <a:pt x="270" y="255"/>
                  </a:lnTo>
                  <a:lnTo>
                    <a:pt x="206" y="267"/>
                  </a:lnTo>
                  <a:lnTo>
                    <a:pt x="140" y="238"/>
                  </a:lnTo>
                  <a:lnTo>
                    <a:pt x="92" y="255"/>
                  </a:lnTo>
                  <a:lnTo>
                    <a:pt x="43" y="255"/>
                  </a:lnTo>
                  <a:lnTo>
                    <a:pt x="43" y="217"/>
                  </a:lnTo>
                  <a:lnTo>
                    <a:pt x="38" y="200"/>
                  </a:lnTo>
                  <a:lnTo>
                    <a:pt x="17" y="184"/>
                  </a:lnTo>
                  <a:lnTo>
                    <a:pt x="0" y="165"/>
                  </a:lnTo>
                  <a:lnTo>
                    <a:pt x="17" y="160"/>
                  </a:lnTo>
                  <a:lnTo>
                    <a:pt x="5" y="144"/>
                  </a:lnTo>
                  <a:lnTo>
                    <a:pt x="5" y="127"/>
                  </a:lnTo>
                  <a:lnTo>
                    <a:pt x="33" y="122"/>
                  </a:lnTo>
                  <a:lnTo>
                    <a:pt x="43" y="99"/>
                  </a:lnTo>
                  <a:lnTo>
                    <a:pt x="17" y="73"/>
                  </a:lnTo>
                  <a:lnTo>
                    <a:pt x="0" y="44"/>
                  </a:lnTo>
                  <a:lnTo>
                    <a:pt x="5" y="28"/>
                  </a:lnTo>
                  <a:lnTo>
                    <a:pt x="22" y="0"/>
                  </a:lnTo>
                  <a:lnTo>
                    <a:pt x="43" y="16"/>
                  </a:lnTo>
                  <a:lnTo>
                    <a:pt x="38" y="28"/>
                  </a:lnTo>
                  <a:lnTo>
                    <a:pt x="38" y="44"/>
                  </a:lnTo>
                  <a:lnTo>
                    <a:pt x="76" y="33"/>
                  </a:lnTo>
                  <a:lnTo>
                    <a:pt x="130" y="49"/>
                  </a:lnTo>
                  <a:lnTo>
                    <a:pt x="152" y="44"/>
                  </a:lnTo>
                  <a:lnTo>
                    <a:pt x="215" y="56"/>
                  </a:lnTo>
                  <a:lnTo>
                    <a:pt x="239" y="49"/>
                  </a:lnTo>
                  <a:lnTo>
                    <a:pt x="270" y="28"/>
                  </a:lnTo>
                  <a:lnTo>
                    <a:pt x="329" y="11"/>
                  </a:lnTo>
                  <a:lnTo>
                    <a:pt x="345" y="11"/>
                  </a:lnTo>
                  <a:lnTo>
                    <a:pt x="357" y="28"/>
                  </a:lnTo>
                  <a:lnTo>
                    <a:pt x="366" y="16"/>
                  </a:lnTo>
                  <a:lnTo>
                    <a:pt x="378" y="28"/>
                  </a:lnTo>
                  <a:lnTo>
                    <a:pt x="395" y="28"/>
                  </a:lnTo>
                  <a:lnTo>
                    <a:pt x="400" y="44"/>
                  </a:lnTo>
                  <a:lnTo>
                    <a:pt x="437" y="49"/>
                  </a:lnTo>
                  <a:lnTo>
                    <a:pt x="437" y="73"/>
                  </a:lnTo>
                  <a:lnTo>
                    <a:pt x="411" y="73"/>
                  </a:lnTo>
                  <a:lnTo>
                    <a:pt x="395" y="99"/>
                  </a:lnTo>
                  <a:lnTo>
                    <a:pt x="395" y="139"/>
                  </a:lnTo>
                  <a:lnTo>
                    <a:pt x="378" y="139"/>
                  </a:lnTo>
                  <a:lnTo>
                    <a:pt x="362" y="160"/>
                  </a:lnTo>
                  <a:lnTo>
                    <a:pt x="378" y="160"/>
                  </a:lnTo>
                  <a:lnTo>
                    <a:pt x="400" y="200"/>
                  </a:lnTo>
                  <a:lnTo>
                    <a:pt x="400" y="200"/>
                  </a:lnTo>
                  <a:lnTo>
                    <a:pt x="400" y="200"/>
                  </a:lnTo>
                  <a:close/>
                </a:path>
              </a:pathLst>
            </a:custGeom>
            <a:pattFill prst="lt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19" name="Freeform 406">
              <a:extLst>
                <a:ext uri="{FF2B5EF4-FFF2-40B4-BE49-F238E27FC236}">
                  <a16:creationId xmlns:a16="http://schemas.microsoft.com/office/drawing/2014/main" id="{E5F64073-2B26-4B11-BFF8-DBB35F5E6EF9}"/>
                </a:ext>
              </a:extLst>
            </p:cNvPr>
            <p:cNvSpPr>
              <a:spLocks noEditPoints="1"/>
            </p:cNvSpPr>
            <p:nvPr/>
          </p:nvSpPr>
          <p:spPr bwMode="gray">
            <a:xfrm>
              <a:off x="9734624" y="4425484"/>
              <a:ext cx="46519" cy="35140"/>
            </a:xfrm>
            <a:custGeom>
              <a:avLst/>
              <a:gdLst>
                <a:gd name="T0" fmla="*/ 66 w 94"/>
                <a:gd name="T1" fmla="*/ 5 h 71"/>
                <a:gd name="T2" fmla="*/ 56 w 94"/>
                <a:gd name="T3" fmla="*/ 21 h 71"/>
                <a:gd name="T4" fmla="*/ 56 w 94"/>
                <a:gd name="T5" fmla="*/ 45 h 71"/>
                <a:gd name="T6" fmla="*/ 56 w 94"/>
                <a:gd name="T7" fmla="*/ 62 h 71"/>
                <a:gd name="T8" fmla="*/ 40 w 94"/>
                <a:gd name="T9" fmla="*/ 71 h 71"/>
                <a:gd name="T10" fmla="*/ 11 w 94"/>
                <a:gd name="T11" fmla="*/ 26 h 71"/>
                <a:gd name="T12" fmla="*/ 0 w 94"/>
                <a:gd name="T13" fmla="*/ 26 h 71"/>
                <a:gd name="T14" fmla="*/ 28 w 94"/>
                <a:gd name="T15" fmla="*/ 21 h 71"/>
                <a:gd name="T16" fmla="*/ 61 w 94"/>
                <a:gd name="T17" fmla="*/ 0 h 71"/>
                <a:gd name="T18" fmla="*/ 66 w 94"/>
                <a:gd name="T19" fmla="*/ 0 h 71"/>
                <a:gd name="T20" fmla="*/ 66 w 94"/>
                <a:gd name="T21" fmla="*/ 5 h 71"/>
                <a:gd name="T22" fmla="*/ 66 w 94"/>
                <a:gd name="T23" fmla="*/ 5 h 71"/>
                <a:gd name="T24" fmla="*/ 66 w 94"/>
                <a:gd name="T25" fmla="*/ 5 h 71"/>
                <a:gd name="T26" fmla="*/ 77 w 94"/>
                <a:gd name="T27" fmla="*/ 5 h 71"/>
                <a:gd name="T28" fmla="*/ 94 w 94"/>
                <a:gd name="T29" fmla="*/ 45 h 71"/>
                <a:gd name="T30" fmla="*/ 66 w 94"/>
                <a:gd name="T31" fmla="*/ 45 h 71"/>
                <a:gd name="T32" fmla="*/ 66 w 94"/>
                <a:gd name="T33" fmla="*/ 17 h 71"/>
                <a:gd name="T34" fmla="*/ 77 w 94"/>
                <a:gd name="T35" fmla="*/ 5 h 71"/>
                <a:gd name="T36" fmla="*/ 77 w 94"/>
                <a:gd name="T37" fmla="*/ 5 h 71"/>
                <a:gd name="T38" fmla="*/ 77 w 94"/>
                <a:gd name="T39" fmla="*/ 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71">
                  <a:moveTo>
                    <a:pt x="66" y="5"/>
                  </a:moveTo>
                  <a:lnTo>
                    <a:pt x="56" y="21"/>
                  </a:lnTo>
                  <a:lnTo>
                    <a:pt x="56" y="45"/>
                  </a:lnTo>
                  <a:lnTo>
                    <a:pt x="56" y="62"/>
                  </a:lnTo>
                  <a:lnTo>
                    <a:pt x="40" y="71"/>
                  </a:lnTo>
                  <a:lnTo>
                    <a:pt x="11" y="26"/>
                  </a:lnTo>
                  <a:lnTo>
                    <a:pt x="0" y="26"/>
                  </a:lnTo>
                  <a:lnTo>
                    <a:pt x="28" y="21"/>
                  </a:lnTo>
                  <a:lnTo>
                    <a:pt x="61" y="0"/>
                  </a:lnTo>
                  <a:lnTo>
                    <a:pt x="66" y="0"/>
                  </a:lnTo>
                  <a:lnTo>
                    <a:pt x="66" y="5"/>
                  </a:lnTo>
                  <a:lnTo>
                    <a:pt x="66" y="5"/>
                  </a:lnTo>
                  <a:lnTo>
                    <a:pt x="66" y="5"/>
                  </a:lnTo>
                  <a:close/>
                  <a:moveTo>
                    <a:pt x="77" y="5"/>
                  </a:moveTo>
                  <a:lnTo>
                    <a:pt x="94" y="45"/>
                  </a:lnTo>
                  <a:lnTo>
                    <a:pt x="66" y="45"/>
                  </a:lnTo>
                  <a:lnTo>
                    <a:pt x="66" y="17"/>
                  </a:lnTo>
                  <a:lnTo>
                    <a:pt x="77" y="5"/>
                  </a:lnTo>
                  <a:lnTo>
                    <a:pt x="77" y="5"/>
                  </a:lnTo>
                  <a:lnTo>
                    <a:pt x="77" y="5"/>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20" name="Freeform 407">
              <a:extLst>
                <a:ext uri="{FF2B5EF4-FFF2-40B4-BE49-F238E27FC236}">
                  <a16:creationId xmlns:a16="http://schemas.microsoft.com/office/drawing/2014/main" id="{410D272E-0676-4ED4-A9B2-FABB51FC949B}"/>
                </a:ext>
              </a:extLst>
            </p:cNvPr>
            <p:cNvSpPr>
              <a:spLocks/>
            </p:cNvSpPr>
            <p:nvPr/>
          </p:nvSpPr>
          <p:spPr bwMode="gray">
            <a:xfrm>
              <a:off x="6782684" y="4688788"/>
              <a:ext cx="61859" cy="73745"/>
            </a:xfrm>
            <a:custGeom>
              <a:avLst/>
              <a:gdLst>
                <a:gd name="T0" fmla="*/ 21 w 125"/>
                <a:gd name="T1" fmla="*/ 149 h 149"/>
                <a:gd name="T2" fmla="*/ 21 w 125"/>
                <a:gd name="T3" fmla="*/ 123 h 149"/>
                <a:gd name="T4" fmla="*/ 17 w 125"/>
                <a:gd name="T5" fmla="*/ 111 h 149"/>
                <a:gd name="T6" fmla="*/ 17 w 125"/>
                <a:gd name="T7" fmla="*/ 45 h 149"/>
                <a:gd name="T8" fmla="*/ 0 w 125"/>
                <a:gd name="T9" fmla="*/ 28 h 149"/>
                <a:gd name="T10" fmla="*/ 0 w 125"/>
                <a:gd name="T11" fmla="*/ 28 h 149"/>
                <a:gd name="T12" fmla="*/ 0 w 125"/>
                <a:gd name="T13" fmla="*/ 12 h 149"/>
                <a:gd name="T14" fmla="*/ 5 w 125"/>
                <a:gd name="T15" fmla="*/ 12 h 149"/>
                <a:gd name="T16" fmla="*/ 21 w 125"/>
                <a:gd name="T17" fmla="*/ 21 h 149"/>
                <a:gd name="T18" fmla="*/ 21 w 125"/>
                <a:gd name="T19" fmla="*/ 28 h 149"/>
                <a:gd name="T20" fmla="*/ 54 w 125"/>
                <a:gd name="T21" fmla="*/ 28 h 149"/>
                <a:gd name="T22" fmla="*/ 59 w 125"/>
                <a:gd name="T23" fmla="*/ 0 h 149"/>
                <a:gd name="T24" fmla="*/ 76 w 125"/>
                <a:gd name="T25" fmla="*/ 4 h 149"/>
                <a:gd name="T26" fmla="*/ 92 w 125"/>
                <a:gd name="T27" fmla="*/ 0 h 149"/>
                <a:gd name="T28" fmla="*/ 109 w 125"/>
                <a:gd name="T29" fmla="*/ 0 h 149"/>
                <a:gd name="T30" fmla="*/ 102 w 125"/>
                <a:gd name="T31" fmla="*/ 38 h 149"/>
                <a:gd name="T32" fmla="*/ 102 w 125"/>
                <a:gd name="T33" fmla="*/ 38 h 149"/>
                <a:gd name="T34" fmla="*/ 109 w 125"/>
                <a:gd name="T35" fmla="*/ 38 h 149"/>
                <a:gd name="T36" fmla="*/ 125 w 125"/>
                <a:gd name="T37" fmla="*/ 45 h 149"/>
                <a:gd name="T38" fmla="*/ 125 w 125"/>
                <a:gd name="T39" fmla="*/ 61 h 149"/>
                <a:gd name="T40" fmla="*/ 102 w 125"/>
                <a:gd name="T41" fmla="*/ 82 h 149"/>
                <a:gd name="T42" fmla="*/ 92 w 125"/>
                <a:gd name="T43" fmla="*/ 99 h 149"/>
                <a:gd name="T44" fmla="*/ 92 w 125"/>
                <a:gd name="T45" fmla="*/ 99 h 149"/>
                <a:gd name="T46" fmla="*/ 71 w 125"/>
                <a:gd name="T47" fmla="*/ 132 h 149"/>
                <a:gd name="T48" fmla="*/ 54 w 125"/>
                <a:gd name="T49" fmla="*/ 149 h 149"/>
                <a:gd name="T50" fmla="*/ 21 w 125"/>
                <a:gd name="T51" fmla="*/ 149 h 149"/>
                <a:gd name="T52" fmla="*/ 21 w 125"/>
                <a:gd name="T53" fmla="*/ 149 h 149"/>
                <a:gd name="T54" fmla="*/ 21 w 125"/>
                <a:gd name="T55"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5" h="149">
                  <a:moveTo>
                    <a:pt x="21" y="149"/>
                  </a:moveTo>
                  <a:lnTo>
                    <a:pt x="21" y="123"/>
                  </a:lnTo>
                  <a:lnTo>
                    <a:pt x="17" y="111"/>
                  </a:lnTo>
                  <a:lnTo>
                    <a:pt x="17" y="45"/>
                  </a:lnTo>
                  <a:lnTo>
                    <a:pt x="0" y="28"/>
                  </a:lnTo>
                  <a:lnTo>
                    <a:pt x="0" y="28"/>
                  </a:lnTo>
                  <a:lnTo>
                    <a:pt x="0" y="12"/>
                  </a:lnTo>
                  <a:lnTo>
                    <a:pt x="5" y="12"/>
                  </a:lnTo>
                  <a:lnTo>
                    <a:pt x="21" y="21"/>
                  </a:lnTo>
                  <a:lnTo>
                    <a:pt x="21" y="28"/>
                  </a:lnTo>
                  <a:lnTo>
                    <a:pt x="54" y="28"/>
                  </a:lnTo>
                  <a:lnTo>
                    <a:pt x="59" y="0"/>
                  </a:lnTo>
                  <a:lnTo>
                    <a:pt x="76" y="4"/>
                  </a:lnTo>
                  <a:lnTo>
                    <a:pt x="92" y="0"/>
                  </a:lnTo>
                  <a:lnTo>
                    <a:pt x="109" y="0"/>
                  </a:lnTo>
                  <a:lnTo>
                    <a:pt x="102" y="38"/>
                  </a:lnTo>
                  <a:lnTo>
                    <a:pt x="102" y="38"/>
                  </a:lnTo>
                  <a:lnTo>
                    <a:pt x="109" y="38"/>
                  </a:lnTo>
                  <a:lnTo>
                    <a:pt x="125" y="45"/>
                  </a:lnTo>
                  <a:lnTo>
                    <a:pt x="125" y="61"/>
                  </a:lnTo>
                  <a:lnTo>
                    <a:pt x="102" y="82"/>
                  </a:lnTo>
                  <a:lnTo>
                    <a:pt x="92" y="99"/>
                  </a:lnTo>
                  <a:lnTo>
                    <a:pt x="92" y="99"/>
                  </a:lnTo>
                  <a:lnTo>
                    <a:pt x="71" y="132"/>
                  </a:lnTo>
                  <a:lnTo>
                    <a:pt x="54" y="149"/>
                  </a:lnTo>
                  <a:lnTo>
                    <a:pt x="21" y="149"/>
                  </a:lnTo>
                  <a:lnTo>
                    <a:pt x="21" y="149"/>
                  </a:lnTo>
                  <a:lnTo>
                    <a:pt x="21" y="149"/>
                  </a:lnTo>
                  <a:close/>
                </a:path>
              </a:pathLst>
            </a:custGeom>
            <a:pattFill prst="lt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21" name="Freeform 408">
              <a:extLst>
                <a:ext uri="{FF2B5EF4-FFF2-40B4-BE49-F238E27FC236}">
                  <a16:creationId xmlns:a16="http://schemas.microsoft.com/office/drawing/2014/main" id="{D140665F-08FD-4392-95CC-F302F3ABD84E}"/>
                </a:ext>
              </a:extLst>
            </p:cNvPr>
            <p:cNvSpPr>
              <a:spLocks noEditPoints="1"/>
            </p:cNvSpPr>
            <p:nvPr/>
          </p:nvSpPr>
          <p:spPr bwMode="gray">
            <a:xfrm>
              <a:off x="880287" y="590750"/>
              <a:ext cx="3068731" cy="2434077"/>
            </a:xfrm>
            <a:custGeom>
              <a:avLst/>
              <a:gdLst>
                <a:gd name="T0" fmla="*/ 3990 w 6201"/>
                <a:gd name="T1" fmla="*/ 834 h 4918"/>
                <a:gd name="T2" fmla="*/ 4108 w 6201"/>
                <a:gd name="T3" fmla="*/ 345 h 4918"/>
                <a:gd name="T4" fmla="*/ 4805 w 6201"/>
                <a:gd name="T5" fmla="*/ 74 h 4918"/>
                <a:gd name="T6" fmla="*/ 4465 w 6201"/>
                <a:gd name="T7" fmla="*/ 629 h 4918"/>
                <a:gd name="T8" fmla="*/ 3418 w 6201"/>
                <a:gd name="T9" fmla="*/ 638 h 4918"/>
                <a:gd name="T10" fmla="*/ 3721 w 6201"/>
                <a:gd name="T11" fmla="*/ 711 h 4918"/>
                <a:gd name="T12" fmla="*/ 3239 w 6201"/>
                <a:gd name="T13" fmla="*/ 806 h 4918"/>
                <a:gd name="T14" fmla="*/ 3352 w 6201"/>
                <a:gd name="T15" fmla="*/ 905 h 4918"/>
                <a:gd name="T16" fmla="*/ 3504 w 6201"/>
                <a:gd name="T17" fmla="*/ 978 h 4918"/>
                <a:gd name="T18" fmla="*/ 3440 w 6201"/>
                <a:gd name="T19" fmla="*/ 1292 h 4918"/>
                <a:gd name="T20" fmla="*/ 3078 w 6201"/>
                <a:gd name="T21" fmla="*/ 1044 h 4918"/>
                <a:gd name="T22" fmla="*/ 2327 w 6201"/>
                <a:gd name="T23" fmla="*/ 1292 h 4918"/>
                <a:gd name="T24" fmla="*/ 2899 w 6201"/>
                <a:gd name="T25" fmla="*/ 1222 h 4918"/>
                <a:gd name="T26" fmla="*/ 1276 w 6201"/>
                <a:gd name="T27" fmla="*/ 1160 h 4918"/>
                <a:gd name="T28" fmla="*/ 3062 w 6201"/>
                <a:gd name="T29" fmla="*/ 1366 h 4918"/>
                <a:gd name="T30" fmla="*/ 2948 w 6201"/>
                <a:gd name="T31" fmla="*/ 1486 h 4918"/>
                <a:gd name="T32" fmla="*/ 3910 w 6201"/>
                <a:gd name="T33" fmla="*/ 1992 h 4918"/>
                <a:gd name="T34" fmla="*/ 3990 w 6201"/>
                <a:gd name="T35" fmla="*/ 1526 h 4918"/>
                <a:gd name="T36" fmla="*/ 4729 w 6201"/>
                <a:gd name="T37" fmla="*/ 1826 h 4918"/>
                <a:gd name="T38" fmla="*/ 5138 w 6201"/>
                <a:gd name="T39" fmla="*/ 2119 h 4918"/>
                <a:gd name="T40" fmla="*/ 5490 w 6201"/>
                <a:gd name="T41" fmla="*/ 2374 h 4918"/>
                <a:gd name="T42" fmla="*/ 5183 w 6201"/>
                <a:gd name="T43" fmla="*/ 2452 h 4918"/>
                <a:gd name="T44" fmla="*/ 5145 w 6201"/>
                <a:gd name="T45" fmla="*/ 2847 h 4918"/>
                <a:gd name="T46" fmla="*/ 4611 w 6201"/>
                <a:gd name="T47" fmla="*/ 2613 h 4918"/>
                <a:gd name="T48" fmla="*/ 4460 w 6201"/>
                <a:gd name="T49" fmla="*/ 1515 h 4918"/>
                <a:gd name="T50" fmla="*/ 1928 w 6201"/>
                <a:gd name="T51" fmla="*/ 2115 h 4918"/>
                <a:gd name="T52" fmla="*/ 2301 w 6201"/>
                <a:gd name="T53" fmla="*/ 1737 h 4918"/>
                <a:gd name="T54" fmla="*/ 4318 w 6201"/>
                <a:gd name="T55" fmla="*/ 1682 h 4918"/>
                <a:gd name="T56" fmla="*/ 1226 w 6201"/>
                <a:gd name="T57" fmla="*/ 4222 h 4918"/>
                <a:gd name="T58" fmla="*/ 898 w 6201"/>
                <a:gd name="T59" fmla="*/ 3933 h 4918"/>
                <a:gd name="T60" fmla="*/ 600 w 6201"/>
                <a:gd name="T61" fmla="*/ 2025 h 4918"/>
                <a:gd name="T62" fmla="*/ 1167 w 6201"/>
                <a:gd name="T63" fmla="*/ 2070 h 4918"/>
                <a:gd name="T64" fmla="*/ 2500 w 6201"/>
                <a:gd name="T65" fmla="*/ 2181 h 4918"/>
                <a:gd name="T66" fmla="*/ 3310 w 6201"/>
                <a:gd name="T67" fmla="*/ 2103 h 4918"/>
                <a:gd name="T68" fmla="*/ 3693 w 6201"/>
                <a:gd name="T69" fmla="*/ 2252 h 4918"/>
                <a:gd name="T70" fmla="*/ 3801 w 6201"/>
                <a:gd name="T71" fmla="*/ 2429 h 4918"/>
                <a:gd name="T72" fmla="*/ 3239 w 6201"/>
                <a:gd name="T73" fmla="*/ 3263 h 4918"/>
                <a:gd name="T74" fmla="*/ 4378 w 6201"/>
                <a:gd name="T75" fmla="*/ 3279 h 4918"/>
                <a:gd name="T76" fmla="*/ 5124 w 6201"/>
                <a:gd name="T77" fmla="*/ 3317 h 4918"/>
                <a:gd name="T78" fmla="*/ 5544 w 6201"/>
                <a:gd name="T79" fmla="*/ 3506 h 4918"/>
                <a:gd name="T80" fmla="*/ 5939 w 6201"/>
                <a:gd name="T81" fmla="*/ 3832 h 4918"/>
                <a:gd name="T82" fmla="*/ 5544 w 6201"/>
                <a:gd name="T83" fmla="*/ 4552 h 4918"/>
                <a:gd name="T84" fmla="*/ 4772 w 6201"/>
                <a:gd name="T85" fmla="*/ 1781 h 4918"/>
                <a:gd name="T86" fmla="*/ 3019 w 6201"/>
                <a:gd name="T87" fmla="*/ 2065 h 4918"/>
                <a:gd name="T88" fmla="*/ 378 w 6201"/>
                <a:gd name="T89" fmla="*/ 2119 h 4918"/>
                <a:gd name="T90" fmla="*/ 3563 w 6201"/>
                <a:gd name="T91" fmla="*/ 2115 h 4918"/>
                <a:gd name="T92" fmla="*/ 2861 w 6201"/>
                <a:gd name="T93" fmla="*/ 2209 h 4918"/>
                <a:gd name="T94" fmla="*/ 2306 w 6201"/>
                <a:gd name="T95" fmla="*/ 2308 h 4918"/>
                <a:gd name="T96" fmla="*/ 4016 w 6201"/>
                <a:gd name="T97" fmla="*/ 2502 h 4918"/>
                <a:gd name="T98" fmla="*/ 5523 w 6201"/>
                <a:gd name="T99" fmla="*/ 2523 h 4918"/>
                <a:gd name="T100" fmla="*/ 4422 w 6201"/>
                <a:gd name="T101" fmla="*/ 2724 h 4918"/>
                <a:gd name="T102" fmla="*/ 4125 w 6201"/>
                <a:gd name="T103" fmla="*/ 2840 h 4918"/>
                <a:gd name="T104" fmla="*/ 5365 w 6201"/>
                <a:gd name="T105" fmla="*/ 3135 h 4918"/>
                <a:gd name="T106" fmla="*/ 4285 w 6201"/>
                <a:gd name="T107" fmla="*/ 3499 h 4918"/>
                <a:gd name="T108" fmla="*/ 763 w 6201"/>
                <a:gd name="T109" fmla="*/ 3683 h 4918"/>
                <a:gd name="T110" fmla="*/ 832 w 6201"/>
                <a:gd name="T111" fmla="*/ 3848 h 4918"/>
                <a:gd name="T112" fmla="*/ 811 w 6201"/>
                <a:gd name="T113" fmla="*/ 3860 h 4918"/>
                <a:gd name="T114" fmla="*/ 903 w 6201"/>
                <a:gd name="T115" fmla="*/ 3966 h 4918"/>
                <a:gd name="T116" fmla="*/ 5970 w 6201"/>
                <a:gd name="T117" fmla="*/ 4387 h 4918"/>
                <a:gd name="T118" fmla="*/ 6116 w 6201"/>
                <a:gd name="T119" fmla="*/ 4316 h 4918"/>
                <a:gd name="T120" fmla="*/ 1016 w 6201"/>
                <a:gd name="T121" fmla="*/ 4111 h 4918"/>
                <a:gd name="T122" fmla="*/ 6041 w 6201"/>
                <a:gd name="T123" fmla="*/ 4210 h 4918"/>
                <a:gd name="T124" fmla="*/ 5377 w 6201"/>
                <a:gd name="T125" fmla="*/ 4481 h 4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01" h="4918">
                  <a:moveTo>
                    <a:pt x="4389" y="1099"/>
                  </a:moveTo>
                  <a:lnTo>
                    <a:pt x="4368" y="1082"/>
                  </a:lnTo>
                  <a:lnTo>
                    <a:pt x="4323" y="1122"/>
                  </a:lnTo>
                  <a:lnTo>
                    <a:pt x="4205" y="1144"/>
                  </a:lnTo>
                  <a:lnTo>
                    <a:pt x="4205" y="1139"/>
                  </a:lnTo>
                  <a:lnTo>
                    <a:pt x="4226" y="1106"/>
                  </a:lnTo>
                  <a:lnTo>
                    <a:pt x="4189" y="1087"/>
                  </a:lnTo>
                  <a:lnTo>
                    <a:pt x="4172" y="1099"/>
                  </a:lnTo>
                  <a:lnTo>
                    <a:pt x="4134" y="1087"/>
                  </a:lnTo>
                  <a:lnTo>
                    <a:pt x="4141" y="1082"/>
                  </a:lnTo>
                  <a:lnTo>
                    <a:pt x="4134" y="1070"/>
                  </a:lnTo>
                  <a:lnTo>
                    <a:pt x="4158" y="1066"/>
                  </a:lnTo>
                  <a:lnTo>
                    <a:pt x="4120" y="1070"/>
                  </a:lnTo>
                  <a:lnTo>
                    <a:pt x="4087" y="1044"/>
                  </a:lnTo>
                  <a:lnTo>
                    <a:pt x="4104" y="1070"/>
                  </a:lnTo>
                  <a:lnTo>
                    <a:pt x="4134" y="1082"/>
                  </a:lnTo>
                  <a:lnTo>
                    <a:pt x="4120" y="1087"/>
                  </a:lnTo>
                  <a:lnTo>
                    <a:pt x="4125" y="1099"/>
                  </a:lnTo>
                  <a:lnTo>
                    <a:pt x="4066" y="1106"/>
                  </a:lnTo>
                  <a:lnTo>
                    <a:pt x="4044" y="1049"/>
                  </a:lnTo>
                  <a:lnTo>
                    <a:pt x="4033" y="1066"/>
                  </a:lnTo>
                  <a:lnTo>
                    <a:pt x="4049" y="1082"/>
                  </a:lnTo>
                  <a:lnTo>
                    <a:pt x="4054" y="1106"/>
                  </a:lnTo>
                  <a:lnTo>
                    <a:pt x="4016" y="1106"/>
                  </a:lnTo>
                  <a:lnTo>
                    <a:pt x="3978" y="1066"/>
                  </a:lnTo>
                  <a:lnTo>
                    <a:pt x="3990" y="1070"/>
                  </a:lnTo>
                  <a:lnTo>
                    <a:pt x="3978" y="1087"/>
                  </a:lnTo>
                  <a:lnTo>
                    <a:pt x="3990" y="1099"/>
                  </a:lnTo>
                  <a:lnTo>
                    <a:pt x="3957" y="1106"/>
                  </a:lnTo>
                  <a:lnTo>
                    <a:pt x="3924" y="1082"/>
                  </a:lnTo>
                  <a:lnTo>
                    <a:pt x="3936" y="1106"/>
                  </a:lnTo>
                  <a:lnTo>
                    <a:pt x="3974" y="1122"/>
                  </a:lnTo>
                  <a:lnTo>
                    <a:pt x="3936" y="1122"/>
                  </a:lnTo>
                  <a:lnTo>
                    <a:pt x="3834" y="1111"/>
                  </a:lnTo>
                  <a:lnTo>
                    <a:pt x="3827" y="1099"/>
                  </a:lnTo>
                  <a:lnTo>
                    <a:pt x="3839" y="1087"/>
                  </a:lnTo>
                  <a:lnTo>
                    <a:pt x="3818" y="1070"/>
                  </a:lnTo>
                  <a:lnTo>
                    <a:pt x="3834" y="1087"/>
                  </a:lnTo>
                  <a:lnTo>
                    <a:pt x="3811" y="1099"/>
                  </a:lnTo>
                  <a:lnTo>
                    <a:pt x="3811" y="1111"/>
                  </a:lnTo>
                  <a:lnTo>
                    <a:pt x="3759" y="1099"/>
                  </a:lnTo>
                  <a:lnTo>
                    <a:pt x="3747" y="1070"/>
                  </a:lnTo>
                  <a:lnTo>
                    <a:pt x="3747" y="1099"/>
                  </a:lnTo>
                  <a:lnTo>
                    <a:pt x="3759" y="1111"/>
                  </a:lnTo>
                  <a:lnTo>
                    <a:pt x="3688" y="1106"/>
                  </a:lnTo>
                  <a:lnTo>
                    <a:pt x="3693" y="1087"/>
                  </a:lnTo>
                  <a:lnTo>
                    <a:pt x="3676" y="1070"/>
                  </a:lnTo>
                  <a:lnTo>
                    <a:pt x="3688" y="1044"/>
                  </a:lnTo>
                  <a:lnTo>
                    <a:pt x="3671" y="1054"/>
                  </a:lnTo>
                  <a:lnTo>
                    <a:pt x="3676" y="1082"/>
                  </a:lnTo>
                  <a:lnTo>
                    <a:pt x="3671" y="1106"/>
                  </a:lnTo>
                  <a:lnTo>
                    <a:pt x="3671" y="1082"/>
                  </a:lnTo>
                  <a:lnTo>
                    <a:pt x="3655" y="1106"/>
                  </a:lnTo>
                  <a:lnTo>
                    <a:pt x="3600" y="1082"/>
                  </a:lnTo>
                  <a:lnTo>
                    <a:pt x="3617" y="1066"/>
                  </a:lnTo>
                  <a:lnTo>
                    <a:pt x="3612" y="1044"/>
                  </a:lnTo>
                  <a:lnTo>
                    <a:pt x="3688" y="1000"/>
                  </a:lnTo>
                  <a:lnTo>
                    <a:pt x="3676" y="1000"/>
                  </a:lnTo>
                  <a:lnTo>
                    <a:pt x="3801" y="988"/>
                  </a:lnTo>
                  <a:lnTo>
                    <a:pt x="3773" y="988"/>
                  </a:lnTo>
                  <a:lnTo>
                    <a:pt x="3796" y="978"/>
                  </a:lnTo>
                  <a:lnTo>
                    <a:pt x="3773" y="971"/>
                  </a:lnTo>
                  <a:lnTo>
                    <a:pt x="3796" y="962"/>
                  </a:lnTo>
                  <a:lnTo>
                    <a:pt x="3742" y="962"/>
                  </a:lnTo>
                  <a:lnTo>
                    <a:pt x="3730" y="955"/>
                  </a:lnTo>
                  <a:lnTo>
                    <a:pt x="3742" y="943"/>
                  </a:lnTo>
                  <a:lnTo>
                    <a:pt x="3742" y="933"/>
                  </a:lnTo>
                  <a:lnTo>
                    <a:pt x="3704" y="917"/>
                  </a:lnTo>
                  <a:lnTo>
                    <a:pt x="3709" y="889"/>
                  </a:lnTo>
                  <a:lnTo>
                    <a:pt x="3773" y="884"/>
                  </a:lnTo>
                  <a:lnTo>
                    <a:pt x="3827" y="889"/>
                  </a:lnTo>
                  <a:lnTo>
                    <a:pt x="3855" y="905"/>
                  </a:lnTo>
                  <a:lnTo>
                    <a:pt x="3881" y="943"/>
                  </a:lnTo>
                  <a:lnTo>
                    <a:pt x="3872" y="955"/>
                  </a:lnTo>
                  <a:lnTo>
                    <a:pt x="3886" y="943"/>
                  </a:lnTo>
                  <a:lnTo>
                    <a:pt x="3962" y="971"/>
                  </a:lnTo>
                  <a:lnTo>
                    <a:pt x="3957" y="955"/>
                  </a:lnTo>
                  <a:lnTo>
                    <a:pt x="4033" y="962"/>
                  </a:lnTo>
                  <a:lnTo>
                    <a:pt x="4011" y="943"/>
                  </a:lnTo>
                  <a:lnTo>
                    <a:pt x="4049" y="933"/>
                  </a:lnTo>
                  <a:lnTo>
                    <a:pt x="4104" y="877"/>
                  </a:lnTo>
                  <a:lnTo>
                    <a:pt x="4096" y="860"/>
                  </a:lnTo>
                  <a:lnTo>
                    <a:pt x="4120" y="851"/>
                  </a:lnTo>
                  <a:lnTo>
                    <a:pt x="4082" y="860"/>
                  </a:lnTo>
                  <a:lnTo>
                    <a:pt x="4087" y="877"/>
                  </a:lnTo>
                  <a:lnTo>
                    <a:pt x="4044" y="922"/>
                  </a:lnTo>
                  <a:lnTo>
                    <a:pt x="4000" y="938"/>
                  </a:lnTo>
                  <a:lnTo>
                    <a:pt x="3941" y="938"/>
                  </a:lnTo>
                  <a:lnTo>
                    <a:pt x="3936" y="933"/>
                  </a:lnTo>
                  <a:lnTo>
                    <a:pt x="3962" y="905"/>
                  </a:lnTo>
                  <a:lnTo>
                    <a:pt x="3936" y="922"/>
                  </a:lnTo>
                  <a:lnTo>
                    <a:pt x="3903" y="905"/>
                  </a:lnTo>
                  <a:lnTo>
                    <a:pt x="3924" y="889"/>
                  </a:lnTo>
                  <a:lnTo>
                    <a:pt x="3903" y="889"/>
                  </a:lnTo>
                  <a:lnTo>
                    <a:pt x="3974" y="884"/>
                  </a:lnTo>
                  <a:lnTo>
                    <a:pt x="3893" y="884"/>
                  </a:lnTo>
                  <a:lnTo>
                    <a:pt x="3881" y="877"/>
                  </a:lnTo>
                  <a:lnTo>
                    <a:pt x="3924" y="851"/>
                  </a:lnTo>
                  <a:lnTo>
                    <a:pt x="3978" y="851"/>
                  </a:lnTo>
                  <a:lnTo>
                    <a:pt x="3919" y="851"/>
                  </a:lnTo>
                  <a:lnTo>
                    <a:pt x="3924" y="834"/>
                  </a:lnTo>
                  <a:lnTo>
                    <a:pt x="3990" y="834"/>
                  </a:lnTo>
                  <a:lnTo>
                    <a:pt x="3936" y="827"/>
                  </a:lnTo>
                  <a:lnTo>
                    <a:pt x="3941" y="811"/>
                  </a:lnTo>
                  <a:lnTo>
                    <a:pt x="3957" y="811"/>
                  </a:lnTo>
                  <a:lnTo>
                    <a:pt x="3936" y="806"/>
                  </a:lnTo>
                  <a:lnTo>
                    <a:pt x="3957" y="773"/>
                  </a:lnTo>
                  <a:lnTo>
                    <a:pt x="3924" y="794"/>
                  </a:lnTo>
                  <a:lnTo>
                    <a:pt x="3936" y="811"/>
                  </a:lnTo>
                  <a:lnTo>
                    <a:pt x="3893" y="844"/>
                  </a:lnTo>
                  <a:lnTo>
                    <a:pt x="3839" y="851"/>
                  </a:lnTo>
                  <a:lnTo>
                    <a:pt x="3839" y="834"/>
                  </a:lnTo>
                  <a:lnTo>
                    <a:pt x="3865" y="827"/>
                  </a:lnTo>
                  <a:lnTo>
                    <a:pt x="3872" y="806"/>
                  </a:lnTo>
                  <a:lnTo>
                    <a:pt x="3848" y="827"/>
                  </a:lnTo>
                  <a:lnTo>
                    <a:pt x="3801" y="844"/>
                  </a:lnTo>
                  <a:lnTo>
                    <a:pt x="3747" y="844"/>
                  </a:lnTo>
                  <a:lnTo>
                    <a:pt x="3780" y="827"/>
                  </a:lnTo>
                  <a:lnTo>
                    <a:pt x="3747" y="827"/>
                  </a:lnTo>
                  <a:lnTo>
                    <a:pt x="3747" y="794"/>
                  </a:lnTo>
                  <a:lnTo>
                    <a:pt x="3780" y="778"/>
                  </a:lnTo>
                  <a:lnTo>
                    <a:pt x="3796" y="778"/>
                  </a:lnTo>
                  <a:lnTo>
                    <a:pt x="3780" y="773"/>
                  </a:lnTo>
                  <a:lnTo>
                    <a:pt x="3796" y="749"/>
                  </a:lnTo>
                  <a:lnTo>
                    <a:pt x="3924" y="716"/>
                  </a:lnTo>
                  <a:lnTo>
                    <a:pt x="4016" y="733"/>
                  </a:lnTo>
                  <a:lnTo>
                    <a:pt x="4108" y="773"/>
                  </a:lnTo>
                  <a:lnTo>
                    <a:pt x="4120" y="773"/>
                  </a:lnTo>
                  <a:lnTo>
                    <a:pt x="4096" y="756"/>
                  </a:lnTo>
                  <a:lnTo>
                    <a:pt x="4125" y="749"/>
                  </a:lnTo>
                  <a:lnTo>
                    <a:pt x="4082" y="749"/>
                  </a:lnTo>
                  <a:lnTo>
                    <a:pt x="4049" y="733"/>
                  </a:lnTo>
                  <a:lnTo>
                    <a:pt x="4158" y="733"/>
                  </a:lnTo>
                  <a:lnTo>
                    <a:pt x="4158" y="711"/>
                  </a:lnTo>
                  <a:lnTo>
                    <a:pt x="4172" y="700"/>
                  </a:lnTo>
                  <a:lnTo>
                    <a:pt x="4104" y="723"/>
                  </a:lnTo>
                  <a:lnTo>
                    <a:pt x="3945" y="700"/>
                  </a:lnTo>
                  <a:lnTo>
                    <a:pt x="3941" y="695"/>
                  </a:lnTo>
                  <a:lnTo>
                    <a:pt x="3962" y="683"/>
                  </a:lnTo>
                  <a:lnTo>
                    <a:pt x="4000" y="700"/>
                  </a:lnTo>
                  <a:lnTo>
                    <a:pt x="4044" y="700"/>
                  </a:lnTo>
                  <a:lnTo>
                    <a:pt x="3995" y="678"/>
                  </a:lnTo>
                  <a:lnTo>
                    <a:pt x="4000" y="667"/>
                  </a:lnTo>
                  <a:lnTo>
                    <a:pt x="3974" y="678"/>
                  </a:lnTo>
                  <a:lnTo>
                    <a:pt x="3962" y="638"/>
                  </a:lnTo>
                  <a:lnTo>
                    <a:pt x="3936" y="629"/>
                  </a:lnTo>
                  <a:lnTo>
                    <a:pt x="3924" y="605"/>
                  </a:lnTo>
                  <a:lnTo>
                    <a:pt x="3827" y="584"/>
                  </a:lnTo>
                  <a:lnTo>
                    <a:pt x="3827" y="556"/>
                  </a:lnTo>
                  <a:lnTo>
                    <a:pt x="3834" y="551"/>
                  </a:lnTo>
                  <a:lnTo>
                    <a:pt x="3910" y="556"/>
                  </a:lnTo>
                  <a:lnTo>
                    <a:pt x="3827" y="544"/>
                  </a:lnTo>
                  <a:lnTo>
                    <a:pt x="3811" y="527"/>
                  </a:lnTo>
                  <a:lnTo>
                    <a:pt x="3818" y="494"/>
                  </a:lnTo>
                  <a:lnTo>
                    <a:pt x="4011" y="501"/>
                  </a:lnTo>
                  <a:lnTo>
                    <a:pt x="4125" y="567"/>
                  </a:lnTo>
                  <a:lnTo>
                    <a:pt x="4141" y="589"/>
                  </a:lnTo>
                  <a:lnTo>
                    <a:pt x="4163" y="605"/>
                  </a:lnTo>
                  <a:lnTo>
                    <a:pt x="4151" y="605"/>
                  </a:lnTo>
                  <a:lnTo>
                    <a:pt x="4158" y="612"/>
                  </a:lnTo>
                  <a:lnTo>
                    <a:pt x="4179" y="605"/>
                  </a:lnTo>
                  <a:lnTo>
                    <a:pt x="4233" y="612"/>
                  </a:lnTo>
                  <a:lnTo>
                    <a:pt x="4285" y="600"/>
                  </a:lnTo>
                  <a:lnTo>
                    <a:pt x="4297" y="589"/>
                  </a:lnTo>
                  <a:lnTo>
                    <a:pt x="4217" y="600"/>
                  </a:lnTo>
                  <a:lnTo>
                    <a:pt x="4172" y="589"/>
                  </a:lnTo>
                  <a:lnTo>
                    <a:pt x="4163" y="556"/>
                  </a:lnTo>
                  <a:lnTo>
                    <a:pt x="4179" y="551"/>
                  </a:lnTo>
                  <a:lnTo>
                    <a:pt x="4125" y="544"/>
                  </a:lnTo>
                  <a:lnTo>
                    <a:pt x="4054" y="494"/>
                  </a:lnTo>
                  <a:lnTo>
                    <a:pt x="4264" y="456"/>
                  </a:lnTo>
                  <a:lnTo>
                    <a:pt x="4422" y="444"/>
                  </a:lnTo>
                  <a:lnTo>
                    <a:pt x="4281" y="440"/>
                  </a:lnTo>
                  <a:lnTo>
                    <a:pt x="4378" y="416"/>
                  </a:lnTo>
                  <a:lnTo>
                    <a:pt x="4529" y="400"/>
                  </a:lnTo>
                  <a:lnTo>
                    <a:pt x="4352" y="400"/>
                  </a:lnTo>
                  <a:lnTo>
                    <a:pt x="4352" y="378"/>
                  </a:lnTo>
                  <a:lnTo>
                    <a:pt x="4389" y="350"/>
                  </a:lnTo>
                  <a:lnTo>
                    <a:pt x="4503" y="307"/>
                  </a:lnTo>
                  <a:lnTo>
                    <a:pt x="4406" y="329"/>
                  </a:lnTo>
                  <a:lnTo>
                    <a:pt x="4356" y="362"/>
                  </a:lnTo>
                  <a:lnTo>
                    <a:pt x="4314" y="345"/>
                  </a:lnTo>
                  <a:lnTo>
                    <a:pt x="4340" y="362"/>
                  </a:lnTo>
                  <a:lnTo>
                    <a:pt x="4323" y="378"/>
                  </a:lnTo>
                  <a:lnTo>
                    <a:pt x="4335" y="383"/>
                  </a:lnTo>
                  <a:lnTo>
                    <a:pt x="4302" y="407"/>
                  </a:lnTo>
                  <a:lnTo>
                    <a:pt x="4210" y="435"/>
                  </a:lnTo>
                  <a:lnTo>
                    <a:pt x="4066" y="456"/>
                  </a:lnTo>
                  <a:lnTo>
                    <a:pt x="4054" y="444"/>
                  </a:lnTo>
                  <a:lnTo>
                    <a:pt x="4158" y="407"/>
                  </a:lnTo>
                  <a:lnTo>
                    <a:pt x="4044" y="435"/>
                  </a:lnTo>
                  <a:lnTo>
                    <a:pt x="4028" y="423"/>
                  </a:lnTo>
                  <a:lnTo>
                    <a:pt x="4054" y="407"/>
                  </a:lnTo>
                  <a:lnTo>
                    <a:pt x="4049" y="407"/>
                  </a:lnTo>
                  <a:lnTo>
                    <a:pt x="4011" y="416"/>
                  </a:lnTo>
                  <a:lnTo>
                    <a:pt x="4016" y="440"/>
                  </a:lnTo>
                  <a:lnTo>
                    <a:pt x="4011" y="456"/>
                  </a:lnTo>
                  <a:lnTo>
                    <a:pt x="3924" y="461"/>
                  </a:lnTo>
                  <a:lnTo>
                    <a:pt x="3865" y="456"/>
                  </a:lnTo>
                  <a:lnTo>
                    <a:pt x="3886" y="440"/>
                  </a:lnTo>
                  <a:lnTo>
                    <a:pt x="3848" y="456"/>
                  </a:lnTo>
                  <a:lnTo>
                    <a:pt x="3801" y="444"/>
                  </a:lnTo>
                  <a:lnTo>
                    <a:pt x="3886" y="383"/>
                  </a:lnTo>
                  <a:lnTo>
                    <a:pt x="4108" y="345"/>
                  </a:lnTo>
                  <a:lnTo>
                    <a:pt x="3881" y="367"/>
                  </a:lnTo>
                  <a:lnTo>
                    <a:pt x="3834" y="390"/>
                  </a:lnTo>
                  <a:lnTo>
                    <a:pt x="3773" y="440"/>
                  </a:lnTo>
                  <a:lnTo>
                    <a:pt x="3747" y="440"/>
                  </a:lnTo>
                  <a:lnTo>
                    <a:pt x="3617" y="390"/>
                  </a:lnTo>
                  <a:lnTo>
                    <a:pt x="3811" y="378"/>
                  </a:lnTo>
                  <a:lnTo>
                    <a:pt x="3945" y="329"/>
                  </a:lnTo>
                  <a:lnTo>
                    <a:pt x="3763" y="362"/>
                  </a:lnTo>
                  <a:lnTo>
                    <a:pt x="3584" y="378"/>
                  </a:lnTo>
                  <a:lnTo>
                    <a:pt x="3558" y="350"/>
                  </a:lnTo>
                  <a:lnTo>
                    <a:pt x="3579" y="333"/>
                  </a:lnTo>
                  <a:lnTo>
                    <a:pt x="3650" y="333"/>
                  </a:lnTo>
                  <a:lnTo>
                    <a:pt x="3579" y="324"/>
                  </a:lnTo>
                  <a:lnTo>
                    <a:pt x="3655" y="291"/>
                  </a:lnTo>
                  <a:lnTo>
                    <a:pt x="3773" y="296"/>
                  </a:lnTo>
                  <a:lnTo>
                    <a:pt x="3693" y="279"/>
                  </a:lnTo>
                  <a:lnTo>
                    <a:pt x="3546" y="312"/>
                  </a:lnTo>
                  <a:lnTo>
                    <a:pt x="3515" y="307"/>
                  </a:lnTo>
                  <a:lnTo>
                    <a:pt x="3612" y="272"/>
                  </a:lnTo>
                  <a:lnTo>
                    <a:pt x="3558" y="256"/>
                  </a:lnTo>
                  <a:lnTo>
                    <a:pt x="3478" y="291"/>
                  </a:lnTo>
                  <a:lnTo>
                    <a:pt x="3478" y="279"/>
                  </a:lnTo>
                  <a:lnTo>
                    <a:pt x="3440" y="267"/>
                  </a:lnTo>
                  <a:lnTo>
                    <a:pt x="3546" y="222"/>
                  </a:lnTo>
                  <a:lnTo>
                    <a:pt x="3600" y="218"/>
                  </a:lnTo>
                  <a:lnTo>
                    <a:pt x="3622" y="239"/>
                  </a:lnTo>
                  <a:lnTo>
                    <a:pt x="3633" y="222"/>
                  </a:lnTo>
                  <a:lnTo>
                    <a:pt x="3617" y="218"/>
                  </a:lnTo>
                  <a:lnTo>
                    <a:pt x="3650" y="218"/>
                  </a:lnTo>
                  <a:lnTo>
                    <a:pt x="3638" y="213"/>
                  </a:lnTo>
                  <a:lnTo>
                    <a:pt x="3709" y="185"/>
                  </a:lnTo>
                  <a:lnTo>
                    <a:pt x="3763" y="196"/>
                  </a:lnTo>
                  <a:lnTo>
                    <a:pt x="3773" y="201"/>
                  </a:lnTo>
                  <a:lnTo>
                    <a:pt x="3763" y="213"/>
                  </a:lnTo>
                  <a:lnTo>
                    <a:pt x="3801" y="222"/>
                  </a:lnTo>
                  <a:lnTo>
                    <a:pt x="3780" y="213"/>
                  </a:lnTo>
                  <a:lnTo>
                    <a:pt x="3796" y="196"/>
                  </a:lnTo>
                  <a:lnTo>
                    <a:pt x="3834" y="196"/>
                  </a:lnTo>
                  <a:lnTo>
                    <a:pt x="3893" y="234"/>
                  </a:lnTo>
                  <a:lnTo>
                    <a:pt x="3881" y="213"/>
                  </a:lnTo>
                  <a:lnTo>
                    <a:pt x="3919" y="213"/>
                  </a:lnTo>
                  <a:lnTo>
                    <a:pt x="3941" y="222"/>
                  </a:lnTo>
                  <a:lnTo>
                    <a:pt x="3924" y="213"/>
                  </a:lnTo>
                  <a:lnTo>
                    <a:pt x="3936" y="213"/>
                  </a:lnTo>
                  <a:lnTo>
                    <a:pt x="3957" y="222"/>
                  </a:lnTo>
                  <a:lnTo>
                    <a:pt x="3936" y="201"/>
                  </a:lnTo>
                  <a:lnTo>
                    <a:pt x="3811" y="185"/>
                  </a:lnTo>
                  <a:lnTo>
                    <a:pt x="3796" y="168"/>
                  </a:lnTo>
                  <a:lnTo>
                    <a:pt x="3903" y="156"/>
                  </a:lnTo>
                  <a:lnTo>
                    <a:pt x="3893" y="140"/>
                  </a:lnTo>
                  <a:lnTo>
                    <a:pt x="3865" y="128"/>
                  </a:lnTo>
                  <a:lnTo>
                    <a:pt x="3924" y="123"/>
                  </a:lnTo>
                  <a:lnTo>
                    <a:pt x="4033" y="144"/>
                  </a:lnTo>
                  <a:lnTo>
                    <a:pt x="4070" y="185"/>
                  </a:lnTo>
                  <a:lnTo>
                    <a:pt x="4054" y="196"/>
                  </a:lnTo>
                  <a:lnTo>
                    <a:pt x="4151" y="201"/>
                  </a:lnTo>
                  <a:lnTo>
                    <a:pt x="4096" y="185"/>
                  </a:lnTo>
                  <a:lnTo>
                    <a:pt x="4066" y="163"/>
                  </a:lnTo>
                  <a:lnTo>
                    <a:pt x="4096" y="156"/>
                  </a:lnTo>
                  <a:lnTo>
                    <a:pt x="4335" y="234"/>
                  </a:lnTo>
                  <a:lnTo>
                    <a:pt x="4285" y="201"/>
                  </a:lnTo>
                  <a:lnTo>
                    <a:pt x="4226" y="196"/>
                  </a:lnTo>
                  <a:lnTo>
                    <a:pt x="4210" y="185"/>
                  </a:lnTo>
                  <a:lnTo>
                    <a:pt x="4217" y="180"/>
                  </a:lnTo>
                  <a:lnTo>
                    <a:pt x="4151" y="163"/>
                  </a:lnTo>
                  <a:lnTo>
                    <a:pt x="4087" y="140"/>
                  </a:lnTo>
                  <a:lnTo>
                    <a:pt x="4104" y="111"/>
                  </a:lnTo>
                  <a:lnTo>
                    <a:pt x="4172" y="111"/>
                  </a:lnTo>
                  <a:lnTo>
                    <a:pt x="4108" y="95"/>
                  </a:lnTo>
                  <a:lnTo>
                    <a:pt x="4125" y="90"/>
                  </a:lnTo>
                  <a:lnTo>
                    <a:pt x="4233" y="107"/>
                  </a:lnTo>
                  <a:lnTo>
                    <a:pt x="4163" y="69"/>
                  </a:lnTo>
                  <a:lnTo>
                    <a:pt x="4172" y="57"/>
                  </a:lnTo>
                  <a:lnTo>
                    <a:pt x="4248" y="69"/>
                  </a:lnTo>
                  <a:lnTo>
                    <a:pt x="4285" y="90"/>
                  </a:lnTo>
                  <a:lnTo>
                    <a:pt x="4297" y="90"/>
                  </a:lnTo>
                  <a:lnTo>
                    <a:pt x="4281" y="85"/>
                  </a:lnTo>
                  <a:lnTo>
                    <a:pt x="4378" y="85"/>
                  </a:lnTo>
                  <a:lnTo>
                    <a:pt x="4285" y="74"/>
                  </a:lnTo>
                  <a:lnTo>
                    <a:pt x="4281" y="69"/>
                  </a:lnTo>
                  <a:lnTo>
                    <a:pt x="4302" y="57"/>
                  </a:lnTo>
                  <a:lnTo>
                    <a:pt x="4248" y="52"/>
                  </a:lnTo>
                  <a:lnTo>
                    <a:pt x="4285" y="36"/>
                  </a:lnTo>
                  <a:lnTo>
                    <a:pt x="4318" y="36"/>
                  </a:lnTo>
                  <a:lnTo>
                    <a:pt x="4340" y="52"/>
                  </a:lnTo>
                  <a:lnTo>
                    <a:pt x="4373" y="36"/>
                  </a:lnTo>
                  <a:lnTo>
                    <a:pt x="4378" y="41"/>
                  </a:lnTo>
                  <a:lnTo>
                    <a:pt x="4378" y="57"/>
                  </a:lnTo>
                  <a:lnTo>
                    <a:pt x="4411" y="57"/>
                  </a:lnTo>
                  <a:lnTo>
                    <a:pt x="4406" y="52"/>
                  </a:lnTo>
                  <a:lnTo>
                    <a:pt x="4432" y="41"/>
                  </a:lnTo>
                  <a:lnTo>
                    <a:pt x="4567" y="95"/>
                  </a:lnTo>
                  <a:lnTo>
                    <a:pt x="4541" y="128"/>
                  </a:lnTo>
                  <a:lnTo>
                    <a:pt x="4604" y="95"/>
                  </a:lnTo>
                  <a:lnTo>
                    <a:pt x="4536" y="74"/>
                  </a:lnTo>
                  <a:lnTo>
                    <a:pt x="4557" y="69"/>
                  </a:lnTo>
                  <a:lnTo>
                    <a:pt x="4460" y="29"/>
                  </a:lnTo>
                  <a:lnTo>
                    <a:pt x="4474" y="17"/>
                  </a:lnTo>
                  <a:lnTo>
                    <a:pt x="4663" y="17"/>
                  </a:lnTo>
                  <a:lnTo>
                    <a:pt x="4713" y="52"/>
                  </a:lnTo>
                  <a:lnTo>
                    <a:pt x="4798" y="85"/>
                  </a:lnTo>
                  <a:lnTo>
                    <a:pt x="4805" y="74"/>
                  </a:lnTo>
                  <a:lnTo>
                    <a:pt x="4718" y="41"/>
                  </a:lnTo>
                  <a:lnTo>
                    <a:pt x="4798" y="12"/>
                  </a:lnTo>
                  <a:lnTo>
                    <a:pt x="4859" y="12"/>
                  </a:lnTo>
                  <a:lnTo>
                    <a:pt x="4864" y="12"/>
                  </a:lnTo>
                  <a:lnTo>
                    <a:pt x="4852" y="29"/>
                  </a:lnTo>
                  <a:lnTo>
                    <a:pt x="4918" y="52"/>
                  </a:lnTo>
                  <a:lnTo>
                    <a:pt x="4874" y="29"/>
                  </a:lnTo>
                  <a:lnTo>
                    <a:pt x="4961" y="0"/>
                  </a:lnTo>
                  <a:lnTo>
                    <a:pt x="5020" y="17"/>
                  </a:lnTo>
                  <a:lnTo>
                    <a:pt x="5015" y="29"/>
                  </a:lnTo>
                  <a:lnTo>
                    <a:pt x="5053" y="17"/>
                  </a:lnTo>
                  <a:lnTo>
                    <a:pt x="5107" y="29"/>
                  </a:lnTo>
                  <a:lnTo>
                    <a:pt x="5107" y="41"/>
                  </a:lnTo>
                  <a:lnTo>
                    <a:pt x="5237" y="41"/>
                  </a:lnTo>
                  <a:lnTo>
                    <a:pt x="5074" y="95"/>
                  </a:lnTo>
                  <a:lnTo>
                    <a:pt x="5162" y="90"/>
                  </a:lnTo>
                  <a:lnTo>
                    <a:pt x="5275" y="57"/>
                  </a:lnTo>
                  <a:lnTo>
                    <a:pt x="5322" y="69"/>
                  </a:lnTo>
                  <a:lnTo>
                    <a:pt x="5306" y="69"/>
                  </a:lnTo>
                  <a:lnTo>
                    <a:pt x="5322" y="57"/>
                  </a:lnTo>
                  <a:lnTo>
                    <a:pt x="5306" y="52"/>
                  </a:lnTo>
                  <a:lnTo>
                    <a:pt x="5355" y="41"/>
                  </a:lnTo>
                  <a:lnTo>
                    <a:pt x="5339" y="52"/>
                  </a:lnTo>
                  <a:lnTo>
                    <a:pt x="5365" y="69"/>
                  </a:lnTo>
                  <a:lnTo>
                    <a:pt x="5436" y="57"/>
                  </a:lnTo>
                  <a:lnTo>
                    <a:pt x="5448" y="69"/>
                  </a:lnTo>
                  <a:lnTo>
                    <a:pt x="5415" y="85"/>
                  </a:lnTo>
                  <a:lnTo>
                    <a:pt x="5474" y="107"/>
                  </a:lnTo>
                  <a:lnTo>
                    <a:pt x="5462" y="123"/>
                  </a:lnTo>
                  <a:lnTo>
                    <a:pt x="5448" y="128"/>
                  </a:lnTo>
                  <a:lnTo>
                    <a:pt x="5528" y="111"/>
                  </a:lnTo>
                  <a:lnTo>
                    <a:pt x="5516" y="123"/>
                  </a:lnTo>
                  <a:lnTo>
                    <a:pt x="5575" y="123"/>
                  </a:lnTo>
                  <a:lnTo>
                    <a:pt x="5608" y="144"/>
                  </a:lnTo>
                  <a:lnTo>
                    <a:pt x="5599" y="163"/>
                  </a:lnTo>
                  <a:lnTo>
                    <a:pt x="5523" y="201"/>
                  </a:lnTo>
                  <a:lnTo>
                    <a:pt x="5415" y="239"/>
                  </a:lnTo>
                  <a:lnTo>
                    <a:pt x="5377" y="234"/>
                  </a:lnTo>
                  <a:lnTo>
                    <a:pt x="5393" y="251"/>
                  </a:lnTo>
                  <a:lnTo>
                    <a:pt x="5377" y="251"/>
                  </a:lnTo>
                  <a:lnTo>
                    <a:pt x="5313" y="251"/>
                  </a:lnTo>
                  <a:lnTo>
                    <a:pt x="5259" y="256"/>
                  </a:lnTo>
                  <a:lnTo>
                    <a:pt x="5306" y="256"/>
                  </a:lnTo>
                  <a:lnTo>
                    <a:pt x="5275" y="272"/>
                  </a:lnTo>
                  <a:lnTo>
                    <a:pt x="5107" y="279"/>
                  </a:lnTo>
                  <a:lnTo>
                    <a:pt x="5025" y="256"/>
                  </a:lnTo>
                  <a:lnTo>
                    <a:pt x="5096" y="279"/>
                  </a:lnTo>
                  <a:lnTo>
                    <a:pt x="5058" y="279"/>
                  </a:lnTo>
                  <a:lnTo>
                    <a:pt x="5079" y="291"/>
                  </a:lnTo>
                  <a:lnTo>
                    <a:pt x="5214" y="291"/>
                  </a:lnTo>
                  <a:lnTo>
                    <a:pt x="4966" y="345"/>
                  </a:lnTo>
                  <a:lnTo>
                    <a:pt x="5004" y="345"/>
                  </a:lnTo>
                  <a:lnTo>
                    <a:pt x="4973" y="362"/>
                  </a:lnTo>
                  <a:lnTo>
                    <a:pt x="4982" y="362"/>
                  </a:lnTo>
                  <a:lnTo>
                    <a:pt x="5285" y="291"/>
                  </a:lnTo>
                  <a:lnTo>
                    <a:pt x="5360" y="279"/>
                  </a:lnTo>
                  <a:lnTo>
                    <a:pt x="5365" y="296"/>
                  </a:lnTo>
                  <a:lnTo>
                    <a:pt x="5176" y="383"/>
                  </a:lnTo>
                  <a:lnTo>
                    <a:pt x="5145" y="390"/>
                  </a:lnTo>
                  <a:lnTo>
                    <a:pt x="5150" y="390"/>
                  </a:lnTo>
                  <a:lnTo>
                    <a:pt x="5053" y="444"/>
                  </a:lnTo>
                  <a:lnTo>
                    <a:pt x="5020" y="478"/>
                  </a:lnTo>
                  <a:lnTo>
                    <a:pt x="4961" y="489"/>
                  </a:lnTo>
                  <a:lnTo>
                    <a:pt x="4966" y="473"/>
                  </a:lnTo>
                  <a:lnTo>
                    <a:pt x="4961" y="473"/>
                  </a:lnTo>
                  <a:lnTo>
                    <a:pt x="4918" y="444"/>
                  </a:lnTo>
                  <a:lnTo>
                    <a:pt x="4944" y="473"/>
                  </a:lnTo>
                  <a:lnTo>
                    <a:pt x="4949" y="489"/>
                  </a:lnTo>
                  <a:lnTo>
                    <a:pt x="4982" y="501"/>
                  </a:lnTo>
                  <a:lnTo>
                    <a:pt x="4966" y="511"/>
                  </a:lnTo>
                  <a:lnTo>
                    <a:pt x="4859" y="527"/>
                  </a:lnTo>
                  <a:lnTo>
                    <a:pt x="4810" y="511"/>
                  </a:lnTo>
                  <a:lnTo>
                    <a:pt x="4843" y="527"/>
                  </a:lnTo>
                  <a:lnTo>
                    <a:pt x="4810" y="527"/>
                  </a:lnTo>
                  <a:lnTo>
                    <a:pt x="4810" y="534"/>
                  </a:lnTo>
                  <a:lnTo>
                    <a:pt x="4944" y="527"/>
                  </a:lnTo>
                  <a:lnTo>
                    <a:pt x="4874" y="556"/>
                  </a:lnTo>
                  <a:lnTo>
                    <a:pt x="4911" y="567"/>
                  </a:lnTo>
                  <a:lnTo>
                    <a:pt x="4897" y="584"/>
                  </a:lnTo>
                  <a:lnTo>
                    <a:pt x="4822" y="600"/>
                  </a:lnTo>
                  <a:lnTo>
                    <a:pt x="4772" y="589"/>
                  </a:lnTo>
                  <a:lnTo>
                    <a:pt x="4767" y="572"/>
                  </a:lnTo>
                  <a:lnTo>
                    <a:pt x="4772" y="572"/>
                  </a:lnTo>
                  <a:lnTo>
                    <a:pt x="4680" y="567"/>
                  </a:lnTo>
                  <a:lnTo>
                    <a:pt x="4642" y="567"/>
                  </a:lnTo>
                  <a:lnTo>
                    <a:pt x="4746" y="584"/>
                  </a:lnTo>
                  <a:lnTo>
                    <a:pt x="4755" y="612"/>
                  </a:lnTo>
                  <a:lnTo>
                    <a:pt x="4718" y="629"/>
                  </a:lnTo>
                  <a:lnTo>
                    <a:pt x="4696" y="612"/>
                  </a:lnTo>
                  <a:lnTo>
                    <a:pt x="4701" y="629"/>
                  </a:lnTo>
                  <a:lnTo>
                    <a:pt x="4692" y="638"/>
                  </a:lnTo>
                  <a:lnTo>
                    <a:pt x="4637" y="622"/>
                  </a:lnTo>
                  <a:lnTo>
                    <a:pt x="4626" y="629"/>
                  </a:lnTo>
                  <a:lnTo>
                    <a:pt x="4637" y="638"/>
                  </a:lnTo>
                  <a:lnTo>
                    <a:pt x="4626" y="645"/>
                  </a:lnTo>
                  <a:lnTo>
                    <a:pt x="4481" y="612"/>
                  </a:lnTo>
                  <a:lnTo>
                    <a:pt x="4474" y="622"/>
                  </a:lnTo>
                  <a:lnTo>
                    <a:pt x="4541" y="629"/>
                  </a:lnTo>
                  <a:lnTo>
                    <a:pt x="4550" y="645"/>
                  </a:lnTo>
                  <a:lnTo>
                    <a:pt x="4567" y="645"/>
                  </a:lnTo>
                  <a:lnTo>
                    <a:pt x="4498" y="645"/>
                  </a:lnTo>
                  <a:lnTo>
                    <a:pt x="4465" y="629"/>
                  </a:lnTo>
                  <a:lnTo>
                    <a:pt x="4481" y="655"/>
                  </a:lnTo>
                  <a:lnTo>
                    <a:pt x="4411" y="645"/>
                  </a:lnTo>
                  <a:lnTo>
                    <a:pt x="4465" y="662"/>
                  </a:lnTo>
                  <a:lnTo>
                    <a:pt x="4460" y="667"/>
                  </a:lnTo>
                  <a:lnTo>
                    <a:pt x="4663" y="667"/>
                  </a:lnTo>
                  <a:lnTo>
                    <a:pt x="4642" y="678"/>
                  </a:lnTo>
                  <a:lnTo>
                    <a:pt x="4663" y="695"/>
                  </a:lnTo>
                  <a:lnTo>
                    <a:pt x="4583" y="695"/>
                  </a:lnTo>
                  <a:lnTo>
                    <a:pt x="4550" y="678"/>
                  </a:lnTo>
                  <a:lnTo>
                    <a:pt x="4432" y="667"/>
                  </a:lnTo>
                  <a:lnTo>
                    <a:pt x="4406" y="678"/>
                  </a:lnTo>
                  <a:lnTo>
                    <a:pt x="4550" y="695"/>
                  </a:lnTo>
                  <a:lnTo>
                    <a:pt x="4448" y="700"/>
                  </a:lnTo>
                  <a:lnTo>
                    <a:pt x="4356" y="695"/>
                  </a:lnTo>
                  <a:lnTo>
                    <a:pt x="4444" y="700"/>
                  </a:lnTo>
                  <a:lnTo>
                    <a:pt x="4406" y="740"/>
                  </a:lnTo>
                  <a:lnTo>
                    <a:pt x="4432" y="711"/>
                  </a:lnTo>
                  <a:lnTo>
                    <a:pt x="4512" y="700"/>
                  </a:lnTo>
                  <a:lnTo>
                    <a:pt x="4583" y="711"/>
                  </a:lnTo>
                  <a:lnTo>
                    <a:pt x="4529" y="733"/>
                  </a:lnTo>
                  <a:lnTo>
                    <a:pt x="4604" y="723"/>
                  </a:lnTo>
                  <a:lnTo>
                    <a:pt x="4642" y="733"/>
                  </a:lnTo>
                  <a:lnTo>
                    <a:pt x="4649" y="749"/>
                  </a:lnTo>
                  <a:lnTo>
                    <a:pt x="4637" y="756"/>
                  </a:lnTo>
                  <a:lnTo>
                    <a:pt x="4642" y="773"/>
                  </a:lnTo>
                  <a:lnTo>
                    <a:pt x="4626" y="778"/>
                  </a:lnTo>
                  <a:lnTo>
                    <a:pt x="4512" y="778"/>
                  </a:lnTo>
                  <a:lnTo>
                    <a:pt x="4595" y="794"/>
                  </a:lnTo>
                  <a:lnTo>
                    <a:pt x="4626" y="811"/>
                  </a:lnTo>
                  <a:lnTo>
                    <a:pt x="4588" y="834"/>
                  </a:lnTo>
                  <a:lnTo>
                    <a:pt x="4498" y="834"/>
                  </a:lnTo>
                  <a:lnTo>
                    <a:pt x="4588" y="844"/>
                  </a:lnTo>
                  <a:lnTo>
                    <a:pt x="4567" y="867"/>
                  </a:lnTo>
                  <a:lnTo>
                    <a:pt x="4541" y="860"/>
                  </a:lnTo>
                  <a:lnTo>
                    <a:pt x="4498" y="877"/>
                  </a:lnTo>
                  <a:lnTo>
                    <a:pt x="4406" y="867"/>
                  </a:lnTo>
                  <a:lnTo>
                    <a:pt x="4389" y="877"/>
                  </a:lnTo>
                  <a:lnTo>
                    <a:pt x="4422" y="889"/>
                  </a:lnTo>
                  <a:lnTo>
                    <a:pt x="4422" y="905"/>
                  </a:lnTo>
                  <a:lnTo>
                    <a:pt x="4432" y="922"/>
                  </a:lnTo>
                  <a:lnTo>
                    <a:pt x="4406" y="962"/>
                  </a:lnTo>
                  <a:lnTo>
                    <a:pt x="4335" y="971"/>
                  </a:lnTo>
                  <a:lnTo>
                    <a:pt x="4248" y="971"/>
                  </a:lnTo>
                  <a:lnTo>
                    <a:pt x="4189" y="955"/>
                  </a:lnTo>
                  <a:lnTo>
                    <a:pt x="4141" y="917"/>
                  </a:lnTo>
                  <a:lnTo>
                    <a:pt x="4141" y="922"/>
                  </a:lnTo>
                  <a:lnTo>
                    <a:pt x="4163" y="938"/>
                  </a:lnTo>
                  <a:lnTo>
                    <a:pt x="4158" y="955"/>
                  </a:lnTo>
                  <a:lnTo>
                    <a:pt x="4196" y="971"/>
                  </a:lnTo>
                  <a:lnTo>
                    <a:pt x="4125" y="971"/>
                  </a:lnTo>
                  <a:lnTo>
                    <a:pt x="4151" y="995"/>
                  </a:lnTo>
                  <a:lnTo>
                    <a:pt x="4196" y="978"/>
                  </a:lnTo>
                  <a:lnTo>
                    <a:pt x="4271" y="988"/>
                  </a:lnTo>
                  <a:lnTo>
                    <a:pt x="4248" y="1000"/>
                  </a:lnTo>
                  <a:lnTo>
                    <a:pt x="4297" y="978"/>
                  </a:lnTo>
                  <a:lnTo>
                    <a:pt x="4335" y="988"/>
                  </a:lnTo>
                  <a:lnTo>
                    <a:pt x="4352" y="1000"/>
                  </a:lnTo>
                  <a:lnTo>
                    <a:pt x="4318" y="1028"/>
                  </a:lnTo>
                  <a:lnTo>
                    <a:pt x="4356" y="1028"/>
                  </a:lnTo>
                  <a:lnTo>
                    <a:pt x="4356" y="1044"/>
                  </a:lnTo>
                  <a:lnTo>
                    <a:pt x="4368" y="1044"/>
                  </a:lnTo>
                  <a:lnTo>
                    <a:pt x="4394" y="1016"/>
                  </a:lnTo>
                  <a:lnTo>
                    <a:pt x="4427" y="1028"/>
                  </a:lnTo>
                  <a:lnTo>
                    <a:pt x="4432" y="1066"/>
                  </a:lnTo>
                  <a:lnTo>
                    <a:pt x="4389" y="1099"/>
                  </a:lnTo>
                  <a:lnTo>
                    <a:pt x="4389" y="1099"/>
                  </a:lnTo>
                  <a:lnTo>
                    <a:pt x="4389" y="1099"/>
                  </a:lnTo>
                  <a:close/>
                  <a:moveTo>
                    <a:pt x="3456" y="279"/>
                  </a:moveTo>
                  <a:lnTo>
                    <a:pt x="3440" y="272"/>
                  </a:lnTo>
                  <a:lnTo>
                    <a:pt x="3461" y="279"/>
                  </a:lnTo>
                  <a:lnTo>
                    <a:pt x="3456" y="279"/>
                  </a:lnTo>
                  <a:lnTo>
                    <a:pt x="3456" y="279"/>
                  </a:lnTo>
                  <a:lnTo>
                    <a:pt x="3456" y="279"/>
                  </a:lnTo>
                  <a:close/>
                  <a:moveTo>
                    <a:pt x="3655" y="844"/>
                  </a:moveTo>
                  <a:lnTo>
                    <a:pt x="3633" y="827"/>
                  </a:lnTo>
                  <a:lnTo>
                    <a:pt x="3579" y="766"/>
                  </a:lnTo>
                  <a:lnTo>
                    <a:pt x="3570" y="778"/>
                  </a:lnTo>
                  <a:lnTo>
                    <a:pt x="3579" y="794"/>
                  </a:lnTo>
                  <a:lnTo>
                    <a:pt x="3596" y="806"/>
                  </a:lnTo>
                  <a:lnTo>
                    <a:pt x="3617" y="834"/>
                  </a:lnTo>
                  <a:lnTo>
                    <a:pt x="3563" y="811"/>
                  </a:lnTo>
                  <a:lnTo>
                    <a:pt x="3525" y="811"/>
                  </a:lnTo>
                  <a:lnTo>
                    <a:pt x="3558" y="834"/>
                  </a:lnTo>
                  <a:lnTo>
                    <a:pt x="3546" y="844"/>
                  </a:lnTo>
                  <a:lnTo>
                    <a:pt x="3433" y="827"/>
                  </a:lnTo>
                  <a:lnTo>
                    <a:pt x="3402" y="811"/>
                  </a:lnTo>
                  <a:lnTo>
                    <a:pt x="3369" y="789"/>
                  </a:lnTo>
                  <a:lnTo>
                    <a:pt x="3461" y="778"/>
                  </a:lnTo>
                  <a:lnTo>
                    <a:pt x="3381" y="766"/>
                  </a:lnTo>
                  <a:lnTo>
                    <a:pt x="3348" y="773"/>
                  </a:lnTo>
                  <a:lnTo>
                    <a:pt x="3310" y="740"/>
                  </a:lnTo>
                  <a:lnTo>
                    <a:pt x="3364" y="740"/>
                  </a:lnTo>
                  <a:lnTo>
                    <a:pt x="3310" y="733"/>
                  </a:lnTo>
                  <a:lnTo>
                    <a:pt x="3277" y="711"/>
                  </a:lnTo>
                  <a:lnTo>
                    <a:pt x="3348" y="678"/>
                  </a:lnTo>
                  <a:lnTo>
                    <a:pt x="3546" y="667"/>
                  </a:lnTo>
                  <a:lnTo>
                    <a:pt x="3418" y="667"/>
                  </a:lnTo>
                  <a:lnTo>
                    <a:pt x="3385" y="662"/>
                  </a:lnTo>
                  <a:lnTo>
                    <a:pt x="3504" y="645"/>
                  </a:lnTo>
                  <a:lnTo>
                    <a:pt x="3423" y="655"/>
                  </a:lnTo>
                  <a:lnTo>
                    <a:pt x="3395" y="645"/>
                  </a:lnTo>
                  <a:lnTo>
                    <a:pt x="3418" y="638"/>
                  </a:lnTo>
                  <a:lnTo>
                    <a:pt x="3381" y="638"/>
                  </a:lnTo>
                  <a:lnTo>
                    <a:pt x="3364" y="629"/>
                  </a:lnTo>
                  <a:lnTo>
                    <a:pt x="3352" y="629"/>
                  </a:lnTo>
                  <a:lnTo>
                    <a:pt x="3364" y="645"/>
                  </a:lnTo>
                  <a:lnTo>
                    <a:pt x="3348" y="645"/>
                  </a:lnTo>
                  <a:lnTo>
                    <a:pt x="3348" y="638"/>
                  </a:lnTo>
                  <a:lnTo>
                    <a:pt x="3343" y="638"/>
                  </a:lnTo>
                  <a:lnTo>
                    <a:pt x="3310" y="662"/>
                  </a:lnTo>
                  <a:lnTo>
                    <a:pt x="3289" y="662"/>
                  </a:lnTo>
                  <a:lnTo>
                    <a:pt x="3293" y="645"/>
                  </a:lnTo>
                  <a:lnTo>
                    <a:pt x="3272" y="638"/>
                  </a:lnTo>
                  <a:lnTo>
                    <a:pt x="3260" y="638"/>
                  </a:lnTo>
                  <a:lnTo>
                    <a:pt x="3272" y="645"/>
                  </a:lnTo>
                  <a:lnTo>
                    <a:pt x="3260" y="655"/>
                  </a:lnTo>
                  <a:lnTo>
                    <a:pt x="3222" y="662"/>
                  </a:lnTo>
                  <a:lnTo>
                    <a:pt x="3208" y="645"/>
                  </a:lnTo>
                  <a:lnTo>
                    <a:pt x="3170" y="638"/>
                  </a:lnTo>
                  <a:lnTo>
                    <a:pt x="3180" y="622"/>
                  </a:lnTo>
                  <a:lnTo>
                    <a:pt x="3244" y="605"/>
                  </a:lnTo>
                  <a:lnTo>
                    <a:pt x="3277" y="584"/>
                  </a:lnTo>
                  <a:lnTo>
                    <a:pt x="3170" y="600"/>
                  </a:lnTo>
                  <a:lnTo>
                    <a:pt x="3116" y="567"/>
                  </a:lnTo>
                  <a:lnTo>
                    <a:pt x="3147" y="556"/>
                  </a:lnTo>
                  <a:lnTo>
                    <a:pt x="3109" y="544"/>
                  </a:lnTo>
                  <a:lnTo>
                    <a:pt x="3133" y="534"/>
                  </a:lnTo>
                  <a:lnTo>
                    <a:pt x="3100" y="527"/>
                  </a:lnTo>
                  <a:lnTo>
                    <a:pt x="3133" y="518"/>
                  </a:lnTo>
                  <a:lnTo>
                    <a:pt x="3272" y="551"/>
                  </a:lnTo>
                  <a:lnTo>
                    <a:pt x="3244" y="527"/>
                  </a:lnTo>
                  <a:lnTo>
                    <a:pt x="3293" y="518"/>
                  </a:lnTo>
                  <a:lnTo>
                    <a:pt x="3201" y="527"/>
                  </a:lnTo>
                  <a:lnTo>
                    <a:pt x="3180" y="518"/>
                  </a:lnTo>
                  <a:lnTo>
                    <a:pt x="3208" y="501"/>
                  </a:lnTo>
                  <a:lnTo>
                    <a:pt x="3163" y="511"/>
                  </a:lnTo>
                  <a:lnTo>
                    <a:pt x="3109" y="489"/>
                  </a:lnTo>
                  <a:lnTo>
                    <a:pt x="3192" y="489"/>
                  </a:lnTo>
                  <a:lnTo>
                    <a:pt x="3170" y="473"/>
                  </a:lnTo>
                  <a:lnTo>
                    <a:pt x="3154" y="444"/>
                  </a:lnTo>
                  <a:lnTo>
                    <a:pt x="3310" y="456"/>
                  </a:lnTo>
                  <a:lnTo>
                    <a:pt x="3244" y="435"/>
                  </a:lnTo>
                  <a:lnTo>
                    <a:pt x="3289" y="423"/>
                  </a:lnTo>
                  <a:lnTo>
                    <a:pt x="3185" y="407"/>
                  </a:lnTo>
                  <a:lnTo>
                    <a:pt x="3218" y="400"/>
                  </a:lnTo>
                  <a:lnTo>
                    <a:pt x="3192" y="390"/>
                  </a:lnTo>
                  <a:lnTo>
                    <a:pt x="3218" y="378"/>
                  </a:lnTo>
                  <a:lnTo>
                    <a:pt x="3244" y="367"/>
                  </a:lnTo>
                  <a:lnTo>
                    <a:pt x="3272" y="383"/>
                  </a:lnTo>
                  <a:lnTo>
                    <a:pt x="3298" y="367"/>
                  </a:lnTo>
                  <a:lnTo>
                    <a:pt x="3277" y="362"/>
                  </a:lnTo>
                  <a:lnTo>
                    <a:pt x="3348" y="362"/>
                  </a:lnTo>
                  <a:lnTo>
                    <a:pt x="3364" y="350"/>
                  </a:lnTo>
                  <a:lnTo>
                    <a:pt x="3272" y="329"/>
                  </a:lnTo>
                  <a:lnTo>
                    <a:pt x="3289" y="312"/>
                  </a:lnTo>
                  <a:lnTo>
                    <a:pt x="3331" y="324"/>
                  </a:lnTo>
                  <a:lnTo>
                    <a:pt x="3331" y="312"/>
                  </a:lnTo>
                  <a:lnTo>
                    <a:pt x="3449" y="345"/>
                  </a:lnTo>
                  <a:lnTo>
                    <a:pt x="3456" y="362"/>
                  </a:lnTo>
                  <a:lnTo>
                    <a:pt x="3440" y="367"/>
                  </a:lnTo>
                  <a:lnTo>
                    <a:pt x="3470" y="378"/>
                  </a:lnTo>
                  <a:lnTo>
                    <a:pt x="3504" y="416"/>
                  </a:lnTo>
                  <a:lnTo>
                    <a:pt x="3532" y="440"/>
                  </a:lnTo>
                  <a:lnTo>
                    <a:pt x="3525" y="444"/>
                  </a:lnTo>
                  <a:lnTo>
                    <a:pt x="3596" y="473"/>
                  </a:lnTo>
                  <a:lnTo>
                    <a:pt x="3596" y="456"/>
                  </a:lnTo>
                  <a:lnTo>
                    <a:pt x="3633" y="456"/>
                  </a:lnTo>
                  <a:lnTo>
                    <a:pt x="3638" y="473"/>
                  </a:lnTo>
                  <a:lnTo>
                    <a:pt x="3633" y="478"/>
                  </a:lnTo>
                  <a:lnTo>
                    <a:pt x="3638" y="478"/>
                  </a:lnTo>
                  <a:lnTo>
                    <a:pt x="3633" y="494"/>
                  </a:lnTo>
                  <a:lnTo>
                    <a:pt x="3667" y="527"/>
                  </a:lnTo>
                  <a:lnTo>
                    <a:pt x="3709" y="527"/>
                  </a:lnTo>
                  <a:lnTo>
                    <a:pt x="3704" y="511"/>
                  </a:lnTo>
                  <a:lnTo>
                    <a:pt x="3671" y="501"/>
                  </a:lnTo>
                  <a:lnTo>
                    <a:pt x="3671" y="478"/>
                  </a:lnTo>
                  <a:lnTo>
                    <a:pt x="3742" y="478"/>
                  </a:lnTo>
                  <a:lnTo>
                    <a:pt x="3747" y="511"/>
                  </a:lnTo>
                  <a:lnTo>
                    <a:pt x="3709" y="527"/>
                  </a:lnTo>
                  <a:lnTo>
                    <a:pt x="3773" y="534"/>
                  </a:lnTo>
                  <a:lnTo>
                    <a:pt x="3785" y="551"/>
                  </a:lnTo>
                  <a:lnTo>
                    <a:pt x="3759" y="572"/>
                  </a:lnTo>
                  <a:lnTo>
                    <a:pt x="3785" y="556"/>
                  </a:lnTo>
                  <a:lnTo>
                    <a:pt x="3780" y="605"/>
                  </a:lnTo>
                  <a:lnTo>
                    <a:pt x="3759" y="622"/>
                  </a:lnTo>
                  <a:lnTo>
                    <a:pt x="3785" y="605"/>
                  </a:lnTo>
                  <a:lnTo>
                    <a:pt x="3801" y="622"/>
                  </a:lnTo>
                  <a:lnTo>
                    <a:pt x="3811" y="612"/>
                  </a:lnTo>
                  <a:lnTo>
                    <a:pt x="3801" y="605"/>
                  </a:lnTo>
                  <a:lnTo>
                    <a:pt x="3834" y="605"/>
                  </a:lnTo>
                  <a:lnTo>
                    <a:pt x="3855" y="612"/>
                  </a:lnTo>
                  <a:lnTo>
                    <a:pt x="3855" y="629"/>
                  </a:lnTo>
                  <a:lnTo>
                    <a:pt x="3848" y="629"/>
                  </a:lnTo>
                  <a:lnTo>
                    <a:pt x="3855" y="638"/>
                  </a:lnTo>
                  <a:lnTo>
                    <a:pt x="3872" y="605"/>
                  </a:lnTo>
                  <a:lnTo>
                    <a:pt x="3881" y="605"/>
                  </a:lnTo>
                  <a:lnTo>
                    <a:pt x="3936" y="662"/>
                  </a:lnTo>
                  <a:lnTo>
                    <a:pt x="3827" y="695"/>
                  </a:lnTo>
                  <a:lnTo>
                    <a:pt x="3811" y="711"/>
                  </a:lnTo>
                  <a:lnTo>
                    <a:pt x="3785" y="695"/>
                  </a:lnTo>
                  <a:lnTo>
                    <a:pt x="3785" y="716"/>
                  </a:lnTo>
                  <a:lnTo>
                    <a:pt x="3747" y="766"/>
                  </a:lnTo>
                  <a:lnTo>
                    <a:pt x="3721" y="733"/>
                  </a:lnTo>
                  <a:lnTo>
                    <a:pt x="3721" y="711"/>
                  </a:lnTo>
                  <a:lnTo>
                    <a:pt x="3742" y="695"/>
                  </a:lnTo>
                  <a:lnTo>
                    <a:pt x="3709" y="711"/>
                  </a:lnTo>
                  <a:lnTo>
                    <a:pt x="3704" y="740"/>
                  </a:lnTo>
                  <a:lnTo>
                    <a:pt x="3726" y="778"/>
                  </a:lnTo>
                  <a:lnTo>
                    <a:pt x="3704" y="794"/>
                  </a:lnTo>
                  <a:lnTo>
                    <a:pt x="3676" y="773"/>
                  </a:lnTo>
                  <a:lnTo>
                    <a:pt x="3667" y="766"/>
                  </a:lnTo>
                  <a:lnTo>
                    <a:pt x="3676" y="794"/>
                  </a:lnTo>
                  <a:lnTo>
                    <a:pt x="3655" y="844"/>
                  </a:lnTo>
                  <a:lnTo>
                    <a:pt x="3655" y="844"/>
                  </a:lnTo>
                  <a:lnTo>
                    <a:pt x="3655" y="844"/>
                  </a:lnTo>
                  <a:close/>
                  <a:moveTo>
                    <a:pt x="3222" y="435"/>
                  </a:moveTo>
                  <a:lnTo>
                    <a:pt x="3234" y="440"/>
                  </a:lnTo>
                  <a:lnTo>
                    <a:pt x="3147" y="435"/>
                  </a:lnTo>
                  <a:lnTo>
                    <a:pt x="3222" y="435"/>
                  </a:lnTo>
                  <a:lnTo>
                    <a:pt x="3222" y="435"/>
                  </a:lnTo>
                  <a:lnTo>
                    <a:pt x="3222" y="435"/>
                  </a:lnTo>
                  <a:close/>
                  <a:moveTo>
                    <a:pt x="2965" y="600"/>
                  </a:moveTo>
                  <a:lnTo>
                    <a:pt x="2920" y="584"/>
                  </a:lnTo>
                  <a:lnTo>
                    <a:pt x="2920" y="567"/>
                  </a:lnTo>
                  <a:lnTo>
                    <a:pt x="2868" y="567"/>
                  </a:lnTo>
                  <a:lnTo>
                    <a:pt x="2861" y="534"/>
                  </a:lnTo>
                  <a:lnTo>
                    <a:pt x="2894" y="518"/>
                  </a:lnTo>
                  <a:lnTo>
                    <a:pt x="2953" y="534"/>
                  </a:lnTo>
                  <a:lnTo>
                    <a:pt x="2970" y="551"/>
                  </a:lnTo>
                  <a:lnTo>
                    <a:pt x="2970" y="572"/>
                  </a:lnTo>
                  <a:lnTo>
                    <a:pt x="2965" y="600"/>
                  </a:lnTo>
                  <a:lnTo>
                    <a:pt x="2965" y="600"/>
                  </a:lnTo>
                  <a:lnTo>
                    <a:pt x="2965" y="600"/>
                  </a:lnTo>
                  <a:close/>
                  <a:moveTo>
                    <a:pt x="2608" y="749"/>
                  </a:moveTo>
                  <a:lnTo>
                    <a:pt x="2613" y="740"/>
                  </a:lnTo>
                  <a:lnTo>
                    <a:pt x="2587" y="740"/>
                  </a:lnTo>
                  <a:lnTo>
                    <a:pt x="2608" y="723"/>
                  </a:lnTo>
                  <a:lnTo>
                    <a:pt x="2587" y="711"/>
                  </a:lnTo>
                  <a:lnTo>
                    <a:pt x="2521" y="740"/>
                  </a:lnTo>
                  <a:lnTo>
                    <a:pt x="2542" y="700"/>
                  </a:lnTo>
                  <a:lnTo>
                    <a:pt x="2483" y="700"/>
                  </a:lnTo>
                  <a:lnTo>
                    <a:pt x="2483" y="678"/>
                  </a:lnTo>
                  <a:lnTo>
                    <a:pt x="2490" y="655"/>
                  </a:lnTo>
                  <a:lnTo>
                    <a:pt x="2596" y="645"/>
                  </a:lnTo>
                  <a:lnTo>
                    <a:pt x="2663" y="662"/>
                  </a:lnTo>
                  <a:lnTo>
                    <a:pt x="2693" y="695"/>
                  </a:lnTo>
                  <a:lnTo>
                    <a:pt x="2684" y="716"/>
                  </a:lnTo>
                  <a:lnTo>
                    <a:pt x="2700" y="723"/>
                  </a:lnTo>
                  <a:lnTo>
                    <a:pt x="2705" y="700"/>
                  </a:lnTo>
                  <a:lnTo>
                    <a:pt x="2759" y="695"/>
                  </a:lnTo>
                  <a:lnTo>
                    <a:pt x="2807" y="716"/>
                  </a:lnTo>
                  <a:lnTo>
                    <a:pt x="2793" y="740"/>
                  </a:lnTo>
                  <a:lnTo>
                    <a:pt x="2856" y="733"/>
                  </a:lnTo>
                  <a:lnTo>
                    <a:pt x="2882" y="756"/>
                  </a:lnTo>
                  <a:lnTo>
                    <a:pt x="2878" y="766"/>
                  </a:lnTo>
                  <a:lnTo>
                    <a:pt x="2911" y="773"/>
                  </a:lnTo>
                  <a:lnTo>
                    <a:pt x="2882" y="794"/>
                  </a:lnTo>
                  <a:lnTo>
                    <a:pt x="2894" y="806"/>
                  </a:lnTo>
                  <a:lnTo>
                    <a:pt x="2894" y="822"/>
                  </a:lnTo>
                  <a:lnTo>
                    <a:pt x="2911" y="822"/>
                  </a:lnTo>
                  <a:lnTo>
                    <a:pt x="2948" y="851"/>
                  </a:lnTo>
                  <a:lnTo>
                    <a:pt x="2937" y="867"/>
                  </a:lnTo>
                  <a:lnTo>
                    <a:pt x="2948" y="884"/>
                  </a:lnTo>
                  <a:lnTo>
                    <a:pt x="2882" y="900"/>
                  </a:lnTo>
                  <a:lnTo>
                    <a:pt x="2830" y="884"/>
                  </a:lnTo>
                  <a:lnTo>
                    <a:pt x="2807" y="834"/>
                  </a:lnTo>
                  <a:lnTo>
                    <a:pt x="2731" y="822"/>
                  </a:lnTo>
                  <a:lnTo>
                    <a:pt x="2693" y="827"/>
                  </a:lnTo>
                  <a:lnTo>
                    <a:pt x="2679" y="822"/>
                  </a:lnTo>
                  <a:lnTo>
                    <a:pt x="2693" y="806"/>
                  </a:lnTo>
                  <a:lnTo>
                    <a:pt x="2679" y="806"/>
                  </a:lnTo>
                  <a:lnTo>
                    <a:pt x="2596" y="827"/>
                  </a:lnTo>
                  <a:lnTo>
                    <a:pt x="2570" y="822"/>
                  </a:lnTo>
                  <a:lnTo>
                    <a:pt x="2521" y="789"/>
                  </a:lnTo>
                  <a:lnTo>
                    <a:pt x="2542" y="773"/>
                  </a:lnTo>
                  <a:lnTo>
                    <a:pt x="2630" y="789"/>
                  </a:lnTo>
                  <a:lnTo>
                    <a:pt x="2641" y="766"/>
                  </a:lnTo>
                  <a:lnTo>
                    <a:pt x="2592" y="766"/>
                  </a:lnTo>
                  <a:lnTo>
                    <a:pt x="2646" y="749"/>
                  </a:lnTo>
                  <a:lnTo>
                    <a:pt x="2608" y="749"/>
                  </a:lnTo>
                  <a:lnTo>
                    <a:pt x="2608" y="749"/>
                  </a:lnTo>
                  <a:lnTo>
                    <a:pt x="2608" y="749"/>
                  </a:lnTo>
                  <a:close/>
                  <a:moveTo>
                    <a:pt x="3865" y="695"/>
                  </a:moveTo>
                  <a:lnTo>
                    <a:pt x="3919" y="700"/>
                  </a:lnTo>
                  <a:lnTo>
                    <a:pt x="3827" y="723"/>
                  </a:lnTo>
                  <a:lnTo>
                    <a:pt x="3865" y="695"/>
                  </a:lnTo>
                  <a:lnTo>
                    <a:pt x="3865" y="695"/>
                  </a:lnTo>
                  <a:lnTo>
                    <a:pt x="3865" y="695"/>
                  </a:lnTo>
                  <a:close/>
                  <a:moveTo>
                    <a:pt x="3100" y="900"/>
                  </a:moveTo>
                  <a:lnTo>
                    <a:pt x="3078" y="889"/>
                  </a:lnTo>
                  <a:lnTo>
                    <a:pt x="3078" y="884"/>
                  </a:lnTo>
                  <a:lnTo>
                    <a:pt x="3083" y="877"/>
                  </a:lnTo>
                  <a:lnTo>
                    <a:pt x="3029" y="860"/>
                  </a:lnTo>
                  <a:lnTo>
                    <a:pt x="3100" y="844"/>
                  </a:lnTo>
                  <a:lnTo>
                    <a:pt x="3019" y="822"/>
                  </a:lnTo>
                  <a:lnTo>
                    <a:pt x="3019" y="806"/>
                  </a:lnTo>
                  <a:lnTo>
                    <a:pt x="2986" y="789"/>
                  </a:lnTo>
                  <a:lnTo>
                    <a:pt x="3019" y="778"/>
                  </a:lnTo>
                  <a:lnTo>
                    <a:pt x="2991" y="766"/>
                  </a:lnTo>
                  <a:lnTo>
                    <a:pt x="2991" y="740"/>
                  </a:lnTo>
                  <a:lnTo>
                    <a:pt x="3029" y="733"/>
                  </a:lnTo>
                  <a:lnTo>
                    <a:pt x="3078" y="749"/>
                  </a:lnTo>
                  <a:lnTo>
                    <a:pt x="3147" y="766"/>
                  </a:lnTo>
                  <a:lnTo>
                    <a:pt x="3147" y="778"/>
                  </a:lnTo>
                  <a:lnTo>
                    <a:pt x="3192" y="778"/>
                  </a:lnTo>
                  <a:lnTo>
                    <a:pt x="3239" y="806"/>
                  </a:lnTo>
                  <a:lnTo>
                    <a:pt x="3201" y="827"/>
                  </a:lnTo>
                  <a:lnTo>
                    <a:pt x="3234" y="844"/>
                  </a:lnTo>
                  <a:lnTo>
                    <a:pt x="3218" y="867"/>
                  </a:lnTo>
                  <a:lnTo>
                    <a:pt x="3116" y="884"/>
                  </a:lnTo>
                  <a:lnTo>
                    <a:pt x="3109" y="884"/>
                  </a:lnTo>
                  <a:lnTo>
                    <a:pt x="3126" y="889"/>
                  </a:lnTo>
                  <a:lnTo>
                    <a:pt x="3100" y="900"/>
                  </a:lnTo>
                  <a:lnTo>
                    <a:pt x="3100" y="900"/>
                  </a:lnTo>
                  <a:lnTo>
                    <a:pt x="3100" y="900"/>
                  </a:lnTo>
                  <a:close/>
                  <a:moveTo>
                    <a:pt x="4675" y="756"/>
                  </a:moveTo>
                  <a:lnTo>
                    <a:pt x="4649" y="749"/>
                  </a:lnTo>
                  <a:lnTo>
                    <a:pt x="4692" y="749"/>
                  </a:lnTo>
                  <a:lnTo>
                    <a:pt x="4675" y="756"/>
                  </a:lnTo>
                  <a:lnTo>
                    <a:pt x="4675" y="756"/>
                  </a:lnTo>
                  <a:lnTo>
                    <a:pt x="4675" y="756"/>
                  </a:lnTo>
                  <a:close/>
                  <a:moveTo>
                    <a:pt x="2067" y="822"/>
                  </a:moveTo>
                  <a:lnTo>
                    <a:pt x="2030" y="806"/>
                  </a:lnTo>
                  <a:lnTo>
                    <a:pt x="1949" y="822"/>
                  </a:lnTo>
                  <a:lnTo>
                    <a:pt x="1944" y="811"/>
                  </a:lnTo>
                  <a:lnTo>
                    <a:pt x="1961" y="794"/>
                  </a:lnTo>
                  <a:lnTo>
                    <a:pt x="2143" y="740"/>
                  </a:lnTo>
                  <a:lnTo>
                    <a:pt x="2230" y="789"/>
                  </a:lnTo>
                  <a:lnTo>
                    <a:pt x="2214" y="822"/>
                  </a:lnTo>
                  <a:lnTo>
                    <a:pt x="2143" y="822"/>
                  </a:lnTo>
                  <a:lnTo>
                    <a:pt x="2100" y="806"/>
                  </a:lnTo>
                  <a:lnTo>
                    <a:pt x="2067" y="822"/>
                  </a:lnTo>
                  <a:lnTo>
                    <a:pt x="2067" y="822"/>
                  </a:lnTo>
                  <a:lnTo>
                    <a:pt x="2067" y="822"/>
                  </a:lnTo>
                  <a:close/>
                  <a:moveTo>
                    <a:pt x="3721" y="794"/>
                  </a:moveTo>
                  <a:lnTo>
                    <a:pt x="3704" y="827"/>
                  </a:lnTo>
                  <a:lnTo>
                    <a:pt x="3688" y="822"/>
                  </a:lnTo>
                  <a:lnTo>
                    <a:pt x="3704" y="794"/>
                  </a:lnTo>
                  <a:lnTo>
                    <a:pt x="3721" y="794"/>
                  </a:lnTo>
                  <a:lnTo>
                    <a:pt x="3721" y="794"/>
                  </a:lnTo>
                  <a:lnTo>
                    <a:pt x="3721" y="794"/>
                  </a:lnTo>
                  <a:close/>
                  <a:moveTo>
                    <a:pt x="3260" y="822"/>
                  </a:moveTo>
                  <a:lnTo>
                    <a:pt x="3277" y="834"/>
                  </a:lnTo>
                  <a:lnTo>
                    <a:pt x="3244" y="822"/>
                  </a:lnTo>
                  <a:lnTo>
                    <a:pt x="3260" y="822"/>
                  </a:lnTo>
                  <a:lnTo>
                    <a:pt x="3260" y="822"/>
                  </a:lnTo>
                  <a:lnTo>
                    <a:pt x="3260" y="822"/>
                  </a:lnTo>
                  <a:close/>
                  <a:moveTo>
                    <a:pt x="2679" y="822"/>
                  </a:moveTo>
                  <a:lnTo>
                    <a:pt x="2684" y="827"/>
                  </a:lnTo>
                  <a:lnTo>
                    <a:pt x="2663" y="844"/>
                  </a:lnTo>
                  <a:lnTo>
                    <a:pt x="2646" y="834"/>
                  </a:lnTo>
                  <a:lnTo>
                    <a:pt x="2679" y="822"/>
                  </a:lnTo>
                  <a:lnTo>
                    <a:pt x="2679" y="822"/>
                  </a:lnTo>
                  <a:lnTo>
                    <a:pt x="2679" y="822"/>
                  </a:lnTo>
                  <a:close/>
                  <a:moveTo>
                    <a:pt x="2759" y="827"/>
                  </a:moveTo>
                  <a:lnTo>
                    <a:pt x="2759" y="834"/>
                  </a:lnTo>
                  <a:lnTo>
                    <a:pt x="2748" y="834"/>
                  </a:lnTo>
                  <a:lnTo>
                    <a:pt x="2759" y="827"/>
                  </a:lnTo>
                  <a:lnTo>
                    <a:pt x="2759" y="827"/>
                  </a:lnTo>
                  <a:lnTo>
                    <a:pt x="2759" y="827"/>
                  </a:lnTo>
                  <a:close/>
                  <a:moveTo>
                    <a:pt x="2030" y="971"/>
                  </a:moveTo>
                  <a:lnTo>
                    <a:pt x="1949" y="938"/>
                  </a:lnTo>
                  <a:lnTo>
                    <a:pt x="1949" y="905"/>
                  </a:lnTo>
                  <a:lnTo>
                    <a:pt x="1944" y="889"/>
                  </a:lnTo>
                  <a:lnTo>
                    <a:pt x="1949" y="877"/>
                  </a:lnTo>
                  <a:lnTo>
                    <a:pt x="2084" y="851"/>
                  </a:lnTo>
                  <a:lnTo>
                    <a:pt x="2209" y="851"/>
                  </a:lnTo>
                  <a:lnTo>
                    <a:pt x="2193" y="867"/>
                  </a:lnTo>
                  <a:lnTo>
                    <a:pt x="2112" y="889"/>
                  </a:lnTo>
                  <a:lnTo>
                    <a:pt x="2129" y="900"/>
                  </a:lnTo>
                  <a:lnTo>
                    <a:pt x="2167" y="900"/>
                  </a:lnTo>
                  <a:lnTo>
                    <a:pt x="2176" y="922"/>
                  </a:lnTo>
                  <a:lnTo>
                    <a:pt x="2159" y="938"/>
                  </a:lnTo>
                  <a:lnTo>
                    <a:pt x="2030" y="971"/>
                  </a:lnTo>
                  <a:lnTo>
                    <a:pt x="2030" y="971"/>
                  </a:lnTo>
                  <a:lnTo>
                    <a:pt x="2030" y="971"/>
                  </a:lnTo>
                  <a:close/>
                  <a:moveTo>
                    <a:pt x="1878" y="905"/>
                  </a:moveTo>
                  <a:lnTo>
                    <a:pt x="1815" y="867"/>
                  </a:lnTo>
                  <a:lnTo>
                    <a:pt x="1874" y="851"/>
                  </a:lnTo>
                  <a:lnTo>
                    <a:pt x="1923" y="889"/>
                  </a:lnTo>
                  <a:lnTo>
                    <a:pt x="1878" y="905"/>
                  </a:lnTo>
                  <a:lnTo>
                    <a:pt x="1878" y="905"/>
                  </a:lnTo>
                  <a:lnTo>
                    <a:pt x="1878" y="905"/>
                  </a:lnTo>
                  <a:close/>
                  <a:moveTo>
                    <a:pt x="2759" y="884"/>
                  </a:moveTo>
                  <a:lnTo>
                    <a:pt x="2807" y="905"/>
                  </a:lnTo>
                  <a:lnTo>
                    <a:pt x="2731" y="917"/>
                  </a:lnTo>
                  <a:lnTo>
                    <a:pt x="2705" y="905"/>
                  </a:lnTo>
                  <a:lnTo>
                    <a:pt x="2700" y="889"/>
                  </a:lnTo>
                  <a:lnTo>
                    <a:pt x="2759" y="884"/>
                  </a:lnTo>
                  <a:lnTo>
                    <a:pt x="2759" y="884"/>
                  </a:lnTo>
                  <a:lnTo>
                    <a:pt x="2759" y="884"/>
                  </a:lnTo>
                  <a:close/>
                  <a:moveTo>
                    <a:pt x="4444" y="884"/>
                  </a:moveTo>
                  <a:lnTo>
                    <a:pt x="4448" y="889"/>
                  </a:lnTo>
                  <a:lnTo>
                    <a:pt x="4422" y="889"/>
                  </a:lnTo>
                  <a:lnTo>
                    <a:pt x="4444" y="884"/>
                  </a:lnTo>
                  <a:lnTo>
                    <a:pt x="4444" y="884"/>
                  </a:lnTo>
                  <a:lnTo>
                    <a:pt x="4444" y="884"/>
                  </a:lnTo>
                  <a:close/>
                  <a:moveTo>
                    <a:pt x="3352" y="905"/>
                  </a:moveTo>
                  <a:lnTo>
                    <a:pt x="3364" y="917"/>
                  </a:lnTo>
                  <a:lnTo>
                    <a:pt x="3343" y="922"/>
                  </a:lnTo>
                  <a:lnTo>
                    <a:pt x="3326" y="943"/>
                  </a:lnTo>
                  <a:lnTo>
                    <a:pt x="3163" y="943"/>
                  </a:lnTo>
                  <a:lnTo>
                    <a:pt x="3133" y="922"/>
                  </a:lnTo>
                  <a:lnTo>
                    <a:pt x="3137" y="917"/>
                  </a:lnTo>
                  <a:lnTo>
                    <a:pt x="3192" y="889"/>
                  </a:lnTo>
                  <a:lnTo>
                    <a:pt x="3201" y="905"/>
                  </a:lnTo>
                  <a:lnTo>
                    <a:pt x="3326" y="900"/>
                  </a:lnTo>
                  <a:lnTo>
                    <a:pt x="3352" y="905"/>
                  </a:lnTo>
                  <a:lnTo>
                    <a:pt x="3352" y="905"/>
                  </a:lnTo>
                  <a:lnTo>
                    <a:pt x="3352" y="905"/>
                  </a:lnTo>
                  <a:close/>
                  <a:moveTo>
                    <a:pt x="2483" y="900"/>
                  </a:moveTo>
                  <a:lnTo>
                    <a:pt x="2521" y="933"/>
                  </a:lnTo>
                  <a:lnTo>
                    <a:pt x="2533" y="943"/>
                  </a:lnTo>
                  <a:lnTo>
                    <a:pt x="2521" y="955"/>
                  </a:lnTo>
                  <a:lnTo>
                    <a:pt x="2542" y="955"/>
                  </a:lnTo>
                  <a:lnTo>
                    <a:pt x="2570" y="988"/>
                  </a:lnTo>
                  <a:lnTo>
                    <a:pt x="2542" y="1000"/>
                  </a:lnTo>
                  <a:lnTo>
                    <a:pt x="2504" y="988"/>
                  </a:lnTo>
                  <a:lnTo>
                    <a:pt x="2483" y="971"/>
                  </a:lnTo>
                  <a:lnTo>
                    <a:pt x="2469" y="922"/>
                  </a:lnTo>
                  <a:lnTo>
                    <a:pt x="2452" y="905"/>
                  </a:lnTo>
                  <a:lnTo>
                    <a:pt x="2483" y="900"/>
                  </a:lnTo>
                  <a:lnTo>
                    <a:pt x="2483" y="900"/>
                  </a:lnTo>
                  <a:lnTo>
                    <a:pt x="2483" y="900"/>
                  </a:lnTo>
                  <a:close/>
                  <a:moveTo>
                    <a:pt x="3546" y="988"/>
                  </a:moveTo>
                  <a:lnTo>
                    <a:pt x="3494" y="962"/>
                  </a:lnTo>
                  <a:lnTo>
                    <a:pt x="3494" y="933"/>
                  </a:lnTo>
                  <a:lnTo>
                    <a:pt x="3515" y="917"/>
                  </a:lnTo>
                  <a:lnTo>
                    <a:pt x="3563" y="922"/>
                  </a:lnTo>
                  <a:lnTo>
                    <a:pt x="3596" y="943"/>
                  </a:lnTo>
                  <a:lnTo>
                    <a:pt x="3600" y="962"/>
                  </a:lnTo>
                  <a:lnTo>
                    <a:pt x="3546" y="988"/>
                  </a:lnTo>
                  <a:lnTo>
                    <a:pt x="3546" y="988"/>
                  </a:lnTo>
                  <a:lnTo>
                    <a:pt x="3546" y="988"/>
                  </a:lnTo>
                  <a:close/>
                  <a:moveTo>
                    <a:pt x="3910" y="933"/>
                  </a:moveTo>
                  <a:lnTo>
                    <a:pt x="3941" y="938"/>
                  </a:lnTo>
                  <a:lnTo>
                    <a:pt x="3919" y="943"/>
                  </a:lnTo>
                  <a:lnTo>
                    <a:pt x="3886" y="933"/>
                  </a:lnTo>
                  <a:lnTo>
                    <a:pt x="3910" y="933"/>
                  </a:lnTo>
                  <a:lnTo>
                    <a:pt x="3910" y="933"/>
                  </a:lnTo>
                  <a:lnTo>
                    <a:pt x="3910" y="933"/>
                  </a:lnTo>
                  <a:close/>
                  <a:moveTo>
                    <a:pt x="1734" y="1082"/>
                  </a:moveTo>
                  <a:lnTo>
                    <a:pt x="1680" y="1087"/>
                  </a:lnTo>
                  <a:lnTo>
                    <a:pt x="1692" y="1111"/>
                  </a:lnTo>
                  <a:lnTo>
                    <a:pt x="1654" y="1127"/>
                  </a:lnTo>
                  <a:lnTo>
                    <a:pt x="1609" y="1106"/>
                  </a:lnTo>
                  <a:lnTo>
                    <a:pt x="1621" y="1066"/>
                  </a:lnTo>
                  <a:lnTo>
                    <a:pt x="1637" y="1049"/>
                  </a:lnTo>
                  <a:lnTo>
                    <a:pt x="1588" y="1049"/>
                  </a:lnTo>
                  <a:lnTo>
                    <a:pt x="1583" y="1054"/>
                  </a:lnTo>
                  <a:lnTo>
                    <a:pt x="1588" y="1082"/>
                  </a:lnTo>
                  <a:lnTo>
                    <a:pt x="1545" y="1087"/>
                  </a:lnTo>
                  <a:lnTo>
                    <a:pt x="1571" y="1111"/>
                  </a:lnTo>
                  <a:lnTo>
                    <a:pt x="1550" y="1127"/>
                  </a:lnTo>
                  <a:lnTo>
                    <a:pt x="1545" y="1144"/>
                  </a:lnTo>
                  <a:lnTo>
                    <a:pt x="1529" y="1155"/>
                  </a:lnTo>
                  <a:lnTo>
                    <a:pt x="1503" y="1122"/>
                  </a:lnTo>
                  <a:lnTo>
                    <a:pt x="1496" y="1122"/>
                  </a:lnTo>
                  <a:lnTo>
                    <a:pt x="1503" y="1144"/>
                  </a:lnTo>
                  <a:lnTo>
                    <a:pt x="1491" y="1155"/>
                  </a:lnTo>
                  <a:lnTo>
                    <a:pt x="1512" y="1160"/>
                  </a:lnTo>
                  <a:lnTo>
                    <a:pt x="1512" y="1165"/>
                  </a:lnTo>
                  <a:lnTo>
                    <a:pt x="1448" y="1193"/>
                  </a:lnTo>
                  <a:lnTo>
                    <a:pt x="1441" y="1193"/>
                  </a:lnTo>
                  <a:lnTo>
                    <a:pt x="1441" y="1165"/>
                  </a:lnTo>
                  <a:lnTo>
                    <a:pt x="1427" y="1165"/>
                  </a:lnTo>
                  <a:lnTo>
                    <a:pt x="1420" y="1144"/>
                  </a:lnTo>
                  <a:lnTo>
                    <a:pt x="1411" y="1139"/>
                  </a:lnTo>
                  <a:lnTo>
                    <a:pt x="1404" y="1144"/>
                  </a:lnTo>
                  <a:lnTo>
                    <a:pt x="1411" y="1165"/>
                  </a:lnTo>
                  <a:lnTo>
                    <a:pt x="1404" y="1177"/>
                  </a:lnTo>
                  <a:lnTo>
                    <a:pt x="1328" y="1160"/>
                  </a:lnTo>
                  <a:lnTo>
                    <a:pt x="1297" y="1177"/>
                  </a:lnTo>
                  <a:lnTo>
                    <a:pt x="1281" y="1165"/>
                  </a:lnTo>
                  <a:lnTo>
                    <a:pt x="1302" y="1155"/>
                  </a:lnTo>
                  <a:lnTo>
                    <a:pt x="1281" y="1155"/>
                  </a:lnTo>
                  <a:lnTo>
                    <a:pt x="1297" y="1144"/>
                  </a:lnTo>
                  <a:lnTo>
                    <a:pt x="1285" y="1139"/>
                  </a:lnTo>
                  <a:lnTo>
                    <a:pt x="1259" y="1155"/>
                  </a:lnTo>
                  <a:lnTo>
                    <a:pt x="1285" y="1111"/>
                  </a:lnTo>
                  <a:lnTo>
                    <a:pt x="1366" y="1106"/>
                  </a:lnTo>
                  <a:lnTo>
                    <a:pt x="1389" y="1070"/>
                  </a:lnTo>
                  <a:lnTo>
                    <a:pt x="1441" y="1049"/>
                  </a:lnTo>
                  <a:lnTo>
                    <a:pt x="1465" y="1016"/>
                  </a:lnTo>
                  <a:lnTo>
                    <a:pt x="1517" y="988"/>
                  </a:lnTo>
                  <a:lnTo>
                    <a:pt x="1533" y="971"/>
                  </a:lnTo>
                  <a:lnTo>
                    <a:pt x="1621" y="955"/>
                  </a:lnTo>
                  <a:lnTo>
                    <a:pt x="1680" y="971"/>
                  </a:lnTo>
                  <a:lnTo>
                    <a:pt x="1675" y="962"/>
                  </a:lnTo>
                  <a:lnTo>
                    <a:pt x="1696" y="971"/>
                  </a:lnTo>
                  <a:lnTo>
                    <a:pt x="1713" y="955"/>
                  </a:lnTo>
                  <a:lnTo>
                    <a:pt x="1675" y="943"/>
                  </a:lnTo>
                  <a:lnTo>
                    <a:pt x="1718" y="933"/>
                  </a:lnTo>
                  <a:lnTo>
                    <a:pt x="1798" y="971"/>
                  </a:lnTo>
                  <a:lnTo>
                    <a:pt x="1734" y="988"/>
                  </a:lnTo>
                  <a:lnTo>
                    <a:pt x="1734" y="1000"/>
                  </a:lnTo>
                  <a:lnTo>
                    <a:pt x="1734" y="1011"/>
                  </a:lnTo>
                  <a:lnTo>
                    <a:pt x="1772" y="1028"/>
                  </a:lnTo>
                  <a:lnTo>
                    <a:pt x="1730" y="1028"/>
                  </a:lnTo>
                  <a:lnTo>
                    <a:pt x="1751" y="1049"/>
                  </a:lnTo>
                  <a:lnTo>
                    <a:pt x="1760" y="1066"/>
                  </a:lnTo>
                  <a:lnTo>
                    <a:pt x="1734" y="1082"/>
                  </a:lnTo>
                  <a:lnTo>
                    <a:pt x="1734" y="1082"/>
                  </a:lnTo>
                  <a:lnTo>
                    <a:pt x="1734" y="1082"/>
                  </a:lnTo>
                  <a:close/>
                  <a:moveTo>
                    <a:pt x="3504" y="978"/>
                  </a:moveTo>
                  <a:lnTo>
                    <a:pt x="3525" y="988"/>
                  </a:lnTo>
                  <a:lnTo>
                    <a:pt x="3508" y="995"/>
                  </a:lnTo>
                  <a:lnTo>
                    <a:pt x="3487" y="988"/>
                  </a:lnTo>
                  <a:lnTo>
                    <a:pt x="3504" y="978"/>
                  </a:lnTo>
                  <a:lnTo>
                    <a:pt x="3504" y="978"/>
                  </a:lnTo>
                  <a:lnTo>
                    <a:pt x="3504" y="978"/>
                  </a:lnTo>
                  <a:close/>
                  <a:moveTo>
                    <a:pt x="3201" y="978"/>
                  </a:moveTo>
                  <a:lnTo>
                    <a:pt x="3208" y="988"/>
                  </a:lnTo>
                  <a:lnTo>
                    <a:pt x="3185" y="978"/>
                  </a:lnTo>
                  <a:lnTo>
                    <a:pt x="3201" y="978"/>
                  </a:lnTo>
                  <a:lnTo>
                    <a:pt x="3201" y="978"/>
                  </a:lnTo>
                  <a:lnTo>
                    <a:pt x="3201" y="978"/>
                  </a:lnTo>
                  <a:close/>
                  <a:moveTo>
                    <a:pt x="2592" y="995"/>
                  </a:moveTo>
                  <a:lnTo>
                    <a:pt x="2596" y="1000"/>
                  </a:lnTo>
                  <a:lnTo>
                    <a:pt x="2570" y="1000"/>
                  </a:lnTo>
                  <a:lnTo>
                    <a:pt x="2592" y="995"/>
                  </a:lnTo>
                  <a:lnTo>
                    <a:pt x="2592" y="995"/>
                  </a:lnTo>
                  <a:lnTo>
                    <a:pt x="2592" y="995"/>
                  </a:lnTo>
                  <a:close/>
                  <a:moveTo>
                    <a:pt x="1911" y="1000"/>
                  </a:moveTo>
                  <a:lnTo>
                    <a:pt x="1895" y="995"/>
                  </a:lnTo>
                  <a:lnTo>
                    <a:pt x="1923" y="995"/>
                  </a:lnTo>
                  <a:lnTo>
                    <a:pt x="1911" y="1000"/>
                  </a:lnTo>
                  <a:lnTo>
                    <a:pt x="1911" y="1000"/>
                  </a:lnTo>
                  <a:lnTo>
                    <a:pt x="1911" y="1000"/>
                  </a:lnTo>
                  <a:close/>
                  <a:moveTo>
                    <a:pt x="3818" y="1267"/>
                  </a:moveTo>
                  <a:lnTo>
                    <a:pt x="3881" y="1255"/>
                  </a:lnTo>
                  <a:lnTo>
                    <a:pt x="3848" y="1238"/>
                  </a:lnTo>
                  <a:lnTo>
                    <a:pt x="3903" y="1233"/>
                  </a:lnTo>
                  <a:lnTo>
                    <a:pt x="3924" y="1215"/>
                  </a:lnTo>
                  <a:lnTo>
                    <a:pt x="3962" y="1222"/>
                  </a:lnTo>
                  <a:lnTo>
                    <a:pt x="3945" y="1215"/>
                  </a:lnTo>
                  <a:lnTo>
                    <a:pt x="4000" y="1193"/>
                  </a:lnTo>
                  <a:lnTo>
                    <a:pt x="4054" y="1210"/>
                  </a:lnTo>
                  <a:lnTo>
                    <a:pt x="4120" y="1193"/>
                  </a:lnTo>
                  <a:lnTo>
                    <a:pt x="4172" y="1193"/>
                  </a:lnTo>
                  <a:lnTo>
                    <a:pt x="4196" y="1198"/>
                  </a:lnTo>
                  <a:lnTo>
                    <a:pt x="4189" y="1215"/>
                  </a:lnTo>
                  <a:lnTo>
                    <a:pt x="4243" y="1215"/>
                  </a:lnTo>
                  <a:lnTo>
                    <a:pt x="4281" y="1233"/>
                  </a:lnTo>
                  <a:lnTo>
                    <a:pt x="4248" y="1250"/>
                  </a:lnTo>
                  <a:lnTo>
                    <a:pt x="4314" y="1250"/>
                  </a:lnTo>
                  <a:lnTo>
                    <a:pt x="4302" y="1250"/>
                  </a:lnTo>
                  <a:lnTo>
                    <a:pt x="4314" y="1267"/>
                  </a:lnTo>
                  <a:lnTo>
                    <a:pt x="4302" y="1271"/>
                  </a:lnTo>
                  <a:lnTo>
                    <a:pt x="4318" y="1271"/>
                  </a:lnTo>
                  <a:lnTo>
                    <a:pt x="4314" y="1288"/>
                  </a:lnTo>
                  <a:lnTo>
                    <a:pt x="4248" y="1304"/>
                  </a:lnTo>
                  <a:lnTo>
                    <a:pt x="4264" y="1309"/>
                  </a:lnTo>
                  <a:lnTo>
                    <a:pt x="4259" y="1321"/>
                  </a:lnTo>
                  <a:lnTo>
                    <a:pt x="4302" y="1309"/>
                  </a:lnTo>
                  <a:lnTo>
                    <a:pt x="4323" y="1326"/>
                  </a:lnTo>
                  <a:lnTo>
                    <a:pt x="4281" y="1342"/>
                  </a:lnTo>
                  <a:lnTo>
                    <a:pt x="4259" y="1321"/>
                  </a:lnTo>
                  <a:lnTo>
                    <a:pt x="4248" y="1326"/>
                  </a:lnTo>
                  <a:lnTo>
                    <a:pt x="4271" y="1333"/>
                  </a:lnTo>
                  <a:lnTo>
                    <a:pt x="4264" y="1378"/>
                  </a:lnTo>
                  <a:lnTo>
                    <a:pt x="4196" y="1378"/>
                  </a:lnTo>
                  <a:lnTo>
                    <a:pt x="4151" y="1387"/>
                  </a:lnTo>
                  <a:lnTo>
                    <a:pt x="4070" y="1378"/>
                  </a:lnTo>
                  <a:lnTo>
                    <a:pt x="4054" y="1359"/>
                  </a:lnTo>
                  <a:lnTo>
                    <a:pt x="4066" y="1342"/>
                  </a:lnTo>
                  <a:lnTo>
                    <a:pt x="4066" y="1333"/>
                  </a:lnTo>
                  <a:lnTo>
                    <a:pt x="4033" y="1326"/>
                  </a:lnTo>
                  <a:lnTo>
                    <a:pt x="4033" y="1333"/>
                  </a:lnTo>
                  <a:lnTo>
                    <a:pt x="4049" y="1342"/>
                  </a:lnTo>
                  <a:lnTo>
                    <a:pt x="4033" y="1378"/>
                  </a:lnTo>
                  <a:lnTo>
                    <a:pt x="3978" y="1382"/>
                  </a:lnTo>
                  <a:lnTo>
                    <a:pt x="3936" y="1382"/>
                  </a:lnTo>
                  <a:lnTo>
                    <a:pt x="3924" y="1359"/>
                  </a:lnTo>
                  <a:lnTo>
                    <a:pt x="3924" y="1366"/>
                  </a:lnTo>
                  <a:lnTo>
                    <a:pt x="3924" y="1382"/>
                  </a:lnTo>
                  <a:lnTo>
                    <a:pt x="3910" y="1382"/>
                  </a:lnTo>
                  <a:lnTo>
                    <a:pt x="3903" y="1382"/>
                  </a:lnTo>
                  <a:lnTo>
                    <a:pt x="3886" y="1359"/>
                  </a:lnTo>
                  <a:lnTo>
                    <a:pt x="3893" y="1378"/>
                  </a:lnTo>
                  <a:lnTo>
                    <a:pt x="3886" y="1382"/>
                  </a:lnTo>
                  <a:lnTo>
                    <a:pt x="3848" y="1387"/>
                  </a:lnTo>
                  <a:lnTo>
                    <a:pt x="3848" y="1378"/>
                  </a:lnTo>
                  <a:lnTo>
                    <a:pt x="3839" y="1366"/>
                  </a:lnTo>
                  <a:lnTo>
                    <a:pt x="3827" y="1387"/>
                  </a:lnTo>
                  <a:lnTo>
                    <a:pt x="3801" y="1366"/>
                  </a:lnTo>
                  <a:lnTo>
                    <a:pt x="3811" y="1387"/>
                  </a:lnTo>
                  <a:lnTo>
                    <a:pt x="3676" y="1382"/>
                  </a:lnTo>
                  <a:lnTo>
                    <a:pt x="3676" y="1366"/>
                  </a:lnTo>
                  <a:lnTo>
                    <a:pt x="3693" y="1342"/>
                  </a:lnTo>
                  <a:lnTo>
                    <a:pt x="3676" y="1326"/>
                  </a:lnTo>
                  <a:lnTo>
                    <a:pt x="3655" y="1359"/>
                  </a:lnTo>
                  <a:lnTo>
                    <a:pt x="3655" y="1342"/>
                  </a:lnTo>
                  <a:lnTo>
                    <a:pt x="3638" y="1333"/>
                  </a:lnTo>
                  <a:lnTo>
                    <a:pt x="3650" y="1342"/>
                  </a:lnTo>
                  <a:lnTo>
                    <a:pt x="3638" y="1349"/>
                  </a:lnTo>
                  <a:lnTo>
                    <a:pt x="3622" y="1349"/>
                  </a:lnTo>
                  <a:lnTo>
                    <a:pt x="3638" y="1359"/>
                  </a:lnTo>
                  <a:lnTo>
                    <a:pt x="3638" y="1366"/>
                  </a:lnTo>
                  <a:lnTo>
                    <a:pt x="3612" y="1378"/>
                  </a:lnTo>
                  <a:lnTo>
                    <a:pt x="3579" y="1382"/>
                  </a:lnTo>
                  <a:lnTo>
                    <a:pt x="3532" y="1366"/>
                  </a:lnTo>
                  <a:lnTo>
                    <a:pt x="3525" y="1349"/>
                  </a:lnTo>
                  <a:lnTo>
                    <a:pt x="3504" y="1359"/>
                  </a:lnTo>
                  <a:lnTo>
                    <a:pt x="3525" y="1326"/>
                  </a:lnTo>
                  <a:lnTo>
                    <a:pt x="3494" y="1349"/>
                  </a:lnTo>
                  <a:lnTo>
                    <a:pt x="3504" y="1366"/>
                  </a:lnTo>
                  <a:lnTo>
                    <a:pt x="3470" y="1366"/>
                  </a:lnTo>
                  <a:lnTo>
                    <a:pt x="3433" y="1342"/>
                  </a:lnTo>
                  <a:lnTo>
                    <a:pt x="3440" y="1326"/>
                  </a:lnTo>
                  <a:lnTo>
                    <a:pt x="3423" y="1304"/>
                  </a:lnTo>
                  <a:lnTo>
                    <a:pt x="3440" y="1292"/>
                  </a:lnTo>
                  <a:lnTo>
                    <a:pt x="3433" y="1288"/>
                  </a:lnTo>
                  <a:lnTo>
                    <a:pt x="3402" y="1276"/>
                  </a:lnTo>
                  <a:lnTo>
                    <a:pt x="3407" y="1250"/>
                  </a:lnTo>
                  <a:lnTo>
                    <a:pt x="3440" y="1222"/>
                  </a:lnTo>
                  <a:lnTo>
                    <a:pt x="3423" y="1210"/>
                  </a:lnTo>
                  <a:lnTo>
                    <a:pt x="3433" y="1181"/>
                  </a:lnTo>
                  <a:lnTo>
                    <a:pt x="3395" y="1165"/>
                  </a:lnTo>
                  <a:lnTo>
                    <a:pt x="3395" y="1155"/>
                  </a:lnTo>
                  <a:lnTo>
                    <a:pt x="3364" y="1111"/>
                  </a:lnTo>
                  <a:lnTo>
                    <a:pt x="3310" y="1127"/>
                  </a:lnTo>
                  <a:lnTo>
                    <a:pt x="3201" y="1127"/>
                  </a:lnTo>
                  <a:lnTo>
                    <a:pt x="3201" y="1122"/>
                  </a:lnTo>
                  <a:lnTo>
                    <a:pt x="3239" y="1122"/>
                  </a:lnTo>
                  <a:lnTo>
                    <a:pt x="3170" y="1106"/>
                  </a:lnTo>
                  <a:lnTo>
                    <a:pt x="3147" y="1087"/>
                  </a:lnTo>
                  <a:lnTo>
                    <a:pt x="3185" y="1070"/>
                  </a:lnTo>
                  <a:lnTo>
                    <a:pt x="3154" y="1082"/>
                  </a:lnTo>
                  <a:lnTo>
                    <a:pt x="3095" y="1054"/>
                  </a:lnTo>
                  <a:lnTo>
                    <a:pt x="3100" y="1044"/>
                  </a:lnTo>
                  <a:lnTo>
                    <a:pt x="3133" y="1054"/>
                  </a:lnTo>
                  <a:lnTo>
                    <a:pt x="3100" y="1033"/>
                  </a:lnTo>
                  <a:lnTo>
                    <a:pt x="3095" y="1028"/>
                  </a:lnTo>
                  <a:lnTo>
                    <a:pt x="3109" y="1028"/>
                  </a:lnTo>
                  <a:lnTo>
                    <a:pt x="3100" y="1016"/>
                  </a:lnTo>
                  <a:lnTo>
                    <a:pt x="3180" y="1011"/>
                  </a:lnTo>
                  <a:lnTo>
                    <a:pt x="3277" y="1033"/>
                  </a:lnTo>
                  <a:lnTo>
                    <a:pt x="3315" y="1028"/>
                  </a:lnTo>
                  <a:lnTo>
                    <a:pt x="3352" y="1054"/>
                  </a:lnTo>
                  <a:lnTo>
                    <a:pt x="3348" y="1087"/>
                  </a:lnTo>
                  <a:lnTo>
                    <a:pt x="3326" y="1099"/>
                  </a:lnTo>
                  <a:lnTo>
                    <a:pt x="3331" y="1111"/>
                  </a:lnTo>
                  <a:lnTo>
                    <a:pt x="3364" y="1070"/>
                  </a:lnTo>
                  <a:lnTo>
                    <a:pt x="3508" y="1070"/>
                  </a:lnTo>
                  <a:lnTo>
                    <a:pt x="3546" y="1099"/>
                  </a:lnTo>
                  <a:lnTo>
                    <a:pt x="3470" y="1087"/>
                  </a:lnTo>
                  <a:lnTo>
                    <a:pt x="3633" y="1127"/>
                  </a:lnTo>
                  <a:lnTo>
                    <a:pt x="3546" y="1144"/>
                  </a:lnTo>
                  <a:lnTo>
                    <a:pt x="3570" y="1144"/>
                  </a:lnTo>
                  <a:lnTo>
                    <a:pt x="3461" y="1127"/>
                  </a:lnTo>
                  <a:lnTo>
                    <a:pt x="3532" y="1155"/>
                  </a:lnTo>
                  <a:lnTo>
                    <a:pt x="3515" y="1160"/>
                  </a:lnTo>
                  <a:lnTo>
                    <a:pt x="3563" y="1160"/>
                  </a:lnTo>
                  <a:lnTo>
                    <a:pt x="3494" y="1160"/>
                  </a:lnTo>
                  <a:lnTo>
                    <a:pt x="3508" y="1177"/>
                  </a:lnTo>
                  <a:lnTo>
                    <a:pt x="3504" y="1177"/>
                  </a:lnTo>
                  <a:lnTo>
                    <a:pt x="3504" y="1193"/>
                  </a:lnTo>
                  <a:lnTo>
                    <a:pt x="3525" y="1165"/>
                  </a:lnTo>
                  <a:lnTo>
                    <a:pt x="3546" y="1165"/>
                  </a:lnTo>
                  <a:lnTo>
                    <a:pt x="3541" y="1181"/>
                  </a:lnTo>
                  <a:lnTo>
                    <a:pt x="3579" y="1165"/>
                  </a:lnTo>
                  <a:lnTo>
                    <a:pt x="3600" y="1181"/>
                  </a:lnTo>
                  <a:lnTo>
                    <a:pt x="3596" y="1198"/>
                  </a:lnTo>
                  <a:lnTo>
                    <a:pt x="3612" y="1181"/>
                  </a:lnTo>
                  <a:lnTo>
                    <a:pt x="3633" y="1198"/>
                  </a:lnTo>
                  <a:lnTo>
                    <a:pt x="3633" y="1222"/>
                  </a:lnTo>
                  <a:lnTo>
                    <a:pt x="3596" y="1233"/>
                  </a:lnTo>
                  <a:lnTo>
                    <a:pt x="3612" y="1233"/>
                  </a:lnTo>
                  <a:lnTo>
                    <a:pt x="3600" y="1233"/>
                  </a:lnTo>
                  <a:lnTo>
                    <a:pt x="3633" y="1222"/>
                  </a:lnTo>
                  <a:lnTo>
                    <a:pt x="3650" y="1250"/>
                  </a:lnTo>
                  <a:lnTo>
                    <a:pt x="3667" y="1250"/>
                  </a:lnTo>
                  <a:lnTo>
                    <a:pt x="3655" y="1222"/>
                  </a:lnTo>
                  <a:lnTo>
                    <a:pt x="3667" y="1215"/>
                  </a:lnTo>
                  <a:lnTo>
                    <a:pt x="3704" y="1233"/>
                  </a:lnTo>
                  <a:lnTo>
                    <a:pt x="3704" y="1238"/>
                  </a:lnTo>
                  <a:lnTo>
                    <a:pt x="3742" y="1233"/>
                  </a:lnTo>
                  <a:lnTo>
                    <a:pt x="3759" y="1238"/>
                  </a:lnTo>
                  <a:lnTo>
                    <a:pt x="3747" y="1250"/>
                  </a:lnTo>
                  <a:lnTo>
                    <a:pt x="3759" y="1238"/>
                  </a:lnTo>
                  <a:lnTo>
                    <a:pt x="3759" y="1233"/>
                  </a:lnTo>
                  <a:lnTo>
                    <a:pt x="3763" y="1222"/>
                  </a:lnTo>
                  <a:lnTo>
                    <a:pt x="3773" y="1222"/>
                  </a:lnTo>
                  <a:lnTo>
                    <a:pt x="3834" y="1250"/>
                  </a:lnTo>
                  <a:lnTo>
                    <a:pt x="3818" y="1267"/>
                  </a:lnTo>
                  <a:lnTo>
                    <a:pt x="3818" y="1267"/>
                  </a:lnTo>
                  <a:lnTo>
                    <a:pt x="3818" y="1267"/>
                  </a:lnTo>
                  <a:close/>
                  <a:moveTo>
                    <a:pt x="3071" y="1011"/>
                  </a:moveTo>
                  <a:lnTo>
                    <a:pt x="3078" y="1016"/>
                  </a:lnTo>
                  <a:lnTo>
                    <a:pt x="3057" y="1016"/>
                  </a:lnTo>
                  <a:lnTo>
                    <a:pt x="3071" y="1011"/>
                  </a:lnTo>
                  <a:lnTo>
                    <a:pt x="3071" y="1011"/>
                  </a:lnTo>
                  <a:lnTo>
                    <a:pt x="3071" y="1011"/>
                  </a:lnTo>
                  <a:close/>
                  <a:moveTo>
                    <a:pt x="2230" y="1028"/>
                  </a:moveTo>
                  <a:lnTo>
                    <a:pt x="2235" y="1033"/>
                  </a:lnTo>
                  <a:lnTo>
                    <a:pt x="2219" y="1028"/>
                  </a:lnTo>
                  <a:lnTo>
                    <a:pt x="2230" y="1028"/>
                  </a:lnTo>
                  <a:lnTo>
                    <a:pt x="2230" y="1028"/>
                  </a:lnTo>
                  <a:lnTo>
                    <a:pt x="2230" y="1028"/>
                  </a:lnTo>
                  <a:close/>
                  <a:moveTo>
                    <a:pt x="1890" y="1066"/>
                  </a:moveTo>
                  <a:lnTo>
                    <a:pt x="1836" y="1049"/>
                  </a:lnTo>
                  <a:lnTo>
                    <a:pt x="1852" y="1033"/>
                  </a:lnTo>
                  <a:lnTo>
                    <a:pt x="1907" y="1033"/>
                  </a:lnTo>
                  <a:lnTo>
                    <a:pt x="1933" y="1049"/>
                  </a:lnTo>
                  <a:lnTo>
                    <a:pt x="1890" y="1066"/>
                  </a:lnTo>
                  <a:lnTo>
                    <a:pt x="1890" y="1066"/>
                  </a:lnTo>
                  <a:lnTo>
                    <a:pt x="1890" y="1066"/>
                  </a:lnTo>
                  <a:close/>
                  <a:moveTo>
                    <a:pt x="3078" y="1044"/>
                  </a:moveTo>
                  <a:lnTo>
                    <a:pt x="3083" y="1044"/>
                  </a:lnTo>
                  <a:lnTo>
                    <a:pt x="3071" y="1044"/>
                  </a:lnTo>
                  <a:lnTo>
                    <a:pt x="3078" y="1044"/>
                  </a:lnTo>
                  <a:lnTo>
                    <a:pt x="3078" y="1044"/>
                  </a:lnTo>
                  <a:lnTo>
                    <a:pt x="3078" y="1044"/>
                  </a:lnTo>
                  <a:close/>
                  <a:moveTo>
                    <a:pt x="2058" y="1309"/>
                  </a:moveTo>
                  <a:lnTo>
                    <a:pt x="2112" y="1276"/>
                  </a:lnTo>
                  <a:lnTo>
                    <a:pt x="2004" y="1292"/>
                  </a:lnTo>
                  <a:lnTo>
                    <a:pt x="2015" y="1276"/>
                  </a:lnTo>
                  <a:lnTo>
                    <a:pt x="1987" y="1288"/>
                  </a:lnTo>
                  <a:lnTo>
                    <a:pt x="1987" y="1271"/>
                  </a:lnTo>
                  <a:lnTo>
                    <a:pt x="1982" y="1292"/>
                  </a:lnTo>
                  <a:lnTo>
                    <a:pt x="1978" y="1292"/>
                  </a:lnTo>
                  <a:lnTo>
                    <a:pt x="1895" y="1304"/>
                  </a:lnTo>
                  <a:lnTo>
                    <a:pt x="1895" y="1292"/>
                  </a:lnTo>
                  <a:lnTo>
                    <a:pt x="1907" y="1267"/>
                  </a:lnTo>
                  <a:lnTo>
                    <a:pt x="1944" y="1255"/>
                  </a:lnTo>
                  <a:lnTo>
                    <a:pt x="1895" y="1255"/>
                  </a:lnTo>
                  <a:lnTo>
                    <a:pt x="1890" y="1250"/>
                  </a:lnTo>
                  <a:lnTo>
                    <a:pt x="1890" y="1267"/>
                  </a:lnTo>
                  <a:lnTo>
                    <a:pt x="1878" y="1276"/>
                  </a:lnTo>
                  <a:lnTo>
                    <a:pt x="1852" y="1271"/>
                  </a:lnTo>
                  <a:lnTo>
                    <a:pt x="1874" y="1288"/>
                  </a:lnTo>
                  <a:lnTo>
                    <a:pt x="1869" y="1304"/>
                  </a:lnTo>
                  <a:lnTo>
                    <a:pt x="1819" y="1321"/>
                  </a:lnTo>
                  <a:lnTo>
                    <a:pt x="1815" y="1309"/>
                  </a:lnTo>
                  <a:lnTo>
                    <a:pt x="1815" y="1292"/>
                  </a:lnTo>
                  <a:lnTo>
                    <a:pt x="1803" y="1288"/>
                  </a:lnTo>
                  <a:lnTo>
                    <a:pt x="1798" y="1292"/>
                  </a:lnTo>
                  <a:lnTo>
                    <a:pt x="1782" y="1292"/>
                  </a:lnTo>
                  <a:lnTo>
                    <a:pt x="1789" y="1309"/>
                  </a:lnTo>
                  <a:lnTo>
                    <a:pt x="1772" y="1321"/>
                  </a:lnTo>
                  <a:lnTo>
                    <a:pt x="1744" y="1304"/>
                  </a:lnTo>
                  <a:lnTo>
                    <a:pt x="1734" y="1292"/>
                  </a:lnTo>
                  <a:lnTo>
                    <a:pt x="1734" y="1276"/>
                  </a:lnTo>
                  <a:lnTo>
                    <a:pt x="1706" y="1292"/>
                  </a:lnTo>
                  <a:lnTo>
                    <a:pt x="1637" y="1276"/>
                  </a:lnTo>
                  <a:lnTo>
                    <a:pt x="1663" y="1238"/>
                  </a:lnTo>
                  <a:lnTo>
                    <a:pt x="1751" y="1238"/>
                  </a:lnTo>
                  <a:lnTo>
                    <a:pt x="1826" y="1210"/>
                  </a:lnTo>
                  <a:lnTo>
                    <a:pt x="1730" y="1233"/>
                  </a:lnTo>
                  <a:lnTo>
                    <a:pt x="1663" y="1222"/>
                  </a:lnTo>
                  <a:lnTo>
                    <a:pt x="1696" y="1198"/>
                  </a:lnTo>
                  <a:lnTo>
                    <a:pt x="1836" y="1181"/>
                  </a:lnTo>
                  <a:lnTo>
                    <a:pt x="1706" y="1177"/>
                  </a:lnTo>
                  <a:lnTo>
                    <a:pt x="1718" y="1165"/>
                  </a:lnTo>
                  <a:lnTo>
                    <a:pt x="1706" y="1160"/>
                  </a:lnTo>
                  <a:lnTo>
                    <a:pt x="1713" y="1155"/>
                  </a:lnTo>
                  <a:lnTo>
                    <a:pt x="1734" y="1139"/>
                  </a:lnTo>
                  <a:lnTo>
                    <a:pt x="1852" y="1144"/>
                  </a:lnTo>
                  <a:lnTo>
                    <a:pt x="1760" y="1122"/>
                  </a:lnTo>
                  <a:lnTo>
                    <a:pt x="1789" y="1099"/>
                  </a:lnTo>
                  <a:lnTo>
                    <a:pt x="1826" y="1087"/>
                  </a:lnTo>
                  <a:lnTo>
                    <a:pt x="1878" y="1099"/>
                  </a:lnTo>
                  <a:lnTo>
                    <a:pt x="1878" y="1122"/>
                  </a:lnTo>
                  <a:lnTo>
                    <a:pt x="1895" y="1139"/>
                  </a:lnTo>
                  <a:lnTo>
                    <a:pt x="1966" y="1127"/>
                  </a:lnTo>
                  <a:lnTo>
                    <a:pt x="2004" y="1139"/>
                  </a:lnTo>
                  <a:lnTo>
                    <a:pt x="1999" y="1155"/>
                  </a:lnTo>
                  <a:lnTo>
                    <a:pt x="2004" y="1160"/>
                  </a:lnTo>
                  <a:lnTo>
                    <a:pt x="2053" y="1177"/>
                  </a:lnTo>
                  <a:lnTo>
                    <a:pt x="2020" y="1193"/>
                  </a:lnTo>
                  <a:lnTo>
                    <a:pt x="2074" y="1193"/>
                  </a:lnTo>
                  <a:lnTo>
                    <a:pt x="2084" y="1210"/>
                  </a:lnTo>
                  <a:lnTo>
                    <a:pt x="2074" y="1222"/>
                  </a:lnTo>
                  <a:lnTo>
                    <a:pt x="2091" y="1238"/>
                  </a:lnTo>
                  <a:lnTo>
                    <a:pt x="2143" y="1233"/>
                  </a:lnTo>
                  <a:lnTo>
                    <a:pt x="2252" y="1238"/>
                  </a:lnTo>
                  <a:lnTo>
                    <a:pt x="2263" y="1215"/>
                  </a:lnTo>
                  <a:lnTo>
                    <a:pt x="2167" y="1181"/>
                  </a:lnTo>
                  <a:lnTo>
                    <a:pt x="2197" y="1177"/>
                  </a:lnTo>
                  <a:lnTo>
                    <a:pt x="2219" y="1155"/>
                  </a:lnTo>
                  <a:lnTo>
                    <a:pt x="2155" y="1122"/>
                  </a:lnTo>
                  <a:lnTo>
                    <a:pt x="2143" y="1106"/>
                  </a:lnTo>
                  <a:lnTo>
                    <a:pt x="2197" y="1087"/>
                  </a:lnTo>
                  <a:lnTo>
                    <a:pt x="2181" y="1087"/>
                  </a:lnTo>
                  <a:lnTo>
                    <a:pt x="2219" y="1049"/>
                  </a:lnTo>
                  <a:lnTo>
                    <a:pt x="2263" y="1044"/>
                  </a:lnTo>
                  <a:lnTo>
                    <a:pt x="2285" y="1054"/>
                  </a:lnTo>
                  <a:lnTo>
                    <a:pt x="2268" y="1070"/>
                  </a:lnTo>
                  <a:lnTo>
                    <a:pt x="2273" y="1106"/>
                  </a:lnTo>
                  <a:lnTo>
                    <a:pt x="2306" y="1122"/>
                  </a:lnTo>
                  <a:lnTo>
                    <a:pt x="2285" y="1144"/>
                  </a:lnTo>
                  <a:lnTo>
                    <a:pt x="2289" y="1160"/>
                  </a:lnTo>
                  <a:lnTo>
                    <a:pt x="2327" y="1160"/>
                  </a:lnTo>
                  <a:lnTo>
                    <a:pt x="2344" y="1165"/>
                  </a:lnTo>
                  <a:lnTo>
                    <a:pt x="2318" y="1198"/>
                  </a:lnTo>
                  <a:lnTo>
                    <a:pt x="2339" y="1181"/>
                  </a:lnTo>
                  <a:lnTo>
                    <a:pt x="2377" y="1181"/>
                  </a:lnTo>
                  <a:lnTo>
                    <a:pt x="2393" y="1210"/>
                  </a:lnTo>
                  <a:lnTo>
                    <a:pt x="2415" y="1198"/>
                  </a:lnTo>
                  <a:lnTo>
                    <a:pt x="2393" y="1193"/>
                  </a:lnTo>
                  <a:lnTo>
                    <a:pt x="2393" y="1165"/>
                  </a:lnTo>
                  <a:lnTo>
                    <a:pt x="2431" y="1160"/>
                  </a:lnTo>
                  <a:lnTo>
                    <a:pt x="2483" y="1177"/>
                  </a:lnTo>
                  <a:lnTo>
                    <a:pt x="2490" y="1193"/>
                  </a:lnTo>
                  <a:lnTo>
                    <a:pt x="2500" y="1215"/>
                  </a:lnTo>
                  <a:lnTo>
                    <a:pt x="2478" y="1238"/>
                  </a:lnTo>
                  <a:lnTo>
                    <a:pt x="2483" y="1250"/>
                  </a:lnTo>
                  <a:lnTo>
                    <a:pt x="2478" y="1267"/>
                  </a:lnTo>
                  <a:lnTo>
                    <a:pt x="2462" y="1276"/>
                  </a:lnTo>
                  <a:lnTo>
                    <a:pt x="2462" y="1292"/>
                  </a:lnTo>
                  <a:lnTo>
                    <a:pt x="2452" y="1292"/>
                  </a:lnTo>
                  <a:lnTo>
                    <a:pt x="2452" y="1304"/>
                  </a:lnTo>
                  <a:lnTo>
                    <a:pt x="2393" y="1326"/>
                  </a:lnTo>
                  <a:lnTo>
                    <a:pt x="2339" y="1321"/>
                  </a:lnTo>
                  <a:lnTo>
                    <a:pt x="2327" y="1292"/>
                  </a:lnTo>
                  <a:lnTo>
                    <a:pt x="2322" y="1321"/>
                  </a:lnTo>
                  <a:lnTo>
                    <a:pt x="2289" y="1326"/>
                  </a:lnTo>
                  <a:lnTo>
                    <a:pt x="2263" y="1309"/>
                  </a:lnTo>
                  <a:lnTo>
                    <a:pt x="2285" y="1321"/>
                  </a:lnTo>
                  <a:lnTo>
                    <a:pt x="2263" y="1304"/>
                  </a:lnTo>
                  <a:lnTo>
                    <a:pt x="2209" y="1333"/>
                  </a:lnTo>
                  <a:lnTo>
                    <a:pt x="2155" y="1333"/>
                  </a:lnTo>
                  <a:lnTo>
                    <a:pt x="2122" y="1359"/>
                  </a:lnTo>
                  <a:lnTo>
                    <a:pt x="2058" y="1382"/>
                  </a:lnTo>
                  <a:lnTo>
                    <a:pt x="1982" y="1399"/>
                  </a:lnTo>
                  <a:lnTo>
                    <a:pt x="1911" y="1387"/>
                  </a:lnTo>
                  <a:lnTo>
                    <a:pt x="1869" y="1359"/>
                  </a:lnTo>
                  <a:lnTo>
                    <a:pt x="1978" y="1321"/>
                  </a:lnTo>
                  <a:lnTo>
                    <a:pt x="2058" y="1309"/>
                  </a:lnTo>
                  <a:lnTo>
                    <a:pt x="2058" y="1309"/>
                  </a:lnTo>
                  <a:lnTo>
                    <a:pt x="2058" y="1309"/>
                  </a:lnTo>
                  <a:close/>
                  <a:moveTo>
                    <a:pt x="3579" y="1099"/>
                  </a:moveTo>
                  <a:lnTo>
                    <a:pt x="3532" y="1054"/>
                  </a:lnTo>
                  <a:lnTo>
                    <a:pt x="3579" y="1044"/>
                  </a:lnTo>
                  <a:lnTo>
                    <a:pt x="3600" y="1054"/>
                  </a:lnTo>
                  <a:lnTo>
                    <a:pt x="3584" y="1070"/>
                  </a:lnTo>
                  <a:lnTo>
                    <a:pt x="3600" y="1087"/>
                  </a:lnTo>
                  <a:lnTo>
                    <a:pt x="3579" y="1099"/>
                  </a:lnTo>
                  <a:lnTo>
                    <a:pt x="3579" y="1099"/>
                  </a:lnTo>
                  <a:lnTo>
                    <a:pt x="3579" y="1099"/>
                  </a:lnTo>
                  <a:close/>
                  <a:moveTo>
                    <a:pt x="2856" y="1054"/>
                  </a:moveTo>
                  <a:lnTo>
                    <a:pt x="2785" y="1082"/>
                  </a:lnTo>
                  <a:lnTo>
                    <a:pt x="2759" y="1082"/>
                  </a:lnTo>
                  <a:lnTo>
                    <a:pt x="2823" y="1054"/>
                  </a:lnTo>
                  <a:lnTo>
                    <a:pt x="2856" y="1054"/>
                  </a:lnTo>
                  <a:lnTo>
                    <a:pt x="2856" y="1054"/>
                  </a:lnTo>
                  <a:lnTo>
                    <a:pt x="2856" y="1054"/>
                  </a:lnTo>
                  <a:close/>
                  <a:moveTo>
                    <a:pt x="1404" y="1054"/>
                  </a:moveTo>
                  <a:lnTo>
                    <a:pt x="1411" y="1054"/>
                  </a:lnTo>
                  <a:lnTo>
                    <a:pt x="1389" y="1054"/>
                  </a:lnTo>
                  <a:lnTo>
                    <a:pt x="1404" y="1054"/>
                  </a:lnTo>
                  <a:lnTo>
                    <a:pt x="1404" y="1054"/>
                  </a:lnTo>
                  <a:lnTo>
                    <a:pt x="1404" y="1054"/>
                  </a:lnTo>
                  <a:close/>
                  <a:moveTo>
                    <a:pt x="2911" y="1054"/>
                  </a:moveTo>
                  <a:lnTo>
                    <a:pt x="2915" y="1066"/>
                  </a:lnTo>
                  <a:lnTo>
                    <a:pt x="2868" y="1054"/>
                  </a:lnTo>
                  <a:lnTo>
                    <a:pt x="2911" y="1054"/>
                  </a:lnTo>
                  <a:lnTo>
                    <a:pt x="2911" y="1054"/>
                  </a:lnTo>
                  <a:lnTo>
                    <a:pt x="2911" y="1054"/>
                  </a:lnTo>
                  <a:close/>
                  <a:moveTo>
                    <a:pt x="2899" y="1155"/>
                  </a:moveTo>
                  <a:lnTo>
                    <a:pt x="2915" y="1144"/>
                  </a:lnTo>
                  <a:lnTo>
                    <a:pt x="2844" y="1139"/>
                  </a:lnTo>
                  <a:lnTo>
                    <a:pt x="2840" y="1127"/>
                  </a:lnTo>
                  <a:lnTo>
                    <a:pt x="2882" y="1122"/>
                  </a:lnTo>
                  <a:lnTo>
                    <a:pt x="2830" y="1111"/>
                  </a:lnTo>
                  <a:lnTo>
                    <a:pt x="2807" y="1087"/>
                  </a:lnTo>
                  <a:lnTo>
                    <a:pt x="2856" y="1070"/>
                  </a:lnTo>
                  <a:lnTo>
                    <a:pt x="2899" y="1070"/>
                  </a:lnTo>
                  <a:lnTo>
                    <a:pt x="2937" y="1106"/>
                  </a:lnTo>
                  <a:lnTo>
                    <a:pt x="2937" y="1099"/>
                  </a:lnTo>
                  <a:lnTo>
                    <a:pt x="2953" y="1106"/>
                  </a:lnTo>
                  <a:lnTo>
                    <a:pt x="2948" y="1087"/>
                  </a:lnTo>
                  <a:lnTo>
                    <a:pt x="2948" y="1070"/>
                  </a:lnTo>
                  <a:lnTo>
                    <a:pt x="2986" y="1070"/>
                  </a:lnTo>
                  <a:lnTo>
                    <a:pt x="2953" y="1066"/>
                  </a:lnTo>
                  <a:lnTo>
                    <a:pt x="2970" y="1066"/>
                  </a:lnTo>
                  <a:lnTo>
                    <a:pt x="3029" y="1087"/>
                  </a:lnTo>
                  <a:lnTo>
                    <a:pt x="3041" y="1106"/>
                  </a:lnTo>
                  <a:lnTo>
                    <a:pt x="3029" y="1111"/>
                  </a:lnTo>
                  <a:lnTo>
                    <a:pt x="3041" y="1127"/>
                  </a:lnTo>
                  <a:lnTo>
                    <a:pt x="3057" y="1144"/>
                  </a:lnTo>
                  <a:lnTo>
                    <a:pt x="3041" y="1165"/>
                  </a:lnTo>
                  <a:lnTo>
                    <a:pt x="3045" y="1193"/>
                  </a:lnTo>
                  <a:lnTo>
                    <a:pt x="3024" y="1210"/>
                  </a:lnTo>
                  <a:lnTo>
                    <a:pt x="3062" y="1215"/>
                  </a:lnTo>
                  <a:lnTo>
                    <a:pt x="3057" y="1238"/>
                  </a:lnTo>
                  <a:lnTo>
                    <a:pt x="3071" y="1255"/>
                  </a:lnTo>
                  <a:lnTo>
                    <a:pt x="3041" y="1233"/>
                  </a:lnTo>
                  <a:lnTo>
                    <a:pt x="3029" y="1233"/>
                  </a:lnTo>
                  <a:lnTo>
                    <a:pt x="3029" y="1250"/>
                  </a:lnTo>
                  <a:lnTo>
                    <a:pt x="3019" y="1238"/>
                  </a:lnTo>
                  <a:lnTo>
                    <a:pt x="3029" y="1250"/>
                  </a:lnTo>
                  <a:lnTo>
                    <a:pt x="3019" y="1255"/>
                  </a:lnTo>
                  <a:lnTo>
                    <a:pt x="3024" y="1255"/>
                  </a:lnTo>
                  <a:lnTo>
                    <a:pt x="3007" y="1255"/>
                  </a:lnTo>
                  <a:lnTo>
                    <a:pt x="3007" y="1271"/>
                  </a:lnTo>
                  <a:lnTo>
                    <a:pt x="3045" y="1288"/>
                  </a:lnTo>
                  <a:lnTo>
                    <a:pt x="3024" y="1292"/>
                  </a:lnTo>
                  <a:lnTo>
                    <a:pt x="3019" y="1276"/>
                  </a:lnTo>
                  <a:lnTo>
                    <a:pt x="3007" y="1288"/>
                  </a:lnTo>
                  <a:lnTo>
                    <a:pt x="3019" y="1292"/>
                  </a:lnTo>
                  <a:lnTo>
                    <a:pt x="3019" y="1309"/>
                  </a:lnTo>
                  <a:lnTo>
                    <a:pt x="2915" y="1309"/>
                  </a:lnTo>
                  <a:lnTo>
                    <a:pt x="2920" y="1292"/>
                  </a:lnTo>
                  <a:lnTo>
                    <a:pt x="2911" y="1309"/>
                  </a:lnTo>
                  <a:lnTo>
                    <a:pt x="2915" y="1309"/>
                  </a:lnTo>
                  <a:lnTo>
                    <a:pt x="2868" y="1309"/>
                  </a:lnTo>
                  <a:lnTo>
                    <a:pt x="2844" y="1309"/>
                  </a:lnTo>
                  <a:lnTo>
                    <a:pt x="2844" y="1288"/>
                  </a:lnTo>
                  <a:lnTo>
                    <a:pt x="2840" y="1288"/>
                  </a:lnTo>
                  <a:lnTo>
                    <a:pt x="2878" y="1276"/>
                  </a:lnTo>
                  <a:lnTo>
                    <a:pt x="2823" y="1267"/>
                  </a:lnTo>
                  <a:lnTo>
                    <a:pt x="2844" y="1255"/>
                  </a:lnTo>
                  <a:lnTo>
                    <a:pt x="2830" y="1250"/>
                  </a:lnTo>
                  <a:lnTo>
                    <a:pt x="2878" y="1250"/>
                  </a:lnTo>
                  <a:lnTo>
                    <a:pt x="2856" y="1238"/>
                  </a:lnTo>
                  <a:lnTo>
                    <a:pt x="2899" y="1222"/>
                  </a:lnTo>
                  <a:lnTo>
                    <a:pt x="2882" y="1222"/>
                  </a:lnTo>
                  <a:lnTo>
                    <a:pt x="2894" y="1215"/>
                  </a:lnTo>
                  <a:lnTo>
                    <a:pt x="2953" y="1210"/>
                  </a:lnTo>
                  <a:lnTo>
                    <a:pt x="2700" y="1238"/>
                  </a:lnTo>
                  <a:lnTo>
                    <a:pt x="2679" y="1222"/>
                  </a:lnTo>
                  <a:lnTo>
                    <a:pt x="2700" y="1210"/>
                  </a:lnTo>
                  <a:lnTo>
                    <a:pt x="2738" y="1210"/>
                  </a:lnTo>
                  <a:lnTo>
                    <a:pt x="2731" y="1198"/>
                  </a:lnTo>
                  <a:lnTo>
                    <a:pt x="2705" y="1198"/>
                  </a:lnTo>
                  <a:lnTo>
                    <a:pt x="2722" y="1181"/>
                  </a:lnTo>
                  <a:lnTo>
                    <a:pt x="2793" y="1198"/>
                  </a:lnTo>
                  <a:lnTo>
                    <a:pt x="2785" y="1198"/>
                  </a:lnTo>
                  <a:lnTo>
                    <a:pt x="2785" y="1193"/>
                  </a:lnTo>
                  <a:lnTo>
                    <a:pt x="2769" y="1177"/>
                  </a:lnTo>
                  <a:lnTo>
                    <a:pt x="2785" y="1160"/>
                  </a:lnTo>
                  <a:lnTo>
                    <a:pt x="2759" y="1165"/>
                  </a:lnTo>
                  <a:lnTo>
                    <a:pt x="2748" y="1155"/>
                  </a:lnTo>
                  <a:lnTo>
                    <a:pt x="2776" y="1127"/>
                  </a:lnTo>
                  <a:lnTo>
                    <a:pt x="2722" y="1127"/>
                  </a:lnTo>
                  <a:lnTo>
                    <a:pt x="2731" y="1127"/>
                  </a:lnTo>
                  <a:lnTo>
                    <a:pt x="2731" y="1106"/>
                  </a:lnTo>
                  <a:lnTo>
                    <a:pt x="2748" y="1099"/>
                  </a:lnTo>
                  <a:lnTo>
                    <a:pt x="2785" y="1106"/>
                  </a:lnTo>
                  <a:lnTo>
                    <a:pt x="2878" y="1181"/>
                  </a:lnTo>
                  <a:lnTo>
                    <a:pt x="2915" y="1165"/>
                  </a:lnTo>
                  <a:lnTo>
                    <a:pt x="2882" y="1177"/>
                  </a:lnTo>
                  <a:lnTo>
                    <a:pt x="2861" y="1144"/>
                  </a:lnTo>
                  <a:lnTo>
                    <a:pt x="2899" y="1155"/>
                  </a:lnTo>
                  <a:lnTo>
                    <a:pt x="2899" y="1155"/>
                  </a:lnTo>
                  <a:lnTo>
                    <a:pt x="2899" y="1155"/>
                  </a:lnTo>
                  <a:close/>
                  <a:moveTo>
                    <a:pt x="2587" y="1066"/>
                  </a:moveTo>
                  <a:lnTo>
                    <a:pt x="2596" y="1070"/>
                  </a:lnTo>
                  <a:lnTo>
                    <a:pt x="2592" y="1082"/>
                  </a:lnTo>
                  <a:lnTo>
                    <a:pt x="2608" y="1070"/>
                  </a:lnTo>
                  <a:lnTo>
                    <a:pt x="2667" y="1106"/>
                  </a:lnTo>
                  <a:lnTo>
                    <a:pt x="2630" y="1122"/>
                  </a:lnTo>
                  <a:lnTo>
                    <a:pt x="2570" y="1122"/>
                  </a:lnTo>
                  <a:lnTo>
                    <a:pt x="2575" y="1111"/>
                  </a:lnTo>
                  <a:lnTo>
                    <a:pt x="2570" y="1099"/>
                  </a:lnTo>
                  <a:lnTo>
                    <a:pt x="2542" y="1082"/>
                  </a:lnTo>
                  <a:lnTo>
                    <a:pt x="2587" y="1066"/>
                  </a:lnTo>
                  <a:lnTo>
                    <a:pt x="2587" y="1066"/>
                  </a:lnTo>
                  <a:lnTo>
                    <a:pt x="2587" y="1066"/>
                  </a:lnTo>
                  <a:close/>
                  <a:moveTo>
                    <a:pt x="3990" y="1087"/>
                  </a:moveTo>
                  <a:lnTo>
                    <a:pt x="4000" y="1099"/>
                  </a:lnTo>
                  <a:lnTo>
                    <a:pt x="3990" y="1099"/>
                  </a:lnTo>
                  <a:lnTo>
                    <a:pt x="3990" y="1087"/>
                  </a:lnTo>
                  <a:lnTo>
                    <a:pt x="3990" y="1087"/>
                  </a:lnTo>
                  <a:lnTo>
                    <a:pt x="3990" y="1087"/>
                  </a:lnTo>
                  <a:close/>
                  <a:moveTo>
                    <a:pt x="3612" y="1099"/>
                  </a:moveTo>
                  <a:lnTo>
                    <a:pt x="3617" y="1099"/>
                  </a:lnTo>
                  <a:lnTo>
                    <a:pt x="3600" y="1099"/>
                  </a:lnTo>
                  <a:lnTo>
                    <a:pt x="3612" y="1099"/>
                  </a:lnTo>
                  <a:lnTo>
                    <a:pt x="3612" y="1099"/>
                  </a:lnTo>
                  <a:lnTo>
                    <a:pt x="3612" y="1099"/>
                  </a:lnTo>
                  <a:close/>
                  <a:moveTo>
                    <a:pt x="2693" y="1122"/>
                  </a:moveTo>
                  <a:lnTo>
                    <a:pt x="2700" y="1139"/>
                  </a:lnTo>
                  <a:lnTo>
                    <a:pt x="2693" y="1144"/>
                  </a:lnTo>
                  <a:lnTo>
                    <a:pt x="2646" y="1160"/>
                  </a:lnTo>
                  <a:lnTo>
                    <a:pt x="2596" y="1160"/>
                  </a:lnTo>
                  <a:lnTo>
                    <a:pt x="2608" y="1160"/>
                  </a:lnTo>
                  <a:lnTo>
                    <a:pt x="2559" y="1144"/>
                  </a:lnTo>
                  <a:lnTo>
                    <a:pt x="2575" y="1139"/>
                  </a:lnTo>
                  <a:lnTo>
                    <a:pt x="2693" y="1122"/>
                  </a:lnTo>
                  <a:lnTo>
                    <a:pt x="2693" y="1122"/>
                  </a:lnTo>
                  <a:lnTo>
                    <a:pt x="2693" y="1122"/>
                  </a:lnTo>
                  <a:close/>
                  <a:moveTo>
                    <a:pt x="3239" y="1144"/>
                  </a:moveTo>
                  <a:lnTo>
                    <a:pt x="3234" y="1160"/>
                  </a:lnTo>
                  <a:lnTo>
                    <a:pt x="3218" y="1155"/>
                  </a:lnTo>
                  <a:lnTo>
                    <a:pt x="3239" y="1144"/>
                  </a:lnTo>
                  <a:lnTo>
                    <a:pt x="3239" y="1144"/>
                  </a:lnTo>
                  <a:lnTo>
                    <a:pt x="3239" y="1144"/>
                  </a:lnTo>
                  <a:close/>
                  <a:moveTo>
                    <a:pt x="4356" y="1155"/>
                  </a:moveTo>
                  <a:lnTo>
                    <a:pt x="4368" y="1155"/>
                  </a:lnTo>
                  <a:lnTo>
                    <a:pt x="4335" y="1177"/>
                  </a:lnTo>
                  <a:lnTo>
                    <a:pt x="4356" y="1193"/>
                  </a:lnTo>
                  <a:lnTo>
                    <a:pt x="4323" y="1181"/>
                  </a:lnTo>
                  <a:lnTo>
                    <a:pt x="4318" y="1193"/>
                  </a:lnTo>
                  <a:lnTo>
                    <a:pt x="4297" y="1181"/>
                  </a:lnTo>
                  <a:lnTo>
                    <a:pt x="4356" y="1155"/>
                  </a:lnTo>
                  <a:lnTo>
                    <a:pt x="4356" y="1155"/>
                  </a:lnTo>
                  <a:lnTo>
                    <a:pt x="4356" y="1155"/>
                  </a:lnTo>
                  <a:close/>
                  <a:moveTo>
                    <a:pt x="1642" y="1155"/>
                  </a:moveTo>
                  <a:lnTo>
                    <a:pt x="1654" y="1155"/>
                  </a:lnTo>
                  <a:lnTo>
                    <a:pt x="1588" y="1233"/>
                  </a:lnTo>
                  <a:lnTo>
                    <a:pt x="1571" y="1238"/>
                  </a:lnTo>
                  <a:lnTo>
                    <a:pt x="1512" y="1222"/>
                  </a:lnTo>
                  <a:lnTo>
                    <a:pt x="1571" y="1177"/>
                  </a:lnTo>
                  <a:lnTo>
                    <a:pt x="1642" y="1155"/>
                  </a:lnTo>
                  <a:lnTo>
                    <a:pt x="1642" y="1155"/>
                  </a:lnTo>
                  <a:lnTo>
                    <a:pt x="1642" y="1155"/>
                  </a:lnTo>
                  <a:close/>
                  <a:moveTo>
                    <a:pt x="2717" y="1155"/>
                  </a:moveTo>
                  <a:lnTo>
                    <a:pt x="2705" y="1165"/>
                  </a:lnTo>
                  <a:lnTo>
                    <a:pt x="2646" y="1177"/>
                  </a:lnTo>
                  <a:lnTo>
                    <a:pt x="2596" y="1177"/>
                  </a:lnTo>
                  <a:lnTo>
                    <a:pt x="2717" y="1155"/>
                  </a:lnTo>
                  <a:lnTo>
                    <a:pt x="2717" y="1155"/>
                  </a:lnTo>
                  <a:lnTo>
                    <a:pt x="2717" y="1155"/>
                  </a:lnTo>
                  <a:close/>
                  <a:moveTo>
                    <a:pt x="1276" y="1160"/>
                  </a:moveTo>
                  <a:lnTo>
                    <a:pt x="1285" y="1160"/>
                  </a:lnTo>
                  <a:lnTo>
                    <a:pt x="1276" y="1165"/>
                  </a:lnTo>
                  <a:lnTo>
                    <a:pt x="1276" y="1160"/>
                  </a:lnTo>
                  <a:lnTo>
                    <a:pt x="1276" y="1160"/>
                  </a:lnTo>
                  <a:lnTo>
                    <a:pt x="1276" y="1160"/>
                  </a:lnTo>
                  <a:close/>
                  <a:moveTo>
                    <a:pt x="2738" y="1177"/>
                  </a:moveTo>
                  <a:lnTo>
                    <a:pt x="2693" y="1198"/>
                  </a:lnTo>
                  <a:lnTo>
                    <a:pt x="2641" y="1198"/>
                  </a:lnTo>
                  <a:lnTo>
                    <a:pt x="2684" y="1177"/>
                  </a:lnTo>
                  <a:lnTo>
                    <a:pt x="2738" y="1177"/>
                  </a:lnTo>
                  <a:lnTo>
                    <a:pt x="2738" y="1177"/>
                  </a:lnTo>
                  <a:lnTo>
                    <a:pt x="2738" y="1177"/>
                  </a:lnTo>
                  <a:close/>
                  <a:moveTo>
                    <a:pt x="3260" y="1165"/>
                  </a:moveTo>
                  <a:lnTo>
                    <a:pt x="3277" y="1198"/>
                  </a:lnTo>
                  <a:lnTo>
                    <a:pt x="3244" y="1198"/>
                  </a:lnTo>
                  <a:lnTo>
                    <a:pt x="3234" y="1177"/>
                  </a:lnTo>
                  <a:lnTo>
                    <a:pt x="3260" y="1165"/>
                  </a:lnTo>
                  <a:lnTo>
                    <a:pt x="3260" y="1165"/>
                  </a:lnTo>
                  <a:lnTo>
                    <a:pt x="3260" y="1165"/>
                  </a:lnTo>
                  <a:close/>
                  <a:moveTo>
                    <a:pt x="3170" y="1181"/>
                  </a:moveTo>
                  <a:lnTo>
                    <a:pt x="3163" y="1177"/>
                  </a:lnTo>
                  <a:lnTo>
                    <a:pt x="3180" y="1165"/>
                  </a:lnTo>
                  <a:lnTo>
                    <a:pt x="3170" y="1181"/>
                  </a:lnTo>
                  <a:lnTo>
                    <a:pt x="3170" y="1181"/>
                  </a:lnTo>
                  <a:lnTo>
                    <a:pt x="3170" y="1181"/>
                  </a:lnTo>
                  <a:close/>
                  <a:moveTo>
                    <a:pt x="1411" y="1177"/>
                  </a:moveTo>
                  <a:lnTo>
                    <a:pt x="1404" y="1210"/>
                  </a:lnTo>
                  <a:lnTo>
                    <a:pt x="1382" y="1198"/>
                  </a:lnTo>
                  <a:lnTo>
                    <a:pt x="1404" y="1193"/>
                  </a:lnTo>
                  <a:lnTo>
                    <a:pt x="1404" y="1177"/>
                  </a:lnTo>
                  <a:lnTo>
                    <a:pt x="1411" y="1177"/>
                  </a:lnTo>
                  <a:lnTo>
                    <a:pt x="1411" y="1177"/>
                  </a:lnTo>
                  <a:lnTo>
                    <a:pt x="1411" y="1177"/>
                  </a:lnTo>
                  <a:close/>
                  <a:moveTo>
                    <a:pt x="1285" y="1177"/>
                  </a:moveTo>
                  <a:lnTo>
                    <a:pt x="1314" y="1181"/>
                  </a:lnTo>
                  <a:lnTo>
                    <a:pt x="1285" y="1177"/>
                  </a:lnTo>
                  <a:lnTo>
                    <a:pt x="1285" y="1177"/>
                  </a:lnTo>
                  <a:lnTo>
                    <a:pt x="1285" y="1177"/>
                  </a:lnTo>
                  <a:close/>
                  <a:moveTo>
                    <a:pt x="3154" y="1222"/>
                  </a:moveTo>
                  <a:lnTo>
                    <a:pt x="3163" y="1233"/>
                  </a:lnTo>
                  <a:lnTo>
                    <a:pt x="3137" y="1250"/>
                  </a:lnTo>
                  <a:lnTo>
                    <a:pt x="3126" y="1233"/>
                  </a:lnTo>
                  <a:lnTo>
                    <a:pt x="3116" y="1238"/>
                  </a:lnTo>
                  <a:lnTo>
                    <a:pt x="3126" y="1250"/>
                  </a:lnTo>
                  <a:lnTo>
                    <a:pt x="3100" y="1267"/>
                  </a:lnTo>
                  <a:lnTo>
                    <a:pt x="3083" y="1238"/>
                  </a:lnTo>
                  <a:lnTo>
                    <a:pt x="3133" y="1215"/>
                  </a:lnTo>
                  <a:lnTo>
                    <a:pt x="3154" y="1222"/>
                  </a:lnTo>
                  <a:lnTo>
                    <a:pt x="3154" y="1222"/>
                  </a:lnTo>
                  <a:lnTo>
                    <a:pt x="3154" y="1222"/>
                  </a:lnTo>
                  <a:close/>
                  <a:moveTo>
                    <a:pt x="3154" y="1326"/>
                  </a:moveTo>
                  <a:lnTo>
                    <a:pt x="3147" y="1321"/>
                  </a:lnTo>
                  <a:lnTo>
                    <a:pt x="3154" y="1309"/>
                  </a:lnTo>
                  <a:lnTo>
                    <a:pt x="3133" y="1326"/>
                  </a:lnTo>
                  <a:lnTo>
                    <a:pt x="3133" y="1309"/>
                  </a:lnTo>
                  <a:lnTo>
                    <a:pt x="3116" y="1309"/>
                  </a:lnTo>
                  <a:lnTo>
                    <a:pt x="3116" y="1304"/>
                  </a:lnTo>
                  <a:lnTo>
                    <a:pt x="3126" y="1288"/>
                  </a:lnTo>
                  <a:lnTo>
                    <a:pt x="3163" y="1271"/>
                  </a:lnTo>
                  <a:lnTo>
                    <a:pt x="3154" y="1267"/>
                  </a:lnTo>
                  <a:lnTo>
                    <a:pt x="3170" y="1255"/>
                  </a:lnTo>
                  <a:lnTo>
                    <a:pt x="3147" y="1255"/>
                  </a:lnTo>
                  <a:lnTo>
                    <a:pt x="3180" y="1255"/>
                  </a:lnTo>
                  <a:lnTo>
                    <a:pt x="3170" y="1250"/>
                  </a:lnTo>
                  <a:lnTo>
                    <a:pt x="3234" y="1215"/>
                  </a:lnTo>
                  <a:lnTo>
                    <a:pt x="3272" y="1222"/>
                  </a:lnTo>
                  <a:lnTo>
                    <a:pt x="3331" y="1271"/>
                  </a:lnTo>
                  <a:lnTo>
                    <a:pt x="3343" y="1326"/>
                  </a:lnTo>
                  <a:lnTo>
                    <a:pt x="3326" y="1359"/>
                  </a:lnTo>
                  <a:lnTo>
                    <a:pt x="3256" y="1366"/>
                  </a:lnTo>
                  <a:lnTo>
                    <a:pt x="3154" y="1326"/>
                  </a:lnTo>
                  <a:lnTo>
                    <a:pt x="3154" y="1326"/>
                  </a:lnTo>
                  <a:lnTo>
                    <a:pt x="3154" y="1326"/>
                  </a:lnTo>
                  <a:close/>
                  <a:moveTo>
                    <a:pt x="2844" y="1233"/>
                  </a:moveTo>
                  <a:lnTo>
                    <a:pt x="2856" y="1222"/>
                  </a:lnTo>
                  <a:lnTo>
                    <a:pt x="2802" y="1233"/>
                  </a:lnTo>
                  <a:lnTo>
                    <a:pt x="2861" y="1222"/>
                  </a:lnTo>
                  <a:lnTo>
                    <a:pt x="2844" y="1233"/>
                  </a:lnTo>
                  <a:lnTo>
                    <a:pt x="2844" y="1233"/>
                  </a:lnTo>
                  <a:lnTo>
                    <a:pt x="2844" y="1233"/>
                  </a:lnTo>
                  <a:close/>
                  <a:moveTo>
                    <a:pt x="2587" y="1250"/>
                  </a:moveTo>
                  <a:lnTo>
                    <a:pt x="2608" y="1267"/>
                  </a:lnTo>
                  <a:lnTo>
                    <a:pt x="2625" y="1288"/>
                  </a:lnTo>
                  <a:lnTo>
                    <a:pt x="2575" y="1309"/>
                  </a:lnTo>
                  <a:lnTo>
                    <a:pt x="2537" y="1292"/>
                  </a:lnTo>
                  <a:lnTo>
                    <a:pt x="2542" y="1267"/>
                  </a:lnTo>
                  <a:lnTo>
                    <a:pt x="2587" y="1250"/>
                  </a:lnTo>
                  <a:lnTo>
                    <a:pt x="2587" y="1250"/>
                  </a:lnTo>
                  <a:lnTo>
                    <a:pt x="2587" y="1250"/>
                  </a:lnTo>
                  <a:close/>
                  <a:moveTo>
                    <a:pt x="3071" y="1267"/>
                  </a:moveTo>
                  <a:lnTo>
                    <a:pt x="3078" y="1276"/>
                  </a:lnTo>
                  <a:lnTo>
                    <a:pt x="3071" y="1267"/>
                  </a:lnTo>
                  <a:lnTo>
                    <a:pt x="3071" y="1267"/>
                  </a:lnTo>
                  <a:lnTo>
                    <a:pt x="3071" y="1267"/>
                  </a:lnTo>
                  <a:close/>
                  <a:moveTo>
                    <a:pt x="3185" y="1366"/>
                  </a:moveTo>
                  <a:lnTo>
                    <a:pt x="3208" y="1382"/>
                  </a:lnTo>
                  <a:lnTo>
                    <a:pt x="3163" y="1378"/>
                  </a:lnTo>
                  <a:lnTo>
                    <a:pt x="3185" y="1366"/>
                  </a:lnTo>
                  <a:lnTo>
                    <a:pt x="3185" y="1366"/>
                  </a:lnTo>
                  <a:lnTo>
                    <a:pt x="3185" y="1366"/>
                  </a:lnTo>
                  <a:close/>
                  <a:moveTo>
                    <a:pt x="3062" y="1366"/>
                  </a:moveTo>
                  <a:lnTo>
                    <a:pt x="3071" y="1378"/>
                  </a:lnTo>
                  <a:lnTo>
                    <a:pt x="3045" y="1387"/>
                  </a:lnTo>
                  <a:lnTo>
                    <a:pt x="3029" y="1382"/>
                  </a:lnTo>
                  <a:lnTo>
                    <a:pt x="3062" y="1366"/>
                  </a:lnTo>
                  <a:lnTo>
                    <a:pt x="3062" y="1366"/>
                  </a:lnTo>
                  <a:lnTo>
                    <a:pt x="3062" y="1366"/>
                  </a:lnTo>
                  <a:close/>
                  <a:moveTo>
                    <a:pt x="1205" y="1493"/>
                  </a:moveTo>
                  <a:lnTo>
                    <a:pt x="1210" y="1486"/>
                  </a:lnTo>
                  <a:lnTo>
                    <a:pt x="1205" y="1477"/>
                  </a:lnTo>
                  <a:lnTo>
                    <a:pt x="1177" y="1470"/>
                  </a:lnTo>
                  <a:lnTo>
                    <a:pt x="1167" y="1437"/>
                  </a:lnTo>
                  <a:lnTo>
                    <a:pt x="1139" y="1404"/>
                  </a:lnTo>
                  <a:lnTo>
                    <a:pt x="1366" y="1378"/>
                  </a:lnTo>
                  <a:lnTo>
                    <a:pt x="1503" y="1420"/>
                  </a:lnTo>
                  <a:lnTo>
                    <a:pt x="1491" y="1444"/>
                  </a:lnTo>
                  <a:lnTo>
                    <a:pt x="1491" y="1453"/>
                  </a:lnTo>
                  <a:lnTo>
                    <a:pt x="1512" y="1420"/>
                  </a:lnTo>
                  <a:lnTo>
                    <a:pt x="1533" y="1420"/>
                  </a:lnTo>
                  <a:lnTo>
                    <a:pt x="1545" y="1437"/>
                  </a:lnTo>
                  <a:lnTo>
                    <a:pt x="1533" y="1453"/>
                  </a:lnTo>
                  <a:lnTo>
                    <a:pt x="1545" y="1453"/>
                  </a:lnTo>
                  <a:lnTo>
                    <a:pt x="1555" y="1437"/>
                  </a:lnTo>
                  <a:lnTo>
                    <a:pt x="1550" y="1432"/>
                  </a:lnTo>
                  <a:lnTo>
                    <a:pt x="1567" y="1420"/>
                  </a:lnTo>
                  <a:lnTo>
                    <a:pt x="1654" y="1420"/>
                  </a:lnTo>
                  <a:lnTo>
                    <a:pt x="1782" y="1498"/>
                  </a:lnTo>
                  <a:lnTo>
                    <a:pt x="1803" y="1526"/>
                  </a:lnTo>
                  <a:lnTo>
                    <a:pt x="1533" y="1642"/>
                  </a:lnTo>
                  <a:lnTo>
                    <a:pt x="1517" y="1682"/>
                  </a:lnTo>
                  <a:lnTo>
                    <a:pt x="1491" y="1699"/>
                  </a:lnTo>
                  <a:lnTo>
                    <a:pt x="1458" y="1692"/>
                  </a:lnTo>
                  <a:lnTo>
                    <a:pt x="1465" y="1708"/>
                  </a:lnTo>
                  <a:lnTo>
                    <a:pt x="1441" y="1737"/>
                  </a:lnTo>
                  <a:lnTo>
                    <a:pt x="1448" y="1770"/>
                  </a:lnTo>
                  <a:lnTo>
                    <a:pt x="1437" y="1793"/>
                  </a:lnTo>
                  <a:lnTo>
                    <a:pt x="1373" y="1810"/>
                  </a:lnTo>
                  <a:lnTo>
                    <a:pt x="1352" y="1803"/>
                  </a:lnTo>
                  <a:lnTo>
                    <a:pt x="1281" y="1848"/>
                  </a:lnTo>
                  <a:lnTo>
                    <a:pt x="1243" y="1843"/>
                  </a:lnTo>
                  <a:lnTo>
                    <a:pt x="1193" y="1770"/>
                  </a:lnTo>
                  <a:lnTo>
                    <a:pt x="1101" y="1737"/>
                  </a:lnTo>
                  <a:lnTo>
                    <a:pt x="1125" y="1732"/>
                  </a:lnTo>
                  <a:lnTo>
                    <a:pt x="1059" y="1732"/>
                  </a:lnTo>
                  <a:lnTo>
                    <a:pt x="1070" y="1732"/>
                  </a:lnTo>
                  <a:lnTo>
                    <a:pt x="1070" y="1708"/>
                  </a:lnTo>
                  <a:lnTo>
                    <a:pt x="1096" y="1675"/>
                  </a:lnTo>
                  <a:lnTo>
                    <a:pt x="1118" y="1654"/>
                  </a:lnTo>
                  <a:lnTo>
                    <a:pt x="1125" y="1637"/>
                  </a:lnTo>
                  <a:lnTo>
                    <a:pt x="1118" y="1621"/>
                  </a:lnTo>
                  <a:lnTo>
                    <a:pt x="1156" y="1604"/>
                  </a:lnTo>
                  <a:lnTo>
                    <a:pt x="1134" y="1581"/>
                  </a:lnTo>
                  <a:lnTo>
                    <a:pt x="1167" y="1531"/>
                  </a:lnTo>
                  <a:lnTo>
                    <a:pt x="1189" y="1515"/>
                  </a:lnTo>
                  <a:lnTo>
                    <a:pt x="1189" y="1498"/>
                  </a:lnTo>
                  <a:lnTo>
                    <a:pt x="1205" y="1493"/>
                  </a:lnTo>
                  <a:lnTo>
                    <a:pt x="1205" y="1493"/>
                  </a:lnTo>
                  <a:lnTo>
                    <a:pt x="1205" y="1493"/>
                  </a:lnTo>
                  <a:close/>
                  <a:moveTo>
                    <a:pt x="2974" y="1404"/>
                  </a:moveTo>
                  <a:lnTo>
                    <a:pt x="2953" y="1415"/>
                  </a:lnTo>
                  <a:lnTo>
                    <a:pt x="2974" y="1404"/>
                  </a:lnTo>
                  <a:lnTo>
                    <a:pt x="2974" y="1404"/>
                  </a:lnTo>
                  <a:lnTo>
                    <a:pt x="2974" y="1404"/>
                  </a:lnTo>
                  <a:close/>
                  <a:moveTo>
                    <a:pt x="3494" y="1548"/>
                  </a:moveTo>
                  <a:lnTo>
                    <a:pt x="3449" y="1609"/>
                  </a:lnTo>
                  <a:lnTo>
                    <a:pt x="3423" y="1637"/>
                  </a:lnTo>
                  <a:lnTo>
                    <a:pt x="3343" y="1621"/>
                  </a:lnTo>
                  <a:lnTo>
                    <a:pt x="3277" y="1626"/>
                  </a:lnTo>
                  <a:lnTo>
                    <a:pt x="3277" y="1637"/>
                  </a:lnTo>
                  <a:lnTo>
                    <a:pt x="3310" y="1637"/>
                  </a:lnTo>
                  <a:lnTo>
                    <a:pt x="3310" y="1642"/>
                  </a:lnTo>
                  <a:lnTo>
                    <a:pt x="3326" y="1654"/>
                  </a:lnTo>
                  <a:lnTo>
                    <a:pt x="3331" y="1666"/>
                  </a:lnTo>
                  <a:lnTo>
                    <a:pt x="3289" y="1725"/>
                  </a:lnTo>
                  <a:lnTo>
                    <a:pt x="3293" y="1732"/>
                  </a:lnTo>
                  <a:lnTo>
                    <a:pt x="3218" y="1732"/>
                  </a:lnTo>
                  <a:lnTo>
                    <a:pt x="3218" y="1715"/>
                  </a:lnTo>
                  <a:lnTo>
                    <a:pt x="3244" y="1708"/>
                  </a:lnTo>
                  <a:lnTo>
                    <a:pt x="3218" y="1708"/>
                  </a:lnTo>
                  <a:lnTo>
                    <a:pt x="3218" y="1666"/>
                  </a:lnTo>
                  <a:lnTo>
                    <a:pt x="3201" y="1642"/>
                  </a:lnTo>
                  <a:lnTo>
                    <a:pt x="3185" y="1637"/>
                  </a:lnTo>
                  <a:lnTo>
                    <a:pt x="3180" y="1581"/>
                  </a:lnTo>
                  <a:lnTo>
                    <a:pt x="3185" y="1571"/>
                  </a:lnTo>
                  <a:lnTo>
                    <a:pt x="3180" y="1515"/>
                  </a:lnTo>
                  <a:lnTo>
                    <a:pt x="3185" y="1510"/>
                  </a:lnTo>
                  <a:lnTo>
                    <a:pt x="3180" y="1493"/>
                  </a:lnTo>
                  <a:lnTo>
                    <a:pt x="3192" y="1486"/>
                  </a:lnTo>
                  <a:lnTo>
                    <a:pt x="3256" y="1498"/>
                  </a:lnTo>
                  <a:lnTo>
                    <a:pt x="3222" y="1486"/>
                  </a:lnTo>
                  <a:lnTo>
                    <a:pt x="3234" y="1477"/>
                  </a:lnTo>
                  <a:lnTo>
                    <a:pt x="3218" y="1477"/>
                  </a:lnTo>
                  <a:lnTo>
                    <a:pt x="3201" y="1460"/>
                  </a:lnTo>
                  <a:lnTo>
                    <a:pt x="3272" y="1437"/>
                  </a:lnTo>
                  <a:lnTo>
                    <a:pt x="3348" y="1432"/>
                  </a:lnTo>
                  <a:lnTo>
                    <a:pt x="3395" y="1437"/>
                  </a:lnTo>
                  <a:lnTo>
                    <a:pt x="3418" y="1453"/>
                  </a:lnTo>
                  <a:lnTo>
                    <a:pt x="3418" y="1460"/>
                  </a:lnTo>
                  <a:lnTo>
                    <a:pt x="3470" y="1453"/>
                  </a:lnTo>
                  <a:lnTo>
                    <a:pt x="3563" y="1470"/>
                  </a:lnTo>
                  <a:lnTo>
                    <a:pt x="3494" y="1548"/>
                  </a:lnTo>
                  <a:lnTo>
                    <a:pt x="3494" y="1548"/>
                  </a:lnTo>
                  <a:lnTo>
                    <a:pt x="3494" y="1548"/>
                  </a:lnTo>
                  <a:close/>
                  <a:moveTo>
                    <a:pt x="3041" y="1437"/>
                  </a:moveTo>
                  <a:lnTo>
                    <a:pt x="3029" y="1453"/>
                  </a:lnTo>
                  <a:lnTo>
                    <a:pt x="2991" y="1477"/>
                  </a:lnTo>
                  <a:lnTo>
                    <a:pt x="2948" y="1486"/>
                  </a:lnTo>
                  <a:lnTo>
                    <a:pt x="2915" y="1470"/>
                  </a:lnTo>
                  <a:lnTo>
                    <a:pt x="3041" y="1437"/>
                  </a:lnTo>
                  <a:lnTo>
                    <a:pt x="3041" y="1437"/>
                  </a:lnTo>
                  <a:lnTo>
                    <a:pt x="3041" y="1437"/>
                  </a:lnTo>
                  <a:close/>
                  <a:moveTo>
                    <a:pt x="3579" y="1453"/>
                  </a:moveTo>
                  <a:lnTo>
                    <a:pt x="3558" y="1453"/>
                  </a:lnTo>
                  <a:lnTo>
                    <a:pt x="3584" y="1444"/>
                  </a:lnTo>
                  <a:lnTo>
                    <a:pt x="3579" y="1453"/>
                  </a:lnTo>
                  <a:lnTo>
                    <a:pt x="3579" y="1453"/>
                  </a:lnTo>
                  <a:lnTo>
                    <a:pt x="3579" y="1453"/>
                  </a:lnTo>
                  <a:close/>
                  <a:moveTo>
                    <a:pt x="2807" y="1708"/>
                  </a:moveTo>
                  <a:lnTo>
                    <a:pt x="2793" y="1682"/>
                  </a:lnTo>
                  <a:lnTo>
                    <a:pt x="2755" y="1692"/>
                  </a:lnTo>
                  <a:lnTo>
                    <a:pt x="2738" y="1666"/>
                  </a:lnTo>
                  <a:lnTo>
                    <a:pt x="2693" y="1637"/>
                  </a:lnTo>
                  <a:lnTo>
                    <a:pt x="2684" y="1621"/>
                  </a:lnTo>
                  <a:lnTo>
                    <a:pt x="2700" y="1588"/>
                  </a:lnTo>
                  <a:lnTo>
                    <a:pt x="2722" y="1581"/>
                  </a:lnTo>
                  <a:lnTo>
                    <a:pt x="2769" y="1609"/>
                  </a:lnTo>
                  <a:lnTo>
                    <a:pt x="2785" y="1637"/>
                  </a:lnTo>
                  <a:lnTo>
                    <a:pt x="2844" y="1626"/>
                  </a:lnTo>
                  <a:lnTo>
                    <a:pt x="2856" y="1621"/>
                  </a:lnTo>
                  <a:lnTo>
                    <a:pt x="2840" y="1597"/>
                  </a:lnTo>
                  <a:lnTo>
                    <a:pt x="2844" y="1588"/>
                  </a:lnTo>
                  <a:lnTo>
                    <a:pt x="2856" y="1588"/>
                  </a:lnTo>
                  <a:lnTo>
                    <a:pt x="2844" y="1604"/>
                  </a:lnTo>
                  <a:lnTo>
                    <a:pt x="2856" y="1609"/>
                  </a:lnTo>
                  <a:lnTo>
                    <a:pt x="2878" y="1604"/>
                  </a:lnTo>
                  <a:lnTo>
                    <a:pt x="2861" y="1571"/>
                  </a:lnTo>
                  <a:lnTo>
                    <a:pt x="2844" y="1581"/>
                  </a:lnTo>
                  <a:lnTo>
                    <a:pt x="2840" y="1571"/>
                  </a:lnTo>
                  <a:lnTo>
                    <a:pt x="2844" y="1555"/>
                  </a:lnTo>
                  <a:lnTo>
                    <a:pt x="2878" y="1564"/>
                  </a:lnTo>
                  <a:lnTo>
                    <a:pt x="2894" y="1564"/>
                  </a:lnTo>
                  <a:lnTo>
                    <a:pt x="2844" y="1543"/>
                  </a:lnTo>
                  <a:lnTo>
                    <a:pt x="2840" y="1555"/>
                  </a:lnTo>
                  <a:lnTo>
                    <a:pt x="2814" y="1555"/>
                  </a:lnTo>
                  <a:lnTo>
                    <a:pt x="2759" y="1526"/>
                  </a:lnTo>
                  <a:lnTo>
                    <a:pt x="2814" y="1510"/>
                  </a:lnTo>
                  <a:lnTo>
                    <a:pt x="2844" y="1531"/>
                  </a:lnTo>
                  <a:lnTo>
                    <a:pt x="2830" y="1526"/>
                  </a:lnTo>
                  <a:lnTo>
                    <a:pt x="2840" y="1510"/>
                  </a:lnTo>
                  <a:lnTo>
                    <a:pt x="2802" y="1493"/>
                  </a:lnTo>
                  <a:lnTo>
                    <a:pt x="2807" y="1486"/>
                  </a:lnTo>
                  <a:lnTo>
                    <a:pt x="2840" y="1477"/>
                  </a:lnTo>
                  <a:lnTo>
                    <a:pt x="2868" y="1486"/>
                  </a:lnTo>
                  <a:lnTo>
                    <a:pt x="2882" y="1470"/>
                  </a:lnTo>
                  <a:lnTo>
                    <a:pt x="2856" y="1477"/>
                  </a:lnTo>
                  <a:lnTo>
                    <a:pt x="2878" y="1460"/>
                  </a:lnTo>
                  <a:lnTo>
                    <a:pt x="2932" y="1493"/>
                  </a:lnTo>
                  <a:lnTo>
                    <a:pt x="3003" y="1486"/>
                  </a:lnTo>
                  <a:lnTo>
                    <a:pt x="3029" y="1470"/>
                  </a:lnTo>
                  <a:lnTo>
                    <a:pt x="3071" y="1477"/>
                  </a:lnTo>
                  <a:lnTo>
                    <a:pt x="3095" y="1498"/>
                  </a:lnTo>
                  <a:lnTo>
                    <a:pt x="3071" y="1515"/>
                  </a:lnTo>
                  <a:lnTo>
                    <a:pt x="3041" y="1515"/>
                  </a:lnTo>
                  <a:lnTo>
                    <a:pt x="3041" y="1531"/>
                  </a:lnTo>
                  <a:lnTo>
                    <a:pt x="3071" y="1526"/>
                  </a:lnTo>
                  <a:lnTo>
                    <a:pt x="3078" y="1543"/>
                  </a:lnTo>
                  <a:lnTo>
                    <a:pt x="3029" y="1555"/>
                  </a:lnTo>
                  <a:lnTo>
                    <a:pt x="2986" y="1588"/>
                  </a:lnTo>
                  <a:lnTo>
                    <a:pt x="2986" y="1609"/>
                  </a:lnTo>
                  <a:lnTo>
                    <a:pt x="3019" y="1588"/>
                  </a:lnTo>
                  <a:lnTo>
                    <a:pt x="3062" y="1597"/>
                  </a:lnTo>
                  <a:lnTo>
                    <a:pt x="3071" y="1604"/>
                  </a:lnTo>
                  <a:lnTo>
                    <a:pt x="3071" y="1609"/>
                  </a:lnTo>
                  <a:lnTo>
                    <a:pt x="3083" y="1626"/>
                  </a:lnTo>
                  <a:lnTo>
                    <a:pt x="3071" y="1642"/>
                  </a:lnTo>
                  <a:lnTo>
                    <a:pt x="3116" y="1626"/>
                  </a:lnTo>
                  <a:lnTo>
                    <a:pt x="3137" y="1675"/>
                  </a:lnTo>
                  <a:lnTo>
                    <a:pt x="3095" y="1682"/>
                  </a:lnTo>
                  <a:lnTo>
                    <a:pt x="3116" y="1692"/>
                  </a:lnTo>
                  <a:lnTo>
                    <a:pt x="3126" y="1715"/>
                  </a:lnTo>
                  <a:lnTo>
                    <a:pt x="3095" y="1725"/>
                  </a:lnTo>
                  <a:lnTo>
                    <a:pt x="3126" y="1725"/>
                  </a:lnTo>
                  <a:lnTo>
                    <a:pt x="3126" y="1737"/>
                  </a:lnTo>
                  <a:lnTo>
                    <a:pt x="3100" y="1737"/>
                  </a:lnTo>
                  <a:lnTo>
                    <a:pt x="3126" y="1737"/>
                  </a:lnTo>
                  <a:lnTo>
                    <a:pt x="3116" y="1753"/>
                  </a:lnTo>
                  <a:lnTo>
                    <a:pt x="3100" y="1753"/>
                  </a:lnTo>
                  <a:lnTo>
                    <a:pt x="3057" y="1781"/>
                  </a:lnTo>
                  <a:lnTo>
                    <a:pt x="3007" y="1781"/>
                  </a:lnTo>
                  <a:lnTo>
                    <a:pt x="2991" y="1765"/>
                  </a:lnTo>
                  <a:lnTo>
                    <a:pt x="3003" y="1748"/>
                  </a:lnTo>
                  <a:lnTo>
                    <a:pt x="3003" y="1737"/>
                  </a:lnTo>
                  <a:lnTo>
                    <a:pt x="2986" y="1770"/>
                  </a:lnTo>
                  <a:lnTo>
                    <a:pt x="3019" y="1793"/>
                  </a:lnTo>
                  <a:lnTo>
                    <a:pt x="2970" y="1826"/>
                  </a:lnTo>
                  <a:lnTo>
                    <a:pt x="2948" y="1810"/>
                  </a:lnTo>
                  <a:lnTo>
                    <a:pt x="2932" y="1819"/>
                  </a:lnTo>
                  <a:lnTo>
                    <a:pt x="2899" y="1765"/>
                  </a:lnTo>
                  <a:lnTo>
                    <a:pt x="2868" y="1748"/>
                  </a:lnTo>
                  <a:lnTo>
                    <a:pt x="2830" y="1708"/>
                  </a:lnTo>
                  <a:lnTo>
                    <a:pt x="2807" y="1708"/>
                  </a:lnTo>
                  <a:lnTo>
                    <a:pt x="2807" y="1708"/>
                  </a:lnTo>
                  <a:lnTo>
                    <a:pt x="2807" y="1708"/>
                  </a:lnTo>
                  <a:close/>
                  <a:moveTo>
                    <a:pt x="4096" y="2008"/>
                  </a:moveTo>
                  <a:lnTo>
                    <a:pt x="4066" y="1992"/>
                  </a:lnTo>
                  <a:lnTo>
                    <a:pt x="4016" y="2003"/>
                  </a:lnTo>
                  <a:lnTo>
                    <a:pt x="3903" y="1975"/>
                  </a:lnTo>
                  <a:lnTo>
                    <a:pt x="3865" y="1987"/>
                  </a:lnTo>
                  <a:lnTo>
                    <a:pt x="3910" y="1992"/>
                  </a:lnTo>
                  <a:lnTo>
                    <a:pt x="3872" y="1992"/>
                  </a:lnTo>
                  <a:lnTo>
                    <a:pt x="3818" y="1959"/>
                  </a:lnTo>
                  <a:lnTo>
                    <a:pt x="3818" y="1947"/>
                  </a:lnTo>
                  <a:lnTo>
                    <a:pt x="3839" y="1930"/>
                  </a:lnTo>
                  <a:lnTo>
                    <a:pt x="3834" y="1921"/>
                  </a:lnTo>
                  <a:lnTo>
                    <a:pt x="3811" y="1954"/>
                  </a:lnTo>
                  <a:lnTo>
                    <a:pt x="3796" y="1954"/>
                  </a:lnTo>
                  <a:lnTo>
                    <a:pt x="3785" y="1930"/>
                  </a:lnTo>
                  <a:lnTo>
                    <a:pt x="3773" y="1947"/>
                  </a:lnTo>
                  <a:lnTo>
                    <a:pt x="3785" y="1947"/>
                  </a:lnTo>
                  <a:lnTo>
                    <a:pt x="3785" y="1954"/>
                  </a:lnTo>
                  <a:lnTo>
                    <a:pt x="3742" y="1954"/>
                  </a:lnTo>
                  <a:lnTo>
                    <a:pt x="3747" y="1954"/>
                  </a:lnTo>
                  <a:lnTo>
                    <a:pt x="3730" y="1959"/>
                  </a:lnTo>
                  <a:lnTo>
                    <a:pt x="3704" y="1954"/>
                  </a:lnTo>
                  <a:lnTo>
                    <a:pt x="3726" y="1954"/>
                  </a:lnTo>
                  <a:lnTo>
                    <a:pt x="3709" y="1947"/>
                  </a:lnTo>
                  <a:lnTo>
                    <a:pt x="3667" y="1930"/>
                  </a:lnTo>
                  <a:lnTo>
                    <a:pt x="3617" y="1876"/>
                  </a:lnTo>
                  <a:lnTo>
                    <a:pt x="3633" y="1864"/>
                  </a:lnTo>
                  <a:lnTo>
                    <a:pt x="3612" y="1848"/>
                  </a:lnTo>
                  <a:lnTo>
                    <a:pt x="3721" y="1876"/>
                  </a:lnTo>
                  <a:lnTo>
                    <a:pt x="3785" y="1864"/>
                  </a:lnTo>
                  <a:lnTo>
                    <a:pt x="3742" y="1843"/>
                  </a:lnTo>
                  <a:lnTo>
                    <a:pt x="3726" y="1843"/>
                  </a:lnTo>
                  <a:lnTo>
                    <a:pt x="3726" y="1826"/>
                  </a:lnTo>
                  <a:lnTo>
                    <a:pt x="3676" y="1836"/>
                  </a:lnTo>
                  <a:lnTo>
                    <a:pt x="3584" y="1819"/>
                  </a:lnTo>
                  <a:lnTo>
                    <a:pt x="3579" y="1786"/>
                  </a:lnTo>
                  <a:lnTo>
                    <a:pt x="3596" y="1765"/>
                  </a:lnTo>
                  <a:lnTo>
                    <a:pt x="3570" y="1737"/>
                  </a:lnTo>
                  <a:lnTo>
                    <a:pt x="3579" y="1725"/>
                  </a:lnTo>
                  <a:lnTo>
                    <a:pt x="3612" y="1708"/>
                  </a:lnTo>
                  <a:lnTo>
                    <a:pt x="3584" y="1708"/>
                  </a:lnTo>
                  <a:lnTo>
                    <a:pt x="3579" y="1682"/>
                  </a:lnTo>
                  <a:lnTo>
                    <a:pt x="3596" y="1642"/>
                  </a:lnTo>
                  <a:lnTo>
                    <a:pt x="3617" y="1637"/>
                  </a:lnTo>
                  <a:lnTo>
                    <a:pt x="3612" y="1637"/>
                  </a:lnTo>
                  <a:lnTo>
                    <a:pt x="3612" y="1621"/>
                  </a:lnTo>
                  <a:lnTo>
                    <a:pt x="3622" y="1626"/>
                  </a:lnTo>
                  <a:lnTo>
                    <a:pt x="3622" y="1597"/>
                  </a:lnTo>
                  <a:lnTo>
                    <a:pt x="3633" y="1571"/>
                  </a:lnTo>
                  <a:lnTo>
                    <a:pt x="3671" y="1531"/>
                  </a:lnTo>
                  <a:lnTo>
                    <a:pt x="3747" y="1493"/>
                  </a:lnTo>
                  <a:lnTo>
                    <a:pt x="3839" y="1477"/>
                  </a:lnTo>
                  <a:lnTo>
                    <a:pt x="3941" y="1493"/>
                  </a:lnTo>
                  <a:lnTo>
                    <a:pt x="3865" y="1548"/>
                  </a:lnTo>
                  <a:lnTo>
                    <a:pt x="3811" y="1609"/>
                  </a:lnTo>
                  <a:lnTo>
                    <a:pt x="3801" y="1637"/>
                  </a:lnTo>
                  <a:lnTo>
                    <a:pt x="3839" y="1675"/>
                  </a:lnTo>
                  <a:lnTo>
                    <a:pt x="3827" y="1692"/>
                  </a:lnTo>
                  <a:lnTo>
                    <a:pt x="3827" y="1732"/>
                  </a:lnTo>
                  <a:lnTo>
                    <a:pt x="3893" y="1793"/>
                  </a:lnTo>
                  <a:lnTo>
                    <a:pt x="3936" y="1810"/>
                  </a:lnTo>
                  <a:lnTo>
                    <a:pt x="3941" y="1826"/>
                  </a:lnTo>
                  <a:lnTo>
                    <a:pt x="3865" y="1843"/>
                  </a:lnTo>
                  <a:lnTo>
                    <a:pt x="3801" y="1864"/>
                  </a:lnTo>
                  <a:lnTo>
                    <a:pt x="3936" y="1836"/>
                  </a:lnTo>
                  <a:lnTo>
                    <a:pt x="3941" y="1843"/>
                  </a:lnTo>
                  <a:lnTo>
                    <a:pt x="3936" y="1848"/>
                  </a:lnTo>
                  <a:lnTo>
                    <a:pt x="3919" y="1848"/>
                  </a:lnTo>
                  <a:lnTo>
                    <a:pt x="3936" y="1848"/>
                  </a:lnTo>
                  <a:lnTo>
                    <a:pt x="3936" y="1876"/>
                  </a:lnTo>
                  <a:lnTo>
                    <a:pt x="3941" y="1876"/>
                  </a:lnTo>
                  <a:lnTo>
                    <a:pt x="3941" y="1810"/>
                  </a:lnTo>
                  <a:lnTo>
                    <a:pt x="3962" y="1803"/>
                  </a:lnTo>
                  <a:lnTo>
                    <a:pt x="3945" y="1786"/>
                  </a:lnTo>
                  <a:lnTo>
                    <a:pt x="3957" y="1770"/>
                  </a:lnTo>
                  <a:lnTo>
                    <a:pt x="3910" y="1770"/>
                  </a:lnTo>
                  <a:lnTo>
                    <a:pt x="3886" y="1765"/>
                  </a:lnTo>
                  <a:lnTo>
                    <a:pt x="3893" y="1753"/>
                  </a:lnTo>
                  <a:lnTo>
                    <a:pt x="3886" y="1737"/>
                  </a:lnTo>
                  <a:lnTo>
                    <a:pt x="3855" y="1732"/>
                  </a:lnTo>
                  <a:lnTo>
                    <a:pt x="3893" y="1725"/>
                  </a:lnTo>
                  <a:lnTo>
                    <a:pt x="3893" y="1715"/>
                  </a:lnTo>
                  <a:lnTo>
                    <a:pt x="3893" y="1692"/>
                  </a:lnTo>
                  <a:lnTo>
                    <a:pt x="3936" y="1699"/>
                  </a:lnTo>
                  <a:lnTo>
                    <a:pt x="3990" y="1737"/>
                  </a:lnTo>
                  <a:lnTo>
                    <a:pt x="3990" y="1732"/>
                  </a:lnTo>
                  <a:lnTo>
                    <a:pt x="3936" y="1692"/>
                  </a:lnTo>
                  <a:lnTo>
                    <a:pt x="3962" y="1675"/>
                  </a:lnTo>
                  <a:lnTo>
                    <a:pt x="3936" y="1682"/>
                  </a:lnTo>
                  <a:lnTo>
                    <a:pt x="3941" y="1666"/>
                  </a:lnTo>
                  <a:lnTo>
                    <a:pt x="3919" y="1682"/>
                  </a:lnTo>
                  <a:lnTo>
                    <a:pt x="3886" y="1666"/>
                  </a:lnTo>
                  <a:lnTo>
                    <a:pt x="3886" y="1659"/>
                  </a:lnTo>
                  <a:lnTo>
                    <a:pt x="3893" y="1654"/>
                  </a:lnTo>
                  <a:lnTo>
                    <a:pt x="3881" y="1642"/>
                  </a:lnTo>
                  <a:lnTo>
                    <a:pt x="3881" y="1609"/>
                  </a:lnTo>
                  <a:lnTo>
                    <a:pt x="3910" y="1597"/>
                  </a:lnTo>
                  <a:lnTo>
                    <a:pt x="4000" y="1626"/>
                  </a:lnTo>
                  <a:lnTo>
                    <a:pt x="3886" y="1588"/>
                  </a:lnTo>
                  <a:lnTo>
                    <a:pt x="3903" y="1571"/>
                  </a:lnTo>
                  <a:lnTo>
                    <a:pt x="3919" y="1588"/>
                  </a:lnTo>
                  <a:lnTo>
                    <a:pt x="3910" y="1581"/>
                  </a:lnTo>
                  <a:lnTo>
                    <a:pt x="3919" y="1571"/>
                  </a:lnTo>
                  <a:lnTo>
                    <a:pt x="4028" y="1597"/>
                  </a:lnTo>
                  <a:lnTo>
                    <a:pt x="3919" y="1564"/>
                  </a:lnTo>
                  <a:lnTo>
                    <a:pt x="3941" y="1543"/>
                  </a:lnTo>
                  <a:lnTo>
                    <a:pt x="3974" y="1564"/>
                  </a:lnTo>
                  <a:lnTo>
                    <a:pt x="3945" y="1543"/>
                  </a:lnTo>
                  <a:lnTo>
                    <a:pt x="3990" y="1526"/>
                  </a:lnTo>
                  <a:lnTo>
                    <a:pt x="4016" y="1531"/>
                  </a:lnTo>
                  <a:lnTo>
                    <a:pt x="4028" y="1548"/>
                  </a:lnTo>
                  <a:lnTo>
                    <a:pt x="4028" y="1531"/>
                  </a:lnTo>
                  <a:lnTo>
                    <a:pt x="3995" y="1526"/>
                  </a:lnTo>
                  <a:lnTo>
                    <a:pt x="4082" y="1493"/>
                  </a:lnTo>
                  <a:lnTo>
                    <a:pt x="4172" y="1493"/>
                  </a:lnTo>
                  <a:lnTo>
                    <a:pt x="4196" y="1526"/>
                  </a:lnTo>
                  <a:lnTo>
                    <a:pt x="4196" y="1555"/>
                  </a:lnTo>
                  <a:lnTo>
                    <a:pt x="4243" y="1581"/>
                  </a:lnTo>
                  <a:lnTo>
                    <a:pt x="4233" y="1604"/>
                  </a:lnTo>
                  <a:lnTo>
                    <a:pt x="4259" y="1626"/>
                  </a:lnTo>
                  <a:lnTo>
                    <a:pt x="4179" y="1699"/>
                  </a:lnTo>
                  <a:lnTo>
                    <a:pt x="4243" y="1659"/>
                  </a:lnTo>
                  <a:lnTo>
                    <a:pt x="4243" y="1675"/>
                  </a:lnTo>
                  <a:lnTo>
                    <a:pt x="4210" y="1708"/>
                  </a:lnTo>
                  <a:lnTo>
                    <a:pt x="4243" y="1725"/>
                  </a:lnTo>
                  <a:lnTo>
                    <a:pt x="4205" y="1725"/>
                  </a:lnTo>
                  <a:lnTo>
                    <a:pt x="4226" y="1725"/>
                  </a:lnTo>
                  <a:lnTo>
                    <a:pt x="4210" y="1748"/>
                  </a:lnTo>
                  <a:lnTo>
                    <a:pt x="4248" y="1725"/>
                  </a:lnTo>
                  <a:lnTo>
                    <a:pt x="4243" y="1708"/>
                  </a:lnTo>
                  <a:lnTo>
                    <a:pt x="4264" y="1699"/>
                  </a:lnTo>
                  <a:lnTo>
                    <a:pt x="4259" y="1692"/>
                  </a:lnTo>
                  <a:lnTo>
                    <a:pt x="4302" y="1715"/>
                  </a:lnTo>
                  <a:lnTo>
                    <a:pt x="4264" y="1682"/>
                  </a:lnTo>
                  <a:lnTo>
                    <a:pt x="4297" y="1659"/>
                  </a:lnTo>
                  <a:lnTo>
                    <a:pt x="4302" y="1682"/>
                  </a:lnTo>
                  <a:lnTo>
                    <a:pt x="4297" y="1699"/>
                  </a:lnTo>
                  <a:lnTo>
                    <a:pt x="4323" y="1675"/>
                  </a:lnTo>
                  <a:lnTo>
                    <a:pt x="4352" y="1692"/>
                  </a:lnTo>
                  <a:lnTo>
                    <a:pt x="4352" y="1708"/>
                  </a:lnTo>
                  <a:lnTo>
                    <a:pt x="4335" y="1732"/>
                  </a:lnTo>
                  <a:lnTo>
                    <a:pt x="4378" y="1748"/>
                  </a:lnTo>
                  <a:lnTo>
                    <a:pt x="4356" y="1732"/>
                  </a:lnTo>
                  <a:lnTo>
                    <a:pt x="4356" y="1708"/>
                  </a:lnTo>
                  <a:lnTo>
                    <a:pt x="4389" y="1715"/>
                  </a:lnTo>
                  <a:lnTo>
                    <a:pt x="4406" y="1753"/>
                  </a:lnTo>
                  <a:lnTo>
                    <a:pt x="4427" y="1765"/>
                  </a:lnTo>
                  <a:lnTo>
                    <a:pt x="4394" y="1737"/>
                  </a:lnTo>
                  <a:lnTo>
                    <a:pt x="4411" y="1732"/>
                  </a:lnTo>
                  <a:lnTo>
                    <a:pt x="4432" y="1753"/>
                  </a:lnTo>
                  <a:lnTo>
                    <a:pt x="4411" y="1732"/>
                  </a:lnTo>
                  <a:lnTo>
                    <a:pt x="4394" y="1732"/>
                  </a:lnTo>
                  <a:lnTo>
                    <a:pt x="4389" y="1715"/>
                  </a:lnTo>
                  <a:lnTo>
                    <a:pt x="4356" y="1699"/>
                  </a:lnTo>
                  <a:lnTo>
                    <a:pt x="4373" y="1682"/>
                  </a:lnTo>
                  <a:lnTo>
                    <a:pt x="4389" y="1708"/>
                  </a:lnTo>
                  <a:lnTo>
                    <a:pt x="4389" y="1682"/>
                  </a:lnTo>
                  <a:lnTo>
                    <a:pt x="4486" y="1715"/>
                  </a:lnTo>
                  <a:lnTo>
                    <a:pt x="4378" y="1666"/>
                  </a:lnTo>
                  <a:lnTo>
                    <a:pt x="4389" y="1654"/>
                  </a:lnTo>
                  <a:lnTo>
                    <a:pt x="4444" y="1626"/>
                  </a:lnTo>
                  <a:lnTo>
                    <a:pt x="4503" y="1626"/>
                  </a:lnTo>
                  <a:lnTo>
                    <a:pt x="4512" y="1642"/>
                  </a:lnTo>
                  <a:lnTo>
                    <a:pt x="4550" y="1654"/>
                  </a:lnTo>
                  <a:lnTo>
                    <a:pt x="4550" y="1666"/>
                  </a:lnTo>
                  <a:lnTo>
                    <a:pt x="4567" y="1654"/>
                  </a:lnTo>
                  <a:lnTo>
                    <a:pt x="4611" y="1659"/>
                  </a:lnTo>
                  <a:lnTo>
                    <a:pt x="4637" y="1699"/>
                  </a:lnTo>
                  <a:lnTo>
                    <a:pt x="4611" y="1715"/>
                  </a:lnTo>
                  <a:lnTo>
                    <a:pt x="4557" y="1715"/>
                  </a:lnTo>
                  <a:lnTo>
                    <a:pt x="4536" y="1748"/>
                  </a:lnTo>
                  <a:lnTo>
                    <a:pt x="4574" y="1715"/>
                  </a:lnTo>
                  <a:lnTo>
                    <a:pt x="4611" y="1725"/>
                  </a:lnTo>
                  <a:lnTo>
                    <a:pt x="4588" y="1732"/>
                  </a:lnTo>
                  <a:lnTo>
                    <a:pt x="4574" y="1765"/>
                  </a:lnTo>
                  <a:lnTo>
                    <a:pt x="4550" y="1770"/>
                  </a:lnTo>
                  <a:lnTo>
                    <a:pt x="4574" y="1765"/>
                  </a:lnTo>
                  <a:lnTo>
                    <a:pt x="4588" y="1732"/>
                  </a:lnTo>
                  <a:lnTo>
                    <a:pt x="4626" y="1715"/>
                  </a:lnTo>
                  <a:lnTo>
                    <a:pt x="4680" y="1725"/>
                  </a:lnTo>
                  <a:lnTo>
                    <a:pt x="4692" y="1732"/>
                  </a:lnTo>
                  <a:lnTo>
                    <a:pt x="4680" y="1753"/>
                  </a:lnTo>
                  <a:lnTo>
                    <a:pt x="4604" y="1770"/>
                  </a:lnTo>
                  <a:lnTo>
                    <a:pt x="4637" y="1781"/>
                  </a:lnTo>
                  <a:lnTo>
                    <a:pt x="4595" y="1793"/>
                  </a:lnTo>
                  <a:lnTo>
                    <a:pt x="4659" y="1781"/>
                  </a:lnTo>
                  <a:lnTo>
                    <a:pt x="4621" y="1803"/>
                  </a:lnTo>
                  <a:lnTo>
                    <a:pt x="4642" y="1793"/>
                  </a:lnTo>
                  <a:lnTo>
                    <a:pt x="4649" y="1810"/>
                  </a:lnTo>
                  <a:lnTo>
                    <a:pt x="4621" y="1843"/>
                  </a:lnTo>
                  <a:lnTo>
                    <a:pt x="4649" y="1810"/>
                  </a:lnTo>
                  <a:lnTo>
                    <a:pt x="4649" y="1793"/>
                  </a:lnTo>
                  <a:lnTo>
                    <a:pt x="4659" y="1781"/>
                  </a:lnTo>
                  <a:lnTo>
                    <a:pt x="4692" y="1765"/>
                  </a:lnTo>
                  <a:lnTo>
                    <a:pt x="4680" y="1781"/>
                  </a:lnTo>
                  <a:lnTo>
                    <a:pt x="4692" y="1793"/>
                  </a:lnTo>
                  <a:lnTo>
                    <a:pt x="4696" y="1765"/>
                  </a:lnTo>
                  <a:lnTo>
                    <a:pt x="4718" y="1765"/>
                  </a:lnTo>
                  <a:lnTo>
                    <a:pt x="4729" y="1765"/>
                  </a:lnTo>
                  <a:lnTo>
                    <a:pt x="4696" y="1793"/>
                  </a:lnTo>
                  <a:lnTo>
                    <a:pt x="4675" y="1810"/>
                  </a:lnTo>
                  <a:lnTo>
                    <a:pt x="4696" y="1803"/>
                  </a:lnTo>
                  <a:lnTo>
                    <a:pt x="4692" y="1826"/>
                  </a:lnTo>
                  <a:lnTo>
                    <a:pt x="4680" y="1836"/>
                  </a:lnTo>
                  <a:lnTo>
                    <a:pt x="4696" y="1826"/>
                  </a:lnTo>
                  <a:lnTo>
                    <a:pt x="4713" y="1793"/>
                  </a:lnTo>
                  <a:lnTo>
                    <a:pt x="4729" y="1786"/>
                  </a:lnTo>
                  <a:lnTo>
                    <a:pt x="4729" y="1819"/>
                  </a:lnTo>
                  <a:lnTo>
                    <a:pt x="4734" y="1803"/>
                  </a:lnTo>
                  <a:lnTo>
                    <a:pt x="4746" y="1810"/>
                  </a:lnTo>
                  <a:lnTo>
                    <a:pt x="4729" y="1826"/>
                  </a:lnTo>
                  <a:lnTo>
                    <a:pt x="4718" y="1848"/>
                  </a:lnTo>
                  <a:lnTo>
                    <a:pt x="4701" y="1859"/>
                  </a:lnTo>
                  <a:lnTo>
                    <a:pt x="4718" y="1848"/>
                  </a:lnTo>
                  <a:lnTo>
                    <a:pt x="4729" y="1836"/>
                  </a:lnTo>
                  <a:lnTo>
                    <a:pt x="4734" y="1819"/>
                  </a:lnTo>
                  <a:lnTo>
                    <a:pt x="4767" y="1826"/>
                  </a:lnTo>
                  <a:lnTo>
                    <a:pt x="4751" y="1836"/>
                  </a:lnTo>
                  <a:lnTo>
                    <a:pt x="4751" y="1848"/>
                  </a:lnTo>
                  <a:lnTo>
                    <a:pt x="4734" y="1859"/>
                  </a:lnTo>
                  <a:lnTo>
                    <a:pt x="4746" y="1864"/>
                  </a:lnTo>
                  <a:lnTo>
                    <a:pt x="4755" y="1836"/>
                  </a:lnTo>
                  <a:lnTo>
                    <a:pt x="4767" y="1826"/>
                  </a:lnTo>
                  <a:lnTo>
                    <a:pt x="4767" y="1810"/>
                  </a:lnTo>
                  <a:lnTo>
                    <a:pt x="4789" y="1810"/>
                  </a:lnTo>
                  <a:lnTo>
                    <a:pt x="4805" y="1781"/>
                  </a:lnTo>
                  <a:lnTo>
                    <a:pt x="4864" y="1793"/>
                  </a:lnTo>
                  <a:lnTo>
                    <a:pt x="4897" y="1826"/>
                  </a:lnTo>
                  <a:lnTo>
                    <a:pt x="4874" y="1859"/>
                  </a:lnTo>
                  <a:lnTo>
                    <a:pt x="4843" y="1848"/>
                  </a:lnTo>
                  <a:lnTo>
                    <a:pt x="4810" y="1881"/>
                  </a:lnTo>
                  <a:lnTo>
                    <a:pt x="4789" y="1881"/>
                  </a:lnTo>
                  <a:lnTo>
                    <a:pt x="4826" y="1881"/>
                  </a:lnTo>
                  <a:lnTo>
                    <a:pt x="4810" y="1904"/>
                  </a:lnTo>
                  <a:lnTo>
                    <a:pt x="4798" y="1914"/>
                  </a:lnTo>
                  <a:lnTo>
                    <a:pt x="4826" y="1892"/>
                  </a:lnTo>
                  <a:lnTo>
                    <a:pt x="4881" y="1881"/>
                  </a:lnTo>
                  <a:lnTo>
                    <a:pt x="4897" y="1859"/>
                  </a:lnTo>
                  <a:lnTo>
                    <a:pt x="4918" y="1848"/>
                  </a:lnTo>
                  <a:lnTo>
                    <a:pt x="4935" y="1859"/>
                  </a:lnTo>
                  <a:lnTo>
                    <a:pt x="4944" y="1876"/>
                  </a:lnTo>
                  <a:lnTo>
                    <a:pt x="4928" y="1897"/>
                  </a:lnTo>
                  <a:lnTo>
                    <a:pt x="4897" y="1914"/>
                  </a:lnTo>
                  <a:lnTo>
                    <a:pt x="4864" y="1914"/>
                  </a:lnTo>
                  <a:lnTo>
                    <a:pt x="4852" y="1937"/>
                  </a:lnTo>
                  <a:lnTo>
                    <a:pt x="4859" y="1937"/>
                  </a:lnTo>
                  <a:lnTo>
                    <a:pt x="4859" y="1947"/>
                  </a:lnTo>
                  <a:lnTo>
                    <a:pt x="4852" y="1954"/>
                  </a:lnTo>
                  <a:lnTo>
                    <a:pt x="4859" y="1954"/>
                  </a:lnTo>
                  <a:lnTo>
                    <a:pt x="4874" y="1921"/>
                  </a:lnTo>
                  <a:lnTo>
                    <a:pt x="4897" y="1921"/>
                  </a:lnTo>
                  <a:lnTo>
                    <a:pt x="4890" y="1954"/>
                  </a:lnTo>
                  <a:lnTo>
                    <a:pt x="4890" y="1959"/>
                  </a:lnTo>
                  <a:lnTo>
                    <a:pt x="4874" y="1992"/>
                  </a:lnTo>
                  <a:lnTo>
                    <a:pt x="4897" y="1959"/>
                  </a:lnTo>
                  <a:lnTo>
                    <a:pt x="4911" y="1914"/>
                  </a:lnTo>
                  <a:lnTo>
                    <a:pt x="4987" y="1881"/>
                  </a:lnTo>
                  <a:lnTo>
                    <a:pt x="4999" y="1881"/>
                  </a:lnTo>
                  <a:lnTo>
                    <a:pt x="4973" y="1904"/>
                  </a:lnTo>
                  <a:lnTo>
                    <a:pt x="4944" y="1914"/>
                  </a:lnTo>
                  <a:lnTo>
                    <a:pt x="4949" y="1921"/>
                  </a:lnTo>
                  <a:lnTo>
                    <a:pt x="4944" y="1930"/>
                  </a:lnTo>
                  <a:lnTo>
                    <a:pt x="4961" y="1930"/>
                  </a:lnTo>
                  <a:lnTo>
                    <a:pt x="4961" y="1914"/>
                  </a:lnTo>
                  <a:lnTo>
                    <a:pt x="4973" y="1914"/>
                  </a:lnTo>
                  <a:lnTo>
                    <a:pt x="5020" y="1892"/>
                  </a:lnTo>
                  <a:lnTo>
                    <a:pt x="5096" y="1921"/>
                  </a:lnTo>
                  <a:lnTo>
                    <a:pt x="5096" y="1930"/>
                  </a:lnTo>
                  <a:lnTo>
                    <a:pt x="5091" y="1947"/>
                  </a:lnTo>
                  <a:lnTo>
                    <a:pt x="5074" y="1930"/>
                  </a:lnTo>
                  <a:lnTo>
                    <a:pt x="5074" y="1954"/>
                  </a:lnTo>
                  <a:lnTo>
                    <a:pt x="5004" y="1970"/>
                  </a:lnTo>
                  <a:lnTo>
                    <a:pt x="4966" y="1992"/>
                  </a:lnTo>
                  <a:lnTo>
                    <a:pt x="4987" y="1992"/>
                  </a:lnTo>
                  <a:lnTo>
                    <a:pt x="4944" y="2013"/>
                  </a:lnTo>
                  <a:lnTo>
                    <a:pt x="4999" y="1992"/>
                  </a:lnTo>
                  <a:lnTo>
                    <a:pt x="4999" y="1987"/>
                  </a:lnTo>
                  <a:lnTo>
                    <a:pt x="5004" y="1975"/>
                  </a:lnTo>
                  <a:lnTo>
                    <a:pt x="5058" y="1970"/>
                  </a:lnTo>
                  <a:lnTo>
                    <a:pt x="5074" y="1975"/>
                  </a:lnTo>
                  <a:lnTo>
                    <a:pt x="5020" y="2013"/>
                  </a:lnTo>
                  <a:lnTo>
                    <a:pt x="4987" y="2013"/>
                  </a:lnTo>
                  <a:lnTo>
                    <a:pt x="4982" y="2041"/>
                  </a:lnTo>
                  <a:lnTo>
                    <a:pt x="4999" y="2013"/>
                  </a:lnTo>
                  <a:lnTo>
                    <a:pt x="5020" y="2025"/>
                  </a:lnTo>
                  <a:lnTo>
                    <a:pt x="5041" y="2003"/>
                  </a:lnTo>
                  <a:lnTo>
                    <a:pt x="5107" y="1975"/>
                  </a:lnTo>
                  <a:lnTo>
                    <a:pt x="5096" y="1970"/>
                  </a:lnTo>
                  <a:lnTo>
                    <a:pt x="5107" y="1954"/>
                  </a:lnTo>
                  <a:lnTo>
                    <a:pt x="5138" y="1959"/>
                  </a:lnTo>
                  <a:lnTo>
                    <a:pt x="5176" y="2003"/>
                  </a:lnTo>
                  <a:lnTo>
                    <a:pt x="5183" y="2025"/>
                  </a:lnTo>
                  <a:lnTo>
                    <a:pt x="5124" y="2025"/>
                  </a:lnTo>
                  <a:lnTo>
                    <a:pt x="5096" y="2041"/>
                  </a:lnTo>
                  <a:lnTo>
                    <a:pt x="4973" y="2058"/>
                  </a:lnTo>
                  <a:lnTo>
                    <a:pt x="5025" y="2058"/>
                  </a:lnTo>
                  <a:lnTo>
                    <a:pt x="5074" y="2048"/>
                  </a:lnTo>
                  <a:lnTo>
                    <a:pt x="5124" y="2065"/>
                  </a:lnTo>
                  <a:lnTo>
                    <a:pt x="5176" y="2065"/>
                  </a:lnTo>
                  <a:lnTo>
                    <a:pt x="5204" y="2081"/>
                  </a:lnTo>
                  <a:lnTo>
                    <a:pt x="5214" y="2098"/>
                  </a:lnTo>
                  <a:lnTo>
                    <a:pt x="5204" y="2103"/>
                  </a:lnTo>
                  <a:lnTo>
                    <a:pt x="5053" y="2070"/>
                  </a:lnTo>
                  <a:lnTo>
                    <a:pt x="5025" y="2086"/>
                  </a:lnTo>
                  <a:lnTo>
                    <a:pt x="5053" y="2081"/>
                  </a:lnTo>
                  <a:lnTo>
                    <a:pt x="5112" y="2098"/>
                  </a:lnTo>
                  <a:lnTo>
                    <a:pt x="5053" y="2098"/>
                  </a:lnTo>
                  <a:lnTo>
                    <a:pt x="5079" y="2098"/>
                  </a:lnTo>
                  <a:lnTo>
                    <a:pt x="5053" y="2115"/>
                  </a:lnTo>
                  <a:lnTo>
                    <a:pt x="5053" y="2124"/>
                  </a:lnTo>
                  <a:lnTo>
                    <a:pt x="5058" y="2115"/>
                  </a:lnTo>
                  <a:lnTo>
                    <a:pt x="5107" y="2103"/>
                  </a:lnTo>
                  <a:lnTo>
                    <a:pt x="5138" y="2119"/>
                  </a:lnTo>
                  <a:lnTo>
                    <a:pt x="5079" y="2124"/>
                  </a:lnTo>
                  <a:lnTo>
                    <a:pt x="5112" y="2124"/>
                  </a:lnTo>
                  <a:lnTo>
                    <a:pt x="5124" y="2136"/>
                  </a:lnTo>
                  <a:lnTo>
                    <a:pt x="5079" y="2136"/>
                  </a:lnTo>
                  <a:lnTo>
                    <a:pt x="5138" y="2152"/>
                  </a:lnTo>
                  <a:lnTo>
                    <a:pt x="5020" y="2136"/>
                  </a:lnTo>
                  <a:lnTo>
                    <a:pt x="5112" y="2157"/>
                  </a:lnTo>
                  <a:lnTo>
                    <a:pt x="5058" y="2169"/>
                  </a:lnTo>
                  <a:lnTo>
                    <a:pt x="5091" y="2169"/>
                  </a:lnTo>
                  <a:lnTo>
                    <a:pt x="5070" y="2176"/>
                  </a:lnTo>
                  <a:lnTo>
                    <a:pt x="5150" y="2176"/>
                  </a:lnTo>
                  <a:lnTo>
                    <a:pt x="5145" y="2181"/>
                  </a:lnTo>
                  <a:lnTo>
                    <a:pt x="5145" y="2197"/>
                  </a:lnTo>
                  <a:lnTo>
                    <a:pt x="5162" y="2181"/>
                  </a:lnTo>
                  <a:lnTo>
                    <a:pt x="5176" y="2192"/>
                  </a:lnTo>
                  <a:lnTo>
                    <a:pt x="5167" y="2192"/>
                  </a:lnTo>
                  <a:lnTo>
                    <a:pt x="5183" y="2192"/>
                  </a:lnTo>
                  <a:lnTo>
                    <a:pt x="5183" y="2181"/>
                  </a:lnTo>
                  <a:lnTo>
                    <a:pt x="5214" y="2192"/>
                  </a:lnTo>
                  <a:lnTo>
                    <a:pt x="5192" y="2197"/>
                  </a:lnTo>
                  <a:lnTo>
                    <a:pt x="5138" y="2209"/>
                  </a:lnTo>
                  <a:lnTo>
                    <a:pt x="5129" y="2214"/>
                  </a:lnTo>
                  <a:lnTo>
                    <a:pt x="5145" y="2209"/>
                  </a:lnTo>
                  <a:lnTo>
                    <a:pt x="5150" y="2214"/>
                  </a:lnTo>
                  <a:lnTo>
                    <a:pt x="5145" y="2214"/>
                  </a:lnTo>
                  <a:lnTo>
                    <a:pt x="5150" y="2214"/>
                  </a:lnTo>
                  <a:lnTo>
                    <a:pt x="5176" y="2197"/>
                  </a:lnTo>
                  <a:lnTo>
                    <a:pt x="5192" y="2209"/>
                  </a:lnTo>
                  <a:lnTo>
                    <a:pt x="5176" y="2209"/>
                  </a:lnTo>
                  <a:lnTo>
                    <a:pt x="5162" y="2230"/>
                  </a:lnTo>
                  <a:lnTo>
                    <a:pt x="5145" y="2226"/>
                  </a:lnTo>
                  <a:lnTo>
                    <a:pt x="5162" y="2230"/>
                  </a:lnTo>
                  <a:lnTo>
                    <a:pt x="5167" y="2214"/>
                  </a:lnTo>
                  <a:lnTo>
                    <a:pt x="5192" y="2209"/>
                  </a:lnTo>
                  <a:lnTo>
                    <a:pt x="5204" y="2214"/>
                  </a:lnTo>
                  <a:lnTo>
                    <a:pt x="5192" y="2247"/>
                  </a:lnTo>
                  <a:lnTo>
                    <a:pt x="5214" y="2230"/>
                  </a:lnTo>
                  <a:lnTo>
                    <a:pt x="5214" y="2247"/>
                  </a:lnTo>
                  <a:lnTo>
                    <a:pt x="5221" y="2230"/>
                  </a:lnTo>
                  <a:lnTo>
                    <a:pt x="5237" y="2230"/>
                  </a:lnTo>
                  <a:lnTo>
                    <a:pt x="5230" y="2235"/>
                  </a:lnTo>
                  <a:lnTo>
                    <a:pt x="5247" y="2247"/>
                  </a:lnTo>
                  <a:lnTo>
                    <a:pt x="5230" y="2263"/>
                  </a:lnTo>
                  <a:lnTo>
                    <a:pt x="5204" y="2263"/>
                  </a:lnTo>
                  <a:lnTo>
                    <a:pt x="5237" y="2268"/>
                  </a:lnTo>
                  <a:lnTo>
                    <a:pt x="5237" y="2252"/>
                  </a:lnTo>
                  <a:lnTo>
                    <a:pt x="5268" y="2235"/>
                  </a:lnTo>
                  <a:lnTo>
                    <a:pt x="5268" y="2226"/>
                  </a:lnTo>
                  <a:lnTo>
                    <a:pt x="5268" y="2235"/>
                  </a:lnTo>
                  <a:lnTo>
                    <a:pt x="5259" y="2252"/>
                  </a:lnTo>
                  <a:lnTo>
                    <a:pt x="5259" y="2263"/>
                  </a:lnTo>
                  <a:lnTo>
                    <a:pt x="5259" y="2292"/>
                  </a:lnTo>
                  <a:lnTo>
                    <a:pt x="5259" y="2268"/>
                  </a:lnTo>
                  <a:lnTo>
                    <a:pt x="5275" y="2252"/>
                  </a:lnTo>
                  <a:lnTo>
                    <a:pt x="5275" y="2247"/>
                  </a:lnTo>
                  <a:lnTo>
                    <a:pt x="5301" y="2247"/>
                  </a:lnTo>
                  <a:lnTo>
                    <a:pt x="5285" y="2268"/>
                  </a:lnTo>
                  <a:lnTo>
                    <a:pt x="5306" y="2292"/>
                  </a:lnTo>
                  <a:lnTo>
                    <a:pt x="5306" y="2285"/>
                  </a:lnTo>
                  <a:lnTo>
                    <a:pt x="5289" y="2268"/>
                  </a:lnTo>
                  <a:lnTo>
                    <a:pt x="5301" y="2252"/>
                  </a:lnTo>
                  <a:lnTo>
                    <a:pt x="5327" y="2235"/>
                  </a:lnTo>
                  <a:lnTo>
                    <a:pt x="5355" y="2247"/>
                  </a:lnTo>
                  <a:lnTo>
                    <a:pt x="5327" y="2263"/>
                  </a:lnTo>
                  <a:lnTo>
                    <a:pt x="5327" y="2268"/>
                  </a:lnTo>
                  <a:lnTo>
                    <a:pt x="5313" y="2285"/>
                  </a:lnTo>
                  <a:lnTo>
                    <a:pt x="5339" y="2268"/>
                  </a:lnTo>
                  <a:lnTo>
                    <a:pt x="5344" y="2268"/>
                  </a:lnTo>
                  <a:lnTo>
                    <a:pt x="5344" y="2285"/>
                  </a:lnTo>
                  <a:lnTo>
                    <a:pt x="5344" y="2268"/>
                  </a:lnTo>
                  <a:lnTo>
                    <a:pt x="5365" y="2268"/>
                  </a:lnTo>
                  <a:lnTo>
                    <a:pt x="5377" y="2280"/>
                  </a:lnTo>
                  <a:lnTo>
                    <a:pt x="5355" y="2285"/>
                  </a:lnTo>
                  <a:lnTo>
                    <a:pt x="5377" y="2280"/>
                  </a:lnTo>
                  <a:lnTo>
                    <a:pt x="5398" y="2303"/>
                  </a:lnTo>
                  <a:lnTo>
                    <a:pt x="5365" y="2308"/>
                  </a:lnTo>
                  <a:lnTo>
                    <a:pt x="5398" y="2308"/>
                  </a:lnTo>
                  <a:lnTo>
                    <a:pt x="5410" y="2337"/>
                  </a:lnTo>
                  <a:lnTo>
                    <a:pt x="5344" y="2325"/>
                  </a:lnTo>
                  <a:lnTo>
                    <a:pt x="5381" y="2337"/>
                  </a:lnTo>
                  <a:lnTo>
                    <a:pt x="5344" y="2341"/>
                  </a:lnTo>
                  <a:lnTo>
                    <a:pt x="5398" y="2337"/>
                  </a:lnTo>
                  <a:lnTo>
                    <a:pt x="5360" y="2346"/>
                  </a:lnTo>
                  <a:lnTo>
                    <a:pt x="5355" y="2363"/>
                  </a:lnTo>
                  <a:lnTo>
                    <a:pt x="5365" y="2346"/>
                  </a:lnTo>
                  <a:lnTo>
                    <a:pt x="5436" y="2341"/>
                  </a:lnTo>
                  <a:lnTo>
                    <a:pt x="5415" y="2374"/>
                  </a:lnTo>
                  <a:lnTo>
                    <a:pt x="5448" y="2346"/>
                  </a:lnTo>
                  <a:lnTo>
                    <a:pt x="5448" y="2337"/>
                  </a:lnTo>
                  <a:lnTo>
                    <a:pt x="5462" y="2325"/>
                  </a:lnTo>
                  <a:lnTo>
                    <a:pt x="5474" y="2341"/>
                  </a:lnTo>
                  <a:lnTo>
                    <a:pt x="5452" y="2358"/>
                  </a:lnTo>
                  <a:lnTo>
                    <a:pt x="5452" y="2374"/>
                  </a:lnTo>
                  <a:lnTo>
                    <a:pt x="5415" y="2391"/>
                  </a:lnTo>
                  <a:lnTo>
                    <a:pt x="5436" y="2391"/>
                  </a:lnTo>
                  <a:lnTo>
                    <a:pt x="5436" y="2379"/>
                  </a:lnTo>
                  <a:lnTo>
                    <a:pt x="5436" y="2403"/>
                  </a:lnTo>
                  <a:lnTo>
                    <a:pt x="5452" y="2379"/>
                  </a:lnTo>
                  <a:lnTo>
                    <a:pt x="5485" y="2374"/>
                  </a:lnTo>
                  <a:lnTo>
                    <a:pt x="5474" y="2412"/>
                  </a:lnTo>
                  <a:lnTo>
                    <a:pt x="5490" y="2396"/>
                  </a:lnTo>
                  <a:lnTo>
                    <a:pt x="5490" y="2374"/>
                  </a:lnTo>
                  <a:lnTo>
                    <a:pt x="5500" y="2374"/>
                  </a:lnTo>
                  <a:lnTo>
                    <a:pt x="5523" y="2403"/>
                  </a:lnTo>
                  <a:lnTo>
                    <a:pt x="5507" y="2379"/>
                  </a:lnTo>
                  <a:lnTo>
                    <a:pt x="5528" y="2363"/>
                  </a:lnTo>
                  <a:lnTo>
                    <a:pt x="5537" y="2363"/>
                  </a:lnTo>
                  <a:lnTo>
                    <a:pt x="5528" y="2379"/>
                  </a:lnTo>
                  <a:lnTo>
                    <a:pt x="5561" y="2374"/>
                  </a:lnTo>
                  <a:lnTo>
                    <a:pt x="5592" y="2412"/>
                  </a:lnTo>
                  <a:lnTo>
                    <a:pt x="5575" y="2419"/>
                  </a:lnTo>
                  <a:lnTo>
                    <a:pt x="5544" y="2403"/>
                  </a:lnTo>
                  <a:lnTo>
                    <a:pt x="5528" y="2412"/>
                  </a:lnTo>
                  <a:lnTo>
                    <a:pt x="5554" y="2412"/>
                  </a:lnTo>
                  <a:lnTo>
                    <a:pt x="5570" y="2429"/>
                  </a:lnTo>
                  <a:lnTo>
                    <a:pt x="5544" y="2436"/>
                  </a:lnTo>
                  <a:lnTo>
                    <a:pt x="5575" y="2448"/>
                  </a:lnTo>
                  <a:lnTo>
                    <a:pt x="5544" y="2452"/>
                  </a:lnTo>
                  <a:lnTo>
                    <a:pt x="5507" y="2436"/>
                  </a:lnTo>
                  <a:lnTo>
                    <a:pt x="5490" y="2436"/>
                  </a:lnTo>
                  <a:lnTo>
                    <a:pt x="5516" y="2452"/>
                  </a:lnTo>
                  <a:lnTo>
                    <a:pt x="5490" y="2457"/>
                  </a:lnTo>
                  <a:lnTo>
                    <a:pt x="5474" y="2452"/>
                  </a:lnTo>
                  <a:lnTo>
                    <a:pt x="5490" y="2469"/>
                  </a:lnTo>
                  <a:lnTo>
                    <a:pt x="5528" y="2469"/>
                  </a:lnTo>
                  <a:lnTo>
                    <a:pt x="5544" y="2485"/>
                  </a:lnTo>
                  <a:lnTo>
                    <a:pt x="5485" y="2485"/>
                  </a:lnTo>
                  <a:lnTo>
                    <a:pt x="5474" y="2469"/>
                  </a:lnTo>
                  <a:lnTo>
                    <a:pt x="5469" y="2474"/>
                  </a:lnTo>
                  <a:lnTo>
                    <a:pt x="5516" y="2490"/>
                  </a:lnTo>
                  <a:lnTo>
                    <a:pt x="5516" y="2507"/>
                  </a:lnTo>
                  <a:lnTo>
                    <a:pt x="5500" y="2507"/>
                  </a:lnTo>
                  <a:lnTo>
                    <a:pt x="5474" y="2502"/>
                  </a:lnTo>
                  <a:lnTo>
                    <a:pt x="5500" y="2514"/>
                  </a:lnTo>
                  <a:lnTo>
                    <a:pt x="5485" y="2514"/>
                  </a:lnTo>
                  <a:lnTo>
                    <a:pt x="5500" y="2523"/>
                  </a:lnTo>
                  <a:lnTo>
                    <a:pt x="5490" y="2540"/>
                  </a:lnTo>
                  <a:lnTo>
                    <a:pt x="5485" y="2540"/>
                  </a:lnTo>
                  <a:lnTo>
                    <a:pt x="5474" y="2514"/>
                  </a:lnTo>
                  <a:lnTo>
                    <a:pt x="5474" y="2530"/>
                  </a:lnTo>
                  <a:lnTo>
                    <a:pt x="5474" y="2540"/>
                  </a:lnTo>
                  <a:lnTo>
                    <a:pt x="5452" y="2530"/>
                  </a:lnTo>
                  <a:lnTo>
                    <a:pt x="5436" y="2507"/>
                  </a:lnTo>
                  <a:lnTo>
                    <a:pt x="5448" y="2530"/>
                  </a:lnTo>
                  <a:lnTo>
                    <a:pt x="5419" y="2523"/>
                  </a:lnTo>
                  <a:lnTo>
                    <a:pt x="5448" y="2540"/>
                  </a:lnTo>
                  <a:lnTo>
                    <a:pt x="5431" y="2540"/>
                  </a:lnTo>
                  <a:lnTo>
                    <a:pt x="5452" y="2556"/>
                  </a:lnTo>
                  <a:lnTo>
                    <a:pt x="5419" y="2547"/>
                  </a:lnTo>
                  <a:lnTo>
                    <a:pt x="5448" y="2568"/>
                  </a:lnTo>
                  <a:lnTo>
                    <a:pt x="5436" y="2585"/>
                  </a:lnTo>
                  <a:lnTo>
                    <a:pt x="5448" y="2596"/>
                  </a:lnTo>
                  <a:lnTo>
                    <a:pt x="5431" y="2618"/>
                  </a:lnTo>
                  <a:lnTo>
                    <a:pt x="5415" y="2613"/>
                  </a:lnTo>
                  <a:lnTo>
                    <a:pt x="5419" y="2601"/>
                  </a:lnTo>
                  <a:lnTo>
                    <a:pt x="5410" y="2596"/>
                  </a:lnTo>
                  <a:lnTo>
                    <a:pt x="5393" y="2601"/>
                  </a:lnTo>
                  <a:lnTo>
                    <a:pt x="5381" y="2596"/>
                  </a:lnTo>
                  <a:lnTo>
                    <a:pt x="5393" y="2585"/>
                  </a:lnTo>
                  <a:lnTo>
                    <a:pt x="5377" y="2585"/>
                  </a:lnTo>
                  <a:lnTo>
                    <a:pt x="5377" y="2568"/>
                  </a:lnTo>
                  <a:lnTo>
                    <a:pt x="5381" y="2556"/>
                  </a:lnTo>
                  <a:lnTo>
                    <a:pt x="5365" y="2568"/>
                  </a:lnTo>
                  <a:lnTo>
                    <a:pt x="5360" y="2596"/>
                  </a:lnTo>
                  <a:lnTo>
                    <a:pt x="5339" y="2568"/>
                  </a:lnTo>
                  <a:lnTo>
                    <a:pt x="5355" y="2563"/>
                  </a:lnTo>
                  <a:lnTo>
                    <a:pt x="5339" y="2563"/>
                  </a:lnTo>
                  <a:lnTo>
                    <a:pt x="5365" y="2547"/>
                  </a:lnTo>
                  <a:lnTo>
                    <a:pt x="5327" y="2563"/>
                  </a:lnTo>
                  <a:lnTo>
                    <a:pt x="5322" y="2556"/>
                  </a:lnTo>
                  <a:lnTo>
                    <a:pt x="5355" y="2530"/>
                  </a:lnTo>
                  <a:lnTo>
                    <a:pt x="5327" y="2540"/>
                  </a:lnTo>
                  <a:lnTo>
                    <a:pt x="5306" y="2540"/>
                  </a:lnTo>
                  <a:lnTo>
                    <a:pt x="5344" y="2523"/>
                  </a:lnTo>
                  <a:lnTo>
                    <a:pt x="5322" y="2530"/>
                  </a:lnTo>
                  <a:lnTo>
                    <a:pt x="5289" y="2514"/>
                  </a:lnTo>
                  <a:lnTo>
                    <a:pt x="5306" y="2502"/>
                  </a:lnTo>
                  <a:lnTo>
                    <a:pt x="5355" y="2490"/>
                  </a:lnTo>
                  <a:lnTo>
                    <a:pt x="5344" y="2485"/>
                  </a:lnTo>
                  <a:lnTo>
                    <a:pt x="5355" y="2457"/>
                  </a:lnTo>
                  <a:lnTo>
                    <a:pt x="5377" y="2448"/>
                  </a:lnTo>
                  <a:lnTo>
                    <a:pt x="5355" y="2452"/>
                  </a:lnTo>
                  <a:lnTo>
                    <a:pt x="5339" y="2474"/>
                  </a:lnTo>
                  <a:lnTo>
                    <a:pt x="5268" y="2490"/>
                  </a:lnTo>
                  <a:lnTo>
                    <a:pt x="5259" y="2485"/>
                  </a:lnTo>
                  <a:lnTo>
                    <a:pt x="5285" y="2469"/>
                  </a:lnTo>
                  <a:lnTo>
                    <a:pt x="5301" y="2448"/>
                  </a:lnTo>
                  <a:lnTo>
                    <a:pt x="5285" y="2469"/>
                  </a:lnTo>
                  <a:lnTo>
                    <a:pt x="5252" y="2474"/>
                  </a:lnTo>
                  <a:lnTo>
                    <a:pt x="5247" y="2457"/>
                  </a:lnTo>
                  <a:lnTo>
                    <a:pt x="5221" y="2457"/>
                  </a:lnTo>
                  <a:lnTo>
                    <a:pt x="5221" y="2448"/>
                  </a:lnTo>
                  <a:lnTo>
                    <a:pt x="5230" y="2436"/>
                  </a:lnTo>
                  <a:lnTo>
                    <a:pt x="5204" y="2448"/>
                  </a:lnTo>
                  <a:lnTo>
                    <a:pt x="5200" y="2419"/>
                  </a:lnTo>
                  <a:lnTo>
                    <a:pt x="5183" y="2412"/>
                  </a:lnTo>
                  <a:lnTo>
                    <a:pt x="5200" y="2419"/>
                  </a:lnTo>
                  <a:lnTo>
                    <a:pt x="5183" y="2429"/>
                  </a:lnTo>
                  <a:lnTo>
                    <a:pt x="5167" y="2419"/>
                  </a:lnTo>
                  <a:lnTo>
                    <a:pt x="5138" y="2419"/>
                  </a:lnTo>
                  <a:lnTo>
                    <a:pt x="5183" y="2436"/>
                  </a:lnTo>
                  <a:lnTo>
                    <a:pt x="5176" y="2448"/>
                  </a:lnTo>
                  <a:lnTo>
                    <a:pt x="5162" y="2436"/>
                  </a:lnTo>
                  <a:lnTo>
                    <a:pt x="5183" y="2452"/>
                  </a:lnTo>
                  <a:lnTo>
                    <a:pt x="5167" y="2452"/>
                  </a:lnTo>
                  <a:lnTo>
                    <a:pt x="5124" y="2429"/>
                  </a:lnTo>
                  <a:lnTo>
                    <a:pt x="5145" y="2457"/>
                  </a:lnTo>
                  <a:lnTo>
                    <a:pt x="5176" y="2485"/>
                  </a:lnTo>
                  <a:lnTo>
                    <a:pt x="5176" y="2490"/>
                  </a:lnTo>
                  <a:lnTo>
                    <a:pt x="5176" y="2502"/>
                  </a:lnTo>
                  <a:lnTo>
                    <a:pt x="5129" y="2502"/>
                  </a:lnTo>
                  <a:lnTo>
                    <a:pt x="5107" y="2469"/>
                  </a:lnTo>
                  <a:lnTo>
                    <a:pt x="5058" y="2469"/>
                  </a:lnTo>
                  <a:lnTo>
                    <a:pt x="5112" y="2485"/>
                  </a:lnTo>
                  <a:lnTo>
                    <a:pt x="5112" y="2490"/>
                  </a:lnTo>
                  <a:lnTo>
                    <a:pt x="5096" y="2485"/>
                  </a:lnTo>
                  <a:lnTo>
                    <a:pt x="5096" y="2502"/>
                  </a:lnTo>
                  <a:lnTo>
                    <a:pt x="5112" y="2502"/>
                  </a:lnTo>
                  <a:lnTo>
                    <a:pt x="5107" y="2514"/>
                  </a:lnTo>
                  <a:lnTo>
                    <a:pt x="5129" y="2514"/>
                  </a:lnTo>
                  <a:lnTo>
                    <a:pt x="5112" y="2540"/>
                  </a:lnTo>
                  <a:lnTo>
                    <a:pt x="5124" y="2540"/>
                  </a:lnTo>
                  <a:lnTo>
                    <a:pt x="5124" y="2547"/>
                  </a:lnTo>
                  <a:lnTo>
                    <a:pt x="5138" y="2530"/>
                  </a:lnTo>
                  <a:lnTo>
                    <a:pt x="5167" y="2530"/>
                  </a:lnTo>
                  <a:lnTo>
                    <a:pt x="5162" y="2547"/>
                  </a:lnTo>
                  <a:lnTo>
                    <a:pt x="5183" y="2556"/>
                  </a:lnTo>
                  <a:lnTo>
                    <a:pt x="5162" y="2563"/>
                  </a:lnTo>
                  <a:lnTo>
                    <a:pt x="5200" y="2580"/>
                  </a:lnTo>
                  <a:lnTo>
                    <a:pt x="5192" y="2596"/>
                  </a:lnTo>
                  <a:lnTo>
                    <a:pt x="5183" y="2601"/>
                  </a:lnTo>
                  <a:lnTo>
                    <a:pt x="5204" y="2585"/>
                  </a:lnTo>
                  <a:lnTo>
                    <a:pt x="5204" y="2601"/>
                  </a:lnTo>
                  <a:lnTo>
                    <a:pt x="5214" y="2634"/>
                  </a:lnTo>
                  <a:lnTo>
                    <a:pt x="5214" y="2601"/>
                  </a:lnTo>
                  <a:lnTo>
                    <a:pt x="5252" y="2618"/>
                  </a:lnTo>
                  <a:lnTo>
                    <a:pt x="5247" y="2641"/>
                  </a:lnTo>
                  <a:lnTo>
                    <a:pt x="5259" y="2625"/>
                  </a:lnTo>
                  <a:lnTo>
                    <a:pt x="5259" y="2641"/>
                  </a:lnTo>
                  <a:lnTo>
                    <a:pt x="5268" y="2641"/>
                  </a:lnTo>
                  <a:lnTo>
                    <a:pt x="5259" y="2618"/>
                  </a:lnTo>
                  <a:lnTo>
                    <a:pt x="5285" y="2625"/>
                  </a:lnTo>
                  <a:lnTo>
                    <a:pt x="5285" y="2641"/>
                  </a:lnTo>
                  <a:lnTo>
                    <a:pt x="5285" y="2634"/>
                  </a:lnTo>
                  <a:lnTo>
                    <a:pt x="5289" y="2641"/>
                  </a:lnTo>
                  <a:lnTo>
                    <a:pt x="5285" y="2667"/>
                  </a:lnTo>
                  <a:lnTo>
                    <a:pt x="5313" y="2658"/>
                  </a:lnTo>
                  <a:lnTo>
                    <a:pt x="5322" y="2674"/>
                  </a:lnTo>
                  <a:lnTo>
                    <a:pt x="5313" y="2691"/>
                  </a:lnTo>
                  <a:lnTo>
                    <a:pt x="5285" y="2691"/>
                  </a:lnTo>
                  <a:lnTo>
                    <a:pt x="5301" y="2691"/>
                  </a:lnTo>
                  <a:lnTo>
                    <a:pt x="5327" y="2712"/>
                  </a:lnTo>
                  <a:lnTo>
                    <a:pt x="5313" y="2724"/>
                  </a:lnTo>
                  <a:lnTo>
                    <a:pt x="5355" y="2724"/>
                  </a:lnTo>
                  <a:lnTo>
                    <a:pt x="5327" y="2745"/>
                  </a:lnTo>
                  <a:lnTo>
                    <a:pt x="5360" y="2762"/>
                  </a:lnTo>
                  <a:lnTo>
                    <a:pt x="5365" y="2802"/>
                  </a:lnTo>
                  <a:lnTo>
                    <a:pt x="5360" y="2802"/>
                  </a:lnTo>
                  <a:lnTo>
                    <a:pt x="5365" y="2802"/>
                  </a:lnTo>
                  <a:lnTo>
                    <a:pt x="5360" y="2807"/>
                  </a:lnTo>
                  <a:lnTo>
                    <a:pt x="5344" y="2802"/>
                  </a:lnTo>
                  <a:lnTo>
                    <a:pt x="5339" y="2762"/>
                  </a:lnTo>
                  <a:lnTo>
                    <a:pt x="5306" y="2745"/>
                  </a:lnTo>
                  <a:lnTo>
                    <a:pt x="5327" y="2762"/>
                  </a:lnTo>
                  <a:lnTo>
                    <a:pt x="5322" y="2778"/>
                  </a:lnTo>
                  <a:lnTo>
                    <a:pt x="5339" y="2807"/>
                  </a:lnTo>
                  <a:lnTo>
                    <a:pt x="5322" y="2802"/>
                  </a:lnTo>
                  <a:lnTo>
                    <a:pt x="5327" y="2818"/>
                  </a:lnTo>
                  <a:lnTo>
                    <a:pt x="5344" y="2823"/>
                  </a:lnTo>
                  <a:lnTo>
                    <a:pt x="5344" y="2840"/>
                  </a:lnTo>
                  <a:lnTo>
                    <a:pt x="5355" y="2847"/>
                  </a:lnTo>
                  <a:lnTo>
                    <a:pt x="5339" y="2847"/>
                  </a:lnTo>
                  <a:lnTo>
                    <a:pt x="5313" y="2840"/>
                  </a:lnTo>
                  <a:lnTo>
                    <a:pt x="5339" y="2873"/>
                  </a:lnTo>
                  <a:lnTo>
                    <a:pt x="5313" y="2889"/>
                  </a:lnTo>
                  <a:lnTo>
                    <a:pt x="5313" y="2873"/>
                  </a:lnTo>
                  <a:lnTo>
                    <a:pt x="5306" y="2873"/>
                  </a:lnTo>
                  <a:lnTo>
                    <a:pt x="5306" y="2856"/>
                  </a:lnTo>
                  <a:lnTo>
                    <a:pt x="5289" y="2856"/>
                  </a:lnTo>
                  <a:lnTo>
                    <a:pt x="5268" y="2847"/>
                  </a:lnTo>
                  <a:lnTo>
                    <a:pt x="5268" y="2835"/>
                  </a:lnTo>
                  <a:lnTo>
                    <a:pt x="5259" y="2840"/>
                  </a:lnTo>
                  <a:lnTo>
                    <a:pt x="5237" y="2823"/>
                  </a:lnTo>
                  <a:lnTo>
                    <a:pt x="5252" y="2840"/>
                  </a:lnTo>
                  <a:lnTo>
                    <a:pt x="5230" y="2835"/>
                  </a:lnTo>
                  <a:lnTo>
                    <a:pt x="5214" y="2790"/>
                  </a:lnTo>
                  <a:lnTo>
                    <a:pt x="5204" y="2802"/>
                  </a:lnTo>
                  <a:lnTo>
                    <a:pt x="5221" y="2818"/>
                  </a:lnTo>
                  <a:lnTo>
                    <a:pt x="5221" y="2840"/>
                  </a:lnTo>
                  <a:lnTo>
                    <a:pt x="5204" y="2823"/>
                  </a:lnTo>
                  <a:lnTo>
                    <a:pt x="5204" y="2807"/>
                  </a:lnTo>
                  <a:lnTo>
                    <a:pt x="5200" y="2818"/>
                  </a:lnTo>
                  <a:lnTo>
                    <a:pt x="5192" y="2807"/>
                  </a:lnTo>
                  <a:lnTo>
                    <a:pt x="5192" y="2790"/>
                  </a:lnTo>
                  <a:lnTo>
                    <a:pt x="5192" y="2802"/>
                  </a:lnTo>
                  <a:lnTo>
                    <a:pt x="5176" y="2807"/>
                  </a:lnTo>
                  <a:lnTo>
                    <a:pt x="5129" y="2752"/>
                  </a:lnTo>
                  <a:lnTo>
                    <a:pt x="5145" y="2790"/>
                  </a:lnTo>
                  <a:lnTo>
                    <a:pt x="5079" y="2752"/>
                  </a:lnTo>
                  <a:lnTo>
                    <a:pt x="5053" y="2752"/>
                  </a:lnTo>
                  <a:lnTo>
                    <a:pt x="5107" y="2818"/>
                  </a:lnTo>
                  <a:lnTo>
                    <a:pt x="5145" y="2823"/>
                  </a:lnTo>
                  <a:lnTo>
                    <a:pt x="5138" y="2835"/>
                  </a:lnTo>
                  <a:lnTo>
                    <a:pt x="5138" y="2840"/>
                  </a:lnTo>
                  <a:lnTo>
                    <a:pt x="5150" y="2835"/>
                  </a:lnTo>
                  <a:lnTo>
                    <a:pt x="5145" y="2847"/>
                  </a:lnTo>
                  <a:lnTo>
                    <a:pt x="5162" y="2840"/>
                  </a:lnTo>
                  <a:lnTo>
                    <a:pt x="5192" y="2873"/>
                  </a:lnTo>
                  <a:lnTo>
                    <a:pt x="5204" y="2873"/>
                  </a:lnTo>
                  <a:lnTo>
                    <a:pt x="5204" y="2880"/>
                  </a:lnTo>
                  <a:lnTo>
                    <a:pt x="5237" y="2896"/>
                  </a:lnTo>
                  <a:lnTo>
                    <a:pt x="5237" y="2901"/>
                  </a:lnTo>
                  <a:lnTo>
                    <a:pt x="5230" y="2913"/>
                  </a:lnTo>
                  <a:lnTo>
                    <a:pt x="5237" y="2918"/>
                  </a:lnTo>
                  <a:lnTo>
                    <a:pt x="5237" y="2913"/>
                  </a:lnTo>
                  <a:lnTo>
                    <a:pt x="5247" y="2913"/>
                  </a:lnTo>
                  <a:lnTo>
                    <a:pt x="5247" y="2918"/>
                  </a:lnTo>
                  <a:lnTo>
                    <a:pt x="5268" y="2929"/>
                  </a:lnTo>
                  <a:lnTo>
                    <a:pt x="5252" y="2934"/>
                  </a:lnTo>
                  <a:lnTo>
                    <a:pt x="5259" y="2955"/>
                  </a:lnTo>
                  <a:lnTo>
                    <a:pt x="5230" y="2955"/>
                  </a:lnTo>
                  <a:lnTo>
                    <a:pt x="5204" y="2946"/>
                  </a:lnTo>
                  <a:lnTo>
                    <a:pt x="5041" y="2901"/>
                  </a:lnTo>
                  <a:lnTo>
                    <a:pt x="5004" y="2873"/>
                  </a:lnTo>
                  <a:lnTo>
                    <a:pt x="5015" y="2863"/>
                  </a:lnTo>
                  <a:lnTo>
                    <a:pt x="4966" y="2863"/>
                  </a:lnTo>
                  <a:lnTo>
                    <a:pt x="4897" y="2840"/>
                  </a:lnTo>
                  <a:lnTo>
                    <a:pt x="4918" y="2823"/>
                  </a:lnTo>
                  <a:lnTo>
                    <a:pt x="4911" y="2818"/>
                  </a:lnTo>
                  <a:lnTo>
                    <a:pt x="4890" y="2835"/>
                  </a:lnTo>
                  <a:lnTo>
                    <a:pt x="4864" y="2818"/>
                  </a:lnTo>
                  <a:lnTo>
                    <a:pt x="4852" y="2790"/>
                  </a:lnTo>
                  <a:lnTo>
                    <a:pt x="4826" y="2785"/>
                  </a:lnTo>
                  <a:lnTo>
                    <a:pt x="4864" y="2785"/>
                  </a:lnTo>
                  <a:lnTo>
                    <a:pt x="4890" y="2769"/>
                  </a:lnTo>
                  <a:lnTo>
                    <a:pt x="4864" y="2769"/>
                  </a:lnTo>
                  <a:lnTo>
                    <a:pt x="4864" y="2752"/>
                  </a:lnTo>
                  <a:lnTo>
                    <a:pt x="4843" y="2745"/>
                  </a:lnTo>
                  <a:lnTo>
                    <a:pt x="4836" y="2752"/>
                  </a:lnTo>
                  <a:lnTo>
                    <a:pt x="4852" y="2752"/>
                  </a:lnTo>
                  <a:lnTo>
                    <a:pt x="4843" y="2762"/>
                  </a:lnTo>
                  <a:lnTo>
                    <a:pt x="4826" y="2752"/>
                  </a:lnTo>
                  <a:lnTo>
                    <a:pt x="4810" y="2762"/>
                  </a:lnTo>
                  <a:lnTo>
                    <a:pt x="4810" y="2752"/>
                  </a:lnTo>
                  <a:lnTo>
                    <a:pt x="4822" y="2736"/>
                  </a:lnTo>
                  <a:lnTo>
                    <a:pt x="4822" y="2729"/>
                  </a:lnTo>
                  <a:lnTo>
                    <a:pt x="4810" y="2745"/>
                  </a:lnTo>
                  <a:lnTo>
                    <a:pt x="4805" y="2745"/>
                  </a:lnTo>
                  <a:lnTo>
                    <a:pt x="4798" y="2736"/>
                  </a:lnTo>
                  <a:lnTo>
                    <a:pt x="4798" y="2724"/>
                  </a:lnTo>
                  <a:lnTo>
                    <a:pt x="4789" y="2712"/>
                  </a:lnTo>
                  <a:lnTo>
                    <a:pt x="4789" y="2729"/>
                  </a:lnTo>
                  <a:lnTo>
                    <a:pt x="4772" y="2712"/>
                  </a:lnTo>
                  <a:lnTo>
                    <a:pt x="4784" y="2712"/>
                  </a:lnTo>
                  <a:lnTo>
                    <a:pt x="4772" y="2707"/>
                  </a:lnTo>
                  <a:lnTo>
                    <a:pt x="4751" y="2691"/>
                  </a:lnTo>
                  <a:lnTo>
                    <a:pt x="4746" y="2691"/>
                  </a:lnTo>
                  <a:lnTo>
                    <a:pt x="4746" y="2674"/>
                  </a:lnTo>
                  <a:lnTo>
                    <a:pt x="4755" y="2658"/>
                  </a:lnTo>
                  <a:lnTo>
                    <a:pt x="4751" y="2641"/>
                  </a:lnTo>
                  <a:lnTo>
                    <a:pt x="4751" y="2658"/>
                  </a:lnTo>
                  <a:lnTo>
                    <a:pt x="4734" y="2667"/>
                  </a:lnTo>
                  <a:lnTo>
                    <a:pt x="4734" y="2651"/>
                  </a:lnTo>
                  <a:lnTo>
                    <a:pt x="4718" y="2651"/>
                  </a:lnTo>
                  <a:lnTo>
                    <a:pt x="4718" y="2658"/>
                  </a:lnTo>
                  <a:lnTo>
                    <a:pt x="4701" y="2651"/>
                  </a:lnTo>
                  <a:lnTo>
                    <a:pt x="4713" y="2667"/>
                  </a:lnTo>
                  <a:lnTo>
                    <a:pt x="4696" y="2679"/>
                  </a:lnTo>
                  <a:lnTo>
                    <a:pt x="4692" y="2658"/>
                  </a:lnTo>
                  <a:lnTo>
                    <a:pt x="4696" y="2658"/>
                  </a:lnTo>
                  <a:lnTo>
                    <a:pt x="4696" y="2634"/>
                  </a:lnTo>
                  <a:lnTo>
                    <a:pt x="4680" y="2658"/>
                  </a:lnTo>
                  <a:lnTo>
                    <a:pt x="4675" y="2658"/>
                  </a:lnTo>
                  <a:lnTo>
                    <a:pt x="4649" y="2634"/>
                  </a:lnTo>
                  <a:lnTo>
                    <a:pt x="4663" y="2625"/>
                  </a:lnTo>
                  <a:lnTo>
                    <a:pt x="4649" y="2618"/>
                  </a:lnTo>
                  <a:lnTo>
                    <a:pt x="4649" y="2634"/>
                  </a:lnTo>
                  <a:lnTo>
                    <a:pt x="4626" y="2625"/>
                  </a:lnTo>
                  <a:lnTo>
                    <a:pt x="4663" y="2658"/>
                  </a:lnTo>
                  <a:lnTo>
                    <a:pt x="4649" y="2679"/>
                  </a:lnTo>
                  <a:lnTo>
                    <a:pt x="4574" y="2651"/>
                  </a:lnTo>
                  <a:lnTo>
                    <a:pt x="4574" y="2658"/>
                  </a:lnTo>
                  <a:lnTo>
                    <a:pt x="4583" y="2667"/>
                  </a:lnTo>
                  <a:lnTo>
                    <a:pt x="4567" y="2667"/>
                  </a:lnTo>
                  <a:lnTo>
                    <a:pt x="4583" y="2679"/>
                  </a:lnTo>
                  <a:lnTo>
                    <a:pt x="4503" y="2691"/>
                  </a:lnTo>
                  <a:lnTo>
                    <a:pt x="4512" y="2696"/>
                  </a:lnTo>
                  <a:lnTo>
                    <a:pt x="4481" y="2691"/>
                  </a:lnTo>
                  <a:lnTo>
                    <a:pt x="4465" y="2696"/>
                  </a:lnTo>
                  <a:lnTo>
                    <a:pt x="4444" y="2674"/>
                  </a:lnTo>
                  <a:lnTo>
                    <a:pt x="4432" y="2679"/>
                  </a:lnTo>
                  <a:lnTo>
                    <a:pt x="4406" y="2658"/>
                  </a:lnTo>
                  <a:lnTo>
                    <a:pt x="4406" y="2634"/>
                  </a:lnTo>
                  <a:lnTo>
                    <a:pt x="4411" y="2625"/>
                  </a:lnTo>
                  <a:lnTo>
                    <a:pt x="4411" y="2613"/>
                  </a:lnTo>
                  <a:lnTo>
                    <a:pt x="4465" y="2585"/>
                  </a:lnTo>
                  <a:lnTo>
                    <a:pt x="4448" y="2568"/>
                  </a:lnTo>
                  <a:lnTo>
                    <a:pt x="4465" y="2563"/>
                  </a:lnTo>
                  <a:lnTo>
                    <a:pt x="4460" y="2556"/>
                  </a:lnTo>
                  <a:lnTo>
                    <a:pt x="4574" y="2580"/>
                  </a:lnTo>
                  <a:lnTo>
                    <a:pt x="4595" y="2601"/>
                  </a:lnTo>
                  <a:lnTo>
                    <a:pt x="4595" y="2613"/>
                  </a:lnTo>
                  <a:lnTo>
                    <a:pt x="4583" y="2613"/>
                  </a:lnTo>
                  <a:lnTo>
                    <a:pt x="4604" y="2641"/>
                  </a:lnTo>
                  <a:lnTo>
                    <a:pt x="4611" y="2634"/>
                  </a:lnTo>
                  <a:lnTo>
                    <a:pt x="4604" y="2618"/>
                  </a:lnTo>
                  <a:lnTo>
                    <a:pt x="4588" y="2618"/>
                  </a:lnTo>
                  <a:lnTo>
                    <a:pt x="4611" y="2613"/>
                  </a:lnTo>
                  <a:lnTo>
                    <a:pt x="4611" y="2596"/>
                  </a:lnTo>
                  <a:lnTo>
                    <a:pt x="4604" y="2601"/>
                  </a:lnTo>
                  <a:lnTo>
                    <a:pt x="4567" y="2568"/>
                  </a:lnTo>
                  <a:lnTo>
                    <a:pt x="4611" y="2580"/>
                  </a:lnTo>
                  <a:lnTo>
                    <a:pt x="4621" y="2568"/>
                  </a:lnTo>
                  <a:lnTo>
                    <a:pt x="4621" y="2563"/>
                  </a:lnTo>
                  <a:lnTo>
                    <a:pt x="4663" y="2568"/>
                  </a:lnTo>
                  <a:lnTo>
                    <a:pt x="4692" y="2547"/>
                  </a:lnTo>
                  <a:lnTo>
                    <a:pt x="4734" y="2547"/>
                  </a:lnTo>
                  <a:lnTo>
                    <a:pt x="4718" y="2514"/>
                  </a:lnTo>
                  <a:lnTo>
                    <a:pt x="4696" y="2502"/>
                  </a:lnTo>
                  <a:lnTo>
                    <a:pt x="4663" y="2469"/>
                  </a:lnTo>
                  <a:lnTo>
                    <a:pt x="4734" y="2419"/>
                  </a:lnTo>
                  <a:lnTo>
                    <a:pt x="4755" y="2403"/>
                  </a:lnTo>
                  <a:lnTo>
                    <a:pt x="4784" y="2363"/>
                  </a:lnTo>
                  <a:lnTo>
                    <a:pt x="4810" y="2358"/>
                  </a:lnTo>
                  <a:lnTo>
                    <a:pt x="4822" y="2341"/>
                  </a:lnTo>
                  <a:lnTo>
                    <a:pt x="4805" y="2292"/>
                  </a:lnTo>
                  <a:lnTo>
                    <a:pt x="4789" y="2285"/>
                  </a:lnTo>
                  <a:lnTo>
                    <a:pt x="4798" y="2268"/>
                  </a:lnTo>
                  <a:lnTo>
                    <a:pt x="4772" y="2252"/>
                  </a:lnTo>
                  <a:lnTo>
                    <a:pt x="4772" y="2247"/>
                  </a:lnTo>
                  <a:lnTo>
                    <a:pt x="4767" y="2226"/>
                  </a:lnTo>
                  <a:lnTo>
                    <a:pt x="4734" y="2214"/>
                  </a:lnTo>
                  <a:lnTo>
                    <a:pt x="4751" y="2197"/>
                  </a:lnTo>
                  <a:lnTo>
                    <a:pt x="4729" y="2214"/>
                  </a:lnTo>
                  <a:lnTo>
                    <a:pt x="4713" y="2209"/>
                  </a:lnTo>
                  <a:lnTo>
                    <a:pt x="4701" y="2181"/>
                  </a:lnTo>
                  <a:lnTo>
                    <a:pt x="4718" y="2181"/>
                  </a:lnTo>
                  <a:lnTo>
                    <a:pt x="4718" y="2157"/>
                  </a:lnTo>
                  <a:lnTo>
                    <a:pt x="4692" y="2157"/>
                  </a:lnTo>
                  <a:lnTo>
                    <a:pt x="4701" y="2176"/>
                  </a:lnTo>
                  <a:lnTo>
                    <a:pt x="4696" y="2181"/>
                  </a:lnTo>
                  <a:lnTo>
                    <a:pt x="4675" y="2176"/>
                  </a:lnTo>
                  <a:lnTo>
                    <a:pt x="4649" y="2152"/>
                  </a:lnTo>
                  <a:lnTo>
                    <a:pt x="4659" y="2140"/>
                  </a:lnTo>
                  <a:lnTo>
                    <a:pt x="4637" y="2140"/>
                  </a:lnTo>
                  <a:lnTo>
                    <a:pt x="4649" y="2124"/>
                  </a:lnTo>
                  <a:lnTo>
                    <a:pt x="4626" y="2124"/>
                  </a:lnTo>
                  <a:lnTo>
                    <a:pt x="4649" y="2119"/>
                  </a:lnTo>
                  <a:lnTo>
                    <a:pt x="4642" y="2115"/>
                  </a:lnTo>
                  <a:lnTo>
                    <a:pt x="4626" y="2119"/>
                  </a:lnTo>
                  <a:lnTo>
                    <a:pt x="4621" y="2136"/>
                  </a:lnTo>
                  <a:lnTo>
                    <a:pt x="4595" y="2119"/>
                  </a:lnTo>
                  <a:lnTo>
                    <a:pt x="4588" y="2136"/>
                  </a:lnTo>
                  <a:lnTo>
                    <a:pt x="4512" y="2157"/>
                  </a:lnTo>
                  <a:lnTo>
                    <a:pt x="4512" y="2152"/>
                  </a:lnTo>
                  <a:lnTo>
                    <a:pt x="4519" y="2136"/>
                  </a:lnTo>
                  <a:lnTo>
                    <a:pt x="4512" y="2124"/>
                  </a:lnTo>
                  <a:lnTo>
                    <a:pt x="4512" y="2119"/>
                  </a:lnTo>
                  <a:lnTo>
                    <a:pt x="4557" y="2119"/>
                  </a:lnTo>
                  <a:lnTo>
                    <a:pt x="4588" y="2115"/>
                  </a:lnTo>
                  <a:lnTo>
                    <a:pt x="4588" y="2098"/>
                  </a:lnTo>
                  <a:lnTo>
                    <a:pt x="4512" y="2048"/>
                  </a:lnTo>
                  <a:lnTo>
                    <a:pt x="4529" y="2041"/>
                  </a:lnTo>
                  <a:lnTo>
                    <a:pt x="4541" y="2029"/>
                  </a:lnTo>
                  <a:lnTo>
                    <a:pt x="4512" y="2029"/>
                  </a:lnTo>
                  <a:lnTo>
                    <a:pt x="4519" y="2041"/>
                  </a:lnTo>
                  <a:lnTo>
                    <a:pt x="4512" y="2048"/>
                  </a:lnTo>
                  <a:lnTo>
                    <a:pt x="4474" y="2041"/>
                  </a:lnTo>
                  <a:lnTo>
                    <a:pt x="4503" y="2029"/>
                  </a:lnTo>
                  <a:lnTo>
                    <a:pt x="4498" y="2013"/>
                  </a:lnTo>
                  <a:lnTo>
                    <a:pt x="4465" y="2013"/>
                  </a:lnTo>
                  <a:lnTo>
                    <a:pt x="4486" y="2003"/>
                  </a:lnTo>
                  <a:lnTo>
                    <a:pt x="4444" y="2025"/>
                  </a:lnTo>
                  <a:lnTo>
                    <a:pt x="4444" y="1970"/>
                  </a:lnTo>
                  <a:lnTo>
                    <a:pt x="4427" y="1959"/>
                  </a:lnTo>
                  <a:lnTo>
                    <a:pt x="4389" y="1970"/>
                  </a:lnTo>
                  <a:lnTo>
                    <a:pt x="4389" y="1954"/>
                  </a:lnTo>
                  <a:lnTo>
                    <a:pt x="4389" y="1947"/>
                  </a:lnTo>
                  <a:lnTo>
                    <a:pt x="4378" y="1954"/>
                  </a:lnTo>
                  <a:lnTo>
                    <a:pt x="4368" y="1937"/>
                  </a:lnTo>
                  <a:lnTo>
                    <a:pt x="4340" y="1930"/>
                  </a:lnTo>
                  <a:lnTo>
                    <a:pt x="4340" y="1921"/>
                  </a:lnTo>
                  <a:lnTo>
                    <a:pt x="4356" y="1914"/>
                  </a:lnTo>
                  <a:lnTo>
                    <a:pt x="4368" y="1921"/>
                  </a:lnTo>
                  <a:lnTo>
                    <a:pt x="4352" y="1904"/>
                  </a:lnTo>
                  <a:lnTo>
                    <a:pt x="4335" y="1914"/>
                  </a:lnTo>
                  <a:lnTo>
                    <a:pt x="4340" y="1914"/>
                  </a:lnTo>
                  <a:lnTo>
                    <a:pt x="4335" y="1937"/>
                  </a:lnTo>
                  <a:lnTo>
                    <a:pt x="4318" y="1930"/>
                  </a:lnTo>
                  <a:lnTo>
                    <a:pt x="4302" y="1947"/>
                  </a:lnTo>
                  <a:lnTo>
                    <a:pt x="4356" y="1954"/>
                  </a:lnTo>
                  <a:lnTo>
                    <a:pt x="4373" y="1992"/>
                  </a:lnTo>
                  <a:lnTo>
                    <a:pt x="4368" y="2008"/>
                  </a:lnTo>
                  <a:lnTo>
                    <a:pt x="4302" y="2008"/>
                  </a:lnTo>
                  <a:lnTo>
                    <a:pt x="4271" y="1992"/>
                  </a:lnTo>
                  <a:lnTo>
                    <a:pt x="4158" y="1975"/>
                  </a:lnTo>
                  <a:lnTo>
                    <a:pt x="4196" y="1992"/>
                  </a:lnTo>
                  <a:lnTo>
                    <a:pt x="4226" y="2025"/>
                  </a:lnTo>
                  <a:lnTo>
                    <a:pt x="4210" y="2029"/>
                  </a:lnTo>
                  <a:lnTo>
                    <a:pt x="4134" y="1975"/>
                  </a:lnTo>
                  <a:lnTo>
                    <a:pt x="4066" y="1954"/>
                  </a:lnTo>
                  <a:lnTo>
                    <a:pt x="4158" y="2003"/>
                  </a:lnTo>
                  <a:lnTo>
                    <a:pt x="4125" y="2025"/>
                  </a:lnTo>
                  <a:lnTo>
                    <a:pt x="4096" y="2008"/>
                  </a:lnTo>
                  <a:lnTo>
                    <a:pt x="4096" y="2008"/>
                  </a:lnTo>
                  <a:lnTo>
                    <a:pt x="4096" y="2008"/>
                  </a:lnTo>
                  <a:close/>
                  <a:moveTo>
                    <a:pt x="4226" y="1493"/>
                  </a:moveTo>
                  <a:lnTo>
                    <a:pt x="4318" y="1510"/>
                  </a:lnTo>
                  <a:lnTo>
                    <a:pt x="4406" y="1498"/>
                  </a:lnTo>
                  <a:lnTo>
                    <a:pt x="4460" y="1515"/>
                  </a:lnTo>
                  <a:lnTo>
                    <a:pt x="4474" y="1526"/>
                  </a:lnTo>
                  <a:lnTo>
                    <a:pt x="4486" y="1543"/>
                  </a:lnTo>
                  <a:lnTo>
                    <a:pt x="4512" y="1548"/>
                  </a:lnTo>
                  <a:lnTo>
                    <a:pt x="4519" y="1571"/>
                  </a:lnTo>
                  <a:lnTo>
                    <a:pt x="4536" y="1581"/>
                  </a:lnTo>
                  <a:lnTo>
                    <a:pt x="4536" y="1597"/>
                  </a:lnTo>
                  <a:lnTo>
                    <a:pt x="4557" y="1604"/>
                  </a:lnTo>
                  <a:lnTo>
                    <a:pt x="4519" y="1621"/>
                  </a:lnTo>
                  <a:lnTo>
                    <a:pt x="4406" y="1609"/>
                  </a:lnTo>
                  <a:lnTo>
                    <a:pt x="4314" y="1626"/>
                  </a:lnTo>
                  <a:lnTo>
                    <a:pt x="4281" y="1609"/>
                  </a:lnTo>
                  <a:lnTo>
                    <a:pt x="4264" y="1588"/>
                  </a:lnTo>
                  <a:lnTo>
                    <a:pt x="4264" y="1564"/>
                  </a:lnTo>
                  <a:lnTo>
                    <a:pt x="4217" y="1548"/>
                  </a:lnTo>
                  <a:lnTo>
                    <a:pt x="4217" y="1493"/>
                  </a:lnTo>
                  <a:lnTo>
                    <a:pt x="4226" y="1493"/>
                  </a:lnTo>
                  <a:lnTo>
                    <a:pt x="4226" y="1493"/>
                  </a:lnTo>
                  <a:lnTo>
                    <a:pt x="4226" y="1493"/>
                  </a:lnTo>
                  <a:close/>
                  <a:moveTo>
                    <a:pt x="2504" y="1604"/>
                  </a:moveTo>
                  <a:lnTo>
                    <a:pt x="2500" y="1604"/>
                  </a:lnTo>
                  <a:lnTo>
                    <a:pt x="2516" y="1609"/>
                  </a:lnTo>
                  <a:lnTo>
                    <a:pt x="2500" y="1609"/>
                  </a:lnTo>
                  <a:lnTo>
                    <a:pt x="2424" y="1543"/>
                  </a:lnTo>
                  <a:lnTo>
                    <a:pt x="2381" y="1526"/>
                  </a:lnTo>
                  <a:lnTo>
                    <a:pt x="2415" y="1493"/>
                  </a:lnTo>
                  <a:lnTo>
                    <a:pt x="2490" y="1486"/>
                  </a:lnTo>
                  <a:lnTo>
                    <a:pt x="2516" y="1486"/>
                  </a:lnTo>
                  <a:lnTo>
                    <a:pt x="2559" y="1515"/>
                  </a:lnTo>
                  <a:lnTo>
                    <a:pt x="2554" y="1548"/>
                  </a:lnTo>
                  <a:lnTo>
                    <a:pt x="2504" y="1604"/>
                  </a:lnTo>
                  <a:lnTo>
                    <a:pt x="2504" y="1604"/>
                  </a:lnTo>
                  <a:lnTo>
                    <a:pt x="2504" y="1604"/>
                  </a:lnTo>
                  <a:close/>
                  <a:moveTo>
                    <a:pt x="1151" y="1493"/>
                  </a:moveTo>
                  <a:lnTo>
                    <a:pt x="1156" y="1498"/>
                  </a:lnTo>
                  <a:lnTo>
                    <a:pt x="1139" y="1493"/>
                  </a:lnTo>
                  <a:lnTo>
                    <a:pt x="1151" y="1493"/>
                  </a:lnTo>
                  <a:lnTo>
                    <a:pt x="1151" y="1493"/>
                  </a:lnTo>
                  <a:lnTo>
                    <a:pt x="1151" y="1493"/>
                  </a:lnTo>
                  <a:close/>
                  <a:moveTo>
                    <a:pt x="1172" y="1510"/>
                  </a:moveTo>
                  <a:lnTo>
                    <a:pt x="1189" y="1515"/>
                  </a:lnTo>
                  <a:lnTo>
                    <a:pt x="1172" y="1515"/>
                  </a:lnTo>
                  <a:lnTo>
                    <a:pt x="1172" y="1510"/>
                  </a:lnTo>
                  <a:lnTo>
                    <a:pt x="1172" y="1510"/>
                  </a:lnTo>
                  <a:lnTo>
                    <a:pt x="1172" y="1510"/>
                  </a:lnTo>
                  <a:close/>
                  <a:moveTo>
                    <a:pt x="2339" y="1515"/>
                  </a:moveTo>
                  <a:lnTo>
                    <a:pt x="2306" y="1510"/>
                  </a:lnTo>
                  <a:lnTo>
                    <a:pt x="2344" y="1510"/>
                  </a:lnTo>
                  <a:lnTo>
                    <a:pt x="2339" y="1515"/>
                  </a:lnTo>
                  <a:lnTo>
                    <a:pt x="2339" y="1515"/>
                  </a:lnTo>
                  <a:lnTo>
                    <a:pt x="2339" y="1515"/>
                  </a:lnTo>
                  <a:close/>
                  <a:moveTo>
                    <a:pt x="2814" y="2025"/>
                  </a:moveTo>
                  <a:lnTo>
                    <a:pt x="2807" y="2041"/>
                  </a:lnTo>
                  <a:lnTo>
                    <a:pt x="2785" y="2029"/>
                  </a:lnTo>
                  <a:lnTo>
                    <a:pt x="2776" y="2013"/>
                  </a:lnTo>
                  <a:lnTo>
                    <a:pt x="2776" y="2008"/>
                  </a:lnTo>
                  <a:lnTo>
                    <a:pt x="2759" y="2029"/>
                  </a:lnTo>
                  <a:lnTo>
                    <a:pt x="2722" y="2003"/>
                  </a:lnTo>
                  <a:lnTo>
                    <a:pt x="2700" y="2025"/>
                  </a:lnTo>
                  <a:lnTo>
                    <a:pt x="2693" y="2025"/>
                  </a:lnTo>
                  <a:lnTo>
                    <a:pt x="2700" y="2029"/>
                  </a:lnTo>
                  <a:lnTo>
                    <a:pt x="2700" y="2048"/>
                  </a:lnTo>
                  <a:lnTo>
                    <a:pt x="2693" y="2048"/>
                  </a:lnTo>
                  <a:lnTo>
                    <a:pt x="2630" y="2029"/>
                  </a:lnTo>
                  <a:lnTo>
                    <a:pt x="2630" y="2041"/>
                  </a:lnTo>
                  <a:lnTo>
                    <a:pt x="2663" y="2058"/>
                  </a:lnTo>
                  <a:lnTo>
                    <a:pt x="2663" y="2086"/>
                  </a:lnTo>
                  <a:lnTo>
                    <a:pt x="2651" y="2098"/>
                  </a:lnTo>
                  <a:lnTo>
                    <a:pt x="2651" y="2103"/>
                  </a:lnTo>
                  <a:lnTo>
                    <a:pt x="2679" y="2070"/>
                  </a:lnTo>
                  <a:lnTo>
                    <a:pt x="2717" y="2058"/>
                  </a:lnTo>
                  <a:lnTo>
                    <a:pt x="2738" y="2065"/>
                  </a:lnTo>
                  <a:lnTo>
                    <a:pt x="2722" y="2086"/>
                  </a:lnTo>
                  <a:lnTo>
                    <a:pt x="2731" y="2098"/>
                  </a:lnTo>
                  <a:lnTo>
                    <a:pt x="2738" y="2086"/>
                  </a:lnTo>
                  <a:lnTo>
                    <a:pt x="2755" y="2098"/>
                  </a:lnTo>
                  <a:lnTo>
                    <a:pt x="2748" y="2119"/>
                  </a:lnTo>
                  <a:lnTo>
                    <a:pt x="2679" y="2140"/>
                  </a:lnTo>
                  <a:lnTo>
                    <a:pt x="2651" y="2140"/>
                  </a:lnTo>
                  <a:lnTo>
                    <a:pt x="2641" y="2152"/>
                  </a:lnTo>
                  <a:lnTo>
                    <a:pt x="2559" y="2124"/>
                  </a:lnTo>
                  <a:lnTo>
                    <a:pt x="2554" y="2136"/>
                  </a:lnTo>
                  <a:lnTo>
                    <a:pt x="2516" y="2136"/>
                  </a:lnTo>
                  <a:lnTo>
                    <a:pt x="2504" y="2124"/>
                  </a:lnTo>
                  <a:lnTo>
                    <a:pt x="2533" y="2115"/>
                  </a:lnTo>
                  <a:lnTo>
                    <a:pt x="2431" y="2098"/>
                  </a:lnTo>
                  <a:lnTo>
                    <a:pt x="2436" y="2081"/>
                  </a:lnTo>
                  <a:lnTo>
                    <a:pt x="2431" y="2070"/>
                  </a:lnTo>
                  <a:lnTo>
                    <a:pt x="2415" y="2058"/>
                  </a:lnTo>
                  <a:lnTo>
                    <a:pt x="2381" y="2081"/>
                  </a:lnTo>
                  <a:lnTo>
                    <a:pt x="2393" y="2098"/>
                  </a:lnTo>
                  <a:lnTo>
                    <a:pt x="2360" y="2119"/>
                  </a:lnTo>
                  <a:lnTo>
                    <a:pt x="2273" y="2124"/>
                  </a:lnTo>
                  <a:lnTo>
                    <a:pt x="2273" y="2136"/>
                  </a:lnTo>
                  <a:lnTo>
                    <a:pt x="2235" y="2157"/>
                  </a:lnTo>
                  <a:lnTo>
                    <a:pt x="2155" y="2176"/>
                  </a:lnTo>
                  <a:lnTo>
                    <a:pt x="2074" y="2176"/>
                  </a:lnTo>
                  <a:lnTo>
                    <a:pt x="2091" y="2181"/>
                  </a:lnTo>
                  <a:lnTo>
                    <a:pt x="1944" y="2192"/>
                  </a:lnTo>
                  <a:lnTo>
                    <a:pt x="1961" y="2181"/>
                  </a:lnTo>
                  <a:lnTo>
                    <a:pt x="1933" y="2176"/>
                  </a:lnTo>
                  <a:lnTo>
                    <a:pt x="1923" y="2140"/>
                  </a:lnTo>
                  <a:lnTo>
                    <a:pt x="1928" y="2115"/>
                  </a:lnTo>
                  <a:lnTo>
                    <a:pt x="1911" y="2098"/>
                  </a:lnTo>
                  <a:lnTo>
                    <a:pt x="1928" y="2098"/>
                  </a:lnTo>
                  <a:lnTo>
                    <a:pt x="1874" y="2086"/>
                  </a:lnTo>
                  <a:lnTo>
                    <a:pt x="1760" y="2081"/>
                  </a:lnTo>
                  <a:lnTo>
                    <a:pt x="1718" y="2070"/>
                  </a:lnTo>
                  <a:lnTo>
                    <a:pt x="1713" y="2065"/>
                  </a:lnTo>
                  <a:lnTo>
                    <a:pt x="1713" y="2048"/>
                  </a:lnTo>
                  <a:lnTo>
                    <a:pt x="1692" y="2048"/>
                  </a:lnTo>
                  <a:lnTo>
                    <a:pt x="1696" y="2041"/>
                  </a:lnTo>
                  <a:lnTo>
                    <a:pt x="1663" y="2025"/>
                  </a:lnTo>
                  <a:lnTo>
                    <a:pt x="1654" y="1992"/>
                  </a:lnTo>
                  <a:lnTo>
                    <a:pt x="1680" y="1975"/>
                  </a:lnTo>
                  <a:lnTo>
                    <a:pt x="1815" y="1959"/>
                  </a:lnTo>
                  <a:lnTo>
                    <a:pt x="1874" y="1954"/>
                  </a:lnTo>
                  <a:lnTo>
                    <a:pt x="1999" y="1970"/>
                  </a:lnTo>
                  <a:lnTo>
                    <a:pt x="2030" y="1959"/>
                  </a:lnTo>
                  <a:lnTo>
                    <a:pt x="2015" y="1954"/>
                  </a:lnTo>
                  <a:lnTo>
                    <a:pt x="2074" y="1954"/>
                  </a:lnTo>
                  <a:lnTo>
                    <a:pt x="2067" y="1954"/>
                  </a:lnTo>
                  <a:lnTo>
                    <a:pt x="2037" y="1947"/>
                  </a:lnTo>
                  <a:lnTo>
                    <a:pt x="2020" y="1930"/>
                  </a:lnTo>
                  <a:lnTo>
                    <a:pt x="1895" y="1897"/>
                  </a:lnTo>
                  <a:lnTo>
                    <a:pt x="1815" y="1914"/>
                  </a:lnTo>
                  <a:lnTo>
                    <a:pt x="1642" y="1914"/>
                  </a:lnTo>
                  <a:lnTo>
                    <a:pt x="1583" y="1864"/>
                  </a:lnTo>
                  <a:lnTo>
                    <a:pt x="1626" y="1843"/>
                  </a:lnTo>
                  <a:lnTo>
                    <a:pt x="1772" y="1810"/>
                  </a:lnTo>
                  <a:lnTo>
                    <a:pt x="1751" y="1803"/>
                  </a:lnTo>
                  <a:lnTo>
                    <a:pt x="1765" y="1803"/>
                  </a:lnTo>
                  <a:lnTo>
                    <a:pt x="1798" y="1803"/>
                  </a:lnTo>
                  <a:lnTo>
                    <a:pt x="1819" y="1793"/>
                  </a:lnTo>
                  <a:lnTo>
                    <a:pt x="1772" y="1786"/>
                  </a:lnTo>
                  <a:lnTo>
                    <a:pt x="1659" y="1810"/>
                  </a:lnTo>
                  <a:lnTo>
                    <a:pt x="1659" y="1803"/>
                  </a:lnTo>
                  <a:lnTo>
                    <a:pt x="1642" y="1793"/>
                  </a:lnTo>
                  <a:lnTo>
                    <a:pt x="1642" y="1803"/>
                  </a:lnTo>
                  <a:lnTo>
                    <a:pt x="1654" y="1803"/>
                  </a:lnTo>
                  <a:lnTo>
                    <a:pt x="1642" y="1810"/>
                  </a:lnTo>
                  <a:lnTo>
                    <a:pt x="1604" y="1810"/>
                  </a:lnTo>
                  <a:lnTo>
                    <a:pt x="1588" y="1803"/>
                  </a:lnTo>
                  <a:lnTo>
                    <a:pt x="1637" y="1786"/>
                  </a:lnTo>
                  <a:lnTo>
                    <a:pt x="1621" y="1781"/>
                  </a:lnTo>
                  <a:lnTo>
                    <a:pt x="1637" y="1770"/>
                  </a:lnTo>
                  <a:lnTo>
                    <a:pt x="1588" y="1786"/>
                  </a:lnTo>
                  <a:lnTo>
                    <a:pt x="1555" y="1770"/>
                  </a:lnTo>
                  <a:lnTo>
                    <a:pt x="1550" y="1786"/>
                  </a:lnTo>
                  <a:lnTo>
                    <a:pt x="1533" y="1781"/>
                  </a:lnTo>
                  <a:lnTo>
                    <a:pt x="1533" y="1765"/>
                  </a:lnTo>
                  <a:lnTo>
                    <a:pt x="1533" y="1737"/>
                  </a:lnTo>
                  <a:lnTo>
                    <a:pt x="1567" y="1715"/>
                  </a:lnTo>
                  <a:lnTo>
                    <a:pt x="1604" y="1699"/>
                  </a:lnTo>
                  <a:lnTo>
                    <a:pt x="1604" y="1682"/>
                  </a:lnTo>
                  <a:lnTo>
                    <a:pt x="1571" y="1675"/>
                  </a:lnTo>
                  <a:lnTo>
                    <a:pt x="1571" y="1659"/>
                  </a:lnTo>
                  <a:lnTo>
                    <a:pt x="1659" y="1604"/>
                  </a:lnTo>
                  <a:lnTo>
                    <a:pt x="1852" y="1543"/>
                  </a:lnTo>
                  <a:lnTo>
                    <a:pt x="1878" y="1548"/>
                  </a:lnTo>
                  <a:lnTo>
                    <a:pt x="1895" y="1571"/>
                  </a:lnTo>
                  <a:lnTo>
                    <a:pt x="1890" y="1609"/>
                  </a:lnTo>
                  <a:lnTo>
                    <a:pt x="1895" y="1621"/>
                  </a:lnTo>
                  <a:lnTo>
                    <a:pt x="1869" y="1626"/>
                  </a:lnTo>
                  <a:lnTo>
                    <a:pt x="1869" y="1642"/>
                  </a:lnTo>
                  <a:lnTo>
                    <a:pt x="1852" y="1654"/>
                  </a:lnTo>
                  <a:lnTo>
                    <a:pt x="1857" y="1654"/>
                  </a:lnTo>
                  <a:lnTo>
                    <a:pt x="1928" y="1637"/>
                  </a:lnTo>
                  <a:lnTo>
                    <a:pt x="1933" y="1626"/>
                  </a:lnTo>
                  <a:lnTo>
                    <a:pt x="1923" y="1621"/>
                  </a:lnTo>
                  <a:lnTo>
                    <a:pt x="1961" y="1597"/>
                  </a:lnTo>
                  <a:lnTo>
                    <a:pt x="2091" y="1637"/>
                  </a:lnTo>
                  <a:lnTo>
                    <a:pt x="2084" y="1654"/>
                  </a:lnTo>
                  <a:lnTo>
                    <a:pt x="2046" y="1682"/>
                  </a:lnTo>
                  <a:lnTo>
                    <a:pt x="2058" y="1692"/>
                  </a:lnTo>
                  <a:lnTo>
                    <a:pt x="2074" y="1682"/>
                  </a:lnTo>
                  <a:lnTo>
                    <a:pt x="2058" y="1682"/>
                  </a:lnTo>
                  <a:lnTo>
                    <a:pt x="2084" y="1666"/>
                  </a:lnTo>
                  <a:lnTo>
                    <a:pt x="2091" y="1666"/>
                  </a:lnTo>
                  <a:lnTo>
                    <a:pt x="2084" y="1682"/>
                  </a:lnTo>
                  <a:lnTo>
                    <a:pt x="2100" y="1682"/>
                  </a:lnTo>
                  <a:lnTo>
                    <a:pt x="2105" y="1666"/>
                  </a:lnTo>
                  <a:lnTo>
                    <a:pt x="2129" y="1654"/>
                  </a:lnTo>
                  <a:lnTo>
                    <a:pt x="2155" y="1666"/>
                  </a:lnTo>
                  <a:lnTo>
                    <a:pt x="2138" y="1659"/>
                  </a:lnTo>
                  <a:lnTo>
                    <a:pt x="2155" y="1654"/>
                  </a:lnTo>
                  <a:lnTo>
                    <a:pt x="2193" y="1666"/>
                  </a:lnTo>
                  <a:lnTo>
                    <a:pt x="2159" y="1654"/>
                  </a:lnTo>
                  <a:lnTo>
                    <a:pt x="2193" y="1659"/>
                  </a:lnTo>
                  <a:lnTo>
                    <a:pt x="2176" y="1642"/>
                  </a:lnTo>
                  <a:lnTo>
                    <a:pt x="2155" y="1637"/>
                  </a:lnTo>
                  <a:lnTo>
                    <a:pt x="2193" y="1626"/>
                  </a:lnTo>
                  <a:lnTo>
                    <a:pt x="2138" y="1609"/>
                  </a:lnTo>
                  <a:lnTo>
                    <a:pt x="2122" y="1597"/>
                  </a:lnTo>
                  <a:lnTo>
                    <a:pt x="2143" y="1588"/>
                  </a:lnTo>
                  <a:lnTo>
                    <a:pt x="2197" y="1604"/>
                  </a:lnTo>
                  <a:lnTo>
                    <a:pt x="2193" y="1609"/>
                  </a:lnTo>
                  <a:lnTo>
                    <a:pt x="2230" y="1626"/>
                  </a:lnTo>
                  <a:lnTo>
                    <a:pt x="2247" y="1637"/>
                  </a:lnTo>
                  <a:lnTo>
                    <a:pt x="2247" y="1654"/>
                  </a:lnTo>
                  <a:lnTo>
                    <a:pt x="2273" y="1654"/>
                  </a:lnTo>
                  <a:lnTo>
                    <a:pt x="2268" y="1682"/>
                  </a:lnTo>
                  <a:lnTo>
                    <a:pt x="2285" y="1708"/>
                  </a:lnTo>
                  <a:lnTo>
                    <a:pt x="2289" y="1725"/>
                  </a:lnTo>
                  <a:lnTo>
                    <a:pt x="2301" y="1737"/>
                  </a:lnTo>
                  <a:lnTo>
                    <a:pt x="2301" y="1748"/>
                  </a:lnTo>
                  <a:lnTo>
                    <a:pt x="2301" y="1770"/>
                  </a:lnTo>
                  <a:lnTo>
                    <a:pt x="2327" y="1781"/>
                  </a:lnTo>
                  <a:lnTo>
                    <a:pt x="2327" y="1770"/>
                  </a:lnTo>
                  <a:lnTo>
                    <a:pt x="2370" y="1748"/>
                  </a:lnTo>
                  <a:lnTo>
                    <a:pt x="2327" y="1708"/>
                  </a:lnTo>
                  <a:lnTo>
                    <a:pt x="2322" y="1654"/>
                  </a:lnTo>
                  <a:lnTo>
                    <a:pt x="2318" y="1642"/>
                  </a:lnTo>
                  <a:lnTo>
                    <a:pt x="2289" y="1571"/>
                  </a:lnTo>
                  <a:lnTo>
                    <a:pt x="2322" y="1564"/>
                  </a:lnTo>
                  <a:lnTo>
                    <a:pt x="2306" y="1555"/>
                  </a:lnTo>
                  <a:lnTo>
                    <a:pt x="2318" y="1548"/>
                  </a:lnTo>
                  <a:lnTo>
                    <a:pt x="2381" y="1571"/>
                  </a:lnTo>
                  <a:lnTo>
                    <a:pt x="2381" y="1564"/>
                  </a:lnTo>
                  <a:lnTo>
                    <a:pt x="2377" y="1555"/>
                  </a:lnTo>
                  <a:lnTo>
                    <a:pt x="2398" y="1548"/>
                  </a:lnTo>
                  <a:lnTo>
                    <a:pt x="2436" y="1581"/>
                  </a:lnTo>
                  <a:lnTo>
                    <a:pt x="2469" y="1588"/>
                  </a:lnTo>
                  <a:lnTo>
                    <a:pt x="2500" y="1626"/>
                  </a:lnTo>
                  <a:lnTo>
                    <a:pt x="2490" y="1626"/>
                  </a:lnTo>
                  <a:lnTo>
                    <a:pt x="2516" y="1666"/>
                  </a:lnTo>
                  <a:lnTo>
                    <a:pt x="2504" y="1666"/>
                  </a:lnTo>
                  <a:lnTo>
                    <a:pt x="2533" y="1708"/>
                  </a:lnTo>
                  <a:lnTo>
                    <a:pt x="2521" y="1725"/>
                  </a:lnTo>
                  <a:lnTo>
                    <a:pt x="2570" y="1786"/>
                  </a:lnTo>
                  <a:lnTo>
                    <a:pt x="2570" y="1793"/>
                  </a:lnTo>
                  <a:lnTo>
                    <a:pt x="2570" y="1810"/>
                  </a:lnTo>
                  <a:lnTo>
                    <a:pt x="2559" y="1819"/>
                  </a:lnTo>
                  <a:lnTo>
                    <a:pt x="2570" y="1836"/>
                  </a:lnTo>
                  <a:lnTo>
                    <a:pt x="2554" y="1848"/>
                  </a:lnTo>
                  <a:lnTo>
                    <a:pt x="2630" y="1914"/>
                  </a:lnTo>
                  <a:lnTo>
                    <a:pt x="2667" y="1930"/>
                  </a:lnTo>
                  <a:lnTo>
                    <a:pt x="2651" y="1921"/>
                  </a:lnTo>
                  <a:lnTo>
                    <a:pt x="2651" y="1904"/>
                  </a:lnTo>
                  <a:lnTo>
                    <a:pt x="2663" y="1904"/>
                  </a:lnTo>
                  <a:lnTo>
                    <a:pt x="2684" y="1930"/>
                  </a:lnTo>
                  <a:lnTo>
                    <a:pt x="2738" y="1959"/>
                  </a:lnTo>
                  <a:lnTo>
                    <a:pt x="2759" y="1959"/>
                  </a:lnTo>
                  <a:lnTo>
                    <a:pt x="2759" y="1970"/>
                  </a:lnTo>
                  <a:lnTo>
                    <a:pt x="2769" y="1975"/>
                  </a:lnTo>
                  <a:lnTo>
                    <a:pt x="2807" y="1970"/>
                  </a:lnTo>
                  <a:lnTo>
                    <a:pt x="2814" y="2025"/>
                  </a:lnTo>
                  <a:lnTo>
                    <a:pt x="2814" y="2025"/>
                  </a:lnTo>
                  <a:lnTo>
                    <a:pt x="2814" y="2025"/>
                  </a:lnTo>
                  <a:close/>
                  <a:moveTo>
                    <a:pt x="3083" y="1555"/>
                  </a:moveTo>
                  <a:lnTo>
                    <a:pt x="3095" y="1564"/>
                  </a:lnTo>
                  <a:lnTo>
                    <a:pt x="3078" y="1555"/>
                  </a:lnTo>
                  <a:lnTo>
                    <a:pt x="3083" y="1555"/>
                  </a:lnTo>
                  <a:lnTo>
                    <a:pt x="3083" y="1555"/>
                  </a:lnTo>
                  <a:lnTo>
                    <a:pt x="3083" y="1555"/>
                  </a:lnTo>
                  <a:close/>
                  <a:moveTo>
                    <a:pt x="3100" y="1564"/>
                  </a:moveTo>
                  <a:lnTo>
                    <a:pt x="3116" y="1581"/>
                  </a:lnTo>
                  <a:lnTo>
                    <a:pt x="3109" y="1597"/>
                  </a:lnTo>
                  <a:lnTo>
                    <a:pt x="3095" y="1604"/>
                  </a:lnTo>
                  <a:lnTo>
                    <a:pt x="3078" y="1588"/>
                  </a:lnTo>
                  <a:lnTo>
                    <a:pt x="3083" y="1571"/>
                  </a:lnTo>
                  <a:lnTo>
                    <a:pt x="3100" y="1564"/>
                  </a:lnTo>
                  <a:lnTo>
                    <a:pt x="3100" y="1564"/>
                  </a:lnTo>
                  <a:lnTo>
                    <a:pt x="3100" y="1564"/>
                  </a:lnTo>
                  <a:close/>
                  <a:moveTo>
                    <a:pt x="3180" y="1571"/>
                  </a:moveTo>
                  <a:lnTo>
                    <a:pt x="3180" y="1588"/>
                  </a:lnTo>
                  <a:lnTo>
                    <a:pt x="3163" y="1581"/>
                  </a:lnTo>
                  <a:lnTo>
                    <a:pt x="3180" y="1571"/>
                  </a:lnTo>
                  <a:lnTo>
                    <a:pt x="3180" y="1571"/>
                  </a:lnTo>
                  <a:lnTo>
                    <a:pt x="3180" y="1571"/>
                  </a:lnTo>
                  <a:close/>
                  <a:moveTo>
                    <a:pt x="3170" y="1597"/>
                  </a:moveTo>
                  <a:lnTo>
                    <a:pt x="3180" y="1604"/>
                  </a:lnTo>
                  <a:lnTo>
                    <a:pt x="3170" y="1604"/>
                  </a:lnTo>
                  <a:lnTo>
                    <a:pt x="3170" y="1597"/>
                  </a:lnTo>
                  <a:lnTo>
                    <a:pt x="3170" y="1597"/>
                  </a:lnTo>
                  <a:lnTo>
                    <a:pt x="3170" y="1597"/>
                  </a:lnTo>
                  <a:close/>
                  <a:moveTo>
                    <a:pt x="3109" y="1609"/>
                  </a:moveTo>
                  <a:lnTo>
                    <a:pt x="3109" y="1621"/>
                  </a:lnTo>
                  <a:lnTo>
                    <a:pt x="3109" y="1626"/>
                  </a:lnTo>
                  <a:lnTo>
                    <a:pt x="3083" y="1626"/>
                  </a:lnTo>
                  <a:lnTo>
                    <a:pt x="3109" y="1609"/>
                  </a:lnTo>
                  <a:lnTo>
                    <a:pt x="3109" y="1609"/>
                  </a:lnTo>
                  <a:lnTo>
                    <a:pt x="3109" y="1609"/>
                  </a:lnTo>
                  <a:close/>
                  <a:moveTo>
                    <a:pt x="3170" y="1609"/>
                  </a:moveTo>
                  <a:lnTo>
                    <a:pt x="3180" y="1621"/>
                  </a:lnTo>
                  <a:lnTo>
                    <a:pt x="3170" y="1609"/>
                  </a:lnTo>
                  <a:lnTo>
                    <a:pt x="3170" y="1609"/>
                  </a:lnTo>
                  <a:lnTo>
                    <a:pt x="3170" y="1609"/>
                  </a:lnTo>
                  <a:close/>
                  <a:moveTo>
                    <a:pt x="2219" y="1621"/>
                  </a:moveTo>
                  <a:lnTo>
                    <a:pt x="2230" y="1621"/>
                  </a:lnTo>
                  <a:lnTo>
                    <a:pt x="2214" y="1621"/>
                  </a:lnTo>
                  <a:lnTo>
                    <a:pt x="2219" y="1621"/>
                  </a:lnTo>
                  <a:lnTo>
                    <a:pt x="2219" y="1621"/>
                  </a:lnTo>
                  <a:lnTo>
                    <a:pt x="2219" y="1621"/>
                  </a:lnTo>
                  <a:close/>
                  <a:moveTo>
                    <a:pt x="2143" y="1642"/>
                  </a:moveTo>
                  <a:lnTo>
                    <a:pt x="2155" y="1642"/>
                  </a:lnTo>
                  <a:lnTo>
                    <a:pt x="2143" y="1642"/>
                  </a:lnTo>
                  <a:lnTo>
                    <a:pt x="2143" y="1642"/>
                  </a:lnTo>
                  <a:lnTo>
                    <a:pt x="2143" y="1642"/>
                  </a:lnTo>
                  <a:close/>
                  <a:moveTo>
                    <a:pt x="4271" y="1659"/>
                  </a:moveTo>
                  <a:lnTo>
                    <a:pt x="4281" y="1666"/>
                  </a:lnTo>
                  <a:lnTo>
                    <a:pt x="4281" y="1675"/>
                  </a:lnTo>
                  <a:lnTo>
                    <a:pt x="4271" y="1659"/>
                  </a:lnTo>
                  <a:lnTo>
                    <a:pt x="4271" y="1659"/>
                  </a:lnTo>
                  <a:lnTo>
                    <a:pt x="4271" y="1659"/>
                  </a:lnTo>
                  <a:close/>
                  <a:moveTo>
                    <a:pt x="4314" y="1666"/>
                  </a:moveTo>
                  <a:lnTo>
                    <a:pt x="4318" y="1682"/>
                  </a:lnTo>
                  <a:lnTo>
                    <a:pt x="4302" y="1666"/>
                  </a:lnTo>
                  <a:lnTo>
                    <a:pt x="4314" y="1666"/>
                  </a:lnTo>
                  <a:lnTo>
                    <a:pt x="4314" y="1666"/>
                  </a:lnTo>
                  <a:lnTo>
                    <a:pt x="4314" y="1666"/>
                  </a:lnTo>
                  <a:close/>
                  <a:moveTo>
                    <a:pt x="4352" y="1666"/>
                  </a:moveTo>
                  <a:lnTo>
                    <a:pt x="4368" y="1682"/>
                  </a:lnTo>
                  <a:lnTo>
                    <a:pt x="4352" y="1682"/>
                  </a:lnTo>
                  <a:lnTo>
                    <a:pt x="4340" y="1675"/>
                  </a:lnTo>
                  <a:lnTo>
                    <a:pt x="4352" y="1666"/>
                  </a:lnTo>
                  <a:lnTo>
                    <a:pt x="4352" y="1666"/>
                  </a:lnTo>
                  <a:lnTo>
                    <a:pt x="4352" y="1666"/>
                  </a:lnTo>
                  <a:close/>
                  <a:moveTo>
                    <a:pt x="2306" y="1725"/>
                  </a:moveTo>
                  <a:lnTo>
                    <a:pt x="2318" y="1732"/>
                  </a:lnTo>
                  <a:lnTo>
                    <a:pt x="2301" y="1732"/>
                  </a:lnTo>
                  <a:lnTo>
                    <a:pt x="2306" y="1725"/>
                  </a:lnTo>
                  <a:lnTo>
                    <a:pt x="2306" y="1725"/>
                  </a:lnTo>
                  <a:lnTo>
                    <a:pt x="2306" y="1725"/>
                  </a:lnTo>
                  <a:close/>
                  <a:moveTo>
                    <a:pt x="5176" y="4614"/>
                  </a:moveTo>
                  <a:lnTo>
                    <a:pt x="5167" y="4614"/>
                  </a:lnTo>
                  <a:lnTo>
                    <a:pt x="5162" y="4597"/>
                  </a:lnTo>
                  <a:lnTo>
                    <a:pt x="5150" y="4581"/>
                  </a:lnTo>
                  <a:lnTo>
                    <a:pt x="5162" y="4576"/>
                  </a:lnTo>
                  <a:lnTo>
                    <a:pt x="5138" y="4569"/>
                  </a:lnTo>
                  <a:lnTo>
                    <a:pt x="5138" y="4441"/>
                  </a:lnTo>
                  <a:lnTo>
                    <a:pt x="5096" y="4415"/>
                  </a:lnTo>
                  <a:lnTo>
                    <a:pt x="5058" y="4432"/>
                  </a:lnTo>
                  <a:lnTo>
                    <a:pt x="5041" y="4425"/>
                  </a:lnTo>
                  <a:lnTo>
                    <a:pt x="5041" y="4408"/>
                  </a:lnTo>
                  <a:lnTo>
                    <a:pt x="5037" y="4403"/>
                  </a:lnTo>
                  <a:lnTo>
                    <a:pt x="4982" y="4470"/>
                  </a:lnTo>
                  <a:lnTo>
                    <a:pt x="4973" y="4498"/>
                  </a:lnTo>
                  <a:lnTo>
                    <a:pt x="4961" y="4519"/>
                  </a:lnTo>
                  <a:lnTo>
                    <a:pt x="4961" y="4543"/>
                  </a:lnTo>
                  <a:lnTo>
                    <a:pt x="4928" y="4576"/>
                  </a:lnTo>
                  <a:lnTo>
                    <a:pt x="4928" y="4581"/>
                  </a:lnTo>
                  <a:lnTo>
                    <a:pt x="4918" y="4609"/>
                  </a:lnTo>
                  <a:lnTo>
                    <a:pt x="4907" y="4597"/>
                  </a:lnTo>
                  <a:lnTo>
                    <a:pt x="4897" y="4609"/>
                  </a:lnTo>
                  <a:lnTo>
                    <a:pt x="4890" y="4597"/>
                  </a:lnTo>
                  <a:lnTo>
                    <a:pt x="4881" y="4609"/>
                  </a:lnTo>
                  <a:lnTo>
                    <a:pt x="4874" y="4625"/>
                  </a:lnTo>
                  <a:lnTo>
                    <a:pt x="4626" y="4630"/>
                  </a:lnTo>
                  <a:lnTo>
                    <a:pt x="4529" y="4708"/>
                  </a:lnTo>
                  <a:lnTo>
                    <a:pt x="4503" y="4748"/>
                  </a:lnTo>
                  <a:lnTo>
                    <a:pt x="4368" y="4748"/>
                  </a:lnTo>
                  <a:lnTo>
                    <a:pt x="4335" y="4765"/>
                  </a:lnTo>
                  <a:lnTo>
                    <a:pt x="4340" y="4781"/>
                  </a:lnTo>
                  <a:lnTo>
                    <a:pt x="4340" y="4798"/>
                  </a:lnTo>
                  <a:lnTo>
                    <a:pt x="4356" y="4814"/>
                  </a:lnTo>
                  <a:lnTo>
                    <a:pt x="4352" y="4819"/>
                  </a:lnTo>
                  <a:lnTo>
                    <a:pt x="4271" y="4852"/>
                  </a:lnTo>
                  <a:lnTo>
                    <a:pt x="4189" y="4869"/>
                  </a:lnTo>
                  <a:lnTo>
                    <a:pt x="4108" y="4918"/>
                  </a:lnTo>
                  <a:lnTo>
                    <a:pt x="4087" y="4918"/>
                  </a:lnTo>
                  <a:lnTo>
                    <a:pt x="4066" y="4902"/>
                  </a:lnTo>
                  <a:lnTo>
                    <a:pt x="4054" y="4885"/>
                  </a:lnTo>
                  <a:lnTo>
                    <a:pt x="4066" y="4869"/>
                  </a:lnTo>
                  <a:lnTo>
                    <a:pt x="4104" y="4836"/>
                  </a:lnTo>
                  <a:lnTo>
                    <a:pt x="4108" y="4803"/>
                  </a:lnTo>
                  <a:lnTo>
                    <a:pt x="4125" y="4748"/>
                  </a:lnTo>
                  <a:lnTo>
                    <a:pt x="4104" y="4597"/>
                  </a:lnTo>
                  <a:lnTo>
                    <a:pt x="4028" y="4552"/>
                  </a:lnTo>
                  <a:lnTo>
                    <a:pt x="4033" y="4536"/>
                  </a:lnTo>
                  <a:lnTo>
                    <a:pt x="4028" y="4526"/>
                  </a:lnTo>
                  <a:lnTo>
                    <a:pt x="4000" y="4526"/>
                  </a:lnTo>
                  <a:lnTo>
                    <a:pt x="3990" y="4514"/>
                  </a:lnTo>
                  <a:lnTo>
                    <a:pt x="3990" y="4486"/>
                  </a:lnTo>
                  <a:lnTo>
                    <a:pt x="3957" y="4498"/>
                  </a:lnTo>
                  <a:lnTo>
                    <a:pt x="3941" y="4481"/>
                  </a:lnTo>
                  <a:lnTo>
                    <a:pt x="3941" y="4460"/>
                  </a:lnTo>
                  <a:lnTo>
                    <a:pt x="3693" y="4333"/>
                  </a:lnTo>
                  <a:lnTo>
                    <a:pt x="3622" y="4359"/>
                  </a:lnTo>
                  <a:lnTo>
                    <a:pt x="3584" y="4354"/>
                  </a:lnTo>
                  <a:lnTo>
                    <a:pt x="3563" y="4349"/>
                  </a:lnTo>
                  <a:lnTo>
                    <a:pt x="3525" y="4349"/>
                  </a:lnTo>
                  <a:lnTo>
                    <a:pt x="3515" y="4337"/>
                  </a:lnTo>
                  <a:lnTo>
                    <a:pt x="3478" y="4354"/>
                  </a:lnTo>
                  <a:lnTo>
                    <a:pt x="3440" y="4337"/>
                  </a:lnTo>
                  <a:lnTo>
                    <a:pt x="3433" y="4321"/>
                  </a:lnTo>
                  <a:lnTo>
                    <a:pt x="3418" y="4321"/>
                  </a:lnTo>
                  <a:lnTo>
                    <a:pt x="3407" y="4337"/>
                  </a:lnTo>
                  <a:lnTo>
                    <a:pt x="3407" y="4321"/>
                  </a:lnTo>
                  <a:lnTo>
                    <a:pt x="3369" y="4297"/>
                  </a:lnTo>
                  <a:lnTo>
                    <a:pt x="3348" y="4297"/>
                  </a:lnTo>
                  <a:lnTo>
                    <a:pt x="3310" y="4304"/>
                  </a:lnTo>
                  <a:lnTo>
                    <a:pt x="3310" y="4297"/>
                  </a:lnTo>
                  <a:lnTo>
                    <a:pt x="3256" y="4292"/>
                  </a:lnTo>
                  <a:lnTo>
                    <a:pt x="3244" y="4281"/>
                  </a:lnTo>
                  <a:lnTo>
                    <a:pt x="3239" y="4238"/>
                  </a:lnTo>
                  <a:lnTo>
                    <a:pt x="3218" y="4226"/>
                  </a:lnTo>
                  <a:lnTo>
                    <a:pt x="3218" y="4264"/>
                  </a:lnTo>
                  <a:lnTo>
                    <a:pt x="1281" y="4264"/>
                  </a:lnTo>
                  <a:lnTo>
                    <a:pt x="1276" y="4259"/>
                  </a:lnTo>
                  <a:lnTo>
                    <a:pt x="1259" y="4264"/>
                  </a:lnTo>
                  <a:lnTo>
                    <a:pt x="1248" y="4238"/>
                  </a:lnTo>
                  <a:lnTo>
                    <a:pt x="1264" y="4238"/>
                  </a:lnTo>
                  <a:lnTo>
                    <a:pt x="1276" y="4226"/>
                  </a:lnTo>
                  <a:lnTo>
                    <a:pt x="1264" y="4238"/>
                  </a:lnTo>
                  <a:lnTo>
                    <a:pt x="1248" y="4238"/>
                  </a:lnTo>
                  <a:lnTo>
                    <a:pt x="1243" y="4222"/>
                  </a:lnTo>
                  <a:lnTo>
                    <a:pt x="1248" y="4193"/>
                  </a:lnTo>
                  <a:lnTo>
                    <a:pt x="1226" y="4222"/>
                  </a:lnTo>
                  <a:lnTo>
                    <a:pt x="1226" y="4226"/>
                  </a:lnTo>
                  <a:lnTo>
                    <a:pt x="1205" y="4222"/>
                  </a:lnTo>
                  <a:lnTo>
                    <a:pt x="1189" y="4205"/>
                  </a:lnTo>
                  <a:lnTo>
                    <a:pt x="1193" y="4193"/>
                  </a:lnTo>
                  <a:lnTo>
                    <a:pt x="1210" y="4222"/>
                  </a:lnTo>
                  <a:lnTo>
                    <a:pt x="1210" y="4210"/>
                  </a:lnTo>
                  <a:lnTo>
                    <a:pt x="1226" y="4205"/>
                  </a:lnTo>
                  <a:lnTo>
                    <a:pt x="1210" y="4205"/>
                  </a:lnTo>
                  <a:lnTo>
                    <a:pt x="1193" y="4193"/>
                  </a:lnTo>
                  <a:lnTo>
                    <a:pt x="1205" y="4181"/>
                  </a:lnTo>
                  <a:lnTo>
                    <a:pt x="1193" y="4170"/>
                  </a:lnTo>
                  <a:lnTo>
                    <a:pt x="1210" y="4165"/>
                  </a:lnTo>
                  <a:lnTo>
                    <a:pt x="1205" y="4153"/>
                  </a:lnTo>
                  <a:lnTo>
                    <a:pt x="1193" y="4148"/>
                  </a:lnTo>
                  <a:lnTo>
                    <a:pt x="1205" y="4165"/>
                  </a:lnTo>
                  <a:lnTo>
                    <a:pt x="1193" y="4170"/>
                  </a:lnTo>
                  <a:lnTo>
                    <a:pt x="1193" y="4188"/>
                  </a:lnTo>
                  <a:lnTo>
                    <a:pt x="1189" y="4181"/>
                  </a:lnTo>
                  <a:lnTo>
                    <a:pt x="1189" y="4188"/>
                  </a:lnTo>
                  <a:lnTo>
                    <a:pt x="1167" y="4193"/>
                  </a:lnTo>
                  <a:lnTo>
                    <a:pt x="1134" y="4165"/>
                  </a:lnTo>
                  <a:lnTo>
                    <a:pt x="1139" y="4170"/>
                  </a:lnTo>
                  <a:lnTo>
                    <a:pt x="1151" y="4148"/>
                  </a:lnTo>
                  <a:lnTo>
                    <a:pt x="1139" y="4137"/>
                  </a:lnTo>
                  <a:lnTo>
                    <a:pt x="1172" y="4127"/>
                  </a:lnTo>
                  <a:lnTo>
                    <a:pt x="1134" y="4137"/>
                  </a:lnTo>
                  <a:lnTo>
                    <a:pt x="1118" y="4137"/>
                  </a:lnTo>
                  <a:lnTo>
                    <a:pt x="1118" y="4127"/>
                  </a:lnTo>
                  <a:lnTo>
                    <a:pt x="1134" y="4115"/>
                  </a:lnTo>
                  <a:lnTo>
                    <a:pt x="1134" y="4082"/>
                  </a:lnTo>
                  <a:lnTo>
                    <a:pt x="1125" y="4099"/>
                  </a:lnTo>
                  <a:lnTo>
                    <a:pt x="1134" y="4111"/>
                  </a:lnTo>
                  <a:lnTo>
                    <a:pt x="1118" y="4132"/>
                  </a:lnTo>
                  <a:lnTo>
                    <a:pt x="1087" y="4127"/>
                  </a:lnTo>
                  <a:lnTo>
                    <a:pt x="1096" y="4099"/>
                  </a:lnTo>
                  <a:lnTo>
                    <a:pt x="1070" y="4132"/>
                  </a:lnTo>
                  <a:lnTo>
                    <a:pt x="1063" y="4127"/>
                  </a:lnTo>
                  <a:lnTo>
                    <a:pt x="1033" y="4127"/>
                  </a:lnTo>
                  <a:lnTo>
                    <a:pt x="1042" y="4115"/>
                  </a:lnTo>
                  <a:lnTo>
                    <a:pt x="1033" y="4111"/>
                  </a:lnTo>
                  <a:lnTo>
                    <a:pt x="1080" y="4099"/>
                  </a:lnTo>
                  <a:lnTo>
                    <a:pt x="1087" y="4082"/>
                  </a:lnTo>
                  <a:lnTo>
                    <a:pt x="1080" y="4070"/>
                  </a:lnTo>
                  <a:lnTo>
                    <a:pt x="1080" y="4077"/>
                  </a:lnTo>
                  <a:lnTo>
                    <a:pt x="1070" y="4099"/>
                  </a:lnTo>
                  <a:lnTo>
                    <a:pt x="1042" y="4111"/>
                  </a:lnTo>
                  <a:lnTo>
                    <a:pt x="1049" y="4099"/>
                  </a:lnTo>
                  <a:lnTo>
                    <a:pt x="1042" y="4094"/>
                  </a:lnTo>
                  <a:lnTo>
                    <a:pt x="1011" y="4094"/>
                  </a:lnTo>
                  <a:lnTo>
                    <a:pt x="1042" y="4082"/>
                  </a:lnTo>
                  <a:lnTo>
                    <a:pt x="1004" y="4094"/>
                  </a:lnTo>
                  <a:lnTo>
                    <a:pt x="974" y="4082"/>
                  </a:lnTo>
                  <a:lnTo>
                    <a:pt x="990" y="4094"/>
                  </a:lnTo>
                  <a:lnTo>
                    <a:pt x="978" y="4094"/>
                  </a:lnTo>
                  <a:lnTo>
                    <a:pt x="952" y="4077"/>
                  </a:lnTo>
                  <a:lnTo>
                    <a:pt x="952" y="4070"/>
                  </a:lnTo>
                  <a:lnTo>
                    <a:pt x="995" y="4070"/>
                  </a:lnTo>
                  <a:lnTo>
                    <a:pt x="1004" y="4061"/>
                  </a:lnTo>
                  <a:lnTo>
                    <a:pt x="974" y="4070"/>
                  </a:lnTo>
                  <a:lnTo>
                    <a:pt x="924" y="4061"/>
                  </a:lnTo>
                  <a:lnTo>
                    <a:pt x="924" y="4054"/>
                  </a:lnTo>
                  <a:lnTo>
                    <a:pt x="941" y="4044"/>
                  </a:lnTo>
                  <a:lnTo>
                    <a:pt x="974" y="4044"/>
                  </a:lnTo>
                  <a:lnTo>
                    <a:pt x="974" y="4037"/>
                  </a:lnTo>
                  <a:lnTo>
                    <a:pt x="962" y="4044"/>
                  </a:lnTo>
                  <a:lnTo>
                    <a:pt x="924" y="4044"/>
                  </a:lnTo>
                  <a:lnTo>
                    <a:pt x="941" y="4025"/>
                  </a:lnTo>
                  <a:lnTo>
                    <a:pt x="952" y="4016"/>
                  </a:lnTo>
                  <a:lnTo>
                    <a:pt x="1011" y="4016"/>
                  </a:lnTo>
                  <a:lnTo>
                    <a:pt x="1011" y="4000"/>
                  </a:lnTo>
                  <a:lnTo>
                    <a:pt x="1004" y="4016"/>
                  </a:lnTo>
                  <a:lnTo>
                    <a:pt x="952" y="4016"/>
                  </a:lnTo>
                  <a:lnTo>
                    <a:pt x="957" y="4000"/>
                  </a:lnTo>
                  <a:lnTo>
                    <a:pt x="941" y="4004"/>
                  </a:lnTo>
                  <a:lnTo>
                    <a:pt x="941" y="4021"/>
                  </a:lnTo>
                  <a:lnTo>
                    <a:pt x="936" y="4025"/>
                  </a:lnTo>
                  <a:lnTo>
                    <a:pt x="919" y="4016"/>
                  </a:lnTo>
                  <a:lnTo>
                    <a:pt x="924" y="3988"/>
                  </a:lnTo>
                  <a:lnTo>
                    <a:pt x="936" y="3983"/>
                  </a:lnTo>
                  <a:lnTo>
                    <a:pt x="941" y="3966"/>
                  </a:lnTo>
                  <a:lnTo>
                    <a:pt x="952" y="3971"/>
                  </a:lnTo>
                  <a:lnTo>
                    <a:pt x="941" y="3971"/>
                  </a:lnTo>
                  <a:lnTo>
                    <a:pt x="974" y="3950"/>
                  </a:lnTo>
                  <a:lnTo>
                    <a:pt x="978" y="3950"/>
                  </a:lnTo>
                  <a:lnTo>
                    <a:pt x="1004" y="3983"/>
                  </a:lnTo>
                  <a:lnTo>
                    <a:pt x="990" y="3950"/>
                  </a:lnTo>
                  <a:lnTo>
                    <a:pt x="1004" y="3943"/>
                  </a:lnTo>
                  <a:lnTo>
                    <a:pt x="974" y="3943"/>
                  </a:lnTo>
                  <a:lnTo>
                    <a:pt x="962" y="3933"/>
                  </a:lnTo>
                  <a:lnTo>
                    <a:pt x="990" y="3910"/>
                  </a:lnTo>
                  <a:lnTo>
                    <a:pt x="978" y="3905"/>
                  </a:lnTo>
                  <a:lnTo>
                    <a:pt x="978" y="3917"/>
                  </a:lnTo>
                  <a:lnTo>
                    <a:pt x="941" y="3950"/>
                  </a:lnTo>
                  <a:lnTo>
                    <a:pt x="924" y="3959"/>
                  </a:lnTo>
                  <a:lnTo>
                    <a:pt x="919" y="3933"/>
                  </a:lnTo>
                  <a:lnTo>
                    <a:pt x="908" y="3950"/>
                  </a:lnTo>
                  <a:lnTo>
                    <a:pt x="908" y="3933"/>
                  </a:lnTo>
                  <a:lnTo>
                    <a:pt x="919" y="3926"/>
                  </a:lnTo>
                  <a:lnTo>
                    <a:pt x="903" y="3933"/>
                  </a:lnTo>
                  <a:lnTo>
                    <a:pt x="898" y="3959"/>
                  </a:lnTo>
                  <a:lnTo>
                    <a:pt x="886" y="3950"/>
                  </a:lnTo>
                  <a:lnTo>
                    <a:pt x="898" y="3933"/>
                  </a:lnTo>
                  <a:lnTo>
                    <a:pt x="903" y="3893"/>
                  </a:lnTo>
                  <a:lnTo>
                    <a:pt x="882" y="3905"/>
                  </a:lnTo>
                  <a:lnTo>
                    <a:pt x="870" y="3872"/>
                  </a:lnTo>
                  <a:lnTo>
                    <a:pt x="853" y="3855"/>
                  </a:lnTo>
                  <a:lnTo>
                    <a:pt x="848" y="3832"/>
                  </a:lnTo>
                  <a:lnTo>
                    <a:pt x="853" y="3832"/>
                  </a:lnTo>
                  <a:lnTo>
                    <a:pt x="882" y="3848"/>
                  </a:lnTo>
                  <a:lnTo>
                    <a:pt x="903" y="3839"/>
                  </a:lnTo>
                  <a:lnTo>
                    <a:pt x="924" y="3860"/>
                  </a:lnTo>
                  <a:lnTo>
                    <a:pt x="903" y="3839"/>
                  </a:lnTo>
                  <a:lnTo>
                    <a:pt x="870" y="3839"/>
                  </a:lnTo>
                  <a:lnTo>
                    <a:pt x="853" y="3822"/>
                  </a:lnTo>
                  <a:lnTo>
                    <a:pt x="853" y="3806"/>
                  </a:lnTo>
                  <a:lnTo>
                    <a:pt x="882" y="3799"/>
                  </a:lnTo>
                  <a:lnTo>
                    <a:pt x="865" y="3794"/>
                  </a:lnTo>
                  <a:lnTo>
                    <a:pt x="870" y="3782"/>
                  </a:lnTo>
                  <a:lnTo>
                    <a:pt x="827" y="3822"/>
                  </a:lnTo>
                  <a:lnTo>
                    <a:pt x="827" y="3848"/>
                  </a:lnTo>
                  <a:lnTo>
                    <a:pt x="773" y="3799"/>
                  </a:lnTo>
                  <a:lnTo>
                    <a:pt x="773" y="3766"/>
                  </a:lnTo>
                  <a:lnTo>
                    <a:pt x="811" y="3761"/>
                  </a:lnTo>
                  <a:lnTo>
                    <a:pt x="763" y="3766"/>
                  </a:lnTo>
                  <a:lnTo>
                    <a:pt x="756" y="3749"/>
                  </a:lnTo>
                  <a:lnTo>
                    <a:pt x="740" y="3749"/>
                  </a:lnTo>
                  <a:lnTo>
                    <a:pt x="740" y="3721"/>
                  </a:lnTo>
                  <a:lnTo>
                    <a:pt x="778" y="3749"/>
                  </a:lnTo>
                  <a:lnTo>
                    <a:pt x="747" y="3721"/>
                  </a:lnTo>
                  <a:lnTo>
                    <a:pt x="763" y="3711"/>
                  </a:lnTo>
                  <a:lnTo>
                    <a:pt x="778" y="3728"/>
                  </a:lnTo>
                  <a:lnTo>
                    <a:pt x="756" y="3711"/>
                  </a:lnTo>
                  <a:lnTo>
                    <a:pt x="763" y="3704"/>
                  </a:lnTo>
                  <a:lnTo>
                    <a:pt x="773" y="3688"/>
                  </a:lnTo>
                  <a:lnTo>
                    <a:pt x="801" y="3688"/>
                  </a:lnTo>
                  <a:lnTo>
                    <a:pt x="773" y="3683"/>
                  </a:lnTo>
                  <a:lnTo>
                    <a:pt x="794" y="3638"/>
                  </a:lnTo>
                  <a:lnTo>
                    <a:pt x="811" y="3638"/>
                  </a:lnTo>
                  <a:lnTo>
                    <a:pt x="794" y="3638"/>
                  </a:lnTo>
                  <a:lnTo>
                    <a:pt x="789" y="3633"/>
                  </a:lnTo>
                  <a:lnTo>
                    <a:pt x="789" y="3655"/>
                  </a:lnTo>
                  <a:lnTo>
                    <a:pt x="763" y="3688"/>
                  </a:lnTo>
                  <a:lnTo>
                    <a:pt x="763" y="3683"/>
                  </a:lnTo>
                  <a:lnTo>
                    <a:pt x="778" y="3655"/>
                  </a:lnTo>
                  <a:lnTo>
                    <a:pt x="763" y="3617"/>
                  </a:lnTo>
                  <a:lnTo>
                    <a:pt x="773" y="3593"/>
                  </a:lnTo>
                  <a:lnTo>
                    <a:pt x="763" y="3572"/>
                  </a:lnTo>
                  <a:lnTo>
                    <a:pt x="747" y="3572"/>
                  </a:lnTo>
                  <a:lnTo>
                    <a:pt x="719" y="3544"/>
                  </a:lnTo>
                  <a:lnTo>
                    <a:pt x="664" y="3522"/>
                  </a:lnTo>
                  <a:lnTo>
                    <a:pt x="650" y="3522"/>
                  </a:lnTo>
                  <a:lnTo>
                    <a:pt x="638" y="3506"/>
                  </a:lnTo>
                  <a:lnTo>
                    <a:pt x="626" y="3499"/>
                  </a:lnTo>
                  <a:lnTo>
                    <a:pt x="633" y="3482"/>
                  </a:lnTo>
                  <a:lnTo>
                    <a:pt x="612" y="3473"/>
                  </a:lnTo>
                  <a:lnTo>
                    <a:pt x="617" y="3461"/>
                  </a:lnTo>
                  <a:lnTo>
                    <a:pt x="541" y="3350"/>
                  </a:lnTo>
                  <a:lnTo>
                    <a:pt x="530" y="3333"/>
                  </a:lnTo>
                  <a:lnTo>
                    <a:pt x="504" y="3300"/>
                  </a:lnTo>
                  <a:lnTo>
                    <a:pt x="475" y="3296"/>
                  </a:lnTo>
                  <a:lnTo>
                    <a:pt x="466" y="3263"/>
                  </a:lnTo>
                  <a:lnTo>
                    <a:pt x="423" y="3246"/>
                  </a:lnTo>
                  <a:lnTo>
                    <a:pt x="416" y="3227"/>
                  </a:lnTo>
                  <a:lnTo>
                    <a:pt x="423" y="3211"/>
                  </a:lnTo>
                  <a:lnTo>
                    <a:pt x="385" y="3189"/>
                  </a:lnTo>
                  <a:lnTo>
                    <a:pt x="324" y="3211"/>
                  </a:lnTo>
                  <a:lnTo>
                    <a:pt x="331" y="3222"/>
                  </a:lnTo>
                  <a:lnTo>
                    <a:pt x="315" y="3222"/>
                  </a:lnTo>
                  <a:lnTo>
                    <a:pt x="315" y="3246"/>
                  </a:lnTo>
                  <a:lnTo>
                    <a:pt x="310" y="3251"/>
                  </a:lnTo>
                  <a:lnTo>
                    <a:pt x="293" y="3251"/>
                  </a:lnTo>
                  <a:lnTo>
                    <a:pt x="251" y="3284"/>
                  </a:lnTo>
                  <a:lnTo>
                    <a:pt x="239" y="3246"/>
                  </a:lnTo>
                  <a:lnTo>
                    <a:pt x="168" y="3189"/>
                  </a:lnTo>
                  <a:lnTo>
                    <a:pt x="163" y="3173"/>
                  </a:lnTo>
                  <a:lnTo>
                    <a:pt x="130" y="3156"/>
                  </a:lnTo>
                  <a:lnTo>
                    <a:pt x="142" y="3123"/>
                  </a:lnTo>
                  <a:lnTo>
                    <a:pt x="93" y="3135"/>
                  </a:lnTo>
                  <a:lnTo>
                    <a:pt x="71" y="3151"/>
                  </a:lnTo>
                  <a:lnTo>
                    <a:pt x="38" y="3135"/>
                  </a:lnTo>
                  <a:lnTo>
                    <a:pt x="38" y="3140"/>
                  </a:lnTo>
                  <a:lnTo>
                    <a:pt x="0" y="3135"/>
                  </a:lnTo>
                  <a:lnTo>
                    <a:pt x="0" y="2041"/>
                  </a:lnTo>
                  <a:lnTo>
                    <a:pt x="130" y="2058"/>
                  </a:lnTo>
                  <a:lnTo>
                    <a:pt x="168" y="2086"/>
                  </a:lnTo>
                  <a:lnTo>
                    <a:pt x="260" y="2124"/>
                  </a:lnTo>
                  <a:lnTo>
                    <a:pt x="348" y="2136"/>
                  </a:lnTo>
                  <a:lnTo>
                    <a:pt x="395" y="2157"/>
                  </a:lnTo>
                  <a:lnTo>
                    <a:pt x="411" y="2157"/>
                  </a:lnTo>
                  <a:lnTo>
                    <a:pt x="385" y="2140"/>
                  </a:lnTo>
                  <a:lnTo>
                    <a:pt x="400" y="2140"/>
                  </a:lnTo>
                  <a:lnTo>
                    <a:pt x="378" y="2136"/>
                  </a:lnTo>
                  <a:lnTo>
                    <a:pt x="433" y="2124"/>
                  </a:lnTo>
                  <a:lnTo>
                    <a:pt x="471" y="2157"/>
                  </a:lnTo>
                  <a:lnTo>
                    <a:pt x="475" y="2157"/>
                  </a:lnTo>
                  <a:lnTo>
                    <a:pt x="449" y="2119"/>
                  </a:lnTo>
                  <a:lnTo>
                    <a:pt x="454" y="2115"/>
                  </a:lnTo>
                  <a:lnTo>
                    <a:pt x="520" y="2070"/>
                  </a:lnTo>
                  <a:lnTo>
                    <a:pt x="558" y="2065"/>
                  </a:lnTo>
                  <a:lnTo>
                    <a:pt x="574" y="2041"/>
                  </a:lnTo>
                  <a:lnTo>
                    <a:pt x="600" y="2041"/>
                  </a:lnTo>
                  <a:lnTo>
                    <a:pt x="612" y="2029"/>
                  </a:lnTo>
                  <a:lnTo>
                    <a:pt x="596" y="2029"/>
                  </a:lnTo>
                  <a:lnTo>
                    <a:pt x="600" y="2025"/>
                  </a:lnTo>
                  <a:lnTo>
                    <a:pt x="626" y="2029"/>
                  </a:lnTo>
                  <a:lnTo>
                    <a:pt x="671" y="2003"/>
                  </a:lnTo>
                  <a:lnTo>
                    <a:pt x="688" y="2003"/>
                  </a:lnTo>
                  <a:lnTo>
                    <a:pt x="688" y="2013"/>
                  </a:lnTo>
                  <a:lnTo>
                    <a:pt x="709" y="1987"/>
                  </a:lnTo>
                  <a:lnTo>
                    <a:pt x="735" y="1970"/>
                  </a:lnTo>
                  <a:lnTo>
                    <a:pt x="740" y="1970"/>
                  </a:lnTo>
                  <a:lnTo>
                    <a:pt x="740" y="1975"/>
                  </a:lnTo>
                  <a:lnTo>
                    <a:pt x="773" y="1987"/>
                  </a:lnTo>
                  <a:lnTo>
                    <a:pt x="794" y="1959"/>
                  </a:lnTo>
                  <a:lnTo>
                    <a:pt x="815" y="1975"/>
                  </a:lnTo>
                  <a:lnTo>
                    <a:pt x="811" y="1992"/>
                  </a:lnTo>
                  <a:lnTo>
                    <a:pt x="740" y="2025"/>
                  </a:lnTo>
                  <a:lnTo>
                    <a:pt x="709" y="2048"/>
                  </a:lnTo>
                  <a:lnTo>
                    <a:pt x="702" y="2041"/>
                  </a:lnTo>
                  <a:lnTo>
                    <a:pt x="633" y="2058"/>
                  </a:lnTo>
                  <a:lnTo>
                    <a:pt x="626" y="2065"/>
                  </a:lnTo>
                  <a:lnTo>
                    <a:pt x="626" y="2070"/>
                  </a:lnTo>
                  <a:lnTo>
                    <a:pt x="579" y="2086"/>
                  </a:lnTo>
                  <a:lnTo>
                    <a:pt x="574" y="2115"/>
                  </a:lnTo>
                  <a:lnTo>
                    <a:pt x="546" y="2119"/>
                  </a:lnTo>
                  <a:lnTo>
                    <a:pt x="546" y="2124"/>
                  </a:lnTo>
                  <a:lnTo>
                    <a:pt x="525" y="2140"/>
                  </a:lnTo>
                  <a:lnTo>
                    <a:pt x="574" y="2157"/>
                  </a:lnTo>
                  <a:lnTo>
                    <a:pt x="541" y="2140"/>
                  </a:lnTo>
                  <a:lnTo>
                    <a:pt x="600" y="2140"/>
                  </a:lnTo>
                  <a:lnTo>
                    <a:pt x="600" y="2136"/>
                  </a:lnTo>
                  <a:lnTo>
                    <a:pt x="596" y="2136"/>
                  </a:lnTo>
                  <a:lnTo>
                    <a:pt x="579" y="2136"/>
                  </a:lnTo>
                  <a:lnTo>
                    <a:pt x="574" y="2115"/>
                  </a:lnTo>
                  <a:lnTo>
                    <a:pt x="600" y="2103"/>
                  </a:lnTo>
                  <a:lnTo>
                    <a:pt x="612" y="2086"/>
                  </a:lnTo>
                  <a:lnTo>
                    <a:pt x="617" y="2103"/>
                  </a:lnTo>
                  <a:lnTo>
                    <a:pt x="655" y="2070"/>
                  </a:lnTo>
                  <a:lnTo>
                    <a:pt x="633" y="2070"/>
                  </a:lnTo>
                  <a:lnTo>
                    <a:pt x="655" y="2065"/>
                  </a:lnTo>
                  <a:lnTo>
                    <a:pt x="671" y="2065"/>
                  </a:lnTo>
                  <a:lnTo>
                    <a:pt x="664" y="2081"/>
                  </a:lnTo>
                  <a:lnTo>
                    <a:pt x="688" y="2058"/>
                  </a:lnTo>
                  <a:lnTo>
                    <a:pt x="688" y="2070"/>
                  </a:lnTo>
                  <a:lnTo>
                    <a:pt x="671" y="2081"/>
                  </a:lnTo>
                  <a:lnTo>
                    <a:pt x="681" y="2081"/>
                  </a:lnTo>
                  <a:lnTo>
                    <a:pt x="693" y="2070"/>
                  </a:lnTo>
                  <a:lnTo>
                    <a:pt x="688" y="2048"/>
                  </a:lnTo>
                  <a:lnTo>
                    <a:pt x="693" y="2058"/>
                  </a:lnTo>
                  <a:lnTo>
                    <a:pt x="693" y="2070"/>
                  </a:lnTo>
                  <a:lnTo>
                    <a:pt x="702" y="2065"/>
                  </a:lnTo>
                  <a:lnTo>
                    <a:pt x="688" y="2048"/>
                  </a:lnTo>
                  <a:lnTo>
                    <a:pt x="693" y="2041"/>
                  </a:lnTo>
                  <a:lnTo>
                    <a:pt x="702" y="2065"/>
                  </a:lnTo>
                  <a:lnTo>
                    <a:pt x="693" y="2081"/>
                  </a:lnTo>
                  <a:lnTo>
                    <a:pt x="709" y="2058"/>
                  </a:lnTo>
                  <a:lnTo>
                    <a:pt x="702" y="2081"/>
                  </a:lnTo>
                  <a:lnTo>
                    <a:pt x="709" y="2070"/>
                  </a:lnTo>
                  <a:lnTo>
                    <a:pt x="702" y="2098"/>
                  </a:lnTo>
                  <a:lnTo>
                    <a:pt x="709" y="2103"/>
                  </a:lnTo>
                  <a:lnTo>
                    <a:pt x="709" y="2086"/>
                  </a:lnTo>
                  <a:lnTo>
                    <a:pt x="747" y="2029"/>
                  </a:lnTo>
                  <a:lnTo>
                    <a:pt x="832" y="2008"/>
                  </a:lnTo>
                  <a:lnTo>
                    <a:pt x="848" y="2003"/>
                  </a:lnTo>
                  <a:lnTo>
                    <a:pt x="848" y="2013"/>
                  </a:lnTo>
                  <a:lnTo>
                    <a:pt x="832" y="2013"/>
                  </a:lnTo>
                  <a:lnTo>
                    <a:pt x="832" y="2029"/>
                  </a:lnTo>
                  <a:lnTo>
                    <a:pt x="848" y="2029"/>
                  </a:lnTo>
                  <a:lnTo>
                    <a:pt x="886" y="2003"/>
                  </a:lnTo>
                  <a:lnTo>
                    <a:pt x="886" y="1975"/>
                  </a:lnTo>
                  <a:lnTo>
                    <a:pt x="952" y="1959"/>
                  </a:lnTo>
                  <a:lnTo>
                    <a:pt x="908" y="1954"/>
                  </a:lnTo>
                  <a:lnTo>
                    <a:pt x="919" y="1947"/>
                  </a:lnTo>
                  <a:lnTo>
                    <a:pt x="903" y="1947"/>
                  </a:lnTo>
                  <a:lnTo>
                    <a:pt x="908" y="1914"/>
                  </a:lnTo>
                  <a:lnTo>
                    <a:pt x="974" y="1959"/>
                  </a:lnTo>
                  <a:lnTo>
                    <a:pt x="1004" y="2025"/>
                  </a:lnTo>
                  <a:lnTo>
                    <a:pt x="1033" y="2058"/>
                  </a:lnTo>
                  <a:lnTo>
                    <a:pt x="1096" y="2081"/>
                  </a:lnTo>
                  <a:lnTo>
                    <a:pt x="1096" y="2070"/>
                  </a:lnTo>
                  <a:lnTo>
                    <a:pt x="1118" y="2065"/>
                  </a:lnTo>
                  <a:lnTo>
                    <a:pt x="1080" y="2065"/>
                  </a:lnTo>
                  <a:lnTo>
                    <a:pt x="1087" y="2058"/>
                  </a:lnTo>
                  <a:lnTo>
                    <a:pt x="1118" y="2058"/>
                  </a:lnTo>
                  <a:lnTo>
                    <a:pt x="1096" y="2041"/>
                  </a:lnTo>
                  <a:lnTo>
                    <a:pt x="1096" y="2029"/>
                  </a:lnTo>
                  <a:lnTo>
                    <a:pt x="1118" y="2025"/>
                  </a:lnTo>
                  <a:lnTo>
                    <a:pt x="1125" y="2041"/>
                  </a:lnTo>
                  <a:lnTo>
                    <a:pt x="1134" y="2029"/>
                  </a:lnTo>
                  <a:lnTo>
                    <a:pt x="1101" y="2013"/>
                  </a:lnTo>
                  <a:lnTo>
                    <a:pt x="1118" y="2013"/>
                  </a:lnTo>
                  <a:lnTo>
                    <a:pt x="1134" y="1992"/>
                  </a:lnTo>
                  <a:lnTo>
                    <a:pt x="1113" y="2003"/>
                  </a:lnTo>
                  <a:lnTo>
                    <a:pt x="1113" y="1992"/>
                  </a:lnTo>
                  <a:lnTo>
                    <a:pt x="1125" y="1987"/>
                  </a:lnTo>
                  <a:lnTo>
                    <a:pt x="1118" y="1992"/>
                  </a:lnTo>
                  <a:lnTo>
                    <a:pt x="1151" y="1987"/>
                  </a:lnTo>
                  <a:lnTo>
                    <a:pt x="1156" y="1992"/>
                  </a:lnTo>
                  <a:lnTo>
                    <a:pt x="1167" y="1987"/>
                  </a:lnTo>
                  <a:lnTo>
                    <a:pt x="1139" y="1975"/>
                  </a:lnTo>
                  <a:lnTo>
                    <a:pt x="1167" y="1975"/>
                  </a:lnTo>
                  <a:lnTo>
                    <a:pt x="1167" y="1987"/>
                  </a:lnTo>
                  <a:lnTo>
                    <a:pt x="1156" y="2025"/>
                  </a:lnTo>
                  <a:lnTo>
                    <a:pt x="1189" y="2029"/>
                  </a:lnTo>
                  <a:lnTo>
                    <a:pt x="1156" y="2070"/>
                  </a:lnTo>
                  <a:lnTo>
                    <a:pt x="1167" y="2070"/>
                  </a:lnTo>
                  <a:lnTo>
                    <a:pt x="1231" y="2070"/>
                  </a:lnTo>
                  <a:lnTo>
                    <a:pt x="1231" y="2058"/>
                  </a:lnTo>
                  <a:lnTo>
                    <a:pt x="1248" y="2058"/>
                  </a:lnTo>
                  <a:lnTo>
                    <a:pt x="1259" y="2025"/>
                  </a:lnTo>
                  <a:lnTo>
                    <a:pt x="1264" y="2013"/>
                  </a:lnTo>
                  <a:lnTo>
                    <a:pt x="1356" y="2013"/>
                  </a:lnTo>
                  <a:lnTo>
                    <a:pt x="1420" y="2041"/>
                  </a:lnTo>
                  <a:lnTo>
                    <a:pt x="1458" y="2070"/>
                  </a:lnTo>
                  <a:lnTo>
                    <a:pt x="1555" y="2086"/>
                  </a:lnTo>
                  <a:lnTo>
                    <a:pt x="1609" y="2119"/>
                  </a:lnTo>
                  <a:lnTo>
                    <a:pt x="1675" y="2136"/>
                  </a:lnTo>
                  <a:lnTo>
                    <a:pt x="1760" y="2140"/>
                  </a:lnTo>
                  <a:lnTo>
                    <a:pt x="1730" y="2124"/>
                  </a:lnTo>
                  <a:lnTo>
                    <a:pt x="1782" y="2124"/>
                  </a:lnTo>
                  <a:lnTo>
                    <a:pt x="1869" y="2157"/>
                  </a:lnTo>
                  <a:lnTo>
                    <a:pt x="1890" y="2181"/>
                  </a:lnTo>
                  <a:lnTo>
                    <a:pt x="1890" y="2214"/>
                  </a:lnTo>
                  <a:lnTo>
                    <a:pt x="1803" y="2226"/>
                  </a:lnTo>
                  <a:lnTo>
                    <a:pt x="1803" y="2235"/>
                  </a:lnTo>
                  <a:lnTo>
                    <a:pt x="1819" y="2247"/>
                  </a:lnTo>
                  <a:lnTo>
                    <a:pt x="1789" y="2252"/>
                  </a:lnTo>
                  <a:lnTo>
                    <a:pt x="1819" y="2268"/>
                  </a:lnTo>
                  <a:lnTo>
                    <a:pt x="2004" y="2285"/>
                  </a:lnTo>
                  <a:lnTo>
                    <a:pt x="2091" y="2263"/>
                  </a:lnTo>
                  <a:lnTo>
                    <a:pt x="2105" y="2280"/>
                  </a:lnTo>
                  <a:lnTo>
                    <a:pt x="2167" y="2247"/>
                  </a:lnTo>
                  <a:lnTo>
                    <a:pt x="2176" y="2252"/>
                  </a:lnTo>
                  <a:lnTo>
                    <a:pt x="2176" y="2263"/>
                  </a:lnTo>
                  <a:lnTo>
                    <a:pt x="2193" y="2263"/>
                  </a:lnTo>
                  <a:lnTo>
                    <a:pt x="2193" y="2280"/>
                  </a:lnTo>
                  <a:lnTo>
                    <a:pt x="2235" y="2280"/>
                  </a:lnTo>
                  <a:lnTo>
                    <a:pt x="2252" y="2303"/>
                  </a:lnTo>
                  <a:lnTo>
                    <a:pt x="2247" y="2308"/>
                  </a:lnTo>
                  <a:lnTo>
                    <a:pt x="2263" y="2325"/>
                  </a:lnTo>
                  <a:lnTo>
                    <a:pt x="2263" y="2292"/>
                  </a:lnTo>
                  <a:lnTo>
                    <a:pt x="2268" y="2292"/>
                  </a:lnTo>
                  <a:lnTo>
                    <a:pt x="2285" y="2325"/>
                  </a:lnTo>
                  <a:lnTo>
                    <a:pt x="2289" y="2320"/>
                  </a:lnTo>
                  <a:lnTo>
                    <a:pt x="2318" y="2337"/>
                  </a:lnTo>
                  <a:lnTo>
                    <a:pt x="2322" y="2363"/>
                  </a:lnTo>
                  <a:lnTo>
                    <a:pt x="2301" y="2363"/>
                  </a:lnTo>
                  <a:lnTo>
                    <a:pt x="2268" y="2346"/>
                  </a:lnTo>
                  <a:lnTo>
                    <a:pt x="2273" y="2363"/>
                  </a:lnTo>
                  <a:lnTo>
                    <a:pt x="2306" y="2374"/>
                  </a:lnTo>
                  <a:lnTo>
                    <a:pt x="2322" y="2412"/>
                  </a:lnTo>
                  <a:lnTo>
                    <a:pt x="2322" y="2396"/>
                  </a:lnTo>
                  <a:lnTo>
                    <a:pt x="2370" y="2448"/>
                  </a:lnTo>
                  <a:lnTo>
                    <a:pt x="2344" y="2412"/>
                  </a:lnTo>
                  <a:lnTo>
                    <a:pt x="2327" y="2379"/>
                  </a:lnTo>
                  <a:lnTo>
                    <a:pt x="2339" y="2358"/>
                  </a:lnTo>
                  <a:lnTo>
                    <a:pt x="2356" y="2374"/>
                  </a:lnTo>
                  <a:lnTo>
                    <a:pt x="2339" y="2374"/>
                  </a:lnTo>
                  <a:lnTo>
                    <a:pt x="2344" y="2391"/>
                  </a:lnTo>
                  <a:lnTo>
                    <a:pt x="2360" y="2391"/>
                  </a:lnTo>
                  <a:lnTo>
                    <a:pt x="2356" y="2374"/>
                  </a:lnTo>
                  <a:lnTo>
                    <a:pt x="2381" y="2391"/>
                  </a:lnTo>
                  <a:lnTo>
                    <a:pt x="2360" y="2363"/>
                  </a:lnTo>
                  <a:lnTo>
                    <a:pt x="2360" y="2346"/>
                  </a:lnTo>
                  <a:lnTo>
                    <a:pt x="2356" y="2341"/>
                  </a:lnTo>
                  <a:lnTo>
                    <a:pt x="2339" y="2325"/>
                  </a:lnTo>
                  <a:lnTo>
                    <a:pt x="2344" y="2308"/>
                  </a:lnTo>
                  <a:lnTo>
                    <a:pt x="2318" y="2280"/>
                  </a:lnTo>
                  <a:lnTo>
                    <a:pt x="2322" y="2263"/>
                  </a:lnTo>
                  <a:lnTo>
                    <a:pt x="2339" y="2252"/>
                  </a:lnTo>
                  <a:lnTo>
                    <a:pt x="2322" y="2247"/>
                  </a:lnTo>
                  <a:lnTo>
                    <a:pt x="2322" y="2235"/>
                  </a:lnTo>
                  <a:lnTo>
                    <a:pt x="2339" y="2235"/>
                  </a:lnTo>
                  <a:lnTo>
                    <a:pt x="2327" y="2235"/>
                  </a:lnTo>
                  <a:lnTo>
                    <a:pt x="2327" y="2247"/>
                  </a:lnTo>
                  <a:lnTo>
                    <a:pt x="2360" y="2235"/>
                  </a:lnTo>
                  <a:lnTo>
                    <a:pt x="2398" y="2230"/>
                  </a:lnTo>
                  <a:lnTo>
                    <a:pt x="2398" y="2226"/>
                  </a:lnTo>
                  <a:lnTo>
                    <a:pt x="2415" y="2214"/>
                  </a:lnTo>
                  <a:lnTo>
                    <a:pt x="2424" y="2230"/>
                  </a:lnTo>
                  <a:lnTo>
                    <a:pt x="2431" y="2226"/>
                  </a:lnTo>
                  <a:lnTo>
                    <a:pt x="2424" y="2214"/>
                  </a:lnTo>
                  <a:lnTo>
                    <a:pt x="2424" y="2209"/>
                  </a:lnTo>
                  <a:lnTo>
                    <a:pt x="2478" y="2192"/>
                  </a:lnTo>
                  <a:lnTo>
                    <a:pt x="2478" y="2176"/>
                  </a:lnTo>
                  <a:lnTo>
                    <a:pt x="2483" y="2169"/>
                  </a:lnTo>
                  <a:lnTo>
                    <a:pt x="2415" y="2181"/>
                  </a:lnTo>
                  <a:lnTo>
                    <a:pt x="2415" y="2192"/>
                  </a:lnTo>
                  <a:lnTo>
                    <a:pt x="2424" y="2197"/>
                  </a:lnTo>
                  <a:lnTo>
                    <a:pt x="2415" y="2209"/>
                  </a:lnTo>
                  <a:lnTo>
                    <a:pt x="2398" y="2192"/>
                  </a:lnTo>
                  <a:lnTo>
                    <a:pt x="2370" y="2214"/>
                  </a:lnTo>
                  <a:lnTo>
                    <a:pt x="2344" y="2197"/>
                  </a:lnTo>
                  <a:lnTo>
                    <a:pt x="2327" y="2209"/>
                  </a:lnTo>
                  <a:lnTo>
                    <a:pt x="2322" y="2214"/>
                  </a:lnTo>
                  <a:lnTo>
                    <a:pt x="2344" y="2226"/>
                  </a:lnTo>
                  <a:lnTo>
                    <a:pt x="2289" y="2230"/>
                  </a:lnTo>
                  <a:lnTo>
                    <a:pt x="2285" y="2226"/>
                  </a:lnTo>
                  <a:lnTo>
                    <a:pt x="2289" y="2226"/>
                  </a:lnTo>
                  <a:lnTo>
                    <a:pt x="2289" y="2209"/>
                  </a:lnTo>
                  <a:lnTo>
                    <a:pt x="2263" y="2214"/>
                  </a:lnTo>
                  <a:lnTo>
                    <a:pt x="2289" y="2169"/>
                  </a:lnTo>
                  <a:lnTo>
                    <a:pt x="2370" y="2157"/>
                  </a:lnTo>
                  <a:lnTo>
                    <a:pt x="2436" y="2124"/>
                  </a:lnTo>
                  <a:lnTo>
                    <a:pt x="2469" y="2136"/>
                  </a:lnTo>
                  <a:lnTo>
                    <a:pt x="2490" y="2152"/>
                  </a:lnTo>
                  <a:lnTo>
                    <a:pt x="2490" y="2169"/>
                  </a:lnTo>
                  <a:lnTo>
                    <a:pt x="2500" y="2181"/>
                  </a:lnTo>
                  <a:lnTo>
                    <a:pt x="2483" y="2192"/>
                  </a:lnTo>
                  <a:lnTo>
                    <a:pt x="2521" y="2214"/>
                  </a:lnTo>
                  <a:lnTo>
                    <a:pt x="2537" y="2209"/>
                  </a:lnTo>
                  <a:lnTo>
                    <a:pt x="2533" y="2214"/>
                  </a:lnTo>
                  <a:lnTo>
                    <a:pt x="2554" y="2214"/>
                  </a:lnTo>
                  <a:lnTo>
                    <a:pt x="2542" y="2230"/>
                  </a:lnTo>
                  <a:lnTo>
                    <a:pt x="2559" y="2235"/>
                  </a:lnTo>
                  <a:lnTo>
                    <a:pt x="2613" y="2235"/>
                  </a:lnTo>
                  <a:lnTo>
                    <a:pt x="2641" y="2226"/>
                  </a:lnTo>
                  <a:lnTo>
                    <a:pt x="2646" y="2230"/>
                  </a:lnTo>
                  <a:lnTo>
                    <a:pt x="2641" y="2247"/>
                  </a:lnTo>
                  <a:lnTo>
                    <a:pt x="2717" y="2280"/>
                  </a:lnTo>
                  <a:lnTo>
                    <a:pt x="2738" y="2280"/>
                  </a:lnTo>
                  <a:lnTo>
                    <a:pt x="2769" y="2285"/>
                  </a:lnTo>
                  <a:lnTo>
                    <a:pt x="2844" y="2263"/>
                  </a:lnTo>
                  <a:lnTo>
                    <a:pt x="2911" y="2268"/>
                  </a:lnTo>
                  <a:lnTo>
                    <a:pt x="2932" y="2280"/>
                  </a:lnTo>
                  <a:lnTo>
                    <a:pt x="2991" y="2268"/>
                  </a:lnTo>
                  <a:lnTo>
                    <a:pt x="2965" y="2252"/>
                  </a:lnTo>
                  <a:lnTo>
                    <a:pt x="2965" y="2235"/>
                  </a:lnTo>
                  <a:lnTo>
                    <a:pt x="2970" y="2235"/>
                  </a:lnTo>
                  <a:lnTo>
                    <a:pt x="3007" y="2280"/>
                  </a:lnTo>
                  <a:lnTo>
                    <a:pt x="3057" y="2292"/>
                  </a:lnTo>
                  <a:lnTo>
                    <a:pt x="3078" y="2285"/>
                  </a:lnTo>
                  <a:lnTo>
                    <a:pt x="3078" y="2268"/>
                  </a:lnTo>
                  <a:lnTo>
                    <a:pt x="3071" y="2252"/>
                  </a:lnTo>
                  <a:lnTo>
                    <a:pt x="3062" y="2263"/>
                  </a:lnTo>
                  <a:lnTo>
                    <a:pt x="3041" y="2247"/>
                  </a:lnTo>
                  <a:lnTo>
                    <a:pt x="3019" y="2252"/>
                  </a:lnTo>
                  <a:lnTo>
                    <a:pt x="3007" y="2263"/>
                  </a:lnTo>
                  <a:lnTo>
                    <a:pt x="2974" y="2230"/>
                  </a:lnTo>
                  <a:lnTo>
                    <a:pt x="2986" y="2226"/>
                  </a:lnTo>
                  <a:lnTo>
                    <a:pt x="2991" y="2235"/>
                  </a:lnTo>
                  <a:lnTo>
                    <a:pt x="2991" y="2226"/>
                  </a:lnTo>
                  <a:lnTo>
                    <a:pt x="2970" y="2197"/>
                  </a:lnTo>
                  <a:lnTo>
                    <a:pt x="2974" y="2209"/>
                  </a:lnTo>
                  <a:lnTo>
                    <a:pt x="2986" y="2192"/>
                  </a:lnTo>
                  <a:lnTo>
                    <a:pt x="3003" y="2209"/>
                  </a:lnTo>
                  <a:lnTo>
                    <a:pt x="3029" y="2197"/>
                  </a:lnTo>
                  <a:lnTo>
                    <a:pt x="3019" y="2181"/>
                  </a:lnTo>
                  <a:lnTo>
                    <a:pt x="3024" y="2176"/>
                  </a:lnTo>
                  <a:lnTo>
                    <a:pt x="3045" y="2192"/>
                  </a:lnTo>
                  <a:lnTo>
                    <a:pt x="3071" y="2192"/>
                  </a:lnTo>
                  <a:lnTo>
                    <a:pt x="3083" y="2197"/>
                  </a:lnTo>
                  <a:lnTo>
                    <a:pt x="3078" y="2214"/>
                  </a:lnTo>
                  <a:lnTo>
                    <a:pt x="3133" y="2209"/>
                  </a:lnTo>
                  <a:lnTo>
                    <a:pt x="3100" y="2235"/>
                  </a:lnTo>
                  <a:lnTo>
                    <a:pt x="3109" y="2247"/>
                  </a:lnTo>
                  <a:lnTo>
                    <a:pt x="3154" y="2214"/>
                  </a:lnTo>
                  <a:lnTo>
                    <a:pt x="3137" y="2268"/>
                  </a:lnTo>
                  <a:lnTo>
                    <a:pt x="3147" y="2285"/>
                  </a:lnTo>
                  <a:lnTo>
                    <a:pt x="3126" y="2308"/>
                  </a:lnTo>
                  <a:lnTo>
                    <a:pt x="3147" y="2308"/>
                  </a:lnTo>
                  <a:lnTo>
                    <a:pt x="3137" y="2341"/>
                  </a:lnTo>
                  <a:lnTo>
                    <a:pt x="3147" y="2341"/>
                  </a:lnTo>
                  <a:lnTo>
                    <a:pt x="3185" y="2325"/>
                  </a:lnTo>
                  <a:lnTo>
                    <a:pt x="3185" y="2337"/>
                  </a:lnTo>
                  <a:lnTo>
                    <a:pt x="3170" y="2346"/>
                  </a:lnTo>
                  <a:lnTo>
                    <a:pt x="3192" y="2341"/>
                  </a:lnTo>
                  <a:lnTo>
                    <a:pt x="3201" y="2374"/>
                  </a:lnTo>
                  <a:lnTo>
                    <a:pt x="3163" y="2374"/>
                  </a:lnTo>
                  <a:lnTo>
                    <a:pt x="3154" y="2363"/>
                  </a:lnTo>
                  <a:lnTo>
                    <a:pt x="3163" y="2358"/>
                  </a:lnTo>
                  <a:lnTo>
                    <a:pt x="3147" y="2374"/>
                  </a:lnTo>
                  <a:lnTo>
                    <a:pt x="3137" y="2358"/>
                  </a:lnTo>
                  <a:lnTo>
                    <a:pt x="3126" y="2358"/>
                  </a:lnTo>
                  <a:lnTo>
                    <a:pt x="3170" y="2396"/>
                  </a:lnTo>
                  <a:lnTo>
                    <a:pt x="3170" y="2412"/>
                  </a:lnTo>
                  <a:lnTo>
                    <a:pt x="3180" y="2412"/>
                  </a:lnTo>
                  <a:lnTo>
                    <a:pt x="3147" y="2379"/>
                  </a:lnTo>
                  <a:lnTo>
                    <a:pt x="3208" y="2379"/>
                  </a:lnTo>
                  <a:lnTo>
                    <a:pt x="3208" y="2374"/>
                  </a:lnTo>
                  <a:lnTo>
                    <a:pt x="3201" y="2346"/>
                  </a:lnTo>
                  <a:lnTo>
                    <a:pt x="3218" y="2337"/>
                  </a:lnTo>
                  <a:lnTo>
                    <a:pt x="3201" y="2325"/>
                  </a:lnTo>
                  <a:lnTo>
                    <a:pt x="3201" y="2303"/>
                  </a:lnTo>
                  <a:lnTo>
                    <a:pt x="3180" y="2280"/>
                  </a:lnTo>
                  <a:lnTo>
                    <a:pt x="3185" y="2268"/>
                  </a:lnTo>
                  <a:lnTo>
                    <a:pt x="3201" y="2235"/>
                  </a:lnTo>
                  <a:lnTo>
                    <a:pt x="3192" y="2235"/>
                  </a:lnTo>
                  <a:lnTo>
                    <a:pt x="3244" y="2235"/>
                  </a:lnTo>
                  <a:lnTo>
                    <a:pt x="3289" y="2214"/>
                  </a:lnTo>
                  <a:lnTo>
                    <a:pt x="3289" y="2192"/>
                  </a:lnTo>
                  <a:lnTo>
                    <a:pt x="3326" y="2176"/>
                  </a:lnTo>
                  <a:lnTo>
                    <a:pt x="3326" y="2169"/>
                  </a:lnTo>
                  <a:lnTo>
                    <a:pt x="3315" y="2169"/>
                  </a:lnTo>
                  <a:lnTo>
                    <a:pt x="3326" y="2140"/>
                  </a:lnTo>
                  <a:lnTo>
                    <a:pt x="3326" y="2124"/>
                  </a:lnTo>
                  <a:lnTo>
                    <a:pt x="3298" y="2124"/>
                  </a:lnTo>
                  <a:lnTo>
                    <a:pt x="3293" y="2140"/>
                  </a:lnTo>
                  <a:lnTo>
                    <a:pt x="3310" y="2136"/>
                  </a:lnTo>
                  <a:lnTo>
                    <a:pt x="3293" y="2152"/>
                  </a:lnTo>
                  <a:lnTo>
                    <a:pt x="3260" y="2152"/>
                  </a:lnTo>
                  <a:lnTo>
                    <a:pt x="3256" y="2152"/>
                  </a:lnTo>
                  <a:lnTo>
                    <a:pt x="3256" y="2136"/>
                  </a:lnTo>
                  <a:lnTo>
                    <a:pt x="3256" y="2124"/>
                  </a:lnTo>
                  <a:lnTo>
                    <a:pt x="3293" y="2103"/>
                  </a:lnTo>
                  <a:lnTo>
                    <a:pt x="3277" y="2103"/>
                  </a:lnTo>
                  <a:lnTo>
                    <a:pt x="3277" y="2081"/>
                  </a:lnTo>
                  <a:lnTo>
                    <a:pt x="3331" y="2065"/>
                  </a:lnTo>
                  <a:lnTo>
                    <a:pt x="3310" y="2086"/>
                  </a:lnTo>
                  <a:lnTo>
                    <a:pt x="3310" y="2103"/>
                  </a:lnTo>
                  <a:lnTo>
                    <a:pt x="3343" y="2070"/>
                  </a:lnTo>
                  <a:lnTo>
                    <a:pt x="3326" y="2070"/>
                  </a:lnTo>
                  <a:lnTo>
                    <a:pt x="3343" y="2065"/>
                  </a:lnTo>
                  <a:lnTo>
                    <a:pt x="3331" y="2058"/>
                  </a:lnTo>
                  <a:lnTo>
                    <a:pt x="3277" y="2065"/>
                  </a:lnTo>
                  <a:lnTo>
                    <a:pt x="3256" y="2029"/>
                  </a:lnTo>
                  <a:lnTo>
                    <a:pt x="3239" y="2048"/>
                  </a:lnTo>
                  <a:lnTo>
                    <a:pt x="3180" y="2025"/>
                  </a:lnTo>
                  <a:lnTo>
                    <a:pt x="3163" y="2025"/>
                  </a:lnTo>
                  <a:lnTo>
                    <a:pt x="3147" y="2003"/>
                  </a:lnTo>
                  <a:lnTo>
                    <a:pt x="3116" y="1975"/>
                  </a:lnTo>
                  <a:lnTo>
                    <a:pt x="3116" y="1954"/>
                  </a:lnTo>
                  <a:lnTo>
                    <a:pt x="3137" y="1921"/>
                  </a:lnTo>
                  <a:lnTo>
                    <a:pt x="3170" y="1921"/>
                  </a:lnTo>
                  <a:lnTo>
                    <a:pt x="3154" y="1914"/>
                  </a:lnTo>
                  <a:lnTo>
                    <a:pt x="3170" y="1897"/>
                  </a:lnTo>
                  <a:lnTo>
                    <a:pt x="3147" y="1914"/>
                  </a:lnTo>
                  <a:lnTo>
                    <a:pt x="3116" y="1892"/>
                  </a:lnTo>
                  <a:lnTo>
                    <a:pt x="3126" y="1859"/>
                  </a:lnTo>
                  <a:lnTo>
                    <a:pt x="3133" y="1848"/>
                  </a:lnTo>
                  <a:lnTo>
                    <a:pt x="3116" y="1843"/>
                  </a:lnTo>
                  <a:lnTo>
                    <a:pt x="3126" y="1843"/>
                  </a:lnTo>
                  <a:lnTo>
                    <a:pt x="3126" y="1826"/>
                  </a:lnTo>
                  <a:lnTo>
                    <a:pt x="3154" y="1810"/>
                  </a:lnTo>
                  <a:lnTo>
                    <a:pt x="3185" y="1826"/>
                  </a:lnTo>
                  <a:lnTo>
                    <a:pt x="3192" y="1810"/>
                  </a:lnTo>
                  <a:lnTo>
                    <a:pt x="3185" y="1803"/>
                  </a:lnTo>
                  <a:lnTo>
                    <a:pt x="3163" y="1786"/>
                  </a:lnTo>
                  <a:lnTo>
                    <a:pt x="3208" y="1770"/>
                  </a:lnTo>
                  <a:lnTo>
                    <a:pt x="3208" y="1753"/>
                  </a:lnTo>
                  <a:lnTo>
                    <a:pt x="3256" y="1748"/>
                  </a:lnTo>
                  <a:lnTo>
                    <a:pt x="3208" y="1748"/>
                  </a:lnTo>
                  <a:lnTo>
                    <a:pt x="3218" y="1737"/>
                  </a:lnTo>
                  <a:lnTo>
                    <a:pt x="3260" y="1732"/>
                  </a:lnTo>
                  <a:lnTo>
                    <a:pt x="3272" y="1737"/>
                  </a:lnTo>
                  <a:lnTo>
                    <a:pt x="3256" y="1753"/>
                  </a:lnTo>
                  <a:lnTo>
                    <a:pt x="3256" y="1765"/>
                  </a:lnTo>
                  <a:lnTo>
                    <a:pt x="3260" y="1753"/>
                  </a:lnTo>
                  <a:lnTo>
                    <a:pt x="3272" y="1753"/>
                  </a:lnTo>
                  <a:lnTo>
                    <a:pt x="3272" y="1781"/>
                  </a:lnTo>
                  <a:lnTo>
                    <a:pt x="3289" y="1753"/>
                  </a:lnTo>
                  <a:lnTo>
                    <a:pt x="3315" y="1765"/>
                  </a:lnTo>
                  <a:lnTo>
                    <a:pt x="3310" y="1781"/>
                  </a:lnTo>
                  <a:lnTo>
                    <a:pt x="3369" y="1819"/>
                  </a:lnTo>
                  <a:lnTo>
                    <a:pt x="3381" y="1843"/>
                  </a:lnTo>
                  <a:lnTo>
                    <a:pt x="3369" y="1876"/>
                  </a:lnTo>
                  <a:lnTo>
                    <a:pt x="3364" y="1881"/>
                  </a:lnTo>
                  <a:lnTo>
                    <a:pt x="3423" y="1914"/>
                  </a:lnTo>
                  <a:lnTo>
                    <a:pt x="3418" y="1930"/>
                  </a:lnTo>
                  <a:lnTo>
                    <a:pt x="3440" y="1947"/>
                  </a:lnTo>
                  <a:lnTo>
                    <a:pt x="3440" y="1959"/>
                  </a:lnTo>
                  <a:lnTo>
                    <a:pt x="3449" y="1947"/>
                  </a:lnTo>
                  <a:lnTo>
                    <a:pt x="3456" y="1947"/>
                  </a:lnTo>
                  <a:lnTo>
                    <a:pt x="3470" y="1970"/>
                  </a:lnTo>
                  <a:lnTo>
                    <a:pt x="3440" y="1975"/>
                  </a:lnTo>
                  <a:lnTo>
                    <a:pt x="3418" y="1970"/>
                  </a:lnTo>
                  <a:lnTo>
                    <a:pt x="3407" y="1987"/>
                  </a:lnTo>
                  <a:lnTo>
                    <a:pt x="3440" y="1992"/>
                  </a:lnTo>
                  <a:lnTo>
                    <a:pt x="3385" y="2029"/>
                  </a:lnTo>
                  <a:lnTo>
                    <a:pt x="3402" y="2029"/>
                  </a:lnTo>
                  <a:lnTo>
                    <a:pt x="3369" y="2029"/>
                  </a:lnTo>
                  <a:lnTo>
                    <a:pt x="3418" y="2029"/>
                  </a:lnTo>
                  <a:lnTo>
                    <a:pt x="3433" y="2041"/>
                  </a:lnTo>
                  <a:lnTo>
                    <a:pt x="3418" y="2041"/>
                  </a:lnTo>
                  <a:lnTo>
                    <a:pt x="3433" y="2048"/>
                  </a:lnTo>
                  <a:lnTo>
                    <a:pt x="3449" y="2058"/>
                  </a:lnTo>
                  <a:lnTo>
                    <a:pt x="3470" y="2041"/>
                  </a:lnTo>
                  <a:lnTo>
                    <a:pt x="3494" y="2041"/>
                  </a:lnTo>
                  <a:lnTo>
                    <a:pt x="3504" y="2041"/>
                  </a:lnTo>
                  <a:lnTo>
                    <a:pt x="3470" y="2058"/>
                  </a:lnTo>
                  <a:lnTo>
                    <a:pt x="3494" y="2048"/>
                  </a:lnTo>
                  <a:lnTo>
                    <a:pt x="3525" y="2058"/>
                  </a:lnTo>
                  <a:lnTo>
                    <a:pt x="3525" y="2048"/>
                  </a:lnTo>
                  <a:lnTo>
                    <a:pt x="3558" y="2065"/>
                  </a:lnTo>
                  <a:lnTo>
                    <a:pt x="3525" y="2065"/>
                  </a:lnTo>
                  <a:lnTo>
                    <a:pt x="3541" y="2065"/>
                  </a:lnTo>
                  <a:lnTo>
                    <a:pt x="3525" y="2070"/>
                  </a:lnTo>
                  <a:lnTo>
                    <a:pt x="3515" y="2086"/>
                  </a:lnTo>
                  <a:lnTo>
                    <a:pt x="3478" y="2070"/>
                  </a:lnTo>
                  <a:lnTo>
                    <a:pt x="3532" y="2115"/>
                  </a:lnTo>
                  <a:lnTo>
                    <a:pt x="3532" y="2124"/>
                  </a:lnTo>
                  <a:lnTo>
                    <a:pt x="3546" y="2136"/>
                  </a:lnTo>
                  <a:lnTo>
                    <a:pt x="3541" y="2152"/>
                  </a:lnTo>
                  <a:lnTo>
                    <a:pt x="3541" y="2181"/>
                  </a:lnTo>
                  <a:lnTo>
                    <a:pt x="3532" y="2192"/>
                  </a:lnTo>
                  <a:lnTo>
                    <a:pt x="3558" y="2197"/>
                  </a:lnTo>
                  <a:lnTo>
                    <a:pt x="3546" y="2209"/>
                  </a:lnTo>
                  <a:lnTo>
                    <a:pt x="3558" y="2214"/>
                  </a:lnTo>
                  <a:lnTo>
                    <a:pt x="3570" y="2214"/>
                  </a:lnTo>
                  <a:lnTo>
                    <a:pt x="3584" y="2192"/>
                  </a:lnTo>
                  <a:lnTo>
                    <a:pt x="3579" y="2169"/>
                  </a:lnTo>
                  <a:lnTo>
                    <a:pt x="3596" y="2157"/>
                  </a:lnTo>
                  <a:lnTo>
                    <a:pt x="3596" y="2119"/>
                  </a:lnTo>
                  <a:lnTo>
                    <a:pt x="3622" y="2086"/>
                  </a:lnTo>
                  <a:lnTo>
                    <a:pt x="3650" y="2086"/>
                  </a:lnTo>
                  <a:lnTo>
                    <a:pt x="3721" y="2140"/>
                  </a:lnTo>
                  <a:lnTo>
                    <a:pt x="3730" y="2209"/>
                  </a:lnTo>
                  <a:lnTo>
                    <a:pt x="3726" y="2226"/>
                  </a:lnTo>
                  <a:lnTo>
                    <a:pt x="3704" y="2197"/>
                  </a:lnTo>
                  <a:lnTo>
                    <a:pt x="3688" y="2209"/>
                  </a:lnTo>
                  <a:lnTo>
                    <a:pt x="3693" y="2230"/>
                  </a:lnTo>
                  <a:lnTo>
                    <a:pt x="3693" y="2252"/>
                  </a:lnTo>
                  <a:lnTo>
                    <a:pt x="3709" y="2285"/>
                  </a:lnTo>
                  <a:lnTo>
                    <a:pt x="3763" y="2337"/>
                  </a:lnTo>
                  <a:lnTo>
                    <a:pt x="3747" y="2358"/>
                  </a:lnTo>
                  <a:lnTo>
                    <a:pt x="3785" y="2341"/>
                  </a:lnTo>
                  <a:lnTo>
                    <a:pt x="3780" y="2325"/>
                  </a:lnTo>
                  <a:lnTo>
                    <a:pt x="3796" y="2320"/>
                  </a:lnTo>
                  <a:lnTo>
                    <a:pt x="3818" y="2325"/>
                  </a:lnTo>
                  <a:lnTo>
                    <a:pt x="3827" y="2292"/>
                  </a:lnTo>
                  <a:lnTo>
                    <a:pt x="3818" y="2285"/>
                  </a:lnTo>
                  <a:lnTo>
                    <a:pt x="3865" y="2235"/>
                  </a:lnTo>
                  <a:lnTo>
                    <a:pt x="3872" y="2209"/>
                  </a:lnTo>
                  <a:lnTo>
                    <a:pt x="3881" y="2192"/>
                  </a:lnTo>
                  <a:lnTo>
                    <a:pt x="3881" y="2152"/>
                  </a:lnTo>
                  <a:lnTo>
                    <a:pt x="3893" y="2152"/>
                  </a:lnTo>
                  <a:lnTo>
                    <a:pt x="3941" y="2152"/>
                  </a:lnTo>
                  <a:lnTo>
                    <a:pt x="3941" y="2140"/>
                  </a:lnTo>
                  <a:lnTo>
                    <a:pt x="3910" y="2136"/>
                  </a:lnTo>
                  <a:lnTo>
                    <a:pt x="3924" y="2136"/>
                  </a:lnTo>
                  <a:lnTo>
                    <a:pt x="3919" y="2124"/>
                  </a:lnTo>
                  <a:lnTo>
                    <a:pt x="3941" y="2124"/>
                  </a:lnTo>
                  <a:lnTo>
                    <a:pt x="3936" y="2119"/>
                  </a:lnTo>
                  <a:lnTo>
                    <a:pt x="3962" y="2119"/>
                  </a:lnTo>
                  <a:lnTo>
                    <a:pt x="3919" y="2103"/>
                  </a:lnTo>
                  <a:lnTo>
                    <a:pt x="3924" y="2098"/>
                  </a:lnTo>
                  <a:lnTo>
                    <a:pt x="3903" y="2103"/>
                  </a:lnTo>
                  <a:lnTo>
                    <a:pt x="3910" y="2098"/>
                  </a:lnTo>
                  <a:lnTo>
                    <a:pt x="3893" y="2086"/>
                  </a:lnTo>
                  <a:lnTo>
                    <a:pt x="3893" y="2070"/>
                  </a:lnTo>
                  <a:lnTo>
                    <a:pt x="3903" y="2065"/>
                  </a:lnTo>
                  <a:lnTo>
                    <a:pt x="3886" y="2065"/>
                  </a:lnTo>
                  <a:lnTo>
                    <a:pt x="3893" y="2025"/>
                  </a:lnTo>
                  <a:lnTo>
                    <a:pt x="3903" y="2025"/>
                  </a:lnTo>
                  <a:lnTo>
                    <a:pt x="3886" y="2008"/>
                  </a:lnTo>
                  <a:lnTo>
                    <a:pt x="3924" y="2025"/>
                  </a:lnTo>
                  <a:lnTo>
                    <a:pt x="3974" y="2008"/>
                  </a:lnTo>
                  <a:lnTo>
                    <a:pt x="4016" y="2029"/>
                  </a:lnTo>
                  <a:lnTo>
                    <a:pt x="4120" y="2041"/>
                  </a:lnTo>
                  <a:lnTo>
                    <a:pt x="4096" y="2041"/>
                  </a:lnTo>
                  <a:lnTo>
                    <a:pt x="4104" y="2058"/>
                  </a:lnTo>
                  <a:lnTo>
                    <a:pt x="4049" y="2048"/>
                  </a:lnTo>
                  <a:lnTo>
                    <a:pt x="4120" y="2070"/>
                  </a:lnTo>
                  <a:lnTo>
                    <a:pt x="4120" y="2086"/>
                  </a:lnTo>
                  <a:lnTo>
                    <a:pt x="4158" y="2086"/>
                  </a:lnTo>
                  <a:lnTo>
                    <a:pt x="4189" y="2098"/>
                  </a:lnTo>
                  <a:lnTo>
                    <a:pt x="4189" y="2103"/>
                  </a:lnTo>
                  <a:lnTo>
                    <a:pt x="4163" y="2119"/>
                  </a:lnTo>
                  <a:lnTo>
                    <a:pt x="4134" y="2136"/>
                  </a:lnTo>
                  <a:lnTo>
                    <a:pt x="4179" y="2136"/>
                  </a:lnTo>
                  <a:lnTo>
                    <a:pt x="4189" y="2152"/>
                  </a:lnTo>
                  <a:lnTo>
                    <a:pt x="4189" y="2169"/>
                  </a:lnTo>
                  <a:lnTo>
                    <a:pt x="4141" y="2192"/>
                  </a:lnTo>
                  <a:lnTo>
                    <a:pt x="4120" y="2181"/>
                  </a:lnTo>
                  <a:lnTo>
                    <a:pt x="4125" y="2181"/>
                  </a:lnTo>
                  <a:lnTo>
                    <a:pt x="4120" y="2192"/>
                  </a:lnTo>
                  <a:lnTo>
                    <a:pt x="4096" y="2181"/>
                  </a:lnTo>
                  <a:lnTo>
                    <a:pt x="4108" y="2209"/>
                  </a:lnTo>
                  <a:lnTo>
                    <a:pt x="4104" y="2209"/>
                  </a:lnTo>
                  <a:lnTo>
                    <a:pt x="4120" y="2209"/>
                  </a:lnTo>
                  <a:lnTo>
                    <a:pt x="4108" y="2226"/>
                  </a:lnTo>
                  <a:lnTo>
                    <a:pt x="4125" y="2230"/>
                  </a:lnTo>
                  <a:lnTo>
                    <a:pt x="4141" y="2226"/>
                  </a:lnTo>
                  <a:lnTo>
                    <a:pt x="4125" y="2247"/>
                  </a:lnTo>
                  <a:lnTo>
                    <a:pt x="4134" y="2252"/>
                  </a:lnTo>
                  <a:lnTo>
                    <a:pt x="4189" y="2308"/>
                  </a:lnTo>
                  <a:lnTo>
                    <a:pt x="4172" y="2363"/>
                  </a:lnTo>
                  <a:lnTo>
                    <a:pt x="4141" y="2374"/>
                  </a:lnTo>
                  <a:lnTo>
                    <a:pt x="4096" y="2419"/>
                  </a:lnTo>
                  <a:lnTo>
                    <a:pt x="4066" y="2419"/>
                  </a:lnTo>
                  <a:lnTo>
                    <a:pt x="4033" y="2448"/>
                  </a:lnTo>
                  <a:lnTo>
                    <a:pt x="4028" y="2436"/>
                  </a:lnTo>
                  <a:lnTo>
                    <a:pt x="4033" y="2448"/>
                  </a:lnTo>
                  <a:lnTo>
                    <a:pt x="4016" y="2429"/>
                  </a:lnTo>
                  <a:lnTo>
                    <a:pt x="4000" y="2419"/>
                  </a:lnTo>
                  <a:lnTo>
                    <a:pt x="3995" y="2403"/>
                  </a:lnTo>
                  <a:lnTo>
                    <a:pt x="4000" y="2391"/>
                  </a:lnTo>
                  <a:lnTo>
                    <a:pt x="4000" y="2379"/>
                  </a:lnTo>
                  <a:lnTo>
                    <a:pt x="3990" y="2403"/>
                  </a:lnTo>
                  <a:lnTo>
                    <a:pt x="3978" y="2403"/>
                  </a:lnTo>
                  <a:lnTo>
                    <a:pt x="3962" y="2391"/>
                  </a:lnTo>
                  <a:lnTo>
                    <a:pt x="3974" y="2374"/>
                  </a:lnTo>
                  <a:lnTo>
                    <a:pt x="3936" y="2358"/>
                  </a:lnTo>
                  <a:lnTo>
                    <a:pt x="3936" y="2374"/>
                  </a:lnTo>
                  <a:lnTo>
                    <a:pt x="3957" y="2374"/>
                  </a:lnTo>
                  <a:lnTo>
                    <a:pt x="3924" y="2374"/>
                  </a:lnTo>
                  <a:lnTo>
                    <a:pt x="3910" y="2379"/>
                  </a:lnTo>
                  <a:lnTo>
                    <a:pt x="3957" y="2374"/>
                  </a:lnTo>
                  <a:lnTo>
                    <a:pt x="3945" y="2379"/>
                  </a:lnTo>
                  <a:lnTo>
                    <a:pt x="3962" y="2391"/>
                  </a:lnTo>
                  <a:lnTo>
                    <a:pt x="3945" y="2391"/>
                  </a:lnTo>
                  <a:lnTo>
                    <a:pt x="3962" y="2396"/>
                  </a:lnTo>
                  <a:lnTo>
                    <a:pt x="3962" y="2403"/>
                  </a:lnTo>
                  <a:lnTo>
                    <a:pt x="3990" y="2403"/>
                  </a:lnTo>
                  <a:lnTo>
                    <a:pt x="3990" y="2412"/>
                  </a:lnTo>
                  <a:lnTo>
                    <a:pt x="4016" y="2469"/>
                  </a:lnTo>
                  <a:lnTo>
                    <a:pt x="4011" y="2469"/>
                  </a:lnTo>
                  <a:lnTo>
                    <a:pt x="3962" y="2436"/>
                  </a:lnTo>
                  <a:lnTo>
                    <a:pt x="3957" y="2452"/>
                  </a:lnTo>
                  <a:lnTo>
                    <a:pt x="3974" y="2469"/>
                  </a:lnTo>
                  <a:lnTo>
                    <a:pt x="3910" y="2457"/>
                  </a:lnTo>
                  <a:lnTo>
                    <a:pt x="3893" y="2419"/>
                  </a:lnTo>
                  <a:lnTo>
                    <a:pt x="3872" y="2429"/>
                  </a:lnTo>
                  <a:lnTo>
                    <a:pt x="3801" y="2429"/>
                  </a:lnTo>
                  <a:lnTo>
                    <a:pt x="3811" y="2436"/>
                  </a:lnTo>
                  <a:lnTo>
                    <a:pt x="3801" y="2436"/>
                  </a:lnTo>
                  <a:lnTo>
                    <a:pt x="3811" y="2452"/>
                  </a:lnTo>
                  <a:lnTo>
                    <a:pt x="3865" y="2469"/>
                  </a:lnTo>
                  <a:lnTo>
                    <a:pt x="3855" y="2485"/>
                  </a:lnTo>
                  <a:lnTo>
                    <a:pt x="3827" y="2502"/>
                  </a:lnTo>
                  <a:lnTo>
                    <a:pt x="3818" y="2523"/>
                  </a:lnTo>
                  <a:lnTo>
                    <a:pt x="3763" y="2568"/>
                  </a:lnTo>
                  <a:lnTo>
                    <a:pt x="3721" y="2563"/>
                  </a:lnTo>
                  <a:lnTo>
                    <a:pt x="3655" y="2530"/>
                  </a:lnTo>
                  <a:lnTo>
                    <a:pt x="3676" y="2530"/>
                  </a:lnTo>
                  <a:lnTo>
                    <a:pt x="3650" y="2523"/>
                  </a:lnTo>
                  <a:lnTo>
                    <a:pt x="3600" y="2490"/>
                  </a:lnTo>
                  <a:lnTo>
                    <a:pt x="3579" y="2490"/>
                  </a:lnTo>
                  <a:lnTo>
                    <a:pt x="3596" y="2502"/>
                  </a:lnTo>
                  <a:lnTo>
                    <a:pt x="3596" y="2507"/>
                  </a:lnTo>
                  <a:lnTo>
                    <a:pt x="3546" y="2502"/>
                  </a:lnTo>
                  <a:lnTo>
                    <a:pt x="3563" y="2502"/>
                  </a:lnTo>
                  <a:lnTo>
                    <a:pt x="3478" y="2490"/>
                  </a:lnTo>
                  <a:lnTo>
                    <a:pt x="3508" y="2507"/>
                  </a:lnTo>
                  <a:lnTo>
                    <a:pt x="3504" y="2502"/>
                  </a:lnTo>
                  <a:lnTo>
                    <a:pt x="3579" y="2514"/>
                  </a:lnTo>
                  <a:lnTo>
                    <a:pt x="3638" y="2568"/>
                  </a:lnTo>
                  <a:lnTo>
                    <a:pt x="3763" y="2568"/>
                  </a:lnTo>
                  <a:lnTo>
                    <a:pt x="3796" y="2585"/>
                  </a:lnTo>
                  <a:lnTo>
                    <a:pt x="3747" y="2658"/>
                  </a:lnTo>
                  <a:lnTo>
                    <a:pt x="3730" y="2667"/>
                  </a:lnTo>
                  <a:lnTo>
                    <a:pt x="3721" y="2696"/>
                  </a:lnTo>
                  <a:lnTo>
                    <a:pt x="3709" y="2707"/>
                  </a:lnTo>
                  <a:lnTo>
                    <a:pt x="3667" y="2729"/>
                  </a:lnTo>
                  <a:lnTo>
                    <a:pt x="3638" y="2724"/>
                  </a:lnTo>
                  <a:lnTo>
                    <a:pt x="3633" y="2707"/>
                  </a:lnTo>
                  <a:lnTo>
                    <a:pt x="3650" y="2729"/>
                  </a:lnTo>
                  <a:lnTo>
                    <a:pt x="3612" y="2712"/>
                  </a:lnTo>
                  <a:lnTo>
                    <a:pt x="3612" y="2729"/>
                  </a:lnTo>
                  <a:lnTo>
                    <a:pt x="3584" y="2712"/>
                  </a:lnTo>
                  <a:lnTo>
                    <a:pt x="3596" y="2707"/>
                  </a:lnTo>
                  <a:lnTo>
                    <a:pt x="3596" y="2696"/>
                  </a:lnTo>
                  <a:lnTo>
                    <a:pt x="3584" y="2707"/>
                  </a:lnTo>
                  <a:lnTo>
                    <a:pt x="3570" y="2707"/>
                  </a:lnTo>
                  <a:lnTo>
                    <a:pt x="3579" y="2712"/>
                  </a:lnTo>
                  <a:lnTo>
                    <a:pt x="3584" y="2729"/>
                  </a:lnTo>
                  <a:lnTo>
                    <a:pt x="3558" y="2724"/>
                  </a:lnTo>
                  <a:lnTo>
                    <a:pt x="3579" y="2745"/>
                  </a:lnTo>
                  <a:lnTo>
                    <a:pt x="3563" y="2769"/>
                  </a:lnTo>
                  <a:lnTo>
                    <a:pt x="3532" y="2752"/>
                  </a:lnTo>
                  <a:lnTo>
                    <a:pt x="3525" y="2762"/>
                  </a:lnTo>
                  <a:lnTo>
                    <a:pt x="3532" y="2762"/>
                  </a:lnTo>
                  <a:lnTo>
                    <a:pt x="3541" y="2769"/>
                  </a:lnTo>
                  <a:lnTo>
                    <a:pt x="3508" y="2769"/>
                  </a:lnTo>
                  <a:lnTo>
                    <a:pt x="3470" y="2752"/>
                  </a:lnTo>
                  <a:lnTo>
                    <a:pt x="3423" y="2752"/>
                  </a:lnTo>
                  <a:lnTo>
                    <a:pt x="3343" y="2724"/>
                  </a:lnTo>
                  <a:lnTo>
                    <a:pt x="3310" y="2696"/>
                  </a:lnTo>
                  <a:lnTo>
                    <a:pt x="3326" y="2712"/>
                  </a:lnTo>
                  <a:lnTo>
                    <a:pt x="3315" y="2729"/>
                  </a:lnTo>
                  <a:lnTo>
                    <a:pt x="3331" y="2736"/>
                  </a:lnTo>
                  <a:lnTo>
                    <a:pt x="3352" y="2736"/>
                  </a:lnTo>
                  <a:lnTo>
                    <a:pt x="3331" y="2729"/>
                  </a:lnTo>
                  <a:lnTo>
                    <a:pt x="3343" y="2729"/>
                  </a:lnTo>
                  <a:lnTo>
                    <a:pt x="3433" y="2752"/>
                  </a:lnTo>
                  <a:lnTo>
                    <a:pt x="3402" y="2778"/>
                  </a:lnTo>
                  <a:lnTo>
                    <a:pt x="3456" y="2752"/>
                  </a:lnTo>
                  <a:lnTo>
                    <a:pt x="3461" y="2769"/>
                  </a:lnTo>
                  <a:lnTo>
                    <a:pt x="3515" y="2790"/>
                  </a:lnTo>
                  <a:lnTo>
                    <a:pt x="3508" y="2785"/>
                  </a:lnTo>
                  <a:lnTo>
                    <a:pt x="3525" y="2790"/>
                  </a:lnTo>
                  <a:lnTo>
                    <a:pt x="3532" y="2835"/>
                  </a:lnTo>
                  <a:lnTo>
                    <a:pt x="3525" y="2840"/>
                  </a:lnTo>
                  <a:lnTo>
                    <a:pt x="3504" y="2840"/>
                  </a:lnTo>
                  <a:lnTo>
                    <a:pt x="3478" y="2856"/>
                  </a:lnTo>
                  <a:lnTo>
                    <a:pt x="3407" y="2856"/>
                  </a:lnTo>
                  <a:lnTo>
                    <a:pt x="3418" y="2873"/>
                  </a:lnTo>
                  <a:lnTo>
                    <a:pt x="3449" y="2880"/>
                  </a:lnTo>
                  <a:lnTo>
                    <a:pt x="3433" y="2889"/>
                  </a:lnTo>
                  <a:lnTo>
                    <a:pt x="3418" y="2880"/>
                  </a:lnTo>
                  <a:lnTo>
                    <a:pt x="3385" y="2896"/>
                  </a:lnTo>
                  <a:lnTo>
                    <a:pt x="3385" y="2913"/>
                  </a:lnTo>
                  <a:lnTo>
                    <a:pt x="3402" y="2934"/>
                  </a:lnTo>
                  <a:lnTo>
                    <a:pt x="3385" y="2918"/>
                  </a:lnTo>
                  <a:lnTo>
                    <a:pt x="3352" y="2913"/>
                  </a:lnTo>
                  <a:lnTo>
                    <a:pt x="3385" y="2929"/>
                  </a:lnTo>
                  <a:lnTo>
                    <a:pt x="3364" y="2929"/>
                  </a:lnTo>
                  <a:lnTo>
                    <a:pt x="3369" y="2934"/>
                  </a:lnTo>
                  <a:lnTo>
                    <a:pt x="3352" y="2946"/>
                  </a:lnTo>
                  <a:lnTo>
                    <a:pt x="3343" y="2946"/>
                  </a:lnTo>
                  <a:lnTo>
                    <a:pt x="3352" y="2951"/>
                  </a:lnTo>
                  <a:lnTo>
                    <a:pt x="3348" y="2955"/>
                  </a:lnTo>
                  <a:lnTo>
                    <a:pt x="3326" y="2951"/>
                  </a:lnTo>
                  <a:lnTo>
                    <a:pt x="3326" y="2967"/>
                  </a:lnTo>
                  <a:lnTo>
                    <a:pt x="3348" y="2974"/>
                  </a:lnTo>
                  <a:lnTo>
                    <a:pt x="3298" y="3007"/>
                  </a:lnTo>
                  <a:lnTo>
                    <a:pt x="3310" y="3024"/>
                  </a:lnTo>
                  <a:lnTo>
                    <a:pt x="3272" y="3078"/>
                  </a:lnTo>
                  <a:lnTo>
                    <a:pt x="3260" y="3111"/>
                  </a:lnTo>
                  <a:lnTo>
                    <a:pt x="3244" y="3111"/>
                  </a:lnTo>
                  <a:lnTo>
                    <a:pt x="3256" y="3123"/>
                  </a:lnTo>
                  <a:lnTo>
                    <a:pt x="3239" y="3173"/>
                  </a:lnTo>
                  <a:lnTo>
                    <a:pt x="3239" y="3206"/>
                  </a:lnTo>
                  <a:lnTo>
                    <a:pt x="3244" y="3234"/>
                  </a:lnTo>
                  <a:lnTo>
                    <a:pt x="3239" y="3246"/>
                  </a:lnTo>
                  <a:lnTo>
                    <a:pt x="3239" y="3263"/>
                  </a:lnTo>
                  <a:lnTo>
                    <a:pt x="3260" y="3300"/>
                  </a:lnTo>
                  <a:lnTo>
                    <a:pt x="3277" y="3300"/>
                  </a:lnTo>
                  <a:lnTo>
                    <a:pt x="3272" y="3355"/>
                  </a:lnTo>
                  <a:lnTo>
                    <a:pt x="3277" y="3338"/>
                  </a:lnTo>
                  <a:lnTo>
                    <a:pt x="3277" y="3317"/>
                  </a:lnTo>
                  <a:lnTo>
                    <a:pt x="3289" y="3300"/>
                  </a:lnTo>
                  <a:lnTo>
                    <a:pt x="3352" y="3300"/>
                  </a:lnTo>
                  <a:lnTo>
                    <a:pt x="3407" y="3449"/>
                  </a:lnTo>
                  <a:lnTo>
                    <a:pt x="3395" y="3473"/>
                  </a:lnTo>
                  <a:lnTo>
                    <a:pt x="3381" y="3489"/>
                  </a:lnTo>
                  <a:lnTo>
                    <a:pt x="3407" y="3473"/>
                  </a:lnTo>
                  <a:lnTo>
                    <a:pt x="3423" y="3473"/>
                  </a:lnTo>
                  <a:lnTo>
                    <a:pt x="3402" y="3489"/>
                  </a:lnTo>
                  <a:lnTo>
                    <a:pt x="3508" y="3461"/>
                  </a:lnTo>
                  <a:lnTo>
                    <a:pt x="3667" y="3499"/>
                  </a:lnTo>
                  <a:lnTo>
                    <a:pt x="3721" y="3539"/>
                  </a:lnTo>
                  <a:lnTo>
                    <a:pt x="3742" y="3572"/>
                  </a:lnTo>
                  <a:lnTo>
                    <a:pt x="3763" y="3584"/>
                  </a:lnTo>
                  <a:lnTo>
                    <a:pt x="3881" y="3626"/>
                  </a:lnTo>
                  <a:lnTo>
                    <a:pt x="3903" y="3650"/>
                  </a:lnTo>
                  <a:lnTo>
                    <a:pt x="3919" y="3650"/>
                  </a:lnTo>
                  <a:lnTo>
                    <a:pt x="3893" y="3688"/>
                  </a:lnTo>
                  <a:lnTo>
                    <a:pt x="3910" y="3666"/>
                  </a:lnTo>
                  <a:lnTo>
                    <a:pt x="3924" y="3655"/>
                  </a:lnTo>
                  <a:lnTo>
                    <a:pt x="3957" y="3666"/>
                  </a:lnTo>
                  <a:lnTo>
                    <a:pt x="4000" y="3655"/>
                  </a:lnTo>
                  <a:lnTo>
                    <a:pt x="4028" y="3671"/>
                  </a:lnTo>
                  <a:lnTo>
                    <a:pt x="4016" y="3655"/>
                  </a:lnTo>
                  <a:lnTo>
                    <a:pt x="4070" y="3666"/>
                  </a:lnTo>
                  <a:lnTo>
                    <a:pt x="4108" y="3683"/>
                  </a:lnTo>
                  <a:lnTo>
                    <a:pt x="4120" y="3671"/>
                  </a:lnTo>
                  <a:lnTo>
                    <a:pt x="4125" y="3704"/>
                  </a:lnTo>
                  <a:lnTo>
                    <a:pt x="4108" y="3749"/>
                  </a:lnTo>
                  <a:lnTo>
                    <a:pt x="4108" y="3766"/>
                  </a:lnTo>
                  <a:lnTo>
                    <a:pt x="4120" y="3777"/>
                  </a:lnTo>
                  <a:lnTo>
                    <a:pt x="4125" y="3806"/>
                  </a:lnTo>
                  <a:lnTo>
                    <a:pt x="4125" y="3822"/>
                  </a:lnTo>
                  <a:lnTo>
                    <a:pt x="4125" y="3855"/>
                  </a:lnTo>
                  <a:lnTo>
                    <a:pt x="4120" y="3872"/>
                  </a:lnTo>
                  <a:lnTo>
                    <a:pt x="4120" y="3877"/>
                  </a:lnTo>
                  <a:lnTo>
                    <a:pt x="4172" y="3943"/>
                  </a:lnTo>
                  <a:lnTo>
                    <a:pt x="4172" y="3950"/>
                  </a:lnTo>
                  <a:lnTo>
                    <a:pt x="4151" y="3966"/>
                  </a:lnTo>
                  <a:lnTo>
                    <a:pt x="4172" y="3959"/>
                  </a:lnTo>
                  <a:lnTo>
                    <a:pt x="4179" y="3971"/>
                  </a:lnTo>
                  <a:lnTo>
                    <a:pt x="4210" y="3983"/>
                  </a:lnTo>
                  <a:lnTo>
                    <a:pt x="4233" y="4016"/>
                  </a:lnTo>
                  <a:lnTo>
                    <a:pt x="4248" y="4044"/>
                  </a:lnTo>
                  <a:lnTo>
                    <a:pt x="4205" y="4077"/>
                  </a:lnTo>
                  <a:lnTo>
                    <a:pt x="4248" y="4044"/>
                  </a:lnTo>
                  <a:lnTo>
                    <a:pt x="4271" y="4044"/>
                  </a:lnTo>
                  <a:lnTo>
                    <a:pt x="4297" y="4061"/>
                  </a:lnTo>
                  <a:lnTo>
                    <a:pt x="4323" y="4099"/>
                  </a:lnTo>
                  <a:lnTo>
                    <a:pt x="4297" y="4061"/>
                  </a:lnTo>
                  <a:lnTo>
                    <a:pt x="4302" y="4037"/>
                  </a:lnTo>
                  <a:lnTo>
                    <a:pt x="4323" y="4016"/>
                  </a:lnTo>
                  <a:lnTo>
                    <a:pt x="4335" y="4016"/>
                  </a:lnTo>
                  <a:lnTo>
                    <a:pt x="4323" y="4025"/>
                  </a:lnTo>
                  <a:lnTo>
                    <a:pt x="4352" y="4025"/>
                  </a:lnTo>
                  <a:lnTo>
                    <a:pt x="4352" y="4054"/>
                  </a:lnTo>
                  <a:lnTo>
                    <a:pt x="4356" y="4061"/>
                  </a:lnTo>
                  <a:lnTo>
                    <a:pt x="4356" y="4054"/>
                  </a:lnTo>
                  <a:lnTo>
                    <a:pt x="4368" y="4025"/>
                  </a:lnTo>
                  <a:lnTo>
                    <a:pt x="4368" y="4021"/>
                  </a:lnTo>
                  <a:lnTo>
                    <a:pt x="4340" y="4004"/>
                  </a:lnTo>
                  <a:lnTo>
                    <a:pt x="4356" y="4000"/>
                  </a:lnTo>
                  <a:lnTo>
                    <a:pt x="4356" y="3988"/>
                  </a:lnTo>
                  <a:lnTo>
                    <a:pt x="4378" y="3971"/>
                  </a:lnTo>
                  <a:lnTo>
                    <a:pt x="4378" y="3933"/>
                  </a:lnTo>
                  <a:lnTo>
                    <a:pt x="4368" y="3926"/>
                  </a:lnTo>
                  <a:lnTo>
                    <a:pt x="4373" y="3926"/>
                  </a:lnTo>
                  <a:lnTo>
                    <a:pt x="4368" y="3905"/>
                  </a:lnTo>
                  <a:lnTo>
                    <a:pt x="4368" y="3893"/>
                  </a:lnTo>
                  <a:lnTo>
                    <a:pt x="4356" y="3893"/>
                  </a:lnTo>
                  <a:lnTo>
                    <a:pt x="4356" y="3855"/>
                  </a:lnTo>
                  <a:lnTo>
                    <a:pt x="4340" y="3832"/>
                  </a:lnTo>
                  <a:lnTo>
                    <a:pt x="4356" y="3832"/>
                  </a:lnTo>
                  <a:lnTo>
                    <a:pt x="4335" y="3815"/>
                  </a:lnTo>
                  <a:lnTo>
                    <a:pt x="4340" y="3799"/>
                  </a:lnTo>
                  <a:lnTo>
                    <a:pt x="4356" y="3806"/>
                  </a:lnTo>
                  <a:lnTo>
                    <a:pt x="4340" y="3794"/>
                  </a:lnTo>
                  <a:lnTo>
                    <a:pt x="4340" y="3782"/>
                  </a:lnTo>
                  <a:lnTo>
                    <a:pt x="4352" y="3782"/>
                  </a:lnTo>
                  <a:lnTo>
                    <a:pt x="4340" y="3777"/>
                  </a:lnTo>
                  <a:lnTo>
                    <a:pt x="4340" y="3766"/>
                  </a:lnTo>
                  <a:lnTo>
                    <a:pt x="4323" y="3766"/>
                  </a:lnTo>
                  <a:lnTo>
                    <a:pt x="4314" y="3728"/>
                  </a:lnTo>
                  <a:lnTo>
                    <a:pt x="4297" y="3721"/>
                  </a:lnTo>
                  <a:lnTo>
                    <a:pt x="4394" y="3683"/>
                  </a:lnTo>
                  <a:lnTo>
                    <a:pt x="4432" y="3655"/>
                  </a:lnTo>
                  <a:lnTo>
                    <a:pt x="4474" y="3626"/>
                  </a:lnTo>
                  <a:lnTo>
                    <a:pt x="4512" y="3584"/>
                  </a:lnTo>
                  <a:lnTo>
                    <a:pt x="4519" y="3544"/>
                  </a:lnTo>
                  <a:lnTo>
                    <a:pt x="4519" y="3473"/>
                  </a:lnTo>
                  <a:lnTo>
                    <a:pt x="4498" y="3407"/>
                  </a:lnTo>
                  <a:lnTo>
                    <a:pt x="4460" y="3355"/>
                  </a:lnTo>
                  <a:lnTo>
                    <a:pt x="4422" y="3338"/>
                  </a:lnTo>
                  <a:lnTo>
                    <a:pt x="4389" y="3317"/>
                  </a:lnTo>
                  <a:lnTo>
                    <a:pt x="4394" y="3322"/>
                  </a:lnTo>
                  <a:lnTo>
                    <a:pt x="4378" y="3317"/>
                  </a:lnTo>
                  <a:lnTo>
                    <a:pt x="4389" y="3305"/>
                  </a:lnTo>
                  <a:lnTo>
                    <a:pt x="4378" y="3279"/>
                  </a:lnTo>
                  <a:lnTo>
                    <a:pt x="4394" y="3284"/>
                  </a:lnTo>
                  <a:lnTo>
                    <a:pt x="4411" y="3251"/>
                  </a:lnTo>
                  <a:lnTo>
                    <a:pt x="4444" y="3227"/>
                  </a:lnTo>
                  <a:lnTo>
                    <a:pt x="4427" y="3227"/>
                  </a:lnTo>
                  <a:lnTo>
                    <a:pt x="4432" y="3211"/>
                  </a:lnTo>
                  <a:lnTo>
                    <a:pt x="4432" y="3194"/>
                  </a:lnTo>
                  <a:lnTo>
                    <a:pt x="4465" y="3211"/>
                  </a:lnTo>
                  <a:lnTo>
                    <a:pt x="4448" y="3194"/>
                  </a:lnTo>
                  <a:lnTo>
                    <a:pt x="4465" y="3189"/>
                  </a:lnTo>
                  <a:lnTo>
                    <a:pt x="4460" y="3173"/>
                  </a:lnTo>
                  <a:lnTo>
                    <a:pt x="4503" y="3151"/>
                  </a:lnTo>
                  <a:lnTo>
                    <a:pt x="4474" y="3151"/>
                  </a:lnTo>
                  <a:lnTo>
                    <a:pt x="4465" y="3168"/>
                  </a:lnTo>
                  <a:lnTo>
                    <a:pt x="4448" y="3156"/>
                  </a:lnTo>
                  <a:lnTo>
                    <a:pt x="4460" y="3140"/>
                  </a:lnTo>
                  <a:lnTo>
                    <a:pt x="4432" y="3123"/>
                  </a:lnTo>
                  <a:lnTo>
                    <a:pt x="4460" y="3111"/>
                  </a:lnTo>
                  <a:lnTo>
                    <a:pt x="4427" y="3095"/>
                  </a:lnTo>
                  <a:lnTo>
                    <a:pt x="4448" y="3078"/>
                  </a:lnTo>
                  <a:lnTo>
                    <a:pt x="4406" y="3078"/>
                  </a:lnTo>
                  <a:lnTo>
                    <a:pt x="4444" y="3029"/>
                  </a:lnTo>
                  <a:lnTo>
                    <a:pt x="4432" y="3012"/>
                  </a:lnTo>
                  <a:lnTo>
                    <a:pt x="4448" y="3007"/>
                  </a:lnTo>
                  <a:lnTo>
                    <a:pt x="4448" y="3000"/>
                  </a:lnTo>
                  <a:lnTo>
                    <a:pt x="4460" y="3000"/>
                  </a:lnTo>
                  <a:lnTo>
                    <a:pt x="4422" y="2974"/>
                  </a:lnTo>
                  <a:lnTo>
                    <a:pt x="4406" y="2929"/>
                  </a:lnTo>
                  <a:lnTo>
                    <a:pt x="4422" y="2901"/>
                  </a:lnTo>
                  <a:lnTo>
                    <a:pt x="4448" y="2889"/>
                  </a:lnTo>
                  <a:lnTo>
                    <a:pt x="4498" y="2889"/>
                  </a:lnTo>
                  <a:lnTo>
                    <a:pt x="4583" y="2913"/>
                  </a:lnTo>
                  <a:lnTo>
                    <a:pt x="4567" y="2929"/>
                  </a:lnTo>
                  <a:lnTo>
                    <a:pt x="4604" y="2913"/>
                  </a:lnTo>
                  <a:lnTo>
                    <a:pt x="4659" y="2934"/>
                  </a:lnTo>
                  <a:lnTo>
                    <a:pt x="4642" y="2929"/>
                  </a:lnTo>
                  <a:lnTo>
                    <a:pt x="4718" y="2896"/>
                  </a:lnTo>
                  <a:lnTo>
                    <a:pt x="4772" y="2934"/>
                  </a:lnTo>
                  <a:lnTo>
                    <a:pt x="4798" y="2934"/>
                  </a:lnTo>
                  <a:lnTo>
                    <a:pt x="4798" y="2951"/>
                  </a:lnTo>
                  <a:lnTo>
                    <a:pt x="4789" y="2967"/>
                  </a:lnTo>
                  <a:lnTo>
                    <a:pt x="4798" y="2967"/>
                  </a:lnTo>
                  <a:lnTo>
                    <a:pt x="4798" y="2955"/>
                  </a:lnTo>
                  <a:lnTo>
                    <a:pt x="4822" y="2955"/>
                  </a:lnTo>
                  <a:lnTo>
                    <a:pt x="4836" y="2984"/>
                  </a:lnTo>
                  <a:lnTo>
                    <a:pt x="4822" y="3000"/>
                  </a:lnTo>
                  <a:lnTo>
                    <a:pt x="4843" y="2991"/>
                  </a:lnTo>
                  <a:lnTo>
                    <a:pt x="4843" y="2984"/>
                  </a:lnTo>
                  <a:lnTo>
                    <a:pt x="4864" y="2991"/>
                  </a:lnTo>
                  <a:lnTo>
                    <a:pt x="4874" y="3000"/>
                  </a:lnTo>
                  <a:lnTo>
                    <a:pt x="4843" y="3012"/>
                  </a:lnTo>
                  <a:lnTo>
                    <a:pt x="4859" y="3012"/>
                  </a:lnTo>
                  <a:lnTo>
                    <a:pt x="4881" y="3045"/>
                  </a:lnTo>
                  <a:lnTo>
                    <a:pt x="4944" y="3057"/>
                  </a:lnTo>
                  <a:lnTo>
                    <a:pt x="4966" y="3045"/>
                  </a:lnTo>
                  <a:lnTo>
                    <a:pt x="4973" y="3066"/>
                  </a:lnTo>
                  <a:lnTo>
                    <a:pt x="4982" y="3078"/>
                  </a:lnTo>
                  <a:lnTo>
                    <a:pt x="4999" y="3066"/>
                  </a:lnTo>
                  <a:lnTo>
                    <a:pt x="5004" y="3066"/>
                  </a:lnTo>
                  <a:lnTo>
                    <a:pt x="5004" y="3057"/>
                  </a:lnTo>
                  <a:lnTo>
                    <a:pt x="5015" y="3045"/>
                  </a:lnTo>
                  <a:lnTo>
                    <a:pt x="5020" y="3078"/>
                  </a:lnTo>
                  <a:lnTo>
                    <a:pt x="4999" y="3095"/>
                  </a:lnTo>
                  <a:lnTo>
                    <a:pt x="5004" y="3100"/>
                  </a:lnTo>
                  <a:lnTo>
                    <a:pt x="4987" y="3111"/>
                  </a:lnTo>
                  <a:lnTo>
                    <a:pt x="4999" y="3123"/>
                  </a:lnTo>
                  <a:lnTo>
                    <a:pt x="4999" y="3135"/>
                  </a:lnTo>
                  <a:lnTo>
                    <a:pt x="5004" y="3140"/>
                  </a:lnTo>
                  <a:lnTo>
                    <a:pt x="5004" y="3156"/>
                  </a:lnTo>
                  <a:lnTo>
                    <a:pt x="4944" y="3168"/>
                  </a:lnTo>
                  <a:lnTo>
                    <a:pt x="4911" y="3156"/>
                  </a:lnTo>
                  <a:lnTo>
                    <a:pt x="4935" y="3173"/>
                  </a:lnTo>
                  <a:lnTo>
                    <a:pt x="4999" y="3173"/>
                  </a:lnTo>
                  <a:lnTo>
                    <a:pt x="5004" y="3177"/>
                  </a:lnTo>
                  <a:lnTo>
                    <a:pt x="5015" y="3206"/>
                  </a:lnTo>
                  <a:lnTo>
                    <a:pt x="4999" y="3222"/>
                  </a:lnTo>
                  <a:lnTo>
                    <a:pt x="5004" y="3234"/>
                  </a:lnTo>
                  <a:lnTo>
                    <a:pt x="4999" y="3234"/>
                  </a:lnTo>
                  <a:lnTo>
                    <a:pt x="5020" y="3234"/>
                  </a:lnTo>
                  <a:lnTo>
                    <a:pt x="5025" y="3234"/>
                  </a:lnTo>
                  <a:lnTo>
                    <a:pt x="5037" y="3251"/>
                  </a:lnTo>
                  <a:lnTo>
                    <a:pt x="5015" y="3251"/>
                  </a:lnTo>
                  <a:lnTo>
                    <a:pt x="5015" y="3263"/>
                  </a:lnTo>
                  <a:lnTo>
                    <a:pt x="5025" y="3263"/>
                  </a:lnTo>
                  <a:lnTo>
                    <a:pt x="5015" y="3267"/>
                  </a:lnTo>
                  <a:lnTo>
                    <a:pt x="5020" y="3284"/>
                  </a:lnTo>
                  <a:lnTo>
                    <a:pt x="5015" y="3296"/>
                  </a:lnTo>
                  <a:lnTo>
                    <a:pt x="5004" y="3296"/>
                  </a:lnTo>
                  <a:lnTo>
                    <a:pt x="5004" y="3284"/>
                  </a:lnTo>
                  <a:lnTo>
                    <a:pt x="4987" y="3267"/>
                  </a:lnTo>
                  <a:lnTo>
                    <a:pt x="4987" y="3296"/>
                  </a:lnTo>
                  <a:lnTo>
                    <a:pt x="4966" y="3300"/>
                  </a:lnTo>
                  <a:lnTo>
                    <a:pt x="4982" y="3300"/>
                  </a:lnTo>
                  <a:lnTo>
                    <a:pt x="4987" y="3317"/>
                  </a:lnTo>
                  <a:lnTo>
                    <a:pt x="5025" y="3284"/>
                  </a:lnTo>
                  <a:lnTo>
                    <a:pt x="5070" y="3284"/>
                  </a:lnTo>
                  <a:lnTo>
                    <a:pt x="5096" y="3300"/>
                  </a:lnTo>
                  <a:lnTo>
                    <a:pt x="5107" y="3333"/>
                  </a:lnTo>
                  <a:lnTo>
                    <a:pt x="5096" y="3362"/>
                  </a:lnTo>
                  <a:lnTo>
                    <a:pt x="5020" y="3407"/>
                  </a:lnTo>
                  <a:lnTo>
                    <a:pt x="5091" y="3374"/>
                  </a:lnTo>
                  <a:lnTo>
                    <a:pt x="5107" y="3333"/>
                  </a:lnTo>
                  <a:lnTo>
                    <a:pt x="5124" y="3317"/>
                  </a:lnTo>
                  <a:lnTo>
                    <a:pt x="5129" y="3322"/>
                  </a:lnTo>
                  <a:lnTo>
                    <a:pt x="5129" y="3350"/>
                  </a:lnTo>
                  <a:lnTo>
                    <a:pt x="5112" y="3374"/>
                  </a:lnTo>
                  <a:lnTo>
                    <a:pt x="5138" y="3350"/>
                  </a:lnTo>
                  <a:lnTo>
                    <a:pt x="5129" y="3333"/>
                  </a:lnTo>
                  <a:lnTo>
                    <a:pt x="5138" y="3333"/>
                  </a:lnTo>
                  <a:lnTo>
                    <a:pt x="5145" y="3333"/>
                  </a:lnTo>
                  <a:lnTo>
                    <a:pt x="5138" y="3350"/>
                  </a:lnTo>
                  <a:lnTo>
                    <a:pt x="5145" y="3355"/>
                  </a:lnTo>
                  <a:lnTo>
                    <a:pt x="5138" y="3390"/>
                  </a:lnTo>
                  <a:lnTo>
                    <a:pt x="5150" y="3355"/>
                  </a:lnTo>
                  <a:lnTo>
                    <a:pt x="5183" y="3338"/>
                  </a:lnTo>
                  <a:lnTo>
                    <a:pt x="5192" y="3322"/>
                  </a:lnTo>
                  <a:lnTo>
                    <a:pt x="5214" y="3322"/>
                  </a:lnTo>
                  <a:lnTo>
                    <a:pt x="5221" y="3305"/>
                  </a:lnTo>
                  <a:lnTo>
                    <a:pt x="5230" y="3296"/>
                  </a:lnTo>
                  <a:lnTo>
                    <a:pt x="5268" y="3317"/>
                  </a:lnTo>
                  <a:lnTo>
                    <a:pt x="5252" y="3350"/>
                  </a:lnTo>
                  <a:lnTo>
                    <a:pt x="5268" y="3333"/>
                  </a:lnTo>
                  <a:lnTo>
                    <a:pt x="5259" y="3333"/>
                  </a:lnTo>
                  <a:lnTo>
                    <a:pt x="5268" y="3317"/>
                  </a:lnTo>
                  <a:lnTo>
                    <a:pt x="5252" y="3300"/>
                  </a:lnTo>
                  <a:lnTo>
                    <a:pt x="5259" y="3296"/>
                  </a:lnTo>
                  <a:lnTo>
                    <a:pt x="5275" y="3296"/>
                  </a:lnTo>
                  <a:lnTo>
                    <a:pt x="5259" y="3284"/>
                  </a:lnTo>
                  <a:lnTo>
                    <a:pt x="5275" y="3267"/>
                  </a:lnTo>
                  <a:lnTo>
                    <a:pt x="5306" y="3267"/>
                  </a:lnTo>
                  <a:lnTo>
                    <a:pt x="5285" y="3263"/>
                  </a:lnTo>
                  <a:lnTo>
                    <a:pt x="5275" y="3246"/>
                  </a:lnTo>
                  <a:lnTo>
                    <a:pt x="5289" y="3251"/>
                  </a:lnTo>
                  <a:lnTo>
                    <a:pt x="5289" y="3234"/>
                  </a:lnTo>
                  <a:lnTo>
                    <a:pt x="5306" y="3246"/>
                  </a:lnTo>
                  <a:lnTo>
                    <a:pt x="5289" y="3222"/>
                  </a:lnTo>
                  <a:lnTo>
                    <a:pt x="5327" y="3234"/>
                  </a:lnTo>
                  <a:lnTo>
                    <a:pt x="5301" y="3222"/>
                  </a:lnTo>
                  <a:lnTo>
                    <a:pt x="5289" y="3194"/>
                  </a:lnTo>
                  <a:lnTo>
                    <a:pt x="5306" y="3177"/>
                  </a:lnTo>
                  <a:lnTo>
                    <a:pt x="5327" y="3189"/>
                  </a:lnTo>
                  <a:lnTo>
                    <a:pt x="5313" y="3177"/>
                  </a:lnTo>
                  <a:lnTo>
                    <a:pt x="5339" y="3123"/>
                  </a:lnTo>
                  <a:lnTo>
                    <a:pt x="5365" y="3135"/>
                  </a:lnTo>
                  <a:lnTo>
                    <a:pt x="5344" y="3140"/>
                  </a:lnTo>
                  <a:lnTo>
                    <a:pt x="5365" y="3140"/>
                  </a:lnTo>
                  <a:lnTo>
                    <a:pt x="5377" y="3151"/>
                  </a:lnTo>
                  <a:lnTo>
                    <a:pt x="5365" y="3156"/>
                  </a:lnTo>
                  <a:lnTo>
                    <a:pt x="5344" y="3168"/>
                  </a:lnTo>
                  <a:lnTo>
                    <a:pt x="5377" y="3156"/>
                  </a:lnTo>
                  <a:lnTo>
                    <a:pt x="5377" y="3173"/>
                  </a:lnTo>
                  <a:lnTo>
                    <a:pt x="5365" y="3177"/>
                  </a:lnTo>
                  <a:lnTo>
                    <a:pt x="5377" y="3173"/>
                  </a:lnTo>
                  <a:lnTo>
                    <a:pt x="5377" y="3168"/>
                  </a:lnTo>
                  <a:lnTo>
                    <a:pt x="5393" y="3168"/>
                  </a:lnTo>
                  <a:lnTo>
                    <a:pt x="5393" y="3189"/>
                  </a:lnTo>
                  <a:lnTo>
                    <a:pt x="5381" y="3189"/>
                  </a:lnTo>
                  <a:lnTo>
                    <a:pt x="5398" y="3206"/>
                  </a:lnTo>
                  <a:lnTo>
                    <a:pt x="5393" y="3222"/>
                  </a:lnTo>
                  <a:lnTo>
                    <a:pt x="5398" y="3206"/>
                  </a:lnTo>
                  <a:lnTo>
                    <a:pt x="5419" y="3222"/>
                  </a:lnTo>
                  <a:lnTo>
                    <a:pt x="5415" y="3227"/>
                  </a:lnTo>
                  <a:lnTo>
                    <a:pt x="5398" y="3234"/>
                  </a:lnTo>
                  <a:lnTo>
                    <a:pt x="5415" y="3234"/>
                  </a:lnTo>
                  <a:lnTo>
                    <a:pt x="5415" y="3246"/>
                  </a:lnTo>
                  <a:lnTo>
                    <a:pt x="5431" y="3234"/>
                  </a:lnTo>
                  <a:lnTo>
                    <a:pt x="5448" y="3251"/>
                  </a:lnTo>
                  <a:lnTo>
                    <a:pt x="5431" y="3267"/>
                  </a:lnTo>
                  <a:lnTo>
                    <a:pt x="5398" y="3267"/>
                  </a:lnTo>
                  <a:lnTo>
                    <a:pt x="5462" y="3267"/>
                  </a:lnTo>
                  <a:lnTo>
                    <a:pt x="5448" y="3267"/>
                  </a:lnTo>
                  <a:lnTo>
                    <a:pt x="5462" y="3284"/>
                  </a:lnTo>
                  <a:lnTo>
                    <a:pt x="5448" y="3296"/>
                  </a:lnTo>
                  <a:lnTo>
                    <a:pt x="5469" y="3284"/>
                  </a:lnTo>
                  <a:lnTo>
                    <a:pt x="5485" y="3305"/>
                  </a:lnTo>
                  <a:lnTo>
                    <a:pt x="5431" y="3350"/>
                  </a:lnTo>
                  <a:lnTo>
                    <a:pt x="5452" y="3333"/>
                  </a:lnTo>
                  <a:lnTo>
                    <a:pt x="5500" y="3333"/>
                  </a:lnTo>
                  <a:lnTo>
                    <a:pt x="5500" y="3350"/>
                  </a:lnTo>
                  <a:lnTo>
                    <a:pt x="5485" y="3355"/>
                  </a:lnTo>
                  <a:lnTo>
                    <a:pt x="5500" y="3355"/>
                  </a:lnTo>
                  <a:lnTo>
                    <a:pt x="5474" y="3362"/>
                  </a:lnTo>
                  <a:lnTo>
                    <a:pt x="5448" y="3378"/>
                  </a:lnTo>
                  <a:lnTo>
                    <a:pt x="5462" y="3378"/>
                  </a:lnTo>
                  <a:lnTo>
                    <a:pt x="5474" y="3362"/>
                  </a:lnTo>
                  <a:lnTo>
                    <a:pt x="5507" y="3362"/>
                  </a:lnTo>
                  <a:lnTo>
                    <a:pt x="5507" y="3374"/>
                  </a:lnTo>
                  <a:lnTo>
                    <a:pt x="5516" y="3362"/>
                  </a:lnTo>
                  <a:lnTo>
                    <a:pt x="5523" y="3378"/>
                  </a:lnTo>
                  <a:lnTo>
                    <a:pt x="5490" y="3390"/>
                  </a:lnTo>
                  <a:lnTo>
                    <a:pt x="5528" y="3378"/>
                  </a:lnTo>
                  <a:lnTo>
                    <a:pt x="5537" y="3390"/>
                  </a:lnTo>
                  <a:lnTo>
                    <a:pt x="5528" y="3407"/>
                  </a:lnTo>
                  <a:lnTo>
                    <a:pt x="5544" y="3416"/>
                  </a:lnTo>
                  <a:lnTo>
                    <a:pt x="5523" y="3433"/>
                  </a:lnTo>
                  <a:lnTo>
                    <a:pt x="5500" y="3433"/>
                  </a:lnTo>
                  <a:lnTo>
                    <a:pt x="5516" y="3444"/>
                  </a:lnTo>
                  <a:lnTo>
                    <a:pt x="5544" y="3444"/>
                  </a:lnTo>
                  <a:lnTo>
                    <a:pt x="5554" y="3444"/>
                  </a:lnTo>
                  <a:lnTo>
                    <a:pt x="5537" y="3461"/>
                  </a:lnTo>
                  <a:lnTo>
                    <a:pt x="5582" y="3473"/>
                  </a:lnTo>
                  <a:lnTo>
                    <a:pt x="5582" y="3482"/>
                  </a:lnTo>
                  <a:lnTo>
                    <a:pt x="5575" y="3489"/>
                  </a:lnTo>
                  <a:lnTo>
                    <a:pt x="5561" y="3506"/>
                  </a:lnTo>
                  <a:lnTo>
                    <a:pt x="5544" y="3506"/>
                  </a:lnTo>
                  <a:lnTo>
                    <a:pt x="5544" y="3518"/>
                  </a:lnTo>
                  <a:lnTo>
                    <a:pt x="5561" y="3518"/>
                  </a:lnTo>
                  <a:lnTo>
                    <a:pt x="5554" y="3518"/>
                  </a:lnTo>
                  <a:lnTo>
                    <a:pt x="5561" y="3522"/>
                  </a:lnTo>
                  <a:lnTo>
                    <a:pt x="5507" y="3506"/>
                  </a:lnTo>
                  <a:lnTo>
                    <a:pt x="5537" y="3499"/>
                  </a:lnTo>
                  <a:lnTo>
                    <a:pt x="5500" y="3506"/>
                  </a:lnTo>
                  <a:lnTo>
                    <a:pt x="5537" y="3522"/>
                  </a:lnTo>
                  <a:lnTo>
                    <a:pt x="5523" y="3522"/>
                  </a:lnTo>
                  <a:lnTo>
                    <a:pt x="5561" y="3527"/>
                  </a:lnTo>
                  <a:lnTo>
                    <a:pt x="5528" y="3539"/>
                  </a:lnTo>
                  <a:lnTo>
                    <a:pt x="5554" y="3544"/>
                  </a:lnTo>
                  <a:lnTo>
                    <a:pt x="5561" y="3560"/>
                  </a:lnTo>
                  <a:lnTo>
                    <a:pt x="5537" y="3555"/>
                  </a:lnTo>
                  <a:lnTo>
                    <a:pt x="5537" y="3560"/>
                  </a:lnTo>
                  <a:lnTo>
                    <a:pt x="5582" y="3560"/>
                  </a:lnTo>
                  <a:lnTo>
                    <a:pt x="5575" y="3577"/>
                  </a:lnTo>
                  <a:lnTo>
                    <a:pt x="5592" y="3577"/>
                  </a:lnTo>
                  <a:lnTo>
                    <a:pt x="5575" y="3584"/>
                  </a:lnTo>
                  <a:lnTo>
                    <a:pt x="5599" y="3584"/>
                  </a:lnTo>
                  <a:lnTo>
                    <a:pt x="5608" y="3593"/>
                  </a:lnTo>
                  <a:lnTo>
                    <a:pt x="5599" y="3593"/>
                  </a:lnTo>
                  <a:lnTo>
                    <a:pt x="5608" y="3600"/>
                  </a:lnTo>
                  <a:lnTo>
                    <a:pt x="5629" y="3600"/>
                  </a:lnTo>
                  <a:lnTo>
                    <a:pt x="5625" y="3610"/>
                  </a:lnTo>
                  <a:lnTo>
                    <a:pt x="5637" y="3600"/>
                  </a:lnTo>
                  <a:lnTo>
                    <a:pt x="5629" y="3626"/>
                  </a:lnTo>
                  <a:lnTo>
                    <a:pt x="5646" y="3600"/>
                  </a:lnTo>
                  <a:lnTo>
                    <a:pt x="5663" y="3610"/>
                  </a:lnTo>
                  <a:lnTo>
                    <a:pt x="5646" y="3626"/>
                  </a:lnTo>
                  <a:lnTo>
                    <a:pt x="5663" y="3626"/>
                  </a:lnTo>
                  <a:lnTo>
                    <a:pt x="5646" y="3650"/>
                  </a:lnTo>
                  <a:lnTo>
                    <a:pt x="5663" y="3633"/>
                  </a:lnTo>
                  <a:lnTo>
                    <a:pt x="5667" y="3638"/>
                  </a:lnTo>
                  <a:lnTo>
                    <a:pt x="5651" y="3650"/>
                  </a:lnTo>
                  <a:lnTo>
                    <a:pt x="5646" y="3666"/>
                  </a:lnTo>
                  <a:lnTo>
                    <a:pt x="5651" y="3655"/>
                  </a:lnTo>
                  <a:lnTo>
                    <a:pt x="5629" y="3688"/>
                  </a:lnTo>
                  <a:lnTo>
                    <a:pt x="5663" y="3666"/>
                  </a:lnTo>
                  <a:lnTo>
                    <a:pt x="5679" y="3666"/>
                  </a:lnTo>
                  <a:lnTo>
                    <a:pt x="5663" y="3683"/>
                  </a:lnTo>
                  <a:lnTo>
                    <a:pt x="5700" y="3655"/>
                  </a:lnTo>
                  <a:lnTo>
                    <a:pt x="5700" y="3666"/>
                  </a:lnTo>
                  <a:lnTo>
                    <a:pt x="5684" y="3671"/>
                  </a:lnTo>
                  <a:lnTo>
                    <a:pt x="5722" y="3671"/>
                  </a:lnTo>
                  <a:lnTo>
                    <a:pt x="5684" y="3711"/>
                  </a:lnTo>
                  <a:lnTo>
                    <a:pt x="5738" y="3666"/>
                  </a:lnTo>
                  <a:lnTo>
                    <a:pt x="5722" y="3688"/>
                  </a:lnTo>
                  <a:lnTo>
                    <a:pt x="5743" y="3671"/>
                  </a:lnTo>
                  <a:lnTo>
                    <a:pt x="5755" y="3671"/>
                  </a:lnTo>
                  <a:lnTo>
                    <a:pt x="5755" y="3683"/>
                  </a:lnTo>
                  <a:lnTo>
                    <a:pt x="5759" y="3688"/>
                  </a:lnTo>
                  <a:lnTo>
                    <a:pt x="5743" y="3695"/>
                  </a:lnTo>
                  <a:lnTo>
                    <a:pt x="5755" y="3704"/>
                  </a:lnTo>
                  <a:lnTo>
                    <a:pt x="5830" y="3711"/>
                  </a:lnTo>
                  <a:lnTo>
                    <a:pt x="5868" y="3728"/>
                  </a:lnTo>
                  <a:lnTo>
                    <a:pt x="5863" y="3737"/>
                  </a:lnTo>
                  <a:lnTo>
                    <a:pt x="5840" y="3737"/>
                  </a:lnTo>
                  <a:lnTo>
                    <a:pt x="5863" y="3744"/>
                  </a:lnTo>
                  <a:lnTo>
                    <a:pt x="5847" y="3749"/>
                  </a:lnTo>
                  <a:lnTo>
                    <a:pt x="5809" y="3749"/>
                  </a:lnTo>
                  <a:lnTo>
                    <a:pt x="5797" y="3749"/>
                  </a:lnTo>
                  <a:lnTo>
                    <a:pt x="5814" y="3749"/>
                  </a:lnTo>
                  <a:lnTo>
                    <a:pt x="5809" y="3761"/>
                  </a:lnTo>
                  <a:lnTo>
                    <a:pt x="5771" y="3766"/>
                  </a:lnTo>
                  <a:lnTo>
                    <a:pt x="5705" y="3782"/>
                  </a:lnTo>
                  <a:lnTo>
                    <a:pt x="5733" y="3782"/>
                  </a:lnTo>
                  <a:lnTo>
                    <a:pt x="5792" y="3761"/>
                  </a:lnTo>
                  <a:lnTo>
                    <a:pt x="5776" y="3782"/>
                  </a:lnTo>
                  <a:lnTo>
                    <a:pt x="5743" y="3782"/>
                  </a:lnTo>
                  <a:lnTo>
                    <a:pt x="5755" y="3782"/>
                  </a:lnTo>
                  <a:lnTo>
                    <a:pt x="5717" y="3799"/>
                  </a:lnTo>
                  <a:lnTo>
                    <a:pt x="5679" y="3806"/>
                  </a:lnTo>
                  <a:lnTo>
                    <a:pt x="5679" y="3832"/>
                  </a:lnTo>
                  <a:lnTo>
                    <a:pt x="5667" y="3832"/>
                  </a:lnTo>
                  <a:lnTo>
                    <a:pt x="5625" y="3806"/>
                  </a:lnTo>
                  <a:lnTo>
                    <a:pt x="5625" y="3815"/>
                  </a:lnTo>
                  <a:lnTo>
                    <a:pt x="5646" y="3815"/>
                  </a:lnTo>
                  <a:lnTo>
                    <a:pt x="5679" y="3832"/>
                  </a:lnTo>
                  <a:lnTo>
                    <a:pt x="5651" y="3848"/>
                  </a:lnTo>
                  <a:lnTo>
                    <a:pt x="5667" y="3855"/>
                  </a:lnTo>
                  <a:lnTo>
                    <a:pt x="5651" y="3855"/>
                  </a:lnTo>
                  <a:lnTo>
                    <a:pt x="5667" y="3855"/>
                  </a:lnTo>
                  <a:lnTo>
                    <a:pt x="5700" y="3839"/>
                  </a:lnTo>
                  <a:lnTo>
                    <a:pt x="5689" y="3832"/>
                  </a:lnTo>
                  <a:lnTo>
                    <a:pt x="5743" y="3815"/>
                  </a:lnTo>
                  <a:lnTo>
                    <a:pt x="5743" y="3806"/>
                  </a:lnTo>
                  <a:lnTo>
                    <a:pt x="5788" y="3782"/>
                  </a:lnTo>
                  <a:lnTo>
                    <a:pt x="5840" y="3777"/>
                  </a:lnTo>
                  <a:lnTo>
                    <a:pt x="5792" y="3777"/>
                  </a:lnTo>
                  <a:lnTo>
                    <a:pt x="5792" y="3766"/>
                  </a:lnTo>
                  <a:lnTo>
                    <a:pt x="5863" y="3766"/>
                  </a:lnTo>
                  <a:lnTo>
                    <a:pt x="5885" y="3799"/>
                  </a:lnTo>
                  <a:lnTo>
                    <a:pt x="5852" y="3822"/>
                  </a:lnTo>
                  <a:lnTo>
                    <a:pt x="5868" y="3832"/>
                  </a:lnTo>
                  <a:lnTo>
                    <a:pt x="5868" y="3839"/>
                  </a:lnTo>
                  <a:lnTo>
                    <a:pt x="5894" y="3815"/>
                  </a:lnTo>
                  <a:lnTo>
                    <a:pt x="5932" y="3806"/>
                  </a:lnTo>
                  <a:lnTo>
                    <a:pt x="5932" y="3815"/>
                  </a:lnTo>
                  <a:lnTo>
                    <a:pt x="5915" y="3815"/>
                  </a:lnTo>
                  <a:lnTo>
                    <a:pt x="5960" y="3832"/>
                  </a:lnTo>
                  <a:lnTo>
                    <a:pt x="5939" y="3832"/>
                  </a:lnTo>
                  <a:lnTo>
                    <a:pt x="5960" y="3848"/>
                  </a:lnTo>
                  <a:lnTo>
                    <a:pt x="5977" y="3848"/>
                  </a:lnTo>
                  <a:lnTo>
                    <a:pt x="5977" y="3872"/>
                  </a:lnTo>
                  <a:lnTo>
                    <a:pt x="5970" y="3877"/>
                  </a:lnTo>
                  <a:lnTo>
                    <a:pt x="5948" y="3877"/>
                  </a:lnTo>
                  <a:lnTo>
                    <a:pt x="5970" y="3893"/>
                  </a:lnTo>
                  <a:lnTo>
                    <a:pt x="5977" y="3905"/>
                  </a:lnTo>
                  <a:lnTo>
                    <a:pt x="5953" y="3910"/>
                  </a:lnTo>
                  <a:lnTo>
                    <a:pt x="5977" y="3917"/>
                  </a:lnTo>
                  <a:lnTo>
                    <a:pt x="5953" y="3917"/>
                  </a:lnTo>
                  <a:lnTo>
                    <a:pt x="5960" y="3917"/>
                  </a:lnTo>
                  <a:lnTo>
                    <a:pt x="5948" y="3926"/>
                  </a:lnTo>
                  <a:lnTo>
                    <a:pt x="5922" y="3926"/>
                  </a:lnTo>
                  <a:lnTo>
                    <a:pt x="5986" y="3943"/>
                  </a:lnTo>
                  <a:lnTo>
                    <a:pt x="5986" y="3950"/>
                  </a:lnTo>
                  <a:lnTo>
                    <a:pt x="5977" y="3950"/>
                  </a:lnTo>
                  <a:lnTo>
                    <a:pt x="5948" y="3943"/>
                  </a:lnTo>
                  <a:lnTo>
                    <a:pt x="5986" y="3959"/>
                  </a:lnTo>
                  <a:lnTo>
                    <a:pt x="5986" y="3971"/>
                  </a:lnTo>
                  <a:lnTo>
                    <a:pt x="5894" y="4037"/>
                  </a:lnTo>
                  <a:lnTo>
                    <a:pt x="5878" y="4025"/>
                  </a:lnTo>
                  <a:lnTo>
                    <a:pt x="5840" y="4025"/>
                  </a:lnTo>
                  <a:lnTo>
                    <a:pt x="5826" y="4044"/>
                  </a:lnTo>
                  <a:lnTo>
                    <a:pt x="5776" y="4054"/>
                  </a:lnTo>
                  <a:lnTo>
                    <a:pt x="5776" y="4061"/>
                  </a:lnTo>
                  <a:lnTo>
                    <a:pt x="5755" y="4077"/>
                  </a:lnTo>
                  <a:lnTo>
                    <a:pt x="5755" y="4094"/>
                  </a:lnTo>
                  <a:lnTo>
                    <a:pt x="5743" y="4099"/>
                  </a:lnTo>
                  <a:lnTo>
                    <a:pt x="5743" y="4094"/>
                  </a:lnTo>
                  <a:lnTo>
                    <a:pt x="5705" y="4127"/>
                  </a:lnTo>
                  <a:lnTo>
                    <a:pt x="5689" y="4132"/>
                  </a:lnTo>
                  <a:lnTo>
                    <a:pt x="5689" y="4137"/>
                  </a:lnTo>
                  <a:lnTo>
                    <a:pt x="5684" y="4148"/>
                  </a:lnTo>
                  <a:lnTo>
                    <a:pt x="5592" y="4153"/>
                  </a:lnTo>
                  <a:lnTo>
                    <a:pt x="5561" y="4165"/>
                  </a:lnTo>
                  <a:lnTo>
                    <a:pt x="5570" y="4153"/>
                  </a:lnTo>
                  <a:lnTo>
                    <a:pt x="5561" y="4153"/>
                  </a:lnTo>
                  <a:lnTo>
                    <a:pt x="5554" y="4148"/>
                  </a:lnTo>
                  <a:lnTo>
                    <a:pt x="5516" y="4137"/>
                  </a:lnTo>
                  <a:lnTo>
                    <a:pt x="5452" y="4148"/>
                  </a:lnTo>
                  <a:lnTo>
                    <a:pt x="5415" y="4137"/>
                  </a:lnTo>
                  <a:lnTo>
                    <a:pt x="5313" y="4137"/>
                  </a:lnTo>
                  <a:lnTo>
                    <a:pt x="5259" y="4137"/>
                  </a:lnTo>
                  <a:lnTo>
                    <a:pt x="5252" y="4153"/>
                  </a:lnTo>
                  <a:lnTo>
                    <a:pt x="5230" y="4148"/>
                  </a:lnTo>
                  <a:lnTo>
                    <a:pt x="5183" y="4188"/>
                  </a:lnTo>
                  <a:lnTo>
                    <a:pt x="5176" y="4222"/>
                  </a:lnTo>
                  <a:lnTo>
                    <a:pt x="5162" y="4238"/>
                  </a:lnTo>
                  <a:lnTo>
                    <a:pt x="5112" y="4243"/>
                  </a:lnTo>
                  <a:lnTo>
                    <a:pt x="5107" y="4248"/>
                  </a:lnTo>
                  <a:lnTo>
                    <a:pt x="5074" y="4259"/>
                  </a:lnTo>
                  <a:lnTo>
                    <a:pt x="5041" y="4281"/>
                  </a:lnTo>
                  <a:lnTo>
                    <a:pt x="5037" y="4297"/>
                  </a:lnTo>
                  <a:lnTo>
                    <a:pt x="5004" y="4349"/>
                  </a:lnTo>
                  <a:lnTo>
                    <a:pt x="4982" y="4333"/>
                  </a:lnTo>
                  <a:lnTo>
                    <a:pt x="4907" y="4316"/>
                  </a:lnTo>
                  <a:lnTo>
                    <a:pt x="4982" y="4337"/>
                  </a:lnTo>
                  <a:lnTo>
                    <a:pt x="4999" y="4349"/>
                  </a:lnTo>
                  <a:lnTo>
                    <a:pt x="4982" y="4375"/>
                  </a:lnTo>
                  <a:lnTo>
                    <a:pt x="4966" y="4403"/>
                  </a:lnTo>
                  <a:lnTo>
                    <a:pt x="4944" y="4408"/>
                  </a:lnTo>
                  <a:lnTo>
                    <a:pt x="4928" y="4441"/>
                  </a:lnTo>
                  <a:lnTo>
                    <a:pt x="4890" y="4470"/>
                  </a:lnTo>
                  <a:lnTo>
                    <a:pt x="4944" y="4448"/>
                  </a:lnTo>
                  <a:lnTo>
                    <a:pt x="5020" y="4354"/>
                  </a:lnTo>
                  <a:lnTo>
                    <a:pt x="5107" y="4297"/>
                  </a:lnTo>
                  <a:lnTo>
                    <a:pt x="5247" y="4243"/>
                  </a:lnTo>
                  <a:lnTo>
                    <a:pt x="5301" y="4243"/>
                  </a:lnTo>
                  <a:lnTo>
                    <a:pt x="5344" y="4248"/>
                  </a:lnTo>
                  <a:lnTo>
                    <a:pt x="5381" y="4276"/>
                  </a:lnTo>
                  <a:lnTo>
                    <a:pt x="5393" y="4292"/>
                  </a:lnTo>
                  <a:lnTo>
                    <a:pt x="5360" y="4276"/>
                  </a:lnTo>
                  <a:lnTo>
                    <a:pt x="5393" y="4297"/>
                  </a:lnTo>
                  <a:lnTo>
                    <a:pt x="5381" y="4297"/>
                  </a:lnTo>
                  <a:lnTo>
                    <a:pt x="5381" y="4316"/>
                  </a:lnTo>
                  <a:lnTo>
                    <a:pt x="5306" y="4354"/>
                  </a:lnTo>
                  <a:lnTo>
                    <a:pt x="5268" y="4337"/>
                  </a:lnTo>
                  <a:lnTo>
                    <a:pt x="5200" y="4354"/>
                  </a:lnTo>
                  <a:lnTo>
                    <a:pt x="5237" y="4354"/>
                  </a:lnTo>
                  <a:lnTo>
                    <a:pt x="5275" y="4370"/>
                  </a:lnTo>
                  <a:lnTo>
                    <a:pt x="5285" y="4392"/>
                  </a:lnTo>
                  <a:lnTo>
                    <a:pt x="5313" y="4370"/>
                  </a:lnTo>
                  <a:lnTo>
                    <a:pt x="5344" y="4375"/>
                  </a:lnTo>
                  <a:lnTo>
                    <a:pt x="5355" y="4387"/>
                  </a:lnTo>
                  <a:lnTo>
                    <a:pt x="5339" y="4392"/>
                  </a:lnTo>
                  <a:lnTo>
                    <a:pt x="5339" y="4415"/>
                  </a:lnTo>
                  <a:lnTo>
                    <a:pt x="5306" y="4441"/>
                  </a:lnTo>
                  <a:lnTo>
                    <a:pt x="5344" y="4441"/>
                  </a:lnTo>
                  <a:lnTo>
                    <a:pt x="5339" y="4465"/>
                  </a:lnTo>
                  <a:lnTo>
                    <a:pt x="5355" y="4481"/>
                  </a:lnTo>
                  <a:lnTo>
                    <a:pt x="5365" y="4519"/>
                  </a:lnTo>
                  <a:lnTo>
                    <a:pt x="5415" y="4526"/>
                  </a:lnTo>
                  <a:lnTo>
                    <a:pt x="5393" y="4536"/>
                  </a:lnTo>
                  <a:lnTo>
                    <a:pt x="5419" y="4552"/>
                  </a:lnTo>
                  <a:lnTo>
                    <a:pt x="5436" y="4552"/>
                  </a:lnTo>
                  <a:lnTo>
                    <a:pt x="5448" y="4552"/>
                  </a:lnTo>
                  <a:lnTo>
                    <a:pt x="5431" y="4552"/>
                  </a:lnTo>
                  <a:lnTo>
                    <a:pt x="5452" y="4559"/>
                  </a:lnTo>
                  <a:lnTo>
                    <a:pt x="5448" y="4559"/>
                  </a:lnTo>
                  <a:lnTo>
                    <a:pt x="5490" y="4559"/>
                  </a:lnTo>
                  <a:lnTo>
                    <a:pt x="5507" y="4576"/>
                  </a:lnTo>
                  <a:lnTo>
                    <a:pt x="5544" y="4552"/>
                  </a:lnTo>
                  <a:lnTo>
                    <a:pt x="5544" y="4569"/>
                  </a:lnTo>
                  <a:lnTo>
                    <a:pt x="5570" y="4576"/>
                  </a:lnTo>
                  <a:lnTo>
                    <a:pt x="5575" y="4569"/>
                  </a:lnTo>
                  <a:lnTo>
                    <a:pt x="5592" y="4581"/>
                  </a:lnTo>
                  <a:lnTo>
                    <a:pt x="5575" y="4597"/>
                  </a:lnTo>
                  <a:lnTo>
                    <a:pt x="5613" y="4597"/>
                  </a:lnTo>
                  <a:lnTo>
                    <a:pt x="5608" y="4609"/>
                  </a:lnTo>
                  <a:lnTo>
                    <a:pt x="5592" y="4609"/>
                  </a:lnTo>
                  <a:lnTo>
                    <a:pt x="5582" y="4614"/>
                  </a:lnTo>
                  <a:lnTo>
                    <a:pt x="5507" y="4637"/>
                  </a:lnTo>
                  <a:lnTo>
                    <a:pt x="5485" y="4654"/>
                  </a:lnTo>
                  <a:lnTo>
                    <a:pt x="5469" y="4647"/>
                  </a:lnTo>
                  <a:lnTo>
                    <a:pt x="5469" y="4654"/>
                  </a:lnTo>
                  <a:lnTo>
                    <a:pt x="5462" y="4647"/>
                  </a:lnTo>
                  <a:lnTo>
                    <a:pt x="5436" y="4663"/>
                  </a:lnTo>
                  <a:lnTo>
                    <a:pt x="5419" y="4654"/>
                  </a:lnTo>
                  <a:lnTo>
                    <a:pt x="5436" y="4670"/>
                  </a:lnTo>
                  <a:lnTo>
                    <a:pt x="5431" y="4680"/>
                  </a:lnTo>
                  <a:lnTo>
                    <a:pt x="5410" y="4670"/>
                  </a:lnTo>
                  <a:lnTo>
                    <a:pt x="5410" y="4654"/>
                  </a:lnTo>
                  <a:lnTo>
                    <a:pt x="5398" y="4663"/>
                  </a:lnTo>
                  <a:lnTo>
                    <a:pt x="5398" y="4670"/>
                  </a:lnTo>
                  <a:lnTo>
                    <a:pt x="5393" y="4680"/>
                  </a:lnTo>
                  <a:lnTo>
                    <a:pt x="5381" y="4663"/>
                  </a:lnTo>
                  <a:lnTo>
                    <a:pt x="5377" y="4680"/>
                  </a:lnTo>
                  <a:lnTo>
                    <a:pt x="5381" y="4692"/>
                  </a:lnTo>
                  <a:lnTo>
                    <a:pt x="5360" y="4703"/>
                  </a:lnTo>
                  <a:lnTo>
                    <a:pt x="5355" y="4720"/>
                  </a:lnTo>
                  <a:lnTo>
                    <a:pt x="5344" y="4720"/>
                  </a:lnTo>
                  <a:lnTo>
                    <a:pt x="5327" y="4741"/>
                  </a:lnTo>
                  <a:lnTo>
                    <a:pt x="5306" y="4741"/>
                  </a:lnTo>
                  <a:lnTo>
                    <a:pt x="5301" y="4765"/>
                  </a:lnTo>
                  <a:lnTo>
                    <a:pt x="5289" y="4758"/>
                  </a:lnTo>
                  <a:lnTo>
                    <a:pt x="5275" y="4758"/>
                  </a:lnTo>
                  <a:lnTo>
                    <a:pt x="5268" y="4736"/>
                  </a:lnTo>
                  <a:lnTo>
                    <a:pt x="5259" y="4741"/>
                  </a:lnTo>
                  <a:lnTo>
                    <a:pt x="5247" y="4725"/>
                  </a:lnTo>
                  <a:lnTo>
                    <a:pt x="5247" y="4708"/>
                  </a:lnTo>
                  <a:lnTo>
                    <a:pt x="5252" y="4687"/>
                  </a:lnTo>
                  <a:lnTo>
                    <a:pt x="5268" y="4663"/>
                  </a:lnTo>
                  <a:lnTo>
                    <a:pt x="5247" y="4680"/>
                  </a:lnTo>
                  <a:lnTo>
                    <a:pt x="5259" y="4663"/>
                  </a:lnTo>
                  <a:lnTo>
                    <a:pt x="5285" y="4663"/>
                  </a:lnTo>
                  <a:lnTo>
                    <a:pt x="5289" y="4654"/>
                  </a:lnTo>
                  <a:lnTo>
                    <a:pt x="5285" y="4654"/>
                  </a:lnTo>
                  <a:lnTo>
                    <a:pt x="5285" y="4647"/>
                  </a:lnTo>
                  <a:lnTo>
                    <a:pt x="5377" y="4597"/>
                  </a:lnTo>
                  <a:lnTo>
                    <a:pt x="5365" y="4597"/>
                  </a:lnTo>
                  <a:lnTo>
                    <a:pt x="5377" y="4597"/>
                  </a:lnTo>
                  <a:lnTo>
                    <a:pt x="5377" y="4614"/>
                  </a:lnTo>
                  <a:lnTo>
                    <a:pt x="5381" y="4614"/>
                  </a:lnTo>
                  <a:lnTo>
                    <a:pt x="5393" y="4630"/>
                  </a:lnTo>
                  <a:lnTo>
                    <a:pt x="5393" y="4609"/>
                  </a:lnTo>
                  <a:lnTo>
                    <a:pt x="5448" y="4597"/>
                  </a:lnTo>
                  <a:lnTo>
                    <a:pt x="5360" y="4592"/>
                  </a:lnTo>
                  <a:lnTo>
                    <a:pt x="5339" y="4597"/>
                  </a:lnTo>
                  <a:lnTo>
                    <a:pt x="5344" y="4581"/>
                  </a:lnTo>
                  <a:lnTo>
                    <a:pt x="5381" y="4559"/>
                  </a:lnTo>
                  <a:lnTo>
                    <a:pt x="5377" y="4552"/>
                  </a:lnTo>
                  <a:lnTo>
                    <a:pt x="5365" y="4559"/>
                  </a:lnTo>
                  <a:lnTo>
                    <a:pt x="5344" y="4526"/>
                  </a:lnTo>
                  <a:lnTo>
                    <a:pt x="5360" y="4552"/>
                  </a:lnTo>
                  <a:lnTo>
                    <a:pt x="5344" y="4576"/>
                  </a:lnTo>
                  <a:lnTo>
                    <a:pt x="5339" y="4576"/>
                  </a:lnTo>
                  <a:lnTo>
                    <a:pt x="5268" y="4609"/>
                  </a:lnTo>
                  <a:lnTo>
                    <a:pt x="5252" y="4597"/>
                  </a:lnTo>
                  <a:lnTo>
                    <a:pt x="5259" y="4581"/>
                  </a:lnTo>
                  <a:lnTo>
                    <a:pt x="5247" y="4597"/>
                  </a:lnTo>
                  <a:lnTo>
                    <a:pt x="5252" y="4609"/>
                  </a:lnTo>
                  <a:lnTo>
                    <a:pt x="5230" y="4625"/>
                  </a:lnTo>
                  <a:lnTo>
                    <a:pt x="5221" y="4614"/>
                  </a:lnTo>
                  <a:lnTo>
                    <a:pt x="5204" y="4625"/>
                  </a:lnTo>
                  <a:lnTo>
                    <a:pt x="5192" y="4614"/>
                  </a:lnTo>
                  <a:lnTo>
                    <a:pt x="5176" y="4614"/>
                  </a:lnTo>
                  <a:lnTo>
                    <a:pt x="5176" y="4614"/>
                  </a:lnTo>
                  <a:lnTo>
                    <a:pt x="5176" y="4614"/>
                  </a:lnTo>
                  <a:close/>
                  <a:moveTo>
                    <a:pt x="3201" y="1748"/>
                  </a:moveTo>
                  <a:lnTo>
                    <a:pt x="3208" y="1753"/>
                  </a:lnTo>
                  <a:lnTo>
                    <a:pt x="3208" y="1765"/>
                  </a:lnTo>
                  <a:lnTo>
                    <a:pt x="3192" y="1765"/>
                  </a:lnTo>
                  <a:lnTo>
                    <a:pt x="3201" y="1748"/>
                  </a:lnTo>
                  <a:lnTo>
                    <a:pt x="3201" y="1748"/>
                  </a:lnTo>
                  <a:lnTo>
                    <a:pt x="3201" y="1748"/>
                  </a:lnTo>
                  <a:close/>
                  <a:moveTo>
                    <a:pt x="3095" y="1765"/>
                  </a:moveTo>
                  <a:lnTo>
                    <a:pt x="3100" y="1765"/>
                  </a:lnTo>
                  <a:lnTo>
                    <a:pt x="3083" y="1770"/>
                  </a:lnTo>
                  <a:lnTo>
                    <a:pt x="3095" y="1765"/>
                  </a:lnTo>
                  <a:lnTo>
                    <a:pt x="3095" y="1765"/>
                  </a:lnTo>
                  <a:lnTo>
                    <a:pt x="3095" y="1765"/>
                  </a:lnTo>
                  <a:close/>
                  <a:moveTo>
                    <a:pt x="4751" y="1770"/>
                  </a:moveTo>
                  <a:lnTo>
                    <a:pt x="4755" y="1770"/>
                  </a:lnTo>
                  <a:lnTo>
                    <a:pt x="4734" y="1786"/>
                  </a:lnTo>
                  <a:lnTo>
                    <a:pt x="4751" y="1770"/>
                  </a:lnTo>
                  <a:lnTo>
                    <a:pt x="4751" y="1770"/>
                  </a:lnTo>
                  <a:lnTo>
                    <a:pt x="4751" y="1770"/>
                  </a:lnTo>
                  <a:close/>
                  <a:moveTo>
                    <a:pt x="4772" y="1781"/>
                  </a:moveTo>
                  <a:lnTo>
                    <a:pt x="4789" y="1786"/>
                  </a:lnTo>
                  <a:lnTo>
                    <a:pt x="4784" y="1793"/>
                  </a:lnTo>
                  <a:lnTo>
                    <a:pt x="4767" y="1786"/>
                  </a:lnTo>
                  <a:lnTo>
                    <a:pt x="4772" y="1781"/>
                  </a:lnTo>
                  <a:lnTo>
                    <a:pt x="4772" y="1781"/>
                  </a:lnTo>
                  <a:lnTo>
                    <a:pt x="4772" y="1781"/>
                  </a:lnTo>
                  <a:close/>
                  <a:moveTo>
                    <a:pt x="4767" y="1826"/>
                  </a:moveTo>
                  <a:lnTo>
                    <a:pt x="4751" y="1819"/>
                  </a:lnTo>
                  <a:lnTo>
                    <a:pt x="4746" y="1793"/>
                  </a:lnTo>
                  <a:lnTo>
                    <a:pt x="4755" y="1786"/>
                  </a:lnTo>
                  <a:lnTo>
                    <a:pt x="4767" y="1793"/>
                  </a:lnTo>
                  <a:lnTo>
                    <a:pt x="4755" y="1803"/>
                  </a:lnTo>
                  <a:lnTo>
                    <a:pt x="4772" y="1793"/>
                  </a:lnTo>
                  <a:lnTo>
                    <a:pt x="4784" y="1803"/>
                  </a:lnTo>
                  <a:lnTo>
                    <a:pt x="4767" y="1810"/>
                  </a:lnTo>
                  <a:lnTo>
                    <a:pt x="4772" y="1819"/>
                  </a:lnTo>
                  <a:lnTo>
                    <a:pt x="4767" y="1826"/>
                  </a:lnTo>
                  <a:lnTo>
                    <a:pt x="4767" y="1826"/>
                  </a:lnTo>
                  <a:lnTo>
                    <a:pt x="4767" y="1826"/>
                  </a:lnTo>
                  <a:close/>
                  <a:moveTo>
                    <a:pt x="2953" y="1826"/>
                  </a:moveTo>
                  <a:lnTo>
                    <a:pt x="2948" y="1819"/>
                  </a:lnTo>
                  <a:lnTo>
                    <a:pt x="2953" y="1819"/>
                  </a:lnTo>
                  <a:lnTo>
                    <a:pt x="2953" y="1826"/>
                  </a:lnTo>
                  <a:lnTo>
                    <a:pt x="2953" y="1826"/>
                  </a:lnTo>
                  <a:lnTo>
                    <a:pt x="2953" y="1826"/>
                  </a:lnTo>
                  <a:close/>
                  <a:moveTo>
                    <a:pt x="3116" y="1826"/>
                  </a:moveTo>
                  <a:lnTo>
                    <a:pt x="3126" y="1836"/>
                  </a:lnTo>
                  <a:lnTo>
                    <a:pt x="3116" y="1836"/>
                  </a:lnTo>
                  <a:lnTo>
                    <a:pt x="3116" y="1826"/>
                  </a:lnTo>
                  <a:lnTo>
                    <a:pt x="3116" y="1826"/>
                  </a:lnTo>
                  <a:lnTo>
                    <a:pt x="3116" y="1826"/>
                  </a:lnTo>
                  <a:close/>
                  <a:moveTo>
                    <a:pt x="4852" y="1859"/>
                  </a:moveTo>
                  <a:lnTo>
                    <a:pt x="4881" y="1864"/>
                  </a:lnTo>
                  <a:lnTo>
                    <a:pt x="4881" y="1876"/>
                  </a:lnTo>
                  <a:lnTo>
                    <a:pt x="4843" y="1892"/>
                  </a:lnTo>
                  <a:lnTo>
                    <a:pt x="4822" y="1876"/>
                  </a:lnTo>
                  <a:lnTo>
                    <a:pt x="4836" y="1876"/>
                  </a:lnTo>
                  <a:lnTo>
                    <a:pt x="4836" y="1859"/>
                  </a:lnTo>
                  <a:lnTo>
                    <a:pt x="4852" y="1859"/>
                  </a:lnTo>
                  <a:lnTo>
                    <a:pt x="4852" y="1859"/>
                  </a:lnTo>
                  <a:lnTo>
                    <a:pt x="4852" y="1859"/>
                  </a:lnTo>
                  <a:close/>
                  <a:moveTo>
                    <a:pt x="2844" y="1904"/>
                  </a:moveTo>
                  <a:lnTo>
                    <a:pt x="2861" y="1921"/>
                  </a:lnTo>
                  <a:lnTo>
                    <a:pt x="2861" y="1937"/>
                  </a:lnTo>
                  <a:lnTo>
                    <a:pt x="2830" y="1921"/>
                  </a:lnTo>
                  <a:lnTo>
                    <a:pt x="2830" y="1904"/>
                  </a:lnTo>
                  <a:lnTo>
                    <a:pt x="2844" y="1904"/>
                  </a:lnTo>
                  <a:lnTo>
                    <a:pt x="2844" y="1904"/>
                  </a:lnTo>
                  <a:lnTo>
                    <a:pt x="2844" y="1904"/>
                  </a:lnTo>
                  <a:close/>
                  <a:moveTo>
                    <a:pt x="903" y="1914"/>
                  </a:moveTo>
                  <a:lnTo>
                    <a:pt x="886" y="1921"/>
                  </a:lnTo>
                  <a:lnTo>
                    <a:pt x="898" y="1904"/>
                  </a:lnTo>
                  <a:lnTo>
                    <a:pt x="903" y="1914"/>
                  </a:lnTo>
                  <a:lnTo>
                    <a:pt x="903" y="1914"/>
                  </a:lnTo>
                  <a:lnTo>
                    <a:pt x="903" y="1914"/>
                  </a:lnTo>
                  <a:close/>
                  <a:moveTo>
                    <a:pt x="1675" y="1921"/>
                  </a:moveTo>
                  <a:lnTo>
                    <a:pt x="1663" y="1921"/>
                  </a:lnTo>
                  <a:lnTo>
                    <a:pt x="1692" y="1921"/>
                  </a:lnTo>
                  <a:lnTo>
                    <a:pt x="1675" y="1921"/>
                  </a:lnTo>
                  <a:lnTo>
                    <a:pt x="1675" y="1921"/>
                  </a:lnTo>
                  <a:lnTo>
                    <a:pt x="1675" y="1921"/>
                  </a:lnTo>
                  <a:close/>
                  <a:moveTo>
                    <a:pt x="1760" y="1921"/>
                  </a:moveTo>
                  <a:lnTo>
                    <a:pt x="1765" y="1921"/>
                  </a:lnTo>
                  <a:lnTo>
                    <a:pt x="1751" y="1921"/>
                  </a:lnTo>
                  <a:lnTo>
                    <a:pt x="1760" y="1921"/>
                  </a:lnTo>
                  <a:lnTo>
                    <a:pt x="1760" y="1921"/>
                  </a:lnTo>
                  <a:lnTo>
                    <a:pt x="1760" y="1921"/>
                  </a:lnTo>
                  <a:close/>
                  <a:moveTo>
                    <a:pt x="1734" y="1921"/>
                  </a:moveTo>
                  <a:lnTo>
                    <a:pt x="1744" y="1921"/>
                  </a:lnTo>
                  <a:lnTo>
                    <a:pt x="1718" y="1921"/>
                  </a:lnTo>
                  <a:lnTo>
                    <a:pt x="1734" y="1921"/>
                  </a:lnTo>
                  <a:lnTo>
                    <a:pt x="1734" y="1921"/>
                  </a:lnTo>
                  <a:lnTo>
                    <a:pt x="1734" y="1921"/>
                  </a:lnTo>
                  <a:close/>
                  <a:moveTo>
                    <a:pt x="2823" y="1954"/>
                  </a:moveTo>
                  <a:lnTo>
                    <a:pt x="2823" y="1959"/>
                  </a:lnTo>
                  <a:lnTo>
                    <a:pt x="2814" y="1954"/>
                  </a:lnTo>
                  <a:lnTo>
                    <a:pt x="2823" y="1954"/>
                  </a:lnTo>
                  <a:lnTo>
                    <a:pt x="2823" y="1954"/>
                  </a:lnTo>
                  <a:lnTo>
                    <a:pt x="2823" y="1954"/>
                  </a:lnTo>
                  <a:close/>
                  <a:moveTo>
                    <a:pt x="1966" y="1954"/>
                  </a:moveTo>
                  <a:lnTo>
                    <a:pt x="1949" y="1954"/>
                  </a:lnTo>
                  <a:lnTo>
                    <a:pt x="1966" y="1954"/>
                  </a:lnTo>
                  <a:lnTo>
                    <a:pt x="1966" y="1954"/>
                  </a:lnTo>
                  <a:lnTo>
                    <a:pt x="1966" y="1954"/>
                  </a:lnTo>
                  <a:close/>
                  <a:moveTo>
                    <a:pt x="3773" y="1975"/>
                  </a:moveTo>
                  <a:lnTo>
                    <a:pt x="3811" y="1975"/>
                  </a:lnTo>
                  <a:lnTo>
                    <a:pt x="3827" y="1992"/>
                  </a:lnTo>
                  <a:lnTo>
                    <a:pt x="3780" y="1992"/>
                  </a:lnTo>
                  <a:lnTo>
                    <a:pt x="3763" y="1975"/>
                  </a:lnTo>
                  <a:lnTo>
                    <a:pt x="3773" y="1975"/>
                  </a:lnTo>
                  <a:lnTo>
                    <a:pt x="3773" y="1975"/>
                  </a:lnTo>
                  <a:lnTo>
                    <a:pt x="3773" y="1975"/>
                  </a:lnTo>
                  <a:close/>
                  <a:moveTo>
                    <a:pt x="3062" y="2003"/>
                  </a:moveTo>
                  <a:lnTo>
                    <a:pt x="3071" y="2008"/>
                  </a:lnTo>
                  <a:lnTo>
                    <a:pt x="3057" y="2003"/>
                  </a:lnTo>
                  <a:lnTo>
                    <a:pt x="3062" y="2003"/>
                  </a:lnTo>
                  <a:lnTo>
                    <a:pt x="3062" y="2003"/>
                  </a:lnTo>
                  <a:lnTo>
                    <a:pt x="3062" y="2003"/>
                  </a:lnTo>
                  <a:close/>
                  <a:moveTo>
                    <a:pt x="2932" y="2140"/>
                  </a:moveTo>
                  <a:lnTo>
                    <a:pt x="2911" y="2119"/>
                  </a:lnTo>
                  <a:lnTo>
                    <a:pt x="2915" y="2103"/>
                  </a:lnTo>
                  <a:lnTo>
                    <a:pt x="2948" y="2103"/>
                  </a:lnTo>
                  <a:lnTo>
                    <a:pt x="2991" y="2081"/>
                  </a:lnTo>
                  <a:lnTo>
                    <a:pt x="2974" y="2065"/>
                  </a:lnTo>
                  <a:lnTo>
                    <a:pt x="2986" y="2065"/>
                  </a:lnTo>
                  <a:lnTo>
                    <a:pt x="2974" y="2058"/>
                  </a:lnTo>
                  <a:lnTo>
                    <a:pt x="2974" y="2048"/>
                  </a:lnTo>
                  <a:lnTo>
                    <a:pt x="3019" y="2065"/>
                  </a:lnTo>
                  <a:lnTo>
                    <a:pt x="2991" y="2041"/>
                  </a:lnTo>
                  <a:lnTo>
                    <a:pt x="3003" y="2013"/>
                  </a:lnTo>
                  <a:lnTo>
                    <a:pt x="3024" y="2008"/>
                  </a:lnTo>
                  <a:lnTo>
                    <a:pt x="3062" y="2029"/>
                  </a:lnTo>
                  <a:lnTo>
                    <a:pt x="3057" y="2029"/>
                  </a:lnTo>
                  <a:lnTo>
                    <a:pt x="3062" y="2048"/>
                  </a:lnTo>
                  <a:lnTo>
                    <a:pt x="3071" y="2029"/>
                  </a:lnTo>
                  <a:lnTo>
                    <a:pt x="3095" y="2058"/>
                  </a:lnTo>
                  <a:lnTo>
                    <a:pt x="3137" y="2081"/>
                  </a:lnTo>
                  <a:lnTo>
                    <a:pt x="3137" y="2115"/>
                  </a:lnTo>
                  <a:lnTo>
                    <a:pt x="3147" y="2119"/>
                  </a:lnTo>
                  <a:lnTo>
                    <a:pt x="3147" y="2098"/>
                  </a:lnTo>
                  <a:lnTo>
                    <a:pt x="3154" y="2086"/>
                  </a:lnTo>
                  <a:lnTo>
                    <a:pt x="3170" y="2136"/>
                  </a:lnTo>
                  <a:lnTo>
                    <a:pt x="3208" y="2140"/>
                  </a:lnTo>
                  <a:lnTo>
                    <a:pt x="3192" y="2157"/>
                  </a:lnTo>
                  <a:lnTo>
                    <a:pt x="3170" y="2152"/>
                  </a:lnTo>
                  <a:lnTo>
                    <a:pt x="3137" y="2181"/>
                  </a:lnTo>
                  <a:lnTo>
                    <a:pt x="3116" y="2192"/>
                  </a:lnTo>
                  <a:lnTo>
                    <a:pt x="3007" y="2157"/>
                  </a:lnTo>
                  <a:lnTo>
                    <a:pt x="2991" y="2136"/>
                  </a:lnTo>
                  <a:lnTo>
                    <a:pt x="2986" y="2152"/>
                  </a:lnTo>
                  <a:lnTo>
                    <a:pt x="2974" y="2152"/>
                  </a:lnTo>
                  <a:lnTo>
                    <a:pt x="2953" y="2140"/>
                  </a:lnTo>
                  <a:lnTo>
                    <a:pt x="2953" y="2124"/>
                  </a:lnTo>
                  <a:lnTo>
                    <a:pt x="2932" y="2140"/>
                  </a:lnTo>
                  <a:lnTo>
                    <a:pt x="2932" y="2140"/>
                  </a:lnTo>
                  <a:lnTo>
                    <a:pt x="2932" y="2140"/>
                  </a:lnTo>
                  <a:close/>
                  <a:moveTo>
                    <a:pt x="3470" y="2025"/>
                  </a:moveTo>
                  <a:lnTo>
                    <a:pt x="3456" y="2013"/>
                  </a:lnTo>
                  <a:lnTo>
                    <a:pt x="3478" y="2008"/>
                  </a:lnTo>
                  <a:lnTo>
                    <a:pt x="3470" y="2025"/>
                  </a:lnTo>
                  <a:lnTo>
                    <a:pt x="3470" y="2025"/>
                  </a:lnTo>
                  <a:lnTo>
                    <a:pt x="3470" y="2025"/>
                  </a:lnTo>
                  <a:close/>
                  <a:moveTo>
                    <a:pt x="4096" y="2008"/>
                  </a:moveTo>
                  <a:lnTo>
                    <a:pt x="4108" y="2013"/>
                  </a:lnTo>
                  <a:lnTo>
                    <a:pt x="4087" y="2008"/>
                  </a:lnTo>
                  <a:lnTo>
                    <a:pt x="4096" y="2008"/>
                  </a:lnTo>
                  <a:lnTo>
                    <a:pt x="4096" y="2008"/>
                  </a:lnTo>
                  <a:lnTo>
                    <a:pt x="4096" y="2008"/>
                  </a:lnTo>
                  <a:close/>
                  <a:moveTo>
                    <a:pt x="4028" y="2025"/>
                  </a:moveTo>
                  <a:lnTo>
                    <a:pt x="4016" y="2029"/>
                  </a:lnTo>
                  <a:lnTo>
                    <a:pt x="4000" y="2025"/>
                  </a:lnTo>
                  <a:lnTo>
                    <a:pt x="4028" y="2025"/>
                  </a:lnTo>
                  <a:lnTo>
                    <a:pt x="4028" y="2025"/>
                  </a:lnTo>
                  <a:lnTo>
                    <a:pt x="4028" y="2025"/>
                  </a:lnTo>
                  <a:close/>
                  <a:moveTo>
                    <a:pt x="4297" y="2025"/>
                  </a:moveTo>
                  <a:lnTo>
                    <a:pt x="4314" y="2013"/>
                  </a:lnTo>
                  <a:lnTo>
                    <a:pt x="4323" y="2029"/>
                  </a:lnTo>
                  <a:lnTo>
                    <a:pt x="4302" y="2041"/>
                  </a:lnTo>
                  <a:lnTo>
                    <a:pt x="4271" y="2041"/>
                  </a:lnTo>
                  <a:lnTo>
                    <a:pt x="4281" y="2058"/>
                  </a:lnTo>
                  <a:lnTo>
                    <a:pt x="4243" y="2029"/>
                  </a:lnTo>
                  <a:lnTo>
                    <a:pt x="4217" y="2029"/>
                  </a:lnTo>
                  <a:lnTo>
                    <a:pt x="4248" y="2013"/>
                  </a:lnTo>
                  <a:lnTo>
                    <a:pt x="4297" y="2025"/>
                  </a:lnTo>
                  <a:lnTo>
                    <a:pt x="4297" y="2025"/>
                  </a:lnTo>
                  <a:lnTo>
                    <a:pt x="4297" y="2025"/>
                  </a:lnTo>
                  <a:close/>
                  <a:moveTo>
                    <a:pt x="4082" y="2013"/>
                  </a:moveTo>
                  <a:lnTo>
                    <a:pt x="4104" y="2029"/>
                  </a:lnTo>
                  <a:lnTo>
                    <a:pt x="4082" y="2025"/>
                  </a:lnTo>
                  <a:lnTo>
                    <a:pt x="4082" y="2013"/>
                  </a:lnTo>
                  <a:lnTo>
                    <a:pt x="4082" y="2013"/>
                  </a:lnTo>
                  <a:lnTo>
                    <a:pt x="4082" y="2013"/>
                  </a:lnTo>
                  <a:close/>
                  <a:moveTo>
                    <a:pt x="4411" y="2025"/>
                  </a:moveTo>
                  <a:lnTo>
                    <a:pt x="4422" y="2041"/>
                  </a:lnTo>
                  <a:lnTo>
                    <a:pt x="4356" y="2065"/>
                  </a:lnTo>
                  <a:lnTo>
                    <a:pt x="4411" y="2025"/>
                  </a:lnTo>
                  <a:lnTo>
                    <a:pt x="4411" y="2025"/>
                  </a:lnTo>
                  <a:lnTo>
                    <a:pt x="4411" y="2025"/>
                  </a:lnTo>
                  <a:close/>
                  <a:moveTo>
                    <a:pt x="2731" y="2029"/>
                  </a:moveTo>
                  <a:lnTo>
                    <a:pt x="2731" y="2041"/>
                  </a:lnTo>
                  <a:lnTo>
                    <a:pt x="2722" y="2029"/>
                  </a:lnTo>
                  <a:lnTo>
                    <a:pt x="2731" y="2029"/>
                  </a:lnTo>
                  <a:lnTo>
                    <a:pt x="2731" y="2029"/>
                  </a:lnTo>
                  <a:lnTo>
                    <a:pt x="2731" y="2029"/>
                  </a:lnTo>
                  <a:close/>
                  <a:moveTo>
                    <a:pt x="378" y="2119"/>
                  </a:moveTo>
                  <a:lnTo>
                    <a:pt x="385" y="2119"/>
                  </a:lnTo>
                  <a:lnTo>
                    <a:pt x="357" y="2115"/>
                  </a:lnTo>
                  <a:lnTo>
                    <a:pt x="357" y="2086"/>
                  </a:lnTo>
                  <a:lnTo>
                    <a:pt x="385" y="2103"/>
                  </a:lnTo>
                  <a:lnTo>
                    <a:pt x="362" y="2086"/>
                  </a:lnTo>
                  <a:lnTo>
                    <a:pt x="385" y="2081"/>
                  </a:lnTo>
                  <a:lnTo>
                    <a:pt x="411" y="2086"/>
                  </a:lnTo>
                  <a:lnTo>
                    <a:pt x="400" y="2065"/>
                  </a:lnTo>
                  <a:lnTo>
                    <a:pt x="411" y="2065"/>
                  </a:lnTo>
                  <a:lnTo>
                    <a:pt x="466" y="2065"/>
                  </a:lnTo>
                  <a:lnTo>
                    <a:pt x="466" y="2041"/>
                  </a:lnTo>
                  <a:lnTo>
                    <a:pt x="454" y="2029"/>
                  </a:lnTo>
                  <a:lnTo>
                    <a:pt x="475" y="2029"/>
                  </a:lnTo>
                  <a:lnTo>
                    <a:pt x="475" y="2048"/>
                  </a:lnTo>
                  <a:lnTo>
                    <a:pt x="508" y="2048"/>
                  </a:lnTo>
                  <a:lnTo>
                    <a:pt x="466" y="2103"/>
                  </a:lnTo>
                  <a:lnTo>
                    <a:pt x="449" y="2119"/>
                  </a:lnTo>
                  <a:lnTo>
                    <a:pt x="475" y="2157"/>
                  </a:lnTo>
                  <a:lnTo>
                    <a:pt x="466" y="2157"/>
                  </a:lnTo>
                  <a:lnTo>
                    <a:pt x="433" y="2119"/>
                  </a:lnTo>
                  <a:lnTo>
                    <a:pt x="423" y="2136"/>
                  </a:lnTo>
                  <a:lnTo>
                    <a:pt x="357" y="2124"/>
                  </a:lnTo>
                  <a:lnTo>
                    <a:pt x="357" y="2115"/>
                  </a:lnTo>
                  <a:lnTo>
                    <a:pt x="378" y="2119"/>
                  </a:lnTo>
                  <a:lnTo>
                    <a:pt x="378" y="2119"/>
                  </a:lnTo>
                  <a:lnTo>
                    <a:pt x="378" y="2119"/>
                  </a:lnTo>
                  <a:close/>
                  <a:moveTo>
                    <a:pt x="5129" y="2029"/>
                  </a:moveTo>
                  <a:lnTo>
                    <a:pt x="5129" y="2041"/>
                  </a:lnTo>
                  <a:lnTo>
                    <a:pt x="5129" y="2058"/>
                  </a:lnTo>
                  <a:lnTo>
                    <a:pt x="5107" y="2048"/>
                  </a:lnTo>
                  <a:lnTo>
                    <a:pt x="5129" y="2029"/>
                  </a:lnTo>
                  <a:lnTo>
                    <a:pt x="5129" y="2029"/>
                  </a:lnTo>
                  <a:lnTo>
                    <a:pt x="5129" y="2029"/>
                  </a:lnTo>
                  <a:close/>
                  <a:moveTo>
                    <a:pt x="130" y="2058"/>
                  </a:moveTo>
                  <a:lnTo>
                    <a:pt x="114" y="2048"/>
                  </a:lnTo>
                  <a:lnTo>
                    <a:pt x="130" y="2041"/>
                  </a:lnTo>
                  <a:lnTo>
                    <a:pt x="152" y="2048"/>
                  </a:lnTo>
                  <a:lnTo>
                    <a:pt x="130" y="2058"/>
                  </a:lnTo>
                  <a:lnTo>
                    <a:pt x="130" y="2058"/>
                  </a:lnTo>
                  <a:lnTo>
                    <a:pt x="130" y="2058"/>
                  </a:lnTo>
                  <a:close/>
                  <a:moveTo>
                    <a:pt x="3192" y="2048"/>
                  </a:moveTo>
                  <a:lnTo>
                    <a:pt x="3201" y="2058"/>
                  </a:lnTo>
                  <a:lnTo>
                    <a:pt x="3192" y="2081"/>
                  </a:lnTo>
                  <a:lnTo>
                    <a:pt x="3180" y="2081"/>
                  </a:lnTo>
                  <a:lnTo>
                    <a:pt x="3180" y="2070"/>
                  </a:lnTo>
                  <a:lnTo>
                    <a:pt x="3180" y="2058"/>
                  </a:lnTo>
                  <a:lnTo>
                    <a:pt x="3170" y="2048"/>
                  </a:lnTo>
                  <a:lnTo>
                    <a:pt x="3163" y="2081"/>
                  </a:lnTo>
                  <a:lnTo>
                    <a:pt x="3154" y="2070"/>
                  </a:lnTo>
                  <a:lnTo>
                    <a:pt x="3154" y="2058"/>
                  </a:lnTo>
                  <a:lnTo>
                    <a:pt x="3163" y="2048"/>
                  </a:lnTo>
                  <a:lnTo>
                    <a:pt x="3192" y="2048"/>
                  </a:lnTo>
                  <a:lnTo>
                    <a:pt x="3192" y="2048"/>
                  </a:lnTo>
                  <a:lnTo>
                    <a:pt x="3192" y="2048"/>
                  </a:lnTo>
                  <a:close/>
                  <a:moveTo>
                    <a:pt x="5150" y="2058"/>
                  </a:moveTo>
                  <a:lnTo>
                    <a:pt x="5138" y="2058"/>
                  </a:lnTo>
                  <a:lnTo>
                    <a:pt x="5167" y="2048"/>
                  </a:lnTo>
                  <a:lnTo>
                    <a:pt x="5150" y="2058"/>
                  </a:lnTo>
                  <a:lnTo>
                    <a:pt x="5150" y="2058"/>
                  </a:lnTo>
                  <a:lnTo>
                    <a:pt x="5150" y="2058"/>
                  </a:lnTo>
                  <a:close/>
                  <a:moveTo>
                    <a:pt x="3147" y="2048"/>
                  </a:moveTo>
                  <a:lnTo>
                    <a:pt x="3147" y="2081"/>
                  </a:lnTo>
                  <a:lnTo>
                    <a:pt x="3109" y="2048"/>
                  </a:lnTo>
                  <a:lnTo>
                    <a:pt x="3147" y="2048"/>
                  </a:lnTo>
                  <a:lnTo>
                    <a:pt x="3147" y="2048"/>
                  </a:lnTo>
                  <a:lnTo>
                    <a:pt x="3147" y="2048"/>
                  </a:lnTo>
                  <a:close/>
                  <a:moveTo>
                    <a:pt x="2802" y="2058"/>
                  </a:moveTo>
                  <a:lnTo>
                    <a:pt x="2807" y="2065"/>
                  </a:lnTo>
                  <a:lnTo>
                    <a:pt x="2793" y="2070"/>
                  </a:lnTo>
                  <a:lnTo>
                    <a:pt x="2793" y="2065"/>
                  </a:lnTo>
                  <a:lnTo>
                    <a:pt x="2776" y="2058"/>
                  </a:lnTo>
                  <a:lnTo>
                    <a:pt x="2785" y="2048"/>
                  </a:lnTo>
                  <a:lnTo>
                    <a:pt x="2802" y="2058"/>
                  </a:lnTo>
                  <a:lnTo>
                    <a:pt x="2802" y="2058"/>
                  </a:lnTo>
                  <a:lnTo>
                    <a:pt x="2802" y="2058"/>
                  </a:lnTo>
                  <a:close/>
                  <a:moveTo>
                    <a:pt x="3563" y="2065"/>
                  </a:moveTo>
                  <a:lnTo>
                    <a:pt x="3563" y="2081"/>
                  </a:lnTo>
                  <a:lnTo>
                    <a:pt x="3558" y="2086"/>
                  </a:lnTo>
                  <a:lnTo>
                    <a:pt x="3541" y="2081"/>
                  </a:lnTo>
                  <a:lnTo>
                    <a:pt x="3563" y="2065"/>
                  </a:lnTo>
                  <a:lnTo>
                    <a:pt x="3563" y="2065"/>
                  </a:lnTo>
                  <a:lnTo>
                    <a:pt x="3563" y="2065"/>
                  </a:lnTo>
                  <a:close/>
                  <a:moveTo>
                    <a:pt x="4481" y="2065"/>
                  </a:moveTo>
                  <a:lnTo>
                    <a:pt x="4512" y="2065"/>
                  </a:lnTo>
                  <a:lnTo>
                    <a:pt x="4512" y="2081"/>
                  </a:lnTo>
                  <a:lnTo>
                    <a:pt x="4486" y="2103"/>
                  </a:lnTo>
                  <a:lnTo>
                    <a:pt x="4465" y="2103"/>
                  </a:lnTo>
                  <a:lnTo>
                    <a:pt x="4460" y="2086"/>
                  </a:lnTo>
                  <a:lnTo>
                    <a:pt x="4465" y="2070"/>
                  </a:lnTo>
                  <a:lnTo>
                    <a:pt x="4481" y="2065"/>
                  </a:lnTo>
                  <a:lnTo>
                    <a:pt x="4481" y="2065"/>
                  </a:lnTo>
                  <a:lnTo>
                    <a:pt x="4481" y="2065"/>
                  </a:lnTo>
                  <a:close/>
                  <a:moveTo>
                    <a:pt x="400" y="2081"/>
                  </a:moveTo>
                  <a:lnTo>
                    <a:pt x="385" y="2070"/>
                  </a:lnTo>
                  <a:lnTo>
                    <a:pt x="400" y="2070"/>
                  </a:lnTo>
                  <a:lnTo>
                    <a:pt x="400" y="2081"/>
                  </a:lnTo>
                  <a:lnTo>
                    <a:pt x="400" y="2081"/>
                  </a:lnTo>
                  <a:lnTo>
                    <a:pt x="400" y="2081"/>
                  </a:lnTo>
                  <a:close/>
                  <a:moveTo>
                    <a:pt x="4389" y="2070"/>
                  </a:moveTo>
                  <a:lnTo>
                    <a:pt x="4406" y="2081"/>
                  </a:lnTo>
                  <a:lnTo>
                    <a:pt x="4356" y="2136"/>
                  </a:lnTo>
                  <a:lnTo>
                    <a:pt x="4335" y="2140"/>
                  </a:lnTo>
                  <a:lnTo>
                    <a:pt x="4318" y="2136"/>
                  </a:lnTo>
                  <a:lnTo>
                    <a:pt x="4335" y="2115"/>
                  </a:lnTo>
                  <a:lnTo>
                    <a:pt x="4356" y="2103"/>
                  </a:lnTo>
                  <a:lnTo>
                    <a:pt x="4368" y="2081"/>
                  </a:lnTo>
                  <a:lnTo>
                    <a:pt x="4389" y="2070"/>
                  </a:lnTo>
                  <a:lnTo>
                    <a:pt x="4389" y="2070"/>
                  </a:lnTo>
                  <a:lnTo>
                    <a:pt x="4389" y="2070"/>
                  </a:lnTo>
                  <a:close/>
                  <a:moveTo>
                    <a:pt x="3541" y="2098"/>
                  </a:moveTo>
                  <a:lnTo>
                    <a:pt x="3525" y="2081"/>
                  </a:lnTo>
                  <a:lnTo>
                    <a:pt x="3532" y="2070"/>
                  </a:lnTo>
                  <a:lnTo>
                    <a:pt x="3546" y="2086"/>
                  </a:lnTo>
                  <a:lnTo>
                    <a:pt x="3541" y="2098"/>
                  </a:lnTo>
                  <a:lnTo>
                    <a:pt x="3541" y="2098"/>
                  </a:lnTo>
                  <a:lnTo>
                    <a:pt x="3541" y="2098"/>
                  </a:lnTo>
                  <a:close/>
                  <a:moveTo>
                    <a:pt x="2769" y="2098"/>
                  </a:moveTo>
                  <a:lnTo>
                    <a:pt x="2769" y="2115"/>
                  </a:lnTo>
                  <a:lnTo>
                    <a:pt x="2755" y="2115"/>
                  </a:lnTo>
                  <a:lnTo>
                    <a:pt x="2759" y="2098"/>
                  </a:lnTo>
                  <a:lnTo>
                    <a:pt x="2769" y="2098"/>
                  </a:lnTo>
                  <a:lnTo>
                    <a:pt x="2769" y="2098"/>
                  </a:lnTo>
                  <a:lnTo>
                    <a:pt x="2769" y="2098"/>
                  </a:lnTo>
                  <a:close/>
                  <a:moveTo>
                    <a:pt x="3563" y="2115"/>
                  </a:moveTo>
                  <a:lnTo>
                    <a:pt x="3570" y="2115"/>
                  </a:lnTo>
                  <a:lnTo>
                    <a:pt x="3558" y="2115"/>
                  </a:lnTo>
                  <a:lnTo>
                    <a:pt x="3563" y="2115"/>
                  </a:lnTo>
                  <a:lnTo>
                    <a:pt x="3563" y="2115"/>
                  </a:lnTo>
                  <a:lnTo>
                    <a:pt x="3563" y="2115"/>
                  </a:lnTo>
                  <a:close/>
                  <a:moveTo>
                    <a:pt x="2868" y="2103"/>
                  </a:moveTo>
                  <a:lnTo>
                    <a:pt x="2878" y="2119"/>
                  </a:lnTo>
                  <a:lnTo>
                    <a:pt x="2878" y="2124"/>
                  </a:lnTo>
                  <a:lnTo>
                    <a:pt x="2861" y="2119"/>
                  </a:lnTo>
                  <a:lnTo>
                    <a:pt x="2868" y="2103"/>
                  </a:lnTo>
                  <a:lnTo>
                    <a:pt x="2868" y="2103"/>
                  </a:lnTo>
                  <a:lnTo>
                    <a:pt x="2868" y="2103"/>
                  </a:lnTo>
                  <a:close/>
                  <a:moveTo>
                    <a:pt x="2856" y="2119"/>
                  </a:moveTo>
                  <a:lnTo>
                    <a:pt x="2868" y="2136"/>
                  </a:lnTo>
                  <a:lnTo>
                    <a:pt x="2861" y="2140"/>
                  </a:lnTo>
                  <a:lnTo>
                    <a:pt x="2856" y="2157"/>
                  </a:lnTo>
                  <a:lnTo>
                    <a:pt x="2830" y="2152"/>
                  </a:lnTo>
                  <a:lnTo>
                    <a:pt x="2830" y="2119"/>
                  </a:lnTo>
                  <a:lnTo>
                    <a:pt x="2856" y="2119"/>
                  </a:lnTo>
                  <a:lnTo>
                    <a:pt x="2856" y="2119"/>
                  </a:lnTo>
                  <a:lnTo>
                    <a:pt x="2856" y="2119"/>
                  </a:lnTo>
                  <a:close/>
                  <a:moveTo>
                    <a:pt x="3584" y="2124"/>
                  </a:moveTo>
                  <a:lnTo>
                    <a:pt x="3570" y="2119"/>
                  </a:lnTo>
                  <a:lnTo>
                    <a:pt x="3584" y="2119"/>
                  </a:lnTo>
                  <a:lnTo>
                    <a:pt x="3584" y="2124"/>
                  </a:lnTo>
                  <a:lnTo>
                    <a:pt x="3584" y="2124"/>
                  </a:lnTo>
                  <a:lnTo>
                    <a:pt x="3584" y="2124"/>
                  </a:lnTo>
                  <a:close/>
                  <a:moveTo>
                    <a:pt x="5129" y="2124"/>
                  </a:moveTo>
                  <a:lnTo>
                    <a:pt x="5129" y="2136"/>
                  </a:lnTo>
                  <a:lnTo>
                    <a:pt x="5124" y="2124"/>
                  </a:lnTo>
                  <a:lnTo>
                    <a:pt x="5129" y="2124"/>
                  </a:lnTo>
                  <a:lnTo>
                    <a:pt x="5129" y="2124"/>
                  </a:lnTo>
                  <a:lnTo>
                    <a:pt x="5129" y="2124"/>
                  </a:lnTo>
                  <a:close/>
                  <a:moveTo>
                    <a:pt x="3579" y="2157"/>
                  </a:moveTo>
                  <a:lnTo>
                    <a:pt x="3579" y="2152"/>
                  </a:lnTo>
                  <a:lnTo>
                    <a:pt x="3579" y="2140"/>
                  </a:lnTo>
                  <a:lnTo>
                    <a:pt x="3596" y="2152"/>
                  </a:lnTo>
                  <a:lnTo>
                    <a:pt x="3579" y="2157"/>
                  </a:lnTo>
                  <a:lnTo>
                    <a:pt x="3579" y="2157"/>
                  </a:lnTo>
                  <a:lnTo>
                    <a:pt x="3579" y="2157"/>
                  </a:lnTo>
                  <a:close/>
                  <a:moveTo>
                    <a:pt x="2759" y="2152"/>
                  </a:moveTo>
                  <a:lnTo>
                    <a:pt x="2759" y="2157"/>
                  </a:lnTo>
                  <a:lnTo>
                    <a:pt x="2748" y="2176"/>
                  </a:lnTo>
                  <a:lnTo>
                    <a:pt x="2717" y="2157"/>
                  </a:lnTo>
                  <a:lnTo>
                    <a:pt x="2738" y="2140"/>
                  </a:lnTo>
                  <a:lnTo>
                    <a:pt x="2759" y="2152"/>
                  </a:lnTo>
                  <a:lnTo>
                    <a:pt x="2759" y="2152"/>
                  </a:lnTo>
                  <a:lnTo>
                    <a:pt x="2759" y="2152"/>
                  </a:lnTo>
                  <a:close/>
                  <a:moveTo>
                    <a:pt x="4626" y="2157"/>
                  </a:moveTo>
                  <a:lnTo>
                    <a:pt x="4642" y="2181"/>
                  </a:lnTo>
                  <a:lnTo>
                    <a:pt x="4642" y="2209"/>
                  </a:lnTo>
                  <a:lnTo>
                    <a:pt x="4595" y="2181"/>
                  </a:lnTo>
                  <a:lnTo>
                    <a:pt x="4611" y="2157"/>
                  </a:lnTo>
                  <a:lnTo>
                    <a:pt x="4626" y="2157"/>
                  </a:lnTo>
                  <a:lnTo>
                    <a:pt x="4626" y="2157"/>
                  </a:lnTo>
                  <a:lnTo>
                    <a:pt x="4626" y="2157"/>
                  </a:lnTo>
                  <a:close/>
                  <a:moveTo>
                    <a:pt x="4642" y="2157"/>
                  </a:moveTo>
                  <a:lnTo>
                    <a:pt x="4663" y="2176"/>
                  </a:lnTo>
                  <a:lnTo>
                    <a:pt x="4637" y="2169"/>
                  </a:lnTo>
                  <a:lnTo>
                    <a:pt x="4642" y="2157"/>
                  </a:lnTo>
                  <a:lnTo>
                    <a:pt x="4642" y="2157"/>
                  </a:lnTo>
                  <a:lnTo>
                    <a:pt x="4642" y="2157"/>
                  </a:lnTo>
                  <a:close/>
                  <a:moveTo>
                    <a:pt x="4368" y="2192"/>
                  </a:moveTo>
                  <a:lnTo>
                    <a:pt x="4352" y="2181"/>
                  </a:lnTo>
                  <a:lnTo>
                    <a:pt x="4373" y="2176"/>
                  </a:lnTo>
                  <a:lnTo>
                    <a:pt x="4356" y="2169"/>
                  </a:lnTo>
                  <a:lnTo>
                    <a:pt x="4389" y="2169"/>
                  </a:lnTo>
                  <a:lnTo>
                    <a:pt x="4368" y="2192"/>
                  </a:lnTo>
                  <a:lnTo>
                    <a:pt x="4368" y="2192"/>
                  </a:lnTo>
                  <a:lnTo>
                    <a:pt x="4368" y="2192"/>
                  </a:lnTo>
                  <a:close/>
                  <a:moveTo>
                    <a:pt x="2516" y="2176"/>
                  </a:moveTo>
                  <a:lnTo>
                    <a:pt x="2521" y="2181"/>
                  </a:lnTo>
                  <a:lnTo>
                    <a:pt x="2504" y="2176"/>
                  </a:lnTo>
                  <a:lnTo>
                    <a:pt x="2516" y="2176"/>
                  </a:lnTo>
                  <a:lnTo>
                    <a:pt x="2516" y="2176"/>
                  </a:lnTo>
                  <a:lnTo>
                    <a:pt x="2516" y="2176"/>
                  </a:lnTo>
                  <a:close/>
                  <a:moveTo>
                    <a:pt x="2542" y="2176"/>
                  </a:moveTo>
                  <a:lnTo>
                    <a:pt x="2570" y="2192"/>
                  </a:lnTo>
                  <a:lnTo>
                    <a:pt x="2542" y="2197"/>
                  </a:lnTo>
                  <a:lnTo>
                    <a:pt x="2521" y="2176"/>
                  </a:lnTo>
                  <a:lnTo>
                    <a:pt x="2542" y="2176"/>
                  </a:lnTo>
                  <a:lnTo>
                    <a:pt x="2542" y="2176"/>
                  </a:lnTo>
                  <a:lnTo>
                    <a:pt x="2542" y="2176"/>
                  </a:lnTo>
                  <a:close/>
                  <a:moveTo>
                    <a:pt x="2129" y="2176"/>
                  </a:moveTo>
                  <a:lnTo>
                    <a:pt x="2138" y="2176"/>
                  </a:lnTo>
                  <a:lnTo>
                    <a:pt x="2122" y="2176"/>
                  </a:lnTo>
                  <a:lnTo>
                    <a:pt x="2129" y="2176"/>
                  </a:lnTo>
                  <a:lnTo>
                    <a:pt x="2129" y="2176"/>
                  </a:lnTo>
                  <a:lnTo>
                    <a:pt x="2129" y="2176"/>
                  </a:lnTo>
                  <a:close/>
                  <a:moveTo>
                    <a:pt x="2122" y="2181"/>
                  </a:moveTo>
                  <a:lnTo>
                    <a:pt x="2100" y="2181"/>
                  </a:lnTo>
                  <a:lnTo>
                    <a:pt x="2122" y="2176"/>
                  </a:lnTo>
                  <a:lnTo>
                    <a:pt x="2122" y="2181"/>
                  </a:lnTo>
                  <a:lnTo>
                    <a:pt x="2122" y="2181"/>
                  </a:lnTo>
                  <a:lnTo>
                    <a:pt x="2122" y="2181"/>
                  </a:lnTo>
                  <a:close/>
                  <a:moveTo>
                    <a:pt x="4675" y="2192"/>
                  </a:moveTo>
                  <a:lnTo>
                    <a:pt x="4696" y="2209"/>
                  </a:lnTo>
                  <a:lnTo>
                    <a:pt x="4680" y="2214"/>
                  </a:lnTo>
                  <a:lnTo>
                    <a:pt x="4675" y="2197"/>
                  </a:lnTo>
                  <a:lnTo>
                    <a:pt x="4675" y="2192"/>
                  </a:lnTo>
                  <a:lnTo>
                    <a:pt x="4675" y="2192"/>
                  </a:lnTo>
                  <a:lnTo>
                    <a:pt x="4675" y="2192"/>
                  </a:lnTo>
                  <a:close/>
                  <a:moveTo>
                    <a:pt x="2868" y="2197"/>
                  </a:moveTo>
                  <a:lnTo>
                    <a:pt x="2868" y="2214"/>
                  </a:lnTo>
                  <a:lnTo>
                    <a:pt x="2861" y="2209"/>
                  </a:lnTo>
                  <a:lnTo>
                    <a:pt x="2868" y="2197"/>
                  </a:lnTo>
                  <a:lnTo>
                    <a:pt x="2868" y="2197"/>
                  </a:lnTo>
                  <a:lnTo>
                    <a:pt x="2868" y="2197"/>
                  </a:lnTo>
                  <a:close/>
                  <a:moveTo>
                    <a:pt x="4340" y="2197"/>
                  </a:moveTo>
                  <a:lnTo>
                    <a:pt x="4368" y="2214"/>
                  </a:lnTo>
                  <a:lnTo>
                    <a:pt x="4340" y="2226"/>
                  </a:lnTo>
                  <a:lnTo>
                    <a:pt x="4335" y="2214"/>
                  </a:lnTo>
                  <a:lnTo>
                    <a:pt x="4340" y="2197"/>
                  </a:lnTo>
                  <a:lnTo>
                    <a:pt x="4340" y="2197"/>
                  </a:lnTo>
                  <a:lnTo>
                    <a:pt x="4340" y="2197"/>
                  </a:lnTo>
                  <a:close/>
                  <a:moveTo>
                    <a:pt x="4512" y="2341"/>
                  </a:moveTo>
                  <a:lnTo>
                    <a:pt x="4481" y="2337"/>
                  </a:lnTo>
                  <a:lnTo>
                    <a:pt x="4474" y="2308"/>
                  </a:lnTo>
                  <a:lnTo>
                    <a:pt x="4465" y="2285"/>
                  </a:lnTo>
                  <a:lnTo>
                    <a:pt x="4503" y="2214"/>
                  </a:lnTo>
                  <a:lnTo>
                    <a:pt x="4574" y="2209"/>
                  </a:lnTo>
                  <a:lnTo>
                    <a:pt x="4621" y="2214"/>
                  </a:lnTo>
                  <a:lnTo>
                    <a:pt x="4626" y="2230"/>
                  </a:lnTo>
                  <a:lnTo>
                    <a:pt x="4621" y="2252"/>
                  </a:lnTo>
                  <a:lnTo>
                    <a:pt x="4626" y="2292"/>
                  </a:lnTo>
                  <a:lnTo>
                    <a:pt x="4621" y="2308"/>
                  </a:lnTo>
                  <a:lnTo>
                    <a:pt x="4567" y="2337"/>
                  </a:lnTo>
                  <a:lnTo>
                    <a:pt x="4512" y="2341"/>
                  </a:lnTo>
                  <a:lnTo>
                    <a:pt x="4512" y="2341"/>
                  </a:lnTo>
                  <a:lnTo>
                    <a:pt x="4512" y="2341"/>
                  </a:lnTo>
                  <a:close/>
                  <a:moveTo>
                    <a:pt x="3827" y="2226"/>
                  </a:moveTo>
                  <a:lnTo>
                    <a:pt x="3834" y="2263"/>
                  </a:lnTo>
                  <a:lnTo>
                    <a:pt x="3818" y="2280"/>
                  </a:lnTo>
                  <a:lnTo>
                    <a:pt x="3796" y="2268"/>
                  </a:lnTo>
                  <a:lnTo>
                    <a:pt x="3796" y="2252"/>
                  </a:lnTo>
                  <a:lnTo>
                    <a:pt x="3801" y="2247"/>
                  </a:lnTo>
                  <a:lnTo>
                    <a:pt x="3785" y="2235"/>
                  </a:lnTo>
                  <a:lnTo>
                    <a:pt x="3811" y="2209"/>
                  </a:lnTo>
                  <a:lnTo>
                    <a:pt x="3827" y="2214"/>
                  </a:lnTo>
                  <a:lnTo>
                    <a:pt x="3827" y="2226"/>
                  </a:lnTo>
                  <a:lnTo>
                    <a:pt x="3827" y="2226"/>
                  </a:lnTo>
                  <a:lnTo>
                    <a:pt x="3827" y="2226"/>
                  </a:lnTo>
                  <a:close/>
                  <a:moveTo>
                    <a:pt x="5237" y="2230"/>
                  </a:moveTo>
                  <a:lnTo>
                    <a:pt x="5214" y="2226"/>
                  </a:lnTo>
                  <a:lnTo>
                    <a:pt x="5247" y="2214"/>
                  </a:lnTo>
                  <a:lnTo>
                    <a:pt x="5237" y="2230"/>
                  </a:lnTo>
                  <a:lnTo>
                    <a:pt x="5237" y="2230"/>
                  </a:lnTo>
                  <a:lnTo>
                    <a:pt x="5237" y="2230"/>
                  </a:lnTo>
                  <a:close/>
                  <a:moveTo>
                    <a:pt x="4696" y="2214"/>
                  </a:moveTo>
                  <a:lnTo>
                    <a:pt x="4696" y="2230"/>
                  </a:lnTo>
                  <a:lnTo>
                    <a:pt x="4692" y="2226"/>
                  </a:lnTo>
                  <a:lnTo>
                    <a:pt x="4696" y="2214"/>
                  </a:lnTo>
                  <a:lnTo>
                    <a:pt x="4696" y="2214"/>
                  </a:lnTo>
                  <a:lnTo>
                    <a:pt x="4696" y="2214"/>
                  </a:lnTo>
                  <a:close/>
                  <a:moveTo>
                    <a:pt x="2570" y="2226"/>
                  </a:moveTo>
                  <a:lnTo>
                    <a:pt x="2559" y="2235"/>
                  </a:lnTo>
                  <a:lnTo>
                    <a:pt x="2554" y="2230"/>
                  </a:lnTo>
                  <a:lnTo>
                    <a:pt x="2570" y="2226"/>
                  </a:lnTo>
                  <a:lnTo>
                    <a:pt x="2570" y="2226"/>
                  </a:lnTo>
                  <a:lnTo>
                    <a:pt x="2570" y="2226"/>
                  </a:lnTo>
                  <a:close/>
                  <a:moveTo>
                    <a:pt x="5285" y="2226"/>
                  </a:moveTo>
                  <a:lnTo>
                    <a:pt x="5301" y="2230"/>
                  </a:lnTo>
                  <a:lnTo>
                    <a:pt x="5285" y="2230"/>
                  </a:lnTo>
                  <a:lnTo>
                    <a:pt x="5285" y="2226"/>
                  </a:lnTo>
                  <a:lnTo>
                    <a:pt x="5285" y="2226"/>
                  </a:lnTo>
                  <a:lnTo>
                    <a:pt x="5285" y="2226"/>
                  </a:lnTo>
                  <a:close/>
                  <a:moveTo>
                    <a:pt x="4718" y="2247"/>
                  </a:moveTo>
                  <a:lnTo>
                    <a:pt x="4746" y="2247"/>
                  </a:lnTo>
                  <a:lnTo>
                    <a:pt x="4746" y="2268"/>
                  </a:lnTo>
                  <a:lnTo>
                    <a:pt x="4734" y="2280"/>
                  </a:lnTo>
                  <a:lnTo>
                    <a:pt x="4675" y="2268"/>
                  </a:lnTo>
                  <a:lnTo>
                    <a:pt x="4649" y="2263"/>
                  </a:lnTo>
                  <a:lnTo>
                    <a:pt x="4642" y="2247"/>
                  </a:lnTo>
                  <a:lnTo>
                    <a:pt x="4675" y="2226"/>
                  </a:lnTo>
                  <a:lnTo>
                    <a:pt x="4692" y="2235"/>
                  </a:lnTo>
                  <a:lnTo>
                    <a:pt x="4718" y="2247"/>
                  </a:lnTo>
                  <a:lnTo>
                    <a:pt x="4718" y="2247"/>
                  </a:lnTo>
                  <a:lnTo>
                    <a:pt x="4718" y="2247"/>
                  </a:lnTo>
                  <a:close/>
                  <a:moveTo>
                    <a:pt x="2214" y="2230"/>
                  </a:moveTo>
                  <a:lnTo>
                    <a:pt x="2219" y="2247"/>
                  </a:lnTo>
                  <a:lnTo>
                    <a:pt x="2209" y="2235"/>
                  </a:lnTo>
                  <a:lnTo>
                    <a:pt x="2214" y="2230"/>
                  </a:lnTo>
                  <a:lnTo>
                    <a:pt x="2214" y="2230"/>
                  </a:lnTo>
                  <a:lnTo>
                    <a:pt x="2214" y="2230"/>
                  </a:lnTo>
                  <a:close/>
                  <a:moveTo>
                    <a:pt x="2948" y="2235"/>
                  </a:moveTo>
                  <a:lnTo>
                    <a:pt x="2948" y="2247"/>
                  </a:lnTo>
                  <a:lnTo>
                    <a:pt x="2937" y="2235"/>
                  </a:lnTo>
                  <a:lnTo>
                    <a:pt x="2948" y="2235"/>
                  </a:lnTo>
                  <a:lnTo>
                    <a:pt x="2948" y="2235"/>
                  </a:lnTo>
                  <a:lnTo>
                    <a:pt x="2948" y="2235"/>
                  </a:lnTo>
                  <a:close/>
                  <a:moveTo>
                    <a:pt x="2252" y="2247"/>
                  </a:moveTo>
                  <a:lnTo>
                    <a:pt x="2252" y="2263"/>
                  </a:lnTo>
                  <a:lnTo>
                    <a:pt x="2230" y="2247"/>
                  </a:lnTo>
                  <a:lnTo>
                    <a:pt x="2252" y="2247"/>
                  </a:lnTo>
                  <a:lnTo>
                    <a:pt x="2252" y="2247"/>
                  </a:lnTo>
                  <a:lnTo>
                    <a:pt x="2252" y="2247"/>
                  </a:lnTo>
                  <a:close/>
                  <a:moveTo>
                    <a:pt x="3024" y="2263"/>
                  </a:moveTo>
                  <a:lnTo>
                    <a:pt x="3019" y="2263"/>
                  </a:lnTo>
                  <a:lnTo>
                    <a:pt x="3024" y="2263"/>
                  </a:lnTo>
                  <a:lnTo>
                    <a:pt x="3024" y="2263"/>
                  </a:lnTo>
                  <a:lnTo>
                    <a:pt x="3024" y="2263"/>
                  </a:lnTo>
                  <a:close/>
                  <a:moveTo>
                    <a:pt x="1895" y="2263"/>
                  </a:moveTo>
                  <a:lnTo>
                    <a:pt x="1874" y="2263"/>
                  </a:lnTo>
                  <a:lnTo>
                    <a:pt x="1895" y="2263"/>
                  </a:lnTo>
                  <a:lnTo>
                    <a:pt x="1895" y="2263"/>
                  </a:lnTo>
                  <a:lnTo>
                    <a:pt x="1895" y="2263"/>
                  </a:lnTo>
                  <a:close/>
                  <a:moveTo>
                    <a:pt x="2306" y="2308"/>
                  </a:moveTo>
                  <a:lnTo>
                    <a:pt x="2306" y="2285"/>
                  </a:lnTo>
                  <a:lnTo>
                    <a:pt x="2318" y="2285"/>
                  </a:lnTo>
                  <a:lnTo>
                    <a:pt x="2322" y="2303"/>
                  </a:lnTo>
                  <a:lnTo>
                    <a:pt x="2306" y="2308"/>
                  </a:lnTo>
                  <a:lnTo>
                    <a:pt x="2306" y="2308"/>
                  </a:lnTo>
                  <a:lnTo>
                    <a:pt x="2306" y="2308"/>
                  </a:lnTo>
                  <a:close/>
                  <a:moveTo>
                    <a:pt x="5410" y="2292"/>
                  </a:moveTo>
                  <a:lnTo>
                    <a:pt x="5415" y="2303"/>
                  </a:lnTo>
                  <a:lnTo>
                    <a:pt x="5398" y="2303"/>
                  </a:lnTo>
                  <a:lnTo>
                    <a:pt x="5410" y="2292"/>
                  </a:lnTo>
                  <a:lnTo>
                    <a:pt x="5410" y="2292"/>
                  </a:lnTo>
                  <a:lnTo>
                    <a:pt x="5410" y="2292"/>
                  </a:lnTo>
                  <a:close/>
                  <a:moveTo>
                    <a:pt x="2285" y="2292"/>
                  </a:moveTo>
                  <a:lnTo>
                    <a:pt x="2289" y="2292"/>
                  </a:lnTo>
                  <a:lnTo>
                    <a:pt x="2285" y="2292"/>
                  </a:lnTo>
                  <a:lnTo>
                    <a:pt x="2285" y="2292"/>
                  </a:lnTo>
                  <a:lnTo>
                    <a:pt x="2285" y="2292"/>
                  </a:lnTo>
                  <a:close/>
                  <a:moveTo>
                    <a:pt x="2306" y="2308"/>
                  </a:moveTo>
                  <a:lnTo>
                    <a:pt x="2301" y="2308"/>
                  </a:lnTo>
                  <a:lnTo>
                    <a:pt x="2301" y="2303"/>
                  </a:lnTo>
                  <a:lnTo>
                    <a:pt x="2306" y="2308"/>
                  </a:lnTo>
                  <a:lnTo>
                    <a:pt x="2306" y="2308"/>
                  </a:lnTo>
                  <a:lnTo>
                    <a:pt x="2306" y="2308"/>
                  </a:lnTo>
                  <a:close/>
                  <a:moveTo>
                    <a:pt x="2289" y="2308"/>
                  </a:moveTo>
                  <a:lnTo>
                    <a:pt x="2285" y="2303"/>
                  </a:lnTo>
                  <a:lnTo>
                    <a:pt x="2289" y="2303"/>
                  </a:lnTo>
                  <a:lnTo>
                    <a:pt x="2289" y="2308"/>
                  </a:lnTo>
                  <a:lnTo>
                    <a:pt x="2289" y="2308"/>
                  </a:lnTo>
                  <a:lnTo>
                    <a:pt x="2289" y="2308"/>
                  </a:lnTo>
                  <a:close/>
                  <a:moveTo>
                    <a:pt x="2322" y="2308"/>
                  </a:moveTo>
                  <a:lnTo>
                    <a:pt x="2322" y="2337"/>
                  </a:lnTo>
                  <a:lnTo>
                    <a:pt x="2306" y="2320"/>
                  </a:lnTo>
                  <a:lnTo>
                    <a:pt x="2322" y="2308"/>
                  </a:lnTo>
                  <a:lnTo>
                    <a:pt x="2322" y="2308"/>
                  </a:lnTo>
                  <a:lnTo>
                    <a:pt x="2322" y="2308"/>
                  </a:lnTo>
                  <a:close/>
                  <a:moveTo>
                    <a:pt x="5436" y="2337"/>
                  </a:moveTo>
                  <a:lnTo>
                    <a:pt x="5415" y="2337"/>
                  </a:lnTo>
                  <a:lnTo>
                    <a:pt x="5431" y="2325"/>
                  </a:lnTo>
                  <a:lnTo>
                    <a:pt x="5448" y="2337"/>
                  </a:lnTo>
                  <a:lnTo>
                    <a:pt x="5436" y="2337"/>
                  </a:lnTo>
                  <a:lnTo>
                    <a:pt x="5436" y="2337"/>
                  </a:lnTo>
                  <a:lnTo>
                    <a:pt x="5436" y="2337"/>
                  </a:lnTo>
                  <a:close/>
                  <a:moveTo>
                    <a:pt x="2339" y="2337"/>
                  </a:moveTo>
                  <a:lnTo>
                    <a:pt x="2339" y="2341"/>
                  </a:lnTo>
                  <a:lnTo>
                    <a:pt x="2339" y="2337"/>
                  </a:lnTo>
                  <a:lnTo>
                    <a:pt x="2339" y="2337"/>
                  </a:lnTo>
                  <a:lnTo>
                    <a:pt x="2339" y="2337"/>
                  </a:lnTo>
                  <a:close/>
                  <a:moveTo>
                    <a:pt x="2344" y="2341"/>
                  </a:moveTo>
                  <a:lnTo>
                    <a:pt x="2360" y="2358"/>
                  </a:lnTo>
                  <a:lnTo>
                    <a:pt x="2344" y="2358"/>
                  </a:lnTo>
                  <a:lnTo>
                    <a:pt x="2344" y="2341"/>
                  </a:lnTo>
                  <a:lnTo>
                    <a:pt x="2344" y="2341"/>
                  </a:lnTo>
                  <a:lnTo>
                    <a:pt x="2344" y="2341"/>
                  </a:lnTo>
                  <a:close/>
                  <a:moveTo>
                    <a:pt x="5474" y="2358"/>
                  </a:moveTo>
                  <a:lnTo>
                    <a:pt x="5500" y="2346"/>
                  </a:lnTo>
                  <a:lnTo>
                    <a:pt x="5516" y="2346"/>
                  </a:lnTo>
                  <a:lnTo>
                    <a:pt x="5490" y="2363"/>
                  </a:lnTo>
                  <a:lnTo>
                    <a:pt x="5474" y="2358"/>
                  </a:lnTo>
                  <a:lnTo>
                    <a:pt x="5474" y="2358"/>
                  </a:lnTo>
                  <a:lnTo>
                    <a:pt x="5474" y="2358"/>
                  </a:lnTo>
                  <a:close/>
                  <a:moveTo>
                    <a:pt x="5474" y="2363"/>
                  </a:moveTo>
                  <a:lnTo>
                    <a:pt x="5462" y="2358"/>
                  </a:lnTo>
                  <a:lnTo>
                    <a:pt x="5474" y="2363"/>
                  </a:lnTo>
                  <a:lnTo>
                    <a:pt x="5474" y="2363"/>
                  </a:lnTo>
                  <a:lnTo>
                    <a:pt x="5474" y="2363"/>
                  </a:lnTo>
                  <a:close/>
                  <a:moveTo>
                    <a:pt x="5462" y="2363"/>
                  </a:moveTo>
                  <a:lnTo>
                    <a:pt x="5469" y="2374"/>
                  </a:lnTo>
                  <a:lnTo>
                    <a:pt x="5462" y="2363"/>
                  </a:lnTo>
                  <a:lnTo>
                    <a:pt x="5462" y="2363"/>
                  </a:lnTo>
                  <a:lnTo>
                    <a:pt x="5462" y="2363"/>
                  </a:lnTo>
                  <a:close/>
                  <a:moveTo>
                    <a:pt x="2306" y="2363"/>
                  </a:moveTo>
                  <a:lnTo>
                    <a:pt x="2322" y="2374"/>
                  </a:lnTo>
                  <a:lnTo>
                    <a:pt x="2318" y="2379"/>
                  </a:lnTo>
                  <a:lnTo>
                    <a:pt x="2306" y="2363"/>
                  </a:lnTo>
                  <a:lnTo>
                    <a:pt x="2306" y="2363"/>
                  </a:lnTo>
                  <a:lnTo>
                    <a:pt x="2306" y="2363"/>
                  </a:lnTo>
                  <a:close/>
                  <a:moveTo>
                    <a:pt x="5192" y="2429"/>
                  </a:moveTo>
                  <a:lnTo>
                    <a:pt x="5200" y="2436"/>
                  </a:lnTo>
                  <a:lnTo>
                    <a:pt x="5192" y="2436"/>
                  </a:lnTo>
                  <a:lnTo>
                    <a:pt x="5192" y="2429"/>
                  </a:lnTo>
                  <a:lnTo>
                    <a:pt x="5192" y="2429"/>
                  </a:lnTo>
                  <a:lnTo>
                    <a:pt x="5192" y="2429"/>
                  </a:lnTo>
                  <a:close/>
                  <a:moveTo>
                    <a:pt x="5204" y="2448"/>
                  </a:moveTo>
                  <a:lnTo>
                    <a:pt x="5221" y="2452"/>
                  </a:lnTo>
                  <a:lnTo>
                    <a:pt x="5192" y="2436"/>
                  </a:lnTo>
                  <a:lnTo>
                    <a:pt x="5204" y="2448"/>
                  </a:lnTo>
                  <a:lnTo>
                    <a:pt x="5204" y="2448"/>
                  </a:lnTo>
                  <a:lnTo>
                    <a:pt x="5204" y="2448"/>
                  </a:lnTo>
                  <a:close/>
                  <a:moveTo>
                    <a:pt x="4070" y="2457"/>
                  </a:moveTo>
                  <a:lnTo>
                    <a:pt x="4066" y="2469"/>
                  </a:lnTo>
                  <a:lnTo>
                    <a:pt x="4049" y="2452"/>
                  </a:lnTo>
                  <a:lnTo>
                    <a:pt x="4070" y="2457"/>
                  </a:lnTo>
                  <a:lnTo>
                    <a:pt x="4070" y="2457"/>
                  </a:lnTo>
                  <a:lnTo>
                    <a:pt x="4070" y="2457"/>
                  </a:lnTo>
                  <a:close/>
                  <a:moveTo>
                    <a:pt x="5523" y="2457"/>
                  </a:moveTo>
                  <a:lnTo>
                    <a:pt x="5528" y="2457"/>
                  </a:lnTo>
                  <a:lnTo>
                    <a:pt x="5507" y="2457"/>
                  </a:lnTo>
                  <a:lnTo>
                    <a:pt x="5523" y="2457"/>
                  </a:lnTo>
                  <a:lnTo>
                    <a:pt x="5523" y="2457"/>
                  </a:lnTo>
                  <a:lnTo>
                    <a:pt x="5523" y="2457"/>
                  </a:lnTo>
                  <a:close/>
                  <a:moveTo>
                    <a:pt x="4000" y="2485"/>
                  </a:moveTo>
                  <a:lnTo>
                    <a:pt x="4016" y="2502"/>
                  </a:lnTo>
                  <a:lnTo>
                    <a:pt x="4016" y="2514"/>
                  </a:lnTo>
                  <a:lnTo>
                    <a:pt x="4054" y="2523"/>
                  </a:lnTo>
                  <a:lnTo>
                    <a:pt x="4044" y="2530"/>
                  </a:lnTo>
                  <a:lnTo>
                    <a:pt x="4011" y="2530"/>
                  </a:lnTo>
                  <a:lnTo>
                    <a:pt x="4016" y="2514"/>
                  </a:lnTo>
                  <a:lnTo>
                    <a:pt x="3990" y="2514"/>
                  </a:lnTo>
                  <a:lnTo>
                    <a:pt x="3990" y="2502"/>
                  </a:lnTo>
                  <a:lnTo>
                    <a:pt x="3974" y="2485"/>
                  </a:lnTo>
                  <a:lnTo>
                    <a:pt x="3962" y="2474"/>
                  </a:lnTo>
                  <a:lnTo>
                    <a:pt x="4000" y="2485"/>
                  </a:lnTo>
                  <a:lnTo>
                    <a:pt x="4000" y="2485"/>
                  </a:lnTo>
                  <a:lnTo>
                    <a:pt x="4000" y="2485"/>
                  </a:lnTo>
                  <a:close/>
                  <a:moveTo>
                    <a:pt x="3936" y="2490"/>
                  </a:moveTo>
                  <a:lnTo>
                    <a:pt x="3957" y="2523"/>
                  </a:lnTo>
                  <a:lnTo>
                    <a:pt x="3945" y="2540"/>
                  </a:lnTo>
                  <a:lnTo>
                    <a:pt x="3919" y="2514"/>
                  </a:lnTo>
                  <a:lnTo>
                    <a:pt x="3919" y="2490"/>
                  </a:lnTo>
                  <a:lnTo>
                    <a:pt x="3936" y="2490"/>
                  </a:lnTo>
                  <a:lnTo>
                    <a:pt x="3936" y="2490"/>
                  </a:lnTo>
                  <a:lnTo>
                    <a:pt x="3936" y="2490"/>
                  </a:lnTo>
                  <a:close/>
                  <a:moveTo>
                    <a:pt x="5528" y="2502"/>
                  </a:moveTo>
                  <a:lnTo>
                    <a:pt x="5528" y="2507"/>
                  </a:lnTo>
                  <a:lnTo>
                    <a:pt x="5523" y="2490"/>
                  </a:lnTo>
                  <a:lnTo>
                    <a:pt x="5528" y="2502"/>
                  </a:lnTo>
                  <a:lnTo>
                    <a:pt x="5528" y="2502"/>
                  </a:lnTo>
                  <a:lnTo>
                    <a:pt x="5528" y="2502"/>
                  </a:lnTo>
                  <a:close/>
                  <a:moveTo>
                    <a:pt x="4264" y="2745"/>
                  </a:moveTo>
                  <a:lnTo>
                    <a:pt x="4205" y="2785"/>
                  </a:lnTo>
                  <a:lnTo>
                    <a:pt x="4134" y="2762"/>
                  </a:lnTo>
                  <a:lnTo>
                    <a:pt x="4104" y="2762"/>
                  </a:lnTo>
                  <a:lnTo>
                    <a:pt x="4104" y="2752"/>
                  </a:lnTo>
                  <a:lnTo>
                    <a:pt x="4108" y="2745"/>
                  </a:lnTo>
                  <a:lnTo>
                    <a:pt x="4108" y="2729"/>
                  </a:lnTo>
                  <a:lnTo>
                    <a:pt x="4066" y="2729"/>
                  </a:lnTo>
                  <a:lnTo>
                    <a:pt x="4054" y="2724"/>
                  </a:lnTo>
                  <a:lnTo>
                    <a:pt x="4070" y="2707"/>
                  </a:lnTo>
                  <a:lnTo>
                    <a:pt x="4066" y="2696"/>
                  </a:lnTo>
                  <a:lnTo>
                    <a:pt x="4028" y="2712"/>
                  </a:lnTo>
                  <a:lnTo>
                    <a:pt x="4016" y="2724"/>
                  </a:lnTo>
                  <a:lnTo>
                    <a:pt x="4028" y="2729"/>
                  </a:lnTo>
                  <a:lnTo>
                    <a:pt x="4028" y="2745"/>
                  </a:lnTo>
                  <a:lnTo>
                    <a:pt x="3978" y="2769"/>
                  </a:lnTo>
                  <a:lnTo>
                    <a:pt x="3957" y="2802"/>
                  </a:lnTo>
                  <a:lnTo>
                    <a:pt x="3910" y="2823"/>
                  </a:lnTo>
                  <a:lnTo>
                    <a:pt x="3886" y="2818"/>
                  </a:lnTo>
                  <a:lnTo>
                    <a:pt x="3881" y="2790"/>
                  </a:lnTo>
                  <a:lnTo>
                    <a:pt x="3886" y="2762"/>
                  </a:lnTo>
                  <a:lnTo>
                    <a:pt x="3881" y="2752"/>
                  </a:lnTo>
                  <a:lnTo>
                    <a:pt x="3818" y="2762"/>
                  </a:lnTo>
                  <a:lnTo>
                    <a:pt x="3796" y="2778"/>
                  </a:lnTo>
                  <a:lnTo>
                    <a:pt x="3773" y="2762"/>
                  </a:lnTo>
                  <a:lnTo>
                    <a:pt x="3796" y="2729"/>
                  </a:lnTo>
                  <a:lnTo>
                    <a:pt x="3839" y="2712"/>
                  </a:lnTo>
                  <a:lnTo>
                    <a:pt x="3834" y="2674"/>
                  </a:lnTo>
                  <a:lnTo>
                    <a:pt x="3834" y="2651"/>
                  </a:lnTo>
                  <a:lnTo>
                    <a:pt x="3848" y="2625"/>
                  </a:lnTo>
                  <a:lnTo>
                    <a:pt x="3839" y="2613"/>
                  </a:lnTo>
                  <a:lnTo>
                    <a:pt x="3848" y="2596"/>
                  </a:lnTo>
                  <a:lnTo>
                    <a:pt x="3848" y="2563"/>
                  </a:lnTo>
                  <a:lnTo>
                    <a:pt x="3855" y="2514"/>
                  </a:lnTo>
                  <a:lnTo>
                    <a:pt x="3893" y="2502"/>
                  </a:lnTo>
                  <a:lnTo>
                    <a:pt x="3893" y="2514"/>
                  </a:lnTo>
                  <a:lnTo>
                    <a:pt x="3919" y="2514"/>
                  </a:lnTo>
                  <a:lnTo>
                    <a:pt x="3924" y="2530"/>
                  </a:lnTo>
                  <a:lnTo>
                    <a:pt x="3903" y="2540"/>
                  </a:lnTo>
                  <a:lnTo>
                    <a:pt x="3924" y="2556"/>
                  </a:lnTo>
                  <a:lnTo>
                    <a:pt x="3936" y="2580"/>
                  </a:lnTo>
                  <a:lnTo>
                    <a:pt x="3941" y="2580"/>
                  </a:lnTo>
                  <a:lnTo>
                    <a:pt x="3957" y="2547"/>
                  </a:lnTo>
                  <a:lnTo>
                    <a:pt x="3962" y="2556"/>
                  </a:lnTo>
                  <a:lnTo>
                    <a:pt x="3990" y="2563"/>
                  </a:lnTo>
                  <a:lnTo>
                    <a:pt x="3978" y="2568"/>
                  </a:lnTo>
                  <a:lnTo>
                    <a:pt x="3990" y="2580"/>
                  </a:lnTo>
                  <a:lnTo>
                    <a:pt x="4044" y="2585"/>
                  </a:lnTo>
                  <a:lnTo>
                    <a:pt x="4054" y="2613"/>
                  </a:lnTo>
                  <a:lnTo>
                    <a:pt x="4125" y="2641"/>
                  </a:lnTo>
                  <a:lnTo>
                    <a:pt x="4158" y="2667"/>
                  </a:lnTo>
                  <a:lnTo>
                    <a:pt x="4158" y="2691"/>
                  </a:lnTo>
                  <a:lnTo>
                    <a:pt x="4163" y="2707"/>
                  </a:lnTo>
                  <a:lnTo>
                    <a:pt x="4141" y="2724"/>
                  </a:lnTo>
                  <a:lnTo>
                    <a:pt x="4179" y="2712"/>
                  </a:lnTo>
                  <a:lnTo>
                    <a:pt x="4210" y="2724"/>
                  </a:lnTo>
                  <a:lnTo>
                    <a:pt x="4210" y="2712"/>
                  </a:lnTo>
                  <a:lnTo>
                    <a:pt x="4217" y="2707"/>
                  </a:lnTo>
                  <a:lnTo>
                    <a:pt x="4243" y="2724"/>
                  </a:lnTo>
                  <a:lnTo>
                    <a:pt x="4243" y="2729"/>
                  </a:lnTo>
                  <a:lnTo>
                    <a:pt x="4243" y="2736"/>
                  </a:lnTo>
                  <a:lnTo>
                    <a:pt x="4264" y="2745"/>
                  </a:lnTo>
                  <a:lnTo>
                    <a:pt x="4264" y="2745"/>
                  </a:lnTo>
                  <a:lnTo>
                    <a:pt x="4264" y="2745"/>
                  </a:lnTo>
                  <a:close/>
                  <a:moveTo>
                    <a:pt x="4044" y="2507"/>
                  </a:moveTo>
                  <a:lnTo>
                    <a:pt x="4028" y="2507"/>
                  </a:lnTo>
                  <a:lnTo>
                    <a:pt x="4049" y="2507"/>
                  </a:lnTo>
                  <a:lnTo>
                    <a:pt x="4044" y="2507"/>
                  </a:lnTo>
                  <a:lnTo>
                    <a:pt x="4044" y="2507"/>
                  </a:lnTo>
                  <a:lnTo>
                    <a:pt x="4044" y="2507"/>
                  </a:lnTo>
                  <a:close/>
                  <a:moveTo>
                    <a:pt x="5523" y="2523"/>
                  </a:moveTo>
                  <a:lnTo>
                    <a:pt x="5528" y="2530"/>
                  </a:lnTo>
                  <a:lnTo>
                    <a:pt x="5523" y="2530"/>
                  </a:lnTo>
                  <a:lnTo>
                    <a:pt x="5507" y="2523"/>
                  </a:lnTo>
                  <a:lnTo>
                    <a:pt x="5523" y="2523"/>
                  </a:lnTo>
                  <a:lnTo>
                    <a:pt x="5523" y="2523"/>
                  </a:lnTo>
                  <a:lnTo>
                    <a:pt x="5523" y="2523"/>
                  </a:lnTo>
                  <a:close/>
                  <a:moveTo>
                    <a:pt x="5485" y="2530"/>
                  </a:moveTo>
                  <a:lnTo>
                    <a:pt x="5490" y="2540"/>
                  </a:lnTo>
                  <a:lnTo>
                    <a:pt x="5474" y="2540"/>
                  </a:lnTo>
                  <a:lnTo>
                    <a:pt x="5485" y="2530"/>
                  </a:lnTo>
                  <a:lnTo>
                    <a:pt x="5485" y="2530"/>
                  </a:lnTo>
                  <a:lnTo>
                    <a:pt x="5485" y="2530"/>
                  </a:lnTo>
                  <a:close/>
                  <a:moveTo>
                    <a:pt x="5452" y="2568"/>
                  </a:moveTo>
                  <a:lnTo>
                    <a:pt x="5462" y="2568"/>
                  </a:lnTo>
                  <a:lnTo>
                    <a:pt x="5448" y="2568"/>
                  </a:lnTo>
                  <a:lnTo>
                    <a:pt x="5452" y="2568"/>
                  </a:lnTo>
                  <a:lnTo>
                    <a:pt x="5452" y="2568"/>
                  </a:lnTo>
                  <a:lnTo>
                    <a:pt x="5452" y="2568"/>
                  </a:lnTo>
                  <a:close/>
                  <a:moveTo>
                    <a:pt x="5448" y="2613"/>
                  </a:moveTo>
                  <a:lnTo>
                    <a:pt x="5452" y="2618"/>
                  </a:lnTo>
                  <a:lnTo>
                    <a:pt x="5436" y="2613"/>
                  </a:lnTo>
                  <a:lnTo>
                    <a:pt x="5448" y="2613"/>
                  </a:lnTo>
                  <a:lnTo>
                    <a:pt x="5448" y="2613"/>
                  </a:lnTo>
                  <a:lnTo>
                    <a:pt x="5448" y="2613"/>
                  </a:lnTo>
                  <a:close/>
                  <a:moveTo>
                    <a:pt x="5313" y="2641"/>
                  </a:moveTo>
                  <a:lnTo>
                    <a:pt x="5313" y="2651"/>
                  </a:lnTo>
                  <a:lnTo>
                    <a:pt x="5301" y="2667"/>
                  </a:lnTo>
                  <a:lnTo>
                    <a:pt x="5285" y="2667"/>
                  </a:lnTo>
                  <a:lnTo>
                    <a:pt x="5301" y="2641"/>
                  </a:lnTo>
                  <a:lnTo>
                    <a:pt x="5313" y="2641"/>
                  </a:lnTo>
                  <a:lnTo>
                    <a:pt x="5313" y="2641"/>
                  </a:lnTo>
                  <a:lnTo>
                    <a:pt x="5313" y="2641"/>
                  </a:lnTo>
                  <a:close/>
                  <a:moveTo>
                    <a:pt x="4734" y="2658"/>
                  </a:moveTo>
                  <a:lnTo>
                    <a:pt x="4729" y="2679"/>
                  </a:lnTo>
                  <a:lnTo>
                    <a:pt x="4718" y="2679"/>
                  </a:lnTo>
                  <a:lnTo>
                    <a:pt x="4729" y="2667"/>
                  </a:lnTo>
                  <a:lnTo>
                    <a:pt x="4718" y="2658"/>
                  </a:lnTo>
                  <a:lnTo>
                    <a:pt x="4734" y="2658"/>
                  </a:lnTo>
                  <a:lnTo>
                    <a:pt x="4734" y="2658"/>
                  </a:lnTo>
                  <a:lnTo>
                    <a:pt x="4734" y="2658"/>
                  </a:lnTo>
                  <a:close/>
                  <a:moveTo>
                    <a:pt x="4680" y="2658"/>
                  </a:moveTo>
                  <a:lnTo>
                    <a:pt x="4692" y="2667"/>
                  </a:lnTo>
                  <a:lnTo>
                    <a:pt x="4675" y="2658"/>
                  </a:lnTo>
                  <a:lnTo>
                    <a:pt x="4680" y="2658"/>
                  </a:lnTo>
                  <a:lnTo>
                    <a:pt x="4680" y="2658"/>
                  </a:lnTo>
                  <a:lnTo>
                    <a:pt x="4680" y="2658"/>
                  </a:lnTo>
                  <a:close/>
                  <a:moveTo>
                    <a:pt x="4718" y="2667"/>
                  </a:moveTo>
                  <a:lnTo>
                    <a:pt x="4713" y="2674"/>
                  </a:lnTo>
                  <a:lnTo>
                    <a:pt x="4718" y="2667"/>
                  </a:lnTo>
                  <a:lnTo>
                    <a:pt x="4718" y="2667"/>
                  </a:lnTo>
                  <a:lnTo>
                    <a:pt x="4718" y="2667"/>
                  </a:lnTo>
                  <a:close/>
                  <a:moveTo>
                    <a:pt x="4675" y="2667"/>
                  </a:moveTo>
                  <a:lnTo>
                    <a:pt x="4692" y="2674"/>
                  </a:lnTo>
                  <a:lnTo>
                    <a:pt x="4663" y="2667"/>
                  </a:lnTo>
                  <a:lnTo>
                    <a:pt x="4675" y="2667"/>
                  </a:lnTo>
                  <a:lnTo>
                    <a:pt x="4675" y="2667"/>
                  </a:lnTo>
                  <a:lnTo>
                    <a:pt x="4675" y="2667"/>
                  </a:lnTo>
                  <a:close/>
                  <a:moveTo>
                    <a:pt x="5339" y="2674"/>
                  </a:moveTo>
                  <a:lnTo>
                    <a:pt x="5344" y="2679"/>
                  </a:lnTo>
                  <a:lnTo>
                    <a:pt x="5339" y="2691"/>
                  </a:lnTo>
                  <a:lnTo>
                    <a:pt x="5327" y="2674"/>
                  </a:lnTo>
                  <a:lnTo>
                    <a:pt x="5339" y="2674"/>
                  </a:lnTo>
                  <a:lnTo>
                    <a:pt x="5339" y="2674"/>
                  </a:lnTo>
                  <a:lnTo>
                    <a:pt x="5339" y="2674"/>
                  </a:lnTo>
                  <a:close/>
                  <a:moveTo>
                    <a:pt x="4718" y="2674"/>
                  </a:moveTo>
                  <a:lnTo>
                    <a:pt x="4718" y="2691"/>
                  </a:lnTo>
                  <a:lnTo>
                    <a:pt x="4713" y="2679"/>
                  </a:lnTo>
                  <a:lnTo>
                    <a:pt x="4718" y="2674"/>
                  </a:lnTo>
                  <a:lnTo>
                    <a:pt x="4718" y="2674"/>
                  </a:lnTo>
                  <a:lnTo>
                    <a:pt x="4718" y="2674"/>
                  </a:lnTo>
                  <a:close/>
                  <a:moveTo>
                    <a:pt x="4701" y="2679"/>
                  </a:moveTo>
                  <a:lnTo>
                    <a:pt x="4701" y="2691"/>
                  </a:lnTo>
                  <a:lnTo>
                    <a:pt x="4701" y="2679"/>
                  </a:lnTo>
                  <a:lnTo>
                    <a:pt x="4701" y="2679"/>
                  </a:lnTo>
                  <a:lnTo>
                    <a:pt x="4701" y="2679"/>
                  </a:lnTo>
                  <a:close/>
                  <a:moveTo>
                    <a:pt x="5327" y="2679"/>
                  </a:moveTo>
                  <a:lnTo>
                    <a:pt x="5339" y="2691"/>
                  </a:lnTo>
                  <a:lnTo>
                    <a:pt x="5327" y="2696"/>
                  </a:lnTo>
                  <a:lnTo>
                    <a:pt x="5322" y="2679"/>
                  </a:lnTo>
                  <a:lnTo>
                    <a:pt x="5327" y="2679"/>
                  </a:lnTo>
                  <a:lnTo>
                    <a:pt x="5327" y="2679"/>
                  </a:lnTo>
                  <a:lnTo>
                    <a:pt x="5327" y="2679"/>
                  </a:lnTo>
                  <a:close/>
                  <a:moveTo>
                    <a:pt x="4583" y="2679"/>
                  </a:moveTo>
                  <a:lnTo>
                    <a:pt x="4595" y="2679"/>
                  </a:lnTo>
                  <a:lnTo>
                    <a:pt x="4583" y="2691"/>
                  </a:lnTo>
                  <a:lnTo>
                    <a:pt x="4583" y="2679"/>
                  </a:lnTo>
                  <a:lnTo>
                    <a:pt x="4583" y="2679"/>
                  </a:lnTo>
                  <a:lnTo>
                    <a:pt x="4583" y="2679"/>
                  </a:lnTo>
                  <a:close/>
                  <a:moveTo>
                    <a:pt x="5360" y="2691"/>
                  </a:moveTo>
                  <a:lnTo>
                    <a:pt x="5365" y="2696"/>
                  </a:lnTo>
                  <a:lnTo>
                    <a:pt x="5355" y="2691"/>
                  </a:lnTo>
                  <a:lnTo>
                    <a:pt x="5360" y="2691"/>
                  </a:lnTo>
                  <a:lnTo>
                    <a:pt x="5360" y="2691"/>
                  </a:lnTo>
                  <a:lnTo>
                    <a:pt x="5360" y="2691"/>
                  </a:lnTo>
                  <a:close/>
                  <a:moveTo>
                    <a:pt x="5365" y="2707"/>
                  </a:moveTo>
                  <a:lnTo>
                    <a:pt x="5360" y="2707"/>
                  </a:lnTo>
                  <a:lnTo>
                    <a:pt x="5365" y="2707"/>
                  </a:lnTo>
                  <a:lnTo>
                    <a:pt x="5365" y="2707"/>
                  </a:lnTo>
                  <a:lnTo>
                    <a:pt x="5365" y="2707"/>
                  </a:lnTo>
                  <a:close/>
                  <a:moveTo>
                    <a:pt x="5327" y="2707"/>
                  </a:moveTo>
                  <a:lnTo>
                    <a:pt x="5339" y="2712"/>
                  </a:lnTo>
                  <a:lnTo>
                    <a:pt x="5327" y="2707"/>
                  </a:lnTo>
                  <a:lnTo>
                    <a:pt x="5327" y="2707"/>
                  </a:lnTo>
                  <a:lnTo>
                    <a:pt x="5327" y="2707"/>
                  </a:lnTo>
                  <a:close/>
                  <a:moveTo>
                    <a:pt x="4444" y="2724"/>
                  </a:moveTo>
                  <a:lnTo>
                    <a:pt x="4432" y="2729"/>
                  </a:lnTo>
                  <a:lnTo>
                    <a:pt x="4422" y="2724"/>
                  </a:lnTo>
                  <a:lnTo>
                    <a:pt x="4448" y="2724"/>
                  </a:lnTo>
                  <a:lnTo>
                    <a:pt x="4444" y="2724"/>
                  </a:lnTo>
                  <a:lnTo>
                    <a:pt x="4444" y="2724"/>
                  </a:lnTo>
                  <a:lnTo>
                    <a:pt x="4444" y="2724"/>
                  </a:lnTo>
                  <a:close/>
                  <a:moveTo>
                    <a:pt x="5360" y="2736"/>
                  </a:moveTo>
                  <a:lnTo>
                    <a:pt x="5360" y="2745"/>
                  </a:lnTo>
                  <a:lnTo>
                    <a:pt x="5365" y="2745"/>
                  </a:lnTo>
                  <a:lnTo>
                    <a:pt x="5377" y="2752"/>
                  </a:lnTo>
                  <a:lnTo>
                    <a:pt x="5339" y="2745"/>
                  </a:lnTo>
                  <a:lnTo>
                    <a:pt x="5360" y="2736"/>
                  </a:lnTo>
                  <a:lnTo>
                    <a:pt x="5360" y="2736"/>
                  </a:lnTo>
                  <a:lnTo>
                    <a:pt x="5360" y="2736"/>
                  </a:lnTo>
                  <a:close/>
                  <a:moveTo>
                    <a:pt x="5377" y="2736"/>
                  </a:moveTo>
                  <a:lnTo>
                    <a:pt x="5393" y="2736"/>
                  </a:lnTo>
                  <a:lnTo>
                    <a:pt x="5393" y="2745"/>
                  </a:lnTo>
                  <a:lnTo>
                    <a:pt x="5377" y="2736"/>
                  </a:lnTo>
                  <a:lnTo>
                    <a:pt x="5377" y="2736"/>
                  </a:lnTo>
                  <a:lnTo>
                    <a:pt x="5377" y="2736"/>
                  </a:lnTo>
                  <a:close/>
                  <a:moveTo>
                    <a:pt x="5377" y="2745"/>
                  </a:moveTo>
                  <a:lnTo>
                    <a:pt x="5381" y="2752"/>
                  </a:lnTo>
                  <a:lnTo>
                    <a:pt x="5377" y="2752"/>
                  </a:lnTo>
                  <a:lnTo>
                    <a:pt x="5377" y="2745"/>
                  </a:lnTo>
                  <a:lnTo>
                    <a:pt x="5377" y="2745"/>
                  </a:lnTo>
                  <a:lnTo>
                    <a:pt x="5377" y="2745"/>
                  </a:lnTo>
                  <a:close/>
                  <a:moveTo>
                    <a:pt x="4789" y="2752"/>
                  </a:moveTo>
                  <a:lnTo>
                    <a:pt x="4798" y="2752"/>
                  </a:lnTo>
                  <a:lnTo>
                    <a:pt x="4789" y="2752"/>
                  </a:lnTo>
                  <a:lnTo>
                    <a:pt x="4789" y="2752"/>
                  </a:lnTo>
                  <a:lnTo>
                    <a:pt x="4789" y="2752"/>
                  </a:lnTo>
                  <a:close/>
                  <a:moveTo>
                    <a:pt x="4512" y="2785"/>
                  </a:moveTo>
                  <a:lnTo>
                    <a:pt x="4519" y="2785"/>
                  </a:lnTo>
                  <a:lnTo>
                    <a:pt x="4512" y="2790"/>
                  </a:lnTo>
                  <a:lnTo>
                    <a:pt x="4486" y="2790"/>
                  </a:lnTo>
                  <a:lnTo>
                    <a:pt x="4460" y="2762"/>
                  </a:lnTo>
                  <a:lnTo>
                    <a:pt x="4481" y="2762"/>
                  </a:lnTo>
                  <a:lnTo>
                    <a:pt x="4512" y="2769"/>
                  </a:lnTo>
                  <a:lnTo>
                    <a:pt x="4512" y="2785"/>
                  </a:lnTo>
                  <a:lnTo>
                    <a:pt x="4512" y="2785"/>
                  </a:lnTo>
                  <a:lnTo>
                    <a:pt x="4512" y="2785"/>
                  </a:lnTo>
                  <a:close/>
                  <a:moveTo>
                    <a:pt x="5377" y="2762"/>
                  </a:moveTo>
                  <a:lnTo>
                    <a:pt x="5381" y="2785"/>
                  </a:lnTo>
                  <a:lnTo>
                    <a:pt x="5398" y="2807"/>
                  </a:lnTo>
                  <a:lnTo>
                    <a:pt x="5365" y="2785"/>
                  </a:lnTo>
                  <a:lnTo>
                    <a:pt x="5365" y="2769"/>
                  </a:lnTo>
                  <a:lnTo>
                    <a:pt x="5377" y="2762"/>
                  </a:lnTo>
                  <a:lnTo>
                    <a:pt x="5377" y="2762"/>
                  </a:lnTo>
                  <a:lnTo>
                    <a:pt x="5377" y="2762"/>
                  </a:lnTo>
                  <a:close/>
                  <a:moveTo>
                    <a:pt x="5393" y="2762"/>
                  </a:moveTo>
                  <a:lnTo>
                    <a:pt x="5393" y="2785"/>
                  </a:lnTo>
                  <a:lnTo>
                    <a:pt x="5381" y="2769"/>
                  </a:lnTo>
                  <a:lnTo>
                    <a:pt x="5393" y="2762"/>
                  </a:lnTo>
                  <a:lnTo>
                    <a:pt x="5393" y="2762"/>
                  </a:lnTo>
                  <a:lnTo>
                    <a:pt x="5393" y="2762"/>
                  </a:lnTo>
                  <a:close/>
                  <a:moveTo>
                    <a:pt x="3470" y="2769"/>
                  </a:moveTo>
                  <a:lnTo>
                    <a:pt x="3487" y="2769"/>
                  </a:lnTo>
                  <a:lnTo>
                    <a:pt x="3470" y="2769"/>
                  </a:lnTo>
                  <a:lnTo>
                    <a:pt x="3470" y="2769"/>
                  </a:lnTo>
                  <a:lnTo>
                    <a:pt x="3470" y="2769"/>
                  </a:lnTo>
                  <a:close/>
                  <a:moveTo>
                    <a:pt x="4822" y="2769"/>
                  </a:moveTo>
                  <a:lnTo>
                    <a:pt x="4826" y="2778"/>
                  </a:lnTo>
                  <a:lnTo>
                    <a:pt x="4822" y="2778"/>
                  </a:lnTo>
                  <a:lnTo>
                    <a:pt x="4822" y="2769"/>
                  </a:lnTo>
                  <a:lnTo>
                    <a:pt x="4822" y="2769"/>
                  </a:lnTo>
                  <a:lnTo>
                    <a:pt x="4822" y="2769"/>
                  </a:lnTo>
                  <a:close/>
                  <a:moveTo>
                    <a:pt x="5339" y="2778"/>
                  </a:moveTo>
                  <a:lnTo>
                    <a:pt x="5339" y="2790"/>
                  </a:lnTo>
                  <a:lnTo>
                    <a:pt x="5327" y="2778"/>
                  </a:lnTo>
                  <a:lnTo>
                    <a:pt x="5339" y="2778"/>
                  </a:lnTo>
                  <a:lnTo>
                    <a:pt x="5339" y="2778"/>
                  </a:lnTo>
                  <a:lnTo>
                    <a:pt x="5339" y="2778"/>
                  </a:lnTo>
                  <a:close/>
                  <a:moveTo>
                    <a:pt x="4406" y="2778"/>
                  </a:moveTo>
                  <a:lnTo>
                    <a:pt x="4444" y="2785"/>
                  </a:lnTo>
                  <a:lnTo>
                    <a:pt x="4448" y="2807"/>
                  </a:lnTo>
                  <a:lnTo>
                    <a:pt x="4422" y="2823"/>
                  </a:lnTo>
                  <a:lnTo>
                    <a:pt x="4378" y="2785"/>
                  </a:lnTo>
                  <a:lnTo>
                    <a:pt x="4406" y="2778"/>
                  </a:lnTo>
                  <a:lnTo>
                    <a:pt x="4406" y="2778"/>
                  </a:lnTo>
                  <a:lnTo>
                    <a:pt x="4406" y="2778"/>
                  </a:lnTo>
                  <a:close/>
                  <a:moveTo>
                    <a:pt x="5129" y="2807"/>
                  </a:moveTo>
                  <a:lnTo>
                    <a:pt x="5138" y="2818"/>
                  </a:lnTo>
                  <a:lnTo>
                    <a:pt x="5129" y="2807"/>
                  </a:lnTo>
                  <a:lnTo>
                    <a:pt x="5129" y="2807"/>
                  </a:lnTo>
                  <a:lnTo>
                    <a:pt x="5129" y="2807"/>
                  </a:lnTo>
                  <a:close/>
                  <a:moveTo>
                    <a:pt x="5192" y="2823"/>
                  </a:moveTo>
                  <a:lnTo>
                    <a:pt x="5200" y="2840"/>
                  </a:lnTo>
                  <a:lnTo>
                    <a:pt x="5183" y="2823"/>
                  </a:lnTo>
                  <a:lnTo>
                    <a:pt x="5192" y="2823"/>
                  </a:lnTo>
                  <a:lnTo>
                    <a:pt x="5192" y="2823"/>
                  </a:lnTo>
                  <a:lnTo>
                    <a:pt x="5192" y="2823"/>
                  </a:lnTo>
                  <a:close/>
                  <a:moveTo>
                    <a:pt x="4125" y="2840"/>
                  </a:moveTo>
                  <a:lnTo>
                    <a:pt x="4151" y="2847"/>
                  </a:lnTo>
                  <a:lnTo>
                    <a:pt x="4141" y="2873"/>
                  </a:lnTo>
                  <a:lnTo>
                    <a:pt x="4066" y="2929"/>
                  </a:lnTo>
                  <a:lnTo>
                    <a:pt x="4044" y="2918"/>
                  </a:lnTo>
                  <a:lnTo>
                    <a:pt x="4016" y="2934"/>
                  </a:lnTo>
                  <a:lnTo>
                    <a:pt x="4016" y="2913"/>
                  </a:lnTo>
                  <a:lnTo>
                    <a:pt x="4000" y="2901"/>
                  </a:lnTo>
                  <a:lnTo>
                    <a:pt x="4044" y="2847"/>
                  </a:lnTo>
                  <a:lnTo>
                    <a:pt x="4066" y="2856"/>
                  </a:lnTo>
                  <a:lnTo>
                    <a:pt x="4125" y="2840"/>
                  </a:lnTo>
                  <a:lnTo>
                    <a:pt x="4125" y="2840"/>
                  </a:lnTo>
                  <a:lnTo>
                    <a:pt x="4125" y="2840"/>
                  </a:lnTo>
                  <a:close/>
                  <a:moveTo>
                    <a:pt x="5221" y="2847"/>
                  </a:moveTo>
                  <a:lnTo>
                    <a:pt x="5237" y="2856"/>
                  </a:lnTo>
                  <a:lnTo>
                    <a:pt x="5221" y="2847"/>
                  </a:lnTo>
                  <a:lnTo>
                    <a:pt x="5221" y="2847"/>
                  </a:lnTo>
                  <a:lnTo>
                    <a:pt x="5221" y="2847"/>
                  </a:lnTo>
                  <a:close/>
                  <a:moveTo>
                    <a:pt x="4935" y="2863"/>
                  </a:moveTo>
                  <a:lnTo>
                    <a:pt x="4966" y="2880"/>
                  </a:lnTo>
                  <a:lnTo>
                    <a:pt x="4928" y="2889"/>
                  </a:lnTo>
                  <a:lnTo>
                    <a:pt x="4918" y="2863"/>
                  </a:lnTo>
                  <a:lnTo>
                    <a:pt x="4897" y="2856"/>
                  </a:lnTo>
                  <a:lnTo>
                    <a:pt x="4890" y="2847"/>
                  </a:lnTo>
                  <a:lnTo>
                    <a:pt x="4935" y="2863"/>
                  </a:lnTo>
                  <a:lnTo>
                    <a:pt x="4935" y="2863"/>
                  </a:lnTo>
                  <a:lnTo>
                    <a:pt x="4935" y="2863"/>
                  </a:lnTo>
                  <a:close/>
                  <a:moveTo>
                    <a:pt x="4663" y="2863"/>
                  </a:moveTo>
                  <a:lnTo>
                    <a:pt x="4701" y="2880"/>
                  </a:lnTo>
                  <a:lnTo>
                    <a:pt x="4649" y="2863"/>
                  </a:lnTo>
                  <a:lnTo>
                    <a:pt x="4663" y="2863"/>
                  </a:lnTo>
                  <a:lnTo>
                    <a:pt x="4663" y="2863"/>
                  </a:lnTo>
                  <a:lnTo>
                    <a:pt x="4663" y="2863"/>
                  </a:lnTo>
                  <a:close/>
                  <a:moveTo>
                    <a:pt x="4432" y="2880"/>
                  </a:moveTo>
                  <a:lnTo>
                    <a:pt x="4444" y="2880"/>
                  </a:lnTo>
                  <a:lnTo>
                    <a:pt x="4432" y="2889"/>
                  </a:lnTo>
                  <a:lnTo>
                    <a:pt x="4432" y="2880"/>
                  </a:lnTo>
                  <a:lnTo>
                    <a:pt x="4432" y="2880"/>
                  </a:lnTo>
                  <a:lnTo>
                    <a:pt x="4432" y="2880"/>
                  </a:lnTo>
                  <a:close/>
                  <a:moveTo>
                    <a:pt x="4422" y="2880"/>
                  </a:moveTo>
                  <a:lnTo>
                    <a:pt x="4427" y="2889"/>
                  </a:lnTo>
                  <a:lnTo>
                    <a:pt x="4411" y="2889"/>
                  </a:lnTo>
                  <a:lnTo>
                    <a:pt x="4422" y="2880"/>
                  </a:lnTo>
                  <a:lnTo>
                    <a:pt x="4422" y="2880"/>
                  </a:lnTo>
                  <a:lnTo>
                    <a:pt x="4422" y="2880"/>
                  </a:lnTo>
                  <a:close/>
                  <a:moveTo>
                    <a:pt x="5377" y="2889"/>
                  </a:moveTo>
                  <a:lnTo>
                    <a:pt x="5360" y="2901"/>
                  </a:lnTo>
                  <a:lnTo>
                    <a:pt x="5327" y="2896"/>
                  </a:lnTo>
                  <a:lnTo>
                    <a:pt x="5344" y="2889"/>
                  </a:lnTo>
                  <a:lnTo>
                    <a:pt x="5377" y="2889"/>
                  </a:lnTo>
                  <a:lnTo>
                    <a:pt x="5377" y="2889"/>
                  </a:lnTo>
                  <a:lnTo>
                    <a:pt x="5377" y="2889"/>
                  </a:lnTo>
                  <a:close/>
                  <a:moveTo>
                    <a:pt x="4314" y="2967"/>
                  </a:moveTo>
                  <a:lnTo>
                    <a:pt x="4302" y="2991"/>
                  </a:lnTo>
                  <a:lnTo>
                    <a:pt x="4285" y="3000"/>
                  </a:lnTo>
                  <a:lnTo>
                    <a:pt x="4259" y="2967"/>
                  </a:lnTo>
                  <a:lnTo>
                    <a:pt x="4259" y="2934"/>
                  </a:lnTo>
                  <a:lnTo>
                    <a:pt x="4281" y="2901"/>
                  </a:lnTo>
                  <a:lnTo>
                    <a:pt x="4318" y="2901"/>
                  </a:lnTo>
                  <a:lnTo>
                    <a:pt x="4323" y="2918"/>
                  </a:lnTo>
                  <a:lnTo>
                    <a:pt x="4323" y="2929"/>
                  </a:lnTo>
                  <a:lnTo>
                    <a:pt x="4314" y="2967"/>
                  </a:lnTo>
                  <a:lnTo>
                    <a:pt x="4314" y="2967"/>
                  </a:lnTo>
                  <a:lnTo>
                    <a:pt x="4314" y="2967"/>
                  </a:lnTo>
                  <a:close/>
                  <a:moveTo>
                    <a:pt x="5268" y="2934"/>
                  </a:moveTo>
                  <a:lnTo>
                    <a:pt x="5259" y="2934"/>
                  </a:lnTo>
                  <a:lnTo>
                    <a:pt x="5268" y="2929"/>
                  </a:lnTo>
                  <a:lnTo>
                    <a:pt x="5268" y="2934"/>
                  </a:lnTo>
                  <a:lnTo>
                    <a:pt x="5268" y="2934"/>
                  </a:lnTo>
                  <a:lnTo>
                    <a:pt x="5268" y="2934"/>
                  </a:lnTo>
                  <a:close/>
                  <a:moveTo>
                    <a:pt x="5322" y="2955"/>
                  </a:moveTo>
                  <a:lnTo>
                    <a:pt x="5344" y="2974"/>
                  </a:lnTo>
                  <a:lnTo>
                    <a:pt x="5339" y="2974"/>
                  </a:lnTo>
                  <a:lnTo>
                    <a:pt x="5313" y="2955"/>
                  </a:lnTo>
                  <a:lnTo>
                    <a:pt x="5313" y="2951"/>
                  </a:lnTo>
                  <a:lnTo>
                    <a:pt x="5322" y="2955"/>
                  </a:lnTo>
                  <a:lnTo>
                    <a:pt x="5322" y="2955"/>
                  </a:lnTo>
                  <a:lnTo>
                    <a:pt x="5322" y="2955"/>
                  </a:lnTo>
                  <a:close/>
                  <a:moveTo>
                    <a:pt x="3364" y="2967"/>
                  </a:moveTo>
                  <a:lnTo>
                    <a:pt x="3352" y="2955"/>
                  </a:lnTo>
                  <a:lnTo>
                    <a:pt x="3369" y="2955"/>
                  </a:lnTo>
                  <a:lnTo>
                    <a:pt x="3364" y="2967"/>
                  </a:lnTo>
                  <a:lnTo>
                    <a:pt x="3364" y="2967"/>
                  </a:lnTo>
                  <a:lnTo>
                    <a:pt x="3364" y="2967"/>
                  </a:lnTo>
                  <a:close/>
                  <a:moveTo>
                    <a:pt x="5285" y="2967"/>
                  </a:moveTo>
                  <a:lnTo>
                    <a:pt x="5285" y="2974"/>
                  </a:lnTo>
                  <a:lnTo>
                    <a:pt x="5259" y="2974"/>
                  </a:lnTo>
                  <a:lnTo>
                    <a:pt x="5285" y="2967"/>
                  </a:lnTo>
                  <a:lnTo>
                    <a:pt x="5285" y="2967"/>
                  </a:lnTo>
                  <a:lnTo>
                    <a:pt x="5285" y="2967"/>
                  </a:lnTo>
                  <a:close/>
                  <a:moveTo>
                    <a:pt x="5355" y="2991"/>
                  </a:moveTo>
                  <a:lnTo>
                    <a:pt x="5355" y="3000"/>
                  </a:lnTo>
                  <a:lnTo>
                    <a:pt x="5355" y="3007"/>
                  </a:lnTo>
                  <a:lnTo>
                    <a:pt x="5339" y="3024"/>
                  </a:lnTo>
                  <a:lnTo>
                    <a:pt x="5301" y="2991"/>
                  </a:lnTo>
                  <a:lnTo>
                    <a:pt x="5327" y="2984"/>
                  </a:lnTo>
                  <a:lnTo>
                    <a:pt x="5355" y="2991"/>
                  </a:lnTo>
                  <a:lnTo>
                    <a:pt x="5355" y="2991"/>
                  </a:lnTo>
                  <a:lnTo>
                    <a:pt x="5355" y="2991"/>
                  </a:lnTo>
                  <a:close/>
                  <a:moveTo>
                    <a:pt x="4982" y="3057"/>
                  </a:moveTo>
                  <a:lnTo>
                    <a:pt x="4982" y="3062"/>
                  </a:lnTo>
                  <a:lnTo>
                    <a:pt x="4973" y="3057"/>
                  </a:lnTo>
                  <a:lnTo>
                    <a:pt x="4982" y="3057"/>
                  </a:lnTo>
                  <a:lnTo>
                    <a:pt x="4982" y="3057"/>
                  </a:lnTo>
                  <a:lnTo>
                    <a:pt x="4982" y="3057"/>
                  </a:lnTo>
                  <a:close/>
                  <a:moveTo>
                    <a:pt x="5124" y="3111"/>
                  </a:moveTo>
                  <a:lnTo>
                    <a:pt x="5138" y="3118"/>
                  </a:lnTo>
                  <a:lnTo>
                    <a:pt x="5129" y="3123"/>
                  </a:lnTo>
                  <a:lnTo>
                    <a:pt x="5091" y="3140"/>
                  </a:lnTo>
                  <a:lnTo>
                    <a:pt x="5112" y="3100"/>
                  </a:lnTo>
                  <a:lnTo>
                    <a:pt x="5124" y="3111"/>
                  </a:lnTo>
                  <a:lnTo>
                    <a:pt x="5124" y="3111"/>
                  </a:lnTo>
                  <a:lnTo>
                    <a:pt x="5124" y="3111"/>
                  </a:lnTo>
                  <a:close/>
                  <a:moveTo>
                    <a:pt x="5365" y="3123"/>
                  </a:moveTo>
                  <a:lnTo>
                    <a:pt x="5365" y="3135"/>
                  </a:lnTo>
                  <a:lnTo>
                    <a:pt x="5339" y="3118"/>
                  </a:lnTo>
                  <a:lnTo>
                    <a:pt x="5355" y="3118"/>
                  </a:lnTo>
                  <a:lnTo>
                    <a:pt x="5365" y="3123"/>
                  </a:lnTo>
                  <a:lnTo>
                    <a:pt x="5365" y="3123"/>
                  </a:lnTo>
                  <a:lnTo>
                    <a:pt x="5365" y="3123"/>
                  </a:lnTo>
                  <a:close/>
                  <a:moveTo>
                    <a:pt x="4281" y="3177"/>
                  </a:moveTo>
                  <a:lnTo>
                    <a:pt x="4281" y="3189"/>
                  </a:lnTo>
                  <a:lnTo>
                    <a:pt x="4264" y="3194"/>
                  </a:lnTo>
                  <a:lnTo>
                    <a:pt x="4281" y="3177"/>
                  </a:lnTo>
                  <a:lnTo>
                    <a:pt x="4281" y="3177"/>
                  </a:lnTo>
                  <a:lnTo>
                    <a:pt x="4281" y="3177"/>
                  </a:lnTo>
                  <a:close/>
                  <a:moveTo>
                    <a:pt x="5398" y="3177"/>
                  </a:moveTo>
                  <a:lnTo>
                    <a:pt x="5398" y="3194"/>
                  </a:lnTo>
                  <a:lnTo>
                    <a:pt x="5381" y="3194"/>
                  </a:lnTo>
                  <a:lnTo>
                    <a:pt x="5398" y="3177"/>
                  </a:lnTo>
                  <a:lnTo>
                    <a:pt x="5398" y="3177"/>
                  </a:lnTo>
                  <a:lnTo>
                    <a:pt x="5398" y="3177"/>
                  </a:lnTo>
                  <a:close/>
                  <a:moveTo>
                    <a:pt x="4264" y="3206"/>
                  </a:moveTo>
                  <a:lnTo>
                    <a:pt x="4259" y="3206"/>
                  </a:lnTo>
                  <a:lnTo>
                    <a:pt x="4264" y="3194"/>
                  </a:lnTo>
                  <a:lnTo>
                    <a:pt x="4264" y="3206"/>
                  </a:lnTo>
                  <a:lnTo>
                    <a:pt x="4264" y="3206"/>
                  </a:lnTo>
                  <a:lnTo>
                    <a:pt x="4264" y="3206"/>
                  </a:lnTo>
                  <a:close/>
                  <a:moveTo>
                    <a:pt x="5037" y="3263"/>
                  </a:moveTo>
                  <a:lnTo>
                    <a:pt x="5037" y="3279"/>
                  </a:lnTo>
                  <a:lnTo>
                    <a:pt x="5025" y="3279"/>
                  </a:lnTo>
                  <a:lnTo>
                    <a:pt x="5020" y="3263"/>
                  </a:lnTo>
                  <a:lnTo>
                    <a:pt x="5037" y="3263"/>
                  </a:lnTo>
                  <a:lnTo>
                    <a:pt x="5037" y="3263"/>
                  </a:lnTo>
                  <a:lnTo>
                    <a:pt x="5037" y="3263"/>
                  </a:lnTo>
                  <a:close/>
                  <a:moveTo>
                    <a:pt x="4373" y="3305"/>
                  </a:moveTo>
                  <a:lnTo>
                    <a:pt x="4389" y="3322"/>
                  </a:lnTo>
                  <a:lnTo>
                    <a:pt x="4373" y="3317"/>
                  </a:lnTo>
                  <a:lnTo>
                    <a:pt x="4373" y="3305"/>
                  </a:lnTo>
                  <a:lnTo>
                    <a:pt x="4373" y="3305"/>
                  </a:lnTo>
                  <a:lnTo>
                    <a:pt x="4373" y="3305"/>
                  </a:lnTo>
                  <a:close/>
                  <a:moveTo>
                    <a:pt x="5150" y="3338"/>
                  </a:moveTo>
                  <a:lnTo>
                    <a:pt x="5150" y="3350"/>
                  </a:lnTo>
                  <a:lnTo>
                    <a:pt x="5145" y="3350"/>
                  </a:lnTo>
                  <a:lnTo>
                    <a:pt x="5150" y="3338"/>
                  </a:lnTo>
                  <a:lnTo>
                    <a:pt x="5150" y="3338"/>
                  </a:lnTo>
                  <a:lnTo>
                    <a:pt x="5150" y="3338"/>
                  </a:lnTo>
                  <a:close/>
                  <a:moveTo>
                    <a:pt x="5544" y="3395"/>
                  </a:moveTo>
                  <a:lnTo>
                    <a:pt x="5544" y="3407"/>
                  </a:lnTo>
                  <a:lnTo>
                    <a:pt x="5528" y="3395"/>
                  </a:lnTo>
                  <a:lnTo>
                    <a:pt x="5537" y="3390"/>
                  </a:lnTo>
                  <a:lnTo>
                    <a:pt x="5544" y="3395"/>
                  </a:lnTo>
                  <a:lnTo>
                    <a:pt x="5544" y="3395"/>
                  </a:lnTo>
                  <a:lnTo>
                    <a:pt x="5544" y="3395"/>
                  </a:lnTo>
                  <a:close/>
                  <a:moveTo>
                    <a:pt x="5570" y="3407"/>
                  </a:moveTo>
                  <a:lnTo>
                    <a:pt x="5561" y="3411"/>
                  </a:lnTo>
                  <a:lnTo>
                    <a:pt x="5544" y="3407"/>
                  </a:lnTo>
                  <a:lnTo>
                    <a:pt x="5554" y="3395"/>
                  </a:lnTo>
                  <a:lnTo>
                    <a:pt x="5570" y="3407"/>
                  </a:lnTo>
                  <a:lnTo>
                    <a:pt x="5570" y="3407"/>
                  </a:lnTo>
                  <a:lnTo>
                    <a:pt x="5570" y="3407"/>
                  </a:lnTo>
                  <a:close/>
                  <a:moveTo>
                    <a:pt x="4297" y="3416"/>
                  </a:moveTo>
                  <a:lnTo>
                    <a:pt x="4285" y="3444"/>
                  </a:lnTo>
                  <a:lnTo>
                    <a:pt x="4285" y="3428"/>
                  </a:lnTo>
                  <a:lnTo>
                    <a:pt x="4297" y="3416"/>
                  </a:lnTo>
                  <a:lnTo>
                    <a:pt x="4297" y="3416"/>
                  </a:lnTo>
                  <a:lnTo>
                    <a:pt x="4297" y="3416"/>
                  </a:lnTo>
                  <a:close/>
                  <a:moveTo>
                    <a:pt x="5544" y="3433"/>
                  </a:moveTo>
                  <a:lnTo>
                    <a:pt x="5537" y="3428"/>
                  </a:lnTo>
                  <a:lnTo>
                    <a:pt x="5544" y="3416"/>
                  </a:lnTo>
                  <a:lnTo>
                    <a:pt x="5554" y="3428"/>
                  </a:lnTo>
                  <a:lnTo>
                    <a:pt x="5544" y="3433"/>
                  </a:lnTo>
                  <a:lnTo>
                    <a:pt x="5544" y="3433"/>
                  </a:lnTo>
                  <a:lnTo>
                    <a:pt x="5544" y="3433"/>
                  </a:lnTo>
                  <a:close/>
                  <a:moveTo>
                    <a:pt x="5570" y="3428"/>
                  </a:moveTo>
                  <a:lnTo>
                    <a:pt x="5570" y="3444"/>
                  </a:lnTo>
                  <a:lnTo>
                    <a:pt x="5544" y="3433"/>
                  </a:lnTo>
                  <a:lnTo>
                    <a:pt x="5570" y="3428"/>
                  </a:lnTo>
                  <a:lnTo>
                    <a:pt x="5570" y="3428"/>
                  </a:lnTo>
                  <a:lnTo>
                    <a:pt x="5570" y="3428"/>
                  </a:lnTo>
                  <a:close/>
                  <a:moveTo>
                    <a:pt x="4503" y="3444"/>
                  </a:moveTo>
                  <a:lnTo>
                    <a:pt x="4512" y="3449"/>
                  </a:lnTo>
                  <a:lnTo>
                    <a:pt x="4503" y="3444"/>
                  </a:lnTo>
                  <a:lnTo>
                    <a:pt x="4503" y="3444"/>
                  </a:lnTo>
                  <a:lnTo>
                    <a:pt x="4503" y="3444"/>
                  </a:lnTo>
                  <a:close/>
                  <a:moveTo>
                    <a:pt x="5561" y="3444"/>
                  </a:moveTo>
                  <a:lnTo>
                    <a:pt x="5570" y="3449"/>
                  </a:lnTo>
                  <a:lnTo>
                    <a:pt x="5554" y="3449"/>
                  </a:lnTo>
                  <a:lnTo>
                    <a:pt x="5561" y="3444"/>
                  </a:lnTo>
                  <a:lnTo>
                    <a:pt x="5561" y="3444"/>
                  </a:lnTo>
                  <a:lnTo>
                    <a:pt x="5561" y="3444"/>
                  </a:lnTo>
                  <a:close/>
                  <a:moveTo>
                    <a:pt x="5582" y="3489"/>
                  </a:moveTo>
                  <a:lnTo>
                    <a:pt x="5570" y="3506"/>
                  </a:lnTo>
                  <a:lnTo>
                    <a:pt x="5582" y="3506"/>
                  </a:lnTo>
                  <a:lnTo>
                    <a:pt x="5582" y="3522"/>
                  </a:lnTo>
                  <a:lnTo>
                    <a:pt x="5570" y="3506"/>
                  </a:lnTo>
                  <a:lnTo>
                    <a:pt x="5575" y="3489"/>
                  </a:lnTo>
                  <a:lnTo>
                    <a:pt x="5582" y="3489"/>
                  </a:lnTo>
                  <a:lnTo>
                    <a:pt x="5582" y="3489"/>
                  </a:lnTo>
                  <a:lnTo>
                    <a:pt x="5582" y="3489"/>
                  </a:lnTo>
                  <a:close/>
                  <a:moveTo>
                    <a:pt x="4297" y="3489"/>
                  </a:moveTo>
                  <a:lnTo>
                    <a:pt x="4297" y="3506"/>
                  </a:lnTo>
                  <a:lnTo>
                    <a:pt x="4285" y="3499"/>
                  </a:lnTo>
                  <a:lnTo>
                    <a:pt x="4297" y="3489"/>
                  </a:lnTo>
                  <a:lnTo>
                    <a:pt x="4297" y="3489"/>
                  </a:lnTo>
                  <a:lnTo>
                    <a:pt x="4297" y="3489"/>
                  </a:lnTo>
                  <a:close/>
                  <a:moveTo>
                    <a:pt x="4285" y="3499"/>
                  </a:moveTo>
                  <a:lnTo>
                    <a:pt x="4285" y="3506"/>
                  </a:lnTo>
                  <a:lnTo>
                    <a:pt x="4281" y="3506"/>
                  </a:lnTo>
                  <a:lnTo>
                    <a:pt x="4285" y="3499"/>
                  </a:lnTo>
                  <a:lnTo>
                    <a:pt x="4285" y="3499"/>
                  </a:lnTo>
                  <a:lnTo>
                    <a:pt x="4285" y="3499"/>
                  </a:lnTo>
                  <a:close/>
                  <a:moveTo>
                    <a:pt x="4314" y="3506"/>
                  </a:moveTo>
                  <a:lnTo>
                    <a:pt x="4314" y="3518"/>
                  </a:lnTo>
                  <a:lnTo>
                    <a:pt x="4314" y="3522"/>
                  </a:lnTo>
                  <a:lnTo>
                    <a:pt x="4314" y="3506"/>
                  </a:lnTo>
                  <a:lnTo>
                    <a:pt x="4314" y="3506"/>
                  </a:lnTo>
                  <a:lnTo>
                    <a:pt x="4314" y="3506"/>
                  </a:lnTo>
                  <a:close/>
                  <a:moveTo>
                    <a:pt x="5599" y="3522"/>
                  </a:moveTo>
                  <a:lnTo>
                    <a:pt x="5599" y="3518"/>
                  </a:lnTo>
                  <a:lnTo>
                    <a:pt x="5608" y="3518"/>
                  </a:lnTo>
                  <a:lnTo>
                    <a:pt x="5599" y="3522"/>
                  </a:lnTo>
                  <a:lnTo>
                    <a:pt x="5599" y="3522"/>
                  </a:lnTo>
                  <a:lnTo>
                    <a:pt x="5599" y="3522"/>
                  </a:lnTo>
                  <a:close/>
                  <a:moveTo>
                    <a:pt x="4335" y="3518"/>
                  </a:moveTo>
                  <a:lnTo>
                    <a:pt x="4340" y="3522"/>
                  </a:lnTo>
                  <a:lnTo>
                    <a:pt x="4323" y="3522"/>
                  </a:lnTo>
                  <a:lnTo>
                    <a:pt x="4335" y="3518"/>
                  </a:lnTo>
                  <a:lnTo>
                    <a:pt x="4335" y="3518"/>
                  </a:lnTo>
                  <a:lnTo>
                    <a:pt x="4335" y="3518"/>
                  </a:lnTo>
                  <a:close/>
                  <a:moveTo>
                    <a:pt x="4297" y="3610"/>
                  </a:moveTo>
                  <a:lnTo>
                    <a:pt x="4314" y="3572"/>
                  </a:lnTo>
                  <a:lnTo>
                    <a:pt x="4285" y="3600"/>
                  </a:lnTo>
                  <a:lnTo>
                    <a:pt x="4281" y="3593"/>
                  </a:lnTo>
                  <a:lnTo>
                    <a:pt x="4281" y="3584"/>
                  </a:lnTo>
                  <a:lnTo>
                    <a:pt x="4302" y="3560"/>
                  </a:lnTo>
                  <a:lnTo>
                    <a:pt x="4318" y="3527"/>
                  </a:lnTo>
                  <a:lnTo>
                    <a:pt x="4318" y="3539"/>
                  </a:lnTo>
                  <a:lnTo>
                    <a:pt x="4314" y="3572"/>
                  </a:lnTo>
                  <a:lnTo>
                    <a:pt x="4318" y="3560"/>
                  </a:lnTo>
                  <a:lnTo>
                    <a:pt x="4323" y="3527"/>
                  </a:lnTo>
                  <a:lnTo>
                    <a:pt x="4352" y="3539"/>
                  </a:lnTo>
                  <a:lnTo>
                    <a:pt x="4335" y="3593"/>
                  </a:lnTo>
                  <a:lnTo>
                    <a:pt x="4352" y="3544"/>
                  </a:lnTo>
                  <a:lnTo>
                    <a:pt x="4323" y="3600"/>
                  </a:lnTo>
                  <a:lnTo>
                    <a:pt x="4335" y="3560"/>
                  </a:lnTo>
                  <a:lnTo>
                    <a:pt x="4318" y="3600"/>
                  </a:lnTo>
                  <a:lnTo>
                    <a:pt x="4297" y="3610"/>
                  </a:lnTo>
                  <a:lnTo>
                    <a:pt x="4297" y="3610"/>
                  </a:lnTo>
                  <a:lnTo>
                    <a:pt x="4297" y="3610"/>
                  </a:lnTo>
                  <a:close/>
                  <a:moveTo>
                    <a:pt x="5570" y="3527"/>
                  </a:moveTo>
                  <a:lnTo>
                    <a:pt x="5599" y="3539"/>
                  </a:lnTo>
                  <a:lnTo>
                    <a:pt x="5570" y="3539"/>
                  </a:lnTo>
                  <a:lnTo>
                    <a:pt x="5582" y="3539"/>
                  </a:lnTo>
                  <a:lnTo>
                    <a:pt x="5570" y="3527"/>
                  </a:lnTo>
                  <a:lnTo>
                    <a:pt x="5570" y="3527"/>
                  </a:lnTo>
                  <a:lnTo>
                    <a:pt x="5570" y="3527"/>
                  </a:lnTo>
                  <a:close/>
                  <a:moveTo>
                    <a:pt x="4271" y="3572"/>
                  </a:moveTo>
                  <a:lnTo>
                    <a:pt x="4271" y="3555"/>
                  </a:lnTo>
                  <a:lnTo>
                    <a:pt x="4297" y="3544"/>
                  </a:lnTo>
                  <a:lnTo>
                    <a:pt x="4314" y="3527"/>
                  </a:lnTo>
                  <a:lnTo>
                    <a:pt x="4302" y="3555"/>
                  </a:lnTo>
                  <a:lnTo>
                    <a:pt x="4271" y="3572"/>
                  </a:lnTo>
                  <a:lnTo>
                    <a:pt x="4271" y="3572"/>
                  </a:lnTo>
                  <a:lnTo>
                    <a:pt x="4271" y="3572"/>
                  </a:lnTo>
                  <a:close/>
                  <a:moveTo>
                    <a:pt x="4352" y="3572"/>
                  </a:moveTo>
                  <a:lnTo>
                    <a:pt x="4356" y="3544"/>
                  </a:lnTo>
                  <a:lnTo>
                    <a:pt x="4373" y="3539"/>
                  </a:lnTo>
                  <a:lnTo>
                    <a:pt x="4373" y="3572"/>
                  </a:lnTo>
                  <a:lnTo>
                    <a:pt x="4352" y="3572"/>
                  </a:lnTo>
                  <a:lnTo>
                    <a:pt x="4352" y="3572"/>
                  </a:lnTo>
                  <a:lnTo>
                    <a:pt x="4352" y="3572"/>
                  </a:lnTo>
                  <a:close/>
                  <a:moveTo>
                    <a:pt x="5570" y="3544"/>
                  </a:moveTo>
                  <a:lnTo>
                    <a:pt x="5582" y="3555"/>
                  </a:lnTo>
                  <a:lnTo>
                    <a:pt x="5554" y="3544"/>
                  </a:lnTo>
                  <a:lnTo>
                    <a:pt x="5570" y="3544"/>
                  </a:lnTo>
                  <a:lnTo>
                    <a:pt x="5570" y="3544"/>
                  </a:lnTo>
                  <a:lnTo>
                    <a:pt x="5570" y="3544"/>
                  </a:lnTo>
                  <a:close/>
                  <a:moveTo>
                    <a:pt x="5608" y="3572"/>
                  </a:moveTo>
                  <a:lnTo>
                    <a:pt x="5613" y="3584"/>
                  </a:lnTo>
                  <a:lnTo>
                    <a:pt x="5592" y="3577"/>
                  </a:lnTo>
                  <a:lnTo>
                    <a:pt x="5608" y="3572"/>
                  </a:lnTo>
                  <a:lnTo>
                    <a:pt x="5608" y="3572"/>
                  </a:lnTo>
                  <a:lnTo>
                    <a:pt x="5608" y="3572"/>
                  </a:lnTo>
                  <a:close/>
                  <a:moveTo>
                    <a:pt x="4352" y="3577"/>
                  </a:moveTo>
                  <a:lnTo>
                    <a:pt x="4352" y="3584"/>
                  </a:lnTo>
                  <a:lnTo>
                    <a:pt x="4340" y="3610"/>
                  </a:lnTo>
                  <a:lnTo>
                    <a:pt x="4352" y="3577"/>
                  </a:lnTo>
                  <a:lnTo>
                    <a:pt x="4352" y="3577"/>
                  </a:lnTo>
                  <a:lnTo>
                    <a:pt x="4352" y="3577"/>
                  </a:lnTo>
                  <a:close/>
                  <a:moveTo>
                    <a:pt x="5629" y="3593"/>
                  </a:moveTo>
                  <a:lnTo>
                    <a:pt x="5613" y="3600"/>
                  </a:lnTo>
                  <a:lnTo>
                    <a:pt x="5625" y="3593"/>
                  </a:lnTo>
                  <a:lnTo>
                    <a:pt x="5629" y="3593"/>
                  </a:lnTo>
                  <a:lnTo>
                    <a:pt x="5629" y="3593"/>
                  </a:lnTo>
                  <a:lnTo>
                    <a:pt x="5629" y="3593"/>
                  </a:lnTo>
                  <a:close/>
                  <a:moveTo>
                    <a:pt x="5613" y="3593"/>
                  </a:moveTo>
                  <a:lnTo>
                    <a:pt x="5608" y="3600"/>
                  </a:lnTo>
                  <a:lnTo>
                    <a:pt x="5608" y="3593"/>
                  </a:lnTo>
                  <a:lnTo>
                    <a:pt x="5613" y="3593"/>
                  </a:lnTo>
                  <a:lnTo>
                    <a:pt x="5613" y="3593"/>
                  </a:lnTo>
                  <a:lnTo>
                    <a:pt x="5613" y="3593"/>
                  </a:lnTo>
                  <a:close/>
                  <a:moveTo>
                    <a:pt x="763" y="3683"/>
                  </a:moveTo>
                  <a:lnTo>
                    <a:pt x="756" y="3704"/>
                  </a:lnTo>
                  <a:lnTo>
                    <a:pt x="747" y="3711"/>
                  </a:lnTo>
                  <a:lnTo>
                    <a:pt x="740" y="3704"/>
                  </a:lnTo>
                  <a:lnTo>
                    <a:pt x="763" y="3683"/>
                  </a:lnTo>
                  <a:lnTo>
                    <a:pt x="763" y="3683"/>
                  </a:lnTo>
                  <a:lnTo>
                    <a:pt x="763" y="3683"/>
                  </a:lnTo>
                  <a:close/>
                  <a:moveTo>
                    <a:pt x="5826" y="3695"/>
                  </a:moveTo>
                  <a:lnTo>
                    <a:pt x="5826" y="3704"/>
                  </a:lnTo>
                  <a:lnTo>
                    <a:pt x="5830" y="3704"/>
                  </a:lnTo>
                  <a:lnTo>
                    <a:pt x="5814" y="3711"/>
                  </a:lnTo>
                  <a:lnTo>
                    <a:pt x="5809" y="3704"/>
                  </a:lnTo>
                  <a:lnTo>
                    <a:pt x="5826" y="3695"/>
                  </a:lnTo>
                  <a:lnTo>
                    <a:pt x="5826" y="3695"/>
                  </a:lnTo>
                  <a:lnTo>
                    <a:pt x="5826" y="3695"/>
                  </a:lnTo>
                  <a:close/>
                  <a:moveTo>
                    <a:pt x="740" y="3704"/>
                  </a:moveTo>
                  <a:lnTo>
                    <a:pt x="740" y="3711"/>
                  </a:lnTo>
                  <a:lnTo>
                    <a:pt x="735" y="3711"/>
                  </a:lnTo>
                  <a:lnTo>
                    <a:pt x="740" y="3704"/>
                  </a:lnTo>
                  <a:lnTo>
                    <a:pt x="740" y="3704"/>
                  </a:lnTo>
                  <a:lnTo>
                    <a:pt x="740" y="3704"/>
                  </a:lnTo>
                  <a:close/>
                  <a:moveTo>
                    <a:pt x="719" y="3728"/>
                  </a:moveTo>
                  <a:lnTo>
                    <a:pt x="702" y="3744"/>
                  </a:lnTo>
                  <a:lnTo>
                    <a:pt x="709" y="3721"/>
                  </a:lnTo>
                  <a:lnTo>
                    <a:pt x="719" y="3728"/>
                  </a:lnTo>
                  <a:lnTo>
                    <a:pt x="719" y="3728"/>
                  </a:lnTo>
                  <a:lnTo>
                    <a:pt x="719" y="3728"/>
                  </a:lnTo>
                  <a:close/>
                  <a:moveTo>
                    <a:pt x="5868" y="3728"/>
                  </a:moveTo>
                  <a:lnTo>
                    <a:pt x="5878" y="3737"/>
                  </a:lnTo>
                  <a:lnTo>
                    <a:pt x="5868" y="3737"/>
                  </a:lnTo>
                  <a:lnTo>
                    <a:pt x="5868" y="3728"/>
                  </a:lnTo>
                  <a:lnTo>
                    <a:pt x="5868" y="3728"/>
                  </a:lnTo>
                  <a:lnTo>
                    <a:pt x="5868" y="3728"/>
                  </a:lnTo>
                  <a:close/>
                  <a:moveTo>
                    <a:pt x="719" y="3766"/>
                  </a:moveTo>
                  <a:lnTo>
                    <a:pt x="726" y="3777"/>
                  </a:lnTo>
                  <a:lnTo>
                    <a:pt x="719" y="3766"/>
                  </a:lnTo>
                  <a:lnTo>
                    <a:pt x="719" y="3766"/>
                  </a:lnTo>
                  <a:lnTo>
                    <a:pt x="719" y="3766"/>
                  </a:lnTo>
                  <a:close/>
                  <a:moveTo>
                    <a:pt x="756" y="3766"/>
                  </a:moveTo>
                  <a:lnTo>
                    <a:pt x="763" y="3766"/>
                  </a:lnTo>
                  <a:lnTo>
                    <a:pt x="756" y="3777"/>
                  </a:lnTo>
                  <a:lnTo>
                    <a:pt x="756" y="3766"/>
                  </a:lnTo>
                  <a:lnTo>
                    <a:pt x="756" y="3766"/>
                  </a:lnTo>
                  <a:lnTo>
                    <a:pt x="756" y="3766"/>
                  </a:lnTo>
                  <a:close/>
                  <a:moveTo>
                    <a:pt x="563" y="3815"/>
                  </a:moveTo>
                  <a:lnTo>
                    <a:pt x="558" y="3799"/>
                  </a:lnTo>
                  <a:lnTo>
                    <a:pt x="558" y="3782"/>
                  </a:lnTo>
                  <a:lnTo>
                    <a:pt x="558" y="3766"/>
                  </a:lnTo>
                  <a:lnTo>
                    <a:pt x="596" y="3777"/>
                  </a:lnTo>
                  <a:lnTo>
                    <a:pt x="584" y="3794"/>
                  </a:lnTo>
                  <a:lnTo>
                    <a:pt x="600" y="3777"/>
                  </a:lnTo>
                  <a:lnTo>
                    <a:pt x="617" y="3777"/>
                  </a:lnTo>
                  <a:lnTo>
                    <a:pt x="626" y="3799"/>
                  </a:lnTo>
                  <a:lnTo>
                    <a:pt x="584" y="3815"/>
                  </a:lnTo>
                  <a:lnTo>
                    <a:pt x="600" y="3822"/>
                  </a:lnTo>
                  <a:lnTo>
                    <a:pt x="626" y="3815"/>
                  </a:lnTo>
                  <a:lnTo>
                    <a:pt x="626" y="3782"/>
                  </a:lnTo>
                  <a:lnTo>
                    <a:pt x="655" y="3766"/>
                  </a:lnTo>
                  <a:lnTo>
                    <a:pt x="638" y="3822"/>
                  </a:lnTo>
                  <a:lnTo>
                    <a:pt x="638" y="3848"/>
                  </a:lnTo>
                  <a:lnTo>
                    <a:pt x="633" y="3860"/>
                  </a:lnTo>
                  <a:lnTo>
                    <a:pt x="612" y="3860"/>
                  </a:lnTo>
                  <a:lnTo>
                    <a:pt x="626" y="3872"/>
                  </a:lnTo>
                  <a:lnTo>
                    <a:pt x="600" y="3872"/>
                  </a:lnTo>
                  <a:lnTo>
                    <a:pt x="584" y="3855"/>
                  </a:lnTo>
                  <a:lnTo>
                    <a:pt x="596" y="3855"/>
                  </a:lnTo>
                  <a:lnTo>
                    <a:pt x="579" y="3855"/>
                  </a:lnTo>
                  <a:lnTo>
                    <a:pt x="584" y="3848"/>
                  </a:lnTo>
                  <a:lnTo>
                    <a:pt x="600" y="3855"/>
                  </a:lnTo>
                  <a:lnTo>
                    <a:pt x="574" y="3839"/>
                  </a:lnTo>
                  <a:lnTo>
                    <a:pt x="563" y="3822"/>
                  </a:lnTo>
                  <a:lnTo>
                    <a:pt x="574" y="3822"/>
                  </a:lnTo>
                  <a:lnTo>
                    <a:pt x="563" y="3815"/>
                  </a:lnTo>
                  <a:lnTo>
                    <a:pt x="563" y="3815"/>
                  </a:lnTo>
                  <a:lnTo>
                    <a:pt x="563" y="3815"/>
                  </a:lnTo>
                  <a:close/>
                  <a:moveTo>
                    <a:pt x="747" y="3777"/>
                  </a:moveTo>
                  <a:lnTo>
                    <a:pt x="756" y="3794"/>
                  </a:lnTo>
                  <a:lnTo>
                    <a:pt x="747" y="3799"/>
                  </a:lnTo>
                  <a:lnTo>
                    <a:pt x="740" y="3799"/>
                  </a:lnTo>
                  <a:lnTo>
                    <a:pt x="747" y="3782"/>
                  </a:lnTo>
                  <a:lnTo>
                    <a:pt x="735" y="3794"/>
                  </a:lnTo>
                  <a:lnTo>
                    <a:pt x="726" y="3794"/>
                  </a:lnTo>
                  <a:lnTo>
                    <a:pt x="735" y="3799"/>
                  </a:lnTo>
                  <a:lnTo>
                    <a:pt x="726" y="3799"/>
                  </a:lnTo>
                  <a:lnTo>
                    <a:pt x="726" y="3782"/>
                  </a:lnTo>
                  <a:lnTo>
                    <a:pt x="747" y="3777"/>
                  </a:lnTo>
                  <a:lnTo>
                    <a:pt x="747" y="3777"/>
                  </a:lnTo>
                  <a:lnTo>
                    <a:pt x="747" y="3777"/>
                  </a:lnTo>
                  <a:close/>
                  <a:moveTo>
                    <a:pt x="801" y="3860"/>
                  </a:moveTo>
                  <a:lnTo>
                    <a:pt x="789" y="3848"/>
                  </a:lnTo>
                  <a:lnTo>
                    <a:pt x="778" y="3832"/>
                  </a:lnTo>
                  <a:lnTo>
                    <a:pt x="773" y="3822"/>
                  </a:lnTo>
                  <a:lnTo>
                    <a:pt x="778" y="3822"/>
                  </a:lnTo>
                  <a:lnTo>
                    <a:pt x="763" y="3815"/>
                  </a:lnTo>
                  <a:lnTo>
                    <a:pt x="756" y="3799"/>
                  </a:lnTo>
                  <a:lnTo>
                    <a:pt x="773" y="3806"/>
                  </a:lnTo>
                  <a:lnTo>
                    <a:pt x="811" y="3848"/>
                  </a:lnTo>
                  <a:lnTo>
                    <a:pt x="811" y="3860"/>
                  </a:lnTo>
                  <a:lnTo>
                    <a:pt x="801" y="3860"/>
                  </a:lnTo>
                  <a:lnTo>
                    <a:pt x="801" y="3860"/>
                  </a:lnTo>
                  <a:lnTo>
                    <a:pt x="801" y="3860"/>
                  </a:lnTo>
                  <a:close/>
                  <a:moveTo>
                    <a:pt x="756" y="3806"/>
                  </a:moveTo>
                  <a:lnTo>
                    <a:pt x="763" y="3832"/>
                  </a:lnTo>
                  <a:lnTo>
                    <a:pt x="747" y="3815"/>
                  </a:lnTo>
                  <a:lnTo>
                    <a:pt x="756" y="3806"/>
                  </a:lnTo>
                  <a:lnTo>
                    <a:pt x="756" y="3806"/>
                  </a:lnTo>
                  <a:lnTo>
                    <a:pt x="756" y="3806"/>
                  </a:lnTo>
                  <a:close/>
                  <a:moveTo>
                    <a:pt x="853" y="3815"/>
                  </a:moveTo>
                  <a:lnTo>
                    <a:pt x="832" y="3848"/>
                  </a:lnTo>
                  <a:lnTo>
                    <a:pt x="832" y="3822"/>
                  </a:lnTo>
                  <a:lnTo>
                    <a:pt x="853" y="3815"/>
                  </a:lnTo>
                  <a:lnTo>
                    <a:pt x="853" y="3815"/>
                  </a:lnTo>
                  <a:lnTo>
                    <a:pt x="853" y="3815"/>
                  </a:lnTo>
                  <a:close/>
                  <a:moveTo>
                    <a:pt x="747" y="3822"/>
                  </a:moveTo>
                  <a:lnTo>
                    <a:pt x="778" y="3839"/>
                  </a:lnTo>
                  <a:lnTo>
                    <a:pt x="794" y="3860"/>
                  </a:lnTo>
                  <a:lnTo>
                    <a:pt x="778" y="3872"/>
                  </a:lnTo>
                  <a:lnTo>
                    <a:pt x="735" y="3832"/>
                  </a:lnTo>
                  <a:lnTo>
                    <a:pt x="740" y="3822"/>
                  </a:lnTo>
                  <a:lnTo>
                    <a:pt x="747" y="3822"/>
                  </a:lnTo>
                  <a:lnTo>
                    <a:pt x="747" y="3822"/>
                  </a:lnTo>
                  <a:lnTo>
                    <a:pt x="747" y="3822"/>
                  </a:lnTo>
                  <a:close/>
                  <a:moveTo>
                    <a:pt x="844" y="3832"/>
                  </a:moveTo>
                  <a:lnTo>
                    <a:pt x="848" y="3855"/>
                  </a:lnTo>
                  <a:lnTo>
                    <a:pt x="832" y="3855"/>
                  </a:lnTo>
                  <a:lnTo>
                    <a:pt x="844" y="3832"/>
                  </a:lnTo>
                  <a:lnTo>
                    <a:pt x="844" y="3832"/>
                  </a:lnTo>
                  <a:lnTo>
                    <a:pt x="844" y="3832"/>
                  </a:lnTo>
                  <a:close/>
                  <a:moveTo>
                    <a:pt x="5970" y="3839"/>
                  </a:moveTo>
                  <a:lnTo>
                    <a:pt x="5977" y="3839"/>
                  </a:lnTo>
                  <a:lnTo>
                    <a:pt x="5977" y="3848"/>
                  </a:lnTo>
                  <a:lnTo>
                    <a:pt x="5960" y="3839"/>
                  </a:lnTo>
                  <a:lnTo>
                    <a:pt x="5970" y="3839"/>
                  </a:lnTo>
                  <a:lnTo>
                    <a:pt x="5970" y="3839"/>
                  </a:lnTo>
                  <a:lnTo>
                    <a:pt x="5970" y="3839"/>
                  </a:lnTo>
                  <a:close/>
                  <a:moveTo>
                    <a:pt x="815" y="3848"/>
                  </a:moveTo>
                  <a:lnTo>
                    <a:pt x="815" y="3855"/>
                  </a:lnTo>
                  <a:lnTo>
                    <a:pt x="811" y="3848"/>
                  </a:lnTo>
                  <a:lnTo>
                    <a:pt x="815" y="3848"/>
                  </a:lnTo>
                  <a:lnTo>
                    <a:pt x="815" y="3848"/>
                  </a:lnTo>
                  <a:lnTo>
                    <a:pt x="815" y="3848"/>
                  </a:lnTo>
                  <a:close/>
                  <a:moveTo>
                    <a:pt x="4281" y="3848"/>
                  </a:moveTo>
                  <a:lnTo>
                    <a:pt x="4281" y="3855"/>
                  </a:lnTo>
                  <a:lnTo>
                    <a:pt x="4271" y="3855"/>
                  </a:lnTo>
                  <a:lnTo>
                    <a:pt x="4281" y="3848"/>
                  </a:lnTo>
                  <a:lnTo>
                    <a:pt x="4281" y="3848"/>
                  </a:lnTo>
                  <a:lnTo>
                    <a:pt x="4281" y="3848"/>
                  </a:lnTo>
                  <a:close/>
                  <a:moveTo>
                    <a:pt x="827" y="3855"/>
                  </a:moveTo>
                  <a:lnTo>
                    <a:pt x="832" y="3872"/>
                  </a:lnTo>
                  <a:lnTo>
                    <a:pt x="815" y="3872"/>
                  </a:lnTo>
                  <a:lnTo>
                    <a:pt x="827" y="3855"/>
                  </a:lnTo>
                  <a:lnTo>
                    <a:pt x="827" y="3855"/>
                  </a:lnTo>
                  <a:lnTo>
                    <a:pt x="827" y="3855"/>
                  </a:lnTo>
                  <a:close/>
                  <a:moveTo>
                    <a:pt x="832" y="3905"/>
                  </a:moveTo>
                  <a:lnTo>
                    <a:pt x="853" y="3877"/>
                  </a:lnTo>
                  <a:lnTo>
                    <a:pt x="844" y="3872"/>
                  </a:lnTo>
                  <a:lnTo>
                    <a:pt x="853" y="3877"/>
                  </a:lnTo>
                  <a:lnTo>
                    <a:pt x="832" y="3893"/>
                  </a:lnTo>
                  <a:lnTo>
                    <a:pt x="844" y="3855"/>
                  </a:lnTo>
                  <a:lnTo>
                    <a:pt x="870" y="3872"/>
                  </a:lnTo>
                  <a:lnTo>
                    <a:pt x="870" y="3877"/>
                  </a:lnTo>
                  <a:lnTo>
                    <a:pt x="870" y="3917"/>
                  </a:lnTo>
                  <a:lnTo>
                    <a:pt x="865" y="3926"/>
                  </a:lnTo>
                  <a:lnTo>
                    <a:pt x="865" y="3888"/>
                  </a:lnTo>
                  <a:lnTo>
                    <a:pt x="853" y="3917"/>
                  </a:lnTo>
                  <a:lnTo>
                    <a:pt x="844" y="3910"/>
                  </a:lnTo>
                  <a:lnTo>
                    <a:pt x="832" y="3905"/>
                  </a:lnTo>
                  <a:lnTo>
                    <a:pt x="832" y="3905"/>
                  </a:lnTo>
                  <a:lnTo>
                    <a:pt x="832" y="3905"/>
                  </a:lnTo>
                  <a:close/>
                  <a:moveTo>
                    <a:pt x="617" y="3893"/>
                  </a:moveTo>
                  <a:lnTo>
                    <a:pt x="626" y="3888"/>
                  </a:lnTo>
                  <a:lnTo>
                    <a:pt x="600" y="3877"/>
                  </a:lnTo>
                  <a:lnTo>
                    <a:pt x="596" y="3872"/>
                  </a:lnTo>
                  <a:lnTo>
                    <a:pt x="626" y="3872"/>
                  </a:lnTo>
                  <a:lnTo>
                    <a:pt x="650" y="3860"/>
                  </a:lnTo>
                  <a:lnTo>
                    <a:pt x="664" y="3877"/>
                  </a:lnTo>
                  <a:lnTo>
                    <a:pt x="633" y="3877"/>
                  </a:lnTo>
                  <a:lnTo>
                    <a:pt x="655" y="3888"/>
                  </a:lnTo>
                  <a:lnTo>
                    <a:pt x="655" y="3893"/>
                  </a:lnTo>
                  <a:lnTo>
                    <a:pt x="633" y="3893"/>
                  </a:lnTo>
                  <a:lnTo>
                    <a:pt x="638" y="3893"/>
                  </a:lnTo>
                  <a:lnTo>
                    <a:pt x="671" y="3943"/>
                  </a:lnTo>
                  <a:lnTo>
                    <a:pt x="688" y="3943"/>
                  </a:lnTo>
                  <a:lnTo>
                    <a:pt x="681" y="3950"/>
                  </a:lnTo>
                  <a:lnTo>
                    <a:pt x="693" y="3950"/>
                  </a:lnTo>
                  <a:lnTo>
                    <a:pt x="702" y="3966"/>
                  </a:lnTo>
                  <a:lnTo>
                    <a:pt x="688" y="3966"/>
                  </a:lnTo>
                  <a:lnTo>
                    <a:pt x="664" y="3950"/>
                  </a:lnTo>
                  <a:lnTo>
                    <a:pt x="664" y="3943"/>
                  </a:lnTo>
                  <a:lnTo>
                    <a:pt x="626" y="3910"/>
                  </a:lnTo>
                  <a:lnTo>
                    <a:pt x="638" y="3910"/>
                  </a:lnTo>
                  <a:lnTo>
                    <a:pt x="633" y="3905"/>
                  </a:lnTo>
                  <a:lnTo>
                    <a:pt x="626" y="3910"/>
                  </a:lnTo>
                  <a:lnTo>
                    <a:pt x="612" y="3888"/>
                  </a:lnTo>
                  <a:lnTo>
                    <a:pt x="617" y="3893"/>
                  </a:lnTo>
                  <a:lnTo>
                    <a:pt x="617" y="3893"/>
                  </a:lnTo>
                  <a:lnTo>
                    <a:pt x="617" y="3893"/>
                  </a:lnTo>
                  <a:close/>
                  <a:moveTo>
                    <a:pt x="4205" y="3860"/>
                  </a:moveTo>
                  <a:lnTo>
                    <a:pt x="4226" y="3893"/>
                  </a:lnTo>
                  <a:lnTo>
                    <a:pt x="4226" y="3910"/>
                  </a:lnTo>
                  <a:lnTo>
                    <a:pt x="4134" y="3877"/>
                  </a:lnTo>
                  <a:lnTo>
                    <a:pt x="4151" y="3860"/>
                  </a:lnTo>
                  <a:lnTo>
                    <a:pt x="4205" y="3860"/>
                  </a:lnTo>
                  <a:lnTo>
                    <a:pt x="4205" y="3860"/>
                  </a:lnTo>
                  <a:lnTo>
                    <a:pt x="4205" y="3860"/>
                  </a:lnTo>
                  <a:close/>
                  <a:moveTo>
                    <a:pt x="811" y="3860"/>
                  </a:moveTo>
                  <a:lnTo>
                    <a:pt x="827" y="3888"/>
                  </a:lnTo>
                  <a:lnTo>
                    <a:pt x="801" y="3872"/>
                  </a:lnTo>
                  <a:lnTo>
                    <a:pt x="811" y="3860"/>
                  </a:lnTo>
                  <a:lnTo>
                    <a:pt x="811" y="3860"/>
                  </a:lnTo>
                  <a:lnTo>
                    <a:pt x="811" y="3860"/>
                  </a:lnTo>
                  <a:close/>
                  <a:moveTo>
                    <a:pt x="4285" y="3872"/>
                  </a:moveTo>
                  <a:lnTo>
                    <a:pt x="4297" y="3872"/>
                  </a:lnTo>
                  <a:lnTo>
                    <a:pt x="4281" y="3877"/>
                  </a:lnTo>
                  <a:lnTo>
                    <a:pt x="4285" y="3872"/>
                  </a:lnTo>
                  <a:lnTo>
                    <a:pt x="4285" y="3872"/>
                  </a:lnTo>
                  <a:lnTo>
                    <a:pt x="4285" y="3872"/>
                  </a:lnTo>
                  <a:close/>
                  <a:moveTo>
                    <a:pt x="794" y="3872"/>
                  </a:moveTo>
                  <a:lnTo>
                    <a:pt x="801" y="3877"/>
                  </a:lnTo>
                  <a:lnTo>
                    <a:pt x="794" y="3872"/>
                  </a:lnTo>
                  <a:lnTo>
                    <a:pt x="794" y="3872"/>
                  </a:lnTo>
                  <a:lnTo>
                    <a:pt x="794" y="3872"/>
                  </a:lnTo>
                  <a:close/>
                  <a:moveTo>
                    <a:pt x="5977" y="3877"/>
                  </a:moveTo>
                  <a:lnTo>
                    <a:pt x="5970" y="3877"/>
                  </a:lnTo>
                  <a:lnTo>
                    <a:pt x="5977" y="3877"/>
                  </a:lnTo>
                  <a:lnTo>
                    <a:pt x="5977" y="3877"/>
                  </a:lnTo>
                  <a:lnTo>
                    <a:pt x="5977" y="3877"/>
                  </a:lnTo>
                  <a:close/>
                  <a:moveTo>
                    <a:pt x="801" y="3877"/>
                  </a:moveTo>
                  <a:lnTo>
                    <a:pt x="811" y="3877"/>
                  </a:lnTo>
                  <a:lnTo>
                    <a:pt x="794" y="3877"/>
                  </a:lnTo>
                  <a:lnTo>
                    <a:pt x="801" y="3877"/>
                  </a:lnTo>
                  <a:lnTo>
                    <a:pt x="801" y="3877"/>
                  </a:lnTo>
                  <a:lnTo>
                    <a:pt x="801" y="3877"/>
                  </a:lnTo>
                  <a:close/>
                  <a:moveTo>
                    <a:pt x="801" y="3888"/>
                  </a:moveTo>
                  <a:lnTo>
                    <a:pt x="794" y="3877"/>
                  </a:lnTo>
                  <a:lnTo>
                    <a:pt x="801" y="3888"/>
                  </a:lnTo>
                  <a:lnTo>
                    <a:pt x="801" y="3888"/>
                  </a:lnTo>
                  <a:lnTo>
                    <a:pt x="801" y="3888"/>
                  </a:lnTo>
                  <a:close/>
                  <a:moveTo>
                    <a:pt x="903" y="3905"/>
                  </a:moveTo>
                  <a:lnTo>
                    <a:pt x="898" y="3926"/>
                  </a:lnTo>
                  <a:lnTo>
                    <a:pt x="886" y="3905"/>
                  </a:lnTo>
                  <a:lnTo>
                    <a:pt x="903" y="3905"/>
                  </a:lnTo>
                  <a:lnTo>
                    <a:pt x="903" y="3905"/>
                  </a:lnTo>
                  <a:lnTo>
                    <a:pt x="903" y="3905"/>
                  </a:lnTo>
                  <a:close/>
                  <a:moveTo>
                    <a:pt x="827" y="3905"/>
                  </a:moveTo>
                  <a:lnTo>
                    <a:pt x="848" y="3917"/>
                  </a:lnTo>
                  <a:lnTo>
                    <a:pt x="848" y="3933"/>
                  </a:lnTo>
                  <a:lnTo>
                    <a:pt x="827" y="3910"/>
                  </a:lnTo>
                  <a:lnTo>
                    <a:pt x="827" y="3905"/>
                  </a:lnTo>
                  <a:lnTo>
                    <a:pt x="827" y="3905"/>
                  </a:lnTo>
                  <a:lnTo>
                    <a:pt x="827" y="3905"/>
                  </a:lnTo>
                  <a:close/>
                  <a:moveTo>
                    <a:pt x="886" y="3905"/>
                  </a:moveTo>
                  <a:lnTo>
                    <a:pt x="898" y="3933"/>
                  </a:lnTo>
                  <a:lnTo>
                    <a:pt x="882" y="3943"/>
                  </a:lnTo>
                  <a:lnTo>
                    <a:pt x="882" y="3910"/>
                  </a:lnTo>
                  <a:lnTo>
                    <a:pt x="886" y="3905"/>
                  </a:lnTo>
                  <a:lnTo>
                    <a:pt x="886" y="3905"/>
                  </a:lnTo>
                  <a:lnTo>
                    <a:pt x="886" y="3905"/>
                  </a:lnTo>
                  <a:close/>
                  <a:moveTo>
                    <a:pt x="671" y="3910"/>
                  </a:moveTo>
                  <a:lnTo>
                    <a:pt x="671" y="3917"/>
                  </a:lnTo>
                  <a:lnTo>
                    <a:pt x="664" y="3926"/>
                  </a:lnTo>
                  <a:lnTo>
                    <a:pt x="655" y="3910"/>
                  </a:lnTo>
                  <a:lnTo>
                    <a:pt x="671" y="3910"/>
                  </a:lnTo>
                  <a:lnTo>
                    <a:pt x="671" y="3910"/>
                  </a:lnTo>
                  <a:lnTo>
                    <a:pt x="671" y="3910"/>
                  </a:lnTo>
                  <a:close/>
                  <a:moveTo>
                    <a:pt x="870" y="3917"/>
                  </a:moveTo>
                  <a:lnTo>
                    <a:pt x="882" y="3943"/>
                  </a:lnTo>
                  <a:lnTo>
                    <a:pt x="853" y="3926"/>
                  </a:lnTo>
                  <a:lnTo>
                    <a:pt x="870" y="3917"/>
                  </a:lnTo>
                  <a:lnTo>
                    <a:pt x="870" y="3917"/>
                  </a:lnTo>
                  <a:lnTo>
                    <a:pt x="870" y="3917"/>
                  </a:lnTo>
                  <a:close/>
                  <a:moveTo>
                    <a:pt x="870" y="3933"/>
                  </a:moveTo>
                  <a:lnTo>
                    <a:pt x="865" y="3959"/>
                  </a:lnTo>
                  <a:lnTo>
                    <a:pt x="853" y="3933"/>
                  </a:lnTo>
                  <a:lnTo>
                    <a:pt x="870" y="3933"/>
                  </a:lnTo>
                  <a:lnTo>
                    <a:pt x="870" y="3933"/>
                  </a:lnTo>
                  <a:lnTo>
                    <a:pt x="870" y="3933"/>
                  </a:lnTo>
                  <a:close/>
                  <a:moveTo>
                    <a:pt x="941" y="3966"/>
                  </a:moveTo>
                  <a:lnTo>
                    <a:pt x="936" y="3983"/>
                  </a:lnTo>
                  <a:lnTo>
                    <a:pt x="919" y="3983"/>
                  </a:lnTo>
                  <a:lnTo>
                    <a:pt x="924" y="3959"/>
                  </a:lnTo>
                  <a:lnTo>
                    <a:pt x="962" y="3943"/>
                  </a:lnTo>
                  <a:lnTo>
                    <a:pt x="962" y="3950"/>
                  </a:lnTo>
                  <a:lnTo>
                    <a:pt x="941" y="3966"/>
                  </a:lnTo>
                  <a:lnTo>
                    <a:pt x="941" y="3966"/>
                  </a:lnTo>
                  <a:lnTo>
                    <a:pt x="941" y="3966"/>
                  </a:lnTo>
                  <a:close/>
                  <a:moveTo>
                    <a:pt x="903" y="3943"/>
                  </a:moveTo>
                  <a:lnTo>
                    <a:pt x="908" y="3950"/>
                  </a:lnTo>
                  <a:lnTo>
                    <a:pt x="898" y="3950"/>
                  </a:lnTo>
                  <a:lnTo>
                    <a:pt x="903" y="3943"/>
                  </a:lnTo>
                  <a:lnTo>
                    <a:pt x="903" y="3943"/>
                  </a:lnTo>
                  <a:lnTo>
                    <a:pt x="903" y="3943"/>
                  </a:lnTo>
                  <a:close/>
                  <a:moveTo>
                    <a:pt x="919" y="3950"/>
                  </a:moveTo>
                  <a:lnTo>
                    <a:pt x="919" y="3966"/>
                  </a:lnTo>
                  <a:lnTo>
                    <a:pt x="903" y="3959"/>
                  </a:lnTo>
                  <a:lnTo>
                    <a:pt x="919" y="3950"/>
                  </a:lnTo>
                  <a:lnTo>
                    <a:pt x="919" y="3950"/>
                  </a:lnTo>
                  <a:lnTo>
                    <a:pt x="919" y="3950"/>
                  </a:lnTo>
                  <a:close/>
                  <a:moveTo>
                    <a:pt x="898" y="3966"/>
                  </a:moveTo>
                  <a:lnTo>
                    <a:pt x="886" y="3959"/>
                  </a:lnTo>
                  <a:lnTo>
                    <a:pt x="898" y="3959"/>
                  </a:lnTo>
                  <a:lnTo>
                    <a:pt x="898" y="3966"/>
                  </a:lnTo>
                  <a:lnTo>
                    <a:pt x="898" y="3966"/>
                  </a:lnTo>
                  <a:lnTo>
                    <a:pt x="898" y="3966"/>
                  </a:lnTo>
                  <a:close/>
                  <a:moveTo>
                    <a:pt x="886" y="3959"/>
                  </a:moveTo>
                  <a:lnTo>
                    <a:pt x="882" y="3966"/>
                  </a:lnTo>
                  <a:lnTo>
                    <a:pt x="886" y="3959"/>
                  </a:lnTo>
                  <a:lnTo>
                    <a:pt x="886" y="3959"/>
                  </a:lnTo>
                  <a:lnTo>
                    <a:pt x="886" y="3959"/>
                  </a:lnTo>
                  <a:close/>
                  <a:moveTo>
                    <a:pt x="903" y="3966"/>
                  </a:moveTo>
                  <a:lnTo>
                    <a:pt x="898" y="3983"/>
                  </a:lnTo>
                  <a:lnTo>
                    <a:pt x="898" y="3966"/>
                  </a:lnTo>
                  <a:lnTo>
                    <a:pt x="903" y="3966"/>
                  </a:lnTo>
                  <a:lnTo>
                    <a:pt x="903" y="3966"/>
                  </a:lnTo>
                  <a:lnTo>
                    <a:pt x="903" y="3966"/>
                  </a:lnTo>
                  <a:close/>
                  <a:moveTo>
                    <a:pt x="908" y="3966"/>
                  </a:moveTo>
                  <a:lnTo>
                    <a:pt x="919" y="3966"/>
                  </a:lnTo>
                  <a:lnTo>
                    <a:pt x="919" y="3971"/>
                  </a:lnTo>
                  <a:lnTo>
                    <a:pt x="903" y="3971"/>
                  </a:lnTo>
                  <a:lnTo>
                    <a:pt x="908" y="3966"/>
                  </a:lnTo>
                  <a:lnTo>
                    <a:pt x="908" y="3966"/>
                  </a:lnTo>
                  <a:lnTo>
                    <a:pt x="908" y="3966"/>
                  </a:lnTo>
                  <a:close/>
                  <a:moveTo>
                    <a:pt x="693" y="3966"/>
                  </a:moveTo>
                  <a:lnTo>
                    <a:pt x="702" y="3971"/>
                  </a:lnTo>
                  <a:lnTo>
                    <a:pt x="702" y="3988"/>
                  </a:lnTo>
                  <a:lnTo>
                    <a:pt x="693" y="3971"/>
                  </a:lnTo>
                  <a:lnTo>
                    <a:pt x="693" y="3966"/>
                  </a:lnTo>
                  <a:lnTo>
                    <a:pt x="693" y="3966"/>
                  </a:lnTo>
                  <a:lnTo>
                    <a:pt x="693" y="3966"/>
                  </a:lnTo>
                  <a:close/>
                  <a:moveTo>
                    <a:pt x="4323" y="3971"/>
                  </a:moveTo>
                  <a:lnTo>
                    <a:pt x="4318" y="3988"/>
                  </a:lnTo>
                  <a:lnTo>
                    <a:pt x="4302" y="3988"/>
                  </a:lnTo>
                  <a:lnTo>
                    <a:pt x="4302" y="3983"/>
                  </a:lnTo>
                  <a:lnTo>
                    <a:pt x="4323" y="3971"/>
                  </a:lnTo>
                  <a:lnTo>
                    <a:pt x="4323" y="3971"/>
                  </a:lnTo>
                  <a:lnTo>
                    <a:pt x="4323" y="3971"/>
                  </a:lnTo>
                  <a:close/>
                  <a:moveTo>
                    <a:pt x="919" y="3971"/>
                  </a:moveTo>
                  <a:lnTo>
                    <a:pt x="908" y="4004"/>
                  </a:lnTo>
                  <a:lnTo>
                    <a:pt x="903" y="4004"/>
                  </a:lnTo>
                  <a:lnTo>
                    <a:pt x="898" y="4000"/>
                  </a:lnTo>
                  <a:lnTo>
                    <a:pt x="903" y="3971"/>
                  </a:lnTo>
                  <a:lnTo>
                    <a:pt x="919" y="3971"/>
                  </a:lnTo>
                  <a:lnTo>
                    <a:pt x="919" y="3971"/>
                  </a:lnTo>
                  <a:lnTo>
                    <a:pt x="919" y="3971"/>
                  </a:lnTo>
                  <a:close/>
                  <a:moveTo>
                    <a:pt x="908" y="4004"/>
                  </a:moveTo>
                  <a:lnTo>
                    <a:pt x="919" y="4037"/>
                  </a:lnTo>
                  <a:lnTo>
                    <a:pt x="903" y="4021"/>
                  </a:lnTo>
                  <a:lnTo>
                    <a:pt x="908" y="4004"/>
                  </a:lnTo>
                  <a:lnTo>
                    <a:pt x="908" y="4004"/>
                  </a:lnTo>
                  <a:lnTo>
                    <a:pt x="908" y="4004"/>
                  </a:lnTo>
                  <a:close/>
                  <a:moveTo>
                    <a:pt x="6116" y="4316"/>
                  </a:moveTo>
                  <a:lnTo>
                    <a:pt x="6133" y="4304"/>
                  </a:lnTo>
                  <a:lnTo>
                    <a:pt x="6133" y="4316"/>
                  </a:lnTo>
                  <a:lnTo>
                    <a:pt x="6137" y="4297"/>
                  </a:lnTo>
                  <a:lnTo>
                    <a:pt x="6154" y="4304"/>
                  </a:lnTo>
                  <a:lnTo>
                    <a:pt x="6170" y="4292"/>
                  </a:lnTo>
                  <a:lnTo>
                    <a:pt x="6170" y="4297"/>
                  </a:lnTo>
                  <a:lnTo>
                    <a:pt x="6154" y="4321"/>
                  </a:lnTo>
                  <a:lnTo>
                    <a:pt x="6149" y="4321"/>
                  </a:lnTo>
                  <a:lnTo>
                    <a:pt x="6121" y="4337"/>
                  </a:lnTo>
                  <a:lnTo>
                    <a:pt x="6111" y="4337"/>
                  </a:lnTo>
                  <a:lnTo>
                    <a:pt x="6111" y="4349"/>
                  </a:lnTo>
                  <a:lnTo>
                    <a:pt x="6121" y="4354"/>
                  </a:lnTo>
                  <a:lnTo>
                    <a:pt x="6111" y="4354"/>
                  </a:lnTo>
                  <a:lnTo>
                    <a:pt x="6133" y="4354"/>
                  </a:lnTo>
                  <a:lnTo>
                    <a:pt x="6111" y="4375"/>
                  </a:lnTo>
                  <a:lnTo>
                    <a:pt x="6116" y="4392"/>
                  </a:lnTo>
                  <a:lnTo>
                    <a:pt x="6133" y="4403"/>
                  </a:lnTo>
                  <a:lnTo>
                    <a:pt x="6137" y="4375"/>
                  </a:lnTo>
                  <a:lnTo>
                    <a:pt x="6154" y="4354"/>
                  </a:lnTo>
                  <a:lnTo>
                    <a:pt x="6170" y="4354"/>
                  </a:lnTo>
                  <a:lnTo>
                    <a:pt x="6175" y="4337"/>
                  </a:lnTo>
                  <a:lnTo>
                    <a:pt x="6187" y="4349"/>
                  </a:lnTo>
                  <a:lnTo>
                    <a:pt x="6175" y="4354"/>
                  </a:lnTo>
                  <a:lnTo>
                    <a:pt x="6154" y="4392"/>
                  </a:lnTo>
                  <a:lnTo>
                    <a:pt x="6163" y="4408"/>
                  </a:lnTo>
                  <a:lnTo>
                    <a:pt x="6175" y="4392"/>
                  </a:lnTo>
                  <a:lnTo>
                    <a:pt x="6187" y="4375"/>
                  </a:lnTo>
                  <a:lnTo>
                    <a:pt x="6201" y="4403"/>
                  </a:lnTo>
                  <a:lnTo>
                    <a:pt x="6187" y="4415"/>
                  </a:lnTo>
                  <a:lnTo>
                    <a:pt x="6175" y="4465"/>
                  </a:lnTo>
                  <a:lnTo>
                    <a:pt x="6163" y="4481"/>
                  </a:lnTo>
                  <a:lnTo>
                    <a:pt x="6149" y="4470"/>
                  </a:lnTo>
                  <a:lnTo>
                    <a:pt x="6133" y="4481"/>
                  </a:lnTo>
                  <a:lnTo>
                    <a:pt x="6133" y="4432"/>
                  </a:lnTo>
                  <a:lnTo>
                    <a:pt x="6100" y="4465"/>
                  </a:lnTo>
                  <a:lnTo>
                    <a:pt x="6083" y="4465"/>
                  </a:lnTo>
                  <a:lnTo>
                    <a:pt x="6095" y="4448"/>
                  </a:lnTo>
                  <a:lnTo>
                    <a:pt x="6111" y="4408"/>
                  </a:lnTo>
                  <a:lnTo>
                    <a:pt x="6100" y="4375"/>
                  </a:lnTo>
                  <a:lnTo>
                    <a:pt x="6083" y="4370"/>
                  </a:lnTo>
                  <a:lnTo>
                    <a:pt x="6066" y="4408"/>
                  </a:lnTo>
                  <a:lnTo>
                    <a:pt x="6057" y="4415"/>
                  </a:lnTo>
                  <a:lnTo>
                    <a:pt x="6066" y="4392"/>
                  </a:lnTo>
                  <a:lnTo>
                    <a:pt x="6057" y="4408"/>
                  </a:lnTo>
                  <a:lnTo>
                    <a:pt x="6041" y="4408"/>
                  </a:lnTo>
                  <a:lnTo>
                    <a:pt x="6015" y="4460"/>
                  </a:lnTo>
                  <a:lnTo>
                    <a:pt x="5986" y="4465"/>
                  </a:lnTo>
                  <a:lnTo>
                    <a:pt x="5960" y="4448"/>
                  </a:lnTo>
                  <a:lnTo>
                    <a:pt x="5970" y="4441"/>
                  </a:lnTo>
                  <a:lnTo>
                    <a:pt x="6003" y="4432"/>
                  </a:lnTo>
                  <a:lnTo>
                    <a:pt x="6015" y="4408"/>
                  </a:lnTo>
                  <a:lnTo>
                    <a:pt x="6041" y="4392"/>
                  </a:lnTo>
                  <a:lnTo>
                    <a:pt x="6029" y="4392"/>
                  </a:lnTo>
                  <a:lnTo>
                    <a:pt x="6041" y="4375"/>
                  </a:lnTo>
                  <a:lnTo>
                    <a:pt x="6024" y="4392"/>
                  </a:lnTo>
                  <a:lnTo>
                    <a:pt x="6003" y="4387"/>
                  </a:lnTo>
                  <a:lnTo>
                    <a:pt x="6003" y="4403"/>
                  </a:lnTo>
                  <a:lnTo>
                    <a:pt x="5991" y="4408"/>
                  </a:lnTo>
                  <a:lnTo>
                    <a:pt x="5986" y="4403"/>
                  </a:lnTo>
                  <a:lnTo>
                    <a:pt x="5970" y="4408"/>
                  </a:lnTo>
                  <a:lnTo>
                    <a:pt x="5977" y="4392"/>
                  </a:lnTo>
                  <a:lnTo>
                    <a:pt x="5948" y="4403"/>
                  </a:lnTo>
                  <a:lnTo>
                    <a:pt x="5986" y="4387"/>
                  </a:lnTo>
                  <a:lnTo>
                    <a:pt x="5970" y="4387"/>
                  </a:lnTo>
                  <a:lnTo>
                    <a:pt x="5977" y="4359"/>
                  </a:lnTo>
                  <a:lnTo>
                    <a:pt x="5970" y="4375"/>
                  </a:lnTo>
                  <a:lnTo>
                    <a:pt x="5953" y="4387"/>
                  </a:lnTo>
                  <a:lnTo>
                    <a:pt x="5953" y="4375"/>
                  </a:lnTo>
                  <a:lnTo>
                    <a:pt x="5948" y="4392"/>
                  </a:lnTo>
                  <a:lnTo>
                    <a:pt x="5901" y="4403"/>
                  </a:lnTo>
                  <a:lnTo>
                    <a:pt x="5814" y="4387"/>
                  </a:lnTo>
                  <a:lnTo>
                    <a:pt x="5738" y="4392"/>
                  </a:lnTo>
                  <a:lnTo>
                    <a:pt x="5733" y="4392"/>
                  </a:lnTo>
                  <a:lnTo>
                    <a:pt x="5722" y="4370"/>
                  </a:lnTo>
                  <a:lnTo>
                    <a:pt x="5792" y="4316"/>
                  </a:lnTo>
                  <a:lnTo>
                    <a:pt x="5776" y="4304"/>
                  </a:lnTo>
                  <a:lnTo>
                    <a:pt x="5733" y="4316"/>
                  </a:lnTo>
                  <a:lnTo>
                    <a:pt x="5771" y="4281"/>
                  </a:lnTo>
                  <a:lnTo>
                    <a:pt x="5755" y="4297"/>
                  </a:lnTo>
                  <a:lnTo>
                    <a:pt x="5771" y="4304"/>
                  </a:lnTo>
                  <a:lnTo>
                    <a:pt x="5792" y="4248"/>
                  </a:lnTo>
                  <a:lnTo>
                    <a:pt x="5792" y="4259"/>
                  </a:lnTo>
                  <a:lnTo>
                    <a:pt x="5830" y="4264"/>
                  </a:lnTo>
                  <a:lnTo>
                    <a:pt x="5814" y="4264"/>
                  </a:lnTo>
                  <a:lnTo>
                    <a:pt x="5809" y="4248"/>
                  </a:lnTo>
                  <a:lnTo>
                    <a:pt x="5826" y="4248"/>
                  </a:lnTo>
                  <a:lnTo>
                    <a:pt x="5830" y="4248"/>
                  </a:lnTo>
                  <a:lnTo>
                    <a:pt x="5814" y="4248"/>
                  </a:lnTo>
                  <a:lnTo>
                    <a:pt x="5826" y="4243"/>
                  </a:lnTo>
                  <a:lnTo>
                    <a:pt x="5809" y="4243"/>
                  </a:lnTo>
                  <a:lnTo>
                    <a:pt x="5809" y="4226"/>
                  </a:lnTo>
                  <a:lnTo>
                    <a:pt x="5826" y="4210"/>
                  </a:lnTo>
                  <a:lnTo>
                    <a:pt x="5840" y="4222"/>
                  </a:lnTo>
                  <a:lnTo>
                    <a:pt x="5830" y="4210"/>
                  </a:lnTo>
                  <a:lnTo>
                    <a:pt x="5826" y="4205"/>
                  </a:lnTo>
                  <a:lnTo>
                    <a:pt x="5863" y="4115"/>
                  </a:lnTo>
                  <a:lnTo>
                    <a:pt x="5878" y="4111"/>
                  </a:lnTo>
                  <a:lnTo>
                    <a:pt x="5863" y="4111"/>
                  </a:lnTo>
                  <a:lnTo>
                    <a:pt x="5894" y="4082"/>
                  </a:lnTo>
                  <a:lnTo>
                    <a:pt x="5901" y="4077"/>
                  </a:lnTo>
                  <a:lnTo>
                    <a:pt x="5894" y="4070"/>
                  </a:lnTo>
                  <a:lnTo>
                    <a:pt x="5906" y="4061"/>
                  </a:lnTo>
                  <a:lnTo>
                    <a:pt x="5906" y="4054"/>
                  </a:lnTo>
                  <a:lnTo>
                    <a:pt x="5915" y="4044"/>
                  </a:lnTo>
                  <a:lnTo>
                    <a:pt x="5970" y="4016"/>
                  </a:lnTo>
                  <a:lnTo>
                    <a:pt x="5970" y="4025"/>
                  </a:lnTo>
                  <a:lnTo>
                    <a:pt x="5986" y="4025"/>
                  </a:lnTo>
                  <a:lnTo>
                    <a:pt x="5977" y="4021"/>
                  </a:lnTo>
                  <a:lnTo>
                    <a:pt x="6003" y="4021"/>
                  </a:lnTo>
                  <a:lnTo>
                    <a:pt x="5991" y="4044"/>
                  </a:lnTo>
                  <a:lnTo>
                    <a:pt x="5953" y="4044"/>
                  </a:lnTo>
                  <a:lnTo>
                    <a:pt x="5960" y="4061"/>
                  </a:lnTo>
                  <a:lnTo>
                    <a:pt x="5977" y="4054"/>
                  </a:lnTo>
                  <a:lnTo>
                    <a:pt x="5977" y="4070"/>
                  </a:lnTo>
                  <a:lnTo>
                    <a:pt x="5953" y="4099"/>
                  </a:lnTo>
                  <a:lnTo>
                    <a:pt x="5953" y="4082"/>
                  </a:lnTo>
                  <a:lnTo>
                    <a:pt x="5948" y="4115"/>
                  </a:lnTo>
                  <a:lnTo>
                    <a:pt x="5906" y="4170"/>
                  </a:lnTo>
                  <a:lnTo>
                    <a:pt x="5906" y="4188"/>
                  </a:lnTo>
                  <a:lnTo>
                    <a:pt x="5901" y="4193"/>
                  </a:lnTo>
                  <a:lnTo>
                    <a:pt x="5906" y="4193"/>
                  </a:lnTo>
                  <a:lnTo>
                    <a:pt x="5901" y="4210"/>
                  </a:lnTo>
                  <a:lnTo>
                    <a:pt x="5953" y="4153"/>
                  </a:lnTo>
                  <a:lnTo>
                    <a:pt x="5977" y="4181"/>
                  </a:lnTo>
                  <a:lnTo>
                    <a:pt x="6003" y="4170"/>
                  </a:lnTo>
                  <a:lnTo>
                    <a:pt x="6003" y="4181"/>
                  </a:lnTo>
                  <a:lnTo>
                    <a:pt x="5953" y="4205"/>
                  </a:lnTo>
                  <a:lnTo>
                    <a:pt x="5970" y="4205"/>
                  </a:lnTo>
                  <a:lnTo>
                    <a:pt x="5953" y="4226"/>
                  </a:lnTo>
                  <a:lnTo>
                    <a:pt x="5970" y="4222"/>
                  </a:lnTo>
                  <a:lnTo>
                    <a:pt x="5986" y="4226"/>
                  </a:lnTo>
                  <a:lnTo>
                    <a:pt x="5991" y="4222"/>
                  </a:lnTo>
                  <a:lnTo>
                    <a:pt x="5991" y="4226"/>
                  </a:lnTo>
                  <a:lnTo>
                    <a:pt x="6007" y="4222"/>
                  </a:lnTo>
                  <a:lnTo>
                    <a:pt x="6007" y="4238"/>
                  </a:lnTo>
                  <a:lnTo>
                    <a:pt x="6007" y="4210"/>
                  </a:lnTo>
                  <a:lnTo>
                    <a:pt x="6024" y="4210"/>
                  </a:lnTo>
                  <a:lnTo>
                    <a:pt x="6007" y="4259"/>
                  </a:lnTo>
                  <a:lnTo>
                    <a:pt x="6024" y="4226"/>
                  </a:lnTo>
                  <a:lnTo>
                    <a:pt x="6045" y="4243"/>
                  </a:lnTo>
                  <a:lnTo>
                    <a:pt x="6062" y="4210"/>
                  </a:lnTo>
                  <a:lnTo>
                    <a:pt x="6066" y="4222"/>
                  </a:lnTo>
                  <a:lnTo>
                    <a:pt x="6066" y="4243"/>
                  </a:lnTo>
                  <a:lnTo>
                    <a:pt x="6078" y="4226"/>
                  </a:lnTo>
                  <a:lnTo>
                    <a:pt x="6083" y="4226"/>
                  </a:lnTo>
                  <a:lnTo>
                    <a:pt x="6100" y="4222"/>
                  </a:lnTo>
                  <a:lnTo>
                    <a:pt x="6116" y="4226"/>
                  </a:lnTo>
                  <a:lnTo>
                    <a:pt x="6137" y="4243"/>
                  </a:lnTo>
                  <a:lnTo>
                    <a:pt x="6133" y="4259"/>
                  </a:lnTo>
                  <a:lnTo>
                    <a:pt x="6116" y="4259"/>
                  </a:lnTo>
                  <a:lnTo>
                    <a:pt x="6121" y="4264"/>
                  </a:lnTo>
                  <a:lnTo>
                    <a:pt x="6095" y="4281"/>
                  </a:lnTo>
                  <a:lnTo>
                    <a:pt x="6116" y="4281"/>
                  </a:lnTo>
                  <a:lnTo>
                    <a:pt x="6111" y="4297"/>
                  </a:lnTo>
                  <a:lnTo>
                    <a:pt x="6116" y="4292"/>
                  </a:lnTo>
                  <a:lnTo>
                    <a:pt x="6111" y="4297"/>
                  </a:lnTo>
                  <a:lnTo>
                    <a:pt x="6111" y="4292"/>
                  </a:lnTo>
                  <a:lnTo>
                    <a:pt x="6133" y="4292"/>
                  </a:lnTo>
                  <a:lnTo>
                    <a:pt x="6100" y="4304"/>
                  </a:lnTo>
                  <a:lnTo>
                    <a:pt x="6116" y="4304"/>
                  </a:lnTo>
                  <a:lnTo>
                    <a:pt x="6116" y="4316"/>
                  </a:lnTo>
                  <a:lnTo>
                    <a:pt x="6116" y="4316"/>
                  </a:lnTo>
                  <a:lnTo>
                    <a:pt x="6116" y="4316"/>
                  </a:lnTo>
                  <a:close/>
                  <a:moveTo>
                    <a:pt x="6100" y="4316"/>
                  </a:moveTo>
                  <a:lnTo>
                    <a:pt x="6095" y="4321"/>
                  </a:lnTo>
                  <a:lnTo>
                    <a:pt x="6116" y="4316"/>
                  </a:lnTo>
                  <a:lnTo>
                    <a:pt x="6100" y="4316"/>
                  </a:lnTo>
                  <a:lnTo>
                    <a:pt x="6100" y="4316"/>
                  </a:lnTo>
                  <a:lnTo>
                    <a:pt x="6100" y="4316"/>
                  </a:lnTo>
                  <a:close/>
                  <a:moveTo>
                    <a:pt x="5991" y="4077"/>
                  </a:moveTo>
                  <a:lnTo>
                    <a:pt x="5991" y="4082"/>
                  </a:lnTo>
                  <a:lnTo>
                    <a:pt x="5986" y="4082"/>
                  </a:lnTo>
                  <a:lnTo>
                    <a:pt x="5991" y="4077"/>
                  </a:lnTo>
                  <a:lnTo>
                    <a:pt x="5991" y="4077"/>
                  </a:lnTo>
                  <a:lnTo>
                    <a:pt x="5991" y="4077"/>
                  </a:lnTo>
                  <a:close/>
                  <a:moveTo>
                    <a:pt x="936" y="4082"/>
                  </a:moveTo>
                  <a:lnTo>
                    <a:pt x="936" y="4094"/>
                  </a:lnTo>
                  <a:lnTo>
                    <a:pt x="924" y="4082"/>
                  </a:lnTo>
                  <a:lnTo>
                    <a:pt x="936" y="4082"/>
                  </a:lnTo>
                  <a:lnTo>
                    <a:pt x="936" y="4082"/>
                  </a:lnTo>
                  <a:lnTo>
                    <a:pt x="936" y="4082"/>
                  </a:lnTo>
                  <a:close/>
                  <a:moveTo>
                    <a:pt x="1096" y="4137"/>
                  </a:moveTo>
                  <a:lnTo>
                    <a:pt x="1113" y="4181"/>
                  </a:lnTo>
                  <a:lnTo>
                    <a:pt x="1134" y="4193"/>
                  </a:lnTo>
                  <a:lnTo>
                    <a:pt x="1125" y="4205"/>
                  </a:lnTo>
                  <a:lnTo>
                    <a:pt x="1139" y="4222"/>
                  </a:lnTo>
                  <a:lnTo>
                    <a:pt x="1193" y="4243"/>
                  </a:lnTo>
                  <a:lnTo>
                    <a:pt x="1222" y="4281"/>
                  </a:lnTo>
                  <a:lnTo>
                    <a:pt x="1226" y="4297"/>
                  </a:lnTo>
                  <a:lnTo>
                    <a:pt x="1231" y="4292"/>
                  </a:lnTo>
                  <a:lnTo>
                    <a:pt x="1243" y="4321"/>
                  </a:lnTo>
                  <a:lnTo>
                    <a:pt x="1231" y="4316"/>
                  </a:lnTo>
                  <a:lnTo>
                    <a:pt x="1222" y="4333"/>
                  </a:lnTo>
                  <a:lnTo>
                    <a:pt x="1118" y="4292"/>
                  </a:lnTo>
                  <a:lnTo>
                    <a:pt x="1113" y="4281"/>
                  </a:lnTo>
                  <a:lnTo>
                    <a:pt x="1134" y="4259"/>
                  </a:lnTo>
                  <a:lnTo>
                    <a:pt x="1134" y="4243"/>
                  </a:lnTo>
                  <a:lnTo>
                    <a:pt x="1125" y="4264"/>
                  </a:lnTo>
                  <a:lnTo>
                    <a:pt x="1087" y="4276"/>
                  </a:lnTo>
                  <a:lnTo>
                    <a:pt x="1070" y="4259"/>
                  </a:lnTo>
                  <a:lnTo>
                    <a:pt x="1080" y="4243"/>
                  </a:lnTo>
                  <a:lnTo>
                    <a:pt x="1070" y="4248"/>
                  </a:lnTo>
                  <a:lnTo>
                    <a:pt x="1063" y="4238"/>
                  </a:lnTo>
                  <a:lnTo>
                    <a:pt x="1049" y="4243"/>
                  </a:lnTo>
                  <a:lnTo>
                    <a:pt x="1059" y="4226"/>
                  </a:lnTo>
                  <a:lnTo>
                    <a:pt x="1059" y="4238"/>
                  </a:lnTo>
                  <a:lnTo>
                    <a:pt x="1042" y="4226"/>
                  </a:lnTo>
                  <a:lnTo>
                    <a:pt x="1016" y="4226"/>
                  </a:lnTo>
                  <a:lnTo>
                    <a:pt x="1011" y="4210"/>
                  </a:lnTo>
                  <a:lnTo>
                    <a:pt x="1049" y="4205"/>
                  </a:lnTo>
                  <a:lnTo>
                    <a:pt x="1011" y="4193"/>
                  </a:lnTo>
                  <a:lnTo>
                    <a:pt x="1004" y="4181"/>
                  </a:lnTo>
                  <a:lnTo>
                    <a:pt x="995" y="4181"/>
                  </a:lnTo>
                  <a:lnTo>
                    <a:pt x="974" y="4188"/>
                  </a:lnTo>
                  <a:lnTo>
                    <a:pt x="962" y="4170"/>
                  </a:lnTo>
                  <a:lnTo>
                    <a:pt x="974" y="4165"/>
                  </a:lnTo>
                  <a:lnTo>
                    <a:pt x="957" y="4170"/>
                  </a:lnTo>
                  <a:lnTo>
                    <a:pt x="941" y="4153"/>
                  </a:lnTo>
                  <a:lnTo>
                    <a:pt x="919" y="4165"/>
                  </a:lnTo>
                  <a:lnTo>
                    <a:pt x="924" y="4148"/>
                  </a:lnTo>
                  <a:lnTo>
                    <a:pt x="924" y="4137"/>
                  </a:lnTo>
                  <a:lnTo>
                    <a:pt x="919" y="4137"/>
                  </a:lnTo>
                  <a:lnTo>
                    <a:pt x="919" y="4127"/>
                  </a:lnTo>
                  <a:lnTo>
                    <a:pt x="941" y="4127"/>
                  </a:lnTo>
                  <a:lnTo>
                    <a:pt x="952" y="4132"/>
                  </a:lnTo>
                  <a:lnTo>
                    <a:pt x="941" y="4127"/>
                  </a:lnTo>
                  <a:lnTo>
                    <a:pt x="957" y="4115"/>
                  </a:lnTo>
                  <a:lnTo>
                    <a:pt x="919" y="4111"/>
                  </a:lnTo>
                  <a:lnTo>
                    <a:pt x="941" y="4115"/>
                  </a:lnTo>
                  <a:lnTo>
                    <a:pt x="908" y="4132"/>
                  </a:lnTo>
                  <a:lnTo>
                    <a:pt x="886" y="4115"/>
                  </a:lnTo>
                  <a:lnTo>
                    <a:pt x="886" y="4099"/>
                  </a:lnTo>
                  <a:lnTo>
                    <a:pt x="919" y="4094"/>
                  </a:lnTo>
                  <a:lnTo>
                    <a:pt x="962" y="4111"/>
                  </a:lnTo>
                  <a:lnTo>
                    <a:pt x="1096" y="4137"/>
                  </a:lnTo>
                  <a:lnTo>
                    <a:pt x="1096" y="4137"/>
                  </a:lnTo>
                  <a:lnTo>
                    <a:pt x="1096" y="4137"/>
                  </a:lnTo>
                  <a:close/>
                  <a:moveTo>
                    <a:pt x="995" y="4099"/>
                  </a:moveTo>
                  <a:lnTo>
                    <a:pt x="990" y="4094"/>
                  </a:lnTo>
                  <a:lnTo>
                    <a:pt x="1011" y="4094"/>
                  </a:lnTo>
                  <a:lnTo>
                    <a:pt x="995" y="4099"/>
                  </a:lnTo>
                  <a:lnTo>
                    <a:pt x="995" y="4099"/>
                  </a:lnTo>
                  <a:lnTo>
                    <a:pt x="995" y="4099"/>
                  </a:lnTo>
                  <a:close/>
                  <a:moveTo>
                    <a:pt x="1033" y="4094"/>
                  </a:moveTo>
                  <a:lnTo>
                    <a:pt x="1042" y="4099"/>
                  </a:lnTo>
                  <a:lnTo>
                    <a:pt x="1033" y="4111"/>
                  </a:lnTo>
                  <a:lnTo>
                    <a:pt x="1011" y="4111"/>
                  </a:lnTo>
                  <a:lnTo>
                    <a:pt x="1033" y="4094"/>
                  </a:lnTo>
                  <a:lnTo>
                    <a:pt x="1033" y="4094"/>
                  </a:lnTo>
                  <a:lnTo>
                    <a:pt x="1033" y="4094"/>
                  </a:lnTo>
                  <a:close/>
                  <a:moveTo>
                    <a:pt x="1004" y="4099"/>
                  </a:moveTo>
                  <a:lnTo>
                    <a:pt x="1016" y="4099"/>
                  </a:lnTo>
                  <a:lnTo>
                    <a:pt x="1011" y="4111"/>
                  </a:lnTo>
                  <a:lnTo>
                    <a:pt x="1004" y="4099"/>
                  </a:lnTo>
                  <a:lnTo>
                    <a:pt x="1004" y="4099"/>
                  </a:lnTo>
                  <a:lnTo>
                    <a:pt x="1004" y="4099"/>
                  </a:lnTo>
                  <a:close/>
                  <a:moveTo>
                    <a:pt x="990" y="4115"/>
                  </a:moveTo>
                  <a:lnTo>
                    <a:pt x="974" y="4111"/>
                  </a:lnTo>
                  <a:lnTo>
                    <a:pt x="995" y="4111"/>
                  </a:lnTo>
                  <a:lnTo>
                    <a:pt x="990" y="4115"/>
                  </a:lnTo>
                  <a:lnTo>
                    <a:pt x="990" y="4115"/>
                  </a:lnTo>
                  <a:lnTo>
                    <a:pt x="990" y="4115"/>
                  </a:lnTo>
                  <a:close/>
                  <a:moveTo>
                    <a:pt x="1016" y="4111"/>
                  </a:moveTo>
                  <a:lnTo>
                    <a:pt x="1026" y="4115"/>
                  </a:lnTo>
                  <a:lnTo>
                    <a:pt x="1011" y="4115"/>
                  </a:lnTo>
                  <a:lnTo>
                    <a:pt x="1016" y="4111"/>
                  </a:lnTo>
                  <a:lnTo>
                    <a:pt x="1016" y="4111"/>
                  </a:lnTo>
                  <a:lnTo>
                    <a:pt x="1016" y="4111"/>
                  </a:lnTo>
                  <a:close/>
                  <a:moveTo>
                    <a:pt x="1033" y="4115"/>
                  </a:moveTo>
                  <a:lnTo>
                    <a:pt x="1011" y="4127"/>
                  </a:lnTo>
                  <a:lnTo>
                    <a:pt x="1033" y="4115"/>
                  </a:lnTo>
                  <a:lnTo>
                    <a:pt x="1033" y="4115"/>
                  </a:lnTo>
                  <a:lnTo>
                    <a:pt x="1033" y="4115"/>
                  </a:lnTo>
                  <a:close/>
                  <a:moveTo>
                    <a:pt x="1063" y="4127"/>
                  </a:moveTo>
                  <a:lnTo>
                    <a:pt x="1070" y="4132"/>
                  </a:lnTo>
                  <a:lnTo>
                    <a:pt x="1059" y="4132"/>
                  </a:lnTo>
                  <a:lnTo>
                    <a:pt x="1063" y="4127"/>
                  </a:lnTo>
                  <a:lnTo>
                    <a:pt x="1063" y="4127"/>
                  </a:lnTo>
                  <a:lnTo>
                    <a:pt x="1063" y="4127"/>
                  </a:lnTo>
                  <a:close/>
                  <a:moveTo>
                    <a:pt x="1096" y="4127"/>
                  </a:moveTo>
                  <a:lnTo>
                    <a:pt x="1096" y="4132"/>
                  </a:lnTo>
                  <a:lnTo>
                    <a:pt x="1087" y="4132"/>
                  </a:lnTo>
                  <a:lnTo>
                    <a:pt x="1096" y="4127"/>
                  </a:lnTo>
                  <a:lnTo>
                    <a:pt x="1096" y="4127"/>
                  </a:lnTo>
                  <a:lnTo>
                    <a:pt x="1096" y="4127"/>
                  </a:lnTo>
                  <a:close/>
                  <a:moveTo>
                    <a:pt x="1101" y="4132"/>
                  </a:moveTo>
                  <a:lnTo>
                    <a:pt x="1118" y="4148"/>
                  </a:lnTo>
                  <a:lnTo>
                    <a:pt x="1113" y="4153"/>
                  </a:lnTo>
                  <a:lnTo>
                    <a:pt x="1113" y="4137"/>
                  </a:lnTo>
                  <a:lnTo>
                    <a:pt x="1096" y="4137"/>
                  </a:lnTo>
                  <a:lnTo>
                    <a:pt x="1101" y="4132"/>
                  </a:lnTo>
                  <a:lnTo>
                    <a:pt x="1101" y="4132"/>
                  </a:lnTo>
                  <a:lnTo>
                    <a:pt x="1101" y="4132"/>
                  </a:lnTo>
                  <a:close/>
                  <a:moveTo>
                    <a:pt x="1080" y="4132"/>
                  </a:moveTo>
                  <a:lnTo>
                    <a:pt x="1070" y="4132"/>
                  </a:lnTo>
                  <a:lnTo>
                    <a:pt x="1087" y="4132"/>
                  </a:lnTo>
                  <a:lnTo>
                    <a:pt x="1080" y="4132"/>
                  </a:lnTo>
                  <a:lnTo>
                    <a:pt x="1080" y="4132"/>
                  </a:lnTo>
                  <a:lnTo>
                    <a:pt x="1080" y="4132"/>
                  </a:lnTo>
                  <a:close/>
                  <a:moveTo>
                    <a:pt x="1139" y="4137"/>
                  </a:moveTo>
                  <a:lnTo>
                    <a:pt x="1151" y="4148"/>
                  </a:lnTo>
                  <a:lnTo>
                    <a:pt x="1139" y="4153"/>
                  </a:lnTo>
                  <a:lnTo>
                    <a:pt x="1134" y="4148"/>
                  </a:lnTo>
                  <a:lnTo>
                    <a:pt x="1139" y="4137"/>
                  </a:lnTo>
                  <a:lnTo>
                    <a:pt x="1139" y="4137"/>
                  </a:lnTo>
                  <a:lnTo>
                    <a:pt x="1139" y="4137"/>
                  </a:lnTo>
                  <a:close/>
                  <a:moveTo>
                    <a:pt x="1134" y="4137"/>
                  </a:moveTo>
                  <a:lnTo>
                    <a:pt x="1139" y="4153"/>
                  </a:lnTo>
                  <a:lnTo>
                    <a:pt x="1134" y="4165"/>
                  </a:lnTo>
                  <a:lnTo>
                    <a:pt x="1125" y="4148"/>
                  </a:lnTo>
                  <a:lnTo>
                    <a:pt x="1134" y="4137"/>
                  </a:lnTo>
                  <a:lnTo>
                    <a:pt x="1134" y="4137"/>
                  </a:lnTo>
                  <a:lnTo>
                    <a:pt x="1134" y="4137"/>
                  </a:lnTo>
                  <a:close/>
                  <a:moveTo>
                    <a:pt x="1096" y="4148"/>
                  </a:moveTo>
                  <a:lnTo>
                    <a:pt x="1113" y="4148"/>
                  </a:lnTo>
                  <a:lnTo>
                    <a:pt x="1113" y="4170"/>
                  </a:lnTo>
                  <a:lnTo>
                    <a:pt x="1096" y="4148"/>
                  </a:lnTo>
                  <a:lnTo>
                    <a:pt x="1096" y="4148"/>
                  </a:lnTo>
                  <a:lnTo>
                    <a:pt x="1096" y="4148"/>
                  </a:lnTo>
                  <a:close/>
                  <a:moveTo>
                    <a:pt x="1125" y="4148"/>
                  </a:moveTo>
                  <a:lnTo>
                    <a:pt x="1134" y="4165"/>
                  </a:lnTo>
                  <a:lnTo>
                    <a:pt x="1125" y="4165"/>
                  </a:lnTo>
                  <a:lnTo>
                    <a:pt x="1118" y="4165"/>
                  </a:lnTo>
                  <a:lnTo>
                    <a:pt x="1125" y="4148"/>
                  </a:lnTo>
                  <a:lnTo>
                    <a:pt x="1125" y="4148"/>
                  </a:lnTo>
                  <a:lnTo>
                    <a:pt x="1125" y="4148"/>
                  </a:lnTo>
                  <a:close/>
                  <a:moveTo>
                    <a:pt x="5436" y="4188"/>
                  </a:moveTo>
                  <a:lnTo>
                    <a:pt x="5500" y="4210"/>
                  </a:lnTo>
                  <a:lnTo>
                    <a:pt x="5523" y="4226"/>
                  </a:lnTo>
                  <a:lnTo>
                    <a:pt x="5544" y="4238"/>
                  </a:lnTo>
                  <a:lnTo>
                    <a:pt x="5561" y="4248"/>
                  </a:lnTo>
                  <a:lnTo>
                    <a:pt x="5528" y="4259"/>
                  </a:lnTo>
                  <a:lnTo>
                    <a:pt x="5462" y="4243"/>
                  </a:lnTo>
                  <a:lnTo>
                    <a:pt x="5431" y="4226"/>
                  </a:lnTo>
                  <a:lnTo>
                    <a:pt x="5410" y="4205"/>
                  </a:lnTo>
                  <a:lnTo>
                    <a:pt x="5365" y="4188"/>
                  </a:lnTo>
                  <a:lnTo>
                    <a:pt x="5381" y="4170"/>
                  </a:lnTo>
                  <a:lnTo>
                    <a:pt x="5436" y="4188"/>
                  </a:lnTo>
                  <a:lnTo>
                    <a:pt x="5436" y="4188"/>
                  </a:lnTo>
                  <a:lnTo>
                    <a:pt x="5436" y="4188"/>
                  </a:lnTo>
                  <a:close/>
                  <a:moveTo>
                    <a:pt x="1004" y="4181"/>
                  </a:moveTo>
                  <a:lnTo>
                    <a:pt x="1011" y="4193"/>
                  </a:lnTo>
                  <a:lnTo>
                    <a:pt x="1011" y="4210"/>
                  </a:lnTo>
                  <a:lnTo>
                    <a:pt x="990" y="4193"/>
                  </a:lnTo>
                  <a:lnTo>
                    <a:pt x="990" y="4188"/>
                  </a:lnTo>
                  <a:lnTo>
                    <a:pt x="1004" y="4181"/>
                  </a:lnTo>
                  <a:lnTo>
                    <a:pt x="1004" y="4181"/>
                  </a:lnTo>
                  <a:lnTo>
                    <a:pt x="1004" y="4181"/>
                  </a:lnTo>
                  <a:close/>
                  <a:moveTo>
                    <a:pt x="1189" y="4222"/>
                  </a:moveTo>
                  <a:lnTo>
                    <a:pt x="1151" y="4188"/>
                  </a:lnTo>
                  <a:lnTo>
                    <a:pt x="1172" y="4193"/>
                  </a:lnTo>
                  <a:lnTo>
                    <a:pt x="1189" y="4222"/>
                  </a:lnTo>
                  <a:lnTo>
                    <a:pt x="1189" y="4222"/>
                  </a:lnTo>
                  <a:lnTo>
                    <a:pt x="1189" y="4222"/>
                  </a:lnTo>
                  <a:close/>
                  <a:moveTo>
                    <a:pt x="1193" y="4193"/>
                  </a:moveTo>
                  <a:lnTo>
                    <a:pt x="1189" y="4205"/>
                  </a:lnTo>
                  <a:lnTo>
                    <a:pt x="1177" y="4205"/>
                  </a:lnTo>
                  <a:lnTo>
                    <a:pt x="1193" y="4193"/>
                  </a:lnTo>
                  <a:lnTo>
                    <a:pt x="1193" y="4193"/>
                  </a:lnTo>
                  <a:lnTo>
                    <a:pt x="1193" y="4193"/>
                  </a:lnTo>
                  <a:close/>
                  <a:moveTo>
                    <a:pt x="6095" y="4193"/>
                  </a:moveTo>
                  <a:lnTo>
                    <a:pt x="6100" y="4205"/>
                  </a:lnTo>
                  <a:lnTo>
                    <a:pt x="6078" y="4210"/>
                  </a:lnTo>
                  <a:lnTo>
                    <a:pt x="6078" y="4193"/>
                  </a:lnTo>
                  <a:lnTo>
                    <a:pt x="6095" y="4193"/>
                  </a:lnTo>
                  <a:lnTo>
                    <a:pt x="6095" y="4193"/>
                  </a:lnTo>
                  <a:lnTo>
                    <a:pt x="6095" y="4193"/>
                  </a:lnTo>
                  <a:close/>
                  <a:moveTo>
                    <a:pt x="6062" y="4205"/>
                  </a:moveTo>
                  <a:lnTo>
                    <a:pt x="6041" y="4222"/>
                  </a:lnTo>
                  <a:lnTo>
                    <a:pt x="6041" y="4210"/>
                  </a:lnTo>
                  <a:lnTo>
                    <a:pt x="6045" y="4210"/>
                  </a:lnTo>
                  <a:lnTo>
                    <a:pt x="6062" y="4205"/>
                  </a:lnTo>
                  <a:lnTo>
                    <a:pt x="6062" y="4205"/>
                  </a:lnTo>
                  <a:lnTo>
                    <a:pt x="6062" y="4205"/>
                  </a:lnTo>
                  <a:close/>
                  <a:moveTo>
                    <a:pt x="5986" y="4205"/>
                  </a:moveTo>
                  <a:lnTo>
                    <a:pt x="5991" y="4210"/>
                  </a:lnTo>
                  <a:lnTo>
                    <a:pt x="5977" y="4210"/>
                  </a:lnTo>
                  <a:lnTo>
                    <a:pt x="5986" y="4205"/>
                  </a:lnTo>
                  <a:lnTo>
                    <a:pt x="5986" y="4205"/>
                  </a:lnTo>
                  <a:lnTo>
                    <a:pt x="5986" y="4205"/>
                  </a:lnTo>
                  <a:close/>
                  <a:moveTo>
                    <a:pt x="1243" y="4222"/>
                  </a:moveTo>
                  <a:lnTo>
                    <a:pt x="1231" y="4226"/>
                  </a:lnTo>
                  <a:lnTo>
                    <a:pt x="1231" y="4222"/>
                  </a:lnTo>
                  <a:lnTo>
                    <a:pt x="1243" y="4222"/>
                  </a:lnTo>
                  <a:lnTo>
                    <a:pt x="1243" y="4222"/>
                  </a:lnTo>
                  <a:lnTo>
                    <a:pt x="1243" y="4222"/>
                  </a:lnTo>
                  <a:close/>
                  <a:moveTo>
                    <a:pt x="1042" y="4226"/>
                  </a:moveTo>
                  <a:lnTo>
                    <a:pt x="1049" y="4243"/>
                  </a:lnTo>
                  <a:lnTo>
                    <a:pt x="1033" y="4238"/>
                  </a:lnTo>
                  <a:lnTo>
                    <a:pt x="1033" y="4226"/>
                  </a:lnTo>
                  <a:lnTo>
                    <a:pt x="1042" y="4226"/>
                  </a:lnTo>
                  <a:lnTo>
                    <a:pt x="1042" y="4226"/>
                  </a:lnTo>
                  <a:lnTo>
                    <a:pt x="1042" y="4226"/>
                  </a:lnTo>
                  <a:close/>
                  <a:moveTo>
                    <a:pt x="1063" y="4243"/>
                  </a:moveTo>
                  <a:lnTo>
                    <a:pt x="1063" y="4248"/>
                  </a:lnTo>
                  <a:lnTo>
                    <a:pt x="1059" y="4243"/>
                  </a:lnTo>
                  <a:lnTo>
                    <a:pt x="1063" y="4243"/>
                  </a:lnTo>
                  <a:lnTo>
                    <a:pt x="1063" y="4243"/>
                  </a:lnTo>
                  <a:lnTo>
                    <a:pt x="1063" y="4243"/>
                  </a:lnTo>
                  <a:close/>
                  <a:moveTo>
                    <a:pt x="1205" y="4248"/>
                  </a:moveTo>
                  <a:lnTo>
                    <a:pt x="1210" y="4248"/>
                  </a:lnTo>
                  <a:lnTo>
                    <a:pt x="1205" y="4248"/>
                  </a:lnTo>
                  <a:lnTo>
                    <a:pt x="1205" y="4248"/>
                  </a:lnTo>
                  <a:lnTo>
                    <a:pt x="1205" y="4248"/>
                  </a:lnTo>
                  <a:close/>
                  <a:moveTo>
                    <a:pt x="1222" y="4259"/>
                  </a:moveTo>
                  <a:lnTo>
                    <a:pt x="1243" y="4276"/>
                  </a:lnTo>
                  <a:lnTo>
                    <a:pt x="1226" y="4264"/>
                  </a:lnTo>
                  <a:lnTo>
                    <a:pt x="1222" y="4259"/>
                  </a:lnTo>
                  <a:lnTo>
                    <a:pt x="1222" y="4259"/>
                  </a:lnTo>
                  <a:lnTo>
                    <a:pt x="1222" y="4259"/>
                  </a:lnTo>
                  <a:close/>
                  <a:moveTo>
                    <a:pt x="1226" y="4276"/>
                  </a:moveTo>
                  <a:lnTo>
                    <a:pt x="1231" y="4292"/>
                  </a:lnTo>
                  <a:lnTo>
                    <a:pt x="1226" y="4292"/>
                  </a:lnTo>
                  <a:lnTo>
                    <a:pt x="1226" y="4276"/>
                  </a:lnTo>
                  <a:lnTo>
                    <a:pt x="1226" y="4276"/>
                  </a:lnTo>
                  <a:lnTo>
                    <a:pt x="1226" y="4276"/>
                  </a:lnTo>
                  <a:close/>
                  <a:moveTo>
                    <a:pt x="6133" y="4337"/>
                  </a:moveTo>
                  <a:lnTo>
                    <a:pt x="6133" y="4349"/>
                  </a:lnTo>
                  <a:lnTo>
                    <a:pt x="6121" y="4354"/>
                  </a:lnTo>
                  <a:lnTo>
                    <a:pt x="6111" y="4337"/>
                  </a:lnTo>
                  <a:lnTo>
                    <a:pt x="6133" y="4337"/>
                  </a:lnTo>
                  <a:lnTo>
                    <a:pt x="6133" y="4337"/>
                  </a:lnTo>
                  <a:lnTo>
                    <a:pt x="6133" y="4337"/>
                  </a:lnTo>
                  <a:close/>
                  <a:moveTo>
                    <a:pt x="5365" y="4354"/>
                  </a:moveTo>
                  <a:lnTo>
                    <a:pt x="5365" y="4359"/>
                  </a:lnTo>
                  <a:lnTo>
                    <a:pt x="5360" y="4359"/>
                  </a:lnTo>
                  <a:lnTo>
                    <a:pt x="5365" y="4354"/>
                  </a:lnTo>
                  <a:lnTo>
                    <a:pt x="5365" y="4354"/>
                  </a:lnTo>
                  <a:lnTo>
                    <a:pt x="5365" y="4354"/>
                  </a:lnTo>
                  <a:close/>
                  <a:moveTo>
                    <a:pt x="5365" y="4359"/>
                  </a:moveTo>
                  <a:lnTo>
                    <a:pt x="5360" y="4375"/>
                  </a:lnTo>
                  <a:lnTo>
                    <a:pt x="5355" y="4375"/>
                  </a:lnTo>
                  <a:lnTo>
                    <a:pt x="5355" y="4370"/>
                  </a:lnTo>
                  <a:lnTo>
                    <a:pt x="5365" y="4359"/>
                  </a:lnTo>
                  <a:lnTo>
                    <a:pt x="5365" y="4359"/>
                  </a:lnTo>
                  <a:lnTo>
                    <a:pt x="5365" y="4359"/>
                  </a:lnTo>
                  <a:close/>
                  <a:moveTo>
                    <a:pt x="5970" y="4387"/>
                  </a:moveTo>
                  <a:lnTo>
                    <a:pt x="5970" y="4392"/>
                  </a:lnTo>
                  <a:lnTo>
                    <a:pt x="5953" y="4387"/>
                  </a:lnTo>
                  <a:lnTo>
                    <a:pt x="5970" y="4387"/>
                  </a:lnTo>
                  <a:lnTo>
                    <a:pt x="5970" y="4387"/>
                  </a:lnTo>
                  <a:lnTo>
                    <a:pt x="5970" y="4387"/>
                  </a:lnTo>
                  <a:close/>
                  <a:moveTo>
                    <a:pt x="6095" y="4392"/>
                  </a:moveTo>
                  <a:lnTo>
                    <a:pt x="6083" y="4408"/>
                  </a:lnTo>
                  <a:lnTo>
                    <a:pt x="6078" y="4408"/>
                  </a:lnTo>
                  <a:lnTo>
                    <a:pt x="6095" y="4392"/>
                  </a:lnTo>
                  <a:lnTo>
                    <a:pt x="6095" y="4392"/>
                  </a:lnTo>
                  <a:lnTo>
                    <a:pt x="6095" y="4392"/>
                  </a:lnTo>
                  <a:close/>
                  <a:moveTo>
                    <a:pt x="5582" y="4392"/>
                  </a:moveTo>
                  <a:lnTo>
                    <a:pt x="5570" y="4403"/>
                  </a:lnTo>
                  <a:lnTo>
                    <a:pt x="5544" y="4425"/>
                  </a:lnTo>
                  <a:lnTo>
                    <a:pt x="5554" y="4425"/>
                  </a:lnTo>
                  <a:lnTo>
                    <a:pt x="5537" y="4425"/>
                  </a:lnTo>
                  <a:lnTo>
                    <a:pt x="5544" y="4408"/>
                  </a:lnTo>
                  <a:lnTo>
                    <a:pt x="5582" y="4392"/>
                  </a:lnTo>
                  <a:lnTo>
                    <a:pt x="5582" y="4392"/>
                  </a:lnTo>
                  <a:lnTo>
                    <a:pt x="5582" y="4392"/>
                  </a:lnTo>
                  <a:close/>
                  <a:moveTo>
                    <a:pt x="5523" y="4503"/>
                  </a:moveTo>
                  <a:lnTo>
                    <a:pt x="5500" y="4519"/>
                  </a:lnTo>
                  <a:lnTo>
                    <a:pt x="5507" y="4526"/>
                  </a:lnTo>
                  <a:lnTo>
                    <a:pt x="5507" y="4536"/>
                  </a:lnTo>
                  <a:lnTo>
                    <a:pt x="5485" y="4543"/>
                  </a:lnTo>
                  <a:lnTo>
                    <a:pt x="5474" y="4526"/>
                  </a:lnTo>
                  <a:lnTo>
                    <a:pt x="5462" y="4519"/>
                  </a:lnTo>
                  <a:lnTo>
                    <a:pt x="5474" y="4514"/>
                  </a:lnTo>
                  <a:lnTo>
                    <a:pt x="5452" y="4526"/>
                  </a:lnTo>
                  <a:lnTo>
                    <a:pt x="5419" y="4519"/>
                  </a:lnTo>
                  <a:lnTo>
                    <a:pt x="5415" y="4514"/>
                  </a:lnTo>
                  <a:lnTo>
                    <a:pt x="5415" y="4503"/>
                  </a:lnTo>
                  <a:lnTo>
                    <a:pt x="5393" y="4503"/>
                  </a:lnTo>
                  <a:lnTo>
                    <a:pt x="5393" y="4481"/>
                  </a:lnTo>
                  <a:lnTo>
                    <a:pt x="5377" y="4481"/>
                  </a:lnTo>
                  <a:lnTo>
                    <a:pt x="5365" y="4470"/>
                  </a:lnTo>
                  <a:lnTo>
                    <a:pt x="5398" y="4441"/>
                  </a:lnTo>
                  <a:lnTo>
                    <a:pt x="5398" y="4460"/>
                  </a:lnTo>
                  <a:lnTo>
                    <a:pt x="5393" y="4465"/>
                  </a:lnTo>
                  <a:lnTo>
                    <a:pt x="5415" y="4481"/>
                  </a:lnTo>
                  <a:lnTo>
                    <a:pt x="5415" y="4498"/>
                  </a:lnTo>
                  <a:lnTo>
                    <a:pt x="5419" y="4498"/>
                  </a:lnTo>
                  <a:lnTo>
                    <a:pt x="5419" y="4486"/>
                  </a:lnTo>
                  <a:lnTo>
                    <a:pt x="5452" y="4503"/>
                  </a:lnTo>
                  <a:lnTo>
                    <a:pt x="5544" y="4498"/>
                  </a:lnTo>
                  <a:lnTo>
                    <a:pt x="5523" y="4503"/>
                  </a:lnTo>
                  <a:lnTo>
                    <a:pt x="5523" y="4503"/>
                  </a:lnTo>
                  <a:lnTo>
                    <a:pt x="5523" y="4503"/>
                  </a:lnTo>
                  <a:close/>
                  <a:moveTo>
                    <a:pt x="5608" y="4552"/>
                  </a:moveTo>
                  <a:lnTo>
                    <a:pt x="5599" y="4569"/>
                  </a:lnTo>
                  <a:lnTo>
                    <a:pt x="5625" y="4569"/>
                  </a:lnTo>
                  <a:lnTo>
                    <a:pt x="5646" y="4543"/>
                  </a:lnTo>
                  <a:lnTo>
                    <a:pt x="5651" y="4536"/>
                  </a:lnTo>
                  <a:lnTo>
                    <a:pt x="5629" y="4552"/>
                  </a:lnTo>
                  <a:lnTo>
                    <a:pt x="5625" y="4543"/>
                  </a:lnTo>
                  <a:lnTo>
                    <a:pt x="5663" y="4519"/>
                  </a:lnTo>
                  <a:lnTo>
                    <a:pt x="5637" y="4536"/>
                  </a:lnTo>
                  <a:lnTo>
                    <a:pt x="5663" y="4514"/>
                  </a:lnTo>
                  <a:lnTo>
                    <a:pt x="5689" y="4519"/>
                  </a:lnTo>
                  <a:lnTo>
                    <a:pt x="5689" y="4526"/>
                  </a:lnTo>
                  <a:lnTo>
                    <a:pt x="5689" y="4543"/>
                  </a:lnTo>
                  <a:lnTo>
                    <a:pt x="5667" y="4552"/>
                  </a:lnTo>
                  <a:lnTo>
                    <a:pt x="5663" y="4569"/>
                  </a:lnTo>
                  <a:lnTo>
                    <a:pt x="5646" y="4576"/>
                  </a:lnTo>
                  <a:lnTo>
                    <a:pt x="5599" y="4576"/>
                  </a:lnTo>
                  <a:lnTo>
                    <a:pt x="5582" y="4576"/>
                  </a:lnTo>
                  <a:lnTo>
                    <a:pt x="5575" y="4569"/>
                  </a:lnTo>
                  <a:lnTo>
                    <a:pt x="5575" y="4536"/>
                  </a:lnTo>
                  <a:lnTo>
                    <a:pt x="5575" y="4526"/>
                  </a:lnTo>
                  <a:lnTo>
                    <a:pt x="5592" y="4519"/>
                  </a:lnTo>
                  <a:lnTo>
                    <a:pt x="5637" y="4448"/>
                  </a:lnTo>
                  <a:lnTo>
                    <a:pt x="5646" y="4448"/>
                  </a:lnTo>
                  <a:lnTo>
                    <a:pt x="5646" y="4460"/>
                  </a:lnTo>
                  <a:lnTo>
                    <a:pt x="5663" y="4465"/>
                  </a:lnTo>
                  <a:lnTo>
                    <a:pt x="5637" y="4519"/>
                  </a:lnTo>
                  <a:lnTo>
                    <a:pt x="5651" y="4514"/>
                  </a:lnTo>
                  <a:lnTo>
                    <a:pt x="5637" y="4526"/>
                  </a:lnTo>
                  <a:lnTo>
                    <a:pt x="5599" y="4543"/>
                  </a:lnTo>
                  <a:lnTo>
                    <a:pt x="5629" y="4536"/>
                  </a:lnTo>
                  <a:lnTo>
                    <a:pt x="5625" y="4543"/>
                  </a:lnTo>
                  <a:lnTo>
                    <a:pt x="5608" y="4552"/>
                  </a:lnTo>
                  <a:lnTo>
                    <a:pt x="5613" y="4552"/>
                  </a:lnTo>
                  <a:lnTo>
                    <a:pt x="5608" y="4552"/>
                  </a:lnTo>
                  <a:lnTo>
                    <a:pt x="5608" y="4552"/>
                  </a:lnTo>
                  <a:lnTo>
                    <a:pt x="5608" y="4552"/>
                  </a:lnTo>
                  <a:close/>
                  <a:moveTo>
                    <a:pt x="5613" y="4576"/>
                  </a:moveTo>
                  <a:lnTo>
                    <a:pt x="5608" y="4581"/>
                  </a:lnTo>
                  <a:lnTo>
                    <a:pt x="5599" y="4581"/>
                  </a:lnTo>
                  <a:lnTo>
                    <a:pt x="5613" y="4576"/>
                  </a:lnTo>
                  <a:lnTo>
                    <a:pt x="5613" y="4576"/>
                  </a:lnTo>
                  <a:lnTo>
                    <a:pt x="5613" y="4576"/>
                  </a:lnTo>
                  <a:close/>
                  <a:moveTo>
                    <a:pt x="5204" y="4647"/>
                  </a:moveTo>
                  <a:lnTo>
                    <a:pt x="5204" y="4654"/>
                  </a:lnTo>
                  <a:lnTo>
                    <a:pt x="5200" y="4663"/>
                  </a:lnTo>
                  <a:lnTo>
                    <a:pt x="5204" y="4647"/>
                  </a:lnTo>
                  <a:lnTo>
                    <a:pt x="5204" y="4647"/>
                  </a:lnTo>
                  <a:lnTo>
                    <a:pt x="5204" y="4647"/>
                  </a:lnTo>
                  <a:close/>
                  <a:moveTo>
                    <a:pt x="5679" y="4720"/>
                  </a:moveTo>
                  <a:lnTo>
                    <a:pt x="5700" y="4720"/>
                  </a:lnTo>
                  <a:lnTo>
                    <a:pt x="5689" y="4725"/>
                  </a:lnTo>
                  <a:lnTo>
                    <a:pt x="5679" y="4720"/>
                  </a:lnTo>
                  <a:lnTo>
                    <a:pt x="5679" y="4720"/>
                  </a:lnTo>
                  <a:lnTo>
                    <a:pt x="5679" y="4720"/>
                  </a:lnTo>
                  <a:close/>
                </a:path>
              </a:pathLst>
            </a:custGeom>
            <a:pattFill prst="dk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22" name="Freeform 409">
              <a:extLst>
                <a:ext uri="{FF2B5EF4-FFF2-40B4-BE49-F238E27FC236}">
                  <a16:creationId xmlns:a16="http://schemas.microsoft.com/office/drawing/2014/main" id="{9852BB1C-AE4A-42FF-BB58-C71C5D07FDD2}"/>
                </a:ext>
              </a:extLst>
            </p:cNvPr>
            <p:cNvSpPr>
              <a:spLocks noEditPoints="1"/>
            </p:cNvSpPr>
            <p:nvPr/>
          </p:nvSpPr>
          <p:spPr bwMode="gray">
            <a:xfrm>
              <a:off x="9326351" y="4077053"/>
              <a:ext cx="181126" cy="154420"/>
            </a:xfrm>
            <a:custGeom>
              <a:avLst/>
              <a:gdLst>
                <a:gd name="T0" fmla="*/ 28 w 366"/>
                <a:gd name="T1" fmla="*/ 187 h 312"/>
                <a:gd name="T2" fmla="*/ 12 w 366"/>
                <a:gd name="T3" fmla="*/ 147 h 312"/>
                <a:gd name="T4" fmla="*/ 0 w 366"/>
                <a:gd name="T5" fmla="*/ 97 h 312"/>
                <a:gd name="T6" fmla="*/ 21 w 366"/>
                <a:gd name="T7" fmla="*/ 76 h 312"/>
                <a:gd name="T8" fmla="*/ 28 w 366"/>
                <a:gd name="T9" fmla="*/ 66 h 312"/>
                <a:gd name="T10" fmla="*/ 59 w 366"/>
                <a:gd name="T11" fmla="*/ 22 h 312"/>
                <a:gd name="T12" fmla="*/ 114 w 366"/>
                <a:gd name="T13" fmla="*/ 22 h 312"/>
                <a:gd name="T14" fmla="*/ 189 w 366"/>
                <a:gd name="T15" fmla="*/ 22 h 312"/>
                <a:gd name="T16" fmla="*/ 199 w 366"/>
                <a:gd name="T17" fmla="*/ 22 h 312"/>
                <a:gd name="T18" fmla="*/ 227 w 366"/>
                <a:gd name="T19" fmla="*/ 38 h 312"/>
                <a:gd name="T20" fmla="*/ 258 w 366"/>
                <a:gd name="T21" fmla="*/ 55 h 312"/>
                <a:gd name="T22" fmla="*/ 258 w 366"/>
                <a:gd name="T23" fmla="*/ 22 h 312"/>
                <a:gd name="T24" fmla="*/ 274 w 366"/>
                <a:gd name="T25" fmla="*/ 10 h 312"/>
                <a:gd name="T26" fmla="*/ 295 w 366"/>
                <a:gd name="T27" fmla="*/ 5 h 312"/>
                <a:gd name="T28" fmla="*/ 366 w 366"/>
                <a:gd name="T29" fmla="*/ 0 h 312"/>
                <a:gd name="T30" fmla="*/ 359 w 366"/>
                <a:gd name="T31" fmla="*/ 55 h 312"/>
                <a:gd name="T32" fmla="*/ 366 w 366"/>
                <a:gd name="T33" fmla="*/ 81 h 312"/>
                <a:gd name="T34" fmla="*/ 366 w 366"/>
                <a:gd name="T35" fmla="*/ 147 h 312"/>
                <a:gd name="T36" fmla="*/ 359 w 366"/>
                <a:gd name="T37" fmla="*/ 175 h 312"/>
                <a:gd name="T38" fmla="*/ 333 w 366"/>
                <a:gd name="T39" fmla="*/ 170 h 312"/>
                <a:gd name="T40" fmla="*/ 279 w 366"/>
                <a:gd name="T41" fmla="*/ 192 h 312"/>
                <a:gd name="T42" fmla="*/ 258 w 366"/>
                <a:gd name="T43" fmla="*/ 208 h 312"/>
                <a:gd name="T44" fmla="*/ 241 w 366"/>
                <a:gd name="T45" fmla="*/ 225 h 312"/>
                <a:gd name="T46" fmla="*/ 269 w 366"/>
                <a:gd name="T47" fmla="*/ 263 h 312"/>
                <a:gd name="T48" fmla="*/ 241 w 366"/>
                <a:gd name="T49" fmla="*/ 263 h 312"/>
                <a:gd name="T50" fmla="*/ 215 w 366"/>
                <a:gd name="T51" fmla="*/ 274 h 312"/>
                <a:gd name="T52" fmla="*/ 189 w 366"/>
                <a:gd name="T53" fmla="*/ 274 h 312"/>
                <a:gd name="T54" fmla="*/ 182 w 366"/>
                <a:gd name="T55" fmla="*/ 296 h 312"/>
                <a:gd name="T56" fmla="*/ 151 w 366"/>
                <a:gd name="T57" fmla="*/ 312 h 312"/>
                <a:gd name="T58" fmla="*/ 114 w 366"/>
                <a:gd name="T59" fmla="*/ 296 h 312"/>
                <a:gd name="T60" fmla="*/ 80 w 366"/>
                <a:gd name="T61" fmla="*/ 296 h 312"/>
                <a:gd name="T62" fmla="*/ 97 w 366"/>
                <a:gd name="T63" fmla="*/ 274 h 312"/>
                <a:gd name="T64" fmla="*/ 76 w 366"/>
                <a:gd name="T65" fmla="*/ 274 h 312"/>
                <a:gd name="T66" fmla="*/ 54 w 366"/>
                <a:gd name="T67" fmla="*/ 241 h 312"/>
                <a:gd name="T68" fmla="*/ 43 w 366"/>
                <a:gd name="T69" fmla="*/ 220 h 312"/>
                <a:gd name="T70" fmla="*/ 43 w 366"/>
                <a:gd name="T71" fmla="*/ 220 h 312"/>
                <a:gd name="T72" fmla="*/ 43 w 366"/>
                <a:gd name="T73" fmla="*/ 225 h 312"/>
                <a:gd name="T74" fmla="*/ 43 w 366"/>
                <a:gd name="T75" fmla="*/ 220 h 312"/>
                <a:gd name="T76" fmla="*/ 66 w 366"/>
                <a:gd name="T77" fmla="*/ 286 h 312"/>
                <a:gd name="T78" fmla="*/ 66 w 366"/>
                <a:gd name="T79" fmla="*/ 286 h 312"/>
                <a:gd name="T80" fmla="*/ 66 w 366"/>
                <a:gd name="T81" fmla="*/ 286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6" h="312">
                  <a:moveTo>
                    <a:pt x="43" y="220"/>
                  </a:moveTo>
                  <a:lnTo>
                    <a:pt x="28" y="187"/>
                  </a:lnTo>
                  <a:lnTo>
                    <a:pt x="28" y="163"/>
                  </a:lnTo>
                  <a:lnTo>
                    <a:pt x="12" y="147"/>
                  </a:lnTo>
                  <a:lnTo>
                    <a:pt x="12" y="121"/>
                  </a:lnTo>
                  <a:lnTo>
                    <a:pt x="0" y="97"/>
                  </a:lnTo>
                  <a:lnTo>
                    <a:pt x="7" y="76"/>
                  </a:lnTo>
                  <a:lnTo>
                    <a:pt x="21" y="76"/>
                  </a:lnTo>
                  <a:lnTo>
                    <a:pt x="12" y="66"/>
                  </a:lnTo>
                  <a:lnTo>
                    <a:pt x="28" y="66"/>
                  </a:lnTo>
                  <a:lnTo>
                    <a:pt x="43" y="38"/>
                  </a:lnTo>
                  <a:lnTo>
                    <a:pt x="59" y="22"/>
                  </a:lnTo>
                  <a:lnTo>
                    <a:pt x="92" y="10"/>
                  </a:lnTo>
                  <a:lnTo>
                    <a:pt x="114" y="22"/>
                  </a:lnTo>
                  <a:lnTo>
                    <a:pt x="173" y="10"/>
                  </a:lnTo>
                  <a:lnTo>
                    <a:pt x="189" y="22"/>
                  </a:lnTo>
                  <a:lnTo>
                    <a:pt x="189" y="38"/>
                  </a:lnTo>
                  <a:lnTo>
                    <a:pt x="199" y="22"/>
                  </a:lnTo>
                  <a:lnTo>
                    <a:pt x="215" y="43"/>
                  </a:lnTo>
                  <a:lnTo>
                    <a:pt x="227" y="38"/>
                  </a:lnTo>
                  <a:lnTo>
                    <a:pt x="253" y="55"/>
                  </a:lnTo>
                  <a:lnTo>
                    <a:pt x="258" y="55"/>
                  </a:lnTo>
                  <a:lnTo>
                    <a:pt x="269" y="43"/>
                  </a:lnTo>
                  <a:lnTo>
                    <a:pt x="258" y="22"/>
                  </a:lnTo>
                  <a:lnTo>
                    <a:pt x="274" y="22"/>
                  </a:lnTo>
                  <a:lnTo>
                    <a:pt x="274" y="10"/>
                  </a:lnTo>
                  <a:lnTo>
                    <a:pt x="279" y="10"/>
                  </a:lnTo>
                  <a:lnTo>
                    <a:pt x="295" y="5"/>
                  </a:lnTo>
                  <a:lnTo>
                    <a:pt x="312" y="26"/>
                  </a:lnTo>
                  <a:lnTo>
                    <a:pt x="366" y="0"/>
                  </a:lnTo>
                  <a:lnTo>
                    <a:pt x="350" y="38"/>
                  </a:lnTo>
                  <a:lnTo>
                    <a:pt x="359" y="55"/>
                  </a:lnTo>
                  <a:lnTo>
                    <a:pt x="359" y="59"/>
                  </a:lnTo>
                  <a:lnTo>
                    <a:pt x="366" y="81"/>
                  </a:lnTo>
                  <a:lnTo>
                    <a:pt x="359" y="121"/>
                  </a:lnTo>
                  <a:lnTo>
                    <a:pt x="366" y="147"/>
                  </a:lnTo>
                  <a:lnTo>
                    <a:pt x="366" y="170"/>
                  </a:lnTo>
                  <a:lnTo>
                    <a:pt x="359" y="175"/>
                  </a:lnTo>
                  <a:lnTo>
                    <a:pt x="350" y="170"/>
                  </a:lnTo>
                  <a:lnTo>
                    <a:pt x="333" y="170"/>
                  </a:lnTo>
                  <a:lnTo>
                    <a:pt x="307" y="192"/>
                  </a:lnTo>
                  <a:lnTo>
                    <a:pt x="279" y="192"/>
                  </a:lnTo>
                  <a:lnTo>
                    <a:pt x="291" y="220"/>
                  </a:lnTo>
                  <a:lnTo>
                    <a:pt x="258" y="208"/>
                  </a:lnTo>
                  <a:lnTo>
                    <a:pt x="253" y="220"/>
                  </a:lnTo>
                  <a:lnTo>
                    <a:pt x="241" y="225"/>
                  </a:lnTo>
                  <a:lnTo>
                    <a:pt x="241" y="246"/>
                  </a:lnTo>
                  <a:lnTo>
                    <a:pt x="269" y="263"/>
                  </a:lnTo>
                  <a:lnTo>
                    <a:pt x="269" y="279"/>
                  </a:lnTo>
                  <a:lnTo>
                    <a:pt x="241" y="263"/>
                  </a:lnTo>
                  <a:lnTo>
                    <a:pt x="220" y="274"/>
                  </a:lnTo>
                  <a:lnTo>
                    <a:pt x="215" y="274"/>
                  </a:lnTo>
                  <a:lnTo>
                    <a:pt x="199" y="274"/>
                  </a:lnTo>
                  <a:lnTo>
                    <a:pt x="189" y="274"/>
                  </a:lnTo>
                  <a:lnTo>
                    <a:pt x="189" y="286"/>
                  </a:lnTo>
                  <a:lnTo>
                    <a:pt x="182" y="296"/>
                  </a:lnTo>
                  <a:lnTo>
                    <a:pt x="161" y="303"/>
                  </a:lnTo>
                  <a:lnTo>
                    <a:pt x="151" y="312"/>
                  </a:lnTo>
                  <a:lnTo>
                    <a:pt x="135" y="296"/>
                  </a:lnTo>
                  <a:lnTo>
                    <a:pt x="114" y="296"/>
                  </a:lnTo>
                  <a:lnTo>
                    <a:pt x="92" y="303"/>
                  </a:lnTo>
                  <a:lnTo>
                    <a:pt x="80" y="296"/>
                  </a:lnTo>
                  <a:lnTo>
                    <a:pt x="97" y="286"/>
                  </a:lnTo>
                  <a:lnTo>
                    <a:pt x="97" y="274"/>
                  </a:lnTo>
                  <a:lnTo>
                    <a:pt x="80" y="258"/>
                  </a:lnTo>
                  <a:lnTo>
                    <a:pt x="76" y="274"/>
                  </a:lnTo>
                  <a:lnTo>
                    <a:pt x="59" y="274"/>
                  </a:lnTo>
                  <a:lnTo>
                    <a:pt x="54" y="241"/>
                  </a:lnTo>
                  <a:lnTo>
                    <a:pt x="43" y="225"/>
                  </a:lnTo>
                  <a:lnTo>
                    <a:pt x="43" y="220"/>
                  </a:lnTo>
                  <a:lnTo>
                    <a:pt x="54" y="220"/>
                  </a:lnTo>
                  <a:lnTo>
                    <a:pt x="43" y="220"/>
                  </a:lnTo>
                  <a:lnTo>
                    <a:pt x="38" y="208"/>
                  </a:lnTo>
                  <a:lnTo>
                    <a:pt x="43" y="225"/>
                  </a:lnTo>
                  <a:lnTo>
                    <a:pt x="43" y="220"/>
                  </a:lnTo>
                  <a:lnTo>
                    <a:pt x="43" y="220"/>
                  </a:lnTo>
                  <a:lnTo>
                    <a:pt x="43" y="220"/>
                  </a:lnTo>
                  <a:close/>
                  <a:moveTo>
                    <a:pt x="66" y="286"/>
                  </a:moveTo>
                  <a:lnTo>
                    <a:pt x="59" y="279"/>
                  </a:lnTo>
                  <a:lnTo>
                    <a:pt x="66" y="286"/>
                  </a:lnTo>
                  <a:lnTo>
                    <a:pt x="66" y="286"/>
                  </a:lnTo>
                  <a:lnTo>
                    <a:pt x="66" y="286"/>
                  </a:lnTo>
                  <a:lnTo>
                    <a:pt x="66" y="286"/>
                  </a:lnTo>
                  <a:close/>
                </a:path>
              </a:pathLst>
            </a:custGeom>
            <a:pattFill prst="dk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23" name="Freeform 410">
              <a:extLst>
                <a:ext uri="{FF2B5EF4-FFF2-40B4-BE49-F238E27FC236}">
                  <a16:creationId xmlns:a16="http://schemas.microsoft.com/office/drawing/2014/main" id="{0F53C9CE-4714-49BF-9439-A95BC410A290}"/>
                </a:ext>
              </a:extLst>
            </p:cNvPr>
            <p:cNvSpPr>
              <a:spLocks/>
            </p:cNvSpPr>
            <p:nvPr/>
          </p:nvSpPr>
          <p:spPr bwMode="gray">
            <a:xfrm>
              <a:off x="6241288" y="3752377"/>
              <a:ext cx="364725" cy="581050"/>
            </a:xfrm>
            <a:custGeom>
              <a:avLst/>
              <a:gdLst>
                <a:gd name="T0" fmla="*/ 17 w 737"/>
                <a:gd name="T1" fmla="*/ 720 h 1174"/>
                <a:gd name="T2" fmla="*/ 17 w 737"/>
                <a:gd name="T3" fmla="*/ 659 h 1174"/>
                <a:gd name="T4" fmla="*/ 69 w 737"/>
                <a:gd name="T5" fmla="*/ 569 h 1174"/>
                <a:gd name="T6" fmla="*/ 161 w 737"/>
                <a:gd name="T7" fmla="*/ 264 h 1174"/>
                <a:gd name="T8" fmla="*/ 156 w 737"/>
                <a:gd name="T9" fmla="*/ 198 h 1174"/>
                <a:gd name="T10" fmla="*/ 123 w 737"/>
                <a:gd name="T11" fmla="*/ 144 h 1174"/>
                <a:gd name="T12" fmla="*/ 107 w 737"/>
                <a:gd name="T13" fmla="*/ 33 h 1174"/>
                <a:gd name="T14" fmla="*/ 452 w 737"/>
                <a:gd name="T15" fmla="*/ 137 h 1174"/>
                <a:gd name="T16" fmla="*/ 737 w 737"/>
                <a:gd name="T17" fmla="*/ 581 h 1174"/>
                <a:gd name="T18" fmla="*/ 666 w 737"/>
                <a:gd name="T19" fmla="*/ 588 h 1174"/>
                <a:gd name="T20" fmla="*/ 666 w 737"/>
                <a:gd name="T21" fmla="*/ 621 h 1174"/>
                <a:gd name="T22" fmla="*/ 645 w 737"/>
                <a:gd name="T23" fmla="*/ 654 h 1174"/>
                <a:gd name="T24" fmla="*/ 641 w 737"/>
                <a:gd name="T25" fmla="*/ 692 h 1174"/>
                <a:gd name="T26" fmla="*/ 607 w 737"/>
                <a:gd name="T27" fmla="*/ 720 h 1174"/>
                <a:gd name="T28" fmla="*/ 603 w 737"/>
                <a:gd name="T29" fmla="*/ 770 h 1174"/>
                <a:gd name="T30" fmla="*/ 603 w 737"/>
                <a:gd name="T31" fmla="*/ 803 h 1174"/>
                <a:gd name="T32" fmla="*/ 615 w 737"/>
                <a:gd name="T33" fmla="*/ 791 h 1174"/>
                <a:gd name="T34" fmla="*/ 631 w 737"/>
                <a:gd name="T35" fmla="*/ 819 h 1174"/>
                <a:gd name="T36" fmla="*/ 641 w 737"/>
                <a:gd name="T37" fmla="*/ 881 h 1174"/>
                <a:gd name="T38" fmla="*/ 662 w 737"/>
                <a:gd name="T39" fmla="*/ 885 h 1174"/>
                <a:gd name="T40" fmla="*/ 662 w 737"/>
                <a:gd name="T41" fmla="*/ 930 h 1174"/>
                <a:gd name="T42" fmla="*/ 577 w 737"/>
                <a:gd name="T43" fmla="*/ 952 h 1174"/>
                <a:gd name="T44" fmla="*/ 570 w 737"/>
                <a:gd name="T45" fmla="*/ 987 h 1174"/>
                <a:gd name="T46" fmla="*/ 548 w 737"/>
                <a:gd name="T47" fmla="*/ 996 h 1174"/>
                <a:gd name="T48" fmla="*/ 494 w 737"/>
                <a:gd name="T49" fmla="*/ 1046 h 1174"/>
                <a:gd name="T50" fmla="*/ 463 w 737"/>
                <a:gd name="T51" fmla="*/ 1053 h 1174"/>
                <a:gd name="T52" fmla="*/ 392 w 737"/>
                <a:gd name="T53" fmla="*/ 1070 h 1174"/>
                <a:gd name="T54" fmla="*/ 397 w 737"/>
                <a:gd name="T55" fmla="*/ 1098 h 1174"/>
                <a:gd name="T56" fmla="*/ 291 w 737"/>
                <a:gd name="T57" fmla="*/ 1141 h 1174"/>
                <a:gd name="T58" fmla="*/ 220 w 737"/>
                <a:gd name="T59" fmla="*/ 1157 h 1174"/>
                <a:gd name="T60" fmla="*/ 211 w 737"/>
                <a:gd name="T61" fmla="*/ 1164 h 1174"/>
                <a:gd name="T62" fmla="*/ 144 w 737"/>
                <a:gd name="T63" fmla="*/ 1174 h 1174"/>
                <a:gd name="T64" fmla="*/ 144 w 737"/>
                <a:gd name="T65" fmla="*/ 1152 h 1174"/>
                <a:gd name="T66" fmla="*/ 59 w 737"/>
                <a:gd name="T67" fmla="*/ 1053 h 1174"/>
                <a:gd name="T68" fmla="*/ 52 w 737"/>
                <a:gd name="T69" fmla="*/ 996 h 1174"/>
                <a:gd name="T70" fmla="*/ 161 w 737"/>
                <a:gd name="T71" fmla="*/ 996 h 1174"/>
                <a:gd name="T72" fmla="*/ 114 w 737"/>
                <a:gd name="T73" fmla="*/ 935 h 1174"/>
                <a:gd name="T74" fmla="*/ 114 w 737"/>
                <a:gd name="T75" fmla="*/ 885 h 1174"/>
                <a:gd name="T76" fmla="*/ 102 w 737"/>
                <a:gd name="T77" fmla="*/ 843 h 1174"/>
                <a:gd name="T78" fmla="*/ 76 w 737"/>
                <a:gd name="T79" fmla="*/ 791 h 1174"/>
                <a:gd name="T80" fmla="*/ 48 w 737"/>
                <a:gd name="T81" fmla="*/ 770 h 1174"/>
                <a:gd name="T82" fmla="*/ 48 w 737"/>
                <a:gd name="T83" fmla="*/ 770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37" h="1174">
                  <a:moveTo>
                    <a:pt x="48" y="770"/>
                  </a:moveTo>
                  <a:lnTo>
                    <a:pt x="17" y="720"/>
                  </a:lnTo>
                  <a:lnTo>
                    <a:pt x="0" y="663"/>
                  </a:lnTo>
                  <a:lnTo>
                    <a:pt x="17" y="659"/>
                  </a:lnTo>
                  <a:lnTo>
                    <a:pt x="31" y="626"/>
                  </a:lnTo>
                  <a:lnTo>
                    <a:pt x="69" y="569"/>
                  </a:lnTo>
                  <a:lnTo>
                    <a:pt x="144" y="486"/>
                  </a:lnTo>
                  <a:lnTo>
                    <a:pt x="161" y="264"/>
                  </a:lnTo>
                  <a:lnTo>
                    <a:pt x="178" y="231"/>
                  </a:lnTo>
                  <a:lnTo>
                    <a:pt x="156" y="198"/>
                  </a:lnTo>
                  <a:lnTo>
                    <a:pt x="156" y="182"/>
                  </a:lnTo>
                  <a:lnTo>
                    <a:pt x="123" y="144"/>
                  </a:lnTo>
                  <a:lnTo>
                    <a:pt x="123" y="104"/>
                  </a:lnTo>
                  <a:lnTo>
                    <a:pt x="107" y="33"/>
                  </a:lnTo>
                  <a:lnTo>
                    <a:pt x="178" y="0"/>
                  </a:lnTo>
                  <a:lnTo>
                    <a:pt x="452" y="137"/>
                  </a:lnTo>
                  <a:lnTo>
                    <a:pt x="737" y="293"/>
                  </a:lnTo>
                  <a:lnTo>
                    <a:pt x="737" y="581"/>
                  </a:lnTo>
                  <a:lnTo>
                    <a:pt x="678" y="581"/>
                  </a:lnTo>
                  <a:lnTo>
                    <a:pt x="666" y="588"/>
                  </a:lnTo>
                  <a:lnTo>
                    <a:pt x="666" y="604"/>
                  </a:lnTo>
                  <a:lnTo>
                    <a:pt x="666" y="621"/>
                  </a:lnTo>
                  <a:lnTo>
                    <a:pt x="645" y="642"/>
                  </a:lnTo>
                  <a:lnTo>
                    <a:pt x="645" y="654"/>
                  </a:lnTo>
                  <a:lnTo>
                    <a:pt x="631" y="659"/>
                  </a:lnTo>
                  <a:lnTo>
                    <a:pt x="641" y="692"/>
                  </a:lnTo>
                  <a:lnTo>
                    <a:pt x="615" y="708"/>
                  </a:lnTo>
                  <a:lnTo>
                    <a:pt x="607" y="720"/>
                  </a:lnTo>
                  <a:lnTo>
                    <a:pt x="624" y="748"/>
                  </a:lnTo>
                  <a:lnTo>
                    <a:pt x="603" y="770"/>
                  </a:lnTo>
                  <a:lnTo>
                    <a:pt x="586" y="791"/>
                  </a:lnTo>
                  <a:lnTo>
                    <a:pt x="603" y="803"/>
                  </a:lnTo>
                  <a:lnTo>
                    <a:pt x="607" y="803"/>
                  </a:lnTo>
                  <a:lnTo>
                    <a:pt x="615" y="791"/>
                  </a:lnTo>
                  <a:lnTo>
                    <a:pt x="631" y="803"/>
                  </a:lnTo>
                  <a:lnTo>
                    <a:pt x="631" y="819"/>
                  </a:lnTo>
                  <a:lnTo>
                    <a:pt x="645" y="848"/>
                  </a:lnTo>
                  <a:lnTo>
                    <a:pt x="641" y="881"/>
                  </a:lnTo>
                  <a:lnTo>
                    <a:pt x="657" y="885"/>
                  </a:lnTo>
                  <a:lnTo>
                    <a:pt x="662" y="885"/>
                  </a:lnTo>
                  <a:lnTo>
                    <a:pt x="666" y="902"/>
                  </a:lnTo>
                  <a:lnTo>
                    <a:pt x="662" y="930"/>
                  </a:lnTo>
                  <a:lnTo>
                    <a:pt x="631" y="919"/>
                  </a:lnTo>
                  <a:lnTo>
                    <a:pt x="577" y="952"/>
                  </a:lnTo>
                  <a:lnTo>
                    <a:pt x="577" y="975"/>
                  </a:lnTo>
                  <a:lnTo>
                    <a:pt x="570" y="987"/>
                  </a:lnTo>
                  <a:lnTo>
                    <a:pt x="555" y="996"/>
                  </a:lnTo>
                  <a:lnTo>
                    <a:pt x="548" y="996"/>
                  </a:lnTo>
                  <a:lnTo>
                    <a:pt x="518" y="1041"/>
                  </a:lnTo>
                  <a:lnTo>
                    <a:pt x="494" y="1046"/>
                  </a:lnTo>
                  <a:lnTo>
                    <a:pt x="485" y="1063"/>
                  </a:lnTo>
                  <a:lnTo>
                    <a:pt x="463" y="1053"/>
                  </a:lnTo>
                  <a:lnTo>
                    <a:pt x="452" y="1063"/>
                  </a:lnTo>
                  <a:lnTo>
                    <a:pt x="392" y="1070"/>
                  </a:lnTo>
                  <a:lnTo>
                    <a:pt x="383" y="1079"/>
                  </a:lnTo>
                  <a:lnTo>
                    <a:pt x="397" y="1098"/>
                  </a:lnTo>
                  <a:lnTo>
                    <a:pt x="359" y="1136"/>
                  </a:lnTo>
                  <a:lnTo>
                    <a:pt x="291" y="1141"/>
                  </a:lnTo>
                  <a:lnTo>
                    <a:pt x="237" y="1174"/>
                  </a:lnTo>
                  <a:lnTo>
                    <a:pt x="220" y="1157"/>
                  </a:lnTo>
                  <a:lnTo>
                    <a:pt x="220" y="1152"/>
                  </a:lnTo>
                  <a:lnTo>
                    <a:pt x="211" y="1164"/>
                  </a:lnTo>
                  <a:lnTo>
                    <a:pt x="178" y="1174"/>
                  </a:lnTo>
                  <a:lnTo>
                    <a:pt x="144" y="1174"/>
                  </a:lnTo>
                  <a:lnTo>
                    <a:pt x="156" y="1157"/>
                  </a:lnTo>
                  <a:lnTo>
                    <a:pt x="144" y="1152"/>
                  </a:lnTo>
                  <a:lnTo>
                    <a:pt x="123" y="1103"/>
                  </a:lnTo>
                  <a:lnTo>
                    <a:pt x="59" y="1053"/>
                  </a:lnTo>
                  <a:lnTo>
                    <a:pt x="38" y="1025"/>
                  </a:lnTo>
                  <a:lnTo>
                    <a:pt x="52" y="996"/>
                  </a:lnTo>
                  <a:lnTo>
                    <a:pt x="90" y="996"/>
                  </a:lnTo>
                  <a:lnTo>
                    <a:pt x="161" y="996"/>
                  </a:lnTo>
                  <a:lnTo>
                    <a:pt x="140" y="975"/>
                  </a:lnTo>
                  <a:lnTo>
                    <a:pt x="114" y="935"/>
                  </a:lnTo>
                  <a:lnTo>
                    <a:pt x="114" y="902"/>
                  </a:lnTo>
                  <a:lnTo>
                    <a:pt x="114" y="885"/>
                  </a:lnTo>
                  <a:lnTo>
                    <a:pt x="114" y="843"/>
                  </a:lnTo>
                  <a:lnTo>
                    <a:pt x="102" y="843"/>
                  </a:lnTo>
                  <a:lnTo>
                    <a:pt x="102" y="803"/>
                  </a:lnTo>
                  <a:lnTo>
                    <a:pt x="76" y="791"/>
                  </a:lnTo>
                  <a:lnTo>
                    <a:pt x="69" y="770"/>
                  </a:lnTo>
                  <a:lnTo>
                    <a:pt x="48" y="770"/>
                  </a:lnTo>
                  <a:lnTo>
                    <a:pt x="48" y="770"/>
                  </a:lnTo>
                  <a:lnTo>
                    <a:pt x="48" y="770"/>
                  </a:lnTo>
                  <a:close/>
                </a:path>
              </a:pathLst>
            </a:custGeom>
            <a:pattFill prst="wd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24" name="Freeform 411">
              <a:extLst>
                <a:ext uri="{FF2B5EF4-FFF2-40B4-BE49-F238E27FC236}">
                  <a16:creationId xmlns:a16="http://schemas.microsoft.com/office/drawing/2014/main" id="{0FA2D3F6-09F1-4A0E-AC3B-EB734136962C}"/>
                </a:ext>
              </a:extLst>
            </p:cNvPr>
            <p:cNvSpPr>
              <a:spLocks noEditPoints="1"/>
            </p:cNvSpPr>
            <p:nvPr/>
          </p:nvSpPr>
          <p:spPr bwMode="gray">
            <a:xfrm>
              <a:off x="8538507" y="4251268"/>
              <a:ext cx="77200" cy="139075"/>
            </a:xfrm>
            <a:custGeom>
              <a:avLst/>
              <a:gdLst>
                <a:gd name="T0" fmla="*/ 17 w 156"/>
                <a:gd name="T1" fmla="*/ 182 h 281"/>
                <a:gd name="T2" fmla="*/ 12 w 156"/>
                <a:gd name="T3" fmla="*/ 116 h 281"/>
                <a:gd name="T4" fmla="*/ 12 w 156"/>
                <a:gd name="T5" fmla="*/ 111 h 281"/>
                <a:gd name="T6" fmla="*/ 12 w 156"/>
                <a:gd name="T7" fmla="*/ 133 h 281"/>
                <a:gd name="T8" fmla="*/ 17 w 156"/>
                <a:gd name="T9" fmla="*/ 133 h 281"/>
                <a:gd name="T10" fmla="*/ 17 w 156"/>
                <a:gd name="T11" fmla="*/ 95 h 281"/>
                <a:gd name="T12" fmla="*/ 28 w 156"/>
                <a:gd name="T13" fmla="*/ 88 h 281"/>
                <a:gd name="T14" fmla="*/ 28 w 156"/>
                <a:gd name="T15" fmla="*/ 59 h 281"/>
                <a:gd name="T16" fmla="*/ 33 w 156"/>
                <a:gd name="T17" fmla="*/ 55 h 281"/>
                <a:gd name="T18" fmla="*/ 33 w 156"/>
                <a:gd name="T19" fmla="*/ 33 h 281"/>
                <a:gd name="T20" fmla="*/ 38 w 156"/>
                <a:gd name="T21" fmla="*/ 22 h 281"/>
                <a:gd name="T22" fmla="*/ 33 w 156"/>
                <a:gd name="T23" fmla="*/ 17 h 281"/>
                <a:gd name="T24" fmla="*/ 71 w 156"/>
                <a:gd name="T25" fmla="*/ 33 h 281"/>
                <a:gd name="T26" fmla="*/ 28 w 156"/>
                <a:gd name="T27" fmla="*/ 5 h 281"/>
                <a:gd name="T28" fmla="*/ 28 w 156"/>
                <a:gd name="T29" fmla="*/ 0 h 281"/>
                <a:gd name="T30" fmla="*/ 33 w 156"/>
                <a:gd name="T31" fmla="*/ 0 h 281"/>
                <a:gd name="T32" fmla="*/ 54 w 156"/>
                <a:gd name="T33" fmla="*/ 17 h 281"/>
                <a:gd name="T34" fmla="*/ 38 w 156"/>
                <a:gd name="T35" fmla="*/ 0 h 281"/>
                <a:gd name="T36" fmla="*/ 50 w 156"/>
                <a:gd name="T37" fmla="*/ 0 h 281"/>
                <a:gd name="T38" fmla="*/ 85 w 156"/>
                <a:gd name="T39" fmla="*/ 38 h 281"/>
                <a:gd name="T40" fmla="*/ 92 w 156"/>
                <a:gd name="T41" fmla="*/ 59 h 281"/>
                <a:gd name="T42" fmla="*/ 102 w 156"/>
                <a:gd name="T43" fmla="*/ 59 h 281"/>
                <a:gd name="T44" fmla="*/ 106 w 156"/>
                <a:gd name="T45" fmla="*/ 88 h 281"/>
                <a:gd name="T46" fmla="*/ 118 w 156"/>
                <a:gd name="T47" fmla="*/ 95 h 281"/>
                <a:gd name="T48" fmla="*/ 106 w 156"/>
                <a:gd name="T49" fmla="*/ 95 h 281"/>
                <a:gd name="T50" fmla="*/ 123 w 156"/>
                <a:gd name="T51" fmla="*/ 95 h 281"/>
                <a:gd name="T52" fmla="*/ 123 w 156"/>
                <a:gd name="T53" fmla="*/ 116 h 281"/>
                <a:gd name="T54" fmla="*/ 156 w 156"/>
                <a:gd name="T55" fmla="*/ 170 h 281"/>
                <a:gd name="T56" fmla="*/ 156 w 156"/>
                <a:gd name="T57" fmla="*/ 206 h 281"/>
                <a:gd name="T58" fmla="*/ 139 w 156"/>
                <a:gd name="T59" fmla="*/ 244 h 281"/>
                <a:gd name="T60" fmla="*/ 118 w 156"/>
                <a:gd name="T61" fmla="*/ 260 h 281"/>
                <a:gd name="T62" fmla="*/ 71 w 156"/>
                <a:gd name="T63" fmla="*/ 281 h 281"/>
                <a:gd name="T64" fmla="*/ 38 w 156"/>
                <a:gd name="T65" fmla="*/ 277 h 281"/>
                <a:gd name="T66" fmla="*/ 33 w 156"/>
                <a:gd name="T67" fmla="*/ 260 h 281"/>
                <a:gd name="T68" fmla="*/ 17 w 156"/>
                <a:gd name="T69" fmla="*/ 222 h 281"/>
                <a:gd name="T70" fmla="*/ 17 w 156"/>
                <a:gd name="T71" fmla="*/ 182 h 281"/>
                <a:gd name="T72" fmla="*/ 17 w 156"/>
                <a:gd name="T73" fmla="*/ 182 h 281"/>
                <a:gd name="T74" fmla="*/ 17 w 156"/>
                <a:gd name="T75" fmla="*/ 182 h 281"/>
                <a:gd name="T76" fmla="*/ 17 w 156"/>
                <a:gd name="T77" fmla="*/ 5 h 281"/>
                <a:gd name="T78" fmla="*/ 28 w 156"/>
                <a:gd name="T79" fmla="*/ 17 h 281"/>
                <a:gd name="T80" fmla="*/ 17 w 156"/>
                <a:gd name="T81" fmla="*/ 5 h 281"/>
                <a:gd name="T82" fmla="*/ 17 w 156"/>
                <a:gd name="T83" fmla="*/ 5 h 281"/>
                <a:gd name="T84" fmla="*/ 17 w 156"/>
                <a:gd name="T85" fmla="*/ 5 h 281"/>
                <a:gd name="T86" fmla="*/ 17 w 156"/>
                <a:gd name="T87" fmla="*/ 5 h 281"/>
                <a:gd name="T88" fmla="*/ 12 w 156"/>
                <a:gd name="T89" fmla="*/ 55 h 281"/>
                <a:gd name="T90" fmla="*/ 17 w 156"/>
                <a:gd name="T91" fmla="*/ 59 h 281"/>
                <a:gd name="T92" fmla="*/ 0 w 156"/>
                <a:gd name="T93" fmla="*/ 55 h 281"/>
                <a:gd name="T94" fmla="*/ 12 w 156"/>
                <a:gd name="T95" fmla="*/ 55 h 281"/>
                <a:gd name="T96" fmla="*/ 12 w 156"/>
                <a:gd name="T97" fmla="*/ 55 h 281"/>
                <a:gd name="T98" fmla="*/ 12 w 156"/>
                <a:gd name="T99" fmla="*/ 55 h 281"/>
                <a:gd name="T100" fmla="*/ 144 w 156"/>
                <a:gd name="T101" fmla="*/ 154 h 281"/>
                <a:gd name="T102" fmla="*/ 156 w 156"/>
                <a:gd name="T103" fmla="*/ 170 h 281"/>
                <a:gd name="T104" fmla="*/ 144 w 156"/>
                <a:gd name="T105" fmla="*/ 149 h 281"/>
                <a:gd name="T106" fmla="*/ 144 w 156"/>
                <a:gd name="T107" fmla="*/ 154 h 281"/>
                <a:gd name="T108" fmla="*/ 144 w 156"/>
                <a:gd name="T109" fmla="*/ 154 h 281"/>
                <a:gd name="T110" fmla="*/ 144 w 156"/>
                <a:gd name="T111" fmla="*/ 15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6" h="281">
                  <a:moveTo>
                    <a:pt x="17" y="182"/>
                  </a:moveTo>
                  <a:lnTo>
                    <a:pt x="12" y="116"/>
                  </a:lnTo>
                  <a:lnTo>
                    <a:pt x="12" y="111"/>
                  </a:lnTo>
                  <a:lnTo>
                    <a:pt x="12" y="133"/>
                  </a:lnTo>
                  <a:lnTo>
                    <a:pt x="17" y="133"/>
                  </a:lnTo>
                  <a:lnTo>
                    <a:pt x="17" y="95"/>
                  </a:lnTo>
                  <a:lnTo>
                    <a:pt x="28" y="88"/>
                  </a:lnTo>
                  <a:lnTo>
                    <a:pt x="28" y="59"/>
                  </a:lnTo>
                  <a:lnTo>
                    <a:pt x="33" y="55"/>
                  </a:lnTo>
                  <a:lnTo>
                    <a:pt x="33" y="33"/>
                  </a:lnTo>
                  <a:lnTo>
                    <a:pt x="38" y="22"/>
                  </a:lnTo>
                  <a:lnTo>
                    <a:pt x="33" y="17"/>
                  </a:lnTo>
                  <a:lnTo>
                    <a:pt x="71" y="33"/>
                  </a:lnTo>
                  <a:lnTo>
                    <a:pt x="28" y="5"/>
                  </a:lnTo>
                  <a:lnTo>
                    <a:pt x="28" y="0"/>
                  </a:lnTo>
                  <a:lnTo>
                    <a:pt x="33" y="0"/>
                  </a:lnTo>
                  <a:lnTo>
                    <a:pt x="54" y="17"/>
                  </a:lnTo>
                  <a:lnTo>
                    <a:pt x="38" y="0"/>
                  </a:lnTo>
                  <a:lnTo>
                    <a:pt x="50" y="0"/>
                  </a:lnTo>
                  <a:lnTo>
                    <a:pt x="85" y="38"/>
                  </a:lnTo>
                  <a:lnTo>
                    <a:pt x="92" y="59"/>
                  </a:lnTo>
                  <a:lnTo>
                    <a:pt x="102" y="59"/>
                  </a:lnTo>
                  <a:lnTo>
                    <a:pt x="106" y="88"/>
                  </a:lnTo>
                  <a:lnTo>
                    <a:pt x="118" y="95"/>
                  </a:lnTo>
                  <a:lnTo>
                    <a:pt x="106" y="95"/>
                  </a:lnTo>
                  <a:lnTo>
                    <a:pt x="123" y="95"/>
                  </a:lnTo>
                  <a:lnTo>
                    <a:pt x="123" y="116"/>
                  </a:lnTo>
                  <a:lnTo>
                    <a:pt x="156" y="170"/>
                  </a:lnTo>
                  <a:lnTo>
                    <a:pt x="156" y="206"/>
                  </a:lnTo>
                  <a:lnTo>
                    <a:pt x="139" y="244"/>
                  </a:lnTo>
                  <a:lnTo>
                    <a:pt x="118" y="260"/>
                  </a:lnTo>
                  <a:lnTo>
                    <a:pt x="71" y="281"/>
                  </a:lnTo>
                  <a:lnTo>
                    <a:pt x="38" y="277"/>
                  </a:lnTo>
                  <a:lnTo>
                    <a:pt x="33" y="260"/>
                  </a:lnTo>
                  <a:lnTo>
                    <a:pt x="17" y="222"/>
                  </a:lnTo>
                  <a:lnTo>
                    <a:pt x="17" y="182"/>
                  </a:lnTo>
                  <a:lnTo>
                    <a:pt x="17" y="182"/>
                  </a:lnTo>
                  <a:lnTo>
                    <a:pt x="17" y="182"/>
                  </a:lnTo>
                  <a:close/>
                  <a:moveTo>
                    <a:pt x="17" y="5"/>
                  </a:moveTo>
                  <a:lnTo>
                    <a:pt x="28" y="17"/>
                  </a:lnTo>
                  <a:lnTo>
                    <a:pt x="17" y="5"/>
                  </a:lnTo>
                  <a:lnTo>
                    <a:pt x="17" y="5"/>
                  </a:lnTo>
                  <a:lnTo>
                    <a:pt x="17" y="5"/>
                  </a:lnTo>
                  <a:lnTo>
                    <a:pt x="17" y="5"/>
                  </a:lnTo>
                  <a:close/>
                  <a:moveTo>
                    <a:pt x="12" y="55"/>
                  </a:moveTo>
                  <a:lnTo>
                    <a:pt x="17" y="59"/>
                  </a:lnTo>
                  <a:lnTo>
                    <a:pt x="0" y="55"/>
                  </a:lnTo>
                  <a:lnTo>
                    <a:pt x="12" y="55"/>
                  </a:lnTo>
                  <a:lnTo>
                    <a:pt x="12" y="55"/>
                  </a:lnTo>
                  <a:lnTo>
                    <a:pt x="12" y="55"/>
                  </a:lnTo>
                  <a:close/>
                  <a:moveTo>
                    <a:pt x="144" y="154"/>
                  </a:moveTo>
                  <a:lnTo>
                    <a:pt x="156" y="170"/>
                  </a:lnTo>
                  <a:lnTo>
                    <a:pt x="144" y="149"/>
                  </a:lnTo>
                  <a:lnTo>
                    <a:pt x="144" y="154"/>
                  </a:lnTo>
                  <a:lnTo>
                    <a:pt x="144" y="154"/>
                  </a:lnTo>
                  <a:lnTo>
                    <a:pt x="144" y="154"/>
                  </a:lnTo>
                  <a:close/>
                </a:path>
              </a:pathLst>
            </a:custGeom>
            <a:pattFill prst="dk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25" name="Freeform 412">
              <a:extLst>
                <a:ext uri="{FF2B5EF4-FFF2-40B4-BE49-F238E27FC236}">
                  <a16:creationId xmlns:a16="http://schemas.microsoft.com/office/drawing/2014/main" id="{79D3489D-B01E-46F6-BE6D-54A7C2A47CBC}"/>
                </a:ext>
              </a:extLst>
            </p:cNvPr>
            <p:cNvSpPr>
              <a:spLocks/>
            </p:cNvSpPr>
            <p:nvPr/>
          </p:nvSpPr>
          <p:spPr bwMode="gray">
            <a:xfrm>
              <a:off x="6160624" y="4471019"/>
              <a:ext cx="258326" cy="311313"/>
            </a:xfrm>
            <a:custGeom>
              <a:avLst/>
              <a:gdLst>
                <a:gd name="T0" fmla="*/ 123 w 522"/>
                <a:gd name="T1" fmla="*/ 589 h 629"/>
                <a:gd name="T2" fmla="*/ 107 w 522"/>
                <a:gd name="T3" fmla="*/ 596 h 629"/>
                <a:gd name="T4" fmla="*/ 85 w 522"/>
                <a:gd name="T5" fmla="*/ 612 h 629"/>
                <a:gd name="T6" fmla="*/ 59 w 522"/>
                <a:gd name="T7" fmla="*/ 629 h 629"/>
                <a:gd name="T8" fmla="*/ 48 w 522"/>
                <a:gd name="T9" fmla="*/ 596 h 629"/>
                <a:gd name="T10" fmla="*/ 5 w 522"/>
                <a:gd name="T11" fmla="*/ 534 h 629"/>
                <a:gd name="T12" fmla="*/ 48 w 522"/>
                <a:gd name="T13" fmla="*/ 534 h 629"/>
                <a:gd name="T14" fmla="*/ 52 w 522"/>
                <a:gd name="T15" fmla="*/ 522 h 629"/>
                <a:gd name="T16" fmla="*/ 38 w 522"/>
                <a:gd name="T17" fmla="*/ 501 h 629"/>
                <a:gd name="T18" fmla="*/ 38 w 522"/>
                <a:gd name="T19" fmla="*/ 468 h 629"/>
                <a:gd name="T20" fmla="*/ 38 w 522"/>
                <a:gd name="T21" fmla="*/ 452 h 629"/>
                <a:gd name="T22" fmla="*/ 48 w 522"/>
                <a:gd name="T23" fmla="*/ 444 h 629"/>
                <a:gd name="T24" fmla="*/ 69 w 522"/>
                <a:gd name="T25" fmla="*/ 444 h 629"/>
                <a:gd name="T26" fmla="*/ 90 w 522"/>
                <a:gd name="T27" fmla="*/ 407 h 629"/>
                <a:gd name="T28" fmla="*/ 107 w 522"/>
                <a:gd name="T29" fmla="*/ 395 h 629"/>
                <a:gd name="T30" fmla="*/ 128 w 522"/>
                <a:gd name="T31" fmla="*/ 440 h 629"/>
                <a:gd name="T32" fmla="*/ 182 w 522"/>
                <a:gd name="T33" fmla="*/ 423 h 629"/>
                <a:gd name="T34" fmla="*/ 211 w 522"/>
                <a:gd name="T35" fmla="*/ 444 h 629"/>
                <a:gd name="T36" fmla="*/ 232 w 522"/>
                <a:gd name="T37" fmla="*/ 407 h 629"/>
                <a:gd name="T38" fmla="*/ 232 w 522"/>
                <a:gd name="T39" fmla="*/ 340 h 629"/>
                <a:gd name="T40" fmla="*/ 232 w 522"/>
                <a:gd name="T41" fmla="*/ 300 h 629"/>
                <a:gd name="T42" fmla="*/ 211 w 522"/>
                <a:gd name="T43" fmla="*/ 284 h 629"/>
                <a:gd name="T44" fmla="*/ 194 w 522"/>
                <a:gd name="T45" fmla="*/ 279 h 629"/>
                <a:gd name="T46" fmla="*/ 211 w 522"/>
                <a:gd name="T47" fmla="*/ 229 h 629"/>
                <a:gd name="T48" fmla="*/ 237 w 522"/>
                <a:gd name="T49" fmla="*/ 201 h 629"/>
                <a:gd name="T50" fmla="*/ 182 w 522"/>
                <a:gd name="T51" fmla="*/ 168 h 629"/>
                <a:gd name="T52" fmla="*/ 144 w 522"/>
                <a:gd name="T53" fmla="*/ 168 h 629"/>
                <a:gd name="T54" fmla="*/ 156 w 522"/>
                <a:gd name="T55" fmla="*/ 111 h 629"/>
                <a:gd name="T56" fmla="*/ 265 w 522"/>
                <a:gd name="T57" fmla="*/ 118 h 629"/>
                <a:gd name="T58" fmla="*/ 345 w 522"/>
                <a:gd name="T59" fmla="*/ 152 h 629"/>
                <a:gd name="T60" fmla="*/ 345 w 522"/>
                <a:gd name="T61" fmla="*/ 111 h 629"/>
                <a:gd name="T62" fmla="*/ 378 w 522"/>
                <a:gd name="T63" fmla="*/ 62 h 629"/>
                <a:gd name="T64" fmla="*/ 383 w 522"/>
                <a:gd name="T65" fmla="*/ 7 h 629"/>
                <a:gd name="T66" fmla="*/ 447 w 522"/>
                <a:gd name="T67" fmla="*/ 0 h 629"/>
                <a:gd name="T68" fmla="*/ 468 w 522"/>
                <a:gd name="T69" fmla="*/ 7 h 629"/>
                <a:gd name="T70" fmla="*/ 492 w 522"/>
                <a:gd name="T71" fmla="*/ 19 h 629"/>
                <a:gd name="T72" fmla="*/ 522 w 522"/>
                <a:gd name="T73" fmla="*/ 19 h 629"/>
                <a:gd name="T74" fmla="*/ 485 w 522"/>
                <a:gd name="T75" fmla="*/ 102 h 629"/>
                <a:gd name="T76" fmla="*/ 480 w 522"/>
                <a:gd name="T77" fmla="*/ 201 h 629"/>
                <a:gd name="T78" fmla="*/ 463 w 522"/>
                <a:gd name="T79" fmla="*/ 279 h 629"/>
                <a:gd name="T80" fmla="*/ 437 w 522"/>
                <a:gd name="T81" fmla="*/ 340 h 629"/>
                <a:gd name="T82" fmla="*/ 378 w 522"/>
                <a:gd name="T83" fmla="*/ 407 h 629"/>
                <a:gd name="T84" fmla="*/ 362 w 522"/>
                <a:gd name="T85" fmla="*/ 506 h 629"/>
                <a:gd name="T86" fmla="*/ 307 w 522"/>
                <a:gd name="T87" fmla="*/ 555 h 629"/>
                <a:gd name="T88" fmla="*/ 286 w 522"/>
                <a:gd name="T89" fmla="*/ 579 h 629"/>
                <a:gd name="T90" fmla="*/ 248 w 522"/>
                <a:gd name="T91" fmla="*/ 617 h 629"/>
                <a:gd name="T92" fmla="*/ 232 w 522"/>
                <a:gd name="T93" fmla="*/ 596 h 629"/>
                <a:gd name="T94" fmla="*/ 232 w 522"/>
                <a:gd name="T95" fmla="*/ 579 h 629"/>
                <a:gd name="T96" fmla="*/ 182 w 522"/>
                <a:gd name="T97" fmla="*/ 589 h 629"/>
                <a:gd name="T98" fmla="*/ 166 w 522"/>
                <a:gd name="T99" fmla="*/ 612 h 629"/>
                <a:gd name="T100" fmla="*/ 140 w 522"/>
                <a:gd name="T101" fmla="*/ 596 h 629"/>
                <a:gd name="T102" fmla="*/ 140 w 522"/>
                <a:gd name="T103" fmla="*/ 605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2" h="629">
                  <a:moveTo>
                    <a:pt x="140" y="605"/>
                  </a:moveTo>
                  <a:lnTo>
                    <a:pt x="123" y="589"/>
                  </a:lnTo>
                  <a:lnTo>
                    <a:pt x="114" y="589"/>
                  </a:lnTo>
                  <a:lnTo>
                    <a:pt x="107" y="596"/>
                  </a:lnTo>
                  <a:lnTo>
                    <a:pt x="90" y="605"/>
                  </a:lnTo>
                  <a:lnTo>
                    <a:pt x="85" y="612"/>
                  </a:lnTo>
                  <a:lnTo>
                    <a:pt x="76" y="612"/>
                  </a:lnTo>
                  <a:lnTo>
                    <a:pt x="59" y="629"/>
                  </a:lnTo>
                  <a:lnTo>
                    <a:pt x="48" y="612"/>
                  </a:lnTo>
                  <a:lnTo>
                    <a:pt x="48" y="596"/>
                  </a:lnTo>
                  <a:lnTo>
                    <a:pt x="0" y="551"/>
                  </a:lnTo>
                  <a:lnTo>
                    <a:pt x="5" y="534"/>
                  </a:lnTo>
                  <a:lnTo>
                    <a:pt x="31" y="522"/>
                  </a:lnTo>
                  <a:lnTo>
                    <a:pt x="48" y="534"/>
                  </a:lnTo>
                  <a:lnTo>
                    <a:pt x="52" y="534"/>
                  </a:lnTo>
                  <a:lnTo>
                    <a:pt x="52" y="522"/>
                  </a:lnTo>
                  <a:lnTo>
                    <a:pt x="59" y="506"/>
                  </a:lnTo>
                  <a:lnTo>
                    <a:pt x="38" y="501"/>
                  </a:lnTo>
                  <a:lnTo>
                    <a:pt x="48" y="485"/>
                  </a:lnTo>
                  <a:lnTo>
                    <a:pt x="38" y="468"/>
                  </a:lnTo>
                  <a:lnTo>
                    <a:pt x="31" y="478"/>
                  </a:lnTo>
                  <a:lnTo>
                    <a:pt x="38" y="452"/>
                  </a:lnTo>
                  <a:lnTo>
                    <a:pt x="31" y="440"/>
                  </a:lnTo>
                  <a:lnTo>
                    <a:pt x="48" y="444"/>
                  </a:lnTo>
                  <a:lnTo>
                    <a:pt x="59" y="440"/>
                  </a:lnTo>
                  <a:lnTo>
                    <a:pt x="69" y="444"/>
                  </a:lnTo>
                  <a:lnTo>
                    <a:pt x="90" y="440"/>
                  </a:lnTo>
                  <a:lnTo>
                    <a:pt x="90" y="407"/>
                  </a:lnTo>
                  <a:lnTo>
                    <a:pt x="102" y="407"/>
                  </a:lnTo>
                  <a:lnTo>
                    <a:pt x="107" y="395"/>
                  </a:lnTo>
                  <a:lnTo>
                    <a:pt x="123" y="407"/>
                  </a:lnTo>
                  <a:lnTo>
                    <a:pt x="128" y="440"/>
                  </a:lnTo>
                  <a:lnTo>
                    <a:pt x="166" y="444"/>
                  </a:lnTo>
                  <a:lnTo>
                    <a:pt x="182" y="423"/>
                  </a:lnTo>
                  <a:lnTo>
                    <a:pt x="194" y="444"/>
                  </a:lnTo>
                  <a:lnTo>
                    <a:pt x="211" y="444"/>
                  </a:lnTo>
                  <a:lnTo>
                    <a:pt x="220" y="411"/>
                  </a:lnTo>
                  <a:lnTo>
                    <a:pt x="232" y="407"/>
                  </a:lnTo>
                  <a:lnTo>
                    <a:pt x="237" y="357"/>
                  </a:lnTo>
                  <a:lnTo>
                    <a:pt x="232" y="340"/>
                  </a:lnTo>
                  <a:lnTo>
                    <a:pt x="237" y="312"/>
                  </a:lnTo>
                  <a:lnTo>
                    <a:pt x="232" y="300"/>
                  </a:lnTo>
                  <a:lnTo>
                    <a:pt x="215" y="300"/>
                  </a:lnTo>
                  <a:lnTo>
                    <a:pt x="211" y="284"/>
                  </a:lnTo>
                  <a:lnTo>
                    <a:pt x="194" y="284"/>
                  </a:lnTo>
                  <a:lnTo>
                    <a:pt x="194" y="279"/>
                  </a:lnTo>
                  <a:lnTo>
                    <a:pt x="199" y="246"/>
                  </a:lnTo>
                  <a:lnTo>
                    <a:pt x="211" y="229"/>
                  </a:lnTo>
                  <a:lnTo>
                    <a:pt x="220" y="222"/>
                  </a:lnTo>
                  <a:lnTo>
                    <a:pt x="237" y="201"/>
                  </a:lnTo>
                  <a:lnTo>
                    <a:pt x="215" y="168"/>
                  </a:lnTo>
                  <a:lnTo>
                    <a:pt x="182" y="168"/>
                  </a:lnTo>
                  <a:lnTo>
                    <a:pt x="144" y="185"/>
                  </a:lnTo>
                  <a:lnTo>
                    <a:pt x="144" y="168"/>
                  </a:lnTo>
                  <a:lnTo>
                    <a:pt x="140" y="147"/>
                  </a:lnTo>
                  <a:lnTo>
                    <a:pt x="156" y="111"/>
                  </a:lnTo>
                  <a:lnTo>
                    <a:pt x="237" y="111"/>
                  </a:lnTo>
                  <a:lnTo>
                    <a:pt x="265" y="118"/>
                  </a:lnTo>
                  <a:lnTo>
                    <a:pt x="324" y="128"/>
                  </a:lnTo>
                  <a:lnTo>
                    <a:pt x="345" y="152"/>
                  </a:lnTo>
                  <a:lnTo>
                    <a:pt x="355" y="147"/>
                  </a:lnTo>
                  <a:lnTo>
                    <a:pt x="345" y="111"/>
                  </a:lnTo>
                  <a:lnTo>
                    <a:pt x="355" y="102"/>
                  </a:lnTo>
                  <a:lnTo>
                    <a:pt x="378" y="62"/>
                  </a:lnTo>
                  <a:lnTo>
                    <a:pt x="378" y="41"/>
                  </a:lnTo>
                  <a:lnTo>
                    <a:pt x="383" y="7"/>
                  </a:lnTo>
                  <a:lnTo>
                    <a:pt x="437" y="7"/>
                  </a:lnTo>
                  <a:lnTo>
                    <a:pt x="447" y="0"/>
                  </a:lnTo>
                  <a:lnTo>
                    <a:pt x="468" y="7"/>
                  </a:lnTo>
                  <a:lnTo>
                    <a:pt x="468" y="7"/>
                  </a:lnTo>
                  <a:lnTo>
                    <a:pt x="492" y="7"/>
                  </a:lnTo>
                  <a:lnTo>
                    <a:pt x="492" y="19"/>
                  </a:lnTo>
                  <a:lnTo>
                    <a:pt x="518" y="0"/>
                  </a:lnTo>
                  <a:lnTo>
                    <a:pt x="522" y="19"/>
                  </a:lnTo>
                  <a:lnTo>
                    <a:pt x="522" y="41"/>
                  </a:lnTo>
                  <a:lnTo>
                    <a:pt x="485" y="102"/>
                  </a:lnTo>
                  <a:lnTo>
                    <a:pt x="485" y="156"/>
                  </a:lnTo>
                  <a:lnTo>
                    <a:pt x="480" y="201"/>
                  </a:lnTo>
                  <a:lnTo>
                    <a:pt x="480" y="239"/>
                  </a:lnTo>
                  <a:lnTo>
                    <a:pt x="463" y="279"/>
                  </a:lnTo>
                  <a:lnTo>
                    <a:pt x="463" y="312"/>
                  </a:lnTo>
                  <a:lnTo>
                    <a:pt x="437" y="340"/>
                  </a:lnTo>
                  <a:lnTo>
                    <a:pt x="400" y="357"/>
                  </a:lnTo>
                  <a:lnTo>
                    <a:pt x="378" y="407"/>
                  </a:lnTo>
                  <a:lnTo>
                    <a:pt x="355" y="423"/>
                  </a:lnTo>
                  <a:lnTo>
                    <a:pt x="362" y="506"/>
                  </a:lnTo>
                  <a:lnTo>
                    <a:pt x="329" y="551"/>
                  </a:lnTo>
                  <a:lnTo>
                    <a:pt x="307" y="555"/>
                  </a:lnTo>
                  <a:lnTo>
                    <a:pt x="307" y="572"/>
                  </a:lnTo>
                  <a:lnTo>
                    <a:pt x="286" y="579"/>
                  </a:lnTo>
                  <a:lnTo>
                    <a:pt x="265" y="612"/>
                  </a:lnTo>
                  <a:lnTo>
                    <a:pt x="248" y="617"/>
                  </a:lnTo>
                  <a:lnTo>
                    <a:pt x="232" y="617"/>
                  </a:lnTo>
                  <a:lnTo>
                    <a:pt x="232" y="596"/>
                  </a:lnTo>
                  <a:lnTo>
                    <a:pt x="237" y="589"/>
                  </a:lnTo>
                  <a:lnTo>
                    <a:pt x="232" y="579"/>
                  </a:lnTo>
                  <a:lnTo>
                    <a:pt x="199" y="589"/>
                  </a:lnTo>
                  <a:lnTo>
                    <a:pt x="182" y="589"/>
                  </a:lnTo>
                  <a:lnTo>
                    <a:pt x="182" y="612"/>
                  </a:lnTo>
                  <a:lnTo>
                    <a:pt x="166" y="612"/>
                  </a:lnTo>
                  <a:lnTo>
                    <a:pt x="161" y="617"/>
                  </a:lnTo>
                  <a:lnTo>
                    <a:pt x="140" y="596"/>
                  </a:lnTo>
                  <a:lnTo>
                    <a:pt x="140" y="605"/>
                  </a:lnTo>
                  <a:lnTo>
                    <a:pt x="140" y="605"/>
                  </a:lnTo>
                  <a:lnTo>
                    <a:pt x="140" y="605"/>
                  </a:lnTo>
                  <a:close/>
                </a:path>
              </a:pathLst>
            </a:custGeom>
            <a:pattFill prst="wd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26" name="Freeform 413">
              <a:extLst>
                <a:ext uri="{FF2B5EF4-FFF2-40B4-BE49-F238E27FC236}">
                  <a16:creationId xmlns:a16="http://schemas.microsoft.com/office/drawing/2014/main" id="{A0ECCEB9-1FD5-4D56-B7B0-03AE84867A10}"/>
                </a:ext>
              </a:extLst>
            </p:cNvPr>
            <p:cNvSpPr>
              <a:spLocks noEditPoints="1"/>
            </p:cNvSpPr>
            <p:nvPr/>
          </p:nvSpPr>
          <p:spPr bwMode="gray">
            <a:xfrm>
              <a:off x="6198234" y="4410636"/>
              <a:ext cx="665115" cy="675583"/>
            </a:xfrm>
            <a:custGeom>
              <a:avLst/>
              <a:gdLst>
                <a:gd name="T0" fmla="*/ 38 w 1344"/>
                <a:gd name="T1" fmla="*/ 819 h 1365"/>
                <a:gd name="T2" fmla="*/ 28 w 1344"/>
                <a:gd name="T3" fmla="*/ 748 h 1365"/>
                <a:gd name="T4" fmla="*/ 87 w 1344"/>
                <a:gd name="T5" fmla="*/ 737 h 1365"/>
                <a:gd name="T6" fmla="*/ 125 w 1344"/>
                <a:gd name="T7" fmla="*/ 708 h 1365"/>
                <a:gd name="T8" fmla="*/ 158 w 1344"/>
                <a:gd name="T9" fmla="*/ 737 h 1365"/>
                <a:gd name="T10" fmla="*/ 234 w 1344"/>
                <a:gd name="T11" fmla="*/ 692 h 1365"/>
                <a:gd name="T12" fmla="*/ 281 w 1344"/>
                <a:gd name="T13" fmla="*/ 543 h 1365"/>
                <a:gd name="T14" fmla="*/ 390 w 1344"/>
                <a:gd name="T15" fmla="*/ 432 h 1365"/>
                <a:gd name="T16" fmla="*/ 411 w 1344"/>
                <a:gd name="T17" fmla="*/ 276 h 1365"/>
                <a:gd name="T18" fmla="*/ 458 w 1344"/>
                <a:gd name="T19" fmla="*/ 99 h 1365"/>
                <a:gd name="T20" fmla="*/ 503 w 1344"/>
                <a:gd name="T21" fmla="*/ 16 h 1365"/>
                <a:gd name="T22" fmla="*/ 588 w 1344"/>
                <a:gd name="T23" fmla="*/ 70 h 1365"/>
                <a:gd name="T24" fmla="*/ 713 w 1344"/>
                <a:gd name="T25" fmla="*/ 87 h 1365"/>
                <a:gd name="T26" fmla="*/ 751 w 1344"/>
                <a:gd name="T27" fmla="*/ 44 h 1365"/>
                <a:gd name="T28" fmla="*/ 857 w 1344"/>
                <a:gd name="T29" fmla="*/ 16 h 1365"/>
                <a:gd name="T30" fmla="*/ 933 w 1344"/>
                <a:gd name="T31" fmla="*/ 0 h 1365"/>
                <a:gd name="T32" fmla="*/ 1020 w 1344"/>
                <a:gd name="T33" fmla="*/ 16 h 1365"/>
                <a:gd name="T34" fmla="*/ 1091 w 1344"/>
                <a:gd name="T35" fmla="*/ 44 h 1365"/>
                <a:gd name="T36" fmla="*/ 1198 w 1344"/>
                <a:gd name="T37" fmla="*/ 70 h 1365"/>
                <a:gd name="T38" fmla="*/ 1235 w 1344"/>
                <a:gd name="T39" fmla="*/ 70 h 1365"/>
                <a:gd name="T40" fmla="*/ 1290 w 1344"/>
                <a:gd name="T41" fmla="*/ 127 h 1365"/>
                <a:gd name="T42" fmla="*/ 1311 w 1344"/>
                <a:gd name="T43" fmla="*/ 144 h 1365"/>
                <a:gd name="T44" fmla="*/ 1311 w 1344"/>
                <a:gd name="T45" fmla="*/ 214 h 1365"/>
                <a:gd name="T46" fmla="*/ 1268 w 1344"/>
                <a:gd name="T47" fmla="*/ 304 h 1365"/>
                <a:gd name="T48" fmla="*/ 1231 w 1344"/>
                <a:gd name="T49" fmla="*/ 382 h 1365"/>
                <a:gd name="T50" fmla="*/ 1188 w 1344"/>
                <a:gd name="T51" fmla="*/ 526 h 1365"/>
                <a:gd name="T52" fmla="*/ 1181 w 1344"/>
                <a:gd name="T53" fmla="*/ 588 h 1365"/>
                <a:gd name="T54" fmla="*/ 1205 w 1344"/>
                <a:gd name="T55" fmla="*/ 682 h 1365"/>
                <a:gd name="T56" fmla="*/ 1214 w 1344"/>
                <a:gd name="T57" fmla="*/ 819 h 1365"/>
                <a:gd name="T58" fmla="*/ 1273 w 1344"/>
                <a:gd name="T59" fmla="*/ 904 h 1365"/>
                <a:gd name="T60" fmla="*/ 1167 w 1344"/>
                <a:gd name="T61" fmla="*/ 1025 h 1365"/>
                <a:gd name="T62" fmla="*/ 1150 w 1344"/>
                <a:gd name="T63" fmla="*/ 1126 h 1365"/>
                <a:gd name="T64" fmla="*/ 1143 w 1344"/>
                <a:gd name="T65" fmla="*/ 1247 h 1365"/>
                <a:gd name="T66" fmla="*/ 1214 w 1344"/>
                <a:gd name="T67" fmla="*/ 1287 h 1365"/>
                <a:gd name="T68" fmla="*/ 1219 w 1344"/>
                <a:gd name="T69" fmla="*/ 1358 h 1365"/>
                <a:gd name="T70" fmla="*/ 1181 w 1344"/>
                <a:gd name="T71" fmla="*/ 1358 h 1365"/>
                <a:gd name="T72" fmla="*/ 1096 w 1344"/>
                <a:gd name="T73" fmla="*/ 1280 h 1365"/>
                <a:gd name="T74" fmla="*/ 1053 w 1344"/>
                <a:gd name="T75" fmla="*/ 1225 h 1365"/>
                <a:gd name="T76" fmla="*/ 966 w 1344"/>
                <a:gd name="T77" fmla="*/ 1247 h 1365"/>
                <a:gd name="T78" fmla="*/ 881 w 1344"/>
                <a:gd name="T79" fmla="*/ 1209 h 1365"/>
                <a:gd name="T80" fmla="*/ 827 w 1344"/>
                <a:gd name="T81" fmla="*/ 1176 h 1365"/>
                <a:gd name="T82" fmla="*/ 730 w 1344"/>
                <a:gd name="T83" fmla="*/ 1181 h 1365"/>
                <a:gd name="T84" fmla="*/ 713 w 1344"/>
                <a:gd name="T85" fmla="*/ 1136 h 1365"/>
                <a:gd name="T86" fmla="*/ 680 w 1344"/>
                <a:gd name="T87" fmla="*/ 1003 h 1365"/>
                <a:gd name="T88" fmla="*/ 588 w 1344"/>
                <a:gd name="T89" fmla="*/ 914 h 1365"/>
                <a:gd name="T90" fmla="*/ 520 w 1344"/>
                <a:gd name="T91" fmla="*/ 892 h 1365"/>
                <a:gd name="T92" fmla="*/ 444 w 1344"/>
                <a:gd name="T93" fmla="*/ 959 h 1365"/>
                <a:gd name="T94" fmla="*/ 406 w 1344"/>
                <a:gd name="T95" fmla="*/ 970 h 1365"/>
                <a:gd name="T96" fmla="*/ 319 w 1344"/>
                <a:gd name="T97" fmla="*/ 848 h 1365"/>
                <a:gd name="T98" fmla="*/ 272 w 1344"/>
                <a:gd name="T99" fmla="*/ 810 h 1365"/>
                <a:gd name="T100" fmla="*/ 54 w 1344"/>
                <a:gd name="T101" fmla="*/ 810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4" h="1365">
                  <a:moveTo>
                    <a:pt x="272" y="810"/>
                  </a:moveTo>
                  <a:lnTo>
                    <a:pt x="71" y="810"/>
                  </a:lnTo>
                  <a:lnTo>
                    <a:pt x="50" y="810"/>
                  </a:lnTo>
                  <a:lnTo>
                    <a:pt x="38" y="819"/>
                  </a:lnTo>
                  <a:lnTo>
                    <a:pt x="16" y="819"/>
                  </a:lnTo>
                  <a:lnTo>
                    <a:pt x="0" y="803"/>
                  </a:lnTo>
                  <a:lnTo>
                    <a:pt x="28" y="803"/>
                  </a:lnTo>
                  <a:lnTo>
                    <a:pt x="28" y="748"/>
                  </a:lnTo>
                  <a:lnTo>
                    <a:pt x="50" y="732"/>
                  </a:lnTo>
                  <a:lnTo>
                    <a:pt x="66" y="725"/>
                  </a:lnTo>
                  <a:lnTo>
                    <a:pt x="66" y="715"/>
                  </a:lnTo>
                  <a:lnTo>
                    <a:pt x="87" y="737"/>
                  </a:lnTo>
                  <a:lnTo>
                    <a:pt x="92" y="732"/>
                  </a:lnTo>
                  <a:lnTo>
                    <a:pt x="109" y="732"/>
                  </a:lnTo>
                  <a:lnTo>
                    <a:pt x="109" y="708"/>
                  </a:lnTo>
                  <a:lnTo>
                    <a:pt x="125" y="708"/>
                  </a:lnTo>
                  <a:lnTo>
                    <a:pt x="158" y="699"/>
                  </a:lnTo>
                  <a:lnTo>
                    <a:pt x="163" y="708"/>
                  </a:lnTo>
                  <a:lnTo>
                    <a:pt x="158" y="715"/>
                  </a:lnTo>
                  <a:lnTo>
                    <a:pt x="158" y="737"/>
                  </a:lnTo>
                  <a:lnTo>
                    <a:pt x="172" y="737"/>
                  </a:lnTo>
                  <a:lnTo>
                    <a:pt x="189" y="732"/>
                  </a:lnTo>
                  <a:lnTo>
                    <a:pt x="210" y="699"/>
                  </a:lnTo>
                  <a:lnTo>
                    <a:pt x="234" y="692"/>
                  </a:lnTo>
                  <a:lnTo>
                    <a:pt x="234" y="675"/>
                  </a:lnTo>
                  <a:lnTo>
                    <a:pt x="255" y="670"/>
                  </a:lnTo>
                  <a:lnTo>
                    <a:pt x="286" y="625"/>
                  </a:lnTo>
                  <a:lnTo>
                    <a:pt x="281" y="543"/>
                  </a:lnTo>
                  <a:lnTo>
                    <a:pt x="302" y="526"/>
                  </a:lnTo>
                  <a:lnTo>
                    <a:pt x="324" y="477"/>
                  </a:lnTo>
                  <a:lnTo>
                    <a:pt x="361" y="460"/>
                  </a:lnTo>
                  <a:lnTo>
                    <a:pt x="390" y="432"/>
                  </a:lnTo>
                  <a:lnTo>
                    <a:pt x="390" y="399"/>
                  </a:lnTo>
                  <a:lnTo>
                    <a:pt x="406" y="359"/>
                  </a:lnTo>
                  <a:lnTo>
                    <a:pt x="406" y="321"/>
                  </a:lnTo>
                  <a:lnTo>
                    <a:pt x="411" y="276"/>
                  </a:lnTo>
                  <a:lnTo>
                    <a:pt x="411" y="222"/>
                  </a:lnTo>
                  <a:lnTo>
                    <a:pt x="449" y="160"/>
                  </a:lnTo>
                  <a:lnTo>
                    <a:pt x="449" y="139"/>
                  </a:lnTo>
                  <a:lnTo>
                    <a:pt x="458" y="99"/>
                  </a:lnTo>
                  <a:lnTo>
                    <a:pt x="449" y="70"/>
                  </a:lnTo>
                  <a:lnTo>
                    <a:pt x="458" y="70"/>
                  </a:lnTo>
                  <a:lnTo>
                    <a:pt x="482" y="33"/>
                  </a:lnTo>
                  <a:lnTo>
                    <a:pt x="503" y="16"/>
                  </a:lnTo>
                  <a:lnTo>
                    <a:pt x="534" y="16"/>
                  </a:lnTo>
                  <a:lnTo>
                    <a:pt x="572" y="44"/>
                  </a:lnTo>
                  <a:lnTo>
                    <a:pt x="583" y="54"/>
                  </a:lnTo>
                  <a:lnTo>
                    <a:pt x="588" y="70"/>
                  </a:lnTo>
                  <a:lnTo>
                    <a:pt x="621" y="66"/>
                  </a:lnTo>
                  <a:lnTo>
                    <a:pt x="638" y="82"/>
                  </a:lnTo>
                  <a:lnTo>
                    <a:pt x="676" y="82"/>
                  </a:lnTo>
                  <a:lnTo>
                    <a:pt x="713" y="87"/>
                  </a:lnTo>
                  <a:lnTo>
                    <a:pt x="730" y="82"/>
                  </a:lnTo>
                  <a:lnTo>
                    <a:pt x="730" y="66"/>
                  </a:lnTo>
                  <a:lnTo>
                    <a:pt x="735" y="66"/>
                  </a:lnTo>
                  <a:lnTo>
                    <a:pt x="751" y="44"/>
                  </a:lnTo>
                  <a:lnTo>
                    <a:pt x="789" y="54"/>
                  </a:lnTo>
                  <a:lnTo>
                    <a:pt x="798" y="49"/>
                  </a:lnTo>
                  <a:lnTo>
                    <a:pt x="857" y="28"/>
                  </a:lnTo>
                  <a:lnTo>
                    <a:pt x="857" y="16"/>
                  </a:lnTo>
                  <a:lnTo>
                    <a:pt x="881" y="33"/>
                  </a:lnTo>
                  <a:lnTo>
                    <a:pt x="919" y="28"/>
                  </a:lnTo>
                  <a:lnTo>
                    <a:pt x="928" y="0"/>
                  </a:lnTo>
                  <a:lnTo>
                    <a:pt x="933" y="0"/>
                  </a:lnTo>
                  <a:lnTo>
                    <a:pt x="966" y="11"/>
                  </a:lnTo>
                  <a:lnTo>
                    <a:pt x="983" y="11"/>
                  </a:lnTo>
                  <a:lnTo>
                    <a:pt x="1004" y="28"/>
                  </a:lnTo>
                  <a:lnTo>
                    <a:pt x="1020" y="16"/>
                  </a:lnTo>
                  <a:lnTo>
                    <a:pt x="1025" y="28"/>
                  </a:lnTo>
                  <a:lnTo>
                    <a:pt x="1042" y="11"/>
                  </a:lnTo>
                  <a:lnTo>
                    <a:pt x="1075" y="28"/>
                  </a:lnTo>
                  <a:lnTo>
                    <a:pt x="1091" y="44"/>
                  </a:lnTo>
                  <a:lnTo>
                    <a:pt x="1096" y="54"/>
                  </a:lnTo>
                  <a:lnTo>
                    <a:pt x="1134" y="82"/>
                  </a:lnTo>
                  <a:lnTo>
                    <a:pt x="1167" y="54"/>
                  </a:lnTo>
                  <a:lnTo>
                    <a:pt x="1198" y="70"/>
                  </a:lnTo>
                  <a:lnTo>
                    <a:pt x="1214" y="49"/>
                  </a:lnTo>
                  <a:lnTo>
                    <a:pt x="1219" y="49"/>
                  </a:lnTo>
                  <a:lnTo>
                    <a:pt x="1235" y="54"/>
                  </a:lnTo>
                  <a:lnTo>
                    <a:pt x="1235" y="70"/>
                  </a:lnTo>
                  <a:lnTo>
                    <a:pt x="1257" y="87"/>
                  </a:lnTo>
                  <a:lnTo>
                    <a:pt x="1268" y="103"/>
                  </a:lnTo>
                  <a:lnTo>
                    <a:pt x="1290" y="103"/>
                  </a:lnTo>
                  <a:lnTo>
                    <a:pt x="1290" y="127"/>
                  </a:lnTo>
                  <a:lnTo>
                    <a:pt x="1306" y="120"/>
                  </a:lnTo>
                  <a:lnTo>
                    <a:pt x="1311" y="139"/>
                  </a:lnTo>
                  <a:lnTo>
                    <a:pt x="1311" y="139"/>
                  </a:lnTo>
                  <a:lnTo>
                    <a:pt x="1311" y="144"/>
                  </a:lnTo>
                  <a:lnTo>
                    <a:pt x="1306" y="165"/>
                  </a:lnTo>
                  <a:lnTo>
                    <a:pt x="1311" y="181"/>
                  </a:lnTo>
                  <a:lnTo>
                    <a:pt x="1294" y="210"/>
                  </a:lnTo>
                  <a:lnTo>
                    <a:pt x="1311" y="214"/>
                  </a:lnTo>
                  <a:lnTo>
                    <a:pt x="1323" y="214"/>
                  </a:lnTo>
                  <a:lnTo>
                    <a:pt x="1344" y="231"/>
                  </a:lnTo>
                  <a:lnTo>
                    <a:pt x="1285" y="304"/>
                  </a:lnTo>
                  <a:lnTo>
                    <a:pt x="1268" y="304"/>
                  </a:lnTo>
                  <a:lnTo>
                    <a:pt x="1257" y="321"/>
                  </a:lnTo>
                  <a:lnTo>
                    <a:pt x="1242" y="325"/>
                  </a:lnTo>
                  <a:lnTo>
                    <a:pt x="1242" y="349"/>
                  </a:lnTo>
                  <a:lnTo>
                    <a:pt x="1231" y="382"/>
                  </a:lnTo>
                  <a:lnTo>
                    <a:pt x="1219" y="453"/>
                  </a:lnTo>
                  <a:lnTo>
                    <a:pt x="1219" y="486"/>
                  </a:lnTo>
                  <a:lnTo>
                    <a:pt x="1198" y="505"/>
                  </a:lnTo>
                  <a:lnTo>
                    <a:pt x="1188" y="526"/>
                  </a:lnTo>
                  <a:lnTo>
                    <a:pt x="1188" y="548"/>
                  </a:lnTo>
                  <a:lnTo>
                    <a:pt x="1167" y="559"/>
                  </a:lnTo>
                  <a:lnTo>
                    <a:pt x="1176" y="581"/>
                  </a:lnTo>
                  <a:lnTo>
                    <a:pt x="1181" y="588"/>
                  </a:lnTo>
                  <a:lnTo>
                    <a:pt x="1181" y="588"/>
                  </a:lnTo>
                  <a:lnTo>
                    <a:pt x="1198" y="604"/>
                  </a:lnTo>
                  <a:lnTo>
                    <a:pt x="1198" y="670"/>
                  </a:lnTo>
                  <a:lnTo>
                    <a:pt x="1205" y="682"/>
                  </a:lnTo>
                  <a:lnTo>
                    <a:pt x="1205" y="708"/>
                  </a:lnTo>
                  <a:lnTo>
                    <a:pt x="1205" y="748"/>
                  </a:lnTo>
                  <a:lnTo>
                    <a:pt x="1219" y="803"/>
                  </a:lnTo>
                  <a:lnTo>
                    <a:pt x="1214" y="819"/>
                  </a:lnTo>
                  <a:lnTo>
                    <a:pt x="1219" y="843"/>
                  </a:lnTo>
                  <a:lnTo>
                    <a:pt x="1231" y="864"/>
                  </a:lnTo>
                  <a:lnTo>
                    <a:pt x="1252" y="881"/>
                  </a:lnTo>
                  <a:lnTo>
                    <a:pt x="1273" y="904"/>
                  </a:lnTo>
                  <a:lnTo>
                    <a:pt x="1306" y="975"/>
                  </a:lnTo>
                  <a:lnTo>
                    <a:pt x="1176" y="1003"/>
                  </a:lnTo>
                  <a:lnTo>
                    <a:pt x="1176" y="1015"/>
                  </a:lnTo>
                  <a:lnTo>
                    <a:pt x="1167" y="1025"/>
                  </a:lnTo>
                  <a:lnTo>
                    <a:pt x="1134" y="1058"/>
                  </a:lnTo>
                  <a:lnTo>
                    <a:pt x="1143" y="1065"/>
                  </a:lnTo>
                  <a:lnTo>
                    <a:pt x="1160" y="1098"/>
                  </a:lnTo>
                  <a:lnTo>
                    <a:pt x="1150" y="1126"/>
                  </a:lnTo>
                  <a:lnTo>
                    <a:pt x="1160" y="1159"/>
                  </a:lnTo>
                  <a:lnTo>
                    <a:pt x="1150" y="1176"/>
                  </a:lnTo>
                  <a:lnTo>
                    <a:pt x="1134" y="1225"/>
                  </a:lnTo>
                  <a:lnTo>
                    <a:pt x="1143" y="1247"/>
                  </a:lnTo>
                  <a:lnTo>
                    <a:pt x="1167" y="1263"/>
                  </a:lnTo>
                  <a:lnTo>
                    <a:pt x="1181" y="1287"/>
                  </a:lnTo>
                  <a:lnTo>
                    <a:pt x="1198" y="1287"/>
                  </a:lnTo>
                  <a:lnTo>
                    <a:pt x="1214" y="1287"/>
                  </a:lnTo>
                  <a:lnTo>
                    <a:pt x="1214" y="1270"/>
                  </a:lnTo>
                  <a:lnTo>
                    <a:pt x="1235" y="1270"/>
                  </a:lnTo>
                  <a:lnTo>
                    <a:pt x="1235" y="1365"/>
                  </a:lnTo>
                  <a:lnTo>
                    <a:pt x="1219" y="1358"/>
                  </a:lnTo>
                  <a:lnTo>
                    <a:pt x="1231" y="1346"/>
                  </a:lnTo>
                  <a:lnTo>
                    <a:pt x="1219" y="1346"/>
                  </a:lnTo>
                  <a:lnTo>
                    <a:pt x="1188" y="1358"/>
                  </a:lnTo>
                  <a:lnTo>
                    <a:pt x="1181" y="1358"/>
                  </a:lnTo>
                  <a:lnTo>
                    <a:pt x="1160" y="1325"/>
                  </a:lnTo>
                  <a:lnTo>
                    <a:pt x="1150" y="1320"/>
                  </a:lnTo>
                  <a:lnTo>
                    <a:pt x="1143" y="1292"/>
                  </a:lnTo>
                  <a:lnTo>
                    <a:pt x="1096" y="1280"/>
                  </a:lnTo>
                  <a:lnTo>
                    <a:pt x="1079" y="1280"/>
                  </a:lnTo>
                  <a:lnTo>
                    <a:pt x="1075" y="1254"/>
                  </a:lnTo>
                  <a:lnTo>
                    <a:pt x="1058" y="1237"/>
                  </a:lnTo>
                  <a:lnTo>
                    <a:pt x="1053" y="1225"/>
                  </a:lnTo>
                  <a:lnTo>
                    <a:pt x="1042" y="1230"/>
                  </a:lnTo>
                  <a:lnTo>
                    <a:pt x="1037" y="1247"/>
                  </a:lnTo>
                  <a:lnTo>
                    <a:pt x="1025" y="1254"/>
                  </a:lnTo>
                  <a:lnTo>
                    <a:pt x="966" y="1247"/>
                  </a:lnTo>
                  <a:lnTo>
                    <a:pt x="928" y="1230"/>
                  </a:lnTo>
                  <a:lnTo>
                    <a:pt x="919" y="1209"/>
                  </a:lnTo>
                  <a:lnTo>
                    <a:pt x="919" y="1197"/>
                  </a:lnTo>
                  <a:lnTo>
                    <a:pt x="881" y="1209"/>
                  </a:lnTo>
                  <a:lnTo>
                    <a:pt x="857" y="1214"/>
                  </a:lnTo>
                  <a:lnTo>
                    <a:pt x="853" y="1209"/>
                  </a:lnTo>
                  <a:lnTo>
                    <a:pt x="857" y="1192"/>
                  </a:lnTo>
                  <a:lnTo>
                    <a:pt x="827" y="1176"/>
                  </a:lnTo>
                  <a:lnTo>
                    <a:pt x="820" y="1181"/>
                  </a:lnTo>
                  <a:lnTo>
                    <a:pt x="789" y="1181"/>
                  </a:lnTo>
                  <a:lnTo>
                    <a:pt x="768" y="1192"/>
                  </a:lnTo>
                  <a:lnTo>
                    <a:pt x="730" y="1181"/>
                  </a:lnTo>
                  <a:lnTo>
                    <a:pt x="702" y="1197"/>
                  </a:lnTo>
                  <a:lnTo>
                    <a:pt x="702" y="1176"/>
                  </a:lnTo>
                  <a:lnTo>
                    <a:pt x="713" y="1169"/>
                  </a:lnTo>
                  <a:lnTo>
                    <a:pt x="713" y="1136"/>
                  </a:lnTo>
                  <a:lnTo>
                    <a:pt x="697" y="1103"/>
                  </a:lnTo>
                  <a:lnTo>
                    <a:pt x="680" y="1086"/>
                  </a:lnTo>
                  <a:lnTo>
                    <a:pt x="676" y="1065"/>
                  </a:lnTo>
                  <a:lnTo>
                    <a:pt x="680" y="1003"/>
                  </a:lnTo>
                  <a:lnTo>
                    <a:pt x="676" y="959"/>
                  </a:lnTo>
                  <a:lnTo>
                    <a:pt x="680" y="930"/>
                  </a:lnTo>
                  <a:lnTo>
                    <a:pt x="676" y="914"/>
                  </a:lnTo>
                  <a:lnTo>
                    <a:pt x="588" y="914"/>
                  </a:lnTo>
                  <a:lnTo>
                    <a:pt x="595" y="892"/>
                  </a:lnTo>
                  <a:lnTo>
                    <a:pt x="572" y="892"/>
                  </a:lnTo>
                  <a:lnTo>
                    <a:pt x="572" y="892"/>
                  </a:lnTo>
                  <a:lnTo>
                    <a:pt x="520" y="892"/>
                  </a:lnTo>
                  <a:lnTo>
                    <a:pt x="520" y="930"/>
                  </a:lnTo>
                  <a:lnTo>
                    <a:pt x="503" y="937"/>
                  </a:lnTo>
                  <a:lnTo>
                    <a:pt x="503" y="959"/>
                  </a:lnTo>
                  <a:lnTo>
                    <a:pt x="444" y="959"/>
                  </a:lnTo>
                  <a:lnTo>
                    <a:pt x="444" y="959"/>
                  </a:lnTo>
                  <a:lnTo>
                    <a:pt x="416" y="970"/>
                  </a:lnTo>
                  <a:lnTo>
                    <a:pt x="416" y="970"/>
                  </a:lnTo>
                  <a:lnTo>
                    <a:pt x="406" y="970"/>
                  </a:lnTo>
                  <a:lnTo>
                    <a:pt x="378" y="970"/>
                  </a:lnTo>
                  <a:lnTo>
                    <a:pt x="335" y="904"/>
                  </a:lnTo>
                  <a:lnTo>
                    <a:pt x="335" y="892"/>
                  </a:lnTo>
                  <a:lnTo>
                    <a:pt x="319" y="848"/>
                  </a:lnTo>
                  <a:lnTo>
                    <a:pt x="319" y="836"/>
                  </a:lnTo>
                  <a:lnTo>
                    <a:pt x="307" y="819"/>
                  </a:lnTo>
                  <a:lnTo>
                    <a:pt x="272" y="810"/>
                  </a:lnTo>
                  <a:lnTo>
                    <a:pt x="272" y="810"/>
                  </a:lnTo>
                  <a:lnTo>
                    <a:pt x="272" y="810"/>
                  </a:lnTo>
                  <a:close/>
                  <a:moveTo>
                    <a:pt x="38" y="819"/>
                  </a:moveTo>
                  <a:lnTo>
                    <a:pt x="50" y="810"/>
                  </a:lnTo>
                  <a:lnTo>
                    <a:pt x="54" y="810"/>
                  </a:lnTo>
                  <a:lnTo>
                    <a:pt x="38" y="819"/>
                  </a:lnTo>
                  <a:lnTo>
                    <a:pt x="38" y="819"/>
                  </a:lnTo>
                  <a:lnTo>
                    <a:pt x="38" y="819"/>
                  </a:lnTo>
                  <a:close/>
                </a:path>
              </a:pathLst>
            </a:custGeom>
            <a:pattFill prst="dk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27" name="Freeform 414">
              <a:extLst>
                <a:ext uri="{FF2B5EF4-FFF2-40B4-BE49-F238E27FC236}">
                  <a16:creationId xmlns:a16="http://schemas.microsoft.com/office/drawing/2014/main" id="{D8F733F9-6E99-4E7D-ABBA-B7695928E082}"/>
                </a:ext>
              </a:extLst>
            </p:cNvPr>
            <p:cNvSpPr>
              <a:spLocks noEditPoints="1"/>
            </p:cNvSpPr>
            <p:nvPr/>
          </p:nvSpPr>
          <p:spPr bwMode="gray">
            <a:xfrm>
              <a:off x="8330659" y="2488319"/>
              <a:ext cx="2121538" cy="1461535"/>
            </a:xfrm>
            <a:custGeom>
              <a:avLst/>
              <a:gdLst>
                <a:gd name="T0" fmla="*/ 361 w 4287"/>
                <a:gd name="T1" fmla="*/ 1833 h 2953"/>
                <a:gd name="T2" fmla="*/ 314 w 4287"/>
                <a:gd name="T3" fmla="*/ 1606 h 2953"/>
                <a:gd name="T4" fmla="*/ 54 w 4287"/>
                <a:gd name="T5" fmla="*/ 1462 h 2953"/>
                <a:gd name="T6" fmla="*/ 7 w 4287"/>
                <a:gd name="T7" fmla="*/ 1273 h 2953"/>
                <a:gd name="T8" fmla="*/ 233 w 4287"/>
                <a:gd name="T9" fmla="*/ 1146 h 2953"/>
                <a:gd name="T10" fmla="*/ 474 w 4287"/>
                <a:gd name="T11" fmla="*/ 869 h 2953"/>
                <a:gd name="T12" fmla="*/ 777 w 4287"/>
                <a:gd name="T13" fmla="*/ 614 h 2953"/>
                <a:gd name="T14" fmla="*/ 999 w 4287"/>
                <a:gd name="T15" fmla="*/ 432 h 2953"/>
                <a:gd name="T16" fmla="*/ 1216 w 4287"/>
                <a:gd name="T17" fmla="*/ 680 h 2953"/>
                <a:gd name="T18" fmla="*/ 1821 w 4287"/>
                <a:gd name="T19" fmla="*/ 1014 h 2953"/>
                <a:gd name="T20" fmla="*/ 2581 w 4287"/>
                <a:gd name="T21" fmla="*/ 985 h 2953"/>
                <a:gd name="T22" fmla="*/ 3030 w 4287"/>
                <a:gd name="T23" fmla="*/ 669 h 2953"/>
                <a:gd name="T24" fmla="*/ 3099 w 4287"/>
                <a:gd name="T25" fmla="*/ 520 h 2953"/>
                <a:gd name="T26" fmla="*/ 3191 w 4287"/>
                <a:gd name="T27" fmla="*/ 298 h 2953"/>
                <a:gd name="T28" fmla="*/ 3569 w 4287"/>
                <a:gd name="T29" fmla="*/ 26 h 2953"/>
                <a:gd name="T30" fmla="*/ 3732 w 4287"/>
                <a:gd name="T31" fmla="*/ 222 h 2953"/>
                <a:gd name="T32" fmla="*/ 3947 w 4287"/>
                <a:gd name="T33" fmla="*/ 425 h 2953"/>
                <a:gd name="T34" fmla="*/ 4287 w 4287"/>
                <a:gd name="T35" fmla="*/ 553 h 2953"/>
                <a:gd name="T36" fmla="*/ 4055 w 4287"/>
                <a:gd name="T37" fmla="*/ 796 h 2953"/>
                <a:gd name="T38" fmla="*/ 3921 w 4287"/>
                <a:gd name="T39" fmla="*/ 1025 h 2953"/>
                <a:gd name="T40" fmla="*/ 3607 w 4287"/>
                <a:gd name="T41" fmla="*/ 1195 h 2953"/>
                <a:gd name="T42" fmla="*/ 3363 w 4287"/>
                <a:gd name="T43" fmla="*/ 1295 h 2953"/>
                <a:gd name="T44" fmla="*/ 3283 w 4287"/>
                <a:gd name="T45" fmla="*/ 1207 h 2953"/>
                <a:gd name="T46" fmla="*/ 3203 w 4287"/>
                <a:gd name="T47" fmla="*/ 1472 h 2953"/>
                <a:gd name="T48" fmla="*/ 3408 w 4287"/>
                <a:gd name="T49" fmla="*/ 1495 h 2953"/>
                <a:gd name="T50" fmla="*/ 3278 w 4287"/>
                <a:gd name="T51" fmla="*/ 1540 h 2953"/>
                <a:gd name="T52" fmla="*/ 3354 w 4287"/>
                <a:gd name="T53" fmla="*/ 1862 h 2953"/>
                <a:gd name="T54" fmla="*/ 3300 w 4287"/>
                <a:gd name="T55" fmla="*/ 1888 h 2953"/>
                <a:gd name="T56" fmla="*/ 3370 w 4287"/>
                <a:gd name="T57" fmla="*/ 2048 h 2953"/>
                <a:gd name="T58" fmla="*/ 3363 w 4287"/>
                <a:gd name="T59" fmla="*/ 2105 h 2953"/>
                <a:gd name="T60" fmla="*/ 3295 w 4287"/>
                <a:gd name="T61" fmla="*/ 2199 h 2953"/>
                <a:gd name="T62" fmla="*/ 3245 w 4287"/>
                <a:gd name="T63" fmla="*/ 2294 h 2953"/>
                <a:gd name="T64" fmla="*/ 3191 w 4287"/>
                <a:gd name="T65" fmla="*/ 2343 h 2953"/>
                <a:gd name="T66" fmla="*/ 3170 w 4287"/>
                <a:gd name="T67" fmla="*/ 2426 h 2953"/>
                <a:gd name="T68" fmla="*/ 3120 w 4287"/>
                <a:gd name="T69" fmla="*/ 2492 h 2953"/>
                <a:gd name="T70" fmla="*/ 2938 w 4287"/>
                <a:gd name="T71" fmla="*/ 2608 h 2953"/>
                <a:gd name="T72" fmla="*/ 2841 w 4287"/>
                <a:gd name="T73" fmla="*/ 2624 h 2953"/>
                <a:gd name="T74" fmla="*/ 2787 w 4287"/>
                <a:gd name="T75" fmla="*/ 2653 h 2953"/>
                <a:gd name="T76" fmla="*/ 2624 w 4287"/>
                <a:gd name="T77" fmla="*/ 2698 h 2953"/>
                <a:gd name="T78" fmla="*/ 2591 w 4287"/>
                <a:gd name="T79" fmla="*/ 2776 h 2953"/>
                <a:gd name="T80" fmla="*/ 2522 w 4287"/>
                <a:gd name="T81" fmla="*/ 2698 h 2953"/>
                <a:gd name="T82" fmla="*/ 2430 w 4287"/>
                <a:gd name="T83" fmla="*/ 2691 h 2953"/>
                <a:gd name="T84" fmla="*/ 2241 w 4287"/>
                <a:gd name="T85" fmla="*/ 2580 h 2953"/>
                <a:gd name="T86" fmla="*/ 1972 w 4287"/>
                <a:gd name="T87" fmla="*/ 2624 h 2953"/>
                <a:gd name="T88" fmla="*/ 1851 w 4287"/>
                <a:gd name="T89" fmla="*/ 2681 h 2953"/>
                <a:gd name="T90" fmla="*/ 1691 w 4287"/>
                <a:gd name="T91" fmla="*/ 2525 h 2953"/>
                <a:gd name="T92" fmla="*/ 1766 w 4287"/>
                <a:gd name="T93" fmla="*/ 2294 h 2953"/>
                <a:gd name="T94" fmla="*/ 1582 w 4287"/>
                <a:gd name="T95" fmla="*/ 2126 h 2953"/>
                <a:gd name="T96" fmla="*/ 1313 w 4287"/>
                <a:gd name="T97" fmla="*/ 2216 h 2953"/>
                <a:gd name="T98" fmla="*/ 1015 w 4287"/>
                <a:gd name="T99" fmla="*/ 2204 h 2953"/>
                <a:gd name="T100" fmla="*/ 810 w 4287"/>
                <a:gd name="T101" fmla="*/ 2150 h 2953"/>
                <a:gd name="T102" fmla="*/ 529 w 4287"/>
                <a:gd name="T103" fmla="*/ 2039 h 2953"/>
                <a:gd name="T104" fmla="*/ 3229 w 4287"/>
                <a:gd name="T105" fmla="*/ 1866 h 2953"/>
                <a:gd name="T106" fmla="*/ 3401 w 4287"/>
                <a:gd name="T107" fmla="*/ 2032 h 2953"/>
                <a:gd name="T108" fmla="*/ 3418 w 4287"/>
                <a:gd name="T109" fmla="*/ 2048 h 2953"/>
                <a:gd name="T110" fmla="*/ 3337 w 4287"/>
                <a:gd name="T111" fmla="*/ 2192 h 2953"/>
                <a:gd name="T112" fmla="*/ 3115 w 4287"/>
                <a:gd name="T113" fmla="*/ 2476 h 2953"/>
                <a:gd name="T114" fmla="*/ 2851 w 4287"/>
                <a:gd name="T115" fmla="*/ 2641 h 2953"/>
                <a:gd name="T116" fmla="*/ 2683 w 4287"/>
                <a:gd name="T117" fmla="*/ 2691 h 2953"/>
                <a:gd name="T118" fmla="*/ 2570 w 4287"/>
                <a:gd name="T119" fmla="*/ 2731 h 2953"/>
                <a:gd name="T120" fmla="*/ 2560 w 4287"/>
                <a:gd name="T121" fmla="*/ 2809 h 2953"/>
                <a:gd name="T122" fmla="*/ 2527 w 4287"/>
                <a:gd name="T123" fmla="*/ 2941 h 2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87" h="2953">
                  <a:moveTo>
                    <a:pt x="524" y="2032"/>
                  </a:moveTo>
                  <a:lnTo>
                    <a:pt x="491" y="2010"/>
                  </a:lnTo>
                  <a:lnTo>
                    <a:pt x="460" y="1999"/>
                  </a:lnTo>
                  <a:lnTo>
                    <a:pt x="470" y="1982"/>
                  </a:lnTo>
                  <a:lnTo>
                    <a:pt x="437" y="1973"/>
                  </a:lnTo>
                  <a:lnTo>
                    <a:pt x="415" y="1973"/>
                  </a:lnTo>
                  <a:lnTo>
                    <a:pt x="385" y="1928"/>
                  </a:lnTo>
                  <a:lnTo>
                    <a:pt x="368" y="1944"/>
                  </a:lnTo>
                  <a:lnTo>
                    <a:pt x="361" y="1937"/>
                  </a:lnTo>
                  <a:lnTo>
                    <a:pt x="361" y="1921"/>
                  </a:lnTo>
                  <a:lnTo>
                    <a:pt x="368" y="1916"/>
                  </a:lnTo>
                  <a:lnTo>
                    <a:pt x="352" y="1904"/>
                  </a:lnTo>
                  <a:lnTo>
                    <a:pt x="361" y="1888"/>
                  </a:lnTo>
                  <a:lnTo>
                    <a:pt x="340" y="1866"/>
                  </a:lnTo>
                  <a:lnTo>
                    <a:pt x="340" y="1845"/>
                  </a:lnTo>
                  <a:lnTo>
                    <a:pt x="361" y="1833"/>
                  </a:lnTo>
                  <a:lnTo>
                    <a:pt x="361" y="1850"/>
                  </a:lnTo>
                  <a:lnTo>
                    <a:pt x="378" y="1862"/>
                  </a:lnTo>
                  <a:lnTo>
                    <a:pt x="394" y="1850"/>
                  </a:lnTo>
                  <a:lnTo>
                    <a:pt x="399" y="1850"/>
                  </a:lnTo>
                  <a:lnTo>
                    <a:pt x="415" y="1828"/>
                  </a:lnTo>
                  <a:lnTo>
                    <a:pt x="399" y="1812"/>
                  </a:lnTo>
                  <a:lnTo>
                    <a:pt x="406" y="1795"/>
                  </a:lnTo>
                  <a:lnTo>
                    <a:pt x="378" y="1776"/>
                  </a:lnTo>
                  <a:lnTo>
                    <a:pt x="361" y="1760"/>
                  </a:lnTo>
                  <a:lnTo>
                    <a:pt x="361" y="1717"/>
                  </a:lnTo>
                  <a:lnTo>
                    <a:pt x="378" y="1706"/>
                  </a:lnTo>
                  <a:lnTo>
                    <a:pt x="378" y="1701"/>
                  </a:lnTo>
                  <a:lnTo>
                    <a:pt x="352" y="1684"/>
                  </a:lnTo>
                  <a:lnTo>
                    <a:pt x="330" y="1677"/>
                  </a:lnTo>
                  <a:lnTo>
                    <a:pt x="309" y="1623"/>
                  </a:lnTo>
                  <a:lnTo>
                    <a:pt x="314" y="1606"/>
                  </a:lnTo>
                  <a:lnTo>
                    <a:pt x="297" y="1606"/>
                  </a:lnTo>
                  <a:lnTo>
                    <a:pt x="271" y="1606"/>
                  </a:lnTo>
                  <a:lnTo>
                    <a:pt x="233" y="1595"/>
                  </a:lnTo>
                  <a:lnTo>
                    <a:pt x="205" y="1583"/>
                  </a:lnTo>
                  <a:lnTo>
                    <a:pt x="205" y="1573"/>
                  </a:lnTo>
                  <a:lnTo>
                    <a:pt x="184" y="1583"/>
                  </a:lnTo>
                  <a:lnTo>
                    <a:pt x="179" y="1566"/>
                  </a:lnTo>
                  <a:lnTo>
                    <a:pt x="163" y="1557"/>
                  </a:lnTo>
                  <a:lnTo>
                    <a:pt x="167" y="1540"/>
                  </a:lnTo>
                  <a:lnTo>
                    <a:pt x="163" y="1512"/>
                  </a:lnTo>
                  <a:lnTo>
                    <a:pt x="146" y="1500"/>
                  </a:lnTo>
                  <a:lnTo>
                    <a:pt x="129" y="1500"/>
                  </a:lnTo>
                  <a:lnTo>
                    <a:pt x="125" y="1484"/>
                  </a:lnTo>
                  <a:lnTo>
                    <a:pt x="108" y="1479"/>
                  </a:lnTo>
                  <a:lnTo>
                    <a:pt x="70" y="1479"/>
                  </a:lnTo>
                  <a:lnTo>
                    <a:pt x="54" y="1462"/>
                  </a:lnTo>
                  <a:lnTo>
                    <a:pt x="82" y="1455"/>
                  </a:lnTo>
                  <a:lnTo>
                    <a:pt x="82" y="1462"/>
                  </a:lnTo>
                  <a:lnTo>
                    <a:pt x="92" y="1462"/>
                  </a:lnTo>
                  <a:lnTo>
                    <a:pt x="113" y="1446"/>
                  </a:lnTo>
                  <a:lnTo>
                    <a:pt x="92" y="1422"/>
                  </a:lnTo>
                  <a:lnTo>
                    <a:pt x="96" y="1417"/>
                  </a:lnTo>
                  <a:lnTo>
                    <a:pt x="82" y="1389"/>
                  </a:lnTo>
                  <a:lnTo>
                    <a:pt x="92" y="1363"/>
                  </a:lnTo>
                  <a:lnTo>
                    <a:pt x="54" y="1347"/>
                  </a:lnTo>
                  <a:lnTo>
                    <a:pt x="37" y="1347"/>
                  </a:lnTo>
                  <a:lnTo>
                    <a:pt x="28" y="1351"/>
                  </a:lnTo>
                  <a:lnTo>
                    <a:pt x="16" y="1347"/>
                  </a:lnTo>
                  <a:lnTo>
                    <a:pt x="7" y="1318"/>
                  </a:lnTo>
                  <a:lnTo>
                    <a:pt x="16" y="1311"/>
                  </a:lnTo>
                  <a:lnTo>
                    <a:pt x="0" y="1295"/>
                  </a:lnTo>
                  <a:lnTo>
                    <a:pt x="7" y="1273"/>
                  </a:lnTo>
                  <a:lnTo>
                    <a:pt x="16" y="1273"/>
                  </a:lnTo>
                  <a:lnTo>
                    <a:pt x="21" y="1262"/>
                  </a:lnTo>
                  <a:lnTo>
                    <a:pt x="16" y="1252"/>
                  </a:lnTo>
                  <a:lnTo>
                    <a:pt x="28" y="1224"/>
                  </a:lnTo>
                  <a:lnTo>
                    <a:pt x="54" y="1219"/>
                  </a:lnTo>
                  <a:lnTo>
                    <a:pt x="75" y="1202"/>
                  </a:lnTo>
                  <a:lnTo>
                    <a:pt x="92" y="1202"/>
                  </a:lnTo>
                  <a:lnTo>
                    <a:pt x="82" y="1186"/>
                  </a:lnTo>
                  <a:lnTo>
                    <a:pt x="113" y="1195"/>
                  </a:lnTo>
                  <a:lnTo>
                    <a:pt x="134" y="1179"/>
                  </a:lnTo>
                  <a:lnTo>
                    <a:pt x="146" y="1202"/>
                  </a:lnTo>
                  <a:lnTo>
                    <a:pt x="179" y="1195"/>
                  </a:lnTo>
                  <a:lnTo>
                    <a:pt x="189" y="1202"/>
                  </a:lnTo>
                  <a:lnTo>
                    <a:pt x="217" y="1179"/>
                  </a:lnTo>
                  <a:lnTo>
                    <a:pt x="217" y="1162"/>
                  </a:lnTo>
                  <a:lnTo>
                    <a:pt x="233" y="1146"/>
                  </a:lnTo>
                  <a:lnTo>
                    <a:pt x="314" y="1141"/>
                  </a:lnTo>
                  <a:lnTo>
                    <a:pt x="330" y="1125"/>
                  </a:lnTo>
                  <a:lnTo>
                    <a:pt x="340" y="1108"/>
                  </a:lnTo>
                  <a:lnTo>
                    <a:pt x="399" y="1075"/>
                  </a:lnTo>
                  <a:lnTo>
                    <a:pt x="432" y="1068"/>
                  </a:lnTo>
                  <a:lnTo>
                    <a:pt x="437" y="1058"/>
                  </a:lnTo>
                  <a:lnTo>
                    <a:pt x="460" y="1051"/>
                  </a:lnTo>
                  <a:lnTo>
                    <a:pt x="460" y="1042"/>
                  </a:lnTo>
                  <a:lnTo>
                    <a:pt x="470" y="1035"/>
                  </a:lnTo>
                  <a:lnTo>
                    <a:pt x="460" y="1002"/>
                  </a:lnTo>
                  <a:lnTo>
                    <a:pt x="470" y="985"/>
                  </a:lnTo>
                  <a:lnTo>
                    <a:pt x="491" y="980"/>
                  </a:lnTo>
                  <a:lnTo>
                    <a:pt x="474" y="969"/>
                  </a:lnTo>
                  <a:lnTo>
                    <a:pt x="507" y="957"/>
                  </a:lnTo>
                  <a:lnTo>
                    <a:pt x="503" y="931"/>
                  </a:lnTo>
                  <a:lnTo>
                    <a:pt x="474" y="869"/>
                  </a:lnTo>
                  <a:lnTo>
                    <a:pt x="474" y="829"/>
                  </a:lnTo>
                  <a:lnTo>
                    <a:pt x="486" y="820"/>
                  </a:lnTo>
                  <a:lnTo>
                    <a:pt x="470" y="813"/>
                  </a:lnTo>
                  <a:lnTo>
                    <a:pt x="448" y="813"/>
                  </a:lnTo>
                  <a:lnTo>
                    <a:pt x="437" y="803"/>
                  </a:lnTo>
                  <a:lnTo>
                    <a:pt x="453" y="791"/>
                  </a:lnTo>
                  <a:lnTo>
                    <a:pt x="566" y="763"/>
                  </a:lnTo>
                  <a:lnTo>
                    <a:pt x="583" y="780"/>
                  </a:lnTo>
                  <a:lnTo>
                    <a:pt x="611" y="775"/>
                  </a:lnTo>
                  <a:lnTo>
                    <a:pt x="633" y="780"/>
                  </a:lnTo>
                  <a:lnTo>
                    <a:pt x="633" y="758"/>
                  </a:lnTo>
                  <a:lnTo>
                    <a:pt x="611" y="742"/>
                  </a:lnTo>
                  <a:lnTo>
                    <a:pt x="663" y="614"/>
                  </a:lnTo>
                  <a:lnTo>
                    <a:pt x="663" y="593"/>
                  </a:lnTo>
                  <a:lnTo>
                    <a:pt x="725" y="614"/>
                  </a:lnTo>
                  <a:lnTo>
                    <a:pt x="777" y="614"/>
                  </a:lnTo>
                  <a:lnTo>
                    <a:pt x="784" y="626"/>
                  </a:lnTo>
                  <a:lnTo>
                    <a:pt x="784" y="631"/>
                  </a:lnTo>
                  <a:lnTo>
                    <a:pt x="815" y="610"/>
                  </a:lnTo>
                  <a:lnTo>
                    <a:pt x="838" y="610"/>
                  </a:lnTo>
                  <a:lnTo>
                    <a:pt x="848" y="593"/>
                  </a:lnTo>
                  <a:lnTo>
                    <a:pt x="848" y="581"/>
                  </a:lnTo>
                  <a:lnTo>
                    <a:pt x="838" y="569"/>
                  </a:lnTo>
                  <a:lnTo>
                    <a:pt x="838" y="527"/>
                  </a:lnTo>
                  <a:lnTo>
                    <a:pt x="852" y="487"/>
                  </a:lnTo>
                  <a:lnTo>
                    <a:pt x="907" y="470"/>
                  </a:lnTo>
                  <a:lnTo>
                    <a:pt x="923" y="458"/>
                  </a:lnTo>
                  <a:lnTo>
                    <a:pt x="918" y="432"/>
                  </a:lnTo>
                  <a:lnTo>
                    <a:pt x="935" y="416"/>
                  </a:lnTo>
                  <a:lnTo>
                    <a:pt x="961" y="425"/>
                  </a:lnTo>
                  <a:lnTo>
                    <a:pt x="999" y="416"/>
                  </a:lnTo>
                  <a:lnTo>
                    <a:pt x="999" y="432"/>
                  </a:lnTo>
                  <a:lnTo>
                    <a:pt x="994" y="442"/>
                  </a:lnTo>
                  <a:lnTo>
                    <a:pt x="1015" y="458"/>
                  </a:lnTo>
                  <a:lnTo>
                    <a:pt x="1011" y="470"/>
                  </a:lnTo>
                  <a:lnTo>
                    <a:pt x="1048" y="487"/>
                  </a:lnTo>
                  <a:lnTo>
                    <a:pt x="1053" y="503"/>
                  </a:lnTo>
                  <a:lnTo>
                    <a:pt x="1086" y="520"/>
                  </a:lnTo>
                  <a:lnTo>
                    <a:pt x="1117" y="520"/>
                  </a:lnTo>
                  <a:lnTo>
                    <a:pt x="1133" y="536"/>
                  </a:lnTo>
                  <a:lnTo>
                    <a:pt x="1155" y="536"/>
                  </a:lnTo>
                  <a:lnTo>
                    <a:pt x="1155" y="543"/>
                  </a:lnTo>
                  <a:lnTo>
                    <a:pt x="1178" y="569"/>
                  </a:lnTo>
                  <a:lnTo>
                    <a:pt x="1188" y="581"/>
                  </a:lnTo>
                  <a:lnTo>
                    <a:pt x="1204" y="610"/>
                  </a:lnTo>
                  <a:lnTo>
                    <a:pt x="1216" y="626"/>
                  </a:lnTo>
                  <a:lnTo>
                    <a:pt x="1226" y="652"/>
                  </a:lnTo>
                  <a:lnTo>
                    <a:pt x="1216" y="680"/>
                  </a:lnTo>
                  <a:lnTo>
                    <a:pt x="1226" y="704"/>
                  </a:lnTo>
                  <a:lnTo>
                    <a:pt x="1204" y="725"/>
                  </a:lnTo>
                  <a:lnTo>
                    <a:pt x="1192" y="747"/>
                  </a:lnTo>
                  <a:lnTo>
                    <a:pt x="1209" y="775"/>
                  </a:lnTo>
                  <a:lnTo>
                    <a:pt x="1259" y="791"/>
                  </a:lnTo>
                  <a:lnTo>
                    <a:pt x="1405" y="796"/>
                  </a:lnTo>
                  <a:lnTo>
                    <a:pt x="1481" y="853"/>
                  </a:lnTo>
                  <a:lnTo>
                    <a:pt x="1502" y="858"/>
                  </a:lnTo>
                  <a:lnTo>
                    <a:pt x="1528" y="858"/>
                  </a:lnTo>
                  <a:lnTo>
                    <a:pt x="1528" y="886"/>
                  </a:lnTo>
                  <a:lnTo>
                    <a:pt x="1540" y="886"/>
                  </a:lnTo>
                  <a:lnTo>
                    <a:pt x="1566" y="947"/>
                  </a:lnTo>
                  <a:lnTo>
                    <a:pt x="1594" y="980"/>
                  </a:lnTo>
                  <a:lnTo>
                    <a:pt x="1594" y="997"/>
                  </a:lnTo>
                  <a:lnTo>
                    <a:pt x="1646" y="985"/>
                  </a:lnTo>
                  <a:lnTo>
                    <a:pt x="1821" y="1014"/>
                  </a:lnTo>
                  <a:lnTo>
                    <a:pt x="1873" y="997"/>
                  </a:lnTo>
                  <a:lnTo>
                    <a:pt x="1911" y="997"/>
                  </a:lnTo>
                  <a:lnTo>
                    <a:pt x="1981" y="1014"/>
                  </a:lnTo>
                  <a:lnTo>
                    <a:pt x="1998" y="1035"/>
                  </a:lnTo>
                  <a:lnTo>
                    <a:pt x="2040" y="1042"/>
                  </a:lnTo>
                  <a:lnTo>
                    <a:pt x="2090" y="1068"/>
                  </a:lnTo>
                  <a:lnTo>
                    <a:pt x="2123" y="1075"/>
                  </a:lnTo>
                  <a:lnTo>
                    <a:pt x="2166" y="1068"/>
                  </a:lnTo>
                  <a:lnTo>
                    <a:pt x="2166" y="1084"/>
                  </a:lnTo>
                  <a:lnTo>
                    <a:pt x="2199" y="1091"/>
                  </a:lnTo>
                  <a:lnTo>
                    <a:pt x="2203" y="1091"/>
                  </a:lnTo>
                  <a:lnTo>
                    <a:pt x="2220" y="1084"/>
                  </a:lnTo>
                  <a:lnTo>
                    <a:pt x="2258" y="1058"/>
                  </a:lnTo>
                  <a:lnTo>
                    <a:pt x="2376" y="1018"/>
                  </a:lnTo>
                  <a:lnTo>
                    <a:pt x="2506" y="1018"/>
                  </a:lnTo>
                  <a:lnTo>
                    <a:pt x="2581" y="985"/>
                  </a:lnTo>
                  <a:lnTo>
                    <a:pt x="2624" y="940"/>
                  </a:lnTo>
                  <a:lnTo>
                    <a:pt x="2690" y="907"/>
                  </a:lnTo>
                  <a:lnTo>
                    <a:pt x="2683" y="886"/>
                  </a:lnTo>
                  <a:lnTo>
                    <a:pt x="2652" y="853"/>
                  </a:lnTo>
                  <a:lnTo>
                    <a:pt x="2678" y="796"/>
                  </a:lnTo>
                  <a:lnTo>
                    <a:pt x="2700" y="780"/>
                  </a:lnTo>
                  <a:lnTo>
                    <a:pt x="2721" y="791"/>
                  </a:lnTo>
                  <a:lnTo>
                    <a:pt x="2754" y="803"/>
                  </a:lnTo>
                  <a:lnTo>
                    <a:pt x="2808" y="813"/>
                  </a:lnTo>
                  <a:lnTo>
                    <a:pt x="2867" y="775"/>
                  </a:lnTo>
                  <a:lnTo>
                    <a:pt x="2867" y="758"/>
                  </a:lnTo>
                  <a:lnTo>
                    <a:pt x="2938" y="758"/>
                  </a:lnTo>
                  <a:lnTo>
                    <a:pt x="2985" y="737"/>
                  </a:lnTo>
                  <a:lnTo>
                    <a:pt x="3002" y="692"/>
                  </a:lnTo>
                  <a:lnTo>
                    <a:pt x="3023" y="680"/>
                  </a:lnTo>
                  <a:lnTo>
                    <a:pt x="3030" y="669"/>
                  </a:lnTo>
                  <a:lnTo>
                    <a:pt x="3068" y="669"/>
                  </a:lnTo>
                  <a:lnTo>
                    <a:pt x="3068" y="652"/>
                  </a:lnTo>
                  <a:lnTo>
                    <a:pt x="3099" y="652"/>
                  </a:lnTo>
                  <a:lnTo>
                    <a:pt x="3137" y="636"/>
                  </a:lnTo>
                  <a:lnTo>
                    <a:pt x="3170" y="647"/>
                  </a:lnTo>
                  <a:lnTo>
                    <a:pt x="3174" y="636"/>
                  </a:lnTo>
                  <a:lnTo>
                    <a:pt x="3207" y="647"/>
                  </a:lnTo>
                  <a:lnTo>
                    <a:pt x="3229" y="652"/>
                  </a:lnTo>
                  <a:lnTo>
                    <a:pt x="3245" y="636"/>
                  </a:lnTo>
                  <a:lnTo>
                    <a:pt x="3245" y="626"/>
                  </a:lnTo>
                  <a:lnTo>
                    <a:pt x="3229" y="598"/>
                  </a:lnTo>
                  <a:lnTo>
                    <a:pt x="3191" y="569"/>
                  </a:lnTo>
                  <a:lnTo>
                    <a:pt x="3191" y="553"/>
                  </a:lnTo>
                  <a:lnTo>
                    <a:pt x="3170" y="543"/>
                  </a:lnTo>
                  <a:lnTo>
                    <a:pt x="3153" y="520"/>
                  </a:lnTo>
                  <a:lnTo>
                    <a:pt x="3099" y="520"/>
                  </a:lnTo>
                  <a:lnTo>
                    <a:pt x="3068" y="553"/>
                  </a:lnTo>
                  <a:lnTo>
                    <a:pt x="3040" y="536"/>
                  </a:lnTo>
                  <a:lnTo>
                    <a:pt x="2992" y="536"/>
                  </a:lnTo>
                  <a:lnTo>
                    <a:pt x="2969" y="553"/>
                  </a:lnTo>
                  <a:lnTo>
                    <a:pt x="2948" y="527"/>
                  </a:lnTo>
                  <a:lnTo>
                    <a:pt x="2938" y="515"/>
                  </a:lnTo>
                  <a:lnTo>
                    <a:pt x="2959" y="499"/>
                  </a:lnTo>
                  <a:lnTo>
                    <a:pt x="2959" y="470"/>
                  </a:lnTo>
                  <a:lnTo>
                    <a:pt x="2976" y="449"/>
                  </a:lnTo>
                  <a:lnTo>
                    <a:pt x="3023" y="354"/>
                  </a:lnTo>
                  <a:lnTo>
                    <a:pt x="3111" y="388"/>
                  </a:lnTo>
                  <a:lnTo>
                    <a:pt x="3153" y="347"/>
                  </a:lnTo>
                  <a:lnTo>
                    <a:pt x="3191" y="338"/>
                  </a:lnTo>
                  <a:lnTo>
                    <a:pt x="3207" y="331"/>
                  </a:lnTo>
                  <a:lnTo>
                    <a:pt x="3207" y="305"/>
                  </a:lnTo>
                  <a:lnTo>
                    <a:pt x="3191" y="298"/>
                  </a:lnTo>
                  <a:lnTo>
                    <a:pt x="3219" y="265"/>
                  </a:lnTo>
                  <a:lnTo>
                    <a:pt x="3224" y="248"/>
                  </a:lnTo>
                  <a:lnTo>
                    <a:pt x="3240" y="239"/>
                  </a:lnTo>
                  <a:lnTo>
                    <a:pt x="3262" y="182"/>
                  </a:lnTo>
                  <a:lnTo>
                    <a:pt x="3300" y="154"/>
                  </a:lnTo>
                  <a:lnTo>
                    <a:pt x="3309" y="132"/>
                  </a:lnTo>
                  <a:lnTo>
                    <a:pt x="3300" y="116"/>
                  </a:lnTo>
                  <a:lnTo>
                    <a:pt x="3300" y="95"/>
                  </a:lnTo>
                  <a:lnTo>
                    <a:pt x="3283" y="83"/>
                  </a:lnTo>
                  <a:lnTo>
                    <a:pt x="3262" y="95"/>
                  </a:lnTo>
                  <a:lnTo>
                    <a:pt x="3257" y="71"/>
                  </a:lnTo>
                  <a:lnTo>
                    <a:pt x="3309" y="21"/>
                  </a:lnTo>
                  <a:lnTo>
                    <a:pt x="3510" y="0"/>
                  </a:lnTo>
                  <a:lnTo>
                    <a:pt x="3543" y="17"/>
                  </a:lnTo>
                  <a:lnTo>
                    <a:pt x="3552" y="17"/>
                  </a:lnTo>
                  <a:lnTo>
                    <a:pt x="3569" y="26"/>
                  </a:lnTo>
                  <a:lnTo>
                    <a:pt x="3597" y="38"/>
                  </a:lnTo>
                  <a:lnTo>
                    <a:pt x="3618" y="26"/>
                  </a:lnTo>
                  <a:lnTo>
                    <a:pt x="3649" y="43"/>
                  </a:lnTo>
                  <a:lnTo>
                    <a:pt x="3656" y="54"/>
                  </a:lnTo>
                  <a:lnTo>
                    <a:pt x="3649" y="62"/>
                  </a:lnTo>
                  <a:lnTo>
                    <a:pt x="3677" y="78"/>
                  </a:lnTo>
                  <a:lnTo>
                    <a:pt x="3673" y="95"/>
                  </a:lnTo>
                  <a:lnTo>
                    <a:pt x="3687" y="95"/>
                  </a:lnTo>
                  <a:lnTo>
                    <a:pt x="3703" y="111"/>
                  </a:lnTo>
                  <a:lnTo>
                    <a:pt x="3694" y="132"/>
                  </a:lnTo>
                  <a:lnTo>
                    <a:pt x="3715" y="132"/>
                  </a:lnTo>
                  <a:lnTo>
                    <a:pt x="3703" y="149"/>
                  </a:lnTo>
                  <a:lnTo>
                    <a:pt x="3725" y="170"/>
                  </a:lnTo>
                  <a:lnTo>
                    <a:pt x="3732" y="203"/>
                  </a:lnTo>
                  <a:lnTo>
                    <a:pt x="3741" y="203"/>
                  </a:lnTo>
                  <a:lnTo>
                    <a:pt x="3732" y="222"/>
                  </a:lnTo>
                  <a:lnTo>
                    <a:pt x="3741" y="210"/>
                  </a:lnTo>
                  <a:lnTo>
                    <a:pt x="3741" y="239"/>
                  </a:lnTo>
                  <a:lnTo>
                    <a:pt x="3762" y="265"/>
                  </a:lnTo>
                  <a:lnTo>
                    <a:pt x="3770" y="281"/>
                  </a:lnTo>
                  <a:lnTo>
                    <a:pt x="3762" y="293"/>
                  </a:lnTo>
                  <a:lnTo>
                    <a:pt x="3770" y="305"/>
                  </a:lnTo>
                  <a:lnTo>
                    <a:pt x="3786" y="314"/>
                  </a:lnTo>
                  <a:lnTo>
                    <a:pt x="3779" y="331"/>
                  </a:lnTo>
                  <a:lnTo>
                    <a:pt x="3779" y="354"/>
                  </a:lnTo>
                  <a:lnTo>
                    <a:pt x="3800" y="376"/>
                  </a:lnTo>
                  <a:lnTo>
                    <a:pt x="3871" y="376"/>
                  </a:lnTo>
                  <a:lnTo>
                    <a:pt x="3892" y="404"/>
                  </a:lnTo>
                  <a:lnTo>
                    <a:pt x="3921" y="392"/>
                  </a:lnTo>
                  <a:lnTo>
                    <a:pt x="3925" y="404"/>
                  </a:lnTo>
                  <a:lnTo>
                    <a:pt x="3930" y="409"/>
                  </a:lnTo>
                  <a:lnTo>
                    <a:pt x="3947" y="425"/>
                  </a:lnTo>
                  <a:lnTo>
                    <a:pt x="3975" y="442"/>
                  </a:lnTo>
                  <a:lnTo>
                    <a:pt x="4001" y="442"/>
                  </a:lnTo>
                  <a:lnTo>
                    <a:pt x="3996" y="465"/>
                  </a:lnTo>
                  <a:lnTo>
                    <a:pt x="4013" y="499"/>
                  </a:lnTo>
                  <a:lnTo>
                    <a:pt x="4001" y="515"/>
                  </a:lnTo>
                  <a:lnTo>
                    <a:pt x="4018" y="527"/>
                  </a:lnTo>
                  <a:lnTo>
                    <a:pt x="4027" y="553"/>
                  </a:lnTo>
                  <a:lnTo>
                    <a:pt x="4136" y="553"/>
                  </a:lnTo>
                  <a:lnTo>
                    <a:pt x="4140" y="536"/>
                  </a:lnTo>
                  <a:lnTo>
                    <a:pt x="4174" y="515"/>
                  </a:lnTo>
                  <a:lnTo>
                    <a:pt x="4202" y="520"/>
                  </a:lnTo>
                  <a:lnTo>
                    <a:pt x="4216" y="499"/>
                  </a:lnTo>
                  <a:lnTo>
                    <a:pt x="4266" y="487"/>
                  </a:lnTo>
                  <a:lnTo>
                    <a:pt x="4287" y="499"/>
                  </a:lnTo>
                  <a:lnTo>
                    <a:pt x="4270" y="520"/>
                  </a:lnTo>
                  <a:lnTo>
                    <a:pt x="4287" y="553"/>
                  </a:lnTo>
                  <a:lnTo>
                    <a:pt x="4270" y="569"/>
                  </a:lnTo>
                  <a:lnTo>
                    <a:pt x="4249" y="581"/>
                  </a:lnTo>
                  <a:lnTo>
                    <a:pt x="4249" y="610"/>
                  </a:lnTo>
                  <a:lnTo>
                    <a:pt x="4244" y="610"/>
                  </a:lnTo>
                  <a:lnTo>
                    <a:pt x="4233" y="647"/>
                  </a:lnTo>
                  <a:lnTo>
                    <a:pt x="4228" y="664"/>
                  </a:lnTo>
                  <a:lnTo>
                    <a:pt x="4233" y="669"/>
                  </a:lnTo>
                  <a:lnTo>
                    <a:pt x="4228" y="680"/>
                  </a:lnTo>
                  <a:lnTo>
                    <a:pt x="4195" y="721"/>
                  </a:lnTo>
                  <a:lnTo>
                    <a:pt x="4195" y="742"/>
                  </a:lnTo>
                  <a:lnTo>
                    <a:pt x="4174" y="758"/>
                  </a:lnTo>
                  <a:lnTo>
                    <a:pt x="4174" y="780"/>
                  </a:lnTo>
                  <a:lnTo>
                    <a:pt x="4157" y="791"/>
                  </a:lnTo>
                  <a:lnTo>
                    <a:pt x="4093" y="775"/>
                  </a:lnTo>
                  <a:lnTo>
                    <a:pt x="4088" y="763"/>
                  </a:lnTo>
                  <a:lnTo>
                    <a:pt x="4055" y="796"/>
                  </a:lnTo>
                  <a:lnTo>
                    <a:pt x="4018" y="803"/>
                  </a:lnTo>
                  <a:lnTo>
                    <a:pt x="4034" y="820"/>
                  </a:lnTo>
                  <a:lnTo>
                    <a:pt x="4051" y="874"/>
                  </a:lnTo>
                  <a:lnTo>
                    <a:pt x="4039" y="924"/>
                  </a:lnTo>
                  <a:lnTo>
                    <a:pt x="4051" y="940"/>
                  </a:lnTo>
                  <a:lnTo>
                    <a:pt x="4034" y="964"/>
                  </a:lnTo>
                  <a:lnTo>
                    <a:pt x="4034" y="980"/>
                  </a:lnTo>
                  <a:lnTo>
                    <a:pt x="3985" y="997"/>
                  </a:lnTo>
                  <a:lnTo>
                    <a:pt x="3996" y="1002"/>
                  </a:lnTo>
                  <a:lnTo>
                    <a:pt x="3996" y="1018"/>
                  </a:lnTo>
                  <a:lnTo>
                    <a:pt x="3996" y="1014"/>
                  </a:lnTo>
                  <a:lnTo>
                    <a:pt x="3975" y="997"/>
                  </a:lnTo>
                  <a:lnTo>
                    <a:pt x="3975" y="980"/>
                  </a:lnTo>
                  <a:lnTo>
                    <a:pt x="3947" y="969"/>
                  </a:lnTo>
                  <a:lnTo>
                    <a:pt x="3930" y="1018"/>
                  </a:lnTo>
                  <a:lnTo>
                    <a:pt x="3921" y="1025"/>
                  </a:lnTo>
                  <a:lnTo>
                    <a:pt x="3909" y="1018"/>
                  </a:lnTo>
                  <a:lnTo>
                    <a:pt x="3904" y="1035"/>
                  </a:lnTo>
                  <a:lnTo>
                    <a:pt x="3876" y="1058"/>
                  </a:lnTo>
                  <a:lnTo>
                    <a:pt x="3817" y="1058"/>
                  </a:lnTo>
                  <a:lnTo>
                    <a:pt x="3824" y="1075"/>
                  </a:lnTo>
                  <a:lnTo>
                    <a:pt x="3833" y="1091"/>
                  </a:lnTo>
                  <a:lnTo>
                    <a:pt x="3824" y="1113"/>
                  </a:lnTo>
                  <a:lnTo>
                    <a:pt x="3762" y="1108"/>
                  </a:lnTo>
                  <a:lnTo>
                    <a:pt x="3741" y="1075"/>
                  </a:lnTo>
                  <a:lnTo>
                    <a:pt x="3715" y="1091"/>
                  </a:lnTo>
                  <a:lnTo>
                    <a:pt x="3711" y="1113"/>
                  </a:lnTo>
                  <a:lnTo>
                    <a:pt x="3677" y="1151"/>
                  </a:lnTo>
                  <a:lnTo>
                    <a:pt x="3656" y="1151"/>
                  </a:lnTo>
                  <a:lnTo>
                    <a:pt x="3635" y="1169"/>
                  </a:lnTo>
                  <a:lnTo>
                    <a:pt x="3607" y="1186"/>
                  </a:lnTo>
                  <a:lnTo>
                    <a:pt x="3607" y="1195"/>
                  </a:lnTo>
                  <a:lnTo>
                    <a:pt x="3597" y="1186"/>
                  </a:lnTo>
                  <a:lnTo>
                    <a:pt x="3564" y="1219"/>
                  </a:lnTo>
                  <a:lnTo>
                    <a:pt x="3552" y="1236"/>
                  </a:lnTo>
                  <a:lnTo>
                    <a:pt x="3543" y="1240"/>
                  </a:lnTo>
                  <a:lnTo>
                    <a:pt x="3514" y="1240"/>
                  </a:lnTo>
                  <a:lnTo>
                    <a:pt x="3493" y="1252"/>
                  </a:lnTo>
                  <a:lnTo>
                    <a:pt x="3477" y="1240"/>
                  </a:lnTo>
                  <a:lnTo>
                    <a:pt x="3488" y="1257"/>
                  </a:lnTo>
                  <a:lnTo>
                    <a:pt x="3422" y="1278"/>
                  </a:lnTo>
                  <a:lnTo>
                    <a:pt x="3392" y="1311"/>
                  </a:lnTo>
                  <a:lnTo>
                    <a:pt x="3370" y="1311"/>
                  </a:lnTo>
                  <a:lnTo>
                    <a:pt x="3370" y="1330"/>
                  </a:lnTo>
                  <a:lnTo>
                    <a:pt x="3333" y="1335"/>
                  </a:lnTo>
                  <a:lnTo>
                    <a:pt x="3333" y="1318"/>
                  </a:lnTo>
                  <a:lnTo>
                    <a:pt x="3370" y="1306"/>
                  </a:lnTo>
                  <a:lnTo>
                    <a:pt x="3363" y="1295"/>
                  </a:lnTo>
                  <a:lnTo>
                    <a:pt x="3380" y="1278"/>
                  </a:lnTo>
                  <a:lnTo>
                    <a:pt x="3363" y="1278"/>
                  </a:lnTo>
                  <a:lnTo>
                    <a:pt x="3354" y="1273"/>
                  </a:lnTo>
                  <a:lnTo>
                    <a:pt x="3337" y="1262"/>
                  </a:lnTo>
                  <a:lnTo>
                    <a:pt x="3363" y="1257"/>
                  </a:lnTo>
                  <a:lnTo>
                    <a:pt x="3354" y="1240"/>
                  </a:lnTo>
                  <a:lnTo>
                    <a:pt x="3385" y="1236"/>
                  </a:lnTo>
                  <a:lnTo>
                    <a:pt x="3418" y="1186"/>
                  </a:lnTo>
                  <a:lnTo>
                    <a:pt x="3401" y="1162"/>
                  </a:lnTo>
                  <a:lnTo>
                    <a:pt x="3337" y="1151"/>
                  </a:lnTo>
                  <a:lnTo>
                    <a:pt x="3325" y="1162"/>
                  </a:lnTo>
                  <a:lnTo>
                    <a:pt x="3316" y="1162"/>
                  </a:lnTo>
                  <a:lnTo>
                    <a:pt x="3325" y="1169"/>
                  </a:lnTo>
                  <a:lnTo>
                    <a:pt x="3309" y="1169"/>
                  </a:lnTo>
                  <a:lnTo>
                    <a:pt x="3295" y="1195"/>
                  </a:lnTo>
                  <a:lnTo>
                    <a:pt x="3283" y="1207"/>
                  </a:lnTo>
                  <a:lnTo>
                    <a:pt x="3224" y="1240"/>
                  </a:lnTo>
                  <a:lnTo>
                    <a:pt x="3207" y="1252"/>
                  </a:lnTo>
                  <a:lnTo>
                    <a:pt x="3203" y="1278"/>
                  </a:lnTo>
                  <a:lnTo>
                    <a:pt x="3174" y="1306"/>
                  </a:lnTo>
                  <a:lnTo>
                    <a:pt x="3186" y="1295"/>
                  </a:lnTo>
                  <a:lnTo>
                    <a:pt x="3153" y="1295"/>
                  </a:lnTo>
                  <a:lnTo>
                    <a:pt x="3137" y="1311"/>
                  </a:lnTo>
                  <a:lnTo>
                    <a:pt x="3115" y="1295"/>
                  </a:lnTo>
                  <a:lnTo>
                    <a:pt x="3094" y="1306"/>
                  </a:lnTo>
                  <a:lnTo>
                    <a:pt x="3082" y="1347"/>
                  </a:lnTo>
                  <a:lnTo>
                    <a:pt x="3094" y="1368"/>
                  </a:lnTo>
                  <a:lnTo>
                    <a:pt x="3120" y="1384"/>
                  </a:lnTo>
                  <a:lnTo>
                    <a:pt x="3170" y="1384"/>
                  </a:lnTo>
                  <a:lnTo>
                    <a:pt x="3186" y="1406"/>
                  </a:lnTo>
                  <a:lnTo>
                    <a:pt x="3174" y="1455"/>
                  </a:lnTo>
                  <a:lnTo>
                    <a:pt x="3203" y="1472"/>
                  </a:lnTo>
                  <a:lnTo>
                    <a:pt x="3240" y="1472"/>
                  </a:lnTo>
                  <a:lnTo>
                    <a:pt x="3245" y="1462"/>
                  </a:lnTo>
                  <a:lnTo>
                    <a:pt x="3245" y="1446"/>
                  </a:lnTo>
                  <a:lnTo>
                    <a:pt x="3309" y="1406"/>
                  </a:lnTo>
                  <a:lnTo>
                    <a:pt x="3316" y="1417"/>
                  </a:lnTo>
                  <a:lnTo>
                    <a:pt x="3333" y="1429"/>
                  </a:lnTo>
                  <a:lnTo>
                    <a:pt x="3363" y="1446"/>
                  </a:lnTo>
                  <a:lnTo>
                    <a:pt x="3401" y="1429"/>
                  </a:lnTo>
                  <a:lnTo>
                    <a:pt x="3408" y="1446"/>
                  </a:lnTo>
                  <a:lnTo>
                    <a:pt x="3434" y="1446"/>
                  </a:lnTo>
                  <a:lnTo>
                    <a:pt x="3439" y="1462"/>
                  </a:lnTo>
                  <a:lnTo>
                    <a:pt x="3422" y="1472"/>
                  </a:lnTo>
                  <a:lnTo>
                    <a:pt x="3422" y="1479"/>
                  </a:lnTo>
                  <a:lnTo>
                    <a:pt x="3434" y="1479"/>
                  </a:lnTo>
                  <a:lnTo>
                    <a:pt x="3434" y="1484"/>
                  </a:lnTo>
                  <a:lnTo>
                    <a:pt x="3408" y="1495"/>
                  </a:lnTo>
                  <a:lnTo>
                    <a:pt x="3408" y="1484"/>
                  </a:lnTo>
                  <a:lnTo>
                    <a:pt x="3392" y="1479"/>
                  </a:lnTo>
                  <a:lnTo>
                    <a:pt x="3363" y="1500"/>
                  </a:lnTo>
                  <a:lnTo>
                    <a:pt x="3363" y="1495"/>
                  </a:lnTo>
                  <a:lnTo>
                    <a:pt x="3325" y="1517"/>
                  </a:lnTo>
                  <a:lnTo>
                    <a:pt x="3309" y="1512"/>
                  </a:lnTo>
                  <a:lnTo>
                    <a:pt x="3309" y="1517"/>
                  </a:lnTo>
                  <a:lnTo>
                    <a:pt x="3316" y="1512"/>
                  </a:lnTo>
                  <a:lnTo>
                    <a:pt x="3325" y="1517"/>
                  </a:lnTo>
                  <a:lnTo>
                    <a:pt x="3316" y="1533"/>
                  </a:lnTo>
                  <a:lnTo>
                    <a:pt x="3309" y="1528"/>
                  </a:lnTo>
                  <a:lnTo>
                    <a:pt x="3300" y="1528"/>
                  </a:lnTo>
                  <a:lnTo>
                    <a:pt x="3300" y="1550"/>
                  </a:lnTo>
                  <a:lnTo>
                    <a:pt x="3278" y="1557"/>
                  </a:lnTo>
                  <a:lnTo>
                    <a:pt x="3278" y="1550"/>
                  </a:lnTo>
                  <a:lnTo>
                    <a:pt x="3278" y="1540"/>
                  </a:lnTo>
                  <a:lnTo>
                    <a:pt x="3262" y="1550"/>
                  </a:lnTo>
                  <a:lnTo>
                    <a:pt x="3271" y="1566"/>
                  </a:lnTo>
                  <a:lnTo>
                    <a:pt x="3245" y="1583"/>
                  </a:lnTo>
                  <a:lnTo>
                    <a:pt x="3245" y="1590"/>
                  </a:lnTo>
                  <a:lnTo>
                    <a:pt x="3229" y="1595"/>
                  </a:lnTo>
                  <a:lnTo>
                    <a:pt x="3207" y="1639"/>
                  </a:lnTo>
                  <a:lnTo>
                    <a:pt x="3203" y="1639"/>
                  </a:lnTo>
                  <a:lnTo>
                    <a:pt x="3191" y="1651"/>
                  </a:lnTo>
                  <a:lnTo>
                    <a:pt x="3203" y="1661"/>
                  </a:lnTo>
                  <a:lnTo>
                    <a:pt x="3219" y="1668"/>
                  </a:lnTo>
                  <a:lnTo>
                    <a:pt x="3229" y="1684"/>
                  </a:lnTo>
                  <a:lnTo>
                    <a:pt x="3271" y="1701"/>
                  </a:lnTo>
                  <a:lnTo>
                    <a:pt x="3283" y="1755"/>
                  </a:lnTo>
                  <a:lnTo>
                    <a:pt x="3316" y="1812"/>
                  </a:lnTo>
                  <a:lnTo>
                    <a:pt x="3316" y="1833"/>
                  </a:lnTo>
                  <a:lnTo>
                    <a:pt x="3354" y="1862"/>
                  </a:lnTo>
                  <a:lnTo>
                    <a:pt x="3354" y="1871"/>
                  </a:lnTo>
                  <a:lnTo>
                    <a:pt x="3380" y="1888"/>
                  </a:lnTo>
                  <a:lnTo>
                    <a:pt x="3385" y="1904"/>
                  </a:lnTo>
                  <a:lnTo>
                    <a:pt x="3385" y="1916"/>
                  </a:lnTo>
                  <a:lnTo>
                    <a:pt x="3347" y="1899"/>
                  </a:lnTo>
                  <a:lnTo>
                    <a:pt x="3325" y="1899"/>
                  </a:lnTo>
                  <a:lnTo>
                    <a:pt x="3295" y="1883"/>
                  </a:lnTo>
                  <a:lnTo>
                    <a:pt x="3262" y="1888"/>
                  </a:lnTo>
                  <a:lnTo>
                    <a:pt x="3240" y="1862"/>
                  </a:lnTo>
                  <a:lnTo>
                    <a:pt x="3229" y="1866"/>
                  </a:lnTo>
                  <a:lnTo>
                    <a:pt x="3224" y="1871"/>
                  </a:lnTo>
                  <a:lnTo>
                    <a:pt x="3240" y="1871"/>
                  </a:lnTo>
                  <a:lnTo>
                    <a:pt x="3245" y="1888"/>
                  </a:lnTo>
                  <a:lnTo>
                    <a:pt x="3262" y="1888"/>
                  </a:lnTo>
                  <a:lnTo>
                    <a:pt x="3283" y="1883"/>
                  </a:lnTo>
                  <a:lnTo>
                    <a:pt x="3300" y="1888"/>
                  </a:lnTo>
                  <a:lnTo>
                    <a:pt x="3309" y="1899"/>
                  </a:lnTo>
                  <a:lnTo>
                    <a:pt x="3300" y="1899"/>
                  </a:lnTo>
                  <a:lnTo>
                    <a:pt x="3333" y="1904"/>
                  </a:lnTo>
                  <a:lnTo>
                    <a:pt x="3370" y="1937"/>
                  </a:lnTo>
                  <a:lnTo>
                    <a:pt x="3385" y="1973"/>
                  </a:lnTo>
                  <a:lnTo>
                    <a:pt x="3385" y="1977"/>
                  </a:lnTo>
                  <a:lnTo>
                    <a:pt x="3354" y="1977"/>
                  </a:lnTo>
                  <a:lnTo>
                    <a:pt x="3325" y="1999"/>
                  </a:lnTo>
                  <a:lnTo>
                    <a:pt x="3309" y="2015"/>
                  </a:lnTo>
                  <a:lnTo>
                    <a:pt x="3283" y="2015"/>
                  </a:lnTo>
                  <a:lnTo>
                    <a:pt x="3262" y="2032"/>
                  </a:lnTo>
                  <a:lnTo>
                    <a:pt x="3295" y="2015"/>
                  </a:lnTo>
                  <a:lnTo>
                    <a:pt x="3295" y="2032"/>
                  </a:lnTo>
                  <a:lnTo>
                    <a:pt x="3309" y="2039"/>
                  </a:lnTo>
                  <a:lnTo>
                    <a:pt x="3347" y="2027"/>
                  </a:lnTo>
                  <a:lnTo>
                    <a:pt x="3370" y="2048"/>
                  </a:lnTo>
                  <a:lnTo>
                    <a:pt x="3401" y="2055"/>
                  </a:lnTo>
                  <a:lnTo>
                    <a:pt x="3370" y="2081"/>
                  </a:lnTo>
                  <a:lnTo>
                    <a:pt x="3363" y="2081"/>
                  </a:lnTo>
                  <a:lnTo>
                    <a:pt x="3354" y="2088"/>
                  </a:lnTo>
                  <a:lnTo>
                    <a:pt x="3380" y="2081"/>
                  </a:lnTo>
                  <a:lnTo>
                    <a:pt x="3380" y="2088"/>
                  </a:lnTo>
                  <a:lnTo>
                    <a:pt x="3385" y="2081"/>
                  </a:lnTo>
                  <a:lnTo>
                    <a:pt x="3380" y="2081"/>
                  </a:lnTo>
                  <a:lnTo>
                    <a:pt x="3385" y="2072"/>
                  </a:lnTo>
                  <a:lnTo>
                    <a:pt x="3392" y="2081"/>
                  </a:lnTo>
                  <a:lnTo>
                    <a:pt x="3385" y="2105"/>
                  </a:lnTo>
                  <a:lnTo>
                    <a:pt x="3392" y="2105"/>
                  </a:lnTo>
                  <a:lnTo>
                    <a:pt x="3385" y="2110"/>
                  </a:lnTo>
                  <a:lnTo>
                    <a:pt x="3380" y="2093"/>
                  </a:lnTo>
                  <a:lnTo>
                    <a:pt x="3380" y="2110"/>
                  </a:lnTo>
                  <a:lnTo>
                    <a:pt x="3363" y="2105"/>
                  </a:lnTo>
                  <a:lnTo>
                    <a:pt x="3354" y="2110"/>
                  </a:lnTo>
                  <a:lnTo>
                    <a:pt x="3370" y="2121"/>
                  </a:lnTo>
                  <a:lnTo>
                    <a:pt x="3370" y="2126"/>
                  </a:lnTo>
                  <a:lnTo>
                    <a:pt x="3354" y="2126"/>
                  </a:lnTo>
                  <a:lnTo>
                    <a:pt x="3370" y="2138"/>
                  </a:lnTo>
                  <a:lnTo>
                    <a:pt x="3363" y="2143"/>
                  </a:lnTo>
                  <a:lnTo>
                    <a:pt x="3347" y="2143"/>
                  </a:lnTo>
                  <a:lnTo>
                    <a:pt x="3333" y="2138"/>
                  </a:lnTo>
                  <a:lnTo>
                    <a:pt x="3354" y="2150"/>
                  </a:lnTo>
                  <a:lnTo>
                    <a:pt x="3370" y="2176"/>
                  </a:lnTo>
                  <a:lnTo>
                    <a:pt x="3363" y="2183"/>
                  </a:lnTo>
                  <a:lnTo>
                    <a:pt x="3354" y="2176"/>
                  </a:lnTo>
                  <a:lnTo>
                    <a:pt x="3347" y="2192"/>
                  </a:lnTo>
                  <a:lnTo>
                    <a:pt x="3337" y="2176"/>
                  </a:lnTo>
                  <a:lnTo>
                    <a:pt x="3316" y="2199"/>
                  </a:lnTo>
                  <a:lnTo>
                    <a:pt x="3295" y="2199"/>
                  </a:lnTo>
                  <a:lnTo>
                    <a:pt x="3316" y="2204"/>
                  </a:lnTo>
                  <a:lnTo>
                    <a:pt x="3316" y="2216"/>
                  </a:lnTo>
                  <a:lnTo>
                    <a:pt x="3295" y="2232"/>
                  </a:lnTo>
                  <a:lnTo>
                    <a:pt x="3300" y="2249"/>
                  </a:lnTo>
                  <a:lnTo>
                    <a:pt x="3283" y="2258"/>
                  </a:lnTo>
                  <a:lnTo>
                    <a:pt x="3278" y="2254"/>
                  </a:lnTo>
                  <a:lnTo>
                    <a:pt x="3271" y="2254"/>
                  </a:lnTo>
                  <a:lnTo>
                    <a:pt x="3271" y="2258"/>
                  </a:lnTo>
                  <a:lnTo>
                    <a:pt x="3283" y="2270"/>
                  </a:lnTo>
                  <a:lnTo>
                    <a:pt x="3271" y="2270"/>
                  </a:lnTo>
                  <a:lnTo>
                    <a:pt x="3271" y="2287"/>
                  </a:lnTo>
                  <a:lnTo>
                    <a:pt x="3257" y="2287"/>
                  </a:lnTo>
                  <a:lnTo>
                    <a:pt x="3262" y="2310"/>
                  </a:lnTo>
                  <a:lnTo>
                    <a:pt x="3245" y="2315"/>
                  </a:lnTo>
                  <a:lnTo>
                    <a:pt x="3262" y="2294"/>
                  </a:lnTo>
                  <a:lnTo>
                    <a:pt x="3245" y="2294"/>
                  </a:lnTo>
                  <a:lnTo>
                    <a:pt x="3245" y="2310"/>
                  </a:lnTo>
                  <a:lnTo>
                    <a:pt x="3240" y="2294"/>
                  </a:lnTo>
                  <a:lnTo>
                    <a:pt x="3229" y="2294"/>
                  </a:lnTo>
                  <a:lnTo>
                    <a:pt x="3229" y="2303"/>
                  </a:lnTo>
                  <a:lnTo>
                    <a:pt x="3224" y="2294"/>
                  </a:lnTo>
                  <a:lnTo>
                    <a:pt x="3224" y="2310"/>
                  </a:lnTo>
                  <a:lnTo>
                    <a:pt x="3229" y="2310"/>
                  </a:lnTo>
                  <a:lnTo>
                    <a:pt x="3240" y="2327"/>
                  </a:lnTo>
                  <a:lnTo>
                    <a:pt x="3229" y="2315"/>
                  </a:lnTo>
                  <a:lnTo>
                    <a:pt x="3224" y="2327"/>
                  </a:lnTo>
                  <a:lnTo>
                    <a:pt x="3229" y="2332"/>
                  </a:lnTo>
                  <a:lnTo>
                    <a:pt x="3240" y="2327"/>
                  </a:lnTo>
                  <a:lnTo>
                    <a:pt x="3245" y="2327"/>
                  </a:lnTo>
                  <a:lnTo>
                    <a:pt x="3229" y="2332"/>
                  </a:lnTo>
                  <a:lnTo>
                    <a:pt x="3219" y="2360"/>
                  </a:lnTo>
                  <a:lnTo>
                    <a:pt x="3191" y="2343"/>
                  </a:lnTo>
                  <a:lnTo>
                    <a:pt x="3207" y="2360"/>
                  </a:lnTo>
                  <a:lnTo>
                    <a:pt x="3224" y="2348"/>
                  </a:lnTo>
                  <a:lnTo>
                    <a:pt x="3229" y="2360"/>
                  </a:lnTo>
                  <a:lnTo>
                    <a:pt x="3224" y="2365"/>
                  </a:lnTo>
                  <a:lnTo>
                    <a:pt x="3224" y="2381"/>
                  </a:lnTo>
                  <a:lnTo>
                    <a:pt x="3219" y="2381"/>
                  </a:lnTo>
                  <a:lnTo>
                    <a:pt x="3229" y="2402"/>
                  </a:lnTo>
                  <a:lnTo>
                    <a:pt x="3207" y="2386"/>
                  </a:lnTo>
                  <a:lnTo>
                    <a:pt x="3191" y="2402"/>
                  </a:lnTo>
                  <a:lnTo>
                    <a:pt x="3207" y="2414"/>
                  </a:lnTo>
                  <a:lnTo>
                    <a:pt x="3191" y="2426"/>
                  </a:lnTo>
                  <a:lnTo>
                    <a:pt x="3186" y="2419"/>
                  </a:lnTo>
                  <a:lnTo>
                    <a:pt x="3186" y="2414"/>
                  </a:lnTo>
                  <a:lnTo>
                    <a:pt x="3174" y="2414"/>
                  </a:lnTo>
                  <a:lnTo>
                    <a:pt x="3186" y="2419"/>
                  </a:lnTo>
                  <a:lnTo>
                    <a:pt x="3170" y="2426"/>
                  </a:lnTo>
                  <a:lnTo>
                    <a:pt x="3186" y="2438"/>
                  </a:lnTo>
                  <a:lnTo>
                    <a:pt x="3165" y="2443"/>
                  </a:lnTo>
                  <a:lnTo>
                    <a:pt x="3165" y="2438"/>
                  </a:lnTo>
                  <a:lnTo>
                    <a:pt x="3153" y="2443"/>
                  </a:lnTo>
                  <a:lnTo>
                    <a:pt x="3153" y="2454"/>
                  </a:lnTo>
                  <a:lnTo>
                    <a:pt x="3170" y="2454"/>
                  </a:lnTo>
                  <a:lnTo>
                    <a:pt x="3153" y="2471"/>
                  </a:lnTo>
                  <a:lnTo>
                    <a:pt x="3148" y="2459"/>
                  </a:lnTo>
                  <a:lnTo>
                    <a:pt x="3132" y="2471"/>
                  </a:lnTo>
                  <a:lnTo>
                    <a:pt x="3120" y="2459"/>
                  </a:lnTo>
                  <a:lnTo>
                    <a:pt x="3111" y="2471"/>
                  </a:lnTo>
                  <a:lnTo>
                    <a:pt x="3115" y="2471"/>
                  </a:lnTo>
                  <a:lnTo>
                    <a:pt x="3115" y="2476"/>
                  </a:lnTo>
                  <a:lnTo>
                    <a:pt x="3099" y="2476"/>
                  </a:lnTo>
                  <a:lnTo>
                    <a:pt x="3115" y="2476"/>
                  </a:lnTo>
                  <a:lnTo>
                    <a:pt x="3120" y="2492"/>
                  </a:lnTo>
                  <a:lnTo>
                    <a:pt x="3094" y="2513"/>
                  </a:lnTo>
                  <a:lnTo>
                    <a:pt x="3099" y="2509"/>
                  </a:lnTo>
                  <a:lnTo>
                    <a:pt x="3082" y="2525"/>
                  </a:lnTo>
                  <a:lnTo>
                    <a:pt x="3061" y="2530"/>
                  </a:lnTo>
                  <a:lnTo>
                    <a:pt x="3056" y="2537"/>
                  </a:lnTo>
                  <a:lnTo>
                    <a:pt x="3040" y="2530"/>
                  </a:lnTo>
                  <a:lnTo>
                    <a:pt x="3023" y="2563"/>
                  </a:lnTo>
                  <a:lnTo>
                    <a:pt x="3007" y="2554"/>
                  </a:lnTo>
                  <a:lnTo>
                    <a:pt x="3030" y="2570"/>
                  </a:lnTo>
                  <a:lnTo>
                    <a:pt x="3007" y="2570"/>
                  </a:lnTo>
                  <a:lnTo>
                    <a:pt x="3007" y="2587"/>
                  </a:lnTo>
                  <a:lnTo>
                    <a:pt x="2992" y="2591"/>
                  </a:lnTo>
                  <a:lnTo>
                    <a:pt x="2959" y="2603"/>
                  </a:lnTo>
                  <a:lnTo>
                    <a:pt x="2948" y="2591"/>
                  </a:lnTo>
                  <a:lnTo>
                    <a:pt x="2938" y="2591"/>
                  </a:lnTo>
                  <a:lnTo>
                    <a:pt x="2938" y="2608"/>
                  </a:lnTo>
                  <a:lnTo>
                    <a:pt x="2917" y="2603"/>
                  </a:lnTo>
                  <a:lnTo>
                    <a:pt x="2893" y="2608"/>
                  </a:lnTo>
                  <a:lnTo>
                    <a:pt x="2893" y="2620"/>
                  </a:lnTo>
                  <a:lnTo>
                    <a:pt x="2884" y="2620"/>
                  </a:lnTo>
                  <a:lnTo>
                    <a:pt x="2884" y="2603"/>
                  </a:lnTo>
                  <a:lnTo>
                    <a:pt x="2867" y="2608"/>
                  </a:lnTo>
                  <a:lnTo>
                    <a:pt x="2879" y="2624"/>
                  </a:lnTo>
                  <a:lnTo>
                    <a:pt x="2867" y="2624"/>
                  </a:lnTo>
                  <a:lnTo>
                    <a:pt x="2863" y="2620"/>
                  </a:lnTo>
                  <a:lnTo>
                    <a:pt x="2846" y="2620"/>
                  </a:lnTo>
                  <a:lnTo>
                    <a:pt x="2851" y="2624"/>
                  </a:lnTo>
                  <a:lnTo>
                    <a:pt x="2863" y="2624"/>
                  </a:lnTo>
                  <a:lnTo>
                    <a:pt x="2851" y="2636"/>
                  </a:lnTo>
                  <a:lnTo>
                    <a:pt x="2851" y="2641"/>
                  </a:lnTo>
                  <a:lnTo>
                    <a:pt x="2829" y="2636"/>
                  </a:lnTo>
                  <a:lnTo>
                    <a:pt x="2841" y="2624"/>
                  </a:lnTo>
                  <a:lnTo>
                    <a:pt x="2825" y="2624"/>
                  </a:lnTo>
                  <a:lnTo>
                    <a:pt x="2813" y="2603"/>
                  </a:lnTo>
                  <a:lnTo>
                    <a:pt x="2808" y="2591"/>
                  </a:lnTo>
                  <a:lnTo>
                    <a:pt x="2796" y="2580"/>
                  </a:lnTo>
                  <a:lnTo>
                    <a:pt x="2825" y="2580"/>
                  </a:lnTo>
                  <a:lnTo>
                    <a:pt x="2813" y="2570"/>
                  </a:lnTo>
                  <a:lnTo>
                    <a:pt x="2796" y="2580"/>
                  </a:lnTo>
                  <a:lnTo>
                    <a:pt x="2796" y="2591"/>
                  </a:lnTo>
                  <a:lnTo>
                    <a:pt x="2792" y="2591"/>
                  </a:lnTo>
                  <a:lnTo>
                    <a:pt x="2796" y="2620"/>
                  </a:lnTo>
                  <a:lnTo>
                    <a:pt x="2796" y="2641"/>
                  </a:lnTo>
                  <a:lnTo>
                    <a:pt x="2796" y="2653"/>
                  </a:lnTo>
                  <a:lnTo>
                    <a:pt x="2792" y="2653"/>
                  </a:lnTo>
                  <a:lnTo>
                    <a:pt x="2775" y="2620"/>
                  </a:lnTo>
                  <a:lnTo>
                    <a:pt x="2792" y="2653"/>
                  </a:lnTo>
                  <a:lnTo>
                    <a:pt x="2787" y="2653"/>
                  </a:lnTo>
                  <a:lnTo>
                    <a:pt x="2775" y="2658"/>
                  </a:lnTo>
                  <a:lnTo>
                    <a:pt x="2770" y="2658"/>
                  </a:lnTo>
                  <a:lnTo>
                    <a:pt x="2770" y="2641"/>
                  </a:lnTo>
                  <a:lnTo>
                    <a:pt x="2759" y="2674"/>
                  </a:lnTo>
                  <a:lnTo>
                    <a:pt x="2754" y="2665"/>
                  </a:lnTo>
                  <a:lnTo>
                    <a:pt x="2737" y="2681"/>
                  </a:lnTo>
                  <a:lnTo>
                    <a:pt x="2733" y="2674"/>
                  </a:lnTo>
                  <a:lnTo>
                    <a:pt x="2716" y="2681"/>
                  </a:lnTo>
                  <a:lnTo>
                    <a:pt x="2683" y="2665"/>
                  </a:lnTo>
                  <a:lnTo>
                    <a:pt x="2690" y="2681"/>
                  </a:lnTo>
                  <a:lnTo>
                    <a:pt x="2683" y="2691"/>
                  </a:lnTo>
                  <a:lnTo>
                    <a:pt x="2666" y="2674"/>
                  </a:lnTo>
                  <a:lnTo>
                    <a:pt x="2678" y="2691"/>
                  </a:lnTo>
                  <a:lnTo>
                    <a:pt x="2666" y="2698"/>
                  </a:lnTo>
                  <a:lnTo>
                    <a:pt x="2629" y="2707"/>
                  </a:lnTo>
                  <a:lnTo>
                    <a:pt x="2624" y="2698"/>
                  </a:lnTo>
                  <a:lnTo>
                    <a:pt x="2624" y="2707"/>
                  </a:lnTo>
                  <a:lnTo>
                    <a:pt x="2629" y="2698"/>
                  </a:lnTo>
                  <a:lnTo>
                    <a:pt x="2607" y="2707"/>
                  </a:lnTo>
                  <a:lnTo>
                    <a:pt x="2598" y="2714"/>
                  </a:lnTo>
                  <a:lnTo>
                    <a:pt x="2607" y="2707"/>
                  </a:lnTo>
                  <a:lnTo>
                    <a:pt x="2598" y="2707"/>
                  </a:lnTo>
                  <a:lnTo>
                    <a:pt x="2598" y="2719"/>
                  </a:lnTo>
                  <a:lnTo>
                    <a:pt x="2591" y="2719"/>
                  </a:lnTo>
                  <a:lnTo>
                    <a:pt x="2581" y="2719"/>
                  </a:lnTo>
                  <a:lnTo>
                    <a:pt x="2581" y="2707"/>
                  </a:lnTo>
                  <a:lnTo>
                    <a:pt x="2581" y="2719"/>
                  </a:lnTo>
                  <a:lnTo>
                    <a:pt x="2560" y="2736"/>
                  </a:lnTo>
                  <a:lnTo>
                    <a:pt x="2560" y="2747"/>
                  </a:lnTo>
                  <a:lnTo>
                    <a:pt x="2577" y="2747"/>
                  </a:lnTo>
                  <a:lnTo>
                    <a:pt x="2577" y="2764"/>
                  </a:lnTo>
                  <a:lnTo>
                    <a:pt x="2591" y="2776"/>
                  </a:lnTo>
                  <a:lnTo>
                    <a:pt x="2577" y="2792"/>
                  </a:lnTo>
                  <a:lnTo>
                    <a:pt x="2553" y="2792"/>
                  </a:lnTo>
                  <a:lnTo>
                    <a:pt x="2544" y="2792"/>
                  </a:lnTo>
                  <a:lnTo>
                    <a:pt x="2544" y="2785"/>
                  </a:lnTo>
                  <a:lnTo>
                    <a:pt x="2553" y="2776"/>
                  </a:lnTo>
                  <a:lnTo>
                    <a:pt x="2539" y="2764"/>
                  </a:lnTo>
                  <a:lnTo>
                    <a:pt x="2527" y="2747"/>
                  </a:lnTo>
                  <a:lnTo>
                    <a:pt x="2539" y="2714"/>
                  </a:lnTo>
                  <a:lnTo>
                    <a:pt x="2553" y="2707"/>
                  </a:lnTo>
                  <a:lnTo>
                    <a:pt x="2539" y="2707"/>
                  </a:lnTo>
                  <a:lnTo>
                    <a:pt x="2539" y="2691"/>
                  </a:lnTo>
                  <a:lnTo>
                    <a:pt x="2539" y="2698"/>
                  </a:lnTo>
                  <a:lnTo>
                    <a:pt x="2527" y="2698"/>
                  </a:lnTo>
                  <a:lnTo>
                    <a:pt x="2522" y="2681"/>
                  </a:lnTo>
                  <a:lnTo>
                    <a:pt x="2522" y="2691"/>
                  </a:lnTo>
                  <a:lnTo>
                    <a:pt x="2522" y="2698"/>
                  </a:lnTo>
                  <a:lnTo>
                    <a:pt x="2489" y="2707"/>
                  </a:lnTo>
                  <a:lnTo>
                    <a:pt x="2489" y="2691"/>
                  </a:lnTo>
                  <a:lnTo>
                    <a:pt x="2473" y="2681"/>
                  </a:lnTo>
                  <a:lnTo>
                    <a:pt x="2468" y="2674"/>
                  </a:lnTo>
                  <a:lnTo>
                    <a:pt x="2473" y="2691"/>
                  </a:lnTo>
                  <a:lnTo>
                    <a:pt x="2468" y="2691"/>
                  </a:lnTo>
                  <a:lnTo>
                    <a:pt x="2463" y="2665"/>
                  </a:lnTo>
                  <a:lnTo>
                    <a:pt x="2447" y="2665"/>
                  </a:lnTo>
                  <a:lnTo>
                    <a:pt x="2447" y="2674"/>
                  </a:lnTo>
                  <a:lnTo>
                    <a:pt x="2451" y="2681"/>
                  </a:lnTo>
                  <a:lnTo>
                    <a:pt x="2447" y="2691"/>
                  </a:lnTo>
                  <a:lnTo>
                    <a:pt x="2435" y="2698"/>
                  </a:lnTo>
                  <a:lnTo>
                    <a:pt x="2447" y="2691"/>
                  </a:lnTo>
                  <a:lnTo>
                    <a:pt x="2435" y="2681"/>
                  </a:lnTo>
                  <a:lnTo>
                    <a:pt x="2430" y="2698"/>
                  </a:lnTo>
                  <a:lnTo>
                    <a:pt x="2430" y="2691"/>
                  </a:lnTo>
                  <a:lnTo>
                    <a:pt x="2414" y="2698"/>
                  </a:lnTo>
                  <a:lnTo>
                    <a:pt x="2397" y="2691"/>
                  </a:lnTo>
                  <a:lnTo>
                    <a:pt x="2364" y="2691"/>
                  </a:lnTo>
                  <a:lnTo>
                    <a:pt x="2359" y="2681"/>
                  </a:lnTo>
                  <a:lnTo>
                    <a:pt x="2343" y="2674"/>
                  </a:lnTo>
                  <a:lnTo>
                    <a:pt x="2343" y="2665"/>
                  </a:lnTo>
                  <a:lnTo>
                    <a:pt x="2322" y="2658"/>
                  </a:lnTo>
                  <a:lnTo>
                    <a:pt x="2322" y="2641"/>
                  </a:lnTo>
                  <a:lnTo>
                    <a:pt x="2312" y="2624"/>
                  </a:lnTo>
                  <a:lnTo>
                    <a:pt x="2326" y="2603"/>
                  </a:lnTo>
                  <a:lnTo>
                    <a:pt x="2322" y="2591"/>
                  </a:lnTo>
                  <a:lnTo>
                    <a:pt x="2305" y="2587"/>
                  </a:lnTo>
                  <a:lnTo>
                    <a:pt x="2289" y="2591"/>
                  </a:lnTo>
                  <a:lnTo>
                    <a:pt x="2284" y="2587"/>
                  </a:lnTo>
                  <a:lnTo>
                    <a:pt x="2258" y="2591"/>
                  </a:lnTo>
                  <a:lnTo>
                    <a:pt x="2241" y="2580"/>
                  </a:lnTo>
                  <a:lnTo>
                    <a:pt x="2229" y="2563"/>
                  </a:lnTo>
                  <a:lnTo>
                    <a:pt x="2199" y="2570"/>
                  </a:lnTo>
                  <a:lnTo>
                    <a:pt x="2182" y="2603"/>
                  </a:lnTo>
                  <a:lnTo>
                    <a:pt x="2175" y="2591"/>
                  </a:lnTo>
                  <a:lnTo>
                    <a:pt x="2161" y="2608"/>
                  </a:lnTo>
                  <a:lnTo>
                    <a:pt x="2149" y="2603"/>
                  </a:lnTo>
                  <a:lnTo>
                    <a:pt x="2149" y="2591"/>
                  </a:lnTo>
                  <a:lnTo>
                    <a:pt x="2133" y="2603"/>
                  </a:lnTo>
                  <a:lnTo>
                    <a:pt x="2128" y="2624"/>
                  </a:lnTo>
                  <a:lnTo>
                    <a:pt x="2107" y="2603"/>
                  </a:lnTo>
                  <a:lnTo>
                    <a:pt x="2095" y="2620"/>
                  </a:lnTo>
                  <a:lnTo>
                    <a:pt x="2078" y="2603"/>
                  </a:lnTo>
                  <a:lnTo>
                    <a:pt x="2069" y="2624"/>
                  </a:lnTo>
                  <a:lnTo>
                    <a:pt x="2024" y="2603"/>
                  </a:lnTo>
                  <a:lnTo>
                    <a:pt x="2003" y="2636"/>
                  </a:lnTo>
                  <a:lnTo>
                    <a:pt x="1972" y="2624"/>
                  </a:lnTo>
                  <a:lnTo>
                    <a:pt x="1960" y="2641"/>
                  </a:lnTo>
                  <a:lnTo>
                    <a:pt x="1965" y="2665"/>
                  </a:lnTo>
                  <a:lnTo>
                    <a:pt x="1972" y="2674"/>
                  </a:lnTo>
                  <a:lnTo>
                    <a:pt x="1972" y="2714"/>
                  </a:lnTo>
                  <a:lnTo>
                    <a:pt x="1981" y="2719"/>
                  </a:lnTo>
                  <a:lnTo>
                    <a:pt x="1972" y="2731"/>
                  </a:lnTo>
                  <a:lnTo>
                    <a:pt x="1960" y="2719"/>
                  </a:lnTo>
                  <a:lnTo>
                    <a:pt x="1944" y="2719"/>
                  </a:lnTo>
                  <a:lnTo>
                    <a:pt x="1934" y="2691"/>
                  </a:lnTo>
                  <a:lnTo>
                    <a:pt x="1927" y="2681"/>
                  </a:lnTo>
                  <a:lnTo>
                    <a:pt x="1889" y="2707"/>
                  </a:lnTo>
                  <a:lnTo>
                    <a:pt x="1880" y="2698"/>
                  </a:lnTo>
                  <a:lnTo>
                    <a:pt x="1863" y="2707"/>
                  </a:lnTo>
                  <a:lnTo>
                    <a:pt x="1859" y="2698"/>
                  </a:lnTo>
                  <a:lnTo>
                    <a:pt x="1859" y="2691"/>
                  </a:lnTo>
                  <a:lnTo>
                    <a:pt x="1851" y="2681"/>
                  </a:lnTo>
                  <a:lnTo>
                    <a:pt x="1851" y="2658"/>
                  </a:lnTo>
                  <a:lnTo>
                    <a:pt x="1788" y="2653"/>
                  </a:lnTo>
                  <a:lnTo>
                    <a:pt x="1809" y="2624"/>
                  </a:lnTo>
                  <a:lnTo>
                    <a:pt x="1804" y="2608"/>
                  </a:lnTo>
                  <a:lnTo>
                    <a:pt x="1821" y="2587"/>
                  </a:lnTo>
                  <a:lnTo>
                    <a:pt x="1821" y="2580"/>
                  </a:lnTo>
                  <a:lnTo>
                    <a:pt x="1788" y="2580"/>
                  </a:lnTo>
                  <a:lnTo>
                    <a:pt x="1771" y="2570"/>
                  </a:lnTo>
                  <a:lnTo>
                    <a:pt x="1771" y="2554"/>
                  </a:lnTo>
                  <a:lnTo>
                    <a:pt x="1766" y="2547"/>
                  </a:lnTo>
                  <a:lnTo>
                    <a:pt x="1766" y="2530"/>
                  </a:lnTo>
                  <a:lnTo>
                    <a:pt x="1755" y="2525"/>
                  </a:lnTo>
                  <a:lnTo>
                    <a:pt x="1755" y="2513"/>
                  </a:lnTo>
                  <a:lnTo>
                    <a:pt x="1771" y="2497"/>
                  </a:lnTo>
                  <a:lnTo>
                    <a:pt x="1717" y="2497"/>
                  </a:lnTo>
                  <a:lnTo>
                    <a:pt x="1691" y="2525"/>
                  </a:lnTo>
                  <a:lnTo>
                    <a:pt x="1679" y="2513"/>
                  </a:lnTo>
                  <a:lnTo>
                    <a:pt x="1696" y="2497"/>
                  </a:lnTo>
                  <a:lnTo>
                    <a:pt x="1691" y="2476"/>
                  </a:lnTo>
                  <a:lnTo>
                    <a:pt x="1679" y="2476"/>
                  </a:lnTo>
                  <a:lnTo>
                    <a:pt x="1679" y="2454"/>
                  </a:lnTo>
                  <a:lnTo>
                    <a:pt x="1696" y="2438"/>
                  </a:lnTo>
                  <a:lnTo>
                    <a:pt x="1696" y="2414"/>
                  </a:lnTo>
                  <a:lnTo>
                    <a:pt x="1700" y="2419"/>
                  </a:lnTo>
                  <a:lnTo>
                    <a:pt x="1712" y="2414"/>
                  </a:lnTo>
                  <a:lnTo>
                    <a:pt x="1729" y="2386"/>
                  </a:lnTo>
                  <a:lnTo>
                    <a:pt x="1733" y="2386"/>
                  </a:lnTo>
                  <a:lnTo>
                    <a:pt x="1750" y="2365"/>
                  </a:lnTo>
                  <a:lnTo>
                    <a:pt x="1755" y="2365"/>
                  </a:lnTo>
                  <a:lnTo>
                    <a:pt x="1750" y="2348"/>
                  </a:lnTo>
                  <a:lnTo>
                    <a:pt x="1766" y="2343"/>
                  </a:lnTo>
                  <a:lnTo>
                    <a:pt x="1766" y="2294"/>
                  </a:lnTo>
                  <a:lnTo>
                    <a:pt x="1755" y="2237"/>
                  </a:lnTo>
                  <a:lnTo>
                    <a:pt x="1745" y="2232"/>
                  </a:lnTo>
                  <a:lnTo>
                    <a:pt x="1733" y="2237"/>
                  </a:lnTo>
                  <a:lnTo>
                    <a:pt x="1717" y="2192"/>
                  </a:lnTo>
                  <a:lnTo>
                    <a:pt x="1712" y="2183"/>
                  </a:lnTo>
                  <a:lnTo>
                    <a:pt x="1679" y="2159"/>
                  </a:lnTo>
                  <a:lnTo>
                    <a:pt x="1674" y="2176"/>
                  </a:lnTo>
                  <a:lnTo>
                    <a:pt x="1663" y="2183"/>
                  </a:lnTo>
                  <a:lnTo>
                    <a:pt x="1646" y="2176"/>
                  </a:lnTo>
                  <a:lnTo>
                    <a:pt x="1641" y="2176"/>
                  </a:lnTo>
                  <a:lnTo>
                    <a:pt x="1620" y="2166"/>
                  </a:lnTo>
                  <a:lnTo>
                    <a:pt x="1594" y="2176"/>
                  </a:lnTo>
                  <a:lnTo>
                    <a:pt x="1594" y="2159"/>
                  </a:lnTo>
                  <a:lnTo>
                    <a:pt x="1608" y="2143"/>
                  </a:lnTo>
                  <a:lnTo>
                    <a:pt x="1603" y="2121"/>
                  </a:lnTo>
                  <a:lnTo>
                    <a:pt x="1582" y="2126"/>
                  </a:lnTo>
                  <a:lnTo>
                    <a:pt x="1582" y="2121"/>
                  </a:lnTo>
                  <a:lnTo>
                    <a:pt x="1594" y="2105"/>
                  </a:lnTo>
                  <a:lnTo>
                    <a:pt x="1587" y="2105"/>
                  </a:lnTo>
                  <a:lnTo>
                    <a:pt x="1570" y="2088"/>
                  </a:lnTo>
                  <a:lnTo>
                    <a:pt x="1540" y="2105"/>
                  </a:lnTo>
                  <a:lnTo>
                    <a:pt x="1528" y="2121"/>
                  </a:lnTo>
                  <a:lnTo>
                    <a:pt x="1485" y="2110"/>
                  </a:lnTo>
                  <a:lnTo>
                    <a:pt x="1474" y="2093"/>
                  </a:lnTo>
                  <a:lnTo>
                    <a:pt x="1448" y="2121"/>
                  </a:lnTo>
                  <a:lnTo>
                    <a:pt x="1426" y="2150"/>
                  </a:lnTo>
                  <a:lnTo>
                    <a:pt x="1389" y="2150"/>
                  </a:lnTo>
                  <a:lnTo>
                    <a:pt x="1372" y="2176"/>
                  </a:lnTo>
                  <a:lnTo>
                    <a:pt x="1339" y="2192"/>
                  </a:lnTo>
                  <a:lnTo>
                    <a:pt x="1339" y="2204"/>
                  </a:lnTo>
                  <a:lnTo>
                    <a:pt x="1322" y="2216"/>
                  </a:lnTo>
                  <a:lnTo>
                    <a:pt x="1313" y="2216"/>
                  </a:lnTo>
                  <a:lnTo>
                    <a:pt x="1285" y="2221"/>
                  </a:lnTo>
                  <a:lnTo>
                    <a:pt x="1263" y="2221"/>
                  </a:lnTo>
                  <a:lnTo>
                    <a:pt x="1263" y="2204"/>
                  </a:lnTo>
                  <a:lnTo>
                    <a:pt x="1242" y="2199"/>
                  </a:lnTo>
                  <a:lnTo>
                    <a:pt x="1226" y="2204"/>
                  </a:lnTo>
                  <a:lnTo>
                    <a:pt x="1178" y="2199"/>
                  </a:lnTo>
                  <a:lnTo>
                    <a:pt x="1178" y="2183"/>
                  </a:lnTo>
                  <a:lnTo>
                    <a:pt x="1150" y="2176"/>
                  </a:lnTo>
                  <a:lnTo>
                    <a:pt x="1117" y="2199"/>
                  </a:lnTo>
                  <a:lnTo>
                    <a:pt x="1070" y="2254"/>
                  </a:lnTo>
                  <a:lnTo>
                    <a:pt x="1065" y="2237"/>
                  </a:lnTo>
                  <a:lnTo>
                    <a:pt x="1070" y="2216"/>
                  </a:lnTo>
                  <a:lnTo>
                    <a:pt x="1070" y="2199"/>
                  </a:lnTo>
                  <a:lnTo>
                    <a:pt x="1053" y="2192"/>
                  </a:lnTo>
                  <a:lnTo>
                    <a:pt x="1041" y="2199"/>
                  </a:lnTo>
                  <a:lnTo>
                    <a:pt x="1015" y="2204"/>
                  </a:lnTo>
                  <a:lnTo>
                    <a:pt x="1015" y="2216"/>
                  </a:lnTo>
                  <a:lnTo>
                    <a:pt x="999" y="2204"/>
                  </a:lnTo>
                  <a:lnTo>
                    <a:pt x="989" y="2216"/>
                  </a:lnTo>
                  <a:lnTo>
                    <a:pt x="956" y="2216"/>
                  </a:lnTo>
                  <a:lnTo>
                    <a:pt x="918" y="2192"/>
                  </a:lnTo>
                  <a:lnTo>
                    <a:pt x="907" y="2192"/>
                  </a:lnTo>
                  <a:lnTo>
                    <a:pt x="902" y="2204"/>
                  </a:lnTo>
                  <a:lnTo>
                    <a:pt x="885" y="2199"/>
                  </a:lnTo>
                  <a:lnTo>
                    <a:pt x="885" y="2192"/>
                  </a:lnTo>
                  <a:lnTo>
                    <a:pt x="881" y="2192"/>
                  </a:lnTo>
                  <a:lnTo>
                    <a:pt x="881" y="2204"/>
                  </a:lnTo>
                  <a:lnTo>
                    <a:pt x="869" y="2204"/>
                  </a:lnTo>
                  <a:lnTo>
                    <a:pt x="864" y="2192"/>
                  </a:lnTo>
                  <a:lnTo>
                    <a:pt x="848" y="2183"/>
                  </a:lnTo>
                  <a:lnTo>
                    <a:pt x="810" y="2176"/>
                  </a:lnTo>
                  <a:lnTo>
                    <a:pt x="810" y="2150"/>
                  </a:lnTo>
                  <a:lnTo>
                    <a:pt x="800" y="2150"/>
                  </a:lnTo>
                  <a:lnTo>
                    <a:pt x="784" y="2159"/>
                  </a:lnTo>
                  <a:lnTo>
                    <a:pt x="763" y="2143"/>
                  </a:lnTo>
                  <a:lnTo>
                    <a:pt x="746" y="2126"/>
                  </a:lnTo>
                  <a:lnTo>
                    <a:pt x="739" y="2105"/>
                  </a:lnTo>
                  <a:lnTo>
                    <a:pt x="725" y="2105"/>
                  </a:lnTo>
                  <a:lnTo>
                    <a:pt x="708" y="2110"/>
                  </a:lnTo>
                  <a:lnTo>
                    <a:pt x="701" y="2110"/>
                  </a:lnTo>
                  <a:lnTo>
                    <a:pt x="670" y="2072"/>
                  </a:lnTo>
                  <a:lnTo>
                    <a:pt x="649" y="2072"/>
                  </a:lnTo>
                  <a:lnTo>
                    <a:pt x="616" y="2039"/>
                  </a:lnTo>
                  <a:lnTo>
                    <a:pt x="600" y="2039"/>
                  </a:lnTo>
                  <a:lnTo>
                    <a:pt x="595" y="2015"/>
                  </a:lnTo>
                  <a:lnTo>
                    <a:pt x="545" y="2015"/>
                  </a:lnTo>
                  <a:lnTo>
                    <a:pt x="545" y="2032"/>
                  </a:lnTo>
                  <a:lnTo>
                    <a:pt x="529" y="2039"/>
                  </a:lnTo>
                  <a:lnTo>
                    <a:pt x="524" y="2039"/>
                  </a:lnTo>
                  <a:lnTo>
                    <a:pt x="524" y="2032"/>
                  </a:lnTo>
                  <a:lnTo>
                    <a:pt x="524" y="2032"/>
                  </a:lnTo>
                  <a:lnTo>
                    <a:pt x="524" y="2032"/>
                  </a:lnTo>
                  <a:close/>
                  <a:moveTo>
                    <a:pt x="3354" y="1278"/>
                  </a:moveTo>
                  <a:lnTo>
                    <a:pt x="3337" y="1278"/>
                  </a:lnTo>
                  <a:lnTo>
                    <a:pt x="3354" y="1273"/>
                  </a:lnTo>
                  <a:lnTo>
                    <a:pt x="3354" y="1278"/>
                  </a:lnTo>
                  <a:lnTo>
                    <a:pt x="3354" y="1278"/>
                  </a:lnTo>
                  <a:lnTo>
                    <a:pt x="3354" y="1278"/>
                  </a:lnTo>
                  <a:close/>
                  <a:moveTo>
                    <a:pt x="3229" y="1866"/>
                  </a:moveTo>
                  <a:lnTo>
                    <a:pt x="3240" y="1866"/>
                  </a:lnTo>
                  <a:lnTo>
                    <a:pt x="3245" y="1883"/>
                  </a:lnTo>
                  <a:lnTo>
                    <a:pt x="3229" y="1866"/>
                  </a:lnTo>
                  <a:lnTo>
                    <a:pt x="3229" y="1866"/>
                  </a:lnTo>
                  <a:lnTo>
                    <a:pt x="3229" y="1866"/>
                  </a:lnTo>
                  <a:close/>
                  <a:moveTo>
                    <a:pt x="3337" y="1904"/>
                  </a:moveTo>
                  <a:lnTo>
                    <a:pt x="3347" y="1899"/>
                  </a:lnTo>
                  <a:lnTo>
                    <a:pt x="3385" y="1928"/>
                  </a:lnTo>
                  <a:lnTo>
                    <a:pt x="3363" y="1921"/>
                  </a:lnTo>
                  <a:lnTo>
                    <a:pt x="3337" y="1904"/>
                  </a:lnTo>
                  <a:lnTo>
                    <a:pt x="3337" y="1904"/>
                  </a:lnTo>
                  <a:lnTo>
                    <a:pt x="3337" y="1904"/>
                  </a:lnTo>
                  <a:close/>
                  <a:moveTo>
                    <a:pt x="3401" y="2027"/>
                  </a:moveTo>
                  <a:lnTo>
                    <a:pt x="3408" y="2015"/>
                  </a:lnTo>
                  <a:lnTo>
                    <a:pt x="3408" y="2027"/>
                  </a:lnTo>
                  <a:lnTo>
                    <a:pt x="3401" y="2027"/>
                  </a:lnTo>
                  <a:lnTo>
                    <a:pt x="3401" y="2027"/>
                  </a:lnTo>
                  <a:lnTo>
                    <a:pt x="3401" y="2027"/>
                  </a:lnTo>
                  <a:close/>
                  <a:moveTo>
                    <a:pt x="3392" y="2039"/>
                  </a:moveTo>
                  <a:lnTo>
                    <a:pt x="3392" y="2032"/>
                  </a:lnTo>
                  <a:lnTo>
                    <a:pt x="3401" y="2032"/>
                  </a:lnTo>
                  <a:lnTo>
                    <a:pt x="3418" y="2039"/>
                  </a:lnTo>
                  <a:lnTo>
                    <a:pt x="3418" y="2048"/>
                  </a:lnTo>
                  <a:lnTo>
                    <a:pt x="3392" y="2039"/>
                  </a:lnTo>
                  <a:lnTo>
                    <a:pt x="3392" y="2039"/>
                  </a:lnTo>
                  <a:lnTo>
                    <a:pt x="3392" y="2039"/>
                  </a:lnTo>
                  <a:close/>
                  <a:moveTo>
                    <a:pt x="3385" y="2039"/>
                  </a:moveTo>
                  <a:lnTo>
                    <a:pt x="3385" y="2048"/>
                  </a:lnTo>
                  <a:lnTo>
                    <a:pt x="3385" y="2039"/>
                  </a:lnTo>
                  <a:lnTo>
                    <a:pt x="3385" y="2039"/>
                  </a:lnTo>
                  <a:lnTo>
                    <a:pt x="3385" y="2039"/>
                  </a:lnTo>
                  <a:close/>
                  <a:moveTo>
                    <a:pt x="3418" y="2048"/>
                  </a:moveTo>
                  <a:lnTo>
                    <a:pt x="3422" y="2048"/>
                  </a:lnTo>
                  <a:lnTo>
                    <a:pt x="3422" y="2055"/>
                  </a:lnTo>
                  <a:lnTo>
                    <a:pt x="3418" y="2048"/>
                  </a:lnTo>
                  <a:lnTo>
                    <a:pt x="3418" y="2048"/>
                  </a:lnTo>
                  <a:lnTo>
                    <a:pt x="3418" y="2048"/>
                  </a:lnTo>
                  <a:close/>
                  <a:moveTo>
                    <a:pt x="3401" y="2072"/>
                  </a:moveTo>
                  <a:lnTo>
                    <a:pt x="3392" y="2065"/>
                  </a:lnTo>
                  <a:lnTo>
                    <a:pt x="3401" y="2065"/>
                  </a:lnTo>
                  <a:lnTo>
                    <a:pt x="3408" y="2072"/>
                  </a:lnTo>
                  <a:lnTo>
                    <a:pt x="3401" y="2072"/>
                  </a:lnTo>
                  <a:lnTo>
                    <a:pt x="3401" y="2072"/>
                  </a:lnTo>
                  <a:lnTo>
                    <a:pt x="3401" y="2072"/>
                  </a:lnTo>
                  <a:close/>
                  <a:moveTo>
                    <a:pt x="3385" y="2121"/>
                  </a:moveTo>
                  <a:lnTo>
                    <a:pt x="3385" y="2110"/>
                  </a:lnTo>
                  <a:lnTo>
                    <a:pt x="3392" y="2110"/>
                  </a:lnTo>
                  <a:lnTo>
                    <a:pt x="3385" y="2121"/>
                  </a:lnTo>
                  <a:lnTo>
                    <a:pt x="3385" y="2121"/>
                  </a:lnTo>
                  <a:lnTo>
                    <a:pt x="3385" y="2121"/>
                  </a:lnTo>
                  <a:close/>
                  <a:moveTo>
                    <a:pt x="3333" y="2192"/>
                  </a:moveTo>
                  <a:lnTo>
                    <a:pt x="3337" y="2183"/>
                  </a:lnTo>
                  <a:lnTo>
                    <a:pt x="3337" y="2192"/>
                  </a:lnTo>
                  <a:lnTo>
                    <a:pt x="3337" y="2199"/>
                  </a:lnTo>
                  <a:lnTo>
                    <a:pt x="3333" y="2192"/>
                  </a:lnTo>
                  <a:lnTo>
                    <a:pt x="3333" y="2192"/>
                  </a:lnTo>
                  <a:lnTo>
                    <a:pt x="3333" y="2192"/>
                  </a:lnTo>
                  <a:close/>
                  <a:moveTo>
                    <a:pt x="3229" y="2398"/>
                  </a:moveTo>
                  <a:lnTo>
                    <a:pt x="3229" y="2386"/>
                  </a:lnTo>
                  <a:lnTo>
                    <a:pt x="3240" y="2381"/>
                  </a:lnTo>
                  <a:lnTo>
                    <a:pt x="3240" y="2386"/>
                  </a:lnTo>
                  <a:lnTo>
                    <a:pt x="3240" y="2402"/>
                  </a:lnTo>
                  <a:lnTo>
                    <a:pt x="3229" y="2398"/>
                  </a:lnTo>
                  <a:lnTo>
                    <a:pt x="3229" y="2398"/>
                  </a:lnTo>
                  <a:lnTo>
                    <a:pt x="3229" y="2398"/>
                  </a:lnTo>
                  <a:close/>
                  <a:moveTo>
                    <a:pt x="3115" y="2476"/>
                  </a:moveTo>
                  <a:lnTo>
                    <a:pt x="3120" y="2471"/>
                  </a:lnTo>
                  <a:lnTo>
                    <a:pt x="3115" y="2476"/>
                  </a:lnTo>
                  <a:lnTo>
                    <a:pt x="3115" y="2476"/>
                  </a:lnTo>
                  <a:lnTo>
                    <a:pt x="3115" y="2476"/>
                  </a:lnTo>
                  <a:close/>
                  <a:moveTo>
                    <a:pt x="3077" y="2530"/>
                  </a:moveTo>
                  <a:lnTo>
                    <a:pt x="3068" y="2537"/>
                  </a:lnTo>
                  <a:lnTo>
                    <a:pt x="3061" y="2537"/>
                  </a:lnTo>
                  <a:lnTo>
                    <a:pt x="3068" y="2525"/>
                  </a:lnTo>
                  <a:lnTo>
                    <a:pt x="3077" y="2530"/>
                  </a:lnTo>
                  <a:lnTo>
                    <a:pt x="3077" y="2530"/>
                  </a:lnTo>
                  <a:lnTo>
                    <a:pt x="3077" y="2530"/>
                  </a:lnTo>
                  <a:close/>
                  <a:moveTo>
                    <a:pt x="3056" y="2547"/>
                  </a:moveTo>
                  <a:lnTo>
                    <a:pt x="3056" y="2554"/>
                  </a:lnTo>
                  <a:lnTo>
                    <a:pt x="3040" y="2554"/>
                  </a:lnTo>
                  <a:lnTo>
                    <a:pt x="3056" y="2547"/>
                  </a:lnTo>
                  <a:lnTo>
                    <a:pt x="3056" y="2547"/>
                  </a:lnTo>
                  <a:lnTo>
                    <a:pt x="3056" y="2547"/>
                  </a:lnTo>
                  <a:close/>
                  <a:moveTo>
                    <a:pt x="2846" y="2641"/>
                  </a:moveTo>
                  <a:lnTo>
                    <a:pt x="2851" y="2641"/>
                  </a:lnTo>
                  <a:lnTo>
                    <a:pt x="2846" y="2641"/>
                  </a:lnTo>
                  <a:lnTo>
                    <a:pt x="2846" y="2641"/>
                  </a:lnTo>
                  <a:lnTo>
                    <a:pt x="2846" y="2641"/>
                  </a:lnTo>
                  <a:close/>
                  <a:moveTo>
                    <a:pt x="2792" y="2658"/>
                  </a:moveTo>
                  <a:lnTo>
                    <a:pt x="2787" y="2658"/>
                  </a:lnTo>
                  <a:lnTo>
                    <a:pt x="2792" y="2658"/>
                  </a:lnTo>
                  <a:lnTo>
                    <a:pt x="2792" y="2658"/>
                  </a:lnTo>
                  <a:lnTo>
                    <a:pt x="2792" y="2658"/>
                  </a:lnTo>
                  <a:close/>
                  <a:moveTo>
                    <a:pt x="2742" y="2691"/>
                  </a:moveTo>
                  <a:lnTo>
                    <a:pt x="2742" y="2681"/>
                  </a:lnTo>
                  <a:lnTo>
                    <a:pt x="2754" y="2681"/>
                  </a:lnTo>
                  <a:lnTo>
                    <a:pt x="2742" y="2691"/>
                  </a:lnTo>
                  <a:lnTo>
                    <a:pt x="2742" y="2691"/>
                  </a:lnTo>
                  <a:lnTo>
                    <a:pt x="2742" y="2691"/>
                  </a:lnTo>
                  <a:close/>
                  <a:moveTo>
                    <a:pt x="2683" y="2698"/>
                  </a:moveTo>
                  <a:lnTo>
                    <a:pt x="2683" y="2691"/>
                  </a:lnTo>
                  <a:lnTo>
                    <a:pt x="2690" y="2691"/>
                  </a:lnTo>
                  <a:lnTo>
                    <a:pt x="2683" y="2698"/>
                  </a:lnTo>
                  <a:lnTo>
                    <a:pt x="2683" y="2698"/>
                  </a:lnTo>
                  <a:lnTo>
                    <a:pt x="2683" y="2698"/>
                  </a:lnTo>
                  <a:close/>
                  <a:moveTo>
                    <a:pt x="2591" y="2719"/>
                  </a:moveTo>
                  <a:lnTo>
                    <a:pt x="2598" y="2719"/>
                  </a:lnTo>
                  <a:lnTo>
                    <a:pt x="2591" y="2731"/>
                  </a:lnTo>
                  <a:lnTo>
                    <a:pt x="2581" y="2719"/>
                  </a:lnTo>
                  <a:lnTo>
                    <a:pt x="2591" y="2719"/>
                  </a:lnTo>
                  <a:lnTo>
                    <a:pt x="2591" y="2719"/>
                  </a:lnTo>
                  <a:lnTo>
                    <a:pt x="2591" y="2719"/>
                  </a:lnTo>
                  <a:close/>
                  <a:moveTo>
                    <a:pt x="2581" y="2731"/>
                  </a:moveTo>
                  <a:lnTo>
                    <a:pt x="2591" y="2731"/>
                  </a:lnTo>
                  <a:lnTo>
                    <a:pt x="2591" y="2736"/>
                  </a:lnTo>
                  <a:lnTo>
                    <a:pt x="2570" y="2736"/>
                  </a:lnTo>
                  <a:lnTo>
                    <a:pt x="2570" y="2731"/>
                  </a:lnTo>
                  <a:lnTo>
                    <a:pt x="2581" y="2731"/>
                  </a:lnTo>
                  <a:lnTo>
                    <a:pt x="2581" y="2731"/>
                  </a:lnTo>
                  <a:lnTo>
                    <a:pt x="2581" y="2731"/>
                  </a:lnTo>
                  <a:close/>
                  <a:moveTo>
                    <a:pt x="2527" y="2941"/>
                  </a:moveTo>
                  <a:lnTo>
                    <a:pt x="2522" y="2953"/>
                  </a:lnTo>
                  <a:lnTo>
                    <a:pt x="2515" y="2941"/>
                  </a:lnTo>
                  <a:lnTo>
                    <a:pt x="2463" y="2920"/>
                  </a:lnTo>
                  <a:lnTo>
                    <a:pt x="2451" y="2880"/>
                  </a:lnTo>
                  <a:lnTo>
                    <a:pt x="2463" y="2858"/>
                  </a:lnTo>
                  <a:lnTo>
                    <a:pt x="2506" y="2830"/>
                  </a:lnTo>
                  <a:lnTo>
                    <a:pt x="2489" y="2830"/>
                  </a:lnTo>
                  <a:lnTo>
                    <a:pt x="2506" y="2818"/>
                  </a:lnTo>
                  <a:lnTo>
                    <a:pt x="2515" y="2825"/>
                  </a:lnTo>
                  <a:lnTo>
                    <a:pt x="2522" y="2809"/>
                  </a:lnTo>
                  <a:lnTo>
                    <a:pt x="2553" y="2818"/>
                  </a:lnTo>
                  <a:lnTo>
                    <a:pt x="2560" y="2809"/>
                  </a:lnTo>
                  <a:lnTo>
                    <a:pt x="2591" y="2809"/>
                  </a:lnTo>
                  <a:lnTo>
                    <a:pt x="2598" y="2802"/>
                  </a:lnTo>
                  <a:lnTo>
                    <a:pt x="2607" y="2809"/>
                  </a:lnTo>
                  <a:lnTo>
                    <a:pt x="2614" y="2809"/>
                  </a:lnTo>
                  <a:lnTo>
                    <a:pt x="2624" y="2842"/>
                  </a:lnTo>
                  <a:lnTo>
                    <a:pt x="2607" y="2847"/>
                  </a:lnTo>
                  <a:lnTo>
                    <a:pt x="2591" y="2875"/>
                  </a:lnTo>
                  <a:lnTo>
                    <a:pt x="2581" y="2875"/>
                  </a:lnTo>
                  <a:lnTo>
                    <a:pt x="2591" y="2880"/>
                  </a:lnTo>
                  <a:lnTo>
                    <a:pt x="2591" y="2901"/>
                  </a:lnTo>
                  <a:lnTo>
                    <a:pt x="2560" y="2920"/>
                  </a:lnTo>
                  <a:lnTo>
                    <a:pt x="2553" y="2936"/>
                  </a:lnTo>
                  <a:lnTo>
                    <a:pt x="2539" y="2936"/>
                  </a:lnTo>
                  <a:lnTo>
                    <a:pt x="2527" y="2941"/>
                  </a:lnTo>
                  <a:lnTo>
                    <a:pt x="2527" y="2941"/>
                  </a:lnTo>
                  <a:lnTo>
                    <a:pt x="2527" y="2941"/>
                  </a:lnTo>
                  <a:close/>
                </a:path>
              </a:pathLst>
            </a:custGeom>
            <a:pattFill prst="dk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28" name="Freeform 415">
              <a:extLst>
                <a:ext uri="{FF2B5EF4-FFF2-40B4-BE49-F238E27FC236}">
                  <a16:creationId xmlns:a16="http://schemas.microsoft.com/office/drawing/2014/main" id="{D752C20F-FD48-4D84-9546-2E0CDCF8DFB0}"/>
                </a:ext>
              </a:extLst>
            </p:cNvPr>
            <p:cNvSpPr>
              <a:spLocks noEditPoints="1"/>
            </p:cNvSpPr>
            <p:nvPr/>
          </p:nvSpPr>
          <p:spPr bwMode="gray">
            <a:xfrm>
              <a:off x="1976934" y="5232224"/>
              <a:ext cx="1493044" cy="1605065"/>
            </a:xfrm>
            <a:custGeom>
              <a:avLst/>
              <a:gdLst>
                <a:gd name="T0" fmla="*/ 2915 w 3017"/>
                <a:gd name="T1" fmla="*/ 404 h 3243"/>
                <a:gd name="T2" fmla="*/ 2736 w 3017"/>
                <a:gd name="T3" fmla="*/ 1103 h 3243"/>
                <a:gd name="T4" fmla="*/ 2698 w 3017"/>
                <a:gd name="T5" fmla="*/ 1609 h 3243"/>
                <a:gd name="T6" fmla="*/ 2643 w 3017"/>
                <a:gd name="T7" fmla="*/ 2086 h 3243"/>
                <a:gd name="T8" fmla="*/ 2596 w 3017"/>
                <a:gd name="T9" fmla="*/ 2490 h 3243"/>
                <a:gd name="T10" fmla="*/ 2811 w 3017"/>
                <a:gd name="T11" fmla="*/ 2877 h 3243"/>
                <a:gd name="T12" fmla="*/ 2651 w 3017"/>
                <a:gd name="T13" fmla="*/ 2939 h 3243"/>
                <a:gd name="T14" fmla="*/ 2596 w 3017"/>
                <a:gd name="T15" fmla="*/ 2917 h 3243"/>
                <a:gd name="T16" fmla="*/ 2551 w 3017"/>
                <a:gd name="T17" fmla="*/ 2877 h 3243"/>
                <a:gd name="T18" fmla="*/ 2537 w 3017"/>
                <a:gd name="T19" fmla="*/ 2872 h 3243"/>
                <a:gd name="T20" fmla="*/ 2466 w 3017"/>
                <a:gd name="T21" fmla="*/ 2712 h 3243"/>
                <a:gd name="T22" fmla="*/ 2483 w 3017"/>
                <a:gd name="T23" fmla="*/ 2580 h 3243"/>
                <a:gd name="T24" fmla="*/ 2504 w 3017"/>
                <a:gd name="T25" fmla="*/ 2457 h 3243"/>
                <a:gd name="T26" fmla="*/ 2407 w 3017"/>
                <a:gd name="T27" fmla="*/ 2358 h 3243"/>
                <a:gd name="T28" fmla="*/ 2483 w 3017"/>
                <a:gd name="T29" fmla="*/ 2346 h 3243"/>
                <a:gd name="T30" fmla="*/ 2542 w 3017"/>
                <a:gd name="T31" fmla="*/ 2069 h 3243"/>
                <a:gd name="T32" fmla="*/ 2483 w 3017"/>
                <a:gd name="T33" fmla="*/ 1857 h 3243"/>
                <a:gd name="T34" fmla="*/ 2665 w 3017"/>
                <a:gd name="T35" fmla="*/ 1165 h 3243"/>
                <a:gd name="T36" fmla="*/ 2736 w 3017"/>
                <a:gd name="T37" fmla="*/ 421 h 3243"/>
                <a:gd name="T38" fmla="*/ 2462 w 3017"/>
                <a:gd name="T39" fmla="*/ 2053 h 3243"/>
                <a:gd name="T40" fmla="*/ 2513 w 3017"/>
                <a:gd name="T41" fmla="*/ 2029 h 3243"/>
                <a:gd name="T42" fmla="*/ 2445 w 3017"/>
                <a:gd name="T43" fmla="*/ 2086 h 3243"/>
                <a:gd name="T44" fmla="*/ 2483 w 3017"/>
                <a:gd name="T45" fmla="*/ 2135 h 3243"/>
                <a:gd name="T46" fmla="*/ 2499 w 3017"/>
                <a:gd name="T47" fmla="*/ 2152 h 3243"/>
                <a:gd name="T48" fmla="*/ 2537 w 3017"/>
                <a:gd name="T49" fmla="*/ 2173 h 3243"/>
                <a:gd name="T50" fmla="*/ 2483 w 3017"/>
                <a:gd name="T51" fmla="*/ 2173 h 3243"/>
                <a:gd name="T52" fmla="*/ 2466 w 3017"/>
                <a:gd name="T53" fmla="*/ 2190 h 3243"/>
                <a:gd name="T54" fmla="*/ 2483 w 3017"/>
                <a:gd name="T55" fmla="*/ 2197 h 3243"/>
                <a:gd name="T56" fmla="*/ 2504 w 3017"/>
                <a:gd name="T57" fmla="*/ 2235 h 3243"/>
                <a:gd name="T58" fmla="*/ 2450 w 3017"/>
                <a:gd name="T59" fmla="*/ 2263 h 3243"/>
                <a:gd name="T60" fmla="*/ 2450 w 3017"/>
                <a:gd name="T61" fmla="*/ 2272 h 3243"/>
                <a:gd name="T62" fmla="*/ 2488 w 3017"/>
                <a:gd name="T63" fmla="*/ 2301 h 3243"/>
                <a:gd name="T64" fmla="*/ 2488 w 3017"/>
                <a:gd name="T65" fmla="*/ 2395 h 3243"/>
                <a:gd name="T66" fmla="*/ 2488 w 3017"/>
                <a:gd name="T67" fmla="*/ 2473 h 3243"/>
                <a:gd name="T68" fmla="*/ 2395 w 3017"/>
                <a:gd name="T69" fmla="*/ 2490 h 3243"/>
                <a:gd name="T70" fmla="*/ 2450 w 3017"/>
                <a:gd name="T71" fmla="*/ 2511 h 3243"/>
                <a:gd name="T72" fmla="*/ 2395 w 3017"/>
                <a:gd name="T73" fmla="*/ 2551 h 3243"/>
                <a:gd name="T74" fmla="*/ 2412 w 3017"/>
                <a:gd name="T75" fmla="*/ 2622 h 3243"/>
                <a:gd name="T76" fmla="*/ 2407 w 3017"/>
                <a:gd name="T77" fmla="*/ 2561 h 3243"/>
                <a:gd name="T78" fmla="*/ 2424 w 3017"/>
                <a:gd name="T79" fmla="*/ 2601 h 3243"/>
                <a:gd name="T80" fmla="*/ 2428 w 3017"/>
                <a:gd name="T81" fmla="*/ 2679 h 3243"/>
                <a:gd name="T82" fmla="*/ 2391 w 3017"/>
                <a:gd name="T83" fmla="*/ 2745 h 3243"/>
                <a:gd name="T84" fmla="*/ 2462 w 3017"/>
                <a:gd name="T85" fmla="*/ 2745 h 3243"/>
                <a:gd name="T86" fmla="*/ 2424 w 3017"/>
                <a:gd name="T87" fmla="*/ 2790 h 3243"/>
                <a:gd name="T88" fmla="*/ 2391 w 3017"/>
                <a:gd name="T89" fmla="*/ 2823 h 3243"/>
                <a:gd name="T90" fmla="*/ 2488 w 3017"/>
                <a:gd name="T91" fmla="*/ 2823 h 3243"/>
                <a:gd name="T92" fmla="*/ 2504 w 3017"/>
                <a:gd name="T93" fmla="*/ 2877 h 3243"/>
                <a:gd name="T94" fmla="*/ 2445 w 3017"/>
                <a:gd name="T95" fmla="*/ 2877 h 3243"/>
                <a:gd name="T96" fmla="*/ 2731 w 3017"/>
                <a:gd name="T97" fmla="*/ 3116 h 3243"/>
                <a:gd name="T98" fmla="*/ 2752 w 3017"/>
                <a:gd name="T99" fmla="*/ 3106 h 3243"/>
                <a:gd name="T100" fmla="*/ 2736 w 3017"/>
                <a:gd name="T101" fmla="*/ 2950 h 3243"/>
                <a:gd name="T102" fmla="*/ 2530 w 3017"/>
                <a:gd name="T103" fmla="*/ 2983 h 3243"/>
                <a:gd name="T104" fmla="*/ 2537 w 3017"/>
                <a:gd name="T105" fmla="*/ 3012 h 3243"/>
                <a:gd name="T106" fmla="*/ 2499 w 3017"/>
                <a:gd name="T107" fmla="*/ 3012 h 3243"/>
                <a:gd name="T108" fmla="*/ 2643 w 3017"/>
                <a:gd name="T109" fmla="*/ 3045 h 3243"/>
                <a:gd name="T110" fmla="*/ 2747 w 3017"/>
                <a:gd name="T111" fmla="*/ 3078 h 3243"/>
                <a:gd name="T112" fmla="*/ 2714 w 3017"/>
                <a:gd name="T113" fmla="*/ 3139 h 3243"/>
                <a:gd name="T114" fmla="*/ 2953 w 3017"/>
                <a:gd name="T115" fmla="*/ 3149 h 3243"/>
                <a:gd name="T116" fmla="*/ 2891 w 3017"/>
                <a:gd name="T117" fmla="*/ 3177 h 3243"/>
                <a:gd name="T118" fmla="*/ 2967 w 3017"/>
                <a:gd name="T119" fmla="*/ 3156 h 3243"/>
                <a:gd name="T120" fmla="*/ 2785 w 3017"/>
                <a:gd name="T121" fmla="*/ 3194 h 3243"/>
                <a:gd name="T122" fmla="*/ 2929 w 3017"/>
                <a:gd name="T123" fmla="*/ 3243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17" h="3243">
                  <a:moveTo>
                    <a:pt x="2736" y="66"/>
                  </a:moveTo>
                  <a:lnTo>
                    <a:pt x="2769" y="54"/>
                  </a:lnTo>
                  <a:lnTo>
                    <a:pt x="2785" y="38"/>
                  </a:lnTo>
                  <a:lnTo>
                    <a:pt x="2773" y="17"/>
                  </a:lnTo>
                  <a:lnTo>
                    <a:pt x="2790" y="17"/>
                  </a:lnTo>
                  <a:lnTo>
                    <a:pt x="2802" y="0"/>
                  </a:lnTo>
                  <a:lnTo>
                    <a:pt x="2811" y="38"/>
                  </a:lnTo>
                  <a:lnTo>
                    <a:pt x="2828" y="38"/>
                  </a:lnTo>
                  <a:lnTo>
                    <a:pt x="2823" y="50"/>
                  </a:lnTo>
                  <a:lnTo>
                    <a:pt x="2839" y="111"/>
                  </a:lnTo>
                  <a:lnTo>
                    <a:pt x="2877" y="144"/>
                  </a:lnTo>
                  <a:lnTo>
                    <a:pt x="2854" y="165"/>
                  </a:lnTo>
                  <a:lnTo>
                    <a:pt x="2865" y="182"/>
                  </a:lnTo>
                  <a:lnTo>
                    <a:pt x="2865" y="189"/>
                  </a:lnTo>
                  <a:lnTo>
                    <a:pt x="2854" y="199"/>
                  </a:lnTo>
                  <a:lnTo>
                    <a:pt x="2854" y="215"/>
                  </a:lnTo>
                  <a:lnTo>
                    <a:pt x="2854" y="222"/>
                  </a:lnTo>
                  <a:lnTo>
                    <a:pt x="2877" y="239"/>
                  </a:lnTo>
                  <a:lnTo>
                    <a:pt x="2865" y="250"/>
                  </a:lnTo>
                  <a:lnTo>
                    <a:pt x="2865" y="255"/>
                  </a:lnTo>
                  <a:lnTo>
                    <a:pt x="2877" y="260"/>
                  </a:lnTo>
                  <a:lnTo>
                    <a:pt x="2891" y="288"/>
                  </a:lnTo>
                  <a:lnTo>
                    <a:pt x="2891" y="310"/>
                  </a:lnTo>
                  <a:lnTo>
                    <a:pt x="2899" y="343"/>
                  </a:lnTo>
                  <a:lnTo>
                    <a:pt x="2908" y="350"/>
                  </a:lnTo>
                  <a:lnTo>
                    <a:pt x="2915" y="383"/>
                  </a:lnTo>
                  <a:lnTo>
                    <a:pt x="2915" y="404"/>
                  </a:lnTo>
                  <a:lnTo>
                    <a:pt x="2936" y="404"/>
                  </a:lnTo>
                  <a:lnTo>
                    <a:pt x="2962" y="404"/>
                  </a:lnTo>
                  <a:lnTo>
                    <a:pt x="2979" y="416"/>
                  </a:lnTo>
                  <a:lnTo>
                    <a:pt x="2953" y="494"/>
                  </a:lnTo>
                  <a:lnTo>
                    <a:pt x="2882" y="527"/>
                  </a:lnTo>
                  <a:lnTo>
                    <a:pt x="2865" y="548"/>
                  </a:lnTo>
                  <a:lnTo>
                    <a:pt x="2882" y="581"/>
                  </a:lnTo>
                  <a:lnTo>
                    <a:pt x="2865" y="581"/>
                  </a:lnTo>
                  <a:lnTo>
                    <a:pt x="2861" y="605"/>
                  </a:lnTo>
                  <a:lnTo>
                    <a:pt x="2877" y="659"/>
                  </a:lnTo>
                  <a:lnTo>
                    <a:pt x="2865" y="666"/>
                  </a:lnTo>
                  <a:lnTo>
                    <a:pt x="2861" y="683"/>
                  </a:lnTo>
                  <a:lnTo>
                    <a:pt x="2882" y="716"/>
                  </a:lnTo>
                  <a:lnTo>
                    <a:pt x="2877" y="732"/>
                  </a:lnTo>
                  <a:lnTo>
                    <a:pt x="2844" y="732"/>
                  </a:lnTo>
                  <a:lnTo>
                    <a:pt x="2823" y="803"/>
                  </a:lnTo>
                  <a:lnTo>
                    <a:pt x="2790" y="832"/>
                  </a:lnTo>
                  <a:lnTo>
                    <a:pt x="2785" y="886"/>
                  </a:lnTo>
                  <a:lnTo>
                    <a:pt x="2757" y="905"/>
                  </a:lnTo>
                  <a:lnTo>
                    <a:pt x="2773" y="976"/>
                  </a:lnTo>
                  <a:lnTo>
                    <a:pt x="2769" y="980"/>
                  </a:lnTo>
                  <a:lnTo>
                    <a:pt x="2752" y="992"/>
                  </a:lnTo>
                  <a:lnTo>
                    <a:pt x="2747" y="1025"/>
                  </a:lnTo>
                  <a:lnTo>
                    <a:pt x="2747" y="1037"/>
                  </a:lnTo>
                  <a:lnTo>
                    <a:pt x="2731" y="1054"/>
                  </a:lnTo>
                  <a:lnTo>
                    <a:pt x="2719" y="1082"/>
                  </a:lnTo>
                  <a:lnTo>
                    <a:pt x="2736" y="1103"/>
                  </a:lnTo>
                  <a:lnTo>
                    <a:pt x="2752" y="1108"/>
                  </a:lnTo>
                  <a:lnTo>
                    <a:pt x="2736" y="1124"/>
                  </a:lnTo>
                  <a:lnTo>
                    <a:pt x="2747" y="1136"/>
                  </a:lnTo>
                  <a:lnTo>
                    <a:pt x="2752" y="1160"/>
                  </a:lnTo>
                  <a:lnTo>
                    <a:pt x="2752" y="1176"/>
                  </a:lnTo>
                  <a:lnTo>
                    <a:pt x="2769" y="1193"/>
                  </a:lnTo>
                  <a:lnTo>
                    <a:pt x="2757" y="1214"/>
                  </a:lnTo>
                  <a:lnTo>
                    <a:pt x="2769" y="1219"/>
                  </a:lnTo>
                  <a:lnTo>
                    <a:pt x="2773" y="1219"/>
                  </a:lnTo>
                  <a:lnTo>
                    <a:pt x="2785" y="1231"/>
                  </a:lnTo>
                  <a:lnTo>
                    <a:pt x="2769" y="1259"/>
                  </a:lnTo>
                  <a:lnTo>
                    <a:pt x="2773" y="1292"/>
                  </a:lnTo>
                  <a:lnTo>
                    <a:pt x="2757" y="1304"/>
                  </a:lnTo>
                  <a:lnTo>
                    <a:pt x="2736" y="1370"/>
                  </a:lnTo>
                  <a:lnTo>
                    <a:pt x="2719" y="1380"/>
                  </a:lnTo>
                  <a:lnTo>
                    <a:pt x="2736" y="1387"/>
                  </a:lnTo>
                  <a:lnTo>
                    <a:pt x="2747" y="1424"/>
                  </a:lnTo>
                  <a:lnTo>
                    <a:pt x="2736" y="1453"/>
                  </a:lnTo>
                  <a:lnTo>
                    <a:pt x="2714" y="1458"/>
                  </a:lnTo>
                  <a:lnTo>
                    <a:pt x="2714" y="1474"/>
                  </a:lnTo>
                  <a:lnTo>
                    <a:pt x="2693" y="1481"/>
                  </a:lnTo>
                  <a:lnTo>
                    <a:pt x="2681" y="1507"/>
                  </a:lnTo>
                  <a:lnTo>
                    <a:pt x="2693" y="1531"/>
                  </a:lnTo>
                  <a:lnTo>
                    <a:pt x="2681" y="1547"/>
                  </a:lnTo>
                  <a:lnTo>
                    <a:pt x="2693" y="1564"/>
                  </a:lnTo>
                  <a:lnTo>
                    <a:pt x="2681" y="1580"/>
                  </a:lnTo>
                  <a:lnTo>
                    <a:pt x="2698" y="1609"/>
                  </a:lnTo>
                  <a:lnTo>
                    <a:pt x="2698" y="1642"/>
                  </a:lnTo>
                  <a:lnTo>
                    <a:pt x="2702" y="1658"/>
                  </a:lnTo>
                  <a:lnTo>
                    <a:pt x="2698" y="1663"/>
                  </a:lnTo>
                  <a:lnTo>
                    <a:pt x="2665" y="1680"/>
                  </a:lnTo>
                  <a:lnTo>
                    <a:pt x="2665" y="1713"/>
                  </a:lnTo>
                  <a:lnTo>
                    <a:pt x="2660" y="1746"/>
                  </a:lnTo>
                  <a:lnTo>
                    <a:pt x="2643" y="1736"/>
                  </a:lnTo>
                  <a:lnTo>
                    <a:pt x="2651" y="1769"/>
                  </a:lnTo>
                  <a:lnTo>
                    <a:pt x="2639" y="1791"/>
                  </a:lnTo>
                  <a:lnTo>
                    <a:pt x="2643" y="1802"/>
                  </a:lnTo>
                  <a:lnTo>
                    <a:pt x="2639" y="1807"/>
                  </a:lnTo>
                  <a:lnTo>
                    <a:pt x="2627" y="1840"/>
                  </a:lnTo>
                  <a:lnTo>
                    <a:pt x="2639" y="1857"/>
                  </a:lnTo>
                  <a:lnTo>
                    <a:pt x="2639" y="1913"/>
                  </a:lnTo>
                  <a:lnTo>
                    <a:pt x="2627" y="1918"/>
                  </a:lnTo>
                  <a:lnTo>
                    <a:pt x="2643" y="1951"/>
                  </a:lnTo>
                  <a:lnTo>
                    <a:pt x="2627" y="1958"/>
                  </a:lnTo>
                  <a:lnTo>
                    <a:pt x="2622" y="1958"/>
                  </a:lnTo>
                  <a:lnTo>
                    <a:pt x="2613" y="1975"/>
                  </a:lnTo>
                  <a:lnTo>
                    <a:pt x="2622" y="1975"/>
                  </a:lnTo>
                  <a:lnTo>
                    <a:pt x="2613" y="1996"/>
                  </a:lnTo>
                  <a:lnTo>
                    <a:pt x="2613" y="2041"/>
                  </a:lnTo>
                  <a:lnTo>
                    <a:pt x="2643" y="2046"/>
                  </a:lnTo>
                  <a:lnTo>
                    <a:pt x="2643" y="2062"/>
                  </a:lnTo>
                  <a:lnTo>
                    <a:pt x="2627" y="2062"/>
                  </a:lnTo>
                  <a:lnTo>
                    <a:pt x="2627" y="2069"/>
                  </a:lnTo>
                  <a:lnTo>
                    <a:pt x="2643" y="2086"/>
                  </a:lnTo>
                  <a:lnTo>
                    <a:pt x="2643" y="2095"/>
                  </a:lnTo>
                  <a:lnTo>
                    <a:pt x="2639" y="2102"/>
                  </a:lnTo>
                  <a:lnTo>
                    <a:pt x="2651" y="2119"/>
                  </a:lnTo>
                  <a:lnTo>
                    <a:pt x="2639" y="2135"/>
                  </a:lnTo>
                  <a:lnTo>
                    <a:pt x="2639" y="2157"/>
                  </a:lnTo>
                  <a:lnTo>
                    <a:pt x="2681" y="2157"/>
                  </a:lnTo>
                  <a:lnTo>
                    <a:pt x="2693" y="2161"/>
                  </a:lnTo>
                  <a:lnTo>
                    <a:pt x="2676" y="2190"/>
                  </a:lnTo>
                  <a:lnTo>
                    <a:pt x="2622" y="2190"/>
                  </a:lnTo>
                  <a:lnTo>
                    <a:pt x="2622" y="2206"/>
                  </a:lnTo>
                  <a:lnTo>
                    <a:pt x="2651" y="2206"/>
                  </a:lnTo>
                  <a:lnTo>
                    <a:pt x="2676" y="2235"/>
                  </a:lnTo>
                  <a:lnTo>
                    <a:pt x="2660" y="2251"/>
                  </a:lnTo>
                  <a:lnTo>
                    <a:pt x="2643" y="2263"/>
                  </a:lnTo>
                  <a:lnTo>
                    <a:pt x="2639" y="2268"/>
                  </a:lnTo>
                  <a:lnTo>
                    <a:pt x="2643" y="2284"/>
                  </a:lnTo>
                  <a:lnTo>
                    <a:pt x="2651" y="2301"/>
                  </a:lnTo>
                  <a:lnTo>
                    <a:pt x="2627" y="2317"/>
                  </a:lnTo>
                  <a:lnTo>
                    <a:pt x="2643" y="2324"/>
                  </a:lnTo>
                  <a:lnTo>
                    <a:pt x="2643" y="2362"/>
                  </a:lnTo>
                  <a:lnTo>
                    <a:pt x="2627" y="2374"/>
                  </a:lnTo>
                  <a:lnTo>
                    <a:pt x="2627" y="2395"/>
                  </a:lnTo>
                  <a:lnTo>
                    <a:pt x="2639" y="2412"/>
                  </a:lnTo>
                  <a:lnTo>
                    <a:pt x="2596" y="2433"/>
                  </a:lnTo>
                  <a:lnTo>
                    <a:pt x="2596" y="2440"/>
                  </a:lnTo>
                  <a:lnTo>
                    <a:pt x="2589" y="2473"/>
                  </a:lnTo>
                  <a:lnTo>
                    <a:pt x="2596" y="2490"/>
                  </a:lnTo>
                  <a:lnTo>
                    <a:pt x="2606" y="2511"/>
                  </a:lnTo>
                  <a:lnTo>
                    <a:pt x="2584" y="2523"/>
                  </a:lnTo>
                  <a:lnTo>
                    <a:pt x="2584" y="2551"/>
                  </a:lnTo>
                  <a:lnTo>
                    <a:pt x="2551" y="2568"/>
                  </a:lnTo>
                  <a:lnTo>
                    <a:pt x="2542" y="2596"/>
                  </a:lnTo>
                  <a:lnTo>
                    <a:pt x="2551" y="2601"/>
                  </a:lnTo>
                  <a:lnTo>
                    <a:pt x="2542" y="2601"/>
                  </a:lnTo>
                  <a:lnTo>
                    <a:pt x="2521" y="2601"/>
                  </a:lnTo>
                  <a:lnTo>
                    <a:pt x="2513" y="2622"/>
                  </a:lnTo>
                  <a:lnTo>
                    <a:pt x="2521" y="2650"/>
                  </a:lnTo>
                  <a:lnTo>
                    <a:pt x="2513" y="2655"/>
                  </a:lnTo>
                  <a:lnTo>
                    <a:pt x="2521" y="2662"/>
                  </a:lnTo>
                  <a:lnTo>
                    <a:pt x="2521" y="2679"/>
                  </a:lnTo>
                  <a:lnTo>
                    <a:pt x="2537" y="2695"/>
                  </a:lnTo>
                  <a:lnTo>
                    <a:pt x="2542" y="2733"/>
                  </a:lnTo>
                  <a:lnTo>
                    <a:pt x="2575" y="2728"/>
                  </a:lnTo>
                  <a:lnTo>
                    <a:pt x="2606" y="2728"/>
                  </a:lnTo>
                  <a:lnTo>
                    <a:pt x="2606" y="2761"/>
                  </a:lnTo>
                  <a:lnTo>
                    <a:pt x="2596" y="2773"/>
                  </a:lnTo>
                  <a:lnTo>
                    <a:pt x="2606" y="2783"/>
                  </a:lnTo>
                  <a:lnTo>
                    <a:pt x="2596" y="2806"/>
                  </a:lnTo>
                  <a:lnTo>
                    <a:pt x="2606" y="2828"/>
                  </a:lnTo>
                  <a:lnTo>
                    <a:pt x="2627" y="2844"/>
                  </a:lnTo>
                  <a:lnTo>
                    <a:pt x="2627" y="2856"/>
                  </a:lnTo>
                  <a:lnTo>
                    <a:pt x="2769" y="2856"/>
                  </a:lnTo>
                  <a:lnTo>
                    <a:pt x="2877" y="2894"/>
                  </a:lnTo>
                  <a:lnTo>
                    <a:pt x="2811" y="2877"/>
                  </a:lnTo>
                  <a:lnTo>
                    <a:pt x="2802" y="2884"/>
                  </a:lnTo>
                  <a:lnTo>
                    <a:pt x="2802" y="2894"/>
                  </a:lnTo>
                  <a:lnTo>
                    <a:pt x="2790" y="2910"/>
                  </a:lnTo>
                  <a:lnTo>
                    <a:pt x="2773" y="2901"/>
                  </a:lnTo>
                  <a:lnTo>
                    <a:pt x="2702" y="2927"/>
                  </a:lnTo>
                  <a:lnTo>
                    <a:pt x="2702" y="2950"/>
                  </a:lnTo>
                  <a:lnTo>
                    <a:pt x="2698" y="2988"/>
                  </a:lnTo>
                  <a:lnTo>
                    <a:pt x="2698" y="3028"/>
                  </a:lnTo>
                  <a:lnTo>
                    <a:pt x="2676" y="3045"/>
                  </a:lnTo>
                  <a:lnTo>
                    <a:pt x="2613" y="3021"/>
                  </a:lnTo>
                  <a:lnTo>
                    <a:pt x="2589" y="2995"/>
                  </a:lnTo>
                  <a:lnTo>
                    <a:pt x="2606" y="2983"/>
                  </a:lnTo>
                  <a:lnTo>
                    <a:pt x="2613" y="2983"/>
                  </a:lnTo>
                  <a:lnTo>
                    <a:pt x="2622" y="2988"/>
                  </a:lnTo>
                  <a:lnTo>
                    <a:pt x="2606" y="2995"/>
                  </a:lnTo>
                  <a:lnTo>
                    <a:pt x="2613" y="2995"/>
                  </a:lnTo>
                  <a:lnTo>
                    <a:pt x="2622" y="2988"/>
                  </a:lnTo>
                  <a:lnTo>
                    <a:pt x="2622" y="2972"/>
                  </a:lnTo>
                  <a:lnTo>
                    <a:pt x="2639" y="2972"/>
                  </a:lnTo>
                  <a:lnTo>
                    <a:pt x="2639" y="2995"/>
                  </a:lnTo>
                  <a:lnTo>
                    <a:pt x="2622" y="3012"/>
                  </a:lnTo>
                  <a:lnTo>
                    <a:pt x="2639" y="3005"/>
                  </a:lnTo>
                  <a:lnTo>
                    <a:pt x="2643" y="2972"/>
                  </a:lnTo>
                  <a:lnTo>
                    <a:pt x="2665" y="2967"/>
                  </a:lnTo>
                  <a:lnTo>
                    <a:pt x="2681" y="2939"/>
                  </a:lnTo>
                  <a:lnTo>
                    <a:pt x="2681" y="2934"/>
                  </a:lnTo>
                  <a:lnTo>
                    <a:pt x="2651" y="2939"/>
                  </a:lnTo>
                  <a:lnTo>
                    <a:pt x="2622" y="2967"/>
                  </a:lnTo>
                  <a:lnTo>
                    <a:pt x="2606" y="2955"/>
                  </a:lnTo>
                  <a:lnTo>
                    <a:pt x="2584" y="2967"/>
                  </a:lnTo>
                  <a:lnTo>
                    <a:pt x="2613" y="2972"/>
                  </a:lnTo>
                  <a:lnTo>
                    <a:pt x="2589" y="2972"/>
                  </a:lnTo>
                  <a:lnTo>
                    <a:pt x="2596" y="2983"/>
                  </a:lnTo>
                  <a:lnTo>
                    <a:pt x="2589" y="2988"/>
                  </a:lnTo>
                  <a:lnTo>
                    <a:pt x="2575" y="2988"/>
                  </a:lnTo>
                  <a:lnTo>
                    <a:pt x="2596" y="3005"/>
                  </a:lnTo>
                  <a:lnTo>
                    <a:pt x="2537" y="2972"/>
                  </a:lnTo>
                  <a:lnTo>
                    <a:pt x="2537" y="2967"/>
                  </a:lnTo>
                  <a:lnTo>
                    <a:pt x="2558" y="2972"/>
                  </a:lnTo>
                  <a:lnTo>
                    <a:pt x="2575" y="2983"/>
                  </a:lnTo>
                  <a:lnTo>
                    <a:pt x="2568" y="2972"/>
                  </a:lnTo>
                  <a:lnTo>
                    <a:pt x="2575" y="2967"/>
                  </a:lnTo>
                  <a:lnTo>
                    <a:pt x="2558" y="2967"/>
                  </a:lnTo>
                  <a:lnTo>
                    <a:pt x="2568" y="2955"/>
                  </a:lnTo>
                  <a:lnTo>
                    <a:pt x="2558" y="2939"/>
                  </a:lnTo>
                  <a:lnTo>
                    <a:pt x="2575" y="2927"/>
                  </a:lnTo>
                  <a:lnTo>
                    <a:pt x="2589" y="2934"/>
                  </a:lnTo>
                  <a:lnTo>
                    <a:pt x="2613" y="2917"/>
                  </a:lnTo>
                  <a:lnTo>
                    <a:pt x="2639" y="2927"/>
                  </a:lnTo>
                  <a:lnTo>
                    <a:pt x="2660" y="2917"/>
                  </a:lnTo>
                  <a:lnTo>
                    <a:pt x="2660" y="2910"/>
                  </a:lnTo>
                  <a:lnTo>
                    <a:pt x="2613" y="2910"/>
                  </a:lnTo>
                  <a:lnTo>
                    <a:pt x="2596" y="2910"/>
                  </a:lnTo>
                  <a:lnTo>
                    <a:pt x="2596" y="2917"/>
                  </a:lnTo>
                  <a:lnTo>
                    <a:pt x="2584" y="2917"/>
                  </a:lnTo>
                  <a:lnTo>
                    <a:pt x="2596" y="2910"/>
                  </a:lnTo>
                  <a:lnTo>
                    <a:pt x="2568" y="2910"/>
                  </a:lnTo>
                  <a:lnTo>
                    <a:pt x="2558" y="2917"/>
                  </a:lnTo>
                  <a:lnTo>
                    <a:pt x="2575" y="2917"/>
                  </a:lnTo>
                  <a:lnTo>
                    <a:pt x="2551" y="2939"/>
                  </a:lnTo>
                  <a:lnTo>
                    <a:pt x="2558" y="2955"/>
                  </a:lnTo>
                  <a:lnTo>
                    <a:pt x="2542" y="2967"/>
                  </a:lnTo>
                  <a:lnTo>
                    <a:pt x="2521" y="2955"/>
                  </a:lnTo>
                  <a:lnTo>
                    <a:pt x="2537" y="2939"/>
                  </a:lnTo>
                  <a:lnTo>
                    <a:pt x="2513" y="2934"/>
                  </a:lnTo>
                  <a:lnTo>
                    <a:pt x="2537" y="2934"/>
                  </a:lnTo>
                  <a:lnTo>
                    <a:pt x="2542" y="2910"/>
                  </a:lnTo>
                  <a:lnTo>
                    <a:pt x="2558" y="2910"/>
                  </a:lnTo>
                  <a:lnTo>
                    <a:pt x="2542" y="2901"/>
                  </a:lnTo>
                  <a:lnTo>
                    <a:pt x="2537" y="2927"/>
                  </a:lnTo>
                  <a:lnTo>
                    <a:pt x="2530" y="2917"/>
                  </a:lnTo>
                  <a:lnTo>
                    <a:pt x="2504" y="2927"/>
                  </a:lnTo>
                  <a:lnTo>
                    <a:pt x="2504" y="2917"/>
                  </a:lnTo>
                  <a:lnTo>
                    <a:pt x="2513" y="2910"/>
                  </a:lnTo>
                  <a:lnTo>
                    <a:pt x="2504" y="2901"/>
                  </a:lnTo>
                  <a:lnTo>
                    <a:pt x="2513" y="2884"/>
                  </a:lnTo>
                  <a:lnTo>
                    <a:pt x="2504" y="2861"/>
                  </a:lnTo>
                  <a:lnTo>
                    <a:pt x="2513" y="2877"/>
                  </a:lnTo>
                  <a:lnTo>
                    <a:pt x="2530" y="2877"/>
                  </a:lnTo>
                  <a:lnTo>
                    <a:pt x="2551" y="2861"/>
                  </a:lnTo>
                  <a:lnTo>
                    <a:pt x="2551" y="2877"/>
                  </a:lnTo>
                  <a:lnTo>
                    <a:pt x="2568" y="2884"/>
                  </a:lnTo>
                  <a:lnTo>
                    <a:pt x="2568" y="2861"/>
                  </a:lnTo>
                  <a:lnTo>
                    <a:pt x="2558" y="2877"/>
                  </a:lnTo>
                  <a:lnTo>
                    <a:pt x="2558" y="2861"/>
                  </a:lnTo>
                  <a:lnTo>
                    <a:pt x="2568" y="2856"/>
                  </a:lnTo>
                  <a:lnTo>
                    <a:pt x="2575" y="2856"/>
                  </a:lnTo>
                  <a:lnTo>
                    <a:pt x="2589" y="2877"/>
                  </a:lnTo>
                  <a:lnTo>
                    <a:pt x="2584" y="2884"/>
                  </a:lnTo>
                  <a:lnTo>
                    <a:pt x="2558" y="2901"/>
                  </a:lnTo>
                  <a:lnTo>
                    <a:pt x="2589" y="2884"/>
                  </a:lnTo>
                  <a:lnTo>
                    <a:pt x="2589" y="2877"/>
                  </a:lnTo>
                  <a:lnTo>
                    <a:pt x="2575" y="2856"/>
                  </a:lnTo>
                  <a:lnTo>
                    <a:pt x="2589" y="2856"/>
                  </a:lnTo>
                  <a:lnTo>
                    <a:pt x="2589" y="2839"/>
                  </a:lnTo>
                  <a:lnTo>
                    <a:pt x="2575" y="2816"/>
                  </a:lnTo>
                  <a:lnTo>
                    <a:pt x="2537" y="2806"/>
                  </a:lnTo>
                  <a:lnTo>
                    <a:pt x="2584" y="2839"/>
                  </a:lnTo>
                  <a:lnTo>
                    <a:pt x="2575" y="2839"/>
                  </a:lnTo>
                  <a:lnTo>
                    <a:pt x="2537" y="2823"/>
                  </a:lnTo>
                  <a:lnTo>
                    <a:pt x="2537" y="2828"/>
                  </a:lnTo>
                  <a:lnTo>
                    <a:pt x="2551" y="2839"/>
                  </a:lnTo>
                  <a:lnTo>
                    <a:pt x="2542" y="2844"/>
                  </a:lnTo>
                  <a:lnTo>
                    <a:pt x="2558" y="2844"/>
                  </a:lnTo>
                  <a:lnTo>
                    <a:pt x="2542" y="2856"/>
                  </a:lnTo>
                  <a:lnTo>
                    <a:pt x="2537" y="2861"/>
                  </a:lnTo>
                  <a:lnTo>
                    <a:pt x="2530" y="2823"/>
                  </a:lnTo>
                  <a:lnTo>
                    <a:pt x="2537" y="2872"/>
                  </a:lnTo>
                  <a:lnTo>
                    <a:pt x="2513" y="2861"/>
                  </a:lnTo>
                  <a:lnTo>
                    <a:pt x="2504" y="2839"/>
                  </a:lnTo>
                  <a:lnTo>
                    <a:pt x="2530" y="2861"/>
                  </a:lnTo>
                  <a:lnTo>
                    <a:pt x="2513" y="2828"/>
                  </a:lnTo>
                  <a:lnTo>
                    <a:pt x="2521" y="2828"/>
                  </a:lnTo>
                  <a:lnTo>
                    <a:pt x="2504" y="2839"/>
                  </a:lnTo>
                  <a:lnTo>
                    <a:pt x="2499" y="2823"/>
                  </a:lnTo>
                  <a:lnTo>
                    <a:pt x="2488" y="2823"/>
                  </a:lnTo>
                  <a:lnTo>
                    <a:pt x="2488" y="2799"/>
                  </a:lnTo>
                  <a:lnTo>
                    <a:pt x="2513" y="2823"/>
                  </a:lnTo>
                  <a:lnTo>
                    <a:pt x="2499" y="2783"/>
                  </a:lnTo>
                  <a:lnTo>
                    <a:pt x="2504" y="2790"/>
                  </a:lnTo>
                  <a:lnTo>
                    <a:pt x="2504" y="2773"/>
                  </a:lnTo>
                  <a:lnTo>
                    <a:pt x="2488" y="2783"/>
                  </a:lnTo>
                  <a:lnTo>
                    <a:pt x="2476" y="2783"/>
                  </a:lnTo>
                  <a:lnTo>
                    <a:pt x="2466" y="2761"/>
                  </a:lnTo>
                  <a:lnTo>
                    <a:pt x="2476" y="2750"/>
                  </a:lnTo>
                  <a:lnTo>
                    <a:pt x="2499" y="2750"/>
                  </a:lnTo>
                  <a:lnTo>
                    <a:pt x="2504" y="2728"/>
                  </a:lnTo>
                  <a:lnTo>
                    <a:pt x="2521" y="2733"/>
                  </a:lnTo>
                  <a:lnTo>
                    <a:pt x="2521" y="2728"/>
                  </a:lnTo>
                  <a:lnTo>
                    <a:pt x="2504" y="2717"/>
                  </a:lnTo>
                  <a:lnTo>
                    <a:pt x="2513" y="2707"/>
                  </a:lnTo>
                  <a:lnTo>
                    <a:pt x="2499" y="2717"/>
                  </a:lnTo>
                  <a:lnTo>
                    <a:pt x="2499" y="2745"/>
                  </a:lnTo>
                  <a:lnTo>
                    <a:pt x="2483" y="2745"/>
                  </a:lnTo>
                  <a:lnTo>
                    <a:pt x="2466" y="2712"/>
                  </a:lnTo>
                  <a:lnTo>
                    <a:pt x="2488" y="2717"/>
                  </a:lnTo>
                  <a:lnTo>
                    <a:pt x="2466" y="2707"/>
                  </a:lnTo>
                  <a:lnTo>
                    <a:pt x="2433" y="2688"/>
                  </a:lnTo>
                  <a:lnTo>
                    <a:pt x="2445" y="2679"/>
                  </a:lnTo>
                  <a:lnTo>
                    <a:pt x="2462" y="2672"/>
                  </a:lnTo>
                  <a:lnTo>
                    <a:pt x="2466" y="2688"/>
                  </a:lnTo>
                  <a:lnTo>
                    <a:pt x="2499" y="2695"/>
                  </a:lnTo>
                  <a:lnTo>
                    <a:pt x="2476" y="2688"/>
                  </a:lnTo>
                  <a:lnTo>
                    <a:pt x="2462" y="2662"/>
                  </a:lnTo>
                  <a:lnTo>
                    <a:pt x="2466" y="2662"/>
                  </a:lnTo>
                  <a:lnTo>
                    <a:pt x="2488" y="2672"/>
                  </a:lnTo>
                  <a:lnTo>
                    <a:pt x="2466" y="2655"/>
                  </a:lnTo>
                  <a:lnTo>
                    <a:pt x="2462" y="2650"/>
                  </a:lnTo>
                  <a:lnTo>
                    <a:pt x="2483" y="2639"/>
                  </a:lnTo>
                  <a:lnTo>
                    <a:pt x="2466" y="2639"/>
                  </a:lnTo>
                  <a:lnTo>
                    <a:pt x="2462" y="2634"/>
                  </a:lnTo>
                  <a:lnTo>
                    <a:pt x="2488" y="2622"/>
                  </a:lnTo>
                  <a:lnTo>
                    <a:pt x="2504" y="2639"/>
                  </a:lnTo>
                  <a:lnTo>
                    <a:pt x="2499" y="2634"/>
                  </a:lnTo>
                  <a:lnTo>
                    <a:pt x="2488" y="2622"/>
                  </a:lnTo>
                  <a:lnTo>
                    <a:pt x="2476" y="2617"/>
                  </a:lnTo>
                  <a:lnTo>
                    <a:pt x="2483" y="2601"/>
                  </a:lnTo>
                  <a:lnTo>
                    <a:pt x="2499" y="2606"/>
                  </a:lnTo>
                  <a:lnTo>
                    <a:pt x="2483" y="2601"/>
                  </a:lnTo>
                  <a:lnTo>
                    <a:pt x="2483" y="2584"/>
                  </a:lnTo>
                  <a:lnTo>
                    <a:pt x="2499" y="2580"/>
                  </a:lnTo>
                  <a:lnTo>
                    <a:pt x="2483" y="2580"/>
                  </a:lnTo>
                  <a:lnTo>
                    <a:pt x="2466" y="2622"/>
                  </a:lnTo>
                  <a:lnTo>
                    <a:pt x="2462" y="2617"/>
                  </a:lnTo>
                  <a:lnTo>
                    <a:pt x="2450" y="2551"/>
                  </a:lnTo>
                  <a:lnTo>
                    <a:pt x="2462" y="2544"/>
                  </a:lnTo>
                  <a:lnTo>
                    <a:pt x="2483" y="2551"/>
                  </a:lnTo>
                  <a:lnTo>
                    <a:pt x="2462" y="2544"/>
                  </a:lnTo>
                  <a:lnTo>
                    <a:pt x="2462" y="2539"/>
                  </a:lnTo>
                  <a:lnTo>
                    <a:pt x="2466" y="2523"/>
                  </a:lnTo>
                  <a:lnTo>
                    <a:pt x="2483" y="2528"/>
                  </a:lnTo>
                  <a:lnTo>
                    <a:pt x="2483" y="2523"/>
                  </a:lnTo>
                  <a:lnTo>
                    <a:pt x="2466" y="2511"/>
                  </a:lnTo>
                  <a:lnTo>
                    <a:pt x="2476" y="2511"/>
                  </a:lnTo>
                  <a:lnTo>
                    <a:pt x="2433" y="2485"/>
                  </a:lnTo>
                  <a:lnTo>
                    <a:pt x="2450" y="2485"/>
                  </a:lnTo>
                  <a:lnTo>
                    <a:pt x="2466" y="2506"/>
                  </a:lnTo>
                  <a:lnTo>
                    <a:pt x="2462" y="2485"/>
                  </a:lnTo>
                  <a:lnTo>
                    <a:pt x="2499" y="2485"/>
                  </a:lnTo>
                  <a:lnTo>
                    <a:pt x="2513" y="2506"/>
                  </a:lnTo>
                  <a:lnTo>
                    <a:pt x="2521" y="2495"/>
                  </a:lnTo>
                  <a:lnTo>
                    <a:pt x="2530" y="2495"/>
                  </a:lnTo>
                  <a:lnTo>
                    <a:pt x="2537" y="2490"/>
                  </a:lnTo>
                  <a:lnTo>
                    <a:pt x="2530" y="2495"/>
                  </a:lnTo>
                  <a:lnTo>
                    <a:pt x="2521" y="2490"/>
                  </a:lnTo>
                  <a:lnTo>
                    <a:pt x="2504" y="2473"/>
                  </a:lnTo>
                  <a:lnTo>
                    <a:pt x="2537" y="2485"/>
                  </a:lnTo>
                  <a:lnTo>
                    <a:pt x="2521" y="2473"/>
                  </a:lnTo>
                  <a:lnTo>
                    <a:pt x="2504" y="2457"/>
                  </a:lnTo>
                  <a:lnTo>
                    <a:pt x="2504" y="2452"/>
                  </a:lnTo>
                  <a:lnTo>
                    <a:pt x="2504" y="2433"/>
                  </a:lnTo>
                  <a:lnTo>
                    <a:pt x="2499" y="2457"/>
                  </a:lnTo>
                  <a:lnTo>
                    <a:pt x="2488" y="2469"/>
                  </a:lnTo>
                  <a:lnTo>
                    <a:pt x="2433" y="2457"/>
                  </a:lnTo>
                  <a:lnTo>
                    <a:pt x="2445" y="2440"/>
                  </a:lnTo>
                  <a:lnTo>
                    <a:pt x="2462" y="2440"/>
                  </a:lnTo>
                  <a:lnTo>
                    <a:pt x="2466" y="2457"/>
                  </a:lnTo>
                  <a:lnTo>
                    <a:pt x="2476" y="2457"/>
                  </a:lnTo>
                  <a:lnTo>
                    <a:pt x="2466" y="2457"/>
                  </a:lnTo>
                  <a:lnTo>
                    <a:pt x="2466" y="2452"/>
                  </a:lnTo>
                  <a:lnTo>
                    <a:pt x="2483" y="2440"/>
                  </a:lnTo>
                  <a:lnTo>
                    <a:pt x="2462" y="2440"/>
                  </a:lnTo>
                  <a:lnTo>
                    <a:pt x="2445" y="2428"/>
                  </a:lnTo>
                  <a:lnTo>
                    <a:pt x="2462" y="2412"/>
                  </a:lnTo>
                  <a:lnTo>
                    <a:pt x="2476" y="2412"/>
                  </a:lnTo>
                  <a:lnTo>
                    <a:pt x="2476" y="2417"/>
                  </a:lnTo>
                  <a:lnTo>
                    <a:pt x="2476" y="2412"/>
                  </a:lnTo>
                  <a:lnTo>
                    <a:pt x="2488" y="2395"/>
                  </a:lnTo>
                  <a:lnTo>
                    <a:pt x="2476" y="2384"/>
                  </a:lnTo>
                  <a:lnTo>
                    <a:pt x="2466" y="2374"/>
                  </a:lnTo>
                  <a:lnTo>
                    <a:pt x="2445" y="2374"/>
                  </a:lnTo>
                  <a:lnTo>
                    <a:pt x="2450" y="2379"/>
                  </a:lnTo>
                  <a:lnTo>
                    <a:pt x="2412" y="2374"/>
                  </a:lnTo>
                  <a:lnTo>
                    <a:pt x="2407" y="2358"/>
                  </a:lnTo>
                  <a:lnTo>
                    <a:pt x="2424" y="2341"/>
                  </a:lnTo>
                  <a:lnTo>
                    <a:pt x="2407" y="2358"/>
                  </a:lnTo>
                  <a:lnTo>
                    <a:pt x="2369" y="2374"/>
                  </a:lnTo>
                  <a:lnTo>
                    <a:pt x="2379" y="2362"/>
                  </a:lnTo>
                  <a:lnTo>
                    <a:pt x="2391" y="2379"/>
                  </a:lnTo>
                  <a:lnTo>
                    <a:pt x="2379" y="2384"/>
                  </a:lnTo>
                  <a:lnTo>
                    <a:pt x="2374" y="2384"/>
                  </a:lnTo>
                  <a:lnTo>
                    <a:pt x="2369" y="2362"/>
                  </a:lnTo>
                  <a:lnTo>
                    <a:pt x="2369" y="2346"/>
                  </a:lnTo>
                  <a:lnTo>
                    <a:pt x="2395" y="2329"/>
                  </a:lnTo>
                  <a:lnTo>
                    <a:pt x="2395" y="2341"/>
                  </a:lnTo>
                  <a:lnTo>
                    <a:pt x="2407" y="2317"/>
                  </a:lnTo>
                  <a:lnTo>
                    <a:pt x="2428" y="2308"/>
                  </a:lnTo>
                  <a:lnTo>
                    <a:pt x="2433" y="2284"/>
                  </a:lnTo>
                  <a:lnTo>
                    <a:pt x="2462" y="2284"/>
                  </a:lnTo>
                  <a:lnTo>
                    <a:pt x="2476" y="2284"/>
                  </a:lnTo>
                  <a:lnTo>
                    <a:pt x="2483" y="2301"/>
                  </a:lnTo>
                  <a:lnTo>
                    <a:pt x="2476" y="2308"/>
                  </a:lnTo>
                  <a:lnTo>
                    <a:pt x="2483" y="2301"/>
                  </a:lnTo>
                  <a:lnTo>
                    <a:pt x="2488" y="2308"/>
                  </a:lnTo>
                  <a:lnTo>
                    <a:pt x="2462" y="2324"/>
                  </a:lnTo>
                  <a:lnTo>
                    <a:pt x="2450" y="2317"/>
                  </a:lnTo>
                  <a:lnTo>
                    <a:pt x="2462" y="2324"/>
                  </a:lnTo>
                  <a:lnTo>
                    <a:pt x="2483" y="2317"/>
                  </a:lnTo>
                  <a:lnTo>
                    <a:pt x="2499" y="2329"/>
                  </a:lnTo>
                  <a:lnTo>
                    <a:pt x="2483" y="2317"/>
                  </a:lnTo>
                  <a:lnTo>
                    <a:pt x="2488" y="2317"/>
                  </a:lnTo>
                  <a:lnTo>
                    <a:pt x="2499" y="2324"/>
                  </a:lnTo>
                  <a:lnTo>
                    <a:pt x="2483" y="2346"/>
                  </a:lnTo>
                  <a:lnTo>
                    <a:pt x="2499" y="2358"/>
                  </a:lnTo>
                  <a:lnTo>
                    <a:pt x="2521" y="2308"/>
                  </a:lnTo>
                  <a:lnTo>
                    <a:pt x="2504" y="2329"/>
                  </a:lnTo>
                  <a:lnTo>
                    <a:pt x="2504" y="2301"/>
                  </a:lnTo>
                  <a:lnTo>
                    <a:pt x="2530" y="2272"/>
                  </a:lnTo>
                  <a:lnTo>
                    <a:pt x="2542" y="2268"/>
                  </a:lnTo>
                  <a:lnTo>
                    <a:pt x="2530" y="2268"/>
                  </a:lnTo>
                  <a:lnTo>
                    <a:pt x="2513" y="2272"/>
                  </a:lnTo>
                  <a:lnTo>
                    <a:pt x="2521" y="2251"/>
                  </a:lnTo>
                  <a:lnTo>
                    <a:pt x="2537" y="2235"/>
                  </a:lnTo>
                  <a:lnTo>
                    <a:pt x="2551" y="2251"/>
                  </a:lnTo>
                  <a:lnTo>
                    <a:pt x="2568" y="2247"/>
                  </a:lnTo>
                  <a:lnTo>
                    <a:pt x="2537" y="2230"/>
                  </a:lnTo>
                  <a:lnTo>
                    <a:pt x="2521" y="2235"/>
                  </a:lnTo>
                  <a:lnTo>
                    <a:pt x="2521" y="2230"/>
                  </a:lnTo>
                  <a:lnTo>
                    <a:pt x="2537" y="2218"/>
                  </a:lnTo>
                  <a:lnTo>
                    <a:pt x="2530" y="2206"/>
                  </a:lnTo>
                  <a:lnTo>
                    <a:pt x="2568" y="2190"/>
                  </a:lnTo>
                  <a:lnTo>
                    <a:pt x="2584" y="2161"/>
                  </a:lnTo>
                  <a:lnTo>
                    <a:pt x="2584" y="2157"/>
                  </a:lnTo>
                  <a:lnTo>
                    <a:pt x="2575" y="2161"/>
                  </a:lnTo>
                  <a:lnTo>
                    <a:pt x="2537" y="2135"/>
                  </a:lnTo>
                  <a:lnTo>
                    <a:pt x="2551" y="2102"/>
                  </a:lnTo>
                  <a:lnTo>
                    <a:pt x="2568" y="2102"/>
                  </a:lnTo>
                  <a:lnTo>
                    <a:pt x="2568" y="2095"/>
                  </a:lnTo>
                  <a:lnTo>
                    <a:pt x="2551" y="2095"/>
                  </a:lnTo>
                  <a:lnTo>
                    <a:pt x="2542" y="2069"/>
                  </a:lnTo>
                  <a:lnTo>
                    <a:pt x="2551" y="2062"/>
                  </a:lnTo>
                  <a:lnTo>
                    <a:pt x="2558" y="2053"/>
                  </a:lnTo>
                  <a:lnTo>
                    <a:pt x="2568" y="2041"/>
                  </a:lnTo>
                  <a:lnTo>
                    <a:pt x="2575" y="2041"/>
                  </a:lnTo>
                  <a:lnTo>
                    <a:pt x="2568" y="1996"/>
                  </a:lnTo>
                  <a:lnTo>
                    <a:pt x="2568" y="1991"/>
                  </a:lnTo>
                  <a:lnTo>
                    <a:pt x="2589" y="1996"/>
                  </a:lnTo>
                  <a:lnTo>
                    <a:pt x="2568" y="1968"/>
                  </a:lnTo>
                  <a:lnTo>
                    <a:pt x="2584" y="1958"/>
                  </a:lnTo>
                  <a:lnTo>
                    <a:pt x="2596" y="1984"/>
                  </a:lnTo>
                  <a:lnTo>
                    <a:pt x="2589" y="1942"/>
                  </a:lnTo>
                  <a:lnTo>
                    <a:pt x="2575" y="1942"/>
                  </a:lnTo>
                  <a:lnTo>
                    <a:pt x="2568" y="1935"/>
                  </a:lnTo>
                  <a:lnTo>
                    <a:pt x="2575" y="1930"/>
                  </a:lnTo>
                  <a:lnTo>
                    <a:pt x="2596" y="1918"/>
                  </a:lnTo>
                  <a:lnTo>
                    <a:pt x="2606" y="1897"/>
                  </a:lnTo>
                  <a:lnTo>
                    <a:pt x="2596" y="1918"/>
                  </a:lnTo>
                  <a:lnTo>
                    <a:pt x="2584" y="1918"/>
                  </a:lnTo>
                  <a:lnTo>
                    <a:pt x="2558" y="1902"/>
                  </a:lnTo>
                  <a:lnTo>
                    <a:pt x="2551" y="1902"/>
                  </a:lnTo>
                  <a:lnTo>
                    <a:pt x="2551" y="1918"/>
                  </a:lnTo>
                  <a:lnTo>
                    <a:pt x="2537" y="1930"/>
                  </a:lnTo>
                  <a:lnTo>
                    <a:pt x="2504" y="1930"/>
                  </a:lnTo>
                  <a:lnTo>
                    <a:pt x="2521" y="1902"/>
                  </a:lnTo>
                  <a:lnTo>
                    <a:pt x="2504" y="1913"/>
                  </a:lnTo>
                  <a:lnTo>
                    <a:pt x="2488" y="1902"/>
                  </a:lnTo>
                  <a:lnTo>
                    <a:pt x="2483" y="1857"/>
                  </a:lnTo>
                  <a:lnTo>
                    <a:pt x="2504" y="1819"/>
                  </a:lnTo>
                  <a:lnTo>
                    <a:pt x="2504" y="1791"/>
                  </a:lnTo>
                  <a:lnTo>
                    <a:pt x="2504" y="1786"/>
                  </a:lnTo>
                  <a:lnTo>
                    <a:pt x="2504" y="1774"/>
                  </a:lnTo>
                  <a:lnTo>
                    <a:pt x="2530" y="1769"/>
                  </a:lnTo>
                  <a:lnTo>
                    <a:pt x="2537" y="1729"/>
                  </a:lnTo>
                  <a:lnTo>
                    <a:pt x="2513" y="1642"/>
                  </a:lnTo>
                  <a:lnTo>
                    <a:pt x="2521" y="1609"/>
                  </a:lnTo>
                  <a:lnTo>
                    <a:pt x="2504" y="1585"/>
                  </a:lnTo>
                  <a:lnTo>
                    <a:pt x="2513" y="1564"/>
                  </a:lnTo>
                  <a:lnTo>
                    <a:pt x="2504" y="1552"/>
                  </a:lnTo>
                  <a:lnTo>
                    <a:pt x="2513" y="1535"/>
                  </a:lnTo>
                  <a:lnTo>
                    <a:pt x="2530" y="1535"/>
                  </a:lnTo>
                  <a:lnTo>
                    <a:pt x="2542" y="1531"/>
                  </a:lnTo>
                  <a:lnTo>
                    <a:pt x="2542" y="1498"/>
                  </a:lnTo>
                  <a:lnTo>
                    <a:pt x="2551" y="1498"/>
                  </a:lnTo>
                  <a:lnTo>
                    <a:pt x="2568" y="1436"/>
                  </a:lnTo>
                  <a:lnTo>
                    <a:pt x="2584" y="1424"/>
                  </a:lnTo>
                  <a:lnTo>
                    <a:pt x="2584" y="1403"/>
                  </a:lnTo>
                  <a:lnTo>
                    <a:pt x="2606" y="1363"/>
                  </a:lnTo>
                  <a:lnTo>
                    <a:pt x="2627" y="1309"/>
                  </a:lnTo>
                  <a:lnTo>
                    <a:pt x="2622" y="1287"/>
                  </a:lnTo>
                  <a:lnTo>
                    <a:pt x="2639" y="1259"/>
                  </a:lnTo>
                  <a:lnTo>
                    <a:pt x="2651" y="1252"/>
                  </a:lnTo>
                  <a:lnTo>
                    <a:pt x="2643" y="1202"/>
                  </a:lnTo>
                  <a:lnTo>
                    <a:pt x="2651" y="1198"/>
                  </a:lnTo>
                  <a:lnTo>
                    <a:pt x="2665" y="1165"/>
                  </a:lnTo>
                  <a:lnTo>
                    <a:pt x="2665" y="1148"/>
                  </a:lnTo>
                  <a:lnTo>
                    <a:pt x="2660" y="1136"/>
                  </a:lnTo>
                  <a:lnTo>
                    <a:pt x="2660" y="1091"/>
                  </a:lnTo>
                  <a:lnTo>
                    <a:pt x="2643" y="1013"/>
                  </a:lnTo>
                  <a:lnTo>
                    <a:pt x="2643" y="980"/>
                  </a:lnTo>
                  <a:lnTo>
                    <a:pt x="2665" y="976"/>
                  </a:lnTo>
                  <a:lnTo>
                    <a:pt x="2676" y="954"/>
                  </a:lnTo>
                  <a:lnTo>
                    <a:pt x="2676" y="914"/>
                  </a:lnTo>
                  <a:lnTo>
                    <a:pt x="2660" y="898"/>
                  </a:lnTo>
                  <a:lnTo>
                    <a:pt x="2660" y="869"/>
                  </a:lnTo>
                  <a:lnTo>
                    <a:pt x="2681" y="827"/>
                  </a:lnTo>
                  <a:lnTo>
                    <a:pt x="2693" y="787"/>
                  </a:lnTo>
                  <a:lnTo>
                    <a:pt x="2698" y="770"/>
                  </a:lnTo>
                  <a:lnTo>
                    <a:pt x="2698" y="737"/>
                  </a:lnTo>
                  <a:lnTo>
                    <a:pt x="2702" y="721"/>
                  </a:lnTo>
                  <a:lnTo>
                    <a:pt x="2702" y="716"/>
                  </a:lnTo>
                  <a:lnTo>
                    <a:pt x="2719" y="666"/>
                  </a:lnTo>
                  <a:lnTo>
                    <a:pt x="2719" y="643"/>
                  </a:lnTo>
                  <a:lnTo>
                    <a:pt x="2714" y="626"/>
                  </a:lnTo>
                  <a:lnTo>
                    <a:pt x="2736" y="593"/>
                  </a:lnTo>
                  <a:lnTo>
                    <a:pt x="2719" y="548"/>
                  </a:lnTo>
                  <a:lnTo>
                    <a:pt x="2731" y="482"/>
                  </a:lnTo>
                  <a:lnTo>
                    <a:pt x="2736" y="461"/>
                  </a:lnTo>
                  <a:lnTo>
                    <a:pt x="2731" y="454"/>
                  </a:lnTo>
                  <a:lnTo>
                    <a:pt x="2719" y="454"/>
                  </a:lnTo>
                  <a:lnTo>
                    <a:pt x="2719" y="421"/>
                  </a:lnTo>
                  <a:lnTo>
                    <a:pt x="2736" y="421"/>
                  </a:lnTo>
                  <a:lnTo>
                    <a:pt x="2747" y="404"/>
                  </a:lnTo>
                  <a:lnTo>
                    <a:pt x="2752" y="317"/>
                  </a:lnTo>
                  <a:lnTo>
                    <a:pt x="2757" y="293"/>
                  </a:lnTo>
                  <a:lnTo>
                    <a:pt x="2752" y="250"/>
                  </a:lnTo>
                  <a:lnTo>
                    <a:pt x="2757" y="189"/>
                  </a:lnTo>
                  <a:lnTo>
                    <a:pt x="2747" y="104"/>
                  </a:lnTo>
                  <a:lnTo>
                    <a:pt x="2747" y="71"/>
                  </a:lnTo>
                  <a:lnTo>
                    <a:pt x="2736" y="66"/>
                  </a:lnTo>
                  <a:lnTo>
                    <a:pt x="2736" y="66"/>
                  </a:lnTo>
                  <a:lnTo>
                    <a:pt x="2736" y="66"/>
                  </a:lnTo>
                  <a:close/>
                  <a:moveTo>
                    <a:pt x="0" y="737"/>
                  </a:moveTo>
                  <a:lnTo>
                    <a:pt x="0" y="732"/>
                  </a:lnTo>
                  <a:lnTo>
                    <a:pt x="17" y="732"/>
                  </a:lnTo>
                  <a:lnTo>
                    <a:pt x="0" y="737"/>
                  </a:lnTo>
                  <a:lnTo>
                    <a:pt x="0" y="737"/>
                  </a:lnTo>
                  <a:lnTo>
                    <a:pt x="0" y="737"/>
                  </a:lnTo>
                  <a:close/>
                  <a:moveTo>
                    <a:pt x="2138" y="1252"/>
                  </a:moveTo>
                  <a:lnTo>
                    <a:pt x="2143" y="1247"/>
                  </a:lnTo>
                  <a:lnTo>
                    <a:pt x="2152" y="1247"/>
                  </a:lnTo>
                  <a:lnTo>
                    <a:pt x="2138" y="1252"/>
                  </a:lnTo>
                  <a:lnTo>
                    <a:pt x="2138" y="1252"/>
                  </a:lnTo>
                  <a:lnTo>
                    <a:pt x="2138" y="1252"/>
                  </a:lnTo>
                  <a:close/>
                  <a:moveTo>
                    <a:pt x="2513" y="2029"/>
                  </a:moveTo>
                  <a:lnTo>
                    <a:pt x="2521" y="2046"/>
                  </a:lnTo>
                  <a:lnTo>
                    <a:pt x="2499" y="2046"/>
                  </a:lnTo>
                  <a:lnTo>
                    <a:pt x="2504" y="2069"/>
                  </a:lnTo>
                  <a:lnTo>
                    <a:pt x="2462" y="2053"/>
                  </a:lnTo>
                  <a:lnTo>
                    <a:pt x="2476" y="2024"/>
                  </a:lnTo>
                  <a:lnTo>
                    <a:pt x="2476" y="1996"/>
                  </a:lnTo>
                  <a:lnTo>
                    <a:pt x="2466" y="1991"/>
                  </a:lnTo>
                  <a:lnTo>
                    <a:pt x="2476" y="1968"/>
                  </a:lnTo>
                  <a:lnTo>
                    <a:pt x="2483" y="1951"/>
                  </a:lnTo>
                  <a:lnTo>
                    <a:pt x="2483" y="1930"/>
                  </a:lnTo>
                  <a:lnTo>
                    <a:pt x="2488" y="1930"/>
                  </a:lnTo>
                  <a:lnTo>
                    <a:pt x="2483" y="1935"/>
                  </a:lnTo>
                  <a:lnTo>
                    <a:pt x="2488" y="1935"/>
                  </a:lnTo>
                  <a:lnTo>
                    <a:pt x="2504" y="1930"/>
                  </a:lnTo>
                  <a:lnTo>
                    <a:pt x="2521" y="1935"/>
                  </a:lnTo>
                  <a:lnTo>
                    <a:pt x="2521" y="1942"/>
                  </a:lnTo>
                  <a:lnTo>
                    <a:pt x="2521" y="1951"/>
                  </a:lnTo>
                  <a:lnTo>
                    <a:pt x="2521" y="1958"/>
                  </a:lnTo>
                  <a:lnTo>
                    <a:pt x="2530" y="1968"/>
                  </a:lnTo>
                  <a:lnTo>
                    <a:pt x="2530" y="1975"/>
                  </a:lnTo>
                  <a:lnTo>
                    <a:pt x="2504" y="1975"/>
                  </a:lnTo>
                  <a:lnTo>
                    <a:pt x="2513" y="1991"/>
                  </a:lnTo>
                  <a:lnTo>
                    <a:pt x="2504" y="1991"/>
                  </a:lnTo>
                  <a:lnTo>
                    <a:pt x="2499" y="1984"/>
                  </a:lnTo>
                  <a:lnTo>
                    <a:pt x="2499" y="1991"/>
                  </a:lnTo>
                  <a:lnTo>
                    <a:pt x="2499" y="1996"/>
                  </a:lnTo>
                  <a:lnTo>
                    <a:pt x="2521" y="2013"/>
                  </a:lnTo>
                  <a:lnTo>
                    <a:pt x="2521" y="2024"/>
                  </a:lnTo>
                  <a:lnTo>
                    <a:pt x="2504" y="2024"/>
                  </a:lnTo>
                  <a:lnTo>
                    <a:pt x="2513" y="2029"/>
                  </a:lnTo>
                  <a:lnTo>
                    <a:pt x="2513" y="2029"/>
                  </a:lnTo>
                  <a:lnTo>
                    <a:pt x="2513" y="2029"/>
                  </a:lnTo>
                  <a:close/>
                  <a:moveTo>
                    <a:pt x="2589" y="1958"/>
                  </a:moveTo>
                  <a:lnTo>
                    <a:pt x="2584" y="1958"/>
                  </a:lnTo>
                  <a:lnTo>
                    <a:pt x="2589" y="1951"/>
                  </a:lnTo>
                  <a:lnTo>
                    <a:pt x="2589" y="1958"/>
                  </a:lnTo>
                  <a:lnTo>
                    <a:pt x="2589" y="1958"/>
                  </a:lnTo>
                  <a:lnTo>
                    <a:pt x="2589" y="1958"/>
                  </a:lnTo>
                  <a:close/>
                  <a:moveTo>
                    <a:pt x="2542" y="1975"/>
                  </a:moveTo>
                  <a:lnTo>
                    <a:pt x="2542" y="1968"/>
                  </a:lnTo>
                  <a:lnTo>
                    <a:pt x="2551" y="1968"/>
                  </a:lnTo>
                  <a:lnTo>
                    <a:pt x="2542" y="1975"/>
                  </a:lnTo>
                  <a:lnTo>
                    <a:pt x="2542" y="1975"/>
                  </a:lnTo>
                  <a:lnTo>
                    <a:pt x="2542" y="1975"/>
                  </a:lnTo>
                  <a:close/>
                  <a:moveTo>
                    <a:pt x="2521" y="1996"/>
                  </a:moveTo>
                  <a:lnTo>
                    <a:pt x="2504" y="1984"/>
                  </a:lnTo>
                  <a:lnTo>
                    <a:pt x="2521" y="1984"/>
                  </a:lnTo>
                  <a:lnTo>
                    <a:pt x="2521" y="1996"/>
                  </a:lnTo>
                  <a:lnTo>
                    <a:pt x="2521" y="1996"/>
                  </a:lnTo>
                  <a:lnTo>
                    <a:pt x="2521" y="1996"/>
                  </a:lnTo>
                  <a:close/>
                  <a:moveTo>
                    <a:pt x="2513" y="1996"/>
                  </a:moveTo>
                  <a:lnTo>
                    <a:pt x="2504" y="1996"/>
                  </a:lnTo>
                  <a:lnTo>
                    <a:pt x="2513" y="1996"/>
                  </a:lnTo>
                  <a:lnTo>
                    <a:pt x="2513" y="1996"/>
                  </a:lnTo>
                  <a:lnTo>
                    <a:pt x="2513" y="1996"/>
                  </a:lnTo>
                  <a:close/>
                  <a:moveTo>
                    <a:pt x="2428" y="2095"/>
                  </a:moveTo>
                  <a:lnTo>
                    <a:pt x="2424" y="2086"/>
                  </a:lnTo>
                  <a:lnTo>
                    <a:pt x="2445" y="2086"/>
                  </a:lnTo>
                  <a:lnTo>
                    <a:pt x="2428" y="2095"/>
                  </a:lnTo>
                  <a:lnTo>
                    <a:pt x="2428" y="2095"/>
                  </a:lnTo>
                  <a:lnTo>
                    <a:pt x="2428" y="2095"/>
                  </a:lnTo>
                  <a:close/>
                  <a:moveTo>
                    <a:pt x="2483" y="2119"/>
                  </a:moveTo>
                  <a:lnTo>
                    <a:pt x="2476" y="2107"/>
                  </a:lnTo>
                  <a:lnTo>
                    <a:pt x="2476" y="2102"/>
                  </a:lnTo>
                  <a:lnTo>
                    <a:pt x="2499" y="2102"/>
                  </a:lnTo>
                  <a:lnTo>
                    <a:pt x="2499" y="2107"/>
                  </a:lnTo>
                  <a:lnTo>
                    <a:pt x="2488" y="2107"/>
                  </a:lnTo>
                  <a:lnTo>
                    <a:pt x="2483" y="2119"/>
                  </a:lnTo>
                  <a:lnTo>
                    <a:pt x="2483" y="2119"/>
                  </a:lnTo>
                  <a:lnTo>
                    <a:pt x="2483" y="2119"/>
                  </a:lnTo>
                  <a:close/>
                  <a:moveTo>
                    <a:pt x="2542" y="2124"/>
                  </a:moveTo>
                  <a:lnTo>
                    <a:pt x="2537" y="2119"/>
                  </a:lnTo>
                  <a:lnTo>
                    <a:pt x="2537" y="2107"/>
                  </a:lnTo>
                  <a:lnTo>
                    <a:pt x="2542" y="2107"/>
                  </a:lnTo>
                  <a:lnTo>
                    <a:pt x="2542" y="2124"/>
                  </a:lnTo>
                  <a:lnTo>
                    <a:pt x="2542" y="2124"/>
                  </a:lnTo>
                  <a:lnTo>
                    <a:pt x="2542" y="2124"/>
                  </a:lnTo>
                  <a:close/>
                  <a:moveTo>
                    <a:pt x="2504" y="2135"/>
                  </a:moveTo>
                  <a:lnTo>
                    <a:pt x="2504" y="2119"/>
                  </a:lnTo>
                  <a:lnTo>
                    <a:pt x="2513" y="2124"/>
                  </a:lnTo>
                  <a:lnTo>
                    <a:pt x="2504" y="2135"/>
                  </a:lnTo>
                  <a:lnTo>
                    <a:pt x="2504" y="2135"/>
                  </a:lnTo>
                  <a:lnTo>
                    <a:pt x="2504" y="2135"/>
                  </a:lnTo>
                  <a:close/>
                  <a:moveTo>
                    <a:pt x="2488" y="2140"/>
                  </a:moveTo>
                  <a:lnTo>
                    <a:pt x="2483" y="2135"/>
                  </a:lnTo>
                  <a:lnTo>
                    <a:pt x="2488" y="2135"/>
                  </a:lnTo>
                  <a:lnTo>
                    <a:pt x="2488" y="2140"/>
                  </a:lnTo>
                  <a:lnTo>
                    <a:pt x="2488" y="2140"/>
                  </a:lnTo>
                  <a:lnTo>
                    <a:pt x="2488" y="2140"/>
                  </a:lnTo>
                  <a:close/>
                  <a:moveTo>
                    <a:pt x="2462" y="2140"/>
                  </a:moveTo>
                  <a:lnTo>
                    <a:pt x="2462" y="2135"/>
                  </a:lnTo>
                  <a:lnTo>
                    <a:pt x="2466" y="2135"/>
                  </a:lnTo>
                  <a:lnTo>
                    <a:pt x="2462" y="2140"/>
                  </a:lnTo>
                  <a:lnTo>
                    <a:pt x="2462" y="2140"/>
                  </a:lnTo>
                  <a:lnTo>
                    <a:pt x="2462" y="2140"/>
                  </a:lnTo>
                  <a:close/>
                  <a:moveTo>
                    <a:pt x="2483" y="2152"/>
                  </a:moveTo>
                  <a:lnTo>
                    <a:pt x="2476" y="2140"/>
                  </a:lnTo>
                  <a:lnTo>
                    <a:pt x="2483" y="2135"/>
                  </a:lnTo>
                  <a:lnTo>
                    <a:pt x="2488" y="2140"/>
                  </a:lnTo>
                  <a:lnTo>
                    <a:pt x="2483" y="2152"/>
                  </a:lnTo>
                  <a:lnTo>
                    <a:pt x="2483" y="2152"/>
                  </a:lnTo>
                  <a:lnTo>
                    <a:pt x="2483" y="2152"/>
                  </a:lnTo>
                  <a:close/>
                  <a:moveTo>
                    <a:pt x="2504" y="2152"/>
                  </a:moveTo>
                  <a:lnTo>
                    <a:pt x="2499" y="2140"/>
                  </a:lnTo>
                  <a:lnTo>
                    <a:pt x="2504" y="2140"/>
                  </a:lnTo>
                  <a:lnTo>
                    <a:pt x="2504" y="2152"/>
                  </a:lnTo>
                  <a:lnTo>
                    <a:pt x="2504" y="2152"/>
                  </a:lnTo>
                  <a:lnTo>
                    <a:pt x="2504" y="2152"/>
                  </a:lnTo>
                  <a:close/>
                  <a:moveTo>
                    <a:pt x="2499" y="2152"/>
                  </a:moveTo>
                  <a:lnTo>
                    <a:pt x="2488" y="2152"/>
                  </a:lnTo>
                  <a:lnTo>
                    <a:pt x="2499" y="2140"/>
                  </a:lnTo>
                  <a:lnTo>
                    <a:pt x="2499" y="2152"/>
                  </a:lnTo>
                  <a:lnTo>
                    <a:pt x="2499" y="2152"/>
                  </a:lnTo>
                  <a:lnTo>
                    <a:pt x="2499" y="2152"/>
                  </a:lnTo>
                  <a:close/>
                  <a:moveTo>
                    <a:pt x="2537" y="2157"/>
                  </a:moveTo>
                  <a:lnTo>
                    <a:pt x="2537" y="2152"/>
                  </a:lnTo>
                  <a:lnTo>
                    <a:pt x="2542" y="2157"/>
                  </a:lnTo>
                  <a:lnTo>
                    <a:pt x="2537" y="2157"/>
                  </a:lnTo>
                  <a:lnTo>
                    <a:pt x="2537" y="2157"/>
                  </a:lnTo>
                  <a:lnTo>
                    <a:pt x="2537" y="2157"/>
                  </a:lnTo>
                  <a:close/>
                  <a:moveTo>
                    <a:pt x="2488" y="2157"/>
                  </a:moveTo>
                  <a:lnTo>
                    <a:pt x="2476" y="2152"/>
                  </a:lnTo>
                  <a:lnTo>
                    <a:pt x="2488" y="2152"/>
                  </a:lnTo>
                  <a:lnTo>
                    <a:pt x="2488" y="2157"/>
                  </a:lnTo>
                  <a:lnTo>
                    <a:pt x="2488" y="2157"/>
                  </a:lnTo>
                  <a:lnTo>
                    <a:pt x="2488" y="2157"/>
                  </a:lnTo>
                  <a:close/>
                  <a:moveTo>
                    <a:pt x="2504" y="2157"/>
                  </a:moveTo>
                  <a:lnTo>
                    <a:pt x="2499" y="2157"/>
                  </a:lnTo>
                  <a:lnTo>
                    <a:pt x="2504" y="2152"/>
                  </a:lnTo>
                  <a:lnTo>
                    <a:pt x="2504" y="2157"/>
                  </a:lnTo>
                  <a:lnTo>
                    <a:pt x="2504" y="2157"/>
                  </a:lnTo>
                  <a:lnTo>
                    <a:pt x="2504" y="2157"/>
                  </a:lnTo>
                  <a:close/>
                  <a:moveTo>
                    <a:pt x="2568" y="2190"/>
                  </a:moveTo>
                  <a:lnTo>
                    <a:pt x="2537" y="2206"/>
                  </a:lnTo>
                  <a:lnTo>
                    <a:pt x="2530" y="2197"/>
                  </a:lnTo>
                  <a:lnTo>
                    <a:pt x="2537" y="2190"/>
                  </a:lnTo>
                  <a:lnTo>
                    <a:pt x="2530" y="2190"/>
                  </a:lnTo>
                  <a:lnTo>
                    <a:pt x="2521" y="2180"/>
                  </a:lnTo>
                  <a:lnTo>
                    <a:pt x="2537" y="2173"/>
                  </a:lnTo>
                  <a:lnTo>
                    <a:pt x="2537" y="2157"/>
                  </a:lnTo>
                  <a:lnTo>
                    <a:pt x="2551" y="2157"/>
                  </a:lnTo>
                  <a:lnTo>
                    <a:pt x="2575" y="2161"/>
                  </a:lnTo>
                  <a:lnTo>
                    <a:pt x="2568" y="2180"/>
                  </a:lnTo>
                  <a:lnTo>
                    <a:pt x="2551" y="2173"/>
                  </a:lnTo>
                  <a:lnTo>
                    <a:pt x="2568" y="2180"/>
                  </a:lnTo>
                  <a:lnTo>
                    <a:pt x="2568" y="2190"/>
                  </a:lnTo>
                  <a:lnTo>
                    <a:pt x="2568" y="2190"/>
                  </a:lnTo>
                  <a:lnTo>
                    <a:pt x="2568" y="2190"/>
                  </a:lnTo>
                  <a:close/>
                  <a:moveTo>
                    <a:pt x="2488" y="2161"/>
                  </a:moveTo>
                  <a:lnTo>
                    <a:pt x="2488" y="2157"/>
                  </a:lnTo>
                  <a:lnTo>
                    <a:pt x="2499" y="2157"/>
                  </a:lnTo>
                  <a:lnTo>
                    <a:pt x="2488" y="2161"/>
                  </a:lnTo>
                  <a:lnTo>
                    <a:pt x="2488" y="2161"/>
                  </a:lnTo>
                  <a:lnTo>
                    <a:pt x="2488" y="2161"/>
                  </a:lnTo>
                  <a:close/>
                  <a:moveTo>
                    <a:pt x="2462" y="2173"/>
                  </a:moveTo>
                  <a:lnTo>
                    <a:pt x="2445" y="2161"/>
                  </a:lnTo>
                  <a:lnTo>
                    <a:pt x="2462" y="2157"/>
                  </a:lnTo>
                  <a:lnTo>
                    <a:pt x="2466" y="2161"/>
                  </a:lnTo>
                  <a:lnTo>
                    <a:pt x="2462" y="2173"/>
                  </a:lnTo>
                  <a:lnTo>
                    <a:pt x="2462" y="2173"/>
                  </a:lnTo>
                  <a:lnTo>
                    <a:pt x="2462" y="2173"/>
                  </a:lnTo>
                  <a:close/>
                  <a:moveTo>
                    <a:pt x="2483" y="2173"/>
                  </a:moveTo>
                  <a:lnTo>
                    <a:pt x="2476" y="2157"/>
                  </a:lnTo>
                  <a:lnTo>
                    <a:pt x="2488" y="2161"/>
                  </a:lnTo>
                  <a:lnTo>
                    <a:pt x="2488" y="2173"/>
                  </a:lnTo>
                  <a:lnTo>
                    <a:pt x="2483" y="2173"/>
                  </a:lnTo>
                  <a:lnTo>
                    <a:pt x="2483" y="2173"/>
                  </a:lnTo>
                  <a:lnTo>
                    <a:pt x="2483" y="2173"/>
                  </a:lnTo>
                  <a:close/>
                  <a:moveTo>
                    <a:pt x="2462" y="2173"/>
                  </a:moveTo>
                  <a:lnTo>
                    <a:pt x="2462" y="2161"/>
                  </a:lnTo>
                  <a:lnTo>
                    <a:pt x="2466" y="2161"/>
                  </a:lnTo>
                  <a:lnTo>
                    <a:pt x="2476" y="2173"/>
                  </a:lnTo>
                  <a:lnTo>
                    <a:pt x="2462" y="2173"/>
                  </a:lnTo>
                  <a:lnTo>
                    <a:pt x="2462" y="2173"/>
                  </a:lnTo>
                  <a:lnTo>
                    <a:pt x="2462" y="2173"/>
                  </a:lnTo>
                  <a:close/>
                  <a:moveTo>
                    <a:pt x="2504" y="2190"/>
                  </a:moveTo>
                  <a:lnTo>
                    <a:pt x="2499" y="2173"/>
                  </a:lnTo>
                  <a:lnTo>
                    <a:pt x="2504" y="2173"/>
                  </a:lnTo>
                  <a:lnTo>
                    <a:pt x="2513" y="2180"/>
                  </a:lnTo>
                  <a:lnTo>
                    <a:pt x="2504" y="2190"/>
                  </a:lnTo>
                  <a:lnTo>
                    <a:pt x="2504" y="2190"/>
                  </a:lnTo>
                  <a:lnTo>
                    <a:pt x="2504" y="2190"/>
                  </a:lnTo>
                  <a:close/>
                  <a:moveTo>
                    <a:pt x="2428" y="2180"/>
                  </a:moveTo>
                  <a:lnTo>
                    <a:pt x="2428" y="2173"/>
                  </a:lnTo>
                  <a:lnTo>
                    <a:pt x="2433" y="2173"/>
                  </a:lnTo>
                  <a:lnTo>
                    <a:pt x="2428" y="2180"/>
                  </a:lnTo>
                  <a:lnTo>
                    <a:pt x="2428" y="2180"/>
                  </a:lnTo>
                  <a:lnTo>
                    <a:pt x="2428" y="2180"/>
                  </a:lnTo>
                  <a:close/>
                  <a:moveTo>
                    <a:pt x="2466" y="2190"/>
                  </a:moveTo>
                  <a:lnTo>
                    <a:pt x="2462" y="2180"/>
                  </a:lnTo>
                  <a:lnTo>
                    <a:pt x="2483" y="2173"/>
                  </a:lnTo>
                  <a:lnTo>
                    <a:pt x="2488" y="2180"/>
                  </a:lnTo>
                  <a:lnTo>
                    <a:pt x="2466" y="2190"/>
                  </a:lnTo>
                  <a:lnTo>
                    <a:pt x="2466" y="2190"/>
                  </a:lnTo>
                  <a:lnTo>
                    <a:pt x="2466" y="2190"/>
                  </a:lnTo>
                  <a:close/>
                  <a:moveTo>
                    <a:pt x="2450" y="2180"/>
                  </a:moveTo>
                  <a:lnTo>
                    <a:pt x="2433" y="2180"/>
                  </a:lnTo>
                  <a:lnTo>
                    <a:pt x="2445" y="2173"/>
                  </a:lnTo>
                  <a:lnTo>
                    <a:pt x="2450" y="2180"/>
                  </a:lnTo>
                  <a:lnTo>
                    <a:pt x="2450" y="2180"/>
                  </a:lnTo>
                  <a:lnTo>
                    <a:pt x="2450" y="2180"/>
                  </a:lnTo>
                  <a:close/>
                  <a:moveTo>
                    <a:pt x="2462" y="2197"/>
                  </a:moveTo>
                  <a:lnTo>
                    <a:pt x="2445" y="2190"/>
                  </a:lnTo>
                  <a:lnTo>
                    <a:pt x="2450" y="2190"/>
                  </a:lnTo>
                  <a:lnTo>
                    <a:pt x="2462" y="2197"/>
                  </a:lnTo>
                  <a:lnTo>
                    <a:pt x="2462" y="2197"/>
                  </a:lnTo>
                  <a:lnTo>
                    <a:pt x="2462" y="2197"/>
                  </a:lnTo>
                  <a:close/>
                  <a:moveTo>
                    <a:pt x="2504" y="2197"/>
                  </a:moveTo>
                  <a:lnTo>
                    <a:pt x="2504" y="2190"/>
                  </a:lnTo>
                  <a:lnTo>
                    <a:pt x="2513" y="2190"/>
                  </a:lnTo>
                  <a:lnTo>
                    <a:pt x="2504" y="2197"/>
                  </a:lnTo>
                  <a:lnTo>
                    <a:pt x="2504" y="2197"/>
                  </a:lnTo>
                  <a:lnTo>
                    <a:pt x="2504" y="2197"/>
                  </a:lnTo>
                  <a:close/>
                  <a:moveTo>
                    <a:pt x="2499" y="2206"/>
                  </a:moveTo>
                  <a:lnTo>
                    <a:pt x="2488" y="2197"/>
                  </a:lnTo>
                  <a:lnTo>
                    <a:pt x="2488" y="2190"/>
                  </a:lnTo>
                  <a:lnTo>
                    <a:pt x="2499" y="2206"/>
                  </a:lnTo>
                  <a:lnTo>
                    <a:pt x="2499" y="2206"/>
                  </a:lnTo>
                  <a:lnTo>
                    <a:pt x="2499" y="2206"/>
                  </a:lnTo>
                  <a:close/>
                  <a:moveTo>
                    <a:pt x="2483" y="2197"/>
                  </a:moveTo>
                  <a:lnTo>
                    <a:pt x="2476" y="2197"/>
                  </a:lnTo>
                  <a:lnTo>
                    <a:pt x="2488" y="2190"/>
                  </a:lnTo>
                  <a:lnTo>
                    <a:pt x="2483" y="2197"/>
                  </a:lnTo>
                  <a:lnTo>
                    <a:pt x="2483" y="2197"/>
                  </a:lnTo>
                  <a:lnTo>
                    <a:pt x="2483" y="2197"/>
                  </a:lnTo>
                  <a:close/>
                  <a:moveTo>
                    <a:pt x="2407" y="2206"/>
                  </a:moveTo>
                  <a:lnTo>
                    <a:pt x="2407" y="2197"/>
                  </a:lnTo>
                  <a:lnTo>
                    <a:pt x="2407" y="2190"/>
                  </a:lnTo>
                  <a:lnTo>
                    <a:pt x="2412" y="2197"/>
                  </a:lnTo>
                  <a:lnTo>
                    <a:pt x="2407" y="2206"/>
                  </a:lnTo>
                  <a:lnTo>
                    <a:pt x="2407" y="2206"/>
                  </a:lnTo>
                  <a:lnTo>
                    <a:pt x="2407" y="2206"/>
                  </a:lnTo>
                  <a:close/>
                  <a:moveTo>
                    <a:pt x="2466" y="2213"/>
                  </a:moveTo>
                  <a:lnTo>
                    <a:pt x="2462" y="2213"/>
                  </a:lnTo>
                  <a:lnTo>
                    <a:pt x="2476" y="2197"/>
                  </a:lnTo>
                  <a:lnTo>
                    <a:pt x="2488" y="2206"/>
                  </a:lnTo>
                  <a:lnTo>
                    <a:pt x="2466" y="2213"/>
                  </a:lnTo>
                  <a:lnTo>
                    <a:pt x="2466" y="2213"/>
                  </a:lnTo>
                  <a:lnTo>
                    <a:pt x="2466" y="2213"/>
                  </a:lnTo>
                  <a:close/>
                  <a:moveTo>
                    <a:pt x="2504" y="2235"/>
                  </a:moveTo>
                  <a:lnTo>
                    <a:pt x="2466" y="2230"/>
                  </a:lnTo>
                  <a:lnTo>
                    <a:pt x="2466" y="2218"/>
                  </a:lnTo>
                  <a:lnTo>
                    <a:pt x="2499" y="2213"/>
                  </a:lnTo>
                  <a:lnTo>
                    <a:pt x="2504" y="2218"/>
                  </a:lnTo>
                  <a:lnTo>
                    <a:pt x="2504" y="2235"/>
                  </a:lnTo>
                  <a:lnTo>
                    <a:pt x="2504" y="2235"/>
                  </a:lnTo>
                  <a:lnTo>
                    <a:pt x="2504" y="2235"/>
                  </a:lnTo>
                  <a:close/>
                  <a:moveTo>
                    <a:pt x="2462" y="2235"/>
                  </a:moveTo>
                  <a:lnTo>
                    <a:pt x="2450" y="2230"/>
                  </a:lnTo>
                  <a:lnTo>
                    <a:pt x="2462" y="2218"/>
                  </a:lnTo>
                  <a:lnTo>
                    <a:pt x="2466" y="2230"/>
                  </a:lnTo>
                  <a:lnTo>
                    <a:pt x="2462" y="2235"/>
                  </a:lnTo>
                  <a:lnTo>
                    <a:pt x="2462" y="2235"/>
                  </a:lnTo>
                  <a:lnTo>
                    <a:pt x="2462" y="2235"/>
                  </a:lnTo>
                  <a:close/>
                  <a:moveTo>
                    <a:pt x="2483" y="2247"/>
                  </a:moveTo>
                  <a:lnTo>
                    <a:pt x="2476" y="2230"/>
                  </a:lnTo>
                  <a:lnTo>
                    <a:pt x="2483" y="2230"/>
                  </a:lnTo>
                  <a:lnTo>
                    <a:pt x="2499" y="2235"/>
                  </a:lnTo>
                  <a:lnTo>
                    <a:pt x="2483" y="2247"/>
                  </a:lnTo>
                  <a:lnTo>
                    <a:pt x="2483" y="2247"/>
                  </a:lnTo>
                  <a:lnTo>
                    <a:pt x="2483" y="2247"/>
                  </a:lnTo>
                  <a:close/>
                  <a:moveTo>
                    <a:pt x="2462" y="2247"/>
                  </a:moveTo>
                  <a:lnTo>
                    <a:pt x="2445" y="2235"/>
                  </a:lnTo>
                  <a:lnTo>
                    <a:pt x="2462" y="2235"/>
                  </a:lnTo>
                  <a:lnTo>
                    <a:pt x="2462" y="2247"/>
                  </a:lnTo>
                  <a:lnTo>
                    <a:pt x="2462" y="2247"/>
                  </a:lnTo>
                  <a:lnTo>
                    <a:pt x="2462" y="2247"/>
                  </a:lnTo>
                  <a:close/>
                  <a:moveTo>
                    <a:pt x="2488" y="2251"/>
                  </a:moveTo>
                  <a:lnTo>
                    <a:pt x="2483" y="2247"/>
                  </a:lnTo>
                  <a:lnTo>
                    <a:pt x="2499" y="2247"/>
                  </a:lnTo>
                  <a:lnTo>
                    <a:pt x="2488" y="2251"/>
                  </a:lnTo>
                  <a:lnTo>
                    <a:pt x="2488" y="2251"/>
                  </a:lnTo>
                  <a:lnTo>
                    <a:pt x="2488" y="2251"/>
                  </a:lnTo>
                  <a:close/>
                  <a:moveTo>
                    <a:pt x="2450" y="2263"/>
                  </a:moveTo>
                  <a:lnTo>
                    <a:pt x="2445" y="2263"/>
                  </a:lnTo>
                  <a:lnTo>
                    <a:pt x="2450" y="2247"/>
                  </a:lnTo>
                  <a:lnTo>
                    <a:pt x="2450" y="2263"/>
                  </a:lnTo>
                  <a:lnTo>
                    <a:pt x="2450" y="2263"/>
                  </a:lnTo>
                  <a:lnTo>
                    <a:pt x="2450" y="2263"/>
                  </a:lnTo>
                  <a:close/>
                  <a:moveTo>
                    <a:pt x="2476" y="2263"/>
                  </a:moveTo>
                  <a:lnTo>
                    <a:pt x="2483" y="2247"/>
                  </a:lnTo>
                  <a:lnTo>
                    <a:pt x="2499" y="2251"/>
                  </a:lnTo>
                  <a:lnTo>
                    <a:pt x="2499" y="2263"/>
                  </a:lnTo>
                  <a:lnTo>
                    <a:pt x="2483" y="2251"/>
                  </a:lnTo>
                  <a:lnTo>
                    <a:pt x="2476" y="2263"/>
                  </a:lnTo>
                  <a:lnTo>
                    <a:pt x="2476" y="2263"/>
                  </a:lnTo>
                  <a:lnTo>
                    <a:pt x="2476" y="2263"/>
                  </a:lnTo>
                  <a:close/>
                  <a:moveTo>
                    <a:pt x="2504" y="2272"/>
                  </a:moveTo>
                  <a:lnTo>
                    <a:pt x="2499" y="2268"/>
                  </a:lnTo>
                  <a:lnTo>
                    <a:pt x="2504" y="2251"/>
                  </a:lnTo>
                  <a:lnTo>
                    <a:pt x="2513" y="2251"/>
                  </a:lnTo>
                  <a:lnTo>
                    <a:pt x="2504" y="2272"/>
                  </a:lnTo>
                  <a:lnTo>
                    <a:pt x="2504" y="2272"/>
                  </a:lnTo>
                  <a:lnTo>
                    <a:pt x="2504" y="2272"/>
                  </a:lnTo>
                  <a:close/>
                  <a:moveTo>
                    <a:pt x="2450" y="2272"/>
                  </a:moveTo>
                  <a:lnTo>
                    <a:pt x="2450" y="2263"/>
                  </a:lnTo>
                  <a:lnTo>
                    <a:pt x="2462" y="2251"/>
                  </a:lnTo>
                  <a:lnTo>
                    <a:pt x="2466" y="2268"/>
                  </a:lnTo>
                  <a:lnTo>
                    <a:pt x="2450" y="2272"/>
                  </a:lnTo>
                  <a:lnTo>
                    <a:pt x="2450" y="2272"/>
                  </a:lnTo>
                  <a:lnTo>
                    <a:pt x="2450" y="2272"/>
                  </a:lnTo>
                  <a:close/>
                  <a:moveTo>
                    <a:pt x="2483" y="2272"/>
                  </a:moveTo>
                  <a:lnTo>
                    <a:pt x="2476" y="2263"/>
                  </a:lnTo>
                  <a:lnTo>
                    <a:pt x="2483" y="2263"/>
                  </a:lnTo>
                  <a:lnTo>
                    <a:pt x="2488" y="2268"/>
                  </a:lnTo>
                  <a:lnTo>
                    <a:pt x="2483" y="2272"/>
                  </a:lnTo>
                  <a:lnTo>
                    <a:pt x="2483" y="2272"/>
                  </a:lnTo>
                  <a:lnTo>
                    <a:pt x="2483" y="2272"/>
                  </a:lnTo>
                  <a:close/>
                  <a:moveTo>
                    <a:pt x="2433" y="2272"/>
                  </a:moveTo>
                  <a:lnTo>
                    <a:pt x="2433" y="2268"/>
                  </a:lnTo>
                  <a:lnTo>
                    <a:pt x="2445" y="2263"/>
                  </a:lnTo>
                  <a:lnTo>
                    <a:pt x="2445" y="2272"/>
                  </a:lnTo>
                  <a:lnTo>
                    <a:pt x="2433" y="2272"/>
                  </a:lnTo>
                  <a:lnTo>
                    <a:pt x="2433" y="2272"/>
                  </a:lnTo>
                  <a:lnTo>
                    <a:pt x="2433" y="2272"/>
                  </a:lnTo>
                  <a:close/>
                  <a:moveTo>
                    <a:pt x="2483" y="2289"/>
                  </a:moveTo>
                  <a:lnTo>
                    <a:pt x="2476" y="2284"/>
                  </a:lnTo>
                  <a:lnTo>
                    <a:pt x="2483" y="2272"/>
                  </a:lnTo>
                  <a:lnTo>
                    <a:pt x="2488" y="2284"/>
                  </a:lnTo>
                  <a:lnTo>
                    <a:pt x="2483" y="2289"/>
                  </a:lnTo>
                  <a:lnTo>
                    <a:pt x="2483" y="2289"/>
                  </a:lnTo>
                  <a:lnTo>
                    <a:pt x="2483" y="2289"/>
                  </a:lnTo>
                  <a:close/>
                  <a:moveTo>
                    <a:pt x="2488" y="2301"/>
                  </a:moveTo>
                  <a:lnTo>
                    <a:pt x="2488" y="2289"/>
                  </a:lnTo>
                  <a:lnTo>
                    <a:pt x="2504" y="2284"/>
                  </a:lnTo>
                  <a:lnTo>
                    <a:pt x="2504" y="2289"/>
                  </a:lnTo>
                  <a:lnTo>
                    <a:pt x="2488" y="2301"/>
                  </a:lnTo>
                  <a:lnTo>
                    <a:pt x="2488" y="2301"/>
                  </a:lnTo>
                  <a:lnTo>
                    <a:pt x="2488" y="2301"/>
                  </a:lnTo>
                  <a:close/>
                  <a:moveTo>
                    <a:pt x="2412" y="2308"/>
                  </a:moveTo>
                  <a:lnTo>
                    <a:pt x="2407" y="2301"/>
                  </a:lnTo>
                  <a:lnTo>
                    <a:pt x="2424" y="2301"/>
                  </a:lnTo>
                  <a:lnTo>
                    <a:pt x="2412" y="2301"/>
                  </a:lnTo>
                  <a:lnTo>
                    <a:pt x="2407" y="2289"/>
                  </a:lnTo>
                  <a:lnTo>
                    <a:pt x="2424" y="2289"/>
                  </a:lnTo>
                  <a:lnTo>
                    <a:pt x="2433" y="2284"/>
                  </a:lnTo>
                  <a:lnTo>
                    <a:pt x="2428" y="2301"/>
                  </a:lnTo>
                  <a:lnTo>
                    <a:pt x="2412" y="2308"/>
                  </a:lnTo>
                  <a:lnTo>
                    <a:pt x="2412" y="2308"/>
                  </a:lnTo>
                  <a:lnTo>
                    <a:pt x="2412" y="2308"/>
                  </a:lnTo>
                  <a:close/>
                  <a:moveTo>
                    <a:pt x="2504" y="2301"/>
                  </a:moveTo>
                  <a:lnTo>
                    <a:pt x="2499" y="2301"/>
                  </a:lnTo>
                  <a:lnTo>
                    <a:pt x="2499" y="2289"/>
                  </a:lnTo>
                  <a:lnTo>
                    <a:pt x="2504" y="2301"/>
                  </a:lnTo>
                  <a:lnTo>
                    <a:pt x="2504" y="2301"/>
                  </a:lnTo>
                  <a:lnTo>
                    <a:pt x="2504" y="2301"/>
                  </a:lnTo>
                  <a:close/>
                  <a:moveTo>
                    <a:pt x="2499" y="2317"/>
                  </a:moveTo>
                  <a:lnTo>
                    <a:pt x="2488" y="2301"/>
                  </a:lnTo>
                  <a:lnTo>
                    <a:pt x="2504" y="2308"/>
                  </a:lnTo>
                  <a:lnTo>
                    <a:pt x="2499" y="2317"/>
                  </a:lnTo>
                  <a:lnTo>
                    <a:pt x="2499" y="2317"/>
                  </a:lnTo>
                  <a:lnTo>
                    <a:pt x="2499" y="2317"/>
                  </a:lnTo>
                  <a:close/>
                  <a:moveTo>
                    <a:pt x="2476" y="2400"/>
                  </a:moveTo>
                  <a:lnTo>
                    <a:pt x="2476" y="2395"/>
                  </a:lnTo>
                  <a:lnTo>
                    <a:pt x="2488" y="2395"/>
                  </a:lnTo>
                  <a:lnTo>
                    <a:pt x="2476" y="2400"/>
                  </a:lnTo>
                  <a:lnTo>
                    <a:pt x="2476" y="2400"/>
                  </a:lnTo>
                  <a:lnTo>
                    <a:pt x="2476" y="2400"/>
                  </a:lnTo>
                  <a:close/>
                  <a:moveTo>
                    <a:pt x="2450" y="2400"/>
                  </a:moveTo>
                  <a:lnTo>
                    <a:pt x="2450" y="2395"/>
                  </a:lnTo>
                  <a:lnTo>
                    <a:pt x="2462" y="2395"/>
                  </a:lnTo>
                  <a:lnTo>
                    <a:pt x="2450" y="2400"/>
                  </a:lnTo>
                  <a:lnTo>
                    <a:pt x="2450" y="2400"/>
                  </a:lnTo>
                  <a:lnTo>
                    <a:pt x="2450" y="2400"/>
                  </a:lnTo>
                  <a:close/>
                  <a:moveTo>
                    <a:pt x="2412" y="2457"/>
                  </a:moveTo>
                  <a:lnTo>
                    <a:pt x="2407" y="2452"/>
                  </a:lnTo>
                  <a:lnTo>
                    <a:pt x="2424" y="2457"/>
                  </a:lnTo>
                  <a:lnTo>
                    <a:pt x="2412" y="2457"/>
                  </a:lnTo>
                  <a:lnTo>
                    <a:pt x="2412" y="2457"/>
                  </a:lnTo>
                  <a:lnTo>
                    <a:pt x="2412" y="2457"/>
                  </a:lnTo>
                  <a:close/>
                  <a:moveTo>
                    <a:pt x="2407" y="2469"/>
                  </a:moveTo>
                  <a:lnTo>
                    <a:pt x="2391" y="2457"/>
                  </a:lnTo>
                  <a:lnTo>
                    <a:pt x="2407" y="2452"/>
                  </a:lnTo>
                  <a:lnTo>
                    <a:pt x="2412" y="2469"/>
                  </a:lnTo>
                  <a:lnTo>
                    <a:pt x="2407" y="2469"/>
                  </a:lnTo>
                  <a:lnTo>
                    <a:pt x="2407" y="2469"/>
                  </a:lnTo>
                  <a:lnTo>
                    <a:pt x="2407" y="2469"/>
                  </a:lnTo>
                  <a:close/>
                  <a:moveTo>
                    <a:pt x="2462" y="2485"/>
                  </a:moveTo>
                  <a:lnTo>
                    <a:pt x="2450" y="2473"/>
                  </a:lnTo>
                  <a:lnTo>
                    <a:pt x="2466" y="2469"/>
                  </a:lnTo>
                  <a:lnTo>
                    <a:pt x="2499" y="2473"/>
                  </a:lnTo>
                  <a:lnTo>
                    <a:pt x="2488" y="2473"/>
                  </a:lnTo>
                  <a:lnTo>
                    <a:pt x="2462" y="2485"/>
                  </a:lnTo>
                  <a:lnTo>
                    <a:pt x="2462" y="2485"/>
                  </a:lnTo>
                  <a:lnTo>
                    <a:pt x="2462" y="2485"/>
                  </a:lnTo>
                  <a:close/>
                  <a:moveTo>
                    <a:pt x="2424" y="2490"/>
                  </a:moveTo>
                  <a:lnTo>
                    <a:pt x="2412" y="2485"/>
                  </a:lnTo>
                  <a:lnTo>
                    <a:pt x="2395" y="2485"/>
                  </a:lnTo>
                  <a:lnTo>
                    <a:pt x="2428" y="2469"/>
                  </a:lnTo>
                  <a:lnTo>
                    <a:pt x="2428" y="2485"/>
                  </a:lnTo>
                  <a:lnTo>
                    <a:pt x="2424" y="2490"/>
                  </a:lnTo>
                  <a:lnTo>
                    <a:pt x="2424" y="2490"/>
                  </a:lnTo>
                  <a:lnTo>
                    <a:pt x="2424" y="2490"/>
                  </a:lnTo>
                  <a:close/>
                  <a:moveTo>
                    <a:pt x="2395" y="2544"/>
                  </a:moveTo>
                  <a:lnTo>
                    <a:pt x="2395" y="2539"/>
                  </a:lnTo>
                  <a:lnTo>
                    <a:pt x="2391" y="2523"/>
                  </a:lnTo>
                  <a:lnTo>
                    <a:pt x="2374" y="2523"/>
                  </a:lnTo>
                  <a:lnTo>
                    <a:pt x="2391" y="2506"/>
                  </a:lnTo>
                  <a:lnTo>
                    <a:pt x="2374" y="2511"/>
                  </a:lnTo>
                  <a:lnTo>
                    <a:pt x="2374" y="2490"/>
                  </a:lnTo>
                  <a:lnTo>
                    <a:pt x="2379" y="2485"/>
                  </a:lnTo>
                  <a:lnTo>
                    <a:pt x="2391" y="2485"/>
                  </a:lnTo>
                  <a:lnTo>
                    <a:pt x="2407" y="2528"/>
                  </a:lnTo>
                  <a:lnTo>
                    <a:pt x="2407" y="2539"/>
                  </a:lnTo>
                  <a:lnTo>
                    <a:pt x="2395" y="2544"/>
                  </a:lnTo>
                  <a:lnTo>
                    <a:pt x="2395" y="2544"/>
                  </a:lnTo>
                  <a:lnTo>
                    <a:pt x="2395" y="2544"/>
                  </a:lnTo>
                  <a:close/>
                  <a:moveTo>
                    <a:pt x="2412" y="2523"/>
                  </a:moveTo>
                  <a:lnTo>
                    <a:pt x="2395" y="2490"/>
                  </a:lnTo>
                  <a:lnTo>
                    <a:pt x="2428" y="2495"/>
                  </a:lnTo>
                  <a:lnTo>
                    <a:pt x="2428" y="2511"/>
                  </a:lnTo>
                  <a:lnTo>
                    <a:pt x="2412" y="2523"/>
                  </a:lnTo>
                  <a:lnTo>
                    <a:pt x="2412" y="2523"/>
                  </a:lnTo>
                  <a:lnTo>
                    <a:pt x="2412" y="2523"/>
                  </a:lnTo>
                  <a:close/>
                  <a:moveTo>
                    <a:pt x="2445" y="2511"/>
                  </a:moveTo>
                  <a:lnTo>
                    <a:pt x="2445" y="2506"/>
                  </a:lnTo>
                  <a:lnTo>
                    <a:pt x="2445" y="2490"/>
                  </a:lnTo>
                  <a:lnTo>
                    <a:pt x="2462" y="2506"/>
                  </a:lnTo>
                  <a:lnTo>
                    <a:pt x="2445" y="2511"/>
                  </a:lnTo>
                  <a:lnTo>
                    <a:pt x="2445" y="2511"/>
                  </a:lnTo>
                  <a:lnTo>
                    <a:pt x="2445" y="2511"/>
                  </a:lnTo>
                  <a:close/>
                  <a:moveTo>
                    <a:pt x="2445" y="2544"/>
                  </a:moveTo>
                  <a:lnTo>
                    <a:pt x="2412" y="2539"/>
                  </a:lnTo>
                  <a:lnTo>
                    <a:pt x="2412" y="2528"/>
                  </a:lnTo>
                  <a:lnTo>
                    <a:pt x="2424" y="2523"/>
                  </a:lnTo>
                  <a:lnTo>
                    <a:pt x="2433" y="2523"/>
                  </a:lnTo>
                  <a:lnTo>
                    <a:pt x="2428" y="2511"/>
                  </a:lnTo>
                  <a:lnTo>
                    <a:pt x="2433" y="2490"/>
                  </a:lnTo>
                  <a:lnTo>
                    <a:pt x="2445" y="2523"/>
                  </a:lnTo>
                  <a:lnTo>
                    <a:pt x="2445" y="2539"/>
                  </a:lnTo>
                  <a:lnTo>
                    <a:pt x="2450" y="2539"/>
                  </a:lnTo>
                  <a:lnTo>
                    <a:pt x="2445" y="2544"/>
                  </a:lnTo>
                  <a:lnTo>
                    <a:pt x="2445" y="2544"/>
                  </a:lnTo>
                  <a:lnTo>
                    <a:pt x="2445" y="2544"/>
                  </a:lnTo>
                  <a:close/>
                  <a:moveTo>
                    <a:pt x="2466" y="2523"/>
                  </a:moveTo>
                  <a:lnTo>
                    <a:pt x="2450" y="2511"/>
                  </a:lnTo>
                  <a:lnTo>
                    <a:pt x="2462" y="2506"/>
                  </a:lnTo>
                  <a:lnTo>
                    <a:pt x="2466" y="2523"/>
                  </a:lnTo>
                  <a:lnTo>
                    <a:pt x="2466" y="2523"/>
                  </a:lnTo>
                  <a:lnTo>
                    <a:pt x="2466" y="2523"/>
                  </a:lnTo>
                  <a:close/>
                  <a:moveTo>
                    <a:pt x="2483" y="2528"/>
                  </a:moveTo>
                  <a:lnTo>
                    <a:pt x="2466" y="2511"/>
                  </a:lnTo>
                  <a:lnTo>
                    <a:pt x="2483" y="2523"/>
                  </a:lnTo>
                  <a:lnTo>
                    <a:pt x="2483" y="2528"/>
                  </a:lnTo>
                  <a:lnTo>
                    <a:pt x="2483" y="2528"/>
                  </a:lnTo>
                  <a:lnTo>
                    <a:pt x="2483" y="2528"/>
                  </a:lnTo>
                  <a:close/>
                  <a:moveTo>
                    <a:pt x="2450" y="2528"/>
                  </a:moveTo>
                  <a:lnTo>
                    <a:pt x="2450" y="2523"/>
                  </a:lnTo>
                  <a:lnTo>
                    <a:pt x="2466" y="2523"/>
                  </a:lnTo>
                  <a:lnTo>
                    <a:pt x="2450" y="2528"/>
                  </a:lnTo>
                  <a:lnTo>
                    <a:pt x="2450" y="2528"/>
                  </a:lnTo>
                  <a:lnTo>
                    <a:pt x="2450" y="2528"/>
                  </a:lnTo>
                  <a:close/>
                  <a:moveTo>
                    <a:pt x="2374" y="2544"/>
                  </a:moveTo>
                  <a:lnTo>
                    <a:pt x="2379" y="2539"/>
                  </a:lnTo>
                  <a:lnTo>
                    <a:pt x="2369" y="2539"/>
                  </a:lnTo>
                  <a:lnTo>
                    <a:pt x="2374" y="2523"/>
                  </a:lnTo>
                  <a:lnTo>
                    <a:pt x="2391" y="2523"/>
                  </a:lnTo>
                  <a:lnTo>
                    <a:pt x="2391" y="2539"/>
                  </a:lnTo>
                  <a:lnTo>
                    <a:pt x="2374" y="2544"/>
                  </a:lnTo>
                  <a:lnTo>
                    <a:pt x="2374" y="2544"/>
                  </a:lnTo>
                  <a:lnTo>
                    <a:pt x="2374" y="2544"/>
                  </a:lnTo>
                  <a:close/>
                  <a:moveTo>
                    <a:pt x="2407" y="2561"/>
                  </a:moveTo>
                  <a:lnTo>
                    <a:pt x="2395" y="2551"/>
                  </a:lnTo>
                  <a:lnTo>
                    <a:pt x="2412" y="2539"/>
                  </a:lnTo>
                  <a:lnTo>
                    <a:pt x="2407" y="2561"/>
                  </a:lnTo>
                  <a:lnTo>
                    <a:pt x="2407" y="2561"/>
                  </a:lnTo>
                  <a:lnTo>
                    <a:pt x="2407" y="2561"/>
                  </a:lnTo>
                  <a:close/>
                  <a:moveTo>
                    <a:pt x="2374" y="2551"/>
                  </a:moveTo>
                  <a:lnTo>
                    <a:pt x="2369" y="2544"/>
                  </a:lnTo>
                  <a:lnTo>
                    <a:pt x="2391" y="2539"/>
                  </a:lnTo>
                  <a:lnTo>
                    <a:pt x="2395" y="2544"/>
                  </a:lnTo>
                  <a:lnTo>
                    <a:pt x="2374" y="2551"/>
                  </a:lnTo>
                  <a:lnTo>
                    <a:pt x="2374" y="2551"/>
                  </a:lnTo>
                  <a:lnTo>
                    <a:pt x="2374" y="2551"/>
                  </a:lnTo>
                  <a:close/>
                  <a:moveTo>
                    <a:pt x="2412" y="2551"/>
                  </a:moveTo>
                  <a:lnTo>
                    <a:pt x="2412" y="2539"/>
                  </a:lnTo>
                  <a:lnTo>
                    <a:pt x="2428" y="2544"/>
                  </a:lnTo>
                  <a:lnTo>
                    <a:pt x="2412" y="2551"/>
                  </a:lnTo>
                  <a:lnTo>
                    <a:pt x="2412" y="2551"/>
                  </a:lnTo>
                  <a:lnTo>
                    <a:pt x="2412" y="2551"/>
                  </a:lnTo>
                  <a:close/>
                  <a:moveTo>
                    <a:pt x="2428" y="2672"/>
                  </a:moveTo>
                  <a:lnTo>
                    <a:pt x="2424" y="2662"/>
                  </a:lnTo>
                  <a:lnTo>
                    <a:pt x="2433" y="2662"/>
                  </a:lnTo>
                  <a:lnTo>
                    <a:pt x="2433" y="2655"/>
                  </a:lnTo>
                  <a:lnTo>
                    <a:pt x="2424" y="2662"/>
                  </a:lnTo>
                  <a:lnTo>
                    <a:pt x="2424" y="2639"/>
                  </a:lnTo>
                  <a:lnTo>
                    <a:pt x="2424" y="2622"/>
                  </a:lnTo>
                  <a:lnTo>
                    <a:pt x="2433" y="2606"/>
                  </a:lnTo>
                  <a:lnTo>
                    <a:pt x="2424" y="2622"/>
                  </a:lnTo>
                  <a:lnTo>
                    <a:pt x="2412" y="2622"/>
                  </a:lnTo>
                  <a:lnTo>
                    <a:pt x="2412" y="2655"/>
                  </a:lnTo>
                  <a:lnTo>
                    <a:pt x="2407" y="2655"/>
                  </a:lnTo>
                  <a:lnTo>
                    <a:pt x="2391" y="2634"/>
                  </a:lnTo>
                  <a:lnTo>
                    <a:pt x="2395" y="2617"/>
                  </a:lnTo>
                  <a:lnTo>
                    <a:pt x="2379" y="2617"/>
                  </a:lnTo>
                  <a:lnTo>
                    <a:pt x="2379" y="2601"/>
                  </a:lnTo>
                  <a:lnTo>
                    <a:pt x="2391" y="2601"/>
                  </a:lnTo>
                  <a:lnTo>
                    <a:pt x="2407" y="2617"/>
                  </a:lnTo>
                  <a:lnTo>
                    <a:pt x="2391" y="2601"/>
                  </a:lnTo>
                  <a:lnTo>
                    <a:pt x="2407" y="2606"/>
                  </a:lnTo>
                  <a:lnTo>
                    <a:pt x="2407" y="2596"/>
                  </a:lnTo>
                  <a:lnTo>
                    <a:pt x="2424" y="2601"/>
                  </a:lnTo>
                  <a:lnTo>
                    <a:pt x="2428" y="2584"/>
                  </a:lnTo>
                  <a:lnTo>
                    <a:pt x="2412" y="2561"/>
                  </a:lnTo>
                  <a:lnTo>
                    <a:pt x="2428" y="2544"/>
                  </a:lnTo>
                  <a:lnTo>
                    <a:pt x="2450" y="2544"/>
                  </a:lnTo>
                  <a:lnTo>
                    <a:pt x="2450" y="2601"/>
                  </a:lnTo>
                  <a:lnTo>
                    <a:pt x="2445" y="2639"/>
                  </a:lnTo>
                  <a:lnTo>
                    <a:pt x="2450" y="2634"/>
                  </a:lnTo>
                  <a:lnTo>
                    <a:pt x="2462" y="2639"/>
                  </a:lnTo>
                  <a:lnTo>
                    <a:pt x="2450" y="2662"/>
                  </a:lnTo>
                  <a:lnTo>
                    <a:pt x="2428" y="2672"/>
                  </a:lnTo>
                  <a:lnTo>
                    <a:pt x="2428" y="2672"/>
                  </a:lnTo>
                  <a:lnTo>
                    <a:pt x="2428" y="2672"/>
                  </a:lnTo>
                  <a:close/>
                  <a:moveTo>
                    <a:pt x="2395" y="2568"/>
                  </a:moveTo>
                  <a:lnTo>
                    <a:pt x="2391" y="2551"/>
                  </a:lnTo>
                  <a:lnTo>
                    <a:pt x="2407" y="2561"/>
                  </a:lnTo>
                  <a:lnTo>
                    <a:pt x="2412" y="2568"/>
                  </a:lnTo>
                  <a:lnTo>
                    <a:pt x="2395" y="2568"/>
                  </a:lnTo>
                  <a:lnTo>
                    <a:pt x="2395" y="2568"/>
                  </a:lnTo>
                  <a:lnTo>
                    <a:pt x="2395" y="2568"/>
                  </a:lnTo>
                  <a:close/>
                  <a:moveTo>
                    <a:pt x="2395" y="2584"/>
                  </a:moveTo>
                  <a:lnTo>
                    <a:pt x="2391" y="2568"/>
                  </a:lnTo>
                  <a:lnTo>
                    <a:pt x="2379" y="2580"/>
                  </a:lnTo>
                  <a:lnTo>
                    <a:pt x="2369" y="2561"/>
                  </a:lnTo>
                  <a:lnTo>
                    <a:pt x="2391" y="2561"/>
                  </a:lnTo>
                  <a:lnTo>
                    <a:pt x="2395" y="2580"/>
                  </a:lnTo>
                  <a:lnTo>
                    <a:pt x="2395" y="2584"/>
                  </a:lnTo>
                  <a:lnTo>
                    <a:pt x="2395" y="2584"/>
                  </a:lnTo>
                  <a:lnTo>
                    <a:pt x="2395" y="2584"/>
                  </a:lnTo>
                  <a:close/>
                  <a:moveTo>
                    <a:pt x="2374" y="2601"/>
                  </a:moveTo>
                  <a:lnTo>
                    <a:pt x="2369" y="2596"/>
                  </a:lnTo>
                  <a:lnTo>
                    <a:pt x="2391" y="2568"/>
                  </a:lnTo>
                  <a:lnTo>
                    <a:pt x="2395" y="2584"/>
                  </a:lnTo>
                  <a:lnTo>
                    <a:pt x="2374" y="2601"/>
                  </a:lnTo>
                  <a:lnTo>
                    <a:pt x="2374" y="2601"/>
                  </a:lnTo>
                  <a:lnTo>
                    <a:pt x="2374" y="2601"/>
                  </a:lnTo>
                  <a:close/>
                  <a:moveTo>
                    <a:pt x="2424" y="2601"/>
                  </a:moveTo>
                  <a:lnTo>
                    <a:pt x="2395" y="2584"/>
                  </a:lnTo>
                  <a:lnTo>
                    <a:pt x="2407" y="2580"/>
                  </a:lnTo>
                  <a:lnTo>
                    <a:pt x="2412" y="2580"/>
                  </a:lnTo>
                  <a:lnTo>
                    <a:pt x="2424" y="2584"/>
                  </a:lnTo>
                  <a:lnTo>
                    <a:pt x="2424" y="2601"/>
                  </a:lnTo>
                  <a:lnTo>
                    <a:pt x="2424" y="2601"/>
                  </a:lnTo>
                  <a:lnTo>
                    <a:pt x="2424" y="2601"/>
                  </a:lnTo>
                  <a:close/>
                  <a:moveTo>
                    <a:pt x="2450" y="2634"/>
                  </a:moveTo>
                  <a:lnTo>
                    <a:pt x="2450" y="2617"/>
                  </a:lnTo>
                  <a:lnTo>
                    <a:pt x="2466" y="2622"/>
                  </a:lnTo>
                  <a:lnTo>
                    <a:pt x="2450" y="2634"/>
                  </a:lnTo>
                  <a:lnTo>
                    <a:pt x="2450" y="2634"/>
                  </a:lnTo>
                  <a:lnTo>
                    <a:pt x="2450" y="2634"/>
                  </a:lnTo>
                  <a:close/>
                  <a:moveTo>
                    <a:pt x="2407" y="2655"/>
                  </a:moveTo>
                  <a:lnTo>
                    <a:pt x="2379" y="2650"/>
                  </a:lnTo>
                  <a:lnTo>
                    <a:pt x="2374" y="2650"/>
                  </a:lnTo>
                  <a:lnTo>
                    <a:pt x="2374" y="2634"/>
                  </a:lnTo>
                  <a:lnTo>
                    <a:pt x="2391" y="2634"/>
                  </a:lnTo>
                  <a:lnTo>
                    <a:pt x="2407" y="2655"/>
                  </a:lnTo>
                  <a:lnTo>
                    <a:pt x="2407" y="2655"/>
                  </a:lnTo>
                  <a:lnTo>
                    <a:pt x="2407" y="2655"/>
                  </a:lnTo>
                  <a:close/>
                  <a:moveTo>
                    <a:pt x="2412" y="2695"/>
                  </a:moveTo>
                  <a:lnTo>
                    <a:pt x="2395" y="2712"/>
                  </a:lnTo>
                  <a:lnTo>
                    <a:pt x="2391" y="2707"/>
                  </a:lnTo>
                  <a:lnTo>
                    <a:pt x="2395" y="2695"/>
                  </a:lnTo>
                  <a:lnTo>
                    <a:pt x="2379" y="2707"/>
                  </a:lnTo>
                  <a:lnTo>
                    <a:pt x="2391" y="2679"/>
                  </a:lnTo>
                  <a:lnTo>
                    <a:pt x="2407" y="2688"/>
                  </a:lnTo>
                  <a:lnTo>
                    <a:pt x="2391" y="2672"/>
                  </a:lnTo>
                  <a:lnTo>
                    <a:pt x="2407" y="2672"/>
                  </a:lnTo>
                  <a:lnTo>
                    <a:pt x="2412" y="2679"/>
                  </a:lnTo>
                  <a:lnTo>
                    <a:pt x="2412" y="2688"/>
                  </a:lnTo>
                  <a:lnTo>
                    <a:pt x="2428" y="2679"/>
                  </a:lnTo>
                  <a:lnTo>
                    <a:pt x="2428" y="2688"/>
                  </a:lnTo>
                  <a:lnTo>
                    <a:pt x="2412" y="2695"/>
                  </a:lnTo>
                  <a:lnTo>
                    <a:pt x="2412" y="2695"/>
                  </a:lnTo>
                  <a:lnTo>
                    <a:pt x="2412" y="2695"/>
                  </a:lnTo>
                  <a:close/>
                  <a:moveTo>
                    <a:pt x="2428" y="2712"/>
                  </a:moveTo>
                  <a:lnTo>
                    <a:pt x="2428" y="2707"/>
                  </a:lnTo>
                  <a:lnTo>
                    <a:pt x="2445" y="2707"/>
                  </a:lnTo>
                  <a:lnTo>
                    <a:pt x="2428" y="2712"/>
                  </a:lnTo>
                  <a:lnTo>
                    <a:pt x="2428" y="2712"/>
                  </a:lnTo>
                  <a:lnTo>
                    <a:pt x="2428" y="2712"/>
                  </a:lnTo>
                  <a:close/>
                  <a:moveTo>
                    <a:pt x="2466" y="2745"/>
                  </a:moveTo>
                  <a:lnTo>
                    <a:pt x="2445" y="2728"/>
                  </a:lnTo>
                  <a:lnTo>
                    <a:pt x="2450" y="2717"/>
                  </a:lnTo>
                  <a:lnTo>
                    <a:pt x="2433" y="2712"/>
                  </a:lnTo>
                  <a:lnTo>
                    <a:pt x="2445" y="2707"/>
                  </a:lnTo>
                  <a:lnTo>
                    <a:pt x="2462" y="2712"/>
                  </a:lnTo>
                  <a:lnTo>
                    <a:pt x="2476" y="2745"/>
                  </a:lnTo>
                  <a:lnTo>
                    <a:pt x="2466" y="2745"/>
                  </a:lnTo>
                  <a:lnTo>
                    <a:pt x="2466" y="2745"/>
                  </a:lnTo>
                  <a:lnTo>
                    <a:pt x="2466" y="2745"/>
                  </a:lnTo>
                  <a:close/>
                  <a:moveTo>
                    <a:pt x="2391" y="2745"/>
                  </a:moveTo>
                  <a:lnTo>
                    <a:pt x="2374" y="2728"/>
                  </a:lnTo>
                  <a:lnTo>
                    <a:pt x="2391" y="2728"/>
                  </a:lnTo>
                  <a:lnTo>
                    <a:pt x="2379" y="2712"/>
                  </a:lnTo>
                  <a:lnTo>
                    <a:pt x="2407" y="2712"/>
                  </a:lnTo>
                  <a:lnTo>
                    <a:pt x="2395" y="2717"/>
                  </a:lnTo>
                  <a:lnTo>
                    <a:pt x="2391" y="2745"/>
                  </a:lnTo>
                  <a:lnTo>
                    <a:pt x="2391" y="2745"/>
                  </a:lnTo>
                  <a:lnTo>
                    <a:pt x="2391" y="2745"/>
                  </a:lnTo>
                  <a:close/>
                  <a:moveTo>
                    <a:pt x="2433" y="2717"/>
                  </a:moveTo>
                  <a:lnTo>
                    <a:pt x="2433" y="2712"/>
                  </a:lnTo>
                  <a:lnTo>
                    <a:pt x="2445" y="2717"/>
                  </a:lnTo>
                  <a:lnTo>
                    <a:pt x="2433" y="2717"/>
                  </a:lnTo>
                  <a:lnTo>
                    <a:pt x="2433" y="2717"/>
                  </a:lnTo>
                  <a:lnTo>
                    <a:pt x="2433" y="2717"/>
                  </a:lnTo>
                  <a:close/>
                  <a:moveTo>
                    <a:pt x="2412" y="2745"/>
                  </a:moveTo>
                  <a:lnTo>
                    <a:pt x="2407" y="2733"/>
                  </a:lnTo>
                  <a:lnTo>
                    <a:pt x="2412" y="2728"/>
                  </a:lnTo>
                  <a:lnTo>
                    <a:pt x="2412" y="2745"/>
                  </a:lnTo>
                  <a:lnTo>
                    <a:pt x="2412" y="2745"/>
                  </a:lnTo>
                  <a:lnTo>
                    <a:pt x="2412" y="2745"/>
                  </a:lnTo>
                  <a:close/>
                  <a:moveTo>
                    <a:pt x="2433" y="2750"/>
                  </a:moveTo>
                  <a:lnTo>
                    <a:pt x="2424" y="2750"/>
                  </a:lnTo>
                  <a:lnTo>
                    <a:pt x="2424" y="2733"/>
                  </a:lnTo>
                  <a:lnTo>
                    <a:pt x="2428" y="2733"/>
                  </a:lnTo>
                  <a:lnTo>
                    <a:pt x="2433" y="2750"/>
                  </a:lnTo>
                  <a:lnTo>
                    <a:pt x="2433" y="2750"/>
                  </a:lnTo>
                  <a:lnTo>
                    <a:pt x="2433" y="2750"/>
                  </a:lnTo>
                  <a:close/>
                  <a:moveTo>
                    <a:pt x="2433" y="2773"/>
                  </a:moveTo>
                  <a:lnTo>
                    <a:pt x="2424" y="2766"/>
                  </a:lnTo>
                  <a:lnTo>
                    <a:pt x="2424" y="2750"/>
                  </a:lnTo>
                  <a:lnTo>
                    <a:pt x="2445" y="2750"/>
                  </a:lnTo>
                  <a:lnTo>
                    <a:pt x="2433" y="2733"/>
                  </a:lnTo>
                  <a:lnTo>
                    <a:pt x="2462" y="2745"/>
                  </a:lnTo>
                  <a:lnTo>
                    <a:pt x="2462" y="2766"/>
                  </a:lnTo>
                  <a:lnTo>
                    <a:pt x="2450" y="2761"/>
                  </a:lnTo>
                  <a:lnTo>
                    <a:pt x="2433" y="2773"/>
                  </a:lnTo>
                  <a:lnTo>
                    <a:pt x="2433" y="2773"/>
                  </a:lnTo>
                  <a:lnTo>
                    <a:pt x="2433" y="2773"/>
                  </a:lnTo>
                  <a:close/>
                  <a:moveTo>
                    <a:pt x="2466" y="2783"/>
                  </a:moveTo>
                  <a:lnTo>
                    <a:pt x="2462" y="2750"/>
                  </a:lnTo>
                  <a:lnTo>
                    <a:pt x="2476" y="2783"/>
                  </a:lnTo>
                  <a:lnTo>
                    <a:pt x="2466" y="2783"/>
                  </a:lnTo>
                  <a:lnTo>
                    <a:pt x="2466" y="2783"/>
                  </a:lnTo>
                  <a:lnTo>
                    <a:pt x="2466" y="2783"/>
                  </a:lnTo>
                  <a:close/>
                  <a:moveTo>
                    <a:pt x="2450" y="2783"/>
                  </a:moveTo>
                  <a:lnTo>
                    <a:pt x="2445" y="2766"/>
                  </a:lnTo>
                  <a:lnTo>
                    <a:pt x="2450" y="2766"/>
                  </a:lnTo>
                  <a:lnTo>
                    <a:pt x="2462" y="2773"/>
                  </a:lnTo>
                  <a:lnTo>
                    <a:pt x="2450" y="2783"/>
                  </a:lnTo>
                  <a:lnTo>
                    <a:pt x="2450" y="2783"/>
                  </a:lnTo>
                  <a:lnTo>
                    <a:pt x="2450" y="2783"/>
                  </a:lnTo>
                  <a:close/>
                  <a:moveTo>
                    <a:pt x="2412" y="2773"/>
                  </a:moveTo>
                  <a:lnTo>
                    <a:pt x="2424" y="2766"/>
                  </a:lnTo>
                  <a:lnTo>
                    <a:pt x="2424" y="2773"/>
                  </a:lnTo>
                  <a:lnTo>
                    <a:pt x="2412" y="2773"/>
                  </a:lnTo>
                  <a:lnTo>
                    <a:pt x="2412" y="2773"/>
                  </a:lnTo>
                  <a:lnTo>
                    <a:pt x="2412" y="2773"/>
                  </a:lnTo>
                  <a:close/>
                  <a:moveTo>
                    <a:pt x="2412" y="2806"/>
                  </a:moveTo>
                  <a:lnTo>
                    <a:pt x="2428" y="2790"/>
                  </a:lnTo>
                  <a:lnTo>
                    <a:pt x="2424" y="2790"/>
                  </a:lnTo>
                  <a:lnTo>
                    <a:pt x="2428" y="2783"/>
                  </a:lnTo>
                  <a:lnTo>
                    <a:pt x="2445" y="2783"/>
                  </a:lnTo>
                  <a:lnTo>
                    <a:pt x="2445" y="2790"/>
                  </a:lnTo>
                  <a:lnTo>
                    <a:pt x="2445" y="2799"/>
                  </a:lnTo>
                  <a:lnTo>
                    <a:pt x="2433" y="2790"/>
                  </a:lnTo>
                  <a:lnTo>
                    <a:pt x="2412" y="2806"/>
                  </a:lnTo>
                  <a:lnTo>
                    <a:pt x="2412" y="2806"/>
                  </a:lnTo>
                  <a:lnTo>
                    <a:pt x="2412" y="2806"/>
                  </a:lnTo>
                  <a:close/>
                  <a:moveTo>
                    <a:pt x="2483" y="2799"/>
                  </a:moveTo>
                  <a:lnTo>
                    <a:pt x="2476" y="2783"/>
                  </a:lnTo>
                  <a:lnTo>
                    <a:pt x="2488" y="2783"/>
                  </a:lnTo>
                  <a:lnTo>
                    <a:pt x="2488" y="2790"/>
                  </a:lnTo>
                  <a:lnTo>
                    <a:pt x="2483" y="2799"/>
                  </a:lnTo>
                  <a:lnTo>
                    <a:pt x="2483" y="2799"/>
                  </a:lnTo>
                  <a:lnTo>
                    <a:pt x="2483" y="2799"/>
                  </a:lnTo>
                  <a:close/>
                  <a:moveTo>
                    <a:pt x="2499" y="2799"/>
                  </a:moveTo>
                  <a:lnTo>
                    <a:pt x="2488" y="2790"/>
                  </a:lnTo>
                  <a:lnTo>
                    <a:pt x="2499" y="2783"/>
                  </a:lnTo>
                  <a:lnTo>
                    <a:pt x="2499" y="2799"/>
                  </a:lnTo>
                  <a:lnTo>
                    <a:pt x="2499" y="2799"/>
                  </a:lnTo>
                  <a:lnTo>
                    <a:pt x="2499" y="2799"/>
                  </a:lnTo>
                  <a:close/>
                  <a:moveTo>
                    <a:pt x="2391" y="2823"/>
                  </a:moveTo>
                  <a:lnTo>
                    <a:pt x="2395" y="2790"/>
                  </a:lnTo>
                  <a:lnTo>
                    <a:pt x="2412" y="2790"/>
                  </a:lnTo>
                  <a:lnTo>
                    <a:pt x="2407" y="2816"/>
                  </a:lnTo>
                  <a:lnTo>
                    <a:pt x="2391" y="2823"/>
                  </a:lnTo>
                  <a:lnTo>
                    <a:pt x="2391" y="2823"/>
                  </a:lnTo>
                  <a:lnTo>
                    <a:pt x="2391" y="2823"/>
                  </a:lnTo>
                  <a:close/>
                  <a:moveTo>
                    <a:pt x="2476" y="2806"/>
                  </a:moveTo>
                  <a:lnTo>
                    <a:pt x="2466" y="2799"/>
                  </a:lnTo>
                  <a:lnTo>
                    <a:pt x="2466" y="2790"/>
                  </a:lnTo>
                  <a:lnTo>
                    <a:pt x="2476" y="2790"/>
                  </a:lnTo>
                  <a:lnTo>
                    <a:pt x="2476" y="2806"/>
                  </a:lnTo>
                  <a:lnTo>
                    <a:pt x="2476" y="2806"/>
                  </a:lnTo>
                  <a:lnTo>
                    <a:pt x="2476" y="2806"/>
                  </a:lnTo>
                  <a:close/>
                  <a:moveTo>
                    <a:pt x="2483" y="2839"/>
                  </a:moveTo>
                  <a:lnTo>
                    <a:pt x="2466" y="2828"/>
                  </a:lnTo>
                  <a:lnTo>
                    <a:pt x="2476" y="2816"/>
                  </a:lnTo>
                  <a:lnTo>
                    <a:pt x="2488" y="2828"/>
                  </a:lnTo>
                  <a:lnTo>
                    <a:pt x="2483" y="2839"/>
                  </a:lnTo>
                  <a:lnTo>
                    <a:pt x="2483" y="2839"/>
                  </a:lnTo>
                  <a:lnTo>
                    <a:pt x="2483" y="2839"/>
                  </a:lnTo>
                  <a:close/>
                  <a:moveTo>
                    <a:pt x="2412" y="2872"/>
                  </a:moveTo>
                  <a:lnTo>
                    <a:pt x="2412" y="2856"/>
                  </a:lnTo>
                  <a:lnTo>
                    <a:pt x="2424" y="2839"/>
                  </a:lnTo>
                  <a:lnTo>
                    <a:pt x="2428" y="2839"/>
                  </a:lnTo>
                  <a:lnTo>
                    <a:pt x="2424" y="2823"/>
                  </a:lnTo>
                  <a:lnTo>
                    <a:pt x="2428" y="2823"/>
                  </a:lnTo>
                  <a:lnTo>
                    <a:pt x="2428" y="2839"/>
                  </a:lnTo>
                  <a:lnTo>
                    <a:pt x="2412" y="2872"/>
                  </a:lnTo>
                  <a:lnTo>
                    <a:pt x="2412" y="2872"/>
                  </a:lnTo>
                  <a:lnTo>
                    <a:pt x="2412" y="2872"/>
                  </a:lnTo>
                  <a:close/>
                  <a:moveTo>
                    <a:pt x="2499" y="2839"/>
                  </a:moveTo>
                  <a:lnTo>
                    <a:pt x="2488" y="2823"/>
                  </a:lnTo>
                  <a:lnTo>
                    <a:pt x="2499" y="2828"/>
                  </a:lnTo>
                  <a:lnTo>
                    <a:pt x="2499" y="2839"/>
                  </a:lnTo>
                  <a:lnTo>
                    <a:pt x="2499" y="2839"/>
                  </a:lnTo>
                  <a:lnTo>
                    <a:pt x="2499" y="2839"/>
                  </a:lnTo>
                  <a:close/>
                  <a:moveTo>
                    <a:pt x="2476" y="2856"/>
                  </a:moveTo>
                  <a:lnTo>
                    <a:pt x="2462" y="2844"/>
                  </a:lnTo>
                  <a:lnTo>
                    <a:pt x="2450" y="2828"/>
                  </a:lnTo>
                  <a:lnTo>
                    <a:pt x="2476" y="2844"/>
                  </a:lnTo>
                  <a:lnTo>
                    <a:pt x="2476" y="2856"/>
                  </a:lnTo>
                  <a:lnTo>
                    <a:pt x="2476" y="2856"/>
                  </a:lnTo>
                  <a:lnTo>
                    <a:pt x="2476" y="2856"/>
                  </a:lnTo>
                  <a:close/>
                  <a:moveTo>
                    <a:pt x="2407" y="2844"/>
                  </a:moveTo>
                  <a:lnTo>
                    <a:pt x="2412" y="2828"/>
                  </a:lnTo>
                  <a:lnTo>
                    <a:pt x="2407" y="2844"/>
                  </a:lnTo>
                  <a:lnTo>
                    <a:pt x="2407" y="2844"/>
                  </a:lnTo>
                  <a:lnTo>
                    <a:pt x="2407" y="2844"/>
                  </a:lnTo>
                  <a:close/>
                  <a:moveTo>
                    <a:pt x="2424" y="2872"/>
                  </a:moveTo>
                  <a:lnTo>
                    <a:pt x="2428" y="2839"/>
                  </a:lnTo>
                  <a:lnTo>
                    <a:pt x="2445" y="2839"/>
                  </a:lnTo>
                  <a:lnTo>
                    <a:pt x="2424" y="2872"/>
                  </a:lnTo>
                  <a:lnTo>
                    <a:pt x="2424" y="2872"/>
                  </a:lnTo>
                  <a:lnTo>
                    <a:pt x="2424" y="2872"/>
                  </a:lnTo>
                  <a:close/>
                  <a:moveTo>
                    <a:pt x="2504" y="2877"/>
                  </a:moveTo>
                  <a:lnTo>
                    <a:pt x="2476" y="2856"/>
                  </a:lnTo>
                  <a:lnTo>
                    <a:pt x="2476" y="2844"/>
                  </a:lnTo>
                  <a:lnTo>
                    <a:pt x="2499" y="2861"/>
                  </a:lnTo>
                  <a:lnTo>
                    <a:pt x="2504" y="2877"/>
                  </a:lnTo>
                  <a:lnTo>
                    <a:pt x="2504" y="2877"/>
                  </a:lnTo>
                  <a:lnTo>
                    <a:pt x="2504" y="2877"/>
                  </a:lnTo>
                  <a:close/>
                  <a:moveTo>
                    <a:pt x="2428" y="2877"/>
                  </a:moveTo>
                  <a:lnTo>
                    <a:pt x="2428" y="2872"/>
                  </a:lnTo>
                  <a:lnTo>
                    <a:pt x="2445" y="2861"/>
                  </a:lnTo>
                  <a:lnTo>
                    <a:pt x="2428" y="2877"/>
                  </a:lnTo>
                  <a:lnTo>
                    <a:pt x="2428" y="2877"/>
                  </a:lnTo>
                  <a:lnTo>
                    <a:pt x="2428" y="2877"/>
                  </a:lnTo>
                  <a:close/>
                  <a:moveTo>
                    <a:pt x="2476" y="2894"/>
                  </a:moveTo>
                  <a:lnTo>
                    <a:pt x="2466" y="2877"/>
                  </a:lnTo>
                  <a:lnTo>
                    <a:pt x="2476" y="2877"/>
                  </a:lnTo>
                  <a:lnTo>
                    <a:pt x="2450" y="2872"/>
                  </a:lnTo>
                  <a:lnTo>
                    <a:pt x="2466" y="2861"/>
                  </a:lnTo>
                  <a:lnTo>
                    <a:pt x="2488" y="2884"/>
                  </a:lnTo>
                  <a:lnTo>
                    <a:pt x="2476" y="2894"/>
                  </a:lnTo>
                  <a:lnTo>
                    <a:pt x="2476" y="2894"/>
                  </a:lnTo>
                  <a:lnTo>
                    <a:pt x="2476" y="2894"/>
                  </a:lnTo>
                  <a:close/>
                  <a:moveTo>
                    <a:pt x="2499" y="2894"/>
                  </a:moveTo>
                  <a:lnTo>
                    <a:pt x="2476" y="2872"/>
                  </a:lnTo>
                  <a:lnTo>
                    <a:pt x="2499" y="2884"/>
                  </a:lnTo>
                  <a:lnTo>
                    <a:pt x="2504" y="2894"/>
                  </a:lnTo>
                  <a:lnTo>
                    <a:pt x="2499" y="2894"/>
                  </a:lnTo>
                  <a:lnTo>
                    <a:pt x="2499" y="2894"/>
                  </a:lnTo>
                  <a:lnTo>
                    <a:pt x="2499" y="2894"/>
                  </a:lnTo>
                  <a:close/>
                  <a:moveTo>
                    <a:pt x="2428" y="2884"/>
                  </a:moveTo>
                  <a:lnTo>
                    <a:pt x="2428" y="2877"/>
                  </a:lnTo>
                  <a:lnTo>
                    <a:pt x="2445" y="2877"/>
                  </a:lnTo>
                  <a:lnTo>
                    <a:pt x="2428" y="2884"/>
                  </a:lnTo>
                  <a:lnTo>
                    <a:pt x="2428" y="2884"/>
                  </a:lnTo>
                  <a:lnTo>
                    <a:pt x="2428" y="2884"/>
                  </a:lnTo>
                  <a:close/>
                  <a:moveTo>
                    <a:pt x="2488" y="2927"/>
                  </a:moveTo>
                  <a:lnTo>
                    <a:pt x="2483" y="2910"/>
                  </a:lnTo>
                  <a:lnTo>
                    <a:pt x="2504" y="2894"/>
                  </a:lnTo>
                  <a:lnTo>
                    <a:pt x="2504" y="2901"/>
                  </a:lnTo>
                  <a:lnTo>
                    <a:pt x="2504" y="2917"/>
                  </a:lnTo>
                  <a:lnTo>
                    <a:pt x="2488" y="2927"/>
                  </a:lnTo>
                  <a:lnTo>
                    <a:pt x="2488" y="2927"/>
                  </a:lnTo>
                  <a:lnTo>
                    <a:pt x="2488" y="2927"/>
                  </a:lnTo>
                  <a:close/>
                  <a:moveTo>
                    <a:pt x="2861" y="2917"/>
                  </a:moveTo>
                  <a:lnTo>
                    <a:pt x="2861" y="3132"/>
                  </a:lnTo>
                  <a:lnTo>
                    <a:pt x="2861" y="3139"/>
                  </a:lnTo>
                  <a:lnTo>
                    <a:pt x="2844" y="3132"/>
                  </a:lnTo>
                  <a:lnTo>
                    <a:pt x="2854" y="3139"/>
                  </a:lnTo>
                  <a:lnTo>
                    <a:pt x="2828" y="3149"/>
                  </a:lnTo>
                  <a:lnTo>
                    <a:pt x="2790" y="3132"/>
                  </a:lnTo>
                  <a:lnTo>
                    <a:pt x="2790" y="3123"/>
                  </a:lnTo>
                  <a:lnTo>
                    <a:pt x="2785" y="3132"/>
                  </a:lnTo>
                  <a:lnTo>
                    <a:pt x="2747" y="3139"/>
                  </a:lnTo>
                  <a:lnTo>
                    <a:pt x="2747" y="3132"/>
                  </a:lnTo>
                  <a:lnTo>
                    <a:pt x="2747" y="3123"/>
                  </a:lnTo>
                  <a:lnTo>
                    <a:pt x="2736" y="3132"/>
                  </a:lnTo>
                  <a:lnTo>
                    <a:pt x="2714" y="3139"/>
                  </a:lnTo>
                  <a:lnTo>
                    <a:pt x="2702" y="3132"/>
                  </a:lnTo>
                  <a:lnTo>
                    <a:pt x="2731" y="3116"/>
                  </a:lnTo>
                  <a:lnTo>
                    <a:pt x="2693" y="3132"/>
                  </a:lnTo>
                  <a:lnTo>
                    <a:pt x="2698" y="3116"/>
                  </a:lnTo>
                  <a:lnTo>
                    <a:pt x="2676" y="3123"/>
                  </a:lnTo>
                  <a:lnTo>
                    <a:pt x="2665" y="3106"/>
                  </a:lnTo>
                  <a:lnTo>
                    <a:pt x="2660" y="3123"/>
                  </a:lnTo>
                  <a:lnTo>
                    <a:pt x="2643" y="3116"/>
                  </a:lnTo>
                  <a:lnTo>
                    <a:pt x="2627" y="3116"/>
                  </a:lnTo>
                  <a:lnTo>
                    <a:pt x="2622" y="3099"/>
                  </a:lnTo>
                  <a:lnTo>
                    <a:pt x="2627" y="3099"/>
                  </a:lnTo>
                  <a:lnTo>
                    <a:pt x="2643" y="3106"/>
                  </a:lnTo>
                  <a:lnTo>
                    <a:pt x="2651" y="3106"/>
                  </a:lnTo>
                  <a:lnTo>
                    <a:pt x="2639" y="3095"/>
                  </a:lnTo>
                  <a:lnTo>
                    <a:pt x="2643" y="3095"/>
                  </a:lnTo>
                  <a:lnTo>
                    <a:pt x="2651" y="3099"/>
                  </a:lnTo>
                  <a:lnTo>
                    <a:pt x="2660" y="3099"/>
                  </a:lnTo>
                  <a:lnTo>
                    <a:pt x="2651" y="3095"/>
                  </a:lnTo>
                  <a:lnTo>
                    <a:pt x="2665" y="3095"/>
                  </a:lnTo>
                  <a:lnTo>
                    <a:pt x="2698" y="3099"/>
                  </a:lnTo>
                  <a:lnTo>
                    <a:pt x="2698" y="3083"/>
                  </a:lnTo>
                  <a:lnTo>
                    <a:pt x="2702" y="3083"/>
                  </a:lnTo>
                  <a:lnTo>
                    <a:pt x="2719" y="3083"/>
                  </a:lnTo>
                  <a:lnTo>
                    <a:pt x="2714" y="3106"/>
                  </a:lnTo>
                  <a:lnTo>
                    <a:pt x="2719" y="3116"/>
                  </a:lnTo>
                  <a:lnTo>
                    <a:pt x="2714" y="3106"/>
                  </a:lnTo>
                  <a:lnTo>
                    <a:pt x="2719" y="3095"/>
                  </a:lnTo>
                  <a:lnTo>
                    <a:pt x="2747" y="3106"/>
                  </a:lnTo>
                  <a:lnTo>
                    <a:pt x="2752" y="3106"/>
                  </a:lnTo>
                  <a:lnTo>
                    <a:pt x="2736" y="3095"/>
                  </a:lnTo>
                  <a:lnTo>
                    <a:pt x="2719" y="3083"/>
                  </a:lnTo>
                  <a:lnTo>
                    <a:pt x="2702" y="3078"/>
                  </a:lnTo>
                  <a:lnTo>
                    <a:pt x="2702" y="3066"/>
                  </a:lnTo>
                  <a:lnTo>
                    <a:pt x="2752" y="3095"/>
                  </a:lnTo>
                  <a:lnTo>
                    <a:pt x="2757" y="3095"/>
                  </a:lnTo>
                  <a:lnTo>
                    <a:pt x="2752" y="3083"/>
                  </a:lnTo>
                  <a:lnTo>
                    <a:pt x="2757" y="3078"/>
                  </a:lnTo>
                  <a:lnTo>
                    <a:pt x="2785" y="3106"/>
                  </a:lnTo>
                  <a:lnTo>
                    <a:pt x="2773" y="3083"/>
                  </a:lnTo>
                  <a:lnTo>
                    <a:pt x="2823" y="3099"/>
                  </a:lnTo>
                  <a:lnTo>
                    <a:pt x="2806" y="3116"/>
                  </a:lnTo>
                  <a:lnTo>
                    <a:pt x="2806" y="3123"/>
                  </a:lnTo>
                  <a:lnTo>
                    <a:pt x="2811" y="3106"/>
                  </a:lnTo>
                  <a:lnTo>
                    <a:pt x="2823" y="3106"/>
                  </a:lnTo>
                  <a:lnTo>
                    <a:pt x="2823" y="3099"/>
                  </a:lnTo>
                  <a:lnTo>
                    <a:pt x="2839" y="3095"/>
                  </a:lnTo>
                  <a:lnTo>
                    <a:pt x="2757" y="3061"/>
                  </a:lnTo>
                  <a:lnTo>
                    <a:pt x="2752" y="3038"/>
                  </a:lnTo>
                  <a:lnTo>
                    <a:pt x="2769" y="3021"/>
                  </a:lnTo>
                  <a:lnTo>
                    <a:pt x="2811" y="3005"/>
                  </a:lnTo>
                  <a:lnTo>
                    <a:pt x="2806" y="2988"/>
                  </a:lnTo>
                  <a:lnTo>
                    <a:pt x="2773" y="2988"/>
                  </a:lnTo>
                  <a:lnTo>
                    <a:pt x="2752" y="2995"/>
                  </a:lnTo>
                  <a:lnTo>
                    <a:pt x="2736" y="2988"/>
                  </a:lnTo>
                  <a:lnTo>
                    <a:pt x="2736" y="2955"/>
                  </a:lnTo>
                  <a:lnTo>
                    <a:pt x="2736" y="2950"/>
                  </a:lnTo>
                  <a:lnTo>
                    <a:pt x="2747" y="2955"/>
                  </a:lnTo>
                  <a:lnTo>
                    <a:pt x="2752" y="2955"/>
                  </a:lnTo>
                  <a:lnTo>
                    <a:pt x="2757" y="2939"/>
                  </a:lnTo>
                  <a:lnTo>
                    <a:pt x="2736" y="2934"/>
                  </a:lnTo>
                  <a:lnTo>
                    <a:pt x="2752" y="2927"/>
                  </a:lnTo>
                  <a:lnTo>
                    <a:pt x="2769" y="2934"/>
                  </a:lnTo>
                  <a:lnTo>
                    <a:pt x="2785" y="2934"/>
                  </a:lnTo>
                  <a:lnTo>
                    <a:pt x="2790" y="2910"/>
                  </a:lnTo>
                  <a:lnTo>
                    <a:pt x="2806" y="2901"/>
                  </a:lnTo>
                  <a:lnTo>
                    <a:pt x="2823" y="2927"/>
                  </a:lnTo>
                  <a:lnTo>
                    <a:pt x="2844" y="2910"/>
                  </a:lnTo>
                  <a:lnTo>
                    <a:pt x="2861" y="2917"/>
                  </a:lnTo>
                  <a:lnTo>
                    <a:pt x="2861" y="2917"/>
                  </a:lnTo>
                  <a:lnTo>
                    <a:pt x="2861" y="2917"/>
                  </a:lnTo>
                  <a:close/>
                  <a:moveTo>
                    <a:pt x="2530" y="2983"/>
                  </a:moveTo>
                  <a:lnTo>
                    <a:pt x="2551" y="2988"/>
                  </a:lnTo>
                  <a:lnTo>
                    <a:pt x="2521" y="2988"/>
                  </a:lnTo>
                  <a:lnTo>
                    <a:pt x="2488" y="2955"/>
                  </a:lnTo>
                  <a:lnTo>
                    <a:pt x="2462" y="2967"/>
                  </a:lnTo>
                  <a:lnTo>
                    <a:pt x="2433" y="2934"/>
                  </a:lnTo>
                  <a:lnTo>
                    <a:pt x="2433" y="2927"/>
                  </a:lnTo>
                  <a:lnTo>
                    <a:pt x="2462" y="2950"/>
                  </a:lnTo>
                  <a:lnTo>
                    <a:pt x="2513" y="2955"/>
                  </a:lnTo>
                  <a:lnTo>
                    <a:pt x="2521" y="2983"/>
                  </a:lnTo>
                  <a:lnTo>
                    <a:pt x="2521" y="2967"/>
                  </a:lnTo>
                  <a:lnTo>
                    <a:pt x="2537" y="2983"/>
                  </a:lnTo>
                  <a:lnTo>
                    <a:pt x="2530" y="2983"/>
                  </a:lnTo>
                  <a:lnTo>
                    <a:pt x="2530" y="2983"/>
                  </a:lnTo>
                  <a:lnTo>
                    <a:pt x="2530" y="2983"/>
                  </a:lnTo>
                  <a:close/>
                  <a:moveTo>
                    <a:pt x="2530" y="2950"/>
                  </a:moveTo>
                  <a:lnTo>
                    <a:pt x="2504" y="2939"/>
                  </a:lnTo>
                  <a:lnTo>
                    <a:pt x="2521" y="2939"/>
                  </a:lnTo>
                  <a:lnTo>
                    <a:pt x="2530" y="2950"/>
                  </a:lnTo>
                  <a:lnTo>
                    <a:pt x="2530" y="2950"/>
                  </a:lnTo>
                  <a:lnTo>
                    <a:pt x="2530" y="2950"/>
                  </a:lnTo>
                  <a:close/>
                  <a:moveTo>
                    <a:pt x="2521" y="2995"/>
                  </a:moveTo>
                  <a:lnTo>
                    <a:pt x="2530" y="3005"/>
                  </a:lnTo>
                  <a:lnTo>
                    <a:pt x="2521" y="3012"/>
                  </a:lnTo>
                  <a:lnTo>
                    <a:pt x="2499" y="2995"/>
                  </a:lnTo>
                  <a:lnTo>
                    <a:pt x="2513" y="2995"/>
                  </a:lnTo>
                  <a:lnTo>
                    <a:pt x="2521" y="2995"/>
                  </a:lnTo>
                  <a:lnTo>
                    <a:pt x="2513" y="2988"/>
                  </a:lnTo>
                  <a:lnTo>
                    <a:pt x="2521" y="2995"/>
                  </a:lnTo>
                  <a:lnTo>
                    <a:pt x="2521" y="2995"/>
                  </a:lnTo>
                  <a:lnTo>
                    <a:pt x="2521" y="2995"/>
                  </a:lnTo>
                  <a:close/>
                  <a:moveTo>
                    <a:pt x="2537" y="3038"/>
                  </a:moveTo>
                  <a:lnTo>
                    <a:pt x="2537" y="3021"/>
                  </a:lnTo>
                  <a:lnTo>
                    <a:pt x="2513" y="3028"/>
                  </a:lnTo>
                  <a:lnTo>
                    <a:pt x="2521" y="3021"/>
                  </a:lnTo>
                  <a:lnTo>
                    <a:pt x="2513" y="3012"/>
                  </a:lnTo>
                  <a:lnTo>
                    <a:pt x="2521" y="3012"/>
                  </a:lnTo>
                  <a:lnTo>
                    <a:pt x="2537" y="3021"/>
                  </a:lnTo>
                  <a:lnTo>
                    <a:pt x="2558" y="3021"/>
                  </a:lnTo>
                  <a:lnTo>
                    <a:pt x="2537" y="3012"/>
                  </a:lnTo>
                  <a:lnTo>
                    <a:pt x="2521" y="2995"/>
                  </a:lnTo>
                  <a:lnTo>
                    <a:pt x="2542" y="3005"/>
                  </a:lnTo>
                  <a:lnTo>
                    <a:pt x="2542" y="2995"/>
                  </a:lnTo>
                  <a:lnTo>
                    <a:pt x="2551" y="2995"/>
                  </a:lnTo>
                  <a:lnTo>
                    <a:pt x="2558" y="2995"/>
                  </a:lnTo>
                  <a:lnTo>
                    <a:pt x="2558" y="3021"/>
                  </a:lnTo>
                  <a:lnTo>
                    <a:pt x="2568" y="2995"/>
                  </a:lnTo>
                  <a:lnTo>
                    <a:pt x="2575" y="3012"/>
                  </a:lnTo>
                  <a:lnTo>
                    <a:pt x="2589" y="3012"/>
                  </a:lnTo>
                  <a:lnTo>
                    <a:pt x="2589" y="3028"/>
                  </a:lnTo>
                  <a:lnTo>
                    <a:pt x="2596" y="3021"/>
                  </a:lnTo>
                  <a:lnTo>
                    <a:pt x="2613" y="3038"/>
                  </a:lnTo>
                  <a:lnTo>
                    <a:pt x="2596" y="3045"/>
                  </a:lnTo>
                  <a:lnTo>
                    <a:pt x="2596" y="3061"/>
                  </a:lnTo>
                  <a:lnTo>
                    <a:pt x="2568" y="3066"/>
                  </a:lnTo>
                  <a:lnTo>
                    <a:pt x="2551" y="3061"/>
                  </a:lnTo>
                  <a:lnTo>
                    <a:pt x="2568" y="3050"/>
                  </a:lnTo>
                  <a:lnTo>
                    <a:pt x="2575" y="3038"/>
                  </a:lnTo>
                  <a:lnTo>
                    <a:pt x="2551" y="3038"/>
                  </a:lnTo>
                  <a:lnTo>
                    <a:pt x="2542" y="3050"/>
                  </a:lnTo>
                  <a:lnTo>
                    <a:pt x="2537" y="3038"/>
                  </a:lnTo>
                  <a:lnTo>
                    <a:pt x="2537" y="3038"/>
                  </a:lnTo>
                  <a:lnTo>
                    <a:pt x="2537" y="3038"/>
                  </a:lnTo>
                  <a:close/>
                  <a:moveTo>
                    <a:pt x="2499" y="3012"/>
                  </a:moveTo>
                  <a:lnTo>
                    <a:pt x="2499" y="2995"/>
                  </a:lnTo>
                  <a:lnTo>
                    <a:pt x="2504" y="3005"/>
                  </a:lnTo>
                  <a:lnTo>
                    <a:pt x="2499" y="3012"/>
                  </a:lnTo>
                  <a:lnTo>
                    <a:pt x="2499" y="3012"/>
                  </a:lnTo>
                  <a:lnTo>
                    <a:pt x="2499" y="3012"/>
                  </a:lnTo>
                  <a:close/>
                  <a:moveTo>
                    <a:pt x="2731" y="3078"/>
                  </a:moveTo>
                  <a:lnTo>
                    <a:pt x="2702" y="3061"/>
                  </a:lnTo>
                  <a:lnTo>
                    <a:pt x="2698" y="3038"/>
                  </a:lnTo>
                  <a:lnTo>
                    <a:pt x="2719" y="3038"/>
                  </a:lnTo>
                  <a:lnTo>
                    <a:pt x="2714" y="3021"/>
                  </a:lnTo>
                  <a:lnTo>
                    <a:pt x="2731" y="3012"/>
                  </a:lnTo>
                  <a:lnTo>
                    <a:pt x="2736" y="3050"/>
                  </a:lnTo>
                  <a:lnTo>
                    <a:pt x="2731" y="3050"/>
                  </a:lnTo>
                  <a:lnTo>
                    <a:pt x="2719" y="3045"/>
                  </a:lnTo>
                  <a:lnTo>
                    <a:pt x="2731" y="3078"/>
                  </a:lnTo>
                  <a:lnTo>
                    <a:pt x="2731" y="3078"/>
                  </a:lnTo>
                  <a:lnTo>
                    <a:pt x="2731" y="3078"/>
                  </a:lnTo>
                  <a:close/>
                  <a:moveTo>
                    <a:pt x="2643" y="3045"/>
                  </a:moveTo>
                  <a:lnTo>
                    <a:pt x="2651" y="3061"/>
                  </a:lnTo>
                  <a:lnTo>
                    <a:pt x="2643" y="3066"/>
                  </a:lnTo>
                  <a:lnTo>
                    <a:pt x="2627" y="3050"/>
                  </a:lnTo>
                  <a:lnTo>
                    <a:pt x="2643" y="3078"/>
                  </a:lnTo>
                  <a:lnTo>
                    <a:pt x="2639" y="3083"/>
                  </a:lnTo>
                  <a:lnTo>
                    <a:pt x="2613" y="3061"/>
                  </a:lnTo>
                  <a:lnTo>
                    <a:pt x="2606" y="3045"/>
                  </a:lnTo>
                  <a:lnTo>
                    <a:pt x="2622" y="3050"/>
                  </a:lnTo>
                  <a:lnTo>
                    <a:pt x="2627" y="3038"/>
                  </a:lnTo>
                  <a:lnTo>
                    <a:pt x="2643" y="3045"/>
                  </a:lnTo>
                  <a:lnTo>
                    <a:pt x="2643" y="3045"/>
                  </a:lnTo>
                  <a:lnTo>
                    <a:pt x="2643" y="3045"/>
                  </a:lnTo>
                  <a:close/>
                  <a:moveTo>
                    <a:pt x="2676" y="3050"/>
                  </a:moveTo>
                  <a:lnTo>
                    <a:pt x="2693" y="3061"/>
                  </a:lnTo>
                  <a:lnTo>
                    <a:pt x="2698" y="3078"/>
                  </a:lnTo>
                  <a:lnTo>
                    <a:pt x="2681" y="3095"/>
                  </a:lnTo>
                  <a:lnTo>
                    <a:pt x="2665" y="3083"/>
                  </a:lnTo>
                  <a:lnTo>
                    <a:pt x="2660" y="3066"/>
                  </a:lnTo>
                  <a:lnTo>
                    <a:pt x="2665" y="3061"/>
                  </a:lnTo>
                  <a:lnTo>
                    <a:pt x="2660" y="3078"/>
                  </a:lnTo>
                  <a:lnTo>
                    <a:pt x="2643" y="3066"/>
                  </a:lnTo>
                  <a:lnTo>
                    <a:pt x="2651" y="3045"/>
                  </a:lnTo>
                  <a:lnTo>
                    <a:pt x="2676" y="3050"/>
                  </a:lnTo>
                  <a:lnTo>
                    <a:pt x="2676" y="3050"/>
                  </a:lnTo>
                  <a:lnTo>
                    <a:pt x="2676" y="3050"/>
                  </a:lnTo>
                  <a:close/>
                  <a:moveTo>
                    <a:pt x="2537" y="3066"/>
                  </a:moveTo>
                  <a:lnTo>
                    <a:pt x="2521" y="3061"/>
                  </a:lnTo>
                  <a:lnTo>
                    <a:pt x="2542" y="3061"/>
                  </a:lnTo>
                  <a:lnTo>
                    <a:pt x="2537" y="3066"/>
                  </a:lnTo>
                  <a:lnTo>
                    <a:pt x="2537" y="3066"/>
                  </a:lnTo>
                  <a:lnTo>
                    <a:pt x="2537" y="3066"/>
                  </a:lnTo>
                  <a:close/>
                  <a:moveTo>
                    <a:pt x="2606" y="3061"/>
                  </a:moveTo>
                  <a:lnTo>
                    <a:pt x="2613" y="3066"/>
                  </a:lnTo>
                  <a:lnTo>
                    <a:pt x="2606" y="3078"/>
                  </a:lnTo>
                  <a:lnTo>
                    <a:pt x="2589" y="3078"/>
                  </a:lnTo>
                  <a:lnTo>
                    <a:pt x="2606" y="3061"/>
                  </a:lnTo>
                  <a:lnTo>
                    <a:pt x="2606" y="3061"/>
                  </a:lnTo>
                  <a:lnTo>
                    <a:pt x="2606" y="3061"/>
                  </a:lnTo>
                  <a:close/>
                  <a:moveTo>
                    <a:pt x="2747" y="3078"/>
                  </a:moveTo>
                  <a:lnTo>
                    <a:pt x="2731" y="3066"/>
                  </a:lnTo>
                  <a:lnTo>
                    <a:pt x="2752" y="3078"/>
                  </a:lnTo>
                  <a:lnTo>
                    <a:pt x="2747" y="3078"/>
                  </a:lnTo>
                  <a:lnTo>
                    <a:pt x="2747" y="3078"/>
                  </a:lnTo>
                  <a:lnTo>
                    <a:pt x="2747" y="3078"/>
                  </a:lnTo>
                  <a:close/>
                  <a:moveTo>
                    <a:pt x="2589" y="3095"/>
                  </a:moveTo>
                  <a:lnTo>
                    <a:pt x="2589" y="3083"/>
                  </a:lnTo>
                  <a:lnTo>
                    <a:pt x="2606" y="3083"/>
                  </a:lnTo>
                  <a:lnTo>
                    <a:pt x="2589" y="3095"/>
                  </a:lnTo>
                  <a:lnTo>
                    <a:pt x="2589" y="3095"/>
                  </a:lnTo>
                  <a:lnTo>
                    <a:pt x="2589" y="3095"/>
                  </a:lnTo>
                  <a:close/>
                  <a:moveTo>
                    <a:pt x="2627" y="3132"/>
                  </a:moveTo>
                  <a:lnTo>
                    <a:pt x="2622" y="3116"/>
                  </a:lnTo>
                  <a:lnTo>
                    <a:pt x="2627" y="3123"/>
                  </a:lnTo>
                  <a:lnTo>
                    <a:pt x="2627" y="3132"/>
                  </a:lnTo>
                  <a:lnTo>
                    <a:pt x="2627" y="3132"/>
                  </a:lnTo>
                  <a:lnTo>
                    <a:pt x="2627" y="3132"/>
                  </a:lnTo>
                  <a:close/>
                  <a:moveTo>
                    <a:pt x="2693" y="3149"/>
                  </a:moveTo>
                  <a:lnTo>
                    <a:pt x="2660" y="3139"/>
                  </a:lnTo>
                  <a:lnTo>
                    <a:pt x="2665" y="3132"/>
                  </a:lnTo>
                  <a:lnTo>
                    <a:pt x="2698" y="3149"/>
                  </a:lnTo>
                  <a:lnTo>
                    <a:pt x="2693" y="3149"/>
                  </a:lnTo>
                  <a:lnTo>
                    <a:pt x="2693" y="3149"/>
                  </a:lnTo>
                  <a:lnTo>
                    <a:pt x="2693" y="3149"/>
                  </a:lnTo>
                  <a:close/>
                  <a:moveTo>
                    <a:pt x="2731" y="3139"/>
                  </a:moveTo>
                  <a:lnTo>
                    <a:pt x="2736" y="3139"/>
                  </a:lnTo>
                  <a:lnTo>
                    <a:pt x="2714" y="3139"/>
                  </a:lnTo>
                  <a:lnTo>
                    <a:pt x="2731" y="3139"/>
                  </a:lnTo>
                  <a:lnTo>
                    <a:pt x="2731" y="3139"/>
                  </a:lnTo>
                  <a:lnTo>
                    <a:pt x="2731" y="3139"/>
                  </a:lnTo>
                  <a:close/>
                  <a:moveTo>
                    <a:pt x="2769" y="3156"/>
                  </a:moveTo>
                  <a:lnTo>
                    <a:pt x="2769" y="3149"/>
                  </a:lnTo>
                  <a:lnTo>
                    <a:pt x="2773" y="3139"/>
                  </a:lnTo>
                  <a:lnTo>
                    <a:pt x="2823" y="3149"/>
                  </a:lnTo>
                  <a:lnTo>
                    <a:pt x="2769" y="3156"/>
                  </a:lnTo>
                  <a:lnTo>
                    <a:pt x="2769" y="3156"/>
                  </a:lnTo>
                  <a:lnTo>
                    <a:pt x="2769" y="3156"/>
                  </a:lnTo>
                  <a:close/>
                  <a:moveTo>
                    <a:pt x="2736" y="3139"/>
                  </a:moveTo>
                  <a:lnTo>
                    <a:pt x="2714" y="3156"/>
                  </a:lnTo>
                  <a:lnTo>
                    <a:pt x="2747" y="3156"/>
                  </a:lnTo>
                  <a:lnTo>
                    <a:pt x="2747" y="3161"/>
                  </a:lnTo>
                  <a:lnTo>
                    <a:pt x="2736" y="3161"/>
                  </a:lnTo>
                  <a:lnTo>
                    <a:pt x="2736" y="3172"/>
                  </a:lnTo>
                  <a:lnTo>
                    <a:pt x="2731" y="3172"/>
                  </a:lnTo>
                  <a:lnTo>
                    <a:pt x="2719" y="3161"/>
                  </a:lnTo>
                  <a:lnTo>
                    <a:pt x="2714" y="3161"/>
                  </a:lnTo>
                  <a:lnTo>
                    <a:pt x="2693" y="3156"/>
                  </a:lnTo>
                  <a:lnTo>
                    <a:pt x="2698" y="3149"/>
                  </a:lnTo>
                  <a:lnTo>
                    <a:pt x="2719" y="3149"/>
                  </a:lnTo>
                  <a:lnTo>
                    <a:pt x="2736" y="3139"/>
                  </a:lnTo>
                  <a:lnTo>
                    <a:pt x="2736" y="3139"/>
                  </a:lnTo>
                  <a:lnTo>
                    <a:pt x="2736" y="3139"/>
                  </a:lnTo>
                  <a:close/>
                  <a:moveTo>
                    <a:pt x="2899" y="3139"/>
                  </a:moveTo>
                  <a:lnTo>
                    <a:pt x="2953" y="3149"/>
                  </a:lnTo>
                  <a:lnTo>
                    <a:pt x="2967" y="3161"/>
                  </a:lnTo>
                  <a:lnTo>
                    <a:pt x="2962" y="3177"/>
                  </a:lnTo>
                  <a:lnTo>
                    <a:pt x="2946" y="3177"/>
                  </a:lnTo>
                  <a:lnTo>
                    <a:pt x="2946" y="3172"/>
                  </a:lnTo>
                  <a:lnTo>
                    <a:pt x="2936" y="3172"/>
                  </a:lnTo>
                  <a:lnTo>
                    <a:pt x="2929" y="3177"/>
                  </a:lnTo>
                  <a:lnTo>
                    <a:pt x="2915" y="3177"/>
                  </a:lnTo>
                  <a:lnTo>
                    <a:pt x="2915" y="3172"/>
                  </a:lnTo>
                  <a:lnTo>
                    <a:pt x="2899" y="3177"/>
                  </a:lnTo>
                  <a:lnTo>
                    <a:pt x="2891" y="3149"/>
                  </a:lnTo>
                  <a:lnTo>
                    <a:pt x="2877" y="3149"/>
                  </a:lnTo>
                  <a:lnTo>
                    <a:pt x="2899" y="3139"/>
                  </a:lnTo>
                  <a:lnTo>
                    <a:pt x="2899" y="3139"/>
                  </a:lnTo>
                  <a:lnTo>
                    <a:pt x="2899" y="3139"/>
                  </a:lnTo>
                  <a:close/>
                  <a:moveTo>
                    <a:pt x="2802" y="3189"/>
                  </a:moveTo>
                  <a:lnTo>
                    <a:pt x="2785" y="3177"/>
                  </a:lnTo>
                  <a:lnTo>
                    <a:pt x="2802" y="3172"/>
                  </a:lnTo>
                  <a:lnTo>
                    <a:pt x="2773" y="3177"/>
                  </a:lnTo>
                  <a:lnTo>
                    <a:pt x="2757" y="3161"/>
                  </a:lnTo>
                  <a:lnTo>
                    <a:pt x="2773" y="3156"/>
                  </a:lnTo>
                  <a:lnTo>
                    <a:pt x="2865" y="3149"/>
                  </a:lnTo>
                  <a:lnTo>
                    <a:pt x="2882" y="3156"/>
                  </a:lnTo>
                  <a:lnTo>
                    <a:pt x="2861" y="3172"/>
                  </a:lnTo>
                  <a:lnTo>
                    <a:pt x="2828" y="3156"/>
                  </a:lnTo>
                  <a:lnTo>
                    <a:pt x="2854" y="3172"/>
                  </a:lnTo>
                  <a:lnTo>
                    <a:pt x="2882" y="3172"/>
                  </a:lnTo>
                  <a:lnTo>
                    <a:pt x="2891" y="3177"/>
                  </a:lnTo>
                  <a:lnTo>
                    <a:pt x="2854" y="3177"/>
                  </a:lnTo>
                  <a:lnTo>
                    <a:pt x="2891" y="3194"/>
                  </a:lnTo>
                  <a:lnTo>
                    <a:pt x="2908" y="3210"/>
                  </a:lnTo>
                  <a:lnTo>
                    <a:pt x="2899" y="3227"/>
                  </a:lnTo>
                  <a:lnTo>
                    <a:pt x="2877" y="3206"/>
                  </a:lnTo>
                  <a:lnTo>
                    <a:pt x="2844" y="3206"/>
                  </a:lnTo>
                  <a:lnTo>
                    <a:pt x="2839" y="3194"/>
                  </a:lnTo>
                  <a:lnTo>
                    <a:pt x="2854" y="3189"/>
                  </a:lnTo>
                  <a:lnTo>
                    <a:pt x="2844" y="3189"/>
                  </a:lnTo>
                  <a:lnTo>
                    <a:pt x="2844" y="3172"/>
                  </a:lnTo>
                  <a:lnTo>
                    <a:pt x="2828" y="3177"/>
                  </a:lnTo>
                  <a:lnTo>
                    <a:pt x="2823" y="3161"/>
                  </a:lnTo>
                  <a:lnTo>
                    <a:pt x="2806" y="3172"/>
                  </a:lnTo>
                  <a:lnTo>
                    <a:pt x="2811" y="3172"/>
                  </a:lnTo>
                  <a:lnTo>
                    <a:pt x="2806" y="3177"/>
                  </a:lnTo>
                  <a:lnTo>
                    <a:pt x="2811" y="3194"/>
                  </a:lnTo>
                  <a:lnTo>
                    <a:pt x="2823" y="3194"/>
                  </a:lnTo>
                  <a:lnTo>
                    <a:pt x="2823" y="3206"/>
                  </a:lnTo>
                  <a:lnTo>
                    <a:pt x="2806" y="3206"/>
                  </a:lnTo>
                  <a:lnTo>
                    <a:pt x="2802" y="3194"/>
                  </a:lnTo>
                  <a:lnTo>
                    <a:pt x="2806" y="3189"/>
                  </a:lnTo>
                  <a:lnTo>
                    <a:pt x="2802" y="3189"/>
                  </a:lnTo>
                  <a:lnTo>
                    <a:pt x="2802" y="3189"/>
                  </a:lnTo>
                  <a:lnTo>
                    <a:pt x="2802" y="3189"/>
                  </a:lnTo>
                  <a:close/>
                  <a:moveTo>
                    <a:pt x="2979" y="3156"/>
                  </a:moveTo>
                  <a:lnTo>
                    <a:pt x="2988" y="3161"/>
                  </a:lnTo>
                  <a:lnTo>
                    <a:pt x="2967" y="3156"/>
                  </a:lnTo>
                  <a:lnTo>
                    <a:pt x="2979" y="3156"/>
                  </a:lnTo>
                  <a:lnTo>
                    <a:pt x="2979" y="3156"/>
                  </a:lnTo>
                  <a:lnTo>
                    <a:pt x="2979" y="3156"/>
                  </a:lnTo>
                  <a:close/>
                  <a:moveTo>
                    <a:pt x="3005" y="3177"/>
                  </a:moveTo>
                  <a:lnTo>
                    <a:pt x="3000" y="3172"/>
                  </a:lnTo>
                  <a:lnTo>
                    <a:pt x="3017" y="3172"/>
                  </a:lnTo>
                  <a:lnTo>
                    <a:pt x="3005" y="3177"/>
                  </a:lnTo>
                  <a:lnTo>
                    <a:pt x="3005" y="3177"/>
                  </a:lnTo>
                  <a:lnTo>
                    <a:pt x="3005" y="3177"/>
                  </a:lnTo>
                  <a:close/>
                  <a:moveTo>
                    <a:pt x="2984" y="3177"/>
                  </a:moveTo>
                  <a:lnTo>
                    <a:pt x="2984" y="3189"/>
                  </a:lnTo>
                  <a:lnTo>
                    <a:pt x="2967" y="3189"/>
                  </a:lnTo>
                  <a:lnTo>
                    <a:pt x="2979" y="3177"/>
                  </a:lnTo>
                  <a:lnTo>
                    <a:pt x="2984" y="3177"/>
                  </a:lnTo>
                  <a:lnTo>
                    <a:pt x="2984" y="3177"/>
                  </a:lnTo>
                  <a:lnTo>
                    <a:pt x="2984" y="3177"/>
                  </a:lnTo>
                  <a:close/>
                  <a:moveTo>
                    <a:pt x="2769" y="3189"/>
                  </a:moveTo>
                  <a:lnTo>
                    <a:pt x="2757" y="3177"/>
                  </a:lnTo>
                  <a:lnTo>
                    <a:pt x="2769" y="3177"/>
                  </a:lnTo>
                  <a:lnTo>
                    <a:pt x="2769" y="3189"/>
                  </a:lnTo>
                  <a:lnTo>
                    <a:pt x="2769" y="3189"/>
                  </a:lnTo>
                  <a:lnTo>
                    <a:pt x="2769" y="3189"/>
                  </a:lnTo>
                  <a:close/>
                  <a:moveTo>
                    <a:pt x="2785" y="3194"/>
                  </a:moveTo>
                  <a:lnTo>
                    <a:pt x="2785" y="3189"/>
                  </a:lnTo>
                  <a:lnTo>
                    <a:pt x="2790" y="3189"/>
                  </a:lnTo>
                  <a:lnTo>
                    <a:pt x="2785" y="3194"/>
                  </a:lnTo>
                  <a:lnTo>
                    <a:pt x="2785" y="3194"/>
                  </a:lnTo>
                  <a:lnTo>
                    <a:pt x="2785" y="3194"/>
                  </a:lnTo>
                  <a:close/>
                  <a:moveTo>
                    <a:pt x="2925" y="3210"/>
                  </a:moveTo>
                  <a:lnTo>
                    <a:pt x="2929" y="3206"/>
                  </a:lnTo>
                  <a:lnTo>
                    <a:pt x="2936" y="3206"/>
                  </a:lnTo>
                  <a:lnTo>
                    <a:pt x="2925" y="3210"/>
                  </a:lnTo>
                  <a:lnTo>
                    <a:pt x="2925" y="3210"/>
                  </a:lnTo>
                  <a:lnTo>
                    <a:pt x="2925" y="3210"/>
                  </a:lnTo>
                  <a:close/>
                  <a:moveTo>
                    <a:pt x="2953" y="3234"/>
                  </a:moveTo>
                  <a:lnTo>
                    <a:pt x="2936" y="3227"/>
                  </a:lnTo>
                  <a:lnTo>
                    <a:pt x="2936" y="3217"/>
                  </a:lnTo>
                  <a:lnTo>
                    <a:pt x="2953" y="3210"/>
                  </a:lnTo>
                  <a:lnTo>
                    <a:pt x="2962" y="3227"/>
                  </a:lnTo>
                  <a:lnTo>
                    <a:pt x="2953" y="3234"/>
                  </a:lnTo>
                  <a:lnTo>
                    <a:pt x="2953" y="3234"/>
                  </a:lnTo>
                  <a:lnTo>
                    <a:pt x="2953" y="3234"/>
                  </a:lnTo>
                  <a:close/>
                  <a:moveTo>
                    <a:pt x="2967" y="3243"/>
                  </a:moveTo>
                  <a:lnTo>
                    <a:pt x="2962" y="3243"/>
                  </a:lnTo>
                  <a:lnTo>
                    <a:pt x="2967" y="3234"/>
                  </a:lnTo>
                  <a:lnTo>
                    <a:pt x="2967" y="3243"/>
                  </a:lnTo>
                  <a:lnTo>
                    <a:pt x="2967" y="3243"/>
                  </a:lnTo>
                  <a:lnTo>
                    <a:pt x="2967" y="3243"/>
                  </a:lnTo>
                  <a:close/>
                  <a:moveTo>
                    <a:pt x="2929" y="3243"/>
                  </a:moveTo>
                  <a:lnTo>
                    <a:pt x="2915" y="3234"/>
                  </a:lnTo>
                  <a:lnTo>
                    <a:pt x="2936" y="3234"/>
                  </a:lnTo>
                  <a:lnTo>
                    <a:pt x="2929" y="3243"/>
                  </a:lnTo>
                  <a:lnTo>
                    <a:pt x="2929" y="3243"/>
                  </a:lnTo>
                  <a:lnTo>
                    <a:pt x="2929" y="3243"/>
                  </a:lnTo>
                  <a:close/>
                  <a:moveTo>
                    <a:pt x="2962" y="3243"/>
                  </a:moveTo>
                  <a:lnTo>
                    <a:pt x="2946" y="3234"/>
                  </a:lnTo>
                  <a:lnTo>
                    <a:pt x="2962" y="3234"/>
                  </a:lnTo>
                  <a:lnTo>
                    <a:pt x="2962" y="3243"/>
                  </a:lnTo>
                  <a:lnTo>
                    <a:pt x="2962" y="3243"/>
                  </a:lnTo>
                  <a:lnTo>
                    <a:pt x="2962" y="3243"/>
                  </a:lnTo>
                  <a:close/>
                </a:path>
              </a:pathLst>
            </a:custGeom>
            <a:pattFill prst="wd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29" name="Freeform 416">
              <a:extLst>
                <a:ext uri="{FF2B5EF4-FFF2-40B4-BE49-F238E27FC236}">
                  <a16:creationId xmlns:a16="http://schemas.microsoft.com/office/drawing/2014/main" id="{8C55BE85-7578-46D7-9E1A-23FBEB4BAFE5}"/>
                </a:ext>
              </a:extLst>
            </p:cNvPr>
            <p:cNvSpPr>
              <a:spLocks/>
            </p:cNvSpPr>
            <p:nvPr/>
          </p:nvSpPr>
          <p:spPr bwMode="gray">
            <a:xfrm>
              <a:off x="6069566" y="4134464"/>
              <a:ext cx="266739" cy="411784"/>
            </a:xfrm>
            <a:custGeom>
              <a:avLst/>
              <a:gdLst>
                <a:gd name="T0" fmla="*/ 21 w 539"/>
                <a:gd name="T1" fmla="*/ 572 h 832"/>
                <a:gd name="T2" fmla="*/ 26 w 539"/>
                <a:gd name="T3" fmla="*/ 522 h 832"/>
                <a:gd name="T4" fmla="*/ 80 w 539"/>
                <a:gd name="T5" fmla="*/ 477 h 832"/>
                <a:gd name="T6" fmla="*/ 97 w 539"/>
                <a:gd name="T7" fmla="*/ 461 h 832"/>
                <a:gd name="T8" fmla="*/ 123 w 539"/>
                <a:gd name="T9" fmla="*/ 449 h 832"/>
                <a:gd name="T10" fmla="*/ 144 w 539"/>
                <a:gd name="T11" fmla="*/ 437 h 832"/>
                <a:gd name="T12" fmla="*/ 182 w 539"/>
                <a:gd name="T13" fmla="*/ 482 h 832"/>
                <a:gd name="T14" fmla="*/ 215 w 539"/>
                <a:gd name="T15" fmla="*/ 465 h 832"/>
                <a:gd name="T16" fmla="*/ 236 w 539"/>
                <a:gd name="T17" fmla="*/ 437 h 832"/>
                <a:gd name="T18" fmla="*/ 232 w 539"/>
                <a:gd name="T19" fmla="*/ 421 h 832"/>
                <a:gd name="T20" fmla="*/ 243 w 539"/>
                <a:gd name="T21" fmla="*/ 387 h 832"/>
                <a:gd name="T22" fmla="*/ 258 w 539"/>
                <a:gd name="T23" fmla="*/ 338 h 832"/>
                <a:gd name="T24" fmla="*/ 274 w 539"/>
                <a:gd name="T25" fmla="*/ 326 h 832"/>
                <a:gd name="T26" fmla="*/ 295 w 539"/>
                <a:gd name="T27" fmla="*/ 317 h 832"/>
                <a:gd name="T28" fmla="*/ 328 w 539"/>
                <a:gd name="T29" fmla="*/ 255 h 832"/>
                <a:gd name="T30" fmla="*/ 345 w 539"/>
                <a:gd name="T31" fmla="*/ 215 h 832"/>
                <a:gd name="T32" fmla="*/ 366 w 539"/>
                <a:gd name="T33" fmla="*/ 149 h 832"/>
                <a:gd name="T34" fmla="*/ 399 w 539"/>
                <a:gd name="T35" fmla="*/ 132 h 832"/>
                <a:gd name="T36" fmla="*/ 432 w 539"/>
                <a:gd name="T37" fmla="*/ 95 h 832"/>
                <a:gd name="T38" fmla="*/ 421 w 539"/>
                <a:gd name="T39" fmla="*/ 54 h 832"/>
                <a:gd name="T40" fmla="*/ 395 w 539"/>
                <a:gd name="T41" fmla="*/ 0 h 832"/>
                <a:gd name="T42" fmla="*/ 421 w 539"/>
                <a:gd name="T43" fmla="*/ 21 h 832"/>
                <a:gd name="T44" fmla="*/ 449 w 539"/>
                <a:gd name="T45" fmla="*/ 71 h 832"/>
                <a:gd name="T46" fmla="*/ 458 w 539"/>
                <a:gd name="T47" fmla="*/ 116 h 832"/>
                <a:gd name="T48" fmla="*/ 458 w 539"/>
                <a:gd name="T49" fmla="*/ 165 h 832"/>
                <a:gd name="T50" fmla="*/ 508 w 539"/>
                <a:gd name="T51" fmla="*/ 227 h 832"/>
                <a:gd name="T52" fmla="*/ 399 w 539"/>
                <a:gd name="T53" fmla="*/ 227 h 832"/>
                <a:gd name="T54" fmla="*/ 404 w 539"/>
                <a:gd name="T55" fmla="*/ 281 h 832"/>
                <a:gd name="T56" fmla="*/ 491 w 539"/>
                <a:gd name="T57" fmla="*/ 383 h 832"/>
                <a:gd name="T58" fmla="*/ 491 w 539"/>
                <a:gd name="T59" fmla="*/ 404 h 832"/>
                <a:gd name="T60" fmla="*/ 449 w 539"/>
                <a:gd name="T61" fmla="*/ 494 h 832"/>
                <a:gd name="T62" fmla="*/ 421 w 539"/>
                <a:gd name="T63" fmla="*/ 522 h 832"/>
                <a:gd name="T64" fmla="*/ 432 w 539"/>
                <a:gd name="T65" fmla="*/ 548 h 832"/>
                <a:gd name="T66" fmla="*/ 432 w 539"/>
                <a:gd name="T67" fmla="*/ 572 h 832"/>
                <a:gd name="T68" fmla="*/ 458 w 539"/>
                <a:gd name="T69" fmla="*/ 631 h 832"/>
                <a:gd name="T70" fmla="*/ 458 w 539"/>
                <a:gd name="T71" fmla="*/ 659 h 832"/>
                <a:gd name="T72" fmla="*/ 529 w 539"/>
                <a:gd name="T73" fmla="*/ 737 h 832"/>
                <a:gd name="T74" fmla="*/ 539 w 539"/>
                <a:gd name="T75" fmla="*/ 782 h 832"/>
                <a:gd name="T76" fmla="*/ 539 w 539"/>
                <a:gd name="T77" fmla="*/ 827 h 832"/>
                <a:gd name="T78" fmla="*/ 508 w 539"/>
                <a:gd name="T79" fmla="*/ 810 h 832"/>
                <a:gd name="T80" fmla="*/ 421 w 539"/>
                <a:gd name="T81" fmla="*/ 794 h 832"/>
                <a:gd name="T82" fmla="*/ 328 w 539"/>
                <a:gd name="T83" fmla="*/ 782 h 832"/>
                <a:gd name="T84" fmla="*/ 269 w 539"/>
                <a:gd name="T85" fmla="*/ 782 h 832"/>
                <a:gd name="T86" fmla="*/ 199 w 539"/>
                <a:gd name="T87" fmla="*/ 794 h 832"/>
                <a:gd name="T88" fmla="*/ 90 w 539"/>
                <a:gd name="T89" fmla="*/ 777 h 832"/>
                <a:gd name="T90" fmla="*/ 97 w 539"/>
                <a:gd name="T91" fmla="*/ 716 h 832"/>
                <a:gd name="T92" fmla="*/ 90 w 539"/>
                <a:gd name="T93" fmla="*/ 687 h 832"/>
                <a:gd name="T94" fmla="*/ 76 w 539"/>
                <a:gd name="T95" fmla="*/ 671 h 832"/>
                <a:gd name="T96" fmla="*/ 69 w 539"/>
                <a:gd name="T97" fmla="*/ 650 h 832"/>
                <a:gd name="T98" fmla="*/ 69 w 539"/>
                <a:gd name="T99" fmla="*/ 666 h 832"/>
                <a:gd name="T100" fmla="*/ 26 w 539"/>
                <a:gd name="T101" fmla="*/ 614 h 832"/>
                <a:gd name="T102" fmla="*/ 26 w 539"/>
                <a:gd name="T103" fmla="*/ 614 h 832"/>
                <a:gd name="T104" fmla="*/ 14 w 539"/>
                <a:gd name="T105" fmla="*/ 626 h 832"/>
                <a:gd name="T106" fmla="*/ 5 w 539"/>
                <a:gd name="T107" fmla="*/ 605 h 832"/>
                <a:gd name="T108" fmla="*/ 5 w 539"/>
                <a:gd name="T109" fmla="*/ 605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9" h="832">
                  <a:moveTo>
                    <a:pt x="5" y="605"/>
                  </a:moveTo>
                  <a:lnTo>
                    <a:pt x="21" y="572"/>
                  </a:lnTo>
                  <a:lnTo>
                    <a:pt x="26" y="548"/>
                  </a:lnTo>
                  <a:lnTo>
                    <a:pt x="26" y="522"/>
                  </a:lnTo>
                  <a:lnTo>
                    <a:pt x="59" y="494"/>
                  </a:lnTo>
                  <a:lnTo>
                    <a:pt x="80" y="477"/>
                  </a:lnTo>
                  <a:lnTo>
                    <a:pt x="90" y="461"/>
                  </a:lnTo>
                  <a:lnTo>
                    <a:pt x="97" y="461"/>
                  </a:lnTo>
                  <a:lnTo>
                    <a:pt x="113" y="444"/>
                  </a:lnTo>
                  <a:lnTo>
                    <a:pt x="123" y="449"/>
                  </a:lnTo>
                  <a:lnTo>
                    <a:pt x="144" y="449"/>
                  </a:lnTo>
                  <a:lnTo>
                    <a:pt x="144" y="437"/>
                  </a:lnTo>
                  <a:lnTo>
                    <a:pt x="182" y="461"/>
                  </a:lnTo>
                  <a:lnTo>
                    <a:pt x="182" y="482"/>
                  </a:lnTo>
                  <a:lnTo>
                    <a:pt x="199" y="482"/>
                  </a:lnTo>
                  <a:lnTo>
                    <a:pt x="215" y="465"/>
                  </a:lnTo>
                  <a:lnTo>
                    <a:pt x="215" y="449"/>
                  </a:lnTo>
                  <a:lnTo>
                    <a:pt x="236" y="437"/>
                  </a:lnTo>
                  <a:lnTo>
                    <a:pt x="232" y="421"/>
                  </a:lnTo>
                  <a:lnTo>
                    <a:pt x="232" y="421"/>
                  </a:lnTo>
                  <a:lnTo>
                    <a:pt x="243" y="404"/>
                  </a:lnTo>
                  <a:lnTo>
                    <a:pt x="243" y="387"/>
                  </a:lnTo>
                  <a:lnTo>
                    <a:pt x="258" y="371"/>
                  </a:lnTo>
                  <a:lnTo>
                    <a:pt x="258" y="338"/>
                  </a:lnTo>
                  <a:lnTo>
                    <a:pt x="274" y="333"/>
                  </a:lnTo>
                  <a:lnTo>
                    <a:pt x="274" y="326"/>
                  </a:lnTo>
                  <a:lnTo>
                    <a:pt x="291" y="326"/>
                  </a:lnTo>
                  <a:lnTo>
                    <a:pt x="295" y="317"/>
                  </a:lnTo>
                  <a:lnTo>
                    <a:pt x="307" y="272"/>
                  </a:lnTo>
                  <a:lnTo>
                    <a:pt x="328" y="255"/>
                  </a:lnTo>
                  <a:lnTo>
                    <a:pt x="340" y="222"/>
                  </a:lnTo>
                  <a:lnTo>
                    <a:pt x="345" y="215"/>
                  </a:lnTo>
                  <a:lnTo>
                    <a:pt x="350" y="182"/>
                  </a:lnTo>
                  <a:lnTo>
                    <a:pt x="366" y="149"/>
                  </a:lnTo>
                  <a:lnTo>
                    <a:pt x="383" y="132"/>
                  </a:lnTo>
                  <a:lnTo>
                    <a:pt x="399" y="132"/>
                  </a:lnTo>
                  <a:lnTo>
                    <a:pt x="432" y="111"/>
                  </a:lnTo>
                  <a:lnTo>
                    <a:pt x="432" y="95"/>
                  </a:lnTo>
                  <a:lnTo>
                    <a:pt x="432" y="59"/>
                  </a:lnTo>
                  <a:lnTo>
                    <a:pt x="421" y="54"/>
                  </a:lnTo>
                  <a:lnTo>
                    <a:pt x="399" y="50"/>
                  </a:lnTo>
                  <a:lnTo>
                    <a:pt x="395" y="0"/>
                  </a:lnTo>
                  <a:lnTo>
                    <a:pt x="416" y="0"/>
                  </a:lnTo>
                  <a:lnTo>
                    <a:pt x="421" y="21"/>
                  </a:lnTo>
                  <a:lnTo>
                    <a:pt x="449" y="33"/>
                  </a:lnTo>
                  <a:lnTo>
                    <a:pt x="449" y="71"/>
                  </a:lnTo>
                  <a:lnTo>
                    <a:pt x="458" y="71"/>
                  </a:lnTo>
                  <a:lnTo>
                    <a:pt x="458" y="116"/>
                  </a:lnTo>
                  <a:lnTo>
                    <a:pt x="458" y="132"/>
                  </a:lnTo>
                  <a:lnTo>
                    <a:pt x="458" y="165"/>
                  </a:lnTo>
                  <a:lnTo>
                    <a:pt x="487" y="206"/>
                  </a:lnTo>
                  <a:lnTo>
                    <a:pt x="508" y="227"/>
                  </a:lnTo>
                  <a:lnTo>
                    <a:pt x="437" y="227"/>
                  </a:lnTo>
                  <a:lnTo>
                    <a:pt x="399" y="227"/>
                  </a:lnTo>
                  <a:lnTo>
                    <a:pt x="383" y="255"/>
                  </a:lnTo>
                  <a:lnTo>
                    <a:pt x="404" y="281"/>
                  </a:lnTo>
                  <a:lnTo>
                    <a:pt x="470" y="333"/>
                  </a:lnTo>
                  <a:lnTo>
                    <a:pt x="491" y="383"/>
                  </a:lnTo>
                  <a:lnTo>
                    <a:pt x="501" y="387"/>
                  </a:lnTo>
                  <a:lnTo>
                    <a:pt x="491" y="404"/>
                  </a:lnTo>
                  <a:lnTo>
                    <a:pt x="470" y="428"/>
                  </a:lnTo>
                  <a:lnTo>
                    <a:pt x="449" y="494"/>
                  </a:lnTo>
                  <a:lnTo>
                    <a:pt x="416" y="515"/>
                  </a:lnTo>
                  <a:lnTo>
                    <a:pt x="421" y="522"/>
                  </a:lnTo>
                  <a:lnTo>
                    <a:pt x="432" y="522"/>
                  </a:lnTo>
                  <a:lnTo>
                    <a:pt x="432" y="548"/>
                  </a:lnTo>
                  <a:lnTo>
                    <a:pt x="421" y="560"/>
                  </a:lnTo>
                  <a:lnTo>
                    <a:pt x="432" y="572"/>
                  </a:lnTo>
                  <a:lnTo>
                    <a:pt x="437" y="614"/>
                  </a:lnTo>
                  <a:lnTo>
                    <a:pt x="458" y="631"/>
                  </a:lnTo>
                  <a:lnTo>
                    <a:pt x="470" y="659"/>
                  </a:lnTo>
                  <a:lnTo>
                    <a:pt x="458" y="659"/>
                  </a:lnTo>
                  <a:lnTo>
                    <a:pt x="475" y="683"/>
                  </a:lnTo>
                  <a:lnTo>
                    <a:pt x="529" y="737"/>
                  </a:lnTo>
                  <a:lnTo>
                    <a:pt x="529" y="770"/>
                  </a:lnTo>
                  <a:lnTo>
                    <a:pt x="539" y="782"/>
                  </a:lnTo>
                  <a:lnTo>
                    <a:pt x="529" y="794"/>
                  </a:lnTo>
                  <a:lnTo>
                    <a:pt x="539" y="827"/>
                  </a:lnTo>
                  <a:lnTo>
                    <a:pt x="529" y="832"/>
                  </a:lnTo>
                  <a:lnTo>
                    <a:pt x="508" y="810"/>
                  </a:lnTo>
                  <a:lnTo>
                    <a:pt x="449" y="798"/>
                  </a:lnTo>
                  <a:lnTo>
                    <a:pt x="421" y="794"/>
                  </a:lnTo>
                  <a:lnTo>
                    <a:pt x="340" y="794"/>
                  </a:lnTo>
                  <a:lnTo>
                    <a:pt x="328" y="782"/>
                  </a:lnTo>
                  <a:lnTo>
                    <a:pt x="295" y="782"/>
                  </a:lnTo>
                  <a:lnTo>
                    <a:pt x="269" y="782"/>
                  </a:lnTo>
                  <a:lnTo>
                    <a:pt x="199" y="782"/>
                  </a:lnTo>
                  <a:lnTo>
                    <a:pt x="199" y="794"/>
                  </a:lnTo>
                  <a:lnTo>
                    <a:pt x="106" y="794"/>
                  </a:lnTo>
                  <a:lnTo>
                    <a:pt x="90" y="777"/>
                  </a:lnTo>
                  <a:lnTo>
                    <a:pt x="106" y="725"/>
                  </a:lnTo>
                  <a:lnTo>
                    <a:pt x="97" y="716"/>
                  </a:lnTo>
                  <a:lnTo>
                    <a:pt x="80" y="687"/>
                  </a:lnTo>
                  <a:lnTo>
                    <a:pt x="90" y="687"/>
                  </a:lnTo>
                  <a:lnTo>
                    <a:pt x="80" y="687"/>
                  </a:lnTo>
                  <a:lnTo>
                    <a:pt x="76" y="671"/>
                  </a:lnTo>
                  <a:lnTo>
                    <a:pt x="80" y="666"/>
                  </a:lnTo>
                  <a:lnTo>
                    <a:pt x="69" y="650"/>
                  </a:lnTo>
                  <a:lnTo>
                    <a:pt x="76" y="659"/>
                  </a:lnTo>
                  <a:lnTo>
                    <a:pt x="69" y="666"/>
                  </a:lnTo>
                  <a:lnTo>
                    <a:pt x="38" y="650"/>
                  </a:lnTo>
                  <a:lnTo>
                    <a:pt x="26" y="614"/>
                  </a:lnTo>
                  <a:lnTo>
                    <a:pt x="21" y="609"/>
                  </a:lnTo>
                  <a:lnTo>
                    <a:pt x="26" y="614"/>
                  </a:lnTo>
                  <a:lnTo>
                    <a:pt x="14" y="609"/>
                  </a:lnTo>
                  <a:lnTo>
                    <a:pt x="14" y="626"/>
                  </a:lnTo>
                  <a:lnTo>
                    <a:pt x="0" y="614"/>
                  </a:lnTo>
                  <a:lnTo>
                    <a:pt x="5" y="605"/>
                  </a:lnTo>
                  <a:lnTo>
                    <a:pt x="5" y="605"/>
                  </a:lnTo>
                  <a:lnTo>
                    <a:pt x="5" y="605"/>
                  </a:lnTo>
                  <a:close/>
                </a:path>
              </a:pathLst>
            </a:custGeom>
            <a:pattFill prst="dk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30" name="Freeform 417">
              <a:extLst>
                <a:ext uri="{FF2B5EF4-FFF2-40B4-BE49-F238E27FC236}">
                  <a16:creationId xmlns:a16="http://schemas.microsoft.com/office/drawing/2014/main" id="{5B19A7AE-7968-45C6-9843-B2B18C8CD264}"/>
                </a:ext>
              </a:extLst>
            </p:cNvPr>
            <p:cNvSpPr>
              <a:spLocks noEditPoints="1"/>
            </p:cNvSpPr>
            <p:nvPr/>
          </p:nvSpPr>
          <p:spPr bwMode="gray">
            <a:xfrm>
              <a:off x="7275087" y="5011485"/>
              <a:ext cx="45528" cy="36131"/>
            </a:xfrm>
            <a:custGeom>
              <a:avLst/>
              <a:gdLst>
                <a:gd name="T0" fmla="*/ 16 w 92"/>
                <a:gd name="T1" fmla="*/ 40 h 73"/>
                <a:gd name="T2" fmla="*/ 0 w 92"/>
                <a:gd name="T3" fmla="*/ 21 h 73"/>
                <a:gd name="T4" fmla="*/ 0 w 92"/>
                <a:gd name="T5" fmla="*/ 0 h 73"/>
                <a:gd name="T6" fmla="*/ 16 w 92"/>
                <a:gd name="T7" fmla="*/ 0 h 73"/>
                <a:gd name="T8" fmla="*/ 16 w 92"/>
                <a:gd name="T9" fmla="*/ 40 h 73"/>
                <a:gd name="T10" fmla="*/ 16 w 92"/>
                <a:gd name="T11" fmla="*/ 40 h 73"/>
                <a:gd name="T12" fmla="*/ 16 w 92"/>
                <a:gd name="T13" fmla="*/ 40 h 73"/>
                <a:gd name="T14" fmla="*/ 92 w 92"/>
                <a:gd name="T15" fmla="*/ 73 h 73"/>
                <a:gd name="T16" fmla="*/ 70 w 92"/>
                <a:gd name="T17" fmla="*/ 56 h 73"/>
                <a:gd name="T18" fmla="*/ 80 w 92"/>
                <a:gd name="T19" fmla="*/ 56 h 73"/>
                <a:gd name="T20" fmla="*/ 85 w 92"/>
                <a:gd name="T21" fmla="*/ 49 h 73"/>
                <a:gd name="T22" fmla="*/ 92 w 92"/>
                <a:gd name="T23" fmla="*/ 73 h 73"/>
                <a:gd name="T24" fmla="*/ 92 w 92"/>
                <a:gd name="T25" fmla="*/ 73 h 73"/>
                <a:gd name="T26" fmla="*/ 92 w 92"/>
                <a:gd name="T27" fmla="*/ 73 h 73"/>
                <a:gd name="T28" fmla="*/ 49 w 92"/>
                <a:gd name="T29" fmla="*/ 73 h 73"/>
                <a:gd name="T30" fmla="*/ 33 w 92"/>
                <a:gd name="T31" fmla="*/ 73 h 73"/>
                <a:gd name="T32" fmla="*/ 33 w 92"/>
                <a:gd name="T33" fmla="*/ 66 h 73"/>
                <a:gd name="T34" fmla="*/ 49 w 92"/>
                <a:gd name="T35" fmla="*/ 73 h 73"/>
                <a:gd name="T36" fmla="*/ 49 w 92"/>
                <a:gd name="T37" fmla="*/ 73 h 73"/>
                <a:gd name="T38" fmla="*/ 49 w 92"/>
                <a:gd name="T3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 h="73">
                  <a:moveTo>
                    <a:pt x="16" y="40"/>
                  </a:moveTo>
                  <a:lnTo>
                    <a:pt x="0" y="21"/>
                  </a:lnTo>
                  <a:lnTo>
                    <a:pt x="0" y="0"/>
                  </a:lnTo>
                  <a:lnTo>
                    <a:pt x="16" y="0"/>
                  </a:lnTo>
                  <a:lnTo>
                    <a:pt x="16" y="40"/>
                  </a:lnTo>
                  <a:lnTo>
                    <a:pt x="16" y="40"/>
                  </a:lnTo>
                  <a:lnTo>
                    <a:pt x="16" y="40"/>
                  </a:lnTo>
                  <a:close/>
                  <a:moveTo>
                    <a:pt x="92" y="73"/>
                  </a:moveTo>
                  <a:lnTo>
                    <a:pt x="70" y="56"/>
                  </a:lnTo>
                  <a:lnTo>
                    <a:pt x="80" y="56"/>
                  </a:lnTo>
                  <a:lnTo>
                    <a:pt x="85" y="49"/>
                  </a:lnTo>
                  <a:lnTo>
                    <a:pt x="92" y="73"/>
                  </a:lnTo>
                  <a:lnTo>
                    <a:pt x="92" y="73"/>
                  </a:lnTo>
                  <a:lnTo>
                    <a:pt x="92" y="73"/>
                  </a:lnTo>
                  <a:close/>
                  <a:moveTo>
                    <a:pt x="49" y="73"/>
                  </a:moveTo>
                  <a:lnTo>
                    <a:pt x="33" y="73"/>
                  </a:lnTo>
                  <a:lnTo>
                    <a:pt x="33" y="66"/>
                  </a:lnTo>
                  <a:lnTo>
                    <a:pt x="49" y="73"/>
                  </a:lnTo>
                  <a:lnTo>
                    <a:pt x="49" y="73"/>
                  </a:lnTo>
                  <a:lnTo>
                    <a:pt x="49" y="73"/>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31" name="Freeform 418">
              <a:extLst>
                <a:ext uri="{FF2B5EF4-FFF2-40B4-BE49-F238E27FC236}">
                  <a16:creationId xmlns:a16="http://schemas.microsoft.com/office/drawing/2014/main" id="{3F6AA42F-D92A-4BE9-90F6-A920B0C1CCE5}"/>
                </a:ext>
              </a:extLst>
            </p:cNvPr>
            <p:cNvSpPr>
              <a:spLocks noEditPoints="1"/>
            </p:cNvSpPr>
            <p:nvPr/>
          </p:nvSpPr>
          <p:spPr bwMode="gray">
            <a:xfrm>
              <a:off x="3028052" y="4159211"/>
              <a:ext cx="424109" cy="594909"/>
            </a:xfrm>
            <a:custGeom>
              <a:avLst/>
              <a:gdLst>
                <a:gd name="T0" fmla="*/ 92 w 857"/>
                <a:gd name="T1" fmla="*/ 337 h 1202"/>
                <a:gd name="T2" fmla="*/ 134 w 857"/>
                <a:gd name="T3" fmla="*/ 321 h 1202"/>
                <a:gd name="T4" fmla="*/ 146 w 857"/>
                <a:gd name="T5" fmla="*/ 304 h 1202"/>
                <a:gd name="T6" fmla="*/ 163 w 857"/>
                <a:gd name="T7" fmla="*/ 288 h 1202"/>
                <a:gd name="T8" fmla="*/ 243 w 857"/>
                <a:gd name="T9" fmla="*/ 212 h 1202"/>
                <a:gd name="T10" fmla="*/ 269 w 857"/>
                <a:gd name="T11" fmla="*/ 122 h 1202"/>
                <a:gd name="T12" fmla="*/ 323 w 857"/>
                <a:gd name="T13" fmla="*/ 101 h 1202"/>
                <a:gd name="T14" fmla="*/ 335 w 857"/>
                <a:gd name="T15" fmla="*/ 122 h 1202"/>
                <a:gd name="T16" fmla="*/ 479 w 857"/>
                <a:gd name="T17" fmla="*/ 40 h 1202"/>
                <a:gd name="T18" fmla="*/ 496 w 857"/>
                <a:gd name="T19" fmla="*/ 11 h 1202"/>
                <a:gd name="T20" fmla="*/ 517 w 857"/>
                <a:gd name="T21" fmla="*/ 0 h 1202"/>
                <a:gd name="T22" fmla="*/ 503 w 857"/>
                <a:gd name="T23" fmla="*/ 56 h 1202"/>
                <a:gd name="T24" fmla="*/ 427 w 857"/>
                <a:gd name="T25" fmla="*/ 193 h 1202"/>
                <a:gd name="T26" fmla="*/ 441 w 857"/>
                <a:gd name="T27" fmla="*/ 245 h 1202"/>
                <a:gd name="T28" fmla="*/ 465 w 857"/>
                <a:gd name="T29" fmla="*/ 321 h 1202"/>
                <a:gd name="T30" fmla="*/ 524 w 857"/>
                <a:gd name="T31" fmla="*/ 389 h 1202"/>
                <a:gd name="T32" fmla="*/ 630 w 857"/>
                <a:gd name="T33" fmla="*/ 394 h 1202"/>
                <a:gd name="T34" fmla="*/ 701 w 857"/>
                <a:gd name="T35" fmla="*/ 448 h 1202"/>
                <a:gd name="T36" fmla="*/ 819 w 857"/>
                <a:gd name="T37" fmla="*/ 448 h 1202"/>
                <a:gd name="T38" fmla="*/ 789 w 857"/>
                <a:gd name="T39" fmla="*/ 510 h 1202"/>
                <a:gd name="T40" fmla="*/ 827 w 857"/>
                <a:gd name="T41" fmla="*/ 654 h 1202"/>
                <a:gd name="T42" fmla="*/ 836 w 857"/>
                <a:gd name="T43" fmla="*/ 732 h 1202"/>
                <a:gd name="T44" fmla="*/ 827 w 857"/>
                <a:gd name="T45" fmla="*/ 744 h 1202"/>
                <a:gd name="T46" fmla="*/ 756 w 857"/>
                <a:gd name="T47" fmla="*/ 765 h 1202"/>
                <a:gd name="T48" fmla="*/ 647 w 857"/>
                <a:gd name="T49" fmla="*/ 819 h 1202"/>
                <a:gd name="T50" fmla="*/ 685 w 857"/>
                <a:gd name="T51" fmla="*/ 852 h 1202"/>
                <a:gd name="T52" fmla="*/ 664 w 857"/>
                <a:gd name="T53" fmla="*/ 930 h 1202"/>
                <a:gd name="T54" fmla="*/ 642 w 857"/>
                <a:gd name="T55" fmla="*/ 1202 h 1202"/>
                <a:gd name="T56" fmla="*/ 630 w 857"/>
                <a:gd name="T57" fmla="*/ 1098 h 1202"/>
                <a:gd name="T58" fmla="*/ 541 w 857"/>
                <a:gd name="T59" fmla="*/ 1070 h 1202"/>
                <a:gd name="T60" fmla="*/ 479 w 857"/>
                <a:gd name="T61" fmla="*/ 1074 h 1202"/>
                <a:gd name="T62" fmla="*/ 415 w 857"/>
                <a:gd name="T63" fmla="*/ 1070 h 1202"/>
                <a:gd name="T64" fmla="*/ 411 w 857"/>
                <a:gd name="T65" fmla="*/ 1037 h 1202"/>
                <a:gd name="T66" fmla="*/ 340 w 857"/>
                <a:gd name="T67" fmla="*/ 970 h 1202"/>
                <a:gd name="T68" fmla="*/ 297 w 857"/>
                <a:gd name="T69" fmla="*/ 914 h 1202"/>
                <a:gd name="T70" fmla="*/ 215 w 857"/>
                <a:gd name="T71" fmla="*/ 876 h 1202"/>
                <a:gd name="T72" fmla="*/ 177 w 857"/>
                <a:gd name="T73" fmla="*/ 888 h 1202"/>
                <a:gd name="T74" fmla="*/ 101 w 857"/>
                <a:gd name="T75" fmla="*/ 836 h 1202"/>
                <a:gd name="T76" fmla="*/ 16 w 857"/>
                <a:gd name="T77" fmla="*/ 786 h 1202"/>
                <a:gd name="T78" fmla="*/ 38 w 857"/>
                <a:gd name="T79" fmla="*/ 760 h 1202"/>
                <a:gd name="T80" fmla="*/ 54 w 857"/>
                <a:gd name="T81" fmla="*/ 720 h 1202"/>
                <a:gd name="T82" fmla="*/ 87 w 857"/>
                <a:gd name="T83" fmla="*/ 708 h 1202"/>
                <a:gd name="T84" fmla="*/ 118 w 857"/>
                <a:gd name="T85" fmla="*/ 654 h 1202"/>
                <a:gd name="T86" fmla="*/ 125 w 857"/>
                <a:gd name="T87" fmla="*/ 616 h 1202"/>
                <a:gd name="T88" fmla="*/ 118 w 857"/>
                <a:gd name="T89" fmla="*/ 609 h 1202"/>
                <a:gd name="T90" fmla="*/ 125 w 857"/>
                <a:gd name="T91" fmla="*/ 567 h 1202"/>
                <a:gd name="T92" fmla="*/ 134 w 857"/>
                <a:gd name="T93" fmla="*/ 482 h 1202"/>
                <a:gd name="T94" fmla="*/ 125 w 857"/>
                <a:gd name="T95" fmla="*/ 427 h 1202"/>
                <a:gd name="T96" fmla="*/ 118 w 857"/>
                <a:gd name="T97" fmla="*/ 583 h 1202"/>
                <a:gd name="T98" fmla="*/ 118 w 857"/>
                <a:gd name="T99" fmla="*/ 583 h 1202"/>
                <a:gd name="T100" fmla="*/ 118 w 857"/>
                <a:gd name="T101" fmla="*/ 609 h 1202"/>
                <a:gd name="T102" fmla="*/ 118 w 857"/>
                <a:gd name="T103" fmla="*/ 666 h 1202"/>
                <a:gd name="T104" fmla="*/ 118 w 857"/>
                <a:gd name="T105" fmla="*/ 666 h 1202"/>
                <a:gd name="T106" fmla="*/ 108 w 857"/>
                <a:gd name="T107" fmla="*/ 675 h 1202"/>
                <a:gd name="T108" fmla="*/ 108 w 857"/>
                <a:gd name="T109" fmla="*/ 671 h 1202"/>
                <a:gd name="T110" fmla="*/ 87 w 857"/>
                <a:gd name="T111" fmla="*/ 708 h 1202"/>
                <a:gd name="T112" fmla="*/ 71 w 857"/>
                <a:gd name="T113" fmla="*/ 708 h 1202"/>
                <a:gd name="T114" fmla="*/ 80 w 857"/>
                <a:gd name="T115" fmla="*/ 720 h 1202"/>
                <a:gd name="T116" fmla="*/ 71 w 857"/>
                <a:gd name="T117" fmla="*/ 720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7" h="1202">
                  <a:moveTo>
                    <a:pt x="87" y="378"/>
                  </a:moveTo>
                  <a:lnTo>
                    <a:pt x="92" y="361"/>
                  </a:lnTo>
                  <a:lnTo>
                    <a:pt x="92" y="354"/>
                  </a:lnTo>
                  <a:lnTo>
                    <a:pt x="92" y="337"/>
                  </a:lnTo>
                  <a:lnTo>
                    <a:pt x="108" y="354"/>
                  </a:lnTo>
                  <a:lnTo>
                    <a:pt x="125" y="345"/>
                  </a:lnTo>
                  <a:lnTo>
                    <a:pt x="125" y="337"/>
                  </a:lnTo>
                  <a:lnTo>
                    <a:pt x="134" y="321"/>
                  </a:lnTo>
                  <a:lnTo>
                    <a:pt x="134" y="316"/>
                  </a:lnTo>
                  <a:lnTo>
                    <a:pt x="118" y="283"/>
                  </a:lnTo>
                  <a:lnTo>
                    <a:pt x="125" y="278"/>
                  </a:lnTo>
                  <a:lnTo>
                    <a:pt x="146" y="304"/>
                  </a:lnTo>
                  <a:lnTo>
                    <a:pt x="156" y="316"/>
                  </a:lnTo>
                  <a:lnTo>
                    <a:pt x="156" y="321"/>
                  </a:lnTo>
                  <a:lnTo>
                    <a:pt x="163" y="333"/>
                  </a:lnTo>
                  <a:lnTo>
                    <a:pt x="163" y="288"/>
                  </a:lnTo>
                  <a:lnTo>
                    <a:pt x="156" y="283"/>
                  </a:lnTo>
                  <a:lnTo>
                    <a:pt x="193" y="250"/>
                  </a:lnTo>
                  <a:lnTo>
                    <a:pt x="210" y="229"/>
                  </a:lnTo>
                  <a:lnTo>
                    <a:pt x="243" y="212"/>
                  </a:lnTo>
                  <a:lnTo>
                    <a:pt x="248" y="205"/>
                  </a:lnTo>
                  <a:lnTo>
                    <a:pt x="243" y="193"/>
                  </a:lnTo>
                  <a:lnTo>
                    <a:pt x="252" y="134"/>
                  </a:lnTo>
                  <a:lnTo>
                    <a:pt x="269" y="122"/>
                  </a:lnTo>
                  <a:lnTo>
                    <a:pt x="269" y="118"/>
                  </a:lnTo>
                  <a:lnTo>
                    <a:pt x="286" y="111"/>
                  </a:lnTo>
                  <a:lnTo>
                    <a:pt x="297" y="94"/>
                  </a:lnTo>
                  <a:lnTo>
                    <a:pt x="323" y="101"/>
                  </a:lnTo>
                  <a:lnTo>
                    <a:pt x="340" y="101"/>
                  </a:lnTo>
                  <a:lnTo>
                    <a:pt x="319" y="111"/>
                  </a:lnTo>
                  <a:lnTo>
                    <a:pt x="319" y="118"/>
                  </a:lnTo>
                  <a:lnTo>
                    <a:pt x="335" y="122"/>
                  </a:lnTo>
                  <a:lnTo>
                    <a:pt x="352" y="78"/>
                  </a:lnTo>
                  <a:lnTo>
                    <a:pt x="411" y="85"/>
                  </a:lnTo>
                  <a:lnTo>
                    <a:pt x="449" y="56"/>
                  </a:lnTo>
                  <a:lnTo>
                    <a:pt x="479" y="40"/>
                  </a:lnTo>
                  <a:lnTo>
                    <a:pt x="486" y="23"/>
                  </a:lnTo>
                  <a:lnTo>
                    <a:pt x="486" y="11"/>
                  </a:lnTo>
                  <a:lnTo>
                    <a:pt x="503" y="11"/>
                  </a:lnTo>
                  <a:lnTo>
                    <a:pt x="496" y="11"/>
                  </a:lnTo>
                  <a:lnTo>
                    <a:pt x="503" y="23"/>
                  </a:lnTo>
                  <a:lnTo>
                    <a:pt x="524" y="0"/>
                  </a:lnTo>
                  <a:lnTo>
                    <a:pt x="517" y="0"/>
                  </a:lnTo>
                  <a:lnTo>
                    <a:pt x="517" y="0"/>
                  </a:lnTo>
                  <a:lnTo>
                    <a:pt x="555" y="7"/>
                  </a:lnTo>
                  <a:lnTo>
                    <a:pt x="555" y="28"/>
                  </a:lnTo>
                  <a:lnTo>
                    <a:pt x="550" y="40"/>
                  </a:lnTo>
                  <a:lnTo>
                    <a:pt x="503" y="56"/>
                  </a:lnTo>
                  <a:lnTo>
                    <a:pt x="486" y="85"/>
                  </a:lnTo>
                  <a:lnTo>
                    <a:pt x="465" y="94"/>
                  </a:lnTo>
                  <a:lnTo>
                    <a:pt x="432" y="139"/>
                  </a:lnTo>
                  <a:lnTo>
                    <a:pt x="427" y="193"/>
                  </a:lnTo>
                  <a:lnTo>
                    <a:pt x="404" y="234"/>
                  </a:lnTo>
                  <a:lnTo>
                    <a:pt x="427" y="229"/>
                  </a:lnTo>
                  <a:lnTo>
                    <a:pt x="432" y="234"/>
                  </a:lnTo>
                  <a:lnTo>
                    <a:pt x="441" y="245"/>
                  </a:lnTo>
                  <a:lnTo>
                    <a:pt x="449" y="278"/>
                  </a:lnTo>
                  <a:lnTo>
                    <a:pt x="470" y="288"/>
                  </a:lnTo>
                  <a:lnTo>
                    <a:pt x="470" y="316"/>
                  </a:lnTo>
                  <a:lnTo>
                    <a:pt x="465" y="321"/>
                  </a:lnTo>
                  <a:lnTo>
                    <a:pt x="465" y="354"/>
                  </a:lnTo>
                  <a:lnTo>
                    <a:pt x="486" y="373"/>
                  </a:lnTo>
                  <a:lnTo>
                    <a:pt x="496" y="394"/>
                  </a:lnTo>
                  <a:lnTo>
                    <a:pt x="524" y="389"/>
                  </a:lnTo>
                  <a:lnTo>
                    <a:pt x="555" y="394"/>
                  </a:lnTo>
                  <a:lnTo>
                    <a:pt x="588" y="389"/>
                  </a:lnTo>
                  <a:lnTo>
                    <a:pt x="621" y="394"/>
                  </a:lnTo>
                  <a:lnTo>
                    <a:pt x="630" y="394"/>
                  </a:lnTo>
                  <a:lnTo>
                    <a:pt x="680" y="456"/>
                  </a:lnTo>
                  <a:lnTo>
                    <a:pt x="685" y="456"/>
                  </a:lnTo>
                  <a:lnTo>
                    <a:pt x="697" y="456"/>
                  </a:lnTo>
                  <a:lnTo>
                    <a:pt x="701" y="448"/>
                  </a:lnTo>
                  <a:lnTo>
                    <a:pt x="734" y="456"/>
                  </a:lnTo>
                  <a:lnTo>
                    <a:pt x="782" y="448"/>
                  </a:lnTo>
                  <a:lnTo>
                    <a:pt x="789" y="444"/>
                  </a:lnTo>
                  <a:lnTo>
                    <a:pt x="819" y="448"/>
                  </a:lnTo>
                  <a:lnTo>
                    <a:pt x="819" y="465"/>
                  </a:lnTo>
                  <a:lnTo>
                    <a:pt x="805" y="482"/>
                  </a:lnTo>
                  <a:lnTo>
                    <a:pt x="805" y="498"/>
                  </a:lnTo>
                  <a:lnTo>
                    <a:pt x="789" y="510"/>
                  </a:lnTo>
                  <a:lnTo>
                    <a:pt x="789" y="567"/>
                  </a:lnTo>
                  <a:lnTo>
                    <a:pt x="805" y="621"/>
                  </a:lnTo>
                  <a:lnTo>
                    <a:pt x="810" y="633"/>
                  </a:lnTo>
                  <a:lnTo>
                    <a:pt x="827" y="654"/>
                  </a:lnTo>
                  <a:lnTo>
                    <a:pt x="789" y="692"/>
                  </a:lnTo>
                  <a:lnTo>
                    <a:pt x="805" y="692"/>
                  </a:lnTo>
                  <a:lnTo>
                    <a:pt x="836" y="727"/>
                  </a:lnTo>
                  <a:lnTo>
                    <a:pt x="836" y="732"/>
                  </a:lnTo>
                  <a:lnTo>
                    <a:pt x="857" y="815"/>
                  </a:lnTo>
                  <a:lnTo>
                    <a:pt x="843" y="815"/>
                  </a:lnTo>
                  <a:lnTo>
                    <a:pt x="843" y="782"/>
                  </a:lnTo>
                  <a:lnTo>
                    <a:pt x="827" y="744"/>
                  </a:lnTo>
                  <a:lnTo>
                    <a:pt x="819" y="744"/>
                  </a:lnTo>
                  <a:lnTo>
                    <a:pt x="789" y="777"/>
                  </a:lnTo>
                  <a:lnTo>
                    <a:pt x="767" y="760"/>
                  </a:lnTo>
                  <a:lnTo>
                    <a:pt x="756" y="765"/>
                  </a:lnTo>
                  <a:lnTo>
                    <a:pt x="767" y="777"/>
                  </a:lnTo>
                  <a:lnTo>
                    <a:pt x="675" y="765"/>
                  </a:lnTo>
                  <a:lnTo>
                    <a:pt x="647" y="777"/>
                  </a:lnTo>
                  <a:lnTo>
                    <a:pt x="647" y="819"/>
                  </a:lnTo>
                  <a:lnTo>
                    <a:pt x="685" y="819"/>
                  </a:lnTo>
                  <a:lnTo>
                    <a:pt x="697" y="836"/>
                  </a:lnTo>
                  <a:lnTo>
                    <a:pt x="701" y="852"/>
                  </a:lnTo>
                  <a:lnTo>
                    <a:pt x="685" y="852"/>
                  </a:lnTo>
                  <a:lnTo>
                    <a:pt x="680" y="848"/>
                  </a:lnTo>
                  <a:lnTo>
                    <a:pt x="630" y="852"/>
                  </a:lnTo>
                  <a:lnTo>
                    <a:pt x="630" y="909"/>
                  </a:lnTo>
                  <a:lnTo>
                    <a:pt x="664" y="930"/>
                  </a:lnTo>
                  <a:lnTo>
                    <a:pt x="664" y="947"/>
                  </a:lnTo>
                  <a:lnTo>
                    <a:pt x="680" y="970"/>
                  </a:lnTo>
                  <a:lnTo>
                    <a:pt x="680" y="996"/>
                  </a:lnTo>
                  <a:lnTo>
                    <a:pt x="642" y="1202"/>
                  </a:lnTo>
                  <a:lnTo>
                    <a:pt x="621" y="1169"/>
                  </a:lnTo>
                  <a:lnTo>
                    <a:pt x="604" y="1181"/>
                  </a:lnTo>
                  <a:lnTo>
                    <a:pt x="588" y="1169"/>
                  </a:lnTo>
                  <a:lnTo>
                    <a:pt x="630" y="1098"/>
                  </a:lnTo>
                  <a:lnTo>
                    <a:pt x="621" y="1074"/>
                  </a:lnTo>
                  <a:lnTo>
                    <a:pt x="593" y="1074"/>
                  </a:lnTo>
                  <a:lnTo>
                    <a:pt x="578" y="1058"/>
                  </a:lnTo>
                  <a:lnTo>
                    <a:pt x="541" y="1070"/>
                  </a:lnTo>
                  <a:lnTo>
                    <a:pt x="517" y="1058"/>
                  </a:lnTo>
                  <a:lnTo>
                    <a:pt x="517" y="1053"/>
                  </a:lnTo>
                  <a:lnTo>
                    <a:pt x="503" y="1070"/>
                  </a:lnTo>
                  <a:lnTo>
                    <a:pt x="479" y="1074"/>
                  </a:lnTo>
                  <a:lnTo>
                    <a:pt x="458" y="1070"/>
                  </a:lnTo>
                  <a:lnTo>
                    <a:pt x="432" y="1074"/>
                  </a:lnTo>
                  <a:lnTo>
                    <a:pt x="432" y="1070"/>
                  </a:lnTo>
                  <a:lnTo>
                    <a:pt x="415" y="1070"/>
                  </a:lnTo>
                  <a:lnTo>
                    <a:pt x="427" y="1053"/>
                  </a:lnTo>
                  <a:lnTo>
                    <a:pt x="415" y="1025"/>
                  </a:lnTo>
                  <a:lnTo>
                    <a:pt x="415" y="1025"/>
                  </a:lnTo>
                  <a:lnTo>
                    <a:pt x="411" y="1037"/>
                  </a:lnTo>
                  <a:lnTo>
                    <a:pt x="394" y="1020"/>
                  </a:lnTo>
                  <a:lnTo>
                    <a:pt x="394" y="1013"/>
                  </a:lnTo>
                  <a:lnTo>
                    <a:pt x="389" y="996"/>
                  </a:lnTo>
                  <a:lnTo>
                    <a:pt x="340" y="970"/>
                  </a:lnTo>
                  <a:lnTo>
                    <a:pt x="335" y="942"/>
                  </a:lnTo>
                  <a:lnTo>
                    <a:pt x="307" y="926"/>
                  </a:lnTo>
                  <a:lnTo>
                    <a:pt x="302" y="909"/>
                  </a:lnTo>
                  <a:lnTo>
                    <a:pt x="297" y="914"/>
                  </a:lnTo>
                  <a:lnTo>
                    <a:pt x="269" y="904"/>
                  </a:lnTo>
                  <a:lnTo>
                    <a:pt x="269" y="909"/>
                  </a:lnTo>
                  <a:lnTo>
                    <a:pt x="231" y="893"/>
                  </a:lnTo>
                  <a:lnTo>
                    <a:pt x="215" y="876"/>
                  </a:lnTo>
                  <a:lnTo>
                    <a:pt x="201" y="869"/>
                  </a:lnTo>
                  <a:lnTo>
                    <a:pt x="189" y="869"/>
                  </a:lnTo>
                  <a:lnTo>
                    <a:pt x="189" y="876"/>
                  </a:lnTo>
                  <a:lnTo>
                    <a:pt x="177" y="888"/>
                  </a:lnTo>
                  <a:lnTo>
                    <a:pt x="125" y="869"/>
                  </a:lnTo>
                  <a:lnTo>
                    <a:pt x="118" y="852"/>
                  </a:lnTo>
                  <a:lnTo>
                    <a:pt x="101" y="848"/>
                  </a:lnTo>
                  <a:lnTo>
                    <a:pt x="101" y="836"/>
                  </a:lnTo>
                  <a:lnTo>
                    <a:pt x="87" y="836"/>
                  </a:lnTo>
                  <a:lnTo>
                    <a:pt x="71" y="831"/>
                  </a:lnTo>
                  <a:lnTo>
                    <a:pt x="26" y="798"/>
                  </a:lnTo>
                  <a:lnTo>
                    <a:pt x="16" y="786"/>
                  </a:lnTo>
                  <a:lnTo>
                    <a:pt x="0" y="782"/>
                  </a:lnTo>
                  <a:lnTo>
                    <a:pt x="16" y="765"/>
                  </a:lnTo>
                  <a:lnTo>
                    <a:pt x="38" y="777"/>
                  </a:lnTo>
                  <a:lnTo>
                    <a:pt x="38" y="760"/>
                  </a:lnTo>
                  <a:lnTo>
                    <a:pt x="33" y="744"/>
                  </a:lnTo>
                  <a:lnTo>
                    <a:pt x="38" y="727"/>
                  </a:lnTo>
                  <a:lnTo>
                    <a:pt x="49" y="720"/>
                  </a:lnTo>
                  <a:lnTo>
                    <a:pt x="54" y="720"/>
                  </a:lnTo>
                  <a:lnTo>
                    <a:pt x="64" y="720"/>
                  </a:lnTo>
                  <a:lnTo>
                    <a:pt x="80" y="720"/>
                  </a:lnTo>
                  <a:lnTo>
                    <a:pt x="80" y="704"/>
                  </a:lnTo>
                  <a:lnTo>
                    <a:pt x="87" y="708"/>
                  </a:lnTo>
                  <a:lnTo>
                    <a:pt x="92" y="708"/>
                  </a:lnTo>
                  <a:lnTo>
                    <a:pt x="92" y="704"/>
                  </a:lnTo>
                  <a:lnTo>
                    <a:pt x="118" y="666"/>
                  </a:lnTo>
                  <a:lnTo>
                    <a:pt x="118" y="654"/>
                  </a:lnTo>
                  <a:lnTo>
                    <a:pt x="139" y="633"/>
                  </a:lnTo>
                  <a:lnTo>
                    <a:pt x="146" y="616"/>
                  </a:lnTo>
                  <a:lnTo>
                    <a:pt x="134" y="621"/>
                  </a:lnTo>
                  <a:lnTo>
                    <a:pt x="125" y="616"/>
                  </a:lnTo>
                  <a:lnTo>
                    <a:pt x="134" y="609"/>
                  </a:lnTo>
                  <a:lnTo>
                    <a:pt x="134" y="600"/>
                  </a:lnTo>
                  <a:lnTo>
                    <a:pt x="125" y="616"/>
                  </a:lnTo>
                  <a:lnTo>
                    <a:pt x="118" y="609"/>
                  </a:lnTo>
                  <a:lnTo>
                    <a:pt x="118" y="600"/>
                  </a:lnTo>
                  <a:lnTo>
                    <a:pt x="134" y="593"/>
                  </a:lnTo>
                  <a:lnTo>
                    <a:pt x="118" y="583"/>
                  </a:lnTo>
                  <a:lnTo>
                    <a:pt x="125" y="567"/>
                  </a:lnTo>
                  <a:lnTo>
                    <a:pt x="125" y="522"/>
                  </a:lnTo>
                  <a:lnTo>
                    <a:pt x="118" y="505"/>
                  </a:lnTo>
                  <a:lnTo>
                    <a:pt x="108" y="498"/>
                  </a:lnTo>
                  <a:lnTo>
                    <a:pt x="134" y="482"/>
                  </a:lnTo>
                  <a:lnTo>
                    <a:pt x="118" y="448"/>
                  </a:lnTo>
                  <a:lnTo>
                    <a:pt x="118" y="444"/>
                  </a:lnTo>
                  <a:lnTo>
                    <a:pt x="118" y="448"/>
                  </a:lnTo>
                  <a:lnTo>
                    <a:pt x="125" y="427"/>
                  </a:lnTo>
                  <a:lnTo>
                    <a:pt x="87" y="378"/>
                  </a:lnTo>
                  <a:lnTo>
                    <a:pt x="87" y="378"/>
                  </a:lnTo>
                  <a:lnTo>
                    <a:pt x="87" y="378"/>
                  </a:lnTo>
                  <a:close/>
                  <a:moveTo>
                    <a:pt x="118" y="583"/>
                  </a:moveTo>
                  <a:lnTo>
                    <a:pt x="125" y="593"/>
                  </a:lnTo>
                  <a:lnTo>
                    <a:pt x="108" y="593"/>
                  </a:lnTo>
                  <a:lnTo>
                    <a:pt x="118" y="583"/>
                  </a:lnTo>
                  <a:lnTo>
                    <a:pt x="118" y="583"/>
                  </a:lnTo>
                  <a:lnTo>
                    <a:pt x="118" y="583"/>
                  </a:lnTo>
                  <a:close/>
                  <a:moveTo>
                    <a:pt x="108" y="600"/>
                  </a:moveTo>
                  <a:lnTo>
                    <a:pt x="118" y="600"/>
                  </a:lnTo>
                  <a:lnTo>
                    <a:pt x="118" y="609"/>
                  </a:lnTo>
                  <a:lnTo>
                    <a:pt x="108" y="600"/>
                  </a:lnTo>
                  <a:lnTo>
                    <a:pt x="108" y="600"/>
                  </a:lnTo>
                  <a:lnTo>
                    <a:pt x="108" y="600"/>
                  </a:lnTo>
                  <a:close/>
                  <a:moveTo>
                    <a:pt x="118" y="666"/>
                  </a:moveTo>
                  <a:lnTo>
                    <a:pt x="108" y="666"/>
                  </a:lnTo>
                  <a:lnTo>
                    <a:pt x="118" y="666"/>
                  </a:lnTo>
                  <a:lnTo>
                    <a:pt x="118" y="666"/>
                  </a:lnTo>
                  <a:lnTo>
                    <a:pt x="118" y="666"/>
                  </a:lnTo>
                  <a:lnTo>
                    <a:pt x="118" y="666"/>
                  </a:lnTo>
                  <a:close/>
                  <a:moveTo>
                    <a:pt x="108" y="671"/>
                  </a:moveTo>
                  <a:lnTo>
                    <a:pt x="108" y="666"/>
                  </a:lnTo>
                  <a:lnTo>
                    <a:pt x="108" y="675"/>
                  </a:lnTo>
                  <a:lnTo>
                    <a:pt x="101" y="675"/>
                  </a:lnTo>
                  <a:lnTo>
                    <a:pt x="108" y="671"/>
                  </a:lnTo>
                  <a:lnTo>
                    <a:pt x="108" y="671"/>
                  </a:lnTo>
                  <a:lnTo>
                    <a:pt x="108" y="671"/>
                  </a:lnTo>
                  <a:close/>
                  <a:moveTo>
                    <a:pt x="87" y="708"/>
                  </a:moveTo>
                  <a:lnTo>
                    <a:pt x="87" y="704"/>
                  </a:lnTo>
                  <a:lnTo>
                    <a:pt x="92" y="708"/>
                  </a:lnTo>
                  <a:lnTo>
                    <a:pt x="87" y="708"/>
                  </a:lnTo>
                  <a:lnTo>
                    <a:pt x="87" y="708"/>
                  </a:lnTo>
                  <a:lnTo>
                    <a:pt x="87" y="708"/>
                  </a:lnTo>
                  <a:close/>
                  <a:moveTo>
                    <a:pt x="80" y="720"/>
                  </a:moveTo>
                  <a:lnTo>
                    <a:pt x="71" y="708"/>
                  </a:lnTo>
                  <a:lnTo>
                    <a:pt x="80" y="704"/>
                  </a:lnTo>
                  <a:lnTo>
                    <a:pt x="80" y="720"/>
                  </a:lnTo>
                  <a:lnTo>
                    <a:pt x="80" y="720"/>
                  </a:lnTo>
                  <a:lnTo>
                    <a:pt x="80" y="720"/>
                  </a:lnTo>
                  <a:close/>
                  <a:moveTo>
                    <a:pt x="71" y="720"/>
                  </a:moveTo>
                  <a:lnTo>
                    <a:pt x="64" y="708"/>
                  </a:lnTo>
                  <a:lnTo>
                    <a:pt x="71" y="708"/>
                  </a:lnTo>
                  <a:lnTo>
                    <a:pt x="71" y="720"/>
                  </a:lnTo>
                  <a:lnTo>
                    <a:pt x="71" y="720"/>
                  </a:lnTo>
                  <a:lnTo>
                    <a:pt x="71" y="720"/>
                  </a:lnTo>
                  <a:close/>
                </a:path>
              </a:pathLst>
            </a:custGeom>
            <a:pattFill prst="lt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33" name="Freeform 420">
              <a:extLst>
                <a:ext uri="{FF2B5EF4-FFF2-40B4-BE49-F238E27FC236}">
                  <a16:creationId xmlns:a16="http://schemas.microsoft.com/office/drawing/2014/main" id="{9E285401-6B37-49DD-A70A-E90D71DB429A}"/>
                </a:ext>
              </a:extLst>
            </p:cNvPr>
            <p:cNvSpPr>
              <a:spLocks/>
            </p:cNvSpPr>
            <p:nvPr/>
          </p:nvSpPr>
          <p:spPr bwMode="gray">
            <a:xfrm>
              <a:off x="2793976" y="4199795"/>
              <a:ext cx="114812" cy="114825"/>
            </a:xfrm>
            <a:custGeom>
              <a:avLst/>
              <a:gdLst>
                <a:gd name="T0" fmla="*/ 232 w 232"/>
                <a:gd name="T1" fmla="*/ 121 h 232"/>
                <a:gd name="T2" fmla="*/ 232 w 232"/>
                <a:gd name="T3" fmla="*/ 128 h 232"/>
                <a:gd name="T4" fmla="*/ 215 w 232"/>
                <a:gd name="T5" fmla="*/ 121 h 232"/>
                <a:gd name="T6" fmla="*/ 206 w 232"/>
                <a:gd name="T7" fmla="*/ 128 h 232"/>
                <a:gd name="T8" fmla="*/ 206 w 232"/>
                <a:gd name="T9" fmla="*/ 161 h 232"/>
                <a:gd name="T10" fmla="*/ 222 w 232"/>
                <a:gd name="T11" fmla="*/ 166 h 232"/>
                <a:gd name="T12" fmla="*/ 206 w 232"/>
                <a:gd name="T13" fmla="*/ 182 h 232"/>
                <a:gd name="T14" fmla="*/ 215 w 232"/>
                <a:gd name="T15" fmla="*/ 199 h 232"/>
                <a:gd name="T16" fmla="*/ 201 w 232"/>
                <a:gd name="T17" fmla="*/ 215 h 232"/>
                <a:gd name="T18" fmla="*/ 206 w 232"/>
                <a:gd name="T19" fmla="*/ 215 h 232"/>
                <a:gd name="T20" fmla="*/ 206 w 232"/>
                <a:gd name="T21" fmla="*/ 232 h 232"/>
                <a:gd name="T22" fmla="*/ 206 w 232"/>
                <a:gd name="T23" fmla="*/ 220 h 232"/>
                <a:gd name="T24" fmla="*/ 189 w 232"/>
                <a:gd name="T25" fmla="*/ 203 h 232"/>
                <a:gd name="T26" fmla="*/ 201 w 232"/>
                <a:gd name="T27" fmla="*/ 203 h 232"/>
                <a:gd name="T28" fmla="*/ 189 w 232"/>
                <a:gd name="T29" fmla="*/ 194 h 232"/>
                <a:gd name="T30" fmla="*/ 180 w 232"/>
                <a:gd name="T31" fmla="*/ 182 h 232"/>
                <a:gd name="T32" fmla="*/ 168 w 232"/>
                <a:gd name="T33" fmla="*/ 182 h 232"/>
                <a:gd name="T34" fmla="*/ 185 w 232"/>
                <a:gd name="T35" fmla="*/ 199 h 232"/>
                <a:gd name="T36" fmla="*/ 185 w 232"/>
                <a:gd name="T37" fmla="*/ 203 h 232"/>
                <a:gd name="T38" fmla="*/ 151 w 232"/>
                <a:gd name="T39" fmla="*/ 194 h 232"/>
                <a:gd name="T40" fmla="*/ 163 w 232"/>
                <a:gd name="T41" fmla="*/ 177 h 232"/>
                <a:gd name="T42" fmla="*/ 163 w 232"/>
                <a:gd name="T43" fmla="*/ 161 h 232"/>
                <a:gd name="T44" fmla="*/ 114 w 232"/>
                <a:gd name="T45" fmla="*/ 128 h 232"/>
                <a:gd name="T46" fmla="*/ 92 w 232"/>
                <a:gd name="T47" fmla="*/ 121 h 232"/>
                <a:gd name="T48" fmla="*/ 81 w 232"/>
                <a:gd name="T49" fmla="*/ 95 h 232"/>
                <a:gd name="T50" fmla="*/ 43 w 232"/>
                <a:gd name="T51" fmla="*/ 83 h 232"/>
                <a:gd name="T52" fmla="*/ 43 w 232"/>
                <a:gd name="T53" fmla="*/ 88 h 232"/>
                <a:gd name="T54" fmla="*/ 71 w 232"/>
                <a:gd name="T55" fmla="*/ 104 h 232"/>
                <a:gd name="T56" fmla="*/ 55 w 232"/>
                <a:gd name="T57" fmla="*/ 121 h 232"/>
                <a:gd name="T58" fmla="*/ 38 w 232"/>
                <a:gd name="T59" fmla="*/ 104 h 232"/>
                <a:gd name="T60" fmla="*/ 17 w 232"/>
                <a:gd name="T61" fmla="*/ 95 h 232"/>
                <a:gd name="T62" fmla="*/ 0 w 232"/>
                <a:gd name="T63" fmla="*/ 66 h 232"/>
                <a:gd name="T64" fmla="*/ 22 w 232"/>
                <a:gd name="T65" fmla="*/ 50 h 232"/>
                <a:gd name="T66" fmla="*/ 17 w 232"/>
                <a:gd name="T67" fmla="*/ 33 h 232"/>
                <a:gd name="T68" fmla="*/ 0 w 232"/>
                <a:gd name="T69" fmla="*/ 29 h 232"/>
                <a:gd name="T70" fmla="*/ 17 w 232"/>
                <a:gd name="T71" fmla="*/ 29 h 232"/>
                <a:gd name="T72" fmla="*/ 17 w 232"/>
                <a:gd name="T73" fmla="*/ 17 h 232"/>
                <a:gd name="T74" fmla="*/ 22 w 232"/>
                <a:gd name="T75" fmla="*/ 0 h 232"/>
                <a:gd name="T76" fmla="*/ 71 w 232"/>
                <a:gd name="T77" fmla="*/ 29 h 232"/>
                <a:gd name="T78" fmla="*/ 81 w 232"/>
                <a:gd name="T79" fmla="*/ 17 h 232"/>
                <a:gd name="T80" fmla="*/ 135 w 232"/>
                <a:gd name="T81" fmla="*/ 38 h 232"/>
                <a:gd name="T82" fmla="*/ 151 w 232"/>
                <a:gd name="T83" fmla="*/ 33 h 232"/>
                <a:gd name="T84" fmla="*/ 163 w 232"/>
                <a:gd name="T85" fmla="*/ 29 h 232"/>
                <a:gd name="T86" fmla="*/ 180 w 232"/>
                <a:gd name="T87" fmla="*/ 71 h 232"/>
                <a:gd name="T88" fmla="*/ 222 w 232"/>
                <a:gd name="T89" fmla="*/ 121 h 232"/>
                <a:gd name="T90" fmla="*/ 232 w 232"/>
                <a:gd name="T91" fmla="*/ 121 h 232"/>
                <a:gd name="T92" fmla="*/ 232 w 232"/>
                <a:gd name="T93" fmla="*/ 121 h 232"/>
                <a:gd name="T94" fmla="*/ 232 w 232"/>
                <a:gd name="T95" fmla="*/ 12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2" h="232">
                  <a:moveTo>
                    <a:pt x="232" y="121"/>
                  </a:moveTo>
                  <a:lnTo>
                    <a:pt x="232" y="128"/>
                  </a:lnTo>
                  <a:lnTo>
                    <a:pt x="215" y="121"/>
                  </a:lnTo>
                  <a:lnTo>
                    <a:pt x="206" y="128"/>
                  </a:lnTo>
                  <a:lnTo>
                    <a:pt x="206" y="161"/>
                  </a:lnTo>
                  <a:lnTo>
                    <a:pt x="222" y="166"/>
                  </a:lnTo>
                  <a:lnTo>
                    <a:pt x="206" y="182"/>
                  </a:lnTo>
                  <a:lnTo>
                    <a:pt x="215" y="199"/>
                  </a:lnTo>
                  <a:lnTo>
                    <a:pt x="201" y="215"/>
                  </a:lnTo>
                  <a:lnTo>
                    <a:pt x="206" y="215"/>
                  </a:lnTo>
                  <a:lnTo>
                    <a:pt x="206" y="232"/>
                  </a:lnTo>
                  <a:lnTo>
                    <a:pt x="206" y="220"/>
                  </a:lnTo>
                  <a:lnTo>
                    <a:pt x="189" y="203"/>
                  </a:lnTo>
                  <a:lnTo>
                    <a:pt x="201" y="203"/>
                  </a:lnTo>
                  <a:lnTo>
                    <a:pt x="189" y="194"/>
                  </a:lnTo>
                  <a:lnTo>
                    <a:pt x="180" y="182"/>
                  </a:lnTo>
                  <a:lnTo>
                    <a:pt x="168" y="182"/>
                  </a:lnTo>
                  <a:lnTo>
                    <a:pt x="185" y="199"/>
                  </a:lnTo>
                  <a:lnTo>
                    <a:pt x="185" y="203"/>
                  </a:lnTo>
                  <a:lnTo>
                    <a:pt x="151" y="194"/>
                  </a:lnTo>
                  <a:lnTo>
                    <a:pt x="163" y="177"/>
                  </a:lnTo>
                  <a:lnTo>
                    <a:pt x="163" y="161"/>
                  </a:lnTo>
                  <a:lnTo>
                    <a:pt x="114" y="128"/>
                  </a:lnTo>
                  <a:lnTo>
                    <a:pt x="92" y="121"/>
                  </a:lnTo>
                  <a:lnTo>
                    <a:pt x="81" y="95"/>
                  </a:lnTo>
                  <a:lnTo>
                    <a:pt x="43" y="83"/>
                  </a:lnTo>
                  <a:lnTo>
                    <a:pt x="43" y="88"/>
                  </a:lnTo>
                  <a:lnTo>
                    <a:pt x="71" y="104"/>
                  </a:lnTo>
                  <a:lnTo>
                    <a:pt x="55" y="121"/>
                  </a:lnTo>
                  <a:lnTo>
                    <a:pt x="38" y="104"/>
                  </a:lnTo>
                  <a:lnTo>
                    <a:pt x="17" y="95"/>
                  </a:lnTo>
                  <a:lnTo>
                    <a:pt x="0" y="66"/>
                  </a:lnTo>
                  <a:lnTo>
                    <a:pt x="22" y="50"/>
                  </a:lnTo>
                  <a:lnTo>
                    <a:pt x="17" y="33"/>
                  </a:lnTo>
                  <a:lnTo>
                    <a:pt x="0" y="29"/>
                  </a:lnTo>
                  <a:lnTo>
                    <a:pt x="17" y="29"/>
                  </a:lnTo>
                  <a:lnTo>
                    <a:pt x="17" y="17"/>
                  </a:lnTo>
                  <a:lnTo>
                    <a:pt x="22" y="0"/>
                  </a:lnTo>
                  <a:lnTo>
                    <a:pt x="71" y="29"/>
                  </a:lnTo>
                  <a:lnTo>
                    <a:pt x="81" y="17"/>
                  </a:lnTo>
                  <a:lnTo>
                    <a:pt x="135" y="38"/>
                  </a:lnTo>
                  <a:lnTo>
                    <a:pt x="151" y="33"/>
                  </a:lnTo>
                  <a:lnTo>
                    <a:pt x="163" y="29"/>
                  </a:lnTo>
                  <a:lnTo>
                    <a:pt x="180" y="71"/>
                  </a:lnTo>
                  <a:lnTo>
                    <a:pt x="222" y="121"/>
                  </a:lnTo>
                  <a:lnTo>
                    <a:pt x="232" y="121"/>
                  </a:lnTo>
                  <a:lnTo>
                    <a:pt x="232" y="121"/>
                  </a:lnTo>
                  <a:lnTo>
                    <a:pt x="232" y="121"/>
                  </a:lnTo>
                  <a:close/>
                </a:path>
              </a:pathLst>
            </a:custGeom>
            <a:pattFill prst="lt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34" name="Freeform 421">
              <a:extLst>
                <a:ext uri="{FF2B5EF4-FFF2-40B4-BE49-F238E27FC236}">
                  <a16:creationId xmlns:a16="http://schemas.microsoft.com/office/drawing/2014/main" id="{19C4A704-8622-48BE-9242-FDEAC6C4E2A5}"/>
                </a:ext>
              </a:extLst>
            </p:cNvPr>
            <p:cNvSpPr>
              <a:spLocks/>
            </p:cNvSpPr>
            <p:nvPr/>
          </p:nvSpPr>
          <p:spPr bwMode="gray">
            <a:xfrm>
              <a:off x="6275435" y="4208209"/>
              <a:ext cx="453308" cy="312302"/>
            </a:xfrm>
            <a:custGeom>
              <a:avLst/>
              <a:gdLst>
                <a:gd name="T0" fmla="*/ 416 w 916"/>
                <a:gd name="T1" fmla="*/ 453 h 631"/>
                <a:gd name="T2" fmla="*/ 345 w 916"/>
                <a:gd name="T3" fmla="*/ 427 h 631"/>
                <a:gd name="T4" fmla="*/ 302 w 916"/>
                <a:gd name="T5" fmla="*/ 482 h 631"/>
                <a:gd name="T6" fmla="*/ 302 w 916"/>
                <a:gd name="T7" fmla="*/ 510 h 631"/>
                <a:gd name="T8" fmla="*/ 286 w 916"/>
                <a:gd name="T9" fmla="*/ 531 h 631"/>
                <a:gd name="T10" fmla="*/ 260 w 916"/>
                <a:gd name="T11" fmla="*/ 536 h 631"/>
                <a:gd name="T12" fmla="*/ 236 w 916"/>
                <a:gd name="T13" fmla="*/ 536 h 631"/>
                <a:gd name="T14" fmla="*/ 205 w 916"/>
                <a:gd name="T15" fmla="*/ 536 h 631"/>
                <a:gd name="T16" fmla="*/ 144 w 916"/>
                <a:gd name="T17" fmla="*/ 572 h 631"/>
                <a:gd name="T18" fmla="*/ 123 w 916"/>
                <a:gd name="T19" fmla="*/ 631 h 631"/>
                <a:gd name="T20" fmla="*/ 113 w 916"/>
                <a:gd name="T21" fmla="*/ 588 h 631"/>
                <a:gd name="T22" fmla="*/ 42 w 916"/>
                <a:gd name="T23" fmla="*/ 510 h 631"/>
                <a:gd name="T24" fmla="*/ 42 w 916"/>
                <a:gd name="T25" fmla="*/ 482 h 631"/>
                <a:gd name="T26" fmla="*/ 16 w 916"/>
                <a:gd name="T27" fmla="*/ 420 h 631"/>
                <a:gd name="T28" fmla="*/ 16 w 916"/>
                <a:gd name="T29" fmla="*/ 399 h 631"/>
                <a:gd name="T30" fmla="*/ 5 w 916"/>
                <a:gd name="T31" fmla="*/ 371 h 631"/>
                <a:gd name="T32" fmla="*/ 31 w 916"/>
                <a:gd name="T33" fmla="*/ 342 h 631"/>
                <a:gd name="T34" fmla="*/ 75 w 916"/>
                <a:gd name="T35" fmla="*/ 255 h 631"/>
                <a:gd name="T36" fmla="*/ 139 w 916"/>
                <a:gd name="T37" fmla="*/ 243 h 631"/>
                <a:gd name="T38" fmla="*/ 151 w 916"/>
                <a:gd name="T39" fmla="*/ 238 h 631"/>
                <a:gd name="T40" fmla="*/ 220 w 916"/>
                <a:gd name="T41" fmla="*/ 222 h 631"/>
                <a:gd name="T42" fmla="*/ 328 w 916"/>
                <a:gd name="T43" fmla="*/ 177 h 631"/>
                <a:gd name="T44" fmla="*/ 323 w 916"/>
                <a:gd name="T45" fmla="*/ 149 h 631"/>
                <a:gd name="T46" fmla="*/ 394 w 916"/>
                <a:gd name="T47" fmla="*/ 132 h 631"/>
                <a:gd name="T48" fmla="*/ 425 w 916"/>
                <a:gd name="T49" fmla="*/ 127 h 631"/>
                <a:gd name="T50" fmla="*/ 479 w 916"/>
                <a:gd name="T51" fmla="*/ 78 h 631"/>
                <a:gd name="T52" fmla="*/ 501 w 916"/>
                <a:gd name="T53" fmla="*/ 66 h 631"/>
                <a:gd name="T54" fmla="*/ 508 w 916"/>
                <a:gd name="T55" fmla="*/ 33 h 631"/>
                <a:gd name="T56" fmla="*/ 593 w 916"/>
                <a:gd name="T57" fmla="*/ 12 h 631"/>
                <a:gd name="T58" fmla="*/ 647 w 916"/>
                <a:gd name="T59" fmla="*/ 90 h 631"/>
                <a:gd name="T60" fmla="*/ 642 w 916"/>
                <a:gd name="T61" fmla="*/ 132 h 631"/>
                <a:gd name="T62" fmla="*/ 642 w 916"/>
                <a:gd name="T63" fmla="*/ 149 h 631"/>
                <a:gd name="T64" fmla="*/ 685 w 916"/>
                <a:gd name="T65" fmla="*/ 168 h 631"/>
                <a:gd name="T66" fmla="*/ 685 w 916"/>
                <a:gd name="T67" fmla="*/ 184 h 631"/>
                <a:gd name="T68" fmla="*/ 723 w 916"/>
                <a:gd name="T69" fmla="*/ 205 h 631"/>
                <a:gd name="T70" fmla="*/ 760 w 916"/>
                <a:gd name="T71" fmla="*/ 234 h 631"/>
                <a:gd name="T72" fmla="*/ 756 w 916"/>
                <a:gd name="T73" fmla="*/ 255 h 631"/>
                <a:gd name="T74" fmla="*/ 810 w 916"/>
                <a:gd name="T75" fmla="*/ 293 h 631"/>
                <a:gd name="T76" fmla="*/ 841 w 916"/>
                <a:gd name="T77" fmla="*/ 316 h 631"/>
                <a:gd name="T78" fmla="*/ 848 w 916"/>
                <a:gd name="T79" fmla="*/ 349 h 631"/>
                <a:gd name="T80" fmla="*/ 869 w 916"/>
                <a:gd name="T81" fmla="*/ 366 h 631"/>
                <a:gd name="T82" fmla="*/ 902 w 916"/>
                <a:gd name="T83" fmla="*/ 399 h 631"/>
                <a:gd name="T84" fmla="*/ 916 w 916"/>
                <a:gd name="T85" fmla="*/ 437 h 631"/>
                <a:gd name="T86" fmla="*/ 869 w 916"/>
                <a:gd name="T87" fmla="*/ 437 h 631"/>
                <a:gd name="T88" fmla="*/ 848 w 916"/>
                <a:gd name="T89" fmla="*/ 437 h 631"/>
                <a:gd name="T90" fmla="*/ 810 w 916"/>
                <a:gd name="T91" fmla="*/ 420 h 631"/>
                <a:gd name="T92" fmla="*/ 772 w 916"/>
                <a:gd name="T93" fmla="*/ 411 h 631"/>
                <a:gd name="T94" fmla="*/ 723 w 916"/>
                <a:gd name="T95" fmla="*/ 444 h 631"/>
                <a:gd name="T96" fmla="*/ 701 w 916"/>
                <a:gd name="T97" fmla="*/ 437 h 631"/>
                <a:gd name="T98" fmla="*/ 631 w 916"/>
                <a:gd name="T99" fmla="*/ 465 h 631"/>
                <a:gd name="T100" fmla="*/ 576 w 916"/>
                <a:gd name="T101" fmla="*/ 477 h 631"/>
                <a:gd name="T102" fmla="*/ 572 w 916"/>
                <a:gd name="T103" fmla="*/ 494 h 631"/>
                <a:gd name="T104" fmla="*/ 517 w 916"/>
                <a:gd name="T105" fmla="*/ 494 h 631"/>
                <a:gd name="T106" fmla="*/ 463 w 916"/>
                <a:gd name="T107" fmla="*/ 477 h 631"/>
                <a:gd name="T108" fmla="*/ 425 w 916"/>
                <a:gd name="T109" fmla="*/ 465 h 631"/>
                <a:gd name="T110" fmla="*/ 425 w 916"/>
                <a:gd name="T111" fmla="*/ 465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16" h="631">
                  <a:moveTo>
                    <a:pt x="425" y="465"/>
                  </a:moveTo>
                  <a:lnTo>
                    <a:pt x="416" y="453"/>
                  </a:lnTo>
                  <a:lnTo>
                    <a:pt x="378" y="427"/>
                  </a:lnTo>
                  <a:lnTo>
                    <a:pt x="345" y="427"/>
                  </a:lnTo>
                  <a:lnTo>
                    <a:pt x="323" y="444"/>
                  </a:lnTo>
                  <a:lnTo>
                    <a:pt x="302" y="482"/>
                  </a:lnTo>
                  <a:lnTo>
                    <a:pt x="290" y="482"/>
                  </a:lnTo>
                  <a:lnTo>
                    <a:pt x="302" y="510"/>
                  </a:lnTo>
                  <a:lnTo>
                    <a:pt x="290" y="548"/>
                  </a:lnTo>
                  <a:lnTo>
                    <a:pt x="286" y="531"/>
                  </a:lnTo>
                  <a:lnTo>
                    <a:pt x="260" y="548"/>
                  </a:lnTo>
                  <a:lnTo>
                    <a:pt x="260" y="536"/>
                  </a:lnTo>
                  <a:lnTo>
                    <a:pt x="236" y="536"/>
                  </a:lnTo>
                  <a:lnTo>
                    <a:pt x="236" y="536"/>
                  </a:lnTo>
                  <a:lnTo>
                    <a:pt x="215" y="531"/>
                  </a:lnTo>
                  <a:lnTo>
                    <a:pt x="205" y="536"/>
                  </a:lnTo>
                  <a:lnTo>
                    <a:pt x="151" y="536"/>
                  </a:lnTo>
                  <a:lnTo>
                    <a:pt x="144" y="572"/>
                  </a:lnTo>
                  <a:lnTo>
                    <a:pt x="144" y="593"/>
                  </a:lnTo>
                  <a:lnTo>
                    <a:pt x="123" y="631"/>
                  </a:lnTo>
                  <a:lnTo>
                    <a:pt x="113" y="621"/>
                  </a:lnTo>
                  <a:lnTo>
                    <a:pt x="113" y="588"/>
                  </a:lnTo>
                  <a:lnTo>
                    <a:pt x="59" y="531"/>
                  </a:lnTo>
                  <a:lnTo>
                    <a:pt x="42" y="510"/>
                  </a:lnTo>
                  <a:lnTo>
                    <a:pt x="54" y="510"/>
                  </a:lnTo>
                  <a:lnTo>
                    <a:pt x="42" y="482"/>
                  </a:lnTo>
                  <a:lnTo>
                    <a:pt x="21" y="465"/>
                  </a:lnTo>
                  <a:lnTo>
                    <a:pt x="16" y="420"/>
                  </a:lnTo>
                  <a:lnTo>
                    <a:pt x="5" y="411"/>
                  </a:lnTo>
                  <a:lnTo>
                    <a:pt x="16" y="399"/>
                  </a:lnTo>
                  <a:lnTo>
                    <a:pt x="16" y="371"/>
                  </a:lnTo>
                  <a:lnTo>
                    <a:pt x="5" y="371"/>
                  </a:lnTo>
                  <a:lnTo>
                    <a:pt x="0" y="366"/>
                  </a:lnTo>
                  <a:lnTo>
                    <a:pt x="31" y="342"/>
                  </a:lnTo>
                  <a:lnTo>
                    <a:pt x="54" y="276"/>
                  </a:lnTo>
                  <a:lnTo>
                    <a:pt x="75" y="255"/>
                  </a:lnTo>
                  <a:lnTo>
                    <a:pt x="106" y="255"/>
                  </a:lnTo>
                  <a:lnTo>
                    <a:pt x="139" y="243"/>
                  </a:lnTo>
                  <a:lnTo>
                    <a:pt x="151" y="234"/>
                  </a:lnTo>
                  <a:lnTo>
                    <a:pt x="151" y="238"/>
                  </a:lnTo>
                  <a:lnTo>
                    <a:pt x="168" y="255"/>
                  </a:lnTo>
                  <a:lnTo>
                    <a:pt x="220" y="222"/>
                  </a:lnTo>
                  <a:lnTo>
                    <a:pt x="290" y="217"/>
                  </a:lnTo>
                  <a:lnTo>
                    <a:pt x="328" y="177"/>
                  </a:lnTo>
                  <a:lnTo>
                    <a:pt x="312" y="160"/>
                  </a:lnTo>
                  <a:lnTo>
                    <a:pt x="323" y="149"/>
                  </a:lnTo>
                  <a:lnTo>
                    <a:pt x="383" y="144"/>
                  </a:lnTo>
                  <a:lnTo>
                    <a:pt x="394" y="132"/>
                  </a:lnTo>
                  <a:lnTo>
                    <a:pt x="416" y="144"/>
                  </a:lnTo>
                  <a:lnTo>
                    <a:pt x="425" y="127"/>
                  </a:lnTo>
                  <a:lnTo>
                    <a:pt x="449" y="123"/>
                  </a:lnTo>
                  <a:lnTo>
                    <a:pt x="479" y="78"/>
                  </a:lnTo>
                  <a:lnTo>
                    <a:pt x="486" y="78"/>
                  </a:lnTo>
                  <a:lnTo>
                    <a:pt x="501" y="66"/>
                  </a:lnTo>
                  <a:lnTo>
                    <a:pt x="508" y="57"/>
                  </a:lnTo>
                  <a:lnTo>
                    <a:pt x="508" y="33"/>
                  </a:lnTo>
                  <a:lnTo>
                    <a:pt x="562" y="0"/>
                  </a:lnTo>
                  <a:lnTo>
                    <a:pt x="593" y="12"/>
                  </a:lnTo>
                  <a:lnTo>
                    <a:pt x="626" y="40"/>
                  </a:lnTo>
                  <a:lnTo>
                    <a:pt x="647" y="90"/>
                  </a:lnTo>
                  <a:lnTo>
                    <a:pt x="647" y="127"/>
                  </a:lnTo>
                  <a:lnTo>
                    <a:pt x="642" y="132"/>
                  </a:lnTo>
                  <a:lnTo>
                    <a:pt x="631" y="144"/>
                  </a:lnTo>
                  <a:lnTo>
                    <a:pt x="642" y="149"/>
                  </a:lnTo>
                  <a:lnTo>
                    <a:pt x="642" y="168"/>
                  </a:lnTo>
                  <a:lnTo>
                    <a:pt x="685" y="168"/>
                  </a:lnTo>
                  <a:lnTo>
                    <a:pt x="697" y="177"/>
                  </a:lnTo>
                  <a:lnTo>
                    <a:pt x="685" y="184"/>
                  </a:lnTo>
                  <a:lnTo>
                    <a:pt x="685" y="201"/>
                  </a:lnTo>
                  <a:lnTo>
                    <a:pt x="723" y="205"/>
                  </a:lnTo>
                  <a:lnTo>
                    <a:pt x="751" y="234"/>
                  </a:lnTo>
                  <a:lnTo>
                    <a:pt x="760" y="234"/>
                  </a:lnTo>
                  <a:lnTo>
                    <a:pt x="760" y="243"/>
                  </a:lnTo>
                  <a:lnTo>
                    <a:pt x="756" y="255"/>
                  </a:lnTo>
                  <a:lnTo>
                    <a:pt x="756" y="255"/>
                  </a:lnTo>
                  <a:lnTo>
                    <a:pt x="810" y="293"/>
                  </a:lnTo>
                  <a:lnTo>
                    <a:pt x="815" y="300"/>
                  </a:lnTo>
                  <a:lnTo>
                    <a:pt x="841" y="316"/>
                  </a:lnTo>
                  <a:lnTo>
                    <a:pt x="831" y="333"/>
                  </a:lnTo>
                  <a:lnTo>
                    <a:pt x="848" y="349"/>
                  </a:lnTo>
                  <a:lnTo>
                    <a:pt x="841" y="354"/>
                  </a:lnTo>
                  <a:lnTo>
                    <a:pt x="869" y="366"/>
                  </a:lnTo>
                  <a:lnTo>
                    <a:pt x="895" y="383"/>
                  </a:lnTo>
                  <a:lnTo>
                    <a:pt x="902" y="399"/>
                  </a:lnTo>
                  <a:lnTo>
                    <a:pt x="902" y="411"/>
                  </a:lnTo>
                  <a:lnTo>
                    <a:pt x="916" y="437"/>
                  </a:lnTo>
                  <a:lnTo>
                    <a:pt x="886" y="420"/>
                  </a:lnTo>
                  <a:lnTo>
                    <a:pt x="869" y="437"/>
                  </a:lnTo>
                  <a:lnTo>
                    <a:pt x="864" y="427"/>
                  </a:lnTo>
                  <a:lnTo>
                    <a:pt x="848" y="437"/>
                  </a:lnTo>
                  <a:lnTo>
                    <a:pt x="827" y="420"/>
                  </a:lnTo>
                  <a:lnTo>
                    <a:pt x="810" y="420"/>
                  </a:lnTo>
                  <a:lnTo>
                    <a:pt x="777" y="411"/>
                  </a:lnTo>
                  <a:lnTo>
                    <a:pt x="772" y="411"/>
                  </a:lnTo>
                  <a:lnTo>
                    <a:pt x="760" y="437"/>
                  </a:lnTo>
                  <a:lnTo>
                    <a:pt x="723" y="444"/>
                  </a:lnTo>
                  <a:lnTo>
                    <a:pt x="701" y="427"/>
                  </a:lnTo>
                  <a:lnTo>
                    <a:pt x="701" y="437"/>
                  </a:lnTo>
                  <a:lnTo>
                    <a:pt x="642" y="460"/>
                  </a:lnTo>
                  <a:lnTo>
                    <a:pt x="631" y="465"/>
                  </a:lnTo>
                  <a:lnTo>
                    <a:pt x="593" y="453"/>
                  </a:lnTo>
                  <a:lnTo>
                    <a:pt x="576" y="477"/>
                  </a:lnTo>
                  <a:lnTo>
                    <a:pt x="572" y="477"/>
                  </a:lnTo>
                  <a:lnTo>
                    <a:pt x="572" y="494"/>
                  </a:lnTo>
                  <a:lnTo>
                    <a:pt x="555" y="498"/>
                  </a:lnTo>
                  <a:lnTo>
                    <a:pt x="517" y="494"/>
                  </a:lnTo>
                  <a:lnTo>
                    <a:pt x="479" y="494"/>
                  </a:lnTo>
                  <a:lnTo>
                    <a:pt x="463" y="477"/>
                  </a:lnTo>
                  <a:lnTo>
                    <a:pt x="432" y="482"/>
                  </a:lnTo>
                  <a:lnTo>
                    <a:pt x="425" y="465"/>
                  </a:lnTo>
                  <a:lnTo>
                    <a:pt x="425" y="465"/>
                  </a:lnTo>
                  <a:lnTo>
                    <a:pt x="425" y="465"/>
                  </a:lnTo>
                  <a:close/>
                </a:path>
              </a:pathLst>
            </a:custGeom>
            <a:pattFill prst="wd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35" name="Freeform 422">
              <a:extLst>
                <a:ext uri="{FF2B5EF4-FFF2-40B4-BE49-F238E27FC236}">
                  <a16:creationId xmlns:a16="http://schemas.microsoft.com/office/drawing/2014/main" id="{03757E75-5E82-41A7-95E3-BA2A1BEDB97B}"/>
                </a:ext>
              </a:extLst>
            </p:cNvPr>
            <p:cNvSpPr>
              <a:spLocks noEditPoints="1"/>
            </p:cNvSpPr>
            <p:nvPr/>
          </p:nvSpPr>
          <p:spPr bwMode="gray">
            <a:xfrm>
              <a:off x="2828122" y="3760296"/>
              <a:ext cx="374127" cy="127693"/>
            </a:xfrm>
            <a:custGeom>
              <a:avLst/>
              <a:gdLst>
                <a:gd name="T0" fmla="*/ 685 w 756"/>
                <a:gd name="T1" fmla="*/ 241 h 258"/>
                <a:gd name="T2" fmla="*/ 605 w 756"/>
                <a:gd name="T3" fmla="*/ 241 h 258"/>
                <a:gd name="T4" fmla="*/ 545 w 756"/>
                <a:gd name="T5" fmla="*/ 217 h 258"/>
                <a:gd name="T6" fmla="*/ 475 w 756"/>
                <a:gd name="T7" fmla="*/ 196 h 258"/>
                <a:gd name="T8" fmla="*/ 432 w 756"/>
                <a:gd name="T9" fmla="*/ 123 h 258"/>
                <a:gd name="T10" fmla="*/ 314 w 756"/>
                <a:gd name="T11" fmla="*/ 95 h 258"/>
                <a:gd name="T12" fmla="*/ 281 w 756"/>
                <a:gd name="T13" fmla="*/ 90 h 258"/>
                <a:gd name="T14" fmla="*/ 243 w 756"/>
                <a:gd name="T15" fmla="*/ 83 h 258"/>
                <a:gd name="T16" fmla="*/ 227 w 756"/>
                <a:gd name="T17" fmla="*/ 57 h 258"/>
                <a:gd name="T18" fmla="*/ 151 w 756"/>
                <a:gd name="T19" fmla="*/ 40 h 258"/>
                <a:gd name="T20" fmla="*/ 59 w 756"/>
                <a:gd name="T21" fmla="*/ 95 h 258"/>
                <a:gd name="T22" fmla="*/ 28 w 756"/>
                <a:gd name="T23" fmla="*/ 95 h 258"/>
                <a:gd name="T24" fmla="*/ 28 w 756"/>
                <a:gd name="T25" fmla="*/ 90 h 258"/>
                <a:gd name="T26" fmla="*/ 54 w 756"/>
                <a:gd name="T27" fmla="*/ 50 h 258"/>
                <a:gd name="T28" fmla="*/ 189 w 756"/>
                <a:gd name="T29" fmla="*/ 0 h 258"/>
                <a:gd name="T30" fmla="*/ 260 w 756"/>
                <a:gd name="T31" fmla="*/ 0 h 258"/>
                <a:gd name="T32" fmla="*/ 297 w 756"/>
                <a:gd name="T33" fmla="*/ 12 h 258"/>
                <a:gd name="T34" fmla="*/ 368 w 756"/>
                <a:gd name="T35" fmla="*/ 33 h 258"/>
                <a:gd name="T36" fmla="*/ 444 w 756"/>
                <a:gd name="T37" fmla="*/ 66 h 258"/>
                <a:gd name="T38" fmla="*/ 524 w 756"/>
                <a:gd name="T39" fmla="*/ 111 h 258"/>
                <a:gd name="T40" fmla="*/ 508 w 756"/>
                <a:gd name="T41" fmla="*/ 106 h 258"/>
                <a:gd name="T42" fmla="*/ 545 w 756"/>
                <a:gd name="T43" fmla="*/ 123 h 258"/>
                <a:gd name="T44" fmla="*/ 545 w 756"/>
                <a:gd name="T45" fmla="*/ 123 h 258"/>
                <a:gd name="T46" fmla="*/ 567 w 756"/>
                <a:gd name="T47" fmla="*/ 140 h 258"/>
                <a:gd name="T48" fmla="*/ 595 w 756"/>
                <a:gd name="T49" fmla="*/ 151 h 258"/>
                <a:gd name="T50" fmla="*/ 621 w 756"/>
                <a:gd name="T51" fmla="*/ 163 h 258"/>
                <a:gd name="T52" fmla="*/ 647 w 756"/>
                <a:gd name="T53" fmla="*/ 180 h 258"/>
                <a:gd name="T54" fmla="*/ 701 w 756"/>
                <a:gd name="T55" fmla="*/ 196 h 258"/>
                <a:gd name="T56" fmla="*/ 744 w 756"/>
                <a:gd name="T57" fmla="*/ 241 h 258"/>
                <a:gd name="T58" fmla="*/ 685 w 756"/>
                <a:gd name="T59" fmla="*/ 253 h 258"/>
                <a:gd name="T60" fmla="*/ 437 w 756"/>
                <a:gd name="T61" fmla="*/ 50 h 258"/>
                <a:gd name="T62" fmla="*/ 453 w 756"/>
                <a:gd name="T63" fmla="*/ 57 h 258"/>
                <a:gd name="T64" fmla="*/ 486 w 756"/>
                <a:gd name="T65" fmla="*/ 73 h 258"/>
                <a:gd name="T66" fmla="*/ 486 w 756"/>
                <a:gd name="T67" fmla="*/ 73 h 258"/>
                <a:gd name="T68" fmla="*/ 491 w 756"/>
                <a:gd name="T69" fmla="*/ 83 h 258"/>
                <a:gd name="T70" fmla="*/ 491 w 756"/>
                <a:gd name="T71" fmla="*/ 73 h 258"/>
                <a:gd name="T72" fmla="*/ 491 w 756"/>
                <a:gd name="T73" fmla="*/ 83 h 258"/>
                <a:gd name="T74" fmla="*/ 508 w 756"/>
                <a:gd name="T75" fmla="*/ 90 h 258"/>
                <a:gd name="T76" fmla="*/ 508 w 756"/>
                <a:gd name="T77" fmla="*/ 95 h 258"/>
                <a:gd name="T78" fmla="*/ 120 w 756"/>
                <a:gd name="T79" fmla="*/ 123 h 258"/>
                <a:gd name="T80" fmla="*/ 130 w 756"/>
                <a:gd name="T81" fmla="*/ 106 h 258"/>
                <a:gd name="T82" fmla="*/ 168 w 756"/>
                <a:gd name="T83" fmla="*/ 123 h 258"/>
                <a:gd name="T84" fmla="*/ 134 w 756"/>
                <a:gd name="T85" fmla="*/ 14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56" h="258">
                  <a:moveTo>
                    <a:pt x="685" y="253"/>
                  </a:moveTo>
                  <a:lnTo>
                    <a:pt x="685" y="253"/>
                  </a:lnTo>
                  <a:lnTo>
                    <a:pt x="685" y="241"/>
                  </a:lnTo>
                  <a:lnTo>
                    <a:pt x="685" y="253"/>
                  </a:lnTo>
                  <a:lnTo>
                    <a:pt x="675" y="253"/>
                  </a:lnTo>
                  <a:lnTo>
                    <a:pt x="605" y="241"/>
                  </a:lnTo>
                  <a:lnTo>
                    <a:pt x="496" y="258"/>
                  </a:lnTo>
                  <a:lnTo>
                    <a:pt x="512" y="241"/>
                  </a:lnTo>
                  <a:lnTo>
                    <a:pt x="545" y="217"/>
                  </a:lnTo>
                  <a:lnTo>
                    <a:pt x="545" y="208"/>
                  </a:lnTo>
                  <a:lnTo>
                    <a:pt x="541" y="196"/>
                  </a:lnTo>
                  <a:lnTo>
                    <a:pt x="475" y="196"/>
                  </a:lnTo>
                  <a:lnTo>
                    <a:pt x="444" y="168"/>
                  </a:lnTo>
                  <a:lnTo>
                    <a:pt x="437" y="128"/>
                  </a:lnTo>
                  <a:lnTo>
                    <a:pt x="432" y="123"/>
                  </a:lnTo>
                  <a:lnTo>
                    <a:pt x="399" y="128"/>
                  </a:lnTo>
                  <a:lnTo>
                    <a:pt x="345" y="111"/>
                  </a:lnTo>
                  <a:lnTo>
                    <a:pt x="314" y="95"/>
                  </a:lnTo>
                  <a:lnTo>
                    <a:pt x="307" y="83"/>
                  </a:lnTo>
                  <a:lnTo>
                    <a:pt x="297" y="90"/>
                  </a:lnTo>
                  <a:lnTo>
                    <a:pt x="281" y="90"/>
                  </a:lnTo>
                  <a:lnTo>
                    <a:pt x="260" y="83"/>
                  </a:lnTo>
                  <a:lnTo>
                    <a:pt x="243" y="90"/>
                  </a:lnTo>
                  <a:lnTo>
                    <a:pt x="243" y="83"/>
                  </a:lnTo>
                  <a:lnTo>
                    <a:pt x="217" y="83"/>
                  </a:lnTo>
                  <a:lnTo>
                    <a:pt x="189" y="66"/>
                  </a:lnTo>
                  <a:lnTo>
                    <a:pt x="227" y="57"/>
                  </a:lnTo>
                  <a:lnTo>
                    <a:pt x="227" y="50"/>
                  </a:lnTo>
                  <a:lnTo>
                    <a:pt x="217" y="40"/>
                  </a:lnTo>
                  <a:lnTo>
                    <a:pt x="151" y="40"/>
                  </a:lnTo>
                  <a:lnTo>
                    <a:pt x="108" y="73"/>
                  </a:lnTo>
                  <a:lnTo>
                    <a:pt x="66" y="83"/>
                  </a:lnTo>
                  <a:lnTo>
                    <a:pt x="59" y="95"/>
                  </a:lnTo>
                  <a:lnTo>
                    <a:pt x="45" y="95"/>
                  </a:lnTo>
                  <a:lnTo>
                    <a:pt x="28" y="111"/>
                  </a:lnTo>
                  <a:lnTo>
                    <a:pt x="28" y="95"/>
                  </a:lnTo>
                  <a:lnTo>
                    <a:pt x="7" y="106"/>
                  </a:lnTo>
                  <a:lnTo>
                    <a:pt x="0" y="106"/>
                  </a:lnTo>
                  <a:lnTo>
                    <a:pt x="28" y="90"/>
                  </a:lnTo>
                  <a:lnTo>
                    <a:pt x="38" y="90"/>
                  </a:lnTo>
                  <a:lnTo>
                    <a:pt x="28" y="73"/>
                  </a:lnTo>
                  <a:lnTo>
                    <a:pt x="54" y="50"/>
                  </a:lnTo>
                  <a:lnTo>
                    <a:pt x="113" y="17"/>
                  </a:lnTo>
                  <a:lnTo>
                    <a:pt x="134" y="17"/>
                  </a:lnTo>
                  <a:lnTo>
                    <a:pt x="189" y="0"/>
                  </a:lnTo>
                  <a:lnTo>
                    <a:pt x="227" y="0"/>
                  </a:lnTo>
                  <a:lnTo>
                    <a:pt x="238" y="12"/>
                  </a:lnTo>
                  <a:lnTo>
                    <a:pt x="260" y="0"/>
                  </a:lnTo>
                  <a:lnTo>
                    <a:pt x="255" y="12"/>
                  </a:lnTo>
                  <a:lnTo>
                    <a:pt x="260" y="17"/>
                  </a:lnTo>
                  <a:lnTo>
                    <a:pt x="297" y="12"/>
                  </a:lnTo>
                  <a:lnTo>
                    <a:pt x="323" y="21"/>
                  </a:lnTo>
                  <a:lnTo>
                    <a:pt x="335" y="17"/>
                  </a:lnTo>
                  <a:lnTo>
                    <a:pt x="368" y="33"/>
                  </a:lnTo>
                  <a:lnTo>
                    <a:pt x="390" y="66"/>
                  </a:lnTo>
                  <a:lnTo>
                    <a:pt x="420" y="66"/>
                  </a:lnTo>
                  <a:lnTo>
                    <a:pt x="444" y="66"/>
                  </a:lnTo>
                  <a:lnTo>
                    <a:pt x="475" y="90"/>
                  </a:lnTo>
                  <a:lnTo>
                    <a:pt x="496" y="106"/>
                  </a:lnTo>
                  <a:lnTo>
                    <a:pt x="524" y="111"/>
                  </a:lnTo>
                  <a:lnTo>
                    <a:pt x="524" y="123"/>
                  </a:lnTo>
                  <a:lnTo>
                    <a:pt x="529" y="123"/>
                  </a:lnTo>
                  <a:lnTo>
                    <a:pt x="508" y="106"/>
                  </a:lnTo>
                  <a:lnTo>
                    <a:pt x="512" y="95"/>
                  </a:lnTo>
                  <a:lnTo>
                    <a:pt x="545" y="123"/>
                  </a:lnTo>
                  <a:lnTo>
                    <a:pt x="545" y="123"/>
                  </a:lnTo>
                  <a:lnTo>
                    <a:pt x="529" y="123"/>
                  </a:lnTo>
                  <a:lnTo>
                    <a:pt x="541" y="128"/>
                  </a:lnTo>
                  <a:lnTo>
                    <a:pt x="545" y="123"/>
                  </a:lnTo>
                  <a:lnTo>
                    <a:pt x="562" y="140"/>
                  </a:lnTo>
                  <a:lnTo>
                    <a:pt x="562" y="147"/>
                  </a:lnTo>
                  <a:lnTo>
                    <a:pt x="567" y="140"/>
                  </a:lnTo>
                  <a:lnTo>
                    <a:pt x="579" y="147"/>
                  </a:lnTo>
                  <a:lnTo>
                    <a:pt x="583" y="151"/>
                  </a:lnTo>
                  <a:lnTo>
                    <a:pt x="595" y="151"/>
                  </a:lnTo>
                  <a:lnTo>
                    <a:pt x="595" y="147"/>
                  </a:lnTo>
                  <a:lnTo>
                    <a:pt x="600" y="147"/>
                  </a:lnTo>
                  <a:lnTo>
                    <a:pt x="621" y="163"/>
                  </a:lnTo>
                  <a:lnTo>
                    <a:pt x="647" y="163"/>
                  </a:lnTo>
                  <a:lnTo>
                    <a:pt x="654" y="168"/>
                  </a:lnTo>
                  <a:lnTo>
                    <a:pt x="647" y="180"/>
                  </a:lnTo>
                  <a:lnTo>
                    <a:pt x="638" y="184"/>
                  </a:lnTo>
                  <a:lnTo>
                    <a:pt x="638" y="196"/>
                  </a:lnTo>
                  <a:lnTo>
                    <a:pt x="701" y="196"/>
                  </a:lnTo>
                  <a:lnTo>
                    <a:pt x="730" y="217"/>
                  </a:lnTo>
                  <a:lnTo>
                    <a:pt x="756" y="225"/>
                  </a:lnTo>
                  <a:lnTo>
                    <a:pt x="744" y="241"/>
                  </a:lnTo>
                  <a:lnTo>
                    <a:pt x="706" y="241"/>
                  </a:lnTo>
                  <a:lnTo>
                    <a:pt x="685" y="253"/>
                  </a:lnTo>
                  <a:lnTo>
                    <a:pt x="685" y="253"/>
                  </a:lnTo>
                  <a:lnTo>
                    <a:pt x="685" y="253"/>
                  </a:lnTo>
                  <a:close/>
                  <a:moveTo>
                    <a:pt x="453" y="57"/>
                  </a:moveTo>
                  <a:lnTo>
                    <a:pt x="437" y="50"/>
                  </a:lnTo>
                  <a:lnTo>
                    <a:pt x="453" y="50"/>
                  </a:lnTo>
                  <a:lnTo>
                    <a:pt x="458" y="57"/>
                  </a:lnTo>
                  <a:lnTo>
                    <a:pt x="453" y="57"/>
                  </a:lnTo>
                  <a:lnTo>
                    <a:pt x="453" y="57"/>
                  </a:lnTo>
                  <a:lnTo>
                    <a:pt x="453" y="57"/>
                  </a:lnTo>
                  <a:close/>
                  <a:moveTo>
                    <a:pt x="486" y="73"/>
                  </a:moveTo>
                  <a:lnTo>
                    <a:pt x="458" y="57"/>
                  </a:lnTo>
                  <a:lnTo>
                    <a:pt x="475" y="57"/>
                  </a:lnTo>
                  <a:lnTo>
                    <a:pt x="486" y="73"/>
                  </a:lnTo>
                  <a:lnTo>
                    <a:pt x="486" y="73"/>
                  </a:lnTo>
                  <a:lnTo>
                    <a:pt x="486" y="73"/>
                  </a:lnTo>
                  <a:close/>
                  <a:moveTo>
                    <a:pt x="491" y="83"/>
                  </a:moveTo>
                  <a:lnTo>
                    <a:pt x="475" y="83"/>
                  </a:lnTo>
                  <a:lnTo>
                    <a:pt x="486" y="73"/>
                  </a:lnTo>
                  <a:lnTo>
                    <a:pt x="491" y="73"/>
                  </a:lnTo>
                  <a:lnTo>
                    <a:pt x="491" y="83"/>
                  </a:lnTo>
                  <a:lnTo>
                    <a:pt x="491" y="83"/>
                  </a:lnTo>
                  <a:lnTo>
                    <a:pt x="491" y="83"/>
                  </a:lnTo>
                  <a:close/>
                  <a:moveTo>
                    <a:pt x="508" y="95"/>
                  </a:moveTo>
                  <a:lnTo>
                    <a:pt x="486" y="83"/>
                  </a:lnTo>
                  <a:lnTo>
                    <a:pt x="508" y="90"/>
                  </a:lnTo>
                  <a:lnTo>
                    <a:pt x="508" y="95"/>
                  </a:lnTo>
                  <a:lnTo>
                    <a:pt x="508" y="95"/>
                  </a:lnTo>
                  <a:lnTo>
                    <a:pt x="508" y="95"/>
                  </a:lnTo>
                  <a:close/>
                  <a:moveTo>
                    <a:pt x="134" y="140"/>
                  </a:moveTo>
                  <a:lnTo>
                    <a:pt x="130" y="140"/>
                  </a:lnTo>
                  <a:lnTo>
                    <a:pt x="120" y="123"/>
                  </a:lnTo>
                  <a:lnTo>
                    <a:pt x="130" y="128"/>
                  </a:lnTo>
                  <a:lnTo>
                    <a:pt x="134" y="123"/>
                  </a:lnTo>
                  <a:lnTo>
                    <a:pt x="130" y="106"/>
                  </a:lnTo>
                  <a:lnTo>
                    <a:pt x="134" y="95"/>
                  </a:lnTo>
                  <a:lnTo>
                    <a:pt x="151" y="95"/>
                  </a:lnTo>
                  <a:lnTo>
                    <a:pt x="168" y="123"/>
                  </a:lnTo>
                  <a:lnTo>
                    <a:pt x="134" y="140"/>
                  </a:lnTo>
                  <a:lnTo>
                    <a:pt x="134" y="140"/>
                  </a:lnTo>
                  <a:lnTo>
                    <a:pt x="134" y="140"/>
                  </a:lnTo>
                  <a:close/>
                </a:path>
              </a:pathLst>
            </a:custGeom>
            <a:pattFill prst="dk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36" name="Freeform 423">
              <a:extLst>
                <a:ext uri="{FF2B5EF4-FFF2-40B4-BE49-F238E27FC236}">
                  <a16:creationId xmlns:a16="http://schemas.microsoft.com/office/drawing/2014/main" id="{D7587225-689E-4F97-B9AB-4F0CBF992833}"/>
                </a:ext>
              </a:extLst>
            </p:cNvPr>
            <p:cNvSpPr>
              <a:spLocks noEditPoints="1"/>
            </p:cNvSpPr>
            <p:nvPr/>
          </p:nvSpPr>
          <p:spPr bwMode="gray">
            <a:xfrm>
              <a:off x="4897203" y="3984994"/>
              <a:ext cx="91058" cy="85128"/>
            </a:xfrm>
            <a:custGeom>
              <a:avLst/>
              <a:gdLst>
                <a:gd name="T0" fmla="*/ 0 w 184"/>
                <a:gd name="T1" fmla="*/ 19 h 172"/>
                <a:gd name="T2" fmla="*/ 0 w 184"/>
                <a:gd name="T3" fmla="*/ 7 h 172"/>
                <a:gd name="T4" fmla="*/ 16 w 184"/>
                <a:gd name="T5" fmla="*/ 0 h 172"/>
                <a:gd name="T6" fmla="*/ 21 w 184"/>
                <a:gd name="T7" fmla="*/ 7 h 172"/>
                <a:gd name="T8" fmla="*/ 0 w 184"/>
                <a:gd name="T9" fmla="*/ 19 h 172"/>
                <a:gd name="T10" fmla="*/ 0 w 184"/>
                <a:gd name="T11" fmla="*/ 19 h 172"/>
                <a:gd name="T12" fmla="*/ 0 w 184"/>
                <a:gd name="T13" fmla="*/ 19 h 172"/>
                <a:gd name="T14" fmla="*/ 21 w 184"/>
                <a:gd name="T15" fmla="*/ 28 h 172"/>
                <a:gd name="T16" fmla="*/ 16 w 184"/>
                <a:gd name="T17" fmla="*/ 23 h 172"/>
                <a:gd name="T18" fmla="*/ 21 w 184"/>
                <a:gd name="T19" fmla="*/ 19 h 172"/>
                <a:gd name="T20" fmla="*/ 33 w 184"/>
                <a:gd name="T21" fmla="*/ 23 h 172"/>
                <a:gd name="T22" fmla="*/ 21 w 184"/>
                <a:gd name="T23" fmla="*/ 28 h 172"/>
                <a:gd name="T24" fmla="*/ 21 w 184"/>
                <a:gd name="T25" fmla="*/ 28 h 172"/>
                <a:gd name="T26" fmla="*/ 21 w 184"/>
                <a:gd name="T27" fmla="*/ 28 h 172"/>
                <a:gd name="T28" fmla="*/ 71 w 184"/>
                <a:gd name="T29" fmla="*/ 45 h 172"/>
                <a:gd name="T30" fmla="*/ 59 w 184"/>
                <a:gd name="T31" fmla="*/ 40 h 172"/>
                <a:gd name="T32" fmla="*/ 92 w 184"/>
                <a:gd name="T33" fmla="*/ 45 h 172"/>
                <a:gd name="T34" fmla="*/ 71 w 184"/>
                <a:gd name="T35" fmla="*/ 40 h 172"/>
                <a:gd name="T36" fmla="*/ 71 w 184"/>
                <a:gd name="T37" fmla="*/ 45 h 172"/>
                <a:gd name="T38" fmla="*/ 71 w 184"/>
                <a:gd name="T39" fmla="*/ 45 h 172"/>
                <a:gd name="T40" fmla="*/ 71 w 184"/>
                <a:gd name="T41" fmla="*/ 45 h 172"/>
                <a:gd name="T42" fmla="*/ 179 w 184"/>
                <a:gd name="T43" fmla="*/ 85 h 172"/>
                <a:gd name="T44" fmla="*/ 163 w 184"/>
                <a:gd name="T45" fmla="*/ 85 h 172"/>
                <a:gd name="T46" fmla="*/ 179 w 184"/>
                <a:gd name="T47" fmla="*/ 73 h 172"/>
                <a:gd name="T48" fmla="*/ 184 w 184"/>
                <a:gd name="T49" fmla="*/ 78 h 172"/>
                <a:gd name="T50" fmla="*/ 179 w 184"/>
                <a:gd name="T51" fmla="*/ 85 h 172"/>
                <a:gd name="T52" fmla="*/ 179 w 184"/>
                <a:gd name="T53" fmla="*/ 85 h 172"/>
                <a:gd name="T54" fmla="*/ 179 w 184"/>
                <a:gd name="T55" fmla="*/ 85 h 172"/>
                <a:gd name="T56" fmla="*/ 125 w 184"/>
                <a:gd name="T57" fmla="*/ 167 h 172"/>
                <a:gd name="T58" fmla="*/ 109 w 184"/>
                <a:gd name="T59" fmla="*/ 156 h 172"/>
                <a:gd name="T60" fmla="*/ 118 w 184"/>
                <a:gd name="T61" fmla="*/ 139 h 172"/>
                <a:gd name="T62" fmla="*/ 130 w 184"/>
                <a:gd name="T63" fmla="*/ 156 h 172"/>
                <a:gd name="T64" fmla="*/ 125 w 184"/>
                <a:gd name="T65" fmla="*/ 167 h 172"/>
                <a:gd name="T66" fmla="*/ 125 w 184"/>
                <a:gd name="T67" fmla="*/ 167 h 172"/>
                <a:gd name="T68" fmla="*/ 125 w 184"/>
                <a:gd name="T69" fmla="*/ 167 h 172"/>
                <a:gd name="T70" fmla="*/ 59 w 184"/>
                <a:gd name="T71" fmla="*/ 172 h 172"/>
                <a:gd name="T72" fmla="*/ 54 w 184"/>
                <a:gd name="T73" fmla="*/ 167 h 172"/>
                <a:gd name="T74" fmla="*/ 59 w 184"/>
                <a:gd name="T75" fmla="*/ 156 h 172"/>
                <a:gd name="T76" fmla="*/ 71 w 184"/>
                <a:gd name="T77" fmla="*/ 167 h 172"/>
                <a:gd name="T78" fmla="*/ 59 w 184"/>
                <a:gd name="T79" fmla="*/ 172 h 172"/>
                <a:gd name="T80" fmla="*/ 59 w 184"/>
                <a:gd name="T81" fmla="*/ 172 h 172"/>
                <a:gd name="T82" fmla="*/ 59 w 184"/>
                <a:gd name="T8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4" h="172">
                  <a:moveTo>
                    <a:pt x="0" y="19"/>
                  </a:moveTo>
                  <a:lnTo>
                    <a:pt x="0" y="7"/>
                  </a:lnTo>
                  <a:lnTo>
                    <a:pt x="16" y="0"/>
                  </a:lnTo>
                  <a:lnTo>
                    <a:pt x="21" y="7"/>
                  </a:lnTo>
                  <a:lnTo>
                    <a:pt x="0" y="19"/>
                  </a:lnTo>
                  <a:lnTo>
                    <a:pt x="0" y="19"/>
                  </a:lnTo>
                  <a:lnTo>
                    <a:pt x="0" y="19"/>
                  </a:lnTo>
                  <a:close/>
                  <a:moveTo>
                    <a:pt x="21" y="28"/>
                  </a:moveTo>
                  <a:lnTo>
                    <a:pt x="16" y="23"/>
                  </a:lnTo>
                  <a:lnTo>
                    <a:pt x="21" y="19"/>
                  </a:lnTo>
                  <a:lnTo>
                    <a:pt x="33" y="23"/>
                  </a:lnTo>
                  <a:lnTo>
                    <a:pt x="21" y="28"/>
                  </a:lnTo>
                  <a:lnTo>
                    <a:pt x="21" y="28"/>
                  </a:lnTo>
                  <a:lnTo>
                    <a:pt x="21" y="28"/>
                  </a:lnTo>
                  <a:close/>
                  <a:moveTo>
                    <a:pt x="71" y="45"/>
                  </a:moveTo>
                  <a:lnTo>
                    <a:pt x="59" y="40"/>
                  </a:lnTo>
                  <a:lnTo>
                    <a:pt x="92" y="45"/>
                  </a:lnTo>
                  <a:lnTo>
                    <a:pt x="71" y="40"/>
                  </a:lnTo>
                  <a:lnTo>
                    <a:pt x="71" y="45"/>
                  </a:lnTo>
                  <a:lnTo>
                    <a:pt x="71" y="45"/>
                  </a:lnTo>
                  <a:lnTo>
                    <a:pt x="71" y="45"/>
                  </a:lnTo>
                  <a:close/>
                  <a:moveTo>
                    <a:pt x="179" y="85"/>
                  </a:moveTo>
                  <a:lnTo>
                    <a:pt x="163" y="85"/>
                  </a:lnTo>
                  <a:lnTo>
                    <a:pt x="179" y="73"/>
                  </a:lnTo>
                  <a:lnTo>
                    <a:pt x="184" y="78"/>
                  </a:lnTo>
                  <a:lnTo>
                    <a:pt x="179" y="85"/>
                  </a:lnTo>
                  <a:lnTo>
                    <a:pt x="179" y="85"/>
                  </a:lnTo>
                  <a:lnTo>
                    <a:pt x="179" y="85"/>
                  </a:lnTo>
                  <a:close/>
                  <a:moveTo>
                    <a:pt x="125" y="167"/>
                  </a:moveTo>
                  <a:lnTo>
                    <a:pt x="109" y="156"/>
                  </a:lnTo>
                  <a:lnTo>
                    <a:pt x="118" y="139"/>
                  </a:lnTo>
                  <a:lnTo>
                    <a:pt x="130" y="156"/>
                  </a:lnTo>
                  <a:lnTo>
                    <a:pt x="125" y="167"/>
                  </a:lnTo>
                  <a:lnTo>
                    <a:pt x="125" y="167"/>
                  </a:lnTo>
                  <a:lnTo>
                    <a:pt x="125" y="167"/>
                  </a:lnTo>
                  <a:close/>
                  <a:moveTo>
                    <a:pt x="59" y="172"/>
                  </a:moveTo>
                  <a:lnTo>
                    <a:pt x="54" y="167"/>
                  </a:lnTo>
                  <a:lnTo>
                    <a:pt x="59" y="156"/>
                  </a:lnTo>
                  <a:lnTo>
                    <a:pt x="71" y="167"/>
                  </a:lnTo>
                  <a:lnTo>
                    <a:pt x="59" y="172"/>
                  </a:lnTo>
                  <a:lnTo>
                    <a:pt x="59" y="172"/>
                  </a:lnTo>
                  <a:lnTo>
                    <a:pt x="59" y="172"/>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37" name="Freeform 424">
              <a:extLst>
                <a:ext uri="{FF2B5EF4-FFF2-40B4-BE49-F238E27FC236}">
                  <a16:creationId xmlns:a16="http://schemas.microsoft.com/office/drawing/2014/main" id="{355F058D-C2F3-41EA-8A08-14A3BF835871}"/>
                </a:ext>
              </a:extLst>
            </p:cNvPr>
            <p:cNvSpPr>
              <a:spLocks/>
            </p:cNvSpPr>
            <p:nvPr/>
          </p:nvSpPr>
          <p:spPr bwMode="gray">
            <a:xfrm>
              <a:off x="6892547" y="3274272"/>
              <a:ext cx="79676" cy="44050"/>
            </a:xfrm>
            <a:custGeom>
              <a:avLst/>
              <a:gdLst>
                <a:gd name="T0" fmla="*/ 71 w 161"/>
                <a:gd name="T1" fmla="*/ 77 h 89"/>
                <a:gd name="T2" fmla="*/ 64 w 161"/>
                <a:gd name="T3" fmla="*/ 77 h 89"/>
                <a:gd name="T4" fmla="*/ 54 w 161"/>
                <a:gd name="T5" fmla="*/ 89 h 89"/>
                <a:gd name="T6" fmla="*/ 50 w 161"/>
                <a:gd name="T7" fmla="*/ 77 h 89"/>
                <a:gd name="T8" fmla="*/ 17 w 161"/>
                <a:gd name="T9" fmla="*/ 77 h 89"/>
                <a:gd name="T10" fmla="*/ 0 w 161"/>
                <a:gd name="T11" fmla="*/ 49 h 89"/>
                <a:gd name="T12" fmla="*/ 17 w 161"/>
                <a:gd name="T13" fmla="*/ 56 h 89"/>
                <a:gd name="T14" fmla="*/ 33 w 161"/>
                <a:gd name="T15" fmla="*/ 40 h 89"/>
                <a:gd name="T16" fmla="*/ 50 w 161"/>
                <a:gd name="T17" fmla="*/ 40 h 89"/>
                <a:gd name="T18" fmla="*/ 50 w 161"/>
                <a:gd name="T19" fmla="*/ 21 h 89"/>
                <a:gd name="T20" fmla="*/ 102 w 161"/>
                <a:gd name="T21" fmla="*/ 21 h 89"/>
                <a:gd name="T22" fmla="*/ 161 w 161"/>
                <a:gd name="T23" fmla="*/ 0 h 89"/>
                <a:gd name="T24" fmla="*/ 118 w 161"/>
                <a:gd name="T25" fmla="*/ 33 h 89"/>
                <a:gd name="T26" fmla="*/ 118 w 161"/>
                <a:gd name="T27" fmla="*/ 40 h 89"/>
                <a:gd name="T28" fmla="*/ 132 w 161"/>
                <a:gd name="T29" fmla="*/ 56 h 89"/>
                <a:gd name="T30" fmla="*/ 102 w 161"/>
                <a:gd name="T31" fmla="*/ 56 h 89"/>
                <a:gd name="T32" fmla="*/ 102 w 161"/>
                <a:gd name="T33" fmla="*/ 73 h 89"/>
                <a:gd name="T34" fmla="*/ 71 w 161"/>
                <a:gd name="T35" fmla="*/ 77 h 89"/>
                <a:gd name="T36" fmla="*/ 71 w 161"/>
                <a:gd name="T37" fmla="*/ 77 h 89"/>
                <a:gd name="T38" fmla="*/ 71 w 161"/>
                <a:gd name="T39" fmla="*/ 7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1" h="89">
                  <a:moveTo>
                    <a:pt x="71" y="77"/>
                  </a:moveTo>
                  <a:lnTo>
                    <a:pt x="64" y="77"/>
                  </a:lnTo>
                  <a:lnTo>
                    <a:pt x="54" y="89"/>
                  </a:lnTo>
                  <a:lnTo>
                    <a:pt x="50" y="77"/>
                  </a:lnTo>
                  <a:lnTo>
                    <a:pt x="17" y="77"/>
                  </a:lnTo>
                  <a:lnTo>
                    <a:pt x="0" y="49"/>
                  </a:lnTo>
                  <a:lnTo>
                    <a:pt x="17" y="56"/>
                  </a:lnTo>
                  <a:lnTo>
                    <a:pt x="33" y="40"/>
                  </a:lnTo>
                  <a:lnTo>
                    <a:pt x="50" y="40"/>
                  </a:lnTo>
                  <a:lnTo>
                    <a:pt x="50" y="21"/>
                  </a:lnTo>
                  <a:lnTo>
                    <a:pt x="102" y="21"/>
                  </a:lnTo>
                  <a:lnTo>
                    <a:pt x="161" y="0"/>
                  </a:lnTo>
                  <a:lnTo>
                    <a:pt x="118" y="33"/>
                  </a:lnTo>
                  <a:lnTo>
                    <a:pt x="118" y="40"/>
                  </a:lnTo>
                  <a:lnTo>
                    <a:pt x="132" y="56"/>
                  </a:lnTo>
                  <a:lnTo>
                    <a:pt x="102" y="56"/>
                  </a:lnTo>
                  <a:lnTo>
                    <a:pt x="102" y="73"/>
                  </a:lnTo>
                  <a:lnTo>
                    <a:pt x="71" y="77"/>
                  </a:lnTo>
                  <a:lnTo>
                    <a:pt x="71" y="77"/>
                  </a:lnTo>
                  <a:lnTo>
                    <a:pt x="71" y="77"/>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38" name="Freeform 425">
              <a:extLst>
                <a:ext uri="{FF2B5EF4-FFF2-40B4-BE49-F238E27FC236}">
                  <a16:creationId xmlns:a16="http://schemas.microsoft.com/office/drawing/2014/main" id="{7243D546-4B67-4CEE-976C-BABB6C23ECA7}"/>
                </a:ext>
              </a:extLst>
            </p:cNvPr>
            <p:cNvSpPr>
              <a:spLocks noEditPoints="1"/>
            </p:cNvSpPr>
            <p:nvPr/>
          </p:nvSpPr>
          <p:spPr bwMode="gray">
            <a:xfrm>
              <a:off x="6056699" y="2275499"/>
              <a:ext cx="245459" cy="158873"/>
            </a:xfrm>
            <a:custGeom>
              <a:avLst/>
              <a:gdLst>
                <a:gd name="T0" fmla="*/ 10 w 496"/>
                <a:gd name="T1" fmla="*/ 111 h 321"/>
                <a:gd name="T2" fmla="*/ 123 w 496"/>
                <a:gd name="T3" fmla="*/ 12 h 321"/>
                <a:gd name="T4" fmla="*/ 156 w 496"/>
                <a:gd name="T5" fmla="*/ 78 h 321"/>
                <a:gd name="T6" fmla="*/ 43 w 496"/>
                <a:gd name="T7" fmla="*/ 83 h 321"/>
                <a:gd name="T8" fmla="*/ 206 w 496"/>
                <a:gd name="T9" fmla="*/ 57 h 321"/>
                <a:gd name="T10" fmla="*/ 206 w 496"/>
                <a:gd name="T11" fmla="*/ 57 h 321"/>
                <a:gd name="T12" fmla="*/ 43 w 496"/>
                <a:gd name="T13" fmla="*/ 267 h 321"/>
                <a:gd name="T14" fmla="*/ 43 w 496"/>
                <a:gd name="T15" fmla="*/ 267 h 321"/>
                <a:gd name="T16" fmla="*/ 0 w 496"/>
                <a:gd name="T17" fmla="*/ 177 h 321"/>
                <a:gd name="T18" fmla="*/ 0 w 496"/>
                <a:gd name="T19" fmla="*/ 173 h 321"/>
                <a:gd name="T20" fmla="*/ 47 w 496"/>
                <a:gd name="T21" fmla="*/ 123 h 321"/>
                <a:gd name="T22" fmla="*/ 64 w 496"/>
                <a:gd name="T23" fmla="*/ 123 h 321"/>
                <a:gd name="T24" fmla="*/ 85 w 496"/>
                <a:gd name="T25" fmla="*/ 111 h 321"/>
                <a:gd name="T26" fmla="*/ 135 w 496"/>
                <a:gd name="T27" fmla="*/ 66 h 321"/>
                <a:gd name="T28" fmla="*/ 156 w 496"/>
                <a:gd name="T29" fmla="*/ 111 h 321"/>
                <a:gd name="T30" fmla="*/ 206 w 496"/>
                <a:gd name="T31" fmla="*/ 133 h 321"/>
                <a:gd name="T32" fmla="*/ 156 w 496"/>
                <a:gd name="T33" fmla="*/ 156 h 321"/>
                <a:gd name="T34" fmla="*/ 151 w 496"/>
                <a:gd name="T35" fmla="*/ 177 h 321"/>
                <a:gd name="T36" fmla="*/ 135 w 496"/>
                <a:gd name="T37" fmla="*/ 210 h 321"/>
                <a:gd name="T38" fmla="*/ 106 w 496"/>
                <a:gd name="T39" fmla="*/ 260 h 321"/>
                <a:gd name="T40" fmla="*/ 102 w 496"/>
                <a:gd name="T41" fmla="*/ 288 h 321"/>
                <a:gd name="T42" fmla="*/ 43 w 496"/>
                <a:gd name="T43" fmla="*/ 111 h 321"/>
                <a:gd name="T44" fmla="*/ 47 w 496"/>
                <a:gd name="T45" fmla="*/ 99 h 321"/>
                <a:gd name="T46" fmla="*/ 243 w 496"/>
                <a:gd name="T47" fmla="*/ 111 h 321"/>
                <a:gd name="T48" fmla="*/ 243 w 496"/>
                <a:gd name="T49" fmla="*/ 111 h 321"/>
                <a:gd name="T50" fmla="*/ 210 w 496"/>
                <a:gd name="T51" fmla="*/ 210 h 321"/>
                <a:gd name="T52" fmla="*/ 215 w 496"/>
                <a:gd name="T53" fmla="*/ 177 h 321"/>
                <a:gd name="T54" fmla="*/ 265 w 496"/>
                <a:gd name="T55" fmla="*/ 189 h 321"/>
                <a:gd name="T56" fmla="*/ 269 w 496"/>
                <a:gd name="T57" fmla="*/ 189 h 321"/>
                <a:gd name="T58" fmla="*/ 312 w 496"/>
                <a:gd name="T59" fmla="*/ 189 h 321"/>
                <a:gd name="T60" fmla="*/ 269 w 496"/>
                <a:gd name="T61" fmla="*/ 267 h 321"/>
                <a:gd name="T62" fmla="*/ 260 w 496"/>
                <a:gd name="T63" fmla="*/ 279 h 321"/>
                <a:gd name="T64" fmla="*/ 243 w 496"/>
                <a:gd name="T65" fmla="*/ 260 h 321"/>
                <a:gd name="T66" fmla="*/ 173 w 496"/>
                <a:gd name="T67" fmla="*/ 206 h 321"/>
                <a:gd name="T68" fmla="*/ 177 w 496"/>
                <a:gd name="T69" fmla="*/ 189 h 321"/>
                <a:gd name="T70" fmla="*/ 319 w 496"/>
                <a:gd name="T71" fmla="*/ 210 h 321"/>
                <a:gd name="T72" fmla="*/ 173 w 496"/>
                <a:gd name="T73" fmla="*/ 279 h 321"/>
                <a:gd name="T74" fmla="*/ 161 w 496"/>
                <a:gd name="T75" fmla="*/ 227 h 321"/>
                <a:gd name="T76" fmla="*/ 177 w 496"/>
                <a:gd name="T77" fmla="*/ 222 h 321"/>
                <a:gd name="T78" fmla="*/ 173 w 496"/>
                <a:gd name="T79" fmla="*/ 279 h 321"/>
                <a:gd name="T80" fmla="*/ 26 w 496"/>
                <a:gd name="T81" fmla="*/ 234 h 321"/>
                <a:gd name="T82" fmla="*/ 487 w 496"/>
                <a:gd name="T83" fmla="*/ 284 h 321"/>
                <a:gd name="T84" fmla="*/ 487 w 496"/>
                <a:gd name="T85" fmla="*/ 284 h 321"/>
                <a:gd name="T86" fmla="*/ 177 w 496"/>
                <a:gd name="T87" fmla="*/ 288 h 321"/>
                <a:gd name="T88" fmla="*/ 177 w 496"/>
                <a:gd name="T89" fmla="*/ 305 h 321"/>
                <a:gd name="T90" fmla="*/ 118 w 496"/>
                <a:gd name="T91" fmla="*/ 288 h 321"/>
                <a:gd name="T92" fmla="*/ 106 w 496"/>
                <a:gd name="T93" fmla="*/ 279 h 321"/>
                <a:gd name="T94" fmla="*/ 173 w 496"/>
                <a:gd name="T95" fmla="*/ 284 h 321"/>
                <a:gd name="T96" fmla="*/ 173 w 496"/>
                <a:gd name="T97" fmla="*/ 284 h 321"/>
                <a:gd name="T98" fmla="*/ 298 w 496"/>
                <a:gd name="T99" fmla="*/ 279 h 321"/>
                <a:gd name="T100" fmla="*/ 286 w 496"/>
                <a:gd name="T101" fmla="*/ 288 h 321"/>
                <a:gd name="T102" fmla="*/ 269 w 496"/>
                <a:gd name="T103" fmla="*/ 321 h 321"/>
                <a:gd name="T104" fmla="*/ 265 w 496"/>
                <a:gd name="T105" fmla="*/ 284 h 321"/>
                <a:gd name="T106" fmla="*/ 243 w 496"/>
                <a:gd name="T107" fmla="*/ 300 h 321"/>
                <a:gd name="T108" fmla="*/ 206 w 496"/>
                <a:gd name="T109" fmla="*/ 30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6" h="321">
                  <a:moveTo>
                    <a:pt x="26" y="111"/>
                  </a:moveTo>
                  <a:lnTo>
                    <a:pt x="31" y="116"/>
                  </a:lnTo>
                  <a:lnTo>
                    <a:pt x="31" y="116"/>
                  </a:lnTo>
                  <a:lnTo>
                    <a:pt x="10" y="111"/>
                  </a:lnTo>
                  <a:lnTo>
                    <a:pt x="10" y="99"/>
                  </a:lnTo>
                  <a:lnTo>
                    <a:pt x="31" y="62"/>
                  </a:lnTo>
                  <a:lnTo>
                    <a:pt x="85" y="62"/>
                  </a:lnTo>
                  <a:lnTo>
                    <a:pt x="123" y="12"/>
                  </a:lnTo>
                  <a:lnTo>
                    <a:pt x="177" y="0"/>
                  </a:lnTo>
                  <a:lnTo>
                    <a:pt x="161" y="12"/>
                  </a:lnTo>
                  <a:lnTo>
                    <a:pt x="173" y="57"/>
                  </a:lnTo>
                  <a:lnTo>
                    <a:pt x="156" y="78"/>
                  </a:lnTo>
                  <a:lnTo>
                    <a:pt x="135" y="66"/>
                  </a:lnTo>
                  <a:lnTo>
                    <a:pt x="80" y="78"/>
                  </a:lnTo>
                  <a:lnTo>
                    <a:pt x="69" y="66"/>
                  </a:lnTo>
                  <a:lnTo>
                    <a:pt x="43" y="83"/>
                  </a:lnTo>
                  <a:lnTo>
                    <a:pt x="26" y="111"/>
                  </a:lnTo>
                  <a:lnTo>
                    <a:pt x="26" y="111"/>
                  </a:lnTo>
                  <a:lnTo>
                    <a:pt x="26" y="111"/>
                  </a:lnTo>
                  <a:close/>
                  <a:moveTo>
                    <a:pt x="206" y="57"/>
                  </a:moveTo>
                  <a:lnTo>
                    <a:pt x="194" y="57"/>
                  </a:lnTo>
                  <a:lnTo>
                    <a:pt x="215" y="45"/>
                  </a:lnTo>
                  <a:lnTo>
                    <a:pt x="206" y="57"/>
                  </a:lnTo>
                  <a:lnTo>
                    <a:pt x="206" y="57"/>
                  </a:lnTo>
                  <a:lnTo>
                    <a:pt x="206" y="57"/>
                  </a:lnTo>
                  <a:close/>
                  <a:moveTo>
                    <a:pt x="97" y="300"/>
                  </a:moveTo>
                  <a:lnTo>
                    <a:pt x="43" y="288"/>
                  </a:lnTo>
                  <a:lnTo>
                    <a:pt x="43" y="267"/>
                  </a:lnTo>
                  <a:lnTo>
                    <a:pt x="26" y="279"/>
                  </a:lnTo>
                  <a:lnTo>
                    <a:pt x="26" y="267"/>
                  </a:lnTo>
                  <a:lnTo>
                    <a:pt x="26" y="260"/>
                  </a:lnTo>
                  <a:lnTo>
                    <a:pt x="43" y="267"/>
                  </a:lnTo>
                  <a:lnTo>
                    <a:pt x="31" y="234"/>
                  </a:lnTo>
                  <a:lnTo>
                    <a:pt x="0" y="227"/>
                  </a:lnTo>
                  <a:lnTo>
                    <a:pt x="0" y="206"/>
                  </a:lnTo>
                  <a:lnTo>
                    <a:pt x="0" y="177"/>
                  </a:lnTo>
                  <a:lnTo>
                    <a:pt x="0" y="194"/>
                  </a:lnTo>
                  <a:lnTo>
                    <a:pt x="14" y="189"/>
                  </a:lnTo>
                  <a:lnTo>
                    <a:pt x="10" y="173"/>
                  </a:lnTo>
                  <a:lnTo>
                    <a:pt x="0" y="173"/>
                  </a:lnTo>
                  <a:lnTo>
                    <a:pt x="0" y="177"/>
                  </a:lnTo>
                  <a:lnTo>
                    <a:pt x="0" y="111"/>
                  </a:lnTo>
                  <a:lnTo>
                    <a:pt x="43" y="133"/>
                  </a:lnTo>
                  <a:lnTo>
                    <a:pt x="47" y="123"/>
                  </a:lnTo>
                  <a:lnTo>
                    <a:pt x="43" y="116"/>
                  </a:lnTo>
                  <a:lnTo>
                    <a:pt x="69" y="99"/>
                  </a:lnTo>
                  <a:lnTo>
                    <a:pt x="69" y="111"/>
                  </a:lnTo>
                  <a:lnTo>
                    <a:pt x="64" y="123"/>
                  </a:lnTo>
                  <a:lnTo>
                    <a:pt x="80" y="116"/>
                  </a:lnTo>
                  <a:lnTo>
                    <a:pt x="85" y="123"/>
                  </a:lnTo>
                  <a:lnTo>
                    <a:pt x="85" y="123"/>
                  </a:lnTo>
                  <a:lnTo>
                    <a:pt x="85" y="111"/>
                  </a:lnTo>
                  <a:lnTo>
                    <a:pt x="69" y="111"/>
                  </a:lnTo>
                  <a:lnTo>
                    <a:pt x="69" y="83"/>
                  </a:lnTo>
                  <a:lnTo>
                    <a:pt x="80" y="78"/>
                  </a:lnTo>
                  <a:lnTo>
                    <a:pt x="135" y="66"/>
                  </a:lnTo>
                  <a:lnTo>
                    <a:pt x="156" y="78"/>
                  </a:lnTo>
                  <a:lnTo>
                    <a:pt x="156" y="99"/>
                  </a:lnTo>
                  <a:lnTo>
                    <a:pt x="123" y="116"/>
                  </a:lnTo>
                  <a:lnTo>
                    <a:pt x="156" y="111"/>
                  </a:lnTo>
                  <a:lnTo>
                    <a:pt x="151" y="133"/>
                  </a:lnTo>
                  <a:lnTo>
                    <a:pt x="156" y="123"/>
                  </a:lnTo>
                  <a:lnTo>
                    <a:pt x="194" y="123"/>
                  </a:lnTo>
                  <a:lnTo>
                    <a:pt x="206" y="133"/>
                  </a:lnTo>
                  <a:lnTo>
                    <a:pt x="189" y="168"/>
                  </a:lnTo>
                  <a:lnTo>
                    <a:pt x="177" y="156"/>
                  </a:lnTo>
                  <a:lnTo>
                    <a:pt x="173" y="173"/>
                  </a:lnTo>
                  <a:lnTo>
                    <a:pt x="156" y="156"/>
                  </a:lnTo>
                  <a:lnTo>
                    <a:pt x="161" y="156"/>
                  </a:lnTo>
                  <a:lnTo>
                    <a:pt x="161" y="149"/>
                  </a:lnTo>
                  <a:lnTo>
                    <a:pt x="151" y="168"/>
                  </a:lnTo>
                  <a:lnTo>
                    <a:pt x="151" y="177"/>
                  </a:lnTo>
                  <a:lnTo>
                    <a:pt x="151" y="194"/>
                  </a:lnTo>
                  <a:lnTo>
                    <a:pt x="123" y="194"/>
                  </a:lnTo>
                  <a:lnTo>
                    <a:pt x="135" y="194"/>
                  </a:lnTo>
                  <a:lnTo>
                    <a:pt x="135" y="210"/>
                  </a:lnTo>
                  <a:lnTo>
                    <a:pt x="102" y="210"/>
                  </a:lnTo>
                  <a:lnTo>
                    <a:pt x="118" y="222"/>
                  </a:lnTo>
                  <a:lnTo>
                    <a:pt x="102" y="234"/>
                  </a:lnTo>
                  <a:lnTo>
                    <a:pt x="106" y="260"/>
                  </a:lnTo>
                  <a:lnTo>
                    <a:pt x="97" y="267"/>
                  </a:lnTo>
                  <a:lnTo>
                    <a:pt x="118" y="288"/>
                  </a:lnTo>
                  <a:lnTo>
                    <a:pt x="106" y="300"/>
                  </a:lnTo>
                  <a:lnTo>
                    <a:pt x="102" y="288"/>
                  </a:lnTo>
                  <a:lnTo>
                    <a:pt x="97" y="300"/>
                  </a:lnTo>
                  <a:lnTo>
                    <a:pt x="97" y="300"/>
                  </a:lnTo>
                  <a:lnTo>
                    <a:pt x="97" y="300"/>
                  </a:lnTo>
                  <a:close/>
                  <a:moveTo>
                    <a:pt x="43" y="111"/>
                  </a:moveTo>
                  <a:lnTo>
                    <a:pt x="26" y="99"/>
                  </a:lnTo>
                  <a:lnTo>
                    <a:pt x="31" y="99"/>
                  </a:lnTo>
                  <a:lnTo>
                    <a:pt x="54" y="83"/>
                  </a:lnTo>
                  <a:lnTo>
                    <a:pt x="47" y="99"/>
                  </a:lnTo>
                  <a:lnTo>
                    <a:pt x="43" y="111"/>
                  </a:lnTo>
                  <a:lnTo>
                    <a:pt x="43" y="111"/>
                  </a:lnTo>
                  <a:lnTo>
                    <a:pt x="43" y="111"/>
                  </a:lnTo>
                  <a:close/>
                  <a:moveTo>
                    <a:pt x="243" y="111"/>
                  </a:moveTo>
                  <a:lnTo>
                    <a:pt x="243" y="111"/>
                  </a:lnTo>
                  <a:lnTo>
                    <a:pt x="248" y="111"/>
                  </a:lnTo>
                  <a:lnTo>
                    <a:pt x="243" y="111"/>
                  </a:lnTo>
                  <a:lnTo>
                    <a:pt x="243" y="111"/>
                  </a:lnTo>
                  <a:lnTo>
                    <a:pt x="243" y="111"/>
                  </a:lnTo>
                  <a:close/>
                  <a:moveTo>
                    <a:pt x="243" y="260"/>
                  </a:moveTo>
                  <a:lnTo>
                    <a:pt x="215" y="260"/>
                  </a:lnTo>
                  <a:lnTo>
                    <a:pt x="210" y="210"/>
                  </a:lnTo>
                  <a:lnTo>
                    <a:pt x="194" y="206"/>
                  </a:lnTo>
                  <a:lnTo>
                    <a:pt x="215" y="210"/>
                  </a:lnTo>
                  <a:lnTo>
                    <a:pt x="243" y="194"/>
                  </a:lnTo>
                  <a:lnTo>
                    <a:pt x="215" y="177"/>
                  </a:lnTo>
                  <a:lnTo>
                    <a:pt x="260" y="177"/>
                  </a:lnTo>
                  <a:lnTo>
                    <a:pt x="248" y="194"/>
                  </a:lnTo>
                  <a:lnTo>
                    <a:pt x="260" y="210"/>
                  </a:lnTo>
                  <a:lnTo>
                    <a:pt x="265" y="189"/>
                  </a:lnTo>
                  <a:lnTo>
                    <a:pt x="281" y="206"/>
                  </a:lnTo>
                  <a:lnTo>
                    <a:pt x="269" y="210"/>
                  </a:lnTo>
                  <a:lnTo>
                    <a:pt x="281" y="210"/>
                  </a:lnTo>
                  <a:lnTo>
                    <a:pt x="269" y="189"/>
                  </a:lnTo>
                  <a:lnTo>
                    <a:pt x="265" y="177"/>
                  </a:lnTo>
                  <a:lnTo>
                    <a:pt x="298" y="168"/>
                  </a:lnTo>
                  <a:lnTo>
                    <a:pt x="319" y="173"/>
                  </a:lnTo>
                  <a:lnTo>
                    <a:pt x="312" y="189"/>
                  </a:lnTo>
                  <a:lnTo>
                    <a:pt x="319" y="210"/>
                  </a:lnTo>
                  <a:lnTo>
                    <a:pt x="286" y="234"/>
                  </a:lnTo>
                  <a:lnTo>
                    <a:pt x="302" y="251"/>
                  </a:lnTo>
                  <a:lnTo>
                    <a:pt x="269" y="267"/>
                  </a:lnTo>
                  <a:lnTo>
                    <a:pt x="286" y="267"/>
                  </a:lnTo>
                  <a:lnTo>
                    <a:pt x="286" y="284"/>
                  </a:lnTo>
                  <a:lnTo>
                    <a:pt x="265" y="284"/>
                  </a:lnTo>
                  <a:lnTo>
                    <a:pt x="260" y="279"/>
                  </a:lnTo>
                  <a:lnTo>
                    <a:pt x="260" y="267"/>
                  </a:lnTo>
                  <a:lnTo>
                    <a:pt x="260" y="260"/>
                  </a:lnTo>
                  <a:lnTo>
                    <a:pt x="243" y="260"/>
                  </a:lnTo>
                  <a:lnTo>
                    <a:pt x="243" y="260"/>
                  </a:lnTo>
                  <a:lnTo>
                    <a:pt x="243" y="260"/>
                  </a:lnTo>
                  <a:close/>
                  <a:moveTo>
                    <a:pt x="177" y="189"/>
                  </a:moveTo>
                  <a:lnTo>
                    <a:pt x="173" y="206"/>
                  </a:lnTo>
                  <a:lnTo>
                    <a:pt x="173" y="206"/>
                  </a:lnTo>
                  <a:lnTo>
                    <a:pt x="173" y="177"/>
                  </a:lnTo>
                  <a:lnTo>
                    <a:pt x="177" y="189"/>
                  </a:lnTo>
                  <a:lnTo>
                    <a:pt x="177" y="189"/>
                  </a:lnTo>
                  <a:lnTo>
                    <a:pt x="177" y="189"/>
                  </a:lnTo>
                  <a:close/>
                  <a:moveTo>
                    <a:pt x="319" y="222"/>
                  </a:moveTo>
                  <a:lnTo>
                    <a:pt x="319" y="222"/>
                  </a:lnTo>
                  <a:lnTo>
                    <a:pt x="312" y="222"/>
                  </a:lnTo>
                  <a:lnTo>
                    <a:pt x="319" y="210"/>
                  </a:lnTo>
                  <a:lnTo>
                    <a:pt x="319" y="222"/>
                  </a:lnTo>
                  <a:lnTo>
                    <a:pt x="319" y="222"/>
                  </a:lnTo>
                  <a:lnTo>
                    <a:pt x="319" y="222"/>
                  </a:lnTo>
                  <a:close/>
                  <a:moveTo>
                    <a:pt x="173" y="279"/>
                  </a:moveTo>
                  <a:lnTo>
                    <a:pt x="139" y="279"/>
                  </a:lnTo>
                  <a:lnTo>
                    <a:pt x="106" y="227"/>
                  </a:lnTo>
                  <a:lnTo>
                    <a:pt x="156" y="222"/>
                  </a:lnTo>
                  <a:lnTo>
                    <a:pt x="161" y="227"/>
                  </a:lnTo>
                  <a:lnTo>
                    <a:pt x="161" y="234"/>
                  </a:lnTo>
                  <a:lnTo>
                    <a:pt x="161" y="234"/>
                  </a:lnTo>
                  <a:lnTo>
                    <a:pt x="173" y="227"/>
                  </a:lnTo>
                  <a:lnTo>
                    <a:pt x="177" y="222"/>
                  </a:lnTo>
                  <a:lnTo>
                    <a:pt x="189" y="251"/>
                  </a:lnTo>
                  <a:lnTo>
                    <a:pt x="189" y="279"/>
                  </a:lnTo>
                  <a:lnTo>
                    <a:pt x="173" y="279"/>
                  </a:lnTo>
                  <a:lnTo>
                    <a:pt x="173" y="279"/>
                  </a:lnTo>
                  <a:lnTo>
                    <a:pt x="173" y="279"/>
                  </a:lnTo>
                  <a:close/>
                  <a:moveTo>
                    <a:pt x="26" y="244"/>
                  </a:moveTo>
                  <a:lnTo>
                    <a:pt x="14" y="234"/>
                  </a:lnTo>
                  <a:lnTo>
                    <a:pt x="26" y="234"/>
                  </a:lnTo>
                  <a:lnTo>
                    <a:pt x="26" y="244"/>
                  </a:lnTo>
                  <a:lnTo>
                    <a:pt x="26" y="244"/>
                  </a:lnTo>
                  <a:lnTo>
                    <a:pt x="26" y="244"/>
                  </a:lnTo>
                  <a:close/>
                  <a:moveTo>
                    <a:pt x="487" y="284"/>
                  </a:moveTo>
                  <a:lnTo>
                    <a:pt x="458" y="267"/>
                  </a:lnTo>
                  <a:lnTo>
                    <a:pt x="465" y="251"/>
                  </a:lnTo>
                  <a:lnTo>
                    <a:pt x="496" y="267"/>
                  </a:lnTo>
                  <a:lnTo>
                    <a:pt x="487" y="284"/>
                  </a:lnTo>
                  <a:lnTo>
                    <a:pt x="487" y="284"/>
                  </a:lnTo>
                  <a:lnTo>
                    <a:pt x="487" y="284"/>
                  </a:lnTo>
                  <a:close/>
                  <a:moveTo>
                    <a:pt x="177" y="305"/>
                  </a:moveTo>
                  <a:lnTo>
                    <a:pt x="177" y="288"/>
                  </a:lnTo>
                  <a:lnTo>
                    <a:pt x="206" y="267"/>
                  </a:lnTo>
                  <a:lnTo>
                    <a:pt x="177" y="305"/>
                  </a:lnTo>
                  <a:lnTo>
                    <a:pt x="177" y="305"/>
                  </a:lnTo>
                  <a:lnTo>
                    <a:pt x="177" y="305"/>
                  </a:lnTo>
                  <a:close/>
                  <a:moveTo>
                    <a:pt x="135" y="284"/>
                  </a:moveTo>
                  <a:lnTo>
                    <a:pt x="139" y="288"/>
                  </a:lnTo>
                  <a:lnTo>
                    <a:pt x="123" y="288"/>
                  </a:lnTo>
                  <a:lnTo>
                    <a:pt x="118" y="288"/>
                  </a:lnTo>
                  <a:lnTo>
                    <a:pt x="118" y="284"/>
                  </a:lnTo>
                  <a:lnTo>
                    <a:pt x="118" y="284"/>
                  </a:lnTo>
                  <a:lnTo>
                    <a:pt x="118" y="279"/>
                  </a:lnTo>
                  <a:lnTo>
                    <a:pt x="106" y="279"/>
                  </a:lnTo>
                  <a:lnTo>
                    <a:pt x="135" y="284"/>
                  </a:lnTo>
                  <a:lnTo>
                    <a:pt x="135" y="284"/>
                  </a:lnTo>
                  <a:lnTo>
                    <a:pt x="135" y="284"/>
                  </a:lnTo>
                  <a:close/>
                  <a:moveTo>
                    <a:pt x="173" y="284"/>
                  </a:moveTo>
                  <a:lnTo>
                    <a:pt x="161" y="284"/>
                  </a:lnTo>
                  <a:lnTo>
                    <a:pt x="177" y="284"/>
                  </a:lnTo>
                  <a:lnTo>
                    <a:pt x="173" y="284"/>
                  </a:lnTo>
                  <a:lnTo>
                    <a:pt x="173" y="284"/>
                  </a:lnTo>
                  <a:lnTo>
                    <a:pt x="173" y="284"/>
                  </a:lnTo>
                  <a:close/>
                  <a:moveTo>
                    <a:pt x="286" y="288"/>
                  </a:moveTo>
                  <a:lnTo>
                    <a:pt x="281" y="284"/>
                  </a:lnTo>
                  <a:lnTo>
                    <a:pt x="298" y="279"/>
                  </a:lnTo>
                  <a:lnTo>
                    <a:pt x="312" y="284"/>
                  </a:lnTo>
                  <a:lnTo>
                    <a:pt x="286" y="288"/>
                  </a:lnTo>
                  <a:lnTo>
                    <a:pt x="286" y="288"/>
                  </a:lnTo>
                  <a:lnTo>
                    <a:pt x="286" y="288"/>
                  </a:lnTo>
                  <a:close/>
                  <a:moveTo>
                    <a:pt x="265" y="284"/>
                  </a:moveTo>
                  <a:lnTo>
                    <a:pt x="286" y="300"/>
                  </a:lnTo>
                  <a:lnTo>
                    <a:pt x="269" y="317"/>
                  </a:lnTo>
                  <a:lnTo>
                    <a:pt x="269" y="321"/>
                  </a:lnTo>
                  <a:lnTo>
                    <a:pt x="248" y="288"/>
                  </a:lnTo>
                  <a:lnTo>
                    <a:pt x="265" y="284"/>
                  </a:lnTo>
                  <a:lnTo>
                    <a:pt x="265" y="284"/>
                  </a:lnTo>
                  <a:lnTo>
                    <a:pt x="265" y="284"/>
                  </a:lnTo>
                  <a:close/>
                  <a:moveTo>
                    <a:pt x="206" y="300"/>
                  </a:moveTo>
                  <a:lnTo>
                    <a:pt x="210" y="288"/>
                  </a:lnTo>
                  <a:lnTo>
                    <a:pt x="215" y="284"/>
                  </a:lnTo>
                  <a:lnTo>
                    <a:pt x="243" y="300"/>
                  </a:lnTo>
                  <a:lnTo>
                    <a:pt x="248" y="288"/>
                  </a:lnTo>
                  <a:lnTo>
                    <a:pt x="265" y="317"/>
                  </a:lnTo>
                  <a:lnTo>
                    <a:pt x="232" y="317"/>
                  </a:lnTo>
                  <a:lnTo>
                    <a:pt x="206" y="300"/>
                  </a:lnTo>
                  <a:lnTo>
                    <a:pt x="206" y="300"/>
                  </a:lnTo>
                  <a:lnTo>
                    <a:pt x="206" y="300"/>
                  </a:lnTo>
                  <a:close/>
                </a:path>
              </a:pathLst>
            </a:custGeom>
            <a:pattFill prst="dk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39" name="Freeform 426">
              <a:extLst>
                <a:ext uri="{FF2B5EF4-FFF2-40B4-BE49-F238E27FC236}">
                  <a16:creationId xmlns:a16="http://schemas.microsoft.com/office/drawing/2014/main" id="{55566C4C-4759-4117-8450-CDC44C205F53}"/>
                </a:ext>
              </a:extLst>
            </p:cNvPr>
            <p:cNvSpPr>
              <a:spLocks/>
            </p:cNvSpPr>
            <p:nvPr/>
          </p:nvSpPr>
          <p:spPr bwMode="gray">
            <a:xfrm>
              <a:off x="7227083" y="4144858"/>
              <a:ext cx="54931" cy="67806"/>
            </a:xfrm>
            <a:custGeom>
              <a:avLst/>
              <a:gdLst>
                <a:gd name="T0" fmla="*/ 73 w 111"/>
                <a:gd name="T1" fmla="*/ 126 h 137"/>
                <a:gd name="T2" fmla="*/ 56 w 111"/>
                <a:gd name="T3" fmla="*/ 121 h 137"/>
                <a:gd name="T4" fmla="*/ 14 w 111"/>
                <a:gd name="T5" fmla="*/ 137 h 137"/>
                <a:gd name="T6" fmla="*/ 0 w 111"/>
                <a:gd name="T7" fmla="*/ 126 h 137"/>
                <a:gd name="T8" fmla="*/ 0 w 111"/>
                <a:gd name="T9" fmla="*/ 92 h 137"/>
                <a:gd name="T10" fmla="*/ 0 w 111"/>
                <a:gd name="T11" fmla="*/ 71 h 137"/>
                <a:gd name="T12" fmla="*/ 35 w 111"/>
                <a:gd name="T13" fmla="*/ 26 h 137"/>
                <a:gd name="T14" fmla="*/ 42 w 111"/>
                <a:gd name="T15" fmla="*/ 17 h 137"/>
                <a:gd name="T16" fmla="*/ 56 w 111"/>
                <a:gd name="T17" fmla="*/ 33 h 137"/>
                <a:gd name="T18" fmla="*/ 68 w 111"/>
                <a:gd name="T19" fmla="*/ 26 h 137"/>
                <a:gd name="T20" fmla="*/ 68 w 111"/>
                <a:gd name="T21" fmla="*/ 17 h 137"/>
                <a:gd name="T22" fmla="*/ 89 w 111"/>
                <a:gd name="T23" fmla="*/ 0 h 137"/>
                <a:gd name="T24" fmla="*/ 106 w 111"/>
                <a:gd name="T25" fmla="*/ 26 h 137"/>
                <a:gd name="T26" fmla="*/ 111 w 111"/>
                <a:gd name="T27" fmla="*/ 55 h 137"/>
                <a:gd name="T28" fmla="*/ 78 w 111"/>
                <a:gd name="T29" fmla="*/ 71 h 137"/>
                <a:gd name="T30" fmla="*/ 68 w 111"/>
                <a:gd name="T31" fmla="*/ 71 h 137"/>
                <a:gd name="T32" fmla="*/ 56 w 111"/>
                <a:gd name="T33" fmla="*/ 88 h 137"/>
                <a:gd name="T34" fmla="*/ 42 w 111"/>
                <a:gd name="T35" fmla="*/ 88 h 137"/>
                <a:gd name="T36" fmla="*/ 52 w 111"/>
                <a:gd name="T37" fmla="*/ 92 h 137"/>
                <a:gd name="T38" fmla="*/ 73 w 111"/>
                <a:gd name="T39" fmla="*/ 88 h 137"/>
                <a:gd name="T40" fmla="*/ 89 w 111"/>
                <a:gd name="T41" fmla="*/ 88 h 137"/>
                <a:gd name="T42" fmla="*/ 94 w 111"/>
                <a:gd name="T43" fmla="*/ 92 h 137"/>
                <a:gd name="T44" fmla="*/ 73 w 111"/>
                <a:gd name="T45" fmla="*/ 126 h 137"/>
                <a:gd name="T46" fmla="*/ 73 w 111"/>
                <a:gd name="T47" fmla="*/ 126 h 137"/>
                <a:gd name="T48" fmla="*/ 73 w 111"/>
                <a:gd name="T49" fmla="*/ 12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1" h="137">
                  <a:moveTo>
                    <a:pt x="73" y="126"/>
                  </a:moveTo>
                  <a:lnTo>
                    <a:pt x="56" y="121"/>
                  </a:lnTo>
                  <a:lnTo>
                    <a:pt x="14" y="137"/>
                  </a:lnTo>
                  <a:lnTo>
                    <a:pt x="0" y="126"/>
                  </a:lnTo>
                  <a:lnTo>
                    <a:pt x="0" y="92"/>
                  </a:lnTo>
                  <a:lnTo>
                    <a:pt x="0" y="71"/>
                  </a:lnTo>
                  <a:lnTo>
                    <a:pt x="35" y="26"/>
                  </a:lnTo>
                  <a:lnTo>
                    <a:pt x="42" y="17"/>
                  </a:lnTo>
                  <a:lnTo>
                    <a:pt x="56" y="33"/>
                  </a:lnTo>
                  <a:lnTo>
                    <a:pt x="68" y="26"/>
                  </a:lnTo>
                  <a:lnTo>
                    <a:pt x="68" y="17"/>
                  </a:lnTo>
                  <a:lnTo>
                    <a:pt x="89" y="0"/>
                  </a:lnTo>
                  <a:lnTo>
                    <a:pt x="106" y="26"/>
                  </a:lnTo>
                  <a:lnTo>
                    <a:pt x="111" y="55"/>
                  </a:lnTo>
                  <a:lnTo>
                    <a:pt x="78" y="71"/>
                  </a:lnTo>
                  <a:lnTo>
                    <a:pt x="68" y="71"/>
                  </a:lnTo>
                  <a:lnTo>
                    <a:pt x="56" y="88"/>
                  </a:lnTo>
                  <a:lnTo>
                    <a:pt x="42" y="88"/>
                  </a:lnTo>
                  <a:lnTo>
                    <a:pt x="52" y="92"/>
                  </a:lnTo>
                  <a:lnTo>
                    <a:pt x="73" y="88"/>
                  </a:lnTo>
                  <a:lnTo>
                    <a:pt x="89" y="88"/>
                  </a:lnTo>
                  <a:lnTo>
                    <a:pt x="94" y="92"/>
                  </a:lnTo>
                  <a:lnTo>
                    <a:pt x="73" y="126"/>
                  </a:lnTo>
                  <a:lnTo>
                    <a:pt x="73" y="126"/>
                  </a:lnTo>
                  <a:lnTo>
                    <a:pt x="73" y="126"/>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0" name="Freeform 427">
              <a:extLst>
                <a:ext uri="{FF2B5EF4-FFF2-40B4-BE49-F238E27FC236}">
                  <a16:creationId xmlns:a16="http://schemas.microsoft.com/office/drawing/2014/main" id="{65A4F17A-DDE8-4D60-891C-A5D85367B67E}"/>
                </a:ext>
              </a:extLst>
            </p:cNvPr>
            <p:cNvSpPr>
              <a:spLocks/>
            </p:cNvSpPr>
            <p:nvPr/>
          </p:nvSpPr>
          <p:spPr bwMode="gray">
            <a:xfrm>
              <a:off x="3639225" y="4040922"/>
              <a:ext cx="9403" cy="12869"/>
            </a:xfrm>
            <a:custGeom>
              <a:avLst/>
              <a:gdLst>
                <a:gd name="T0" fmla="*/ 7 w 19"/>
                <a:gd name="T1" fmla="*/ 26 h 26"/>
                <a:gd name="T2" fmla="*/ 0 w 19"/>
                <a:gd name="T3" fmla="*/ 5 h 26"/>
                <a:gd name="T4" fmla="*/ 0 w 19"/>
                <a:gd name="T5" fmla="*/ 0 h 26"/>
                <a:gd name="T6" fmla="*/ 19 w 19"/>
                <a:gd name="T7" fmla="*/ 14 h 26"/>
                <a:gd name="T8" fmla="*/ 19 w 19"/>
                <a:gd name="T9" fmla="*/ 26 h 26"/>
                <a:gd name="T10" fmla="*/ 7 w 19"/>
                <a:gd name="T11" fmla="*/ 26 h 26"/>
                <a:gd name="T12" fmla="*/ 7 w 19"/>
                <a:gd name="T13" fmla="*/ 26 h 26"/>
                <a:gd name="T14" fmla="*/ 7 w 19"/>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26">
                  <a:moveTo>
                    <a:pt x="7" y="26"/>
                  </a:moveTo>
                  <a:lnTo>
                    <a:pt x="0" y="5"/>
                  </a:lnTo>
                  <a:lnTo>
                    <a:pt x="0" y="0"/>
                  </a:lnTo>
                  <a:lnTo>
                    <a:pt x="19" y="14"/>
                  </a:lnTo>
                  <a:lnTo>
                    <a:pt x="19" y="26"/>
                  </a:lnTo>
                  <a:lnTo>
                    <a:pt x="7" y="26"/>
                  </a:lnTo>
                  <a:lnTo>
                    <a:pt x="7" y="26"/>
                  </a:lnTo>
                  <a:lnTo>
                    <a:pt x="7" y="26"/>
                  </a:lnTo>
                  <a:close/>
                </a:path>
              </a:pathLst>
            </a:custGeom>
            <a:solidFill>
              <a:schemeClr val="accent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1" name="Freeform 428">
              <a:extLst>
                <a:ext uri="{FF2B5EF4-FFF2-40B4-BE49-F238E27FC236}">
                  <a16:creationId xmlns:a16="http://schemas.microsoft.com/office/drawing/2014/main" id="{75684A80-711C-417D-9B66-8ECA7B30D15E}"/>
                </a:ext>
              </a:extLst>
            </p:cNvPr>
            <p:cNvSpPr>
              <a:spLocks noEditPoints="1"/>
            </p:cNvSpPr>
            <p:nvPr/>
          </p:nvSpPr>
          <p:spPr bwMode="gray">
            <a:xfrm>
              <a:off x="3274501" y="3883038"/>
              <a:ext cx="127679" cy="90078"/>
            </a:xfrm>
            <a:custGeom>
              <a:avLst/>
              <a:gdLst>
                <a:gd name="T0" fmla="*/ 21 w 258"/>
                <a:gd name="T1" fmla="*/ 142 h 182"/>
                <a:gd name="T2" fmla="*/ 21 w 258"/>
                <a:gd name="T3" fmla="*/ 118 h 182"/>
                <a:gd name="T4" fmla="*/ 5 w 258"/>
                <a:gd name="T5" fmla="*/ 114 h 182"/>
                <a:gd name="T6" fmla="*/ 0 w 258"/>
                <a:gd name="T7" fmla="*/ 102 h 182"/>
                <a:gd name="T8" fmla="*/ 17 w 258"/>
                <a:gd name="T9" fmla="*/ 97 h 182"/>
                <a:gd name="T10" fmla="*/ 21 w 258"/>
                <a:gd name="T11" fmla="*/ 85 h 182"/>
                <a:gd name="T12" fmla="*/ 17 w 258"/>
                <a:gd name="T13" fmla="*/ 69 h 182"/>
                <a:gd name="T14" fmla="*/ 26 w 258"/>
                <a:gd name="T15" fmla="*/ 57 h 182"/>
                <a:gd name="T16" fmla="*/ 21 w 258"/>
                <a:gd name="T17" fmla="*/ 45 h 182"/>
                <a:gd name="T18" fmla="*/ 21 w 258"/>
                <a:gd name="T19" fmla="*/ 29 h 182"/>
                <a:gd name="T20" fmla="*/ 21 w 258"/>
                <a:gd name="T21" fmla="*/ 12 h 182"/>
                <a:gd name="T22" fmla="*/ 21 w 258"/>
                <a:gd name="T23" fmla="*/ 0 h 182"/>
                <a:gd name="T24" fmla="*/ 52 w 258"/>
                <a:gd name="T25" fmla="*/ 7 h 182"/>
                <a:gd name="T26" fmla="*/ 76 w 258"/>
                <a:gd name="T27" fmla="*/ 0 h 182"/>
                <a:gd name="T28" fmla="*/ 97 w 258"/>
                <a:gd name="T29" fmla="*/ 12 h 182"/>
                <a:gd name="T30" fmla="*/ 106 w 258"/>
                <a:gd name="T31" fmla="*/ 7 h 182"/>
                <a:gd name="T32" fmla="*/ 123 w 258"/>
                <a:gd name="T33" fmla="*/ 24 h 182"/>
                <a:gd name="T34" fmla="*/ 144 w 258"/>
                <a:gd name="T35" fmla="*/ 12 h 182"/>
                <a:gd name="T36" fmla="*/ 161 w 258"/>
                <a:gd name="T37" fmla="*/ 45 h 182"/>
                <a:gd name="T38" fmla="*/ 199 w 258"/>
                <a:gd name="T39" fmla="*/ 40 h 182"/>
                <a:gd name="T40" fmla="*/ 199 w 258"/>
                <a:gd name="T41" fmla="*/ 45 h 182"/>
                <a:gd name="T42" fmla="*/ 199 w 258"/>
                <a:gd name="T43" fmla="*/ 57 h 182"/>
                <a:gd name="T44" fmla="*/ 166 w 258"/>
                <a:gd name="T45" fmla="*/ 57 h 182"/>
                <a:gd name="T46" fmla="*/ 166 w 258"/>
                <a:gd name="T47" fmla="*/ 64 h 182"/>
                <a:gd name="T48" fmla="*/ 215 w 258"/>
                <a:gd name="T49" fmla="*/ 69 h 182"/>
                <a:gd name="T50" fmla="*/ 258 w 258"/>
                <a:gd name="T51" fmla="*/ 102 h 182"/>
                <a:gd name="T52" fmla="*/ 253 w 258"/>
                <a:gd name="T53" fmla="*/ 118 h 182"/>
                <a:gd name="T54" fmla="*/ 236 w 258"/>
                <a:gd name="T55" fmla="*/ 118 h 182"/>
                <a:gd name="T56" fmla="*/ 236 w 258"/>
                <a:gd name="T57" fmla="*/ 125 h 182"/>
                <a:gd name="T58" fmla="*/ 229 w 258"/>
                <a:gd name="T59" fmla="*/ 125 h 182"/>
                <a:gd name="T60" fmla="*/ 220 w 258"/>
                <a:gd name="T61" fmla="*/ 114 h 182"/>
                <a:gd name="T62" fmla="*/ 149 w 258"/>
                <a:gd name="T63" fmla="*/ 114 h 182"/>
                <a:gd name="T64" fmla="*/ 128 w 258"/>
                <a:gd name="T65" fmla="*/ 125 h 182"/>
                <a:gd name="T66" fmla="*/ 106 w 258"/>
                <a:gd name="T67" fmla="*/ 125 h 182"/>
                <a:gd name="T68" fmla="*/ 97 w 258"/>
                <a:gd name="T69" fmla="*/ 114 h 182"/>
                <a:gd name="T70" fmla="*/ 90 w 258"/>
                <a:gd name="T71" fmla="*/ 114 h 182"/>
                <a:gd name="T72" fmla="*/ 76 w 258"/>
                <a:gd name="T73" fmla="*/ 125 h 182"/>
                <a:gd name="T74" fmla="*/ 69 w 258"/>
                <a:gd name="T75" fmla="*/ 118 h 182"/>
                <a:gd name="T76" fmla="*/ 69 w 258"/>
                <a:gd name="T77" fmla="*/ 137 h 182"/>
                <a:gd name="T78" fmla="*/ 43 w 258"/>
                <a:gd name="T79" fmla="*/ 175 h 182"/>
                <a:gd name="T80" fmla="*/ 21 w 258"/>
                <a:gd name="T81" fmla="*/ 142 h 182"/>
                <a:gd name="T82" fmla="*/ 21 w 258"/>
                <a:gd name="T83" fmla="*/ 142 h 182"/>
                <a:gd name="T84" fmla="*/ 21 w 258"/>
                <a:gd name="T85" fmla="*/ 142 h 182"/>
                <a:gd name="T86" fmla="*/ 38 w 258"/>
                <a:gd name="T87" fmla="*/ 182 h 182"/>
                <a:gd name="T88" fmla="*/ 38 w 258"/>
                <a:gd name="T89" fmla="*/ 175 h 182"/>
                <a:gd name="T90" fmla="*/ 38 w 258"/>
                <a:gd name="T91" fmla="*/ 175 h 182"/>
                <a:gd name="T92" fmla="*/ 38 w 258"/>
                <a:gd name="T93" fmla="*/ 182 h 182"/>
                <a:gd name="T94" fmla="*/ 38 w 258"/>
                <a:gd name="T95" fmla="*/ 182 h 182"/>
                <a:gd name="T96" fmla="*/ 38 w 258"/>
                <a:gd name="T9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8" h="182">
                  <a:moveTo>
                    <a:pt x="21" y="142"/>
                  </a:moveTo>
                  <a:lnTo>
                    <a:pt x="21" y="118"/>
                  </a:lnTo>
                  <a:lnTo>
                    <a:pt x="5" y="114"/>
                  </a:lnTo>
                  <a:lnTo>
                    <a:pt x="0" y="102"/>
                  </a:lnTo>
                  <a:lnTo>
                    <a:pt x="17" y="97"/>
                  </a:lnTo>
                  <a:lnTo>
                    <a:pt x="21" y="85"/>
                  </a:lnTo>
                  <a:lnTo>
                    <a:pt x="17" y="69"/>
                  </a:lnTo>
                  <a:lnTo>
                    <a:pt x="26" y="57"/>
                  </a:lnTo>
                  <a:lnTo>
                    <a:pt x="21" y="45"/>
                  </a:lnTo>
                  <a:lnTo>
                    <a:pt x="21" y="29"/>
                  </a:lnTo>
                  <a:lnTo>
                    <a:pt x="21" y="12"/>
                  </a:lnTo>
                  <a:lnTo>
                    <a:pt x="21" y="0"/>
                  </a:lnTo>
                  <a:lnTo>
                    <a:pt x="52" y="7"/>
                  </a:lnTo>
                  <a:lnTo>
                    <a:pt x="76" y="0"/>
                  </a:lnTo>
                  <a:lnTo>
                    <a:pt x="97" y="12"/>
                  </a:lnTo>
                  <a:lnTo>
                    <a:pt x="106" y="7"/>
                  </a:lnTo>
                  <a:lnTo>
                    <a:pt x="123" y="24"/>
                  </a:lnTo>
                  <a:lnTo>
                    <a:pt x="144" y="12"/>
                  </a:lnTo>
                  <a:lnTo>
                    <a:pt x="161" y="45"/>
                  </a:lnTo>
                  <a:lnTo>
                    <a:pt x="199" y="40"/>
                  </a:lnTo>
                  <a:lnTo>
                    <a:pt x="199" y="45"/>
                  </a:lnTo>
                  <a:lnTo>
                    <a:pt x="199" y="57"/>
                  </a:lnTo>
                  <a:lnTo>
                    <a:pt x="166" y="57"/>
                  </a:lnTo>
                  <a:lnTo>
                    <a:pt x="166" y="64"/>
                  </a:lnTo>
                  <a:lnTo>
                    <a:pt x="215" y="69"/>
                  </a:lnTo>
                  <a:lnTo>
                    <a:pt x="258" y="102"/>
                  </a:lnTo>
                  <a:lnTo>
                    <a:pt x="253" y="118"/>
                  </a:lnTo>
                  <a:lnTo>
                    <a:pt x="236" y="118"/>
                  </a:lnTo>
                  <a:lnTo>
                    <a:pt x="236" y="125"/>
                  </a:lnTo>
                  <a:lnTo>
                    <a:pt x="229" y="125"/>
                  </a:lnTo>
                  <a:lnTo>
                    <a:pt x="220" y="114"/>
                  </a:lnTo>
                  <a:lnTo>
                    <a:pt x="149" y="114"/>
                  </a:lnTo>
                  <a:lnTo>
                    <a:pt x="128" y="125"/>
                  </a:lnTo>
                  <a:lnTo>
                    <a:pt x="106" y="125"/>
                  </a:lnTo>
                  <a:lnTo>
                    <a:pt x="97" y="114"/>
                  </a:lnTo>
                  <a:lnTo>
                    <a:pt x="90" y="114"/>
                  </a:lnTo>
                  <a:lnTo>
                    <a:pt x="76" y="125"/>
                  </a:lnTo>
                  <a:lnTo>
                    <a:pt x="69" y="118"/>
                  </a:lnTo>
                  <a:lnTo>
                    <a:pt x="69" y="137"/>
                  </a:lnTo>
                  <a:lnTo>
                    <a:pt x="43" y="175"/>
                  </a:lnTo>
                  <a:lnTo>
                    <a:pt x="21" y="142"/>
                  </a:lnTo>
                  <a:lnTo>
                    <a:pt x="21" y="142"/>
                  </a:lnTo>
                  <a:lnTo>
                    <a:pt x="21" y="142"/>
                  </a:lnTo>
                  <a:close/>
                  <a:moveTo>
                    <a:pt x="38" y="182"/>
                  </a:moveTo>
                  <a:lnTo>
                    <a:pt x="38" y="175"/>
                  </a:lnTo>
                  <a:lnTo>
                    <a:pt x="38" y="175"/>
                  </a:lnTo>
                  <a:lnTo>
                    <a:pt x="38" y="182"/>
                  </a:lnTo>
                  <a:lnTo>
                    <a:pt x="38" y="182"/>
                  </a:lnTo>
                  <a:lnTo>
                    <a:pt x="38" y="182"/>
                  </a:lnTo>
                  <a:close/>
                </a:path>
              </a:pathLst>
            </a:custGeom>
            <a:pattFill prst="nar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2" name="Freeform 429">
              <a:extLst>
                <a:ext uri="{FF2B5EF4-FFF2-40B4-BE49-F238E27FC236}">
                  <a16:creationId xmlns:a16="http://schemas.microsoft.com/office/drawing/2014/main" id="{B7B07E96-DBE3-4015-B7BB-1B6D7A3E772C}"/>
                </a:ext>
              </a:extLst>
            </p:cNvPr>
            <p:cNvSpPr>
              <a:spLocks noEditPoints="1"/>
            </p:cNvSpPr>
            <p:nvPr/>
          </p:nvSpPr>
          <p:spPr bwMode="gray">
            <a:xfrm>
              <a:off x="2593055" y="4554166"/>
              <a:ext cx="569108" cy="228164"/>
            </a:xfrm>
            <a:custGeom>
              <a:avLst/>
              <a:gdLst>
                <a:gd name="T0" fmla="*/ 966 w 1150"/>
                <a:gd name="T1" fmla="*/ 40 h 461"/>
                <a:gd name="T2" fmla="*/ 999 w 1150"/>
                <a:gd name="T3" fmla="*/ 57 h 461"/>
                <a:gd name="T4" fmla="*/ 1068 w 1150"/>
                <a:gd name="T5" fmla="*/ 78 h 461"/>
                <a:gd name="T6" fmla="*/ 1096 w 1150"/>
                <a:gd name="T7" fmla="*/ 78 h 461"/>
                <a:gd name="T8" fmla="*/ 1122 w 1150"/>
                <a:gd name="T9" fmla="*/ 111 h 461"/>
                <a:gd name="T10" fmla="*/ 1150 w 1150"/>
                <a:gd name="T11" fmla="*/ 168 h 461"/>
                <a:gd name="T12" fmla="*/ 1089 w 1150"/>
                <a:gd name="T13" fmla="*/ 255 h 461"/>
                <a:gd name="T14" fmla="*/ 945 w 1150"/>
                <a:gd name="T15" fmla="*/ 338 h 461"/>
                <a:gd name="T16" fmla="*/ 928 w 1150"/>
                <a:gd name="T17" fmla="*/ 371 h 461"/>
                <a:gd name="T18" fmla="*/ 895 w 1150"/>
                <a:gd name="T19" fmla="*/ 437 h 461"/>
                <a:gd name="T20" fmla="*/ 841 w 1150"/>
                <a:gd name="T21" fmla="*/ 421 h 461"/>
                <a:gd name="T22" fmla="*/ 787 w 1150"/>
                <a:gd name="T23" fmla="*/ 421 h 461"/>
                <a:gd name="T24" fmla="*/ 782 w 1150"/>
                <a:gd name="T25" fmla="*/ 404 h 461"/>
                <a:gd name="T26" fmla="*/ 803 w 1150"/>
                <a:gd name="T27" fmla="*/ 383 h 461"/>
                <a:gd name="T28" fmla="*/ 820 w 1150"/>
                <a:gd name="T29" fmla="*/ 333 h 461"/>
                <a:gd name="T30" fmla="*/ 836 w 1150"/>
                <a:gd name="T31" fmla="*/ 243 h 461"/>
                <a:gd name="T32" fmla="*/ 810 w 1150"/>
                <a:gd name="T33" fmla="*/ 284 h 461"/>
                <a:gd name="T34" fmla="*/ 798 w 1150"/>
                <a:gd name="T35" fmla="*/ 293 h 461"/>
                <a:gd name="T36" fmla="*/ 765 w 1150"/>
                <a:gd name="T37" fmla="*/ 255 h 461"/>
                <a:gd name="T38" fmla="*/ 765 w 1150"/>
                <a:gd name="T39" fmla="*/ 201 h 461"/>
                <a:gd name="T40" fmla="*/ 772 w 1150"/>
                <a:gd name="T41" fmla="*/ 168 h 461"/>
                <a:gd name="T42" fmla="*/ 787 w 1150"/>
                <a:gd name="T43" fmla="*/ 144 h 461"/>
                <a:gd name="T44" fmla="*/ 820 w 1150"/>
                <a:gd name="T45" fmla="*/ 73 h 461"/>
                <a:gd name="T46" fmla="*/ 891 w 1150"/>
                <a:gd name="T47" fmla="*/ 17 h 461"/>
                <a:gd name="T48" fmla="*/ 907 w 1150"/>
                <a:gd name="T49" fmla="*/ 0 h 461"/>
                <a:gd name="T50" fmla="*/ 895 w 1150"/>
                <a:gd name="T51" fmla="*/ 0 h 461"/>
                <a:gd name="T52" fmla="*/ 891 w 1150"/>
                <a:gd name="T53" fmla="*/ 7 h 461"/>
                <a:gd name="T54" fmla="*/ 80 w 1150"/>
                <a:gd name="T55" fmla="*/ 73 h 461"/>
                <a:gd name="T56" fmla="*/ 80 w 1150"/>
                <a:gd name="T57" fmla="*/ 78 h 461"/>
                <a:gd name="T58" fmla="*/ 14 w 1150"/>
                <a:gd name="T59" fmla="*/ 172 h 461"/>
                <a:gd name="T60" fmla="*/ 31 w 1150"/>
                <a:gd name="T61" fmla="*/ 151 h 461"/>
                <a:gd name="T62" fmla="*/ 14 w 1150"/>
                <a:gd name="T63" fmla="*/ 106 h 461"/>
                <a:gd name="T64" fmla="*/ 31 w 1150"/>
                <a:gd name="T65" fmla="*/ 106 h 461"/>
                <a:gd name="T66" fmla="*/ 47 w 1150"/>
                <a:gd name="T67" fmla="*/ 144 h 461"/>
                <a:gd name="T68" fmla="*/ 31 w 1150"/>
                <a:gd name="T69" fmla="*/ 172 h 461"/>
                <a:gd name="T70" fmla="*/ 69 w 1150"/>
                <a:gd name="T71" fmla="*/ 128 h 461"/>
                <a:gd name="T72" fmla="*/ 69 w 1150"/>
                <a:gd name="T73" fmla="*/ 118 h 461"/>
                <a:gd name="T74" fmla="*/ 69 w 1150"/>
                <a:gd name="T75" fmla="*/ 128 h 461"/>
                <a:gd name="T76" fmla="*/ 0 w 1150"/>
                <a:gd name="T77" fmla="*/ 128 h 461"/>
                <a:gd name="T78" fmla="*/ 9 w 1150"/>
                <a:gd name="T79" fmla="*/ 135 h 461"/>
                <a:gd name="T80" fmla="*/ 97 w 1150"/>
                <a:gd name="T81" fmla="*/ 161 h 461"/>
                <a:gd name="T82" fmla="*/ 102 w 1150"/>
                <a:gd name="T83" fmla="*/ 144 h 461"/>
                <a:gd name="T84" fmla="*/ 97 w 1150"/>
                <a:gd name="T85" fmla="*/ 161 h 461"/>
                <a:gd name="T86" fmla="*/ 139 w 1150"/>
                <a:gd name="T87" fmla="*/ 168 h 461"/>
                <a:gd name="T88" fmla="*/ 151 w 1150"/>
                <a:gd name="T89" fmla="*/ 168 h 461"/>
                <a:gd name="T90" fmla="*/ 85 w 1150"/>
                <a:gd name="T91" fmla="*/ 201 h 461"/>
                <a:gd name="T92" fmla="*/ 85 w 1150"/>
                <a:gd name="T93" fmla="*/ 189 h 461"/>
                <a:gd name="T94" fmla="*/ 85 w 1150"/>
                <a:gd name="T95" fmla="*/ 201 h 461"/>
                <a:gd name="T96" fmla="*/ 803 w 1150"/>
                <a:gd name="T97" fmla="*/ 293 h 461"/>
                <a:gd name="T98" fmla="*/ 803 w 1150"/>
                <a:gd name="T99" fmla="*/ 317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50" h="461">
                  <a:moveTo>
                    <a:pt x="907" y="0"/>
                  </a:moveTo>
                  <a:lnTo>
                    <a:pt x="950" y="33"/>
                  </a:lnTo>
                  <a:lnTo>
                    <a:pt x="966" y="40"/>
                  </a:lnTo>
                  <a:lnTo>
                    <a:pt x="983" y="40"/>
                  </a:lnTo>
                  <a:lnTo>
                    <a:pt x="983" y="50"/>
                  </a:lnTo>
                  <a:lnTo>
                    <a:pt x="999" y="57"/>
                  </a:lnTo>
                  <a:lnTo>
                    <a:pt x="1004" y="73"/>
                  </a:lnTo>
                  <a:lnTo>
                    <a:pt x="1058" y="90"/>
                  </a:lnTo>
                  <a:lnTo>
                    <a:pt x="1068" y="78"/>
                  </a:lnTo>
                  <a:lnTo>
                    <a:pt x="1068" y="73"/>
                  </a:lnTo>
                  <a:lnTo>
                    <a:pt x="1080" y="73"/>
                  </a:lnTo>
                  <a:lnTo>
                    <a:pt x="1096" y="78"/>
                  </a:lnTo>
                  <a:lnTo>
                    <a:pt x="1113" y="95"/>
                  </a:lnTo>
                  <a:lnTo>
                    <a:pt x="1150" y="111"/>
                  </a:lnTo>
                  <a:lnTo>
                    <a:pt x="1122" y="111"/>
                  </a:lnTo>
                  <a:lnTo>
                    <a:pt x="1150" y="144"/>
                  </a:lnTo>
                  <a:lnTo>
                    <a:pt x="1150" y="151"/>
                  </a:lnTo>
                  <a:lnTo>
                    <a:pt x="1150" y="168"/>
                  </a:lnTo>
                  <a:lnTo>
                    <a:pt x="1143" y="168"/>
                  </a:lnTo>
                  <a:lnTo>
                    <a:pt x="1127" y="217"/>
                  </a:lnTo>
                  <a:lnTo>
                    <a:pt x="1089" y="255"/>
                  </a:lnTo>
                  <a:lnTo>
                    <a:pt x="1051" y="284"/>
                  </a:lnTo>
                  <a:lnTo>
                    <a:pt x="966" y="317"/>
                  </a:lnTo>
                  <a:lnTo>
                    <a:pt x="945" y="338"/>
                  </a:lnTo>
                  <a:lnTo>
                    <a:pt x="945" y="354"/>
                  </a:lnTo>
                  <a:lnTo>
                    <a:pt x="933" y="350"/>
                  </a:lnTo>
                  <a:lnTo>
                    <a:pt x="928" y="371"/>
                  </a:lnTo>
                  <a:lnTo>
                    <a:pt x="912" y="411"/>
                  </a:lnTo>
                  <a:lnTo>
                    <a:pt x="912" y="428"/>
                  </a:lnTo>
                  <a:lnTo>
                    <a:pt x="895" y="437"/>
                  </a:lnTo>
                  <a:lnTo>
                    <a:pt x="879" y="461"/>
                  </a:lnTo>
                  <a:lnTo>
                    <a:pt x="862" y="461"/>
                  </a:lnTo>
                  <a:lnTo>
                    <a:pt x="841" y="421"/>
                  </a:lnTo>
                  <a:lnTo>
                    <a:pt x="824" y="421"/>
                  </a:lnTo>
                  <a:lnTo>
                    <a:pt x="803" y="411"/>
                  </a:lnTo>
                  <a:lnTo>
                    <a:pt x="787" y="421"/>
                  </a:lnTo>
                  <a:lnTo>
                    <a:pt x="782" y="421"/>
                  </a:lnTo>
                  <a:lnTo>
                    <a:pt x="798" y="404"/>
                  </a:lnTo>
                  <a:lnTo>
                    <a:pt x="782" y="404"/>
                  </a:lnTo>
                  <a:lnTo>
                    <a:pt x="782" y="387"/>
                  </a:lnTo>
                  <a:lnTo>
                    <a:pt x="798" y="387"/>
                  </a:lnTo>
                  <a:lnTo>
                    <a:pt x="803" y="383"/>
                  </a:lnTo>
                  <a:lnTo>
                    <a:pt x="798" y="350"/>
                  </a:lnTo>
                  <a:lnTo>
                    <a:pt x="798" y="338"/>
                  </a:lnTo>
                  <a:lnTo>
                    <a:pt x="820" y="333"/>
                  </a:lnTo>
                  <a:lnTo>
                    <a:pt x="836" y="284"/>
                  </a:lnTo>
                  <a:lnTo>
                    <a:pt x="824" y="272"/>
                  </a:lnTo>
                  <a:lnTo>
                    <a:pt x="836" y="243"/>
                  </a:lnTo>
                  <a:lnTo>
                    <a:pt x="824" y="255"/>
                  </a:lnTo>
                  <a:lnTo>
                    <a:pt x="824" y="284"/>
                  </a:lnTo>
                  <a:lnTo>
                    <a:pt x="810" y="284"/>
                  </a:lnTo>
                  <a:lnTo>
                    <a:pt x="820" y="272"/>
                  </a:lnTo>
                  <a:lnTo>
                    <a:pt x="820" y="272"/>
                  </a:lnTo>
                  <a:lnTo>
                    <a:pt x="798" y="293"/>
                  </a:lnTo>
                  <a:lnTo>
                    <a:pt x="756" y="272"/>
                  </a:lnTo>
                  <a:lnTo>
                    <a:pt x="749" y="255"/>
                  </a:lnTo>
                  <a:lnTo>
                    <a:pt x="765" y="255"/>
                  </a:lnTo>
                  <a:lnTo>
                    <a:pt x="765" y="239"/>
                  </a:lnTo>
                  <a:lnTo>
                    <a:pt x="756" y="217"/>
                  </a:lnTo>
                  <a:lnTo>
                    <a:pt x="765" y="201"/>
                  </a:lnTo>
                  <a:lnTo>
                    <a:pt x="749" y="172"/>
                  </a:lnTo>
                  <a:lnTo>
                    <a:pt x="756" y="168"/>
                  </a:lnTo>
                  <a:lnTo>
                    <a:pt x="772" y="168"/>
                  </a:lnTo>
                  <a:lnTo>
                    <a:pt x="787" y="144"/>
                  </a:lnTo>
                  <a:lnTo>
                    <a:pt x="798" y="144"/>
                  </a:lnTo>
                  <a:lnTo>
                    <a:pt x="787" y="144"/>
                  </a:lnTo>
                  <a:lnTo>
                    <a:pt x="782" y="128"/>
                  </a:lnTo>
                  <a:lnTo>
                    <a:pt x="810" y="95"/>
                  </a:lnTo>
                  <a:lnTo>
                    <a:pt x="820" y="73"/>
                  </a:lnTo>
                  <a:lnTo>
                    <a:pt x="810" y="50"/>
                  </a:lnTo>
                  <a:lnTo>
                    <a:pt x="810" y="40"/>
                  </a:lnTo>
                  <a:lnTo>
                    <a:pt x="891" y="17"/>
                  </a:lnTo>
                  <a:lnTo>
                    <a:pt x="907" y="0"/>
                  </a:lnTo>
                  <a:lnTo>
                    <a:pt x="907" y="0"/>
                  </a:lnTo>
                  <a:lnTo>
                    <a:pt x="907" y="0"/>
                  </a:lnTo>
                  <a:close/>
                  <a:moveTo>
                    <a:pt x="891" y="7"/>
                  </a:moveTo>
                  <a:lnTo>
                    <a:pt x="891" y="7"/>
                  </a:lnTo>
                  <a:lnTo>
                    <a:pt x="895" y="0"/>
                  </a:lnTo>
                  <a:lnTo>
                    <a:pt x="891" y="7"/>
                  </a:lnTo>
                  <a:lnTo>
                    <a:pt x="891" y="7"/>
                  </a:lnTo>
                  <a:lnTo>
                    <a:pt x="891" y="7"/>
                  </a:lnTo>
                  <a:close/>
                  <a:moveTo>
                    <a:pt x="80" y="78"/>
                  </a:moveTo>
                  <a:lnTo>
                    <a:pt x="80" y="78"/>
                  </a:lnTo>
                  <a:lnTo>
                    <a:pt x="80" y="73"/>
                  </a:lnTo>
                  <a:lnTo>
                    <a:pt x="85" y="78"/>
                  </a:lnTo>
                  <a:lnTo>
                    <a:pt x="80" y="78"/>
                  </a:lnTo>
                  <a:lnTo>
                    <a:pt x="80" y="78"/>
                  </a:lnTo>
                  <a:lnTo>
                    <a:pt x="80" y="78"/>
                  </a:lnTo>
                  <a:close/>
                  <a:moveTo>
                    <a:pt x="31" y="172"/>
                  </a:moveTo>
                  <a:lnTo>
                    <a:pt x="14" y="172"/>
                  </a:lnTo>
                  <a:lnTo>
                    <a:pt x="9" y="168"/>
                  </a:lnTo>
                  <a:lnTo>
                    <a:pt x="26" y="151"/>
                  </a:lnTo>
                  <a:lnTo>
                    <a:pt x="31" y="151"/>
                  </a:lnTo>
                  <a:lnTo>
                    <a:pt x="43" y="144"/>
                  </a:lnTo>
                  <a:lnTo>
                    <a:pt x="14" y="118"/>
                  </a:lnTo>
                  <a:lnTo>
                    <a:pt x="14" y="106"/>
                  </a:lnTo>
                  <a:lnTo>
                    <a:pt x="0" y="106"/>
                  </a:lnTo>
                  <a:lnTo>
                    <a:pt x="14" y="90"/>
                  </a:lnTo>
                  <a:lnTo>
                    <a:pt x="31" y="106"/>
                  </a:lnTo>
                  <a:lnTo>
                    <a:pt x="31" y="118"/>
                  </a:lnTo>
                  <a:lnTo>
                    <a:pt x="47" y="128"/>
                  </a:lnTo>
                  <a:lnTo>
                    <a:pt x="47" y="144"/>
                  </a:lnTo>
                  <a:lnTo>
                    <a:pt x="52" y="151"/>
                  </a:lnTo>
                  <a:lnTo>
                    <a:pt x="47" y="168"/>
                  </a:lnTo>
                  <a:lnTo>
                    <a:pt x="31" y="172"/>
                  </a:lnTo>
                  <a:lnTo>
                    <a:pt x="31" y="172"/>
                  </a:lnTo>
                  <a:lnTo>
                    <a:pt x="31" y="172"/>
                  </a:lnTo>
                  <a:close/>
                  <a:moveTo>
                    <a:pt x="69" y="128"/>
                  </a:moveTo>
                  <a:lnTo>
                    <a:pt x="52" y="128"/>
                  </a:lnTo>
                  <a:lnTo>
                    <a:pt x="52" y="111"/>
                  </a:lnTo>
                  <a:lnTo>
                    <a:pt x="69" y="118"/>
                  </a:lnTo>
                  <a:lnTo>
                    <a:pt x="80" y="118"/>
                  </a:lnTo>
                  <a:lnTo>
                    <a:pt x="69" y="128"/>
                  </a:lnTo>
                  <a:lnTo>
                    <a:pt x="69" y="128"/>
                  </a:lnTo>
                  <a:lnTo>
                    <a:pt x="69" y="128"/>
                  </a:lnTo>
                  <a:close/>
                  <a:moveTo>
                    <a:pt x="9" y="135"/>
                  </a:moveTo>
                  <a:lnTo>
                    <a:pt x="0" y="128"/>
                  </a:lnTo>
                  <a:lnTo>
                    <a:pt x="9" y="118"/>
                  </a:lnTo>
                  <a:lnTo>
                    <a:pt x="14" y="135"/>
                  </a:lnTo>
                  <a:lnTo>
                    <a:pt x="9" y="135"/>
                  </a:lnTo>
                  <a:lnTo>
                    <a:pt x="9" y="135"/>
                  </a:lnTo>
                  <a:lnTo>
                    <a:pt x="9" y="135"/>
                  </a:lnTo>
                  <a:close/>
                  <a:moveTo>
                    <a:pt x="97" y="161"/>
                  </a:moveTo>
                  <a:lnTo>
                    <a:pt x="80" y="151"/>
                  </a:lnTo>
                  <a:lnTo>
                    <a:pt x="80" y="135"/>
                  </a:lnTo>
                  <a:lnTo>
                    <a:pt x="102" y="144"/>
                  </a:lnTo>
                  <a:lnTo>
                    <a:pt x="102" y="151"/>
                  </a:lnTo>
                  <a:lnTo>
                    <a:pt x="97" y="161"/>
                  </a:lnTo>
                  <a:lnTo>
                    <a:pt x="97" y="161"/>
                  </a:lnTo>
                  <a:lnTo>
                    <a:pt x="97" y="161"/>
                  </a:lnTo>
                  <a:close/>
                  <a:moveTo>
                    <a:pt x="151" y="168"/>
                  </a:moveTo>
                  <a:lnTo>
                    <a:pt x="139" y="168"/>
                  </a:lnTo>
                  <a:lnTo>
                    <a:pt x="172" y="151"/>
                  </a:lnTo>
                  <a:lnTo>
                    <a:pt x="156" y="168"/>
                  </a:lnTo>
                  <a:lnTo>
                    <a:pt x="151" y="168"/>
                  </a:lnTo>
                  <a:lnTo>
                    <a:pt x="151" y="168"/>
                  </a:lnTo>
                  <a:lnTo>
                    <a:pt x="151" y="168"/>
                  </a:lnTo>
                  <a:close/>
                  <a:moveTo>
                    <a:pt x="85" y="201"/>
                  </a:moveTo>
                  <a:lnTo>
                    <a:pt x="80" y="189"/>
                  </a:lnTo>
                  <a:lnTo>
                    <a:pt x="80" y="189"/>
                  </a:lnTo>
                  <a:lnTo>
                    <a:pt x="85" y="189"/>
                  </a:lnTo>
                  <a:lnTo>
                    <a:pt x="85" y="201"/>
                  </a:lnTo>
                  <a:lnTo>
                    <a:pt x="85" y="201"/>
                  </a:lnTo>
                  <a:lnTo>
                    <a:pt x="85" y="201"/>
                  </a:lnTo>
                  <a:close/>
                  <a:moveTo>
                    <a:pt x="803" y="317"/>
                  </a:moveTo>
                  <a:lnTo>
                    <a:pt x="798" y="317"/>
                  </a:lnTo>
                  <a:lnTo>
                    <a:pt x="803" y="293"/>
                  </a:lnTo>
                  <a:lnTo>
                    <a:pt x="820" y="293"/>
                  </a:lnTo>
                  <a:lnTo>
                    <a:pt x="824" y="293"/>
                  </a:lnTo>
                  <a:lnTo>
                    <a:pt x="803" y="317"/>
                  </a:lnTo>
                  <a:lnTo>
                    <a:pt x="803" y="317"/>
                  </a:lnTo>
                  <a:lnTo>
                    <a:pt x="803" y="317"/>
                  </a:lnTo>
                  <a:close/>
                </a:path>
              </a:pathLst>
            </a:custGeom>
            <a:pattFill prst="dk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3" name="Freeform 430">
              <a:extLst>
                <a:ext uri="{FF2B5EF4-FFF2-40B4-BE49-F238E27FC236}">
                  <a16:creationId xmlns:a16="http://schemas.microsoft.com/office/drawing/2014/main" id="{9D6655CB-6CF6-4793-A245-E6D48C3C6BB4}"/>
                </a:ext>
              </a:extLst>
            </p:cNvPr>
            <p:cNvSpPr>
              <a:spLocks/>
            </p:cNvSpPr>
            <p:nvPr/>
          </p:nvSpPr>
          <p:spPr bwMode="gray">
            <a:xfrm>
              <a:off x="6634221" y="3437599"/>
              <a:ext cx="418666" cy="367240"/>
            </a:xfrm>
            <a:custGeom>
              <a:avLst/>
              <a:gdLst>
                <a:gd name="T0" fmla="*/ 468 w 846"/>
                <a:gd name="T1" fmla="*/ 742 h 742"/>
                <a:gd name="T2" fmla="*/ 468 w 846"/>
                <a:gd name="T3" fmla="*/ 725 h 742"/>
                <a:gd name="T4" fmla="*/ 17 w 846"/>
                <a:gd name="T5" fmla="*/ 742 h 742"/>
                <a:gd name="T6" fmla="*/ 17 w 846"/>
                <a:gd name="T7" fmla="*/ 189 h 742"/>
                <a:gd name="T8" fmla="*/ 17 w 846"/>
                <a:gd name="T9" fmla="*/ 66 h 742"/>
                <a:gd name="T10" fmla="*/ 31 w 846"/>
                <a:gd name="T11" fmla="*/ 0 h 742"/>
                <a:gd name="T12" fmla="*/ 38 w 846"/>
                <a:gd name="T13" fmla="*/ 10 h 742"/>
                <a:gd name="T14" fmla="*/ 177 w 846"/>
                <a:gd name="T15" fmla="*/ 21 h 742"/>
                <a:gd name="T16" fmla="*/ 198 w 846"/>
                <a:gd name="T17" fmla="*/ 38 h 742"/>
                <a:gd name="T18" fmla="*/ 224 w 846"/>
                <a:gd name="T19" fmla="*/ 45 h 742"/>
                <a:gd name="T20" fmla="*/ 300 w 846"/>
                <a:gd name="T21" fmla="*/ 62 h 742"/>
                <a:gd name="T22" fmla="*/ 371 w 846"/>
                <a:gd name="T23" fmla="*/ 21 h 742"/>
                <a:gd name="T24" fmla="*/ 387 w 846"/>
                <a:gd name="T25" fmla="*/ 29 h 742"/>
                <a:gd name="T26" fmla="*/ 404 w 846"/>
                <a:gd name="T27" fmla="*/ 10 h 742"/>
                <a:gd name="T28" fmla="*/ 409 w 846"/>
                <a:gd name="T29" fmla="*/ 21 h 742"/>
                <a:gd name="T30" fmla="*/ 446 w 846"/>
                <a:gd name="T31" fmla="*/ 10 h 742"/>
                <a:gd name="T32" fmla="*/ 480 w 846"/>
                <a:gd name="T33" fmla="*/ 10 h 742"/>
                <a:gd name="T34" fmla="*/ 522 w 846"/>
                <a:gd name="T35" fmla="*/ 29 h 742"/>
                <a:gd name="T36" fmla="*/ 494 w 846"/>
                <a:gd name="T37" fmla="*/ 29 h 742"/>
                <a:gd name="T38" fmla="*/ 510 w 846"/>
                <a:gd name="T39" fmla="*/ 29 h 742"/>
                <a:gd name="T40" fmla="*/ 532 w 846"/>
                <a:gd name="T41" fmla="*/ 38 h 742"/>
                <a:gd name="T42" fmla="*/ 555 w 846"/>
                <a:gd name="T43" fmla="*/ 45 h 742"/>
                <a:gd name="T44" fmla="*/ 586 w 846"/>
                <a:gd name="T45" fmla="*/ 45 h 742"/>
                <a:gd name="T46" fmla="*/ 628 w 846"/>
                <a:gd name="T47" fmla="*/ 38 h 742"/>
                <a:gd name="T48" fmla="*/ 673 w 846"/>
                <a:gd name="T49" fmla="*/ 29 h 742"/>
                <a:gd name="T50" fmla="*/ 699 w 846"/>
                <a:gd name="T51" fmla="*/ 177 h 742"/>
                <a:gd name="T52" fmla="*/ 678 w 846"/>
                <a:gd name="T53" fmla="*/ 260 h 742"/>
                <a:gd name="T54" fmla="*/ 661 w 846"/>
                <a:gd name="T55" fmla="*/ 305 h 742"/>
                <a:gd name="T56" fmla="*/ 591 w 846"/>
                <a:gd name="T57" fmla="*/ 244 h 742"/>
                <a:gd name="T58" fmla="*/ 565 w 846"/>
                <a:gd name="T59" fmla="*/ 170 h 742"/>
                <a:gd name="T60" fmla="*/ 532 w 846"/>
                <a:gd name="T61" fmla="*/ 166 h 742"/>
                <a:gd name="T62" fmla="*/ 555 w 846"/>
                <a:gd name="T63" fmla="*/ 222 h 742"/>
                <a:gd name="T64" fmla="*/ 619 w 846"/>
                <a:gd name="T65" fmla="*/ 288 h 742"/>
                <a:gd name="T66" fmla="*/ 607 w 846"/>
                <a:gd name="T67" fmla="*/ 298 h 742"/>
                <a:gd name="T68" fmla="*/ 640 w 846"/>
                <a:gd name="T69" fmla="*/ 343 h 742"/>
                <a:gd name="T70" fmla="*/ 645 w 846"/>
                <a:gd name="T71" fmla="*/ 388 h 742"/>
                <a:gd name="T72" fmla="*/ 725 w 846"/>
                <a:gd name="T73" fmla="*/ 553 h 742"/>
                <a:gd name="T74" fmla="*/ 754 w 846"/>
                <a:gd name="T75" fmla="*/ 598 h 742"/>
                <a:gd name="T76" fmla="*/ 763 w 846"/>
                <a:gd name="T77" fmla="*/ 671 h 742"/>
                <a:gd name="T78" fmla="*/ 801 w 846"/>
                <a:gd name="T79" fmla="*/ 692 h 742"/>
                <a:gd name="T80" fmla="*/ 846 w 846"/>
                <a:gd name="T81" fmla="*/ 742 h 742"/>
                <a:gd name="T82" fmla="*/ 846 w 846"/>
                <a:gd name="T83" fmla="*/ 74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6" h="742">
                  <a:moveTo>
                    <a:pt x="846" y="742"/>
                  </a:moveTo>
                  <a:lnTo>
                    <a:pt x="468" y="742"/>
                  </a:lnTo>
                  <a:lnTo>
                    <a:pt x="480" y="737"/>
                  </a:lnTo>
                  <a:lnTo>
                    <a:pt x="468" y="725"/>
                  </a:lnTo>
                  <a:lnTo>
                    <a:pt x="458" y="742"/>
                  </a:lnTo>
                  <a:lnTo>
                    <a:pt x="17" y="742"/>
                  </a:lnTo>
                  <a:lnTo>
                    <a:pt x="17" y="314"/>
                  </a:lnTo>
                  <a:lnTo>
                    <a:pt x="17" y="189"/>
                  </a:lnTo>
                  <a:lnTo>
                    <a:pt x="0" y="116"/>
                  </a:lnTo>
                  <a:lnTo>
                    <a:pt x="17" y="66"/>
                  </a:lnTo>
                  <a:lnTo>
                    <a:pt x="9" y="21"/>
                  </a:lnTo>
                  <a:lnTo>
                    <a:pt x="31" y="0"/>
                  </a:lnTo>
                  <a:lnTo>
                    <a:pt x="31" y="5"/>
                  </a:lnTo>
                  <a:lnTo>
                    <a:pt x="38" y="10"/>
                  </a:lnTo>
                  <a:lnTo>
                    <a:pt x="85" y="0"/>
                  </a:lnTo>
                  <a:lnTo>
                    <a:pt x="177" y="21"/>
                  </a:lnTo>
                  <a:lnTo>
                    <a:pt x="189" y="29"/>
                  </a:lnTo>
                  <a:lnTo>
                    <a:pt x="198" y="38"/>
                  </a:lnTo>
                  <a:lnTo>
                    <a:pt x="215" y="29"/>
                  </a:lnTo>
                  <a:lnTo>
                    <a:pt x="224" y="45"/>
                  </a:lnTo>
                  <a:lnTo>
                    <a:pt x="253" y="45"/>
                  </a:lnTo>
                  <a:lnTo>
                    <a:pt x="300" y="62"/>
                  </a:lnTo>
                  <a:lnTo>
                    <a:pt x="333" y="55"/>
                  </a:lnTo>
                  <a:lnTo>
                    <a:pt x="371" y="21"/>
                  </a:lnTo>
                  <a:lnTo>
                    <a:pt x="376" y="29"/>
                  </a:lnTo>
                  <a:lnTo>
                    <a:pt x="387" y="29"/>
                  </a:lnTo>
                  <a:lnTo>
                    <a:pt x="392" y="5"/>
                  </a:lnTo>
                  <a:lnTo>
                    <a:pt x="404" y="10"/>
                  </a:lnTo>
                  <a:lnTo>
                    <a:pt x="442" y="5"/>
                  </a:lnTo>
                  <a:lnTo>
                    <a:pt x="409" y="21"/>
                  </a:lnTo>
                  <a:lnTo>
                    <a:pt x="430" y="10"/>
                  </a:lnTo>
                  <a:lnTo>
                    <a:pt x="446" y="10"/>
                  </a:lnTo>
                  <a:lnTo>
                    <a:pt x="442" y="5"/>
                  </a:lnTo>
                  <a:lnTo>
                    <a:pt x="480" y="10"/>
                  </a:lnTo>
                  <a:lnTo>
                    <a:pt x="501" y="5"/>
                  </a:lnTo>
                  <a:lnTo>
                    <a:pt x="522" y="29"/>
                  </a:lnTo>
                  <a:lnTo>
                    <a:pt x="501" y="5"/>
                  </a:lnTo>
                  <a:lnTo>
                    <a:pt x="494" y="29"/>
                  </a:lnTo>
                  <a:lnTo>
                    <a:pt x="501" y="38"/>
                  </a:lnTo>
                  <a:lnTo>
                    <a:pt x="510" y="29"/>
                  </a:lnTo>
                  <a:lnTo>
                    <a:pt x="517" y="45"/>
                  </a:lnTo>
                  <a:lnTo>
                    <a:pt x="532" y="38"/>
                  </a:lnTo>
                  <a:lnTo>
                    <a:pt x="522" y="29"/>
                  </a:lnTo>
                  <a:lnTo>
                    <a:pt x="555" y="45"/>
                  </a:lnTo>
                  <a:lnTo>
                    <a:pt x="586" y="38"/>
                  </a:lnTo>
                  <a:lnTo>
                    <a:pt x="586" y="45"/>
                  </a:lnTo>
                  <a:lnTo>
                    <a:pt x="607" y="38"/>
                  </a:lnTo>
                  <a:lnTo>
                    <a:pt x="628" y="38"/>
                  </a:lnTo>
                  <a:lnTo>
                    <a:pt x="661" y="21"/>
                  </a:lnTo>
                  <a:lnTo>
                    <a:pt x="673" y="29"/>
                  </a:lnTo>
                  <a:lnTo>
                    <a:pt x="711" y="170"/>
                  </a:lnTo>
                  <a:lnTo>
                    <a:pt x="699" y="177"/>
                  </a:lnTo>
                  <a:lnTo>
                    <a:pt x="695" y="227"/>
                  </a:lnTo>
                  <a:lnTo>
                    <a:pt x="678" y="260"/>
                  </a:lnTo>
                  <a:lnTo>
                    <a:pt x="678" y="281"/>
                  </a:lnTo>
                  <a:lnTo>
                    <a:pt x="661" y="305"/>
                  </a:lnTo>
                  <a:lnTo>
                    <a:pt x="628" y="281"/>
                  </a:lnTo>
                  <a:lnTo>
                    <a:pt x="591" y="244"/>
                  </a:lnTo>
                  <a:lnTo>
                    <a:pt x="591" y="206"/>
                  </a:lnTo>
                  <a:lnTo>
                    <a:pt x="565" y="170"/>
                  </a:lnTo>
                  <a:lnTo>
                    <a:pt x="548" y="121"/>
                  </a:lnTo>
                  <a:lnTo>
                    <a:pt x="532" y="166"/>
                  </a:lnTo>
                  <a:lnTo>
                    <a:pt x="548" y="177"/>
                  </a:lnTo>
                  <a:lnTo>
                    <a:pt x="555" y="222"/>
                  </a:lnTo>
                  <a:lnTo>
                    <a:pt x="586" y="265"/>
                  </a:lnTo>
                  <a:lnTo>
                    <a:pt x="619" y="288"/>
                  </a:lnTo>
                  <a:lnTo>
                    <a:pt x="619" y="298"/>
                  </a:lnTo>
                  <a:lnTo>
                    <a:pt x="607" y="298"/>
                  </a:lnTo>
                  <a:lnTo>
                    <a:pt x="607" y="314"/>
                  </a:lnTo>
                  <a:lnTo>
                    <a:pt x="640" y="343"/>
                  </a:lnTo>
                  <a:lnTo>
                    <a:pt x="645" y="371"/>
                  </a:lnTo>
                  <a:lnTo>
                    <a:pt x="645" y="388"/>
                  </a:lnTo>
                  <a:lnTo>
                    <a:pt x="683" y="466"/>
                  </a:lnTo>
                  <a:lnTo>
                    <a:pt x="725" y="553"/>
                  </a:lnTo>
                  <a:lnTo>
                    <a:pt x="780" y="598"/>
                  </a:lnTo>
                  <a:lnTo>
                    <a:pt x="754" y="598"/>
                  </a:lnTo>
                  <a:lnTo>
                    <a:pt x="754" y="631"/>
                  </a:lnTo>
                  <a:lnTo>
                    <a:pt x="763" y="671"/>
                  </a:lnTo>
                  <a:lnTo>
                    <a:pt x="780" y="688"/>
                  </a:lnTo>
                  <a:lnTo>
                    <a:pt x="801" y="692"/>
                  </a:lnTo>
                  <a:lnTo>
                    <a:pt x="824" y="721"/>
                  </a:lnTo>
                  <a:lnTo>
                    <a:pt x="846" y="742"/>
                  </a:lnTo>
                  <a:lnTo>
                    <a:pt x="846" y="742"/>
                  </a:lnTo>
                  <a:lnTo>
                    <a:pt x="846" y="742"/>
                  </a:lnTo>
                  <a:close/>
                </a:path>
              </a:pathLst>
            </a:custGeom>
            <a:pattFill prst="wd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4" name="Freeform 431">
              <a:extLst>
                <a:ext uri="{FF2B5EF4-FFF2-40B4-BE49-F238E27FC236}">
                  <a16:creationId xmlns:a16="http://schemas.microsoft.com/office/drawing/2014/main" id="{6064B4F7-44AE-4C77-B97B-1E8181B7C2DE}"/>
                </a:ext>
              </a:extLst>
            </p:cNvPr>
            <p:cNvSpPr>
              <a:spLocks noEditPoints="1"/>
            </p:cNvSpPr>
            <p:nvPr/>
          </p:nvSpPr>
          <p:spPr bwMode="gray">
            <a:xfrm>
              <a:off x="5412865" y="2397253"/>
              <a:ext cx="150442" cy="190549"/>
            </a:xfrm>
            <a:custGeom>
              <a:avLst/>
              <a:gdLst>
                <a:gd name="T0" fmla="*/ 198 w 304"/>
                <a:gd name="T1" fmla="*/ 59 h 385"/>
                <a:gd name="T2" fmla="*/ 193 w 304"/>
                <a:gd name="T3" fmla="*/ 75 h 385"/>
                <a:gd name="T4" fmla="*/ 181 w 304"/>
                <a:gd name="T5" fmla="*/ 116 h 385"/>
                <a:gd name="T6" fmla="*/ 236 w 304"/>
                <a:gd name="T7" fmla="*/ 92 h 385"/>
                <a:gd name="T8" fmla="*/ 288 w 304"/>
                <a:gd name="T9" fmla="*/ 125 h 385"/>
                <a:gd name="T10" fmla="*/ 283 w 304"/>
                <a:gd name="T11" fmla="*/ 132 h 385"/>
                <a:gd name="T12" fmla="*/ 304 w 304"/>
                <a:gd name="T13" fmla="*/ 182 h 385"/>
                <a:gd name="T14" fmla="*/ 304 w 304"/>
                <a:gd name="T15" fmla="*/ 220 h 385"/>
                <a:gd name="T16" fmla="*/ 288 w 304"/>
                <a:gd name="T17" fmla="*/ 264 h 385"/>
                <a:gd name="T18" fmla="*/ 274 w 304"/>
                <a:gd name="T19" fmla="*/ 298 h 385"/>
                <a:gd name="T20" fmla="*/ 283 w 304"/>
                <a:gd name="T21" fmla="*/ 314 h 385"/>
                <a:gd name="T22" fmla="*/ 236 w 304"/>
                <a:gd name="T23" fmla="*/ 298 h 385"/>
                <a:gd name="T24" fmla="*/ 198 w 304"/>
                <a:gd name="T25" fmla="*/ 319 h 385"/>
                <a:gd name="T26" fmla="*/ 181 w 304"/>
                <a:gd name="T27" fmla="*/ 331 h 385"/>
                <a:gd name="T28" fmla="*/ 160 w 304"/>
                <a:gd name="T29" fmla="*/ 347 h 385"/>
                <a:gd name="T30" fmla="*/ 155 w 304"/>
                <a:gd name="T31" fmla="*/ 335 h 385"/>
                <a:gd name="T32" fmla="*/ 144 w 304"/>
                <a:gd name="T33" fmla="*/ 335 h 385"/>
                <a:gd name="T34" fmla="*/ 122 w 304"/>
                <a:gd name="T35" fmla="*/ 368 h 385"/>
                <a:gd name="T36" fmla="*/ 70 w 304"/>
                <a:gd name="T37" fmla="*/ 373 h 385"/>
                <a:gd name="T38" fmla="*/ 59 w 304"/>
                <a:gd name="T39" fmla="*/ 368 h 385"/>
                <a:gd name="T40" fmla="*/ 70 w 304"/>
                <a:gd name="T41" fmla="*/ 364 h 385"/>
                <a:gd name="T42" fmla="*/ 21 w 304"/>
                <a:gd name="T43" fmla="*/ 368 h 385"/>
                <a:gd name="T44" fmla="*/ 21 w 304"/>
                <a:gd name="T45" fmla="*/ 352 h 385"/>
                <a:gd name="T46" fmla="*/ 4 w 304"/>
                <a:gd name="T47" fmla="*/ 352 h 385"/>
                <a:gd name="T48" fmla="*/ 16 w 304"/>
                <a:gd name="T49" fmla="*/ 331 h 385"/>
                <a:gd name="T50" fmla="*/ 0 w 304"/>
                <a:gd name="T51" fmla="*/ 319 h 385"/>
                <a:gd name="T52" fmla="*/ 21 w 304"/>
                <a:gd name="T53" fmla="*/ 298 h 385"/>
                <a:gd name="T54" fmla="*/ 49 w 304"/>
                <a:gd name="T55" fmla="*/ 290 h 385"/>
                <a:gd name="T56" fmla="*/ 113 w 304"/>
                <a:gd name="T57" fmla="*/ 264 h 385"/>
                <a:gd name="T58" fmla="*/ 92 w 304"/>
                <a:gd name="T59" fmla="*/ 264 h 385"/>
                <a:gd name="T60" fmla="*/ 70 w 304"/>
                <a:gd name="T61" fmla="*/ 253 h 385"/>
                <a:gd name="T62" fmla="*/ 70 w 304"/>
                <a:gd name="T63" fmla="*/ 236 h 385"/>
                <a:gd name="T64" fmla="*/ 106 w 304"/>
                <a:gd name="T65" fmla="*/ 220 h 385"/>
                <a:gd name="T66" fmla="*/ 59 w 304"/>
                <a:gd name="T67" fmla="*/ 208 h 385"/>
                <a:gd name="T68" fmla="*/ 49 w 304"/>
                <a:gd name="T69" fmla="*/ 203 h 385"/>
                <a:gd name="T70" fmla="*/ 49 w 304"/>
                <a:gd name="T71" fmla="*/ 187 h 385"/>
                <a:gd name="T72" fmla="*/ 16 w 304"/>
                <a:gd name="T73" fmla="*/ 182 h 385"/>
                <a:gd name="T74" fmla="*/ 37 w 304"/>
                <a:gd name="T75" fmla="*/ 170 h 385"/>
                <a:gd name="T76" fmla="*/ 59 w 304"/>
                <a:gd name="T77" fmla="*/ 153 h 385"/>
                <a:gd name="T78" fmla="*/ 37 w 304"/>
                <a:gd name="T79" fmla="*/ 149 h 385"/>
                <a:gd name="T80" fmla="*/ 49 w 304"/>
                <a:gd name="T81" fmla="*/ 142 h 385"/>
                <a:gd name="T82" fmla="*/ 21 w 304"/>
                <a:gd name="T83" fmla="*/ 125 h 385"/>
                <a:gd name="T84" fmla="*/ 33 w 304"/>
                <a:gd name="T85" fmla="*/ 99 h 385"/>
                <a:gd name="T86" fmla="*/ 49 w 304"/>
                <a:gd name="T87" fmla="*/ 99 h 385"/>
                <a:gd name="T88" fmla="*/ 92 w 304"/>
                <a:gd name="T89" fmla="*/ 116 h 385"/>
                <a:gd name="T90" fmla="*/ 139 w 304"/>
                <a:gd name="T91" fmla="*/ 109 h 385"/>
                <a:gd name="T92" fmla="*/ 155 w 304"/>
                <a:gd name="T93" fmla="*/ 87 h 385"/>
                <a:gd name="T94" fmla="*/ 127 w 304"/>
                <a:gd name="T95" fmla="*/ 75 h 385"/>
                <a:gd name="T96" fmla="*/ 144 w 304"/>
                <a:gd name="T97" fmla="*/ 42 h 385"/>
                <a:gd name="T98" fmla="*/ 144 w 304"/>
                <a:gd name="T99" fmla="*/ 38 h 385"/>
                <a:gd name="T100" fmla="*/ 144 w 304"/>
                <a:gd name="T101" fmla="*/ 21 h 385"/>
                <a:gd name="T102" fmla="*/ 193 w 304"/>
                <a:gd name="T103" fmla="*/ 33 h 385"/>
                <a:gd name="T104" fmla="*/ 181 w 304"/>
                <a:gd name="T105" fmla="*/ 16 h 385"/>
                <a:gd name="T106" fmla="*/ 207 w 304"/>
                <a:gd name="T107" fmla="*/ 21 h 385"/>
                <a:gd name="T108" fmla="*/ 207 w 304"/>
                <a:gd name="T109" fmla="*/ 33 h 385"/>
                <a:gd name="T110" fmla="*/ 215 w 304"/>
                <a:gd name="T111" fmla="*/ 5 h 385"/>
                <a:gd name="T112" fmla="*/ 245 w 304"/>
                <a:gd name="T113" fmla="*/ 16 h 385"/>
                <a:gd name="T114" fmla="*/ 219 w 304"/>
                <a:gd name="T115" fmla="*/ 33 h 385"/>
                <a:gd name="T116" fmla="*/ 21 w 304"/>
                <a:gd name="T117" fmla="*/ 132 h 385"/>
                <a:gd name="T118" fmla="*/ 37 w 304"/>
                <a:gd name="T119" fmla="*/ 149 h 385"/>
                <a:gd name="T120" fmla="*/ 21 w 304"/>
                <a:gd name="T121" fmla="*/ 132 h 385"/>
                <a:gd name="T122" fmla="*/ 21 w 304"/>
                <a:gd name="T123" fmla="*/ 132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4" h="385">
                  <a:moveTo>
                    <a:pt x="219" y="33"/>
                  </a:moveTo>
                  <a:lnTo>
                    <a:pt x="198" y="59"/>
                  </a:lnTo>
                  <a:lnTo>
                    <a:pt x="177" y="71"/>
                  </a:lnTo>
                  <a:lnTo>
                    <a:pt x="193" y="75"/>
                  </a:lnTo>
                  <a:lnTo>
                    <a:pt x="160" y="92"/>
                  </a:lnTo>
                  <a:lnTo>
                    <a:pt x="181" y="116"/>
                  </a:lnTo>
                  <a:lnTo>
                    <a:pt x="219" y="125"/>
                  </a:lnTo>
                  <a:lnTo>
                    <a:pt x="236" y="92"/>
                  </a:lnTo>
                  <a:lnTo>
                    <a:pt x="266" y="132"/>
                  </a:lnTo>
                  <a:lnTo>
                    <a:pt x="288" y="125"/>
                  </a:lnTo>
                  <a:lnTo>
                    <a:pt x="304" y="132"/>
                  </a:lnTo>
                  <a:lnTo>
                    <a:pt x="283" y="132"/>
                  </a:lnTo>
                  <a:lnTo>
                    <a:pt x="283" y="142"/>
                  </a:lnTo>
                  <a:lnTo>
                    <a:pt x="304" y="182"/>
                  </a:lnTo>
                  <a:lnTo>
                    <a:pt x="288" y="198"/>
                  </a:lnTo>
                  <a:lnTo>
                    <a:pt x="304" y="220"/>
                  </a:lnTo>
                  <a:lnTo>
                    <a:pt x="304" y="236"/>
                  </a:lnTo>
                  <a:lnTo>
                    <a:pt x="288" y="264"/>
                  </a:lnTo>
                  <a:lnTo>
                    <a:pt x="300" y="274"/>
                  </a:lnTo>
                  <a:lnTo>
                    <a:pt x="274" y="298"/>
                  </a:lnTo>
                  <a:lnTo>
                    <a:pt x="288" y="307"/>
                  </a:lnTo>
                  <a:lnTo>
                    <a:pt x="283" y="314"/>
                  </a:lnTo>
                  <a:lnTo>
                    <a:pt x="245" y="314"/>
                  </a:lnTo>
                  <a:lnTo>
                    <a:pt x="236" y="298"/>
                  </a:lnTo>
                  <a:lnTo>
                    <a:pt x="236" y="314"/>
                  </a:lnTo>
                  <a:lnTo>
                    <a:pt x="198" y="319"/>
                  </a:lnTo>
                  <a:lnTo>
                    <a:pt x="198" y="331"/>
                  </a:lnTo>
                  <a:lnTo>
                    <a:pt x="181" y="331"/>
                  </a:lnTo>
                  <a:lnTo>
                    <a:pt x="177" y="335"/>
                  </a:lnTo>
                  <a:lnTo>
                    <a:pt x="160" y="347"/>
                  </a:lnTo>
                  <a:lnTo>
                    <a:pt x="155" y="347"/>
                  </a:lnTo>
                  <a:lnTo>
                    <a:pt x="155" y="335"/>
                  </a:lnTo>
                  <a:lnTo>
                    <a:pt x="139" y="335"/>
                  </a:lnTo>
                  <a:lnTo>
                    <a:pt x="144" y="335"/>
                  </a:lnTo>
                  <a:lnTo>
                    <a:pt x="144" y="352"/>
                  </a:lnTo>
                  <a:lnTo>
                    <a:pt x="122" y="368"/>
                  </a:lnTo>
                  <a:lnTo>
                    <a:pt x="85" y="373"/>
                  </a:lnTo>
                  <a:lnTo>
                    <a:pt x="70" y="373"/>
                  </a:lnTo>
                  <a:lnTo>
                    <a:pt x="49" y="385"/>
                  </a:lnTo>
                  <a:lnTo>
                    <a:pt x="59" y="368"/>
                  </a:lnTo>
                  <a:lnTo>
                    <a:pt x="49" y="368"/>
                  </a:lnTo>
                  <a:lnTo>
                    <a:pt x="70" y="364"/>
                  </a:lnTo>
                  <a:lnTo>
                    <a:pt x="59" y="352"/>
                  </a:lnTo>
                  <a:lnTo>
                    <a:pt x="21" y="368"/>
                  </a:lnTo>
                  <a:lnTo>
                    <a:pt x="59" y="335"/>
                  </a:lnTo>
                  <a:lnTo>
                    <a:pt x="21" y="352"/>
                  </a:lnTo>
                  <a:lnTo>
                    <a:pt x="16" y="347"/>
                  </a:lnTo>
                  <a:lnTo>
                    <a:pt x="4" y="352"/>
                  </a:lnTo>
                  <a:lnTo>
                    <a:pt x="4" y="335"/>
                  </a:lnTo>
                  <a:lnTo>
                    <a:pt x="16" y="331"/>
                  </a:lnTo>
                  <a:lnTo>
                    <a:pt x="49" y="314"/>
                  </a:lnTo>
                  <a:lnTo>
                    <a:pt x="0" y="319"/>
                  </a:lnTo>
                  <a:lnTo>
                    <a:pt x="0" y="314"/>
                  </a:lnTo>
                  <a:lnTo>
                    <a:pt x="21" y="298"/>
                  </a:lnTo>
                  <a:lnTo>
                    <a:pt x="49" y="307"/>
                  </a:lnTo>
                  <a:lnTo>
                    <a:pt x="49" y="290"/>
                  </a:lnTo>
                  <a:lnTo>
                    <a:pt x="54" y="274"/>
                  </a:lnTo>
                  <a:lnTo>
                    <a:pt x="113" y="264"/>
                  </a:lnTo>
                  <a:lnTo>
                    <a:pt x="101" y="257"/>
                  </a:lnTo>
                  <a:lnTo>
                    <a:pt x="92" y="264"/>
                  </a:lnTo>
                  <a:lnTo>
                    <a:pt x="37" y="274"/>
                  </a:lnTo>
                  <a:lnTo>
                    <a:pt x="70" y="253"/>
                  </a:lnTo>
                  <a:lnTo>
                    <a:pt x="75" y="241"/>
                  </a:lnTo>
                  <a:lnTo>
                    <a:pt x="70" y="236"/>
                  </a:lnTo>
                  <a:lnTo>
                    <a:pt x="85" y="220"/>
                  </a:lnTo>
                  <a:lnTo>
                    <a:pt x="106" y="220"/>
                  </a:lnTo>
                  <a:lnTo>
                    <a:pt x="106" y="203"/>
                  </a:lnTo>
                  <a:lnTo>
                    <a:pt x="59" y="208"/>
                  </a:lnTo>
                  <a:lnTo>
                    <a:pt x="59" y="198"/>
                  </a:lnTo>
                  <a:lnTo>
                    <a:pt x="49" y="203"/>
                  </a:lnTo>
                  <a:lnTo>
                    <a:pt x="37" y="203"/>
                  </a:lnTo>
                  <a:lnTo>
                    <a:pt x="49" y="187"/>
                  </a:lnTo>
                  <a:lnTo>
                    <a:pt x="21" y="198"/>
                  </a:lnTo>
                  <a:lnTo>
                    <a:pt x="16" y="182"/>
                  </a:lnTo>
                  <a:lnTo>
                    <a:pt x="54" y="170"/>
                  </a:lnTo>
                  <a:lnTo>
                    <a:pt x="37" y="170"/>
                  </a:lnTo>
                  <a:lnTo>
                    <a:pt x="37" y="153"/>
                  </a:lnTo>
                  <a:lnTo>
                    <a:pt x="59" y="153"/>
                  </a:lnTo>
                  <a:lnTo>
                    <a:pt x="59" y="149"/>
                  </a:lnTo>
                  <a:lnTo>
                    <a:pt x="37" y="149"/>
                  </a:lnTo>
                  <a:lnTo>
                    <a:pt x="37" y="142"/>
                  </a:lnTo>
                  <a:lnTo>
                    <a:pt x="49" y="142"/>
                  </a:lnTo>
                  <a:lnTo>
                    <a:pt x="33" y="109"/>
                  </a:lnTo>
                  <a:lnTo>
                    <a:pt x="21" y="125"/>
                  </a:lnTo>
                  <a:lnTo>
                    <a:pt x="21" y="109"/>
                  </a:lnTo>
                  <a:lnTo>
                    <a:pt x="33" y="99"/>
                  </a:lnTo>
                  <a:lnTo>
                    <a:pt x="37" y="116"/>
                  </a:lnTo>
                  <a:lnTo>
                    <a:pt x="49" y="99"/>
                  </a:lnTo>
                  <a:lnTo>
                    <a:pt x="75" y="99"/>
                  </a:lnTo>
                  <a:lnTo>
                    <a:pt x="92" y="116"/>
                  </a:lnTo>
                  <a:lnTo>
                    <a:pt x="101" y="109"/>
                  </a:lnTo>
                  <a:lnTo>
                    <a:pt x="139" y="109"/>
                  </a:lnTo>
                  <a:lnTo>
                    <a:pt x="122" y="99"/>
                  </a:lnTo>
                  <a:lnTo>
                    <a:pt x="155" y="87"/>
                  </a:lnTo>
                  <a:lnTo>
                    <a:pt x="160" y="71"/>
                  </a:lnTo>
                  <a:lnTo>
                    <a:pt x="127" y="75"/>
                  </a:lnTo>
                  <a:lnTo>
                    <a:pt x="113" y="71"/>
                  </a:lnTo>
                  <a:lnTo>
                    <a:pt x="144" y="42"/>
                  </a:lnTo>
                  <a:lnTo>
                    <a:pt x="139" y="38"/>
                  </a:lnTo>
                  <a:lnTo>
                    <a:pt x="144" y="38"/>
                  </a:lnTo>
                  <a:lnTo>
                    <a:pt x="139" y="38"/>
                  </a:lnTo>
                  <a:lnTo>
                    <a:pt x="144" y="21"/>
                  </a:lnTo>
                  <a:lnTo>
                    <a:pt x="181" y="16"/>
                  </a:lnTo>
                  <a:lnTo>
                    <a:pt x="193" y="33"/>
                  </a:lnTo>
                  <a:lnTo>
                    <a:pt x="193" y="16"/>
                  </a:lnTo>
                  <a:lnTo>
                    <a:pt x="181" y="16"/>
                  </a:lnTo>
                  <a:lnTo>
                    <a:pt x="193" y="5"/>
                  </a:lnTo>
                  <a:lnTo>
                    <a:pt x="207" y="21"/>
                  </a:lnTo>
                  <a:lnTo>
                    <a:pt x="193" y="38"/>
                  </a:lnTo>
                  <a:lnTo>
                    <a:pt x="207" y="33"/>
                  </a:lnTo>
                  <a:lnTo>
                    <a:pt x="198" y="16"/>
                  </a:lnTo>
                  <a:lnTo>
                    <a:pt x="215" y="5"/>
                  </a:lnTo>
                  <a:lnTo>
                    <a:pt x="215" y="0"/>
                  </a:lnTo>
                  <a:lnTo>
                    <a:pt x="245" y="16"/>
                  </a:lnTo>
                  <a:lnTo>
                    <a:pt x="219" y="33"/>
                  </a:lnTo>
                  <a:lnTo>
                    <a:pt x="219" y="33"/>
                  </a:lnTo>
                  <a:lnTo>
                    <a:pt x="219" y="33"/>
                  </a:lnTo>
                  <a:close/>
                  <a:moveTo>
                    <a:pt x="21" y="132"/>
                  </a:moveTo>
                  <a:lnTo>
                    <a:pt x="33" y="132"/>
                  </a:lnTo>
                  <a:lnTo>
                    <a:pt x="37" y="149"/>
                  </a:lnTo>
                  <a:lnTo>
                    <a:pt x="16" y="142"/>
                  </a:lnTo>
                  <a:lnTo>
                    <a:pt x="21" y="132"/>
                  </a:lnTo>
                  <a:lnTo>
                    <a:pt x="21" y="132"/>
                  </a:lnTo>
                  <a:lnTo>
                    <a:pt x="21" y="132"/>
                  </a:lnTo>
                  <a:close/>
                </a:path>
              </a:pathLst>
            </a:custGeom>
            <a:pattFill prst="dk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5" name="Freeform 432">
              <a:extLst>
                <a:ext uri="{FF2B5EF4-FFF2-40B4-BE49-F238E27FC236}">
                  <a16:creationId xmlns:a16="http://schemas.microsoft.com/office/drawing/2014/main" id="{5651DDBA-6267-453E-AC25-F3A080BF8100}"/>
                </a:ext>
              </a:extLst>
            </p:cNvPr>
            <p:cNvSpPr>
              <a:spLocks noEditPoints="1"/>
            </p:cNvSpPr>
            <p:nvPr/>
          </p:nvSpPr>
          <p:spPr bwMode="gray">
            <a:xfrm>
              <a:off x="6069566" y="4471019"/>
              <a:ext cx="99471" cy="98491"/>
            </a:xfrm>
            <a:custGeom>
              <a:avLst/>
              <a:gdLst>
                <a:gd name="T0" fmla="*/ 26 w 201"/>
                <a:gd name="T1" fmla="*/ 17 h 199"/>
                <a:gd name="T2" fmla="*/ 14 w 201"/>
                <a:gd name="T3" fmla="*/ 41 h 199"/>
                <a:gd name="T4" fmla="*/ 0 w 201"/>
                <a:gd name="T5" fmla="*/ 33 h 199"/>
                <a:gd name="T6" fmla="*/ 0 w 201"/>
                <a:gd name="T7" fmla="*/ 17 h 199"/>
                <a:gd name="T8" fmla="*/ 5 w 201"/>
                <a:gd name="T9" fmla="*/ 17 h 199"/>
                <a:gd name="T10" fmla="*/ 14 w 201"/>
                <a:gd name="T11" fmla="*/ 0 h 199"/>
                <a:gd name="T12" fmla="*/ 26 w 201"/>
                <a:gd name="T13" fmla="*/ 0 h 199"/>
                <a:gd name="T14" fmla="*/ 26 w 201"/>
                <a:gd name="T15" fmla="*/ 17 h 199"/>
                <a:gd name="T16" fmla="*/ 26 w 201"/>
                <a:gd name="T17" fmla="*/ 17 h 199"/>
                <a:gd name="T18" fmla="*/ 26 w 201"/>
                <a:gd name="T19" fmla="*/ 17 h 199"/>
                <a:gd name="T20" fmla="*/ 92 w 201"/>
                <a:gd name="T21" fmla="*/ 95 h 199"/>
                <a:gd name="T22" fmla="*/ 109 w 201"/>
                <a:gd name="T23" fmla="*/ 111 h 199"/>
                <a:gd name="T24" fmla="*/ 201 w 201"/>
                <a:gd name="T25" fmla="*/ 111 h 199"/>
                <a:gd name="T26" fmla="*/ 201 w 201"/>
                <a:gd name="T27" fmla="*/ 199 h 199"/>
                <a:gd name="T28" fmla="*/ 109 w 201"/>
                <a:gd name="T29" fmla="*/ 199 h 199"/>
                <a:gd name="T30" fmla="*/ 97 w 201"/>
                <a:gd name="T31" fmla="*/ 199 h 199"/>
                <a:gd name="T32" fmla="*/ 92 w 201"/>
                <a:gd name="T33" fmla="*/ 199 h 199"/>
                <a:gd name="T34" fmla="*/ 92 w 201"/>
                <a:gd name="T35" fmla="*/ 187 h 199"/>
                <a:gd name="T36" fmla="*/ 76 w 201"/>
                <a:gd name="T37" fmla="*/ 187 h 199"/>
                <a:gd name="T38" fmla="*/ 59 w 201"/>
                <a:gd name="T39" fmla="*/ 182 h 199"/>
                <a:gd name="T40" fmla="*/ 92 w 201"/>
                <a:gd name="T41" fmla="*/ 128 h 199"/>
                <a:gd name="T42" fmla="*/ 92 w 201"/>
                <a:gd name="T43" fmla="*/ 95 h 199"/>
                <a:gd name="T44" fmla="*/ 92 w 201"/>
                <a:gd name="T45" fmla="*/ 95 h 199"/>
                <a:gd name="T46" fmla="*/ 92 w 201"/>
                <a:gd name="T47" fmla="*/ 9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1" h="199">
                  <a:moveTo>
                    <a:pt x="26" y="17"/>
                  </a:moveTo>
                  <a:lnTo>
                    <a:pt x="14" y="41"/>
                  </a:lnTo>
                  <a:lnTo>
                    <a:pt x="0" y="33"/>
                  </a:lnTo>
                  <a:lnTo>
                    <a:pt x="0" y="17"/>
                  </a:lnTo>
                  <a:lnTo>
                    <a:pt x="5" y="17"/>
                  </a:lnTo>
                  <a:lnTo>
                    <a:pt x="14" y="0"/>
                  </a:lnTo>
                  <a:lnTo>
                    <a:pt x="26" y="0"/>
                  </a:lnTo>
                  <a:lnTo>
                    <a:pt x="26" y="17"/>
                  </a:lnTo>
                  <a:lnTo>
                    <a:pt x="26" y="17"/>
                  </a:lnTo>
                  <a:lnTo>
                    <a:pt x="26" y="17"/>
                  </a:lnTo>
                  <a:close/>
                  <a:moveTo>
                    <a:pt x="92" y="95"/>
                  </a:moveTo>
                  <a:lnTo>
                    <a:pt x="109" y="111"/>
                  </a:lnTo>
                  <a:lnTo>
                    <a:pt x="201" y="111"/>
                  </a:lnTo>
                  <a:lnTo>
                    <a:pt x="201" y="199"/>
                  </a:lnTo>
                  <a:lnTo>
                    <a:pt x="109" y="199"/>
                  </a:lnTo>
                  <a:lnTo>
                    <a:pt x="97" y="199"/>
                  </a:lnTo>
                  <a:lnTo>
                    <a:pt x="92" y="199"/>
                  </a:lnTo>
                  <a:lnTo>
                    <a:pt x="92" y="187"/>
                  </a:lnTo>
                  <a:lnTo>
                    <a:pt x="76" y="187"/>
                  </a:lnTo>
                  <a:lnTo>
                    <a:pt x="59" y="182"/>
                  </a:lnTo>
                  <a:lnTo>
                    <a:pt x="92" y="128"/>
                  </a:lnTo>
                  <a:lnTo>
                    <a:pt x="92" y="95"/>
                  </a:lnTo>
                  <a:lnTo>
                    <a:pt x="92" y="95"/>
                  </a:lnTo>
                  <a:lnTo>
                    <a:pt x="92" y="95"/>
                  </a:lnTo>
                  <a:close/>
                </a:path>
              </a:pathLst>
            </a:custGeom>
            <a:pattFill prst="lt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6" name="Freeform 433">
              <a:extLst>
                <a:ext uri="{FF2B5EF4-FFF2-40B4-BE49-F238E27FC236}">
                  <a16:creationId xmlns:a16="http://schemas.microsoft.com/office/drawing/2014/main" id="{A0015162-DDA1-42B3-B8DF-FF25E6CB2F05}"/>
                </a:ext>
              </a:extLst>
            </p:cNvPr>
            <p:cNvSpPr>
              <a:spLocks noEditPoints="1"/>
            </p:cNvSpPr>
            <p:nvPr/>
          </p:nvSpPr>
          <p:spPr bwMode="gray">
            <a:xfrm>
              <a:off x="6532771" y="2178493"/>
              <a:ext cx="219726" cy="107896"/>
            </a:xfrm>
            <a:custGeom>
              <a:avLst/>
              <a:gdLst>
                <a:gd name="T0" fmla="*/ 359 w 444"/>
                <a:gd name="T1" fmla="*/ 208 h 218"/>
                <a:gd name="T2" fmla="*/ 295 w 444"/>
                <a:gd name="T3" fmla="*/ 184 h 218"/>
                <a:gd name="T4" fmla="*/ 240 w 444"/>
                <a:gd name="T5" fmla="*/ 168 h 218"/>
                <a:gd name="T6" fmla="*/ 177 w 444"/>
                <a:gd name="T7" fmla="*/ 184 h 218"/>
                <a:gd name="T8" fmla="*/ 177 w 444"/>
                <a:gd name="T9" fmla="*/ 130 h 218"/>
                <a:gd name="T10" fmla="*/ 132 w 444"/>
                <a:gd name="T11" fmla="*/ 130 h 218"/>
                <a:gd name="T12" fmla="*/ 122 w 444"/>
                <a:gd name="T13" fmla="*/ 97 h 218"/>
                <a:gd name="T14" fmla="*/ 111 w 444"/>
                <a:gd name="T15" fmla="*/ 88 h 218"/>
                <a:gd name="T16" fmla="*/ 127 w 444"/>
                <a:gd name="T17" fmla="*/ 71 h 218"/>
                <a:gd name="T18" fmla="*/ 127 w 444"/>
                <a:gd name="T19" fmla="*/ 71 h 218"/>
                <a:gd name="T20" fmla="*/ 111 w 444"/>
                <a:gd name="T21" fmla="*/ 43 h 218"/>
                <a:gd name="T22" fmla="*/ 160 w 444"/>
                <a:gd name="T23" fmla="*/ 21 h 218"/>
                <a:gd name="T24" fmla="*/ 177 w 444"/>
                <a:gd name="T25" fmla="*/ 14 h 218"/>
                <a:gd name="T26" fmla="*/ 203 w 444"/>
                <a:gd name="T27" fmla="*/ 5 h 218"/>
                <a:gd name="T28" fmla="*/ 257 w 444"/>
                <a:gd name="T29" fmla="*/ 0 h 218"/>
                <a:gd name="T30" fmla="*/ 274 w 444"/>
                <a:gd name="T31" fmla="*/ 0 h 218"/>
                <a:gd name="T32" fmla="*/ 418 w 444"/>
                <a:gd name="T33" fmla="*/ 21 h 218"/>
                <a:gd name="T34" fmla="*/ 444 w 444"/>
                <a:gd name="T35" fmla="*/ 26 h 218"/>
                <a:gd name="T36" fmla="*/ 429 w 444"/>
                <a:gd name="T37" fmla="*/ 38 h 218"/>
                <a:gd name="T38" fmla="*/ 392 w 444"/>
                <a:gd name="T39" fmla="*/ 88 h 218"/>
                <a:gd name="T40" fmla="*/ 396 w 444"/>
                <a:gd name="T41" fmla="*/ 147 h 218"/>
                <a:gd name="T42" fmla="*/ 396 w 444"/>
                <a:gd name="T43" fmla="*/ 184 h 218"/>
                <a:gd name="T44" fmla="*/ 392 w 444"/>
                <a:gd name="T45" fmla="*/ 218 h 218"/>
                <a:gd name="T46" fmla="*/ 52 w 444"/>
                <a:gd name="T47" fmla="*/ 97 h 218"/>
                <a:gd name="T48" fmla="*/ 35 w 444"/>
                <a:gd name="T49" fmla="*/ 76 h 218"/>
                <a:gd name="T50" fmla="*/ 35 w 444"/>
                <a:gd name="T51" fmla="*/ 71 h 218"/>
                <a:gd name="T52" fmla="*/ 73 w 444"/>
                <a:gd name="T53" fmla="*/ 71 h 218"/>
                <a:gd name="T54" fmla="*/ 68 w 444"/>
                <a:gd name="T55" fmla="*/ 88 h 218"/>
                <a:gd name="T56" fmla="*/ 52 w 444"/>
                <a:gd name="T57" fmla="*/ 97 h 218"/>
                <a:gd name="T58" fmla="*/ 96 w 444"/>
                <a:gd name="T59" fmla="*/ 59 h 218"/>
                <a:gd name="T60" fmla="*/ 89 w 444"/>
                <a:gd name="T61" fmla="*/ 71 h 218"/>
                <a:gd name="T62" fmla="*/ 96 w 444"/>
                <a:gd name="T63" fmla="*/ 59 h 218"/>
                <a:gd name="T64" fmla="*/ 96 w 444"/>
                <a:gd name="T65" fmla="*/ 59 h 218"/>
                <a:gd name="T66" fmla="*/ 111 w 444"/>
                <a:gd name="T67" fmla="*/ 114 h 218"/>
                <a:gd name="T68" fmla="*/ 96 w 444"/>
                <a:gd name="T69" fmla="*/ 97 h 218"/>
                <a:gd name="T70" fmla="*/ 96 w 444"/>
                <a:gd name="T71" fmla="*/ 97 h 218"/>
                <a:gd name="T72" fmla="*/ 14 w 444"/>
                <a:gd name="T73" fmla="*/ 168 h 218"/>
                <a:gd name="T74" fmla="*/ 4 w 444"/>
                <a:gd name="T75" fmla="*/ 142 h 218"/>
                <a:gd name="T76" fmla="*/ 0 w 444"/>
                <a:gd name="T77" fmla="*/ 114 h 218"/>
                <a:gd name="T78" fmla="*/ 106 w 444"/>
                <a:gd name="T79" fmla="*/ 125 h 218"/>
                <a:gd name="T80" fmla="*/ 68 w 444"/>
                <a:gd name="T81" fmla="*/ 147 h 218"/>
                <a:gd name="T82" fmla="*/ 26 w 444"/>
                <a:gd name="T83" fmla="*/ 168 h 218"/>
                <a:gd name="T84" fmla="*/ 14 w 444"/>
                <a:gd name="T85" fmla="*/ 18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4" h="218">
                  <a:moveTo>
                    <a:pt x="392" y="218"/>
                  </a:moveTo>
                  <a:lnTo>
                    <a:pt x="359" y="208"/>
                  </a:lnTo>
                  <a:lnTo>
                    <a:pt x="326" y="218"/>
                  </a:lnTo>
                  <a:lnTo>
                    <a:pt x="295" y="184"/>
                  </a:lnTo>
                  <a:lnTo>
                    <a:pt x="240" y="163"/>
                  </a:lnTo>
                  <a:lnTo>
                    <a:pt x="240" y="168"/>
                  </a:lnTo>
                  <a:lnTo>
                    <a:pt x="229" y="163"/>
                  </a:lnTo>
                  <a:lnTo>
                    <a:pt x="177" y="184"/>
                  </a:lnTo>
                  <a:lnTo>
                    <a:pt x="186" y="142"/>
                  </a:lnTo>
                  <a:lnTo>
                    <a:pt x="177" y="130"/>
                  </a:lnTo>
                  <a:lnTo>
                    <a:pt x="160" y="147"/>
                  </a:lnTo>
                  <a:lnTo>
                    <a:pt x="132" y="130"/>
                  </a:lnTo>
                  <a:lnTo>
                    <a:pt x="122" y="109"/>
                  </a:lnTo>
                  <a:lnTo>
                    <a:pt x="122" y="97"/>
                  </a:lnTo>
                  <a:lnTo>
                    <a:pt x="144" y="92"/>
                  </a:lnTo>
                  <a:lnTo>
                    <a:pt x="111" y="88"/>
                  </a:lnTo>
                  <a:lnTo>
                    <a:pt x="111" y="76"/>
                  </a:lnTo>
                  <a:lnTo>
                    <a:pt x="127" y="71"/>
                  </a:lnTo>
                  <a:lnTo>
                    <a:pt x="122" y="59"/>
                  </a:lnTo>
                  <a:lnTo>
                    <a:pt x="127" y="71"/>
                  </a:lnTo>
                  <a:lnTo>
                    <a:pt x="111" y="59"/>
                  </a:lnTo>
                  <a:lnTo>
                    <a:pt x="111" y="43"/>
                  </a:lnTo>
                  <a:lnTo>
                    <a:pt x="148" y="38"/>
                  </a:lnTo>
                  <a:lnTo>
                    <a:pt x="160" y="21"/>
                  </a:lnTo>
                  <a:lnTo>
                    <a:pt x="165" y="26"/>
                  </a:lnTo>
                  <a:lnTo>
                    <a:pt x="177" y="14"/>
                  </a:lnTo>
                  <a:lnTo>
                    <a:pt x="203" y="21"/>
                  </a:lnTo>
                  <a:lnTo>
                    <a:pt x="203" y="5"/>
                  </a:lnTo>
                  <a:lnTo>
                    <a:pt x="252" y="14"/>
                  </a:lnTo>
                  <a:lnTo>
                    <a:pt x="257" y="0"/>
                  </a:lnTo>
                  <a:lnTo>
                    <a:pt x="266" y="5"/>
                  </a:lnTo>
                  <a:lnTo>
                    <a:pt x="274" y="0"/>
                  </a:lnTo>
                  <a:lnTo>
                    <a:pt x="359" y="21"/>
                  </a:lnTo>
                  <a:lnTo>
                    <a:pt x="418" y="21"/>
                  </a:lnTo>
                  <a:lnTo>
                    <a:pt x="434" y="14"/>
                  </a:lnTo>
                  <a:lnTo>
                    <a:pt x="444" y="26"/>
                  </a:lnTo>
                  <a:lnTo>
                    <a:pt x="444" y="38"/>
                  </a:lnTo>
                  <a:lnTo>
                    <a:pt x="429" y="38"/>
                  </a:lnTo>
                  <a:lnTo>
                    <a:pt x="418" y="59"/>
                  </a:lnTo>
                  <a:lnTo>
                    <a:pt x="392" y="88"/>
                  </a:lnTo>
                  <a:lnTo>
                    <a:pt x="396" y="130"/>
                  </a:lnTo>
                  <a:lnTo>
                    <a:pt x="396" y="147"/>
                  </a:lnTo>
                  <a:lnTo>
                    <a:pt x="418" y="184"/>
                  </a:lnTo>
                  <a:lnTo>
                    <a:pt x="396" y="184"/>
                  </a:lnTo>
                  <a:lnTo>
                    <a:pt x="392" y="218"/>
                  </a:lnTo>
                  <a:lnTo>
                    <a:pt x="392" y="218"/>
                  </a:lnTo>
                  <a:lnTo>
                    <a:pt x="392" y="218"/>
                  </a:lnTo>
                  <a:close/>
                  <a:moveTo>
                    <a:pt x="52" y="97"/>
                  </a:moveTo>
                  <a:lnTo>
                    <a:pt x="42" y="97"/>
                  </a:lnTo>
                  <a:lnTo>
                    <a:pt x="35" y="76"/>
                  </a:lnTo>
                  <a:lnTo>
                    <a:pt x="14" y="76"/>
                  </a:lnTo>
                  <a:lnTo>
                    <a:pt x="35" y="71"/>
                  </a:lnTo>
                  <a:lnTo>
                    <a:pt x="52" y="59"/>
                  </a:lnTo>
                  <a:lnTo>
                    <a:pt x="73" y="71"/>
                  </a:lnTo>
                  <a:lnTo>
                    <a:pt x="89" y="88"/>
                  </a:lnTo>
                  <a:lnTo>
                    <a:pt x="68" y="88"/>
                  </a:lnTo>
                  <a:lnTo>
                    <a:pt x="52" y="97"/>
                  </a:lnTo>
                  <a:lnTo>
                    <a:pt x="52" y="97"/>
                  </a:lnTo>
                  <a:lnTo>
                    <a:pt x="52" y="97"/>
                  </a:lnTo>
                  <a:close/>
                  <a:moveTo>
                    <a:pt x="96" y="59"/>
                  </a:moveTo>
                  <a:lnTo>
                    <a:pt x="111" y="71"/>
                  </a:lnTo>
                  <a:lnTo>
                    <a:pt x="89" y="71"/>
                  </a:lnTo>
                  <a:lnTo>
                    <a:pt x="89" y="59"/>
                  </a:lnTo>
                  <a:lnTo>
                    <a:pt x="96" y="59"/>
                  </a:lnTo>
                  <a:lnTo>
                    <a:pt x="96" y="59"/>
                  </a:lnTo>
                  <a:lnTo>
                    <a:pt x="96" y="59"/>
                  </a:lnTo>
                  <a:close/>
                  <a:moveTo>
                    <a:pt x="96" y="97"/>
                  </a:moveTo>
                  <a:lnTo>
                    <a:pt x="111" y="114"/>
                  </a:lnTo>
                  <a:lnTo>
                    <a:pt x="89" y="109"/>
                  </a:lnTo>
                  <a:lnTo>
                    <a:pt x="96" y="97"/>
                  </a:lnTo>
                  <a:lnTo>
                    <a:pt x="96" y="97"/>
                  </a:lnTo>
                  <a:lnTo>
                    <a:pt x="96" y="97"/>
                  </a:lnTo>
                  <a:close/>
                  <a:moveTo>
                    <a:pt x="14" y="180"/>
                  </a:moveTo>
                  <a:lnTo>
                    <a:pt x="14" y="168"/>
                  </a:lnTo>
                  <a:lnTo>
                    <a:pt x="26" y="151"/>
                  </a:lnTo>
                  <a:lnTo>
                    <a:pt x="4" y="142"/>
                  </a:lnTo>
                  <a:lnTo>
                    <a:pt x="14" y="130"/>
                  </a:lnTo>
                  <a:lnTo>
                    <a:pt x="0" y="114"/>
                  </a:lnTo>
                  <a:lnTo>
                    <a:pt x="73" y="109"/>
                  </a:lnTo>
                  <a:lnTo>
                    <a:pt x="106" y="125"/>
                  </a:lnTo>
                  <a:lnTo>
                    <a:pt x="89" y="125"/>
                  </a:lnTo>
                  <a:lnTo>
                    <a:pt x="68" y="147"/>
                  </a:lnTo>
                  <a:lnTo>
                    <a:pt x="35" y="151"/>
                  </a:lnTo>
                  <a:lnTo>
                    <a:pt x="26" y="168"/>
                  </a:lnTo>
                  <a:lnTo>
                    <a:pt x="14" y="180"/>
                  </a:lnTo>
                  <a:lnTo>
                    <a:pt x="14" y="180"/>
                  </a:lnTo>
                  <a:lnTo>
                    <a:pt x="14" y="180"/>
                  </a:lnTo>
                  <a:close/>
                </a:path>
              </a:pathLst>
            </a:custGeom>
            <a:pattFill prst="lt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7" name="Freeform 434">
              <a:extLst>
                <a:ext uri="{FF2B5EF4-FFF2-40B4-BE49-F238E27FC236}">
                  <a16:creationId xmlns:a16="http://schemas.microsoft.com/office/drawing/2014/main" id="{13730A74-89A1-4BF0-AB3E-90BF96851ED5}"/>
                </a:ext>
              </a:extLst>
            </p:cNvPr>
            <p:cNvSpPr>
              <a:spLocks noEditPoints="1"/>
            </p:cNvSpPr>
            <p:nvPr/>
          </p:nvSpPr>
          <p:spPr bwMode="gray">
            <a:xfrm>
              <a:off x="7040020" y="3953319"/>
              <a:ext cx="231107" cy="207872"/>
            </a:xfrm>
            <a:custGeom>
              <a:avLst/>
              <a:gdLst>
                <a:gd name="T0" fmla="*/ 446 w 467"/>
                <a:gd name="T1" fmla="*/ 404 h 420"/>
                <a:gd name="T2" fmla="*/ 434 w 467"/>
                <a:gd name="T3" fmla="*/ 420 h 420"/>
                <a:gd name="T4" fmla="*/ 413 w 467"/>
                <a:gd name="T5" fmla="*/ 416 h 420"/>
                <a:gd name="T6" fmla="*/ 380 w 467"/>
                <a:gd name="T7" fmla="*/ 383 h 420"/>
                <a:gd name="T8" fmla="*/ 338 w 467"/>
                <a:gd name="T9" fmla="*/ 326 h 420"/>
                <a:gd name="T10" fmla="*/ 269 w 467"/>
                <a:gd name="T11" fmla="*/ 260 h 420"/>
                <a:gd name="T12" fmla="*/ 215 w 467"/>
                <a:gd name="T13" fmla="*/ 255 h 420"/>
                <a:gd name="T14" fmla="*/ 182 w 467"/>
                <a:gd name="T15" fmla="*/ 250 h 420"/>
                <a:gd name="T16" fmla="*/ 144 w 467"/>
                <a:gd name="T17" fmla="*/ 272 h 420"/>
                <a:gd name="T18" fmla="*/ 113 w 467"/>
                <a:gd name="T19" fmla="*/ 250 h 420"/>
                <a:gd name="T20" fmla="*/ 80 w 467"/>
                <a:gd name="T21" fmla="*/ 293 h 420"/>
                <a:gd name="T22" fmla="*/ 52 w 467"/>
                <a:gd name="T23" fmla="*/ 272 h 420"/>
                <a:gd name="T24" fmla="*/ 26 w 467"/>
                <a:gd name="T25" fmla="*/ 272 h 420"/>
                <a:gd name="T26" fmla="*/ 0 w 467"/>
                <a:gd name="T27" fmla="*/ 217 h 420"/>
                <a:gd name="T28" fmla="*/ 26 w 467"/>
                <a:gd name="T29" fmla="*/ 111 h 420"/>
                <a:gd name="T30" fmla="*/ 38 w 467"/>
                <a:gd name="T31" fmla="*/ 73 h 420"/>
                <a:gd name="T32" fmla="*/ 75 w 467"/>
                <a:gd name="T33" fmla="*/ 57 h 420"/>
                <a:gd name="T34" fmla="*/ 127 w 467"/>
                <a:gd name="T35" fmla="*/ 40 h 420"/>
                <a:gd name="T36" fmla="*/ 182 w 467"/>
                <a:gd name="T37" fmla="*/ 66 h 420"/>
                <a:gd name="T38" fmla="*/ 203 w 467"/>
                <a:gd name="T39" fmla="*/ 168 h 420"/>
                <a:gd name="T40" fmla="*/ 219 w 467"/>
                <a:gd name="T41" fmla="*/ 194 h 420"/>
                <a:gd name="T42" fmla="*/ 236 w 467"/>
                <a:gd name="T43" fmla="*/ 222 h 420"/>
                <a:gd name="T44" fmla="*/ 236 w 467"/>
                <a:gd name="T45" fmla="*/ 201 h 420"/>
                <a:gd name="T46" fmla="*/ 257 w 467"/>
                <a:gd name="T47" fmla="*/ 222 h 420"/>
                <a:gd name="T48" fmla="*/ 283 w 467"/>
                <a:gd name="T49" fmla="*/ 222 h 420"/>
                <a:gd name="T50" fmla="*/ 304 w 467"/>
                <a:gd name="T51" fmla="*/ 250 h 420"/>
                <a:gd name="T52" fmla="*/ 366 w 467"/>
                <a:gd name="T53" fmla="*/ 305 h 420"/>
                <a:gd name="T54" fmla="*/ 397 w 467"/>
                <a:gd name="T55" fmla="*/ 326 h 420"/>
                <a:gd name="T56" fmla="*/ 401 w 467"/>
                <a:gd name="T57" fmla="*/ 326 h 420"/>
                <a:gd name="T58" fmla="*/ 434 w 467"/>
                <a:gd name="T59" fmla="*/ 366 h 420"/>
                <a:gd name="T60" fmla="*/ 451 w 467"/>
                <a:gd name="T61" fmla="*/ 387 h 420"/>
                <a:gd name="T62" fmla="*/ 467 w 467"/>
                <a:gd name="T63" fmla="*/ 387 h 420"/>
                <a:gd name="T64" fmla="*/ 467 w 467"/>
                <a:gd name="T65" fmla="*/ 387 h 420"/>
                <a:gd name="T66" fmla="*/ 252 w 467"/>
                <a:gd name="T67" fmla="*/ 144 h 420"/>
                <a:gd name="T68" fmla="*/ 257 w 467"/>
                <a:gd name="T69" fmla="*/ 149 h 420"/>
                <a:gd name="T70" fmla="*/ 252 w 467"/>
                <a:gd name="T71" fmla="*/ 149 h 420"/>
                <a:gd name="T72" fmla="*/ 252 w 467"/>
                <a:gd name="T73" fmla="*/ 161 h 420"/>
                <a:gd name="T74" fmla="*/ 257 w 467"/>
                <a:gd name="T75" fmla="*/ 177 h 420"/>
                <a:gd name="T76" fmla="*/ 274 w 467"/>
                <a:gd name="T77" fmla="*/ 184 h 420"/>
                <a:gd name="T78" fmla="*/ 241 w 467"/>
                <a:gd name="T79" fmla="*/ 177 h 420"/>
                <a:gd name="T80" fmla="*/ 241 w 467"/>
                <a:gd name="T81" fmla="*/ 168 h 420"/>
                <a:gd name="T82" fmla="*/ 252 w 467"/>
                <a:gd name="T83" fmla="*/ 161 h 420"/>
                <a:gd name="T84" fmla="*/ 252 w 467"/>
                <a:gd name="T85" fmla="*/ 161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7" h="420">
                  <a:moveTo>
                    <a:pt x="467" y="387"/>
                  </a:moveTo>
                  <a:lnTo>
                    <a:pt x="446" y="404"/>
                  </a:lnTo>
                  <a:lnTo>
                    <a:pt x="446" y="416"/>
                  </a:lnTo>
                  <a:lnTo>
                    <a:pt x="434" y="420"/>
                  </a:lnTo>
                  <a:lnTo>
                    <a:pt x="418" y="404"/>
                  </a:lnTo>
                  <a:lnTo>
                    <a:pt x="413" y="416"/>
                  </a:lnTo>
                  <a:lnTo>
                    <a:pt x="401" y="387"/>
                  </a:lnTo>
                  <a:lnTo>
                    <a:pt x="380" y="383"/>
                  </a:lnTo>
                  <a:lnTo>
                    <a:pt x="375" y="359"/>
                  </a:lnTo>
                  <a:lnTo>
                    <a:pt x="338" y="326"/>
                  </a:lnTo>
                  <a:lnTo>
                    <a:pt x="304" y="288"/>
                  </a:lnTo>
                  <a:lnTo>
                    <a:pt x="269" y="260"/>
                  </a:lnTo>
                  <a:lnTo>
                    <a:pt x="241" y="272"/>
                  </a:lnTo>
                  <a:lnTo>
                    <a:pt x="215" y="255"/>
                  </a:lnTo>
                  <a:lnTo>
                    <a:pt x="198" y="260"/>
                  </a:lnTo>
                  <a:lnTo>
                    <a:pt x="182" y="250"/>
                  </a:lnTo>
                  <a:lnTo>
                    <a:pt x="177" y="260"/>
                  </a:lnTo>
                  <a:lnTo>
                    <a:pt x="144" y="272"/>
                  </a:lnTo>
                  <a:lnTo>
                    <a:pt x="127" y="250"/>
                  </a:lnTo>
                  <a:lnTo>
                    <a:pt x="113" y="250"/>
                  </a:lnTo>
                  <a:lnTo>
                    <a:pt x="106" y="234"/>
                  </a:lnTo>
                  <a:lnTo>
                    <a:pt x="80" y="293"/>
                  </a:lnTo>
                  <a:lnTo>
                    <a:pt x="59" y="260"/>
                  </a:lnTo>
                  <a:lnTo>
                    <a:pt x="52" y="272"/>
                  </a:lnTo>
                  <a:lnTo>
                    <a:pt x="38" y="276"/>
                  </a:lnTo>
                  <a:lnTo>
                    <a:pt x="26" y="272"/>
                  </a:lnTo>
                  <a:lnTo>
                    <a:pt x="4" y="276"/>
                  </a:lnTo>
                  <a:lnTo>
                    <a:pt x="0" y="217"/>
                  </a:lnTo>
                  <a:lnTo>
                    <a:pt x="38" y="127"/>
                  </a:lnTo>
                  <a:lnTo>
                    <a:pt x="26" y="111"/>
                  </a:lnTo>
                  <a:lnTo>
                    <a:pt x="38" y="94"/>
                  </a:lnTo>
                  <a:lnTo>
                    <a:pt x="38" y="73"/>
                  </a:lnTo>
                  <a:lnTo>
                    <a:pt x="68" y="73"/>
                  </a:lnTo>
                  <a:lnTo>
                    <a:pt x="75" y="57"/>
                  </a:lnTo>
                  <a:lnTo>
                    <a:pt x="113" y="33"/>
                  </a:lnTo>
                  <a:lnTo>
                    <a:pt x="127" y="40"/>
                  </a:lnTo>
                  <a:lnTo>
                    <a:pt x="149" y="0"/>
                  </a:lnTo>
                  <a:lnTo>
                    <a:pt x="182" y="66"/>
                  </a:lnTo>
                  <a:lnTo>
                    <a:pt x="198" y="149"/>
                  </a:lnTo>
                  <a:lnTo>
                    <a:pt x="203" y="168"/>
                  </a:lnTo>
                  <a:lnTo>
                    <a:pt x="215" y="184"/>
                  </a:lnTo>
                  <a:lnTo>
                    <a:pt x="219" y="194"/>
                  </a:lnTo>
                  <a:lnTo>
                    <a:pt x="231" y="217"/>
                  </a:lnTo>
                  <a:lnTo>
                    <a:pt x="236" y="222"/>
                  </a:lnTo>
                  <a:lnTo>
                    <a:pt x="236" y="217"/>
                  </a:lnTo>
                  <a:lnTo>
                    <a:pt x="236" y="201"/>
                  </a:lnTo>
                  <a:lnTo>
                    <a:pt x="241" y="194"/>
                  </a:lnTo>
                  <a:lnTo>
                    <a:pt x="257" y="222"/>
                  </a:lnTo>
                  <a:lnTo>
                    <a:pt x="269" y="234"/>
                  </a:lnTo>
                  <a:lnTo>
                    <a:pt x="283" y="222"/>
                  </a:lnTo>
                  <a:lnTo>
                    <a:pt x="295" y="234"/>
                  </a:lnTo>
                  <a:lnTo>
                    <a:pt x="304" y="250"/>
                  </a:lnTo>
                  <a:lnTo>
                    <a:pt x="328" y="255"/>
                  </a:lnTo>
                  <a:lnTo>
                    <a:pt x="366" y="305"/>
                  </a:lnTo>
                  <a:lnTo>
                    <a:pt x="380" y="309"/>
                  </a:lnTo>
                  <a:lnTo>
                    <a:pt x="397" y="326"/>
                  </a:lnTo>
                  <a:lnTo>
                    <a:pt x="397" y="326"/>
                  </a:lnTo>
                  <a:lnTo>
                    <a:pt x="401" y="326"/>
                  </a:lnTo>
                  <a:lnTo>
                    <a:pt x="413" y="359"/>
                  </a:lnTo>
                  <a:lnTo>
                    <a:pt x="434" y="366"/>
                  </a:lnTo>
                  <a:lnTo>
                    <a:pt x="446" y="383"/>
                  </a:lnTo>
                  <a:lnTo>
                    <a:pt x="451" y="387"/>
                  </a:lnTo>
                  <a:lnTo>
                    <a:pt x="456" y="383"/>
                  </a:lnTo>
                  <a:lnTo>
                    <a:pt x="467" y="387"/>
                  </a:lnTo>
                  <a:lnTo>
                    <a:pt x="467" y="387"/>
                  </a:lnTo>
                  <a:lnTo>
                    <a:pt x="467" y="387"/>
                  </a:lnTo>
                  <a:close/>
                  <a:moveTo>
                    <a:pt x="252" y="149"/>
                  </a:moveTo>
                  <a:lnTo>
                    <a:pt x="252" y="144"/>
                  </a:lnTo>
                  <a:lnTo>
                    <a:pt x="257" y="144"/>
                  </a:lnTo>
                  <a:lnTo>
                    <a:pt x="257" y="149"/>
                  </a:lnTo>
                  <a:lnTo>
                    <a:pt x="252" y="149"/>
                  </a:lnTo>
                  <a:lnTo>
                    <a:pt x="252" y="149"/>
                  </a:lnTo>
                  <a:lnTo>
                    <a:pt x="252" y="149"/>
                  </a:lnTo>
                  <a:close/>
                  <a:moveTo>
                    <a:pt x="252" y="161"/>
                  </a:moveTo>
                  <a:lnTo>
                    <a:pt x="257" y="168"/>
                  </a:lnTo>
                  <a:lnTo>
                    <a:pt x="257" y="177"/>
                  </a:lnTo>
                  <a:lnTo>
                    <a:pt x="269" y="177"/>
                  </a:lnTo>
                  <a:lnTo>
                    <a:pt x="274" y="184"/>
                  </a:lnTo>
                  <a:lnTo>
                    <a:pt x="241" y="184"/>
                  </a:lnTo>
                  <a:lnTo>
                    <a:pt x="241" y="177"/>
                  </a:lnTo>
                  <a:lnTo>
                    <a:pt x="252" y="177"/>
                  </a:lnTo>
                  <a:lnTo>
                    <a:pt x="241" y="168"/>
                  </a:lnTo>
                  <a:lnTo>
                    <a:pt x="252" y="168"/>
                  </a:lnTo>
                  <a:lnTo>
                    <a:pt x="252" y="161"/>
                  </a:lnTo>
                  <a:lnTo>
                    <a:pt x="252" y="161"/>
                  </a:lnTo>
                  <a:lnTo>
                    <a:pt x="252" y="161"/>
                  </a:lnTo>
                  <a:close/>
                </a:path>
              </a:pathLst>
            </a:custGeom>
            <a:pattFill prst="lt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8" name="Freeform 435">
              <a:extLst>
                <a:ext uri="{FF2B5EF4-FFF2-40B4-BE49-F238E27FC236}">
                  <a16:creationId xmlns:a16="http://schemas.microsoft.com/office/drawing/2014/main" id="{4DADC1BB-9BF5-452B-810C-450933670C48}"/>
                </a:ext>
              </a:extLst>
            </p:cNvPr>
            <p:cNvSpPr>
              <a:spLocks/>
            </p:cNvSpPr>
            <p:nvPr/>
          </p:nvSpPr>
          <p:spPr bwMode="gray">
            <a:xfrm>
              <a:off x="2645513" y="4087941"/>
              <a:ext cx="87592" cy="44050"/>
            </a:xfrm>
            <a:custGeom>
              <a:avLst/>
              <a:gdLst>
                <a:gd name="T0" fmla="*/ 0 w 177"/>
                <a:gd name="T1" fmla="*/ 44 h 89"/>
                <a:gd name="T2" fmla="*/ 12 w 177"/>
                <a:gd name="T3" fmla="*/ 33 h 89"/>
                <a:gd name="T4" fmla="*/ 45 w 177"/>
                <a:gd name="T5" fmla="*/ 4 h 89"/>
                <a:gd name="T6" fmla="*/ 45 w 177"/>
                <a:gd name="T7" fmla="*/ 0 h 89"/>
                <a:gd name="T8" fmla="*/ 55 w 177"/>
                <a:gd name="T9" fmla="*/ 0 h 89"/>
                <a:gd name="T10" fmla="*/ 83 w 177"/>
                <a:gd name="T11" fmla="*/ 0 h 89"/>
                <a:gd name="T12" fmla="*/ 100 w 177"/>
                <a:gd name="T13" fmla="*/ 21 h 89"/>
                <a:gd name="T14" fmla="*/ 100 w 177"/>
                <a:gd name="T15" fmla="*/ 16 h 89"/>
                <a:gd name="T16" fmla="*/ 111 w 177"/>
                <a:gd name="T17" fmla="*/ 33 h 89"/>
                <a:gd name="T18" fmla="*/ 121 w 177"/>
                <a:gd name="T19" fmla="*/ 37 h 89"/>
                <a:gd name="T20" fmla="*/ 144 w 177"/>
                <a:gd name="T21" fmla="*/ 33 h 89"/>
                <a:gd name="T22" fmla="*/ 154 w 177"/>
                <a:gd name="T23" fmla="*/ 37 h 89"/>
                <a:gd name="T24" fmla="*/ 166 w 177"/>
                <a:gd name="T25" fmla="*/ 33 h 89"/>
                <a:gd name="T26" fmla="*/ 177 w 177"/>
                <a:gd name="T27" fmla="*/ 37 h 89"/>
                <a:gd name="T28" fmla="*/ 166 w 177"/>
                <a:gd name="T29" fmla="*/ 61 h 89"/>
                <a:gd name="T30" fmla="*/ 177 w 177"/>
                <a:gd name="T31" fmla="*/ 61 h 89"/>
                <a:gd name="T32" fmla="*/ 166 w 177"/>
                <a:gd name="T33" fmla="*/ 73 h 89"/>
                <a:gd name="T34" fmla="*/ 161 w 177"/>
                <a:gd name="T35" fmla="*/ 73 h 89"/>
                <a:gd name="T36" fmla="*/ 166 w 177"/>
                <a:gd name="T37" fmla="*/ 78 h 89"/>
                <a:gd name="T38" fmla="*/ 161 w 177"/>
                <a:gd name="T39" fmla="*/ 89 h 89"/>
                <a:gd name="T40" fmla="*/ 100 w 177"/>
                <a:gd name="T41" fmla="*/ 78 h 89"/>
                <a:gd name="T42" fmla="*/ 111 w 177"/>
                <a:gd name="T43" fmla="*/ 89 h 89"/>
                <a:gd name="T44" fmla="*/ 55 w 177"/>
                <a:gd name="T45" fmla="*/ 61 h 89"/>
                <a:gd name="T46" fmla="*/ 29 w 177"/>
                <a:gd name="T47" fmla="*/ 61 h 89"/>
                <a:gd name="T48" fmla="*/ 0 w 177"/>
                <a:gd name="T49" fmla="*/ 44 h 89"/>
                <a:gd name="T50" fmla="*/ 0 w 177"/>
                <a:gd name="T51" fmla="*/ 44 h 89"/>
                <a:gd name="T52" fmla="*/ 0 w 177"/>
                <a:gd name="T53"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7" h="89">
                  <a:moveTo>
                    <a:pt x="0" y="44"/>
                  </a:moveTo>
                  <a:lnTo>
                    <a:pt x="12" y="33"/>
                  </a:lnTo>
                  <a:lnTo>
                    <a:pt x="45" y="4"/>
                  </a:lnTo>
                  <a:lnTo>
                    <a:pt x="45" y="0"/>
                  </a:lnTo>
                  <a:lnTo>
                    <a:pt x="55" y="0"/>
                  </a:lnTo>
                  <a:lnTo>
                    <a:pt x="83" y="0"/>
                  </a:lnTo>
                  <a:lnTo>
                    <a:pt x="100" y="21"/>
                  </a:lnTo>
                  <a:lnTo>
                    <a:pt x="100" y="16"/>
                  </a:lnTo>
                  <a:lnTo>
                    <a:pt x="111" y="33"/>
                  </a:lnTo>
                  <a:lnTo>
                    <a:pt x="121" y="37"/>
                  </a:lnTo>
                  <a:lnTo>
                    <a:pt x="144" y="33"/>
                  </a:lnTo>
                  <a:lnTo>
                    <a:pt x="154" y="37"/>
                  </a:lnTo>
                  <a:lnTo>
                    <a:pt x="166" y="33"/>
                  </a:lnTo>
                  <a:lnTo>
                    <a:pt x="177" y="37"/>
                  </a:lnTo>
                  <a:lnTo>
                    <a:pt x="166" y="61"/>
                  </a:lnTo>
                  <a:lnTo>
                    <a:pt x="177" y="61"/>
                  </a:lnTo>
                  <a:lnTo>
                    <a:pt x="166" y="73"/>
                  </a:lnTo>
                  <a:lnTo>
                    <a:pt x="161" y="73"/>
                  </a:lnTo>
                  <a:lnTo>
                    <a:pt x="166" y="78"/>
                  </a:lnTo>
                  <a:lnTo>
                    <a:pt x="161" y="89"/>
                  </a:lnTo>
                  <a:lnTo>
                    <a:pt x="100" y="78"/>
                  </a:lnTo>
                  <a:lnTo>
                    <a:pt x="111" y="89"/>
                  </a:lnTo>
                  <a:lnTo>
                    <a:pt x="55" y="61"/>
                  </a:lnTo>
                  <a:lnTo>
                    <a:pt x="29" y="61"/>
                  </a:lnTo>
                  <a:lnTo>
                    <a:pt x="0" y="44"/>
                  </a:lnTo>
                  <a:lnTo>
                    <a:pt x="0" y="44"/>
                  </a:lnTo>
                  <a:lnTo>
                    <a:pt x="0" y="44"/>
                  </a:lnTo>
                  <a:close/>
                </a:path>
              </a:pathLst>
            </a:custGeom>
            <a:pattFill prst="nar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9" name="Freeform 436">
              <a:extLst>
                <a:ext uri="{FF2B5EF4-FFF2-40B4-BE49-F238E27FC236}">
                  <a16:creationId xmlns:a16="http://schemas.microsoft.com/office/drawing/2014/main" id="{7EF0778E-9BA8-46C4-93C1-509E881FE5BB}"/>
                </a:ext>
              </a:extLst>
            </p:cNvPr>
            <p:cNvSpPr>
              <a:spLocks/>
            </p:cNvSpPr>
            <p:nvPr/>
          </p:nvSpPr>
          <p:spPr bwMode="gray">
            <a:xfrm>
              <a:off x="6918280" y="4067649"/>
              <a:ext cx="522590" cy="415248"/>
            </a:xfrm>
            <a:custGeom>
              <a:avLst/>
              <a:gdLst>
                <a:gd name="T0" fmla="*/ 628 w 1056"/>
                <a:gd name="T1" fmla="*/ 794 h 839"/>
                <a:gd name="T2" fmla="*/ 553 w 1056"/>
                <a:gd name="T3" fmla="*/ 778 h 839"/>
                <a:gd name="T4" fmla="*/ 461 w 1056"/>
                <a:gd name="T5" fmla="*/ 839 h 839"/>
                <a:gd name="T6" fmla="*/ 369 w 1056"/>
                <a:gd name="T7" fmla="*/ 822 h 839"/>
                <a:gd name="T8" fmla="*/ 217 w 1056"/>
                <a:gd name="T9" fmla="*/ 761 h 839"/>
                <a:gd name="T10" fmla="*/ 196 w 1056"/>
                <a:gd name="T11" fmla="*/ 737 h 839"/>
                <a:gd name="T12" fmla="*/ 180 w 1056"/>
                <a:gd name="T13" fmla="*/ 688 h 839"/>
                <a:gd name="T14" fmla="*/ 163 w 1056"/>
                <a:gd name="T15" fmla="*/ 688 h 839"/>
                <a:gd name="T16" fmla="*/ 142 w 1056"/>
                <a:gd name="T17" fmla="*/ 650 h 839"/>
                <a:gd name="T18" fmla="*/ 109 w 1056"/>
                <a:gd name="T19" fmla="*/ 593 h 839"/>
                <a:gd name="T20" fmla="*/ 87 w 1056"/>
                <a:gd name="T21" fmla="*/ 577 h 839"/>
                <a:gd name="T22" fmla="*/ 33 w 1056"/>
                <a:gd name="T23" fmla="*/ 522 h 839"/>
                <a:gd name="T24" fmla="*/ 0 w 1056"/>
                <a:gd name="T25" fmla="*/ 506 h 839"/>
                <a:gd name="T26" fmla="*/ 17 w 1056"/>
                <a:gd name="T27" fmla="*/ 473 h 839"/>
                <a:gd name="T28" fmla="*/ 50 w 1056"/>
                <a:gd name="T29" fmla="*/ 466 h 839"/>
                <a:gd name="T30" fmla="*/ 83 w 1056"/>
                <a:gd name="T31" fmla="*/ 461 h 839"/>
                <a:gd name="T32" fmla="*/ 97 w 1056"/>
                <a:gd name="T33" fmla="*/ 338 h 839"/>
                <a:gd name="T34" fmla="*/ 121 w 1056"/>
                <a:gd name="T35" fmla="*/ 296 h 839"/>
                <a:gd name="T36" fmla="*/ 142 w 1056"/>
                <a:gd name="T37" fmla="*/ 296 h 839"/>
                <a:gd name="T38" fmla="*/ 151 w 1056"/>
                <a:gd name="T39" fmla="*/ 246 h 839"/>
                <a:gd name="T40" fmla="*/ 163 w 1056"/>
                <a:gd name="T41" fmla="*/ 222 h 839"/>
                <a:gd name="T42" fmla="*/ 227 w 1056"/>
                <a:gd name="T43" fmla="*/ 156 h 839"/>
                <a:gd name="T44" fmla="*/ 250 w 1056"/>
                <a:gd name="T45" fmla="*/ 78 h 839"/>
                <a:gd name="T46" fmla="*/ 250 w 1056"/>
                <a:gd name="T47" fmla="*/ 45 h 839"/>
                <a:gd name="T48" fmla="*/ 281 w 1056"/>
                <a:gd name="T49" fmla="*/ 45 h 839"/>
                <a:gd name="T50" fmla="*/ 305 w 1056"/>
                <a:gd name="T51" fmla="*/ 29 h 839"/>
                <a:gd name="T52" fmla="*/ 352 w 1056"/>
                <a:gd name="T53" fmla="*/ 0 h 839"/>
                <a:gd name="T54" fmla="*/ 373 w 1056"/>
                <a:gd name="T55" fmla="*/ 17 h 839"/>
                <a:gd name="T56" fmla="*/ 423 w 1056"/>
                <a:gd name="T57" fmla="*/ 29 h 839"/>
                <a:gd name="T58" fmla="*/ 444 w 1056"/>
                <a:gd name="T59" fmla="*/ 29 h 839"/>
                <a:gd name="T60" fmla="*/ 487 w 1056"/>
                <a:gd name="T61" fmla="*/ 41 h 839"/>
                <a:gd name="T62" fmla="*/ 553 w 1056"/>
                <a:gd name="T63" fmla="*/ 57 h 839"/>
                <a:gd name="T64" fmla="*/ 624 w 1056"/>
                <a:gd name="T65" fmla="*/ 128 h 839"/>
                <a:gd name="T66" fmla="*/ 650 w 1056"/>
                <a:gd name="T67" fmla="*/ 156 h 839"/>
                <a:gd name="T68" fmla="*/ 624 w 1056"/>
                <a:gd name="T69" fmla="*/ 230 h 839"/>
                <a:gd name="T70" fmla="*/ 624 w 1056"/>
                <a:gd name="T71" fmla="*/ 284 h 839"/>
                <a:gd name="T72" fmla="*/ 683 w 1056"/>
                <a:gd name="T73" fmla="*/ 279 h 839"/>
                <a:gd name="T74" fmla="*/ 683 w 1056"/>
                <a:gd name="T75" fmla="*/ 317 h 839"/>
                <a:gd name="T76" fmla="*/ 716 w 1056"/>
                <a:gd name="T77" fmla="*/ 362 h 839"/>
                <a:gd name="T78" fmla="*/ 737 w 1056"/>
                <a:gd name="T79" fmla="*/ 407 h 839"/>
                <a:gd name="T80" fmla="*/ 775 w 1056"/>
                <a:gd name="T81" fmla="*/ 433 h 839"/>
                <a:gd name="T82" fmla="*/ 1056 w 1056"/>
                <a:gd name="T83" fmla="*/ 506 h 839"/>
                <a:gd name="T84" fmla="*/ 775 w 1056"/>
                <a:gd name="T85" fmla="*/ 721 h 839"/>
                <a:gd name="T86" fmla="*/ 716 w 1056"/>
                <a:gd name="T87" fmla="*/ 744 h 839"/>
                <a:gd name="T88" fmla="*/ 640 w 1056"/>
                <a:gd name="T89" fmla="*/ 782 h 839"/>
                <a:gd name="T90" fmla="*/ 640 w 1056"/>
                <a:gd name="T91" fmla="*/ 782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56" h="839">
                  <a:moveTo>
                    <a:pt x="640" y="782"/>
                  </a:moveTo>
                  <a:lnTo>
                    <a:pt x="628" y="794"/>
                  </a:lnTo>
                  <a:lnTo>
                    <a:pt x="574" y="799"/>
                  </a:lnTo>
                  <a:lnTo>
                    <a:pt x="553" y="778"/>
                  </a:lnTo>
                  <a:lnTo>
                    <a:pt x="482" y="799"/>
                  </a:lnTo>
                  <a:lnTo>
                    <a:pt x="461" y="839"/>
                  </a:lnTo>
                  <a:lnTo>
                    <a:pt x="390" y="822"/>
                  </a:lnTo>
                  <a:lnTo>
                    <a:pt x="369" y="822"/>
                  </a:lnTo>
                  <a:lnTo>
                    <a:pt x="288" y="766"/>
                  </a:lnTo>
                  <a:lnTo>
                    <a:pt x="217" y="761"/>
                  </a:lnTo>
                  <a:lnTo>
                    <a:pt x="213" y="749"/>
                  </a:lnTo>
                  <a:lnTo>
                    <a:pt x="196" y="737"/>
                  </a:lnTo>
                  <a:lnTo>
                    <a:pt x="206" y="695"/>
                  </a:lnTo>
                  <a:lnTo>
                    <a:pt x="180" y="688"/>
                  </a:lnTo>
                  <a:lnTo>
                    <a:pt x="163" y="695"/>
                  </a:lnTo>
                  <a:lnTo>
                    <a:pt x="163" y="688"/>
                  </a:lnTo>
                  <a:lnTo>
                    <a:pt x="151" y="671"/>
                  </a:lnTo>
                  <a:lnTo>
                    <a:pt x="142" y="650"/>
                  </a:lnTo>
                  <a:lnTo>
                    <a:pt x="125" y="600"/>
                  </a:lnTo>
                  <a:lnTo>
                    <a:pt x="109" y="593"/>
                  </a:lnTo>
                  <a:lnTo>
                    <a:pt x="104" y="584"/>
                  </a:lnTo>
                  <a:lnTo>
                    <a:pt x="87" y="577"/>
                  </a:lnTo>
                  <a:lnTo>
                    <a:pt x="66" y="539"/>
                  </a:lnTo>
                  <a:lnTo>
                    <a:pt x="33" y="522"/>
                  </a:lnTo>
                  <a:lnTo>
                    <a:pt x="0" y="522"/>
                  </a:lnTo>
                  <a:lnTo>
                    <a:pt x="0" y="506"/>
                  </a:lnTo>
                  <a:lnTo>
                    <a:pt x="17" y="489"/>
                  </a:lnTo>
                  <a:lnTo>
                    <a:pt x="17" y="473"/>
                  </a:lnTo>
                  <a:lnTo>
                    <a:pt x="17" y="473"/>
                  </a:lnTo>
                  <a:lnTo>
                    <a:pt x="50" y="466"/>
                  </a:lnTo>
                  <a:lnTo>
                    <a:pt x="54" y="473"/>
                  </a:lnTo>
                  <a:lnTo>
                    <a:pt x="83" y="461"/>
                  </a:lnTo>
                  <a:lnTo>
                    <a:pt x="83" y="395"/>
                  </a:lnTo>
                  <a:lnTo>
                    <a:pt x="97" y="338"/>
                  </a:lnTo>
                  <a:lnTo>
                    <a:pt x="97" y="317"/>
                  </a:lnTo>
                  <a:lnTo>
                    <a:pt x="121" y="296"/>
                  </a:lnTo>
                  <a:lnTo>
                    <a:pt x="135" y="305"/>
                  </a:lnTo>
                  <a:lnTo>
                    <a:pt x="142" y="296"/>
                  </a:lnTo>
                  <a:lnTo>
                    <a:pt x="142" y="267"/>
                  </a:lnTo>
                  <a:lnTo>
                    <a:pt x="151" y="246"/>
                  </a:lnTo>
                  <a:lnTo>
                    <a:pt x="151" y="230"/>
                  </a:lnTo>
                  <a:lnTo>
                    <a:pt x="163" y="222"/>
                  </a:lnTo>
                  <a:lnTo>
                    <a:pt x="196" y="168"/>
                  </a:lnTo>
                  <a:lnTo>
                    <a:pt x="227" y="156"/>
                  </a:lnTo>
                  <a:lnTo>
                    <a:pt x="227" y="135"/>
                  </a:lnTo>
                  <a:lnTo>
                    <a:pt x="250" y="78"/>
                  </a:lnTo>
                  <a:lnTo>
                    <a:pt x="243" y="74"/>
                  </a:lnTo>
                  <a:lnTo>
                    <a:pt x="250" y="45"/>
                  </a:lnTo>
                  <a:lnTo>
                    <a:pt x="272" y="41"/>
                  </a:lnTo>
                  <a:lnTo>
                    <a:pt x="281" y="45"/>
                  </a:lnTo>
                  <a:lnTo>
                    <a:pt x="298" y="41"/>
                  </a:lnTo>
                  <a:lnTo>
                    <a:pt x="305" y="29"/>
                  </a:lnTo>
                  <a:lnTo>
                    <a:pt x="326" y="62"/>
                  </a:lnTo>
                  <a:lnTo>
                    <a:pt x="352" y="0"/>
                  </a:lnTo>
                  <a:lnTo>
                    <a:pt x="357" y="17"/>
                  </a:lnTo>
                  <a:lnTo>
                    <a:pt x="373" y="17"/>
                  </a:lnTo>
                  <a:lnTo>
                    <a:pt x="390" y="41"/>
                  </a:lnTo>
                  <a:lnTo>
                    <a:pt x="423" y="29"/>
                  </a:lnTo>
                  <a:lnTo>
                    <a:pt x="428" y="17"/>
                  </a:lnTo>
                  <a:lnTo>
                    <a:pt x="444" y="29"/>
                  </a:lnTo>
                  <a:lnTo>
                    <a:pt x="461" y="24"/>
                  </a:lnTo>
                  <a:lnTo>
                    <a:pt x="487" y="41"/>
                  </a:lnTo>
                  <a:lnTo>
                    <a:pt x="515" y="29"/>
                  </a:lnTo>
                  <a:lnTo>
                    <a:pt x="553" y="57"/>
                  </a:lnTo>
                  <a:lnTo>
                    <a:pt x="586" y="95"/>
                  </a:lnTo>
                  <a:lnTo>
                    <a:pt x="624" y="128"/>
                  </a:lnTo>
                  <a:lnTo>
                    <a:pt x="628" y="152"/>
                  </a:lnTo>
                  <a:lnTo>
                    <a:pt x="650" y="156"/>
                  </a:lnTo>
                  <a:lnTo>
                    <a:pt x="661" y="185"/>
                  </a:lnTo>
                  <a:lnTo>
                    <a:pt x="624" y="230"/>
                  </a:lnTo>
                  <a:lnTo>
                    <a:pt x="624" y="251"/>
                  </a:lnTo>
                  <a:lnTo>
                    <a:pt x="624" y="284"/>
                  </a:lnTo>
                  <a:lnTo>
                    <a:pt x="640" y="296"/>
                  </a:lnTo>
                  <a:lnTo>
                    <a:pt x="683" y="279"/>
                  </a:lnTo>
                  <a:lnTo>
                    <a:pt x="699" y="284"/>
                  </a:lnTo>
                  <a:lnTo>
                    <a:pt x="683" y="317"/>
                  </a:lnTo>
                  <a:lnTo>
                    <a:pt x="699" y="338"/>
                  </a:lnTo>
                  <a:lnTo>
                    <a:pt x="716" y="362"/>
                  </a:lnTo>
                  <a:lnTo>
                    <a:pt x="721" y="362"/>
                  </a:lnTo>
                  <a:lnTo>
                    <a:pt x="737" y="407"/>
                  </a:lnTo>
                  <a:lnTo>
                    <a:pt x="754" y="407"/>
                  </a:lnTo>
                  <a:lnTo>
                    <a:pt x="775" y="433"/>
                  </a:lnTo>
                  <a:lnTo>
                    <a:pt x="985" y="506"/>
                  </a:lnTo>
                  <a:lnTo>
                    <a:pt x="1056" y="506"/>
                  </a:lnTo>
                  <a:lnTo>
                    <a:pt x="846" y="728"/>
                  </a:lnTo>
                  <a:lnTo>
                    <a:pt x="775" y="721"/>
                  </a:lnTo>
                  <a:lnTo>
                    <a:pt x="754" y="728"/>
                  </a:lnTo>
                  <a:lnTo>
                    <a:pt x="716" y="744"/>
                  </a:lnTo>
                  <a:lnTo>
                    <a:pt x="699" y="766"/>
                  </a:lnTo>
                  <a:lnTo>
                    <a:pt x="640" y="782"/>
                  </a:lnTo>
                  <a:lnTo>
                    <a:pt x="640" y="782"/>
                  </a:lnTo>
                  <a:lnTo>
                    <a:pt x="640" y="782"/>
                  </a:lnTo>
                  <a:close/>
                </a:path>
              </a:pathLst>
            </a:custGeom>
            <a:pattFill prst="lt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0" name="Freeform 437">
              <a:extLst>
                <a:ext uri="{FF2B5EF4-FFF2-40B4-BE49-F238E27FC236}">
                  <a16:creationId xmlns:a16="http://schemas.microsoft.com/office/drawing/2014/main" id="{D1947901-463B-44AA-A1C5-D552A57BFFDA}"/>
                </a:ext>
              </a:extLst>
            </p:cNvPr>
            <p:cNvSpPr>
              <a:spLocks/>
            </p:cNvSpPr>
            <p:nvPr/>
          </p:nvSpPr>
          <p:spPr bwMode="gray">
            <a:xfrm>
              <a:off x="6194770" y="2605123"/>
              <a:ext cx="233582" cy="114825"/>
            </a:xfrm>
            <a:custGeom>
              <a:avLst/>
              <a:gdLst>
                <a:gd name="T0" fmla="*/ 340 w 472"/>
                <a:gd name="T1" fmla="*/ 225 h 232"/>
                <a:gd name="T2" fmla="*/ 340 w 472"/>
                <a:gd name="T3" fmla="*/ 220 h 232"/>
                <a:gd name="T4" fmla="*/ 309 w 472"/>
                <a:gd name="T5" fmla="*/ 208 h 232"/>
                <a:gd name="T6" fmla="*/ 276 w 472"/>
                <a:gd name="T7" fmla="*/ 220 h 232"/>
                <a:gd name="T8" fmla="*/ 205 w 472"/>
                <a:gd name="T9" fmla="*/ 187 h 232"/>
                <a:gd name="T10" fmla="*/ 201 w 472"/>
                <a:gd name="T11" fmla="*/ 208 h 232"/>
                <a:gd name="T12" fmla="*/ 194 w 472"/>
                <a:gd name="T13" fmla="*/ 208 h 232"/>
                <a:gd name="T14" fmla="*/ 184 w 472"/>
                <a:gd name="T15" fmla="*/ 232 h 232"/>
                <a:gd name="T16" fmla="*/ 146 w 472"/>
                <a:gd name="T17" fmla="*/ 225 h 232"/>
                <a:gd name="T18" fmla="*/ 125 w 472"/>
                <a:gd name="T19" fmla="*/ 208 h 232"/>
                <a:gd name="T20" fmla="*/ 59 w 472"/>
                <a:gd name="T21" fmla="*/ 166 h 232"/>
                <a:gd name="T22" fmla="*/ 38 w 472"/>
                <a:gd name="T23" fmla="*/ 154 h 232"/>
                <a:gd name="T24" fmla="*/ 21 w 472"/>
                <a:gd name="T25" fmla="*/ 133 h 232"/>
                <a:gd name="T26" fmla="*/ 31 w 472"/>
                <a:gd name="T27" fmla="*/ 109 h 232"/>
                <a:gd name="T28" fmla="*/ 5 w 472"/>
                <a:gd name="T29" fmla="*/ 92 h 232"/>
                <a:gd name="T30" fmla="*/ 0 w 472"/>
                <a:gd name="T31" fmla="*/ 67 h 232"/>
                <a:gd name="T32" fmla="*/ 16 w 472"/>
                <a:gd name="T33" fmla="*/ 76 h 232"/>
                <a:gd name="T34" fmla="*/ 31 w 472"/>
                <a:gd name="T35" fmla="*/ 59 h 232"/>
                <a:gd name="T36" fmla="*/ 59 w 472"/>
                <a:gd name="T37" fmla="*/ 59 h 232"/>
                <a:gd name="T38" fmla="*/ 97 w 472"/>
                <a:gd name="T39" fmla="*/ 26 h 232"/>
                <a:gd name="T40" fmla="*/ 151 w 472"/>
                <a:gd name="T41" fmla="*/ 10 h 232"/>
                <a:gd name="T42" fmla="*/ 163 w 472"/>
                <a:gd name="T43" fmla="*/ 10 h 232"/>
                <a:gd name="T44" fmla="*/ 151 w 472"/>
                <a:gd name="T45" fmla="*/ 5 h 232"/>
                <a:gd name="T46" fmla="*/ 151 w 472"/>
                <a:gd name="T47" fmla="*/ 0 h 232"/>
                <a:gd name="T48" fmla="*/ 168 w 472"/>
                <a:gd name="T49" fmla="*/ 5 h 232"/>
                <a:gd name="T50" fmla="*/ 177 w 472"/>
                <a:gd name="T51" fmla="*/ 22 h 232"/>
                <a:gd name="T52" fmla="*/ 194 w 472"/>
                <a:gd name="T53" fmla="*/ 22 h 232"/>
                <a:gd name="T54" fmla="*/ 201 w 472"/>
                <a:gd name="T55" fmla="*/ 22 h 232"/>
                <a:gd name="T56" fmla="*/ 201 w 472"/>
                <a:gd name="T57" fmla="*/ 5 h 232"/>
                <a:gd name="T58" fmla="*/ 217 w 472"/>
                <a:gd name="T59" fmla="*/ 5 h 232"/>
                <a:gd name="T60" fmla="*/ 231 w 472"/>
                <a:gd name="T61" fmla="*/ 26 h 232"/>
                <a:gd name="T62" fmla="*/ 286 w 472"/>
                <a:gd name="T63" fmla="*/ 38 h 232"/>
                <a:gd name="T64" fmla="*/ 302 w 472"/>
                <a:gd name="T65" fmla="*/ 43 h 232"/>
                <a:gd name="T66" fmla="*/ 286 w 472"/>
                <a:gd name="T67" fmla="*/ 59 h 232"/>
                <a:gd name="T68" fmla="*/ 314 w 472"/>
                <a:gd name="T69" fmla="*/ 92 h 232"/>
                <a:gd name="T70" fmla="*/ 347 w 472"/>
                <a:gd name="T71" fmla="*/ 76 h 232"/>
                <a:gd name="T72" fmla="*/ 340 w 472"/>
                <a:gd name="T73" fmla="*/ 59 h 232"/>
                <a:gd name="T74" fmla="*/ 368 w 472"/>
                <a:gd name="T75" fmla="*/ 76 h 232"/>
                <a:gd name="T76" fmla="*/ 394 w 472"/>
                <a:gd name="T77" fmla="*/ 67 h 232"/>
                <a:gd name="T78" fmla="*/ 394 w 472"/>
                <a:gd name="T79" fmla="*/ 76 h 232"/>
                <a:gd name="T80" fmla="*/ 385 w 472"/>
                <a:gd name="T81" fmla="*/ 83 h 232"/>
                <a:gd name="T82" fmla="*/ 394 w 472"/>
                <a:gd name="T83" fmla="*/ 92 h 232"/>
                <a:gd name="T84" fmla="*/ 411 w 472"/>
                <a:gd name="T85" fmla="*/ 100 h 232"/>
                <a:gd name="T86" fmla="*/ 418 w 472"/>
                <a:gd name="T87" fmla="*/ 92 h 232"/>
                <a:gd name="T88" fmla="*/ 456 w 472"/>
                <a:gd name="T89" fmla="*/ 109 h 232"/>
                <a:gd name="T90" fmla="*/ 456 w 472"/>
                <a:gd name="T91" fmla="*/ 121 h 232"/>
                <a:gd name="T92" fmla="*/ 472 w 472"/>
                <a:gd name="T93" fmla="*/ 133 h 232"/>
                <a:gd name="T94" fmla="*/ 472 w 472"/>
                <a:gd name="T95" fmla="*/ 149 h 232"/>
                <a:gd name="T96" fmla="*/ 456 w 472"/>
                <a:gd name="T97" fmla="*/ 149 h 232"/>
                <a:gd name="T98" fmla="*/ 432 w 472"/>
                <a:gd name="T99" fmla="*/ 166 h 232"/>
                <a:gd name="T100" fmla="*/ 418 w 472"/>
                <a:gd name="T101" fmla="*/ 187 h 232"/>
                <a:gd name="T102" fmla="*/ 394 w 472"/>
                <a:gd name="T103" fmla="*/ 204 h 232"/>
                <a:gd name="T104" fmla="*/ 357 w 472"/>
                <a:gd name="T105" fmla="*/ 204 h 232"/>
                <a:gd name="T106" fmla="*/ 340 w 472"/>
                <a:gd name="T107" fmla="*/ 225 h 232"/>
                <a:gd name="T108" fmla="*/ 340 w 472"/>
                <a:gd name="T109" fmla="*/ 225 h 232"/>
                <a:gd name="T110" fmla="*/ 340 w 472"/>
                <a:gd name="T111" fmla="*/ 22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2" h="232">
                  <a:moveTo>
                    <a:pt x="340" y="225"/>
                  </a:moveTo>
                  <a:lnTo>
                    <a:pt x="340" y="220"/>
                  </a:lnTo>
                  <a:lnTo>
                    <a:pt x="309" y="208"/>
                  </a:lnTo>
                  <a:lnTo>
                    <a:pt x="276" y="220"/>
                  </a:lnTo>
                  <a:lnTo>
                    <a:pt x="205" y="187"/>
                  </a:lnTo>
                  <a:lnTo>
                    <a:pt x="201" y="208"/>
                  </a:lnTo>
                  <a:lnTo>
                    <a:pt x="194" y="208"/>
                  </a:lnTo>
                  <a:lnTo>
                    <a:pt x="184" y="232"/>
                  </a:lnTo>
                  <a:lnTo>
                    <a:pt x="146" y="225"/>
                  </a:lnTo>
                  <a:lnTo>
                    <a:pt x="125" y="208"/>
                  </a:lnTo>
                  <a:lnTo>
                    <a:pt x="59" y="166"/>
                  </a:lnTo>
                  <a:lnTo>
                    <a:pt x="38" y="154"/>
                  </a:lnTo>
                  <a:lnTo>
                    <a:pt x="21" y="133"/>
                  </a:lnTo>
                  <a:lnTo>
                    <a:pt x="31" y="109"/>
                  </a:lnTo>
                  <a:lnTo>
                    <a:pt x="5" y="92"/>
                  </a:lnTo>
                  <a:lnTo>
                    <a:pt x="0" y="67"/>
                  </a:lnTo>
                  <a:lnTo>
                    <a:pt x="16" y="76"/>
                  </a:lnTo>
                  <a:lnTo>
                    <a:pt x="31" y="59"/>
                  </a:lnTo>
                  <a:lnTo>
                    <a:pt x="59" y="59"/>
                  </a:lnTo>
                  <a:lnTo>
                    <a:pt x="97" y="26"/>
                  </a:lnTo>
                  <a:lnTo>
                    <a:pt x="151" y="10"/>
                  </a:lnTo>
                  <a:lnTo>
                    <a:pt x="163" y="10"/>
                  </a:lnTo>
                  <a:lnTo>
                    <a:pt x="151" y="5"/>
                  </a:lnTo>
                  <a:lnTo>
                    <a:pt x="151" y="0"/>
                  </a:lnTo>
                  <a:lnTo>
                    <a:pt x="168" y="5"/>
                  </a:lnTo>
                  <a:lnTo>
                    <a:pt x="177" y="22"/>
                  </a:lnTo>
                  <a:lnTo>
                    <a:pt x="194" y="22"/>
                  </a:lnTo>
                  <a:lnTo>
                    <a:pt x="201" y="22"/>
                  </a:lnTo>
                  <a:lnTo>
                    <a:pt x="201" y="5"/>
                  </a:lnTo>
                  <a:lnTo>
                    <a:pt x="217" y="5"/>
                  </a:lnTo>
                  <a:lnTo>
                    <a:pt x="231" y="26"/>
                  </a:lnTo>
                  <a:lnTo>
                    <a:pt x="286" y="38"/>
                  </a:lnTo>
                  <a:lnTo>
                    <a:pt x="302" y="43"/>
                  </a:lnTo>
                  <a:lnTo>
                    <a:pt x="286" y="59"/>
                  </a:lnTo>
                  <a:lnTo>
                    <a:pt x="314" y="92"/>
                  </a:lnTo>
                  <a:lnTo>
                    <a:pt x="347" y="76"/>
                  </a:lnTo>
                  <a:lnTo>
                    <a:pt x="340" y="59"/>
                  </a:lnTo>
                  <a:lnTo>
                    <a:pt x="368" y="76"/>
                  </a:lnTo>
                  <a:lnTo>
                    <a:pt x="394" y="67"/>
                  </a:lnTo>
                  <a:lnTo>
                    <a:pt x="394" y="76"/>
                  </a:lnTo>
                  <a:lnTo>
                    <a:pt x="385" y="83"/>
                  </a:lnTo>
                  <a:lnTo>
                    <a:pt x="394" y="92"/>
                  </a:lnTo>
                  <a:lnTo>
                    <a:pt x="411" y="100"/>
                  </a:lnTo>
                  <a:lnTo>
                    <a:pt x="418" y="92"/>
                  </a:lnTo>
                  <a:lnTo>
                    <a:pt x="456" y="109"/>
                  </a:lnTo>
                  <a:lnTo>
                    <a:pt x="456" y="121"/>
                  </a:lnTo>
                  <a:lnTo>
                    <a:pt x="472" y="133"/>
                  </a:lnTo>
                  <a:lnTo>
                    <a:pt x="472" y="149"/>
                  </a:lnTo>
                  <a:lnTo>
                    <a:pt x="456" y="149"/>
                  </a:lnTo>
                  <a:lnTo>
                    <a:pt x="432" y="166"/>
                  </a:lnTo>
                  <a:lnTo>
                    <a:pt x="418" y="187"/>
                  </a:lnTo>
                  <a:lnTo>
                    <a:pt x="394" y="204"/>
                  </a:lnTo>
                  <a:lnTo>
                    <a:pt x="357" y="204"/>
                  </a:lnTo>
                  <a:lnTo>
                    <a:pt x="340" y="225"/>
                  </a:lnTo>
                  <a:lnTo>
                    <a:pt x="340" y="225"/>
                  </a:lnTo>
                  <a:lnTo>
                    <a:pt x="340" y="225"/>
                  </a:lnTo>
                  <a:close/>
                </a:path>
              </a:pathLst>
            </a:custGeom>
            <a:pattFill prst="dk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1" name="Freeform 438">
              <a:extLst>
                <a:ext uri="{FF2B5EF4-FFF2-40B4-BE49-F238E27FC236}">
                  <a16:creationId xmlns:a16="http://schemas.microsoft.com/office/drawing/2014/main" id="{ADD994E0-1675-43F7-9E3F-59B03BE303BD}"/>
                </a:ext>
              </a:extLst>
            </p:cNvPr>
            <p:cNvSpPr>
              <a:spLocks/>
            </p:cNvSpPr>
            <p:nvPr/>
          </p:nvSpPr>
          <p:spPr bwMode="gray">
            <a:xfrm>
              <a:off x="3881220" y="4397769"/>
              <a:ext cx="98480" cy="129673"/>
            </a:xfrm>
            <a:custGeom>
              <a:avLst/>
              <a:gdLst>
                <a:gd name="T0" fmla="*/ 0 w 199"/>
                <a:gd name="T1" fmla="*/ 245 h 262"/>
                <a:gd name="T2" fmla="*/ 17 w 199"/>
                <a:gd name="T3" fmla="*/ 238 h 262"/>
                <a:gd name="T4" fmla="*/ 21 w 199"/>
                <a:gd name="T5" fmla="*/ 212 h 262"/>
                <a:gd name="T6" fmla="*/ 21 w 199"/>
                <a:gd name="T7" fmla="*/ 189 h 262"/>
                <a:gd name="T8" fmla="*/ 33 w 199"/>
                <a:gd name="T9" fmla="*/ 184 h 262"/>
                <a:gd name="T10" fmla="*/ 38 w 199"/>
                <a:gd name="T11" fmla="*/ 155 h 262"/>
                <a:gd name="T12" fmla="*/ 17 w 199"/>
                <a:gd name="T13" fmla="*/ 127 h 262"/>
                <a:gd name="T14" fmla="*/ 7 w 199"/>
                <a:gd name="T15" fmla="*/ 73 h 262"/>
                <a:gd name="T16" fmla="*/ 7 w 199"/>
                <a:gd name="T17" fmla="*/ 54 h 262"/>
                <a:gd name="T18" fmla="*/ 33 w 199"/>
                <a:gd name="T19" fmla="*/ 28 h 262"/>
                <a:gd name="T20" fmla="*/ 38 w 199"/>
                <a:gd name="T21" fmla="*/ 4 h 262"/>
                <a:gd name="T22" fmla="*/ 50 w 199"/>
                <a:gd name="T23" fmla="*/ 0 h 262"/>
                <a:gd name="T24" fmla="*/ 76 w 199"/>
                <a:gd name="T25" fmla="*/ 16 h 262"/>
                <a:gd name="T26" fmla="*/ 114 w 199"/>
                <a:gd name="T27" fmla="*/ 21 h 262"/>
                <a:gd name="T28" fmla="*/ 177 w 199"/>
                <a:gd name="T29" fmla="*/ 77 h 262"/>
                <a:gd name="T30" fmla="*/ 182 w 199"/>
                <a:gd name="T31" fmla="*/ 94 h 262"/>
                <a:gd name="T32" fmla="*/ 177 w 199"/>
                <a:gd name="T33" fmla="*/ 99 h 262"/>
                <a:gd name="T34" fmla="*/ 182 w 199"/>
                <a:gd name="T35" fmla="*/ 99 h 262"/>
                <a:gd name="T36" fmla="*/ 182 w 199"/>
                <a:gd name="T37" fmla="*/ 77 h 262"/>
                <a:gd name="T38" fmla="*/ 194 w 199"/>
                <a:gd name="T39" fmla="*/ 82 h 262"/>
                <a:gd name="T40" fmla="*/ 199 w 199"/>
                <a:gd name="T41" fmla="*/ 111 h 262"/>
                <a:gd name="T42" fmla="*/ 199 w 199"/>
                <a:gd name="T43" fmla="*/ 127 h 262"/>
                <a:gd name="T44" fmla="*/ 156 w 199"/>
                <a:gd name="T45" fmla="*/ 189 h 262"/>
                <a:gd name="T46" fmla="*/ 139 w 199"/>
                <a:gd name="T47" fmla="*/ 238 h 262"/>
                <a:gd name="T48" fmla="*/ 114 w 199"/>
                <a:gd name="T49" fmla="*/ 262 h 262"/>
                <a:gd name="T50" fmla="*/ 92 w 199"/>
                <a:gd name="T51" fmla="*/ 262 h 262"/>
                <a:gd name="T52" fmla="*/ 85 w 199"/>
                <a:gd name="T53" fmla="*/ 245 h 262"/>
                <a:gd name="T54" fmla="*/ 71 w 199"/>
                <a:gd name="T55" fmla="*/ 250 h 262"/>
                <a:gd name="T56" fmla="*/ 54 w 199"/>
                <a:gd name="T57" fmla="*/ 245 h 262"/>
                <a:gd name="T58" fmla="*/ 33 w 199"/>
                <a:gd name="T59" fmla="*/ 262 h 262"/>
                <a:gd name="T60" fmla="*/ 0 w 199"/>
                <a:gd name="T61" fmla="*/ 245 h 262"/>
                <a:gd name="T62" fmla="*/ 0 w 199"/>
                <a:gd name="T63" fmla="*/ 245 h 262"/>
                <a:gd name="T64" fmla="*/ 0 w 199"/>
                <a:gd name="T65" fmla="*/ 24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9" h="262">
                  <a:moveTo>
                    <a:pt x="0" y="245"/>
                  </a:moveTo>
                  <a:lnTo>
                    <a:pt x="17" y="238"/>
                  </a:lnTo>
                  <a:lnTo>
                    <a:pt x="21" y="212"/>
                  </a:lnTo>
                  <a:lnTo>
                    <a:pt x="21" y="189"/>
                  </a:lnTo>
                  <a:lnTo>
                    <a:pt x="33" y="184"/>
                  </a:lnTo>
                  <a:lnTo>
                    <a:pt x="38" y="155"/>
                  </a:lnTo>
                  <a:lnTo>
                    <a:pt x="17" y="127"/>
                  </a:lnTo>
                  <a:lnTo>
                    <a:pt x="7" y="73"/>
                  </a:lnTo>
                  <a:lnTo>
                    <a:pt x="7" y="54"/>
                  </a:lnTo>
                  <a:lnTo>
                    <a:pt x="33" y="28"/>
                  </a:lnTo>
                  <a:lnTo>
                    <a:pt x="38" y="4"/>
                  </a:lnTo>
                  <a:lnTo>
                    <a:pt x="50" y="0"/>
                  </a:lnTo>
                  <a:lnTo>
                    <a:pt x="76" y="16"/>
                  </a:lnTo>
                  <a:lnTo>
                    <a:pt x="114" y="21"/>
                  </a:lnTo>
                  <a:lnTo>
                    <a:pt x="177" y="77"/>
                  </a:lnTo>
                  <a:lnTo>
                    <a:pt x="182" y="94"/>
                  </a:lnTo>
                  <a:lnTo>
                    <a:pt x="177" y="99"/>
                  </a:lnTo>
                  <a:lnTo>
                    <a:pt x="182" y="99"/>
                  </a:lnTo>
                  <a:lnTo>
                    <a:pt x="182" y="77"/>
                  </a:lnTo>
                  <a:lnTo>
                    <a:pt x="194" y="82"/>
                  </a:lnTo>
                  <a:lnTo>
                    <a:pt x="199" y="111"/>
                  </a:lnTo>
                  <a:lnTo>
                    <a:pt x="199" y="127"/>
                  </a:lnTo>
                  <a:lnTo>
                    <a:pt x="156" y="189"/>
                  </a:lnTo>
                  <a:lnTo>
                    <a:pt x="139" y="238"/>
                  </a:lnTo>
                  <a:lnTo>
                    <a:pt x="114" y="262"/>
                  </a:lnTo>
                  <a:lnTo>
                    <a:pt x="92" y="262"/>
                  </a:lnTo>
                  <a:lnTo>
                    <a:pt x="85" y="245"/>
                  </a:lnTo>
                  <a:lnTo>
                    <a:pt x="71" y="250"/>
                  </a:lnTo>
                  <a:lnTo>
                    <a:pt x="54" y="245"/>
                  </a:lnTo>
                  <a:lnTo>
                    <a:pt x="33" y="262"/>
                  </a:lnTo>
                  <a:lnTo>
                    <a:pt x="0" y="245"/>
                  </a:lnTo>
                  <a:lnTo>
                    <a:pt x="0" y="245"/>
                  </a:lnTo>
                  <a:lnTo>
                    <a:pt x="0" y="245"/>
                  </a:lnTo>
                  <a:close/>
                </a:path>
              </a:pathLst>
            </a:custGeom>
            <a:pattFill prst="lt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2" name="Freeform 439">
              <a:extLst>
                <a:ext uri="{FF2B5EF4-FFF2-40B4-BE49-F238E27FC236}">
                  <a16:creationId xmlns:a16="http://schemas.microsoft.com/office/drawing/2014/main" id="{54E0BE32-2DEC-45DA-8D05-4C52716C03B7}"/>
                </a:ext>
              </a:extLst>
            </p:cNvPr>
            <p:cNvSpPr>
              <a:spLocks noEditPoints="1"/>
            </p:cNvSpPr>
            <p:nvPr/>
          </p:nvSpPr>
          <p:spPr bwMode="gray">
            <a:xfrm>
              <a:off x="6452107" y="1573191"/>
              <a:ext cx="419656" cy="595898"/>
            </a:xfrm>
            <a:custGeom>
              <a:avLst/>
              <a:gdLst>
                <a:gd name="T0" fmla="*/ 290 w 848"/>
                <a:gd name="T1" fmla="*/ 448 h 1204"/>
                <a:gd name="T2" fmla="*/ 290 w 848"/>
                <a:gd name="T3" fmla="*/ 349 h 1204"/>
                <a:gd name="T4" fmla="*/ 290 w 848"/>
                <a:gd name="T5" fmla="*/ 267 h 1204"/>
                <a:gd name="T6" fmla="*/ 113 w 848"/>
                <a:gd name="T7" fmla="*/ 115 h 1204"/>
                <a:gd name="T8" fmla="*/ 205 w 848"/>
                <a:gd name="T9" fmla="*/ 172 h 1204"/>
                <a:gd name="T10" fmla="*/ 399 w 848"/>
                <a:gd name="T11" fmla="*/ 155 h 1204"/>
                <a:gd name="T12" fmla="*/ 491 w 848"/>
                <a:gd name="T13" fmla="*/ 16 h 1204"/>
                <a:gd name="T14" fmla="*/ 685 w 848"/>
                <a:gd name="T15" fmla="*/ 70 h 1204"/>
                <a:gd name="T16" fmla="*/ 654 w 848"/>
                <a:gd name="T17" fmla="*/ 155 h 1204"/>
                <a:gd name="T18" fmla="*/ 739 w 848"/>
                <a:gd name="T19" fmla="*/ 300 h 1204"/>
                <a:gd name="T20" fmla="*/ 746 w 848"/>
                <a:gd name="T21" fmla="*/ 538 h 1204"/>
                <a:gd name="T22" fmla="*/ 729 w 848"/>
                <a:gd name="T23" fmla="*/ 611 h 1204"/>
                <a:gd name="T24" fmla="*/ 755 w 848"/>
                <a:gd name="T25" fmla="*/ 666 h 1204"/>
                <a:gd name="T26" fmla="*/ 777 w 848"/>
                <a:gd name="T27" fmla="*/ 727 h 1204"/>
                <a:gd name="T28" fmla="*/ 685 w 848"/>
                <a:gd name="T29" fmla="*/ 1044 h 1204"/>
                <a:gd name="T30" fmla="*/ 491 w 848"/>
                <a:gd name="T31" fmla="*/ 1133 h 1204"/>
                <a:gd name="T32" fmla="*/ 458 w 848"/>
                <a:gd name="T33" fmla="*/ 1133 h 1204"/>
                <a:gd name="T34" fmla="*/ 437 w 848"/>
                <a:gd name="T35" fmla="*/ 1150 h 1204"/>
                <a:gd name="T36" fmla="*/ 361 w 848"/>
                <a:gd name="T37" fmla="*/ 1171 h 1204"/>
                <a:gd name="T38" fmla="*/ 257 w 848"/>
                <a:gd name="T39" fmla="*/ 1195 h 1204"/>
                <a:gd name="T40" fmla="*/ 252 w 848"/>
                <a:gd name="T41" fmla="*/ 1183 h 1204"/>
                <a:gd name="T42" fmla="*/ 215 w 848"/>
                <a:gd name="T43" fmla="*/ 1155 h 1204"/>
                <a:gd name="T44" fmla="*/ 144 w 848"/>
                <a:gd name="T45" fmla="*/ 1126 h 1204"/>
                <a:gd name="T46" fmla="*/ 151 w 848"/>
                <a:gd name="T47" fmla="*/ 1015 h 1204"/>
                <a:gd name="T48" fmla="*/ 113 w 848"/>
                <a:gd name="T49" fmla="*/ 892 h 1204"/>
                <a:gd name="T50" fmla="*/ 134 w 848"/>
                <a:gd name="T51" fmla="*/ 822 h 1204"/>
                <a:gd name="T52" fmla="*/ 189 w 848"/>
                <a:gd name="T53" fmla="*/ 800 h 1204"/>
                <a:gd name="T54" fmla="*/ 236 w 848"/>
                <a:gd name="T55" fmla="*/ 760 h 1204"/>
                <a:gd name="T56" fmla="*/ 340 w 848"/>
                <a:gd name="T57" fmla="*/ 670 h 1204"/>
                <a:gd name="T58" fmla="*/ 399 w 848"/>
                <a:gd name="T59" fmla="*/ 628 h 1204"/>
                <a:gd name="T60" fmla="*/ 361 w 848"/>
                <a:gd name="T61" fmla="*/ 543 h 1204"/>
                <a:gd name="T62" fmla="*/ 328 w 848"/>
                <a:gd name="T63" fmla="*/ 522 h 1204"/>
                <a:gd name="T64" fmla="*/ 382 w 848"/>
                <a:gd name="T65" fmla="*/ 616 h 1204"/>
                <a:gd name="T66" fmla="*/ 236 w 848"/>
                <a:gd name="T67" fmla="*/ 748 h 1204"/>
                <a:gd name="T68" fmla="*/ 122 w 848"/>
                <a:gd name="T69" fmla="*/ 817 h 1204"/>
                <a:gd name="T70" fmla="*/ 189 w 848"/>
                <a:gd name="T71" fmla="*/ 822 h 1204"/>
                <a:gd name="T72" fmla="*/ 189 w 848"/>
                <a:gd name="T73" fmla="*/ 822 h 1204"/>
                <a:gd name="T74" fmla="*/ 122 w 848"/>
                <a:gd name="T75" fmla="*/ 833 h 1204"/>
                <a:gd name="T76" fmla="*/ 129 w 848"/>
                <a:gd name="T77" fmla="*/ 1081 h 1204"/>
                <a:gd name="T78" fmla="*/ 134 w 848"/>
                <a:gd name="T79" fmla="*/ 1126 h 1204"/>
                <a:gd name="T80" fmla="*/ 160 w 848"/>
                <a:gd name="T81" fmla="*/ 1138 h 1204"/>
                <a:gd name="T82" fmla="*/ 26 w 848"/>
                <a:gd name="T83" fmla="*/ 1183 h 1204"/>
                <a:gd name="T84" fmla="*/ 26 w 848"/>
                <a:gd name="T85" fmla="*/ 1150 h 1204"/>
                <a:gd name="T86" fmla="*/ 42 w 848"/>
                <a:gd name="T87" fmla="*/ 1155 h 1204"/>
                <a:gd name="T88" fmla="*/ 26 w 848"/>
                <a:gd name="T89" fmla="*/ 1183 h 1204"/>
                <a:gd name="T90" fmla="*/ 198 w 848"/>
                <a:gd name="T91" fmla="*/ 1150 h 1204"/>
                <a:gd name="T92" fmla="*/ 198 w 848"/>
                <a:gd name="T93" fmla="*/ 1150 h 1204"/>
                <a:gd name="T94" fmla="*/ 432 w 848"/>
                <a:gd name="T95" fmla="*/ 1150 h 1204"/>
                <a:gd name="T96" fmla="*/ 59 w 848"/>
                <a:gd name="T97" fmla="*/ 1166 h 1204"/>
                <a:gd name="T98" fmla="*/ 59 w 848"/>
                <a:gd name="T99" fmla="*/ 1166 h 1204"/>
                <a:gd name="T100" fmla="*/ 4 w 848"/>
                <a:gd name="T101" fmla="*/ 1171 h 1204"/>
                <a:gd name="T102" fmla="*/ 205 w 848"/>
                <a:gd name="T103" fmla="*/ 1155 h 1204"/>
                <a:gd name="T104" fmla="*/ 215 w 848"/>
                <a:gd name="T105" fmla="*/ 1183 h 1204"/>
                <a:gd name="T106" fmla="*/ 177 w 848"/>
                <a:gd name="T107" fmla="*/ 1166 h 1204"/>
                <a:gd name="T108" fmla="*/ 160 w 848"/>
                <a:gd name="T109" fmla="*/ 1171 h 1204"/>
                <a:gd name="T110" fmla="*/ 59 w 848"/>
                <a:gd name="T111" fmla="*/ 1171 h 1204"/>
                <a:gd name="T112" fmla="*/ 52 w 848"/>
                <a:gd name="T113" fmla="*/ 1171 h 1204"/>
                <a:gd name="T114" fmla="*/ 42 w 848"/>
                <a:gd name="T115" fmla="*/ 1171 h 1204"/>
                <a:gd name="T116" fmla="*/ 205 w 848"/>
                <a:gd name="T117" fmla="*/ 1171 h 1204"/>
                <a:gd name="T118" fmla="*/ 243 w 848"/>
                <a:gd name="T119" fmla="*/ 1195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8" h="1204">
                  <a:moveTo>
                    <a:pt x="328" y="522"/>
                  </a:moveTo>
                  <a:lnTo>
                    <a:pt x="311" y="489"/>
                  </a:lnTo>
                  <a:lnTo>
                    <a:pt x="297" y="481"/>
                  </a:lnTo>
                  <a:lnTo>
                    <a:pt x="290" y="465"/>
                  </a:lnTo>
                  <a:lnTo>
                    <a:pt x="290" y="448"/>
                  </a:lnTo>
                  <a:lnTo>
                    <a:pt x="307" y="432"/>
                  </a:lnTo>
                  <a:lnTo>
                    <a:pt x="307" y="411"/>
                  </a:lnTo>
                  <a:lnTo>
                    <a:pt x="311" y="404"/>
                  </a:lnTo>
                  <a:lnTo>
                    <a:pt x="285" y="361"/>
                  </a:lnTo>
                  <a:lnTo>
                    <a:pt x="290" y="349"/>
                  </a:lnTo>
                  <a:lnTo>
                    <a:pt x="297" y="349"/>
                  </a:lnTo>
                  <a:lnTo>
                    <a:pt x="297" y="333"/>
                  </a:lnTo>
                  <a:lnTo>
                    <a:pt x="274" y="321"/>
                  </a:lnTo>
                  <a:lnTo>
                    <a:pt x="274" y="276"/>
                  </a:lnTo>
                  <a:lnTo>
                    <a:pt x="290" y="267"/>
                  </a:lnTo>
                  <a:lnTo>
                    <a:pt x="236" y="210"/>
                  </a:lnTo>
                  <a:lnTo>
                    <a:pt x="177" y="193"/>
                  </a:lnTo>
                  <a:lnTo>
                    <a:pt x="75" y="127"/>
                  </a:lnTo>
                  <a:lnTo>
                    <a:pt x="106" y="132"/>
                  </a:lnTo>
                  <a:lnTo>
                    <a:pt x="113" y="115"/>
                  </a:lnTo>
                  <a:lnTo>
                    <a:pt x="106" y="111"/>
                  </a:lnTo>
                  <a:lnTo>
                    <a:pt x="129" y="94"/>
                  </a:lnTo>
                  <a:lnTo>
                    <a:pt x="151" y="99"/>
                  </a:lnTo>
                  <a:lnTo>
                    <a:pt x="198" y="155"/>
                  </a:lnTo>
                  <a:lnTo>
                    <a:pt x="205" y="172"/>
                  </a:lnTo>
                  <a:lnTo>
                    <a:pt x="257" y="181"/>
                  </a:lnTo>
                  <a:lnTo>
                    <a:pt x="311" y="155"/>
                  </a:lnTo>
                  <a:lnTo>
                    <a:pt x="382" y="189"/>
                  </a:lnTo>
                  <a:lnTo>
                    <a:pt x="394" y="181"/>
                  </a:lnTo>
                  <a:lnTo>
                    <a:pt x="399" y="155"/>
                  </a:lnTo>
                  <a:lnTo>
                    <a:pt x="432" y="148"/>
                  </a:lnTo>
                  <a:lnTo>
                    <a:pt x="437" y="132"/>
                  </a:lnTo>
                  <a:lnTo>
                    <a:pt x="437" y="99"/>
                  </a:lnTo>
                  <a:lnTo>
                    <a:pt x="453" y="44"/>
                  </a:lnTo>
                  <a:lnTo>
                    <a:pt x="491" y="16"/>
                  </a:lnTo>
                  <a:lnTo>
                    <a:pt x="529" y="21"/>
                  </a:lnTo>
                  <a:lnTo>
                    <a:pt x="595" y="0"/>
                  </a:lnTo>
                  <a:lnTo>
                    <a:pt x="621" y="28"/>
                  </a:lnTo>
                  <a:lnTo>
                    <a:pt x="675" y="44"/>
                  </a:lnTo>
                  <a:lnTo>
                    <a:pt x="685" y="70"/>
                  </a:lnTo>
                  <a:lnTo>
                    <a:pt x="654" y="99"/>
                  </a:lnTo>
                  <a:lnTo>
                    <a:pt x="654" y="115"/>
                  </a:lnTo>
                  <a:lnTo>
                    <a:pt x="663" y="127"/>
                  </a:lnTo>
                  <a:lnTo>
                    <a:pt x="621" y="148"/>
                  </a:lnTo>
                  <a:lnTo>
                    <a:pt x="654" y="155"/>
                  </a:lnTo>
                  <a:lnTo>
                    <a:pt x="633" y="193"/>
                  </a:lnTo>
                  <a:lnTo>
                    <a:pt x="647" y="238"/>
                  </a:lnTo>
                  <a:lnTo>
                    <a:pt x="692" y="250"/>
                  </a:lnTo>
                  <a:lnTo>
                    <a:pt x="718" y="283"/>
                  </a:lnTo>
                  <a:lnTo>
                    <a:pt x="739" y="300"/>
                  </a:lnTo>
                  <a:lnTo>
                    <a:pt x="729" y="316"/>
                  </a:lnTo>
                  <a:lnTo>
                    <a:pt x="675" y="378"/>
                  </a:lnTo>
                  <a:lnTo>
                    <a:pt x="670" y="394"/>
                  </a:lnTo>
                  <a:lnTo>
                    <a:pt x="729" y="489"/>
                  </a:lnTo>
                  <a:lnTo>
                    <a:pt x="746" y="538"/>
                  </a:lnTo>
                  <a:lnTo>
                    <a:pt x="725" y="543"/>
                  </a:lnTo>
                  <a:lnTo>
                    <a:pt x="718" y="576"/>
                  </a:lnTo>
                  <a:lnTo>
                    <a:pt x="708" y="592"/>
                  </a:lnTo>
                  <a:lnTo>
                    <a:pt x="725" y="592"/>
                  </a:lnTo>
                  <a:lnTo>
                    <a:pt x="729" y="611"/>
                  </a:lnTo>
                  <a:lnTo>
                    <a:pt x="708" y="611"/>
                  </a:lnTo>
                  <a:lnTo>
                    <a:pt x="708" y="633"/>
                  </a:lnTo>
                  <a:lnTo>
                    <a:pt x="725" y="637"/>
                  </a:lnTo>
                  <a:lnTo>
                    <a:pt x="746" y="649"/>
                  </a:lnTo>
                  <a:lnTo>
                    <a:pt x="755" y="666"/>
                  </a:lnTo>
                  <a:lnTo>
                    <a:pt x="739" y="670"/>
                  </a:lnTo>
                  <a:lnTo>
                    <a:pt x="746" y="682"/>
                  </a:lnTo>
                  <a:lnTo>
                    <a:pt x="739" y="687"/>
                  </a:lnTo>
                  <a:lnTo>
                    <a:pt x="777" y="711"/>
                  </a:lnTo>
                  <a:lnTo>
                    <a:pt x="777" y="727"/>
                  </a:lnTo>
                  <a:lnTo>
                    <a:pt x="739" y="765"/>
                  </a:lnTo>
                  <a:lnTo>
                    <a:pt x="826" y="822"/>
                  </a:lnTo>
                  <a:lnTo>
                    <a:pt x="848" y="859"/>
                  </a:lnTo>
                  <a:lnTo>
                    <a:pt x="826" y="904"/>
                  </a:lnTo>
                  <a:lnTo>
                    <a:pt x="685" y="1044"/>
                  </a:lnTo>
                  <a:lnTo>
                    <a:pt x="583" y="1126"/>
                  </a:lnTo>
                  <a:lnTo>
                    <a:pt x="562" y="1133"/>
                  </a:lnTo>
                  <a:lnTo>
                    <a:pt x="540" y="1117"/>
                  </a:lnTo>
                  <a:lnTo>
                    <a:pt x="524" y="1133"/>
                  </a:lnTo>
                  <a:lnTo>
                    <a:pt x="491" y="1133"/>
                  </a:lnTo>
                  <a:lnTo>
                    <a:pt x="503" y="1117"/>
                  </a:lnTo>
                  <a:lnTo>
                    <a:pt x="507" y="1117"/>
                  </a:lnTo>
                  <a:lnTo>
                    <a:pt x="503" y="1110"/>
                  </a:lnTo>
                  <a:lnTo>
                    <a:pt x="486" y="1138"/>
                  </a:lnTo>
                  <a:lnTo>
                    <a:pt x="458" y="1133"/>
                  </a:lnTo>
                  <a:lnTo>
                    <a:pt x="458" y="1150"/>
                  </a:lnTo>
                  <a:lnTo>
                    <a:pt x="458" y="1150"/>
                  </a:lnTo>
                  <a:lnTo>
                    <a:pt x="448" y="1138"/>
                  </a:lnTo>
                  <a:lnTo>
                    <a:pt x="453" y="1155"/>
                  </a:lnTo>
                  <a:lnTo>
                    <a:pt x="437" y="1150"/>
                  </a:lnTo>
                  <a:lnTo>
                    <a:pt x="448" y="1155"/>
                  </a:lnTo>
                  <a:lnTo>
                    <a:pt x="437" y="1155"/>
                  </a:lnTo>
                  <a:lnTo>
                    <a:pt x="432" y="1138"/>
                  </a:lnTo>
                  <a:lnTo>
                    <a:pt x="420" y="1155"/>
                  </a:lnTo>
                  <a:lnTo>
                    <a:pt x="361" y="1171"/>
                  </a:lnTo>
                  <a:lnTo>
                    <a:pt x="349" y="1183"/>
                  </a:lnTo>
                  <a:lnTo>
                    <a:pt x="340" y="1171"/>
                  </a:lnTo>
                  <a:lnTo>
                    <a:pt x="274" y="1188"/>
                  </a:lnTo>
                  <a:lnTo>
                    <a:pt x="285" y="1171"/>
                  </a:lnTo>
                  <a:lnTo>
                    <a:pt x="257" y="1195"/>
                  </a:lnTo>
                  <a:lnTo>
                    <a:pt x="236" y="1204"/>
                  </a:lnTo>
                  <a:lnTo>
                    <a:pt x="269" y="1183"/>
                  </a:lnTo>
                  <a:lnTo>
                    <a:pt x="252" y="1188"/>
                  </a:lnTo>
                  <a:lnTo>
                    <a:pt x="257" y="1183"/>
                  </a:lnTo>
                  <a:lnTo>
                    <a:pt x="252" y="1183"/>
                  </a:lnTo>
                  <a:lnTo>
                    <a:pt x="243" y="1171"/>
                  </a:lnTo>
                  <a:lnTo>
                    <a:pt x="243" y="1171"/>
                  </a:lnTo>
                  <a:lnTo>
                    <a:pt x="236" y="1166"/>
                  </a:lnTo>
                  <a:lnTo>
                    <a:pt x="252" y="1150"/>
                  </a:lnTo>
                  <a:lnTo>
                    <a:pt x="215" y="1155"/>
                  </a:lnTo>
                  <a:lnTo>
                    <a:pt x="205" y="1155"/>
                  </a:lnTo>
                  <a:lnTo>
                    <a:pt x="219" y="1138"/>
                  </a:lnTo>
                  <a:lnTo>
                    <a:pt x="160" y="1133"/>
                  </a:lnTo>
                  <a:lnTo>
                    <a:pt x="160" y="1117"/>
                  </a:lnTo>
                  <a:lnTo>
                    <a:pt x="144" y="1126"/>
                  </a:lnTo>
                  <a:lnTo>
                    <a:pt x="129" y="1110"/>
                  </a:lnTo>
                  <a:lnTo>
                    <a:pt x="129" y="1081"/>
                  </a:lnTo>
                  <a:lnTo>
                    <a:pt x="144" y="1039"/>
                  </a:lnTo>
                  <a:lnTo>
                    <a:pt x="134" y="1015"/>
                  </a:lnTo>
                  <a:lnTo>
                    <a:pt x="151" y="1015"/>
                  </a:lnTo>
                  <a:lnTo>
                    <a:pt x="122" y="966"/>
                  </a:lnTo>
                  <a:lnTo>
                    <a:pt x="129" y="944"/>
                  </a:lnTo>
                  <a:lnTo>
                    <a:pt x="129" y="928"/>
                  </a:lnTo>
                  <a:lnTo>
                    <a:pt x="113" y="911"/>
                  </a:lnTo>
                  <a:lnTo>
                    <a:pt x="113" y="892"/>
                  </a:lnTo>
                  <a:lnTo>
                    <a:pt x="113" y="876"/>
                  </a:lnTo>
                  <a:lnTo>
                    <a:pt x="129" y="859"/>
                  </a:lnTo>
                  <a:lnTo>
                    <a:pt x="134" y="850"/>
                  </a:lnTo>
                  <a:lnTo>
                    <a:pt x="151" y="850"/>
                  </a:lnTo>
                  <a:lnTo>
                    <a:pt x="134" y="822"/>
                  </a:lnTo>
                  <a:lnTo>
                    <a:pt x="167" y="822"/>
                  </a:lnTo>
                  <a:lnTo>
                    <a:pt x="177" y="833"/>
                  </a:lnTo>
                  <a:lnTo>
                    <a:pt x="198" y="822"/>
                  </a:lnTo>
                  <a:lnTo>
                    <a:pt x="198" y="817"/>
                  </a:lnTo>
                  <a:lnTo>
                    <a:pt x="189" y="800"/>
                  </a:lnTo>
                  <a:lnTo>
                    <a:pt x="198" y="793"/>
                  </a:lnTo>
                  <a:lnTo>
                    <a:pt x="205" y="800"/>
                  </a:lnTo>
                  <a:lnTo>
                    <a:pt x="215" y="765"/>
                  </a:lnTo>
                  <a:lnTo>
                    <a:pt x="231" y="781"/>
                  </a:lnTo>
                  <a:lnTo>
                    <a:pt x="236" y="760"/>
                  </a:lnTo>
                  <a:lnTo>
                    <a:pt x="269" y="748"/>
                  </a:lnTo>
                  <a:lnTo>
                    <a:pt x="274" y="727"/>
                  </a:lnTo>
                  <a:lnTo>
                    <a:pt x="290" y="727"/>
                  </a:lnTo>
                  <a:lnTo>
                    <a:pt x="311" y="687"/>
                  </a:lnTo>
                  <a:lnTo>
                    <a:pt x="340" y="670"/>
                  </a:lnTo>
                  <a:lnTo>
                    <a:pt x="349" y="637"/>
                  </a:lnTo>
                  <a:lnTo>
                    <a:pt x="394" y="633"/>
                  </a:lnTo>
                  <a:lnTo>
                    <a:pt x="403" y="637"/>
                  </a:lnTo>
                  <a:lnTo>
                    <a:pt x="415" y="633"/>
                  </a:lnTo>
                  <a:lnTo>
                    <a:pt x="399" y="628"/>
                  </a:lnTo>
                  <a:lnTo>
                    <a:pt x="415" y="628"/>
                  </a:lnTo>
                  <a:lnTo>
                    <a:pt x="403" y="600"/>
                  </a:lnTo>
                  <a:lnTo>
                    <a:pt x="415" y="571"/>
                  </a:lnTo>
                  <a:lnTo>
                    <a:pt x="403" y="559"/>
                  </a:lnTo>
                  <a:lnTo>
                    <a:pt x="361" y="543"/>
                  </a:lnTo>
                  <a:lnTo>
                    <a:pt x="349" y="526"/>
                  </a:lnTo>
                  <a:lnTo>
                    <a:pt x="361" y="517"/>
                  </a:lnTo>
                  <a:lnTo>
                    <a:pt x="344" y="526"/>
                  </a:lnTo>
                  <a:lnTo>
                    <a:pt x="328" y="522"/>
                  </a:lnTo>
                  <a:lnTo>
                    <a:pt x="328" y="522"/>
                  </a:lnTo>
                  <a:lnTo>
                    <a:pt x="328" y="522"/>
                  </a:lnTo>
                  <a:close/>
                  <a:moveTo>
                    <a:pt x="382" y="616"/>
                  </a:moveTo>
                  <a:lnTo>
                    <a:pt x="366" y="628"/>
                  </a:lnTo>
                  <a:lnTo>
                    <a:pt x="349" y="616"/>
                  </a:lnTo>
                  <a:lnTo>
                    <a:pt x="382" y="616"/>
                  </a:lnTo>
                  <a:lnTo>
                    <a:pt x="382" y="616"/>
                  </a:lnTo>
                  <a:lnTo>
                    <a:pt x="382" y="616"/>
                  </a:lnTo>
                  <a:close/>
                  <a:moveTo>
                    <a:pt x="236" y="760"/>
                  </a:moveTo>
                  <a:lnTo>
                    <a:pt x="219" y="760"/>
                  </a:lnTo>
                  <a:lnTo>
                    <a:pt x="236" y="748"/>
                  </a:lnTo>
                  <a:lnTo>
                    <a:pt x="236" y="760"/>
                  </a:lnTo>
                  <a:lnTo>
                    <a:pt x="236" y="760"/>
                  </a:lnTo>
                  <a:lnTo>
                    <a:pt x="236" y="760"/>
                  </a:lnTo>
                  <a:close/>
                  <a:moveTo>
                    <a:pt x="129" y="817"/>
                  </a:moveTo>
                  <a:lnTo>
                    <a:pt x="122" y="817"/>
                  </a:lnTo>
                  <a:lnTo>
                    <a:pt x="129" y="817"/>
                  </a:lnTo>
                  <a:lnTo>
                    <a:pt x="129" y="817"/>
                  </a:lnTo>
                  <a:lnTo>
                    <a:pt x="129" y="817"/>
                  </a:lnTo>
                  <a:lnTo>
                    <a:pt x="129" y="817"/>
                  </a:lnTo>
                  <a:close/>
                  <a:moveTo>
                    <a:pt x="189" y="822"/>
                  </a:moveTo>
                  <a:lnTo>
                    <a:pt x="177" y="817"/>
                  </a:lnTo>
                  <a:lnTo>
                    <a:pt x="189" y="817"/>
                  </a:lnTo>
                  <a:lnTo>
                    <a:pt x="189" y="822"/>
                  </a:lnTo>
                  <a:lnTo>
                    <a:pt x="189" y="822"/>
                  </a:lnTo>
                  <a:lnTo>
                    <a:pt x="189" y="822"/>
                  </a:lnTo>
                  <a:close/>
                  <a:moveTo>
                    <a:pt x="122" y="833"/>
                  </a:moveTo>
                  <a:lnTo>
                    <a:pt x="113" y="817"/>
                  </a:lnTo>
                  <a:lnTo>
                    <a:pt x="134" y="822"/>
                  </a:lnTo>
                  <a:lnTo>
                    <a:pt x="122" y="833"/>
                  </a:lnTo>
                  <a:lnTo>
                    <a:pt x="122" y="833"/>
                  </a:lnTo>
                  <a:lnTo>
                    <a:pt x="122" y="833"/>
                  </a:lnTo>
                  <a:close/>
                  <a:moveTo>
                    <a:pt x="129" y="1081"/>
                  </a:moveTo>
                  <a:lnTo>
                    <a:pt x="122" y="1077"/>
                  </a:lnTo>
                  <a:lnTo>
                    <a:pt x="129" y="1081"/>
                  </a:lnTo>
                  <a:lnTo>
                    <a:pt x="129" y="1081"/>
                  </a:lnTo>
                  <a:lnTo>
                    <a:pt x="129" y="1081"/>
                  </a:lnTo>
                  <a:lnTo>
                    <a:pt x="129" y="1081"/>
                  </a:lnTo>
                  <a:close/>
                  <a:moveTo>
                    <a:pt x="134" y="1133"/>
                  </a:moveTo>
                  <a:lnTo>
                    <a:pt x="129" y="1126"/>
                  </a:lnTo>
                  <a:lnTo>
                    <a:pt x="134" y="1126"/>
                  </a:lnTo>
                  <a:lnTo>
                    <a:pt x="134" y="1133"/>
                  </a:lnTo>
                  <a:lnTo>
                    <a:pt x="134" y="1133"/>
                  </a:lnTo>
                  <a:lnTo>
                    <a:pt x="134" y="1133"/>
                  </a:lnTo>
                  <a:close/>
                  <a:moveTo>
                    <a:pt x="177" y="1150"/>
                  </a:moveTo>
                  <a:lnTo>
                    <a:pt x="160" y="1138"/>
                  </a:lnTo>
                  <a:lnTo>
                    <a:pt x="160" y="1133"/>
                  </a:lnTo>
                  <a:lnTo>
                    <a:pt x="177" y="1150"/>
                  </a:lnTo>
                  <a:lnTo>
                    <a:pt x="177" y="1150"/>
                  </a:lnTo>
                  <a:lnTo>
                    <a:pt x="177" y="1150"/>
                  </a:lnTo>
                  <a:close/>
                  <a:moveTo>
                    <a:pt x="26" y="1183"/>
                  </a:moveTo>
                  <a:lnTo>
                    <a:pt x="21" y="1171"/>
                  </a:lnTo>
                  <a:lnTo>
                    <a:pt x="14" y="1155"/>
                  </a:lnTo>
                  <a:lnTo>
                    <a:pt x="21" y="1150"/>
                  </a:lnTo>
                  <a:lnTo>
                    <a:pt x="21" y="1166"/>
                  </a:lnTo>
                  <a:lnTo>
                    <a:pt x="26" y="1150"/>
                  </a:lnTo>
                  <a:lnTo>
                    <a:pt x="21" y="1138"/>
                  </a:lnTo>
                  <a:lnTo>
                    <a:pt x="26" y="1138"/>
                  </a:lnTo>
                  <a:lnTo>
                    <a:pt x="52" y="1150"/>
                  </a:lnTo>
                  <a:lnTo>
                    <a:pt x="42" y="1166"/>
                  </a:lnTo>
                  <a:lnTo>
                    <a:pt x="42" y="1155"/>
                  </a:lnTo>
                  <a:lnTo>
                    <a:pt x="37" y="1150"/>
                  </a:lnTo>
                  <a:lnTo>
                    <a:pt x="26" y="1155"/>
                  </a:lnTo>
                  <a:lnTo>
                    <a:pt x="37" y="1171"/>
                  </a:lnTo>
                  <a:lnTo>
                    <a:pt x="26" y="1183"/>
                  </a:lnTo>
                  <a:lnTo>
                    <a:pt x="26" y="1183"/>
                  </a:lnTo>
                  <a:lnTo>
                    <a:pt x="26" y="1183"/>
                  </a:lnTo>
                  <a:close/>
                  <a:moveTo>
                    <a:pt x="198" y="1150"/>
                  </a:moveTo>
                  <a:lnTo>
                    <a:pt x="198" y="1150"/>
                  </a:lnTo>
                  <a:lnTo>
                    <a:pt x="205" y="1150"/>
                  </a:lnTo>
                  <a:lnTo>
                    <a:pt x="198" y="1150"/>
                  </a:lnTo>
                  <a:lnTo>
                    <a:pt x="198" y="1150"/>
                  </a:lnTo>
                  <a:lnTo>
                    <a:pt x="198" y="1150"/>
                  </a:lnTo>
                  <a:close/>
                  <a:moveTo>
                    <a:pt x="189" y="1155"/>
                  </a:moveTo>
                  <a:lnTo>
                    <a:pt x="181" y="1150"/>
                  </a:lnTo>
                  <a:lnTo>
                    <a:pt x="198" y="1150"/>
                  </a:lnTo>
                  <a:lnTo>
                    <a:pt x="189" y="1155"/>
                  </a:lnTo>
                  <a:lnTo>
                    <a:pt x="189" y="1155"/>
                  </a:lnTo>
                  <a:lnTo>
                    <a:pt x="189" y="1155"/>
                  </a:lnTo>
                  <a:close/>
                  <a:moveTo>
                    <a:pt x="432" y="1166"/>
                  </a:moveTo>
                  <a:lnTo>
                    <a:pt x="432" y="1150"/>
                  </a:lnTo>
                  <a:lnTo>
                    <a:pt x="432" y="1155"/>
                  </a:lnTo>
                  <a:lnTo>
                    <a:pt x="432" y="1166"/>
                  </a:lnTo>
                  <a:lnTo>
                    <a:pt x="432" y="1166"/>
                  </a:lnTo>
                  <a:lnTo>
                    <a:pt x="432" y="1166"/>
                  </a:lnTo>
                  <a:close/>
                  <a:moveTo>
                    <a:pt x="59" y="1166"/>
                  </a:moveTo>
                  <a:lnTo>
                    <a:pt x="59" y="1155"/>
                  </a:lnTo>
                  <a:lnTo>
                    <a:pt x="68" y="1155"/>
                  </a:lnTo>
                  <a:lnTo>
                    <a:pt x="59" y="1166"/>
                  </a:lnTo>
                  <a:lnTo>
                    <a:pt x="59" y="1166"/>
                  </a:lnTo>
                  <a:lnTo>
                    <a:pt x="59" y="1166"/>
                  </a:lnTo>
                  <a:close/>
                  <a:moveTo>
                    <a:pt x="4" y="1171"/>
                  </a:moveTo>
                  <a:lnTo>
                    <a:pt x="0" y="1166"/>
                  </a:lnTo>
                  <a:lnTo>
                    <a:pt x="4" y="1155"/>
                  </a:lnTo>
                  <a:lnTo>
                    <a:pt x="14" y="1166"/>
                  </a:lnTo>
                  <a:lnTo>
                    <a:pt x="4" y="1171"/>
                  </a:lnTo>
                  <a:lnTo>
                    <a:pt x="4" y="1171"/>
                  </a:lnTo>
                  <a:lnTo>
                    <a:pt x="4" y="1171"/>
                  </a:lnTo>
                  <a:close/>
                  <a:moveTo>
                    <a:pt x="215" y="1183"/>
                  </a:moveTo>
                  <a:lnTo>
                    <a:pt x="205" y="1183"/>
                  </a:lnTo>
                  <a:lnTo>
                    <a:pt x="205" y="1155"/>
                  </a:lnTo>
                  <a:lnTo>
                    <a:pt x="236" y="1155"/>
                  </a:lnTo>
                  <a:lnTo>
                    <a:pt x="236" y="1171"/>
                  </a:lnTo>
                  <a:lnTo>
                    <a:pt x="215" y="1183"/>
                  </a:lnTo>
                  <a:lnTo>
                    <a:pt x="215" y="1183"/>
                  </a:lnTo>
                  <a:lnTo>
                    <a:pt x="215" y="1183"/>
                  </a:lnTo>
                  <a:close/>
                  <a:moveTo>
                    <a:pt x="177" y="1166"/>
                  </a:moveTo>
                  <a:lnTo>
                    <a:pt x="167" y="1166"/>
                  </a:lnTo>
                  <a:lnTo>
                    <a:pt x="181" y="1166"/>
                  </a:lnTo>
                  <a:lnTo>
                    <a:pt x="177" y="1166"/>
                  </a:lnTo>
                  <a:lnTo>
                    <a:pt x="177" y="1166"/>
                  </a:lnTo>
                  <a:lnTo>
                    <a:pt x="177" y="1166"/>
                  </a:lnTo>
                  <a:close/>
                  <a:moveTo>
                    <a:pt x="160" y="1171"/>
                  </a:moveTo>
                  <a:lnTo>
                    <a:pt x="151" y="1166"/>
                  </a:lnTo>
                  <a:lnTo>
                    <a:pt x="167" y="1166"/>
                  </a:lnTo>
                  <a:lnTo>
                    <a:pt x="160" y="1171"/>
                  </a:lnTo>
                  <a:lnTo>
                    <a:pt x="160" y="1171"/>
                  </a:lnTo>
                  <a:lnTo>
                    <a:pt x="160" y="1171"/>
                  </a:lnTo>
                  <a:close/>
                  <a:moveTo>
                    <a:pt x="52" y="1171"/>
                  </a:moveTo>
                  <a:lnTo>
                    <a:pt x="52" y="1166"/>
                  </a:lnTo>
                  <a:lnTo>
                    <a:pt x="59" y="1171"/>
                  </a:lnTo>
                  <a:lnTo>
                    <a:pt x="52" y="1171"/>
                  </a:lnTo>
                  <a:lnTo>
                    <a:pt x="52" y="1171"/>
                  </a:lnTo>
                  <a:lnTo>
                    <a:pt x="52" y="1171"/>
                  </a:lnTo>
                  <a:close/>
                  <a:moveTo>
                    <a:pt x="42" y="1171"/>
                  </a:moveTo>
                  <a:lnTo>
                    <a:pt x="52" y="1171"/>
                  </a:lnTo>
                  <a:lnTo>
                    <a:pt x="52" y="1183"/>
                  </a:lnTo>
                  <a:lnTo>
                    <a:pt x="37" y="1171"/>
                  </a:lnTo>
                  <a:lnTo>
                    <a:pt x="42" y="1171"/>
                  </a:lnTo>
                  <a:lnTo>
                    <a:pt x="42" y="1171"/>
                  </a:lnTo>
                  <a:lnTo>
                    <a:pt x="42" y="1171"/>
                  </a:lnTo>
                  <a:close/>
                  <a:moveTo>
                    <a:pt x="205" y="1171"/>
                  </a:moveTo>
                  <a:lnTo>
                    <a:pt x="198" y="1183"/>
                  </a:lnTo>
                  <a:lnTo>
                    <a:pt x="198" y="1171"/>
                  </a:lnTo>
                  <a:lnTo>
                    <a:pt x="205" y="1171"/>
                  </a:lnTo>
                  <a:lnTo>
                    <a:pt x="205" y="1171"/>
                  </a:lnTo>
                  <a:lnTo>
                    <a:pt x="205" y="1171"/>
                  </a:lnTo>
                  <a:close/>
                  <a:moveTo>
                    <a:pt x="243" y="1195"/>
                  </a:moveTo>
                  <a:lnTo>
                    <a:pt x="231" y="1188"/>
                  </a:lnTo>
                  <a:lnTo>
                    <a:pt x="252" y="1188"/>
                  </a:lnTo>
                  <a:lnTo>
                    <a:pt x="243" y="1195"/>
                  </a:lnTo>
                  <a:lnTo>
                    <a:pt x="243" y="1195"/>
                  </a:lnTo>
                  <a:lnTo>
                    <a:pt x="243" y="1195"/>
                  </a:lnTo>
                  <a:close/>
                </a:path>
              </a:pathLst>
            </a:custGeom>
            <a:pattFill prst="dk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6" name="Freeform 443">
              <a:extLst>
                <a:ext uri="{FF2B5EF4-FFF2-40B4-BE49-F238E27FC236}">
                  <a16:creationId xmlns:a16="http://schemas.microsoft.com/office/drawing/2014/main" id="{F1A901A0-27A9-461A-B975-D91C466A467A}"/>
                </a:ext>
              </a:extLst>
            </p:cNvPr>
            <p:cNvSpPr>
              <a:spLocks noEditPoints="1"/>
            </p:cNvSpPr>
            <p:nvPr/>
          </p:nvSpPr>
          <p:spPr bwMode="gray">
            <a:xfrm>
              <a:off x="5516789" y="2031498"/>
              <a:ext cx="36127" cy="48998"/>
            </a:xfrm>
            <a:custGeom>
              <a:avLst/>
              <a:gdLst>
                <a:gd name="T0" fmla="*/ 64 w 73"/>
                <a:gd name="T1" fmla="*/ 16 h 99"/>
                <a:gd name="T2" fmla="*/ 56 w 73"/>
                <a:gd name="T3" fmla="*/ 4 h 99"/>
                <a:gd name="T4" fmla="*/ 64 w 73"/>
                <a:gd name="T5" fmla="*/ 0 h 99"/>
                <a:gd name="T6" fmla="*/ 73 w 73"/>
                <a:gd name="T7" fmla="*/ 4 h 99"/>
                <a:gd name="T8" fmla="*/ 64 w 73"/>
                <a:gd name="T9" fmla="*/ 16 h 99"/>
                <a:gd name="T10" fmla="*/ 64 w 73"/>
                <a:gd name="T11" fmla="*/ 16 h 99"/>
                <a:gd name="T12" fmla="*/ 64 w 73"/>
                <a:gd name="T13" fmla="*/ 16 h 99"/>
                <a:gd name="T14" fmla="*/ 52 w 73"/>
                <a:gd name="T15" fmla="*/ 33 h 99"/>
                <a:gd name="T16" fmla="*/ 26 w 73"/>
                <a:gd name="T17" fmla="*/ 0 h 99"/>
                <a:gd name="T18" fmla="*/ 56 w 73"/>
                <a:gd name="T19" fmla="*/ 16 h 99"/>
                <a:gd name="T20" fmla="*/ 52 w 73"/>
                <a:gd name="T21" fmla="*/ 33 h 99"/>
                <a:gd name="T22" fmla="*/ 52 w 73"/>
                <a:gd name="T23" fmla="*/ 33 h 99"/>
                <a:gd name="T24" fmla="*/ 52 w 73"/>
                <a:gd name="T25" fmla="*/ 33 h 99"/>
                <a:gd name="T26" fmla="*/ 52 w 73"/>
                <a:gd name="T27" fmla="*/ 44 h 99"/>
                <a:gd name="T28" fmla="*/ 12 w 73"/>
                <a:gd name="T29" fmla="*/ 16 h 99"/>
                <a:gd name="T30" fmla="*/ 12 w 73"/>
                <a:gd name="T31" fmla="*/ 4 h 99"/>
                <a:gd name="T32" fmla="*/ 26 w 73"/>
                <a:gd name="T33" fmla="*/ 4 h 99"/>
                <a:gd name="T34" fmla="*/ 42 w 73"/>
                <a:gd name="T35" fmla="*/ 21 h 99"/>
                <a:gd name="T36" fmla="*/ 52 w 73"/>
                <a:gd name="T37" fmla="*/ 44 h 99"/>
                <a:gd name="T38" fmla="*/ 52 w 73"/>
                <a:gd name="T39" fmla="*/ 44 h 99"/>
                <a:gd name="T40" fmla="*/ 52 w 73"/>
                <a:gd name="T41" fmla="*/ 44 h 99"/>
                <a:gd name="T42" fmla="*/ 21 w 73"/>
                <a:gd name="T43" fmla="*/ 33 h 99"/>
                <a:gd name="T44" fmla="*/ 0 w 73"/>
                <a:gd name="T45" fmla="*/ 21 h 99"/>
                <a:gd name="T46" fmla="*/ 26 w 73"/>
                <a:gd name="T47" fmla="*/ 21 h 99"/>
                <a:gd name="T48" fmla="*/ 21 w 73"/>
                <a:gd name="T49" fmla="*/ 33 h 99"/>
                <a:gd name="T50" fmla="*/ 21 w 73"/>
                <a:gd name="T51" fmla="*/ 33 h 99"/>
                <a:gd name="T52" fmla="*/ 21 w 73"/>
                <a:gd name="T53" fmla="*/ 33 h 99"/>
                <a:gd name="T54" fmla="*/ 56 w 73"/>
                <a:gd name="T55" fmla="*/ 61 h 99"/>
                <a:gd name="T56" fmla="*/ 38 w 73"/>
                <a:gd name="T57" fmla="*/ 44 h 99"/>
                <a:gd name="T58" fmla="*/ 56 w 73"/>
                <a:gd name="T59" fmla="*/ 54 h 99"/>
                <a:gd name="T60" fmla="*/ 56 w 73"/>
                <a:gd name="T61" fmla="*/ 61 h 99"/>
                <a:gd name="T62" fmla="*/ 56 w 73"/>
                <a:gd name="T63" fmla="*/ 61 h 99"/>
                <a:gd name="T64" fmla="*/ 56 w 73"/>
                <a:gd name="T65" fmla="*/ 61 h 99"/>
                <a:gd name="T66" fmla="*/ 52 w 73"/>
                <a:gd name="T67" fmla="*/ 99 h 99"/>
                <a:gd name="T68" fmla="*/ 38 w 73"/>
                <a:gd name="T69" fmla="*/ 78 h 99"/>
                <a:gd name="T70" fmla="*/ 52 w 73"/>
                <a:gd name="T71" fmla="*/ 87 h 99"/>
                <a:gd name="T72" fmla="*/ 52 w 73"/>
                <a:gd name="T73" fmla="*/ 99 h 99"/>
                <a:gd name="T74" fmla="*/ 52 w 73"/>
                <a:gd name="T75" fmla="*/ 99 h 99"/>
                <a:gd name="T76" fmla="*/ 52 w 73"/>
                <a:gd name="T77"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99">
                  <a:moveTo>
                    <a:pt x="64" y="16"/>
                  </a:moveTo>
                  <a:lnTo>
                    <a:pt x="56" y="4"/>
                  </a:lnTo>
                  <a:lnTo>
                    <a:pt x="64" y="0"/>
                  </a:lnTo>
                  <a:lnTo>
                    <a:pt x="73" y="4"/>
                  </a:lnTo>
                  <a:lnTo>
                    <a:pt x="64" y="16"/>
                  </a:lnTo>
                  <a:lnTo>
                    <a:pt x="64" y="16"/>
                  </a:lnTo>
                  <a:lnTo>
                    <a:pt x="64" y="16"/>
                  </a:lnTo>
                  <a:close/>
                  <a:moveTo>
                    <a:pt x="52" y="33"/>
                  </a:moveTo>
                  <a:lnTo>
                    <a:pt x="26" y="0"/>
                  </a:lnTo>
                  <a:lnTo>
                    <a:pt x="56" y="16"/>
                  </a:lnTo>
                  <a:lnTo>
                    <a:pt x="52" y="33"/>
                  </a:lnTo>
                  <a:lnTo>
                    <a:pt x="52" y="33"/>
                  </a:lnTo>
                  <a:lnTo>
                    <a:pt x="52" y="33"/>
                  </a:lnTo>
                  <a:close/>
                  <a:moveTo>
                    <a:pt x="52" y="44"/>
                  </a:moveTo>
                  <a:lnTo>
                    <a:pt x="12" y="16"/>
                  </a:lnTo>
                  <a:lnTo>
                    <a:pt x="12" y="4"/>
                  </a:lnTo>
                  <a:lnTo>
                    <a:pt x="26" y="4"/>
                  </a:lnTo>
                  <a:lnTo>
                    <a:pt x="42" y="21"/>
                  </a:lnTo>
                  <a:lnTo>
                    <a:pt x="52" y="44"/>
                  </a:lnTo>
                  <a:lnTo>
                    <a:pt x="52" y="44"/>
                  </a:lnTo>
                  <a:lnTo>
                    <a:pt x="52" y="44"/>
                  </a:lnTo>
                  <a:close/>
                  <a:moveTo>
                    <a:pt x="21" y="33"/>
                  </a:moveTo>
                  <a:lnTo>
                    <a:pt x="0" y="21"/>
                  </a:lnTo>
                  <a:lnTo>
                    <a:pt x="26" y="21"/>
                  </a:lnTo>
                  <a:lnTo>
                    <a:pt x="21" y="33"/>
                  </a:lnTo>
                  <a:lnTo>
                    <a:pt x="21" y="33"/>
                  </a:lnTo>
                  <a:lnTo>
                    <a:pt x="21" y="33"/>
                  </a:lnTo>
                  <a:close/>
                  <a:moveTo>
                    <a:pt x="56" y="61"/>
                  </a:moveTo>
                  <a:lnTo>
                    <a:pt x="38" y="44"/>
                  </a:lnTo>
                  <a:lnTo>
                    <a:pt x="56" y="54"/>
                  </a:lnTo>
                  <a:lnTo>
                    <a:pt x="56" y="61"/>
                  </a:lnTo>
                  <a:lnTo>
                    <a:pt x="56" y="61"/>
                  </a:lnTo>
                  <a:lnTo>
                    <a:pt x="56" y="61"/>
                  </a:lnTo>
                  <a:close/>
                  <a:moveTo>
                    <a:pt x="52" y="99"/>
                  </a:moveTo>
                  <a:lnTo>
                    <a:pt x="38" y="78"/>
                  </a:lnTo>
                  <a:lnTo>
                    <a:pt x="52" y="87"/>
                  </a:lnTo>
                  <a:lnTo>
                    <a:pt x="52" y="99"/>
                  </a:lnTo>
                  <a:lnTo>
                    <a:pt x="52" y="99"/>
                  </a:lnTo>
                  <a:lnTo>
                    <a:pt x="52" y="99"/>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7" name="Freeform 444">
              <a:extLst>
                <a:ext uri="{FF2B5EF4-FFF2-40B4-BE49-F238E27FC236}">
                  <a16:creationId xmlns:a16="http://schemas.microsoft.com/office/drawing/2014/main" id="{F11366BB-E558-46B7-90CC-2A6C37C4B015}"/>
                </a:ext>
              </a:extLst>
            </p:cNvPr>
            <p:cNvSpPr>
              <a:spLocks noEditPoints="1"/>
            </p:cNvSpPr>
            <p:nvPr/>
          </p:nvSpPr>
          <p:spPr bwMode="gray">
            <a:xfrm>
              <a:off x="513583" y="4917943"/>
              <a:ext cx="449844" cy="494437"/>
            </a:xfrm>
            <a:custGeom>
              <a:avLst/>
              <a:gdLst>
                <a:gd name="T0" fmla="*/ 796 w 909"/>
                <a:gd name="T1" fmla="*/ 0 h 999"/>
                <a:gd name="T2" fmla="*/ 800 w 909"/>
                <a:gd name="T3" fmla="*/ 4 h 999"/>
                <a:gd name="T4" fmla="*/ 800 w 909"/>
                <a:gd name="T5" fmla="*/ 4 h 999"/>
                <a:gd name="T6" fmla="*/ 838 w 909"/>
                <a:gd name="T7" fmla="*/ 0 h 999"/>
                <a:gd name="T8" fmla="*/ 838 w 909"/>
                <a:gd name="T9" fmla="*/ 4 h 999"/>
                <a:gd name="T10" fmla="*/ 838 w 909"/>
                <a:gd name="T11" fmla="*/ 4 h 999"/>
                <a:gd name="T12" fmla="*/ 800 w 909"/>
                <a:gd name="T13" fmla="*/ 37 h 999"/>
                <a:gd name="T14" fmla="*/ 800 w 909"/>
                <a:gd name="T15" fmla="*/ 45 h 999"/>
                <a:gd name="T16" fmla="*/ 800 w 909"/>
                <a:gd name="T17" fmla="*/ 45 h 999"/>
                <a:gd name="T18" fmla="*/ 871 w 909"/>
                <a:gd name="T19" fmla="*/ 73 h 999"/>
                <a:gd name="T20" fmla="*/ 893 w 909"/>
                <a:gd name="T21" fmla="*/ 61 h 999"/>
                <a:gd name="T22" fmla="*/ 883 w 909"/>
                <a:gd name="T23" fmla="*/ 78 h 999"/>
                <a:gd name="T24" fmla="*/ 871 w 909"/>
                <a:gd name="T25" fmla="*/ 89 h 999"/>
                <a:gd name="T26" fmla="*/ 883 w 909"/>
                <a:gd name="T27" fmla="*/ 78 h 999"/>
                <a:gd name="T28" fmla="*/ 871 w 909"/>
                <a:gd name="T29" fmla="*/ 89 h 999"/>
                <a:gd name="T30" fmla="*/ 904 w 909"/>
                <a:gd name="T31" fmla="*/ 127 h 999"/>
                <a:gd name="T32" fmla="*/ 909 w 909"/>
                <a:gd name="T33" fmla="*/ 115 h 999"/>
                <a:gd name="T34" fmla="*/ 904 w 909"/>
                <a:gd name="T35" fmla="*/ 127 h 999"/>
                <a:gd name="T36" fmla="*/ 4 w 909"/>
                <a:gd name="T37" fmla="*/ 578 h 999"/>
                <a:gd name="T38" fmla="*/ 4 w 909"/>
                <a:gd name="T39" fmla="*/ 571 h 999"/>
                <a:gd name="T40" fmla="*/ 4 w 909"/>
                <a:gd name="T41" fmla="*/ 578 h 999"/>
                <a:gd name="T42" fmla="*/ 4 w 909"/>
                <a:gd name="T43" fmla="*/ 595 h 999"/>
                <a:gd name="T44" fmla="*/ 16 w 909"/>
                <a:gd name="T45" fmla="*/ 588 h 999"/>
                <a:gd name="T46" fmla="*/ 4 w 909"/>
                <a:gd name="T47" fmla="*/ 595 h 999"/>
                <a:gd name="T48" fmla="*/ 125 w 909"/>
                <a:gd name="T49" fmla="*/ 645 h 999"/>
                <a:gd name="T50" fmla="*/ 125 w 909"/>
                <a:gd name="T51" fmla="*/ 633 h 999"/>
                <a:gd name="T52" fmla="*/ 125 w 909"/>
                <a:gd name="T53" fmla="*/ 645 h 999"/>
                <a:gd name="T54" fmla="*/ 167 w 909"/>
                <a:gd name="T55" fmla="*/ 666 h 999"/>
                <a:gd name="T56" fmla="*/ 134 w 909"/>
                <a:gd name="T57" fmla="*/ 645 h 999"/>
                <a:gd name="T58" fmla="*/ 163 w 909"/>
                <a:gd name="T59" fmla="*/ 649 h 999"/>
                <a:gd name="T60" fmla="*/ 167 w 909"/>
                <a:gd name="T61" fmla="*/ 666 h 999"/>
                <a:gd name="T62" fmla="*/ 167 w 909"/>
                <a:gd name="T63" fmla="*/ 666 h 999"/>
                <a:gd name="T64" fmla="*/ 904 w 909"/>
                <a:gd name="T65" fmla="*/ 994 h 999"/>
                <a:gd name="T66" fmla="*/ 904 w 909"/>
                <a:gd name="T67" fmla="*/ 999 h 999"/>
                <a:gd name="T68" fmla="*/ 904 w 909"/>
                <a:gd name="T69" fmla="*/ 999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9" h="999">
                  <a:moveTo>
                    <a:pt x="800" y="4"/>
                  </a:moveTo>
                  <a:lnTo>
                    <a:pt x="796" y="0"/>
                  </a:lnTo>
                  <a:lnTo>
                    <a:pt x="812" y="0"/>
                  </a:lnTo>
                  <a:lnTo>
                    <a:pt x="800" y="4"/>
                  </a:lnTo>
                  <a:lnTo>
                    <a:pt x="800" y="4"/>
                  </a:lnTo>
                  <a:lnTo>
                    <a:pt x="800" y="4"/>
                  </a:lnTo>
                  <a:close/>
                  <a:moveTo>
                    <a:pt x="838" y="4"/>
                  </a:moveTo>
                  <a:lnTo>
                    <a:pt x="838" y="0"/>
                  </a:lnTo>
                  <a:lnTo>
                    <a:pt x="850" y="4"/>
                  </a:lnTo>
                  <a:lnTo>
                    <a:pt x="838" y="4"/>
                  </a:lnTo>
                  <a:lnTo>
                    <a:pt x="838" y="4"/>
                  </a:lnTo>
                  <a:lnTo>
                    <a:pt x="838" y="4"/>
                  </a:lnTo>
                  <a:close/>
                  <a:moveTo>
                    <a:pt x="800" y="45"/>
                  </a:moveTo>
                  <a:lnTo>
                    <a:pt x="800" y="37"/>
                  </a:lnTo>
                  <a:lnTo>
                    <a:pt x="812" y="37"/>
                  </a:lnTo>
                  <a:lnTo>
                    <a:pt x="800" y="45"/>
                  </a:lnTo>
                  <a:lnTo>
                    <a:pt x="800" y="45"/>
                  </a:lnTo>
                  <a:lnTo>
                    <a:pt x="800" y="45"/>
                  </a:lnTo>
                  <a:close/>
                  <a:moveTo>
                    <a:pt x="883" y="78"/>
                  </a:moveTo>
                  <a:lnTo>
                    <a:pt x="871" y="73"/>
                  </a:lnTo>
                  <a:lnTo>
                    <a:pt x="883" y="61"/>
                  </a:lnTo>
                  <a:lnTo>
                    <a:pt x="893" y="61"/>
                  </a:lnTo>
                  <a:lnTo>
                    <a:pt x="883" y="78"/>
                  </a:lnTo>
                  <a:lnTo>
                    <a:pt x="883" y="78"/>
                  </a:lnTo>
                  <a:lnTo>
                    <a:pt x="883" y="78"/>
                  </a:lnTo>
                  <a:close/>
                  <a:moveTo>
                    <a:pt x="871" y="89"/>
                  </a:moveTo>
                  <a:lnTo>
                    <a:pt x="871" y="78"/>
                  </a:lnTo>
                  <a:lnTo>
                    <a:pt x="883" y="78"/>
                  </a:lnTo>
                  <a:lnTo>
                    <a:pt x="871" y="89"/>
                  </a:lnTo>
                  <a:lnTo>
                    <a:pt x="871" y="89"/>
                  </a:lnTo>
                  <a:lnTo>
                    <a:pt x="871" y="89"/>
                  </a:lnTo>
                  <a:close/>
                  <a:moveTo>
                    <a:pt x="904" y="127"/>
                  </a:moveTo>
                  <a:lnTo>
                    <a:pt x="904" y="115"/>
                  </a:lnTo>
                  <a:lnTo>
                    <a:pt x="909" y="115"/>
                  </a:lnTo>
                  <a:lnTo>
                    <a:pt x="904" y="127"/>
                  </a:lnTo>
                  <a:lnTo>
                    <a:pt x="904" y="127"/>
                  </a:lnTo>
                  <a:lnTo>
                    <a:pt x="904" y="127"/>
                  </a:lnTo>
                  <a:close/>
                  <a:moveTo>
                    <a:pt x="4" y="578"/>
                  </a:moveTo>
                  <a:lnTo>
                    <a:pt x="0" y="571"/>
                  </a:lnTo>
                  <a:lnTo>
                    <a:pt x="4" y="571"/>
                  </a:lnTo>
                  <a:lnTo>
                    <a:pt x="4" y="578"/>
                  </a:lnTo>
                  <a:lnTo>
                    <a:pt x="4" y="578"/>
                  </a:lnTo>
                  <a:lnTo>
                    <a:pt x="4" y="578"/>
                  </a:lnTo>
                  <a:close/>
                  <a:moveTo>
                    <a:pt x="4" y="595"/>
                  </a:moveTo>
                  <a:lnTo>
                    <a:pt x="4" y="578"/>
                  </a:lnTo>
                  <a:lnTo>
                    <a:pt x="16" y="588"/>
                  </a:lnTo>
                  <a:lnTo>
                    <a:pt x="4" y="595"/>
                  </a:lnTo>
                  <a:lnTo>
                    <a:pt x="4" y="595"/>
                  </a:lnTo>
                  <a:lnTo>
                    <a:pt x="4" y="595"/>
                  </a:lnTo>
                  <a:close/>
                  <a:moveTo>
                    <a:pt x="125" y="645"/>
                  </a:moveTo>
                  <a:lnTo>
                    <a:pt x="113" y="633"/>
                  </a:lnTo>
                  <a:lnTo>
                    <a:pt x="125" y="633"/>
                  </a:lnTo>
                  <a:lnTo>
                    <a:pt x="125" y="645"/>
                  </a:lnTo>
                  <a:lnTo>
                    <a:pt x="125" y="645"/>
                  </a:lnTo>
                  <a:lnTo>
                    <a:pt x="125" y="645"/>
                  </a:lnTo>
                  <a:close/>
                  <a:moveTo>
                    <a:pt x="167" y="666"/>
                  </a:moveTo>
                  <a:lnTo>
                    <a:pt x="134" y="649"/>
                  </a:lnTo>
                  <a:lnTo>
                    <a:pt x="134" y="645"/>
                  </a:lnTo>
                  <a:lnTo>
                    <a:pt x="151" y="645"/>
                  </a:lnTo>
                  <a:lnTo>
                    <a:pt x="163" y="649"/>
                  </a:lnTo>
                  <a:lnTo>
                    <a:pt x="167" y="654"/>
                  </a:lnTo>
                  <a:lnTo>
                    <a:pt x="167" y="666"/>
                  </a:lnTo>
                  <a:lnTo>
                    <a:pt x="167" y="666"/>
                  </a:lnTo>
                  <a:lnTo>
                    <a:pt x="167" y="666"/>
                  </a:lnTo>
                  <a:close/>
                  <a:moveTo>
                    <a:pt x="904" y="999"/>
                  </a:moveTo>
                  <a:lnTo>
                    <a:pt x="904" y="994"/>
                  </a:lnTo>
                  <a:lnTo>
                    <a:pt x="904" y="994"/>
                  </a:lnTo>
                  <a:lnTo>
                    <a:pt x="904" y="999"/>
                  </a:lnTo>
                  <a:lnTo>
                    <a:pt x="904" y="999"/>
                  </a:lnTo>
                  <a:lnTo>
                    <a:pt x="904" y="999"/>
                  </a:lnTo>
                  <a:close/>
                </a:path>
              </a:pathLst>
            </a:custGeom>
            <a:solidFill>
              <a:schemeClr val="accent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8" name="Freeform 445">
              <a:extLst>
                <a:ext uri="{FF2B5EF4-FFF2-40B4-BE49-F238E27FC236}">
                  <a16:creationId xmlns:a16="http://schemas.microsoft.com/office/drawing/2014/main" id="{6734A428-35A2-4408-A7CF-EA237749AD66}"/>
                </a:ext>
              </a:extLst>
            </p:cNvPr>
            <p:cNvSpPr>
              <a:spLocks noEditPoints="1"/>
            </p:cNvSpPr>
            <p:nvPr/>
          </p:nvSpPr>
          <p:spPr bwMode="gray">
            <a:xfrm>
              <a:off x="5610320" y="2605123"/>
              <a:ext cx="496857" cy="432570"/>
            </a:xfrm>
            <a:custGeom>
              <a:avLst/>
              <a:gdLst>
                <a:gd name="T0" fmla="*/ 557 w 1004"/>
                <a:gd name="T1" fmla="*/ 22 h 874"/>
                <a:gd name="T2" fmla="*/ 626 w 1004"/>
                <a:gd name="T3" fmla="*/ 76 h 874"/>
                <a:gd name="T4" fmla="*/ 675 w 1004"/>
                <a:gd name="T5" fmla="*/ 83 h 874"/>
                <a:gd name="T6" fmla="*/ 718 w 1004"/>
                <a:gd name="T7" fmla="*/ 149 h 874"/>
                <a:gd name="T8" fmla="*/ 789 w 1004"/>
                <a:gd name="T9" fmla="*/ 154 h 874"/>
                <a:gd name="T10" fmla="*/ 848 w 1004"/>
                <a:gd name="T11" fmla="*/ 178 h 874"/>
                <a:gd name="T12" fmla="*/ 874 w 1004"/>
                <a:gd name="T13" fmla="*/ 248 h 874"/>
                <a:gd name="T14" fmla="*/ 864 w 1004"/>
                <a:gd name="T15" fmla="*/ 322 h 874"/>
                <a:gd name="T16" fmla="*/ 827 w 1004"/>
                <a:gd name="T17" fmla="*/ 343 h 874"/>
                <a:gd name="T18" fmla="*/ 767 w 1004"/>
                <a:gd name="T19" fmla="*/ 416 h 874"/>
                <a:gd name="T20" fmla="*/ 751 w 1004"/>
                <a:gd name="T21" fmla="*/ 449 h 874"/>
                <a:gd name="T22" fmla="*/ 805 w 1004"/>
                <a:gd name="T23" fmla="*/ 426 h 874"/>
                <a:gd name="T24" fmla="*/ 810 w 1004"/>
                <a:gd name="T25" fmla="*/ 487 h 874"/>
                <a:gd name="T26" fmla="*/ 805 w 1004"/>
                <a:gd name="T27" fmla="*/ 565 h 874"/>
                <a:gd name="T28" fmla="*/ 848 w 1004"/>
                <a:gd name="T29" fmla="*/ 631 h 874"/>
                <a:gd name="T30" fmla="*/ 860 w 1004"/>
                <a:gd name="T31" fmla="*/ 664 h 874"/>
                <a:gd name="T32" fmla="*/ 793 w 1004"/>
                <a:gd name="T33" fmla="*/ 704 h 874"/>
                <a:gd name="T34" fmla="*/ 767 w 1004"/>
                <a:gd name="T35" fmla="*/ 726 h 874"/>
                <a:gd name="T36" fmla="*/ 713 w 1004"/>
                <a:gd name="T37" fmla="*/ 709 h 874"/>
                <a:gd name="T38" fmla="*/ 685 w 1004"/>
                <a:gd name="T39" fmla="*/ 685 h 874"/>
                <a:gd name="T40" fmla="*/ 664 w 1004"/>
                <a:gd name="T41" fmla="*/ 704 h 874"/>
                <a:gd name="T42" fmla="*/ 567 w 1004"/>
                <a:gd name="T43" fmla="*/ 709 h 874"/>
                <a:gd name="T44" fmla="*/ 557 w 1004"/>
                <a:gd name="T45" fmla="*/ 780 h 874"/>
                <a:gd name="T46" fmla="*/ 470 w 1004"/>
                <a:gd name="T47" fmla="*/ 787 h 874"/>
                <a:gd name="T48" fmla="*/ 427 w 1004"/>
                <a:gd name="T49" fmla="*/ 759 h 874"/>
                <a:gd name="T50" fmla="*/ 307 w 1004"/>
                <a:gd name="T51" fmla="*/ 747 h 874"/>
                <a:gd name="T52" fmla="*/ 231 w 1004"/>
                <a:gd name="T53" fmla="*/ 709 h 874"/>
                <a:gd name="T54" fmla="*/ 248 w 1004"/>
                <a:gd name="T55" fmla="*/ 593 h 874"/>
                <a:gd name="T56" fmla="*/ 255 w 1004"/>
                <a:gd name="T57" fmla="*/ 504 h 874"/>
                <a:gd name="T58" fmla="*/ 248 w 1004"/>
                <a:gd name="T59" fmla="*/ 499 h 874"/>
                <a:gd name="T60" fmla="*/ 189 w 1004"/>
                <a:gd name="T61" fmla="*/ 392 h 874"/>
                <a:gd name="T62" fmla="*/ 210 w 1004"/>
                <a:gd name="T63" fmla="*/ 355 h 874"/>
                <a:gd name="T64" fmla="*/ 156 w 1004"/>
                <a:gd name="T65" fmla="*/ 338 h 874"/>
                <a:gd name="T66" fmla="*/ 134 w 1004"/>
                <a:gd name="T67" fmla="*/ 331 h 874"/>
                <a:gd name="T68" fmla="*/ 118 w 1004"/>
                <a:gd name="T69" fmla="*/ 331 h 874"/>
                <a:gd name="T70" fmla="*/ 28 w 1004"/>
                <a:gd name="T71" fmla="*/ 289 h 874"/>
                <a:gd name="T72" fmla="*/ 16 w 1004"/>
                <a:gd name="T73" fmla="*/ 265 h 874"/>
                <a:gd name="T74" fmla="*/ 0 w 1004"/>
                <a:gd name="T75" fmla="*/ 248 h 874"/>
                <a:gd name="T76" fmla="*/ 87 w 1004"/>
                <a:gd name="T77" fmla="*/ 211 h 874"/>
                <a:gd name="T78" fmla="*/ 193 w 1004"/>
                <a:gd name="T79" fmla="*/ 232 h 874"/>
                <a:gd name="T80" fmla="*/ 243 w 1004"/>
                <a:gd name="T81" fmla="*/ 227 h 874"/>
                <a:gd name="T82" fmla="*/ 201 w 1004"/>
                <a:gd name="T83" fmla="*/ 133 h 874"/>
                <a:gd name="T84" fmla="*/ 255 w 1004"/>
                <a:gd name="T85" fmla="*/ 154 h 874"/>
                <a:gd name="T86" fmla="*/ 340 w 1004"/>
                <a:gd name="T87" fmla="*/ 137 h 874"/>
                <a:gd name="T88" fmla="*/ 449 w 1004"/>
                <a:gd name="T89" fmla="*/ 59 h 874"/>
                <a:gd name="T90" fmla="*/ 512 w 1004"/>
                <a:gd name="T91" fmla="*/ 0 h 874"/>
                <a:gd name="T92" fmla="*/ 118 w 1004"/>
                <a:gd name="T93" fmla="*/ 355 h 874"/>
                <a:gd name="T94" fmla="*/ 231 w 1004"/>
                <a:gd name="T95" fmla="*/ 466 h 874"/>
                <a:gd name="T96" fmla="*/ 248 w 1004"/>
                <a:gd name="T97" fmla="*/ 487 h 874"/>
                <a:gd name="T98" fmla="*/ 945 w 1004"/>
                <a:gd name="T99" fmla="*/ 796 h 874"/>
                <a:gd name="T100" fmla="*/ 982 w 1004"/>
                <a:gd name="T101" fmla="*/ 759 h 874"/>
                <a:gd name="T102" fmla="*/ 999 w 1004"/>
                <a:gd name="T103" fmla="*/ 820 h 874"/>
                <a:gd name="T104" fmla="*/ 956 w 1004"/>
                <a:gd name="T105" fmla="*/ 848 h 874"/>
                <a:gd name="T106" fmla="*/ 945 w 1004"/>
                <a:gd name="T107" fmla="*/ 820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4" h="874">
                  <a:moveTo>
                    <a:pt x="512" y="0"/>
                  </a:moveTo>
                  <a:lnTo>
                    <a:pt x="519" y="22"/>
                  </a:lnTo>
                  <a:lnTo>
                    <a:pt x="534" y="26"/>
                  </a:lnTo>
                  <a:lnTo>
                    <a:pt x="557" y="22"/>
                  </a:lnTo>
                  <a:lnTo>
                    <a:pt x="567" y="55"/>
                  </a:lnTo>
                  <a:lnTo>
                    <a:pt x="588" y="55"/>
                  </a:lnTo>
                  <a:lnTo>
                    <a:pt x="595" y="67"/>
                  </a:lnTo>
                  <a:lnTo>
                    <a:pt x="626" y="76"/>
                  </a:lnTo>
                  <a:lnTo>
                    <a:pt x="626" y="100"/>
                  </a:lnTo>
                  <a:lnTo>
                    <a:pt x="647" y="111"/>
                  </a:lnTo>
                  <a:lnTo>
                    <a:pt x="675" y="83"/>
                  </a:lnTo>
                  <a:lnTo>
                    <a:pt x="675" y="83"/>
                  </a:lnTo>
                  <a:lnTo>
                    <a:pt x="675" y="100"/>
                  </a:lnTo>
                  <a:lnTo>
                    <a:pt x="675" y="116"/>
                  </a:lnTo>
                  <a:lnTo>
                    <a:pt x="701" y="133"/>
                  </a:lnTo>
                  <a:lnTo>
                    <a:pt x="718" y="149"/>
                  </a:lnTo>
                  <a:lnTo>
                    <a:pt x="739" y="137"/>
                  </a:lnTo>
                  <a:lnTo>
                    <a:pt x="751" y="149"/>
                  </a:lnTo>
                  <a:lnTo>
                    <a:pt x="784" y="149"/>
                  </a:lnTo>
                  <a:lnTo>
                    <a:pt x="789" y="154"/>
                  </a:lnTo>
                  <a:lnTo>
                    <a:pt x="805" y="178"/>
                  </a:lnTo>
                  <a:lnTo>
                    <a:pt x="822" y="170"/>
                  </a:lnTo>
                  <a:lnTo>
                    <a:pt x="843" y="178"/>
                  </a:lnTo>
                  <a:lnTo>
                    <a:pt x="848" y="178"/>
                  </a:lnTo>
                  <a:lnTo>
                    <a:pt x="874" y="187"/>
                  </a:lnTo>
                  <a:lnTo>
                    <a:pt x="912" y="194"/>
                  </a:lnTo>
                  <a:lnTo>
                    <a:pt x="881" y="232"/>
                  </a:lnTo>
                  <a:lnTo>
                    <a:pt x="874" y="248"/>
                  </a:lnTo>
                  <a:lnTo>
                    <a:pt x="864" y="277"/>
                  </a:lnTo>
                  <a:lnTo>
                    <a:pt x="864" y="289"/>
                  </a:lnTo>
                  <a:lnTo>
                    <a:pt x="860" y="315"/>
                  </a:lnTo>
                  <a:lnTo>
                    <a:pt x="864" y="322"/>
                  </a:lnTo>
                  <a:lnTo>
                    <a:pt x="848" y="338"/>
                  </a:lnTo>
                  <a:lnTo>
                    <a:pt x="827" y="331"/>
                  </a:lnTo>
                  <a:lnTo>
                    <a:pt x="822" y="343"/>
                  </a:lnTo>
                  <a:lnTo>
                    <a:pt x="827" y="343"/>
                  </a:lnTo>
                  <a:lnTo>
                    <a:pt x="822" y="355"/>
                  </a:lnTo>
                  <a:lnTo>
                    <a:pt x="789" y="392"/>
                  </a:lnTo>
                  <a:lnTo>
                    <a:pt x="784" y="400"/>
                  </a:lnTo>
                  <a:lnTo>
                    <a:pt x="767" y="416"/>
                  </a:lnTo>
                  <a:lnTo>
                    <a:pt x="756" y="426"/>
                  </a:lnTo>
                  <a:lnTo>
                    <a:pt x="767" y="433"/>
                  </a:lnTo>
                  <a:lnTo>
                    <a:pt x="767" y="442"/>
                  </a:lnTo>
                  <a:lnTo>
                    <a:pt x="751" y="449"/>
                  </a:lnTo>
                  <a:lnTo>
                    <a:pt x="756" y="454"/>
                  </a:lnTo>
                  <a:lnTo>
                    <a:pt x="772" y="449"/>
                  </a:lnTo>
                  <a:lnTo>
                    <a:pt x="772" y="433"/>
                  </a:lnTo>
                  <a:lnTo>
                    <a:pt x="805" y="426"/>
                  </a:lnTo>
                  <a:lnTo>
                    <a:pt x="810" y="433"/>
                  </a:lnTo>
                  <a:lnTo>
                    <a:pt x="810" y="454"/>
                  </a:lnTo>
                  <a:lnTo>
                    <a:pt x="827" y="470"/>
                  </a:lnTo>
                  <a:lnTo>
                    <a:pt x="810" y="487"/>
                  </a:lnTo>
                  <a:lnTo>
                    <a:pt x="836" y="520"/>
                  </a:lnTo>
                  <a:lnTo>
                    <a:pt x="836" y="537"/>
                  </a:lnTo>
                  <a:lnTo>
                    <a:pt x="793" y="544"/>
                  </a:lnTo>
                  <a:lnTo>
                    <a:pt x="805" y="565"/>
                  </a:lnTo>
                  <a:lnTo>
                    <a:pt x="827" y="565"/>
                  </a:lnTo>
                  <a:lnTo>
                    <a:pt x="810" y="598"/>
                  </a:lnTo>
                  <a:lnTo>
                    <a:pt x="822" y="619"/>
                  </a:lnTo>
                  <a:lnTo>
                    <a:pt x="848" y="631"/>
                  </a:lnTo>
                  <a:lnTo>
                    <a:pt x="874" y="631"/>
                  </a:lnTo>
                  <a:lnTo>
                    <a:pt x="874" y="636"/>
                  </a:lnTo>
                  <a:lnTo>
                    <a:pt x="860" y="652"/>
                  </a:lnTo>
                  <a:lnTo>
                    <a:pt x="860" y="664"/>
                  </a:lnTo>
                  <a:lnTo>
                    <a:pt x="860" y="669"/>
                  </a:lnTo>
                  <a:lnTo>
                    <a:pt x="848" y="669"/>
                  </a:lnTo>
                  <a:lnTo>
                    <a:pt x="836" y="676"/>
                  </a:lnTo>
                  <a:lnTo>
                    <a:pt x="793" y="704"/>
                  </a:lnTo>
                  <a:lnTo>
                    <a:pt x="805" y="709"/>
                  </a:lnTo>
                  <a:lnTo>
                    <a:pt x="793" y="721"/>
                  </a:lnTo>
                  <a:lnTo>
                    <a:pt x="767" y="721"/>
                  </a:lnTo>
                  <a:lnTo>
                    <a:pt x="767" y="726"/>
                  </a:lnTo>
                  <a:lnTo>
                    <a:pt x="751" y="726"/>
                  </a:lnTo>
                  <a:lnTo>
                    <a:pt x="739" y="726"/>
                  </a:lnTo>
                  <a:lnTo>
                    <a:pt x="734" y="721"/>
                  </a:lnTo>
                  <a:lnTo>
                    <a:pt x="713" y="709"/>
                  </a:lnTo>
                  <a:lnTo>
                    <a:pt x="701" y="704"/>
                  </a:lnTo>
                  <a:lnTo>
                    <a:pt x="685" y="704"/>
                  </a:lnTo>
                  <a:lnTo>
                    <a:pt x="701" y="692"/>
                  </a:lnTo>
                  <a:lnTo>
                    <a:pt x="685" y="685"/>
                  </a:lnTo>
                  <a:lnTo>
                    <a:pt x="685" y="692"/>
                  </a:lnTo>
                  <a:lnTo>
                    <a:pt x="675" y="704"/>
                  </a:lnTo>
                  <a:lnTo>
                    <a:pt x="664" y="676"/>
                  </a:lnTo>
                  <a:lnTo>
                    <a:pt x="664" y="704"/>
                  </a:lnTo>
                  <a:lnTo>
                    <a:pt x="659" y="704"/>
                  </a:lnTo>
                  <a:lnTo>
                    <a:pt x="647" y="692"/>
                  </a:lnTo>
                  <a:lnTo>
                    <a:pt x="609" y="685"/>
                  </a:lnTo>
                  <a:lnTo>
                    <a:pt x="567" y="709"/>
                  </a:lnTo>
                  <a:lnTo>
                    <a:pt x="550" y="726"/>
                  </a:lnTo>
                  <a:lnTo>
                    <a:pt x="541" y="747"/>
                  </a:lnTo>
                  <a:lnTo>
                    <a:pt x="550" y="775"/>
                  </a:lnTo>
                  <a:lnTo>
                    <a:pt x="557" y="780"/>
                  </a:lnTo>
                  <a:lnTo>
                    <a:pt x="541" y="780"/>
                  </a:lnTo>
                  <a:lnTo>
                    <a:pt x="512" y="787"/>
                  </a:lnTo>
                  <a:lnTo>
                    <a:pt x="496" y="780"/>
                  </a:lnTo>
                  <a:lnTo>
                    <a:pt x="470" y="787"/>
                  </a:lnTo>
                  <a:lnTo>
                    <a:pt x="458" y="775"/>
                  </a:lnTo>
                  <a:lnTo>
                    <a:pt x="458" y="763"/>
                  </a:lnTo>
                  <a:lnTo>
                    <a:pt x="432" y="763"/>
                  </a:lnTo>
                  <a:lnTo>
                    <a:pt x="427" y="759"/>
                  </a:lnTo>
                  <a:lnTo>
                    <a:pt x="390" y="742"/>
                  </a:lnTo>
                  <a:lnTo>
                    <a:pt x="378" y="759"/>
                  </a:lnTo>
                  <a:lnTo>
                    <a:pt x="335" y="759"/>
                  </a:lnTo>
                  <a:lnTo>
                    <a:pt x="307" y="747"/>
                  </a:lnTo>
                  <a:lnTo>
                    <a:pt x="297" y="747"/>
                  </a:lnTo>
                  <a:lnTo>
                    <a:pt x="281" y="730"/>
                  </a:lnTo>
                  <a:lnTo>
                    <a:pt x="231" y="726"/>
                  </a:lnTo>
                  <a:lnTo>
                    <a:pt x="231" y="709"/>
                  </a:lnTo>
                  <a:lnTo>
                    <a:pt x="210" y="704"/>
                  </a:lnTo>
                  <a:lnTo>
                    <a:pt x="227" y="692"/>
                  </a:lnTo>
                  <a:lnTo>
                    <a:pt x="231" y="676"/>
                  </a:lnTo>
                  <a:lnTo>
                    <a:pt x="248" y="593"/>
                  </a:lnTo>
                  <a:lnTo>
                    <a:pt x="264" y="581"/>
                  </a:lnTo>
                  <a:lnTo>
                    <a:pt x="248" y="577"/>
                  </a:lnTo>
                  <a:lnTo>
                    <a:pt x="248" y="581"/>
                  </a:lnTo>
                  <a:lnTo>
                    <a:pt x="255" y="504"/>
                  </a:lnTo>
                  <a:lnTo>
                    <a:pt x="281" y="525"/>
                  </a:lnTo>
                  <a:lnTo>
                    <a:pt x="297" y="565"/>
                  </a:lnTo>
                  <a:lnTo>
                    <a:pt x="281" y="508"/>
                  </a:lnTo>
                  <a:lnTo>
                    <a:pt x="248" y="499"/>
                  </a:lnTo>
                  <a:lnTo>
                    <a:pt x="255" y="470"/>
                  </a:lnTo>
                  <a:lnTo>
                    <a:pt x="255" y="442"/>
                  </a:lnTo>
                  <a:lnTo>
                    <a:pt x="210" y="426"/>
                  </a:lnTo>
                  <a:lnTo>
                    <a:pt x="189" y="392"/>
                  </a:lnTo>
                  <a:lnTo>
                    <a:pt x="193" y="371"/>
                  </a:lnTo>
                  <a:lnTo>
                    <a:pt x="179" y="359"/>
                  </a:lnTo>
                  <a:lnTo>
                    <a:pt x="189" y="355"/>
                  </a:lnTo>
                  <a:lnTo>
                    <a:pt x="210" y="355"/>
                  </a:lnTo>
                  <a:lnTo>
                    <a:pt x="193" y="343"/>
                  </a:lnTo>
                  <a:lnTo>
                    <a:pt x="172" y="355"/>
                  </a:lnTo>
                  <a:lnTo>
                    <a:pt x="156" y="343"/>
                  </a:lnTo>
                  <a:lnTo>
                    <a:pt x="156" y="338"/>
                  </a:lnTo>
                  <a:lnTo>
                    <a:pt x="163" y="338"/>
                  </a:lnTo>
                  <a:lnTo>
                    <a:pt x="156" y="331"/>
                  </a:lnTo>
                  <a:lnTo>
                    <a:pt x="172" y="331"/>
                  </a:lnTo>
                  <a:lnTo>
                    <a:pt x="134" y="331"/>
                  </a:lnTo>
                  <a:lnTo>
                    <a:pt x="142" y="331"/>
                  </a:lnTo>
                  <a:lnTo>
                    <a:pt x="142" y="322"/>
                  </a:lnTo>
                  <a:lnTo>
                    <a:pt x="118" y="322"/>
                  </a:lnTo>
                  <a:lnTo>
                    <a:pt x="118" y="331"/>
                  </a:lnTo>
                  <a:lnTo>
                    <a:pt x="108" y="315"/>
                  </a:lnTo>
                  <a:lnTo>
                    <a:pt x="54" y="298"/>
                  </a:lnTo>
                  <a:lnTo>
                    <a:pt x="28" y="305"/>
                  </a:lnTo>
                  <a:lnTo>
                    <a:pt x="28" y="289"/>
                  </a:lnTo>
                  <a:lnTo>
                    <a:pt x="0" y="281"/>
                  </a:lnTo>
                  <a:lnTo>
                    <a:pt x="33" y="277"/>
                  </a:lnTo>
                  <a:lnTo>
                    <a:pt x="28" y="265"/>
                  </a:lnTo>
                  <a:lnTo>
                    <a:pt x="16" y="265"/>
                  </a:lnTo>
                  <a:lnTo>
                    <a:pt x="12" y="260"/>
                  </a:lnTo>
                  <a:lnTo>
                    <a:pt x="16" y="248"/>
                  </a:lnTo>
                  <a:lnTo>
                    <a:pt x="38" y="260"/>
                  </a:lnTo>
                  <a:lnTo>
                    <a:pt x="0" y="248"/>
                  </a:lnTo>
                  <a:lnTo>
                    <a:pt x="0" y="232"/>
                  </a:lnTo>
                  <a:lnTo>
                    <a:pt x="28" y="227"/>
                  </a:lnTo>
                  <a:lnTo>
                    <a:pt x="80" y="220"/>
                  </a:lnTo>
                  <a:lnTo>
                    <a:pt x="87" y="211"/>
                  </a:lnTo>
                  <a:lnTo>
                    <a:pt x="108" y="204"/>
                  </a:lnTo>
                  <a:lnTo>
                    <a:pt x="146" y="244"/>
                  </a:lnTo>
                  <a:lnTo>
                    <a:pt x="172" y="220"/>
                  </a:lnTo>
                  <a:lnTo>
                    <a:pt x="193" y="232"/>
                  </a:lnTo>
                  <a:lnTo>
                    <a:pt x="193" y="220"/>
                  </a:lnTo>
                  <a:lnTo>
                    <a:pt x="201" y="220"/>
                  </a:lnTo>
                  <a:lnTo>
                    <a:pt x="201" y="227"/>
                  </a:lnTo>
                  <a:lnTo>
                    <a:pt x="243" y="227"/>
                  </a:lnTo>
                  <a:lnTo>
                    <a:pt x="227" y="220"/>
                  </a:lnTo>
                  <a:lnTo>
                    <a:pt x="217" y="170"/>
                  </a:lnTo>
                  <a:lnTo>
                    <a:pt x="210" y="154"/>
                  </a:lnTo>
                  <a:lnTo>
                    <a:pt x="201" y="133"/>
                  </a:lnTo>
                  <a:lnTo>
                    <a:pt x="193" y="121"/>
                  </a:lnTo>
                  <a:lnTo>
                    <a:pt x="248" y="133"/>
                  </a:lnTo>
                  <a:lnTo>
                    <a:pt x="243" y="137"/>
                  </a:lnTo>
                  <a:lnTo>
                    <a:pt x="255" y="154"/>
                  </a:lnTo>
                  <a:lnTo>
                    <a:pt x="319" y="166"/>
                  </a:lnTo>
                  <a:lnTo>
                    <a:pt x="361" y="149"/>
                  </a:lnTo>
                  <a:lnTo>
                    <a:pt x="361" y="149"/>
                  </a:lnTo>
                  <a:lnTo>
                    <a:pt x="340" y="137"/>
                  </a:lnTo>
                  <a:lnTo>
                    <a:pt x="352" y="121"/>
                  </a:lnTo>
                  <a:lnTo>
                    <a:pt x="411" y="111"/>
                  </a:lnTo>
                  <a:lnTo>
                    <a:pt x="432" y="83"/>
                  </a:lnTo>
                  <a:lnTo>
                    <a:pt x="449" y="59"/>
                  </a:lnTo>
                  <a:lnTo>
                    <a:pt x="449" y="10"/>
                  </a:lnTo>
                  <a:lnTo>
                    <a:pt x="512" y="0"/>
                  </a:lnTo>
                  <a:lnTo>
                    <a:pt x="512" y="0"/>
                  </a:lnTo>
                  <a:lnTo>
                    <a:pt x="512" y="0"/>
                  </a:lnTo>
                  <a:close/>
                  <a:moveTo>
                    <a:pt x="118" y="355"/>
                  </a:moveTo>
                  <a:lnTo>
                    <a:pt x="108" y="343"/>
                  </a:lnTo>
                  <a:lnTo>
                    <a:pt x="104" y="338"/>
                  </a:lnTo>
                  <a:lnTo>
                    <a:pt x="118" y="355"/>
                  </a:lnTo>
                  <a:lnTo>
                    <a:pt x="118" y="355"/>
                  </a:lnTo>
                  <a:lnTo>
                    <a:pt x="118" y="355"/>
                  </a:lnTo>
                  <a:close/>
                  <a:moveTo>
                    <a:pt x="248" y="487"/>
                  </a:moveTo>
                  <a:lnTo>
                    <a:pt x="231" y="466"/>
                  </a:lnTo>
                  <a:lnTo>
                    <a:pt x="248" y="470"/>
                  </a:lnTo>
                  <a:lnTo>
                    <a:pt x="248" y="487"/>
                  </a:lnTo>
                  <a:lnTo>
                    <a:pt x="248" y="487"/>
                  </a:lnTo>
                  <a:lnTo>
                    <a:pt x="248" y="487"/>
                  </a:lnTo>
                  <a:close/>
                  <a:moveTo>
                    <a:pt x="945" y="820"/>
                  </a:moveTo>
                  <a:lnTo>
                    <a:pt x="945" y="813"/>
                  </a:lnTo>
                  <a:lnTo>
                    <a:pt x="935" y="796"/>
                  </a:lnTo>
                  <a:lnTo>
                    <a:pt x="945" y="796"/>
                  </a:lnTo>
                  <a:lnTo>
                    <a:pt x="935" y="787"/>
                  </a:lnTo>
                  <a:lnTo>
                    <a:pt x="945" y="775"/>
                  </a:lnTo>
                  <a:lnTo>
                    <a:pt x="973" y="759"/>
                  </a:lnTo>
                  <a:lnTo>
                    <a:pt x="982" y="759"/>
                  </a:lnTo>
                  <a:lnTo>
                    <a:pt x="987" y="730"/>
                  </a:lnTo>
                  <a:lnTo>
                    <a:pt x="999" y="730"/>
                  </a:lnTo>
                  <a:lnTo>
                    <a:pt x="1004" y="803"/>
                  </a:lnTo>
                  <a:lnTo>
                    <a:pt x="999" y="820"/>
                  </a:lnTo>
                  <a:lnTo>
                    <a:pt x="987" y="848"/>
                  </a:lnTo>
                  <a:lnTo>
                    <a:pt x="982" y="874"/>
                  </a:lnTo>
                  <a:lnTo>
                    <a:pt x="949" y="858"/>
                  </a:lnTo>
                  <a:lnTo>
                    <a:pt x="956" y="848"/>
                  </a:lnTo>
                  <a:lnTo>
                    <a:pt x="945" y="848"/>
                  </a:lnTo>
                  <a:lnTo>
                    <a:pt x="949" y="829"/>
                  </a:lnTo>
                  <a:lnTo>
                    <a:pt x="935" y="829"/>
                  </a:lnTo>
                  <a:lnTo>
                    <a:pt x="945" y="820"/>
                  </a:lnTo>
                  <a:lnTo>
                    <a:pt x="945" y="820"/>
                  </a:lnTo>
                  <a:lnTo>
                    <a:pt x="945" y="820"/>
                  </a:lnTo>
                  <a:close/>
                </a:path>
              </a:pathLst>
            </a:custGeom>
            <a:pattFill prst="dk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9" name="Freeform 446">
              <a:extLst>
                <a:ext uri="{FF2B5EF4-FFF2-40B4-BE49-F238E27FC236}">
                  <a16:creationId xmlns:a16="http://schemas.microsoft.com/office/drawing/2014/main" id="{23204EB7-D1BA-433C-B05F-0D43B78C8A78}"/>
                </a:ext>
              </a:extLst>
            </p:cNvPr>
            <p:cNvSpPr>
              <a:spLocks noEditPoints="1"/>
            </p:cNvSpPr>
            <p:nvPr/>
          </p:nvSpPr>
          <p:spPr bwMode="gray">
            <a:xfrm>
              <a:off x="7515597" y="6020156"/>
              <a:ext cx="951648" cy="518195"/>
            </a:xfrm>
            <a:custGeom>
              <a:avLst/>
              <a:gdLst>
                <a:gd name="T0" fmla="*/ 1916 w 1923"/>
                <a:gd name="T1" fmla="*/ 0 h 1047"/>
                <a:gd name="T2" fmla="*/ 1923 w 1923"/>
                <a:gd name="T3" fmla="*/ 12 h 1047"/>
                <a:gd name="T4" fmla="*/ 1923 w 1923"/>
                <a:gd name="T5" fmla="*/ 12 h 1047"/>
                <a:gd name="T6" fmla="*/ 0 w 1923"/>
                <a:gd name="T7" fmla="*/ 714 h 1047"/>
                <a:gd name="T8" fmla="*/ 10 w 1923"/>
                <a:gd name="T9" fmla="*/ 714 h 1047"/>
                <a:gd name="T10" fmla="*/ 10 w 1923"/>
                <a:gd name="T11" fmla="*/ 714 h 1047"/>
                <a:gd name="T12" fmla="*/ 106 w 1923"/>
                <a:gd name="T13" fmla="*/ 737 h 1047"/>
                <a:gd name="T14" fmla="*/ 118 w 1923"/>
                <a:gd name="T15" fmla="*/ 747 h 1047"/>
                <a:gd name="T16" fmla="*/ 118 w 1923"/>
                <a:gd name="T17" fmla="*/ 747 h 1047"/>
                <a:gd name="T18" fmla="*/ 139 w 1923"/>
                <a:gd name="T19" fmla="*/ 747 h 1047"/>
                <a:gd name="T20" fmla="*/ 156 w 1923"/>
                <a:gd name="T21" fmla="*/ 747 h 1047"/>
                <a:gd name="T22" fmla="*/ 139 w 1923"/>
                <a:gd name="T23" fmla="*/ 747 h 1047"/>
                <a:gd name="T24" fmla="*/ 1339 w 1923"/>
                <a:gd name="T25" fmla="*/ 992 h 1047"/>
                <a:gd name="T26" fmla="*/ 1365 w 1923"/>
                <a:gd name="T27" fmla="*/ 992 h 1047"/>
                <a:gd name="T28" fmla="*/ 1361 w 1923"/>
                <a:gd name="T29" fmla="*/ 992 h 1047"/>
                <a:gd name="T30" fmla="*/ 1377 w 1923"/>
                <a:gd name="T31" fmla="*/ 1009 h 1047"/>
                <a:gd name="T32" fmla="*/ 1429 w 1923"/>
                <a:gd name="T33" fmla="*/ 992 h 1047"/>
                <a:gd name="T34" fmla="*/ 1420 w 1923"/>
                <a:gd name="T35" fmla="*/ 1014 h 1047"/>
                <a:gd name="T36" fmla="*/ 1429 w 1923"/>
                <a:gd name="T37" fmla="*/ 1025 h 1047"/>
                <a:gd name="T38" fmla="*/ 1382 w 1923"/>
                <a:gd name="T39" fmla="*/ 1014 h 1047"/>
                <a:gd name="T40" fmla="*/ 1377 w 1923"/>
                <a:gd name="T41" fmla="*/ 1014 h 1047"/>
                <a:gd name="T42" fmla="*/ 1415 w 1923"/>
                <a:gd name="T43" fmla="*/ 1030 h 1047"/>
                <a:gd name="T44" fmla="*/ 1382 w 1923"/>
                <a:gd name="T45" fmla="*/ 1047 h 1047"/>
                <a:gd name="T46" fmla="*/ 1377 w 1923"/>
                <a:gd name="T47" fmla="*/ 1042 h 1047"/>
                <a:gd name="T48" fmla="*/ 1328 w 1923"/>
                <a:gd name="T49" fmla="*/ 1030 h 1047"/>
                <a:gd name="T50" fmla="*/ 1306 w 1923"/>
                <a:gd name="T51" fmla="*/ 1047 h 1047"/>
                <a:gd name="T52" fmla="*/ 1306 w 1923"/>
                <a:gd name="T53" fmla="*/ 985 h 1047"/>
                <a:gd name="T54" fmla="*/ 1328 w 1923"/>
                <a:gd name="T55" fmla="*/ 952 h 1047"/>
                <a:gd name="T56" fmla="*/ 1339 w 1923"/>
                <a:gd name="T57" fmla="*/ 959 h 1047"/>
                <a:gd name="T58" fmla="*/ 1328 w 1923"/>
                <a:gd name="T59" fmla="*/ 992 h 1047"/>
                <a:gd name="T60" fmla="*/ 1339 w 1923"/>
                <a:gd name="T61" fmla="*/ 992 h 1047"/>
                <a:gd name="T62" fmla="*/ 1339 w 1923"/>
                <a:gd name="T63" fmla="*/ 992 h 1047"/>
                <a:gd name="T64" fmla="*/ 1339 w 1923"/>
                <a:gd name="T65" fmla="*/ 976 h 1047"/>
                <a:gd name="T66" fmla="*/ 1349 w 1923"/>
                <a:gd name="T67" fmla="*/ 976 h 1047"/>
                <a:gd name="T68" fmla="*/ 1339 w 1923"/>
                <a:gd name="T69" fmla="*/ 992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3" h="1047">
                  <a:moveTo>
                    <a:pt x="1923" y="12"/>
                  </a:moveTo>
                  <a:lnTo>
                    <a:pt x="1916" y="0"/>
                  </a:lnTo>
                  <a:lnTo>
                    <a:pt x="1923" y="0"/>
                  </a:lnTo>
                  <a:lnTo>
                    <a:pt x="1923" y="12"/>
                  </a:lnTo>
                  <a:lnTo>
                    <a:pt x="1923" y="12"/>
                  </a:lnTo>
                  <a:lnTo>
                    <a:pt x="1923" y="12"/>
                  </a:lnTo>
                  <a:close/>
                  <a:moveTo>
                    <a:pt x="10" y="714"/>
                  </a:moveTo>
                  <a:lnTo>
                    <a:pt x="0" y="714"/>
                  </a:lnTo>
                  <a:lnTo>
                    <a:pt x="10" y="714"/>
                  </a:lnTo>
                  <a:lnTo>
                    <a:pt x="10" y="714"/>
                  </a:lnTo>
                  <a:lnTo>
                    <a:pt x="10" y="714"/>
                  </a:lnTo>
                  <a:lnTo>
                    <a:pt x="10" y="714"/>
                  </a:lnTo>
                  <a:close/>
                  <a:moveTo>
                    <a:pt x="118" y="747"/>
                  </a:moveTo>
                  <a:lnTo>
                    <a:pt x="106" y="737"/>
                  </a:lnTo>
                  <a:lnTo>
                    <a:pt x="118" y="737"/>
                  </a:lnTo>
                  <a:lnTo>
                    <a:pt x="118" y="747"/>
                  </a:lnTo>
                  <a:lnTo>
                    <a:pt x="118" y="747"/>
                  </a:lnTo>
                  <a:lnTo>
                    <a:pt x="118" y="747"/>
                  </a:lnTo>
                  <a:lnTo>
                    <a:pt x="118" y="747"/>
                  </a:lnTo>
                  <a:close/>
                  <a:moveTo>
                    <a:pt x="139" y="747"/>
                  </a:moveTo>
                  <a:lnTo>
                    <a:pt x="139" y="747"/>
                  </a:lnTo>
                  <a:lnTo>
                    <a:pt x="156" y="747"/>
                  </a:lnTo>
                  <a:lnTo>
                    <a:pt x="139" y="747"/>
                  </a:lnTo>
                  <a:lnTo>
                    <a:pt x="139" y="747"/>
                  </a:lnTo>
                  <a:lnTo>
                    <a:pt x="139" y="747"/>
                  </a:lnTo>
                  <a:close/>
                  <a:moveTo>
                    <a:pt x="1339" y="992"/>
                  </a:moveTo>
                  <a:lnTo>
                    <a:pt x="1365" y="976"/>
                  </a:lnTo>
                  <a:lnTo>
                    <a:pt x="1365" y="992"/>
                  </a:lnTo>
                  <a:lnTo>
                    <a:pt x="1344" y="1002"/>
                  </a:lnTo>
                  <a:lnTo>
                    <a:pt x="1361" y="992"/>
                  </a:lnTo>
                  <a:lnTo>
                    <a:pt x="1361" y="1009"/>
                  </a:lnTo>
                  <a:lnTo>
                    <a:pt x="1377" y="1009"/>
                  </a:lnTo>
                  <a:lnTo>
                    <a:pt x="1415" y="985"/>
                  </a:lnTo>
                  <a:lnTo>
                    <a:pt x="1429" y="992"/>
                  </a:lnTo>
                  <a:lnTo>
                    <a:pt x="1436" y="1002"/>
                  </a:lnTo>
                  <a:lnTo>
                    <a:pt x="1420" y="1014"/>
                  </a:lnTo>
                  <a:lnTo>
                    <a:pt x="1415" y="1014"/>
                  </a:lnTo>
                  <a:lnTo>
                    <a:pt x="1429" y="1025"/>
                  </a:lnTo>
                  <a:lnTo>
                    <a:pt x="1403" y="1014"/>
                  </a:lnTo>
                  <a:lnTo>
                    <a:pt x="1382" y="1014"/>
                  </a:lnTo>
                  <a:lnTo>
                    <a:pt x="1391" y="1025"/>
                  </a:lnTo>
                  <a:lnTo>
                    <a:pt x="1377" y="1014"/>
                  </a:lnTo>
                  <a:lnTo>
                    <a:pt x="1382" y="1030"/>
                  </a:lnTo>
                  <a:lnTo>
                    <a:pt x="1415" y="1030"/>
                  </a:lnTo>
                  <a:lnTo>
                    <a:pt x="1415" y="1047"/>
                  </a:lnTo>
                  <a:lnTo>
                    <a:pt x="1382" y="1047"/>
                  </a:lnTo>
                  <a:lnTo>
                    <a:pt x="1365" y="1025"/>
                  </a:lnTo>
                  <a:lnTo>
                    <a:pt x="1377" y="1042"/>
                  </a:lnTo>
                  <a:lnTo>
                    <a:pt x="1344" y="1030"/>
                  </a:lnTo>
                  <a:lnTo>
                    <a:pt x="1328" y="1030"/>
                  </a:lnTo>
                  <a:lnTo>
                    <a:pt x="1328" y="1047"/>
                  </a:lnTo>
                  <a:lnTo>
                    <a:pt x="1306" y="1047"/>
                  </a:lnTo>
                  <a:lnTo>
                    <a:pt x="1311" y="1014"/>
                  </a:lnTo>
                  <a:lnTo>
                    <a:pt x="1306" y="985"/>
                  </a:lnTo>
                  <a:lnTo>
                    <a:pt x="1323" y="952"/>
                  </a:lnTo>
                  <a:lnTo>
                    <a:pt x="1328" y="952"/>
                  </a:lnTo>
                  <a:lnTo>
                    <a:pt x="1323" y="969"/>
                  </a:lnTo>
                  <a:lnTo>
                    <a:pt x="1339" y="959"/>
                  </a:lnTo>
                  <a:lnTo>
                    <a:pt x="1323" y="992"/>
                  </a:lnTo>
                  <a:lnTo>
                    <a:pt x="1328" y="992"/>
                  </a:lnTo>
                  <a:lnTo>
                    <a:pt x="1328" y="976"/>
                  </a:lnTo>
                  <a:lnTo>
                    <a:pt x="1339" y="992"/>
                  </a:lnTo>
                  <a:lnTo>
                    <a:pt x="1339" y="992"/>
                  </a:lnTo>
                  <a:lnTo>
                    <a:pt x="1339" y="992"/>
                  </a:lnTo>
                  <a:close/>
                  <a:moveTo>
                    <a:pt x="1339" y="992"/>
                  </a:moveTo>
                  <a:lnTo>
                    <a:pt x="1339" y="976"/>
                  </a:lnTo>
                  <a:lnTo>
                    <a:pt x="1349" y="969"/>
                  </a:lnTo>
                  <a:lnTo>
                    <a:pt x="1349" y="976"/>
                  </a:lnTo>
                  <a:lnTo>
                    <a:pt x="1339" y="992"/>
                  </a:lnTo>
                  <a:lnTo>
                    <a:pt x="1339" y="992"/>
                  </a:lnTo>
                  <a:lnTo>
                    <a:pt x="1339" y="992"/>
                  </a:lnTo>
                  <a:close/>
                </a:path>
              </a:pathLst>
            </a:custGeom>
            <a:solidFill>
              <a:schemeClr val="accent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0" name="Freeform 447">
              <a:extLst>
                <a:ext uri="{FF2B5EF4-FFF2-40B4-BE49-F238E27FC236}">
                  <a16:creationId xmlns:a16="http://schemas.microsoft.com/office/drawing/2014/main" id="{4EC9E450-5C06-4BF3-B1C3-E3A895CA0276}"/>
                </a:ext>
              </a:extLst>
            </p:cNvPr>
            <p:cNvSpPr>
              <a:spLocks/>
            </p:cNvSpPr>
            <p:nvPr/>
          </p:nvSpPr>
          <p:spPr bwMode="gray">
            <a:xfrm>
              <a:off x="5189181" y="4106253"/>
              <a:ext cx="108873" cy="28211"/>
            </a:xfrm>
            <a:custGeom>
              <a:avLst/>
              <a:gdLst>
                <a:gd name="T0" fmla="*/ 17 w 220"/>
                <a:gd name="T1" fmla="*/ 17 h 57"/>
                <a:gd name="T2" fmla="*/ 95 w 220"/>
                <a:gd name="T3" fmla="*/ 17 h 57"/>
                <a:gd name="T4" fmla="*/ 104 w 220"/>
                <a:gd name="T5" fmla="*/ 5 h 57"/>
                <a:gd name="T6" fmla="*/ 128 w 220"/>
                <a:gd name="T7" fmla="*/ 0 h 57"/>
                <a:gd name="T8" fmla="*/ 144 w 220"/>
                <a:gd name="T9" fmla="*/ 5 h 57"/>
                <a:gd name="T10" fmla="*/ 149 w 220"/>
                <a:gd name="T11" fmla="*/ 17 h 57"/>
                <a:gd name="T12" fmla="*/ 166 w 220"/>
                <a:gd name="T13" fmla="*/ 17 h 57"/>
                <a:gd name="T14" fmla="*/ 182 w 220"/>
                <a:gd name="T15" fmla="*/ 33 h 57"/>
                <a:gd name="T16" fmla="*/ 204 w 220"/>
                <a:gd name="T17" fmla="*/ 17 h 57"/>
                <a:gd name="T18" fmla="*/ 220 w 220"/>
                <a:gd name="T19" fmla="*/ 33 h 57"/>
                <a:gd name="T20" fmla="*/ 215 w 220"/>
                <a:gd name="T21" fmla="*/ 41 h 57"/>
                <a:gd name="T22" fmla="*/ 182 w 220"/>
                <a:gd name="T23" fmla="*/ 50 h 57"/>
                <a:gd name="T24" fmla="*/ 128 w 220"/>
                <a:gd name="T25" fmla="*/ 17 h 57"/>
                <a:gd name="T26" fmla="*/ 111 w 220"/>
                <a:gd name="T27" fmla="*/ 33 h 57"/>
                <a:gd name="T28" fmla="*/ 74 w 220"/>
                <a:gd name="T29" fmla="*/ 41 h 57"/>
                <a:gd name="T30" fmla="*/ 74 w 220"/>
                <a:gd name="T31" fmla="*/ 50 h 57"/>
                <a:gd name="T32" fmla="*/ 12 w 220"/>
                <a:gd name="T33" fmla="*/ 50 h 57"/>
                <a:gd name="T34" fmla="*/ 12 w 220"/>
                <a:gd name="T35" fmla="*/ 57 h 57"/>
                <a:gd name="T36" fmla="*/ 0 w 220"/>
                <a:gd name="T37" fmla="*/ 33 h 57"/>
                <a:gd name="T38" fmla="*/ 12 w 220"/>
                <a:gd name="T39" fmla="*/ 22 h 57"/>
                <a:gd name="T40" fmla="*/ 17 w 220"/>
                <a:gd name="T41" fmla="*/ 33 h 57"/>
                <a:gd name="T42" fmla="*/ 24 w 220"/>
                <a:gd name="T43" fmla="*/ 41 h 57"/>
                <a:gd name="T44" fmla="*/ 41 w 220"/>
                <a:gd name="T45" fmla="*/ 41 h 57"/>
                <a:gd name="T46" fmla="*/ 50 w 220"/>
                <a:gd name="T47" fmla="*/ 41 h 57"/>
                <a:gd name="T48" fmla="*/ 50 w 220"/>
                <a:gd name="T49" fmla="*/ 41 h 57"/>
                <a:gd name="T50" fmla="*/ 41 w 220"/>
                <a:gd name="T51" fmla="*/ 41 h 57"/>
                <a:gd name="T52" fmla="*/ 50 w 220"/>
                <a:gd name="T53" fmla="*/ 33 h 57"/>
                <a:gd name="T54" fmla="*/ 111 w 220"/>
                <a:gd name="T55" fmla="*/ 22 h 57"/>
                <a:gd name="T56" fmla="*/ 95 w 220"/>
                <a:gd name="T57" fmla="*/ 22 h 57"/>
                <a:gd name="T58" fmla="*/ 50 w 220"/>
                <a:gd name="T59" fmla="*/ 33 h 57"/>
                <a:gd name="T60" fmla="*/ 33 w 220"/>
                <a:gd name="T61" fmla="*/ 41 h 57"/>
                <a:gd name="T62" fmla="*/ 24 w 220"/>
                <a:gd name="T63" fmla="*/ 33 h 57"/>
                <a:gd name="T64" fmla="*/ 17 w 220"/>
                <a:gd name="T65" fmla="*/ 17 h 57"/>
                <a:gd name="T66" fmla="*/ 17 w 220"/>
                <a:gd name="T67" fmla="*/ 17 h 57"/>
                <a:gd name="T68" fmla="*/ 17 w 220"/>
                <a:gd name="T69" fmla="*/ 1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0" h="57">
                  <a:moveTo>
                    <a:pt x="17" y="17"/>
                  </a:moveTo>
                  <a:lnTo>
                    <a:pt x="95" y="17"/>
                  </a:lnTo>
                  <a:lnTo>
                    <a:pt x="104" y="5"/>
                  </a:lnTo>
                  <a:lnTo>
                    <a:pt x="128" y="0"/>
                  </a:lnTo>
                  <a:lnTo>
                    <a:pt x="144" y="5"/>
                  </a:lnTo>
                  <a:lnTo>
                    <a:pt x="149" y="17"/>
                  </a:lnTo>
                  <a:lnTo>
                    <a:pt x="166" y="17"/>
                  </a:lnTo>
                  <a:lnTo>
                    <a:pt x="182" y="33"/>
                  </a:lnTo>
                  <a:lnTo>
                    <a:pt x="204" y="17"/>
                  </a:lnTo>
                  <a:lnTo>
                    <a:pt x="220" y="33"/>
                  </a:lnTo>
                  <a:lnTo>
                    <a:pt x="215" y="41"/>
                  </a:lnTo>
                  <a:lnTo>
                    <a:pt x="182" y="50"/>
                  </a:lnTo>
                  <a:lnTo>
                    <a:pt x="128" y="17"/>
                  </a:lnTo>
                  <a:lnTo>
                    <a:pt x="111" y="33"/>
                  </a:lnTo>
                  <a:lnTo>
                    <a:pt x="74" y="41"/>
                  </a:lnTo>
                  <a:lnTo>
                    <a:pt x="74" y="50"/>
                  </a:lnTo>
                  <a:lnTo>
                    <a:pt x="12" y="50"/>
                  </a:lnTo>
                  <a:lnTo>
                    <a:pt x="12" y="57"/>
                  </a:lnTo>
                  <a:lnTo>
                    <a:pt x="0" y="33"/>
                  </a:lnTo>
                  <a:lnTo>
                    <a:pt x="12" y="22"/>
                  </a:lnTo>
                  <a:lnTo>
                    <a:pt x="17" y="33"/>
                  </a:lnTo>
                  <a:lnTo>
                    <a:pt x="24" y="41"/>
                  </a:lnTo>
                  <a:lnTo>
                    <a:pt x="41" y="41"/>
                  </a:lnTo>
                  <a:lnTo>
                    <a:pt x="50" y="41"/>
                  </a:lnTo>
                  <a:lnTo>
                    <a:pt x="50" y="41"/>
                  </a:lnTo>
                  <a:lnTo>
                    <a:pt x="41" y="41"/>
                  </a:lnTo>
                  <a:lnTo>
                    <a:pt x="50" y="33"/>
                  </a:lnTo>
                  <a:lnTo>
                    <a:pt x="111" y="22"/>
                  </a:lnTo>
                  <a:lnTo>
                    <a:pt x="95" y="22"/>
                  </a:lnTo>
                  <a:lnTo>
                    <a:pt x="50" y="33"/>
                  </a:lnTo>
                  <a:lnTo>
                    <a:pt x="33" y="41"/>
                  </a:lnTo>
                  <a:lnTo>
                    <a:pt x="24" y="33"/>
                  </a:lnTo>
                  <a:lnTo>
                    <a:pt x="17" y="17"/>
                  </a:lnTo>
                  <a:lnTo>
                    <a:pt x="17" y="17"/>
                  </a:lnTo>
                  <a:lnTo>
                    <a:pt x="17" y="17"/>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1" name="Freeform 448">
              <a:extLst>
                <a:ext uri="{FF2B5EF4-FFF2-40B4-BE49-F238E27FC236}">
                  <a16:creationId xmlns:a16="http://schemas.microsoft.com/office/drawing/2014/main" id="{29F3B096-87DC-42EE-9322-736BD1D236BA}"/>
                </a:ext>
              </a:extLst>
            </p:cNvPr>
            <p:cNvSpPr>
              <a:spLocks noEditPoints="1"/>
            </p:cNvSpPr>
            <p:nvPr/>
          </p:nvSpPr>
          <p:spPr bwMode="gray">
            <a:xfrm>
              <a:off x="6077979" y="4520511"/>
              <a:ext cx="199931" cy="223215"/>
            </a:xfrm>
            <a:custGeom>
              <a:avLst/>
              <a:gdLst>
                <a:gd name="T0" fmla="*/ 359 w 404"/>
                <a:gd name="T1" fmla="*/ 184 h 451"/>
                <a:gd name="T2" fmla="*/ 380 w 404"/>
                <a:gd name="T3" fmla="*/ 200 h 451"/>
                <a:gd name="T4" fmla="*/ 404 w 404"/>
                <a:gd name="T5" fmla="*/ 212 h 451"/>
                <a:gd name="T6" fmla="*/ 404 w 404"/>
                <a:gd name="T7" fmla="*/ 257 h 451"/>
                <a:gd name="T8" fmla="*/ 387 w 404"/>
                <a:gd name="T9" fmla="*/ 311 h 451"/>
                <a:gd name="T10" fmla="*/ 359 w 404"/>
                <a:gd name="T11" fmla="*/ 344 h 451"/>
                <a:gd name="T12" fmla="*/ 333 w 404"/>
                <a:gd name="T13" fmla="*/ 344 h 451"/>
                <a:gd name="T14" fmla="*/ 290 w 404"/>
                <a:gd name="T15" fmla="*/ 307 h 451"/>
                <a:gd name="T16" fmla="*/ 269 w 404"/>
                <a:gd name="T17" fmla="*/ 307 h 451"/>
                <a:gd name="T18" fmla="*/ 257 w 404"/>
                <a:gd name="T19" fmla="*/ 340 h 451"/>
                <a:gd name="T20" fmla="*/ 224 w 404"/>
                <a:gd name="T21" fmla="*/ 340 h 451"/>
                <a:gd name="T22" fmla="*/ 198 w 404"/>
                <a:gd name="T23" fmla="*/ 340 h 451"/>
                <a:gd name="T24" fmla="*/ 198 w 404"/>
                <a:gd name="T25" fmla="*/ 378 h 451"/>
                <a:gd name="T26" fmla="*/ 215 w 404"/>
                <a:gd name="T27" fmla="*/ 385 h 451"/>
                <a:gd name="T28" fmla="*/ 224 w 404"/>
                <a:gd name="T29" fmla="*/ 406 h 451"/>
                <a:gd name="T30" fmla="*/ 219 w 404"/>
                <a:gd name="T31" fmla="*/ 434 h 451"/>
                <a:gd name="T32" fmla="*/ 198 w 404"/>
                <a:gd name="T33" fmla="*/ 422 h 451"/>
                <a:gd name="T34" fmla="*/ 165 w 404"/>
                <a:gd name="T35" fmla="*/ 451 h 451"/>
                <a:gd name="T36" fmla="*/ 63 w 404"/>
                <a:gd name="T37" fmla="*/ 344 h 451"/>
                <a:gd name="T38" fmla="*/ 96 w 404"/>
                <a:gd name="T39" fmla="*/ 352 h 451"/>
                <a:gd name="T40" fmla="*/ 89 w 404"/>
                <a:gd name="T41" fmla="*/ 352 h 451"/>
                <a:gd name="T42" fmla="*/ 75 w 404"/>
                <a:gd name="T43" fmla="*/ 344 h 451"/>
                <a:gd name="T44" fmla="*/ 42 w 404"/>
                <a:gd name="T45" fmla="*/ 307 h 451"/>
                <a:gd name="T46" fmla="*/ 59 w 404"/>
                <a:gd name="T47" fmla="*/ 311 h 451"/>
                <a:gd name="T48" fmla="*/ 37 w 404"/>
                <a:gd name="T49" fmla="*/ 295 h 451"/>
                <a:gd name="T50" fmla="*/ 21 w 404"/>
                <a:gd name="T51" fmla="*/ 257 h 451"/>
                <a:gd name="T52" fmla="*/ 54 w 404"/>
                <a:gd name="T53" fmla="*/ 290 h 451"/>
                <a:gd name="T54" fmla="*/ 54 w 404"/>
                <a:gd name="T55" fmla="*/ 274 h 451"/>
                <a:gd name="T56" fmla="*/ 42 w 404"/>
                <a:gd name="T57" fmla="*/ 257 h 451"/>
                <a:gd name="T58" fmla="*/ 21 w 404"/>
                <a:gd name="T59" fmla="*/ 257 h 451"/>
                <a:gd name="T60" fmla="*/ 0 w 404"/>
                <a:gd name="T61" fmla="*/ 212 h 451"/>
                <a:gd name="T62" fmla="*/ 42 w 404"/>
                <a:gd name="T63" fmla="*/ 196 h 451"/>
                <a:gd name="T64" fmla="*/ 54 w 404"/>
                <a:gd name="T65" fmla="*/ 155 h 451"/>
                <a:gd name="T66" fmla="*/ 80 w 404"/>
                <a:gd name="T67" fmla="*/ 155 h 451"/>
                <a:gd name="T68" fmla="*/ 42 w 404"/>
                <a:gd name="T69" fmla="*/ 127 h 451"/>
                <a:gd name="T70" fmla="*/ 59 w 404"/>
                <a:gd name="T71" fmla="*/ 118 h 451"/>
                <a:gd name="T72" fmla="*/ 59 w 404"/>
                <a:gd name="T73" fmla="*/ 101 h 451"/>
                <a:gd name="T74" fmla="*/ 75 w 404"/>
                <a:gd name="T75" fmla="*/ 101 h 451"/>
                <a:gd name="T76" fmla="*/ 89 w 404"/>
                <a:gd name="T77" fmla="*/ 101 h 451"/>
                <a:gd name="T78" fmla="*/ 182 w 404"/>
                <a:gd name="T79" fmla="*/ 11 h 451"/>
                <a:gd name="T80" fmla="*/ 252 w 404"/>
                <a:gd name="T81" fmla="*/ 0 h 451"/>
                <a:gd name="T82" fmla="*/ 311 w 404"/>
                <a:gd name="T83" fmla="*/ 0 h 451"/>
                <a:gd name="T84" fmla="*/ 307 w 404"/>
                <a:gd name="T85" fmla="*/ 44 h 451"/>
                <a:gd name="T86" fmla="*/ 311 w 404"/>
                <a:gd name="T87" fmla="*/ 85 h 451"/>
                <a:gd name="T88" fmla="*/ 380 w 404"/>
                <a:gd name="T89" fmla="*/ 68 h 451"/>
                <a:gd name="T90" fmla="*/ 387 w 404"/>
                <a:gd name="T91" fmla="*/ 122 h 451"/>
                <a:gd name="T92" fmla="*/ 366 w 404"/>
                <a:gd name="T93" fmla="*/ 146 h 451"/>
                <a:gd name="T94" fmla="*/ 359 w 404"/>
                <a:gd name="T95" fmla="*/ 179 h 451"/>
                <a:gd name="T96" fmla="*/ 21 w 404"/>
                <a:gd name="T97" fmla="*/ 229 h 451"/>
                <a:gd name="T98" fmla="*/ 21 w 404"/>
                <a:gd name="T99" fmla="*/ 212 h 451"/>
                <a:gd name="T100" fmla="*/ 21 w 404"/>
                <a:gd name="T101" fmla="*/ 229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4" h="451">
                  <a:moveTo>
                    <a:pt x="359" y="179"/>
                  </a:moveTo>
                  <a:lnTo>
                    <a:pt x="359" y="184"/>
                  </a:lnTo>
                  <a:lnTo>
                    <a:pt x="375" y="184"/>
                  </a:lnTo>
                  <a:lnTo>
                    <a:pt x="380" y="200"/>
                  </a:lnTo>
                  <a:lnTo>
                    <a:pt x="396" y="200"/>
                  </a:lnTo>
                  <a:lnTo>
                    <a:pt x="404" y="212"/>
                  </a:lnTo>
                  <a:lnTo>
                    <a:pt x="396" y="240"/>
                  </a:lnTo>
                  <a:lnTo>
                    <a:pt x="404" y="257"/>
                  </a:lnTo>
                  <a:lnTo>
                    <a:pt x="396" y="307"/>
                  </a:lnTo>
                  <a:lnTo>
                    <a:pt x="387" y="311"/>
                  </a:lnTo>
                  <a:lnTo>
                    <a:pt x="375" y="344"/>
                  </a:lnTo>
                  <a:lnTo>
                    <a:pt x="359" y="344"/>
                  </a:lnTo>
                  <a:lnTo>
                    <a:pt x="349" y="323"/>
                  </a:lnTo>
                  <a:lnTo>
                    <a:pt x="333" y="344"/>
                  </a:lnTo>
                  <a:lnTo>
                    <a:pt x="295" y="340"/>
                  </a:lnTo>
                  <a:lnTo>
                    <a:pt x="290" y="307"/>
                  </a:lnTo>
                  <a:lnTo>
                    <a:pt x="274" y="295"/>
                  </a:lnTo>
                  <a:lnTo>
                    <a:pt x="269" y="307"/>
                  </a:lnTo>
                  <a:lnTo>
                    <a:pt x="257" y="307"/>
                  </a:lnTo>
                  <a:lnTo>
                    <a:pt x="257" y="340"/>
                  </a:lnTo>
                  <a:lnTo>
                    <a:pt x="236" y="344"/>
                  </a:lnTo>
                  <a:lnTo>
                    <a:pt x="224" y="340"/>
                  </a:lnTo>
                  <a:lnTo>
                    <a:pt x="215" y="344"/>
                  </a:lnTo>
                  <a:lnTo>
                    <a:pt x="198" y="340"/>
                  </a:lnTo>
                  <a:lnTo>
                    <a:pt x="203" y="352"/>
                  </a:lnTo>
                  <a:lnTo>
                    <a:pt x="198" y="378"/>
                  </a:lnTo>
                  <a:lnTo>
                    <a:pt x="203" y="368"/>
                  </a:lnTo>
                  <a:lnTo>
                    <a:pt x="215" y="385"/>
                  </a:lnTo>
                  <a:lnTo>
                    <a:pt x="203" y="401"/>
                  </a:lnTo>
                  <a:lnTo>
                    <a:pt x="224" y="406"/>
                  </a:lnTo>
                  <a:lnTo>
                    <a:pt x="219" y="422"/>
                  </a:lnTo>
                  <a:lnTo>
                    <a:pt x="219" y="434"/>
                  </a:lnTo>
                  <a:lnTo>
                    <a:pt x="215" y="434"/>
                  </a:lnTo>
                  <a:lnTo>
                    <a:pt x="198" y="422"/>
                  </a:lnTo>
                  <a:lnTo>
                    <a:pt x="172" y="434"/>
                  </a:lnTo>
                  <a:lnTo>
                    <a:pt x="165" y="451"/>
                  </a:lnTo>
                  <a:lnTo>
                    <a:pt x="118" y="394"/>
                  </a:lnTo>
                  <a:lnTo>
                    <a:pt x="63" y="344"/>
                  </a:lnTo>
                  <a:lnTo>
                    <a:pt x="89" y="361"/>
                  </a:lnTo>
                  <a:lnTo>
                    <a:pt x="96" y="352"/>
                  </a:lnTo>
                  <a:lnTo>
                    <a:pt x="96" y="352"/>
                  </a:lnTo>
                  <a:lnTo>
                    <a:pt x="89" y="352"/>
                  </a:lnTo>
                  <a:lnTo>
                    <a:pt x="80" y="344"/>
                  </a:lnTo>
                  <a:lnTo>
                    <a:pt x="75" y="344"/>
                  </a:lnTo>
                  <a:lnTo>
                    <a:pt x="59" y="340"/>
                  </a:lnTo>
                  <a:lnTo>
                    <a:pt x="42" y="307"/>
                  </a:lnTo>
                  <a:lnTo>
                    <a:pt x="54" y="307"/>
                  </a:lnTo>
                  <a:lnTo>
                    <a:pt x="59" y="311"/>
                  </a:lnTo>
                  <a:lnTo>
                    <a:pt x="54" y="307"/>
                  </a:lnTo>
                  <a:lnTo>
                    <a:pt x="37" y="295"/>
                  </a:lnTo>
                  <a:lnTo>
                    <a:pt x="37" y="283"/>
                  </a:lnTo>
                  <a:lnTo>
                    <a:pt x="21" y="257"/>
                  </a:lnTo>
                  <a:lnTo>
                    <a:pt x="37" y="290"/>
                  </a:lnTo>
                  <a:lnTo>
                    <a:pt x="54" y="290"/>
                  </a:lnTo>
                  <a:lnTo>
                    <a:pt x="54" y="283"/>
                  </a:lnTo>
                  <a:lnTo>
                    <a:pt x="54" y="274"/>
                  </a:lnTo>
                  <a:lnTo>
                    <a:pt x="37" y="283"/>
                  </a:lnTo>
                  <a:lnTo>
                    <a:pt x="42" y="257"/>
                  </a:lnTo>
                  <a:lnTo>
                    <a:pt x="37" y="266"/>
                  </a:lnTo>
                  <a:lnTo>
                    <a:pt x="21" y="257"/>
                  </a:lnTo>
                  <a:lnTo>
                    <a:pt x="0" y="212"/>
                  </a:lnTo>
                  <a:lnTo>
                    <a:pt x="0" y="212"/>
                  </a:lnTo>
                  <a:lnTo>
                    <a:pt x="21" y="229"/>
                  </a:lnTo>
                  <a:lnTo>
                    <a:pt x="42" y="196"/>
                  </a:lnTo>
                  <a:lnTo>
                    <a:pt x="42" y="139"/>
                  </a:lnTo>
                  <a:lnTo>
                    <a:pt x="54" y="155"/>
                  </a:lnTo>
                  <a:lnTo>
                    <a:pt x="75" y="163"/>
                  </a:lnTo>
                  <a:lnTo>
                    <a:pt x="80" y="155"/>
                  </a:lnTo>
                  <a:lnTo>
                    <a:pt x="54" y="146"/>
                  </a:lnTo>
                  <a:lnTo>
                    <a:pt x="42" y="127"/>
                  </a:lnTo>
                  <a:lnTo>
                    <a:pt x="42" y="122"/>
                  </a:lnTo>
                  <a:lnTo>
                    <a:pt x="59" y="118"/>
                  </a:lnTo>
                  <a:lnTo>
                    <a:pt x="59" y="127"/>
                  </a:lnTo>
                  <a:lnTo>
                    <a:pt x="59" y="101"/>
                  </a:lnTo>
                  <a:lnTo>
                    <a:pt x="63" y="89"/>
                  </a:lnTo>
                  <a:lnTo>
                    <a:pt x="75" y="101"/>
                  </a:lnTo>
                  <a:lnTo>
                    <a:pt x="80" y="101"/>
                  </a:lnTo>
                  <a:lnTo>
                    <a:pt x="89" y="101"/>
                  </a:lnTo>
                  <a:lnTo>
                    <a:pt x="182" y="101"/>
                  </a:lnTo>
                  <a:lnTo>
                    <a:pt x="182" y="11"/>
                  </a:lnTo>
                  <a:lnTo>
                    <a:pt x="182" y="0"/>
                  </a:lnTo>
                  <a:lnTo>
                    <a:pt x="252" y="0"/>
                  </a:lnTo>
                  <a:lnTo>
                    <a:pt x="278" y="0"/>
                  </a:lnTo>
                  <a:lnTo>
                    <a:pt x="311" y="0"/>
                  </a:lnTo>
                  <a:lnTo>
                    <a:pt x="321" y="11"/>
                  </a:lnTo>
                  <a:lnTo>
                    <a:pt x="307" y="44"/>
                  </a:lnTo>
                  <a:lnTo>
                    <a:pt x="311" y="68"/>
                  </a:lnTo>
                  <a:lnTo>
                    <a:pt x="311" y="85"/>
                  </a:lnTo>
                  <a:lnTo>
                    <a:pt x="349" y="68"/>
                  </a:lnTo>
                  <a:lnTo>
                    <a:pt x="380" y="68"/>
                  </a:lnTo>
                  <a:lnTo>
                    <a:pt x="404" y="101"/>
                  </a:lnTo>
                  <a:lnTo>
                    <a:pt x="387" y="122"/>
                  </a:lnTo>
                  <a:lnTo>
                    <a:pt x="375" y="127"/>
                  </a:lnTo>
                  <a:lnTo>
                    <a:pt x="366" y="146"/>
                  </a:lnTo>
                  <a:lnTo>
                    <a:pt x="359" y="179"/>
                  </a:lnTo>
                  <a:lnTo>
                    <a:pt x="359" y="179"/>
                  </a:lnTo>
                  <a:lnTo>
                    <a:pt x="359" y="179"/>
                  </a:lnTo>
                  <a:close/>
                  <a:moveTo>
                    <a:pt x="21" y="229"/>
                  </a:moveTo>
                  <a:lnTo>
                    <a:pt x="9" y="217"/>
                  </a:lnTo>
                  <a:lnTo>
                    <a:pt x="21" y="212"/>
                  </a:lnTo>
                  <a:lnTo>
                    <a:pt x="21" y="229"/>
                  </a:lnTo>
                  <a:lnTo>
                    <a:pt x="21" y="229"/>
                  </a:lnTo>
                  <a:lnTo>
                    <a:pt x="21" y="229"/>
                  </a:lnTo>
                  <a:close/>
                </a:path>
              </a:pathLst>
            </a:custGeom>
            <a:pattFill prst="wd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2" name="Freeform 449">
              <a:extLst>
                <a:ext uri="{FF2B5EF4-FFF2-40B4-BE49-F238E27FC236}">
                  <a16:creationId xmlns:a16="http://schemas.microsoft.com/office/drawing/2014/main" id="{9F5841DB-8E40-435E-A1C1-B9765CBA2820}"/>
                </a:ext>
              </a:extLst>
            </p:cNvPr>
            <p:cNvSpPr>
              <a:spLocks/>
            </p:cNvSpPr>
            <p:nvPr/>
          </p:nvSpPr>
          <p:spPr bwMode="gray">
            <a:xfrm>
              <a:off x="7164729" y="2940687"/>
              <a:ext cx="229128" cy="112349"/>
            </a:xfrm>
            <a:custGeom>
              <a:avLst/>
              <a:gdLst>
                <a:gd name="T0" fmla="*/ 0 w 463"/>
                <a:gd name="T1" fmla="*/ 26 h 227"/>
                <a:gd name="T2" fmla="*/ 0 w 463"/>
                <a:gd name="T3" fmla="*/ 10 h 227"/>
                <a:gd name="T4" fmla="*/ 17 w 463"/>
                <a:gd name="T5" fmla="*/ 0 h 227"/>
                <a:gd name="T6" fmla="*/ 43 w 463"/>
                <a:gd name="T7" fmla="*/ 10 h 227"/>
                <a:gd name="T8" fmla="*/ 109 w 463"/>
                <a:gd name="T9" fmla="*/ 33 h 227"/>
                <a:gd name="T10" fmla="*/ 199 w 463"/>
                <a:gd name="T11" fmla="*/ 43 h 227"/>
                <a:gd name="T12" fmla="*/ 220 w 463"/>
                <a:gd name="T13" fmla="*/ 66 h 227"/>
                <a:gd name="T14" fmla="*/ 258 w 463"/>
                <a:gd name="T15" fmla="*/ 83 h 227"/>
                <a:gd name="T16" fmla="*/ 258 w 463"/>
                <a:gd name="T17" fmla="*/ 88 h 227"/>
                <a:gd name="T18" fmla="*/ 270 w 463"/>
                <a:gd name="T19" fmla="*/ 88 h 227"/>
                <a:gd name="T20" fmla="*/ 312 w 463"/>
                <a:gd name="T21" fmla="*/ 71 h 227"/>
                <a:gd name="T22" fmla="*/ 329 w 463"/>
                <a:gd name="T23" fmla="*/ 88 h 227"/>
                <a:gd name="T24" fmla="*/ 345 w 463"/>
                <a:gd name="T25" fmla="*/ 71 h 227"/>
                <a:gd name="T26" fmla="*/ 362 w 463"/>
                <a:gd name="T27" fmla="*/ 83 h 227"/>
                <a:gd name="T28" fmla="*/ 367 w 463"/>
                <a:gd name="T29" fmla="*/ 100 h 227"/>
                <a:gd name="T30" fmla="*/ 400 w 463"/>
                <a:gd name="T31" fmla="*/ 100 h 227"/>
                <a:gd name="T32" fmla="*/ 393 w 463"/>
                <a:gd name="T33" fmla="*/ 128 h 227"/>
                <a:gd name="T34" fmla="*/ 447 w 463"/>
                <a:gd name="T35" fmla="*/ 154 h 227"/>
                <a:gd name="T36" fmla="*/ 430 w 463"/>
                <a:gd name="T37" fmla="*/ 170 h 227"/>
                <a:gd name="T38" fmla="*/ 437 w 463"/>
                <a:gd name="T39" fmla="*/ 182 h 227"/>
                <a:gd name="T40" fmla="*/ 463 w 463"/>
                <a:gd name="T41" fmla="*/ 199 h 227"/>
                <a:gd name="T42" fmla="*/ 463 w 463"/>
                <a:gd name="T43" fmla="*/ 215 h 227"/>
                <a:gd name="T44" fmla="*/ 454 w 463"/>
                <a:gd name="T45" fmla="*/ 227 h 227"/>
                <a:gd name="T46" fmla="*/ 430 w 463"/>
                <a:gd name="T47" fmla="*/ 211 h 227"/>
                <a:gd name="T48" fmla="*/ 409 w 463"/>
                <a:gd name="T49" fmla="*/ 211 h 227"/>
                <a:gd name="T50" fmla="*/ 400 w 463"/>
                <a:gd name="T51" fmla="*/ 199 h 227"/>
                <a:gd name="T52" fmla="*/ 367 w 463"/>
                <a:gd name="T53" fmla="*/ 194 h 227"/>
                <a:gd name="T54" fmla="*/ 345 w 463"/>
                <a:gd name="T55" fmla="*/ 199 h 227"/>
                <a:gd name="T56" fmla="*/ 341 w 463"/>
                <a:gd name="T57" fmla="*/ 211 h 227"/>
                <a:gd name="T58" fmla="*/ 237 w 463"/>
                <a:gd name="T59" fmla="*/ 215 h 227"/>
                <a:gd name="T60" fmla="*/ 232 w 463"/>
                <a:gd name="T61" fmla="*/ 215 h 227"/>
                <a:gd name="T62" fmla="*/ 220 w 463"/>
                <a:gd name="T63" fmla="*/ 215 h 227"/>
                <a:gd name="T64" fmla="*/ 194 w 463"/>
                <a:gd name="T65" fmla="*/ 177 h 227"/>
                <a:gd name="T66" fmla="*/ 178 w 463"/>
                <a:gd name="T67" fmla="*/ 177 h 227"/>
                <a:gd name="T68" fmla="*/ 168 w 463"/>
                <a:gd name="T69" fmla="*/ 194 h 227"/>
                <a:gd name="T70" fmla="*/ 140 w 463"/>
                <a:gd name="T71" fmla="*/ 182 h 227"/>
                <a:gd name="T72" fmla="*/ 123 w 463"/>
                <a:gd name="T73" fmla="*/ 194 h 227"/>
                <a:gd name="T74" fmla="*/ 109 w 463"/>
                <a:gd name="T75" fmla="*/ 182 h 227"/>
                <a:gd name="T76" fmla="*/ 123 w 463"/>
                <a:gd name="T77" fmla="*/ 154 h 227"/>
                <a:gd name="T78" fmla="*/ 97 w 463"/>
                <a:gd name="T79" fmla="*/ 83 h 227"/>
                <a:gd name="T80" fmla="*/ 76 w 463"/>
                <a:gd name="T81" fmla="*/ 71 h 227"/>
                <a:gd name="T82" fmla="*/ 71 w 463"/>
                <a:gd name="T83" fmla="*/ 55 h 227"/>
                <a:gd name="T84" fmla="*/ 55 w 463"/>
                <a:gd name="T85" fmla="*/ 50 h 227"/>
                <a:gd name="T86" fmla="*/ 22 w 463"/>
                <a:gd name="T87" fmla="*/ 43 h 227"/>
                <a:gd name="T88" fmla="*/ 17 w 463"/>
                <a:gd name="T89" fmla="*/ 26 h 227"/>
                <a:gd name="T90" fmla="*/ 0 w 463"/>
                <a:gd name="T91" fmla="*/ 26 h 227"/>
                <a:gd name="T92" fmla="*/ 0 w 463"/>
                <a:gd name="T93" fmla="*/ 26 h 227"/>
                <a:gd name="T94" fmla="*/ 0 w 463"/>
                <a:gd name="T95" fmla="*/ 2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63" h="227">
                  <a:moveTo>
                    <a:pt x="0" y="26"/>
                  </a:moveTo>
                  <a:lnTo>
                    <a:pt x="0" y="10"/>
                  </a:lnTo>
                  <a:lnTo>
                    <a:pt x="17" y="0"/>
                  </a:lnTo>
                  <a:lnTo>
                    <a:pt x="43" y="10"/>
                  </a:lnTo>
                  <a:lnTo>
                    <a:pt x="109" y="33"/>
                  </a:lnTo>
                  <a:lnTo>
                    <a:pt x="199" y="43"/>
                  </a:lnTo>
                  <a:lnTo>
                    <a:pt x="220" y="66"/>
                  </a:lnTo>
                  <a:lnTo>
                    <a:pt x="258" y="83"/>
                  </a:lnTo>
                  <a:lnTo>
                    <a:pt x="258" y="88"/>
                  </a:lnTo>
                  <a:lnTo>
                    <a:pt x="270" y="88"/>
                  </a:lnTo>
                  <a:lnTo>
                    <a:pt x="312" y="71"/>
                  </a:lnTo>
                  <a:lnTo>
                    <a:pt x="329" y="88"/>
                  </a:lnTo>
                  <a:lnTo>
                    <a:pt x="345" y="71"/>
                  </a:lnTo>
                  <a:lnTo>
                    <a:pt x="362" y="83"/>
                  </a:lnTo>
                  <a:lnTo>
                    <a:pt x="367" y="100"/>
                  </a:lnTo>
                  <a:lnTo>
                    <a:pt x="400" y="100"/>
                  </a:lnTo>
                  <a:lnTo>
                    <a:pt x="393" y="128"/>
                  </a:lnTo>
                  <a:lnTo>
                    <a:pt x="447" y="154"/>
                  </a:lnTo>
                  <a:lnTo>
                    <a:pt x="430" y="170"/>
                  </a:lnTo>
                  <a:lnTo>
                    <a:pt x="437" y="182"/>
                  </a:lnTo>
                  <a:lnTo>
                    <a:pt x="463" y="199"/>
                  </a:lnTo>
                  <a:lnTo>
                    <a:pt x="463" y="215"/>
                  </a:lnTo>
                  <a:lnTo>
                    <a:pt x="454" y="227"/>
                  </a:lnTo>
                  <a:lnTo>
                    <a:pt x="430" y="211"/>
                  </a:lnTo>
                  <a:lnTo>
                    <a:pt x="409" y="211"/>
                  </a:lnTo>
                  <a:lnTo>
                    <a:pt x="400" y="199"/>
                  </a:lnTo>
                  <a:lnTo>
                    <a:pt x="367" y="194"/>
                  </a:lnTo>
                  <a:lnTo>
                    <a:pt x="345" y="199"/>
                  </a:lnTo>
                  <a:lnTo>
                    <a:pt x="341" y="211"/>
                  </a:lnTo>
                  <a:lnTo>
                    <a:pt x="237" y="215"/>
                  </a:lnTo>
                  <a:lnTo>
                    <a:pt x="232" y="215"/>
                  </a:lnTo>
                  <a:lnTo>
                    <a:pt x="220" y="215"/>
                  </a:lnTo>
                  <a:lnTo>
                    <a:pt x="194" y="177"/>
                  </a:lnTo>
                  <a:lnTo>
                    <a:pt x="178" y="177"/>
                  </a:lnTo>
                  <a:lnTo>
                    <a:pt x="168" y="194"/>
                  </a:lnTo>
                  <a:lnTo>
                    <a:pt x="140" y="182"/>
                  </a:lnTo>
                  <a:lnTo>
                    <a:pt x="123" y="194"/>
                  </a:lnTo>
                  <a:lnTo>
                    <a:pt x="109" y="182"/>
                  </a:lnTo>
                  <a:lnTo>
                    <a:pt x="123" y="154"/>
                  </a:lnTo>
                  <a:lnTo>
                    <a:pt x="97" y="83"/>
                  </a:lnTo>
                  <a:lnTo>
                    <a:pt x="76" y="71"/>
                  </a:lnTo>
                  <a:lnTo>
                    <a:pt x="71" y="55"/>
                  </a:lnTo>
                  <a:lnTo>
                    <a:pt x="55" y="50"/>
                  </a:lnTo>
                  <a:lnTo>
                    <a:pt x="22" y="43"/>
                  </a:lnTo>
                  <a:lnTo>
                    <a:pt x="17" y="26"/>
                  </a:lnTo>
                  <a:lnTo>
                    <a:pt x="0" y="26"/>
                  </a:lnTo>
                  <a:lnTo>
                    <a:pt x="0" y="26"/>
                  </a:lnTo>
                  <a:lnTo>
                    <a:pt x="0" y="26"/>
                  </a:lnTo>
                  <a:close/>
                </a:path>
              </a:pathLst>
            </a:custGeom>
            <a:pattFill prst="lt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3" name="Freeform 450">
              <a:extLst>
                <a:ext uri="{FF2B5EF4-FFF2-40B4-BE49-F238E27FC236}">
                  <a16:creationId xmlns:a16="http://schemas.microsoft.com/office/drawing/2014/main" id="{6F02131A-E8F4-4EFC-AA4D-7BBFDDF9F7D5}"/>
                </a:ext>
              </a:extLst>
            </p:cNvPr>
            <p:cNvSpPr>
              <a:spLocks/>
            </p:cNvSpPr>
            <p:nvPr/>
          </p:nvSpPr>
          <p:spPr bwMode="gray">
            <a:xfrm>
              <a:off x="5661788" y="4204745"/>
              <a:ext cx="154402" cy="231134"/>
            </a:xfrm>
            <a:custGeom>
              <a:avLst/>
              <a:gdLst>
                <a:gd name="T0" fmla="*/ 16 w 312"/>
                <a:gd name="T1" fmla="*/ 432 h 467"/>
                <a:gd name="T2" fmla="*/ 16 w 312"/>
                <a:gd name="T3" fmla="*/ 432 h 467"/>
                <a:gd name="T4" fmla="*/ 21 w 312"/>
                <a:gd name="T5" fmla="*/ 432 h 467"/>
                <a:gd name="T6" fmla="*/ 38 w 312"/>
                <a:gd name="T7" fmla="*/ 432 h 467"/>
                <a:gd name="T8" fmla="*/ 38 w 312"/>
                <a:gd name="T9" fmla="*/ 406 h 467"/>
                <a:gd name="T10" fmla="*/ 21 w 312"/>
                <a:gd name="T11" fmla="*/ 394 h 467"/>
                <a:gd name="T12" fmla="*/ 0 w 312"/>
                <a:gd name="T13" fmla="*/ 321 h 467"/>
                <a:gd name="T14" fmla="*/ 4 w 312"/>
                <a:gd name="T15" fmla="*/ 316 h 467"/>
                <a:gd name="T16" fmla="*/ 21 w 312"/>
                <a:gd name="T17" fmla="*/ 295 h 467"/>
                <a:gd name="T18" fmla="*/ 38 w 312"/>
                <a:gd name="T19" fmla="*/ 227 h 467"/>
                <a:gd name="T20" fmla="*/ 54 w 312"/>
                <a:gd name="T21" fmla="*/ 210 h 467"/>
                <a:gd name="T22" fmla="*/ 42 w 312"/>
                <a:gd name="T23" fmla="*/ 156 h 467"/>
                <a:gd name="T24" fmla="*/ 38 w 312"/>
                <a:gd name="T25" fmla="*/ 149 h 467"/>
                <a:gd name="T26" fmla="*/ 42 w 312"/>
                <a:gd name="T27" fmla="*/ 116 h 467"/>
                <a:gd name="T28" fmla="*/ 38 w 312"/>
                <a:gd name="T29" fmla="*/ 111 h 467"/>
                <a:gd name="T30" fmla="*/ 38 w 312"/>
                <a:gd name="T31" fmla="*/ 61 h 467"/>
                <a:gd name="T32" fmla="*/ 21 w 312"/>
                <a:gd name="T33" fmla="*/ 26 h 467"/>
                <a:gd name="T34" fmla="*/ 30 w 312"/>
                <a:gd name="T35" fmla="*/ 5 h 467"/>
                <a:gd name="T36" fmla="*/ 160 w 312"/>
                <a:gd name="T37" fmla="*/ 5 h 467"/>
                <a:gd name="T38" fmla="*/ 182 w 312"/>
                <a:gd name="T39" fmla="*/ 5 h 467"/>
                <a:gd name="T40" fmla="*/ 182 w 312"/>
                <a:gd name="T41" fmla="*/ 16 h 467"/>
                <a:gd name="T42" fmla="*/ 205 w 312"/>
                <a:gd name="T43" fmla="*/ 0 h 467"/>
                <a:gd name="T44" fmla="*/ 219 w 312"/>
                <a:gd name="T45" fmla="*/ 0 h 467"/>
                <a:gd name="T46" fmla="*/ 231 w 312"/>
                <a:gd name="T47" fmla="*/ 5 h 467"/>
                <a:gd name="T48" fmla="*/ 219 w 312"/>
                <a:gd name="T49" fmla="*/ 26 h 467"/>
                <a:gd name="T50" fmla="*/ 252 w 312"/>
                <a:gd name="T51" fmla="*/ 54 h 467"/>
                <a:gd name="T52" fmla="*/ 252 w 312"/>
                <a:gd name="T53" fmla="*/ 61 h 467"/>
                <a:gd name="T54" fmla="*/ 257 w 312"/>
                <a:gd name="T55" fmla="*/ 78 h 467"/>
                <a:gd name="T56" fmla="*/ 248 w 312"/>
                <a:gd name="T57" fmla="*/ 116 h 467"/>
                <a:gd name="T58" fmla="*/ 257 w 312"/>
                <a:gd name="T59" fmla="*/ 116 h 467"/>
                <a:gd name="T60" fmla="*/ 269 w 312"/>
                <a:gd name="T61" fmla="*/ 127 h 467"/>
                <a:gd name="T62" fmla="*/ 257 w 312"/>
                <a:gd name="T63" fmla="*/ 149 h 467"/>
                <a:gd name="T64" fmla="*/ 269 w 312"/>
                <a:gd name="T65" fmla="*/ 165 h 467"/>
                <a:gd name="T66" fmla="*/ 252 w 312"/>
                <a:gd name="T67" fmla="*/ 172 h 467"/>
                <a:gd name="T68" fmla="*/ 286 w 312"/>
                <a:gd name="T69" fmla="*/ 205 h 467"/>
                <a:gd name="T70" fmla="*/ 274 w 312"/>
                <a:gd name="T71" fmla="*/ 210 h 467"/>
                <a:gd name="T72" fmla="*/ 269 w 312"/>
                <a:gd name="T73" fmla="*/ 243 h 467"/>
                <a:gd name="T74" fmla="*/ 269 w 312"/>
                <a:gd name="T75" fmla="*/ 260 h 467"/>
                <a:gd name="T76" fmla="*/ 269 w 312"/>
                <a:gd name="T77" fmla="*/ 267 h 467"/>
                <a:gd name="T78" fmla="*/ 274 w 312"/>
                <a:gd name="T79" fmla="*/ 276 h 467"/>
                <a:gd name="T80" fmla="*/ 274 w 312"/>
                <a:gd name="T81" fmla="*/ 300 h 467"/>
                <a:gd name="T82" fmla="*/ 269 w 312"/>
                <a:gd name="T83" fmla="*/ 300 h 467"/>
                <a:gd name="T84" fmla="*/ 286 w 312"/>
                <a:gd name="T85" fmla="*/ 338 h 467"/>
                <a:gd name="T86" fmla="*/ 302 w 312"/>
                <a:gd name="T87" fmla="*/ 349 h 467"/>
                <a:gd name="T88" fmla="*/ 312 w 312"/>
                <a:gd name="T89" fmla="*/ 361 h 467"/>
                <a:gd name="T90" fmla="*/ 302 w 312"/>
                <a:gd name="T91" fmla="*/ 390 h 467"/>
                <a:gd name="T92" fmla="*/ 274 w 312"/>
                <a:gd name="T93" fmla="*/ 390 h 467"/>
                <a:gd name="T94" fmla="*/ 269 w 312"/>
                <a:gd name="T95" fmla="*/ 373 h 467"/>
                <a:gd name="T96" fmla="*/ 248 w 312"/>
                <a:gd name="T97" fmla="*/ 361 h 467"/>
                <a:gd name="T98" fmla="*/ 269 w 312"/>
                <a:gd name="T99" fmla="*/ 373 h 467"/>
                <a:gd name="T100" fmla="*/ 274 w 312"/>
                <a:gd name="T101" fmla="*/ 390 h 467"/>
                <a:gd name="T102" fmla="*/ 248 w 312"/>
                <a:gd name="T103" fmla="*/ 390 h 467"/>
                <a:gd name="T104" fmla="*/ 177 w 312"/>
                <a:gd name="T105" fmla="*/ 427 h 467"/>
                <a:gd name="T106" fmla="*/ 113 w 312"/>
                <a:gd name="T107" fmla="*/ 444 h 467"/>
                <a:gd name="T108" fmla="*/ 85 w 312"/>
                <a:gd name="T109" fmla="*/ 467 h 467"/>
                <a:gd name="T110" fmla="*/ 68 w 312"/>
                <a:gd name="T111" fmla="*/ 451 h 467"/>
                <a:gd name="T112" fmla="*/ 16 w 312"/>
                <a:gd name="T113" fmla="*/ 432 h 467"/>
                <a:gd name="T114" fmla="*/ 16 w 312"/>
                <a:gd name="T115" fmla="*/ 432 h 467"/>
                <a:gd name="T116" fmla="*/ 16 w 312"/>
                <a:gd name="T117" fmla="*/ 432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2" h="467">
                  <a:moveTo>
                    <a:pt x="16" y="432"/>
                  </a:moveTo>
                  <a:lnTo>
                    <a:pt x="16" y="432"/>
                  </a:lnTo>
                  <a:lnTo>
                    <a:pt x="21" y="432"/>
                  </a:lnTo>
                  <a:lnTo>
                    <a:pt x="38" y="432"/>
                  </a:lnTo>
                  <a:lnTo>
                    <a:pt x="38" y="406"/>
                  </a:lnTo>
                  <a:lnTo>
                    <a:pt x="21" y="394"/>
                  </a:lnTo>
                  <a:lnTo>
                    <a:pt x="0" y="321"/>
                  </a:lnTo>
                  <a:lnTo>
                    <a:pt x="4" y="316"/>
                  </a:lnTo>
                  <a:lnTo>
                    <a:pt x="21" y="295"/>
                  </a:lnTo>
                  <a:lnTo>
                    <a:pt x="38" y="227"/>
                  </a:lnTo>
                  <a:lnTo>
                    <a:pt x="54" y="210"/>
                  </a:lnTo>
                  <a:lnTo>
                    <a:pt x="42" y="156"/>
                  </a:lnTo>
                  <a:lnTo>
                    <a:pt x="38" y="149"/>
                  </a:lnTo>
                  <a:lnTo>
                    <a:pt x="42" y="116"/>
                  </a:lnTo>
                  <a:lnTo>
                    <a:pt x="38" y="111"/>
                  </a:lnTo>
                  <a:lnTo>
                    <a:pt x="38" y="61"/>
                  </a:lnTo>
                  <a:lnTo>
                    <a:pt x="21" y="26"/>
                  </a:lnTo>
                  <a:lnTo>
                    <a:pt x="30" y="5"/>
                  </a:lnTo>
                  <a:lnTo>
                    <a:pt x="160" y="5"/>
                  </a:lnTo>
                  <a:lnTo>
                    <a:pt x="182" y="5"/>
                  </a:lnTo>
                  <a:lnTo>
                    <a:pt x="182" y="16"/>
                  </a:lnTo>
                  <a:lnTo>
                    <a:pt x="205" y="0"/>
                  </a:lnTo>
                  <a:lnTo>
                    <a:pt x="219" y="0"/>
                  </a:lnTo>
                  <a:lnTo>
                    <a:pt x="231" y="5"/>
                  </a:lnTo>
                  <a:lnTo>
                    <a:pt x="219" y="26"/>
                  </a:lnTo>
                  <a:lnTo>
                    <a:pt x="252" y="54"/>
                  </a:lnTo>
                  <a:lnTo>
                    <a:pt x="252" y="61"/>
                  </a:lnTo>
                  <a:lnTo>
                    <a:pt x="257" y="78"/>
                  </a:lnTo>
                  <a:lnTo>
                    <a:pt x="248" y="116"/>
                  </a:lnTo>
                  <a:lnTo>
                    <a:pt x="257" y="116"/>
                  </a:lnTo>
                  <a:lnTo>
                    <a:pt x="269" y="127"/>
                  </a:lnTo>
                  <a:lnTo>
                    <a:pt x="257" y="149"/>
                  </a:lnTo>
                  <a:lnTo>
                    <a:pt x="269" y="165"/>
                  </a:lnTo>
                  <a:lnTo>
                    <a:pt x="252" y="172"/>
                  </a:lnTo>
                  <a:lnTo>
                    <a:pt x="286" y="205"/>
                  </a:lnTo>
                  <a:lnTo>
                    <a:pt x="274" y="210"/>
                  </a:lnTo>
                  <a:lnTo>
                    <a:pt x="269" y="243"/>
                  </a:lnTo>
                  <a:lnTo>
                    <a:pt x="269" y="260"/>
                  </a:lnTo>
                  <a:lnTo>
                    <a:pt x="269" y="267"/>
                  </a:lnTo>
                  <a:lnTo>
                    <a:pt x="274" y="276"/>
                  </a:lnTo>
                  <a:lnTo>
                    <a:pt x="274" y="300"/>
                  </a:lnTo>
                  <a:lnTo>
                    <a:pt x="269" y="300"/>
                  </a:lnTo>
                  <a:lnTo>
                    <a:pt x="286" y="338"/>
                  </a:lnTo>
                  <a:lnTo>
                    <a:pt x="302" y="349"/>
                  </a:lnTo>
                  <a:lnTo>
                    <a:pt x="312" y="361"/>
                  </a:lnTo>
                  <a:lnTo>
                    <a:pt x="302" y="390"/>
                  </a:lnTo>
                  <a:lnTo>
                    <a:pt x="274" y="390"/>
                  </a:lnTo>
                  <a:lnTo>
                    <a:pt x="269" y="373"/>
                  </a:lnTo>
                  <a:lnTo>
                    <a:pt x="248" y="361"/>
                  </a:lnTo>
                  <a:lnTo>
                    <a:pt x="269" y="373"/>
                  </a:lnTo>
                  <a:lnTo>
                    <a:pt x="274" y="390"/>
                  </a:lnTo>
                  <a:lnTo>
                    <a:pt x="248" y="390"/>
                  </a:lnTo>
                  <a:lnTo>
                    <a:pt x="177" y="427"/>
                  </a:lnTo>
                  <a:lnTo>
                    <a:pt x="113" y="444"/>
                  </a:lnTo>
                  <a:lnTo>
                    <a:pt x="85" y="467"/>
                  </a:lnTo>
                  <a:lnTo>
                    <a:pt x="68" y="451"/>
                  </a:lnTo>
                  <a:lnTo>
                    <a:pt x="16" y="432"/>
                  </a:lnTo>
                  <a:lnTo>
                    <a:pt x="16" y="432"/>
                  </a:lnTo>
                  <a:lnTo>
                    <a:pt x="16" y="432"/>
                  </a:lnTo>
                  <a:close/>
                </a:path>
              </a:pathLst>
            </a:custGeom>
            <a:pattFill prst="wd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4" name="Freeform 451">
              <a:extLst>
                <a:ext uri="{FF2B5EF4-FFF2-40B4-BE49-F238E27FC236}">
                  <a16:creationId xmlns:a16="http://schemas.microsoft.com/office/drawing/2014/main" id="{9393E91E-8332-4C31-95E5-B41637072FDA}"/>
                </a:ext>
              </a:extLst>
            </p:cNvPr>
            <p:cNvSpPr>
              <a:spLocks/>
            </p:cNvSpPr>
            <p:nvPr/>
          </p:nvSpPr>
          <p:spPr bwMode="gray">
            <a:xfrm>
              <a:off x="3628833" y="4163666"/>
              <a:ext cx="7918" cy="8414"/>
            </a:xfrm>
            <a:custGeom>
              <a:avLst/>
              <a:gdLst>
                <a:gd name="T0" fmla="*/ 16 w 16"/>
                <a:gd name="T1" fmla="*/ 0 h 17"/>
                <a:gd name="T2" fmla="*/ 16 w 16"/>
                <a:gd name="T3" fmla="*/ 17 h 17"/>
                <a:gd name="T4" fmla="*/ 0 w 16"/>
                <a:gd name="T5" fmla="*/ 17 h 17"/>
                <a:gd name="T6" fmla="*/ 7 w 16"/>
                <a:gd name="T7" fmla="*/ 0 h 17"/>
                <a:gd name="T8" fmla="*/ 16 w 16"/>
                <a:gd name="T9" fmla="*/ 0 h 17"/>
                <a:gd name="T10" fmla="*/ 16 w 16"/>
                <a:gd name="T11" fmla="*/ 0 h 17"/>
                <a:gd name="T12" fmla="*/ 16 w 16"/>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16" y="0"/>
                  </a:moveTo>
                  <a:lnTo>
                    <a:pt x="16" y="17"/>
                  </a:lnTo>
                  <a:lnTo>
                    <a:pt x="0" y="17"/>
                  </a:lnTo>
                  <a:lnTo>
                    <a:pt x="7" y="0"/>
                  </a:lnTo>
                  <a:lnTo>
                    <a:pt x="16" y="0"/>
                  </a:lnTo>
                  <a:lnTo>
                    <a:pt x="16" y="0"/>
                  </a:lnTo>
                  <a:lnTo>
                    <a:pt x="16" y="0"/>
                  </a:lnTo>
                  <a:close/>
                </a:path>
              </a:pathLst>
            </a:custGeom>
            <a:solidFill>
              <a:schemeClr val="accent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5" name="Freeform 452">
              <a:extLst>
                <a:ext uri="{FF2B5EF4-FFF2-40B4-BE49-F238E27FC236}">
                  <a16:creationId xmlns:a16="http://schemas.microsoft.com/office/drawing/2014/main" id="{32E05F7E-A5C3-4B33-9292-5A2258D97955}"/>
                </a:ext>
              </a:extLst>
            </p:cNvPr>
            <p:cNvSpPr>
              <a:spLocks noEditPoints="1"/>
            </p:cNvSpPr>
            <p:nvPr/>
          </p:nvSpPr>
          <p:spPr bwMode="gray">
            <a:xfrm>
              <a:off x="3240850" y="548681"/>
              <a:ext cx="2109660" cy="1620408"/>
            </a:xfrm>
            <a:custGeom>
              <a:avLst/>
              <a:gdLst>
                <a:gd name="T0" fmla="*/ 1604 w 4263"/>
                <a:gd name="T1" fmla="*/ 2143 h 3274"/>
                <a:gd name="T2" fmla="*/ 1549 w 4263"/>
                <a:gd name="T3" fmla="*/ 1949 h 3274"/>
                <a:gd name="T4" fmla="*/ 1240 w 4263"/>
                <a:gd name="T5" fmla="*/ 1892 h 3274"/>
                <a:gd name="T6" fmla="*/ 1219 w 4263"/>
                <a:gd name="T7" fmla="*/ 1555 h 3274"/>
                <a:gd name="T8" fmla="*/ 756 w 4263"/>
                <a:gd name="T9" fmla="*/ 1205 h 3274"/>
                <a:gd name="T10" fmla="*/ 236 w 4263"/>
                <a:gd name="T11" fmla="*/ 1099 h 3274"/>
                <a:gd name="T12" fmla="*/ 16 w 4263"/>
                <a:gd name="T13" fmla="*/ 893 h 3274"/>
                <a:gd name="T14" fmla="*/ 718 w 4263"/>
                <a:gd name="T15" fmla="*/ 501 h 3274"/>
                <a:gd name="T16" fmla="*/ 1516 w 4263"/>
                <a:gd name="T17" fmla="*/ 305 h 3274"/>
                <a:gd name="T18" fmla="*/ 2315 w 4263"/>
                <a:gd name="T19" fmla="*/ 189 h 3274"/>
                <a:gd name="T20" fmla="*/ 2482 w 4263"/>
                <a:gd name="T21" fmla="*/ 24 h 3274"/>
                <a:gd name="T22" fmla="*/ 3439 w 4263"/>
                <a:gd name="T23" fmla="*/ 123 h 3274"/>
                <a:gd name="T24" fmla="*/ 3439 w 4263"/>
                <a:gd name="T25" fmla="*/ 506 h 3274"/>
                <a:gd name="T26" fmla="*/ 3633 w 4263"/>
                <a:gd name="T27" fmla="*/ 527 h 3274"/>
                <a:gd name="T28" fmla="*/ 3746 w 4263"/>
                <a:gd name="T29" fmla="*/ 749 h 3274"/>
                <a:gd name="T30" fmla="*/ 3789 w 4263"/>
                <a:gd name="T31" fmla="*/ 1054 h 3274"/>
                <a:gd name="T32" fmla="*/ 3734 w 4263"/>
                <a:gd name="T33" fmla="*/ 1259 h 3274"/>
                <a:gd name="T34" fmla="*/ 3578 w 4263"/>
                <a:gd name="T35" fmla="*/ 1489 h 3274"/>
                <a:gd name="T36" fmla="*/ 3297 w 4263"/>
                <a:gd name="T37" fmla="*/ 1637 h 3274"/>
                <a:gd name="T38" fmla="*/ 3493 w 4263"/>
                <a:gd name="T39" fmla="*/ 1814 h 3274"/>
                <a:gd name="T40" fmla="*/ 3531 w 4263"/>
                <a:gd name="T41" fmla="*/ 1982 h 3274"/>
                <a:gd name="T42" fmla="*/ 3137 w 4263"/>
                <a:gd name="T43" fmla="*/ 2015 h 3274"/>
                <a:gd name="T44" fmla="*/ 3326 w 4263"/>
                <a:gd name="T45" fmla="*/ 2197 h 3274"/>
                <a:gd name="T46" fmla="*/ 2839 w 4263"/>
                <a:gd name="T47" fmla="*/ 2275 h 3274"/>
                <a:gd name="T48" fmla="*/ 2532 w 4263"/>
                <a:gd name="T49" fmla="*/ 2592 h 3274"/>
                <a:gd name="T50" fmla="*/ 2272 w 4263"/>
                <a:gd name="T51" fmla="*/ 2670 h 3274"/>
                <a:gd name="T52" fmla="*/ 2154 w 4263"/>
                <a:gd name="T53" fmla="*/ 2941 h 3274"/>
                <a:gd name="T54" fmla="*/ 2067 w 4263"/>
                <a:gd name="T55" fmla="*/ 3163 h 3274"/>
                <a:gd name="T56" fmla="*/ 1927 w 4263"/>
                <a:gd name="T57" fmla="*/ 3203 h 3274"/>
                <a:gd name="T58" fmla="*/ 1743 w 4263"/>
                <a:gd name="T59" fmla="*/ 3163 h 3274"/>
                <a:gd name="T60" fmla="*/ 1672 w 4263"/>
                <a:gd name="T61" fmla="*/ 3031 h 3274"/>
                <a:gd name="T62" fmla="*/ 1511 w 4263"/>
                <a:gd name="T63" fmla="*/ 2821 h 3274"/>
                <a:gd name="T64" fmla="*/ 1533 w 4263"/>
                <a:gd name="T65" fmla="*/ 2736 h 3274"/>
                <a:gd name="T66" fmla="*/ 1424 w 4263"/>
                <a:gd name="T67" fmla="*/ 2632 h 3274"/>
                <a:gd name="T68" fmla="*/ 1353 w 4263"/>
                <a:gd name="T69" fmla="*/ 2514 h 3274"/>
                <a:gd name="T70" fmla="*/ 1566 w 4263"/>
                <a:gd name="T71" fmla="*/ 2393 h 3274"/>
                <a:gd name="T72" fmla="*/ 1386 w 4263"/>
                <a:gd name="T73" fmla="*/ 2320 h 3274"/>
                <a:gd name="T74" fmla="*/ 2272 w 4263"/>
                <a:gd name="T75" fmla="*/ 67 h 3274"/>
                <a:gd name="T76" fmla="*/ 2298 w 4263"/>
                <a:gd name="T77" fmla="*/ 173 h 3274"/>
                <a:gd name="T78" fmla="*/ 3666 w 4263"/>
                <a:gd name="T79" fmla="*/ 267 h 3274"/>
                <a:gd name="T80" fmla="*/ 3881 w 4263"/>
                <a:gd name="T81" fmla="*/ 749 h 3274"/>
                <a:gd name="T82" fmla="*/ 3649 w 4263"/>
                <a:gd name="T83" fmla="*/ 917 h 3274"/>
                <a:gd name="T84" fmla="*/ 3881 w 4263"/>
                <a:gd name="T85" fmla="*/ 962 h 3274"/>
                <a:gd name="T86" fmla="*/ 3741 w 4263"/>
                <a:gd name="T87" fmla="*/ 1127 h 3274"/>
                <a:gd name="T88" fmla="*/ 215 w 4263"/>
                <a:gd name="T89" fmla="*/ 1184 h 3274"/>
                <a:gd name="T90" fmla="*/ 3864 w 4263"/>
                <a:gd name="T91" fmla="*/ 1337 h 3274"/>
                <a:gd name="T92" fmla="*/ 1133 w 4263"/>
                <a:gd name="T93" fmla="*/ 1460 h 3274"/>
                <a:gd name="T94" fmla="*/ 1164 w 4263"/>
                <a:gd name="T95" fmla="*/ 1600 h 3274"/>
                <a:gd name="T96" fmla="*/ 1202 w 4263"/>
                <a:gd name="T97" fmla="*/ 1633 h 3274"/>
                <a:gd name="T98" fmla="*/ 1240 w 4263"/>
                <a:gd name="T99" fmla="*/ 1687 h 3274"/>
                <a:gd name="T100" fmla="*/ 1209 w 4263"/>
                <a:gd name="T101" fmla="*/ 1703 h 3274"/>
                <a:gd name="T102" fmla="*/ 1226 w 4263"/>
                <a:gd name="T103" fmla="*/ 1838 h 3274"/>
                <a:gd name="T104" fmla="*/ 3342 w 4263"/>
                <a:gd name="T105" fmla="*/ 1933 h 3274"/>
                <a:gd name="T106" fmla="*/ 1353 w 4263"/>
                <a:gd name="T107" fmla="*/ 2143 h 3274"/>
                <a:gd name="T108" fmla="*/ 3486 w 4263"/>
                <a:gd name="T109" fmla="*/ 2126 h 3274"/>
                <a:gd name="T110" fmla="*/ 1457 w 4263"/>
                <a:gd name="T111" fmla="*/ 2308 h 3274"/>
                <a:gd name="T112" fmla="*/ 1370 w 4263"/>
                <a:gd name="T113" fmla="*/ 2476 h 3274"/>
                <a:gd name="T114" fmla="*/ 2504 w 4263"/>
                <a:gd name="T115" fmla="*/ 2599 h 3274"/>
                <a:gd name="T116" fmla="*/ 1408 w 4263"/>
                <a:gd name="T117" fmla="*/ 2641 h 3274"/>
                <a:gd name="T118" fmla="*/ 1511 w 4263"/>
                <a:gd name="T119" fmla="*/ 2764 h 3274"/>
                <a:gd name="T120" fmla="*/ 1566 w 4263"/>
                <a:gd name="T121" fmla="*/ 2903 h 3274"/>
                <a:gd name="T122" fmla="*/ 1776 w 4263"/>
                <a:gd name="T123" fmla="*/ 3163 h 3274"/>
                <a:gd name="T124" fmla="*/ 2071 w 4263"/>
                <a:gd name="T125" fmla="*/ 3258 h 3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63" h="3274">
                  <a:moveTo>
                    <a:pt x="1441" y="2308"/>
                  </a:moveTo>
                  <a:lnTo>
                    <a:pt x="1436" y="2299"/>
                  </a:lnTo>
                  <a:lnTo>
                    <a:pt x="1408" y="2299"/>
                  </a:lnTo>
                  <a:lnTo>
                    <a:pt x="1424" y="2292"/>
                  </a:lnTo>
                  <a:lnTo>
                    <a:pt x="1382" y="2299"/>
                  </a:lnTo>
                  <a:lnTo>
                    <a:pt x="1382" y="2292"/>
                  </a:lnTo>
                  <a:lnTo>
                    <a:pt x="1398" y="2292"/>
                  </a:lnTo>
                  <a:lnTo>
                    <a:pt x="1441" y="2259"/>
                  </a:lnTo>
                  <a:lnTo>
                    <a:pt x="1478" y="2259"/>
                  </a:lnTo>
                  <a:lnTo>
                    <a:pt x="1490" y="2259"/>
                  </a:lnTo>
                  <a:lnTo>
                    <a:pt x="1478" y="2259"/>
                  </a:lnTo>
                  <a:lnTo>
                    <a:pt x="1504" y="2266"/>
                  </a:lnTo>
                  <a:lnTo>
                    <a:pt x="1559" y="2254"/>
                  </a:lnTo>
                  <a:lnTo>
                    <a:pt x="1559" y="2242"/>
                  </a:lnTo>
                  <a:lnTo>
                    <a:pt x="1542" y="2237"/>
                  </a:lnTo>
                  <a:lnTo>
                    <a:pt x="1570" y="2225"/>
                  </a:lnTo>
                  <a:lnTo>
                    <a:pt x="1528" y="2237"/>
                  </a:lnTo>
                  <a:lnTo>
                    <a:pt x="1549" y="2209"/>
                  </a:lnTo>
                  <a:lnTo>
                    <a:pt x="1533" y="2209"/>
                  </a:lnTo>
                  <a:lnTo>
                    <a:pt x="1542" y="2188"/>
                  </a:lnTo>
                  <a:lnTo>
                    <a:pt x="1559" y="2188"/>
                  </a:lnTo>
                  <a:lnTo>
                    <a:pt x="1542" y="2204"/>
                  </a:lnTo>
                  <a:lnTo>
                    <a:pt x="1566" y="2197"/>
                  </a:lnTo>
                  <a:lnTo>
                    <a:pt x="1587" y="2221"/>
                  </a:lnTo>
                  <a:lnTo>
                    <a:pt x="1596" y="2209"/>
                  </a:lnTo>
                  <a:lnTo>
                    <a:pt x="1580" y="2204"/>
                  </a:lnTo>
                  <a:lnTo>
                    <a:pt x="1596" y="2197"/>
                  </a:lnTo>
                  <a:lnTo>
                    <a:pt x="1596" y="2204"/>
                  </a:lnTo>
                  <a:lnTo>
                    <a:pt x="1604" y="2209"/>
                  </a:lnTo>
                  <a:lnTo>
                    <a:pt x="1596" y="2197"/>
                  </a:lnTo>
                  <a:lnTo>
                    <a:pt x="1566" y="2188"/>
                  </a:lnTo>
                  <a:lnTo>
                    <a:pt x="1604" y="2181"/>
                  </a:lnTo>
                  <a:lnTo>
                    <a:pt x="1580" y="2181"/>
                  </a:lnTo>
                  <a:lnTo>
                    <a:pt x="1580" y="2164"/>
                  </a:lnTo>
                  <a:lnTo>
                    <a:pt x="1587" y="2164"/>
                  </a:lnTo>
                  <a:lnTo>
                    <a:pt x="1549" y="2181"/>
                  </a:lnTo>
                  <a:lnTo>
                    <a:pt x="1533" y="2181"/>
                  </a:lnTo>
                  <a:lnTo>
                    <a:pt x="1559" y="2148"/>
                  </a:lnTo>
                  <a:lnTo>
                    <a:pt x="1604" y="2143"/>
                  </a:lnTo>
                  <a:lnTo>
                    <a:pt x="1549" y="2143"/>
                  </a:lnTo>
                  <a:lnTo>
                    <a:pt x="1559" y="2126"/>
                  </a:lnTo>
                  <a:lnTo>
                    <a:pt x="1587" y="2131"/>
                  </a:lnTo>
                  <a:lnTo>
                    <a:pt x="1559" y="2114"/>
                  </a:lnTo>
                  <a:lnTo>
                    <a:pt x="1570" y="2110"/>
                  </a:lnTo>
                  <a:lnTo>
                    <a:pt x="1604" y="2110"/>
                  </a:lnTo>
                  <a:lnTo>
                    <a:pt x="1596" y="2093"/>
                  </a:lnTo>
                  <a:lnTo>
                    <a:pt x="1570" y="2086"/>
                  </a:lnTo>
                  <a:lnTo>
                    <a:pt x="1596" y="2077"/>
                  </a:lnTo>
                  <a:lnTo>
                    <a:pt x="1528" y="2086"/>
                  </a:lnTo>
                  <a:lnTo>
                    <a:pt x="1559" y="2077"/>
                  </a:lnTo>
                  <a:lnTo>
                    <a:pt x="1528" y="2070"/>
                  </a:lnTo>
                  <a:lnTo>
                    <a:pt x="1511" y="2086"/>
                  </a:lnTo>
                  <a:lnTo>
                    <a:pt x="1452" y="2070"/>
                  </a:lnTo>
                  <a:lnTo>
                    <a:pt x="1424" y="2044"/>
                  </a:lnTo>
                  <a:lnTo>
                    <a:pt x="1344" y="2032"/>
                  </a:lnTo>
                  <a:lnTo>
                    <a:pt x="1289" y="1987"/>
                  </a:lnTo>
                  <a:lnTo>
                    <a:pt x="1327" y="1966"/>
                  </a:lnTo>
                  <a:lnTo>
                    <a:pt x="1424" y="1982"/>
                  </a:lnTo>
                  <a:lnTo>
                    <a:pt x="1504" y="2020"/>
                  </a:lnTo>
                  <a:lnTo>
                    <a:pt x="1570" y="2037"/>
                  </a:lnTo>
                  <a:lnTo>
                    <a:pt x="1580" y="2032"/>
                  </a:lnTo>
                  <a:lnTo>
                    <a:pt x="1566" y="2020"/>
                  </a:lnTo>
                  <a:lnTo>
                    <a:pt x="1580" y="2015"/>
                  </a:lnTo>
                  <a:lnTo>
                    <a:pt x="1549" y="2020"/>
                  </a:lnTo>
                  <a:lnTo>
                    <a:pt x="1516" y="2003"/>
                  </a:lnTo>
                  <a:lnTo>
                    <a:pt x="1528" y="1999"/>
                  </a:lnTo>
                  <a:lnTo>
                    <a:pt x="1549" y="2015"/>
                  </a:lnTo>
                  <a:lnTo>
                    <a:pt x="1566" y="2003"/>
                  </a:lnTo>
                  <a:lnTo>
                    <a:pt x="1542" y="1999"/>
                  </a:lnTo>
                  <a:lnTo>
                    <a:pt x="1570" y="1999"/>
                  </a:lnTo>
                  <a:lnTo>
                    <a:pt x="1511" y="1982"/>
                  </a:lnTo>
                  <a:lnTo>
                    <a:pt x="1528" y="1975"/>
                  </a:lnTo>
                  <a:lnTo>
                    <a:pt x="1570" y="1982"/>
                  </a:lnTo>
                  <a:lnTo>
                    <a:pt x="1549" y="1975"/>
                  </a:lnTo>
                  <a:lnTo>
                    <a:pt x="1559" y="1966"/>
                  </a:lnTo>
                  <a:lnTo>
                    <a:pt x="1533" y="1966"/>
                  </a:lnTo>
                  <a:lnTo>
                    <a:pt x="1478" y="1942"/>
                  </a:lnTo>
                  <a:lnTo>
                    <a:pt x="1549" y="1949"/>
                  </a:lnTo>
                  <a:lnTo>
                    <a:pt x="1511" y="1942"/>
                  </a:lnTo>
                  <a:lnTo>
                    <a:pt x="1528" y="1926"/>
                  </a:lnTo>
                  <a:lnTo>
                    <a:pt x="1457" y="1933"/>
                  </a:lnTo>
                  <a:lnTo>
                    <a:pt x="1511" y="1909"/>
                  </a:lnTo>
                  <a:lnTo>
                    <a:pt x="1504" y="1904"/>
                  </a:lnTo>
                  <a:lnTo>
                    <a:pt x="1436" y="1926"/>
                  </a:lnTo>
                  <a:lnTo>
                    <a:pt x="1457" y="1909"/>
                  </a:lnTo>
                  <a:lnTo>
                    <a:pt x="1457" y="1904"/>
                  </a:lnTo>
                  <a:lnTo>
                    <a:pt x="1516" y="1888"/>
                  </a:lnTo>
                  <a:lnTo>
                    <a:pt x="1495" y="1876"/>
                  </a:lnTo>
                  <a:lnTo>
                    <a:pt x="1441" y="1892"/>
                  </a:lnTo>
                  <a:lnTo>
                    <a:pt x="1403" y="1892"/>
                  </a:lnTo>
                  <a:lnTo>
                    <a:pt x="1441" y="1871"/>
                  </a:lnTo>
                  <a:lnTo>
                    <a:pt x="1490" y="1871"/>
                  </a:lnTo>
                  <a:lnTo>
                    <a:pt x="1504" y="1855"/>
                  </a:lnTo>
                  <a:lnTo>
                    <a:pt x="1462" y="1864"/>
                  </a:lnTo>
                  <a:lnTo>
                    <a:pt x="1386" y="1855"/>
                  </a:lnTo>
                  <a:lnTo>
                    <a:pt x="1424" y="1814"/>
                  </a:lnTo>
                  <a:lnTo>
                    <a:pt x="1408" y="1822"/>
                  </a:lnTo>
                  <a:lnTo>
                    <a:pt x="1403" y="1831"/>
                  </a:lnTo>
                  <a:lnTo>
                    <a:pt x="1382" y="1838"/>
                  </a:lnTo>
                  <a:lnTo>
                    <a:pt x="1382" y="1810"/>
                  </a:lnTo>
                  <a:lnTo>
                    <a:pt x="1353" y="1798"/>
                  </a:lnTo>
                  <a:lnTo>
                    <a:pt x="1344" y="1765"/>
                  </a:lnTo>
                  <a:lnTo>
                    <a:pt x="1365" y="1765"/>
                  </a:lnTo>
                  <a:lnTo>
                    <a:pt x="1332" y="1765"/>
                  </a:lnTo>
                  <a:lnTo>
                    <a:pt x="1382" y="1831"/>
                  </a:lnTo>
                  <a:lnTo>
                    <a:pt x="1353" y="1848"/>
                  </a:lnTo>
                  <a:lnTo>
                    <a:pt x="1344" y="1848"/>
                  </a:lnTo>
                  <a:lnTo>
                    <a:pt x="1348" y="1855"/>
                  </a:lnTo>
                  <a:lnTo>
                    <a:pt x="1348" y="1864"/>
                  </a:lnTo>
                  <a:lnTo>
                    <a:pt x="1327" y="1855"/>
                  </a:lnTo>
                  <a:lnTo>
                    <a:pt x="1327" y="1864"/>
                  </a:lnTo>
                  <a:lnTo>
                    <a:pt x="1344" y="1871"/>
                  </a:lnTo>
                  <a:lnTo>
                    <a:pt x="1344" y="1888"/>
                  </a:lnTo>
                  <a:lnTo>
                    <a:pt x="1278" y="1904"/>
                  </a:lnTo>
                  <a:lnTo>
                    <a:pt x="1247" y="1876"/>
                  </a:lnTo>
                  <a:lnTo>
                    <a:pt x="1256" y="1892"/>
                  </a:lnTo>
                  <a:lnTo>
                    <a:pt x="1240" y="1892"/>
                  </a:lnTo>
                  <a:lnTo>
                    <a:pt x="1219" y="1864"/>
                  </a:lnTo>
                  <a:lnTo>
                    <a:pt x="1226" y="1864"/>
                  </a:lnTo>
                  <a:lnTo>
                    <a:pt x="1202" y="1855"/>
                  </a:lnTo>
                  <a:lnTo>
                    <a:pt x="1240" y="1831"/>
                  </a:lnTo>
                  <a:lnTo>
                    <a:pt x="1278" y="1822"/>
                  </a:lnTo>
                  <a:lnTo>
                    <a:pt x="1294" y="1810"/>
                  </a:lnTo>
                  <a:lnTo>
                    <a:pt x="1311" y="1781"/>
                  </a:lnTo>
                  <a:lnTo>
                    <a:pt x="1273" y="1822"/>
                  </a:lnTo>
                  <a:lnTo>
                    <a:pt x="1240" y="1822"/>
                  </a:lnTo>
                  <a:lnTo>
                    <a:pt x="1226" y="1814"/>
                  </a:lnTo>
                  <a:lnTo>
                    <a:pt x="1273" y="1781"/>
                  </a:lnTo>
                  <a:lnTo>
                    <a:pt x="1263" y="1765"/>
                  </a:lnTo>
                  <a:lnTo>
                    <a:pt x="1289" y="1765"/>
                  </a:lnTo>
                  <a:lnTo>
                    <a:pt x="1263" y="1760"/>
                  </a:lnTo>
                  <a:lnTo>
                    <a:pt x="1273" y="1760"/>
                  </a:lnTo>
                  <a:lnTo>
                    <a:pt x="1247" y="1765"/>
                  </a:lnTo>
                  <a:lnTo>
                    <a:pt x="1219" y="1748"/>
                  </a:lnTo>
                  <a:lnTo>
                    <a:pt x="1235" y="1744"/>
                  </a:lnTo>
                  <a:lnTo>
                    <a:pt x="1311" y="1748"/>
                  </a:lnTo>
                  <a:lnTo>
                    <a:pt x="1263" y="1744"/>
                  </a:lnTo>
                  <a:lnTo>
                    <a:pt x="1273" y="1727"/>
                  </a:lnTo>
                  <a:lnTo>
                    <a:pt x="1289" y="1727"/>
                  </a:lnTo>
                  <a:lnTo>
                    <a:pt x="1273" y="1727"/>
                  </a:lnTo>
                  <a:lnTo>
                    <a:pt x="1289" y="1711"/>
                  </a:lnTo>
                  <a:lnTo>
                    <a:pt x="1273" y="1711"/>
                  </a:lnTo>
                  <a:lnTo>
                    <a:pt x="1294" y="1703"/>
                  </a:lnTo>
                  <a:lnTo>
                    <a:pt x="1273" y="1670"/>
                  </a:lnTo>
                  <a:lnTo>
                    <a:pt x="1219" y="1666"/>
                  </a:lnTo>
                  <a:lnTo>
                    <a:pt x="1256" y="1649"/>
                  </a:lnTo>
                  <a:lnTo>
                    <a:pt x="1235" y="1637"/>
                  </a:lnTo>
                  <a:lnTo>
                    <a:pt x="1247" y="1626"/>
                  </a:lnTo>
                  <a:lnTo>
                    <a:pt x="1256" y="1626"/>
                  </a:lnTo>
                  <a:lnTo>
                    <a:pt x="1188" y="1583"/>
                  </a:lnTo>
                  <a:lnTo>
                    <a:pt x="1202" y="1583"/>
                  </a:lnTo>
                  <a:lnTo>
                    <a:pt x="1193" y="1583"/>
                  </a:lnTo>
                  <a:lnTo>
                    <a:pt x="1193" y="1571"/>
                  </a:lnTo>
                  <a:lnTo>
                    <a:pt x="1219" y="1576"/>
                  </a:lnTo>
                  <a:lnTo>
                    <a:pt x="1193" y="1559"/>
                  </a:lnTo>
                  <a:lnTo>
                    <a:pt x="1219" y="1555"/>
                  </a:lnTo>
                  <a:lnTo>
                    <a:pt x="1188" y="1538"/>
                  </a:lnTo>
                  <a:lnTo>
                    <a:pt x="1193" y="1538"/>
                  </a:lnTo>
                  <a:lnTo>
                    <a:pt x="1164" y="1526"/>
                  </a:lnTo>
                  <a:lnTo>
                    <a:pt x="1188" y="1498"/>
                  </a:lnTo>
                  <a:lnTo>
                    <a:pt x="1100" y="1522"/>
                  </a:lnTo>
                  <a:lnTo>
                    <a:pt x="1171" y="1498"/>
                  </a:lnTo>
                  <a:lnTo>
                    <a:pt x="1138" y="1489"/>
                  </a:lnTo>
                  <a:lnTo>
                    <a:pt x="1188" y="1481"/>
                  </a:lnTo>
                  <a:lnTo>
                    <a:pt x="1138" y="1472"/>
                  </a:lnTo>
                  <a:lnTo>
                    <a:pt x="1181" y="1472"/>
                  </a:lnTo>
                  <a:lnTo>
                    <a:pt x="1181" y="1460"/>
                  </a:lnTo>
                  <a:lnTo>
                    <a:pt x="1155" y="1460"/>
                  </a:lnTo>
                  <a:lnTo>
                    <a:pt x="1133" y="1444"/>
                  </a:lnTo>
                  <a:lnTo>
                    <a:pt x="1126" y="1444"/>
                  </a:lnTo>
                  <a:lnTo>
                    <a:pt x="1112" y="1427"/>
                  </a:lnTo>
                  <a:lnTo>
                    <a:pt x="1133" y="1427"/>
                  </a:lnTo>
                  <a:lnTo>
                    <a:pt x="1126" y="1411"/>
                  </a:lnTo>
                  <a:lnTo>
                    <a:pt x="1041" y="1387"/>
                  </a:lnTo>
                  <a:lnTo>
                    <a:pt x="1058" y="1370"/>
                  </a:lnTo>
                  <a:lnTo>
                    <a:pt x="1030" y="1354"/>
                  </a:lnTo>
                  <a:lnTo>
                    <a:pt x="1030" y="1337"/>
                  </a:lnTo>
                  <a:lnTo>
                    <a:pt x="1004" y="1349"/>
                  </a:lnTo>
                  <a:lnTo>
                    <a:pt x="1041" y="1333"/>
                  </a:lnTo>
                  <a:lnTo>
                    <a:pt x="1041" y="1321"/>
                  </a:lnTo>
                  <a:lnTo>
                    <a:pt x="1025" y="1316"/>
                  </a:lnTo>
                  <a:lnTo>
                    <a:pt x="1030" y="1300"/>
                  </a:lnTo>
                  <a:lnTo>
                    <a:pt x="1008" y="1300"/>
                  </a:lnTo>
                  <a:lnTo>
                    <a:pt x="1025" y="1295"/>
                  </a:lnTo>
                  <a:lnTo>
                    <a:pt x="975" y="1295"/>
                  </a:lnTo>
                  <a:lnTo>
                    <a:pt x="971" y="1283"/>
                  </a:lnTo>
                  <a:lnTo>
                    <a:pt x="971" y="1276"/>
                  </a:lnTo>
                  <a:lnTo>
                    <a:pt x="971" y="1266"/>
                  </a:lnTo>
                  <a:lnTo>
                    <a:pt x="933" y="1283"/>
                  </a:lnTo>
                  <a:lnTo>
                    <a:pt x="937" y="1259"/>
                  </a:lnTo>
                  <a:lnTo>
                    <a:pt x="878" y="1238"/>
                  </a:lnTo>
                  <a:lnTo>
                    <a:pt x="862" y="1250"/>
                  </a:lnTo>
                  <a:lnTo>
                    <a:pt x="857" y="1226"/>
                  </a:lnTo>
                  <a:lnTo>
                    <a:pt x="760" y="1222"/>
                  </a:lnTo>
                  <a:lnTo>
                    <a:pt x="756" y="1205"/>
                  </a:lnTo>
                  <a:lnTo>
                    <a:pt x="722" y="1210"/>
                  </a:lnTo>
                  <a:lnTo>
                    <a:pt x="718" y="1222"/>
                  </a:lnTo>
                  <a:lnTo>
                    <a:pt x="706" y="1205"/>
                  </a:lnTo>
                  <a:lnTo>
                    <a:pt x="680" y="1193"/>
                  </a:lnTo>
                  <a:lnTo>
                    <a:pt x="652" y="1222"/>
                  </a:lnTo>
                  <a:lnTo>
                    <a:pt x="630" y="1226"/>
                  </a:lnTo>
                  <a:lnTo>
                    <a:pt x="614" y="1222"/>
                  </a:lnTo>
                  <a:lnTo>
                    <a:pt x="626" y="1205"/>
                  </a:lnTo>
                  <a:lnTo>
                    <a:pt x="597" y="1193"/>
                  </a:lnTo>
                  <a:lnTo>
                    <a:pt x="609" y="1205"/>
                  </a:lnTo>
                  <a:lnTo>
                    <a:pt x="597" y="1222"/>
                  </a:lnTo>
                  <a:lnTo>
                    <a:pt x="588" y="1210"/>
                  </a:lnTo>
                  <a:lnTo>
                    <a:pt x="588" y="1226"/>
                  </a:lnTo>
                  <a:lnTo>
                    <a:pt x="593" y="1226"/>
                  </a:lnTo>
                  <a:lnTo>
                    <a:pt x="538" y="1226"/>
                  </a:lnTo>
                  <a:lnTo>
                    <a:pt x="538" y="1238"/>
                  </a:lnTo>
                  <a:lnTo>
                    <a:pt x="534" y="1243"/>
                  </a:lnTo>
                  <a:lnTo>
                    <a:pt x="500" y="1238"/>
                  </a:lnTo>
                  <a:lnTo>
                    <a:pt x="517" y="1222"/>
                  </a:lnTo>
                  <a:lnTo>
                    <a:pt x="508" y="1222"/>
                  </a:lnTo>
                  <a:lnTo>
                    <a:pt x="522" y="1210"/>
                  </a:lnTo>
                  <a:lnTo>
                    <a:pt x="508" y="1210"/>
                  </a:lnTo>
                  <a:lnTo>
                    <a:pt x="479" y="1205"/>
                  </a:lnTo>
                  <a:lnTo>
                    <a:pt x="463" y="1238"/>
                  </a:lnTo>
                  <a:lnTo>
                    <a:pt x="425" y="1210"/>
                  </a:lnTo>
                  <a:lnTo>
                    <a:pt x="399" y="1226"/>
                  </a:lnTo>
                  <a:lnTo>
                    <a:pt x="463" y="1259"/>
                  </a:lnTo>
                  <a:lnTo>
                    <a:pt x="311" y="1238"/>
                  </a:lnTo>
                  <a:lnTo>
                    <a:pt x="323" y="1226"/>
                  </a:lnTo>
                  <a:lnTo>
                    <a:pt x="290" y="1226"/>
                  </a:lnTo>
                  <a:lnTo>
                    <a:pt x="302" y="1222"/>
                  </a:lnTo>
                  <a:lnTo>
                    <a:pt x="236" y="1193"/>
                  </a:lnTo>
                  <a:lnTo>
                    <a:pt x="302" y="1165"/>
                  </a:lnTo>
                  <a:lnTo>
                    <a:pt x="356" y="1165"/>
                  </a:lnTo>
                  <a:lnTo>
                    <a:pt x="356" y="1148"/>
                  </a:lnTo>
                  <a:lnTo>
                    <a:pt x="269" y="1148"/>
                  </a:lnTo>
                  <a:lnTo>
                    <a:pt x="205" y="1132"/>
                  </a:lnTo>
                  <a:lnTo>
                    <a:pt x="248" y="1099"/>
                  </a:lnTo>
                  <a:lnTo>
                    <a:pt x="236" y="1099"/>
                  </a:lnTo>
                  <a:lnTo>
                    <a:pt x="177" y="1132"/>
                  </a:lnTo>
                  <a:lnTo>
                    <a:pt x="144" y="1115"/>
                  </a:lnTo>
                  <a:lnTo>
                    <a:pt x="160" y="1111"/>
                  </a:lnTo>
                  <a:lnTo>
                    <a:pt x="130" y="1111"/>
                  </a:lnTo>
                  <a:lnTo>
                    <a:pt x="113" y="1094"/>
                  </a:lnTo>
                  <a:lnTo>
                    <a:pt x="151" y="1077"/>
                  </a:lnTo>
                  <a:lnTo>
                    <a:pt x="144" y="1073"/>
                  </a:lnTo>
                  <a:lnTo>
                    <a:pt x="198" y="1061"/>
                  </a:lnTo>
                  <a:lnTo>
                    <a:pt x="463" y="1077"/>
                  </a:lnTo>
                  <a:lnTo>
                    <a:pt x="479" y="1073"/>
                  </a:lnTo>
                  <a:lnTo>
                    <a:pt x="432" y="1077"/>
                  </a:lnTo>
                  <a:lnTo>
                    <a:pt x="274" y="1061"/>
                  </a:lnTo>
                  <a:lnTo>
                    <a:pt x="378" y="1037"/>
                  </a:lnTo>
                  <a:lnTo>
                    <a:pt x="479" y="1061"/>
                  </a:lnTo>
                  <a:lnTo>
                    <a:pt x="446" y="1037"/>
                  </a:lnTo>
                  <a:lnTo>
                    <a:pt x="484" y="1021"/>
                  </a:lnTo>
                  <a:lnTo>
                    <a:pt x="470" y="1004"/>
                  </a:lnTo>
                  <a:lnTo>
                    <a:pt x="437" y="1000"/>
                  </a:lnTo>
                  <a:lnTo>
                    <a:pt x="415" y="1000"/>
                  </a:lnTo>
                  <a:lnTo>
                    <a:pt x="382" y="1021"/>
                  </a:lnTo>
                  <a:lnTo>
                    <a:pt x="328" y="1021"/>
                  </a:lnTo>
                  <a:lnTo>
                    <a:pt x="302" y="1000"/>
                  </a:lnTo>
                  <a:lnTo>
                    <a:pt x="290" y="1000"/>
                  </a:lnTo>
                  <a:lnTo>
                    <a:pt x="307" y="1021"/>
                  </a:lnTo>
                  <a:lnTo>
                    <a:pt x="257" y="1028"/>
                  </a:lnTo>
                  <a:lnTo>
                    <a:pt x="193" y="1016"/>
                  </a:lnTo>
                  <a:lnTo>
                    <a:pt x="248" y="1000"/>
                  </a:lnTo>
                  <a:lnTo>
                    <a:pt x="248" y="983"/>
                  </a:lnTo>
                  <a:lnTo>
                    <a:pt x="167" y="1000"/>
                  </a:lnTo>
                  <a:lnTo>
                    <a:pt x="215" y="971"/>
                  </a:lnTo>
                  <a:lnTo>
                    <a:pt x="122" y="983"/>
                  </a:lnTo>
                  <a:lnTo>
                    <a:pt x="113" y="983"/>
                  </a:lnTo>
                  <a:lnTo>
                    <a:pt x="130" y="966"/>
                  </a:lnTo>
                  <a:lnTo>
                    <a:pt x="75" y="966"/>
                  </a:lnTo>
                  <a:lnTo>
                    <a:pt x="42" y="945"/>
                  </a:lnTo>
                  <a:lnTo>
                    <a:pt x="54" y="945"/>
                  </a:lnTo>
                  <a:lnTo>
                    <a:pt x="0" y="917"/>
                  </a:lnTo>
                  <a:lnTo>
                    <a:pt x="37" y="905"/>
                  </a:lnTo>
                  <a:lnTo>
                    <a:pt x="16" y="893"/>
                  </a:lnTo>
                  <a:lnTo>
                    <a:pt x="30" y="877"/>
                  </a:lnTo>
                  <a:lnTo>
                    <a:pt x="30" y="872"/>
                  </a:lnTo>
                  <a:lnTo>
                    <a:pt x="30" y="860"/>
                  </a:lnTo>
                  <a:lnTo>
                    <a:pt x="97" y="851"/>
                  </a:lnTo>
                  <a:lnTo>
                    <a:pt x="151" y="851"/>
                  </a:lnTo>
                  <a:lnTo>
                    <a:pt x="160" y="839"/>
                  </a:lnTo>
                  <a:lnTo>
                    <a:pt x="269" y="806"/>
                  </a:lnTo>
                  <a:lnTo>
                    <a:pt x="302" y="815"/>
                  </a:lnTo>
                  <a:lnTo>
                    <a:pt x="269" y="799"/>
                  </a:lnTo>
                  <a:lnTo>
                    <a:pt x="328" y="778"/>
                  </a:lnTo>
                  <a:lnTo>
                    <a:pt x="371" y="782"/>
                  </a:lnTo>
                  <a:lnTo>
                    <a:pt x="382" y="766"/>
                  </a:lnTo>
                  <a:lnTo>
                    <a:pt x="491" y="778"/>
                  </a:lnTo>
                  <a:lnTo>
                    <a:pt x="576" y="704"/>
                  </a:lnTo>
                  <a:lnTo>
                    <a:pt x="555" y="655"/>
                  </a:lnTo>
                  <a:lnTo>
                    <a:pt x="559" y="638"/>
                  </a:lnTo>
                  <a:lnTo>
                    <a:pt x="555" y="629"/>
                  </a:lnTo>
                  <a:lnTo>
                    <a:pt x="647" y="600"/>
                  </a:lnTo>
                  <a:lnTo>
                    <a:pt x="626" y="600"/>
                  </a:lnTo>
                  <a:lnTo>
                    <a:pt x="614" y="584"/>
                  </a:lnTo>
                  <a:lnTo>
                    <a:pt x="609" y="600"/>
                  </a:lnTo>
                  <a:lnTo>
                    <a:pt x="571" y="617"/>
                  </a:lnTo>
                  <a:lnTo>
                    <a:pt x="415" y="617"/>
                  </a:lnTo>
                  <a:lnTo>
                    <a:pt x="408" y="600"/>
                  </a:lnTo>
                  <a:lnTo>
                    <a:pt x="382" y="596"/>
                  </a:lnTo>
                  <a:lnTo>
                    <a:pt x="394" y="572"/>
                  </a:lnTo>
                  <a:lnTo>
                    <a:pt x="437" y="555"/>
                  </a:lnTo>
                  <a:lnTo>
                    <a:pt x="437" y="539"/>
                  </a:lnTo>
                  <a:lnTo>
                    <a:pt x="522" y="518"/>
                  </a:lnTo>
                  <a:lnTo>
                    <a:pt x="517" y="506"/>
                  </a:lnTo>
                  <a:lnTo>
                    <a:pt x="555" y="501"/>
                  </a:lnTo>
                  <a:lnTo>
                    <a:pt x="559" y="489"/>
                  </a:lnTo>
                  <a:lnTo>
                    <a:pt x="559" y="485"/>
                  </a:lnTo>
                  <a:lnTo>
                    <a:pt x="588" y="473"/>
                  </a:lnTo>
                  <a:lnTo>
                    <a:pt x="576" y="461"/>
                  </a:lnTo>
                  <a:lnTo>
                    <a:pt x="652" y="433"/>
                  </a:lnTo>
                  <a:lnTo>
                    <a:pt x="668" y="444"/>
                  </a:lnTo>
                  <a:lnTo>
                    <a:pt x="680" y="466"/>
                  </a:lnTo>
                  <a:lnTo>
                    <a:pt x="718" y="501"/>
                  </a:lnTo>
                  <a:lnTo>
                    <a:pt x="722" y="501"/>
                  </a:lnTo>
                  <a:lnTo>
                    <a:pt x="685" y="466"/>
                  </a:lnTo>
                  <a:lnTo>
                    <a:pt x="680" y="433"/>
                  </a:lnTo>
                  <a:lnTo>
                    <a:pt x="718" y="416"/>
                  </a:lnTo>
                  <a:lnTo>
                    <a:pt x="803" y="449"/>
                  </a:lnTo>
                  <a:lnTo>
                    <a:pt x="841" y="444"/>
                  </a:lnTo>
                  <a:lnTo>
                    <a:pt x="848" y="433"/>
                  </a:lnTo>
                  <a:lnTo>
                    <a:pt x="824" y="395"/>
                  </a:lnTo>
                  <a:lnTo>
                    <a:pt x="862" y="374"/>
                  </a:lnTo>
                  <a:lnTo>
                    <a:pt x="810" y="333"/>
                  </a:lnTo>
                  <a:lnTo>
                    <a:pt x="857" y="305"/>
                  </a:lnTo>
                  <a:lnTo>
                    <a:pt x="911" y="300"/>
                  </a:lnTo>
                  <a:lnTo>
                    <a:pt x="992" y="305"/>
                  </a:lnTo>
                  <a:lnTo>
                    <a:pt x="1008" y="350"/>
                  </a:lnTo>
                  <a:lnTo>
                    <a:pt x="1079" y="355"/>
                  </a:lnTo>
                  <a:lnTo>
                    <a:pt x="1112" y="390"/>
                  </a:lnTo>
                  <a:lnTo>
                    <a:pt x="1155" y="407"/>
                  </a:lnTo>
                  <a:lnTo>
                    <a:pt x="1164" y="407"/>
                  </a:lnTo>
                  <a:lnTo>
                    <a:pt x="1046" y="350"/>
                  </a:lnTo>
                  <a:lnTo>
                    <a:pt x="1020" y="305"/>
                  </a:lnTo>
                  <a:lnTo>
                    <a:pt x="949" y="296"/>
                  </a:lnTo>
                  <a:lnTo>
                    <a:pt x="1155" y="244"/>
                  </a:lnTo>
                  <a:lnTo>
                    <a:pt x="1171" y="263"/>
                  </a:lnTo>
                  <a:lnTo>
                    <a:pt x="1202" y="244"/>
                  </a:lnTo>
                  <a:lnTo>
                    <a:pt x="1247" y="244"/>
                  </a:lnTo>
                  <a:lnTo>
                    <a:pt x="1240" y="251"/>
                  </a:lnTo>
                  <a:lnTo>
                    <a:pt x="1256" y="263"/>
                  </a:lnTo>
                  <a:lnTo>
                    <a:pt x="1247" y="239"/>
                  </a:lnTo>
                  <a:lnTo>
                    <a:pt x="1226" y="239"/>
                  </a:lnTo>
                  <a:lnTo>
                    <a:pt x="1301" y="222"/>
                  </a:lnTo>
                  <a:lnTo>
                    <a:pt x="1365" y="267"/>
                  </a:lnTo>
                  <a:lnTo>
                    <a:pt x="1370" y="305"/>
                  </a:lnTo>
                  <a:lnTo>
                    <a:pt x="1348" y="338"/>
                  </a:lnTo>
                  <a:lnTo>
                    <a:pt x="1348" y="362"/>
                  </a:lnTo>
                  <a:lnTo>
                    <a:pt x="1370" y="374"/>
                  </a:lnTo>
                  <a:lnTo>
                    <a:pt x="1365" y="350"/>
                  </a:lnTo>
                  <a:lnTo>
                    <a:pt x="1408" y="317"/>
                  </a:lnTo>
                  <a:lnTo>
                    <a:pt x="1403" y="284"/>
                  </a:lnTo>
                  <a:lnTo>
                    <a:pt x="1516" y="305"/>
                  </a:lnTo>
                  <a:lnTo>
                    <a:pt x="1618" y="355"/>
                  </a:lnTo>
                  <a:lnTo>
                    <a:pt x="1641" y="350"/>
                  </a:lnTo>
                  <a:lnTo>
                    <a:pt x="1542" y="300"/>
                  </a:lnTo>
                  <a:lnTo>
                    <a:pt x="1625" y="305"/>
                  </a:lnTo>
                  <a:lnTo>
                    <a:pt x="1656" y="300"/>
                  </a:lnTo>
                  <a:lnTo>
                    <a:pt x="1566" y="251"/>
                  </a:lnTo>
                  <a:lnTo>
                    <a:pt x="1533" y="194"/>
                  </a:lnTo>
                  <a:lnTo>
                    <a:pt x="1672" y="206"/>
                  </a:lnTo>
                  <a:lnTo>
                    <a:pt x="1785" y="263"/>
                  </a:lnTo>
                  <a:lnTo>
                    <a:pt x="1873" y="279"/>
                  </a:lnTo>
                  <a:lnTo>
                    <a:pt x="1894" y="284"/>
                  </a:lnTo>
                  <a:lnTo>
                    <a:pt x="1889" y="300"/>
                  </a:lnTo>
                  <a:lnTo>
                    <a:pt x="1991" y="333"/>
                  </a:lnTo>
                  <a:lnTo>
                    <a:pt x="2019" y="317"/>
                  </a:lnTo>
                  <a:lnTo>
                    <a:pt x="1982" y="300"/>
                  </a:lnTo>
                  <a:lnTo>
                    <a:pt x="2003" y="296"/>
                  </a:lnTo>
                  <a:lnTo>
                    <a:pt x="1974" y="296"/>
                  </a:lnTo>
                  <a:lnTo>
                    <a:pt x="1996" y="279"/>
                  </a:lnTo>
                  <a:lnTo>
                    <a:pt x="1982" y="251"/>
                  </a:lnTo>
                  <a:lnTo>
                    <a:pt x="1991" y="239"/>
                  </a:lnTo>
                  <a:lnTo>
                    <a:pt x="2154" y="251"/>
                  </a:lnTo>
                  <a:lnTo>
                    <a:pt x="2050" y="227"/>
                  </a:lnTo>
                  <a:lnTo>
                    <a:pt x="2045" y="222"/>
                  </a:lnTo>
                  <a:lnTo>
                    <a:pt x="2050" y="222"/>
                  </a:lnTo>
                  <a:lnTo>
                    <a:pt x="1911" y="152"/>
                  </a:lnTo>
                  <a:lnTo>
                    <a:pt x="2163" y="152"/>
                  </a:lnTo>
                  <a:lnTo>
                    <a:pt x="2175" y="156"/>
                  </a:lnTo>
                  <a:lnTo>
                    <a:pt x="2163" y="168"/>
                  </a:lnTo>
                  <a:lnTo>
                    <a:pt x="2192" y="173"/>
                  </a:lnTo>
                  <a:lnTo>
                    <a:pt x="2192" y="194"/>
                  </a:lnTo>
                  <a:lnTo>
                    <a:pt x="2196" y="206"/>
                  </a:lnTo>
                  <a:lnTo>
                    <a:pt x="2208" y="194"/>
                  </a:lnTo>
                  <a:lnTo>
                    <a:pt x="2208" y="173"/>
                  </a:lnTo>
                  <a:lnTo>
                    <a:pt x="2180" y="156"/>
                  </a:lnTo>
                  <a:lnTo>
                    <a:pt x="2208" y="156"/>
                  </a:lnTo>
                  <a:lnTo>
                    <a:pt x="2298" y="189"/>
                  </a:lnTo>
                  <a:lnTo>
                    <a:pt x="2322" y="222"/>
                  </a:lnTo>
                  <a:lnTo>
                    <a:pt x="2336" y="222"/>
                  </a:lnTo>
                  <a:lnTo>
                    <a:pt x="2315" y="189"/>
                  </a:lnTo>
                  <a:lnTo>
                    <a:pt x="2326" y="178"/>
                  </a:lnTo>
                  <a:lnTo>
                    <a:pt x="2322" y="173"/>
                  </a:lnTo>
                  <a:lnTo>
                    <a:pt x="2305" y="168"/>
                  </a:lnTo>
                  <a:lnTo>
                    <a:pt x="2159" y="135"/>
                  </a:lnTo>
                  <a:lnTo>
                    <a:pt x="1958" y="123"/>
                  </a:lnTo>
                  <a:lnTo>
                    <a:pt x="1974" y="135"/>
                  </a:lnTo>
                  <a:lnTo>
                    <a:pt x="1894" y="140"/>
                  </a:lnTo>
                  <a:lnTo>
                    <a:pt x="1835" y="116"/>
                  </a:lnTo>
                  <a:lnTo>
                    <a:pt x="1894" y="123"/>
                  </a:lnTo>
                  <a:lnTo>
                    <a:pt x="1840" y="111"/>
                  </a:lnTo>
                  <a:lnTo>
                    <a:pt x="1894" y="95"/>
                  </a:lnTo>
                  <a:lnTo>
                    <a:pt x="1958" y="123"/>
                  </a:lnTo>
                  <a:lnTo>
                    <a:pt x="2083" y="123"/>
                  </a:lnTo>
                  <a:lnTo>
                    <a:pt x="1974" y="111"/>
                  </a:lnTo>
                  <a:lnTo>
                    <a:pt x="1927" y="83"/>
                  </a:lnTo>
                  <a:lnTo>
                    <a:pt x="1937" y="83"/>
                  </a:lnTo>
                  <a:lnTo>
                    <a:pt x="2109" y="95"/>
                  </a:lnTo>
                  <a:lnTo>
                    <a:pt x="2033" y="67"/>
                  </a:lnTo>
                  <a:lnTo>
                    <a:pt x="2109" y="67"/>
                  </a:lnTo>
                  <a:lnTo>
                    <a:pt x="2083" y="67"/>
                  </a:lnTo>
                  <a:lnTo>
                    <a:pt x="2126" y="62"/>
                  </a:lnTo>
                  <a:lnTo>
                    <a:pt x="2196" y="78"/>
                  </a:lnTo>
                  <a:lnTo>
                    <a:pt x="2180" y="95"/>
                  </a:lnTo>
                  <a:lnTo>
                    <a:pt x="2208" y="83"/>
                  </a:lnTo>
                  <a:lnTo>
                    <a:pt x="2272" y="116"/>
                  </a:lnTo>
                  <a:lnTo>
                    <a:pt x="2352" y="116"/>
                  </a:lnTo>
                  <a:lnTo>
                    <a:pt x="2411" y="156"/>
                  </a:lnTo>
                  <a:lnTo>
                    <a:pt x="2423" y="140"/>
                  </a:lnTo>
                  <a:lnTo>
                    <a:pt x="2374" y="116"/>
                  </a:lnTo>
                  <a:lnTo>
                    <a:pt x="2504" y="111"/>
                  </a:lnTo>
                  <a:lnTo>
                    <a:pt x="2397" y="100"/>
                  </a:lnTo>
                  <a:lnTo>
                    <a:pt x="2537" y="83"/>
                  </a:lnTo>
                  <a:lnTo>
                    <a:pt x="2407" y="67"/>
                  </a:lnTo>
                  <a:lnTo>
                    <a:pt x="2397" y="62"/>
                  </a:lnTo>
                  <a:lnTo>
                    <a:pt x="2397" y="29"/>
                  </a:lnTo>
                  <a:lnTo>
                    <a:pt x="2466" y="45"/>
                  </a:lnTo>
                  <a:lnTo>
                    <a:pt x="2478" y="45"/>
                  </a:lnTo>
                  <a:lnTo>
                    <a:pt x="2449" y="29"/>
                  </a:lnTo>
                  <a:lnTo>
                    <a:pt x="2482" y="24"/>
                  </a:lnTo>
                  <a:lnTo>
                    <a:pt x="2570" y="45"/>
                  </a:lnTo>
                  <a:lnTo>
                    <a:pt x="2537" y="24"/>
                  </a:lnTo>
                  <a:lnTo>
                    <a:pt x="2714" y="0"/>
                  </a:lnTo>
                  <a:lnTo>
                    <a:pt x="2747" y="29"/>
                  </a:lnTo>
                  <a:lnTo>
                    <a:pt x="2752" y="24"/>
                  </a:lnTo>
                  <a:lnTo>
                    <a:pt x="2730" y="5"/>
                  </a:lnTo>
                  <a:lnTo>
                    <a:pt x="2990" y="0"/>
                  </a:lnTo>
                  <a:lnTo>
                    <a:pt x="3125" y="24"/>
                  </a:lnTo>
                  <a:lnTo>
                    <a:pt x="3092" y="24"/>
                  </a:lnTo>
                  <a:lnTo>
                    <a:pt x="3115" y="41"/>
                  </a:lnTo>
                  <a:lnTo>
                    <a:pt x="3200" y="24"/>
                  </a:lnTo>
                  <a:lnTo>
                    <a:pt x="3326" y="57"/>
                  </a:lnTo>
                  <a:lnTo>
                    <a:pt x="3233" y="83"/>
                  </a:lnTo>
                  <a:lnTo>
                    <a:pt x="3016" y="78"/>
                  </a:lnTo>
                  <a:lnTo>
                    <a:pt x="2882" y="100"/>
                  </a:lnTo>
                  <a:lnTo>
                    <a:pt x="2775" y="83"/>
                  </a:lnTo>
                  <a:lnTo>
                    <a:pt x="2844" y="100"/>
                  </a:lnTo>
                  <a:lnTo>
                    <a:pt x="2624" y="123"/>
                  </a:lnTo>
                  <a:lnTo>
                    <a:pt x="2645" y="135"/>
                  </a:lnTo>
                  <a:lnTo>
                    <a:pt x="2629" y="152"/>
                  </a:lnTo>
                  <a:lnTo>
                    <a:pt x="2638" y="156"/>
                  </a:lnTo>
                  <a:lnTo>
                    <a:pt x="2645" y="140"/>
                  </a:lnTo>
                  <a:lnTo>
                    <a:pt x="2676" y="123"/>
                  </a:lnTo>
                  <a:lnTo>
                    <a:pt x="2747" y="123"/>
                  </a:lnTo>
                  <a:lnTo>
                    <a:pt x="2752" y="140"/>
                  </a:lnTo>
                  <a:lnTo>
                    <a:pt x="2737" y="152"/>
                  </a:lnTo>
                  <a:lnTo>
                    <a:pt x="2747" y="152"/>
                  </a:lnTo>
                  <a:lnTo>
                    <a:pt x="2768" y="116"/>
                  </a:lnTo>
                  <a:lnTo>
                    <a:pt x="2877" y="111"/>
                  </a:lnTo>
                  <a:lnTo>
                    <a:pt x="2898" y="123"/>
                  </a:lnTo>
                  <a:lnTo>
                    <a:pt x="3016" y="83"/>
                  </a:lnTo>
                  <a:lnTo>
                    <a:pt x="3146" y="100"/>
                  </a:lnTo>
                  <a:lnTo>
                    <a:pt x="3352" y="78"/>
                  </a:lnTo>
                  <a:lnTo>
                    <a:pt x="3380" y="95"/>
                  </a:lnTo>
                  <a:lnTo>
                    <a:pt x="3368" y="95"/>
                  </a:lnTo>
                  <a:lnTo>
                    <a:pt x="3385" y="111"/>
                  </a:lnTo>
                  <a:lnTo>
                    <a:pt x="3352" y="140"/>
                  </a:lnTo>
                  <a:lnTo>
                    <a:pt x="3309" y="152"/>
                  </a:lnTo>
                  <a:lnTo>
                    <a:pt x="3439" y="123"/>
                  </a:lnTo>
                  <a:lnTo>
                    <a:pt x="3448" y="135"/>
                  </a:lnTo>
                  <a:lnTo>
                    <a:pt x="3439" y="135"/>
                  </a:lnTo>
                  <a:lnTo>
                    <a:pt x="3439" y="156"/>
                  </a:lnTo>
                  <a:lnTo>
                    <a:pt x="3477" y="135"/>
                  </a:lnTo>
                  <a:lnTo>
                    <a:pt x="3628" y="178"/>
                  </a:lnTo>
                  <a:lnTo>
                    <a:pt x="3545" y="227"/>
                  </a:lnTo>
                  <a:lnTo>
                    <a:pt x="3363" y="263"/>
                  </a:lnTo>
                  <a:lnTo>
                    <a:pt x="3028" y="267"/>
                  </a:lnTo>
                  <a:lnTo>
                    <a:pt x="2910" y="251"/>
                  </a:lnTo>
                  <a:lnTo>
                    <a:pt x="3023" y="267"/>
                  </a:lnTo>
                  <a:lnTo>
                    <a:pt x="2801" y="322"/>
                  </a:lnTo>
                  <a:lnTo>
                    <a:pt x="2806" y="350"/>
                  </a:lnTo>
                  <a:lnTo>
                    <a:pt x="2898" y="317"/>
                  </a:lnTo>
                  <a:lnTo>
                    <a:pt x="3040" y="300"/>
                  </a:lnTo>
                  <a:lnTo>
                    <a:pt x="3028" y="305"/>
                  </a:lnTo>
                  <a:lnTo>
                    <a:pt x="3044" y="305"/>
                  </a:lnTo>
                  <a:lnTo>
                    <a:pt x="3082" y="296"/>
                  </a:lnTo>
                  <a:lnTo>
                    <a:pt x="3352" y="296"/>
                  </a:lnTo>
                  <a:lnTo>
                    <a:pt x="3347" y="317"/>
                  </a:lnTo>
                  <a:lnTo>
                    <a:pt x="3342" y="333"/>
                  </a:lnTo>
                  <a:lnTo>
                    <a:pt x="3184" y="378"/>
                  </a:lnTo>
                  <a:lnTo>
                    <a:pt x="3217" y="390"/>
                  </a:lnTo>
                  <a:lnTo>
                    <a:pt x="3184" y="395"/>
                  </a:lnTo>
                  <a:lnTo>
                    <a:pt x="3205" y="395"/>
                  </a:lnTo>
                  <a:lnTo>
                    <a:pt x="3368" y="338"/>
                  </a:lnTo>
                  <a:lnTo>
                    <a:pt x="3422" y="338"/>
                  </a:lnTo>
                  <a:lnTo>
                    <a:pt x="3432" y="333"/>
                  </a:lnTo>
                  <a:lnTo>
                    <a:pt x="3432" y="300"/>
                  </a:lnTo>
                  <a:lnTo>
                    <a:pt x="3439" y="284"/>
                  </a:lnTo>
                  <a:lnTo>
                    <a:pt x="3557" y="279"/>
                  </a:lnTo>
                  <a:lnTo>
                    <a:pt x="3578" y="300"/>
                  </a:lnTo>
                  <a:lnTo>
                    <a:pt x="3578" y="333"/>
                  </a:lnTo>
                  <a:lnTo>
                    <a:pt x="3562" y="378"/>
                  </a:lnTo>
                  <a:lnTo>
                    <a:pt x="3541" y="407"/>
                  </a:lnTo>
                  <a:lnTo>
                    <a:pt x="3507" y="411"/>
                  </a:lnTo>
                  <a:lnTo>
                    <a:pt x="3524" y="411"/>
                  </a:lnTo>
                  <a:lnTo>
                    <a:pt x="3448" y="473"/>
                  </a:lnTo>
                  <a:lnTo>
                    <a:pt x="3456" y="489"/>
                  </a:lnTo>
                  <a:lnTo>
                    <a:pt x="3439" y="506"/>
                  </a:lnTo>
                  <a:lnTo>
                    <a:pt x="3406" y="518"/>
                  </a:lnTo>
                  <a:lnTo>
                    <a:pt x="3432" y="518"/>
                  </a:lnTo>
                  <a:lnTo>
                    <a:pt x="3401" y="539"/>
                  </a:lnTo>
                  <a:lnTo>
                    <a:pt x="3465" y="506"/>
                  </a:lnTo>
                  <a:lnTo>
                    <a:pt x="3470" y="489"/>
                  </a:lnTo>
                  <a:lnTo>
                    <a:pt x="3470" y="473"/>
                  </a:lnTo>
                  <a:lnTo>
                    <a:pt x="3524" y="461"/>
                  </a:lnTo>
                  <a:lnTo>
                    <a:pt x="3666" y="362"/>
                  </a:lnTo>
                  <a:lnTo>
                    <a:pt x="3725" y="338"/>
                  </a:lnTo>
                  <a:lnTo>
                    <a:pt x="3704" y="355"/>
                  </a:lnTo>
                  <a:lnTo>
                    <a:pt x="3692" y="378"/>
                  </a:lnTo>
                  <a:lnTo>
                    <a:pt x="3772" y="362"/>
                  </a:lnTo>
                  <a:lnTo>
                    <a:pt x="3796" y="378"/>
                  </a:lnTo>
                  <a:lnTo>
                    <a:pt x="3810" y="374"/>
                  </a:lnTo>
                  <a:lnTo>
                    <a:pt x="3855" y="378"/>
                  </a:lnTo>
                  <a:lnTo>
                    <a:pt x="3855" y="362"/>
                  </a:lnTo>
                  <a:lnTo>
                    <a:pt x="3885" y="355"/>
                  </a:lnTo>
                  <a:lnTo>
                    <a:pt x="3864" y="350"/>
                  </a:lnTo>
                  <a:lnTo>
                    <a:pt x="3871" y="333"/>
                  </a:lnTo>
                  <a:lnTo>
                    <a:pt x="3902" y="338"/>
                  </a:lnTo>
                  <a:lnTo>
                    <a:pt x="3897" y="333"/>
                  </a:lnTo>
                  <a:lnTo>
                    <a:pt x="3897" y="317"/>
                  </a:lnTo>
                  <a:lnTo>
                    <a:pt x="3935" y="317"/>
                  </a:lnTo>
                  <a:lnTo>
                    <a:pt x="3952" y="300"/>
                  </a:lnTo>
                  <a:lnTo>
                    <a:pt x="4086" y="300"/>
                  </a:lnTo>
                  <a:lnTo>
                    <a:pt x="4195" y="322"/>
                  </a:lnTo>
                  <a:lnTo>
                    <a:pt x="4263" y="355"/>
                  </a:lnTo>
                  <a:lnTo>
                    <a:pt x="4136" y="433"/>
                  </a:lnTo>
                  <a:lnTo>
                    <a:pt x="4070" y="433"/>
                  </a:lnTo>
                  <a:lnTo>
                    <a:pt x="4060" y="444"/>
                  </a:lnTo>
                  <a:lnTo>
                    <a:pt x="4098" y="466"/>
                  </a:lnTo>
                  <a:lnTo>
                    <a:pt x="4011" y="489"/>
                  </a:lnTo>
                  <a:lnTo>
                    <a:pt x="3994" y="506"/>
                  </a:lnTo>
                  <a:lnTo>
                    <a:pt x="3864" y="489"/>
                  </a:lnTo>
                  <a:lnTo>
                    <a:pt x="3855" y="506"/>
                  </a:lnTo>
                  <a:lnTo>
                    <a:pt x="3817" y="522"/>
                  </a:lnTo>
                  <a:lnTo>
                    <a:pt x="3708" y="518"/>
                  </a:lnTo>
                  <a:lnTo>
                    <a:pt x="3682" y="527"/>
                  </a:lnTo>
                  <a:lnTo>
                    <a:pt x="3633" y="527"/>
                  </a:lnTo>
                  <a:lnTo>
                    <a:pt x="3666" y="544"/>
                  </a:lnTo>
                  <a:lnTo>
                    <a:pt x="3720" y="522"/>
                  </a:lnTo>
                  <a:lnTo>
                    <a:pt x="3826" y="539"/>
                  </a:lnTo>
                  <a:lnTo>
                    <a:pt x="3897" y="522"/>
                  </a:lnTo>
                  <a:lnTo>
                    <a:pt x="3994" y="544"/>
                  </a:lnTo>
                  <a:lnTo>
                    <a:pt x="3961" y="560"/>
                  </a:lnTo>
                  <a:lnTo>
                    <a:pt x="3952" y="560"/>
                  </a:lnTo>
                  <a:lnTo>
                    <a:pt x="3956" y="572"/>
                  </a:lnTo>
                  <a:lnTo>
                    <a:pt x="3918" y="584"/>
                  </a:lnTo>
                  <a:lnTo>
                    <a:pt x="3741" y="577"/>
                  </a:lnTo>
                  <a:lnTo>
                    <a:pt x="3682" y="612"/>
                  </a:lnTo>
                  <a:lnTo>
                    <a:pt x="3692" y="612"/>
                  </a:lnTo>
                  <a:lnTo>
                    <a:pt x="3682" y="629"/>
                  </a:lnTo>
                  <a:lnTo>
                    <a:pt x="3687" y="629"/>
                  </a:lnTo>
                  <a:lnTo>
                    <a:pt x="3666" y="650"/>
                  </a:lnTo>
                  <a:lnTo>
                    <a:pt x="3687" y="650"/>
                  </a:lnTo>
                  <a:lnTo>
                    <a:pt x="3692" y="666"/>
                  </a:lnTo>
                  <a:lnTo>
                    <a:pt x="3725" y="650"/>
                  </a:lnTo>
                  <a:lnTo>
                    <a:pt x="3704" y="655"/>
                  </a:lnTo>
                  <a:lnTo>
                    <a:pt x="3704" y="650"/>
                  </a:lnTo>
                  <a:lnTo>
                    <a:pt x="3720" y="633"/>
                  </a:lnTo>
                  <a:lnTo>
                    <a:pt x="3772" y="612"/>
                  </a:lnTo>
                  <a:lnTo>
                    <a:pt x="3864" y="600"/>
                  </a:lnTo>
                  <a:lnTo>
                    <a:pt x="3897" y="617"/>
                  </a:lnTo>
                  <a:lnTo>
                    <a:pt x="3843" y="666"/>
                  </a:lnTo>
                  <a:lnTo>
                    <a:pt x="3772" y="655"/>
                  </a:lnTo>
                  <a:lnTo>
                    <a:pt x="3746" y="683"/>
                  </a:lnTo>
                  <a:lnTo>
                    <a:pt x="3746" y="695"/>
                  </a:lnTo>
                  <a:lnTo>
                    <a:pt x="3734" y="711"/>
                  </a:lnTo>
                  <a:lnTo>
                    <a:pt x="3741" y="728"/>
                  </a:lnTo>
                  <a:lnTo>
                    <a:pt x="3725" y="761"/>
                  </a:lnTo>
                  <a:lnTo>
                    <a:pt x="3746" y="740"/>
                  </a:lnTo>
                  <a:lnTo>
                    <a:pt x="3779" y="740"/>
                  </a:lnTo>
                  <a:lnTo>
                    <a:pt x="3772" y="749"/>
                  </a:lnTo>
                  <a:lnTo>
                    <a:pt x="3789" y="761"/>
                  </a:lnTo>
                  <a:lnTo>
                    <a:pt x="3763" y="761"/>
                  </a:lnTo>
                  <a:lnTo>
                    <a:pt x="3772" y="744"/>
                  </a:lnTo>
                  <a:lnTo>
                    <a:pt x="3763" y="744"/>
                  </a:lnTo>
                  <a:lnTo>
                    <a:pt x="3746" y="749"/>
                  </a:lnTo>
                  <a:lnTo>
                    <a:pt x="3746" y="766"/>
                  </a:lnTo>
                  <a:lnTo>
                    <a:pt x="3708" y="778"/>
                  </a:lnTo>
                  <a:lnTo>
                    <a:pt x="3725" y="794"/>
                  </a:lnTo>
                  <a:lnTo>
                    <a:pt x="3720" y="806"/>
                  </a:lnTo>
                  <a:lnTo>
                    <a:pt x="3633" y="815"/>
                  </a:lnTo>
                  <a:lnTo>
                    <a:pt x="3654" y="839"/>
                  </a:lnTo>
                  <a:lnTo>
                    <a:pt x="3616" y="851"/>
                  </a:lnTo>
                  <a:lnTo>
                    <a:pt x="3654" y="851"/>
                  </a:lnTo>
                  <a:lnTo>
                    <a:pt x="3628" y="905"/>
                  </a:lnTo>
                  <a:lnTo>
                    <a:pt x="3628" y="910"/>
                  </a:lnTo>
                  <a:lnTo>
                    <a:pt x="3595" y="926"/>
                  </a:lnTo>
                  <a:lnTo>
                    <a:pt x="3616" y="926"/>
                  </a:lnTo>
                  <a:lnTo>
                    <a:pt x="3595" y="945"/>
                  </a:lnTo>
                  <a:lnTo>
                    <a:pt x="3583" y="962"/>
                  </a:lnTo>
                  <a:lnTo>
                    <a:pt x="3611" y="950"/>
                  </a:lnTo>
                  <a:lnTo>
                    <a:pt x="3578" y="1000"/>
                  </a:lnTo>
                  <a:lnTo>
                    <a:pt x="3616" y="1000"/>
                  </a:lnTo>
                  <a:lnTo>
                    <a:pt x="3595" y="1016"/>
                  </a:lnTo>
                  <a:lnTo>
                    <a:pt x="3611" y="1016"/>
                  </a:lnTo>
                  <a:lnTo>
                    <a:pt x="3616" y="1004"/>
                  </a:lnTo>
                  <a:lnTo>
                    <a:pt x="3628" y="971"/>
                  </a:lnTo>
                  <a:lnTo>
                    <a:pt x="3654" y="945"/>
                  </a:lnTo>
                  <a:lnTo>
                    <a:pt x="3692" y="966"/>
                  </a:lnTo>
                  <a:lnTo>
                    <a:pt x="3772" y="983"/>
                  </a:lnTo>
                  <a:lnTo>
                    <a:pt x="3796" y="1004"/>
                  </a:lnTo>
                  <a:lnTo>
                    <a:pt x="3763" y="1016"/>
                  </a:lnTo>
                  <a:lnTo>
                    <a:pt x="3704" y="988"/>
                  </a:lnTo>
                  <a:lnTo>
                    <a:pt x="3654" y="1000"/>
                  </a:lnTo>
                  <a:lnTo>
                    <a:pt x="3704" y="1016"/>
                  </a:lnTo>
                  <a:lnTo>
                    <a:pt x="3670" y="1016"/>
                  </a:lnTo>
                  <a:lnTo>
                    <a:pt x="3692" y="1021"/>
                  </a:lnTo>
                  <a:lnTo>
                    <a:pt x="3649" y="1016"/>
                  </a:lnTo>
                  <a:lnTo>
                    <a:pt x="3720" y="1028"/>
                  </a:lnTo>
                  <a:lnTo>
                    <a:pt x="3666" y="1037"/>
                  </a:lnTo>
                  <a:lnTo>
                    <a:pt x="3741" y="1037"/>
                  </a:lnTo>
                  <a:lnTo>
                    <a:pt x="3763" y="1054"/>
                  </a:lnTo>
                  <a:lnTo>
                    <a:pt x="3758" y="1061"/>
                  </a:lnTo>
                  <a:lnTo>
                    <a:pt x="3789" y="1073"/>
                  </a:lnTo>
                  <a:lnTo>
                    <a:pt x="3789" y="1054"/>
                  </a:lnTo>
                  <a:lnTo>
                    <a:pt x="3796" y="1044"/>
                  </a:lnTo>
                  <a:lnTo>
                    <a:pt x="3833" y="1044"/>
                  </a:lnTo>
                  <a:lnTo>
                    <a:pt x="3843" y="1061"/>
                  </a:lnTo>
                  <a:lnTo>
                    <a:pt x="3848" y="1111"/>
                  </a:lnTo>
                  <a:lnTo>
                    <a:pt x="3843" y="1132"/>
                  </a:lnTo>
                  <a:lnTo>
                    <a:pt x="3826" y="1132"/>
                  </a:lnTo>
                  <a:lnTo>
                    <a:pt x="3826" y="1139"/>
                  </a:lnTo>
                  <a:lnTo>
                    <a:pt x="3796" y="1127"/>
                  </a:lnTo>
                  <a:lnTo>
                    <a:pt x="3670" y="1099"/>
                  </a:lnTo>
                  <a:lnTo>
                    <a:pt x="3649" y="1111"/>
                  </a:lnTo>
                  <a:lnTo>
                    <a:pt x="3682" y="1111"/>
                  </a:lnTo>
                  <a:lnTo>
                    <a:pt x="3595" y="1115"/>
                  </a:lnTo>
                  <a:lnTo>
                    <a:pt x="3654" y="1127"/>
                  </a:lnTo>
                  <a:lnTo>
                    <a:pt x="3628" y="1132"/>
                  </a:lnTo>
                  <a:lnTo>
                    <a:pt x="3611" y="1155"/>
                  </a:lnTo>
                  <a:lnTo>
                    <a:pt x="3562" y="1127"/>
                  </a:lnTo>
                  <a:lnTo>
                    <a:pt x="3545" y="1127"/>
                  </a:lnTo>
                  <a:lnTo>
                    <a:pt x="3545" y="1139"/>
                  </a:lnTo>
                  <a:lnTo>
                    <a:pt x="3524" y="1148"/>
                  </a:lnTo>
                  <a:lnTo>
                    <a:pt x="3557" y="1172"/>
                  </a:lnTo>
                  <a:lnTo>
                    <a:pt x="3557" y="1165"/>
                  </a:lnTo>
                  <a:lnTo>
                    <a:pt x="3562" y="1155"/>
                  </a:lnTo>
                  <a:lnTo>
                    <a:pt x="3595" y="1165"/>
                  </a:lnTo>
                  <a:lnTo>
                    <a:pt x="3600" y="1172"/>
                  </a:lnTo>
                  <a:lnTo>
                    <a:pt x="3578" y="1184"/>
                  </a:lnTo>
                  <a:lnTo>
                    <a:pt x="3600" y="1184"/>
                  </a:lnTo>
                  <a:lnTo>
                    <a:pt x="3541" y="1184"/>
                  </a:lnTo>
                  <a:lnTo>
                    <a:pt x="3611" y="1189"/>
                  </a:lnTo>
                  <a:lnTo>
                    <a:pt x="3600" y="1210"/>
                  </a:lnTo>
                  <a:lnTo>
                    <a:pt x="3637" y="1205"/>
                  </a:lnTo>
                  <a:lnTo>
                    <a:pt x="3682" y="1226"/>
                  </a:lnTo>
                  <a:lnTo>
                    <a:pt x="3687" y="1226"/>
                  </a:lnTo>
                  <a:lnTo>
                    <a:pt x="3637" y="1205"/>
                  </a:lnTo>
                  <a:lnTo>
                    <a:pt x="3734" y="1222"/>
                  </a:lnTo>
                  <a:lnTo>
                    <a:pt x="3741" y="1226"/>
                  </a:lnTo>
                  <a:lnTo>
                    <a:pt x="3741" y="1243"/>
                  </a:lnTo>
                  <a:lnTo>
                    <a:pt x="3692" y="1250"/>
                  </a:lnTo>
                  <a:lnTo>
                    <a:pt x="3578" y="1250"/>
                  </a:lnTo>
                  <a:lnTo>
                    <a:pt x="3734" y="1259"/>
                  </a:lnTo>
                  <a:lnTo>
                    <a:pt x="3746" y="1283"/>
                  </a:lnTo>
                  <a:lnTo>
                    <a:pt x="3746" y="1300"/>
                  </a:lnTo>
                  <a:lnTo>
                    <a:pt x="3763" y="1316"/>
                  </a:lnTo>
                  <a:lnTo>
                    <a:pt x="3763" y="1337"/>
                  </a:lnTo>
                  <a:lnTo>
                    <a:pt x="3758" y="1370"/>
                  </a:lnTo>
                  <a:lnTo>
                    <a:pt x="3725" y="1377"/>
                  </a:lnTo>
                  <a:lnTo>
                    <a:pt x="3720" y="1370"/>
                  </a:lnTo>
                  <a:lnTo>
                    <a:pt x="3725" y="1354"/>
                  </a:lnTo>
                  <a:lnTo>
                    <a:pt x="3708" y="1349"/>
                  </a:lnTo>
                  <a:lnTo>
                    <a:pt x="3670" y="1354"/>
                  </a:lnTo>
                  <a:lnTo>
                    <a:pt x="3616" y="1316"/>
                  </a:lnTo>
                  <a:lnTo>
                    <a:pt x="3562" y="1300"/>
                  </a:lnTo>
                  <a:lnTo>
                    <a:pt x="3616" y="1333"/>
                  </a:lnTo>
                  <a:lnTo>
                    <a:pt x="3541" y="1316"/>
                  </a:lnTo>
                  <a:lnTo>
                    <a:pt x="3616" y="1333"/>
                  </a:lnTo>
                  <a:lnTo>
                    <a:pt x="3682" y="1377"/>
                  </a:lnTo>
                  <a:lnTo>
                    <a:pt x="3633" y="1377"/>
                  </a:lnTo>
                  <a:lnTo>
                    <a:pt x="3595" y="1406"/>
                  </a:lnTo>
                  <a:lnTo>
                    <a:pt x="3545" y="1370"/>
                  </a:lnTo>
                  <a:lnTo>
                    <a:pt x="3595" y="1406"/>
                  </a:lnTo>
                  <a:lnTo>
                    <a:pt x="3637" y="1387"/>
                  </a:lnTo>
                  <a:lnTo>
                    <a:pt x="3670" y="1387"/>
                  </a:lnTo>
                  <a:lnTo>
                    <a:pt x="3666" y="1415"/>
                  </a:lnTo>
                  <a:lnTo>
                    <a:pt x="3682" y="1432"/>
                  </a:lnTo>
                  <a:lnTo>
                    <a:pt x="3637" y="1444"/>
                  </a:lnTo>
                  <a:lnTo>
                    <a:pt x="3704" y="1444"/>
                  </a:lnTo>
                  <a:lnTo>
                    <a:pt x="3734" y="1460"/>
                  </a:lnTo>
                  <a:lnTo>
                    <a:pt x="3763" y="1444"/>
                  </a:lnTo>
                  <a:lnTo>
                    <a:pt x="3772" y="1448"/>
                  </a:lnTo>
                  <a:lnTo>
                    <a:pt x="3772" y="1465"/>
                  </a:lnTo>
                  <a:lnTo>
                    <a:pt x="3789" y="1472"/>
                  </a:lnTo>
                  <a:lnTo>
                    <a:pt x="3763" y="1498"/>
                  </a:lnTo>
                  <a:lnTo>
                    <a:pt x="3741" y="1505"/>
                  </a:lnTo>
                  <a:lnTo>
                    <a:pt x="3708" y="1498"/>
                  </a:lnTo>
                  <a:lnTo>
                    <a:pt x="3692" y="1472"/>
                  </a:lnTo>
                  <a:lnTo>
                    <a:pt x="3600" y="1472"/>
                  </a:lnTo>
                  <a:lnTo>
                    <a:pt x="3574" y="1448"/>
                  </a:lnTo>
                  <a:lnTo>
                    <a:pt x="3595" y="1481"/>
                  </a:lnTo>
                  <a:lnTo>
                    <a:pt x="3578" y="1489"/>
                  </a:lnTo>
                  <a:lnTo>
                    <a:pt x="3545" y="1498"/>
                  </a:lnTo>
                  <a:lnTo>
                    <a:pt x="3574" y="1498"/>
                  </a:lnTo>
                  <a:lnTo>
                    <a:pt x="3562" y="1514"/>
                  </a:lnTo>
                  <a:lnTo>
                    <a:pt x="3562" y="1522"/>
                  </a:lnTo>
                  <a:lnTo>
                    <a:pt x="3541" y="1526"/>
                  </a:lnTo>
                  <a:lnTo>
                    <a:pt x="3578" y="1538"/>
                  </a:lnTo>
                  <a:lnTo>
                    <a:pt x="3595" y="1559"/>
                  </a:lnTo>
                  <a:lnTo>
                    <a:pt x="3595" y="1583"/>
                  </a:lnTo>
                  <a:lnTo>
                    <a:pt x="3600" y="1576"/>
                  </a:lnTo>
                  <a:lnTo>
                    <a:pt x="3583" y="1538"/>
                  </a:lnTo>
                  <a:lnTo>
                    <a:pt x="3595" y="1526"/>
                  </a:lnTo>
                  <a:lnTo>
                    <a:pt x="3704" y="1555"/>
                  </a:lnTo>
                  <a:lnTo>
                    <a:pt x="3704" y="1571"/>
                  </a:lnTo>
                  <a:lnTo>
                    <a:pt x="3682" y="1576"/>
                  </a:lnTo>
                  <a:lnTo>
                    <a:pt x="3687" y="1583"/>
                  </a:lnTo>
                  <a:lnTo>
                    <a:pt x="3682" y="1600"/>
                  </a:lnTo>
                  <a:lnTo>
                    <a:pt x="3692" y="1600"/>
                  </a:lnTo>
                  <a:lnTo>
                    <a:pt x="3687" y="1616"/>
                  </a:lnTo>
                  <a:lnTo>
                    <a:pt x="3611" y="1609"/>
                  </a:lnTo>
                  <a:lnTo>
                    <a:pt x="3600" y="1626"/>
                  </a:lnTo>
                  <a:lnTo>
                    <a:pt x="3557" y="1637"/>
                  </a:lnTo>
                  <a:lnTo>
                    <a:pt x="3470" y="1616"/>
                  </a:lnTo>
                  <a:lnTo>
                    <a:pt x="3439" y="1592"/>
                  </a:lnTo>
                  <a:lnTo>
                    <a:pt x="3439" y="1576"/>
                  </a:lnTo>
                  <a:lnTo>
                    <a:pt x="3470" y="1576"/>
                  </a:lnTo>
                  <a:lnTo>
                    <a:pt x="3531" y="1600"/>
                  </a:lnTo>
                  <a:lnTo>
                    <a:pt x="3562" y="1592"/>
                  </a:lnTo>
                  <a:lnTo>
                    <a:pt x="3524" y="1600"/>
                  </a:lnTo>
                  <a:lnTo>
                    <a:pt x="3432" y="1559"/>
                  </a:lnTo>
                  <a:lnTo>
                    <a:pt x="3406" y="1576"/>
                  </a:lnTo>
                  <a:lnTo>
                    <a:pt x="3406" y="1600"/>
                  </a:lnTo>
                  <a:lnTo>
                    <a:pt x="3368" y="1592"/>
                  </a:lnTo>
                  <a:lnTo>
                    <a:pt x="3368" y="1576"/>
                  </a:lnTo>
                  <a:lnTo>
                    <a:pt x="3314" y="1543"/>
                  </a:lnTo>
                  <a:lnTo>
                    <a:pt x="3330" y="1571"/>
                  </a:lnTo>
                  <a:lnTo>
                    <a:pt x="3394" y="1609"/>
                  </a:lnTo>
                  <a:lnTo>
                    <a:pt x="3347" y="1616"/>
                  </a:lnTo>
                  <a:lnTo>
                    <a:pt x="3314" y="1637"/>
                  </a:lnTo>
                  <a:lnTo>
                    <a:pt x="3297" y="1637"/>
                  </a:lnTo>
                  <a:lnTo>
                    <a:pt x="3238" y="1633"/>
                  </a:lnTo>
                  <a:lnTo>
                    <a:pt x="3200" y="1609"/>
                  </a:lnTo>
                  <a:lnTo>
                    <a:pt x="3191" y="1616"/>
                  </a:lnTo>
                  <a:lnTo>
                    <a:pt x="3271" y="1637"/>
                  </a:lnTo>
                  <a:lnTo>
                    <a:pt x="3243" y="1654"/>
                  </a:lnTo>
                  <a:lnTo>
                    <a:pt x="3222" y="1649"/>
                  </a:lnTo>
                  <a:lnTo>
                    <a:pt x="3179" y="1654"/>
                  </a:lnTo>
                  <a:lnTo>
                    <a:pt x="3200" y="1666"/>
                  </a:lnTo>
                  <a:lnTo>
                    <a:pt x="3200" y="1682"/>
                  </a:lnTo>
                  <a:lnTo>
                    <a:pt x="3191" y="1687"/>
                  </a:lnTo>
                  <a:lnTo>
                    <a:pt x="3205" y="1682"/>
                  </a:lnTo>
                  <a:lnTo>
                    <a:pt x="3205" y="1666"/>
                  </a:lnTo>
                  <a:lnTo>
                    <a:pt x="3255" y="1666"/>
                  </a:lnTo>
                  <a:lnTo>
                    <a:pt x="3271" y="1649"/>
                  </a:lnTo>
                  <a:lnTo>
                    <a:pt x="3363" y="1666"/>
                  </a:lnTo>
                  <a:lnTo>
                    <a:pt x="3368" y="1682"/>
                  </a:lnTo>
                  <a:lnTo>
                    <a:pt x="3352" y="1687"/>
                  </a:lnTo>
                  <a:lnTo>
                    <a:pt x="3314" y="1687"/>
                  </a:lnTo>
                  <a:lnTo>
                    <a:pt x="3293" y="1703"/>
                  </a:lnTo>
                  <a:lnTo>
                    <a:pt x="3243" y="1694"/>
                  </a:lnTo>
                  <a:lnTo>
                    <a:pt x="3200" y="1694"/>
                  </a:lnTo>
                  <a:lnTo>
                    <a:pt x="3271" y="1711"/>
                  </a:lnTo>
                  <a:lnTo>
                    <a:pt x="3243" y="1720"/>
                  </a:lnTo>
                  <a:lnTo>
                    <a:pt x="3276" y="1711"/>
                  </a:lnTo>
                  <a:lnTo>
                    <a:pt x="3259" y="1737"/>
                  </a:lnTo>
                  <a:lnTo>
                    <a:pt x="3330" y="1703"/>
                  </a:lnTo>
                  <a:lnTo>
                    <a:pt x="3380" y="1711"/>
                  </a:lnTo>
                  <a:lnTo>
                    <a:pt x="3385" y="1720"/>
                  </a:lnTo>
                  <a:lnTo>
                    <a:pt x="3385" y="1737"/>
                  </a:lnTo>
                  <a:lnTo>
                    <a:pt x="3394" y="1744"/>
                  </a:lnTo>
                  <a:lnTo>
                    <a:pt x="3297" y="1760"/>
                  </a:lnTo>
                  <a:lnTo>
                    <a:pt x="3347" y="1760"/>
                  </a:lnTo>
                  <a:lnTo>
                    <a:pt x="3330" y="1798"/>
                  </a:lnTo>
                  <a:lnTo>
                    <a:pt x="3342" y="1793"/>
                  </a:lnTo>
                  <a:lnTo>
                    <a:pt x="3342" y="1777"/>
                  </a:lnTo>
                  <a:lnTo>
                    <a:pt x="3352" y="1765"/>
                  </a:lnTo>
                  <a:lnTo>
                    <a:pt x="3394" y="1760"/>
                  </a:lnTo>
                  <a:lnTo>
                    <a:pt x="3503" y="1810"/>
                  </a:lnTo>
                  <a:lnTo>
                    <a:pt x="3493" y="1814"/>
                  </a:lnTo>
                  <a:lnTo>
                    <a:pt x="3541" y="1831"/>
                  </a:lnTo>
                  <a:lnTo>
                    <a:pt x="3503" y="1864"/>
                  </a:lnTo>
                  <a:lnTo>
                    <a:pt x="3545" y="1838"/>
                  </a:lnTo>
                  <a:lnTo>
                    <a:pt x="3531" y="1864"/>
                  </a:lnTo>
                  <a:lnTo>
                    <a:pt x="3531" y="1871"/>
                  </a:lnTo>
                  <a:lnTo>
                    <a:pt x="3562" y="1848"/>
                  </a:lnTo>
                  <a:lnTo>
                    <a:pt x="3583" y="1848"/>
                  </a:lnTo>
                  <a:lnTo>
                    <a:pt x="3562" y="1864"/>
                  </a:lnTo>
                  <a:lnTo>
                    <a:pt x="3574" y="1871"/>
                  </a:lnTo>
                  <a:lnTo>
                    <a:pt x="3541" y="1871"/>
                  </a:lnTo>
                  <a:lnTo>
                    <a:pt x="3545" y="1909"/>
                  </a:lnTo>
                  <a:lnTo>
                    <a:pt x="3557" y="1909"/>
                  </a:lnTo>
                  <a:lnTo>
                    <a:pt x="3557" y="1888"/>
                  </a:lnTo>
                  <a:lnTo>
                    <a:pt x="3595" y="1876"/>
                  </a:lnTo>
                  <a:lnTo>
                    <a:pt x="3600" y="1892"/>
                  </a:lnTo>
                  <a:lnTo>
                    <a:pt x="3595" y="1904"/>
                  </a:lnTo>
                  <a:lnTo>
                    <a:pt x="3611" y="1904"/>
                  </a:lnTo>
                  <a:lnTo>
                    <a:pt x="3578" y="1909"/>
                  </a:lnTo>
                  <a:lnTo>
                    <a:pt x="3595" y="1909"/>
                  </a:lnTo>
                  <a:lnTo>
                    <a:pt x="3600" y="1926"/>
                  </a:lnTo>
                  <a:lnTo>
                    <a:pt x="3557" y="1942"/>
                  </a:lnTo>
                  <a:lnTo>
                    <a:pt x="3600" y="1933"/>
                  </a:lnTo>
                  <a:lnTo>
                    <a:pt x="3611" y="1949"/>
                  </a:lnTo>
                  <a:lnTo>
                    <a:pt x="3600" y="1975"/>
                  </a:lnTo>
                  <a:lnTo>
                    <a:pt x="3583" y="1975"/>
                  </a:lnTo>
                  <a:lnTo>
                    <a:pt x="3600" y="1975"/>
                  </a:lnTo>
                  <a:lnTo>
                    <a:pt x="3611" y="1982"/>
                  </a:lnTo>
                  <a:lnTo>
                    <a:pt x="3595" y="1982"/>
                  </a:lnTo>
                  <a:lnTo>
                    <a:pt x="3600" y="1987"/>
                  </a:lnTo>
                  <a:lnTo>
                    <a:pt x="3595" y="2003"/>
                  </a:lnTo>
                  <a:lnTo>
                    <a:pt x="3616" y="2003"/>
                  </a:lnTo>
                  <a:lnTo>
                    <a:pt x="3578" y="2032"/>
                  </a:lnTo>
                  <a:lnTo>
                    <a:pt x="3583" y="2015"/>
                  </a:lnTo>
                  <a:lnTo>
                    <a:pt x="3578" y="2015"/>
                  </a:lnTo>
                  <a:lnTo>
                    <a:pt x="3557" y="2020"/>
                  </a:lnTo>
                  <a:lnTo>
                    <a:pt x="3545" y="1987"/>
                  </a:lnTo>
                  <a:lnTo>
                    <a:pt x="3545" y="1966"/>
                  </a:lnTo>
                  <a:lnTo>
                    <a:pt x="3541" y="1966"/>
                  </a:lnTo>
                  <a:lnTo>
                    <a:pt x="3531" y="1982"/>
                  </a:lnTo>
                  <a:lnTo>
                    <a:pt x="3541" y="2003"/>
                  </a:lnTo>
                  <a:lnTo>
                    <a:pt x="3531" y="2020"/>
                  </a:lnTo>
                  <a:lnTo>
                    <a:pt x="3486" y="2020"/>
                  </a:lnTo>
                  <a:lnTo>
                    <a:pt x="3439" y="1987"/>
                  </a:lnTo>
                  <a:lnTo>
                    <a:pt x="3422" y="1975"/>
                  </a:lnTo>
                  <a:lnTo>
                    <a:pt x="3422" y="1942"/>
                  </a:lnTo>
                  <a:lnTo>
                    <a:pt x="3385" y="1904"/>
                  </a:lnTo>
                  <a:lnTo>
                    <a:pt x="3363" y="1909"/>
                  </a:lnTo>
                  <a:lnTo>
                    <a:pt x="3326" y="1876"/>
                  </a:lnTo>
                  <a:lnTo>
                    <a:pt x="3233" y="1871"/>
                  </a:lnTo>
                  <a:lnTo>
                    <a:pt x="3179" y="1822"/>
                  </a:lnTo>
                  <a:lnTo>
                    <a:pt x="3115" y="1798"/>
                  </a:lnTo>
                  <a:lnTo>
                    <a:pt x="3108" y="1798"/>
                  </a:lnTo>
                  <a:lnTo>
                    <a:pt x="3130" y="1814"/>
                  </a:lnTo>
                  <a:lnTo>
                    <a:pt x="3125" y="1822"/>
                  </a:lnTo>
                  <a:lnTo>
                    <a:pt x="3167" y="1831"/>
                  </a:lnTo>
                  <a:lnTo>
                    <a:pt x="3205" y="1855"/>
                  </a:lnTo>
                  <a:lnTo>
                    <a:pt x="3200" y="1864"/>
                  </a:lnTo>
                  <a:lnTo>
                    <a:pt x="3125" y="1871"/>
                  </a:lnTo>
                  <a:lnTo>
                    <a:pt x="3200" y="1871"/>
                  </a:lnTo>
                  <a:lnTo>
                    <a:pt x="3217" y="1871"/>
                  </a:lnTo>
                  <a:lnTo>
                    <a:pt x="3205" y="1876"/>
                  </a:lnTo>
                  <a:lnTo>
                    <a:pt x="3205" y="1888"/>
                  </a:lnTo>
                  <a:lnTo>
                    <a:pt x="3309" y="1876"/>
                  </a:lnTo>
                  <a:lnTo>
                    <a:pt x="3342" y="1904"/>
                  </a:lnTo>
                  <a:lnTo>
                    <a:pt x="3330" y="1921"/>
                  </a:lnTo>
                  <a:lnTo>
                    <a:pt x="3314" y="1909"/>
                  </a:lnTo>
                  <a:lnTo>
                    <a:pt x="3326" y="1926"/>
                  </a:lnTo>
                  <a:lnTo>
                    <a:pt x="3259" y="1949"/>
                  </a:lnTo>
                  <a:lnTo>
                    <a:pt x="3191" y="1959"/>
                  </a:lnTo>
                  <a:lnTo>
                    <a:pt x="3167" y="1926"/>
                  </a:lnTo>
                  <a:lnTo>
                    <a:pt x="3163" y="1926"/>
                  </a:lnTo>
                  <a:lnTo>
                    <a:pt x="3184" y="1949"/>
                  </a:lnTo>
                  <a:lnTo>
                    <a:pt x="3130" y="1949"/>
                  </a:lnTo>
                  <a:lnTo>
                    <a:pt x="3163" y="1966"/>
                  </a:lnTo>
                  <a:lnTo>
                    <a:pt x="3137" y="2003"/>
                  </a:lnTo>
                  <a:lnTo>
                    <a:pt x="3070" y="2015"/>
                  </a:lnTo>
                  <a:lnTo>
                    <a:pt x="3070" y="2032"/>
                  </a:lnTo>
                  <a:lnTo>
                    <a:pt x="3137" y="2015"/>
                  </a:lnTo>
                  <a:lnTo>
                    <a:pt x="3130" y="2020"/>
                  </a:lnTo>
                  <a:lnTo>
                    <a:pt x="3137" y="2032"/>
                  </a:lnTo>
                  <a:lnTo>
                    <a:pt x="3243" y="2015"/>
                  </a:lnTo>
                  <a:lnTo>
                    <a:pt x="3276" y="2032"/>
                  </a:lnTo>
                  <a:lnTo>
                    <a:pt x="3243" y="2037"/>
                  </a:lnTo>
                  <a:lnTo>
                    <a:pt x="3233" y="2037"/>
                  </a:lnTo>
                  <a:lnTo>
                    <a:pt x="3167" y="2070"/>
                  </a:lnTo>
                  <a:lnTo>
                    <a:pt x="3115" y="2060"/>
                  </a:lnTo>
                  <a:lnTo>
                    <a:pt x="3125" y="2070"/>
                  </a:lnTo>
                  <a:lnTo>
                    <a:pt x="3191" y="2070"/>
                  </a:lnTo>
                  <a:lnTo>
                    <a:pt x="3191" y="2086"/>
                  </a:lnTo>
                  <a:lnTo>
                    <a:pt x="3200" y="2086"/>
                  </a:lnTo>
                  <a:lnTo>
                    <a:pt x="3217" y="2053"/>
                  </a:lnTo>
                  <a:lnTo>
                    <a:pt x="3233" y="2044"/>
                  </a:lnTo>
                  <a:lnTo>
                    <a:pt x="3276" y="2053"/>
                  </a:lnTo>
                  <a:lnTo>
                    <a:pt x="3352" y="2020"/>
                  </a:lnTo>
                  <a:lnTo>
                    <a:pt x="3347" y="2037"/>
                  </a:lnTo>
                  <a:lnTo>
                    <a:pt x="3363" y="2032"/>
                  </a:lnTo>
                  <a:lnTo>
                    <a:pt x="3470" y="2060"/>
                  </a:lnTo>
                  <a:lnTo>
                    <a:pt x="3574" y="2060"/>
                  </a:lnTo>
                  <a:lnTo>
                    <a:pt x="3557" y="2077"/>
                  </a:lnTo>
                  <a:lnTo>
                    <a:pt x="3486" y="2093"/>
                  </a:lnTo>
                  <a:lnTo>
                    <a:pt x="3519" y="2098"/>
                  </a:lnTo>
                  <a:lnTo>
                    <a:pt x="3507" y="2110"/>
                  </a:lnTo>
                  <a:lnTo>
                    <a:pt x="3486" y="2093"/>
                  </a:lnTo>
                  <a:lnTo>
                    <a:pt x="3493" y="2110"/>
                  </a:lnTo>
                  <a:lnTo>
                    <a:pt x="3439" y="2110"/>
                  </a:lnTo>
                  <a:lnTo>
                    <a:pt x="3470" y="2126"/>
                  </a:lnTo>
                  <a:lnTo>
                    <a:pt x="3448" y="2143"/>
                  </a:lnTo>
                  <a:lnTo>
                    <a:pt x="3418" y="2126"/>
                  </a:lnTo>
                  <a:lnTo>
                    <a:pt x="3432" y="2143"/>
                  </a:lnTo>
                  <a:lnTo>
                    <a:pt x="3406" y="2155"/>
                  </a:lnTo>
                  <a:lnTo>
                    <a:pt x="3394" y="2155"/>
                  </a:lnTo>
                  <a:lnTo>
                    <a:pt x="3394" y="2171"/>
                  </a:lnTo>
                  <a:lnTo>
                    <a:pt x="3352" y="2171"/>
                  </a:lnTo>
                  <a:lnTo>
                    <a:pt x="3347" y="2171"/>
                  </a:lnTo>
                  <a:lnTo>
                    <a:pt x="3368" y="2188"/>
                  </a:lnTo>
                  <a:lnTo>
                    <a:pt x="3347" y="2204"/>
                  </a:lnTo>
                  <a:lnTo>
                    <a:pt x="3326" y="2197"/>
                  </a:lnTo>
                  <a:lnTo>
                    <a:pt x="3342" y="2209"/>
                  </a:lnTo>
                  <a:lnTo>
                    <a:pt x="3314" y="2209"/>
                  </a:lnTo>
                  <a:lnTo>
                    <a:pt x="3326" y="2221"/>
                  </a:lnTo>
                  <a:lnTo>
                    <a:pt x="3271" y="2242"/>
                  </a:lnTo>
                  <a:lnTo>
                    <a:pt x="3200" y="2259"/>
                  </a:lnTo>
                  <a:lnTo>
                    <a:pt x="3205" y="2259"/>
                  </a:lnTo>
                  <a:lnTo>
                    <a:pt x="3184" y="2259"/>
                  </a:lnTo>
                  <a:lnTo>
                    <a:pt x="3179" y="2266"/>
                  </a:lnTo>
                  <a:lnTo>
                    <a:pt x="3184" y="2266"/>
                  </a:lnTo>
                  <a:lnTo>
                    <a:pt x="3153" y="2259"/>
                  </a:lnTo>
                  <a:lnTo>
                    <a:pt x="3153" y="2275"/>
                  </a:lnTo>
                  <a:lnTo>
                    <a:pt x="3125" y="2275"/>
                  </a:lnTo>
                  <a:lnTo>
                    <a:pt x="3099" y="2292"/>
                  </a:lnTo>
                  <a:lnTo>
                    <a:pt x="3078" y="2282"/>
                  </a:lnTo>
                  <a:lnTo>
                    <a:pt x="3078" y="2292"/>
                  </a:lnTo>
                  <a:lnTo>
                    <a:pt x="3061" y="2292"/>
                  </a:lnTo>
                  <a:lnTo>
                    <a:pt x="3061" y="2308"/>
                  </a:lnTo>
                  <a:lnTo>
                    <a:pt x="3028" y="2292"/>
                  </a:lnTo>
                  <a:lnTo>
                    <a:pt x="3028" y="2275"/>
                  </a:lnTo>
                  <a:lnTo>
                    <a:pt x="3002" y="2299"/>
                  </a:lnTo>
                  <a:lnTo>
                    <a:pt x="3016" y="2315"/>
                  </a:lnTo>
                  <a:lnTo>
                    <a:pt x="2990" y="2315"/>
                  </a:lnTo>
                  <a:lnTo>
                    <a:pt x="2990" y="2308"/>
                  </a:lnTo>
                  <a:lnTo>
                    <a:pt x="2969" y="2299"/>
                  </a:lnTo>
                  <a:lnTo>
                    <a:pt x="2964" y="2299"/>
                  </a:lnTo>
                  <a:lnTo>
                    <a:pt x="2985" y="2308"/>
                  </a:lnTo>
                  <a:lnTo>
                    <a:pt x="2985" y="2320"/>
                  </a:lnTo>
                  <a:lnTo>
                    <a:pt x="2948" y="2320"/>
                  </a:lnTo>
                  <a:lnTo>
                    <a:pt x="2915" y="2315"/>
                  </a:lnTo>
                  <a:lnTo>
                    <a:pt x="2919" y="2308"/>
                  </a:lnTo>
                  <a:lnTo>
                    <a:pt x="2910" y="2320"/>
                  </a:lnTo>
                  <a:lnTo>
                    <a:pt x="2898" y="2315"/>
                  </a:lnTo>
                  <a:lnTo>
                    <a:pt x="2893" y="2308"/>
                  </a:lnTo>
                  <a:lnTo>
                    <a:pt x="2910" y="2299"/>
                  </a:lnTo>
                  <a:lnTo>
                    <a:pt x="2877" y="2299"/>
                  </a:lnTo>
                  <a:lnTo>
                    <a:pt x="2844" y="2254"/>
                  </a:lnTo>
                  <a:lnTo>
                    <a:pt x="2844" y="2266"/>
                  </a:lnTo>
                  <a:lnTo>
                    <a:pt x="2839" y="2266"/>
                  </a:lnTo>
                  <a:lnTo>
                    <a:pt x="2839" y="2275"/>
                  </a:lnTo>
                  <a:lnTo>
                    <a:pt x="2860" y="2292"/>
                  </a:lnTo>
                  <a:lnTo>
                    <a:pt x="2865" y="2308"/>
                  </a:lnTo>
                  <a:lnTo>
                    <a:pt x="2844" y="2308"/>
                  </a:lnTo>
                  <a:lnTo>
                    <a:pt x="2877" y="2315"/>
                  </a:lnTo>
                  <a:lnTo>
                    <a:pt x="2865" y="2348"/>
                  </a:lnTo>
                  <a:lnTo>
                    <a:pt x="2839" y="2348"/>
                  </a:lnTo>
                  <a:lnTo>
                    <a:pt x="2822" y="2365"/>
                  </a:lnTo>
                  <a:lnTo>
                    <a:pt x="2789" y="2370"/>
                  </a:lnTo>
                  <a:lnTo>
                    <a:pt x="2806" y="2377"/>
                  </a:lnTo>
                  <a:lnTo>
                    <a:pt x="2789" y="2386"/>
                  </a:lnTo>
                  <a:lnTo>
                    <a:pt x="2789" y="2403"/>
                  </a:lnTo>
                  <a:lnTo>
                    <a:pt x="2768" y="2410"/>
                  </a:lnTo>
                  <a:lnTo>
                    <a:pt x="2785" y="2426"/>
                  </a:lnTo>
                  <a:lnTo>
                    <a:pt x="2752" y="2459"/>
                  </a:lnTo>
                  <a:lnTo>
                    <a:pt x="2737" y="2448"/>
                  </a:lnTo>
                  <a:lnTo>
                    <a:pt x="2730" y="2481"/>
                  </a:lnTo>
                  <a:lnTo>
                    <a:pt x="2714" y="2504"/>
                  </a:lnTo>
                  <a:lnTo>
                    <a:pt x="2704" y="2497"/>
                  </a:lnTo>
                  <a:lnTo>
                    <a:pt x="2704" y="2481"/>
                  </a:lnTo>
                  <a:lnTo>
                    <a:pt x="2704" y="2497"/>
                  </a:lnTo>
                  <a:lnTo>
                    <a:pt x="2704" y="2504"/>
                  </a:lnTo>
                  <a:lnTo>
                    <a:pt x="2683" y="2530"/>
                  </a:lnTo>
                  <a:lnTo>
                    <a:pt x="2667" y="2537"/>
                  </a:lnTo>
                  <a:lnTo>
                    <a:pt x="2662" y="2530"/>
                  </a:lnTo>
                  <a:lnTo>
                    <a:pt x="2662" y="2521"/>
                  </a:lnTo>
                  <a:lnTo>
                    <a:pt x="2650" y="2537"/>
                  </a:lnTo>
                  <a:lnTo>
                    <a:pt x="2662" y="2542"/>
                  </a:lnTo>
                  <a:lnTo>
                    <a:pt x="2650" y="2542"/>
                  </a:lnTo>
                  <a:lnTo>
                    <a:pt x="2607" y="2521"/>
                  </a:lnTo>
                  <a:lnTo>
                    <a:pt x="2629" y="2542"/>
                  </a:lnTo>
                  <a:lnTo>
                    <a:pt x="2624" y="2542"/>
                  </a:lnTo>
                  <a:lnTo>
                    <a:pt x="2624" y="2559"/>
                  </a:lnTo>
                  <a:lnTo>
                    <a:pt x="2574" y="2587"/>
                  </a:lnTo>
                  <a:lnTo>
                    <a:pt x="2570" y="2575"/>
                  </a:lnTo>
                  <a:lnTo>
                    <a:pt x="2574" y="2559"/>
                  </a:lnTo>
                  <a:lnTo>
                    <a:pt x="2558" y="2559"/>
                  </a:lnTo>
                  <a:lnTo>
                    <a:pt x="2558" y="2570"/>
                  </a:lnTo>
                  <a:lnTo>
                    <a:pt x="2558" y="2575"/>
                  </a:lnTo>
                  <a:lnTo>
                    <a:pt x="2532" y="2592"/>
                  </a:lnTo>
                  <a:lnTo>
                    <a:pt x="2520" y="2575"/>
                  </a:lnTo>
                  <a:lnTo>
                    <a:pt x="2520" y="2570"/>
                  </a:lnTo>
                  <a:lnTo>
                    <a:pt x="2515" y="2570"/>
                  </a:lnTo>
                  <a:lnTo>
                    <a:pt x="2520" y="2592"/>
                  </a:lnTo>
                  <a:lnTo>
                    <a:pt x="2515" y="2599"/>
                  </a:lnTo>
                  <a:lnTo>
                    <a:pt x="2478" y="2587"/>
                  </a:lnTo>
                  <a:lnTo>
                    <a:pt x="2466" y="2570"/>
                  </a:lnTo>
                  <a:lnTo>
                    <a:pt x="2515" y="2530"/>
                  </a:lnTo>
                  <a:lnTo>
                    <a:pt x="2449" y="2530"/>
                  </a:lnTo>
                  <a:lnTo>
                    <a:pt x="2445" y="2530"/>
                  </a:lnTo>
                  <a:lnTo>
                    <a:pt x="2478" y="2542"/>
                  </a:lnTo>
                  <a:lnTo>
                    <a:pt x="2461" y="2542"/>
                  </a:lnTo>
                  <a:lnTo>
                    <a:pt x="2466" y="2554"/>
                  </a:lnTo>
                  <a:lnTo>
                    <a:pt x="2449" y="2559"/>
                  </a:lnTo>
                  <a:lnTo>
                    <a:pt x="2461" y="2575"/>
                  </a:lnTo>
                  <a:lnTo>
                    <a:pt x="2449" y="2587"/>
                  </a:lnTo>
                  <a:lnTo>
                    <a:pt x="2445" y="2575"/>
                  </a:lnTo>
                  <a:lnTo>
                    <a:pt x="2445" y="2587"/>
                  </a:lnTo>
                  <a:lnTo>
                    <a:pt x="2435" y="2587"/>
                  </a:lnTo>
                  <a:lnTo>
                    <a:pt x="2423" y="2570"/>
                  </a:lnTo>
                  <a:lnTo>
                    <a:pt x="2423" y="2587"/>
                  </a:lnTo>
                  <a:lnTo>
                    <a:pt x="2449" y="2592"/>
                  </a:lnTo>
                  <a:lnTo>
                    <a:pt x="2435" y="2615"/>
                  </a:lnTo>
                  <a:lnTo>
                    <a:pt x="2407" y="2608"/>
                  </a:lnTo>
                  <a:lnTo>
                    <a:pt x="2411" y="2625"/>
                  </a:lnTo>
                  <a:lnTo>
                    <a:pt x="2381" y="2625"/>
                  </a:lnTo>
                  <a:lnTo>
                    <a:pt x="2359" y="2608"/>
                  </a:lnTo>
                  <a:lnTo>
                    <a:pt x="2374" y="2625"/>
                  </a:lnTo>
                  <a:lnTo>
                    <a:pt x="2359" y="2632"/>
                  </a:lnTo>
                  <a:lnTo>
                    <a:pt x="2336" y="2608"/>
                  </a:lnTo>
                  <a:lnTo>
                    <a:pt x="2326" y="2625"/>
                  </a:lnTo>
                  <a:lnTo>
                    <a:pt x="2326" y="2632"/>
                  </a:lnTo>
                  <a:lnTo>
                    <a:pt x="2305" y="2625"/>
                  </a:lnTo>
                  <a:lnTo>
                    <a:pt x="2298" y="2632"/>
                  </a:lnTo>
                  <a:lnTo>
                    <a:pt x="2326" y="2641"/>
                  </a:lnTo>
                  <a:lnTo>
                    <a:pt x="2322" y="2648"/>
                  </a:lnTo>
                  <a:lnTo>
                    <a:pt x="2336" y="2665"/>
                  </a:lnTo>
                  <a:lnTo>
                    <a:pt x="2298" y="2686"/>
                  </a:lnTo>
                  <a:lnTo>
                    <a:pt x="2272" y="2670"/>
                  </a:lnTo>
                  <a:lnTo>
                    <a:pt x="2267" y="2686"/>
                  </a:lnTo>
                  <a:lnTo>
                    <a:pt x="2246" y="2681"/>
                  </a:lnTo>
                  <a:lnTo>
                    <a:pt x="2234" y="2698"/>
                  </a:lnTo>
                  <a:lnTo>
                    <a:pt x="2272" y="2726"/>
                  </a:lnTo>
                  <a:lnTo>
                    <a:pt x="2272" y="2752"/>
                  </a:lnTo>
                  <a:lnTo>
                    <a:pt x="2289" y="2764"/>
                  </a:lnTo>
                  <a:lnTo>
                    <a:pt x="2260" y="2764"/>
                  </a:lnTo>
                  <a:lnTo>
                    <a:pt x="2208" y="2776"/>
                  </a:lnTo>
                  <a:lnTo>
                    <a:pt x="2218" y="2792"/>
                  </a:lnTo>
                  <a:lnTo>
                    <a:pt x="2272" y="2797"/>
                  </a:lnTo>
                  <a:lnTo>
                    <a:pt x="2260" y="2814"/>
                  </a:lnTo>
                  <a:lnTo>
                    <a:pt x="2272" y="2814"/>
                  </a:lnTo>
                  <a:lnTo>
                    <a:pt x="2284" y="2837"/>
                  </a:lnTo>
                  <a:lnTo>
                    <a:pt x="2251" y="2837"/>
                  </a:lnTo>
                  <a:lnTo>
                    <a:pt x="2213" y="2821"/>
                  </a:lnTo>
                  <a:lnTo>
                    <a:pt x="2208" y="2830"/>
                  </a:lnTo>
                  <a:lnTo>
                    <a:pt x="2251" y="2847"/>
                  </a:lnTo>
                  <a:lnTo>
                    <a:pt x="2267" y="2863"/>
                  </a:lnTo>
                  <a:lnTo>
                    <a:pt x="2246" y="2863"/>
                  </a:lnTo>
                  <a:lnTo>
                    <a:pt x="2246" y="2870"/>
                  </a:lnTo>
                  <a:lnTo>
                    <a:pt x="2234" y="2863"/>
                  </a:lnTo>
                  <a:lnTo>
                    <a:pt x="2246" y="2875"/>
                  </a:lnTo>
                  <a:lnTo>
                    <a:pt x="2234" y="2875"/>
                  </a:lnTo>
                  <a:lnTo>
                    <a:pt x="2218" y="2863"/>
                  </a:lnTo>
                  <a:lnTo>
                    <a:pt x="2230" y="2875"/>
                  </a:lnTo>
                  <a:lnTo>
                    <a:pt x="2208" y="2863"/>
                  </a:lnTo>
                  <a:lnTo>
                    <a:pt x="2234" y="2887"/>
                  </a:lnTo>
                  <a:lnTo>
                    <a:pt x="2196" y="2863"/>
                  </a:lnTo>
                  <a:lnTo>
                    <a:pt x="2180" y="2870"/>
                  </a:lnTo>
                  <a:lnTo>
                    <a:pt x="2213" y="2908"/>
                  </a:lnTo>
                  <a:lnTo>
                    <a:pt x="2208" y="2908"/>
                  </a:lnTo>
                  <a:lnTo>
                    <a:pt x="2175" y="2892"/>
                  </a:lnTo>
                  <a:lnTo>
                    <a:pt x="2208" y="2920"/>
                  </a:lnTo>
                  <a:lnTo>
                    <a:pt x="2196" y="2920"/>
                  </a:lnTo>
                  <a:lnTo>
                    <a:pt x="2163" y="2903"/>
                  </a:lnTo>
                  <a:lnTo>
                    <a:pt x="2175" y="2920"/>
                  </a:lnTo>
                  <a:lnTo>
                    <a:pt x="2208" y="2925"/>
                  </a:lnTo>
                  <a:lnTo>
                    <a:pt x="2192" y="2941"/>
                  </a:lnTo>
                  <a:lnTo>
                    <a:pt x="2154" y="2941"/>
                  </a:lnTo>
                  <a:lnTo>
                    <a:pt x="2154" y="2925"/>
                  </a:lnTo>
                  <a:lnTo>
                    <a:pt x="2142" y="2932"/>
                  </a:lnTo>
                  <a:lnTo>
                    <a:pt x="2142" y="2941"/>
                  </a:lnTo>
                  <a:lnTo>
                    <a:pt x="2137" y="2948"/>
                  </a:lnTo>
                  <a:lnTo>
                    <a:pt x="2100" y="2948"/>
                  </a:lnTo>
                  <a:lnTo>
                    <a:pt x="2100" y="2958"/>
                  </a:lnTo>
                  <a:lnTo>
                    <a:pt x="2154" y="2974"/>
                  </a:lnTo>
                  <a:lnTo>
                    <a:pt x="2154" y="2981"/>
                  </a:lnTo>
                  <a:lnTo>
                    <a:pt x="2137" y="2981"/>
                  </a:lnTo>
                  <a:lnTo>
                    <a:pt x="2163" y="2986"/>
                  </a:lnTo>
                  <a:lnTo>
                    <a:pt x="2104" y="2974"/>
                  </a:lnTo>
                  <a:lnTo>
                    <a:pt x="2159" y="3003"/>
                  </a:lnTo>
                  <a:lnTo>
                    <a:pt x="2154" y="3019"/>
                  </a:lnTo>
                  <a:lnTo>
                    <a:pt x="2137" y="3036"/>
                  </a:lnTo>
                  <a:lnTo>
                    <a:pt x="2163" y="3036"/>
                  </a:lnTo>
                  <a:lnTo>
                    <a:pt x="2159" y="3043"/>
                  </a:lnTo>
                  <a:lnTo>
                    <a:pt x="2142" y="3043"/>
                  </a:lnTo>
                  <a:lnTo>
                    <a:pt x="2159" y="3052"/>
                  </a:lnTo>
                  <a:lnTo>
                    <a:pt x="2154" y="3059"/>
                  </a:lnTo>
                  <a:lnTo>
                    <a:pt x="2109" y="3059"/>
                  </a:lnTo>
                  <a:lnTo>
                    <a:pt x="2154" y="3076"/>
                  </a:lnTo>
                  <a:lnTo>
                    <a:pt x="2142" y="3085"/>
                  </a:lnTo>
                  <a:lnTo>
                    <a:pt x="2100" y="3076"/>
                  </a:lnTo>
                  <a:lnTo>
                    <a:pt x="2137" y="3085"/>
                  </a:lnTo>
                  <a:lnTo>
                    <a:pt x="2142" y="3097"/>
                  </a:lnTo>
                  <a:lnTo>
                    <a:pt x="2142" y="3109"/>
                  </a:lnTo>
                  <a:lnTo>
                    <a:pt x="2126" y="3114"/>
                  </a:lnTo>
                  <a:lnTo>
                    <a:pt x="2088" y="3109"/>
                  </a:lnTo>
                  <a:lnTo>
                    <a:pt x="2126" y="3114"/>
                  </a:lnTo>
                  <a:lnTo>
                    <a:pt x="2137" y="3125"/>
                  </a:lnTo>
                  <a:lnTo>
                    <a:pt x="2100" y="3125"/>
                  </a:lnTo>
                  <a:lnTo>
                    <a:pt x="2126" y="3130"/>
                  </a:lnTo>
                  <a:lnTo>
                    <a:pt x="2067" y="3130"/>
                  </a:lnTo>
                  <a:lnTo>
                    <a:pt x="2126" y="3142"/>
                  </a:lnTo>
                  <a:lnTo>
                    <a:pt x="2126" y="3147"/>
                  </a:lnTo>
                  <a:lnTo>
                    <a:pt x="2104" y="3154"/>
                  </a:lnTo>
                  <a:lnTo>
                    <a:pt x="2071" y="3147"/>
                  </a:lnTo>
                  <a:lnTo>
                    <a:pt x="2121" y="3163"/>
                  </a:lnTo>
                  <a:lnTo>
                    <a:pt x="2067" y="3163"/>
                  </a:lnTo>
                  <a:lnTo>
                    <a:pt x="2121" y="3170"/>
                  </a:lnTo>
                  <a:lnTo>
                    <a:pt x="2100" y="3180"/>
                  </a:lnTo>
                  <a:lnTo>
                    <a:pt x="2121" y="3180"/>
                  </a:lnTo>
                  <a:lnTo>
                    <a:pt x="2109" y="3187"/>
                  </a:lnTo>
                  <a:lnTo>
                    <a:pt x="2121" y="3187"/>
                  </a:lnTo>
                  <a:lnTo>
                    <a:pt x="2100" y="3196"/>
                  </a:lnTo>
                  <a:lnTo>
                    <a:pt x="2083" y="3196"/>
                  </a:lnTo>
                  <a:lnTo>
                    <a:pt x="2100" y="3203"/>
                  </a:lnTo>
                  <a:lnTo>
                    <a:pt x="2088" y="3203"/>
                  </a:lnTo>
                  <a:lnTo>
                    <a:pt x="2067" y="3196"/>
                  </a:lnTo>
                  <a:lnTo>
                    <a:pt x="2057" y="3170"/>
                  </a:lnTo>
                  <a:lnTo>
                    <a:pt x="2057" y="3196"/>
                  </a:lnTo>
                  <a:lnTo>
                    <a:pt x="2019" y="3187"/>
                  </a:lnTo>
                  <a:lnTo>
                    <a:pt x="2083" y="3203"/>
                  </a:lnTo>
                  <a:lnTo>
                    <a:pt x="2067" y="3220"/>
                  </a:lnTo>
                  <a:lnTo>
                    <a:pt x="2100" y="3208"/>
                  </a:lnTo>
                  <a:lnTo>
                    <a:pt x="2100" y="3225"/>
                  </a:lnTo>
                  <a:lnTo>
                    <a:pt x="2083" y="3225"/>
                  </a:lnTo>
                  <a:lnTo>
                    <a:pt x="2100" y="3225"/>
                  </a:lnTo>
                  <a:lnTo>
                    <a:pt x="2100" y="3241"/>
                  </a:lnTo>
                  <a:lnTo>
                    <a:pt x="2029" y="3236"/>
                  </a:lnTo>
                  <a:lnTo>
                    <a:pt x="2033" y="3220"/>
                  </a:lnTo>
                  <a:lnTo>
                    <a:pt x="2029" y="3208"/>
                  </a:lnTo>
                  <a:lnTo>
                    <a:pt x="2029" y="3220"/>
                  </a:lnTo>
                  <a:lnTo>
                    <a:pt x="2003" y="3236"/>
                  </a:lnTo>
                  <a:lnTo>
                    <a:pt x="1991" y="3253"/>
                  </a:lnTo>
                  <a:lnTo>
                    <a:pt x="1948" y="3241"/>
                  </a:lnTo>
                  <a:lnTo>
                    <a:pt x="1958" y="3236"/>
                  </a:lnTo>
                  <a:lnTo>
                    <a:pt x="1974" y="3236"/>
                  </a:lnTo>
                  <a:lnTo>
                    <a:pt x="2003" y="3196"/>
                  </a:lnTo>
                  <a:lnTo>
                    <a:pt x="1974" y="3225"/>
                  </a:lnTo>
                  <a:lnTo>
                    <a:pt x="1948" y="3236"/>
                  </a:lnTo>
                  <a:lnTo>
                    <a:pt x="1991" y="3170"/>
                  </a:lnTo>
                  <a:lnTo>
                    <a:pt x="1948" y="3203"/>
                  </a:lnTo>
                  <a:lnTo>
                    <a:pt x="1944" y="3196"/>
                  </a:lnTo>
                  <a:lnTo>
                    <a:pt x="1958" y="3180"/>
                  </a:lnTo>
                  <a:lnTo>
                    <a:pt x="1927" y="3203"/>
                  </a:lnTo>
                  <a:lnTo>
                    <a:pt x="1944" y="3180"/>
                  </a:lnTo>
                  <a:lnTo>
                    <a:pt x="1927" y="3203"/>
                  </a:lnTo>
                  <a:lnTo>
                    <a:pt x="1911" y="3187"/>
                  </a:lnTo>
                  <a:lnTo>
                    <a:pt x="1920" y="3187"/>
                  </a:lnTo>
                  <a:lnTo>
                    <a:pt x="1894" y="3187"/>
                  </a:lnTo>
                  <a:lnTo>
                    <a:pt x="1920" y="3180"/>
                  </a:lnTo>
                  <a:lnTo>
                    <a:pt x="1906" y="3180"/>
                  </a:lnTo>
                  <a:lnTo>
                    <a:pt x="1948" y="3154"/>
                  </a:lnTo>
                  <a:lnTo>
                    <a:pt x="1937" y="3142"/>
                  </a:lnTo>
                  <a:lnTo>
                    <a:pt x="1920" y="3170"/>
                  </a:lnTo>
                  <a:lnTo>
                    <a:pt x="1906" y="3170"/>
                  </a:lnTo>
                  <a:lnTo>
                    <a:pt x="1911" y="3163"/>
                  </a:lnTo>
                  <a:lnTo>
                    <a:pt x="1906" y="3163"/>
                  </a:lnTo>
                  <a:lnTo>
                    <a:pt x="1889" y="3170"/>
                  </a:lnTo>
                  <a:lnTo>
                    <a:pt x="1882" y="3170"/>
                  </a:lnTo>
                  <a:lnTo>
                    <a:pt x="1894" y="3154"/>
                  </a:lnTo>
                  <a:lnTo>
                    <a:pt x="1927" y="3147"/>
                  </a:lnTo>
                  <a:lnTo>
                    <a:pt x="1948" y="3125"/>
                  </a:lnTo>
                  <a:lnTo>
                    <a:pt x="1937" y="3130"/>
                  </a:lnTo>
                  <a:lnTo>
                    <a:pt x="1927" y="3114"/>
                  </a:lnTo>
                  <a:lnTo>
                    <a:pt x="1927" y="3130"/>
                  </a:lnTo>
                  <a:lnTo>
                    <a:pt x="1920" y="3142"/>
                  </a:lnTo>
                  <a:lnTo>
                    <a:pt x="1889" y="3154"/>
                  </a:lnTo>
                  <a:lnTo>
                    <a:pt x="1889" y="3147"/>
                  </a:lnTo>
                  <a:lnTo>
                    <a:pt x="1920" y="3130"/>
                  </a:lnTo>
                  <a:lnTo>
                    <a:pt x="1906" y="3114"/>
                  </a:lnTo>
                  <a:lnTo>
                    <a:pt x="1911" y="3109"/>
                  </a:lnTo>
                  <a:lnTo>
                    <a:pt x="1894" y="3114"/>
                  </a:lnTo>
                  <a:lnTo>
                    <a:pt x="1906" y="3125"/>
                  </a:lnTo>
                  <a:lnTo>
                    <a:pt x="1906" y="3130"/>
                  </a:lnTo>
                  <a:lnTo>
                    <a:pt x="1882" y="3147"/>
                  </a:lnTo>
                  <a:lnTo>
                    <a:pt x="1868" y="3130"/>
                  </a:lnTo>
                  <a:lnTo>
                    <a:pt x="1856" y="3154"/>
                  </a:lnTo>
                  <a:lnTo>
                    <a:pt x="1835" y="3147"/>
                  </a:lnTo>
                  <a:lnTo>
                    <a:pt x="1840" y="3154"/>
                  </a:lnTo>
                  <a:lnTo>
                    <a:pt x="1835" y="3163"/>
                  </a:lnTo>
                  <a:lnTo>
                    <a:pt x="1830" y="3147"/>
                  </a:lnTo>
                  <a:lnTo>
                    <a:pt x="1764" y="3154"/>
                  </a:lnTo>
                  <a:lnTo>
                    <a:pt x="1802" y="3154"/>
                  </a:lnTo>
                  <a:lnTo>
                    <a:pt x="1797" y="3163"/>
                  </a:lnTo>
                  <a:lnTo>
                    <a:pt x="1743" y="3163"/>
                  </a:lnTo>
                  <a:lnTo>
                    <a:pt x="1731" y="3163"/>
                  </a:lnTo>
                  <a:lnTo>
                    <a:pt x="1776" y="3142"/>
                  </a:lnTo>
                  <a:lnTo>
                    <a:pt x="1726" y="3147"/>
                  </a:lnTo>
                  <a:lnTo>
                    <a:pt x="1764" y="3142"/>
                  </a:lnTo>
                  <a:lnTo>
                    <a:pt x="1764" y="3130"/>
                  </a:lnTo>
                  <a:lnTo>
                    <a:pt x="1748" y="3130"/>
                  </a:lnTo>
                  <a:lnTo>
                    <a:pt x="1743" y="3125"/>
                  </a:lnTo>
                  <a:lnTo>
                    <a:pt x="1759" y="3109"/>
                  </a:lnTo>
                  <a:lnTo>
                    <a:pt x="1748" y="3109"/>
                  </a:lnTo>
                  <a:lnTo>
                    <a:pt x="1731" y="3114"/>
                  </a:lnTo>
                  <a:lnTo>
                    <a:pt x="1743" y="3130"/>
                  </a:lnTo>
                  <a:lnTo>
                    <a:pt x="1726" y="3130"/>
                  </a:lnTo>
                  <a:lnTo>
                    <a:pt x="1726" y="3125"/>
                  </a:lnTo>
                  <a:lnTo>
                    <a:pt x="1731" y="3125"/>
                  </a:lnTo>
                  <a:lnTo>
                    <a:pt x="1710" y="3125"/>
                  </a:lnTo>
                  <a:lnTo>
                    <a:pt x="1726" y="3109"/>
                  </a:lnTo>
                  <a:lnTo>
                    <a:pt x="1679" y="3097"/>
                  </a:lnTo>
                  <a:lnTo>
                    <a:pt x="1743" y="3085"/>
                  </a:lnTo>
                  <a:lnTo>
                    <a:pt x="1726" y="3076"/>
                  </a:lnTo>
                  <a:lnTo>
                    <a:pt x="1689" y="3092"/>
                  </a:lnTo>
                  <a:lnTo>
                    <a:pt x="1667" y="3085"/>
                  </a:lnTo>
                  <a:lnTo>
                    <a:pt x="1710" y="3076"/>
                  </a:lnTo>
                  <a:lnTo>
                    <a:pt x="1689" y="3076"/>
                  </a:lnTo>
                  <a:lnTo>
                    <a:pt x="1679" y="3076"/>
                  </a:lnTo>
                  <a:lnTo>
                    <a:pt x="1679" y="3059"/>
                  </a:lnTo>
                  <a:lnTo>
                    <a:pt x="1672" y="3069"/>
                  </a:lnTo>
                  <a:lnTo>
                    <a:pt x="1679" y="3052"/>
                  </a:lnTo>
                  <a:lnTo>
                    <a:pt x="1705" y="3036"/>
                  </a:lnTo>
                  <a:lnTo>
                    <a:pt x="1689" y="3036"/>
                  </a:lnTo>
                  <a:lnTo>
                    <a:pt x="1672" y="3052"/>
                  </a:lnTo>
                  <a:lnTo>
                    <a:pt x="1667" y="3069"/>
                  </a:lnTo>
                  <a:lnTo>
                    <a:pt x="1656" y="3059"/>
                  </a:lnTo>
                  <a:lnTo>
                    <a:pt x="1672" y="3043"/>
                  </a:lnTo>
                  <a:lnTo>
                    <a:pt x="1656" y="3052"/>
                  </a:lnTo>
                  <a:lnTo>
                    <a:pt x="1656" y="3036"/>
                  </a:lnTo>
                  <a:lnTo>
                    <a:pt x="1693" y="3031"/>
                  </a:lnTo>
                  <a:lnTo>
                    <a:pt x="1679" y="3019"/>
                  </a:lnTo>
                  <a:lnTo>
                    <a:pt x="1679" y="3014"/>
                  </a:lnTo>
                  <a:lnTo>
                    <a:pt x="1672" y="3031"/>
                  </a:lnTo>
                  <a:lnTo>
                    <a:pt x="1634" y="3036"/>
                  </a:lnTo>
                  <a:lnTo>
                    <a:pt x="1634" y="3019"/>
                  </a:lnTo>
                  <a:lnTo>
                    <a:pt x="1656" y="3019"/>
                  </a:lnTo>
                  <a:lnTo>
                    <a:pt x="1667" y="3014"/>
                  </a:lnTo>
                  <a:lnTo>
                    <a:pt x="1641" y="3014"/>
                  </a:lnTo>
                  <a:lnTo>
                    <a:pt x="1656" y="3003"/>
                  </a:lnTo>
                  <a:lnTo>
                    <a:pt x="1625" y="3003"/>
                  </a:lnTo>
                  <a:lnTo>
                    <a:pt x="1596" y="2981"/>
                  </a:lnTo>
                  <a:lnTo>
                    <a:pt x="1596" y="2958"/>
                  </a:lnTo>
                  <a:lnTo>
                    <a:pt x="1618" y="2941"/>
                  </a:lnTo>
                  <a:lnTo>
                    <a:pt x="1596" y="2958"/>
                  </a:lnTo>
                  <a:lnTo>
                    <a:pt x="1604" y="2925"/>
                  </a:lnTo>
                  <a:lnTo>
                    <a:pt x="1634" y="2920"/>
                  </a:lnTo>
                  <a:lnTo>
                    <a:pt x="1604" y="2925"/>
                  </a:lnTo>
                  <a:lnTo>
                    <a:pt x="1587" y="2948"/>
                  </a:lnTo>
                  <a:lnTo>
                    <a:pt x="1587" y="2925"/>
                  </a:lnTo>
                  <a:lnTo>
                    <a:pt x="1604" y="2920"/>
                  </a:lnTo>
                  <a:lnTo>
                    <a:pt x="1570" y="2925"/>
                  </a:lnTo>
                  <a:lnTo>
                    <a:pt x="1570" y="2908"/>
                  </a:lnTo>
                  <a:lnTo>
                    <a:pt x="1613" y="2892"/>
                  </a:lnTo>
                  <a:lnTo>
                    <a:pt x="1549" y="2908"/>
                  </a:lnTo>
                  <a:lnTo>
                    <a:pt x="1559" y="2892"/>
                  </a:lnTo>
                  <a:lnTo>
                    <a:pt x="1542" y="2903"/>
                  </a:lnTo>
                  <a:lnTo>
                    <a:pt x="1533" y="2887"/>
                  </a:lnTo>
                  <a:lnTo>
                    <a:pt x="1596" y="2875"/>
                  </a:lnTo>
                  <a:lnTo>
                    <a:pt x="1542" y="2875"/>
                  </a:lnTo>
                  <a:lnTo>
                    <a:pt x="1528" y="2870"/>
                  </a:lnTo>
                  <a:lnTo>
                    <a:pt x="1566" y="2863"/>
                  </a:lnTo>
                  <a:lnTo>
                    <a:pt x="1542" y="2863"/>
                  </a:lnTo>
                  <a:lnTo>
                    <a:pt x="1533" y="2854"/>
                  </a:lnTo>
                  <a:lnTo>
                    <a:pt x="1570" y="2854"/>
                  </a:lnTo>
                  <a:lnTo>
                    <a:pt x="1580" y="2847"/>
                  </a:lnTo>
                  <a:lnTo>
                    <a:pt x="1542" y="2847"/>
                  </a:lnTo>
                  <a:lnTo>
                    <a:pt x="1533" y="2854"/>
                  </a:lnTo>
                  <a:lnTo>
                    <a:pt x="1533" y="2863"/>
                  </a:lnTo>
                  <a:lnTo>
                    <a:pt x="1504" y="2837"/>
                  </a:lnTo>
                  <a:lnTo>
                    <a:pt x="1549" y="2814"/>
                  </a:lnTo>
                  <a:lnTo>
                    <a:pt x="1511" y="2830"/>
                  </a:lnTo>
                  <a:lnTo>
                    <a:pt x="1511" y="2821"/>
                  </a:lnTo>
                  <a:lnTo>
                    <a:pt x="1516" y="2821"/>
                  </a:lnTo>
                  <a:lnTo>
                    <a:pt x="1516" y="2814"/>
                  </a:lnTo>
                  <a:lnTo>
                    <a:pt x="1495" y="2809"/>
                  </a:lnTo>
                  <a:lnTo>
                    <a:pt x="1613" y="2781"/>
                  </a:lnTo>
                  <a:lnTo>
                    <a:pt x="1570" y="2781"/>
                  </a:lnTo>
                  <a:lnTo>
                    <a:pt x="1580" y="2776"/>
                  </a:lnTo>
                  <a:lnTo>
                    <a:pt x="1511" y="2797"/>
                  </a:lnTo>
                  <a:lnTo>
                    <a:pt x="1495" y="2792"/>
                  </a:lnTo>
                  <a:lnTo>
                    <a:pt x="1516" y="2792"/>
                  </a:lnTo>
                  <a:lnTo>
                    <a:pt x="1490" y="2781"/>
                  </a:lnTo>
                  <a:lnTo>
                    <a:pt x="1549" y="2781"/>
                  </a:lnTo>
                  <a:lnTo>
                    <a:pt x="1559" y="2776"/>
                  </a:lnTo>
                  <a:lnTo>
                    <a:pt x="1542" y="2776"/>
                  </a:lnTo>
                  <a:lnTo>
                    <a:pt x="1559" y="2759"/>
                  </a:lnTo>
                  <a:lnTo>
                    <a:pt x="1587" y="2764"/>
                  </a:lnTo>
                  <a:lnTo>
                    <a:pt x="1604" y="2759"/>
                  </a:lnTo>
                  <a:lnTo>
                    <a:pt x="1570" y="2759"/>
                  </a:lnTo>
                  <a:lnTo>
                    <a:pt x="1570" y="2752"/>
                  </a:lnTo>
                  <a:lnTo>
                    <a:pt x="1580" y="2743"/>
                  </a:lnTo>
                  <a:lnTo>
                    <a:pt x="1549" y="2736"/>
                  </a:lnTo>
                  <a:lnTo>
                    <a:pt x="1580" y="2726"/>
                  </a:lnTo>
                  <a:lnTo>
                    <a:pt x="1566" y="2726"/>
                  </a:lnTo>
                  <a:lnTo>
                    <a:pt x="1580" y="2726"/>
                  </a:lnTo>
                  <a:lnTo>
                    <a:pt x="1596" y="2726"/>
                  </a:lnTo>
                  <a:lnTo>
                    <a:pt x="1604" y="2752"/>
                  </a:lnTo>
                  <a:lnTo>
                    <a:pt x="1641" y="2764"/>
                  </a:lnTo>
                  <a:lnTo>
                    <a:pt x="1613" y="2743"/>
                  </a:lnTo>
                  <a:lnTo>
                    <a:pt x="1604" y="2736"/>
                  </a:lnTo>
                  <a:lnTo>
                    <a:pt x="1618" y="2726"/>
                  </a:lnTo>
                  <a:lnTo>
                    <a:pt x="1596" y="2726"/>
                  </a:lnTo>
                  <a:lnTo>
                    <a:pt x="1613" y="2703"/>
                  </a:lnTo>
                  <a:lnTo>
                    <a:pt x="1596" y="2719"/>
                  </a:lnTo>
                  <a:lnTo>
                    <a:pt x="1570" y="2719"/>
                  </a:lnTo>
                  <a:lnTo>
                    <a:pt x="1566" y="2698"/>
                  </a:lnTo>
                  <a:lnTo>
                    <a:pt x="1549" y="2665"/>
                  </a:lnTo>
                  <a:lnTo>
                    <a:pt x="1549" y="2698"/>
                  </a:lnTo>
                  <a:lnTo>
                    <a:pt x="1566" y="2698"/>
                  </a:lnTo>
                  <a:lnTo>
                    <a:pt x="1570" y="2719"/>
                  </a:lnTo>
                  <a:lnTo>
                    <a:pt x="1533" y="2736"/>
                  </a:lnTo>
                  <a:lnTo>
                    <a:pt x="1528" y="2736"/>
                  </a:lnTo>
                  <a:lnTo>
                    <a:pt x="1542" y="2719"/>
                  </a:lnTo>
                  <a:lnTo>
                    <a:pt x="1528" y="2719"/>
                  </a:lnTo>
                  <a:lnTo>
                    <a:pt x="1495" y="2776"/>
                  </a:lnTo>
                  <a:lnTo>
                    <a:pt x="1474" y="2781"/>
                  </a:lnTo>
                  <a:lnTo>
                    <a:pt x="1474" y="2759"/>
                  </a:lnTo>
                  <a:lnTo>
                    <a:pt x="1462" y="2759"/>
                  </a:lnTo>
                  <a:lnTo>
                    <a:pt x="1474" y="2736"/>
                  </a:lnTo>
                  <a:lnTo>
                    <a:pt x="1462" y="2726"/>
                  </a:lnTo>
                  <a:lnTo>
                    <a:pt x="1504" y="2710"/>
                  </a:lnTo>
                  <a:lnTo>
                    <a:pt x="1528" y="2686"/>
                  </a:lnTo>
                  <a:lnTo>
                    <a:pt x="1495" y="2703"/>
                  </a:lnTo>
                  <a:lnTo>
                    <a:pt x="1504" y="2698"/>
                  </a:lnTo>
                  <a:lnTo>
                    <a:pt x="1495" y="2686"/>
                  </a:lnTo>
                  <a:lnTo>
                    <a:pt x="1478" y="2710"/>
                  </a:lnTo>
                  <a:lnTo>
                    <a:pt x="1462" y="2710"/>
                  </a:lnTo>
                  <a:lnTo>
                    <a:pt x="1478" y="2703"/>
                  </a:lnTo>
                  <a:lnTo>
                    <a:pt x="1474" y="2703"/>
                  </a:lnTo>
                  <a:lnTo>
                    <a:pt x="1457" y="2710"/>
                  </a:lnTo>
                  <a:lnTo>
                    <a:pt x="1457" y="2703"/>
                  </a:lnTo>
                  <a:lnTo>
                    <a:pt x="1474" y="2698"/>
                  </a:lnTo>
                  <a:lnTo>
                    <a:pt x="1457" y="2681"/>
                  </a:lnTo>
                  <a:lnTo>
                    <a:pt x="1462" y="2665"/>
                  </a:lnTo>
                  <a:lnTo>
                    <a:pt x="1452" y="2665"/>
                  </a:lnTo>
                  <a:lnTo>
                    <a:pt x="1457" y="2653"/>
                  </a:lnTo>
                  <a:lnTo>
                    <a:pt x="1441" y="2670"/>
                  </a:lnTo>
                  <a:lnTo>
                    <a:pt x="1436" y="2653"/>
                  </a:lnTo>
                  <a:lnTo>
                    <a:pt x="1495" y="2625"/>
                  </a:lnTo>
                  <a:lnTo>
                    <a:pt x="1478" y="2615"/>
                  </a:lnTo>
                  <a:lnTo>
                    <a:pt x="1495" y="2608"/>
                  </a:lnTo>
                  <a:lnTo>
                    <a:pt x="1528" y="2599"/>
                  </a:lnTo>
                  <a:lnTo>
                    <a:pt x="1580" y="2608"/>
                  </a:lnTo>
                  <a:lnTo>
                    <a:pt x="1511" y="2599"/>
                  </a:lnTo>
                  <a:lnTo>
                    <a:pt x="1478" y="2615"/>
                  </a:lnTo>
                  <a:lnTo>
                    <a:pt x="1478" y="2625"/>
                  </a:lnTo>
                  <a:lnTo>
                    <a:pt x="1441" y="2648"/>
                  </a:lnTo>
                  <a:lnTo>
                    <a:pt x="1436" y="2632"/>
                  </a:lnTo>
                  <a:lnTo>
                    <a:pt x="1441" y="2615"/>
                  </a:lnTo>
                  <a:lnTo>
                    <a:pt x="1424" y="2632"/>
                  </a:lnTo>
                  <a:lnTo>
                    <a:pt x="1419" y="2625"/>
                  </a:lnTo>
                  <a:lnTo>
                    <a:pt x="1436" y="2615"/>
                  </a:lnTo>
                  <a:lnTo>
                    <a:pt x="1419" y="2615"/>
                  </a:lnTo>
                  <a:lnTo>
                    <a:pt x="1424" y="2592"/>
                  </a:lnTo>
                  <a:lnTo>
                    <a:pt x="1419" y="2608"/>
                  </a:lnTo>
                  <a:lnTo>
                    <a:pt x="1386" y="2608"/>
                  </a:lnTo>
                  <a:lnTo>
                    <a:pt x="1408" y="2592"/>
                  </a:lnTo>
                  <a:lnTo>
                    <a:pt x="1386" y="2599"/>
                  </a:lnTo>
                  <a:lnTo>
                    <a:pt x="1424" y="2575"/>
                  </a:lnTo>
                  <a:lnTo>
                    <a:pt x="1452" y="2587"/>
                  </a:lnTo>
                  <a:lnTo>
                    <a:pt x="1478" y="2570"/>
                  </a:lnTo>
                  <a:lnTo>
                    <a:pt x="1490" y="2575"/>
                  </a:lnTo>
                  <a:lnTo>
                    <a:pt x="1490" y="2570"/>
                  </a:lnTo>
                  <a:lnTo>
                    <a:pt x="1452" y="2587"/>
                  </a:lnTo>
                  <a:lnTo>
                    <a:pt x="1436" y="2575"/>
                  </a:lnTo>
                  <a:lnTo>
                    <a:pt x="1398" y="2592"/>
                  </a:lnTo>
                  <a:lnTo>
                    <a:pt x="1386" y="2587"/>
                  </a:lnTo>
                  <a:lnTo>
                    <a:pt x="1408" y="2570"/>
                  </a:lnTo>
                  <a:lnTo>
                    <a:pt x="1386" y="2575"/>
                  </a:lnTo>
                  <a:lnTo>
                    <a:pt x="1370" y="2575"/>
                  </a:lnTo>
                  <a:lnTo>
                    <a:pt x="1398" y="2570"/>
                  </a:lnTo>
                  <a:lnTo>
                    <a:pt x="1370" y="2570"/>
                  </a:lnTo>
                  <a:lnTo>
                    <a:pt x="1474" y="2514"/>
                  </a:lnTo>
                  <a:lnTo>
                    <a:pt x="1478" y="2497"/>
                  </a:lnTo>
                  <a:lnTo>
                    <a:pt x="1528" y="2476"/>
                  </a:lnTo>
                  <a:lnTo>
                    <a:pt x="1587" y="2476"/>
                  </a:lnTo>
                  <a:lnTo>
                    <a:pt x="1542" y="2464"/>
                  </a:lnTo>
                  <a:lnTo>
                    <a:pt x="1566" y="2448"/>
                  </a:lnTo>
                  <a:lnTo>
                    <a:pt x="1613" y="2459"/>
                  </a:lnTo>
                  <a:lnTo>
                    <a:pt x="1570" y="2448"/>
                  </a:lnTo>
                  <a:lnTo>
                    <a:pt x="1587" y="2443"/>
                  </a:lnTo>
                  <a:lnTo>
                    <a:pt x="1533" y="2464"/>
                  </a:lnTo>
                  <a:lnTo>
                    <a:pt x="1403" y="2554"/>
                  </a:lnTo>
                  <a:lnTo>
                    <a:pt x="1370" y="2559"/>
                  </a:lnTo>
                  <a:lnTo>
                    <a:pt x="1353" y="2554"/>
                  </a:lnTo>
                  <a:lnTo>
                    <a:pt x="1398" y="2537"/>
                  </a:lnTo>
                  <a:lnTo>
                    <a:pt x="1365" y="2542"/>
                  </a:lnTo>
                  <a:lnTo>
                    <a:pt x="1353" y="2537"/>
                  </a:lnTo>
                  <a:lnTo>
                    <a:pt x="1353" y="2514"/>
                  </a:lnTo>
                  <a:lnTo>
                    <a:pt x="1441" y="2504"/>
                  </a:lnTo>
                  <a:lnTo>
                    <a:pt x="1386" y="2504"/>
                  </a:lnTo>
                  <a:lnTo>
                    <a:pt x="1370" y="2497"/>
                  </a:lnTo>
                  <a:lnTo>
                    <a:pt x="1436" y="2488"/>
                  </a:lnTo>
                  <a:lnTo>
                    <a:pt x="1386" y="2481"/>
                  </a:lnTo>
                  <a:lnTo>
                    <a:pt x="1419" y="2481"/>
                  </a:lnTo>
                  <a:lnTo>
                    <a:pt x="1398" y="2481"/>
                  </a:lnTo>
                  <a:lnTo>
                    <a:pt x="1403" y="2476"/>
                  </a:lnTo>
                  <a:lnTo>
                    <a:pt x="1457" y="2476"/>
                  </a:lnTo>
                  <a:lnTo>
                    <a:pt x="1441" y="2464"/>
                  </a:lnTo>
                  <a:lnTo>
                    <a:pt x="1353" y="2464"/>
                  </a:lnTo>
                  <a:lnTo>
                    <a:pt x="1348" y="2459"/>
                  </a:lnTo>
                  <a:lnTo>
                    <a:pt x="1386" y="2448"/>
                  </a:lnTo>
                  <a:lnTo>
                    <a:pt x="1348" y="2443"/>
                  </a:lnTo>
                  <a:lnTo>
                    <a:pt x="1382" y="2443"/>
                  </a:lnTo>
                  <a:lnTo>
                    <a:pt x="1332" y="2443"/>
                  </a:lnTo>
                  <a:lnTo>
                    <a:pt x="1348" y="2431"/>
                  </a:lnTo>
                  <a:lnTo>
                    <a:pt x="1382" y="2426"/>
                  </a:lnTo>
                  <a:lnTo>
                    <a:pt x="1365" y="2426"/>
                  </a:lnTo>
                  <a:lnTo>
                    <a:pt x="1462" y="2410"/>
                  </a:lnTo>
                  <a:lnTo>
                    <a:pt x="1511" y="2410"/>
                  </a:lnTo>
                  <a:lnTo>
                    <a:pt x="1533" y="2431"/>
                  </a:lnTo>
                  <a:lnTo>
                    <a:pt x="1587" y="2431"/>
                  </a:lnTo>
                  <a:lnTo>
                    <a:pt x="1533" y="2431"/>
                  </a:lnTo>
                  <a:lnTo>
                    <a:pt x="1511" y="2410"/>
                  </a:lnTo>
                  <a:lnTo>
                    <a:pt x="1533" y="2403"/>
                  </a:lnTo>
                  <a:lnTo>
                    <a:pt x="1386" y="2410"/>
                  </a:lnTo>
                  <a:lnTo>
                    <a:pt x="1348" y="2426"/>
                  </a:lnTo>
                  <a:lnTo>
                    <a:pt x="1344" y="2419"/>
                  </a:lnTo>
                  <a:lnTo>
                    <a:pt x="1353" y="2393"/>
                  </a:lnTo>
                  <a:lnTo>
                    <a:pt x="1408" y="2370"/>
                  </a:lnTo>
                  <a:lnTo>
                    <a:pt x="1398" y="2370"/>
                  </a:lnTo>
                  <a:lnTo>
                    <a:pt x="1403" y="2370"/>
                  </a:lnTo>
                  <a:lnTo>
                    <a:pt x="1436" y="2365"/>
                  </a:lnTo>
                  <a:lnTo>
                    <a:pt x="1419" y="2365"/>
                  </a:lnTo>
                  <a:lnTo>
                    <a:pt x="1441" y="2365"/>
                  </a:lnTo>
                  <a:lnTo>
                    <a:pt x="1490" y="2377"/>
                  </a:lnTo>
                  <a:lnTo>
                    <a:pt x="1516" y="2370"/>
                  </a:lnTo>
                  <a:lnTo>
                    <a:pt x="1566" y="2393"/>
                  </a:lnTo>
                  <a:lnTo>
                    <a:pt x="1604" y="2393"/>
                  </a:lnTo>
                  <a:lnTo>
                    <a:pt x="1613" y="2386"/>
                  </a:lnTo>
                  <a:lnTo>
                    <a:pt x="1570" y="2393"/>
                  </a:lnTo>
                  <a:lnTo>
                    <a:pt x="1559" y="2377"/>
                  </a:lnTo>
                  <a:lnTo>
                    <a:pt x="1596" y="2365"/>
                  </a:lnTo>
                  <a:lnTo>
                    <a:pt x="1618" y="2370"/>
                  </a:lnTo>
                  <a:lnTo>
                    <a:pt x="1596" y="2365"/>
                  </a:lnTo>
                  <a:lnTo>
                    <a:pt x="1542" y="2377"/>
                  </a:lnTo>
                  <a:lnTo>
                    <a:pt x="1528" y="2365"/>
                  </a:lnTo>
                  <a:lnTo>
                    <a:pt x="1587" y="2348"/>
                  </a:lnTo>
                  <a:lnTo>
                    <a:pt x="1559" y="2337"/>
                  </a:lnTo>
                  <a:lnTo>
                    <a:pt x="1559" y="2348"/>
                  </a:lnTo>
                  <a:lnTo>
                    <a:pt x="1566" y="2348"/>
                  </a:lnTo>
                  <a:lnTo>
                    <a:pt x="1533" y="2365"/>
                  </a:lnTo>
                  <a:lnTo>
                    <a:pt x="1516" y="2348"/>
                  </a:lnTo>
                  <a:lnTo>
                    <a:pt x="1549" y="2348"/>
                  </a:lnTo>
                  <a:lnTo>
                    <a:pt x="1542" y="2332"/>
                  </a:lnTo>
                  <a:lnTo>
                    <a:pt x="1504" y="2337"/>
                  </a:lnTo>
                  <a:lnTo>
                    <a:pt x="1516" y="2353"/>
                  </a:lnTo>
                  <a:lnTo>
                    <a:pt x="1495" y="2370"/>
                  </a:lnTo>
                  <a:lnTo>
                    <a:pt x="1490" y="2365"/>
                  </a:lnTo>
                  <a:lnTo>
                    <a:pt x="1504" y="2353"/>
                  </a:lnTo>
                  <a:lnTo>
                    <a:pt x="1452" y="2353"/>
                  </a:lnTo>
                  <a:lnTo>
                    <a:pt x="1504" y="2332"/>
                  </a:lnTo>
                  <a:lnTo>
                    <a:pt x="1403" y="2365"/>
                  </a:lnTo>
                  <a:lnTo>
                    <a:pt x="1365" y="2386"/>
                  </a:lnTo>
                  <a:lnTo>
                    <a:pt x="1353" y="2386"/>
                  </a:lnTo>
                  <a:lnTo>
                    <a:pt x="1348" y="2377"/>
                  </a:lnTo>
                  <a:lnTo>
                    <a:pt x="1365" y="2370"/>
                  </a:lnTo>
                  <a:lnTo>
                    <a:pt x="1353" y="2353"/>
                  </a:lnTo>
                  <a:lnTo>
                    <a:pt x="1382" y="2353"/>
                  </a:lnTo>
                  <a:lnTo>
                    <a:pt x="1370" y="2348"/>
                  </a:lnTo>
                  <a:lnTo>
                    <a:pt x="1386" y="2353"/>
                  </a:lnTo>
                  <a:lnTo>
                    <a:pt x="1403" y="2348"/>
                  </a:lnTo>
                  <a:lnTo>
                    <a:pt x="1386" y="2348"/>
                  </a:lnTo>
                  <a:lnTo>
                    <a:pt x="1386" y="2337"/>
                  </a:lnTo>
                  <a:lnTo>
                    <a:pt x="1408" y="2332"/>
                  </a:lnTo>
                  <a:lnTo>
                    <a:pt x="1386" y="2332"/>
                  </a:lnTo>
                  <a:lnTo>
                    <a:pt x="1386" y="2320"/>
                  </a:lnTo>
                  <a:lnTo>
                    <a:pt x="1457" y="2337"/>
                  </a:lnTo>
                  <a:lnTo>
                    <a:pt x="1474" y="2332"/>
                  </a:lnTo>
                  <a:lnTo>
                    <a:pt x="1424" y="2332"/>
                  </a:lnTo>
                  <a:lnTo>
                    <a:pt x="1398" y="2315"/>
                  </a:lnTo>
                  <a:lnTo>
                    <a:pt x="1370" y="2315"/>
                  </a:lnTo>
                  <a:lnTo>
                    <a:pt x="1382" y="2308"/>
                  </a:lnTo>
                  <a:lnTo>
                    <a:pt x="1452" y="2320"/>
                  </a:lnTo>
                  <a:lnTo>
                    <a:pt x="1419" y="2308"/>
                  </a:lnTo>
                  <a:lnTo>
                    <a:pt x="1490" y="2320"/>
                  </a:lnTo>
                  <a:lnTo>
                    <a:pt x="1533" y="2320"/>
                  </a:lnTo>
                  <a:lnTo>
                    <a:pt x="1570" y="2337"/>
                  </a:lnTo>
                  <a:lnTo>
                    <a:pt x="1604" y="2337"/>
                  </a:lnTo>
                  <a:lnTo>
                    <a:pt x="1511" y="2308"/>
                  </a:lnTo>
                  <a:lnTo>
                    <a:pt x="1549" y="2308"/>
                  </a:lnTo>
                  <a:lnTo>
                    <a:pt x="1528" y="2299"/>
                  </a:lnTo>
                  <a:lnTo>
                    <a:pt x="1533" y="2292"/>
                  </a:lnTo>
                  <a:lnTo>
                    <a:pt x="1533" y="2282"/>
                  </a:lnTo>
                  <a:lnTo>
                    <a:pt x="1559" y="2266"/>
                  </a:lnTo>
                  <a:lnTo>
                    <a:pt x="1504" y="2275"/>
                  </a:lnTo>
                  <a:lnTo>
                    <a:pt x="1528" y="2292"/>
                  </a:lnTo>
                  <a:lnTo>
                    <a:pt x="1441" y="2308"/>
                  </a:lnTo>
                  <a:lnTo>
                    <a:pt x="1441" y="2308"/>
                  </a:lnTo>
                  <a:lnTo>
                    <a:pt x="1441" y="2308"/>
                  </a:lnTo>
                  <a:close/>
                  <a:moveTo>
                    <a:pt x="2343" y="45"/>
                  </a:moveTo>
                  <a:lnTo>
                    <a:pt x="2374" y="41"/>
                  </a:lnTo>
                  <a:lnTo>
                    <a:pt x="2390" y="57"/>
                  </a:lnTo>
                  <a:lnTo>
                    <a:pt x="2343" y="45"/>
                  </a:lnTo>
                  <a:lnTo>
                    <a:pt x="2343" y="45"/>
                  </a:lnTo>
                  <a:lnTo>
                    <a:pt x="2343" y="45"/>
                  </a:lnTo>
                  <a:close/>
                  <a:moveTo>
                    <a:pt x="2390" y="83"/>
                  </a:moveTo>
                  <a:lnTo>
                    <a:pt x="2267" y="62"/>
                  </a:lnTo>
                  <a:lnTo>
                    <a:pt x="2298" y="45"/>
                  </a:lnTo>
                  <a:lnTo>
                    <a:pt x="2411" y="83"/>
                  </a:lnTo>
                  <a:lnTo>
                    <a:pt x="2390" y="83"/>
                  </a:lnTo>
                  <a:lnTo>
                    <a:pt x="2390" y="83"/>
                  </a:lnTo>
                  <a:lnTo>
                    <a:pt x="2390" y="83"/>
                  </a:lnTo>
                  <a:close/>
                  <a:moveTo>
                    <a:pt x="2284" y="67"/>
                  </a:moveTo>
                  <a:lnTo>
                    <a:pt x="2315" y="67"/>
                  </a:lnTo>
                  <a:lnTo>
                    <a:pt x="2272" y="67"/>
                  </a:lnTo>
                  <a:lnTo>
                    <a:pt x="2284" y="67"/>
                  </a:lnTo>
                  <a:lnTo>
                    <a:pt x="2284" y="67"/>
                  </a:lnTo>
                  <a:lnTo>
                    <a:pt x="2284" y="67"/>
                  </a:lnTo>
                  <a:close/>
                  <a:moveTo>
                    <a:pt x="2411" y="83"/>
                  </a:moveTo>
                  <a:lnTo>
                    <a:pt x="2411" y="78"/>
                  </a:lnTo>
                  <a:lnTo>
                    <a:pt x="2449" y="83"/>
                  </a:lnTo>
                  <a:lnTo>
                    <a:pt x="2411" y="83"/>
                  </a:lnTo>
                  <a:lnTo>
                    <a:pt x="2411" y="83"/>
                  </a:lnTo>
                  <a:lnTo>
                    <a:pt x="2411" y="83"/>
                  </a:lnTo>
                  <a:close/>
                  <a:moveTo>
                    <a:pt x="2322" y="116"/>
                  </a:moveTo>
                  <a:lnTo>
                    <a:pt x="2213" y="78"/>
                  </a:lnTo>
                  <a:lnTo>
                    <a:pt x="2260" y="78"/>
                  </a:lnTo>
                  <a:lnTo>
                    <a:pt x="2322" y="116"/>
                  </a:lnTo>
                  <a:lnTo>
                    <a:pt x="2322" y="116"/>
                  </a:lnTo>
                  <a:lnTo>
                    <a:pt x="2322" y="116"/>
                  </a:lnTo>
                  <a:close/>
                  <a:moveTo>
                    <a:pt x="2343" y="111"/>
                  </a:moveTo>
                  <a:lnTo>
                    <a:pt x="2272" y="83"/>
                  </a:lnTo>
                  <a:lnTo>
                    <a:pt x="2369" y="95"/>
                  </a:lnTo>
                  <a:lnTo>
                    <a:pt x="2343" y="111"/>
                  </a:lnTo>
                  <a:lnTo>
                    <a:pt x="2343" y="111"/>
                  </a:lnTo>
                  <a:lnTo>
                    <a:pt x="2343" y="111"/>
                  </a:lnTo>
                  <a:close/>
                  <a:moveTo>
                    <a:pt x="1840" y="140"/>
                  </a:moveTo>
                  <a:lnTo>
                    <a:pt x="1802" y="123"/>
                  </a:lnTo>
                  <a:lnTo>
                    <a:pt x="1868" y="140"/>
                  </a:lnTo>
                  <a:lnTo>
                    <a:pt x="1840" y="140"/>
                  </a:lnTo>
                  <a:lnTo>
                    <a:pt x="1840" y="140"/>
                  </a:lnTo>
                  <a:lnTo>
                    <a:pt x="1840" y="140"/>
                  </a:lnTo>
                  <a:close/>
                  <a:moveTo>
                    <a:pt x="1731" y="152"/>
                  </a:moveTo>
                  <a:lnTo>
                    <a:pt x="1726" y="135"/>
                  </a:lnTo>
                  <a:lnTo>
                    <a:pt x="1797" y="152"/>
                  </a:lnTo>
                  <a:lnTo>
                    <a:pt x="1731" y="152"/>
                  </a:lnTo>
                  <a:lnTo>
                    <a:pt x="1731" y="152"/>
                  </a:lnTo>
                  <a:lnTo>
                    <a:pt x="1731" y="152"/>
                  </a:lnTo>
                  <a:close/>
                  <a:moveTo>
                    <a:pt x="2298" y="173"/>
                  </a:moveTo>
                  <a:lnTo>
                    <a:pt x="2284" y="168"/>
                  </a:lnTo>
                  <a:lnTo>
                    <a:pt x="2305" y="173"/>
                  </a:lnTo>
                  <a:lnTo>
                    <a:pt x="2298" y="173"/>
                  </a:lnTo>
                  <a:lnTo>
                    <a:pt x="2298" y="173"/>
                  </a:lnTo>
                  <a:lnTo>
                    <a:pt x="2298" y="173"/>
                  </a:lnTo>
                  <a:close/>
                  <a:moveTo>
                    <a:pt x="1965" y="279"/>
                  </a:moveTo>
                  <a:lnTo>
                    <a:pt x="1937" y="251"/>
                  </a:lnTo>
                  <a:lnTo>
                    <a:pt x="1830" y="222"/>
                  </a:lnTo>
                  <a:lnTo>
                    <a:pt x="1776" y="178"/>
                  </a:lnTo>
                  <a:lnTo>
                    <a:pt x="1882" y="173"/>
                  </a:lnTo>
                  <a:lnTo>
                    <a:pt x="2003" y="222"/>
                  </a:lnTo>
                  <a:lnTo>
                    <a:pt x="1958" y="251"/>
                  </a:lnTo>
                  <a:lnTo>
                    <a:pt x="1982" y="267"/>
                  </a:lnTo>
                  <a:lnTo>
                    <a:pt x="1965" y="279"/>
                  </a:lnTo>
                  <a:lnTo>
                    <a:pt x="1965" y="279"/>
                  </a:lnTo>
                  <a:lnTo>
                    <a:pt x="1965" y="279"/>
                  </a:lnTo>
                  <a:close/>
                  <a:moveTo>
                    <a:pt x="1731" y="211"/>
                  </a:moveTo>
                  <a:lnTo>
                    <a:pt x="1693" y="194"/>
                  </a:lnTo>
                  <a:lnTo>
                    <a:pt x="1748" y="206"/>
                  </a:lnTo>
                  <a:lnTo>
                    <a:pt x="1731" y="211"/>
                  </a:lnTo>
                  <a:lnTo>
                    <a:pt x="1731" y="211"/>
                  </a:lnTo>
                  <a:lnTo>
                    <a:pt x="1731" y="211"/>
                  </a:lnTo>
                  <a:close/>
                  <a:moveTo>
                    <a:pt x="1528" y="296"/>
                  </a:moveTo>
                  <a:lnTo>
                    <a:pt x="1403" y="267"/>
                  </a:lnTo>
                  <a:lnTo>
                    <a:pt x="1382" y="244"/>
                  </a:lnTo>
                  <a:lnTo>
                    <a:pt x="1398" y="227"/>
                  </a:lnTo>
                  <a:lnTo>
                    <a:pt x="1419" y="239"/>
                  </a:lnTo>
                  <a:lnTo>
                    <a:pt x="1528" y="296"/>
                  </a:lnTo>
                  <a:lnTo>
                    <a:pt x="1528" y="296"/>
                  </a:lnTo>
                  <a:lnTo>
                    <a:pt x="1528" y="296"/>
                  </a:lnTo>
                  <a:close/>
                  <a:moveTo>
                    <a:pt x="1462" y="251"/>
                  </a:moveTo>
                  <a:lnTo>
                    <a:pt x="1457" y="239"/>
                  </a:lnTo>
                  <a:lnTo>
                    <a:pt x="1490" y="251"/>
                  </a:lnTo>
                  <a:lnTo>
                    <a:pt x="1462" y="251"/>
                  </a:lnTo>
                  <a:lnTo>
                    <a:pt x="1462" y="251"/>
                  </a:lnTo>
                  <a:lnTo>
                    <a:pt x="1462" y="251"/>
                  </a:lnTo>
                  <a:close/>
                  <a:moveTo>
                    <a:pt x="3789" y="284"/>
                  </a:moveTo>
                  <a:lnTo>
                    <a:pt x="3763" y="251"/>
                  </a:lnTo>
                  <a:lnTo>
                    <a:pt x="3800" y="296"/>
                  </a:lnTo>
                  <a:lnTo>
                    <a:pt x="3789" y="284"/>
                  </a:lnTo>
                  <a:lnTo>
                    <a:pt x="3789" y="284"/>
                  </a:lnTo>
                  <a:lnTo>
                    <a:pt x="3789" y="284"/>
                  </a:lnTo>
                  <a:close/>
                  <a:moveTo>
                    <a:pt x="3704" y="305"/>
                  </a:moveTo>
                  <a:lnTo>
                    <a:pt x="3666" y="267"/>
                  </a:lnTo>
                  <a:lnTo>
                    <a:pt x="3692" y="267"/>
                  </a:lnTo>
                  <a:lnTo>
                    <a:pt x="3741" y="305"/>
                  </a:lnTo>
                  <a:lnTo>
                    <a:pt x="3704" y="305"/>
                  </a:lnTo>
                  <a:lnTo>
                    <a:pt x="3704" y="305"/>
                  </a:lnTo>
                  <a:lnTo>
                    <a:pt x="3704" y="305"/>
                  </a:lnTo>
                  <a:close/>
                  <a:moveTo>
                    <a:pt x="3817" y="350"/>
                  </a:moveTo>
                  <a:lnTo>
                    <a:pt x="3772" y="322"/>
                  </a:lnTo>
                  <a:lnTo>
                    <a:pt x="3810" y="322"/>
                  </a:lnTo>
                  <a:lnTo>
                    <a:pt x="3843" y="350"/>
                  </a:lnTo>
                  <a:lnTo>
                    <a:pt x="3817" y="350"/>
                  </a:lnTo>
                  <a:lnTo>
                    <a:pt x="3817" y="350"/>
                  </a:lnTo>
                  <a:lnTo>
                    <a:pt x="3817" y="350"/>
                  </a:lnTo>
                  <a:close/>
                  <a:moveTo>
                    <a:pt x="3654" y="355"/>
                  </a:moveTo>
                  <a:lnTo>
                    <a:pt x="3666" y="350"/>
                  </a:lnTo>
                  <a:lnTo>
                    <a:pt x="3649" y="338"/>
                  </a:lnTo>
                  <a:lnTo>
                    <a:pt x="3654" y="333"/>
                  </a:lnTo>
                  <a:lnTo>
                    <a:pt x="3708" y="338"/>
                  </a:lnTo>
                  <a:lnTo>
                    <a:pt x="3654" y="355"/>
                  </a:lnTo>
                  <a:lnTo>
                    <a:pt x="3654" y="355"/>
                  </a:lnTo>
                  <a:lnTo>
                    <a:pt x="3654" y="355"/>
                  </a:lnTo>
                  <a:close/>
                  <a:moveTo>
                    <a:pt x="3789" y="600"/>
                  </a:moveTo>
                  <a:lnTo>
                    <a:pt x="3720" y="612"/>
                  </a:lnTo>
                  <a:lnTo>
                    <a:pt x="3741" y="584"/>
                  </a:lnTo>
                  <a:lnTo>
                    <a:pt x="3789" y="600"/>
                  </a:lnTo>
                  <a:lnTo>
                    <a:pt x="3789" y="600"/>
                  </a:lnTo>
                  <a:lnTo>
                    <a:pt x="3789" y="600"/>
                  </a:lnTo>
                  <a:close/>
                  <a:moveTo>
                    <a:pt x="3763" y="749"/>
                  </a:moveTo>
                  <a:lnTo>
                    <a:pt x="3763" y="766"/>
                  </a:lnTo>
                  <a:lnTo>
                    <a:pt x="3758" y="761"/>
                  </a:lnTo>
                  <a:lnTo>
                    <a:pt x="3763" y="749"/>
                  </a:lnTo>
                  <a:lnTo>
                    <a:pt x="3763" y="749"/>
                  </a:lnTo>
                  <a:lnTo>
                    <a:pt x="3763" y="749"/>
                  </a:lnTo>
                  <a:close/>
                  <a:moveTo>
                    <a:pt x="3881" y="749"/>
                  </a:moveTo>
                  <a:lnTo>
                    <a:pt x="3885" y="761"/>
                  </a:lnTo>
                  <a:lnTo>
                    <a:pt x="3848" y="794"/>
                  </a:lnTo>
                  <a:lnTo>
                    <a:pt x="3855" y="778"/>
                  </a:lnTo>
                  <a:lnTo>
                    <a:pt x="3881" y="749"/>
                  </a:lnTo>
                  <a:lnTo>
                    <a:pt x="3881" y="749"/>
                  </a:lnTo>
                  <a:lnTo>
                    <a:pt x="3881" y="749"/>
                  </a:lnTo>
                  <a:close/>
                  <a:moveTo>
                    <a:pt x="3763" y="834"/>
                  </a:moveTo>
                  <a:lnTo>
                    <a:pt x="3734" y="822"/>
                  </a:lnTo>
                  <a:lnTo>
                    <a:pt x="3779" y="799"/>
                  </a:lnTo>
                  <a:lnTo>
                    <a:pt x="3763" y="815"/>
                  </a:lnTo>
                  <a:lnTo>
                    <a:pt x="3779" y="822"/>
                  </a:lnTo>
                  <a:lnTo>
                    <a:pt x="3758" y="822"/>
                  </a:lnTo>
                  <a:lnTo>
                    <a:pt x="3779" y="822"/>
                  </a:lnTo>
                  <a:lnTo>
                    <a:pt x="3763" y="834"/>
                  </a:lnTo>
                  <a:lnTo>
                    <a:pt x="3763" y="834"/>
                  </a:lnTo>
                  <a:lnTo>
                    <a:pt x="3763" y="834"/>
                  </a:lnTo>
                  <a:close/>
                  <a:moveTo>
                    <a:pt x="3843" y="834"/>
                  </a:moveTo>
                  <a:lnTo>
                    <a:pt x="3843" y="806"/>
                  </a:lnTo>
                  <a:lnTo>
                    <a:pt x="3855" y="815"/>
                  </a:lnTo>
                  <a:lnTo>
                    <a:pt x="3843" y="834"/>
                  </a:lnTo>
                  <a:lnTo>
                    <a:pt x="3843" y="834"/>
                  </a:lnTo>
                  <a:lnTo>
                    <a:pt x="3843" y="834"/>
                  </a:lnTo>
                  <a:close/>
                  <a:moveTo>
                    <a:pt x="3772" y="877"/>
                  </a:moveTo>
                  <a:lnTo>
                    <a:pt x="3789" y="889"/>
                  </a:lnTo>
                  <a:lnTo>
                    <a:pt x="3763" y="893"/>
                  </a:lnTo>
                  <a:lnTo>
                    <a:pt x="3763" y="889"/>
                  </a:lnTo>
                  <a:lnTo>
                    <a:pt x="3772" y="877"/>
                  </a:lnTo>
                  <a:lnTo>
                    <a:pt x="3772" y="877"/>
                  </a:lnTo>
                  <a:lnTo>
                    <a:pt x="3772" y="877"/>
                  </a:lnTo>
                  <a:close/>
                  <a:moveTo>
                    <a:pt x="3746" y="889"/>
                  </a:moveTo>
                  <a:lnTo>
                    <a:pt x="3758" y="893"/>
                  </a:lnTo>
                  <a:lnTo>
                    <a:pt x="3741" y="905"/>
                  </a:lnTo>
                  <a:lnTo>
                    <a:pt x="3741" y="889"/>
                  </a:lnTo>
                  <a:lnTo>
                    <a:pt x="3746" y="889"/>
                  </a:lnTo>
                  <a:lnTo>
                    <a:pt x="3746" y="889"/>
                  </a:lnTo>
                  <a:lnTo>
                    <a:pt x="3746" y="889"/>
                  </a:lnTo>
                  <a:close/>
                  <a:moveTo>
                    <a:pt x="3772" y="910"/>
                  </a:moveTo>
                  <a:lnTo>
                    <a:pt x="3763" y="905"/>
                  </a:lnTo>
                  <a:lnTo>
                    <a:pt x="3796" y="905"/>
                  </a:lnTo>
                  <a:lnTo>
                    <a:pt x="3772" y="910"/>
                  </a:lnTo>
                  <a:lnTo>
                    <a:pt x="3772" y="910"/>
                  </a:lnTo>
                  <a:lnTo>
                    <a:pt x="3772" y="910"/>
                  </a:lnTo>
                  <a:close/>
                  <a:moveTo>
                    <a:pt x="3649" y="917"/>
                  </a:moveTo>
                  <a:lnTo>
                    <a:pt x="3654" y="917"/>
                  </a:lnTo>
                  <a:lnTo>
                    <a:pt x="3649" y="917"/>
                  </a:lnTo>
                  <a:lnTo>
                    <a:pt x="3649" y="917"/>
                  </a:lnTo>
                  <a:lnTo>
                    <a:pt x="3649" y="917"/>
                  </a:lnTo>
                  <a:close/>
                  <a:moveTo>
                    <a:pt x="3796" y="917"/>
                  </a:moveTo>
                  <a:lnTo>
                    <a:pt x="3789" y="933"/>
                  </a:lnTo>
                  <a:lnTo>
                    <a:pt x="3779" y="926"/>
                  </a:lnTo>
                  <a:lnTo>
                    <a:pt x="3796" y="917"/>
                  </a:lnTo>
                  <a:lnTo>
                    <a:pt x="3796" y="917"/>
                  </a:lnTo>
                  <a:lnTo>
                    <a:pt x="3796" y="917"/>
                  </a:lnTo>
                  <a:close/>
                  <a:moveTo>
                    <a:pt x="3772" y="926"/>
                  </a:moveTo>
                  <a:lnTo>
                    <a:pt x="3763" y="926"/>
                  </a:lnTo>
                  <a:lnTo>
                    <a:pt x="3772" y="917"/>
                  </a:lnTo>
                  <a:lnTo>
                    <a:pt x="3772" y="926"/>
                  </a:lnTo>
                  <a:lnTo>
                    <a:pt x="3772" y="926"/>
                  </a:lnTo>
                  <a:lnTo>
                    <a:pt x="3772" y="926"/>
                  </a:lnTo>
                  <a:close/>
                  <a:moveTo>
                    <a:pt x="3637" y="945"/>
                  </a:moveTo>
                  <a:lnTo>
                    <a:pt x="3628" y="966"/>
                  </a:lnTo>
                  <a:lnTo>
                    <a:pt x="3616" y="962"/>
                  </a:lnTo>
                  <a:lnTo>
                    <a:pt x="3637" y="945"/>
                  </a:lnTo>
                  <a:lnTo>
                    <a:pt x="3637" y="945"/>
                  </a:lnTo>
                  <a:lnTo>
                    <a:pt x="3637" y="945"/>
                  </a:lnTo>
                  <a:close/>
                  <a:moveTo>
                    <a:pt x="3734" y="966"/>
                  </a:moveTo>
                  <a:lnTo>
                    <a:pt x="3772" y="971"/>
                  </a:lnTo>
                  <a:lnTo>
                    <a:pt x="3687" y="950"/>
                  </a:lnTo>
                  <a:lnTo>
                    <a:pt x="3725" y="950"/>
                  </a:lnTo>
                  <a:lnTo>
                    <a:pt x="3720" y="950"/>
                  </a:lnTo>
                  <a:lnTo>
                    <a:pt x="3734" y="966"/>
                  </a:lnTo>
                  <a:lnTo>
                    <a:pt x="3734" y="966"/>
                  </a:lnTo>
                  <a:lnTo>
                    <a:pt x="3734" y="966"/>
                  </a:lnTo>
                  <a:close/>
                  <a:moveTo>
                    <a:pt x="3746" y="962"/>
                  </a:moveTo>
                  <a:lnTo>
                    <a:pt x="3741" y="950"/>
                  </a:lnTo>
                  <a:lnTo>
                    <a:pt x="3746" y="962"/>
                  </a:lnTo>
                  <a:lnTo>
                    <a:pt x="3746" y="962"/>
                  </a:lnTo>
                  <a:lnTo>
                    <a:pt x="3746" y="962"/>
                  </a:lnTo>
                  <a:close/>
                  <a:moveTo>
                    <a:pt x="3881" y="962"/>
                  </a:moveTo>
                  <a:lnTo>
                    <a:pt x="3885" y="971"/>
                  </a:lnTo>
                  <a:lnTo>
                    <a:pt x="3881" y="988"/>
                  </a:lnTo>
                  <a:lnTo>
                    <a:pt x="3843" y="1000"/>
                  </a:lnTo>
                  <a:lnTo>
                    <a:pt x="3864" y="966"/>
                  </a:lnTo>
                  <a:lnTo>
                    <a:pt x="3881" y="962"/>
                  </a:lnTo>
                  <a:lnTo>
                    <a:pt x="3881" y="962"/>
                  </a:lnTo>
                  <a:lnTo>
                    <a:pt x="3881" y="962"/>
                  </a:lnTo>
                  <a:close/>
                  <a:moveTo>
                    <a:pt x="3708" y="1000"/>
                  </a:moveTo>
                  <a:lnTo>
                    <a:pt x="3720" y="1004"/>
                  </a:lnTo>
                  <a:lnTo>
                    <a:pt x="3687" y="1004"/>
                  </a:lnTo>
                  <a:lnTo>
                    <a:pt x="3708" y="1000"/>
                  </a:lnTo>
                  <a:lnTo>
                    <a:pt x="3708" y="1000"/>
                  </a:lnTo>
                  <a:lnTo>
                    <a:pt x="3708" y="1000"/>
                  </a:lnTo>
                  <a:close/>
                  <a:moveTo>
                    <a:pt x="432" y="1004"/>
                  </a:moveTo>
                  <a:lnTo>
                    <a:pt x="425" y="1004"/>
                  </a:lnTo>
                  <a:lnTo>
                    <a:pt x="446" y="1004"/>
                  </a:lnTo>
                  <a:lnTo>
                    <a:pt x="432" y="1004"/>
                  </a:lnTo>
                  <a:lnTo>
                    <a:pt x="432" y="1004"/>
                  </a:lnTo>
                  <a:lnTo>
                    <a:pt x="432" y="1004"/>
                  </a:lnTo>
                  <a:close/>
                  <a:moveTo>
                    <a:pt x="479" y="1028"/>
                  </a:moveTo>
                  <a:lnTo>
                    <a:pt x="437" y="1021"/>
                  </a:lnTo>
                  <a:lnTo>
                    <a:pt x="479" y="1021"/>
                  </a:lnTo>
                  <a:lnTo>
                    <a:pt x="479" y="1028"/>
                  </a:lnTo>
                  <a:lnTo>
                    <a:pt x="479" y="1028"/>
                  </a:lnTo>
                  <a:lnTo>
                    <a:pt x="479" y="1028"/>
                  </a:lnTo>
                  <a:close/>
                  <a:moveTo>
                    <a:pt x="122" y="1028"/>
                  </a:moveTo>
                  <a:lnTo>
                    <a:pt x="205" y="1037"/>
                  </a:lnTo>
                  <a:lnTo>
                    <a:pt x="139" y="1044"/>
                  </a:lnTo>
                  <a:lnTo>
                    <a:pt x="122" y="1028"/>
                  </a:lnTo>
                  <a:lnTo>
                    <a:pt x="122" y="1028"/>
                  </a:lnTo>
                  <a:lnTo>
                    <a:pt x="122" y="1028"/>
                  </a:lnTo>
                  <a:close/>
                  <a:moveTo>
                    <a:pt x="54" y="1028"/>
                  </a:moveTo>
                  <a:lnTo>
                    <a:pt x="113" y="1044"/>
                  </a:lnTo>
                  <a:lnTo>
                    <a:pt x="68" y="1054"/>
                  </a:lnTo>
                  <a:lnTo>
                    <a:pt x="30" y="1037"/>
                  </a:lnTo>
                  <a:lnTo>
                    <a:pt x="54" y="1028"/>
                  </a:lnTo>
                  <a:lnTo>
                    <a:pt x="54" y="1028"/>
                  </a:lnTo>
                  <a:lnTo>
                    <a:pt x="54" y="1028"/>
                  </a:lnTo>
                  <a:close/>
                  <a:moveTo>
                    <a:pt x="3741" y="1127"/>
                  </a:moveTo>
                  <a:lnTo>
                    <a:pt x="3746" y="1127"/>
                  </a:lnTo>
                  <a:lnTo>
                    <a:pt x="3734" y="1132"/>
                  </a:lnTo>
                  <a:lnTo>
                    <a:pt x="3741" y="1127"/>
                  </a:lnTo>
                  <a:lnTo>
                    <a:pt x="3741" y="1127"/>
                  </a:lnTo>
                  <a:lnTo>
                    <a:pt x="3741" y="1127"/>
                  </a:lnTo>
                  <a:close/>
                  <a:moveTo>
                    <a:pt x="3810" y="1226"/>
                  </a:moveTo>
                  <a:lnTo>
                    <a:pt x="3817" y="1243"/>
                  </a:lnTo>
                  <a:lnTo>
                    <a:pt x="3817" y="1266"/>
                  </a:lnTo>
                  <a:lnTo>
                    <a:pt x="3817" y="1250"/>
                  </a:lnTo>
                  <a:lnTo>
                    <a:pt x="3779" y="1172"/>
                  </a:lnTo>
                  <a:lnTo>
                    <a:pt x="3800" y="1165"/>
                  </a:lnTo>
                  <a:lnTo>
                    <a:pt x="3789" y="1155"/>
                  </a:lnTo>
                  <a:lnTo>
                    <a:pt x="3789" y="1139"/>
                  </a:lnTo>
                  <a:lnTo>
                    <a:pt x="3810" y="1155"/>
                  </a:lnTo>
                  <a:lnTo>
                    <a:pt x="3810" y="1172"/>
                  </a:lnTo>
                  <a:lnTo>
                    <a:pt x="3817" y="1222"/>
                  </a:lnTo>
                  <a:lnTo>
                    <a:pt x="3810" y="1226"/>
                  </a:lnTo>
                  <a:lnTo>
                    <a:pt x="3810" y="1226"/>
                  </a:lnTo>
                  <a:lnTo>
                    <a:pt x="3810" y="1226"/>
                  </a:lnTo>
                  <a:close/>
                  <a:moveTo>
                    <a:pt x="3741" y="1139"/>
                  </a:moveTo>
                  <a:lnTo>
                    <a:pt x="3746" y="1139"/>
                  </a:lnTo>
                  <a:lnTo>
                    <a:pt x="3725" y="1139"/>
                  </a:lnTo>
                  <a:lnTo>
                    <a:pt x="3741" y="1139"/>
                  </a:lnTo>
                  <a:lnTo>
                    <a:pt x="3741" y="1139"/>
                  </a:lnTo>
                  <a:lnTo>
                    <a:pt x="3741" y="1139"/>
                  </a:lnTo>
                  <a:close/>
                  <a:moveTo>
                    <a:pt x="3633" y="1165"/>
                  </a:moveTo>
                  <a:lnTo>
                    <a:pt x="3611" y="1155"/>
                  </a:lnTo>
                  <a:lnTo>
                    <a:pt x="3649" y="1155"/>
                  </a:lnTo>
                  <a:lnTo>
                    <a:pt x="3633" y="1165"/>
                  </a:lnTo>
                  <a:lnTo>
                    <a:pt x="3633" y="1165"/>
                  </a:lnTo>
                  <a:lnTo>
                    <a:pt x="3633" y="1165"/>
                  </a:lnTo>
                  <a:close/>
                  <a:moveTo>
                    <a:pt x="236" y="1155"/>
                  </a:moveTo>
                  <a:lnTo>
                    <a:pt x="252" y="1165"/>
                  </a:lnTo>
                  <a:lnTo>
                    <a:pt x="205" y="1165"/>
                  </a:lnTo>
                  <a:lnTo>
                    <a:pt x="236" y="1155"/>
                  </a:lnTo>
                  <a:lnTo>
                    <a:pt x="236" y="1155"/>
                  </a:lnTo>
                  <a:lnTo>
                    <a:pt x="236" y="1155"/>
                  </a:lnTo>
                  <a:close/>
                  <a:moveTo>
                    <a:pt x="3670" y="1172"/>
                  </a:moveTo>
                  <a:lnTo>
                    <a:pt x="3666" y="1189"/>
                  </a:lnTo>
                  <a:lnTo>
                    <a:pt x="3637" y="1184"/>
                  </a:lnTo>
                  <a:lnTo>
                    <a:pt x="3670" y="1172"/>
                  </a:lnTo>
                  <a:lnTo>
                    <a:pt x="3670" y="1172"/>
                  </a:lnTo>
                  <a:lnTo>
                    <a:pt x="3670" y="1172"/>
                  </a:lnTo>
                  <a:close/>
                  <a:moveTo>
                    <a:pt x="215" y="1184"/>
                  </a:moveTo>
                  <a:lnTo>
                    <a:pt x="219" y="1189"/>
                  </a:lnTo>
                  <a:lnTo>
                    <a:pt x="198" y="1184"/>
                  </a:lnTo>
                  <a:lnTo>
                    <a:pt x="215" y="1184"/>
                  </a:lnTo>
                  <a:lnTo>
                    <a:pt x="215" y="1184"/>
                  </a:lnTo>
                  <a:lnTo>
                    <a:pt x="215" y="1184"/>
                  </a:lnTo>
                  <a:close/>
                  <a:moveTo>
                    <a:pt x="3708" y="1193"/>
                  </a:moveTo>
                  <a:lnTo>
                    <a:pt x="3692" y="1210"/>
                  </a:lnTo>
                  <a:lnTo>
                    <a:pt x="3670" y="1193"/>
                  </a:lnTo>
                  <a:lnTo>
                    <a:pt x="3708" y="1193"/>
                  </a:lnTo>
                  <a:lnTo>
                    <a:pt x="3708" y="1193"/>
                  </a:lnTo>
                  <a:lnTo>
                    <a:pt x="3708" y="1193"/>
                  </a:lnTo>
                  <a:close/>
                  <a:moveTo>
                    <a:pt x="630" y="1226"/>
                  </a:moveTo>
                  <a:lnTo>
                    <a:pt x="630" y="1243"/>
                  </a:lnTo>
                  <a:lnTo>
                    <a:pt x="626" y="1238"/>
                  </a:lnTo>
                  <a:lnTo>
                    <a:pt x="630" y="1226"/>
                  </a:lnTo>
                  <a:lnTo>
                    <a:pt x="630" y="1226"/>
                  </a:lnTo>
                  <a:lnTo>
                    <a:pt x="630" y="1226"/>
                  </a:lnTo>
                  <a:close/>
                  <a:moveTo>
                    <a:pt x="559" y="1238"/>
                  </a:moveTo>
                  <a:lnTo>
                    <a:pt x="559" y="1243"/>
                  </a:lnTo>
                  <a:lnTo>
                    <a:pt x="545" y="1243"/>
                  </a:lnTo>
                  <a:lnTo>
                    <a:pt x="559" y="1238"/>
                  </a:lnTo>
                  <a:lnTo>
                    <a:pt x="559" y="1238"/>
                  </a:lnTo>
                  <a:lnTo>
                    <a:pt x="559" y="1238"/>
                  </a:lnTo>
                  <a:close/>
                  <a:moveTo>
                    <a:pt x="3864" y="1337"/>
                  </a:moveTo>
                  <a:lnTo>
                    <a:pt x="3871" y="1354"/>
                  </a:lnTo>
                  <a:lnTo>
                    <a:pt x="3843" y="1361"/>
                  </a:lnTo>
                  <a:lnTo>
                    <a:pt x="3881" y="1387"/>
                  </a:lnTo>
                  <a:lnTo>
                    <a:pt x="3909" y="1377"/>
                  </a:lnTo>
                  <a:lnTo>
                    <a:pt x="3902" y="1394"/>
                  </a:lnTo>
                  <a:lnTo>
                    <a:pt x="3885" y="1406"/>
                  </a:lnTo>
                  <a:lnTo>
                    <a:pt x="3885" y="1394"/>
                  </a:lnTo>
                  <a:lnTo>
                    <a:pt x="3871" y="1394"/>
                  </a:lnTo>
                  <a:lnTo>
                    <a:pt x="3796" y="1394"/>
                  </a:lnTo>
                  <a:lnTo>
                    <a:pt x="3800" y="1349"/>
                  </a:lnTo>
                  <a:lnTo>
                    <a:pt x="3817" y="1337"/>
                  </a:lnTo>
                  <a:lnTo>
                    <a:pt x="3843" y="1354"/>
                  </a:lnTo>
                  <a:lnTo>
                    <a:pt x="3848" y="1333"/>
                  </a:lnTo>
                  <a:lnTo>
                    <a:pt x="3864" y="1337"/>
                  </a:lnTo>
                  <a:lnTo>
                    <a:pt x="3864" y="1337"/>
                  </a:lnTo>
                  <a:lnTo>
                    <a:pt x="3864" y="1337"/>
                  </a:lnTo>
                  <a:close/>
                  <a:moveTo>
                    <a:pt x="3704" y="1387"/>
                  </a:moveTo>
                  <a:lnTo>
                    <a:pt x="3725" y="1394"/>
                  </a:lnTo>
                  <a:lnTo>
                    <a:pt x="3708" y="1411"/>
                  </a:lnTo>
                  <a:lnTo>
                    <a:pt x="3741" y="1415"/>
                  </a:lnTo>
                  <a:lnTo>
                    <a:pt x="3708" y="1444"/>
                  </a:lnTo>
                  <a:lnTo>
                    <a:pt x="3670" y="1427"/>
                  </a:lnTo>
                  <a:lnTo>
                    <a:pt x="3682" y="1411"/>
                  </a:lnTo>
                  <a:lnTo>
                    <a:pt x="3682" y="1394"/>
                  </a:lnTo>
                  <a:lnTo>
                    <a:pt x="3704" y="1387"/>
                  </a:lnTo>
                  <a:lnTo>
                    <a:pt x="3704" y="1387"/>
                  </a:lnTo>
                  <a:lnTo>
                    <a:pt x="3704" y="1387"/>
                  </a:lnTo>
                  <a:close/>
                  <a:moveTo>
                    <a:pt x="1084" y="1432"/>
                  </a:moveTo>
                  <a:lnTo>
                    <a:pt x="1096" y="1432"/>
                  </a:lnTo>
                  <a:lnTo>
                    <a:pt x="1074" y="1432"/>
                  </a:lnTo>
                  <a:lnTo>
                    <a:pt x="1084" y="1432"/>
                  </a:lnTo>
                  <a:lnTo>
                    <a:pt x="1084" y="1432"/>
                  </a:lnTo>
                  <a:lnTo>
                    <a:pt x="1084" y="1432"/>
                  </a:lnTo>
                  <a:close/>
                  <a:moveTo>
                    <a:pt x="3833" y="1444"/>
                  </a:moveTo>
                  <a:lnTo>
                    <a:pt x="3833" y="1448"/>
                  </a:lnTo>
                  <a:lnTo>
                    <a:pt x="3826" y="1448"/>
                  </a:lnTo>
                  <a:lnTo>
                    <a:pt x="3817" y="1432"/>
                  </a:lnTo>
                  <a:lnTo>
                    <a:pt x="3833" y="1444"/>
                  </a:lnTo>
                  <a:lnTo>
                    <a:pt x="3833" y="1444"/>
                  </a:lnTo>
                  <a:lnTo>
                    <a:pt x="3833" y="1444"/>
                  </a:lnTo>
                  <a:close/>
                  <a:moveTo>
                    <a:pt x="3810" y="1448"/>
                  </a:moveTo>
                  <a:lnTo>
                    <a:pt x="3800" y="1460"/>
                  </a:lnTo>
                  <a:lnTo>
                    <a:pt x="3772" y="1460"/>
                  </a:lnTo>
                  <a:lnTo>
                    <a:pt x="3800" y="1444"/>
                  </a:lnTo>
                  <a:lnTo>
                    <a:pt x="3810" y="1448"/>
                  </a:lnTo>
                  <a:lnTo>
                    <a:pt x="3810" y="1448"/>
                  </a:lnTo>
                  <a:lnTo>
                    <a:pt x="3810" y="1448"/>
                  </a:lnTo>
                  <a:close/>
                  <a:moveTo>
                    <a:pt x="1117" y="1448"/>
                  </a:moveTo>
                  <a:lnTo>
                    <a:pt x="1100" y="1460"/>
                  </a:lnTo>
                  <a:lnTo>
                    <a:pt x="1117" y="1448"/>
                  </a:lnTo>
                  <a:lnTo>
                    <a:pt x="1117" y="1448"/>
                  </a:lnTo>
                  <a:lnTo>
                    <a:pt x="1117" y="1448"/>
                  </a:lnTo>
                  <a:close/>
                  <a:moveTo>
                    <a:pt x="1126" y="1448"/>
                  </a:moveTo>
                  <a:lnTo>
                    <a:pt x="1133" y="1460"/>
                  </a:lnTo>
                  <a:lnTo>
                    <a:pt x="1117" y="1460"/>
                  </a:lnTo>
                  <a:lnTo>
                    <a:pt x="1126" y="1448"/>
                  </a:lnTo>
                  <a:lnTo>
                    <a:pt x="1126" y="1448"/>
                  </a:lnTo>
                  <a:lnTo>
                    <a:pt x="1126" y="1448"/>
                  </a:lnTo>
                  <a:close/>
                  <a:moveTo>
                    <a:pt x="1100" y="1465"/>
                  </a:moveTo>
                  <a:lnTo>
                    <a:pt x="1164" y="1465"/>
                  </a:lnTo>
                  <a:lnTo>
                    <a:pt x="1084" y="1465"/>
                  </a:lnTo>
                  <a:lnTo>
                    <a:pt x="1100" y="1465"/>
                  </a:lnTo>
                  <a:lnTo>
                    <a:pt x="1100" y="1465"/>
                  </a:lnTo>
                  <a:lnTo>
                    <a:pt x="1100" y="1465"/>
                  </a:lnTo>
                  <a:close/>
                  <a:moveTo>
                    <a:pt x="3649" y="1472"/>
                  </a:moveTo>
                  <a:lnTo>
                    <a:pt x="3682" y="1481"/>
                  </a:lnTo>
                  <a:lnTo>
                    <a:pt x="3687" y="1498"/>
                  </a:lnTo>
                  <a:lnTo>
                    <a:pt x="3708" y="1514"/>
                  </a:lnTo>
                  <a:lnTo>
                    <a:pt x="3633" y="1526"/>
                  </a:lnTo>
                  <a:lnTo>
                    <a:pt x="3578" y="1505"/>
                  </a:lnTo>
                  <a:lnTo>
                    <a:pt x="3611" y="1481"/>
                  </a:lnTo>
                  <a:lnTo>
                    <a:pt x="3649" y="1472"/>
                  </a:lnTo>
                  <a:lnTo>
                    <a:pt x="3649" y="1472"/>
                  </a:lnTo>
                  <a:lnTo>
                    <a:pt x="3649" y="1472"/>
                  </a:lnTo>
                  <a:close/>
                  <a:moveTo>
                    <a:pt x="3708" y="1543"/>
                  </a:moveTo>
                  <a:lnTo>
                    <a:pt x="3720" y="1555"/>
                  </a:lnTo>
                  <a:lnTo>
                    <a:pt x="3704" y="1555"/>
                  </a:lnTo>
                  <a:lnTo>
                    <a:pt x="3708" y="1543"/>
                  </a:lnTo>
                  <a:lnTo>
                    <a:pt x="3708" y="1543"/>
                  </a:lnTo>
                  <a:lnTo>
                    <a:pt x="3708" y="1543"/>
                  </a:lnTo>
                  <a:close/>
                  <a:moveTo>
                    <a:pt x="1171" y="1571"/>
                  </a:moveTo>
                  <a:lnTo>
                    <a:pt x="1138" y="1555"/>
                  </a:lnTo>
                  <a:lnTo>
                    <a:pt x="1193" y="1559"/>
                  </a:lnTo>
                  <a:lnTo>
                    <a:pt x="1171" y="1571"/>
                  </a:lnTo>
                  <a:lnTo>
                    <a:pt x="1171" y="1571"/>
                  </a:lnTo>
                  <a:lnTo>
                    <a:pt x="1171" y="1571"/>
                  </a:lnTo>
                  <a:close/>
                  <a:moveTo>
                    <a:pt x="1155" y="1583"/>
                  </a:moveTo>
                  <a:lnTo>
                    <a:pt x="1171" y="1583"/>
                  </a:lnTo>
                  <a:lnTo>
                    <a:pt x="1126" y="1583"/>
                  </a:lnTo>
                  <a:lnTo>
                    <a:pt x="1155" y="1583"/>
                  </a:lnTo>
                  <a:lnTo>
                    <a:pt x="1155" y="1583"/>
                  </a:lnTo>
                  <a:lnTo>
                    <a:pt x="1155" y="1583"/>
                  </a:lnTo>
                  <a:close/>
                  <a:moveTo>
                    <a:pt x="1164" y="1600"/>
                  </a:moveTo>
                  <a:lnTo>
                    <a:pt x="1155" y="1600"/>
                  </a:lnTo>
                  <a:lnTo>
                    <a:pt x="1171" y="1583"/>
                  </a:lnTo>
                  <a:lnTo>
                    <a:pt x="1181" y="1592"/>
                  </a:lnTo>
                  <a:lnTo>
                    <a:pt x="1164" y="1600"/>
                  </a:lnTo>
                  <a:lnTo>
                    <a:pt x="1164" y="1600"/>
                  </a:lnTo>
                  <a:lnTo>
                    <a:pt x="1164" y="1600"/>
                  </a:lnTo>
                  <a:close/>
                  <a:moveTo>
                    <a:pt x="1193" y="1600"/>
                  </a:moveTo>
                  <a:lnTo>
                    <a:pt x="1235" y="1616"/>
                  </a:lnTo>
                  <a:lnTo>
                    <a:pt x="1209" y="1626"/>
                  </a:lnTo>
                  <a:lnTo>
                    <a:pt x="1219" y="1609"/>
                  </a:lnTo>
                  <a:lnTo>
                    <a:pt x="1188" y="1600"/>
                  </a:lnTo>
                  <a:lnTo>
                    <a:pt x="1193" y="1600"/>
                  </a:lnTo>
                  <a:lnTo>
                    <a:pt x="1193" y="1600"/>
                  </a:lnTo>
                  <a:lnTo>
                    <a:pt x="1193" y="1600"/>
                  </a:lnTo>
                  <a:close/>
                  <a:moveTo>
                    <a:pt x="1193" y="1609"/>
                  </a:moveTo>
                  <a:lnTo>
                    <a:pt x="1209" y="1616"/>
                  </a:lnTo>
                  <a:lnTo>
                    <a:pt x="1188" y="1616"/>
                  </a:lnTo>
                  <a:lnTo>
                    <a:pt x="1193" y="1609"/>
                  </a:lnTo>
                  <a:lnTo>
                    <a:pt x="1193" y="1609"/>
                  </a:lnTo>
                  <a:lnTo>
                    <a:pt x="1193" y="1609"/>
                  </a:lnTo>
                  <a:close/>
                  <a:moveTo>
                    <a:pt x="3406" y="1616"/>
                  </a:moveTo>
                  <a:lnTo>
                    <a:pt x="3493" y="1649"/>
                  </a:lnTo>
                  <a:lnTo>
                    <a:pt x="3368" y="1633"/>
                  </a:lnTo>
                  <a:lnTo>
                    <a:pt x="3507" y="1654"/>
                  </a:lnTo>
                  <a:lnTo>
                    <a:pt x="3406" y="1670"/>
                  </a:lnTo>
                  <a:lnTo>
                    <a:pt x="3314" y="1649"/>
                  </a:lnTo>
                  <a:lnTo>
                    <a:pt x="3352" y="1626"/>
                  </a:lnTo>
                  <a:lnTo>
                    <a:pt x="3406" y="1616"/>
                  </a:lnTo>
                  <a:lnTo>
                    <a:pt x="3406" y="1616"/>
                  </a:lnTo>
                  <a:lnTo>
                    <a:pt x="3406" y="1616"/>
                  </a:lnTo>
                  <a:close/>
                  <a:moveTo>
                    <a:pt x="1193" y="1626"/>
                  </a:moveTo>
                  <a:lnTo>
                    <a:pt x="1202" y="1626"/>
                  </a:lnTo>
                  <a:lnTo>
                    <a:pt x="1188" y="1633"/>
                  </a:lnTo>
                  <a:lnTo>
                    <a:pt x="1193" y="1626"/>
                  </a:lnTo>
                  <a:lnTo>
                    <a:pt x="1193" y="1626"/>
                  </a:lnTo>
                  <a:lnTo>
                    <a:pt x="1193" y="1626"/>
                  </a:lnTo>
                  <a:close/>
                  <a:moveTo>
                    <a:pt x="1209" y="1626"/>
                  </a:moveTo>
                  <a:lnTo>
                    <a:pt x="1219" y="1633"/>
                  </a:lnTo>
                  <a:lnTo>
                    <a:pt x="1202" y="1633"/>
                  </a:lnTo>
                  <a:lnTo>
                    <a:pt x="1209" y="1626"/>
                  </a:lnTo>
                  <a:lnTo>
                    <a:pt x="1209" y="1626"/>
                  </a:lnTo>
                  <a:lnTo>
                    <a:pt x="1209" y="1626"/>
                  </a:lnTo>
                  <a:close/>
                  <a:moveTo>
                    <a:pt x="1202" y="1637"/>
                  </a:moveTo>
                  <a:lnTo>
                    <a:pt x="1188" y="1666"/>
                  </a:lnTo>
                  <a:lnTo>
                    <a:pt x="1193" y="1649"/>
                  </a:lnTo>
                  <a:lnTo>
                    <a:pt x="1202" y="1637"/>
                  </a:lnTo>
                  <a:lnTo>
                    <a:pt x="1202" y="1637"/>
                  </a:lnTo>
                  <a:lnTo>
                    <a:pt x="1202" y="1637"/>
                  </a:lnTo>
                  <a:close/>
                  <a:moveTo>
                    <a:pt x="1181" y="1649"/>
                  </a:moveTo>
                  <a:lnTo>
                    <a:pt x="1181" y="1654"/>
                  </a:lnTo>
                  <a:lnTo>
                    <a:pt x="1171" y="1654"/>
                  </a:lnTo>
                  <a:lnTo>
                    <a:pt x="1181" y="1649"/>
                  </a:lnTo>
                  <a:lnTo>
                    <a:pt x="1181" y="1649"/>
                  </a:lnTo>
                  <a:lnTo>
                    <a:pt x="1181" y="1649"/>
                  </a:lnTo>
                  <a:close/>
                  <a:moveTo>
                    <a:pt x="3583" y="1720"/>
                  </a:moveTo>
                  <a:lnTo>
                    <a:pt x="3541" y="1720"/>
                  </a:lnTo>
                  <a:lnTo>
                    <a:pt x="3503" y="1694"/>
                  </a:lnTo>
                  <a:lnTo>
                    <a:pt x="3401" y="1687"/>
                  </a:lnTo>
                  <a:lnTo>
                    <a:pt x="3394" y="1682"/>
                  </a:lnTo>
                  <a:lnTo>
                    <a:pt x="3493" y="1670"/>
                  </a:lnTo>
                  <a:lnTo>
                    <a:pt x="3545" y="1682"/>
                  </a:lnTo>
                  <a:lnTo>
                    <a:pt x="3583" y="1687"/>
                  </a:lnTo>
                  <a:lnTo>
                    <a:pt x="3562" y="1703"/>
                  </a:lnTo>
                  <a:lnTo>
                    <a:pt x="3578" y="1711"/>
                  </a:lnTo>
                  <a:lnTo>
                    <a:pt x="3583" y="1720"/>
                  </a:lnTo>
                  <a:lnTo>
                    <a:pt x="3583" y="1720"/>
                  </a:lnTo>
                  <a:lnTo>
                    <a:pt x="3583" y="1720"/>
                  </a:lnTo>
                  <a:close/>
                  <a:moveTo>
                    <a:pt x="1209" y="1670"/>
                  </a:moveTo>
                  <a:lnTo>
                    <a:pt x="1219" y="1670"/>
                  </a:lnTo>
                  <a:lnTo>
                    <a:pt x="1202" y="1670"/>
                  </a:lnTo>
                  <a:lnTo>
                    <a:pt x="1209" y="1670"/>
                  </a:lnTo>
                  <a:lnTo>
                    <a:pt x="1209" y="1670"/>
                  </a:lnTo>
                  <a:lnTo>
                    <a:pt x="1209" y="1670"/>
                  </a:lnTo>
                  <a:close/>
                  <a:moveTo>
                    <a:pt x="1240" y="1687"/>
                  </a:moveTo>
                  <a:lnTo>
                    <a:pt x="1219" y="1682"/>
                  </a:lnTo>
                  <a:lnTo>
                    <a:pt x="1226" y="1670"/>
                  </a:lnTo>
                  <a:lnTo>
                    <a:pt x="1256" y="1682"/>
                  </a:lnTo>
                  <a:lnTo>
                    <a:pt x="1240" y="1687"/>
                  </a:lnTo>
                  <a:lnTo>
                    <a:pt x="1240" y="1687"/>
                  </a:lnTo>
                  <a:lnTo>
                    <a:pt x="1240" y="1687"/>
                  </a:lnTo>
                  <a:close/>
                  <a:moveTo>
                    <a:pt x="3385" y="1687"/>
                  </a:moveTo>
                  <a:lnTo>
                    <a:pt x="3380" y="1711"/>
                  </a:lnTo>
                  <a:lnTo>
                    <a:pt x="3352" y="1703"/>
                  </a:lnTo>
                  <a:lnTo>
                    <a:pt x="3385" y="1687"/>
                  </a:lnTo>
                  <a:lnTo>
                    <a:pt x="3385" y="1687"/>
                  </a:lnTo>
                  <a:lnTo>
                    <a:pt x="3385" y="1687"/>
                  </a:lnTo>
                  <a:close/>
                  <a:moveTo>
                    <a:pt x="1226" y="1694"/>
                  </a:moveTo>
                  <a:lnTo>
                    <a:pt x="1240" y="1694"/>
                  </a:lnTo>
                  <a:lnTo>
                    <a:pt x="1226" y="1703"/>
                  </a:lnTo>
                  <a:lnTo>
                    <a:pt x="1226" y="1694"/>
                  </a:lnTo>
                  <a:lnTo>
                    <a:pt x="1226" y="1694"/>
                  </a:lnTo>
                  <a:lnTo>
                    <a:pt x="1226" y="1694"/>
                  </a:lnTo>
                  <a:close/>
                  <a:moveTo>
                    <a:pt x="3557" y="1798"/>
                  </a:moveTo>
                  <a:lnTo>
                    <a:pt x="3439" y="1748"/>
                  </a:lnTo>
                  <a:lnTo>
                    <a:pt x="3406" y="1737"/>
                  </a:lnTo>
                  <a:lnTo>
                    <a:pt x="3401" y="1703"/>
                  </a:lnTo>
                  <a:lnTo>
                    <a:pt x="3503" y="1694"/>
                  </a:lnTo>
                  <a:lnTo>
                    <a:pt x="3531" y="1727"/>
                  </a:lnTo>
                  <a:lnTo>
                    <a:pt x="3583" y="1748"/>
                  </a:lnTo>
                  <a:lnTo>
                    <a:pt x="3578" y="1760"/>
                  </a:lnTo>
                  <a:lnTo>
                    <a:pt x="3524" y="1748"/>
                  </a:lnTo>
                  <a:lnTo>
                    <a:pt x="3574" y="1777"/>
                  </a:lnTo>
                  <a:lnTo>
                    <a:pt x="3574" y="1793"/>
                  </a:lnTo>
                  <a:lnTo>
                    <a:pt x="3557" y="1798"/>
                  </a:lnTo>
                  <a:lnTo>
                    <a:pt x="3557" y="1798"/>
                  </a:lnTo>
                  <a:lnTo>
                    <a:pt x="3557" y="1798"/>
                  </a:lnTo>
                  <a:close/>
                  <a:moveTo>
                    <a:pt x="1247" y="1694"/>
                  </a:moveTo>
                  <a:lnTo>
                    <a:pt x="1263" y="1703"/>
                  </a:lnTo>
                  <a:lnTo>
                    <a:pt x="1226" y="1737"/>
                  </a:lnTo>
                  <a:lnTo>
                    <a:pt x="1235" y="1727"/>
                  </a:lnTo>
                  <a:lnTo>
                    <a:pt x="1202" y="1727"/>
                  </a:lnTo>
                  <a:lnTo>
                    <a:pt x="1219" y="1711"/>
                  </a:lnTo>
                  <a:lnTo>
                    <a:pt x="1247" y="1694"/>
                  </a:lnTo>
                  <a:lnTo>
                    <a:pt x="1247" y="1694"/>
                  </a:lnTo>
                  <a:lnTo>
                    <a:pt x="1247" y="1694"/>
                  </a:lnTo>
                  <a:close/>
                  <a:moveTo>
                    <a:pt x="1202" y="1703"/>
                  </a:moveTo>
                  <a:lnTo>
                    <a:pt x="1209" y="1703"/>
                  </a:lnTo>
                  <a:lnTo>
                    <a:pt x="1193" y="1703"/>
                  </a:lnTo>
                  <a:lnTo>
                    <a:pt x="1202" y="1703"/>
                  </a:lnTo>
                  <a:lnTo>
                    <a:pt x="1202" y="1703"/>
                  </a:lnTo>
                  <a:lnTo>
                    <a:pt x="1202" y="1703"/>
                  </a:lnTo>
                  <a:close/>
                  <a:moveTo>
                    <a:pt x="1219" y="1711"/>
                  </a:moveTo>
                  <a:lnTo>
                    <a:pt x="1193" y="1727"/>
                  </a:lnTo>
                  <a:lnTo>
                    <a:pt x="1181" y="1720"/>
                  </a:lnTo>
                  <a:lnTo>
                    <a:pt x="1219" y="1711"/>
                  </a:lnTo>
                  <a:lnTo>
                    <a:pt x="1219" y="1711"/>
                  </a:lnTo>
                  <a:lnTo>
                    <a:pt x="1219" y="1711"/>
                  </a:lnTo>
                  <a:close/>
                  <a:moveTo>
                    <a:pt x="1263" y="1711"/>
                  </a:moveTo>
                  <a:lnTo>
                    <a:pt x="1278" y="1720"/>
                  </a:lnTo>
                  <a:lnTo>
                    <a:pt x="1256" y="1720"/>
                  </a:lnTo>
                  <a:lnTo>
                    <a:pt x="1263" y="1711"/>
                  </a:lnTo>
                  <a:lnTo>
                    <a:pt x="1263" y="1711"/>
                  </a:lnTo>
                  <a:lnTo>
                    <a:pt x="1263" y="1711"/>
                  </a:lnTo>
                  <a:close/>
                  <a:moveTo>
                    <a:pt x="1263" y="1720"/>
                  </a:moveTo>
                  <a:lnTo>
                    <a:pt x="1263" y="1727"/>
                  </a:lnTo>
                  <a:lnTo>
                    <a:pt x="1247" y="1737"/>
                  </a:lnTo>
                  <a:lnTo>
                    <a:pt x="1247" y="1720"/>
                  </a:lnTo>
                  <a:lnTo>
                    <a:pt x="1263" y="1720"/>
                  </a:lnTo>
                  <a:lnTo>
                    <a:pt x="1263" y="1720"/>
                  </a:lnTo>
                  <a:lnTo>
                    <a:pt x="1263" y="1720"/>
                  </a:lnTo>
                  <a:close/>
                  <a:moveTo>
                    <a:pt x="1202" y="1737"/>
                  </a:moveTo>
                  <a:lnTo>
                    <a:pt x="1193" y="1737"/>
                  </a:lnTo>
                  <a:lnTo>
                    <a:pt x="1219" y="1737"/>
                  </a:lnTo>
                  <a:lnTo>
                    <a:pt x="1202" y="1737"/>
                  </a:lnTo>
                  <a:lnTo>
                    <a:pt x="1202" y="1737"/>
                  </a:lnTo>
                  <a:lnTo>
                    <a:pt x="1202" y="1737"/>
                  </a:lnTo>
                  <a:close/>
                  <a:moveTo>
                    <a:pt x="1263" y="1760"/>
                  </a:moveTo>
                  <a:lnTo>
                    <a:pt x="1263" y="1777"/>
                  </a:lnTo>
                  <a:lnTo>
                    <a:pt x="1240" y="1793"/>
                  </a:lnTo>
                  <a:lnTo>
                    <a:pt x="1219" y="1793"/>
                  </a:lnTo>
                  <a:lnTo>
                    <a:pt x="1263" y="1760"/>
                  </a:lnTo>
                  <a:lnTo>
                    <a:pt x="1263" y="1760"/>
                  </a:lnTo>
                  <a:lnTo>
                    <a:pt x="1263" y="1760"/>
                  </a:lnTo>
                  <a:close/>
                  <a:moveTo>
                    <a:pt x="1226" y="1822"/>
                  </a:moveTo>
                  <a:lnTo>
                    <a:pt x="1235" y="1831"/>
                  </a:lnTo>
                  <a:lnTo>
                    <a:pt x="1226" y="1838"/>
                  </a:lnTo>
                  <a:lnTo>
                    <a:pt x="1209" y="1831"/>
                  </a:lnTo>
                  <a:lnTo>
                    <a:pt x="1226" y="1822"/>
                  </a:lnTo>
                  <a:lnTo>
                    <a:pt x="1226" y="1822"/>
                  </a:lnTo>
                  <a:lnTo>
                    <a:pt x="1226" y="1822"/>
                  </a:lnTo>
                  <a:close/>
                  <a:moveTo>
                    <a:pt x="1386" y="1876"/>
                  </a:moveTo>
                  <a:lnTo>
                    <a:pt x="1370" y="1871"/>
                  </a:lnTo>
                  <a:lnTo>
                    <a:pt x="1370" y="1864"/>
                  </a:lnTo>
                  <a:lnTo>
                    <a:pt x="1419" y="1864"/>
                  </a:lnTo>
                  <a:lnTo>
                    <a:pt x="1386" y="1876"/>
                  </a:lnTo>
                  <a:lnTo>
                    <a:pt x="1386" y="1876"/>
                  </a:lnTo>
                  <a:lnTo>
                    <a:pt x="1386" y="1876"/>
                  </a:lnTo>
                  <a:close/>
                  <a:moveTo>
                    <a:pt x="1398" y="1904"/>
                  </a:moveTo>
                  <a:lnTo>
                    <a:pt x="1441" y="1904"/>
                  </a:lnTo>
                  <a:lnTo>
                    <a:pt x="1452" y="1909"/>
                  </a:lnTo>
                  <a:lnTo>
                    <a:pt x="1408" y="1926"/>
                  </a:lnTo>
                  <a:lnTo>
                    <a:pt x="1398" y="1921"/>
                  </a:lnTo>
                  <a:lnTo>
                    <a:pt x="1398" y="1904"/>
                  </a:lnTo>
                  <a:lnTo>
                    <a:pt x="1398" y="1904"/>
                  </a:lnTo>
                  <a:lnTo>
                    <a:pt x="1398" y="1904"/>
                  </a:lnTo>
                  <a:close/>
                  <a:moveTo>
                    <a:pt x="1365" y="1909"/>
                  </a:moveTo>
                  <a:lnTo>
                    <a:pt x="1382" y="1926"/>
                  </a:lnTo>
                  <a:lnTo>
                    <a:pt x="1370" y="1942"/>
                  </a:lnTo>
                  <a:lnTo>
                    <a:pt x="1353" y="1942"/>
                  </a:lnTo>
                  <a:lnTo>
                    <a:pt x="1332" y="1933"/>
                  </a:lnTo>
                  <a:lnTo>
                    <a:pt x="1365" y="1909"/>
                  </a:lnTo>
                  <a:lnTo>
                    <a:pt x="1365" y="1909"/>
                  </a:lnTo>
                  <a:lnTo>
                    <a:pt x="1365" y="1909"/>
                  </a:lnTo>
                  <a:close/>
                  <a:moveTo>
                    <a:pt x="3347" y="1921"/>
                  </a:moveTo>
                  <a:lnTo>
                    <a:pt x="3347" y="1926"/>
                  </a:lnTo>
                  <a:lnTo>
                    <a:pt x="3330" y="1926"/>
                  </a:lnTo>
                  <a:lnTo>
                    <a:pt x="3347" y="1921"/>
                  </a:lnTo>
                  <a:lnTo>
                    <a:pt x="3347" y="1921"/>
                  </a:lnTo>
                  <a:lnTo>
                    <a:pt x="3347" y="1921"/>
                  </a:lnTo>
                  <a:close/>
                  <a:moveTo>
                    <a:pt x="3342" y="1933"/>
                  </a:moveTo>
                  <a:lnTo>
                    <a:pt x="3347" y="1942"/>
                  </a:lnTo>
                  <a:lnTo>
                    <a:pt x="3326" y="1933"/>
                  </a:lnTo>
                  <a:lnTo>
                    <a:pt x="3342" y="1933"/>
                  </a:lnTo>
                  <a:lnTo>
                    <a:pt x="3342" y="1933"/>
                  </a:lnTo>
                  <a:lnTo>
                    <a:pt x="3342" y="1933"/>
                  </a:lnTo>
                  <a:close/>
                  <a:moveTo>
                    <a:pt x="3288" y="2003"/>
                  </a:moveTo>
                  <a:lnTo>
                    <a:pt x="3146" y="2020"/>
                  </a:lnTo>
                  <a:lnTo>
                    <a:pt x="3153" y="1999"/>
                  </a:lnTo>
                  <a:lnTo>
                    <a:pt x="3179" y="1987"/>
                  </a:lnTo>
                  <a:lnTo>
                    <a:pt x="3217" y="1966"/>
                  </a:lnTo>
                  <a:lnTo>
                    <a:pt x="3276" y="1959"/>
                  </a:lnTo>
                  <a:lnTo>
                    <a:pt x="3314" y="1933"/>
                  </a:lnTo>
                  <a:lnTo>
                    <a:pt x="3314" y="1949"/>
                  </a:lnTo>
                  <a:lnTo>
                    <a:pt x="3342" y="1959"/>
                  </a:lnTo>
                  <a:lnTo>
                    <a:pt x="3347" y="1987"/>
                  </a:lnTo>
                  <a:lnTo>
                    <a:pt x="3288" y="2003"/>
                  </a:lnTo>
                  <a:lnTo>
                    <a:pt x="3288" y="2003"/>
                  </a:lnTo>
                  <a:lnTo>
                    <a:pt x="3288" y="2003"/>
                  </a:lnTo>
                  <a:close/>
                  <a:moveTo>
                    <a:pt x="1478" y="1949"/>
                  </a:moveTo>
                  <a:lnTo>
                    <a:pt x="1504" y="1966"/>
                  </a:lnTo>
                  <a:lnTo>
                    <a:pt x="1462" y="1959"/>
                  </a:lnTo>
                  <a:lnTo>
                    <a:pt x="1478" y="1949"/>
                  </a:lnTo>
                  <a:lnTo>
                    <a:pt x="1478" y="1949"/>
                  </a:lnTo>
                  <a:lnTo>
                    <a:pt x="1478" y="1949"/>
                  </a:lnTo>
                  <a:close/>
                  <a:moveTo>
                    <a:pt x="3205" y="1966"/>
                  </a:moveTo>
                  <a:lnTo>
                    <a:pt x="3179" y="1982"/>
                  </a:lnTo>
                  <a:lnTo>
                    <a:pt x="3179" y="1966"/>
                  </a:lnTo>
                  <a:lnTo>
                    <a:pt x="3205" y="1966"/>
                  </a:lnTo>
                  <a:lnTo>
                    <a:pt x="3205" y="1966"/>
                  </a:lnTo>
                  <a:lnTo>
                    <a:pt x="3205" y="1966"/>
                  </a:lnTo>
                  <a:close/>
                  <a:moveTo>
                    <a:pt x="1263" y="2015"/>
                  </a:moveTo>
                  <a:lnTo>
                    <a:pt x="1289" y="2032"/>
                  </a:lnTo>
                  <a:lnTo>
                    <a:pt x="1273" y="2032"/>
                  </a:lnTo>
                  <a:lnTo>
                    <a:pt x="1263" y="2020"/>
                  </a:lnTo>
                  <a:lnTo>
                    <a:pt x="1263" y="2015"/>
                  </a:lnTo>
                  <a:lnTo>
                    <a:pt x="1263" y="2015"/>
                  </a:lnTo>
                  <a:lnTo>
                    <a:pt x="1263" y="2015"/>
                  </a:lnTo>
                  <a:close/>
                  <a:moveTo>
                    <a:pt x="1315" y="2155"/>
                  </a:moveTo>
                  <a:lnTo>
                    <a:pt x="1382" y="2148"/>
                  </a:lnTo>
                  <a:lnTo>
                    <a:pt x="1365" y="2148"/>
                  </a:lnTo>
                  <a:lnTo>
                    <a:pt x="1382" y="2131"/>
                  </a:lnTo>
                  <a:lnTo>
                    <a:pt x="1348" y="2148"/>
                  </a:lnTo>
                  <a:lnTo>
                    <a:pt x="1344" y="2148"/>
                  </a:lnTo>
                  <a:lnTo>
                    <a:pt x="1353" y="2143"/>
                  </a:lnTo>
                  <a:lnTo>
                    <a:pt x="1332" y="2143"/>
                  </a:lnTo>
                  <a:lnTo>
                    <a:pt x="1344" y="2131"/>
                  </a:lnTo>
                  <a:lnTo>
                    <a:pt x="1344" y="2126"/>
                  </a:lnTo>
                  <a:lnTo>
                    <a:pt x="1327" y="2131"/>
                  </a:lnTo>
                  <a:lnTo>
                    <a:pt x="1278" y="2126"/>
                  </a:lnTo>
                  <a:lnTo>
                    <a:pt x="1263" y="2114"/>
                  </a:lnTo>
                  <a:lnTo>
                    <a:pt x="1289" y="2110"/>
                  </a:lnTo>
                  <a:lnTo>
                    <a:pt x="1311" y="2114"/>
                  </a:lnTo>
                  <a:lnTo>
                    <a:pt x="1273" y="2098"/>
                  </a:lnTo>
                  <a:lnTo>
                    <a:pt x="1273" y="2086"/>
                  </a:lnTo>
                  <a:lnTo>
                    <a:pt x="1315" y="2086"/>
                  </a:lnTo>
                  <a:lnTo>
                    <a:pt x="1278" y="2070"/>
                  </a:lnTo>
                  <a:lnTo>
                    <a:pt x="1278" y="2053"/>
                  </a:lnTo>
                  <a:lnTo>
                    <a:pt x="1311" y="2037"/>
                  </a:lnTo>
                  <a:lnTo>
                    <a:pt x="1370" y="2044"/>
                  </a:lnTo>
                  <a:lnTo>
                    <a:pt x="1424" y="2086"/>
                  </a:lnTo>
                  <a:lnTo>
                    <a:pt x="1478" y="2098"/>
                  </a:lnTo>
                  <a:lnTo>
                    <a:pt x="1478" y="2110"/>
                  </a:lnTo>
                  <a:lnTo>
                    <a:pt x="1474" y="2114"/>
                  </a:lnTo>
                  <a:lnTo>
                    <a:pt x="1490" y="2126"/>
                  </a:lnTo>
                  <a:lnTo>
                    <a:pt x="1457" y="2148"/>
                  </a:lnTo>
                  <a:lnTo>
                    <a:pt x="1365" y="2171"/>
                  </a:lnTo>
                  <a:lnTo>
                    <a:pt x="1315" y="2155"/>
                  </a:lnTo>
                  <a:lnTo>
                    <a:pt x="1315" y="2155"/>
                  </a:lnTo>
                  <a:lnTo>
                    <a:pt x="1315" y="2155"/>
                  </a:lnTo>
                  <a:close/>
                  <a:moveTo>
                    <a:pt x="1542" y="2086"/>
                  </a:moveTo>
                  <a:lnTo>
                    <a:pt x="1570" y="2098"/>
                  </a:lnTo>
                  <a:lnTo>
                    <a:pt x="1549" y="2114"/>
                  </a:lnTo>
                  <a:lnTo>
                    <a:pt x="1549" y="2131"/>
                  </a:lnTo>
                  <a:lnTo>
                    <a:pt x="1528" y="2143"/>
                  </a:lnTo>
                  <a:lnTo>
                    <a:pt x="1516" y="2114"/>
                  </a:lnTo>
                  <a:lnTo>
                    <a:pt x="1542" y="2093"/>
                  </a:lnTo>
                  <a:lnTo>
                    <a:pt x="1516" y="2093"/>
                  </a:lnTo>
                  <a:lnTo>
                    <a:pt x="1542" y="2086"/>
                  </a:lnTo>
                  <a:lnTo>
                    <a:pt x="1542" y="2086"/>
                  </a:lnTo>
                  <a:lnTo>
                    <a:pt x="1542" y="2086"/>
                  </a:lnTo>
                  <a:close/>
                  <a:moveTo>
                    <a:pt x="3493" y="2110"/>
                  </a:moveTo>
                  <a:lnTo>
                    <a:pt x="3493" y="2114"/>
                  </a:lnTo>
                  <a:lnTo>
                    <a:pt x="3486" y="2126"/>
                  </a:lnTo>
                  <a:lnTo>
                    <a:pt x="3470" y="2114"/>
                  </a:lnTo>
                  <a:lnTo>
                    <a:pt x="3493" y="2110"/>
                  </a:lnTo>
                  <a:lnTo>
                    <a:pt x="3493" y="2110"/>
                  </a:lnTo>
                  <a:lnTo>
                    <a:pt x="3493" y="2110"/>
                  </a:lnTo>
                  <a:close/>
                  <a:moveTo>
                    <a:pt x="1462" y="2242"/>
                  </a:moveTo>
                  <a:lnTo>
                    <a:pt x="1398" y="2259"/>
                  </a:lnTo>
                  <a:lnTo>
                    <a:pt x="1436" y="2242"/>
                  </a:lnTo>
                  <a:lnTo>
                    <a:pt x="1462" y="2242"/>
                  </a:lnTo>
                  <a:lnTo>
                    <a:pt x="1462" y="2242"/>
                  </a:lnTo>
                  <a:lnTo>
                    <a:pt x="1462" y="2242"/>
                  </a:lnTo>
                  <a:close/>
                  <a:moveTo>
                    <a:pt x="1533" y="2242"/>
                  </a:moveTo>
                  <a:lnTo>
                    <a:pt x="1542" y="2254"/>
                  </a:lnTo>
                  <a:lnTo>
                    <a:pt x="1528" y="2254"/>
                  </a:lnTo>
                  <a:lnTo>
                    <a:pt x="1533" y="2242"/>
                  </a:lnTo>
                  <a:lnTo>
                    <a:pt x="1533" y="2242"/>
                  </a:lnTo>
                  <a:lnTo>
                    <a:pt x="1533" y="2242"/>
                  </a:lnTo>
                  <a:close/>
                  <a:moveTo>
                    <a:pt x="1436" y="2259"/>
                  </a:moveTo>
                  <a:lnTo>
                    <a:pt x="1441" y="2259"/>
                  </a:lnTo>
                  <a:lnTo>
                    <a:pt x="1424" y="2259"/>
                  </a:lnTo>
                  <a:lnTo>
                    <a:pt x="1436" y="2259"/>
                  </a:lnTo>
                  <a:lnTo>
                    <a:pt x="1436" y="2259"/>
                  </a:lnTo>
                  <a:lnTo>
                    <a:pt x="1436" y="2259"/>
                  </a:lnTo>
                  <a:close/>
                  <a:moveTo>
                    <a:pt x="1419" y="2259"/>
                  </a:moveTo>
                  <a:lnTo>
                    <a:pt x="1419" y="2266"/>
                  </a:lnTo>
                  <a:lnTo>
                    <a:pt x="1408" y="2259"/>
                  </a:lnTo>
                  <a:lnTo>
                    <a:pt x="1419" y="2259"/>
                  </a:lnTo>
                  <a:lnTo>
                    <a:pt x="1419" y="2259"/>
                  </a:lnTo>
                  <a:lnTo>
                    <a:pt x="1419" y="2259"/>
                  </a:lnTo>
                  <a:close/>
                  <a:moveTo>
                    <a:pt x="1403" y="2266"/>
                  </a:moveTo>
                  <a:lnTo>
                    <a:pt x="1408" y="2275"/>
                  </a:lnTo>
                  <a:lnTo>
                    <a:pt x="1386" y="2282"/>
                  </a:lnTo>
                  <a:lnTo>
                    <a:pt x="1403" y="2266"/>
                  </a:lnTo>
                  <a:lnTo>
                    <a:pt x="1403" y="2266"/>
                  </a:lnTo>
                  <a:lnTo>
                    <a:pt x="1403" y="2266"/>
                  </a:lnTo>
                  <a:close/>
                  <a:moveTo>
                    <a:pt x="1457" y="2308"/>
                  </a:moveTo>
                  <a:lnTo>
                    <a:pt x="1511" y="2299"/>
                  </a:lnTo>
                  <a:lnTo>
                    <a:pt x="1474" y="2315"/>
                  </a:lnTo>
                  <a:lnTo>
                    <a:pt x="1457" y="2308"/>
                  </a:lnTo>
                  <a:lnTo>
                    <a:pt x="1457" y="2308"/>
                  </a:lnTo>
                  <a:lnTo>
                    <a:pt x="1457" y="2308"/>
                  </a:lnTo>
                  <a:close/>
                  <a:moveTo>
                    <a:pt x="3040" y="2299"/>
                  </a:moveTo>
                  <a:lnTo>
                    <a:pt x="3028" y="2315"/>
                  </a:lnTo>
                  <a:lnTo>
                    <a:pt x="3016" y="2308"/>
                  </a:lnTo>
                  <a:lnTo>
                    <a:pt x="3040" y="2299"/>
                  </a:lnTo>
                  <a:lnTo>
                    <a:pt x="3040" y="2299"/>
                  </a:lnTo>
                  <a:lnTo>
                    <a:pt x="3040" y="2299"/>
                  </a:lnTo>
                  <a:close/>
                  <a:moveTo>
                    <a:pt x="2893" y="2308"/>
                  </a:moveTo>
                  <a:lnTo>
                    <a:pt x="2898" y="2308"/>
                  </a:lnTo>
                  <a:lnTo>
                    <a:pt x="2877" y="2308"/>
                  </a:lnTo>
                  <a:lnTo>
                    <a:pt x="2893" y="2308"/>
                  </a:lnTo>
                  <a:lnTo>
                    <a:pt x="2893" y="2308"/>
                  </a:lnTo>
                  <a:lnTo>
                    <a:pt x="2893" y="2308"/>
                  </a:lnTo>
                  <a:close/>
                  <a:moveTo>
                    <a:pt x="1478" y="2315"/>
                  </a:moveTo>
                  <a:lnTo>
                    <a:pt x="1533" y="2315"/>
                  </a:lnTo>
                  <a:lnTo>
                    <a:pt x="1474" y="2320"/>
                  </a:lnTo>
                  <a:lnTo>
                    <a:pt x="1478" y="2315"/>
                  </a:lnTo>
                  <a:lnTo>
                    <a:pt x="1478" y="2315"/>
                  </a:lnTo>
                  <a:lnTo>
                    <a:pt x="1478" y="2315"/>
                  </a:lnTo>
                  <a:close/>
                  <a:moveTo>
                    <a:pt x="1370" y="2320"/>
                  </a:moveTo>
                  <a:lnTo>
                    <a:pt x="1386" y="2320"/>
                  </a:lnTo>
                  <a:lnTo>
                    <a:pt x="1382" y="2332"/>
                  </a:lnTo>
                  <a:lnTo>
                    <a:pt x="1370" y="2320"/>
                  </a:lnTo>
                  <a:lnTo>
                    <a:pt x="1370" y="2320"/>
                  </a:lnTo>
                  <a:lnTo>
                    <a:pt x="1370" y="2320"/>
                  </a:lnTo>
                  <a:close/>
                  <a:moveTo>
                    <a:pt x="1353" y="2370"/>
                  </a:moveTo>
                  <a:lnTo>
                    <a:pt x="1348" y="2353"/>
                  </a:lnTo>
                  <a:lnTo>
                    <a:pt x="1365" y="2365"/>
                  </a:lnTo>
                  <a:lnTo>
                    <a:pt x="1353" y="2370"/>
                  </a:lnTo>
                  <a:lnTo>
                    <a:pt x="1353" y="2370"/>
                  </a:lnTo>
                  <a:lnTo>
                    <a:pt x="1353" y="2370"/>
                  </a:lnTo>
                  <a:close/>
                  <a:moveTo>
                    <a:pt x="2789" y="2410"/>
                  </a:moveTo>
                  <a:lnTo>
                    <a:pt x="2789" y="2419"/>
                  </a:lnTo>
                  <a:lnTo>
                    <a:pt x="2785" y="2410"/>
                  </a:lnTo>
                  <a:lnTo>
                    <a:pt x="2789" y="2410"/>
                  </a:lnTo>
                  <a:lnTo>
                    <a:pt x="2789" y="2410"/>
                  </a:lnTo>
                  <a:lnTo>
                    <a:pt x="2789" y="2410"/>
                  </a:lnTo>
                  <a:close/>
                  <a:moveTo>
                    <a:pt x="1408" y="2464"/>
                  </a:moveTo>
                  <a:lnTo>
                    <a:pt x="1370" y="2476"/>
                  </a:lnTo>
                  <a:lnTo>
                    <a:pt x="1382" y="2464"/>
                  </a:lnTo>
                  <a:lnTo>
                    <a:pt x="1408" y="2464"/>
                  </a:lnTo>
                  <a:lnTo>
                    <a:pt x="1408" y="2464"/>
                  </a:lnTo>
                  <a:lnTo>
                    <a:pt x="1408" y="2464"/>
                  </a:lnTo>
                  <a:close/>
                  <a:moveTo>
                    <a:pt x="2747" y="2464"/>
                  </a:moveTo>
                  <a:lnTo>
                    <a:pt x="2747" y="2476"/>
                  </a:lnTo>
                  <a:lnTo>
                    <a:pt x="2737" y="2481"/>
                  </a:lnTo>
                  <a:lnTo>
                    <a:pt x="2747" y="2464"/>
                  </a:lnTo>
                  <a:lnTo>
                    <a:pt x="2747" y="2464"/>
                  </a:lnTo>
                  <a:lnTo>
                    <a:pt x="2747" y="2464"/>
                  </a:lnTo>
                  <a:close/>
                  <a:moveTo>
                    <a:pt x="2629" y="2554"/>
                  </a:moveTo>
                  <a:lnTo>
                    <a:pt x="2629" y="2542"/>
                  </a:lnTo>
                  <a:lnTo>
                    <a:pt x="2638" y="2542"/>
                  </a:lnTo>
                  <a:lnTo>
                    <a:pt x="2629" y="2554"/>
                  </a:lnTo>
                  <a:lnTo>
                    <a:pt x="2629" y="2554"/>
                  </a:lnTo>
                  <a:lnTo>
                    <a:pt x="2629" y="2554"/>
                  </a:lnTo>
                  <a:close/>
                  <a:moveTo>
                    <a:pt x="1353" y="2570"/>
                  </a:moveTo>
                  <a:lnTo>
                    <a:pt x="1353" y="2559"/>
                  </a:lnTo>
                  <a:lnTo>
                    <a:pt x="1370" y="2559"/>
                  </a:lnTo>
                  <a:lnTo>
                    <a:pt x="1353" y="2570"/>
                  </a:lnTo>
                  <a:lnTo>
                    <a:pt x="1353" y="2570"/>
                  </a:lnTo>
                  <a:lnTo>
                    <a:pt x="1353" y="2570"/>
                  </a:lnTo>
                  <a:close/>
                  <a:moveTo>
                    <a:pt x="2541" y="2599"/>
                  </a:moveTo>
                  <a:lnTo>
                    <a:pt x="2541" y="2587"/>
                  </a:lnTo>
                  <a:lnTo>
                    <a:pt x="2558" y="2575"/>
                  </a:lnTo>
                  <a:lnTo>
                    <a:pt x="2541" y="2599"/>
                  </a:lnTo>
                  <a:lnTo>
                    <a:pt x="2541" y="2599"/>
                  </a:lnTo>
                  <a:lnTo>
                    <a:pt x="2541" y="2599"/>
                  </a:lnTo>
                  <a:close/>
                  <a:moveTo>
                    <a:pt x="2570" y="2592"/>
                  </a:moveTo>
                  <a:lnTo>
                    <a:pt x="2574" y="2587"/>
                  </a:lnTo>
                  <a:lnTo>
                    <a:pt x="2586" y="2587"/>
                  </a:lnTo>
                  <a:lnTo>
                    <a:pt x="2570" y="2592"/>
                  </a:lnTo>
                  <a:lnTo>
                    <a:pt x="2570" y="2592"/>
                  </a:lnTo>
                  <a:lnTo>
                    <a:pt x="2570" y="2592"/>
                  </a:lnTo>
                  <a:close/>
                  <a:moveTo>
                    <a:pt x="2478" y="2625"/>
                  </a:moveTo>
                  <a:lnTo>
                    <a:pt x="2461" y="2625"/>
                  </a:lnTo>
                  <a:lnTo>
                    <a:pt x="2461" y="2599"/>
                  </a:lnTo>
                  <a:lnTo>
                    <a:pt x="2482" y="2587"/>
                  </a:lnTo>
                  <a:lnTo>
                    <a:pt x="2504" y="2599"/>
                  </a:lnTo>
                  <a:lnTo>
                    <a:pt x="2487" y="2592"/>
                  </a:lnTo>
                  <a:lnTo>
                    <a:pt x="2504" y="2608"/>
                  </a:lnTo>
                  <a:lnTo>
                    <a:pt x="2482" y="2625"/>
                  </a:lnTo>
                  <a:lnTo>
                    <a:pt x="2478" y="2615"/>
                  </a:lnTo>
                  <a:lnTo>
                    <a:pt x="2482" y="2625"/>
                  </a:lnTo>
                  <a:lnTo>
                    <a:pt x="2478" y="2625"/>
                  </a:lnTo>
                  <a:lnTo>
                    <a:pt x="2478" y="2625"/>
                  </a:lnTo>
                  <a:lnTo>
                    <a:pt x="2478" y="2625"/>
                  </a:lnTo>
                  <a:close/>
                  <a:moveTo>
                    <a:pt x="2537" y="2608"/>
                  </a:moveTo>
                  <a:lnTo>
                    <a:pt x="2532" y="2592"/>
                  </a:lnTo>
                  <a:lnTo>
                    <a:pt x="2541" y="2592"/>
                  </a:lnTo>
                  <a:lnTo>
                    <a:pt x="2537" y="2608"/>
                  </a:lnTo>
                  <a:lnTo>
                    <a:pt x="2537" y="2608"/>
                  </a:lnTo>
                  <a:lnTo>
                    <a:pt x="2537" y="2608"/>
                  </a:lnTo>
                  <a:close/>
                  <a:moveTo>
                    <a:pt x="2520" y="2625"/>
                  </a:moveTo>
                  <a:lnTo>
                    <a:pt x="2515" y="2608"/>
                  </a:lnTo>
                  <a:lnTo>
                    <a:pt x="2520" y="2608"/>
                  </a:lnTo>
                  <a:lnTo>
                    <a:pt x="2532" y="2615"/>
                  </a:lnTo>
                  <a:lnTo>
                    <a:pt x="2520" y="2625"/>
                  </a:lnTo>
                  <a:lnTo>
                    <a:pt x="2520" y="2625"/>
                  </a:lnTo>
                  <a:lnTo>
                    <a:pt x="2520" y="2625"/>
                  </a:lnTo>
                  <a:close/>
                  <a:moveTo>
                    <a:pt x="1386" y="2625"/>
                  </a:moveTo>
                  <a:lnTo>
                    <a:pt x="1419" y="2615"/>
                  </a:lnTo>
                  <a:lnTo>
                    <a:pt x="1403" y="2625"/>
                  </a:lnTo>
                  <a:lnTo>
                    <a:pt x="1386" y="2625"/>
                  </a:lnTo>
                  <a:lnTo>
                    <a:pt x="1386" y="2625"/>
                  </a:lnTo>
                  <a:lnTo>
                    <a:pt x="1386" y="2625"/>
                  </a:lnTo>
                  <a:close/>
                  <a:moveTo>
                    <a:pt x="2390" y="2632"/>
                  </a:moveTo>
                  <a:lnTo>
                    <a:pt x="2397" y="2625"/>
                  </a:lnTo>
                  <a:lnTo>
                    <a:pt x="2407" y="2625"/>
                  </a:lnTo>
                  <a:lnTo>
                    <a:pt x="2390" y="2632"/>
                  </a:lnTo>
                  <a:lnTo>
                    <a:pt x="2390" y="2632"/>
                  </a:lnTo>
                  <a:lnTo>
                    <a:pt x="2390" y="2632"/>
                  </a:lnTo>
                  <a:close/>
                  <a:moveTo>
                    <a:pt x="1408" y="2641"/>
                  </a:moveTo>
                  <a:lnTo>
                    <a:pt x="1398" y="2632"/>
                  </a:lnTo>
                  <a:lnTo>
                    <a:pt x="1408" y="2632"/>
                  </a:lnTo>
                  <a:lnTo>
                    <a:pt x="1408" y="2641"/>
                  </a:lnTo>
                  <a:lnTo>
                    <a:pt x="1408" y="2641"/>
                  </a:lnTo>
                  <a:lnTo>
                    <a:pt x="1408" y="2641"/>
                  </a:lnTo>
                  <a:close/>
                  <a:moveTo>
                    <a:pt x="2369" y="2641"/>
                  </a:moveTo>
                  <a:lnTo>
                    <a:pt x="2359" y="2632"/>
                  </a:lnTo>
                  <a:lnTo>
                    <a:pt x="2369" y="2632"/>
                  </a:lnTo>
                  <a:lnTo>
                    <a:pt x="2369" y="2641"/>
                  </a:lnTo>
                  <a:lnTo>
                    <a:pt x="2369" y="2641"/>
                  </a:lnTo>
                  <a:lnTo>
                    <a:pt x="2369" y="2641"/>
                  </a:lnTo>
                  <a:close/>
                  <a:moveTo>
                    <a:pt x="2343" y="2653"/>
                  </a:moveTo>
                  <a:lnTo>
                    <a:pt x="2326" y="2648"/>
                  </a:lnTo>
                  <a:lnTo>
                    <a:pt x="2352" y="2653"/>
                  </a:lnTo>
                  <a:lnTo>
                    <a:pt x="2343" y="2653"/>
                  </a:lnTo>
                  <a:lnTo>
                    <a:pt x="2343" y="2653"/>
                  </a:lnTo>
                  <a:lnTo>
                    <a:pt x="2343" y="2653"/>
                  </a:lnTo>
                  <a:close/>
                  <a:moveTo>
                    <a:pt x="2305" y="2759"/>
                  </a:moveTo>
                  <a:lnTo>
                    <a:pt x="2284" y="2752"/>
                  </a:lnTo>
                  <a:lnTo>
                    <a:pt x="2272" y="2726"/>
                  </a:lnTo>
                  <a:lnTo>
                    <a:pt x="2251" y="2703"/>
                  </a:lnTo>
                  <a:lnTo>
                    <a:pt x="2272" y="2710"/>
                  </a:lnTo>
                  <a:lnTo>
                    <a:pt x="2289" y="2743"/>
                  </a:lnTo>
                  <a:lnTo>
                    <a:pt x="2305" y="2752"/>
                  </a:lnTo>
                  <a:lnTo>
                    <a:pt x="2305" y="2759"/>
                  </a:lnTo>
                  <a:lnTo>
                    <a:pt x="2305" y="2759"/>
                  </a:lnTo>
                  <a:lnTo>
                    <a:pt x="2305" y="2759"/>
                  </a:lnTo>
                  <a:close/>
                  <a:moveTo>
                    <a:pt x="1533" y="2743"/>
                  </a:moveTo>
                  <a:lnTo>
                    <a:pt x="1528" y="2759"/>
                  </a:lnTo>
                  <a:lnTo>
                    <a:pt x="1516" y="2759"/>
                  </a:lnTo>
                  <a:lnTo>
                    <a:pt x="1528" y="2743"/>
                  </a:lnTo>
                  <a:lnTo>
                    <a:pt x="1533" y="2743"/>
                  </a:lnTo>
                  <a:lnTo>
                    <a:pt x="1533" y="2743"/>
                  </a:lnTo>
                  <a:lnTo>
                    <a:pt x="1533" y="2743"/>
                  </a:lnTo>
                  <a:close/>
                  <a:moveTo>
                    <a:pt x="1559" y="2752"/>
                  </a:moveTo>
                  <a:lnTo>
                    <a:pt x="1533" y="2776"/>
                  </a:lnTo>
                  <a:lnTo>
                    <a:pt x="1516" y="2781"/>
                  </a:lnTo>
                  <a:lnTo>
                    <a:pt x="1542" y="2743"/>
                  </a:lnTo>
                  <a:lnTo>
                    <a:pt x="1559" y="2752"/>
                  </a:lnTo>
                  <a:lnTo>
                    <a:pt x="1559" y="2752"/>
                  </a:lnTo>
                  <a:lnTo>
                    <a:pt x="1559" y="2752"/>
                  </a:lnTo>
                  <a:close/>
                  <a:moveTo>
                    <a:pt x="1516" y="2764"/>
                  </a:moveTo>
                  <a:lnTo>
                    <a:pt x="1504" y="2776"/>
                  </a:lnTo>
                  <a:lnTo>
                    <a:pt x="1511" y="2764"/>
                  </a:lnTo>
                  <a:lnTo>
                    <a:pt x="1516" y="2764"/>
                  </a:lnTo>
                  <a:lnTo>
                    <a:pt x="1516" y="2764"/>
                  </a:lnTo>
                  <a:lnTo>
                    <a:pt x="1516" y="2764"/>
                  </a:lnTo>
                  <a:close/>
                  <a:moveTo>
                    <a:pt x="2234" y="2776"/>
                  </a:moveTo>
                  <a:lnTo>
                    <a:pt x="2218" y="2776"/>
                  </a:lnTo>
                  <a:lnTo>
                    <a:pt x="2234" y="2776"/>
                  </a:lnTo>
                  <a:lnTo>
                    <a:pt x="2234" y="2776"/>
                  </a:lnTo>
                  <a:lnTo>
                    <a:pt x="2234" y="2776"/>
                  </a:lnTo>
                  <a:close/>
                  <a:moveTo>
                    <a:pt x="2246" y="2781"/>
                  </a:moveTo>
                  <a:lnTo>
                    <a:pt x="2251" y="2776"/>
                  </a:lnTo>
                  <a:lnTo>
                    <a:pt x="2267" y="2776"/>
                  </a:lnTo>
                  <a:lnTo>
                    <a:pt x="2267" y="2781"/>
                  </a:lnTo>
                  <a:lnTo>
                    <a:pt x="2246" y="2781"/>
                  </a:lnTo>
                  <a:lnTo>
                    <a:pt x="2246" y="2781"/>
                  </a:lnTo>
                  <a:lnTo>
                    <a:pt x="2246" y="2781"/>
                  </a:lnTo>
                  <a:close/>
                  <a:moveTo>
                    <a:pt x="2234" y="2903"/>
                  </a:moveTo>
                  <a:lnTo>
                    <a:pt x="2213" y="2892"/>
                  </a:lnTo>
                  <a:lnTo>
                    <a:pt x="2180" y="2870"/>
                  </a:lnTo>
                  <a:lnTo>
                    <a:pt x="2196" y="2863"/>
                  </a:lnTo>
                  <a:lnTo>
                    <a:pt x="2230" y="2887"/>
                  </a:lnTo>
                  <a:lnTo>
                    <a:pt x="2234" y="2903"/>
                  </a:lnTo>
                  <a:lnTo>
                    <a:pt x="2234" y="2903"/>
                  </a:lnTo>
                  <a:lnTo>
                    <a:pt x="2234" y="2903"/>
                  </a:lnTo>
                  <a:close/>
                  <a:moveTo>
                    <a:pt x="2230" y="2908"/>
                  </a:moveTo>
                  <a:lnTo>
                    <a:pt x="2213" y="2903"/>
                  </a:lnTo>
                  <a:lnTo>
                    <a:pt x="2230" y="2903"/>
                  </a:lnTo>
                  <a:lnTo>
                    <a:pt x="2230" y="2908"/>
                  </a:lnTo>
                  <a:lnTo>
                    <a:pt x="2230" y="2908"/>
                  </a:lnTo>
                  <a:lnTo>
                    <a:pt x="2230" y="2908"/>
                  </a:lnTo>
                  <a:close/>
                  <a:moveTo>
                    <a:pt x="1580" y="2903"/>
                  </a:moveTo>
                  <a:lnTo>
                    <a:pt x="1566" y="2908"/>
                  </a:lnTo>
                  <a:lnTo>
                    <a:pt x="1580" y="2903"/>
                  </a:lnTo>
                  <a:lnTo>
                    <a:pt x="1580" y="2903"/>
                  </a:lnTo>
                  <a:lnTo>
                    <a:pt x="1580" y="2903"/>
                  </a:lnTo>
                  <a:close/>
                  <a:moveTo>
                    <a:pt x="1566" y="2903"/>
                  </a:moveTo>
                  <a:lnTo>
                    <a:pt x="1566" y="2908"/>
                  </a:lnTo>
                  <a:lnTo>
                    <a:pt x="1549" y="2908"/>
                  </a:lnTo>
                  <a:lnTo>
                    <a:pt x="1566" y="2903"/>
                  </a:lnTo>
                  <a:lnTo>
                    <a:pt x="1566" y="2903"/>
                  </a:lnTo>
                  <a:lnTo>
                    <a:pt x="1566" y="2903"/>
                  </a:lnTo>
                  <a:close/>
                  <a:moveTo>
                    <a:pt x="2208" y="2932"/>
                  </a:moveTo>
                  <a:lnTo>
                    <a:pt x="2208" y="2920"/>
                  </a:lnTo>
                  <a:lnTo>
                    <a:pt x="2213" y="2920"/>
                  </a:lnTo>
                  <a:lnTo>
                    <a:pt x="2208" y="2932"/>
                  </a:lnTo>
                  <a:lnTo>
                    <a:pt x="2208" y="2932"/>
                  </a:lnTo>
                  <a:lnTo>
                    <a:pt x="2208" y="2932"/>
                  </a:lnTo>
                  <a:close/>
                  <a:moveTo>
                    <a:pt x="2154" y="2958"/>
                  </a:moveTo>
                  <a:lnTo>
                    <a:pt x="2142" y="2948"/>
                  </a:lnTo>
                  <a:lnTo>
                    <a:pt x="2154" y="2941"/>
                  </a:lnTo>
                  <a:lnTo>
                    <a:pt x="2180" y="2948"/>
                  </a:lnTo>
                  <a:lnTo>
                    <a:pt x="2154" y="2958"/>
                  </a:lnTo>
                  <a:lnTo>
                    <a:pt x="2154" y="2958"/>
                  </a:lnTo>
                  <a:lnTo>
                    <a:pt x="2154" y="2958"/>
                  </a:lnTo>
                  <a:close/>
                  <a:moveTo>
                    <a:pt x="2163" y="2981"/>
                  </a:moveTo>
                  <a:lnTo>
                    <a:pt x="2154" y="2965"/>
                  </a:lnTo>
                  <a:lnTo>
                    <a:pt x="2163" y="2974"/>
                  </a:lnTo>
                  <a:lnTo>
                    <a:pt x="2163" y="2981"/>
                  </a:lnTo>
                  <a:lnTo>
                    <a:pt x="2163" y="2981"/>
                  </a:lnTo>
                  <a:lnTo>
                    <a:pt x="2163" y="2981"/>
                  </a:lnTo>
                  <a:close/>
                  <a:moveTo>
                    <a:pt x="2159" y="3059"/>
                  </a:moveTo>
                  <a:lnTo>
                    <a:pt x="2163" y="3043"/>
                  </a:lnTo>
                  <a:lnTo>
                    <a:pt x="2163" y="3059"/>
                  </a:lnTo>
                  <a:lnTo>
                    <a:pt x="2159" y="3059"/>
                  </a:lnTo>
                  <a:lnTo>
                    <a:pt x="2159" y="3059"/>
                  </a:lnTo>
                  <a:lnTo>
                    <a:pt x="2159" y="3059"/>
                  </a:lnTo>
                  <a:close/>
                  <a:moveTo>
                    <a:pt x="1743" y="3130"/>
                  </a:moveTo>
                  <a:lnTo>
                    <a:pt x="1748" y="3142"/>
                  </a:lnTo>
                  <a:lnTo>
                    <a:pt x="1726" y="3130"/>
                  </a:lnTo>
                  <a:lnTo>
                    <a:pt x="1743" y="3130"/>
                  </a:lnTo>
                  <a:lnTo>
                    <a:pt x="1743" y="3130"/>
                  </a:lnTo>
                  <a:lnTo>
                    <a:pt x="1743" y="3130"/>
                  </a:lnTo>
                  <a:close/>
                  <a:moveTo>
                    <a:pt x="1882" y="3154"/>
                  </a:moveTo>
                  <a:lnTo>
                    <a:pt x="1835" y="3170"/>
                  </a:lnTo>
                  <a:lnTo>
                    <a:pt x="1882" y="3147"/>
                  </a:lnTo>
                  <a:lnTo>
                    <a:pt x="1882" y="3154"/>
                  </a:lnTo>
                  <a:lnTo>
                    <a:pt x="1882" y="3154"/>
                  </a:lnTo>
                  <a:lnTo>
                    <a:pt x="1882" y="3154"/>
                  </a:lnTo>
                  <a:close/>
                  <a:moveTo>
                    <a:pt x="1776" y="3163"/>
                  </a:moveTo>
                  <a:lnTo>
                    <a:pt x="1764" y="3170"/>
                  </a:lnTo>
                  <a:lnTo>
                    <a:pt x="1781" y="3170"/>
                  </a:lnTo>
                  <a:lnTo>
                    <a:pt x="1764" y="3180"/>
                  </a:lnTo>
                  <a:lnTo>
                    <a:pt x="1731" y="3163"/>
                  </a:lnTo>
                  <a:lnTo>
                    <a:pt x="1776" y="3163"/>
                  </a:lnTo>
                  <a:lnTo>
                    <a:pt x="1776" y="3163"/>
                  </a:lnTo>
                  <a:lnTo>
                    <a:pt x="1776" y="3163"/>
                  </a:lnTo>
                  <a:close/>
                  <a:moveTo>
                    <a:pt x="1873" y="3170"/>
                  </a:moveTo>
                  <a:lnTo>
                    <a:pt x="1873" y="3180"/>
                  </a:lnTo>
                  <a:lnTo>
                    <a:pt x="1856" y="3180"/>
                  </a:lnTo>
                  <a:lnTo>
                    <a:pt x="1873" y="3170"/>
                  </a:lnTo>
                  <a:lnTo>
                    <a:pt x="1873" y="3170"/>
                  </a:lnTo>
                  <a:lnTo>
                    <a:pt x="1873" y="3170"/>
                  </a:lnTo>
                  <a:close/>
                  <a:moveTo>
                    <a:pt x="1958" y="3208"/>
                  </a:moveTo>
                  <a:lnTo>
                    <a:pt x="1948" y="3225"/>
                  </a:lnTo>
                  <a:lnTo>
                    <a:pt x="1937" y="3236"/>
                  </a:lnTo>
                  <a:lnTo>
                    <a:pt x="1944" y="3208"/>
                  </a:lnTo>
                  <a:lnTo>
                    <a:pt x="1958" y="3208"/>
                  </a:lnTo>
                  <a:lnTo>
                    <a:pt x="1958" y="3208"/>
                  </a:lnTo>
                  <a:lnTo>
                    <a:pt x="1958" y="3208"/>
                  </a:lnTo>
                  <a:close/>
                  <a:moveTo>
                    <a:pt x="2067" y="3258"/>
                  </a:moveTo>
                  <a:lnTo>
                    <a:pt x="2045" y="3253"/>
                  </a:lnTo>
                  <a:lnTo>
                    <a:pt x="2029" y="3236"/>
                  </a:lnTo>
                  <a:lnTo>
                    <a:pt x="2100" y="3241"/>
                  </a:lnTo>
                  <a:lnTo>
                    <a:pt x="2088" y="3253"/>
                  </a:lnTo>
                  <a:lnTo>
                    <a:pt x="2067" y="3241"/>
                  </a:lnTo>
                  <a:lnTo>
                    <a:pt x="2071" y="3253"/>
                  </a:lnTo>
                  <a:lnTo>
                    <a:pt x="2067" y="3258"/>
                  </a:lnTo>
                  <a:lnTo>
                    <a:pt x="2067" y="3258"/>
                  </a:lnTo>
                  <a:lnTo>
                    <a:pt x="2067" y="3258"/>
                  </a:lnTo>
                  <a:close/>
                  <a:moveTo>
                    <a:pt x="2019" y="3241"/>
                  </a:moveTo>
                  <a:lnTo>
                    <a:pt x="2019" y="3253"/>
                  </a:lnTo>
                  <a:lnTo>
                    <a:pt x="2012" y="3258"/>
                  </a:lnTo>
                  <a:lnTo>
                    <a:pt x="1996" y="3253"/>
                  </a:lnTo>
                  <a:lnTo>
                    <a:pt x="2003" y="3236"/>
                  </a:lnTo>
                  <a:lnTo>
                    <a:pt x="2019" y="3241"/>
                  </a:lnTo>
                  <a:lnTo>
                    <a:pt x="2019" y="3241"/>
                  </a:lnTo>
                  <a:lnTo>
                    <a:pt x="2019" y="3241"/>
                  </a:lnTo>
                  <a:close/>
                  <a:moveTo>
                    <a:pt x="2071" y="3258"/>
                  </a:moveTo>
                  <a:lnTo>
                    <a:pt x="2071" y="3253"/>
                  </a:lnTo>
                  <a:lnTo>
                    <a:pt x="2083" y="3253"/>
                  </a:lnTo>
                  <a:lnTo>
                    <a:pt x="2071" y="3258"/>
                  </a:lnTo>
                  <a:lnTo>
                    <a:pt x="2071" y="3258"/>
                  </a:lnTo>
                  <a:lnTo>
                    <a:pt x="2071" y="3258"/>
                  </a:lnTo>
                  <a:close/>
                  <a:moveTo>
                    <a:pt x="2029" y="3265"/>
                  </a:moveTo>
                  <a:lnTo>
                    <a:pt x="2012" y="3258"/>
                  </a:lnTo>
                  <a:lnTo>
                    <a:pt x="2019" y="3253"/>
                  </a:lnTo>
                  <a:lnTo>
                    <a:pt x="2033" y="3253"/>
                  </a:lnTo>
                  <a:lnTo>
                    <a:pt x="2029" y="3265"/>
                  </a:lnTo>
                  <a:lnTo>
                    <a:pt x="2029" y="3265"/>
                  </a:lnTo>
                  <a:lnTo>
                    <a:pt x="2029" y="3265"/>
                  </a:lnTo>
                  <a:close/>
                  <a:moveTo>
                    <a:pt x="2083" y="3258"/>
                  </a:moveTo>
                  <a:lnTo>
                    <a:pt x="2083" y="3253"/>
                  </a:lnTo>
                  <a:lnTo>
                    <a:pt x="2088" y="3258"/>
                  </a:lnTo>
                  <a:lnTo>
                    <a:pt x="2083" y="3258"/>
                  </a:lnTo>
                  <a:lnTo>
                    <a:pt x="2083" y="3258"/>
                  </a:lnTo>
                  <a:lnTo>
                    <a:pt x="2083" y="3258"/>
                  </a:lnTo>
                  <a:close/>
                  <a:moveTo>
                    <a:pt x="2045" y="3274"/>
                  </a:moveTo>
                  <a:lnTo>
                    <a:pt x="2029" y="3265"/>
                  </a:lnTo>
                  <a:lnTo>
                    <a:pt x="2033" y="3258"/>
                  </a:lnTo>
                  <a:lnTo>
                    <a:pt x="2057" y="3265"/>
                  </a:lnTo>
                  <a:lnTo>
                    <a:pt x="2045" y="3274"/>
                  </a:lnTo>
                  <a:lnTo>
                    <a:pt x="2045" y="3274"/>
                  </a:lnTo>
                  <a:lnTo>
                    <a:pt x="2045" y="3274"/>
                  </a:lnTo>
                  <a:close/>
                </a:path>
              </a:pathLst>
            </a:custGeom>
            <a:pattFill prst="nar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6" name="Freeform 453">
              <a:extLst>
                <a:ext uri="{FF2B5EF4-FFF2-40B4-BE49-F238E27FC236}">
                  <a16:creationId xmlns:a16="http://schemas.microsoft.com/office/drawing/2014/main" id="{136F69DD-76BC-4DE8-89C8-E4A82DC81D46}"/>
                </a:ext>
              </a:extLst>
            </p:cNvPr>
            <p:cNvSpPr>
              <a:spLocks noEditPoints="1"/>
            </p:cNvSpPr>
            <p:nvPr/>
          </p:nvSpPr>
          <p:spPr bwMode="gray">
            <a:xfrm>
              <a:off x="5976034" y="2413586"/>
              <a:ext cx="320185" cy="367240"/>
            </a:xfrm>
            <a:custGeom>
              <a:avLst/>
              <a:gdLst>
                <a:gd name="T0" fmla="*/ 442 w 647"/>
                <a:gd name="T1" fmla="*/ 454 h 742"/>
                <a:gd name="T2" fmla="*/ 480 w 647"/>
                <a:gd name="T3" fmla="*/ 543 h 742"/>
                <a:gd name="T4" fmla="*/ 534 w 647"/>
                <a:gd name="T5" fmla="*/ 621 h 742"/>
                <a:gd name="T6" fmla="*/ 496 w 647"/>
                <a:gd name="T7" fmla="*/ 704 h 742"/>
                <a:gd name="T8" fmla="*/ 484 w 647"/>
                <a:gd name="T9" fmla="*/ 704 h 742"/>
                <a:gd name="T10" fmla="*/ 354 w 647"/>
                <a:gd name="T11" fmla="*/ 720 h 742"/>
                <a:gd name="T12" fmla="*/ 312 w 647"/>
                <a:gd name="T13" fmla="*/ 732 h 742"/>
                <a:gd name="T14" fmla="*/ 241 w 647"/>
                <a:gd name="T15" fmla="*/ 704 h 742"/>
                <a:gd name="T16" fmla="*/ 177 w 647"/>
                <a:gd name="T17" fmla="*/ 704 h 742"/>
                <a:gd name="T18" fmla="*/ 118 w 647"/>
                <a:gd name="T19" fmla="*/ 704 h 742"/>
                <a:gd name="T20" fmla="*/ 140 w 647"/>
                <a:gd name="T21" fmla="*/ 621 h 742"/>
                <a:gd name="T22" fmla="*/ 102 w 647"/>
                <a:gd name="T23" fmla="*/ 565 h 742"/>
                <a:gd name="T24" fmla="*/ 43 w 647"/>
                <a:gd name="T25" fmla="*/ 539 h 742"/>
                <a:gd name="T26" fmla="*/ 26 w 647"/>
                <a:gd name="T27" fmla="*/ 472 h 742"/>
                <a:gd name="T28" fmla="*/ 14 w 647"/>
                <a:gd name="T29" fmla="*/ 416 h 742"/>
                <a:gd name="T30" fmla="*/ 14 w 647"/>
                <a:gd name="T31" fmla="*/ 371 h 742"/>
                <a:gd name="T32" fmla="*/ 69 w 647"/>
                <a:gd name="T33" fmla="*/ 300 h 742"/>
                <a:gd name="T34" fmla="*/ 64 w 647"/>
                <a:gd name="T35" fmla="*/ 243 h 742"/>
                <a:gd name="T36" fmla="*/ 102 w 647"/>
                <a:gd name="T37" fmla="*/ 177 h 742"/>
                <a:gd name="T38" fmla="*/ 85 w 647"/>
                <a:gd name="T39" fmla="*/ 168 h 742"/>
                <a:gd name="T40" fmla="*/ 161 w 647"/>
                <a:gd name="T41" fmla="*/ 149 h 742"/>
                <a:gd name="T42" fmla="*/ 177 w 647"/>
                <a:gd name="T43" fmla="*/ 149 h 742"/>
                <a:gd name="T44" fmla="*/ 189 w 647"/>
                <a:gd name="T45" fmla="*/ 149 h 742"/>
                <a:gd name="T46" fmla="*/ 203 w 647"/>
                <a:gd name="T47" fmla="*/ 116 h 742"/>
                <a:gd name="T48" fmla="*/ 265 w 647"/>
                <a:gd name="T49" fmla="*/ 139 h 742"/>
                <a:gd name="T50" fmla="*/ 227 w 647"/>
                <a:gd name="T51" fmla="*/ 94 h 742"/>
                <a:gd name="T52" fmla="*/ 194 w 647"/>
                <a:gd name="T53" fmla="*/ 66 h 742"/>
                <a:gd name="T54" fmla="*/ 173 w 647"/>
                <a:gd name="T55" fmla="*/ 28 h 742"/>
                <a:gd name="T56" fmla="*/ 189 w 647"/>
                <a:gd name="T57" fmla="*/ 12 h 742"/>
                <a:gd name="T58" fmla="*/ 295 w 647"/>
                <a:gd name="T59" fmla="*/ 45 h 742"/>
                <a:gd name="T60" fmla="*/ 371 w 647"/>
                <a:gd name="T61" fmla="*/ 66 h 742"/>
                <a:gd name="T62" fmla="*/ 350 w 647"/>
                <a:gd name="T63" fmla="*/ 116 h 742"/>
                <a:gd name="T64" fmla="*/ 442 w 647"/>
                <a:gd name="T65" fmla="*/ 83 h 742"/>
                <a:gd name="T66" fmla="*/ 458 w 647"/>
                <a:gd name="T67" fmla="*/ 78 h 742"/>
                <a:gd name="T68" fmla="*/ 555 w 647"/>
                <a:gd name="T69" fmla="*/ 83 h 742"/>
                <a:gd name="T70" fmla="*/ 605 w 647"/>
                <a:gd name="T71" fmla="*/ 168 h 742"/>
                <a:gd name="T72" fmla="*/ 619 w 647"/>
                <a:gd name="T73" fmla="*/ 243 h 742"/>
                <a:gd name="T74" fmla="*/ 619 w 647"/>
                <a:gd name="T75" fmla="*/ 317 h 742"/>
                <a:gd name="T76" fmla="*/ 647 w 647"/>
                <a:gd name="T77" fmla="*/ 371 h 742"/>
                <a:gd name="T78" fmla="*/ 593 w 647"/>
                <a:gd name="T79" fmla="*/ 387 h 742"/>
                <a:gd name="T80" fmla="*/ 539 w 647"/>
                <a:gd name="T81" fmla="*/ 416 h 742"/>
                <a:gd name="T82" fmla="*/ 194 w 647"/>
                <a:gd name="T83" fmla="*/ 40 h 742"/>
                <a:gd name="T84" fmla="*/ 194 w 647"/>
                <a:gd name="T85" fmla="*/ 40 h 742"/>
                <a:gd name="T86" fmla="*/ 177 w 647"/>
                <a:gd name="T87" fmla="*/ 28 h 742"/>
                <a:gd name="T88" fmla="*/ 529 w 647"/>
                <a:gd name="T89" fmla="*/ 78 h 742"/>
                <a:gd name="T90" fmla="*/ 517 w 647"/>
                <a:gd name="T91" fmla="*/ 45 h 742"/>
                <a:gd name="T92" fmla="*/ 517 w 647"/>
                <a:gd name="T93" fmla="*/ 40 h 742"/>
                <a:gd name="T94" fmla="*/ 539 w 647"/>
                <a:gd name="T95" fmla="*/ 61 h 742"/>
                <a:gd name="T96" fmla="*/ 529 w 647"/>
                <a:gd name="T97" fmla="*/ 78 h 742"/>
                <a:gd name="T98" fmla="*/ 194 w 647"/>
                <a:gd name="T99" fmla="*/ 57 h 742"/>
                <a:gd name="T100" fmla="*/ 203 w 647"/>
                <a:gd name="T101" fmla="*/ 57 h 742"/>
                <a:gd name="T102" fmla="*/ 371 w 647"/>
                <a:gd name="T103" fmla="*/ 57 h 742"/>
                <a:gd name="T104" fmla="*/ 588 w 647"/>
                <a:gd name="T105" fmla="*/ 111 h 742"/>
                <a:gd name="T106" fmla="*/ 572 w 647"/>
                <a:gd name="T107" fmla="*/ 94 h 742"/>
                <a:gd name="T108" fmla="*/ 588 w 647"/>
                <a:gd name="T109" fmla="*/ 111 h 742"/>
                <a:gd name="T110" fmla="*/ 392 w 647"/>
                <a:gd name="T111" fmla="*/ 99 h 742"/>
                <a:gd name="T112" fmla="*/ 64 w 647"/>
                <a:gd name="T113" fmla="*/ 149 h 742"/>
                <a:gd name="T114" fmla="*/ 64 w 647"/>
                <a:gd name="T115" fmla="*/ 149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7" h="742">
                  <a:moveTo>
                    <a:pt x="501" y="449"/>
                  </a:moveTo>
                  <a:lnTo>
                    <a:pt x="475" y="449"/>
                  </a:lnTo>
                  <a:lnTo>
                    <a:pt x="458" y="465"/>
                  </a:lnTo>
                  <a:lnTo>
                    <a:pt x="442" y="454"/>
                  </a:lnTo>
                  <a:lnTo>
                    <a:pt x="447" y="482"/>
                  </a:lnTo>
                  <a:lnTo>
                    <a:pt x="475" y="498"/>
                  </a:lnTo>
                  <a:lnTo>
                    <a:pt x="463" y="522"/>
                  </a:lnTo>
                  <a:lnTo>
                    <a:pt x="480" y="543"/>
                  </a:lnTo>
                  <a:lnTo>
                    <a:pt x="501" y="555"/>
                  </a:lnTo>
                  <a:lnTo>
                    <a:pt x="567" y="598"/>
                  </a:lnTo>
                  <a:lnTo>
                    <a:pt x="555" y="621"/>
                  </a:lnTo>
                  <a:lnTo>
                    <a:pt x="534" y="621"/>
                  </a:lnTo>
                  <a:lnTo>
                    <a:pt x="534" y="638"/>
                  </a:lnTo>
                  <a:lnTo>
                    <a:pt x="484" y="666"/>
                  </a:lnTo>
                  <a:lnTo>
                    <a:pt x="501" y="687"/>
                  </a:lnTo>
                  <a:lnTo>
                    <a:pt x="496" y="704"/>
                  </a:lnTo>
                  <a:lnTo>
                    <a:pt x="513" y="704"/>
                  </a:lnTo>
                  <a:lnTo>
                    <a:pt x="501" y="720"/>
                  </a:lnTo>
                  <a:lnTo>
                    <a:pt x="484" y="720"/>
                  </a:lnTo>
                  <a:lnTo>
                    <a:pt x="484" y="704"/>
                  </a:lnTo>
                  <a:lnTo>
                    <a:pt x="409" y="709"/>
                  </a:lnTo>
                  <a:lnTo>
                    <a:pt x="371" y="725"/>
                  </a:lnTo>
                  <a:lnTo>
                    <a:pt x="366" y="725"/>
                  </a:lnTo>
                  <a:lnTo>
                    <a:pt x="354" y="720"/>
                  </a:lnTo>
                  <a:lnTo>
                    <a:pt x="324" y="709"/>
                  </a:lnTo>
                  <a:lnTo>
                    <a:pt x="324" y="725"/>
                  </a:lnTo>
                  <a:lnTo>
                    <a:pt x="302" y="742"/>
                  </a:lnTo>
                  <a:lnTo>
                    <a:pt x="312" y="732"/>
                  </a:lnTo>
                  <a:lnTo>
                    <a:pt x="286" y="720"/>
                  </a:lnTo>
                  <a:lnTo>
                    <a:pt x="279" y="709"/>
                  </a:lnTo>
                  <a:lnTo>
                    <a:pt x="265" y="720"/>
                  </a:lnTo>
                  <a:lnTo>
                    <a:pt x="241" y="704"/>
                  </a:lnTo>
                  <a:lnTo>
                    <a:pt x="203" y="704"/>
                  </a:lnTo>
                  <a:lnTo>
                    <a:pt x="203" y="692"/>
                  </a:lnTo>
                  <a:lnTo>
                    <a:pt x="194" y="692"/>
                  </a:lnTo>
                  <a:lnTo>
                    <a:pt x="177" y="704"/>
                  </a:lnTo>
                  <a:lnTo>
                    <a:pt x="194" y="704"/>
                  </a:lnTo>
                  <a:lnTo>
                    <a:pt x="194" y="709"/>
                  </a:lnTo>
                  <a:lnTo>
                    <a:pt x="123" y="709"/>
                  </a:lnTo>
                  <a:lnTo>
                    <a:pt x="118" y="704"/>
                  </a:lnTo>
                  <a:lnTo>
                    <a:pt x="123" y="676"/>
                  </a:lnTo>
                  <a:lnTo>
                    <a:pt x="123" y="666"/>
                  </a:lnTo>
                  <a:lnTo>
                    <a:pt x="135" y="638"/>
                  </a:lnTo>
                  <a:lnTo>
                    <a:pt x="140" y="621"/>
                  </a:lnTo>
                  <a:lnTo>
                    <a:pt x="173" y="581"/>
                  </a:lnTo>
                  <a:lnTo>
                    <a:pt x="135" y="576"/>
                  </a:lnTo>
                  <a:lnTo>
                    <a:pt x="106" y="565"/>
                  </a:lnTo>
                  <a:lnTo>
                    <a:pt x="102" y="565"/>
                  </a:lnTo>
                  <a:lnTo>
                    <a:pt x="80" y="560"/>
                  </a:lnTo>
                  <a:lnTo>
                    <a:pt x="64" y="565"/>
                  </a:lnTo>
                  <a:lnTo>
                    <a:pt x="47" y="543"/>
                  </a:lnTo>
                  <a:lnTo>
                    <a:pt x="43" y="539"/>
                  </a:lnTo>
                  <a:lnTo>
                    <a:pt x="43" y="539"/>
                  </a:lnTo>
                  <a:lnTo>
                    <a:pt x="47" y="505"/>
                  </a:lnTo>
                  <a:lnTo>
                    <a:pt x="31" y="498"/>
                  </a:lnTo>
                  <a:lnTo>
                    <a:pt x="26" y="472"/>
                  </a:lnTo>
                  <a:lnTo>
                    <a:pt x="26" y="465"/>
                  </a:lnTo>
                  <a:lnTo>
                    <a:pt x="43" y="454"/>
                  </a:lnTo>
                  <a:lnTo>
                    <a:pt x="31" y="428"/>
                  </a:lnTo>
                  <a:lnTo>
                    <a:pt x="14" y="416"/>
                  </a:lnTo>
                  <a:lnTo>
                    <a:pt x="14" y="399"/>
                  </a:lnTo>
                  <a:lnTo>
                    <a:pt x="0" y="387"/>
                  </a:lnTo>
                  <a:lnTo>
                    <a:pt x="14" y="378"/>
                  </a:lnTo>
                  <a:lnTo>
                    <a:pt x="14" y="371"/>
                  </a:lnTo>
                  <a:lnTo>
                    <a:pt x="31" y="361"/>
                  </a:lnTo>
                  <a:lnTo>
                    <a:pt x="31" y="345"/>
                  </a:lnTo>
                  <a:lnTo>
                    <a:pt x="10" y="317"/>
                  </a:lnTo>
                  <a:lnTo>
                    <a:pt x="69" y="300"/>
                  </a:lnTo>
                  <a:lnTo>
                    <a:pt x="64" y="288"/>
                  </a:lnTo>
                  <a:lnTo>
                    <a:pt x="85" y="276"/>
                  </a:lnTo>
                  <a:lnTo>
                    <a:pt x="85" y="260"/>
                  </a:lnTo>
                  <a:lnTo>
                    <a:pt x="64" y="243"/>
                  </a:lnTo>
                  <a:lnTo>
                    <a:pt x="69" y="234"/>
                  </a:lnTo>
                  <a:lnTo>
                    <a:pt x="85" y="234"/>
                  </a:lnTo>
                  <a:lnTo>
                    <a:pt x="102" y="205"/>
                  </a:lnTo>
                  <a:lnTo>
                    <a:pt x="102" y="177"/>
                  </a:lnTo>
                  <a:lnTo>
                    <a:pt x="102" y="172"/>
                  </a:lnTo>
                  <a:lnTo>
                    <a:pt x="106" y="172"/>
                  </a:lnTo>
                  <a:lnTo>
                    <a:pt x="85" y="168"/>
                  </a:lnTo>
                  <a:lnTo>
                    <a:pt x="85" y="168"/>
                  </a:lnTo>
                  <a:lnTo>
                    <a:pt x="97" y="139"/>
                  </a:lnTo>
                  <a:lnTo>
                    <a:pt x="102" y="132"/>
                  </a:lnTo>
                  <a:lnTo>
                    <a:pt x="156" y="132"/>
                  </a:lnTo>
                  <a:lnTo>
                    <a:pt x="161" y="149"/>
                  </a:lnTo>
                  <a:lnTo>
                    <a:pt x="156" y="149"/>
                  </a:lnTo>
                  <a:lnTo>
                    <a:pt x="161" y="156"/>
                  </a:lnTo>
                  <a:lnTo>
                    <a:pt x="173" y="156"/>
                  </a:lnTo>
                  <a:lnTo>
                    <a:pt x="177" y="149"/>
                  </a:lnTo>
                  <a:lnTo>
                    <a:pt x="173" y="149"/>
                  </a:lnTo>
                  <a:lnTo>
                    <a:pt x="173" y="139"/>
                  </a:lnTo>
                  <a:lnTo>
                    <a:pt x="177" y="139"/>
                  </a:lnTo>
                  <a:lnTo>
                    <a:pt x="189" y="149"/>
                  </a:lnTo>
                  <a:lnTo>
                    <a:pt x="189" y="168"/>
                  </a:lnTo>
                  <a:lnTo>
                    <a:pt x="194" y="149"/>
                  </a:lnTo>
                  <a:lnTo>
                    <a:pt x="189" y="132"/>
                  </a:lnTo>
                  <a:lnTo>
                    <a:pt x="203" y="116"/>
                  </a:lnTo>
                  <a:lnTo>
                    <a:pt x="241" y="116"/>
                  </a:lnTo>
                  <a:lnTo>
                    <a:pt x="265" y="139"/>
                  </a:lnTo>
                  <a:lnTo>
                    <a:pt x="279" y="149"/>
                  </a:lnTo>
                  <a:lnTo>
                    <a:pt x="265" y="139"/>
                  </a:lnTo>
                  <a:lnTo>
                    <a:pt x="248" y="116"/>
                  </a:lnTo>
                  <a:lnTo>
                    <a:pt x="215" y="111"/>
                  </a:lnTo>
                  <a:lnTo>
                    <a:pt x="210" y="99"/>
                  </a:lnTo>
                  <a:lnTo>
                    <a:pt x="227" y="94"/>
                  </a:lnTo>
                  <a:lnTo>
                    <a:pt x="210" y="83"/>
                  </a:lnTo>
                  <a:lnTo>
                    <a:pt x="215" y="78"/>
                  </a:lnTo>
                  <a:lnTo>
                    <a:pt x="203" y="78"/>
                  </a:lnTo>
                  <a:lnTo>
                    <a:pt x="194" y="66"/>
                  </a:lnTo>
                  <a:lnTo>
                    <a:pt x="227" y="57"/>
                  </a:lnTo>
                  <a:lnTo>
                    <a:pt x="194" y="12"/>
                  </a:lnTo>
                  <a:lnTo>
                    <a:pt x="173" y="12"/>
                  </a:lnTo>
                  <a:lnTo>
                    <a:pt x="173" y="28"/>
                  </a:lnTo>
                  <a:lnTo>
                    <a:pt x="177" y="0"/>
                  </a:lnTo>
                  <a:lnTo>
                    <a:pt x="189" y="0"/>
                  </a:lnTo>
                  <a:lnTo>
                    <a:pt x="177" y="5"/>
                  </a:lnTo>
                  <a:lnTo>
                    <a:pt x="189" y="12"/>
                  </a:lnTo>
                  <a:lnTo>
                    <a:pt x="203" y="12"/>
                  </a:lnTo>
                  <a:lnTo>
                    <a:pt x="258" y="24"/>
                  </a:lnTo>
                  <a:lnTo>
                    <a:pt x="295" y="28"/>
                  </a:lnTo>
                  <a:lnTo>
                    <a:pt x="295" y="45"/>
                  </a:lnTo>
                  <a:lnTo>
                    <a:pt x="286" y="61"/>
                  </a:lnTo>
                  <a:lnTo>
                    <a:pt x="302" y="57"/>
                  </a:lnTo>
                  <a:lnTo>
                    <a:pt x="340" y="66"/>
                  </a:lnTo>
                  <a:lnTo>
                    <a:pt x="371" y="66"/>
                  </a:lnTo>
                  <a:lnTo>
                    <a:pt x="371" y="83"/>
                  </a:lnTo>
                  <a:lnTo>
                    <a:pt x="350" y="99"/>
                  </a:lnTo>
                  <a:lnTo>
                    <a:pt x="354" y="99"/>
                  </a:lnTo>
                  <a:lnTo>
                    <a:pt x="350" y="116"/>
                  </a:lnTo>
                  <a:lnTo>
                    <a:pt x="371" y="99"/>
                  </a:lnTo>
                  <a:lnTo>
                    <a:pt x="392" y="111"/>
                  </a:lnTo>
                  <a:lnTo>
                    <a:pt x="409" y="83"/>
                  </a:lnTo>
                  <a:lnTo>
                    <a:pt x="442" y="83"/>
                  </a:lnTo>
                  <a:lnTo>
                    <a:pt x="475" y="57"/>
                  </a:lnTo>
                  <a:lnTo>
                    <a:pt x="501" y="61"/>
                  </a:lnTo>
                  <a:lnTo>
                    <a:pt x="463" y="61"/>
                  </a:lnTo>
                  <a:lnTo>
                    <a:pt x="458" y="78"/>
                  </a:lnTo>
                  <a:lnTo>
                    <a:pt x="475" y="66"/>
                  </a:lnTo>
                  <a:lnTo>
                    <a:pt x="501" y="61"/>
                  </a:lnTo>
                  <a:lnTo>
                    <a:pt x="534" y="94"/>
                  </a:lnTo>
                  <a:lnTo>
                    <a:pt x="555" y="83"/>
                  </a:lnTo>
                  <a:lnTo>
                    <a:pt x="567" y="111"/>
                  </a:lnTo>
                  <a:lnTo>
                    <a:pt x="567" y="116"/>
                  </a:lnTo>
                  <a:lnTo>
                    <a:pt x="593" y="132"/>
                  </a:lnTo>
                  <a:lnTo>
                    <a:pt x="605" y="168"/>
                  </a:lnTo>
                  <a:lnTo>
                    <a:pt x="605" y="189"/>
                  </a:lnTo>
                  <a:lnTo>
                    <a:pt x="588" y="205"/>
                  </a:lnTo>
                  <a:lnTo>
                    <a:pt x="588" y="210"/>
                  </a:lnTo>
                  <a:lnTo>
                    <a:pt x="619" y="243"/>
                  </a:lnTo>
                  <a:lnTo>
                    <a:pt x="610" y="260"/>
                  </a:lnTo>
                  <a:lnTo>
                    <a:pt x="626" y="276"/>
                  </a:lnTo>
                  <a:lnTo>
                    <a:pt x="626" y="288"/>
                  </a:lnTo>
                  <a:lnTo>
                    <a:pt x="619" y="317"/>
                  </a:lnTo>
                  <a:lnTo>
                    <a:pt x="626" y="333"/>
                  </a:lnTo>
                  <a:lnTo>
                    <a:pt x="626" y="345"/>
                  </a:lnTo>
                  <a:lnTo>
                    <a:pt x="643" y="345"/>
                  </a:lnTo>
                  <a:lnTo>
                    <a:pt x="647" y="371"/>
                  </a:lnTo>
                  <a:lnTo>
                    <a:pt x="636" y="411"/>
                  </a:lnTo>
                  <a:lnTo>
                    <a:pt x="619" y="411"/>
                  </a:lnTo>
                  <a:lnTo>
                    <a:pt x="610" y="394"/>
                  </a:lnTo>
                  <a:lnTo>
                    <a:pt x="593" y="387"/>
                  </a:lnTo>
                  <a:lnTo>
                    <a:pt x="593" y="394"/>
                  </a:lnTo>
                  <a:lnTo>
                    <a:pt x="605" y="399"/>
                  </a:lnTo>
                  <a:lnTo>
                    <a:pt x="593" y="399"/>
                  </a:lnTo>
                  <a:lnTo>
                    <a:pt x="539" y="416"/>
                  </a:lnTo>
                  <a:lnTo>
                    <a:pt x="501" y="449"/>
                  </a:lnTo>
                  <a:lnTo>
                    <a:pt x="501" y="449"/>
                  </a:lnTo>
                  <a:lnTo>
                    <a:pt x="501" y="449"/>
                  </a:lnTo>
                  <a:close/>
                  <a:moveTo>
                    <a:pt x="194" y="40"/>
                  </a:moveTo>
                  <a:lnTo>
                    <a:pt x="177" y="28"/>
                  </a:lnTo>
                  <a:lnTo>
                    <a:pt x="194" y="28"/>
                  </a:lnTo>
                  <a:lnTo>
                    <a:pt x="194" y="40"/>
                  </a:lnTo>
                  <a:lnTo>
                    <a:pt x="194" y="40"/>
                  </a:lnTo>
                  <a:lnTo>
                    <a:pt x="194" y="40"/>
                  </a:lnTo>
                  <a:close/>
                  <a:moveTo>
                    <a:pt x="177" y="45"/>
                  </a:moveTo>
                  <a:lnTo>
                    <a:pt x="173" y="40"/>
                  </a:lnTo>
                  <a:lnTo>
                    <a:pt x="177" y="28"/>
                  </a:lnTo>
                  <a:lnTo>
                    <a:pt x="177" y="45"/>
                  </a:lnTo>
                  <a:lnTo>
                    <a:pt x="177" y="45"/>
                  </a:lnTo>
                  <a:lnTo>
                    <a:pt x="177" y="45"/>
                  </a:lnTo>
                  <a:close/>
                  <a:moveTo>
                    <a:pt x="529" y="78"/>
                  </a:moveTo>
                  <a:lnTo>
                    <a:pt x="534" y="78"/>
                  </a:lnTo>
                  <a:lnTo>
                    <a:pt x="513" y="66"/>
                  </a:lnTo>
                  <a:lnTo>
                    <a:pt x="529" y="61"/>
                  </a:lnTo>
                  <a:lnTo>
                    <a:pt x="517" y="45"/>
                  </a:lnTo>
                  <a:lnTo>
                    <a:pt x="539" y="57"/>
                  </a:lnTo>
                  <a:lnTo>
                    <a:pt x="534" y="45"/>
                  </a:lnTo>
                  <a:lnTo>
                    <a:pt x="517" y="45"/>
                  </a:lnTo>
                  <a:lnTo>
                    <a:pt x="517" y="40"/>
                  </a:lnTo>
                  <a:lnTo>
                    <a:pt x="534" y="40"/>
                  </a:lnTo>
                  <a:lnTo>
                    <a:pt x="534" y="45"/>
                  </a:lnTo>
                  <a:lnTo>
                    <a:pt x="551" y="45"/>
                  </a:lnTo>
                  <a:lnTo>
                    <a:pt x="539" y="61"/>
                  </a:lnTo>
                  <a:lnTo>
                    <a:pt x="555" y="78"/>
                  </a:lnTo>
                  <a:lnTo>
                    <a:pt x="551" y="66"/>
                  </a:lnTo>
                  <a:lnTo>
                    <a:pt x="539" y="66"/>
                  </a:lnTo>
                  <a:lnTo>
                    <a:pt x="529" y="78"/>
                  </a:lnTo>
                  <a:lnTo>
                    <a:pt x="529" y="78"/>
                  </a:lnTo>
                  <a:lnTo>
                    <a:pt x="529" y="78"/>
                  </a:lnTo>
                  <a:close/>
                  <a:moveTo>
                    <a:pt x="203" y="57"/>
                  </a:moveTo>
                  <a:lnTo>
                    <a:pt x="194" y="57"/>
                  </a:lnTo>
                  <a:lnTo>
                    <a:pt x="203" y="45"/>
                  </a:lnTo>
                  <a:lnTo>
                    <a:pt x="203" y="57"/>
                  </a:lnTo>
                  <a:lnTo>
                    <a:pt x="203" y="57"/>
                  </a:lnTo>
                  <a:lnTo>
                    <a:pt x="203" y="57"/>
                  </a:lnTo>
                  <a:close/>
                  <a:moveTo>
                    <a:pt x="378" y="61"/>
                  </a:moveTo>
                  <a:lnTo>
                    <a:pt x="388" y="61"/>
                  </a:lnTo>
                  <a:lnTo>
                    <a:pt x="366" y="61"/>
                  </a:lnTo>
                  <a:lnTo>
                    <a:pt x="371" y="57"/>
                  </a:lnTo>
                  <a:lnTo>
                    <a:pt x="378" y="61"/>
                  </a:lnTo>
                  <a:lnTo>
                    <a:pt x="378" y="61"/>
                  </a:lnTo>
                  <a:lnTo>
                    <a:pt x="378" y="61"/>
                  </a:lnTo>
                  <a:close/>
                  <a:moveTo>
                    <a:pt x="588" y="111"/>
                  </a:moveTo>
                  <a:lnTo>
                    <a:pt x="588" y="116"/>
                  </a:lnTo>
                  <a:lnTo>
                    <a:pt x="567" y="116"/>
                  </a:lnTo>
                  <a:lnTo>
                    <a:pt x="581" y="99"/>
                  </a:lnTo>
                  <a:lnTo>
                    <a:pt x="572" y="94"/>
                  </a:lnTo>
                  <a:lnTo>
                    <a:pt x="567" y="99"/>
                  </a:lnTo>
                  <a:lnTo>
                    <a:pt x="555" y="83"/>
                  </a:lnTo>
                  <a:lnTo>
                    <a:pt x="588" y="111"/>
                  </a:lnTo>
                  <a:lnTo>
                    <a:pt x="588" y="111"/>
                  </a:lnTo>
                  <a:lnTo>
                    <a:pt x="588" y="111"/>
                  </a:lnTo>
                  <a:close/>
                  <a:moveTo>
                    <a:pt x="392" y="111"/>
                  </a:moveTo>
                  <a:lnTo>
                    <a:pt x="388" y="99"/>
                  </a:lnTo>
                  <a:lnTo>
                    <a:pt x="392" y="99"/>
                  </a:lnTo>
                  <a:lnTo>
                    <a:pt x="392" y="111"/>
                  </a:lnTo>
                  <a:lnTo>
                    <a:pt x="392" y="111"/>
                  </a:lnTo>
                  <a:lnTo>
                    <a:pt x="392" y="111"/>
                  </a:lnTo>
                  <a:close/>
                  <a:moveTo>
                    <a:pt x="64" y="149"/>
                  </a:moveTo>
                  <a:lnTo>
                    <a:pt x="64" y="139"/>
                  </a:lnTo>
                  <a:lnTo>
                    <a:pt x="69" y="139"/>
                  </a:lnTo>
                  <a:lnTo>
                    <a:pt x="64" y="149"/>
                  </a:lnTo>
                  <a:lnTo>
                    <a:pt x="64" y="149"/>
                  </a:lnTo>
                  <a:lnTo>
                    <a:pt x="64" y="149"/>
                  </a:lnTo>
                  <a:close/>
                </a:path>
              </a:pathLst>
            </a:custGeom>
            <a:pattFill prst="wd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7" name="Freeform 454">
              <a:extLst>
                <a:ext uri="{FF2B5EF4-FFF2-40B4-BE49-F238E27FC236}">
                  <a16:creationId xmlns:a16="http://schemas.microsoft.com/office/drawing/2014/main" id="{2CCF1A78-AA58-4128-BCFC-2C89CA1373B6}"/>
                </a:ext>
              </a:extLst>
            </p:cNvPr>
            <p:cNvSpPr>
              <a:spLocks noEditPoints="1"/>
            </p:cNvSpPr>
            <p:nvPr/>
          </p:nvSpPr>
          <p:spPr bwMode="gray">
            <a:xfrm>
              <a:off x="3584293" y="3949854"/>
              <a:ext cx="65324" cy="81664"/>
            </a:xfrm>
            <a:custGeom>
              <a:avLst/>
              <a:gdLst>
                <a:gd name="T0" fmla="*/ 5 w 132"/>
                <a:gd name="T1" fmla="*/ 5 h 165"/>
                <a:gd name="T2" fmla="*/ 0 w 132"/>
                <a:gd name="T3" fmla="*/ 5 h 165"/>
                <a:gd name="T4" fmla="*/ 5 w 132"/>
                <a:gd name="T5" fmla="*/ 0 h 165"/>
                <a:gd name="T6" fmla="*/ 5 w 132"/>
                <a:gd name="T7" fmla="*/ 5 h 165"/>
                <a:gd name="T8" fmla="*/ 5 w 132"/>
                <a:gd name="T9" fmla="*/ 5 h 165"/>
                <a:gd name="T10" fmla="*/ 5 w 132"/>
                <a:gd name="T11" fmla="*/ 5 h 165"/>
                <a:gd name="T12" fmla="*/ 21 w 132"/>
                <a:gd name="T13" fmla="*/ 16 h 165"/>
                <a:gd name="T14" fmla="*/ 12 w 132"/>
                <a:gd name="T15" fmla="*/ 16 h 165"/>
                <a:gd name="T16" fmla="*/ 21 w 132"/>
                <a:gd name="T17" fmla="*/ 16 h 165"/>
                <a:gd name="T18" fmla="*/ 21 w 132"/>
                <a:gd name="T19" fmla="*/ 16 h 165"/>
                <a:gd name="T20" fmla="*/ 21 w 132"/>
                <a:gd name="T21" fmla="*/ 16 h 165"/>
                <a:gd name="T22" fmla="*/ 21 w 132"/>
                <a:gd name="T23" fmla="*/ 16 h 165"/>
                <a:gd name="T24" fmla="*/ 111 w 132"/>
                <a:gd name="T25" fmla="*/ 132 h 165"/>
                <a:gd name="T26" fmla="*/ 111 w 132"/>
                <a:gd name="T27" fmla="*/ 116 h 165"/>
                <a:gd name="T28" fmla="*/ 118 w 132"/>
                <a:gd name="T29" fmla="*/ 132 h 165"/>
                <a:gd name="T30" fmla="*/ 132 w 132"/>
                <a:gd name="T31" fmla="*/ 132 h 165"/>
                <a:gd name="T32" fmla="*/ 106 w 132"/>
                <a:gd name="T33" fmla="*/ 144 h 165"/>
                <a:gd name="T34" fmla="*/ 106 w 132"/>
                <a:gd name="T35" fmla="*/ 156 h 165"/>
                <a:gd name="T36" fmla="*/ 97 w 132"/>
                <a:gd name="T37" fmla="*/ 156 h 165"/>
                <a:gd name="T38" fmla="*/ 90 w 132"/>
                <a:gd name="T39" fmla="*/ 132 h 165"/>
                <a:gd name="T40" fmla="*/ 111 w 132"/>
                <a:gd name="T41" fmla="*/ 132 h 165"/>
                <a:gd name="T42" fmla="*/ 111 w 132"/>
                <a:gd name="T43" fmla="*/ 132 h 165"/>
                <a:gd name="T44" fmla="*/ 111 w 132"/>
                <a:gd name="T45" fmla="*/ 132 h 165"/>
                <a:gd name="T46" fmla="*/ 128 w 132"/>
                <a:gd name="T47" fmla="*/ 165 h 165"/>
                <a:gd name="T48" fmla="*/ 118 w 132"/>
                <a:gd name="T49" fmla="*/ 165 h 165"/>
                <a:gd name="T50" fmla="*/ 128 w 132"/>
                <a:gd name="T51" fmla="*/ 156 h 165"/>
                <a:gd name="T52" fmla="*/ 132 w 132"/>
                <a:gd name="T53" fmla="*/ 165 h 165"/>
                <a:gd name="T54" fmla="*/ 128 w 132"/>
                <a:gd name="T55" fmla="*/ 165 h 165"/>
                <a:gd name="T56" fmla="*/ 128 w 132"/>
                <a:gd name="T57" fmla="*/ 165 h 165"/>
                <a:gd name="T58" fmla="*/ 128 w 132"/>
                <a:gd name="T59"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2" h="165">
                  <a:moveTo>
                    <a:pt x="5" y="5"/>
                  </a:moveTo>
                  <a:lnTo>
                    <a:pt x="0" y="5"/>
                  </a:lnTo>
                  <a:lnTo>
                    <a:pt x="5" y="0"/>
                  </a:lnTo>
                  <a:lnTo>
                    <a:pt x="5" y="5"/>
                  </a:lnTo>
                  <a:lnTo>
                    <a:pt x="5" y="5"/>
                  </a:lnTo>
                  <a:lnTo>
                    <a:pt x="5" y="5"/>
                  </a:lnTo>
                  <a:close/>
                  <a:moveTo>
                    <a:pt x="21" y="16"/>
                  </a:moveTo>
                  <a:lnTo>
                    <a:pt x="12" y="16"/>
                  </a:lnTo>
                  <a:lnTo>
                    <a:pt x="21" y="16"/>
                  </a:lnTo>
                  <a:lnTo>
                    <a:pt x="21" y="16"/>
                  </a:lnTo>
                  <a:lnTo>
                    <a:pt x="21" y="16"/>
                  </a:lnTo>
                  <a:lnTo>
                    <a:pt x="21" y="16"/>
                  </a:lnTo>
                  <a:close/>
                  <a:moveTo>
                    <a:pt x="111" y="132"/>
                  </a:moveTo>
                  <a:lnTo>
                    <a:pt x="111" y="116"/>
                  </a:lnTo>
                  <a:lnTo>
                    <a:pt x="118" y="132"/>
                  </a:lnTo>
                  <a:lnTo>
                    <a:pt x="132" y="132"/>
                  </a:lnTo>
                  <a:lnTo>
                    <a:pt x="106" y="144"/>
                  </a:lnTo>
                  <a:lnTo>
                    <a:pt x="106" y="156"/>
                  </a:lnTo>
                  <a:lnTo>
                    <a:pt x="97" y="156"/>
                  </a:lnTo>
                  <a:lnTo>
                    <a:pt x="90" y="132"/>
                  </a:lnTo>
                  <a:lnTo>
                    <a:pt x="111" y="132"/>
                  </a:lnTo>
                  <a:lnTo>
                    <a:pt x="111" y="132"/>
                  </a:lnTo>
                  <a:lnTo>
                    <a:pt x="111" y="132"/>
                  </a:lnTo>
                  <a:close/>
                  <a:moveTo>
                    <a:pt x="128" y="165"/>
                  </a:moveTo>
                  <a:lnTo>
                    <a:pt x="118" y="165"/>
                  </a:lnTo>
                  <a:lnTo>
                    <a:pt x="128" y="156"/>
                  </a:lnTo>
                  <a:lnTo>
                    <a:pt x="132" y="165"/>
                  </a:lnTo>
                  <a:lnTo>
                    <a:pt x="128" y="165"/>
                  </a:lnTo>
                  <a:lnTo>
                    <a:pt x="128" y="165"/>
                  </a:lnTo>
                  <a:lnTo>
                    <a:pt x="128" y="165"/>
                  </a:lnTo>
                  <a:close/>
                </a:path>
              </a:pathLst>
            </a:custGeom>
            <a:solidFill>
              <a:schemeClr val="accent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9" name="Freeform 456">
              <a:extLst>
                <a:ext uri="{FF2B5EF4-FFF2-40B4-BE49-F238E27FC236}">
                  <a16:creationId xmlns:a16="http://schemas.microsoft.com/office/drawing/2014/main" id="{A3CFFFA5-3EBB-4463-AEEF-FBEBE028EB83}"/>
                </a:ext>
              </a:extLst>
            </p:cNvPr>
            <p:cNvSpPr>
              <a:spLocks noEditPoints="1"/>
            </p:cNvSpPr>
            <p:nvPr/>
          </p:nvSpPr>
          <p:spPr bwMode="gray">
            <a:xfrm>
              <a:off x="6460024" y="3024827"/>
              <a:ext cx="292472" cy="280626"/>
            </a:xfrm>
            <a:custGeom>
              <a:avLst/>
              <a:gdLst>
                <a:gd name="T0" fmla="*/ 76 w 591"/>
                <a:gd name="T1" fmla="*/ 111 h 567"/>
                <a:gd name="T2" fmla="*/ 227 w 591"/>
                <a:gd name="T3" fmla="*/ 29 h 567"/>
                <a:gd name="T4" fmla="*/ 484 w 591"/>
                <a:gd name="T5" fmla="*/ 7 h 567"/>
                <a:gd name="T6" fmla="*/ 350 w 591"/>
                <a:gd name="T7" fmla="*/ 69 h 567"/>
                <a:gd name="T8" fmla="*/ 324 w 591"/>
                <a:gd name="T9" fmla="*/ 135 h 567"/>
                <a:gd name="T10" fmla="*/ 274 w 591"/>
                <a:gd name="T11" fmla="*/ 123 h 567"/>
                <a:gd name="T12" fmla="*/ 227 w 591"/>
                <a:gd name="T13" fmla="*/ 102 h 567"/>
                <a:gd name="T14" fmla="*/ 220 w 591"/>
                <a:gd name="T15" fmla="*/ 213 h 567"/>
                <a:gd name="T16" fmla="*/ 307 w 591"/>
                <a:gd name="T17" fmla="*/ 300 h 567"/>
                <a:gd name="T18" fmla="*/ 253 w 591"/>
                <a:gd name="T19" fmla="*/ 357 h 567"/>
                <a:gd name="T20" fmla="*/ 215 w 591"/>
                <a:gd name="T21" fmla="*/ 345 h 567"/>
                <a:gd name="T22" fmla="*/ 189 w 591"/>
                <a:gd name="T23" fmla="*/ 452 h 567"/>
                <a:gd name="T24" fmla="*/ 135 w 591"/>
                <a:gd name="T25" fmla="*/ 374 h 567"/>
                <a:gd name="T26" fmla="*/ 227 w 591"/>
                <a:gd name="T27" fmla="*/ 317 h 567"/>
                <a:gd name="T28" fmla="*/ 128 w 591"/>
                <a:gd name="T29" fmla="*/ 284 h 567"/>
                <a:gd name="T30" fmla="*/ 76 w 591"/>
                <a:gd name="T31" fmla="*/ 222 h 567"/>
                <a:gd name="T32" fmla="*/ 21 w 591"/>
                <a:gd name="T33" fmla="*/ 173 h 567"/>
                <a:gd name="T34" fmla="*/ 345 w 591"/>
                <a:gd name="T35" fmla="*/ 95 h 567"/>
                <a:gd name="T36" fmla="*/ 413 w 591"/>
                <a:gd name="T37" fmla="*/ 102 h 567"/>
                <a:gd name="T38" fmla="*/ 397 w 591"/>
                <a:gd name="T39" fmla="*/ 140 h 567"/>
                <a:gd name="T40" fmla="*/ 26 w 591"/>
                <a:gd name="T41" fmla="*/ 196 h 567"/>
                <a:gd name="T42" fmla="*/ 468 w 591"/>
                <a:gd name="T43" fmla="*/ 206 h 567"/>
                <a:gd name="T44" fmla="*/ 468 w 591"/>
                <a:gd name="T45" fmla="*/ 206 h 567"/>
                <a:gd name="T46" fmla="*/ 258 w 591"/>
                <a:gd name="T47" fmla="*/ 222 h 567"/>
                <a:gd name="T48" fmla="*/ 274 w 591"/>
                <a:gd name="T49" fmla="*/ 279 h 567"/>
                <a:gd name="T50" fmla="*/ 333 w 591"/>
                <a:gd name="T51" fmla="*/ 300 h 567"/>
                <a:gd name="T52" fmla="*/ 333 w 591"/>
                <a:gd name="T53" fmla="*/ 230 h 567"/>
                <a:gd name="T54" fmla="*/ 59 w 591"/>
                <a:gd name="T55" fmla="*/ 246 h 567"/>
                <a:gd name="T56" fmla="*/ 404 w 591"/>
                <a:gd name="T57" fmla="*/ 267 h 567"/>
                <a:gd name="T58" fmla="*/ 442 w 591"/>
                <a:gd name="T59" fmla="*/ 300 h 567"/>
                <a:gd name="T60" fmla="*/ 59 w 591"/>
                <a:gd name="T61" fmla="*/ 279 h 567"/>
                <a:gd name="T62" fmla="*/ 350 w 591"/>
                <a:gd name="T63" fmla="*/ 317 h 567"/>
                <a:gd name="T64" fmla="*/ 64 w 591"/>
                <a:gd name="T65" fmla="*/ 324 h 567"/>
                <a:gd name="T66" fmla="*/ 489 w 591"/>
                <a:gd name="T67" fmla="*/ 333 h 567"/>
                <a:gd name="T68" fmla="*/ 258 w 591"/>
                <a:gd name="T69" fmla="*/ 341 h 567"/>
                <a:gd name="T70" fmla="*/ 435 w 591"/>
                <a:gd name="T71" fmla="*/ 357 h 567"/>
                <a:gd name="T72" fmla="*/ 383 w 591"/>
                <a:gd name="T73" fmla="*/ 345 h 567"/>
                <a:gd name="T74" fmla="*/ 366 w 591"/>
                <a:gd name="T75" fmla="*/ 362 h 567"/>
                <a:gd name="T76" fmla="*/ 397 w 591"/>
                <a:gd name="T77" fmla="*/ 362 h 567"/>
                <a:gd name="T78" fmla="*/ 333 w 591"/>
                <a:gd name="T79" fmla="*/ 390 h 567"/>
                <a:gd name="T80" fmla="*/ 387 w 591"/>
                <a:gd name="T81" fmla="*/ 390 h 567"/>
                <a:gd name="T82" fmla="*/ 387 w 591"/>
                <a:gd name="T83" fmla="*/ 390 h 567"/>
                <a:gd name="T84" fmla="*/ 506 w 591"/>
                <a:gd name="T85" fmla="*/ 402 h 567"/>
                <a:gd name="T86" fmla="*/ 376 w 591"/>
                <a:gd name="T87" fmla="*/ 402 h 567"/>
                <a:gd name="T88" fmla="*/ 510 w 591"/>
                <a:gd name="T89" fmla="*/ 411 h 567"/>
                <a:gd name="T90" fmla="*/ 435 w 591"/>
                <a:gd name="T91" fmla="*/ 411 h 567"/>
                <a:gd name="T92" fmla="*/ 397 w 591"/>
                <a:gd name="T93" fmla="*/ 428 h 567"/>
                <a:gd name="T94" fmla="*/ 324 w 591"/>
                <a:gd name="T95" fmla="*/ 428 h 567"/>
                <a:gd name="T96" fmla="*/ 458 w 591"/>
                <a:gd name="T97" fmla="*/ 435 h 567"/>
                <a:gd name="T98" fmla="*/ 404 w 591"/>
                <a:gd name="T99" fmla="*/ 444 h 567"/>
                <a:gd name="T100" fmla="*/ 539 w 591"/>
                <a:gd name="T101" fmla="*/ 452 h 567"/>
                <a:gd name="T102" fmla="*/ 591 w 591"/>
                <a:gd name="T103" fmla="*/ 444 h 567"/>
                <a:gd name="T104" fmla="*/ 421 w 591"/>
                <a:gd name="T105" fmla="*/ 452 h 567"/>
                <a:gd name="T106" fmla="*/ 522 w 591"/>
                <a:gd name="T107" fmla="*/ 529 h 567"/>
                <a:gd name="T108" fmla="*/ 269 w 591"/>
                <a:gd name="T109" fmla="*/ 513 h 567"/>
                <a:gd name="T110" fmla="*/ 397 w 591"/>
                <a:gd name="T111" fmla="*/ 539 h 567"/>
                <a:gd name="T112" fmla="*/ 350 w 591"/>
                <a:gd name="T113" fmla="*/ 567 h 567"/>
                <a:gd name="T114" fmla="*/ 510 w 591"/>
                <a:gd name="T115" fmla="*/ 522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91" h="567">
                  <a:moveTo>
                    <a:pt x="21" y="173"/>
                  </a:moveTo>
                  <a:lnTo>
                    <a:pt x="38" y="173"/>
                  </a:lnTo>
                  <a:lnTo>
                    <a:pt x="43" y="168"/>
                  </a:lnTo>
                  <a:lnTo>
                    <a:pt x="38" y="168"/>
                  </a:lnTo>
                  <a:lnTo>
                    <a:pt x="54" y="156"/>
                  </a:lnTo>
                  <a:lnTo>
                    <a:pt x="43" y="152"/>
                  </a:lnTo>
                  <a:lnTo>
                    <a:pt x="64" y="135"/>
                  </a:lnTo>
                  <a:lnTo>
                    <a:pt x="76" y="111"/>
                  </a:lnTo>
                  <a:lnTo>
                    <a:pt x="92" y="95"/>
                  </a:lnTo>
                  <a:lnTo>
                    <a:pt x="92" y="69"/>
                  </a:lnTo>
                  <a:lnTo>
                    <a:pt x="128" y="69"/>
                  </a:lnTo>
                  <a:lnTo>
                    <a:pt x="144" y="62"/>
                  </a:lnTo>
                  <a:lnTo>
                    <a:pt x="161" y="45"/>
                  </a:lnTo>
                  <a:lnTo>
                    <a:pt x="215" y="45"/>
                  </a:lnTo>
                  <a:lnTo>
                    <a:pt x="215" y="29"/>
                  </a:lnTo>
                  <a:lnTo>
                    <a:pt x="227" y="29"/>
                  </a:lnTo>
                  <a:lnTo>
                    <a:pt x="274" y="29"/>
                  </a:lnTo>
                  <a:lnTo>
                    <a:pt x="324" y="12"/>
                  </a:lnTo>
                  <a:lnTo>
                    <a:pt x="387" y="41"/>
                  </a:lnTo>
                  <a:lnTo>
                    <a:pt x="451" y="29"/>
                  </a:lnTo>
                  <a:lnTo>
                    <a:pt x="451" y="12"/>
                  </a:lnTo>
                  <a:lnTo>
                    <a:pt x="442" y="0"/>
                  </a:lnTo>
                  <a:lnTo>
                    <a:pt x="468" y="0"/>
                  </a:lnTo>
                  <a:lnTo>
                    <a:pt x="484" y="7"/>
                  </a:lnTo>
                  <a:lnTo>
                    <a:pt x="484" y="29"/>
                  </a:lnTo>
                  <a:lnTo>
                    <a:pt x="458" y="41"/>
                  </a:lnTo>
                  <a:lnTo>
                    <a:pt x="468" y="62"/>
                  </a:lnTo>
                  <a:lnTo>
                    <a:pt x="442" y="85"/>
                  </a:lnTo>
                  <a:lnTo>
                    <a:pt x="442" y="78"/>
                  </a:lnTo>
                  <a:lnTo>
                    <a:pt x="383" y="62"/>
                  </a:lnTo>
                  <a:lnTo>
                    <a:pt x="383" y="62"/>
                  </a:lnTo>
                  <a:lnTo>
                    <a:pt x="350" y="69"/>
                  </a:lnTo>
                  <a:lnTo>
                    <a:pt x="328" y="62"/>
                  </a:lnTo>
                  <a:lnTo>
                    <a:pt x="307" y="85"/>
                  </a:lnTo>
                  <a:lnTo>
                    <a:pt x="279" y="78"/>
                  </a:lnTo>
                  <a:lnTo>
                    <a:pt x="274" y="85"/>
                  </a:lnTo>
                  <a:lnTo>
                    <a:pt x="291" y="111"/>
                  </a:lnTo>
                  <a:lnTo>
                    <a:pt x="312" y="118"/>
                  </a:lnTo>
                  <a:lnTo>
                    <a:pt x="328" y="135"/>
                  </a:lnTo>
                  <a:lnTo>
                    <a:pt x="324" y="135"/>
                  </a:lnTo>
                  <a:lnTo>
                    <a:pt x="312" y="118"/>
                  </a:lnTo>
                  <a:lnTo>
                    <a:pt x="291" y="118"/>
                  </a:lnTo>
                  <a:lnTo>
                    <a:pt x="279" y="118"/>
                  </a:lnTo>
                  <a:lnTo>
                    <a:pt x="279" y="123"/>
                  </a:lnTo>
                  <a:lnTo>
                    <a:pt x="295" y="135"/>
                  </a:lnTo>
                  <a:lnTo>
                    <a:pt x="295" y="140"/>
                  </a:lnTo>
                  <a:lnTo>
                    <a:pt x="295" y="152"/>
                  </a:lnTo>
                  <a:lnTo>
                    <a:pt x="274" y="123"/>
                  </a:lnTo>
                  <a:lnTo>
                    <a:pt x="253" y="123"/>
                  </a:lnTo>
                  <a:lnTo>
                    <a:pt x="253" y="135"/>
                  </a:lnTo>
                  <a:lnTo>
                    <a:pt x="279" y="152"/>
                  </a:lnTo>
                  <a:lnTo>
                    <a:pt x="258" y="152"/>
                  </a:lnTo>
                  <a:lnTo>
                    <a:pt x="253" y="123"/>
                  </a:lnTo>
                  <a:lnTo>
                    <a:pt x="220" y="111"/>
                  </a:lnTo>
                  <a:lnTo>
                    <a:pt x="220" y="102"/>
                  </a:lnTo>
                  <a:lnTo>
                    <a:pt x="227" y="102"/>
                  </a:lnTo>
                  <a:lnTo>
                    <a:pt x="227" y="95"/>
                  </a:lnTo>
                  <a:lnTo>
                    <a:pt x="199" y="102"/>
                  </a:lnTo>
                  <a:lnTo>
                    <a:pt x="199" y="140"/>
                  </a:lnTo>
                  <a:lnTo>
                    <a:pt x="253" y="213"/>
                  </a:lnTo>
                  <a:lnTo>
                    <a:pt x="236" y="222"/>
                  </a:lnTo>
                  <a:lnTo>
                    <a:pt x="241" y="213"/>
                  </a:lnTo>
                  <a:lnTo>
                    <a:pt x="227" y="196"/>
                  </a:lnTo>
                  <a:lnTo>
                    <a:pt x="220" y="213"/>
                  </a:lnTo>
                  <a:lnTo>
                    <a:pt x="236" y="230"/>
                  </a:lnTo>
                  <a:lnTo>
                    <a:pt x="220" y="234"/>
                  </a:lnTo>
                  <a:lnTo>
                    <a:pt x="199" y="246"/>
                  </a:lnTo>
                  <a:lnTo>
                    <a:pt x="227" y="251"/>
                  </a:lnTo>
                  <a:lnTo>
                    <a:pt x="236" y="263"/>
                  </a:lnTo>
                  <a:lnTo>
                    <a:pt x="253" y="263"/>
                  </a:lnTo>
                  <a:lnTo>
                    <a:pt x="253" y="267"/>
                  </a:lnTo>
                  <a:lnTo>
                    <a:pt x="307" y="300"/>
                  </a:lnTo>
                  <a:lnTo>
                    <a:pt x="295" y="307"/>
                  </a:lnTo>
                  <a:lnTo>
                    <a:pt x="307" y="333"/>
                  </a:lnTo>
                  <a:lnTo>
                    <a:pt x="295" y="341"/>
                  </a:lnTo>
                  <a:lnTo>
                    <a:pt x="269" y="307"/>
                  </a:lnTo>
                  <a:lnTo>
                    <a:pt x="227" y="324"/>
                  </a:lnTo>
                  <a:lnTo>
                    <a:pt x="236" y="324"/>
                  </a:lnTo>
                  <a:lnTo>
                    <a:pt x="241" y="345"/>
                  </a:lnTo>
                  <a:lnTo>
                    <a:pt x="253" y="357"/>
                  </a:lnTo>
                  <a:lnTo>
                    <a:pt x="253" y="345"/>
                  </a:lnTo>
                  <a:lnTo>
                    <a:pt x="258" y="345"/>
                  </a:lnTo>
                  <a:lnTo>
                    <a:pt x="269" y="362"/>
                  </a:lnTo>
                  <a:lnTo>
                    <a:pt x="253" y="362"/>
                  </a:lnTo>
                  <a:lnTo>
                    <a:pt x="241" y="374"/>
                  </a:lnTo>
                  <a:lnTo>
                    <a:pt x="236" y="362"/>
                  </a:lnTo>
                  <a:lnTo>
                    <a:pt x="236" y="362"/>
                  </a:lnTo>
                  <a:lnTo>
                    <a:pt x="215" y="345"/>
                  </a:lnTo>
                  <a:lnTo>
                    <a:pt x="236" y="418"/>
                  </a:lnTo>
                  <a:lnTo>
                    <a:pt x="227" y="428"/>
                  </a:lnTo>
                  <a:lnTo>
                    <a:pt x="241" y="444"/>
                  </a:lnTo>
                  <a:lnTo>
                    <a:pt x="227" y="435"/>
                  </a:lnTo>
                  <a:lnTo>
                    <a:pt x="215" y="411"/>
                  </a:lnTo>
                  <a:lnTo>
                    <a:pt x="203" y="411"/>
                  </a:lnTo>
                  <a:lnTo>
                    <a:pt x="189" y="428"/>
                  </a:lnTo>
                  <a:lnTo>
                    <a:pt x="189" y="452"/>
                  </a:lnTo>
                  <a:lnTo>
                    <a:pt x="165" y="395"/>
                  </a:lnTo>
                  <a:lnTo>
                    <a:pt x="151" y="395"/>
                  </a:lnTo>
                  <a:lnTo>
                    <a:pt x="161" y="411"/>
                  </a:lnTo>
                  <a:lnTo>
                    <a:pt x="151" y="418"/>
                  </a:lnTo>
                  <a:lnTo>
                    <a:pt x="135" y="411"/>
                  </a:lnTo>
                  <a:lnTo>
                    <a:pt x="135" y="402"/>
                  </a:lnTo>
                  <a:lnTo>
                    <a:pt x="128" y="390"/>
                  </a:lnTo>
                  <a:lnTo>
                    <a:pt x="135" y="374"/>
                  </a:lnTo>
                  <a:lnTo>
                    <a:pt x="135" y="362"/>
                  </a:lnTo>
                  <a:lnTo>
                    <a:pt x="97" y="324"/>
                  </a:lnTo>
                  <a:lnTo>
                    <a:pt x="113" y="307"/>
                  </a:lnTo>
                  <a:lnTo>
                    <a:pt x="113" y="291"/>
                  </a:lnTo>
                  <a:lnTo>
                    <a:pt x="135" y="300"/>
                  </a:lnTo>
                  <a:lnTo>
                    <a:pt x="151" y="284"/>
                  </a:lnTo>
                  <a:lnTo>
                    <a:pt x="220" y="317"/>
                  </a:lnTo>
                  <a:lnTo>
                    <a:pt x="227" y="317"/>
                  </a:lnTo>
                  <a:lnTo>
                    <a:pt x="220" y="307"/>
                  </a:lnTo>
                  <a:lnTo>
                    <a:pt x="241" y="307"/>
                  </a:lnTo>
                  <a:lnTo>
                    <a:pt x="241" y="300"/>
                  </a:lnTo>
                  <a:lnTo>
                    <a:pt x="215" y="291"/>
                  </a:lnTo>
                  <a:lnTo>
                    <a:pt x="189" y="279"/>
                  </a:lnTo>
                  <a:lnTo>
                    <a:pt x="182" y="284"/>
                  </a:lnTo>
                  <a:lnTo>
                    <a:pt x="161" y="279"/>
                  </a:lnTo>
                  <a:lnTo>
                    <a:pt x="128" y="284"/>
                  </a:lnTo>
                  <a:lnTo>
                    <a:pt x="113" y="279"/>
                  </a:lnTo>
                  <a:lnTo>
                    <a:pt x="97" y="284"/>
                  </a:lnTo>
                  <a:lnTo>
                    <a:pt x="92" y="263"/>
                  </a:lnTo>
                  <a:lnTo>
                    <a:pt x="64" y="246"/>
                  </a:lnTo>
                  <a:lnTo>
                    <a:pt x="76" y="234"/>
                  </a:lnTo>
                  <a:lnTo>
                    <a:pt x="97" y="246"/>
                  </a:lnTo>
                  <a:lnTo>
                    <a:pt x="97" y="230"/>
                  </a:lnTo>
                  <a:lnTo>
                    <a:pt x="76" y="222"/>
                  </a:lnTo>
                  <a:lnTo>
                    <a:pt x="76" y="230"/>
                  </a:lnTo>
                  <a:lnTo>
                    <a:pt x="76" y="234"/>
                  </a:lnTo>
                  <a:lnTo>
                    <a:pt x="64" y="234"/>
                  </a:lnTo>
                  <a:lnTo>
                    <a:pt x="54" y="206"/>
                  </a:lnTo>
                  <a:lnTo>
                    <a:pt x="38" y="206"/>
                  </a:lnTo>
                  <a:lnTo>
                    <a:pt x="38" y="180"/>
                  </a:lnTo>
                  <a:lnTo>
                    <a:pt x="21" y="173"/>
                  </a:lnTo>
                  <a:lnTo>
                    <a:pt x="21" y="173"/>
                  </a:lnTo>
                  <a:lnTo>
                    <a:pt x="21" y="173"/>
                  </a:lnTo>
                  <a:close/>
                  <a:moveTo>
                    <a:pt x="345" y="95"/>
                  </a:moveTo>
                  <a:lnTo>
                    <a:pt x="333" y="85"/>
                  </a:lnTo>
                  <a:lnTo>
                    <a:pt x="345" y="78"/>
                  </a:lnTo>
                  <a:lnTo>
                    <a:pt x="350" y="78"/>
                  </a:lnTo>
                  <a:lnTo>
                    <a:pt x="350" y="95"/>
                  </a:lnTo>
                  <a:lnTo>
                    <a:pt x="345" y="95"/>
                  </a:lnTo>
                  <a:lnTo>
                    <a:pt x="345" y="95"/>
                  </a:lnTo>
                  <a:lnTo>
                    <a:pt x="345" y="95"/>
                  </a:lnTo>
                  <a:close/>
                  <a:moveTo>
                    <a:pt x="413" y="102"/>
                  </a:moveTo>
                  <a:lnTo>
                    <a:pt x="421" y="111"/>
                  </a:lnTo>
                  <a:lnTo>
                    <a:pt x="413" y="111"/>
                  </a:lnTo>
                  <a:lnTo>
                    <a:pt x="397" y="102"/>
                  </a:lnTo>
                  <a:lnTo>
                    <a:pt x="413" y="102"/>
                  </a:lnTo>
                  <a:lnTo>
                    <a:pt x="413" y="102"/>
                  </a:lnTo>
                  <a:lnTo>
                    <a:pt x="413" y="102"/>
                  </a:lnTo>
                  <a:close/>
                  <a:moveTo>
                    <a:pt x="397" y="140"/>
                  </a:moveTo>
                  <a:lnTo>
                    <a:pt x="397" y="168"/>
                  </a:lnTo>
                  <a:lnTo>
                    <a:pt x="387" y="152"/>
                  </a:lnTo>
                  <a:lnTo>
                    <a:pt x="383" y="156"/>
                  </a:lnTo>
                  <a:lnTo>
                    <a:pt x="383" y="168"/>
                  </a:lnTo>
                  <a:lnTo>
                    <a:pt x="376" y="156"/>
                  </a:lnTo>
                  <a:lnTo>
                    <a:pt x="376" y="152"/>
                  </a:lnTo>
                  <a:lnTo>
                    <a:pt x="397" y="140"/>
                  </a:lnTo>
                  <a:lnTo>
                    <a:pt x="397" y="140"/>
                  </a:lnTo>
                  <a:lnTo>
                    <a:pt x="397" y="140"/>
                  </a:lnTo>
                  <a:close/>
                  <a:moveTo>
                    <a:pt x="5" y="156"/>
                  </a:moveTo>
                  <a:lnTo>
                    <a:pt x="10" y="168"/>
                  </a:lnTo>
                  <a:lnTo>
                    <a:pt x="5" y="173"/>
                  </a:lnTo>
                  <a:lnTo>
                    <a:pt x="10" y="189"/>
                  </a:lnTo>
                  <a:lnTo>
                    <a:pt x="21" y="189"/>
                  </a:lnTo>
                  <a:lnTo>
                    <a:pt x="26" y="196"/>
                  </a:lnTo>
                  <a:lnTo>
                    <a:pt x="10" y="189"/>
                  </a:lnTo>
                  <a:lnTo>
                    <a:pt x="0" y="173"/>
                  </a:lnTo>
                  <a:lnTo>
                    <a:pt x="0" y="168"/>
                  </a:lnTo>
                  <a:lnTo>
                    <a:pt x="5" y="156"/>
                  </a:lnTo>
                  <a:lnTo>
                    <a:pt x="5" y="156"/>
                  </a:lnTo>
                  <a:lnTo>
                    <a:pt x="5" y="156"/>
                  </a:lnTo>
                  <a:close/>
                  <a:moveTo>
                    <a:pt x="468" y="206"/>
                  </a:moveTo>
                  <a:lnTo>
                    <a:pt x="468" y="206"/>
                  </a:lnTo>
                  <a:lnTo>
                    <a:pt x="484" y="230"/>
                  </a:lnTo>
                  <a:lnTo>
                    <a:pt x="458" y="230"/>
                  </a:lnTo>
                  <a:lnTo>
                    <a:pt x="442" y="222"/>
                  </a:lnTo>
                  <a:lnTo>
                    <a:pt x="458" y="213"/>
                  </a:lnTo>
                  <a:lnTo>
                    <a:pt x="442" y="222"/>
                  </a:lnTo>
                  <a:lnTo>
                    <a:pt x="430" y="213"/>
                  </a:lnTo>
                  <a:lnTo>
                    <a:pt x="451" y="196"/>
                  </a:lnTo>
                  <a:lnTo>
                    <a:pt x="468" y="206"/>
                  </a:lnTo>
                  <a:lnTo>
                    <a:pt x="468" y="206"/>
                  </a:lnTo>
                  <a:lnTo>
                    <a:pt x="468" y="206"/>
                  </a:lnTo>
                  <a:close/>
                  <a:moveTo>
                    <a:pt x="258" y="222"/>
                  </a:moveTo>
                  <a:lnTo>
                    <a:pt x="258" y="213"/>
                  </a:lnTo>
                  <a:lnTo>
                    <a:pt x="269" y="213"/>
                  </a:lnTo>
                  <a:lnTo>
                    <a:pt x="258" y="222"/>
                  </a:lnTo>
                  <a:lnTo>
                    <a:pt x="258" y="222"/>
                  </a:lnTo>
                  <a:lnTo>
                    <a:pt x="258" y="222"/>
                  </a:lnTo>
                  <a:close/>
                  <a:moveTo>
                    <a:pt x="279" y="222"/>
                  </a:moveTo>
                  <a:lnTo>
                    <a:pt x="269" y="213"/>
                  </a:lnTo>
                  <a:lnTo>
                    <a:pt x="279" y="222"/>
                  </a:lnTo>
                  <a:lnTo>
                    <a:pt x="279" y="222"/>
                  </a:lnTo>
                  <a:lnTo>
                    <a:pt x="279" y="222"/>
                  </a:lnTo>
                  <a:lnTo>
                    <a:pt x="279" y="222"/>
                  </a:lnTo>
                  <a:close/>
                  <a:moveTo>
                    <a:pt x="307" y="284"/>
                  </a:moveTo>
                  <a:lnTo>
                    <a:pt x="274" y="279"/>
                  </a:lnTo>
                  <a:lnTo>
                    <a:pt x="274" y="267"/>
                  </a:lnTo>
                  <a:lnTo>
                    <a:pt x="241" y="246"/>
                  </a:lnTo>
                  <a:lnTo>
                    <a:pt x="220" y="246"/>
                  </a:lnTo>
                  <a:lnTo>
                    <a:pt x="253" y="230"/>
                  </a:lnTo>
                  <a:lnTo>
                    <a:pt x="269" y="251"/>
                  </a:lnTo>
                  <a:lnTo>
                    <a:pt x="312" y="263"/>
                  </a:lnTo>
                  <a:lnTo>
                    <a:pt x="312" y="291"/>
                  </a:lnTo>
                  <a:lnTo>
                    <a:pt x="333" y="300"/>
                  </a:lnTo>
                  <a:lnTo>
                    <a:pt x="333" y="317"/>
                  </a:lnTo>
                  <a:lnTo>
                    <a:pt x="328" y="317"/>
                  </a:lnTo>
                  <a:lnTo>
                    <a:pt x="307" y="284"/>
                  </a:lnTo>
                  <a:lnTo>
                    <a:pt x="307" y="284"/>
                  </a:lnTo>
                  <a:lnTo>
                    <a:pt x="307" y="284"/>
                  </a:lnTo>
                  <a:close/>
                  <a:moveTo>
                    <a:pt x="333" y="251"/>
                  </a:moveTo>
                  <a:lnTo>
                    <a:pt x="328" y="234"/>
                  </a:lnTo>
                  <a:lnTo>
                    <a:pt x="333" y="230"/>
                  </a:lnTo>
                  <a:lnTo>
                    <a:pt x="345" y="246"/>
                  </a:lnTo>
                  <a:lnTo>
                    <a:pt x="333" y="251"/>
                  </a:lnTo>
                  <a:lnTo>
                    <a:pt x="333" y="251"/>
                  </a:lnTo>
                  <a:lnTo>
                    <a:pt x="333" y="251"/>
                  </a:lnTo>
                  <a:close/>
                  <a:moveTo>
                    <a:pt x="64" y="246"/>
                  </a:moveTo>
                  <a:lnTo>
                    <a:pt x="64" y="263"/>
                  </a:lnTo>
                  <a:lnTo>
                    <a:pt x="59" y="267"/>
                  </a:lnTo>
                  <a:lnTo>
                    <a:pt x="59" y="246"/>
                  </a:lnTo>
                  <a:lnTo>
                    <a:pt x="64" y="246"/>
                  </a:lnTo>
                  <a:lnTo>
                    <a:pt x="64" y="246"/>
                  </a:lnTo>
                  <a:lnTo>
                    <a:pt x="64" y="246"/>
                  </a:lnTo>
                  <a:close/>
                  <a:moveTo>
                    <a:pt x="404" y="267"/>
                  </a:moveTo>
                  <a:lnTo>
                    <a:pt x="404" y="263"/>
                  </a:lnTo>
                  <a:lnTo>
                    <a:pt x="413" y="263"/>
                  </a:lnTo>
                  <a:lnTo>
                    <a:pt x="404" y="267"/>
                  </a:lnTo>
                  <a:lnTo>
                    <a:pt x="404" y="267"/>
                  </a:lnTo>
                  <a:lnTo>
                    <a:pt x="404" y="267"/>
                  </a:lnTo>
                  <a:close/>
                  <a:moveTo>
                    <a:pt x="442" y="300"/>
                  </a:moveTo>
                  <a:lnTo>
                    <a:pt x="430" y="291"/>
                  </a:lnTo>
                  <a:lnTo>
                    <a:pt x="435" y="284"/>
                  </a:lnTo>
                  <a:lnTo>
                    <a:pt x="430" y="267"/>
                  </a:lnTo>
                  <a:lnTo>
                    <a:pt x="451" y="267"/>
                  </a:lnTo>
                  <a:lnTo>
                    <a:pt x="451" y="291"/>
                  </a:lnTo>
                  <a:lnTo>
                    <a:pt x="442" y="300"/>
                  </a:lnTo>
                  <a:lnTo>
                    <a:pt x="442" y="300"/>
                  </a:lnTo>
                  <a:lnTo>
                    <a:pt x="442" y="300"/>
                  </a:lnTo>
                  <a:close/>
                  <a:moveTo>
                    <a:pt x="59" y="279"/>
                  </a:moveTo>
                  <a:lnTo>
                    <a:pt x="76" y="307"/>
                  </a:lnTo>
                  <a:lnTo>
                    <a:pt x="43" y="300"/>
                  </a:lnTo>
                  <a:lnTo>
                    <a:pt x="59" y="279"/>
                  </a:lnTo>
                  <a:lnTo>
                    <a:pt x="59" y="279"/>
                  </a:lnTo>
                  <a:lnTo>
                    <a:pt x="59" y="279"/>
                  </a:lnTo>
                  <a:close/>
                  <a:moveTo>
                    <a:pt x="269" y="317"/>
                  </a:moveTo>
                  <a:lnTo>
                    <a:pt x="269" y="324"/>
                  </a:lnTo>
                  <a:lnTo>
                    <a:pt x="258" y="324"/>
                  </a:lnTo>
                  <a:lnTo>
                    <a:pt x="269" y="317"/>
                  </a:lnTo>
                  <a:lnTo>
                    <a:pt x="269" y="317"/>
                  </a:lnTo>
                  <a:lnTo>
                    <a:pt x="269" y="317"/>
                  </a:lnTo>
                  <a:close/>
                  <a:moveTo>
                    <a:pt x="366" y="341"/>
                  </a:moveTo>
                  <a:lnTo>
                    <a:pt x="350" y="317"/>
                  </a:lnTo>
                  <a:lnTo>
                    <a:pt x="350" y="317"/>
                  </a:lnTo>
                  <a:lnTo>
                    <a:pt x="366" y="324"/>
                  </a:lnTo>
                  <a:lnTo>
                    <a:pt x="366" y="341"/>
                  </a:lnTo>
                  <a:lnTo>
                    <a:pt x="366" y="341"/>
                  </a:lnTo>
                  <a:lnTo>
                    <a:pt x="366" y="341"/>
                  </a:lnTo>
                  <a:close/>
                  <a:moveTo>
                    <a:pt x="76" y="341"/>
                  </a:moveTo>
                  <a:lnTo>
                    <a:pt x="64" y="333"/>
                  </a:lnTo>
                  <a:lnTo>
                    <a:pt x="64" y="324"/>
                  </a:lnTo>
                  <a:lnTo>
                    <a:pt x="92" y="341"/>
                  </a:lnTo>
                  <a:lnTo>
                    <a:pt x="80" y="341"/>
                  </a:lnTo>
                  <a:lnTo>
                    <a:pt x="76" y="341"/>
                  </a:lnTo>
                  <a:lnTo>
                    <a:pt x="76" y="341"/>
                  </a:lnTo>
                  <a:lnTo>
                    <a:pt x="76" y="341"/>
                  </a:lnTo>
                  <a:close/>
                  <a:moveTo>
                    <a:pt x="494" y="345"/>
                  </a:moveTo>
                  <a:lnTo>
                    <a:pt x="484" y="341"/>
                  </a:lnTo>
                  <a:lnTo>
                    <a:pt x="489" y="333"/>
                  </a:lnTo>
                  <a:lnTo>
                    <a:pt x="510" y="341"/>
                  </a:lnTo>
                  <a:lnTo>
                    <a:pt x="494" y="345"/>
                  </a:lnTo>
                  <a:lnTo>
                    <a:pt x="494" y="345"/>
                  </a:lnTo>
                  <a:lnTo>
                    <a:pt x="494" y="345"/>
                  </a:lnTo>
                  <a:close/>
                  <a:moveTo>
                    <a:pt x="258" y="341"/>
                  </a:moveTo>
                  <a:lnTo>
                    <a:pt x="258" y="333"/>
                  </a:lnTo>
                  <a:lnTo>
                    <a:pt x="269" y="333"/>
                  </a:lnTo>
                  <a:lnTo>
                    <a:pt x="258" y="341"/>
                  </a:lnTo>
                  <a:lnTo>
                    <a:pt x="258" y="341"/>
                  </a:lnTo>
                  <a:lnTo>
                    <a:pt x="258" y="341"/>
                  </a:lnTo>
                  <a:close/>
                  <a:moveTo>
                    <a:pt x="435" y="357"/>
                  </a:moveTo>
                  <a:lnTo>
                    <a:pt x="442" y="345"/>
                  </a:lnTo>
                  <a:lnTo>
                    <a:pt x="468" y="341"/>
                  </a:lnTo>
                  <a:lnTo>
                    <a:pt x="435" y="357"/>
                  </a:lnTo>
                  <a:lnTo>
                    <a:pt x="435" y="357"/>
                  </a:lnTo>
                  <a:lnTo>
                    <a:pt x="435" y="357"/>
                  </a:lnTo>
                  <a:close/>
                  <a:moveTo>
                    <a:pt x="324" y="357"/>
                  </a:moveTo>
                  <a:lnTo>
                    <a:pt x="324" y="341"/>
                  </a:lnTo>
                  <a:lnTo>
                    <a:pt x="328" y="341"/>
                  </a:lnTo>
                  <a:lnTo>
                    <a:pt x="324" y="357"/>
                  </a:lnTo>
                  <a:lnTo>
                    <a:pt x="324" y="357"/>
                  </a:lnTo>
                  <a:lnTo>
                    <a:pt x="324" y="357"/>
                  </a:lnTo>
                  <a:close/>
                  <a:moveTo>
                    <a:pt x="376" y="341"/>
                  </a:moveTo>
                  <a:lnTo>
                    <a:pt x="383" y="345"/>
                  </a:lnTo>
                  <a:lnTo>
                    <a:pt x="383" y="357"/>
                  </a:lnTo>
                  <a:lnTo>
                    <a:pt x="366" y="341"/>
                  </a:lnTo>
                  <a:lnTo>
                    <a:pt x="376" y="341"/>
                  </a:lnTo>
                  <a:lnTo>
                    <a:pt x="376" y="341"/>
                  </a:lnTo>
                  <a:lnTo>
                    <a:pt x="376" y="341"/>
                  </a:lnTo>
                  <a:close/>
                  <a:moveTo>
                    <a:pt x="359" y="362"/>
                  </a:moveTo>
                  <a:lnTo>
                    <a:pt x="359" y="357"/>
                  </a:lnTo>
                  <a:lnTo>
                    <a:pt x="366" y="362"/>
                  </a:lnTo>
                  <a:lnTo>
                    <a:pt x="359" y="362"/>
                  </a:lnTo>
                  <a:lnTo>
                    <a:pt x="359" y="362"/>
                  </a:lnTo>
                  <a:lnTo>
                    <a:pt x="359" y="362"/>
                  </a:lnTo>
                  <a:close/>
                  <a:moveTo>
                    <a:pt x="397" y="362"/>
                  </a:moveTo>
                  <a:lnTo>
                    <a:pt x="387" y="357"/>
                  </a:lnTo>
                  <a:lnTo>
                    <a:pt x="397" y="357"/>
                  </a:lnTo>
                  <a:lnTo>
                    <a:pt x="397" y="362"/>
                  </a:lnTo>
                  <a:lnTo>
                    <a:pt x="397" y="362"/>
                  </a:lnTo>
                  <a:lnTo>
                    <a:pt x="397" y="362"/>
                  </a:lnTo>
                  <a:close/>
                  <a:moveTo>
                    <a:pt x="328" y="357"/>
                  </a:moveTo>
                  <a:lnTo>
                    <a:pt x="333" y="362"/>
                  </a:lnTo>
                  <a:lnTo>
                    <a:pt x="328" y="374"/>
                  </a:lnTo>
                  <a:lnTo>
                    <a:pt x="328" y="357"/>
                  </a:lnTo>
                  <a:lnTo>
                    <a:pt x="328" y="357"/>
                  </a:lnTo>
                  <a:lnTo>
                    <a:pt x="328" y="357"/>
                  </a:lnTo>
                  <a:close/>
                  <a:moveTo>
                    <a:pt x="333" y="390"/>
                  </a:moveTo>
                  <a:lnTo>
                    <a:pt x="328" y="390"/>
                  </a:lnTo>
                  <a:lnTo>
                    <a:pt x="328" y="378"/>
                  </a:lnTo>
                  <a:lnTo>
                    <a:pt x="333" y="378"/>
                  </a:lnTo>
                  <a:lnTo>
                    <a:pt x="333" y="390"/>
                  </a:lnTo>
                  <a:lnTo>
                    <a:pt x="333" y="390"/>
                  </a:lnTo>
                  <a:lnTo>
                    <a:pt x="333" y="390"/>
                  </a:lnTo>
                  <a:close/>
                  <a:moveTo>
                    <a:pt x="397" y="402"/>
                  </a:moveTo>
                  <a:lnTo>
                    <a:pt x="387" y="390"/>
                  </a:lnTo>
                  <a:lnTo>
                    <a:pt x="404" y="378"/>
                  </a:lnTo>
                  <a:lnTo>
                    <a:pt x="413" y="395"/>
                  </a:lnTo>
                  <a:lnTo>
                    <a:pt x="397" y="402"/>
                  </a:lnTo>
                  <a:lnTo>
                    <a:pt x="397" y="402"/>
                  </a:lnTo>
                  <a:lnTo>
                    <a:pt x="397" y="402"/>
                  </a:lnTo>
                  <a:close/>
                  <a:moveTo>
                    <a:pt x="383" y="395"/>
                  </a:moveTo>
                  <a:lnTo>
                    <a:pt x="376" y="395"/>
                  </a:lnTo>
                  <a:lnTo>
                    <a:pt x="387" y="390"/>
                  </a:lnTo>
                  <a:lnTo>
                    <a:pt x="383" y="395"/>
                  </a:lnTo>
                  <a:lnTo>
                    <a:pt x="383" y="395"/>
                  </a:lnTo>
                  <a:lnTo>
                    <a:pt x="383" y="395"/>
                  </a:lnTo>
                  <a:close/>
                  <a:moveTo>
                    <a:pt x="506" y="402"/>
                  </a:moveTo>
                  <a:lnTo>
                    <a:pt x="494" y="390"/>
                  </a:lnTo>
                  <a:lnTo>
                    <a:pt x="510" y="395"/>
                  </a:lnTo>
                  <a:lnTo>
                    <a:pt x="506" y="402"/>
                  </a:lnTo>
                  <a:lnTo>
                    <a:pt x="506" y="402"/>
                  </a:lnTo>
                  <a:lnTo>
                    <a:pt x="506" y="402"/>
                  </a:lnTo>
                  <a:close/>
                  <a:moveTo>
                    <a:pt x="350" y="402"/>
                  </a:moveTo>
                  <a:lnTo>
                    <a:pt x="345" y="395"/>
                  </a:lnTo>
                  <a:lnTo>
                    <a:pt x="350" y="402"/>
                  </a:lnTo>
                  <a:lnTo>
                    <a:pt x="350" y="402"/>
                  </a:lnTo>
                  <a:lnTo>
                    <a:pt x="350" y="402"/>
                  </a:lnTo>
                  <a:lnTo>
                    <a:pt x="350" y="402"/>
                  </a:lnTo>
                  <a:close/>
                  <a:moveTo>
                    <a:pt x="376" y="402"/>
                  </a:moveTo>
                  <a:lnTo>
                    <a:pt x="366" y="395"/>
                  </a:lnTo>
                  <a:lnTo>
                    <a:pt x="376" y="395"/>
                  </a:lnTo>
                  <a:lnTo>
                    <a:pt x="376" y="402"/>
                  </a:lnTo>
                  <a:lnTo>
                    <a:pt x="376" y="402"/>
                  </a:lnTo>
                  <a:lnTo>
                    <a:pt x="376" y="402"/>
                  </a:lnTo>
                  <a:close/>
                  <a:moveTo>
                    <a:pt x="506" y="428"/>
                  </a:moveTo>
                  <a:lnTo>
                    <a:pt x="506" y="418"/>
                  </a:lnTo>
                  <a:lnTo>
                    <a:pt x="510" y="411"/>
                  </a:lnTo>
                  <a:lnTo>
                    <a:pt x="539" y="411"/>
                  </a:lnTo>
                  <a:lnTo>
                    <a:pt x="506" y="418"/>
                  </a:lnTo>
                  <a:lnTo>
                    <a:pt x="506" y="428"/>
                  </a:lnTo>
                  <a:lnTo>
                    <a:pt x="506" y="428"/>
                  </a:lnTo>
                  <a:lnTo>
                    <a:pt x="506" y="428"/>
                  </a:lnTo>
                  <a:close/>
                  <a:moveTo>
                    <a:pt x="430" y="418"/>
                  </a:moveTo>
                  <a:lnTo>
                    <a:pt x="421" y="411"/>
                  </a:lnTo>
                  <a:lnTo>
                    <a:pt x="435" y="411"/>
                  </a:lnTo>
                  <a:lnTo>
                    <a:pt x="430" y="418"/>
                  </a:lnTo>
                  <a:lnTo>
                    <a:pt x="430" y="418"/>
                  </a:lnTo>
                  <a:lnTo>
                    <a:pt x="430" y="418"/>
                  </a:lnTo>
                  <a:close/>
                  <a:moveTo>
                    <a:pt x="397" y="428"/>
                  </a:moveTo>
                  <a:lnTo>
                    <a:pt x="387" y="411"/>
                  </a:lnTo>
                  <a:lnTo>
                    <a:pt x="397" y="418"/>
                  </a:lnTo>
                  <a:lnTo>
                    <a:pt x="397" y="428"/>
                  </a:lnTo>
                  <a:lnTo>
                    <a:pt x="397" y="428"/>
                  </a:lnTo>
                  <a:lnTo>
                    <a:pt x="397" y="428"/>
                  </a:lnTo>
                  <a:close/>
                  <a:moveTo>
                    <a:pt x="324" y="428"/>
                  </a:moveTo>
                  <a:lnTo>
                    <a:pt x="324" y="418"/>
                  </a:lnTo>
                  <a:lnTo>
                    <a:pt x="333" y="418"/>
                  </a:lnTo>
                  <a:lnTo>
                    <a:pt x="333" y="428"/>
                  </a:lnTo>
                  <a:lnTo>
                    <a:pt x="324" y="428"/>
                  </a:lnTo>
                  <a:lnTo>
                    <a:pt x="324" y="428"/>
                  </a:lnTo>
                  <a:lnTo>
                    <a:pt x="324" y="428"/>
                  </a:lnTo>
                  <a:close/>
                  <a:moveTo>
                    <a:pt x="565" y="435"/>
                  </a:moveTo>
                  <a:lnTo>
                    <a:pt x="560" y="435"/>
                  </a:lnTo>
                  <a:lnTo>
                    <a:pt x="565" y="428"/>
                  </a:lnTo>
                  <a:lnTo>
                    <a:pt x="565" y="435"/>
                  </a:lnTo>
                  <a:lnTo>
                    <a:pt x="565" y="435"/>
                  </a:lnTo>
                  <a:lnTo>
                    <a:pt x="565" y="435"/>
                  </a:lnTo>
                  <a:close/>
                  <a:moveTo>
                    <a:pt x="473" y="435"/>
                  </a:moveTo>
                  <a:lnTo>
                    <a:pt x="458" y="435"/>
                  </a:lnTo>
                  <a:lnTo>
                    <a:pt x="458" y="435"/>
                  </a:lnTo>
                  <a:lnTo>
                    <a:pt x="468" y="428"/>
                  </a:lnTo>
                  <a:lnTo>
                    <a:pt x="473" y="435"/>
                  </a:lnTo>
                  <a:lnTo>
                    <a:pt x="473" y="435"/>
                  </a:lnTo>
                  <a:lnTo>
                    <a:pt x="473" y="435"/>
                  </a:lnTo>
                  <a:close/>
                  <a:moveTo>
                    <a:pt x="397" y="452"/>
                  </a:moveTo>
                  <a:lnTo>
                    <a:pt x="397" y="444"/>
                  </a:lnTo>
                  <a:lnTo>
                    <a:pt x="404" y="444"/>
                  </a:lnTo>
                  <a:lnTo>
                    <a:pt x="397" y="452"/>
                  </a:lnTo>
                  <a:lnTo>
                    <a:pt x="397" y="452"/>
                  </a:lnTo>
                  <a:lnTo>
                    <a:pt x="397" y="452"/>
                  </a:lnTo>
                  <a:close/>
                  <a:moveTo>
                    <a:pt x="539" y="452"/>
                  </a:moveTo>
                  <a:lnTo>
                    <a:pt x="527" y="444"/>
                  </a:lnTo>
                  <a:lnTo>
                    <a:pt x="543" y="444"/>
                  </a:lnTo>
                  <a:lnTo>
                    <a:pt x="539" y="452"/>
                  </a:lnTo>
                  <a:lnTo>
                    <a:pt x="539" y="452"/>
                  </a:lnTo>
                  <a:lnTo>
                    <a:pt x="539" y="452"/>
                  </a:lnTo>
                  <a:close/>
                  <a:moveTo>
                    <a:pt x="591" y="444"/>
                  </a:moveTo>
                  <a:lnTo>
                    <a:pt x="581" y="468"/>
                  </a:lnTo>
                  <a:lnTo>
                    <a:pt x="565" y="485"/>
                  </a:lnTo>
                  <a:lnTo>
                    <a:pt x="560" y="489"/>
                  </a:lnTo>
                  <a:lnTo>
                    <a:pt x="560" y="468"/>
                  </a:lnTo>
                  <a:lnTo>
                    <a:pt x="565" y="456"/>
                  </a:lnTo>
                  <a:lnTo>
                    <a:pt x="591" y="444"/>
                  </a:lnTo>
                  <a:lnTo>
                    <a:pt x="591" y="444"/>
                  </a:lnTo>
                  <a:lnTo>
                    <a:pt x="591" y="444"/>
                  </a:lnTo>
                  <a:close/>
                  <a:moveTo>
                    <a:pt x="421" y="452"/>
                  </a:moveTo>
                  <a:lnTo>
                    <a:pt x="421" y="444"/>
                  </a:lnTo>
                  <a:lnTo>
                    <a:pt x="430" y="452"/>
                  </a:lnTo>
                  <a:lnTo>
                    <a:pt x="421" y="452"/>
                  </a:lnTo>
                  <a:lnTo>
                    <a:pt x="421" y="452"/>
                  </a:lnTo>
                  <a:lnTo>
                    <a:pt x="421" y="452"/>
                  </a:lnTo>
                  <a:close/>
                  <a:moveTo>
                    <a:pt x="227" y="452"/>
                  </a:moveTo>
                  <a:lnTo>
                    <a:pt x="236" y="456"/>
                  </a:lnTo>
                  <a:lnTo>
                    <a:pt x="236" y="468"/>
                  </a:lnTo>
                  <a:lnTo>
                    <a:pt x="220" y="468"/>
                  </a:lnTo>
                  <a:lnTo>
                    <a:pt x="227" y="452"/>
                  </a:lnTo>
                  <a:lnTo>
                    <a:pt x="227" y="452"/>
                  </a:lnTo>
                  <a:lnTo>
                    <a:pt x="227" y="452"/>
                  </a:lnTo>
                  <a:close/>
                  <a:moveTo>
                    <a:pt x="522" y="529"/>
                  </a:moveTo>
                  <a:lnTo>
                    <a:pt x="510" y="513"/>
                  </a:lnTo>
                  <a:lnTo>
                    <a:pt x="527" y="489"/>
                  </a:lnTo>
                  <a:lnTo>
                    <a:pt x="522" y="529"/>
                  </a:lnTo>
                  <a:lnTo>
                    <a:pt x="522" y="529"/>
                  </a:lnTo>
                  <a:lnTo>
                    <a:pt x="522" y="529"/>
                  </a:lnTo>
                  <a:close/>
                  <a:moveTo>
                    <a:pt x="274" y="546"/>
                  </a:moveTo>
                  <a:lnTo>
                    <a:pt x="269" y="539"/>
                  </a:lnTo>
                  <a:lnTo>
                    <a:pt x="269" y="513"/>
                  </a:lnTo>
                  <a:lnTo>
                    <a:pt x="279" y="522"/>
                  </a:lnTo>
                  <a:lnTo>
                    <a:pt x="279" y="506"/>
                  </a:lnTo>
                  <a:lnTo>
                    <a:pt x="291" y="522"/>
                  </a:lnTo>
                  <a:lnTo>
                    <a:pt x="312" y="513"/>
                  </a:lnTo>
                  <a:lnTo>
                    <a:pt x="307" y="522"/>
                  </a:lnTo>
                  <a:lnTo>
                    <a:pt x="324" y="529"/>
                  </a:lnTo>
                  <a:lnTo>
                    <a:pt x="350" y="529"/>
                  </a:lnTo>
                  <a:lnTo>
                    <a:pt x="397" y="539"/>
                  </a:lnTo>
                  <a:lnTo>
                    <a:pt x="421" y="539"/>
                  </a:lnTo>
                  <a:lnTo>
                    <a:pt x="421" y="546"/>
                  </a:lnTo>
                  <a:lnTo>
                    <a:pt x="430" y="555"/>
                  </a:lnTo>
                  <a:lnTo>
                    <a:pt x="458" y="539"/>
                  </a:lnTo>
                  <a:lnTo>
                    <a:pt x="458" y="555"/>
                  </a:lnTo>
                  <a:lnTo>
                    <a:pt x="442" y="563"/>
                  </a:lnTo>
                  <a:lnTo>
                    <a:pt x="366" y="567"/>
                  </a:lnTo>
                  <a:lnTo>
                    <a:pt x="350" y="567"/>
                  </a:lnTo>
                  <a:lnTo>
                    <a:pt x="350" y="555"/>
                  </a:lnTo>
                  <a:lnTo>
                    <a:pt x="328" y="546"/>
                  </a:lnTo>
                  <a:lnTo>
                    <a:pt x="274" y="546"/>
                  </a:lnTo>
                  <a:lnTo>
                    <a:pt x="274" y="546"/>
                  </a:lnTo>
                  <a:lnTo>
                    <a:pt x="274" y="546"/>
                  </a:lnTo>
                  <a:close/>
                  <a:moveTo>
                    <a:pt x="494" y="529"/>
                  </a:moveTo>
                  <a:lnTo>
                    <a:pt x="506" y="529"/>
                  </a:lnTo>
                  <a:lnTo>
                    <a:pt x="510" y="522"/>
                  </a:lnTo>
                  <a:lnTo>
                    <a:pt x="494" y="529"/>
                  </a:lnTo>
                  <a:lnTo>
                    <a:pt x="494" y="529"/>
                  </a:lnTo>
                  <a:lnTo>
                    <a:pt x="494" y="529"/>
                  </a:lnTo>
                  <a:close/>
                </a:path>
              </a:pathLst>
            </a:custGeom>
            <a:pattFill prst="nar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0" name="Freeform 457">
              <a:extLst>
                <a:ext uri="{FF2B5EF4-FFF2-40B4-BE49-F238E27FC236}">
                  <a16:creationId xmlns:a16="http://schemas.microsoft.com/office/drawing/2014/main" id="{0AEC6A9A-E91F-49D3-92E5-22A2DD6B0C4C}"/>
                </a:ext>
              </a:extLst>
            </p:cNvPr>
            <p:cNvSpPr>
              <a:spLocks/>
            </p:cNvSpPr>
            <p:nvPr/>
          </p:nvSpPr>
          <p:spPr bwMode="gray">
            <a:xfrm>
              <a:off x="2570786" y="3960249"/>
              <a:ext cx="142524" cy="148480"/>
            </a:xfrm>
            <a:custGeom>
              <a:avLst/>
              <a:gdLst>
                <a:gd name="T0" fmla="*/ 0 w 288"/>
                <a:gd name="T1" fmla="*/ 239 h 300"/>
                <a:gd name="T2" fmla="*/ 17 w 288"/>
                <a:gd name="T3" fmla="*/ 206 h 300"/>
                <a:gd name="T4" fmla="*/ 7 w 288"/>
                <a:gd name="T5" fmla="*/ 189 h 300"/>
                <a:gd name="T6" fmla="*/ 40 w 288"/>
                <a:gd name="T7" fmla="*/ 128 h 300"/>
                <a:gd name="T8" fmla="*/ 132 w 288"/>
                <a:gd name="T9" fmla="*/ 128 h 300"/>
                <a:gd name="T10" fmla="*/ 132 w 288"/>
                <a:gd name="T11" fmla="*/ 104 h 300"/>
                <a:gd name="T12" fmla="*/ 116 w 288"/>
                <a:gd name="T13" fmla="*/ 104 h 300"/>
                <a:gd name="T14" fmla="*/ 109 w 288"/>
                <a:gd name="T15" fmla="*/ 78 h 300"/>
                <a:gd name="T16" fmla="*/ 62 w 288"/>
                <a:gd name="T17" fmla="*/ 38 h 300"/>
                <a:gd name="T18" fmla="*/ 95 w 288"/>
                <a:gd name="T19" fmla="*/ 38 h 300"/>
                <a:gd name="T20" fmla="*/ 95 w 288"/>
                <a:gd name="T21" fmla="*/ 0 h 300"/>
                <a:gd name="T22" fmla="*/ 225 w 288"/>
                <a:gd name="T23" fmla="*/ 0 h 300"/>
                <a:gd name="T24" fmla="*/ 217 w 288"/>
                <a:gd name="T25" fmla="*/ 144 h 300"/>
                <a:gd name="T26" fmla="*/ 241 w 288"/>
                <a:gd name="T27" fmla="*/ 144 h 300"/>
                <a:gd name="T28" fmla="*/ 255 w 288"/>
                <a:gd name="T29" fmla="*/ 161 h 300"/>
                <a:gd name="T30" fmla="*/ 272 w 288"/>
                <a:gd name="T31" fmla="*/ 144 h 300"/>
                <a:gd name="T32" fmla="*/ 262 w 288"/>
                <a:gd name="T33" fmla="*/ 132 h 300"/>
                <a:gd name="T34" fmla="*/ 288 w 288"/>
                <a:gd name="T35" fmla="*/ 161 h 300"/>
                <a:gd name="T36" fmla="*/ 225 w 288"/>
                <a:gd name="T37" fmla="*/ 206 h 300"/>
                <a:gd name="T38" fmla="*/ 217 w 288"/>
                <a:gd name="T39" fmla="*/ 222 h 300"/>
                <a:gd name="T40" fmla="*/ 225 w 288"/>
                <a:gd name="T41" fmla="*/ 234 h 300"/>
                <a:gd name="T42" fmla="*/ 208 w 288"/>
                <a:gd name="T43" fmla="*/ 255 h 300"/>
                <a:gd name="T44" fmla="*/ 196 w 288"/>
                <a:gd name="T45" fmla="*/ 255 h 300"/>
                <a:gd name="T46" fmla="*/ 196 w 288"/>
                <a:gd name="T47" fmla="*/ 260 h 300"/>
                <a:gd name="T48" fmla="*/ 163 w 288"/>
                <a:gd name="T49" fmla="*/ 288 h 300"/>
                <a:gd name="T50" fmla="*/ 154 w 288"/>
                <a:gd name="T51" fmla="*/ 300 h 300"/>
                <a:gd name="T52" fmla="*/ 116 w 288"/>
                <a:gd name="T53" fmla="*/ 288 h 300"/>
                <a:gd name="T54" fmla="*/ 62 w 288"/>
                <a:gd name="T55" fmla="*/ 288 h 300"/>
                <a:gd name="T56" fmla="*/ 0 w 288"/>
                <a:gd name="T57" fmla="*/ 239 h 300"/>
                <a:gd name="T58" fmla="*/ 0 w 288"/>
                <a:gd name="T59" fmla="*/ 239 h 300"/>
                <a:gd name="T60" fmla="*/ 0 w 288"/>
                <a:gd name="T61" fmla="*/ 23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8" h="300">
                  <a:moveTo>
                    <a:pt x="0" y="239"/>
                  </a:moveTo>
                  <a:lnTo>
                    <a:pt x="17" y="206"/>
                  </a:lnTo>
                  <a:lnTo>
                    <a:pt x="7" y="189"/>
                  </a:lnTo>
                  <a:lnTo>
                    <a:pt x="40" y="128"/>
                  </a:lnTo>
                  <a:lnTo>
                    <a:pt x="132" y="128"/>
                  </a:lnTo>
                  <a:lnTo>
                    <a:pt x="132" y="104"/>
                  </a:lnTo>
                  <a:lnTo>
                    <a:pt x="116" y="104"/>
                  </a:lnTo>
                  <a:lnTo>
                    <a:pt x="109" y="78"/>
                  </a:lnTo>
                  <a:lnTo>
                    <a:pt x="62" y="38"/>
                  </a:lnTo>
                  <a:lnTo>
                    <a:pt x="95" y="38"/>
                  </a:lnTo>
                  <a:lnTo>
                    <a:pt x="95" y="0"/>
                  </a:lnTo>
                  <a:lnTo>
                    <a:pt x="225" y="0"/>
                  </a:lnTo>
                  <a:lnTo>
                    <a:pt x="217" y="144"/>
                  </a:lnTo>
                  <a:lnTo>
                    <a:pt x="241" y="144"/>
                  </a:lnTo>
                  <a:lnTo>
                    <a:pt x="255" y="161"/>
                  </a:lnTo>
                  <a:lnTo>
                    <a:pt x="272" y="144"/>
                  </a:lnTo>
                  <a:lnTo>
                    <a:pt x="262" y="132"/>
                  </a:lnTo>
                  <a:lnTo>
                    <a:pt x="288" y="161"/>
                  </a:lnTo>
                  <a:lnTo>
                    <a:pt x="225" y="206"/>
                  </a:lnTo>
                  <a:lnTo>
                    <a:pt x="217" y="222"/>
                  </a:lnTo>
                  <a:lnTo>
                    <a:pt x="225" y="234"/>
                  </a:lnTo>
                  <a:lnTo>
                    <a:pt x="208" y="255"/>
                  </a:lnTo>
                  <a:lnTo>
                    <a:pt x="196" y="255"/>
                  </a:lnTo>
                  <a:lnTo>
                    <a:pt x="196" y="260"/>
                  </a:lnTo>
                  <a:lnTo>
                    <a:pt x="163" y="288"/>
                  </a:lnTo>
                  <a:lnTo>
                    <a:pt x="154" y="300"/>
                  </a:lnTo>
                  <a:lnTo>
                    <a:pt x="116" y="288"/>
                  </a:lnTo>
                  <a:lnTo>
                    <a:pt x="62" y="288"/>
                  </a:lnTo>
                  <a:lnTo>
                    <a:pt x="0" y="239"/>
                  </a:lnTo>
                  <a:lnTo>
                    <a:pt x="0" y="239"/>
                  </a:lnTo>
                  <a:lnTo>
                    <a:pt x="0" y="239"/>
                  </a:lnTo>
                  <a:close/>
                </a:path>
              </a:pathLst>
            </a:custGeom>
            <a:pattFill prst="dk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1" name="Freeform 458">
              <a:extLst>
                <a:ext uri="{FF2B5EF4-FFF2-40B4-BE49-F238E27FC236}">
                  <a16:creationId xmlns:a16="http://schemas.microsoft.com/office/drawing/2014/main" id="{5C21C4F5-B64A-4049-925D-8D07285736AB}"/>
                </a:ext>
              </a:extLst>
            </p:cNvPr>
            <p:cNvSpPr>
              <a:spLocks/>
            </p:cNvSpPr>
            <p:nvPr/>
          </p:nvSpPr>
          <p:spPr bwMode="gray">
            <a:xfrm>
              <a:off x="5251535" y="4150798"/>
              <a:ext cx="256841" cy="193024"/>
            </a:xfrm>
            <a:custGeom>
              <a:avLst/>
              <a:gdLst>
                <a:gd name="T0" fmla="*/ 21 w 519"/>
                <a:gd name="T1" fmla="*/ 83 h 390"/>
                <a:gd name="T2" fmla="*/ 54 w 519"/>
                <a:gd name="T3" fmla="*/ 71 h 390"/>
                <a:gd name="T4" fmla="*/ 92 w 519"/>
                <a:gd name="T5" fmla="*/ 71 h 390"/>
                <a:gd name="T6" fmla="*/ 75 w 519"/>
                <a:gd name="T7" fmla="*/ 38 h 390"/>
                <a:gd name="T8" fmla="*/ 92 w 519"/>
                <a:gd name="T9" fmla="*/ 0 h 390"/>
                <a:gd name="T10" fmla="*/ 141 w 519"/>
                <a:gd name="T11" fmla="*/ 17 h 390"/>
                <a:gd name="T12" fmla="*/ 196 w 519"/>
                <a:gd name="T13" fmla="*/ 21 h 390"/>
                <a:gd name="T14" fmla="*/ 264 w 519"/>
                <a:gd name="T15" fmla="*/ 17 h 390"/>
                <a:gd name="T16" fmla="*/ 271 w 519"/>
                <a:gd name="T17" fmla="*/ 45 h 390"/>
                <a:gd name="T18" fmla="*/ 309 w 519"/>
                <a:gd name="T19" fmla="*/ 54 h 390"/>
                <a:gd name="T20" fmla="*/ 363 w 519"/>
                <a:gd name="T21" fmla="*/ 45 h 390"/>
                <a:gd name="T22" fmla="*/ 378 w 519"/>
                <a:gd name="T23" fmla="*/ 38 h 390"/>
                <a:gd name="T24" fmla="*/ 401 w 519"/>
                <a:gd name="T25" fmla="*/ 17 h 390"/>
                <a:gd name="T26" fmla="*/ 427 w 519"/>
                <a:gd name="T27" fmla="*/ 28 h 390"/>
                <a:gd name="T28" fmla="*/ 439 w 519"/>
                <a:gd name="T29" fmla="*/ 71 h 390"/>
                <a:gd name="T30" fmla="*/ 448 w 519"/>
                <a:gd name="T31" fmla="*/ 83 h 390"/>
                <a:gd name="T32" fmla="*/ 448 w 519"/>
                <a:gd name="T33" fmla="*/ 128 h 390"/>
                <a:gd name="T34" fmla="*/ 481 w 519"/>
                <a:gd name="T35" fmla="*/ 116 h 390"/>
                <a:gd name="T36" fmla="*/ 491 w 519"/>
                <a:gd name="T37" fmla="*/ 165 h 390"/>
                <a:gd name="T38" fmla="*/ 486 w 519"/>
                <a:gd name="T39" fmla="*/ 194 h 390"/>
                <a:gd name="T40" fmla="*/ 491 w 519"/>
                <a:gd name="T41" fmla="*/ 236 h 390"/>
                <a:gd name="T42" fmla="*/ 503 w 519"/>
                <a:gd name="T43" fmla="*/ 248 h 390"/>
                <a:gd name="T44" fmla="*/ 503 w 519"/>
                <a:gd name="T45" fmla="*/ 260 h 390"/>
                <a:gd name="T46" fmla="*/ 519 w 519"/>
                <a:gd name="T47" fmla="*/ 293 h 390"/>
                <a:gd name="T48" fmla="*/ 519 w 519"/>
                <a:gd name="T49" fmla="*/ 302 h 390"/>
                <a:gd name="T50" fmla="*/ 481 w 519"/>
                <a:gd name="T51" fmla="*/ 298 h 390"/>
                <a:gd name="T52" fmla="*/ 491 w 519"/>
                <a:gd name="T53" fmla="*/ 319 h 390"/>
                <a:gd name="T54" fmla="*/ 491 w 519"/>
                <a:gd name="T55" fmla="*/ 331 h 390"/>
                <a:gd name="T56" fmla="*/ 470 w 519"/>
                <a:gd name="T57" fmla="*/ 359 h 390"/>
                <a:gd name="T58" fmla="*/ 453 w 519"/>
                <a:gd name="T59" fmla="*/ 359 h 390"/>
                <a:gd name="T60" fmla="*/ 439 w 519"/>
                <a:gd name="T61" fmla="*/ 385 h 390"/>
                <a:gd name="T62" fmla="*/ 401 w 519"/>
                <a:gd name="T63" fmla="*/ 376 h 390"/>
                <a:gd name="T64" fmla="*/ 401 w 519"/>
                <a:gd name="T65" fmla="*/ 352 h 390"/>
                <a:gd name="T66" fmla="*/ 373 w 519"/>
                <a:gd name="T67" fmla="*/ 298 h 390"/>
                <a:gd name="T68" fmla="*/ 309 w 519"/>
                <a:gd name="T69" fmla="*/ 314 h 390"/>
                <a:gd name="T70" fmla="*/ 318 w 519"/>
                <a:gd name="T71" fmla="*/ 276 h 390"/>
                <a:gd name="T72" fmla="*/ 302 w 519"/>
                <a:gd name="T73" fmla="*/ 260 h 390"/>
                <a:gd name="T74" fmla="*/ 271 w 519"/>
                <a:gd name="T75" fmla="*/ 187 h 390"/>
                <a:gd name="T76" fmla="*/ 222 w 519"/>
                <a:gd name="T77" fmla="*/ 194 h 390"/>
                <a:gd name="T78" fmla="*/ 200 w 519"/>
                <a:gd name="T79" fmla="*/ 194 h 390"/>
                <a:gd name="T80" fmla="*/ 167 w 519"/>
                <a:gd name="T81" fmla="*/ 236 h 390"/>
                <a:gd name="T82" fmla="*/ 141 w 519"/>
                <a:gd name="T83" fmla="*/ 260 h 390"/>
                <a:gd name="T84" fmla="*/ 125 w 519"/>
                <a:gd name="T85" fmla="*/ 248 h 390"/>
                <a:gd name="T86" fmla="*/ 108 w 519"/>
                <a:gd name="T87" fmla="*/ 220 h 390"/>
                <a:gd name="T88" fmla="*/ 104 w 519"/>
                <a:gd name="T89" fmla="*/ 220 h 390"/>
                <a:gd name="T90" fmla="*/ 104 w 519"/>
                <a:gd name="T91" fmla="*/ 203 h 390"/>
                <a:gd name="T92" fmla="*/ 92 w 519"/>
                <a:gd name="T93" fmla="*/ 210 h 390"/>
                <a:gd name="T94" fmla="*/ 87 w 519"/>
                <a:gd name="T95" fmla="*/ 203 h 390"/>
                <a:gd name="T96" fmla="*/ 37 w 519"/>
                <a:gd name="T97" fmla="*/ 154 h 390"/>
                <a:gd name="T98" fmla="*/ 37 w 519"/>
                <a:gd name="T99" fmla="*/ 132 h 390"/>
                <a:gd name="T100" fmla="*/ 16 w 519"/>
                <a:gd name="T101" fmla="*/ 128 h 390"/>
                <a:gd name="T102" fmla="*/ 16 w 519"/>
                <a:gd name="T103" fmla="*/ 116 h 390"/>
                <a:gd name="T104" fmla="*/ 0 w 519"/>
                <a:gd name="T105" fmla="*/ 132 h 390"/>
                <a:gd name="T106" fmla="*/ 0 w 519"/>
                <a:gd name="T107" fmla="*/ 128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9" h="390">
                  <a:moveTo>
                    <a:pt x="0" y="128"/>
                  </a:moveTo>
                  <a:lnTo>
                    <a:pt x="21" y="83"/>
                  </a:lnTo>
                  <a:lnTo>
                    <a:pt x="37" y="78"/>
                  </a:lnTo>
                  <a:lnTo>
                    <a:pt x="54" y="71"/>
                  </a:lnTo>
                  <a:lnTo>
                    <a:pt x="75" y="71"/>
                  </a:lnTo>
                  <a:lnTo>
                    <a:pt x="92" y="71"/>
                  </a:lnTo>
                  <a:lnTo>
                    <a:pt x="92" y="45"/>
                  </a:lnTo>
                  <a:lnTo>
                    <a:pt x="75" y="38"/>
                  </a:lnTo>
                  <a:lnTo>
                    <a:pt x="104" y="21"/>
                  </a:lnTo>
                  <a:lnTo>
                    <a:pt x="92" y="0"/>
                  </a:lnTo>
                  <a:lnTo>
                    <a:pt x="141" y="0"/>
                  </a:lnTo>
                  <a:lnTo>
                    <a:pt x="141" y="17"/>
                  </a:lnTo>
                  <a:lnTo>
                    <a:pt x="158" y="7"/>
                  </a:lnTo>
                  <a:lnTo>
                    <a:pt x="196" y="21"/>
                  </a:lnTo>
                  <a:lnTo>
                    <a:pt x="217" y="17"/>
                  </a:lnTo>
                  <a:lnTo>
                    <a:pt x="264" y="17"/>
                  </a:lnTo>
                  <a:lnTo>
                    <a:pt x="255" y="28"/>
                  </a:lnTo>
                  <a:lnTo>
                    <a:pt x="271" y="45"/>
                  </a:lnTo>
                  <a:lnTo>
                    <a:pt x="285" y="28"/>
                  </a:lnTo>
                  <a:lnTo>
                    <a:pt x="309" y="54"/>
                  </a:lnTo>
                  <a:lnTo>
                    <a:pt x="330" y="28"/>
                  </a:lnTo>
                  <a:lnTo>
                    <a:pt x="363" y="45"/>
                  </a:lnTo>
                  <a:lnTo>
                    <a:pt x="378" y="45"/>
                  </a:lnTo>
                  <a:lnTo>
                    <a:pt x="378" y="38"/>
                  </a:lnTo>
                  <a:lnTo>
                    <a:pt x="401" y="28"/>
                  </a:lnTo>
                  <a:lnTo>
                    <a:pt x="401" y="17"/>
                  </a:lnTo>
                  <a:lnTo>
                    <a:pt x="427" y="17"/>
                  </a:lnTo>
                  <a:lnTo>
                    <a:pt x="427" y="28"/>
                  </a:lnTo>
                  <a:lnTo>
                    <a:pt x="439" y="54"/>
                  </a:lnTo>
                  <a:lnTo>
                    <a:pt x="439" y="71"/>
                  </a:lnTo>
                  <a:lnTo>
                    <a:pt x="448" y="71"/>
                  </a:lnTo>
                  <a:lnTo>
                    <a:pt x="448" y="83"/>
                  </a:lnTo>
                  <a:lnTo>
                    <a:pt x="470" y="95"/>
                  </a:lnTo>
                  <a:lnTo>
                    <a:pt x="448" y="128"/>
                  </a:lnTo>
                  <a:lnTo>
                    <a:pt x="465" y="116"/>
                  </a:lnTo>
                  <a:lnTo>
                    <a:pt x="481" y="116"/>
                  </a:lnTo>
                  <a:lnTo>
                    <a:pt x="481" y="154"/>
                  </a:lnTo>
                  <a:lnTo>
                    <a:pt x="491" y="165"/>
                  </a:lnTo>
                  <a:lnTo>
                    <a:pt x="491" y="182"/>
                  </a:lnTo>
                  <a:lnTo>
                    <a:pt x="486" y="194"/>
                  </a:lnTo>
                  <a:lnTo>
                    <a:pt x="486" y="227"/>
                  </a:lnTo>
                  <a:lnTo>
                    <a:pt x="491" y="236"/>
                  </a:lnTo>
                  <a:lnTo>
                    <a:pt x="503" y="236"/>
                  </a:lnTo>
                  <a:lnTo>
                    <a:pt x="503" y="248"/>
                  </a:lnTo>
                  <a:lnTo>
                    <a:pt x="519" y="260"/>
                  </a:lnTo>
                  <a:lnTo>
                    <a:pt x="503" y="260"/>
                  </a:lnTo>
                  <a:lnTo>
                    <a:pt x="503" y="276"/>
                  </a:lnTo>
                  <a:lnTo>
                    <a:pt x="519" y="293"/>
                  </a:lnTo>
                  <a:lnTo>
                    <a:pt x="519" y="302"/>
                  </a:lnTo>
                  <a:lnTo>
                    <a:pt x="519" y="302"/>
                  </a:lnTo>
                  <a:lnTo>
                    <a:pt x="507" y="298"/>
                  </a:lnTo>
                  <a:lnTo>
                    <a:pt x="481" y="298"/>
                  </a:lnTo>
                  <a:lnTo>
                    <a:pt x="481" y="319"/>
                  </a:lnTo>
                  <a:lnTo>
                    <a:pt x="491" y="319"/>
                  </a:lnTo>
                  <a:lnTo>
                    <a:pt x="503" y="336"/>
                  </a:lnTo>
                  <a:lnTo>
                    <a:pt x="491" y="331"/>
                  </a:lnTo>
                  <a:lnTo>
                    <a:pt x="481" y="369"/>
                  </a:lnTo>
                  <a:lnTo>
                    <a:pt x="470" y="359"/>
                  </a:lnTo>
                  <a:lnTo>
                    <a:pt x="465" y="369"/>
                  </a:lnTo>
                  <a:lnTo>
                    <a:pt x="453" y="359"/>
                  </a:lnTo>
                  <a:lnTo>
                    <a:pt x="448" y="359"/>
                  </a:lnTo>
                  <a:lnTo>
                    <a:pt x="439" y="385"/>
                  </a:lnTo>
                  <a:lnTo>
                    <a:pt x="415" y="390"/>
                  </a:lnTo>
                  <a:lnTo>
                    <a:pt x="401" y="376"/>
                  </a:lnTo>
                  <a:lnTo>
                    <a:pt x="394" y="385"/>
                  </a:lnTo>
                  <a:lnTo>
                    <a:pt x="401" y="352"/>
                  </a:lnTo>
                  <a:lnTo>
                    <a:pt x="394" y="314"/>
                  </a:lnTo>
                  <a:lnTo>
                    <a:pt x="373" y="298"/>
                  </a:lnTo>
                  <a:lnTo>
                    <a:pt x="340" y="298"/>
                  </a:lnTo>
                  <a:lnTo>
                    <a:pt x="309" y="314"/>
                  </a:lnTo>
                  <a:lnTo>
                    <a:pt x="323" y="281"/>
                  </a:lnTo>
                  <a:lnTo>
                    <a:pt x="318" y="276"/>
                  </a:lnTo>
                  <a:lnTo>
                    <a:pt x="318" y="260"/>
                  </a:lnTo>
                  <a:lnTo>
                    <a:pt x="302" y="260"/>
                  </a:lnTo>
                  <a:lnTo>
                    <a:pt x="309" y="243"/>
                  </a:lnTo>
                  <a:lnTo>
                    <a:pt x="271" y="187"/>
                  </a:lnTo>
                  <a:lnTo>
                    <a:pt x="222" y="187"/>
                  </a:lnTo>
                  <a:lnTo>
                    <a:pt x="222" y="194"/>
                  </a:lnTo>
                  <a:lnTo>
                    <a:pt x="210" y="203"/>
                  </a:lnTo>
                  <a:lnTo>
                    <a:pt x="200" y="194"/>
                  </a:lnTo>
                  <a:lnTo>
                    <a:pt x="184" y="194"/>
                  </a:lnTo>
                  <a:lnTo>
                    <a:pt x="167" y="236"/>
                  </a:lnTo>
                  <a:lnTo>
                    <a:pt x="146" y="243"/>
                  </a:lnTo>
                  <a:lnTo>
                    <a:pt x="141" y="260"/>
                  </a:lnTo>
                  <a:lnTo>
                    <a:pt x="125" y="260"/>
                  </a:lnTo>
                  <a:lnTo>
                    <a:pt x="125" y="248"/>
                  </a:lnTo>
                  <a:lnTo>
                    <a:pt x="108" y="227"/>
                  </a:lnTo>
                  <a:lnTo>
                    <a:pt x="108" y="220"/>
                  </a:lnTo>
                  <a:lnTo>
                    <a:pt x="108" y="227"/>
                  </a:lnTo>
                  <a:lnTo>
                    <a:pt x="104" y="220"/>
                  </a:lnTo>
                  <a:lnTo>
                    <a:pt x="104" y="210"/>
                  </a:lnTo>
                  <a:lnTo>
                    <a:pt x="104" y="203"/>
                  </a:lnTo>
                  <a:lnTo>
                    <a:pt x="104" y="210"/>
                  </a:lnTo>
                  <a:lnTo>
                    <a:pt x="92" y="210"/>
                  </a:lnTo>
                  <a:lnTo>
                    <a:pt x="104" y="194"/>
                  </a:lnTo>
                  <a:lnTo>
                    <a:pt x="87" y="203"/>
                  </a:lnTo>
                  <a:lnTo>
                    <a:pt x="49" y="170"/>
                  </a:lnTo>
                  <a:lnTo>
                    <a:pt x="37" y="154"/>
                  </a:lnTo>
                  <a:lnTo>
                    <a:pt x="33" y="154"/>
                  </a:lnTo>
                  <a:lnTo>
                    <a:pt x="37" y="132"/>
                  </a:lnTo>
                  <a:lnTo>
                    <a:pt x="21" y="149"/>
                  </a:lnTo>
                  <a:lnTo>
                    <a:pt x="16" y="128"/>
                  </a:lnTo>
                  <a:lnTo>
                    <a:pt x="21" y="116"/>
                  </a:lnTo>
                  <a:lnTo>
                    <a:pt x="16" y="116"/>
                  </a:lnTo>
                  <a:lnTo>
                    <a:pt x="4" y="132"/>
                  </a:lnTo>
                  <a:lnTo>
                    <a:pt x="0" y="132"/>
                  </a:lnTo>
                  <a:lnTo>
                    <a:pt x="0" y="128"/>
                  </a:lnTo>
                  <a:lnTo>
                    <a:pt x="0" y="128"/>
                  </a:lnTo>
                  <a:lnTo>
                    <a:pt x="0" y="128"/>
                  </a:lnTo>
                  <a:close/>
                </a:path>
              </a:pathLst>
            </a:custGeom>
            <a:pattFill prst="dk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2" name="Freeform 459">
              <a:extLst>
                <a:ext uri="{FF2B5EF4-FFF2-40B4-BE49-F238E27FC236}">
                  <a16:creationId xmlns:a16="http://schemas.microsoft.com/office/drawing/2014/main" id="{E8E62E99-DE6C-49FB-AD2E-52F115C82C0E}"/>
                </a:ext>
              </a:extLst>
            </p:cNvPr>
            <p:cNvSpPr>
              <a:spLocks/>
            </p:cNvSpPr>
            <p:nvPr/>
          </p:nvSpPr>
          <p:spPr bwMode="gray">
            <a:xfrm>
              <a:off x="3644174" y="4298287"/>
              <a:ext cx="171722" cy="262810"/>
            </a:xfrm>
            <a:custGeom>
              <a:avLst/>
              <a:gdLst>
                <a:gd name="T0" fmla="*/ 85 w 347"/>
                <a:gd name="T1" fmla="*/ 236 h 531"/>
                <a:gd name="T2" fmla="*/ 47 w 347"/>
                <a:gd name="T3" fmla="*/ 236 h 531"/>
                <a:gd name="T4" fmla="*/ 16 w 347"/>
                <a:gd name="T5" fmla="*/ 165 h 531"/>
                <a:gd name="T6" fmla="*/ 16 w 347"/>
                <a:gd name="T7" fmla="*/ 127 h 531"/>
                <a:gd name="T8" fmla="*/ 80 w 347"/>
                <a:gd name="T9" fmla="*/ 104 h 531"/>
                <a:gd name="T10" fmla="*/ 63 w 347"/>
                <a:gd name="T11" fmla="*/ 104 h 531"/>
                <a:gd name="T12" fmla="*/ 54 w 347"/>
                <a:gd name="T13" fmla="*/ 87 h 531"/>
                <a:gd name="T14" fmla="*/ 63 w 347"/>
                <a:gd name="T15" fmla="*/ 49 h 531"/>
                <a:gd name="T16" fmla="*/ 101 w 347"/>
                <a:gd name="T17" fmla="*/ 21 h 531"/>
                <a:gd name="T18" fmla="*/ 101 w 347"/>
                <a:gd name="T19" fmla="*/ 0 h 531"/>
                <a:gd name="T20" fmla="*/ 118 w 347"/>
                <a:gd name="T21" fmla="*/ 4 h 531"/>
                <a:gd name="T22" fmla="*/ 203 w 347"/>
                <a:gd name="T23" fmla="*/ 87 h 531"/>
                <a:gd name="T24" fmla="*/ 203 w 347"/>
                <a:gd name="T25" fmla="*/ 115 h 531"/>
                <a:gd name="T26" fmla="*/ 207 w 347"/>
                <a:gd name="T27" fmla="*/ 115 h 531"/>
                <a:gd name="T28" fmla="*/ 241 w 347"/>
                <a:gd name="T29" fmla="*/ 127 h 531"/>
                <a:gd name="T30" fmla="*/ 267 w 347"/>
                <a:gd name="T31" fmla="*/ 165 h 531"/>
                <a:gd name="T32" fmla="*/ 293 w 347"/>
                <a:gd name="T33" fmla="*/ 170 h 531"/>
                <a:gd name="T34" fmla="*/ 293 w 347"/>
                <a:gd name="T35" fmla="*/ 219 h 531"/>
                <a:gd name="T36" fmla="*/ 293 w 347"/>
                <a:gd name="T37" fmla="*/ 243 h 531"/>
                <a:gd name="T38" fmla="*/ 283 w 347"/>
                <a:gd name="T39" fmla="*/ 253 h 531"/>
                <a:gd name="T40" fmla="*/ 241 w 347"/>
                <a:gd name="T41" fmla="*/ 271 h 531"/>
                <a:gd name="T42" fmla="*/ 229 w 347"/>
                <a:gd name="T43" fmla="*/ 314 h 531"/>
                <a:gd name="T44" fmla="*/ 262 w 347"/>
                <a:gd name="T45" fmla="*/ 364 h 531"/>
                <a:gd name="T46" fmla="*/ 283 w 347"/>
                <a:gd name="T47" fmla="*/ 371 h 531"/>
                <a:gd name="T48" fmla="*/ 330 w 347"/>
                <a:gd name="T49" fmla="*/ 465 h 531"/>
                <a:gd name="T50" fmla="*/ 321 w 347"/>
                <a:gd name="T51" fmla="*/ 482 h 531"/>
                <a:gd name="T52" fmla="*/ 283 w 347"/>
                <a:gd name="T53" fmla="*/ 475 h 531"/>
                <a:gd name="T54" fmla="*/ 257 w 347"/>
                <a:gd name="T55" fmla="*/ 491 h 531"/>
                <a:gd name="T56" fmla="*/ 241 w 347"/>
                <a:gd name="T57" fmla="*/ 503 h 531"/>
                <a:gd name="T58" fmla="*/ 203 w 347"/>
                <a:gd name="T59" fmla="*/ 503 h 531"/>
                <a:gd name="T60" fmla="*/ 186 w 347"/>
                <a:gd name="T61" fmla="*/ 519 h 531"/>
                <a:gd name="T62" fmla="*/ 170 w 347"/>
                <a:gd name="T63" fmla="*/ 519 h 531"/>
                <a:gd name="T64" fmla="*/ 132 w 347"/>
                <a:gd name="T65" fmla="*/ 491 h 531"/>
                <a:gd name="T66" fmla="*/ 122 w 347"/>
                <a:gd name="T67" fmla="*/ 482 h 531"/>
                <a:gd name="T68" fmla="*/ 118 w 347"/>
                <a:gd name="T69" fmla="*/ 449 h 531"/>
                <a:gd name="T70" fmla="*/ 101 w 347"/>
                <a:gd name="T71" fmla="*/ 420 h 531"/>
                <a:gd name="T72" fmla="*/ 122 w 347"/>
                <a:gd name="T73" fmla="*/ 330 h 531"/>
                <a:gd name="T74" fmla="*/ 118 w 347"/>
                <a:gd name="T75" fmla="*/ 297 h 531"/>
                <a:gd name="T76" fmla="*/ 96 w 347"/>
                <a:gd name="T77" fmla="*/ 276 h 531"/>
                <a:gd name="T78" fmla="*/ 96 w 347"/>
                <a:gd name="T79" fmla="*/ 243 h 531"/>
                <a:gd name="T80" fmla="*/ 96 w 347"/>
                <a:gd name="T81" fmla="*/ 243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7" h="531">
                  <a:moveTo>
                    <a:pt x="96" y="243"/>
                  </a:moveTo>
                  <a:lnTo>
                    <a:pt x="85" y="236"/>
                  </a:lnTo>
                  <a:lnTo>
                    <a:pt x="80" y="236"/>
                  </a:lnTo>
                  <a:lnTo>
                    <a:pt x="47" y="236"/>
                  </a:lnTo>
                  <a:lnTo>
                    <a:pt x="0" y="186"/>
                  </a:lnTo>
                  <a:lnTo>
                    <a:pt x="16" y="165"/>
                  </a:lnTo>
                  <a:lnTo>
                    <a:pt x="16" y="144"/>
                  </a:lnTo>
                  <a:lnTo>
                    <a:pt x="16" y="127"/>
                  </a:lnTo>
                  <a:lnTo>
                    <a:pt x="47" y="127"/>
                  </a:lnTo>
                  <a:lnTo>
                    <a:pt x="80" y="104"/>
                  </a:lnTo>
                  <a:lnTo>
                    <a:pt x="68" y="92"/>
                  </a:lnTo>
                  <a:lnTo>
                    <a:pt x="63" y="104"/>
                  </a:lnTo>
                  <a:lnTo>
                    <a:pt x="54" y="92"/>
                  </a:lnTo>
                  <a:lnTo>
                    <a:pt x="54" y="87"/>
                  </a:lnTo>
                  <a:lnTo>
                    <a:pt x="47" y="71"/>
                  </a:lnTo>
                  <a:lnTo>
                    <a:pt x="63" y="49"/>
                  </a:lnTo>
                  <a:lnTo>
                    <a:pt x="96" y="33"/>
                  </a:lnTo>
                  <a:lnTo>
                    <a:pt x="101" y="21"/>
                  </a:lnTo>
                  <a:lnTo>
                    <a:pt x="106" y="21"/>
                  </a:lnTo>
                  <a:lnTo>
                    <a:pt x="101" y="0"/>
                  </a:lnTo>
                  <a:lnTo>
                    <a:pt x="106" y="4"/>
                  </a:lnTo>
                  <a:lnTo>
                    <a:pt x="118" y="4"/>
                  </a:lnTo>
                  <a:lnTo>
                    <a:pt x="160" y="33"/>
                  </a:lnTo>
                  <a:lnTo>
                    <a:pt x="203" y="87"/>
                  </a:lnTo>
                  <a:lnTo>
                    <a:pt x="203" y="108"/>
                  </a:lnTo>
                  <a:lnTo>
                    <a:pt x="203" y="115"/>
                  </a:lnTo>
                  <a:lnTo>
                    <a:pt x="191" y="149"/>
                  </a:lnTo>
                  <a:lnTo>
                    <a:pt x="207" y="115"/>
                  </a:lnTo>
                  <a:lnTo>
                    <a:pt x="212" y="115"/>
                  </a:lnTo>
                  <a:lnTo>
                    <a:pt x="241" y="127"/>
                  </a:lnTo>
                  <a:lnTo>
                    <a:pt x="262" y="149"/>
                  </a:lnTo>
                  <a:lnTo>
                    <a:pt x="267" y="165"/>
                  </a:lnTo>
                  <a:lnTo>
                    <a:pt x="278" y="160"/>
                  </a:lnTo>
                  <a:lnTo>
                    <a:pt x="293" y="170"/>
                  </a:lnTo>
                  <a:lnTo>
                    <a:pt x="300" y="182"/>
                  </a:lnTo>
                  <a:lnTo>
                    <a:pt x="293" y="219"/>
                  </a:lnTo>
                  <a:lnTo>
                    <a:pt x="283" y="227"/>
                  </a:lnTo>
                  <a:lnTo>
                    <a:pt x="293" y="243"/>
                  </a:lnTo>
                  <a:lnTo>
                    <a:pt x="283" y="243"/>
                  </a:lnTo>
                  <a:lnTo>
                    <a:pt x="283" y="253"/>
                  </a:lnTo>
                  <a:lnTo>
                    <a:pt x="262" y="253"/>
                  </a:lnTo>
                  <a:lnTo>
                    <a:pt x="241" y="271"/>
                  </a:lnTo>
                  <a:lnTo>
                    <a:pt x="245" y="276"/>
                  </a:lnTo>
                  <a:lnTo>
                    <a:pt x="229" y="314"/>
                  </a:lnTo>
                  <a:lnTo>
                    <a:pt x="229" y="326"/>
                  </a:lnTo>
                  <a:lnTo>
                    <a:pt x="262" y="364"/>
                  </a:lnTo>
                  <a:lnTo>
                    <a:pt x="262" y="371"/>
                  </a:lnTo>
                  <a:lnTo>
                    <a:pt x="283" y="371"/>
                  </a:lnTo>
                  <a:lnTo>
                    <a:pt x="293" y="408"/>
                  </a:lnTo>
                  <a:lnTo>
                    <a:pt x="330" y="465"/>
                  </a:lnTo>
                  <a:lnTo>
                    <a:pt x="347" y="475"/>
                  </a:lnTo>
                  <a:lnTo>
                    <a:pt x="321" y="482"/>
                  </a:lnTo>
                  <a:lnTo>
                    <a:pt x="300" y="465"/>
                  </a:lnTo>
                  <a:lnTo>
                    <a:pt x="283" y="475"/>
                  </a:lnTo>
                  <a:lnTo>
                    <a:pt x="267" y="491"/>
                  </a:lnTo>
                  <a:lnTo>
                    <a:pt x="257" y="491"/>
                  </a:lnTo>
                  <a:lnTo>
                    <a:pt x="241" y="498"/>
                  </a:lnTo>
                  <a:lnTo>
                    <a:pt x="241" y="503"/>
                  </a:lnTo>
                  <a:lnTo>
                    <a:pt x="212" y="498"/>
                  </a:lnTo>
                  <a:lnTo>
                    <a:pt x="203" y="503"/>
                  </a:lnTo>
                  <a:lnTo>
                    <a:pt x="203" y="519"/>
                  </a:lnTo>
                  <a:lnTo>
                    <a:pt x="186" y="519"/>
                  </a:lnTo>
                  <a:lnTo>
                    <a:pt x="177" y="531"/>
                  </a:lnTo>
                  <a:lnTo>
                    <a:pt x="170" y="519"/>
                  </a:lnTo>
                  <a:lnTo>
                    <a:pt x="148" y="515"/>
                  </a:lnTo>
                  <a:lnTo>
                    <a:pt x="132" y="491"/>
                  </a:lnTo>
                  <a:lnTo>
                    <a:pt x="122" y="491"/>
                  </a:lnTo>
                  <a:lnTo>
                    <a:pt x="122" y="482"/>
                  </a:lnTo>
                  <a:lnTo>
                    <a:pt x="118" y="482"/>
                  </a:lnTo>
                  <a:lnTo>
                    <a:pt x="118" y="449"/>
                  </a:lnTo>
                  <a:lnTo>
                    <a:pt x="106" y="441"/>
                  </a:lnTo>
                  <a:lnTo>
                    <a:pt x="101" y="420"/>
                  </a:lnTo>
                  <a:lnTo>
                    <a:pt x="106" y="364"/>
                  </a:lnTo>
                  <a:lnTo>
                    <a:pt x="122" y="330"/>
                  </a:lnTo>
                  <a:lnTo>
                    <a:pt x="118" y="309"/>
                  </a:lnTo>
                  <a:lnTo>
                    <a:pt x="118" y="297"/>
                  </a:lnTo>
                  <a:lnTo>
                    <a:pt x="85" y="293"/>
                  </a:lnTo>
                  <a:lnTo>
                    <a:pt x="96" y="276"/>
                  </a:lnTo>
                  <a:lnTo>
                    <a:pt x="101" y="253"/>
                  </a:lnTo>
                  <a:lnTo>
                    <a:pt x="96" y="243"/>
                  </a:lnTo>
                  <a:lnTo>
                    <a:pt x="96" y="243"/>
                  </a:lnTo>
                  <a:lnTo>
                    <a:pt x="96" y="243"/>
                  </a:lnTo>
                  <a:close/>
                </a:path>
              </a:pathLst>
            </a:custGeom>
            <a:pattFill prst="wd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3" name="Freeform 460">
              <a:extLst>
                <a:ext uri="{FF2B5EF4-FFF2-40B4-BE49-F238E27FC236}">
                  <a16:creationId xmlns:a16="http://schemas.microsoft.com/office/drawing/2014/main" id="{32B8D0C8-90BE-4E54-9A1B-8AC1507EA7BE}"/>
                </a:ext>
              </a:extLst>
            </p:cNvPr>
            <p:cNvSpPr>
              <a:spLocks/>
            </p:cNvSpPr>
            <p:nvPr/>
          </p:nvSpPr>
          <p:spPr bwMode="gray">
            <a:xfrm>
              <a:off x="6961335" y="3440075"/>
              <a:ext cx="10888" cy="10393"/>
            </a:xfrm>
            <a:custGeom>
              <a:avLst/>
              <a:gdLst>
                <a:gd name="T0" fmla="*/ 22 w 22"/>
                <a:gd name="T1" fmla="*/ 0 h 21"/>
                <a:gd name="T2" fmla="*/ 22 w 22"/>
                <a:gd name="T3" fmla="*/ 0 h 21"/>
                <a:gd name="T4" fmla="*/ 10 w 22"/>
                <a:gd name="T5" fmla="*/ 21 h 21"/>
                <a:gd name="T6" fmla="*/ 0 w 22"/>
                <a:gd name="T7" fmla="*/ 14 h 21"/>
                <a:gd name="T8" fmla="*/ 22 w 22"/>
                <a:gd name="T9" fmla="*/ 0 h 21"/>
                <a:gd name="T10" fmla="*/ 22 w 22"/>
                <a:gd name="T11" fmla="*/ 0 h 21"/>
                <a:gd name="T12" fmla="*/ 22 w 2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22" y="0"/>
                  </a:moveTo>
                  <a:lnTo>
                    <a:pt x="22" y="0"/>
                  </a:lnTo>
                  <a:lnTo>
                    <a:pt x="10" y="21"/>
                  </a:lnTo>
                  <a:lnTo>
                    <a:pt x="0" y="14"/>
                  </a:lnTo>
                  <a:lnTo>
                    <a:pt x="22" y="0"/>
                  </a:lnTo>
                  <a:lnTo>
                    <a:pt x="22" y="0"/>
                  </a:lnTo>
                  <a:lnTo>
                    <a:pt x="22" y="0"/>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4" name="Freeform 461">
              <a:extLst>
                <a:ext uri="{FF2B5EF4-FFF2-40B4-BE49-F238E27FC236}">
                  <a16:creationId xmlns:a16="http://schemas.microsoft.com/office/drawing/2014/main" id="{5F66F69E-9E5A-4B59-8897-77B5608C7471}"/>
                </a:ext>
              </a:extLst>
            </p:cNvPr>
            <p:cNvSpPr>
              <a:spLocks noEditPoints="1"/>
            </p:cNvSpPr>
            <p:nvPr/>
          </p:nvSpPr>
          <p:spPr bwMode="gray">
            <a:xfrm>
              <a:off x="3189383" y="3879574"/>
              <a:ext cx="97986" cy="73745"/>
            </a:xfrm>
            <a:custGeom>
              <a:avLst/>
              <a:gdLst>
                <a:gd name="T0" fmla="*/ 134 w 198"/>
                <a:gd name="T1" fmla="*/ 10 h 149"/>
                <a:gd name="T2" fmla="*/ 106 w 198"/>
                <a:gd name="T3" fmla="*/ 0 h 149"/>
                <a:gd name="T4" fmla="*/ 118 w 198"/>
                <a:gd name="T5" fmla="*/ 0 h 149"/>
                <a:gd name="T6" fmla="*/ 134 w 198"/>
                <a:gd name="T7" fmla="*/ 10 h 149"/>
                <a:gd name="T8" fmla="*/ 134 w 198"/>
                <a:gd name="T9" fmla="*/ 10 h 149"/>
                <a:gd name="T10" fmla="*/ 134 w 198"/>
                <a:gd name="T11" fmla="*/ 10 h 149"/>
                <a:gd name="T12" fmla="*/ 191 w 198"/>
                <a:gd name="T13" fmla="*/ 21 h 149"/>
                <a:gd name="T14" fmla="*/ 191 w 198"/>
                <a:gd name="T15" fmla="*/ 38 h 149"/>
                <a:gd name="T16" fmla="*/ 191 w 198"/>
                <a:gd name="T17" fmla="*/ 54 h 149"/>
                <a:gd name="T18" fmla="*/ 198 w 198"/>
                <a:gd name="T19" fmla="*/ 66 h 149"/>
                <a:gd name="T20" fmla="*/ 186 w 198"/>
                <a:gd name="T21" fmla="*/ 78 h 149"/>
                <a:gd name="T22" fmla="*/ 191 w 198"/>
                <a:gd name="T23" fmla="*/ 95 h 149"/>
                <a:gd name="T24" fmla="*/ 186 w 198"/>
                <a:gd name="T25" fmla="*/ 104 h 149"/>
                <a:gd name="T26" fmla="*/ 170 w 198"/>
                <a:gd name="T27" fmla="*/ 111 h 149"/>
                <a:gd name="T28" fmla="*/ 177 w 198"/>
                <a:gd name="T29" fmla="*/ 121 h 149"/>
                <a:gd name="T30" fmla="*/ 191 w 198"/>
                <a:gd name="T31" fmla="*/ 128 h 149"/>
                <a:gd name="T32" fmla="*/ 191 w 198"/>
                <a:gd name="T33" fmla="*/ 149 h 149"/>
                <a:gd name="T34" fmla="*/ 170 w 198"/>
                <a:gd name="T35" fmla="*/ 132 h 149"/>
                <a:gd name="T36" fmla="*/ 118 w 198"/>
                <a:gd name="T37" fmla="*/ 144 h 149"/>
                <a:gd name="T38" fmla="*/ 80 w 198"/>
                <a:gd name="T39" fmla="*/ 132 h 149"/>
                <a:gd name="T40" fmla="*/ 47 w 198"/>
                <a:gd name="T41" fmla="*/ 144 h 149"/>
                <a:gd name="T42" fmla="*/ 47 w 198"/>
                <a:gd name="T43" fmla="*/ 149 h 149"/>
                <a:gd name="T44" fmla="*/ 38 w 198"/>
                <a:gd name="T45" fmla="*/ 149 h 149"/>
                <a:gd name="T46" fmla="*/ 26 w 198"/>
                <a:gd name="T47" fmla="*/ 132 h 149"/>
                <a:gd name="T48" fmla="*/ 0 w 198"/>
                <a:gd name="T49" fmla="*/ 128 h 149"/>
                <a:gd name="T50" fmla="*/ 0 w 198"/>
                <a:gd name="T51" fmla="*/ 121 h 149"/>
                <a:gd name="T52" fmla="*/ 0 w 198"/>
                <a:gd name="T53" fmla="*/ 104 h 149"/>
                <a:gd name="T54" fmla="*/ 16 w 198"/>
                <a:gd name="T55" fmla="*/ 104 h 149"/>
                <a:gd name="T56" fmla="*/ 47 w 198"/>
                <a:gd name="T57" fmla="*/ 111 h 149"/>
                <a:gd name="T58" fmla="*/ 63 w 198"/>
                <a:gd name="T59" fmla="*/ 111 h 149"/>
                <a:gd name="T60" fmla="*/ 54 w 198"/>
                <a:gd name="T61" fmla="*/ 111 h 149"/>
                <a:gd name="T62" fmla="*/ 54 w 198"/>
                <a:gd name="T63" fmla="*/ 121 h 149"/>
                <a:gd name="T64" fmla="*/ 123 w 198"/>
                <a:gd name="T65" fmla="*/ 121 h 149"/>
                <a:gd name="T66" fmla="*/ 134 w 198"/>
                <a:gd name="T67" fmla="*/ 111 h 149"/>
                <a:gd name="T68" fmla="*/ 144 w 198"/>
                <a:gd name="T69" fmla="*/ 111 h 149"/>
                <a:gd name="T70" fmla="*/ 144 w 198"/>
                <a:gd name="T71" fmla="*/ 104 h 149"/>
                <a:gd name="T72" fmla="*/ 118 w 198"/>
                <a:gd name="T73" fmla="*/ 71 h 149"/>
                <a:gd name="T74" fmla="*/ 123 w 198"/>
                <a:gd name="T75" fmla="*/ 50 h 149"/>
                <a:gd name="T76" fmla="*/ 92 w 198"/>
                <a:gd name="T77" fmla="*/ 33 h 149"/>
                <a:gd name="T78" fmla="*/ 80 w 198"/>
                <a:gd name="T79" fmla="*/ 33 h 149"/>
                <a:gd name="T80" fmla="*/ 80 w 198"/>
                <a:gd name="T81" fmla="*/ 17 h 149"/>
                <a:gd name="T82" fmla="*/ 118 w 198"/>
                <a:gd name="T83" fmla="*/ 10 h 149"/>
                <a:gd name="T84" fmla="*/ 156 w 198"/>
                <a:gd name="T85" fmla="*/ 21 h 149"/>
                <a:gd name="T86" fmla="*/ 191 w 198"/>
                <a:gd name="T87" fmla="*/ 21 h 149"/>
                <a:gd name="T88" fmla="*/ 191 w 198"/>
                <a:gd name="T89" fmla="*/ 21 h 149"/>
                <a:gd name="T90" fmla="*/ 191 w 198"/>
                <a:gd name="T91" fmla="*/ 21 h 149"/>
                <a:gd name="T92" fmla="*/ 118 w 198"/>
                <a:gd name="T93" fmla="*/ 104 h 149"/>
                <a:gd name="T94" fmla="*/ 85 w 198"/>
                <a:gd name="T95" fmla="*/ 88 h 149"/>
                <a:gd name="T96" fmla="*/ 92 w 198"/>
                <a:gd name="T97" fmla="*/ 78 h 149"/>
                <a:gd name="T98" fmla="*/ 118 w 198"/>
                <a:gd name="T99" fmla="*/ 88 h 149"/>
                <a:gd name="T100" fmla="*/ 118 w 198"/>
                <a:gd name="T101" fmla="*/ 104 h 149"/>
                <a:gd name="T102" fmla="*/ 118 w 198"/>
                <a:gd name="T103" fmla="*/ 104 h 149"/>
                <a:gd name="T104" fmla="*/ 118 w 198"/>
                <a:gd name="T105" fmla="*/ 104 h 149"/>
                <a:gd name="T106" fmla="*/ 54 w 198"/>
                <a:gd name="T107" fmla="*/ 111 h 149"/>
                <a:gd name="T108" fmla="*/ 47 w 198"/>
                <a:gd name="T109" fmla="*/ 104 h 149"/>
                <a:gd name="T110" fmla="*/ 54 w 198"/>
                <a:gd name="T111" fmla="*/ 104 h 149"/>
                <a:gd name="T112" fmla="*/ 54 w 198"/>
                <a:gd name="T113" fmla="*/ 111 h 149"/>
                <a:gd name="T114" fmla="*/ 54 w 198"/>
                <a:gd name="T115" fmla="*/ 111 h 149"/>
                <a:gd name="T116" fmla="*/ 54 w 198"/>
                <a:gd name="T117" fmla="*/ 11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 h="149">
                  <a:moveTo>
                    <a:pt x="134" y="10"/>
                  </a:moveTo>
                  <a:lnTo>
                    <a:pt x="106" y="0"/>
                  </a:lnTo>
                  <a:lnTo>
                    <a:pt x="118" y="0"/>
                  </a:lnTo>
                  <a:lnTo>
                    <a:pt x="134" y="10"/>
                  </a:lnTo>
                  <a:lnTo>
                    <a:pt x="134" y="10"/>
                  </a:lnTo>
                  <a:lnTo>
                    <a:pt x="134" y="10"/>
                  </a:lnTo>
                  <a:close/>
                  <a:moveTo>
                    <a:pt x="191" y="21"/>
                  </a:moveTo>
                  <a:lnTo>
                    <a:pt x="191" y="38"/>
                  </a:lnTo>
                  <a:lnTo>
                    <a:pt x="191" y="54"/>
                  </a:lnTo>
                  <a:lnTo>
                    <a:pt x="198" y="66"/>
                  </a:lnTo>
                  <a:lnTo>
                    <a:pt x="186" y="78"/>
                  </a:lnTo>
                  <a:lnTo>
                    <a:pt x="191" y="95"/>
                  </a:lnTo>
                  <a:lnTo>
                    <a:pt x="186" y="104"/>
                  </a:lnTo>
                  <a:lnTo>
                    <a:pt x="170" y="111"/>
                  </a:lnTo>
                  <a:lnTo>
                    <a:pt x="177" y="121"/>
                  </a:lnTo>
                  <a:lnTo>
                    <a:pt x="191" y="128"/>
                  </a:lnTo>
                  <a:lnTo>
                    <a:pt x="191" y="149"/>
                  </a:lnTo>
                  <a:lnTo>
                    <a:pt x="170" y="132"/>
                  </a:lnTo>
                  <a:lnTo>
                    <a:pt x="118" y="144"/>
                  </a:lnTo>
                  <a:lnTo>
                    <a:pt x="80" y="132"/>
                  </a:lnTo>
                  <a:lnTo>
                    <a:pt x="47" y="144"/>
                  </a:lnTo>
                  <a:lnTo>
                    <a:pt x="47" y="149"/>
                  </a:lnTo>
                  <a:lnTo>
                    <a:pt x="38" y="149"/>
                  </a:lnTo>
                  <a:lnTo>
                    <a:pt x="26" y="132"/>
                  </a:lnTo>
                  <a:lnTo>
                    <a:pt x="0" y="128"/>
                  </a:lnTo>
                  <a:lnTo>
                    <a:pt x="0" y="121"/>
                  </a:lnTo>
                  <a:lnTo>
                    <a:pt x="0" y="104"/>
                  </a:lnTo>
                  <a:lnTo>
                    <a:pt x="16" y="104"/>
                  </a:lnTo>
                  <a:lnTo>
                    <a:pt x="47" y="111"/>
                  </a:lnTo>
                  <a:lnTo>
                    <a:pt x="63" y="111"/>
                  </a:lnTo>
                  <a:lnTo>
                    <a:pt x="54" y="111"/>
                  </a:lnTo>
                  <a:lnTo>
                    <a:pt x="54" y="121"/>
                  </a:lnTo>
                  <a:lnTo>
                    <a:pt x="123" y="121"/>
                  </a:lnTo>
                  <a:lnTo>
                    <a:pt x="134" y="111"/>
                  </a:lnTo>
                  <a:lnTo>
                    <a:pt x="144" y="111"/>
                  </a:lnTo>
                  <a:lnTo>
                    <a:pt x="144" y="104"/>
                  </a:lnTo>
                  <a:lnTo>
                    <a:pt x="118" y="71"/>
                  </a:lnTo>
                  <a:lnTo>
                    <a:pt x="123" y="50"/>
                  </a:lnTo>
                  <a:lnTo>
                    <a:pt x="92" y="33"/>
                  </a:lnTo>
                  <a:lnTo>
                    <a:pt x="80" y="33"/>
                  </a:lnTo>
                  <a:lnTo>
                    <a:pt x="80" y="17"/>
                  </a:lnTo>
                  <a:lnTo>
                    <a:pt x="118" y="10"/>
                  </a:lnTo>
                  <a:lnTo>
                    <a:pt x="156" y="21"/>
                  </a:lnTo>
                  <a:lnTo>
                    <a:pt x="191" y="21"/>
                  </a:lnTo>
                  <a:lnTo>
                    <a:pt x="191" y="21"/>
                  </a:lnTo>
                  <a:lnTo>
                    <a:pt x="191" y="21"/>
                  </a:lnTo>
                  <a:close/>
                  <a:moveTo>
                    <a:pt x="118" y="104"/>
                  </a:moveTo>
                  <a:lnTo>
                    <a:pt x="85" y="88"/>
                  </a:lnTo>
                  <a:lnTo>
                    <a:pt x="92" y="78"/>
                  </a:lnTo>
                  <a:lnTo>
                    <a:pt x="118" y="88"/>
                  </a:lnTo>
                  <a:lnTo>
                    <a:pt x="118" y="104"/>
                  </a:lnTo>
                  <a:lnTo>
                    <a:pt x="118" y="104"/>
                  </a:lnTo>
                  <a:lnTo>
                    <a:pt x="118" y="104"/>
                  </a:lnTo>
                  <a:close/>
                  <a:moveTo>
                    <a:pt x="54" y="111"/>
                  </a:moveTo>
                  <a:lnTo>
                    <a:pt x="47" y="104"/>
                  </a:lnTo>
                  <a:lnTo>
                    <a:pt x="54" y="104"/>
                  </a:lnTo>
                  <a:lnTo>
                    <a:pt x="54" y="111"/>
                  </a:lnTo>
                  <a:lnTo>
                    <a:pt x="54" y="111"/>
                  </a:lnTo>
                  <a:lnTo>
                    <a:pt x="54" y="111"/>
                  </a:lnTo>
                  <a:close/>
                </a:path>
              </a:pathLst>
            </a:custGeom>
            <a:pattFill prst="dk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5" name="Freeform 462">
              <a:extLst>
                <a:ext uri="{FF2B5EF4-FFF2-40B4-BE49-F238E27FC236}">
                  <a16:creationId xmlns:a16="http://schemas.microsoft.com/office/drawing/2014/main" id="{0AC7CD65-732C-48A8-B2CB-0A019491701B}"/>
                </a:ext>
              </a:extLst>
            </p:cNvPr>
            <p:cNvSpPr>
              <a:spLocks/>
            </p:cNvSpPr>
            <p:nvPr/>
          </p:nvSpPr>
          <p:spPr bwMode="gray">
            <a:xfrm>
              <a:off x="8316307" y="6691283"/>
              <a:ext cx="21280" cy="10393"/>
            </a:xfrm>
            <a:custGeom>
              <a:avLst/>
              <a:gdLst>
                <a:gd name="T0" fmla="*/ 43 w 43"/>
                <a:gd name="T1" fmla="*/ 17 h 21"/>
                <a:gd name="T2" fmla="*/ 14 w 43"/>
                <a:gd name="T3" fmla="*/ 21 h 21"/>
                <a:gd name="T4" fmla="*/ 0 w 43"/>
                <a:gd name="T5" fmla="*/ 0 h 21"/>
                <a:gd name="T6" fmla="*/ 43 w 43"/>
                <a:gd name="T7" fmla="*/ 17 h 21"/>
                <a:gd name="T8" fmla="*/ 43 w 43"/>
                <a:gd name="T9" fmla="*/ 17 h 21"/>
                <a:gd name="T10" fmla="*/ 43 w 43"/>
                <a:gd name="T11" fmla="*/ 17 h 21"/>
              </a:gdLst>
              <a:ahLst/>
              <a:cxnLst>
                <a:cxn ang="0">
                  <a:pos x="T0" y="T1"/>
                </a:cxn>
                <a:cxn ang="0">
                  <a:pos x="T2" y="T3"/>
                </a:cxn>
                <a:cxn ang="0">
                  <a:pos x="T4" y="T5"/>
                </a:cxn>
                <a:cxn ang="0">
                  <a:pos x="T6" y="T7"/>
                </a:cxn>
                <a:cxn ang="0">
                  <a:pos x="T8" y="T9"/>
                </a:cxn>
                <a:cxn ang="0">
                  <a:pos x="T10" y="T11"/>
                </a:cxn>
              </a:cxnLst>
              <a:rect l="0" t="0" r="r" b="b"/>
              <a:pathLst>
                <a:path w="43" h="21">
                  <a:moveTo>
                    <a:pt x="43" y="17"/>
                  </a:moveTo>
                  <a:lnTo>
                    <a:pt x="14" y="21"/>
                  </a:lnTo>
                  <a:lnTo>
                    <a:pt x="0" y="0"/>
                  </a:lnTo>
                  <a:lnTo>
                    <a:pt x="43" y="17"/>
                  </a:lnTo>
                  <a:lnTo>
                    <a:pt x="43" y="17"/>
                  </a:lnTo>
                  <a:lnTo>
                    <a:pt x="43" y="17"/>
                  </a:lnTo>
                  <a:close/>
                </a:path>
              </a:pathLst>
            </a:custGeom>
            <a:solidFill>
              <a:schemeClr val="accent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6" name="Freeform 463">
              <a:extLst>
                <a:ext uri="{FF2B5EF4-FFF2-40B4-BE49-F238E27FC236}">
                  <a16:creationId xmlns:a16="http://schemas.microsoft.com/office/drawing/2014/main" id="{9FDEB8F2-CECF-4F3B-B907-8122F3218FD6}"/>
                </a:ext>
              </a:extLst>
            </p:cNvPr>
            <p:cNvSpPr>
              <a:spLocks noEditPoints="1"/>
            </p:cNvSpPr>
            <p:nvPr/>
          </p:nvSpPr>
          <p:spPr bwMode="gray">
            <a:xfrm>
              <a:off x="2673721" y="4012711"/>
              <a:ext cx="213787" cy="122744"/>
            </a:xfrm>
            <a:custGeom>
              <a:avLst/>
              <a:gdLst>
                <a:gd name="T0" fmla="*/ 206 w 432"/>
                <a:gd name="T1" fmla="*/ 0 h 248"/>
                <a:gd name="T2" fmla="*/ 189 w 432"/>
                <a:gd name="T3" fmla="*/ 5 h 248"/>
                <a:gd name="T4" fmla="*/ 189 w 432"/>
                <a:gd name="T5" fmla="*/ 5 h 248"/>
                <a:gd name="T6" fmla="*/ 43 w 432"/>
                <a:gd name="T7" fmla="*/ 166 h 248"/>
                <a:gd name="T8" fmla="*/ 26 w 432"/>
                <a:gd name="T9" fmla="*/ 149 h 248"/>
                <a:gd name="T10" fmla="*/ 17 w 432"/>
                <a:gd name="T11" fmla="*/ 128 h 248"/>
                <a:gd name="T12" fmla="*/ 17 w 432"/>
                <a:gd name="T13" fmla="*/ 100 h 248"/>
                <a:gd name="T14" fmla="*/ 85 w 432"/>
                <a:gd name="T15" fmla="*/ 57 h 248"/>
                <a:gd name="T16" fmla="*/ 135 w 432"/>
                <a:gd name="T17" fmla="*/ 45 h 248"/>
                <a:gd name="T18" fmla="*/ 210 w 432"/>
                <a:gd name="T19" fmla="*/ 45 h 248"/>
                <a:gd name="T20" fmla="*/ 243 w 432"/>
                <a:gd name="T21" fmla="*/ 29 h 248"/>
                <a:gd name="T22" fmla="*/ 269 w 432"/>
                <a:gd name="T23" fmla="*/ 38 h 248"/>
                <a:gd name="T24" fmla="*/ 324 w 432"/>
                <a:gd name="T25" fmla="*/ 38 h 248"/>
                <a:gd name="T26" fmla="*/ 340 w 432"/>
                <a:gd name="T27" fmla="*/ 45 h 248"/>
                <a:gd name="T28" fmla="*/ 357 w 432"/>
                <a:gd name="T29" fmla="*/ 45 h 248"/>
                <a:gd name="T30" fmla="*/ 357 w 432"/>
                <a:gd name="T31" fmla="*/ 62 h 248"/>
                <a:gd name="T32" fmla="*/ 390 w 432"/>
                <a:gd name="T33" fmla="*/ 83 h 248"/>
                <a:gd name="T34" fmla="*/ 378 w 432"/>
                <a:gd name="T35" fmla="*/ 74 h 248"/>
                <a:gd name="T36" fmla="*/ 411 w 432"/>
                <a:gd name="T37" fmla="*/ 83 h 248"/>
                <a:gd name="T38" fmla="*/ 406 w 432"/>
                <a:gd name="T39" fmla="*/ 95 h 248"/>
                <a:gd name="T40" fmla="*/ 406 w 432"/>
                <a:gd name="T41" fmla="*/ 78 h 248"/>
                <a:gd name="T42" fmla="*/ 428 w 432"/>
                <a:gd name="T43" fmla="*/ 100 h 248"/>
                <a:gd name="T44" fmla="*/ 411 w 432"/>
                <a:gd name="T45" fmla="*/ 100 h 248"/>
                <a:gd name="T46" fmla="*/ 340 w 432"/>
                <a:gd name="T47" fmla="*/ 133 h 248"/>
                <a:gd name="T48" fmla="*/ 298 w 432"/>
                <a:gd name="T49" fmla="*/ 149 h 248"/>
                <a:gd name="T50" fmla="*/ 260 w 432"/>
                <a:gd name="T51" fmla="*/ 182 h 248"/>
                <a:gd name="T52" fmla="*/ 231 w 432"/>
                <a:gd name="T53" fmla="*/ 173 h 248"/>
                <a:gd name="T54" fmla="*/ 177 w 432"/>
                <a:gd name="T55" fmla="*/ 194 h 248"/>
                <a:gd name="T56" fmla="*/ 172 w 432"/>
                <a:gd name="T57" fmla="*/ 239 h 248"/>
                <a:gd name="T58" fmla="*/ 139 w 432"/>
                <a:gd name="T59" fmla="*/ 248 h 248"/>
                <a:gd name="T60" fmla="*/ 135 w 432"/>
                <a:gd name="T61" fmla="*/ 222 h 248"/>
                <a:gd name="T62" fmla="*/ 118 w 432"/>
                <a:gd name="T63" fmla="*/ 222 h 248"/>
                <a:gd name="T64" fmla="*/ 109 w 432"/>
                <a:gd name="T65" fmla="*/ 222 h 248"/>
                <a:gd name="T66" fmla="*/ 109 w 432"/>
                <a:gd name="T67" fmla="*/ 211 h 248"/>
                <a:gd name="T68" fmla="*/ 109 w 432"/>
                <a:gd name="T69" fmla="*/ 182 h 248"/>
                <a:gd name="T70" fmla="*/ 85 w 432"/>
                <a:gd name="T71" fmla="*/ 182 h 248"/>
                <a:gd name="T72" fmla="*/ 54 w 432"/>
                <a:gd name="T73" fmla="*/ 182 h 248"/>
                <a:gd name="T74" fmla="*/ 54 w 432"/>
                <a:gd name="T75" fmla="*/ 182 h 248"/>
                <a:gd name="T76" fmla="*/ 118 w 432"/>
                <a:gd name="T77" fmla="*/ 222 h 248"/>
                <a:gd name="T78" fmla="*/ 123 w 432"/>
                <a:gd name="T79" fmla="*/ 227 h 248"/>
                <a:gd name="T80" fmla="*/ 123 w 432"/>
                <a:gd name="T81" fmla="*/ 2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2" h="248">
                  <a:moveTo>
                    <a:pt x="189" y="5"/>
                  </a:moveTo>
                  <a:lnTo>
                    <a:pt x="206" y="0"/>
                  </a:lnTo>
                  <a:lnTo>
                    <a:pt x="215" y="0"/>
                  </a:lnTo>
                  <a:lnTo>
                    <a:pt x="189" y="5"/>
                  </a:lnTo>
                  <a:lnTo>
                    <a:pt x="189" y="5"/>
                  </a:lnTo>
                  <a:lnTo>
                    <a:pt x="189" y="5"/>
                  </a:lnTo>
                  <a:close/>
                  <a:moveTo>
                    <a:pt x="54" y="182"/>
                  </a:moveTo>
                  <a:lnTo>
                    <a:pt x="43" y="166"/>
                  </a:lnTo>
                  <a:lnTo>
                    <a:pt x="43" y="173"/>
                  </a:lnTo>
                  <a:lnTo>
                    <a:pt x="26" y="149"/>
                  </a:lnTo>
                  <a:lnTo>
                    <a:pt x="0" y="149"/>
                  </a:lnTo>
                  <a:lnTo>
                    <a:pt x="17" y="128"/>
                  </a:lnTo>
                  <a:lnTo>
                    <a:pt x="9" y="116"/>
                  </a:lnTo>
                  <a:lnTo>
                    <a:pt x="17" y="100"/>
                  </a:lnTo>
                  <a:lnTo>
                    <a:pt x="80" y="57"/>
                  </a:lnTo>
                  <a:lnTo>
                    <a:pt x="85" y="57"/>
                  </a:lnTo>
                  <a:lnTo>
                    <a:pt x="118" y="38"/>
                  </a:lnTo>
                  <a:lnTo>
                    <a:pt x="135" y="45"/>
                  </a:lnTo>
                  <a:lnTo>
                    <a:pt x="139" y="38"/>
                  </a:lnTo>
                  <a:lnTo>
                    <a:pt x="210" y="45"/>
                  </a:lnTo>
                  <a:lnTo>
                    <a:pt x="243" y="38"/>
                  </a:lnTo>
                  <a:lnTo>
                    <a:pt x="243" y="29"/>
                  </a:lnTo>
                  <a:lnTo>
                    <a:pt x="231" y="29"/>
                  </a:lnTo>
                  <a:lnTo>
                    <a:pt x="269" y="38"/>
                  </a:lnTo>
                  <a:lnTo>
                    <a:pt x="302" y="29"/>
                  </a:lnTo>
                  <a:lnTo>
                    <a:pt x="324" y="38"/>
                  </a:lnTo>
                  <a:lnTo>
                    <a:pt x="335" y="45"/>
                  </a:lnTo>
                  <a:lnTo>
                    <a:pt x="340" y="45"/>
                  </a:lnTo>
                  <a:lnTo>
                    <a:pt x="340" y="38"/>
                  </a:lnTo>
                  <a:lnTo>
                    <a:pt x="357" y="45"/>
                  </a:lnTo>
                  <a:lnTo>
                    <a:pt x="390" y="74"/>
                  </a:lnTo>
                  <a:lnTo>
                    <a:pt x="357" y="62"/>
                  </a:lnTo>
                  <a:lnTo>
                    <a:pt x="373" y="78"/>
                  </a:lnTo>
                  <a:lnTo>
                    <a:pt x="390" y="83"/>
                  </a:lnTo>
                  <a:lnTo>
                    <a:pt x="373" y="78"/>
                  </a:lnTo>
                  <a:lnTo>
                    <a:pt x="378" y="74"/>
                  </a:lnTo>
                  <a:lnTo>
                    <a:pt x="394" y="83"/>
                  </a:lnTo>
                  <a:lnTo>
                    <a:pt x="411" y="83"/>
                  </a:lnTo>
                  <a:lnTo>
                    <a:pt x="406" y="83"/>
                  </a:lnTo>
                  <a:lnTo>
                    <a:pt x="406" y="95"/>
                  </a:lnTo>
                  <a:lnTo>
                    <a:pt x="411" y="83"/>
                  </a:lnTo>
                  <a:lnTo>
                    <a:pt x="406" y="78"/>
                  </a:lnTo>
                  <a:lnTo>
                    <a:pt x="423" y="83"/>
                  </a:lnTo>
                  <a:lnTo>
                    <a:pt x="428" y="100"/>
                  </a:lnTo>
                  <a:lnTo>
                    <a:pt x="432" y="100"/>
                  </a:lnTo>
                  <a:lnTo>
                    <a:pt x="411" y="100"/>
                  </a:lnTo>
                  <a:lnTo>
                    <a:pt x="390" y="116"/>
                  </a:lnTo>
                  <a:lnTo>
                    <a:pt x="340" y="133"/>
                  </a:lnTo>
                  <a:lnTo>
                    <a:pt x="314" y="116"/>
                  </a:lnTo>
                  <a:lnTo>
                    <a:pt x="298" y="149"/>
                  </a:lnTo>
                  <a:lnTo>
                    <a:pt x="298" y="149"/>
                  </a:lnTo>
                  <a:lnTo>
                    <a:pt x="260" y="182"/>
                  </a:lnTo>
                  <a:lnTo>
                    <a:pt x="260" y="189"/>
                  </a:lnTo>
                  <a:lnTo>
                    <a:pt x="231" y="173"/>
                  </a:lnTo>
                  <a:lnTo>
                    <a:pt x="210" y="194"/>
                  </a:lnTo>
                  <a:lnTo>
                    <a:pt x="177" y="194"/>
                  </a:lnTo>
                  <a:lnTo>
                    <a:pt x="189" y="227"/>
                  </a:lnTo>
                  <a:lnTo>
                    <a:pt x="172" y="239"/>
                  </a:lnTo>
                  <a:lnTo>
                    <a:pt x="161" y="248"/>
                  </a:lnTo>
                  <a:lnTo>
                    <a:pt x="139" y="248"/>
                  </a:lnTo>
                  <a:lnTo>
                    <a:pt x="123" y="227"/>
                  </a:lnTo>
                  <a:lnTo>
                    <a:pt x="135" y="222"/>
                  </a:lnTo>
                  <a:lnTo>
                    <a:pt x="123" y="227"/>
                  </a:lnTo>
                  <a:lnTo>
                    <a:pt x="118" y="222"/>
                  </a:lnTo>
                  <a:lnTo>
                    <a:pt x="118" y="222"/>
                  </a:lnTo>
                  <a:lnTo>
                    <a:pt x="109" y="222"/>
                  </a:lnTo>
                  <a:lnTo>
                    <a:pt x="118" y="211"/>
                  </a:lnTo>
                  <a:lnTo>
                    <a:pt x="109" y="211"/>
                  </a:lnTo>
                  <a:lnTo>
                    <a:pt x="118" y="189"/>
                  </a:lnTo>
                  <a:lnTo>
                    <a:pt x="109" y="182"/>
                  </a:lnTo>
                  <a:lnTo>
                    <a:pt x="97" y="189"/>
                  </a:lnTo>
                  <a:lnTo>
                    <a:pt x="85" y="182"/>
                  </a:lnTo>
                  <a:lnTo>
                    <a:pt x="64" y="189"/>
                  </a:lnTo>
                  <a:lnTo>
                    <a:pt x="54" y="182"/>
                  </a:lnTo>
                  <a:lnTo>
                    <a:pt x="54" y="182"/>
                  </a:lnTo>
                  <a:lnTo>
                    <a:pt x="54" y="182"/>
                  </a:lnTo>
                  <a:close/>
                  <a:moveTo>
                    <a:pt x="123" y="227"/>
                  </a:moveTo>
                  <a:lnTo>
                    <a:pt x="118" y="222"/>
                  </a:lnTo>
                  <a:lnTo>
                    <a:pt x="123" y="222"/>
                  </a:lnTo>
                  <a:lnTo>
                    <a:pt x="123" y="227"/>
                  </a:lnTo>
                  <a:lnTo>
                    <a:pt x="123" y="227"/>
                  </a:lnTo>
                  <a:lnTo>
                    <a:pt x="123" y="227"/>
                  </a:lnTo>
                  <a:close/>
                </a:path>
              </a:pathLst>
            </a:custGeom>
            <a:pattFill prst="nar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7" name="Freeform 464">
              <a:extLst>
                <a:ext uri="{FF2B5EF4-FFF2-40B4-BE49-F238E27FC236}">
                  <a16:creationId xmlns:a16="http://schemas.microsoft.com/office/drawing/2014/main" id="{EC06036C-0417-447E-A3EA-03EAD99B23E0}"/>
                </a:ext>
              </a:extLst>
            </p:cNvPr>
            <p:cNvSpPr>
              <a:spLocks noEditPoints="1"/>
            </p:cNvSpPr>
            <p:nvPr/>
          </p:nvSpPr>
          <p:spPr bwMode="gray">
            <a:xfrm>
              <a:off x="6242773" y="2811016"/>
              <a:ext cx="209332" cy="180155"/>
            </a:xfrm>
            <a:custGeom>
              <a:avLst/>
              <a:gdLst>
                <a:gd name="T0" fmla="*/ 82 w 423"/>
                <a:gd name="T1" fmla="*/ 83 h 364"/>
                <a:gd name="T2" fmla="*/ 125 w 423"/>
                <a:gd name="T3" fmla="*/ 95 h 364"/>
                <a:gd name="T4" fmla="*/ 125 w 423"/>
                <a:gd name="T5" fmla="*/ 71 h 364"/>
                <a:gd name="T6" fmla="*/ 151 w 423"/>
                <a:gd name="T7" fmla="*/ 38 h 364"/>
                <a:gd name="T8" fmla="*/ 196 w 423"/>
                <a:gd name="T9" fmla="*/ 0 h 364"/>
                <a:gd name="T10" fmla="*/ 264 w 423"/>
                <a:gd name="T11" fmla="*/ 54 h 364"/>
                <a:gd name="T12" fmla="*/ 340 w 423"/>
                <a:gd name="T13" fmla="*/ 71 h 364"/>
                <a:gd name="T14" fmla="*/ 378 w 423"/>
                <a:gd name="T15" fmla="*/ 88 h 364"/>
                <a:gd name="T16" fmla="*/ 389 w 423"/>
                <a:gd name="T17" fmla="*/ 104 h 364"/>
                <a:gd name="T18" fmla="*/ 389 w 423"/>
                <a:gd name="T19" fmla="*/ 149 h 364"/>
                <a:gd name="T20" fmla="*/ 356 w 423"/>
                <a:gd name="T21" fmla="*/ 137 h 364"/>
                <a:gd name="T22" fmla="*/ 260 w 423"/>
                <a:gd name="T23" fmla="*/ 128 h 364"/>
                <a:gd name="T24" fmla="*/ 212 w 423"/>
                <a:gd name="T25" fmla="*/ 121 h 364"/>
                <a:gd name="T26" fmla="*/ 163 w 423"/>
                <a:gd name="T27" fmla="*/ 128 h 364"/>
                <a:gd name="T28" fmla="*/ 189 w 423"/>
                <a:gd name="T29" fmla="*/ 199 h 364"/>
                <a:gd name="T30" fmla="*/ 243 w 423"/>
                <a:gd name="T31" fmla="*/ 260 h 364"/>
                <a:gd name="T32" fmla="*/ 286 w 423"/>
                <a:gd name="T33" fmla="*/ 310 h 364"/>
                <a:gd name="T34" fmla="*/ 243 w 423"/>
                <a:gd name="T35" fmla="*/ 276 h 364"/>
                <a:gd name="T36" fmla="*/ 175 w 423"/>
                <a:gd name="T37" fmla="*/ 253 h 364"/>
                <a:gd name="T38" fmla="*/ 108 w 423"/>
                <a:gd name="T39" fmla="*/ 203 h 364"/>
                <a:gd name="T40" fmla="*/ 141 w 423"/>
                <a:gd name="T41" fmla="*/ 203 h 364"/>
                <a:gd name="T42" fmla="*/ 104 w 423"/>
                <a:gd name="T43" fmla="*/ 144 h 364"/>
                <a:gd name="T44" fmla="*/ 54 w 423"/>
                <a:gd name="T45" fmla="*/ 111 h 364"/>
                <a:gd name="T46" fmla="*/ 12 w 423"/>
                <a:gd name="T47" fmla="*/ 128 h 364"/>
                <a:gd name="T48" fmla="*/ 12 w 423"/>
                <a:gd name="T49" fmla="*/ 95 h 364"/>
                <a:gd name="T50" fmla="*/ 66 w 423"/>
                <a:gd name="T51" fmla="*/ 137 h 364"/>
                <a:gd name="T52" fmla="*/ 87 w 423"/>
                <a:gd name="T53" fmla="*/ 144 h 364"/>
                <a:gd name="T54" fmla="*/ 71 w 423"/>
                <a:gd name="T55" fmla="*/ 177 h 364"/>
                <a:gd name="T56" fmla="*/ 54 w 423"/>
                <a:gd name="T57" fmla="*/ 128 h 364"/>
                <a:gd name="T58" fmla="*/ 71 w 423"/>
                <a:gd name="T59" fmla="*/ 177 h 364"/>
                <a:gd name="T60" fmla="*/ 87 w 423"/>
                <a:gd name="T61" fmla="*/ 165 h 364"/>
                <a:gd name="T62" fmla="*/ 87 w 423"/>
                <a:gd name="T63" fmla="*/ 165 h 364"/>
                <a:gd name="T64" fmla="*/ 120 w 423"/>
                <a:gd name="T65" fmla="*/ 236 h 364"/>
                <a:gd name="T66" fmla="*/ 120 w 423"/>
                <a:gd name="T67" fmla="*/ 236 h 364"/>
                <a:gd name="T68" fmla="*/ 226 w 423"/>
                <a:gd name="T69" fmla="*/ 293 h 364"/>
                <a:gd name="T70" fmla="*/ 243 w 423"/>
                <a:gd name="T71" fmla="*/ 288 h 364"/>
                <a:gd name="T72" fmla="*/ 226 w 423"/>
                <a:gd name="T73" fmla="*/ 293 h 364"/>
                <a:gd name="T74" fmla="*/ 260 w 423"/>
                <a:gd name="T75" fmla="*/ 305 h 364"/>
                <a:gd name="T76" fmla="*/ 248 w 423"/>
                <a:gd name="T77" fmla="*/ 310 h 364"/>
                <a:gd name="T78" fmla="*/ 196 w 423"/>
                <a:gd name="T79" fmla="*/ 310 h 364"/>
                <a:gd name="T80" fmla="*/ 179 w 423"/>
                <a:gd name="T81" fmla="*/ 314 h 364"/>
                <a:gd name="T82" fmla="*/ 352 w 423"/>
                <a:gd name="T83" fmla="*/ 359 h 364"/>
                <a:gd name="T84" fmla="*/ 314 w 423"/>
                <a:gd name="T85" fmla="*/ 331 h 364"/>
                <a:gd name="T86" fmla="*/ 286 w 423"/>
                <a:gd name="T87" fmla="*/ 326 h 364"/>
                <a:gd name="T88" fmla="*/ 217 w 423"/>
                <a:gd name="T89" fmla="*/ 314 h 364"/>
                <a:gd name="T90" fmla="*/ 234 w 423"/>
                <a:gd name="T91" fmla="*/ 326 h 364"/>
                <a:gd name="T92" fmla="*/ 234 w 423"/>
                <a:gd name="T93" fmla="*/ 331 h 364"/>
                <a:gd name="T94" fmla="*/ 243 w 423"/>
                <a:gd name="T95" fmla="*/ 343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3" h="364">
                  <a:moveTo>
                    <a:pt x="12" y="95"/>
                  </a:moveTo>
                  <a:lnTo>
                    <a:pt x="66" y="95"/>
                  </a:lnTo>
                  <a:lnTo>
                    <a:pt x="82" y="83"/>
                  </a:lnTo>
                  <a:lnTo>
                    <a:pt x="99" y="95"/>
                  </a:lnTo>
                  <a:lnTo>
                    <a:pt x="120" y="104"/>
                  </a:lnTo>
                  <a:lnTo>
                    <a:pt x="125" y="95"/>
                  </a:lnTo>
                  <a:lnTo>
                    <a:pt x="137" y="83"/>
                  </a:lnTo>
                  <a:lnTo>
                    <a:pt x="125" y="83"/>
                  </a:lnTo>
                  <a:lnTo>
                    <a:pt x="125" y="71"/>
                  </a:lnTo>
                  <a:lnTo>
                    <a:pt x="158" y="66"/>
                  </a:lnTo>
                  <a:lnTo>
                    <a:pt x="158" y="50"/>
                  </a:lnTo>
                  <a:lnTo>
                    <a:pt x="151" y="38"/>
                  </a:lnTo>
                  <a:lnTo>
                    <a:pt x="151" y="33"/>
                  </a:lnTo>
                  <a:lnTo>
                    <a:pt x="196" y="17"/>
                  </a:lnTo>
                  <a:lnTo>
                    <a:pt x="196" y="0"/>
                  </a:lnTo>
                  <a:lnTo>
                    <a:pt x="217" y="12"/>
                  </a:lnTo>
                  <a:lnTo>
                    <a:pt x="260" y="33"/>
                  </a:lnTo>
                  <a:lnTo>
                    <a:pt x="264" y="54"/>
                  </a:lnTo>
                  <a:lnTo>
                    <a:pt x="286" y="54"/>
                  </a:lnTo>
                  <a:lnTo>
                    <a:pt x="297" y="66"/>
                  </a:lnTo>
                  <a:lnTo>
                    <a:pt x="340" y="71"/>
                  </a:lnTo>
                  <a:lnTo>
                    <a:pt x="373" y="54"/>
                  </a:lnTo>
                  <a:lnTo>
                    <a:pt x="378" y="71"/>
                  </a:lnTo>
                  <a:lnTo>
                    <a:pt x="378" y="88"/>
                  </a:lnTo>
                  <a:lnTo>
                    <a:pt x="394" y="95"/>
                  </a:lnTo>
                  <a:lnTo>
                    <a:pt x="389" y="95"/>
                  </a:lnTo>
                  <a:lnTo>
                    <a:pt x="389" y="104"/>
                  </a:lnTo>
                  <a:lnTo>
                    <a:pt x="423" y="121"/>
                  </a:lnTo>
                  <a:lnTo>
                    <a:pt x="394" y="121"/>
                  </a:lnTo>
                  <a:lnTo>
                    <a:pt x="389" y="149"/>
                  </a:lnTo>
                  <a:lnTo>
                    <a:pt x="373" y="149"/>
                  </a:lnTo>
                  <a:lnTo>
                    <a:pt x="373" y="144"/>
                  </a:lnTo>
                  <a:lnTo>
                    <a:pt x="356" y="137"/>
                  </a:lnTo>
                  <a:lnTo>
                    <a:pt x="335" y="128"/>
                  </a:lnTo>
                  <a:lnTo>
                    <a:pt x="302" y="137"/>
                  </a:lnTo>
                  <a:lnTo>
                    <a:pt x="260" y="128"/>
                  </a:lnTo>
                  <a:lnTo>
                    <a:pt x="243" y="121"/>
                  </a:lnTo>
                  <a:lnTo>
                    <a:pt x="234" y="121"/>
                  </a:lnTo>
                  <a:lnTo>
                    <a:pt x="212" y="121"/>
                  </a:lnTo>
                  <a:lnTo>
                    <a:pt x="196" y="144"/>
                  </a:lnTo>
                  <a:lnTo>
                    <a:pt x="179" y="121"/>
                  </a:lnTo>
                  <a:lnTo>
                    <a:pt x="163" y="128"/>
                  </a:lnTo>
                  <a:lnTo>
                    <a:pt x="158" y="161"/>
                  </a:lnTo>
                  <a:lnTo>
                    <a:pt x="189" y="182"/>
                  </a:lnTo>
                  <a:lnTo>
                    <a:pt x="189" y="199"/>
                  </a:lnTo>
                  <a:lnTo>
                    <a:pt x="189" y="215"/>
                  </a:lnTo>
                  <a:lnTo>
                    <a:pt x="212" y="232"/>
                  </a:lnTo>
                  <a:lnTo>
                    <a:pt x="243" y="260"/>
                  </a:lnTo>
                  <a:lnTo>
                    <a:pt x="264" y="276"/>
                  </a:lnTo>
                  <a:lnTo>
                    <a:pt x="264" y="293"/>
                  </a:lnTo>
                  <a:lnTo>
                    <a:pt x="286" y="310"/>
                  </a:lnTo>
                  <a:lnTo>
                    <a:pt x="297" y="314"/>
                  </a:lnTo>
                  <a:lnTo>
                    <a:pt x="286" y="314"/>
                  </a:lnTo>
                  <a:lnTo>
                    <a:pt x="243" y="276"/>
                  </a:lnTo>
                  <a:lnTo>
                    <a:pt x="205" y="272"/>
                  </a:lnTo>
                  <a:lnTo>
                    <a:pt x="175" y="272"/>
                  </a:lnTo>
                  <a:lnTo>
                    <a:pt x="175" y="253"/>
                  </a:lnTo>
                  <a:lnTo>
                    <a:pt x="137" y="236"/>
                  </a:lnTo>
                  <a:lnTo>
                    <a:pt x="120" y="215"/>
                  </a:lnTo>
                  <a:lnTo>
                    <a:pt x="108" y="203"/>
                  </a:lnTo>
                  <a:lnTo>
                    <a:pt x="125" y="203"/>
                  </a:lnTo>
                  <a:lnTo>
                    <a:pt x="125" y="199"/>
                  </a:lnTo>
                  <a:lnTo>
                    <a:pt x="141" y="203"/>
                  </a:lnTo>
                  <a:lnTo>
                    <a:pt x="104" y="177"/>
                  </a:lnTo>
                  <a:lnTo>
                    <a:pt x="99" y="165"/>
                  </a:lnTo>
                  <a:lnTo>
                    <a:pt x="104" y="144"/>
                  </a:lnTo>
                  <a:lnTo>
                    <a:pt x="99" y="128"/>
                  </a:lnTo>
                  <a:lnTo>
                    <a:pt x="71" y="111"/>
                  </a:lnTo>
                  <a:lnTo>
                    <a:pt x="54" y="111"/>
                  </a:lnTo>
                  <a:lnTo>
                    <a:pt x="49" y="144"/>
                  </a:lnTo>
                  <a:lnTo>
                    <a:pt x="28" y="161"/>
                  </a:lnTo>
                  <a:lnTo>
                    <a:pt x="12" y="128"/>
                  </a:lnTo>
                  <a:lnTo>
                    <a:pt x="0" y="95"/>
                  </a:lnTo>
                  <a:lnTo>
                    <a:pt x="12" y="95"/>
                  </a:lnTo>
                  <a:lnTo>
                    <a:pt x="12" y="95"/>
                  </a:lnTo>
                  <a:lnTo>
                    <a:pt x="12" y="95"/>
                  </a:lnTo>
                  <a:close/>
                  <a:moveTo>
                    <a:pt x="87" y="144"/>
                  </a:moveTo>
                  <a:lnTo>
                    <a:pt x="66" y="137"/>
                  </a:lnTo>
                  <a:lnTo>
                    <a:pt x="71" y="121"/>
                  </a:lnTo>
                  <a:lnTo>
                    <a:pt x="99" y="144"/>
                  </a:lnTo>
                  <a:lnTo>
                    <a:pt x="87" y="144"/>
                  </a:lnTo>
                  <a:lnTo>
                    <a:pt x="87" y="144"/>
                  </a:lnTo>
                  <a:lnTo>
                    <a:pt x="87" y="144"/>
                  </a:lnTo>
                  <a:close/>
                  <a:moveTo>
                    <a:pt x="71" y="177"/>
                  </a:moveTo>
                  <a:lnTo>
                    <a:pt x="54" y="149"/>
                  </a:lnTo>
                  <a:lnTo>
                    <a:pt x="66" y="149"/>
                  </a:lnTo>
                  <a:lnTo>
                    <a:pt x="54" y="128"/>
                  </a:lnTo>
                  <a:lnTo>
                    <a:pt x="54" y="128"/>
                  </a:lnTo>
                  <a:lnTo>
                    <a:pt x="71" y="144"/>
                  </a:lnTo>
                  <a:lnTo>
                    <a:pt x="71" y="177"/>
                  </a:lnTo>
                  <a:lnTo>
                    <a:pt x="71" y="177"/>
                  </a:lnTo>
                  <a:lnTo>
                    <a:pt x="71" y="177"/>
                  </a:lnTo>
                  <a:close/>
                  <a:moveTo>
                    <a:pt x="87" y="165"/>
                  </a:moveTo>
                  <a:lnTo>
                    <a:pt x="125" y="199"/>
                  </a:lnTo>
                  <a:lnTo>
                    <a:pt x="108" y="199"/>
                  </a:lnTo>
                  <a:lnTo>
                    <a:pt x="87" y="165"/>
                  </a:lnTo>
                  <a:lnTo>
                    <a:pt x="87" y="165"/>
                  </a:lnTo>
                  <a:lnTo>
                    <a:pt x="87" y="165"/>
                  </a:lnTo>
                  <a:close/>
                  <a:moveTo>
                    <a:pt x="120" y="236"/>
                  </a:moveTo>
                  <a:lnTo>
                    <a:pt x="99" y="215"/>
                  </a:lnTo>
                  <a:lnTo>
                    <a:pt x="108" y="220"/>
                  </a:lnTo>
                  <a:lnTo>
                    <a:pt x="120" y="236"/>
                  </a:lnTo>
                  <a:lnTo>
                    <a:pt x="120" y="236"/>
                  </a:lnTo>
                  <a:lnTo>
                    <a:pt x="120" y="236"/>
                  </a:lnTo>
                  <a:close/>
                  <a:moveTo>
                    <a:pt x="226" y="293"/>
                  </a:moveTo>
                  <a:lnTo>
                    <a:pt x="205" y="288"/>
                  </a:lnTo>
                  <a:lnTo>
                    <a:pt x="205" y="288"/>
                  </a:lnTo>
                  <a:lnTo>
                    <a:pt x="243" y="288"/>
                  </a:lnTo>
                  <a:lnTo>
                    <a:pt x="226" y="293"/>
                  </a:lnTo>
                  <a:lnTo>
                    <a:pt x="226" y="293"/>
                  </a:lnTo>
                  <a:lnTo>
                    <a:pt x="226" y="293"/>
                  </a:lnTo>
                  <a:close/>
                  <a:moveTo>
                    <a:pt x="248" y="310"/>
                  </a:moveTo>
                  <a:lnTo>
                    <a:pt x="205" y="305"/>
                  </a:lnTo>
                  <a:lnTo>
                    <a:pt x="260" y="305"/>
                  </a:lnTo>
                  <a:lnTo>
                    <a:pt x="248" y="310"/>
                  </a:lnTo>
                  <a:lnTo>
                    <a:pt x="248" y="310"/>
                  </a:lnTo>
                  <a:lnTo>
                    <a:pt x="248" y="310"/>
                  </a:lnTo>
                  <a:close/>
                  <a:moveTo>
                    <a:pt x="179" y="314"/>
                  </a:moveTo>
                  <a:lnTo>
                    <a:pt x="179" y="310"/>
                  </a:lnTo>
                  <a:lnTo>
                    <a:pt x="196" y="310"/>
                  </a:lnTo>
                  <a:lnTo>
                    <a:pt x="179" y="314"/>
                  </a:lnTo>
                  <a:lnTo>
                    <a:pt x="179" y="314"/>
                  </a:lnTo>
                  <a:lnTo>
                    <a:pt x="179" y="314"/>
                  </a:lnTo>
                  <a:close/>
                  <a:moveTo>
                    <a:pt x="286" y="326"/>
                  </a:moveTo>
                  <a:lnTo>
                    <a:pt x="302" y="326"/>
                  </a:lnTo>
                  <a:lnTo>
                    <a:pt x="352" y="359"/>
                  </a:lnTo>
                  <a:lnTo>
                    <a:pt x="352" y="364"/>
                  </a:lnTo>
                  <a:lnTo>
                    <a:pt x="352" y="364"/>
                  </a:lnTo>
                  <a:lnTo>
                    <a:pt x="314" y="331"/>
                  </a:lnTo>
                  <a:lnTo>
                    <a:pt x="248" y="310"/>
                  </a:lnTo>
                  <a:lnTo>
                    <a:pt x="286" y="326"/>
                  </a:lnTo>
                  <a:lnTo>
                    <a:pt x="286" y="326"/>
                  </a:lnTo>
                  <a:lnTo>
                    <a:pt x="286" y="326"/>
                  </a:lnTo>
                  <a:close/>
                  <a:moveTo>
                    <a:pt x="234" y="326"/>
                  </a:moveTo>
                  <a:lnTo>
                    <a:pt x="217" y="314"/>
                  </a:lnTo>
                  <a:lnTo>
                    <a:pt x="260" y="326"/>
                  </a:lnTo>
                  <a:lnTo>
                    <a:pt x="234" y="326"/>
                  </a:lnTo>
                  <a:lnTo>
                    <a:pt x="234" y="326"/>
                  </a:lnTo>
                  <a:lnTo>
                    <a:pt x="234" y="326"/>
                  </a:lnTo>
                  <a:close/>
                  <a:moveTo>
                    <a:pt x="243" y="343"/>
                  </a:moveTo>
                  <a:lnTo>
                    <a:pt x="234" y="331"/>
                  </a:lnTo>
                  <a:lnTo>
                    <a:pt x="243" y="331"/>
                  </a:lnTo>
                  <a:lnTo>
                    <a:pt x="243" y="343"/>
                  </a:lnTo>
                  <a:lnTo>
                    <a:pt x="243" y="343"/>
                  </a:lnTo>
                  <a:lnTo>
                    <a:pt x="243" y="343"/>
                  </a:lnTo>
                  <a:close/>
                </a:path>
              </a:pathLst>
            </a:custGeom>
            <a:pattFill prst="lt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8" name="Freeform 465">
              <a:extLst>
                <a:ext uri="{FF2B5EF4-FFF2-40B4-BE49-F238E27FC236}">
                  <a16:creationId xmlns:a16="http://schemas.microsoft.com/office/drawing/2014/main" id="{CF739FD0-AB9E-4B9E-A653-7BBB7A49C4B4}"/>
                </a:ext>
              </a:extLst>
            </p:cNvPr>
            <p:cNvSpPr>
              <a:spLocks/>
            </p:cNvSpPr>
            <p:nvPr/>
          </p:nvSpPr>
          <p:spPr bwMode="gray">
            <a:xfrm>
              <a:off x="6330367" y="2719948"/>
              <a:ext cx="237046" cy="127197"/>
            </a:xfrm>
            <a:custGeom>
              <a:avLst/>
              <a:gdLst>
                <a:gd name="T0" fmla="*/ 298 w 479"/>
                <a:gd name="T1" fmla="*/ 224 h 257"/>
                <a:gd name="T2" fmla="*/ 248 w 479"/>
                <a:gd name="T3" fmla="*/ 217 h 257"/>
                <a:gd name="T4" fmla="*/ 227 w 479"/>
                <a:gd name="T5" fmla="*/ 234 h 257"/>
                <a:gd name="T6" fmla="*/ 215 w 479"/>
                <a:gd name="T7" fmla="*/ 234 h 257"/>
                <a:gd name="T8" fmla="*/ 194 w 479"/>
                <a:gd name="T9" fmla="*/ 241 h 257"/>
                <a:gd name="T10" fmla="*/ 163 w 479"/>
                <a:gd name="T11" fmla="*/ 257 h 257"/>
                <a:gd name="T12" fmla="*/ 118 w 479"/>
                <a:gd name="T13" fmla="*/ 250 h 257"/>
                <a:gd name="T14" fmla="*/ 109 w 479"/>
                <a:gd name="T15" fmla="*/ 241 h 257"/>
                <a:gd name="T16" fmla="*/ 87 w 479"/>
                <a:gd name="T17" fmla="*/ 241 h 257"/>
                <a:gd name="T18" fmla="*/ 80 w 479"/>
                <a:gd name="T19" fmla="*/ 217 h 257"/>
                <a:gd name="T20" fmla="*/ 38 w 479"/>
                <a:gd name="T21" fmla="*/ 196 h 257"/>
                <a:gd name="T22" fmla="*/ 16 w 479"/>
                <a:gd name="T23" fmla="*/ 168 h 257"/>
                <a:gd name="T24" fmla="*/ 26 w 479"/>
                <a:gd name="T25" fmla="*/ 160 h 257"/>
                <a:gd name="T26" fmla="*/ 0 w 479"/>
                <a:gd name="T27" fmla="*/ 156 h 257"/>
                <a:gd name="T28" fmla="*/ 16 w 479"/>
                <a:gd name="T29" fmla="*/ 144 h 257"/>
                <a:gd name="T30" fmla="*/ 33 w 479"/>
                <a:gd name="T31" fmla="*/ 144 h 257"/>
                <a:gd name="T32" fmla="*/ 26 w 479"/>
                <a:gd name="T33" fmla="*/ 123 h 257"/>
                <a:gd name="T34" fmla="*/ 33 w 479"/>
                <a:gd name="T35" fmla="*/ 123 h 257"/>
                <a:gd name="T36" fmla="*/ 33 w 479"/>
                <a:gd name="T37" fmla="*/ 106 h 257"/>
                <a:gd name="T38" fmla="*/ 49 w 479"/>
                <a:gd name="T39" fmla="*/ 99 h 257"/>
                <a:gd name="T40" fmla="*/ 33 w 479"/>
                <a:gd name="T41" fmla="*/ 83 h 257"/>
                <a:gd name="T42" fmla="*/ 38 w 479"/>
                <a:gd name="T43" fmla="*/ 73 h 257"/>
                <a:gd name="T44" fmla="*/ 49 w 479"/>
                <a:gd name="T45" fmla="*/ 83 h 257"/>
                <a:gd name="T46" fmla="*/ 71 w 479"/>
                <a:gd name="T47" fmla="*/ 83 h 257"/>
                <a:gd name="T48" fmla="*/ 80 w 479"/>
                <a:gd name="T49" fmla="*/ 49 h 257"/>
                <a:gd name="T50" fmla="*/ 92 w 479"/>
                <a:gd name="T51" fmla="*/ 49 h 257"/>
                <a:gd name="T52" fmla="*/ 125 w 479"/>
                <a:gd name="T53" fmla="*/ 73 h 257"/>
                <a:gd name="T54" fmla="*/ 156 w 479"/>
                <a:gd name="T55" fmla="*/ 73 h 257"/>
                <a:gd name="T56" fmla="*/ 194 w 479"/>
                <a:gd name="T57" fmla="*/ 66 h 257"/>
                <a:gd name="T58" fmla="*/ 194 w 479"/>
                <a:gd name="T59" fmla="*/ 54 h 257"/>
                <a:gd name="T60" fmla="*/ 210 w 479"/>
                <a:gd name="T61" fmla="*/ 49 h 257"/>
                <a:gd name="T62" fmla="*/ 243 w 479"/>
                <a:gd name="T63" fmla="*/ 45 h 257"/>
                <a:gd name="T64" fmla="*/ 248 w 479"/>
                <a:gd name="T65" fmla="*/ 33 h 257"/>
                <a:gd name="T66" fmla="*/ 269 w 479"/>
                <a:gd name="T67" fmla="*/ 45 h 257"/>
                <a:gd name="T68" fmla="*/ 302 w 479"/>
                <a:gd name="T69" fmla="*/ 28 h 257"/>
                <a:gd name="T70" fmla="*/ 319 w 479"/>
                <a:gd name="T71" fmla="*/ 0 h 257"/>
                <a:gd name="T72" fmla="*/ 323 w 479"/>
                <a:gd name="T73" fmla="*/ 0 h 257"/>
                <a:gd name="T74" fmla="*/ 357 w 479"/>
                <a:gd name="T75" fmla="*/ 0 h 257"/>
                <a:gd name="T76" fmla="*/ 378 w 479"/>
                <a:gd name="T77" fmla="*/ 0 h 257"/>
                <a:gd name="T78" fmla="*/ 404 w 479"/>
                <a:gd name="T79" fmla="*/ 16 h 257"/>
                <a:gd name="T80" fmla="*/ 427 w 479"/>
                <a:gd name="T81" fmla="*/ 16 h 257"/>
                <a:gd name="T82" fmla="*/ 432 w 479"/>
                <a:gd name="T83" fmla="*/ 16 h 257"/>
                <a:gd name="T84" fmla="*/ 465 w 479"/>
                <a:gd name="T85" fmla="*/ 45 h 257"/>
                <a:gd name="T86" fmla="*/ 475 w 479"/>
                <a:gd name="T87" fmla="*/ 45 h 257"/>
                <a:gd name="T88" fmla="*/ 479 w 479"/>
                <a:gd name="T89" fmla="*/ 54 h 257"/>
                <a:gd name="T90" fmla="*/ 465 w 479"/>
                <a:gd name="T91" fmla="*/ 73 h 257"/>
                <a:gd name="T92" fmla="*/ 442 w 479"/>
                <a:gd name="T93" fmla="*/ 83 h 257"/>
                <a:gd name="T94" fmla="*/ 420 w 479"/>
                <a:gd name="T95" fmla="*/ 99 h 257"/>
                <a:gd name="T96" fmla="*/ 420 w 479"/>
                <a:gd name="T97" fmla="*/ 111 h 257"/>
                <a:gd name="T98" fmla="*/ 394 w 479"/>
                <a:gd name="T99" fmla="*/ 144 h 257"/>
                <a:gd name="T100" fmla="*/ 390 w 479"/>
                <a:gd name="T101" fmla="*/ 168 h 257"/>
                <a:gd name="T102" fmla="*/ 373 w 479"/>
                <a:gd name="T103" fmla="*/ 179 h 257"/>
                <a:gd name="T104" fmla="*/ 366 w 479"/>
                <a:gd name="T105" fmla="*/ 212 h 257"/>
                <a:gd name="T106" fmla="*/ 335 w 479"/>
                <a:gd name="T107" fmla="*/ 212 h 257"/>
                <a:gd name="T108" fmla="*/ 323 w 479"/>
                <a:gd name="T109" fmla="*/ 224 h 257"/>
                <a:gd name="T110" fmla="*/ 314 w 479"/>
                <a:gd name="T111" fmla="*/ 217 h 257"/>
                <a:gd name="T112" fmla="*/ 298 w 479"/>
                <a:gd name="T113" fmla="*/ 224 h 257"/>
                <a:gd name="T114" fmla="*/ 298 w 479"/>
                <a:gd name="T115" fmla="*/ 224 h 257"/>
                <a:gd name="T116" fmla="*/ 298 w 479"/>
                <a:gd name="T117" fmla="*/ 224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9" h="257">
                  <a:moveTo>
                    <a:pt x="298" y="224"/>
                  </a:moveTo>
                  <a:lnTo>
                    <a:pt x="248" y="217"/>
                  </a:lnTo>
                  <a:lnTo>
                    <a:pt x="227" y="234"/>
                  </a:lnTo>
                  <a:lnTo>
                    <a:pt x="215" y="234"/>
                  </a:lnTo>
                  <a:lnTo>
                    <a:pt x="194" y="241"/>
                  </a:lnTo>
                  <a:lnTo>
                    <a:pt x="163" y="257"/>
                  </a:lnTo>
                  <a:lnTo>
                    <a:pt x="118" y="250"/>
                  </a:lnTo>
                  <a:lnTo>
                    <a:pt x="109" y="241"/>
                  </a:lnTo>
                  <a:lnTo>
                    <a:pt x="87" y="241"/>
                  </a:lnTo>
                  <a:lnTo>
                    <a:pt x="80" y="217"/>
                  </a:lnTo>
                  <a:lnTo>
                    <a:pt x="38" y="196"/>
                  </a:lnTo>
                  <a:lnTo>
                    <a:pt x="16" y="168"/>
                  </a:lnTo>
                  <a:lnTo>
                    <a:pt x="26" y="160"/>
                  </a:lnTo>
                  <a:lnTo>
                    <a:pt x="0" y="156"/>
                  </a:lnTo>
                  <a:lnTo>
                    <a:pt x="16" y="144"/>
                  </a:lnTo>
                  <a:lnTo>
                    <a:pt x="33" y="144"/>
                  </a:lnTo>
                  <a:lnTo>
                    <a:pt x="26" y="123"/>
                  </a:lnTo>
                  <a:lnTo>
                    <a:pt x="33" y="123"/>
                  </a:lnTo>
                  <a:lnTo>
                    <a:pt x="33" y="106"/>
                  </a:lnTo>
                  <a:lnTo>
                    <a:pt x="49" y="99"/>
                  </a:lnTo>
                  <a:lnTo>
                    <a:pt x="33" y="83"/>
                  </a:lnTo>
                  <a:lnTo>
                    <a:pt x="38" y="73"/>
                  </a:lnTo>
                  <a:lnTo>
                    <a:pt x="49" y="83"/>
                  </a:lnTo>
                  <a:lnTo>
                    <a:pt x="71" y="83"/>
                  </a:lnTo>
                  <a:lnTo>
                    <a:pt x="80" y="49"/>
                  </a:lnTo>
                  <a:lnTo>
                    <a:pt x="92" y="49"/>
                  </a:lnTo>
                  <a:lnTo>
                    <a:pt x="125" y="73"/>
                  </a:lnTo>
                  <a:lnTo>
                    <a:pt x="156" y="73"/>
                  </a:lnTo>
                  <a:lnTo>
                    <a:pt x="194" y="66"/>
                  </a:lnTo>
                  <a:lnTo>
                    <a:pt x="194" y="54"/>
                  </a:lnTo>
                  <a:lnTo>
                    <a:pt x="210" y="49"/>
                  </a:lnTo>
                  <a:lnTo>
                    <a:pt x="243" y="45"/>
                  </a:lnTo>
                  <a:lnTo>
                    <a:pt x="248" y="33"/>
                  </a:lnTo>
                  <a:lnTo>
                    <a:pt x="269" y="45"/>
                  </a:lnTo>
                  <a:lnTo>
                    <a:pt x="302" y="28"/>
                  </a:lnTo>
                  <a:lnTo>
                    <a:pt x="319" y="0"/>
                  </a:lnTo>
                  <a:lnTo>
                    <a:pt x="323" y="0"/>
                  </a:lnTo>
                  <a:lnTo>
                    <a:pt x="357" y="0"/>
                  </a:lnTo>
                  <a:lnTo>
                    <a:pt x="378" y="0"/>
                  </a:lnTo>
                  <a:lnTo>
                    <a:pt x="404" y="16"/>
                  </a:lnTo>
                  <a:lnTo>
                    <a:pt x="427" y="16"/>
                  </a:lnTo>
                  <a:lnTo>
                    <a:pt x="432" y="16"/>
                  </a:lnTo>
                  <a:lnTo>
                    <a:pt x="465" y="45"/>
                  </a:lnTo>
                  <a:lnTo>
                    <a:pt x="475" y="45"/>
                  </a:lnTo>
                  <a:lnTo>
                    <a:pt x="479" y="54"/>
                  </a:lnTo>
                  <a:lnTo>
                    <a:pt x="465" y="73"/>
                  </a:lnTo>
                  <a:lnTo>
                    <a:pt x="442" y="83"/>
                  </a:lnTo>
                  <a:lnTo>
                    <a:pt x="420" y="99"/>
                  </a:lnTo>
                  <a:lnTo>
                    <a:pt x="420" y="111"/>
                  </a:lnTo>
                  <a:lnTo>
                    <a:pt x="394" y="144"/>
                  </a:lnTo>
                  <a:lnTo>
                    <a:pt x="390" y="168"/>
                  </a:lnTo>
                  <a:lnTo>
                    <a:pt x="373" y="179"/>
                  </a:lnTo>
                  <a:lnTo>
                    <a:pt x="366" y="212"/>
                  </a:lnTo>
                  <a:lnTo>
                    <a:pt x="335" y="212"/>
                  </a:lnTo>
                  <a:lnTo>
                    <a:pt x="323" y="224"/>
                  </a:lnTo>
                  <a:lnTo>
                    <a:pt x="314" y="217"/>
                  </a:lnTo>
                  <a:lnTo>
                    <a:pt x="298" y="224"/>
                  </a:lnTo>
                  <a:lnTo>
                    <a:pt x="298" y="224"/>
                  </a:lnTo>
                  <a:lnTo>
                    <a:pt x="298" y="224"/>
                  </a:lnTo>
                  <a:close/>
                </a:path>
              </a:pathLst>
            </a:custGeom>
            <a:pattFill prst="lt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9" name="Freeform 466">
              <a:extLst>
                <a:ext uri="{FF2B5EF4-FFF2-40B4-BE49-F238E27FC236}">
                  <a16:creationId xmlns:a16="http://schemas.microsoft.com/office/drawing/2014/main" id="{277576DD-AEB1-496E-B307-CC606A69F18D}"/>
                </a:ext>
              </a:extLst>
            </p:cNvPr>
            <p:cNvSpPr>
              <a:spLocks/>
            </p:cNvSpPr>
            <p:nvPr/>
          </p:nvSpPr>
          <p:spPr bwMode="gray">
            <a:xfrm>
              <a:off x="4922936" y="1787001"/>
              <a:ext cx="382045" cy="184610"/>
            </a:xfrm>
            <a:custGeom>
              <a:avLst/>
              <a:gdLst>
                <a:gd name="T0" fmla="*/ 215 w 772"/>
                <a:gd name="T1" fmla="*/ 241 h 373"/>
                <a:gd name="T2" fmla="*/ 160 w 772"/>
                <a:gd name="T3" fmla="*/ 250 h 373"/>
                <a:gd name="T4" fmla="*/ 156 w 772"/>
                <a:gd name="T5" fmla="*/ 224 h 373"/>
                <a:gd name="T6" fmla="*/ 47 w 772"/>
                <a:gd name="T7" fmla="*/ 224 h 373"/>
                <a:gd name="T8" fmla="*/ 90 w 772"/>
                <a:gd name="T9" fmla="*/ 184 h 373"/>
                <a:gd name="T10" fmla="*/ 172 w 772"/>
                <a:gd name="T11" fmla="*/ 179 h 373"/>
                <a:gd name="T12" fmla="*/ 156 w 772"/>
                <a:gd name="T13" fmla="*/ 127 h 373"/>
                <a:gd name="T14" fmla="*/ 101 w 772"/>
                <a:gd name="T15" fmla="*/ 123 h 373"/>
                <a:gd name="T16" fmla="*/ 14 w 772"/>
                <a:gd name="T17" fmla="*/ 111 h 373"/>
                <a:gd name="T18" fmla="*/ 52 w 772"/>
                <a:gd name="T19" fmla="*/ 111 h 373"/>
                <a:gd name="T20" fmla="*/ 68 w 772"/>
                <a:gd name="T21" fmla="*/ 111 h 373"/>
                <a:gd name="T22" fmla="*/ 90 w 772"/>
                <a:gd name="T23" fmla="*/ 94 h 373"/>
                <a:gd name="T24" fmla="*/ 52 w 772"/>
                <a:gd name="T25" fmla="*/ 85 h 373"/>
                <a:gd name="T26" fmla="*/ 52 w 772"/>
                <a:gd name="T27" fmla="*/ 68 h 373"/>
                <a:gd name="T28" fmla="*/ 75 w 772"/>
                <a:gd name="T29" fmla="*/ 49 h 373"/>
                <a:gd name="T30" fmla="*/ 139 w 772"/>
                <a:gd name="T31" fmla="*/ 73 h 373"/>
                <a:gd name="T32" fmla="*/ 144 w 772"/>
                <a:gd name="T33" fmla="*/ 90 h 373"/>
                <a:gd name="T34" fmla="*/ 106 w 772"/>
                <a:gd name="T35" fmla="*/ 40 h 373"/>
                <a:gd name="T36" fmla="*/ 106 w 772"/>
                <a:gd name="T37" fmla="*/ 16 h 373"/>
                <a:gd name="T38" fmla="*/ 194 w 772"/>
                <a:gd name="T39" fmla="*/ 49 h 373"/>
                <a:gd name="T40" fmla="*/ 210 w 772"/>
                <a:gd name="T41" fmla="*/ 73 h 373"/>
                <a:gd name="T42" fmla="*/ 210 w 772"/>
                <a:gd name="T43" fmla="*/ 106 h 373"/>
                <a:gd name="T44" fmla="*/ 227 w 772"/>
                <a:gd name="T45" fmla="*/ 123 h 373"/>
                <a:gd name="T46" fmla="*/ 248 w 772"/>
                <a:gd name="T47" fmla="*/ 139 h 373"/>
                <a:gd name="T48" fmla="*/ 269 w 772"/>
                <a:gd name="T49" fmla="*/ 123 h 373"/>
                <a:gd name="T50" fmla="*/ 302 w 772"/>
                <a:gd name="T51" fmla="*/ 94 h 373"/>
                <a:gd name="T52" fmla="*/ 345 w 772"/>
                <a:gd name="T53" fmla="*/ 94 h 373"/>
                <a:gd name="T54" fmla="*/ 354 w 772"/>
                <a:gd name="T55" fmla="*/ 73 h 373"/>
                <a:gd name="T56" fmla="*/ 387 w 772"/>
                <a:gd name="T57" fmla="*/ 49 h 373"/>
                <a:gd name="T58" fmla="*/ 425 w 772"/>
                <a:gd name="T59" fmla="*/ 73 h 373"/>
                <a:gd name="T60" fmla="*/ 453 w 772"/>
                <a:gd name="T61" fmla="*/ 90 h 373"/>
                <a:gd name="T62" fmla="*/ 463 w 772"/>
                <a:gd name="T63" fmla="*/ 49 h 373"/>
                <a:gd name="T64" fmla="*/ 517 w 772"/>
                <a:gd name="T65" fmla="*/ 40 h 373"/>
                <a:gd name="T66" fmla="*/ 571 w 772"/>
                <a:gd name="T67" fmla="*/ 33 h 373"/>
                <a:gd name="T68" fmla="*/ 614 w 772"/>
                <a:gd name="T69" fmla="*/ 28 h 373"/>
                <a:gd name="T70" fmla="*/ 668 w 772"/>
                <a:gd name="T71" fmla="*/ 28 h 373"/>
                <a:gd name="T72" fmla="*/ 668 w 772"/>
                <a:gd name="T73" fmla="*/ 49 h 373"/>
                <a:gd name="T74" fmla="*/ 680 w 772"/>
                <a:gd name="T75" fmla="*/ 106 h 373"/>
                <a:gd name="T76" fmla="*/ 701 w 772"/>
                <a:gd name="T77" fmla="*/ 127 h 373"/>
                <a:gd name="T78" fmla="*/ 765 w 772"/>
                <a:gd name="T79" fmla="*/ 127 h 373"/>
                <a:gd name="T80" fmla="*/ 734 w 772"/>
                <a:gd name="T81" fmla="*/ 168 h 373"/>
                <a:gd name="T82" fmla="*/ 765 w 772"/>
                <a:gd name="T83" fmla="*/ 196 h 373"/>
                <a:gd name="T84" fmla="*/ 734 w 772"/>
                <a:gd name="T85" fmla="*/ 196 h 373"/>
                <a:gd name="T86" fmla="*/ 739 w 772"/>
                <a:gd name="T87" fmla="*/ 224 h 373"/>
                <a:gd name="T88" fmla="*/ 711 w 772"/>
                <a:gd name="T89" fmla="*/ 224 h 373"/>
                <a:gd name="T90" fmla="*/ 701 w 772"/>
                <a:gd name="T91" fmla="*/ 257 h 373"/>
                <a:gd name="T92" fmla="*/ 642 w 772"/>
                <a:gd name="T93" fmla="*/ 262 h 373"/>
                <a:gd name="T94" fmla="*/ 560 w 772"/>
                <a:gd name="T95" fmla="*/ 319 h 373"/>
                <a:gd name="T96" fmla="*/ 522 w 772"/>
                <a:gd name="T97" fmla="*/ 328 h 373"/>
                <a:gd name="T98" fmla="*/ 468 w 772"/>
                <a:gd name="T99" fmla="*/ 352 h 373"/>
                <a:gd name="T100" fmla="*/ 302 w 772"/>
                <a:gd name="T101" fmla="*/ 364 h 373"/>
                <a:gd name="T102" fmla="*/ 290 w 772"/>
                <a:gd name="T103" fmla="*/ 335 h 373"/>
                <a:gd name="T104" fmla="*/ 279 w 772"/>
                <a:gd name="T105" fmla="*/ 328 h 373"/>
                <a:gd name="T106" fmla="*/ 231 w 772"/>
                <a:gd name="T107" fmla="*/ 319 h 373"/>
                <a:gd name="T108" fmla="*/ 123 w 772"/>
                <a:gd name="T109" fmla="*/ 328 h 373"/>
                <a:gd name="T110" fmla="*/ 177 w 772"/>
                <a:gd name="T111" fmla="*/ 295 h 373"/>
                <a:gd name="T112" fmla="*/ 198 w 772"/>
                <a:gd name="T113" fmla="*/ 279 h 373"/>
                <a:gd name="T114" fmla="*/ 227 w 772"/>
                <a:gd name="T115" fmla="*/ 262 h 373"/>
                <a:gd name="T116" fmla="*/ 177 w 772"/>
                <a:gd name="T117" fmla="*/ 257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72" h="373">
                  <a:moveTo>
                    <a:pt x="177" y="257"/>
                  </a:moveTo>
                  <a:lnTo>
                    <a:pt x="198" y="234"/>
                  </a:lnTo>
                  <a:lnTo>
                    <a:pt x="215" y="241"/>
                  </a:lnTo>
                  <a:lnTo>
                    <a:pt x="198" y="234"/>
                  </a:lnTo>
                  <a:lnTo>
                    <a:pt x="210" y="234"/>
                  </a:lnTo>
                  <a:lnTo>
                    <a:pt x="160" y="250"/>
                  </a:lnTo>
                  <a:lnTo>
                    <a:pt x="156" y="241"/>
                  </a:lnTo>
                  <a:lnTo>
                    <a:pt x="144" y="234"/>
                  </a:lnTo>
                  <a:lnTo>
                    <a:pt x="156" y="224"/>
                  </a:lnTo>
                  <a:lnTo>
                    <a:pt x="144" y="208"/>
                  </a:lnTo>
                  <a:lnTo>
                    <a:pt x="75" y="208"/>
                  </a:lnTo>
                  <a:lnTo>
                    <a:pt x="47" y="224"/>
                  </a:lnTo>
                  <a:lnTo>
                    <a:pt x="31" y="201"/>
                  </a:lnTo>
                  <a:lnTo>
                    <a:pt x="64" y="201"/>
                  </a:lnTo>
                  <a:lnTo>
                    <a:pt x="90" y="184"/>
                  </a:lnTo>
                  <a:lnTo>
                    <a:pt x="182" y="184"/>
                  </a:lnTo>
                  <a:lnTo>
                    <a:pt x="194" y="163"/>
                  </a:lnTo>
                  <a:lnTo>
                    <a:pt x="172" y="179"/>
                  </a:lnTo>
                  <a:lnTo>
                    <a:pt x="139" y="168"/>
                  </a:lnTo>
                  <a:lnTo>
                    <a:pt x="198" y="139"/>
                  </a:lnTo>
                  <a:lnTo>
                    <a:pt x="156" y="127"/>
                  </a:lnTo>
                  <a:lnTo>
                    <a:pt x="172" y="123"/>
                  </a:lnTo>
                  <a:lnTo>
                    <a:pt x="144" y="127"/>
                  </a:lnTo>
                  <a:lnTo>
                    <a:pt x="101" y="123"/>
                  </a:lnTo>
                  <a:lnTo>
                    <a:pt x="47" y="139"/>
                  </a:lnTo>
                  <a:lnTo>
                    <a:pt x="0" y="127"/>
                  </a:lnTo>
                  <a:lnTo>
                    <a:pt x="14" y="111"/>
                  </a:lnTo>
                  <a:lnTo>
                    <a:pt x="52" y="127"/>
                  </a:lnTo>
                  <a:lnTo>
                    <a:pt x="31" y="111"/>
                  </a:lnTo>
                  <a:lnTo>
                    <a:pt x="52" y="111"/>
                  </a:lnTo>
                  <a:lnTo>
                    <a:pt x="31" y="106"/>
                  </a:lnTo>
                  <a:lnTo>
                    <a:pt x="31" y="90"/>
                  </a:lnTo>
                  <a:lnTo>
                    <a:pt x="68" y="111"/>
                  </a:lnTo>
                  <a:lnTo>
                    <a:pt x="85" y="111"/>
                  </a:lnTo>
                  <a:lnTo>
                    <a:pt x="68" y="106"/>
                  </a:lnTo>
                  <a:lnTo>
                    <a:pt x="90" y="94"/>
                  </a:lnTo>
                  <a:lnTo>
                    <a:pt x="52" y="94"/>
                  </a:lnTo>
                  <a:lnTo>
                    <a:pt x="47" y="90"/>
                  </a:lnTo>
                  <a:lnTo>
                    <a:pt x="52" y="85"/>
                  </a:lnTo>
                  <a:lnTo>
                    <a:pt x="90" y="90"/>
                  </a:lnTo>
                  <a:lnTo>
                    <a:pt x="47" y="68"/>
                  </a:lnTo>
                  <a:lnTo>
                    <a:pt x="52" y="68"/>
                  </a:lnTo>
                  <a:lnTo>
                    <a:pt x="85" y="73"/>
                  </a:lnTo>
                  <a:lnTo>
                    <a:pt x="64" y="57"/>
                  </a:lnTo>
                  <a:lnTo>
                    <a:pt x="75" y="49"/>
                  </a:lnTo>
                  <a:lnTo>
                    <a:pt x="123" y="73"/>
                  </a:lnTo>
                  <a:lnTo>
                    <a:pt x="127" y="68"/>
                  </a:lnTo>
                  <a:lnTo>
                    <a:pt x="139" y="73"/>
                  </a:lnTo>
                  <a:lnTo>
                    <a:pt x="127" y="90"/>
                  </a:lnTo>
                  <a:lnTo>
                    <a:pt x="139" y="73"/>
                  </a:lnTo>
                  <a:lnTo>
                    <a:pt x="144" y="90"/>
                  </a:lnTo>
                  <a:lnTo>
                    <a:pt x="144" y="73"/>
                  </a:lnTo>
                  <a:lnTo>
                    <a:pt x="139" y="57"/>
                  </a:lnTo>
                  <a:lnTo>
                    <a:pt x="106" y="40"/>
                  </a:lnTo>
                  <a:lnTo>
                    <a:pt x="144" y="40"/>
                  </a:lnTo>
                  <a:lnTo>
                    <a:pt x="90" y="28"/>
                  </a:lnTo>
                  <a:lnTo>
                    <a:pt x="106" y="16"/>
                  </a:lnTo>
                  <a:lnTo>
                    <a:pt x="144" y="16"/>
                  </a:lnTo>
                  <a:lnTo>
                    <a:pt x="160" y="33"/>
                  </a:lnTo>
                  <a:lnTo>
                    <a:pt x="194" y="49"/>
                  </a:lnTo>
                  <a:lnTo>
                    <a:pt x="198" y="68"/>
                  </a:lnTo>
                  <a:lnTo>
                    <a:pt x="215" y="68"/>
                  </a:lnTo>
                  <a:lnTo>
                    <a:pt x="210" y="73"/>
                  </a:lnTo>
                  <a:lnTo>
                    <a:pt x="227" y="85"/>
                  </a:lnTo>
                  <a:lnTo>
                    <a:pt x="227" y="106"/>
                  </a:lnTo>
                  <a:lnTo>
                    <a:pt x="210" y="106"/>
                  </a:lnTo>
                  <a:lnTo>
                    <a:pt x="194" y="94"/>
                  </a:lnTo>
                  <a:lnTo>
                    <a:pt x="198" y="111"/>
                  </a:lnTo>
                  <a:lnTo>
                    <a:pt x="227" y="123"/>
                  </a:lnTo>
                  <a:lnTo>
                    <a:pt x="236" y="168"/>
                  </a:lnTo>
                  <a:lnTo>
                    <a:pt x="236" y="139"/>
                  </a:lnTo>
                  <a:lnTo>
                    <a:pt x="248" y="139"/>
                  </a:lnTo>
                  <a:lnTo>
                    <a:pt x="253" y="123"/>
                  </a:lnTo>
                  <a:lnTo>
                    <a:pt x="269" y="106"/>
                  </a:lnTo>
                  <a:lnTo>
                    <a:pt x="269" y="123"/>
                  </a:lnTo>
                  <a:lnTo>
                    <a:pt x="286" y="127"/>
                  </a:lnTo>
                  <a:lnTo>
                    <a:pt x="290" y="111"/>
                  </a:lnTo>
                  <a:lnTo>
                    <a:pt x="302" y="94"/>
                  </a:lnTo>
                  <a:lnTo>
                    <a:pt x="286" y="57"/>
                  </a:lnTo>
                  <a:lnTo>
                    <a:pt x="307" y="57"/>
                  </a:lnTo>
                  <a:lnTo>
                    <a:pt x="345" y="94"/>
                  </a:lnTo>
                  <a:lnTo>
                    <a:pt x="354" y="106"/>
                  </a:lnTo>
                  <a:lnTo>
                    <a:pt x="361" y="90"/>
                  </a:lnTo>
                  <a:lnTo>
                    <a:pt x="354" y="73"/>
                  </a:lnTo>
                  <a:lnTo>
                    <a:pt x="354" y="68"/>
                  </a:lnTo>
                  <a:lnTo>
                    <a:pt x="387" y="57"/>
                  </a:lnTo>
                  <a:lnTo>
                    <a:pt x="387" y="49"/>
                  </a:lnTo>
                  <a:lnTo>
                    <a:pt x="399" y="49"/>
                  </a:lnTo>
                  <a:lnTo>
                    <a:pt x="416" y="57"/>
                  </a:lnTo>
                  <a:lnTo>
                    <a:pt x="425" y="73"/>
                  </a:lnTo>
                  <a:lnTo>
                    <a:pt x="442" y="85"/>
                  </a:lnTo>
                  <a:lnTo>
                    <a:pt x="453" y="111"/>
                  </a:lnTo>
                  <a:lnTo>
                    <a:pt x="453" y="90"/>
                  </a:lnTo>
                  <a:lnTo>
                    <a:pt x="442" y="68"/>
                  </a:lnTo>
                  <a:lnTo>
                    <a:pt x="442" y="49"/>
                  </a:lnTo>
                  <a:lnTo>
                    <a:pt x="463" y="49"/>
                  </a:lnTo>
                  <a:lnTo>
                    <a:pt x="484" y="73"/>
                  </a:lnTo>
                  <a:lnTo>
                    <a:pt x="501" y="73"/>
                  </a:lnTo>
                  <a:lnTo>
                    <a:pt x="517" y="40"/>
                  </a:lnTo>
                  <a:lnTo>
                    <a:pt x="555" y="57"/>
                  </a:lnTo>
                  <a:lnTo>
                    <a:pt x="550" y="49"/>
                  </a:lnTo>
                  <a:lnTo>
                    <a:pt x="571" y="33"/>
                  </a:lnTo>
                  <a:lnTo>
                    <a:pt x="555" y="12"/>
                  </a:lnTo>
                  <a:lnTo>
                    <a:pt x="593" y="0"/>
                  </a:lnTo>
                  <a:lnTo>
                    <a:pt x="614" y="28"/>
                  </a:lnTo>
                  <a:lnTo>
                    <a:pt x="614" y="40"/>
                  </a:lnTo>
                  <a:lnTo>
                    <a:pt x="642" y="49"/>
                  </a:lnTo>
                  <a:lnTo>
                    <a:pt x="668" y="28"/>
                  </a:lnTo>
                  <a:lnTo>
                    <a:pt x="685" y="28"/>
                  </a:lnTo>
                  <a:lnTo>
                    <a:pt x="668" y="33"/>
                  </a:lnTo>
                  <a:lnTo>
                    <a:pt x="668" y="49"/>
                  </a:lnTo>
                  <a:lnTo>
                    <a:pt x="657" y="57"/>
                  </a:lnTo>
                  <a:lnTo>
                    <a:pt x="697" y="73"/>
                  </a:lnTo>
                  <a:lnTo>
                    <a:pt x="680" y="106"/>
                  </a:lnTo>
                  <a:lnTo>
                    <a:pt x="718" y="94"/>
                  </a:lnTo>
                  <a:lnTo>
                    <a:pt x="718" y="111"/>
                  </a:lnTo>
                  <a:lnTo>
                    <a:pt x="701" y="127"/>
                  </a:lnTo>
                  <a:lnTo>
                    <a:pt x="718" y="111"/>
                  </a:lnTo>
                  <a:lnTo>
                    <a:pt x="765" y="123"/>
                  </a:lnTo>
                  <a:lnTo>
                    <a:pt x="765" y="127"/>
                  </a:lnTo>
                  <a:lnTo>
                    <a:pt x="756" y="151"/>
                  </a:lnTo>
                  <a:lnTo>
                    <a:pt x="772" y="163"/>
                  </a:lnTo>
                  <a:lnTo>
                    <a:pt x="734" y="168"/>
                  </a:lnTo>
                  <a:lnTo>
                    <a:pt x="765" y="168"/>
                  </a:lnTo>
                  <a:lnTo>
                    <a:pt x="772" y="179"/>
                  </a:lnTo>
                  <a:lnTo>
                    <a:pt x="765" y="196"/>
                  </a:lnTo>
                  <a:lnTo>
                    <a:pt x="739" y="179"/>
                  </a:lnTo>
                  <a:lnTo>
                    <a:pt x="756" y="201"/>
                  </a:lnTo>
                  <a:lnTo>
                    <a:pt x="734" y="196"/>
                  </a:lnTo>
                  <a:lnTo>
                    <a:pt x="756" y="201"/>
                  </a:lnTo>
                  <a:lnTo>
                    <a:pt x="734" y="217"/>
                  </a:lnTo>
                  <a:lnTo>
                    <a:pt x="739" y="224"/>
                  </a:lnTo>
                  <a:lnTo>
                    <a:pt x="718" y="224"/>
                  </a:lnTo>
                  <a:lnTo>
                    <a:pt x="701" y="208"/>
                  </a:lnTo>
                  <a:lnTo>
                    <a:pt x="711" y="224"/>
                  </a:lnTo>
                  <a:lnTo>
                    <a:pt x="697" y="241"/>
                  </a:lnTo>
                  <a:lnTo>
                    <a:pt x="711" y="241"/>
                  </a:lnTo>
                  <a:lnTo>
                    <a:pt x="701" y="257"/>
                  </a:lnTo>
                  <a:lnTo>
                    <a:pt x="685" y="257"/>
                  </a:lnTo>
                  <a:lnTo>
                    <a:pt x="668" y="274"/>
                  </a:lnTo>
                  <a:lnTo>
                    <a:pt x="642" y="262"/>
                  </a:lnTo>
                  <a:lnTo>
                    <a:pt x="642" y="274"/>
                  </a:lnTo>
                  <a:lnTo>
                    <a:pt x="593" y="290"/>
                  </a:lnTo>
                  <a:lnTo>
                    <a:pt x="560" y="319"/>
                  </a:lnTo>
                  <a:lnTo>
                    <a:pt x="538" y="328"/>
                  </a:lnTo>
                  <a:lnTo>
                    <a:pt x="534" y="312"/>
                  </a:lnTo>
                  <a:lnTo>
                    <a:pt x="522" y="328"/>
                  </a:lnTo>
                  <a:lnTo>
                    <a:pt x="468" y="335"/>
                  </a:lnTo>
                  <a:lnTo>
                    <a:pt x="463" y="345"/>
                  </a:lnTo>
                  <a:lnTo>
                    <a:pt x="468" y="352"/>
                  </a:lnTo>
                  <a:lnTo>
                    <a:pt x="463" y="364"/>
                  </a:lnTo>
                  <a:lnTo>
                    <a:pt x="408" y="373"/>
                  </a:lnTo>
                  <a:lnTo>
                    <a:pt x="302" y="364"/>
                  </a:lnTo>
                  <a:lnTo>
                    <a:pt x="279" y="335"/>
                  </a:lnTo>
                  <a:lnTo>
                    <a:pt x="290" y="335"/>
                  </a:lnTo>
                  <a:lnTo>
                    <a:pt x="290" y="335"/>
                  </a:lnTo>
                  <a:lnTo>
                    <a:pt x="279" y="335"/>
                  </a:lnTo>
                  <a:lnTo>
                    <a:pt x="269" y="335"/>
                  </a:lnTo>
                  <a:lnTo>
                    <a:pt x="279" y="328"/>
                  </a:lnTo>
                  <a:lnTo>
                    <a:pt x="269" y="319"/>
                  </a:lnTo>
                  <a:lnTo>
                    <a:pt x="253" y="328"/>
                  </a:lnTo>
                  <a:lnTo>
                    <a:pt x="231" y="319"/>
                  </a:lnTo>
                  <a:lnTo>
                    <a:pt x="248" y="312"/>
                  </a:lnTo>
                  <a:lnTo>
                    <a:pt x="198" y="328"/>
                  </a:lnTo>
                  <a:lnTo>
                    <a:pt x="123" y="328"/>
                  </a:lnTo>
                  <a:lnTo>
                    <a:pt x="127" y="295"/>
                  </a:lnTo>
                  <a:lnTo>
                    <a:pt x="139" y="307"/>
                  </a:lnTo>
                  <a:lnTo>
                    <a:pt x="177" y="295"/>
                  </a:lnTo>
                  <a:lnTo>
                    <a:pt x="182" y="295"/>
                  </a:lnTo>
                  <a:lnTo>
                    <a:pt x="177" y="290"/>
                  </a:lnTo>
                  <a:lnTo>
                    <a:pt x="198" y="279"/>
                  </a:lnTo>
                  <a:lnTo>
                    <a:pt x="182" y="279"/>
                  </a:lnTo>
                  <a:lnTo>
                    <a:pt x="194" y="262"/>
                  </a:lnTo>
                  <a:lnTo>
                    <a:pt x="227" y="262"/>
                  </a:lnTo>
                  <a:lnTo>
                    <a:pt x="172" y="274"/>
                  </a:lnTo>
                  <a:lnTo>
                    <a:pt x="177" y="257"/>
                  </a:lnTo>
                  <a:lnTo>
                    <a:pt x="177" y="257"/>
                  </a:lnTo>
                  <a:lnTo>
                    <a:pt x="177" y="257"/>
                  </a:lnTo>
                  <a:close/>
                </a:path>
              </a:pathLst>
            </a:custGeom>
            <a:pattFill prst="dk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0" name="Freeform 467">
              <a:extLst>
                <a:ext uri="{FF2B5EF4-FFF2-40B4-BE49-F238E27FC236}">
                  <a16:creationId xmlns:a16="http://schemas.microsoft.com/office/drawing/2014/main" id="{7CB492FF-6BC9-4FB2-9076-ED22E7EA8D8E}"/>
                </a:ext>
              </a:extLst>
            </p:cNvPr>
            <p:cNvSpPr>
              <a:spLocks noEditPoints="1"/>
            </p:cNvSpPr>
            <p:nvPr/>
          </p:nvSpPr>
          <p:spPr bwMode="gray">
            <a:xfrm>
              <a:off x="9080892" y="4390344"/>
              <a:ext cx="1590039" cy="602332"/>
            </a:xfrm>
            <a:custGeom>
              <a:avLst/>
              <a:gdLst>
                <a:gd name="T0" fmla="*/ 647 w 3213"/>
                <a:gd name="T1" fmla="*/ 629 h 1217"/>
                <a:gd name="T2" fmla="*/ 392 w 3213"/>
                <a:gd name="T3" fmla="*/ 600 h 1217"/>
                <a:gd name="T4" fmla="*/ 123 w 3213"/>
                <a:gd name="T5" fmla="*/ 52 h 1217"/>
                <a:gd name="T6" fmla="*/ 2213 w 3213"/>
                <a:gd name="T7" fmla="*/ 123 h 1217"/>
                <a:gd name="T8" fmla="*/ 1403 w 3213"/>
                <a:gd name="T9" fmla="*/ 206 h 1217"/>
                <a:gd name="T10" fmla="*/ 1592 w 3213"/>
                <a:gd name="T11" fmla="*/ 345 h 1217"/>
                <a:gd name="T12" fmla="*/ 1365 w 3213"/>
                <a:gd name="T13" fmla="*/ 733 h 1217"/>
                <a:gd name="T14" fmla="*/ 1042 w 3213"/>
                <a:gd name="T15" fmla="*/ 527 h 1217"/>
                <a:gd name="T16" fmla="*/ 895 w 3213"/>
                <a:gd name="T17" fmla="*/ 152 h 1217"/>
                <a:gd name="T18" fmla="*/ 1545 w 3213"/>
                <a:gd name="T19" fmla="*/ 180 h 1217"/>
                <a:gd name="T20" fmla="*/ 735 w 3213"/>
                <a:gd name="T21" fmla="*/ 222 h 1217"/>
                <a:gd name="T22" fmla="*/ 2332 w 3213"/>
                <a:gd name="T23" fmla="*/ 279 h 1217"/>
                <a:gd name="T24" fmla="*/ 2284 w 3213"/>
                <a:gd name="T25" fmla="*/ 456 h 1217"/>
                <a:gd name="T26" fmla="*/ 1852 w 3213"/>
                <a:gd name="T27" fmla="*/ 723 h 1217"/>
                <a:gd name="T28" fmla="*/ 1651 w 3213"/>
                <a:gd name="T29" fmla="*/ 629 h 1217"/>
                <a:gd name="T30" fmla="*/ 1906 w 3213"/>
                <a:gd name="T31" fmla="*/ 362 h 1217"/>
                <a:gd name="T32" fmla="*/ 1781 w 3213"/>
                <a:gd name="T33" fmla="*/ 527 h 1217"/>
                <a:gd name="T34" fmla="*/ 1890 w 3213"/>
                <a:gd name="T35" fmla="*/ 666 h 1217"/>
                <a:gd name="T36" fmla="*/ 2105 w 3213"/>
                <a:gd name="T37" fmla="*/ 317 h 1217"/>
                <a:gd name="T38" fmla="*/ 610 w 3213"/>
                <a:gd name="T39" fmla="*/ 350 h 1217"/>
                <a:gd name="T40" fmla="*/ 605 w 3213"/>
                <a:gd name="T41" fmla="*/ 350 h 1217"/>
                <a:gd name="T42" fmla="*/ 555 w 3213"/>
                <a:gd name="T43" fmla="*/ 378 h 1217"/>
                <a:gd name="T44" fmla="*/ 232 w 3213"/>
                <a:gd name="T45" fmla="*/ 456 h 1217"/>
                <a:gd name="T46" fmla="*/ 593 w 3213"/>
                <a:gd name="T47" fmla="*/ 444 h 1217"/>
                <a:gd name="T48" fmla="*/ 2284 w 3213"/>
                <a:gd name="T49" fmla="*/ 478 h 1217"/>
                <a:gd name="T50" fmla="*/ 3149 w 3213"/>
                <a:gd name="T51" fmla="*/ 995 h 1217"/>
                <a:gd name="T52" fmla="*/ 2787 w 3213"/>
                <a:gd name="T53" fmla="*/ 711 h 1217"/>
                <a:gd name="T54" fmla="*/ 2575 w 3213"/>
                <a:gd name="T55" fmla="*/ 629 h 1217"/>
                <a:gd name="T56" fmla="*/ 2587 w 3213"/>
                <a:gd name="T57" fmla="*/ 461 h 1217"/>
                <a:gd name="T58" fmla="*/ 3149 w 3213"/>
                <a:gd name="T59" fmla="*/ 600 h 1217"/>
                <a:gd name="T60" fmla="*/ 2872 w 3213"/>
                <a:gd name="T61" fmla="*/ 518 h 1217"/>
                <a:gd name="T62" fmla="*/ 236 w 3213"/>
                <a:gd name="T63" fmla="*/ 494 h 1217"/>
                <a:gd name="T64" fmla="*/ 1954 w 3213"/>
                <a:gd name="T65" fmla="*/ 527 h 1217"/>
                <a:gd name="T66" fmla="*/ 749 w 3213"/>
                <a:gd name="T67" fmla="*/ 629 h 1217"/>
                <a:gd name="T68" fmla="*/ 2894 w 3213"/>
                <a:gd name="T69" fmla="*/ 567 h 1217"/>
                <a:gd name="T70" fmla="*/ 2117 w 3213"/>
                <a:gd name="T71" fmla="*/ 555 h 1217"/>
                <a:gd name="T72" fmla="*/ 345 w 3213"/>
                <a:gd name="T73" fmla="*/ 629 h 1217"/>
                <a:gd name="T74" fmla="*/ 2461 w 3213"/>
                <a:gd name="T75" fmla="*/ 645 h 1217"/>
                <a:gd name="T76" fmla="*/ 810 w 3213"/>
                <a:gd name="T77" fmla="*/ 638 h 1217"/>
                <a:gd name="T78" fmla="*/ 1474 w 3213"/>
                <a:gd name="T79" fmla="*/ 711 h 1217"/>
                <a:gd name="T80" fmla="*/ 2306 w 3213"/>
                <a:gd name="T81" fmla="*/ 695 h 1217"/>
                <a:gd name="T82" fmla="*/ 1970 w 3213"/>
                <a:gd name="T83" fmla="*/ 723 h 1217"/>
                <a:gd name="T84" fmla="*/ 1923 w 3213"/>
                <a:gd name="T85" fmla="*/ 806 h 1217"/>
                <a:gd name="T86" fmla="*/ 2662 w 3213"/>
                <a:gd name="T87" fmla="*/ 811 h 1217"/>
                <a:gd name="T88" fmla="*/ 1765 w 3213"/>
                <a:gd name="T89" fmla="*/ 844 h 1217"/>
                <a:gd name="T90" fmla="*/ 739 w 3213"/>
                <a:gd name="T91" fmla="*/ 889 h 1217"/>
                <a:gd name="T92" fmla="*/ 1214 w 3213"/>
                <a:gd name="T93" fmla="*/ 933 h 1217"/>
                <a:gd name="T94" fmla="*/ 2733 w 3213"/>
                <a:gd name="T95" fmla="*/ 860 h 1217"/>
                <a:gd name="T96" fmla="*/ 697 w 3213"/>
                <a:gd name="T97" fmla="*/ 905 h 1217"/>
                <a:gd name="T98" fmla="*/ 1781 w 3213"/>
                <a:gd name="T99" fmla="*/ 938 h 1217"/>
                <a:gd name="T100" fmla="*/ 2523 w 3213"/>
                <a:gd name="T101" fmla="*/ 971 h 1217"/>
                <a:gd name="T102" fmla="*/ 2511 w 3213"/>
                <a:gd name="T103" fmla="*/ 962 h 1217"/>
                <a:gd name="T104" fmla="*/ 1349 w 3213"/>
                <a:gd name="T105" fmla="*/ 1011 h 1217"/>
                <a:gd name="T106" fmla="*/ 1944 w 3213"/>
                <a:gd name="T107" fmla="*/ 1016 h 1217"/>
                <a:gd name="T108" fmla="*/ 1559 w 3213"/>
                <a:gd name="T109" fmla="*/ 1044 h 1217"/>
                <a:gd name="T110" fmla="*/ 2301 w 3213"/>
                <a:gd name="T111" fmla="*/ 1028 h 1217"/>
                <a:gd name="T112" fmla="*/ 3061 w 3213"/>
                <a:gd name="T113" fmla="*/ 1033 h 1217"/>
                <a:gd name="T114" fmla="*/ 2306 w 3213"/>
                <a:gd name="T115" fmla="*/ 1016 h 1217"/>
                <a:gd name="T116" fmla="*/ 2230 w 3213"/>
                <a:gd name="T117" fmla="*/ 1028 h 1217"/>
                <a:gd name="T118" fmla="*/ 1961 w 3213"/>
                <a:gd name="T119" fmla="*/ 1044 h 1217"/>
                <a:gd name="T120" fmla="*/ 1755 w 3213"/>
                <a:gd name="T121" fmla="*/ 1127 h 1217"/>
                <a:gd name="T122" fmla="*/ 1939 w 3213"/>
                <a:gd name="T123" fmla="*/ 1210 h 1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13" h="1217">
                  <a:moveTo>
                    <a:pt x="10" y="12"/>
                  </a:moveTo>
                  <a:lnTo>
                    <a:pt x="0" y="12"/>
                  </a:lnTo>
                  <a:lnTo>
                    <a:pt x="0" y="0"/>
                  </a:lnTo>
                  <a:lnTo>
                    <a:pt x="10" y="12"/>
                  </a:lnTo>
                  <a:lnTo>
                    <a:pt x="10" y="12"/>
                  </a:lnTo>
                  <a:lnTo>
                    <a:pt x="10" y="12"/>
                  </a:lnTo>
                  <a:close/>
                  <a:moveTo>
                    <a:pt x="539" y="383"/>
                  </a:moveTo>
                  <a:lnTo>
                    <a:pt x="550" y="400"/>
                  </a:lnTo>
                  <a:lnTo>
                    <a:pt x="517" y="418"/>
                  </a:lnTo>
                  <a:lnTo>
                    <a:pt x="501" y="407"/>
                  </a:lnTo>
                  <a:lnTo>
                    <a:pt x="517" y="418"/>
                  </a:lnTo>
                  <a:lnTo>
                    <a:pt x="572" y="390"/>
                  </a:lnTo>
                  <a:lnTo>
                    <a:pt x="593" y="407"/>
                  </a:lnTo>
                  <a:lnTo>
                    <a:pt x="605" y="435"/>
                  </a:lnTo>
                  <a:lnTo>
                    <a:pt x="588" y="435"/>
                  </a:lnTo>
                  <a:lnTo>
                    <a:pt x="560" y="444"/>
                  </a:lnTo>
                  <a:lnTo>
                    <a:pt x="576" y="444"/>
                  </a:lnTo>
                  <a:lnTo>
                    <a:pt x="560" y="456"/>
                  </a:lnTo>
                  <a:lnTo>
                    <a:pt x="588" y="461"/>
                  </a:lnTo>
                  <a:lnTo>
                    <a:pt x="572" y="478"/>
                  </a:lnTo>
                  <a:lnTo>
                    <a:pt x="593" y="501"/>
                  </a:lnTo>
                  <a:lnTo>
                    <a:pt x="643" y="501"/>
                  </a:lnTo>
                  <a:lnTo>
                    <a:pt x="647" y="555"/>
                  </a:lnTo>
                  <a:lnTo>
                    <a:pt x="647" y="567"/>
                  </a:lnTo>
                  <a:lnTo>
                    <a:pt x="659" y="567"/>
                  </a:lnTo>
                  <a:lnTo>
                    <a:pt x="669" y="572"/>
                  </a:lnTo>
                  <a:lnTo>
                    <a:pt x="669" y="584"/>
                  </a:lnTo>
                  <a:lnTo>
                    <a:pt x="664" y="600"/>
                  </a:lnTo>
                  <a:lnTo>
                    <a:pt x="664" y="612"/>
                  </a:lnTo>
                  <a:lnTo>
                    <a:pt x="647" y="629"/>
                  </a:lnTo>
                  <a:lnTo>
                    <a:pt x="664" y="612"/>
                  </a:lnTo>
                  <a:lnTo>
                    <a:pt x="669" y="589"/>
                  </a:lnTo>
                  <a:lnTo>
                    <a:pt x="685" y="600"/>
                  </a:lnTo>
                  <a:lnTo>
                    <a:pt x="723" y="600"/>
                  </a:lnTo>
                  <a:lnTo>
                    <a:pt x="723" y="612"/>
                  </a:lnTo>
                  <a:lnTo>
                    <a:pt x="739" y="622"/>
                  </a:lnTo>
                  <a:lnTo>
                    <a:pt x="739" y="638"/>
                  </a:lnTo>
                  <a:lnTo>
                    <a:pt x="756" y="645"/>
                  </a:lnTo>
                  <a:lnTo>
                    <a:pt x="756" y="662"/>
                  </a:lnTo>
                  <a:lnTo>
                    <a:pt x="749" y="678"/>
                  </a:lnTo>
                  <a:lnTo>
                    <a:pt x="739" y="695"/>
                  </a:lnTo>
                  <a:lnTo>
                    <a:pt x="749" y="711"/>
                  </a:lnTo>
                  <a:lnTo>
                    <a:pt x="739" y="733"/>
                  </a:lnTo>
                  <a:lnTo>
                    <a:pt x="749" y="756"/>
                  </a:lnTo>
                  <a:lnTo>
                    <a:pt x="739" y="834"/>
                  </a:lnTo>
                  <a:lnTo>
                    <a:pt x="735" y="851"/>
                  </a:lnTo>
                  <a:lnTo>
                    <a:pt x="702" y="822"/>
                  </a:lnTo>
                  <a:lnTo>
                    <a:pt x="697" y="834"/>
                  </a:lnTo>
                  <a:lnTo>
                    <a:pt x="702" y="844"/>
                  </a:lnTo>
                  <a:lnTo>
                    <a:pt x="697" y="844"/>
                  </a:lnTo>
                  <a:lnTo>
                    <a:pt x="664" y="827"/>
                  </a:lnTo>
                  <a:lnTo>
                    <a:pt x="647" y="827"/>
                  </a:lnTo>
                  <a:lnTo>
                    <a:pt x="664" y="851"/>
                  </a:lnTo>
                  <a:lnTo>
                    <a:pt x="659" y="860"/>
                  </a:lnTo>
                  <a:lnTo>
                    <a:pt x="605" y="794"/>
                  </a:lnTo>
                  <a:lnTo>
                    <a:pt x="496" y="716"/>
                  </a:lnTo>
                  <a:lnTo>
                    <a:pt x="484" y="695"/>
                  </a:lnTo>
                  <a:lnTo>
                    <a:pt x="447" y="662"/>
                  </a:lnTo>
                  <a:lnTo>
                    <a:pt x="425" y="622"/>
                  </a:lnTo>
                  <a:lnTo>
                    <a:pt x="392" y="600"/>
                  </a:lnTo>
                  <a:lnTo>
                    <a:pt x="392" y="584"/>
                  </a:lnTo>
                  <a:lnTo>
                    <a:pt x="392" y="567"/>
                  </a:lnTo>
                  <a:lnTo>
                    <a:pt x="378" y="546"/>
                  </a:lnTo>
                  <a:lnTo>
                    <a:pt x="371" y="527"/>
                  </a:lnTo>
                  <a:lnTo>
                    <a:pt x="361" y="518"/>
                  </a:lnTo>
                  <a:lnTo>
                    <a:pt x="354" y="489"/>
                  </a:lnTo>
                  <a:lnTo>
                    <a:pt x="317" y="444"/>
                  </a:lnTo>
                  <a:lnTo>
                    <a:pt x="317" y="435"/>
                  </a:lnTo>
                  <a:lnTo>
                    <a:pt x="307" y="423"/>
                  </a:lnTo>
                  <a:lnTo>
                    <a:pt x="269" y="407"/>
                  </a:lnTo>
                  <a:lnTo>
                    <a:pt x="269" y="383"/>
                  </a:lnTo>
                  <a:lnTo>
                    <a:pt x="236" y="312"/>
                  </a:lnTo>
                  <a:lnTo>
                    <a:pt x="248" y="312"/>
                  </a:lnTo>
                  <a:lnTo>
                    <a:pt x="248" y="307"/>
                  </a:lnTo>
                  <a:lnTo>
                    <a:pt x="182" y="263"/>
                  </a:lnTo>
                  <a:lnTo>
                    <a:pt x="177" y="263"/>
                  </a:lnTo>
                  <a:lnTo>
                    <a:pt x="173" y="255"/>
                  </a:lnTo>
                  <a:lnTo>
                    <a:pt x="161" y="222"/>
                  </a:lnTo>
                  <a:lnTo>
                    <a:pt x="144" y="218"/>
                  </a:lnTo>
                  <a:lnTo>
                    <a:pt x="118" y="163"/>
                  </a:lnTo>
                  <a:lnTo>
                    <a:pt x="85" y="152"/>
                  </a:lnTo>
                  <a:lnTo>
                    <a:pt x="14" y="90"/>
                  </a:lnTo>
                  <a:lnTo>
                    <a:pt x="0" y="57"/>
                  </a:lnTo>
                  <a:lnTo>
                    <a:pt x="0" y="29"/>
                  </a:lnTo>
                  <a:lnTo>
                    <a:pt x="10" y="19"/>
                  </a:lnTo>
                  <a:lnTo>
                    <a:pt x="21" y="19"/>
                  </a:lnTo>
                  <a:lnTo>
                    <a:pt x="47" y="36"/>
                  </a:lnTo>
                  <a:lnTo>
                    <a:pt x="52" y="41"/>
                  </a:lnTo>
                  <a:lnTo>
                    <a:pt x="76" y="52"/>
                  </a:lnTo>
                  <a:lnTo>
                    <a:pt x="123" y="52"/>
                  </a:lnTo>
                  <a:lnTo>
                    <a:pt x="139" y="57"/>
                  </a:lnTo>
                  <a:lnTo>
                    <a:pt x="156" y="52"/>
                  </a:lnTo>
                  <a:lnTo>
                    <a:pt x="182" y="74"/>
                  </a:lnTo>
                  <a:lnTo>
                    <a:pt x="194" y="95"/>
                  </a:lnTo>
                  <a:lnTo>
                    <a:pt x="210" y="107"/>
                  </a:lnTo>
                  <a:lnTo>
                    <a:pt x="210" y="128"/>
                  </a:lnTo>
                  <a:lnTo>
                    <a:pt x="333" y="218"/>
                  </a:lnTo>
                  <a:lnTo>
                    <a:pt x="333" y="239"/>
                  </a:lnTo>
                  <a:lnTo>
                    <a:pt x="333" y="234"/>
                  </a:lnTo>
                  <a:lnTo>
                    <a:pt x="340" y="234"/>
                  </a:lnTo>
                  <a:lnTo>
                    <a:pt x="340" y="251"/>
                  </a:lnTo>
                  <a:lnTo>
                    <a:pt x="340" y="234"/>
                  </a:lnTo>
                  <a:lnTo>
                    <a:pt x="345" y="234"/>
                  </a:lnTo>
                  <a:lnTo>
                    <a:pt x="361" y="263"/>
                  </a:lnTo>
                  <a:lnTo>
                    <a:pt x="392" y="279"/>
                  </a:lnTo>
                  <a:lnTo>
                    <a:pt x="399" y="296"/>
                  </a:lnTo>
                  <a:lnTo>
                    <a:pt x="387" y="263"/>
                  </a:lnTo>
                  <a:lnTo>
                    <a:pt x="409" y="263"/>
                  </a:lnTo>
                  <a:lnTo>
                    <a:pt x="425" y="279"/>
                  </a:lnTo>
                  <a:lnTo>
                    <a:pt x="430" y="307"/>
                  </a:lnTo>
                  <a:lnTo>
                    <a:pt x="454" y="312"/>
                  </a:lnTo>
                  <a:lnTo>
                    <a:pt x="484" y="329"/>
                  </a:lnTo>
                  <a:lnTo>
                    <a:pt x="484" y="350"/>
                  </a:lnTo>
                  <a:lnTo>
                    <a:pt x="501" y="366"/>
                  </a:lnTo>
                  <a:lnTo>
                    <a:pt x="534" y="378"/>
                  </a:lnTo>
                  <a:lnTo>
                    <a:pt x="539" y="383"/>
                  </a:lnTo>
                  <a:lnTo>
                    <a:pt x="539" y="383"/>
                  </a:lnTo>
                  <a:lnTo>
                    <a:pt x="539" y="383"/>
                  </a:lnTo>
                  <a:close/>
                  <a:moveTo>
                    <a:pt x="2209" y="140"/>
                  </a:moveTo>
                  <a:lnTo>
                    <a:pt x="2213" y="123"/>
                  </a:lnTo>
                  <a:lnTo>
                    <a:pt x="2209" y="111"/>
                  </a:lnTo>
                  <a:lnTo>
                    <a:pt x="2209" y="95"/>
                  </a:lnTo>
                  <a:lnTo>
                    <a:pt x="2213" y="107"/>
                  </a:lnTo>
                  <a:lnTo>
                    <a:pt x="2225" y="123"/>
                  </a:lnTo>
                  <a:lnTo>
                    <a:pt x="2209" y="140"/>
                  </a:lnTo>
                  <a:lnTo>
                    <a:pt x="2209" y="140"/>
                  </a:lnTo>
                  <a:lnTo>
                    <a:pt x="2209" y="140"/>
                  </a:lnTo>
                  <a:close/>
                  <a:moveTo>
                    <a:pt x="1009" y="279"/>
                  </a:moveTo>
                  <a:lnTo>
                    <a:pt x="1004" y="291"/>
                  </a:lnTo>
                  <a:lnTo>
                    <a:pt x="1009" y="312"/>
                  </a:lnTo>
                  <a:lnTo>
                    <a:pt x="1075" y="366"/>
                  </a:lnTo>
                  <a:lnTo>
                    <a:pt x="1117" y="350"/>
                  </a:lnTo>
                  <a:lnTo>
                    <a:pt x="1167" y="362"/>
                  </a:lnTo>
                  <a:lnTo>
                    <a:pt x="1172" y="345"/>
                  </a:lnTo>
                  <a:lnTo>
                    <a:pt x="1181" y="345"/>
                  </a:lnTo>
                  <a:lnTo>
                    <a:pt x="1188" y="317"/>
                  </a:lnTo>
                  <a:lnTo>
                    <a:pt x="1205" y="312"/>
                  </a:lnTo>
                  <a:lnTo>
                    <a:pt x="1243" y="312"/>
                  </a:lnTo>
                  <a:lnTo>
                    <a:pt x="1252" y="329"/>
                  </a:lnTo>
                  <a:lnTo>
                    <a:pt x="1290" y="333"/>
                  </a:lnTo>
                  <a:lnTo>
                    <a:pt x="1311" y="317"/>
                  </a:lnTo>
                  <a:lnTo>
                    <a:pt x="1344" y="317"/>
                  </a:lnTo>
                  <a:lnTo>
                    <a:pt x="1361" y="329"/>
                  </a:lnTo>
                  <a:lnTo>
                    <a:pt x="1365" y="307"/>
                  </a:lnTo>
                  <a:lnTo>
                    <a:pt x="1377" y="291"/>
                  </a:lnTo>
                  <a:lnTo>
                    <a:pt x="1377" y="263"/>
                  </a:lnTo>
                  <a:lnTo>
                    <a:pt x="1403" y="251"/>
                  </a:lnTo>
                  <a:lnTo>
                    <a:pt x="1387" y="239"/>
                  </a:lnTo>
                  <a:lnTo>
                    <a:pt x="1398" y="218"/>
                  </a:lnTo>
                  <a:lnTo>
                    <a:pt x="1403" y="206"/>
                  </a:lnTo>
                  <a:lnTo>
                    <a:pt x="1420" y="206"/>
                  </a:lnTo>
                  <a:lnTo>
                    <a:pt x="1432" y="180"/>
                  </a:lnTo>
                  <a:lnTo>
                    <a:pt x="1432" y="163"/>
                  </a:lnTo>
                  <a:lnTo>
                    <a:pt x="1432" y="128"/>
                  </a:lnTo>
                  <a:lnTo>
                    <a:pt x="1441" y="111"/>
                  </a:lnTo>
                  <a:lnTo>
                    <a:pt x="1458" y="123"/>
                  </a:lnTo>
                  <a:lnTo>
                    <a:pt x="1469" y="111"/>
                  </a:lnTo>
                  <a:lnTo>
                    <a:pt x="1491" y="123"/>
                  </a:lnTo>
                  <a:lnTo>
                    <a:pt x="1545" y="111"/>
                  </a:lnTo>
                  <a:lnTo>
                    <a:pt x="1566" y="128"/>
                  </a:lnTo>
                  <a:lnTo>
                    <a:pt x="1550" y="128"/>
                  </a:lnTo>
                  <a:lnTo>
                    <a:pt x="1583" y="163"/>
                  </a:lnTo>
                  <a:lnTo>
                    <a:pt x="1576" y="168"/>
                  </a:lnTo>
                  <a:lnTo>
                    <a:pt x="1528" y="168"/>
                  </a:lnTo>
                  <a:lnTo>
                    <a:pt x="1538" y="168"/>
                  </a:lnTo>
                  <a:lnTo>
                    <a:pt x="1545" y="180"/>
                  </a:lnTo>
                  <a:lnTo>
                    <a:pt x="1559" y="180"/>
                  </a:lnTo>
                  <a:lnTo>
                    <a:pt x="1545" y="196"/>
                  </a:lnTo>
                  <a:lnTo>
                    <a:pt x="1566" y="206"/>
                  </a:lnTo>
                  <a:lnTo>
                    <a:pt x="1576" y="222"/>
                  </a:lnTo>
                  <a:lnTo>
                    <a:pt x="1583" y="222"/>
                  </a:lnTo>
                  <a:lnTo>
                    <a:pt x="1604" y="263"/>
                  </a:lnTo>
                  <a:lnTo>
                    <a:pt x="1592" y="279"/>
                  </a:lnTo>
                  <a:lnTo>
                    <a:pt x="1583" y="272"/>
                  </a:lnTo>
                  <a:lnTo>
                    <a:pt x="1592" y="296"/>
                  </a:lnTo>
                  <a:lnTo>
                    <a:pt x="1668" y="362"/>
                  </a:lnTo>
                  <a:lnTo>
                    <a:pt x="1651" y="366"/>
                  </a:lnTo>
                  <a:lnTo>
                    <a:pt x="1621" y="366"/>
                  </a:lnTo>
                  <a:lnTo>
                    <a:pt x="1597" y="362"/>
                  </a:lnTo>
                  <a:lnTo>
                    <a:pt x="1592" y="345"/>
                  </a:lnTo>
                  <a:lnTo>
                    <a:pt x="1597" y="366"/>
                  </a:lnTo>
                  <a:lnTo>
                    <a:pt x="1592" y="366"/>
                  </a:lnTo>
                  <a:lnTo>
                    <a:pt x="1576" y="378"/>
                  </a:lnTo>
                  <a:lnTo>
                    <a:pt x="1559" y="423"/>
                  </a:lnTo>
                  <a:lnTo>
                    <a:pt x="1559" y="435"/>
                  </a:lnTo>
                  <a:lnTo>
                    <a:pt x="1559" y="444"/>
                  </a:lnTo>
                  <a:lnTo>
                    <a:pt x="1559" y="461"/>
                  </a:lnTo>
                  <a:lnTo>
                    <a:pt x="1566" y="456"/>
                  </a:lnTo>
                  <a:lnTo>
                    <a:pt x="1566" y="489"/>
                  </a:lnTo>
                  <a:lnTo>
                    <a:pt x="1559" y="489"/>
                  </a:lnTo>
                  <a:lnTo>
                    <a:pt x="1545" y="489"/>
                  </a:lnTo>
                  <a:lnTo>
                    <a:pt x="1521" y="518"/>
                  </a:lnTo>
                  <a:lnTo>
                    <a:pt x="1512" y="518"/>
                  </a:lnTo>
                  <a:lnTo>
                    <a:pt x="1507" y="501"/>
                  </a:lnTo>
                  <a:lnTo>
                    <a:pt x="1507" y="527"/>
                  </a:lnTo>
                  <a:lnTo>
                    <a:pt x="1491" y="534"/>
                  </a:lnTo>
                  <a:lnTo>
                    <a:pt x="1491" y="546"/>
                  </a:lnTo>
                  <a:lnTo>
                    <a:pt x="1474" y="555"/>
                  </a:lnTo>
                  <a:lnTo>
                    <a:pt x="1491" y="555"/>
                  </a:lnTo>
                  <a:lnTo>
                    <a:pt x="1491" y="572"/>
                  </a:lnTo>
                  <a:lnTo>
                    <a:pt x="1484" y="584"/>
                  </a:lnTo>
                  <a:lnTo>
                    <a:pt x="1495" y="589"/>
                  </a:lnTo>
                  <a:lnTo>
                    <a:pt x="1491" y="612"/>
                  </a:lnTo>
                  <a:lnTo>
                    <a:pt x="1474" y="612"/>
                  </a:lnTo>
                  <a:lnTo>
                    <a:pt x="1484" y="629"/>
                  </a:lnTo>
                  <a:lnTo>
                    <a:pt x="1474" y="645"/>
                  </a:lnTo>
                  <a:lnTo>
                    <a:pt x="1469" y="629"/>
                  </a:lnTo>
                  <a:lnTo>
                    <a:pt x="1474" y="655"/>
                  </a:lnTo>
                  <a:lnTo>
                    <a:pt x="1453" y="683"/>
                  </a:lnTo>
                  <a:lnTo>
                    <a:pt x="1365" y="733"/>
                  </a:lnTo>
                  <a:lnTo>
                    <a:pt x="1361" y="723"/>
                  </a:lnTo>
                  <a:lnTo>
                    <a:pt x="1361" y="695"/>
                  </a:lnTo>
                  <a:lnTo>
                    <a:pt x="1349" y="678"/>
                  </a:lnTo>
                  <a:lnTo>
                    <a:pt x="1323" y="666"/>
                  </a:lnTo>
                  <a:lnTo>
                    <a:pt x="1290" y="678"/>
                  </a:lnTo>
                  <a:lnTo>
                    <a:pt x="1290" y="655"/>
                  </a:lnTo>
                  <a:lnTo>
                    <a:pt x="1273" y="662"/>
                  </a:lnTo>
                  <a:lnTo>
                    <a:pt x="1252" y="645"/>
                  </a:lnTo>
                  <a:lnTo>
                    <a:pt x="1243" y="655"/>
                  </a:lnTo>
                  <a:lnTo>
                    <a:pt x="1243" y="662"/>
                  </a:lnTo>
                  <a:lnTo>
                    <a:pt x="1219" y="678"/>
                  </a:lnTo>
                  <a:lnTo>
                    <a:pt x="1214" y="678"/>
                  </a:lnTo>
                  <a:lnTo>
                    <a:pt x="1188" y="666"/>
                  </a:lnTo>
                  <a:lnTo>
                    <a:pt x="1167" y="683"/>
                  </a:lnTo>
                  <a:lnTo>
                    <a:pt x="1160" y="683"/>
                  </a:lnTo>
                  <a:lnTo>
                    <a:pt x="1167" y="645"/>
                  </a:lnTo>
                  <a:lnTo>
                    <a:pt x="1160" y="629"/>
                  </a:lnTo>
                  <a:lnTo>
                    <a:pt x="1150" y="638"/>
                  </a:lnTo>
                  <a:lnTo>
                    <a:pt x="1143" y="645"/>
                  </a:lnTo>
                  <a:lnTo>
                    <a:pt x="1127" y="638"/>
                  </a:lnTo>
                  <a:lnTo>
                    <a:pt x="1106" y="655"/>
                  </a:lnTo>
                  <a:lnTo>
                    <a:pt x="1089" y="645"/>
                  </a:lnTo>
                  <a:lnTo>
                    <a:pt x="1096" y="638"/>
                  </a:lnTo>
                  <a:lnTo>
                    <a:pt x="1080" y="655"/>
                  </a:lnTo>
                  <a:lnTo>
                    <a:pt x="1075" y="638"/>
                  </a:lnTo>
                  <a:lnTo>
                    <a:pt x="1051" y="645"/>
                  </a:lnTo>
                  <a:lnTo>
                    <a:pt x="1042" y="572"/>
                  </a:lnTo>
                  <a:lnTo>
                    <a:pt x="1025" y="555"/>
                  </a:lnTo>
                  <a:lnTo>
                    <a:pt x="1037" y="551"/>
                  </a:lnTo>
                  <a:lnTo>
                    <a:pt x="1042" y="527"/>
                  </a:lnTo>
                  <a:lnTo>
                    <a:pt x="1021" y="494"/>
                  </a:lnTo>
                  <a:lnTo>
                    <a:pt x="983" y="489"/>
                  </a:lnTo>
                  <a:lnTo>
                    <a:pt x="983" y="478"/>
                  </a:lnTo>
                  <a:lnTo>
                    <a:pt x="1004" y="478"/>
                  </a:lnTo>
                  <a:lnTo>
                    <a:pt x="971" y="461"/>
                  </a:lnTo>
                  <a:lnTo>
                    <a:pt x="966" y="444"/>
                  </a:lnTo>
                  <a:lnTo>
                    <a:pt x="983" y="440"/>
                  </a:lnTo>
                  <a:lnTo>
                    <a:pt x="971" y="423"/>
                  </a:lnTo>
                  <a:lnTo>
                    <a:pt x="966" y="407"/>
                  </a:lnTo>
                  <a:lnTo>
                    <a:pt x="954" y="407"/>
                  </a:lnTo>
                  <a:lnTo>
                    <a:pt x="954" y="383"/>
                  </a:lnTo>
                  <a:lnTo>
                    <a:pt x="954" y="366"/>
                  </a:lnTo>
                  <a:lnTo>
                    <a:pt x="966" y="362"/>
                  </a:lnTo>
                  <a:lnTo>
                    <a:pt x="966" y="345"/>
                  </a:lnTo>
                  <a:lnTo>
                    <a:pt x="983" y="329"/>
                  </a:lnTo>
                  <a:lnTo>
                    <a:pt x="966" y="345"/>
                  </a:lnTo>
                  <a:lnTo>
                    <a:pt x="971" y="317"/>
                  </a:lnTo>
                  <a:lnTo>
                    <a:pt x="983" y="307"/>
                  </a:lnTo>
                  <a:lnTo>
                    <a:pt x="987" y="291"/>
                  </a:lnTo>
                  <a:lnTo>
                    <a:pt x="1009" y="279"/>
                  </a:lnTo>
                  <a:lnTo>
                    <a:pt x="1009" y="279"/>
                  </a:lnTo>
                  <a:lnTo>
                    <a:pt x="1009" y="279"/>
                  </a:lnTo>
                  <a:close/>
                  <a:moveTo>
                    <a:pt x="895" y="152"/>
                  </a:moveTo>
                  <a:lnTo>
                    <a:pt x="895" y="140"/>
                  </a:lnTo>
                  <a:lnTo>
                    <a:pt x="912" y="128"/>
                  </a:lnTo>
                  <a:lnTo>
                    <a:pt x="917" y="140"/>
                  </a:lnTo>
                  <a:lnTo>
                    <a:pt x="917" y="163"/>
                  </a:lnTo>
                  <a:lnTo>
                    <a:pt x="900" y="163"/>
                  </a:lnTo>
                  <a:lnTo>
                    <a:pt x="912" y="152"/>
                  </a:lnTo>
                  <a:lnTo>
                    <a:pt x="895" y="152"/>
                  </a:lnTo>
                  <a:lnTo>
                    <a:pt x="895" y="152"/>
                  </a:lnTo>
                  <a:lnTo>
                    <a:pt x="895" y="152"/>
                  </a:lnTo>
                  <a:close/>
                  <a:moveTo>
                    <a:pt x="1576" y="128"/>
                  </a:moveTo>
                  <a:lnTo>
                    <a:pt x="1592" y="128"/>
                  </a:lnTo>
                  <a:lnTo>
                    <a:pt x="1592" y="140"/>
                  </a:lnTo>
                  <a:lnTo>
                    <a:pt x="1576" y="128"/>
                  </a:lnTo>
                  <a:lnTo>
                    <a:pt x="1576" y="128"/>
                  </a:lnTo>
                  <a:lnTo>
                    <a:pt x="1576" y="128"/>
                  </a:lnTo>
                  <a:close/>
                  <a:moveTo>
                    <a:pt x="1566" y="128"/>
                  </a:moveTo>
                  <a:lnTo>
                    <a:pt x="1576" y="140"/>
                  </a:lnTo>
                  <a:lnTo>
                    <a:pt x="1566" y="140"/>
                  </a:lnTo>
                  <a:lnTo>
                    <a:pt x="1566" y="128"/>
                  </a:lnTo>
                  <a:lnTo>
                    <a:pt x="1566" y="128"/>
                  </a:lnTo>
                  <a:lnTo>
                    <a:pt x="1566" y="128"/>
                  </a:lnTo>
                  <a:close/>
                  <a:moveTo>
                    <a:pt x="2209" y="152"/>
                  </a:moveTo>
                  <a:lnTo>
                    <a:pt x="2197" y="140"/>
                  </a:lnTo>
                  <a:lnTo>
                    <a:pt x="2209" y="147"/>
                  </a:lnTo>
                  <a:lnTo>
                    <a:pt x="2209" y="152"/>
                  </a:lnTo>
                  <a:lnTo>
                    <a:pt x="2209" y="152"/>
                  </a:lnTo>
                  <a:lnTo>
                    <a:pt x="2209" y="152"/>
                  </a:lnTo>
                  <a:close/>
                  <a:moveTo>
                    <a:pt x="2143" y="185"/>
                  </a:moveTo>
                  <a:lnTo>
                    <a:pt x="2133" y="163"/>
                  </a:lnTo>
                  <a:lnTo>
                    <a:pt x="2143" y="163"/>
                  </a:lnTo>
                  <a:lnTo>
                    <a:pt x="2154" y="180"/>
                  </a:lnTo>
                  <a:lnTo>
                    <a:pt x="2143" y="185"/>
                  </a:lnTo>
                  <a:lnTo>
                    <a:pt x="2143" y="185"/>
                  </a:lnTo>
                  <a:lnTo>
                    <a:pt x="2143" y="185"/>
                  </a:lnTo>
                  <a:close/>
                  <a:moveTo>
                    <a:pt x="1545" y="168"/>
                  </a:moveTo>
                  <a:lnTo>
                    <a:pt x="1559" y="180"/>
                  </a:lnTo>
                  <a:lnTo>
                    <a:pt x="1545" y="180"/>
                  </a:lnTo>
                  <a:lnTo>
                    <a:pt x="1545" y="168"/>
                  </a:lnTo>
                  <a:lnTo>
                    <a:pt x="1545" y="168"/>
                  </a:lnTo>
                  <a:lnTo>
                    <a:pt x="1545" y="168"/>
                  </a:lnTo>
                  <a:close/>
                  <a:moveTo>
                    <a:pt x="1566" y="180"/>
                  </a:moveTo>
                  <a:lnTo>
                    <a:pt x="1576" y="185"/>
                  </a:lnTo>
                  <a:lnTo>
                    <a:pt x="1566" y="196"/>
                  </a:lnTo>
                  <a:lnTo>
                    <a:pt x="1566" y="180"/>
                  </a:lnTo>
                  <a:lnTo>
                    <a:pt x="1566" y="180"/>
                  </a:lnTo>
                  <a:lnTo>
                    <a:pt x="1566" y="180"/>
                  </a:lnTo>
                  <a:close/>
                  <a:moveTo>
                    <a:pt x="773" y="196"/>
                  </a:moveTo>
                  <a:lnTo>
                    <a:pt x="773" y="185"/>
                  </a:lnTo>
                  <a:lnTo>
                    <a:pt x="773" y="196"/>
                  </a:lnTo>
                  <a:lnTo>
                    <a:pt x="773" y="196"/>
                  </a:lnTo>
                  <a:lnTo>
                    <a:pt x="773" y="196"/>
                  </a:lnTo>
                  <a:close/>
                  <a:moveTo>
                    <a:pt x="1559" y="185"/>
                  </a:moveTo>
                  <a:lnTo>
                    <a:pt x="1559" y="196"/>
                  </a:lnTo>
                  <a:lnTo>
                    <a:pt x="1559" y="185"/>
                  </a:lnTo>
                  <a:lnTo>
                    <a:pt x="1559" y="185"/>
                  </a:lnTo>
                  <a:lnTo>
                    <a:pt x="1559" y="185"/>
                  </a:lnTo>
                  <a:close/>
                  <a:moveTo>
                    <a:pt x="773" y="201"/>
                  </a:moveTo>
                  <a:lnTo>
                    <a:pt x="773" y="196"/>
                  </a:lnTo>
                  <a:lnTo>
                    <a:pt x="773" y="201"/>
                  </a:lnTo>
                  <a:lnTo>
                    <a:pt x="773" y="201"/>
                  </a:lnTo>
                  <a:lnTo>
                    <a:pt x="773" y="201"/>
                  </a:lnTo>
                  <a:close/>
                  <a:moveTo>
                    <a:pt x="735" y="222"/>
                  </a:moveTo>
                  <a:lnTo>
                    <a:pt x="735" y="206"/>
                  </a:lnTo>
                  <a:lnTo>
                    <a:pt x="739" y="218"/>
                  </a:lnTo>
                  <a:lnTo>
                    <a:pt x="735" y="222"/>
                  </a:lnTo>
                  <a:lnTo>
                    <a:pt x="735" y="222"/>
                  </a:lnTo>
                  <a:lnTo>
                    <a:pt x="735" y="222"/>
                  </a:lnTo>
                  <a:close/>
                  <a:moveTo>
                    <a:pt x="950" y="218"/>
                  </a:moveTo>
                  <a:lnTo>
                    <a:pt x="954" y="206"/>
                  </a:lnTo>
                  <a:lnTo>
                    <a:pt x="954" y="218"/>
                  </a:lnTo>
                  <a:lnTo>
                    <a:pt x="950" y="218"/>
                  </a:lnTo>
                  <a:lnTo>
                    <a:pt x="950" y="218"/>
                  </a:lnTo>
                  <a:lnTo>
                    <a:pt x="950" y="218"/>
                  </a:lnTo>
                  <a:close/>
                  <a:moveTo>
                    <a:pt x="85" y="255"/>
                  </a:moveTo>
                  <a:lnTo>
                    <a:pt x="76" y="255"/>
                  </a:lnTo>
                  <a:lnTo>
                    <a:pt x="52" y="239"/>
                  </a:lnTo>
                  <a:lnTo>
                    <a:pt x="38" y="234"/>
                  </a:lnTo>
                  <a:lnTo>
                    <a:pt x="31" y="222"/>
                  </a:lnTo>
                  <a:lnTo>
                    <a:pt x="38" y="218"/>
                  </a:lnTo>
                  <a:lnTo>
                    <a:pt x="47" y="218"/>
                  </a:lnTo>
                  <a:lnTo>
                    <a:pt x="85" y="251"/>
                  </a:lnTo>
                  <a:lnTo>
                    <a:pt x="85" y="255"/>
                  </a:lnTo>
                  <a:lnTo>
                    <a:pt x="85" y="255"/>
                  </a:lnTo>
                  <a:lnTo>
                    <a:pt x="85" y="255"/>
                  </a:lnTo>
                  <a:close/>
                  <a:moveTo>
                    <a:pt x="2117" y="234"/>
                  </a:moveTo>
                  <a:lnTo>
                    <a:pt x="2117" y="239"/>
                  </a:lnTo>
                  <a:lnTo>
                    <a:pt x="2117" y="222"/>
                  </a:lnTo>
                  <a:lnTo>
                    <a:pt x="2117" y="234"/>
                  </a:lnTo>
                  <a:lnTo>
                    <a:pt x="2117" y="234"/>
                  </a:lnTo>
                  <a:lnTo>
                    <a:pt x="2117" y="234"/>
                  </a:lnTo>
                  <a:close/>
                  <a:moveTo>
                    <a:pt x="2317" y="279"/>
                  </a:moveTo>
                  <a:lnTo>
                    <a:pt x="2317" y="263"/>
                  </a:lnTo>
                  <a:lnTo>
                    <a:pt x="2332" y="239"/>
                  </a:lnTo>
                  <a:lnTo>
                    <a:pt x="2339" y="239"/>
                  </a:lnTo>
                  <a:lnTo>
                    <a:pt x="2348" y="251"/>
                  </a:lnTo>
                  <a:lnTo>
                    <a:pt x="2339" y="263"/>
                  </a:lnTo>
                  <a:lnTo>
                    <a:pt x="2332" y="279"/>
                  </a:lnTo>
                  <a:lnTo>
                    <a:pt x="2317" y="279"/>
                  </a:lnTo>
                  <a:lnTo>
                    <a:pt x="2317" y="279"/>
                  </a:lnTo>
                  <a:lnTo>
                    <a:pt x="2317" y="279"/>
                  </a:lnTo>
                  <a:close/>
                  <a:moveTo>
                    <a:pt x="144" y="279"/>
                  </a:moveTo>
                  <a:lnTo>
                    <a:pt x="128" y="263"/>
                  </a:lnTo>
                  <a:lnTo>
                    <a:pt x="139" y="263"/>
                  </a:lnTo>
                  <a:lnTo>
                    <a:pt x="144" y="279"/>
                  </a:lnTo>
                  <a:lnTo>
                    <a:pt x="144" y="279"/>
                  </a:lnTo>
                  <a:lnTo>
                    <a:pt x="144" y="279"/>
                  </a:lnTo>
                  <a:close/>
                  <a:moveTo>
                    <a:pt x="2284" y="366"/>
                  </a:moveTo>
                  <a:lnTo>
                    <a:pt x="2294" y="366"/>
                  </a:lnTo>
                  <a:lnTo>
                    <a:pt x="2294" y="350"/>
                  </a:lnTo>
                  <a:lnTo>
                    <a:pt x="2306" y="345"/>
                  </a:lnTo>
                  <a:lnTo>
                    <a:pt x="2306" y="329"/>
                  </a:lnTo>
                  <a:lnTo>
                    <a:pt x="2332" y="317"/>
                  </a:lnTo>
                  <a:lnTo>
                    <a:pt x="2348" y="312"/>
                  </a:lnTo>
                  <a:lnTo>
                    <a:pt x="2348" y="350"/>
                  </a:lnTo>
                  <a:lnTo>
                    <a:pt x="2317" y="366"/>
                  </a:lnTo>
                  <a:lnTo>
                    <a:pt x="2322" y="383"/>
                  </a:lnTo>
                  <a:lnTo>
                    <a:pt x="2348" y="390"/>
                  </a:lnTo>
                  <a:lnTo>
                    <a:pt x="2348" y="400"/>
                  </a:lnTo>
                  <a:lnTo>
                    <a:pt x="2360" y="418"/>
                  </a:lnTo>
                  <a:lnTo>
                    <a:pt x="2301" y="390"/>
                  </a:lnTo>
                  <a:lnTo>
                    <a:pt x="2294" y="400"/>
                  </a:lnTo>
                  <a:lnTo>
                    <a:pt x="2294" y="407"/>
                  </a:lnTo>
                  <a:lnTo>
                    <a:pt x="2294" y="435"/>
                  </a:lnTo>
                  <a:lnTo>
                    <a:pt x="2301" y="456"/>
                  </a:lnTo>
                  <a:lnTo>
                    <a:pt x="2322" y="494"/>
                  </a:lnTo>
                  <a:lnTo>
                    <a:pt x="2301" y="478"/>
                  </a:lnTo>
                  <a:lnTo>
                    <a:pt x="2284" y="456"/>
                  </a:lnTo>
                  <a:lnTo>
                    <a:pt x="2280" y="444"/>
                  </a:lnTo>
                  <a:lnTo>
                    <a:pt x="2280" y="418"/>
                  </a:lnTo>
                  <a:lnTo>
                    <a:pt x="2263" y="383"/>
                  </a:lnTo>
                  <a:lnTo>
                    <a:pt x="2268" y="366"/>
                  </a:lnTo>
                  <a:lnTo>
                    <a:pt x="2263" y="366"/>
                  </a:lnTo>
                  <a:lnTo>
                    <a:pt x="2263" y="350"/>
                  </a:lnTo>
                  <a:lnTo>
                    <a:pt x="2251" y="350"/>
                  </a:lnTo>
                  <a:lnTo>
                    <a:pt x="2268" y="307"/>
                  </a:lnTo>
                  <a:lnTo>
                    <a:pt x="2294" y="272"/>
                  </a:lnTo>
                  <a:lnTo>
                    <a:pt x="2301" y="272"/>
                  </a:lnTo>
                  <a:lnTo>
                    <a:pt x="2284" y="291"/>
                  </a:lnTo>
                  <a:lnTo>
                    <a:pt x="2301" y="307"/>
                  </a:lnTo>
                  <a:lnTo>
                    <a:pt x="2301" y="329"/>
                  </a:lnTo>
                  <a:lnTo>
                    <a:pt x="2268" y="362"/>
                  </a:lnTo>
                  <a:lnTo>
                    <a:pt x="2284" y="366"/>
                  </a:lnTo>
                  <a:lnTo>
                    <a:pt x="2284" y="366"/>
                  </a:lnTo>
                  <a:lnTo>
                    <a:pt x="2284" y="366"/>
                  </a:lnTo>
                  <a:close/>
                  <a:moveTo>
                    <a:pt x="454" y="291"/>
                  </a:moveTo>
                  <a:lnTo>
                    <a:pt x="447" y="307"/>
                  </a:lnTo>
                  <a:lnTo>
                    <a:pt x="430" y="307"/>
                  </a:lnTo>
                  <a:lnTo>
                    <a:pt x="430" y="291"/>
                  </a:lnTo>
                  <a:lnTo>
                    <a:pt x="430" y="279"/>
                  </a:lnTo>
                  <a:lnTo>
                    <a:pt x="447" y="272"/>
                  </a:lnTo>
                  <a:lnTo>
                    <a:pt x="454" y="291"/>
                  </a:lnTo>
                  <a:lnTo>
                    <a:pt x="454" y="291"/>
                  </a:lnTo>
                  <a:lnTo>
                    <a:pt x="454" y="291"/>
                  </a:lnTo>
                  <a:close/>
                  <a:moveTo>
                    <a:pt x="1873" y="778"/>
                  </a:moveTo>
                  <a:lnTo>
                    <a:pt x="1852" y="778"/>
                  </a:lnTo>
                  <a:lnTo>
                    <a:pt x="1835" y="766"/>
                  </a:lnTo>
                  <a:lnTo>
                    <a:pt x="1852" y="723"/>
                  </a:lnTo>
                  <a:lnTo>
                    <a:pt x="1831" y="716"/>
                  </a:lnTo>
                  <a:lnTo>
                    <a:pt x="1798" y="683"/>
                  </a:lnTo>
                  <a:lnTo>
                    <a:pt x="1798" y="666"/>
                  </a:lnTo>
                  <a:lnTo>
                    <a:pt x="1814" y="662"/>
                  </a:lnTo>
                  <a:lnTo>
                    <a:pt x="1814" y="629"/>
                  </a:lnTo>
                  <a:lnTo>
                    <a:pt x="1809" y="622"/>
                  </a:lnTo>
                  <a:lnTo>
                    <a:pt x="1793" y="612"/>
                  </a:lnTo>
                  <a:lnTo>
                    <a:pt x="1755" y="645"/>
                  </a:lnTo>
                  <a:lnTo>
                    <a:pt x="1765" y="662"/>
                  </a:lnTo>
                  <a:lnTo>
                    <a:pt x="1765" y="695"/>
                  </a:lnTo>
                  <a:lnTo>
                    <a:pt x="1760" y="723"/>
                  </a:lnTo>
                  <a:lnTo>
                    <a:pt x="1765" y="766"/>
                  </a:lnTo>
                  <a:lnTo>
                    <a:pt x="1755" y="794"/>
                  </a:lnTo>
                  <a:lnTo>
                    <a:pt x="1765" y="834"/>
                  </a:lnTo>
                  <a:lnTo>
                    <a:pt x="1760" y="827"/>
                  </a:lnTo>
                  <a:lnTo>
                    <a:pt x="1743" y="834"/>
                  </a:lnTo>
                  <a:lnTo>
                    <a:pt x="1727" y="827"/>
                  </a:lnTo>
                  <a:lnTo>
                    <a:pt x="1722" y="844"/>
                  </a:lnTo>
                  <a:lnTo>
                    <a:pt x="1710" y="844"/>
                  </a:lnTo>
                  <a:lnTo>
                    <a:pt x="1689" y="822"/>
                  </a:lnTo>
                  <a:lnTo>
                    <a:pt x="1706" y="740"/>
                  </a:lnTo>
                  <a:lnTo>
                    <a:pt x="1706" y="716"/>
                  </a:lnTo>
                  <a:lnTo>
                    <a:pt x="1701" y="695"/>
                  </a:lnTo>
                  <a:lnTo>
                    <a:pt x="1706" y="683"/>
                  </a:lnTo>
                  <a:lnTo>
                    <a:pt x="1689" y="678"/>
                  </a:lnTo>
                  <a:lnTo>
                    <a:pt x="1658" y="683"/>
                  </a:lnTo>
                  <a:lnTo>
                    <a:pt x="1651" y="666"/>
                  </a:lnTo>
                  <a:lnTo>
                    <a:pt x="1658" y="638"/>
                  </a:lnTo>
                  <a:lnTo>
                    <a:pt x="1651" y="638"/>
                  </a:lnTo>
                  <a:lnTo>
                    <a:pt x="1651" y="629"/>
                  </a:lnTo>
                  <a:lnTo>
                    <a:pt x="1651" y="612"/>
                  </a:lnTo>
                  <a:lnTo>
                    <a:pt x="1658" y="622"/>
                  </a:lnTo>
                  <a:lnTo>
                    <a:pt x="1672" y="605"/>
                  </a:lnTo>
                  <a:lnTo>
                    <a:pt x="1684" y="572"/>
                  </a:lnTo>
                  <a:lnTo>
                    <a:pt x="1689" y="567"/>
                  </a:lnTo>
                  <a:lnTo>
                    <a:pt x="1689" y="518"/>
                  </a:lnTo>
                  <a:lnTo>
                    <a:pt x="1706" y="494"/>
                  </a:lnTo>
                  <a:lnTo>
                    <a:pt x="1710" y="478"/>
                  </a:lnTo>
                  <a:lnTo>
                    <a:pt x="1727" y="489"/>
                  </a:lnTo>
                  <a:lnTo>
                    <a:pt x="1722" y="461"/>
                  </a:lnTo>
                  <a:lnTo>
                    <a:pt x="1722" y="440"/>
                  </a:lnTo>
                  <a:lnTo>
                    <a:pt x="1710" y="440"/>
                  </a:lnTo>
                  <a:lnTo>
                    <a:pt x="1706" y="435"/>
                  </a:lnTo>
                  <a:lnTo>
                    <a:pt x="1722" y="440"/>
                  </a:lnTo>
                  <a:lnTo>
                    <a:pt x="1727" y="423"/>
                  </a:lnTo>
                  <a:lnTo>
                    <a:pt x="1722" y="418"/>
                  </a:lnTo>
                  <a:lnTo>
                    <a:pt x="1727" y="390"/>
                  </a:lnTo>
                  <a:lnTo>
                    <a:pt x="1739" y="390"/>
                  </a:lnTo>
                  <a:lnTo>
                    <a:pt x="1739" y="378"/>
                  </a:lnTo>
                  <a:lnTo>
                    <a:pt x="1755" y="366"/>
                  </a:lnTo>
                  <a:lnTo>
                    <a:pt x="1760" y="362"/>
                  </a:lnTo>
                  <a:lnTo>
                    <a:pt x="1760" y="366"/>
                  </a:lnTo>
                  <a:lnTo>
                    <a:pt x="1776" y="378"/>
                  </a:lnTo>
                  <a:lnTo>
                    <a:pt x="1793" y="350"/>
                  </a:lnTo>
                  <a:lnTo>
                    <a:pt x="1793" y="333"/>
                  </a:lnTo>
                  <a:lnTo>
                    <a:pt x="1835" y="333"/>
                  </a:lnTo>
                  <a:lnTo>
                    <a:pt x="1847" y="350"/>
                  </a:lnTo>
                  <a:lnTo>
                    <a:pt x="1869" y="350"/>
                  </a:lnTo>
                  <a:lnTo>
                    <a:pt x="1873" y="350"/>
                  </a:lnTo>
                  <a:lnTo>
                    <a:pt x="1906" y="362"/>
                  </a:lnTo>
                  <a:lnTo>
                    <a:pt x="1939" y="366"/>
                  </a:lnTo>
                  <a:lnTo>
                    <a:pt x="1944" y="362"/>
                  </a:lnTo>
                  <a:lnTo>
                    <a:pt x="1961" y="362"/>
                  </a:lnTo>
                  <a:lnTo>
                    <a:pt x="2015" y="366"/>
                  </a:lnTo>
                  <a:lnTo>
                    <a:pt x="2036" y="350"/>
                  </a:lnTo>
                  <a:lnTo>
                    <a:pt x="2046" y="345"/>
                  </a:lnTo>
                  <a:lnTo>
                    <a:pt x="2062" y="345"/>
                  </a:lnTo>
                  <a:lnTo>
                    <a:pt x="2053" y="329"/>
                  </a:lnTo>
                  <a:lnTo>
                    <a:pt x="2079" y="317"/>
                  </a:lnTo>
                  <a:lnTo>
                    <a:pt x="2079" y="312"/>
                  </a:lnTo>
                  <a:lnTo>
                    <a:pt x="2084" y="307"/>
                  </a:lnTo>
                  <a:lnTo>
                    <a:pt x="2100" y="307"/>
                  </a:lnTo>
                  <a:lnTo>
                    <a:pt x="2105" y="317"/>
                  </a:lnTo>
                  <a:lnTo>
                    <a:pt x="2091" y="329"/>
                  </a:lnTo>
                  <a:lnTo>
                    <a:pt x="2079" y="362"/>
                  </a:lnTo>
                  <a:lnTo>
                    <a:pt x="2036" y="400"/>
                  </a:lnTo>
                  <a:lnTo>
                    <a:pt x="1991" y="407"/>
                  </a:lnTo>
                  <a:lnTo>
                    <a:pt x="1970" y="407"/>
                  </a:lnTo>
                  <a:lnTo>
                    <a:pt x="1954" y="390"/>
                  </a:lnTo>
                  <a:lnTo>
                    <a:pt x="1864" y="400"/>
                  </a:lnTo>
                  <a:lnTo>
                    <a:pt x="1847" y="390"/>
                  </a:lnTo>
                  <a:lnTo>
                    <a:pt x="1814" y="400"/>
                  </a:lnTo>
                  <a:lnTo>
                    <a:pt x="1776" y="390"/>
                  </a:lnTo>
                  <a:lnTo>
                    <a:pt x="1760" y="390"/>
                  </a:lnTo>
                  <a:lnTo>
                    <a:pt x="1743" y="418"/>
                  </a:lnTo>
                  <a:lnTo>
                    <a:pt x="1739" y="440"/>
                  </a:lnTo>
                  <a:lnTo>
                    <a:pt x="1743" y="473"/>
                  </a:lnTo>
                  <a:lnTo>
                    <a:pt x="1755" y="494"/>
                  </a:lnTo>
                  <a:lnTo>
                    <a:pt x="1776" y="501"/>
                  </a:lnTo>
                  <a:lnTo>
                    <a:pt x="1781" y="527"/>
                  </a:lnTo>
                  <a:lnTo>
                    <a:pt x="1793" y="527"/>
                  </a:lnTo>
                  <a:lnTo>
                    <a:pt x="1814" y="534"/>
                  </a:lnTo>
                  <a:lnTo>
                    <a:pt x="1835" y="494"/>
                  </a:lnTo>
                  <a:lnTo>
                    <a:pt x="1852" y="489"/>
                  </a:lnTo>
                  <a:lnTo>
                    <a:pt x="1852" y="494"/>
                  </a:lnTo>
                  <a:lnTo>
                    <a:pt x="1869" y="494"/>
                  </a:lnTo>
                  <a:lnTo>
                    <a:pt x="1885" y="494"/>
                  </a:lnTo>
                  <a:lnTo>
                    <a:pt x="1890" y="489"/>
                  </a:lnTo>
                  <a:lnTo>
                    <a:pt x="1939" y="489"/>
                  </a:lnTo>
                  <a:lnTo>
                    <a:pt x="1944" y="478"/>
                  </a:lnTo>
                  <a:lnTo>
                    <a:pt x="1928" y="478"/>
                  </a:lnTo>
                  <a:lnTo>
                    <a:pt x="1954" y="473"/>
                  </a:lnTo>
                  <a:lnTo>
                    <a:pt x="1970" y="473"/>
                  </a:lnTo>
                  <a:lnTo>
                    <a:pt x="1977" y="489"/>
                  </a:lnTo>
                  <a:lnTo>
                    <a:pt x="1970" y="501"/>
                  </a:lnTo>
                  <a:lnTo>
                    <a:pt x="1961" y="494"/>
                  </a:lnTo>
                  <a:lnTo>
                    <a:pt x="1939" y="494"/>
                  </a:lnTo>
                  <a:lnTo>
                    <a:pt x="1906" y="534"/>
                  </a:lnTo>
                  <a:lnTo>
                    <a:pt x="1869" y="551"/>
                  </a:lnTo>
                  <a:lnTo>
                    <a:pt x="1852" y="567"/>
                  </a:lnTo>
                  <a:lnTo>
                    <a:pt x="1831" y="555"/>
                  </a:lnTo>
                  <a:lnTo>
                    <a:pt x="1831" y="572"/>
                  </a:lnTo>
                  <a:lnTo>
                    <a:pt x="1835" y="572"/>
                  </a:lnTo>
                  <a:lnTo>
                    <a:pt x="1847" y="584"/>
                  </a:lnTo>
                  <a:lnTo>
                    <a:pt x="1869" y="600"/>
                  </a:lnTo>
                  <a:lnTo>
                    <a:pt x="1873" y="622"/>
                  </a:lnTo>
                  <a:lnTo>
                    <a:pt x="1902" y="638"/>
                  </a:lnTo>
                  <a:lnTo>
                    <a:pt x="1902" y="645"/>
                  </a:lnTo>
                  <a:lnTo>
                    <a:pt x="1906" y="655"/>
                  </a:lnTo>
                  <a:lnTo>
                    <a:pt x="1890" y="666"/>
                  </a:lnTo>
                  <a:lnTo>
                    <a:pt x="1890" y="695"/>
                  </a:lnTo>
                  <a:lnTo>
                    <a:pt x="1923" y="711"/>
                  </a:lnTo>
                  <a:lnTo>
                    <a:pt x="1923" y="723"/>
                  </a:lnTo>
                  <a:lnTo>
                    <a:pt x="1939" y="723"/>
                  </a:lnTo>
                  <a:lnTo>
                    <a:pt x="1928" y="716"/>
                  </a:lnTo>
                  <a:lnTo>
                    <a:pt x="1939" y="733"/>
                  </a:lnTo>
                  <a:lnTo>
                    <a:pt x="1939" y="749"/>
                  </a:lnTo>
                  <a:lnTo>
                    <a:pt x="1928" y="749"/>
                  </a:lnTo>
                  <a:lnTo>
                    <a:pt x="1916" y="749"/>
                  </a:lnTo>
                  <a:lnTo>
                    <a:pt x="1885" y="756"/>
                  </a:lnTo>
                  <a:lnTo>
                    <a:pt x="1873" y="766"/>
                  </a:lnTo>
                  <a:lnTo>
                    <a:pt x="1885" y="773"/>
                  </a:lnTo>
                  <a:lnTo>
                    <a:pt x="1873" y="778"/>
                  </a:lnTo>
                  <a:lnTo>
                    <a:pt x="1873" y="778"/>
                  </a:lnTo>
                  <a:lnTo>
                    <a:pt x="1873" y="778"/>
                  </a:lnTo>
                  <a:close/>
                  <a:moveTo>
                    <a:pt x="508" y="329"/>
                  </a:moveTo>
                  <a:lnTo>
                    <a:pt x="508" y="333"/>
                  </a:lnTo>
                  <a:lnTo>
                    <a:pt x="496" y="329"/>
                  </a:lnTo>
                  <a:lnTo>
                    <a:pt x="480" y="317"/>
                  </a:lnTo>
                  <a:lnTo>
                    <a:pt x="470" y="312"/>
                  </a:lnTo>
                  <a:lnTo>
                    <a:pt x="501" y="317"/>
                  </a:lnTo>
                  <a:lnTo>
                    <a:pt x="508" y="329"/>
                  </a:lnTo>
                  <a:lnTo>
                    <a:pt x="508" y="329"/>
                  </a:lnTo>
                  <a:lnTo>
                    <a:pt x="508" y="329"/>
                  </a:lnTo>
                  <a:close/>
                  <a:moveTo>
                    <a:pt x="2105" y="317"/>
                  </a:moveTo>
                  <a:lnTo>
                    <a:pt x="2105" y="329"/>
                  </a:lnTo>
                  <a:lnTo>
                    <a:pt x="2100" y="329"/>
                  </a:lnTo>
                  <a:lnTo>
                    <a:pt x="2105" y="317"/>
                  </a:lnTo>
                  <a:lnTo>
                    <a:pt x="2105" y="317"/>
                  </a:lnTo>
                  <a:lnTo>
                    <a:pt x="2105" y="317"/>
                  </a:lnTo>
                  <a:close/>
                  <a:moveTo>
                    <a:pt x="177" y="390"/>
                  </a:moveTo>
                  <a:lnTo>
                    <a:pt x="173" y="383"/>
                  </a:lnTo>
                  <a:lnTo>
                    <a:pt x="161" y="366"/>
                  </a:lnTo>
                  <a:lnTo>
                    <a:pt x="128" y="329"/>
                  </a:lnTo>
                  <a:lnTo>
                    <a:pt x="144" y="317"/>
                  </a:lnTo>
                  <a:lnTo>
                    <a:pt x="156" y="317"/>
                  </a:lnTo>
                  <a:lnTo>
                    <a:pt x="173" y="345"/>
                  </a:lnTo>
                  <a:lnTo>
                    <a:pt x="182" y="350"/>
                  </a:lnTo>
                  <a:lnTo>
                    <a:pt x="182" y="383"/>
                  </a:lnTo>
                  <a:lnTo>
                    <a:pt x="177" y="390"/>
                  </a:lnTo>
                  <a:lnTo>
                    <a:pt x="177" y="390"/>
                  </a:lnTo>
                  <a:lnTo>
                    <a:pt x="177" y="390"/>
                  </a:lnTo>
                  <a:close/>
                  <a:moveTo>
                    <a:pt x="508" y="345"/>
                  </a:moveTo>
                  <a:lnTo>
                    <a:pt x="508" y="362"/>
                  </a:lnTo>
                  <a:lnTo>
                    <a:pt x="501" y="362"/>
                  </a:lnTo>
                  <a:lnTo>
                    <a:pt x="484" y="350"/>
                  </a:lnTo>
                  <a:lnTo>
                    <a:pt x="484" y="329"/>
                  </a:lnTo>
                  <a:lnTo>
                    <a:pt x="508" y="345"/>
                  </a:lnTo>
                  <a:lnTo>
                    <a:pt x="508" y="345"/>
                  </a:lnTo>
                  <a:lnTo>
                    <a:pt x="508" y="345"/>
                  </a:lnTo>
                  <a:close/>
                  <a:moveTo>
                    <a:pt x="664" y="350"/>
                  </a:moveTo>
                  <a:lnTo>
                    <a:pt x="659" y="366"/>
                  </a:lnTo>
                  <a:lnTo>
                    <a:pt x="631" y="350"/>
                  </a:lnTo>
                  <a:lnTo>
                    <a:pt x="643" y="345"/>
                  </a:lnTo>
                  <a:lnTo>
                    <a:pt x="664" y="350"/>
                  </a:lnTo>
                  <a:lnTo>
                    <a:pt x="664" y="350"/>
                  </a:lnTo>
                  <a:lnTo>
                    <a:pt x="664" y="350"/>
                  </a:lnTo>
                  <a:close/>
                  <a:moveTo>
                    <a:pt x="626" y="345"/>
                  </a:moveTo>
                  <a:lnTo>
                    <a:pt x="614" y="362"/>
                  </a:lnTo>
                  <a:lnTo>
                    <a:pt x="610" y="350"/>
                  </a:lnTo>
                  <a:lnTo>
                    <a:pt x="614" y="345"/>
                  </a:lnTo>
                  <a:lnTo>
                    <a:pt x="626" y="345"/>
                  </a:lnTo>
                  <a:lnTo>
                    <a:pt x="626" y="345"/>
                  </a:lnTo>
                  <a:lnTo>
                    <a:pt x="626" y="345"/>
                  </a:lnTo>
                  <a:close/>
                  <a:moveTo>
                    <a:pt x="550" y="366"/>
                  </a:moveTo>
                  <a:lnTo>
                    <a:pt x="522" y="350"/>
                  </a:lnTo>
                  <a:lnTo>
                    <a:pt x="522" y="345"/>
                  </a:lnTo>
                  <a:lnTo>
                    <a:pt x="550" y="350"/>
                  </a:lnTo>
                  <a:lnTo>
                    <a:pt x="555" y="366"/>
                  </a:lnTo>
                  <a:lnTo>
                    <a:pt x="550" y="366"/>
                  </a:lnTo>
                  <a:lnTo>
                    <a:pt x="550" y="366"/>
                  </a:lnTo>
                  <a:lnTo>
                    <a:pt x="550" y="366"/>
                  </a:lnTo>
                  <a:close/>
                  <a:moveTo>
                    <a:pt x="539" y="378"/>
                  </a:moveTo>
                  <a:lnTo>
                    <a:pt x="534" y="366"/>
                  </a:lnTo>
                  <a:lnTo>
                    <a:pt x="508" y="366"/>
                  </a:lnTo>
                  <a:lnTo>
                    <a:pt x="501" y="366"/>
                  </a:lnTo>
                  <a:lnTo>
                    <a:pt x="508" y="362"/>
                  </a:lnTo>
                  <a:lnTo>
                    <a:pt x="508" y="345"/>
                  </a:lnTo>
                  <a:lnTo>
                    <a:pt x="550" y="366"/>
                  </a:lnTo>
                  <a:lnTo>
                    <a:pt x="539" y="378"/>
                  </a:lnTo>
                  <a:lnTo>
                    <a:pt x="539" y="378"/>
                  </a:lnTo>
                  <a:lnTo>
                    <a:pt x="539" y="378"/>
                  </a:lnTo>
                  <a:close/>
                  <a:moveTo>
                    <a:pt x="572" y="350"/>
                  </a:moveTo>
                  <a:lnTo>
                    <a:pt x="572" y="362"/>
                  </a:lnTo>
                  <a:lnTo>
                    <a:pt x="560" y="345"/>
                  </a:lnTo>
                  <a:lnTo>
                    <a:pt x="572" y="350"/>
                  </a:lnTo>
                  <a:lnTo>
                    <a:pt x="572" y="350"/>
                  </a:lnTo>
                  <a:lnTo>
                    <a:pt x="572" y="350"/>
                  </a:lnTo>
                  <a:close/>
                  <a:moveTo>
                    <a:pt x="610" y="362"/>
                  </a:moveTo>
                  <a:lnTo>
                    <a:pt x="605" y="350"/>
                  </a:lnTo>
                  <a:lnTo>
                    <a:pt x="610" y="362"/>
                  </a:lnTo>
                  <a:lnTo>
                    <a:pt x="610" y="362"/>
                  </a:lnTo>
                  <a:lnTo>
                    <a:pt x="610" y="362"/>
                  </a:lnTo>
                  <a:close/>
                  <a:moveTo>
                    <a:pt x="626" y="366"/>
                  </a:moveTo>
                  <a:lnTo>
                    <a:pt x="614" y="362"/>
                  </a:lnTo>
                  <a:lnTo>
                    <a:pt x="631" y="366"/>
                  </a:lnTo>
                  <a:lnTo>
                    <a:pt x="626" y="366"/>
                  </a:lnTo>
                  <a:lnTo>
                    <a:pt x="626" y="366"/>
                  </a:lnTo>
                  <a:lnTo>
                    <a:pt x="626" y="366"/>
                  </a:lnTo>
                  <a:close/>
                  <a:moveTo>
                    <a:pt x="576" y="378"/>
                  </a:moveTo>
                  <a:lnTo>
                    <a:pt x="572" y="383"/>
                  </a:lnTo>
                  <a:lnTo>
                    <a:pt x="572" y="366"/>
                  </a:lnTo>
                  <a:lnTo>
                    <a:pt x="576" y="378"/>
                  </a:lnTo>
                  <a:lnTo>
                    <a:pt x="576" y="378"/>
                  </a:lnTo>
                  <a:lnTo>
                    <a:pt x="576" y="378"/>
                  </a:lnTo>
                  <a:close/>
                  <a:moveTo>
                    <a:pt x="631" y="378"/>
                  </a:moveTo>
                  <a:lnTo>
                    <a:pt x="626" y="378"/>
                  </a:lnTo>
                  <a:lnTo>
                    <a:pt x="631" y="366"/>
                  </a:lnTo>
                  <a:lnTo>
                    <a:pt x="631" y="378"/>
                  </a:lnTo>
                  <a:lnTo>
                    <a:pt x="631" y="378"/>
                  </a:lnTo>
                  <a:lnTo>
                    <a:pt x="631" y="378"/>
                  </a:lnTo>
                  <a:close/>
                  <a:moveTo>
                    <a:pt x="2263" y="378"/>
                  </a:moveTo>
                  <a:lnTo>
                    <a:pt x="2251" y="383"/>
                  </a:lnTo>
                  <a:lnTo>
                    <a:pt x="2251" y="378"/>
                  </a:lnTo>
                  <a:lnTo>
                    <a:pt x="2263" y="378"/>
                  </a:lnTo>
                  <a:lnTo>
                    <a:pt x="2263" y="378"/>
                  </a:lnTo>
                  <a:lnTo>
                    <a:pt x="2263" y="378"/>
                  </a:lnTo>
                  <a:close/>
                  <a:moveTo>
                    <a:pt x="560" y="383"/>
                  </a:moveTo>
                  <a:lnTo>
                    <a:pt x="555" y="390"/>
                  </a:lnTo>
                  <a:lnTo>
                    <a:pt x="555" y="378"/>
                  </a:lnTo>
                  <a:lnTo>
                    <a:pt x="560" y="383"/>
                  </a:lnTo>
                  <a:lnTo>
                    <a:pt x="560" y="383"/>
                  </a:lnTo>
                  <a:lnTo>
                    <a:pt x="560" y="383"/>
                  </a:lnTo>
                  <a:close/>
                  <a:moveTo>
                    <a:pt x="2251" y="400"/>
                  </a:moveTo>
                  <a:lnTo>
                    <a:pt x="2251" y="407"/>
                  </a:lnTo>
                  <a:lnTo>
                    <a:pt x="2251" y="400"/>
                  </a:lnTo>
                  <a:lnTo>
                    <a:pt x="2251" y="400"/>
                  </a:lnTo>
                  <a:lnTo>
                    <a:pt x="2251" y="400"/>
                  </a:lnTo>
                  <a:close/>
                  <a:moveTo>
                    <a:pt x="248" y="423"/>
                  </a:moveTo>
                  <a:lnTo>
                    <a:pt x="232" y="418"/>
                  </a:lnTo>
                  <a:lnTo>
                    <a:pt x="248" y="418"/>
                  </a:lnTo>
                  <a:lnTo>
                    <a:pt x="248" y="423"/>
                  </a:lnTo>
                  <a:lnTo>
                    <a:pt x="248" y="423"/>
                  </a:lnTo>
                  <a:lnTo>
                    <a:pt x="248" y="423"/>
                  </a:lnTo>
                  <a:close/>
                  <a:moveTo>
                    <a:pt x="2407" y="444"/>
                  </a:moveTo>
                  <a:lnTo>
                    <a:pt x="2386" y="423"/>
                  </a:lnTo>
                  <a:lnTo>
                    <a:pt x="2407" y="440"/>
                  </a:lnTo>
                  <a:lnTo>
                    <a:pt x="2407" y="444"/>
                  </a:lnTo>
                  <a:lnTo>
                    <a:pt x="2407" y="444"/>
                  </a:lnTo>
                  <a:lnTo>
                    <a:pt x="2407" y="444"/>
                  </a:lnTo>
                  <a:close/>
                  <a:moveTo>
                    <a:pt x="680" y="456"/>
                  </a:moveTo>
                  <a:lnTo>
                    <a:pt x="664" y="444"/>
                  </a:lnTo>
                  <a:lnTo>
                    <a:pt x="647" y="444"/>
                  </a:lnTo>
                  <a:lnTo>
                    <a:pt x="643" y="444"/>
                  </a:lnTo>
                  <a:lnTo>
                    <a:pt x="647" y="435"/>
                  </a:lnTo>
                  <a:lnTo>
                    <a:pt x="680" y="440"/>
                  </a:lnTo>
                  <a:lnTo>
                    <a:pt x="680" y="456"/>
                  </a:lnTo>
                  <a:lnTo>
                    <a:pt x="680" y="456"/>
                  </a:lnTo>
                  <a:lnTo>
                    <a:pt x="680" y="456"/>
                  </a:lnTo>
                  <a:close/>
                  <a:moveTo>
                    <a:pt x="232" y="456"/>
                  </a:moveTo>
                  <a:lnTo>
                    <a:pt x="215" y="435"/>
                  </a:lnTo>
                  <a:lnTo>
                    <a:pt x="227" y="435"/>
                  </a:lnTo>
                  <a:lnTo>
                    <a:pt x="232" y="456"/>
                  </a:lnTo>
                  <a:lnTo>
                    <a:pt x="232" y="456"/>
                  </a:lnTo>
                  <a:lnTo>
                    <a:pt x="232" y="456"/>
                  </a:lnTo>
                  <a:close/>
                  <a:moveTo>
                    <a:pt x="2485" y="435"/>
                  </a:moveTo>
                  <a:lnTo>
                    <a:pt x="2516" y="435"/>
                  </a:lnTo>
                  <a:lnTo>
                    <a:pt x="2532" y="440"/>
                  </a:lnTo>
                  <a:lnTo>
                    <a:pt x="2532" y="444"/>
                  </a:lnTo>
                  <a:lnTo>
                    <a:pt x="2523" y="456"/>
                  </a:lnTo>
                  <a:lnTo>
                    <a:pt x="2511" y="456"/>
                  </a:lnTo>
                  <a:lnTo>
                    <a:pt x="2478" y="435"/>
                  </a:lnTo>
                  <a:lnTo>
                    <a:pt x="2499" y="456"/>
                  </a:lnTo>
                  <a:lnTo>
                    <a:pt x="2495" y="461"/>
                  </a:lnTo>
                  <a:lnTo>
                    <a:pt x="2485" y="444"/>
                  </a:lnTo>
                  <a:lnTo>
                    <a:pt x="2478" y="456"/>
                  </a:lnTo>
                  <a:lnTo>
                    <a:pt x="2478" y="444"/>
                  </a:lnTo>
                  <a:lnTo>
                    <a:pt x="2457" y="444"/>
                  </a:lnTo>
                  <a:lnTo>
                    <a:pt x="2469" y="440"/>
                  </a:lnTo>
                  <a:lnTo>
                    <a:pt x="2461" y="440"/>
                  </a:lnTo>
                  <a:lnTo>
                    <a:pt x="2457" y="440"/>
                  </a:lnTo>
                  <a:lnTo>
                    <a:pt x="2485" y="435"/>
                  </a:lnTo>
                  <a:lnTo>
                    <a:pt x="2485" y="435"/>
                  </a:lnTo>
                  <a:lnTo>
                    <a:pt x="2485" y="435"/>
                  </a:lnTo>
                  <a:close/>
                  <a:moveTo>
                    <a:pt x="1890" y="444"/>
                  </a:moveTo>
                  <a:lnTo>
                    <a:pt x="1885" y="444"/>
                  </a:lnTo>
                  <a:lnTo>
                    <a:pt x="1890" y="444"/>
                  </a:lnTo>
                  <a:lnTo>
                    <a:pt x="1890" y="444"/>
                  </a:lnTo>
                  <a:lnTo>
                    <a:pt x="1890" y="444"/>
                  </a:lnTo>
                  <a:close/>
                  <a:moveTo>
                    <a:pt x="593" y="444"/>
                  </a:moveTo>
                  <a:lnTo>
                    <a:pt x="593" y="456"/>
                  </a:lnTo>
                  <a:lnTo>
                    <a:pt x="572" y="456"/>
                  </a:lnTo>
                  <a:lnTo>
                    <a:pt x="576" y="444"/>
                  </a:lnTo>
                  <a:lnTo>
                    <a:pt x="593" y="444"/>
                  </a:lnTo>
                  <a:lnTo>
                    <a:pt x="593" y="444"/>
                  </a:lnTo>
                  <a:lnTo>
                    <a:pt x="593" y="444"/>
                  </a:lnTo>
                  <a:close/>
                  <a:moveTo>
                    <a:pt x="227" y="461"/>
                  </a:moveTo>
                  <a:lnTo>
                    <a:pt x="227" y="473"/>
                  </a:lnTo>
                  <a:lnTo>
                    <a:pt x="215" y="473"/>
                  </a:lnTo>
                  <a:lnTo>
                    <a:pt x="227" y="444"/>
                  </a:lnTo>
                  <a:lnTo>
                    <a:pt x="227" y="461"/>
                  </a:lnTo>
                  <a:lnTo>
                    <a:pt x="227" y="461"/>
                  </a:lnTo>
                  <a:lnTo>
                    <a:pt x="227" y="461"/>
                  </a:lnTo>
                  <a:close/>
                  <a:moveTo>
                    <a:pt x="2246" y="444"/>
                  </a:moveTo>
                  <a:lnTo>
                    <a:pt x="2246" y="461"/>
                  </a:lnTo>
                  <a:lnTo>
                    <a:pt x="2242" y="461"/>
                  </a:lnTo>
                  <a:lnTo>
                    <a:pt x="2242" y="444"/>
                  </a:lnTo>
                  <a:lnTo>
                    <a:pt x="2246" y="444"/>
                  </a:lnTo>
                  <a:lnTo>
                    <a:pt x="2246" y="444"/>
                  </a:lnTo>
                  <a:lnTo>
                    <a:pt x="2246" y="444"/>
                  </a:lnTo>
                  <a:close/>
                  <a:moveTo>
                    <a:pt x="1885" y="456"/>
                  </a:moveTo>
                  <a:lnTo>
                    <a:pt x="1885" y="444"/>
                  </a:lnTo>
                  <a:lnTo>
                    <a:pt x="1885" y="456"/>
                  </a:lnTo>
                  <a:lnTo>
                    <a:pt x="1885" y="456"/>
                  </a:lnTo>
                  <a:lnTo>
                    <a:pt x="1885" y="456"/>
                  </a:lnTo>
                  <a:close/>
                  <a:moveTo>
                    <a:pt x="2263" y="444"/>
                  </a:moveTo>
                  <a:lnTo>
                    <a:pt x="2280" y="461"/>
                  </a:lnTo>
                  <a:lnTo>
                    <a:pt x="2268" y="473"/>
                  </a:lnTo>
                  <a:lnTo>
                    <a:pt x="2280" y="478"/>
                  </a:lnTo>
                  <a:lnTo>
                    <a:pt x="2284" y="478"/>
                  </a:lnTo>
                  <a:lnTo>
                    <a:pt x="2294" y="489"/>
                  </a:lnTo>
                  <a:lnTo>
                    <a:pt x="2284" y="494"/>
                  </a:lnTo>
                  <a:lnTo>
                    <a:pt x="2268" y="489"/>
                  </a:lnTo>
                  <a:lnTo>
                    <a:pt x="2263" y="489"/>
                  </a:lnTo>
                  <a:lnTo>
                    <a:pt x="2246" y="461"/>
                  </a:lnTo>
                  <a:lnTo>
                    <a:pt x="2246" y="456"/>
                  </a:lnTo>
                  <a:lnTo>
                    <a:pt x="2263" y="444"/>
                  </a:lnTo>
                  <a:lnTo>
                    <a:pt x="2263" y="444"/>
                  </a:lnTo>
                  <a:lnTo>
                    <a:pt x="2263" y="444"/>
                  </a:lnTo>
                  <a:close/>
                  <a:moveTo>
                    <a:pt x="1885" y="456"/>
                  </a:moveTo>
                  <a:lnTo>
                    <a:pt x="1869" y="456"/>
                  </a:lnTo>
                  <a:lnTo>
                    <a:pt x="1873" y="444"/>
                  </a:lnTo>
                  <a:lnTo>
                    <a:pt x="1885" y="456"/>
                  </a:lnTo>
                  <a:lnTo>
                    <a:pt x="1885" y="456"/>
                  </a:lnTo>
                  <a:lnTo>
                    <a:pt x="1885" y="456"/>
                  </a:lnTo>
                  <a:close/>
                  <a:moveTo>
                    <a:pt x="647" y="456"/>
                  </a:moveTo>
                  <a:lnTo>
                    <a:pt x="659" y="461"/>
                  </a:lnTo>
                  <a:lnTo>
                    <a:pt x="647" y="473"/>
                  </a:lnTo>
                  <a:lnTo>
                    <a:pt x="631" y="461"/>
                  </a:lnTo>
                  <a:lnTo>
                    <a:pt x="647" y="456"/>
                  </a:lnTo>
                  <a:lnTo>
                    <a:pt x="647" y="456"/>
                  </a:lnTo>
                  <a:lnTo>
                    <a:pt x="647" y="456"/>
                  </a:lnTo>
                  <a:close/>
                  <a:moveTo>
                    <a:pt x="3213" y="612"/>
                  </a:moveTo>
                  <a:lnTo>
                    <a:pt x="3213" y="884"/>
                  </a:lnTo>
                  <a:lnTo>
                    <a:pt x="3203" y="905"/>
                  </a:lnTo>
                  <a:lnTo>
                    <a:pt x="3203" y="922"/>
                  </a:lnTo>
                  <a:lnTo>
                    <a:pt x="3213" y="922"/>
                  </a:lnTo>
                  <a:lnTo>
                    <a:pt x="3213" y="1089"/>
                  </a:lnTo>
                  <a:lnTo>
                    <a:pt x="3142" y="1016"/>
                  </a:lnTo>
                  <a:lnTo>
                    <a:pt x="3149" y="995"/>
                  </a:lnTo>
                  <a:lnTo>
                    <a:pt x="3132" y="1016"/>
                  </a:lnTo>
                  <a:lnTo>
                    <a:pt x="3095" y="1016"/>
                  </a:lnTo>
                  <a:lnTo>
                    <a:pt x="3090" y="1011"/>
                  </a:lnTo>
                  <a:lnTo>
                    <a:pt x="3061" y="1028"/>
                  </a:lnTo>
                  <a:lnTo>
                    <a:pt x="3057" y="1016"/>
                  </a:lnTo>
                  <a:lnTo>
                    <a:pt x="3078" y="978"/>
                  </a:lnTo>
                  <a:lnTo>
                    <a:pt x="3052" y="945"/>
                  </a:lnTo>
                  <a:lnTo>
                    <a:pt x="3073" y="955"/>
                  </a:lnTo>
                  <a:lnTo>
                    <a:pt x="3090" y="945"/>
                  </a:lnTo>
                  <a:lnTo>
                    <a:pt x="3073" y="945"/>
                  </a:lnTo>
                  <a:lnTo>
                    <a:pt x="3057" y="945"/>
                  </a:lnTo>
                  <a:lnTo>
                    <a:pt x="3040" y="933"/>
                  </a:lnTo>
                  <a:lnTo>
                    <a:pt x="3061" y="922"/>
                  </a:lnTo>
                  <a:lnTo>
                    <a:pt x="3078" y="933"/>
                  </a:lnTo>
                  <a:lnTo>
                    <a:pt x="3052" y="917"/>
                  </a:lnTo>
                  <a:lnTo>
                    <a:pt x="3052" y="905"/>
                  </a:lnTo>
                  <a:lnTo>
                    <a:pt x="3024" y="884"/>
                  </a:lnTo>
                  <a:lnTo>
                    <a:pt x="3019" y="851"/>
                  </a:lnTo>
                  <a:lnTo>
                    <a:pt x="3007" y="844"/>
                  </a:lnTo>
                  <a:lnTo>
                    <a:pt x="3024" y="834"/>
                  </a:lnTo>
                  <a:lnTo>
                    <a:pt x="3002" y="844"/>
                  </a:lnTo>
                  <a:lnTo>
                    <a:pt x="3002" y="822"/>
                  </a:lnTo>
                  <a:lnTo>
                    <a:pt x="2998" y="822"/>
                  </a:lnTo>
                  <a:lnTo>
                    <a:pt x="2948" y="789"/>
                  </a:lnTo>
                  <a:lnTo>
                    <a:pt x="2915" y="778"/>
                  </a:lnTo>
                  <a:lnTo>
                    <a:pt x="2856" y="756"/>
                  </a:lnTo>
                  <a:lnTo>
                    <a:pt x="2802" y="749"/>
                  </a:lnTo>
                  <a:lnTo>
                    <a:pt x="2764" y="723"/>
                  </a:lnTo>
                  <a:lnTo>
                    <a:pt x="2771" y="711"/>
                  </a:lnTo>
                  <a:lnTo>
                    <a:pt x="2787" y="711"/>
                  </a:lnTo>
                  <a:lnTo>
                    <a:pt x="2764" y="711"/>
                  </a:lnTo>
                  <a:lnTo>
                    <a:pt x="2754" y="716"/>
                  </a:lnTo>
                  <a:lnTo>
                    <a:pt x="2750" y="711"/>
                  </a:lnTo>
                  <a:lnTo>
                    <a:pt x="2738" y="716"/>
                  </a:lnTo>
                  <a:lnTo>
                    <a:pt x="2733" y="716"/>
                  </a:lnTo>
                  <a:lnTo>
                    <a:pt x="2733" y="700"/>
                  </a:lnTo>
                  <a:lnTo>
                    <a:pt x="2717" y="700"/>
                  </a:lnTo>
                  <a:lnTo>
                    <a:pt x="2712" y="683"/>
                  </a:lnTo>
                  <a:lnTo>
                    <a:pt x="2700" y="695"/>
                  </a:lnTo>
                  <a:lnTo>
                    <a:pt x="2695" y="678"/>
                  </a:lnTo>
                  <a:lnTo>
                    <a:pt x="2700" y="662"/>
                  </a:lnTo>
                  <a:lnTo>
                    <a:pt x="2712" y="655"/>
                  </a:lnTo>
                  <a:lnTo>
                    <a:pt x="2712" y="645"/>
                  </a:lnTo>
                  <a:lnTo>
                    <a:pt x="2695" y="655"/>
                  </a:lnTo>
                  <a:lnTo>
                    <a:pt x="2695" y="678"/>
                  </a:lnTo>
                  <a:lnTo>
                    <a:pt x="2683" y="678"/>
                  </a:lnTo>
                  <a:lnTo>
                    <a:pt x="2683" y="683"/>
                  </a:lnTo>
                  <a:lnTo>
                    <a:pt x="2679" y="700"/>
                  </a:lnTo>
                  <a:lnTo>
                    <a:pt x="2679" y="711"/>
                  </a:lnTo>
                  <a:lnTo>
                    <a:pt x="2662" y="723"/>
                  </a:lnTo>
                  <a:lnTo>
                    <a:pt x="2641" y="723"/>
                  </a:lnTo>
                  <a:lnTo>
                    <a:pt x="2629" y="695"/>
                  </a:lnTo>
                  <a:lnTo>
                    <a:pt x="2641" y="683"/>
                  </a:lnTo>
                  <a:lnTo>
                    <a:pt x="2641" y="678"/>
                  </a:lnTo>
                  <a:lnTo>
                    <a:pt x="2629" y="666"/>
                  </a:lnTo>
                  <a:lnTo>
                    <a:pt x="2624" y="666"/>
                  </a:lnTo>
                  <a:lnTo>
                    <a:pt x="2620" y="655"/>
                  </a:lnTo>
                  <a:lnTo>
                    <a:pt x="2603" y="638"/>
                  </a:lnTo>
                  <a:lnTo>
                    <a:pt x="2587" y="645"/>
                  </a:lnTo>
                  <a:lnTo>
                    <a:pt x="2575" y="629"/>
                  </a:lnTo>
                  <a:lnTo>
                    <a:pt x="2603" y="622"/>
                  </a:lnTo>
                  <a:lnTo>
                    <a:pt x="2629" y="629"/>
                  </a:lnTo>
                  <a:lnTo>
                    <a:pt x="2646" y="605"/>
                  </a:lnTo>
                  <a:lnTo>
                    <a:pt x="2662" y="605"/>
                  </a:lnTo>
                  <a:lnTo>
                    <a:pt x="2683" y="612"/>
                  </a:lnTo>
                  <a:lnTo>
                    <a:pt x="2695" y="612"/>
                  </a:lnTo>
                  <a:lnTo>
                    <a:pt x="2695" y="622"/>
                  </a:lnTo>
                  <a:lnTo>
                    <a:pt x="2700" y="605"/>
                  </a:lnTo>
                  <a:lnTo>
                    <a:pt x="2712" y="622"/>
                  </a:lnTo>
                  <a:lnTo>
                    <a:pt x="2700" y="605"/>
                  </a:lnTo>
                  <a:lnTo>
                    <a:pt x="2717" y="600"/>
                  </a:lnTo>
                  <a:lnTo>
                    <a:pt x="2717" y="589"/>
                  </a:lnTo>
                  <a:lnTo>
                    <a:pt x="2712" y="600"/>
                  </a:lnTo>
                  <a:lnTo>
                    <a:pt x="2700" y="589"/>
                  </a:lnTo>
                  <a:lnTo>
                    <a:pt x="2717" y="584"/>
                  </a:lnTo>
                  <a:lnTo>
                    <a:pt x="2695" y="589"/>
                  </a:lnTo>
                  <a:lnTo>
                    <a:pt x="2674" y="589"/>
                  </a:lnTo>
                  <a:lnTo>
                    <a:pt x="2624" y="600"/>
                  </a:lnTo>
                  <a:lnTo>
                    <a:pt x="2620" y="589"/>
                  </a:lnTo>
                  <a:lnTo>
                    <a:pt x="2603" y="589"/>
                  </a:lnTo>
                  <a:lnTo>
                    <a:pt x="2575" y="584"/>
                  </a:lnTo>
                  <a:lnTo>
                    <a:pt x="2570" y="551"/>
                  </a:lnTo>
                  <a:lnTo>
                    <a:pt x="2523" y="527"/>
                  </a:lnTo>
                  <a:lnTo>
                    <a:pt x="2532" y="534"/>
                  </a:lnTo>
                  <a:lnTo>
                    <a:pt x="2523" y="534"/>
                  </a:lnTo>
                  <a:lnTo>
                    <a:pt x="2511" y="527"/>
                  </a:lnTo>
                  <a:lnTo>
                    <a:pt x="2523" y="511"/>
                  </a:lnTo>
                  <a:lnTo>
                    <a:pt x="2523" y="489"/>
                  </a:lnTo>
                  <a:lnTo>
                    <a:pt x="2570" y="478"/>
                  </a:lnTo>
                  <a:lnTo>
                    <a:pt x="2587" y="461"/>
                  </a:lnTo>
                  <a:lnTo>
                    <a:pt x="2608" y="456"/>
                  </a:lnTo>
                  <a:lnTo>
                    <a:pt x="2662" y="473"/>
                  </a:lnTo>
                  <a:lnTo>
                    <a:pt x="2679" y="478"/>
                  </a:lnTo>
                  <a:lnTo>
                    <a:pt x="2717" y="478"/>
                  </a:lnTo>
                  <a:lnTo>
                    <a:pt x="2726" y="489"/>
                  </a:lnTo>
                  <a:lnTo>
                    <a:pt x="2717" y="494"/>
                  </a:lnTo>
                  <a:lnTo>
                    <a:pt x="2738" y="527"/>
                  </a:lnTo>
                  <a:lnTo>
                    <a:pt x="2726" y="551"/>
                  </a:lnTo>
                  <a:lnTo>
                    <a:pt x="2733" y="600"/>
                  </a:lnTo>
                  <a:lnTo>
                    <a:pt x="2750" y="638"/>
                  </a:lnTo>
                  <a:lnTo>
                    <a:pt x="2754" y="629"/>
                  </a:lnTo>
                  <a:lnTo>
                    <a:pt x="2754" y="612"/>
                  </a:lnTo>
                  <a:lnTo>
                    <a:pt x="2754" y="605"/>
                  </a:lnTo>
                  <a:lnTo>
                    <a:pt x="2764" y="605"/>
                  </a:lnTo>
                  <a:lnTo>
                    <a:pt x="2771" y="645"/>
                  </a:lnTo>
                  <a:lnTo>
                    <a:pt x="2780" y="638"/>
                  </a:lnTo>
                  <a:lnTo>
                    <a:pt x="2780" y="655"/>
                  </a:lnTo>
                  <a:lnTo>
                    <a:pt x="2780" y="662"/>
                  </a:lnTo>
                  <a:lnTo>
                    <a:pt x="2792" y="666"/>
                  </a:lnTo>
                  <a:lnTo>
                    <a:pt x="2825" y="666"/>
                  </a:lnTo>
                  <a:lnTo>
                    <a:pt x="2856" y="645"/>
                  </a:lnTo>
                  <a:lnTo>
                    <a:pt x="2863" y="622"/>
                  </a:lnTo>
                  <a:lnTo>
                    <a:pt x="2877" y="612"/>
                  </a:lnTo>
                  <a:lnTo>
                    <a:pt x="2889" y="589"/>
                  </a:lnTo>
                  <a:lnTo>
                    <a:pt x="2910" y="589"/>
                  </a:lnTo>
                  <a:lnTo>
                    <a:pt x="2943" y="584"/>
                  </a:lnTo>
                  <a:lnTo>
                    <a:pt x="2943" y="555"/>
                  </a:lnTo>
                  <a:lnTo>
                    <a:pt x="2986" y="534"/>
                  </a:lnTo>
                  <a:lnTo>
                    <a:pt x="3128" y="600"/>
                  </a:lnTo>
                  <a:lnTo>
                    <a:pt x="3149" y="600"/>
                  </a:lnTo>
                  <a:lnTo>
                    <a:pt x="3165" y="605"/>
                  </a:lnTo>
                  <a:lnTo>
                    <a:pt x="3187" y="605"/>
                  </a:lnTo>
                  <a:lnTo>
                    <a:pt x="3187" y="622"/>
                  </a:lnTo>
                  <a:lnTo>
                    <a:pt x="3213" y="612"/>
                  </a:lnTo>
                  <a:lnTo>
                    <a:pt x="3213" y="612"/>
                  </a:lnTo>
                  <a:lnTo>
                    <a:pt x="3213" y="612"/>
                  </a:lnTo>
                  <a:close/>
                  <a:moveTo>
                    <a:pt x="1869" y="461"/>
                  </a:moveTo>
                  <a:lnTo>
                    <a:pt x="1852" y="473"/>
                  </a:lnTo>
                  <a:lnTo>
                    <a:pt x="1864" y="456"/>
                  </a:lnTo>
                  <a:lnTo>
                    <a:pt x="1869" y="461"/>
                  </a:lnTo>
                  <a:lnTo>
                    <a:pt x="1869" y="461"/>
                  </a:lnTo>
                  <a:lnTo>
                    <a:pt x="1869" y="461"/>
                  </a:lnTo>
                  <a:close/>
                  <a:moveTo>
                    <a:pt x="2485" y="456"/>
                  </a:moveTo>
                  <a:lnTo>
                    <a:pt x="2485" y="461"/>
                  </a:lnTo>
                  <a:lnTo>
                    <a:pt x="2469" y="461"/>
                  </a:lnTo>
                  <a:lnTo>
                    <a:pt x="2485" y="456"/>
                  </a:lnTo>
                  <a:lnTo>
                    <a:pt x="2485" y="456"/>
                  </a:lnTo>
                  <a:lnTo>
                    <a:pt x="2485" y="456"/>
                  </a:lnTo>
                  <a:close/>
                  <a:moveTo>
                    <a:pt x="2246" y="473"/>
                  </a:moveTo>
                  <a:lnTo>
                    <a:pt x="2246" y="489"/>
                  </a:lnTo>
                  <a:lnTo>
                    <a:pt x="2242" y="489"/>
                  </a:lnTo>
                  <a:lnTo>
                    <a:pt x="2246" y="473"/>
                  </a:lnTo>
                  <a:lnTo>
                    <a:pt x="2246" y="473"/>
                  </a:lnTo>
                  <a:lnTo>
                    <a:pt x="2246" y="473"/>
                  </a:lnTo>
                  <a:close/>
                  <a:moveTo>
                    <a:pt x="2818" y="478"/>
                  </a:moveTo>
                  <a:lnTo>
                    <a:pt x="2839" y="478"/>
                  </a:lnTo>
                  <a:lnTo>
                    <a:pt x="2846" y="478"/>
                  </a:lnTo>
                  <a:lnTo>
                    <a:pt x="2872" y="501"/>
                  </a:lnTo>
                  <a:lnTo>
                    <a:pt x="2889" y="511"/>
                  </a:lnTo>
                  <a:lnTo>
                    <a:pt x="2872" y="518"/>
                  </a:lnTo>
                  <a:lnTo>
                    <a:pt x="2846" y="511"/>
                  </a:lnTo>
                  <a:lnTo>
                    <a:pt x="2839" y="489"/>
                  </a:lnTo>
                  <a:lnTo>
                    <a:pt x="2835" y="494"/>
                  </a:lnTo>
                  <a:lnTo>
                    <a:pt x="2825" y="489"/>
                  </a:lnTo>
                  <a:lnTo>
                    <a:pt x="2818" y="478"/>
                  </a:lnTo>
                  <a:lnTo>
                    <a:pt x="2818" y="478"/>
                  </a:lnTo>
                  <a:lnTo>
                    <a:pt x="2818" y="478"/>
                  </a:lnTo>
                  <a:close/>
                  <a:moveTo>
                    <a:pt x="2495" y="489"/>
                  </a:moveTo>
                  <a:lnTo>
                    <a:pt x="2499" y="489"/>
                  </a:lnTo>
                  <a:lnTo>
                    <a:pt x="2495" y="489"/>
                  </a:lnTo>
                  <a:lnTo>
                    <a:pt x="2461" y="494"/>
                  </a:lnTo>
                  <a:lnTo>
                    <a:pt x="2469" y="489"/>
                  </a:lnTo>
                  <a:lnTo>
                    <a:pt x="2495" y="489"/>
                  </a:lnTo>
                  <a:lnTo>
                    <a:pt x="2495" y="489"/>
                  </a:lnTo>
                  <a:lnTo>
                    <a:pt x="2495" y="489"/>
                  </a:lnTo>
                  <a:close/>
                  <a:moveTo>
                    <a:pt x="2499" y="494"/>
                  </a:moveTo>
                  <a:lnTo>
                    <a:pt x="2516" y="494"/>
                  </a:lnTo>
                  <a:lnTo>
                    <a:pt x="2511" y="527"/>
                  </a:lnTo>
                  <a:lnTo>
                    <a:pt x="2495" y="518"/>
                  </a:lnTo>
                  <a:lnTo>
                    <a:pt x="2485" y="501"/>
                  </a:lnTo>
                  <a:lnTo>
                    <a:pt x="2499" y="494"/>
                  </a:lnTo>
                  <a:lnTo>
                    <a:pt x="2499" y="494"/>
                  </a:lnTo>
                  <a:lnTo>
                    <a:pt x="2499" y="494"/>
                  </a:lnTo>
                  <a:close/>
                  <a:moveTo>
                    <a:pt x="286" y="551"/>
                  </a:moveTo>
                  <a:lnTo>
                    <a:pt x="279" y="546"/>
                  </a:lnTo>
                  <a:lnTo>
                    <a:pt x="279" y="555"/>
                  </a:lnTo>
                  <a:lnTo>
                    <a:pt x="269" y="555"/>
                  </a:lnTo>
                  <a:lnTo>
                    <a:pt x="248" y="546"/>
                  </a:lnTo>
                  <a:lnTo>
                    <a:pt x="232" y="511"/>
                  </a:lnTo>
                  <a:lnTo>
                    <a:pt x="236" y="494"/>
                  </a:lnTo>
                  <a:lnTo>
                    <a:pt x="253" y="494"/>
                  </a:lnTo>
                  <a:lnTo>
                    <a:pt x="286" y="551"/>
                  </a:lnTo>
                  <a:lnTo>
                    <a:pt x="286" y="551"/>
                  </a:lnTo>
                  <a:lnTo>
                    <a:pt x="286" y="551"/>
                  </a:lnTo>
                  <a:close/>
                  <a:moveTo>
                    <a:pt x="2780" y="494"/>
                  </a:moveTo>
                  <a:lnTo>
                    <a:pt x="2787" y="501"/>
                  </a:lnTo>
                  <a:lnTo>
                    <a:pt x="2780" y="511"/>
                  </a:lnTo>
                  <a:lnTo>
                    <a:pt x="2771" y="501"/>
                  </a:lnTo>
                  <a:lnTo>
                    <a:pt x="2780" y="494"/>
                  </a:lnTo>
                  <a:lnTo>
                    <a:pt x="2780" y="494"/>
                  </a:lnTo>
                  <a:lnTo>
                    <a:pt x="2780" y="494"/>
                  </a:lnTo>
                  <a:close/>
                  <a:moveTo>
                    <a:pt x="1021" y="501"/>
                  </a:moveTo>
                  <a:lnTo>
                    <a:pt x="1021" y="511"/>
                  </a:lnTo>
                  <a:lnTo>
                    <a:pt x="999" y="518"/>
                  </a:lnTo>
                  <a:lnTo>
                    <a:pt x="999" y="501"/>
                  </a:lnTo>
                  <a:lnTo>
                    <a:pt x="1021" y="501"/>
                  </a:lnTo>
                  <a:lnTo>
                    <a:pt x="1021" y="501"/>
                  </a:lnTo>
                  <a:lnTo>
                    <a:pt x="1021" y="501"/>
                  </a:lnTo>
                  <a:close/>
                  <a:moveTo>
                    <a:pt x="2431" y="511"/>
                  </a:moveTo>
                  <a:lnTo>
                    <a:pt x="2414" y="518"/>
                  </a:lnTo>
                  <a:lnTo>
                    <a:pt x="2431" y="511"/>
                  </a:lnTo>
                  <a:lnTo>
                    <a:pt x="2431" y="511"/>
                  </a:lnTo>
                  <a:lnTo>
                    <a:pt x="2431" y="511"/>
                  </a:lnTo>
                  <a:close/>
                  <a:moveTo>
                    <a:pt x="1982" y="518"/>
                  </a:moveTo>
                  <a:lnTo>
                    <a:pt x="1977" y="534"/>
                  </a:lnTo>
                  <a:lnTo>
                    <a:pt x="1970" y="534"/>
                  </a:lnTo>
                  <a:lnTo>
                    <a:pt x="1961" y="546"/>
                  </a:lnTo>
                  <a:lnTo>
                    <a:pt x="1954" y="546"/>
                  </a:lnTo>
                  <a:lnTo>
                    <a:pt x="1961" y="534"/>
                  </a:lnTo>
                  <a:lnTo>
                    <a:pt x="1954" y="527"/>
                  </a:lnTo>
                  <a:lnTo>
                    <a:pt x="1939" y="546"/>
                  </a:lnTo>
                  <a:lnTo>
                    <a:pt x="1928" y="534"/>
                  </a:lnTo>
                  <a:lnTo>
                    <a:pt x="1939" y="511"/>
                  </a:lnTo>
                  <a:lnTo>
                    <a:pt x="1961" y="511"/>
                  </a:lnTo>
                  <a:lnTo>
                    <a:pt x="1961" y="527"/>
                  </a:lnTo>
                  <a:lnTo>
                    <a:pt x="1977" y="518"/>
                  </a:lnTo>
                  <a:lnTo>
                    <a:pt x="1982" y="518"/>
                  </a:lnTo>
                  <a:lnTo>
                    <a:pt x="1982" y="518"/>
                  </a:lnTo>
                  <a:lnTo>
                    <a:pt x="1982" y="518"/>
                  </a:lnTo>
                  <a:close/>
                  <a:moveTo>
                    <a:pt x="2268" y="511"/>
                  </a:moveTo>
                  <a:lnTo>
                    <a:pt x="2268" y="518"/>
                  </a:lnTo>
                  <a:lnTo>
                    <a:pt x="2263" y="518"/>
                  </a:lnTo>
                  <a:lnTo>
                    <a:pt x="2268" y="511"/>
                  </a:lnTo>
                  <a:lnTo>
                    <a:pt x="2268" y="511"/>
                  </a:lnTo>
                  <a:lnTo>
                    <a:pt x="2268" y="511"/>
                  </a:lnTo>
                  <a:close/>
                  <a:moveTo>
                    <a:pt x="2251" y="546"/>
                  </a:moveTo>
                  <a:lnTo>
                    <a:pt x="2263" y="534"/>
                  </a:lnTo>
                  <a:lnTo>
                    <a:pt x="2268" y="527"/>
                  </a:lnTo>
                  <a:lnTo>
                    <a:pt x="2306" y="551"/>
                  </a:lnTo>
                  <a:lnTo>
                    <a:pt x="2301" y="551"/>
                  </a:lnTo>
                  <a:lnTo>
                    <a:pt x="2268" y="551"/>
                  </a:lnTo>
                  <a:lnTo>
                    <a:pt x="2251" y="551"/>
                  </a:lnTo>
                  <a:lnTo>
                    <a:pt x="2251" y="546"/>
                  </a:lnTo>
                  <a:lnTo>
                    <a:pt x="2251" y="546"/>
                  </a:lnTo>
                  <a:lnTo>
                    <a:pt x="2251" y="546"/>
                  </a:lnTo>
                  <a:close/>
                  <a:moveTo>
                    <a:pt x="803" y="645"/>
                  </a:moveTo>
                  <a:lnTo>
                    <a:pt x="803" y="655"/>
                  </a:lnTo>
                  <a:lnTo>
                    <a:pt x="787" y="655"/>
                  </a:lnTo>
                  <a:lnTo>
                    <a:pt x="787" y="645"/>
                  </a:lnTo>
                  <a:lnTo>
                    <a:pt x="749" y="629"/>
                  </a:lnTo>
                  <a:lnTo>
                    <a:pt x="749" y="622"/>
                  </a:lnTo>
                  <a:lnTo>
                    <a:pt x="749" y="605"/>
                  </a:lnTo>
                  <a:lnTo>
                    <a:pt x="739" y="600"/>
                  </a:lnTo>
                  <a:lnTo>
                    <a:pt x="735" y="584"/>
                  </a:lnTo>
                  <a:lnTo>
                    <a:pt x="697" y="572"/>
                  </a:lnTo>
                  <a:lnTo>
                    <a:pt x="697" y="567"/>
                  </a:lnTo>
                  <a:lnTo>
                    <a:pt x="711" y="555"/>
                  </a:lnTo>
                  <a:lnTo>
                    <a:pt x="711" y="551"/>
                  </a:lnTo>
                  <a:lnTo>
                    <a:pt x="711" y="546"/>
                  </a:lnTo>
                  <a:lnTo>
                    <a:pt x="723" y="546"/>
                  </a:lnTo>
                  <a:lnTo>
                    <a:pt x="735" y="551"/>
                  </a:lnTo>
                  <a:lnTo>
                    <a:pt x="739" y="555"/>
                  </a:lnTo>
                  <a:lnTo>
                    <a:pt x="735" y="546"/>
                  </a:lnTo>
                  <a:lnTo>
                    <a:pt x="749" y="534"/>
                  </a:lnTo>
                  <a:lnTo>
                    <a:pt x="756" y="546"/>
                  </a:lnTo>
                  <a:lnTo>
                    <a:pt x="773" y="600"/>
                  </a:lnTo>
                  <a:lnTo>
                    <a:pt x="810" y="612"/>
                  </a:lnTo>
                  <a:lnTo>
                    <a:pt x="794" y="638"/>
                  </a:lnTo>
                  <a:lnTo>
                    <a:pt x="803" y="645"/>
                  </a:lnTo>
                  <a:lnTo>
                    <a:pt x="803" y="645"/>
                  </a:lnTo>
                  <a:lnTo>
                    <a:pt x="803" y="645"/>
                  </a:lnTo>
                  <a:close/>
                  <a:moveTo>
                    <a:pt x="966" y="546"/>
                  </a:moveTo>
                  <a:lnTo>
                    <a:pt x="954" y="551"/>
                  </a:lnTo>
                  <a:lnTo>
                    <a:pt x="950" y="546"/>
                  </a:lnTo>
                  <a:lnTo>
                    <a:pt x="966" y="546"/>
                  </a:lnTo>
                  <a:lnTo>
                    <a:pt x="966" y="546"/>
                  </a:lnTo>
                  <a:lnTo>
                    <a:pt x="966" y="546"/>
                  </a:lnTo>
                  <a:close/>
                  <a:moveTo>
                    <a:pt x="2825" y="546"/>
                  </a:moveTo>
                  <a:lnTo>
                    <a:pt x="2927" y="555"/>
                  </a:lnTo>
                  <a:lnTo>
                    <a:pt x="2894" y="567"/>
                  </a:lnTo>
                  <a:lnTo>
                    <a:pt x="2872" y="567"/>
                  </a:lnTo>
                  <a:lnTo>
                    <a:pt x="2818" y="546"/>
                  </a:lnTo>
                  <a:lnTo>
                    <a:pt x="2825" y="546"/>
                  </a:lnTo>
                  <a:lnTo>
                    <a:pt x="2825" y="546"/>
                  </a:lnTo>
                  <a:lnTo>
                    <a:pt x="2825" y="546"/>
                  </a:lnTo>
                  <a:close/>
                  <a:moveTo>
                    <a:pt x="2046" y="551"/>
                  </a:moveTo>
                  <a:lnTo>
                    <a:pt x="2100" y="551"/>
                  </a:lnTo>
                  <a:lnTo>
                    <a:pt x="2105" y="551"/>
                  </a:lnTo>
                  <a:lnTo>
                    <a:pt x="2105" y="567"/>
                  </a:lnTo>
                  <a:lnTo>
                    <a:pt x="2079" y="567"/>
                  </a:lnTo>
                  <a:lnTo>
                    <a:pt x="2046" y="572"/>
                  </a:lnTo>
                  <a:lnTo>
                    <a:pt x="2036" y="555"/>
                  </a:lnTo>
                  <a:lnTo>
                    <a:pt x="2046" y="551"/>
                  </a:lnTo>
                  <a:lnTo>
                    <a:pt x="2046" y="551"/>
                  </a:lnTo>
                  <a:lnTo>
                    <a:pt x="2046" y="551"/>
                  </a:lnTo>
                  <a:close/>
                  <a:moveTo>
                    <a:pt x="2461" y="551"/>
                  </a:moveTo>
                  <a:lnTo>
                    <a:pt x="2469" y="555"/>
                  </a:lnTo>
                  <a:lnTo>
                    <a:pt x="2461" y="572"/>
                  </a:lnTo>
                  <a:lnTo>
                    <a:pt x="2445" y="572"/>
                  </a:lnTo>
                  <a:lnTo>
                    <a:pt x="2414" y="567"/>
                  </a:lnTo>
                  <a:lnTo>
                    <a:pt x="2461" y="551"/>
                  </a:lnTo>
                  <a:lnTo>
                    <a:pt x="2461" y="551"/>
                  </a:lnTo>
                  <a:lnTo>
                    <a:pt x="2461" y="551"/>
                  </a:lnTo>
                  <a:close/>
                  <a:moveTo>
                    <a:pt x="1961" y="555"/>
                  </a:moveTo>
                  <a:lnTo>
                    <a:pt x="1954" y="567"/>
                  </a:lnTo>
                  <a:lnTo>
                    <a:pt x="1954" y="555"/>
                  </a:lnTo>
                  <a:lnTo>
                    <a:pt x="1961" y="555"/>
                  </a:lnTo>
                  <a:lnTo>
                    <a:pt x="1961" y="555"/>
                  </a:lnTo>
                  <a:lnTo>
                    <a:pt x="1961" y="555"/>
                  </a:lnTo>
                  <a:close/>
                  <a:moveTo>
                    <a:pt x="2117" y="555"/>
                  </a:moveTo>
                  <a:lnTo>
                    <a:pt x="2187" y="555"/>
                  </a:lnTo>
                  <a:lnTo>
                    <a:pt x="2121" y="567"/>
                  </a:lnTo>
                  <a:lnTo>
                    <a:pt x="2105" y="567"/>
                  </a:lnTo>
                  <a:lnTo>
                    <a:pt x="2117" y="555"/>
                  </a:lnTo>
                  <a:lnTo>
                    <a:pt x="2117" y="555"/>
                  </a:lnTo>
                  <a:lnTo>
                    <a:pt x="2117" y="555"/>
                  </a:lnTo>
                  <a:close/>
                  <a:moveTo>
                    <a:pt x="2008" y="567"/>
                  </a:moveTo>
                  <a:lnTo>
                    <a:pt x="2008" y="572"/>
                  </a:lnTo>
                  <a:lnTo>
                    <a:pt x="1998" y="567"/>
                  </a:lnTo>
                  <a:lnTo>
                    <a:pt x="2008" y="567"/>
                  </a:lnTo>
                  <a:lnTo>
                    <a:pt x="2008" y="567"/>
                  </a:lnTo>
                  <a:lnTo>
                    <a:pt x="2008" y="567"/>
                  </a:lnTo>
                  <a:close/>
                  <a:moveTo>
                    <a:pt x="2154" y="572"/>
                  </a:moveTo>
                  <a:lnTo>
                    <a:pt x="2159" y="605"/>
                  </a:lnTo>
                  <a:lnTo>
                    <a:pt x="2143" y="584"/>
                  </a:lnTo>
                  <a:lnTo>
                    <a:pt x="2154" y="572"/>
                  </a:lnTo>
                  <a:lnTo>
                    <a:pt x="2154" y="572"/>
                  </a:lnTo>
                  <a:lnTo>
                    <a:pt x="2154" y="572"/>
                  </a:lnTo>
                  <a:close/>
                  <a:moveTo>
                    <a:pt x="324" y="600"/>
                  </a:moveTo>
                  <a:lnTo>
                    <a:pt x="302" y="589"/>
                  </a:lnTo>
                  <a:lnTo>
                    <a:pt x="302" y="572"/>
                  </a:lnTo>
                  <a:lnTo>
                    <a:pt x="307" y="572"/>
                  </a:lnTo>
                  <a:lnTo>
                    <a:pt x="324" y="600"/>
                  </a:lnTo>
                  <a:lnTo>
                    <a:pt x="324" y="600"/>
                  </a:lnTo>
                  <a:lnTo>
                    <a:pt x="324" y="600"/>
                  </a:lnTo>
                  <a:close/>
                  <a:moveTo>
                    <a:pt x="345" y="629"/>
                  </a:moveTo>
                  <a:lnTo>
                    <a:pt x="333" y="629"/>
                  </a:lnTo>
                  <a:lnTo>
                    <a:pt x="333" y="605"/>
                  </a:lnTo>
                  <a:lnTo>
                    <a:pt x="345" y="629"/>
                  </a:lnTo>
                  <a:lnTo>
                    <a:pt x="345" y="629"/>
                  </a:lnTo>
                  <a:lnTo>
                    <a:pt x="345" y="629"/>
                  </a:lnTo>
                  <a:close/>
                  <a:moveTo>
                    <a:pt x="862" y="629"/>
                  </a:moveTo>
                  <a:lnTo>
                    <a:pt x="874" y="612"/>
                  </a:lnTo>
                  <a:lnTo>
                    <a:pt x="879" y="612"/>
                  </a:lnTo>
                  <a:lnTo>
                    <a:pt x="900" y="612"/>
                  </a:lnTo>
                  <a:lnTo>
                    <a:pt x="917" y="638"/>
                  </a:lnTo>
                  <a:lnTo>
                    <a:pt x="900" y="662"/>
                  </a:lnTo>
                  <a:lnTo>
                    <a:pt x="895" y="662"/>
                  </a:lnTo>
                  <a:lnTo>
                    <a:pt x="891" y="645"/>
                  </a:lnTo>
                  <a:lnTo>
                    <a:pt x="879" y="655"/>
                  </a:lnTo>
                  <a:lnTo>
                    <a:pt x="862" y="662"/>
                  </a:lnTo>
                  <a:lnTo>
                    <a:pt x="862" y="629"/>
                  </a:lnTo>
                  <a:lnTo>
                    <a:pt x="862" y="629"/>
                  </a:lnTo>
                  <a:lnTo>
                    <a:pt x="862" y="629"/>
                  </a:lnTo>
                  <a:close/>
                  <a:moveTo>
                    <a:pt x="361" y="666"/>
                  </a:moveTo>
                  <a:lnTo>
                    <a:pt x="345" y="645"/>
                  </a:lnTo>
                  <a:lnTo>
                    <a:pt x="345" y="629"/>
                  </a:lnTo>
                  <a:lnTo>
                    <a:pt x="361" y="645"/>
                  </a:lnTo>
                  <a:lnTo>
                    <a:pt x="361" y="655"/>
                  </a:lnTo>
                  <a:lnTo>
                    <a:pt x="361" y="666"/>
                  </a:lnTo>
                  <a:lnTo>
                    <a:pt x="361" y="666"/>
                  </a:lnTo>
                  <a:lnTo>
                    <a:pt x="361" y="666"/>
                  </a:lnTo>
                  <a:close/>
                  <a:moveTo>
                    <a:pt x="2294" y="683"/>
                  </a:moveTo>
                  <a:lnTo>
                    <a:pt x="2284" y="662"/>
                  </a:lnTo>
                  <a:lnTo>
                    <a:pt x="2306" y="638"/>
                  </a:lnTo>
                  <a:lnTo>
                    <a:pt x="2360" y="638"/>
                  </a:lnTo>
                  <a:lnTo>
                    <a:pt x="2376" y="645"/>
                  </a:lnTo>
                  <a:lnTo>
                    <a:pt x="2407" y="629"/>
                  </a:lnTo>
                  <a:lnTo>
                    <a:pt x="2440" y="645"/>
                  </a:lnTo>
                  <a:lnTo>
                    <a:pt x="2461" y="645"/>
                  </a:lnTo>
                  <a:lnTo>
                    <a:pt x="2478" y="655"/>
                  </a:lnTo>
                  <a:lnTo>
                    <a:pt x="2485" y="666"/>
                  </a:lnTo>
                  <a:lnTo>
                    <a:pt x="2495" y="678"/>
                  </a:lnTo>
                  <a:lnTo>
                    <a:pt x="2499" y="683"/>
                  </a:lnTo>
                  <a:lnTo>
                    <a:pt x="2495" y="711"/>
                  </a:lnTo>
                  <a:lnTo>
                    <a:pt x="2440" y="678"/>
                  </a:lnTo>
                  <a:lnTo>
                    <a:pt x="2431" y="666"/>
                  </a:lnTo>
                  <a:lnTo>
                    <a:pt x="2402" y="666"/>
                  </a:lnTo>
                  <a:lnTo>
                    <a:pt x="2402" y="678"/>
                  </a:lnTo>
                  <a:lnTo>
                    <a:pt x="2360" y="666"/>
                  </a:lnTo>
                  <a:lnTo>
                    <a:pt x="2369" y="662"/>
                  </a:lnTo>
                  <a:lnTo>
                    <a:pt x="2360" y="662"/>
                  </a:lnTo>
                  <a:lnTo>
                    <a:pt x="2332" y="678"/>
                  </a:lnTo>
                  <a:lnTo>
                    <a:pt x="2306" y="655"/>
                  </a:lnTo>
                  <a:lnTo>
                    <a:pt x="2294" y="683"/>
                  </a:lnTo>
                  <a:lnTo>
                    <a:pt x="2294" y="683"/>
                  </a:lnTo>
                  <a:lnTo>
                    <a:pt x="2294" y="683"/>
                  </a:lnTo>
                  <a:close/>
                  <a:moveTo>
                    <a:pt x="858" y="629"/>
                  </a:moveTo>
                  <a:lnTo>
                    <a:pt x="858" y="638"/>
                  </a:lnTo>
                  <a:lnTo>
                    <a:pt x="848" y="638"/>
                  </a:lnTo>
                  <a:lnTo>
                    <a:pt x="858" y="629"/>
                  </a:lnTo>
                  <a:lnTo>
                    <a:pt x="858" y="629"/>
                  </a:lnTo>
                  <a:lnTo>
                    <a:pt x="858" y="629"/>
                  </a:lnTo>
                  <a:close/>
                  <a:moveTo>
                    <a:pt x="810" y="638"/>
                  </a:moveTo>
                  <a:lnTo>
                    <a:pt x="820" y="638"/>
                  </a:lnTo>
                  <a:lnTo>
                    <a:pt x="820" y="645"/>
                  </a:lnTo>
                  <a:lnTo>
                    <a:pt x="803" y="645"/>
                  </a:lnTo>
                  <a:lnTo>
                    <a:pt x="810" y="638"/>
                  </a:lnTo>
                  <a:lnTo>
                    <a:pt x="810" y="638"/>
                  </a:lnTo>
                  <a:lnTo>
                    <a:pt x="810" y="638"/>
                  </a:lnTo>
                  <a:close/>
                  <a:moveTo>
                    <a:pt x="2294" y="638"/>
                  </a:moveTo>
                  <a:lnTo>
                    <a:pt x="2294" y="645"/>
                  </a:lnTo>
                  <a:lnTo>
                    <a:pt x="2284" y="645"/>
                  </a:lnTo>
                  <a:lnTo>
                    <a:pt x="2294" y="638"/>
                  </a:lnTo>
                  <a:lnTo>
                    <a:pt x="2294" y="638"/>
                  </a:lnTo>
                  <a:lnTo>
                    <a:pt x="2294" y="638"/>
                  </a:lnTo>
                  <a:close/>
                  <a:moveTo>
                    <a:pt x="2171" y="655"/>
                  </a:moveTo>
                  <a:lnTo>
                    <a:pt x="2171" y="662"/>
                  </a:lnTo>
                  <a:lnTo>
                    <a:pt x="2187" y="655"/>
                  </a:lnTo>
                  <a:lnTo>
                    <a:pt x="2209" y="645"/>
                  </a:lnTo>
                  <a:lnTo>
                    <a:pt x="2230" y="655"/>
                  </a:lnTo>
                  <a:lnTo>
                    <a:pt x="2242" y="662"/>
                  </a:lnTo>
                  <a:lnTo>
                    <a:pt x="2230" y="666"/>
                  </a:lnTo>
                  <a:lnTo>
                    <a:pt x="2246" y="666"/>
                  </a:lnTo>
                  <a:lnTo>
                    <a:pt x="2246" y="695"/>
                  </a:lnTo>
                  <a:lnTo>
                    <a:pt x="2209" y="700"/>
                  </a:lnTo>
                  <a:lnTo>
                    <a:pt x="2192" y="700"/>
                  </a:lnTo>
                  <a:lnTo>
                    <a:pt x="2159" y="678"/>
                  </a:lnTo>
                  <a:lnTo>
                    <a:pt x="2159" y="662"/>
                  </a:lnTo>
                  <a:lnTo>
                    <a:pt x="2171" y="655"/>
                  </a:lnTo>
                  <a:lnTo>
                    <a:pt x="2171" y="655"/>
                  </a:lnTo>
                  <a:lnTo>
                    <a:pt x="2171" y="655"/>
                  </a:lnTo>
                  <a:close/>
                  <a:moveTo>
                    <a:pt x="2280" y="655"/>
                  </a:moveTo>
                  <a:lnTo>
                    <a:pt x="2284" y="662"/>
                  </a:lnTo>
                  <a:lnTo>
                    <a:pt x="2268" y="662"/>
                  </a:lnTo>
                  <a:lnTo>
                    <a:pt x="2280" y="655"/>
                  </a:lnTo>
                  <a:lnTo>
                    <a:pt x="2280" y="655"/>
                  </a:lnTo>
                  <a:lnTo>
                    <a:pt x="2280" y="655"/>
                  </a:lnTo>
                  <a:close/>
                  <a:moveTo>
                    <a:pt x="1474" y="662"/>
                  </a:moveTo>
                  <a:lnTo>
                    <a:pt x="1474" y="711"/>
                  </a:lnTo>
                  <a:lnTo>
                    <a:pt x="1458" y="716"/>
                  </a:lnTo>
                  <a:lnTo>
                    <a:pt x="1458" y="695"/>
                  </a:lnTo>
                  <a:lnTo>
                    <a:pt x="1469" y="666"/>
                  </a:lnTo>
                  <a:lnTo>
                    <a:pt x="1474" y="662"/>
                  </a:lnTo>
                  <a:lnTo>
                    <a:pt x="1474" y="662"/>
                  </a:lnTo>
                  <a:lnTo>
                    <a:pt x="1474" y="662"/>
                  </a:lnTo>
                  <a:close/>
                  <a:moveTo>
                    <a:pt x="2268" y="662"/>
                  </a:moveTo>
                  <a:lnTo>
                    <a:pt x="2268" y="666"/>
                  </a:lnTo>
                  <a:lnTo>
                    <a:pt x="2263" y="666"/>
                  </a:lnTo>
                  <a:lnTo>
                    <a:pt x="2268" y="662"/>
                  </a:lnTo>
                  <a:lnTo>
                    <a:pt x="2268" y="662"/>
                  </a:lnTo>
                  <a:lnTo>
                    <a:pt x="2268" y="662"/>
                  </a:lnTo>
                  <a:close/>
                  <a:moveTo>
                    <a:pt x="1484" y="678"/>
                  </a:moveTo>
                  <a:lnTo>
                    <a:pt x="1484" y="695"/>
                  </a:lnTo>
                  <a:lnTo>
                    <a:pt x="1474" y="683"/>
                  </a:lnTo>
                  <a:lnTo>
                    <a:pt x="1484" y="678"/>
                  </a:lnTo>
                  <a:lnTo>
                    <a:pt x="1484" y="678"/>
                  </a:lnTo>
                  <a:lnTo>
                    <a:pt x="1484" y="678"/>
                  </a:lnTo>
                  <a:close/>
                  <a:moveTo>
                    <a:pt x="2339" y="678"/>
                  </a:moveTo>
                  <a:lnTo>
                    <a:pt x="2348" y="678"/>
                  </a:lnTo>
                  <a:lnTo>
                    <a:pt x="2348" y="683"/>
                  </a:lnTo>
                  <a:lnTo>
                    <a:pt x="2339" y="695"/>
                  </a:lnTo>
                  <a:lnTo>
                    <a:pt x="2339" y="678"/>
                  </a:lnTo>
                  <a:lnTo>
                    <a:pt x="2339" y="678"/>
                  </a:lnTo>
                  <a:lnTo>
                    <a:pt x="2339" y="678"/>
                  </a:lnTo>
                  <a:close/>
                  <a:moveTo>
                    <a:pt x="2301" y="683"/>
                  </a:moveTo>
                  <a:lnTo>
                    <a:pt x="2322" y="683"/>
                  </a:lnTo>
                  <a:lnTo>
                    <a:pt x="2317" y="700"/>
                  </a:lnTo>
                  <a:lnTo>
                    <a:pt x="2306" y="700"/>
                  </a:lnTo>
                  <a:lnTo>
                    <a:pt x="2306" y="695"/>
                  </a:lnTo>
                  <a:lnTo>
                    <a:pt x="2294" y="700"/>
                  </a:lnTo>
                  <a:lnTo>
                    <a:pt x="2294" y="695"/>
                  </a:lnTo>
                  <a:lnTo>
                    <a:pt x="2301" y="683"/>
                  </a:lnTo>
                  <a:lnTo>
                    <a:pt x="2301" y="683"/>
                  </a:lnTo>
                  <a:lnTo>
                    <a:pt x="2301" y="683"/>
                  </a:lnTo>
                  <a:close/>
                  <a:moveTo>
                    <a:pt x="2332" y="683"/>
                  </a:moveTo>
                  <a:lnTo>
                    <a:pt x="2339" y="683"/>
                  </a:lnTo>
                  <a:lnTo>
                    <a:pt x="2322" y="695"/>
                  </a:lnTo>
                  <a:lnTo>
                    <a:pt x="2332" y="683"/>
                  </a:lnTo>
                  <a:lnTo>
                    <a:pt x="2332" y="683"/>
                  </a:lnTo>
                  <a:lnTo>
                    <a:pt x="2332" y="683"/>
                  </a:lnTo>
                  <a:close/>
                  <a:moveTo>
                    <a:pt x="1954" y="683"/>
                  </a:moveTo>
                  <a:lnTo>
                    <a:pt x="1961" y="683"/>
                  </a:lnTo>
                  <a:lnTo>
                    <a:pt x="1954" y="695"/>
                  </a:lnTo>
                  <a:lnTo>
                    <a:pt x="1954" y="683"/>
                  </a:lnTo>
                  <a:lnTo>
                    <a:pt x="1954" y="683"/>
                  </a:lnTo>
                  <a:lnTo>
                    <a:pt x="1954" y="683"/>
                  </a:lnTo>
                  <a:close/>
                  <a:moveTo>
                    <a:pt x="2246" y="700"/>
                  </a:moveTo>
                  <a:lnTo>
                    <a:pt x="2246" y="711"/>
                  </a:lnTo>
                  <a:lnTo>
                    <a:pt x="2242" y="711"/>
                  </a:lnTo>
                  <a:lnTo>
                    <a:pt x="2246" y="700"/>
                  </a:lnTo>
                  <a:lnTo>
                    <a:pt x="2246" y="700"/>
                  </a:lnTo>
                  <a:lnTo>
                    <a:pt x="2246" y="700"/>
                  </a:lnTo>
                  <a:close/>
                  <a:moveTo>
                    <a:pt x="2726" y="711"/>
                  </a:moveTo>
                  <a:lnTo>
                    <a:pt x="2733" y="716"/>
                  </a:lnTo>
                  <a:lnTo>
                    <a:pt x="2726" y="711"/>
                  </a:lnTo>
                  <a:lnTo>
                    <a:pt x="2726" y="711"/>
                  </a:lnTo>
                  <a:lnTo>
                    <a:pt x="2726" y="711"/>
                  </a:lnTo>
                  <a:close/>
                  <a:moveTo>
                    <a:pt x="1954" y="716"/>
                  </a:moveTo>
                  <a:lnTo>
                    <a:pt x="1970" y="723"/>
                  </a:lnTo>
                  <a:lnTo>
                    <a:pt x="1961" y="733"/>
                  </a:lnTo>
                  <a:lnTo>
                    <a:pt x="1944" y="723"/>
                  </a:lnTo>
                  <a:lnTo>
                    <a:pt x="1954" y="716"/>
                  </a:lnTo>
                  <a:lnTo>
                    <a:pt x="1954" y="716"/>
                  </a:lnTo>
                  <a:lnTo>
                    <a:pt x="1954" y="716"/>
                  </a:lnTo>
                  <a:close/>
                  <a:moveTo>
                    <a:pt x="2674" y="723"/>
                  </a:moveTo>
                  <a:lnTo>
                    <a:pt x="2695" y="740"/>
                  </a:lnTo>
                  <a:lnTo>
                    <a:pt x="2674" y="733"/>
                  </a:lnTo>
                  <a:lnTo>
                    <a:pt x="2674" y="723"/>
                  </a:lnTo>
                  <a:lnTo>
                    <a:pt x="2674" y="723"/>
                  </a:lnTo>
                  <a:lnTo>
                    <a:pt x="2674" y="723"/>
                  </a:lnTo>
                  <a:close/>
                  <a:moveTo>
                    <a:pt x="1954" y="749"/>
                  </a:moveTo>
                  <a:lnTo>
                    <a:pt x="1961" y="756"/>
                  </a:lnTo>
                  <a:lnTo>
                    <a:pt x="1961" y="778"/>
                  </a:lnTo>
                  <a:lnTo>
                    <a:pt x="1954" y="766"/>
                  </a:lnTo>
                  <a:lnTo>
                    <a:pt x="1954" y="773"/>
                  </a:lnTo>
                  <a:lnTo>
                    <a:pt x="1944" y="794"/>
                  </a:lnTo>
                  <a:lnTo>
                    <a:pt x="1961" y="811"/>
                  </a:lnTo>
                  <a:lnTo>
                    <a:pt x="1939" y="822"/>
                  </a:lnTo>
                  <a:lnTo>
                    <a:pt x="1939" y="834"/>
                  </a:lnTo>
                  <a:lnTo>
                    <a:pt x="1923" y="834"/>
                  </a:lnTo>
                  <a:lnTo>
                    <a:pt x="1916" y="827"/>
                  </a:lnTo>
                  <a:lnTo>
                    <a:pt x="1928" y="794"/>
                  </a:lnTo>
                  <a:lnTo>
                    <a:pt x="1939" y="756"/>
                  </a:lnTo>
                  <a:lnTo>
                    <a:pt x="1954" y="749"/>
                  </a:lnTo>
                  <a:lnTo>
                    <a:pt x="1954" y="749"/>
                  </a:lnTo>
                  <a:lnTo>
                    <a:pt x="1954" y="749"/>
                  </a:lnTo>
                  <a:close/>
                  <a:moveTo>
                    <a:pt x="1928" y="766"/>
                  </a:moveTo>
                  <a:lnTo>
                    <a:pt x="1928" y="789"/>
                  </a:lnTo>
                  <a:lnTo>
                    <a:pt x="1923" y="806"/>
                  </a:lnTo>
                  <a:lnTo>
                    <a:pt x="1923" y="811"/>
                  </a:lnTo>
                  <a:lnTo>
                    <a:pt x="1916" y="822"/>
                  </a:lnTo>
                  <a:lnTo>
                    <a:pt x="1902" y="822"/>
                  </a:lnTo>
                  <a:lnTo>
                    <a:pt x="1906" y="794"/>
                  </a:lnTo>
                  <a:lnTo>
                    <a:pt x="1902" y="778"/>
                  </a:lnTo>
                  <a:lnTo>
                    <a:pt x="1928" y="766"/>
                  </a:lnTo>
                  <a:lnTo>
                    <a:pt x="1928" y="766"/>
                  </a:lnTo>
                  <a:lnTo>
                    <a:pt x="1928" y="766"/>
                  </a:lnTo>
                  <a:close/>
                  <a:moveTo>
                    <a:pt x="1873" y="794"/>
                  </a:moveTo>
                  <a:lnTo>
                    <a:pt x="1885" y="822"/>
                  </a:lnTo>
                  <a:lnTo>
                    <a:pt x="1873" y="822"/>
                  </a:lnTo>
                  <a:lnTo>
                    <a:pt x="1864" y="811"/>
                  </a:lnTo>
                  <a:lnTo>
                    <a:pt x="1869" y="794"/>
                  </a:lnTo>
                  <a:lnTo>
                    <a:pt x="1873" y="794"/>
                  </a:lnTo>
                  <a:lnTo>
                    <a:pt x="1873" y="794"/>
                  </a:lnTo>
                  <a:lnTo>
                    <a:pt x="1873" y="794"/>
                  </a:lnTo>
                  <a:close/>
                  <a:moveTo>
                    <a:pt x="501" y="827"/>
                  </a:moveTo>
                  <a:lnTo>
                    <a:pt x="480" y="811"/>
                  </a:lnTo>
                  <a:lnTo>
                    <a:pt x="484" y="811"/>
                  </a:lnTo>
                  <a:lnTo>
                    <a:pt x="501" y="822"/>
                  </a:lnTo>
                  <a:lnTo>
                    <a:pt x="501" y="827"/>
                  </a:lnTo>
                  <a:lnTo>
                    <a:pt x="501" y="827"/>
                  </a:lnTo>
                  <a:lnTo>
                    <a:pt x="501" y="827"/>
                  </a:lnTo>
                  <a:close/>
                  <a:moveTo>
                    <a:pt x="2662" y="811"/>
                  </a:moveTo>
                  <a:lnTo>
                    <a:pt x="2658" y="834"/>
                  </a:lnTo>
                  <a:lnTo>
                    <a:pt x="2641" y="860"/>
                  </a:lnTo>
                  <a:lnTo>
                    <a:pt x="2658" y="811"/>
                  </a:lnTo>
                  <a:lnTo>
                    <a:pt x="2662" y="811"/>
                  </a:lnTo>
                  <a:lnTo>
                    <a:pt x="2662" y="811"/>
                  </a:lnTo>
                  <a:lnTo>
                    <a:pt x="2662" y="811"/>
                  </a:lnTo>
                  <a:close/>
                  <a:moveTo>
                    <a:pt x="2754" y="822"/>
                  </a:moveTo>
                  <a:lnTo>
                    <a:pt x="2764" y="827"/>
                  </a:lnTo>
                  <a:lnTo>
                    <a:pt x="2771" y="851"/>
                  </a:lnTo>
                  <a:lnTo>
                    <a:pt x="2771" y="860"/>
                  </a:lnTo>
                  <a:lnTo>
                    <a:pt x="2764" y="860"/>
                  </a:lnTo>
                  <a:lnTo>
                    <a:pt x="2738" y="860"/>
                  </a:lnTo>
                  <a:lnTo>
                    <a:pt x="2750" y="844"/>
                  </a:lnTo>
                  <a:lnTo>
                    <a:pt x="2733" y="844"/>
                  </a:lnTo>
                  <a:lnTo>
                    <a:pt x="2738" y="844"/>
                  </a:lnTo>
                  <a:lnTo>
                    <a:pt x="2754" y="822"/>
                  </a:lnTo>
                  <a:lnTo>
                    <a:pt x="2754" y="822"/>
                  </a:lnTo>
                  <a:lnTo>
                    <a:pt x="2754" y="822"/>
                  </a:lnTo>
                  <a:close/>
                  <a:moveTo>
                    <a:pt x="2629" y="834"/>
                  </a:moveTo>
                  <a:lnTo>
                    <a:pt x="2629" y="851"/>
                  </a:lnTo>
                  <a:lnTo>
                    <a:pt x="2629" y="860"/>
                  </a:lnTo>
                  <a:lnTo>
                    <a:pt x="2624" y="834"/>
                  </a:lnTo>
                  <a:lnTo>
                    <a:pt x="2629" y="834"/>
                  </a:lnTo>
                  <a:lnTo>
                    <a:pt x="2629" y="834"/>
                  </a:lnTo>
                  <a:lnTo>
                    <a:pt x="2629" y="834"/>
                  </a:lnTo>
                  <a:close/>
                  <a:moveTo>
                    <a:pt x="1226" y="844"/>
                  </a:moveTo>
                  <a:lnTo>
                    <a:pt x="1226" y="851"/>
                  </a:lnTo>
                  <a:lnTo>
                    <a:pt x="1219" y="851"/>
                  </a:lnTo>
                  <a:lnTo>
                    <a:pt x="1226" y="844"/>
                  </a:lnTo>
                  <a:lnTo>
                    <a:pt x="1226" y="844"/>
                  </a:lnTo>
                  <a:lnTo>
                    <a:pt x="1226" y="844"/>
                  </a:lnTo>
                  <a:close/>
                  <a:moveTo>
                    <a:pt x="1765" y="844"/>
                  </a:moveTo>
                  <a:lnTo>
                    <a:pt x="1776" y="867"/>
                  </a:lnTo>
                  <a:lnTo>
                    <a:pt x="1765" y="900"/>
                  </a:lnTo>
                  <a:lnTo>
                    <a:pt x="1765" y="844"/>
                  </a:lnTo>
                  <a:lnTo>
                    <a:pt x="1765" y="844"/>
                  </a:lnTo>
                  <a:lnTo>
                    <a:pt x="1765" y="844"/>
                  </a:lnTo>
                  <a:close/>
                  <a:moveTo>
                    <a:pt x="1361" y="1066"/>
                  </a:moveTo>
                  <a:lnTo>
                    <a:pt x="1332" y="1049"/>
                  </a:lnTo>
                  <a:lnTo>
                    <a:pt x="1323" y="1049"/>
                  </a:lnTo>
                  <a:lnTo>
                    <a:pt x="1295" y="1044"/>
                  </a:lnTo>
                  <a:lnTo>
                    <a:pt x="1257" y="1028"/>
                  </a:lnTo>
                  <a:lnTo>
                    <a:pt x="1219" y="1033"/>
                  </a:lnTo>
                  <a:lnTo>
                    <a:pt x="1160" y="1028"/>
                  </a:lnTo>
                  <a:lnTo>
                    <a:pt x="1150" y="1033"/>
                  </a:lnTo>
                  <a:lnTo>
                    <a:pt x="1080" y="1016"/>
                  </a:lnTo>
                  <a:lnTo>
                    <a:pt x="1037" y="995"/>
                  </a:lnTo>
                  <a:lnTo>
                    <a:pt x="987" y="988"/>
                  </a:lnTo>
                  <a:lnTo>
                    <a:pt x="966" y="988"/>
                  </a:lnTo>
                  <a:lnTo>
                    <a:pt x="954" y="978"/>
                  </a:lnTo>
                  <a:lnTo>
                    <a:pt x="933" y="988"/>
                  </a:lnTo>
                  <a:lnTo>
                    <a:pt x="928" y="995"/>
                  </a:lnTo>
                  <a:lnTo>
                    <a:pt x="900" y="995"/>
                  </a:lnTo>
                  <a:lnTo>
                    <a:pt x="858" y="971"/>
                  </a:lnTo>
                  <a:lnTo>
                    <a:pt x="777" y="962"/>
                  </a:lnTo>
                  <a:lnTo>
                    <a:pt x="777" y="955"/>
                  </a:lnTo>
                  <a:lnTo>
                    <a:pt x="794" y="938"/>
                  </a:lnTo>
                  <a:lnTo>
                    <a:pt x="787" y="933"/>
                  </a:lnTo>
                  <a:lnTo>
                    <a:pt x="777" y="933"/>
                  </a:lnTo>
                  <a:lnTo>
                    <a:pt x="756" y="922"/>
                  </a:lnTo>
                  <a:lnTo>
                    <a:pt x="718" y="922"/>
                  </a:lnTo>
                  <a:lnTo>
                    <a:pt x="702" y="917"/>
                  </a:lnTo>
                  <a:lnTo>
                    <a:pt x="718" y="922"/>
                  </a:lnTo>
                  <a:lnTo>
                    <a:pt x="723" y="905"/>
                  </a:lnTo>
                  <a:lnTo>
                    <a:pt x="723" y="900"/>
                  </a:lnTo>
                  <a:lnTo>
                    <a:pt x="739" y="889"/>
                  </a:lnTo>
                  <a:lnTo>
                    <a:pt x="739" y="867"/>
                  </a:lnTo>
                  <a:lnTo>
                    <a:pt x="756" y="851"/>
                  </a:lnTo>
                  <a:lnTo>
                    <a:pt x="765" y="860"/>
                  </a:lnTo>
                  <a:lnTo>
                    <a:pt x="773" y="860"/>
                  </a:lnTo>
                  <a:lnTo>
                    <a:pt x="787" y="867"/>
                  </a:lnTo>
                  <a:lnTo>
                    <a:pt x="803" y="860"/>
                  </a:lnTo>
                  <a:lnTo>
                    <a:pt x="810" y="867"/>
                  </a:lnTo>
                  <a:lnTo>
                    <a:pt x="824" y="867"/>
                  </a:lnTo>
                  <a:lnTo>
                    <a:pt x="824" y="851"/>
                  </a:lnTo>
                  <a:lnTo>
                    <a:pt x="848" y="860"/>
                  </a:lnTo>
                  <a:lnTo>
                    <a:pt x="874" y="884"/>
                  </a:lnTo>
                  <a:lnTo>
                    <a:pt x="891" y="877"/>
                  </a:lnTo>
                  <a:lnTo>
                    <a:pt x="900" y="884"/>
                  </a:lnTo>
                  <a:lnTo>
                    <a:pt x="917" y="884"/>
                  </a:lnTo>
                  <a:lnTo>
                    <a:pt x="933" y="900"/>
                  </a:lnTo>
                  <a:lnTo>
                    <a:pt x="933" y="917"/>
                  </a:lnTo>
                  <a:lnTo>
                    <a:pt x="983" y="922"/>
                  </a:lnTo>
                  <a:lnTo>
                    <a:pt x="1004" y="922"/>
                  </a:lnTo>
                  <a:lnTo>
                    <a:pt x="1063" y="933"/>
                  </a:lnTo>
                  <a:lnTo>
                    <a:pt x="1075" y="922"/>
                  </a:lnTo>
                  <a:lnTo>
                    <a:pt x="1089" y="889"/>
                  </a:lnTo>
                  <a:lnTo>
                    <a:pt x="1096" y="889"/>
                  </a:lnTo>
                  <a:lnTo>
                    <a:pt x="1113" y="889"/>
                  </a:lnTo>
                  <a:lnTo>
                    <a:pt x="1113" y="917"/>
                  </a:lnTo>
                  <a:lnTo>
                    <a:pt x="1134" y="917"/>
                  </a:lnTo>
                  <a:lnTo>
                    <a:pt x="1143" y="905"/>
                  </a:lnTo>
                  <a:lnTo>
                    <a:pt x="1160" y="917"/>
                  </a:lnTo>
                  <a:lnTo>
                    <a:pt x="1172" y="917"/>
                  </a:lnTo>
                  <a:lnTo>
                    <a:pt x="1181" y="933"/>
                  </a:lnTo>
                  <a:lnTo>
                    <a:pt x="1214" y="933"/>
                  </a:lnTo>
                  <a:lnTo>
                    <a:pt x="1219" y="945"/>
                  </a:lnTo>
                  <a:lnTo>
                    <a:pt x="1226" y="945"/>
                  </a:lnTo>
                  <a:lnTo>
                    <a:pt x="1235" y="955"/>
                  </a:lnTo>
                  <a:lnTo>
                    <a:pt x="1226" y="971"/>
                  </a:lnTo>
                  <a:lnTo>
                    <a:pt x="1257" y="988"/>
                  </a:lnTo>
                  <a:lnTo>
                    <a:pt x="1295" y="988"/>
                  </a:lnTo>
                  <a:lnTo>
                    <a:pt x="1323" y="978"/>
                  </a:lnTo>
                  <a:lnTo>
                    <a:pt x="1344" y="995"/>
                  </a:lnTo>
                  <a:lnTo>
                    <a:pt x="1344" y="1033"/>
                  </a:lnTo>
                  <a:lnTo>
                    <a:pt x="1349" y="1049"/>
                  </a:lnTo>
                  <a:lnTo>
                    <a:pt x="1361" y="1056"/>
                  </a:lnTo>
                  <a:lnTo>
                    <a:pt x="1361" y="1066"/>
                  </a:lnTo>
                  <a:lnTo>
                    <a:pt x="1361" y="1066"/>
                  </a:lnTo>
                  <a:lnTo>
                    <a:pt x="1361" y="1066"/>
                  </a:lnTo>
                  <a:close/>
                  <a:moveTo>
                    <a:pt x="2754" y="860"/>
                  </a:moveTo>
                  <a:lnTo>
                    <a:pt x="2764" y="860"/>
                  </a:lnTo>
                  <a:lnTo>
                    <a:pt x="2771" y="867"/>
                  </a:lnTo>
                  <a:lnTo>
                    <a:pt x="2771" y="884"/>
                  </a:lnTo>
                  <a:lnTo>
                    <a:pt x="2764" y="889"/>
                  </a:lnTo>
                  <a:lnTo>
                    <a:pt x="2738" y="867"/>
                  </a:lnTo>
                  <a:lnTo>
                    <a:pt x="2754" y="860"/>
                  </a:lnTo>
                  <a:lnTo>
                    <a:pt x="2754" y="860"/>
                  </a:lnTo>
                  <a:lnTo>
                    <a:pt x="2754" y="860"/>
                  </a:lnTo>
                  <a:close/>
                  <a:moveTo>
                    <a:pt x="2733" y="860"/>
                  </a:moveTo>
                  <a:lnTo>
                    <a:pt x="2733" y="867"/>
                  </a:lnTo>
                  <a:lnTo>
                    <a:pt x="2750" y="884"/>
                  </a:lnTo>
                  <a:lnTo>
                    <a:pt x="2738" y="884"/>
                  </a:lnTo>
                  <a:lnTo>
                    <a:pt x="2726" y="867"/>
                  </a:lnTo>
                  <a:lnTo>
                    <a:pt x="2726" y="860"/>
                  </a:lnTo>
                  <a:lnTo>
                    <a:pt x="2733" y="860"/>
                  </a:lnTo>
                  <a:lnTo>
                    <a:pt x="2733" y="860"/>
                  </a:lnTo>
                  <a:lnTo>
                    <a:pt x="2733" y="860"/>
                  </a:lnTo>
                  <a:close/>
                  <a:moveTo>
                    <a:pt x="2726" y="877"/>
                  </a:moveTo>
                  <a:lnTo>
                    <a:pt x="2754" y="905"/>
                  </a:lnTo>
                  <a:lnTo>
                    <a:pt x="2733" y="933"/>
                  </a:lnTo>
                  <a:lnTo>
                    <a:pt x="2726" y="917"/>
                  </a:lnTo>
                  <a:lnTo>
                    <a:pt x="2726" y="877"/>
                  </a:lnTo>
                  <a:lnTo>
                    <a:pt x="2726" y="877"/>
                  </a:lnTo>
                  <a:lnTo>
                    <a:pt x="2726" y="877"/>
                  </a:lnTo>
                  <a:close/>
                  <a:moveTo>
                    <a:pt x="2750" y="884"/>
                  </a:moveTo>
                  <a:lnTo>
                    <a:pt x="2764" y="889"/>
                  </a:lnTo>
                  <a:lnTo>
                    <a:pt x="2754" y="900"/>
                  </a:lnTo>
                  <a:lnTo>
                    <a:pt x="2738" y="889"/>
                  </a:lnTo>
                  <a:lnTo>
                    <a:pt x="2750" y="884"/>
                  </a:lnTo>
                  <a:lnTo>
                    <a:pt x="2750" y="884"/>
                  </a:lnTo>
                  <a:lnTo>
                    <a:pt x="2750" y="884"/>
                  </a:lnTo>
                  <a:close/>
                  <a:moveTo>
                    <a:pt x="2780" y="884"/>
                  </a:moveTo>
                  <a:lnTo>
                    <a:pt x="2780" y="900"/>
                  </a:lnTo>
                  <a:lnTo>
                    <a:pt x="2771" y="889"/>
                  </a:lnTo>
                  <a:lnTo>
                    <a:pt x="2780" y="884"/>
                  </a:lnTo>
                  <a:lnTo>
                    <a:pt x="2780" y="884"/>
                  </a:lnTo>
                  <a:lnTo>
                    <a:pt x="2780" y="884"/>
                  </a:lnTo>
                  <a:close/>
                  <a:moveTo>
                    <a:pt x="2764" y="889"/>
                  </a:moveTo>
                  <a:lnTo>
                    <a:pt x="2771" y="900"/>
                  </a:lnTo>
                  <a:lnTo>
                    <a:pt x="2764" y="900"/>
                  </a:lnTo>
                  <a:lnTo>
                    <a:pt x="2764" y="889"/>
                  </a:lnTo>
                  <a:lnTo>
                    <a:pt x="2764" y="889"/>
                  </a:lnTo>
                  <a:lnTo>
                    <a:pt x="2764" y="889"/>
                  </a:lnTo>
                  <a:close/>
                  <a:moveTo>
                    <a:pt x="702" y="900"/>
                  </a:moveTo>
                  <a:lnTo>
                    <a:pt x="697" y="905"/>
                  </a:lnTo>
                  <a:lnTo>
                    <a:pt x="702" y="900"/>
                  </a:lnTo>
                  <a:lnTo>
                    <a:pt x="702" y="900"/>
                  </a:lnTo>
                  <a:lnTo>
                    <a:pt x="702" y="900"/>
                  </a:lnTo>
                  <a:close/>
                  <a:moveTo>
                    <a:pt x="3040" y="917"/>
                  </a:moveTo>
                  <a:lnTo>
                    <a:pt x="3057" y="922"/>
                  </a:lnTo>
                  <a:lnTo>
                    <a:pt x="3052" y="922"/>
                  </a:lnTo>
                  <a:lnTo>
                    <a:pt x="3040" y="917"/>
                  </a:lnTo>
                  <a:lnTo>
                    <a:pt x="3040" y="917"/>
                  </a:lnTo>
                  <a:lnTo>
                    <a:pt x="3040" y="917"/>
                  </a:lnTo>
                  <a:close/>
                  <a:moveTo>
                    <a:pt x="1403" y="922"/>
                  </a:moveTo>
                  <a:lnTo>
                    <a:pt x="1432" y="933"/>
                  </a:lnTo>
                  <a:lnTo>
                    <a:pt x="1415" y="933"/>
                  </a:lnTo>
                  <a:lnTo>
                    <a:pt x="1403" y="933"/>
                  </a:lnTo>
                  <a:lnTo>
                    <a:pt x="1398" y="933"/>
                  </a:lnTo>
                  <a:lnTo>
                    <a:pt x="1403" y="922"/>
                  </a:lnTo>
                  <a:lnTo>
                    <a:pt x="1403" y="922"/>
                  </a:lnTo>
                  <a:lnTo>
                    <a:pt x="1403" y="922"/>
                  </a:lnTo>
                  <a:close/>
                  <a:moveTo>
                    <a:pt x="1243" y="922"/>
                  </a:moveTo>
                  <a:lnTo>
                    <a:pt x="1311" y="922"/>
                  </a:lnTo>
                  <a:lnTo>
                    <a:pt x="1328" y="933"/>
                  </a:lnTo>
                  <a:lnTo>
                    <a:pt x="1280" y="945"/>
                  </a:lnTo>
                  <a:lnTo>
                    <a:pt x="1226" y="945"/>
                  </a:lnTo>
                  <a:lnTo>
                    <a:pt x="1219" y="938"/>
                  </a:lnTo>
                  <a:lnTo>
                    <a:pt x="1243" y="922"/>
                  </a:lnTo>
                  <a:lnTo>
                    <a:pt x="1243" y="922"/>
                  </a:lnTo>
                  <a:lnTo>
                    <a:pt x="1243" y="922"/>
                  </a:lnTo>
                  <a:close/>
                  <a:moveTo>
                    <a:pt x="1781" y="938"/>
                  </a:moveTo>
                  <a:lnTo>
                    <a:pt x="1793" y="938"/>
                  </a:lnTo>
                  <a:lnTo>
                    <a:pt x="1793" y="945"/>
                  </a:lnTo>
                  <a:lnTo>
                    <a:pt x="1781" y="938"/>
                  </a:lnTo>
                  <a:lnTo>
                    <a:pt x="1781" y="938"/>
                  </a:lnTo>
                  <a:lnTo>
                    <a:pt x="1781" y="938"/>
                  </a:lnTo>
                  <a:close/>
                  <a:moveTo>
                    <a:pt x="1332" y="938"/>
                  </a:moveTo>
                  <a:lnTo>
                    <a:pt x="1344" y="945"/>
                  </a:lnTo>
                  <a:lnTo>
                    <a:pt x="1332" y="945"/>
                  </a:lnTo>
                  <a:lnTo>
                    <a:pt x="1332" y="938"/>
                  </a:lnTo>
                  <a:lnTo>
                    <a:pt x="1332" y="938"/>
                  </a:lnTo>
                  <a:lnTo>
                    <a:pt x="1332" y="938"/>
                  </a:lnTo>
                  <a:close/>
                  <a:moveTo>
                    <a:pt x="2339" y="938"/>
                  </a:moveTo>
                  <a:lnTo>
                    <a:pt x="2348" y="938"/>
                  </a:lnTo>
                  <a:lnTo>
                    <a:pt x="2339" y="945"/>
                  </a:lnTo>
                  <a:lnTo>
                    <a:pt x="2332" y="945"/>
                  </a:lnTo>
                  <a:lnTo>
                    <a:pt x="2339" y="938"/>
                  </a:lnTo>
                  <a:lnTo>
                    <a:pt x="2339" y="938"/>
                  </a:lnTo>
                  <a:lnTo>
                    <a:pt x="2339" y="938"/>
                  </a:lnTo>
                  <a:close/>
                  <a:moveTo>
                    <a:pt x="2565" y="938"/>
                  </a:moveTo>
                  <a:lnTo>
                    <a:pt x="2570" y="938"/>
                  </a:lnTo>
                  <a:lnTo>
                    <a:pt x="2575" y="955"/>
                  </a:lnTo>
                  <a:lnTo>
                    <a:pt x="2565" y="938"/>
                  </a:lnTo>
                  <a:lnTo>
                    <a:pt x="2565" y="938"/>
                  </a:lnTo>
                  <a:lnTo>
                    <a:pt x="2565" y="938"/>
                  </a:lnTo>
                  <a:close/>
                  <a:moveTo>
                    <a:pt x="2554" y="938"/>
                  </a:moveTo>
                  <a:lnTo>
                    <a:pt x="2565" y="945"/>
                  </a:lnTo>
                  <a:lnTo>
                    <a:pt x="2554" y="955"/>
                  </a:lnTo>
                  <a:lnTo>
                    <a:pt x="2554" y="978"/>
                  </a:lnTo>
                  <a:lnTo>
                    <a:pt x="2537" y="995"/>
                  </a:lnTo>
                  <a:lnTo>
                    <a:pt x="2532" y="1011"/>
                  </a:lnTo>
                  <a:lnTo>
                    <a:pt x="2516" y="1011"/>
                  </a:lnTo>
                  <a:lnTo>
                    <a:pt x="2516" y="995"/>
                  </a:lnTo>
                  <a:lnTo>
                    <a:pt x="2523" y="971"/>
                  </a:lnTo>
                  <a:lnTo>
                    <a:pt x="2554" y="938"/>
                  </a:lnTo>
                  <a:lnTo>
                    <a:pt x="2554" y="938"/>
                  </a:lnTo>
                  <a:lnTo>
                    <a:pt x="2554" y="938"/>
                  </a:lnTo>
                  <a:close/>
                  <a:moveTo>
                    <a:pt x="1814" y="955"/>
                  </a:moveTo>
                  <a:lnTo>
                    <a:pt x="1819" y="962"/>
                  </a:lnTo>
                  <a:lnTo>
                    <a:pt x="1814" y="962"/>
                  </a:lnTo>
                  <a:lnTo>
                    <a:pt x="1814" y="955"/>
                  </a:lnTo>
                  <a:lnTo>
                    <a:pt x="1814" y="955"/>
                  </a:lnTo>
                  <a:lnTo>
                    <a:pt x="1814" y="955"/>
                  </a:lnTo>
                  <a:close/>
                  <a:moveTo>
                    <a:pt x="1864" y="962"/>
                  </a:moveTo>
                  <a:lnTo>
                    <a:pt x="1869" y="962"/>
                  </a:lnTo>
                  <a:lnTo>
                    <a:pt x="1864" y="962"/>
                  </a:lnTo>
                  <a:lnTo>
                    <a:pt x="1864" y="962"/>
                  </a:lnTo>
                  <a:lnTo>
                    <a:pt x="1864" y="962"/>
                  </a:lnTo>
                  <a:close/>
                  <a:moveTo>
                    <a:pt x="3040" y="962"/>
                  </a:moveTo>
                  <a:lnTo>
                    <a:pt x="3057" y="962"/>
                  </a:lnTo>
                  <a:lnTo>
                    <a:pt x="3073" y="978"/>
                  </a:lnTo>
                  <a:lnTo>
                    <a:pt x="3057" y="1011"/>
                  </a:lnTo>
                  <a:lnTo>
                    <a:pt x="3024" y="1033"/>
                  </a:lnTo>
                  <a:lnTo>
                    <a:pt x="2986" y="1033"/>
                  </a:lnTo>
                  <a:lnTo>
                    <a:pt x="2969" y="1033"/>
                  </a:lnTo>
                  <a:lnTo>
                    <a:pt x="3002" y="978"/>
                  </a:lnTo>
                  <a:lnTo>
                    <a:pt x="3040" y="962"/>
                  </a:lnTo>
                  <a:lnTo>
                    <a:pt x="3040" y="962"/>
                  </a:lnTo>
                  <a:lnTo>
                    <a:pt x="3040" y="962"/>
                  </a:lnTo>
                  <a:close/>
                  <a:moveTo>
                    <a:pt x="2511" y="962"/>
                  </a:moveTo>
                  <a:lnTo>
                    <a:pt x="2523" y="962"/>
                  </a:lnTo>
                  <a:lnTo>
                    <a:pt x="2511" y="971"/>
                  </a:lnTo>
                  <a:lnTo>
                    <a:pt x="2511" y="962"/>
                  </a:lnTo>
                  <a:lnTo>
                    <a:pt x="2511" y="962"/>
                  </a:lnTo>
                  <a:lnTo>
                    <a:pt x="2511" y="962"/>
                  </a:lnTo>
                  <a:close/>
                  <a:moveTo>
                    <a:pt x="2251" y="971"/>
                  </a:moveTo>
                  <a:lnTo>
                    <a:pt x="2263" y="978"/>
                  </a:lnTo>
                  <a:lnTo>
                    <a:pt x="2251" y="978"/>
                  </a:lnTo>
                  <a:lnTo>
                    <a:pt x="2251" y="971"/>
                  </a:lnTo>
                  <a:lnTo>
                    <a:pt x="2251" y="971"/>
                  </a:lnTo>
                  <a:lnTo>
                    <a:pt x="2251" y="971"/>
                  </a:lnTo>
                  <a:close/>
                  <a:moveTo>
                    <a:pt x="2154" y="978"/>
                  </a:moveTo>
                  <a:lnTo>
                    <a:pt x="2171" y="988"/>
                  </a:lnTo>
                  <a:lnTo>
                    <a:pt x="2197" y="978"/>
                  </a:lnTo>
                  <a:lnTo>
                    <a:pt x="2213" y="988"/>
                  </a:lnTo>
                  <a:lnTo>
                    <a:pt x="2187" y="1000"/>
                  </a:lnTo>
                  <a:lnTo>
                    <a:pt x="2159" y="995"/>
                  </a:lnTo>
                  <a:lnTo>
                    <a:pt x="2138" y="1011"/>
                  </a:lnTo>
                  <a:lnTo>
                    <a:pt x="2154" y="978"/>
                  </a:lnTo>
                  <a:lnTo>
                    <a:pt x="2154" y="978"/>
                  </a:lnTo>
                  <a:lnTo>
                    <a:pt x="2154" y="978"/>
                  </a:lnTo>
                  <a:close/>
                  <a:moveTo>
                    <a:pt x="2407" y="995"/>
                  </a:moveTo>
                  <a:lnTo>
                    <a:pt x="2424" y="995"/>
                  </a:lnTo>
                  <a:lnTo>
                    <a:pt x="2424" y="1011"/>
                  </a:lnTo>
                  <a:lnTo>
                    <a:pt x="2407" y="1000"/>
                  </a:lnTo>
                  <a:lnTo>
                    <a:pt x="2407" y="995"/>
                  </a:lnTo>
                  <a:lnTo>
                    <a:pt x="2407" y="995"/>
                  </a:lnTo>
                  <a:lnTo>
                    <a:pt x="2407" y="995"/>
                  </a:lnTo>
                  <a:close/>
                  <a:moveTo>
                    <a:pt x="2242" y="1011"/>
                  </a:moveTo>
                  <a:lnTo>
                    <a:pt x="2246" y="1011"/>
                  </a:lnTo>
                  <a:lnTo>
                    <a:pt x="2242" y="1011"/>
                  </a:lnTo>
                  <a:lnTo>
                    <a:pt x="2242" y="1011"/>
                  </a:lnTo>
                  <a:lnTo>
                    <a:pt x="2242" y="1011"/>
                  </a:lnTo>
                  <a:close/>
                  <a:moveTo>
                    <a:pt x="1349" y="1011"/>
                  </a:moveTo>
                  <a:lnTo>
                    <a:pt x="1382" y="1016"/>
                  </a:lnTo>
                  <a:lnTo>
                    <a:pt x="1398" y="1011"/>
                  </a:lnTo>
                  <a:lnTo>
                    <a:pt x="1420" y="1016"/>
                  </a:lnTo>
                  <a:lnTo>
                    <a:pt x="1436" y="1033"/>
                  </a:lnTo>
                  <a:lnTo>
                    <a:pt x="1403" y="1049"/>
                  </a:lnTo>
                  <a:lnTo>
                    <a:pt x="1398" y="1056"/>
                  </a:lnTo>
                  <a:lnTo>
                    <a:pt x="1403" y="1066"/>
                  </a:lnTo>
                  <a:lnTo>
                    <a:pt x="1398" y="1066"/>
                  </a:lnTo>
                  <a:lnTo>
                    <a:pt x="1398" y="1056"/>
                  </a:lnTo>
                  <a:lnTo>
                    <a:pt x="1377" y="1044"/>
                  </a:lnTo>
                  <a:lnTo>
                    <a:pt x="1361" y="1033"/>
                  </a:lnTo>
                  <a:lnTo>
                    <a:pt x="1349" y="1016"/>
                  </a:lnTo>
                  <a:lnTo>
                    <a:pt x="1349" y="1011"/>
                  </a:lnTo>
                  <a:lnTo>
                    <a:pt x="1349" y="1011"/>
                  </a:lnTo>
                  <a:lnTo>
                    <a:pt x="1349" y="1011"/>
                  </a:lnTo>
                  <a:close/>
                  <a:moveTo>
                    <a:pt x="1722" y="1056"/>
                  </a:moveTo>
                  <a:lnTo>
                    <a:pt x="1722" y="1049"/>
                  </a:lnTo>
                  <a:lnTo>
                    <a:pt x="1755" y="1028"/>
                  </a:lnTo>
                  <a:lnTo>
                    <a:pt x="1798" y="1033"/>
                  </a:lnTo>
                  <a:lnTo>
                    <a:pt x="1847" y="1049"/>
                  </a:lnTo>
                  <a:lnTo>
                    <a:pt x="1852" y="1044"/>
                  </a:lnTo>
                  <a:lnTo>
                    <a:pt x="1873" y="1044"/>
                  </a:lnTo>
                  <a:lnTo>
                    <a:pt x="1902" y="1049"/>
                  </a:lnTo>
                  <a:lnTo>
                    <a:pt x="1906" y="1049"/>
                  </a:lnTo>
                  <a:lnTo>
                    <a:pt x="1923" y="1033"/>
                  </a:lnTo>
                  <a:lnTo>
                    <a:pt x="1939" y="1028"/>
                  </a:lnTo>
                  <a:lnTo>
                    <a:pt x="1944" y="1016"/>
                  </a:lnTo>
                  <a:lnTo>
                    <a:pt x="1928" y="1028"/>
                  </a:lnTo>
                  <a:lnTo>
                    <a:pt x="1939" y="1011"/>
                  </a:lnTo>
                  <a:lnTo>
                    <a:pt x="1944" y="1016"/>
                  </a:lnTo>
                  <a:lnTo>
                    <a:pt x="1944" y="1028"/>
                  </a:lnTo>
                  <a:lnTo>
                    <a:pt x="1928" y="1033"/>
                  </a:lnTo>
                  <a:lnTo>
                    <a:pt x="1939" y="1049"/>
                  </a:lnTo>
                  <a:lnTo>
                    <a:pt x="1864" y="1073"/>
                  </a:lnTo>
                  <a:lnTo>
                    <a:pt x="1835" y="1066"/>
                  </a:lnTo>
                  <a:lnTo>
                    <a:pt x="1831" y="1073"/>
                  </a:lnTo>
                  <a:lnTo>
                    <a:pt x="1809" y="1073"/>
                  </a:lnTo>
                  <a:lnTo>
                    <a:pt x="1776" y="1066"/>
                  </a:lnTo>
                  <a:lnTo>
                    <a:pt x="1727" y="1066"/>
                  </a:lnTo>
                  <a:lnTo>
                    <a:pt x="1722" y="1056"/>
                  </a:lnTo>
                  <a:lnTo>
                    <a:pt x="1722" y="1056"/>
                  </a:lnTo>
                  <a:lnTo>
                    <a:pt x="1722" y="1056"/>
                  </a:lnTo>
                  <a:close/>
                  <a:moveTo>
                    <a:pt x="1684" y="1056"/>
                  </a:moveTo>
                  <a:lnTo>
                    <a:pt x="1668" y="1066"/>
                  </a:lnTo>
                  <a:lnTo>
                    <a:pt x="1658" y="1056"/>
                  </a:lnTo>
                  <a:lnTo>
                    <a:pt x="1651" y="1056"/>
                  </a:lnTo>
                  <a:lnTo>
                    <a:pt x="1647" y="1056"/>
                  </a:lnTo>
                  <a:lnTo>
                    <a:pt x="1658" y="1066"/>
                  </a:lnTo>
                  <a:lnTo>
                    <a:pt x="1630" y="1066"/>
                  </a:lnTo>
                  <a:lnTo>
                    <a:pt x="1621" y="1066"/>
                  </a:lnTo>
                  <a:lnTo>
                    <a:pt x="1621" y="1049"/>
                  </a:lnTo>
                  <a:lnTo>
                    <a:pt x="1604" y="1066"/>
                  </a:lnTo>
                  <a:lnTo>
                    <a:pt x="1576" y="1073"/>
                  </a:lnTo>
                  <a:lnTo>
                    <a:pt x="1550" y="1082"/>
                  </a:lnTo>
                  <a:lnTo>
                    <a:pt x="1545" y="1082"/>
                  </a:lnTo>
                  <a:lnTo>
                    <a:pt x="1528" y="1089"/>
                  </a:lnTo>
                  <a:lnTo>
                    <a:pt x="1507" y="1073"/>
                  </a:lnTo>
                  <a:lnTo>
                    <a:pt x="1512" y="1049"/>
                  </a:lnTo>
                  <a:lnTo>
                    <a:pt x="1538" y="1033"/>
                  </a:lnTo>
                  <a:lnTo>
                    <a:pt x="1559" y="1044"/>
                  </a:lnTo>
                  <a:lnTo>
                    <a:pt x="1566" y="1033"/>
                  </a:lnTo>
                  <a:lnTo>
                    <a:pt x="1566" y="1044"/>
                  </a:lnTo>
                  <a:lnTo>
                    <a:pt x="1592" y="1056"/>
                  </a:lnTo>
                  <a:lnTo>
                    <a:pt x="1597" y="1056"/>
                  </a:lnTo>
                  <a:lnTo>
                    <a:pt x="1613" y="1056"/>
                  </a:lnTo>
                  <a:lnTo>
                    <a:pt x="1613" y="1049"/>
                  </a:lnTo>
                  <a:lnTo>
                    <a:pt x="1597" y="1044"/>
                  </a:lnTo>
                  <a:lnTo>
                    <a:pt x="1576" y="1028"/>
                  </a:lnTo>
                  <a:lnTo>
                    <a:pt x="1576" y="1016"/>
                  </a:lnTo>
                  <a:lnTo>
                    <a:pt x="1592" y="1011"/>
                  </a:lnTo>
                  <a:lnTo>
                    <a:pt x="1604" y="1016"/>
                  </a:lnTo>
                  <a:lnTo>
                    <a:pt x="1621" y="1033"/>
                  </a:lnTo>
                  <a:lnTo>
                    <a:pt x="1630" y="1028"/>
                  </a:lnTo>
                  <a:lnTo>
                    <a:pt x="1647" y="1028"/>
                  </a:lnTo>
                  <a:lnTo>
                    <a:pt x="1647" y="1049"/>
                  </a:lnTo>
                  <a:lnTo>
                    <a:pt x="1651" y="1028"/>
                  </a:lnTo>
                  <a:lnTo>
                    <a:pt x="1668" y="1028"/>
                  </a:lnTo>
                  <a:lnTo>
                    <a:pt x="1668" y="1049"/>
                  </a:lnTo>
                  <a:lnTo>
                    <a:pt x="1684" y="1056"/>
                  </a:lnTo>
                  <a:lnTo>
                    <a:pt x="1684" y="1056"/>
                  </a:lnTo>
                  <a:lnTo>
                    <a:pt x="1684" y="1056"/>
                  </a:lnTo>
                  <a:close/>
                  <a:moveTo>
                    <a:pt x="2495" y="1033"/>
                  </a:moveTo>
                  <a:lnTo>
                    <a:pt x="2511" y="1011"/>
                  </a:lnTo>
                  <a:lnTo>
                    <a:pt x="2523" y="1016"/>
                  </a:lnTo>
                  <a:lnTo>
                    <a:pt x="2495" y="1033"/>
                  </a:lnTo>
                  <a:lnTo>
                    <a:pt x="2495" y="1033"/>
                  </a:lnTo>
                  <a:lnTo>
                    <a:pt x="2495" y="1033"/>
                  </a:lnTo>
                  <a:close/>
                  <a:moveTo>
                    <a:pt x="2284" y="1011"/>
                  </a:moveTo>
                  <a:lnTo>
                    <a:pt x="2306" y="1016"/>
                  </a:lnTo>
                  <a:lnTo>
                    <a:pt x="2301" y="1028"/>
                  </a:lnTo>
                  <a:lnTo>
                    <a:pt x="2284" y="1016"/>
                  </a:lnTo>
                  <a:lnTo>
                    <a:pt x="2284" y="1011"/>
                  </a:lnTo>
                  <a:lnTo>
                    <a:pt x="2284" y="1011"/>
                  </a:lnTo>
                  <a:lnTo>
                    <a:pt x="2284" y="1011"/>
                  </a:lnTo>
                  <a:close/>
                  <a:moveTo>
                    <a:pt x="2053" y="1016"/>
                  </a:moveTo>
                  <a:lnTo>
                    <a:pt x="2091" y="1016"/>
                  </a:lnTo>
                  <a:lnTo>
                    <a:pt x="2100" y="1028"/>
                  </a:lnTo>
                  <a:lnTo>
                    <a:pt x="2046" y="1044"/>
                  </a:lnTo>
                  <a:lnTo>
                    <a:pt x="2053" y="1016"/>
                  </a:lnTo>
                  <a:lnTo>
                    <a:pt x="2053" y="1016"/>
                  </a:lnTo>
                  <a:lnTo>
                    <a:pt x="2053" y="1016"/>
                  </a:lnTo>
                  <a:close/>
                  <a:moveTo>
                    <a:pt x="1672" y="1016"/>
                  </a:moveTo>
                  <a:lnTo>
                    <a:pt x="1668" y="1028"/>
                  </a:lnTo>
                  <a:lnTo>
                    <a:pt x="1672" y="1016"/>
                  </a:lnTo>
                  <a:lnTo>
                    <a:pt x="1672" y="1016"/>
                  </a:lnTo>
                  <a:lnTo>
                    <a:pt x="1672" y="1016"/>
                  </a:lnTo>
                  <a:close/>
                  <a:moveTo>
                    <a:pt x="1566" y="1033"/>
                  </a:moveTo>
                  <a:lnTo>
                    <a:pt x="1559" y="1016"/>
                  </a:lnTo>
                  <a:lnTo>
                    <a:pt x="1576" y="1016"/>
                  </a:lnTo>
                  <a:lnTo>
                    <a:pt x="1566" y="1033"/>
                  </a:lnTo>
                  <a:lnTo>
                    <a:pt x="1566" y="1033"/>
                  </a:lnTo>
                  <a:lnTo>
                    <a:pt x="1566" y="1033"/>
                  </a:lnTo>
                  <a:close/>
                  <a:moveTo>
                    <a:pt x="2280" y="1016"/>
                  </a:moveTo>
                  <a:lnTo>
                    <a:pt x="2284" y="1016"/>
                  </a:lnTo>
                  <a:lnTo>
                    <a:pt x="2268" y="1028"/>
                  </a:lnTo>
                  <a:lnTo>
                    <a:pt x="2280" y="1016"/>
                  </a:lnTo>
                  <a:lnTo>
                    <a:pt x="2280" y="1016"/>
                  </a:lnTo>
                  <a:lnTo>
                    <a:pt x="2280" y="1016"/>
                  </a:lnTo>
                  <a:close/>
                  <a:moveTo>
                    <a:pt x="3057" y="1016"/>
                  </a:moveTo>
                  <a:lnTo>
                    <a:pt x="3061" y="1033"/>
                  </a:lnTo>
                  <a:lnTo>
                    <a:pt x="3040" y="1033"/>
                  </a:lnTo>
                  <a:lnTo>
                    <a:pt x="3052" y="1016"/>
                  </a:lnTo>
                  <a:lnTo>
                    <a:pt x="3057" y="1016"/>
                  </a:lnTo>
                  <a:lnTo>
                    <a:pt x="3057" y="1016"/>
                  </a:lnTo>
                  <a:lnTo>
                    <a:pt x="3057" y="1016"/>
                  </a:lnTo>
                  <a:close/>
                  <a:moveTo>
                    <a:pt x="2015" y="1033"/>
                  </a:moveTo>
                  <a:lnTo>
                    <a:pt x="2024" y="1033"/>
                  </a:lnTo>
                  <a:lnTo>
                    <a:pt x="2036" y="1016"/>
                  </a:lnTo>
                  <a:lnTo>
                    <a:pt x="2024" y="1049"/>
                  </a:lnTo>
                  <a:lnTo>
                    <a:pt x="2015" y="1033"/>
                  </a:lnTo>
                  <a:lnTo>
                    <a:pt x="2008" y="1044"/>
                  </a:lnTo>
                  <a:lnTo>
                    <a:pt x="2015" y="1033"/>
                  </a:lnTo>
                  <a:lnTo>
                    <a:pt x="2015" y="1033"/>
                  </a:lnTo>
                  <a:lnTo>
                    <a:pt x="2015" y="1033"/>
                  </a:lnTo>
                  <a:close/>
                  <a:moveTo>
                    <a:pt x="1977" y="1049"/>
                  </a:moveTo>
                  <a:lnTo>
                    <a:pt x="1961" y="1044"/>
                  </a:lnTo>
                  <a:lnTo>
                    <a:pt x="1982" y="1033"/>
                  </a:lnTo>
                  <a:lnTo>
                    <a:pt x="1970" y="1028"/>
                  </a:lnTo>
                  <a:lnTo>
                    <a:pt x="1977" y="1028"/>
                  </a:lnTo>
                  <a:lnTo>
                    <a:pt x="1982" y="1028"/>
                  </a:lnTo>
                  <a:lnTo>
                    <a:pt x="1991" y="1033"/>
                  </a:lnTo>
                  <a:lnTo>
                    <a:pt x="1998" y="1016"/>
                  </a:lnTo>
                  <a:lnTo>
                    <a:pt x="2015" y="1028"/>
                  </a:lnTo>
                  <a:lnTo>
                    <a:pt x="1977" y="1049"/>
                  </a:lnTo>
                  <a:lnTo>
                    <a:pt x="1977" y="1049"/>
                  </a:lnTo>
                  <a:lnTo>
                    <a:pt x="1977" y="1049"/>
                  </a:lnTo>
                  <a:close/>
                  <a:moveTo>
                    <a:pt x="2306" y="1016"/>
                  </a:moveTo>
                  <a:lnTo>
                    <a:pt x="2317" y="1028"/>
                  </a:lnTo>
                  <a:lnTo>
                    <a:pt x="2306" y="1028"/>
                  </a:lnTo>
                  <a:lnTo>
                    <a:pt x="2306" y="1016"/>
                  </a:lnTo>
                  <a:lnTo>
                    <a:pt x="2306" y="1016"/>
                  </a:lnTo>
                  <a:lnTo>
                    <a:pt x="2306" y="1016"/>
                  </a:lnTo>
                  <a:close/>
                  <a:moveTo>
                    <a:pt x="1484" y="1016"/>
                  </a:moveTo>
                  <a:lnTo>
                    <a:pt x="1507" y="1033"/>
                  </a:lnTo>
                  <a:lnTo>
                    <a:pt x="1495" y="1066"/>
                  </a:lnTo>
                  <a:lnTo>
                    <a:pt x="1495" y="1073"/>
                  </a:lnTo>
                  <a:lnTo>
                    <a:pt x="1491" y="1073"/>
                  </a:lnTo>
                  <a:lnTo>
                    <a:pt x="1491" y="1066"/>
                  </a:lnTo>
                  <a:lnTo>
                    <a:pt x="1469" y="1073"/>
                  </a:lnTo>
                  <a:lnTo>
                    <a:pt x="1441" y="1066"/>
                  </a:lnTo>
                  <a:lnTo>
                    <a:pt x="1441" y="1056"/>
                  </a:lnTo>
                  <a:lnTo>
                    <a:pt x="1458" y="1056"/>
                  </a:lnTo>
                  <a:lnTo>
                    <a:pt x="1458" y="1033"/>
                  </a:lnTo>
                  <a:lnTo>
                    <a:pt x="1484" y="1016"/>
                  </a:lnTo>
                  <a:lnTo>
                    <a:pt x="1484" y="1016"/>
                  </a:lnTo>
                  <a:lnTo>
                    <a:pt x="1484" y="1016"/>
                  </a:lnTo>
                  <a:close/>
                  <a:moveTo>
                    <a:pt x="1954" y="1028"/>
                  </a:moveTo>
                  <a:lnTo>
                    <a:pt x="1970" y="1028"/>
                  </a:lnTo>
                  <a:lnTo>
                    <a:pt x="1970" y="1033"/>
                  </a:lnTo>
                  <a:lnTo>
                    <a:pt x="1944" y="1033"/>
                  </a:lnTo>
                  <a:lnTo>
                    <a:pt x="1954" y="1028"/>
                  </a:lnTo>
                  <a:lnTo>
                    <a:pt x="1954" y="1028"/>
                  </a:lnTo>
                  <a:lnTo>
                    <a:pt x="1954" y="1028"/>
                  </a:lnTo>
                  <a:close/>
                  <a:moveTo>
                    <a:pt x="2024" y="1106"/>
                  </a:moveTo>
                  <a:lnTo>
                    <a:pt x="2062" y="1089"/>
                  </a:lnTo>
                  <a:lnTo>
                    <a:pt x="2084" y="1073"/>
                  </a:lnTo>
                  <a:lnTo>
                    <a:pt x="2100" y="1049"/>
                  </a:lnTo>
                  <a:lnTo>
                    <a:pt x="2187" y="1033"/>
                  </a:lnTo>
                  <a:lnTo>
                    <a:pt x="2197" y="1044"/>
                  </a:lnTo>
                  <a:lnTo>
                    <a:pt x="2230" y="1028"/>
                  </a:lnTo>
                  <a:lnTo>
                    <a:pt x="2246" y="1033"/>
                  </a:lnTo>
                  <a:lnTo>
                    <a:pt x="2230" y="1056"/>
                  </a:lnTo>
                  <a:lnTo>
                    <a:pt x="2197" y="1066"/>
                  </a:lnTo>
                  <a:lnTo>
                    <a:pt x="2192" y="1073"/>
                  </a:lnTo>
                  <a:lnTo>
                    <a:pt x="2171" y="1082"/>
                  </a:lnTo>
                  <a:lnTo>
                    <a:pt x="2117" y="1099"/>
                  </a:lnTo>
                  <a:lnTo>
                    <a:pt x="2091" y="1111"/>
                  </a:lnTo>
                  <a:lnTo>
                    <a:pt x="2084" y="1127"/>
                  </a:lnTo>
                  <a:lnTo>
                    <a:pt x="2046" y="1160"/>
                  </a:lnTo>
                  <a:lnTo>
                    <a:pt x="2024" y="1160"/>
                  </a:lnTo>
                  <a:lnTo>
                    <a:pt x="2008" y="1177"/>
                  </a:lnTo>
                  <a:lnTo>
                    <a:pt x="1982" y="1177"/>
                  </a:lnTo>
                  <a:lnTo>
                    <a:pt x="1982" y="1165"/>
                  </a:lnTo>
                  <a:lnTo>
                    <a:pt x="1998" y="1160"/>
                  </a:lnTo>
                  <a:lnTo>
                    <a:pt x="1982" y="1155"/>
                  </a:lnTo>
                  <a:lnTo>
                    <a:pt x="1991" y="1127"/>
                  </a:lnTo>
                  <a:lnTo>
                    <a:pt x="2024" y="1106"/>
                  </a:lnTo>
                  <a:lnTo>
                    <a:pt x="2024" y="1106"/>
                  </a:lnTo>
                  <a:lnTo>
                    <a:pt x="2024" y="1106"/>
                  </a:lnTo>
                  <a:close/>
                  <a:moveTo>
                    <a:pt x="1701" y="1033"/>
                  </a:moveTo>
                  <a:lnTo>
                    <a:pt x="1706" y="1049"/>
                  </a:lnTo>
                  <a:lnTo>
                    <a:pt x="1701" y="1049"/>
                  </a:lnTo>
                  <a:lnTo>
                    <a:pt x="1701" y="1056"/>
                  </a:lnTo>
                  <a:lnTo>
                    <a:pt x="1689" y="1056"/>
                  </a:lnTo>
                  <a:lnTo>
                    <a:pt x="1701" y="1033"/>
                  </a:lnTo>
                  <a:lnTo>
                    <a:pt x="1701" y="1033"/>
                  </a:lnTo>
                  <a:lnTo>
                    <a:pt x="1701" y="1033"/>
                  </a:lnTo>
                  <a:close/>
                  <a:moveTo>
                    <a:pt x="1944" y="1049"/>
                  </a:moveTo>
                  <a:lnTo>
                    <a:pt x="1944" y="1044"/>
                  </a:lnTo>
                  <a:lnTo>
                    <a:pt x="1961" y="1044"/>
                  </a:lnTo>
                  <a:lnTo>
                    <a:pt x="1944" y="1049"/>
                  </a:lnTo>
                  <a:lnTo>
                    <a:pt x="1944" y="1049"/>
                  </a:lnTo>
                  <a:lnTo>
                    <a:pt x="1944" y="1049"/>
                  </a:lnTo>
                  <a:close/>
                  <a:moveTo>
                    <a:pt x="1269" y="1044"/>
                  </a:moveTo>
                  <a:lnTo>
                    <a:pt x="1269" y="1033"/>
                  </a:lnTo>
                  <a:lnTo>
                    <a:pt x="1273" y="1044"/>
                  </a:lnTo>
                  <a:lnTo>
                    <a:pt x="1269" y="1044"/>
                  </a:lnTo>
                  <a:lnTo>
                    <a:pt x="1269" y="1044"/>
                  </a:lnTo>
                  <a:lnTo>
                    <a:pt x="1269" y="1044"/>
                  </a:lnTo>
                  <a:close/>
                  <a:moveTo>
                    <a:pt x="1710" y="1056"/>
                  </a:moveTo>
                  <a:lnTo>
                    <a:pt x="1710" y="1066"/>
                  </a:lnTo>
                  <a:lnTo>
                    <a:pt x="1706" y="1066"/>
                  </a:lnTo>
                  <a:lnTo>
                    <a:pt x="1710" y="1049"/>
                  </a:lnTo>
                  <a:lnTo>
                    <a:pt x="1710" y="1056"/>
                  </a:lnTo>
                  <a:lnTo>
                    <a:pt x="1710" y="1056"/>
                  </a:lnTo>
                  <a:lnTo>
                    <a:pt x="1710" y="1056"/>
                  </a:lnTo>
                  <a:close/>
                  <a:moveTo>
                    <a:pt x="1432" y="1066"/>
                  </a:moveTo>
                  <a:lnTo>
                    <a:pt x="1420" y="1056"/>
                  </a:lnTo>
                  <a:lnTo>
                    <a:pt x="1432" y="1056"/>
                  </a:lnTo>
                  <a:lnTo>
                    <a:pt x="1432" y="1066"/>
                  </a:lnTo>
                  <a:lnTo>
                    <a:pt x="1432" y="1066"/>
                  </a:lnTo>
                  <a:lnTo>
                    <a:pt x="1432" y="1066"/>
                  </a:lnTo>
                  <a:close/>
                  <a:moveTo>
                    <a:pt x="1684" y="1139"/>
                  </a:moveTo>
                  <a:lnTo>
                    <a:pt x="1658" y="1122"/>
                  </a:lnTo>
                  <a:lnTo>
                    <a:pt x="1668" y="1111"/>
                  </a:lnTo>
                  <a:lnTo>
                    <a:pt x="1684" y="1106"/>
                  </a:lnTo>
                  <a:lnTo>
                    <a:pt x="1722" y="1106"/>
                  </a:lnTo>
                  <a:lnTo>
                    <a:pt x="1727" y="1099"/>
                  </a:lnTo>
                  <a:lnTo>
                    <a:pt x="1755" y="1111"/>
                  </a:lnTo>
                  <a:lnTo>
                    <a:pt x="1755" y="1127"/>
                  </a:lnTo>
                  <a:lnTo>
                    <a:pt x="1765" y="1122"/>
                  </a:lnTo>
                  <a:lnTo>
                    <a:pt x="1776" y="1127"/>
                  </a:lnTo>
                  <a:lnTo>
                    <a:pt x="1798" y="1160"/>
                  </a:lnTo>
                  <a:lnTo>
                    <a:pt x="1781" y="1165"/>
                  </a:lnTo>
                  <a:lnTo>
                    <a:pt x="1755" y="1165"/>
                  </a:lnTo>
                  <a:lnTo>
                    <a:pt x="1710" y="1139"/>
                  </a:lnTo>
                  <a:lnTo>
                    <a:pt x="1684" y="1139"/>
                  </a:lnTo>
                  <a:lnTo>
                    <a:pt x="1684" y="1139"/>
                  </a:lnTo>
                  <a:lnTo>
                    <a:pt x="1684" y="1139"/>
                  </a:lnTo>
                  <a:close/>
                  <a:moveTo>
                    <a:pt x="1977" y="1160"/>
                  </a:moveTo>
                  <a:lnTo>
                    <a:pt x="1982" y="1165"/>
                  </a:lnTo>
                  <a:lnTo>
                    <a:pt x="1970" y="1177"/>
                  </a:lnTo>
                  <a:lnTo>
                    <a:pt x="1977" y="1160"/>
                  </a:lnTo>
                  <a:lnTo>
                    <a:pt x="1977" y="1160"/>
                  </a:lnTo>
                  <a:lnTo>
                    <a:pt x="1977" y="1160"/>
                  </a:lnTo>
                  <a:close/>
                  <a:moveTo>
                    <a:pt x="1864" y="1193"/>
                  </a:moveTo>
                  <a:lnTo>
                    <a:pt x="1869" y="1181"/>
                  </a:lnTo>
                  <a:lnTo>
                    <a:pt x="1873" y="1181"/>
                  </a:lnTo>
                  <a:lnTo>
                    <a:pt x="1869" y="1193"/>
                  </a:lnTo>
                  <a:lnTo>
                    <a:pt x="1864" y="1193"/>
                  </a:lnTo>
                  <a:lnTo>
                    <a:pt x="1864" y="1193"/>
                  </a:lnTo>
                  <a:lnTo>
                    <a:pt x="1864" y="1193"/>
                  </a:lnTo>
                  <a:close/>
                  <a:moveTo>
                    <a:pt x="1939" y="1210"/>
                  </a:moveTo>
                  <a:lnTo>
                    <a:pt x="1977" y="1181"/>
                  </a:lnTo>
                  <a:lnTo>
                    <a:pt x="1977" y="1200"/>
                  </a:lnTo>
                  <a:lnTo>
                    <a:pt x="1961" y="1210"/>
                  </a:lnTo>
                  <a:lnTo>
                    <a:pt x="1939" y="1217"/>
                  </a:lnTo>
                  <a:lnTo>
                    <a:pt x="1939" y="1210"/>
                  </a:lnTo>
                  <a:lnTo>
                    <a:pt x="1939" y="1210"/>
                  </a:lnTo>
                  <a:lnTo>
                    <a:pt x="1939" y="1210"/>
                  </a:lnTo>
                  <a:close/>
                </a:path>
              </a:pathLst>
            </a:custGeom>
            <a:pattFill prst="nar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1" name="Freeform 468">
              <a:extLst>
                <a:ext uri="{FF2B5EF4-FFF2-40B4-BE49-F238E27FC236}">
                  <a16:creationId xmlns:a16="http://schemas.microsoft.com/office/drawing/2014/main" id="{29CC068C-76C4-4ED1-A910-5BE1F7CC2D71}"/>
                </a:ext>
              </a:extLst>
            </p:cNvPr>
            <p:cNvSpPr>
              <a:spLocks/>
            </p:cNvSpPr>
            <p:nvPr/>
          </p:nvSpPr>
          <p:spPr bwMode="gray">
            <a:xfrm>
              <a:off x="5610320" y="2443777"/>
              <a:ext cx="14846" cy="18807"/>
            </a:xfrm>
            <a:custGeom>
              <a:avLst/>
              <a:gdLst>
                <a:gd name="T0" fmla="*/ 0 w 30"/>
                <a:gd name="T1" fmla="*/ 38 h 38"/>
                <a:gd name="T2" fmla="*/ 0 w 30"/>
                <a:gd name="T3" fmla="*/ 22 h 38"/>
                <a:gd name="T4" fmla="*/ 26 w 30"/>
                <a:gd name="T5" fmla="*/ 0 h 38"/>
                <a:gd name="T6" fmla="*/ 30 w 30"/>
                <a:gd name="T7" fmla="*/ 17 h 38"/>
                <a:gd name="T8" fmla="*/ 26 w 30"/>
                <a:gd name="T9" fmla="*/ 22 h 38"/>
                <a:gd name="T10" fmla="*/ 0 w 30"/>
                <a:gd name="T11" fmla="*/ 38 h 38"/>
                <a:gd name="T12" fmla="*/ 0 w 30"/>
                <a:gd name="T13" fmla="*/ 38 h 38"/>
                <a:gd name="T14" fmla="*/ 0 w 30"/>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8">
                  <a:moveTo>
                    <a:pt x="0" y="38"/>
                  </a:moveTo>
                  <a:lnTo>
                    <a:pt x="0" y="22"/>
                  </a:lnTo>
                  <a:lnTo>
                    <a:pt x="26" y="0"/>
                  </a:lnTo>
                  <a:lnTo>
                    <a:pt x="30" y="17"/>
                  </a:lnTo>
                  <a:lnTo>
                    <a:pt x="26" y="22"/>
                  </a:lnTo>
                  <a:lnTo>
                    <a:pt x="0" y="38"/>
                  </a:lnTo>
                  <a:lnTo>
                    <a:pt x="0" y="38"/>
                  </a:lnTo>
                  <a:lnTo>
                    <a:pt x="0" y="38"/>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2" name="Freeform 469">
              <a:extLst>
                <a:ext uri="{FF2B5EF4-FFF2-40B4-BE49-F238E27FC236}">
                  <a16:creationId xmlns:a16="http://schemas.microsoft.com/office/drawing/2014/main" id="{E0742F0E-1BD4-4B6A-9B26-4910C033DF1B}"/>
                </a:ext>
              </a:extLst>
            </p:cNvPr>
            <p:cNvSpPr>
              <a:spLocks noEditPoints="1"/>
            </p:cNvSpPr>
            <p:nvPr/>
          </p:nvSpPr>
          <p:spPr bwMode="gray">
            <a:xfrm>
              <a:off x="8137657" y="3282191"/>
              <a:ext cx="1014498" cy="1078953"/>
            </a:xfrm>
            <a:custGeom>
              <a:avLst/>
              <a:gdLst>
                <a:gd name="T0" fmla="*/ 1634 w 2050"/>
                <a:gd name="T1" fmla="*/ 959 h 2180"/>
                <a:gd name="T2" fmla="*/ 1701 w 2050"/>
                <a:gd name="T3" fmla="*/ 839 h 2180"/>
                <a:gd name="T4" fmla="*/ 1507 w 2050"/>
                <a:gd name="T5" fmla="*/ 756 h 2180"/>
                <a:gd name="T6" fmla="*/ 1419 w 2050"/>
                <a:gd name="T7" fmla="*/ 711 h 2180"/>
                <a:gd name="T8" fmla="*/ 1469 w 2050"/>
                <a:gd name="T9" fmla="*/ 810 h 2180"/>
                <a:gd name="T10" fmla="*/ 1441 w 2050"/>
                <a:gd name="T11" fmla="*/ 876 h 2180"/>
                <a:gd name="T12" fmla="*/ 1474 w 2050"/>
                <a:gd name="T13" fmla="*/ 1049 h 2180"/>
                <a:gd name="T14" fmla="*/ 1431 w 2050"/>
                <a:gd name="T15" fmla="*/ 1094 h 2180"/>
                <a:gd name="T16" fmla="*/ 1386 w 2050"/>
                <a:gd name="T17" fmla="*/ 1020 h 2180"/>
                <a:gd name="T18" fmla="*/ 1327 w 2050"/>
                <a:gd name="T19" fmla="*/ 1160 h 2180"/>
                <a:gd name="T20" fmla="*/ 1219 w 2050"/>
                <a:gd name="T21" fmla="*/ 1238 h 2180"/>
                <a:gd name="T22" fmla="*/ 1171 w 2050"/>
                <a:gd name="T23" fmla="*/ 1276 h 2180"/>
                <a:gd name="T24" fmla="*/ 954 w 2050"/>
                <a:gd name="T25" fmla="*/ 1481 h 2180"/>
                <a:gd name="T26" fmla="*/ 848 w 2050"/>
                <a:gd name="T27" fmla="*/ 1609 h 2180"/>
                <a:gd name="T28" fmla="*/ 827 w 2050"/>
                <a:gd name="T29" fmla="*/ 1864 h 2180"/>
                <a:gd name="T30" fmla="*/ 765 w 2050"/>
                <a:gd name="T31" fmla="*/ 1998 h 2180"/>
                <a:gd name="T32" fmla="*/ 593 w 2050"/>
                <a:gd name="T33" fmla="*/ 2020 h 2180"/>
                <a:gd name="T34" fmla="*/ 534 w 2050"/>
                <a:gd name="T35" fmla="*/ 1835 h 2180"/>
                <a:gd name="T36" fmla="*/ 404 w 2050"/>
                <a:gd name="T37" fmla="*/ 1547 h 2180"/>
                <a:gd name="T38" fmla="*/ 340 w 2050"/>
                <a:gd name="T39" fmla="*/ 1292 h 2180"/>
                <a:gd name="T40" fmla="*/ 340 w 2050"/>
                <a:gd name="T41" fmla="*/ 1148 h 2180"/>
                <a:gd name="T42" fmla="*/ 356 w 2050"/>
                <a:gd name="T43" fmla="*/ 1077 h 2180"/>
                <a:gd name="T44" fmla="*/ 286 w 2050"/>
                <a:gd name="T45" fmla="*/ 1037 h 2180"/>
                <a:gd name="T46" fmla="*/ 297 w 2050"/>
                <a:gd name="T47" fmla="*/ 1087 h 2180"/>
                <a:gd name="T48" fmla="*/ 172 w 2050"/>
                <a:gd name="T49" fmla="*/ 983 h 2180"/>
                <a:gd name="T50" fmla="*/ 26 w 2050"/>
                <a:gd name="T51" fmla="*/ 933 h 2180"/>
                <a:gd name="T52" fmla="*/ 64 w 2050"/>
                <a:gd name="T53" fmla="*/ 888 h 2180"/>
                <a:gd name="T54" fmla="*/ 198 w 2050"/>
                <a:gd name="T55" fmla="*/ 872 h 2180"/>
                <a:gd name="T56" fmla="*/ 125 w 2050"/>
                <a:gd name="T57" fmla="*/ 704 h 2180"/>
                <a:gd name="T58" fmla="*/ 286 w 2050"/>
                <a:gd name="T59" fmla="*/ 560 h 2180"/>
                <a:gd name="T60" fmla="*/ 458 w 2050"/>
                <a:gd name="T61" fmla="*/ 354 h 2180"/>
                <a:gd name="T62" fmla="*/ 486 w 2050"/>
                <a:gd name="T63" fmla="*/ 243 h 2180"/>
                <a:gd name="T64" fmla="*/ 411 w 2050"/>
                <a:gd name="T65" fmla="*/ 111 h 2180"/>
                <a:gd name="T66" fmla="*/ 621 w 2050"/>
                <a:gd name="T67" fmla="*/ 61 h 2180"/>
                <a:gd name="T68" fmla="*/ 751 w 2050"/>
                <a:gd name="T69" fmla="*/ 111 h 2180"/>
                <a:gd name="T70" fmla="*/ 751 w 2050"/>
                <a:gd name="T71" fmla="*/ 243 h 2180"/>
                <a:gd name="T72" fmla="*/ 756 w 2050"/>
                <a:gd name="T73" fmla="*/ 338 h 2180"/>
                <a:gd name="T74" fmla="*/ 864 w 2050"/>
                <a:gd name="T75" fmla="*/ 477 h 2180"/>
                <a:gd name="T76" fmla="*/ 982 w 2050"/>
                <a:gd name="T77" fmla="*/ 600 h 2180"/>
                <a:gd name="T78" fmla="*/ 1129 w 2050"/>
                <a:gd name="T79" fmla="*/ 633 h 2180"/>
                <a:gd name="T80" fmla="*/ 1327 w 2050"/>
                <a:gd name="T81" fmla="*/ 711 h 2180"/>
                <a:gd name="T82" fmla="*/ 1403 w 2050"/>
                <a:gd name="T83" fmla="*/ 600 h 2180"/>
                <a:gd name="T84" fmla="*/ 1474 w 2050"/>
                <a:gd name="T85" fmla="*/ 687 h 2180"/>
                <a:gd name="T86" fmla="*/ 1684 w 2050"/>
                <a:gd name="T87" fmla="*/ 683 h 2180"/>
                <a:gd name="T88" fmla="*/ 1710 w 2050"/>
                <a:gd name="T89" fmla="*/ 609 h 2180"/>
                <a:gd name="T90" fmla="*/ 1916 w 2050"/>
                <a:gd name="T91" fmla="*/ 517 h 2180"/>
                <a:gd name="T92" fmla="*/ 1982 w 2050"/>
                <a:gd name="T93" fmla="*/ 555 h 2180"/>
                <a:gd name="T94" fmla="*/ 2024 w 2050"/>
                <a:gd name="T95" fmla="*/ 654 h 2180"/>
                <a:gd name="T96" fmla="*/ 1861 w 2050"/>
                <a:gd name="T97" fmla="*/ 810 h 2180"/>
                <a:gd name="T98" fmla="*/ 1764 w 2050"/>
                <a:gd name="T99" fmla="*/ 983 h 2180"/>
                <a:gd name="T100" fmla="*/ 1705 w 2050"/>
                <a:gd name="T101" fmla="*/ 983 h 2180"/>
                <a:gd name="T102" fmla="*/ 1441 w 2050"/>
                <a:gd name="T103" fmla="*/ 1070 h 2180"/>
                <a:gd name="T104" fmla="*/ 1743 w 2050"/>
                <a:gd name="T105" fmla="*/ 1687 h 2180"/>
                <a:gd name="T106" fmla="*/ 1727 w 2050"/>
                <a:gd name="T107" fmla="*/ 1743 h 2180"/>
                <a:gd name="T108" fmla="*/ 1727 w 2050"/>
                <a:gd name="T109" fmla="*/ 1776 h 2180"/>
                <a:gd name="T110" fmla="*/ 1727 w 2050"/>
                <a:gd name="T111" fmla="*/ 1793 h 2180"/>
                <a:gd name="T112" fmla="*/ 1701 w 2050"/>
                <a:gd name="T113" fmla="*/ 1831 h 2180"/>
                <a:gd name="T114" fmla="*/ 1722 w 2050"/>
                <a:gd name="T115" fmla="*/ 1847 h 2180"/>
                <a:gd name="T116" fmla="*/ 1710 w 2050"/>
                <a:gd name="T117" fmla="*/ 1887 h 2180"/>
                <a:gd name="T118" fmla="*/ 1755 w 2050"/>
                <a:gd name="T119" fmla="*/ 2069 h 2180"/>
                <a:gd name="T120" fmla="*/ 1776 w 2050"/>
                <a:gd name="T121" fmla="*/ 2091 h 2180"/>
                <a:gd name="T122" fmla="*/ 1793 w 2050"/>
                <a:gd name="T123" fmla="*/ 2091 h 2180"/>
                <a:gd name="T124" fmla="*/ 1814 w 2050"/>
                <a:gd name="T125" fmla="*/ 2164 h 2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50" h="2180">
                  <a:moveTo>
                    <a:pt x="1701" y="926"/>
                  </a:moveTo>
                  <a:lnTo>
                    <a:pt x="1684" y="933"/>
                  </a:lnTo>
                  <a:lnTo>
                    <a:pt x="1672" y="926"/>
                  </a:lnTo>
                  <a:lnTo>
                    <a:pt x="1672" y="943"/>
                  </a:lnTo>
                  <a:lnTo>
                    <a:pt x="1656" y="959"/>
                  </a:lnTo>
                  <a:lnTo>
                    <a:pt x="1667" y="976"/>
                  </a:lnTo>
                  <a:lnTo>
                    <a:pt x="1656" y="983"/>
                  </a:lnTo>
                  <a:lnTo>
                    <a:pt x="1646" y="983"/>
                  </a:lnTo>
                  <a:lnTo>
                    <a:pt x="1634" y="959"/>
                  </a:lnTo>
                  <a:lnTo>
                    <a:pt x="1634" y="976"/>
                  </a:lnTo>
                  <a:lnTo>
                    <a:pt x="1630" y="976"/>
                  </a:lnTo>
                  <a:lnTo>
                    <a:pt x="1618" y="933"/>
                  </a:lnTo>
                  <a:lnTo>
                    <a:pt x="1630" y="909"/>
                  </a:lnTo>
                  <a:lnTo>
                    <a:pt x="1634" y="893"/>
                  </a:lnTo>
                  <a:lnTo>
                    <a:pt x="1667" y="893"/>
                  </a:lnTo>
                  <a:lnTo>
                    <a:pt x="1672" y="876"/>
                  </a:lnTo>
                  <a:lnTo>
                    <a:pt x="1689" y="872"/>
                  </a:lnTo>
                  <a:lnTo>
                    <a:pt x="1701" y="839"/>
                  </a:lnTo>
                  <a:lnTo>
                    <a:pt x="1710" y="839"/>
                  </a:lnTo>
                  <a:lnTo>
                    <a:pt x="1705" y="822"/>
                  </a:lnTo>
                  <a:lnTo>
                    <a:pt x="1684" y="815"/>
                  </a:lnTo>
                  <a:lnTo>
                    <a:pt x="1566" y="815"/>
                  </a:lnTo>
                  <a:lnTo>
                    <a:pt x="1528" y="810"/>
                  </a:lnTo>
                  <a:lnTo>
                    <a:pt x="1528" y="761"/>
                  </a:lnTo>
                  <a:lnTo>
                    <a:pt x="1521" y="737"/>
                  </a:lnTo>
                  <a:lnTo>
                    <a:pt x="1512" y="737"/>
                  </a:lnTo>
                  <a:lnTo>
                    <a:pt x="1507" y="756"/>
                  </a:lnTo>
                  <a:lnTo>
                    <a:pt x="1490" y="756"/>
                  </a:lnTo>
                  <a:lnTo>
                    <a:pt x="1474" y="737"/>
                  </a:lnTo>
                  <a:lnTo>
                    <a:pt x="1474" y="721"/>
                  </a:lnTo>
                  <a:lnTo>
                    <a:pt x="1469" y="721"/>
                  </a:lnTo>
                  <a:lnTo>
                    <a:pt x="1457" y="721"/>
                  </a:lnTo>
                  <a:lnTo>
                    <a:pt x="1474" y="728"/>
                  </a:lnTo>
                  <a:lnTo>
                    <a:pt x="1457" y="737"/>
                  </a:lnTo>
                  <a:lnTo>
                    <a:pt x="1431" y="704"/>
                  </a:lnTo>
                  <a:lnTo>
                    <a:pt x="1419" y="711"/>
                  </a:lnTo>
                  <a:lnTo>
                    <a:pt x="1431" y="711"/>
                  </a:lnTo>
                  <a:lnTo>
                    <a:pt x="1436" y="721"/>
                  </a:lnTo>
                  <a:lnTo>
                    <a:pt x="1415" y="737"/>
                  </a:lnTo>
                  <a:lnTo>
                    <a:pt x="1403" y="761"/>
                  </a:lnTo>
                  <a:lnTo>
                    <a:pt x="1419" y="765"/>
                  </a:lnTo>
                  <a:lnTo>
                    <a:pt x="1436" y="794"/>
                  </a:lnTo>
                  <a:lnTo>
                    <a:pt x="1453" y="794"/>
                  </a:lnTo>
                  <a:lnTo>
                    <a:pt x="1457" y="798"/>
                  </a:lnTo>
                  <a:lnTo>
                    <a:pt x="1469" y="810"/>
                  </a:lnTo>
                  <a:lnTo>
                    <a:pt x="1469" y="815"/>
                  </a:lnTo>
                  <a:lnTo>
                    <a:pt x="1431" y="815"/>
                  </a:lnTo>
                  <a:lnTo>
                    <a:pt x="1419" y="839"/>
                  </a:lnTo>
                  <a:lnTo>
                    <a:pt x="1403" y="832"/>
                  </a:lnTo>
                  <a:lnTo>
                    <a:pt x="1415" y="839"/>
                  </a:lnTo>
                  <a:lnTo>
                    <a:pt x="1398" y="855"/>
                  </a:lnTo>
                  <a:lnTo>
                    <a:pt x="1403" y="865"/>
                  </a:lnTo>
                  <a:lnTo>
                    <a:pt x="1436" y="876"/>
                  </a:lnTo>
                  <a:lnTo>
                    <a:pt x="1441" y="876"/>
                  </a:lnTo>
                  <a:lnTo>
                    <a:pt x="1453" y="888"/>
                  </a:lnTo>
                  <a:lnTo>
                    <a:pt x="1453" y="909"/>
                  </a:lnTo>
                  <a:lnTo>
                    <a:pt x="1436" y="921"/>
                  </a:lnTo>
                  <a:lnTo>
                    <a:pt x="1436" y="933"/>
                  </a:lnTo>
                  <a:lnTo>
                    <a:pt x="1453" y="943"/>
                  </a:lnTo>
                  <a:lnTo>
                    <a:pt x="1453" y="959"/>
                  </a:lnTo>
                  <a:lnTo>
                    <a:pt x="1469" y="966"/>
                  </a:lnTo>
                  <a:lnTo>
                    <a:pt x="1457" y="983"/>
                  </a:lnTo>
                  <a:lnTo>
                    <a:pt x="1474" y="1049"/>
                  </a:lnTo>
                  <a:lnTo>
                    <a:pt x="1469" y="1061"/>
                  </a:lnTo>
                  <a:lnTo>
                    <a:pt x="1474" y="1087"/>
                  </a:lnTo>
                  <a:lnTo>
                    <a:pt x="1441" y="1094"/>
                  </a:lnTo>
                  <a:lnTo>
                    <a:pt x="1453" y="1054"/>
                  </a:lnTo>
                  <a:lnTo>
                    <a:pt x="1441" y="1054"/>
                  </a:lnTo>
                  <a:lnTo>
                    <a:pt x="1441" y="1061"/>
                  </a:lnTo>
                  <a:lnTo>
                    <a:pt x="1441" y="1037"/>
                  </a:lnTo>
                  <a:lnTo>
                    <a:pt x="1436" y="1094"/>
                  </a:lnTo>
                  <a:lnTo>
                    <a:pt x="1431" y="1094"/>
                  </a:lnTo>
                  <a:lnTo>
                    <a:pt x="1436" y="1061"/>
                  </a:lnTo>
                  <a:lnTo>
                    <a:pt x="1431" y="1087"/>
                  </a:lnTo>
                  <a:lnTo>
                    <a:pt x="1419" y="1087"/>
                  </a:lnTo>
                  <a:lnTo>
                    <a:pt x="1415" y="1070"/>
                  </a:lnTo>
                  <a:lnTo>
                    <a:pt x="1415" y="1094"/>
                  </a:lnTo>
                  <a:lnTo>
                    <a:pt x="1403" y="1061"/>
                  </a:lnTo>
                  <a:lnTo>
                    <a:pt x="1415" y="1049"/>
                  </a:lnTo>
                  <a:lnTo>
                    <a:pt x="1398" y="1037"/>
                  </a:lnTo>
                  <a:lnTo>
                    <a:pt x="1386" y="1020"/>
                  </a:lnTo>
                  <a:lnTo>
                    <a:pt x="1398" y="1037"/>
                  </a:lnTo>
                  <a:lnTo>
                    <a:pt x="1415" y="1054"/>
                  </a:lnTo>
                  <a:lnTo>
                    <a:pt x="1382" y="1077"/>
                  </a:lnTo>
                  <a:lnTo>
                    <a:pt x="1344" y="1094"/>
                  </a:lnTo>
                  <a:lnTo>
                    <a:pt x="1327" y="1103"/>
                  </a:lnTo>
                  <a:lnTo>
                    <a:pt x="1311" y="1115"/>
                  </a:lnTo>
                  <a:lnTo>
                    <a:pt x="1327" y="1148"/>
                  </a:lnTo>
                  <a:lnTo>
                    <a:pt x="1323" y="1148"/>
                  </a:lnTo>
                  <a:lnTo>
                    <a:pt x="1327" y="1160"/>
                  </a:lnTo>
                  <a:lnTo>
                    <a:pt x="1311" y="1172"/>
                  </a:lnTo>
                  <a:lnTo>
                    <a:pt x="1306" y="1181"/>
                  </a:lnTo>
                  <a:lnTo>
                    <a:pt x="1311" y="1172"/>
                  </a:lnTo>
                  <a:lnTo>
                    <a:pt x="1311" y="1181"/>
                  </a:lnTo>
                  <a:lnTo>
                    <a:pt x="1290" y="1198"/>
                  </a:lnTo>
                  <a:lnTo>
                    <a:pt x="1290" y="1214"/>
                  </a:lnTo>
                  <a:lnTo>
                    <a:pt x="1273" y="1205"/>
                  </a:lnTo>
                  <a:lnTo>
                    <a:pt x="1280" y="1214"/>
                  </a:lnTo>
                  <a:lnTo>
                    <a:pt x="1219" y="1238"/>
                  </a:lnTo>
                  <a:lnTo>
                    <a:pt x="1226" y="1221"/>
                  </a:lnTo>
                  <a:lnTo>
                    <a:pt x="1219" y="1214"/>
                  </a:lnTo>
                  <a:lnTo>
                    <a:pt x="1205" y="1226"/>
                  </a:lnTo>
                  <a:lnTo>
                    <a:pt x="1197" y="1243"/>
                  </a:lnTo>
                  <a:lnTo>
                    <a:pt x="1205" y="1238"/>
                  </a:lnTo>
                  <a:lnTo>
                    <a:pt x="1214" y="1226"/>
                  </a:lnTo>
                  <a:lnTo>
                    <a:pt x="1214" y="1238"/>
                  </a:lnTo>
                  <a:lnTo>
                    <a:pt x="1167" y="1276"/>
                  </a:lnTo>
                  <a:lnTo>
                    <a:pt x="1171" y="1276"/>
                  </a:lnTo>
                  <a:lnTo>
                    <a:pt x="1167" y="1283"/>
                  </a:lnTo>
                  <a:lnTo>
                    <a:pt x="1129" y="1332"/>
                  </a:lnTo>
                  <a:lnTo>
                    <a:pt x="1091" y="1354"/>
                  </a:lnTo>
                  <a:lnTo>
                    <a:pt x="1063" y="1387"/>
                  </a:lnTo>
                  <a:lnTo>
                    <a:pt x="1004" y="1427"/>
                  </a:lnTo>
                  <a:lnTo>
                    <a:pt x="999" y="1436"/>
                  </a:lnTo>
                  <a:lnTo>
                    <a:pt x="1004" y="1443"/>
                  </a:lnTo>
                  <a:lnTo>
                    <a:pt x="999" y="1460"/>
                  </a:lnTo>
                  <a:lnTo>
                    <a:pt x="954" y="1481"/>
                  </a:lnTo>
                  <a:lnTo>
                    <a:pt x="928" y="1481"/>
                  </a:lnTo>
                  <a:lnTo>
                    <a:pt x="912" y="1521"/>
                  </a:lnTo>
                  <a:lnTo>
                    <a:pt x="895" y="1514"/>
                  </a:lnTo>
                  <a:lnTo>
                    <a:pt x="895" y="1505"/>
                  </a:lnTo>
                  <a:lnTo>
                    <a:pt x="895" y="1521"/>
                  </a:lnTo>
                  <a:lnTo>
                    <a:pt x="890" y="1514"/>
                  </a:lnTo>
                  <a:lnTo>
                    <a:pt x="857" y="1531"/>
                  </a:lnTo>
                  <a:lnTo>
                    <a:pt x="841" y="1576"/>
                  </a:lnTo>
                  <a:lnTo>
                    <a:pt x="848" y="1609"/>
                  </a:lnTo>
                  <a:lnTo>
                    <a:pt x="841" y="1642"/>
                  </a:lnTo>
                  <a:lnTo>
                    <a:pt x="857" y="1698"/>
                  </a:lnTo>
                  <a:lnTo>
                    <a:pt x="848" y="1670"/>
                  </a:lnTo>
                  <a:lnTo>
                    <a:pt x="841" y="1682"/>
                  </a:lnTo>
                  <a:lnTo>
                    <a:pt x="857" y="1703"/>
                  </a:lnTo>
                  <a:lnTo>
                    <a:pt x="848" y="1769"/>
                  </a:lnTo>
                  <a:lnTo>
                    <a:pt x="827" y="1798"/>
                  </a:lnTo>
                  <a:lnTo>
                    <a:pt x="819" y="1826"/>
                  </a:lnTo>
                  <a:lnTo>
                    <a:pt x="827" y="1864"/>
                  </a:lnTo>
                  <a:lnTo>
                    <a:pt x="827" y="1925"/>
                  </a:lnTo>
                  <a:lnTo>
                    <a:pt x="789" y="1925"/>
                  </a:lnTo>
                  <a:lnTo>
                    <a:pt x="782" y="1942"/>
                  </a:lnTo>
                  <a:lnTo>
                    <a:pt x="756" y="1980"/>
                  </a:lnTo>
                  <a:lnTo>
                    <a:pt x="765" y="1998"/>
                  </a:lnTo>
                  <a:lnTo>
                    <a:pt x="789" y="1998"/>
                  </a:lnTo>
                  <a:lnTo>
                    <a:pt x="793" y="2003"/>
                  </a:lnTo>
                  <a:lnTo>
                    <a:pt x="789" y="1998"/>
                  </a:lnTo>
                  <a:lnTo>
                    <a:pt x="765" y="1998"/>
                  </a:lnTo>
                  <a:lnTo>
                    <a:pt x="727" y="2015"/>
                  </a:lnTo>
                  <a:lnTo>
                    <a:pt x="713" y="2020"/>
                  </a:lnTo>
                  <a:lnTo>
                    <a:pt x="701" y="2057"/>
                  </a:lnTo>
                  <a:lnTo>
                    <a:pt x="664" y="2086"/>
                  </a:lnTo>
                  <a:lnTo>
                    <a:pt x="647" y="2086"/>
                  </a:lnTo>
                  <a:lnTo>
                    <a:pt x="626" y="2057"/>
                  </a:lnTo>
                  <a:lnTo>
                    <a:pt x="593" y="2031"/>
                  </a:lnTo>
                  <a:lnTo>
                    <a:pt x="605" y="2020"/>
                  </a:lnTo>
                  <a:lnTo>
                    <a:pt x="593" y="2020"/>
                  </a:lnTo>
                  <a:lnTo>
                    <a:pt x="576" y="1998"/>
                  </a:lnTo>
                  <a:lnTo>
                    <a:pt x="571" y="1946"/>
                  </a:lnTo>
                  <a:lnTo>
                    <a:pt x="576" y="1958"/>
                  </a:lnTo>
                  <a:lnTo>
                    <a:pt x="576" y="1980"/>
                  </a:lnTo>
                  <a:lnTo>
                    <a:pt x="588" y="1980"/>
                  </a:lnTo>
                  <a:lnTo>
                    <a:pt x="571" y="1937"/>
                  </a:lnTo>
                  <a:lnTo>
                    <a:pt x="571" y="1946"/>
                  </a:lnTo>
                  <a:lnTo>
                    <a:pt x="571" y="1942"/>
                  </a:lnTo>
                  <a:lnTo>
                    <a:pt x="534" y="1835"/>
                  </a:lnTo>
                  <a:lnTo>
                    <a:pt x="501" y="1798"/>
                  </a:lnTo>
                  <a:lnTo>
                    <a:pt x="470" y="1736"/>
                  </a:lnTo>
                  <a:lnTo>
                    <a:pt x="442" y="1616"/>
                  </a:lnTo>
                  <a:lnTo>
                    <a:pt x="442" y="1609"/>
                  </a:lnTo>
                  <a:lnTo>
                    <a:pt x="432" y="1616"/>
                  </a:lnTo>
                  <a:lnTo>
                    <a:pt x="432" y="1604"/>
                  </a:lnTo>
                  <a:lnTo>
                    <a:pt x="425" y="1592"/>
                  </a:lnTo>
                  <a:lnTo>
                    <a:pt x="411" y="1554"/>
                  </a:lnTo>
                  <a:lnTo>
                    <a:pt x="404" y="1547"/>
                  </a:lnTo>
                  <a:lnTo>
                    <a:pt x="411" y="1554"/>
                  </a:lnTo>
                  <a:lnTo>
                    <a:pt x="404" y="1547"/>
                  </a:lnTo>
                  <a:lnTo>
                    <a:pt x="378" y="1498"/>
                  </a:lnTo>
                  <a:lnTo>
                    <a:pt x="361" y="1427"/>
                  </a:lnTo>
                  <a:lnTo>
                    <a:pt x="335" y="1309"/>
                  </a:lnTo>
                  <a:lnTo>
                    <a:pt x="335" y="1299"/>
                  </a:lnTo>
                  <a:lnTo>
                    <a:pt x="340" y="1299"/>
                  </a:lnTo>
                  <a:lnTo>
                    <a:pt x="349" y="1299"/>
                  </a:lnTo>
                  <a:lnTo>
                    <a:pt x="340" y="1292"/>
                  </a:lnTo>
                  <a:lnTo>
                    <a:pt x="349" y="1283"/>
                  </a:lnTo>
                  <a:lnTo>
                    <a:pt x="340" y="1276"/>
                  </a:lnTo>
                  <a:lnTo>
                    <a:pt x="335" y="1292"/>
                  </a:lnTo>
                  <a:lnTo>
                    <a:pt x="335" y="1283"/>
                  </a:lnTo>
                  <a:lnTo>
                    <a:pt x="335" y="1259"/>
                  </a:lnTo>
                  <a:lnTo>
                    <a:pt x="349" y="1271"/>
                  </a:lnTo>
                  <a:lnTo>
                    <a:pt x="323" y="1254"/>
                  </a:lnTo>
                  <a:lnTo>
                    <a:pt x="323" y="1221"/>
                  </a:lnTo>
                  <a:lnTo>
                    <a:pt x="340" y="1148"/>
                  </a:lnTo>
                  <a:lnTo>
                    <a:pt x="335" y="1143"/>
                  </a:lnTo>
                  <a:lnTo>
                    <a:pt x="335" y="1127"/>
                  </a:lnTo>
                  <a:lnTo>
                    <a:pt x="319" y="1127"/>
                  </a:lnTo>
                  <a:lnTo>
                    <a:pt x="323" y="1115"/>
                  </a:lnTo>
                  <a:lnTo>
                    <a:pt x="319" y="1103"/>
                  </a:lnTo>
                  <a:lnTo>
                    <a:pt x="323" y="1103"/>
                  </a:lnTo>
                  <a:lnTo>
                    <a:pt x="319" y="1103"/>
                  </a:lnTo>
                  <a:lnTo>
                    <a:pt x="335" y="1087"/>
                  </a:lnTo>
                  <a:lnTo>
                    <a:pt x="356" y="1077"/>
                  </a:lnTo>
                  <a:lnTo>
                    <a:pt x="307" y="1087"/>
                  </a:lnTo>
                  <a:lnTo>
                    <a:pt x="319" y="1070"/>
                  </a:lnTo>
                  <a:lnTo>
                    <a:pt x="323" y="1061"/>
                  </a:lnTo>
                  <a:lnTo>
                    <a:pt x="319" y="1061"/>
                  </a:lnTo>
                  <a:lnTo>
                    <a:pt x="307" y="1061"/>
                  </a:lnTo>
                  <a:lnTo>
                    <a:pt x="319" y="1049"/>
                  </a:lnTo>
                  <a:lnTo>
                    <a:pt x="323" y="1049"/>
                  </a:lnTo>
                  <a:lnTo>
                    <a:pt x="340" y="1037"/>
                  </a:lnTo>
                  <a:lnTo>
                    <a:pt x="286" y="1037"/>
                  </a:lnTo>
                  <a:lnTo>
                    <a:pt x="302" y="1049"/>
                  </a:lnTo>
                  <a:lnTo>
                    <a:pt x="297" y="1054"/>
                  </a:lnTo>
                  <a:lnTo>
                    <a:pt x="281" y="1061"/>
                  </a:lnTo>
                  <a:lnTo>
                    <a:pt x="286" y="1061"/>
                  </a:lnTo>
                  <a:lnTo>
                    <a:pt x="286" y="1070"/>
                  </a:lnTo>
                  <a:lnTo>
                    <a:pt x="281" y="1070"/>
                  </a:lnTo>
                  <a:lnTo>
                    <a:pt x="281" y="1077"/>
                  </a:lnTo>
                  <a:lnTo>
                    <a:pt x="286" y="1070"/>
                  </a:lnTo>
                  <a:lnTo>
                    <a:pt x="297" y="1087"/>
                  </a:lnTo>
                  <a:lnTo>
                    <a:pt x="286" y="1115"/>
                  </a:lnTo>
                  <a:lnTo>
                    <a:pt x="243" y="1143"/>
                  </a:lnTo>
                  <a:lnTo>
                    <a:pt x="193" y="1160"/>
                  </a:lnTo>
                  <a:lnTo>
                    <a:pt x="139" y="1127"/>
                  </a:lnTo>
                  <a:lnTo>
                    <a:pt x="64" y="1037"/>
                  </a:lnTo>
                  <a:lnTo>
                    <a:pt x="71" y="1020"/>
                  </a:lnTo>
                  <a:lnTo>
                    <a:pt x="80" y="1037"/>
                  </a:lnTo>
                  <a:lnTo>
                    <a:pt x="146" y="1016"/>
                  </a:lnTo>
                  <a:lnTo>
                    <a:pt x="172" y="983"/>
                  </a:lnTo>
                  <a:lnTo>
                    <a:pt x="172" y="976"/>
                  </a:lnTo>
                  <a:lnTo>
                    <a:pt x="163" y="976"/>
                  </a:lnTo>
                  <a:lnTo>
                    <a:pt x="163" y="983"/>
                  </a:lnTo>
                  <a:lnTo>
                    <a:pt x="125" y="987"/>
                  </a:lnTo>
                  <a:lnTo>
                    <a:pt x="118" y="999"/>
                  </a:lnTo>
                  <a:lnTo>
                    <a:pt x="80" y="987"/>
                  </a:lnTo>
                  <a:lnTo>
                    <a:pt x="38" y="966"/>
                  </a:lnTo>
                  <a:lnTo>
                    <a:pt x="26" y="950"/>
                  </a:lnTo>
                  <a:lnTo>
                    <a:pt x="26" y="933"/>
                  </a:lnTo>
                  <a:lnTo>
                    <a:pt x="49" y="921"/>
                  </a:lnTo>
                  <a:lnTo>
                    <a:pt x="26" y="926"/>
                  </a:lnTo>
                  <a:lnTo>
                    <a:pt x="16" y="933"/>
                  </a:lnTo>
                  <a:lnTo>
                    <a:pt x="0" y="933"/>
                  </a:lnTo>
                  <a:lnTo>
                    <a:pt x="12" y="921"/>
                  </a:lnTo>
                  <a:lnTo>
                    <a:pt x="16" y="909"/>
                  </a:lnTo>
                  <a:lnTo>
                    <a:pt x="49" y="909"/>
                  </a:lnTo>
                  <a:lnTo>
                    <a:pt x="49" y="876"/>
                  </a:lnTo>
                  <a:lnTo>
                    <a:pt x="64" y="888"/>
                  </a:lnTo>
                  <a:lnTo>
                    <a:pt x="108" y="888"/>
                  </a:lnTo>
                  <a:lnTo>
                    <a:pt x="118" y="893"/>
                  </a:lnTo>
                  <a:lnTo>
                    <a:pt x="134" y="893"/>
                  </a:lnTo>
                  <a:lnTo>
                    <a:pt x="139" y="876"/>
                  </a:lnTo>
                  <a:lnTo>
                    <a:pt x="172" y="872"/>
                  </a:lnTo>
                  <a:lnTo>
                    <a:pt x="177" y="888"/>
                  </a:lnTo>
                  <a:lnTo>
                    <a:pt x="189" y="888"/>
                  </a:lnTo>
                  <a:lnTo>
                    <a:pt x="210" y="872"/>
                  </a:lnTo>
                  <a:lnTo>
                    <a:pt x="198" y="872"/>
                  </a:lnTo>
                  <a:lnTo>
                    <a:pt x="198" y="855"/>
                  </a:lnTo>
                  <a:lnTo>
                    <a:pt x="210" y="855"/>
                  </a:lnTo>
                  <a:lnTo>
                    <a:pt x="193" y="815"/>
                  </a:lnTo>
                  <a:lnTo>
                    <a:pt x="189" y="798"/>
                  </a:lnTo>
                  <a:lnTo>
                    <a:pt x="177" y="777"/>
                  </a:lnTo>
                  <a:lnTo>
                    <a:pt x="156" y="777"/>
                  </a:lnTo>
                  <a:lnTo>
                    <a:pt x="139" y="756"/>
                  </a:lnTo>
                  <a:lnTo>
                    <a:pt x="146" y="711"/>
                  </a:lnTo>
                  <a:lnTo>
                    <a:pt x="125" y="704"/>
                  </a:lnTo>
                  <a:lnTo>
                    <a:pt x="101" y="699"/>
                  </a:lnTo>
                  <a:lnTo>
                    <a:pt x="108" y="654"/>
                  </a:lnTo>
                  <a:lnTo>
                    <a:pt x="163" y="593"/>
                  </a:lnTo>
                  <a:lnTo>
                    <a:pt x="177" y="593"/>
                  </a:lnTo>
                  <a:lnTo>
                    <a:pt x="189" y="617"/>
                  </a:lnTo>
                  <a:lnTo>
                    <a:pt x="193" y="617"/>
                  </a:lnTo>
                  <a:lnTo>
                    <a:pt x="269" y="600"/>
                  </a:lnTo>
                  <a:lnTo>
                    <a:pt x="269" y="588"/>
                  </a:lnTo>
                  <a:lnTo>
                    <a:pt x="286" y="560"/>
                  </a:lnTo>
                  <a:lnTo>
                    <a:pt x="302" y="539"/>
                  </a:lnTo>
                  <a:lnTo>
                    <a:pt x="340" y="517"/>
                  </a:lnTo>
                  <a:lnTo>
                    <a:pt x="373" y="444"/>
                  </a:lnTo>
                  <a:lnTo>
                    <a:pt x="411" y="428"/>
                  </a:lnTo>
                  <a:lnTo>
                    <a:pt x="411" y="411"/>
                  </a:lnTo>
                  <a:lnTo>
                    <a:pt x="442" y="371"/>
                  </a:lnTo>
                  <a:lnTo>
                    <a:pt x="463" y="354"/>
                  </a:lnTo>
                  <a:lnTo>
                    <a:pt x="458" y="350"/>
                  </a:lnTo>
                  <a:lnTo>
                    <a:pt x="458" y="354"/>
                  </a:lnTo>
                  <a:lnTo>
                    <a:pt x="449" y="350"/>
                  </a:lnTo>
                  <a:lnTo>
                    <a:pt x="458" y="321"/>
                  </a:lnTo>
                  <a:lnTo>
                    <a:pt x="449" y="300"/>
                  </a:lnTo>
                  <a:lnTo>
                    <a:pt x="458" y="295"/>
                  </a:lnTo>
                  <a:lnTo>
                    <a:pt x="479" y="279"/>
                  </a:lnTo>
                  <a:lnTo>
                    <a:pt x="501" y="279"/>
                  </a:lnTo>
                  <a:lnTo>
                    <a:pt x="512" y="262"/>
                  </a:lnTo>
                  <a:lnTo>
                    <a:pt x="512" y="255"/>
                  </a:lnTo>
                  <a:lnTo>
                    <a:pt x="486" y="243"/>
                  </a:lnTo>
                  <a:lnTo>
                    <a:pt x="463" y="243"/>
                  </a:lnTo>
                  <a:lnTo>
                    <a:pt x="463" y="222"/>
                  </a:lnTo>
                  <a:lnTo>
                    <a:pt x="442" y="222"/>
                  </a:lnTo>
                  <a:lnTo>
                    <a:pt x="442" y="201"/>
                  </a:lnTo>
                  <a:lnTo>
                    <a:pt x="416" y="189"/>
                  </a:lnTo>
                  <a:lnTo>
                    <a:pt x="425" y="156"/>
                  </a:lnTo>
                  <a:lnTo>
                    <a:pt x="416" y="144"/>
                  </a:lnTo>
                  <a:lnTo>
                    <a:pt x="432" y="116"/>
                  </a:lnTo>
                  <a:lnTo>
                    <a:pt x="411" y="111"/>
                  </a:lnTo>
                  <a:lnTo>
                    <a:pt x="416" y="99"/>
                  </a:lnTo>
                  <a:lnTo>
                    <a:pt x="404" y="90"/>
                  </a:lnTo>
                  <a:lnTo>
                    <a:pt x="411" y="73"/>
                  </a:lnTo>
                  <a:lnTo>
                    <a:pt x="442" y="57"/>
                  </a:lnTo>
                  <a:lnTo>
                    <a:pt x="534" y="78"/>
                  </a:lnTo>
                  <a:lnTo>
                    <a:pt x="555" y="73"/>
                  </a:lnTo>
                  <a:lnTo>
                    <a:pt x="567" y="73"/>
                  </a:lnTo>
                  <a:lnTo>
                    <a:pt x="588" y="57"/>
                  </a:lnTo>
                  <a:lnTo>
                    <a:pt x="621" y="61"/>
                  </a:lnTo>
                  <a:lnTo>
                    <a:pt x="626" y="33"/>
                  </a:lnTo>
                  <a:lnTo>
                    <a:pt x="685" y="0"/>
                  </a:lnTo>
                  <a:lnTo>
                    <a:pt x="701" y="0"/>
                  </a:lnTo>
                  <a:lnTo>
                    <a:pt x="697" y="17"/>
                  </a:lnTo>
                  <a:lnTo>
                    <a:pt x="718" y="73"/>
                  </a:lnTo>
                  <a:lnTo>
                    <a:pt x="739" y="78"/>
                  </a:lnTo>
                  <a:lnTo>
                    <a:pt x="765" y="95"/>
                  </a:lnTo>
                  <a:lnTo>
                    <a:pt x="765" y="99"/>
                  </a:lnTo>
                  <a:lnTo>
                    <a:pt x="751" y="111"/>
                  </a:lnTo>
                  <a:lnTo>
                    <a:pt x="751" y="156"/>
                  </a:lnTo>
                  <a:lnTo>
                    <a:pt x="765" y="172"/>
                  </a:lnTo>
                  <a:lnTo>
                    <a:pt x="793" y="189"/>
                  </a:lnTo>
                  <a:lnTo>
                    <a:pt x="789" y="206"/>
                  </a:lnTo>
                  <a:lnTo>
                    <a:pt x="803" y="222"/>
                  </a:lnTo>
                  <a:lnTo>
                    <a:pt x="789" y="243"/>
                  </a:lnTo>
                  <a:lnTo>
                    <a:pt x="782" y="243"/>
                  </a:lnTo>
                  <a:lnTo>
                    <a:pt x="765" y="255"/>
                  </a:lnTo>
                  <a:lnTo>
                    <a:pt x="751" y="243"/>
                  </a:lnTo>
                  <a:lnTo>
                    <a:pt x="751" y="227"/>
                  </a:lnTo>
                  <a:lnTo>
                    <a:pt x="727" y="239"/>
                  </a:lnTo>
                  <a:lnTo>
                    <a:pt x="727" y="262"/>
                  </a:lnTo>
                  <a:lnTo>
                    <a:pt x="751" y="284"/>
                  </a:lnTo>
                  <a:lnTo>
                    <a:pt x="739" y="300"/>
                  </a:lnTo>
                  <a:lnTo>
                    <a:pt x="756" y="312"/>
                  </a:lnTo>
                  <a:lnTo>
                    <a:pt x="751" y="317"/>
                  </a:lnTo>
                  <a:lnTo>
                    <a:pt x="751" y="333"/>
                  </a:lnTo>
                  <a:lnTo>
                    <a:pt x="756" y="338"/>
                  </a:lnTo>
                  <a:lnTo>
                    <a:pt x="772" y="321"/>
                  </a:lnTo>
                  <a:lnTo>
                    <a:pt x="803" y="366"/>
                  </a:lnTo>
                  <a:lnTo>
                    <a:pt x="827" y="366"/>
                  </a:lnTo>
                  <a:lnTo>
                    <a:pt x="857" y="378"/>
                  </a:lnTo>
                  <a:lnTo>
                    <a:pt x="848" y="395"/>
                  </a:lnTo>
                  <a:lnTo>
                    <a:pt x="879" y="406"/>
                  </a:lnTo>
                  <a:lnTo>
                    <a:pt x="912" y="428"/>
                  </a:lnTo>
                  <a:lnTo>
                    <a:pt x="864" y="461"/>
                  </a:lnTo>
                  <a:lnTo>
                    <a:pt x="864" y="477"/>
                  </a:lnTo>
                  <a:lnTo>
                    <a:pt x="848" y="482"/>
                  </a:lnTo>
                  <a:lnTo>
                    <a:pt x="857" y="501"/>
                  </a:lnTo>
                  <a:lnTo>
                    <a:pt x="841" y="534"/>
                  </a:lnTo>
                  <a:lnTo>
                    <a:pt x="874" y="555"/>
                  </a:lnTo>
                  <a:lnTo>
                    <a:pt x="874" y="543"/>
                  </a:lnTo>
                  <a:lnTo>
                    <a:pt x="916" y="572"/>
                  </a:lnTo>
                  <a:lnTo>
                    <a:pt x="928" y="588"/>
                  </a:lnTo>
                  <a:lnTo>
                    <a:pt x="966" y="609"/>
                  </a:lnTo>
                  <a:lnTo>
                    <a:pt x="982" y="600"/>
                  </a:lnTo>
                  <a:lnTo>
                    <a:pt x="1004" y="628"/>
                  </a:lnTo>
                  <a:lnTo>
                    <a:pt x="1025" y="617"/>
                  </a:lnTo>
                  <a:lnTo>
                    <a:pt x="1025" y="633"/>
                  </a:lnTo>
                  <a:lnTo>
                    <a:pt x="1058" y="645"/>
                  </a:lnTo>
                  <a:lnTo>
                    <a:pt x="1063" y="650"/>
                  </a:lnTo>
                  <a:lnTo>
                    <a:pt x="1075" y="645"/>
                  </a:lnTo>
                  <a:lnTo>
                    <a:pt x="1105" y="650"/>
                  </a:lnTo>
                  <a:lnTo>
                    <a:pt x="1105" y="645"/>
                  </a:lnTo>
                  <a:lnTo>
                    <a:pt x="1129" y="633"/>
                  </a:lnTo>
                  <a:lnTo>
                    <a:pt x="1134" y="645"/>
                  </a:lnTo>
                  <a:lnTo>
                    <a:pt x="1160" y="650"/>
                  </a:lnTo>
                  <a:lnTo>
                    <a:pt x="1167" y="671"/>
                  </a:lnTo>
                  <a:lnTo>
                    <a:pt x="1214" y="699"/>
                  </a:lnTo>
                  <a:lnTo>
                    <a:pt x="1226" y="683"/>
                  </a:lnTo>
                  <a:lnTo>
                    <a:pt x="1252" y="704"/>
                  </a:lnTo>
                  <a:lnTo>
                    <a:pt x="1256" y="699"/>
                  </a:lnTo>
                  <a:lnTo>
                    <a:pt x="1311" y="721"/>
                  </a:lnTo>
                  <a:lnTo>
                    <a:pt x="1327" y="711"/>
                  </a:lnTo>
                  <a:lnTo>
                    <a:pt x="1344" y="721"/>
                  </a:lnTo>
                  <a:lnTo>
                    <a:pt x="1386" y="711"/>
                  </a:lnTo>
                  <a:lnTo>
                    <a:pt x="1398" y="721"/>
                  </a:lnTo>
                  <a:lnTo>
                    <a:pt x="1415" y="699"/>
                  </a:lnTo>
                  <a:lnTo>
                    <a:pt x="1398" y="666"/>
                  </a:lnTo>
                  <a:lnTo>
                    <a:pt x="1403" y="633"/>
                  </a:lnTo>
                  <a:lnTo>
                    <a:pt x="1415" y="609"/>
                  </a:lnTo>
                  <a:lnTo>
                    <a:pt x="1403" y="609"/>
                  </a:lnTo>
                  <a:lnTo>
                    <a:pt x="1403" y="600"/>
                  </a:lnTo>
                  <a:lnTo>
                    <a:pt x="1431" y="593"/>
                  </a:lnTo>
                  <a:lnTo>
                    <a:pt x="1441" y="588"/>
                  </a:lnTo>
                  <a:lnTo>
                    <a:pt x="1457" y="593"/>
                  </a:lnTo>
                  <a:lnTo>
                    <a:pt x="1457" y="609"/>
                  </a:lnTo>
                  <a:lnTo>
                    <a:pt x="1453" y="633"/>
                  </a:lnTo>
                  <a:lnTo>
                    <a:pt x="1457" y="650"/>
                  </a:lnTo>
                  <a:lnTo>
                    <a:pt x="1453" y="666"/>
                  </a:lnTo>
                  <a:lnTo>
                    <a:pt x="1457" y="671"/>
                  </a:lnTo>
                  <a:lnTo>
                    <a:pt x="1474" y="687"/>
                  </a:lnTo>
                  <a:lnTo>
                    <a:pt x="1490" y="687"/>
                  </a:lnTo>
                  <a:lnTo>
                    <a:pt x="1512" y="699"/>
                  </a:lnTo>
                  <a:lnTo>
                    <a:pt x="1545" y="699"/>
                  </a:lnTo>
                  <a:lnTo>
                    <a:pt x="1566" y="683"/>
                  </a:lnTo>
                  <a:lnTo>
                    <a:pt x="1592" y="687"/>
                  </a:lnTo>
                  <a:lnTo>
                    <a:pt x="1630" y="687"/>
                  </a:lnTo>
                  <a:lnTo>
                    <a:pt x="1634" y="683"/>
                  </a:lnTo>
                  <a:lnTo>
                    <a:pt x="1646" y="687"/>
                  </a:lnTo>
                  <a:lnTo>
                    <a:pt x="1684" y="683"/>
                  </a:lnTo>
                  <a:lnTo>
                    <a:pt x="1672" y="666"/>
                  </a:lnTo>
                  <a:lnTo>
                    <a:pt x="1684" y="650"/>
                  </a:lnTo>
                  <a:lnTo>
                    <a:pt x="1672" y="633"/>
                  </a:lnTo>
                  <a:lnTo>
                    <a:pt x="1651" y="633"/>
                  </a:lnTo>
                  <a:lnTo>
                    <a:pt x="1651" y="628"/>
                  </a:lnTo>
                  <a:lnTo>
                    <a:pt x="1651" y="617"/>
                  </a:lnTo>
                  <a:lnTo>
                    <a:pt x="1672" y="617"/>
                  </a:lnTo>
                  <a:lnTo>
                    <a:pt x="1701" y="609"/>
                  </a:lnTo>
                  <a:lnTo>
                    <a:pt x="1710" y="609"/>
                  </a:lnTo>
                  <a:lnTo>
                    <a:pt x="1727" y="600"/>
                  </a:lnTo>
                  <a:lnTo>
                    <a:pt x="1727" y="588"/>
                  </a:lnTo>
                  <a:lnTo>
                    <a:pt x="1760" y="572"/>
                  </a:lnTo>
                  <a:lnTo>
                    <a:pt x="1776" y="543"/>
                  </a:lnTo>
                  <a:lnTo>
                    <a:pt x="1814" y="543"/>
                  </a:lnTo>
                  <a:lnTo>
                    <a:pt x="1835" y="517"/>
                  </a:lnTo>
                  <a:lnTo>
                    <a:pt x="1861" y="489"/>
                  </a:lnTo>
                  <a:lnTo>
                    <a:pt x="1873" y="506"/>
                  </a:lnTo>
                  <a:lnTo>
                    <a:pt x="1916" y="517"/>
                  </a:lnTo>
                  <a:lnTo>
                    <a:pt x="1927" y="501"/>
                  </a:lnTo>
                  <a:lnTo>
                    <a:pt x="1958" y="482"/>
                  </a:lnTo>
                  <a:lnTo>
                    <a:pt x="1975" y="501"/>
                  </a:lnTo>
                  <a:lnTo>
                    <a:pt x="1982" y="501"/>
                  </a:lnTo>
                  <a:lnTo>
                    <a:pt x="1970" y="517"/>
                  </a:lnTo>
                  <a:lnTo>
                    <a:pt x="1970" y="522"/>
                  </a:lnTo>
                  <a:lnTo>
                    <a:pt x="1991" y="517"/>
                  </a:lnTo>
                  <a:lnTo>
                    <a:pt x="1996" y="539"/>
                  </a:lnTo>
                  <a:lnTo>
                    <a:pt x="1982" y="555"/>
                  </a:lnTo>
                  <a:lnTo>
                    <a:pt x="1982" y="572"/>
                  </a:lnTo>
                  <a:lnTo>
                    <a:pt x="2008" y="560"/>
                  </a:lnTo>
                  <a:lnTo>
                    <a:pt x="2029" y="572"/>
                  </a:lnTo>
                  <a:lnTo>
                    <a:pt x="2034" y="572"/>
                  </a:lnTo>
                  <a:lnTo>
                    <a:pt x="2050" y="576"/>
                  </a:lnTo>
                  <a:lnTo>
                    <a:pt x="2050" y="600"/>
                  </a:lnTo>
                  <a:lnTo>
                    <a:pt x="2024" y="628"/>
                  </a:lnTo>
                  <a:lnTo>
                    <a:pt x="2034" y="666"/>
                  </a:lnTo>
                  <a:lnTo>
                    <a:pt x="2024" y="654"/>
                  </a:lnTo>
                  <a:lnTo>
                    <a:pt x="2008" y="650"/>
                  </a:lnTo>
                  <a:lnTo>
                    <a:pt x="1975" y="650"/>
                  </a:lnTo>
                  <a:lnTo>
                    <a:pt x="1920" y="699"/>
                  </a:lnTo>
                  <a:lnTo>
                    <a:pt x="1899" y="704"/>
                  </a:lnTo>
                  <a:lnTo>
                    <a:pt x="1890" y="728"/>
                  </a:lnTo>
                  <a:lnTo>
                    <a:pt x="1899" y="744"/>
                  </a:lnTo>
                  <a:lnTo>
                    <a:pt x="1882" y="782"/>
                  </a:lnTo>
                  <a:lnTo>
                    <a:pt x="1861" y="798"/>
                  </a:lnTo>
                  <a:lnTo>
                    <a:pt x="1861" y="810"/>
                  </a:lnTo>
                  <a:lnTo>
                    <a:pt x="1868" y="815"/>
                  </a:lnTo>
                  <a:lnTo>
                    <a:pt x="1868" y="822"/>
                  </a:lnTo>
                  <a:lnTo>
                    <a:pt x="1830" y="921"/>
                  </a:lnTo>
                  <a:lnTo>
                    <a:pt x="1797" y="905"/>
                  </a:lnTo>
                  <a:lnTo>
                    <a:pt x="1781" y="909"/>
                  </a:lnTo>
                  <a:lnTo>
                    <a:pt x="1776" y="893"/>
                  </a:lnTo>
                  <a:lnTo>
                    <a:pt x="1776" y="926"/>
                  </a:lnTo>
                  <a:lnTo>
                    <a:pt x="1776" y="966"/>
                  </a:lnTo>
                  <a:lnTo>
                    <a:pt x="1764" y="983"/>
                  </a:lnTo>
                  <a:lnTo>
                    <a:pt x="1760" y="976"/>
                  </a:lnTo>
                  <a:lnTo>
                    <a:pt x="1755" y="1004"/>
                  </a:lnTo>
                  <a:lnTo>
                    <a:pt x="1760" y="1037"/>
                  </a:lnTo>
                  <a:lnTo>
                    <a:pt x="1755" y="1037"/>
                  </a:lnTo>
                  <a:lnTo>
                    <a:pt x="1743" y="1054"/>
                  </a:lnTo>
                  <a:lnTo>
                    <a:pt x="1727" y="1049"/>
                  </a:lnTo>
                  <a:lnTo>
                    <a:pt x="1722" y="1061"/>
                  </a:lnTo>
                  <a:lnTo>
                    <a:pt x="1710" y="1004"/>
                  </a:lnTo>
                  <a:lnTo>
                    <a:pt x="1705" y="983"/>
                  </a:lnTo>
                  <a:lnTo>
                    <a:pt x="1705" y="959"/>
                  </a:lnTo>
                  <a:lnTo>
                    <a:pt x="1701" y="926"/>
                  </a:lnTo>
                  <a:lnTo>
                    <a:pt x="1701" y="926"/>
                  </a:lnTo>
                  <a:lnTo>
                    <a:pt x="1701" y="926"/>
                  </a:lnTo>
                  <a:close/>
                  <a:moveTo>
                    <a:pt x="1441" y="1070"/>
                  </a:moveTo>
                  <a:lnTo>
                    <a:pt x="1436" y="1070"/>
                  </a:lnTo>
                  <a:lnTo>
                    <a:pt x="1441" y="1061"/>
                  </a:lnTo>
                  <a:lnTo>
                    <a:pt x="1441" y="1070"/>
                  </a:lnTo>
                  <a:lnTo>
                    <a:pt x="1441" y="1070"/>
                  </a:lnTo>
                  <a:lnTo>
                    <a:pt x="1441" y="1070"/>
                  </a:lnTo>
                  <a:close/>
                  <a:moveTo>
                    <a:pt x="1403" y="1070"/>
                  </a:moveTo>
                  <a:lnTo>
                    <a:pt x="1403" y="1087"/>
                  </a:lnTo>
                  <a:lnTo>
                    <a:pt x="1403" y="1070"/>
                  </a:lnTo>
                  <a:lnTo>
                    <a:pt x="1403" y="1070"/>
                  </a:lnTo>
                  <a:lnTo>
                    <a:pt x="1403" y="1070"/>
                  </a:lnTo>
                  <a:close/>
                  <a:moveTo>
                    <a:pt x="1738" y="1736"/>
                  </a:moveTo>
                  <a:lnTo>
                    <a:pt x="1738" y="1703"/>
                  </a:lnTo>
                  <a:lnTo>
                    <a:pt x="1743" y="1687"/>
                  </a:lnTo>
                  <a:lnTo>
                    <a:pt x="1755" y="1687"/>
                  </a:lnTo>
                  <a:lnTo>
                    <a:pt x="1755" y="1720"/>
                  </a:lnTo>
                  <a:lnTo>
                    <a:pt x="1743" y="1720"/>
                  </a:lnTo>
                  <a:lnTo>
                    <a:pt x="1738" y="1736"/>
                  </a:lnTo>
                  <a:lnTo>
                    <a:pt x="1738" y="1736"/>
                  </a:lnTo>
                  <a:lnTo>
                    <a:pt x="1738" y="1736"/>
                  </a:lnTo>
                  <a:close/>
                  <a:moveTo>
                    <a:pt x="1738" y="1776"/>
                  </a:moveTo>
                  <a:lnTo>
                    <a:pt x="1727" y="1776"/>
                  </a:lnTo>
                  <a:lnTo>
                    <a:pt x="1727" y="1743"/>
                  </a:lnTo>
                  <a:lnTo>
                    <a:pt x="1743" y="1736"/>
                  </a:lnTo>
                  <a:lnTo>
                    <a:pt x="1743" y="1760"/>
                  </a:lnTo>
                  <a:lnTo>
                    <a:pt x="1743" y="1769"/>
                  </a:lnTo>
                  <a:lnTo>
                    <a:pt x="1738" y="1769"/>
                  </a:lnTo>
                  <a:lnTo>
                    <a:pt x="1738" y="1776"/>
                  </a:lnTo>
                  <a:lnTo>
                    <a:pt x="1738" y="1776"/>
                  </a:lnTo>
                  <a:lnTo>
                    <a:pt x="1738" y="1776"/>
                  </a:lnTo>
                  <a:close/>
                  <a:moveTo>
                    <a:pt x="1727" y="1793"/>
                  </a:moveTo>
                  <a:lnTo>
                    <a:pt x="1727" y="1776"/>
                  </a:lnTo>
                  <a:lnTo>
                    <a:pt x="1743" y="1776"/>
                  </a:lnTo>
                  <a:lnTo>
                    <a:pt x="1727" y="1793"/>
                  </a:lnTo>
                  <a:lnTo>
                    <a:pt x="1727" y="1793"/>
                  </a:lnTo>
                  <a:lnTo>
                    <a:pt x="1727" y="1793"/>
                  </a:lnTo>
                  <a:close/>
                  <a:moveTo>
                    <a:pt x="1727" y="1793"/>
                  </a:moveTo>
                  <a:lnTo>
                    <a:pt x="1727" y="1835"/>
                  </a:lnTo>
                  <a:lnTo>
                    <a:pt x="1710" y="1809"/>
                  </a:lnTo>
                  <a:lnTo>
                    <a:pt x="1727" y="1781"/>
                  </a:lnTo>
                  <a:lnTo>
                    <a:pt x="1727" y="1793"/>
                  </a:lnTo>
                  <a:lnTo>
                    <a:pt x="1727" y="1793"/>
                  </a:lnTo>
                  <a:lnTo>
                    <a:pt x="1727" y="1793"/>
                  </a:lnTo>
                  <a:close/>
                  <a:moveTo>
                    <a:pt x="1755" y="1798"/>
                  </a:moveTo>
                  <a:lnTo>
                    <a:pt x="1755" y="1809"/>
                  </a:lnTo>
                  <a:lnTo>
                    <a:pt x="1743" y="1798"/>
                  </a:lnTo>
                  <a:lnTo>
                    <a:pt x="1755" y="1798"/>
                  </a:lnTo>
                  <a:lnTo>
                    <a:pt x="1755" y="1798"/>
                  </a:lnTo>
                  <a:lnTo>
                    <a:pt x="1755" y="1798"/>
                  </a:lnTo>
                  <a:close/>
                  <a:moveTo>
                    <a:pt x="1701" y="1831"/>
                  </a:moveTo>
                  <a:lnTo>
                    <a:pt x="1689" y="1831"/>
                  </a:lnTo>
                  <a:lnTo>
                    <a:pt x="1701" y="1831"/>
                  </a:lnTo>
                  <a:lnTo>
                    <a:pt x="1701" y="1831"/>
                  </a:lnTo>
                  <a:lnTo>
                    <a:pt x="1701" y="1831"/>
                  </a:lnTo>
                  <a:close/>
                  <a:moveTo>
                    <a:pt x="1722" y="1847"/>
                  </a:moveTo>
                  <a:lnTo>
                    <a:pt x="1722" y="1831"/>
                  </a:lnTo>
                  <a:lnTo>
                    <a:pt x="1727" y="1847"/>
                  </a:lnTo>
                  <a:lnTo>
                    <a:pt x="1722" y="1847"/>
                  </a:lnTo>
                  <a:lnTo>
                    <a:pt x="1722" y="1847"/>
                  </a:lnTo>
                  <a:lnTo>
                    <a:pt x="1722" y="1847"/>
                  </a:lnTo>
                  <a:close/>
                  <a:moveTo>
                    <a:pt x="1710" y="1887"/>
                  </a:moveTo>
                  <a:lnTo>
                    <a:pt x="1710" y="1909"/>
                  </a:lnTo>
                  <a:lnTo>
                    <a:pt x="1705" y="1904"/>
                  </a:lnTo>
                  <a:lnTo>
                    <a:pt x="1705" y="1887"/>
                  </a:lnTo>
                  <a:lnTo>
                    <a:pt x="1710" y="1880"/>
                  </a:lnTo>
                  <a:lnTo>
                    <a:pt x="1710" y="1887"/>
                  </a:lnTo>
                  <a:lnTo>
                    <a:pt x="1710" y="1887"/>
                  </a:lnTo>
                  <a:lnTo>
                    <a:pt x="1710" y="1887"/>
                  </a:lnTo>
                  <a:close/>
                  <a:moveTo>
                    <a:pt x="1738" y="1998"/>
                  </a:moveTo>
                  <a:lnTo>
                    <a:pt x="1738" y="2003"/>
                  </a:lnTo>
                  <a:lnTo>
                    <a:pt x="1727" y="2003"/>
                  </a:lnTo>
                  <a:lnTo>
                    <a:pt x="1738" y="1998"/>
                  </a:lnTo>
                  <a:lnTo>
                    <a:pt x="1738" y="1998"/>
                  </a:lnTo>
                  <a:lnTo>
                    <a:pt x="1738" y="1998"/>
                  </a:lnTo>
                  <a:close/>
                  <a:moveTo>
                    <a:pt x="1755" y="2069"/>
                  </a:moveTo>
                  <a:lnTo>
                    <a:pt x="1760" y="2074"/>
                  </a:lnTo>
                  <a:lnTo>
                    <a:pt x="1755" y="2069"/>
                  </a:lnTo>
                  <a:lnTo>
                    <a:pt x="1755" y="2069"/>
                  </a:lnTo>
                  <a:lnTo>
                    <a:pt x="1755" y="2069"/>
                  </a:lnTo>
                  <a:close/>
                  <a:moveTo>
                    <a:pt x="1781" y="2074"/>
                  </a:moveTo>
                  <a:lnTo>
                    <a:pt x="1781" y="2091"/>
                  </a:lnTo>
                  <a:lnTo>
                    <a:pt x="1776" y="2074"/>
                  </a:lnTo>
                  <a:lnTo>
                    <a:pt x="1781" y="2074"/>
                  </a:lnTo>
                  <a:lnTo>
                    <a:pt x="1781" y="2074"/>
                  </a:lnTo>
                  <a:lnTo>
                    <a:pt x="1781" y="2074"/>
                  </a:lnTo>
                  <a:close/>
                  <a:moveTo>
                    <a:pt x="1776" y="2091"/>
                  </a:moveTo>
                  <a:lnTo>
                    <a:pt x="1781" y="2102"/>
                  </a:lnTo>
                  <a:lnTo>
                    <a:pt x="1764" y="2091"/>
                  </a:lnTo>
                  <a:lnTo>
                    <a:pt x="1776" y="2091"/>
                  </a:lnTo>
                  <a:lnTo>
                    <a:pt x="1776" y="2091"/>
                  </a:lnTo>
                  <a:lnTo>
                    <a:pt x="1776" y="2091"/>
                  </a:lnTo>
                  <a:close/>
                  <a:moveTo>
                    <a:pt x="1793" y="2091"/>
                  </a:moveTo>
                  <a:lnTo>
                    <a:pt x="1781" y="2091"/>
                  </a:lnTo>
                  <a:lnTo>
                    <a:pt x="1793" y="2091"/>
                  </a:lnTo>
                  <a:lnTo>
                    <a:pt x="1793" y="2091"/>
                  </a:lnTo>
                  <a:lnTo>
                    <a:pt x="1793" y="2091"/>
                  </a:lnTo>
                  <a:close/>
                  <a:moveTo>
                    <a:pt x="1797" y="2131"/>
                  </a:moveTo>
                  <a:lnTo>
                    <a:pt x="1797" y="2143"/>
                  </a:lnTo>
                  <a:lnTo>
                    <a:pt x="1793" y="2147"/>
                  </a:lnTo>
                  <a:lnTo>
                    <a:pt x="1797" y="2131"/>
                  </a:lnTo>
                  <a:lnTo>
                    <a:pt x="1797" y="2131"/>
                  </a:lnTo>
                  <a:lnTo>
                    <a:pt x="1797" y="2131"/>
                  </a:lnTo>
                  <a:close/>
                  <a:moveTo>
                    <a:pt x="1807" y="2147"/>
                  </a:moveTo>
                  <a:lnTo>
                    <a:pt x="1814" y="2164"/>
                  </a:lnTo>
                  <a:lnTo>
                    <a:pt x="1807" y="2180"/>
                  </a:lnTo>
                  <a:lnTo>
                    <a:pt x="1793" y="2159"/>
                  </a:lnTo>
                  <a:lnTo>
                    <a:pt x="1807" y="2147"/>
                  </a:lnTo>
                  <a:lnTo>
                    <a:pt x="1807" y="2147"/>
                  </a:lnTo>
                  <a:lnTo>
                    <a:pt x="1807" y="2147"/>
                  </a:lnTo>
                  <a:close/>
                </a:path>
              </a:pathLst>
            </a:custGeom>
            <a:pattFill prst="dk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3" name="Freeform 470">
              <a:extLst>
                <a:ext uri="{FF2B5EF4-FFF2-40B4-BE49-F238E27FC236}">
                  <a16:creationId xmlns:a16="http://schemas.microsoft.com/office/drawing/2014/main" id="{5E9F306F-98DD-471C-81BA-E30CFF4D97C7}"/>
                </a:ext>
              </a:extLst>
            </p:cNvPr>
            <p:cNvSpPr>
              <a:spLocks/>
            </p:cNvSpPr>
            <p:nvPr/>
          </p:nvSpPr>
          <p:spPr bwMode="gray">
            <a:xfrm>
              <a:off x="8286120" y="4858056"/>
              <a:ext cx="4454" cy="8414"/>
            </a:xfrm>
            <a:custGeom>
              <a:avLst/>
              <a:gdLst>
                <a:gd name="T0" fmla="*/ 9 w 9"/>
                <a:gd name="T1" fmla="*/ 17 h 17"/>
                <a:gd name="T2" fmla="*/ 0 w 9"/>
                <a:gd name="T3" fmla="*/ 12 h 17"/>
                <a:gd name="T4" fmla="*/ 9 w 9"/>
                <a:gd name="T5" fmla="*/ 17 h 17"/>
                <a:gd name="T6" fmla="*/ 9 w 9"/>
                <a:gd name="T7" fmla="*/ 0 h 17"/>
                <a:gd name="T8" fmla="*/ 9 w 9"/>
                <a:gd name="T9" fmla="*/ 12 h 17"/>
                <a:gd name="T10" fmla="*/ 9 w 9"/>
                <a:gd name="T11" fmla="*/ 17 h 17"/>
                <a:gd name="T12" fmla="*/ 9 w 9"/>
                <a:gd name="T13" fmla="*/ 17 h 17"/>
                <a:gd name="T14" fmla="*/ 9 w 9"/>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7">
                  <a:moveTo>
                    <a:pt x="9" y="17"/>
                  </a:moveTo>
                  <a:lnTo>
                    <a:pt x="0" y="12"/>
                  </a:lnTo>
                  <a:lnTo>
                    <a:pt x="9" y="17"/>
                  </a:lnTo>
                  <a:lnTo>
                    <a:pt x="9" y="0"/>
                  </a:lnTo>
                  <a:lnTo>
                    <a:pt x="9" y="12"/>
                  </a:lnTo>
                  <a:lnTo>
                    <a:pt x="9" y="17"/>
                  </a:lnTo>
                  <a:lnTo>
                    <a:pt x="9" y="17"/>
                  </a:lnTo>
                  <a:lnTo>
                    <a:pt x="9" y="17"/>
                  </a:lnTo>
                  <a:close/>
                </a:path>
              </a:pathLst>
            </a:custGeom>
            <a:solidFill>
              <a:schemeClr val="accent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4" name="Freeform 471">
              <a:extLst>
                <a:ext uri="{FF2B5EF4-FFF2-40B4-BE49-F238E27FC236}">
                  <a16:creationId xmlns:a16="http://schemas.microsoft.com/office/drawing/2014/main" id="{29D8750D-D6E4-41C7-9FFE-96FCAEE9DD3C}"/>
                </a:ext>
              </a:extLst>
            </p:cNvPr>
            <p:cNvSpPr>
              <a:spLocks noEditPoints="1"/>
            </p:cNvSpPr>
            <p:nvPr/>
          </p:nvSpPr>
          <p:spPr bwMode="gray">
            <a:xfrm>
              <a:off x="7300325" y="3107975"/>
              <a:ext cx="673528" cy="582040"/>
            </a:xfrm>
            <a:custGeom>
              <a:avLst/>
              <a:gdLst>
                <a:gd name="T0" fmla="*/ 1252 w 1361"/>
                <a:gd name="T1" fmla="*/ 711 h 1176"/>
                <a:gd name="T2" fmla="*/ 1238 w 1361"/>
                <a:gd name="T3" fmla="*/ 893 h 1176"/>
                <a:gd name="T4" fmla="*/ 1323 w 1361"/>
                <a:gd name="T5" fmla="*/ 933 h 1176"/>
                <a:gd name="T6" fmla="*/ 1361 w 1361"/>
                <a:gd name="T7" fmla="*/ 1021 h 1176"/>
                <a:gd name="T8" fmla="*/ 1297 w 1361"/>
                <a:gd name="T9" fmla="*/ 1061 h 1176"/>
                <a:gd name="T10" fmla="*/ 1252 w 1361"/>
                <a:gd name="T11" fmla="*/ 1094 h 1176"/>
                <a:gd name="T12" fmla="*/ 1222 w 1361"/>
                <a:gd name="T13" fmla="*/ 1176 h 1176"/>
                <a:gd name="T14" fmla="*/ 1163 w 1361"/>
                <a:gd name="T15" fmla="*/ 1165 h 1176"/>
                <a:gd name="T16" fmla="*/ 1059 w 1361"/>
                <a:gd name="T17" fmla="*/ 1155 h 1176"/>
                <a:gd name="T18" fmla="*/ 983 w 1361"/>
                <a:gd name="T19" fmla="*/ 1132 h 1176"/>
                <a:gd name="T20" fmla="*/ 898 w 1361"/>
                <a:gd name="T21" fmla="*/ 1021 h 1176"/>
                <a:gd name="T22" fmla="*/ 823 w 1361"/>
                <a:gd name="T23" fmla="*/ 1028 h 1176"/>
                <a:gd name="T24" fmla="*/ 730 w 1361"/>
                <a:gd name="T25" fmla="*/ 1054 h 1176"/>
                <a:gd name="T26" fmla="*/ 605 w 1361"/>
                <a:gd name="T27" fmla="*/ 999 h 1176"/>
                <a:gd name="T28" fmla="*/ 525 w 1361"/>
                <a:gd name="T29" fmla="*/ 954 h 1176"/>
                <a:gd name="T30" fmla="*/ 482 w 1361"/>
                <a:gd name="T31" fmla="*/ 876 h 1176"/>
                <a:gd name="T32" fmla="*/ 466 w 1361"/>
                <a:gd name="T33" fmla="*/ 839 h 1176"/>
                <a:gd name="T34" fmla="*/ 390 w 1361"/>
                <a:gd name="T35" fmla="*/ 782 h 1176"/>
                <a:gd name="T36" fmla="*/ 374 w 1361"/>
                <a:gd name="T37" fmla="*/ 761 h 1176"/>
                <a:gd name="T38" fmla="*/ 319 w 1361"/>
                <a:gd name="T39" fmla="*/ 798 h 1176"/>
                <a:gd name="T40" fmla="*/ 286 w 1361"/>
                <a:gd name="T41" fmla="*/ 721 h 1176"/>
                <a:gd name="T42" fmla="*/ 244 w 1361"/>
                <a:gd name="T43" fmla="*/ 610 h 1176"/>
                <a:gd name="T44" fmla="*/ 147 w 1361"/>
                <a:gd name="T45" fmla="*/ 560 h 1176"/>
                <a:gd name="T46" fmla="*/ 142 w 1361"/>
                <a:gd name="T47" fmla="*/ 510 h 1176"/>
                <a:gd name="T48" fmla="*/ 104 w 1361"/>
                <a:gd name="T49" fmla="*/ 473 h 1176"/>
                <a:gd name="T50" fmla="*/ 109 w 1361"/>
                <a:gd name="T51" fmla="*/ 428 h 1176"/>
                <a:gd name="T52" fmla="*/ 142 w 1361"/>
                <a:gd name="T53" fmla="*/ 390 h 1176"/>
                <a:gd name="T54" fmla="*/ 142 w 1361"/>
                <a:gd name="T55" fmla="*/ 338 h 1176"/>
                <a:gd name="T56" fmla="*/ 119 w 1361"/>
                <a:gd name="T57" fmla="*/ 317 h 1176"/>
                <a:gd name="T58" fmla="*/ 71 w 1361"/>
                <a:gd name="T59" fmla="*/ 267 h 1176"/>
                <a:gd name="T60" fmla="*/ 55 w 1361"/>
                <a:gd name="T61" fmla="*/ 222 h 1176"/>
                <a:gd name="T62" fmla="*/ 17 w 1361"/>
                <a:gd name="T63" fmla="*/ 156 h 1176"/>
                <a:gd name="T64" fmla="*/ 17 w 1361"/>
                <a:gd name="T65" fmla="*/ 66 h 1176"/>
                <a:gd name="T66" fmla="*/ 34 w 1361"/>
                <a:gd name="T67" fmla="*/ 7 h 1176"/>
                <a:gd name="T68" fmla="*/ 93 w 1361"/>
                <a:gd name="T69" fmla="*/ 45 h 1176"/>
                <a:gd name="T70" fmla="*/ 201 w 1361"/>
                <a:gd name="T71" fmla="*/ 45 h 1176"/>
                <a:gd name="T72" fmla="*/ 303 w 1361"/>
                <a:gd name="T73" fmla="*/ 62 h 1176"/>
                <a:gd name="T74" fmla="*/ 308 w 1361"/>
                <a:gd name="T75" fmla="*/ 95 h 1176"/>
                <a:gd name="T76" fmla="*/ 357 w 1361"/>
                <a:gd name="T77" fmla="*/ 173 h 1176"/>
                <a:gd name="T78" fmla="*/ 504 w 1361"/>
                <a:gd name="T79" fmla="*/ 250 h 1176"/>
                <a:gd name="T80" fmla="*/ 697 w 1361"/>
                <a:gd name="T81" fmla="*/ 246 h 1176"/>
                <a:gd name="T82" fmla="*/ 719 w 1361"/>
                <a:gd name="T83" fmla="*/ 206 h 1176"/>
                <a:gd name="T84" fmla="*/ 806 w 1361"/>
                <a:gd name="T85" fmla="*/ 139 h 1176"/>
                <a:gd name="T86" fmla="*/ 874 w 1361"/>
                <a:gd name="T87" fmla="*/ 123 h 1176"/>
                <a:gd name="T88" fmla="*/ 945 w 1361"/>
                <a:gd name="T89" fmla="*/ 151 h 1176"/>
                <a:gd name="T90" fmla="*/ 1075 w 1361"/>
                <a:gd name="T91" fmla="*/ 189 h 1176"/>
                <a:gd name="T92" fmla="*/ 1205 w 1361"/>
                <a:gd name="T93" fmla="*/ 262 h 1176"/>
                <a:gd name="T94" fmla="*/ 1189 w 1361"/>
                <a:gd name="T95" fmla="*/ 428 h 1176"/>
                <a:gd name="T96" fmla="*/ 1163 w 1361"/>
                <a:gd name="T97" fmla="*/ 465 h 1176"/>
                <a:gd name="T98" fmla="*/ 1184 w 1361"/>
                <a:gd name="T99" fmla="*/ 617 h 1176"/>
                <a:gd name="T100" fmla="*/ 865 w 1361"/>
                <a:gd name="T101" fmla="*/ 1037 h 1176"/>
                <a:gd name="T102" fmla="*/ 827 w 1361"/>
                <a:gd name="T103" fmla="*/ 1044 h 1176"/>
                <a:gd name="T104" fmla="*/ 865 w 1361"/>
                <a:gd name="T105" fmla="*/ 1037 h 1176"/>
                <a:gd name="T106" fmla="*/ 823 w 1361"/>
                <a:gd name="T107" fmla="*/ 1044 h 1176"/>
                <a:gd name="T108" fmla="*/ 697 w 1361"/>
                <a:gd name="T109" fmla="*/ 1065 h 1176"/>
                <a:gd name="T110" fmla="*/ 702 w 1361"/>
                <a:gd name="T111" fmla="*/ 1065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61" h="1176">
                  <a:moveTo>
                    <a:pt x="1184" y="638"/>
                  </a:moveTo>
                  <a:lnTo>
                    <a:pt x="1184" y="678"/>
                  </a:lnTo>
                  <a:lnTo>
                    <a:pt x="1243" y="687"/>
                  </a:lnTo>
                  <a:lnTo>
                    <a:pt x="1252" y="711"/>
                  </a:lnTo>
                  <a:lnTo>
                    <a:pt x="1243" y="732"/>
                  </a:lnTo>
                  <a:lnTo>
                    <a:pt x="1184" y="806"/>
                  </a:lnTo>
                  <a:lnTo>
                    <a:pt x="1215" y="843"/>
                  </a:lnTo>
                  <a:lnTo>
                    <a:pt x="1238" y="893"/>
                  </a:lnTo>
                  <a:lnTo>
                    <a:pt x="1260" y="910"/>
                  </a:lnTo>
                  <a:lnTo>
                    <a:pt x="1290" y="917"/>
                  </a:lnTo>
                  <a:lnTo>
                    <a:pt x="1307" y="933"/>
                  </a:lnTo>
                  <a:lnTo>
                    <a:pt x="1323" y="933"/>
                  </a:lnTo>
                  <a:lnTo>
                    <a:pt x="1323" y="999"/>
                  </a:lnTo>
                  <a:lnTo>
                    <a:pt x="1323" y="1011"/>
                  </a:lnTo>
                  <a:lnTo>
                    <a:pt x="1349" y="1004"/>
                  </a:lnTo>
                  <a:lnTo>
                    <a:pt x="1361" y="1021"/>
                  </a:lnTo>
                  <a:lnTo>
                    <a:pt x="1349" y="1021"/>
                  </a:lnTo>
                  <a:lnTo>
                    <a:pt x="1345" y="1061"/>
                  </a:lnTo>
                  <a:lnTo>
                    <a:pt x="1323" y="1061"/>
                  </a:lnTo>
                  <a:lnTo>
                    <a:pt x="1297" y="1061"/>
                  </a:lnTo>
                  <a:lnTo>
                    <a:pt x="1281" y="1065"/>
                  </a:lnTo>
                  <a:lnTo>
                    <a:pt x="1281" y="1077"/>
                  </a:lnTo>
                  <a:lnTo>
                    <a:pt x="1276" y="1077"/>
                  </a:lnTo>
                  <a:lnTo>
                    <a:pt x="1252" y="1094"/>
                  </a:lnTo>
                  <a:lnTo>
                    <a:pt x="1252" y="1120"/>
                  </a:lnTo>
                  <a:lnTo>
                    <a:pt x="1243" y="1120"/>
                  </a:lnTo>
                  <a:lnTo>
                    <a:pt x="1238" y="1172"/>
                  </a:lnTo>
                  <a:lnTo>
                    <a:pt x="1222" y="1176"/>
                  </a:lnTo>
                  <a:lnTo>
                    <a:pt x="1167" y="1165"/>
                  </a:lnTo>
                  <a:lnTo>
                    <a:pt x="1163" y="1148"/>
                  </a:lnTo>
                  <a:lnTo>
                    <a:pt x="1151" y="1155"/>
                  </a:lnTo>
                  <a:lnTo>
                    <a:pt x="1163" y="1165"/>
                  </a:lnTo>
                  <a:lnTo>
                    <a:pt x="1146" y="1155"/>
                  </a:lnTo>
                  <a:lnTo>
                    <a:pt x="1097" y="1155"/>
                  </a:lnTo>
                  <a:lnTo>
                    <a:pt x="1092" y="1148"/>
                  </a:lnTo>
                  <a:lnTo>
                    <a:pt x="1059" y="1155"/>
                  </a:lnTo>
                  <a:lnTo>
                    <a:pt x="1042" y="1139"/>
                  </a:lnTo>
                  <a:lnTo>
                    <a:pt x="1011" y="1139"/>
                  </a:lnTo>
                  <a:lnTo>
                    <a:pt x="1000" y="1139"/>
                  </a:lnTo>
                  <a:lnTo>
                    <a:pt x="983" y="1132"/>
                  </a:lnTo>
                  <a:lnTo>
                    <a:pt x="936" y="1120"/>
                  </a:lnTo>
                  <a:lnTo>
                    <a:pt x="929" y="1098"/>
                  </a:lnTo>
                  <a:lnTo>
                    <a:pt x="912" y="1044"/>
                  </a:lnTo>
                  <a:lnTo>
                    <a:pt x="898" y="1021"/>
                  </a:lnTo>
                  <a:lnTo>
                    <a:pt x="891" y="1021"/>
                  </a:lnTo>
                  <a:lnTo>
                    <a:pt x="849" y="1021"/>
                  </a:lnTo>
                  <a:lnTo>
                    <a:pt x="844" y="1028"/>
                  </a:lnTo>
                  <a:lnTo>
                    <a:pt x="823" y="1028"/>
                  </a:lnTo>
                  <a:lnTo>
                    <a:pt x="811" y="1044"/>
                  </a:lnTo>
                  <a:lnTo>
                    <a:pt x="789" y="1044"/>
                  </a:lnTo>
                  <a:lnTo>
                    <a:pt x="756" y="1065"/>
                  </a:lnTo>
                  <a:lnTo>
                    <a:pt x="730" y="1054"/>
                  </a:lnTo>
                  <a:lnTo>
                    <a:pt x="686" y="1054"/>
                  </a:lnTo>
                  <a:lnTo>
                    <a:pt x="660" y="1028"/>
                  </a:lnTo>
                  <a:lnTo>
                    <a:pt x="605" y="1004"/>
                  </a:lnTo>
                  <a:lnTo>
                    <a:pt x="605" y="999"/>
                  </a:lnTo>
                  <a:lnTo>
                    <a:pt x="596" y="983"/>
                  </a:lnTo>
                  <a:lnTo>
                    <a:pt x="567" y="966"/>
                  </a:lnTo>
                  <a:lnTo>
                    <a:pt x="534" y="966"/>
                  </a:lnTo>
                  <a:lnTo>
                    <a:pt x="525" y="954"/>
                  </a:lnTo>
                  <a:lnTo>
                    <a:pt x="497" y="910"/>
                  </a:lnTo>
                  <a:lnTo>
                    <a:pt x="497" y="893"/>
                  </a:lnTo>
                  <a:lnTo>
                    <a:pt x="482" y="876"/>
                  </a:lnTo>
                  <a:lnTo>
                    <a:pt x="482" y="876"/>
                  </a:lnTo>
                  <a:lnTo>
                    <a:pt x="487" y="876"/>
                  </a:lnTo>
                  <a:lnTo>
                    <a:pt x="487" y="872"/>
                  </a:lnTo>
                  <a:lnTo>
                    <a:pt x="466" y="860"/>
                  </a:lnTo>
                  <a:lnTo>
                    <a:pt x="466" y="839"/>
                  </a:lnTo>
                  <a:lnTo>
                    <a:pt x="433" y="798"/>
                  </a:lnTo>
                  <a:lnTo>
                    <a:pt x="428" y="777"/>
                  </a:lnTo>
                  <a:lnTo>
                    <a:pt x="390" y="789"/>
                  </a:lnTo>
                  <a:lnTo>
                    <a:pt x="390" y="782"/>
                  </a:lnTo>
                  <a:lnTo>
                    <a:pt x="357" y="777"/>
                  </a:lnTo>
                  <a:lnTo>
                    <a:pt x="352" y="765"/>
                  </a:lnTo>
                  <a:lnTo>
                    <a:pt x="362" y="765"/>
                  </a:lnTo>
                  <a:lnTo>
                    <a:pt x="374" y="761"/>
                  </a:lnTo>
                  <a:lnTo>
                    <a:pt x="352" y="749"/>
                  </a:lnTo>
                  <a:lnTo>
                    <a:pt x="341" y="765"/>
                  </a:lnTo>
                  <a:lnTo>
                    <a:pt x="352" y="789"/>
                  </a:lnTo>
                  <a:lnTo>
                    <a:pt x="319" y="798"/>
                  </a:lnTo>
                  <a:lnTo>
                    <a:pt x="308" y="798"/>
                  </a:lnTo>
                  <a:lnTo>
                    <a:pt x="308" y="777"/>
                  </a:lnTo>
                  <a:lnTo>
                    <a:pt x="286" y="761"/>
                  </a:lnTo>
                  <a:lnTo>
                    <a:pt x="286" y="721"/>
                  </a:lnTo>
                  <a:lnTo>
                    <a:pt x="265" y="721"/>
                  </a:lnTo>
                  <a:lnTo>
                    <a:pt x="265" y="678"/>
                  </a:lnTo>
                  <a:lnTo>
                    <a:pt x="270" y="654"/>
                  </a:lnTo>
                  <a:lnTo>
                    <a:pt x="244" y="610"/>
                  </a:lnTo>
                  <a:lnTo>
                    <a:pt x="244" y="600"/>
                  </a:lnTo>
                  <a:lnTo>
                    <a:pt x="227" y="600"/>
                  </a:lnTo>
                  <a:lnTo>
                    <a:pt x="173" y="560"/>
                  </a:lnTo>
                  <a:lnTo>
                    <a:pt x="147" y="560"/>
                  </a:lnTo>
                  <a:lnTo>
                    <a:pt x="156" y="539"/>
                  </a:lnTo>
                  <a:lnTo>
                    <a:pt x="142" y="510"/>
                  </a:lnTo>
                  <a:lnTo>
                    <a:pt x="135" y="510"/>
                  </a:lnTo>
                  <a:lnTo>
                    <a:pt x="142" y="510"/>
                  </a:lnTo>
                  <a:lnTo>
                    <a:pt x="135" y="506"/>
                  </a:lnTo>
                  <a:lnTo>
                    <a:pt x="126" y="506"/>
                  </a:lnTo>
                  <a:lnTo>
                    <a:pt x="109" y="482"/>
                  </a:lnTo>
                  <a:lnTo>
                    <a:pt x="104" y="473"/>
                  </a:lnTo>
                  <a:lnTo>
                    <a:pt x="109" y="465"/>
                  </a:lnTo>
                  <a:lnTo>
                    <a:pt x="109" y="449"/>
                  </a:lnTo>
                  <a:lnTo>
                    <a:pt x="104" y="432"/>
                  </a:lnTo>
                  <a:lnTo>
                    <a:pt x="109" y="428"/>
                  </a:lnTo>
                  <a:lnTo>
                    <a:pt x="126" y="432"/>
                  </a:lnTo>
                  <a:lnTo>
                    <a:pt x="119" y="416"/>
                  </a:lnTo>
                  <a:lnTo>
                    <a:pt x="135" y="399"/>
                  </a:lnTo>
                  <a:lnTo>
                    <a:pt x="142" y="390"/>
                  </a:lnTo>
                  <a:lnTo>
                    <a:pt x="156" y="390"/>
                  </a:lnTo>
                  <a:lnTo>
                    <a:pt x="156" y="378"/>
                  </a:lnTo>
                  <a:lnTo>
                    <a:pt x="142" y="354"/>
                  </a:lnTo>
                  <a:lnTo>
                    <a:pt x="142" y="338"/>
                  </a:lnTo>
                  <a:lnTo>
                    <a:pt x="163" y="333"/>
                  </a:lnTo>
                  <a:lnTo>
                    <a:pt x="147" y="321"/>
                  </a:lnTo>
                  <a:lnTo>
                    <a:pt x="126" y="333"/>
                  </a:lnTo>
                  <a:lnTo>
                    <a:pt x="119" y="317"/>
                  </a:lnTo>
                  <a:lnTo>
                    <a:pt x="104" y="317"/>
                  </a:lnTo>
                  <a:lnTo>
                    <a:pt x="93" y="284"/>
                  </a:lnTo>
                  <a:lnTo>
                    <a:pt x="81" y="279"/>
                  </a:lnTo>
                  <a:lnTo>
                    <a:pt x="71" y="267"/>
                  </a:lnTo>
                  <a:lnTo>
                    <a:pt x="81" y="250"/>
                  </a:lnTo>
                  <a:lnTo>
                    <a:pt x="67" y="246"/>
                  </a:lnTo>
                  <a:lnTo>
                    <a:pt x="67" y="227"/>
                  </a:lnTo>
                  <a:lnTo>
                    <a:pt x="55" y="222"/>
                  </a:lnTo>
                  <a:lnTo>
                    <a:pt x="55" y="206"/>
                  </a:lnTo>
                  <a:lnTo>
                    <a:pt x="38" y="194"/>
                  </a:lnTo>
                  <a:lnTo>
                    <a:pt x="50" y="173"/>
                  </a:lnTo>
                  <a:lnTo>
                    <a:pt x="17" y="156"/>
                  </a:lnTo>
                  <a:lnTo>
                    <a:pt x="34" y="118"/>
                  </a:lnTo>
                  <a:lnTo>
                    <a:pt x="29" y="118"/>
                  </a:lnTo>
                  <a:lnTo>
                    <a:pt x="29" y="78"/>
                  </a:lnTo>
                  <a:lnTo>
                    <a:pt x="17" y="66"/>
                  </a:lnTo>
                  <a:lnTo>
                    <a:pt x="17" y="57"/>
                  </a:lnTo>
                  <a:lnTo>
                    <a:pt x="0" y="28"/>
                  </a:lnTo>
                  <a:lnTo>
                    <a:pt x="34" y="28"/>
                  </a:lnTo>
                  <a:lnTo>
                    <a:pt x="34" y="7"/>
                  </a:lnTo>
                  <a:lnTo>
                    <a:pt x="50" y="0"/>
                  </a:lnTo>
                  <a:lnTo>
                    <a:pt x="55" y="7"/>
                  </a:lnTo>
                  <a:lnTo>
                    <a:pt x="81" y="45"/>
                  </a:lnTo>
                  <a:lnTo>
                    <a:pt x="93" y="45"/>
                  </a:lnTo>
                  <a:lnTo>
                    <a:pt x="104" y="62"/>
                  </a:lnTo>
                  <a:lnTo>
                    <a:pt x="156" y="78"/>
                  </a:lnTo>
                  <a:lnTo>
                    <a:pt x="180" y="66"/>
                  </a:lnTo>
                  <a:lnTo>
                    <a:pt x="201" y="45"/>
                  </a:lnTo>
                  <a:lnTo>
                    <a:pt x="282" y="0"/>
                  </a:lnTo>
                  <a:lnTo>
                    <a:pt x="308" y="28"/>
                  </a:lnTo>
                  <a:lnTo>
                    <a:pt x="286" y="40"/>
                  </a:lnTo>
                  <a:lnTo>
                    <a:pt x="303" y="62"/>
                  </a:lnTo>
                  <a:lnTo>
                    <a:pt x="286" y="66"/>
                  </a:lnTo>
                  <a:lnTo>
                    <a:pt x="286" y="78"/>
                  </a:lnTo>
                  <a:lnTo>
                    <a:pt x="303" y="95"/>
                  </a:lnTo>
                  <a:lnTo>
                    <a:pt x="308" y="95"/>
                  </a:lnTo>
                  <a:lnTo>
                    <a:pt x="324" y="118"/>
                  </a:lnTo>
                  <a:lnTo>
                    <a:pt x="341" y="111"/>
                  </a:lnTo>
                  <a:lnTo>
                    <a:pt x="352" y="156"/>
                  </a:lnTo>
                  <a:lnTo>
                    <a:pt x="357" y="173"/>
                  </a:lnTo>
                  <a:lnTo>
                    <a:pt x="378" y="189"/>
                  </a:lnTo>
                  <a:lnTo>
                    <a:pt x="433" y="194"/>
                  </a:lnTo>
                  <a:lnTo>
                    <a:pt x="449" y="222"/>
                  </a:lnTo>
                  <a:lnTo>
                    <a:pt x="504" y="250"/>
                  </a:lnTo>
                  <a:lnTo>
                    <a:pt x="558" y="267"/>
                  </a:lnTo>
                  <a:lnTo>
                    <a:pt x="702" y="234"/>
                  </a:lnTo>
                  <a:lnTo>
                    <a:pt x="676" y="246"/>
                  </a:lnTo>
                  <a:lnTo>
                    <a:pt x="697" y="246"/>
                  </a:lnTo>
                  <a:lnTo>
                    <a:pt x="702" y="246"/>
                  </a:lnTo>
                  <a:lnTo>
                    <a:pt x="702" y="234"/>
                  </a:lnTo>
                  <a:lnTo>
                    <a:pt x="697" y="206"/>
                  </a:lnTo>
                  <a:lnTo>
                    <a:pt x="719" y="206"/>
                  </a:lnTo>
                  <a:lnTo>
                    <a:pt x="752" y="194"/>
                  </a:lnTo>
                  <a:lnTo>
                    <a:pt x="756" y="189"/>
                  </a:lnTo>
                  <a:lnTo>
                    <a:pt x="768" y="168"/>
                  </a:lnTo>
                  <a:lnTo>
                    <a:pt x="806" y="139"/>
                  </a:lnTo>
                  <a:lnTo>
                    <a:pt x="860" y="139"/>
                  </a:lnTo>
                  <a:lnTo>
                    <a:pt x="865" y="139"/>
                  </a:lnTo>
                  <a:lnTo>
                    <a:pt x="865" y="135"/>
                  </a:lnTo>
                  <a:lnTo>
                    <a:pt x="874" y="123"/>
                  </a:lnTo>
                  <a:lnTo>
                    <a:pt x="898" y="123"/>
                  </a:lnTo>
                  <a:lnTo>
                    <a:pt x="919" y="135"/>
                  </a:lnTo>
                  <a:lnTo>
                    <a:pt x="929" y="123"/>
                  </a:lnTo>
                  <a:lnTo>
                    <a:pt x="945" y="151"/>
                  </a:lnTo>
                  <a:lnTo>
                    <a:pt x="1000" y="168"/>
                  </a:lnTo>
                  <a:lnTo>
                    <a:pt x="1004" y="173"/>
                  </a:lnTo>
                  <a:lnTo>
                    <a:pt x="1054" y="173"/>
                  </a:lnTo>
                  <a:lnTo>
                    <a:pt x="1075" y="189"/>
                  </a:lnTo>
                  <a:lnTo>
                    <a:pt x="1092" y="210"/>
                  </a:lnTo>
                  <a:lnTo>
                    <a:pt x="1130" y="227"/>
                  </a:lnTo>
                  <a:lnTo>
                    <a:pt x="1146" y="262"/>
                  </a:lnTo>
                  <a:lnTo>
                    <a:pt x="1205" y="262"/>
                  </a:lnTo>
                  <a:lnTo>
                    <a:pt x="1215" y="345"/>
                  </a:lnTo>
                  <a:lnTo>
                    <a:pt x="1200" y="373"/>
                  </a:lnTo>
                  <a:lnTo>
                    <a:pt x="1200" y="411"/>
                  </a:lnTo>
                  <a:lnTo>
                    <a:pt x="1189" y="428"/>
                  </a:lnTo>
                  <a:lnTo>
                    <a:pt x="1172" y="432"/>
                  </a:lnTo>
                  <a:lnTo>
                    <a:pt x="1184" y="449"/>
                  </a:lnTo>
                  <a:lnTo>
                    <a:pt x="1167" y="449"/>
                  </a:lnTo>
                  <a:lnTo>
                    <a:pt x="1163" y="465"/>
                  </a:lnTo>
                  <a:lnTo>
                    <a:pt x="1163" y="506"/>
                  </a:lnTo>
                  <a:lnTo>
                    <a:pt x="1189" y="510"/>
                  </a:lnTo>
                  <a:lnTo>
                    <a:pt x="1167" y="543"/>
                  </a:lnTo>
                  <a:lnTo>
                    <a:pt x="1184" y="617"/>
                  </a:lnTo>
                  <a:lnTo>
                    <a:pt x="1184" y="638"/>
                  </a:lnTo>
                  <a:lnTo>
                    <a:pt x="1184" y="638"/>
                  </a:lnTo>
                  <a:lnTo>
                    <a:pt x="1184" y="638"/>
                  </a:lnTo>
                  <a:close/>
                  <a:moveTo>
                    <a:pt x="865" y="1037"/>
                  </a:moveTo>
                  <a:lnTo>
                    <a:pt x="844" y="1054"/>
                  </a:lnTo>
                  <a:lnTo>
                    <a:pt x="794" y="1061"/>
                  </a:lnTo>
                  <a:lnTo>
                    <a:pt x="794" y="1054"/>
                  </a:lnTo>
                  <a:lnTo>
                    <a:pt x="827" y="1044"/>
                  </a:lnTo>
                  <a:lnTo>
                    <a:pt x="827" y="1037"/>
                  </a:lnTo>
                  <a:lnTo>
                    <a:pt x="865" y="1037"/>
                  </a:lnTo>
                  <a:lnTo>
                    <a:pt x="865" y="1037"/>
                  </a:lnTo>
                  <a:lnTo>
                    <a:pt x="865" y="1037"/>
                  </a:lnTo>
                  <a:close/>
                  <a:moveTo>
                    <a:pt x="823" y="1044"/>
                  </a:moveTo>
                  <a:lnTo>
                    <a:pt x="823" y="1044"/>
                  </a:lnTo>
                  <a:lnTo>
                    <a:pt x="823" y="1037"/>
                  </a:lnTo>
                  <a:lnTo>
                    <a:pt x="823" y="1044"/>
                  </a:lnTo>
                  <a:lnTo>
                    <a:pt x="823" y="1044"/>
                  </a:lnTo>
                  <a:lnTo>
                    <a:pt x="823" y="1044"/>
                  </a:lnTo>
                  <a:close/>
                  <a:moveTo>
                    <a:pt x="702" y="1065"/>
                  </a:moveTo>
                  <a:lnTo>
                    <a:pt x="697" y="1065"/>
                  </a:lnTo>
                  <a:lnTo>
                    <a:pt x="702" y="1061"/>
                  </a:lnTo>
                  <a:lnTo>
                    <a:pt x="702" y="1065"/>
                  </a:lnTo>
                  <a:lnTo>
                    <a:pt x="702" y="1065"/>
                  </a:lnTo>
                  <a:lnTo>
                    <a:pt x="702" y="1065"/>
                  </a:lnTo>
                  <a:close/>
                </a:path>
              </a:pathLst>
            </a:custGeom>
            <a:pattFill prst="dk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5" name="Freeform 472">
              <a:extLst>
                <a:ext uri="{FF2B5EF4-FFF2-40B4-BE49-F238E27FC236}">
                  <a16:creationId xmlns:a16="http://schemas.microsoft.com/office/drawing/2014/main" id="{094A681B-70A7-4EA9-814A-5EBA1FAF1047}"/>
                </a:ext>
              </a:extLst>
            </p:cNvPr>
            <p:cNvSpPr>
              <a:spLocks/>
            </p:cNvSpPr>
            <p:nvPr/>
          </p:nvSpPr>
          <p:spPr bwMode="gray">
            <a:xfrm>
              <a:off x="6967272" y="3373259"/>
              <a:ext cx="44539" cy="148480"/>
            </a:xfrm>
            <a:custGeom>
              <a:avLst/>
              <a:gdLst>
                <a:gd name="T0" fmla="*/ 52 w 90"/>
                <a:gd name="T1" fmla="*/ 7 h 300"/>
                <a:gd name="T2" fmla="*/ 73 w 90"/>
                <a:gd name="T3" fmla="*/ 17 h 300"/>
                <a:gd name="T4" fmla="*/ 90 w 90"/>
                <a:gd name="T5" fmla="*/ 0 h 300"/>
                <a:gd name="T6" fmla="*/ 90 w 90"/>
                <a:gd name="T7" fmla="*/ 0 h 300"/>
                <a:gd name="T8" fmla="*/ 90 w 90"/>
                <a:gd name="T9" fmla="*/ 45 h 300"/>
                <a:gd name="T10" fmla="*/ 81 w 90"/>
                <a:gd name="T11" fmla="*/ 45 h 300"/>
                <a:gd name="T12" fmla="*/ 81 w 90"/>
                <a:gd name="T13" fmla="*/ 74 h 300"/>
                <a:gd name="T14" fmla="*/ 59 w 90"/>
                <a:gd name="T15" fmla="*/ 57 h 300"/>
                <a:gd name="T16" fmla="*/ 52 w 90"/>
                <a:gd name="T17" fmla="*/ 62 h 300"/>
                <a:gd name="T18" fmla="*/ 43 w 90"/>
                <a:gd name="T19" fmla="*/ 111 h 300"/>
                <a:gd name="T20" fmla="*/ 59 w 90"/>
                <a:gd name="T21" fmla="*/ 118 h 300"/>
                <a:gd name="T22" fmla="*/ 43 w 90"/>
                <a:gd name="T23" fmla="*/ 128 h 300"/>
                <a:gd name="T24" fmla="*/ 38 w 90"/>
                <a:gd name="T25" fmla="*/ 151 h 300"/>
                <a:gd name="T26" fmla="*/ 52 w 90"/>
                <a:gd name="T27" fmla="*/ 151 h 300"/>
                <a:gd name="T28" fmla="*/ 81 w 90"/>
                <a:gd name="T29" fmla="*/ 140 h 300"/>
                <a:gd name="T30" fmla="*/ 73 w 90"/>
                <a:gd name="T31" fmla="*/ 156 h 300"/>
                <a:gd name="T32" fmla="*/ 73 w 90"/>
                <a:gd name="T33" fmla="*/ 168 h 300"/>
                <a:gd name="T34" fmla="*/ 59 w 90"/>
                <a:gd name="T35" fmla="*/ 222 h 300"/>
                <a:gd name="T36" fmla="*/ 59 w 90"/>
                <a:gd name="T37" fmla="*/ 246 h 300"/>
                <a:gd name="T38" fmla="*/ 43 w 90"/>
                <a:gd name="T39" fmla="*/ 296 h 300"/>
                <a:gd name="T40" fmla="*/ 38 w 90"/>
                <a:gd name="T41" fmla="*/ 300 h 300"/>
                <a:gd name="T42" fmla="*/ 0 w 90"/>
                <a:gd name="T43" fmla="*/ 156 h 300"/>
                <a:gd name="T44" fmla="*/ 10 w 90"/>
                <a:gd name="T45" fmla="*/ 135 h 300"/>
                <a:gd name="T46" fmla="*/ 10 w 90"/>
                <a:gd name="T47" fmla="*/ 135 h 300"/>
                <a:gd name="T48" fmla="*/ 26 w 90"/>
                <a:gd name="T49" fmla="*/ 102 h 300"/>
                <a:gd name="T50" fmla="*/ 43 w 90"/>
                <a:gd name="T51" fmla="*/ 29 h 300"/>
                <a:gd name="T52" fmla="*/ 52 w 90"/>
                <a:gd name="T53" fmla="*/ 29 h 300"/>
                <a:gd name="T54" fmla="*/ 52 w 90"/>
                <a:gd name="T55" fmla="*/ 7 h 300"/>
                <a:gd name="T56" fmla="*/ 52 w 90"/>
                <a:gd name="T57" fmla="*/ 7 h 300"/>
                <a:gd name="T58" fmla="*/ 52 w 90"/>
                <a:gd name="T59" fmla="*/ 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 h="300">
                  <a:moveTo>
                    <a:pt x="52" y="7"/>
                  </a:moveTo>
                  <a:lnTo>
                    <a:pt x="73" y="17"/>
                  </a:lnTo>
                  <a:lnTo>
                    <a:pt x="90" y="0"/>
                  </a:lnTo>
                  <a:lnTo>
                    <a:pt x="90" y="0"/>
                  </a:lnTo>
                  <a:lnTo>
                    <a:pt x="90" y="45"/>
                  </a:lnTo>
                  <a:lnTo>
                    <a:pt x="81" y="45"/>
                  </a:lnTo>
                  <a:lnTo>
                    <a:pt x="81" y="74"/>
                  </a:lnTo>
                  <a:lnTo>
                    <a:pt x="59" y="57"/>
                  </a:lnTo>
                  <a:lnTo>
                    <a:pt x="52" y="62"/>
                  </a:lnTo>
                  <a:lnTo>
                    <a:pt x="43" y="111"/>
                  </a:lnTo>
                  <a:lnTo>
                    <a:pt x="59" y="118"/>
                  </a:lnTo>
                  <a:lnTo>
                    <a:pt x="43" y="128"/>
                  </a:lnTo>
                  <a:lnTo>
                    <a:pt x="38" y="151"/>
                  </a:lnTo>
                  <a:lnTo>
                    <a:pt x="52" y="151"/>
                  </a:lnTo>
                  <a:lnTo>
                    <a:pt x="81" y="140"/>
                  </a:lnTo>
                  <a:lnTo>
                    <a:pt x="73" y="156"/>
                  </a:lnTo>
                  <a:lnTo>
                    <a:pt x="73" y="168"/>
                  </a:lnTo>
                  <a:lnTo>
                    <a:pt x="59" y="222"/>
                  </a:lnTo>
                  <a:lnTo>
                    <a:pt x="59" y="246"/>
                  </a:lnTo>
                  <a:lnTo>
                    <a:pt x="43" y="296"/>
                  </a:lnTo>
                  <a:lnTo>
                    <a:pt x="38" y="300"/>
                  </a:lnTo>
                  <a:lnTo>
                    <a:pt x="0" y="156"/>
                  </a:lnTo>
                  <a:lnTo>
                    <a:pt x="10" y="135"/>
                  </a:lnTo>
                  <a:lnTo>
                    <a:pt x="10" y="135"/>
                  </a:lnTo>
                  <a:lnTo>
                    <a:pt x="26" y="102"/>
                  </a:lnTo>
                  <a:lnTo>
                    <a:pt x="43" y="29"/>
                  </a:lnTo>
                  <a:lnTo>
                    <a:pt x="52" y="29"/>
                  </a:lnTo>
                  <a:lnTo>
                    <a:pt x="52" y="7"/>
                  </a:lnTo>
                  <a:lnTo>
                    <a:pt x="52" y="7"/>
                  </a:lnTo>
                  <a:lnTo>
                    <a:pt x="52" y="7"/>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6" name="Freeform 474">
              <a:extLst>
                <a:ext uri="{FF2B5EF4-FFF2-40B4-BE49-F238E27FC236}">
                  <a16:creationId xmlns:a16="http://schemas.microsoft.com/office/drawing/2014/main" id="{7170D36D-DDD6-440E-9843-EA44414CDC23}"/>
                </a:ext>
              </a:extLst>
            </p:cNvPr>
            <p:cNvSpPr>
              <a:spLocks noEditPoints="1"/>
            </p:cNvSpPr>
            <p:nvPr/>
          </p:nvSpPr>
          <p:spPr bwMode="gray">
            <a:xfrm>
              <a:off x="5476704" y="4218602"/>
              <a:ext cx="210817" cy="228164"/>
            </a:xfrm>
            <a:custGeom>
              <a:avLst/>
              <a:gdLst>
                <a:gd name="T0" fmla="*/ 69 w 426"/>
                <a:gd name="T1" fmla="*/ 421 h 461"/>
                <a:gd name="T2" fmla="*/ 81 w 426"/>
                <a:gd name="T3" fmla="*/ 383 h 461"/>
                <a:gd name="T4" fmla="*/ 86 w 426"/>
                <a:gd name="T5" fmla="*/ 350 h 461"/>
                <a:gd name="T6" fmla="*/ 48 w 426"/>
                <a:gd name="T7" fmla="*/ 326 h 461"/>
                <a:gd name="T8" fmla="*/ 0 w 426"/>
                <a:gd name="T9" fmla="*/ 305 h 461"/>
                <a:gd name="T10" fmla="*/ 26 w 426"/>
                <a:gd name="T11" fmla="*/ 255 h 461"/>
                <a:gd name="T12" fmla="*/ 15 w 426"/>
                <a:gd name="T13" fmla="*/ 222 h 461"/>
                <a:gd name="T14" fmla="*/ 38 w 426"/>
                <a:gd name="T15" fmla="*/ 194 h 461"/>
                <a:gd name="T16" fmla="*/ 38 w 426"/>
                <a:gd name="T17" fmla="*/ 184 h 461"/>
                <a:gd name="T18" fmla="*/ 26 w 426"/>
                <a:gd name="T19" fmla="*/ 161 h 461"/>
                <a:gd name="T20" fmla="*/ 64 w 426"/>
                <a:gd name="T21" fmla="*/ 168 h 461"/>
                <a:gd name="T22" fmla="*/ 64 w 426"/>
                <a:gd name="T23" fmla="*/ 156 h 461"/>
                <a:gd name="T24" fmla="*/ 48 w 426"/>
                <a:gd name="T25" fmla="*/ 123 h 461"/>
                <a:gd name="T26" fmla="*/ 48 w 426"/>
                <a:gd name="T27" fmla="*/ 111 h 461"/>
                <a:gd name="T28" fmla="*/ 38 w 426"/>
                <a:gd name="T29" fmla="*/ 99 h 461"/>
                <a:gd name="T30" fmla="*/ 31 w 426"/>
                <a:gd name="T31" fmla="*/ 57 h 461"/>
                <a:gd name="T32" fmla="*/ 52 w 426"/>
                <a:gd name="T33" fmla="*/ 45 h 461"/>
                <a:gd name="T34" fmla="*/ 107 w 426"/>
                <a:gd name="T35" fmla="*/ 45 h 461"/>
                <a:gd name="T36" fmla="*/ 140 w 426"/>
                <a:gd name="T37" fmla="*/ 28 h 461"/>
                <a:gd name="T38" fmla="*/ 156 w 426"/>
                <a:gd name="T39" fmla="*/ 12 h 461"/>
                <a:gd name="T40" fmla="*/ 161 w 426"/>
                <a:gd name="T41" fmla="*/ 0 h 461"/>
                <a:gd name="T42" fmla="*/ 173 w 426"/>
                <a:gd name="T43" fmla="*/ 45 h 461"/>
                <a:gd name="T44" fmla="*/ 194 w 426"/>
                <a:gd name="T45" fmla="*/ 28 h 461"/>
                <a:gd name="T46" fmla="*/ 225 w 426"/>
                <a:gd name="T47" fmla="*/ 33 h 461"/>
                <a:gd name="T48" fmla="*/ 253 w 426"/>
                <a:gd name="T49" fmla="*/ 57 h 461"/>
                <a:gd name="T50" fmla="*/ 300 w 426"/>
                <a:gd name="T51" fmla="*/ 83 h 461"/>
                <a:gd name="T52" fmla="*/ 350 w 426"/>
                <a:gd name="T53" fmla="*/ 57 h 461"/>
                <a:gd name="T54" fmla="*/ 409 w 426"/>
                <a:gd name="T55" fmla="*/ 99 h 461"/>
                <a:gd name="T56" fmla="*/ 409 w 426"/>
                <a:gd name="T57" fmla="*/ 123 h 461"/>
                <a:gd name="T58" fmla="*/ 426 w 426"/>
                <a:gd name="T59" fmla="*/ 184 h 461"/>
                <a:gd name="T60" fmla="*/ 393 w 426"/>
                <a:gd name="T61" fmla="*/ 267 h 461"/>
                <a:gd name="T62" fmla="*/ 371 w 426"/>
                <a:gd name="T63" fmla="*/ 293 h 461"/>
                <a:gd name="T64" fmla="*/ 409 w 426"/>
                <a:gd name="T65" fmla="*/ 378 h 461"/>
                <a:gd name="T66" fmla="*/ 393 w 426"/>
                <a:gd name="T67" fmla="*/ 404 h 461"/>
                <a:gd name="T68" fmla="*/ 393 w 426"/>
                <a:gd name="T69" fmla="*/ 404 h 461"/>
                <a:gd name="T70" fmla="*/ 376 w 426"/>
                <a:gd name="T71" fmla="*/ 388 h 461"/>
                <a:gd name="T72" fmla="*/ 371 w 426"/>
                <a:gd name="T73" fmla="*/ 404 h 461"/>
                <a:gd name="T74" fmla="*/ 338 w 426"/>
                <a:gd name="T75" fmla="*/ 399 h 461"/>
                <a:gd name="T76" fmla="*/ 338 w 426"/>
                <a:gd name="T77" fmla="*/ 399 h 461"/>
                <a:gd name="T78" fmla="*/ 263 w 426"/>
                <a:gd name="T79" fmla="*/ 404 h 461"/>
                <a:gd name="T80" fmla="*/ 232 w 426"/>
                <a:gd name="T81" fmla="*/ 399 h 461"/>
                <a:gd name="T82" fmla="*/ 232 w 426"/>
                <a:gd name="T83" fmla="*/ 404 h 461"/>
                <a:gd name="T84" fmla="*/ 253 w 426"/>
                <a:gd name="T85" fmla="*/ 404 h 461"/>
                <a:gd name="T86" fmla="*/ 81 w 426"/>
                <a:gd name="T87" fmla="*/ 461 h 461"/>
                <a:gd name="T88" fmla="*/ 81 w 426"/>
                <a:gd name="T89" fmla="*/ 461 h 461"/>
                <a:gd name="T90" fmla="*/ 305 w 426"/>
                <a:gd name="T91" fmla="*/ 399 h 461"/>
                <a:gd name="T92" fmla="*/ 263 w 426"/>
                <a:gd name="T93" fmla="*/ 404 h 461"/>
                <a:gd name="T94" fmla="*/ 263 w 426"/>
                <a:gd name="T95" fmla="*/ 404 h 461"/>
                <a:gd name="T96" fmla="*/ 388 w 426"/>
                <a:gd name="T97" fmla="*/ 404 h 461"/>
                <a:gd name="T98" fmla="*/ 388 w 426"/>
                <a:gd name="T99" fmla="*/ 404 h 461"/>
                <a:gd name="T100" fmla="*/ 388 w 426"/>
                <a:gd name="T101" fmla="*/ 404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6" h="461">
                  <a:moveTo>
                    <a:pt x="81" y="461"/>
                  </a:moveTo>
                  <a:lnTo>
                    <a:pt x="69" y="421"/>
                  </a:lnTo>
                  <a:lnTo>
                    <a:pt x="86" y="388"/>
                  </a:lnTo>
                  <a:lnTo>
                    <a:pt x="81" y="383"/>
                  </a:lnTo>
                  <a:lnTo>
                    <a:pt x="86" y="378"/>
                  </a:lnTo>
                  <a:lnTo>
                    <a:pt x="86" y="350"/>
                  </a:lnTo>
                  <a:lnTo>
                    <a:pt x="52" y="350"/>
                  </a:lnTo>
                  <a:lnTo>
                    <a:pt x="48" y="326"/>
                  </a:lnTo>
                  <a:lnTo>
                    <a:pt x="31" y="326"/>
                  </a:lnTo>
                  <a:lnTo>
                    <a:pt x="0" y="305"/>
                  </a:lnTo>
                  <a:lnTo>
                    <a:pt x="15" y="276"/>
                  </a:lnTo>
                  <a:lnTo>
                    <a:pt x="26" y="255"/>
                  </a:lnTo>
                  <a:lnTo>
                    <a:pt x="10" y="234"/>
                  </a:lnTo>
                  <a:lnTo>
                    <a:pt x="15" y="222"/>
                  </a:lnTo>
                  <a:lnTo>
                    <a:pt x="26" y="234"/>
                  </a:lnTo>
                  <a:lnTo>
                    <a:pt x="38" y="194"/>
                  </a:lnTo>
                  <a:lnTo>
                    <a:pt x="48" y="201"/>
                  </a:lnTo>
                  <a:lnTo>
                    <a:pt x="38" y="184"/>
                  </a:lnTo>
                  <a:lnTo>
                    <a:pt x="26" y="184"/>
                  </a:lnTo>
                  <a:lnTo>
                    <a:pt x="26" y="161"/>
                  </a:lnTo>
                  <a:lnTo>
                    <a:pt x="52" y="161"/>
                  </a:lnTo>
                  <a:lnTo>
                    <a:pt x="64" y="168"/>
                  </a:lnTo>
                  <a:lnTo>
                    <a:pt x="64" y="168"/>
                  </a:lnTo>
                  <a:lnTo>
                    <a:pt x="64" y="156"/>
                  </a:lnTo>
                  <a:lnTo>
                    <a:pt x="48" y="139"/>
                  </a:lnTo>
                  <a:lnTo>
                    <a:pt x="48" y="123"/>
                  </a:lnTo>
                  <a:lnTo>
                    <a:pt x="64" y="123"/>
                  </a:lnTo>
                  <a:lnTo>
                    <a:pt x="48" y="111"/>
                  </a:lnTo>
                  <a:lnTo>
                    <a:pt x="48" y="99"/>
                  </a:lnTo>
                  <a:lnTo>
                    <a:pt x="38" y="99"/>
                  </a:lnTo>
                  <a:lnTo>
                    <a:pt x="31" y="90"/>
                  </a:lnTo>
                  <a:lnTo>
                    <a:pt x="31" y="57"/>
                  </a:lnTo>
                  <a:lnTo>
                    <a:pt x="38" y="45"/>
                  </a:lnTo>
                  <a:lnTo>
                    <a:pt x="52" y="45"/>
                  </a:lnTo>
                  <a:lnTo>
                    <a:pt x="69" y="17"/>
                  </a:lnTo>
                  <a:lnTo>
                    <a:pt x="107" y="45"/>
                  </a:lnTo>
                  <a:lnTo>
                    <a:pt x="119" y="28"/>
                  </a:lnTo>
                  <a:lnTo>
                    <a:pt x="140" y="28"/>
                  </a:lnTo>
                  <a:lnTo>
                    <a:pt x="140" y="0"/>
                  </a:lnTo>
                  <a:lnTo>
                    <a:pt x="156" y="12"/>
                  </a:lnTo>
                  <a:lnTo>
                    <a:pt x="156" y="0"/>
                  </a:lnTo>
                  <a:lnTo>
                    <a:pt x="161" y="0"/>
                  </a:lnTo>
                  <a:lnTo>
                    <a:pt x="173" y="33"/>
                  </a:lnTo>
                  <a:lnTo>
                    <a:pt x="173" y="45"/>
                  </a:lnTo>
                  <a:lnTo>
                    <a:pt x="178" y="45"/>
                  </a:lnTo>
                  <a:lnTo>
                    <a:pt x="194" y="28"/>
                  </a:lnTo>
                  <a:lnTo>
                    <a:pt x="215" y="17"/>
                  </a:lnTo>
                  <a:lnTo>
                    <a:pt x="225" y="33"/>
                  </a:lnTo>
                  <a:lnTo>
                    <a:pt x="241" y="33"/>
                  </a:lnTo>
                  <a:lnTo>
                    <a:pt x="253" y="57"/>
                  </a:lnTo>
                  <a:lnTo>
                    <a:pt x="267" y="73"/>
                  </a:lnTo>
                  <a:lnTo>
                    <a:pt x="300" y="83"/>
                  </a:lnTo>
                  <a:lnTo>
                    <a:pt x="305" y="66"/>
                  </a:lnTo>
                  <a:lnTo>
                    <a:pt x="350" y="57"/>
                  </a:lnTo>
                  <a:lnTo>
                    <a:pt x="376" y="57"/>
                  </a:lnTo>
                  <a:lnTo>
                    <a:pt x="409" y="99"/>
                  </a:lnTo>
                  <a:lnTo>
                    <a:pt x="414" y="90"/>
                  </a:lnTo>
                  <a:lnTo>
                    <a:pt x="409" y="123"/>
                  </a:lnTo>
                  <a:lnTo>
                    <a:pt x="414" y="128"/>
                  </a:lnTo>
                  <a:lnTo>
                    <a:pt x="426" y="184"/>
                  </a:lnTo>
                  <a:lnTo>
                    <a:pt x="409" y="201"/>
                  </a:lnTo>
                  <a:lnTo>
                    <a:pt x="393" y="267"/>
                  </a:lnTo>
                  <a:lnTo>
                    <a:pt x="376" y="288"/>
                  </a:lnTo>
                  <a:lnTo>
                    <a:pt x="371" y="293"/>
                  </a:lnTo>
                  <a:lnTo>
                    <a:pt x="393" y="366"/>
                  </a:lnTo>
                  <a:lnTo>
                    <a:pt x="409" y="378"/>
                  </a:lnTo>
                  <a:lnTo>
                    <a:pt x="409" y="404"/>
                  </a:lnTo>
                  <a:lnTo>
                    <a:pt x="393" y="404"/>
                  </a:lnTo>
                  <a:lnTo>
                    <a:pt x="402" y="399"/>
                  </a:lnTo>
                  <a:lnTo>
                    <a:pt x="393" y="404"/>
                  </a:lnTo>
                  <a:lnTo>
                    <a:pt x="376" y="399"/>
                  </a:lnTo>
                  <a:lnTo>
                    <a:pt x="376" y="388"/>
                  </a:lnTo>
                  <a:lnTo>
                    <a:pt x="371" y="388"/>
                  </a:lnTo>
                  <a:lnTo>
                    <a:pt x="371" y="404"/>
                  </a:lnTo>
                  <a:lnTo>
                    <a:pt x="322" y="399"/>
                  </a:lnTo>
                  <a:lnTo>
                    <a:pt x="338" y="399"/>
                  </a:lnTo>
                  <a:lnTo>
                    <a:pt x="334" y="388"/>
                  </a:lnTo>
                  <a:lnTo>
                    <a:pt x="338" y="399"/>
                  </a:lnTo>
                  <a:lnTo>
                    <a:pt x="284" y="388"/>
                  </a:lnTo>
                  <a:lnTo>
                    <a:pt x="263" y="404"/>
                  </a:lnTo>
                  <a:lnTo>
                    <a:pt x="253" y="399"/>
                  </a:lnTo>
                  <a:lnTo>
                    <a:pt x="232" y="399"/>
                  </a:lnTo>
                  <a:lnTo>
                    <a:pt x="225" y="404"/>
                  </a:lnTo>
                  <a:lnTo>
                    <a:pt x="232" y="404"/>
                  </a:lnTo>
                  <a:lnTo>
                    <a:pt x="232" y="399"/>
                  </a:lnTo>
                  <a:lnTo>
                    <a:pt x="253" y="404"/>
                  </a:lnTo>
                  <a:lnTo>
                    <a:pt x="187" y="416"/>
                  </a:lnTo>
                  <a:lnTo>
                    <a:pt x="81" y="461"/>
                  </a:lnTo>
                  <a:lnTo>
                    <a:pt x="81" y="461"/>
                  </a:lnTo>
                  <a:lnTo>
                    <a:pt x="81" y="461"/>
                  </a:lnTo>
                  <a:close/>
                  <a:moveTo>
                    <a:pt x="263" y="404"/>
                  </a:moveTo>
                  <a:lnTo>
                    <a:pt x="305" y="399"/>
                  </a:lnTo>
                  <a:lnTo>
                    <a:pt x="322" y="399"/>
                  </a:lnTo>
                  <a:lnTo>
                    <a:pt x="263" y="404"/>
                  </a:lnTo>
                  <a:lnTo>
                    <a:pt x="263" y="404"/>
                  </a:lnTo>
                  <a:lnTo>
                    <a:pt x="263" y="404"/>
                  </a:lnTo>
                  <a:close/>
                  <a:moveTo>
                    <a:pt x="388" y="404"/>
                  </a:moveTo>
                  <a:lnTo>
                    <a:pt x="388" y="404"/>
                  </a:lnTo>
                  <a:lnTo>
                    <a:pt x="376" y="404"/>
                  </a:lnTo>
                  <a:lnTo>
                    <a:pt x="388" y="404"/>
                  </a:lnTo>
                  <a:lnTo>
                    <a:pt x="388" y="404"/>
                  </a:lnTo>
                  <a:lnTo>
                    <a:pt x="388" y="404"/>
                  </a:lnTo>
                  <a:close/>
                </a:path>
              </a:pathLst>
            </a:custGeom>
            <a:pattFill prst="nar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7" name="Freeform 475">
              <a:extLst>
                <a:ext uri="{FF2B5EF4-FFF2-40B4-BE49-F238E27FC236}">
                  <a16:creationId xmlns:a16="http://schemas.microsoft.com/office/drawing/2014/main" id="{2F6E169F-9EFF-4BA7-A293-3B17CC095956}"/>
                </a:ext>
              </a:extLst>
            </p:cNvPr>
            <p:cNvSpPr>
              <a:spLocks/>
            </p:cNvSpPr>
            <p:nvPr/>
          </p:nvSpPr>
          <p:spPr bwMode="gray">
            <a:xfrm>
              <a:off x="7122664" y="3203991"/>
              <a:ext cx="335526" cy="329625"/>
            </a:xfrm>
            <a:custGeom>
              <a:avLst/>
              <a:gdLst>
                <a:gd name="T0" fmla="*/ 31 w 678"/>
                <a:gd name="T1" fmla="*/ 420 h 666"/>
                <a:gd name="T2" fmla="*/ 15 w 678"/>
                <a:gd name="T3" fmla="*/ 416 h 666"/>
                <a:gd name="T4" fmla="*/ 15 w 678"/>
                <a:gd name="T5" fmla="*/ 399 h 666"/>
                <a:gd name="T6" fmla="*/ 156 w 678"/>
                <a:gd name="T7" fmla="*/ 250 h 666"/>
                <a:gd name="T8" fmla="*/ 171 w 678"/>
                <a:gd name="T9" fmla="*/ 182 h 666"/>
                <a:gd name="T10" fmla="*/ 178 w 678"/>
                <a:gd name="T11" fmla="*/ 127 h 666"/>
                <a:gd name="T12" fmla="*/ 171 w 678"/>
                <a:gd name="T13" fmla="*/ 87 h 666"/>
                <a:gd name="T14" fmla="*/ 208 w 678"/>
                <a:gd name="T15" fmla="*/ 66 h 666"/>
                <a:gd name="T16" fmla="*/ 263 w 678"/>
                <a:gd name="T17" fmla="*/ 28 h 666"/>
                <a:gd name="T18" fmla="*/ 291 w 678"/>
                <a:gd name="T19" fmla="*/ 12 h 666"/>
                <a:gd name="T20" fmla="*/ 338 w 678"/>
                <a:gd name="T21" fmla="*/ 16 h 666"/>
                <a:gd name="T22" fmla="*/ 371 w 678"/>
                <a:gd name="T23" fmla="*/ 12 h 666"/>
                <a:gd name="T24" fmla="*/ 376 w 678"/>
                <a:gd name="T25" fmla="*/ 28 h 666"/>
                <a:gd name="T26" fmla="*/ 409 w 678"/>
                <a:gd name="T27" fmla="*/ 16 h 666"/>
                <a:gd name="T28" fmla="*/ 426 w 678"/>
                <a:gd name="T29" fmla="*/ 33 h 666"/>
                <a:gd name="T30" fmla="*/ 440 w 678"/>
                <a:gd name="T31" fmla="*/ 54 h 666"/>
                <a:gd name="T32" fmla="*/ 440 w 678"/>
                <a:gd name="T33" fmla="*/ 82 h 666"/>
                <a:gd name="T34" fmla="*/ 461 w 678"/>
                <a:gd name="T35" fmla="*/ 123 h 666"/>
                <a:gd name="T36" fmla="*/ 485 w 678"/>
                <a:gd name="T37" fmla="*/ 139 h 666"/>
                <a:gd name="T38" fmla="*/ 522 w 678"/>
                <a:gd name="T39" fmla="*/ 139 h 666"/>
                <a:gd name="T40" fmla="*/ 499 w 678"/>
                <a:gd name="T41" fmla="*/ 160 h 666"/>
                <a:gd name="T42" fmla="*/ 515 w 678"/>
                <a:gd name="T43" fmla="*/ 193 h 666"/>
                <a:gd name="T44" fmla="*/ 494 w 678"/>
                <a:gd name="T45" fmla="*/ 205 h 666"/>
                <a:gd name="T46" fmla="*/ 485 w 678"/>
                <a:gd name="T47" fmla="*/ 238 h 666"/>
                <a:gd name="T48" fmla="*/ 461 w 678"/>
                <a:gd name="T49" fmla="*/ 238 h 666"/>
                <a:gd name="T50" fmla="*/ 468 w 678"/>
                <a:gd name="T51" fmla="*/ 271 h 666"/>
                <a:gd name="T52" fmla="*/ 468 w 678"/>
                <a:gd name="T53" fmla="*/ 288 h 666"/>
                <a:gd name="T54" fmla="*/ 494 w 678"/>
                <a:gd name="T55" fmla="*/ 309 h 666"/>
                <a:gd name="T56" fmla="*/ 494 w 678"/>
                <a:gd name="T57" fmla="*/ 316 h 666"/>
                <a:gd name="T58" fmla="*/ 515 w 678"/>
                <a:gd name="T59" fmla="*/ 342 h 666"/>
                <a:gd name="T60" fmla="*/ 532 w 678"/>
                <a:gd name="T61" fmla="*/ 366 h 666"/>
                <a:gd name="T62" fmla="*/ 603 w 678"/>
                <a:gd name="T63" fmla="*/ 404 h 666"/>
                <a:gd name="T64" fmla="*/ 629 w 678"/>
                <a:gd name="T65" fmla="*/ 460 h 666"/>
                <a:gd name="T66" fmla="*/ 624 w 678"/>
                <a:gd name="T67" fmla="*/ 527 h 666"/>
                <a:gd name="T68" fmla="*/ 645 w 678"/>
                <a:gd name="T69" fmla="*/ 564 h 666"/>
                <a:gd name="T70" fmla="*/ 667 w 678"/>
                <a:gd name="T71" fmla="*/ 604 h 666"/>
                <a:gd name="T72" fmla="*/ 641 w 678"/>
                <a:gd name="T73" fmla="*/ 593 h 666"/>
                <a:gd name="T74" fmla="*/ 586 w 678"/>
                <a:gd name="T75" fmla="*/ 593 h 666"/>
                <a:gd name="T76" fmla="*/ 537 w 678"/>
                <a:gd name="T77" fmla="*/ 666 h 666"/>
                <a:gd name="T78" fmla="*/ 414 w 678"/>
                <a:gd name="T79" fmla="*/ 666 h 666"/>
                <a:gd name="T80" fmla="*/ 182 w 678"/>
                <a:gd name="T81" fmla="*/ 493 h 666"/>
                <a:gd name="T82" fmla="*/ 22 w 678"/>
                <a:gd name="T83" fmla="*/ 427 h 666"/>
                <a:gd name="T84" fmla="*/ 22 w 678"/>
                <a:gd name="T85" fmla="*/ 427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8" h="666">
                  <a:moveTo>
                    <a:pt x="22" y="427"/>
                  </a:moveTo>
                  <a:lnTo>
                    <a:pt x="31" y="420"/>
                  </a:lnTo>
                  <a:lnTo>
                    <a:pt x="31" y="416"/>
                  </a:lnTo>
                  <a:lnTo>
                    <a:pt x="15" y="416"/>
                  </a:lnTo>
                  <a:lnTo>
                    <a:pt x="10" y="404"/>
                  </a:lnTo>
                  <a:lnTo>
                    <a:pt x="15" y="399"/>
                  </a:lnTo>
                  <a:lnTo>
                    <a:pt x="0" y="333"/>
                  </a:lnTo>
                  <a:lnTo>
                    <a:pt x="156" y="250"/>
                  </a:lnTo>
                  <a:lnTo>
                    <a:pt x="171" y="215"/>
                  </a:lnTo>
                  <a:lnTo>
                    <a:pt x="171" y="182"/>
                  </a:lnTo>
                  <a:lnTo>
                    <a:pt x="178" y="149"/>
                  </a:lnTo>
                  <a:lnTo>
                    <a:pt x="178" y="127"/>
                  </a:lnTo>
                  <a:lnTo>
                    <a:pt x="171" y="111"/>
                  </a:lnTo>
                  <a:lnTo>
                    <a:pt x="171" y="87"/>
                  </a:lnTo>
                  <a:lnTo>
                    <a:pt x="178" y="71"/>
                  </a:lnTo>
                  <a:lnTo>
                    <a:pt x="208" y="66"/>
                  </a:lnTo>
                  <a:lnTo>
                    <a:pt x="246" y="28"/>
                  </a:lnTo>
                  <a:lnTo>
                    <a:pt x="263" y="28"/>
                  </a:lnTo>
                  <a:lnTo>
                    <a:pt x="279" y="0"/>
                  </a:lnTo>
                  <a:lnTo>
                    <a:pt x="291" y="12"/>
                  </a:lnTo>
                  <a:lnTo>
                    <a:pt x="300" y="0"/>
                  </a:lnTo>
                  <a:lnTo>
                    <a:pt x="338" y="16"/>
                  </a:lnTo>
                  <a:lnTo>
                    <a:pt x="355" y="16"/>
                  </a:lnTo>
                  <a:lnTo>
                    <a:pt x="371" y="12"/>
                  </a:lnTo>
                  <a:lnTo>
                    <a:pt x="376" y="16"/>
                  </a:lnTo>
                  <a:lnTo>
                    <a:pt x="376" y="28"/>
                  </a:lnTo>
                  <a:lnTo>
                    <a:pt x="388" y="38"/>
                  </a:lnTo>
                  <a:lnTo>
                    <a:pt x="409" y="16"/>
                  </a:lnTo>
                  <a:lnTo>
                    <a:pt x="414" y="28"/>
                  </a:lnTo>
                  <a:lnTo>
                    <a:pt x="426" y="33"/>
                  </a:lnTo>
                  <a:lnTo>
                    <a:pt x="426" y="49"/>
                  </a:lnTo>
                  <a:lnTo>
                    <a:pt x="440" y="54"/>
                  </a:lnTo>
                  <a:lnTo>
                    <a:pt x="430" y="71"/>
                  </a:lnTo>
                  <a:lnTo>
                    <a:pt x="440" y="82"/>
                  </a:lnTo>
                  <a:lnTo>
                    <a:pt x="452" y="87"/>
                  </a:lnTo>
                  <a:lnTo>
                    <a:pt x="461" y="123"/>
                  </a:lnTo>
                  <a:lnTo>
                    <a:pt x="478" y="123"/>
                  </a:lnTo>
                  <a:lnTo>
                    <a:pt x="485" y="139"/>
                  </a:lnTo>
                  <a:lnTo>
                    <a:pt x="506" y="127"/>
                  </a:lnTo>
                  <a:lnTo>
                    <a:pt x="522" y="139"/>
                  </a:lnTo>
                  <a:lnTo>
                    <a:pt x="499" y="144"/>
                  </a:lnTo>
                  <a:lnTo>
                    <a:pt x="499" y="160"/>
                  </a:lnTo>
                  <a:lnTo>
                    <a:pt x="515" y="182"/>
                  </a:lnTo>
                  <a:lnTo>
                    <a:pt x="515" y="193"/>
                  </a:lnTo>
                  <a:lnTo>
                    <a:pt x="499" y="193"/>
                  </a:lnTo>
                  <a:lnTo>
                    <a:pt x="494" y="205"/>
                  </a:lnTo>
                  <a:lnTo>
                    <a:pt x="478" y="222"/>
                  </a:lnTo>
                  <a:lnTo>
                    <a:pt x="485" y="238"/>
                  </a:lnTo>
                  <a:lnTo>
                    <a:pt x="468" y="234"/>
                  </a:lnTo>
                  <a:lnTo>
                    <a:pt x="461" y="238"/>
                  </a:lnTo>
                  <a:lnTo>
                    <a:pt x="468" y="255"/>
                  </a:lnTo>
                  <a:lnTo>
                    <a:pt x="468" y="271"/>
                  </a:lnTo>
                  <a:lnTo>
                    <a:pt x="461" y="276"/>
                  </a:lnTo>
                  <a:lnTo>
                    <a:pt x="468" y="288"/>
                  </a:lnTo>
                  <a:lnTo>
                    <a:pt x="485" y="309"/>
                  </a:lnTo>
                  <a:lnTo>
                    <a:pt x="494" y="309"/>
                  </a:lnTo>
                  <a:lnTo>
                    <a:pt x="499" y="316"/>
                  </a:lnTo>
                  <a:lnTo>
                    <a:pt x="494" y="316"/>
                  </a:lnTo>
                  <a:lnTo>
                    <a:pt x="499" y="316"/>
                  </a:lnTo>
                  <a:lnTo>
                    <a:pt x="515" y="342"/>
                  </a:lnTo>
                  <a:lnTo>
                    <a:pt x="506" y="366"/>
                  </a:lnTo>
                  <a:lnTo>
                    <a:pt x="532" y="366"/>
                  </a:lnTo>
                  <a:lnTo>
                    <a:pt x="586" y="404"/>
                  </a:lnTo>
                  <a:lnTo>
                    <a:pt x="603" y="404"/>
                  </a:lnTo>
                  <a:lnTo>
                    <a:pt x="603" y="416"/>
                  </a:lnTo>
                  <a:lnTo>
                    <a:pt x="629" y="460"/>
                  </a:lnTo>
                  <a:lnTo>
                    <a:pt x="624" y="482"/>
                  </a:lnTo>
                  <a:lnTo>
                    <a:pt x="624" y="527"/>
                  </a:lnTo>
                  <a:lnTo>
                    <a:pt x="645" y="527"/>
                  </a:lnTo>
                  <a:lnTo>
                    <a:pt x="645" y="564"/>
                  </a:lnTo>
                  <a:lnTo>
                    <a:pt x="667" y="581"/>
                  </a:lnTo>
                  <a:lnTo>
                    <a:pt x="667" y="604"/>
                  </a:lnTo>
                  <a:lnTo>
                    <a:pt x="678" y="604"/>
                  </a:lnTo>
                  <a:lnTo>
                    <a:pt x="641" y="593"/>
                  </a:lnTo>
                  <a:lnTo>
                    <a:pt x="624" y="593"/>
                  </a:lnTo>
                  <a:lnTo>
                    <a:pt x="586" y="593"/>
                  </a:lnTo>
                  <a:lnTo>
                    <a:pt x="570" y="638"/>
                  </a:lnTo>
                  <a:lnTo>
                    <a:pt x="537" y="666"/>
                  </a:lnTo>
                  <a:lnTo>
                    <a:pt x="537" y="666"/>
                  </a:lnTo>
                  <a:lnTo>
                    <a:pt x="414" y="666"/>
                  </a:lnTo>
                  <a:lnTo>
                    <a:pt x="232" y="510"/>
                  </a:lnTo>
                  <a:lnTo>
                    <a:pt x="182" y="493"/>
                  </a:lnTo>
                  <a:lnTo>
                    <a:pt x="107" y="444"/>
                  </a:lnTo>
                  <a:lnTo>
                    <a:pt x="22" y="427"/>
                  </a:lnTo>
                  <a:lnTo>
                    <a:pt x="22" y="427"/>
                  </a:lnTo>
                  <a:lnTo>
                    <a:pt x="22" y="427"/>
                  </a:lnTo>
                  <a:close/>
                </a:path>
              </a:pathLst>
            </a:custGeom>
            <a:pattFill prst="dk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8" name="Freeform 476">
              <a:extLst>
                <a:ext uri="{FF2B5EF4-FFF2-40B4-BE49-F238E27FC236}">
                  <a16:creationId xmlns:a16="http://schemas.microsoft.com/office/drawing/2014/main" id="{43094E4B-3627-440A-B318-34712E112880}"/>
                </a:ext>
              </a:extLst>
            </p:cNvPr>
            <p:cNvSpPr>
              <a:spLocks noEditPoints="1"/>
            </p:cNvSpPr>
            <p:nvPr/>
          </p:nvSpPr>
          <p:spPr bwMode="gray">
            <a:xfrm>
              <a:off x="10065202" y="2858034"/>
              <a:ext cx="771512" cy="863657"/>
            </a:xfrm>
            <a:custGeom>
              <a:avLst/>
              <a:gdLst>
                <a:gd name="T0" fmla="*/ 1521 w 1559"/>
                <a:gd name="T1" fmla="*/ 193 h 1745"/>
                <a:gd name="T2" fmla="*/ 1483 w 1559"/>
                <a:gd name="T3" fmla="*/ 215 h 1745"/>
                <a:gd name="T4" fmla="*/ 1207 w 1559"/>
                <a:gd name="T5" fmla="*/ 267 h 1745"/>
                <a:gd name="T6" fmla="*/ 1181 w 1559"/>
                <a:gd name="T7" fmla="*/ 337 h 1745"/>
                <a:gd name="T8" fmla="*/ 1191 w 1559"/>
                <a:gd name="T9" fmla="*/ 222 h 1745"/>
                <a:gd name="T10" fmla="*/ 1278 w 1559"/>
                <a:gd name="T11" fmla="*/ 82 h 1745"/>
                <a:gd name="T12" fmla="*/ 1450 w 1559"/>
                <a:gd name="T13" fmla="*/ 139 h 1745"/>
                <a:gd name="T14" fmla="*/ 1245 w 1559"/>
                <a:gd name="T15" fmla="*/ 33 h 1745"/>
                <a:gd name="T16" fmla="*/ 1115 w 1559"/>
                <a:gd name="T17" fmla="*/ 292 h 1745"/>
                <a:gd name="T18" fmla="*/ 1136 w 1559"/>
                <a:gd name="T19" fmla="*/ 897 h 1745"/>
                <a:gd name="T20" fmla="*/ 1127 w 1559"/>
                <a:gd name="T21" fmla="*/ 876 h 1745"/>
                <a:gd name="T22" fmla="*/ 1072 w 1559"/>
                <a:gd name="T23" fmla="*/ 897 h 1745"/>
                <a:gd name="T24" fmla="*/ 943 w 1559"/>
                <a:gd name="T25" fmla="*/ 914 h 1745"/>
                <a:gd name="T26" fmla="*/ 938 w 1559"/>
                <a:gd name="T27" fmla="*/ 947 h 1745"/>
                <a:gd name="T28" fmla="*/ 801 w 1559"/>
                <a:gd name="T29" fmla="*/ 987 h 1745"/>
                <a:gd name="T30" fmla="*/ 737 w 1559"/>
                <a:gd name="T31" fmla="*/ 930 h 1745"/>
                <a:gd name="T32" fmla="*/ 666 w 1559"/>
                <a:gd name="T33" fmla="*/ 954 h 1745"/>
                <a:gd name="T34" fmla="*/ 574 w 1559"/>
                <a:gd name="T35" fmla="*/ 975 h 1745"/>
                <a:gd name="T36" fmla="*/ 633 w 1559"/>
                <a:gd name="T37" fmla="*/ 864 h 1745"/>
                <a:gd name="T38" fmla="*/ 829 w 1559"/>
                <a:gd name="T39" fmla="*/ 859 h 1745"/>
                <a:gd name="T40" fmla="*/ 921 w 1559"/>
                <a:gd name="T41" fmla="*/ 753 h 1745"/>
                <a:gd name="T42" fmla="*/ 943 w 1559"/>
                <a:gd name="T43" fmla="*/ 732 h 1745"/>
                <a:gd name="T44" fmla="*/ 1136 w 1559"/>
                <a:gd name="T45" fmla="*/ 581 h 1745"/>
                <a:gd name="T46" fmla="*/ 1169 w 1559"/>
                <a:gd name="T47" fmla="*/ 415 h 1745"/>
                <a:gd name="T48" fmla="*/ 1235 w 1559"/>
                <a:gd name="T49" fmla="*/ 375 h 1745"/>
                <a:gd name="T50" fmla="*/ 1283 w 1559"/>
                <a:gd name="T51" fmla="*/ 543 h 1745"/>
                <a:gd name="T52" fmla="*/ 1212 w 1559"/>
                <a:gd name="T53" fmla="*/ 654 h 1745"/>
                <a:gd name="T54" fmla="*/ 1051 w 1559"/>
                <a:gd name="T55" fmla="*/ 642 h 1745"/>
                <a:gd name="T56" fmla="*/ 683 w 1559"/>
                <a:gd name="T57" fmla="*/ 786 h 1745"/>
                <a:gd name="T58" fmla="*/ 1106 w 1559"/>
                <a:gd name="T59" fmla="*/ 918 h 1745"/>
                <a:gd name="T60" fmla="*/ 411 w 1559"/>
                <a:gd name="T61" fmla="*/ 918 h 1745"/>
                <a:gd name="T62" fmla="*/ 780 w 1559"/>
                <a:gd name="T63" fmla="*/ 959 h 1745"/>
                <a:gd name="T64" fmla="*/ 725 w 1559"/>
                <a:gd name="T65" fmla="*/ 1025 h 1745"/>
                <a:gd name="T66" fmla="*/ 628 w 1559"/>
                <a:gd name="T67" fmla="*/ 1041 h 1745"/>
                <a:gd name="T68" fmla="*/ 720 w 1559"/>
                <a:gd name="T69" fmla="*/ 954 h 1745"/>
                <a:gd name="T70" fmla="*/ 402 w 1559"/>
                <a:gd name="T71" fmla="*/ 959 h 1745"/>
                <a:gd name="T72" fmla="*/ 657 w 1559"/>
                <a:gd name="T73" fmla="*/ 954 h 1745"/>
                <a:gd name="T74" fmla="*/ 628 w 1559"/>
                <a:gd name="T75" fmla="*/ 970 h 1745"/>
                <a:gd name="T76" fmla="*/ 565 w 1559"/>
                <a:gd name="T77" fmla="*/ 1008 h 1745"/>
                <a:gd name="T78" fmla="*/ 527 w 1559"/>
                <a:gd name="T79" fmla="*/ 1181 h 1745"/>
                <a:gd name="T80" fmla="*/ 489 w 1559"/>
                <a:gd name="T81" fmla="*/ 1174 h 1745"/>
                <a:gd name="T82" fmla="*/ 489 w 1559"/>
                <a:gd name="T83" fmla="*/ 1081 h 1745"/>
                <a:gd name="T84" fmla="*/ 456 w 1559"/>
                <a:gd name="T85" fmla="*/ 1098 h 1745"/>
                <a:gd name="T86" fmla="*/ 435 w 1559"/>
                <a:gd name="T87" fmla="*/ 1070 h 1745"/>
                <a:gd name="T88" fmla="*/ 472 w 1559"/>
                <a:gd name="T89" fmla="*/ 1008 h 1745"/>
                <a:gd name="T90" fmla="*/ 423 w 1559"/>
                <a:gd name="T91" fmla="*/ 1004 h 1745"/>
                <a:gd name="T92" fmla="*/ 418 w 1559"/>
                <a:gd name="T93" fmla="*/ 1029 h 1745"/>
                <a:gd name="T94" fmla="*/ 385 w 1559"/>
                <a:gd name="T95" fmla="*/ 1058 h 1745"/>
                <a:gd name="T96" fmla="*/ 359 w 1559"/>
                <a:gd name="T97" fmla="*/ 1081 h 1745"/>
                <a:gd name="T98" fmla="*/ 465 w 1559"/>
                <a:gd name="T99" fmla="*/ 1103 h 1745"/>
                <a:gd name="T100" fmla="*/ 456 w 1559"/>
                <a:gd name="T101" fmla="*/ 1124 h 1745"/>
                <a:gd name="T102" fmla="*/ 527 w 1559"/>
                <a:gd name="T103" fmla="*/ 1230 h 1745"/>
                <a:gd name="T104" fmla="*/ 489 w 1559"/>
                <a:gd name="T105" fmla="*/ 1280 h 1745"/>
                <a:gd name="T106" fmla="*/ 385 w 1559"/>
                <a:gd name="T107" fmla="*/ 1436 h 1745"/>
                <a:gd name="T108" fmla="*/ 397 w 1559"/>
                <a:gd name="T109" fmla="*/ 1436 h 1745"/>
                <a:gd name="T110" fmla="*/ 359 w 1559"/>
                <a:gd name="T111" fmla="*/ 1502 h 1745"/>
                <a:gd name="T112" fmla="*/ 293 w 1559"/>
                <a:gd name="T113" fmla="*/ 1596 h 1745"/>
                <a:gd name="T114" fmla="*/ 217 w 1559"/>
                <a:gd name="T115" fmla="*/ 1580 h 1745"/>
                <a:gd name="T116" fmla="*/ 116 w 1559"/>
                <a:gd name="T117" fmla="*/ 1696 h 1745"/>
                <a:gd name="T118" fmla="*/ 33 w 1559"/>
                <a:gd name="T119" fmla="*/ 1729 h 1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59" h="1745">
                  <a:moveTo>
                    <a:pt x="1450" y="139"/>
                  </a:moveTo>
                  <a:lnTo>
                    <a:pt x="1483" y="144"/>
                  </a:lnTo>
                  <a:lnTo>
                    <a:pt x="1521" y="104"/>
                  </a:lnTo>
                  <a:lnTo>
                    <a:pt x="1531" y="111"/>
                  </a:lnTo>
                  <a:lnTo>
                    <a:pt x="1505" y="155"/>
                  </a:lnTo>
                  <a:lnTo>
                    <a:pt x="1517" y="165"/>
                  </a:lnTo>
                  <a:lnTo>
                    <a:pt x="1521" y="177"/>
                  </a:lnTo>
                  <a:lnTo>
                    <a:pt x="1517" y="165"/>
                  </a:lnTo>
                  <a:lnTo>
                    <a:pt x="1521" y="193"/>
                  </a:lnTo>
                  <a:lnTo>
                    <a:pt x="1521" y="193"/>
                  </a:lnTo>
                  <a:lnTo>
                    <a:pt x="1538" y="198"/>
                  </a:lnTo>
                  <a:lnTo>
                    <a:pt x="1547" y="193"/>
                  </a:lnTo>
                  <a:lnTo>
                    <a:pt x="1559" y="193"/>
                  </a:lnTo>
                  <a:lnTo>
                    <a:pt x="1547" y="193"/>
                  </a:lnTo>
                  <a:lnTo>
                    <a:pt x="1538" y="210"/>
                  </a:lnTo>
                  <a:lnTo>
                    <a:pt x="1517" y="210"/>
                  </a:lnTo>
                  <a:lnTo>
                    <a:pt x="1500" y="222"/>
                  </a:lnTo>
                  <a:lnTo>
                    <a:pt x="1483" y="215"/>
                  </a:lnTo>
                  <a:lnTo>
                    <a:pt x="1479" y="231"/>
                  </a:lnTo>
                  <a:lnTo>
                    <a:pt x="1450" y="222"/>
                  </a:lnTo>
                  <a:lnTo>
                    <a:pt x="1429" y="231"/>
                  </a:lnTo>
                  <a:lnTo>
                    <a:pt x="1391" y="271"/>
                  </a:lnTo>
                  <a:lnTo>
                    <a:pt x="1375" y="321"/>
                  </a:lnTo>
                  <a:lnTo>
                    <a:pt x="1278" y="255"/>
                  </a:lnTo>
                  <a:lnTo>
                    <a:pt x="1250" y="267"/>
                  </a:lnTo>
                  <a:lnTo>
                    <a:pt x="1224" y="288"/>
                  </a:lnTo>
                  <a:lnTo>
                    <a:pt x="1207" y="267"/>
                  </a:lnTo>
                  <a:lnTo>
                    <a:pt x="1181" y="267"/>
                  </a:lnTo>
                  <a:lnTo>
                    <a:pt x="1174" y="271"/>
                  </a:lnTo>
                  <a:lnTo>
                    <a:pt x="1169" y="288"/>
                  </a:lnTo>
                  <a:lnTo>
                    <a:pt x="1191" y="304"/>
                  </a:lnTo>
                  <a:lnTo>
                    <a:pt x="1198" y="304"/>
                  </a:lnTo>
                  <a:lnTo>
                    <a:pt x="1235" y="326"/>
                  </a:lnTo>
                  <a:lnTo>
                    <a:pt x="1224" y="337"/>
                  </a:lnTo>
                  <a:lnTo>
                    <a:pt x="1198" y="326"/>
                  </a:lnTo>
                  <a:lnTo>
                    <a:pt x="1181" y="337"/>
                  </a:lnTo>
                  <a:lnTo>
                    <a:pt x="1181" y="349"/>
                  </a:lnTo>
                  <a:lnTo>
                    <a:pt x="1169" y="359"/>
                  </a:lnTo>
                  <a:lnTo>
                    <a:pt x="1153" y="359"/>
                  </a:lnTo>
                  <a:lnTo>
                    <a:pt x="1153" y="342"/>
                  </a:lnTo>
                  <a:lnTo>
                    <a:pt x="1157" y="309"/>
                  </a:lnTo>
                  <a:lnTo>
                    <a:pt x="1136" y="288"/>
                  </a:lnTo>
                  <a:lnTo>
                    <a:pt x="1136" y="255"/>
                  </a:lnTo>
                  <a:lnTo>
                    <a:pt x="1174" y="238"/>
                  </a:lnTo>
                  <a:lnTo>
                    <a:pt x="1191" y="222"/>
                  </a:lnTo>
                  <a:lnTo>
                    <a:pt x="1174" y="198"/>
                  </a:lnTo>
                  <a:lnTo>
                    <a:pt x="1181" y="193"/>
                  </a:lnTo>
                  <a:lnTo>
                    <a:pt x="1207" y="210"/>
                  </a:lnTo>
                  <a:lnTo>
                    <a:pt x="1228" y="210"/>
                  </a:lnTo>
                  <a:lnTo>
                    <a:pt x="1250" y="193"/>
                  </a:lnTo>
                  <a:lnTo>
                    <a:pt x="1245" y="160"/>
                  </a:lnTo>
                  <a:lnTo>
                    <a:pt x="1266" y="139"/>
                  </a:lnTo>
                  <a:lnTo>
                    <a:pt x="1266" y="111"/>
                  </a:lnTo>
                  <a:lnTo>
                    <a:pt x="1278" y="82"/>
                  </a:lnTo>
                  <a:lnTo>
                    <a:pt x="1261" y="28"/>
                  </a:lnTo>
                  <a:lnTo>
                    <a:pt x="1266" y="11"/>
                  </a:lnTo>
                  <a:lnTo>
                    <a:pt x="1287" y="0"/>
                  </a:lnTo>
                  <a:lnTo>
                    <a:pt x="1370" y="87"/>
                  </a:lnTo>
                  <a:lnTo>
                    <a:pt x="1408" y="111"/>
                  </a:lnTo>
                  <a:lnTo>
                    <a:pt x="1413" y="127"/>
                  </a:lnTo>
                  <a:lnTo>
                    <a:pt x="1446" y="127"/>
                  </a:lnTo>
                  <a:lnTo>
                    <a:pt x="1450" y="139"/>
                  </a:lnTo>
                  <a:lnTo>
                    <a:pt x="1450" y="139"/>
                  </a:lnTo>
                  <a:lnTo>
                    <a:pt x="1450" y="139"/>
                  </a:lnTo>
                  <a:close/>
                  <a:moveTo>
                    <a:pt x="1224" y="11"/>
                  </a:moveTo>
                  <a:lnTo>
                    <a:pt x="1228" y="11"/>
                  </a:lnTo>
                  <a:lnTo>
                    <a:pt x="1224" y="28"/>
                  </a:lnTo>
                  <a:lnTo>
                    <a:pt x="1224" y="11"/>
                  </a:lnTo>
                  <a:lnTo>
                    <a:pt x="1224" y="11"/>
                  </a:lnTo>
                  <a:lnTo>
                    <a:pt x="1224" y="11"/>
                  </a:lnTo>
                  <a:close/>
                  <a:moveTo>
                    <a:pt x="1228" y="28"/>
                  </a:moveTo>
                  <a:lnTo>
                    <a:pt x="1245" y="33"/>
                  </a:lnTo>
                  <a:lnTo>
                    <a:pt x="1228" y="33"/>
                  </a:lnTo>
                  <a:lnTo>
                    <a:pt x="1228" y="28"/>
                  </a:lnTo>
                  <a:lnTo>
                    <a:pt x="1228" y="28"/>
                  </a:lnTo>
                  <a:lnTo>
                    <a:pt x="1228" y="28"/>
                  </a:lnTo>
                  <a:close/>
                  <a:moveTo>
                    <a:pt x="1115" y="292"/>
                  </a:moveTo>
                  <a:lnTo>
                    <a:pt x="1120" y="288"/>
                  </a:lnTo>
                  <a:lnTo>
                    <a:pt x="1115" y="304"/>
                  </a:lnTo>
                  <a:lnTo>
                    <a:pt x="1115" y="292"/>
                  </a:lnTo>
                  <a:lnTo>
                    <a:pt x="1115" y="292"/>
                  </a:lnTo>
                  <a:lnTo>
                    <a:pt x="1115" y="292"/>
                  </a:lnTo>
                  <a:close/>
                  <a:moveTo>
                    <a:pt x="1207" y="748"/>
                  </a:moveTo>
                  <a:lnTo>
                    <a:pt x="1191" y="791"/>
                  </a:lnTo>
                  <a:lnTo>
                    <a:pt x="1207" y="843"/>
                  </a:lnTo>
                  <a:lnTo>
                    <a:pt x="1181" y="859"/>
                  </a:lnTo>
                  <a:lnTo>
                    <a:pt x="1174" y="892"/>
                  </a:lnTo>
                  <a:lnTo>
                    <a:pt x="1157" y="892"/>
                  </a:lnTo>
                  <a:lnTo>
                    <a:pt x="1143" y="902"/>
                  </a:lnTo>
                  <a:lnTo>
                    <a:pt x="1136" y="897"/>
                  </a:lnTo>
                  <a:lnTo>
                    <a:pt x="1143" y="897"/>
                  </a:lnTo>
                  <a:lnTo>
                    <a:pt x="1136" y="876"/>
                  </a:lnTo>
                  <a:lnTo>
                    <a:pt x="1157" y="848"/>
                  </a:lnTo>
                  <a:lnTo>
                    <a:pt x="1143" y="843"/>
                  </a:lnTo>
                  <a:lnTo>
                    <a:pt x="1136" y="843"/>
                  </a:lnTo>
                  <a:lnTo>
                    <a:pt x="1136" y="859"/>
                  </a:lnTo>
                  <a:lnTo>
                    <a:pt x="1127" y="859"/>
                  </a:lnTo>
                  <a:lnTo>
                    <a:pt x="1127" y="876"/>
                  </a:lnTo>
                  <a:lnTo>
                    <a:pt x="1127" y="876"/>
                  </a:lnTo>
                  <a:lnTo>
                    <a:pt x="1127" y="892"/>
                  </a:lnTo>
                  <a:lnTo>
                    <a:pt x="1120" y="876"/>
                  </a:lnTo>
                  <a:lnTo>
                    <a:pt x="1089" y="881"/>
                  </a:lnTo>
                  <a:lnTo>
                    <a:pt x="1082" y="892"/>
                  </a:lnTo>
                  <a:lnTo>
                    <a:pt x="1089" y="902"/>
                  </a:lnTo>
                  <a:lnTo>
                    <a:pt x="1068" y="930"/>
                  </a:lnTo>
                  <a:lnTo>
                    <a:pt x="1061" y="918"/>
                  </a:lnTo>
                  <a:lnTo>
                    <a:pt x="1068" y="897"/>
                  </a:lnTo>
                  <a:lnTo>
                    <a:pt x="1072" y="897"/>
                  </a:lnTo>
                  <a:lnTo>
                    <a:pt x="1061" y="892"/>
                  </a:lnTo>
                  <a:lnTo>
                    <a:pt x="1051" y="892"/>
                  </a:lnTo>
                  <a:lnTo>
                    <a:pt x="1035" y="902"/>
                  </a:lnTo>
                  <a:lnTo>
                    <a:pt x="1018" y="930"/>
                  </a:lnTo>
                  <a:lnTo>
                    <a:pt x="980" y="918"/>
                  </a:lnTo>
                  <a:lnTo>
                    <a:pt x="943" y="930"/>
                  </a:lnTo>
                  <a:lnTo>
                    <a:pt x="964" y="918"/>
                  </a:lnTo>
                  <a:lnTo>
                    <a:pt x="959" y="914"/>
                  </a:lnTo>
                  <a:lnTo>
                    <a:pt x="943" y="914"/>
                  </a:lnTo>
                  <a:lnTo>
                    <a:pt x="938" y="902"/>
                  </a:lnTo>
                  <a:lnTo>
                    <a:pt x="938" y="914"/>
                  </a:lnTo>
                  <a:lnTo>
                    <a:pt x="938" y="918"/>
                  </a:lnTo>
                  <a:lnTo>
                    <a:pt x="926" y="918"/>
                  </a:lnTo>
                  <a:lnTo>
                    <a:pt x="926" y="892"/>
                  </a:lnTo>
                  <a:lnTo>
                    <a:pt x="909" y="897"/>
                  </a:lnTo>
                  <a:lnTo>
                    <a:pt x="905" y="918"/>
                  </a:lnTo>
                  <a:lnTo>
                    <a:pt x="905" y="930"/>
                  </a:lnTo>
                  <a:lnTo>
                    <a:pt x="938" y="947"/>
                  </a:lnTo>
                  <a:lnTo>
                    <a:pt x="938" y="954"/>
                  </a:lnTo>
                  <a:lnTo>
                    <a:pt x="909" y="954"/>
                  </a:lnTo>
                  <a:lnTo>
                    <a:pt x="900" y="959"/>
                  </a:lnTo>
                  <a:lnTo>
                    <a:pt x="888" y="987"/>
                  </a:lnTo>
                  <a:lnTo>
                    <a:pt x="850" y="1025"/>
                  </a:lnTo>
                  <a:lnTo>
                    <a:pt x="829" y="1013"/>
                  </a:lnTo>
                  <a:lnTo>
                    <a:pt x="817" y="1008"/>
                  </a:lnTo>
                  <a:lnTo>
                    <a:pt x="829" y="1004"/>
                  </a:lnTo>
                  <a:lnTo>
                    <a:pt x="801" y="987"/>
                  </a:lnTo>
                  <a:lnTo>
                    <a:pt x="813" y="970"/>
                  </a:lnTo>
                  <a:lnTo>
                    <a:pt x="801" y="959"/>
                  </a:lnTo>
                  <a:lnTo>
                    <a:pt x="801" y="954"/>
                  </a:lnTo>
                  <a:lnTo>
                    <a:pt x="829" y="930"/>
                  </a:lnTo>
                  <a:lnTo>
                    <a:pt x="817" y="918"/>
                  </a:lnTo>
                  <a:lnTo>
                    <a:pt x="801" y="930"/>
                  </a:lnTo>
                  <a:lnTo>
                    <a:pt x="775" y="914"/>
                  </a:lnTo>
                  <a:lnTo>
                    <a:pt x="742" y="918"/>
                  </a:lnTo>
                  <a:lnTo>
                    <a:pt x="737" y="930"/>
                  </a:lnTo>
                  <a:lnTo>
                    <a:pt x="725" y="930"/>
                  </a:lnTo>
                  <a:lnTo>
                    <a:pt x="737" y="930"/>
                  </a:lnTo>
                  <a:lnTo>
                    <a:pt x="725" y="947"/>
                  </a:lnTo>
                  <a:lnTo>
                    <a:pt x="704" y="937"/>
                  </a:lnTo>
                  <a:lnTo>
                    <a:pt x="683" y="954"/>
                  </a:lnTo>
                  <a:lnTo>
                    <a:pt x="671" y="947"/>
                  </a:lnTo>
                  <a:lnTo>
                    <a:pt x="671" y="954"/>
                  </a:lnTo>
                  <a:lnTo>
                    <a:pt x="666" y="959"/>
                  </a:lnTo>
                  <a:lnTo>
                    <a:pt x="666" y="954"/>
                  </a:lnTo>
                  <a:lnTo>
                    <a:pt x="650" y="954"/>
                  </a:lnTo>
                  <a:lnTo>
                    <a:pt x="628" y="959"/>
                  </a:lnTo>
                  <a:lnTo>
                    <a:pt x="628" y="954"/>
                  </a:lnTo>
                  <a:lnTo>
                    <a:pt x="612" y="954"/>
                  </a:lnTo>
                  <a:lnTo>
                    <a:pt x="602" y="959"/>
                  </a:lnTo>
                  <a:lnTo>
                    <a:pt x="595" y="992"/>
                  </a:lnTo>
                  <a:lnTo>
                    <a:pt x="586" y="1004"/>
                  </a:lnTo>
                  <a:lnTo>
                    <a:pt x="586" y="987"/>
                  </a:lnTo>
                  <a:lnTo>
                    <a:pt x="574" y="975"/>
                  </a:lnTo>
                  <a:lnTo>
                    <a:pt x="532" y="987"/>
                  </a:lnTo>
                  <a:lnTo>
                    <a:pt x="520" y="975"/>
                  </a:lnTo>
                  <a:lnTo>
                    <a:pt x="510" y="987"/>
                  </a:lnTo>
                  <a:lnTo>
                    <a:pt x="510" y="947"/>
                  </a:lnTo>
                  <a:lnTo>
                    <a:pt x="548" y="947"/>
                  </a:lnTo>
                  <a:lnTo>
                    <a:pt x="557" y="930"/>
                  </a:lnTo>
                  <a:lnTo>
                    <a:pt x="579" y="918"/>
                  </a:lnTo>
                  <a:lnTo>
                    <a:pt x="633" y="876"/>
                  </a:lnTo>
                  <a:lnTo>
                    <a:pt x="633" y="864"/>
                  </a:lnTo>
                  <a:lnTo>
                    <a:pt x="666" y="848"/>
                  </a:lnTo>
                  <a:lnTo>
                    <a:pt x="687" y="859"/>
                  </a:lnTo>
                  <a:lnTo>
                    <a:pt x="742" y="848"/>
                  </a:lnTo>
                  <a:lnTo>
                    <a:pt x="763" y="843"/>
                  </a:lnTo>
                  <a:lnTo>
                    <a:pt x="796" y="843"/>
                  </a:lnTo>
                  <a:lnTo>
                    <a:pt x="813" y="836"/>
                  </a:lnTo>
                  <a:lnTo>
                    <a:pt x="817" y="843"/>
                  </a:lnTo>
                  <a:lnTo>
                    <a:pt x="813" y="848"/>
                  </a:lnTo>
                  <a:lnTo>
                    <a:pt x="829" y="859"/>
                  </a:lnTo>
                  <a:lnTo>
                    <a:pt x="817" y="848"/>
                  </a:lnTo>
                  <a:lnTo>
                    <a:pt x="829" y="848"/>
                  </a:lnTo>
                  <a:lnTo>
                    <a:pt x="834" y="859"/>
                  </a:lnTo>
                  <a:lnTo>
                    <a:pt x="850" y="859"/>
                  </a:lnTo>
                  <a:lnTo>
                    <a:pt x="872" y="836"/>
                  </a:lnTo>
                  <a:lnTo>
                    <a:pt x="872" y="843"/>
                  </a:lnTo>
                  <a:lnTo>
                    <a:pt x="872" y="836"/>
                  </a:lnTo>
                  <a:lnTo>
                    <a:pt x="867" y="819"/>
                  </a:lnTo>
                  <a:lnTo>
                    <a:pt x="921" y="753"/>
                  </a:lnTo>
                  <a:lnTo>
                    <a:pt x="921" y="737"/>
                  </a:lnTo>
                  <a:lnTo>
                    <a:pt x="921" y="715"/>
                  </a:lnTo>
                  <a:lnTo>
                    <a:pt x="926" y="699"/>
                  </a:lnTo>
                  <a:lnTo>
                    <a:pt x="964" y="692"/>
                  </a:lnTo>
                  <a:lnTo>
                    <a:pt x="964" y="699"/>
                  </a:lnTo>
                  <a:lnTo>
                    <a:pt x="943" y="715"/>
                  </a:lnTo>
                  <a:lnTo>
                    <a:pt x="938" y="715"/>
                  </a:lnTo>
                  <a:lnTo>
                    <a:pt x="926" y="725"/>
                  </a:lnTo>
                  <a:lnTo>
                    <a:pt x="943" y="732"/>
                  </a:lnTo>
                  <a:lnTo>
                    <a:pt x="943" y="748"/>
                  </a:lnTo>
                  <a:lnTo>
                    <a:pt x="959" y="753"/>
                  </a:lnTo>
                  <a:lnTo>
                    <a:pt x="976" y="737"/>
                  </a:lnTo>
                  <a:lnTo>
                    <a:pt x="1030" y="715"/>
                  </a:lnTo>
                  <a:lnTo>
                    <a:pt x="1051" y="699"/>
                  </a:lnTo>
                  <a:lnTo>
                    <a:pt x="1068" y="670"/>
                  </a:lnTo>
                  <a:lnTo>
                    <a:pt x="1115" y="637"/>
                  </a:lnTo>
                  <a:lnTo>
                    <a:pt x="1115" y="614"/>
                  </a:lnTo>
                  <a:lnTo>
                    <a:pt x="1136" y="581"/>
                  </a:lnTo>
                  <a:lnTo>
                    <a:pt x="1153" y="531"/>
                  </a:lnTo>
                  <a:lnTo>
                    <a:pt x="1153" y="503"/>
                  </a:lnTo>
                  <a:lnTo>
                    <a:pt x="1127" y="486"/>
                  </a:lnTo>
                  <a:lnTo>
                    <a:pt x="1127" y="486"/>
                  </a:lnTo>
                  <a:lnTo>
                    <a:pt x="1143" y="486"/>
                  </a:lnTo>
                  <a:lnTo>
                    <a:pt x="1153" y="460"/>
                  </a:lnTo>
                  <a:lnTo>
                    <a:pt x="1136" y="432"/>
                  </a:lnTo>
                  <a:lnTo>
                    <a:pt x="1153" y="415"/>
                  </a:lnTo>
                  <a:lnTo>
                    <a:pt x="1169" y="415"/>
                  </a:lnTo>
                  <a:lnTo>
                    <a:pt x="1174" y="375"/>
                  </a:lnTo>
                  <a:lnTo>
                    <a:pt x="1198" y="382"/>
                  </a:lnTo>
                  <a:lnTo>
                    <a:pt x="1198" y="415"/>
                  </a:lnTo>
                  <a:lnTo>
                    <a:pt x="1207" y="404"/>
                  </a:lnTo>
                  <a:lnTo>
                    <a:pt x="1212" y="399"/>
                  </a:lnTo>
                  <a:lnTo>
                    <a:pt x="1228" y="404"/>
                  </a:lnTo>
                  <a:lnTo>
                    <a:pt x="1235" y="404"/>
                  </a:lnTo>
                  <a:lnTo>
                    <a:pt x="1235" y="382"/>
                  </a:lnTo>
                  <a:lnTo>
                    <a:pt x="1235" y="375"/>
                  </a:lnTo>
                  <a:lnTo>
                    <a:pt x="1207" y="382"/>
                  </a:lnTo>
                  <a:lnTo>
                    <a:pt x="1212" y="349"/>
                  </a:lnTo>
                  <a:lnTo>
                    <a:pt x="1235" y="366"/>
                  </a:lnTo>
                  <a:lnTo>
                    <a:pt x="1250" y="366"/>
                  </a:lnTo>
                  <a:lnTo>
                    <a:pt x="1245" y="382"/>
                  </a:lnTo>
                  <a:lnTo>
                    <a:pt x="1250" y="432"/>
                  </a:lnTo>
                  <a:lnTo>
                    <a:pt x="1278" y="460"/>
                  </a:lnTo>
                  <a:lnTo>
                    <a:pt x="1299" y="515"/>
                  </a:lnTo>
                  <a:lnTo>
                    <a:pt x="1283" y="543"/>
                  </a:lnTo>
                  <a:lnTo>
                    <a:pt x="1283" y="564"/>
                  </a:lnTo>
                  <a:lnTo>
                    <a:pt x="1266" y="564"/>
                  </a:lnTo>
                  <a:lnTo>
                    <a:pt x="1266" y="571"/>
                  </a:lnTo>
                  <a:lnTo>
                    <a:pt x="1261" y="581"/>
                  </a:lnTo>
                  <a:lnTo>
                    <a:pt x="1261" y="626"/>
                  </a:lnTo>
                  <a:lnTo>
                    <a:pt x="1245" y="614"/>
                  </a:lnTo>
                  <a:lnTo>
                    <a:pt x="1228" y="621"/>
                  </a:lnTo>
                  <a:lnTo>
                    <a:pt x="1212" y="637"/>
                  </a:lnTo>
                  <a:lnTo>
                    <a:pt x="1212" y="654"/>
                  </a:lnTo>
                  <a:lnTo>
                    <a:pt x="1224" y="675"/>
                  </a:lnTo>
                  <a:lnTo>
                    <a:pt x="1224" y="699"/>
                  </a:lnTo>
                  <a:lnTo>
                    <a:pt x="1224" y="732"/>
                  </a:lnTo>
                  <a:lnTo>
                    <a:pt x="1207" y="748"/>
                  </a:lnTo>
                  <a:lnTo>
                    <a:pt x="1207" y="748"/>
                  </a:lnTo>
                  <a:lnTo>
                    <a:pt x="1207" y="748"/>
                  </a:lnTo>
                  <a:close/>
                  <a:moveTo>
                    <a:pt x="1044" y="626"/>
                  </a:moveTo>
                  <a:lnTo>
                    <a:pt x="1035" y="642"/>
                  </a:lnTo>
                  <a:lnTo>
                    <a:pt x="1051" y="642"/>
                  </a:lnTo>
                  <a:lnTo>
                    <a:pt x="1044" y="659"/>
                  </a:lnTo>
                  <a:lnTo>
                    <a:pt x="1030" y="670"/>
                  </a:lnTo>
                  <a:lnTo>
                    <a:pt x="1035" y="654"/>
                  </a:lnTo>
                  <a:lnTo>
                    <a:pt x="1030" y="654"/>
                  </a:lnTo>
                  <a:lnTo>
                    <a:pt x="1030" y="642"/>
                  </a:lnTo>
                  <a:lnTo>
                    <a:pt x="1044" y="626"/>
                  </a:lnTo>
                  <a:lnTo>
                    <a:pt x="1044" y="626"/>
                  </a:lnTo>
                  <a:lnTo>
                    <a:pt x="1044" y="626"/>
                  </a:lnTo>
                  <a:close/>
                  <a:moveTo>
                    <a:pt x="683" y="786"/>
                  </a:moveTo>
                  <a:lnTo>
                    <a:pt x="687" y="803"/>
                  </a:lnTo>
                  <a:lnTo>
                    <a:pt x="671" y="803"/>
                  </a:lnTo>
                  <a:lnTo>
                    <a:pt x="671" y="791"/>
                  </a:lnTo>
                  <a:lnTo>
                    <a:pt x="683" y="786"/>
                  </a:lnTo>
                  <a:lnTo>
                    <a:pt x="683" y="786"/>
                  </a:lnTo>
                  <a:lnTo>
                    <a:pt x="683" y="786"/>
                  </a:lnTo>
                  <a:close/>
                  <a:moveTo>
                    <a:pt x="1106" y="914"/>
                  </a:moveTo>
                  <a:lnTo>
                    <a:pt x="1115" y="918"/>
                  </a:lnTo>
                  <a:lnTo>
                    <a:pt x="1106" y="918"/>
                  </a:lnTo>
                  <a:lnTo>
                    <a:pt x="1106" y="914"/>
                  </a:lnTo>
                  <a:lnTo>
                    <a:pt x="1106" y="914"/>
                  </a:lnTo>
                  <a:lnTo>
                    <a:pt x="1106" y="914"/>
                  </a:lnTo>
                  <a:close/>
                  <a:moveTo>
                    <a:pt x="411" y="918"/>
                  </a:moveTo>
                  <a:lnTo>
                    <a:pt x="402" y="954"/>
                  </a:lnTo>
                  <a:lnTo>
                    <a:pt x="397" y="954"/>
                  </a:lnTo>
                  <a:lnTo>
                    <a:pt x="397" y="930"/>
                  </a:lnTo>
                  <a:lnTo>
                    <a:pt x="411" y="918"/>
                  </a:lnTo>
                  <a:lnTo>
                    <a:pt x="411" y="918"/>
                  </a:lnTo>
                  <a:lnTo>
                    <a:pt x="411" y="918"/>
                  </a:lnTo>
                  <a:close/>
                  <a:moveTo>
                    <a:pt x="780" y="959"/>
                  </a:moveTo>
                  <a:lnTo>
                    <a:pt x="775" y="954"/>
                  </a:lnTo>
                  <a:lnTo>
                    <a:pt x="796" y="930"/>
                  </a:lnTo>
                  <a:lnTo>
                    <a:pt x="791" y="947"/>
                  </a:lnTo>
                  <a:lnTo>
                    <a:pt x="796" y="959"/>
                  </a:lnTo>
                  <a:lnTo>
                    <a:pt x="780" y="959"/>
                  </a:lnTo>
                  <a:lnTo>
                    <a:pt x="780" y="959"/>
                  </a:lnTo>
                  <a:lnTo>
                    <a:pt x="780" y="959"/>
                  </a:lnTo>
                  <a:close/>
                  <a:moveTo>
                    <a:pt x="758" y="937"/>
                  </a:moveTo>
                  <a:lnTo>
                    <a:pt x="746" y="947"/>
                  </a:lnTo>
                  <a:lnTo>
                    <a:pt x="742" y="937"/>
                  </a:lnTo>
                  <a:lnTo>
                    <a:pt x="758" y="937"/>
                  </a:lnTo>
                  <a:lnTo>
                    <a:pt x="758" y="937"/>
                  </a:lnTo>
                  <a:lnTo>
                    <a:pt x="758" y="937"/>
                  </a:lnTo>
                  <a:close/>
                  <a:moveTo>
                    <a:pt x="746" y="1013"/>
                  </a:moveTo>
                  <a:lnTo>
                    <a:pt x="742" y="1041"/>
                  </a:lnTo>
                  <a:lnTo>
                    <a:pt x="725" y="1025"/>
                  </a:lnTo>
                  <a:lnTo>
                    <a:pt x="709" y="1013"/>
                  </a:lnTo>
                  <a:lnTo>
                    <a:pt x="683" y="1029"/>
                  </a:lnTo>
                  <a:lnTo>
                    <a:pt x="671" y="1041"/>
                  </a:lnTo>
                  <a:lnTo>
                    <a:pt x="657" y="1058"/>
                  </a:lnTo>
                  <a:lnTo>
                    <a:pt x="657" y="1081"/>
                  </a:lnTo>
                  <a:lnTo>
                    <a:pt x="633" y="1081"/>
                  </a:lnTo>
                  <a:lnTo>
                    <a:pt x="640" y="1065"/>
                  </a:lnTo>
                  <a:lnTo>
                    <a:pt x="619" y="1065"/>
                  </a:lnTo>
                  <a:lnTo>
                    <a:pt x="628" y="1041"/>
                  </a:lnTo>
                  <a:lnTo>
                    <a:pt x="612" y="1029"/>
                  </a:lnTo>
                  <a:lnTo>
                    <a:pt x="612" y="1025"/>
                  </a:lnTo>
                  <a:lnTo>
                    <a:pt x="586" y="1029"/>
                  </a:lnTo>
                  <a:lnTo>
                    <a:pt x="633" y="1008"/>
                  </a:lnTo>
                  <a:lnTo>
                    <a:pt x="650" y="970"/>
                  </a:lnTo>
                  <a:lnTo>
                    <a:pt x="666" y="987"/>
                  </a:lnTo>
                  <a:lnTo>
                    <a:pt x="694" y="987"/>
                  </a:lnTo>
                  <a:lnTo>
                    <a:pt x="704" y="959"/>
                  </a:lnTo>
                  <a:lnTo>
                    <a:pt x="720" y="954"/>
                  </a:lnTo>
                  <a:lnTo>
                    <a:pt x="737" y="947"/>
                  </a:lnTo>
                  <a:lnTo>
                    <a:pt x="758" y="959"/>
                  </a:lnTo>
                  <a:lnTo>
                    <a:pt x="763" y="959"/>
                  </a:lnTo>
                  <a:lnTo>
                    <a:pt x="775" y="975"/>
                  </a:lnTo>
                  <a:lnTo>
                    <a:pt x="780" y="992"/>
                  </a:lnTo>
                  <a:lnTo>
                    <a:pt x="746" y="1013"/>
                  </a:lnTo>
                  <a:lnTo>
                    <a:pt x="746" y="1013"/>
                  </a:lnTo>
                  <a:lnTo>
                    <a:pt x="746" y="1013"/>
                  </a:lnTo>
                  <a:close/>
                  <a:moveTo>
                    <a:pt x="402" y="959"/>
                  </a:moveTo>
                  <a:lnTo>
                    <a:pt x="385" y="970"/>
                  </a:lnTo>
                  <a:lnTo>
                    <a:pt x="397" y="954"/>
                  </a:lnTo>
                  <a:lnTo>
                    <a:pt x="402" y="959"/>
                  </a:lnTo>
                  <a:lnTo>
                    <a:pt x="402" y="959"/>
                  </a:lnTo>
                  <a:lnTo>
                    <a:pt x="402" y="959"/>
                  </a:lnTo>
                  <a:close/>
                  <a:moveTo>
                    <a:pt x="657" y="954"/>
                  </a:moveTo>
                  <a:lnTo>
                    <a:pt x="666" y="959"/>
                  </a:lnTo>
                  <a:lnTo>
                    <a:pt x="657" y="959"/>
                  </a:lnTo>
                  <a:lnTo>
                    <a:pt x="657" y="954"/>
                  </a:lnTo>
                  <a:lnTo>
                    <a:pt x="657" y="954"/>
                  </a:lnTo>
                  <a:lnTo>
                    <a:pt x="657" y="954"/>
                  </a:lnTo>
                  <a:close/>
                  <a:moveTo>
                    <a:pt x="628" y="959"/>
                  </a:moveTo>
                  <a:lnTo>
                    <a:pt x="619" y="970"/>
                  </a:lnTo>
                  <a:lnTo>
                    <a:pt x="619" y="959"/>
                  </a:lnTo>
                  <a:lnTo>
                    <a:pt x="628" y="959"/>
                  </a:lnTo>
                  <a:lnTo>
                    <a:pt x="628" y="959"/>
                  </a:lnTo>
                  <a:lnTo>
                    <a:pt x="628" y="959"/>
                  </a:lnTo>
                  <a:close/>
                  <a:moveTo>
                    <a:pt x="628" y="970"/>
                  </a:moveTo>
                  <a:lnTo>
                    <a:pt x="628" y="975"/>
                  </a:lnTo>
                  <a:lnTo>
                    <a:pt x="619" y="970"/>
                  </a:lnTo>
                  <a:lnTo>
                    <a:pt x="628" y="970"/>
                  </a:lnTo>
                  <a:lnTo>
                    <a:pt x="628" y="970"/>
                  </a:lnTo>
                  <a:lnTo>
                    <a:pt x="628" y="970"/>
                  </a:lnTo>
                  <a:close/>
                  <a:moveTo>
                    <a:pt x="532" y="1008"/>
                  </a:moveTo>
                  <a:lnTo>
                    <a:pt x="548" y="1013"/>
                  </a:lnTo>
                  <a:lnTo>
                    <a:pt x="557" y="1008"/>
                  </a:lnTo>
                  <a:lnTo>
                    <a:pt x="565" y="1008"/>
                  </a:lnTo>
                  <a:lnTo>
                    <a:pt x="574" y="1025"/>
                  </a:lnTo>
                  <a:lnTo>
                    <a:pt x="557" y="1029"/>
                  </a:lnTo>
                  <a:lnTo>
                    <a:pt x="557" y="1041"/>
                  </a:lnTo>
                  <a:lnTo>
                    <a:pt x="579" y="1041"/>
                  </a:lnTo>
                  <a:lnTo>
                    <a:pt x="574" y="1046"/>
                  </a:lnTo>
                  <a:lnTo>
                    <a:pt x="586" y="1070"/>
                  </a:lnTo>
                  <a:lnTo>
                    <a:pt x="565" y="1098"/>
                  </a:lnTo>
                  <a:lnTo>
                    <a:pt x="541" y="1190"/>
                  </a:lnTo>
                  <a:lnTo>
                    <a:pt x="527" y="1181"/>
                  </a:lnTo>
                  <a:lnTo>
                    <a:pt x="520" y="1190"/>
                  </a:lnTo>
                  <a:lnTo>
                    <a:pt x="527" y="1197"/>
                  </a:lnTo>
                  <a:lnTo>
                    <a:pt x="494" y="1226"/>
                  </a:lnTo>
                  <a:lnTo>
                    <a:pt x="503" y="1190"/>
                  </a:lnTo>
                  <a:lnTo>
                    <a:pt x="489" y="1174"/>
                  </a:lnTo>
                  <a:lnTo>
                    <a:pt x="503" y="1174"/>
                  </a:lnTo>
                  <a:lnTo>
                    <a:pt x="503" y="1169"/>
                  </a:lnTo>
                  <a:lnTo>
                    <a:pt x="494" y="1157"/>
                  </a:lnTo>
                  <a:lnTo>
                    <a:pt x="489" y="1174"/>
                  </a:lnTo>
                  <a:lnTo>
                    <a:pt x="494" y="1209"/>
                  </a:lnTo>
                  <a:lnTo>
                    <a:pt x="465" y="1197"/>
                  </a:lnTo>
                  <a:lnTo>
                    <a:pt x="472" y="1169"/>
                  </a:lnTo>
                  <a:lnTo>
                    <a:pt x="456" y="1157"/>
                  </a:lnTo>
                  <a:lnTo>
                    <a:pt x="456" y="1136"/>
                  </a:lnTo>
                  <a:lnTo>
                    <a:pt x="489" y="1103"/>
                  </a:lnTo>
                  <a:lnTo>
                    <a:pt x="489" y="1086"/>
                  </a:lnTo>
                  <a:lnTo>
                    <a:pt x="477" y="1086"/>
                  </a:lnTo>
                  <a:lnTo>
                    <a:pt x="489" y="1081"/>
                  </a:lnTo>
                  <a:lnTo>
                    <a:pt x="477" y="1065"/>
                  </a:lnTo>
                  <a:lnTo>
                    <a:pt x="477" y="1058"/>
                  </a:lnTo>
                  <a:lnTo>
                    <a:pt x="465" y="1046"/>
                  </a:lnTo>
                  <a:lnTo>
                    <a:pt x="456" y="1046"/>
                  </a:lnTo>
                  <a:lnTo>
                    <a:pt x="465" y="1065"/>
                  </a:lnTo>
                  <a:lnTo>
                    <a:pt x="456" y="1070"/>
                  </a:lnTo>
                  <a:lnTo>
                    <a:pt x="472" y="1070"/>
                  </a:lnTo>
                  <a:lnTo>
                    <a:pt x="472" y="1086"/>
                  </a:lnTo>
                  <a:lnTo>
                    <a:pt x="456" y="1098"/>
                  </a:lnTo>
                  <a:lnTo>
                    <a:pt x="456" y="1086"/>
                  </a:lnTo>
                  <a:lnTo>
                    <a:pt x="465" y="1081"/>
                  </a:lnTo>
                  <a:lnTo>
                    <a:pt x="456" y="1081"/>
                  </a:lnTo>
                  <a:lnTo>
                    <a:pt x="435" y="1098"/>
                  </a:lnTo>
                  <a:lnTo>
                    <a:pt x="439" y="1081"/>
                  </a:lnTo>
                  <a:lnTo>
                    <a:pt x="423" y="1070"/>
                  </a:lnTo>
                  <a:lnTo>
                    <a:pt x="423" y="1058"/>
                  </a:lnTo>
                  <a:lnTo>
                    <a:pt x="435" y="1065"/>
                  </a:lnTo>
                  <a:lnTo>
                    <a:pt x="435" y="1070"/>
                  </a:lnTo>
                  <a:lnTo>
                    <a:pt x="451" y="1070"/>
                  </a:lnTo>
                  <a:lnTo>
                    <a:pt x="439" y="1058"/>
                  </a:lnTo>
                  <a:lnTo>
                    <a:pt x="418" y="1041"/>
                  </a:lnTo>
                  <a:lnTo>
                    <a:pt x="418" y="1029"/>
                  </a:lnTo>
                  <a:lnTo>
                    <a:pt x="435" y="1029"/>
                  </a:lnTo>
                  <a:lnTo>
                    <a:pt x="439" y="1013"/>
                  </a:lnTo>
                  <a:lnTo>
                    <a:pt x="451" y="1025"/>
                  </a:lnTo>
                  <a:lnTo>
                    <a:pt x="465" y="1008"/>
                  </a:lnTo>
                  <a:lnTo>
                    <a:pt x="472" y="1008"/>
                  </a:lnTo>
                  <a:lnTo>
                    <a:pt x="477" y="992"/>
                  </a:lnTo>
                  <a:lnTo>
                    <a:pt x="494" y="987"/>
                  </a:lnTo>
                  <a:lnTo>
                    <a:pt x="520" y="987"/>
                  </a:lnTo>
                  <a:lnTo>
                    <a:pt x="527" y="1008"/>
                  </a:lnTo>
                  <a:lnTo>
                    <a:pt x="532" y="1008"/>
                  </a:lnTo>
                  <a:lnTo>
                    <a:pt x="532" y="1008"/>
                  </a:lnTo>
                  <a:lnTo>
                    <a:pt x="532" y="1008"/>
                  </a:lnTo>
                  <a:close/>
                  <a:moveTo>
                    <a:pt x="423" y="1004"/>
                  </a:moveTo>
                  <a:lnTo>
                    <a:pt x="423" y="1004"/>
                  </a:lnTo>
                  <a:lnTo>
                    <a:pt x="423" y="992"/>
                  </a:lnTo>
                  <a:lnTo>
                    <a:pt x="435" y="1004"/>
                  </a:lnTo>
                  <a:lnTo>
                    <a:pt x="423" y="1004"/>
                  </a:lnTo>
                  <a:lnTo>
                    <a:pt x="423" y="1004"/>
                  </a:lnTo>
                  <a:lnTo>
                    <a:pt x="423" y="1004"/>
                  </a:lnTo>
                  <a:close/>
                  <a:moveTo>
                    <a:pt x="418" y="1029"/>
                  </a:moveTo>
                  <a:lnTo>
                    <a:pt x="402" y="1046"/>
                  </a:lnTo>
                  <a:lnTo>
                    <a:pt x="418" y="1025"/>
                  </a:lnTo>
                  <a:lnTo>
                    <a:pt x="418" y="1029"/>
                  </a:lnTo>
                  <a:lnTo>
                    <a:pt x="418" y="1029"/>
                  </a:lnTo>
                  <a:lnTo>
                    <a:pt x="418" y="1029"/>
                  </a:lnTo>
                  <a:close/>
                  <a:moveTo>
                    <a:pt x="385" y="1058"/>
                  </a:moveTo>
                  <a:lnTo>
                    <a:pt x="385" y="1065"/>
                  </a:lnTo>
                  <a:lnTo>
                    <a:pt x="385" y="1065"/>
                  </a:lnTo>
                  <a:lnTo>
                    <a:pt x="380" y="1070"/>
                  </a:lnTo>
                  <a:lnTo>
                    <a:pt x="380" y="1065"/>
                  </a:lnTo>
                  <a:lnTo>
                    <a:pt x="385" y="1046"/>
                  </a:lnTo>
                  <a:lnTo>
                    <a:pt x="385" y="1058"/>
                  </a:lnTo>
                  <a:lnTo>
                    <a:pt x="385" y="1058"/>
                  </a:lnTo>
                  <a:lnTo>
                    <a:pt x="385" y="1058"/>
                  </a:lnTo>
                  <a:close/>
                  <a:moveTo>
                    <a:pt x="359" y="1081"/>
                  </a:moveTo>
                  <a:lnTo>
                    <a:pt x="359" y="1081"/>
                  </a:lnTo>
                  <a:lnTo>
                    <a:pt x="364" y="1081"/>
                  </a:lnTo>
                  <a:lnTo>
                    <a:pt x="369" y="1086"/>
                  </a:lnTo>
                  <a:lnTo>
                    <a:pt x="347" y="1086"/>
                  </a:lnTo>
                  <a:lnTo>
                    <a:pt x="359" y="1081"/>
                  </a:lnTo>
                  <a:lnTo>
                    <a:pt x="359" y="1081"/>
                  </a:lnTo>
                  <a:lnTo>
                    <a:pt x="359" y="1081"/>
                  </a:lnTo>
                  <a:close/>
                  <a:moveTo>
                    <a:pt x="451" y="1124"/>
                  </a:moveTo>
                  <a:lnTo>
                    <a:pt x="451" y="1103"/>
                  </a:lnTo>
                  <a:lnTo>
                    <a:pt x="456" y="1098"/>
                  </a:lnTo>
                  <a:lnTo>
                    <a:pt x="465" y="1115"/>
                  </a:lnTo>
                  <a:lnTo>
                    <a:pt x="451" y="1124"/>
                  </a:lnTo>
                  <a:lnTo>
                    <a:pt x="451" y="1124"/>
                  </a:lnTo>
                  <a:lnTo>
                    <a:pt x="451" y="1124"/>
                  </a:lnTo>
                  <a:close/>
                  <a:moveTo>
                    <a:pt x="465" y="1103"/>
                  </a:moveTo>
                  <a:lnTo>
                    <a:pt x="477" y="1098"/>
                  </a:lnTo>
                  <a:lnTo>
                    <a:pt x="472" y="1115"/>
                  </a:lnTo>
                  <a:lnTo>
                    <a:pt x="465" y="1103"/>
                  </a:lnTo>
                  <a:lnTo>
                    <a:pt x="465" y="1103"/>
                  </a:lnTo>
                  <a:lnTo>
                    <a:pt x="465" y="1103"/>
                  </a:lnTo>
                  <a:close/>
                  <a:moveTo>
                    <a:pt x="456" y="1124"/>
                  </a:moveTo>
                  <a:lnTo>
                    <a:pt x="465" y="1124"/>
                  </a:lnTo>
                  <a:lnTo>
                    <a:pt x="456" y="1124"/>
                  </a:lnTo>
                  <a:lnTo>
                    <a:pt x="456" y="1124"/>
                  </a:lnTo>
                  <a:lnTo>
                    <a:pt x="456" y="1124"/>
                  </a:lnTo>
                  <a:lnTo>
                    <a:pt x="456" y="1124"/>
                  </a:lnTo>
                  <a:close/>
                  <a:moveTo>
                    <a:pt x="423" y="1169"/>
                  </a:moveTo>
                  <a:lnTo>
                    <a:pt x="435" y="1157"/>
                  </a:lnTo>
                  <a:lnTo>
                    <a:pt x="423" y="1169"/>
                  </a:lnTo>
                  <a:lnTo>
                    <a:pt x="423" y="1169"/>
                  </a:lnTo>
                  <a:lnTo>
                    <a:pt x="423" y="1169"/>
                  </a:lnTo>
                  <a:lnTo>
                    <a:pt x="423" y="1169"/>
                  </a:lnTo>
                  <a:close/>
                  <a:moveTo>
                    <a:pt x="527" y="1230"/>
                  </a:moveTo>
                  <a:lnTo>
                    <a:pt x="520" y="1268"/>
                  </a:lnTo>
                  <a:lnTo>
                    <a:pt x="510" y="1268"/>
                  </a:lnTo>
                  <a:lnTo>
                    <a:pt x="510" y="1247"/>
                  </a:lnTo>
                  <a:lnTo>
                    <a:pt x="527" y="1230"/>
                  </a:lnTo>
                  <a:lnTo>
                    <a:pt x="527" y="1230"/>
                  </a:lnTo>
                  <a:lnTo>
                    <a:pt x="527" y="1230"/>
                  </a:lnTo>
                  <a:close/>
                  <a:moveTo>
                    <a:pt x="489" y="1263"/>
                  </a:moveTo>
                  <a:lnTo>
                    <a:pt x="494" y="1268"/>
                  </a:lnTo>
                  <a:lnTo>
                    <a:pt x="489" y="1280"/>
                  </a:lnTo>
                  <a:lnTo>
                    <a:pt x="477" y="1280"/>
                  </a:lnTo>
                  <a:lnTo>
                    <a:pt x="472" y="1268"/>
                  </a:lnTo>
                  <a:lnTo>
                    <a:pt x="489" y="1263"/>
                  </a:lnTo>
                  <a:lnTo>
                    <a:pt x="489" y="1263"/>
                  </a:lnTo>
                  <a:lnTo>
                    <a:pt x="489" y="1263"/>
                  </a:lnTo>
                  <a:close/>
                  <a:moveTo>
                    <a:pt x="423" y="1412"/>
                  </a:moveTo>
                  <a:lnTo>
                    <a:pt x="423" y="1419"/>
                  </a:lnTo>
                  <a:lnTo>
                    <a:pt x="402" y="1445"/>
                  </a:lnTo>
                  <a:lnTo>
                    <a:pt x="385" y="1436"/>
                  </a:lnTo>
                  <a:lnTo>
                    <a:pt x="423" y="1412"/>
                  </a:lnTo>
                  <a:lnTo>
                    <a:pt x="423" y="1412"/>
                  </a:lnTo>
                  <a:lnTo>
                    <a:pt x="423" y="1412"/>
                  </a:lnTo>
                  <a:close/>
                  <a:moveTo>
                    <a:pt x="397" y="1436"/>
                  </a:moveTo>
                  <a:lnTo>
                    <a:pt x="402" y="1445"/>
                  </a:lnTo>
                  <a:lnTo>
                    <a:pt x="397" y="1445"/>
                  </a:lnTo>
                  <a:lnTo>
                    <a:pt x="397" y="1436"/>
                  </a:lnTo>
                  <a:lnTo>
                    <a:pt x="397" y="1436"/>
                  </a:lnTo>
                  <a:lnTo>
                    <a:pt x="397" y="1436"/>
                  </a:lnTo>
                  <a:close/>
                  <a:moveTo>
                    <a:pt x="369" y="1457"/>
                  </a:moveTo>
                  <a:lnTo>
                    <a:pt x="380" y="1474"/>
                  </a:lnTo>
                  <a:lnTo>
                    <a:pt x="369" y="1485"/>
                  </a:lnTo>
                  <a:lnTo>
                    <a:pt x="369" y="1469"/>
                  </a:lnTo>
                  <a:lnTo>
                    <a:pt x="369" y="1457"/>
                  </a:lnTo>
                  <a:lnTo>
                    <a:pt x="369" y="1457"/>
                  </a:lnTo>
                  <a:lnTo>
                    <a:pt x="369" y="1457"/>
                  </a:lnTo>
                  <a:close/>
                  <a:moveTo>
                    <a:pt x="347" y="1502"/>
                  </a:moveTo>
                  <a:lnTo>
                    <a:pt x="359" y="1502"/>
                  </a:lnTo>
                  <a:lnTo>
                    <a:pt x="347" y="1507"/>
                  </a:lnTo>
                  <a:lnTo>
                    <a:pt x="347" y="1502"/>
                  </a:lnTo>
                  <a:lnTo>
                    <a:pt x="347" y="1502"/>
                  </a:lnTo>
                  <a:lnTo>
                    <a:pt x="347" y="1502"/>
                  </a:lnTo>
                  <a:close/>
                  <a:moveTo>
                    <a:pt x="326" y="1547"/>
                  </a:moveTo>
                  <a:lnTo>
                    <a:pt x="331" y="1547"/>
                  </a:lnTo>
                  <a:lnTo>
                    <a:pt x="326" y="1556"/>
                  </a:lnTo>
                  <a:lnTo>
                    <a:pt x="293" y="1580"/>
                  </a:lnTo>
                  <a:lnTo>
                    <a:pt x="293" y="1596"/>
                  </a:lnTo>
                  <a:lnTo>
                    <a:pt x="288" y="1601"/>
                  </a:lnTo>
                  <a:lnTo>
                    <a:pt x="288" y="1580"/>
                  </a:lnTo>
                  <a:lnTo>
                    <a:pt x="305" y="1568"/>
                  </a:lnTo>
                  <a:lnTo>
                    <a:pt x="305" y="1556"/>
                  </a:lnTo>
                  <a:lnTo>
                    <a:pt x="309" y="1563"/>
                  </a:lnTo>
                  <a:lnTo>
                    <a:pt x="326" y="1547"/>
                  </a:lnTo>
                  <a:lnTo>
                    <a:pt x="326" y="1547"/>
                  </a:lnTo>
                  <a:lnTo>
                    <a:pt x="326" y="1547"/>
                  </a:lnTo>
                  <a:close/>
                  <a:moveTo>
                    <a:pt x="217" y="1580"/>
                  </a:moveTo>
                  <a:lnTo>
                    <a:pt x="222" y="1585"/>
                  </a:lnTo>
                  <a:lnTo>
                    <a:pt x="217" y="1580"/>
                  </a:lnTo>
                  <a:lnTo>
                    <a:pt x="217" y="1580"/>
                  </a:lnTo>
                  <a:lnTo>
                    <a:pt x="217" y="1580"/>
                  </a:lnTo>
                  <a:lnTo>
                    <a:pt x="217" y="1580"/>
                  </a:lnTo>
                  <a:close/>
                  <a:moveTo>
                    <a:pt x="116" y="1696"/>
                  </a:moveTo>
                  <a:lnTo>
                    <a:pt x="125" y="1707"/>
                  </a:lnTo>
                  <a:lnTo>
                    <a:pt x="116" y="1707"/>
                  </a:lnTo>
                  <a:lnTo>
                    <a:pt x="116" y="1696"/>
                  </a:lnTo>
                  <a:lnTo>
                    <a:pt x="116" y="1696"/>
                  </a:lnTo>
                  <a:lnTo>
                    <a:pt x="116" y="1696"/>
                  </a:lnTo>
                  <a:close/>
                  <a:moveTo>
                    <a:pt x="33" y="1729"/>
                  </a:moveTo>
                  <a:lnTo>
                    <a:pt x="40" y="1729"/>
                  </a:lnTo>
                  <a:lnTo>
                    <a:pt x="45" y="1724"/>
                  </a:lnTo>
                  <a:lnTo>
                    <a:pt x="40" y="1736"/>
                  </a:lnTo>
                  <a:lnTo>
                    <a:pt x="33" y="1736"/>
                  </a:lnTo>
                  <a:lnTo>
                    <a:pt x="33" y="1729"/>
                  </a:lnTo>
                  <a:lnTo>
                    <a:pt x="33" y="1729"/>
                  </a:lnTo>
                  <a:lnTo>
                    <a:pt x="33" y="1729"/>
                  </a:lnTo>
                  <a:close/>
                  <a:moveTo>
                    <a:pt x="7" y="1729"/>
                  </a:moveTo>
                  <a:lnTo>
                    <a:pt x="24" y="1736"/>
                  </a:lnTo>
                  <a:lnTo>
                    <a:pt x="17" y="1745"/>
                  </a:lnTo>
                  <a:lnTo>
                    <a:pt x="0" y="1736"/>
                  </a:lnTo>
                  <a:lnTo>
                    <a:pt x="7" y="1729"/>
                  </a:lnTo>
                  <a:lnTo>
                    <a:pt x="7" y="1729"/>
                  </a:lnTo>
                  <a:lnTo>
                    <a:pt x="7" y="1729"/>
                  </a:lnTo>
                  <a:close/>
                </a:path>
              </a:pathLst>
            </a:custGeom>
            <a:pattFill prst="lt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9" name="Freeform 477">
              <a:extLst>
                <a:ext uri="{FF2B5EF4-FFF2-40B4-BE49-F238E27FC236}">
                  <a16:creationId xmlns:a16="http://schemas.microsoft.com/office/drawing/2014/main" id="{A1009BF1-5C15-4C54-B4DC-A1BDECFF0281}"/>
                </a:ext>
              </a:extLst>
            </p:cNvPr>
            <p:cNvSpPr>
              <a:spLocks/>
            </p:cNvSpPr>
            <p:nvPr/>
          </p:nvSpPr>
          <p:spPr bwMode="gray">
            <a:xfrm>
              <a:off x="5697914" y="2689263"/>
              <a:ext cx="7918" cy="4949"/>
            </a:xfrm>
            <a:custGeom>
              <a:avLst/>
              <a:gdLst>
                <a:gd name="T0" fmla="*/ 9 w 16"/>
                <a:gd name="T1" fmla="*/ 10 h 10"/>
                <a:gd name="T2" fmla="*/ 0 w 16"/>
                <a:gd name="T3" fmla="*/ 0 h 10"/>
                <a:gd name="T4" fmla="*/ 16 w 16"/>
                <a:gd name="T5" fmla="*/ 0 h 10"/>
                <a:gd name="T6" fmla="*/ 9 w 16"/>
                <a:gd name="T7" fmla="*/ 10 h 10"/>
                <a:gd name="T8" fmla="*/ 9 w 16"/>
                <a:gd name="T9" fmla="*/ 10 h 10"/>
                <a:gd name="T10" fmla="*/ 9 w 16"/>
                <a:gd name="T11" fmla="*/ 10 h 10"/>
              </a:gdLst>
              <a:ahLst/>
              <a:cxnLst>
                <a:cxn ang="0">
                  <a:pos x="T0" y="T1"/>
                </a:cxn>
                <a:cxn ang="0">
                  <a:pos x="T2" y="T3"/>
                </a:cxn>
                <a:cxn ang="0">
                  <a:pos x="T4" y="T5"/>
                </a:cxn>
                <a:cxn ang="0">
                  <a:pos x="T6" y="T7"/>
                </a:cxn>
                <a:cxn ang="0">
                  <a:pos x="T8" y="T9"/>
                </a:cxn>
                <a:cxn ang="0">
                  <a:pos x="T10" y="T11"/>
                </a:cxn>
              </a:cxnLst>
              <a:rect l="0" t="0" r="r" b="b"/>
              <a:pathLst>
                <a:path w="16" h="10">
                  <a:moveTo>
                    <a:pt x="9" y="10"/>
                  </a:moveTo>
                  <a:lnTo>
                    <a:pt x="0" y="0"/>
                  </a:lnTo>
                  <a:lnTo>
                    <a:pt x="16" y="0"/>
                  </a:lnTo>
                  <a:lnTo>
                    <a:pt x="9" y="10"/>
                  </a:lnTo>
                  <a:lnTo>
                    <a:pt x="9" y="10"/>
                  </a:lnTo>
                  <a:lnTo>
                    <a:pt x="9" y="10"/>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1" name="Freeform 479">
              <a:extLst>
                <a:ext uri="{FF2B5EF4-FFF2-40B4-BE49-F238E27FC236}">
                  <a16:creationId xmlns:a16="http://schemas.microsoft.com/office/drawing/2014/main" id="{4964B867-7423-4478-9B45-AF5BFC5D6567}"/>
                </a:ext>
              </a:extLst>
            </p:cNvPr>
            <p:cNvSpPr>
              <a:spLocks/>
            </p:cNvSpPr>
            <p:nvPr/>
          </p:nvSpPr>
          <p:spPr bwMode="gray">
            <a:xfrm>
              <a:off x="5456908" y="1502910"/>
              <a:ext cx="43549" cy="23262"/>
            </a:xfrm>
            <a:custGeom>
              <a:avLst/>
              <a:gdLst>
                <a:gd name="T0" fmla="*/ 12 w 88"/>
                <a:gd name="T1" fmla="*/ 47 h 47"/>
                <a:gd name="T2" fmla="*/ 0 w 88"/>
                <a:gd name="T3" fmla="*/ 35 h 47"/>
                <a:gd name="T4" fmla="*/ 50 w 88"/>
                <a:gd name="T5" fmla="*/ 14 h 47"/>
                <a:gd name="T6" fmla="*/ 55 w 88"/>
                <a:gd name="T7" fmla="*/ 0 h 47"/>
                <a:gd name="T8" fmla="*/ 88 w 88"/>
                <a:gd name="T9" fmla="*/ 0 h 47"/>
                <a:gd name="T10" fmla="*/ 76 w 88"/>
                <a:gd name="T11" fmla="*/ 14 h 47"/>
                <a:gd name="T12" fmla="*/ 38 w 88"/>
                <a:gd name="T13" fmla="*/ 21 h 47"/>
                <a:gd name="T14" fmla="*/ 12 w 88"/>
                <a:gd name="T15" fmla="*/ 47 h 47"/>
                <a:gd name="T16" fmla="*/ 12 w 88"/>
                <a:gd name="T17" fmla="*/ 47 h 47"/>
                <a:gd name="T18" fmla="*/ 12 w 88"/>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47">
                  <a:moveTo>
                    <a:pt x="12" y="47"/>
                  </a:moveTo>
                  <a:lnTo>
                    <a:pt x="0" y="35"/>
                  </a:lnTo>
                  <a:lnTo>
                    <a:pt x="50" y="14"/>
                  </a:lnTo>
                  <a:lnTo>
                    <a:pt x="55" y="0"/>
                  </a:lnTo>
                  <a:lnTo>
                    <a:pt x="88" y="0"/>
                  </a:lnTo>
                  <a:lnTo>
                    <a:pt x="76" y="14"/>
                  </a:lnTo>
                  <a:lnTo>
                    <a:pt x="38" y="21"/>
                  </a:lnTo>
                  <a:lnTo>
                    <a:pt x="12" y="47"/>
                  </a:lnTo>
                  <a:lnTo>
                    <a:pt x="12" y="47"/>
                  </a:lnTo>
                  <a:lnTo>
                    <a:pt x="12" y="47"/>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2" name="Freeform 480">
              <a:extLst>
                <a:ext uri="{FF2B5EF4-FFF2-40B4-BE49-F238E27FC236}">
                  <a16:creationId xmlns:a16="http://schemas.microsoft.com/office/drawing/2014/main" id="{D582A9F0-2D17-4AFB-B797-042803AA1D27}"/>
                </a:ext>
              </a:extLst>
            </p:cNvPr>
            <p:cNvSpPr>
              <a:spLocks/>
            </p:cNvSpPr>
            <p:nvPr/>
          </p:nvSpPr>
          <p:spPr bwMode="gray">
            <a:xfrm>
              <a:off x="6988552" y="3367319"/>
              <a:ext cx="148463" cy="166298"/>
            </a:xfrm>
            <a:custGeom>
              <a:avLst/>
              <a:gdLst>
                <a:gd name="T0" fmla="*/ 38 w 300"/>
                <a:gd name="T1" fmla="*/ 152 h 336"/>
                <a:gd name="T2" fmla="*/ 38 w 300"/>
                <a:gd name="T3" fmla="*/ 90 h 336"/>
                <a:gd name="T4" fmla="*/ 38 w 300"/>
                <a:gd name="T5" fmla="*/ 83 h 336"/>
                <a:gd name="T6" fmla="*/ 38 w 300"/>
                <a:gd name="T7" fmla="*/ 55 h 336"/>
                <a:gd name="T8" fmla="*/ 49 w 300"/>
                <a:gd name="T9" fmla="*/ 55 h 336"/>
                <a:gd name="T10" fmla="*/ 71 w 300"/>
                <a:gd name="T11" fmla="*/ 50 h 336"/>
                <a:gd name="T12" fmla="*/ 75 w 300"/>
                <a:gd name="T13" fmla="*/ 67 h 336"/>
                <a:gd name="T14" fmla="*/ 101 w 300"/>
                <a:gd name="T15" fmla="*/ 83 h 336"/>
                <a:gd name="T16" fmla="*/ 130 w 300"/>
                <a:gd name="T17" fmla="*/ 83 h 336"/>
                <a:gd name="T18" fmla="*/ 269 w 300"/>
                <a:gd name="T19" fmla="*/ 0 h 336"/>
                <a:gd name="T20" fmla="*/ 283 w 300"/>
                <a:gd name="T21" fmla="*/ 67 h 336"/>
                <a:gd name="T22" fmla="*/ 279 w 300"/>
                <a:gd name="T23" fmla="*/ 74 h 336"/>
                <a:gd name="T24" fmla="*/ 283 w 300"/>
                <a:gd name="T25" fmla="*/ 83 h 336"/>
                <a:gd name="T26" fmla="*/ 300 w 300"/>
                <a:gd name="T27" fmla="*/ 83 h 336"/>
                <a:gd name="T28" fmla="*/ 300 w 300"/>
                <a:gd name="T29" fmla="*/ 90 h 336"/>
                <a:gd name="T30" fmla="*/ 290 w 300"/>
                <a:gd name="T31" fmla="*/ 95 h 336"/>
                <a:gd name="T32" fmla="*/ 283 w 300"/>
                <a:gd name="T33" fmla="*/ 107 h 336"/>
                <a:gd name="T34" fmla="*/ 139 w 300"/>
                <a:gd name="T35" fmla="*/ 145 h 336"/>
                <a:gd name="T36" fmla="*/ 210 w 300"/>
                <a:gd name="T37" fmla="*/ 234 h 336"/>
                <a:gd name="T38" fmla="*/ 182 w 300"/>
                <a:gd name="T39" fmla="*/ 239 h 336"/>
                <a:gd name="T40" fmla="*/ 177 w 300"/>
                <a:gd name="T41" fmla="*/ 274 h 336"/>
                <a:gd name="T42" fmla="*/ 123 w 300"/>
                <a:gd name="T43" fmla="*/ 279 h 336"/>
                <a:gd name="T44" fmla="*/ 108 w 300"/>
                <a:gd name="T45" fmla="*/ 312 h 336"/>
                <a:gd name="T46" fmla="*/ 75 w 300"/>
                <a:gd name="T47" fmla="*/ 336 h 336"/>
                <a:gd name="T48" fmla="*/ 0 w 300"/>
                <a:gd name="T49" fmla="*/ 317 h 336"/>
                <a:gd name="T50" fmla="*/ 0 w 300"/>
                <a:gd name="T51" fmla="*/ 308 h 336"/>
                <a:gd name="T52" fmla="*/ 16 w 300"/>
                <a:gd name="T53" fmla="*/ 256 h 336"/>
                <a:gd name="T54" fmla="*/ 16 w 300"/>
                <a:gd name="T55" fmla="*/ 234 h 336"/>
                <a:gd name="T56" fmla="*/ 33 w 300"/>
                <a:gd name="T57" fmla="*/ 178 h 336"/>
                <a:gd name="T58" fmla="*/ 33 w 300"/>
                <a:gd name="T59" fmla="*/ 168 h 336"/>
                <a:gd name="T60" fmla="*/ 38 w 300"/>
                <a:gd name="T61" fmla="*/ 152 h 336"/>
                <a:gd name="T62" fmla="*/ 38 w 300"/>
                <a:gd name="T63" fmla="*/ 152 h 336"/>
                <a:gd name="T64" fmla="*/ 38 w 300"/>
                <a:gd name="T65" fmla="*/ 15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336">
                  <a:moveTo>
                    <a:pt x="38" y="152"/>
                  </a:moveTo>
                  <a:lnTo>
                    <a:pt x="38" y="90"/>
                  </a:lnTo>
                  <a:lnTo>
                    <a:pt x="38" y="83"/>
                  </a:lnTo>
                  <a:lnTo>
                    <a:pt x="38" y="55"/>
                  </a:lnTo>
                  <a:lnTo>
                    <a:pt x="49" y="55"/>
                  </a:lnTo>
                  <a:lnTo>
                    <a:pt x="71" y="50"/>
                  </a:lnTo>
                  <a:lnTo>
                    <a:pt x="75" y="67"/>
                  </a:lnTo>
                  <a:lnTo>
                    <a:pt x="101" y="83"/>
                  </a:lnTo>
                  <a:lnTo>
                    <a:pt x="130" y="83"/>
                  </a:lnTo>
                  <a:lnTo>
                    <a:pt x="269" y="0"/>
                  </a:lnTo>
                  <a:lnTo>
                    <a:pt x="283" y="67"/>
                  </a:lnTo>
                  <a:lnTo>
                    <a:pt x="279" y="74"/>
                  </a:lnTo>
                  <a:lnTo>
                    <a:pt x="283" y="83"/>
                  </a:lnTo>
                  <a:lnTo>
                    <a:pt x="300" y="83"/>
                  </a:lnTo>
                  <a:lnTo>
                    <a:pt x="300" y="90"/>
                  </a:lnTo>
                  <a:lnTo>
                    <a:pt x="290" y="95"/>
                  </a:lnTo>
                  <a:lnTo>
                    <a:pt x="283" y="107"/>
                  </a:lnTo>
                  <a:lnTo>
                    <a:pt x="139" y="145"/>
                  </a:lnTo>
                  <a:lnTo>
                    <a:pt x="210" y="234"/>
                  </a:lnTo>
                  <a:lnTo>
                    <a:pt x="182" y="239"/>
                  </a:lnTo>
                  <a:lnTo>
                    <a:pt x="177" y="274"/>
                  </a:lnTo>
                  <a:lnTo>
                    <a:pt x="123" y="279"/>
                  </a:lnTo>
                  <a:lnTo>
                    <a:pt x="108" y="312"/>
                  </a:lnTo>
                  <a:lnTo>
                    <a:pt x="75" y="336"/>
                  </a:lnTo>
                  <a:lnTo>
                    <a:pt x="0" y="317"/>
                  </a:lnTo>
                  <a:lnTo>
                    <a:pt x="0" y="308"/>
                  </a:lnTo>
                  <a:lnTo>
                    <a:pt x="16" y="256"/>
                  </a:lnTo>
                  <a:lnTo>
                    <a:pt x="16" y="234"/>
                  </a:lnTo>
                  <a:lnTo>
                    <a:pt x="33" y="178"/>
                  </a:lnTo>
                  <a:lnTo>
                    <a:pt x="33" y="168"/>
                  </a:lnTo>
                  <a:lnTo>
                    <a:pt x="38" y="152"/>
                  </a:lnTo>
                  <a:lnTo>
                    <a:pt x="38" y="152"/>
                  </a:lnTo>
                  <a:lnTo>
                    <a:pt x="38" y="152"/>
                  </a:lnTo>
                  <a:close/>
                </a:path>
              </a:pathLst>
            </a:custGeom>
            <a:pattFill prst="lt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3" name="Freeform 481">
              <a:extLst>
                <a:ext uri="{FF2B5EF4-FFF2-40B4-BE49-F238E27FC236}">
                  <a16:creationId xmlns:a16="http://schemas.microsoft.com/office/drawing/2014/main" id="{50FDB84C-907F-4108-87D0-87CFE65B9D86}"/>
                </a:ext>
              </a:extLst>
            </p:cNvPr>
            <p:cNvSpPr>
              <a:spLocks noEditPoints="1"/>
            </p:cNvSpPr>
            <p:nvPr/>
          </p:nvSpPr>
          <p:spPr bwMode="gray">
            <a:xfrm>
              <a:off x="6949952" y="4437362"/>
              <a:ext cx="278121" cy="334079"/>
            </a:xfrm>
            <a:custGeom>
              <a:avLst/>
              <a:gdLst>
                <a:gd name="T0" fmla="*/ 0 w 562"/>
                <a:gd name="T1" fmla="*/ 408 h 675"/>
                <a:gd name="T2" fmla="*/ 7 w 562"/>
                <a:gd name="T3" fmla="*/ 347 h 675"/>
                <a:gd name="T4" fmla="*/ 0 w 562"/>
                <a:gd name="T5" fmla="*/ 331 h 675"/>
                <a:gd name="T6" fmla="*/ 23 w 562"/>
                <a:gd name="T7" fmla="*/ 290 h 675"/>
                <a:gd name="T8" fmla="*/ 38 w 562"/>
                <a:gd name="T9" fmla="*/ 274 h 675"/>
                <a:gd name="T10" fmla="*/ 45 w 562"/>
                <a:gd name="T11" fmla="*/ 253 h 675"/>
                <a:gd name="T12" fmla="*/ 71 w 562"/>
                <a:gd name="T13" fmla="*/ 241 h 675"/>
                <a:gd name="T14" fmla="*/ 61 w 562"/>
                <a:gd name="T15" fmla="*/ 234 h 675"/>
                <a:gd name="T16" fmla="*/ 75 w 562"/>
                <a:gd name="T17" fmla="*/ 212 h 675"/>
                <a:gd name="T18" fmla="*/ 75 w 562"/>
                <a:gd name="T19" fmla="*/ 196 h 675"/>
                <a:gd name="T20" fmla="*/ 71 w 562"/>
                <a:gd name="T21" fmla="*/ 156 h 675"/>
                <a:gd name="T22" fmla="*/ 61 w 562"/>
                <a:gd name="T23" fmla="*/ 130 h 675"/>
                <a:gd name="T24" fmla="*/ 45 w 562"/>
                <a:gd name="T25" fmla="*/ 123 h 675"/>
                <a:gd name="T26" fmla="*/ 38 w 562"/>
                <a:gd name="T27" fmla="*/ 90 h 675"/>
                <a:gd name="T28" fmla="*/ 38 w 562"/>
                <a:gd name="T29" fmla="*/ 68 h 675"/>
                <a:gd name="T30" fmla="*/ 23 w 562"/>
                <a:gd name="T31" fmla="*/ 57 h 675"/>
                <a:gd name="T32" fmla="*/ 7 w 562"/>
                <a:gd name="T33" fmla="*/ 28 h 675"/>
                <a:gd name="T34" fmla="*/ 38 w 562"/>
                <a:gd name="T35" fmla="*/ 0 h 675"/>
                <a:gd name="T36" fmla="*/ 146 w 562"/>
                <a:gd name="T37" fmla="*/ 0 h 675"/>
                <a:gd name="T38" fmla="*/ 153 w 562"/>
                <a:gd name="T39" fmla="*/ 12 h 675"/>
                <a:gd name="T40" fmla="*/ 222 w 562"/>
                <a:gd name="T41" fmla="*/ 19 h 675"/>
                <a:gd name="T42" fmla="*/ 305 w 562"/>
                <a:gd name="T43" fmla="*/ 73 h 675"/>
                <a:gd name="T44" fmla="*/ 326 w 562"/>
                <a:gd name="T45" fmla="*/ 73 h 675"/>
                <a:gd name="T46" fmla="*/ 394 w 562"/>
                <a:gd name="T47" fmla="*/ 90 h 675"/>
                <a:gd name="T48" fmla="*/ 418 w 562"/>
                <a:gd name="T49" fmla="*/ 52 h 675"/>
                <a:gd name="T50" fmla="*/ 486 w 562"/>
                <a:gd name="T51" fmla="*/ 28 h 675"/>
                <a:gd name="T52" fmla="*/ 510 w 562"/>
                <a:gd name="T53" fmla="*/ 52 h 675"/>
                <a:gd name="T54" fmla="*/ 562 w 562"/>
                <a:gd name="T55" fmla="*/ 45 h 675"/>
                <a:gd name="T56" fmla="*/ 524 w 562"/>
                <a:gd name="T57" fmla="*/ 106 h 675"/>
                <a:gd name="T58" fmla="*/ 503 w 562"/>
                <a:gd name="T59" fmla="*/ 130 h 675"/>
                <a:gd name="T60" fmla="*/ 503 w 562"/>
                <a:gd name="T61" fmla="*/ 401 h 675"/>
                <a:gd name="T62" fmla="*/ 541 w 562"/>
                <a:gd name="T63" fmla="*/ 458 h 675"/>
                <a:gd name="T64" fmla="*/ 524 w 562"/>
                <a:gd name="T65" fmla="*/ 475 h 675"/>
                <a:gd name="T66" fmla="*/ 494 w 562"/>
                <a:gd name="T67" fmla="*/ 479 h 675"/>
                <a:gd name="T68" fmla="*/ 494 w 562"/>
                <a:gd name="T69" fmla="*/ 508 h 675"/>
                <a:gd name="T70" fmla="*/ 486 w 562"/>
                <a:gd name="T71" fmla="*/ 496 h 675"/>
                <a:gd name="T72" fmla="*/ 486 w 562"/>
                <a:gd name="T73" fmla="*/ 508 h 675"/>
                <a:gd name="T74" fmla="*/ 472 w 562"/>
                <a:gd name="T75" fmla="*/ 520 h 675"/>
                <a:gd name="T76" fmla="*/ 465 w 562"/>
                <a:gd name="T77" fmla="*/ 520 h 675"/>
                <a:gd name="T78" fmla="*/ 449 w 562"/>
                <a:gd name="T79" fmla="*/ 529 h 675"/>
                <a:gd name="T80" fmla="*/ 439 w 562"/>
                <a:gd name="T81" fmla="*/ 569 h 675"/>
                <a:gd name="T82" fmla="*/ 423 w 562"/>
                <a:gd name="T83" fmla="*/ 574 h 675"/>
                <a:gd name="T84" fmla="*/ 385 w 562"/>
                <a:gd name="T85" fmla="*/ 675 h 675"/>
                <a:gd name="T86" fmla="*/ 368 w 562"/>
                <a:gd name="T87" fmla="*/ 675 h 675"/>
                <a:gd name="T88" fmla="*/ 260 w 562"/>
                <a:gd name="T89" fmla="*/ 586 h 675"/>
                <a:gd name="T90" fmla="*/ 271 w 562"/>
                <a:gd name="T91" fmla="*/ 574 h 675"/>
                <a:gd name="T92" fmla="*/ 260 w 562"/>
                <a:gd name="T93" fmla="*/ 553 h 675"/>
                <a:gd name="T94" fmla="*/ 0 w 562"/>
                <a:gd name="T95" fmla="*/ 408 h 675"/>
                <a:gd name="T96" fmla="*/ 0 w 562"/>
                <a:gd name="T97" fmla="*/ 408 h 675"/>
                <a:gd name="T98" fmla="*/ 0 w 562"/>
                <a:gd name="T99" fmla="*/ 408 h 675"/>
                <a:gd name="T100" fmla="*/ 503 w 562"/>
                <a:gd name="T101" fmla="*/ 496 h 675"/>
                <a:gd name="T102" fmla="*/ 503 w 562"/>
                <a:gd name="T103" fmla="*/ 491 h 675"/>
                <a:gd name="T104" fmla="*/ 510 w 562"/>
                <a:gd name="T105" fmla="*/ 491 h 675"/>
                <a:gd name="T106" fmla="*/ 503 w 562"/>
                <a:gd name="T107" fmla="*/ 496 h 675"/>
                <a:gd name="T108" fmla="*/ 503 w 562"/>
                <a:gd name="T109" fmla="*/ 496 h 675"/>
                <a:gd name="T110" fmla="*/ 503 w 562"/>
                <a:gd name="T111" fmla="*/ 496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2" h="675">
                  <a:moveTo>
                    <a:pt x="0" y="408"/>
                  </a:moveTo>
                  <a:lnTo>
                    <a:pt x="7" y="347"/>
                  </a:lnTo>
                  <a:lnTo>
                    <a:pt x="0" y="331"/>
                  </a:lnTo>
                  <a:lnTo>
                    <a:pt x="23" y="290"/>
                  </a:lnTo>
                  <a:lnTo>
                    <a:pt x="38" y="274"/>
                  </a:lnTo>
                  <a:lnTo>
                    <a:pt x="45" y="253"/>
                  </a:lnTo>
                  <a:lnTo>
                    <a:pt x="71" y="241"/>
                  </a:lnTo>
                  <a:lnTo>
                    <a:pt x="61" y="234"/>
                  </a:lnTo>
                  <a:lnTo>
                    <a:pt x="75" y="212"/>
                  </a:lnTo>
                  <a:lnTo>
                    <a:pt x="75" y="196"/>
                  </a:lnTo>
                  <a:lnTo>
                    <a:pt x="71" y="156"/>
                  </a:lnTo>
                  <a:lnTo>
                    <a:pt x="61" y="130"/>
                  </a:lnTo>
                  <a:lnTo>
                    <a:pt x="45" y="123"/>
                  </a:lnTo>
                  <a:lnTo>
                    <a:pt x="38" y="90"/>
                  </a:lnTo>
                  <a:lnTo>
                    <a:pt x="38" y="68"/>
                  </a:lnTo>
                  <a:lnTo>
                    <a:pt x="23" y="57"/>
                  </a:lnTo>
                  <a:lnTo>
                    <a:pt x="7" y="28"/>
                  </a:lnTo>
                  <a:lnTo>
                    <a:pt x="38" y="0"/>
                  </a:lnTo>
                  <a:lnTo>
                    <a:pt x="146" y="0"/>
                  </a:lnTo>
                  <a:lnTo>
                    <a:pt x="153" y="12"/>
                  </a:lnTo>
                  <a:lnTo>
                    <a:pt x="222" y="19"/>
                  </a:lnTo>
                  <a:lnTo>
                    <a:pt x="305" y="73"/>
                  </a:lnTo>
                  <a:lnTo>
                    <a:pt x="326" y="73"/>
                  </a:lnTo>
                  <a:lnTo>
                    <a:pt x="394" y="90"/>
                  </a:lnTo>
                  <a:lnTo>
                    <a:pt x="418" y="52"/>
                  </a:lnTo>
                  <a:lnTo>
                    <a:pt x="486" y="28"/>
                  </a:lnTo>
                  <a:lnTo>
                    <a:pt x="510" y="52"/>
                  </a:lnTo>
                  <a:lnTo>
                    <a:pt x="562" y="45"/>
                  </a:lnTo>
                  <a:lnTo>
                    <a:pt x="524" y="106"/>
                  </a:lnTo>
                  <a:lnTo>
                    <a:pt x="503" y="130"/>
                  </a:lnTo>
                  <a:lnTo>
                    <a:pt x="503" y="401"/>
                  </a:lnTo>
                  <a:lnTo>
                    <a:pt x="541" y="458"/>
                  </a:lnTo>
                  <a:lnTo>
                    <a:pt x="524" y="475"/>
                  </a:lnTo>
                  <a:lnTo>
                    <a:pt x="494" y="479"/>
                  </a:lnTo>
                  <a:lnTo>
                    <a:pt x="494" y="508"/>
                  </a:lnTo>
                  <a:lnTo>
                    <a:pt x="486" y="496"/>
                  </a:lnTo>
                  <a:lnTo>
                    <a:pt x="486" y="508"/>
                  </a:lnTo>
                  <a:lnTo>
                    <a:pt x="472" y="520"/>
                  </a:lnTo>
                  <a:lnTo>
                    <a:pt x="465" y="520"/>
                  </a:lnTo>
                  <a:lnTo>
                    <a:pt x="449" y="529"/>
                  </a:lnTo>
                  <a:lnTo>
                    <a:pt x="439" y="569"/>
                  </a:lnTo>
                  <a:lnTo>
                    <a:pt x="423" y="574"/>
                  </a:lnTo>
                  <a:lnTo>
                    <a:pt x="385" y="675"/>
                  </a:lnTo>
                  <a:lnTo>
                    <a:pt x="368" y="675"/>
                  </a:lnTo>
                  <a:lnTo>
                    <a:pt x="260" y="586"/>
                  </a:lnTo>
                  <a:lnTo>
                    <a:pt x="271" y="574"/>
                  </a:lnTo>
                  <a:lnTo>
                    <a:pt x="260" y="553"/>
                  </a:lnTo>
                  <a:lnTo>
                    <a:pt x="0" y="408"/>
                  </a:lnTo>
                  <a:lnTo>
                    <a:pt x="0" y="408"/>
                  </a:lnTo>
                  <a:lnTo>
                    <a:pt x="0" y="408"/>
                  </a:lnTo>
                  <a:close/>
                  <a:moveTo>
                    <a:pt x="503" y="496"/>
                  </a:moveTo>
                  <a:lnTo>
                    <a:pt x="503" y="491"/>
                  </a:lnTo>
                  <a:lnTo>
                    <a:pt x="510" y="491"/>
                  </a:lnTo>
                  <a:lnTo>
                    <a:pt x="503" y="496"/>
                  </a:lnTo>
                  <a:lnTo>
                    <a:pt x="503" y="496"/>
                  </a:lnTo>
                  <a:lnTo>
                    <a:pt x="503" y="496"/>
                  </a:lnTo>
                  <a:close/>
                </a:path>
              </a:pathLst>
            </a:custGeom>
            <a:pattFill prst="dk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4" name="Freeform 482">
              <a:extLst>
                <a:ext uri="{FF2B5EF4-FFF2-40B4-BE49-F238E27FC236}">
                  <a16:creationId xmlns:a16="http://schemas.microsoft.com/office/drawing/2014/main" id="{E6D0D7A2-FCED-43B1-92ED-34B3C8D6060D}"/>
                </a:ext>
              </a:extLst>
            </p:cNvPr>
            <p:cNvSpPr>
              <a:spLocks/>
            </p:cNvSpPr>
            <p:nvPr/>
          </p:nvSpPr>
          <p:spPr bwMode="gray">
            <a:xfrm>
              <a:off x="8179721" y="2957020"/>
              <a:ext cx="378581" cy="172236"/>
            </a:xfrm>
            <a:custGeom>
              <a:avLst/>
              <a:gdLst>
                <a:gd name="T0" fmla="*/ 397 w 765"/>
                <a:gd name="T1" fmla="*/ 255 h 348"/>
                <a:gd name="T2" fmla="*/ 359 w 765"/>
                <a:gd name="T3" fmla="*/ 272 h 348"/>
                <a:gd name="T4" fmla="*/ 321 w 765"/>
                <a:gd name="T5" fmla="*/ 305 h 348"/>
                <a:gd name="T6" fmla="*/ 321 w 765"/>
                <a:gd name="T7" fmla="*/ 326 h 348"/>
                <a:gd name="T8" fmla="*/ 271 w 765"/>
                <a:gd name="T9" fmla="*/ 331 h 348"/>
                <a:gd name="T10" fmla="*/ 212 w 765"/>
                <a:gd name="T11" fmla="*/ 348 h 348"/>
                <a:gd name="T12" fmla="*/ 168 w 765"/>
                <a:gd name="T13" fmla="*/ 343 h 348"/>
                <a:gd name="T14" fmla="*/ 158 w 765"/>
                <a:gd name="T15" fmla="*/ 326 h 348"/>
                <a:gd name="T16" fmla="*/ 125 w 765"/>
                <a:gd name="T17" fmla="*/ 326 h 348"/>
                <a:gd name="T18" fmla="*/ 104 w 765"/>
                <a:gd name="T19" fmla="*/ 331 h 348"/>
                <a:gd name="T20" fmla="*/ 87 w 765"/>
                <a:gd name="T21" fmla="*/ 315 h 348"/>
                <a:gd name="T22" fmla="*/ 0 w 765"/>
                <a:gd name="T23" fmla="*/ 293 h 348"/>
                <a:gd name="T24" fmla="*/ 7 w 765"/>
                <a:gd name="T25" fmla="*/ 289 h 348"/>
                <a:gd name="T26" fmla="*/ 16 w 765"/>
                <a:gd name="T27" fmla="*/ 272 h 348"/>
                <a:gd name="T28" fmla="*/ 87 w 765"/>
                <a:gd name="T29" fmla="*/ 277 h 348"/>
                <a:gd name="T30" fmla="*/ 92 w 765"/>
                <a:gd name="T31" fmla="*/ 289 h 348"/>
                <a:gd name="T32" fmla="*/ 113 w 765"/>
                <a:gd name="T33" fmla="*/ 272 h 348"/>
                <a:gd name="T34" fmla="*/ 146 w 765"/>
                <a:gd name="T35" fmla="*/ 255 h 348"/>
                <a:gd name="T36" fmla="*/ 196 w 765"/>
                <a:gd name="T37" fmla="*/ 260 h 348"/>
                <a:gd name="T38" fmla="*/ 201 w 765"/>
                <a:gd name="T39" fmla="*/ 248 h 348"/>
                <a:gd name="T40" fmla="*/ 217 w 765"/>
                <a:gd name="T41" fmla="*/ 232 h 348"/>
                <a:gd name="T42" fmla="*/ 250 w 765"/>
                <a:gd name="T43" fmla="*/ 222 h 348"/>
                <a:gd name="T44" fmla="*/ 234 w 765"/>
                <a:gd name="T45" fmla="*/ 206 h 348"/>
                <a:gd name="T46" fmla="*/ 201 w 765"/>
                <a:gd name="T47" fmla="*/ 199 h 348"/>
                <a:gd name="T48" fmla="*/ 184 w 765"/>
                <a:gd name="T49" fmla="*/ 182 h 348"/>
                <a:gd name="T50" fmla="*/ 168 w 765"/>
                <a:gd name="T51" fmla="*/ 149 h 348"/>
                <a:gd name="T52" fmla="*/ 146 w 765"/>
                <a:gd name="T53" fmla="*/ 166 h 348"/>
                <a:gd name="T54" fmla="*/ 108 w 765"/>
                <a:gd name="T55" fmla="*/ 178 h 348"/>
                <a:gd name="T56" fmla="*/ 87 w 765"/>
                <a:gd name="T57" fmla="*/ 161 h 348"/>
                <a:gd name="T58" fmla="*/ 104 w 765"/>
                <a:gd name="T59" fmla="*/ 123 h 348"/>
                <a:gd name="T60" fmla="*/ 108 w 765"/>
                <a:gd name="T61" fmla="*/ 107 h 348"/>
                <a:gd name="T62" fmla="*/ 125 w 765"/>
                <a:gd name="T63" fmla="*/ 78 h 348"/>
                <a:gd name="T64" fmla="*/ 108 w 765"/>
                <a:gd name="T65" fmla="*/ 78 h 348"/>
                <a:gd name="T66" fmla="*/ 168 w 765"/>
                <a:gd name="T67" fmla="*/ 41 h 348"/>
                <a:gd name="T68" fmla="*/ 293 w 765"/>
                <a:gd name="T69" fmla="*/ 74 h 348"/>
                <a:gd name="T70" fmla="*/ 305 w 765"/>
                <a:gd name="T71" fmla="*/ 17 h 348"/>
                <a:gd name="T72" fmla="*/ 385 w 765"/>
                <a:gd name="T73" fmla="*/ 24 h 348"/>
                <a:gd name="T74" fmla="*/ 456 w 765"/>
                <a:gd name="T75" fmla="*/ 24 h 348"/>
                <a:gd name="T76" fmla="*/ 543 w 765"/>
                <a:gd name="T77" fmla="*/ 24 h 348"/>
                <a:gd name="T78" fmla="*/ 699 w 765"/>
                <a:gd name="T79" fmla="*/ 41 h 348"/>
                <a:gd name="T80" fmla="*/ 711 w 765"/>
                <a:gd name="T81" fmla="*/ 74 h 348"/>
                <a:gd name="T82" fmla="*/ 765 w 765"/>
                <a:gd name="T83" fmla="*/ 95 h 348"/>
                <a:gd name="T84" fmla="*/ 742 w 765"/>
                <a:gd name="T85" fmla="*/ 111 h 348"/>
                <a:gd name="T86" fmla="*/ 704 w 765"/>
                <a:gd name="T87" fmla="*/ 128 h 348"/>
                <a:gd name="T88" fmla="*/ 635 w 765"/>
                <a:gd name="T89" fmla="*/ 178 h 348"/>
                <a:gd name="T90" fmla="*/ 536 w 765"/>
                <a:gd name="T91" fmla="*/ 199 h 348"/>
                <a:gd name="T92" fmla="*/ 520 w 765"/>
                <a:gd name="T93" fmla="*/ 232 h 348"/>
                <a:gd name="T94" fmla="*/ 482 w 765"/>
                <a:gd name="T95" fmla="*/ 248 h 348"/>
                <a:gd name="T96" fmla="*/ 439 w 765"/>
                <a:gd name="T97" fmla="*/ 232 h 348"/>
                <a:gd name="T98" fmla="*/ 385 w 765"/>
                <a:gd name="T99" fmla="*/ 239 h 348"/>
                <a:gd name="T100" fmla="*/ 385 w 765"/>
                <a:gd name="T101" fmla="*/ 23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5" h="348">
                  <a:moveTo>
                    <a:pt x="385" y="239"/>
                  </a:moveTo>
                  <a:lnTo>
                    <a:pt x="397" y="255"/>
                  </a:lnTo>
                  <a:lnTo>
                    <a:pt x="380" y="255"/>
                  </a:lnTo>
                  <a:lnTo>
                    <a:pt x="359" y="272"/>
                  </a:lnTo>
                  <a:lnTo>
                    <a:pt x="331" y="277"/>
                  </a:lnTo>
                  <a:lnTo>
                    <a:pt x="321" y="305"/>
                  </a:lnTo>
                  <a:lnTo>
                    <a:pt x="326" y="315"/>
                  </a:lnTo>
                  <a:lnTo>
                    <a:pt x="321" y="326"/>
                  </a:lnTo>
                  <a:lnTo>
                    <a:pt x="309" y="326"/>
                  </a:lnTo>
                  <a:lnTo>
                    <a:pt x="271" y="331"/>
                  </a:lnTo>
                  <a:lnTo>
                    <a:pt x="217" y="331"/>
                  </a:lnTo>
                  <a:lnTo>
                    <a:pt x="212" y="348"/>
                  </a:lnTo>
                  <a:lnTo>
                    <a:pt x="196" y="331"/>
                  </a:lnTo>
                  <a:lnTo>
                    <a:pt x="168" y="343"/>
                  </a:lnTo>
                  <a:lnTo>
                    <a:pt x="168" y="326"/>
                  </a:lnTo>
                  <a:lnTo>
                    <a:pt x="158" y="326"/>
                  </a:lnTo>
                  <a:lnTo>
                    <a:pt x="158" y="315"/>
                  </a:lnTo>
                  <a:lnTo>
                    <a:pt x="125" y="326"/>
                  </a:lnTo>
                  <a:lnTo>
                    <a:pt x="113" y="331"/>
                  </a:lnTo>
                  <a:lnTo>
                    <a:pt x="104" y="331"/>
                  </a:lnTo>
                  <a:lnTo>
                    <a:pt x="92" y="315"/>
                  </a:lnTo>
                  <a:lnTo>
                    <a:pt x="87" y="315"/>
                  </a:lnTo>
                  <a:lnTo>
                    <a:pt x="0" y="315"/>
                  </a:lnTo>
                  <a:lnTo>
                    <a:pt x="0" y="293"/>
                  </a:lnTo>
                  <a:lnTo>
                    <a:pt x="0" y="277"/>
                  </a:lnTo>
                  <a:lnTo>
                    <a:pt x="7" y="289"/>
                  </a:lnTo>
                  <a:lnTo>
                    <a:pt x="16" y="289"/>
                  </a:lnTo>
                  <a:lnTo>
                    <a:pt x="16" y="272"/>
                  </a:lnTo>
                  <a:lnTo>
                    <a:pt x="54" y="260"/>
                  </a:lnTo>
                  <a:lnTo>
                    <a:pt x="87" y="277"/>
                  </a:lnTo>
                  <a:lnTo>
                    <a:pt x="87" y="289"/>
                  </a:lnTo>
                  <a:lnTo>
                    <a:pt x="92" y="289"/>
                  </a:lnTo>
                  <a:lnTo>
                    <a:pt x="92" y="272"/>
                  </a:lnTo>
                  <a:lnTo>
                    <a:pt x="113" y="272"/>
                  </a:lnTo>
                  <a:lnTo>
                    <a:pt x="113" y="260"/>
                  </a:lnTo>
                  <a:lnTo>
                    <a:pt x="146" y="255"/>
                  </a:lnTo>
                  <a:lnTo>
                    <a:pt x="168" y="272"/>
                  </a:lnTo>
                  <a:lnTo>
                    <a:pt x="196" y="260"/>
                  </a:lnTo>
                  <a:lnTo>
                    <a:pt x="196" y="255"/>
                  </a:lnTo>
                  <a:lnTo>
                    <a:pt x="201" y="248"/>
                  </a:lnTo>
                  <a:lnTo>
                    <a:pt x="217" y="248"/>
                  </a:lnTo>
                  <a:lnTo>
                    <a:pt x="217" y="232"/>
                  </a:lnTo>
                  <a:lnTo>
                    <a:pt x="234" y="239"/>
                  </a:lnTo>
                  <a:lnTo>
                    <a:pt x="250" y="222"/>
                  </a:lnTo>
                  <a:lnTo>
                    <a:pt x="271" y="215"/>
                  </a:lnTo>
                  <a:lnTo>
                    <a:pt x="234" y="206"/>
                  </a:lnTo>
                  <a:lnTo>
                    <a:pt x="217" y="194"/>
                  </a:lnTo>
                  <a:lnTo>
                    <a:pt x="201" y="199"/>
                  </a:lnTo>
                  <a:lnTo>
                    <a:pt x="201" y="182"/>
                  </a:lnTo>
                  <a:lnTo>
                    <a:pt x="184" y="182"/>
                  </a:lnTo>
                  <a:lnTo>
                    <a:pt x="184" y="166"/>
                  </a:lnTo>
                  <a:lnTo>
                    <a:pt x="168" y="149"/>
                  </a:lnTo>
                  <a:lnTo>
                    <a:pt x="163" y="166"/>
                  </a:lnTo>
                  <a:lnTo>
                    <a:pt x="146" y="166"/>
                  </a:lnTo>
                  <a:lnTo>
                    <a:pt x="146" y="182"/>
                  </a:lnTo>
                  <a:lnTo>
                    <a:pt x="108" y="178"/>
                  </a:lnTo>
                  <a:lnTo>
                    <a:pt x="104" y="161"/>
                  </a:lnTo>
                  <a:lnTo>
                    <a:pt x="87" y="161"/>
                  </a:lnTo>
                  <a:lnTo>
                    <a:pt x="61" y="149"/>
                  </a:lnTo>
                  <a:lnTo>
                    <a:pt x="104" y="123"/>
                  </a:lnTo>
                  <a:lnTo>
                    <a:pt x="108" y="123"/>
                  </a:lnTo>
                  <a:lnTo>
                    <a:pt x="108" y="107"/>
                  </a:lnTo>
                  <a:lnTo>
                    <a:pt x="142" y="95"/>
                  </a:lnTo>
                  <a:lnTo>
                    <a:pt x="125" y="78"/>
                  </a:lnTo>
                  <a:lnTo>
                    <a:pt x="113" y="90"/>
                  </a:lnTo>
                  <a:lnTo>
                    <a:pt x="108" y="78"/>
                  </a:lnTo>
                  <a:lnTo>
                    <a:pt x="130" y="50"/>
                  </a:lnTo>
                  <a:lnTo>
                    <a:pt x="168" y="41"/>
                  </a:lnTo>
                  <a:lnTo>
                    <a:pt x="212" y="41"/>
                  </a:lnTo>
                  <a:lnTo>
                    <a:pt x="293" y="74"/>
                  </a:lnTo>
                  <a:lnTo>
                    <a:pt x="293" y="57"/>
                  </a:lnTo>
                  <a:lnTo>
                    <a:pt x="305" y="17"/>
                  </a:lnTo>
                  <a:lnTo>
                    <a:pt x="347" y="0"/>
                  </a:lnTo>
                  <a:lnTo>
                    <a:pt x="385" y="24"/>
                  </a:lnTo>
                  <a:lnTo>
                    <a:pt x="451" y="41"/>
                  </a:lnTo>
                  <a:lnTo>
                    <a:pt x="456" y="24"/>
                  </a:lnTo>
                  <a:lnTo>
                    <a:pt x="520" y="33"/>
                  </a:lnTo>
                  <a:lnTo>
                    <a:pt x="543" y="24"/>
                  </a:lnTo>
                  <a:lnTo>
                    <a:pt x="557" y="33"/>
                  </a:lnTo>
                  <a:lnTo>
                    <a:pt x="699" y="41"/>
                  </a:lnTo>
                  <a:lnTo>
                    <a:pt x="699" y="50"/>
                  </a:lnTo>
                  <a:lnTo>
                    <a:pt x="711" y="74"/>
                  </a:lnTo>
                  <a:lnTo>
                    <a:pt x="753" y="74"/>
                  </a:lnTo>
                  <a:lnTo>
                    <a:pt x="765" y="95"/>
                  </a:lnTo>
                  <a:lnTo>
                    <a:pt x="765" y="107"/>
                  </a:lnTo>
                  <a:lnTo>
                    <a:pt x="742" y="111"/>
                  </a:lnTo>
                  <a:lnTo>
                    <a:pt x="737" y="123"/>
                  </a:lnTo>
                  <a:lnTo>
                    <a:pt x="704" y="128"/>
                  </a:lnTo>
                  <a:lnTo>
                    <a:pt x="645" y="161"/>
                  </a:lnTo>
                  <a:lnTo>
                    <a:pt x="635" y="178"/>
                  </a:lnTo>
                  <a:lnTo>
                    <a:pt x="619" y="194"/>
                  </a:lnTo>
                  <a:lnTo>
                    <a:pt x="536" y="199"/>
                  </a:lnTo>
                  <a:lnTo>
                    <a:pt x="520" y="215"/>
                  </a:lnTo>
                  <a:lnTo>
                    <a:pt x="520" y="232"/>
                  </a:lnTo>
                  <a:lnTo>
                    <a:pt x="494" y="255"/>
                  </a:lnTo>
                  <a:lnTo>
                    <a:pt x="482" y="248"/>
                  </a:lnTo>
                  <a:lnTo>
                    <a:pt x="451" y="255"/>
                  </a:lnTo>
                  <a:lnTo>
                    <a:pt x="439" y="232"/>
                  </a:lnTo>
                  <a:lnTo>
                    <a:pt x="418" y="248"/>
                  </a:lnTo>
                  <a:lnTo>
                    <a:pt x="385" y="239"/>
                  </a:lnTo>
                  <a:lnTo>
                    <a:pt x="385" y="239"/>
                  </a:lnTo>
                  <a:lnTo>
                    <a:pt x="385" y="239"/>
                  </a:lnTo>
                  <a:close/>
                </a:path>
              </a:pathLst>
            </a:custGeom>
            <a:pattFill prst="dk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5" name="Freeform 483">
              <a:extLst>
                <a:ext uri="{FF2B5EF4-FFF2-40B4-BE49-F238E27FC236}">
                  <a16:creationId xmlns:a16="http://schemas.microsoft.com/office/drawing/2014/main" id="{EEC4E42E-9E1C-4523-99F9-C0457DF7256D}"/>
                </a:ext>
              </a:extLst>
            </p:cNvPr>
            <p:cNvSpPr>
              <a:spLocks/>
            </p:cNvSpPr>
            <p:nvPr/>
          </p:nvSpPr>
          <p:spPr bwMode="gray">
            <a:xfrm>
              <a:off x="10088461" y="2967910"/>
              <a:ext cx="221209" cy="225689"/>
            </a:xfrm>
            <a:custGeom>
              <a:avLst/>
              <a:gdLst>
                <a:gd name="T0" fmla="*/ 45 w 447"/>
                <a:gd name="T1" fmla="*/ 217 h 456"/>
                <a:gd name="T2" fmla="*/ 55 w 447"/>
                <a:gd name="T3" fmla="*/ 217 h 456"/>
                <a:gd name="T4" fmla="*/ 104 w 447"/>
                <a:gd name="T5" fmla="*/ 184 h 456"/>
                <a:gd name="T6" fmla="*/ 156 w 447"/>
                <a:gd name="T7" fmla="*/ 144 h 456"/>
                <a:gd name="T8" fmla="*/ 189 w 447"/>
                <a:gd name="T9" fmla="*/ 106 h 456"/>
                <a:gd name="T10" fmla="*/ 270 w 447"/>
                <a:gd name="T11" fmla="*/ 144 h 456"/>
                <a:gd name="T12" fmla="*/ 270 w 447"/>
                <a:gd name="T13" fmla="*/ 106 h 456"/>
                <a:gd name="T14" fmla="*/ 324 w 447"/>
                <a:gd name="T15" fmla="*/ 89 h 456"/>
                <a:gd name="T16" fmla="*/ 357 w 447"/>
                <a:gd name="T17" fmla="*/ 49 h 456"/>
                <a:gd name="T18" fmla="*/ 378 w 447"/>
                <a:gd name="T19" fmla="*/ 49 h 456"/>
                <a:gd name="T20" fmla="*/ 421 w 447"/>
                <a:gd name="T21" fmla="*/ 11 h 456"/>
                <a:gd name="T22" fmla="*/ 442 w 447"/>
                <a:gd name="T23" fmla="*/ 45 h 456"/>
                <a:gd name="T24" fmla="*/ 447 w 447"/>
                <a:gd name="T25" fmla="*/ 66 h 456"/>
                <a:gd name="T26" fmla="*/ 378 w 447"/>
                <a:gd name="T27" fmla="*/ 122 h 456"/>
                <a:gd name="T28" fmla="*/ 388 w 447"/>
                <a:gd name="T29" fmla="*/ 144 h 456"/>
                <a:gd name="T30" fmla="*/ 350 w 447"/>
                <a:gd name="T31" fmla="*/ 200 h 456"/>
                <a:gd name="T32" fmla="*/ 303 w 447"/>
                <a:gd name="T33" fmla="*/ 238 h 456"/>
                <a:gd name="T34" fmla="*/ 286 w 447"/>
                <a:gd name="T35" fmla="*/ 255 h 456"/>
                <a:gd name="T36" fmla="*/ 260 w 447"/>
                <a:gd name="T37" fmla="*/ 271 h 456"/>
                <a:gd name="T38" fmla="*/ 232 w 447"/>
                <a:gd name="T39" fmla="*/ 323 h 456"/>
                <a:gd name="T40" fmla="*/ 218 w 447"/>
                <a:gd name="T41" fmla="*/ 311 h 456"/>
                <a:gd name="T42" fmla="*/ 248 w 447"/>
                <a:gd name="T43" fmla="*/ 340 h 456"/>
                <a:gd name="T44" fmla="*/ 281 w 447"/>
                <a:gd name="T45" fmla="*/ 394 h 456"/>
                <a:gd name="T46" fmla="*/ 206 w 447"/>
                <a:gd name="T47" fmla="*/ 406 h 456"/>
                <a:gd name="T48" fmla="*/ 163 w 447"/>
                <a:gd name="T49" fmla="*/ 451 h 456"/>
                <a:gd name="T50" fmla="*/ 135 w 447"/>
                <a:gd name="T51" fmla="*/ 451 h 456"/>
                <a:gd name="T52" fmla="*/ 121 w 447"/>
                <a:gd name="T53" fmla="*/ 439 h 456"/>
                <a:gd name="T54" fmla="*/ 109 w 447"/>
                <a:gd name="T55" fmla="*/ 432 h 456"/>
                <a:gd name="T56" fmla="*/ 104 w 447"/>
                <a:gd name="T57" fmla="*/ 439 h 456"/>
                <a:gd name="T58" fmla="*/ 88 w 447"/>
                <a:gd name="T59" fmla="*/ 439 h 456"/>
                <a:gd name="T60" fmla="*/ 71 w 447"/>
                <a:gd name="T61" fmla="*/ 422 h 456"/>
                <a:gd name="T62" fmla="*/ 45 w 447"/>
                <a:gd name="T63" fmla="*/ 406 h 456"/>
                <a:gd name="T64" fmla="*/ 83 w 447"/>
                <a:gd name="T65" fmla="*/ 366 h 456"/>
                <a:gd name="T66" fmla="*/ 66 w 447"/>
                <a:gd name="T67" fmla="*/ 361 h 456"/>
                <a:gd name="T68" fmla="*/ 71 w 447"/>
                <a:gd name="T69" fmla="*/ 304 h 456"/>
                <a:gd name="T70" fmla="*/ 55 w 447"/>
                <a:gd name="T71" fmla="*/ 295 h 456"/>
                <a:gd name="T72" fmla="*/ 33 w 447"/>
                <a:gd name="T73" fmla="*/ 288 h 456"/>
                <a:gd name="T74" fmla="*/ 17 w 447"/>
                <a:gd name="T75" fmla="*/ 283 h 456"/>
                <a:gd name="T76" fmla="*/ 12 w 447"/>
                <a:gd name="T77" fmla="*/ 250 h 456"/>
                <a:gd name="T78" fmla="*/ 12 w 447"/>
                <a:gd name="T79" fmla="*/ 25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47" h="456">
                  <a:moveTo>
                    <a:pt x="12" y="250"/>
                  </a:moveTo>
                  <a:lnTo>
                    <a:pt x="45" y="217"/>
                  </a:lnTo>
                  <a:lnTo>
                    <a:pt x="55" y="229"/>
                  </a:lnTo>
                  <a:lnTo>
                    <a:pt x="55" y="217"/>
                  </a:lnTo>
                  <a:lnTo>
                    <a:pt x="83" y="200"/>
                  </a:lnTo>
                  <a:lnTo>
                    <a:pt x="104" y="184"/>
                  </a:lnTo>
                  <a:lnTo>
                    <a:pt x="125" y="184"/>
                  </a:lnTo>
                  <a:lnTo>
                    <a:pt x="156" y="144"/>
                  </a:lnTo>
                  <a:lnTo>
                    <a:pt x="163" y="122"/>
                  </a:lnTo>
                  <a:lnTo>
                    <a:pt x="189" y="106"/>
                  </a:lnTo>
                  <a:lnTo>
                    <a:pt x="210" y="139"/>
                  </a:lnTo>
                  <a:lnTo>
                    <a:pt x="270" y="144"/>
                  </a:lnTo>
                  <a:lnTo>
                    <a:pt x="281" y="122"/>
                  </a:lnTo>
                  <a:lnTo>
                    <a:pt x="270" y="106"/>
                  </a:lnTo>
                  <a:lnTo>
                    <a:pt x="265" y="89"/>
                  </a:lnTo>
                  <a:lnTo>
                    <a:pt x="324" y="89"/>
                  </a:lnTo>
                  <a:lnTo>
                    <a:pt x="350" y="66"/>
                  </a:lnTo>
                  <a:lnTo>
                    <a:pt x="357" y="49"/>
                  </a:lnTo>
                  <a:lnTo>
                    <a:pt x="366" y="56"/>
                  </a:lnTo>
                  <a:lnTo>
                    <a:pt x="378" y="49"/>
                  </a:lnTo>
                  <a:lnTo>
                    <a:pt x="395" y="0"/>
                  </a:lnTo>
                  <a:lnTo>
                    <a:pt x="421" y="11"/>
                  </a:lnTo>
                  <a:lnTo>
                    <a:pt x="421" y="28"/>
                  </a:lnTo>
                  <a:lnTo>
                    <a:pt x="442" y="45"/>
                  </a:lnTo>
                  <a:lnTo>
                    <a:pt x="442" y="49"/>
                  </a:lnTo>
                  <a:lnTo>
                    <a:pt x="447" y="66"/>
                  </a:lnTo>
                  <a:lnTo>
                    <a:pt x="433" y="56"/>
                  </a:lnTo>
                  <a:lnTo>
                    <a:pt x="378" y="122"/>
                  </a:lnTo>
                  <a:lnTo>
                    <a:pt x="378" y="139"/>
                  </a:lnTo>
                  <a:lnTo>
                    <a:pt x="388" y="144"/>
                  </a:lnTo>
                  <a:lnTo>
                    <a:pt x="378" y="193"/>
                  </a:lnTo>
                  <a:lnTo>
                    <a:pt x="350" y="200"/>
                  </a:lnTo>
                  <a:lnTo>
                    <a:pt x="340" y="217"/>
                  </a:lnTo>
                  <a:lnTo>
                    <a:pt x="303" y="238"/>
                  </a:lnTo>
                  <a:lnTo>
                    <a:pt x="303" y="250"/>
                  </a:lnTo>
                  <a:lnTo>
                    <a:pt x="286" y="255"/>
                  </a:lnTo>
                  <a:lnTo>
                    <a:pt x="265" y="255"/>
                  </a:lnTo>
                  <a:lnTo>
                    <a:pt x="260" y="271"/>
                  </a:lnTo>
                  <a:lnTo>
                    <a:pt x="227" y="283"/>
                  </a:lnTo>
                  <a:lnTo>
                    <a:pt x="232" y="323"/>
                  </a:lnTo>
                  <a:lnTo>
                    <a:pt x="227" y="311"/>
                  </a:lnTo>
                  <a:lnTo>
                    <a:pt x="218" y="311"/>
                  </a:lnTo>
                  <a:lnTo>
                    <a:pt x="218" y="328"/>
                  </a:lnTo>
                  <a:lnTo>
                    <a:pt x="248" y="340"/>
                  </a:lnTo>
                  <a:lnTo>
                    <a:pt x="286" y="378"/>
                  </a:lnTo>
                  <a:lnTo>
                    <a:pt x="281" y="394"/>
                  </a:lnTo>
                  <a:lnTo>
                    <a:pt x="265" y="399"/>
                  </a:lnTo>
                  <a:lnTo>
                    <a:pt x="206" y="406"/>
                  </a:lnTo>
                  <a:lnTo>
                    <a:pt x="173" y="439"/>
                  </a:lnTo>
                  <a:lnTo>
                    <a:pt x="163" y="451"/>
                  </a:lnTo>
                  <a:lnTo>
                    <a:pt x="151" y="439"/>
                  </a:lnTo>
                  <a:lnTo>
                    <a:pt x="135" y="451"/>
                  </a:lnTo>
                  <a:lnTo>
                    <a:pt x="135" y="456"/>
                  </a:lnTo>
                  <a:lnTo>
                    <a:pt x="121" y="439"/>
                  </a:lnTo>
                  <a:lnTo>
                    <a:pt x="121" y="451"/>
                  </a:lnTo>
                  <a:lnTo>
                    <a:pt x="109" y="432"/>
                  </a:lnTo>
                  <a:lnTo>
                    <a:pt x="97" y="422"/>
                  </a:lnTo>
                  <a:lnTo>
                    <a:pt x="104" y="439"/>
                  </a:lnTo>
                  <a:lnTo>
                    <a:pt x="71" y="456"/>
                  </a:lnTo>
                  <a:lnTo>
                    <a:pt x="88" y="439"/>
                  </a:lnTo>
                  <a:lnTo>
                    <a:pt x="50" y="432"/>
                  </a:lnTo>
                  <a:lnTo>
                    <a:pt x="71" y="422"/>
                  </a:lnTo>
                  <a:lnTo>
                    <a:pt x="29" y="415"/>
                  </a:lnTo>
                  <a:lnTo>
                    <a:pt x="45" y="406"/>
                  </a:lnTo>
                  <a:lnTo>
                    <a:pt x="50" y="382"/>
                  </a:lnTo>
                  <a:lnTo>
                    <a:pt x="83" y="366"/>
                  </a:lnTo>
                  <a:lnTo>
                    <a:pt x="97" y="378"/>
                  </a:lnTo>
                  <a:lnTo>
                    <a:pt x="66" y="361"/>
                  </a:lnTo>
                  <a:lnTo>
                    <a:pt x="83" y="323"/>
                  </a:lnTo>
                  <a:lnTo>
                    <a:pt x="71" y="304"/>
                  </a:lnTo>
                  <a:lnTo>
                    <a:pt x="83" y="295"/>
                  </a:lnTo>
                  <a:lnTo>
                    <a:pt x="55" y="295"/>
                  </a:lnTo>
                  <a:lnTo>
                    <a:pt x="33" y="283"/>
                  </a:lnTo>
                  <a:lnTo>
                    <a:pt x="33" y="288"/>
                  </a:lnTo>
                  <a:lnTo>
                    <a:pt x="29" y="295"/>
                  </a:lnTo>
                  <a:lnTo>
                    <a:pt x="17" y="283"/>
                  </a:lnTo>
                  <a:lnTo>
                    <a:pt x="0" y="267"/>
                  </a:lnTo>
                  <a:lnTo>
                    <a:pt x="12" y="250"/>
                  </a:lnTo>
                  <a:lnTo>
                    <a:pt x="12" y="250"/>
                  </a:lnTo>
                  <a:lnTo>
                    <a:pt x="12" y="250"/>
                  </a:lnTo>
                  <a:close/>
                </a:path>
              </a:pathLst>
            </a:custGeom>
            <a:pattFill prst="dk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6" name="Freeform 485">
              <a:extLst>
                <a:ext uri="{FF2B5EF4-FFF2-40B4-BE49-F238E27FC236}">
                  <a16:creationId xmlns:a16="http://schemas.microsoft.com/office/drawing/2014/main" id="{B98E03FC-9697-4B13-BC5F-9FFDD1C52BDF}"/>
                </a:ext>
              </a:extLst>
            </p:cNvPr>
            <p:cNvSpPr>
              <a:spLocks noEditPoints="1"/>
            </p:cNvSpPr>
            <p:nvPr/>
          </p:nvSpPr>
          <p:spPr bwMode="gray">
            <a:xfrm>
              <a:off x="10101329" y="3154994"/>
              <a:ext cx="217747" cy="218265"/>
            </a:xfrm>
            <a:custGeom>
              <a:avLst/>
              <a:gdLst>
                <a:gd name="T0" fmla="*/ 239 w 440"/>
                <a:gd name="T1" fmla="*/ 23 h 441"/>
                <a:gd name="T2" fmla="*/ 277 w 440"/>
                <a:gd name="T3" fmla="*/ 40 h 441"/>
                <a:gd name="T4" fmla="*/ 340 w 440"/>
                <a:gd name="T5" fmla="*/ 155 h 441"/>
                <a:gd name="T6" fmla="*/ 347 w 440"/>
                <a:gd name="T7" fmla="*/ 210 h 441"/>
                <a:gd name="T8" fmla="*/ 314 w 440"/>
                <a:gd name="T9" fmla="*/ 292 h 441"/>
                <a:gd name="T10" fmla="*/ 260 w 440"/>
                <a:gd name="T11" fmla="*/ 297 h 441"/>
                <a:gd name="T12" fmla="*/ 260 w 440"/>
                <a:gd name="T13" fmla="*/ 297 h 441"/>
                <a:gd name="T14" fmla="*/ 206 w 440"/>
                <a:gd name="T15" fmla="*/ 304 h 441"/>
                <a:gd name="T16" fmla="*/ 206 w 440"/>
                <a:gd name="T17" fmla="*/ 333 h 441"/>
                <a:gd name="T18" fmla="*/ 201 w 440"/>
                <a:gd name="T19" fmla="*/ 333 h 441"/>
                <a:gd name="T20" fmla="*/ 189 w 440"/>
                <a:gd name="T21" fmla="*/ 333 h 441"/>
                <a:gd name="T22" fmla="*/ 163 w 440"/>
                <a:gd name="T23" fmla="*/ 349 h 441"/>
                <a:gd name="T24" fmla="*/ 114 w 440"/>
                <a:gd name="T25" fmla="*/ 321 h 441"/>
                <a:gd name="T26" fmla="*/ 130 w 440"/>
                <a:gd name="T27" fmla="*/ 333 h 441"/>
                <a:gd name="T28" fmla="*/ 137 w 440"/>
                <a:gd name="T29" fmla="*/ 314 h 441"/>
                <a:gd name="T30" fmla="*/ 125 w 440"/>
                <a:gd name="T31" fmla="*/ 314 h 441"/>
                <a:gd name="T32" fmla="*/ 114 w 440"/>
                <a:gd name="T33" fmla="*/ 292 h 441"/>
                <a:gd name="T34" fmla="*/ 125 w 440"/>
                <a:gd name="T35" fmla="*/ 281 h 441"/>
                <a:gd name="T36" fmla="*/ 147 w 440"/>
                <a:gd name="T37" fmla="*/ 248 h 441"/>
                <a:gd name="T38" fmla="*/ 137 w 440"/>
                <a:gd name="T39" fmla="*/ 226 h 441"/>
                <a:gd name="T40" fmla="*/ 147 w 440"/>
                <a:gd name="T41" fmla="*/ 222 h 441"/>
                <a:gd name="T42" fmla="*/ 125 w 440"/>
                <a:gd name="T43" fmla="*/ 155 h 441"/>
                <a:gd name="T44" fmla="*/ 109 w 440"/>
                <a:gd name="T45" fmla="*/ 155 h 441"/>
                <a:gd name="T46" fmla="*/ 125 w 440"/>
                <a:gd name="T47" fmla="*/ 148 h 441"/>
                <a:gd name="T48" fmla="*/ 130 w 440"/>
                <a:gd name="T49" fmla="*/ 148 h 441"/>
                <a:gd name="T50" fmla="*/ 151 w 440"/>
                <a:gd name="T51" fmla="*/ 155 h 441"/>
                <a:gd name="T52" fmla="*/ 151 w 440"/>
                <a:gd name="T53" fmla="*/ 115 h 441"/>
                <a:gd name="T54" fmla="*/ 151 w 440"/>
                <a:gd name="T55" fmla="*/ 111 h 441"/>
                <a:gd name="T56" fmla="*/ 130 w 440"/>
                <a:gd name="T57" fmla="*/ 73 h 441"/>
                <a:gd name="T58" fmla="*/ 147 w 440"/>
                <a:gd name="T59" fmla="*/ 61 h 441"/>
                <a:gd name="T60" fmla="*/ 7 w 440"/>
                <a:gd name="T61" fmla="*/ 61 h 441"/>
                <a:gd name="T62" fmla="*/ 7 w 440"/>
                <a:gd name="T63" fmla="*/ 56 h 441"/>
                <a:gd name="T64" fmla="*/ 130 w 440"/>
                <a:gd name="T65" fmla="*/ 82 h 441"/>
                <a:gd name="T66" fmla="*/ 130 w 440"/>
                <a:gd name="T67" fmla="*/ 73 h 441"/>
                <a:gd name="T68" fmla="*/ 440 w 440"/>
                <a:gd name="T69" fmla="*/ 94 h 441"/>
                <a:gd name="T70" fmla="*/ 440 w 440"/>
                <a:gd name="T71" fmla="*/ 94 h 441"/>
                <a:gd name="T72" fmla="*/ 125 w 440"/>
                <a:gd name="T73" fmla="*/ 181 h 441"/>
                <a:gd name="T74" fmla="*/ 125 w 440"/>
                <a:gd name="T75" fmla="*/ 181 h 441"/>
                <a:gd name="T76" fmla="*/ 288 w 440"/>
                <a:gd name="T77" fmla="*/ 304 h 441"/>
                <a:gd name="T78" fmla="*/ 277 w 440"/>
                <a:gd name="T79" fmla="*/ 314 h 441"/>
                <a:gd name="T80" fmla="*/ 288 w 440"/>
                <a:gd name="T81" fmla="*/ 304 h 441"/>
                <a:gd name="T82" fmla="*/ 234 w 440"/>
                <a:gd name="T83" fmla="*/ 314 h 441"/>
                <a:gd name="T84" fmla="*/ 222 w 440"/>
                <a:gd name="T85" fmla="*/ 321 h 441"/>
                <a:gd name="T86" fmla="*/ 234 w 440"/>
                <a:gd name="T87" fmla="*/ 304 h 441"/>
                <a:gd name="T88" fmla="*/ 222 w 440"/>
                <a:gd name="T89" fmla="*/ 333 h 441"/>
                <a:gd name="T90" fmla="*/ 222 w 440"/>
                <a:gd name="T91" fmla="*/ 333 h 441"/>
                <a:gd name="T92" fmla="*/ 114 w 440"/>
                <a:gd name="T93" fmla="*/ 349 h 441"/>
                <a:gd name="T94" fmla="*/ 125 w 440"/>
                <a:gd name="T95" fmla="*/ 337 h 441"/>
                <a:gd name="T96" fmla="*/ 222 w 440"/>
                <a:gd name="T97" fmla="*/ 337 h 441"/>
                <a:gd name="T98" fmla="*/ 222 w 440"/>
                <a:gd name="T99" fmla="*/ 337 h 441"/>
                <a:gd name="T100" fmla="*/ 184 w 440"/>
                <a:gd name="T101" fmla="*/ 337 h 441"/>
                <a:gd name="T102" fmla="*/ 184 w 440"/>
                <a:gd name="T103" fmla="*/ 337 h 441"/>
                <a:gd name="T104" fmla="*/ 147 w 440"/>
                <a:gd name="T105" fmla="*/ 349 h 441"/>
                <a:gd name="T106" fmla="*/ 147 w 440"/>
                <a:gd name="T107" fmla="*/ 349 h 441"/>
                <a:gd name="T108" fmla="*/ 151 w 440"/>
                <a:gd name="T109" fmla="*/ 415 h 441"/>
                <a:gd name="T110" fmla="*/ 114 w 440"/>
                <a:gd name="T111" fmla="*/ 441 h 441"/>
                <a:gd name="T112" fmla="*/ 151 w 440"/>
                <a:gd name="T113" fmla="*/ 415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0" h="441">
                  <a:moveTo>
                    <a:pt x="147" y="61"/>
                  </a:moveTo>
                  <a:lnTo>
                    <a:pt x="180" y="28"/>
                  </a:lnTo>
                  <a:lnTo>
                    <a:pt x="239" y="23"/>
                  </a:lnTo>
                  <a:lnTo>
                    <a:pt x="255" y="16"/>
                  </a:lnTo>
                  <a:lnTo>
                    <a:pt x="260" y="0"/>
                  </a:lnTo>
                  <a:lnTo>
                    <a:pt x="277" y="40"/>
                  </a:lnTo>
                  <a:lnTo>
                    <a:pt x="310" y="78"/>
                  </a:lnTo>
                  <a:lnTo>
                    <a:pt x="340" y="132"/>
                  </a:lnTo>
                  <a:lnTo>
                    <a:pt x="340" y="155"/>
                  </a:lnTo>
                  <a:lnTo>
                    <a:pt x="331" y="210"/>
                  </a:lnTo>
                  <a:lnTo>
                    <a:pt x="340" y="222"/>
                  </a:lnTo>
                  <a:lnTo>
                    <a:pt x="347" y="210"/>
                  </a:lnTo>
                  <a:lnTo>
                    <a:pt x="347" y="210"/>
                  </a:lnTo>
                  <a:lnTo>
                    <a:pt x="340" y="248"/>
                  </a:lnTo>
                  <a:lnTo>
                    <a:pt x="314" y="292"/>
                  </a:lnTo>
                  <a:lnTo>
                    <a:pt x="293" y="292"/>
                  </a:lnTo>
                  <a:lnTo>
                    <a:pt x="277" y="281"/>
                  </a:lnTo>
                  <a:lnTo>
                    <a:pt x="260" y="297"/>
                  </a:lnTo>
                  <a:lnTo>
                    <a:pt x="272" y="297"/>
                  </a:lnTo>
                  <a:lnTo>
                    <a:pt x="272" y="314"/>
                  </a:lnTo>
                  <a:lnTo>
                    <a:pt x="260" y="297"/>
                  </a:lnTo>
                  <a:lnTo>
                    <a:pt x="255" y="304"/>
                  </a:lnTo>
                  <a:lnTo>
                    <a:pt x="239" y="297"/>
                  </a:lnTo>
                  <a:lnTo>
                    <a:pt x="206" y="304"/>
                  </a:lnTo>
                  <a:lnTo>
                    <a:pt x="206" y="314"/>
                  </a:lnTo>
                  <a:lnTo>
                    <a:pt x="222" y="314"/>
                  </a:lnTo>
                  <a:lnTo>
                    <a:pt x="206" y="333"/>
                  </a:lnTo>
                  <a:lnTo>
                    <a:pt x="201" y="304"/>
                  </a:lnTo>
                  <a:lnTo>
                    <a:pt x="189" y="321"/>
                  </a:lnTo>
                  <a:lnTo>
                    <a:pt x="201" y="333"/>
                  </a:lnTo>
                  <a:lnTo>
                    <a:pt x="189" y="337"/>
                  </a:lnTo>
                  <a:lnTo>
                    <a:pt x="180" y="337"/>
                  </a:lnTo>
                  <a:lnTo>
                    <a:pt x="189" y="333"/>
                  </a:lnTo>
                  <a:lnTo>
                    <a:pt x="189" y="321"/>
                  </a:lnTo>
                  <a:lnTo>
                    <a:pt x="168" y="333"/>
                  </a:lnTo>
                  <a:lnTo>
                    <a:pt x="163" y="349"/>
                  </a:lnTo>
                  <a:lnTo>
                    <a:pt x="151" y="333"/>
                  </a:lnTo>
                  <a:lnTo>
                    <a:pt x="137" y="354"/>
                  </a:lnTo>
                  <a:lnTo>
                    <a:pt x="114" y="321"/>
                  </a:lnTo>
                  <a:lnTo>
                    <a:pt x="114" y="321"/>
                  </a:lnTo>
                  <a:lnTo>
                    <a:pt x="130" y="333"/>
                  </a:lnTo>
                  <a:lnTo>
                    <a:pt x="130" y="333"/>
                  </a:lnTo>
                  <a:lnTo>
                    <a:pt x="137" y="333"/>
                  </a:lnTo>
                  <a:lnTo>
                    <a:pt x="130" y="321"/>
                  </a:lnTo>
                  <a:lnTo>
                    <a:pt x="137" y="314"/>
                  </a:lnTo>
                  <a:lnTo>
                    <a:pt x="130" y="304"/>
                  </a:lnTo>
                  <a:lnTo>
                    <a:pt x="130" y="314"/>
                  </a:lnTo>
                  <a:lnTo>
                    <a:pt x="125" y="314"/>
                  </a:lnTo>
                  <a:lnTo>
                    <a:pt x="125" y="297"/>
                  </a:lnTo>
                  <a:lnTo>
                    <a:pt x="114" y="304"/>
                  </a:lnTo>
                  <a:lnTo>
                    <a:pt x="114" y="292"/>
                  </a:lnTo>
                  <a:lnTo>
                    <a:pt x="125" y="281"/>
                  </a:lnTo>
                  <a:lnTo>
                    <a:pt x="125" y="297"/>
                  </a:lnTo>
                  <a:lnTo>
                    <a:pt x="125" y="281"/>
                  </a:lnTo>
                  <a:lnTo>
                    <a:pt x="125" y="264"/>
                  </a:lnTo>
                  <a:lnTo>
                    <a:pt x="130" y="259"/>
                  </a:lnTo>
                  <a:lnTo>
                    <a:pt x="147" y="248"/>
                  </a:lnTo>
                  <a:lnTo>
                    <a:pt x="130" y="243"/>
                  </a:lnTo>
                  <a:lnTo>
                    <a:pt x="151" y="226"/>
                  </a:lnTo>
                  <a:lnTo>
                    <a:pt x="137" y="226"/>
                  </a:lnTo>
                  <a:lnTo>
                    <a:pt x="137" y="222"/>
                  </a:lnTo>
                  <a:lnTo>
                    <a:pt x="151" y="210"/>
                  </a:lnTo>
                  <a:lnTo>
                    <a:pt x="147" y="222"/>
                  </a:lnTo>
                  <a:lnTo>
                    <a:pt x="130" y="205"/>
                  </a:lnTo>
                  <a:lnTo>
                    <a:pt x="130" y="155"/>
                  </a:lnTo>
                  <a:lnTo>
                    <a:pt x="125" y="155"/>
                  </a:lnTo>
                  <a:lnTo>
                    <a:pt x="114" y="172"/>
                  </a:lnTo>
                  <a:lnTo>
                    <a:pt x="114" y="155"/>
                  </a:lnTo>
                  <a:lnTo>
                    <a:pt x="109" y="155"/>
                  </a:lnTo>
                  <a:lnTo>
                    <a:pt x="114" y="139"/>
                  </a:lnTo>
                  <a:lnTo>
                    <a:pt x="114" y="148"/>
                  </a:lnTo>
                  <a:lnTo>
                    <a:pt x="125" y="148"/>
                  </a:lnTo>
                  <a:lnTo>
                    <a:pt x="125" y="132"/>
                  </a:lnTo>
                  <a:lnTo>
                    <a:pt x="125" y="132"/>
                  </a:lnTo>
                  <a:lnTo>
                    <a:pt x="130" y="148"/>
                  </a:lnTo>
                  <a:lnTo>
                    <a:pt x="130" y="132"/>
                  </a:lnTo>
                  <a:lnTo>
                    <a:pt x="151" y="139"/>
                  </a:lnTo>
                  <a:lnTo>
                    <a:pt x="151" y="155"/>
                  </a:lnTo>
                  <a:lnTo>
                    <a:pt x="168" y="139"/>
                  </a:lnTo>
                  <a:lnTo>
                    <a:pt x="147" y="132"/>
                  </a:lnTo>
                  <a:lnTo>
                    <a:pt x="151" y="115"/>
                  </a:lnTo>
                  <a:lnTo>
                    <a:pt x="137" y="127"/>
                  </a:lnTo>
                  <a:lnTo>
                    <a:pt x="137" y="115"/>
                  </a:lnTo>
                  <a:lnTo>
                    <a:pt x="151" y="111"/>
                  </a:lnTo>
                  <a:lnTo>
                    <a:pt x="147" y="111"/>
                  </a:lnTo>
                  <a:lnTo>
                    <a:pt x="130" y="78"/>
                  </a:lnTo>
                  <a:lnTo>
                    <a:pt x="130" y="73"/>
                  </a:lnTo>
                  <a:lnTo>
                    <a:pt x="147" y="78"/>
                  </a:lnTo>
                  <a:lnTo>
                    <a:pt x="147" y="61"/>
                  </a:lnTo>
                  <a:lnTo>
                    <a:pt x="147" y="61"/>
                  </a:lnTo>
                  <a:lnTo>
                    <a:pt x="147" y="61"/>
                  </a:lnTo>
                  <a:close/>
                  <a:moveTo>
                    <a:pt x="7" y="56"/>
                  </a:moveTo>
                  <a:lnTo>
                    <a:pt x="7" y="61"/>
                  </a:lnTo>
                  <a:lnTo>
                    <a:pt x="0" y="56"/>
                  </a:lnTo>
                  <a:lnTo>
                    <a:pt x="7" y="56"/>
                  </a:lnTo>
                  <a:lnTo>
                    <a:pt x="7" y="56"/>
                  </a:lnTo>
                  <a:lnTo>
                    <a:pt x="7" y="56"/>
                  </a:lnTo>
                  <a:close/>
                  <a:moveTo>
                    <a:pt x="130" y="73"/>
                  </a:moveTo>
                  <a:lnTo>
                    <a:pt x="130" y="82"/>
                  </a:lnTo>
                  <a:lnTo>
                    <a:pt x="125" y="82"/>
                  </a:lnTo>
                  <a:lnTo>
                    <a:pt x="125" y="73"/>
                  </a:lnTo>
                  <a:lnTo>
                    <a:pt x="130" y="73"/>
                  </a:lnTo>
                  <a:lnTo>
                    <a:pt x="130" y="73"/>
                  </a:lnTo>
                  <a:lnTo>
                    <a:pt x="130" y="73"/>
                  </a:lnTo>
                  <a:close/>
                  <a:moveTo>
                    <a:pt x="440" y="94"/>
                  </a:moveTo>
                  <a:lnTo>
                    <a:pt x="440" y="99"/>
                  </a:lnTo>
                  <a:lnTo>
                    <a:pt x="433" y="94"/>
                  </a:lnTo>
                  <a:lnTo>
                    <a:pt x="440" y="94"/>
                  </a:lnTo>
                  <a:lnTo>
                    <a:pt x="440" y="94"/>
                  </a:lnTo>
                  <a:lnTo>
                    <a:pt x="440" y="94"/>
                  </a:lnTo>
                  <a:close/>
                  <a:moveTo>
                    <a:pt x="125" y="181"/>
                  </a:moveTo>
                  <a:lnTo>
                    <a:pt x="125" y="181"/>
                  </a:lnTo>
                  <a:lnTo>
                    <a:pt x="125" y="165"/>
                  </a:lnTo>
                  <a:lnTo>
                    <a:pt x="125" y="181"/>
                  </a:lnTo>
                  <a:lnTo>
                    <a:pt x="125" y="181"/>
                  </a:lnTo>
                  <a:lnTo>
                    <a:pt x="125" y="181"/>
                  </a:lnTo>
                  <a:close/>
                  <a:moveTo>
                    <a:pt x="288" y="304"/>
                  </a:moveTo>
                  <a:lnTo>
                    <a:pt x="288" y="314"/>
                  </a:lnTo>
                  <a:lnTo>
                    <a:pt x="277" y="321"/>
                  </a:lnTo>
                  <a:lnTo>
                    <a:pt x="277" y="314"/>
                  </a:lnTo>
                  <a:lnTo>
                    <a:pt x="272" y="304"/>
                  </a:lnTo>
                  <a:lnTo>
                    <a:pt x="288" y="304"/>
                  </a:lnTo>
                  <a:lnTo>
                    <a:pt x="288" y="304"/>
                  </a:lnTo>
                  <a:lnTo>
                    <a:pt x="288" y="304"/>
                  </a:lnTo>
                  <a:close/>
                  <a:moveTo>
                    <a:pt x="234" y="304"/>
                  </a:moveTo>
                  <a:lnTo>
                    <a:pt x="234" y="314"/>
                  </a:lnTo>
                  <a:lnTo>
                    <a:pt x="239" y="314"/>
                  </a:lnTo>
                  <a:lnTo>
                    <a:pt x="239" y="321"/>
                  </a:lnTo>
                  <a:lnTo>
                    <a:pt x="222" y="321"/>
                  </a:lnTo>
                  <a:lnTo>
                    <a:pt x="222" y="304"/>
                  </a:lnTo>
                  <a:lnTo>
                    <a:pt x="234" y="304"/>
                  </a:lnTo>
                  <a:lnTo>
                    <a:pt x="234" y="304"/>
                  </a:lnTo>
                  <a:lnTo>
                    <a:pt x="234" y="304"/>
                  </a:lnTo>
                  <a:close/>
                  <a:moveTo>
                    <a:pt x="222" y="333"/>
                  </a:moveTo>
                  <a:lnTo>
                    <a:pt x="222" y="333"/>
                  </a:lnTo>
                  <a:lnTo>
                    <a:pt x="218" y="333"/>
                  </a:lnTo>
                  <a:lnTo>
                    <a:pt x="222" y="333"/>
                  </a:lnTo>
                  <a:lnTo>
                    <a:pt x="222" y="333"/>
                  </a:lnTo>
                  <a:lnTo>
                    <a:pt x="222" y="333"/>
                  </a:lnTo>
                  <a:close/>
                  <a:moveTo>
                    <a:pt x="125" y="337"/>
                  </a:moveTo>
                  <a:lnTo>
                    <a:pt x="114" y="349"/>
                  </a:lnTo>
                  <a:lnTo>
                    <a:pt x="99" y="349"/>
                  </a:lnTo>
                  <a:lnTo>
                    <a:pt x="114" y="333"/>
                  </a:lnTo>
                  <a:lnTo>
                    <a:pt x="125" y="337"/>
                  </a:lnTo>
                  <a:lnTo>
                    <a:pt x="125" y="337"/>
                  </a:lnTo>
                  <a:lnTo>
                    <a:pt x="125" y="337"/>
                  </a:lnTo>
                  <a:close/>
                  <a:moveTo>
                    <a:pt x="222" y="337"/>
                  </a:moveTo>
                  <a:lnTo>
                    <a:pt x="222" y="337"/>
                  </a:lnTo>
                  <a:lnTo>
                    <a:pt x="218" y="337"/>
                  </a:lnTo>
                  <a:lnTo>
                    <a:pt x="222" y="337"/>
                  </a:lnTo>
                  <a:lnTo>
                    <a:pt x="222" y="337"/>
                  </a:lnTo>
                  <a:lnTo>
                    <a:pt x="222" y="337"/>
                  </a:lnTo>
                  <a:close/>
                  <a:moveTo>
                    <a:pt x="184" y="337"/>
                  </a:moveTo>
                  <a:lnTo>
                    <a:pt x="184" y="349"/>
                  </a:lnTo>
                  <a:lnTo>
                    <a:pt x="180" y="349"/>
                  </a:lnTo>
                  <a:lnTo>
                    <a:pt x="184" y="337"/>
                  </a:lnTo>
                  <a:lnTo>
                    <a:pt x="184" y="337"/>
                  </a:lnTo>
                  <a:lnTo>
                    <a:pt x="184" y="337"/>
                  </a:lnTo>
                  <a:close/>
                  <a:moveTo>
                    <a:pt x="147" y="349"/>
                  </a:moveTo>
                  <a:lnTo>
                    <a:pt x="147" y="354"/>
                  </a:lnTo>
                  <a:lnTo>
                    <a:pt x="137" y="354"/>
                  </a:lnTo>
                  <a:lnTo>
                    <a:pt x="147" y="349"/>
                  </a:lnTo>
                  <a:lnTo>
                    <a:pt x="147" y="349"/>
                  </a:lnTo>
                  <a:lnTo>
                    <a:pt x="147" y="349"/>
                  </a:lnTo>
                  <a:close/>
                  <a:moveTo>
                    <a:pt x="151" y="415"/>
                  </a:moveTo>
                  <a:lnTo>
                    <a:pt x="163" y="425"/>
                  </a:lnTo>
                  <a:lnTo>
                    <a:pt x="151" y="432"/>
                  </a:lnTo>
                  <a:lnTo>
                    <a:pt x="114" y="441"/>
                  </a:lnTo>
                  <a:lnTo>
                    <a:pt x="109" y="441"/>
                  </a:lnTo>
                  <a:lnTo>
                    <a:pt x="114" y="425"/>
                  </a:lnTo>
                  <a:lnTo>
                    <a:pt x="151" y="415"/>
                  </a:lnTo>
                  <a:lnTo>
                    <a:pt x="151" y="415"/>
                  </a:lnTo>
                  <a:lnTo>
                    <a:pt x="151" y="415"/>
                  </a:lnTo>
                  <a:close/>
                </a:path>
              </a:pathLst>
            </a:custGeom>
            <a:pattFill prst="lt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7" name="Freeform 486">
              <a:extLst>
                <a:ext uri="{FF2B5EF4-FFF2-40B4-BE49-F238E27FC236}">
                  <a16:creationId xmlns:a16="http://schemas.microsoft.com/office/drawing/2014/main" id="{693B11E1-EEBD-4F1D-B679-4765DB218C34}"/>
                </a:ext>
              </a:extLst>
            </p:cNvPr>
            <p:cNvSpPr>
              <a:spLocks/>
            </p:cNvSpPr>
            <p:nvPr/>
          </p:nvSpPr>
          <p:spPr bwMode="gray">
            <a:xfrm>
              <a:off x="9439678" y="4972879"/>
              <a:ext cx="3464" cy="7919"/>
            </a:xfrm>
            <a:custGeom>
              <a:avLst/>
              <a:gdLst>
                <a:gd name="T0" fmla="*/ 7 w 7"/>
                <a:gd name="T1" fmla="*/ 16 h 16"/>
                <a:gd name="T2" fmla="*/ 0 w 7"/>
                <a:gd name="T3" fmla="*/ 7 h 16"/>
                <a:gd name="T4" fmla="*/ 7 w 7"/>
                <a:gd name="T5" fmla="*/ 0 h 16"/>
                <a:gd name="T6" fmla="*/ 7 w 7"/>
                <a:gd name="T7" fmla="*/ 16 h 16"/>
                <a:gd name="T8" fmla="*/ 7 w 7"/>
                <a:gd name="T9" fmla="*/ 16 h 16"/>
                <a:gd name="T10" fmla="*/ 7 w 7"/>
                <a:gd name="T11" fmla="*/ 16 h 16"/>
              </a:gdLst>
              <a:ahLst/>
              <a:cxnLst>
                <a:cxn ang="0">
                  <a:pos x="T0" y="T1"/>
                </a:cxn>
                <a:cxn ang="0">
                  <a:pos x="T2" y="T3"/>
                </a:cxn>
                <a:cxn ang="0">
                  <a:pos x="T4" y="T5"/>
                </a:cxn>
                <a:cxn ang="0">
                  <a:pos x="T6" y="T7"/>
                </a:cxn>
                <a:cxn ang="0">
                  <a:pos x="T8" y="T9"/>
                </a:cxn>
                <a:cxn ang="0">
                  <a:pos x="T10" y="T11"/>
                </a:cxn>
              </a:cxnLst>
              <a:rect l="0" t="0" r="r" b="b"/>
              <a:pathLst>
                <a:path w="7" h="16">
                  <a:moveTo>
                    <a:pt x="7" y="16"/>
                  </a:moveTo>
                  <a:lnTo>
                    <a:pt x="0" y="7"/>
                  </a:lnTo>
                  <a:lnTo>
                    <a:pt x="7" y="0"/>
                  </a:lnTo>
                  <a:lnTo>
                    <a:pt x="7" y="16"/>
                  </a:lnTo>
                  <a:lnTo>
                    <a:pt x="7" y="16"/>
                  </a:lnTo>
                  <a:lnTo>
                    <a:pt x="7" y="16"/>
                  </a:lnTo>
                  <a:close/>
                </a:path>
              </a:pathLst>
            </a:custGeom>
            <a:solidFill>
              <a:schemeClr val="accent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8" name="Freeform 487">
              <a:extLst>
                <a:ext uri="{FF2B5EF4-FFF2-40B4-BE49-F238E27FC236}">
                  <a16:creationId xmlns:a16="http://schemas.microsoft.com/office/drawing/2014/main" id="{39975C0F-0EDF-4249-B743-23182AEBDBD2}"/>
                </a:ext>
              </a:extLst>
            </p:cNvPr>
            <p:cNvSpPr>
              <a:spLocks noEditPoints="1"/>
            </p:cNvSpPr>
            <p:nvPr/>
          </p:nvSpPr>
          <p:spPr bwMode="gray">
            <a:xfrm>
              <a:off x="7389402" y="3497486"/>
              <a:ext cx="64335" cy="60877"/>
            </a:xfrm>
            <a:custGeom>
              <a:avLst/>
              <a:gdLst>
                <a:gd name="T0" fmla="*/ 0 w 130"/>
                <a:gd name="T1" fmla="*/ 73 h 123"/>
                <a:gd name="T2" fmla="*/ 33 w 130"/>
                <a:gd name="T3" fmla="*/ 45 h 123"/>
                <a:gd name="T4" fmla="*/ 50 w 130"/>
                <a:gd name="T5" fmla="*/ 0 h 123"/>
                <a:gd name="T6" fmla="*/ 87 w 130"/>
                <a:gd name="T7" fmla="*/ 0 h 123"/>
                <a:gd name="T8" fmla="*/ 104 w 130"/>
                <a:gd name="T9" fmla="*/ 0 h 123"/>
                <a:gd name="T10" fmla="*/ 118 w 130"/>
                <a:gd name="T11" fmla="*/ 45 h 123"/>
                <a:gd name="T12" fmla="*/ 104 w 130"/>
                <a:gd name="T13" fmla="*/ 33 h 123"/>
                <a:gd name="T14" fmla="*/ 87 w 130"/>
                <a:gd name="T15" fmla="*/ 56 h 123"/>
                <a:gd name="T16" fmla="*/ 109 w 130"/>
                <a:gd name="T17" fmla="*/ 56 h 123"/>
                <a:gd name="T18" fmla="*/ 130 w 130"/>
                <a:gd name="T19" fmla="*/ 123 h 123"/>
                <a:gd name="T20" fmla="*/ 87 w 130"/>
                <a:gd name="T21" fmla="*/ 123 h 123"/>
                <a:gd name="T22" fmla="*/ 66 w 130"/>
                <a:gd name="T23" fmla="*/ 85 h 123"/>
                <a:gd name="T24" fmla="*/ 0 w 130"/>
                <a:gd name="T25" fmla="*/ 73 h 123"/>
                <a:gd name="T26" fmla="*/ 0 w 130"/>
                <a:gd name="T27" fmla="*/ 73 h 123"/>
                <a:gd name="T28" fmla="*/ 0 w 130"/>
                <a:gd name="T29" fmla="*/ 73 h 123"/>
                <a:gd name="T30" fmla="*/ 0 w 130"/>
                <a:gd name="T31" fmla="*/ 73 h 123"/>
                <a:gd name="T32" fmla="*/ 118 w 130"/>
                <a:gd name="T33" fmla="*/ 9 h 123"/>
                <a:gd name="T34" fmla="*/ 130 w 130"/>
                <a:gd name="T35" fmla="*/ 28 h 123"/>
                <a:gd name="T36" fmla="*/ 118 w 130"/>
                <a:gd name="T37" fmla="*/ 45 h 123"/>
                <a:gd name="T38" fmla="*/ 109 w 130"/>
                <a:gd name="T39" fmla="*/ 28 h 123"/>
                <a:gd name="T40" fmla="*/ 109 w 130"/>
                <a:gd name="T41" fmla="*/ 9 h 123"/>
                <a:gd name="T42" fmla="*/ 118 w 130"/>
                <a:gd name="T43" fmla="*/ 9 h 123"/>
                <a:gd name="T44" fmla="*/ 118 w 130"/>
                <a:gd name="T45" fmla="*/ 9 h 123"/>
                <a:gd name="T46" fmla="*/ 118 w 130"/>
                <a:gd name="T47" fmla="*/ 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123">
                  <a:moveTo>
                    <a:pt x="0" y="73"/>
                  </a:moveTo>
                  <a:lnTo>
                    <a:pt x="33" y="45"/>
                  </a:lnTo>
                  <a:lnTo>
                    <a:pt x="50" y="0"/>
                  </a:lnTo>
                  <a:lnTo>
                    <a:pt x="87" y="0"/>
                  </a:lnTo>
                  <a:lnTo>
                    <a:pt x="104" y="0"/>
                  </a:lnTo>
                  <a:lnTo>
                    <a:pt x="118" y="45"/>
                  </a:lnTo>
                  <a:lnTo>
                    <a:pt x="104" y="33"/>
                  </a:lnTo>
                  <a:lnTo>
                    <a:pt x="87" y="56"/>
                  </a:lnTo>
                  <a:lnTo>
                    <a:pt x="109" y="56"/>
                  </a:lnTo>
                  <a:lnTo>
                    <a:pt x="130" y="123"/>
                  </a:lnTo>
                  <a:lnTo>
                    <a:pt x="87" y="123"/>
                  </a:lnTo>
                  <a:lnTo>
                    <a:pt x="66" y="85"/>
                  </a:lnTo>
                  <a:lnTo>
                    <a:pt x="0" y="73"/>
                  </a:lnTo>
                  <a:lnTo>
                    <a:pt x="0" y="73"/>
                  </a:lnTo>
                  <a:lnTo>
                    <a:pt x="0" y="73"/>
                  </a:lnTo>
                  <a:lnTo>
                    <a:pt x="0" y="73"/>
                  </a:lnTo>
                  <a:close/>
                  <a:moveTo>
                    <a:pt x="118" y="9"/>
                  </a:moveTo>
                  <a:lnTo>
                    <a:pt x="130" y="28"/>
                  </a:lnTo>
                  <a:lnTo>
                    <a:pt x="118" y="45"/>
                  </a:lnTo>
                  <a:lnTo>
                    <a:pt x="109" y="28"/>
                  </a:lnTo>
                  <a:lnTo>
                    <a:pt x="109" y="9"/>
                  </a:lnTo>
                  <a:lnTo>
                    <a:pt x="118" y="9"/>
                  </a:lnTo>
                  <a:lnTo>
                    <a:pt x="118" y="9"/>
                  </a:lnTo>
                  <a:lnTo>
                    <a:pt x="118" y="9"/>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9" name="Freeform 488">
              <a:extLst>
                <a:ext uri="{FF2B5EF4-FFF2-40B4-BE49-F238E27FC236}">
                  <a16:creationId xmlns:a16="http://schemas.microsoft.com/office/drawing/2014/main" id="{335709AD-1ED0-459A-A267-79A203CE3889}"/>
                </a:ext>
              </a:extLst>
            </p:cNvPr>
            <p:cNvSpPr>
              <a:spLocks noEditPoints="1"/>
            </p:cNvSpPr>
            <p:nvPr/>
          </p:nvSpPr>
          <p:spPr bwMode="gray">
            <a:xfrm>
              <a:off x="7389402" y="2390324"/>
              <a:ext cx="1416832" cy="681522"/>
            </a:xfrm>
            <a:custGeom>
              <a:avLst/>
              <a:gdLst>
                <a:gd name="T0" fmla="*/ 456 w 2863"/>
                <a:gd name="T1" fmla="*/ 1240 h 1377"/>
                <a:gd name="T2" fmla="*/ 364 w 2863"/>
                <a:gd name="T3" fmla="*/ 1155 h 1377"/>
                <a:gd name="T4" fmla="*/ 267 w 2863"/>
                <a:gd name="T5" fmla="*/ 1015 h 1377"/>
                <a:gd name="T6" fmla="*/ 309 w 2863"/>
                <a:gd name="T7" fmla="*/ 994 h 1377"/>
                <a:gd name="T8" fmla="*/ 465 w 2863"/>
                <a:gd name="T9" fmla="*/ 878 h 1377"/>
                <a:gd name="T10" fmla="*/ 394 w 2863"/>
                <a:gd name="T11" fmla="*/ 829 h 1377"/>
                <a:gd name="T12" fmla="*/ 196 w 2863"/>
                <a:gd name="T13" fmla="*/ 850 h 1377"/>
                <a:gd name="T14" fmla="*/ 158 w 2863"/>
                <a:gd name="T15" fmla="*/ 834 h 1377"/>
                <a:gd name="T16" fmla="*/ 0 w 2863"/>
                <a:gd name="T17" fmla="*/ 678 h 1377"/>
                <a:gd name="T18" fmla="*/ 71 w 2863"/>
                <a:gd name="T19" fmla="*/ 493 h 1377"/>
                <a:gd name="T20" fmla="*/ 158 w 2863"/>
                <a:gd name="T21" fmla="*/ 510 h 1377"/>
                <a:gd name="T22" fmla="*/ 272 w 2863"/>
                <a:gd name="T23" fmla="*/ 399 h 1377"/>
                <a:gd name="T24" fmla="*/ 335 w 2863"/>
                <a:gd name="T25" fmla="*/ 382 h 1377"/>
                <a:gd name="T26" fmla="*/ 411 w 2863"/>
                <a:gd name="T27" fmla="*/ 366 h 1377"/>
                <a:gd name="T28" fmla="*/ 562 w 2863"/>
                <a:gd name="T29" fmla="*/ 456 h 1377"/>
                <a:gd name="T30" fmla="*/ 574 w 2863"/>
                <a:gd name="T31" fmla="*/ 434 h 1377"/>
                <a:gd name="T32" fmla="*/ 713 w 2863"/>
                <a:gd name="T33" fmla="*/ 434 h 1377"/>
                <a:gd name="T34" fmla="*/ 827 w 2863"/>
                <a:gd name="T35" fmla="*/ 423 h 1377"/>
                <a:gd name="T36" fmla="*/ 914 w 2863"/>
                <a:gd name="T37" fmla="*/ 489 h 1377"/>
                <a:gd name="T38" fmla="*/ 1061 w 2863"/>
                <a:gd name="T39" fmla="*/ 418 h 1377"/>
                <a:gd name="T40" fmla="*/ 952 w 2863"/>
                <a:gd name="T41" fmla="*/ 349 h 1377"/>
                <a:gd name="T42" fmla="*/ 1006 w 2863"/>
                <a:gd name="T43" fmla="*/ 278 h 1377"/>
                <a:gd name="T44" fmla="*/ 1028 w 2863"/>
                <a:gd name="T45" fmla="*/ 217 h 1377"/>
                <a:gd name="T46" fmla="*/ 1037 w 2863"/>
                <a:gd name="T47" fmla="*/ 167 h 1377"/>
                <a:gd name="T48" fmla="*/ 1129 w 2863"/>
                <a:gd name="T49" fmla="*/ 160 h 1377"/>
                <a:gd name="T50" fmla="*/ 1226 w 2863"/>
                <a:gd name="T51" fmla="*/ 111 h 1377"/>
                <a:gd name="T52" fmla="*/ 1368 w 2863"/>
                <a:gd name="T53" fmla="*/ 89 h 1377"/>
                <a:gd name="T54" fmla="*/ 1561 w 2863"/>
                <a:gd name="T55" fmla="*/ 12 h 1377"/>
                <a:gd name="T56" fmla="*/ 1687 w 2863"/>
                <a:gd name="T57" fmla="*/ 16 h 1377"/>
                <a:gd name="T58" fmla="*/ 1729 w 2863"/>
                <a:gd name="T59" fmla="*/ 111 h 1377"/>
                <a:gd name="T60" fmla="*/ 1795 w 2863"/>
                <a:gd name="T61" fmla="*/ 106 h 1377"/>
                <a:gd name="T62" fmla="*/ 1838 w 2863"/>
                <a:gd name="T63" fmla="*/ 156 h 1377"/>
                <a:gd name="T64" fmla="*/ 1918 w 2863"/>
                <a:gd name="T65" fmla="*/ 139 h 1377"/>
                <a:gd name="T66" fmla="*/ 1946 w 2863"/>
                <a:gd name="T67" fmla="*/ 184 h 1377"/>
                <a:gd name="T68" fmla="*/ 2027 w 2863"/>
                <a:gd name="T69" fmla="*/ 139 h 1377"/>
                <a:gd name="T70" fmla="*/ 2119 w 2863"/>
                <a:gd name="T71" fmla="*/ 127 h 1377"/>
                <a:gd name="T72" fmla="*/ 2376 w 2863"/>
                <a:gd name="T73" fmla="*/ 423 h 1377"/>
                <a:gd name="T74" fmla="*/ 2523 w 2863"/>
                <a:gd name="T75" fmla="*/ 460 h 1377"/>
                <a:gd name="T76" fmla="*/ 2702 w 2863"/>
                <a:gd name="T77" fmla="*/ 534 h 1377"/>
                <a:gd name="T78" fmla="*/ 2825 w 2863"/>
                <a:gd name="T79" fmla="*/ 550 h 1377"/>
                <a:gd name="T80" fmla="*/ 2837 w 2863"/>
                <a:gd name="T81" fmla="*/ 612 h 1377"/>
                <a:gd name="T82" fmla="*/ 2750 w 2863"/>
                <a:gd name="T83" fmla="*/ 777 h 1377"/>
                <a:gd name="T84" fmla="*/ 2627 w 2863"/>
                <a:gd name="T85" fmla="*/ 810 h 1377"/>
                <a:gd name="T86" fmla="*/ 2485 w 2863"/>
                <a:gd name="T87" fmla="*/ 978 h 1377"/>
                <a:gd name="T88" fmla="*/ 2376 w 2863"/>
                <a:gd name="T89" fmla="*/ 1027 h 1377"/>
                <a:gd name="T90" fmla="*/ 2362 w 2863"/>
                <a:gd name="T91" fmla="*/ 1200 h 1377"/>
                <a:gd name="T92" fmla="*/ 2157 w 2863"/>
                <a:gd name="T93" fmla="*/ 1178 h 1377"/>
                <a:gd name="T94" fmla="*/ 1902 w 2863"/>
                <a:gd name="T95" fmla="*/ 1162 h 1377"/>
                <a:gd name="T96" fmla="*/ 1713 w 2863"/>
                <a:gd name="T97" fmla="*/ 1233 h 1377"/>
                <a:gd name="T98" fmla="*/ 1583 w 2863"/>
                <a:gd name="T99" fmla="*/ 1323 h 1377"/>
                <a:gd name="T100" fmla="*/ 1422 w 2863"/>
                <a:gd name="T101" fmla="*/ 1327 h 1377"/>
                <a:gd name="T102" fmla="*/ 1292 w 2863"/>
                <a:gd name="T103" fmla="*/ 1105 h 1377"/>
                <a:gd name="T104" fmla="*/ 666 w 2863"/>
                <a:gd name="T105" fmla="*/ 1311 h 1377"/>
                <a:gd name="T106" fmla="*/ 456 w 2863"/>
                <a:gd name="T107" fmla="*/ 883 h 1377"/>
                <a:gd name="T108" fmla="*/ 267 w 2863"/>
                <a:gd name="T109" fmla="*/ 994 h 1377"/>
                <a:gd name="T110" fmla="*/ 255 w 2863"/>
                <a:gd name="T111" fmla="*/ 999 h 1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63" h="1377">
                  <a:moveTo>
                    <a:pt x="666" y="1311"/>
                  </a:moveTo>
                  <a:lnTo>
                    <a:pt x="628" y="1323"/>
                  </a:lnTo>
                  <a:lnTo>
                    <a:pt x="595" y="1273"/>
                  </a:lnTo>
                  <a:lnTo>
                    <a:pt x="595" y="1266"/>
                  </a:lnTo>
                  <a:lnTo>
                    <a:pt x="541" y="1221"/>
                  </a:lnTo>
                  <a:lnTo>
                    <a:pt x="487" y="1233"/>
                  </a:lnTo>
                  <a:lnTo>
                    <a:pt x="456" y="1240"/>
                  </a:lnTo>
                  <a:lnTo>
                    <a:pt x="418" y="1282"/>
                  </a:lnTo>
                  <a:lnTo>
                    <a:pt x="418" y="1266"/>
                  </a:lnTo>
                  <a:lnTo>
                    <a:pt x="411" y="1249"/>
                  </a:lnTo>
                  <a:lnTo>
                    <a:pt x="432" y="1195"/>
                  </a:lnTo>
                  <a:lnTo>
                    <a:pt x="394" y="1178"/>
                  </a:lnTo>
                  <a:lnTo>
                    <a:pt x="380" y="1183"/>
                  </a:lnTo>
                  <a:lnTo>
                    <a:pt x="364" y="1155"/>
                  </a:lnTo>
                  <a:lnTo>
                    <a:pt x="335" y="1155"/>
                  </a:lnTo>
                  <a:lnTo>
                    <a:pt x="335" y="1129"/>
                  </a:lnTo>
                  <a:lnTo>
                    <a:pt x="319" y="1100"/>
                  </a:lnTo>
                  <a:lnTo>
                    <a:pt x="305" y="1067"/>
                  </a:lnTo>
                  <a:lnTo>
                    <a:pt x="267" y="1051"/>
                  </a:lnTo>
                  <a:lnTo>
                    <a:pt x="267" y="1027"/>
                  </a:lnTo>
                  <a:lnTo>
                    <a:pt x="267" y="1015"/>
                  </a:lnTo>
                  <a:lnTo>
                    <a:pt x="305" y="1027"/>
                  </a:lnTo>
                  <a:lnTo>
                    <a:pt x="326" y="1034"/>
                  </a:lnTo>
                  <a:lnTo>
                    <a:pt x="357" y="1034"/>
                  </a:lnTo>
                  <a:lnTo>
                    <a:pt x="335" y="1027"/>
                  </a:lnTo>
                  <a:lnTo>
                    <a:pt x="335" y="1015"/>
                  </a:lnTo>
                  <a:lnTo>
                    <a:pt x="309" y="999"/>
                  </a:lnTo>
                  <a:lnTo>
                    <a:pt x="309" y="994"/>
                  </a:lnTo>
                  <a:lnTo>
                    <a:pt x="335" y="978"/>
                  </a:lnTo>
                  <a:lnTo>
                    <a:pt x="343" y="956"/>
                  </a:lnTo>
                  <a:lnTo>
                    <a:pt x="418" y="956"/>
                  </a:lnTo>
                  <a:lnTo>
                    <a:pt x="470" y="961"/>
                  </a:lnTo>
                  <a:lnTo>
                    <a:pt x="432" y="940"/>
                  </a:lnTo>
                  <a:lnTo>
                    <a:pt x="465" y="900"/>
                  </a:lnTo>
                  <a:lnTo>
                    <a:pt x="465" y="878"/>
                  </a:lnTo>
                  <a:lnTo>
                    <a:pt x="456" y="862"/>
                  </a:lnTo>
                  <a:lnTo>
                    <a:pt x="470" y="845"/>
                  </a:lnTo>
                  <a:lnTo>
                    <a:pt x="470" y="834"/>
                  </a:lnTo>
                  <a:lnTo>
                    <a:pt x="456" y="822"/>
                  </a:lnTo>
                  <a:lnTo>
                    <a:pt x="449" y="810"/>
                  </a:lnTo>
                  <a:lnTo>
                    <a:pt x="418" y="810"/>
                  </a:lnTo>
                  <a:lnTo>
                    <a:pt x="394" y="829"/>
                  </a:lnTo>
                  <a:lnTo>
                    <a:pt x="373" y="822"/>
                  </a:lnTo>
                  <a:lnTo>
                    <a:pt x="357" y="805"/>
                  </a:lnTo>
                  <a:lnTo>
                    <a:pt x="326" y="805"/>
                  </a:lnTo>
                  <a:lnTo>
                    <a:pt x="305" y="822"/>
                  </a:lnTo>
                  <a:lnTo>
                    <a:pt x="272" y="822"/>
                  </a:lnTo>
                  <a:lnTo>
                    <a:pt x="234" y="850"/>
                  </a:lnTo>
                  <a:lnTo>
                    <a:pt x="196" y="850"/>
                  </a:lnTo>
                  <a:lnTo>
                    <a:pt x="201" y="867"/>
                  </a:lnTo>
                  <a:lnTo>
                    <a:pt x="196" y="862"/>
                  </a:lnTo>
                  <a:lnTo>
                    <a:pt x="184" y="867"/>
                  </a:lnTo>
                  <a:lnTo>
                    <a:pt x="142" y="850"/>
                  </a:lnTo>
                  <a:lnTo>
                    <a:pt x="142" y="834"/>
                  </a:lnTo>
                  <a:lnTo>
                    <a:pt x="158" y="834"/>
                  </a:lnTo>
                  <a:lnTo>
                    <a:pt x="158" y="834"/>
                  </a:lnTo>
                  <a:lnTo>
                    <a:pt x="180" y="829"/>
                  </a:lnTo>
                  <a:lnTo>
                    <a:pt x="120" y="751"/>
                  </a:lnTo>
                  <a:lnTo>
                    <a:pt x="66" y="734"/>
                  </a:lnTo>
                  <a:lnTo>
                    <a:pt x="66" y="751"/>
                  </a:lnTo>
                  <a:lnTo>
                    <a:pt x="50" y="734"/>
                  </a:lnTo>
                  <a:lnTo>
                    <a:pt x="38" y="694"/>
                  </a:lnTo>
                  <a:lnTo>
                    <a:pt x="0" y="678"/>
                  </a:lnTo>
                  <a:lnTo>
                    <a:pt x="17" y="628"/>
                  </a:lnTo>
                  <a:lnTo>
                    <a:pt x="38" y="612"/>
                  </a:lnTo>
                  <a:lnTo>
                    <a:pt x="17" y="600"/>
                  </a:lnTo>
                  <a:lnTo>
                    <a:pt x="33" y="550"/>
                  </a:lnTo>
                  <a:lnTo>
                    <a:pt x="54" y="529"/>
                  </a:lnTo>
                  <a:lnTo>
                    <a:pt x="54" y="501"/>
                  </a:lnTo>
                  <a:lnTo>
                    <a:pt x="71" y="493"/>
                  </a:lnTo>
                  <a:lnTo>
                    <a:pt x="76" y="489"/>
                  </a:lnTo>
                  <a:lnTo>
                    <a:pt x="104" y="510"/>
                  </a:lnTo>
                  <a:lnTo>
                    <a:pt x="125" y="545"/>
                  </a:lnTo>
                  <a:lnTo>
                    <a:pt x="130" y="550"/>
                  </a:lnTo>
                  <a:lnTo>
                    <a:pt x="163" y="545"/>
                  </a:lnTo>
                  <a:lnTo>
                    <a:pt x="175" y="529"/>
                  </a:lnTo>
                  <a:lnTo>
                    <a:pt x="158" y="510"/>
                  </a:lnTo>
                  <a:lnTo>
                    <a:pt x="158" y="477"/>
                  </a:lnTo>
                  <a:lnTo>
                    <a:pt x="201" y="456"/>
                  </a:lnTo>
                  <a:lnTo>
                    <a:pt x="201" y="439"/>
                  </a:lnTo>
                  <a:lnTo>
                    <a:pt x="213" y="423"/>
                  </a:lnTo>
                  <a:lnTo>
                    <a:pt x="234" y="434"/>
                  </a:lnTo>
                  <a:lnTo>
                    <a:pt x="272" y="406"/>
                  </a:lnTo>
                  <a:lnTo>
                    <a:pt x="272" y="399"/>
                  </a:lnTo>
                  <a:lnTo>
                    <a:pt x="288" y="389"/>
                  </a:lnTo>
                  <a:lnTo>
                    <a:pt x="288" y="378"/>
                  </a:lnTo>
                  <a:lnTo>
                    <a:pt x="305" y="382"/>
                  </a:lnTo>
                  <a:lnTo>
                    <a:pt x="305" y="366"/>
                  </a:lnTo>
                  <a:lnTo>
                    <a:pt x="343" y="378"/>
                  </a:lnTo>
                  <a:lnTo>
                    <a:pt x="343" y="382"/>
                  </a:lnTo>
                  <a:lnTo>
                    <a:pt x="335" y="382"/>
                  </a:lnTo>
                  <a:lnTo>
                    <a:pt x="335" y="389"/>
                  </a:lnTo>
                  <a:lnTo>
                    <a:pt x="364" y="389"/>
                  </a:lnTo>
                  <a:lnTo>
                    <a:pt x="373" y="389"/>
                  </a:lnTo>
                  <a:lnTo>
                    <a:pt x="373" y="382"/>
                  </a:lnTo>
                  <a:lnTo>
                    <a:pt x="380" y="378"/>
                  </a:lnTo>
                  <a:lnTo>
                    <a:pt x="394" y="378"/>
                  </a:lnTo>
                  <a:lnTo>
                    <a:pt x="411" y="366"/>
                  </a:lnTo>
                  <a:lnTo>
                    <a:pt x="428" y="389"/>
                  </a:lnTo>
                  <a:lnTo>
                    <a:pt x="487" y="389"/>
                  </a:lnTo>
                  <a:lnTo>
                    <a:pt x="503" y="399"/>
                  </a:lnTo>
                  <a:lnTo>
                    <a:pt x="503" y="418"/>
                  </a:lnTo>
                  <a:lnTo>
                    <a:pt x="524" y="423"/>
                  </a:lnTo>
                  <a:lnTo>
                    <a:pt x="553" y="444"/>
                  </a:lnTo>
                  <a:lnTo>
                    <a:pt x="562" y="456"/>
                  </a:lnTo>
                  <a:lnTo>
                    <a:pt x="557" y="472"/>
                  </a:lnTo>
                  <a:lnTo>
                    <a:pt x="562" y="489"/>
                  </a:lnTo>
                  <a:lnTo>
                    <a:pt x="574" y="477"/>
                  </a:lnTo>
                  <a:lnTo>
                    <a:pt x="574" y="444"/>
                  </a:lnTo>
                  <a:lnTo>
                    <a:pt x="562" y="444"/>
                  </a:lnTo>
                  <a:lnTo>
                    <a:pt x="562" y="439"/>
                  </a:lnTo>
                  <a:lnTo>
                    <a:pt x="574" y="434"/>
                  </a:lnTo>
                  <a:lnTo>
                    <a:pt x="645" y="489"/>
                  </a:lnTo>
                  <a:lnTo>
                    <a:pt x="671" y="460"/>
                  </a:lnTo>
                  <a:lnTo>
                    <a:pt x="683" y="444"/>
                  </a:lnTo>
                  <a:lnTo>
                    <a:pt x="687" y="444"/>
                  </a:lnTo>
                  <a:lnTo>
                    <a:pt x="704" y="434"/>
                  </a:lnTo>
                  <a:lnTo>
                    <a:pt x="720" y="439"/>
                  </a:lnTo>
                  <a:lnTo>
                    <a:pt x="713" y="434"/>
                  </a:lnTo>
                  <a:lnTo>
                    <a:pt x="720" y="434"/>
                  </a:lnTo>
                  <a:lnTo>
                    <a:pt x="742" y="434"/>
                  </a:lnTo>
                  <a:lnTo>
                    <a:pt x="772" y="456"/>
                  </a:lnTo>
                  <a:lnTo>
                    <a:pt x="789" y="444"/>
                  </a:lnTo>
                  <a:lnTo>
                    <a:pt x="789" y="434"/>
                  </a:lnTo>
                  <a:lnTo>
                    <a:pt x="822" y="434"/>
                  </a:lnTo>
                  <a:lnTo>
                    <a:pt x="827" y="423"/>
                  </a:lnTo>
                  <a:lnTo>
                    <a:pt x="848" y="434"/>
                  </a:lnTo>
                  <a:lnTo>
                    <a:pt x="843" y="444"/>
                  </a:lnTo>
                  <a:lnTo>
                    <a:pt x="848" y="456"/>
                  </a:lnTo>
                  <a:lnTo>
                    <a:pt x="876" y="472"/>
                  </a:lnTo>
                  <a:lnTo>
                    <a:pt x="914" y="472"/>
                  </a:lnTo>
                  <a:lnTo>
                    <a:pt x="919" y="477"/>
                  </a:lnTo>
                  <a:lnTo>
                    <a:pt x="914" y="489"/>
                  </a:lnTo>
                  <a:lnTo>
                    <a:pt x="914" y="489"/>
                  </a:lnTo>
                  <a:lnTo>
                    <a:pt x="935" y="477"/>
                  </a:lnTo>
                  <a:lnTo>
                    <a:pt x="952" y="456"/>
                  </a:lnTo>
                  <a:lnTo>
                    <a:pt x="968" y="472"/>
                  </a:lnTo>
                  <a:lnTo>
                    <a:pt x="994" y="472"/>
                  </a:lnTo>
                  <a:lnTo>
                    <a:pt x="1044" y="460"/>
                  </a:lnTo>
                  <a:lnTo>
                    <a:pt x="1061" y="418"/>
                  </a:lnTo>
                  <a:lnTo>
                    <a:pt x="1065" y="418"/>
                  </a:lnTo>
                  <a:lnTo>
                    <a:pt x="1049" y="399"/>
                  </a:lnTo>
                  <a:lnTo>
                    <a:pt x="1011" y="389"/>
                  </a:lnTo>
                  <a:lnTo>
                    <a:pt x="1011" y="382"/>
                  </a:lnTo>
                  <a:lnTo>
                    <a:pt x="973" y="378"/>
                  </a:lnTo>
                  <a:lnTo>
                    <a:pt x="985" y="361"/>
                  </a:lnTo>
                  <a:lnTo>
                    <a:pt x="952" y="349"/>
                  </a:lnTo>
                  <a:lnTo>
                    <a:pt x="940" y="345"/>
                  </a:lnTo>
                  <a:lnTo>
                    <a:pt x="985" y="328"/>
                  </a:lnTo>
                  <a:lnTo>
                    <a:pt x="994" y="328"/>
                  </a:lnTo>
                  <a:lnTo>
                    <a:pt x="1023" y="312"/>
                  </a:lnTo>
                  <a:lnTo>
                    <a:pt x="1011" y="295"/>
                  </a:lnTo>
                  <a:lnTo>
                    <a:pt x="1006" y="288"/>
                  </a:lnTo>
                  <a:lnTo>
                    <a:pt x="1006" y="278"/>
                  </a:lnTo>
                  <a:lnTo>
                    <a:pt x="994" y="278"/>
                  </a:lnTo>
                  <a:lnTo>
                    <a:pt x="1023" y="250"/>
                  </a:lnTo>
                  <a:lnTo>
                    <a:pt x="1049" y="238"/>
                  </a:lnTo>
                  <a:lnTo>
                    <a:pt x="1082" y="250"/>
                  </a:lnTo>
                  <a:lnTo>
                    <a:pt x="1098" y="250"/>
                  </a:lnTo>
                  <a:lnTo>
                    <a:pt x="1098" y="234"/>
                  </a:lnTo>
                  <a:lnTo>
                    <a:pt x="1028" y="217"/>
                  </a:lnTo>
                  <a:lnTo>
                    <a:pt x="1037" y="193"/>
                  </a:lnTo>
                  <a:lnTo>
                    <a:pt x="1044" y="201"/>
                  </a:lnTo>
                  <a:lnTo>
                    <a:pt x="1061" y="193"/>
                  </a:lnTo>
                  <a:lnTo>
                    <a:pt x="1049" y="184"/>
                  </a:lnTo>
                  <a:lnTo>
                    <a:pt x="1011" y="184"/>
                  </a:lnTo>
                  <a:lnTo>
                    <a:pt x="1023" y="184"/>
                  </a:lnTo>
                  <a:lnTo>
                    <a:pt x="1037" y="167"/>
                  </a:lnTo>
                  <a:lnTo>
                    <a:pt x="1023" y="160"/>
                  </a:lnTo>
                  <a:lnTo>
                    <a:pt x="1023" y="156"/>
                  </a:lnTo>
                  <a:lnTo>
                    <a:pt x="1044" y="139"/>
                  </a:lnTo>
                  <a:lnTo>
                    <a:pt x="1091" y="156"/>
                  </a:lnTo>
                  <a:lnTo>
                    <a:pt x="1091" y="144"/>
                  </a:lnTo>
                  <a:lnTo>
                    <a:pt x="1113" y="144"/>
                  </a:lnTo>
                  <a:lnTo>
                    <a:pt x="1129" y="160"/>
                  </a:lnTo>
                  <a:lnTo>
                    <a:pt x="1129" y="144"/>
                  </a:lnTo>
                  <a:lnTo>
                    <a:pt x="1167" y="139"/>
                  </a:lnTo>
                  <a:lnTo>
                    <a:pt x="1167" y="127"/>
                  </a:lnTo>
                  <a:lnTo>
                    <a:pt x="1205" y="123"/>
                  </a:lnTo>
                  <a:lnTo>
                    <a:pt x="1221" y="127"/>
                  </a:lnTo>
                  <a:lnTo>
                    <a:pt x="1226" y="123"/>
                  </a:lnTo>
                  <a:lnTo>
                    <a:pt x="1226" y="111"/>
                  </a:lnTo>
                  <a:lnTo>
                    <a:pt x="1292" y="106"/>
                  </a:lnTo>
                  <a:lnTo>
                    <a:pt x="1313" y="111"/>
                  </a:lnTo>
                  <a:lnTo>
                    <a:pt x="1313" y="99"/>
                  </a:lnTo>
                  <a:lnTo>
                    <a:pt x="1330" y="82"/>
                  </a:lnTo>
                  <a:lnTo>
                    <a:pt x="1351" y="89"/>
                  </a:lnTo>
                  <a:lnTo>
                    <a:pt x="1368" y="73"/>
                  </a:lnTo>
                  <a:lnTo>
                    <a:pt x="1368" y="89"/>
                  </a:lnTo>
                  <a:lnTo>
                    <a:pt x="1476" y="66"/>
                  </a:lnTo>
                  <a:lnTo>
                    <a:pt x="1507" y="49"/>
                  </a:lnTo>
                  <a:lnTo>
                    <a:pt x="1524" y="49"/>
                  </a:lnTo>
                  <a:lnTo>
                    <a:pt x="1528" y="45"/>
                  </a:lnTo>
                  <a:lnTo>
                    <a:pt x="1524" y="28"/>
                  </a:lnTo>
                  <a:lnTo>
                    <a:pt x="1552" y="28"/>
                  </a:lnTo>
                  <a:lnTo>
                    <a:pt x="1561" y="12"/>
                  </a:lnTo>
                  <a:lnTo>
                    <a:pt x="1578" y="16"/>
                  </a:lnTo>
                  <a:lnTo>
                    <a:pt x="1578" y="0"/>
                  </a:lnTo>
                  <a:lnTo>
                    <a:pt x="1594" y="16"/>
                  </a:lnTo>
                  <a:lnTo>
                    <a:pt x="1599" y="12"/>
                  </a:lnTo>
                  <a:lnTo>
                    <a:pt x="1620" y="12"/>
                  </a:lnTo>
                  <a:lnTo>
                    <a:pt x="1670" y="33"/>
                  </a:lnTo>
                  <a:lnTo>
                    <a:pt x="1687" y="16"/>
                  </a:lnTo>
                  <a:lnTo>
                    <a:pt x="1708" y="16"/>
                  </a:lnTo>
                  <a:lnTo>
                    <a:pt x="1708" y="16"/>
                  </a:lnTo>
                  <a:lnTo>
                    <a:pt x="1713" y="45"/>
                  </a:lnTo>
                  <a:lnTo>
                    <a:pt x="1724" y="66"/>
                  </a:lnTo>
                  <a:lnTo>
                    <a:pt x="1741" y="82"/>
                  </a:lnTo>
                  <a:lnTo>
                    <a:pt x="1729" y="89"/>
                  </a:lnTo>
                  <a:lnTo>
                    <a:pt x="1729" y="111"/>
                  </a:lnTo>
                  <a:lnTo>
                    <a:pt x="1713" y="111"/>
                  </a:lnTo>
                  <a:lnTo>
                    <a:pt x="1729" y="139"/>
                  </a:lnTo>
                  <a:lnTo>
                    <a:pt x="1746" y="127"/>
                  </a:lnTo>
                  <a:lnTo>
                    <a:pt x="1762" y="139"/>
                  </a:lnTo>
                  <a:lnTo>
                    <a:pt x="1767" y="123"/>
                  </a:lnTo>
                  <a:lnTo>
                    <a:pt x="1800" y="139"/>
                  </a:lnTo>
                  <a:lnTo>
                    <a:pt x="1795" y="106"/>
                  </a:lnTo>
                  <a:lnTo>
                    <a:pt x="1800" y="111"/>
                  </a:lnTo>
                  <a:lnTo>
                    <a:pt x="1817" y="123"/>
                  </a:lnTo>
                  <a:lnTo>
                    <a:pt x="1809" y="127"/>
                  </a:lnTo>
                  <a:lnTo>
                    <a:pt x="1821" y="127"/>
                  </a:lnTo>
                  <a:lnTo>
                    <a:pt x="1817" y="156"/>
                  </a:lnTo>
                  <a:lnTo>
                    <a:pt x="1821" y="156"/>
                  </a:lnTo>
                  <a:lnTo>
                    <a:pt x="1838" y="156"/>
                  </a:lnTo>
                  <a:lnTo>
                    <a:pt x="1838" y="139"/>
                  </a:lnTo>
                  <a:lnTo>
                    <a:pt x="1821" y="144"/>
                  </a:lnTo>
                  <a:lnTo>
                    <a:pt x="1833" y="127"/>
                  </a:lnTo>
                  <a:lnTo>
                    <a:pt x="1854" y="139"/>
                  </a:lnTo>
                  <a:lnTo>
                    <a:pt x="1864" y="144"/>
                  </a:lnTo>
                  <a:lnTo>
                    <a:pt x="1876" y="156"/>
                  </a:lnTo>
                  <a:lnTo>
                    <a:pt x="1918" y="139"/>
                  </a:lnTo>
                  <a:lnTo>
                    <a:pt x="1909" y="160"/>
                  </a:lnTo>
                  <a:lnTo>
                    <a:pt x="1892" y="160"/>
                  </a:lnTo>
                  <a:lnTo>
                    <a:pt x="1876" y="184"/>
                  </a:lnTo>
                  <a:lnTo>
                    <a:pt x="1892" y="201"/>
                  </a:lnTo>
                  <a:lnTo>
                    <a:pt x="1909" y="184"/>
                  </a:lnTo>
                  <a:lnTo>
                    <a:pt x="1923" y="184"/>
                  </a:lnTo>
                  <a:lnTo>
                    <a:pt x="1946" y="184"/>
                  </a:lnTo>
                  <a:lnTo>
                    <a:pt x="1961" y="201"/>
                  </a:lnTo>
                  <a:lnTo>
                    <a:pt x="1961" y="177"/>
                  </a:lnTo>
                  <a:lnTo>
                    <a:pt x="1977" y="177"/>
                  </a:lnTo>
                  <a:lnTo>
                    <a:pt x="1984" y="160"/>
                  </a:lnTo>
                  <a:lnTo>
                    <a:pt x="1998" y="167"/>
                  </a:lnTo>
                  <a:lnTo>
                    <a:pt x="2031" y="144"/>
                  </a:lnTo>
                  <a:lnTo>
                    <a:pt x="2027" y="139"/>
                  </a:lnTo>
                  <a:lnTo>
                    <a:pt x="2031" y="139"/>
                  </a:lnTo>
                  <a:lnTo>
                    <a:pt x="2086" y="123"/>
                  </a:lnTo>
                  <a:lnTo>
                    <a:pt x="2086" y="111"/>
                  </a:lnTo>
                  <a:lnTo>
                    <a:pt x="2102" y="111"/>
                  </a:lnTo>
                  <a:lnTo>
                    <a:pt x="2124" y="106"/>
                  </a:lnTo>
                  <a:lnTo>
                    <a:pt x="2135" y="123"/>
                  </a:lnTo>
                  <a:lnTo>
                    <a:pt x="2119" y="127"/>
                  </a:lnTo>
                  <a:lnTo>
                    <a:pt x="2102" y="127"/>
                  </a:lnTo>
                  <a:lnTo>
                    <a:pt x="2107" y="144"/>
                  </a:lnTo>
                  <a:lnTo>
                    <a:pt x="2199" y="217"/>
                  </a:lnTo>
                  <a:lnTo>
                    <a:pt x="2355" y="460"/>
                  </a:lnTo>
                  <a:lnTo>
                    <a:pt x="2355" y="456"/>
                  </a:lnTo>
                  <a:lnTo>
                    <a:pt x="2388" y="439"/>
                  </a:lnTo>
                  <a:lnTo>
                    <a:pt x="2376" y="423"/>
                  </a:lnTo>
                  <a:lnTo>
                    <a:pt x="2393" y="418"/>
                  </a:lnTo>
                  <a:lnTo>
                    <a:pt x="2405" y="406"/>
                  </a:lnTo>
                  <a:lnTo>
                    <a:pt x="2431" y="423"/>
                  </a:lnTo>
                  <a:lnTo>
                    <a:pt x="2426" y="444"/>
                  </a:lnTo>
                  <a:lnTo>
                    <a:pt x="2447" y="439"/>
                  </a:lnTo>
                  <a:lnTo>
                    <a:pt x="2459" y="460"/>
                  </a:lnTo>
                  <a:lnTo>
                    <a:pt x="2523" y="460"/>
                  </a:lnTo>
                  <a:lnTo>
                    <a:pt x="2539" y="456"/>
                  </a:lnTo>
                  <a:lnTo>
                    <a:pt x="2539" y="444"/>
                  </a:lnTo>
                  <a:lnTo>
                    <a:pt x="2594" y="439"/>
                  </a:lnTo>
                  <a:lnTo>
                    <a:pt x="2627" y="456"/>
                  </a:lnTo>
                  <a:lnTo>
                    <a:pt x="2657" y="510"/>
                  </a:lnTo>
                  <a:lnTo>
                    <a:pt x="2702" y="529"/>
                  </a:lnTo>
                  <a:lnTo>
                    <a:pt x="2702" y="534"/>
                  </a:lnTo>
                  <a:lnTo>
                    <a:pt x="2702" y="545"/>
                  </a:lnTo>
                  <a:lnTo>
                    <a:pt x="2712" y="545"/>
                  </a:lnTo>
                  <a:lnTo>
                    <a:pt x="2717" y="571"/>
                  </a:lnTo>
                  <a:lnTo>
                    <a:pt x="2750" y="571"/>
                  </a:lnTo>
                  <a:lnTo>
                    <a:pt x="2787" y="583"/>
                  </a:lnTo>
                  <a:lnTo>
                    <a:pt x="2809" y="550"/>
                  </a:lnTo>
                  <a:lnTo>
                    <a:pt x="2825" y="550"/>
                  </a:lnTo>
                  <a:lnTo>
                    <a:pt x="2825" y="555"/>
                  </a:lnTo>
                  <a:lnTo>
                    <a:pt x="2809" y="571"/>
                  </a:lnTo>
                  <a:lnTo>
                    <a:pt x="2837" y="583"/>
                  </a:lnTo>
                  <a:lnTo>
                    <a:pt x="2837" y="600"/>
                  </a:lnTo>
                  <a:lnTo>
                    <a:pt x="2863" y="604"/>
                  </a:lnTo>
                  <a:lnTo>
                    <a:pt x="2863" y="623"/>
                  </a:lnTo>
                  <a:lnTo>
                    <a:pt x="2837" y="612"/>
                  </a:lnTo>
                  <a:lnTo>
                    <a:pt x="2820" y="628"/>
                  </a:lnTo>
                  <a:lnTo>
                    <a:pt x="2825" y="656"/>
                  </a:lnTo>
                  <a:lnTo>
                    <a:pt x="2809" y="666"/>
                  </a:lnTo>
                  <a:lnTo>
                    <a:pt x="2754" y="682"/>
                  </a:lnTo>
                  <a:lnTo>
                    <a:pt x="2740" y="723"/>
                  </a:lnTo>
                  <a:lnTo>
                    <a:pt x="2740" y="767"/>
                  </a:lnTo>
                  <a:lnTo>
                    <a:pt x="2750" y="777"/>
                  </a:lnTo>
                  <a:lnTo>
                    <a:pt x="2750" y="789"/>
                  </a:lnTo>
                  <a:lnTo>
                    <a:pt x="2740" y="805"/>
                  </a:lnTo>
                  <a:lnTo>
                    <a:pt x="2717" y="805"/>
                  </a:lnTo>
                  <a:lnTo>
                    <a:pt x="2686" y="829"/>
                  </a:lnTo>
                  <a:lnTo>
                    <a:pt x="2686" y="822"/>
                  </a:lnTo>
                  <a:lnTo>
                    <a:pt x="2679" y="810"/>
                  </a:lnTo>
                  <a:lnTo>
                    <a:pt x="2627" y="810"/>
                  </a:lnTo>
                  <a:lnTo>
                    <a:pt x="2565" y="789"/>
                  </a:lnTo>
                  <a:lnTo>
                    <a:pt x="2565" y="810"/>
                  </a:lnTo>
                  <a:lnTo>
                    <a:pt x="2513" y="940"/>
                  </a:lnTo>
                  <a:lnTo>
                    <a:pt x="2535" y="956"/>
                  </a:lnTo>
                  <a:lnTo>
                    <a:pt x="2535" y="978"/>
                  </a:lnTo>
                  <a:lnTo>
                    <a:pt x="2513" y="973"/>
                  </a:lnTo>
                  <a:lnTo>
                    <a:pt x="2485" y="978"/>
                  </a:lnTo>
                  <a:lnTo>
                    <a:pt x="2468" y="961"/>
                  </a:lnTo>
                  <a:lnTo>
                    <a:pt x="2355" y="989"/>
                  </a:lnTo>
                  <a:lnTo>
                    <a:pt x="2339" y="999"/>
                  </a:lnTo>
                  <a:lnTo>
                    <a:pt x="2350" y="1011"/>
                  </a:lnTo>
                  <a:lnTo>
                    <a:pt x="2372" y="1011"/>
                  </a:lnTo>
                  <a:lnTo>
                    <a:pt x="2388" y="1015"/>
                  </a:lnTo>
                  <a:lnTo>
                    <a:pt x="2376" y="1027"/>
                  </a:lnTo>
                  <a:lnTo>
                    <a:pt x="2376" y="1067"/>
                  </a:lnTo>
                  <a:lnTo>
                    <a:pt x="2405" y="1129"/>
                  </a:lnTo>
                  <a:lnTo>
                    <a:pt x="2409" y="1155"/>
                  </a:lnTo>
                  <a:lnTo>
                    <a:pt x="2376" y="1167"/>
                  </a:lnTo>
                  <a:lnTo>
                    <a:pt x="2393" y="1178"/>
                  </a:lnTo>
                  <a:lnTo>
                    <a:pt x="2372" y="1183"/>
                  </a:lnTo>
                  <a:lnTo>
                    <a:pt x="2362" y="1200"/>
                  </a:lnTo>
                  <a:lnTo>
                    <a:pt x="2372" y="1233"/>
                  </a:lnTo>
                  <a:lnTo>
                    <a:pt x="2362" y="1240"/>
                  </a:lnTo>
                  <a:lnTo>
                    <a:pt x="2350" y="1216"/>
                  </a:lnTo>
                  <a:lnTo>
                    <a:pt x="2308" y="1216"/>
                  </a:lnTo>
                  <a:lnTo>
                    <a:pt x="2296" y="1195"/>
                  </a:lnTo>
                  <a:lnTo>
                    <a:pt x="2296" y="1183"/>
                  </a:lnTo>
                  <a:lnTo>
                    <a:pt x="2157" y="1178"/>
                  </a:lnTo>
                  <a:lnTo>
                    <a:pt x="2140" y="1167"/>
                  </a:lnTo>
                  <a:lnTo>
                    <a:pt x="2119" y="1178"/>
                  </a:lnTo>
                  <a:lnTo>
                    <a:pt x="2053" y="1167"/>
                  </a:lnTo>
                  <a:lnTo>
                    <a:pt x="2048" y="1183"/>
                  </a:lnTo>
                  <a:lnTo>
                    <a:pt x="1984" y="1167"/>
                  </a:lnTo>
                  <a:lnTo>
                    <a:pt x="1946" y="1145"/>
                  </a:lnTo>
                  <a:lnTo>
                    <a:pt x="1902" y="1162"/>
                  </a:lnTo>
                  <a:lnTo>
                    <a:pt x="1892" y="1200"/>
                  </a:lnTo>
                  <a:lnTo>
                    <a:pt x="1892" y="1216"/>
                  </a:lnTo>
                  <a:lnTo>
                    <a:pt x="1809" y="1183"/>
                  </a:lnTo>
                  <a:lnTo>
                    <a:pt x="1767" y="1183"/>
                  </a:lnTo>
                  <a:lnTo>
                    <a:pt x="1729" y="1195"/>
                  </a:lnTo>
                  <a:lnTo>
                    <a:pt x="1708" y="1221"/>
                  </a:lnTo>
                  <a:lnTo>
                    <a:pt x="1713" y="1233"/>
                  </a:lnTo>
                  <a:lnTo>
                    <a:pt x="1703" y="1240"/>
                  </a:lnTo>
                  <a:lnTo>
                    <a:pt x="1691" y="1256"/>
                  </a:lnTo>
                  <a:lnTo>
                    <a:pt x="1675" y="1249"/>
                  </a:lnTo>
                  <a:lnTo>
                    <a:pt x="1649" y="1282"/>
                  </a:lnTo>
                  <a:lnTo>
                    <a:pt x="1620" y="1282"/>
                  </a:lnTo>
                  <a:lnTo>
                    <a:pt x="1583" y="1311"/>
                  </a:lnTo>
                  <a:lnTo>
                    <a:pt x="1583" y="1323"/>
                  </a:lnTo>
                  <a:lnTo>
                    <a:pt x="1552" y="1351"/>
                  </a:lnTo>
                  <a:lnTo>
                    <a:pt x="1552" y="1377"/>
                  </a:lnTo>
                  <a:lnTo>
                    <a:pt x="1540" y="1377"/>
                  </a:lnTo>
                  <a:lnTo>
                    <a:pt x="1514" y="1360"/>
                  </a:lnTo>
                  <a:lnTo>
                    <a:pt x="1524" y="1339"/>
                  </a:lnTo>
                  <a:lnTo>
                    <a:pt x="1507" y="1327"/>
                  </a:lnTo>
                  <a:lnTo>
                    <a:pt x="1422" y="1327"/>
                  </a:lnTo>
                  <a:lnTo>
                    <a:pt x="1405" y="1256"/>
                  </a:lnTo>
                  <a:lnTo>
                    <a:pt x="1368" y="1256"/>
                  </a:lnTo>
                  <a:lnTo>
                    <a:pt x="1377" y="1167"/>
                  </a:lnTo>
                  <a:lnTo>
                    <a:pt x="1351" y="1178"/>
                  </a:lnTo>
                  <a:lnTo>
                    <a:pt x="1335" y="1138"/>
                  </a:lnTo>
                  <a:lnTo>
                    <a:pt x="1313" y="1129"/>
                  </a:lnTo>
                  <a:lnTo>
                    <a:pt x="1292" y="1105"/>
                  </a:lnTo>
                  <a:lnTo>
                    <a:pt x="1259" y="1122"/>
                  </a:lnTo>
                  <a:lnTo>
                    <a:pt x="1174" y="1110"/>
                  </a:lnTo>
                  <a:lnTo>
                    <a:pt x="1091" y="1122"/>
                  </a:lnTo>
                  <a:lnTo>
                    <a:pt x="1028" y="1056"/>
                  </a:lnTo>
                  <a:lnTo>
                    <a:pt x="843" y="940"/>
                  </a:lnTo>
                  <a:lnTo>
                    <a:pt x="666" y="994"/>
                  </a:lnTo>
                  <a:lnTo>
                    <a:pt x="666" y="1311"/>
                  </a:lnTo>
                  <a:lnTo>
                    <a:pt x="666" y="1311"/>
                  </a:lnTo>
                  <a:lnTo>
                    <a:pt x="666" y="1311"/>
                  </a:lnTo>
                  <a:close/>
                  <a:moveTo>
                    <a:pt x="456" y="883"/>
                  </a:moveTo>
                  <a:lnTo>
                    <a:pt x="449" y="878"/>
                  </a:lnTo>
                  <a:lnTo>
                    <a:pt x="456" y="867"/>
                  </a:lnTo>
                  <a:lnTo>
                    <a:pt x="465" y="878"/>
                  </a:lnTo>
                  <a:lnTo>
                    <a:pt x="456" y="883"/>
                  </a:lnTo>
                  <a:lnTo>
                    <a:pt x="456" y="883"/>
                  </a:lnTo>
                  <a:lnTo>
                    <a:pt x="456" y="883"/>
                  </a:lnTo>
                  <a:close/>
                  <a:moveTo>
                    <a:pt x="267" y="994"/>
                  </a:moveTo>
                  <a:lnTo>
                    <a:pt x="267" y="989"/>
                  </a:lnTo>
                  <a:lnTo>
                    <a:pt x="272" y="989"/>
                  </a:lnTo>
                  <a:lnTo>
                    <a:pt x="267" y="994"/>
                  </a:lnTo>
                  <a:lnTo>
                    <a:pt x="267" y="994"/>
                  </a:lnTo>
                  <a:lnTo>
                    <a:pt x="267" y="994"/>
                  </a:lnTo>
                  <a:close/>
                  <a:moveTo>
                    <a:pt x="255" y="1011"/>
                  </a:moveTo>
                  <a:lnTo>
                    <a:pt x="239" y="994"/>
                  </a:lnTo>
                  <a:lnTo>
                    <a:pt x="250" y="989"/>
                  </a:lnTo>
                  <a:lnTo>
                    <a:pt x="255" y="989"/>
                  </a:lnTo>
                  <a:lnTo>
                    <a:pt x="250" y="994"/>
                  </a:lnTo>
                  <a:lnTo>
                    <a:pt x="255" y="999"/>
                  </a:lnTo>
                  <a:lnTo>
                    <a:pt x="255" y="1011"/>
                  </a:lnTo>
                  <a:lnTo>
                    <a:pt x="255" y="1011"/>
                  </a:lnTo>
                  <a:lnTo>
                    <a:pt x="255" y="1011"/>
                  </a:lnTo>
                  <a:close/>
                </a:path>
              </a:pathLst>
            </a:custGeom>
            <a:pattFill prst="lt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0" name="Freeform 489">
              <a:extLst>
                <a:ext uri="{FF2B5EF4-FFF2-40B4-BE49-F238E27FC236}">
                  <a16:creationId xmlns:a16="http://schemas.microsoft.com/office/drawing/2014/main" id="{6675047D-5B13-4ED1-99D8-7391BD5B0B52}"/>
                </a:ext>
              </a:extLst>
            </p:cNvPr>
            <p:cNvSpPr>
              <a:spLocks/>
            </p:cNvSpPr>
            <p:nvPr/>
          </p:nvSpPr>
          <p:spPr bwMode="gray">
            <a:xfrm>
              <a:off x="9248161" y="3788507"/>
              <a:ext cx="265254" cy="315766"/>
            </a:xfrm>
            <a:custGeom>
              <a:avLst/>
              <a:gdLst>
                <a:gd name="T0" fmla="*/ 5 w 536"/>
                <a:gd name="T1" fmla="*/ 127 h 638"/>
                <a:gd name="T2" fmla="*/ 33 w 536"/>
                <a:gd name="T3" fmla="*/ 120 h 638"/>
                <a:gd name="T4" fmla="*/ 49 w 536"/>
                <a:gd name="T5" fmla="*/ 87 h 638"/>
                <a:gd name="T6" fmla="*/ 75 w 536"/>
                <a:gd name="T7" fmla="*/ 66 h 638"/>
                <a:gd name="T8" fmla="*/ 104 w 536"/>
                <a:gd name="T9" fmla="*/ 94 h 638"/>
                <a:gd name="T10" fmla="*/ 125 w 536"/>
                <a:gd name="T11" fmla="*/ 94 h 638"/>
                <a:gd name="T12" fmla="*/ 113 w 536"/>
                <a:gd name="T13" fmla="*/ 49 h 638"/>
                <a:gd name="T14" fmla="*/ 104 w 536"/>
                <a:gd name="T15" fmla="*/ 16 h 638"/>
                <a:gd name="T16" fmla="*/ 146 w 536"/>
                <a:gd name="T17" fmla="*/ 9 h 638"/>
                <a:gd name="T18" fmla="*/ 179 w 536"/>
                <a:gd name="T19" fmla="*/ 66 h 638"/>
                <a:gd name="T20" fmla="*/ 196 w 536"/>
                <a:gd name="T21" fmla="*/ 87 h 638"/>
                <a:gd name="T22" fmla="*/ 255 w 536"/>
                <a:gd name="T23" fmla="*/ 137 h 638"/>
                <a:gd name="T24" fmla="*/ 276 w 536"/>
                <a:gd name="T25" fmla="*/ 111 h 638"/>
                <a:gd name="T26" fmla="*/ 305 w 536"/>
                <a:gd name="T27" fmla="*/ 149 h 638"/>
                <a:gd name="T28" fmla="*/ 342 w 536"/>
                <a:gd name="T29" fmla="*/ 177 h 638"/>
                <a:gd name="T30" fmla="*/ 331 w 536"/>
                <a:gd name="T31" fmla="*/ 194 h 638"/>
                <a:gd name="T32" fmla="*/ 319 w 536"/>
                <a:gd name="T33" fmla="*/ 215 h 638"/>
                <a:gd name="T34" fmla="*/ 276 w 536"/>
                <a:gd name="T35" fmla="*/ 222 h 638"/>
                <a:gd name="T36" fmla="*/ 288 w 536"/>
                <a:gd name="T37" fmla="*/ 248 h 638"/>
                <a:gd name="T38" fmla="*/ 357 w 536"/>
                <a:gd name="T39" fmla="*/ 288 h 638"/>
                <a:gd name="T40" fmla="*/ 357 w 536"/>
                <a:gd name="T41" fmla="*/ 309 h 638"/>
                <a:gd name="T42" fmla="*/ 380 w 536"/>
                <a:gd name="T43" fmla="*/ 326 h 638"/>
                <a:gd name="T44" fmla="*/ 439 w 536"/>
                <a:gd name="T45" fmla="*/ 399 h 638"/>
                <a:gd name="T46" fmla="*/ 456 w 536"/>
                <a:gd name="T47" fmla="*/ 416 h 638"/>
                <a:gd name="T48" fmla="*/ 465 w 536"/>
                <a:gd name="T49" fmla="*/ 456 h 638"/>
                <a:gd name="T50" fmla="*/ 482 w 536"/>
                <a:gd name="T51" fmla="*/ 444 h 638"/>
                <a:gd name="T52" fmla="*/ 494 w 536"/>
                <a:gd name="T53" fmla="*/ 460 h 638"/>
                <a:gd name="T54" fmla="*/ 520 w 536"/>
                <a:gd name="T55" fmla="*/ 477 h 638"/>
                <a:gd name="T56" fmla="*/ 494 w 536"/>
                <a:gd name="T57" fmla="*/ 498 h 638"/>
                <a:gd name="T58" fmla="*/ 527 w 536"/>
                <a:gd name="T59" fmla="*/ 555 h 638"/>
                <a:gd name="T60" fmla="*/ 527 w 536"/>
                <a:gd name="T61" fmla="*/ 583 h 638"/>
                <a:gd name="T62" fmla="*/ 456 w 536"/>
                <a:gd name="T63" fmla="*/ 588 h 638"/>
                <a:gd name="T64" fmla="*/ 435 w 536"/>
                <a:gd name="T65" fmla="*/ 593 h 638"/>
                <a:gd name="T66" fmla="*/ 418 w 536"/>
                <a:gd name="T67" fmla="*/ 605 h 638"/>
                <a:gd name="T68" fmla="*/ 418 w 536"/>
                <a:gd name="T69" fmla="*/ 638 h 638"/>
                <a:gd name="T70" fmla="*/ 385 w 536"/>
                <a:gd name="T71" fmla="*/ 621 h 638"/>
                <a:gd name="T72" fmla="*/ 357 w 536"/>
                <a:gd name="T73" fmla="*/ 605 h 638"/>
                <a:gd name="T74" fmla="*/ 385 w 536"/>
                <a:gd name="T75" fmla="*/ 555 h 638"/>
                <a:gd name="T76" fmla="*/ 385 w 536"/>
                <a:gd name="T77" fmla="*/ 510 h 638"/>
                <a:gd name="T78" fmla="*/ 373 w 536"/>
                <a:gd name="T79" fmla="*/ 494 h 638"/>
                <a:gd name="T80" fmla="*/ 347 w 536"/>
                <a:gd name="T81" fmla="*/ 477 h 638"/>
                <a:gd name="T82" fmla="*/ 331 w 536"/>
                <a:gd name="T83" fmla="*/ 387 h 638"/>
                <a:gd name="T84" fmla="*/ 293 w 536"/>
                <a:gd name="T85" fmla="*/ 349 h 638"/>
                <a:gd name="T86" fmla="*/ 234 w 536"/>
                <a:gd name="T87" fmla="*/ 305 h 638"/>
                <a:gd name="T88" fmla="*/ 222 w 536"/>
                <a:gd name="T89" fmla="*/ 316 h 638"/>
                <a:gd name="T90" fmla="*/ 212 w 536"/>
                <a:gd name="T91" fmla="*/ 333 h 638"/>
                <a:gd name="T92" fmla="*/ 179 w 536"/>
                <a:gd name="T93" fmla="*/ 349 h 638"/>
                <a:gd name="T94" fmla="*/ 163 w 536"/>
                <a:gd name="T95" fmla="*/ 333 h 638"/>
                <a:gd name="T96" fmla="*/ 125 w 536"/>
                <a:gd name="T97" fmla="*/ 333 h 638"/>
                <a:gd name="T98" fmla="*/ 104 w 536"/>
                <a:gd name="T99" fmla="*/ 349 h 638"/>
                <a:gd name="T100" fmla="*/ 59 w 536"/>
                <a:gd name="T101" fmla="*/ 366 h 638"/>
                <a:gd name="T102" fmla="*/ 75 w 536"/>
                <a:gd name="T103" fmla="*/ 309 h 638"/>
                <a:gd name="T104" fmla="*/ 87 w 536"/>
                <a:gd name="T105" fmla="*/ 288 h 638"/>
                <a:gd name="T106" fmla="*/ 87 w 536"/>
                <a:gd name="T107" fmla="*/ 255 h 638"/>
                <a:gd name="T108" fmla="*/ 87 w 536"/>
                <a:gd name="T109" fmla="*/ 222 h 638"/>
                <a:gd name="T110" fmla="*/ 49 w 536"/>
                <a:gd name="T111" fmla="*/ 222 h 638"/>
                <a:gd name="T112" fmla="*/ 21 w 536"/>
                <a:gd name="T113" fmla="*/ 205 h 638"/>
                <a:gd name="T114" fmla="*/ 21 w 536"/>
                <a:gd name="T115" fmla="*/ 177 h 638"/>
                <a:gd name="T116" fmla="*/ 5 w 536"/>
                <a:gd name="T117" fmla="*/ 165 h 638"/>
                <a:gd name="T118" fmla="*/ 0 w 536"/>
                <a:gd name="T119" fmla="*/ 16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 h="638">
                  <a:moveTo>
                    <a:pt x="0" y="160"/>
                  </a:moveTo>
                  <a:lnTo>
                    <a:pt x="5" y="127"/>
                  </a:lnTo>
                  <a:lnTo>
                    <a:pt x="38" y="120"/>
                  </a:lnTo>
                  <a:lnTo>
                    <a:pt x="33" y="120"/>
                  </a:lnTo>
                  <a:lnTo>
                    <a:pt x="33" y="111"/>
                  </a:lnTo>
                  <a:lnTo>
                    <a:pt x="49" y="87"/>
                  </a:lnTo>
                  <a:lnTo>
                    <a:pt x="59" y="83"/>
                  </a:lnTo>
                  <a:lnTo>
                    <a:pt x="75" y="66"/>
                  </a:lnTo>
                  <a:lnTo>
                    <a:pt x="87" y="94"/>
                  </a:lnTo>
                  <a:lnTo>
                    <a:pt x="104" y="94"/>
                  </a:lnTo>
                  <a:lnTo>
                    <a:pt x="113" y="104"/>
                  </a:lnTo>
                  <a:lnTo>
                    <a:pt x="125" y="94"/>
                  </a:lnTo>
                  <a:lnTo>
                    <a:pt x="113" y="87"/>
                  </a:lnTo>
                  <a:lnTo>
                    <a:pt x="113" y="49"/>
                  </a:lnTo>
                  <a:lnTo>
                    <a:pt x="109" y="38"/>
                  </a:lnTo>
                  <a:lnTo>
                    <a:pt x="104" y="16"/>
                  </a:lnTo>
                  <a:lnTo>
                    <a:pt x="113" y="0"/>
                  </a:lnTo>
                  <a:lnTo>
                    <a:pt x="146" y="9"/>
                  </a:lnTo>
                  <a:lnTo>
                    <a:pt x="179" y="38"/>
                  </a:lnTo>
                  <a:lnTo>
                    <a:pt x="179" y="66"/>
                  </a:lnTo>
                  <a:lnTo>
                    <a:pt x="201" y="54"/>
                  </a:lnTo>
                  <a:lnTo>
                    <a:pt x="196" y="87"/>
                  </a:lnTo>
                  <a:lnTo>
                    <a:pt x="217" y="120"/>
                  </a:lnTo>
                  <a:lnTo>
                    <a:pt x="255" y="137"/>
                  </a:lnTo>
                  <a:lnTo>
                    <a:pt x="264" y="120"/>
                  </a:lnTo>
                  <a:lnTo>
                    <a:pt x="276" y="111"/>
                  </a:lnTo>
                  <a:lnTo>
                    <a:pt x="319" y="137"/>
                  </a:lnTo>
                  <a:lnTo>
                    <a:pt x="305" y="149"/>
                  </a:lnTo>
                  <a:lnTo>
                    <a:pt x="319" y="149"/>
                  </a:lnTo>
                  <a:lnTo>
                    <a:pt x="342" y="177"/>
                  </a:lnTo>
                  <a:lnTo>
                    <a:pt x="342" y="182"/>
                  </a:lnTo>
                  <a:lnTo>
                    <a:pt x="331" y="194"/>
                  </a:lnTo>
                  <a:lnTo>
                    <a:pt x="331" y="198"/>
                  </a:lnTo>
                  <a:lnTo>
                    <a:pt x="319" y="215"/>
                  </a:lnTo>
                  <a:lnTo>
                    <a:pt x="276" y="205"/>
                  </a:lnTo>
                  <a:lnTo>
                    <a:pt x="276" y="222"/>
                  </a:lnTo>
                  <a:lnTo>
                    <a:pt x="264" y="238"/>
                  </a:lnTo>
                  <a:lnTo>
                    <a:pt x="288" y="248"/>
                  </a:lnTo>
                  <a:lnTo>
                    <a:pt x="326" y="276"/>
                  </a:lnTo>
                  <a:lnTo>
                    <a:pt x="357" y="288"/>
                  </a:lnTo>
                  <a:lnTo>
                    <a:pt x="357" y="305"/>
                  </a:lnTo>
                  <a:lnTo>
                    <a:pt x="357" y="309"/>
                  </a:lnTo>
                  <a:lnTo>
                    <a:pt x="373" y="326"/>
                  </a:lnTo>
                  <a:lnTo>
                    <a:pt x="380" y="326"/>
                  </a:lnTo>
                  <a:lnTo>
                    <a:pt x="397" y="361"/>
                  </a:lnTo>
                  <a:lnTo>
                    <a:pt x="439" y="399"/>
                  </a:lnTo>
                  <a:lnTo>
                    <a:pt x="449" y="416"/>
                  </a:lnTo>
                  <a:lnTo>
                    <a:pt x="456" y="416"/>
                  </a:lnTo>
                  <a:lnTo>
                    <a:pt x="456" y="437"/>
                  </a:lnTo>
                  <a:lnTo>
                    <a:pt x="465" y="456"/>
                  </a:lnTo>
                  <a:lnTo>
                    <a:pt x="472" y="456"/>
                  </a:lnTo>
                  <a:lnTo>
                    <a:pt x="482" y="444"/>
                  </a:lnTo>
                  <a:lnTo>
                    <a:pt x="489" y="460"/>
                  </a:lnTo>
                  <a:lnTo>
                    <a:pt x="494" y="460"/>
                  </a:lnTo>
                  <a:lnTo>
                    <a:pt x="510" y="477"/>
                  </a:lnTo>
                  <a:lnTo>
                    <a:pt x="520" y="477"/>
                  </a:lnTo>
                  <a:lnTo>
                    <a:pt x="510" y="494"/>
                  </a:lnTo>
                  <a:lnTo>
                    <a:pt x="494" y="498"/>
                  </a:lnTo>
                  <a:lnTo>
                    <a:pt x="536" y="538"/>
                  </a:lnTo>
                  <a:lnTo>
                    <a:pt x="527" y="555"/>
                  </a:lnTo>
                  <a:lnTo>
                    <a:pt x="520" y="555"/>
                  </a:lnTo>
                  <a:lnTo>
                    <a:pt x="527" y="583"/>
                  </a:lnTo>
                  <a:lnTo>
                    <a:pt x="472" y="609"/>
                  </a:lnTo>
                  <a:lnTo>
                    <a:pt x="456" y="588"/>
                  </a:lnTo>
                  <a:lnTo>
                    <a:pt x="439" y="593"/>
                  </a:lnTo>
                  <a:lnTo>
                    <a:pt x="435" y="593"/>
                  </a:lnTo>
                  <a:lnTo>
                    <a:pt x="435" y="605"/>
                  </a:lnTo>
                  <a:lnTo>
                    <a:pt x="418" y="605"/>
                  </a:lnTo>
                  <a:lnTo>
                    <a:pt x="427" y="628"/>
                  </a:lnTo>
                  <a:lnTo>
                    <a:pt x="418" y="638"/>
                  </a:lnTo>
                  <a:lnTo>
                    <a:pt x="411" y="638"/>
                  </a:lnTo>
                  <a:lnTo>
                    <a:pt x="385" y="621"/>
                  </a:lnTo>
                  <a:lnTo>
                    <a:pt x="373" y="628"/>
                  </a:lnTo>
                  <a:lnTo>
                    <a:pt x="357" y="605"/>
                  </a:lnTo>
                  <a:lnTo>
                    <a:pt x="380" y="588"/>
                  </a:lnTo>
                  <a:lnTo>
                    <a:pt x="385" y="555"/>
                  </a:lnTo>
                  <a:lnTo>
                    <a:pt x="380" y="550"/>
                  </a:lnTo>
                  <a:lnTo>
                    <a:pt x="385" y="510"/>
                  </a:lnTo>
                  <a:lnTo>
                    <a:pt x="373" y="498"/>
                  </a:lnTo>
                  <a:lnTo>
                    <a:pt x="373" y="494"/>
                  </a:lnTo>
                  <a:lnTo>
                    <a:pt x="373" y="482"/>
                  </a:lnTo>
                  <a:lnTo>
                    <a:pt x="347" y="477"/>
                  </a:lnTo>
                  <a:lnTo>
                    <a:pt x="326" y="444"/>
                  </a:lnTo>
                  <a:lnTo>
                    <a:pt x="331" y="387"/>
                  </a:lnTo>
                  <a:lnTo>
                    <a:pt x="326" y="371"/>
                  </a:lnTo>
                  <a:lnTo>
                    <a:pt x="293" y="349"/>
                  </a:lnTo>
                  <a:lnTo>
                    <a:pt x="272" y="309"/>
                  </a:lnTo>
                  <a:lnTo>
                    <a:pt x="234" y="305"/>
                  </a:lnTo>
                  <a:lnTo>
                    <a:pt x="222" y="309"/>
                  </a:lnTo>
                  <a:lnTo>
                    <a:pt x="222" y="316"/>
                  </a:lnTo>
                  <a:lnTo>
                    <a:pt x="212" y="326"/>
                  </a:lnTo>
                  <a:lnTo>
                    <a:pt x="212" y="333"/>
                  </a:lnTo>
                  <a:lnTo>
                    <a:pt x="196" y="333"/>
                  </a:lnTo>
                  <a:lnTo>
                    <a:pt x="179" y="349"/>
                  </a:lnTo>
                  <a:lnTo>
                    <a:pt x="179" y="342"/>
                  </a:lnTo>
                  <a:lnTo>
                    <a:pt x="163" y="333"/>
                  </a:lnTo>
                  <a:lnTo>
                    <a:pt x="142" y="316"/>
                  </a:lnTo>
                  <a:lnTo>
                    <a:pt x="125" y="333"/>
                  </a:lnTo>
                  <a:lnTo>
                    <a:pt x="113" y="333"/>
                  </a:lnTo>
                  <a:lnTo>
                    <a:pt x="104" y="349"/>
                  </a:lnTo>
                  <a:lnTo>
                    <a:pt x="75" y="371"/>
                  </a:lnTo>
                  <a:lnTo>
                    <a:pt x="59" y="366"/>
                  </a:lnTo>
                  <a:lnTo>
                    <a:pt x="75" y="326"/>
                  </a:lnTo>
                  <a:lnTo>
                    <a:pt x="75" y="309"/>
                  </a:lnTo>
                  <a:lnTo>
                    <a:pt x="71" y="305"/>
                  </a:lnTo>
                  <a:lnTo>
                    <a:pt x="87" y="288"/>
                  </a:lnTo>
                  <a:lnTo>
                    <a:pt x="75" y="272"/>
                  </a:lnTo>
                  <a:lnTo>
                    <a:pt x="87" y="255"/>
                  </a:lnTo>
                  <a:lnTo>
                    <a:pt x="75" y="231"/>
                  </a:lnTo>
                  <a:lnTo>
                    <a:pt x="87" y="222"/>
                  </a:lnTo>
                  <a:lnTo>
                    <a:pt x="54" y="215"/>
                  </a:lnTo>
                  <a:lnTo>
                    <a:pt x="49" y="222"/>
                  </a:lnTo>
                  <a:lnTo>
                    <a:pt x="33" y="222"/>
                  </a:lnTo>
                  <a:lnTo>
                    <a:pt x="21" y="205"/>
                  </a:lnTo>
                  <a:lnTo>
                    <a:pt x="33" y="177"/>
                  </a:lnTo>
                  <a:lnTo>
                    <a:pt x="21" y="177"/>
                  </a:lnTo>
                  <a:lnTo>
                    <a:pt x="16" y="160"/>
                  </a:lnTo>
                  <a:lnTo>
                    <a:pt x="5" y="165"/>
                  </a:lnTo>
                  <a:lnTo>
                    <a:pt x="0" y="160"/>
                  </a:lnTo>
                  <a:lnTo>
                    <a:pt x="0" y="160"/>
                  </a:lnTo>
                  <a:lnTo>
                    <a:pt x="0" y="160"/>
                  </a:lnTo>
                  <a:close/>
                </a:path>
              </a:pathLst>
            </a:custGeom>
            <a:pattFill prst="nar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1" name="Freeform 490">
              <a:extLst>
                <a:ext uri="{FF2B5EF4-FFF2-40B4-BE49-F238E27FC236}">
                  <a16:creationId xmlns:a16="http://schemas.microsoft.com/office/drawing/2014/main" id="{8AB7E4C5-BC54-4B56-9654-047FD75F9FCF}"/>
                </a:ext>
              </a:extLst>
            </p:cNvPr>
            <p:cNvSpPr>
              <a:spLocks/>
            </p:cNvSpPr>
            <p:nvPr/>
          </p:nvSpPr>
          <p:spPr bwMode="gray">
            <a:xfrm>
              <a:off x="6993007" y="3318321"/>
              <a:ext cx="54931" cy="64342"/>
            </a:xfrm>
            <a:custGeom>
              <a:avLst/>
              <a:gdLst>
                <a:gd name="T0" fmla="*/ 38 w 111"/>
                <a:gd name="T1" fmla="*/ 111 h 130"/>
                <a:gd name="T2" fmla="*/ 21 w 111"/>
                <a:gd name="T3" fmla="*/ 130 h 130"/>
                <a:gd name="T4" fmla="*/ 0 w 111"/>
                <a:gd name="T5" fmla="*/ 118 h 130"/>
                <a:gd name="T6" fmla="*/ 21 w 111"/>
                <a:gd name="T7" fmla="*/ 57 h 130"/>
                <a:gd name="T8" fmla="*/ 38 w 111"/>
                <a:gd name="T9" fmla="*/ 45 h 130"/>
                <a:gd name="T10" fmla="*/ 38 w 111"/>
                <a:gd name="T11" fmla="*/ 24 h 130"/>
                <a:gd name="T12" fmla="*/ 62 w 111"/>
                <a:gd name="T13" fmla="*/ 5 h 130"/>
                <a:gd name="T14" fmla="*/ 62 w 111"/>
                <a:gd name="T15" fmla="*/ 0 h 130"/>
                <a:gd name="T16" fmla="*/ 95 w 111"/>
                <a:gd name="T17" fmla="*/ 0 h 130"/>
                <a:gd name="T18" fmla="*/ 83 w 111"/>
                <a:gd name="T19" fmla="*/ 5 h 130"/>
                <a:gd name="T20" fmla="*/ 99 w 111"/>
                <a:gd name="T21" fmla="*/ 17 h 130"/>
                <a:gd name="T22" fmla="*/ 111 w 111"/>
                <a:gd name="T23" fmla="*/ 29 h 130"/>
                <a:gd name="T24" fmla="*/ 83 w 111"/>
                <a:gd name="T25" fmla="*/ 57 h 130"/>
                <a:gd name="T26" fmla="*/ 95 w 111"/>
                <a:gd name="T27" fmla="*/ 62 h 130"/>
                <a:gd name="T28" fmla="*/ 66 w 111"/>
                <a:gd name="T29" fmla="*/ 62 h 130"/>
                <a:gd name="T30" fmla="*/ 62 w 111"/>
                <a:gd name="T31" fmla="*/ 78 h 130"/>
                <a:gd name="T32" fmla="*/ 66 w 111"/>
                <a:gd name="T33" fmla="*/ 78 h 130"/>
                <a:gd name="T34" fmla="*/ 38 w 111"/>
                <a:gd name="T35" fmla="*/ 111 h 130"/>
                <a:gd name="T36" fmla="*/ 38 w 111"/>
                <a:gd name="T37" fmla="*/ 111 h 130"/>
                <a:gd name="T38" fmla="*/ 38 w 111"/>
                <a:gd name="T39" fmla="*/ 111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30">
                  <a:moveTo>
                    <a:pt x="38" y="111"/>
                  </a:moveTo>
                  <a:lnTo>
                    <a:pt x="21" y="130"/>
                  </a:lnTo>
                  <a:lnTo>
                    <a:pt x="0" y="118"/>
                  </a:lnTo>
                  <a:lnTo>
                    <a:pt x="21" y="57"/>
                  </a:lnTo>
                  <a:lnTo>
                    <a:pt x="38" y="45"/>
                  </a:lnTo>
                  <a:lnTo>
                    <a:pt x="38" y="24"/>
                  </a:lnTo>
                  <a:lnTo>
                    <a:pt x="62" y="5"/>
                  </a:lnTo>
                  <a:lnTo>
                    <a:pt x="62" y="0"/>
                  </a:lnTo>
                  <a:lnTo>
                    <a:pt x="95" y="0"/>
                  </a:lnTo>
                  <a:lnTo>
                    <a:pt x="83" y="5"/>
                  </a:lnTo>
                  <a:lnTo>
                    <a:pt x="99" y="17"/>
                  </a:lnTo>
                  <a:lnTo>
                    <a:pt x="111" y="29"/>
                  </a:lnTo>
                  <a:lnTo>
                    <a:pt x="83" y="57"/>
                  </a:lnTo>
                  <a:lnTo>
                    <a:pt x="95" y="62"/>
                  </a:lnTo>
                  <a:lnTo>
                    <a:pt x="66" y="62"/>
                  </a:lnTo>
                  <a:lnTo>
                    <a:pt x="62" y="78"/>
                  </a:lnTo>
                  <a:lnTo>
                    <a:pt x="66" y="78"/>
                  </a:lnTo>
                  <a:lnTo>
                    <a:pt x="38" y="111"/>
                  </a:lnTo>
                  <a:lnTo>
                    <a:pt x="38" y="111"/>
                  </a:lnTo>
                  <a:lnTo>
                    <a:pt x="38" y="111"/>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2" name="Freeform 491">
              <a:extLst>
                <a:ext uri="{FF2B5EF4-FFF2-40B4-BE49-F238E27FC236}">
                  <a16:creationId xmlns:a16="http://schemas.microsoft.com/office/drawing/2014/main" id="{1232D7E9-E4AD-4077-9076-8DF242E2520B}"/>
                </a:ext>
              </a:extLst>
            </p:cNvPr>
            <p:cNvSpPr>
              <a:spLocks/>
            </p:cNvSpPr>
            <p:nvPr/>
          </p:nvSpPr>
          <p:spPr bwMode="gray">
            <a:xfrm>
              <a:off x="6504563" y="2259166"/>
              <a:ext cx="252387" cy="120268"/>
            </a:xfrm>
            <a:custGeom>
              <a:avLst/>
              <a:gdLst>
                <a:gd name="T0" fmla="*/ 234 w 510"/>
                <a:gd name="T1" fmla="*/ 21 h 243"/>
                <a:gd name="T2" fmla="*/ 288 w 510"/>
                <a:gd name="T3" fmla="*/ 0 h 243"/>
                <a:gd name="T4" fmla="*/ 297 w 510"/>
                <a:gd name="T5" fmla="*/ 5 h 243"/>
                <a:gd name="T6" fmla="*/ 297 w 510"/>
                <a:gd name="T7" fmla="*/ 0 h 243"/>
                <a:gd name="T8" fmla="*/ 352 w 510"/>
                <a:gd name="T9" fmla="*/ 21 h 243"/>
                <a:gd name="T10" fmla="*/ 385 w 510"/>
                <a:gd name="T11" fmla="*/ 55 h 243"/>
                <a:gd name="T12" fmla="*/ 418 w 510"/>
                <a:gd name="T13" fmla="*/ 43 h 243"/>
                <a:gd name="T14" fmla="*/ 451 w 510"/>
                <a:gd name="T15" fmla="*/ 55 h 243"/>
                <a:gd name="T16" fmla="*/ 456 w 510"/>
                <a:gd name="T17" fmla="*/ 55 h 243"/>
                <a:gd name="T18" fmla="*/ 456 w 510"/>
                <a:gd name="T19" fmla="*/ 59 h 243"/>
                <a:gd name="T20" fmla="*/ 477 w 510"/>
                <a:gd name="T21" fmla="*/ 76 h 243"/>
                <a:gd name="T22" fmla="*/ 472 w 510"/>
                <a:gd name="T23" fmla="*/ 116 h 243"/>
                <a:gd name="T24" fmla="*/ 489 w 510"/>
                <a:gd name="T25" fmla="*/ 128 h 243"/>
                <a:gd name="T26" fmla="*/ 510 w 510"/>
                <a:gd name="T27" fmla="*/ 182 h 243"/>
                <a:gd name="T28" fmla="*/ 505 w 510"/>
                <a:gd name="T29" fmla="*/ 199 h 243"/>
                <a:gd name="T30" fmla="*/ 489 w 510"/>
                <a:gd name="T31" fmla="*/ 199 h 243"/>
                <a:gd name="T32" fmla="*/ 460 w 510"/>
                <a:gd name="T33" fmla="*/ 222 h 243"/>
                <a:gd name="T34" fmla="*/ 460 w 510"/>
                <a:gd name="T35" fmla="*/ 239 h 243"/>
                <a:gd name="T36" fmla="*/ 418 w 510"/>
                <a:gd name="T37" fmla="*/ 227 h 243"/>
                <a:gd name="T38" fmla="*/ 406 w 510"/>
                <a:gd name="T39" fmla="*/ 243 h 243"/>
                <a:gd name="T40" fmla="*/ 397 w 510"/>
                <a:gd name="T41" fmla="*/ 243 h 243"/>
                <a:gd name="T42" fmla="*/ 368 w 510"/>
                <a:gd name="T43" fmla="*/ 239 h 243"/>
                <a:gd name="T44" fmla="*/ 331 w 510"/>
                <a:gd name="T45" fmla="*/ 199 h 243"/>
                <a:gd name="T46" fmla="*/ 288 w 510"/>
                <a:gd name="T47" fmla="*/ 189 h 243"/>
                <a:gd name="T48" fmla="*/ 271 w 510"/>
                <a:gd name="T49" fmla="*/ 166 h 243"/>
                <a:gd name="T50" fmla="*/ 243 w 510"/>
                <a:gd name="T51" fmla="*/ 182 h 243"/>
                <a:gd name="T52" fmla="*/ 222 w 510"/>
                <a:gd name="T53" fmla="*/ 189 h 243"/>
                <a:gd name="T54" fmla="*/ 163 w 510"/>
                <a:gd name="T55" fmla="*/ 170 h 243"/>
                <a:gd name="T56" fmla="*/ 146 w 510"/>
                <a:gd name="T57" fmla="*/ 182 h 243"/>
                <a:gd name="T58" fmla="*/ 134 w 510"/>
                <a:gd name="T59" fmla="*/ 170 h 243"/>
                <a:gd name="T60" fmla="*/ 113 w 510"/>
                <a:gd name="T61" fmla="*/ 170 h 243"/>
                <a:gd name="T62" fmla="*/ 75 w 510"/>
                <a:gd name="T63" fmla="*/ 170 h 243"/>
                <a:gd name="T64" fmla="*/ 21 w 510"/>
                <a:gd name="T65" fmla="*/ 189 h 243"/>
                <a:gd name="T66" fmla="*/ 16 w 510"/>
                <a:gd name="T67" fmla="*/ 206 h 243"/>
                <a:gd name="T68" fmla="*/ 0 w 510"/>
                <a:gd name="T69" fmla="*/ 206 h 243"/>
                <a:gd name="T70" fmla="*/ 0 w 510"/>
                <a:gd name="T71" fmla="*/ 170 h 243"/>
                <a:gd name="T72" fmla="*/ 0 w 510"/>
                <a:gd name="T73" fmla="*/ 154 h 243"/>
                <a:gd name="T74" fmla="*/ 5 w 510"/>
                <a:gd name="T75" fmla="*/ 166 h 243"/>
                <a:gd name="T76" fmla="*/ 0 w 510"/>
                <a:gd name="T77" fmla="*/ 128 h 243"/>
                <a:gd name="T78" fmla="*/ 21 w 510"/>
                <a:gd name="T79" fmla="*/ 111 h 243"/>
                <a:gd name="T80" fmla="*/ 26 w 510"/>
                <a:gd name="T81" fmla="*/ 76 h 243"/>
                <a:gd name="T82" fmla="*/ 54 w 510"/>
                <a:gd name="T83" fmla="*/ 55 h 243"/>
                <a:gd name="T84" fmla="*/ 113 w 510"/>
                <a:gd name="T85" fmla="*/ 33 h 243"/>
                <a:gd name="T86" fmla="*/ 113 w 510"/>
                <a:gd name="T87" fmla="*/ 43 h 243"/>
                <a:gd name="T88" fmla="*/ 146 w 510"/>
                <a:gd name="T89" fmla="*/ 71 h 243"/>
                <a:gd name="T90" fmla="*/ 151 w 510"/>
                <a:gd name="T91" fmla="*/ 99 h 243"/>
                <a:gd name="T92" fmla="*/ 189 w 510"/>
                <a:gd name="T93" fmla="*/ 111 h 243"/>
                <a:gd name="T94" fmla="*/ 238 w 510"/>
                <a:gd name="T95" fmla="*/ 88 h 243"/>
                <a:gd name="T96" fmla="*/ 234 w 510"/>
                <a:gd name="T97" fmla="*/ 21 h 243"/>
                <a:gd name="T98" fmla="*/ 234 w 510"/>
                <a:gd name="T99" fmla="*/ 21 h 243"/>
                <a:gd name="T100" fmla="*/ 234 w 510"/>
                <a:gd name="T101" fmla="*/ 21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0" h="243">
                  <a:moveTo>
                    <a:pt x="234" y="21"/>
                  </a:moveTo>
                  <a:lnTo>
                    <a:pt x="288" y="0"/>
                  </a:lnTo>
                  <a:lnTo>
                    <a:pt x="297" y="5"/>
                  </a:lnTo>
                  <a:lnTo>
                    <a:pt x="297" y="0"/>
                  </a:lnTo>
                  <a:lnTo>
                    <a:pt x="352" y="21"/>
                  </a:lnTo>
                  <a:lnTo>
                    <a:pt x="385" y="55"/>
                  </a:lnTo>
                  <a:lnTo>
                    <a:pt x="418" y="43"/>
                  </a:lnTo>
                  <a:lnTo>
                    <a:pt x="451" y="55"/>
                  </a:lnTo>
                  <a:lnTo>
                    <a:pt x="456" y="55"/>
                  </a:lnTo>
                  <a:lnTo>
                    <a:pt x="456" y="59"/>
                  </a:lnTo>
                  <a:lnTo>
                    <a:pt x="477" y="76"/>
                  </a:lnTo>
                  <a:lnTo>
                    <a:pt x="472" y="116"/>
                  </a:lnTo>
                  <a:lnTo>
                    <a:pt x="489" y="128"/>
                  </a:lnTo>
                  <a:lnTo>
                    <a:pt x="510" y="182"/>
                  </a:lnTo>
                  <a:lnTo>
                    <a:pt x="505" y="199"/>
                  </a:lnTo>
                  <a:lnTo>
                    <a:pt x="489" y="199"/>
                  </a:lnTo>
                  <a:lnTo>
                    <a:pt x="460" y="222"/>
                  </a:lnTo>
                  <a:lnTo>
                    <a:pt x="460" y="239"/>
                  </a:lnTo>
                  <a:lnTo>
                    <a:pt x="418" y="227"/>
                  </a:lnTo>
                  <a:lnTo>
                    <a:pt x="406" y="243"/>
                  </a:lnTo>
                  <a:lnTo>
                    <a:pt x="397" y="243"/>
                  </a:lnTo>
                  <a:lnTo>
                    <a:pt x="368" y="239"/>
                  </a:lnTo>
                  <a:lnTo>
                    <a:pt x="331" y="199"/>
                  </a:lnTo>
                  <a:lnTo>
                    <a:pt x="288" y="189"/>
                  </a:lnTo>
                  <a:lnTo>
                    <a:pt x="271" y="166"/>
                  </a:lnTo>
                  <a:lnTo>
                    <a:pt x="243" y="182"/>
                  </a:lnTo>
                  <a:lnTo>
                    <a:pt x="222" y="189"/>
                  </a:lnTo>
                  <a:lnTo>
                    <a:pt x="163" y="170"/>
                  </a:lnTo>
                  <a:lnTo>
                    <a:pt x="146" y="182"/>
                  </a:lnTo>
                  <a:lnTo>
                    <a:pt x="134" y="170"/>
                  </a:lnTo>
                  <a:lnTo>
                    <a:pt x="113" y="170"/>
                  </a:lnTo>
                  <a:lnTo>
                    <a:pt x="75" y="170"/>
                  </a:lnTo>
                  <a:lnTo>
                    <a:pt x="21" y="189"/>
                  </a:lnTo>
                  <a:lnTo>
                    <a:pt x="16" y="206"/>
                  </a:lnTo>
                  <a:lnTo>
                    <a:pt x="0" y="206"/>
                  </a:lnTo>
                  <a:lnTo>
                    <a:pt x="0" y="170"/>
                  </a:lnTo>
                  <a:lnTo>
                    <a:pt x="0" y="154"/>
                  </a:lnTo>
                  <a:lnTo>
                    <a:pt x="5" y="166"/>
                  </a:lnTo>
                  <a:lnTo>
                    <a:pt x="0" y="128"/>
                  </a:lnTo>
                  <a:lnTo>
                    <a:pt x="21" y="111"/>
                  </a:lnTo>
                  <a:lnTo>
                    <a:pt x="26" y="76"/>
                  </a:lnTo>
                  <a:lnTo>
                    <a:pt x="54" y="55"/>
                  </a:lnTo>
                  <a:lnTo>
                    <a:pt x="113" y="33"/>
                  </a:lnTo>
                  <a:lnTo>
                    <a:pt x="113" y="43"/>
                  </a:lnTo>
                  <a:lnTo>
                    <a:pt x="146" y="71"/>
                  </a:lnTo>
                  <a:lnTo>
                    <a:pt x="151" y="99"/>
                  </a:lnTo>
                  <a:lnTo>
                    <a:pt x="189" y="111"/>
                  </a:lnTo>
                  <a:lnTo>
                    <a:pt x="238" y="88"/>
                  </a:lnTo>
                  <a:lnTo>
                    <a:pt x="234" y="21"/>
                  </a:lnTo>
                  <a:lnTo>
                    <a:pt x="234" y="21"/>
                  </a:lnTo>
                  <a:lnTo>
                    <a:pt x="234" y="21"/>
                  </a:lnTo>
                  <a:close/>
                </a:path>
              </a:pathLst>
            </a:custGeom>
            <a:pattFill prst="dk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3" name="Freeform 492">
              <a:extLst>
                <a:ext uri="{FF2B5EF4-FFF2-40B4-BE49-F238E27FC236}">
                  <a16:creationId xmlns:a16="http://schemas.microsoft.com/office/drawing/2014/main" id="{8E7BB592-9212-4D92-9E4C-7C5582C8A9EC}"/>
                </a:ext>
              </a:extLst>
            </p:cNvPr>
            <p:cNvSpPr>
              <a:spLocks noEditPoints="1"/>
            </p:cNvSpPr>
            <p:nvPr/>
          </p:nvSpPr>
          <p:spPr bwMode="gray">
            <a:xfrm>
              <a:off x="6499614" y="2341325"/>
              <a:ext cx="206859" cy="129673"/>
            </a:xfrm>
            <a:custGeom>
              <a:avLst/>
              <a:gdLst>
                <a:gd name="T0" fmla="*/ 137 w 418"/>
                <a:gd name="T1" fmla="*/ 212 h 262"/>
                <a:gd name="T2" fmla="*/ 126 w 418"/>
                <a:gd name="T3" fmla="*/ 200 h 262"/>
                <a:gd name="T4" fmla="*/ 137 w 418"/>
                <a:gd name="T5" fmla="*/ 184 h 262"/>
                <a:gd name="T6" fmla="*/ 142 w 418"/>
                <a:gd name="T7" fmla="*/ 167 h 262"/>
                <a:gd name="T8" fmla="*/ 121 w 418"/>
                <a:gd name="T9" fmla="*/ 146 h 262"/>
                <a:gd name="T10" fmla="*/ 88 w 418"/>
                <a:gd name="T11" fmla="*/ 146 h 262"/>
                <a:gd name="T12" fmla="*/ 33 w 418"/>
                <a:gd name="T13" fmla="*/ 118 h 262"/>
                <a:gd name="T14" fmla="*/ 29 w 418"/>
                <a:gd name="T15" fmla="*/ 129 h 262"/>
                <a:gd name="T16" fmla="*/ 29 w 418"/>
                <a:gd name="T17" fmla="*/ 113 h 262"/>
                <a:gd name="T18" fmla="*/ 29 w 418"/>
                <a:gd name="T19" fmla="*/ 113 h 262"/>
                <a:gd name="T20" fmla="*/ 29 w 418"/>
                <a:gd name="T21" fmla="*/ 101 h 262"/>
                <a:gd name="T22" fmla="*/ 12 w 418"/>
                <a:gd name="T23" fmla="*/ 73 h 262"/>
                <a:gd name="T24" fmla="*/ 12 w 418"/>
                <a:gd name="T25" fmla="*/ 40 h 262"/>
                <a:gd name="T26" fmla="*/ 29 w 418"/>
                <a:gd name="T27" fmla="*/ 40 h 262"/>
                <a:gd name="T28" fmla="*/ 33 w 418"/>
                <a:gd name="T29" fmla="*/ 23 h 262"/>
                <a:gd name="T30" fmla="*/ 88 w 418"/>
                <a:gd name="T31" fmla="*/ 7 h 262"/>
                <a:gd name="T32" fmla="*/ 126 w 418"/>
                <a:gd name="T33" fmla="*/ 7 h 262"/>
                <a:gd name="T34" fmla="*/ 147 w 418"/>
                <a:gd name="T35" fmla="*/ 7 h 262"/>
                <a:gd name="T36" fmla="*/ 159 w 418"/>
                <a:gd name="T37" fmla="*/ 16 h 262"/>
                <a:gd name="T38" fmla="*/ 175 w 418"/>
                <a:gd name="T39" fmla="*/ 7 h 262"/>
                <a:gd name="T40" fmla="*/ 234 w 418"/>
                <a:gd name="T41" fmla="*/ 23 h 262"/>
                <a:gd name="T42" fmla="*/ 256 w 418"/>
                <a:gd name="T43" fmla="*/ 16 h 262"/>
                <a:gd name="T44" fmla="*/ 281 w 418"/>
                <a:gd name="T45" fmla="*/ 0 h 262"/>
                <a:gd name="T46" fmla="*/ 298 w 418"/>
                <a:gd name="T47" fmla="*/ 23 h 262"/>
                <a:gd name="T48" fmla="*/ 341 w 418"/>
                <a:gd name="T49" fmla="*/ 35 h 262"/>
                <a:gd name="T50" fmla="*/ 378 w 418"/>
                <a:gd name="T51" fmla="*/ 73 h 262"/>
                <a:gd name="T52" fmla="*/ 407 w 418"/>
                <a:gd name="T53" fmla="*/ 77 h 262"/>
                <a:gd name="T54" fmla="*/ 395 w 418"/>
                <a:gd name="T55" fmla="*/ 113 h 262"/>
                <a:gd name="T56" fmla="*/ 418 w 418"/>
                <a:gd name="T57" fmla="*/ 118 h 262"/>
                <a:gd name="T58" fmla="*/ 395 w 418"/>
                <a:gd name="T59" fmla="*/ 134 h 262"/>
                <a:gd name="T60" fmla="*/ 378 w 418"/>
                <a:gd name="T61" fmla="*/ 134 h 262"/>
                <a:gd name="T62" fmla="*/ 374 w 418"/>
                <a:gd name="T63" fmla="*/ 151 h 262"/>
                <a:gd name="T64" fmla="*/ 341 w 418"/>
                <a:gd name="T65" fmla="*/ 155 h 262"/>
                <a:gd name="T66" fmla="*/ 341 w 418"/>
                <a:gd name="T67" fmla="*/ 191 h 262"/>
                <a:gd name="T68" fmla="*/ 326 w 418"/>
                <a:gd name="T69" fmla="*/ 212 h 262"/>
                <a:gd name="T70" fmla="*/ 341 w 418"/>
                <a:gd name="T71" fmla="*/ 212 h 262"/>
                <a:gd name="T72" fmla="*/ 341 w 418"/>
                <a:gd name="T73" fmla="*/ 229 h 262"/>
                <a:gd name="T74" fmla="*/ 326 w 418"/>
                <a:gd name="T75" fmla="*/ 229 h 262"/>
                <a:gd name="T76" fmla="*/ 336 w 418"/>
                <a:gd name="T77" fmla="*/ 224 h 262"/>
                <a:gd name="T78" fmla="*/ 326 w 418"/>
                <a:gd name="T79" fmla="*/ 212 h 262"/>
                <a:gd name="T80" fmla="*/ 298 w 418"/>
                <a:gd name="T81" fmla="*/ 240 h 262"/>
                <a:gd name="T82" fmla="*/ 281 w 418"/>
                <a:gd name="T83" fmla="*/ 229 h 262"/>
                <a:gd name="T84" fmla="*/ 281 w 418"/>
                <a:gd name="T85" fmla="*/ 257 h 262"/>
                <a:gd name="T86" fmla="*/ 265 w 418"/>
                <a:gd name="T87" fmla="*/ 245 h 262"/>
                <a:gd name="T88" fmla="*/ 251 w 418"/>
                <a:gd name="T89" fmla="*/ 262 h 262"/>
                <a:gd name="T90" fmla="*/ 234 w 418"/>
                <a:gd name="T91" fmla="*/ 257 h 262"/>
                <a:gd name="T92" fmla="*/ 189 w 418"/>
                <a:gd name="T93" fmla="*/ 257 h 262"/>
                <a:gd name="T94" fmla="*/ 180 w 418"/>
                <a:gd name="T95" fmla="*/ 240 h 262"/>
                <a:gd name="T96" fmla="*/ 175 w 418"/>
                <a:gd name="T97" fmla="*/ 224 h 262"/>
                <a:gd name="T98" fmla="*/ 147 w 418"/>
                <a:gd name="T99" fmla="*/ 207 h 262"/>
                <a:gd name="T100" fmla="*/ 137 w 418"/>
                <a:gd name="T101" fmla="*/ 212 h 262"/>
                <a:gd name="T102" fmla="*/ 137 w 418"/>
                <a:gd name="T103" fmla="*/ 212 h 262"/>
                <a:gd name="T104" fmla="*/ 137 w 418"/>
                <a:gd name="T105" fmla="*/ 212 h 262"/>
                <a:gd name="T106" fmla="*/ 12 w 418"/>
                <a:gd name="T107" fmla="*/ 118 h 262"/>
                <a:gd name="T108" fmla="*/ 0 w 418"/>
                <a:gd name="T109" fmla="*/ 118 h 262"/>
                <a:gd name="T110" fmla="*/ 17 w 418"/>
                <a:gd name="T111" fmla="*/ 94 h 262"/>
                <a:gd name="T112" fmla="*/ 17 w 418"/>
                <a:gd name="T113" fmla="*/ 77 h 262"/>
                <a:gd name="T114" fmla="*/ 17 w 418"/>
                <a:gd name="T115" fmla="*/ 101 h 262"/>
                <a:gd name="T116" fmla="*/ 12 w 418"/>
                <a:gd name="T117" fmla="*/ 118 h 262"/>
                <a:gd name="T118" fmla="*/ 12 w 418"/>
                <a:gd name="T119" fmla="*/ 118 h 262"/>
                <a:gd name="T120" fmla="*/ 12 w 418"/>
                <a:gd name="T121" fmla="*/ 11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8" h="262">
                  <a:moveTo>
                    <a:pt x="137" y="212"/>
                  </a:moveTo>
                  <a:lnTo>
                    <a:pt x="126" y="200"/>
                  </a:lnTo>
                  <a:lnTo>
                    <a:pt x="137" y="184"/>
                  </a:lnTo>
                  <a:lnTo>
                    <a:pt x="142" y="167"/>
                  </a:lnTo>
                  <a:lnTo>
                    <a:pt x="121" y="146"/>
                  </a:lnTo>
                  <a:lnTo>
                    <a:pt x="88" y="146"/>
                  </a:lnTo>
                  <a:lnTo>
                    <a:pt x="33" y="118"/>
                  </a:lnTo>
                  <a:lnTo>
                    <a:pt x="29" y="129"/>
                  </a:lnTo>
                  <a:lnTo>
                    <a:pt x="29" y="113"/>
                  </a:lnTo>
                  <a:lnTo>
                    <a:pt x="29" y="113"/>
                  </a:lnTo>
                  <a:lnTo>
                    <a:pt x="29" y="101"/>
                  </a:lnTo>
                  <a:lnTo>
                    <a:pt x="12" y="73"/>
                  </a:lnTo>
                  <a:lnTo>
                    <a:pt x="12" y="40"/>
                  </a:lnTo>
                  <a:lnTo>
                    <a:pt x="29" y="40"/>
                  </a:lnTo>
                  <a:lnTo>
                    <a:pt x="33" y="23"/>
                  </a:lnTo>
                  <a:lnTo>
                    <a:pt x="88" y="7"/>
                  </a:lnTo>
                  <a:lnTo>
                    <a:pt x="126" y="7"/>
                  </a:lnTo>
                  <a:lnTo>
                    <a:pt x="147" y="7"/>
                  </a:lnTo>
                  <a:lnTo>
                    <a:pt x="159" y="16"/>
                  </a:lnTo>
                  <a:lnTo>
                    <a:pt x="175" y="7"/>
                  </a:lnTo>
                  <a:lnTo>
                    <a:pt x="234" y="23"/>
                  </a:lnTo>
                  <a:lnTo>
                    <a:pt x="256" y="16"/>
                  </a:lnTo>
                  <a:lnTo>
                    <a:pt x="281" y="0"/>
                  </a:lnTo>
                  <a:lnTo>
                    <a:pt x="298" y="23"/>
                  </a:lnTo>
                  <a:lnTo>
                    <a:pt x="341" y="35"/>
                  </a:lnTo>
                  <a:lnTo>
                    <a:pt x="378" y="73"/>
                  </a:lnTo>
                  <a:lnTo>
                    <a:pt x="407" y="77"/>
                  </a:lnTo>
                  <a:lnTo>
                    <a:pt x="395" y="113"/>
                  </a:lnTo>
                  <a:lnTo>
                    <a:pt x="418" y="118"/>
                  </a:lnTo>
                  <a:lnTo>
                    <a:pt x="395" y="134"/>
                  </a:lnTo>
                  <a:lnTo>
                    <a:pt x="378" y="134"/>
                  </a:lnTo>
                  <a:lnTo>
                    <a:pt x="374" y="151"/>
                  </a:lnTo>
                  <a:lnTo>
                    <a:pt x="341" y="155"/>
                  </a:lnTo>
                  <a:lnTo>
                    <a:pt x="341" y="191"/>
                  </a:lnTo>
                  <a:lnTo>
                    <a:pt x="326" y="212"/>
                  </a:lnTo>
                  <a:lnTo>
                    <a:pt x="341" y="212"/>
                  </a:lnTo>
                  <a:lnTo>
                    <a:pt x="341" y="229"/>
                  </a:lnTo>
                  <a:lnTo>
                    <a:pt x="326" y="229"/>
                  </a:lnTo>
                  <a:lnTo>
                    <a:pt x="336" y="224"/>
                  </a:lnTo>
                  <a:lnTo>
                    <a:pt x="326" y="212"/>
                  </a:lnTo>
                  <a:lnTo>
                    <a:pt x="298" y="240"/>
                  </a:lnTo>
                  <a:lnTo>
                    <a:pt x="281" y="229"/>
                  </a:lnTo>
                  <a:lnTo>
                    <a:pt x="281" y="257"/>
                  </a:lnTo>
                  <a:lnTo>
                    <a:pt x="265" y="245"/>
                  </a:lnTo>
                  <a:lnTo>
                    <a:pt x="251" y="262"/>
                  </a:lnTo>
                  <a:lnTo>
                    <a:pt x="234" y="257"/>
                  </a:lnTo>
                  <a:lnTo>
                    <a:pt x="189" y="257"/>
                  </a:lnTo>
                  <a:lnTo>
                    <a:pt x="180" y="240"/>
                  </a:lnTo>
                  <a:lnTo>
                    <a:pt x="175" y="224"/>
                  </a:lnTo>
                  <a:lnTo>
                    <a:pt x="147" y="207"/>
                  </a:lnTo>
                  <a:lnTo>
                    <a:pt x="137" y="212"/>
                  </a:lnTo>
                  <a:lnTo>
                    <a:pt x="137" y="212"/>
                  </a:lnTo>
                  <a:lnTo>
                    <a:pt x="137" y="212"/>
                  </a:lnTo>
                  <a:close/>
                  <a:moveTo>
                    <a:pt x="12" y="118"/>
                  </a:moveTo>
                  <a:lnTo>
                    <a:pt x="0" y="118"/>
                  </a:lnTo>
                  <a:lnTo>
                    <a:pt x="17" y="94"/>
                  </a:lnTo>
                  <a:lnTo>
                    <a:pt x="17" y="77"/>
                  </a:lnTo>
                  <a:lnTo>
                    <a:pt x="17" y="101"/>
                  </a:lnTo>
                  <a:lnTo>
                    <a:pt x="12" y="118"/>
                  </a:lnTo>
                  <a:lnTo>
                    <a:pt x="12" y="118"/>
                  </a:lnTo>
                  <a:lnTo>
                    <a:pt x="12" y="118"/>
                  </a:lnTo>
                  <a:close/>
                </a:path>
              </a:pathLst>
            </a:custGeom>
            <a:pattFill prst="lt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4" name="Freeform 493">
              <a:extLst>
                <a:ext uri="{FF2B5EF4-FFF2-40B4-BE49-F238E27FC236}">
                  <a16:creationId xmlns:a16="http://schemas.microsoft.com/office/drawing/2014/main" id="{98F6E5AC-0F28-4903-8F25-03C6DC110D7C}"/>
                </a:ext>
              </a:extLst>
            </p:cNvPr>
            <p:cNvSpPr>
              <a:spLocks/>
            </p:cNvSpPr>
            <p:nvPr/>
          </p:nvSpPr>
          <p:spPr bwMode="gray">
            <a:xfrm>
              <a:off x="5376244" y="4298287"/>
              <a:ext cx="143020" cy="148480"/>
            </a:xfrm>
            <a:custGeom>
              <a:avLst/>
              <a:gdLst>
                <a:gd name="T0" fmla="*/ 0 w 289"/>
                <a:gd name="T1" fmla="*/ 115 h 300"/>
                <a:gd name="T2" fmla="*/ 12 w 289"/>
                <a:gd name="T3" fmla="*/ 94 h 300"/>
                <a:gd name="T4" fmla="*/ 38 w 289"/>
                <a:gd name="T5" fmla="*/ 71 h 300"/>
                <a:gd name="T6" fmla="*/ 66 w 289"/>
                <a:gd name="T7" fmla="*/ 54 h 300"/>
                <a:gd name="T8" fmla="*/ 66 w 289"/>
                <a:gd name="T9" fmla="*/ 33 h 300"/>
                <a:gd name="T10" fmla="*/ 76 w 289"/>
                <a:gd name="T11" fmla="*/ 21 h 300"/>
                <a:gd name="T12" fmla="*/ 88 w 289"/>
                <a:gd name="T13" fmla="*/ 0 h 300"/>
                <a:gd name="T14" fmla="*/ 121 w 289"/>
                <a:gd name="T15" fmla="*/ 0 h 300"/>
                <a:gd name="T16" fmla="*/ 142 w 289"/>
                <a:gd name="T17" fmla="*/ 16 h 300"/>
                <a:gd name="T18" fmla="*/ 147 w 289"/>
                <a:gd name="T19" fmla="*/ 54 h 300"/>
                <a:gd name="T20" fmla="*/ 142 w 289"/>
                <a:gd name="T21" fmla="*/ 87 h 300"/>
                <a:gd name="T22" fmla="*/ 147 w 289"/>
                <a:gd name="T23" fmla="*/ 75 h 300"/>
                <a:gd name="T24" fmla="*/ 163 w 289"/>
                <a:gd name="T25" fmla="*/ 94 h 300"/>
                <a:gd name="T26" fmla="*/ 185 w 289"/>
                <a:gd name="T27" fmla="*/ 87 h 300"/>
                <a:gd name="T28" fmla="*/ 196 w 289"/>
                <a:gd name="T29" fmla="*/ 59 h 300"/>
                <a:gd name="T30" fmla="*/ 201 w 289"/>
                <a:gd name="T31" fmla="*/ 59 h 300"/>
                <a:gd name="T32" fmla="*/ 213 w 289"/>
                <a:gd name="T33" fmla="*/ 71 h 300"/>
                <a:gd name="T34" fmla="*/ 229 w 289"/>
                <a:gd name="T35" fmla="*/ 94 h 300"/>
                <a:gd name="T36" fmla="*/ 218 w 289"/>
                <a:gd name="T37" fmla="*/ 115 h 300"/>
                <a:gd name="T38" fmla="*/ 201 w 289"/>
                <a:gd name="T39" fmla="*/ 144 h 300"/>
                <a:gd name="T40" fmla="*/ 234 w 289"/>
                <a:gd name="T41" fmla="*/ 165 h 300"/>
                <a:gd name="T42" fmla="*/ 251 w 289"/>
                <a:gd name="T43" fmla="*/ 165 h 300"/>
                <a:gd name="T44" fmla="*/ 255 w 289"/>
                <a:gd name="T45" fmla="*/ 189 h 300"/>
                <a:gd name="T46" fmla="*/ 289 w 289"/>
                <a:gd name="T47" fmla="*/ 189 h 300"/>
                <a:gd name="T48" fmla="*/ 289 w 289"/>
                <a:gd name="T49" fmla="*/ 215 h 300"/>
                <a:gd name="T50" fmla="*/ 284 w 289"/>
                <a:gd name="T51" fmla="*/ 222 h 300"/>
                <a:gd name="T52" fmla="*/ 289 w 289"/>
                <a:gd name="T53" fmla="*/ 227 h 300"/>
                <a:gd name="T54" fmla="*/ 272 w 289"/>
                <a:gd name="T55" fmla="*/ 260 h 300"/>
                <a:gd name="T56" fmla="*/ 284 w 289"/>
                <a:gd name="T57" fmla="*/ 300 h 300"/>
                <a:gd name="T58" fmla="*/ 229 w 289"/>
                <a:gd name="T59" fmla="*/ 283 h 300"/>
                <a:gd name="T60" fmla="*/ 163 w 289"/>
                <a:gd name="T61" fmla="*/ 255 h 300"/>
                <a:gd name="T62" fmla="*/ 76 w 289"/>
                <a:gd name="T63" fmla="*/ 165 h 300"/>
                <a:gd name="T64" fmla="*/ 50 w 289"/>
                <a:gd name="T65" fmla="*/ 165 h 300"/>
                <a:gd name="T66" fmla="*/ 38 w 289"/>
                <a:gd name="T67" fmla="*/ 149 h 300"/>
                <a:gd name="T68" fmla="*/ 12 w 289"/>
                <a:gd name="T69" fmla="*/ 132 h 300"/>
                <a:gd name="T70" fmla="*/ 0 w 289"/>
                <a:gd name="T71" fmla="*/ 115 h 300"/>
                <a:gd name="T72" fmla="*/ 0 w 289"/>
                <a:gd name="T73" fmla="*/ 115 h 300"/>
                <a:gd name="T74" fmla="*/ 0 w 289"/>
                <a:gd name="T75" fmla="*/ 11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9" h="300">
                  <a:moveTo>
                    <a:pt x="0" y="115"/>
                  </a:moveTo>
                  <a:lnTo>
                    <a:pt x="12" y="94"/>
                  </a:lnTo>
                  <a:lnTo>
                    <a:pt x="38" y="71"/>
                  </a:lnTo>
                  <a:lnTo>
                    <a:pt x="66" y="54"/>
                  </a:lnTo>
                  <a:lnTo>
                    <a:pt x="66" y="33"/>
                  </a:lnTo>
                  <a:lnTo>
                    <a:pt x="76" y="21"/>
                  </a:lnTo>
                  <a:lnTo>
                    <a:pt x="88" y="0"/>
                  </a:lnTo>
                  <a:lnTo>
                    <a:pt x="121" y="0"/>
                  </a:lnTo>
                  <a:lnTo>
                    <a:pt x="142" y="16"/>
                  </a:lnTo>
                  <a:lnTo>
                    <a:pt x="147" y="54"/>
                  </a:lnTo>
                  <a:lnTo>
                    <a:pt x="142" y="87"/>
                  </a:lnTo>
                  <a:lnTo>
                    <a:pt x="147" y="75"/>
                  </a:lnTo>
                  <a:lnTo>
                    <a:pt x="163" y="94"/>
                  </a:lnTo>
                  <a:lnTo>
                    <a:pt x="185" y="87"/>
                  </a:lnTo>
                  <a:lnTo>
                    <a:pt x="196" y="59"/>
                  </a:lnTo>
                  <a:lnTo>
                    <a:pt x="201" y="59"/>
                  </a:lnTo>
                  <a:lnTo>
                    <a:pt x="213" y="71"/>
                  </a:lnTo>
                  <a:lnTo>
                    <a:pt x="229" y="94"/>
                  </a:lnTo>
                  <a:lnTo>
                    <a:pt x="218" y="115"/>
                  </a:lnTo>
                  <a:lnTo>
                    <a:pt x="201" y="144"/>
                  </a:lnTo>
                  <a:lnTo>
                    <a:pt x="234" y="165"/>
                  </a:lnTo>
                  <a:lnTo>
                    <a:pt x="251" y="165"/>
                  </a:lnTo>
                  <a:lnTo>
                    <a:pt x="255" y="189"/>
                  </a:lnTo>
                  <a:lnTo>
                    <a:pt x="289" y="189"/>
                  </a:lnTo>
                  <a:lnTo>
                    <a:pt x="289" y="215"/>
                  </a:lnTo>
                  <a:lnTo>
                    <a:pt x="284" y="222"/>
                  </a:lnTo>
                  <a:lnTo>
                    <a:pt x="289" y="227"/>
                  </a:lnTo>
                  <a:lnTo>
                    <a:pt x="272" y="260"/>
                  </a:lnTo>
                  <a:lnTo>
                    <a:pt x="284" y="300"/>
                  </a:lnTo>
                  <a:lnTo>
                    <a:pt x="229" y="283"/>
                  </a:lnTo>
                  <a:lnTo>
                    <a:pt x="163" y="255"/>
                  </a:lnTo>
                  <a:lnTo>
                    <a:pt x="76" y="165"/>
                  </a:lnTo>
                  <a:lnTo>
                    <a:pt x="50" y="165"/>
                  </a:lnTo>
                  <a:lnTo>
                    <a:pt x="38" y="149"/>
                  </a:lnTo>
                  <a:lnTo>
                    <a:pt x="12" y="132"/>
                  </a:lnTo>
                  <a:lnTo>
                    <a:pt x="0" y="115"/>
                  </a:lnTo>
                  <a:lnTo>
                    <a:pt x="0" y="115"/>
                  </a:lnTo>
                  <a:lnTo>
                    <a:pt x="0" y="115"/>
                  </a:lnTo>
                  <a:close/>
                </a:path>
              </a:pathLst>
            </a:custGeom>
            <a:pattFill prst="lt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5" name="Freeform 494">
              <a:extLst>
                <a:ext uri="{FF2B5EF4-FFF2-40B4-BE49-F238E27FC236}">
                  <a16:creationId xmlns:a16="http://schemas.microsoft.com/office/drawing/2014/main" id="{E46921E4-D8EC-4E09-B7FF-26734FB8F634}"/>
                </a:ext>
              </a:extLst>
            </p:cNvPr>
            <p:cNvSpPr>
              <a:spLocks/>
            </p:cNvSpPr>
            <p:nvPr/>
          </p:nvSpPr>
          <p:spPr bwMode="gray">
            <a:xfrm>
              <a:off x="6358574" y="2672930"/>
              <a:ext cx="198446" cy="83149"/>
            </a:xfrm>
            <a:custGeom>
              <a:avLst/>
              <a:gdLst>
                <a:gd name="T0" fmla="*/ 155 w 401"/>
                <a:gd name="T1" fmla="*/ 144 h 168"/>
                <a:gd name="T2" fmla="*/ 139 w 401"/>
                <a:gd name="T3" fmla="*/ 152 h 168"/>
                <a:gd name="T4" fmla="*/ 139 w 401"/>
                <a:gd name="T5" fmla="*/ 161 h 168"/>
                <a:gd name="T6" fmla="*/ 101 w 401"/>
                <a:gd name="T7" fmla="*/ 168 h 168"/>
                <a:gd name="T8" fmla="*/ 68 w 401"/>
                <a:gd name="T9" fmla="*/ 168 h 168"/>
                <a:gd name="T10" fmla="*/ 37 w 401"/>
                <a:gd name="T11" fmla="*/ 144 h 168"/>
                <a:gd name="T12" fmla="*/ 26 w 401"/>
                <a:gd name="T13" fmla="*/ 144 h 168"/>
                <a:gd name="T14" fmla="*/ 0 w 401"/>
                <a:gd name="T15" fmla="*/ 111 h 168"/>
                <a:gd name="T16" fmla="*/ 9 w 401"/>
                <a:gd name="T17" fmla="*/ 90 h 168"/>
                <a:gd name="T18" fmla="*/ 26 w 401"/>
                <a:gd name="T19" fmla="*/ 67 h 168"/>
                <a:gd name="T20" fmla="*/ 63 w 401"/>
                <a:gd name="T21" fmla="*/ 67 h 168"/>
                <a:gd name="T22" fmla="*/ 85 w 401"/>
                <a:gd name="T23" fmla="*/ 50 h 168"/>
                <a:gd name="T24" fmla="*/ 101 w 401"/>
                <a:gd name="T25" fmla="*/ 29 h 168"/>
                <a:gd name="T26" fmla="*/ 122 w 401"/>
                <a:gd name="T27" fmla="*/ 12 h 168"/>
                <a:gd name="T28" fmla="*/ 139 w 401"/>
                <a:gd name="T29" fmla="*/ 12 h 168"/>
                <a:gd name="T30" fmla="*/ 144 w 401"/>
                <a:gd name="T31" fmla="*/ 12 h 168"/>
                <a:gd name="T32" fmla="*/ 155 w 401"/>
                <a:gd name="T33" fmla="*/ 17 h 168"/>
                <a:gd name="T34" fmla="*/ 160 w 401"/>
                <a:gd name="T35" fmla="*/ 17 h 168"/>
                <a:gd name="T36" fmla="*/ 186 w 401"/>
                <a:gd name="T37" fmla="*/ 0 h 168"/>
                <a:gd name="T38" fmla="*/ 203 w 401"/>
                <a:gd name="T39" fmla="*/ 17 h 168"/>
                <a:gd name="T40" fmla="*/ 207 w 401"/>
                <a:gd name="T41" fmla="*/ 17 h 168"/>
                <a:gd name="T42" fmla="*/ 207 w 401"/>
                <a:gd name="T43" fmla="*/ 33 h 168"/>
                <a:gd name="T44" fmla="*/ 224 w 401"/>
                <a:gd name="T45" fmla="*/ 38 h 168"/>
                <a:gd name="T46" fmla="*/ 229 w 401"/>
                <a:gd name="T47" fmla="*/ 29 h 168"/>
                <a:gd name="T48" fmla="*/ 245 w 401"/>
                <a:gd name="T49" fmla="*/ 17 h 168"/>
                <a:gd name="T50" fmla="*/ 278 w 401"/>
                <a:gd name="T51" fmla="*/ 17 h 168"/>
                <a:gd name="T52" fmla="*/ 283 w 401"/>
                <a:gd name="T53" fmla="*/ 29 h 168"/>
                <a:gd name="T54" fmla="*/ 300 w 401"/>
                <a:gd name="T55" fmla="*/ 17 h 168"/>
                <a:gd name="T56" fmla="*/ 337 w 401"/>
                <a:gd name="T57" fmla="*/ 17 h 168"/>
                <a:gd name="T58" fmla="*/ 363 w 401"/>
                <a:gd name="T59" fmla="*/ 29 h 168"/>
                <a:gd name="T60" fmla="*/ 363 w 401"/>
                <a:gd name="T61" fmla="*/ 33 h 168"/>
                <a:gd name="T62" fmla="*/ 401 w 401"/>
                <a:gd name="T63" fmla="*/ 50 h 168"/>
                <a:gd name="T64" fmla="*/ 387 w 401"/>
                <a:gd name="T65" fmla="*/ 83 h 168"/>
                <a:gd name="T66" fmla="*/ 370 w 401"/>
                <a:gd name="T67" fmla="*/ 95 h 168"/>
                <a:gd name="T68" fmla="*/ 370 w 401"/>
                <a:gd name="T69" fmla="*/ 111 h 168"/>
                <a:gd name="T70" fmla="*/ 349 w 401"/>
                <a:gd name="T71" fmla="*/ 111 h 168"/>
                <a:gd name="T72" fmla="*/ 321 w 401"/>
                <a:gd name="T73" fmla="*/ 95 h 168"/>
                <a:gd name="T74" fmla="*/ 300 w 401"/>
                <a:gd name="T75" fmla="*/ 95 h 168"/>
                <a:gd name="T76" fmla="*/ 266 w 401"/>
                <a:gd name="T77" fmla="*/ 95 h 168"/>
                <a:gd name="T78" fmla="*/ 262 w 401"/>
                <a:gd name="T79" fmla="*/ 95 h 168"/>
                <a:gd name="T80" fmla="*/ 245 w 401"/>
                <a:gd name="T81" fmla="*/ 123 h 168"/>
                <a:gd name="T82" fmla="*/ 215 w 401"/>
                <a:gd name="T83" fmla="*/ 140 h 168"/>
                <a:gd name="T84" fmla="*/ 193 w 401"/>
                <a:gd name="T85" fmla="*/ 128 h 168"/>
                <a:gd name="T86" fmla="*/ 186 w 401"/>
                <a:gd name="T87" fmla="*/ 140 h 168"/>
                <a:gd name="T88" fmla="*/ 155 w 401"/>
                <a:gd name="T89" fmla="*/ 144 h 168"/>
                <a:gd name="T90" fmla="*/ 155 w 401"/>
                <a:gd name="T91" fmla="*/ 144 h 168"/>
                <a:gd name="T92" fmla="*/ 155 w 401"/>
                <a:gd name="T93" fmla="*/ 14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1" h="168">
                  <a:moveTo>
                    <a:pt x="155" y="144"/>
                  </a:moveTo>
                  <a:lnTo>
                    <a:pt x="139" y="152"/>
                  </a:lnTo>
                  <a:lnTo>
                    <a:pt x="139" y="161"/>
                  </a:lnTo>
                  <a:lnTo>
                    <a:pt x="101" y="168"/>
                  </a:lnTo>
                  <a:lnTo>
                    <a:pt x="68" y="168"/>
                  </a:lnTo>
                  <a:lnTo>
                    <a:pt x="37" y="144"/>
                  </a:lnTo>
                  <a:lnTo>
                    <a:pt x="26" y="144"/>
                  </a:lnTo>
                  <a:lnTo>
                    <a:pt x="0" y="111"/>
                  </a:lnTo>
                  <a:lnTo>
                    <a:pt x="9" y="90"/>
                  </a:lnTo>
                  <a:lnTo>
                    <a:pt x="26" y="67"/>
                  </a:lnTo>
                  <a:lnTo>
                    <a:pt x="63" y="67"/>
                  </a:lnTo>
                  <a:lnTo>
                    <a:pt x="85" y="50"/>
                  </a:lnTo>
                  <a:lnTo>
                    <a:pt x="101" y="29"/>
                  </a:lnTo>
                  <a:lnTo>
                    <a:pt x="122" y="12"/>
                  </a:lnTo>
                  <a:lnTo>
                    <a:pt x="139" y="12"/>
                  </a:lnTo>
                  <a:lnTo>
                    <a:pt x="144" y="12"/>
                  </a:lnTo>
                  <a:lnTo>
                    <a:pt x="155" y="17"/>
                  </a:lnTo>
                  <a:lnTo>
                    <a:pt x="160" y="17"/>
                  </a:lnTo>
                  <a:lnTo>
                    <a:pt x="186" y="0"/>
                  </a:lnTo>
                  <a:lnTo>
                    <a:pt x="203" y="17"/>
                  </a:lnTo>
                  <a:lnTo>
                    <a:pt x="207" y="17"/>
                  </a:lnTo>
                  <a:lnTo>
                    <a:pt x="207" y="33"/>
                  </a:lnTo>
                  <a:lnTo>
                    <a:pt x="224" y="38"/>
                  </a:lnTo>
                  <a:lnTo>
                    <a:pt x="229" y="29"/>
                  </a:lnTo>
                  <a:lnTo>
                    <a:pt x="245" y="17"/>
                  </a:lnTo>
                  <a:lnTo>
                    <a:pt x="278" y="17"/>
                  </a:lnTo>
                  <a:lnTo>
                    <a:pt x="283" y="29"/>
                  </a:lnTo>
                  <a:lnTo>
                    <a:pt x="300" y="17"/>
                  </a:lnTo>
                  <a:lnTo>
                    <a:pt x="337" y="17"/>
                  </a:lnTo>
                  <a:lnTo>
                    <a:pt x="363" y="29"/>
                  </a:lnTo>
                  <a:lnTo>
                    <a:pt x="363" y="33"/>
                  </a:lnTo>
                  <a:lnTo>
                    <a:pt x="401" y="50"/>
                  </a:lnTo>
                  <a:lnTo>
                    <a:pt x="387" y="83"/>
                  </a:lnTo>
                  <a:lnTo>
                    <a:pt x="370" y="95"/>
                  </a:lnTo>
                  <a:lnTo>
                    <a:pt x="370" y="111"/>
                  </a:lnTo>
                  <a:lnTo>
                    <a:pt x="349" y="111"/>
                  </a:lnTo>
                  <a:lnTo>
                    <a:pt x="321" y="95"/>
                  </a:lnTo>
                  <a:lnTo>
                    <a:pt x="300" y="95"/>
                  </a:lnTo>
                  <a:lnTo>
                    <a:pt x="266" y="95"/>
                  </a:lnTo>
                  <a:lnTo>
                    <a:pt x="262" y="95"/>
                  </a:lnTo>
                  <a:lnTo>
                    <a:pt x="245" y="123"/>
                  </a:lnTo>
                  <a:lnTo>
                    <a:pt x="215" y="140"/>
                  </a:lnTo>
                  <a:lnTo>
                    <a:pt x="193" y="128"/>
                  </a:lnTo>
                  <a:lnTo>
                    <a:pt x="186" y="140"/>
                  </a:lnTo>
                  <a:lnTo>
                    <a:pt x="155" y="144"/>
                  </a:lnTo>
                  <a:lnTo>
                    <a:pt x="155" y="144"/>
                  </a:lnTo>
                  <a:lnTo>
                    <a:pt x="155" y="144"/>
                  </a:lnTo>
                  <a:close/>
                </a:path>
              </a:pathLst>
            </a:custGeom>
            <a:pattFill prst="dk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6" name="Freeform 495">
              <a:extLst>
                <a:ext uri="{FF2B5EF4-FFF2-40B4-BE49-F238E27FC236}">
                  <a16:creationId xmlns:a16="http://schemas.microsoft.com/office/drawing/2014/main" id="{0034259E-2A6E-4975-8E80-CBF0B69122A2}"/>
                </a:ext>
              </a:extLst>
            </p:cNvPr>
            <p:cNvSpPr>
              <a:spLocks/>
            </p:cNvSpPr>
            <p:nvPr/>
          </p:nvSpPr>
          <p:spPr bwMode="gray">
            <a:xfrm>
              <a:off x="6103713" y="2780825"/>
              <a:ext cx="3464" cy="9404"/>
            </a:xfrm>
            <a:custGeom>
              <a:avLst/>
              <a:gdLst>
                <a:gd name="T0" fmla="*/ 7 w 7"/>
                <a:gd name="T1" fmla="*/ 0 h 19"/>
                <a:gd name="T2" fmla="*/ 7 w 7"/>
                <a:gd name="T3" fmla="*/ 19 h 19"/>
                <a:gd name="T4" fmla="*/ 0 w 7"/>
                <a:gd name="T5" fmla="*/ 19 h 19"/>
                <a:gd name="T6" fmla="*/ 7 w 7"/>
                <a:gd name="T7" fmla="*/ 0 h 19"/>
                <a:gd name="T8" fmla="*/ 7 w 7"/>
                <a:gd name="T9" fmla="*/ 0 h 19"/>
                <a:gd name="T10" fmla="*/ 7 w 7"/>
                <a:gd name="T11" fmla="*/ 0 h 19"/>
              </a:gdLst>
              <a:ahLst/>
              <a:cxnLst>
                <a:cxn ang="0">
                  <a:pos x="T0" y="T1"/>
                </a:cxn>
                <a:cxn ang="0">
                  <a:pos x="T2" y="T3"/>
                </a:cxn>
                <a:cxn ang="0">
                  <a:pos x="T4" y="T5"/>
                </a:cxn>
                <a:cxn ang="0">
                  <a:pos x="T6" y="T7"/>
                </a:cxn>
                <a:cxn ang="0">
                  <a:pos x="T8" y="T9"/>
                </a:cxn>
                <a:cxn ang="0">
                  <a:pos x="T10" y="T11"/>
                </a:cxn>
              </a:cxnLst>
              <a:rect l="0" t="0" r="r" b="b"/>
              <a:pathLst>
                <a:path w="7" h="19">
                  <a:moveTo>
                    <a:pt x="7" y="0"/>
                  </a:moveTo>
                  <a:lnTo>
                    <a:pt x="7" y="19"/>
                  </a:lnTo>
                  <a:lnTo>
                    <a:pt x="0" y="19"/>
                  </a:lnTo>
                  <a:lnTo>
                    <a:pt x="7" y="0"/>
                  </a:lnTo>
                  <a:lnTo>
                    <a:pt x="7" y="0"/>
                  </a:lnTo>
                  <a:lnTo>
                    <a:pt x="7" y="0"/>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7" name="Freeform 496">
              <a:extLst>
                <a:ext uri="{FF2B5EF4-FFF2-40B4-BE49-F238E27FC236}">
                  <a16:creationId xmlns:a16="http://schemas.microsoft.com/office/drawing/2014/main" id="{9569CDBC-FF6F-4BC5-BF47-44BD869EBB4A}"/>
                </a:ext>
              </a:extLst>
            </p:cNvPr>
            <p:cNvSpPr>
              <a:spLocks/>
            </p:cNvSpPr>
            <p:nvPr/>
          </p:nvSpPr>
          <p:spPr bwMode="gray">
            <a:xfrm>
              <a:off x="6712412" y="5650937"/>
              <a:ext cx="86604" cy="80673"/>
            </a:xfrm>
            <a:custGeom>
              <a:avLst/>
              <a:gdLst>
                <a:gd name="T0" fmla="*/ 128 w 175"/>
                <a:gd name="T1" fmla="*/ 12 h 163"/>
                <a:gd name="T2" fmla="*/ 166 w 175"/>
                <a:gd name="T3" fmla="*/ 38 h 163"/>
                <a:gd name="T4" fmla="*/ 175 w 175"/>
                <a:gd name="T5" fmla="*/ 56 h 163"/>
                <a:gd name="T6" fmla="*/ 159 w 175"/>
                <a:gd name="T7" fmla="*/ 73 h 163"/>
                <a:gd name="T8" fmla="*/ 159 w 175"/>
                <a:gd name="T9" fmla="*/ 78 h 163"/>
                <a:gd name="T10" fmla="*/ 149 w 175"/>
                <a:gd name="T11" fmla="*/ 78 h 163"/>
                <a:gd name="T12" fmla="*/ 149 w 175"/>
                <a:gd name="T13" fmla="*/ 106 h 163"/>
                <a:gd name="T14" fmla="*/ 128 w 175"/>
                <a:gd name="T15" fmla="*/ 123 h 163"/>
                <a:gd name="T16" fmla="*/ 95 w 175"/>
                <a:gd name="T17" fmla="*/ 123 h 163"/>
                <a:gd name="T18" fmla="*/ 71 w 175"/>
                <a:gd name="T19" fmla="*/ 163 h 163"/>
                <a:gd name="T20" fmla="*/ 50 w 175"/>
                <a:gd name="T21" fmla="*/ 163 h 163"/>
                <a:gd name="T22" fmla="*/ 29 w 175"/>
                <a:gd name="T23" fmla="*/ 134 h 163"/>
                <a:gd name="T24" fmla="*/ 17 w 175"/>
                <a:gd name="T25" fmla="*/ 111 h 163"/>
                <a:gd name="T26" fmla="*/ 0 w 175"/>
                <a:gd name="T27" fmla="*/ 78 h 163"/>
                <a:gd name="T28" fmla="*/ 17 w 175"/>
                <a:gd name="T29" fmla="*/ 73 h 163"/>
                <a:gd name="T30" fmla="*/ 38 w 175"/>
                <a:gd name="T31" fmla="*/ 33 h 163"/>
                <a:gd name="T32" fmla="*/ 83 w 175"/>
                <a:gd name="T33" fmla="*/ 12 h 163"/>
                <a:gd name="T34" fmla="*/ 111 w 175"/>
                <a:gd name="T35" fmla="*/ 0 h 163"/>
                <a:gd name="T36" fmla="*/ 128 w 175"/>
                <a:gd name="T37" fmla="*/ 12 h 163"/>
                <a:gd name="T38" fmla="*/ 128 w 175"/>
                <a:gd name="T39" fmla="*/ 12 h 163"/>
                <a:gd name="T40" fmla="*/ 128 w 175"/>
                <a:gd name="T41" fmla="*/ 1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63">
                  <a:moveTo>
                    <a:pt x="128" y="12"/>
                  </a:moveTo>
                  <a:lnTo>
                    <a:pt x="166" y="38"/>
                  </a:lnTo>
                  <a:lnTo>
                    <a:pt x="175" y="56"/>
                  </a:lnTo>
                  <a:lnTo>
                    <a:pt x="159" y="73"/>
                  </a:lnTo>
                  <a:lnTo>
                    <a:pt x="159" y="78"/>
                  </a:lnTo>
                  <a:lnTo>
                    <a:pt x="149" y="78"/>
                  </a:lnTo>
                  <a:lnTo>
                    <a:pt x="149" y="106"/>
                  </a:lnTo>
                  <a:lnTo>
                    <a:pt x="128" y="123"/>
                  </a:lnTo>
                  <a:lnTo>
                    <a:pt x="95" y="123"/>
                  </a:lnTo>
                  <a:lnTo>
                    <a:pt x="71" y="163"/>
                  </a:lnTo>
                  <a:lnTo>
                    <a:pt x="50" y="163"/>
                  </a:lnTo>
                  <a:lnTo>
                    <a:pt x="29" y="134"/>
                  </a:lnTo>
                  <a:lnTo>
                    <a:pt x="17" y="111"/>
                  </a:lnTo>
                  <a:lnTo>
                    <a:pt x="0" y="78"/>
                  </a:lnTo>
                  <a:lnTo>
                    <a:pt x="17" y="73"/>
                  </a:lnTo>
                  <a:lnTo>
                    <a:pt x="38" y="33"/>
                  </a:lnTo>
                  <a:lnTo>
                    <a:pt x="83" y="12"/>
                  </a:lnTo>
                  <a:lnTo>
                    <a:pt x="111" y="0"/>
                  </a:lnTo>
                  <a:lnTo>
                    <a:pt x="128" y="12"/>
                  </a:lnTo>
                  <a:lnTo>
                    <a:pt x="128" y="12"/>
                  </a:lnTo>
                  <a:lnTo>
                    <a:pt x="128" y="12"/>
                  </a:lnTo>
                  <a:close/>
                </a:path>
              </a:pathLst>
            </a:custGeom>
            <a:pattFill prst="dk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8" name="Freeform 497">
              <a:extLst>
                <a:ext uri="{FF2B5EF4-FFF2-40B4-BE49-F238E27FC236}">
                  <a16:creationId xmlns:a16="http://schemas.microsoft.com/office/drawing/2014/main" id="{DB4753D3-7C60-4760-ABEE-85179F6E9C82}"/>
                </a:ext>
              </a:extLst>
            </p:cNvPr>
            <p:cNvSpPr>
              <a:spLocks/>
            </p:cNvSpPr>
            <p:nvPr/>
          </p:nvSpPr>
          <p:spPr bwMode="gray">
            <a:xfrm>
              <a:off x="5973560" y="2647194"/>
              <a:ext cx="25733" cy="31676"/>
            </a:xfrm>
            <a:custGeom>
              <a:avLst/>
              <a:gdLst>
                <a:gd name="T0" fmla="*/ 45 w 52"/>
                <a:gd name="T1" fmla="*/ 64 h 64"/>
                <a:gd name="T2" fmla="*/ 45 w 52"/>
                <a:gd name="T3" fmla="*/ 64 h 64"/>
                <a:gd name="T4" fmla="*/ 15 w 52"/>
                <a:gd name="T5" fmla="*/ 64 h 64"/>
                <a:gd name="T6" fmla="*/ 5 w 52"/>
                <a:gd name="T7" fmla="*/ 55 h 64"/>
                <a:gd name="T8" fmla="*/ 15 w 52"/>
                <a:gd name="T9" fmla="*/ 48 h 64"/>
                <a:gd name="T10" fmla="*/ 0 w 52"/>
                <a:gd name="T11" fmla="*/ 33 h 64"/>
                <a:gd name="T12" fmla="*/ 0 w 52"/>
                <a:gd name="T13" fmla="*/ 17 h 64"/>
                <a:gd name="T14" fmla="*/ 15 w 52"/>
                <a:gd name="T15" fmla="*/ 0 h 64"/>
                <a:gd name="T16" fmla="*/ 31 w 52"/>
                <a:gd name="T17" fmla="*/ 0 h 64"/>
                <a:gd name="T18" fmla="*/ 36 w 52"/>
                <a:gd name="T19" fmla="*/ 26 h 64"/>
                <a:gd name="T20" fmla="*/ 52 w 52"/>
                <a:gd name="T21" fmla="*/ 33 h 64"/>
                <a:gd name="T22" fmla="*/ 45 w 52"/>
                <a:gd name="T23" fmla="*/ 64 h 64"/>
                <a:gd name="T24" fmla="*/ 45 w 52"/>
                <a:gd name="T25" fmla="*/ 64 h 64"/>
                <a:gd name="T26" fmla="*/ 45 w 52"/>
                <a:gd name="T2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64">
                  <a:moveTo>
                    <a:pt x="45" y="64"/>
                  </a:moveTo>
                  <a:lnTo>
                    <a:pt x="45" y="64"/>
                  </a:lnTo>
                  <a:lnTo>
                    <a:pt x="15" y="64"/>
                  </a:lnTo>
                  <a:lnTo>
                    <a:pt x="5" y="55"/>
                  </a:lnTo>
                  <a:lnTo>
                    <a:pt x="15" y="48"/>
                  </a:lnTo>
                  <a:lnTo>
                    <a:pt x="0" y="33"/>
                  </a:lnTo>
                  <a:lnTo>
                    <a:pt x="0" y="17"/>
                  </a:lnTo>
                  <a:lnTo>
                    <a:pt x="15" y="0"/>
                  </a:lnTo>
                  <a:lnTo>
                    <a:pt x="31" y="0"/>
                  </a:lnTo>
                  <a:lnTo>
                    <a:pt x="36" y="26"/>
                  </a:lnTo>
                  <a:lnTo>
                    <a:pt x="52" y="33"/>
                  </a:lnTo>
                  <a:lnTo>
                    <a:pt x="45" y="64"/>
                  </a:lnTo>
                  <a:lnTo>
                    <a:pt x="45" y="64"/>
                  </a:lnTo>
                  <a:lnTo>
                    <a:pt x="45" y="64"/>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9" name="Freeform 498">
              <a:extLst>
                <a:ext uri="{FF2B5EF4-FFF2-40B4-BE49-F238E27FC236}">
                  <a16:creationId xmlns:a16="http://schemas.microsoft.com/office/drawing/2014/main" id="{2E3BD4BB-F0A0-4D26-8929-D85BDFB7CE9D}"/>
                </a:ext>
              </a:extLst>
            </p:cNvPr>
            <p:cNvSpPr>
              <a:spLocks/>
            </p:cNvSpPr>
            <p:nvPr/>
          </p:nvSpPr>
          <p:spPr bwMode="gray">
            <a:xfrm>
              <a:off x="6098764" y="3375733"/>
              <a:ext cx="549313" cy="522648"/>
            </a:xfrm>
            <a:custGeom>
              <a:avLst/>
              <a:gdLst>
                <a:gd name="T0" fmla="*/ 1096 w 1110"/>
                <a:gd name="T1" fmla="*/ 867 h 1056"/>
                <a:gd name="T2" fmla="*/ 1025 w 1110"/>
                <a:gd name="T3" fmla="*/ 1018 h 1056"/>
                <a:gd name="T4" fmla="*/ 740 w 1110"/>
                <a:gd name="T5" fmla="*/ 900 h 1056"/>
                <a:gd name="T6" fmla="*/ 395 w 1110"/>
                <a:gd name="T7" fmla="*/ 794 h 1056"/>
                <a:gd name="T8" fmla="*/ 291 w 1110"/>
                <a:gd name="T9" fmla="*/ 777 h 1056"/>
                <a:gd name="T10" fmla="*/ 156 w 1110"/>
                <a:gd name="T11" fmla="*/ 690 h 1056"/>
                <a:gd name="T12" fmla="*/ 76 w 1110"/>
                <a:gd name="T13" fmla="*/ 683 h 1056"/>
                <a:gd name="T14" fmla="*/ 64 w 1110"/>
                <a:gd name="T15" fmla="*/ 661 h 1056"/>
                <a:gd name="T16" fmla="*/ 50 w 1110"/>
                <a:gd name="T17" fmla="*/ 612 h 1056"/>
                <a:gd name="T18" fmla="*/ 12 w 1110"/>
                <a:gd name="T19" fmla="*/ 534 h 1056"/>
                <a:gd name="T20" fmla="*/ 38 w 1110"/>
                <a:gd name="T21" fmla="*/ 501 h 1056"/>
                <a:gd name="T22" fmla="*/ 21 w 1110"/>
                <a:gd name="T23" fmla="*/ 461 h 1056"/>
                <a:gd name="T24" fmla="*/ 33 w 1110"/>
                <a:gd name="T25" fmla="*/ 390 h 1056"/>
                <a:gd name="T26" fmla="*/ 21 w 1110"/>
                <a:gd name="T27" fmla="*/ 279 h 1056"/>
                <a:gd name="T28" fmla="*/ 17 w 1110"/>
                <a:gd name="T29" fmla="*/ 234 h 1056"/>
                <a:gd name="T30" fmla="*/ 64 w 1110"/>
                <a:gd name="T31" fmla="*/ 189 h 1056"/>
                <a:gd name="T32" fmla="*/ 54 w 1110"/>
                <a:gd name="T33" fmla="*/ 135 h 1056"/>
                <a:gd name="T34" fmla="*/ 76 w 1110"/>
                <a:gd name="T35" fmla="*/ 111 h 1056"/>
                <a:gd name="T36" fmla="*/ 156 w 1110"/>
                <a:gd name="T37" fmla="*/ 57 h 1056"/>
                <a:gd name="T38" fmla="*/ 156 w 1110"/>
                <a:gd name="T39" fmla="*/ 0 h 1056"/>
                <a:gd name="T40" fmla="*/ 248 w 1110"/>
                <a:gd name="T41" fmla="*/ 24 h 1056"/>
                <a:gd name="T42" fmla="*/ 340 w 1110"/>
                <a:gd name="T43" fmla="*/ 33 h 1056"/>
                <a:gd name="T44" fmla="*/ 411 w 1110"/>
                <a:gd name="T45" fmla="*/ 57 h 1056"/>
                <a:gd name="T46" fmla="*/ 432 w 1110"/>
                <a:gd name="T47" fmla="*/ 123 h 1056"/>
                <a:gd name="T48" fmla="*/ 480 w 1110"/>
                <a:gd name="T49" fmla="*/ 151 h 1056"/>
                <a:gd name="T50" fmla="*/ 560 w 1110"/>
                <a:gd name="T51" fmla="*/ 168 h 1056"/>
                <a:gd name="T52" fmla="*/ 680 w 1110"/>
                <a:gd name="T53" fmla="*/ 234 h 1056"/>
                <a:gd name="T54" fmla="*/ 718 w 1110"/>
                <a:gd name="T55" fmla="*/ 217 h 1056"/>
                <a:gd name="T56" fmla="*/ 756 w 1110"/>
                <a:gd name="T57" fmla="*/ 161 h 1056"/>
                <a:gd name="T58" fmla="*/ 756 w 1110"/>
                <a:gd name="T59" fmla="*/ 78 h 1056"/>
                <a:gd name="T60" fmla="*/ 820 w 1110"/>
                <a:gd name="T61" fmla="*/ 33 h 1056"/>
                <a:gd name="T62" fmla="*/ 862 w 1110"/>
                <a:gd name="T63" fmla="*/ 17 h 1056"/>
                <a:gd name="T64" fmla="*/ 966 w 1110"/>
                <a:gd name="T65" fmla="*/ 40 h 1056"/>
                <a:gd name="T66" fmla="*/ 971 w 1110"/>
                <a:gd name="T67" fmla="*/ 73 h 1056"/>
                <a:gd name="T68" fmla="*/ 1035 w 1110"/>
                <a:gd name="T69" fmla="*/ 95 h 1056"/>
                <a:gd name="T70" fmla="*/ 1110 w 1110"/>
                <a:gd name="T71" fmla="*/ 123 h 1056"/>
                <a:gd name="T72" fmla="*/ 1096 w 1110"/>
                <a:gd name="T73" fmla="*/ 189 h 1056"/>
                <a:gd name="T74" fmla="*/ 1096 w 1110"/>
                <a:gd name="T75" fmla="*/ 312 h 1056"/>
                <a:gd name="T76" fmla="*/ 1096 w 1110"/>
                <a:gd name="T77" fmla="*/ 43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10" h="1056">
                  <a:moveTo>
                    <a:pt x="1096" y="439"/>
                  </a:moveTo>
                  <a:lnTo>
                    <a:pt x="1096" y="867"/>
                  </a:lnTo>
                  <a:lnTo>
                    <a:pt x="1096" y="1018"/>
                  </a:lnTo>
                  <a:lnTo>
                    <a:pt x="1025" y="1018"/>
                  </a:lnTo>
                  <a:lnTo>
                    <a:pt x="1025" y="1056"/>
                  </a:lnTo>
                  <a:lnTo>
                    <a:pt x="740" y="900"/>
                  </a:lnTo>
                  <a:lnTo>
                    <a:pt x="463" y="761"/>
                  </a:lnTo>
                  <a:lnTo>
                    <a:pt x="395" y="794"/>
                  </a:lnTo>
                  <a:lnTo>
                    <a:pt x="340" y="829"/>
                  </a:lnTo>
                  <a:lnTo>
                    <a:pt x="291" y="777"/>
                  </a:lnTo>
                  <a:lnTo>
                    <a:pt x="184" y="756"/>
                  </a:lnTo>
                  <a:lnTo>
                    <a:pt x="156" y="690"/>
                  </a:lnTo>
                  <a:lnTo>
                    <a:pt x="92" y="678"/>
                  </a:lnTo>
                  <a:lnTo>
                    <a:pt x="76" y="683"/>
                  </a:lnTo>
                  <a:lnTo>
                    <a:pt x="64" y="666"/>
                  </a:lnTo>
                  <a:lnTo>
                    <a:pt x="64" y="661"/>
                  </a:lnTo>
                  <a:lnTo>
                    <a:pt x="50" y="650"/>
                  </a:lnTo>
                  <a:lnTo>
                    <a:pt x="50" y="612"/>
                  </a:lnTo>
                  <a:lnTo>
                    <a:pt x="0" y="550"/>
                  </a:lnTo>
                  <a:lnTo>
                    <a:pt x="12" y="534"/>
                  </a:lnTo>
                  <a:lnTo>
                    <a:pt x="38" y="522"/>
                  </a:lnTo>
                  <a:lnTo>
                    <a:pt x="38" y="501"/>
                  </a:lnTo>
                  <a:lnTo>
                    <a:pt x="38" y="494"/>
                  </a:lnTo>
                  <a:lnTo>
                    <a:pt x="21" y="461"/>
                  </a:lnTo>
                  <a:lnTo>
                    <a:pt x="50" y="423"/>
                  </a:lnTo>
                  <a:lnTo>
                    <a:pt x="33" y="390"/>
                  </a:lnTo>
                  <a:lnTo>
                    <a:pt x="33" y="317"/>
                  </a:lnTo>
                  <a:lnTo>
                    <a:pt x="21" y="279"/>
                  </a:lnTo>
                  <a:lnTo>
                    <a:pt x="0" y="239"/>
                  </a:lnTo>
                  <a:lnTo>
                    <a:pt x="17" y="234"/>
                  </a:lnTo>
                  <a:lnTo>
                    <a:pt x="38" y="222"/>
                  </a:lnTo>
                  <a:lnTo>
                    <a:pt x="64" y="189"/>
                  </a:lnTo>
                  <a:lnTo>
                    <a:pt x="71" y="177"/>
                  </a:lnTo>
                  <a:lnTo>
                    <a:pt x="54" y="135"/>
                  </a:lnTo>
                  <a:lnTo>
                    <a:pt x="71" y="123"/>
                  </a:lnTo>
                  <a:lnTo>
                    <a:pt x="76" y="111"/>
                  </a:lnTo>
                  <a:lnTo>
                    <a:pt x="109" y="78"/>
                  </a:lnTo>
                  <a:lnTo>
                    <a:pt x="156" y="57"/>
                  </a:lnTo>
                  <a:lnTo>
                    <a:pt x="147" y="40"/>
                  </a:lnTo>
                  <a:lnTo>
                    <a:pt x="156" y="0"/>
                  </a:lnTo>
                  <a:lnTo>
                    <a:pt x="210" y="24"/>
                  </a:lnTo>
                  <a:lnTo>
                    <a:pt x="248" y="24"/>
                  </a:lnTo>
                  <a:lnTo>
                    <a:pt x="281" y="17"/>
                  </a:lnTo>
                  <a:lnTo>
                    <a:pt x="340" y="33"/>
                  </a:lnTo>
                  <a:lnTo>
                    <a:pt x="362" y="50"/>
                  </a:lnTo>
                  <a:lnTo>
                    <a:pt x="411" y="57"/>
                  </a:lnTo>
                  <a:lnTo>
                    <a:pt x="425" y="78"/>
                  </a:lnTo>
                  <a:lnTo>
                    <a:pt x="432" y="123"/>
                  </a:lnTo>
                  <a:lnTo>
                    <a:pt x="449" y="144"/>
                  </a:lnTo>
                  <a:lnTo>
                    <a:pt x="480" y="151"/>
                  </a:lnTo>
                  <a:lnTo>
                    <a:pt x="517" y="151"/>
                  </a:lnTo>
                  <a:lnTo>
                    <a:pt x="560" y="168"/>
                  </a:lnTo>
                  <a:lnTo>
                    <a:pt x="614" y="189"/>
                  </a:lnTo>
                  <a:lnTo>
                    <a:pt x="680" y="234"/>
                  </a:lnTo>
                  <a:lnTo>
                    <a:pt x="702" y="234"/>
                  </a:lnTo>
                  <a:lnTo>
                    <a:pt x="718" y="217"/>
                  </a:lnTo>
                  <a:lnTo>
                    <a:pt x="749" y="184"/>
                  </a:lnTo>
                  <a:lnTo>
                    <a:pt x="756" y="161"/>
                  </a:lnTo>
                  <a:lnTo>
                    <a:pt x="740" y="111"/>
                  </a:lnTo>
                  <a:lnTo>
                    <a:pt x="756" y="78"/>
                  </a:lnTo>
                  <a:lnTo>
                    <a:pt x="787" y="50"/>
                  </a:lnTo>
                  <a:lnTo>
                    <a:pt x="820" y="33"/>
                  </a:lnTo>
                  <a:lnTo>
                    <a:pt x="848" y="24"/>
                  </a:lnTo>
                  <a:lnTo>
                    <a:pt x="862" y="17"/>
                  </a:lnTo>
                  <a:lnTo>
                    <a:pt x="912" y="24"/>
                  </a:lnTo>
                  <a:lnTo>
                    <a:pt x="966" y="40"/>
                  </a:lnTo>
                  <a:lnTo>
                    <a:pt x="966" y="66"/>
                  </a:lnTo>
                  <a:lnTo>
                    <a:pt x="971" y="73"/>
                  </a:lnTo>
                  <a:lnTo>
                    <a:pt x="1009" y="78"/>
                  </a:lnTo>
                  <a:lnTo>
                    <a:pt x="1035" y="95"/>
                  </a:lnTo>
                  <a:lnTo>
                    <a:pt x="1096" y="95"/>
                  </a:lnTo>
                  <a:lnTo>
                    <a:pt x="1110" y="123"/>
                  </a:lnTo>
                  <a:lnTo>
                    <a:pt x="1089" y="144"/>
                  </a:lnTo>
                  <a:lnTo>
                    <a:pt x="1096" y="189"/>
                  </a:lnTo>
                  <a:lnTo>
                    <a:pt x="1080" y="239"/>
                  </a:lnTo>
                  <a:lnTo>
                    <a:pt x="1096" y="312"/>
                  </a:lnTo>
                  <a:lnTo>
                    <a:pt x="1096" y="439"/>
                  </a:lnTo>
                  <a:lnTo>
                    <a:pt x="1096" y="439"/>
                  </a:lnTo>
                  <a:lnTo>
                    <a:pt x="1096" y="439"/>
                  </a:lnTo>
                  <a:close/>
                </a:path>
              </a:pathLst>
            </a:custGeom>
            <a:pattFill prst="lt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0" name="Freeform 499">
              <a:extLst>
                <a:ext uri="{FF2B5EF4-FFF2-40B4-BE49-F238E27FC236}">
                  <a16:creationId xmlns:a16="http://schemas.microsoft.com/office/drawing/2014/main" id="{7A4B2854-B327-4E26-95EE-7D71267EC2CC}"/>
                </a:ext>
              </a:extLst>
            </p:cNvPr>
            <p:cNvSpPr>
              <a:spLocks noEditPoints="1"/>
            </p:cNvSpPr>
            <p:nvPr/>
          </p:nvSpPr>
          <p:spPr bwMode="gray">
            <a:xfrm>
              <a:off x="7275087" y="5029797"/>
              <a:ext cx="253377" cy="504335"/>
            </a:xfrm>
            <a:custGeom>
              <a:avLst/>
              <a:gdLst>
                <a:gd name="T0" fmla="*/ 349 w 512"/>
                <a:gd name="T1" fmla="*/ 723 h 1019"/>
                <a:gd name="T2" fmla="*/ 307 w 512"/>
                <a:gd name="T3" fmla="*/ 884 h 1019"/>
                <a:gd name="T4" fmla="*/ 243 w 512"/>
                <a:gd name="T5" fmla="*/ 995 h 1019"/>
                <a:gd name="T6" fmla="*/ 163 w 512"/>
                <a:gd name="T7" fmla="*/ 1019 h 1019"/>
                <a:gd name="T8" fmla="*/ 108 w 512"/>
                <a:gd name="T9" fmla="*/ 1002 h 1019"/>
                <a:gd name="T10" fmla="*/ 82 w 512"/>
                <a:gd name="T11" fmla="*/ 990 h 1019"/>
                <a:gd name="T12" fmla="*/ 54 w 512"/>
                <a:gd name="T13" fmla="*/ 978 h 1019"/>
                <a:gd name="T14" fmla="*/ 33 w 512"/>
                <a:gd name="T15" fmla="*/ 924 h 1019"/>
                <a:gd name="T16" fmla="*/ 37 w 512"/>
                <a:gd name="T17" fmla="*/ 863 h 1019"/>
                <a:gd name="T18" fmla="*/ 28 w 512"/>
                <a:gd name="T19" fmla="*/ 830 h 1019"/>
                <a:gd name="T20" fmla="*/ 0 w 512"/>
                <a:gd name="T21" fmla="*/ 756 h 1019"/>
                <a:gd name="T22" fmla="*/ 16 w 512"/>
                <a:gd name="T23" fmla="*/ 723 h 1019"/>
                <a:gd name="T24" fmla="*/ 37 w 512"/>
                <a:gd name="T25" fmla="*/ 685 h 1019"/>
                <a:gd name="T26" fmla="*/ 87 w 512"/>
                <a:gd name="T27" fmla="*/ 596 h 1019"/>
                <a:gd name="T28" fmla="*/ 87 w 512"/>
                <a:gd name="T29" fmla="*/ 558 h 1019"/>
                <a:gd name="T30" fmla="*/ 70 w 512"/>
                <a:gd name="T31" fmla="*/ 513 h 1019"/>
                <a:gd name="T32" fmla="*/ 54 w 512"/>
                <a:gd name="T33" fmla="*/ 428 h 1019"/>
                <a:gd name="T34" fmla="*/ 87 w 512"/>
                <a:gd name="T35" fmla="*/ 350 h 1019"/>
                <a:gd name="T36" fmla="*/ 118 w 512"/>
                <a:gd name="T37" fmla="*/ 312 h 1019"/>
                <a:gd name="T38" fmla="*/ 146 w 512"/>
                <a:gd name="T39" fmla="*/ 308 h 1019"/>
                <a:gd name="T40" fmla="*/ 155 w 512"/>
                <a:gd name="T41" fmla="*/ 296 h 1019"/>
                <a:gd name="T42" fmla="*/ 172 w 512"/>
                <a:gd name="T43" fmla="*/ 308 h 1019"/>
                <a:gd name="T44" fmla="*/ 188 w 512"/>
                <a:gd name="T45" fmla="*/ 279 h 1019"/>
                <a:gd name="T46" fmla="*/ 200 w 512"/>
                <a:gd name="T47" fmla="*/ 279 h 1019"/>
                <a:gd name="T48" fmla="*/ 210 w 512"/>
                <a:gd name="T49" fmla="*/ 279 h 1019"/>
                <a:gd name="T50" fmla="*/ 214 w 512"/>
                <a:gd name="T51" fmla="*/ 296 h 1019"/>
                <a:gd name="T52" fmla="*/ 214 w 512"/>
                <a:gd name="T53" fmla="*/ 279 h 1019"/>
                <a:gd name="T54" fmla="*/ 264 w 512"/>
                <a:gd name="T55" fmla="*/ 239 h 1019"/>
                <a:gd name="T56" fmla="*/ 264 w 512"/>
                <a:gd name="T57" fmla="*/ 263 h 1019"/>
                <a:gd name="T58" fmla="*/ 269 w 512"/>
                <a:gd name="T59" fmla="*/ 239 h 1019"/>
                <a:gd name="T60" fmla="*/ 302 w 512"/>
                <a:gd name="T61" fmla="*/ 206 h 1019"/>
                <a:gd name="T62" fmla="*/ 323 w 512"/>
                <a:gd name="T63" fmla="*/ 197 h 1019"/>
                <a:gd name="T64" fmla="*/ 333 w 512"/>
                <a:gd name="T65" fmla="*/ 206 h 1019"/>
                <a:gd name="T66" fmla="*/ 318 w 512"/>
                <a:gd name="T67" fmla="*/ 197 h 1019"/>
                <a:gd name="T68" fmla="*/ 318 w 512"/>
                <a:gd name="T69" fmla="*/ 168 h 1019"/>
                <a:gd name="T70" fmla="*/ 323 w 512"/>
                <a:gd name="T71" fmla="*/ 163 h 1019"/>
                <a:gd name="T72" fmla="*/ 333 w 512"/>
                <a:gd name="T73" fmla="*/ 180 h 1019"/>
                <a:gd name="T74" fmla="*/ 333 w 512"/>
                <a:gd name="T75" fmla="*/ 152 h 1019"/>
                <a:gd name="T76" fmla="*/ 323 w 512"/>
                <a:gd name="T77" fmla="*/ 140 h 1019"/>
                <a:gd name="T78" fmla="*/ 340 w 512"/>
                <a:gd name="T79" fmla="*/ 111 h 1019"/>
                <a:gd name="T80" fmla="*/ 356 w 512"/>
                <a:gd name="T81" fmla="*/ 123 h 1019"/>
                <a:gd name="T82" fmla="*/ 403 w 512"/>
                <a:gd name="T83" fmla="*/ 69 h 1019"/>
                <a:gd name="T84" fmla="*/ 387 w 512"/>
                <a:gd name="T85" fmla="*/ 34 h 1019"/>
                <a:gd name="T86" fmla="*/ 403 w 512"/>
                <a:gd name="T87" fmla="*/ 29 h 1019"/>
                <a:gd name="T88" fmla="*/ 415 w 512"/>
                <a:gd name="T89" fmla="*/ 12 h 1019"/>
                <a:gd name="T90" fmla="*/ 429 w 512"/>
                <a:gd name="T91" fmla="*/ 17 h 1019"/>
                <a:gd name="T92" fmla="*/ 425 w 512"/>
                <a:gd name="T93" fmla="*/ 17 h 1019"/>
                <a:gd name="T94" fmla="*/ 446 w 512"/>
                <a:gd name="T95" fmla="*/ 50 h 1019"/>
                <a:gd name="T96" fmla="*/ 484 w 512"/>
                <a:gd name="T97" fmla="*/ 140 h 1019"/>
                <a:gd name="T98" fmla="*/ 512 w 512"/>
                <a:gd name="T99" fmla="*/ 251 h 1019"/>
                <a:gd name="T100" fmla="*/ 479 w 512"/>
                <a:gd name="T101" fmla="*/ 291 h 1019"/>
                <a:gd name="T102" fmla="*/ 458 w 512"/>
                <a:gd name="T103" fmla="*/ 258 h 1019"/>
                <a:gd name="T104" fmla="*/ 458 w 512"/>
                <a:gd name="T105" fmla="*/ 291 h 1019"/>
                <a:gd name="T106" fmla="*/ 462 w 512"/>
                <a:gd name="T107" fmla="*/ 312 h 1019"/>
                <a:gd name="T108" fmla="*/ 458 w 512"/>
                <a:gd name="T109" fmla="*/ 350 h 1019"/>
                <a:gd name="T110" fmla="*/ 446 w 512"/>
                <a:gd name="T111" fmla="*/ 369 h 1019"/>
                <a:gd name="T112" fmla="*/ 441 w 512"/>
                <a:gd name="T113" fmla="*/ 423 h 1019"/>
                <a:gd name="T114" fmla="*/ 377 w 512"/>
                <a:gd name="T115" fmla="*/ 629 h 1019"/>
                <a:gd name="T116" fmla="*/ 377 w 512"/>
                <a:gd name="T117" fmla="*/ 629 h 1019"/>
                <a:gd name="T118" fmla="*/ 349 w 512"/>
                <a:gd name="T119" fmla="*/ 107 h 1019"/>
                <a:gd name="T120" fmla="*/ 356 w 512"/>
                <a:gd name="T121" fmla="*/ 107 h 1019"/>
                <a:gd name="T122" fmla="*/ 356 w 512"/>
                <a:gd name="T123" fmla="*/ 107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1019">
                  <a:moveTo>
                    <a:pt x="377" y="629"/>
                  </a:moveTo>
                  <a:lnTo>
                    <a:pt x="349" y="723"/>
                  </a:lnTo>
                  <a:lnTo>
                    <a:pt x="323" y="780"/>
                  </a:lnTo>
                  <a:lnTo>
                    <a:pt x="307" y="884"/>
                  </a:lnTo>
                  <a:lnTo>
                    <a:pt x="269" y="974"/>
                  </a:lnTo>
                  <a:lnTo>
                    <a:pt x="243" y="995"/>
                  </a:lnTo>
                  <a:lnTo>
                    <a:pt x="210" y="995"/>
                  </a:lnTo>
                  <a:lnTo>
                    <a:pt x="163" y="1019"/>
                  </a:lnTo>
                  <a:lnTo>
                    <a:pt x="141" y="1019"/>
                  </a:lnTo>
                  <a:lnTo>
                    <a:pt x="108" y="1002"/>
                  </a:lnTo>
                  <a:lnTo>
                    <a:pt x="82" y="995"/>
                  </a:lnTo>
                  <a:lnTo>
                    <a:pt x="82" y="990"/>
                  </a:lnTo>
                  <a:lnTo>
                    <a:pt x="87" y="995"/>
                  </a:lnTo>
                  <a:lnTo>
                    <a:pt x="54" y="978"/>
                  </a:lnTo>
                  <a:lnTo>
                    <a:pt x="49" y="945"/>
                  </a:lnTo>
                  <a:lnTo>
                    <a:pt x="33" y="924"/>
                  </a:lnTo>
                  <a:lnTo>
                    <a:pt x="33" y="879"/>
                  </a:lnTo>
                  <a:lnTo>
                    <a:pt x="37" y="863"/>
                  </a:lnTo>
                  <a:lnTo>
                    <a:pt x="33" y="851"/>
                  </a:lnTo>
                  <a:lnTo>
                    <a:pt x="28" y="830"/>
                  </a:lnTo>
                  <a:lnTo>
                    <a:pt x="11" y="813"/>
                  </a:lnTo>
                  <a:lnTo>
                    <a:pt x="0" y="756"/>
                  </a:lnTo>
                  <a:lnTo>
                    <a:pt x="11" y="735"/>
                  </a:lnTo>
                  <a:lnTo>
                    <a:pt x="16" y="723"/>
                  </a:lnTo>
                  <a:lnTo>
                    <a:pt x="16" y="702"/>
                  </a:lnTo>
                  <a:lnTo>
                    <a:pt x="37" y="685"/>
                  </a:lnTo>
                  <a:lnTo>
                    <a:pt x="49" y="662"/>
                  </a:lnTo>
                  <a:lnTo>
                    <a:pt x="87" y="596"/>
                  </a:lnTo>
                  <a:lnTo>
                    <a:pt x="82" y="584"/>
                  </a:lnTo>
                  <a:lnTo>
                    <a:pt x="87" y="558"/>
                  </a:lnTo>
                  <a:lnTo>
                    <a:pt x="70" y="530"/>
                  </a:lnTo>
                  <a:lnTo>
                    <a:pt x="70" y="513"/>
                  </a:lnTo>
                  <a:lnTo>
                    <a:pt x="54" y="480"/>
                  </a:lnTo>
                  <a:lnTo>
                    <a:pt x="54" y="428"/>
                  </a:lnTo>
                  <a:lnTo>
                    <a:pt x="49" y="419"/>
                  </a:lnTo>
                  <a:lnTo>
                    <a:pt x="87" y="350"/>
                  </a:lnTo>
                  <a:lnTo>
                    <a:pt x="87" y="312"/>
                  </a:lnTo>
                  <a:lnTo>
                    <a:pt x="118" y="312"/>
                  </a:lnTo>
                  <a:lnTo>
                    <a:pt x="146" y="296"/>
                  </a:lnTo>
                  <a:lnTo>
                    <a:pt x="146" y="308"/>
                  </a:lnTo>
                  <a:lnTo>
                    <a:pt x="155" y="308"/>
                  </a:lnTo>
                  <a:lnTo>
                    <a:pt x="155" y="296"/>
                  </a:lnTo>
                  <a:lnTo>
                    <a:pt x="163" y="296"/>
                  </a:lnTo>
                  <a:lnTo>
                    <a:pt x="172" y="308"/>
                  </a:lnTo>
                  <a:lnTo>
                    <a:pt x="177" y="279"/>
                  </a:lnTo>
                  <a:lnTo>
                    <a:pt x="188" y="279"/>
                  </a:lnTo>
                  <a:lnTo>
                    <a:pt x="200" y="291"/>
                  </a:lnTo>
                  <a:lnTo>
                    <a:pt x="200" y="279"/>
                  </a:lnTo>
                  <a:lnTo>
                    <a:pt x="193" y="279"/>
                  </a:lnTo>
                  <a:lnTo>
                    <a:pt x="210" y="279"/>
                  </a:lnTo>
                  <a:lnTo>
                    <a:pt x="210" y="279"/>
                  </a:lnTo>
                  <a:lnTo>
                    <a:pt x="214" y="296"/>
                  </a:lnTo>
                  <a:lnTo>
                    <a:pt x="231" y="296"/>
                  </a:lnTo>
                  <a:lnTo>
                    <a:pt x="214" y="279"/>
                  </a:lnTo>
                  <a:lnTo>
                    <a:pt x="214" y="274"/>
                  </a:lnTo>
                  <a:lnTo>
                    <a:pt x="264" y="239"/>
                  </a:lnTo>
                  <a:lnTo>
                    <a:pt x="269" y="251"/>
                  </a:lnTo>
                  <a:lnTo>
                    <a:pt x="264" y="263"/>
                  </a:lnTo>
                  <a:lnTo>
                    <a:pt x="281" y="258"/>
                  </a:lnTo>
                  <a:lnTo>
                    <a:pt x="269" y="239"/>
                  </a:lnTo>
                  <a:lnTo>
                    <a:pt x="297" y="201"/>
                  </a:lnTo>
                  <a:lnTo>
                    <a:pt x="302" y="206"/>
                  </a:lnTo>
                  <a:lnTo>
                    <a:pt x="297" y="234"/>
                  </a:lnTo>
                  <a:lnTo>
                    <a:pt x="323" y="197"/>
                  </a:lnTo>
                  <a:lnTo>
                    <a:pt x="333" y="201"/>
                  </a:lnTo>
                  <a:lnTo>
                    <a:pt x="333" y="206"/>
                  </a:lnTo>
                  <a:lnTo>
                    <a:pt x="333" y="197"/>
                  </a:lnTo>
                  <a:lnTo>
                    <a:pt x="318" y="197"/>
                  </a:lnTo>
                  <a:lnTo>
                    <a:pt x="318" y="185"/>
                  </a:lnTo>
                  <a:lnTo>
                    <a:pt x="318" y="168"/>
                  </a:lnTo>
                  <a:lnTo>
                    <a:pt x="333" y="168"/>
                  </a:lnTo>
                  <a:lnTo>
                    <a:pt x="323" y="163"/>
                  </a:lnTo>
                  <a:lnTo>
                    <a:pt x="340" y="163"/>
                  </a:lnTo>
                  <a:lnTo>
                    <a:pt x="333" y="180"/>
                  </a:lnTo>
                  <a:lnTo>
                    <a:pt x="340" y="163"/>
                  </a:lnTo>
                  <a:lnTo>
                    <a:pt x="333" y="152"/>
                  </a:lnTo>
                  <a:lnTo>
                    <a:pt x="340" y="145"/>
                  </a:lnTo>
                  <a:lnTo>
                    <a:pt x="323" y="140"/>
                  </a:lnTo>
                  <a:lnTo>
                    <a:pt x="333" y="123"/>
                  </a:lnTo>
                  <a:lnTo>
                    <a:pt x="340" y="111"/>
                  </a:lnTo>
                  <a:lnTo>
                    <a:pt x="356" y="140"/>
                  </a:lnTo>
                  <a:lnTo>
                    <a:pt x="356" y="123"/>
                  </a:lnTo>
                  <a:lnTo>
                    <a:pt x="394" y="107"/>
                  </a:lnTo>
                  <a:lnTo>
                    <a:pt x="403" y="69"/>
                  </a:lnTo>
                  <a:lnTo>
                    <a:pt x="394" y="50"/>
                  </a:lnTo>
                  <a:lnTo>
                    <a:pt x="387" y="34"/>
                  </a:lnTo>
                  <a:lnTo>
                    <a:pt x="403" y="41"/>
                  </a:lnTo>
                  <a:lnTo>
                    <a:pt x="403" y="29"/>
                  </a:lnTo>
                  <a:lnTo>
                    <a:pt x="415" y="17"/>
                  </a:lnTo>
                  <a:lnTo>
                    <a:pt x="415" y="12"/>
                  </a:lnTo>
                  <a:lnTo>
                    <a:pt x="425" y="0"/>
                  </a:lnTo>
                  <a:lnTo>
                    <a:pt x="429" y="17"/>
                  </a:lnTo>
                  <a:lnTo>
                    <a:pt x="425" y="17"/>
                  </a:lnTo>
                  <a:lnTo>
                    <a:pt x="425" y="17"/>
                  </a:lnTo>
                  <a:lnTo>
                    <a:pt x="441" y="29"/>
                  </a:lnTo>
                  <a:lnTo>
                    <a:pt x="446" y="50"/>
                  </a:lnTo>
                  <a:lnTo>
                    <a:pt x="467" y="85"/>
                  </a:lnTo>
                  <a:lnTo>
                    <a:pt x="484" y="140"/>
                  </a:lnTo>
                  <a:lnTo>
                    <a:pt x="484" y="197"/>
                  </a:lnTo>
                  <a:lnTo>
                    <a:pt x="512" y="251"/>
                  </a:lnTo>
                  <a:lnTo>
                    <a:pt x="496" y="296"/>
                  </a:lnTo>
                  <a:lnTo>
                    <a:pt x="479" y="291"/>
                  </a:lnTo>
                  <a:lnTo>
                    <a:pt x="462" y="258"/>
                  </a:lnTo>
                  <a:lnTo>
                    <a:pt x="458" y="258"/>
                  </a:lnTo>
                  <a:lnTo>
                    <a:pt x="446" y="263"/>
                  </a:lnTo>
                  <a:lnTo>
                    <a:pt x="458" y="291"/>
                  </a:lnTo>
                  <a:lnTo>
                    <a:pt x="458" y="308"/>
                  </a:lnTo>
                  <a:lnTo>
                    <a:pt x="462" y="312"/>
                  </a:lnTo>
                  <a:lnTo>
                    <a:pt x="462" y="334"/>
                  </a:lnTo>
                  <a:lnTo>
                    <a:pt x="458" y="350"/>
                  </a:lnTo>
                  <a:lnTo>
                    <a:pt x="462" y="362"/>
                  </a:lnTo>
                  <a:lnTo>
                    <a:pt x="446" y="369"/>
                  </a:lnTo>
                  <a:lnTo>
                    <a:pt x="429" y="402"/>
                  </a:lnTo>
                  <a:lnTo>
                    <a:pt x="441" y="423"/>
                  </a:lnTo>
                  <a:lnTo>
                    <a:pt x="429" y="473"/>
                  </a:lnTo>
                  <a:lnTo>
                    <a:pt x="377" y="629"/>
                  </a:lnTo>
                  <a:lnTo>
                    <a:pt x="377" y="629"/>
                  </a:lnTo>
                  <a:lnTo>
                    <a:pt x="377" y="629"/>
                  </a:lnTo>
                  <a:close/>
                  <a:moveTo>
                    <a:pt x="356" y="107"/>
                  </a:moveTo>
                  <a:lnTo>
                    <a:pt x="349" y="107"/>
                  </a:lnTo>
                  <a:lnTo>
                    <a:pt x="356" y="90"/>
                  </a:lnTo>
                  <a:lnTo>
                    <a:pt x="356" y="107"/>
                  </a:lnTo>
                  <a:lnTo>
                    <a:pt x="356" y="107"/>
                  </a:lnTo>
                  <a:lnTo>
                    <a:pt x="356" y="107"/>
                  </a:lnTo>
                  <a:close/>
                </a:path>
              </a:pathLst>
            </a:custGeom>
            <a:pattFill prst="lt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1" name="Freeform 500">
              <a:extLst>
                <a:ext uri="{FF2B5EF4-FFF2-40B4-BE49-F238E27FC236}">
                  <a16:creationId xmlns:a16="http://schemas.microsoft.com/office/drawing/2014/main" id="{B17CE1E1-988E-4C1F-BDF8-06786A101B67}"/>
                </a:ext>
              </a:extLst>
            </p:cNvPr>
            <p:cNvSpPr>
              <a:spLocks/>
            </p:cNvSpPr>
            <p:nvPr/>
          </p:nvSpPr>
          <p:spPr bwMode="gray">
            <a:xfrm>
              <a:off x="3648628" y="4067649"/>
              <a:ext cx="16331" cy="20292"/>
            </a:xfrm>
            <a:custGeom>
              <a:avLst/>
              <a:gdLst>
                <a:gd name="T0" fmla="*/ 33 w 33"/>
                <a:gd name="T1" fmla="*/ 41 h 41"/>
                <a:gd name="T2" fmla="*/ 17 w 33"/>
                <a:gd name="T3" fmla="*/ 29 h 41"/>
                <a:gd name="T4" fmla="*/ 0 w 33"/>
                <a:gd name="T5" fmla="*/ 7 h 41"/>
                <a:gd name="T6" fmla="*/ 5 w 33"/>
                <a:gd name="T7" fmla="*/ 0 h 41"/>
                <a:gd name="T8" fmla="*/ 21 w 33"/>
                <a:gd name="T9" fmla="*/ 17 h 41"/>
                <a:gd name="T10" fmla="*/ 33 w 33"/>
                <a:gd name="T11" fmla="*/ 24 h 41"/>
                <a:gd name="T12" fmla="*/ 33 w 33"/>
                <a:gd name="T13" fmla="*/ 41 h 41"/>
                <a:gd name="T14" fmla="*/ 33 w 33"/>
                <a:gd name="T15" fmla="*/ 41 h 41"/>
                <a:gd name="T16" fmla="*/ 33 w 33"/>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1">
                  <a:moveTo>
                    <a:pt x="33" y="41"/>
                  </a:moveTo>
                  <a:lnTo>
                    <a:pt x="17" y="29"/>
                  </a:lnTo>
                  <a:lnTo>
                    <a:pt x="0" y="7"/>
                  </a:lnTo>
                  <a:lnTo>
                    <a:pt x="5" y="0"/>
                  </a:lnTo>
                  <a:lnTo>
                    <a:pt x="21" y="17"/>
                  </a:lnTo>
                  <a:lnTo>
                    <a:pt x="33" y="24"/>
                  </a:lnTo>
                  <a:lnTo>
                    <a:pt x="33" y="41"/>
                  </a:lnTo>
                  <a:lnTo>
                    <a:pt x="33" y="41"/>
                  </a:lnTo>
                  <a:lnTo>
                    <a:pt x="33" y="41"/>
                  </a:lnTo>
                  <a:close/>
                </a:path>
              </a:pathLst>
            </a:custGeom>
            <a:solidFill>
              <a:schemeClr val="accent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2" name="Freeform 501">
              <a:extLst>
                <a:ext uri="{FF2B5EF4-FFF2-40B4-BE49-F238E27FC236}">
                  <a16:creationId xmlns:a16="http://schemas.microsoft.com/office/drawing/2014/main" id="{807F0D0A-D28B-43A6-9F37-56A88973CE19}"/>
                </a:ext>
              </a:extLst>
            </p:cNvPr>
            <p:cNvSpPr>
              <a:spLocks/>
            </p:cNvSpPr>
            <p:nvPr/>
          </p:nvSpPr>
          <p:spPr bwMode="gray">
            <a:xfrm>
              <a:off x="6699545" y="2725888"/>
              <a:ext cx="121740" cy="137590"/>
            </a:xfrm>
            <a:custGeom>
              <a:avLst/>
              <a:gdLst>
                <a:gd name="T0" fmla="*/ 0 w 246"/>
                <a:gd name="T1" fmla="*/ 16 h 278"/>
                <a:gd name="T2" fmla="*/ 5 w 246"/>
                <a:gd name="T3" fmla="*/ 7 h 278"/>
                <a:gd name="T4" fmla="*/ 76 w 246"/>
                <a:gd name="T5" fmla="*/ 0 h 278"/>
                <a:gd name="T6" fmla="*/ 97 w 246"/>
                <a:gd name="T7" fmla="*/ 16 h 278"/>
                <a:gd name="T8" fmla="*/ 97 w 246"/>
                <a:gd name="T9" fmla="*/ 23 h 278"/>
                <a:gd name="T10" fmla="*/ 152 w 246"/>
                <a:gd name="T11" fmla="*/ 33 h 278"/>
                <a:gd name="T12" fmla="*/ 168 w 246"/>
                <a:gd name="T13" fmla="*/ 45 h 278"/>
                <a:gd name="T14" fmla="*/ 175 w 246"/>
                <a:gd name="T15" fmla="*/ 45 h 278"/>
                <a:gd name="T16" fmla="*/ 185 w 246"/>
                <a:gd name="T17" fmla="*/ 61 h 278"/>
                <a:gd name="T18" fmla="*/ 175 w 246"/>
                <a:gd name="T19" fmla="*/ 89 h 278"/>
                <a:gd name="T20" fmla="*/ 175 w 246"/>
                <a:gd name="T21" fmla="*/ 94 h 278"/>
                <a:gd name="T22" fmla="*/ 192 w 246"/>
                <a:gd name="T23" fmla="*/ 111 h 278"/>
                <a:gd name="T24" fmla="*/ 208 w 246"/>
                <a:gd name="T25" fmla="*/ 101 h 278"/>
                <a:gd name="T26" fmla="*/ 208 w 246"/>
                <a:gd name="T27" fmla="*/ 146 h 278"/>
                <a:gd name="T28" fmla="*/ 229 w 246"/>
                <a:gd name="T29" fmla="*/ 151 h 278"/>
                <a:gd name="T30" fmla="*/ 229 w 246"/>
                <a:gd name="T31" fmla="*/ 172 h 278"/>
                <a:gd name="T32" fmla="*/ 229 w 246"/>
                <a:gd name="T33" fmla="*/ 172 h 278"/>
                <a:gd name="T34" fmla="*/ 246 w 246"/>
                <a:gd name="T35" fmla="*/ 189 h 278"/>
                <a:gd name="T36" fmla="*/ 229 w 246"/>
                <a:gd name="T37" fmla="*/ 189 h 278"/>
                <a:gd name="T38" fmla="*/ 218 w 246"/>
                <a:gd name="T39" fmla="*/ 184 h 278"/>
                <a:gd name="T40" fmla="*/ 208 w 246"/>
                <a:gd name="T41" fmla="*/ 189 h 278"/>
                <a:gd name="T42" fmla="*/ 201 w 246"/>
                <a:gd name="T43" fmla="*/ 184 h 278"/>
                <a:gd name="T44" fmla="*/ 185 w 246"/>
                <a:gd name="T45" fmla="*/ 189 h 278"/>
                <a:gd name="T46" fmla="*/ 175 w 246"/>
                <a:gd name="T47" fmla="*/ 172 h 278"/>
                <a:gd name="T48" fmla="*/ 168 w 246"/>
                <a:gd name="T49" fmla="*/ 184 h 278"/>
                <a:gd name="T50" fmla="*/ 163 w 246"/>
                <a:gd name="T51" fmla="*/ 200 h 278"/>
                <a:gd name="T52" fmla="*/ 168 w 246"/>
                <a:gd name="T53" fmla="*/ 208 h 278"/>
                <a:gd name="T54" fmla="*/ 163 w 246"/>
                <a:gd name="T55" fmla="*/ 224 h 278"/>
                <a:gd name="T56" fmla="*/ 147 w 246"/>
                <a:gd name="T57" fmla="*/ 229 h 278"/>
                <a:gd name="T58" fmla="*/ 147 w 246"/>
                <a:gd name="T59" fmla="*/ 241 h 278"/>
                <a:gd name="T60" fmla="*/ 130 w 246"/>
                <a:gd name="T61" fmla="*/ 257 h 278"/>
                <a:gd name="T62" fmla="*/ 130 w 246"/>
                <a:gd name="T63" fmla="*/ 269 h 278"/>
                <a:gd name="T64" fmla="*/ 114 w 246"/>
                <a:gd name="T65" fmla="*/ 269 h 278"/>
                <a:gd name="T66" fmla="*/ 109 w 246"/>
                <a:gd name="T67" fmla="*/ 278 h 278"/>
                <a:gd name="T68" fmla="*/ 97 w 246"/>
                <a:gd name="T69" fmla="*/ 262 h 278"/>
                <a:gd name="T70" fmla="*/ 109 w 246"/>
                <a:gd name="T71" fmla="*/ 257 h 278"/>
                <a:gd name="T72" fmla="*/ 97 w 246"/>
                <a:gd name="T73" fmla="*/ 212 h 278"/>
                <a:gd name="T74" fmla="*/ 114 w 246"/>
                <a:gd name="T75" fmla="*/ 184 h 278"/>
                <a:gd name="T76" fmla="*/ 97 w 246"/>
                <a:gd name="T77" fmla="*/ 134 h 278"/>
                <a:gd name="T78" fmla="*/ 83 w 246"/>
                <a:gd name="T79" fmla="*/ 118 h 278"/>
                <a:gd name="T80" fmla="*/ 43 w 246"/>
                <a:gd name="T81" fmla="*/ 73 h 278"/>
                <a:gd name="T82" fmla="*/ 22 w 246"/>
                <a:gd name="T83" fmla="*/ 33 h 278"/>
                <a:gd name="T84" fmla="*/ 0 w 246"/>
                <a:gd name="T85" fmla="*/ 16 h 278"/>
                <a:gd name="T86" fmla="*/ 0 w 246"/>
                <a:gd name="T87" fmla="*/ 16 h 278"/>
                <a:gd name="T88" fmla="*/ 0 w 246"/>
                <a:gd name="T89" fmla="*/ 1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6" h="278">
                  <a:moveTo>
                    <a:pt x="0" y="16"/>
                  </a:moveTo>
                  <a:lnTo>
                    <a:pt x="5" y="7"/>
                  </a:lnTo>
                  <a:lnTo>
                    <a:pt x="76" y="0"/>
                  </a:lnTo>
                  <a:lnTo>
                    <a:pt x="97" y="16"/>
                  </a:lnTo>
                  <a:lnTo>
                    <a:pt x="97" y="23"/>
                  </a:lnTo>
                  <a:lnTo>
                    <a:pt x="152" y="33"/>
                  </a:lnTo>
                  <a:lnTo>
                    <a:pt x="168" y="45"/>
                  </a:lnTo>
                  <a:lnTo>
                    <a:pt x="175" y="45"/>
                  </a:lnTo>
                  <a:lnTo>
                    <a:pt x="185" y="61"/>
                  </a:lnTo>
                  <a:lnTo>
                    <a:pt x="175" y="89"/>
                  </a:lnTo>
                  <a:lnTo>
                    <a:pt x="175" y="94"/>
                  </a:lnTo>
                  <a:lnTo>
                    <a:pt x="192" y="111"/>
                  </a:lnTo>
                  <a:lnTo>
                    <a:pt x="208" y="101"/>
                  </a:lnTo>
                  <a:lnTo>
                    <a:pt x="208" y="146"/>
                  </a:lnTo>
                  <a:lnTo>
                    <a:pt x="229" y="151"/>
                  </a:lnTo>
                  <a:lnTo>
                    <a:pt x="229" y="172"/>
                  </a:lnTo>
                  <a:lnTo>
                    <a:pt x="229" y="172"/>
                  </a:lnTo>
                  <a:lnTo>
                    <a:pt x="246" y="189"/>
                  </a:lnTo>
                  <a:lnTo>
                    <a:pt x="229" y="189"/>
                  </a:lnTo>
                  <a:lnTo>
                    <a:pt x="218" y="184"/>
                  </a:lnTo>
                  <a:lnTo>
                    <a:pt x="208" y="189"/>
                  </a:lnTo>
                  <a:lnTo>
                    <a:pt x="201" y="184"/>
                  </a:lnTo>
                  <a:lnTo>
                    <a:pt x="185" y="189"/>
                  </a:lnTo>
                  <a:lnTo>
                    <a:pt x="175" y="172"/>
                  </a:lnTo>
                  <a:lnTo>
                    <a:pt x="168" y="184"/>
                  </a:lnTo>
                  <a:lnTo>
                    <a:pt x="163" y="200"/>
                  </a:lnTo>
                  <a:lnTo>
                    <a:pt x="168" y="208"/>
                  </a:lnTo>
                  <a:lnTo>
                    <a:pt x="163" y="224"/>
                  </a:lnTo>
                  <a:lnTo>
                    <a:pt x="147" y="229"/>
                  </a:lnTo>
                  <a:lnTo>
                    <a:pt x="147" y="241"/>
                  </a:lnTo>
                  <a:lnTo>
                    <a:pt x="130" y="257"/>
                  </a:lnTo>
                  <a:lnTo>
                    <a:pt x="130" y="269"/>
                  </a:lnTo>
                  <a:lnTo>
                    <a:pt x="114" y="269"/>
                  </a:lnTo>
                  <a:lnTo>
                    <a:pt x="109" y="278"/>
                  </a:lnTo>
                  <a:lnTo>
                    <a:pt x="97" y="262"/>
                  </a:lnTo>
                  <a:lnTo>
                    <a:pt x="109" y="257"/>
                  </a:lnTo>
                  <a:lnTo>
                    <a:pt x="97" y="212"/>
                  </a:lnTo>
                  <a:lnTo>
                    <a:pt x="114" y="184"/>
                  </a:lnTo>
                  <a:lnTo>
                    <a:pt x="97" y="134"/>
                  </a:lnTo>
                  <a:lnTo>
                    <a:pt x="83" y="118"/>
                  </a:lnTo>
                  <a:lnTo>
                    <a:pt x="43" y="73"/>
                  </a:lnTo>
                  <a:lnTo>
                    <a:pt x="22" y="33"/>
                  </a:lnTo>
                  <a:lnTo>
                    <a:pt x="0" y="16"/>
                  </a:lnTo>
                  <a:lnTo>
                    <a:pt x="0" y="16"/>
                  </a:lnTo>
                  <a:lnTo>
                    <a:pt x="0" y="16"/>
                  </a:lnTo>
                  <a:close/>
                </a:path>
              </a:pathLst>
            </a:custGeom>
            <a:pattFill prst="nar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3" name="Freeform 502">
              <a:extLst>
                <a:ext uri="{FF2B5EF4-FFF2-40B4-BE49-F238E27FC236}">
                  <a16:creationId xmlns:a16="http://schemas.microsoft.com/office/drawing/2014/main" id="{A0D7BC55-0566-446A-921F-AEB269015404}"/>
                </a:ext>
              </a:extLst>
            </p:cNvPr>
            <p:cNvSpPr>
              <a:spLocks/>
            </p:cNvSpPr>
            <p:nvPr/>
          </p:nvSpPr>
          <p:spPr bwMode="gray">
            <a:xfrm>
              <a:off x="7341400" y="5055533"/>
              <a:ext cx="2474" cy="10889"/>
            </a:xfrm>
            <a:custGeom>
              <a:avLst/>
              <a:gdLst>
                <a:gd name="T0" fmla="*/ 0 w 5"/>
                <a:gd name="T1" fmla="*/ 22 h 22"/>
                <a:gd name="T2" fmla="*/ 0 w 5"/>
                <a:gd name="T3" fmla="*/ 22 h 22"/>
                <a:gd name="T4" fmla="*/ 0 w 5"/>
                <a:gd name="T5" fmla="*/ 0 h 22"/>
                <a:gd name="T6" fmla="*/ 5 w 5"/>
                <a:gd name="T7" fmla="*/ 5 h 22"/>
                <a:gd name="T8" fmla="*/ 0 w 5"/>
                <a:gd name="T9" fmla="*/ 22 h 22"/>
                <a:gd name="T10" fmla="*/ 0 w 5"/>
                <a:gd name="T11" fmla="*/ 22 h 22"/>
                <a:gd name="T12" fmla="*/ 0 w 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5" h="22">
                  <a:moveTo>
                    <a:pt x="0" y="22"/>
                  </a:moveTo>
                  <a:lnTo>
                    <a:pt x="0" y="22"/>
                  </a:lnTo>
                  <a:lnTo>
                    <a:pt x="0" y="0"/>
                  </a:lnTo>
                  <a:lnTo>
                    <a:pt x="5" y="5"/>
                  </a:lnTo>
                  <a:lnTo>
                    <a:pt x="0" y="22"/>
                  </a:lnTo>
                  <a:lnTo>
                    <a:pt x="0" y="22"/>
                  </a:lnTo>
                  <a:lnTo>
                    <a:pt x="0" y="22"/>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4" name="Freeform 503">
              <a:extLst>
                <a:ext uri="{FF2B5EF4-FFF2-40B4-BE49-F238E27FC236}">
                  <a16:creationId xmlns:a16="http://schemas.microsoft.com/office/drawing/2014/main" id="{F56F04D8-0888-4376-8C6C-03466579F5F5}"/>
                </a:ext>
              </a:extLst>
            </p:cNvPr>
            <p:cNvSpPr>
              <a:spLocks/>
            </p:cNvSpPr>
            <p:nvPr/>
          </p:nvSpPr>
          <p:spPr bwMode="gray">
            <a:xfrm>
              <a:off x="8821577" y="2553652"/>
              <a:ext cx="1114957" cy="473650"/>
            </a:xfrm>
            <a:custGeom>
              <a:avLst/>
              <a:gdLst>
                <a:gd name="T0" fmla="*/ 1993 w 2253"/>
                <a:gd name="T1" fmla="*/ 603 h 957"/>
                <a:gd name="T2" fmla="*/ 1875 w 2253"/>
                <a:gd name="T3" fmla="*/ 643 h 957"/>
                <a:gd name="T4" fmla="*/ 1729 w 2253"/>
                <a:gd name="T5" fmla="*/ 659 h 957"/>
                <a:gd name="T6" fmla="*/ 1658 w 2253"/>
                <a:gd name="T7" fmla="*/ 719 h 957"/>
                <a:gd name="T8" fmla="*/ 1632 w 2253"/>
                <a:gd name="T9" fmla="*/ 808 h 957"/>
                <a:gd name="T10" fmla="*/ 1382 w 2253"/>
                <a:gd name="T11" fmla="*/ 886 h 957"/>
                <a:gd name="T12" fmla="*/ 1209 w 2253"/>
                <a:gd name="T13" fmla="*/ 957 h 957"/>
                <a:gd name="T14" fmla="*/ 1171 w 2253"/>
                <a:gd name="T15" fmla="*/ 936 h 957"/>
                <a:gd name="T16" fmla="*/ 1048 w 2253"/>
                <a:gd name="T17" fmla="*/ 907 h 957"/>
                <a:gd name="T18" fmla="*/ 919 w 2253"/>
                <a:gd name="T19" fmla="*/ 863 h 957"/>
                <a:gd name="T20" fmla="*/ 654 w 2253"/>
                <a:gd name="T21" fmla="*/ 853 h 957"/>
                <a:gd name="T22" fmla="*/ 571 w 2253"/>
                <a:gd name="T23" fmla="*/ 813 h 957"/>
                <a:gd name="T24" fmla="*/ 534 w 2253"/>
                <a:gd name="T25" fmla="*/ 726 h 957"/>
                <a:gd name="T26" fmla="*/ 411 w 2253"/>
                <a:gd name="T27" fmla="*/ 664 h 957"/>
                <a:gd name="T28" fmla="*/ 200 w 2253"/>
                <a:gd name="T29" fmla="*/ 615 h 957"/>
                <a:gd name="T30" fmla="*/ 222 w 2253"/>
                <a:gd name="T31" fmla="*/ 548 h 957"/>
                <a:gd name="T32" fmla="*/ 210 w 2253"/>
                <a:gd name="T33" fmla="*/ 475 h 957"/>
                <a:gd name="T34" fmla="*/ 163 w 2253"/>
                <a:gd name="T35" fmla="*/ 409 h 957"/>
                <a:gd name="T36" fmla="*/ 125 w 2253"/>
                <a:gd name="T37" fmla="*/ 388 h 957"/>
                <a:gd name="T38" fmla="*/ 54 w 2253"/>
                <a:gd name="T39" fmla="*/ 355 h 957"/>
                <a:gd name="T40" fmla="*/ 0 w 2253"/>
                <a:gd name="T41" fmla="*/ 310 h 957"/>
                <a:gd name="T42" fmla="*/ 21 w 2253"/>
                <a:gd name="T43" fmla="*/ 277 h 957"/>
                <a:gd name="T44" fmla="*/ 75 w 2253"/>
                <a:gd name="T45" fmla="*/ 260 h 957"/>
                <a:gd name="T46" fmla="*/ 101 w 2253"/>
                <a:gd name="T47" fmla="*/ 256 h 957"/>
                <a:gd name="T48" fmla="*/ 139 w 2253"/>
                <a:gd name="T49" fmla="*/ 227 h 957"/>
                <a:gd name="T50" fmla="*/ 163 w 2253"/>
                <a:gd name="T51" fmla="*/ 199 h 957"/>
                <a:gd name="T52" fmla="*/ 252 w 2253"/>
                <a:gd name="T53" fmla="*/ 161 h 957"/>
                <a:gd name="T54" fmla="*/ 319 w 2253"/>
                <a:gd name="T55" fmla="*/ 128 h 957"/>
                <a:gd name="T56" fmla="*/ 361 w 2253"/>
                <a:gd name="T57" fmla="*/ 128 h 957"/>
                <a:gd name="T58" fmla="*/ 453 w 2253"/>
                <a:gd name="T59" fmla="*/ 149 h 957"/>
                <a:gd name="T60" fmla="*/ 503 w 2253"/>
                <a:gd name="T61" fmla="*/ 199 h 957"/>
                <a:gd name="T62" fmla="*/ 562 w 2253"/>
                <a:gd name="T63" fmla="*/ 206 h 957"/>
                <a:gd name="T64" fmla="*/ 616 w 2253"/>
                <a:gd name="T65" fmla="*/ 222 h 957"/>
                <a:gd name="T66" fmla="*/ 697 w 2253"/>
                <a:gd name="T67" fmla="*/ 206 h 957"/>
                <a:gd name="T68" fmla="*/ 739 w 2253"/>
                <a:gd name="T69" fmla="*/ 161 h 957"/>
                <a:gd name="T70" fmla="*/ 718 w 2253"/>
                <a:gd name="T71" fmla="*/ 128 h 957"/>
                <a:gd name="T72" fmla="*/ 734 w 2253"/>
                <a:gd name="T73" fmla="*/ 62 h 957"/>
                <a:gd name="T74" fmla="*/ 777 w 2253"/>
                <a:gd name="T75" fmla="*/ 0 h 957"/>
                <a:gd name="T76" fmla="*/ 956 w 2253"/>
                <a:gd name="T77" fmla="*/ 71 h 957"/>
                <a:gd name="T78" fmla="*/ 1011 w 2253"/>
                <a:gd name="T79" fmla="*/ 95 h 957"/>
                <a:gd name="T80" fmla="*/ 1025 w 2253"/>
                <a:gd name="T81" fmla="*/ 133 h 957"/>
                <a:gd name="T82" fmla="*/ 1079 w 2253"/>
                <a:gd name="T83" fmla="*/ 173 h 957"/>
                <a:gd name="T84" fmla="*/ 1129 w 2253"/>
                <a:gd name="T85" fmla="*/ 189 h 957"/>
                <a:gd name="T86" fmla="*/ 1237 w 2253"/>
                <a:gd name="T87" fmla="*/ 161 h 957"/>
                <a:gd name="T88" fmla="*/ 1330 w 2253"/>
                <a:gd name="T89" fmla="*/ 173 h 957"/>
                <a:gd name="T90" fmla="*/ 1419 w 2253"/>
                <a:gd name="T91" fmla="*/ 215 h 957"/>
                <a:gd name="T92" fmla="*/ 1507 w 2253"/>
                <a:gd name="T93" fmla="*/ 260 h 957"/>
                <a:gd name="T94" fmla="*/ 1653 w 2253"/>
                <a:gd name="T95" fmla="*/ 272 h 957"/>
                <a:gd name="T96" fmla="*/ 1859 w 2253"/>
                <a:gd name="T97" fmla="*/ 173 h 957"/>
                <a:gd name="T98" fmla="*/ 1960 w 2253"/>
                <a:gd name="T99" fmla="*/ 215 h 957"/>
                <a:gd name="T100" fmla="*/ 2031 w 2253"/>
                <a:gd name="T101" fmla="*/ 222 h 957"/>
                <a:gd name="T102" fmla="*/ 1965 w 2253"/>
                <a:gd name="T103" fmla="*/ 367 h 957"/>
                <a:gd name="T104" fmla="*/ 1977 w 2253"/>
                <a:gd name="T105" fmla="*/ 421 h 957"/>
                <a:gd name="T106" fmla="*/ 2074 w 2253"/>
                <a:gd name="T107" fmla="*/ 421 h 957"/>
                <a:gd name="T108" fmla="*/ 2178 w 2253"/>
                <a:gd name="T109" fmla="*/ 409 h 957"/>
                <a:gd name="T110" fmla="*/ 2237 w 2253"/>
                <a:gd name="T111" fmla="*/ 466 h 957"/>
                <a:gd name="T112" fmla="*/ 2237 w 2253"/>
                <a:gd name="T113" fmla="*/ 520 h 957"/>
                <a:gd name="T114" fmla="*/ 2178 w 2253"/>
                <a:gd name="T115" fmla="*/ 515 h 957"/>
                <a:gd name="T116" fmla="*/ 2074 w 2253"/>
                <a:gd name="T117" fmla="*/ 520 h 957"/>
                <a:gd name="T118" fmla="*/ 2031 w 2253"/>
                <a:gd name="T119" fmla="*/ 548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3" h="957">
                  <a:moveTo>
                    <a:pt x="2031" y="548"/>
                  </a:moveTo>
                  <a:lnTo>
                    <a:pt x="2010" y="560"/>
                  </a:lnTo>
                  <a:lnTo>
                    <a:pt x="1993" y="603"/>
                  </a:lnTo>
                  <a:lnTo>
                    <a:pt x="1944" y="626"/>
                  </a:lnTo>
                  <a:lnTo>
                    <a:pt x="1875" y="626"/>
                  </a:lnTo>
                  <a:lnTo>
                    <a:pt x="1875" y="643"/>
                  </a:lnTo>
                  <a:lnTo>
                    <a:pt x="1814" y="681"/>
                  </a:lnTo>
                  <a:lnTo>
                    <a:pt x="1762" y="669"/>
                  </a:lnTo>
                  <a:lnTo>
                    <a:pt x="1729" y="659"/>
                  </a:lnTo>
                  <a:lnTo>
                    <a:pt x="1708" y="648"/>
                  </a:lnTo>
                  <a:lnTo>
                    <a:pt x="1686" y="664"/>
                  </a:lnTo>
                  <a:lnTo>
                    <a:pt x="1658" y="719"/>
                  </a:lnTo>
                  <a:lnTo>
                    <a:pt x="1691" y="754"/>
                  </a:lnTo>
                  <a:lnTo>
                    <a:pt x="1696" y="775"/>
                  </a:lnTo>
                  <a:lnTo>
                    <a:pt x="1632" y="808"/>
                  </a:lnTo>
                  <a:lnTo>
                    <a:pt x="1587" y="853"/>
                  </a:lnTo>
                  <a:lnTo>
                    <a:pt x="1511" y="886"/>
                  </a:lnTo>
                  <a:lnTo>
                    <a:pt x="1382" y="886"/>
                  </a:lnTo>
                  <a:lnTo>
                    <a:pt x="1263" y="924"/>
                  </a:lnTo>
                  <a:lnTo>
                    <a:pt x="1226" y="952"/>
                  </a:lnTo>
                  <a:lnTo>
                    <a:pt x="1209" y="957"/>
                  </a:lnTo>
                  <a:lnTo>
                    <a:pt x="1204" y="957"/>
                  </a:lnTo>
                  <a:lnTo>
                    <a:pt x="1171" y="952"/>
                  </a:lnTo>
                  <a:lnTo>
                    <a:pt x="1171" y="936"/>
                  </a:lnTo>
                  <a:lnTo>
                    <a:pt x="1129" y="941"/>
                  </a:lnTo>
                  <a:lnTo>
                    <a:pt x="1096" y="936"/>
                  </a:lnTo>
                  <a:lnTo>
                    <a:pt x="1048" y="907"/>
                  </a:lnTo>
                  <a:lnTo>
                    <a:pt x="1004" y="903"/>
                  </a:lnTo>
                  <a:lnTo>
                    <a:pt x="987" y="879"/>
                  </a:lnTo>
                  <a:lnTo>
                    <a:pt x="919" y="863"/>
                  </a:lnTo>
                  <a:lnTo>
                    <a:pt x="881" y="863"/>
                  </a:lnTo>
                  <a:lnTo>
                    <a:pt x="826" y="879"/>
                  </a:lnTo>
                  <a:lnTo>
                    <a:pt x="654" y="853"/>
                  </a:lnTo>
                  <a:lnTo>
                    <a:pt x="600" y="863"/>
                  </a:lnTo>
                  <a:lnTo>
                    <a:pt x="600" y="846"/>
                  </a:lnTo>
                  <a:lnTo>
                    <a:pt x="571" y="813"/>
                  </a:lnTo>
                  <a:lnTo>
                    <a:pt x="545" y="754"/>
                  </a:lnTo>
                  <a:lnTo>
                    <a:pt x="534" y="754"/>
                  </a:lnTo>
                  <a:lnTo>
                    <a:pt x="534" y="726"/>
                  </a:lnTo>
                  <a:lnTo>
                    <a:pt x="508" y="726"/>
                  </a:lnTo>
                  <a:lnTo>
                    <a:pt x="486" y="719"/>
                  </a:lnTo>
                  <a:lnTo>
                    <a:pt x="411" y="664"/>
                  </a:lnTo>
                  <a:lnTo>
                    <a:pt x="264" y="659"/>
                  </a:lnTo>
                  <a:lnTo>
                    <a:pt x="215" y="643"/>
                  </a:lnTo>
                  <a:lnTo>
                    <a:pt x="200" y="615"/>
                  </a:lnTo>
                  <a:lnTo>
                    <a:pt x="210" y="593"/>
                  </a:lnTo>
                  <a:lnTo>
                    <a:pt x="231" y="570"/>
                  </a:lnTo>
                  <a:lnTo>
                    <a:pt x="222" y="548"/>
                  </a:lnTo>
                  <a:lnTo>
                    <a:pt x="231" y="520"/>
                  </a:lnTo>
                  <a:lnTo>
                    <a:pt x="222" y="492"/>
                  </a:lnTo>
                  <a:lnTo>
                    <a:pt x="210" y="475"/>
                  </a:lnTo>
                  <a:lnTo>
                    <a:pt x="193" y="449"/>
                  </a:lnTo>
                  <a:lnTo>
                    <a:pt x="184" y="437"/>
                  </a:lnTo>
                  <a:lnTo>
                    <a:pt x="163" y="409"/>
                  </a:lnTo>
                  <a:lnTo>
                    <a:pt x="163" y="404"/>
                  </a:lnTo>
                  <a:lnTo>
                    <a:pt x="139" y="404"/>
                  </a:lnTo>
                  <a:lnTo>
                    <a:pt x="125" y="388"/>
                  </a:lnTo>
                  <a:lnTo>
                    <a:pt x="92" y="388"/>
                  </a:lnTo>
                  <a:lnTo>
                    <a:pt x="59" y="371"/>
                  </a:lnTo>
                  <a:lnTo>
                    <a:pt x="54" y="355"/>
                  </a:lnTo>
                  <a:lnTo>
                    <a:pt x="16" y="338"/>
                  </a:lnTo>
                  <a:lnTo>
                    <a:pt x="21" y="326"/>
                  </a:lnTo>
                  <a:lnTo>
                    <a:pt x="0" y="310"/>
                  </a:lnTo>
                  <a:lnTo>
                    <a:pt x="4" y="300"/>
                  </a:lnTo>
                  <a:lnTo>
                    <a:pt x="4" y="282"/>
                  </a:lnTo>
                  <a:lnTo>
                    <a:pt x="21" y="277"/>
                  </a:lnTo>
                  <a:lnTo>
                    <a:pt x="21" y="260"/>
                  </a:lnTo>
                  <a:lnTo>
                    <a:pt x="33" y="256"/>
                  </a:lnTo>
                  <a:lnTo>
                    <a:pt x="75" y="260"/>
                  </a:lnTo>
                  <a:lnTo>
                    <a:pt x="75" y="244"/>
                  </a:lnTo>
                  <a:lnTo>
                    <a:pt x="87" y="256"/>
                  </a:lnTo>
                  <a:lnTo>
                    <a:pt x="101" y="256"/>
                  </a:lnTo>
                  <a:lnTo>
                    <a:pt x="101" y="239"/>
                  </a:lnTo>
                  <a:lnTo>
                    <a:pt x="108" y="244"/>
                  </a:lnTo>
                  <a:lnTo>
                    <a:pt x="139" y="227"/>
                  </a:lnTo>
                  <a:lnTo>
                    <a:pt x="130" y="215"/>
                  </a:lnTo>
                  <a:lnTo>
                    <a:pt x="156" y="206"/>
                  </a:lnTo>
                  <a:lnTo>
                    <a:pt x="163" y="199"/>
                  </a:lnTo>
                  <a:lnTo>
                    <a:pt x="210" y="182"/>
                  </a:lnTo>
                  <a:lnTo>
                    <a:pt x="222" y="166"/>
                  </a:lnTo>
                  <a:lnTo>
                    <a:pt x="252" y="161"/>
                  </a:lnTo>
                  <a:lnTo>
                    <a:pt x="276" y="145"/>
                  </a:lnTo>
                  <a:lnTo>
                    <a:pt x="307" y="133"/>
                  </a:lnTo>
                  <a:lnTo>
                    <a:pt x="319" y="128"/>
                  </a:lnTo>
                  <a:lnTo>
                    <a:pt x="340" y="145"/>
                  </a:lnTo>
                  <a:lnTo>
                    <a:pt x="356" y="128"/>
                  </a:lnTo>
                  <a:lnTo>
                    <a:pt x="361" y="128"/>
                  </a:lnTo>
                  <a:lnTo>
                    <a:pt x="361" y="145"/>
                  </a:lnTo>
                  <a:lnTo>
                    <a:pt x="373" y="149"/>
                  </a:lnTo>
                  <a:lnTo>
                    <a:pt x="453" y="149"/>
                  </a:lnTo>
                  <a:lnTo>
                    <a:pt x="465" y="182"/>
                  </a:lnTo>
                  <a:lnTo>
                    <a:pt x="479" y="206"/>
                  </a:lnTo>
                  <a:lnTo>
                    <a:pt x="503" y="199"/>
                  </a:lnTo>
                  <a:lnTo>
                    <a:pt x="508" y="206"/>
                  </a:lnTo>
                  <a:lnTo>
                    <a:pt x="541" y="215"/>
                  </a:lnTo>
                  <a:lnTo>
                    <a:pt x="562" y="206"/>
                  </a:lnTo>
                  <a:lnTo>
                    <a:pt x="571" y="215"/>
                  </a:lnTo>
                  <a:lnTo>
                    <a:pt x="578" y="206"/>
                  </a:lnTo>
                  <a:lnTo>
                    <a:pt x="616" y="222"/>
                  </a:lnTo>
                  <a:lnTo>
                    <a:pt x="647" y="215"/>
                  </a:lnTo>
                  <a:lnTo>
                    <a:pt x="671" y="227"/>
                  </a:lnTo>
                  <a:lnTo>
                    <a:pt x="697" y="206"/>
                  </a:lnTo>
                  <a:lnTo>
                    <a:pt x="722" y="199"/>
                  </a:lnTo>
                  <a:lnTo>
                    <a:pt x="739" y="173"/>
                  </a:lnTo>
                  <a:lnTo>
                    <a:pt x="739" y="161"/>
                  </a:lnTo>
                  <a:lnTo>
                    <a:pt x="718" y="145"/>
                  </a:lnTo>
                  <a:lnTo>
                    <a:pt x="718" y="133"/>
                  </a:lnTo>
                  <a:lnTo>
                    <a:pt x="718" y="128"/>
                  </a:lnTo>
                  <a:lnTo>
                    <a:pt x="701" y="111"/>
                  </a:lnTo>
                  <a:lnTo>
                    <a:pt x="718" y="62"/>
                  </a:lnTo>
                  <a:lnTo>
                    <a:pt x="734" y="62"/>
                  </a:lnTo>
                  <a:lnTo>
                    <a:pt x="739" y="38"/>
                  </a:lnTo>
                  <a:lnTo>
                    <a:pt x="760" y="34"/>
                  </a:lnTo>
                  <a:lnTo>
                    <a:pt x="777" y="0"/>
                  </a:lnTo>
                  <a:lnTo>
                    <a:pt x="859" y="38"/>
                  </a:lnTo>
                  <a:lnTo>
                    <a:pt x="897" y="38"/>
                  </a:lnTo>
                  <a:lnTo>
                    <a:pt x="956" y="71"/>
                  </a:lnTo>
                  <a:lnTo>
                    <a:pt x="973" y="62"/>
                  </a:lnTo>
                  <a:lnTo>
                    <a:pt x="1011" y="78"/>
                  </a:lnTo>
                  <a:lnTo>
                    <a:pt x="1011" y="95"/>
                  </a:lnTo>
                  <a:lnTo>
                    <a:pt x="1020" y="111"/>
                  </a:lnTo>
                  <a:lnTo>
                    <a:pt x="1011" y="128"/>
                  </a:lnTo>
                  <a:lnTo>
                    <a:pt x="1025" y="133"/>
                  </a:lnTo>
                  <a:lnTo>
                    <a:pt x="1020" y="149"/>
                  </a:lnTo>
                  <a:lnTo>
                    <a:pt x="1063" y="173"/>
                  </a:lnTo>
                  <a:lnTo>
                    <a:pt x="1079" y="173"/>
                  </a:lnTo>
                  <a:lnTo>
                    <a:pt x="1086" y="189"/>
                  </a:lnTo>
                  <a:lnTo>
                    <a:pt x="1117" y="189"/>
                  </a:lnTo>
                  <a:lnTo>
                    <a:pt x="1129" y="189"/>
                  </a:lnTo>
                  <a:lnTo>
                    <a:pt x="1141" y="189"/>
                  </a:lnTo>
                  <a:lnTo>
                    <a:pt x="1167" y="173"/>
                  </a:lnTo>
                  <a:lnTo>
                    <a:pt x="1237" y="161"/>
                  </a:lnTo>
                  <a:lnTo>
                    <a:pt x="1280" y="166"/>
                  </a:lnTo>
                  <a:lnTo>
                    <a:pt x="1297" y="173"/>
                  </a:lnTo>
                  <a:lnTo>
                    <a:pt x="1330" y="173"/>
                  </a:lnTo>
                  <a:lnTo>
                    <a:pt x="1351" y="189"/>
                  </a:lnTo>
                  <a:lnTo>
                    <a:pt x="1356" y="206"/>
                  </a:lnTo>
                  <a:lnTo>
                    <a:pt x="1419" y="215"/>
                  </a:lnTo>
                  <a:lnTo>
                    <a:pt x="1415" y="239"/>
                  </a:lnTo>
                  <a:lnTo>
                    <a:pt x="1457" y="272"/>
                  </a:lnTo>
                  <a:lnTo>
                    <a:pt x="1507" y="260"/>
                  </a:lnTo>
                  <a:lnTo>
                    <a:pt x="1528" y="277"/>
                  </a:lnTo>
                  <a:lnTo>
                    <a:pt x="1615" y="282"/>
                  </a:lnTo>
                  <a:lnTo>
                    <a:pt x="1653" y="272"/>
                  </a:lnTo>
                  <a:lnTo>
                    <a:pt x="1776" y="244"/>
                  </a:lnTo>
                  <a:lnTo>
                    <a:pt x="1783" y="222"/>
                  </a:lnTo>
                  <a:lnTo>
                    <a:pt x="1859" y="173"/>
                  </a:lnTo>
                  <a:lnTo>
                    <a:pt x="1901" y="182"/>
                  </a:lnTo>
                  <a:lnTo>
                    <a:pt x="1939" y="215"/>
                  </a:lnTo>
                  <a:lnTo>
                    <a:pt x="1960" y="215"/>
                  </a:lnTo>
                  <a:lnTo>
                    <a:pt x="1998" y="206"/>
                  </a:lnTo>
                  <a:lnTo>
                    <a:pt x="2019" y="215"/>
                  </a:lnTo>
                  <a:lnTo>
                    <a:pt x="2031" y="222"/>
                  </a:lnTo>
                  <a:lnTo>
                    <a:pt x="1982" y="317"/>
                  </a:lnTo>
                  <a:lnTo>
                    <a:pt x="1965" y="338"/>
                  </a:lnTo>
                  <a:lnTo>
                    <a:pt x="1965" y="367"/>
                  </a:lnTo>
                  <a:lnTo>
                    <a:pt x="1944" y="383"/>
                  </a:lnTo>
                  <a:lnTo>
                    <a:pt x="1956" y="393"/>
                  </a:lnTo>
                  <a:lnTo>
                    <a:pt x="1977" y="421"/>
                  </a:lnTo>
                  <a:lnTo>
                    <a:pt x="1998" y="404"/>
                  </a:lnTo>
                  <a:lnTo>
                    <a:pt x="2048" y="404"/>
                  </a:lnTo>
                  <a:lnTo>
                    <a:pt x="2074" y="421"/>
                  </a:lnTo>
                  <a:lnTo>
                    <a:pt x="2107" y="388"/>
                  </a:lnTo>
                  <a:lnTo>
                    <a:pt x="2161" y="388"/>
                  </a:lnTo>
                  <a:lnTo>
                    <a:pt x="2178" y="409"/>
                  </a:lnTo>
                  <a:lnTo>
                    <a:pt x="2199" y="421"/>
                  </a:lnTo>
                  <a:lnTo>
                    <a:pt x="2199" y="437"/>
                  </a:lnTo>
                  <a:lnTo>
                    <a:pt x="2237" y="466"/>
                  </a:lnTo>
                  <a:lnTo>
                    <a:pt x="2253" y="492"/>
                  </a:lnTo>
                  <a:lnTo>
                    <a:pt x="2253" y="504"/>
                  </a:lnTo>
                  <a:lnTo>
                    <a:pt x="2237" y="520"/>
                  </a:lnTo>
                  <a:lnTo>
                    <a:pt x="2215" y="515"/>
                  </a:lnTo>
                  <a:lnTo>
                    <a:pt x="2182" y="504"/>
                  </a:lnTo>
                  <a:lnTo>
                    <a:pt x="2178" y="515"/>
                  </a:lnTo>
                  <a:lnTo>
                    <a:pt x="2145" y="504"/>
                  </a:lnTo>
                  <a:lnTo>
                    <a:pt x="2107" y="520"/>
                  </a:lnTo>
                  <a:lnTo>
                    <a:pt x="2074" y="520"/>
                  </a:lnTo>
                  <a:lnTo>
                    <a:pt x="2074" y="537"/>
                  </a:lnTo>
                  <a:lnTo>
                    <a:pt x="2036" y="537"/>
                  </a:lnTo>
                  <a:lnTo>
                    <a:pt x="2031" y="548"/>
                  </a:lnTo>
                  <a:lnTo>
                    <a:pt x="2031" y="548"/>
                  </a:lnTo>
                  <a:lnTo>
                    <a:pt x="2031" y="548"/>
                  </a:lnTo>
                  <a:close/>
                </a:path>
              </a:pathLst>
            </a:custGeom>
            <a:pattFill prst="lt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5" name="Freeform 504">
              <a:extLst>
                <a:ext uri="{FF2B5EF4-FFF2-40B4-BE49-F238E27FC236}">
                  <a16:creationId xmlns:a16="http://schemas.microsoft.com/office/drawing/2014/main" id="{B3480F86-EC1C-41FF-8A97-E523E712F1C2}"/>
                </a:ext>
              </a:extLst>
            </p:cNvPr>
            <p:cNvSpPr>
              <a:spLocks/>
            </p:cNvSpPr>
            <p:nvPr/>
          </p:nvSpPr>
          <p:spPr bwMode="gray">
            <a:xfrm>
              <a:off x="3613492" y="3996378"/>
              <a:ext cx="2474" cy="8414"/>
            </a:xfrm>
            <a:custGeom>
              <a:avLst/>
              <a:gdLst>
                <a:gd name="T0" fmla="*/ 5 w 5"/>
                <a:gd name="T1" fmla="*/ 17 h 17"/>
                <a:gd name="T2" fmla="*/ 0 w 5"/>
                <a:gd name="T3" fmla="*/ 5 h 17"/>
                <a:gd name="T4" fmla="*/ 5 w 5"/>
                <a:gd name="T5" fmla="*/ 0 h 17"/>
                <a:gd name="T6" fmla="*/ 5 w 5"/>
                <a:gd name="T7" fmla="*/ 17 h 17"/>
                <a:gd name="T8" fmla="*/ 5 w 5"/>
                <a:gd name="T9" fmla="*/ 17 h 17"/>
                <a:gd name="T10" fmla="*/ 5 w 5"/>
                <a:gd name="T11" fmla="*/ 17 h 17"/>
              </a:gdLst>
              <a:ahLst/>
              <a:cxnLst>
                <a:cxn ang="0">
                  <a:pos x="T0" y="T1"/>
                </a:cxn>
                <a:cxn ang="0">
                  <a:pos x="T2" y="T3"/>
                </a:cxn>
                <a:cxn ang="0">
                  <a:pos x="T4" y="T5"/>
                </a:cxn>
                <a:cxn ang="0">
                  <a:pos x="T6" y="T7"/>
                </a:cxn>
                <a:cxn ang="0">
                  <a:pos x="T8" y="T9"/>
                </a:cxn>
                <a:cxn ang="0">
                  <a:pos x="T10" y="T11"/>
                </a:cxn>
              </a:cxnLst>
              <a:rect l="0" t="0" r="r" b="b"/>
              <a:pathLst>
                <a:path w="5" h="17">
                  <a:moveTo>
                    <a:pt x="5" y="17"/>
                  </a:moveTo>
                  <a:lnTo>
                    <a:pt x="0" y="5"/>
                  </a:lnTo>
                  <a:lnTo>
                    <a:pt x="5" y="0"/>
                  </a:lnTo>
                  <a:lnTo>
                    <a:pt x="5" y="17"/>
                  </a:lnTo>
                  <a:lnTo>
                    <a:pt x="5" y="17"/>
                  </a:lnTo>
                  <a:lnTo>
                    <a:pt x="5" y="17"/>
                  </a:lnTo>
                  <a:close/>
                </a:path>
              </a:pathLst>
            </a:custGeom>
            <a:solidFill>
              <a:schemeClr val="accent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6" name="Freeform 505">
              <a:extLst>
                <a:ext uri="{FF2B5EF4-FFF2-40B4-BE49-F238E27FC236}">
                  <a16:creationId xmlns:a16="http://schemas.microsoft.com/office/drawing/2014/main" id="{C0DD9099-F8AC-496F-B9A2-C21B3B23EA2C}"/>
                </a:ext>
              </a:extLst>
            </p:cNvPr>
            <p:cNvSpPr>
              <a:spLocks/>
            </p:cNvSpPr>
            <p:nvPr/>
          </p:nvSpPr>
          <p:spPr bwMode="gray">
            <a:xfrm>
              <a:off x="6907888" y="4936254"/>
              <a:ext cx="114316" cy="285576"/>
            </a:xfrm>
            <a:custGeom>
              <a:avLst/>
              <a:gdLst>
                <a:gd name="T0" fmla="*/ 33 w 231"/>
                <a:gd name="T1" fmla="*/ 336 h 577"/>
                <a:gd name="T2" fmla="*/ 21 w 231"/>
                <a:gd name="T3" fmla="*/ 336 h 577"/>
                <a:gd name="T4" fmla="*/ 16 w 231"/>
                <a:gd name="T5" fmla="*/ 298 h 577"/>
                <a:gd name="T6" fmla="*/ 21 w 231"/>
                <a:gd name="T7" fmla="*/ 246 h 577"/>
                <a:gd name="T8" fmla="*/ 49 w 231"/>
                <a:gd name="T9" fmla="*/ 230 h 577"/>
                <a:gd name="T10" fmla="*/ 49 w 231"/>
                <a:gd name="T11" fmla="*/ 220 h 577"/>
                <a:gd name="T12" fmla="*/ 49 w 231"/>
                <a:gd name="T13" fmla="*/ 175 h 577"/>
                <a:gd name="T14" fmla="*/ 54 w 231"/>
                <a:gd name="T15" fmla="*/ 130 h 577"/>
                <a:gd name="T16" fmla="*/ 64 w 231"/>
                <a:gd name="T17" fmla="*/ 107 h 577"/>
                <a:gd name="T18" fmla="*/ 64 w 231"/>
                <a:gd name="T19" fmla="*/ 74 h 577"/>
                <a:gd name="T20" fmla="*/ 49 w 231"/>
                <a:gd name="T21" fmla="*/ 52 h 577"/>
                <a:gd name="T22" fmla="*/ 38 w 231"/>
                <a:gd name="T23" fmla="*/ 17 h 577"/>
                <a:gd name="T24" fmla="*/ 16 w 231"/>
                <a:gd name="T25" fmla="*/ 0 h 577"/>
                <a:gd name="T26" fmla="*/ 54 w 231"/>
                <a:gd name="T27" fmla="*/ 17 h 577"/>
                <a:gd name="T28" fmla="*/ 87 w 231"/>
                <a:gd name="T29" fmla="*/ 24 h 577"/>
                <a:gd name="T30" fmla="*/ 118 w 231"/>
                <a:gd name="T31" fmla="*/ 24 h 577"/>
                <a:gd name="T32" fmla="*/ 139 w 231"/>
                <a:gd name="T33" fmla="*/ 107 h 577"/>
                <a:gd name="T34" fmla="*/ 163 w 231"/>
                <a:gd name="T35" fmla="*/ 163 h 577"/>
                <a:gd name="T36" fmla="*/ 139 w 231"/>
                <a:gd name="T37" fmla="*/ 175 h 577"/>
                <a:gd name="T38" fmla="*/ 130 w 231"/>
                <a:gd name="T39" fmla="*/ 246 h 577"/>
                <a:gd name="T40" fmla="*/ 139 w 231"/>
                <a:gd name="T41" fmla="*/ 303 h 577"/>
                <a:gd name="T42" fmla="*/ 172 w 231"/>
                <a:gd name="T43" fmla="*/ 319 h 577"/>
                <a:gd name="T44" fmla="*/ 231 w 231"/>
                <a:gd name="T45" fmla="*/ 409 h 577"/>
                <a:gd name="T46" fmla="*/ 227 w 231"/>
                <a:gd name="T47" fmla="*/ 447 h 577"/>
                <a:gd name="T48" fmla="*/ 201 w 231"/>
                <a:gd name="T49" fmla="*/ 504 h 577"/>
                <a:gd name="T50" fmla="*/ 172 w 231"/>
                <a:gd name="T51" fmla="*/ 527 h 577"/>
                <a:gd name="T52" fmla="*/ 184 w 231"/>
                <a:gd name="T53" fmla="*/ 577 h 577"/>
                <a:gd name="T54" fmla="*/ 177 w 231"/>
                <a:gd name="T55" fmla="*/ 553 h 577"/>
                <a:gd name="T56" fmla="*/ 130 w 231"/>
                <a:gd name="T57" fmla="*/ 508 h 577"/>
                <a:gd name="T58" fmla="*/ 125 w 231"/>
                <a:gd name="T59" fmla="*/ 499 h 577"/>
                <a:gd name="T60" fmla="*/ 130 w 231"/>
                <a:gd name="T61" fmla="*/ 442 h 577"/>
                <a:gd name="T62" fmla="*/ 118 w 231"/>
                <a:gd name="T63" fmla="*/ 369 h 577"/>
                <a:gd name="T64" fmla="*/ 38 w 231"/>
                <a:gd name="T65" fmla="*/ 343 h 577"/>
                <a:gd name="T66" fmla="*/ 38 w 231"/>
                <a:gd name="T67" fmla="*/ 343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 h="577">
                  <a:moveTo>
                    <a:pt x="38" y="343"/>
                  </a:moveTo>
                  <a:lnTo>
                    <a:pt x="33" y="336"/>
                  </a:lnTo>
                  <a:lnTo>
                    <a:pt x="33" y="343"/>
                  </a:lnTo>
                  <a:lnTo>
                    <a:pt x="21" y="336"/>
                  </a:lnTo>
                  <a:lnTo>
                    <a:pt x="0" y="315"/>
                  </a:lnTo>
                  <a:lnTo>
                    <a:pt x="16" y="298"/>
                  </a:lnTo>
                  <a:lnTo>
                    <a:pt x="21" y="263"/>
                  </a:lnTo>
                  <a:lnTo>
                    <a:pt x="21" y="246"/>
                  </a:lnTo>
                  <a:lnTo>
                    <a:pt x="21" y="241"/>
                  </a:lnTo>
                  <a:lnTo>
                    <a:pt x="49" y="230"/>
                  </a:lnTo>
                  <a:lnTo>
                    <a:pt x="64" y="225"/>
                  </a:lnTo>
                  <a:lnTo>
                    <a:pt x="49" y="220"/>
                  </a:lnTo>
                  <a:lnTo>
                    <a:pt x="38" y="208"/>
                  </a:lnTo>
                  <a:lnTo>
                    <a:pt x="49" y="175"/>
                  </a:lnTo>
                  <a:lnTo>
                    <a:pt x="38" y="152"/>
                  </a:lnTo>
                  <a:lnTo>
                    <a:pt x="54" y="130"/>
                  </a:lnTo>
                  <a:lnTo>
                    <a:pt x="38" y="114"/>
                  </a:lnTo>
                  <a:lnTo>
                    <a:pt x="64" y="107"/>
                  </a:lnTo>
                  <a:lnTo>
                    <a:pt x="71" y="90"/>
                  </a:lnTo>
                  <a:lnTo>
                    <a:pt x="64" y="74"/>
                  </a:lnTo>
                  <a:lnTo>
                    <a:pt x="64" y="62"/>
                  </a:lnTo>
                  <a:lnTo>
                    <a:pt x="49" y="52"/>
                  </a:lnTo>
                  <a:lnTo>
                    <a:pt x="49" y="41"/>
                  </a:lnTo>
                  <a:lnTo>
                    <a:pt x="38" y="17"/>
                  </a:lnTo>
                  <a:lnTo>
                    <a:pt x="21" y="17"/>
                  </a:lnTo>
                  <a:lnTo>
                    <a:pt x="16" y="0"/>
                  </a:lnTo>
                  <a:lnTo>
                    <a:pt x="49" y="8"/>
                  </a:lnTo>
                  <a:lnTo>
                    <a:pt x="54" y="17"/>
                  </a:lnTo>
                  <a:lnTo>
                    <a:pt x="75" y="17"/>
                  </a:lnTo>
                  <a:lnTo>
                    <a:pt x="87" y="24"/>
                  </a:lnTo>
                  <a:lnTo>
                    <a:pt x="92" y="8"/>
                  </a:lnTo>
                  <a:lnTo>
                    <a:pt x="118" y="24"/>
                  </a:lnTo>
                  <a:lnTo>
                    <a:pt x="130" y="52"/>
                  </a:lnTo>
                  <a:lnTo>
                    <a:pt x="139" y="107"/>
                  </a:lnTo>
                  <a:lnTo>
                    <a:pt x="139" y="130"/>
                  </a:lnTo>
                  <a:lnTo>
                    <a:pt x="163" y="163"/>
                  </a:lnTo>
                  <a:lnTo>
                    <a:pt x="139" y="163"/>
                  </a:lnTo>
                  <a:lnTo>
                    <a:pt x="139" y="175"/>
                  </a:lnTo>
                  <a:lnTo>
                    <a:pt x="125" y="208"/>
                  </a:lnTo>
                  <a:lnTo>
                    <a:pt x="130" y="246"/>
                  </a:lnTo>
                  <a:lnTo>
                    <a:pt x="130" y="298"/>
                  </a:lnTo>
                  <a:lnTo>
                    <a:pt x="139" y="303"/>
                  </a:lnTo>
                  <a:lnTo>
                    <a:pt x="156" y="303"/>
                  </a:lnTo>
                  <a:lnTo>
                    <a:pt x="172" y="319"/>
                  </a:lnTo>
                  <a:lnTo>
                    <a:pt x="227" y="393"/>
                  </a:lnTo>
                  <a:lnTo>
                    <a:pt x="231" y="409"/>
                  </a:lnTo>
                  <a:lnTo>
                    <a:pt x="215" y="430"/>
                  </a:lnTo>
                  <a:lnTo>
                    <a:pt x="227" y="447"/>
                  </a:lnTo>
                  <a:lnTo>
                    <a:pt x="227" y="487"/>
                  </a:lnTo>
                  <a:lnTo>
                    <a:pt x="201" y="504"/>
                  </a:lnTo>
                  <a:lnTo>
                    <a:pt x="193" y="499"/>
                  </a:lnTo>
                  <a:lnTo>
                    <a:pt x="172" y="527"/>
                  </a:lnTo>
                  <a:lnTo>
                    <a:pt x="184" y="544"/>
                  </a:lnTo>
                  <a:lnTo>
                    <a:pt x="184" y="577"/>
                  </a:lnTo>
                  <a:lnTo>
                    <a:pt x="172" y="577"/>
                  </a:lnTo>
                  <a:lnTo>
                    <a:pt x="177" y="553"/>
                  </a:lnTo>
                  <a:lnTo>
                    <a:pt x="163" y="553"/>
                  </a:lnTo>
                  <a:lnTo>
                    <a:pt x="130" y="508"/>
                  </a:lnTo>
                  <a:lnTo>
                    <a:pt x="125" y="508"/>
                  </a:lnTo>
                  <a:lnTo>
                    <a:pt x="125" y="499"/>
                  </a:lnTo>
                  <a:lnTo>
                    <a:pt x="108" y="482"/>
                  </a:lnTo>
                  <a:lnTo>
                    <a:pt x="130" y="442"/>
                  </a:lnTo>
                  <a:lnTo>
                    <a:pt x="130" y="386"/>
                  </a:lnTo>
                  <a:lnTo>
                    <a:pt x="118" y="369"/>
                  </a:lnTo>
                  <a:lnTo>
                    <a:pt x="71" y="386"/>
                  </a:lnTo>
                  <a:lnTo>
                    <a:pt x="38" y="343"/>
                  </a:lnTo>
                  <a:lnTo>
                    <a:pt x="38" y="343"/>
                  </a:lnTo>
                  <a:lnTo>
                    <a:pt x="38" y="343"/>
                  </a:lnTo>
                  <a:close/>
                </a:path>
              </a:pathLst>
            </a:custGeom>
            <a:pattFill prst="wd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7" name="Freeform 506">
              <a:extLst>
                <a:ext uri="{FF2B5EF4-FFF2-40B4-BE49-F238E27FC236}">
                  <a16:creationId xmlns:a16="http://schemas.microsoft.com/office/drawing/2014/main" id="{714A8AFD-B34D-4F07-BF98-FB834F02D51C}"/>
                </a:ext>
              </a:extLst>
            </p:cNvPr>
            <p:cNvSpPr>
              <a:spLocks/>
            </p:cNvSpPr>
            <p:nvPr/>
          </p:nvSpPr>
          <p:spPr bwMode="gray">
            <a:xfrm>
              <a:off x="6485758" y="2995626"/>
              <a:ext cx="86604" cy="62361"/>
            </a:xfrm>
            <a:custGeom>
              <a:avLst/>
              <a:gdLst>
                <a:gd name="T0" fmla="*/ 21 w 175"/>
                <a:gd name="T1" fmla="*/ 126 h 126"/>
                <a:gd name="T2" fmla="*/ 9 w 175"/>
                <a:gd name="T3" fmla="*/ 126 h 126"/>
                <a:gd name="T4" fmla="*/ 0 w 175"/>
                <a:gd name="T5" fmla="*/ 88 h 126"/>
                <a:gd name="T6" fmla="*/ 5 w 175"/>
                <a:gd name="T7" fmla="*/ 81 h 126"/>
                <a:gd name="T8" fmla="*/ 0 w 175"/>
                <a:gd name="T9" fmla="*/ 71 h 126"/>
                <a:gd name="T10" fmla="*/ 5 w 175"/>
                <a:gd name="T11" fmla="*/ 43 h 126"/>
                <a:gd name="T12" fmla="*/ 9 w 175"/>
                <a:gd name="T13" fmla="*/ 43 h 126"/>
                <a:gd name="T14" fmla="*/ 21 w 175"/>
                <a:gd name="T15" fmla="*/ 26 h 126"/>
                <a:gd name="T16" fmla="*/ 43 w 175"/>
                <a:gd name="T17" fmla="*/ 17 h 126"/>
                <a:gd name="T18" fmla="*/ 59 w 175"/>
                <a:gd name="T19" fmla="*/ 17 h 126"/>
                <a:gd name="T20" fmla="*/ 66 w 175"/>
                <a:gd name="T21" fmla="*/ 10 h 126"/>
                <a:gd name="T22" fmla="*/ 80 w 175"/>
                <a:gd name="T23" fmla="*/ 10 h 126"/>
                <a:gd name="T24" fmla="*/ 97 w 175"/>
                <a:gd name="T25" fmla="*/ 0 h 126"/>
                <a:gd name="T26" fmla="*/ 130 w 175"/>
                <a:gd name="T27" fmla="*/ 0 h 126"/>
                <a:gd name="T28" fmla="*/ 147 w 175"/>
                <a:gd name="T29" fmla="*/ 17 h 126"/>
                <a:gd name="T30" fmla="*/ 170 w 175"/>
                <a:gd name="T31" fmla="*/ 33 h 126"/>
                <a:gd name="T32" fmla="*/ 175 w 175"/>
                <a:gd name="T33" fmla="*/ 50 h 126"/>
                <a:gd name="T34" fmla="*/ 175 w 175"/>
                <a:gd name="T35" fmla="*/ 88 h 126"/>
                <a:gd name="T36" fmla="*/ 163 w 175"/>
                <a:gd name="T37" fmla="*/ 88 h 126"/>
                <a:gd name="T38" fmla="*/ 163 w 175"/>
                <a:gd name="T39" fmla="*/ 102 h 126"/>
                <a:gd name="T40" fmla="*/ 109 w 175"/>
                <a:gd name="T41" fmla="*/ 102 h 126"/>
                <a:gd name="T42" fmla="*/ 92 w 175"/>
                <a:gd name="T43" fmla="*/ 118 h 126"/>
                <a:gd name="T44" fmla="*/ 76 w 175"/>
                <a:gd name="T45" fmla="*/ 126 h 126"/>
                <a:gd name="T46" fmla="*/ 38 w 175"/>
                <a:gd name="T47" fmla="*/ 126 h 126"/>
                <a:gd name="T48" fmla="*/ 21 w 175"/>
                <a:gd name="T49" fmla="*/ 126 h 126"/>
                <a:gd name="T50" fmla="*/ 21 w 175"/>
                <a:gd name="T51" fmla="*/ 126 h 126"/>
                <a:gd name="T52" fmla="*/ 21 w 175"/>
                <a:gd name="T53"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26">
                  <a:moveTo>
                    <a:pt x="21" y="126"/>
                  </a:moveTo>
                  <a:lnTo>
                    <a:pt x="9" y="126"/>
                  </a:lnTo>
                  <a:lnTo>
                    <a:pt x="0" y="88"/>
                  </a:lnTo>
                  <a:lnTo>
                    <a:pt x="5" y="81"/>
                  </a:lnTo>
                  <a:lnTo>
                    <a:pt x="0" y="71"/>
                  </a:lnTo>
                  <a:lnTo>
                    <a:pt x="5" y="43"/>
                  </a:lnTo>
                  <a:lnTo>
                    <a:pt x="9" y="43"/>
                  </a:lnTo>
                  <a:lnTo>
                    <a:pt x="21" y="26"/>
                  </a:lnTo>
                  <a:lnTo>
                    <a:pt x="43" y="17"/>
                  </a:lnTo>
                  <a:lnTo>
                    <a:pt x="59" y="17"/>
                  </a:lnTo>
                  <a:lnTo>
                    <a:pt x="66" y="10"/>
                  </a:lnTo>
                  <a:lnTo>
                    <a:pt x="80" y="10"/>
                  </a:lnTo>
                  <a:lnTo>
                    <a:pt x="97" y="0"/>
                  </a:lnTo>
                  <a:lnTo>
                    <a:pt x="130" y="0"/>
                  </a:lnTo>
                  <a:lnTo>
                    <a:pt x="147" y="17"/>
                  </a:lnTo>
                  <a:lnTo>
                    <a:pt x="170" y="33"/>
                  </a:lnTo>
                  <a:lnTo>
                    <a:pt x="175" y="50"/>
                  </a:lnTo>
                  <a:lnTo>
                    <a:pt x="175" y="88"/>
                  </a:lnTo>
                  <a:lnTo>
                    <a:pt x="163" y="88"/>
                  </a:lnTo>
                  <a:lnTo>
                    <a:pt x="163" y="102"/>
                  </a:lnTo>
                  <a:lnTo>
                    <a:pt x="109" y="102"/>
                  </a:lnTo>
                  <a:lnTo>
                    <a:pt x="92" y="118"/>
                  </a:lnTo>
                  <a:lnTo>
                    <a:pt x="76" y="126"/>
                  </a:lnTo>
                  <a:lnTo>
                    <a:pt x="38" y="126"/>
                  </a:lnTo>
                  <a:lnTo>
                    <a:pt x="21" y="126"/>
                  </a:lnTo>
                  <a:lnTo>
                    <a:pt x="21" y="126"/>
                  </a:lnTo>
                  <a:lnTo>
                    <a:pt x="21" y="126"/>
                  </a:lnTo>
                  <a:close/>
                </a:path>
              </a:pathLst>
            </a:custGeom>
            <a:pattFill prst="dk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8" name="Freeform 507">
              <a:extLst>
                <a:ext uri="{FF2B5EF4-FFF2-40B4-BE49-F238E27FC236}">
                  <a16:creationId xmlns:a16="http://schemas.microsoft.com/office/drawing/2014/main" id="{5B57D5DF-A41F-4096-8C65-2DBF5E1CB1B5}"/>
                </a:ext>
              </a:extLst>
            </p:cNvPr>
            <p:cNvSpPr>
              <a:spLocks/>
            </p:cNvSpPr>
            <p:nvPr/>
          </p:nvSpPr>
          <p:spPr bwMode="gray">
            <a:xfrm>
              <a:off x="5350510" y="3694965"/>
              <a:ext cx="571583" cy="544921"/>
            </a:xfrm>
            <a:custGeom>
              <a:avLst/>
              <a:gdLst>
                <a:gd name="T0" fmla="*/ 130 w 1155"/>
                <a:gd name="T1" fmla="*/ 947 h 1101"/>
                <a:gd name="T2" fmla="*/ 88 w 1155"/>
                <a:gd name="T3" fmla="*/ 947 h 1101"/>
                <a:gd name="T4" fmla="*/ 55 w 1155"/>
                <a:gd name="T5" fmla="*/ 947 h 1101"/>
                <a:gd name="T6" fmla="*/ 67 w 1155"/>
                <a:gd name="T7" fmla="*/ 890 h 1101"/>
                <a:gd name="T8" fmla="*/ 33 w 1155"/>
                <a:gd name="T9" fmla="*/ 864 h 1101"/>
                <a:gd name="T10" fmla="*/ 12 w 1155"/>
                <a:gd name="T11" fmla="*/ 848 h 1101"/>
                <a:gd name="T12" fmla="*/ 17 w 1155"/>
                <a:gd name="T13" fmla="*/ 808 h 1101"/>
                <a:gd name="T14" fmla="*/ 0 w 1155"/>
                <a:gd name="T15" fmla="*/ 758 h 1101"/>
                <a:gd name="T16" fmla="*/ 24 w 1155"/>
                <a:gd name="T17" fmla="*/ 758 h 1101"/>
                <a:gd name="T18" fmla="*/ 55 w 1155"/>
                <a:gd name="T19" fmla="*/ 697 h 1101"/>
                <a:gd name="T20" fmla="*/ 109 w 1155"/>
                <a:gd name="T21" fmla="*/ 713 h 1101"/>
                <a:gd name="T22" fmla="*/ 196 w 1155"/>
                <a:gd name="T23" fmla="*/ 713 h 1101"/>
                <a:gd name="T24" fmla="*/ 201 w 1155"/>
                <a:gd name="T25" fmla="*/ 697 h 1101"/>
                <a:gd name="T26" fmla="*/ 470 w 1155"/>
                <a:gd name="T27" fmla="*/ 713 h 1101"/>
                <a:gd name="T28" fmla="*/ 466 w 1155"/>
                <a:gd name="T29" fmla="*/ 631 h 1101"/>
                <a:gd name="T30" fmla="*/ 395 w 1155"/>
                <a:gd name="T31" fmla="*/ 0 h 1101"/>
                <a:gd name="T32" fmla="*/ 941 w 1155"/>
                <a:gd name="T33" fmla="*/ 293 h 1101"/>
                <a:gd name="T34" fmla="*/ 974 w 1155"/>
                <a:gd name="T35" fmla="*/ 331 h 1101"/>
                <a:gd name="T36" fmla="*/ 1004 w 1155"/>
                <a:gd name="T37" fmla="*/ 354 h 1101"/>
                <a:gd name="T38" fmla="*/ 1026 w 1155"/>
                <a:gd name="T39" fmla="*/ 371 h 1101"/>
                <a:gd name="T40" fmla="*/ 1092 w 1155"/>
                <a:gd name="T41" fmla="*/ 420 h 1101"/>
                <a:gd name="T42" fmla="*/ 1092 w 1155"/>
                <a:gd name="T43" fmla="*/ 449 h 1101"/>
                <a:gd name="T44" fmla="*/ 1151 w 1155"/>
                <a:gd name="T45" fmla="*/ 642 h 1101"/>
                <a:gd name="T46" fmla="*/ 1129 w 1155"/>
                <a:gd name="T47" fmla="*/ 697 h 1101"/>
                <a:gd name="T48" fmla="*/ 1101 w 1155"/>
                <a:gd name="T49" fmla="*/ 720 h 1101"/>
                <a:gd name="T50" fmla="*/ 1063 w 1155"/>
                <a:gd name="T51" fmla="*/ 720 h 1101"/>
                <a:gd name="T52" fmla="*/ 929 w 1155"/>
                <a:gd name="T53" fmla="*/ 742 h 1101"/>
                <a:gd name="T54" fmla="*/ 874 w 1155"/>
                <a:gd name="T55" fmla="*/ 753 h 1101"/>
                <a:gd name="T56" fmla="*/ 832 w 1155"/>
                <a:gd name="T57" fmla="*/ 742 h 1101"/>
                <a:gd name="T58" fmla="*/ 806 w 1155"/>
                <a:gd name="T59" fmla="*/ 742 h 1101"/>
                <a:gd name="T60" fmla="*/ 768 w 1155"/>
                <a:gd name="T61" fmla="*/ 770 h 1101"/>
                <a:gd name="T62" fmla="*/ 718 w 1155"/>
                <a:gd name="T63" fmla="*/ 779 h 1101"/>
                <a:gd name="T64" fmla="*/ 714 w 1155"/>
                <a:gd name="T65" fmla="*/ 808 h 1101"/>
                <a:gd name="T66" fmla="*/ 659 w 1155"/>
                <a:gd name="T67" fmla="*/ 812 h 1101"/>
                <a:gd name="T68" fmla="*/ 626 w 1155"/>
                <a:gd name="T69" fmla="*/ 836 h 1101"/>
                <a:gd name="T70" fmla="*/ 617 w 1155"/>
                <a:gd name="T71" fmla="*/ 869 h 1101"/>
                <a:gd name="T72" fmla="*/ 579 w 1155"/>
                <a:gd name="T73" fmla="*/ 853 h 1101"/>
                <a:gd name="T74" fmla="*/ 563 w 1155"/>
                <a:gd name="T75" fmla="*/ 902 h 1101"/>
                <a:gd name="T76" fmla="*/ 541 w 1155"/>
                <a:gd name="T77" fmla="*/ 907 h 1101"/>
                <a:gd name="T78" fmla="*/ 551 w 1155"/>
                <a:gd name="T79" fmla="*/ 940 h 1101"/>
                <a:gd name="T80" fmla="*/ 499 w 1155"/>
                <a:gd name="T81" fmla="*/ 964 h 1101"/>
                <a:gd name="T82" fmla="*/ 499 w 1155"/>
                <a:gd name="T83" fmla="*/ 1001 h 1101"/>
                <a:gd name="T84" fmla="*/ 470 w 1155"/>
                <a:gd name="T85" fmla="*/ 1035 h 1101"/>
                <a:gd name="T86" fmla="*/ 470 w 1155"/>
                <a:gd name="T87" fmla="*/ 1075 h 1101"/>
                <a:gd name="T88" fmla="*/ 433 w 1155"/>
                <a:gd name="T89" fmla="*/ 1101 h 1101"/>
                <a:gd name="T90" fmla="*/ 428 w 1155"/>
                <a:gd name="T91" fmla="*/ 1091 h 1101"/>
                <a:gd name="T92" fmla="*/ 411 w 1155"/>
                <a:gd name="T93" fmla="*/ 1058 h 1101"/>
                <a:gd name="T94" fmla="*/ 395 w 1155"/>
                <a:gd name="T95" fmla="*/ 1058 h 1101"/>
                <a:gd name="T96" fmla="*/ 374 w 1155"/>
                <a:gd name="T97" fmla="*/ 1084 h 1101"/>
                <a:gd name="T98" fmla="*/ 324 w 1155"/>
                <a:gd name="T99" fmla="*/ 1075 h 1101"/>
                <a:gd name="T100" fmla="*/ 293 w 1155"/>
                <a:gd name="T101" fmla="*/ 1101 h 1101"/>
                <a:gd name="T102" fmla="*/ 281 w 1155"/>
                <a:gd name="T103" fmla="*/ 1075 h 1101"/>
                <a:gd name="T104" fmla="*/ 265 w 1155"/>
                <a:gd name="T105" fmla="*/ 1035 h 1101"/>
                <a:gd name="T106" fmla="*/ 272 w 1155"/>
                <a:gd name="T107" fmla="*/ 1013 h 1101"/>
                <a:gd name="T108" fmla="*/ 251 w 1155"/>
                <a:gd name="T109" fmla="*/ 992 h 1101"/>
                <a:gd name="T110" fmla="*/ 239 w 1155"/>
                <a:gd name="T111" fmla="*/ 975 h 1101"/>
                <a:gd name="T112" fmla="*/ 227 w 1155"/>
                <a:gd name="T113" fmla="*/ 935 h 1101"/>
                <a:gd name="T114" fmla="*/ 201 w 1155"/>
                <a:gd name="T115" fmla="*/ 947 h 1101"/>
                <a:gd name="T116" fmla="*/ 180 w 1155"/>
                <a:gd name="T117" fmla="*/ 964 h 1101"/>
                <a:gd name="T118" fmla="*/ 163 w 1155"/>
                <a:gd name="T119" fmla="*/ 964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55" h="1101">
                  <a:moveTo>
                    <a:pt x="163" y="964"/>
                  </a:moveTo>
                  <a:lnTo>
                    <a:pt x="130" y="947"/>
                  </a:lnTo>
                  <a:lnTo>
                    <a:pt x="109" y="975"/>
                  </a:lnTo>
                  <a:lnTo>
                    <a:pt x="88" y="947"/>
                  </a:lnTo>
                  <a:lnTo>
                    <a:pt x="71" y="964"/>
                  </a:lnTo>
                  <a:lnTo>
                    <a:pt x="55" y="947"/>
                  </a:lnTo>
                  <a:lnTo>
                    <a:pt x="67" y="935"/>
                  </a:lnTo>
                  <a:lnTo>
                    <a:pt x="67" y="890"/>
                  </a:lnTo>
                  <a:lnTo>
                    <a:pt x="38" y="864"/>
                  </a:lnTo>
                  <a:lnTo>
                    <a:pt x="33" y="864"/>
                  </a:lnTo>
                  <a:lnTo>
                    <a:pt x="33" y="869"/>
                  </a:lnTo>
                  <a:lnTo>
                    <a:pt x="12" y="848"/>
                  </a:lnTo>
                  <a:lnTo>
                    <a:pt x="17" y="831"/>
                  </a:lnTo>
                  <a:lnTo>
                    <a:pt x="17" y="808"/>
                  </a:lnTo>
                  <a:lnTo>
                    <a:pt x="0" y="791"/>
                  </a:lnTo>
                  <a:lnTo>
                    <a:pt x="0" y="758"/>
                  </a:lnTo>
                  <a:lnTo>
                    <a:pt x="12" y="770"/>
                  </a:lnTo>
                  <a:lnTo>
                    <a:pt x="24" y="758"/>
                  </a:lnTo>
                  <a:lnTo>
                    <a:pt x="38" y="704"/>
                  </a:lnTo>
                  <a:lnTo>
                    <a:pt x="55" y="697"/>
                  </a:lnTo>
                  <a:lnTo>
                    <a:pt x="93" y="737"/>
                  </a:lnTo>
                  <a:lnTo>
                    <a:pt x="109" y="713"/>
                  </a:lnTo>
                  <a:lnTo>
                    <a:pt x="159" y="720"/>
                  </a:lnTo>
                  <a:lnTo>
                    <a:pt x="196" y="713"/>
                  </a:lnTo>
                  <a:lnTo>
                    <a:pt x="196" y="704"/>
                  </a:lnTo>
                  <a:lnTo>
                    <a:pt x="201" y="697"/>
                  </a:lnTo>
                  <a:lnTo>
                    <a:pt x="201" y="713"/>
                  </a:lnTo>
                  <a:lnTo>
                    <a:pt x="470" y="713"/>
                  </a:lnTo>
                  <a:lnTo>
                    <a:pt x="487" y="647"/>
                  </a:lnTo>
                  <a:lnTo>
                    <a:pt x="466" y="631"/>
                  </a:lnTo>
                  <a:lnTo>
                    <a:pt x="411" y="149"/>
                  </a:lnTo>
                  <a:lnTo>
                    <a:pt x="395" y="0"/>
                  </a:lnTo>
                  <a:lnTo>
                    <a:pt x="520" y="0"/>
                  </a:lnTo>
                  <a:lnTo>
                    <a:pt x="941" y="293"/>
                  </a:lnTo>
                  <a:lnTo>
                    <a:pt x="941" y="314"/>
                  </a:lnTo>
                  <a:lnTo>
                    <a:pt x="974" y="331"/>
                  </a:lnTo>
                  <a:lnTo>
                    <a:pt x="983" y="347"/>
                  </a:lnTo>
                  <a:lnTo>
                    <a:pt x="1004" y="354"/>
                  </a:lnTo>
                  <a:lnTo>
                    <a:pt x="1011" y="354"/>
                  </a:lnTo>
                  <a:lnTo>
                    <a:pt x="1026" y="371"/>
                  </a:lnTo>
                  <a:lnTo>
                    <a:pt x="1080" y="387"/>
                  </a:lnTo>
                  <a:lnTo>
                    <a:pt x="1092" y="420"/>
                  </a:lnTo>
                  <a:lnTo>
                    <a:pt x="1075" y="437"/>
                  </a:lnTo>
                  <a:lnTo>
                    <a:pt x="1092" y="449"/>
                  </a:lnTo>
                  <a:lnTo>
                    <a:pt x="1155" y="437"/>
                  </a:lnTo>
                  <a:lnTo>
                    <a:pt x="1151" y="642"/>
                  </a:lnTo>
                  <a:lnTo>
                    <a:pt x="1146" y="647"/>
                  </a:lnTo>
                  <a:lnTo>
                    <a:pt x="1129" y="697"/>
                  </a:lnTo>
                  <a:lnTo>
                    <a:pt x="1101" y="704"/>
                  </a:lnTo>
                  <a:lnTo>
                    <a:pt x="1101" y="720"/>
                  </a:lnTo>
                  <a:lnTo>
                    <a:pt x="1075" y="713"/>
                  </a:lnTo>
                  <a:lnTo>
                    <a:pt x="1063" y="720"/>
                  </a:lnTo>
                  <a:lnTo>
                    <a:pt x="950" y="725"/>
                  </a:lnTo>
                  <a:lnTo>
                    <a:pt x="929" y="742"/>
                  </a:lnTo>
                  <a:lnTo>
                    <a:pt x="874" y="742"/>
                  </a:lnTo>
                  <a:lnTo>
                    <a:pt x="874" y="753"/>
                  </a:lnTo>
                  <a:lnTo>
                    <a:pt x="844" y="742"/>
                  </a:lnTo>
                  <a:lnTo>
                    <a:pt x="832" y="742"/>
                  </a:lnTo>
                  <a:lnTo>
                    <a:pt x="827" y="742"/>
                  </a:lnTo>
                  <a:lnTo>
                    <a:pt x="806" y="742"/>
                  </a:lnTo>
                  <a:lnTo>
                    <a:pt x="778" y="758"/>
                  </a:lnTo>
                  <a:lnTo>
                    <a:pt x="768" y="770"/>
                  </a:lnTo>
                  <a:lnTo>
                    <a:pt x="740" y="779"/>
                  </a:lnTo>
                  <a:lnTo>
                    <a:pt x="718" y="779"/>
                  </a:lnTo>
                  <a:lnTo>
                    <a:pt x="718" y="808"/>
                  </a:lnTo>
                  <a:lnTo>
                    <a:pt x="714" y="808"/>
                  </a:lnTo>
                  <a:lnTo>
                    <a:pt x="685" y="796"/>
                  </a:lnTo>
                  <a:lnTo>
                    <a:pt x="659" y="812"/>
                  </a:lnTo>
                  <a:lnTo>
                    <a:pt x="659" y="848"/>
                  </a:lnTo>
                  <a:lnTo>
                    <a:pt x="626" y="836"/>
                  </a:lnTo>
                  <a:lnTo>
                    <a:pt x="633" y="869"/>
                  </a:lnTo>
                  <a:lnTo>
                    <a:pt x="617" y="869"/>
                  </a:lnTo>
                  <a:lnTo>
                    <a:pt x="617" y="881"/>
                  </a:lnTo>
                  <a:lnTo>
                    <a:pt x="579" y="853"/>
                  </a:lnTo>
                  <a:lnTo>
                    <a:pt x="558" y="886"/>
                  </a:lnTo>
                  <a:lnTo>
                    <a:pt x="563" y="902"/>
                  </a:lnTo>
                  <a:lnTo>
                    <a:pt x="558" y="907"/>
                  </a:lnTo>
                  <a:lnTo>
                    <a:pt x="541" y="907"/>
                  </a:lnTo>
                  <a:lnTo>
                    <a:pt x="551" y="923"/>
                  </a:lnTo>
                  <a:lnTo>
                    <a:pt x="551" y="940"/>
                  </a:lnTo>
                  <a:lnTo>
                    <a:pt x="537" y="957"/>
                  </a:lnTo>
                  <a:lnTo>
                    <a:pt x="499" y="964"/>
                  </a:lnTo>
                  <a:lnTo>
                    <a:pt x="487" y="975"/>
                  </a:lnTo>
                  <a:lnTo>
                    <a:pt x="499" y="1001"/>
                  </a:lnTo>
                  <a:lnTo>
                    <a:pt x="487" y="1030"/>
                  </a:lnTo>
                  <a:lnTo>
                    <a:pt x="470" y="1035"/>
                  </a:lnTo>
                  <a:lnTo>
                    <a:pt x="482" y="1051"/>
                  </a:lnTo>
                  <a:lnTo>
                    <a:pt x="470" y="1075"/>
                  </a:lnTo>
                  <a:lnTo>
                    <a:pt x="449" y="1084"/>
                  </a:lnTo>
                  <a:lnTo>
                    <a:pt x="433" y="1101"/>
                  </a:lnTo>
                  <a:lnTo>
                    <a:pt x="428" y="1101"/>
                  </a:lnTo>
                  <a:lnTo>
                    <a:pt x="428" y="1091"/>
                  </a:lnTo>
                  <a:lnTo>
                    <a:pt x="416" y="1058"/>
                  </a:lnTo>
                  <a:lnTo>
                    <a:pt x="411" y="1058"/>
                  </a:lnTo>
                  <a:lnTo>
                    <a:pt x="411" y="1068"/>
                  </a:lnTo>
                  <a:lnTo>
                    <a:pt x="395" y="1058"/>
                  </a:lnTo>
                  <a:lnTo>
                    <a:pt x="395" y="1084"/>
                  </a:lnTo>
                  <a:lnTo>
                    <a:pt x="374" y="1084"/>
                  </a:lnTo>
                  <a:lnTo>
                    <a:pt x="362" y="1101"/>
                  </a:lnTo>
                  <a:lnTo>
                    <a:pt x="324" y="1075"/>
                  </a:lnTo>
                  <a:lnTo>
                    <a:pt x="310" y="1101"/>
                  </a:lnTo>
                  <a:lnTo>
                    <a:pt x="293" y="1101"/>
                  </a:lnTo>
                  <a:lnTo>
                    <a:pt x="293" y="1084"/>
                  </a:lnTo>
                  <a:lnTo>
                    <a:pt x="281" y="1075"/>
                  </a:lnTo>
                  <a:lnTo>
                    <a:pt x="281" y="1035"/>
                  </a:lnTo>
                  <a:lnTo>
                    <a:pt x="265" y="1035"/>
                  </a:lnTo>
                  <a:lnTo>
                    <a:pt x="251" y="1046"/>
                  </a:lnTo>
                  <a:lnTo>
                    <a:pt x="272" y="1013"/>
                  </a:lnTo>
                  <a:lnTo>
                    <a:pt x="251" y="1001"/>
                  </a:lnTo>
                  <a:lnTo>
                    <a:pt x="251" y="992"/>
                  </a:lnTo>
                  <a:lnTo>
                    <a:pt x="239" y="992"/>
                  </a:lnTo>
                  <a:lnTo>
                    <a:pt x="239" y="975"/>
                  </a:lnTo>
                  <a:lnTo>
                    <a:pt x="227" y="947"/>
                  </a:lnTo>
                  <a:lnTo>
                    <a:pt x="227" y="935"/>
                  </a:lnTo>
                  <a:lnTo>
                    <a:pt x="201" y="935"/>
                  </a:lnTo>
                  <a:lnTo>
                    <a:pt x="201" y="947"/>
                  </a:lnTo>
                  <a:lnTo>
                    <a:pt x="180" y="957"/>
                  </a:lnTo>
                  <a:lnTo>
                    <a:pt x="180" y="964"/>
                  </a:lnTo>
                  <a:lnTo>
                    <a:pt x="163" y="964"/>
                  </a:lnTo>
                  <a:lnTo>
                    <a:pt x="163" y="964"/>
                  </a:lnTo>
                  <a:lnTo>
                    <a:pt x="163" y="964"/>
                  </a:lnTo>
                  <a:close/>
                </a:path>
              </a:pathLst>
            </a:custGeom>
            <a:pattFill prst="wd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23" name="Freeform 508">
              <a:extLst>
                <a:ext uri="{FF2B5EF4-FFF2-40B4-BE49-F238E27FC236}">
                  <a16:creationId xmlns:a16="http://schemas.microsoft.com/office/drawing/2014/main" id="{41B8E51E-FEB7-4C8B-A018-70B195D24BCA}"/>
                </a:ext>
              </a:extLst>
            </p:cNvPr>
            <p:cNvSpPr>
              <a:spLocks/>
            </p:cNvSpPr>
            <p:nvPr/>
          </p:nvSpPr>
          <p:spPr bwMode="gray">
            <a:xfrm>
              <a:off x="5315869" y="3263384"/>
              <a:ext cx="424109" cy="328635"/>
            </a:xfrm>
            <a:custGeom>
              <a:avLst/>
              <a:gdLst>
                <a:gd name="T0" fmla="*/ 656 w 857"/>
                <a:gd name="T1" fmla="*/ 350 h 664"/>
                <a:gd name="T2" fmla="*/ 673 w 857"/>
                <a:gd name="T3" fmla="*/ 392 h 664"/>
                <a:gd name="T4" fmla="*/ 642 w 857"/>
                <a:gd name="T5" fmla="*/ 404 h 664"/>
                <a:gd name="T6" fmla="*/ 576 w 857"/>
                <a:gd name="T7" fmla="*/ 444 h 664"/>
                <a:gd name="T8" fmla="*/ 538 w 857"/>
                <a:gd name="T9" fmla="*/ 487 h 664"/>
                <a:gd name="T10" fmla="*/ 462 w 857"/>
                <a:gd name="T11" fmla="*/ 515 h 664"/>
                <a:gd name="T12" fmla="*/ 316 w 857"/>
                <a:gd name="T13" fmla="*/ 577 h 664"/>
                <a:gd name="T14" fmla="*/ 0 w 857"/>
                <a:gd name="T15" fmla="*/ 664 h 664"/>
                <a:gd name="T16" fmla="*/ 80 w 857"/>
                <a:gd name="T17" fmla="*/ 631 h 664"/>
                <a:gd name="T18" fmla="*/ 144 w 857"/>
                <a:gd name="T19" fmla="*/ 577 h 664"/>
                <a:gd name="T20" fmla="*/ 210 w 857"/>
                <a:gd name="T21" fmla="*/ 527 h 664"/>
                <a:gd name="T22" fmla="*/ 252 w 857"/>
                <a:gd name="T23" fmla="*/ 444 h 664"/>
                <a:gd name="T24" fmla="*/ 240 w 857"/>
                <a:gd name="T25" fmla="*/ 371 h 664"/>
                <a:gd name="T26" fmla="*/ 278 w 857"/>
                <a:gd name="T27" fmla="*/ 305 h 664"/>
                <a:gd name="T28" fmla="*/ 323 w 857"/>
                <a:gd name="T29" fmla="*/ 222 h 664"/>
                <a:gd name="T30" fmla="*/ 446 w 857"/>
                <a:gd name="T31" fmla="*/ 156 h 664"/>
                <a:gd name="T32" fmla="*/ 512 w 857"/>
                <a:gd name="T33" fmla="*/ 17 h 664"/>
                <a:gd name="T34" fmla="*/ 550 w 857"/>
                <a:gd name="T35" fmla="*/ 5 h 664"/>
                <a:gd name="T36" fmla="*/ 592 w 857"/>
                <a:gd name="T37" fmla="*/ 62 h 664"/>
                <a:gd name="T38" fmla="*/ 673 w 857"/>
                <a:gd name="T39" fmla="*/ 55 h 664"/>
                <a:gd name="T40" fmla="*/ 711 w 857"/>
                <a:gd name="T41" fmla="*/ 55 h 664"/>
                <a:gd name="T42" fmla="*/ 718 w 857"/>
                <a:gd name="T43" fmla="*/ 55 h 664"/>
                <a:gd name="T44" fmla="*/ 727 w 857"/>
                <a:gd name="T45" fmla="*/ 71 h 664"/>
                <a:gd name="T46" fmla="*/ 727 w 857"/>
                <a:gd name="T47" fmla="*/ 55 h 664"/>
                <a:gd name="T48" fmla="*/ 770 w 857"/>
                <a:gd name="T49" fmla="*/ 71 h 664"/>
                <a:gd name="T50" fmla="*/ 793 w 857"/>
                <a:gd name="T51" fmla="*/ 111 h 664"/>
                <a:gd name="T52" fmla="*/ 803 w 857"/>
                <a:gd name="T53" fmla="*/ 128 h 664"/>
                <a:gd name="T54" fmla="*/ 803 w 857"/>
                <a:gd name="T55" fmla="*/ 182 h 664"/>
                <a:gd name="T56" fmla="*/ 807 w 857"/>
                <a:gd name="T57" fmla="*/ 222 h 664"/>
                <a:gd name="T58" fmla="*/ 819 w 857"/>
                <a:gd name="T59" fmla="*/ 244 h 664"/>
                <a:gd name="T60" fmla="*/ 857 w 857"/>
                <a:gd name="T61" fmla="*/ 277 h 664"/>
                <a:gd name="T62" fmla="*/ 836 w 857"/>
                <a:gd name="T63" fmla="*/ 305 h 664"/>
                <a:gd name="T64" fmla="*/ 840 w 857"/>
                <a:gd name="T65" fmla="*/ 317 h 664"/>
                <a:gd name="T66" fmla="*/ 727 w 857"/>
                <a:gd name="T67" fmla="*/ 317 h 664"/>
                <a:gd name="T68" fmla="*/ 685 w 857"/>
                <a:gd name="T69" fmla="*/ 338 h 664"/>
                <a:gd name="T70" fmla="*/ 685 w 857"/>
                <a:gd name="T71" fmla="*/ 338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7" h="664">
                  <a:moveTo>
                    <a:pt x="685" y="338"/>
                  </a:moveTo>
                  <a:lnTo>
                    <a:pt x="656" y="350"/>
                  </a:lnTo>
                  <a:lnTo>
                    <a:pt x="656" y="388"/>
                  </a:lnTo>
                  <a:lnTo>
                    <a:pt x="673" y="392"/>
                  </a:lnTo>
                  <a:lnTo>
                    <a:pt x="673" y="404"/>
                  </a:lnTo>
                  <a:lnTo>
                    <a:pt x="642" y="404"/>
                  </a:lnTo>
                  <a:lnTo>
                    <a:pt x="618" y="428"/>
                  </a:lnTo>
                  <a:lnTo>
                    <a:pt x="576" y="444"/>
                  </a:lnTo>
                  <a:lnTo>
                    <a:pt x="555" y="470"/>
                  </a:lnTo>
                  <a:lnTo>
                    <a:pt x="538" y="487"/>
                  </a:lnTo>
                  <a:lnTo>
                    <a:pt x="479" y="499"/>
                  </a:lnTo>
                  <a:lnTo>
                    <a:pt x="462" y="515"/>
                  </a:lnTo>
                  <a:lnTo>
                    <a:pt x="425" y="503"/>
                  </a:lnTo>
                  <a:lnTo>
                    <a:pt x="316" y="577"/>
                  </a:lnTo>
                  <a:lnTo>
                    <a:pt x="316" y="664"/>
                  </a:lnTo>
                  <a:lnTo>
                    <a:pt x="0" y="664"/>
                  </a:lnTo>
                  <a:lnTo>
                    <a:pt x="25" y="638"/>
                  </a:lnTo>
                  <a:lnTo>
                    <a:pt x="80" y="631"/>
                  </a:lnTo>
                  <a:lnTo>
                    <a:pt x="118" y="610"/>
                  </a:lnTo>
                  <a:lnTo>
                    <a:pt x="144" y="577"/>
                  </a:lnTo>
                  <a:lnTo>
                    <a:pt x="188" y="560"/>
                  </a:lnTo>
                  <a:lnTo>
                    <a:pt x="210" y="527"/>
                  </a:lnTo>
                  <a:lnTo>
                    <a:pt x="248" y="466"/>
                  </a:lnTo>
                  <a:lnTo>
                    <a:pt x="252" y="444"/>
                  </a:lnTo>
                  <a:lnTo>
                    <a:pt x="240" y="428"/>
                  </a:lnTo>
                  <a:lnTo>
                    <a:pt x="240" y="371"/>
                  </a:lnTo>
                  <a:lnTo>
                    <a:pt x="248" y="338"/>
                  </a:lnTo>
                  <a:lnTo>
                    <a:pt x="278" y="305"/>
                  </a:lnTo>
                  <a:lnTo>
                    <a:pt x="278" y="277"/>
                  </a:lnTo>
                  <a:lnTo>
                    <a:pt x="323" y="222"/>
                  </a:lnTo>
                  <a:lnTo>
                    <a:pt x="403" y="189"/>
                  </a:lnTo>
                  <a:lnTo>
                    <a:pt x="446" y="156"/>
                  </a:lnTo>
                  <a:lnTo>
                    <a:pt x="484" y="95"/>
                  </a:lnTo>
                  <a:lnTo>
                    <a:pt x="512" y="17"/>
                  </a:lnTo>
                  <a:lnTo>
                    <a:pt x="550" y="0"/>
                  </a:lnTo>
                  <a:lnTo>
                    <a:pt x="550" y="5"/>
                  </a:lnTo>
                  <a:lnTo>
                    <a:pt x="555" y="29"/>
                  </a:lnTo>
                  <a:lnTo>
                    <a:pt x="592" y="62"/>
                  </a:lnTo>
                  <a:lnTo>
                    <a:pt x="618" y="62"/>
                  </a:lnTo>
                  <a:lnTo>
                    <a:pt x="673" y="55"/>
                  </a:lnTo>
                  <a:lnTo>
                    <a:pt x="694" y="62"/>
                  </a:lnTo>
                  <a:lnTo>
                    <a:pt x="711" y="55"/>
                  </a:lnTo>
                  <a:lnTo>
                    <a:pt x="718" y="45"/>
                  </a:lnTo>
                  <a:lnTo>
                    <a:pt x="718" y="55"/>
                  </a:lnTo>
                  <a:lnTo>
                    <a:pt x="718" y="55"/>
                  </a:lnTo>
                  <a:lnTo>
                    <a:pt x="727" y="71"/>
                  </a:lnTo>
                  <a:lnTo>
                    <a:pt x="732" y="71"/>
                  </a:lnTo>
                  <a:lnTo>
                    <a:pt x="727" y="55"/>
                  </a:lnTo>
                  <a:lnTo>
                    <a:pt x="739" y="71"/>
                  </a:lnTo>
                  <a:lnTo>
                    <a:pt x="770" y="71"/>
                  </a:lnTo>
                  <a:lnTo>
                    <a:pt x="803" y="99"/>
                  </a:lnTo>
                  <a:lnTo>
                    <a:pt x="793" y="111"/>
                  </a:lnTo>
                  <a:lnTo>
                    <a:pt x="807" y="116"/>
                  </a:lnTo>
                  <a:lnTo>
                    <a:pt x="803" y="128"/>
                  </a:lnTo>
                  <a:lnTo>
                    <a:pt x="807" y="149"/>
                  </a:lnTo>
                  <a:lnTo>
                    <a:pt x="803" y="182"/>
                  </a:lnTo>
                  <a:lnTo>
                    <a:pt x="807" y="189"/>
                  </a:lnTo>
                  <a:lnTo>
                    <a:pt x="807" y="222"/>
                  </a:lnTo>
                  <a:lnTo>
                    <a:pt x="824" y="239"/>
                  </a:lnTo>
                  <a:lnTo>
                    <a:pt x="819" y="244"/>
                  </a:lnTo>
                  <a:lnTo>
                    <a:pt x="824" y="260"/>
                  </a:lnTo>
                  <a:lnTo>
                    <a:pt x="857" y="277"/>
                  </a:lnTo>
                  <a:lnTo>
                    <a:pt x="840" y="293"/>
                  </a:lnTo>
                  <a:lnTo>
                    <a:pt x="836" y="305"/>
                  </a:lnTo>
                  <a:lnTo>
                    <a:pt x="840" y="305"/>
                  </a:lnTo>
                  <a:lnTo>
                    <a:pt x="840" y="317"/>
                  </a:lnTo>
                  <a:lnTo>
                    <a:pt x="765" y="305"/>
                  </a:lnTo>
                  <a:lnTo>
                    <a:pt x="727" y="317"/>
                  </a:lnTo>
                  <a:lnTo>
                    <a:pt x="718" y="333"/>
                  </a:lnTo>
                  <a:lnTo>
                    <a:pt x="685" y="338"/>
                  </a:lnTo>
                  <a:lnTo>
                    <a:pt x="685" y="338"/>
                  </a:lnTo>
                  <a:lnTo>
                    <a:pt x="685" y="338"/>
                  </a:lnTo>
                  <a:close/>
                </a:path>
              </a:pathLst>
            </a:custGeom>
            <a:pattFill prst="wd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39" name="Freeform 509">
              <a:extLst>
                <a:ext uri="{FF2B5EF4-FFF2-40B4-BE49-F238E27FC236}">
                  <a16:creationId xmlns:a16="http://schemas.microsoft.com/office/drawing/2014/main" id="{CA568933-C037-46AA-BABD-257C542FAB2B}"/>
                </a:ext>
              </a:extLst>
            </p:cNvPr>
            <p:cNvSpPr>
              <a:spLocks/>
            </p:cNvSpPr>
            <p:nvPr/>
          </p:nvSpPr>
          <p:spPr bwMode="gray">
            <a:xfrm>
              <a:off x="7763530" y="5325766"/>
              <a:ext cx="15341" cy="21282"/>
            </a:xfrm>
            <a:custGeom>
              <a:avLst/>
              <a:gdLst>
                <a:gd name="T0" fmla="*/ 16 w 31"/>
                <a:gd name="T1" fmla="*/ 43 h 43"/>
                <a:gd name="T2" fmla="*/ 0 w 31"/>
                <a:gd name="T3" fmla="*/ 31 h 43"/>
                <a:gd name="T4" fmla="*/ 9 w 31"/>
                <a:gd name="T5" fmla="*/ 17 h 43"/>
                <a:gd name="T6" fmla="*/ 21 w 31"/>
                <a:gd name="T7" fmla="*/ 0 h 43"/>
                <a:gd name="T8" fmla="*/ 31 w 31"/>
                <a:gd name="T9" fmla="*/ 26 h 43"/>
                <a:gd name="T10" fmla="*/ 21 w 31"/>
                <a:gd name="T11" fmla="*/ 31 h 43"/>
                <a:gd name="T12" fmla="*/ 16 w 31"/>
                <a:gd name="T13" fmla="*/ 43 h 43"/>
                <a:gd name="T14" fmla="*/ 16 w 31"/>
                <a:gd name="T15" fmla="*/ 43 h 43"/>
                <a:gd name="T16" fmla="*/ 16 w 31"/>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43">
                  <a:moveTo>
                    <a:pt x="16" y="43"/>
                  </a:moveTo>
                  <a:lnTo>
                    <a:pt x="0" y="31"/>
                  </a:lnTo>
                  <a:lnTo>
                    <a:pt x="9" y="17"/>
                  </a:lnTo>
                  <a:lnTo>
                    <a:pt x="21" y="0"/>
                  </a:lnTo>
                  <a:lnTo>
                    <a:pt x="31" y="26"/>
                  </a:lnTo>
                  <a:lnTo>
                    <a:pt x="21" y="31"/>
                  </a:lnTo>
                  <a:lnTo>
                    <a:pt x="16" y="43"/>
                  </a:lnTo>
                  <a:lnTo>
                    <a:pt x="16" y="43"/>
                  </a:lnTo>
                  <a:lnTo>
                    <a:pt x="16" y="43"/>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0" name="Freeform 510">
              <a:extLst>
                <a:ext uri="{FF2B5EF4-FFF2-40B4-BE49-F238E27FC236}">
                  <a16:creationId xmlns:a16="http://schemas.microsoft.com/office/drawing/2014/main" id="{383B041E-E4D9-48DC-90BD-F7C7867A09FD}"/>
                </a:ext>
              </a:extLst>
            </p:cNvPr>
            <p:cNvSpPr>
              <a:spLocks noEditPoints="1"/>
            </p:cNvSpPr>
            <p:nvPr/>
          </p:nvSpPr>
          <p:spPr bwMode="gray">
            <a:xfrm>
              <a:off x="5181262" y="3604888"/>
              <a:ext cx="424109" cy="472165"/>
            </a:xfrm>
            <a:custGeom>
              <a:avLst/>
              <a:gdLst>
                <a:gd name="T0" fmla="*/ 805 w 857"/>
                <a:gd name="T1" fmla="*/ 815 h 954"/>
                <a:gd name="T2" fmla="*/ 810 w 857"/>
                <a:gd name="T3" fmla="*/ 898 h 954"/>
                <a:gd name="T4" fmla="*/ 541 w 857"/>
                <a:gd name="T5" fmla="*/ 881 h 954"/>
                <a:gd name="T6" fmla="*/ 534 w 857"/>
                <a:gd name="T7" fmla="*/ 898 h 954"/>
                <a:gd name="T8" fmla="*/ 449 w 857"/>
                <a:gd name="T9" fmla="*/ 898 h 954"/>
                <a:gd name="T10" fmla="*/ 394 w 857"/>
                <a:gd name="T11" fmla="*/ 881 h 954"/>
                <a:gd name="T12" fmla="*/ 361 w 857"/>
                <a:gd name="T13" fmla="*/ 942 h 954"/>
                <a:gd name="T14" fmla="*/ 340 w 857"/>
                <a:gd name="T15" fmla="*/ 942 h 954"/>
                <a:gd name="T16" fmla="*/ 297 w 857"/>
                <a:gd name="T17" fmla="*/ 909 h 954"/>
                <a:gd name="T18" fmla="*/ 286 w 857"/>
                <a:gd name="T19" fmla="*/ 898 h 954"/>
                <a:gd name="T20" fmla="*/ 269 w 857"/>
                <a:gd name="T21" fmla="*/ 881 h 954"/>
                <a:gd name="T22" fmla="*/ 248 w 857"/>
                <a:gd name="T23" fmla="*/ 848 h 954"/>
                <a:gd name="T24" fmla="*/ 231 w 857"/>
                <a:gd name="T25" fmla="*/ 843 h 954"/>
                <a:gd name="T26" fmla="*/ 194 w 857"/>
                <a:gd name="T27" fmla="*/ 810 h 954"/>
                <a:gd name="T28" fmla="*/ 104 w 857"/>
                <a:gd name="T29" fmla="*/ 815 h 954"/>
                <a:gd name="T30" fmla="*/ 38 w 857"/>
                <a:gd name="T31" fmla="*/ 848 h 954"/>
                <a:gd name="T32" fmla="*/ 71 w 857"/>
                <a:gd name="T33" fmla="*/ 732 h 954"/>
                <a:gd name="T34" fmla="*/ 66 w 857"/>
                <a:gd name="T35" fmla="*/ 643 h 954"/>
                <a:gd name="T36" fmla="*/ 54 w 857"/>
                <a:gd name="T37" fmla="*/ 593 h 954"/>
                <a:gd name="T38" fmla="*/ 54 w 857"/>
                <a:gd name="T39" fmla="*/ 572 h 954"/>
                <a:gd name="T40" fmla="*/ 38 w 857"/>
                <a:gd name="T41" fmla="*/ 510 h 954"/>
                <a:gd name="T42" fmla="*/ 33 w 857"/>
                <a:gd name="T43" fmla="*/ 510 h 954"/>
                <a:gd name="T44" fmla="*/ 0 w 857"/>
                <a:gd name="T45" fmla="*/ 498 h 954"/>
                <a:gd name="T46" fmla="*/ 194 w 857"/>
                <a:gd name="T47" fmla="*/ 461 h 954"/>
                <a:gd name="T48" fmla="*/ 281 w 857"/>
                <a:gd name="T49" fmla="*/ 338 h 954"/>
                <a:gd name="T50" fmla="*/ 357 w 857"/>
                <a:gd name="T51" fmla="*/ 300 h 954"/>
                <a:gd name="T52" fmla="*/ 588 w 857"/>
                <a:gd name="T53" fmla="*/ 106 h 954"/>
                <a:gd name="T54" fmla="*/ 857 w 857"/>
                <a:gd name="T55" fmla="*/ 184 h 954"/>
                <a:gd name="T56" fmla="*/ 751 w 857"/>
                <a:gd name="T57" fmla="*/ 333 h 954"/>
                <a:gd name="T58" fmla="*/ 751 w 857"/>
                <a:gd name="T59" fmla="*/ 333 h 954"/>
                <a:gd name="T60" fmla="*/ 38 w 857"/>
                <a:gd name="T61" fmla="*/ 576 h 954"/>
                <a:gd name="T62" fmla="*/ 49 w 857"/>
                <a:gd name="T63" fmla="*/ 588 h 954"/>
                <a:gd name="T64" fmla="*/ 49 w 857"/>
                <a:gd name="T65" fmla="*/ 58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7" h="954">
                  <a:moveTo>
                    <a:pt x="751" y="333"/>
                  </a:moveTo>
                  <a:lnTo>
                    <a:pt x="805" y="815"/>
                  </a:lnTo>
                  <a:lnTo>
                    <a:pt x="827" y="831"/>
                  </a:lnTo>
                  <a:lnTo>
                    <a:pt x="810" y="898"/>
                  </a:lnTo>
                  <a:lnTo>
                    <a:pt x="541" y="898"/>
                  </a:lnTo>
                  <a:lnTo>
                    <a:pt x="541" y="881"/>
                  </a:lnTo>
                  <a:lnTo>
                    <a:pt x="534" y="886"/>
                  </a:lnTo>
                  <a:lnTo>
                    <a:pt x="534" y="898"/>
                  </a:lnTo>
                  <a:lnTo>
                    <a:pt x="496" y="902"/>
                  </a:lnTo>
                  <a:lnTo>
                    <a:pt x="449" y="898"/>
                  </a:lnTo>
                  <a:lnTo>
                    <a:pt x="432" y="921"/>
                  </a:lnTo>
                  <a:lnTo>
                    <a:pt x="394" y="881"/>
                  </a:lnTo>
                  <a:lnTo>
                    <a:pt x="378" y="886"/>
                  </a:lnTo>
                  <a:lnTo>
                    <a:pt x="361" y="942"/>
                  </a:lnTo>
                  <a:lnTo>
                    <a:pt x="352" y="954"/>
                  </a:lnTo>
                  <a:lnTo>
                    <a:pt x="340" y="942"/>
                  </a:lnTo>
                  <a:lnTo>
                    <a:pt x="319" y="926"/>
                  </a:lnTo>
                  <a:lnTo>
                    <a:pt x="297" y="909"/>
                  </a:lnTo>
                  <a:lnTo>
                    <a:pt x="297" y="902"/>
                  </a:lnTo>
                  <a:lnTo>
                    <a:pt x="286" y="898"/>
                  </a:lnTo>
                  <a:lnTo>
                    <a:pt x="281" y="898"/>
                  </a:lnTo>
                  <a:lnTo>
                    <a:pt x="269" y="881"/>
                  </a:lnTo>
                  <a:lnTo>
                    <a:pt x="255" y="848"/>
                  </a:lnTo>
                  <a:lnTo>
                    <a:pt x="248" y="848"/>
                  </a:lnTo>
                  <a:lnTo>
                    <a:pt x="243" y="848"/>
                  </a:lnTo>
                  <a:lnTo>
                    <a:pt x="231" y="843"/>
                  </a:lnTo>
                  <a:lnTo>
                    <a:pt x="227" y="848"/>
                  </a:lnTo>
                  <a:lnTo>
                    <a:pt x="194" y="810"/>
                  </a:lnTo>
                  <a:lnTo>
                    <a:pt x="146" y="798"/>
                  </a:lnTo>
                  <a:lnTo>
                    <a:pt x="104" y="815"/>
                  </a:lnTo>
                  <a:lnTo>
                    <a:pt x="54" y="815"/>
                  </a:lnTo>
                  <a:lnTo>
                    <a:pt x="38" y="848"/>
                  </a:lnTo>
                  <a:lnTo>
                    <a:pt x="38" y="810"/>
                  </a:lnTo>
                  <a:lnTo>
                    <a:pt x="71" y="732"/>
                  </a:lnTo>
                  <a:lnTo>
                    <a:pt x="71" y="676"/>
                  </a:lnTo>
                  <a:lnTo>
                    <a:pt x="66" y="643"/>
                  </a:lnTo>
                  <a:lnTo>
                    <a:pt x="38" y="605"/>
                  </a:lnTo>
                  <a:lnTo>
                    <a:pt x="54" y="593"/>
                  </a:lnTo>
                  <a:lnTo>
                    <a:pt x="38" y="605"/>
                  </a:lnTo>
                  <a:lnTo>
                    <a:pt x="54" y="572"/>
                  </a:lnTo>
                  <a:lnTo>
                    <a:pt x="66" y="539"/>
                  </a:lnTo>
                  <a:lnTo>
                    <a:pt x="38" y="510"/>
                  </a:lnTo>
                  <a:lnTo>
                    <a:pt x="38" y="515"/>
                  </a:lnTo>
                  <a:lnTo>
                    <a:pt x="33" y="510"/>
                  </a:lnTo>
                  <a:lnTo>
                    <a:pt x="12" y="465"/>
                  </a:lnTo>
                  <a:lnTo>
                    <a:pt x="0" y="498"/>
                  </a:lnTo>
                  <a:lnTo>
                    <a:pt x="12" y="461"/>
                  </a:lnTo>
                  <a:lnTo>
                    <a:pt x="194" y="461"/>
                  </a:lnTo>
                  <a:lnTo>
                    <a:pt x="286" y="461"/>
                  </a:lnTo>
                  <a:lnTo>
                    <a:pt x="281" y="338"/>
                  </a:lnTo>
                  <a:lnTo>
                    <a:pt x="319" y="312"/>
                  </a:lnTo>
                  <a:lnTo>
                    <a:pt x="357" y="300"/>
                  </a:lnTo>
                  <a:lnTo>
                    <a:pt x="357" y="106"/>
                  </a:lnTo>
                  <a:lnTo>
                    <a:pt x="588" y="106"/>
                  </a:lnTo>
                  <a:lnTo>
                    <a:pt x="588" y="0"/>
                  </a:lnTo>
                  <a:lnTo>
                    <a:pt x="857" y="184"/>
                  </a:lnTo>
                  <a:lnTo>
                    <a:pt x="734" y="184"/>
                  </a:lnTo>
                  <a:lnTo>
                    <a:pt x="751" y="333"/>
                  </a:lnTo>
                  <a:lnTo>
                    <a:pt x="751" y="333"/>
                  </a:lnTo>
                  <a:lnTo>
                    <a:pt x="751" y="333"/>
                  </a:lnTo>
                  <a:close/>
                  <a:moveTo>
                    <a:pt x="49" y="588"/>
                  </a:moveTo>
                  <a:lnTo>
                    <a:pt x="38" y="576"/>
                  </a:lnTo>
                  <a:lnTo>
                    <a:pt x="49" y="572"/>
                  </a:lnTo>
                  <a:lnTo>
                    <a:pt x="49" y="588"/>
                  </a:lnTo>
                  <a:lnTo>
                    <a:pt x="49" y="588"/>
                  </a:lnTo>
                  <a:lnTo>
                    <a:pt x="49" y="588"/>
                  </a:lnTo>
                  <a:close/>
                </a:path>
              </a:pathLst>
            </a:custGeom>
            <a:pattFill prst="wd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1" name="Freeform 511">
              <a:extLst>
                <a:ext uri="{FF2B5EF4-FFF2-40B4-BE49-F238E27FC236}">
                  <a16:creationId xmlns:a16="http://schemas.microsoft.com/office/drawing/2014/main" id="{8CBCE550-58B2-4CC0-BE22-0801E615C8A9}"/>
                </a:ext>
              </a:extLst>
            </p:cNvPr>
            <p:cNvSpPr>
              <a:spLocks noEditPoints="1"/>
            </p:cNvSpPr>
            <p:nvPr/>
          </p:nvSpPr>
          <p:spPr bwMode="gray">
            <a:xfrm>
              <a:off x="6266032" y="3258929"/>
              <a:ext cx="11877" cy="12869"/>
            </a:xfrm>
            <a:custGeom>
              <a:avLst/>
              <a:gdLst>
                <a:gd name="T0" fmla="*/ 7 w 24"/>
                <a:gd name="T1" fmla="*/ 12 h 26"/>
                <a:gd name="T2" fmla="*/ 0 w 24"/>
                <a:gd name="T3" fmla="*/ 0 h 26"/>
                <a:gd name="T4" fmla="*/ 7 w 24"/>
                <a:gd name="T5" fmla="*/ 0 h 26"/>
                <a:gd name="T6" fmla="*/ 7 w 24"/>
                <a:gd name="T7" fmla="*/ 12 h 26"/>
                <a:gd name="T8" fmla="*/ 7 w 24"/>
                <a:gd name="T9" fmla="*/ 12 h 26"/>
                <a:gd name="T10" fmla="*/ 7 w 24"/>
                <a:gd name="T11" fmla="*/ 12 h 26"/>
                <a:gd name="T12" fmla="*/ 24 w 24"/>
                <a:gd name="T13" fmla="*/ 26 h 26"/>
                <a:gd name="T14" fmla="*/ 7 w 24"/>
                <a:gd name="T15" fmla="*/ 16 h 26"/>
                <a:gd name="T16" fmla="*/ 7 w 24"/>
                <a:gd name="T17" fmla="*/ 12 h 26"/>
                <a:gd name="T18" fmla="*/ 24 w 24"/>
                <a:gd name="T19" fmla="*/ 16 h 26"/>
                <a:gd name="T20" fmla="*/ 24 w 24"/>
                <a:gd name="T21" fmla="*/ 26 h 26"/>
                <a:gd name="T22" fmla="*/ 24 w 24"/>
                <a:gd name="T23" fmla="*/ 26 h 26"/>
                <a:gd name="T24" fmla="*/ 24 w 24"/>
                <a:gd name="T2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6">
                  <a:moveTo>
                    <a:pt x="7" y="12"/>
                  </a:moveTo>
                  <a:lnTo>
                    <a:pt x="0" y="0"/>
                  </a:lnTo>
                  <a:lnTo>
                    <a:pt x="7" y="0"/>
                  </a:lnTo>
                  <a:lnTo>
                    <a:pt x="7" y="12"/>
                  </a:lnTo>
                  <a:lnTo>
                    <a:pt x="7" y="12"/>
                  </a:lnTo>
                  <a:lnTo>
                    <a:pt x="7" y="12"/>
                  </a:lnTo>
                  <a:close/>
                  <a:moveTo>
                    <a:pt x="24" y="26"/>
                  </a:moveTo>
                  <a:lnTo>
                    <a:pt x="7" y="16"/>
                  </a:lnTo>
                  <a:lnTo>
                    <a:pt x="7" y="12"/>
                  </a:lnTo>
                  <a:lnTo>
                    <a:pt x="24" y="16"/>
                  </a:lnTo>
                  <a:lnTo>
                    <a:pt x="24" y="26"/>
                  </a:lnTo>
                  <a:lnTo>
                    <a:pt x="24" y="26"/>
                  </a:lnTo>
                  <a:lnTo>
                    <a:pt x="24" y="26"/>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2" name="Freeform 512">
              <a:extLst>
                <a:ext uri="{FF2B5EF4-FFF2-40B4-BE49-F238E27FC236}">
                  <a16:creationId xmlns:a16="http://schemas.microsoft.com/office/drawing/2014/main" id="{4C3265B3-C954-4822-8E8F-AA8CDB878F09}"/>
                </a:ext>
              </a:extLst>
            </p:cNvPr>
            <p:cNvSpPr>
              <a:spLocks noEditPoints="1"/>
            </p:cNvSpPr>
            <p:nvPr/>
          </p:nvSpPr>
          <p:spPr bwMode="gray">
            <a:xfrm>
              <a:off x="7580920" y="3639037"/>
              <a:ext cx="270203" cy="365755"/>
            </a:xfrm>
            <a:custGeom>
              <a:avLst/>
              <a:gdLst>
                <a:gd name="T0" fmla="*/ 282 w 546"/>
                <a:gd name="T1" fmla="*/ 56 h 739"/>
                <a:gd name="T2" fmla="*/ 282 w 546"/>
                <a:gd name="T3" fmla="*/ 23 h 739"/>
                <a:gd name="T4" fmla="*/ 307 w 546"/>
                <a:gd name="T5" fmla="*/ 16 h 739"/>
                <a:gd name="T6" fmla="*/ 298 w 546"/>
                <a:gd name="T7" fmla="*/ 0 h 739"/>
                <a:gd name="T8" fmla="*/ 307 w 546"/>
                <a:gd name="T9" fmla="*/ 7 h 739"/>
                <a:gd name="T10" fmla="*/ 298 w 546"/>
                <a:gd name="T11" fmla="*/ 16 h 739"/>
                <a:gd name="T12" fmla="*/ 298 w 546"/>
                <a:gd name="T13" fmla="*/ 56 h 739"/>
                <a:gd name="T14" fmla="*/ 298 w 546"/>
                <a:gd name="T15" fmla="*/ 56 h 739"/>
                <a:gd name="T16" fmla="*/ 0 w 546"/>
                <a:gd name="T17" fmla="*/ 562 h 739"/>
                <a:gd name="T18" fmla="*/ 253 w 546"/>
                <a:gd name="T19" fmla="*/ 333 h 739"/>
                <a:gd name="T20" fmla="*/ 222 w 546"/>
                <a:gd name="T21" fmla="*/ 255 h 739"/>
                <a:gd name="T22" fmla="*/ 244 w 546"/>
                <a:gd name="T23" fmla="*/ 184 h 739"/>
                <a:gd name="T24" fmla="*/ 274 w 546"/>
                <a:gd name="T25" fmla="*/ 167 h 739"/>
                <a:gd name="T26" fmla="*/ 260 w 546"/>
                <a:gd name="T27" fmla="*/ 118 h 739"/>
                <a:gd name="T28" fmla="*/ 282 w 546"/>
                <a:gd name="T29" fmla="*/ 118 h 739"/>
                <a:gd name="T30" fmla="*/ 282 w 546"/>
                <a:gd name="T31" fmla="*/ 127 h 739"/>
                <a:gd name="T32" fmla="*/ 298 w 546"/>
                <a:gd name="T33" fmla="*/ 111 h 739"/>
                <a:gd name="T34" fmla="*/ 362 w 546"/>
                <a:gd name="T35" fmla="*/ 188 h 739"/>
                <a:gd name="T36" fmla="*/ 459 w 546"/>
                <a:gd name="T37" fmla="*/ 212 h 739"/>
                <a:gd name="T38" fmla="*/ 546 w 546"/>
                <a:gd name="T39" fmla="*/ 295 h 739"/>
                <a:gd name="T40" fmla="*/ 513 w 546"/>
                <a:gd name="T41" fmla="*/ 382 h 739"/>
                <a:gd name="T42" fmla="*/ 454 w 546"/>
                <a:gd name="T43" fmla="*/ 451 h 739"/>
                <a:gd name="T44" fmla="*/ 437 w 546"/>
                <a:gd name="T45" fmla="*/ 444 h 739"/>
                <a:gd name="T46" fmla="*/ 404 w 546"/>
                <a:gd name="T47" fmla="*/ 467 h 739"/>
                <a:gd name="T48" fmla="*/ 404 w 546"/>
                <a:gd name="T49" fmla="*/ 562 h 739"/>
                <a:gd name="T50" fmla="*/ 329 w 546"/>
                <a:gd name="T51" fmla="*/ 578 h 739"/>
                <a:gd name="T52" fmla="*/ 312 w 546"/>
                <a:gd name="T53" fmla="*/ 628 h 739"/>
                <a:gd name="T54" fmla="*/ 237 w 546"/>
                <a:gd name="T55" fmla="*/ 649 h 739"/>
                <a:gd name="T56" fmla="*/ 227 w 546"/>
                <a:gd name="T57" fmla="*/ 682 h 739"/>
                <a:gd name="T58" fmla="*/ 189 w 546"/>
                <a:gd name="T59" fmla="*/ 715 h 739"/>
                <a:gd name="T60" fmla="*/ 147 w 546"/>
                <a:gd name="T61" fmla="*/ 706 h 739"/>
                <a:gd name="T62" fmla="*/ 76 w 546"/>
                <a:gd name="T63" fmla="*/ 739 h 739"/>
                <a:gd name="T64" fmla="*/ 76 w 546"/>
                <a:gd name="T65" fmla="*/ 739 h 739"/>
                <a:gd name="T66" fmla="*/ 459 w 546"/>
                <a:gd name="T67" fmla="*/ 460 h 739"/>
                <a:gd name="T68" fmla="*/ 487 w 546"/>
                <a:gd name="T69" fmla="*/ 451 h 739"/>
                <a:gd name="T70" fmla="*/ 459 w 546"/>
                <a:gd name="T71" fmla="*/ 477 h 739"/>
                <a:gd name="T72" fmla="*/ 274 w 546"/>
                <a:gd name="T73" fmla="*/ 673 h 739"/>
                <a:gd name="T74" fmla="*/ 282 w 546"/>
                <a:gd name="T75" fmla="*/ 673 h 739"/>
                <a:gd name="T76" fmla="*/ 274 w 546"/>
                <a:gd name="T77" fmla="*/ 673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6" h="739">
                  <a:moveTo>
                    <a:pt x="298" y="56"/>
                  </a:moveTo>
                  <a:lnTo>
                    <a:pt x="282" y="56"/>
                  </a:lnTo>
                  <a:lnTo>
                    <a:pt x="291" y="33"/>
                  </a:lnTo>
                  <a:lnTo>
                    <a:pt x="282" y="23"/>
                  </a:lnTo>
                  <a:lnTo>
                    <a:pt x="291" y="7"/>
                  </a:lnTo>
                  <a:lnTo>
                    <a:pt x="307" y="16"/>
                  </a:lnTo>
                  <a:lnTo>
                    <a:pt x="298" y="16"/>
                  </a:lnTo>
                  <a:lnTo>
                    <a:pt x="298" y="0"/>
                  </a:lnTo>
                  <a:lnTo>
                    <a:pt x="312" y="0"/>
                  </a:lnTo>
                  <a:lnTo>
                    <a:pt x="307" y="7"/>
                  </a:lnTo>
                  <a:lnTo>
                    <a:pt x="307" y="16"/>
                  </a:lnTo>
                  <a:lnTo>
                    <a:pt x="298" y="16"/>
                  </a:lnTo>
                  <a:lnTo>
                    <a:pt x="307" y="23"/>
                  </a:lnTo>
                  <a:lnTo>
                    <a:pt x="298" y="56"/>
                  </a:lnTo>
                  <a:lnTo>
                    <a:pt x="298" y="56"/>
                  </a:lnTo>
                  <a:lnTo>
                    <a:pt x="298" y="56"/>
                  </a:lnTo>
                  <a:close/>
                  <a:moveTo>
                    <a:pt x="76" y="739"/>
                  </a:moveTo>
                  <a:lnTo>
                    <a:pt x="0" y="562"/>
                  </a:lnTo>
                  <a:lnTo>
                    <a:pt x="206" y="484"/>
                  </a:lnTo>
                  <a:lnTo>
                    <a:pt x="253" y="333"/>
                  </a:lnTo>
                  <a:lnTo>
                    <a:pt x="222" y="283"/>
                  </a:lnTo>
                  <a:lnTo>
                    <a:pt x="222" y="255"/>
                  </a:lnTo>
                  <a:lnTo>
                    <a:pt x="244" y="200"/>
                  </a:lnTo>
                  <a:lnTo>
                    <a:pt x="244" y="184"/>
                  </a:lnTo>
                  <a:lnTo>
                    <a:pt x="274" y="172"/>
                  </a:lnTo>
                  <a:lnTo>
                    <a:pt x="274" y="167"/>
                  </a:lnTo>
                  <a:lnTo>
                    <a:pt x="260" y="167"/>
                  </a:lnTo>
                  <a:lnTo>
                    <a:pt x="260" y="118"/>
                  </a:lnTo>
                  <a:lnTo>
                    <a:pt x="274" y="111"/>
                  </a:lnTo>
                  <a:lnTo>
                    <a:pt x="282" y="118"/>
                  </a:lnTo>
                  <a:lnTo>
                    <a:pt x="274" y="118"/>
                  </a:lnTo>
                  <a:lnTo>
                    <a:pt x="282" y="127"/>
                  </a:lnTo>
                  <a:lnTo>
                    <a:pt x="298" y="118"/>
                  </a:lnTo>
                  <a:lnTo>
                    <a:pt x="298" y="111"/>
                  </a:lnTo>
                  <a:lnTo>
                    <a:pt x="324" y="151"/>
                  </a:lnTo>
                  <a:lnTo>
                    <a:pt x="362" y="188"/>
                  </a:lnTo>
                  <a:lnTo>
                    <a:pt x="437" y="212"/>
                  </a:lnTo>
                  <a:lnTo>
                    <a:pt x="459" y="212"/>
                  </a:lnTo>
                  <a:lnTo>
                    <a:pt x="513" y="283"/>
                  </a:lnTo>
                  <a:lnTo>
                    <a:pt x="546" y="295"/>
                  </a:lnTo>
                  <a:lnTo>
                    <a:pt x="546" y="316"/>
                  </a:lnTo>
                  <a:lnTo>
                    <a:pt x="513" y="382"/>
                  </a:lnTo>
                  <a:lnTo>
                    <a:pt x="475" y="411"/>
                  </a:lnTo>
                  <a:lnTo>
                    <a:pt x="454" y="451"/>
                  </a:lnTo>
                  <a:lnTo>
                    <a:pt x="433" y="460"/>
                  </a:lnTo>
                  <a:lnTo>
                    <a:pt x="437" y="444"/>
                  </a:lnTo>
                  <a:lnTo>
                    <a:pt x="433" y="444"/>
                  </a:lnTo>
                  <a:lnTo>
                    <a:pt x="404" y="467"/>
                  </a:lnTo>
                  <a:lnTo>
                    <a:pt x="388" y="505"/>
                  </a:lnTo>
                  <a:lnTo>
                    <a:pt x="404" y="562"/>
                  </a:lnTo>
                  <a:lnTo>
                    <a:pt x="362" y="571"/>
                  </a:lnTo>
                  <a:lnTo>
                    <a:pt x="329" y="578"/>
                  </a:lnTo>
                  <a:lnTo>
                    <a:pt x="324" y="595"/>
                  </a:lnTo>
                  <a:lnTo>
                    <a:pt x="312" y="628"/>
                  </a:lnTo>
                  <a:lnTo>
                    <a:pt x="298" y="644"/>
                  </a:lnTo>
                  <a:lnTo>
                    <a:pt x="237" y="649"/>
                  </a:lnTo>
                  <a:lnTo>
                    <a:pt x="222" y="673"/>
                  </a:lnTo>
                  <a:lnTo>
                    <a:pt x="227" y="682"/>
                  </a:lnTo>
                  <a:lnTo>
                    <a:pt x="206" y="706"/>
                  </a:lnTo>
                  <a:lnTo>
                    <a:pt x="189" y="715"/>
                  </a:lnTo>
                  <a:lnTo>
                    <a:pt x="173" y="706"/>
                  </a:lnTo>
                  <a:lnTo>
                    <a:pt x="147" y="706"/>
                  </a:lnTo>
                  <a:lnTo>
                    <a:pt x="109" y="727"/>
                  </a:lnTo>
                  <a:lnTo>
                    <a:pt x="76" y="739"/>
                  </a:lnTo>
                  <a:lnTo>
                    <a:pt x="76" y="739"/>
                  </a:lnTo>
                  <a:lnTo>
                    <a:pt x="76" y="739"/>
                  </a:lnTo>
                  <a:close/>
                  <a:moveTo>
                    <a:pt x="459" y="477"/>
                  </a:moveTo>
                  <a:lnTo>
                    <a:pt x="459" y="460"/>
                  </a:lnTo>
                  <a:lnTo>
                    <a:pt x="487" y="439"/>
                  </a:lnTo>
                  <a:lnTo>
                    <a:pt x="487" y="451"/>
                  </a:lnTo>
                  <a:lnTo>
                    <a:pt x="459" y="477"/>
                  </a:lnTo>
                  <a:lnTo>
                    <a:pt x="459" y="477"/>
                  </a:lnTo>
                  <a:lnTo>
                    <a:pt x="459" y="477"/>
                  </a:lnTo>
                  <a:close/>
                  <a:moveTo>
                    <a:pt x="274" y="673"/>
                  </a:moveTo>
                  <a:lnTo>
                    <a:pt x="274" y="673"/>
                  </a:lnTo>
                  <a:lnTo>
                    <a:pt x="282" y="673"/>
                  </a:lnTo>
                  <a:lnTo>
                    <a:pt x="274" y="673"/>
                  </a:lnTo>
                  <a:lnTo>
                    <a:pt x="274" y="673"/>
                  </a:lnTo>
                  <a:lnTo>
                    <a:pt x="274" y="673"/>
                  </a:lnTo>
                  <a:close/>
                </a:path>
              </a:pathLst>
            </a:custGeom>
            <a:pattFill prst="wd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3" name="Freeform 513">
              <a:extLst>
                <a:ext uri="{FF2B5EF4-FFF2-40B4-BE49-F238E27FC236}">
                  <a16:creationId xmlns:a16="http://schemas.microsoft.com/office/drawing/2014/main" id="{0053D1E6-BE60-439F-9F48-DE2838F1CB3A}"/>
                </a:ext>
              </a:extLst>
            </p:cNvPr>
            <p:cNvSpPr>
              <a:spLocks/>
            </p:cNvSpPr>
            <p:nvPr/>
          </p:nvSpPr>
          <p:spPr bwMode="gray">
            <a:xfrm>
              <a:off x="6416969" y="2944153"/>
              <a:ext cx="64335" cy="72756"/>
            </a:xfrm>
            <a:custGeom>
              <a:avLst/>
              <a:gdLst>
                <a:gd name="T0" fmla="*/ 0 w 130"/>
                <a:gd name="T1" fmla="*/ 90 h 147"/>
                <a:gd name="T2" fmla="*/ 7 w 130"/>
                <a:gd name="T3" fmla="*/ 81 h 147"/>
                <a:gd name="T4" fmla="*/ 0 w 130"/>
                <a:gd name="T5" fmla="*/ 62 h 147"/>
                <a:gd name="T6" fmla="*/ 0 w 130"/>
                <a:gd name="T7" fmla="*/ 45 h 147"/>
                <a:gd name="T8" fmla="*/ 16 w 130"/>
                <a:gd name="T9" fmla="*/ 41 h 147"/>
                <a:gd name="T10" fmla="*/ 16 w 130"/>
                <a:gd name="T11" fmla="*/ 24 h 147"/>
                <a:gd name="T12" fmla="*/ 28 w 130"/>
                <a:gd name="T13" fmla="*/ 17 h 147"/>
                <a:gd name="T14" fmla="*/ 37 w 130"/>
                <a:gd name="T15" fmla="*/ 24 h 147"/>
                <a:gd name="T16" fmla="*/ 45 w 130"/>
                <a:gd name="T17" fmla="*/ 17 h 147"/>
                <a:gd name="T18" fmla="*/ 28 w 130"/>
                <a:gd name="T19" fmla="*/ 0 h 147"/>
                <a:gd name="T20" fmla="*/ 54 w 130"/>
                <a:gd name="T21" fmla="*/ 0 h 147"/>
                <a:gd name="T22" fmla="*/ 87 w 130"/>
                <a:gd name="T23" fmla="*/ 36 h 147"/>
                <a:gd name="T24" fmla="*/ 130 w 130"/>
                <a:gd name="T25" fmla="*/ 57 h 147"/>
                <a:gd name="T26" fmla="*/ 130 w 130"/>
                <a:gd name="T27" fmla="*/ 62 h 147"/>
                <a:gd name="T28" fmla="*/ 125 w 130"/>
                <a:gd name="T29" fmla="*/ 62 h 147"/>
                <a:gd name="T30" fmla="*/ 108 w 130"/>
                <a:gd name="T31" fmla="*/ 74 h 147"/>
                <a:gd name="T32" fmla="*/ 113 w 130"/>
                <a:gd name="T33" fmla="*/ 81 h 147"/>
                <a:gd name="T34" fmla="*/ 108 w 130"/>
                <a:gd name="T35" fmla="*/ 90 h 147"/>
                <a:gd name="T36" fmla="*/ 92 w 130"/>
                <a:gd name="T37" fmla="*/ 97 h 147"/>
                <a:gd name="T38" fmla="*/ 92 w 130"/>
                <a:gd name="T39" fmla="*/ 81 h 147"/>
                <a:gd name="T40" fmla="*/ 87 w 130"/>
                <a:gd name="T41" fmla="*/ 81 h 147"/>
                <a:gd name="T42" fmla="*/ 54 w 130"/>
                <a:gd name="T43" fmla="*/ 118 h 147"/>
                <a:gd name="T44" fmla="*/ 59 w 130"/>
                <a:gd name="T45" fmla="*/ 130 h 147"/>
                <a:gd name="T46" fmla="*/ 59 w 130"/>
                <a:gd name="T47" fmla="*/ 147 h 147"/>
                <a:gd name="T48" fmla="*/ 45 w 130"/>
                <a:gd name="T49" fmla="*/ 135 h 147"/>
                <a:gd name="T50" fmla="*/ 28 w 130"/>
                <a:gd name="T51" fmla="*/ 114 h 147"/>
                <a:gd name="T52" fmla="*/ 7 w 130"/>
                <a:gd name="T53" fmla="*/ 97 h 147"/>
                <a:gd name="T54" fmla="*/ 16 w 130"/>
                <a:gd name="T55" fmla="*/ 102 h 147"/>
                <a:gd name="T56" fmla="*/ 16 w 130"/>
                <a:gd name="T57" fmla="*/ 97 h 147"/>
                <a:gd name="T58" fmla="*/ 0 w 130"/>
                <a:gd name="T59" fmla="*/ 97 h 147"/>
                <a:gd name="T60" fmla="*/ 0 w 130"/>
                <a:gd name="T61" fmla="*/ 90 h 147"/>
                <a:gd name="T62" fmla="*/ 0 w 130"/>
                <a:gd name="T63" fmla="*/ 90 h 147"/>
                <a:gd name="T64" fmla="*/ 0 w 130"/>
                <a:gd name="T65" fmla="*/ 9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0" h="147">
                  <a:moveTo>
                    <a:pt x="0" y="90"/>
                  </a:moveTo>
                  <a:lnTo>
                    <a:pt x="7" y="81"/>
                  </a:lnTo>
                  <a:lnTo>
                    <a:pt x="0" y="62"/>
                  </a:lnTo>
                  <a:lnTo>
                    <a:pt x="0" y="45"/>
                  </a:lnTo>
                  <a:lnTo>
                    <a:pt x="16" y="41"/>
                  </a:lnTo>
                  <a:lnTo>
                    <a:pt x="16" y="24"/>
                  </a:lnTo>
                  <a:lnTo>
                    <a:pt x="28" y="17"/>
                  </a:lnTo>
                  <a:lnTo>
                    <a:pt x="37" y="24"/>
                  </a:lnTo>
                  <a:lnTo>
                    <a:pt x="45" y="17"/>
                  </a:lnTo>
                  <a:lnTo>
                    <a:pt x="28" y="0"/>
                  </a:lnTo>
                  <a:lnTo>
                    <a:pt x="54" y="0"/>
                  </a:lnTo>
                  <a:lnTo>
                    <a:pt x="87" y="36"/>
                  </a:lnTo>
                  <a:lnTo>
                    <a:pt x="130" y="57"/>
                  </a:lnTo>
                  <a:lnTo>
                    <a:pt x="130" y="62"/>
                  </a:lnTo>
                  <a:lnTo>
                    <a:pt x="125" y="62"/>
                  </a:lnTo>
                  <a:lnTo>
                    <a:pt x="108" y="74"/>
                  </a:lnTo>
                  <a:lnTo>
                    <a:pt x="113" y="81"/>
                  </a:lnTo>
                  <a:lnTo>
                    <a:pt x="108" y="90"/>
                  </a:lnTo>
                  <a:lnTo>
                    <a:pt x="92" y="97"/>
                  </a:lnTo>
                  <a:lnTo>
                    <a:pt x="92" y="81"/>
                  </a:lnTo>
                  <a:lnTo>
                    <a:pt x="87" y="81"/>
                  </a:lnTo>
                  <a:lnTo>
                    <a:pt x="54" y="118"/>
                  </a:lnTo>
                  <a:lnTo>
                    <a:pt x="59" y="130"/>
                  </a:lnTo>
                  <a:lnTo>
                    <a:pt x="59" y="147"/>
                  </a:lnTo>
                  <a:lnTo>
                    <a:pt x="45" y="135"/>
                  </a:lnTo>
                  <a:lnTo>
                    <a:pt x="28" y="114"/>
                  </a:lnTo>
                  <a:lnTo>
                    <a:pt x="7" y="97"/>
                  </a:lnTo>
                  <a:lnTo>
                    <a:pt x="16" y="102"/>
                  </a:lnTo>
                  <a:lnTo>
                    <a:pt x="16" y="97"/>
                  </a:lnTo>
                  <a:lnTo>
                    <a:pt x="0" y="97"/>
                  </a:lnTo>
                  <a:lnTo>
                    <a:pt x="0" y="90"/>
                  </a:lnTo>
                  <a:lnTo>
                    <a:pt x="0" y="90"/>
                  </a:lnTo>
                  <a:lnTo>
                    <a:pt x="0" y="90"/>
                  </a:lnTo>
                  <a:close/>
                </a:path>
              </a:pathLst>
            </a:custGeom>
            <a:pattFill prst="lt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4" name="Freeform 514">
              <a:extLst>
                <a:ext uri="{FF2B5EF4-FFF2-40B4-BE49-F238E27FC236}">
                  <a16:creationId xmlns:a16="http://schemas.microsoft.com/office/drawing/2014/main" id="{7B02366E-7BD0-43BE-ABE3-ED9511360002}"/>
                </a:ext>
              </a:extLst>
            </p:cNvPr>
            <p:cNvSpPr>
              <a:spLocks noEditPoints="1"/>
            </p:cNvSpPr>
            <p:nvPr/>
          </p:nvSpPr>
          <p:spPr bwMode="gray">
            <a:xfrm>
              <a:off x="1667140" y="3393057"/>
              <a:ext cx="1093183" cy="685481"/>
            </a:xfrm>
            <a:custGeom>
              <a:avLst/>
              <a:gdLst>
                <a:gd name="T0" fmla="*/ 1918 w 2209"/>
                <a:gd name="T1" fmla="*/ 1146 h 1385"/>
                <a:gd name="T2" fmla="*/ 1864 w 2209"/>
                <a:gd name="T3" fmla="*/ 1274 h 1385"/>
                <a:gd name="T4" fmla="*/ 1708 w 2209"/>
                <a:gd name="T5" fmla="*/ 1274 h 1385"/>
                <a:gd name="T6" fmla="*/ 1649 w 2209"/>
                <a:gd name="T7" fmla="*/ 1269 h 1385"/>
                <a:gd name="T8" fmla="*/ 1481 w 2209"/>
                <a:gd name="T9" fmla="*/ 1293 h 1385"/>
                <a:gd name="T10" fmla="*/ 1217 w 2209"/>
                <a:gd name="T11" fmla="*/ 1186 h 1385"/>
                <a:gd name="T12" fmla="*/ 900 w 2209"/>
                <a:gd name="T13" fmla="*/ 993 h 1385"/>
                <a:gd name="T14" fmla="*/ 900 w 2209"/>
                <a:gd name="T15" fmla="*/ 865 h 1385"/>
                <a:gd name="T16" fmla="*/ 754 w 2209"/>
                <a:gd name="T17" fmla="*/ 648 h 1385"/>
                <a:gd name="T18" fmla="*/ 728 w 2209"/>
                <a:gd name="T19" fmla="*/ 610 h 1385"/>
                <a:gd name="T20" fmla="*/ 695 w 2209"/>
                <a:gd name="T21" fmla="*/ 586 h 1385"/>
                <a:gd name="T22" fmla="*/ 673 w 2209"/>
                <a:gd name="T23" fmla="*/ 544 h 1385"/>
                <a:gd name="T24" fmla="*/ 624 w 2209"/>
                <a:gd name="T25" fmla="*/ 475 h 1385"/>
                <a:gd name="T26" fmla="*/ 548 w 2209"/>
                <a:gd name="T27" fmla="*/ 388 h 1385"/>
                <a:gd name="T28" fmla="*/ 430 w 2209"/>
                <a:gd name="T29" fmla="*/ 298 h 1385"/>
                <a:gd name="T30" fmla="*/ 371 w 2209"/>
                <a:gd name="T31" fmla="*/ 116 h 1385"/>
                <a:gd name="T32" fmla="*/ 253 w 2209"/>
                <a:gd name="T33" fmla="*/ 88 h 1385"/>
                <a:gd name="T34" fmla="*/ 345 w 2209"/>
                <a:gd name="T35" fmla="*/ 298 h 1385"/>
                <a:gd name="T36" fmla="*/ 392 w 2209"/>
                <a:gd name="T37" fmla="*/ 388 h 1385"/>
                <a:gd name="T38" fmla="*/ 458 w 2209"/>
                <a:gd name="T39" fmla="*/ 459 h 1385"/>
                <a:gd name="T40" fmla="*/ 522 w 2209"/>
                <a:gd name="T41" fmla="*/ 593 h 1385"/>
                <a:gd name="T42" fmla="*/ 569 w 2209"/>
                <a:gd name="T43" fmla="*/ 664 h 1385"/>
                <a:gd name="T44" fmla="*/ 593 w 2209"/>
                <a:gd name="T45" fmla="*/ 766 h 1385"/>
                <a:gd name="T46" fmla="*/ 442 w 2209"/>
                <a:gd name="T47" fmla="*/ 626 h 1385"/>
                <a:gd name="T48" fmla="*/ 397 w 2209"/>
                <a:gd name="T49" fmla="*/ 504 h 1385"/>
                <a:gd name="T50" fmla="*/ 307 w 2209"/>
                <a:gd name="T51" fmla="*/ 449 h 1385"/>
                <a:gd name="T52" fmla="*/ 300 w 2209"/>
                <a:gd name="T53" fmla="*/ 393 h 1385"/>
                <a:gd name="T54" fmla="*/ 182 w 2209"/>
                <a:gd name="T55" fmla="*/ 239 h 1385"/>
                <a:gd name="T56" fmla="*/ 140 w 2209"/>
                <a:gd name="T57" fmla="*/ 116 h 1385"/>
                <a:gd name="T58" fmla="*/ 510 w 2209"/>
                <a:gd name="T59" fmla="*/ 111 h 1385"/>
                <a:gd name="T60" fmla="*/ 952 w 2209"/>
                <a:gd name="T61" fmla="*/ 222 h 1385"/>
                <a:gd name="T62" fmla="*/ 1125 w 2209"/>
                <a:gd name="T63" fmla="*/ 227 h 1385"/>
                <a:gd name="T64" fmla="*/ 1292 w 2209"/>
                <a:gd name="T65" fmla="*/ 393 h 1385"/>
                <a:gd name="T66" fmla="*/ 1448 w 2209"/>
                <a:gd name="T67" fmla="*/ 532 h 1385"/>
                <a:gd name="T68" fmla="*/ 1472 w 2209"/>
                <a:gd name="T69" fmla="*/ 870 h 1385"/>
                <a:gd name="T70" fmla="*/ 1536 w 2209"/>
                <a:gd name="T71" fmla="*/ 997 h 1385"/>
                <a:gd name="T72" fmla="*/ 1649 w 2209"/>
                <a:gd name="T73" fmla="*/ 1092 h 1385"/>
                <a:gd name="T74" fmla="*/ 1762 w 2209"/>
                <a:gd name="T75" fmla="*/ 1108 h 1385"/>
                <a:gd name="T76" fmla="*/ 1864 w 2209"/>
                <a:gd name="T77" fmla="*/ 1104 h 1385"/>
                <a:gd name="T78" fmla="*/ 1935 w 2209"/>
                <a:gd name="T79" fmla="*/ 1037 h 1385"/>
                <a:gd name="T80" fmla="*/ 2095 w 2209"/>
                <a:gd name="T81" fmla="*/ 870 h 1385"/>
                <a:gd name="T82" fmla="*/ 2209 w 2209"/>
                <a:gd name="T83" fmla="*/ 893 h 1385"/>
                <a:gd name="T84" fmla="*/ 2150 w 2209"/>
                <a:gd name="T85" fmla="*/ 1021 h 1385"/>
                <a:gd name="T86" fmla="*/ 2133 w 2209"/>
                <a:gd name="T87" fmla="*/ 1104 h 1385"/>
                <a:gd name="T88" fmla="*/ 359 w 2209"/>
                <a:gd name="T89" fmla="*/ 293 h 1385"/>
                <a:gd name="T90" fmla="*/ 359 w 2209"/>
                <a:gd name="T91" fmla="*/ 293 h 1385"/>
                <a:gd name="T92" fmla="*/ 425 w 2209"/>
                <a:gd name="T93" fmla="*/ 315 h 1385"/>
                <a:gd name="T94" fmla="*/ 0 w 2209"/>
                <a:gd name="T95" fmla="*/ 298 h 1385"/>
                <a:gd name="T96" fmla="*/ 225 w 2209"/>
                <a:gd name="T97" fmla="*/ 371 h 1385"/>
                <a:gd name="T98" fmla="*/ 501 w 2209"/>
                <a:gd name="T99" fmla="*/ 544 h 1385"/>
                <a:gd name="T100" fmla="*/ 442 w 2209"/>
                <a:gd name="T101" fmla="*/ 586 h 1385"/>
                <a:gd name="T102" fmla="*/ 539 w 2209"/>
                <a:gd name="T103" fmla="*/ 598 h 1385"/>
                <a:gd name="T104" fmla="*/ 463 w 2209"/>
                <a:gd name="T105" fmla="*/ 655 h 1385"/>
                <a:gd name="T106" fmla="*/ 825 w 2209"/>
                <a:gd name="T107" fmla="*/ 870 h 1385"/>
                <a:gd name="T108" fmla="*/ 855 w 2209"/>
                <a:gd name="T109" fmla="*/ 886 h 1385"/>
                <a:gd name="T110" fmla="*/ 2204 w 2209"/>
                <a:gd name="T111" fmla="*/ 943 h 1385"/>
                <a:gd name="T112" fmla="*/ 517 w 2209"/>
                <a:gd name="T113" fmla="*/ 1071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9" h="1385">
                  <a:moveTo>
                    <a:pt x="2103" y="1104"/>
                  </a:moveTo>
                  <a:lnTo>
                    <a:pt x="2095" y="1104"/>
                  </a:lnTo>
                  <a:lnTo>
                    <a:pt x="2065" y="1141"/>
                  </a:lnTo>
                  <a:lnTo>
                    <a:pt x="2058" y="1130"/>
                  </a:lnTo>
                  <a:lnTo>
                    <a:pt x="2048" y="1141"/>
                  </a:lnTo>
                  <a:lnTo>
                    <a:pt x="2048" y="1146"/>
                  </a:lnTo>
                  <a:lnTo>
                    <a:pt x="1918" y="1146"/>
                  </a:lnTo>
                  <a:lnTo>
                    <a:pt x="1918" y="1186"/>
                  </a:lnTo>
                  <a:lnTo>
                    <a:pt x="1885" y="1186"/>
                  </a:lnTo>
                  <a:lnTo>
                    <a:pt x="1935" y="1224"/>
                  </a:lnTo>
                  <a:lnTo>
                    <a:pt x="1940" y="1252"/>
                  </a:lnTo>
                  <a:lnTo>
                    <a:pt x="1956" y="1252"/>
                  </a:lnTo>
                  <a:lnTo>
                    <a:pt x="1956" y="1274"/>
                  </a:lnTo>
                  <a:lnTo>
                    <a:pt x="1864" y="1274"/>
                  </a:lnTo>
                  <a:lnTo>
                    <a:pt x="1831" y="1335"/>
                  </a:lnTo>
                  <a:lnTo>
                    <a:pt x="1843" y="1352"/>
                  </a:lnTo>
                  <a:lnTo>
                    <a:pt x="1826" y="1385"/>
                  </a:lnTo>
                  <a:lnTo>
                    <a:pt x="1793" y="1352"/>
                  </a:lnTo>
                  <a:lnTo>
                    <a:pt x="1793" y="1347"/>
                  </a:lnTo>
                  <a:lnTo>
                    <a:pt x="1779" y="1335"/>
                  </a:lnTo>
                  <a:lnTo>
                    <a:pt x="1708" y="1274"/>
                  </a:lnTo>
                  <a:lnTo>
                    <a:pt x="1682" y="1257"/>
                  </a:lnTo>
                  <a:lnTo>
                    <a:pt x="1682" y="1269"/>
                  </a:lnTo>
                  <a:lnTo>
                    <a:pt x="1703" y="1281"/>
                  </a:lnTo>
                  <a:lnTo>
                    <a:pt x="1654" y="1269"/>
                  </a:lnTo>
                  <a:lnTo>
                    <a:pt x="1666" y="1257"/>
                  </a:lnTo>
                  <a:lnTo>
                    <a:pt x="1654" y="1257"/>
                  </a:lnTo>
                  <a:lnTo>
                    <a:pt x="1649" y="1269"/>
                  </a:lnTo>
                  <a:lnTo>
                    <a:pt x="1649" y="1252"/>
                  </a:lnTo>
                  <a:lnTo>
                    <a:pt x="1632" y="1257"/>
                  </a:lnTo>
                  <a:lnTo>
                    <a:pt x="1649" y="1269"/>
                  </a:lnTo>
                  <a:lnTo>
                    <a:pt x="1616" y="1269"/>
                  </a:lnTo>
                  <a:lnTo>
                    <a:pt x="1611" y="1281"/>
                  </a:lnTo>
                  <a:lnTo>
                    <a:pt x="1536" y="1309"/>
                  </a:lnTo>
                  <a:lnTo>
                    <a:pt x="1481" y="1293"/>
                  </a:lnTo>
                  <a:lnTo>
                    <a:pt x="1439" y="1281"/>
                  </a:lnTo>
                  <a:lnTo>
                    <a:pt x="1417" y="1269"/>
                  </a:lnTo>
                  <a:lnTo>
                    <a:pt x="1384" y="1257"/>
                  </a:lnTo>
                  <a:lnTo>
                    <a:pt x="1373" y="1241"/>
                  </a:lnTo>
                  <a:lnTo>
                    <a:pt x="1309" y="1224"/>
                  </a:lnTo>
                  <a:lnTo>
                    <a:pt x="1292" y="1219"/>
                  </a:lnTo>
                  <a:lnTo>
                    <a:pt x="1217" y="1186"/>
                  </a:lnTo>
                  <a:lnTo>
                    <a:pt x="1169" y="1158"/>
                  </a:lnTo>
                  <a:lnTo>
                    <a:pt x="1148" y="1130"/>
                  </a:lnTo>
                  <a:lnTo>
                    <a:pt x="1132" y="1141"/>
                  </a:lnTo>
                  <a:lnTo>
                    <a:pt x="1051" y="1108"/>
                  </a:lnTo>
                  <a:lnTo>
                    <a:pt x="1006" y="1071"/>
                  </a:lnTo>
                  <a:lnTo>
                    <a:pt x="943" y="1037"/>
                  </a:lnTo>
                  <a:lnTo>
                    <a:pt x="900" y="993"/>
                  </a:lnTo>
                  <a:lnTo>
                    <a:pt x="888" y="959"/>
                  </a:lnTo>
                  <a:lnTo>
                    <a:pt x="914" y="943"/>
                  </a:lnTo>
                  <a:lnTo>
                    <a:pt x="910" y="926"/>
                  </a:lnTo>
                  <a:lnTo>
                    <a:pt x="893" y="926"/>
                  </a:lnTo>
                  <a:lnTo>
                    <a:pt x="914" y="903"/>
                  </a:lnTo>
                  <a:lnTo>
                    <a:pt x="926" y="882"/>
                  </a:lnTo>
                  <a:lnTo>
                    <a:pt x="900" y="865"/>
                  </a:lnTo>
                  <a:lnTo>
                    <a:pt x="893" y="837"/>
                  </a:lnTo>
                  <a:lnTo>
                    <a:pt x="893" y="808"/>
                  </a:lnTo>
                  <a:lnTo>
                    <a:pt x="879" y="782"/>
                  </a:lnTo>
                  <a:lnTo>
                    <a:pt x="841" y="742"/>
                  </a:lnTo>
                  <a:lnTo>
                    <a:pt x="791" y="688"/>
                  </a:lnTo>
                  <a:lnTo>
                    <a:pt x="749" y="648"/>
                  </a:lnTo>
                  <a:lnTo>
                    <a:pt x="754" y="648"/>
                  </a:lnTo>
                  <a:lnTo>
                    <a:pt x="754" y="643"/>
                  </a:lnTo>
                  <a:lnTo>
                    <a:pt x="749" y="648"/>
                  </a:lnTo>
                  <a:lnTo>
                    <a:pt x="732" y="631"/>
                  </a:lnTo>
                  <a:lnTo>
                    <a:pt x="737" y="643"/>
                  </a:lnTo>
                  <a:lnTo>
                    <a:pt x="728" y="631"/>
                  </a:lnTo>
                  <a:lnTo>
                    <a:pt x="728" y="610"/>
                  </a:lnTo>
                  <a:lnTo>
                    <a:pt x="728" y="610"/>
                  </a:lnTo>
                  <a:lnTo>
                    <a:pt x="728" y="615"/>
                  </a:lnTo>
                  <a:lnTo>
                    <a:pt x="716" y="615"/>
                  </a:lnTo>
                  <a:lnTo>
                    <a:pt x="711" y="598"/>
                  </a:lnTo>
                  <a:lnTo>
                    <a:pt x="728" y="610"/>
                  </a:lnTo>
                  <a:lnTo>
                    <a:pt x="728" y="598"/>
                  </a:lnTo>
                  <a:lnTo>
                    <a:pt x="699" y="593"/>
                  </a:lnTo>
                  <a:lnTo>
                    <a:pt x="695" y="586"/>
                  </a:lnTo>
                  <a:lnTo>
                    <a:pt x="678" y="577"/>
                  </a:lnTo>
                  <a:lnTo>
                    <a:pt x="673" y="560"/>
                  </a:lnTo>
                  <a:lnTo>
                    <a:pt x="662" y="560"/>
                  </a:lnTo>
                  <a:lnTo>
                    <a:pt x="662" y="570"/>
                  </a:lnTo>
                  <a:lnTo>
                    <a:pt x="645" y="560"/>
                  </a:lnTo>
                  <a:lnTo>
                    <a:pt x="657" y="560"/>
                  </a:lnTo>
                  <a:lnTo>
                    <a:pt x="673" y="544"/>
                  </a:lnTo>
                  <a:lnTo>
                    <a:pt x="645" y="560"/>
                  </a:lnTo>
                  <a:lnTo>
                    <a:pt x="631" y="544"/>
                  </a:lnTo>
                  <a:lnTo>
                    <a:pt x="624" y="532"/>
                  </a:lnTo>
                  <a:lnTo>
                    <a:pt x="640" y="504"/>
                  </a:lnTo>
                  <a:lnTo>
                    <a:pt x="645" y="515"/>
                  </a:lnTo>
                  <a:lnTo>
                    <a:pt x="645" y="504"/>
                  </a:lnTo>
                  <a:lnTo>
                    <a:pt x="624" y="475"/>
                  </a:lnTo>
                  <a:lnTo>
                    <a:pt x="619" y="466"/>
                  </a:lnTo>
                  <a:lnTo>
                    <a:pt x="603" y="475"/>
                  </a:lnTo>
                  <a:lnTo>
                    <a:pt x="586" y="442"/>
                  </a:lnTo>
                  <a:lnTo>
                    <a:pt x="565" y="442"/>
                  </a:lnTo>
                  <a:lnTo>
                    <a:pt x="548" y="426"/>
                  </a:lnTo>
                  <a:lnTo>
                    <a:pt x="539" y="404"/>
                  </a:lnTo>
                  <a:lnTo>
                    <a:pt x="548" y="388"/>
                  </a:lnTo>
                  <a:lnTo>
                    <a:pt x="532" y="376"/>
                  </a:lnTo>
                  <a:lnTo>
                    <a:pt x="522" y="388"/>
                  </a:lnTo>
                  <a:lnTo>
                    <a:pt x="510" y="376"/>
                  </a:lnTo>
                  <a:lnTo>
                    <a:pt x="484" y="350"/>
                  </a:lnTo>
                  <a:lnTo>
                    <a:pt x="468" y="338"/>
                  </a:lnTo>
                  <a:lnTo>
                    <a:pt x="458" y="310"/>
                  </a:lnTo>
                  <a:lnTo>
                    <a:pt x="430" y="298"/>
                  </a:lnTo>
                  <a:lnTo>
                    <a:pt x="430" y="265"/>
                  </a:lnTo>
                  <a:lnTo>
                    <a:pt x="414" y="260"/>
                  </a:lnTo>
                  <a:lnTo>
                    <a:pt x="414" y="260"/>
                  </a:lnTo>
                  <a:lnTo>
                    <a:pt x="392" y="222"/>
                  </a:lnTo>
                  <a:lnTo>
                    <a:pt x="392" y="199"/>
                  </a:lnTo>
                  <a:lnTo>
                    <a:pt x="371" y="166"/>
                  </a:lnTo>
                  <a:lnTo>
                    <a:pt x="371" y="116"/>
                  </a:lnTo>
                  <a:lnTo>
                    <a:pt x="333" y="111"/>
                  </a:lnTo>
                  <a:lnTo>
                    <a:pt x="333" y="95"/>
                  </a:lnTo>
                  <a:lnTo>
                    <a:pt x="307" y="88"/>
                  </a:lnTo>
                  <a:lnTo>
                    <a:pt x="300" y="100"/>
                  </a:lnTo>
                  <a:lnTo>
                    <a:pt x="291" y="95"/>
                  </a:lnTo>
                  <a:lnTo>
                    <a:pt x="232" y="60"/>
                  </a:lnTo>
                  <a:lnTo>
                    <a:pt x="253" y="88"/>
                  </a:lnTo>
                  <a:lnTo>
                    <a:pt x="248" y="128"/>
                  </a:lnTo>
                  <a:lnTo>
                    <a:pt x="253" y="145"/>
                  </a:lnTo>
                  <a:lnTo>
                    <a:pt x="262" y="204"/>
                  </a:lnTo>
                  <a:lnTo>
                    <a:pt x="269" y="222"/>
                  </a:lnTo>
                  <a:lnTo>
                    <a:pt x="333" y="277"/>
                  </a:lnTo>
                  <a:lnTo>
                    <a:pt x="338" y="310"/>
                  </a:lnTo>
                  <a:lnTo>
                    <a:pt x="345" y="298"/>
                  </a:lnTo>
                  <a:lnTo>
                    <a:pt x="354" y="310"/>
                  </a:lnTo>
                  <a:lnTo>
                    <a:pt x="359" y="310"/>
                  </a:lnTo>
                  <a:lnTo>
                    <a:pt x="371" y="338"/>
                  </a:lnTo>
                  <a:lnTo>
                    <a:pt x="388" y="338"/>
                  </a:lnTo>
                  <a:lnTo>
                    <a:pt x="388" y="355"/>
                  </a:lnTo>
                  <a:lnTo>
                    <a:pt x="392" y="371"/>
                  </a:lnTo>
                  <a:lnTo>
                    <a:pt x="392" y="388"/>
                  </a:lnTo>
                  <a:lnTo>
                    <a:pt x="409" y="404"/>
                  </a:lnTo>
                  <a:lnTo>
                    <a:pt x="425" y="409"/>
                  </a:lnTo>
                  <a:lnTo>
                    <a:pt x="458" y="475"/>
                  </a:lnTo>
                  <a:lnTo>
                    <a:pt x="463" y="487"/>
                  </a:lnTo>
                  <a:lnTo>
                    <a:pt x="468" y="482"/>
                  </a:lnTo>
                  <a:lnTo>
                    <a:pt x="458" y="466"/>
                  </a:lnTo>
                  <a:lnTo>
                    <a:pt x="458" y="459"/>
                  </a:lnTo>
                  <a:lnTo>
                    <a:pt x="480" y="475"/>
                  </a:lnTo>
                  <a:lnTo>
                    <a:pt x="480" y="482"/>
                  </a:lnTo>
                  <a:lnTo>
                    <a:pt x="484" y="504"/>
                  </a:lnTo>
                  <a:lnTo>
                    <a:pt x="496" y="544"/>
                  </a:lnTo>
                  <a:lnTo>
                    <a:pt x="501" y="560"/>
                  </a:lnTo>
                  <a:lnTo>
                    <a:pt x="517" y="570"/>
                  </a:lnTo>
                  <a:lnTo>
                    <a:pt x="522" y="593"/>
                  </a:lnTo>
                  <a:lnTo>
                    <a:pt x="539" y="615"/>
                  </a:lnTo>
                  <a:lnTo>
                    <a:pt x="532" y="643"/>
                  </a:lnTo>
                  <a:lnTo>
                    <a:pt x="539" y="655"/>
                  </a:lnTo>
                  <a:lnTo>
                    <a:pt x="565" y="664"/>
                  </a:lnTo>
                  <a:lnTo>
                    <a:pt x="555" y="664"/>
                  </a:lnTo>
                  <a:lnTo>
                    <a:pt x="565" y="671"/>
                  </a:lnTo>
                  <a:lnTo>
                    <a:pt x="569" y="664"/>
                  </a:lnTo>
                  <a:lnTo>
                    <a:pt x="565" y="655"/>
                  </a:lnTo>
                  <a:lnTo>
                    <a:pt x="569" y="655"/>
                  </a:lnTo>
                  <a:lnTo>
                    <a:pt x="603" y="681"/>
                  </a:lnTo>
                  <a:lnTo>
                    <a:pt x="607" y="704"/>
                  </a:lnTo>
                  <a:lnTo>
                    <a:pt x="624" y="721"/>
                  </a:lnTo>
                  <a:lnTo>
                    <a:pt x="619" y="754"/>
                  </a:lnTo>
                  <a:lnTo>
                    <a:pt x="593" y="766"/>
                  </a:lnTo>
                  <a:lnTo>
                    <a:pt x="586" y="766"/>
                  </a:lnTo>
                  <a:lnTo>
                    <a:pt x="565" y="709"/>
                  </a:lnTo>
                  <a:lnTo>
                    <a:pt x="484" y="655"/>
                  </a:lnTo>
                  <a:lnTo>
                    <a:pt x="468" y="643"/>
                  </a:lnTo>
                  <a:lnTo>
                    <a:pt x="463" y="643"/>
                  </a:lnTo>
                  <a:lnTo>
                    <a:pt x="447" y="626"/>
                  </a:lnTo>
                  <a:lnTo>
                    <a:pt x="442" y="626"/>
                  </a:lnTo>
                  <a:lnTo>
                    <a:pt x="442" y="598"/>
                  </a:lnTo>
                  <a:lnTo>
                    <a:pt x="430" y="615"/>
                  </a:lnTo>
                  <a:lnTo>
                    <a:pt x="442" y="560"/>
                  </a:lnTo>
                  <a:lnTo>
                    <a:pt x="442" y="570"/>
                  </a:lnTo>
                  <a:lnTo>
                    <a:pt x="442" y="544"/>
                  </a:lnTo>
                  <a:lnTo>
                    <a:pt x="414" y="504"/>
                  </a:lnTo>
                  <a:lnTo>
                    <a:pt x="397" y="504"/>
                  </a:lnTo>
                  <a:lnTo>
                    <a:pt x="359" y="475"/>
                  </a:lnTo>
                  <a:lnTo>
                    <a:pt x="371" y="459"/>
                  </a:lnTo>
                  <a:lnTo>
                    <a:pt x="354" y="466"/>
                  </a:lnTo>
                  <a:lnTo>
                    <a:pt x="345" y="466"/>
                  </a:lnTo>
                  <a:lnTo>
                    <a:pt x="333" y="475"/>
                  </a:lnTo>
                  <a:lnTo>
                    <a:pt x="317" y="449"/>
                  </a:lnTo>
                  <a:lnTo>
                    <a:pt x="307" y="449"/>
                  </a:lnTo>
                  <a:lnTo>
                    <a:pt x="291" y="442"/>
                  </a:lnTo>
                  <a:lnTo>
                    <a:pt x="269" y="433"/>
                  </a:lnTo>
                  <a:lnTo>
                    <a:pt x="269" y="421"/>
                  </a:lnTo>
                  <a:lnTo>
                    <a:pt x="236" y="393"/>
                  </a:lnTo>
                  <a:lnTo>
                    <a:pt x="232" y="388"/>
                  </a:lnTo>
                  <a:lnTo>
                    <a:pt x="307" y="393"/>
                  </a:lnTo>
                  <a:lnTo>
                    <a:pt x="300" y="393"/>
                  </a:lnTo>
                  <a:lnTo>
                    <a:pt x="291" y="393"/>
                  </a:lnTo>
                  <a:lnTo>
                    <a:pt x="286" y="388"/>
                  </a:lnTo>
                  <a:lnTo>
                    <a:pt x="291" y="371"/>
                  </a:lnTo>
                  <a:lnTo>
                    <a:pt x="300" y="331"/>
                  </a:lnTo>
                  <a:lnTo>
                    <a:pt x="236" y="265"/>
                  </a:lnTo>
                  <a:lnTo>
                    <a:pt x="225" y="260"/>
                  </a:lnTo>
                  <a:lnTo>
                    <a:pt x="182" y="239"/>
                  </a:lnTo>
                  <a:lnTo>
                    <a:pt x="177" y="187"/>
                  </a:lnTo>
                  <a:lnTo>
                    <a:pt x="173" y="182"/>
                  </a:lnTo>
                  <a:lnTo>
                    <a:pt x="173" y="187"/>
                  </a:lnTo>
                  <a:lnTo>
                    <a:pt x="161" y="182"/>
                  </a:lnTo>
                  <a:lnTo>
                    <a:pt x="161" y="154"/>
                  </a:lnTo>
                  <a:lnTo>
                    <a:pt x="144" y="145"/>
                  </a:lnTo>
                  <a:lnTo>
                    <a:pt x="140" y="116"/>
                  </a:lnTo>
                  <a:lnTo>
                    <a:pt x="118" y="95"/>
                  </a:lnTo>
                  <a:lnTo>
                    <a:pt x="123" y="71"/>
                  </a:lnTo>
                  <a:lnTo>
                    <a:pt x="106" y="60"/>
                  </a:lnTo>
                  <a:lnTo>
                    <a:pt x="85" y="17"/>
                  </a:lnTo>
                  <a:lnTo>
                    <a:pt x="253" y="0"/>
                  </a:lnTo>
                  <a:lnTo>
                    <a:pt x="248" y="17"/>
                  </a:lnTo>
                  <a:lnTo>
                    <a:pt x="510" y="111"/>
                  </a:lnTo>
                  <a:lnTo>
                    <a:pt x="711" y="111"/>
                  </a:lnTo>
                  <a:lnTo>
                    <a:pt x="711" y="76"/>
                  </a:lnTo>
                  <a:lnTo>
                    <a:pt x="841" y="76"/>
                  </a:lnTo>
                  <a:lnTo>
                    <a:pt x="846" y="100"/>
                  </a:lnTo>
                  <a:lnTo>
                    <a:pt x="943" y="171"/>
                  </a:lnTo>
                  <a:lnTo>
                    <a:pt x="952" y="204"/>
                  </a:lnTo>
                  <a:lnTo>
                    <a:pt x="952" y="222"/>
                  </a:lnTo>
                  <a:lnTo>
                    <a:pt x="969" y="244"/>
                  </a:lnTo>
                  <a:lnTo>
                    <a:pt x="1002" y="265"/>
                  </a:lnTo>
                  <a:lnTo>
                    <a:pt x="1051" y="293"/>
                  </a:lnTo>
                  <a:lnTo>
                    <a:pt x="1061" y="298"/>
                  </a:lnTo>
                  <a:lnTo>
                    <a:pt x="1089" y="277"/>
                  </a:lnTo>
                  <a:lnTo>
                    <a:pt x="1103" y="239"/>
                  </a:lnTo>
                  <a:lnTo>
                    <a:pt x="1125" y="227"/>
                  </a:lnTo>
                  <a:lnTo>
                    <a:pt x="1141" y="239"/>
                  </a:lnTo>
                  <a:lnTo>
                    <a:pt x="1186" y="239"/>
                  </a:lnTo>
                  <a:lnTo>
                    <a:pt x="1195" y="244"/>
                  </a:lnTo>
                  <a:lnTo>
                    <a:pt x="1238" y="282"/>
                  </a:lnTo>
                  <a:lnTo>
                    <a:pt x="1266" y="355"/>
                  </a:lnTo>
                  <a:lnTo>
                    <a:pt x="1276" y="367"/>
                  </a:lnTo>
                  <a:lnTo>
                    <a:pt x="1292" y="393"/>
                  </a:lnTo>
                  <a:lnTo>
                    <a:pt x="1321" y="409"/>
                  </a:lnTo>
                  <a:lnTo>
                    <a:pt x="1325" y="449"/>
                  </a:lnTo>
                  <a:lnTo>
                    <a:pt x="1342" y="466"/>
                  </a:lnTo>
                  <a:lnTo>
                    <a:pt x="1347" y="499"/>
                  </a:lnTo>
                  <a:lnTo>
                    <a:pt x="1396" y="515"/>
                  </a:lnTo>
                  <a:lnTo>
                    <a:pt x="1410" y="520"/>
                  </a:lnTo>
                  <a:lnTo>
                    <a:pt x="1448" y="532"/>
                  </a:lnTo>
                  <a:lnTo>
                    <a:pt x="1465" y="537"/>
                  </a:lnTo>
                  <a:lnTo>
                    <a:pt x="1486" y="532"/>
                  </a:lnTo>
                  <a:lnTo>
                    <a:pt x="1448" y="643"/>
                  </a:lnTo>
                  <a:lnTo>
                    <a:pt x="1439" y="766"/>
                  </a:lnTo>
                  <a:lnTo>
                    <a:pt x="1434" y="792"/>
                  </a:lnTo>
                  <a:lnTo>
                    <a:pt x="1448" y="837"/>
                  </a:lnTo>
                  <a:lnTo>
                    <a:pt x="1472" y="870"/>
                  </a:lnTo>
                  <a:lnTo>
                    <a:pt x="1465" y="886"/>
                  </a:lnTo>
                  <a:lnTo>
                    <a:pt x="1465" y="882"/>
                  </a:lnTo>
                  <a:lnTo>
                    <a:pt x="1472" y="870"/>
                  </a:lnTo>
                  <a:lnTo>
                    <a:pt x="1439" y="832"/>
                  </a:lnTo>
                  <a:lnTo>
                    <a:pt x="1448" y="865"/>
                  </a:lnTo>
                  <a:lnTo>
                    <a:pt x="1486" y="936"/>
                  </a:lnTo>
                  <a:lnTo>
                    <a:pt x="1536" y="997"/>
                  </a:lnTo>
                  <a:lnTo>
                    <a:pt x="1545" y="1037"/>
                  </a:lnTo>
                  <a:lnTo>
                    <a:pt x="1573" y="1059"/>
                  </a:lnTo>
                  <a:lnTo>
                    <a:pt x="1573" y="1071"/>
                  </a:lnTo>
                  <a:lnTo>
                    <a:pt x="1578" y="1075"/>
                  </a:lnTo>
                  <a:lnTo>
                    <a:pt x="1628" y="1087"/>
                  </a:lnTo>
                  <a:lnTo>
                    <a:pt x="1632" y="1092"/>
                  </a:lnTo>
                  <a:lnTo>
                    <a:pt x="1649" y="1092"/>
                  </a:lnTo>
                  <a:lnTo>
                    <a:pt x="1670" y="1125"/>
                  </a:lnTo>
                  <a:lnTo>
                    <a:pt x="1720" y="1113"/>
                  </a:lnTo>
                  <a:lnTo>
                    <a:pt x="1734" y="1104"/>
                  </a:lnTo>
                  <a:lnTo>
                    <a:pt x="1720" y="1108"/>
                  </a:lnTo>
                  <a:lnTo>
                    <a:pt x="1734" y="1104"/>
                  </a:lnTo>
                  <a:lnTo>
                    <a:pt x="1762" y="1104"/>
                  </a:lnTo>
                  <a:lnTo>
                    <a:pt x="1762" y="1108"/>
                  </a:lnTo>
                  <a:lnTo>
                    <a:pt x="1805" y="1087"/>
                  </a:lnTo>
                  <a:lnTo>
                    <a:pt x="1847" y="1075"/>
                  </a:lnTo>
                  <a:lnTo>
                    <a:pt x="1859" y="1087"/>
                  </a:lnTo>
                  <a:lnTo>
                    <a:pt x="1843" y="1092"/>
                  </a:lnTo>
                  <a:lnTo>
                    <a:pt x="1859" y="1092"/>
                  </a:lnTo>
                  <a:lnTo>
                    <a:pt x="1859" y="1108"/>
                  </a:lnTo>
                  <a:lnTo>
                    <a:pt x="1864" y="1104"/>
                  </a:lnTo>
                  <a:lnTo>
                    <a:pt x="1880" y="1104"/>
                  </a:lnTo>
                  <a:lnTo>
                    <a:pt x="1885" y="1092"/>
                  </a:lnTo>
                  <a:lnTo>
                    <a:pt x="1902" y="1087"/>
                  </a:lnTo>
                  <a:lnTo>
                    <a:pt x="1885" y="1075"/>
                  </a:lnTo>
                  <a:lnTo>
                    <a:pt x="1897" y="1071"/>
                  </a:lnTo>
                  <a:lnTo>
                    <a:pt x="1885" y="1071"/>
                  </a:lnTo>
                  <a:lnTo>
                    <a:pt x="1935" y="1037"/>
                  </a:lnTo>
                  <a:lnTo>
                    <a:pt x="1940" y="1002"/>
                  </a:lnTo>
                  <a:lnTo>
                    <a:pt x="1956" y="993"/>
                  </a:lnTo>
                  <a:lnTo>
                    <a:pt x="1951" y="943"/>
                  </a:lnTo>
                  <a:lnTo>
                    <a:pt x="1965" y="910"/>
                  </a:lnTo>
                  <a:lnTo>
                    <a:pt x="1994" y="886"/>
                  </a:lnTo>
                  <a:lnTo>
                    <a:pt x="2065" y="882"/>
                  </a:lnTo>
                  <a:lnTo>
                    <a:pt x="2095" y="870"/>
                  </a:lnTo>
                  <a:lnTo>
                    <a:pt x="2128" y="865"/>
                  </a:lnTo>
                  <a:lnTo>
                    <a:pt x="2183" y="882"/>
                  </a:lnTo>
                  <a:lnTo>
                    <a:pt x="2188" y="870"/>
                  </a:lnTo>
                  <a:lnTo>
                    <a:pt x="2166" y="870"/>
                  </a:lnTo>
                  <a:lnTo>
                    <a:pt x="2192" y="865"/>
                  </a:lnTo>
                  <a:lnTo>
                    <a:pt x="2209" y="882"/>
                  </a:lnTo>
                  <a:lnTo>
                    <a:pt x="2209" y="893"/>
                  </a:lnTo>
                  <a:lnTo>
                    <a:pt x="2204" y="926"/>
                  </a:lnTo>
                  <a:lnTo>
                    <a:pt x="2166" y="964"/>
                  </a:lnTo>
                  <a:lnTo>
                    <a:pt x="2166" y="997"/>
                  </a:lnTo>
                  <a:lnTo>
                    <a:pt x="2166" y="993"/>
                  </a:lnTo>
                  <a:lnTo>
                    <a:pt x="2154" y="997"/>
                  </a:lnTo>
                  <a:lnTo>
                    <a:pt x="2138" y="1002"/>
                  </a:lnTo>
                  <a:lnTo>
                    <a:pt x="2150" y="1021"/>
                  </a:lnTo>
                  <a:lnTo>
                    <a:pt x="2166" y="1014"/>
                  </a:lnTo>
                  <a:lnTo>
                    <a:pt x="2166" y="1030"/>
                  </a:lnTo>
                  <a:lnTo>
                    <a:pt x="2150" y="1037"/>
                  </a:lnTo>
                  <a:lnTo>
                    <a:pt x="2150" y="1047"/>
                  </a:lnTo>
                  <a:lnTo>
                    <a:pt x="2166" y="1037"/>
                  </a:lnTo>
                  <a:lnTo>
                    <a:pt x="2133" y="1113"/>
                  </a:lnTo>
                  <a:lnTo>
                    <a:pt x="2133" y="1104"/>
                  </a:lnTo>
                  <a:lnTo>
                    <a:pt x="2117" y="1092"/>
                  </a:lnTo>
                  <a:lnTo>
                    <a:pt x="2128" y="1087"/>
                  </a:lnTo>
                  <a:lnTo>
                    <a:pt x="2128" y="1071"/>
                  </a:lnTo>
                  <a:lnTo>
                    <a:pt x="2103" y="1104"/>
                  </a:lnTo>
                  <a:lnTo>
                    <a:pt x="2103" y="1104"/>
                  </a:lnTo>
                  <a:lnTo>
                    <a:pt x="2103" y="1104"/>
                  </a:lnTo>
                  <a:close/>
                  <a:moveTo>
                    <a:pt x="359" y="293"/>
                  </a:moveTo>
                  <a:lnTo>
                    <a:pt x="333" y="260"/>
                  </a:lnTo>
                  <a:lnTo>
                    <a:pt x="333" y="256"/>
                  </a:lnTo>
                  <a:lnTo>
                    <a:pt x="345" y="260"/>
                  </a:lnTo>
                  <a:lnTo>
                    <a:pt x="345" y="265"/>
                  </a:lnTo>
                  <a:lnTo>
                    <a:pt x="359" y="277"/>
                  </a:lnTo>
                  <a:lnTo>
                    <a:pt x="359" y="293"/>
                  </a:lnTo>
                  <a:lnTo>
                    <a:pt x="359" y="293"/>
                  </a:lnTo>
                  <a:lnTo>
                    <a:pt x="359" y="293"/>
                  </a:lnTo>
                  <a:close/>
                  <a:moveTo>
                    <a:pt x="425" y="315"/>
                  </a:moveTo>
                  <a:lnTo>
                    <a:pt x="409" y="310"/>
                  </a:lnTo>
                  <a:lnTo>
                    <a:pt x="414" y="282"/>
                  </a:lnTo>
                  <a:lnTo>
                    <a:pt x="425" y="277"/>
                  </a:lnTo>
                  <a:lnTo>
                    <a:pt x="430" y="298"/>
                  </a:lnTo>
                  <a:lnTo>
                    <a:pt x="425" y="315"/>
                  </a:lnTo>
                  <a:lnTo>
                    <a:pt x="425" y="315"/>
                  </a:lnTo>
                  <a:lnTo>
                    <a:pt x="425" y="315"/>
                  </a:lnTo>
                  <a:close/>
                  <a:moveTo>
                    <a:pt x="0" y="298"/>
                  </a:moveTo>
                  <a:lnTo>
                    <a:pt x="0" y="282"/>
                  </a:lnTo>
                  <a:lnTo>
                    <a:pt x="0" y="282"/>
                  </a:lnTo>
                  <a:lnTo>
                    <a:pt x="10" y="293"/>
                  </a:lnTo>
                  <a:lnTo>
                    <a:pt x="0" y="298"/>
                  </a:lnTo>
                  <a:lnTo>
                    <a:pt x="0" y="298"/>
                  </a:lnTo>
                  <a:lnTo>
                    <a:pt x="0" y="298"/>
                  </a:lnTo>
                  <a:close/>
                  <a:moveTo>
                    <a:pt x="225" y="371"/>
                  </a:moveTo>
                  <a:lnTo>
                    <a:pt x="215" y="367"/>
                  </a:lnTo>
                  <a:lnTo>
                    <a:pt x="215" y="350"/>
                  </a:lnTo>
                  <a:lnTo>
                    <a:pt x="225" y="367"/>
                  </a:lnTo>
                  <a:lnTo>
                    <a:pt x="225" y="371"/>
                  </a:lnTo>
                  <a:lnTo>
                    <a:pt x="225" y="371"/>
                  </a:lnTo>
                  <a:lnTo>
                    <a:pt x="225" y="371"/>
                  </a:lnTo>
                  <a:close/>
                  <a:moveTo>
                    <a:pt x="501" y="544"/>
                  </a:moveTo>
                  <a:lnTo>
                    <a:pt x="501" y="532"/>
                  </a:lnTo>
                  <a:lnTo>
                    <a:pt x="510" y="520"/>
                  </a:lnTo>
                  <a:lnTo>
                    <a:pt x="501" y="544"/>
                  </a:lnTo>
                  <a:lnTo>
                    <a:pt x="501" y="544"/>
                  </a:lnTo>
                  <a:lnTo>
                    <a:pt x="501" y="544"/>
                  </a:lnTo>
                  <a:close/>
                  <a:moveTo>
                    <a:pt x="442" y="586"/>
                  </a:moveTo>
                  <a:lnTo>
                    <a:pt x="430" y="615"/>
                  </a:lnTo>
                  <a:lnTo>
                    <a:pt x="442" y="643"/>
                  </a:lnTo>
                  <a:lnTo>
                    <a:pt x="430" y="615"/>
                  </a:lnTo>
                  <a:lnTo>
                    <a:pt x="442" y="586"/>
                  </a:lnTo>
                  <a:lnTo>
                    <a:pt x="442" y="586"/>
                  </a:lnTo>
                  <a:lnTo>
                    <a:pt x="442" y="586"/>
                  </a:lnTo>
                  <a:close/>
                  <a:moveTo>
                    <a:pt x="539" y="598"/>
                  </a:moveTo>
                  <a:lnTo>
                    <a:pt x="548" y="598"/>
                  </a:lnTo>
                  <a:lnTo>
                    <a:pt x="548" y="615"/>
                  </a:lnTo>
                  <a:lnTo>
                    <a:pt x="539" y="610"/>
                  </a:lnTo>
                  <a:lnTo>
                    <a:pt x="539" y="598"/>
                  </a:lnTo>
                  <a:lnTo>
                    <a:pt x="539" y="598"/>
                  </a:lnTo>
                  <a:lnTo>
                    <a:pt x="539" y="598"/>
                  </a:lnTo>
                  <a:close/>
                  <a:moveTo>
                    <a:pt x="463" y="655"/>
                  </a:moveTo>
                  <a:lnTo>
                    <a:pt x="447" y="643"/>
                  </a:lnTo>
                  <a:lnTo>
                    <a:pt x="458" y="643"/>
                  </a:lnTo>
                  <a:lnTo>
                    <a:pt x="463" y="655"/>
                  </a:lnTo>
                  <a:lnTo>
                    <a:pt x="463" y="655"/>
                  </a:lnTo>
                  <a:lnTo>
                    <a:pt x="463" y="655"/>
                  </a:lnTo>
                  <a:close/>
                  <a:moveTo>
                    <a:pt x="825" y="870"/>
                  </a:moveTo>
                  <a:lnTo>
                    <a:pt x="817" y="853"/>
                  </a:lnTo>
                  <a:lnTo>
                    <a:pt x="834" y="853"/>
                  </a:lnTo>
                  <a:lnTo>
                    <a:pt x="834" y="870"/>
                  </a:lnTo>
                  <a:lnTo>
                    <a:pt x="825" y="870"/>
                  </a:lnTo>
                  <a:lnTo>
                    <a:pt x="825" y="870"/>
                  </a:lnTo>
                  <a:lnTo>
                    <a:pt x="825" y="870"/>
                  </a:lnTo>
                  <a:close/>
                  <a:moveTo>
                    <a:pt x="841" y="882"/>
                  </a:moveTo>
                  <a:lnTo>
                    <a:pt x="834" y="882"/>
                  </a:lnTo>
                  <a:lnTo>
                    <a:pt x="841" y="870"/>
                  </a:lnTo>
                  <a:lnTo>
                    <a:pt x="841" y="882"/>
                  </a:lnTo>
                  <a:lnTo>
                    <a:pt x="841" y="882"/>
                  </a:lnTo>
                  <a:lnTo>
                    <a:pt x="841" y="882"/>
                  </a:lnTo>
                  <a:close/>
                  <a:moveTo>
                    <a:pt x="855" y="886"/>
                  </a:moveTo>
                  <a:lnTo>
                    <a:pt x="846" y="886"/>
                  </a:lnTo>
                  <a:lnTo>
                    <a:pt x="855" y="886"/>
                  </a:lnTo>
                  <a:lnTo>
                    <a:pt x="855" y="886"/>
                  </a:lnTo>
                  <a:lnTo>
                    <a:pt x="855" y="886"/>
                  </a:lnTo>
                  <a:lnTo>
                    <a:pt x="855" y="886"/>
                  </a:lnTo>
                  <a:close/>
                  <a:moveTo>
                    <a:pt x="2192" y="964"/>
                  </a:moveTo>
                  <a:lnTo>
                    <a:pt x="2204" y="943"/>
                  </a:lnTo>
                  <a:lnTo>
                    <a:pt x="2209" y="943"/>
                  </a:lnTo>
                  <a:lnTo>
                    <a:pt x="2192" y="964"/>
                  </a:lnTo>
                  <a:lnTo>
                    <a:pt x="2192" y="964"/>
                  </a:lnTo>
                  <a:lnTo>
                    <a:pt x="2192" y="964"/>
                  </a:lnTo>
                  <a:close/>
                  <a:moveTo>
                    <a:pt x="517" y="1075"/>
                  </a:moveTo>
                  <a:lnTo>
                    <a:pt x="510" y="1075"/>
                  </a:lnTo>
                  <a:lnTo>
                    <a:pt x="517" y="1071"/>
                  </a:lnTo>
                  <a:lnTo>
                    <a:pt x="522" y="1075"/>
                  </a:lnTo>
                  <a:lnTo>
                    <a:pt x="517" y="1075"/>
                  </a:lnTo>
                  <a:lnTo>
                    <a:pt x="517" y="1075"/>
                  </a:lnTo>
                  <a:lnTo>
                    <a:pt x="517" y="1075"/>
                  </a:lnTo>
                  <a:close/>
                </a:path>
              </a:pathLst>
            </a:custGeom>
            <a:pattFill prst="lt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5" name="Freeform 515">
              <a:extLst>
                <a:ext uri="{FF2B5EF4-FFF2-40B4-BE49-F238E27FC236}">
                  <a16:creationId xmlns:a16="http://schemas.microsoft.com/office/drawing/2014/main" id="{BBEB0679-388C-42CE-8FC8-BEF0CA398EB7}"/>
                </a:ext>
              </a:extLst>
            </p:cNvPr>
            <p:cNvSpPr>
              <a:spLocks noEditPoints="1"/>
            </p:cNvSpPr>
            <p:nvPr/>
          </p:nvSpPr>
          <p:spPr bwMode="gray">
            <a:xfrm>
              <a:off x="9232819" y="4342831"/>
              <a:ext cx="681445" cy="231134"/>
            </a:xfrm>
            <a:custGeom>
              <a:avLst/>
              <a:gdLst>
                <a:gd name="T0" fmla="*/ 1205 w 1377"/>
                <a:gd name="T1" fmla="*/ 4 h 467"/>
                <a:gd name="T2" fmla="*/ 1238 w 1377"/>
                <a:gd name="T3" fmla="*/ 0 h 467"/>
                <a:gd name="T4" fmla="*/ 1233 w 1377"/>
                <a:gd name="T5" fmla="*/ 0 h 467"/>
                <a:gd name="T6" fmla="*/ 1184 w 1377"/>
                <a:gd name="T7" fmla="*/ 222 h 467"/>
                <a:gd name="T8" fmla="*/ 1125 w 1377"/>
                <a:gd name="T9" fmla="*/ 226 h 467"/>
                <a:gd name="T10" fmla="*/ 1099 w 1377"/>
                <a:gd name="T11" fmla="*/ 304 h 467"/>
                <a:gd name="T12" fmla="*/ 1070 w 1377"/>
                <a:gd name="T13" fmla="*/ 361 h 467"/>
                <a:gd name="T14" fmla="*/ 1037 w 1377"/>
                <a:gd name="T15" fmla="*/ 415 h 467"/>
                <a:gd name="T16" fmla="*/ 936 w 1377"/>
                <a:gd name="T17" fmla="*/ 411 h 467"/>
                <a:gd name="T18" fmla="*/ 865 w 1377"/>
                <a:gd name="T19" fmla="*/ 444 h 467"/>
                <a:gd name="T20" fmla="*/ 704 w 1377"/>
                <a:gd name="T21" fmla="*/ 411 h 467"/>
                <a:gd name="T22" fmla="*/ 718 w 1377"/>
                <a:gd name="T23" fmla="*/ 406 h 467"/>
                <a:gd name="T24" fmla="*/ 784 w 1377"/>
                <a:gd name="T25" fmla="*/ 415 h 467"/>
                <a:gd name="T26" fmla="*/ 827 w 1377"/>
                <a:gd name="T27" fmla="*/ 427 h 467"/>
                <a:gd name="T28" fmla="*/ 822 w 1377"/>
                <a:gd name="T29" fmla="*/ 373 h 467"/>
                <a:gd name="T30" fmla="*/ 827 w 1377"/>
                <a:gd name="T31" fmla="*/ 333 h 467"/>
                <a:gd name="T32" fmla="*/ 1006 w 1377"/>
                <a:gd name="T33" fmla="*/ 193 h 467"/>
                <a:gd name="T34" fmla="*/ 1070 w 1377"/>
                <a:gd name="T35" fmla="*/ 226 h 467"/>
                <a:gd name="T36" fmla="*/ 1082 w 1377"/>
                <a:gd name="T37" fmla="*/ 181 h 467"/>
                <a:gd name="T38" fmla="*/ 1091 w 1377"/>
                <a:gd name="T39" fmla="*/ 172 h 467"/>
                <a:gd name="T40" fmla="*/ 1108 w 1377"/>
                <a:gd name="T41" fmla="*/ 139 h 467"/>
                <a:gd name="T42" fmla="*/ 1151 w 1377"/>
                <a:gd name="T43" fmla="*/ 99 h 467"/>
                <a:gd name="T44" fmla="*/ 1205 w 1377"/>
                <a:gd name="T45" fmla="*/ 25 h 467"/>
                <a:gd name="T46" fmla="*/ 1238 w 1377"/>
                <a:gd name="T47" fmla="*/ 44 h 467"/>
                <a:gd name="T48" fmla="*/ 1259 w 1377"/>
                <a:gd name="T49" fmla="*/ 77 h 467"/>
                <a:gd name="T50" fmla="*/ 1292 w 1377"/>
                <a:gd name="T51" fmla="*/ 82 h 467"/>
                <a:gd name="T52" fmla="*/ 1314 w 1377"/>
                <a:gd name="T53" fmla="*/ 111 h 467"/>
                <a:gd name="T54" fmla="*/ 1377 w 1377"/>
                <a:gd name="T55" fmla="*/ 155 h 467"/>
                <a:gd name="T56" fmla="*/ 1297 w 1377"/>
                <a:gd name="T57" fmla="*/ 172 h 467"/>
                <a:gd name="T58" fmla="*/ 1330 w 1377"/>
                <a:gd name="T59" fmla="*/ 205 h 467"/>
                <a:gd name="T60" fmla="*/ 1271 w 1377"/>
                <a:gd name="T61" fmla="*/ 210 h 467"/>
                <a:gd name="T62" fmla="*/ 1243 w 1377"/>
                <a:gd name="T63" fmla="*/ 44 h 467"/>
                <a:gd name="T64" fmla="*/ 1243 w 1377"/>
                <a:gd name="T65" fmla="*/ 44 h 467"/>
                <a:gd name="T66" fmla="*/ 38 w 1377"/>
                <a:gd name="T67" fmla="*/ 44 h 467"/>
                <a:gd name="T68" fmla="*/ 83 w 1377"/>
                <a:gd name="T69" fmla="*/ 54 h 467"/>
                <a:gd name="T70" fmla="*/ 92 w 1377"/>
                <a:gd name="T71" fmla="*/ 111 h 467"/>
                <a:gd name="T72" fmla="*/ 158 w 1377"/>
                <a:gd name="T73" fmla="*/ 111 h 467"/>
                <a:gd name="T74" fmla="*/ 243 w 1377"/>
                <a:gd name="T75" fmla="*/ 132 h 467"/>
                <a:gd name="T76" fmla="*/ 272 w 1377"/>
                <a:gd name="T77" fmla="*/ 278 h 467"/>
                <a:gd name="T78" fmla="*/ 326 w 1377"/>
                <a:gd name="T79" fmla="*/ 406 h 467"/>
                <a:gd name="T80" fmla="*/ 303 w 1377"/>
                <a:gd name="T81" fmla="*/ 427 h 467"/>
                <a:gd name="T82" fmla="*/ 217 w 1377"/>
                <a:gd name="T83" fmla="*/ 394 h 467"/>
                <a:gd name="T84" fmla="*/ 121 w 1377"/>
                <a:gd name="T85" fmla="*/ 321 h 467"/>
                <a:gd name="T86" fmla="*/ 83 w 1377"/>
                <a:gd name="T87" fmla="*/ 250 h 467"/>
                <a:gd name="T88" fmla="*/ 88 w 1377"/>
                <a:gd name="T89" fmla="*/ 238 h 467"/>
                <a:gd name="T90" fmla="*/ 54 w 1377"/>
                <a:gd name="T91" fmla="*/ 148 h 467"/>
                <a:gd name="T92" fmla="*/ 33 w 1377"/>
                <a:gd name="T93" fmla="*/ 61 h 467"/>
                <a:gd name="T94" fmla="*/ 0 w 1377"/>
                <a:gd name="T95" fmla="*/ 61 h 467"/>
                <a:gd name="T96" fmla="*/ 50 w 1377"/>
                <a:gd name="T97" fmla="*/ 132 h 467"/>
                <a:gd name="T98" fmla="*/ 50 w 1377"/>
                <a:gd name="T99" fmla="*/ 132 h 467"/>
                <a:gd name="T100" fmla="*/ 1099 w 1377"/>
                <a:gd name="T101" fmla="*/ 139 h 467"/>
                <a:gd name="T102" fmla="*/ 1091 w 1377"/>
                <a:gd name="T103" fmla="*/ 148 h 467"/>
                <a:gd name="T104" fmla="*/ 1288 w 1377"/>
                <a:gd name="T105" fmla="*/ 226 h 467"/>
                <a:gd name="T106" fmla="*/ 822 w 1377"/>
                <a:gd name="T107" fmla="*/ 321 h 467"/>
                <a:gd name="T108" fmla="*/ 822 w 1377"/>
                <a:gd name="T109" fmla="*/ 349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77" h="467">
                  <a:moveTo>
                    <a:pt x="1205" y="4"/>
                  </a:moveTo>
                  <a:lnTo>
                    <a:pt x="1221" y="0"/>
                  </a:lnTo>
                  <a:lnTo>
                    <a:pt x="1221" y="0"/>
                  </a:lnTo>
                  <a:lnTo>
                    <a:pt x="1205" y="4"/>
                  </a:lnTo>
                  <a:lnTo>
                    <a:pt x="1205" y="4"/>
                  </a:lnTo>
                  <a:lnTo>
                    <a:pt x="1205" y="4"/>
                  </a:lnTo>
                  <a:close/>
                  <a:moveTo>
                    <a:pt x="1233" y="0"/>
                  </a:moveTo>
                  <a:lnTo>
                    <a:pt x="1238" y="0"/>
                  </a:lnTo>
                  <a:lnTo>
                    <a:pt x="1238" y="4"/>
                  </a:lnTo>
                  <a:lnTo>
                    <a:pt x="1221" y="16"/>
                  </a:lnTo>
                  <a:lnTo>
                    <a:pt x="1233" y="0"/>
                  </a:lnTo>
                  <a:lnTo>
                    <a:pt x="1233" y="0"/>
                  </a:lnTo>
                  <a:lnTo>
                    <a:pt x="1233" y="0"/>
                  </a:lnTo>
                  <a:close/>
                  <a:moveTo>
                    <a:pt x="1259" y="226"/>
                  </a:moveTo>
                  <a:lnTo>
                    <a:pt x="1238" y="210"/>
                  </a:lnTo>
                  <a:lnTo>
                    <a:pt x="1184" y="222"/>
                  </a:lnTo>
                  <a:lnTo>
                    <a:pt x="1162" y="210"/>
                  </a:lnTo>
                  <a:lnTo>
                    <a:pt x="1151" y="222"/>
                  </a:lnTo>
                  <a:lnTo>
                    <a:pt x="1136" y="210"/>
                  </a:lnTo>
                  <a:lnTo>
                    <a:pt x="1125" y="226"/>
                  </a:lnTo>
                  <a:lnTo>
                    <a:pt x="1125" y="259"/>
                  </a:lnTo>
                  <a:lnTo>
                    <a:pt x="1125" y="278"/>
                  </a:lnTo>
                  <a:lnTo>
                    <a:pt x="1113" y="304"/>
                  </a:lnTo>
                  <a:lnTo>
                    <a:pt x="1099" y="304"/>
                  </a:lnTo>
                  <a:lnTo>
                    <a:pt x="1091" y="316"/>
                  </a:lnTo>
                  <a:lnTo>
                    <a:pt x="1082" y="337"/>
                  </a:lnTo>
                  <a:lnTo>
                    <a:pt x="1099" y="349"/>
                  </a:lnTo>
                  <a:lnTo>
                    <a:pt x="1070" y="361"/>
                  </a:lnTo>
                  <a:lnTo>
                    <a:pt x="1070" y="389"/>
                  </a:lnTo>
                  <a:lnTo>
                    <a:pt x="1061" y="406"/>
                  </a:lnTo>
                  <a:lnTo>
                    <a:pt x="1054" y="427"/>
                  </a:lnTo>
                  <a:lnTo>
                    <a:pt x="1037" y="415"/>
                  </a:lnTo>
                  <a:lnTo>
                    <a:pt x="1006" y="415"/>
                  </a:lnTo>
                  <a:lnTo>
                    <a:pt x="985" y="434"/>
                  </a:lnTo>
                  <a:lnTo>
                    <a:pt x="947" y="427"/>
                  </a:lnTo>
                  <a:lnTo>
                    <a:pt x="936" y="411"/>
                  </a:lnTo>
                  <a:lnTo>
                    <a:pt x="898" y="411"/>
                  </a:lnTo>
                  <a:lnTo>
                    <a:pt x="881" y="415"/>
                  </a:lnTo>
                  <a:lnTo>
                    <a:pt x="877" y="444"/>
                  </a:lnTo>
                  <a:lnTo>
                    <a:pt x="865" y="444"/>
                  </a:lnTo>
                  <a:lnTo>
                    <a:pt x="860" y="460"/>
                  </a:lnTo>
                  <a:lnTo>
                    <a:pt x="810" y="451"/>
                  </a:lnTo>
                  <a:lnTo>
                    <a:pt x="768" y="467"/>
                  </a:lnTo>
                  <a:lnTo>
                    <a:pt x="704" y="411"/>
                  </a:lnTo>
                  <a:lnTo>
                    <a:pt x="697" y="389"/>
                  </a:lnTo>
                  <a:lnTo>
                    <a:pt x="704" y="377"/>
                  </a:lnTo>
                  <a:lnTo>
                    <a:pt x="704" y="389"/>
                  </a:lnTo>
                  <a:lnTo>
                    <a:pt x="718" y="406"/>
                  </a:lnTo>
                  <a:lnTo>
                    <a:pt x="747" y="406"/>
                  </a:lnTo>
                  <a:lnTo>
                    <a:pt x="751" y="394"/>
                  </a:lnTo>
                  <a:lnTo>
                    <a:pt x="758" y="411"/>
                  </a:lnTo>
                  <a:lnTo>
                    <a:pt x="784" y="415"/>
                  </a:lnTo>
                  <a:lnTo>
                    <a:pt x="773" y="415"/>
                  </a:lnTo>
                  <a:lnTo>
                    <a:pt x="784" y="411"/>
                  </a:lnTo>
                  <a:lnTo>
                    <a:pt x="810" y="427"/>
                  </a:lnTo>
                  <a:lnTo>
                    <a:pt x="827" y="427"/>
                  </a:lnTo>
                  <a:lnTo>
                    <a:pt x="806" y="415"/>
                  </a:lnTo>
                  <a:lnTo>
                    <a:pt x="801" y="411"/>
                  </a:lnTo>
                  <a:lnTo>
                    <a:pt x="810" y="377"/>
                  </a:lnTo>
                  <a:lnTo>
                    <a:pt x="822" y="373"/>
                  </a:lnTo>
                  <a:lnTo>
                    <a:pt x="810" y="373"/>
                  </a:lnTo>
                  <a:lnTo>
                    <a:pt x="810" y="356"/>
                  </a:lnTo>
                  <a:lnTo>
                    <a:pt x="827" y="356"/>
                  </a:lnTo>
                  <a:lnTo>
                    <a:pt x="827" y="333"/>
                  </a:lnTo>
                  <a:lnTo>
                    <a:pt x="843" y="321"/>
                  </a:lnTo>
                  <a:lnTo>
                    <a:pt x="936" y="300"/>
                  </a:lnTo>
                  <a:lnTo>
                    <a:pt x="1006" y="222"/>
                  </a:lnTo>
                  <a:lnTo>
                    <a:pt x="1006" y="193"/>
                  </a:lnTo>
                  <a:lnTo>
                    <a:pt x="1016" y="193"/>
                  </a:lnTo>
                  <a:lnTo>
                    <a:pt x="1028" y="193"/>
                  </a:lnTo>
                  <a:lnTo>
                    <a:pt x="1054" y="238"/>
                  </a:lnTo>
                  <a:lnTo>
                    <a:pt x="1070" y="226"/>
                  </a:lnTo>
                  <a:lnTo>
                    <a:pt x="1070" y="210"/>
                  </a:lnTo>
                  <a:lnTo>
                    <a:pt x="1070" y="188"/>
                  </a:lnTo>
                  <a:lnTo>
                    <a:pt x="1082" y="172"/>
                  </a:lnTo>
                  <a:lnTo>
                    <a:pt x="1082" y="181"/>
                  </a:lnTo>
                  <a:lnTo>
                    <a:pt x="1082" y="210"/>
                  </a:lnTo>
                  <a:lnTo>
                    <a:pt x="1108" y="210"/>
                  </a:lnTo>
                  <a:lnTo>
                    <a:pt x="1091" y="172"/>
                  </a:lnTo>
                  <a:lnTo>
                    <a:pt x="1091" y="172"/>
                  </a:lnTo>
                  <a:lnTo>
                    <a:pt x="1108" y="172"/>
                  </a:lnTo>
                  <a:lnTo>
                    <a:pt x="1113" y="165"/>
                  </a:lnTo>
                  <a:lnTo>
                    <a:pt x="1125" y="148"/>
                  </a:lnTo>
                  <a:lnTo>
                    <a:pt x="1108" y="139"/>
                  </a:lnTo>
                  <a:lnTo>
                    <a:pt x="1108" y="132"/>
                  </a:lnTo>
                  <a:lnTo>
                    <a:pt x="1113" y="127"/>
                  </a:lnTo>
                  <a:lnTo>
                    <a:pt x="1136" y="127"/>
                  </a:lnTo>
                  <a:lnTo>
                    <a:pt x="1151" y="99"/>
                  </a:lnTo>
                  <a:lnTo>
                    <a:pt x="1162" y="82"/>
                  </a:lnTo>
                  <a:lnTo>
                    <a:pt x="1184" y="61"/>
                  </a:lnTo>
                  <a:lnTo>
                    <a:pt x="1200" y="21"/>
                  </a:lnTo>
                  <a:lnTo>
                    <a:pt x="1205" y="25"/>
                  </a:lnTo>
                  <a:lnTo>
                    <a:pt x="1205" y="54"/>
                  </a:lnTo>
                  <a:lnTo>
                    <a:pt x="1233" y="21"/>
                  </a:lnTo>
                  <a:lnTo>
                    <a:pt x="1238" y="21"/>
                  </a:lnTo>
                  <a:lnTo>
                    <a:pt x="1238" y="44"/>
                  </a:lnTo>
                  <a:lnTo>
                    <a:pt x="1271" y="54"/>
                  </a:lnTo>
                  <a:lnTo>
                    <a:pt x="1271" y="61"/>
                  </a:lnTo>
                  <a:lnTo>
                    <a:pt x="1271" y="77"/>
                  </a:lnTo>
                  <a:lnTo>
                    <a:pt x="1259" y="77"/>
                  </a:lnTo>
                  <a:lnTo>
                    <a:pt x="1271" y="94"/>
                  </a:lnTo>
                  <a:lnTo>
                    <a:pt x="1254" y="99"/>
                  </a:lnTo>
                  <a:lnTo>
                    <a:pt x="1276" y="99"/>
                  </a:lnTo>
                  <a:lnTo>
                    <a:pt x="1292" y="82"/>
                  </a:lnTo>
                  <a:lnTo>
                    <a:pt x="1297" y="99"/>
                  </a:lnTo>
                  <a:lnTo>
                    <a:pt x="1288" y="111"/>
                  </a:lnTo>
                  <a:lnTo>
                    <a:pt x="1288" y="115"/>
                  </a:lnTo>
                  <a:lnTo>
                    <a:pt x="1314" y="111"/>
                  </a:lnTo>
                  <a:lnTo>
                    <a:pt x="1351" y="132"/>
                  </a:lnTo>
                  <a:lnTo>
                    <a:pt x="1377" y="132"/>
                  </a:lnTo>
                  <a:lnTo>
                    <a:pt x="1377" y="139"/>
                  </a:lnTo>
                  <a:lnTo>
                    <a:pt x="1377" y="155"/>
                  </a:lnTo>
                  <a:lnTo>
                    <a:pt x="1363" y="155"/>
                  </a:lnTo>
                  <a:lnTo>
                    <a:pt x="1340" y="172"/>
                  </a:lnTo>
                  <a:lnTo>
                    <a:pt x="1314" y="165"/>
                  </a:lnTo>
                  <a:lnTo>
                    <a:pt x="1297" y="172"/>
                  </a:lnTo>
                  <a:lnTo>
                    <a:pt x="1309" y="188"/>
                  </a:lnTo>
                  <a:lnTo>
                    <a:pt x="1325" y="193"/>
                  </a:lnTo>
                  <a:lnTo>
                    <a:pt x="1325" y="205"/>
                  </a:lnTo>
                  <a:lnTo>
                    <a:pt x="1330" y="205"/>
                  </a:lnTo>
                  <a:lnTo>
                    <a:pt x="1340" y="205"/>
                  </a:lnTo>
                  <a:lnTo>
                    <a:pt x="1330" y="210"/>
                  </a:lnTo>
                  <a:lnTo>
                    <a:pt x="1292" y="222"/>
                  </a:lnTo>
                  <a:lnTo>
                    <a:pt x="1271" y="210"/>
                  </a:lnTo>
                  <a:lnTo>
                    <a:pt x="1259" y="226"/>
                  </a:lnTo>
                  <a:lnTo>
                    <a:pt x="1259" y="226"/>
                  </a:lnTo>
                  <a:lnTo>
                    <a:pt x="1259" y="226"/>
                  </a:lnTo>
                  <a:close/>
                  <a:moveTo>
                    <a:pt x="1243" y="44"/>
                  </a:moveTo>
                  <a:lnTo>
                    <a:pt x="1254" y="37"/>
                  </a:lnTo>
                  <a:lnTo>
                    <a:pt x="1254" y="44"/>
                  </a:lnTo>
                  <a:lnTo>
                    <a:pt x="1254" y="44"/>
                  </a:lnTo>
                  <a:lnTo>
                    <a:pt x="1243" y="44"/>
                  </a:lnTo>
                  <a:lnTo>
                    <a:pt x="1243" y="44"/>
                  </a:lnTo>
                  <a:lnTo>
                    <a:pt x="1243" y="44"/>
                  </a:lnTo>
                  <a:close/>
                  <a:moveTo>
                    <a:pt x="33" y="61"/>
                  </a:moveTo>
                  <a:lnTo>
                    <a:pt x="38" y="44"/>
                  </a:lnTo>
                  <a:lnTo>
                    <a:pt x="50" y="44"/>
                  </a:lnTo>
                  <a:lnTo>
                    <a:pt x="54" y="54"/>
                  </a:lnTo>
                  <a:lnTo>
                    <a:pt x="71" y="61"/>
                  </a:lnTo>
                  <a:lnTo>
                    <a:pt x="83" y="54"/>
                  </a:lnTo>
                  <a:lnTo>
                    <a:pt x="88" y="77"/>
                  </a:lnTo>
                  <a:lnTo>
                    <a:pt x="104" y="77"/>
                  </a:lnTo>
                  <a:lnTo>
                    <a:pt x="104" y="94"/>
                  </a:lnTo>
                  <a:lnTo>
                    <a:pt x="92" y="111"/>
                  </a:lnTo>
                  <a:lnTo>
                    <a:pt x="104" y="115"/>
                  </a:lnTo>
                  <a:lnTo>
                    <a:pt x="137" y="99"/>
                  </a:lnTo>
                  <a:lnTo>
                    <a:pt x="142" y="111"/>
                  </a:lnTo>
                  <a:lnTo>
                    <a:pt x="158" y="111"/>
                  </a:lnTo>
                  <a:lnTo>
                    <a:pt x="175" y="77"/>
                  </a:lnTo>
                  <a:lnTo>
                    <a:pt x="189" y="77"/>
                  </a:lnTo>
                  <a:lnTo>
                    <a:pt x="201" y="99"/>
                  </a:lnTo>
                  <a:lnTo>
                    <a:pt x="243" y="132"/>
                  </a:lnTo>
                  <a:lnTo>
                    <a:pt x="265" y="172"/>
                  </a:lnTo>
                  <a:lnTo>
                    <a:pt x="272" y="210"/>
                  </a:lnTo>
                  <a:lnTo>
                    <a:pt x="255" y="259"/>
                  </a:lnTo>
                  <a:lnTo>
                    <a:pt x="272" y="278"/>
                  </a:lnTo>
                  <a:lnTo>
                    <a:pt x="265" y="316"/>
                  </a:lnTo>
                  <a:lnTo>
                    <a:pt x="281" y="333"/>
                  </a:lnTo>
                  <a:lnTo>
                    <a:pt x="298" y="337"/>
                  </a:lnTo>
                  <a:lnTo>
                    <a:pt x="326" y="406"/>
                  </a:lnTo>
                  <a:lnTo>
                    <a:pt x="326" y="427"/>
                  </a:lnTo>
                  <a:lnTo>
                    <a:pt x="310" y="427"/>
                  </a:lnTo>
                  <a:lnTo>
                    <a:pt x="303" y="411"/>
                  </a:lnTo>
                  <a:lnTo>
                    <a:pt x="303" y="427"/>
                  </a:lnTo>
                  <a:lnTo>
                    <a:pt x="288" y="415"/>
                  </a:lnTo>
                  <a:lnTo>
                    <a:pt x="272" y="434"/>
                  </a:lnTo>
                  <a:lnTo>
                    <a:pt x="265" y="415"/>
                  </a:lnTo>
                  <a:lnTo>
                    <a:pt x="217" y="394"/>
                  </a:lnTo>
                  <a:lnTo>
                    <a:pt x="201" y="377"/>
                  </a:lnTo>
                  <a:lnTo>
                    <a:pt x="180" y="361"/>
                  </a:lnTo>
                  <a:lnTo>
                    <a:pt x="147" y="337"/>
                  </a:lnTo>
                  <a:lnTo>
                    <a:pt x="121" y="321"/>
                  </a:lnTo>
                  <a:lnTo>
                    <a:pt x="125" y="304"/>
                  </a:lnTo>
                  <a:lnTo>
                    <a:pt x="121" y="295"/>
                  </a:lnTo>
                  <a:lnTo>
                    <a:pt x="92" y="266"/>
                  </a:lnTo>
                  <a:lnTo>
                    <a:pt x="83" y="250"/>
                  </a:lnTo>
                  <a:lnTo>
                    <a:pt x="88" y="250"/>
                  </a:lnTo>
                  <a:lnTo>
                    <a:pt x="71" y="243"/>
                  </a:lnTo>
                  <a:lnTo>
                    <a:pt x="83" y="238"/>
                  </a:lnTo>
                  <a:lnTo>
                    <a:pt x="88" y="238"/>
                  </a:lnTo>
                  <a:lnTo>
                    <a:pt x="71" y="226"/>
                  </a:lnTo>
                  <a:lnTo>
                    <a:pt x="71" y="181"/>
                  </a:lnTo>
                  <a:lnTo>
                    <a:pt x="50" y="155"/>
                  </a:lnTo>
                  <a:lnTo>
                    <a:pt x="54" y="148"/>
                  </a:lnTo>
                  <a:lnTo>
                    <a:pt x="50" y="94"/>
                  </a:lnTo>
                  <a:lnTo>
                    <a:pt x="33" y="61"/>
                  </a:lnTo>
                  <a:lnTo>
                    <a:pt x="33" y="61"/>
                  </a:lnTo>
                  <a:lnTo>
                    <a:pt x="33" y="61"/>
                  </a:lnTo>
                  <a:close/>
                  <a:moveTo>
                    <a:pt x="17" y="61"/>
                  </a:moveTo>
                  <a:lnTo>
                    <a:pt x="17" y="70"/>
                  </a:lnTo>
                  <a:lnTo>
                    <a:pt x="12" y="77"/>
                  </a:lnTo>
                  <a:lnTo>
                    <a:pt x="0" y="61"/>
                  </a:lnTo>
                  <a:lnTo>
                    <a:pt x="17" y="61"/>
                  </a:lnTo>
                  <a:lnTo>
                    <a:pt x="17" y="61"/>
                  </a:lnTo>
                  <a:lnTo>
                    <a:pt x="17" y="61"/>
                  </a:lnTo>
                  <a:close/>
                  <a:moveTo>
                    <a:pt x="50" y="132"/>
                  </a:moveTo>
                  <a:lnTo>
                    <a:pt x="50" y="148"/>
                  </a:lnTo>
                  <a:lnTo>
                    <a:pt x="38" y="148"/>
                  </a:lnTo>
                  <a:lnTo>
                    <a:pt x="38" y="132"/>
                  </a:lnTo>
                  <a:lnTo>
                    <a:pt x="50" y="132"/>
                  </a:lnTo>
                  <a:lnTo>
                    <a:pt x="50" y="132"/>
                  </a:lnTo>
                  <a:lnTo>
                    <a:pt x="50" y="132"/>
                  </a:lnTo>
                  <a:close/>
                  <a:moveTo>
                    <a:pt x="1091" y="148"/>
                  </a:moveTo>
                  <a:lnTo>
                    <a:pt x="1099" y="139"/>
                  </a:lnTo>
                  <a:lnTo>
                    <a:pt x="1099" y="139"/>
                  </a:lnTo>
                  <a:lnTo>
                    <a:pt x="1091" y="148"/>
                  </a:lnTo>
                  <a:lnTo>
                    <a:pt x="1091" y="148"/>
                  </a:lnTo>
                  <a:lnTo>
                    <a:pt x="1091" y="148"/>
                  </a:lnTo>
                  <a:close/>
                  <a:moveTo>
                    <a:pt x="1288" y="226"/>
                  </a:moveTo>
                  <a:lnTo>
                    <a:pt x="1271" y="226"/>
                  </a:lnTo>
                  <a:lnTo>
                    <a:pt x="1271" y="222"/>
                  </a:lnTo>
                  <a:lnTo>
                    <a:pt x="1288" y="226"/>
                  </a:lnTo>
                  <a:lnTo>
                    <a:pt x="1288" y="226"/>
                  </a:lnTo>
                  <a:lnTo>
                    <a:pt x="1288" y="226"/>
                  </a:lnTo>
                  <a:close/>
                  <a:moveTo>
                    <a:pt x="822" y="349"/>
                  </a:moveTo>
                  <a:lnTo>
                    <a:pt x="822" y="321"/>
                  </a:lnTo>
                  <a:lnTo>
                    <a:pt x="827" y="356"/>
                  </a:lnTo>
                  <a:lnTo>
                    <a:pt x="822" y="349"/>
                  </a:lnTo>
                  <a:lnTo>
                    <a:pt x="822" y="349"/>
                  </a:lnTo>
                  <a:lnTo>
                    <a:pt x="822" y="349"/>
                  </a:lnTo>
                  <a:close/>
                </a:path>
              </a:pathLst>
            </a:custGeom>
            <a:pattFill prst="dk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7" name="Freeform 516">
              <a:extLst>
                <a:ext uri="{FF2B5EF4-FFF2-40B4-BE49-F238E27FC236}">
                  <a16:creationId xmlns:a16="http://schemas.microsoft.com/office/drawing/2014/main" id="{4D16323A-28FD-445C-95C1-82D398D6A32D}"/>
                </a:ext>
              </a:extLst>
            </p:cNvPr>
            <p:cNvSpPr>
              <a:spLocks noEditPoints="1"/>
            </p:cNvSpPr>
            <p:nvPr/>
          </p:nvSpPr>
          <p:spPr bwMode="gray">
            <a:xfrm>
              <a:off x="6824748" y="4977334"/>
              <a:ext cx="368189" cy="606787"/>
            </a:xfrm>
            <a:custGeom>
              <a:avLst/>
              <a:gdLst>
                <a:gd name="T0" fmla="*/ 206 w 744"/>
                <a:gd name="T1" fmla="*/ 260 h 1226"/>
                <a:gd name="T2" fmla="*/ 298 w 744"/>
                <a:gd name="T3" fmla="*/ 305 h 1226"/>
                <a:gd name="T4" fmla="*/ 293 w 744"/>
                <a:gd name="T5" fmla="*/ 414 h 1226"/>
                <a:gd name="T6" fmla="*/ 331 w 744"/>
                <a:gd name="T7" fmla="*/ 470 h 1226"/>
                <a:gd name="T8" fmla="*/ 352 w 744"/>
                <a:gd name="T9" fmla="*/ 491 h 1226"/>
                <a:gd name="T10" fmla="*/ 364 w 744"/>
                <a:gd name="T11" fmla="*/ 414 h 1226"/>
                <a:gd name="T12" fmla="*/ 397 w 744"/>
                <a:gd name="T13" fmla="*/ 364 h 1226"/>
                <a:gd name="T14" fmla="*/ 397 w 744"/>
                <a:gd name="T15" fmla="*/ 310 h 1226"/>
                <a:gd name="T16" fmla="*/ 310 w 744"/>
                <a:gd name="T17" fmla="*/ 220 h 1226"/>
                <a:gd name="T18" fmla="*/ 293 w 744"/>
                <a:gd name="T19" fmla="*/ 128 h 1226"/>
                <a:gd name="T20" fmla="*/ 331 w 744"/>
                <a:gd name="T21" fmla="*/ 83 h 1226"/>
                <a:gd name="T22" fmla="*/ 418 w 744"/>
                <a:gd name="T23" fmla="*/ 83 h 1226"/>
                <a:gd name="T24" fmla="*/ 461 w 744"/>
                <a:gd name="T25" fmla="*/ 83 h 1226"/>
                <a:gd name="T26" fmla="*/ 543 w 744"/>
                <a:gd name="T27" fmla="*/ 66 h 1226"/>
                <a:gd name="T28" fmla="*/ 612 w 744"/>
                <a:gd name="T29" fmla="*/ 54 h 1226"/>
                <a:gd name="T30" fmla="*/ 721 w 744"/>
                <a:gd name="T31" fmla="*/ 0 h 1226"/>
                <a:gd name="T32" fmla="*/ 728 w 744"/>
                <a:gd name="T33" fmla="*/ 33 h 1226"/>
                <a:gd name="T34" fmla="*/ 728 w 744"/>
                <a:gd name="T35" fmla="*/ 38 h 1226"/>
                <a:gd name="T36" fmla="*/ 721 w 744"/>
                <a:gd name="T37" fmla="*/ 88 h 1226"/>
                <a:gd name="T38" fmla="*/ 732 w 744"/>
                <a:gd name="T39" fmla="*/ 166 h 1226"/>
                <a:gd name="T40" fmla="*/ 728 w 744"/>
                <a:gd name="T41" fmla="*/ 182 h 1226"/>
                <a:gd name="T42" fmla="*/ 721 w 744"/>
                <a:gd name="T43" fmla="*/ 272 h 1226"/>
                <a:gd name="T44" fmla="*/ 728 w 744"/>
                <a:gd name="T45" fmla="*/ 293 h 1226"/>
                <a:gd name="T46" fmla="*/ 732 w 744"/>
                <a:gd name="T47" fmla="*/ 343 h 1226"/>
                <a:gd name="T48" fmla="*/ 728 w 744"/>
                <a:gd name="T49" fmla="*/ 364 h 1226"/>
                <a:gd name="T50" fmla="*/ 673 w 744"/>
                <a:gd name="T51" fmla="*/ 425 h 1226"/>
                <a:gd name="T52" fmla="*/ 624 w 744"/>
                <a:gd name="T53" fmla="*/ 470 h 1226"/>
                <a:gd name="T54" fmla="*/ 489 w 744"/>
                <a:gd name="T55" fmla="*/ 536 h 1226"/>
                <a:gd name="T56" fmla="*/ 473 w 744"/>
                <a:gd name="T57" fmla="*/ 565 h 1226"/>
                <a:gd name="T58" fmla="*/ 406 w 744"/>
                <a:gd name="T59" fmla="*/ 619 h 1226"/>
                <a:gd name="T60" fmla="*/ 314 w 744"/>
                <a:gd name="T61" fmla="*/ 690 h 1226"/>
                <a:gd name="T62" fmla="*/ 343 w 744"/>
                <a:gd name="T63" fmla="*/ 775 h 1226"/>
                <a:gd name="T64" fmla="*/ 352 w 744"/>
                <a:gd name="T65" fmla="*/ 884 h 1226"/>
                <a:gd name="T66" fmla="*/ 369 w 744"/>
                <a:gd name="T67" fmla="*/ 874 h 1226"/>
                <a:gd name="T68" fmla="*/ 380 w 744"/>
                <a:gd name="T69" fmla="*/ 928 h 1226"/>
                <a:gd name="T70" fmla="*/ 352 w 744"/>
                <a:gd name="T71" fmla="*/ 1006 h 1226"/>
                <a:gd name="T72" fmla="*/ 331 w 744"/>
                <a:gd name="T73" fmla="*/ 1051 h 1226"/>
                <a:gd name="T74" fmla="*/ 163 w 744"/>
                <a:gd name="T75" fmla="*/ 1155 h 1226"/>
                <a:gd name="T76" fmla="*/ 184 w 744"/>
                <a:gd name="T77" fmla="*/ 1226 h 1226"/>
                <a:gd name="T78" fmla="*/ 125 w 744"/>
                <a:gd name="T79" fmla="*/ 1155 h 1226"/>
                <a:gd name="T80" fmla="*/ 92 w 744"/>
                <a:gd name="T81" fmla="*/ 966 h 1226"/>
                <a:gd name="T82" fmla="*/ 151 w 744"/>
                <a:gd name="T83" fmla="*/ 801 h 1226"/>
                <a:gd name="T84" fmla="*/ 163 w 744"/>
                <a:gd name="T85" fmla="*/ 768 h 1226"/>
                <a:gd name="T86" fmla="*/ 184 w 744"/>
                <a:gd name="T87" fmla="*/ 730 h 1226"/>
                <a:gd name="T88" fmla="*/ 184 w 744"/>
                <a:gd name="T89" fmla="*/ 636 h 1226"/>
                <a:gd name="T90" fmla="*/ 184 w 744"/>
                <a:gd name="T91" fmla="*/ 607 h 1226"/>
                <a:gd name="T92" fmla="*/ 191 w 744"/>
                <a:gd name="T93" fmla="*/ 569 h 1226"/>
                <a:gd name="T94" fmla="*/ 191 w 744"/>
                <a:gd name="T95" fmla="*/ 515 h 1226"/>
                <a:gd name="T96" fmla="*/ 191 w 744"/>
                <a:gd name="T97" fmla="*/ 458 h 1226"/>
                <a:gd name="T98" fmla="*/ 147 w 744"/>
                <a:gd name="T99" fmla="*/ 442 h 1226"/>
                <a:gd name="T100" fmla="*/ 83 w 744"/>
                <a:gd name="T101" fmla="*/ 421 h 1226"/>
                <a:gd name="T102" fmla="*/ 17 w 744"/>
                <a:gd name="T103" fmla="*/ 380 h 1226"/>
                <a:gd name="T104" fmla="*/ 678 w 744"/>
                <a:gd name="T105" fmla="*/ 437 h 1226"/>
                <a:gd name="T106" fmla="*/ 678 w 744"/>
                <a:gd name="T107" fmla="*/ 437 h 1226"/>
                <a:gd name="T108" fmla="*/ 191 w 744"/>
                <a:gd name="T109" fmla="*/ 1160 h 1226"/>
                <a:gd name="T110" fmla="*/ 191 w 744"/>
                <a:gd name="T111" fmla="*/ 116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44" h="1226">
                  <a:moveTo>
                    <a:pt x="17" y="380"/>
                  </a:moveTo>
                  <a:lnTo>
                    <a:pt x="0" y="331"/>
                  </a:lnTo>
                  <a:lnTo>
                    <a:pt x="206" y="260"/>
                  </a:lnTo>
                  <a:lnTo>
                    <a:pt x="239" y="305"/>
                  </a:lnTo>
                  <a:lnTo>
                    <a:pt x="288" y="288"/>
                  </a:lnTo>
                  <a:lnTo>
                    <a:pt x="298" y="305"/>
                  </a:lnTo>
                  <a:lnTo>
                    <a:pt x="298" y="359"/>
                  </a:lnTo>
                  <a:lnTo>
                    <a:pt x="276" y="397"/>
                  </a:lnTo>
                  <a:lnTo>
                    <a:pt x="293" y="414"/>
                  </a:lnTo>
                  <a:lnTo>
                    <a:pt x="293" y="425"/>
                  </a:lnTo>
                  <a:lnTo>
                    <a:pt x="298" y="425"/>
                  </a:lnTo>
                  <a:lnTo>
                    <a:pt x="331" y="470"/>
                  </a:lnTo>
                  <a:lnTo>
                    <a:pt x="347" y="470"/>
                  </a:lnTo>
                  <a:lnTo>
                    <a:pt x="343" y="491"/>
                  </a:lnTo>
                  <a:lnTo>
                    <a:pt x="352" y="491"/>
                  </a:lnTo>
                  <a:lnTo>
                    <a:pt x="352" y="458"/>
                  </a:lnTo>
                  <a:lnTo>
                    <a:pt x="343" y="442"/>
                  </a:lnTo>
                  <a:lnTo>
                    <a:pt x="364" y="414"/>
                  </a:lnTo>
                  <a:lnTo>
                    <a:pt x="369" y="421"/>
                  </a:lnTo>
                  <a:lnTo>
                    <a:pt x="397" y="404"/>
                  </a:lnTo>
                  <a:lnTo>
                    <a:pt x="397" y="364"/>
                  </a:lnTo>
                  <a:lnTo>
                    <a:pt x="385" y="347"/>
                  </a:lnTo>
                  <a:lnTo>
                    <a:pt x="402" y="326"/>
                  </a:lnTo>
                  <a:lnTo>
                    <a:pt x="397" y="310"/>
                  </a:lnTo>
                  <a:lnTo>
                    <a:pt x="343" y="236"/>
                  </a:lnTo>
                  <a:lnTo>
                    <a:pt x="326" y="220"/>
                  </a:lnTo>
                  <a:lnTo>
                    <a:pt x="310" y="220"/>
                  </a:lnTo>
                  <a:lnTo>
                    <a:pt x="298" y="215"/>
                  </a:lnTo>
                  <a:lnTo>
                    <a:pt x="298" y="166"/>
                  </a:lnTo>
                  <a:lnTo>
                    <a:pt x="293" y="128"/>
                  </a:lnTo>
                  <a:lnTo>
                    <a:pt x="310" y="95"/>
                  </a:lnTo>
                  <a:lnTo>
                    <a:pt x="310" y="83"/>
                  </a:lnTo>
                  <a:lnTo>
                    <a:pt x="331" y="83"/>
                  </a:lnTo>
                  <a:lnTo>
                    <a:pt x="369" y="88"/>
                  </a:lnTo>
                  <a:lnTo>
                    <a:pt x="397" y="71"/>
                  </a:lnTo>
                  <a:lnTo>
                    <a:pt x="418" y="83"/>
                  </a:lnTo>
                  <a:lnTo>
                    <a:pt x="418" y="95"/>
                  </a:lnTo>
                  <a:lnTo>
                    <a:pt x="439" y="95"/>
                  </a:lnTo>
                  <a:lnTo>
                    <a:pt x="461" y="83"/>
                  </a:lnTo>
                  <a:lnTo>
                    <a:pt x="510" y="95"/>
                  </a:lnTo>
                  <a:lnTo>
                    <a:pt x="532" y="83"/>
                  </a:lnTo>
                  <a:lnTo>
                    <a:pt x="543" y="66"/>
                  </a:lnTo>
                  <a:lnTo>
                    <a:pt x="548" y="54"/>
                  </a:lnTo>
                  <a:lnTo>
                    <a:pt x="581" y="71"/>
                  </a:lnTo>
                  <a:lnTo>
                    <a:pt x="612" y="54"/>
                  </a:lnTo>
                  <a:lnTo>
                    <a:pt x="636" y="54"/>
                  </a:lnTo>
                  <a:lnTo>
                    <a:pt x="721" y="0"/>
                  </a:lnTo>
                  <a:lnTo>
                    <a:pt x="721" y="0"/>
                  </a:lnTo>
                  <a:lnTo>
                    <a:pt x="728" y="17"/>
                  </a:lnTo>
                  <a:lnTo>
                    <a:pt x="721" y="29"/>
                  </a:lnTo>
                  <a:lnTo>
                    <a:pt x="728" y="33"/>
                  </a:lnTo>
                  <a:lnTo>
                    <a:pt x="721" y="33"/>
                  </a:lnTo>
                  <a:lnTo>
                    <a:pt x="721" y="38"/>
                  </a:lnTo>
                  <a:lnTo>
                    <a:pt x="728" y="38"/>
                  </a:lnTo>
                  <a:lnTo>
                    <a:pt x="711" y="66"/>
                  </a:lnTo>
                  <a:lnTo>
                    <a:pt x="721" y="71"/>
                  </a:lnTo>
                  <a:lnTo>
                    <a:pt x="721" y="88"/>
                  </a:lnTo>
                  <a:lnTo>
                    <a:pt x="721" y="111"/>
                  </a:lnTo>
                  <a:lnTo>
                    <a:pt x="721" y="149"/>
                  </a:lnTo>
                  <a:lnTo>
                    <a:pt x="732" y="166"/>
                  </a:lnTo>
                  <a:lnTo>
                    <a:pt x="711" y="182"/>
                  </a:lnTo>
                  <a:lnTo>
                    <a:pt x="721" y="194"/>
                  </a:lnTo>
                  <a:lnTo>
                    <a:pt x="728" y="182"/>
                  </a:lnTo>
                  <a:lnTo>
                    <a:pt x="721" y="220"/>
                  </a:lnTo>
                  <a:lnTo>
                    <a:pt x="732" y="260"/>
                  </a:lnTo>
                  <a:lnTo>
                    <a:pt x="721" y="272"/>
                  </a:lnTo>
                  <a:lnTo>
                    <a:pt x="728" y="277"/>
                  </a:lnTo>
                  <a:lnTo>
                    <a:pt x="732" y="277"/>
                  </a:lnTo>
                  <a:lnTo>
                    <a:pt x="728" y="293"/>
                  </a:lnTo>
                  <a:lnTo>
                    <a:pt x="744" y="288"/>
                  </a:lnTo>
                  <a:lnTo>
                    <a:pt x="744" y="310"/>
                  </a:lnTo>
                  <a:lnTo>
                    <a:pt x="732" y="343"/>
                  </a:lnTo>
                  <a:lnTo>
                    <a:pt x="721" y="343"/>
                  </a:lnTo>
                  <a:lnTo>
                    <a:pt x="732" y="347"/>
                  </a:lnTo>
                  <a:lnTo>
                    <a:pt x="728" y="364"/>
                  </a:lnTo>
                  <a:lnTo>
                    <a:pt x="695" y="404"/>
                  </a:lnTo>
                  <a:lnTo>
                    <a:pt x="690" y="421"/>
                  </a:lnTo>
                  <a:lnTo>
                    <a:pt x="673" y="425"/>
                  </a:lnTo>
                  <a:lnTo>
                    <a:pt x="673" y="437"/>
                  </a:lnTo>
                  <a:lnTo>
                    <a:pt x="666" y="442"/>
                  </a:lnTo>
                  <a:lnTo>
                    <a:pt x="624" y="470"/>
                  </a:lnTo>
                  <a:lnTo>
                    <a:pt x="619" y="475"/>
                  </a:lnTo>
                  <a:lnTo>
                    <a:pt x="532" y="508"/>
                  </a:lnTo>
                  <a:lnTo>
                    <a:pt x="489" y="536"/>
                  </a:lnTo>
                  <a:lnTo>
                    <a:pt x="473" y="553"/>
                  </a:lnTo>
                  <a:lnTo>
                    <a:pt x="461" y="548"/>
                  </a:lnTo>
                  <a:lnTo>
                    <a:pt x="473" y="565"/>
                  </a:lnTo>
                  <a:lnTo>
                    <a:pt x="423" y="619"/>
                  </a:lnTo>
                  <a:lnTo>
                    <a:pt x="406" y="619"/>
                  </a:lnTo>
                  <a:lnTo>
                    <a:pt x="406" y="619"/>
                  </a:lnTo>
                  <a:lnTo>
                    <a:pt x="326" y="697"/>
                  </a:lnTo>
                  <a:lnTo>
                    <a:pt x="310" y="673"/>
                  </a:lnTo>
                  <a:lnTo>
                    <a:pt x="314" y="690"/>
                  </a:lnTo>
                  <a:lnTo>
                    <a:pt x="314" y="718"/>
                  </a:lnTo>
                  <a:lnTo>
                    <a:pt x="310" y="735"/>
                  </a:lnTo>
                  <a:lnTo>
                    <a:pt x="343" y="775"/>
                  </a:lnTo>
                  <a:lnTo>
                    <a:pt x="343" y="801"/>
                  </a:lnTo>
                  <a:lnTo>
                    <a:pt x="352" y="825"/>
                  </a:lnTo>
                  <a:lnTo>
                    <a:pt x="352" y="884"/>
                  </a:lnTo>
                  <a:lnTo>
                    <a:pt x="364" y="884"/>
                  </a:lnTo>
                  <a:lnTo>
                    <a:pt x="369" y="862"/>
                  </a:lnTo>
                  <a:lnTo>
                    <a:pt x="369" y="874"/>
                  </a:lnTo>
                  <a:lnTo>
                    <a:pt x="369" y="917"/>
                  </a:lnTo>
                  <a:lnTo>
                    <a:pt x="369" y="928"/>
                  </a:lnTo>
                  <a:lnTo>
                    <a:pt x="380" y="928"/>
                  </a:lnTo>
                  <a:lnTo>
                    <a:pt x="369" y="940"/>
                  </a:lnTo>
                  <a:lnTo>
                    <a:pt x="352" y="995"/>
                  </a:lnTo>
                  <a:lnTo>
                    <a:pt x="352" y="1006"/>
                  </a:lnTo>
                  <a:lnTo>
                    <a:pt x="369" y="990"/>
                  </a:lnTo>
                  <a:lnTo>
                    <a:pt x="369" y="1011"/>
                  </a:lnTo>
                  <a:lnTo>
                    <a:pt x="331" y="1051"/>
                  </a:lnTo>
                  <a:lnTo>
                    <a:pt x="239" y="1094"/>
                  </a:lnTo>
                  <a:lnTo>
                    <a:pt x="180" y="1134"/>
                  </a:lnTo>
                  <a:lnTo>
                    <a:pt x="163" y="1155"/>
                  </a:lnTo>
                  <a:lnTo>
                    <a:pt x="184" y="1177"/>
                  </a:lnTo>
                  <a:lnTo>
                    <a:pt x="191" y="1160"/>
                  </a:lnTo>
                  <a:lnTo>
                    <a:pt x="184" y="1226"/>
                  </a:lnTo>
                  <a:lnTo>
                    <a:pt x="130" y="1226"/>
                  </a:lnTo>
                  <a:lnTo>
                    <a:pt x="130" y="1172"/>
                  </a:lnTo>
                  <a:lnTo>
                    <a:pt x="125" y="1155"/>
                  </a:lnTo>
                  <a:lnTo>
                    <a:pt x="125" y="1040"/>
                  </a:lnTo>
                  <a:lnTo>
                    <a:pt x="113" y="1006"/>
                  </a:lnTo>
                  <a:lnTo>
                    <a:pt x="92" y="966"/>
                  </a:lnTo>
                  <a:lnTo>
                    <a:pt x="92" y="940"/>
                  </a:lnTo>
                  <a:lnTo>
                    <a:pt x="76" y="884"/>
                  </a:lnTo>
                  <a:lnTo>
                    <a:pt x="151" y="801"/>
                  </a:lnTo>
                  <a:lnTo>
                    <a:pt x="151" y="808"/>
                  </a:lnTo>
                  <a:lnTo>
                    <a:pt x="147" y="791"/>
                  </a:lnTo>
                  <a:lnTo>
                    <a:pt x="163" y="768"/>
                  </a:lnTo>
                  <a:lnTo>
                    <a:pt x="151" y="751"/>
                  </a:lnTo>
                  <a:lnTo>
                    <a:pt x="168" y="747"/>
                  </a:lnTo>
                  <a:lnTo>
                    <a:pt x="184" y="730"/>
                  </a:lnTo>
                  <a:lnTo>
                    <a:pt x="201" y="690"/>
                  </a:lnTo>
                  <a:lnTo>
                    <a:pt x="180" y="664"/>
                  </a:lnTo>
                  <a:lnTo>
                    <a:pt x="184" y="636"/>
                  </a:lnTo>
                  <a:lnTo>
                    <a:pt x="168" y="624"/>
                  </a:lnTo>
                  <a:lnTo>
                    <a:pt x="168" y="619"/>
                  </a:lnTo>
                  <a:lnTo>
                    <a:pt x="184" y="607"/>
                  </a:lnTo>
                  <a:lnTo>
                    <a:pt x="184" y="591"/>
                  </a:lnTo>
                  <a:lnTo>
                    <a:pt x="201" y="581"/>
                  </a:lnTo>
                  <a:lnTo>
                    <a:pt x="191" y="569"/>
                  </a:lnTo>
                  <a:lnTo>
                    <a:pt x="184" y="553"/>
                  </a:lnTo>
                  <a:lnTo>
                    <a:pt x="191" y="525"/>
                  </a:lnTo>
                  <a:lnTo>
                    <a:pt x="191" y="515"/>
                  </a:lnTo>
                  <a:lnTo>
                    <a:pt x="191" y="508"/>
                  </a:lnTo>
                  <a:lnTo>
                    <a:pt x="184" y="475"/>
                  </a:lnTo>
                  <a:lnTo>
                    <a:pt x="191" y="458"/>
                  </a:lnTo>
                  <a:lnTo>
                    <a:pt x="180" y="458"/>
                  </a:lnTo>
                  <a:lnTo>
                    <a:pt x="168" y="454"/>
                  </a:lnTo>
                  <a:lnTo>
                    <a:pt x="147" y="442"/>
                  </a:lnTo>
                  <a:lnTo>
                    <a:pt x="113" y="437"/>
                  </a:lnTo>
                  <a:lnTo>
                    <a:pt x="99" y="421"/>
                  </a:lnTo>
                  <a:lnTo>
                    <a:pt x="83" y="421"/>
                  </a:lnTo>
                  <a:lnTo>
                    <a:pt x="71" y="404"/>
                  </a:lnTo>
                  <a:lnTo>
                    <a:pt x="17" y="404"/>
                  </a:lnTo>
                  <a:lnTo>
                    <a:pt x="17" y="380"/>
                  </a:lnTo>
                  <a:lnTo>
                    <a:pt x="17" y="380"/>
                  </a:lnTo>
                  <a:lnTo>
                    <a:pt x="17" y="380"/>
                  </a:lnTo>
                  <a:close/>
                  <a:moveTo>
                    <a:pt x="678" y="437"/>
                  </a:moveTo>
                  <a:lnTo>
                    <a:pt x="673" y="425"/>
                  </a:lnTo>
                  <a:lnTo>
                    <a:pt x="678" y="425"/>
                  </a:lnTo>
                  <a:lnTo>
                    <a:pt x="678" y="437"/>
                  </a:lnTo>
                  <a:lnTo>
                    <a:pt x="678" y="437"/>
                  </a:lnTo>
                  <a:lnTo>
                    <a:pt x="678" y="437"/>
                  </a:lnTo>
                  <a:close/>
                  <a:moveTo>
                    <a:pt x="191" y="1160"/>
                  </a:moveTo>
                  <a:lnTo>
                    <a:pt x="184" y="1155"/>
                  </a:lnTo>
                  <a:lnTo>
                    <a:pt x="191" y="1155"/>
                  </a:lnTo>
                  <a:lnTo>
                    <a:pt x="191" y="1160"/>
                  </a:lnTo>
                  <a:lnTo>
                    <a:pt x="191" y="1160"/>
                  </a:lnTo>
                  <a:lnTo>
                    <a:pt x="191" y="1160"/>
                  </a:lnTo>
                  <a:close/>
                </a:path>
              </a:pathLst>
            </a:custGeom>
            <a:pattFill prst="lt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69" name="Freeform 519">
              <a:extLst>
                <a:ext uri="{FF2B5EF4-FFF2-40B4-BE49-F238E27FC236}">
                  <a16:creationId xmlns:a16="http://schemas.microsoft.com/office/drawing/2014/main" id="{70090546-A3A0-49BF-83DD-6771818636BE}"/>
                </a:ext>
              </a:extLst>
            </p:cNvPr>
            <p:cNvSpPr>
              <a:spLocks/>
            </p:cNvSpPr>
            <p:nvPr/>
          </p:nvSpPr>
          <p:spPr bwMode="gray">
            <a:xfrm>
              <a:off x="5778579" y="3749903"/>
              <a:ext cx="549313" cy="435046"/>
            </a:xfrm>
            <a:custGeom>
              <a:avLst/>
              <a:gdLst>
                <a:gd name="T0" fmla="*/ 194 w 1110"/>
                <a:gd name="T1" fmla="*/ 824 h 879"/>
                <a:gd name="T2" fmla="*/ 161 w 1110"/>
                <a:gd name="T3" fmla="*/ 862 h 879"/>
                <a:gd name="T4" fmla="*/ 144 w 1110"/>
                <a:gd name="T5" fmla="*/ 824 h 879"/>
                <a:gd name="T6" fmla="*/ 102 w 1110"/>
                <a:gd name="T7" fmla="*/ 808 h 879"/>
                <a:gd name="T8" fmla="*/ 64 w 1110"/>
                <a:gd name="T9" fmla="*/ 751 h 879"/>
                <a:gd name="T10" fmla="*/ 64 w 1110"/>
                <a:gd name="T11" fmla="*/ 742 h 879"/>
                <a:gd name="T12" fmla="*/ 31 w 1110"/>
                <a:gd name="T13" fmla="*/ 725 h 879"/>
                <a:gd name="T14" fmla="*/ 21 w 1110"/>
                <a:gd name="T15" fmla="*/ 685 h 879"/>
                <a:gd name="T16" fmla="*/ 9 w 1110"/>
                <a:gd name="T17" fmla="*/ 642 h 879"/>
                <a:gd name="T18" fmla="*/ 64 w 1110"/>
                <a:gd name="T19" fmla="*/ 631 h 879"/>
                <a:gd name="T20" fmla="*/ 198 w 1110"/>
                <a:gd name="T21" fmla="*/ 607 h 879"/>
                <a:gd name="T22" fmla="*/ 236 w 1110"/>
                <a:gd name="T23" fmla="*/ 607 h 879"/>
                <a:gd name="T24" fmla="*/ 264 w 1110"/>
                <a:gd name="T25" fmla="*/ 586 h 879"/>
                <a:gd name="T26" fmla="*/ 286 w 1110"/>
                <a:gd name="T27" fmla="*/ 531 h 879"/>
                <a:gd name="T28" fmla="*/ 399 w 1110"/>
                <a:gd name="T29" fmla="*/ 309 h 879"/>
                <a:gd name="T30" fmla="*/ 829 w 1110"/>
                <a:gd name="T31" fmla="*/ 0 h 879"/>
                <a:gd name="T32" fmla="*/ 987 w 1110"/>
                <a:gd name="T33" fmla="*/ 71 h 879"/>
                <a:gd name="T34" fmla="*/ 1056 w 1110"/>
                <a:gd name="T35" fmla="*/ 111 h 879"/>
                <a:gd name="T36" fmla="*/ 1089 w 1110"/>
                <a:gd name="T37" fmla="*/ 187 h 879"/>
                <a:gd name="T38" fmla="*/ 1110 w 1110"/>
                <a:gd name="T39" fmla="*/ 238 h 879"/>
                <a:gd name="T40" fmla="*/ 1077 w 1110"/>
                <a:gd name="T41" fmla="*/ 491 h 879"/>
                <a:gd name="T42" fmla="*/ 964 w 1110"/>
                <a:gd name="T43" fmla="*/ 631 h 879"/>
                <a:gd name="T44" fmla="*/ 933 w 1110"/>
                <a:gd name="T45" fmla="*/ 668 h 879"/>
                <a:gd name="T46" fmla="*/ 926 w 1110"/>
                <a:gd name="T47" fmla="*/ 725 h 879"/>
                <a:gd name="T48" fmla="*/ 895 w 1110"/>
                <a:gd name="T49" fmla="*/ 742 h 879"/>
                <a:gd name="T50" fmla="*/ 791 w 1110"/>
                <a:gd name="T51" fmla="*/ 751 h 879"/>
                <a:gd name="T52" fmla="*/ 701 w 1110"/>
                <a:gd name="T53" fmla="*/ 758 h 879"/>
                <a:gd name="T54" fmla="*/ 602 w 1110"/>
                <a:gd name="T55" fmla="*/ 779 h 879"/>
                <a:gd name="T56" fmla="*/ 539 w 1110"/>
                <a:gd name="T57" fmla="*/ 751 h 879"/>
                <a:gd name="T58" fmla="*/ 501 w 1110"/>
                <a:gd name="T59" fmla="*/ 775 h 879"/>
                <a:gd name="T60" fmla="*/ 479 w 1110"/>
                <a:gd name="T61" fmla="*/ 779 h 879"/>
                <a:gd name="T62" fmla="*/ 425 w 1110"/>
                <a:gd name="T63" fmla="*/ 735 h 879"/>
                <a:gd name="T64" fmla="*/ 361 w 1110"/>
                <a:gd name="T65" fmla="*/ 725 h 879"/>
                <a:gd name="T66" fmla="*/ 307 w 1110"/>
                <a:gd name="T67" fmla="*/ 725 h 879"/>
                <a:gd name="T68" fmla="*/ 279 w 1110"/>
                <a:gd name="T69" fmla="*/ 779 h 879"/>
                <a:gd name="T70" fmla="*/ 248 w 1110"/>
                <a:gd name="T71" fmla="*/ 812 h 879"/>
                <a:gd name="T72" fmla="*/ 253 w 1110"/>
                <a:gd name="T73" fmla="*/ 869 h 879"/>
                <a:gd name="T74" fmla="*/ 248 w 1110"/>
                <a:gd name="T75"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0" h="879">
                  <a:moveTo>
                    <a:pt x="248" y="879"/>
                  </a:moveTo>
                  <a:lnTo>
                    <a:pt x="194" y="824"/>
                  </a:lnTo>
                  <a:lnTo>
                    <a:pt x="161" y="836"/>
                  </a:lnTo>
                  <a:lnTo>
                    <a:pt x="161" y="862"/>
                  </a:lnTo>
                  <a:lnTo>
                    <a:pt x="139" y="829"/>
                  </a:lnTo>
                  <a:lnTo>
                    <a:pt x="144" y="824"/>
                  </a:lnTo>
                  <a:lnTo>
                    <a:pt x="139" y="808"/>
                  </a:lnTo>
                  <a:lnTo>
                    <a:pt x="102" y="808"/>
                  </a:lnTo>
                  <a:lnTo>
                    <a:pt x="64" y="775"/>
                  </a:lnTo>
                  <a:lnTo>
                    <a:pt x="64" y="751"/>
                  </a:lnTo>
                  <a:lnTo>
                    <a:pt x="85" y="758"/>
                  </a:lnTo>
                  <a:lnTo>
                    <a:pt x="64" y="742"/>
                  </a:lnTo>
                  <a:lnTo>
                    <a:pt x="64" y="742"/>
                  </a:lnTo>
                  <a:lnTo>
                    <a:pt x="31" y="725"/>
                  </a:lnTo>
                  <a:lnTo>
                    <a:pt x="14" y="697"/>
                  </a:lnTo>
                  <a:lnTo>
                    <a:pt x="21" y="685"/>
                  </a:lnTo>
                  <a:lnTo>
                    <a:pt x="0" y="668"/>
                  </a:lnTo>
                  <a:lnTo>
                    <a:pt x="9" y="642"/>
                  </a:lnTo>
                  <a:lnTo>
                    <a:pt x="9" y="631"/>
                  </a:lnTo>
                  <a:lnTo>
                    <a:pt x="64" y="631"/>
                  </a:lnTo>
                  <a:lnTo>
                    <a:pt x="85" y="614"/>
                  </a:lnTo>
                  <a:lnTo>
                    <a:pt x="198" y="607"/>
                  </a:lnTo>
                  <a:lnTo>
                    <a:pt x="210" y="602"/>
                  </a:lnTo>
                  <a:lnTo>
                    <a:pt x="236" y="607"/>
                  </a:lnTo>
                  <a:lnTo>
                    <a:pt x="236" y="590"/>
                  </a:lnTo>
                  <a:lnTo>
                    <a:pt x="264" y="586"/>
                  </a:lnTo>
                  <a:lnTo>
                    <a:pt x="279" y="536"/>
                  </a:lnTo>
                  <a:lnTo>
                    <a:pt x="286" y="531"/>
                  </a:lnTo>
                  <a:lnTo>
                    <a:pt x="290" y="326"/>
                  </a:lnTo>
                  <a:lnTo>
                    <a:pt x="399" y="309"/>
                  </a:lnTo>
                  <a:lnTo>
                    <a:pt x="517" y="198"/>
                  </a:lnTo>
                  <a:lnTo>
                    <a:pt x="829" y="0"/>
                  </a:lnTo>
                  <a:lnTo>
                    <a:pt x="938" y="21"/>
                  </a:lnTo>
                  <a:lnTo>
                    <a:pt x="987" y="71"/>
                  </a:lnTo>
                  <a:lnTo>
                    <a:pt x="1039" y="38"/>
                  </a:lnTo>
                  <a:lnTo>
                    <a:pt x="1056" y="111"/>
                  </a:lnTo>
                  <a:lnTo>
                    <a:pt x="1056" y="149"/>
                  </a:lnTo>
                  <a:lnTo>
                    <a:pt x="1089" y="187"/>
                  </a:lnTo>
                  <a:lnTo>
                    <a:pt x="1089" y="203"/>
                  </a:lnTo>
                  <a:lnTo>
                    <a:pt x="1110" y="238"/>
                  </a:lnTo>
                  <a:lnTo>
                    <a:pt x="1094" y="272"/>
                  </a:lnTo>
                  <a:lnTo>
                    <a:pt x="1077" y="491"/>
                  </a:lnTo>
                  <a:lnTo>
                    <a:pt x="1001" y="574"/>
                  </a:lnTo>
                  <a:lnTo>
                    <a:pt x="964" y="631"/>
                  </a:lnTo>
                  <a:lnTo>
                    <a:pt x="950" y="664"/>
                  </a:lnTo>
                  <a:lnTo>
                    <a:pt x="933" y="668"/>
                  </a:lnTo>
                  <a:lnTo>
                    <a:pt x="950" y="725"/>
                  </a:lnTo>
                  <a:lnTo>
                    <a:pt x="926" y="725"/>
                  </a:lnTo>
                  <a:lnTo>
                    <a:pt x="916" y="742"/>
                  </a:lnTo>
                  <a:lnTo>
                    <a:pt x="895" y="742"/>
                  </a:lnTo>
                  <a:lnTo>
                    <a:pt x="862" y="775"/>
                  </a:lnTo>
                  <a:lnTo>
                    <a:pt x="791" y="751"/>
                  </a:lnTo>
                  <a:lnTo>
                    <a:pt x="739" y="751"/>
                  </a:lnTo>
                  <a:lnTo>
                    <a:pt x="701" y="758"/>
                  </a:lnTo>
                  <a:lnTo>
                    <a:pt x="668" y="796"/>
                  </a:lnTo>
                  <a:lnTo>
                    <a:pt x="602" y="779"/>
                  </a:lnTo>
                  <a:lnTo>
                    <a:pt x="560" y="758"/>
                  </a:lnTo>
                  <a:lnTo>
                    <a:pt x="539" y="751"/>
                  </a:lnTo>
                  <a:lnTo>
                    <a:pt x="505" y="775"/>
                  </a:lnTo>
                  <a:lnTo>
                    <a:pt x="501" y="775"/>
                  </a:lnTo>
                  <a:lnTo>
                    <a:pt x="484" y="779"/>
                  </a:lnTo>
                  <a:lnTo>
                    <a:pt x="479" y="779"/>
                  </a:lnTo>
                  <a:lnTo>
                    <a:pt x="430" y="725"/>
                  </a:lnTo>
                  <a:lnTo>
                    <a:pt x="425" y="735"/>
                  </a:lnTo>
                  <a:lnTo>
                    <a:pt x="378" y="718"/>
                  </a:lnTo>
                  <a:lnTo>
                    <a:pt x="361" y="725"/>
                  </a:lnTo>
                  <a:lnTo>
                    <a:pt x="333" y="725"/>
                  </a:lnTo>
                  <a:lnTo>
                    <a:pt x="307" y="725"/>
                  </a:lnTo>
                  <a:lnTo>
                    <a:pt x="286" y="742"/>
                  </a:lnTo>
                  <a:lnTo>
                    <a:pt x="279" y="779"/>
                  </a:lnTo>
                  <a:lnTo>
                    <a:pt x="269" y="796"/>
                  </a:lnTo>
                  <a:lnTo>
                    <a:pt x="248" y="812"/>
                  </a:lnTo>
                  <a:lnTo>
                    <a:pt x="248" y="862"/>
                  </a:lnTo>
                  <a:lnTo>
                    <a:pt x="253" y="869"/>
                  </a:lnTo>
                  <a:lnTo>
                    <a:pt x="248" y="879"/>
                  </a:lnTo>
                  <a:lnTo>
                    <a:pt x="248" y="879"/>
                  </a:lnTo>
                  <a:lnTo>
                    <a:pt x="248" y="879"/>
                  </a:lnTo>
                  <a:close/>
                </a:path>
              </a:pathLst>
            </a:custGeom>
            <a:pattFill prst="lt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71" name="Freeform 521">
              <a:extLst>
                <a:ext uri="{FF2B5EF4-FFF2-40B4-BE49-F238E27FC236}">
                  <a16:creationId xmlns:a16="http://schemas.microsoft.com/office/drawing/2014/main" id="{E248D6DA-BE6A-4C09-9A6D-3F1CE8556A14}"/>
                </a:ext>
              </a:extLst>
            </p:cNvPr>
            <p:cNvSpPr>
              <a:spLocks noEditPoints="1"/>
            </p:cNvSpPr>
            <p:nvPr/>
          </p:nvSpPr>
          <p:spPr bwMode="gray">
            <a:xfrm>
              <a:off x="5867162" y="4106253"/>
              <a:ext cx="416191" cy="346453"/>
            </a:xfrm>
            <a:custGeom>
              <a:avLst/>
              <a:gdLst>
                <a:gd name="T0" fmla="*/ 648 w 841"/>
                <a:gd name="T1" fmla="*/ 494 h 700"/>
                <a:gd name="T2" fmla="*/ 610 w 841"/>
                <a:gd name="T3" fmla="*/ 539 h 700"/>
                <a:gd name="T4" fmla="*/ 556 w 841"/>
                <a:gd name="T5" fmla="*/ 494 h 700"/>
                <a:gd name="T6" fmla="*/ 522 w 841"/>
                <a:gd name="T7" fmla="*/ 501 h 700"/>
                <a:gd name="T8" fmla="*/ 492 w 841"/>
                <a:gd name="T9" fmla="*/ 534 h 700"/>
                <a:gd name="T10" fmla="*/ 437 w 841"/>
                <a:gd name="T11" fmla="*/ 605 h 700"/>
                <a:gd name="T12" fmla="*/ 409 w 841"/>
                <a:gd name="T13" fmla="*/ 666 h 700"/>
                <a:gd name="T14" fmla="*/ 395 w 841"/>
                <a:gd name="T15" fmla="*/ 671 h 700"/>
                <a:gd name="T16" fmla="*/ 345 w 841"/>
                <a:gd name="T17" fmla="*/ 666 h 700"/>
                <a:gd name="T18" fmla="*/ 308 w 841"/>
                <a:gd name="T19" fmla="*/ 662 h 700"/>
                <a:gd name="T20" fmla="*/ 303 w 841"/>
                <a:gd name="T21" fmla="*/ 666 h 700"/>
                <a:gd name="T22" fmla="*/ 291 w 841"/>
                <a:gd name="T23" fmla="*/ 688 h 700"/>
                <a:gd name="T24" fmla="*/ 286 w 841"/>
                <a:gd name="T25" fmla="*/ 688 h 700"/>
                <a:gd name="T26" fmla="*/ 286 w 841"/>
                <a:gd name="T27" fmla="*/ 688 h 700"/>
                <a:gd name="T28" fmla="*/ 253 w 841"/>
                <a:gd name="T29" fmla="*/ 683 h 700"/>
                <a:gd name="T30" fmla="*/ 215 w 841"/>
                <a:gd name="T31" fmla="*/ 683 h 700"/>
                <a:gd name="T32" fmla="*/ 199 w 841"/>
                <a:gd name="T33" fmla="*/ 633 h 700"/>
                <a:gd name="T34" fmla="*/ 211 w 841"/>
                <a:gd name="T35" fmla="*/ 605 h 700"/>
                <a:gd name="T36" fmla="*/ 178 w 841"/>
                <a:gd name="T37" fmla="*/ 605 h 700"/>
                <a:gd name="T38" fmla="*/ 156 w 841"/>
                <a:gd name="T39" fmla="*/ 572 h 700"/>
                <a:gd name="T40" fmla="*/ 85 w 841"/>
                <a:gd name="T41" fmla="*/ 522 h 700"/>
                <a:gd name="T42" fmla="*/ 48 w 841"/>
                <a:gd name="T43" fmla="*/ 551 h 700"/>
                <a:gd name="T44" fmla="*/ 0 w 841"/>
                <a:gd name="T45" fmla="*/ 440 h 700"/>
                <a:gd name="T46" fmla="*/ 38 w 841"/>
                <a:gd name="T47" fmla="*/ 329 h 700"/>
                <a:gd name="T48" fmla="*/ 71 w 841"/>
                <a:gd name="T49" fmla="*/ 284 h 700"/>
                <a:gd name="T50" fmla="*/ 76 w 841"/>
                <a:gd name="T51" fmla="*/ 244 h 700"/>
                <a:gd name="T52" fmla="*/ 76 w 841"/>
                <a:gd name="T53" fmla="*/ 222 h 700"/>
                <a:gd name="T54" fmla="*/ 71 w 841"/>
                <a:gd name="T55" fmla="*/ 161 h 700"/>
                <a:gd name="T56" fmla="*/ 71 w 841"/>
                <a:gd name="T57" fmla="*/ 95 h 700"/>
                <a:gd name="T58" fmla="*/ 109 w 841"/>
                <a:gd name="T59" fmla="*/ 22 h 700"/>
                <a:gd name="T60" fmla="*/ 185 w 841"/>
                <a:gd name="T61" fmla="*/ 5 h 700"/>
                <a:gd name="T62" fmla="*/ 253 w 841"/>
                <a:gd name="T63" fmla="*/ 5 h 700"/>
                <a:gd name="T64" fmla="*/ 324 w 841"/>
                <a:gd name="T65" fmla="*/ 57 h 700"/>
                <a:gd name="T66" fmla="*/ 383 w 841"/>
                <a:gd name="T67" fmla="*/ 38 h 700"/>
                <a:gd name="T68" fmla="*/ 522 w 841"/>
                <a:gd name="T69" fmla="*/ 38 h 700"/>
                <a:gd name="T70" fmla="*/ 685 w 841"/>
                <a:gd name="T71" fmla="*/ 57 h 700"/>
                <a:gd name="T72" fmla="*/ 749 w 841"/>
                <a:gd name="T73" fmla="*/ 5 h 700"/>
                <a:gd name="T74" fmla="*/ 808 w 841"/>
                <a:gd name="T75" fmla="*/ 107 h 700"/>
                <a:gd name="T76" fmla="*/ 841 w 841"/>
                <a:gd name="T77" fmla="*/ 149 h 700"/>
                <a:gd name="T78" fmla="*/ 792 w 841"/>
                <a:gd name="T79" fmla="*/ 189 h 700"/>
                <a:gd name="T80" fmla="*/ 754 w 841"/>
                <a:gd name="T81" fmla="*/ 272 h 700"/>
                <a:gd name="T82" fmla="*/ 719 w 841"/>
                <a:gd name="T83" fmla="*/ 329 h 700"/>
                <a:gd name="T84" fmla="*/ 685 w 841"/>
                <a:gd name="T85" fmla="*/ 383 h 700"/>
                <a:gd name="T86" fmla="*/ 669 w 841"/>
                <a:gd name="T87" fmla="*/ 428 h 700"/>
                <a:gd name="T88" fmla="*/ 643 w 841"/>
                <a:gd name="T89" fmla="*/ 478 h 700"/>
                <a:gd name="T90" fmla="*/ 319 w 841"/>
                <a:gd name="T91" fmla="*/ 688 h 700"/>
                <a:gd name="T92" fmla="*/ 319 w 841"/>
                <a:gd name="T93" fmla="*/ 688 h 700"/>
                <a:gd name="T94" fmla="*/ 341 w 841"/>
                <a:gd name="T95" fmla="*/ 683 h 700"/>
                <a:gd name="T96" fmla="*/ 341 w 841"/>
                <a:gd name="T97" fmla="*/ 683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1" h="700">
                  <a:moveTo>
                    <a:pt x="643" y="478"/>
                  </a:moveTo>
                  <a:lnTo>
                    <a:pt x="643" y="478"/>
                  </a:lnTo>
                  <a:lnTo>
                    <a:pt x="648" y="494"/>
                  </a:lnTo>
                  <a:lnTo>
                    <a:pt x="626" y="506"/>
                  </a:lnTo>
                  <a:lnTo>
                    <a:pt x="626" y="522"/>
                  </a:lnTo>
                  <a:lnTo>
                    <a:pt x="610" y="539"/>
                  </a:lnTo>
                  <a:lnTo>
                    <a:pt x="593" y="539"/>
                  </a:lnTo>
                  <a:lnTo>
                    <a:pt x="593" y="518"/>
                  </a:lnTo>
                  <a:lnTo>
                    <a:pt x="556" y="494"/>
                  </a:lnTo>
                  <a:lnTo>
                    <a:pt x="556" y="506"/>
                  </a:lnTo>
                  <a:lnTo>
                    <a:pt x="534" y="506"/>
                  </a:lnTo>
                  <a:lnTo>
                    <a:pt x="522" y="501"/>
                  </a:lnTo>
                  <a:lnTo>
                    <a:pt x="506" y="518"/>
                  </a:lnTo>
                  <a:lnTo>
                    <a:pt x="501" y="518"/>
                  </a:lnTo>
                  <a:lnTo>
                    <a:pt x="492" y="534"/>
                  </a:lnTo>
                  <a:lnTo>
                    <a:pt x="471" y="551"/>
                  </a:lnTo>
                  <a:lnTo>
                    <a:pt x="437" y="577"/>
                  </a:lnTo>
                  <a:lnTo>
                    <a:pt x="437" y="605"/>
                  </a:lnTo>
                  <a:lnTo>
                    <a:pt x="433" y="629"/>
                  </a:lnTo>
                  <a:lnTo>
                    <a:pt x="416" y="662"/>
                  </a:lnTo>
                  <a:lnTo>
                    <a:pt x="409" y="666"/>
                  </a:lnTo>
                  <a:lnTo>
                    <a:pt x="395" y="650"/>
                  </a:lnTo>
                  <a:lnTo>
                    <a:pt x="400" y="666"/>
                  </a:lnTo>
                  <a:lnTo>
                    <a:pt x="395" y="671"/>
                  </a:lnTo>
                  <a:lnTo>
                    <a:pt x="357" y="683"/>
                  </a:lnTo>
                  <a:lnTo>
                    <a:pt x="345" y="671"/>
                  </a:lnTo>
                  <a:lnTo>
                    <a:pt x="345" y="666"/>
                  </a:lnTo>
                  <a:lnTo>
                    <a:pt x="341" y="671"/>
                  </a:lnTo>
                  <a:lnTo>
                    <a:pt x="324" y="671"/>
                  </a:lnTo>
                  <a:lnTo>
                    <a:pt x="308" y="662"/>
                  </a:lnTo>
                  <a:lnTo>
                    <a:pt x="319" y="683"/>
                  </a:lnTo>
                  <a:lnTo>
                    <a:pt x="308" y="683"/>
                  </a:lnTo>
                  <a:lnTo>
                    <a:pt x="303" y="666"/>
                  </a:lnTo>
                  <a:lnTo>
                    <a:pt x="303" y="666"/>
                  </a:lnTo>
                  <a:lnTo>
                    <a:pt x="308" y="688"/>
                  </a:lnTo>
                  <a:lnTo>
                    <a:pt x="291" y="688"/>
                  </a:lnTo>
                  <a:lnTo>
                    <a:pt x="291" y="662"/>
                  </a:lnTo>
                  <a:lnTo>
                    <a:pt x="291" y="688"/>
                  </a:lnTo>
                  <a:lnTo>
                    <a:pt x="286" y="688"/>
                  </a:lnTo>
                  <a:lnTo>
                    <a:pt x="286" y="671"/>
                  </a:lnTo>
                  <a:lnTo>
                    <a:pt x="286" y="683"/>
                  </a:lnTo>
                  <a:lnTo>
                    <a:pt x="286" y="688"/>
                  </a:lnTo>
                  <a:lnTo>
                    <a:pt x="253" y="700"/>
                  </a:lnTo>
                  <a:lnTo>
                    <a:pt x="265" y="683"/>
                  </a:lnTo>
                  <a:lnTo>
                    <a:pt x="253" y="683"/>
                  </a:lnTo>
                  <a:lnTo>
                    <a:pt x="248" y="688"/>
                  </a:lnTo>
                  <a:lnTo>
                    <a:pt x="237" y="700"/>
                  </a:lnTo>
                  <a:lnTo>
                    <a:pt x="215" y="683"/>
                  </a:lnTo>
                  <a:lnTo>
                    <a:pt x="199" y="650"/>
                  </a:lnTo>
                  <a:lnTo>
                    <a:pt x="194" y="633"/>
                  </a:lnTo>
                  <a:lnTo>
                    <a:pt x="199" y="633"/>
                  </a:lnTo>
                  <a:lnTo>
                    <a:pt x="194" y="633"/>
                  </a:lnTo>
                  <a:lnTo>
                    <a:pt x="194" y="617"/>
                  </a:lnTo>
                  <a:lnTo>
                    <a:pt x="211" y="605"/>
                  </a:lnTo>
                  <a:lnTo>
                    <a:pt x="199" y="612"/>
                  </a:lnTo>
                  <a:lnTo>
                    <a:pt x="185" y="612"/>
                  </a:lnTo>
                  <a:lnTo>
                    <a:pt x="178" y="605"/>
                  </a:lnTo>
                  <a:lnTo>
                    <a:pt x="199" y="593"/>
                  </a:lnTo>
                  <a:lnTo>
                    <a:pt x="178" y="605"/>
                  </a:lnTo>
                  <a:lnTo>
                    <a:pt x="156" y="572"/>
                  </a:lnTo>
                  <a:lnTo>
                    <a:pt x="130" y="551"/>
                  </a:lnTo>
                  <a:lnTo>
                    <a:pt x="55" y="539"/>
                  </a:lnTo>
                  <a:lnTo>
                    <a:pt x="85" y="522"/>
                  </a:lnTo>
                  <a:lnTo>
                    <a:pt x="60" y="534"/>
                  </a:lnTo>
                  <a:lnTo>
                    <a:pt x="60" y="534"/>
                  </a:lnTo>
                  <a:lnTo>
                    <a:pt x="48" y="551"/>
                  </a:lnTo>
                  <a:lnTo>
                    <a:pt x="5" y="551"/>
                  </a:lnTo>
                  <a:lnTo>
                    <a:pt x="5" y="494"/>
                  </a:lnTo>
                  <a:lnTo>
                    <a:pt x="0" y="440"/>
                  </a:lnTo>
                  <a:lnTo>
                    <a:pt x="5" y="350"/>
                  </a:lnTo>
                  <a:lnTo>
                    <a:pt x="34" y="350"/>
                  </a:lnTo>
                  <a:lnTo>
                    <a:pt x="38" y="329"/>
                  </a:lnTo>
                  <a:lnTo>
                    <a:pt x="55" y="300"/>
                  </a:lnTo>
                  <a:lnTo>
                    <a:pt x="48" y="296"/>
                  </a:lnTo>
                  <a:lnTo>
                    <a:pt x="71" y="284"/>
                  </a:lnTo>
                  <a:lnTo>
                    <a:pt x="76" y="272"/>
                  </a:lnTo>
                  <a:lnTo>
                    <a:pt x="71" y="260"/>
                  </a:lnTo>
                  <a:lnTo>
                    <a:pt x="76" y="244"/>
                  </a:lnTo>
                  <a:lnTo>
                    <a:pt x="85" y="255"/>
                  </a:lnTo>
                  <a:lnTo>
                    <a:pt x="85" y="239"/>
                  </a:lnTo>
                  <a:lnTo>
                    <a:pt x="76" y="222"/>
                  </a:lnTo>
                  <a:lnTo>
                    <a:pt x="76" y="201"/>
                  </a:lnTo>
                  <a:lnTo>
                    <a:pt x="60" y="173"/>
                  </a:lnTo>
                  <a:lnTo>
                    <a:pt x="71" y="161"/>
                  </a:lnTo>
                  <a:lnTo>
                    <a:pt x="76" y="149"/>
                  </a:lnTo>
                  <a:lnTo>
                    <a:pt x="71" y="144"/>
                  </a:lnTo>
                  <a:lnTo>
                    <a:pt x="71" y="95"/>
                  </a:lnTo>
                  <a:lnTo>
                    <a:pt x="93" y="78"/>
                  </a:lnTo>
                  <a:lnTo>
                    <a:pt x="102" y="62"/>
                  </a:lnTo>
                  <a:lnTo>
                    <a:pt x="109" y="22"/>
                  </a:lnTo>
                  <a:lnTo>
                    <a:pt x="130" y="5"/>
                  </a:lnTo>
                  <a:lnTo>
                    <a:pt x="156" y="5"/>
                  </a:lnTo>
                  <a:lnTo>
                    <a:pt x="185" y="5"/>
                  </a:lnTo>
                  <a:lnTo>
                    <a:pt x="199" y="0"/>
                  </a:lnTo>
                  <a:lnTo>
                    <a:pt x="248" y="17"/>
                  </a:lnTo>
                  <a:lnTo>
                    <a:pt x="253" y="5"/>
                  </a:lnTo>
                  <a:lnTo>
                    <a:pt x="303" y="62"/>
                  </a:lnTo>
                  <a:lnTo>
                    <a:pt x="308" y="62"/>
                  </a:lnTo>
                  <a:lnTo>
                    <a:pt x="324" y="57"/>
                  </a:lnTo>
                  <a:lnTo>
                    <a:pt x="329" y="57"/>
                  </a:lnTo>
                  <a:lnTo>
                    <a:pt x="362" y="33"/>
                  </a:lnTo>
                  <a:lnTo>
                    <a:pt x="383" y="38"/>
                  </a:lnTo>
                  <a:lnTo>
                    <a:pt x="426" y="62"/>
                  </a:lnTo>
                  <a:lnTo>
                    <a:pt x="492" y="78"/>
                  </a:lnTo>
                  <a:lnTo>
                    <a:pt x="522" y="38"/>
                  </a:lnTo>
                  <a:lnTo>
                    <a:pt x="560" y="33"/>
                  </a:lnTo>
                  <a:lnTo>
                    <a:pt x="615" y="33"/>
                  </a:lnTo>
                  <a:lnTo>
                    <a:pt x="685" y="57"/>
                  </a:lnTo>
                  <a:lnTo>
                    <a:pt x="719" y="22"/>
                  </a:lnTo>
                  <a:lnTo>
                    <a:pt x="740" y="22"/>
                  </a:lnTo>
                  <a:lnTo>
                    <a:pt x="749" y="5"/>
                  </a:lnTo>
                  <a:lnTo>
                    <a:pt x="771" y="5"/>
                  </a:lnTo>
                  <a:lnTo>
                    <a:pt x="804" y="57"/>
                  </a:lnTo>
                  <a:lnTo>
                    <a:pt x="808" y="107"/>
                  </a:lnTo>
                  <a:lnTo>
                    <a:pt x="830" y="111"/>
                  </a:lnTo>
                  <a:lnTo>
                    <a:pt x="841" y="116"/>
                  </a:lnTo>
                  <a:lnTo>
                    <a:pt x="841" y="149"/>
                  </a:lnTo>
                  <a:lnTo>
                    <a:pt x="841" y="168"/>
                  </a:lnTo>
                  <a:lnTo>
                    <a:pt x="808" y="189"/>
                  </a:lnTo>
                  <a:lnTo>
                    <a:pt x="792" y="189"/>
                  </a:lnTo>
                  <a:lnTo>
                    <a:pt x="778" y="206"/>
                  </a:lnTo>
                  <a:lnTo>
                    <a:pt x="761" y="239"/>
                  </a:lnTo>
                  <a:lnTo>
                    <a:pt x="754" y="272"/>
                  </a:lnTo>
                  <a:lnTo>
                    <a:pt x="749" y="279"/>
                  </a:lnTo>
                  <a:lnTo>
                    <a:pt x="740" y="312"/>
                  </a:lnTo>
                  <a:lnTo>
                    <a:pt x="719" y="329"/>
                  </a:lnTo>
                  <a:lnTo>
                    <a:pt x="707" y="371"/>
                  </a:lnTo>
                  <a:lnTo>
                    <a:pt x="702" y="383"/>
                  </a:lnTo>
                  <a:lnTo>
                    <a:pt x="685" y="383"/>
                  </a:lnTo>
                  <a:lnTo>
                    <a:pt x="685" y="390"/>
                  </a:lnTo>
                  <a:lnTo>
                    <a:pt x="669" y="395"/>
                  </a:lnTo>
                  <a:lnTo>
                    <a:pt x="669" y="428"/>
                  </a:lnTo>
                  <a:lnTo>
                    <a:pt x="652" y="444"/>
                  </a:lnTo>
                  <a:lnTo>
                    <a:pt x="652" y="461"/>
                  </a:lnTo>
                  <a:lnTo>
                    <a:pt x="643" y="478"/>
                  </a:lnTo>
                  <a:lnTo>
                    <a:pt x="643" y="478"/>
                  </a:lnTo>
                  <a:lnTo>
                    <a:pt x="643" y="478"/>
                  </a:lnTo>
                  <a:close/>
                  <a:moveTo>
                    <a:pt x="319" y="688"/>
                  </a:moveTo>
                  <a:lnTo>
                    <a:pt x="324" y="671"/>
                  </a:lnTo>
                  <a:lnTo>
                    <a:pt x="329" y="683"/>
                  </a:lnTo>
                  <a:lnTo>
                    <a:pt x="319" y="688"/>
                  </a:lnTo>
                  <a:lnTo>
                    <a:pt x="319" y="688"/>
                  </a:lnTo>
                  <a:lnTo>
                    <a:pt x="319" y="688"/>
                  </a:lnTo>
                  <a:close/>
                  <a:moveTo>
                    <a:pt x="341" y="683"/>
                  </a:moveTo>
                  <a:lnTo>
                    <a:pt x="329" y="683"/>
                  </a:lnTo>
                  <a:lnTo>
                    <a:pt x="341" y="683"/>
                  </a:lnTo>
                  <a:lnTo>
                    <a:pt x="341" y="683"/>
                  </a:lnTo>
                  <a:lnTo>
                    <a:pt x="341" y="683"/>
                  </a:lnTo>
                  <a:lnTo>
                    <a:pt x="341" y="683"/>
                  </a:lnTo>
                  <a:close/>
                </a:path>
              </a:pathLst>
            </a:custGeom>
            <a:pattFill prst="lt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2" name="Freeform 522">
              <a:extLst>
                <a:ext uri="{FF2B5EF4-FFF2-40B4-BE49-F238E27FC236}">
                  <a16:creationId xmlns:a16="http://schemas.microsoft.com/office/drawing/2014/main" id="{C052BD5A-2B1B-47CA-BDD5-04A6CD9509FD}"/>
                </a:ext>
              </a:extLst>
            </p:cNvPr>
            <p:cNvSpPr>
              <a:spLocks noEditPoints="1"/>
            </p:cNvSpPr>
            <p:nvPr/>
          </p:nvSpPr>
          <p:spPr bwMode="gray">
            <a:xfrm>
              <a:off x="5892895" y="2490795"/>
              <a:ext cx="133617" cy="128682"/>
            </a:xfrm>
            <a:custGeom>
              <a:avLst/>
              <a:gdLst>
                <a:gd name="T0" fmla="*/ 156 w 270"/>
                <a:gd name="T1" fmla="*/ 0 h 260"/>
                <a:gd name="T2" fmla="*/ 161 w 270"/>
                <a:gd name="T3" fmla="*/ 0 h 260"/>
                <a:gd name="T4" fmla="*/ 161 w 270"/>
                <a:gd name="T5" fmla="*/ 0 h 260"/>
                <a:gd name="T6" fmla="*/ 270 w 270"/>
                <a:gd name="T7" fmla="*/ 49 h 260"/>
                <a:gd name="T8" fmla="*/ 237 w 270"/>
                <a:gd name="T9" fmla="*/ 78 h 260"/>
                <a:gd name="T10" fmla="*/ 253 w 270"/>
                <a:gd name="T11" fmla="*/ 104 h 260"/>
                <a:gd name="T12" fmla="*/ 232 w 270"/>
                <a:gd name="T13" fmla="*/ 132 h 260"/>
                <a:gd name="T14" fmla="*/ 178 w 270"/>
                <a:gd name="T15" fmla="*/ 161 h 260"/>
                <a:gd name="T16" fmla="*/ 199 w 270"/>
                <a:gd name="T17" fmla="*/ 205 h 260"/>
                <a:gd name="T18" fmla="*/ 185 w 270"/>
                <a:gd name="T19" fmla="*/ 222 h 260"/>
                <a:gd name="T20" fmla="*/ 185 w 270"/>
                <a:gd name="T21" fmla="*/ 243 h 260"/>
                <a:gd name="T22" fmla="*/ 161 w 270"/>
                <a:gd name="T23" fmla="*/ 260 h 260"/>
                <a:gd name="T24" fmla="*/ 168 w 270"/>
                <a:gd name="T25" fmla="*/ 222 h 260"/>
                <a:gd name="T26" fmla="*/ 130 w 270"/>
                <a:gd name="T27" fmla="*/ 217 h 260"/>
                <a:gd name="T28" fmla="*/ 109 w 270"/>
                <a:gd name="T29" fmla="*/ 198 h 260"/>
                <a:gd name="T30" fmla="*/ 85 w 270"/>
                <a:gd name="T31" fmla="*/ 198 h 260"/>
                <a:gd name="T32" fmla="*/ 69 w 270"/>
                <a:gd name="T33" fmla="*/ 198 h 260"/>
                <a:gd name="T34" fmla="*/ 59 w 270"/>
                <a:gd name="T35" fmla="*/ 198 h 260"/>
                <a:gd name="T36" fmla="*/ 0 w 270"/>
                <a:gd name="T37" fmla="*/ 189 h 260"/>
                <a:gd name="T38" fmla="*/ 31 w 270"/>
                <a:gd name="T39" fmla="*/ 182 h 260"/>
                <a:gd name="T40" fmla="*/ 55 w 270"/>
                <a:gd name="T41" fmla="*/ 198 h 260"/>
                <a:gd name="T42" fmla="*/ 38 w 270"/>
                <a:gd name="T43" fmla="*/ 182 h 260"/>
                <a:gd name="T44" fmla="*/ 22 w 270"/>
                <a:gd name="T45" fmla="*/ 165 h 260"/>
                <a:gd name="T46" fmla="*/ 31 w 270"/>
                <a:gd name="T47" fmla="*/ 161 h 260"/>
                <a:gd name="T48" fmla="*/ 38 w 270"/>
                <a:gd name="T49" fmla="*/ 144 h 260"/>
                <a:gd name="T50" fmla="*/ 85 w 270"/>
                <a:gd name="T51" fmla="*/ 94 h 260"/>
                <a:gd name="T52" fmla="*/ 168 w 270"/>
                <a:gd name="T53" fmla="*/ 94 h 260"/>
                <a:gd name="T54" fmla="*/ 156 w 270"/>
                <a:gd name="T55" fmla="*/ 78 h 260"/>
                <a:gd name="T56" fmla="*/ 161 w 270"/>
                <a:gd name="T57" fmla="*/ 66 h 260"/>
                <a:gd name="T58" fmla="*/ 140 w 270"/>
                <a:gd name="T59" fmla="*/ 38 h 260"/>
                <a:gd name="T60" fmla="*/ 123 w 270"/>
                <a:gd name="T61" fmla="*/ 66 h 260"/>
                <a:gd name="T62" fmla="*/ 114 w 270"/>
                <a:gd name="T63" fmla="*/ 78 h 260"/>
                <a:gd name="T64" fmla="*/ 114 w 270"/>
                <a:gd name="T65" fmla="*/ 104 h 260"/>
                <a:gd name="T66" fmla="*/ 93 w 270"/>
                <a:gd name="T67" fmla="*/ 49 h 260"/>
                <a:gd name="T68" fmla="*/ 114 w 270"/>
                <a:gd name="T69" fmla="*/ 49 h 260"/>
                <a:gd name="T70" fmla="*/ 178 w 270"/>
                <a:gd name="T71" fmla="*/ 9 h 260"/>
                <a:gd name="T72" fmla="*/ 270 w 270"/>
                <a:gd name="T73" fmla="*/ 21 h 260"/>
                <a:gd name="T74" fmla="*/ 270 w 270"/>
                <a:gd name="T75" fmla="*/ 21 h 260"/>
                <a:gd name="T76" fmla="*/ 93 w 270"/>
                <a:gd name="T77" fmla="*/ 38 h 260"/>
                <a:gd name="T78" fmla="*/ 109 w 270"/>
                <a:gd name="T79" fmla="*/ 38 h 260"/>
                <a:gd name="T80" fmla="*/ 93 w 270"/>
                <a:gd name="T81" fmla="*/ 49 h 260"/>
                <a:gd name="T82" fmla="*/ 114 w 270"/>
                <a:gd name="T83" fmla="*/ 104 h 260"/>
                <a:gd name="T84" fmla="*/ 130 w 270"/>
                <a:gd name="T85" fmla="*/ 71 h 260"/>
                <a:gd name="T86" fmla="*/ 123 w 270"/>
                <a:gd name="T87" fmla="*/ 104 h 260"/>
                <a:gd name="T88" fmla="*/ 114 w 270"/>
                <a:gd name="T89" fmla="*/ 104 h 260"/>
                <a:gd name="T90" fmla="*/ 114 w 270"/>
                <a:gd name="T91" fmla="*/ 104 h 260"/>
                <a:gd name="T92" fmla="*/ 140 w 270"/>
                <a:gd name="T93" fmla="*/ 120 h 260"/>
                <a:gd name="T94" fmla="*/ 156 w 270"/>
                <a:gd name="T95" fmla="*/ 87 h 260"/>
                <a:gd name="T96" fmla="*/ 168 w 270"/>
                <a:gd name="T97" fmla="*/ 104 h 260"/>
                <a:gd name="T98" fmla="*/ 156 w 270"/>
                <a:gd name="T99" fmla="*/ 104 h 260"/>
                <a:gd name="T100" fmla="*/ 59 w 270"/>
                <a:gd name="T101" fmla="*/ 205 h 260"/>
                <a:gd name="T102" fmla="*/ 17 w 270"/>
                <a:gd name="T103" fmla="*/ 205 h 260"/>
                <a:gd name="T104" fmla="*/ 0 w 270"/>
                <a:gd name="T105" fmla="*/ 198 h 260"/>
                <a:gd name="T106" fmla="*/ 59 w 270"/>
                <a:gd name="T107" fmla="*/ 20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0" h="260">
                  <a:moveTo>
                    <a:pt x="161" y="0"/>
                  </a:moveTo>
                  <a:lnTo>
                    <a:pt x="156" y="0"/>
                  </a:lnTo>
                  <a:lnTo>
                    <a:pt x="178" y="0"/>
                  </a:lnTo>
                  <a:lnTo>
                    <a:pt x="161" y="0"/>
                  </a:lnTo>
                  <a:lnTo>
                    <a:pt x="161" y="0"/>
                  </a:lnTo>
                  <a:lnTo>
                    <a:pt x="161" y="0"/>
                  </a:lnTo>
                  <a:close/>
                  <a:moveTo>
                    <a:pt x="270" y="21"/>
                  </a:moveTo>
                  <a:lnTo>
                    <a:pt x="270" y="49"/>
                  </a:lnTo>
                  <a:lnTo>
                    <a:pt x="253" y="78"/>
                  </a:lnTo>
                  <a:lnTo>
                    <a:pt x="237" y="78"/>
                  </a:lnTo>
                  <a:lnTo>
                    <a:pt x="232" y="87"/>
                  </a:lnTo>
                  <a:lnTo>
                    <a:pt x="253" y="104"/>
                  </a:lnTo>
                  <a:lnTo>
                    <a:pt x="253" y="120"/>
                  </a:lnTo>
                  <a:lnTo>
                    <a:pt x="232" y="132"/>
                  </a:lnTo>
                  <a:lnTo>
                    <a:pt x="237" y="144"/>
                  </a:lnTo>
                  <a:lnTo>
                    <a:pt x="178" y="161"/>
                  </a:lnTo>
                  <a:lnTo>
                    <a:pt x="199" y="189"/>
                  </a:lnTo>
                  <a:lnTo>
                    <a:pt x="199" y="205"/>
                  </a:lnTo>
                  <a:lnTo>
                    <a:pt x="185" y="217"/>
                  </a:lnTo>
                  <a:lnTo>
                    <a:pt x="185" y="222"/>
                  </a:lnTo>
                  <a:lnTo>
                    <a:pt x="168" y="234"/>
                  </a:lnTo>
                  <a:lnTo>
                    <a:pt x="185" y="243"/>
                  </a:lnTo>
                  <a:lnTo>
                    <a:pt x="185" y="260"/>
                  </a:lnTo>
                  <a:lnTo>
                    <a:pt x="161" y="260"/>
                  </a:lnTo>
                  <a:lnTo>
                    <a:pt x="156" y="255"/>
                  </a:lnTo>
                  <a:lnTo>
                    <a:pt x="168" y="222"/>
                  </a:lnTo>
                  <a:lnTo>
                    <a:pt x="147" y="205"/>
                  </a:lnTo>
                  <a:lnTo>
                    <a:pt x="130" y="217"/>
                  </a:lnTo>
                  <a:lnTo>
                    <a:pt x="114" y="189"/>
                  </a:lnTo>
                  <a:lnTo>
                    <a:pt x="109" y="198"/>
                  </a:lnTo>
                  <a:lnTo>
                    <a:pt x="102" y="189"/>
                  </a:lnTo>
                  <a:lnTo>
                    <a:pt x="85" y="198"/>
                  </a:lnTo>
                  <a:lnTo>
                    <a:pt x="76" y="189"/>
                  </a:lnTo>
                  <a:lnTo>
                    <a:pt x="69" y="198"/>
                  </a:lnTo>
                  <a:lnTo>
                    <a:pt x="69" y="205"/>
                  </a:lnTo>
                  <a:lnTo>
                    <a:pt x="59" y="198"/>
                  </a:lnTo>
                  <a:lnTo>
                    <a:pt x="31" y="198"/>
                  </a:lnTo>
                  <a:lnTo>
                    <a:pt x="0" y="189"/>
                  </a:lnTo>
                  <a:lnTo>
                    <a:pt x="31" y="182"/>
                  </a:lnTo>
                  <a:lnTo>
                    <a:pt x="31" y="182"/>
                  </a:lnTo>
                  <a:lnTo>
                    <a:pt x="31" y="182"/>
                  </a:lnTo>
                  <a:lnTo>
                    <a:pt x="55" y="198"/>
                  </a:lnTo>
                  <a:lnTo>
                    <a:pt x="59" y="198"/>
                  </a:lnTo>
                  <a:lnTo>
                    <a:pt x="38" y="182"/>
                  </a:lnTo>
                  <a:lnTo>
                    <a:pt x="55" y="182"/>
                  </a:lnTo>
                  <a:lnTo>
                    <a:pt x="22" y="165"/>
                  </a:lnTo>
                  <a:lnTo>
                    <a:pt x="55" y="177"/>
                  </a:lnTo>
                  <a:lnTo>
                    <a:pt x="31" y="161"/>
                  </a:lnTo>
                  <a:lnTo>
                    <a:pt x="48" y="161"/>
                  </a:lnTo>
                  <a:lnTo>
                    <a:pt x="38" y="144"/>
                  </a:lnTo>
                  <a:lnTo>
                    <a:pt x="69" y="127"/>
                  </a:lnTo>
                  <a:lnTo>
                    <a:pt x="85" y="94"/>
                  </a:lnTo>
                  <a:lnTo>
                    <a:pt x="140" y="120"/>
                  </a:lnTo>
                  <a:lnTo>
                    <a:pt x="168" y="94"/>
                  </a:lnTo>
                  <a:lnTo>
                    <a:pt x="168" y="78"/>
                  </a:lnTo>
                  <a:lnTo>
                    <a:pt x="156" y="78"/>
                  </a:lnTo>
                  <a:lnTo>
                    <a:pt x="156" y="71"/>
                  </a:lnTo>
                  <a:lnTo>
                    <a:pt x="161" y="66"/>
                  </a:lnTo>
                  <a:lnTo>
                    <a:pt x="140" y="54"/>
                  </a:lnTo>
                  <a:lnTo>
                    <a:pt x="140" y="38"/>
                  </a:lnTo>
                  <a:lnTo>
                    <a:pt x="114" y="49"/>
                  </a:lnTo>
                  <a:lnTo>
                    <a:pt x="123" y="66"/>
                  </a:lnTo>
                  <a:lnTo>
                    <a:pt x="130" y="71"/>
                  </a:lnTo>
                  <a:lnTo>
                    <a:pt x="114" y="78"/>
                  </a:lnTo>
                  <a:lnTo>
                    <a:pt x="114" y="94"/>
                  </a:lnTo>
                  <a:lnTo>
                    <a:pt x="114" y="104"/>
                  </a:lnTo>
                  <a:lnTo>
                    <a:pt x="85" y="94"/>
                  </a:lnTo>
                  <a:lnTo>
                    <a:pt x="93" y="49"/>
                  </a:lnTo>
                  <a:lnTo>
                    <a:pt x="102" y="54"/>
                  </a:lnTo>
                  <a:lnTo>
                    <a:pt x="114" y="49"/>
                  </a:lnTo>
                  <a:lnTo>
                    <a:pt x="156" y="16"/>
                  </a:lnTo>
                  <a:lnTo>
                    <a:pt x="178" y="9"/>
                  </a:lnTo>
                  <a:lnTo>
                    <a:pt x="232" y="0"/>
                  </a:lnTo>
                  <a:lnTo>
                    <a:pt x="270" y="21"/>
                  </a:lnTo>
                  <a:lnTo>
                    <a:pt x="270" y="21"/>
                  </a:lnTo>
                  <a:lnTo>
                    <a:pt x="270" y="21"/>
                  </a:lnTo>
                  <a:close/>
                  <a:moveTo>
                    <a:pt x="93" y="49"/>
                  </a:moveTo>
                  <a:lnTo>
                    <a:pt x="93" y="38"/>
                  </a:lnTo>
                  <a:lnTo>
                    <a:pt x="102" y="21"/>
                  </a:lnTo>
                  <a:lnTo>
                    <a:pt x="109" y="38"/>
                  </a:lnTo>
                  <a:lnTo>
                    <a:pt x="93" y="49"/>
                  </a:lnTo>
                  <a:lnTo>
                    <a:pt x="93" y="49"/>
                  </a:lnTo>
                  <a:lnTo>
                    <a:pt x="93" y="49"/>
                  </a:lnTo>
                  <a:close/>
                  <a:moveTo>
                    <a:pt x="114" y="104"/>
                  </a:moveTo>
                  <a:lnTo>
                    <a:pt x="114" y="78"/>
                  </a:lnTo>
                  <a:lnTo>
                    <a:pt x="130" y="71"/>
                  </a:lnTo>
                  <a:lnTo>
                    <a:pt x="147" y="87"/>
                  </a:lnTo>
                  <a:lnTo>
                    <a:pt x="123" y="104"/>
                  </a:lnTo>
                  <a:lnTo>
                    <a:pt x="114" y="104"/>
                  </a:lnTo>
                  <a:lnTo>
                    <a:pt x="114" y="104"/>
                  </a:lnTo>
                  <a:lnTo>
                    <a:pt x="114" y="104"/>
                  </a:lnTo>
                  <a:lnTo>
                    <a:pt x="114" y="104"/>
                  </a:lnTo>
                  <a:close/>
                  <a:moveTo>
                    <a:pt x="156" y="104"/>
                  </a:moveTo>
                  <a:lnTo>
                    <a:pt x="140" y="120"/>
                  </a:lnTo>
                  <a:lnTo>
                    <a:pt x="123" y="104"/>
                  </a:lnTo>
                  <a:lnTo>
                    <a:pt x="156" y="87"/>
                  </a:lnTo>
                  <a:lnTo>
                    <a:pt x="168" y="87"/>
                  </a:lnTo>
                  <a:lnTo>
                    <a:pt x="168" y="104"/>
                  </a:lnTo>
                  <a:lnTo>
                    <a:pt x="156" y="104"/>
                  </a:lnTo>
                  <a:lnTo>
                    <a:pt x="156" y="104"/>
                  </a:lnTo>
                  <a:lnTo>
                    <a:pt x="156" y="104"/>
                  </a:lnTo>
                  <a:close/>
                  <a:moveTo>
                    <a:pt x="59" y="205"/>
                  </a:moveTo>
                  <a:lnTo>
                    <a:pt x="31" y="217"/>
                  </a:lnTo>
                  <a:lnTo>
                    <a:pt x="17" y="205"/>
                  </a:lnTo>
                  <a:lnTo>
                    <a:pt x="0" y="217"/>
                  </a:lnTo>
                  <a:lnTo>
                    <a:pt x="0" y="198"/>
                  </a:lnTo>
                  <a:lnTo>
                    <a:pt x="59" y="205"/>
                  </a:lnTo>
                  <a:lnTo>
                    <a:pt x="59" y="205"/>
                  </a:lnTo>
                  <a:lnTo>
                    <a:pt x="59" y="205"/>
                  </a:lnTo>
                  <a:close/>
                </a:path>
              </a:pathLst>
            </a:custGeom>
            <a:pattFill prst="dk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3" name="Freeform 523">
              <a:extLst>
                <a:ext uri="{FF2B5EF4-FFF2-40B4-BE49-F238E27FC236}">
                  <a16:creationId xmlns:a16="http://schemas.microsoft.com/office/drawing/2014/main" id="{87B41F18-1B15-4658-9188-4CAA6AD5A9F8}"/>
                </a:ext>
              </a:extLst>
            </p:cNvPr>
            <p:cNvSpPr>
              <a:spLocks noEditPoints="1"/>
            </p:cNvSpPr>
            <p:nvPr/>
          </p:nvSpPr>
          <p:spPr bwMode="gray">
            <a:xfrm>
              <a:off x="5943373" y="1502910"/>
              <a:ext cx="911563" cy="759720"/>
            </a:xfrm>
            <a:custGeom>
              <a:avLst/>
              <a:gdLst>
                <a:gd name="T0" fmla="*/ 1713 w 1842"/>
                <a:gd name="T1" fmla="*/ 238 h 1535"/>
                <a:gd name="T2" fmla="*/ 1285 w 1842"/>
                <a:gd name="T3" fmla="*/ 326 h 1535"/>
                <a:gd name="T4" fmla="*/ 919 w 1842"/>
                <a:gd name="T5" fmla="*/ 411 h 1535"/>
                <a:gd name="T6" fmla="*/ 546 w 1842"/>
                <a:gd name="T7" fmla="*/ 886 h 1535"/>
                <a:gd name="T8" fmla="*/ 470 w 1842"/>
                <a:gd name="T9" fmla="*/ 1441 h 1535"/>
                <a:gd name="T10" fmla="*/ 399 w 1842"/>
                <a:gd name="T11" fmla="*/ 1403 h 1535"/>
                <a:gd name="T12" fmla="*/ 92 w 1842"/>
                <a:gd name="T13" fmla="*/ 1453 h 1535"/>
                <a:gd name="T14" fmla="*/ 54 w 1842"/>
                <a:gd name="T15" fmla="*/ 1386 h 1535"/>
                <a:gd name="T16" fmla="*/ 163 w 1842"/>
                <a:gd name="T17" fmla="*/ 1268 h 1535"/>
                <a:gd name="T18" fmla="*/ 54 w 1842"/>
                <a:gd name="T19" fmla="*/ 1242 h 1535"/>
                <a:gd name="T20" fmla="*/ 189 w 1842"/>
                <a:gd name="T21" fmla="*/ 1164 h 1535"/>
                <a:gd name="T22" fmla="*/ 21 w 1842"/>
                <a:gd name="T23" fmla="*/ 1148 h 1535"/>
                <a:gd name="T24" fmla="*/ 97 w 1842"/>
                <a:gd name="T25" fmla="*/ 1058 h 1535"/>
                <a:gd name="T26" fmla="*/ 206 w 1842"/>
                <a:gd name="T27" fmla="*/ 1049 h 1535"/>
                <a:gd name="T28" fmla="*/ 227 w 1842"/>
                <a:gd name="T29" fmla="*/ 980 h 1535"/>
                <a:gd name="T30" fmla="*/ 361 w 1842"/>
                <a:gd name="T31" fmla="*/ 947 h 1535"/>
                <a:gd name="T32" fmla="*/ 352 w 1842"/>
                <a:gd name="T33" fmla="*/ 938 h 1535"/>
                <a:gd name="T34" fmla="*/ 470 w 1842"/>
                <a:gd name="T35" fmla="*/ 815 h 1535"/>
                <a:gd name="T36" fmla="*/ 541 w 1842"/>
                <a:gd name="T37" fmla="*/ 720 h 1535"/>
                <a:gd name="T38" fmla="*/ 567 w 1842"/>
                <a:gd name="T39" fmla="*/ 626 h 1535"/>
                <a:gd name="T40" fmla="*/ 659 w 1842"/>
                <a:gd name="T41" fmla="*/ 503 h 1535"/>
                <a:gd name="T42" fmla="*/ 692 w 1842"/>
                <a:gd name="T43" fmla="*/ 465 h 1535"/>
                <a:gd name="T44" fmla="*/ 702 w 1842"/>
                <a:gd name="T45" fmla="*/ 420 h 1535"/>
                <a:gd name="T46" fmla="*/ 801 w 1842"/>
                <a:gd name="T47" fmla="*/ 387 h 1535"/>
                <a:gd name="T48" fmla="*/ 848 w 1842"/>
                <a:gd name="T49" fmla="*/ 338 h 1535"/>
                <a:gd name="T50" fmla="*/ 994 w 1842"/>
                <a:gd name="T51" fmla="*/ 243 h 1535"/>
                <a:gd name="T52" fmla="*/ 1049 w 1842"/>
                <a:gd name="T53" fmla="*/ 189 h 1535"/>
                <a:gd name="T54" fmla="*/ 1172 w 1842"/>
                <a:gd name="T55" fmla="*/ 111 h 1535"/>
                <a:gd name="T56" fmla="*/ 1318 w 1842"/>
                <a:gd name="T57" fmla="*/ 94 h 1535"/>
                <a:gd name="T58" fmla="*/ 1431 w 1842"/>
                <a:gd name="T59" fmla="*/ 104 h 1535"/>
                <a:gd name="T60" fmla="*/ 1557 w 1842"/>
                <a:gd name="T61" fmla="*/ 71 h 1535"/>
                <a:gd name="T62" fmla="*/ 1625 w 1842"/>
                <a:gd name="T63" fmla="*/ 94 h 1535"/>
                <a:gd name="T64" fmla="*/ 1826 w 1842"/>
                <a:gd name="T65" fmla="*/ 94 h 1535"/>
                <a:gd name="T66" fmla="*/ 1798 w 1842"/>
                <a:gd name="T67" fmla="*/ 189 h 1535"/>
                <a:gd name="T68" fmla="*/ 1205 w 1842"/>
                <a:gd name="T69" fmla="*/ 61 h 1535"/>
                <a:gd name="T70" fmla="*/ 1351 w 1842"/>
                <a:gd name="T71" fmla="*/ 71 h 1535"/>
                <a:gd name="T72" fmla="*/ 1188 w 1842"/>
                <a:gd name="T73" fmla="*/ 116 h 1535"/>
                <a:gd name="T74" fmla="*/ 999 w 1842"/>
                <a:gd name="T75" fmla="*/ 132 h 1535"/>
                <a:gd name="T76" fmla="*/ 1124 w 1842"/>
                <a:gd name="T77" fmla="*/ 132 h 1535"/>
                <a:gd name="T78" fmla="*/ 1124 w 1842"/>
                <a:gd name="T79" fmla="*/ 160 h 1535"/>
                <a:gd name="T80" fmla="*/ 1750 w 1842"/>
                <a:gd name="T81" fmla="*/ 182 h 1535"/>
                <a:gd name="T82" fmla="*/ 940 w 1842"/>
                <a:gd name="T83" fmla="*/ 198 h 1535"/>
                <a:gd name="T84" fmla="*/ 919 w 1842"/>
                <a:gd name="T85" fmla="*/ 238 h 1535"/>
                <a:gd name="T86" fmla="*/ 876 w 1842"/>
                <a:gd name="T87" fmla="*/ 276 h 1535"/>
                <a:gd name="T88" fmla="*/ 676 w 1842"/>
                <a:gd name="T89" fmla="*/ 326 h 1535"/>
                <a:gd name="T90" fmla="*/ 768 w 1842"/>
                <a:gd name="T91" fmla="*/ 349 h 1535"/>
                <a:gd name="T92" fmla="*/ 709 w 1842"/>
                <a:gd name="T93" fmla="*/ 293 h 1535"/>
                <a:gd name="T94" fmla="*/ 794 w 1842"/>
                <a:gd name="T95" fmla="*/ 354 h 1535"/>
                <a:gd name="T96" fmla="*/ 654 w 1842"/>
                <a:gd name="T97" fmla="*/ 371 h 1535"/>
                <a:gd name="T98" fmla="*/ 583 w 1842"/>
                <a:gd name="T99" fmla="*/ 404 h 1535"/>
                <a:gd name="T100" fmla="*/ 725 w 1842"/>
                <a:gd name="T101" fmla="*/ 411 h 1535"/>
                <a:gd name="T102" fmla="*/ 529 w 1842"/>
                <a:gd name="T103" fmla="*/ 666 h 1535"/>
                <a:gd name="T104" fmla="*/ 498 w 1842"/>
                <a:gd name="T105" fmla="*/ 753 h 1535"/>
                <a:gd name="T106" fmla="*/ 454 w 1842"/>
                <a:gd name="T107" fmla="*/ 810 h 1535"/>
                <a:gd name="T108" fmla="*/ 255 w 1842"/>
                <a:gd name="T109" fmla="*/ 942 h 1535"/>
                <a:gd name="T110" fmla="*/ 260 w 1842"/>
                <a:gd name="T111" fmla="*/ 959 h 1535"/>
                <a:gd name="T112" fmla="*/ 239 w 1842"/>
                <a:gd name="T113" fmla="*/ 975 h 1535"/>
                <a:gd name="T114" fmla="*/ 135 w 1842"/>
                <a:gd name="T115" fmla="*/ 1020 h 1535"/>
                <a:gd name="T116" fmla="*/ 66 w 1842"/>
                <a:gd name="T117" fmla="*/ 1075 h 1535"/>
                <a:gd name="T118" fmla="*/ 7 w 1842"/>
                <a:gd name="T119" fmla="*/ 1131 h 1535"/>
                <a:gd name="T120" fmla="*/ 21 w 1842"/>
                <a:gd name="T121" fmla="*/ 1280 h 1535"/>
                <a:gd name="T122" fmla="*/ 28 w 1842"/>
                <a:gd name="T123" fmla="*/ 1325 h 1535"/>
                <a:gd name="T124" fmla="*/ 38 w 1842"/>
                <a:gd name="T125" fmla="*/ 1353 h 1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42" h="1535">
                  <a:moveTo>
                    <a:pt x="1457" y="33"/>
                  </a:moveTo>
                  <a:lnTo>
                    <a:pt x="1443" y="21"/>
                  </a:lnTo>
                  <a:lnTo>
                    <a:pt x="1448" y="16"/>
                  </a:lnTo>
                  <a:lnTo>
                    <a:pt x="1431" y="16"/>
                  </a:lnTo>
                  <a:lnTo>
                    <a:pt x="1465" y="0"/>
                  </a:lnTo>
                  <a:lnTo>
                    <a:pt x="1486" y="5"/>
                  </a:lnTo>
                  <a:lnTo>
                    <a:pt x="1481" y="21"/>
                  </a:lnTo>
                  <a:lnTo>
                    <a:pt x="1495" y="16"/>
                  </a:lnTo>
                  <a:lnTo>
                    <a:pt x="1457" y="33"/>
                  </a:lnTo>
                  <a:lnTo>
                    <a:pt x="1457" y="33"/>
                  </a:lnTo>
                  <a:lnTo>
                    <a:pt x="1457" y="33"/>
                  </a:lnTo>
                  <a:close/>
                  <a:moveTo>
                    <a:pt x="1826" y="172"/>
                  </a:moveTo>
                  <a:lnTo>
                    <a:pt x="1826" y="189"/>
                  </a:lnTo>
                  <a:lnTo>
                    <a:pt x="1826" y="205"/>
                  </a:lnTo>
                  <a:lnTo>
                    <a:pt x="1805" y="205"/>
                  </a:lnTo>
                  <a:lnTo>
                    <a:pt x="1772" y="198"/>
                  </a:lnTo>
                  <a:lnTo>
                    <a:pt x="1772" y="205"/>
                  </a:lnTo>
                  <a:lnTo>
                    <a:pt x="1772" y="215"/>
                  </a:lnTo>
                  <a:lnTo>
                    <a:pt x="1713" y="238"/>
                  </a:lnTo>
                  <a:lnTo>
                    <a:pt x="1713" y="260"/>
                  </a:lnTo>
                  <a:lnTo>
                    <a:pt x="1691" y="272"/>
                  </a:lnTo>
                  <a:lnTo>
                    <a:pt x="1680" y="260"/>
                  </a:lnTo>
                  <a:lnTo>
                    <a:pt x="1680" y="243"/>
                  </a:lnTo>
                  <a:lnTo>
                    <a:pt x="1713" y="215"/>
                  </a:lnTo>
                  <a:lnTo>
                    <a:pt x="1701" y="189"/>
                  </a:lnTo>
                  <a:lnTo>
                    <a:pt x="1646" y="172"/>
                  </a:lnTo>
                  <a:lnTo>
                    <a:pt x="1620" y="144"/>
                  </a:lnTo>
                  <a:lnTo>
                    <a:pt x="1557" y="165"/>
                  </a:lnTo>
                  <a:lnTo>
                    <a:pt x="1519" y="160"/>
                  </a:lnTo>
                  <a:lnTo>
                    <a:pt x="1481" y="189"/>
                  </a:lnTo>
                  <a:lnTo>
                    <a:pt x="1465" y="243"/>
                  </a:lnTo>
                  <a:lnTo>
                    <a:pt x="1465" y="276"/>
                  </a:lnTo>
                  <a:lnTo>
                    <a:pt x="1457" y="293"/>
                  </a:lnTo>
                  <a:lnTo>
                    <a:pt x="1427" y="300"/>
                  </a:lnTo>
                  <a:lnTo>
                    <a:pt x="1420" y="326"/>
                  </a:lnTo>
                  <a:lnTo>
                    <a:pt x="1410" y="333"/>
                  </a:lnTo>
                  <a:lnTo>
                    <a:pt x="1339" y="300"/>
                  </a:lnTo>
                  <a:lnTo>
                    <a:pt x="1285" y="326"/>
                  </a:lnTo>
                  <a:lnTo>
                    <a:pt x="1231" y="316"/>
                  </a:lnTo>
                  <a:lnTo>
                    <a:pt x="1226" y="300"/>
                  </a:lnTo>
                  <a:lnTo>
                    <a:pt x="1179" y="243"/>
                  </a:lnTo>
                  <a:lnTo>
                    <a:pt x="1155" y="238"/>
                  </a:lnTo>
                  <a:lnTo>
                    <a:pt x="1134" y="255"/>
                  </a:lnTo>
                  <a:lnTo>
                    <a:pt x="1141" y="260"/>
                  </a:lnTo>
                  <a:lnTo>
                    <a:pt x="1134" y="276"/>
                  </a:lnTo>
                  <a:lnTo>
                    <a:pt x="1103" y="272"/>
                  </a:lnTo>
                  <a:lnTo>
                    <a:pt x="1070" y="272"/>
                  </a:lnTo>
                  <a:lnTo>
                    <a:pt x="1087" y="283"/>
                  </a:lnTo>
                  <a:lnTo>
                    <a:pt x="1087" y="300"/>
                  </a:lnTo>
                  <a:lnTo>
                    <a:pt x="1054" y="333"/>
                  </a:lnTo>
                  <a:lnTo>
                    <a:pt x="1080" y="338"/>
                  </a:lnTo>
                  <a:lnTo>
                    <a:pt x="1054" y="366"/>
                  </a:lnTo>
                  <a:lnTo>
                    <a:pt x="983" y="338"/>
                  </a:lnTo>
                  <a:lnTo>
                    <a:pt x="924" y="338"/>
                  </a:lnTo>
                  <a:lnTo>
                    <a:pt x="924" y="349"/>
                  </a:lnTo>
                  <a:lnTo>
                    <a:pt x="928" y="383"/>
                  </a:lnTo>
                  <a:lnTo>
                    <a:pt x="919" y="411"/>
                  </a:lnTo>
                  <a:lnTo>
                    <a:pt x="869" y="387"/>
                  </a:lnTo>
                  <a:lnTo>
                    <a:pt x="831" y="411"/>
                  </a:lnTo>
                  <a:lnTo>
                    <a:pt x="815" y="449"/>
                  </a:lnTo>
                  <a:lnTo>
                    <a:pt x="784" y="477"/>
                  </a:lnTo>
                  <a:lnTo>
                    <a:pt x="810" y="498"/>
                  </a:lnTo>
                  <a:lnTo>
                    <a:pt x="810" y="522"/>
                  </a:lnTo>
                  <a:lnTo>
                    <a:pt x="739" y="588"/>
                  </a:lnTo>
                  <a:lnTo>
                    <a:pt x="746" y="609"/>
                  </a:lnTo>
                  <a:lnTo>
                    <a:pt x="713" y="626"/>
                  </a:lnTo>
                  <a:lnTo>
                    <a:pt x="676" y="631"/>
                  </a:lnTo>
                  <a:lnTo>
                    <a:pt x="687" y="666"/>
                  </a:lnTo>
                  <a:lnTo>
                    <a:pt x="676" y="699"/>
                  </a:lnTo>
                  <a:lnTo>
                    <a:pt x="676" y="725"/>
                  </a:lnTo>
                  <a:lnTo>
                    <a:pt x="617" y="815"/>
                  </a:lnTo>
                  <a:lnTo>
                    <a:pt x="650" y="827"/>
                  </a:lnTo>
                  <a:lnTo>
                    <a:pt x="654" y="853"/>
                  </a:lnTo>
                  <a:lnTo>
                    <a:pt x="638" y="881"/>
                  </a:lnTo>
                  <a:lnTo>
                    <a:pt x="567" y="869"/>
                  </a:lnTo>
                  <a:lnTo>
                    <a:pt x="546" y="886"/>
                  </a:lnTo>
                  <a:lnTo>
                    <a:pt x="508" y="926"/>
                  </a:lnTo>
                  <a:lnTo>
                    <a:pt x="513" y="938"/>
                  </a:lnTo>
                  <a:lnTo>
                    <a:pt x="498" y="964"/>
                  </a:lnTo>
                  <a:lnTo>
                    <a:pt x="513" y="992"/>
                  </a:lnTo>
                  <a:lnTo>
                    <a:pt x="498" y="1004"/>
                  </a:lnTo>
                  <a:lnTo>
                    <a:pt x="508" y="1037"/>
                  </a:lnTo>
                  <a:lnTo>
                    <a:pt x="524" y="1075"/>
                  </a:lnTo>
                  <a:lnTo>
                    <a:pt x="508" y="1131"/>
                  </a:lnTo>
                  <a:lnTo>
                    <a:pt x="562" y="1181"/>
                  </a:lnTo>
                  <a:lnTo>
                    <a:pt x="546" y="1214"/>
                  </a:lnTo>
                  <a:lnTo>
                    <a:pt x="513" y="1214"/>
                  </a:lnTo>
                  <a:lnTo>
                    <a:pt x="546" y="1275"/>
                  </a:lnTo>
                  <a:lnTo>
                    <a:pt x="529" y="1313"/>
                  </a:lnTo>
                  <a:lnTo>
                    <a:pt x="508" y="1337"/>
                  </a:lnTo>
                  <a:lnTo>
                    <a:pt x="487" y="1337"/>
                  </a:lnTo>
                  <a:lnTo>
                    <a:pt x="491" y="1353"/>
                  </a:lnTo>
                  <a:lnTo>
                    <a:pt x="475" y="1370"/>
                  </a:lnTo>
                  <a:lnTo>
                    <a:pt x="487" y="1403"/>
                  </a:lnTo>
                  <a:lnTo>
                    <a:pt x="470" y="1441"/>
                  </a:lnTo>
                  <a:lnTo>
                    <a:pt x="461" y="1441"/>
                  </a:lnTo>
                  <a:lnTo>
                    <a:pt x="461" y="1436"/>
                  </a:lnTo>
                  <a:lnTo>
                    <a:pt x="454" y="1420"/>
                  </a:lnTo>
                  <a:lnTo>
                    <a:pt x="416" y="1408"/>
                  </a:lnTo>
                  <a:lnTo>
                    <a:pt x="399" y="1353"/>
                  </a:lnTo>
                  <a:lnTo>
                    <a:pt x="406" y="1337"/>
                  </a:lnTo>
                  <a:lnTo>
                    <a:pt x="416" y="1346"/>
                  </a:lnTo>
                  <a:lnTo>
                    <a:pt x="406" y="1330"/>
                  </a:lnTo>
                  <a:lnTo>
                    <a:pt x="390" y="1337"/>
                  </a:lnTo>
                  <a:lnTo>
                    <a:pt x="399" y="1370"/>
                  </a:lnTo>
                  <a:lnTo>
                    <a:pt x="399" y="1379"/>
                  </a:lnTo>
                  <a:lnTo>
                    <a:pt x="390" y="1379"/>
                  </a:lnTo>
                  <a:lnTo>
                    <a:pt x="385" y="1353"/>
                  </a:lnTo>
                  <a:lnTo>
                    <a:pt x="378" y="1353"/>
                  </a:lnTo>
                  <a:lnTo>
                    <a:pt x="390" y="1370"/>
                  </a:lnTo>
                  <a:lnTo>
                    <a:pt x="385" y="1379"/>
                  </a:lnTo>
                  <a:lnTo>
                    <a:pt x="378" y="1370"/>
                  </a:lnTo>
                  <a:lnTo>
                    <a:pt x="390" y="1386"/>
                  </a:lnTo>
                  <a:lnTo>
                    <a:pt x="399" y="1403"/>
                  </a:lnTo>
                  <a:lnTo>
                    <a:pt x="385" y="1403"/>
                  </a:lnTo>
                  <a:lnTo>
                    <a:pt x="378" y="1424"/>
                  </a:lnTo>
                  <a:lnTo>
                    <a:pt x="352" y="1436"/>
                  </a:lnTo>
                  <a:lnTo>
                    <a:pt x="331" y="1420"/>
                  </a:lnTo>
                  <a:lnTo>
                    <a:pt x="335" y="1436"/>
                  </a:lnTo>
                  <a:lnTo>
                    <a:pt x="255" y="1507"/>
                  </a:lnTo>
                  <a:lnTo>
                    <a:pt x="239" y="1514"/>
                  </a:lnTo>
                  <a:lnTo>
                    <a:pt x="239" y="1519"/>
                  </a:lnTo>
                  <a:lnTo>
                    <a:pt x="151" y="1535"/>
                  </a:lnTo>
                  <a:lnTo>
                    <a:pt x="135" y="1531"/>
                  </a:lnTo>
                  <a:lnTo>
                    <a:pt x="120" y="1531"/>
                  </a:lnTo>
                  <a:lnTo>
                    <a:pt x="130" y="1514"/>
                  </a:lnTo>
                  <a:lnTo>
                    <a:pt x="109" y="1507"/>
                  </a:lnTo>
                  <a:lnTo>
                    <a:pt x="83" y="1497"/>
                  </a:lnTo>
                  <a:lnTo>
                    <a:pt x="76" y="1490"/>
                  </a:lnTo>
                  <a:lnTo>
                    <a:pt x="59" y="1490"/>
                  </a:lnTo>
                  <a:lnTo>
                    <a:pt x="45" y="1457"/>
                  </a:lnTo>
                  <a:lnTo>
                    <a:pt x="45" y="1424"/>
                  </a:lnTo>
                  <a:lnTo>
                    <a:pt x="92" y="1453"/>
                  </a:lnTo>
                  <a:lnTo>
                    <a:pt x="97" y="1453"/>
                  </a:lnTo>
                  <a:lnTo>
                    <a:pt x="83" y="1441"/>
                  </a:lnTo>
                  <a:lnTo>
                    <a:pt x="92" y="1436"/>
                  </a:lnTo>
                  <a:lnTo>
                    <a:pt x="120" y="1424"/>
                  </a:lnTo>
                  <a:lnTo>
                    <a:pt x="92" y="1436"/>
                  </a:lnTo>
                  <a:lnTo>
                    <a:pt x="83" y="1441"/>
                  </a:lnTo>
                  <a:lnTo>
                    <a:pt x="66" y="1424"/>
                  </a:lnTo>
                  <a:lnTo>
                    <a:pt x="92" y="1403"/>
                  </a:lnTo>
                  <a:lnTo>
                    <a:pt x="113" y="1391"/>
                  </a:lnTo>
                  <a:lnTo>
                    <a:pt x="92" y="1403"/>
                  </a:lnTo>
                  <a:lnTo>
                    <a:pt x="76" y="1391"/>
                  </a:lnTo>
                  <a:lnTo>
                    <a:pt x="97" y="1379"/>
                  </a:lnTo>
                  <a:lnTo>
                    <a:pt x="113" y="1370"/>
                  </a:lnTo>
                  <a:lnTo>
                    <a:pt x="97" y="1370"/>
                  </a:lnTo>
                  <a:lnTo>
                    <a:pt x="76" y="1391"/>
                  </a:lnTo>
                  <a:lnTo>
                    <a:pt x="76" y="1386"/>
                  </a:lnTo>
                  <a:lnTo>
                    <a:pt x="92" y="1379"/>
                  </a:lnTo>
                  <a:lnTo>
                    <a:pt x="66" y="1379"/>
                  </a:lnTo>
                  <a:lnTo>
                    <a:pt x="54" y="1386"/>
                  </a:lnTo>
                  <a:lnTo>
                    <a:pt x="66" y="1386"/>
                  </a:lnTo>
                  <a:lnTo>
                    <a:pt x="66" y="1391"/>
                  </a:lnTo>
                  <a:lnTo>
                    <a:pt x="59" y="1403"/>
                  </a:lnTo>
                  <a:lnTo>
                    <a:pt x="54" y="1391"/>
                  </a:lnTo>
                  <a:lnTo>
                    <a:pt x="45" y="1403"/>
                  </a:lnTo>
                  <a:lnTo>
                    <a:pt x="28" y="1391"/>
                  </a:lnTo>
                  <a:lnTo>
                    <a:pt x="21" y="1379"/>
                  </a:lnTo>
                  <a:lnTo>
                    <a:pt x="45" y="1353"/>
                  </a:lnTo>
                  <a:lnTo>
                    <a:pt x="45" y="1379"/>
                  </a:lnTo>
                  <a:lnTo>
                    <a:pt x="54" y="1363"/>
                  </a:lnTo>
                  <a:lnTo>
                    <a:pt x="97" y="1337"/>
                  </a:lnTo>
                  <a:lnTo>
                    <a:pt x="76" y="1353"/>
                  </a:lnTo>
                  <a:lnTo>
                    <a:pt x="59" y="1337"/>
                  </a:lnTo>
                  <a:lnTo>
                    <a:pt x="76" y="1330"/>
                  </a:lnTo>
                  <a:lnTo>
                    <a:pt x="92" y="1292"/>
                  </a:lnTo>
                  <a:lnTo>
                    <a:pt x="120" y="1280"/>
                  </a:lnTo>
                  <a:lnTo>
                    <a:pt x="113" y="1313"/>
                  </a:lnTo>
                  <a:lnTo>
                    <a:pt x="120" y="1280"/>
                  </a:lnTo>
                  <a:lnTo>
                    <a:pt x="163" y="1268"/>
                  </a:lnTo>
                  <a:lnTo>
                    <a:pt x="146" y="1268"/>
                  </a:lnTo>
                  <a:lnTo>
                    <a:pt x="151" y="1259"/>
                  </a:lnTo>
                  <a:lnTo>
                    <a:pt x="130" y="1275"/>
                  </a:lnTo>
                  <a:lnTo>
                    <a:pt x="97" y="1280"/>
                  </a:lnTo>
                  <a:lnTo>
                    <a:pt x="92" y="1297"/>
                  </a:lnTo>
                  <a:lnTo>
                    <a:pt x="76" y="1297"/>
                  </a:lnTo>
                  <a:lnTo>
                    <a:pt x="66" y="1325"/>
                  </a:lnTo>
                  <a:lnTo>
                    <a:pt x="59" y="1325"/>
                  </a:lnTo>
                  <a:lnTo>
                    <a:pt x="54" y="1308"/>
                  </a:lnTo>
                  <a:lnTo>
                    <a:pt x="45" y="1308"/>
                  </a:lnTo>
                  <a:lnTo>
                    <a:pt x="59" y="1280"/>
                  </a:lnTo>
                  <a:lnTo>
                    <a:pt x="38" y="1308"/>
                  </a:lnTo>
                  <a:lnTo>
                    <a:pt x="21" y="1297"/>
                  </a:lnTo>
                  <a:lnTo>
                    <a:pt x="28" y="1297"/>
                  </a:lnTo>
                  <a:lnTo>
                    <a:pt x="21" y="1292"/>
                  </a:lnTo>
                  <a:lnTo>
                    <a:pt x="28" y="1268"/>
                  </a:lnTo>
                  <a:lnTo>
                    <a:pt x="54" y="1280"/>
                  </a:lnTo>
                  <a:lnTo>
                    <a:pt x="59" y="1252"/>
                  </a:lnTo>
                  <a:lnTo>
                    <a:pt x="54" y="1242"/>
                  </a:lnTo>
                  <a:lnTo>
                    <a:pt x="28" y="1268"/>
                  </a:lnTo>
                  <a:lnTo>
                    <a:pt x="12" y="1252"/>
                  </a:lnTo>
                  <a:lnTo>
                    <a:pt x="28" y="1259"/>
                  </a:lnTo>
                  <a:lnTo>
                    <a:pt x="21" y="1242"/>
                  </a:lnTo>
                  <a:lnTo>
                    <a:pt x="7" y="1235"/>
                  </a:lnTo>
                  <a:lnTo>
                    <a:pt x="38" y="1259"/>
                  </a:lnTo>
                  <a:lnTo>
                    <a:pt x="28" y="1242"/>
                  </a:lnTo>
                  <a:lnTo>
                    <a:pt x="45" y="1226"/>
                  </a:lnTo>
                  <a:lnTo>
                    <a:pt x="12" y="1235"/>
                  </a:lnTo>
                  <a:lnTo>
                    <a:pt x="12" y="1214"/>
                  </a:lnTo>
                  <a:lnTo>
                    <a:pt x="76" y="1202"/>
                  </a:lnTo>
                  <a:lnTo>
                    <a:pt x="109" y="1214"/>
                  </a:lnTo>
                  <a:lnTo>
                    <a:pt x="135" y="1202"/>
                  </a:lnTo>
                  <a:lnTo>
                    <a:pt x="163" y="1226"/>
                  </a:lnTo>
                  <a:lnTo>
                    <a:pt x="163" y="1219"/>
                  </a:lnTo>
                  <a:lnTo>
                    <a:pt x="151" y="1202"/>
                  </a:lnTo>
                  <a:lnTo>
                    <a:pt x="184" y="1197"/>
                  </a:lnTo>
                  <a:lnTo>
                    <a:pt x="168" y="1181"/>
                  </a:lnTo>
                  <a:lnTo>
                    <a:pt x="189" y="1164"/>
                  </a:lnTo>
                  <a:lnTo>
                    <a:pt x="168" y="1181"/>
                  </a:lnTo>
                  <a:lnTo>
                    <a:pt x="172" y="1197"/>
                  </a:lnTo>
                  <a:lnTo>
                    <a:pt x="146" y="1202"/>
                  </a:lnTo>
                  <a:lnTo>
                    <a:pt x="120" y="1186"/>
                  </a:lnTo>
                  <a:lnTo>
                    <a:pt x="130" y="1169"/>
                  </a:lnTo>
                  <a:lnTo>
                    <a:pt x="109" y="1202"/>
                  </a:lnTo>
                  <a:lnTo>
                    <a:pt x="59" y="1197"/>
                  </a:lnTo>
                  <a:lnTo>
                    <a:pt x="38" y="1214"/>
                  </a:lnTo>
                  <a:lnTo>
                    <a:pt x="12" y="1197"/>
                  </a:lnTo>
                  <a:lnTo>
                    <a:pt x="28" y="1197"/>
                  </a:lnTo>
                  <a:lnTo>
                    <a:pt x="7" y="1186"/>
                  </a:lnTo>
                  <a:lnTo>
                    <a:pt x="54" y="1181"/>
                  </a:lnTo>
                  <a:lnTo>
                    <a:pt x="12" y="1181"/>
                  </a:lnTo>
                  <a:lnTo>
                    <a:pt x="7" y="1169"/>
                  </a:lnTo>
                  <a:lnTo>
                    <a:pt x="66" y="1164"/>
                  </a:lnTo>
                  <a:lnTo>
                    <a:pt x="21" y="1164"/>
                  </a:lnTo>
                  <a:lnTo>
                    <a:pt x="21" y="1160"/>
                  </a:lnTo>
                  <a:lnTo>
                    <a:pt x="28" y="1160"/>
                  </a:lnTo>
                  <a:lnTo>
                    <a:pt x="21" y="1148"/>
                  </a:lnTo>
                  <a:lnTo>
                    <a:pt x="38" y="1148"/>
                  </a:lnTo>
                  <a:lnTo>
                    <a:pt x="7" y="1141"/>
                  </a:lnTo>
                  <a:lnTo>
                    <a:pt x="38" y="1115"/>
                  </a:lnTo>
                  <a:lnTo>
                    <a:pt x="113" y="1124"/>
                  </a:lnTo>
                  <a:lnTo>
                    <a:pt x="130" y="1115"/>
                  </a:lnTo>
                  <a:lnTo>
                    <a:pt x="21" y="1115"/>
                  </a:lnTo>
                  <a:lnTo>
                    <a:pt x="21" y="1108"/>
                  </a:lnTo>
                  <a:lnTo>
                    <a:pt x="38" y="1103"/>
                  </a:lnTo>
                  <a:lnTo>
                    <a:pt x="12" y="1086"/>
                  </a:lnTo>
                  <a:lnTo>
                    <a:pt x="21" y="1086"/>
                  </a:lnTo>
                  <a:lnTo>
                    <a:pt x="45" y="1108"/>
                  </a:lnTo>
                  <a:lnTo>
                    <a:pt x="45" y="1091"/>
                  </a:lnTo>
                  <a:lnTo>
                    <a:pt x="38" y="1091"/>
                  </a:lnTo>
                  <a:lnTo>
                    <a:pt x="38" y="1086"/>
                  </a:lnTo>
                  <a:lnTo>
                    <a:pt x="66" y="1086"/>
                  </a:lnTo>
                  <a:lnTo>
                    <a:pt x="76" y="1091"/>
                  </a:lnTo>
                  <a:lnTo>
                    <a:pt x="109" y="1103"/>
                  </a:lnTo>
                  <a:lnTo>
                    <a:pt x="76" y="1086"/>
                  </a:lnTo>
                  <a:lnTo>
                    <a:pt x="97" y="1058"/>
                  </a:lnTo>
                  <a:lnTo>
                    <a:pt x="113" y="1091"/>
                  </a:lnTo>
                  <a:lnTo>
                    <a:pt x="120" y="1091"/>
                  </a:lnTo>
                  <a:lnTo>
                    <a:pt x="109" y="1058"/>
                  </a:lnTo>
                  <a:lnTo>
                    <a:pt x="130" y="1053"/>
                  </a:lnTo>
                  <a:lnTo>
                    <a:pt x="146" y="1058"/>
                  </a:lnTo>
                  <a:lnTo>
                    <a:pt x="151" y="1075"/>
                  </a:lnTo>
                  <a:lnTo>
                    <a:pt x="146" y="1091"/>
                  </a:lnTo>
                  <a:lnTo>
                    <a:pt x="151" y="1091"/>
                  </a:lnTo>
                  <a:lnTo>
                    <a:pt x="146" y="1091"/>
                  </a:lnTo>
                  <a:lnTo>
                    <a:pt x="151" y="1075"/>
                  </a:lnTo>
                  <a:lnTo>
                    <a:pt x="172" y="1075"/>
                  </a:lnTo>
                  <a:lnTo>
                    <a:pt x="146" y="1070"/>
                  </a:lnTo>
                  <a:lnTo>
                    <a:pt x="135" y="1053"/>
                  </a:lnTo>
                  <a:lnTo>
                    <a:pt x="97" y="1053"/>
                  </a:lnTo>
                  <a:lnTo>
                    <a:pt x="120" y="1053"/>
                  </a:lnTo>
                  <a:lnTo>
                    <a:pt x="97" y="1037"/>
                  </a:lnTo>
                  <a:lnTo>
                    <a:pt x="151" y="1032"/>
                  </a:lnTo>
                  <a:lnTo>
                    <a:pt x="189" y="1053"/>
                  </a:lnTo>
                  <a:lnTo>
                    <a:pt x="206" y="1049"/>
                  </a:lnTo>
                  <a:lnTo>
                    <a:pt x="172" y="1037"/>
                  </a:lnTo>
                  <a:lnTo>
                    <a:pt x="206" y="1020"/>
                  </a:lnTo>
                  <a:lnTo>
                    <a:pt x="227" y="1032"/>
                  </a:lnTo>
                  <a:lnTo>
                    <a:pt x="222" y="1020"/>
                  </a:lnTo>
                  <a:lnTo>
                    <a:pt x="172" y="1020"/>
                  </a:lnTo>
                  <a:lnTo>
                    <a:pt x="201" y="1013"/>
                  </a:lnTo>
                  <a:lnTo>
                    <a:pt x="189" y="1013"/>
                  </a:lnTo>
                  <a:lnTo>
                    <a:pt x="146" y="1020"/>
                  </a:lnTo>
                  <a:lnTo>
                    <a:pt x="146" y="997"/>
                  </a:lnTo>
                  <a:lnTo>
                    <a:pt x="168" y="992"/>
                  </a:lnTo>
                  <a:lnTo>
                    <a:pt x="184" y="1004"/>
                  </a:lnTo>
                  <a:lnTo>
                    <a:pt x="222" y="997"/>
                  </a:lnTo>
                  <a:lnTo>
                    <a:pt x="227" y="1013"/>
                  </a:lnTo>
                  <a:lnTo>
                    <a:pt x="260" y="1032"/>
                  </a:lnTo>
                  <a:lnTo>
                    <a:pt x="260" y="1020"/>
                  </a:lnTo>
                  <a:lnTo>
                    <a:pt x="227" y="1013"/>
                  </a:lnTo>
                  <a:lnTo>
                    <a:pt x="227" y="997"/>
                  </a:lnTo>
                  <a:lnTo>
                    <a:pt x="217" y="992"/>
                  </a:lnTo>
                  <a:lnTo>
                    <a:pt x="227" y="980"/>
                  </a:lnTo>
                  <a:lnTo>
                    <a:pt x="243" y="1004"/>
                  </a:lnTo>
                  <a:lnTo>
                    <a:pt x="260" y="1013"/>
                  </a:lnTo>
                  <a:lnTo>
                    <a:pt x="255" y="997"/>
                  </a:lnTo>
                  <a:lnTo>
                    <a:pt x="272" y="997"/>
                  </a:lnTo>
                  <a:lnTo>
                    <a:pt x="243" y="997"/>
                  </a:lnTo>
                  <a:lnTo>
                    <a:pt x="227" y="980"/>
                  </a:lnTo>
                  <a:lnTo>
                    <a:pt x="281" y="975"/>
                  </a:lnTo>
                  <a:lnTo>
                    <a:pt x="260" y="975"/>
                  </a:lnTo>
                  <a:lnTo>
                    <a:pt x="255" y="959"/>
                  </a:lnTo>
                  <a:lnTo>
                    <a:pt x="276" y="959"/>
                  </a:lnTo>
                  <a:lnTo>
                    <a:pt x="272" y="947"/>
                  </a:lnTo>
                  <a:lnTo>
                    <a:pt x="293" y="942"/>
                  </a:lnTo>
                  <a:lnTo>
                    <a:pt x="309" y="947"/>
                  </a:lnTo>
                  <a:lnTo>
                    <a:pt x="324" y="947"/>
                  </a:lnTo>
                  <a:lnTo>
                    <a:pt x="309" y="947"/>
                  </a:lnTo>
                  <a:lnTo>
                    <a:pt x="298" y="942"/>
                  </a:lnTo>
                  <a:lnTo>
                    <a:pt x="331" y="926"/>
                  </a:lnTo>
                  <a:lnTo>
                    <a:pt x="335" y="921"/>
                  </a:lnTo>
                  <a:lnTo>
                    <a:pt x="361" y="947"/>
                  </a:lnTo>
                  <a:lnTo>
                    <a:pt x="378" y="964"/>
                  </a:lnTo>
                  <a:lnTo>
                    <a:pt x="378" y="959"/>
                  </a:lnTo>
                  <a:lnTo>
                    <a:pt x="361" y="947"/>
                  </a:lnTo>
                  <a:lnTo>
                    <a:pt x="423" y="942"/>
                  </a:lnTo>
                  <a:lnTo>
                    <a:pt x="416" y="938"/>
                  </a:lnTo>
                  <a:lnTo>
                    <a:pt x="423" y="926"/>
                  </a:lnTo>
                  <a:lnTo>
                    <a:pt x="406" y="938"/>
                  </a:lnTo>
                  <a:lnTo>
                    <a:pt x="432" y="909"/>
                  </a:lnTo>
                  <a:lnTo>
                    <a:pt x="461" y="905"/>
                  </a:lnTo>
                  <a:lnTo>
                    <a:pt x="437" y="893"/>
                  </a:lnTo>
                  <a:lnTo>
                    <a:pt x="461" y="881"/>
                  </a:lnTo>
                  <a:lnTo>
                    <a:pt x="454" y="881"/>
                  </a:lnTo>
                  <a:lnTo>
                    <a:pt x="454" y="864"/>
                  </a:lnTo>
                  <a:lnTo>
                    <a:pt x="399" y="905"/>
                  </a:lnTo>
                  <a:lnTo>
                    <a:pt x="423" y="893"/>
                  </a:lnTo>
                  <a:lnTo>
                    <a:pt x="437" y="893"/>
                  </a:lnTo>
                  <a:lnTo>
                    <a:pt x="423" y="909"/>
                  </a:lnTo>
                  <a:lnTo>
                    <a:pt x="361" y="938"/>
                  </a:lnTo>
                  <a:lnTo>
                    <a:pt x="352" y="938"/>
                  </a:lnTo>
                  <a:lnTo>
                    <a:pt x="347" y="921"/>
                  </a:lnTo>
                  <a:lnTo>
                    <a:pt x="368" y="909"/>
                  </a:lnTo>
                  <a:lnTo>
                    <a:pt x="331" y="921"/>
                  </a:lnTo>
                  <a:lnTo>
                    <a:pt x="331" y="909"/>
                  </a:lnTo>
                  <a:lnTo>
                    <a:pt x="378" y="886"/>
                  </a:lnTo>
                  <a:lnTo>
                    <a:pt x="361" y="881"/>
                  </a:lnTo>
                  <a:lnTo>
                    <a:pt x="368" y="853"/>
                  </a:lnTo>
                  <a:lnTo>
                    <a:pt x="390" y="836"/>
                  </a:lnTo>
                  <a:lnTo>
                    <a:pt x="406" y="836"/>
                  </a:lnTo>
                  <a:lnTo>
                    <a:pt x="390" y="831"/>
                  </a:lnTo>
                  <a:lnTo>
                    <a:pt x="423" y="836"/>
                  </a:lnTo>
                  <a:lnTo>
                    <a:pt x="406" y="831"/>
                  </a:lnTo>
                  <a:lnTo>
                    <a:pt x="423" y="827"/>
                  </a:lnTo>
                  <a:lnTo>
                    <a:pt x="432" y="810"/>
                  </a:lnTo>
                  <a:lnTo>
                    <a:pt x="444" y="827"/>
                  </a:lnTo>
                  <a:lnTo>
                    <a:pt x="444" y="836"/>
                  </a:lnTo>
                  <a:lnTo>
                    <a:pt x="470" y="815"/>
                  </a:lnTo>
                  <a:lnTo>
                    <a:pt x="487" y="815"/>
                  </a:lnTo>
                  <a:lnTo>
                    <a:pt x="470" y="815"/>
                  </a:lnTo>
                  <a:lnTo>
                    <a:pt x="461" y="798"/>
                  </a:lnTo>
                  <a:lnTo>
                    <a:pt x="491" y="782"/>
                  </a:lnTo>
                  <a:lnTo>
                    <a:pt x="475" y="782"/>
                  </a:lnTo>
                  <a:lnTo>
                    <a:pt x="487" y="777"/>
                  </a:lnTo>
                  <a:lnTo>
                    <a:pt x="513" y="770"/>
                  </a:lnTo>
                  <a:lnTo>
                    <a:pt x="498" y="770"/>
                  </a:lnTo>
                  <a:lnTo>
                    <a:pt x="444" y="794"/>
                  </a:lnTo>
                  <a:lnTo>
                    <a:pt x="454" y="782"/>
                  </a:lnTo>
                  <a:lnTo>
                    <a:pt x="444" y="782"/>
                  </a:lnTo>
                  <a:lnTo>
                    <a:pt x="475" y="777"/>
                  </a:lnTo>
                  <a:lnTo>
                    <a:pt x="444" y="782"/>
                  </a:lnTo>
                  <a:lnTo>
                    <a:pt x="454" y="777"/>
                  </a:lnTo>
                  <a:lnTo>
                    <a:pt x="546" y="742"/>
                  </a:lnTo>
                  <a:lnTo>
                    <a:pt x="567" y="725"/>
                  </a:lnTo>
                  <a:lnTo>
                    <a:pt x="529" y="742"/>
                  </a:lnTo>
                  <a:lnTo>
                    <a:pt x="524" y="742"/>
                  </a:lnTo>
                  <a:lnTo>
                    <a:pt x="546" y="737"/>
                  </a:lnTo>
                  <a:lnTo>
                    <a:pt x="513" y="737"/>
                  </a:lnTo>
                  <a:lnTo>
                    <a:pt x="541" y="720"/>
                  </a:lnTo>
                  <a:lnTo>
                    <a:pt x="529" y="716"/>
                  </a:lnTo>
                  <a:lnTo>
                    <a:pt x="546" y="716"/>
                  </a:lnTo>
                  <a:lnTo>
                    <a:pt x="529" y="699"/>
                  </a:lnTo>
                  <a:lnTo>
                    <a:pt x="524" y="687"/>
                  </a:lnTo>
                  <a:lnTo>
                    <a:pt x="541" y="683"/>
                  </a:lnTo>
                  <a:lnTo>
                    <a:pt x="550" y="687"/>
                  </a:lnTo>
                  <a:lnTo>
                    <a:pt x="541" y="671"/>
                  </a:lnTo>
                  <a:lnTo>
                    <a:pt x="546" y="659"/>
                  </a:lnTo>
                  <a:lnTo>
                    <a:pt x="562" y="649"/>
                  </a:lnTo>
                  <a:lnTo>
                    <a:pt x="583" y="666"/>
                  </a:lnTo>
                  <a:lnTo>
                    <a:pt x="579" y="649"/>
                  </a:lnTo>
                  <a:lnTo>
                    <a:pt x="567" y="649"/>
                  </a:lnTo>
                  <a:lnTo>
                    <a:pt x="567" y="642"/>
                  </a:lnTo>
                  <a:lnTo>
                    <a:pt x="546" y="642"/>
                  </a:lnTo>
                  <a:lnTo>
                    <a:pt x="605" y="614"/>
                  </a:lnTo>
                  <a:lnTo>
                    <a:pt x="605" y="631"/>
                  </a:lnTo>
                  <a:lnTo>
                    <a:pt x="617" y="614"/>
                  </a:lnTo>
                  <a:lnTo>
                    <a:pt x="654" y="609"/>
                  </a:lnTo>
                  <a:lnTo>
                    <a:pt x="567" y="626"/>
                  </a:lnTo>
                  <a:lnTo>
                    <a:pt x="605" y="609"/>
                  </a:lnTo>
                  <a:lnTo>
                    <a:pt x="567" y="609"/>
                  </a:lnTo>
                  <a:lnTo>
                    <a:pt x="583" y="593"/>
                  </a:lnTo>
                  <a:lnTo>
                    <a:pt x="567" y="588"/>
                  </a:lnTo>
                  <a:lnTo>
                    <a:pt x="621" y="572"/>
                  </a:lnTo>
                  <a:lnTo>
                    <a:pt x="583" y="576"/>
                  </a:lnTo>
                  <a:lnTo>
                    <a:pt x="583" y="572"/>
                  </a:lnTo>
                  <a:lnTo>
                    <a:pt x="605" y="572"/>
                  </a:lnTo>
                  <a:lnTo>
                    <a:pt x="583" y="560"/>
                  </a:lnTo>
                  <a:lnTo>
                    <a:pt x="621" y="560"/>
                  </a:lnTo>
                  <a:lnTo>
                    <a:pt x="633" y="560"/>
                  </a:lnTo>
                  <a:lnTo>
                    <a:pt x="605" y="560"/>
                  </a:lnTo>
                  <a:lnTo>
                    <a:pt x="621" y="555"/>
                  </a:lnTo>
                  <a:lnTo>
                    <a:pt x="605" y="555"/>
                  </a:lnTo>
                  <a:lnTo>
                    <a:pt x="638" y="555"/>
                  </a:lnTo>
                  <a:lnTo>
                    <a:pt x="605" y="531"/>
                  </a:lnTo>
                  <a:lnTo>
                    <a:pt x="687" y="522"/>
                  </a:lnTo>
                  <a:lnTo>
                    <a:pt x="659" y="515"/>
                  </a:lnTo>
                  <a:lnTo>
                    <a:pt x="659" y="503"/>
                  </a:lnTo>
                  <a:lnTo>
                    <a:pt x="692" y="503"/>
                  </a:lnTo>
                  <a:lnTo>
                    <a:pt x="676" y="503"/>
                  </a:lnTo>
                  <a:lnTo>
                    <a:pt x="676" y="498"/>
                  </a:lnTo>
                  <a:lnTo>
                    <a:pt x="709" y="498"/>
                  </a:lnTo>
                  <a:lnTo>
                    <a:pt x="702" y="503"/>
                  </a:lnTo>
                  <a:lnTo>
                    <a:pt x="709" y="515"/>
                  </a:lnTo>
                  <a:lnTo>
                    <a:pt x="709" y="503"/>
                  </a:lnTo>
                  <a:lnTo>
                    <a:pt x="709" y="498"/>
                  </a:lnTo>
                  <a:lnTo>
                    <a:pt x="730" y="503"/>
                  </a:lnTo>
                  <a:lnTo>
                    <a:pt x="746" y="515"/>
                  </a:lnTo>
                  <a:lnTo>
                    <a:pt x="739" y="498"/>
                  </a:lnTo>
                  <a:lnTo>
                    <a:pt x="763" y="503"/>
                  </a:lnTo>
                  <a:lnTo>
                    <a:pt x="713" y="498"/>
                  </a:lnTo>
                  <a:lnTo>
                    <a:pt x="725" y="494"/>
                  </a:lnTo>
                  <a:lnTo>
                    <a:pt x="687" y="498"/>
                  </a:lnTo>
                  <a:lnTo>
                    <a:pt x="671" y="498"/>
                  </a:lnTo>
                  <a:lnTo>
                    <a:pt x="687" y="477"/>
                  </a:lnTo>
                  <a:lnTo>
                    <a:pt x="709" y="477"/>
                  </a:lnTo>
                  <a:lnTo>
                    <a:pt x="692" y="465"/>
                  </a:lnTo>
                  <a:lnTo>
                    <a:pt x="713" y="460"/>
                  </a:lnTo>
                  <a:lnTo>
                    <a:pt x="725" y="460"/>
                  </a:lnTo>
                  <a:lnTo>
                    <a:pt x="709" y="465"/>
                  </a:lnTo>
                  <a:lnTo>
                    <a:pt x="739" y="465"/>
                  </a:lnTo>
                  <a:lnTo>
                    <a:pt x="756" y="494"/>
                  </a:lnTo>
                  <a:lnTo>
                    <a:pt x="763" y="494"/>
                  </a:lnTo>
                  <a:lnTo>
                    <a:pt x="746" y="465"/>
                  </a:lnTo>
                  <a:lnTo>
                    <a:pt x="777" y="460"/>
                  </a:lnTo>
                  <a:lnTo>
                    <a:pt x="730" y="460"/>
                  </a:lnTo>
                  <a:lnTo>
                    <a:pt x="725" y="449"/>
                  </a:lnTo>
                  <a:lnTo>
                    <a:pt x="730" y="437"/>
                  </a:lnTo>
                  <a:lnTo>
                    <a:pt x="768" y="444"/>
                  </a:lnTo>
                  <a:lnTo>
                    <a:pt x="739" y="427"/>
                  </a:lnTo>
                  <a:lnTo>
                    <a:pt x="692" y="444"/>
                  </a:lnTo>
                  <a:lnTo>
                    <a:pt x="692" y="437"/>
                  </a:lnTo>
                  <a:lnTo>
                    <a:pt x="713" y="437"/>
                  </a:lnTo>
                  <a:lnTo>
                    <a:pt x="692" y="427"/>
                  </a:lnTo>
                  <a:lnTo>
                    <a:pt x="713" y="420"/>
                  </a:lnTo>
                  <a:lnTo>
                    <a:pt x="702" y="420"/>
                  </a:lnTo>
                  <a:lnTo>
                    <a:pt x="709" y="420"/>
                  </a:lnTo>
                  <a:lnTo>
                    <a:pt x="768" y="411"/>
                  </a:lnTo>
                  <a:lnTo>
                    <a:pt x="777" y="404"/>
                  </a:lnTo>
                  <a:lnTo>
                    <a:pt x="730" y="394"/>
                  </a:lnTo>
                  <a:lnTo>
                    <a:pt x="746" y="387"/>
                  </a:lnTo>
                  <a:lnTo>
                    <a:pt x="763" y="387"/>
                  </a:lnTo>
                  <a:lnTo>
                    <a:pt x="756" y="394"/>
                  </a:lnTo>
                  <a:lnTo>
                    <a:pt x="768" y="387"/>
                  </a:lnTo>
                  <a:lnTo>
                    <a:pt x="777" y="371"/>
                  </a:lnTo>
                  <a:lnTo>
                    <a:pt x="784" y="383"/>
                  </a:lnTo>
                  <a:lnTo>
                    <a:pt x="794" y="420"/>
                  </a:lnTo>
                  <a:lnTo>
                    <a:pt x="815" y="427"/>
                  </a:lnTo>
                  <a:lnTo>
                    <a:pt x="801" y="420"/>
                  </a:lnTo>
                  <a:lnTo>
                    <a:pt x="794" y="404"/>
                  </a:lnTo>
                  <a:lnTo>
                    <a:pt x="815" y="411"/>
                  </a:lnTo>
                  <a:lnTo>
                    <a:pt x="810" y="394"/>
                  </a:lnTo>
                  <a:lnTo>
                    <a:pt x="831" y="394"/>
                  </a:lnTo>
                  <a:lnTo>
                    <a:pt x="810" y="394"/>
                  </a:lnTo>
                  <a:lnTo>
                    <a:pt x="801" y="387"/>
                  </a:lnTo>
                  <a:lnTo>
                    <a:pt x="815" y="383"/>
                  </a:lnTo>
                  <a:lnTo>
                    <a:pt x="794" y="383"/>
                  </a:lnTo>
                  <a:lnTo>
                    <a:pt x="801" y="371"/>
                  </a:lnTo>
                  <a:lnTo>
                    <a:pt x="784" y="371"/>
                  </a:lnTo>
                  <a:lnTo>
                    <a:pt x="815" y="371"/>
                  </a:lnTo>
                  <a:lnTo>
                    <a:pt x="839" y="387"/>
                  </a:lnTo>
                  <a:lnTo>
                    <a:pt x="794" y="366"/>
                  </a:lnTo>
                  <a:lnTo>
                    <a:pt x="801" y="354"/>
                  </a:lnTo>
                  <a:lnTo>
                    <a:pt x="865" y="354"/>
                  </a:lnTo>
                  <a:lnTo>
                    <a:pt x="876" y="383"/>
                  </a:lnTo>
                  <a:lnTo>
                    <a:pt x="876" y="371"/>
                  </a:lnTo>
                  <a:lnTo>
                    <a:pt x="865" y="354"/>
                  </a:lnTo>
                  <a:lnTo>
                    <a:pt x="891" y="354"/>
                  </a:lnTo>
                  <a:lnTo>
                    <a:pt x="876" y="349"/>
                  </a:lnTo>
                  <a:lnTo>
                    <a:pt x="891" y="349"/>
                  </a:lnTo>
                  <a:lnTo>
                    <a:pt x="891" y="338"/>
                  </a:lnTo>
                  <a:lnTo>
                    <a:pt x="853" y="349"/>
                  </a:lnTo>
                  <a:lnTo>
                    <a:pt x="853" y="338"/>
                  </a:lnTo>
                  <a:lnTo>
                    <a:pt x="848" y="338"/>
                  </a:lnTo>
                  <a:lnTo>
                    <a:pt x="815" y="349"/>
                  </a:lnTo>
                  <a:lnTo>
                    <a:pt x="815" y="338"/>
                  </a:lnTo>
                  <a:lnTo>
                    <a:pt x="822" y="333"/>
                  </a:lnTo>
                  <a:lnTo>
                    <a:pt x="822" y="326"/>
                  </a:lnTo>
                  <a:lnTo>
                    <a:pt x="848" y="316"/>
                  </a:lnTo>
                  <a:lnTo>
                    <a:pt x="902" y="326"/>
                  </a:lnTo>
                  <a:lnTo>
                    <a:pt x="869" y="309"/>
                  </a:lnTo>
                  <a:lnTo>
                    <a:pt x="886" y="300"/>
                  </a:lnTo>
                  <a:lnTo>
                    <a:pt x="907" y="309"/>
                  </a:lnTo>
                  <a:lnTo>
                    <a:pt x="886" y="300"/>
                  </a:lnTo>
                  <a:lnTo>
                    <a:pt x="907" y="293"/>
                  </a:lnTo>
                  <a:lnTo>
                    <a:pt x="876" y="293"/>
                  </a:lnTo>
                  <a:lnTo>
                    <a:pt x="891" y="260"/>
                  </a:lnTo>
                  <a:lnTo>
                    <a:pt x="928" y="260"/>
                  </a:lnTo>
                  <a:lnTo>
                    <a:pt x="924" y="243"/>
                  </a:lnTo>
                  <a:lnTo>
                    <a:pt x="940" y="215"/>
                  </a:lnTo>
                  <a:lnTo>
                    <a:pt x="973" y="243"/>
                  </a:lnTo>
                  <a:lnTo>
                    <a:pt x="978" y="238"/>
                  </a:lnTo>
                  <a:lnTo>
                    <a:pt x="994" y="243"/>
                  </a:lnTo>
                  <a:lnTo>
                    <a:pt x="957" y="222"/>
                  </a:lnTo>
                  <a:lnTo>
                    <a:pt x="957" y="215"/>
                  </a:lnTo>
                  <a:lnTo>
                    <a:pt x="978" y="205"/>
                  </a:lnTo>
                  <a:lnTo>
                    <a:pt x="994" y="227"/>
                  </a:lnTo>
                  <a:lnTo>
                    <a:pt x="1016" y="238"/>
                  </a:lnTo>
                  <a:lnTo>
                    <a:pt x="999" y="243"/>
                  </a:lnTo>
                  <a:lnTo>
                    <a:pt x="1028" y="243"/>
                  </a:lnTo>
                  <a:lnTo>
                    <a:pt x="1028" y="238"/>
                  </a:lnTo>
                  <a:lnTo>
                    <a:pt x="994" y="222"/>
                  </a:lnTo>
                  <a:lnTo>
                    <a:pt x="1011" y="215"/>
                  </a:lnTo>
                  <a:lnTo>
                    <a:pt x="1011" y="205"/>
                  </a:lnTo>
                  <a:lnTo>
                    <a:pt x="994" y="215"/>
                  </a:lnTo>
                  <a:lnTo>
                    <a:pt x="983" y="198"/>
                  </a:lnTo>
                  <a:lnTo>
                    <a:pt x="1011" y="182"/>
                  </a:lnTo>
                  <a:lnTo>
                    <a:pt x="1049" y="172"/>
                  </a:lnTo>
                  <a:lnTo>
                    <a:pt x="1042" y="198"/>
                  </a:lnTo>
                  <a:lnTo>
                    <a:pt x="1032" y="227"/>
                  </a:lnTo>
                  <a:lnTo>
                    <a:pt x="1042" y="222"/>
                  </a:lnTo>
                  <a:lnTo>
                    <a:pt x="1049" y="189"/>
                  </a:lnTo>
                  <a:lnTo>
                    <a:pt x="1087" y="160"/>
                  </a:lnTo>
                  <a:lnTo>
                    <a:pt x="1096" y="165"/>
                  </a:lnTo>
                  <a:lnTo>
                    <a:pt x="1080" y="222"/>
                  </a:lnTo>
                  <a:lnTo>
                    <a:pt x="1054" y="243"/>
                  </a:lnTo>
                  <a:lnTo>
                    <a:pt x="1096" y="205"/>
                  </a:lnTo>
                  <a:lnTo>
                    <a:pt x="1124" y="215"/>
                  </a:lnTo>
                  <a:lnTo>
                    <a:pt x="1096" y="198"/>
                  </a:lnTo>
                  <a:lnTo>
                    <a:pt x="1103" y="182"/>
                  </a:lnTo>
                  <a:lnTo>
                    <a:pt x="1141" y="160"/>
                  </a:lnTo>
                  <a:lnTo>
                    <a:pt x="1124" y="165"/>
                  </a:lnTo>
                  <a:lnTo>
                    <a:pt x="1134" y="172"/>
                  </a:lnTo>
                  <a:lnTo>
                    <a:pt x="1155" y="149"/>
                  </a:lnTo>
                  <a:lnTo>
                    <a:pt x="1209" y="182"/>
                  </a:lnTo>
                  <a:lnTo>
                    <a:pt x="1188" y="144"/>
                  </a:lnTo>
                  <a:lnTo>
                    <a:pt x="1209" y="132"/>
                  </a:lnTo>
                  <a:lnTo>
                    <a:pt x="1162" y="132"/>
                  </a:lnTo>
                  <a:lnTo>
                    <a:pt x="1150" y="127"/>
                  </a:lnTo>
                  <a:lnTo>
                    <a:pt x="1155" y="116"/>
                  </a:lnTo>
                  <a:lnTo>
                    <a:pt x="1172" y="111"/>
                  </a:lnTo>
                  <a:lnTo>
                    <a:pt x="1188" y="116"/>
                  </a:lnTo>
                  <a:lnTo>
                    <a:pt x="1205" y="111"/>
                  </a:lnTo>
                  <a:lnTo>
                    <a:pt x="1226" y="111"/>
                  </a:lnTo>
                  <a:lnTo>
                    <a:pt x="1226" y="127"/>
                  </a:lnTo>
                  <a:lnTo>
                    <a:pt x="1243" y="132"/>
                  </a:lnTo>
                  <a:lnTo>
                    <a:pt x="1226" y="127"/>
                  </a:lnTo>
                  <a:lnTo>
                    <a:pt x="1231" y="116"/>
                  </a:lnTo>
                  <a:lnTo>
                    <a:pt x="1268" y="127"/>
                  </a:lnTo>
                  <a:lnTo>
                    <a:pt x="1259" y="132"/>
                  </a:lnTo>
                  <a:lnTo>
                    <a:pt x="1226" y="144"/>
                  </a:lnTo>
                  <a:lnTo>
                    <a:pt x="1264" y="132"/>
                  </a:lnTo>
                  <a:lnTo>
                    <a:pt x="1297" y="160"/>
                  </a:lnTo>
                  <a:lnTo>
                    <a:pt x="1313" y="149"/>
                  </a:lnTo>
                  <a:lnTo>
                    <a:pt x="1285" y="144"/>
                  </a:lnTo>
                  <a:lnTo>
                    <a:pt x="1297" y="132"/>
                  </a:lnTo>
                  <a:lnTo>
                    <a:pt x="1297" y="116"/>
                  </a:lnTo>
                  <a:lnTo>
                    <a:pt x="1313" y="116"/>
                  </a:lnTo>
                  <a:lnTo>
                    <a:pt x="1302" y="116"/>
                  </a:lnTo>
                  <a:lnTo>
                    <a:pt x="1318" y="94"/>
                  </a:lnTo>
                  <a:lnTo>
                    <a:pt x="1339" y="87"/>
                  </a:lnTo>
                  <a:lnTo>
                    <a:pt x="1368" y="94"/>
                  </a:lnTo>
                  <a:lnTo>
                    <a:pt x="1356" y="78"/>
                  </a:lnTo>
                  <a:lnTo>
                    <a:pt x="1368" y="61"/>
                  </a:lnTo>
                  <a:lnTo>
                    <a:pt x="1394" y="71"/>
                  </a:lnTo>
                  <a:lnTo>
                    <a:pt x="1377" y="54"/>
                  </a:lnTo>
                  <a:lnTo>
                    <a:pt x="1356" y="49"/>
                  </a:lnTo>
                  <a:lnTo>
                    <a:pt x="1372" y="38"/>
                  </a:lnTo>
                  <a:lnTo>
                    <a:pt x="1389" y="49"/>
                  </a:lnTo>
                  <a:lnTo>
                    <a:pt x="1389" y="21"/>
                  </a:lnTo>
                  <a:lnTo>
                    <a:pt x="1405" y="33"/>
                  </a:lnTo>
                  <a:lnTo>
                    <a:pt x="1410" y="21"/>
                  </a:lnTo>
                  <a:lnTo>
                    <a:pt x="1431" y="49"/>
                  </a:lnTo>
                  <a:lnTo>
                    <a:pt x="1443" y="38"/>
                  </a:lnTo>
                  <a:lnTo>
                    <a:pt x="1443" y="21"/>
                  </a:lnTo>
                  <a:lnTo>
                    <a:pt x="1481" y="33"/>
                  </a:lnTo>
                  <a:lnTo>
                    <a:pt x="1420" y="87"/>
                  </a:lnTo>
                  <a:lnTo>
                    <a:pt x="1431" y="87"/>
                  </a:lnTo>
                  <a:lnTo>
                    <a:pt x="1431" y="104"/>
                  </a:lnTo>
                  <a:lnTo>
                    <a:pt x="1420" y="104"/>
                  </a:lnTo>
                  <a:lnTo>
                    <a:pt x="1420" y="116"/>
                  </a:lnTo>
                  <a:lnTo>
                    <a:pt x="1410" y="116"/>
                  </a:lnTo>
                  <a:lnTo>
                    <a:pt x="1410" y="144"/>
                  </a:lnTo>
                  <a:lnTo>
                    <a:pt x="1420" y="144"/>
                  </a:lnTo>
                  <a:lnTo>
                    <a:pt x="1420" y="132"/>
                  </a:lnTo>
                  <a:lnTo>
                    <a:pt x="1420" y="144"/>
                  </a:lnTo>
                  <a:lnTo>
                    <a:pt x="1427" y="144"/>
                  </a:lnTo>
                  <a:lnTo>
                    <a:pt x="1448" y="116"/>
                  </a:lnTo>
                  <a:lnTo>
                    <a:pt x="1443" y="104"/>
                  </a:lnTo>
                  <a:lnTo>
                    <a:pt x="1528" y="33"/>
                  </a:lnTo>
                  <a:lnTo>
                    <a:pt x="1533" y="33"/>
                  </a:lnTo>
                  <a:lnTo>
                    <a:pt x="1533" y="54"/>
                  </a:lnTo>
                  <a:lnTo>
                    <a:pt x="1502" y="71"/>
                  </a:lnTo>
                  <a:lnTo>
                    <a:pt x="1528" y="71"/>
                  </a:lnTo>
                  <a:lnTo>
                    <a:pt x="1519" y="104"/>
                  </a:lnTo>
                  <a:lnTo>
                    <a:pt x="1557" y="87"/>
                  </a:lnTo>
                  <a:lnTo>
                    <a:pt x="1550" y="78"/>
                  </a:lnTo>
                  <a:lnTo>
                    <a:pt x="1557" y="71"/>
                  </a:lnTo>
                  <a:lnTo>
                    <a:pt x="1571" y="78"/>
                  </a:lnTo>
                  <a:lnTo>
                    <a:pt x="1566" y="71"/>
                  </a:lnTo>
                  <a:lnTo>
                    <a:pt x="1566" y="54"/>
                  </a:lnTo>
                  <a:lnTo>
                    <a:pt x="1571" y="38"/>
                  </a:lnTo>
                  <a:lnTo>
                    <a:pt x="1594" y="49"/>
                  </a:lnTo>
                  <a:lnTo>
                    <a:pt x="1566" y="21"/>
                  </a:lnTo>
                  <a:lnTo>
                    <a:pt x="1594" y="5"/>
                  </a:lnTo>
                  <a:lnTo>
                    <a:pt x="1609" y="16"/>
                  </a:lnTo>
                  <a:lnTo>
                    <a:pt x="1637" y="5"/>
                  </a:lnTo>
                  <a:lnTo>
                    <a:pt x="1663" y="21"/>
                  </a:lnTo>
                  <a:lnTo>
                    <a:pt x="1642" y="49"/>
                  </a:lnTo>
                  <a:lnTo>
                    <a:pt x="1604" y="49"/>
                  </a:lnTo>
                  <a:lnTo>
                    <a:pt x="1637" y="54"/>
                  </a:lnTo>
                  <a:lnTo>
                    <a:pt x="1594" y="71"/>
                  </a:lnTo>
                  <a:lnTo>
                    <a:pt x="1642" y="54"/>
                  </a:lnTo>
                  <a:lnTo>
                    <a:pt x="1642" y="71"/>
                  </a:lnTo>
                  <a:lnTo>
                    <a:pt x="1609" y="87"/>
                  </a:lnTo>
                  <a:lnTo>
                    <a:pt x="1637" y="87"/>
                  </a:lnTo>
                  <a:lnTo>
                    <a:pt x="1625" y="94"/>
                  </a:lnTo>
                  <a:lnTo>
                    <a:pt x="1637" y="94"/>
                  </a:lnTo>
                  <a:lnTo>
                    <a:pt x="1646" y="87"/>
                  </a:lnTo>
                  <a:lnTo>
                    <a:pt x="1637" y="104"/>
                  </a:lnTo>
                  <a:lnTo>
                    <a:pt x="1637" y="127"/>
                  </a:lnTo>
                  <a:lnTo>
                    <a:pt x="1625" y="144"/>
                  </a:lnTo>
                  <a:lnTo>
                    <a:pt x="1642" y="127"/>
                  </a:lnTo>
                  <a:lnTo>
                    <a:pt x="1642" y="104"/>
                  </a:lnTo>
                  <a:lnTo>
                    <a:pt x="1658" y="54"/>
                  </a:lnTo>
                  <a:lnTo>
                    <a:pt x="1675" y="38"/>
                  </a:lnTo>
                  <a:lnTo>
                    <a:pt x="1696" y="38"/>
                  </a:lnTo>
                  <a:lnTo>
                    <a:pt x="1713" y="38"/>
                  </a:lnTo>
                  <a:lnTo>
                    <a:pt x="1717" y="61"/>
                  </a:lnTo>
                  <a:lnTo>
                    <a:pt x="1750" y="54"/>
                  </a:lnTo>
                  <a:lnTo>
                    <a:pt x="1746" y="71"/>
                  </a:lnTo>
                  <a:lnTo>
                    <a:pt x="1772" y="54"/>
                  </a:lnTo>
                  <a:lnTo>
                    <a:pt x="1788" y="71"/>
                  </a:lnTo>
                  <a:lnTo>
                    <a:pt x="1767" y="78"/>
                  </a:lnTo>
                  <a:lnTo>
                    <a:pt x="1805" y="78"/>
                  </a:lnTo>
                  <a:lnTo>
                    <a:pt x="1826" y="94"/>
                  </a:lnTo>
                  <a:lnTo>
                    <a:pt x="1842" y="111"/>
                  </a:lnTo>
                  <a:lnTo>
                    <a:pt x="1798" y="116"/>
                  </a:lnTo>
                  <a:lnTo>
                    <a:pt x="1772" y="144"/>
                  </a:lnTo>
                  <a:lnTo>
                    <a:pt x="1675" y="127"/>
                  </a:lnTo>
                  <a:lnTo>
                    <a:pt x="1663" y="127"/>
                  </a:lnTo>
                  <a:lnTo>
                    <a:pt x="1675" y="127"/>
                  </a:lnTo>
                  <a:lnTo>
                    <a:pt x="1663" y="132"/>
                  </a:lnTo>
                  <a:lnTo>
                    <a:pt x="1746" y="160"/>
                  </a:lnTo>
                  <a:lnTo>
                    <a:pt x="1717" y="165"/>
                  </a:lnTo>
                  <a:lnTo>
                    <a:pt x="1746" y="165"/>
                  </a:lnTo>
                  <a:lnTo>
                    <a:pt x="1750" y="172"/>
                  </a:lnTo>
                  <a:lnTo>
                    <a:pt x="1729" y="198"/>
                  </a:lnTo>
                  <a:lnTo>
                    <a:pt x="1755" y="182"/>
                  </a:lnTo>
                  <a:lnTo>
                    <a:pt x="1772" y="189"/>
                  </a:lnTo>
                  <a:lnTo>
                    <a:pt x="1772" y="182"/>
                  </a:lnTo>
                  <a:lnTo>
                    <a:pt x="1772" y="165"/>
                  </a:lnTo>
                  <a:lnTo>
                    <a:pt x="1788" y="172"/>
                  </a:lnTo>
                  <a:lnTo>
                    <a:pt x="1788" y="189"/>
                  </a:lnTo>
                  <a:lnTo>
                    <a:pt x="1798" y="189"/>
                  </a:lnTo>
                  <a:lnTo>
                    <a:pt x="1798" y="172"/>
                  </a:lnTo>
                  <a:lnTo>
                    <a:pt x="1826" y="172"/>
                  </a:lnTo>
                  <a:lnTo>
                    <a:pt x="1826" y="172"/>
                  </a:lnTo>
                  <a:lnTo>
                    <a:pt x="1826" y="172"/>
                  </a:lnTo>
                  <a:close/>
                  <a:moveTo>
                    <a:pt x="1394" y="16"/>
                  </a:moveTo>
                  <a:lnTo>
                    <a:pt x="1389" y="5"/>
                  </a:lnTo>
                  <a:lnTo>
                    <a:pt x="1405" y="5"/>
                  </a:lnTo>
                  <a:lnTo>
                    <a:pt x="1394" y="16"/>
                  </a:lnTo>
                  <a:lnTo>
                    <a:pt x="1394" y="16"/>
                  </a:lnTo>
                  <a:lnTo>
                    <a:pt x="1394" y="16"/>
                  </a:lnTo>
                  <a:close/>
                  <a:moveTo>
                    <a:pt x="1351" y="33"/>
                  </a:moveTo>
                  <a:lnTo>
                    <a:pt x="1335" y="21"/>
                  </a:lnTo>
                  <a:lnTo>
                    <a:pt x="1356" y="21"/>
                  </a:lnTo>
                  <a:lnTo>
                    <a:pt x="1351" y="33"/>
                  </a:lnTo>
                  <a:lnTo>
                    <a:pt x="1351" y="33"/>
                  </a:lnTo>
                  <a:lnTo>
                    <a:pt x="1351" y="33"/>
                  </a:lnTo>
                  <a:close/>
                  <a:moveTo>
                    <a:pt x="1217" y="87"/>
                  </a:moveTo>
                  <a:lnTo>
                    <a:pt x="1217" y="71"/>
                  </a:lnTo>
                  <a:lnTo>
                    <a:pt x="1205" y="61"/>
                  </a:lnTo>
                  <a:lnTo>
                    <a:pt x="1243" y="54"/>
                  </a:lnTo>
                  <a:lnTo>
                    <a:pt x="1247" y="61"/>
                  </a:lnTo>
                  <a:lnTo>
                    <a:pt x="1247" y="71"/>
                  </a:lnTo>
                  <a:lnTo>
                    <a:pt x="1259" y="71"/>
                  </a:lnTo>
                  <a:lnTo>
                    <a:pt x="1259" y="54"/>
                  </a:lnTo>
                  <a:lnTo>
                    <a:pt x="1268" y="61"/>
                  </a:lnTo>
                  <a:lnTo>
                    <a:pt x="1285" y="49"/>
                  </a:lnTo>
                  <a:lnTo>
                    <a:pt x="1297" y="49"/>
                  </a:lnTo>
                  <a:lnTo>
                    <a:pt x="1297" y="38"/>
                  </a:lnTo>
                  <a:lnTo>
                    <a:pt x="1302" y="49"/>
                  </a:lnTo>
                  <a:lnTo>
                    <a:pt x="1280" y="78"/>
                  </a:lnTo>
                  <a:lnTo>
                    <a:pt x="1217" y="87"/>
                  </a:lnTo>
                  <a:lnTo>
                    <a:pt x="1217" y="87"/>
                  </a:lnTo>
                  <a:lnTo>
                    <a:pt x="1217" y="87"/>
                  </a:lnTo>
                  <a:close/>
                  <a:moveTo>
                    <a:pt x="1335" y="87"/>
                  </a:moveTo>
                  <a:lnTo>
                    <a:pt x="1323" y="78"/>
                  </a:lnTo>
                  <a:lnTo>
                    <a:pt x="1318" y="61"/>
                  </a:lnTo>
                  <a:lnTo>
                    <a:pt x="1335" y="54"/>
                  </a:lnTo>
                  <a:lnTo>
                    <a:pt x="1351" y="71"/>
                  </a:lnTo>
                  <a:lnTo>
                    <a:pt x="1335" y="87"/>
                  </a:lnTo>
                  <a:lnTo>
                    <a:pt x="1335" y="87"/>
                  </a:lnTo>
                  <a:lnTo>
                    <a:pt x="1335" y="87"/>
                  </a:lnTo>
                  <a:close/>
                  <a:moveTo>
                    <a:pt x="1280" y="116"/>
                  </a:moveTo>
                  <a:lnTo>
                    <a:pt x="1264" y="94"/>
                  </a:lnTo>
                  <a:lnTo>
                    <a:pt x="1302" y="78"/>
                  </a:lnTo>
                  <a:lnTo>
                    <a:pt x="1302" y="71"/>
                  </a:lnTo>
                  <a:lnTo>
                    <a:pt x="1318" y="87"/>
                  </a:lnTo>
                  <a:lnTo>
                    <a:pt x="1313" y="104"/>
                  </a:lnTo>
                  <a:lnTo>
                    <a:pt x="1280" y="116"/>
                  </a:lnTo>
                  <a:lnTo>
                    <a:pt x="1280" y="116"/>
                  </a:lnTo>
                  <a:lnTo>
                    <a:pt x="1280" y="116"/>
                  </a:lnTo>
                  <a:close/>
                  <a:moveTo>
                    <a:pt x="1268" y="116"/>
                  </a:moveTo>
                  <a:lnTo>
                    <a:pt x="1226" y="111"/>
                  </a:lnTo>
                  <a:lnTo>
                    <a:pt x="1247" y="104"/>
                  </a:lnTo>
                  <a:lnTo>
                    <a:pt x="1268" y="116"/>
                  </a:lnTo>
                  <a:lnTo>
                    <a:pt x="1268" y="116"/>
                  </a:lnTo>
                  <a:lnTo>
                    <a:pt x="1268" y="116"/>
                  </a:lnTo>
                  <a:close/>
                  <a:moveTo>
                    <a:pt x="1188" y="116"/>
                  </a:moveTo>
                  <a:lnTo>
                    <a:pt x="1179" y="104"/>
                  </a:lnTo>
                  <a:lnTo>
                    <a:pt x="1193" y="104"/>
                  </a:lnTo>
                  <a:lnTo>
                    <a:pt x="1188" y="116"/>
                  </a:lnTo>
                  <a:lnTo>
                    <a:pt x="1188" y="116"/>
                  </a:lnTo>
                  <a:lnTo>
                    <a:pt x="1188" y="116"/>
                  </a:lnTo>
                  <a:close/>
                  <a:moveTo>
                    <a:pt x="1054" y="144"/>
                  </a:moveTo>
                  <a:lnTo>
                    <a:pt x="1049" y="144"/>
                  </a:lnTo>
                  <a:lnTo>
                    <a:pt x="1032" y="116"/>
                  </a:lnTo>
                  <a:lnTo>
                    <a:pt x="1042" y="111"/>
                  </a:lnTo>
                  <a:lnTo>
                    <a:pt x="1070" y="132"/>
                  </a:lnTo>
                  <a:lnTo>
                    <a:pt x="1054" y="144"/>
                  </a:lnTo>
                  <a:lnTo>
                    <a:pt x="1054" y="144"/>
                  </a:lnTo>
                  <a:lnTo>
                    <a:pt x="1054" y="144"/>
                  </a:lnTo>
                  <a:close/>
                  <a:moveTo>
                    <a:pt x="999" y="132"/>
                  </a:moveTo>
                  <a:lnTo>
                    <a:pt x="994" y="127"/>
                  </a:lnTo>
                  <a:lnTo>
                    <a:pt x="1011" y="116"/>
                  </a:lnTo>
                  <a:lnTo>
                    <a:pt x="1011" y="132"/>
                  </a:lnTo>
                  <a:lnTo>
                    <a:pt x="999" y="132"/>
                  </a:lnTo>
                  <a:lnTo>
                    <a:pt x="999" y="132"/>
                  </a:lnTo>
                  <a:lnTo>
                    <a:pt x="999" y="132"/>
                  </a:lnTo>
                  <a:close/>
                  <a:moveTo>
                    <a:pt x="1103" y="144"/>
                  </a:moveTo>
                  <a:lnTo>
                    <a:pt x="1087" y="144"/>
                  </a:lnTo>
                  <a:lnTo>
                    <a:pt x="1096" y="127"/>
                  </a:lnTo>
                  <a:lnTo>
                    <a:pt x="1103" y="116"/>
                  </a:lnTo>
                  <a:lnTo>
                    <a:pt x="1117" y="127"/>
                  </a:lnTo>
                  <a:lnTo>
                    <a:pt x="1117" y="144"/>
                  </a:lnTo>
                  <a:lnTo>
                    <a:pt x="1103" y="144"/>
                  </a:lnTo>
                  <a:lnTo>
                    <a:pt x="1103" y="144"/>
                  </a:lnTo>
                  <a:lnTo>
                    <a:pt x="1103" y="144"/>
                  </a:lnTo>
                  <a:close/>
                  <a:moveTo>
                    <a:pt x="1032" y="132"/>
                  </a:moveTo>
                  <a:lnTo>
                    <a:pt x="1016" y="132"/>
                  </a:lnTo>
                  <a:lnTo>
                    <a:pt x="1028" y="127"/>
                  </a:lnTo>
                  <a:lnTo>
                    <a:pt x="1032" y="132"/>
                  </a:lnTo>
                  <a:lnTo>
                    <a:pt x="1032" y="132"/>
                  </a:lnTo>
                  <a:lnTo>
                    <a:pt x="1032" y="132"/>
                  </a:lnTo>
                  <a:close/>
                  <a:moveTo>
                    <a:pt x="1124" y="144"/>
                  </a:moveTo>
                  <a:lnTo>
                    <a:pt x="1117" y="132"/>
                  </a:lnTo>
                  <a:lnTo>
                    <a:pt x="1124" y="132"/>
                  </a:lnTo>
                  <a:lnTo>
                    <a:pt x="1124" y="144"/>
                  </a:lnTo>
                  <a:lnTo>
                    <a:pt x="1124" y="144"/>
                  </a:lnTo>
                  <a:lnTo>
                    <a:pt x="1124" y="144"/>
                  </a:lnTo>
                  <a:close/>
                  <a:moveTo>
                    <a:pt x="973" y="149"/>
                  </a:moveTo>
                  <a:lnTo>
                    <a:pt x="973" y="132"/>
                  </a:lnTo>
                  <a:lnTo>
                    <a:pt x="994" y="144"/>
                  </a:lnTo>
                  <a:lnTo>
                    <a:pt x="973" y="149"/>
                  </a:lnTo>
                  <a:lnTo>
                    <a:pt x="973" y="149"/>
                  </a:lnTo>
                  <a:lnTo>
                    <a:pt x="973" y="149"/>
                  </a:lnTo>
                  <a:close/>
                  <a:moveTo>
                    <a:pt x="999" y="172"/>
                  </a:moveTo>
                  <a:lnTo>
                    <a:pt x="973" y="160"/>
                  </a:lnTo>
                  <a:lnTo>
                    <a:pt x="1011" y="132"/>
                  </a:lnTo>
                  <a:lnTo>
                    <a:pt x="1016" y="149"/>
                  </a:lnTo>
                  <a:lnTo>
                    <a:pt x="1032" y="144"/>
                  </a:lnTo>
                  <a:lnTo>
                    <a:pt x="1042" y="149"/>
                  </a:lnTo>
                  <a:lnTo>
                    <a:pt x="999" y="172"/>
                  </a:lnTo>
                  <a:lnTo>
                    <a:pt x="999" y="172"/>
                  </a:lnTo>
                  <a:lnTo>
                    <a:pt x="999" y="172"/>
                  </a:lnTo>
                  <a:close/>
                  <a:moveTo>
                    <a:pt x="1124" y="160"/>
                  </a:moveTo>
                  <a:lnTo>
                    <a:pt x="1117" y="149"/>
                  </a:lnTo>
                  <a:lnTo>
                    <a:pt x="1141" y="149"/>
                  </a:lnTo>
                  <a:lnTo>
                    <a:pt x="1124" y="160"/>
                  </a:lnTo>
                  <a:lnTo>
                    <a:pt x="1124" y="160"/>
                  </a:lnTo>
                  <a:lnTo>
                    <a:pt x="1124" y="160"/>
                  </a:lnTo>
                  <a:close/>
                  <a:moveTo>
                    <a:pt x="1028" y="172"/>
                  </a:moveTo>
                  <a:lnTo>
                    <a:pt x="1049" y="149"/>
                  </a:lnTo>
                  <a:lnTo>
                    <a:pt x="1054" y="160"/>
                  </a:lnTo>
                  <a:lnTo>
                    <a:pt x="1049" y="165"/>
                  </a:lnTo>
                  <a:lnTo>
                    <a:pt x="1028" y="172"/>
                  </a:lnTo>
                  <a:lnTo>
                    <a:pt x="1028" y="172"/>
                  </a:lnTo>
                  <a:lnTo>
                    <a:pt x="1028" y="172"/>
                  </a:lnTo>
                  <a:close/>
                  <a:moveTo>
                    <a:pt x="1750" y="182"/>
                  </a:moveTo>
                  <a:lnTo>
                    <a:pt x="1746" y="182"/>
                  </a:lnTo>
                  <a:lnTo>
                    <a:pt x="1750" y="165"/>
                  </a:lnTo>
                  <a:lnTo>
                    <a:pt x="1767" y="172"/>
                  </a:lnTo>
                  <a:lnTo>
                    <a:pt x="1750" y="182"/>
                  </a:lnTo>
                  <a:lnTo>
                    <a:pt x="1750" y="182"/>
                  </a:lnTo>
                  <a:lnTo>
                    <a:pt x="1750" y="182"/>
                  </a:lnTo>
                  <a:close/>
                  <a:moveTo>
                    <a:pt x="1103" y="172"/>
                  </a:moveTo>
                  <a:lnTo>
                    <a:pt x="1103" y="165"/>
                  </a:lnTo>
                  <a:lnTo>
                    <a:pt x="1117" y="165"/>
                  </a:lnTo>
                  <a:lnTo>
                    <a:pt x="1117" y="172"/>
                  </a:lnTo>
                  <a:lnTo>
                    <a:pt x="1103" y="172"/>
                  </a:lnTo>
                  <a:lnTo>
                    <a:pt x="1103" y="172"/>
                  </a:lnTo>
                  <a:lnTo>
                    <a:pt x="1103" y="172"/>
                  </a:lnTo>
                  <a:close/>
                  <a:moveTo>
                    <a:pt x="945" y="189"/>
                  </a:moveTo>
                  <a:lnTo>
                    <a:pt x="961" y="189"/>
                  </a:lnTo>
                  <a:lnTo>
                    <a:pt x="945" y="189"/>
                  </a:lnTo>
                  <a:lnTo>
                    <a:pt x="945" y="172"/>
                  </a:lnTo>
                  <a:lnTo>
                    <a:pt x="978" y="189"/>
                  </a:lnTo>
                  <a:lnTo>
                    <a:pt x="973" y="165"/>
                  </a:lnTo>
                  <a:lnTo>
                    <a:pt x="994" y="182"/>
                  </a:lnTo>
                  <a:lnTo>
                    <a:pt x="978" y="189"/>
                  </a:lnTo>
                  <a:lnTo>
                    <a:pt x="978" y="205"/>
                  </a:lnTo>
                  <a:lnTo>
                    <a:pt x="973" y="205"/>
                  </a:lnTo>
                  <a:lnTo>
                    <a:pt x="924" y="205"/>
                  </a:lnTo>
                  <a:lnTo>
                    <a:pt x="940" y="198"/>
                  </a:lnTo>
                  <a:lnTo>
                    <a:pt x="928" y="189"/>
                  </a:lnTo>
                  <a:lnTo>
                    <a:pt x="945" y="189"/>
                  </a:lnTo>
                  <a:lnTo>
                    <a:pt x="945" y="189"/>
                  </a:lnTo>
                  <a:lnTo>
                    <a:pt x="945" y="189"/>
                  </a:lnTo>
                  <a:close/>
                  <a:moveTo>
                    <a:pt x="839" y="255"/>
                  </a:moveTo>
                  <a:lnTo>
                    <a:pt x="865" y="243"/>
                  </a:lnTo>
                  <a:lnTo>
                    <a:pt x="848" y="238"/>
                  </a:lnTo>
                  <a:lnTo>
                    <a:pt x="853" y="238"/>
                  </a:lnTo>
                  <a:lnTo>
                    <a:pt x="839" y="227"/>
                  </a:lnTo>
                  <a:lnTo>
                    <a:pt x="848" y="227"/>
                  </a:lnTo>
                  <a:lnTo>
                    <a:pt x="886" y="222"/>
                  </a:lnTo>
                  <a:lnTo>
                    <a:pt x="865" y="215"/>
                  </a:lnTo>
                  <a:lnTo>
                    <a:pt x="891" y="222"/>
                  </a:lnTo>
                  <a:lnTo>
                    <a:pt x="886" y="205"/>
                  </a:lnTo>
                  <a:lnTo>
                    <a:pt x="902" y="215"/>
                  </a:lnTo>
                  <a:lnTo>
                    <a:pt x="891" y="205"/>
                  </a:lnTo>
                  <a:lnTo>
                    <a:pt x="907" y="205"/>
                  </a:lnTo>
                  <a:lnTo>
                    <a:pt x="928" y="227"/>
                  </a:lnTo>
                  <a:lnTo>
                    <a:pt x="919" y="238"/>
                  </a:lnTo>
                  <a:lnTo>
                    <a:pt x="919" y="243"/>
                  </a:lnTo>
                  <a:lnTo>
                    <a:pt x="924" y="255"/>
                  </a:lnTo>
                  <a:lnTo>
                    <a:pt x="886" y="255"/>
                  </a:lnTo>
                  <a:lnTo>
                    <a:pt x="853" y="276"/>
                  </a:lnTo>
                  <a:lnTo>
                    <a:pt x="865" y="272"/>
                  </a:lnTo>
                  <a:lnTo>
                    <a:pt x="831" y="272"/>
                  </a:lnTo>
                  <a:lnTo>
                    <a:pt x="865" y="255"/>
                  </a:lnTo>
                  <a:lnTo>
                    <a:pt x="839" y="255"/>
                  </a:lnTo>
                  <a:lnTo>
                    <a:pt x="839" y="255"/>
                  </a:lnTo>
                  <a:lnTo>
                    <a:pt x="839" y="255"/>
                  </a:lnTo>
                  <a:close/>
                  <a:moveTo>
                    <a:pt x="746" y="293"/>
                  </a:moveTo>
                  <a:lnTo>
                    <a:pt x="739" y="276"/>
                  </a:lnTo>
                  <a:lnTo>
                    <a:pt x="746" y="272"/>
                  </a:lnTo>
                  <a:lnTo>
                    <a:pt x="794" y="243"/>
                  </a:lnTo>
                  <a:lnTo>
                    <a:pt x="784" y="260"/>
                  </a:lnTo>
                  <a:lnTo>
                    <a:pt x="746" y="293"/>
                  </a:lnTo>
                  <a:lnTo>
                    <a:pt x="746" y="293"/>
                  </a:lnTo>
                  <a:lnTo>
                    <a:pt x="746" y="293"/>
                  </a:lnTo>
                  <a:close/>
                  <a:moveTo>
                    <a:pt x="876" y="276"/>
                  </a:moveTo>
                  <a:lnTo>
                    <a:pt x="876" y="272"/>
                  </a:lnTo>
                  <a:lnTo>
                    <a:pt x="891" y="272"/>
                  </a:lnTo>
                  <a:lnTo>
                    <a:pt x="876" y="276"/>
                  </a:lnTo>
                  <a:lnTo>
                    <a:pt x="876" y="276"/>
                  </a:lnTo>
                  <a:lnTo>
                    <a:pt x="876" y="276"/>
                  </a:lnTo>
                  <a:close/>
                  <a:moveTo>
                    <a:pt x="676" y="326"/>
                  </a:moveTo>
                  <a:lnTo>
                    <a:pt x="671" y="316"/>
                  </a:lnTo>
                  <a:lnTo>
                    <a:pt x="676" y="300"/>
                  </a:lnTo>
                  <a:lnTo>
                    <a:pt x="702" y="309"/>
                  </a:lnTo>
                  <a:lnTo>
                    <a:pt x="709" y="293"/>
                  </a:lnTo>
                  <a:lnTo>
                    <a:pt x="725" y="300"/>
                  </a:lnTo>
                  <a:lnTo>
                    <a:pt x="709" y="283"/>
                  </a:lnTo>
                  <a:lnTo>
                    <a:pt x="713" y="276"/>
                  </a:lnTo>
                  <a:lnTo>
                    <a:pt x="739" y="300"/>
                  </a:lnTo>
                  <a:lnTo>
                    <a:pt x="739" y="316"/>
                  </a:lnTo>
                  <a:lnTo>
                    <a:pt x="713" y="333"/>
                  </a:lnTo>
                  <a:lnTo>
                    <a:pt x="702" y="326"/>
                  </a:lnTo>
                  <a:lnTo>
                    <a:pt x="725" y="309"/>
                  </a:lnTo>
                  <a:lnTo>
                    <a:pt x="676" y="326"/>
                  </a:lnTo>
                  <a:lnTo>
                    <a:pt x="676" y="326"/>
                  </a:lnTo>
                  <a:lnTo>
                    <a:pt x="676" y="326"/>
                  </a:lnTo>
                  <a:close/>
                  <a:moveTo>
                    <a:pt x="815" y="293"/>
                  </a:moveTo>
                  <a:lnTo>
                    <a:pt x="801" y="283"/>
                  </a:lnTo>
                  <a:lnTo>
                    <a:pt x="822" y="283"/>
                  </a:lnTo>
                  <a:lnTo>
                    <a:pt x="815" y="293"/>
                  </a:lnTo>
                  <a:lnTo>
                    <a:pt x="815" y="293"/>
                  </a:lnTo>
                  <a:lnTo>
                    <a:pt x="815" y="293"/>
                  </a:lnTo>
                  <a:close/>
                  <a:moveTo>
                    <a:pt x="777" y="283"/>
                  </a:moveTo>
                  <a:lnTo>
                    <a:pt x="768" y="300"/>
                  </a:lnTo>
                  <a:lnTo>
                    <a:pt x="777" y="309"/>
                  </a:lnTo>
                  <a:lnTo>
                    <a:pt x="763" y="338"/>
                  </a:lnTo>
                  <a:lnTo>
                    <a:pt x="794" y="293"/>
                  </a:lnTo>
                  <a:lnTo>
                    <a:pt x="815" y="300"/>
                  </a:lnTo>
                  <a:lnTo>
                    <a:pt x="822" y="326"/>
                  </a:lnTo>
                  <a:lnTo>
                    <a:pt x="815" y="333"/>
                  </a:lnTo>
                  <a:lnTo>
                    <a:pt x="794" y="333"/>
                  </a:lnTo>
                  <a:lnTo>
                    <a:pt x="777" y="354"/>
                  </a:lnTo>
                  <a:lnTo>
                    <a:pt x="768" y="349"/>
                  </a:lnTo>
                  <a:lnTo>
                    <a:pt x="756" y="366"/>
                  </a:lnTo>
                  <a:lnTo>
                    <a:pt x="730" y="366"/>
                  </a:lnTo>
                  <a:lnTo>
                    <a:pt x="756" y="338"/>
                  </a:lnTo>
                  <a:lnTo>
                    <a:pt x="746" y="338"/>
                  </a:lnTo>
                  <a:lnTo>
                    <a:pt x="709" y="371"/>
                  </a:lnTo>
                  <a:lnTo>
                    <a:pt x="730" y="338"/>
                  </a:lnTo>
                  <a:lnTo>
                    <a:pt x="725" y="338"/>
                  </a:lnTo>
                  <a:lnTo>
                    <a:pt x="746" y="326"/>
                  </a:lnTo>
                  <a:lnTo>
                    <a:pt x="739" y="309"/>
                  </a:lnTo>
                  <a:lnTo>
                    <a:pt x="763" y="316"/>
                  </a:lnTo>
                  <a:lnTo>
                    <a:pt x="739" y="309"/>
                  </a:lnTo>
                  <a:lnTo>
                    <a:pt x="756" y="283"/>
                  </a:lnTo>
                  <a:lnTo>
                    <a:pt x="777" y="283"/>
                  </a:lnTo>
                  <a:lnTo>
                    <a:pt x="777" y="283"/>
                  </a:lnTo>
                  <a:lnTo>
                    <a:pt x="777" y="283"/>
                  </a:lnTo>
                  <a:close/>
                  <a:moveTo>
                    <a:pt x="709" y="293"/>
                  </a:moveTo>
                  <a:lnTo>
                    <a:pt x="702" y="283"/>
                  </a:lnTo>
                  <a:lnTo>
                    <a:pt x="709" y="283"/>
                  </a:lnTo>
                  <a:lnTo>
                    <a:pt x="709" y="293"/>
                  </a:lnTo>
                  <a:lnTo>
                    <a:pt x="709" y="293"/>
                  </a:lnTo>
                  <a:lnTo>
                    <a:pt x="709" y="293"/>
                  </a:lnTo>
                  <a:close/>
                  <a:moveTo>
                    <a:pt x="869" y="300"/>
                  </a:moveTo>
                  <a:lnTo>
                    <a:pt x="853" y="293"/>
                  </a:lnTo>
                  <a:lnTo>
                    <a:pt x="886" y="293"/>
                  </a:lnTo>
                  <a:lnTo>
                    <a:pt x="869" y="300"/>
                  </a:lnTo>
                  <a:lnTo>
                    <a:pt x="869" y="300"/>
                  </a:lnTo>
                  <a:lnTo>
                    <a:pt x="869" y="300"/>
                  </a:lnTo>
                  <a:close/>
                  <a:moveTo>
                    <a:pt x="839" y="316"/>
                  </a:moveTo>
                  <a:lnTo>
                    <a:pt x="848" y="293"/>
                  </a:lnTo>
                  <a:lnTo>
                    <a:pt x="865" y="309"/>
                  </a:lnTo>
                  <a:lnTo>
                    <a:pt x="839" y="316"/>
                  </a:lnTo>
                  <a:lnTo>
                    <a:pt x="839" y="316"/>
                  </a:lnTo>
                  <a:lnTo>
                    <a:pt x="839" y="316"/>
                  </a:lnTo>
                  <a:close/>
                  <a:moveTo>
                    <a:pt x="794" y="354"/>
                  </a:moveTo>
                  <a:lnTo>
                    <a:pt x="801" y="338"/>
                  </a:lnTo>
                  <a:lnTo>
                    <a:pt x="815" y="349"/>
                  </a:lnTo>
                  <a:lnTo>
                    <a:pt x="794" y="354"/>
                  </a:lnTo>
                  <a:lnTo>
                    <a:pt x="794" y="354"/>
                  </a:lnTo>
                  <a:lnTo>
                    <a:pt x="794" y="354"/>
                  </a:lnTo>
                  <a:close/>
                  <a:moveTo>
                    <a:pt x="654" y="387"/>
                  </a:moveTo>
                  <a:lnTo>
                    <a:pt x="659" y="366"/>
                  </a:lnTo>
                  <a:lnTo>
                    <a:pt x="676" y="366"/>
                  </a:lnTo>
                  <a:lnTo>
                    <a:pt x="671" y="354"/>
                  </a:lnTo>
                  <a:lnTo>
                    <a:pt x="676" y="354"/>
                  </a:lnTo>
                  <a:lnTo>
                    <a:pt x="702" y="349"/>
                  </a:lnTo>
                  <a:lnTo>
                    <a:pt x="692" y="366"/>
                  </a:lnTo>
                  <a:lnTo>
                    <a:pt x="725" y="349"/>
                  </a:lnTo>
                  <a:lnTo>
                    <a:pt x="702" y="371"/>
                  </a:lnTo>
                  <a:lnTo>
                    <a:pt x="654" y="387"/>
                  </a:lnTo>
                  <a:lnTo>
                    <a:pt x="654" y="387"/>
                  </a:lnTo>
                  <a:lnTo>
                    <a:pt x="654" y="387"/>
                  </a:lnTo>
                  <a:close/>
                  <a:moveTo>
                    <a:pt x="654" y="371"/>
                  </a:moveTo>
                  <a:lnTo>
                    <a:pt x="650" y="366"/>
                  </a:lnTo>
                  <a:lnTo>
                    <a:pt x="654" y="366"/>
                  </a:lnTo>
                  <a:lnTo>
                    <a:pt x="654" y="371"/>
                  </a:lnTo>
                  <a:lnTo>
                    <a:pt x="654" y="371"/>
                  </a:lnTo>
                  <a:lnTo>
                    <a:pt x="654" y="371"/>
                  </a:lnTo>
                  <a:close/>
                  <a:moveTo>
                    <a:pt x="638" y="371"/>
                  </a:moveTo>
                  <a:lnTo>
                    <a:pt x="633" y="366"/>
                  </a:lnTo>
                  <a:lnTo>
                    <a:pt x="638" y="366"/>
                  </a:lnTo>
                  <a:lnTo>
                    <a:pt x="638" y="371"/>
                  </a:lnTo>
                  <a:lnTo>
                    <a:pt x="638" y="371"/>
                  </a:lnTo>
                  <a:lnTo>
                    <a:pt x="638" y="371"/>
                  </a:lnTo>
                  <a:close/>
                  <a:moveTo>
                    <a:pt x="605" y="394"/>
                  </a:moveTo>
                  <a:lnTo>
                    <a:pt x="600" y="394"/>
                  </a:lnTo>
                  <a:lnTo>
                    <a:pt x="605" y="371"/>
                  </a:lnTo>
                  <a:lnTo>
                    <a:pt x="650" y="371"/>
                  </a:lnTo>
                  <a:lnTo>
                    <a:pt x="605" y="394"/>
                  </a:lnTo>
                  <a:lnTo>
                    <a:pt x="605" y="394"/>
                  </a:lnTo>
                  <a:lnTo>
                    <a:pt x="605" y="394"/>
                  </a:lnTo>
                  <a:close/>
                  <a:moveTo>
                    <a:pt x="583" y="404"/>
                  </a:moveTo>
                  <a:lnTo>
                    <a:pt x="583" y="394"/>
                  </a:lnTo>
                  <a:lnTo>
                    <a:pt x="595" y="387"/>
                  </a:lnTo>
                  <a:lnTo>
                    <a:pt x="600" y="387"/>
                  </a:lnTo>
                  <a:lnTo>
                    <a:pt x="583" y="404"/>
                  </a:lnTo>
                  <a:lnTo>
                    <a:pt x="583" y="404"/>
                  </a:lnTo>
                  <a:lnTo>
                    <a:pt x="583" y="404"/>
                  </a:lnTo>
                  <a:close/>
                  <a:moveTo>
                    <a:pt x="550" y="427"/>
                  </a:moveTo>
                  <a:lnTo>
                    <a:pt x="579" y="387"/>
                  </a:lnTo>
                  <a:lnTo>
                    <a:pt x="583" y="394"/>
                  </a:lnTo>
                  <a:lnTo>
                    <a:pt x="579" y="411"/>
                  </a:lnTo>
                  <a:lnTo>
                    <a:pt x="550" y="427"/>
                  </a:lnTo>
                  <a:lnTo>
                    <a:pt x="550" y="427"/>
                  </a:lnTo>
                  <a:lnTo>
                    <a:pt x="550" y="427"/>
                  </a:lnTo>
                  <a:close/>
                  <a:moveTo>
                    <a:pt x="756" y="404"/>
                  </a:moveTo>
                  <a:lnTo>
                    <a:pt x="746" y="404"/>
                  </a:lnTo>
                  <a:lnTo>
                    <a:pt x="777" y="404"/>
                  </a:lnTo>
                  <a:lnTo>
                    <a:pt x="756" y="404"/>
                  </a:lnTo>
                  <a:lnTo>
                    <a:pt x="756" y="404"/>
                  </a:lnTo>
                  <a:lnTo>
                    <a:pt x="756" y="404"/>
                  </a:lnTo>
                  <a:close/>
                  <a:moveTo>
                    <a:pt x="725" y="411"/>
                  </a:moveTo>
                  <a:lnTo>
                    <a:pt x="709" y="411"/>
                  </a:lnTo>
                  <a:lnTo>
                    <a:pt x="730" y="411"/>
                  </a:lnTo>
                  <a:lnTo>
                    <a:pt x="725" y="411"/>
                  </a:lnTo>
                  <a:lnTo>
                    <a:pt x="725" y="411"/>
                  </a:lnTo>
                  <a:lnTo>
                    <a:pt x="725" y="411"/>
                  </a:lnTo>
                  <a:close/>
                  <a:moveTo>
                    <a:pt x="654" y="522"/>
                  </a:moveTo>
                  <a:lnTo>
                    <a:pt x="638" y="515"/>
                  </a:lnTo>
                  <a:lnTo>
                    <a:pt x="659" y="503"/>
                  </a:lnTo>
                  <a:lnTo>
                    <a:pt x="654" y="522"/>
                  </a:lnTo>
                  <a:lnTo>
                    <a:pt x="654" y="522"/>
                  </a:lnTo>
                  <a:lnTo>
                    <a:pt x="654" y="522"/>
                  </a:lnTo>
                  <a:close/>
                  <a:moveTo>
                    <a:pt x="550" y="614"/>
                  </a:moveTo>
                  <a:lnTo>
                    <a:pt x="562" y="609"/>
                  </a:lnTo>
                  <a:lnTo>
                    <a:pt x="550" y="614"/>
                  </a:lnTo>
                  <a:lnTo>
                    <a:pt x="550" y="614"/>
                  </a:lnTo>
                  <a:lnTo>
                    <a:pt x="550" y="614"/>
                  </a:lnTo>
                  <a:close/>
                  <a:moveTo>
                    <a:pt x="524" y="642"/>
                  </a:moveTo>
                  <a:lnTo>
                    <a:pt x="541" y="614"/>
                  </a:lnTo>
                  <a:lnTo>
                    <a:pt x="546" y="631"/>
                  </a:lnTo>
                  <a:lnTo>
                    <a:pt x="524" y="642"/>
                  </a:lnTo>
                  <a:lnTo>
                    <a:pt x="524" y="642"/>
                  </a:lnTo>
                  <a:lnTo>
                    <a:pt x="524" y="642"/>
                  </a:lnTo>
                  <a:close/>
                  <a:moveTo>
                    <a:pt x="529" y="666"/>
                  </a:moveTo>
                  <a:lnTo>
                    <a:pt x="541" y="649"/>
                  </a:lnTo>
                  <a:lnTo>
                    <a:pt x="562" y="642"/>
                  </a:lnTo>
                  <a:lnTo>
                    <a:pt x="529" y="666"/>
                  </a:lnTo>
                  <a:lnTo>
                    <a:pt x="529" y="666"/>
                  </a:lnTo>
                  <a:lnTo>
                    <a:pt x="529" y="666"/>
                  </a:lnTo>
                  <a:close/>
                  <a:moveTo>
                    <a:pt x="491" y="699"/>
                  </a:moveTo>
                  <a:lnTo>
                    <a:pt x="487" y="687"/>
                  </a:lnTo>
                  <a:lnTo>
                    <a:pt x="498" y="683"/>
                  </a:lnTo>
                  <a:lnTo>
                    <a:pt x="491" y="699"/>
                  </a:lnTo>
                  <a:lnTo>
                    <a:pt x="491" y="699"/>
                  </a:lnTo>
                  <a:lnTo>
                    <a:pt x="491" y="699"/>
                  </a:lnTo>
                  <a:close/>
                  <a:moveTo>
                    <a:pt x="508" y="737"/>
                  </a:moveTo>
                  <a:lnTo>
                    <a:pt x="513" y="699"/>
                  </a:lnTo>
                  <a:lnTo>
                    <a:pt x="541" y="720"/>
                  </a:lnTo>
                  <a:lnTo>
                    <a:pt x="508" y="737"/>
                  </a:lnTo>
                  <a:lnTo>
                    <a:pt x="508" y="737"/>
                  </a:lnTo>
                  <a:lnTo>
                    <a:pt x="508" y="737"/>
                  </a:lnTo>
                  <a:close/>
                  <a:moveTo>
                    <a:pt x="508" y="758"/>
                  </a:moveTo>
                  <a:lnTo>
                    <a:pt x="498" y="753"/>
                  </a:lnTo>
                  <a:lnTo>
                    <a:pt x="513" y="737"/>
                  </a:lnTo>
                  <a:lnTo>
                    <a:pt x="524" y="753"/>
                  </a:lnTo>
                  <a:lnTo>
                    <a:pt x="508" y="758"/>
                  </a:lnTo>
                  <a:lnTo>
                    <a:pt x="508" y="758"/>
                  </a:lnTo>
                  <a:lnTo>
                    <a:pt x="508" y="758"/>
                  </a:lnTo>
                  <a:close/>
                  <a:moveTo>
                    <a:pt x="470" y="758"/>
                  </a:moveTo>
                  <a:lnTo>
                    <a:pt x="470" y="753"/>
                  </a:lnTo>
                  <a:lnTo>
                    <a:pt x="487" y="753"/>
                  </a:lnTo>
                  <a:lnTo>
                    <a:pt x="470" y="758"/>
                  </a:lnTo>
                  <a:lnTo>
                    <a:pt x="470" y="758"/>
                  </a:lnTo>
                  <a:lnTo>
                    <a:pt x="470" y="758"/>
                  </a:lnTo>
                  <a:close/>
                  <a:moveTo>
                    <a:pt x="437" y="782"/>
                  </a:moveTo>
                  <a:lnTo>
                    <a:pt x="416" y="782"/>
                  </a:lnTo>
                  <a:lnTo>
                    <a:pt x="437" y="770"/>
                  </a:lnTo>
                  <a:lnTo>
                    <a:pt x="444" y="777"/>
                  </a:lnTo>
                  <a:lnTo>
                    <a:pt x="437" y="782"/>
                  </a:lnTo>
                  <a:lnTo>
                    <a:pt x="437" y="782"/>
                  </a:lnTo>
                  <a:lnTo>
                    <a:pt x="437" y="782"/>
                  </a:lnTo>
                  <a:close/>
                  <a:moveTo>
                    <a:pt x="454" y="810"/>
                  </a:moveTo>
                  <a:lnTo>
                    <a:pt x="444" y="810"/>
                  </a:lnTo>
                  <a:lnTo>
                    <a:pt x="454" y="798"/>
                  </a:lnTo>
                  <a:lnTo>
                    <a:pt x="454" y="810"/>
                  </a:lnTo>
                  <a:lnTo>
                    <a:pt x="454" y="810"/>
                  </a:lnTo>
                  <a:lnTo>
                    <a:pt x="454" y="810"/>
                  </a:lnTo>
                  <a:close/>
                  <a:moveTo>
                    <a:pt x="461" y="827"/>
                  </a:moveTo>
                  <a:lnTo>
                    <a:pt x="444" y="827"/>
                  </a:lnTo>
                  <a:lnTo>
                    <a:pt x="432" y="810"/>
                  </a:lnTo>
                  <a:lnTo>
                    <a:pt x="461" y="815"/>
                  </a:lnTo>
                  <a:lnTo>
                    <a:pt x="461" y="827"/>
                  </a:lnTo>
                  <a:lnTo>
                    <a:pt x="461" y="827"/>
                  </a:lnTo>
                  <a:lnTo>
                    <a:pt x="461" y="827"/>
                  </a:lnTo>
                  <a:close/>
                  <a:moveTo>
                    <a:pt x="243" y="921"/>
                  </a:moveTo>
                  <a:lnTo>
                    <a:pt x="276" y="905"/>
                  </a:lnTo>
                  <a:lnTo>
                    <a:pt x="276" y="909"/>
                  </a:lnTo>
                  <a:lnTo>
                    <a:pt x="243" y="921"/>
                  </a:lnTo>
                  <a:lnTo>
                    <a:pt x="243" y="921"/>
                  </a:lnTo>
                  <a:lnTo>
                    <a:pt x="243" y="921"/>
                  </a:lnTo>
                  <a:close/>
                  <a:moveTo>
                    <a:pt x="255" y="942"/>
                  </a:moveTo>
                  <a:lnTo>
                    <a:pt x="239" y="942"/>
                  </a:lnTo>
                  <a:lnTo>
                    <a:pt x="281" y="921"/>
                  </a:lnTo>
                  <a:lnTo>
                    <a:pt x="298" y="926"/>
                  </a:lnTo>
                  <a:lnTo>
                    <a:pt x="255" y="942"/>
                  </a:lnTo>
                  <a:lnTo>
                    <a:pt x="255" y="942"/>
                  </a:lnTo>
                  <a:lnTo>
                    <a:pt x="255" y="942"/>
                  </a:lnTo>
                  <a:close/>
                  <a:moveTo>
                    <a:pt x="222" y="959"/>
                  </a:moveTo>
                  <a:lnTo>
                    <a:pt x="206" y="947"/>
                  </a:lnTo>
                  <a:lnTo>
                    <a:pt x="222" y="942"/>
                  </a:lnTo>
                  <a:lnTo>
                    <a:pt x="227" y="947"/>
                  </a:lnTo>
                  <a:lnTo>
                    <a:pt x="222" y="959"/>
                  </a:lnTo>
                  <a:lnTo>
                    <a:pt x="222" y="959"/>
                  </a:lnTo>
                  <a:lnTo>
                    <a:pt x="222" y="959"/>
                  </a:lnTo>
                  <a:close/>
                  <a:moveTo>
                    <a:pt x="260" y="959"/>
                  </a:moveTo>
                  <a:lnTo>
                    <a:pt x="255" y="959"/>
                  </a:lnTo>
                  <a:lnTo>
                    <a:pt x="272" y="959"/>
                  </a:lnTo>
                  <a:lnTo>
                    <a:pt x="260" y="959"/>
                  </a:lnTo>
                  <a:lnTo>
                    <a:pt x="260" y="959"/>
                  </a:lnTo>
                  <a:lnTo>
                    <a:pt x="260" y="959"/>
                  </a:lnTo>
                  <a:close/>
                  <a:moveTo>
                    <a:pt x="243" y="975"/>
                  </a:moveTo>
                  <a:lnTo>
                    <a:pt x="239" y="964"/>
                  </a:lnTo>
                  <a:lnTo>
                    <a:pt x="255" y="959"/>
                  </a:lnTo>
                  <a:lnTo>
                    <a:pt x="260" y="975"/>
                  </a:lnTo>
                  <a:lnTo>
                    <a:pt x="243" y="975"/>
                  </a:lnTo>
                  <a:lnTo>
                    <a:pt x="243" y="975"/>
                  </a:lnTo>
                  <a:lnTo>
                    <a:pt x="243" y="975"/>
                  </a:lnTo>
                  <a:close/>
                  <a:moveTo>
                    <a:pt x="222" y="975"/>
                  </a:moveTo>
                  <a:lnTo>
                    <a:pt x="217" y="975"/>
                  </a:lnTo>
                  <a:lnTo>
                    <a:pt x="222" y="964"/>
                  </a:lnTo>
                  <a:lnTo>
                    <a:pt x="227" y="975"/>
                  </a:lnTo>
                  <a:lnTo>
                    <a:pt x="222" y="975"/>
                  </a:lnTo>
                  <a:lnTo>
                    <a:pt x="222" y="975"/>
                  </a:lnTo>
                  <a:lnTo>
                    <a:pt x="222" y="975"/>
                  </a:lnTo>
                  <a:close/>
                  <a:moveTo>
                    <a:pt x="239" y="975"/>
                  </a:moveTo>
                  <a:lnTo>
                    <a:pt x="227" y="964"/>
                  </a:lnTo>
                  <a:lnTo>
                    <a:pt x="243" y="975"/>
                  </a:lnTo>
                  <a:lnTo>
                    <a:pt x="239" y="975"/>
                  </a:lnTo>
                  <a:lnTo>
                    <a:pt x="239" y="975"/>
                  </a:lnTo>
                  <a:lnTo>
                    <a:pt x="239" y="975"/>
                  </a:lnTo>
                  <a:close/>
                  <a:moveTo>
                    <a:pt x="206" y="992"/>
                  </a:moveTo>
                  <a:lnTo>
                    <a:pt x="201" y="992"/>
                  </a:lnTo>
                  <a:lnTo>
                    <a:pt x="217" y="980"/>
                  </a:lnTo>
                  <a:lnTo>
                    <a:pt x="206" y="992"/>
                  </a:lnTo>
                  <a:lnTo>
                    <a:pt x="206" y="992"/>
                  </a:lnTo>
                  <a:lnTo>
                    <a:pt x="206" y="992"/>
                  </a:lnTo>
                  <a:close/>
                  <a:moveTo>
                    <a:pt x="184" y="997"/>
                  </a:moveTo>
                  <a:lnTo>
                    <a:pt x="172" y="997"/>
                  </a:lnTo>
                  <a:lnTo>
                    <a:pt x="172" y="992"/>
                  </a:lnTo>
                  <a:lnTo>
                    <a:pt x="189" y="980"/>
                  </a:lnTo>
                  <a:lnTo>
                    <a:pt x="201" y="992"/>
                  </a:lnTo>
                  <a:lnTo>
                    <a:pt x="184" y="997"/>
                  </a:lnTo>
                  <a:lnTo>
                    <a:pt x="184" y="997"/>
                  </a:lnTo>
                  <a:lnTo>
                    <a:pt x="184" y="997"/>
                  </a:lnTo>
                  <a:close/>
                  <a:moveTo>
                    <a:pt x="135" y="1020"/>
                  </a:moveTo>
                  <a:lnTo>
                    <a:pt x="135" y="1013"/>
                  </a:lnTo>
                  <a:lnTo>
                    <a:pt x="146" y="1013"/>
                  </a:lnTo>
                  <a:lnTo>
                    <a:pt x="135" y="1020"/>
                  </a:lnTo>
                  <a:lnTo>
                    <a:pt x="135" y="1020"/>
                  </a:lnTo>
                  <a:lnTo>
                    <a:pt x="135" y="1020"/>
                  </a:lnTo>
                  <a:close/>
                  <a:moveTo>
                    <a:pt x="130" y="1032"/>
                  </a:moveTo>
                  <a:lnTo>
                    <a:pt x="130" y="1020"/>
                  </a:lnTo>
                  <a:lnTo>
                    <a:pt x="146" y="1032"/>
                  </a:lnTo>
                  <a:lnTo>
                    <a:pt x="130" y="1032"/>
                  </a:lnTo>
                  <a:lnTo>
                    <a:pt x="130" y="1032"/>
                  </a:lnTo>
                  <a:lnTo>
                    <a:pt x="130" y="1032"/>
                  </a:lnTo>
                  <a:close/>
                  <a:moveTo>
                    <a:pt x="97" y="1058"/>
                  </a:moveTo>
                  <a:lnTo>
                    <a:pt x="83" y="1053"/>
                  </a:lnTo>
                  <a:lnTo>
                    <a:pt x="109" y="1058"/>
                  </a:lnTo>
                  <a:lnTo>
                    <a:pt x="97" y="1058"/>
                  </a:lnTo>
                  <a:lnTo>
                    <a:pt x="97" y="1058"/>
                  </a:lnTo>
                  <a:lnTo>
                    <a:pt x="97" y="1058"/>
                  </a:lnTo>
                  <a:close/>
                  <a:moveTo>
                    <a:pt x="66" y="1075"/>
                  </a:moveTo>
                  <a:lnTo>
                    <a:pt x="66" y="1058"/>
                  </a:lnTo>
                  <a:lnTo>
                    <a:pt x="83" y="1070"/>
                  </a:lnTo>
                  <a:lnTo>
                    <a:pt x="66" y="1075"/>
                  </a:lnTo>
                  <a:lnTo>
                    <a:pt x="66" y="1075"/>
                  </a:lnTo>
                  <a:lnTo>
                    <a:pt x="66" y="1075"/>
                  </a:lnTo>
                  <a:close/>
                  <a:moveTo>
                    <a:pt x="54" y="1086"/>
                  </a:moveTo>
                  <a:lnTo>
                    <a:pt x="45" y="1086"/>
                  </a:lnTo>
                  <a:lnTo>
                    <a:pt x="45" y="1075"/>
                  </a:lnTo>
                  <a:lnTo>
                    <a:pt x="66" y="1075"/>
                  </a:lnTo>
                  <a:lnTo>
                    <a:pt x="54" y="1086"/>
                  </a:lnTo>
                  <a:lnTo>
                    <a:pt x="54" y="1086"/>
                  </a:lnTo>
                  <a:lnTo>
                    <a:pt x="54" y="1086"/>
                  </a:lnTo>
                  <a:close/>
                  <a:moveTo>
                    <a:pt x="12" y="1115"/>
                  </a:moveTo>
                  <a:lnTo>
                    <a:pt x="12" y="1103"/>
                  </a:lnTo>
                  <a:lnTo>
                    <a:pt x="12" y="1115"/>
                  </a:lnTo>
                  <a:lnTo>
                    <a:pt x="12" y="1115"/>
                  </a:lnTo>
                  <a:lnTo>
                    <a:pt x="12" y="1115"/>
                  </a:lnTo>
                  <a:close/>
                  <a:moveTo>
                    <a:pt x="7" y="1131"/>
                  </a:moveTo>
                  <a:lnTo>
                    <a:pt x="0" y="1124"/>
                  </a:lnTo>
                  <a:lnTo>
                    <a:pt x="7" y="1115"/>
                  </a:lnTo>
                  <a:lnTo>
                    <a:pt x="21" y="1124"/>
                  </a:lnTo>
                  <a:lnTo>
                    <a:pt x="7" y="1131"/>
                  </a:lnTo>
                  <a:lnTo>
                    <a:pt x="7" y="1131"/>
                  </a:lnTo>
                  <a:lnTo>
                    <a:pt x="7" y="1131"/>
                  </a:lnTo>
                  <a:close/>
                  <a:moveTo>
                    <a:pt x="0" y="1214"/>
                  </a:moveTo>
                  <a:lnTo>
                    <a:pt x="0" y="1197"/>
                  </a:lnTo>
                  <a:lnTo>
                    <a:pt x="7" y="1197"/>
                  </a:lnTo>
                  <a:lnTo>
                    <a:pt x="7" y="1202"/>
                  </a:lnTo>
                  <a:lnTo>
                    <a:pt x="0" y="1214"/>
                  </a:lnTo>
                  <a:lnTo>
                    <a:pt x="0" y="1214"/>
                  </a:lnTo>
                  <a:lnTo>
                    <a:pt x="0" y="1214"/>
                  </a:lnTo>
                  <a:close/>
                  <a:moveTo>
                    <a:pt x="45" y="1275"/>
                  </a:moveTo>
                  <a:lnTo>
                    <a:pt x="38" y="1268"/>
                  </a:lnTo>
                  <a:lnTo>
                    <a:pt x="59" y="1252"/>
                  </a:lnTo>
                  <a:lnTo>
                    <a:pt x="59" y="1275"/>
                  </a:lnTo>
                  <a:lnTo>
                    <a:pt x="45" y="1275"/>
                  </a:lnTo>
                  <a:lnTo>
                    <a:pt x="45" y="1275"/>
                  </a:lnTo>
                  <a:lnTo>
                    <a:pt x="45" y="1275"/>
                  </a:lnTo>
                  <a:close/>
                  <a:moveTo>
                    <a:pt x="21" y="1280"/>
                  </a:moveTo>
                  <a:lnTo>
                    <a:pt x="7" y="1268"/>
                  </a:lnTo>
                  <a:lnTo>
                    <a:pt x="21" y="1275"/>
                  </a:lnTo>
                  <a:lnTo>
                    <a:pt x="21" y="1280"/>
                  </a:lnTo>
                  <a:lnTo>
                    <a:pt x="21" y="1280"/>
                  </a:lnTo>
                  <a:lnTo>
                    <a:pt x="21" y="1280"/>
                  </a:lnTo>
                  <a:close/>
                  <a:moveTo>
                    <a:pt x="12" y="1308"/>
                  </a:moveTo>
                  <a:lnTo>
                    <a:pt x="7" y="1297"/>
                  </a:lnTo>
                  <a:lnTo>
                    <a:pt x="7" y="1275"/>
                  </a:lnTo>
                  <a:lnTo>
                    <a:pt x="12" y="1292"/>
                  </a:lnTo>
                  <a:lnTo>
                    <a:pt x="12" y="1308"/>
                  </a:lnTo>
                  <a:lnTo>
                    <a:pt x="12" y="1308"/>
                  </a:lnTo>
                  <a:lnTo>
                    <a:pt x="12" y="1308"/>
                  </a:lnTo>
                  <a:close/>
                  <a:moveTo>
                    <a:pt x="76" y="1313"/>
                  </a:moveTo>
                  <a:lnTo>
                    <a:pt x="76" y="1308"/>
                  </a:lnTo>
                  <a:lnTo>
                    <a:pt x="83" y="1308"/>
                  </a:lnTo>
                  <a:lnTo>
                    <a:pt x="76" y="1313"/>
                  </a:lnTo>
                  <a:lnTo>
                    <a:pt x="76" y="1313"/>
                  </a:lnTo>
                  <a:lnTo>
                    <a:pt x="76" y="1313"/>
                  </a:lnTo>
                  <a:close/>
                  <a:moveTo>
                    <a:pt x="28" y="1325"/>
                  </a:moveTo>
                  <a:lnTo>
                    <a:pt x="21" y="1325"/>
                  </a:lnTo>
                  <a:lnTo>
                    <a:pt x="21" y="1313"/>
                  </a:lnTo>
                  <a:lnTo>
                    <a:pt x="28" y="1325"/>
                  </a:lnTo>
                  <a:lnTo>
                    <a:pt x="28" y="1325"/>
                  </a:lnTo>
                  <a:lnTo>
                    <a:pt x="28" y="1325"/>
                  </a:lnTo>
                  <a:close/>
                  <a:moveTo>
                    <a:pt x="45" y="1337"/>
                  </a:moveTo>
                  <a:lnTo>
                    <a:pt x="38" y="1325"/>
                  </a:lnTo>
                  <a:lnTo>
                    <a:pt x="54" y="1313"/>
                  </a:lnTo>
                  <a:lnTo>
                    <a:pt x="45" y="1337"/>
                  </a:lnTo>
                  <a:lnTo>
                    <a:pt x="45" y="1337"/>
                  </a:lnTo>
                  <a:lnTo>
                    <a:pt x="45" y="1337"/>
                  </a:lnTo>
                  <a:close/>
                  <a:moveTo>
                    <a:pt x="38" y="1353"/>
                  </a:moveTo>
                  <a:lnTo>
                    <a:pt x="28" y="1346"/>
                  </a:lnTo>
                  <a:lnTo>
                    <a:pt x="28" y="1330"/>
                  </a:lnTo>
                  <a:lnTo>
                    <a:pt x="45" y="1337"/>
                  </a:lnTo>
                  <a:lnTo>
                    <a:pt x="38" y="1353"/>
                  </a:lnTo>
                  <a:lnTo>
                    <a:pt x="38" y="1353"/>
                  </a:lnTo>
                  <a:lnTo>
                    <a:pt x="38" y="1353"/>
                  </a:lnTo>
                  <a:close/>
                  <a:moveTo>
                    <a:pt x="21" y="1370"/>
                  </a:moveTo>
                  <a:lnTo>
                    <a:pt x="12" y="1346"/>
                  </a:lnTo>
                  <a:lnTo>
                    <a:pt x="21" y="1337"/>
                  </a:lnTo>
                  <a:lnTo>
                    <a:pt x="38" y="1353"/>
                  </a:lnTo>
                  <a:lnTo>
                    <a:pt x="21" y="1353"/>
                  </a:lnTo>
                  <a:lnTo>
                    <a:pt x="21" y="1370"/>
                  </a:lnTo>
                  <a:lnTo>
                    <a:pt x="21" y="1370"/>
                  </a:lnTo>
                  <a:lnTo>
                    <a:pt x="21" y="1370"/>
                  </a:lnTo>
                  <a:close/>
                  <a:moveTo>
                    <a:pt x="21" y="1420"/>
                  </a:moveTo>
                  <a:lnTo>
                    <a:pt x="21" y="1386"/>
                  </a:lnTo>
                  <a:lnTo>
                    <a:pt x="28" y="1408"/>
                  </a:lnTo>
                  <a:lnTo>
                    <a:pt x="21" y="1420"/>
                  </a:lnTo>
                  <a:lnTo>
                    <a:pt x="21" y="1420"/>
                  </a:lnTo>
                  <a:lnTo>
                    <a:pt x="21" y="1420"/>
                  </a:lnTo>
                  <a:close/>
                </a:path>
              </a:pathLst>
            </a:custGeom>
            <a:pattFill prst="lt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4" name="Freeform 524">
              <a:extLst>
                <a:ext uri="{FF2B5EF4-FFF2-40B4-BE49-F238E27FC236}">
                  <a16:creationId xmlns:a16="http://schemas.microsoft.com/office/drawing/2014/main" id="{88F7F03C-6BB9-44AA-9989-FFA09B995CDC}"/>
                </a:ext>
              </a:extLst>
            </p:cNvPr>
            <p:cNvSpPr>
              <a:spLocks/>
            </p:cNvSpPr>
            <p:nvPr/>
          </p:nvSpPr>
          <p:spPr bwMode="gray">
            <a:xfrm>
              <a:off x="8553848" y="3486599"/>
              <a:ext cx="284059" cy="152439"/>
            </a:xfrm>
            <a:custGeom>
              <a:avLst/>
              <a:gdLst>
                <a:gd name="T0" fmla="*/ 163 w 574"/>
                <a:gd name="T1" fmla="*/ 215 h 308"/>
                <a:gd name="T2" fmla="*/ 125 w 574"/>
                <a:gd name="T3" fmla="*/ 199 h 308"/>
                <a:gd name="T4" fmla="*/ 75 w 574"/>
                <a:gd name="T5" fmla="*/ 159 h 308"/>
                <a:gd name="T6" fmla="*/ 33 w 574"/>
                <a:gd name="T7" fmla="*/ 142 h 308"/>
                <a:gd name="T8" fmla="*/ 16 w 574"/>
                <a:gd name="T9" fmla="*/ 88 h 308"/>
                <a:gd name="T10" fmla="*/ 21 w 574"/>
                <a:gd name="T11" fmla="*/ 67 h 308"/>
                <a:gd name="T12" fmla="*/ 71 w 574"/>
                <a:gd name="T13" fmla="*/ 17 h 308"/>
                <a:gd name="T14" fmla="*/ 75 w 574"/>
                <a:gd name="T15" fmla="*/ 22 h 308"/>
                <a:gd name="T16" fmla="*/ 92 w 574"/>
                <a:gd name="T17" fmla="*/ 0 h 308"/>
                <a:gd name="T18" fmla="*/ 146 w 574"/>
                <a:gd name="T19" fmla="*/ 22 h 308"/>
                <a:gd name="T20" fmla="*/ 196 w 574"/>
                <a:gd name="T21" fmla="*/ 55 h 308"/>
                <a:gd name="T22" fmla="*/ 250 w 574"/>
                <a:gd name="T23" fmla="*/ 93 h 308"/>
                <a:gd name="T24" fmla="*/ 271 w 574"/>
                <a:gd name="T25" fmla="*/ 88 h 308"/>
                <a:gd name="T26" fmla="*/ 293 w 574"/>
                <a:gd name="T27" fmla="*/ 109 h 308"/>
                <a:gd name="T28" fmla="*/ 330 w 574"/>
                <a:gd name="T29" fmla="*/ 142 h 308"/>
                <a:gd name="T30" fmla="*/ 359 w 574"/>
                <a:gd name="T31" fmla="*/ 133 h 308"/>
                <a:gd name="T32" fmla="*/ 397 w 574"/>
                <a:gd name="T33" fmla="*/ 166 h 308"/>
                <a:gd name="T34" fmla="*/ 418 w 574"/>
                <a:gd name="T35" fmla="*/ 187 h 308"/>
                <a:gd name="T36" fmla="*/ 427 w 574"/>
                <a:gd name="T37" fmla="*/ 175 h 308"/>
                <a:gd name="T38" fmla="*/ 434 w 574"/>
                <a:gd name="T39" fmla="*/ 182 h 308"/>
                <a:gd name="T40" fmla="*/ 456 w 574"/>
                <a:gd name="T41" fmla="*/ 175 h 308"/>
                <a:gd name="T42" fmla="*/ 505 w 574"/>
                <a:gd name="T43" fmla="*/ 199 h 308"/>
                <a:gd name="T44" fmla="*/ 548 w 574"/>
                <a:gd name="T45" fmla="*/ 187 h 308"/>
                <a:gd name="T46" fmla="*/ 574 w 574"/>
                <a:gd name="T47" fmla="*/ 199 h 308"/>
                <a:gd name="T48" fmla="*/ 560 w 574"/>
                <a:gd name="T49" fmla="*/ 253 h 308"/>
                <a:gd name="T50" fmla="*/ 560 w 574"/>
                <a:gd name="T51" fmla="*/ 308 h 308"/>
                <a:gd name="T52" fmla="*/ 505 w 574"/>
                <a:gd name="T53" fmla="*/ 308 h 308"/>
                <a:gd name="T54" fmla="*/ 472 w 574"/>
                <a:gd name="T55" fmla="*/ 308 h 308"/>
                <a:gd name="T56" fmla="*/ 413 w 574"/>
                <a:gd name="T57" fmla="*/ 291 h 308"/>
                <a:gd name="T58" fmla="*/ 373 w 574"/>
                <a:gd name="T59" fmla="*/ 286 h 308"/>
                <a:gd name="T60" fmla="*/ 321 w 574"/>
                <a:gd name="T61" fmla="*/ 237 h 308"/>
                <a:gd name="T62" fmla="*/ 288 w 574"/>
                <a:gd name="T63" fmla="*/ 220 h 308"/>
                <a:gd name="T64" fmla="*/ 267 w 574"/>
                <a:gd name="T65" fmla="*/ 237 h 308"/>
                <a:gd name="T66" fmla="*/ 222 w 574"/>
                <a:gd name="T67" fmla="*/ 237 h 308"/>
                <a:gd name="T68" fmla="*/ 184 w 574"/>
                <a:gd name="T69" fmla="*/ 220 h 308"/>
                <a:gd name="T70" fmla="*/ 184 w 574"/>
                <a:gd name="T71" fmla="*/ 2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74" h="308">
                  <a:moveTo>
                    <a:pt x="184" y="204"/>
                  </a:moveTo>
                  <a:lnTo>
                    <a:pt x="163" y="215"/>
                  </a:lnTo>
                  <a:lnTo>
                    <a:pt x="141" y="187"/>
                  </a:lnTo>
                  <a:lnTo>
                    <a:pt x="125" y="199"/>
                  </a:lnTo>
                  <a:lnTo>
                    <a:pt x="87" y="175"/>
                  </a:lnTo>
                  <a:lnTo>
                    <a:pt x="75" y="159"/>
                  </a:lnTo>
                  <a:lnTo>
                    <a:pt x="33" y="133"/>
                  </a:lnTo>
                  <a:lnTo>
                    <a:pt x="33" y="142"/>
                  </a:lnTo>
                  <a:lnTo>
                    <a:pt x="0" y="121"/>
                  </a:lnTo>
                  <a:lnTo>
                    <a:pt x="16" y="88"/>
                  </a:lnTo>
                  <a:lnTo>
                    <a:pt x="4" y="71"/>
                  </a:lnTo>
                  <a:lnTo>
                    <a:pt x="21" y="67"/>
                  </a:lnTo>
                  <a:lnTo>
                    <a:pt x="21" y="50"/>
                  </a:lnTo>
                  <a:lnTo>
                    <a:pt x="71" y="17"/>
                  </a:lnTo>
                  <a:lnTo>
                    <a:pt x="71" y="22"/>
                  </a:lnTo>
                  <a:lnTo>
                    <a:pt x="75" y="22"/>
                  </a:lnTo>
                  <a:lnTo>
                    <a:pt x="92" y="17"/>
                  </a:lnTo>
                  <a:lnTo>
                    <a:pt x="92" y="0"/>
                  </a:lnTo>
                  <a:lnTo>
                    <a:pt x="141" y="0"/>
                  </a:lnTo>
                  <a:lnTo>
                    <a:pt x="146" y="22"/>
                  </a:lnTo>
                  <a:lnTo>
                    <a:pt x="163" y="22"/>
                  </a:lnTo>
                  <a:lnTo>
                    <a:pt x="196" y="55"/>
                  </a:lnTo>
                  <a:lnTo>
                    <a:pt x="217" y="55"/>
                  </a:lnTo>
                  <a:lnTo>
                    <a:pt x="250" y="93"/>
                  </a:lnTo>
                  <a:lnTo>
                    <a:pt x="255" y="93"/>
                  </a:lnTo>
                  <a:lnTo>
                    <a:pt x="271" y="88"/>
                  </a:lnTo>
                  <a:lnTo>
                    <a:pt x="288" y="88"/>
                  </a:lnTo>
                  <a:lnTo>
                    <a:pt x="293" y="109"/>
                  </a:lnTo>
                  <a:lnTo>
                    <a:pt x="309" y="126"/>
                  </a:lnTo>
                  <a:lnTo>
                    <a:pt x="330" y="142"/>
                  </a:lnTo>
                  <a:lnTo>
                    <a:pt x="347" y="133"/>
                  </a:lnTo>
                  <a:lnTo>
                    <a:pt x="359" y="133"/>
                  </a:lnTo>
                  <a:lnTo>
                    <a:pt x="359" y="159"/>
                  </a:lnTo>
                  <a:lnTo>
                    <a:pt x="397" y="166"/>
                  </a:lnTo>
                  <a:lnTo>
                    <a:pt x="413" y="175"/>
                  </a:lnTo>
                  <a:lnTo>
                    <a:pt x="418" y="187"/>
                  </a:lnTo>
                  <a:lnTo>
                    <a:pt x="427" y="187"/>
                  </a:lnTo>
                  <a:lnTo>
                    <a:pt x="427" y="175"/>
                  </a:lnTo>
                  <a:lnTo>
                    <a:pt x="434" y="175"/>
                  </a:lnTo>
                  <a:lnTo>
                    <a:pt x="434" y="182"/>
                  </a:lnTo>
                  <a:lnTo>
                    <a:pt x="451" y="187"/>
                  </a:lnTo>
                  <a:lnTo>
                    <a:pt x="456" y="175"/>
                  </a:lnTo>
                  <a:lnTo>
                    <a:pt x="467" y="175"/>
                  </a:lnTo>
                  <a:lnTo>
                    <a:pt x="505" y="199"/>
                  </a:lnTo>
                  <a:lnTo>
                    <a:pt x="536" y="199"/>
                  </a:lnTo>
                  <a:lnTo>
                    <a:pt x="548" y="187"/>
                  </a:lnTo>
                  <a:lnTo>
                    <a:pt x="564" y="199"/>
                  </a:lnTo>
                  <a:lnTo>
                    <a:pt x="574" y="199"/>
                  </a:lnTo>
                  <a:lnTo>
                    <a:pt x="564" y="220"/>
                  </a:lnTo>
                  <a:lnTo>
                    <a:pt x="560" y="253"/>
                  </a:lnTo>
                  <a:lnTo>
                    <a:pt x="574" y="286"/>
                  </a:lnTo>
                  <a:lnTo>
                    <a:pt x="560" y="308"/>
                  </a:lnTo>
                  <a:lnTo>
                    <a:pt x="548" y="298"/>
                  </a:lnTo>
                  <a:lnTo>
                    <a:pt x="505" y="308"/>
                  </a:lnTo>
                  <a:lnTo>
                    <a:pt x="489" y="298"/>
                  </a:lnTo>
                  <a:lnTo>
                    <a:pt x="472" y="308"/>
                  </a:lnTo>
                  <a:lnTo>
                    <a:pt x="418" y="286"/>
                  </a:lnTo>
                  <a:lnTo>
                    <a:pt x="413" y="291"/>
                  </a:lnTo>
                  <a:lnTo>
                    <a:pt x="385" y="270"/>
                  </a:lnTo>
                  <a:lnTo>
                    <a:pt x="373" y="286"/>
                  </a:lnTo>
                  <a:lnTo>
                    <a:pt x="326" y="258"/>
                  </a:lnTo>
                  <a:lnTo>
                    <a:pt x="321" y="237"/>
                  </a:lnTo>
                  <a:lnTo>
                    <a:pt x="293" y="232"/>
                  </a:lnTo>
                  <a:lnTo>
                    <a:pt x="288" y="220"/>
                  </a:lnTo>
                  <a:lnTo>
                    <a:pt x="267" y="232"/>
                  </a:lnTo>
                  <a:lnTo>
                    <a:pt x="267" y="237"/>
                  </a:lnTo>
                  <a:lnTo>
                    <a:pt x="234" y="232"/>
                  </a:lnTo>
                  <a:lnTo>
                    <a:pt x="222" y="237"/>
                  </a:lnTo>
                  <a:lnTo>
                    <a:pt x="217" y="232"/>
                  </a:lnTo>
                  <a:lnTo>
                    <a:pt x="184" y="220"/>
                  </a:lnTo>
                  <a:lnTo>
                    <a:pt x="184" y="204"/>
                  </a:lnTo>
                  <a:lnTo>
                    <a:pt x="184" y="204"/>
                  </a:lnTo>
                  <a:lnTo>
                    <a:pt x="184" y="204"/>
                  </a:lnTo>
                  <a:close/>
                </a:path>
              </a:pathLst>
            </a:custGeom>
            <a:pattFill prst="lt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5" name="Freeform 525">
              <a:extLst>
                <a:ext uri="{FF2B5EF4-FFF2-40B4-BE49-F238E27FC236}">
                  <a16:creationId xmlns:a16="http://schemas.microsoft.com/office/drawing/2014/main" id="{79A9E6A0-66D8-44FE-A339-902879534960}"/>
                </a:ext>
              </a:extLst>
            </p:cNvPr>
            <p:cNvSpPr>
              <a:spLocks/>
            </p:cNvSpPr>
            <p:nvPr/>
          </p:nvSpPr>
          <p:spPr bwMode="gray">
            <a:xfrm>
              <a:off x="3758491" y="4389355"/>
              <a:ext cx="140545" cy="148480"/>
            </a:xfrm>
            <a:custGeom>
              <a:avLst/>
              <a:gdLst>
                <a:gd name="T0" fmla="*/ 279 w 284"/>
                <a:gd name="T1" fmla="*/ 198 h 300"/>
                <a:gd name="T2" fmla="*/ 267 w 284"/>
                <a:gd name="T3" fmla="*/ 206 h 300"/>
                <a:gd name="T4" fmla="*/ 267 w 284"/>
                <a:gd name="T5" fmla="*/ 227 h 300"/>
                <a:gd name="T6" fmla="*/ 262 w 284"/>
                <a:gd name="T7" fmla="*/ 255 h 300"/>
                <a:gd name="T8" fmla="*/ 246 w 284"/>
                <a:gd name="T9" fmla="*/ 260 h 300"/>
                <a:gd name="T10" fmla="*/ 241 w 284"/>
                <a:gd name="T11" fmla="*/ 260 h 300"/>
                <a:gd name="T12" fmla="*/ 241 w 284"/>
                <a:gd name="T13" fmla="*/ 255 h 300"/>
                <a:gd name="T14" fmla="*/ 225 w 284"/>
                <a:gd name="T15" fmla="*/ 255 h 300"/>
                <a:gd name="T16" fmla="*/ 213 w 284"/>
                <a:gd name="T17" fmla="*/ 243 h 300"/>
                <a:gd name="T18" fmla="*/ 170 w 284"/>
                <a:gd name="T19" fmla="*/ 260 h 300"/>
                <a:gd name="T20" fmla="*/ 144 w 284"/>
                <a:gd name="T21" fmla="*/ 255 h 300"/>
                <a:gd name="T22" fmla="*/ 139 w 284"/>
                <a:gd name="T23" fmla="*/ 267 h 300"/>
                <a:gd name="T24" fmla="*/ 156 w 284"/>
                <a:gd name="T25" fmla="*/ 283 h 300"/>
                <a:gd name="T26" fmla="*/ 156 w 284"/>
                <a:gd name="T27" fmla="*/ 293 h 300"/>
                <a:gd name="T28" fmla="*/ 144 w 284"/>
                <a:gd name="T29" fmla="*/ 300 h 300"/>
                <a:gd name="T30" fmla="*/ 118 w 284"/>
                <a:gd name="T31" fmla="*/ 293 h 300"/>
                <a:gd name="T32" fmla="*/ 102 w 284"/>
                <a:gd name="T33" fmla="*/ 283 h 300"/>
                <a:gd name="T34" fmla="*/ 64 w 284"/>
                <a:gd name="T35" fmla="*/ 227 h 300"/>
                <a:gd name="T36" fmla="*/ 54 w 284"/>
                <a:gd name="T37" fmla="*/ 189 h 300"/>
                <a:gd name="T38" fmla="*/ 33 w 284"/>
                <a:gd name="T39" fmla="*/ 189 h 300"/>
                <a:gd name="T40" fmla="*/ 33 w 284"/>
                <a:gd name="T41" fmla="*/ 182 h 300"/>
                <a:gd name="T42" fmla="*/ 0 w 284"/>
                <a:gd name="T43" fmla="*/ 144 h 300"/>
                <a:gd name="T44" fmla="*/ 0 w 284"/>
                <a:gd name="T45" fmla="*/ 132 h 300"/>
                <a:gd name="T46" fmla="*/ 17 w 284"/>
                <a:gd name="T47" fmla="*/ 94 h 300"/>
                <a:gd name="T48" fmla="*/ 12 w 284"/>
                <a:gd name="T49" fmla="*/ 87 h 300"/>
                <a:gd name="T50" fmla="*/ 33 w 284"/>
                <a:gd name="T51" fmla="*/ 71 h 300"/>
                <a:gd name="T52" fmla="*/ 54 w 284"/>
                <a:gd name="T53" fmla="*/ 71 h 300"/>
                <a:gd name="T54" fmla="*/ 54 w 284"/>
                <a:gd name="T55" fmla="*/ 61 h 300"/>
                <a:gd name="T56" fmla="*/ 64 w 284"/>
                <a:gd name="T57" fmla="*/ 61 h 300"/>
                <a:gd name="T58" fmla="*/ 54 w 284"/>
                <a:gd name="T59" fmla="*/ 43 h 300"/>
                <a:gd name="T60" fmla="*/ 64 w 284"/>
                <a:gd name="T61" fmla="*/ 38 h 300"/>
                <a:gd name="T62" fmla="*/ 64 w 284"/>
                <a:gd name="T63" fmla="*/ 33 h 300"/>
                <a:gd name="T64" fmla="*/ 69 w 284"/>
                <a:gd name="T65" fmla="*/ 5 h 300"/>
                <a:gd name="T66" fmla="*/ 80 w 284"/>
                <a:gd name="T67" fmla="*/ 0 h 300"/>
                <a:gd name="T68" fmla="*/ 144 w 284"/>
                <a:gd name="T69" fmla="*/ 17 h 300"/>
                <a:gd name="T70" fmla="*/ 156 w 284"/>
                <a:gd name="T71" fmla="*/ 17 h 300"/>
                <a:gd name="T72" fmla="*/ 156 w 284"/>
                <a:gd name="T73" fmla="*/ 21 h 300"/>
                <a:gd name="T74" fmla="*/ 156 w 284"/>
                <a:gd name="T75" fmla="*/ 5 h 300"/>
                <a:gd name="T76" fmla="*/ 156 w 284"/>
                <a:gd name="T77" fmla="*/ 0 h 300"/>
                <a:gd name="T78" fmla="*/ 191 w 284"/>
                <a:gd name="T79" fmla="*/ 0 h 300"/>
                <a:gd name="T80" fmla="*/ 208 w 284"/>
                <a:gd name="T81" fmla="*/ 5 h 300"/>
                <a:gd name="T82" fmla="*/ 208 w 284"/>
                <a:gd name="T83" fmla="*/ 17 h 300"/>
                <a:gd name="T84" fmla="*/ 225 w 284"/>
                <a:gd name="T85" fmla="*/ 5 h 300"/>
                <a:gd name="T86" fmla="*/ 208 w 284"/>
                <a:gd name="T87" fmla="*/ 0 h 300"/>
                <a:gd name="T88" fmla="*/ 213 w 284"/>
                <a:gd name="T89" fmla="*/ 0 h 300"/>
                <a:gd name="T90" fmla="*/ 284 w 284"/>
                <a:gd name="T91" fmla="*/ 17 h 300"/>
                <a:gd name="T92" fmla="*/ 284 w 284"/>
                <a:gd name="T93" fmla="*/ 33 h 300"/>
                <a:gd name="T94" fmla="*/ 279 w 284"/>
                <a:gd name="T95" fmla="*/ 43 h 300"/>
                <a:gd name="T96" fmla="*/ 250 w 284"/>
                <a:gd name="T97" fmla="*/ 71 h 300"/>
                <a:gd name="T98" fmla="*/ 250 w 284"/>
                <a:gd name="T99" fmla="*/ 87 h 300"/>
                <a:gd name="T100" fmla="*/ 262 w 284"/>
                <a:gd name="T101" fmla="*/ 144 h 300"/>
                <a:gd name="T102" fmla="*/ 284 w 284"/>
                <a:gd name="T103" fmla="*/ 172 h 300"/>
                <a:gd name="T104" fmla="*/ 279 w 284"/>
                <a:gd name="T105" fmla="*/ 198 h 300"/>
                <a:gd name="T106" fmla="*/ 279 w 284"/>
                <a:gd name="T107" fmla="*/ 198 h 300"/>
                <a:gd name="T108" fmla="*/ 279 w 284"/>
                <a:gd name="T109" fmla="*/ 19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4" h="300">
                  <a:moveTo>
                    <a:pt x="279" y="198"/>
                  </a:moveTo>
                  <a:lnTo>
                    <a:pt x="267" y="206"/>
                  </a:lnTo>
                  <a:lnTo>
                    <a:pt x="267" y="227"/>
                  </a:lnTo>
                  <a:lnTo>
                    <a:pt x="262" y="255"/>
                  </a:lnTo>
                  <a:lnTo>
                    <a:pt x="246" y="260"/>
                  </a:lnTo>
                  <a:lnTo>
                    <a:pt x="241" y="260"/>
                  </a:lnTo>
                  <a:lnTo>
                    <a:pt x="241" y="255"/>
                  </a:lnTo>
                  <a:lnTo>
                    <a:pt x="225" y="255"/>
                  </a:lnTo>
                  <a:lnTo>
                    <a:pt x="213" y="243"/>
                  </a:lnTo>
                  <a:lnTo>
                    <a:pt x="170" y="260"/>
                  </a:lnTo>
                  <a:lnTo>
                    <a:pt x="144" y="255"/>
                  </a:lnTo>
                  <a:lnTo>
                    <a:pt x="139" y="267"/>
                  </a:lnTo>
                  <a:lnTo>
                    <a:pt x="156" y="283"/>
                  </a:lnTo>
                  <a:lnTo>
                    <a:pt x="156" y="293"/>
                  </a:lnTo>
                  <a:lnTo>
                    <a:pt x="144" y="300"/>
                  </a:lnTo>
                  <a:lnTo>
                    <a:pt x="118" y="293"/>
                  </a:lnTo>
                  <a:lnTo>
                    <a:pt x="102" y="283"/>
                  </a:lnTo>
                  <a:lnTo>
                    <a:pt x="64" y="227"/>
                  </a:lnTo>
                  <a:lnTo>
                    <a:pt x="54" y="189"/>
                  </a:lnTo>
                  <a:lnTo>
                    <a:pt x="33" y="189"/>
                  </a:lnTo>
                  <a:lnTo>
                    <a:pt x="33" y="182"/>
                  </a:lnTo>
                  <a:lnTo>
                    <a:pt x="0" y="144"/>
                  </a:lnTo>
                  <a:lnTo>
                    <a:pt x="0" y="132"/>
                  </a:lnTo>
                  <a:lnTo>
                    <a:pt x="17" y="94"/>
                  </a:lnTo>
                  <a:lnTo>
                    <a:pt x="12" y="87"/>
                  </a:lnTo>
                  <a:lnTo>
                    <a:pt x="33" y="71"/>
                  </a:lnTo>
                  <a:lnTo>
                    <a:pt x="54" y="71"/>
                  </a:lnTo>
                  <a:lnTo>
                    <a:pt x="54" y="61"/>
                  </a:lnTo>
                  <a:lnTo>
                    <a:pt x="64" y="61"/>
                  </a:lnTo>
                  <a:lnTo>
                    <a:pt x="54" y="43"/>
                  </a:lnTo>
                  <a:lnTo>
                    <a:pt x="64" y="38"/>
                  </a:lnTo>
                  <a:lnTo>
                    <a:pt x="64" y="33"/>
                  </a:lnTo>
                  <a:lnTo>
                    <a:pt x="69" y="5"/>
                  </a:lnTo>
                  <a:lnTo>
                    <a:pt x="80" y="0"/>
                  </a:lnTo>
                  <a:lnTo>
                    <a:pt x="144" y="17"/>
                  </a:lnTo>
                  <a:lnTo>
                    <a:pt x="156" y="17"/>
                  </a:lnTo>
                  <a:lnTo>
                    <a:pt x="156" y="21"/>
                  </a:lnTo>
                  <a:lnTo>
                    <a:pt x="156" y="5"/>
                  </a:lnTo>
                  <a:lnTo>
                    <a:pt x="156" y="0"/>
                  </a:lnTo>
                  <a:lnTo>
                    <a:pt x="191" y="0"/>
                  </a:lnTo>
                  <a:lnTo>
                    <a:pt x="208" y="5"/>
                  </a:lnTo>
                  <a:lnTo>
                    <a:pt x="208" y="17"/>
                  </a:lnTo>
                  <a:lnTo>
                    <a:pt x="225" y="5"/>
                  </a:lnTo>
                  <a:lnTo>
                    <a:pt x="208" y="0"/>
                  </a:lnTo>
                  <a:lnTo>
                    <a:pt x="213" y="0"/>
                  </a:lnTo>
                  <a:lnTo>
                    <a:pt x="284" y="17"/>
                  </a:lnTo>
                  <a:lnTo>
                    <a:pt x="284" y="33"/>
                  </a:lnTo>
                  <a:lnTo>
                    <a:pt x="279" y="43"/>
                  </a:lnTo>
                  <a:lnTo>
                    <a:pt x="250" y="71"/>
                  </a:lnTo>
                  <a:lnTo>
                    <a:pt x="250" y="87"/>
                  </a:lnTo>
                  <a:lnTo>
                    <a:pt x="262" y="144"/>
                  </a:lnTo>
                  <a:lnTo>
                    <a:pt x="284" y="172"/>
                  </a:lnTo>
                  <a:lnTo>
                    <a:pt x="279" y="198"/>
                  </a:lnTo>
                  <a:lnTo>
                    <a:pt x="279" y="198"/>
                  </a:lnTo>
                  <a:lnTo>
                    <a:pt x="279" y="198"/>
                  </a:lnTo>
                  <a:close/>
                </a:path>
              </a:pathLst>
            </a:custGeom>
            <a:pattFill prst="wd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6" name="Freeform 526">
              <a:extLst>
                <a:ext uri="{FF2B5EF4-FFF2-40B4-BE49-F238E27FC236}">
                  <a16:creationId xmlns:a16="http://schemas.microsoft.com/office/drawing/2014/main" id="{CE7F36E1-8736-49A2-B16A-67C18C483831}"/>
                </a:ext>
              </a:extLst>
            </p:cNvPr>
            <p:cNvSpPr>
              <a:spLocks noEditPoints="1"/>
            </p:cNvSpPr>
            <p:nvPr/>
          </p:nvSpPr>
          <p:spPr bwMode="gray">
            <a:xfrm>
              <a:off x="3373971" y="4161191"/>
              <a:ext cx="33651" cy="10889"/>
            </a:xfrm>
            <a:custGeom>
              <a:avLst/>
              <a:gdLst>
                <a:gd name="T0" fmla="*/ 33 w 68"/>
                <a:gd name="T1" fmla="*/ 22 h 22"/>
                <a:gd name="T2" fmla="*/ 5 w 68"/>
                <a:gd name="T3" fmla="*/ 7 h 22"/>
                <a:gd name="T4" fmla="*/ 0 w 68"/>
                <a:gd name="T5" fmla="*/ 0 h 22"/>
                <a:gd name="T6" fmla="*/ 33 w 68"/>
                <a:gd name="T7" fmla="*/ 22 h 22"/>
                <a:gd name="T8" fmla="*/ 33 w 68"/>
                <a:gd name="T9" fmla="*/ 22 h 22"/>
                <a:gd name="T10" fmla="*/ 33 w 68"/>
                <a:gd name="T11" fmla="*/ 22 h 22"/>
                <a:gd name="T12" fmla="*/ 68 w 68"/>
                <a:gd name="T13" fmla="*/ 22 h 22"/>
                <a:gd name="T14" fmla="*/ 54 w 68"/>
                <a:gd name="T15" fmla="*/ 0 h 22"/>
                <a:gd name="T16" fmla="*/ 68 w 68"/>
                <a:gd name="T17" fmla="*/ 7 h 22"/>
                <a:gd name="T18" fmla="*/ 68 w 68"/>
                <a:gd name="T19" fmla="*/ 22 h 22"/>
                <a:gd name="T20" fmla="*/ 68 w 68"/>
                <a:gd name="T21" fmla="*/ 22 h 22"/>
                <a:gd name="T22" fmla="*/ 68 w 68"/>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22">
                  <a:moveTo>
                    <a:pt x="33" y="22"/>
                  </a:moveTo>
                  <a:lnTo>
                    <a:pt x="5" y="7"/>
                  </a:lnTo>
                  <a:lnTo>
                    <a:pt x="0" y="0"/>
                  </a:lnTo>
                  <a:lnTo>
                    <a:pt x="33" y="22"/>
                  </a:lnTo>
                  <a:lnTo>
                    <a:pt x="33" y="22"/>
                  </a:lnTo>
                  <a:lnTo>
                    <a:pt x="33" y="22"/>
                  </a:lnTo>
                  <a:close/>
                  <a:moveTo>
                    <a:pt x="68" y="22"/>
                  </a:moveTo>
                  <a:lnTo>
                    <a:pt x="54" y="0"/>
                  </a:lnTo>
                  <a:lnTo>
                    <a:pt x="68" y="7"/>
                  </a:lnTo>
                  <a:lnTo>
                    <a:pt x="68" y="22"/>
                  </a:lnTo>
                  <a:lnTo>
                    <a:pt x="68" y="22"/>
                  </a:lnTo>
                  <a:lnTo>
                    <a:pt x="68" y="22"/>
                  </a:lnTo>
                  <a:close/>
                </a:path>
              </a:pathLst>
            </a:custGeom>
            <a:solidFill>
              <a:schemeClr val="accent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7" name="Freeform 527">
              <a:extLst>
                <a:ext uri="{FF2B5EF4-FFF2-40B4-BE49-F238E27FC236}">
                  <a16:creationId xmlns:a16="http://schemas.microsoft.com/office/drawing/2014/main" id="{18A86257-F9C9-432F-AF8D-E21A5E4FADF6}"/>
                </a:ext>
              </a:extLst>
            </p:cNvPr>
            <p:cNvSpPr>
              <a:spLocks/>
            </p:cNvSpPr>
            <p:nvPr/>
          </p:nvSpPr>
          <p:spPr bwMode="gray">
            <a:xfrm>
              <a:off x="2733105" y="4062205"/>
              <a:ext cx="154402" cy="156399"/>
            </a:xfrm>
            <a:custGeom>
              <a:avLst/>
              <a:gdLst>
                <a:gd name="T0" fmla="*/ 22 w 312"/>
                <a:gd name="T1" fmla="*/ 151 h 316"/>
                <a:gd name="T2" fmla="*/ 43 w 312"/>
                <a:gd name="T3" fmla="*/ 151 h 316"/>
                <a:gd name="T4" fmla="*/ 52 w 312"/>
                <a:gd name="T5" fmla="*/ 139 h 316"/>
                <a:gd name="T6" fmla="*/ 69 w 312"/>
                <a:gd name="T7" fmla="*/ 127 h 316"/>
                <a:gd name="T8" fmla="*/ 60 w 312"/>
                <a:gd name="T9" fmla="*/ 94 h 316"/>
                <a:gd name="T10" fmla="*/ 90 w 312"/>
                <a:gd name="T11" fmla="*/ 94 h 316"/>
                <a:gd name="T12" fmla="*/ 114 w 312"/>
                <a:gd name="T13" fmla="*/ 73 h 316"/>
                <a:gd name="T14" fmla="*/ 140 w 312"/>
                <a:gd name="T15" fmla="*/ 89 h 316"/>
                <a:gd name="T16" fmla="*/ 140 w 312"/>
                <a:gd name="T17" fmla="*/ 82 h 316"/>
                <a:gd name="T18" fmla="*/ 178 w 312"/>
                <a:gd name="T19" fmla="*/ 49 h 316"/>
                <a:gd name="T20" fmla="*/ 178 w 312"/>
                <a:gd name="T21" fmla="*/ 49 h 316"/>
                <a:gd name="T22" fmla="*/ 194 w 312"/>
                <a:gd name="T23" fmla="*/ 16 h 316"/>
                <a:gd name="T24" fmla="*/ 220 w 312"/>
                <a:gd name="T25" fmla="*/ 33 h 316"/>
                <a:gd name="T26" fmla="*/ 270 w 312"/>
                <a:gd name="T27" fmla="*/ 16 h 316"/>
                <a:gd name="T28" fmla="*/ 291 w 312"/>
                <a:gd name="T29" fmla="*/ 0 h 316"/>
                <a:gd name="T30" fmla="*/ 312 w 312"/>
                <a:gd name="T31" fmla="*/ 0 h 316"/>
                <a:gd name="T32" fmla="*/ 303 w 312"/>
                <a:gd name="T33" fmla="*/ 16 h 316"/>
                <a:gd name="T34" fmla="*/ 308 w 312"/>
                <a:gd name="T35" fmla="*/ 28 h 316"/>
                <a:gd name="T36" fmla="*/ 312 w 312"/>
                <a:gd name="T37" fmla="*/ 54 h 316"/>
                <a:gd name="T38" fmla="*/ 303 w 312"/>
                <a:gd name="T39" fmla="*/ 82 h 316"/>
                <a:gd name="T40" fmla="*/ 286 w 312"/>
                <a:gd name="T41" fmla="*/ 122 h 316"/>
                <a:gd name="T42" fmla="*/ 291 w 312"/>
                <a:gd name="T43" fmla="*/ 193 h 316"/>
                <a:gd name="T44" fmla="*/ 286 w 312"/>
                <a:gd name="T45" fmla="*/ 193 h 316"/>
                <a:gd name="T46" fmla="*/ 291 w 312"/>
                <a:gd name="T47" fmla="*/ 167 h 316"/>
                <a:gd name="T48" fmla="*/ 286 w 312"/>
                <a:gd name="T49" fmla="*/ 160 h 316"/>
                <a:gd name="T50" fmla="*/ 286 w 312"/>
                <a:gd name="T51" fmla="*/ 177 h 316"/>
                <a:gd name="T52" fmla="*/ 274 w 312"/>
                <a:gd name="T53" fmla="*/ 193 h 316"/>
                <a:gd name="T54" fmla="*/ 274 w 312"/>
                <a:gd name="T55" fmla="*/ 222 h 316"/>
                <a:gd name="T56" fmla="*/ 270 w 312"/>
                <a:gd name="T57" fmla="*/ 233 h 316"/>
                <a:gd name="T58" fmla="*/ 270 w 312"/>
                <a:gd name="T59" fmla="*/ 238 h 316"/>
                <a:gd name="T60" fmla="*/ 274 w 312"/>
                <a:gd name="T61" fmla="*/ 233 h 316"/>
                <a:gd name="T62" fmla="*/ 286 w 312"/>
                <a:gd name="T63" fmla="*/ 255 h 316"/>
                <a:gd name="T64" fmla="*/ 270 w 312"/>
                <a:gd name="T65" fmla="*/ 271 h 316"/>
                <a:gd name="T66" fmla="*/ 270 w 312"/>
                <a:gd name="T67" fmla="*/ 290 h 316"/>
                <a:gd name="T68" fmla="*/ 286 w 312"/>
                <a:gd name="T69" fmla="*/ 307 h 316"/>
                <a:gd name="T70" fmla="*/ 274 w 312"/>
                <a:gd name="T71" fmla="*/ 311 h 316"/>
                <a:gd name="T72" fmla="*/ 258 w 312"/>
                <a:gd name="T73" fmla="*/ 316 h 316"/>
                <a:gd name="T74" fmla="*/ 204 w 312"/>
                <a:gd name="T75" fmla="*/ 295 h 316"/>
                <a:gd name="T76" fmla="*/ 194 w 312"/>
                <a:gd name="T77" fmla="*/ 307 h 316"/>
                <a:gd name="T78" fmla="*/ 145 w 312"/>
                <a:gd name="T79" fmla="*/ 278 h 316"/>
                <a:gd name="T80" fmla="*/ 140 w 312"/>
                <a:gd name="T81" fmla="*/ 295 h 316"/>
                <a:gd name="T82" fmla="*/ 86 w 312"/>
                <a:gd name="T83" fmla="*/ 238 h 316"/>
                <a:gd name="T84" fmla="*/ 60 w 312"/>
                <a:gd name="T85" fmla="*/ 205 h 316"/>
                <a:gd name="T86" fmla="*/ 0 w 312"/>
                <a:gd name="T87" fmla="*/ 160 h 316"/>
                <a:gd name="T88" fmla="*/ 5 w 312"/>
                <a:gd name="T89" fmla="*/ 144 h 316"/>
                <a:gd name="T90" fmla="*/ 22 w 312"/>
                <a:gd name="T91" fmla="*/ 160 h 316"/>
                <a:gd name="T92" fmla="*/ 22 w 312"/>
                <a:gd name="T93" fmla="*/ 160 h 316"/>
                <a:gd name="T94" fmla="*/ 22 w 312"/>
                <a:gd name="T95" fmla="*/ 151 h 316"/>
                <a:gd name="T96" fmla="*/ 22 w 312"/>
                <a:gd name="T97" fmla="*/ 151 h 316"/>
                <a:gd name="T98" fmla="*/ 22 w 312"/>
                <a:gd name="T99" fmla="*/ 15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2" h="316">
                  <a:moveTo>
                    <a:pt x="22" y="151"/>
                  </a:moveTo>
                  <a:lnTo>
                    <a:pt x="43" y="151"/>
                  </a:lnTo>
                  <a:lnTo>
                    <a:pt x="52" y="139"/>
                  </a:lnTo>
                  <a:lnTo>
                    <a:pt x="69" y="127"/>
                  </a:lnTo>
                  <a:lnTo>
                    <a:pt x="60" y="94"/>
                  </a:lnTo>
                  <a:lnTo>
                    <a:pt x="90" y="94"/>
                  </a:lnTo>
                  <a:lnTo>
                    <a:pt x="114" y="73"/>
                  </a:lnTo>
                  <a:lnTo>
                    <a:pt x="140" y="89"/>
                  </a:lnTo>
                  <a:lnTo>
                    <a:pt x="140" y="82"/>
                  </a:lnTo>
                  <a:lnTo>
                    <a:pt x="178" y="49"/>
                  </a:lnTo>
                  <a:lnTo>
                    <a:pt x="178" y="49"/>
                  </a:lnTo>
                  <a:lnTo>
                    <a:pt x="194" y="16"/>
                  </a:lnTo>
                  <a:lnTo>
                    <a:pt x="220" y="33"/>
                  </a:lnTo>
                  <a:lnTo>
                    <a:pt x="270" y="16"/>
                  </a:lnTo>
                  <a:lnTo>
                    <a:pt x="291" y="0"/>
                  </a:lnTo>
                  <a:lnTo>
                    <a:pt x="312" y="0"/>
                  </a:lnTo>
                  <a:lnTo>
                    <a:pt x="303" y="16"/>
                  </a:lnTo>
                  <a:lnTo>
                    <a:pt x="308" y="28"/>
                  </a:lnTo>
                  <a:lnTo>
                    <a:pt x="312" y="54"/>
                  </a:lnTo>
                  <a:lnTo>
                    <a:pt x="303" y="82"/>
                  </a:lnTo>
                  <a:lnTo>
                    <a:pt x="286" y="122"/>
                  </a:lnTo>
                  <a:lnTo>
                    <a:pt x="291" y="193"/>
                  </a:lnTo>
                  <a:lnTo>
                    <a:pt x="286" y="193"/>
                  </a:lnTo>
                  <a:lnTo>
                    <a:pt x="291" y="167"/>
                  </a:lnTo>
                  <a:lnTo>
                    <a:pt x="286" y="160"/>
                  </a:lnTo>
                  <a:lnTo>
                    <a:pt x="286" y="177"/>
                  </a:lnTo>
                  <a:lnTo>
                    <a:pt x="274" y="193"/>
                  </a:lnTo>
                  <a:lnTo>
                    <a:pt x="274" y="222"/>
                  </a:lnTo>
                  <a:lnTo>
                    <a:pt x="270" y="233"/>
                  </a:lnTo>
                  <a:lnTo>
                    <a:pt x="270" y="238"/>
                  </a:lnTo>
                  <a:lnTo>
                    <a:pt x="274" y="233"/>
                  </a:lnTo>
                  <a:lnTo>
                    <a:pt x="286" y="255"/>
                  </a:lnTo>
                  <a:lnTo>
                    <a:pt x="270" y="271"/>
                  </a:lnTo>
                  <a:lnTo>
                    <a:pt x="270" y="290"/>
                  </a:lnTo>
                  <a:lnTo>
                    <a:pt x="286" y="307"/>
                  </a:lnTo>
                  <a:lnTo>
                    <a:pt x="274" y="311"/>
                  </a:lnTo>
                  <a:lnTo>
                    <a:pt x="258" y="316"/>
                  </a:lnTo>
                  <a:lnTo>
                    <a:pt x="204" y="295"/>
                  </a:lnTo>
                  <a:lnTo>
                    <a:pt x="194" y="307"/>
                  </a:lnTo>
                  <a:lnTo>
                    <a:pt x="145" y="278"/>
                  </a:lnTo>
                  <a:lnTo>
                    <a:pt x="140" y="295"/>
                  </a:lnTo>
                  <a:lnTo>
                    <a:pt x="86" y="238"/>
                  </a:lnTo>
                  <a:lnTo>
                    <a:pt x="60" y="205"/>
                  </a:lnTo>
                  <a:lnTo>
                    <a:pt x="0" y="160"/>
                  </a:lnTo>
                  <a:lnTo>
                    <a:pt x="5" y="144"/>
                  </a:lnTo>
                  <a:lnTo>
                    <a:pt x="22" y="160"/>
                  </a:lnTo>
                  <a:lnTo>
                    <a:pt x="22" y="160"/>
                  </a:lnTo>
                  <a:lnTo>
                    <a:pt x="22" y="151"/>
                  </a:lnTo>
                  <a:lnTo>
                    <a:pt x="22" y="151"/>
                  </a:lnTo>
                  <a:lnTo>
                    <a:pt x="22" y="151"/>
                  </a:lnTo>
                  <a:close/>
                </a:path>
              </a:pathLst>
            </a:custGeom>
            <a:pattFill prst="lt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8" name="Freeform 528">
              <a:extLst>
                <a:ext uri="{FF2B5EF4-FFF2-40B4-BE49-F238E27FC236}">
                  <a16:creationId xmlns:a16="http://schemas.microsoft.com/office/drawing/2014/main" id="{354A1889-5F0A-4146-B7D6-3E6334F364DE}"/>
                </a:ext>
              </a:extLst>
            </p:cNvPr>
            <p:cNvSpPr>
              <a:spLocks noEditPoints="1"/>
            </p:cNvSpPr>
            <p:nvPr/>
          </p:nvSpPr>
          <p:spPr bwMode="gray">
            <a:xfrm>
              <a:off x="-401940" y="5676673"/>
              <a:ext cx="12385285" cy="995804"/>
            </a:xfrm>
            <a:custGeom>
              <a:avLst/>
              <a:gdLst>
                <a:gd name="T0" fmla="*/ 5 w 25027"/>
                <a:gd name="T1" fmla="*/ 4 h 2012"/>
                <a:gd name="T2" fmla="*/ 24914 w 25027"/>
                <a:gd name="T3" fmla="*/ 708 h 2012"/>
                <a:gd name="T4" fmla="*/ 24990 w 25027"/>
                <a:gd name="T5" fmla="*/ 708 h 2012"/>
                <a:gd name="T6" fmla="*/ 24956 w 25027"/>
                <a:gd name="T7" fmla="*/ 815 h 2012"/>
                <a:gd name="T8" fmla="*/ 24897 w 25027"/>
                <a:gd name="T9" fmla="*/ 848 h 2012"/>
                <a:gd name="T10" fmla="*/ 24772 w 25027"/>
                <a:gd name="T11" fmla="*/ 997 h 2012"/>
                <a:gd name="T12" fmla="*/ 24772 w 25027"/>
                <a:gd name="T13" fmla="*/ 902 h 2012"/>
                <a:gd name="T14" fmla="*/ 24671 w 25027"/>
                <a:gd name="T15" fmla="*/ 815 h 2012"/>
                <a:gd name="T16" fmla="*/ 24751 w 25027"/>
                <a:gd name="T17" fmla="*/ 704 h 2012"/>
                <a:gd name="T18" fmla="*/ 24742 w 25027"/>
                <a:gd name="T19" fmla="*/ 647 h 2012"/>
                <a:gd name="T20" fmla="*/ 24742 w 25027"/>
                <a:gd name="T21" fmla="*/ 614 h 2012"/>
                <a:gd name="T22" fmla="*/ 24704 w 25027"/>
                <a:gd name="T23" fmla="*/ 569 h 2012"/>
                <a:gd name="T24" fmla="*/ 24704 w 25027"/>
                <a:gd name="T25" fmla="*/ 552 h 2012"/>
                <a:gd name="T26" fmla="*/ 24704 w 25027"/>
                <a:gd name="T27" fmla="*/ 569 h 2012"/>
                <a:gd name="T28" fmla="*/ 24659 w 25027"/>
                <a:gd name="T29" fmla="*/ 486 h 2012"/>
                <a:gd name="T30" fmla="*/ 24595 w 25027"/>
                <a:gd name="T31" fmla="*/ 408 h 2012"/>
                <a:gd name="T32" fmla="*/ 24633 w 25027"/>
                <a:gd name="T33" fmla="*/ 458 h 2012"/>
                <a:gd name="T34" fmla="*/ 24697 w 25027"/>
                <a:gd name="T35" fmla="*/ 470 h 2012"/>
                <a:gd name="T36" fmla="*/ 24725 w 25027"/>
                <a:gd name="T37" fmla="*/ 526 h 2012"/>
                <a:gd name="T38" fmla="*/ 24734 w 25027"/>
                <a:gd name="T39" fmla="*/ 581 h 2012"/>
                <a:gd name="T40" fmla="*/ 24789 w 25027"/>
                <a:gd name="T41" fmla="*/ 614 h 2012"/>
                <a:gd name="T42" fmla="*/ 24805 w 25027"/>
                <a:gd name="T43" fmla="*/ 609 h 2012"/>
                <a:gd name="T44" fmla="*/ 24779 w 25027"/>
                <a:gd name="T45" fmla="*/ 560 h 2012"/>
                <a:gd name="T46" fmla="*/ 24768 w 25027"/>
                <a:gd name="T47" fmla="*/ 609 h 2012"/>
                <a:gd name="T48" fmla="*/ 24486 w 25027"/>
                <a:gd name="T49" fmla="*/ 1306 h 2012"/>
                <a:gd name="T50" fmla="*/ 24432 w 25027"/>
                <a:gd name="T51" fmla="*/ 1400 h 2012"/>
                <a:gd name="T52" fmla="*/ 24326 w 25027"/>
                <a:gd name="T53" fmla="*/ 1462 h 2012"/>
                <a:gd name="T54" fmla="*/ 24293 w 25027"/>
                <a:gd name="T55" fmla="*/ 1457 h 2012"/>
                <a:gd name="T56" fmla="*/ 24250 w 25027"/>
                <a:gd name="T57" fmla="*/ 1417 h 2012"/>
                <a:gd name="T58" fmla="*/ 24175 w 25027"/>
                <a:gd name="T59" fmla="*/ 1408 h 2012"/>
                <a:gd name="T60" fmla="*/ 24201 w 25027"/>
                <a:gd name="T61" fmla="*/ 1351 h 2012"/>
                <a:gd name="T62" fmla="*/ 24217 w 25027"/>
                <a:gd name="T63" fmla="*/ 1334 h 2012"/>
                <a:gd name="T64" fmla="*/ 24281 w 25027"/>
                <a:gd name="T65" fmla="*/ 1252 h 2012"/>
                <a:gd name="T66" fmla="*/ 24465 w 25027"/>
                <a:gd name="T67" fmla="*/ 1124 h 2012"/>
                <a:gd name="T68" fmla="*/ 24590 w 25027"/>
                <a:gd name="T69" fmla="*/ 926 h 2012"/>
                <a:gd name="T70" fmla="*/ 24616 w 25027"/>
                <a:gd name="T71" fmla="*/ 942 h 2012"/>
                <a:gd name="T72" fmla="*/ 24682 w 25027"/>
                <a:gd name="T73" fmla="*/ 963 h 2012"/>
                <a:gd name="T74" fmla="*/ 24704 w 25027"/>
                <a:gd name="T75" fmla="*/ 980 h 2012"/>
                <a:gd name="T76" fmla="*/ 24659 w 25027"/>
                <a:gd name="T77" fmla="*/ 1091 h 2012"/>
                <a:gd name="T78" fmla="*/ 24616 w 25027"/>
                <a:gd name="T79" fmla="*/ 1207 h 2012"/>
                <a:gd name="T80" fmla="*/ 24508 w 25027"/>
                <a:gd name="T81" fmla="*/ 1235 h 2012"/>
                <a:gd name="T82" fmla="*/ 24671 w 25027"/>
                <a:gd name="T83" fmla="*/ 942 h 2012"/>
                <a:gd name="T84" fmla="*/ 24704 w 25027"/>
                <a:gd name="T85" fmla="*/ 980 h 2012"/>
                <a:gd name="T86" fmla="*/ 92 w 25027"/>
                <a:gd name="T87" fmla="*/ 1223 h 2012"/>
                <a:gd name="T88" fmla="*/ 97 w 25027"/>
                <a:gd name="T89" fmla="*/ 1202 h 2012"/>
                <a:gd name="T90" fmla="*/ 125 w 25027"/>
                <a:gd name="T91" fmla="*/ 1252 h 2012"/>
                <a:gd name="T92" fmla="*/ 24196 w 25027"/>
                <a:gd name="T93" fmla="*/ 1318 h 2012"/>
                <a:gd name="T94" fmla="*/ 24179 w 25027"/>
                <a:gd name="T95" fmla="*/ 1367 h 2012"/>
                <a:gd name="T96" fmla="*/ 24179 w 25027"/>
                <a:gd name="T97" fmla="*/ 1367 h 2012"/>
                <a:gd name="T98" fmla="*/ 24255 w 25027"/>
                <a:gd name="T99" fmla="*/ 1511 h 2012"/>
                <a:gd name="T100" fmla="*/ 24250 w 25027"/>
                <a:gd name="T101" fmla="*/ 1462 h 2012"/>
                <a:gd name="T102" fmla="*/ 25027 w 25027"/>
                <a:gd name="T103" fmla="*/ 1734 h 2012"/>
                <a:gd name="T104" fmla="*/ 24142 w 25027"/>
                <a:gd name="T105" fmla="*/ 1849 h 2012"/>
                <a:gd name="T106" fmla="*/ 24146 w 25027"/>
                <a:gd name="T107" fmla="*/ 1816 h 2012"/>
                <a:gd name="T108" fmla="*/ 24142 w 25027"/>
                <a:gd name="T109" fmla="*/ 1849 h 2012"/>
                <a:gd name="T110" fmla="*/ 24347 w 25027"/>
                <a:gd name="T111" fmla="*/ 2000 h 2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027" h="2012">
                  <a:moveTo>
                    <a:pt x="5" y="4"/>
                  </a:moveTo>
                  <a:lnTo>
                    <a:pt x="0" y="0"/>
                  </a:lnTo>
                  <a:lnTo>
                    <a:pt x="5" y="4"/>
                  </a:lnTo>
                  <a:lnTo>
                    <a:pt x="5" y="4"/>
                  </a:lnTo>
                  <a:lnTo>
                    <a:pt x="5" y="4"/>
                  </a:lnTo>
                  <a:lnTo>
                    <a:pt x="5" y="4"/>
                  </a:lnTo>
                  <a:close/>
                  <a:moveTo>
                    <a:pt x="24822" y="647"/>
                  </a:moveTo>
                  <a:lnTo>
                    <a:pt x="24827" y="663"/>
                  </a:lnTo>
                  <a:lnTo>
                    <a:pt x="24843" y="680"/>
                  </a:lnTo>
                  <a:lnTo>
                    <a:pt x="24827" y="671"/>
                  </a:lnTo>
                  <a:lnTo>
                    <a:pt x="24827" y="680"/>
                  </a:lnTo>
                  <a:lnTo>
                    <a:pt x="24914" y="708"/>
                  </a:lnTo>
                  <a:lnTo>
                    <a:pt x="24930" y="704"/>
                  </a:lnTo>
                  <a:lnTo>
                    <a:pt x="24952" y="680"/>
                  </a:lnTo>
                  <a:lnTo>
                    <a:pt x="24968" y="671"/>
                  </a:lnTo>
                  <a:lnTo>
                    <a:pt x="24990" y="671"/>
                  </a:lnTo>
                  <a:lnTo>
                    <a:pt x="25006" y="680"/>
                  </a:lnTo>
                  <a:lnTo>
                    <a:pt x="24990" y="708"/>
                  </a:lnTo>
                  <a:lnTo>
                    <a:pt x="24990" y="746"/>
                  </a:lnTo>
                  <a:lnTo>
                    <a:pt x="24973" y="763"/>
                  </a:lnTo>
                  <a:lnTo>
                    <a:pt x="24968" y="763"/>
                  </a:lnTo>
                  <a:lnTo>
                    <a:pt x="24956" y="798"/>
                  </a:lnTo>
                  <a:lnTo>
                    <a:pt x="24968" y="798"/>
                  </a:lnTo>
                  <a:lnTo>
                    <a:pt x="24956" y="815"/>
                  </a:lnTo>
                  <a:lnTo>
                    <a:pt x="24956" y="815"/>
                  </a:lnTo>
                  <a:lnTo>
                    <a:pt x="24956" y="798"/>
                  </a:lnTo>
                  <a:lnTo>
                    <a:pt x="24940" y="798"/>
                  </a:lnTo>
                  <a:lnTo>
                    <a:pt x="24902" y="803"/>
                  </a:lnTo>
                  <a:lnTo>
                    <a:pt x="24886" y="831"/>
                  </a:lnTo>
                  <a:lnTo>
                    <a:pt x="24897" y="848"/>
                  </a:lnTo>
                  <a:lnTo>
                    <a:pt x="24902" y="848"/>
                  </a:lnTo>
                  <a:lnTo>
                    <a:pt x="24881" y="890"/>
                  </a:lnTo>
                  <a:lnTo>
                    <a:pt x="24848" y="930"/>
                  </a:lnTo>
                  <a:lnTo>
                    <a:pt x="24827" y="980"/>
                  </a:lnTo>
                  <a:lnTo>
                    <a:pt x="24772" y="1013"/>
                  </a:lnTo>
                  <a:lnTo>
                    <a:pt x="24772" y="997"/>
                  </a:lnTo>
                  <a:lnTo>
                    <a:pt x="24751" y="997"/>
                  </a:lnTo>
                  <a:lnTo>
                    <a:pt x="24751" y="980"/>
                  </a:lnTo>
                  <a:lnTo>
                    <a:pt x="24742" y="985"/>
                  </a:lnTo>
                  <a:lnTo>
                    <a:pt x="24725" y="985"/>
                  </a:lnTo>
                  <a:lnTo>
                    <a:pt x="24768" y="930"/>
                  </a:lnTo>
                  <a:lnTo>
                    <a:pt x="24772" y="902"/>
                  </a:lnTo>
                  <a:lnTo>
                    <a:pt x="24768" y="886"/>
                  </a:lnTo>
                  <a:lnTo>
                    <a:pt x="24751" y="869"/>
                  </a:lnTo>
                  <a:lnTo>
                    <a:pt x="24725" y="857"/>
                  </a:lnTo>
                  <a:lnTo>
                    <a:pt x="24713" y="848"/>
                  </a:lnTo>
                  <a:lnTo>
                    <a:pt x="24687" y="836"/>
                  </a:lnTo>
                  <a:lnTo>
                    <a:pt x="24671" y="815"/>
                  </a:lnTo>
                  <a:lnTo>
                    <a:pt x="24671" y="803"/>
                  </a:lnTo>
                  <a:lnTo>
                    <a:pt x="24713" y="791"/>
                  </a:lnTo>
                  <a:lnTo>
                    <a:pt x="24725" y="775"/>
                  </a:lnTo>
                  <a:lnTo>
                    <a:pt x="24734" y="720"/>
                  </a:lnTo>
                  <a:lnTo>
                    <a:pt x="24751" y="720"/>
                  </a:lnTo>
                  <a:lnTo>
                    <a:pt x="24751" y="704"/>
                  </a:lnTo>
                  <a:lnTo>
                    <a:pt x="24742" y="704"/>
                  </a:lnTo>
                  <a:lnTo>
                    <a:pt x="24742" y="692"/>
                  </a:lnTo>
                  <a:lnTo>
                    <a:pt x="24758" y="687"/>
                  </a:lnTo>
                  <a:lnTo>
                    <a:pt x="24751" y="687"/>
                  </a:lnTo>
                  <a:lnTo>
                    <a:pt x="24734" y="654"/>
                  </a:lnTo>
                  <a:lnTo>
                    <a:pt x="24742" y="647"/>
                  </a:lnTo>
                  <a:lnTo>
                    <a:pt x="24734" y="654"/>
                  </a:lnTo>
                  <a:lnTo>
                    <a:pt x="24725" y="630"/>
                  </a:lnTo>
                  <a:lnTo>
                    <a:pt x="24734" y="630"/>
                  </a:lnTo>
                  <a:lnTo>
                    <a:pt x="24734" y="635"/>
                  </a:lnTo>
                  <a:lnTo>
                    <a:pt x="24751" y="630"/>
                  </a:lnTo>
                  <a:lnTo>
                    <a:pt x="24742" y="614"/>
                  </a:lnTo>
                  <a:lnTo>
                    <a:pt x="24720" y="626"/>
                  </a:lnTo>
                  <a:lnTo>
                    <a:pt x="24697" y="576"/>
                  </a:lnTo>
                  <a:lnTo>
                    <a:pt x="24704" y="576"/>
                  </a:lnTo>
                  <a:lnTo>
                    <a:pt x="24720" y="597"/>
                  </a:lnTo>
                  <a:lnTo>
                    <a:pt x="24720" y="569"/>
                  </a:lnTo>
                  <a:lnTo>
                    <a:pt x="24704" y="569"/>
                  </a:lnTo>
                  <a:lnTo>
                    <a:pt x="24725" y="560"/>
                  </a:lnTo>
                  <a:lnTo>
                    <a:pt x="24713" y="569"/>
                  </a:lnTo>
                  <a:lnTo>
                    <a:pt x="24720" y="552"/>
                  </a:lnTo>
                  <a:lnTo>
                    <a:pt x="24713" y="560"/>
                  </a:lnTo>
                  <a:lnTo>
                    <a:pt x="24704" y="552"/>
                  </a:lnTo>
                  <a:lnTo>
                    <a:pt x="24704" y="552"/>
                  </a:lnTo>
                  <a:lnTo>
                    <a:pt x="24713" y="560"/>
                  </a:lnTo>
                  <a:lnTo>
                    <a:pt x="24704" y="560"/>
                  </a:lnTo>
                  <a:lnTo>
                    <a:pt x="24687" y="552"/>
                  </a:lnTo>
                  <a:lnTo>
                    <a:pt x="24682" y="526"/>
                  </a:lnTo>
                  <a:lnTo>
                    <a:pt x="24687" y="552"/>
                  </a:lnTo>
                  <a:lnTo>
                    <a:pt x="24704" y="569"/>
                  </a:lnTo>
                  <a:lnTo>
                    <a:pt x="24687" y="576"/>
                  </a:lnTo>
                  <a:lnTo>
                    <a:pt x="24645" y="503"/>
                  </a:lnTo>
                  <a:lnTo>
                    <a:pt x="24649" y="498"/>
                  </a:lnTo>
                  <a:lnTo>
                    <a:pt x="24666" y="486"/>
                  </a:lnTo>
                  <a:lnTo>
                    <a:pt x="24659" y="482"/>
                  </a:lnTo>
                  <a:lnTo>
                    <a:pt x="24659" y="486"/>
                  </a:lnTo>
                  <a:lnTo>
                    <a:pt x="24649" y="486"/>
                  </a:lnTo>
                  <a:lnTo>
                    <a:pt x="24645" y="503"/>
                  </a:lnTo>
                  <a:lnTo>
                    <a:pt x="24628" y="470"/>
                  </a:lnTo>
                  <a:lnTo>
                    <a:pt x="24633" y="470"/>
                  </a:lnTo>
                  <a:lnTo>
                    <a:pt x="24628" y="458"/>
                  </a:lnTo>
                  <a:lnTo>
                    <a:pt x="24595" y="408"/>
                  </a:lnTo>
                  <a:lnTo>
                    <a:pt x="24616" y="408"/>
                  </a:lnTo>
                  <a:lnTo>
                    <a:pt x="24616" y="415"/>
                  </a:lnTo>
                  <a:lnTo>
                    <a:pt x="24612" y="415"/>
                  </a:lnTo>
                  <a:lnTo>
                    <a:pt x="24612" y="425"/>
                  </a:lnTo>
                  <a:lnTo>
                    <a:pt x="24633" y="449"/>
                  </a:lnTo>
                  <a:lnTo>
                    <a:pt x="24633" y="458"/>
                  </a:lnTo>
                  <a:lnTo>
                    <a:pt x="24649" y="441"/>
                  </a:lnTo>
                  <a:lnTo>
                    <a:pt x="24649" y="449"/>
                  </a:lnTo>
                  <a:lnTo>
                    <a:pt x="24645" y="449"/>
                  </a:lnTo>
                  <a:lnTo>
                    <a:pt x="24649" y="458"/>
                  </a:lnTo>
                  <a:lnTo>
                    <a:pt x="24659" y="458"/>
                  </a:lnTo>
                  <a:lnTo>
                    <a:pt x="24697" y="470"/>
                  </a:lnTo>
                  <a:lnTo>
                    <a:pt x="24687" y="482"/>
                  </a:lnTo>
                  <a:lnTo>
                    <a:pt x="24697" y="486"/>
                  </a:lnTo>
                  <a:lnTo>
                    <a:pt x="24713" y="482"/>
                  </a:lnTo>
                  <a:lnTo>
                    <a:pt x="24725" y="503"/>
                  </a:lnTo>
                  <a:lnTo>
                    <a:pt x="24720" y="515"/>
                  </a:lnTo>
                  <a:lnTo>
                    <a:pt x="24725" y="526"/>
                  </a:lnTo>
                  <a:lnTo>
                    <a:pt x="24713" y="519"/>
                  </a:lnTo>
                  <a:lnTo>
                    <a:pt x="24713" y="526"/>
                  </a:lnTo>
                  <a:lnTo>
                    <a:pt x="24725" y="526"/>
                  </a:lnTo>
                  <a:lnTo>
                    <a:pt x="24720" y="543"/>
                  </a:lnTo>
                  <a:lnTo>
                    <a:pt x="24742" y="560"/>
                  </a:lnTo>
                  <a:lnTo>
                    <a:pt x="24734" y="581"/>
                  </a:lnTo>
                  <a:lnTo>
                    <a:pt x="24742" y="609"/>
                  </a:lnTo>
                  <a:lnTo>
                    <a:pt x="24772" y="626"/>
                  </a:lnTo>
                  <a:lnTo>
                    <a:pt x="24779" y="635"/>
                  </a:lnTo>
                  <a:lnTo>
                    <a:pt x="24796" y="647"/>
                  </a:lnTo>
                  <a:lnTo>
                    <a:pt x="24796" y="626"/>
                  </a:lnTo>
                  <a:lnTo>
                    <a:pt x="24789" y="614"/>
                  </a:lnTo>
                  <a:lnTo>
                    <a:pt x="24789" y="597"/>
                  </a:lnTo>
                  <a:lnTo>
                    <a:pt x="24779" y="581"/>
                  </a:lnTo>
                  <a:lnTo>
                    <a:pt x="24796" y="581"/>
                  </a:lnTo>
                  <a:lnTo>
                    <a:pt x="24805" y="597"/>
                  </a:lnTo>
                  <a:lnTo>
                    <a:pt x="24822" y="597"/>
                  </a:lnTo>
                  <a:lnTo>
                    <a:pt x="24805" y="609"/>
                  </a:lnTo>
                  <a:lnTo>
                    <a:pt x="24822" y="609"/>
                  </a:lnTo>
                  <a:lnTo>
                    <a:pt x="24822" y="647"/>
                  </a:lnTo>
                  <a:lnTo>
                    <a:pt x="24822" y="647"/>
                  </a:lnTo>
                  <a:lnTo>
                    <a:pt x="24822" y="647"/>
                  </a:lnTo>
                  <a:close/>
                  <a:moveTo>
                    <a:pt x="24796" y="569"/>
                  </a:moveTo>
                  <a:lnTo>
                    <a:pt x="24779" y="560"/>
                  </a:lnTo>
                  <a:lnTo>
                    <a:pt x="24779" y="543"/>
                  </a:lnTo>
                  <a:lnTo>
                    <a:pt x="24796" y="552"/>
                  </a:lnTo>
                  <a:lnTo>
                    <a:pt x="24796" y="569"/>
                  </a:lnTo>
                  <a:lnTo>
                    <a:pt x="24796" y="569"/>
                  </a:lnTo>
                  <a:lnTo>
                    <a:pt x="24796" y="569"/>
                  </a:lnTo>
                  <a:close/>
                  <a:moveTo>
                    <a:pt x="24768" y="609"/>
                  </a:moveTo>
                  <a:lnTo>
                    <a:pt x="24758" y="609"/>
                  </a:lnTo>
                  <a:lnTo>
                    <a:pt x="24772" y="597"/>
                  </a:lnTo>
                  <a:lnTo>
                    <a:pt x="24768" y="609"/>
                  </a:lnTo>
                  <a:lnTo>
                    <a:pt x="24768" y="609"/>
                  </a:lnTo>
                  <a:lnTo>
                    <a:pt x="24768" y="609"/>
                  </a:lnTo>
                  <a:close/>
                  <a:moveTo>
                    <a:pt x="24486" y="1306"/>
                  </a:moveTo>
                  <a:lnTo>
                    <a:pt x="24470" y="1330"/>
                  </a:lnTo>
                  <a:lnTo>
                    <a:pt x="24465" y="1351"/>
                  </a:lnTo>
                  <a:lnTo>
                    <a:pt x="24449" y="1391"/>
                  </a:lnTo>
                  <a:lnTo>
                    <a:pt x="24456" y="1374"/>
                  </a:lnTo>
                  <a:lnTo>
                    <a:pt x="24465" y="1391"/>
                  </a:lnTo>
                  <a:lnTo>
                    <a:pt x="24432" y="1400"/>
                  </a:lnTo>
                  <a:lnTo>
                    <a:pt x="24427" y="1417"/>
                  </a:lnTo>
                  <a:lnTo>
                    <a:pt x="24394" y="1429"/>
                  </a:lnTo>
                  <a:lnTo>
                    <a:pt x="24394" y="1441"/>
                  </a:lnTo>
                  <a:lnTo>
                    <a:pt x="24373" y="1457"/>
                  </a:lnTo>
                  <a:lnTo>
                    <a:pt x="24335" y="1462"/>
                  </a:lnTo>
                  <a:lnTo>
                    <a:pt x="24326" y="1462"/>
                  </a:lnTo>
                  <a:lnTo>
                    <a:pt x="24326" y="1445"/>
                  </a:lnTo>
                  <a:lnTo>
                    <a:pt x="24305" y="1457"/>
                  </a:lnTo>
                  <a:lnTo>
                    <a:pt x="24293" y="1457"/>
                  </a:lnTo>
                  <a:lnTo>
                    <a:pt x="24305" y="1457"/>
                  </a:lnTo>
                  <a:lnTo>
                    <a:pt x="24293" y="1445"/>
                  </a:lnTo>
                  <a:lnTo>
                    <a:pt x="24293" y="1457"/>
                  </a:lnTo>
                  <a:lnTo>
                    <a:pt x="24288" y="1445"/>
                  </a:lnTo>
                  <a:lnTo>
                    <a:pt x="24293" y="1445"/>
                  </a:lnTo>
                  <a:lnTo>
                    <a:pt x="24293" y="1441"/>
                  </a:lnTo>
                  <a:lnTo>
                    <a:pt x="24281" y="1429"/>
                  </a:lnTo>
                  <a:lnTo>
                    <a:pt x="24255" y="1441"/>
                  </a:lnTo>
                  <a:lnTo>
                    <a:pt x="24250" y="1417"/>
                  </a:lnTo>
                  <a:lnTo>
                    <a:pt x="24234" y="1417"/>
                  </a:lnTo>
                  <a:lnTo>
                    <a:pt x="24217" y="1424"/>
                  </a:lnTo>
                  <a:lnTo>
                    <a:pt x="24179" y="1417"/>
                  </a:lnTo>
                  <a:lnTo>
                    <a:pt x="24175" y="1417"/>
                  </a:lnTo>
                  <a:lnTo>
                    <a:pt x="24196" y="1391"/>
                  </a:lnTo>
                  <a:lnTo>
                    <a:pt x="24175" y="1408"/>
                  </a:lnTo>
                  <a:lnTo>
                    <a:pt x="24175" y="1400"/>
                  </a:lnTo>
                  <a:lnTo>
                    <a:pt x="24158" y="1400"/>
                  </a:lnTo>
                  <a:lnTo>
                    <a:pt x="24158" y="1384"/>
                  </a:lnTo>
                  <a:lnTo>
                    <a:pt x="24196" y="1374"/>
                  </a:lnTo>
                  <a:lnTo>
                    <a:pt x="24179" y="1367"/>
                  </a:lnTo>
                  <a:lnTo>
                    <a:pt x="24201" y="1351"/>
                  </a:lnTo>
                  <a:lnTo>
                    <a:pt x="24179" y="1363"/>
                  </a:lnTo>
                  <a:lnTo>
                    <a:pt x="24184" y="1334"/>
                  </a:lnTo>
                  <a:lnTo>
                    <a:pt x="24184" y="1334"/>
                  </a:lnTo>
                  <a:lnTo>
                    <a:pt x="24212" y="1351"/>
                  </a:lnTo>
                  <a:lnTo>
                    <a:pt x="24201" y="1334"/>
                  </a:lnTo>
                  <a:lnTo>
                    <a:pt x="24217" y="1334"/>
                  </a:lnTo>
                  <a:lnTo>
                    <a:pt x="24201" y="1334"/>
                  </a:lnTo>
                  <a:lnTo>
                    <a:pt x="24196" y="1318"/>
                  </a:lnTo>
                  <a:lnTo>
                    <a:pt x="24217" y="1297"/>
                  </a:lnTo>
                  <a:lnTo>
                    <a:pt x="24234" y="1313"/>
                  </a:lnTo>
                  <a:lnTo>
                    <a:pt x="24229" y="1289"/>
                  </a:lnTo>
                  <a:lnTo>
                    <a:pt x="24281" y="1252"/>
                  </a:lnTo>
                  <a:lnTo>
                    <a:pt x="24293" y="1223"/>
                  </a:lnTo>
                  <a:lnTo>
                    <a:pt x="24326" y="1219"/>
                  </a:lnTo>
                  <a:lnTo>
                    <a:pt x="24347" y="1202"/>
                  </a:lnTo>
                  <a:lnTo>
                    <a:pt x="24390" y="1186"/>
                  </a:lnTo>
                  <a:lnTo>
                    <a:pt x="24427" y="1145"/>
                  </a:lnTo>
                  <a:lnTo>
                    <a:pt x="24465" y="1124"/>
                  </a:lnTo>
                  <a:lnTo>
                    <a:pt x="24486" y="1096"/>
                  </a:lnTo>
                  <a:lnTo>
                    <a:pt x="24508" y="1030"/>
                  </a:lnTo>
                  <a:lnTo>
                    <a:pt x="24536" y="1018"/>
                  </a:lnTo>
                  <a:lnTo>
                    <a:pt x="24553" y="997"/>
                  </a:lnTo>
                  <a:lnTo>
                    <a:pt x="24557" y="947"/>
                  </a:lnTo>
                  <a:lnTo>
                    <a:pt x="24590" y="926"/>
                  </a:lnTo>
                  <a:lnTo>
                    <a:pt x="24590" y="919"/>
                  </a:lnTo>
                  <a:lnTo>
                    <a:pt x="24616" y="919"/>
                  </a:lnTo>
                  <a:lnTo>
                    <a:pt x="24595" y="919"/>
                  </a:lnTo>
                  <a:lnTo>
                    <a:pt x="24595" y="930"/>
                  </a:lnTo>
                  <a:lnTo>
                    <a:pt x="24607" y="947"/>
                  </a:lnTo>
                  <a:lnTo>
                    <a:pt x="24616" y="942"/>
                  </a:lnTo>
                  <a:lnTo>
                    <a:pt x="24628" y="985"/>
                  </a:lnTo>
                  <a:lnTo>
                    <a:pt x="24687" y="947"/>
                  </a:lnTo>
                  <a:lnTo>
                    <a:pt x="24687" y="959"/>
                  </a:lnTo>
                  <a:lnTo>
                    <a:pt x="24671" y="963"/>
                  </a:lnTo>
                  <a:lnTo>
                    <a:pt x="24671" y="975"/>
                  </a:lnTo>
                  <a:lnTo>
                    <a:pt x="24682" y="963"/>
                  </a:lnTo>
                  <a:lnTo>
                    <a:pt x="24671" y="985"/>
                  </a:lnTo>
                  <a:lnTo>
                    <a:pt x="24697" y="980"/>
                  </a:lnTo>
                  <a:lnTo>
                    <a:pt x="24682" y="980"/>
                  </a:lnTo>
                  <a:lnTo>
                    <a:pt x="24687" y="963"/>
                  </a:lnTo>
                  <a:lnTo>
                    <a:pt x="24713" y="963"/>
                  </a:lnTo>
                  <a:lnTo>
                    <a:pt x="24704" y="980"/>
                  </a:lnTo>
                  <a:lnTo>
                    <a:pt x="24687" y="980"/>
                  </a:lnTo>
                  <a:lnTo>
                    <a:pt x="24713" y="980"/>
                  </a:lnTo>
                  <a:lnTo>
                    <a:pt x="24687" y="997"/>
                  </a:lnTo>
                  <a:lnTo>
                    <a:pt x="24713" y="1030"/>
                  </a:lnTo>
                  <a:lnTo>
                    <a:pt x="24704" y="1034"/>
                  </a:lnTo>
                  <a:lnTo>
                    <a:pt x="24659" y="1091"/>
                  </a:lnTo>
                  <a:lnTo>
                    <a:pt x="24633" y="1129"/>
                  </a:lnTo>
                  <a:lnTo>
                    <a:pt x="24607" y="1152"/>
                  </a:lnTo>
                  <a:lnTo>
                    <a:pt x="24607" y="1186"/>
                  </a:lnTo>
                  <a:lnTo>
                    <a:pt x="24616" y="1197"/>
                  </a:lnTo>
                  <a:lnTo>
                    <a:pt x="24628" y="1207"/>
                  </a:lnTo>
                  <a:lnTo>
                    <a:pt x="24616" y="1207"/>
                  </a:lnTo>
                  <a:lnTo>
                    <a:pt x="24612" y="1202"/>
                  </a:lnTo>
                  <a:lnTo>
                    <a:pt x="24612" y="1207"/>
                  </a:lnTo>
                  <a:lnTo>
                    <a:pt x="24612" y="1207"/>
                  </a:lnTo>
                  <a:lnTo>
                    <a:pt x="24579" y="1197"/>
                  </a:lnTo>
                  <a:lnTo>
                    <a:pt x="24574" y="1207"/>
                  </a:lnTo>
                  <a:lnTo>
                    <a:pt x="24508" y="1235"/>
                  </a:lnTo>
                  <a:lnTo>
                    <a:pt x="24498" y="1256"/>
                  </a:lnTo>
                  <a:lnTo>
                    <a:pt x="24486" y="1306"/>
                  </a:lnTo>
                  <a:lnTo>
                    <a:pt x="24486" y="1306"/>
                  </a:lnTo>
                  <a:lnTo>
                    <a:pt x="24486" y="1306"/>
                  </a:lnTo>
                  <a:close/>
                  <a:moveTo>
                    <a:pt x="24671" y="959"/>
                  </a:moveTo>
                  <a:lnTo>
                    <a:pt x="24671" y="942"/>
                  </a:lnTo>
                  <a:lnTo>
                    <a:pt x="24687" y="930"/>
                  </a:lnTo>
                  <a:lnTo>
                    <a:pt x="24682" y="947"/>
                  </a:lnTo>
                  <a:lnTo>
                    <a:pt x="24671" y="959"/>
                  </a:lnTo>
                  <a:lnTo>
                    <a:pt x="24671" y="959"/>
                  </a:lnTo>
                  <a:lnTo>
                    <a:pt x="24671" y="959"/>
                  </a:lnTo>
                  <a:close/>
                  <a:moveTo>
                    <a:pt x="24704" y="980"/>
                  </a:moveTo>
                  <a:lnTo>
                    <a:pt x="24713" y="975"/>
                  </a:lnTo>
                  <a:lnTo>
                    <a:pt x="24713" y="980"/>
                  </a:lnTo>
                  <a:lnTo>
                    <a:pt x="24704" y="980"/>
                  </a:lnTo>
                  <a:lnTo>
                    <a:pt x="24704" y="980"/>
                  </a:lnTo>
                  <a:lnTo>
                    <a:pt x="24704" y="980"/>
                  </a:lnTo>
                  <a:close/>
                  <a:moveTo>
                    <a:pt x="92" y="1223"/>
                  </a:moveTo>
                  <a:lnTo>
                    <a:pt x="97" y="1219"/>
                  </a:lnTo>
                  <a:lnTo>
                    <a:pt x="97" y="1207"/>
                  </a:lnTo>
                  <a:lnTo>
                    <a:pt x="76" y="1202"/>
                  </a:lnTo>
                  <a:lnTo>
                    <a:pt x="97" y="1197"/>
                  </a:lnTo>
                  <a:lnTo>
                    <a:pt x="125" y="1202"/>
                  </a:lnTo>
                  <a:lnTo>
                    <a:pt x="97" y="1202"/>
                  </a:lnTo>
                  <a:lnTo>
                    <a:pt x="114" y="1223"/>
                  </a:lnTo>
                  <a:lnTo>
                    <a:pt x="97" y="1235"/>
                  </a:lnTo>
                  <a:lnTo>
                    <a:pt x="92" y="1223"/>
                  </a:lnTo>
                  <a:lnTo>
                    <a:pt x="92" y="1223"/>
                  </a:lnTo>
                  <a:lnTo>
                    <a:pt x="92" y="1223"/>
                  </a:lnTo>
                  <a:close/>
                  <a:moveTo>
                    <a:pt x="125" y="1252"/>
                  </a:moveTo>
                  <a:lnTo>
                    <a:pt x="125" y="1240"/>
                  </a:lnTo>
                  <a:lnTo>
                    <a:pt x="130" y="1240"/>
                  </a:lnTo>
                  <a:lnTo>
                    <a:pt x="125" y="1252"/>
                  </a:lnTo>
                  <a:lnTo>
                    <a:pt x="125" y="1252"/>
                  </a:lnTo>
                  <a:lnTo>
                    <a:pt x="125" y="1252"/>
                  </a:lnTo>
                  <a:close/>
                  <a:moveTo>
                    <a:pt x="24196" y="1318"/>
                  </a:moveTo>
                  <a:lnTo>
                    <a:pt x="24196" y="1334"/>
                  </a:lnTo>
                  <a:lnTo>
                    <a:pt x="24184" y="1330"/>
                  </a:lnTo>
                  <a:lnTo>
                    <a:pt x="24196" y="1318"/>
                  </a:lnTo>
                  <a:lnTo>
                    <a:pt x="24196" y="1318"/>
                  </a:lnTo>
                  <a:lnTo>
                    <a:pt x="24196" y="1318"/>
                  </a:lnTo>
                  <a:close/>
                  <a:moveTo>
                    <a:pt x="24179" y="1367"/>
                  </a:moveTo>
                  <a:lnTo>
                    <a:pt x="24179" y="1374"/>
                  </a:lnTo>
                  <a:lnTo>
                    <a:pt x="24163" y="1374"/>
                  </a:lnTo>
                  <a:lnTo>
                    <a:pt x="24163" y="1367"/>
                  </a:lnTo>
                  <a:lnTo>
                    <a:pt x="24179" y="1367"/>
                  </a:lnTo>
                  <a:lnTo>
                    <a:pt x="24179" y="1367"/>
                  </a:lnTo>
                  <a:lnTo>
                    <a:pt x="24179" y="1367"/>
                  </a:lnTo>
                  <a:close/>
                  <a:moveTo>
                    <a:pt x="24267" y="1462"/>
                  </a:moveTo>
                  <a:lnTo>
                    <a:pt x="24281" y="1478"/>
                  </a:lnTo>
                  <a:lnTo>
                    <a:pt x="24271" y="1486"/>
                  </a:lnTo>
                  <a:lnTo>
                    <a:pt x="24281" y="1486"/>
                  </a:lnTo>
                  <a:lnTo>
                    <a:pt x="24281" y="1495"/>
                  </a:lnTo>
                  <a:lnTo>
                    <a:pt x="24255" y="1511"/>
                  </a:lnTo>
                  <a:lnTo>
                    <a:pt x="24250" y="1502"/>
                  </a:lnTo>
                  <a:lnTo>
                    <a:pt x="24238" y="1511"/>
                  </a:lnTo>
                  <a:lnTo>
                    <a:pt x="24250" y="1511"/>
                  </a:lnTo>
                  <a:lnTo>
                    <a:pt x="24234" y="1519"/>
                  </a:lnTo>
                  <a:lnTo>
                    <a:pt x="24255" y="1478"/>
                  </a:lnTo>
                  <a:lnTo>
                    <a:pt x="24250" y="1462"/>
                  </a:lnTo>
                  <a:lnTo>
                    <a:pt x="24267" y="1462"/>
                  </a:lnTo>
                  <a:lnTo>
                    <a:pt x="24267" y="1462"/>
                  </a:lnTo>
                  <a:lnTo>
                    <a:pt x="24267" y="1462"/>
                  </a:lnTo>
                  <a:close/>
                  <a:moveTo>
                    <a:pt x="25027" y="1734"/>
                  </a:moveTo>
                  <a:lnTo>
                    <a:pt x="25023" y="1741"/>
                  </a:lnTo>
                  <a:lnTo>
                    <a:pt x="25027" y="1734"/>
                  </a:lnTo>
                  <a:lnTo>
                    <a:pt x="25027" y="1734"/>
                  </a:lnTo>
                  <a:lnTo>
                    <a:pt x="25027" y="1734"/>
                  </a:lnTo>
                  <a:lnTo>
                    <a:pt x="25027" y="1734"/>
                  </a:lnTo>
                  <a:close/>
                  <a:moveTo>
                    <a:pt x="24146" y="1816"/>
                  </a:moveTo>
                  <a:lnTo>
                    <a:pt x="24130" y="1833"/>
                  </a:lnTo>
                  <a:lnTo>
                    <a:pt x="24142" y="1849"/>
                  </a:lnTo>
                  <a:lnTo>
                    <a:pt x="24120" y="1845"/>
                  </a:lnTo>
                  <a:lnTo>
                    <a:pt x="24130" y="1828"/>
                  </a:lnTo>
                  <a:lnTo>
                    <a:pt x="24130" y="1816"/>
                  </a:lnTo>
                  <a:lnTo>
                    <a:pt x="24146" y="1816"/>
                  </a:lnTo>
                  <a:lnTo>
                    <a:pt x="24146" y="1816"/>
                  </a:lnTo>
                  <a:lnTo>
                    <a:pt x="24146" y="1816"/>
                  </a:lnTo>
                  <a:close/>
                  <a:moveTo>
                    <a:pt x="24142" y="1849"/>
                  </a:moveTo>
                  <a:lnTo>
                    <a:pt x="24120" y="1849"/>
                  </a:lnTo>
                  <a:lnTo>
                    <a:pt x="24142" y="1849"/>
                  </a:lnTo>
                  <a:lnTo>
                    <a:pt x="24142" y="1849"/>
                  </a:lnTo>
                  <a:lnTo>
                    <a:pt x="24142" y="1849"/>
                  </a:lnTo>
                  <a:lnTo>
                    <a:pt x="24142" y="1849"/>
                  </a:lnTo>
                  <a:close/>
                  <a:moveTo>
                    <a:pt x="24347" y="2000"/>
                  </a:moveTo>
                  <a:lnTo>
                    <a:pt x="24347" y="2012"/>
                  </a:lnTo>
                  <a:lnTo>
                    <a:pt x="24335" y="2012"/>
                  </a:lnTo>
                  <a:lnTo>
                    <a:pt x="24347" y="2000"/>
                  </a:lnTo>
                  <a:lnTo>
                    <a:pt x="24347" y="2000"/>
                  </a:lnTo>
                  <a:lnTo>
                    <a:pt x="24347" y="2000"/>
                  </a:lnTo>
                  <a:close/>
                </a:path>
              </a:pathLst>
            </a:custGeom>
            <a:pattFill prst="nar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9" name="Freeform 529">
              <a:extLst>
                <a:ext uri="{FF2B5EF4-FFF2-40B4-BE49-F238E27FC236}">
                  <a16:creationId xmlns:a16="http://schemas.microsoft.com/office/drawing/2014/main" id="{6624CAE9-AEF4-42C4-B17F-9A70E7C16E02}"/>
                </a:ext>
              </a:extLst>
            </p:cNvPr>
            <p:cNvSpPr>
              <a:spLocks/>
            </p:cNvSpPr>
            <p:nvPr/>
          </p:nvSpPr>
          <p:spPr bwMode="gray">
            <a:xfrm>
              <a:off x="3597161" y="5297555"/>
              <a:ext cx="294451" cy="314777"/>
            </a:xfrm>
            <a:custGeom>
              <a:avLst/>
              <a:gdLst>
                <a:gd name="T0" fmla="*/ 343 w 595"/>
                <a:gd name="T1" fmla="*/ 449 h 636"/>
                <a:gd name="T2" fmla="*/ 189 w 595"/>
                <a:gd name="T3" fmla="*/ 359 h 636"/>
                <a:gd name="T4" fmla="*/ 118 w 595"/>
                <a:gd name="T5" fmla="*/ 343 h 636"/>
                <a:gd name="T6" fmla="*/ 50 w 595"/>
                <a:gd name="T7" fmla="*/ 289 h 636"/>
                <a:gd name="T8" fmla="*/ 0 w 595"/>
                <a:gd name="T9" fmla="*/ 227 h 636"/>
                <a:gd name="T10" fmla="*/ 33 w 595"/>
                <a:gd name="T11" fmla="*/ 100 h 636"/>
                <a:gd name="T12" fmla="*/ 71 w 595"/>
                <a:gd name="T13" fmla="*/ 29 h 636"/>
                <a:gd name="T14" fmla="*/ 255 w 595"/>
                <a:gd name="T15" fmla="*/ 12 h 636"/>
                <a:gd name="T16" fmla="*/ 319 w 595"/>
                <a:gd name="T17" fmla="*/ 67 h 636"/>
                <a:gd name="T18" fmla="*/ 343 w 595"/>
                <a:gd name="T19" fmla="*/ 161 h 636"/>
                <a:gd name="T20" fmla="*/ 336 w 595"/>
                <a:gd name="T21" fmla="*/ 215 h 636"/>
                <a:gd name="T22" fmla="*/ 428 w 595"/>
                <a:gd name="T23" fmla="*/ 227 h 636"/>
                <a:gd name="T24" fmla="*/ 461 w 595"/>
                <a:gd name="T25" fmla="*/ 227 h 636"/>
                <a:gd name="T26" fmla="*/ 499 w 595"/>
                <a:gd name="T27" fmla="*/ 255 h 636"/>
                <a:gd name="T28" fmla="*/ 515 w 595"/>
                <a:gd name="T29" fmla="*/ 359 h 636"/>
                <a:gd name="T30" fmla="*/ 569 w 595"/>
                <a:gd name="T31" fmla="*/ 343 h 636"/>
                <a:gd name="T32" fmla="*/ 591 w 595"/>
                <a:gd name="T33" fmla="*/ 364 h 636"/>
                <a:gd name="T34" fmla="*/ 581 w 595"/>
                <a:gd name="T35" fmla="*/ 437 h 636"/>
                <a:gd name="T36" fmla="*/ 569 w 595"/>
                <a:gd name="T37" fmla="*/ 470 h 636"/>
                <a:gd name="T38" fmla="*/ 569 w 595"/>
                <a:gd name="T39" fmla="*/ 548 h 636"/>
                <a:gd name="T40" fmla="*/ 515 w 595"/>
                <a:gd name="T41" fmla="*/ 586 h 636"/>
                <a:gd name="T42" fmla="*/ 503 w 595"/>
                <a:gd name="T43" fmla="*/ 615 h 636"/>
                <a:gd name="T44" fmla="*/ 482 w 595"/>
                <a:gd name="T45" fmla="*/ 615 h 636"/>
                <a:gd name="T46" fmla="*/ 444 w 595"/>
                <a:gd name="T47" fmla="*/ 636 h 636"/>
                <a:gd name="T48" fmla="*/ 418 w 595"/>
                <a:gd name="T49" fmla="*/ 624 h 636"/>
                <a:gd name="T50" fmla="*/ 397 w 595"/>
                <a:gd name="T51" fmla="*/ 624 h 636"/>
                <a:gd name="T52" fmla="*/ 288 w 595"/>
                <a:gd name="T53" fmla="*/ 615 h 636"/>
                <a:gd name="T54" fmla="*/ 319 w 595"/>
                <a:gd name="T55" fmla="*/ 565 h 636"/>
                <a:gd name="T56" fmla="*/ 343 w 595"/>
                <a:gd name="T57" fmla="*/ 508 h 636"/>
                <a:gd name="T58" fmla="*/ 343 w 595"/>
                <a:gd name="T59" fmla="*/ 492 h 636"/>
                <a:gd name="T60" fmla="*/ 364 w 595"/>
                <a:gd name="T61" fmla="*/ 470 h 636"/>
                <a:gd name="T62" fmla="*/ 357 w 595"/>
                <a:gd name="T63" fmla="*/ 45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5" h="636">
                  <a:moveTo>
                    <a:pt x="357" y="459"/>
                  </a:moveTo>
                  <a:lnTo>
                    <a:pt x="343" y="449"/>
                  </a:lnTo>
                  <a:lnTo>
                    <a:pt x="272" y="421"/>
                  </a:lnTo>
                  <a:lnTo>
                    <a:pt x="189" y="359"/>
                  </a:lnTo>
                  <a:lnTo>
                    <a:pt x="173" y="359"/>
                  </a:lnTo>
                  <a:lnTo>
                    <a:pt x="118" y="343"/>
                  </a:lnTo>
                  <a:lnTo>
                    <a:pt x="109" y="326"/>
                  </a:lnTo>
                  <a:lnTo>
                    <a:pt x="50" y="289"/>
                  </a:lnTo>
                  <a:lnTo>
                    <a:pt x="33" y="248"/>
                  </a:lnTo>
                  <a:lnTo>
                    <a:pt x="0" y="227"/>
                  </a:lnTo>
                  <a:lnTo>
                    <a:pt x="33" y="140"/>
                  </a:lnTo>
                  <a:lnTo>
                    <a:pt x="33" y="100"/>
                  </a:lnTo>
                  <a:lnTo>
                    <a:pt x="54" y="67"/>
                  </a:lnTo>
                  <a:lnTo>
                    <a:pt x="71" y="29"/>
                  </a:lnTo>
                  <a:lnTo>
                    <a:pt x="189" y="0"/>
                  </a:lnTo>
                  <a:lnTo>
                    <a:pt x="255" y="12"/>
                  </a:lnTo>
                  <a:lnTo>
                    <a:pt x="319" y="45"/>
                  </a:lnTo>
                  <a:lnTo>
                    <a:pt x="319" y="67"/>
                  </a:lnTo>
                  <a:lnTo>
                    <a:pt x="343" y="128"/>
                  </a:lnTo>
                  <a:lnTo>
                    <a:pt x="343" y="161"/>
                  </a:lnTo>
                  <a:lnTo>
                    <a:pt x="336" y="173"/>
                  </a:lnTo>
                  <a:lnTo>
                    <a:pt x="336" y="215"/>
                  </a:lnTo>
                  <a:lnTo>
                    <a:pt x="411" y="227"/>
                  </a:lnTo>
                  <a:lnTo>
                    <a:pt x="428" y="227"/>
                  </a:lnTo>
                  <a:lnTo>
                    <a:pt x="444" y="211"/>
                  </a:lnTo>
                  <a:lnTo>
                    <a:pt x="461" y="227"/>
                  </a:lnTo>
                  <a:lnTo>
                    <a:pt x="482" y="232"/>
                  </a:lnTo>
                  <a:lnTo>
                    <a:pt x="499" y="255"/>
                  </a:lnTo>
                  <a:lnTo>
                    <a:pt x="499" y="272"/>
                  </a:lnTo>
                  <a:lnTo>
                    <a:pt x="515" y="359"/>
                  </a:lnTo>
                  <a:lnTo>
                    <a:pt x="541" y="359"/>
                  </a:lnTo>
                  <a:lnTo>
                    <a:pt x="569" y="343"/>
                  </a:lnTo>
                  <a:lnTo>
                    <a:pt x="595" y="364"/>
                  </a:lnTo>
                  <a:lnTo>
                    <a:pt x="591" y="364"/>
                  </a:lnTo>
                  <a:lnTo>
                    <a:pt x="595" y="381"/>
                  </a:lnTo>
                  <a:lnTo>
                    <a:pt x="581" y="437"/>
                  </a:lnTo>
                  <a:lnTo>
                    <a:pt x="581" y="449"/>
                  </a:lnTo>
                  <a:lnTo>
                    <a:pt x="569" y="470"/>
                  </a:lnTo>
                  <a:lnTo>
                    <a:pt x="574" y="475"/>
                  </a:lnTo>
                  <a:lnTo>
                    <a:pt x="569" y="548"/>
                  </a:lnTo>
                  <a:lnTo>
                    <a:pt x="541" y="570"/>
                  </a:lnTo>
                  <a:lnTo>
                    <a:pt x="515" y="586"/>
                  </a:lnTo>
                  <a:lnTo>
                    <a:pt x="503" y="598"/>
                  </a:lnTo>
                  <a:lnTo>
                    <a:pt x="503" y="615"/>
                  </a:lnTo>
                  <a:lnTo>
                    <a:pt x="489" y="619"/>
                  </a:lnTo>
                  <a:lnTo>
                    <a:pt x="482" y="615"/>
                  </a:lnTo>
                  <a:lnTo>
                    <a:pt x="465" y="615"/>
                  </a:lnTo>
                  <a:lnTo>
                    <a:pt x="444" y="636"/>
                  </a:lnTo>
                  <a:lnTo>
                    <a:pt x="435" y="624"/>
                  </a:lnTo>
                  <a:lnTo>
                    <a:pt x="418" y="624"/>
                  </a:lnTo>
                  <a:lnTo>
                    <a:pt x="411" y="619"/>
                  </a:lnTo>
                  <a:lnTo>
                    <a:pt x="397" y="624"/>
                  </a:lnTo>
                  <a:lnTo>
                    <a:pt x="352" y="615"/>
                  </a:lnTo>
                  <a:lnTo>
                    <a:pt x="288" y="615"/>
                  </a:lnTo>
                  <a:lnTo>
                    <a:pt x="288" y="603"/>
                  </a:lnTo>
                  <a:lnTo>
                    <a:pt x="319" y="565"/>
                  </a:lnTo>
                  <a:lnTo>
                    <a:pt x="319" y="525"/>
                  </a:lnTo>
                  <a:lnTo>
                    <a:pt x="343" y="508"/>
                  </a:lnTo>
                  <a:lnTo>
                    <a:pt x="343" y="508"/>
                  </a:lnTo>
                  <a:lnTo>
                    <a:pt x="343" y="492"/>
                  </a:lnTo>
                  <a:lnTo>
                    <a:pt x="364" y="475"/>
                  </a:lnTo>
                  <a:lnTo>
                    <a:pt x="364" y="470"/>
                  </a:lnTo>
                  <a:lnTo>
                    <a:pt x="357" y="459"/>
                  </a:lnTo>
                  <a:lnTo>
                    <a:pt x="357" y="459"/>
                  </a:lnTo>
                  <a:lnTo>
                    <a:pt x="357" y="459"/>
                  </a:lnTo>
                  <a:close/>
                </a:path>
              </a:pathLst>
            </a:custGeom>
            <a:pattFill prst="lt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0" name="Freeform 530">
              <a:extLst>
                <a:ext uri="{FF2B5EF4-FFF2-40B4-BE49-F238E27FC236}">
                  <a16:creationId xmlns:a16="http://schemas.microsoft.com/office/drawing/2014/main" id="{D34B3600-5E0F-4BF0-839E-690C1B03B60F}"/>
                </a:ext>
              </a:extLst>
            </p:cNvPr>
            <p:cNvSpPr>
              <a:spLocks/>
            </p:cNvSpPr>
            <p:nvPr/>
          </p:nvSpPr>
          <p:spPr bwMode="gray">
            <a:xfrm>
              <a:off x="2949367" y="4605639"/>
              <a:ext cx="441925" cy="658261"/>
            </a:xfrm>
            <a:custGeom>
              <a:avLst/>
              <a:gdLst>
                <a:gd name="T0" fmla="*/ 872 w 893"/>
                <a:gd name="T1" fmla="*/ 926 h 1330"/>
                <a:gd name="T2" fmla="*/ 877 w 893"/>
                <a:gd name="T3" fmla="*/ 1025 h 1330"/>
                <a:gd name="T4" fmla="*/ 839 w 893"/>
                <a:gd name="T5" fmla="*/ 1063 h 1330"/>
                <a:gd name="T6" fmla="*/ 844 w 893"/>
                <a:gd name="T7" fmla="*/ 1108 h 1330"/>
                <a:gd name="T8" fmla="*/ 872 w 893"/>
                <a:gd name="T9" fmla="*/ 1169 h 1330"/>
                <a:gd name="T10" fmla="*/ 872 w 893"/>
                <a:gd name="T11" fmla="*/ 1202 h 1330"/>
                <a:gd name="T12" fmla="*/ 834 w 893"/>
                <a:gd name="T13" fmla="*/ 1259 h 1330"/>
                <a:gd name="T14" fmla="*/ 806 w 893"/>
                <a:gd name="T15" fmla="*/ 1280 h 1330"/>
                <a:gd name="T16" fmla="*/ 768 w 893"/>
                <a:gd name="T17" fmla="*/ 1330 h 1330"/>
                <a:gd name="T18" fmla="*/ 671 w 893"/>
                <a:gd name="T19" fmla="*/ 1242 h 1330"/>
                <a:gd name="T20" fmla="*/ 515 w 893"/>
                <a:gd name="T21" fmla="*/ 1153 h 1330"/>
                <a:gd name="T22" fmla="*/ 388 w 893"/>
                <a:gd name="T23" fmla="*/ 1058 h 1330"/>
                <a:gd name="T24" fmla="*/ 350 w 893"/>
                <a:gd name="T25" fmla="*/ 1004 h 1330"/>
                <a:gd name="T26" fmla="*/ 360 w 893"/>
                <a:gd name="T27" fmla="*/ 964 h 1330"/>
                <a:gd name="T28" fmla="*/ 300 w 893"/>
                <a:gd name="T29" fmla="*/ 869 h 1330"/>
                <a:gd name="T30" fmla="*/ 263 w 893"/>
                <a:gd name="T31" fmla="*/ 782 h 1330"/>
                <a:gd name="T32" fmla="*/ 194 w 893"/>
                <a:gd name="T33" fmla="*/ 647 h 1330"/>
                <a:gd name="T34" fmla="*/ 145 w 893"/>
                <a:gd name="T35" fmla="*/ 565 h 1330"/>
                <a:gd name="T36" fmla="*/ 17 w 893"/>
                <a:gd name="T37" fmla="*/ 432 h 1330"/>
                <a:gd name="T38" fmla="*/ 38 w 893"/>
                <a:gd name="T39" fmla="*/ 399 h 1330"/>
                <a:gd name="T40" fmla="*/ 26 w 893"/>
                <a:gd name="T41" fmla="*/ 354 h 1330"/>
                <a:gd name="T42" fmla="*/ 38 w 893"/>
                <a:gd name="T43" fmla="*/ 267 h 1330"/>
                <a:gd name="T44" fmla="*/ 86 w 893"/>
                <a:gd name="T45" fmla="*/ 276 h 1330"/>
                <a:gd name="T46" fmla="*/ 64 w 893"/>
                <a:gd name="T47" fmla="*/ 300 h 1330"/>
                <a:gd name="T48" fmla="*/ 69 w 893"/>
                <a:gd name="T49" fmla="*/ 317 h 1330"/>
                <a:gd name="T50" fmla="*/ 123 w 893"/>
                <a:gd name="T51" fmla="*/ 317 h 1330"/>
                <a:gd name="T52" fmla="*/ 178 w 893"/>
                <a:gd name="T53" fmla="*/ 333 h 1330"/>
                <a:gd name="T54" fmla="*/ 211 w 893"/>
                <a:gd name="T55" fmla="*/ 267 h 1330"/>
                <a:gd name="T56" fmla="*/ 225 w 893"/>
                <a:gd name="T57" fmla="*/ 234 h 1330"/>
                <a:gd name="T58" fmla="*/ 371 w 893"/>
                <a:gd name="T59" fmla="*/ 149 h 1330"/>
                <a:gd name="T60" fmla="*/ 430 w 893"/>
                <a:gd name="T61" fmla="*/ 61 h 1330"/>
                <a:gd name="T62" fmla="*/ 404 w 893"/>
                <a:gd name="T63" fmla="*/ 5 h 1330"/>
                <a:gd name="T64" fmla="*/ 456 w 893"/>
                <a:gd name="T65" fmla="*/ 12 h 1330"/>
                <a:gd name="T66" fmla="*/ 494 w 893"/>
                <a:gd name="T67" fmla="*/ 38 h 1330"/>
                <a:gd name="T68" fmla="*/ 553 w 893"/>
                <a:gd name="T69" fmla="*/ 111 h 1330"/>
                <a:gd name="T70" fmla="*/ 574 w 893"/>
                <a:gd name="T71" fmla="*/ 123 h 1330"/>
                <a:gd name="T72" fmla="*/ 574 w 893"/>
                <a:gd name="T73" fmla="*/ 165 h 1330"/>
                <a:gd name="T74" fmla="*/ 619 w 893"/>
                <a:gd name="T75" fmla="*/ 165 h 1330"/>
                <a:gd name="T76" fmla="*/ 678 w 893"/>
                <a:gd name="T77" fmla="*/ 149 h 1330"/>
                <a:gd name="T78" fmla="*/ 737 w 893"/>
                <a:gd name="T79" fmla="*/ 156 h 1330"/>
                <a:gd name="T80" fmla="*/ 789 w 893"/>
                <a:gd name="T81" fmla="*/ 194 h 1330"/>
                <a:gd name="T82" fmla="*/ 780 w 893"/>
                <a:gd name="T83" fmla="*/ 267 h 1330"/>
                <a:gd name="T84" fmla="*/ 785 w 893"/>
                <a:gd name="T85" fmla="*/ 305 h 1330"/>
                <a:gd name="T86" fmla="*/ 730 w 893"/>
                <a:gd name="T87" fmla="*/ 305 h 1330"/>
                <a:gd name="T88" fmla="*/ 603 w 893"/>
                <a:gd name="T89" fmla="*/ 359 h 1330"/>
                <a:gd name="T90" fmla="*/ 574 w 893"/>
                <a:gd name="T91" fmla="*/ 454 h 1330"/>
                <a:gd name="T92" fmla="*/ 537 w 893"/>
                <a:gd name="T93" fmla="*/ 522 h 1330"/>
                <a:gd name="T94" fmla="*/ 537 w 893"/>
                <a:gd name="T95" fmla="*/ 555 h 1330"/>
                <a:gd name="T96" fmla="*/ 553 w 893"/>
                <a:gd name="T97" fmla="*/ 598 h 1330"/>
                <a:gd name="T98" fmla="*/ 570 w 893"/>
                <a:gd name="T99" fmla="*/ 671 h 1330"/>
                <a:gd name="T100" fmla="*/ 709 w 893"/>
                <a:gd name="T101" fmla="*/ 720 h 1330"/>
                <a:gd name="T102" fmla="*/ 754 w 893"/>
                <a:gd name="T103" fmla="*/ 787 h 1330"/>
                <a:gd name="T104" fmla="*/ 801 w 893"/>
                <a:gd name="T105" fmla="*/ 782 h 1330"/>
                <a:gd name="T106" fmla="*/ 834 w 893"/>
                <a:gd name="T107" fmla="*/ 787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3" h="1330">
                  <a:moveTo>
                    <a:pt x="834" y="787"/>
                  </a:moveTo>
                  <a:lnTo>
                    <a:pt x="893" y="898"/>
                  </a:lnTo>
                  <a:lnTo>
                    <a:pt x="872" y="926"/>
                  </a:lnTo>
                  <a:lnTo>
                    <a:pt x="872" y="971"/>
                  </a:lnTo>
                  <a:lnTo>
                    <a:pt x="860" y="987"/>
                  </a:lnTo>
                  <a:lnTo>
                    <a:pt x="877" y="1025"/>
                  </a:lnTo>
                  <a:lnTo>
                    <a:pt x="872" y="1025"/>
                  </a:lnTo>
                  <a:lnTo>
                    <a:pt x="872" y="1037"/>
                  </a:lnTo>
                  <a:lnTo>
                    <a:pt x="839" y="1063"/>
                  </a:lnTo>
                  <a:lnTo>
                    <a:pt x="839" y="1082"/>
                  </a:lnTo>
                  <a:lnTo>
                    <a:pt x="856" y="1098"/>
                  </a:lnTo>
                  <a:lnTo>
                    <a:pt x="844" y="1108"/>
                  </a:lnTo>
                  <a:lnTo>
                    <a:pt x="839" y="1131"/>
                  </a:lnTo>
                  <a:lnTo>
                    <a:pt x="856" y="1169"/>
                  </a:lnTo>
                  <a:lnTo>
                    <a:pt x="872" y="1169"/>
                  </a:lnTo>
                  <a:lnTo>
                    <a:pt x="877" y="1174"/>
                  </a:lnTo>
                  <a:lnTo>
                    <a:pt x="860" y="1191"/>
                  </a:lnTo>
                  <a:lnTo>
                    <a:pt x="872" y="1202"/>
                  </a:lnTo>
                  <a:lnTo>
                    <a:pt x="823" y="1247"/>
                  </a:lnTo>
                  <a:lnTo>
                    <a:pt x="823" y="1247"/>
                  </a:lnTo>
                  <a:lnTo>
                    <a:pt x="834" y="1259"/>
                  </a:lnTo>
                  <a:lnTo>
                    <a:pt x="834" y="1264"/>
                  </a:lnTo>
                  <a:lnTo>
                    <a:pt x="823" y="1280"/>
                  </a:lnTo>
                  <a:lnTo>
                    <a:pt x="806" y="1280"/>
                  </a:lnTo>
                  <a:lnTo>
                    <a:pt x="818" y="1302"/>
                  </a:lnTo>
                  <a:lnTo>
                    <a:pt x="801" y="1318"/>
                  </a:lnTo>
                  <a:lnTo>
                    <a:pt x="768" y="1330"/>
                  </a:lnTo>
                  <a:lnTo>
                    <a:pt x="709" y="1280"/>
                  </a:lnTo>
                  <a:lnTo>
                    <a:pt x="693" y="1247"/>
                  </a:lnTo>
                  <a:lnTo>
                    <a:pt x="671" y="1242"/>
                  </a:lnTo>
                  <a:lnTo>
                    <a:pt x="624" y="1207"/>
                  </a:lnTo>
                  <a:lnTo>
                    <a:pt x="532" y="1169"/>
                  </a:lnTo>
                  <a:lnTo>
                    <a:pt x="515" y="1153"/>
                  </a:lnTo>
                  <a:lnTo>
                    <a:pt x="447" y="1115"/>
                  </a:lnTo>
                  <a:lnTo>
                    <a:pt x="409" y="1075"/>
                  </a:lnTo>
                  <a:lnTo>
                    <a:pt x="388" y="1058"/>
                  </a:lnTo>
                  <a:lnTo>
                    <a:pt x="360" y="1020"/>
                  </a:lnTo>
                  <a:lnTo>
                    <a:pt x="355" y="1004"/>
                  </a:lnTo>
                  <a:lnTo>
                    <a:pt x="350" y="1004"/>
                  </a:lnTo>
                  <a:lnTo>
                    <a:pt x="355" y="997"/>
                  </a:lnTo>
                  <a:lnTo>
                    <a:pt x="360" y="997"/>
                  </a:lnTo>
                  <a:lnTo>
                    <a:pt x="360" y="964"/>
                  </a:lnTo>
                  <a:lnTo>
                    <a:pt x="350" y="942"/>
                  </a:lnTo>
                  <a:lnTo>
                    <a:pt x="322" y="893"/>
                  </a:lnTo>
                  <a:lnTo>
                    <a:pt x="300" y="869"/>
                  </a:lnTo>
                  <a:lnTo>
                    <a:pt x="296" y="836"/>
                  </a:lnTo>
                  <a:lnTo>
                    <a:pt x="263" y="815"/>
                  </a:lnTo>
                  <a:lnTo>
                    <a:pt x="263" y="782"/>
                  </a:lnTo>
                  <a:lnTo>
                    <a:pt x="232" y="742"/>
                  </a:lnTo>
                  <a:lnTo>
                    <a:pt x="199" y="654"/>
                  </a:lnTo>
                  <a:lnTo>
                    <a:pt x="194" y="647"/>
                  </a:lnTo>
                  <a:lnTo>
                    <a:pt x="189" y="614"/>
                  </a:lnTo>
                  <a:lnTo>
                    <a:pt x="173" y="593"/>
                  </a:lnTo>
                  <a:lnTo>
                    <a:pt x="145" y="565"/>
                  </a:lnTo>
                  <a:lnTo>
                    <a:pt x="119" y="503"/>
                  </a:lnTo>
                  <a:lnTo>
                    <a:pt x="102" y="482"/>
                  </a:lnTo>
                  <a:lnTo>
                    <a:pt x="17" y="432"/>
                  </a:lnTo>
                  <a:lnTo>
                    <a:pt x="17" y="416"/>
                  </a:lnTo>
                  <a:lnTo>
                    <a:pt x="31" y="416"/>
                  </a:lnTo>
                  <a:lnTo>
                    <a:pt x="38" y="399"/>
                  </a:lnTo>
                  <a:lnTo>
                    <a:pt x="31" y="387"/>
                  </a:lnTo>
                  <a:lnTo>
                    <a:pt x="17" y="371"/>
                  </a:lnTo>
                  <a:lnTo>
                    <a:pt x="26" y="354"/>
                  </a:lnTo>
                  <a:lnTo>
                    <a:pt x="0" y="333"/>
                  </a:lnTo>
                  <a:lnTo>
                    <a:pt x="10" y="305"/>
                  </a:lnTo>
                  <a:lnTo>
                    <a:pt x="38" y="267"/>
                  </a:lnTo>
                  <a:lnTo>
                    <a:pt x="81" y="234"/>
                  </a:lnTo>
                  <a:lnTo>
                    <a:pt x="81" y="243"/>
                  </a:lnTo>
                  <a:lnTo>
                    <a:pt x="86" y="276"/>
                  </a:lnTo>
                  <a:lnTo>
                    <a:pt x="81" y="283"/>
                  </a:lnTo>
                  <a:lnTo>
                    <a:pt x="64" y="283"/>
                  </a:lnTo>
                  <a:lnTo>
                    <a:pt x="64" y="300"/>
                  </a:lnTo>
                  <a:lnTo>
                    <a:pt x="81" y="300"/>
                  </a:lnTo>
                  <a:lnTo>
                    <a:pt x="64" y="317"/>
                  </a:lnTo>
                  <a:lnTo>
                    <a:pt x="69" y="317"/>
                  </a:lnTo>
                  <a:lnTo>
                    <a:pt x="86" y="305"/>
                  </a:lnTo>
                  <a:lnTo>
                    <a:pt x="107" y="317"/>
                  </a:lnTo>
                  <a:lnTo>
                    <a:pt x="123" y="317"/>
                  </a:lnTo>
                  <a:lnTo>
                    <a:pt x="145" y="354"/>
                  </a:lnTo>
                  <a:lnTo>
                    <a:pt x="161" y="354"/>
                  </a:lnTo>
                  <a:lnTo>
                    <a:pt x="178" y="333"/>
                  </a:lnTo>
                  <a:lnTo>
                    <a:pt x="194" y="321"/>
                  </a:lnTo>
                  <a:lnTo>
                    <a:pt x="194" y="305"/>
                  </a:lnTo>
                  <a:lnTo>
                    <a:pt x="211" y="267"/>
                  </a:lnTo>
                  <a:lnTo>
                    <a:pt x="215" y="243"/>
                  </a:lnTo>
                  <a:lnTo>
                    <a:pt x="225" y="250"/>
                  </a:lnTo>
                  <a:lnTo>
                    <a:pt x="225" y="234"/>
                  </a:lnTo>
                  <a:lnTo>
                    <a:pt x="249" y="210"/>
                  </a:lnTo>
                  <a:lnTo>
                    <a:pt x="334" y="177"/>
                  </a:lnTo>
                  <a:lnTo>
                    <a:pt x="371" y="149"/>
                  </a:lnTo>
                  <a:lnTo>
                    <a:pt x="409" y="111"/>
                  </a:lnTo>
                  <a:lnTo>
                    <a:pt x="426" y="61"/>
                  </a:lnTo>
                  <a:lnTo>
                    <a:pt x="430" y="61"/>
                  </a:lnTo>
                  <a:lnTo>
                    <a:pt x="430" y="45"/>
                  </a:lnTo>
                  <a:lnTo>
                    <a:pt x="430" y="38"/>
                  </a:lnTo>
                  <a:lnTo>
                    <a:pt x="404" y="5"/>
                  </a:lnTo>
                  <a:lnTo>
                    <a:pt x="430" y="5"/>
                  </a:lnTo>
                  <a:lnTo>
                    <a:pt x="430" y="0"/>
                  </a:lnTo>
                  <a:lnTo>
                    <a:pt x="456" y="12"/>
                  </a:lnTo>
                  <a:lnTo>
                    <a:pt x="463" y="5"/>
                  </a:lnTo>
                  <a:lnTo>
                    <a:pt x="468" y="21"/>
                  </a:lnTo>
                  <a:lnTo>
                    <a:pt x="494" y="38"/>
                  </a:lnTo>
                  <a:lnTo>
                    <a:pt x="501" y="66"/>
                  </a:lnTo>
                  <a:lnTo>
                    <a:pt x="548" y="94"/>
                  </a:lnTo>
                  <a:lnTo>
                    <a:pt x="553" y="111"/>
                  </a:lnTo>
                  <a:lnTo>
                    <a:pt x="553" y="116"/>
                  </a:lnTo>
                  <a:lnTo>
                    <a:pt x="570" y="132"/>
                  </a:lnTo>
                  <a:lnTo>
                    <a:pt x="574" y="123"/>
                  </a:lnTo>
                  <a:lnTo>
                    <a:pt x="574" y="123"/>
                  </a:lnTo>
                  <a:lnTo>
                    <a:pt x="586" y="149"/>
                  </a:lnTo>
                  <a:lnTo>
                    <a:pt x="574" y="165"/>
                  </a:lnTo>
                  <a:lnTo>
                    <a:pt x="591" y="165"/>
                  </a:lnTo>
                  <a:lnTo>
                    <a:pt x="591" y="172"/>
                  </a:lnTo>
                  <a:lnTo>
                    <a:pt x="619" y="165"/>
                  </a:lnTo>
                  <a:lnTo>
                    <a:pt x="641" y="172"/>
                  </a:lnTo>
                  <a:lnTo>
                    <a:pt x="662" y="165"/>
                  </a:lnTo>
                  <a:lnTo>
                    <a:pt x="678" y="149"/>
                  </a:lnTo>
                  <a:lnTo>
                    <a:pt x="678" y="156"/>
                  </a:lnTo>
                  <a:lnTo>
                    <a:pt x="700" y="165"/>
                  </a:lnTo>
                  <a:lnTo>
                    <a:pt x="737" y="156"/>
                  </a:lnTo>
                  <a:lnTo>
                    <a:pt x="754" y="172"/>
                  </a:lnTo>
                  <a:lnTo>
                    <a:pt x="780" y="172"/>
                  </a:lnTo>
                  <a:lnTo>
                    <a:pt x="789" y="194"/>
                  </a:lnTo>
                  <a:lnTo>
                    <a:pt x="747" y="267"/>
                  </a:lnTo>
                  <a:lnTo>
                    <a:pt x="763" y="276"/>
                  </a:lnTo>
                  <a:lnTo>
                    <a:pt x="780" y="267"/>
                  </a:lnTo>
                  <a:lnTo>
                    <a:pt x="801" y="300"/>
                  </a:lnTo>
                  <a:lnTo>
                    <a:pt x="789" y="305"/>
                  </a:lnTo>
                  <a:lnTo>
                    <a:pt x="785" y="305"/>
                  </a:lnTo>
                  <a:lnTo>
                    <a:pt x="780" y="288"/>
                  </a:lnTo>
                  <a:lnTo>
                    <a:pt x="747" y="288"/>
                  </a:lnTo>
                  <a:lnTo>
                    <a:pt x="730" y="305"/>
                  </a:lnTo>
                  <a:lnTo>
                    <a:pt x="716" y="305"/>
                  </a:lnTo>
                  <a:lnTo>
                    <a:pt x="662" y="321"/>
                  </a:lnTo>
                  <a:lnTo>
                    <a:pt x="603" y="359"/>
                  </a:lnTo>
                  <a:lnTo>
                    <a:pt x="591" y="399"/>
                  </a:lnTo>
                  <a:lnTo>
                    <a:pt x="570" y="432"/>
                  </a:lnTo>
                  <a:lnTo>
                    <a:pt x="574" y="454"/>
                  </a:lnTo>
                  <a:lnTo>
                    <a:pt x="537" y="487"/>
                  </a:lnTo>
                  <a:lnTo>
                    <a:pt x="532" y="503"/>
                  </a:lnTo>
                  <a:lnTo>
                    <a:pt x="537" y="522"/>
                  </a:lnTo>
                  <a:lnTo>
                    <a:pt x="523" y="527"/>
                  </a:lnTo>
                  <a:lnTo>
                    <a:pt x="515" y="539"/>
                  </a:lnTo>
                  <a:lnTo>
                    <a:pt x="537" y="555"/>
                  </a:lnTo>
                  <a:lnTo>
                    <a:pt x="532" y="565"/>
                  </a:lnTo>
                  <a:lnTo>
                    <a:pt x="548" y="576"/>
                  </a:lnTo>
                  <a:lnTo>
                    <a:pt x="553" y="598"/>
                  </a:lnTo>
                  <a:lnTo>
                    <a:pt x="591" y="638"/>
                  </a:lnTo>
                  <a:lnTo>
                    <a:pt x="591" y="654"/>
                  </a:lnTo>
                  <a:lnTo>
                    <a:pt x="570" y="671"/>
                  </a:lnTo>
                  <a:lnTo>
                    <a:pt x="629" y="676"/>
                  </a:lnTo>
                  <a:lnTo>
                    <a:pt x="645" y="720"/>
                  </a:lnTo>
                  <a:lnTo>
                    <a:pt x="709" y="720"/>
                  </a:lnTo>
                  <a:lnTo>
                    <a:pt x="763" y="676"/>
                  </a:lnTo>
                  <a:lnTo>
                    <a:pt x="754" y="704"/>
                  </a:lnTo>
                  <a:lnTo>
                    <a:pt x="754" y="787"/>
                  </a:lnTo>
                  <a:lnTo>
                    <a:pt x="763" y="782"/>
                  </a:lnTo>
                  <a:lnTo>
                    <a:pt x="780" y="798"/>
                  </a:lnTo>
                  <a:lnTo>
                    <a:pt x="801" y="782"/>
                  </a:lnTo>
                  <a:lnTo>
                    <a:pt x="834" y="787"/>
                  </a:lnTo>
                  <a:lnTo>
                    <a:pt x="834" y="787"/>
                  </a:lnTo>
                  <a:lnTo>
                    <a:pt x="834" y="787"/>
                  </a:lnTo>
                  <a:close/>
                </a:path>
              </a:pathLst>
            </a:custGeom>
            <a:pattFill prst="dk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1" name="Freeform 531">
              <a:extLst>
                <a:ext uri="{FF2B5EF4-FFF2-40B4-BE49-F238E27FC236}">
                  <a16:creationId xmlns:a16="http://schemas.microsoft.com/office/drawing/2014/main" id="{019D2C69-2772-4721-AC93-487FF0853447}"/>
                </a:ext>
              </a:extLst>
            </p:cNvPr>
            <p:cNvSpPr>
              <a:spLocks noEditPoints="1"/>
            </p:cNvSpPr>
            <p:nvPr/>
          </p:nvSpPr>
          <p:spPr bwMode="gray">
            <a:xfrm>
              <a:off x="7887249" y="3220325"/>
              <a:ext cx="590388" cy="521163"/>
            </a:xfrm>
            <a:custGeom>
              <a:avLst/>
              <a:gdLst>
                <a:gd name="T0" fmla="*/ 248 w 1193"/>
                <a:gd name="T1" fmla="*/ 605 h 1053"/>
                <a:gd name="T2" fmla="*/ 378 w 1193"/>
                <a:gd name="T3" fmla="*/ 560 h 1053"/>
                <a:gd name="T4" fmla="*/ 399 w 1193"/>
                <a:gd name="T5" fmla="*/ 494 h 1053"/>
                <a:gd name="T6" fmla="*/ 485 w 1193"/>
                <a:gd name="T7" fmla="*/ 460 h 1053"/>
                <a:gd name="T8" fmla="*/ 539 w 1193"/>
                <a:gd name="T9" fmla="*/ 427 h 1053"/>
                <a:gd name="T10" fmla="*/ 577 w 1193"/>
                <a:gd name="T11" fmla="*/ 439 h 1053"/>
                <a:gd name="T12" fmla="*/ 598 w 1193"/>
                <a:gd name="T13" fmla="*/ 349 h 1053"/>
                <a:gd name="T14" fmla="*/ 664 w 1193"/>
                <a:gd name="T15" fmla="*/ 300 h 1053"/>
                <a:gd name="T16" fmla="*/ 643 w 1193"/>
                <a:gd name="T17" fmla="*/ 262 h 1053"/>
                <a:gd name="T18" fmla="*/ 723 w 1193"/>
                <a:gd name="T19" fmla="*/ 222 h 1053"/>
                <a:gd name="T20" fmla="*/ 749 w 1193"/>
                <a:gd name="T21" fmla="*/ 168 h 1053"/>
                <a:gd name="T22" fmla="*/ 749 w 1193"/>
                <a:gd name="T23" fmla="*/ 94 h 1053"/>
                <a:gd name="T24" fmla="*/ 756 w 1193"/>
                <a:gd name="T25" fmla="*/ 52 h 1053"/>
                <a:gd name="T26" fmla="*/ 900 w 1193"/>
                <a:gd name="T27" fmla="*/ 7 h 1053"/>
                <a:gd name="T28" fmla="*/ 966 w 1193"/>
                <a:gd name="T29" fmla="*/ 0 h 1053"/>
                <a:gd name="T30" fmla="*/ 1042 w 1193"/>
                <a:gd name="T31" fmla="*/ 23 h 1053"/>
                <a:gd name="T32" fmla="*/ 1073 w 1193"/>
                <a:gd name="T33" fmla="*/ 90 h 1053"/>
                <a:gd name="T34" fmla="*/ 1127 w 1193"/>
                <a:gd name="T35" fmla="*/ 118 h 1053"/>
                <a:gd name="T36" fmla="*/ 1127 w 1193"/>
                <a:gd name="T37" fmla="*/ 189 h 1053"/>
                <a:gd name="T38" fmla="*/ 1042 w 1193"/>
                <a:gd name="T39" fmla="*/ 205 h 1053"/>
                <a:gd name="T40" fmla="*/ 922 w 1193"/>
                <a:gd name="T41" fmla="*/ 229 h 1053"/>
                <a:gd name="T42" fmla="*/ 933 w 1193"/>
                <a:gd name="T43" fmla="*/ 283 h 1053"/>
                <a:gd name="T44" fmla="*/ 971 w 1193"/>
                <a:gd name="T45" fmla="*/ 349 h 1053"/>
                <a:gd name="T46" fmla="*/ 1018 w 1193"/>
                <a:gd name="T47" fmla="*/ 387 h 1053"/>
                <a:gd name="T48" fmla="*/ 955 w 1193"/>
                <a:gd name="T49" fmla="*/ 427 h 1053"/>
                <a:gd name="T50" fmla="*/ 966 w 1193"/>
                <a:gd name="T51" fmla="*/ 477 h 1053"/>
                <a:gd name="T52" fmla="*/ 917 w 1193"/>
                <a:gd name="T53" fmla="*/ 555 h 1053"/>
                <a:gd name="T54" fmla="*/ 794 w 1193"/>
                <a:gd name="T55" fmla="*/ 687 h 1053"/>
                <a:gd name="T56" fmla="*/ 695 w 1193"/>
                <a:gd name="T57" fmla="*/ 742 h 1053"/>
                <a:gd name="T58" fmla="*/ 610 w 1193"/>
                <a:gd name="T59" fmla="*/ 827 h 1053"/>
                <a:gd name="T60" fmla="*/ 664 w 1193"/>
                <a:gd name="T61" fmla="*/ 902 h 1053"/>
                <a:gd name="T62" fmla="*/ 718 w 1193"/>
                <a:gd name="T63" fmla="*/ 980 h 1053"/>
                <a:gd name="T64" fmla="*/ 695 w 1193"/>
                <a:gd name="T65" fmla="*/ 1013 h 1053"/>
                <a:gd name="T66" fmla="*/ 643 w 1193"/>
                <a:gd name="T67" fmla="*/ 1020 h 1053"/>
                <a:gd name="T68" fmla="*/ 555 w 1193"/>
                <a:gd name="T69" fmla="*/ 1001 h 1053"/>
                <a:gd name="T70" fmla="*/ 518 w 1193"/>
                <a:gd name="T71" fmla="*/ 1037 h 1053"/>
                <a:gd name="T72" fmla="*/ 501 w 1193"/>
                <a:gd name="T73" fmla="*/ 1046 h 1053"/>
                <a:gd name="T74" fmla="*/ 468 w 1193"/>
                <a:gd name="T75" fmla="*/ 1037 h 1053"/>
                <a:gd name="T76" fmla="*/ 437 w 1193"/>
                <a:gd name="T77" fmla="*/ 980 h 1053"/>
                <a:gd name="T78" fmla="*/ 399 w 1193"/>
                <a:gd name="T79" fmla="*/ 926 h 1053"/>
                <a:gd name="T80" fmla="*/ 383 w 1193"/>
                <a:gd name="T81" fmla="*/ 909 h 1053"/>
                <a:gd name="T82" fmla="*/ 265 w 1193"/>
                <a:gd name="T83" fmla="*/ 935 h 1053"/>
                <a:gd name="T84" fmla="*/ 220 w 1193"/>
                <a:gd name="T85" fmla="*/ 926 h 1053"/>
                <a:gd name="T86" fmla="*/ 69 w 1193"/>
                <a:gd name="T87" fmla="*/ 947 h 1053"/>
                <a:gd name="T88" fmla="*/ 59 w 1193"/>
                <a:gd name="T89" fmla="*/ 893 h 1053"/>
                <a:gd name="T90" fmla="*/ 97 w 1193"/>
                <a:gd name="T91" fmla="*/ 848 h 1053"/>
                <a:gd name="T92" fmla="*/ 161 w 1193"/>
                <a:gd name="T93" fmla="*/ 831 h 1053"/>
                <a:gd name="T94" fmla="*/ 140 w 1193"/>
                <a:gd name="T95" fmla="*/ 782 h 1053"/>
                <a:gd name="T96" fmla="*/ 107 w 1193"/>
                <a:gd name="T97" fmla="*/ 687 h 1053"/>
                <a:gd name="T98" fmla="*/ 0 w 1193"/>
                <a:gd name="T99" fmla="*/ 576 h 1053"/>
                <a:gd name="T100" fmla="*/ 166 w 1193"/>
                <a:gd name="T101" fmla="*/ 609 h 1053"/>
                <a:gd name="T102" fmla="*/ 463 w 1193"/>
                <a:gd name="T103" fmla="*/ 1030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93" h="1053">
                  <a:moveTo>
                    <a:pt x="166" y="609"/>
                  </a:moveTo>
                  <a:lnTo>
                    <a:pt x="194" y="605"/>
                  </a:lnTo>
                  <a:lnTo>
                    <a:pt x="220" y="609"/>
                  </a:lnTo>
                  <a:lnTo>
                    <a:pt x="248" y="605"/>
                  </a:lnTo>
                  <a:lnTo>
                    <a:pt x="291" y="605"/>
                  </a:lnTo>
                  <a:lnTo>
                    <a:pt x="378" y="576"/>
                  </a:lnTo>
                  <a:lnTo>
                    <a:pt x="383" y="571"/>
                  </a:lnTo>
                  <a:lnTo>
                    <a:pt x="378" y="560"/>
                  </a:lnTo>
                  <a:lnTo>
                    <a:pt x="383" y="548"/>
                  </a:lnTo>
                  <a:lnTo>
                    <a:pt x="383" y="522"/>
                  </a:lnTo>
                  <a:lnTo>
                    <a:pt x="392" y="494"/>
                  </a:lnTo>
                  <a:lnTo>
                    <a:pt x="399" y="494"/>
                  </a:lnTo>
                  <a:lnTo>
                    <a:pt x="416" y="465"/>
                  </a:lnTo>
                  <a:lnTo>
                    <a:pt x="430" y="460"/>
                  </a:lnTo>
                  <a:lnTo>
                    <a:pt x="454" y="465"/>
                  </a:lnTo>
                  <a:lnTo>
                    <a:pt x="485" y="460"/>
                  </a:lnTo>
                  <a:lnTo>
                    <a:pt x="468" y="444"/>
                  </a:lnTo>
                  <a:lnTo>
                    <a:pt x="501" y="439"/>
                  </a:lnTo>
                  <a:lnTo>
                    <a:pt x="518" y="423"/>
                  </a:lnTo>
                  <a:lnTo>
                    <a:pt x="539" y="427"/>
                  </a:lnTo>
                  <a:lnTo>
                    <a:pt x="534" y="427"/>
                  </a:lnTo>
                  <a:lnTo>
                    <a:pt x="539" y="423"/>
                  </a:lnTo>
                  <a:lnTo>
                    <a:pt x="560" y="444"/>
                  </a:lnTo>
                  <a:lnTo>
                    <a:pt x="577" y="439"/>
                  </a:lnTo>
                  <a:lnTo>
                    <a:pt x="593" y="411"/>
                  </a:lnTo>
                  <a:lnTo>
                    <a:pt x="593" y="371"/>
                  </a:lnTo>
                  <a:lnTo>
                    <a:pt x="598" y="354"/>
                  </a:lnTo>
                  <a:lnTo>
                    <a:pt x="598" y="349"/>
                  </a:lnTo>
                  <a:lnTo>
                    <a:pt x="610" y="338"/>
                  </a:lnTo>
                  <a:lnTo>
                    <a:pt x="610" y="328"/>
                  </a:lnTo>
                  <a:lnTo>
                    <a:pt x="648" y="316"/>
                  </a:lnTo>
                  <a:lnTo>
                    <a:pt x="664" y="300"/>
                  </a:lnTo>
                  <a:lnTo>
                    <a:pt x="652" y="283"/>
                  </a:lnTo>
                  <a:lnTo>
                    <a:pt x="652" y="272"/>
                  </a:lnTo>
                  <a:lnTo>
                    <a:pt x="643" y="272"/>
                  </a:lnTo>
                  <a:lnTo>
                    <a:pt x="643" y="262"/>
                  </a:lnTo>
                  <a:lnTo>
                    <a:pt x="631" y="246"/>
                  </a:lnTo>
                  <a:lnTo>
                    <a:pt x="681" y="255"/>
                  </a:lnTo>
                  <a:lnTo>
                    <a:pt x="718" y="246"/>
                  </a:lnTo>
                  <a:lnTo>
                    <a:pt x="723" y="222"/>
                  </a:lnTo>
                  <a:lnTo>
                    <a:pt x="707" y="205"/>
                  </a:lnTo>
                  <a:lnTo>
                    <a:pt x="718" y="201"/>
                  </a:lnTo>
                  <a:lnTo>
                    <a:pt x="718" y="189"/>
                  </a:lnTo>
                  <a:lnTo>
                    <a:pt x="749" y="168"/>
                  </a:lnTo>
                  <a:lnTo>
                    <a:pt x="756" y="151"/>
                  </a:lnTo>
                  <a:lnTo>
                    <a:pt x="749" y="144"/>
                  </a:lnTo>
                  <a:lnTo>
                    <a:pt x="756" y="134"/>
                  </a:lnTo>
                  <a:lnTo>
                    <a:pt x="749" y="94"/>
                  </a:lnTo>
                  <a:lnTo>
                    <a:pt x="723" y="78"/>
                  </a:lnTo>
                  <a:lnTo>
                    <a:pt x="733" y="73"/>
                  </a:lnTo>
                  <a:lnTo>
                    <a:pt x="756" y="57"/>
                  </a:lnTo>
                  <a:lnTo>
                    <a:pt x="756" y="52"/>
                  </a:lnTo>
                  <a:lnTo>
                    <a:pt x="761" y="52"/>
                  </a:lnTo>
                  <a:lnTo>
                    <a:pt x="794" y="23"/>
                  </a:lnTo>
                  <a:lnTo>
                    <a:pt x="825" y="19"/>
                  </a:lnTo>
                  <a:lnTo>
                    <a:pt x="900" y="7"/>
                  </a:lnTo>
                  <a:lnTo>
                    <a:pt x="922" y="19"/>
                  </a:lnTo>
                  <a:lnTo>
                    <a:pt x="955" y="0"/>
                  </a:lnTo>
                  <a:lnTo>
                    <a:pt x="966" y="7"/>
                  </a:lnTo>
                  <a:lnTo>
                    <a:pt x="966" y="0"/>
                  </a:lnTo>
                  <a:lnTo>
                    <a:pt x="1004" y="0"/>
                  </a:lnTo>
                  <a:lnTo>
                    <a:pt x="1018" y="7"/>
                  </a:lnTo>
                  <a:lnTo>
                    <a:pt x="1025" y="23"/>
                  </a:lnTo>
                  <a:lnTo>
                    <a:pt x="1042" y="23"/>
                  </a:lnTo>
                  <a:lnTo>
                    <a:pt x="1056" y="35"/>
                  </a:lnTo>
                  <a:lnTo>
                    <a:pt x="1063" y="61"/>
                  </a:lnTo>
                  <a:lnTo>
                    <a:pt x="1056" y="78"/>
                  </a:lnTo>
                  <a:lnTo>
                    <a:pt x="1073" y="90"/>
                  </a:lnTo>
                  <a:lnTo>
                    <a:pt x="1080" y="106"/>
                  </a:lnTo>
                  <a:lnTo>
                    <a:pt x="1101" y="94"/>
                  </a:lnTo>
                  <a:lnTo>
                    <a:pt x="1101" y="106"/>
                  </a:lnTo>
                  <a:lnTo>
                    <a:pt x="1127" y="118"/>
                  </a:lnTo>
                  <a:lnTo>
                    <a:pt x="1165" y="127"/>
                  </a:lnTo>
                  <a:lnTo>
                    <a:pt x="1193" y="127"/>
                  </a:lnTo>
                  <a:lnTo>
                    <a:pt x="1132" y="160"/>
                  </a:lnTo>
                  <a:lnTo>
                    <a:pt x="1127" y="189"/>
                  </a:lnTo>
                  <a:lnTo>
                    <a:pt x="1094" y="184"/>
                  </a:lnTo>
                  <a:lnTo>
                    <a:pt x="1073" y="201"/>
                  </a:lnTo>
                  <a:lnTo>
                    <a:pt x="1063" y="201"/>
                  </a:lnTo>
                  <a:lnTo>
                    <a:pt x="1042" y="205"/>
                  </a:lnTo>
                  <a:lnTo>
                    <a:pt x="950" y="184"/>
                  </a:lnTo>
                  <a:lnTo>
                    <a:pt x="917" y="201"/>
                  </a:lnTo>
                  <a:lnTo>
                    <a:pt x="912" y="217"/>
                  </a:lnTo>
                  <a:lnTo>
                    <a:pt x="922" y="229"/>
                  </a:lnTo>
                  <a:lnTo>
                    <a:pt x="917" y="238"/>
                  </a:lnTo>
                  <a:lnTo>
                    <a:pt x="938" y="246"/>
                  </a:lnTo>
                  <a:lnTo>
                    <a:pt x="922" y="272"/>
                  </a:lnTo>
                  <a:lnTo>
                    <a:pt x="933" y="283"/>
                  </a:lnTo>
                  <a:lnTo>
                    <a:pt x="922" y="316"/>
                  </a:lnTo>
                  <a:lnTo>
                    <a:pt x="950" y="328"/>
                  </a:lnTo>
                  <a:lnTo>
                    <a:pt x="950" y="349"/>
                  </a:lnTo>
                  <a:lnTo>
                    <a:pt x="971" y="349"/>
                  </a:lnTo>
                  <a:lnTo>
                    <a:pt x="971" y="371"/>
                  </a:lnTo>
                  <a:lnTo>
                    <a:pt x="992" y="371"/>
                  </a:lnTo>
                  <a:lnTo>
                    <a:pt x="1018" y="383"/>
                  </a:lnTo>
                  <a:lnTo>
                    <a:pt x="1018" y="387"/>
                  </a:lnTo>
                  <a:lnTo>
                    <a:pt x="1009" y="404"/>
                  </a:lnTo>
                  <a:lnTo>
                    <a:pt x="988" y="404"/>
                  </a:lnTo>
                  <a:lnTo>
                    <a:pt x="966" y="423"/>
                  </a:lnTo>
                  <a:lnTo>
                    <a:pt x="955" y="427"/>
                  </a:lnTo>
                  <a:lnTo>
                    <a:pt x="966" y="449"/>
                  </a:lnTo>
                  <a:lnTo>
                    <a:pt x="955" y="477"/>
                  </a:lnTo>
                  <a:lnTo>
                    <a:pt x="966" y="482"/>
                  </a:lnTo>
                  <a:lnTo>
                    <a:pt x="966" y="477"/>
                  </a:lnTo>
                  <a:lnTo>
                    <a:pt x="971" y="482"/>
                  </a:lnTo>
                  <a:lnTo>
                    <a:pt x="950" y="498"/>
                  </a:lnTo>
                  <a:lnTo>
                    <a:pt x="917" y="538"/>
                  </a:lnTo>
                  <a:lnTo>
                    <a:pt x="917" y="555"/>
                  </a:lnTo>
                  <a:lnTo>
                    <a:pt x="879" y="571"/>
                  </a:lnTo>
                  <a:lnTo>
                    <a:pt x="846" y="642"/>
                  </a:lnTo>
                  <a:lnTo>
                    <a:pt x="808" y="666"/>
                  </a:lnTo>
                  <a:lnTo>
                    <a:pt x="794" y="687"/>
                  </a:lnTo>
                  <a:lnTo>
                    <a:pt x="777" y="716"/>
                  </a:lnTo>
                  <a:lnTo>
                    <a:pt x="777" y="725"/>
                  </a:lnTo>
                  <a:lnTo>
                    <a:pt x="702" y="742"/>
                  </a:lnTo>
                  <a:lnTo>
                    <a:pt x="695" y="742"/>
                  </a:lnTo>
                  <a:lnTo>
                    <a:pt x="685" y="720"/>
                  </a:lnTo>
                  <a:lnTo>
                    <a:pt x="669" y="720"/>
                  </a:lnTo>
                  <a:lnTo>
                    <a:pt x="614" y="782"/>
                  </a:lnTo>
                  <a:lnTo>
                    <a:pt x="610" y="827"/>
                  </a:lnTo>
                  <a:lnTo>
                    <a:pt x="631" y="831"/>
                  </a:lnTo>
                  <a:lnTo>
                    <a:pt x="652" y="836"/>
                  </a:lnTo>
                  <a:lnTo>
                    <a:pt x="648" y="881"/>
                  </a:lnTo>
                  <a:lnTo>
                    <a:pt x="664" y="902"/>
                  </a:lnTo>
                  <a:lnTo>
                    <a:pt x="685" y="902"/>
                  </a:lnTo>
                  <a:lnTo>
                    <a:pt x="695" y="926"/>
                  </a:lnTo>
                  <a:lnTo>
                    <a:pt x="702" y="942"/>
                  </a:lnTo>
                  <a:lnTo>
                    <a:pt x="718" y="980"/>
                  </a:lnTo>
                  <a:lnTo>
                    <a:pt x="707" y="980"/>
                  </a:lnTo>
                  <a:lnTo>
                    <a:pt x="707" y="997"/>
                  </a:lnTo>
                  <a:lnTo>
                    <a:pt x="718" y="997"/>
                  </a:lnTo>
                  <a:lnTo>
                    <a:pt x="695" y="1013"/>
                  </a:lnTo>
                  <a:lnTo>
                    <a:pt x="685" y="1013"/>
                  </a:lnTo>
                  <a:lnTo>
                    <a:pt x="681" y="997"/>
                  </a:lnTo>
                  <a:lnTo>
                    <a:pt x="648" y="1001"/>
                  </a:lnTo>
                  <a:lnTo>
                    <a:pt x="643" y="1020"/>
                  </a:lnTo>
                  <a:lnTo>
                    <a:pt x="626" y="1020"/>
                  </a:lnTo>
                  <a:lnTo>
                    <a:pt x="614" y="1013"/>
                  </a:lnTo>
                  <a:lnTo>
                    <a:pt x="572" y="1013"/>
                  </a:lnTo>
                  <a:lnTo>
                    <a:pt x="555" y="1001"/>
                  </a:lnTo>
                  <a:lnTo>
                    <a:pt x="555" y="1037"/>
                  </a:lnTo>
                  <a:lnTo>
                    <a:pt x="522" y="1037"/>
                  </a:lnTo>
                  <a:lnTo>
                    <a:pt x="518" y="1046"/>
                  </a:lnTo>
                  <a:lnTo>
                    <a:pt x="518" y="1037"/>
                  </a:lnTo>
                  <a:lnTo>
                    <a:pt x="518" y="1053"/>
                  </a:lnTo>
                  <a:lnTo>
                    <a:pt x="506" y="1053"/>
                  </a:lnTo>
                  <a:lnTo>
                    <a:pt x="501" y="1037"/>
                  </a:lnTo>
                  <a:lnTo>
                    <a:pt x="501" y="1046"/>
                  </a:lnTo>
                  <a:lnTo>
                    <a:pt x="492" y="1037"/>
                  </a:lnTo>
                  <a:lnTo>
                    <a:pt x="492" y="1046"/>
                  </a:lnTo>
                  <a:lnTo>
                    <a:pt x="485" y="1046"/>
                  </a:lnTo>
                  <a:lnTo>
                    <a:pt x="468" y="1037"/>
                  </a:lnTo>
                  <a:lnTo>
                    <a:pt x="468" y="1037"/>
                  </a:lnTo>
                  <a:lnTo>
                    <a:pt x="463" y="1030"/>
                  </a:lnTo>
                  <a:lnTo>
                    <a:pt x="454" y="1020"/>
                  </a:lnTo>
                  <a:lnTo>
                    <a:pt x="437" y="980"/>
                  </a:lnTo>
                  <a:lnTo>
                    <a:pt x="447" y="975"/>
                  </a:lnTo>
                  <a:lnTo>
                    <a:pt x="409" y="964"/>
                  </a:lnTo>
                  <a:lnTo>
                    <a:pt x="416" y="942"/>
                  </a:lnTo>
                  <a:lnTo>
                    <a:pt x="399" y="926"/>
                  </a:lnTo>
                  <a:lnTo>
                    <a:pt x="399" y="919"/>
                  </a:lnTo>
                  <a:lnTo>
                    <a:pt x="383" y="909"/>
                  </a:lnTo>
                  <a:lnTo>
                    <a:pt x="371" y="919"/>
                  </a:lnTo>
                  <a:lnTo>
                    <a:pt x="383" y="909"/>
                  </a:lnTo>
                  <a:lnTo>
                    <a:pt x="399" y="926"/>
                  </a:lnTo>
                  <a:lnTo>
                    <a:pt x="274" y="926"/>
                  </a:lnTo>
                  <a:lnTo>
                    <a:pt x="270" y="942"/>
                  </a:lnTo>
                  <a:lnTo>
                    <a:pt x="265" y="935"/>
                  </a:lnTo>
                  <a:lnTo>
                    <a:pt x="232" y="926"/>
                  </a:lnTo>
                  <a:lnTo>
                    <a:pt x="232" y="919"/>
                  </a:lnTo>
                  <a:lnTo>
                    <a:pt x="220" y="926"/>
                  </a:lnTo>
                  <a:lnTo>
                    <a:pt x="220" y="926"/>
                  </a:lnTo>
                  <a:lnTo>
                    <a:pt x="199" y="926"/>
                  </a:lnTo>
                  <a:lnTo>
                    <a:pt x="182" y="935"/>
                  </a:lnTo>
                  <a:lnTo>
                    <a:pt x="90" y="942"/>
                  </a:lnTo>
                  <a:lnTo>
                    <a:pt x="69" y="947"/>
                  </a:lnTo>
                  <a:lnTo>
                    <a:pt x="59" y="947"/>
                  </a:lnTo>
                  <a:lnTo>
                    <a:pt x="69" y="942"/>
                  </a:lnTo>
                  <a:lnTo>
                    <a:pt x="52" y="942"/>
                  </a:lnTo>
                  <a:lnTo>
                    <a:pt x="59" y="893"/>
                  </a:lnTo>
                  <a:lnTo>
                    <a:pt x="69" y="893"/>
                  </a:lnTo>
                  <a:lnTo>
                    <a:pt x="69" y="864"/>
                  </a:lnTo>
                  <a:lnTo>
                    <a:pt x="90" y="848"/>
                  </a:lnTo>
                  <a:lnTo>
                    <a:pt x="97" y="848"/>
                  </a:lnTo>
                  <a:lnTo>
                    <a:pt x="97" y="836"/>
                  </a:lnTo>
                  <a:lnTo>
                    <a:pt x="114" y="831"/>
                  </a:lnTo>
                  <a:lnTo>
                    <a:pt x="140" y="831"/>
                  </a:lnTo>
                  <a:lnTo>
                    <a:pt x="161" y="831"/>
                  </a:lnTo>
                  <a:lnTo>
                    <a:pt x="166" y="791"/>
                  </a:lnTo>
                  <a:lnTo>
                    <a:pt x="177" y="791"/>
                  </a:lnTo>
                  <a:lnTo>
                    <a:pt x="166" y="775"/>
                  </a:lnTo>
                  <a:lnTo>
                    <a:pt x="140" y="782"/>
                  </a:lnTo>
                  <a:lnTo>
                    <a:pt x="140" y="770"/>
                  </a:lnTo>
                  <a:lnTo>
                    <a:pt x="140" y="704"/>
                  </a:lnTo>
                  <a:lnTo>
                    <a:pt x="123" y="704"/>
                  </a:lnTo>
                  <a:lnTo>
                    <a:pt x="107" y="687"/>
                  </a:lnTo>
                  <a:lnTo>
                    <a:pt x="76" y="683"/>
                  </a:lnTo>
                  <a:lnTo>
                    <a:pt x="52" y="666"/>
                  </a:lnTo>
                  <a:lnTo>
                    <a:pt x="31" y="616"/>
                  </a:lnTo>
                  <a:lnTo>
                    <a:pt x="0" y="576"/>
                  </a:lnTo>
                  <a:lnTo>
                    <a:pt x="114" y="609"/>
                  </a:lnTo>
                  <a:lnTo>
                    <a:pt x="166" y="609"/>
                  </a:lnTo>
                  <a:lnTo>
                    <a:pt x="166" y="609"/>
                  </a:lnTo>
                  <a:lnTo>
                    <a:pt x="166" y="609"/>
                  </a:lnTo>
                  <a:close/>
                  <a:moveTo>
                    <a:pt x="463" y="1030"/>
                  </a:moveTo>
                  <a:lnTo>
                    <a:pt x="463" y="1030"/>
                  </a:lnTo>
                  <a:lnTo>
                    <a:pt x="463" y="1030"/>
                  </a:lnTo>
                  <a:lnTo>
                    <a:pt x="463" y="1030"/>
                  </a:lnTo>
                  <a:lnTo>
                    <a:pt x="463" y="1030"/>
                  </a:lnTo>
                  <a:lnTo>
                    <a:pt x="463" y="1030"/>
                  </a:lnTo>
                  <a:close/>
                </a:path>
              </a:pathLst>
            </a:custGeom>
            <a:pattFill prst="dk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2" name="Freeform 532">
              <a:extLst>
                <a:ext uri="{FF2B5EF4-FFF2-40B4-BE49-F238E27FC236}">
                  <a16:creationId xmlns:a16="http://schemas.microsoft.com/office/drawing/2014/main" id="{46D8F802-81D7-48CF-8CA3-745E8E3C0F30}"/>
                </a:ext>
              </a:extLst>
            </p:cNvPr>
            <p:cNvSpPr>
              <a:spLocks/>
            </p:cNvSpPr>
            <p:nvPr/>
          </p:nvSpPr>
          <p:spPr bwMode="gray">
            <a:xfrm>
              <a:off x="6266032" y="2423979"/>
              <a:ext cx="347403" cy="276173"/>
            </a:xfrm>
            <a:custGeom>
              <a:avLst/>
              <a:gdLst>
                <a:gd name="T0" fmla="*/ 87 w 702"/>
                <a:gd name="T1" fmla="*/ 392 h 558"/>
                <a:gd name="T2" fmla="*/ 54 w 702"/>
                <a:gd name="T3" fmla="*/ 371 h 558"/>
                <a:gd name="T4" fmla="*/ 50 w 702"/>
                <a:gd name="T5" fmla="*/ 388 h 558"/>
                <a:gd name="T6" fmla="*/ 54 w 702"/>
                <a:gd name="T7" fmla="*/ 321 h 558"/>
                <a:gd name="T8" fmla="*/ 40 w 702"/>
                <a:gd name="T9" fmla="*/ 310 h 558"/>
                <a:gd name="T10" fmla="*/ 40 w 702"/>
                <a:gd name="T11" fmla="*/ 265 h 558"/>
                <a:gd name="T12" fmla="*/ 24 w 702"/>
                <a:gd name="T13" fmla="*/ 239 h 558"/>
                <a:gd name="T14" fmla="*/ 0 w 702"/>
                <a:gd name="T15" fmla="*/ 189 h 558"/>
                <a:gd name="T16" fmla="*/ 16 w 702"/>
                <a:gd name="T17" fmla="*/ 166 h 558"/>
                <a:gd name="T18" fmla="*/ 7 w 702"/>
                <a:gd name="T19" fmla="*/ 111 h 558"/>
                <a:gd name="T20" fmla="*/ 33 w 702"/>
                <a:gd name="T21" fmla="*/ 99 h 558"/>
                <a:gd name="T22" fmla="*/ 0 w 702"/>
                <a:gd name="T23" fmla="*/ 90 h 558"/>
                <a:gd name="T24" fmla="*/ 163 w 702"/>
                <a:gd name="T25" fmla="*/ 24 h 558"/>
                <a:gd name="T26" fmla="*/ 293 w 702"/>
                <a:gd name="T27" fmla="*/ 0 h 558"/>
                <a:gd name="T28" fmla="*/ 326 w 702"/>
                <a:gd name="T29" fmla="*/ 24 h 558"/>
                <a:gd name="T30" fmla="*/ 309 w 702"/>
                <a:gd name="T31" fmla="*/ 40 h 558"/>
                <a:gd name="T32" fmla="*/ 380 w 702"/>
                <a:gd name="T33" fmla="*/ 33 h 558"/>
                <a:gd name="T34" fmla="*/ 359 w 702"/>
                <a:gd name="T35" fmla="*/ 45 h 558"/>
                <a:gd name="T36" fmla="*/ 397 w 702"/>
                <a:gd name="T37" fmla="*/ 40 h 558"/>
                <a:gd name="T38" fmla="*/ 609 w 702"/>
                <a:gd name="T39" fmla="*/ 45 h 558"/>
                <a:gd name="T40" fmla="*/ 647 w 702"/>
                <a:gd name="T41" fmla="*/ 57 h 558"/>
                <a:gd name="T42" fmla="*/ 664 w 702"/>
                <a:gd name="T43" fmla="*/ 90 h 558"/>
                <a:gd name="T44" fmla="*/ 690 w 702"/>
                <a:gd name="T45" fmla="*/ 206 h 558"/>
                <a:gd name="T46" fmla="*/ 635 w 702"/>
                <a:gd name="T47" fmla="*/ 244 h 558"/>
                <a:gd name="T48" fmla="*/ 664 w 702"/>
                <a:gd name="T49" fmla="*/ 310 h 558"/>
                <a:gd name="T50" fmla="*/ 673 w 702"/>
                <a:gd name="T51" fmla="*/ 350 h 558"/>
                <a:gd name="T52" fmla="*/ 690 w 702"/>
                <a:gd name="T53" fmla="*/ 388 h 558"/>
                <a:gd name="T54" fmla="*/ 690 w 702"/>
                <a:gd name="T55" fmla="*/ 425 h 558"/>
                <a:gd name="T56" fmla="*/ 647 w 702"/>
                <a:gd name="T57" fmla="*/ 458 h 558"/>
                <a:gd name="T58" fmla="*/ 609 w 702"/>
                <a:gd name="T59" fmla="*/ 532 h 558"/>
                <a:gd name="T60" fmla="*/ 614 w 702"/>
                <a:gd name="T61" fmla="*/ 553 h 558"/>
                <a:gd name="T62" fmla="*/ 593 w 702"/>
                <a:gd name="T63" fmla="*/ 553 h 558"/>
                <a:gd name="T64" fmla="*/ 555 w 702"/>
                <a:gd name="T65" fmla="*/ 532 h 558"/>
                <a:gd name="T66" fmla="*/ 489 w 702"/>
                <a:gd name="T67" fmla="*/ 520 h 558"/>
                <a:gd name="T68" fmla="*/ 468 w 702"/>
                <a:gd name="T69" fmla="*/ 520 h 558"/>
                <a:gd name="T70" fmla="*/ 418 w 702"/>
                <a:gd name="T71" fmla="*/ 532 h 558"/>
                <a:gd name="T72" fmla="*/ 397 w 702"/>
                <a:gd name="T73" fmla="*/ 536 h 558"/>
                <a:gd name="T74" fmla="*/ 392 w 702"/>
                <a:gd name="T75" fmla="*/ 520 h 558"/>
                <a:gd name="T76" fmla="*/ 347 w 702"/>
                <a:gd name="T77" fmla="*/ 520 h 558"/>
                <a:gd name="T78" fmla="*/ 331 w 702"/>
                <a:gd name="T79" fmla="*/ 515 h 558"/>
                <a:gd name="T80" fmla="*/ 326 w 702"/>
                <a:gd name="T81" fmla="*/ 499 h 558"/>
                <a:gd name="T82" fmla="*/ 309 w 702"/>
                <a:gd name="T83" fmla="*/ 475 h 558"/>
                <a:gd name="T84" fmla="*/ 267 w 702"/>
                <a:gd name="T85" fmla="*/ 466 h 558"/>
                <a:gd name="T86" fmla="*/ 239 w 702"/>
                <a:gd name="T87" fmla="*/ 449 h 558"/>
                <a:gd name="T88" fmla="*/ 250 w 702"/>
                <a:gd name="T89" fmla="*/ 433 h 558"/>
                <a:gd name="T90" fmla="*/ 196 w 702"/>
                <a:gd name="T91" fmla="*/ 425 h 558"/>
                <a:gd name="T92" fmla="*/ 170 w 702"/>
                <a:gd name="T93" fmla="*/ 458 h 558"/>
                <a:gd name="T94" fmla="*/ 158 w 702"/>
                <a:gd name="T95" fmla="*/ 409 h 558"/>
                <a:gd name="T96" fmla="*/ 142 w 702"/>
                <a:gd name="T97" fmla="*/ 40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2" h="558">
                  <a:moveTo>
                    <a:pt x="142" y="404"/>
                  </a:moveTo>
                  <a:lnTo>
                    <a:pt x="87" y="392"/>
                  </a:lnTo>
                  <a:lnTo>
                    <a:pt x="71" y="371"/>
                  </a:lnTo>
                  <a:lnTo>
                    <a:pt x="54" y="371"/>
                  </a:lnTo>
                  <a:lnTo>
                    <a:pt x="54" y="388"/>
                  </a:lnTo>
                  <a:lnTo>
                    <a:pt x="50" y="388"/>
                  </a:lnTo>
                  <a:lnTo>
                    <a:pt x="61" y="350"/>
                  </a:lnTo>
                  <a:lnTo>
                    <a:pt x="54" y="321"/>
                  </a:lnTo>
                  <a:lnTo>
                    <a:pt x="40" y="321"/>
                  </a:lnTo>
                  <a:lnTo>
                    <a:pt x="40" y="310"/>
                  </a:lnTo>
                  <a:lnTo>
                    <a:pt x="33" y="293"/>
                  </a:lnTo>
                  <a:lnTo>
                    <a:pt x="40" y="265"/>
                  </a:lnTo>
                  <a:lnTo>
                    <a:pt x="40" y="255"/>
                  </a:lnTo>
                  <a:lnTo>
                    <a:pt x="24" y="239"/>
                  </a:lnTo>
                  <a:lnTo>
                    <a:pt x="33" y="222"/>
                  </a:lnTo>
                  <a:lnTo>
                    <a:pt x="0" y="189"/>
                  </a:lnTo>
                  <a:lnTo>
                    <a:pt x="0" y="182"/>
                  </a:lnTo>
                  <a:lnTo>
                    <a:pt x="16" y="166"/>
                  </a:lnTo>
                  <a:lnTo>
                    <a:pt x="16" y="144"/>
                  </a:lnTo>
                  <a:lnTo>
                    <a:pt x="7" y="111"/>
                  </a:lnTo>
                  <a:lnTo>
                    <a:pt x="24" y="111"/>
                  </a:lnTo>
                  <a:lnTo>
                    <a:pt x="33" y="99"/>
                  </a:lnTo>
                  <a:lnTo>
                    <a:pt x="0" y="95"/>
                  </a:lnTo>
                  <a:lnTo>
                    <a:pt x="0" y="90"/>
                  </a:lnTo>
                  <a:lnTo>
                    <a:pt x="142" y="57"/>
                  </a:lnTo>
                  <a:lnTo>
                    <a:pt x="163" y="24"/>
                  </a:lnTo>
                  <a:lnTo>
                    <a:pt x="267" y="0"/>
                  </a:lnTo>
                  <a:lnTo>
                    <a:pt x="293" y="0"/>
                  </a:lnTo>
                  <a:lnTo>
                    <a:pt x="321" y="17"/>
                  </a:lnTo>
                  <a:lnTo>
                    <a:pt x="326" y="24"/>
                  </a:lnTo>
                  <a:lnTo>
                    <a:pt x="293" y="7"/>
                  </a:lnTo>
                  <a:lnTo>
                    <a:pt x="309" y="40"/>
                  </a:lnTo>
                  <a:lnTo>
                    <a:pt x="326" y="45"/>
                  </a:lnTo>
                  <a:lnTo>
                    <a:pt x="380" y="33"/>
                  </a:lnTo>
                  <a:lnTo>
                    <a:pt x="392" y="40"/>
                  </a:lnTo>
                  <a:lnTo>
                    <a:pt x="359" y="45"/>
                  </a:lnTo>
                  <a:lnTo>
                    <a:pt x="364" y="57"/>
                  </a:lnTo>
                  <a:lnTo>
                    <a:pt x="397" y="40"/>
                  </a:lnTo>
                  <a:lnTo>
                    <a:pt x="510" y="45"/>
                  </a:lnTo>
                  <a:lnTo>
                    <a:pt x="609" y="45"/>
                  </a:lnTo>
                  <a:lnTo>
                    <a:pt x="619" y="40"/>
                  </a:lnTo>
                  <a:lnTo>
                    <a:pt x="647" y="57"/>
                  </a:lnTo>
                  <a:lnTo>
                    <a:pt x="652" y="73"/>
                  </a:lnTo>
                  <a:lnTo>
                    <a:pt x="664" y="90"/>
                  </a:lnTo>
                  <a:lnTo>
                    <a:pt x="690" y="173"/>
                  </a:lnTo>
                  <a:lnTo>
                    <a:pt x="690" y="206"/>
                  </a:lnTo>
                  <a:lnTo>
                    <a:pt x="652" y="227"/>
                  </a:lnTo>
                  <a:lnTo>
                    <a:pt x="635" y="244"/>
                  </a:lnTo>
                  <a:lnTo>
                    <a:pt x="668" y="265"/>
                  </a:lnTo>
                  <a:lnTo>
                    <a:pt x="664" y="310"/>
                  </a:lnTo>
                  <a:lnTo>
                    <a:pt x="668" y="321"/>
                  </a:lnTo>
                  <a:lnTo>
                    <a:pt x="673" y="350"/>
                  </a:lnTo>
                  <a:lnTo>
                    <a:pt x="702" y="388"/>
                  </a:lnTo>
                  <a:lnTo>
                    <a:pt x="690" y="388"/>
                  </a:lnTo>
                  <a:lnTo>
                    <a:pt x="702" y="409"/>
                  </a:lnTo>
                  <a:lnTo>
                    <a:pt x="690" y="425"/>
                  </a:lnTo>
                  <a:lnTo>
                    <a:pt x="673" y="425"/>
                  </a:lnTo>
                  <a:lnTo>
                    <a:pt x="647" y="458"/>
                  </a:lnTo>
                  <a:lnTo>
                    <a:pt x="598" y="503"/>
                  </a:lnTo>
                  <a:lnTo>
                    <a:pt x="609" y="532"/>
                  </a:lnTo>
                  <a:lnTo>
                    <a:pt x="598" y="541"/>
                  </a:lnTo>
                  <a:lnTo>
                    <a:pt x="614" y="553"/>
                  </a:lnTo>
                  <a:lnTo>
                    <a:pt x="614" y="558"/>
                  </a:lnTo>
                  <a:lnTo>
                    <a:pt x="593" y="553"/>
                  </a:lnTo>
                  <a:lnTo>
                    <a:pt x="555" y="536"/>
                  </a:lnTo>
                  <a:lnTo>
                    <a:pt x="555" y="532"/>
                  </a:lnTo>
                  <a:lnTo>
                    <a:pt x="527" y="520"/>
                  </a:lnTo>
                  <a:lnTo>
                    <a:pt x="489" y="520"/>
                  </a:lnTo>
                  <a:lnTo>
                    <a:pt x="472" y="532"/>
                  </a:lnTo>
                  <a:lnTo>
                    <a:pt x="468" y="520"/>
                  </a:lnTo>
                  <a:lnTo>
                    <a:pt x="435" y="520"/>
                  </a:lnTo>
                  <a:lnTo>
                    <a:pt x="418" y="532"/>
                  </a:lnTo>
                  <a:lnTo>
                    <a:pt x="413" y="541"/>
                  </a:lnTo>
                  <a:lnTo>
                    <a:pt x="397" y="536"/>
                  </a:lnTo>
                  <a:lnTo>
                    <a:pt x="397" y="520"/>
                  </a:lnTo>
                  <a:lnTo>
                    <a:pt x="392" y="520"/>
                  </a:lnTo>
                  <a:lnTo>
                    <a:pt x="376" y="503"/>
                  </a:lnTo>
                  <a:lnTo>
                    <a:pt x="347" y="520"/>
                  </a:lnTo>
                  <a:lnTo>
                    <a:pt x="342" y="520"/>
                  </a:lnTo>
                  <a:lnTo>
                    <a:pt x="331" y="515"/>
                  </a:lnTo>
                  <a:lnTo>
                    <a:pt x="326" y="515"/>
                  </a:lnTo>
                  <a:lnTo>
                    <a:pt x="326" y="499"/>
                  </a:lnTo>
                  <a:lnTo>
                    <a:pt x="309" y="487"/>
                  </a:lnTo>
                  <a:lnTo>
                    <a:pt x="309" y="475"/>
                  </a:lnTo>
                  <a:lnTo>
                    <a:pt x="272" y="458"/>
                  </a:lnTo>
                  <a:lnTo>
                    <a:pt x="267" y="466"/>
                  </a:lnTo>
                  <a:lnTo>
                    <a:pt x="250" y="458"/>
                  </a:lnTo>
                  <a:lnTo>
                    <a:pt x="239" y="449"/>
                  </a:lnTo>
                  <a:lnTo>
                    <a:pt x="250" y="442"/>
                  </a:lnTo>
                  <a:lnTo>
                    <a:pt x="250" y="433"/>
                  </a:lnTo>
                  <a:lnTo>
                    <a:pt x="224" y="442"/>
                  </a:lnTo>
                  <a:lnTo>
                    <a:pt x="196" y="425"/>
                  </a:lnTo>
                  <a:lnTo>
                    <a:pt x="201" y="442"/>
                  </a:lnTo>
                  <a:lnTo>
                    <a:pt x="170" y="458"/>
                  </a:lnTo>
                  <a:lnTo>
                    <a:pt x="142" y="425"/>
                  </a:lnTo>
                  <a:lnTo>
                    <a:pt x="158" y="409"/>
                  </a:lnTo>
                  <a:lnTo>
                    <a:pt x="142" y="404"/>
                  </a:lnTo>
                  <a:lnTo>
                    <a:pt x="142" y="404"/>
                  </a:lnTo>
                  <a:lnTo>
                    <a:pt x="142" y="404"/>
                  </a:lnTo>
                  <a:close/>
                </a:path>
              </a:pathLst>
            </a:custGeom>
            <a:pattFill prst="lt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3" name="Freeform 533">
              <a:extLst>
                <a:ext uri="{FF2B5EF4-FFF2-40B4-BE49-F238E27FC236}">
                  <a16:creationId xmlns:a16="http://schemas.microsoft.com/office/drawing/2014/main" id="{541F41EF-B865-48EC-BD81-01C6B1840C76}"/>
                </a:ext>
              </a:extLst>
            </p:cNvPr>
            <p:cNvSpPr>
              <a:spLocks noEditPoints="1"/>
            </p:cNvSpPr>
            <p:nvPr/>
          </p:nvSpPr>
          <p:spPr bwMode="gray">
            <a:xfrm>
              <a:off x="2892456" y="4259682"/>
              <a:ext cx="203395" cy="84138"/>
            </a:xfrm>
            <a:custGeom>
              <a:avLst/>
              <a:gdLst>
                <a:gd name="T0" fmla="*/ 4 w 411"/>
                <a:gd name="T1" fmla="*/ 94 h 170"/>
                <a:gd name="T2" fmla="*/ 16 w 411"/>
                <a:gd name="T3" fmla="*/ 78 h 170"/>
                <a:gd name="T4" fmla="*/ 21 w 411"/>
                <a:gd name="T5" fmla="*/ 45 h 170"/>
                <a:gd name="T6" fmla="*/ 4 w 411"/>
                <a:gd name="T7" fmla="*/ 5 h 170"/>
                <a:gd name="T8" fmla="*/ 33 w 411"/>
                <a:gd name="T9" fmla="*/ 5 h 170"/>
                <a:gd name="T10" fmla="*/ 42 w 411"/>
                <a:gd name="T11" fmla="*/ 16 h 170"/>
                <a:gd name="T12" fmla="*/ 87 w 411"/>
                <a:gd name="T13" fmla="*/ 45 h 170"/>
                <a:gd name="T14" fmla="*/ 108 w 411"/>
                <a:gd name="T15" fmla="*/ 54 h 170"/>
                <a:gd name="T16" fmla="*/ 205 w 411"/>
                <a:gd name="T17" fmla="*/ 28 h 170"/>
                <a:gd name="T18" fmla="*/ 286 w 411"/>
                <a:gd name="T19" fmla="*/ 5 h 170"/>
                <a:gd name="T20" fmla="*/ 314 w 411"/>
                <a:gd name="T21" fmla="*/ 16 h 170"/>
                <a:gd name="T22" fmla="*/ 385 w 411"/>
                <a:gd name="T23" fmla="*/ 61 h 170"/>
                <a:gd name="T24" fmla="*/ 394 w 411"/>
                <a:gd name="T25" fmla="*/ 78 h 170"/>
                <a:gd name="T26" fmla="*/ 411 w 411"/>
                <a:gd name="T27" fmla="*/ 116 h 170"/>
                <a:gd name="T28" fmla="*/ 401 w 411"/>
                <a:gd name="T29" fmla="*/ 137 h 170"/>
                <a:gd name="T30" fmla="*/ 368 w 411"/>
                <a:gd name="T31" fmla="*/ 132 h 170"/>
                <a:gd name="T32" fmla="*/ 368 w 411"/>
                <a:gd name="T33" fmla="*/ 153 h 170"/>
                <a:gd name="T34" fmla="*/ 340 w 411"/>
                <a:gd name="T35" fmla="*/ 149 h 170"/>
                <a:gd name="T36" fmla="*/ 340 w 411"/>
                <a:gd name="T37" fmla="*/ 111 h 170"/>
                <a:gd name="T38" fmla="*/ 347 w 411"/>
                <a:gd name="T39" fmla="*/ 82 h 170"/>
                <a:gd name="T40" fmla="*/ 368 w 411"/>
                <a:gd name="T41" fmla="*/ 99 h 170"/>
                <a:gd name="T42" fmla="*/ 347 w 411"/>
                <a:gd name="T43" fmla="*/ 82 h 170"/>
                <a:gd name="T44" fmla="*/ 314 w 411"/>
                <a:gd name="T45" fmla="*/ 71 h 170"/>
                <a:gd name="T46" fmla="*/ 286 w 411"/>
                <a:gd name="T47" fmla="*/ 28 h 170"/>
                <a:gd name="T48" fmla="*/ 248 w 411"/>
                <a:gd name="T49" fmla="*/ 45 h 170"/>
                <a:gd name="T50" fmla="*/ 231 w 411"/>
                <a:gd name="T51" fmla="*/ 54 h 170"/>
                <a:gd name="T52" fmla="*/ 217 w 411"/>
                <a:gd name="T53" fmla="*/ 82 h 170"/>
                <a:gd name="T54" fmla="*/ 184 w 411"/>
                <a:gd name="T55" fmla="*/ 111 h 170"/>
                <a:gd name="T56" fmla="*/ 193 w 411"/>
                <a:gd name="T57" fmla="*/ 153 h 170"/>
                <a:gd name="T58" fmla="*/ 146 w 411"/>
                <a:gd name="T59" fmla="*/ 170 h 170"/>
                <a:gd name="T60" fmla="*/ 139 w 411"/>
                <a:gd name="T61" fmla="*/ 127 h 170"/>
                <a:gd name="T62" fmla="*/ 130 w 411"/>
                <a:gd name="T63" fmla="*/ 137 h 170"/>
                <a:gd name="T64" fmla="*/ 92 w 411"/>
                <a:gd name="T65" fmla="*/ 99 h 170"/>
                <a:gd name="T66" fmla="*/ 54 w 411"/>
                <a:gd name="T67" fmla="*/ 94 h 170"/>
                <a:gd name="T68" fmla="*/ 16 w 411"/>
                <a:gd name="T69" fmla="*/ 94 h 170"/>
                <a:gd name="T70" fmla="*/ 4 w 411"/>
                <a:gd name="T71" fmla="*/ 111 h 170"/>
                <a:gd name="T72" fmla="*/ 54 w 411"/>
                <a:gd name="T73" fmla="*/ 16 h 170"/>
                <a:gd name="T74" fmla="*/ 54 w 411"/>
                <a:gd name="T75" fmla="*/ 16 h 170"/>
                <a:gd name="T76" fmla="*/ 54 w 411"/>
                <a:gd name="T77" fmla="*/ 16 h 170"/>
                <a:gd name="T78" fmla="*/ 293 w 411"/>
                <a:gd name="T79" fmla="*/ 82 h 170"/>
                <a:gd name="T80" fmla="*/ 293 w 411"/>
                <a:gd name="T81" fmla="*/ 94 h 170"/>
                <a:gd name="T82" fmla="*/ 293 w 411"/>
                <a:gd name="T83" fmla="*/ 82 h 170"/>
                <a:gd name="T84" fmla="*/ 293 w 411"/>
                <a:gd name="T85" fmla="*/ 82 h 170"/>
                <a:gd name="T86" fmla="*/ 92 w 411"/>
                <a:gd name="T87" fmla="*/ 153 h 170"/>
                <a:gd name="T88" fmla="*/ 87 w 411"/>
                <a:gd name="T89" fmla="*/ 153 h 170"/>
                <a:gd name="T90" fmla="*/ 92 w 411"/>
                <a:gd name="T91" fmla="*/ 137 h 170"/>
                <a:gd name="T92" fmla="*/ 92 w 411"/>
                <a:gd name="T93" fmla="*/ 13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1" h="170">
                  <a:moveTo>
                    <a:pt x="4" y="111"/>
                  </a:moveTo>
                  <a:lnTo>
                    <a:pt x="4" y="94"/>
                  </a:lnTo>
                  <a:lnTo>
                    <a:pt x="0" y="94"/>
                  </a:lnTo>
                  <a:lnTo>
                    <a:pt x="16" y="78"/>
                  </a:lnTo>
                  <a:lnTo>
                    <a:pt x="4" y="61"/>
                  </a:lnTo>
                  <a:lnTo>
                    <a:pt x="21" y="45"/>
                  </a:lnTo>
                  <a:lnTo>
                    <a:pt x="4" y="38"/>
                  </a:lnTo>
                  <a:lnTo>
                    <a:pt x="4" y="5"/>
                  </a:lnTo>
                  <a:lnTo>
                    <a:pt x="16" y="0"/>
                  </a:lnTo>
                  <a:lnTo>
                    <a:pt x="33" y="5"/>
                  </a:lnTo>
                  <a:lnTo>
                    <a:pt x="33" y="0"/>
                  </a:lnTo>
                  <a:lnTo>
                    <a:pt x="42" y="16"/>
                  </a:lnTo>
                  <a:lnTo>
                    <a:pt x="54" y="45"/>
                  </a:lnTo>
                  <a:lnTo>
                    <a:pt x="87" y="45"/>
                  </a:lnTo>
                  <a:lnTo>
                    <a:pt x="87" y="28"/>
                  </a:lnTo>
                  <a:lnTo>
                    <a:pt x="108" y="54"/>
                  </a:lnTo>
                  <a:lnTo>
                    <a:pt x="130" y="61"/>
                  </a:lnTo>
                  <a:lnTo>
                    <a:pt x="205" y="28"/>
                  </a:lnTo>
                  <a:lnTo>
                    <a:pt x="238" y="0"/>
                  </a:lnTo>
                  <a:lnTo>
                    <a:pt x="286" y="5"/>
                  </a:lnTo>
                  <a:lnTo>
                    <a:pt x="276" y="16"/>
                  </a:lnTo>
                  <a:lnTo>
                    <a:pt x="314" y="16"/>
                  </a:lnTo>
                  <a:lnTo>
                    <a:pt x="356" y="21"/>
                  </a:lnTo>
                  <a:lnTo>
                    <a:pt x="385" y="61"/>
                  </a:lnTo>
                  <a:lnTo>
                    <a:pt x="401" y="71"/>
                  </a:lnTo>
                  <a:lnTo>
                    <a:pt x="394" y="78"/>
                  </a:lnTo>
                  <a:lnTo>
                    <a:pt x="411" y="111"/>
                  </a:lnTo>
                  <a:lnTo>
                    <a:pt x="411" y="116"/>
                  </a:lnTo>
                  <a:lnTo>
                    <a:pt x="401" y="132"/>
                  </a:lnTo>
                  <a:lnTo>
                    <a:pt x="401" y="137"/>
                  </a:lnTo>
                  <a:lnTo>
                    <a:pt x="385" y="149"/>
                  </a:lnTo>
                  <a:lnTo>
                    <a:pt x="368" y="132"/>
                  </a:lnTo>
                  <a:lnTo>
                    <a:pt x="368" y="149"/>
                  </a:lnTo>
                  <a:lnTo>
                    <a:pt x="368" y="153"/>
                  </a:lnTo>
                  <a:lnTo>
                    <a:pt x="364" y="170"/>
                  </a:lnTo>
                  <a:lnTo>
                    <a:pt x="340" y="149"/>
                  </a:lnTo>
                  <a:lnTo>
                    <a:pt x="323" y="111"/>
                  </a:lnTo>
                  <a:lnTo>
                    <a:pt x="340" y="111"/>
                  </a:lnTo>
                  <a:lnTo>
                    <a:pt x="330" y="94"/>
                  </a:lnTo>
                  <a:lnTo>
                    <a:pt x="347" y="82"/>
                  </a:lnTo>
                  <a:lnTo>
                    <a:pt x="356" y="94"/>
                  </a:lnTo>
                  <a:lnTo>
                    <a:pt x="368" y="99"/>
                  </a:lnTo>
                  <a:lnTo>
                    <a:pt x="356" y="94"/>
                  </a:lnTo>
                  <a:lnTo>
                    <a:pt x="347" y="82"/>
                  </a:lnTo>
                  <a:lnTo>
                    <a:pt x="323" y="94"/>
                  </a:lnTo>
                  <a:lnTo>
                    <a:pt x="314" y="71"/>
                  </a:lnTo>
                  <a:lnTo>
                    <a:pt x="276" y="45"/>
                  </a:lnTo>
                  <a:lnTo>
                    <a:pt x="286" y="28"/>
                  </a:lnTo>
                  <a:lnTo>
                    <a:pt x="276" y="38"/>
                  </a:lnTo>
                  <a:lnTo>
                    <a:pt x="248" y="45"/>
                  </a:lnTo>
                  <a:lnTo>
                    <a:pt x="248" y="45"/>
                  </a:lnTo>
                  <a:lnTo>
                    <a:pt x="231" y="54"/>
                  </a:lnTo>
                  <a:lnTo>
                    <a:pt x="231" y="71"/>
                  </a:lnTo>
                  <a:lnTo>
                    <a:pt x="217" y="82"/>
                  </a:lnTo>
                  <a:lnTo>
                    <a:pt x="179" y="99"/>
                  </a:lnTo>
                  <a:lnTo>
                    <a:pt x="184" y="111"/>
                  </a:lnTo>
                  <a:lnTo>
                    <a:pt x="217" y="149"/>
                  </a:lnTo>
                  <a:lnTo>
                    <a:pt x="193" y="153"/>
                  </a:lnTo>
                  <a:lnTo>
                    <a:pt x="184" y="170"/>
                  </a:lnTo>
                  <a:lnTo>
                    <a:pt x="146" y="170"/>
                  </a:lnTo>
                  <a:lnTo>
                    <a:pt x="151" y="165"/>
                  </a:lnTo>
                  <a:lnTo>
                    <a:pt x="139" y="127"/>
                  </a:lnTo>
                  <a:lnTo>
                    <a:pt x="130" y="127"/>
                  </a:lnTo>
                  <a:lnTo>
                    <a:pt x="130" y="137"/>
                  </a:lnTo>
                  <a:lnTo>
                    <a:pt x="108" y="137"/>
                  </a:lnTo>
                  <a:lnTo>
                    <a:pt x="92" y="99"/>
                  </a:lnTo>
                  <a:lnTo>
                    <a:pt x="59" y="99"/>
                  </a:lnTo>
                  <a:lnTo>
                    <a:pt x="54" y="94"/>
                  </a:lnTo>
                  <a:lnTo>
                    <a:pt x="21" y="94"/>
                  </a:lnTo>
                  <a:lnTo>
                    <a:pt x="16" y="94"/>
                  </a:lnTo>
                  <a:lnTo>
                    <a:pt x="4" y="111"/>
                  </a:lnTo>
                  <a:lnTo>
                    <a:pt x="4" y="111"/>
                  </a:lnTo>
                  <a:lnTo>
                    <a:pt x="4" y="111"/>
                  </a:lnTo>
                  <a:close/>
                  <a:moveTo>
                    <a:pt x="54" y="16"/>
                  </a:moveTo>
                  <a:lnTo>
                    <a:pt x="54" y="21"/>
                  </a:lnTo>
                  <a:lnTo>
                    <a:pt x="54" y="16"/>
                  </a:lnTo>
                  <a:lnTo>
                    <a:pt x="54" y="16"/>
                  </a:lnTo>
                  <a:lnTo>
                    <a:pt x="54" y="16"/>
                  </a:lnTo>
                  <a:lnTo>
                    <a:pt x="54" y="16"/>
                  </a:lnTo>
                  <a:close/>
                  <a:moveTo>
                    <a:pt x="293" y="82"/>
                  </a:moveTo>
                  <a:lnTo>
                    <a:pt x="293" y="94"/>
                  </a:lnTo>
                  <a:lnTo>
                    <a:pt x="293" y="94"/>
                  </a:lnTo>
                  <a:lnTo>
                    <a:pt x="286" y="82"/>
                  </a:lnTo>
                  <a:lnTo>
                    <a:pt x="293" y="82"/>
                  </a:lnTo>
                  <a:lnTo>
                    <a:pt x="293" y="82"/>
                  </a:lnTo>
                  <a:lnTo>
                    <a:pt x="293" y="82"/>
                  </a:lnTo>
                  <a:close/>
                  <a:moveTo>
                    <a:pt x="92" y="137"/>
                  </a:moveTo>
                  <a:lnTo>
                    <a:pt x="92" y="153"/>
                  </a:lnTo>
                  <a:lnTo>
                    <a:pt x="97" y="165"/>
                  </a:lnTo>
                  <a:lnTo>
                    <a:pt x="87" y="153"/>
                  </a:lnTo>
                  <a:lnTo>
                    <a:pt x="87" y="149"/>
                  </a:lnTo>
                  <a:lnTo>
                    <a:pt x="92" y="137"/>
                  </a:lnTo>
                  <a:lnTo>
                    <a:pt x="92" y="137"/>
                  </a:lnTo>
                  <a:lnTo>
                    <a:pt x="92" y="137"/>
                  </a:lnTo>
                  <a:close/>
                </a:path>
              </a:pathLst>
            </a:custGeom>
            <a:pattFill prst="dk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4" name="Freeform 534">
              <a:extLst>
                <a:ext uri="{FF2B5EF4-FFF2-40B4-BE49-F238E27FC236}">
                  <a16:creationId xmlns:a16="http://schemas.microsoft.com/office/drawing/2014/main" id="{89EA001E-F513-4D57-88B4-90C4C316EBB5}"/>
                </a:ext>
              </a:extLst>
            </p:cNvPr>
            <p:cNvSpPr>
              <a:spLocks noEditPoints="1"/>
            </p:cNvSpPr>
            <p:nvPr/>
          </p:nvSpPr>
          <p:spPr bwMode="gray">
            <a:xfrm>
              <a:off x="4691334" y="3004039"/>
              <a:ext cx="869993" cy="390501"/>
            </a:xfrm>
            <a:custGeom>
              <a:avLst/>
              <a:gdLst>
                <a:gd name="T0" fmla="*/ 1613 w 1758"/>
                <a:gd name="T1" fmla="*/ 0 h 789"/>
                <a:gd name="T2" fmla="*/ 1613 w 1758"/>
                <a:gd name="T3" fmla="*/ 28 h 789"/>
                <a:gd name="T4" fmla="*/ 1651 w 1758"/>
                <a:gd name="T5" fmla="*/ 28 h 789"/>
                <a:gd name="T6" fmla="*/ 1689 w 1758"/>
                <a:gd name="T7" fmla="*/ 28 h 789"/>
                <a:gd name="T8" fmla="*/ 1727 w 1758"/>
                <a:gd name="T9" fmla="*/ 16 h 789"/>
                <a:gd name="T10" fmla="*/ 1758 w 1758"/>
                <a:gd name="T11" fmla="*/ 49 h 789"/>
                <a:gd name="T12" fmla="*/ 1703 w 1758"/>
                <a:gd name="T13" fmla="*/ 99 h 789"/>
                <a:gd name="T14" fmla="*/ 1710 w 1758"/>
                <a:gd name="T15" fmla="*/ 144 h 789"/>
                <a:gd name="T16" fmla="*/ 1703 w 1758"/>
                <a:gd name="T17" fmla="*/ 165 h 789"/>
                <a:gd name="T18" fmla="*/ 1710 w 1758"/>
                <a:gd name="T19" fmla="*/ 182 h 789"/>
                <a:gd name="T20" fmla="*/ 1665 w 1758"/>
                <a:gd name="T21" fmla="*/ 215 h 789"/>
                <a:gd name="T22" fmla="*/ 1703 w 1758"/>
                <a:gd name="T23" fmla="*/ 272 h 789"/>
                <a:gd name="T24" fmla="*/ 1673 w 1758"/>
                <a:gd name="T25" fmla="*/ 321 h 789"/>
                <a:gd name="T26" fmla="*/ 1703 w 1758"/>
                <a:gd name="T27" fmla="*/ 342 h 789"/>
                <a:gd name="T28" fmla="*/ 1677 w 1758"/>
                <a:gd name="T29" fmla="*/ 359 h 789"/>
                <a:gd name="T30" fmla="*/ 1665 w 1758"/>
                <a:gd name="T31" fmla="*/ 387 h 789"/>
                <a:gd name="T32" fmla="*/ 1673 w 1758"/>
                <a:gd name="T33" fmla="*/ 420 h 789"/>
                <a:gd name="T34" fmla="*/ 1580 w 1758"/>
                <a:gd name="T35" fmla="*/ 432 h 789"/>
                <a:gd name="T36" fmla="*/ 1569 w 1758"/>
                <a:gd name="T37" fmla="*/ 404 h 789"/>
                <a:gd name="T38" fmla="*/ 1580 w 1758"/>
                <a:gd name="T39" fmla="*/ 321 h 789"/>
                <a:gd name="T40" fmla="*/ 1547 w 1758"/>
                <a:gd name="T41" fmla="*/ 321 h 789"/>
                <a:gd name="T42" fmla="*/ 1547 w 1758"/>
                <a:gd name="T43" fmla="*/ 305 h 789"/>
                <a:gd name="T44" fmla="*/ 1559 w 1758"/>
                <a:gd name="T45" fmla="*/ 276 h 789"/>
                <a:gd name="T46" fmla="*/ 1526 w 1758"/>
                <a:gd name="T47" fmla="*/ 293 h 789"/>
                <a:gd name="T48" fmla="*/ 1547 w 1758"/>
                <a:gd name="T49" fmla="*/ 222 h 789"/>
                <a:gd name="T50" fmla="*/ 1580 w 1758"/>
                <a:gd name="T51" fmla="*/ 127 h 789"/>
                <a:gd name="T52" fmla="*/ 1580 w 1758"/>
                <a:gd name="T53" fmla="*/ 127 h 789"/>
                <a:gd name="T54" fmla="*/ 1564 w 1758"/>
                <a:gd name="T55" fmla="*/ 33 h 789"/>
                <a:gd name="T56" fmla="*/ 1569 w 1758"/>
                <a:gd name="T57" fmla="*/ 16 h 789"/>
                <a:gd name="T58" fmla="*/ 0 w 1758"/>
                <a:gd name="T59" fmla="*/ 238 h 789"/>
                <a:gd name="T60" fmla="*/ 0 w 1758"/>
                <a:gd name="T61" fmla="*/ 231 h 789"/>
                <a:gd name="T62" fmla="*/ 0 w 1758"/>
                <a:gd name="T63" fmla="*/ 238 h 789"/>
                <a:gd name="T64" fmla="*/ 0 w 1758"/>
                <a:gd name="T65" fmla="*/ 238 h 789"/>
                <a:gd name="T66" fmla="*/ 269 w 1758"/>
                <a:gd name="T67" fmla="*/ 305 h 789"/>
                <a:gd name="T68" fmla="*/ 291 w 1758"/>
                <a:gd name="T69" fmla="*/ 293 h 789"/>
                <a:gd name="T70" fmla="*/ 286 w 1758"/>
                <a:gd name="T71" fmla="*/ 305 h 789"/>
                <a:gd name="T72" fmla="*/ 286 w 1758"/>
                <a:gd name="T73" fmla="*/ 305 h 789"/>
                <a:gd name="T74" fmla="*/ 194 w 1758"/>
                <a:gd name="T75" fmla="*/ 321 h 789"/>
                <a:gd name="T76" fmla="*/ 199 w 1758"/>
                <a:gd name="T77" fmla="*/ 309 h 789"/>
                <a:gd name="T78" fmla="*/ 203 w 1758"/>
                <a:gd name="T79" fmla="*/ 326 h 789"/>
                <a:gd name="T80" fmla="*/ 203 w 1758"/>
                <a:gd name="T81" fmla="*/ 326 h 789"/>
                <a:gd name="T82" fmla="*/ 383 w 1758"/>
                <a:gd name="T83" fmla="*/ 375 h 789"/>
                <a:gd name="T84" fmla="*/ 421 w 1758"/>
                <a:gd name="T85" fmla="*/ 364 h 789"/>
                <a:gd name="T86" fmla="*/ 409 w 1758"/>
                <a:gd name="T87" fmla="*/ 380 h 789"/>
                <a:gd name="T88" fmla="*/ 409 w 1758"/>
                <a:gd name="T89" fmla="*/ 380 h 789"/>
                <a:gd name="T90" fmla="*/ 421 w 1758"/>
                <a:gd name="T91" fmla="*/ 437 h 789"/>
                <a:gd name="T92" fmla="*/ 437 w 1758"/>
                <a:gd name="T93" fmla="*/ 442 h 789"/>
                <a:gd name="T94" fmla="*/ 437 w 1758"/>
                <a:gd name="T95" fmla="*/ 442 h 789"/>
                <a:gd name="T96" fmla="*/ 976 w 1758"/>
                <a:gd name="T97" fmla="*/ 772 h 789"/>
                <a:gd name="T98" fmla="*/ 1018 w 1758"/>
                <a:gd name="T99" fmla="*/ 784 h 789"/>
                <a:gd name="T100" fmla="*/ 1002 w 1758"/>
                <a:gd name="T101" fmla="*/ 789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58" h="789">
                  <a:moveTo>
                    <a:pt x="1569" y="16"/>
                  </a:moveTo>
                  <a:lnTo>
                    <a:pt x="1613" y="0"/>
                  </a:lnTo>
                  <a:lnTo>
                    <a:pt x="1623" y="12"/>
                  </a:lnTo>
                  <a:lnTo>
                    <a:pt x="1613" y="28"/>
                  </a:lnTo>
                  <a:lnTo>
                    <a:pt x="1618" y="33"/>
                  </a:lnTo>
                  <a:lnTo>
                    <a:pt x="1651" y="28"/>
                  </a:lnTo>
                  <a:lnTo>
                    <a:pt x="1673" y="33"/>
                  </a:lnTo>
                  <a:lnTo>
                    <a:pt x="1689" y="28"/>
                  </a:lnTo>
                  <a:lnTo>
                    <a:pt x="1689" y="16"/>
                  </a:lnTo>
                  <a:lnTo>
                    <a:pt x="1727" y="16"/>
                  </a:lnTo>
                  <a:lnTo>
                    <a:pt x="1732" y="45"/>
                  </a:lnTo>
                  <a:lnTo>
                    <a:pt x="1758" y="49"/>
                  </a:lnTo>
                  <a:lnTo>
                    <a:pt x="1741" y="73"/>
                  </a:lnTo>
                  <a:lnTo>
                    <a:pt x="1703" y="99"/>
                  </a:lnTo>
                  <a:lnTo>
                    <a:pt x="1710" y="111"/>
                  </a:lnTo>
                  <a:lnTo>
                    <a:pt x="1710" y="144"/>
                  </a:lnTo>
                  <a:lnTo>
                    <a:pt x="1710" y="160"/>
                  </a:lnTo>
                  <a:lnTo>
                    <a:pt x="1703" y="165"/>
                  </a:lnTo>
                  <a:lnTo>
                    <a:pt x="1694" y="177"/>
                  </a:lnTo>
                  <a:lnTo>
                    <a:pt x="1710" y="182"/>
                  </a:lnTo>
                  <a:lnTo>
                    <a:pt x="1694" y="215"/>
                  </a:lnTo>
                  <a:lnTo>
                    <a:pt x="1665" y="215"/>
                  </a:lnTo>
                  <a:lnTo>
                    <a:pt x="1677" y="255"/>
                  </a:lnTo>
                  <a:lnTo>
                    <a:pt x="1703" y="272"/>
                  </a:lnTo>
                  <a:lnTo>
                    <a:pt x="1677" y="293"/>
                  </a:lnTo>
                  <a:lnTo>
                    <a:pt x="1673" y="321"/>
                  </a:lnTo>
                  <a:lnTo>
                    <a:pt x="1694" y="342"/>
                  </a:lnTo>
                  <a:lnTo>
                    <a:pt x="1703" y="342"/>
                  </a:lnTo>
                  <a:lnTo>
                    <a:pt x="1694" y="347"/>
                  </a:lnTo>
                  <a:lnTo>
                    <a:pt x="1677" y="359"/>
                  </a:lnTo>
                  <a:lnTo>
                    <a:pt x="1665" y="380"/>
                  </a:lnTo>
                  <a:lnTo>
                    <a:pt x="1665" y="387"/>
                  </a:lnTo>
                  <a:lnTo>
                    <a:pt x="1665" y="420"/>
                  </a:lnTo>
                  <a:lnTo>
                    <a:pt x="1673" y="420"/>
                  </a:lnTo>
                  <a:lnTo>
                    <a:pt x="1635" y="437"/>
                  </a:lnTo>
                  <a:lnTo>
                    <a:pt x="1580" y="432"/>
                  </a:lnTo>
                  <a:lnTo>
                    <a:pt x="1559" y="437"/>
                  </a:lnTo>
                  <a:lnTo>
                    <a:pt x="1569" y="404"/>
                  </a:lnTo>
                  <a:lnTo>
                    <a:pt x="1569" y="326"/>
                  </a:lnTo>
                  <a:lnTo>
                    <a:pt x="1580" y="321"/>
                  </a:lnTo>
                  <a:lnTo>
                    <a:pt x="1569" y="309"/>
                  </a:lnTo>
                  <a:lnTo>
                    <a:pt x="1547" y="321"/>
                  </a:lnTo>
                  <a:lnTo>
                    <a:pt x="1543" y="305"/>
                  </a:lnTo>
                  <a:lnTo>
                    <a:pt x="1547" y="305"/>
                  </a:lnTo>
                  <a:lnTo>
                    <a:pt x="1564" y="293"/>
                  </a:lnTo>
                  <a:lnTo>
                    <a:pt x="1559" y="276"/>
                  </a:lnTo>
                  <a:lnTo>
                    <a:pt x="1547" y="293"/>
                  </a:lnTo>
                  <a:lnTo>
                    <a:pt x="1526" y="293"/>
                  </a:lnTo>
                  <a:lnTo>
                    <a:pt x="1531" y="238"/>
                  </a:lnTo>
                  <a:lnTo>
                    <a:pt x="1547" y="222"/>
                  </a:lnTo>
                  <a:lnTo>
                    <a:pt x="1569" y="139"/>
                  </a:lnTo>
                  <a:lnTo>
                    <a:pt x="1580" y="127"/>
                  </a:lnTo>
                  <a:lnTo>
                    <a:pt x="1580" y="123"/>
                  </a:lnTo>
                  <a:lnTo>
                    <a:pt x="1580" y="127"/>
                  </a:lnTo>
                  <a:lnTo>
                    <a:pt x="1580" y="99"/>
                  </a:lnTo>
                  <a:lnTo>
                    <a:pt x="1564" y="33"/>
                  </a:lnTo>
                  <a:lnTo>
                    <a:pt x="1569" y="16"/>
                  </a:lnTo>
                  <a:lnTo>
                    <a:pt x="1569" y="16"/>
                  </a:lnTo>
                  <a:lnTo>
                    <a:pt x="1569" y="16"/>
                  </a:lnTo>
                  <a:close/>
                  <a:moveTo>
                    <a:pt x="0" y="238"/>
                  </a:moveTo>
                  <a:lnTo>
                    <a:pt x="0" y="238"/>
                  </a:lnTo>
                  <a:lnTo>
                    <a:pt x="0" y="231"/>
                  </a:lnTo>
                  <a:lnTo>
                    <a:pt x="5" y="231"/>
                  </a:lnTo>
                  <a:lnTo>
                    <a:pt x="0" y="238"/>
                  </a:lnTo>
                  <a:lnTo>
                    <a:pt x="0" y="238"/>
                  </a:lnTo>
                  <a:lnTo>
                    <a:pt x="0" y="238"/>
                  </a:lnTo>
                  <a:close/>
                  <a:moveTo>
                    <a:pt x="286" y="305"/>
                  </a:moveTo>
                  <a:lnTo>
                    <a:pt x="269" y="305"/>
                  </a:lnTo>
                  <a:lnTo>
                    <a:pt x="269" y="293"/>
                  </a:lnTo>
                  <a:lnTo>
                    <a:pt x="291" y="293"/>
                  </a:lnTo>
                  <a:lnTo>
                    <a:pt x="291" y="293"/>
                  </a:lnTo>
                  <a:lnTo>
                    <a:pt x="286" y="305"/>
                  </a:lnTo>
                  <a:lnTo>
                    <a:pt x="286" y="305"/>
                  </a:lnTo>
                  <a:lnTo>
                    <a:pt x="286" y="305"/>
                  </a:lnTo>
                  <a:close/>
                  <a:moveTo>
                    <a:pt x="203" y="326"/>
                  </a:moveTo>
                  <a:lnTo>
                    <a:pt x="194" y="321"/>
                  </a:lnTo>
                  <a:lnTo>
                    <a:pt x="182" y="309"/>
                  </a:lnTo>
                  <a:lnTo>
                    <a:pt x="199" y="309"/>
                  </a:lnTo>
                  <a:lnTo>
                    <a:pt x="220" y="321"/>
                  </a:lnTo>
                  <a:lnTo>
                    <a:pt x="203" y="326"/>
                  </a:lnTo>
                  <a:lnTo>
                    <a:pt x="203" y="326"/>
                  </a:lnTo>
                  <a:lnTo>
                    <a:pt x="203" y="326"/>
                  </a:lnTo>
                  <a:close/>
                  <a:moveTo>
                    <a:pt x="409" y="380"/>
                  </a:moveTo>
                  <a:lnTo>
                    <a:pt x="383" y="375"/>
                  </a:lnTo>
                  <a:lnTo>
                    <a:pt x="376" y="364"/>
                  </a:lnTo>
                  <a:lnTo>
                    <a:pt x="421" y="364"/>
                  </a:lnTo>
                  <a:lnTo>
                    <a:pt x="421" y="375"/>
                  </a:lnTo>
                  <a:lnTo>
                    <a:pt x="409" y="380"/>
                  </a:lnTo>
                  <a:lnTo>
                    <a:pt x="409" y="380"/>
                  </a:lnTo>
                  <a:lnTo>
                    <a:pt x="409" y="380"/>
                  </a:lnTo>
                  <a:close/>
                  <a:moveTo>
                    <a:pt x="437" y="442"/>
                  </a:moveTo>
                  <a:lnTo>
                    <a:pt x="421" y="437"/>
                  </a:lnTo>
                  <a:lnTo>
                    <a:pt x="430" y="437"/>
                  </a:lnTo>
                  <a:lnTo>
                    <a:pt x="437" y="442"/>
                  </a:lnTo>
                  <a:lnTo>
                    <a:pt x="437" y="442"/>
                  </a:lnTo>
                  <a:lnTo>
                    <a:pt x="437" y="442"/>
                  </a:lnTo>
                  <a:close/>
                  <a:moveTo>
                    <a:pt x="1002" y="789"/>
                  </a:moveTo>
                  <a:lnTo>
                    <a:pt x="976" y="772"/>
                  </a:lnTo>
                  <a:lnTo>
                    <a:pt x="987" y="772"/>
                  </a:lnTo>
                  <a:lnTo>
                    <a:pt x="1018" y="784"/>
                  </a:lnTo>
                  <a:lnTo>
                    <a:pt x="1002" y="789"/>
                  </a:lnTo>
                  <a:lnTo>
                    <a:pt x="1002" y="789"/>
                  </a:lnTo>
                  <a:lnTo>
                    <a:pt x="1002" y="789"/>
                  </a:lnTo>
                  <a:close/>
                </a:path>
              </a:pathLst>
            </a:custGeom>
            <a:pattFill prst="wd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5" name="Freeform 535">
              <a:extLst>
                <a:ext uri="{FF2B5EF4-FFF2-40B4-BE49-F238E27FC236}">
                  <a16:creationId xmlns:a16="http://schemas.microsoft.com/office/drawing/2014/main" id="{A9F7EF40-B8F3-498F-BEE9-BE5D150E2654}"/>
                </a:ext>
              </a:extLst>
            </p:cNvPr>
            <p:cNvSpPr>
              <a:spLocks noEditPoints="1"/>
            </p:cNvSpPr>
            <p:nvPr/>
          </p:nvSpPr>
          <p:spPr bwMode="gray">
            <a:xfrm>
              <a:off x="10664994" y="4652163"/>
              <a:ext cx="522590" cy="367240"/>
            </a:xfrm>
            <a:custGeom>
              <a:avLst/>
              <a:gdLst>
                <a:gd name="T0" fmla="*/ 616 w 1056"/>
                <a:gd name="T1" fmla="*/ 17 h 742"/>
                <a:gd name="T2" fmla="*/ 394 w 1056"/>
                <a:gd name="T3" fmla="*/ 62 h 742"/>
                <a:gd name="T4" fmla="*/ 482 w 1056"/>
                <a:gd name="T5" fmla="*/ 71 h 742"/>
                <a:gd name="T6" fmla="*/ 666 w 1056"/>
                <a:gd name="T7" fmla="*/ 95 h 742"/>
                <a:gd name="T8" fmla="*/ 666 w 1056"/>
                <a:gd name="T9" fmla="*/ 95 h 742"/>
                <a:gd name="T10" fmla="*/ 860 w 1056"/>
                <a:gd name="T11" fmla="*/ 227 h 742"/>
                <a:gd name="T12" fmla="*/ 789 w 1056"/>
                <a:gd name="T13" fmla="*/ 149 h 742"/>
                <a:gd name="T14" fmla="*/ 768 w 1056"/>
                <a:gd name="T15" fmla="*/ 133 h 742"/>
                <a:gd name="T16" fmla="*/ 9 w 1056"/>
                <a:gd name="T17" fmla="*/ 393 h 742"/>
                <a:gd name="T18" fmla="*/ 118 w 1056"/>
                <a:gd name="T19" fmla="*/ 133 h 742"/>
                <a:gd name="T20" fmla="*/ 253 w 1056"/>
                <a:gd name="T21" fmla="*/ 189 h 742"/>
                <a:gd name="T22" fmla="*/ 340 w 1056"/>
                <a:gd name="T23" fmla="*/ 300 h 742"/>
                <a:gd name="T24" fmla="*/ 470 w 1056"/>
                <a:gd name="T25" fmla="*/ 388 h 742"/>
                <a:gd name="T26" fmla="*/ 482 w 1056"/>
                <a:gd name="T27" fmla="*/ 471 h 742"/>
                <a:gd name="T28" fmla="*/ 595 w 1056"/>
                <a:gd name="T29" fmla="*/ 560 h 742"/>
                <a:gd name="T30" fmla="*/ 616 w 1056"/>
                <a:gd name="T31" fmla="*/ 610 h 742"/>
                <a:gd name="T32" fmla="*/ 666 w 1056"/>
                <a:gd name="T33" fmla="*/ 648 h 742"/>
                <a:gd name="T34" fmla="*/ 616 w 1056"/>
                <a:gd name="T35" fmla="*/ 648 h 742"/>
                <a:gd name="T36" fmla="*/ 470 w 1056"/>
                <a:gd name="T37" fmla="*/ 626 h 742"/>
                <a:gd name="T38" fmla="*/ 399 w 1056"/>
                <a:gd name="T39" fmla="*/ 553 h 742"/>
                <a:gd name="T40" fmla="*/ 253 w 1056"/>
                <a:gd name="T41" fmla="*/ 449 h 742"/>
                <a:gd name="T42" fmla="*/ 238 w 1056"/>
                <a:gd name="T43" fmla="*/ 449 h 742"/>
                <a:gd name="T44" fmla="*/ 172 w 1056"/>
                <a:gd name="T45" fmla="*/ 471 h 742"/>
                <a:gd name="T46" fmla="*/ 101 w 1056"/>
                <a:gd name="T47" fmla="*/ 487 h 742"/>
                <a:gd name="T48" fmla="*/ 177 w 1056"/>
                <a:gd name="T49" fmla="*/ 537 h 742"/>
                <a:gd name="T50" fmla="*/ 47 w 1056"/>
                <a:gd name="T51" fmla="*/ 570 h 742"/>
                <a:gd name="T52" fmla="*/ 775 w 1056"/>
                <a:gd name="T53" fmla="*/ 100 h 742"/>
                <a:gd name="T54" fmla="*/ 697 w 1056"/>
                <a:gd name="T55" fmla="*/ 116 h 742"/>
                <a:gd name="T56" fmla="*/ 827 w 1056"/>
                <a:gd name="T57" fmla="*/ 133 h 742"/>
                <a:gd name="T58" fmla="*/ 897 w 1056"/>
                <a:gd name="T59" fmla="*/ 194 h 742"/>
                <a:gd name="T60" fmla="*/ 687 w 1056"/>
                <a:gd name="T61" fmla="*/ 338 h 742"/>
                <a:gd name="T62" fmla="*/ 553 w 1056"/>
                <a:gd name="T63" fmla="*/ 322 h 742"/>
                <a:gd name="T64" fmla="*/ 633 w 1056"/>
                <a:gd name="T65" fmla="*/ 300 h 742"/>
                <a:gd name="T66" fmla="*/ 642 w 1056"/>
                <a:gd name="T67" fmla="*/ 284 h 742"/>
                <a:gd name="T68" fmla="*/ 730 w 1056"/>
                <a:gd name="T69" fmla="*/ 260 h 742"/>
                <a:gd name="T70" fmla="*/ 789 w 1056"/>
                <a:gd name="T71" fmla="*/ 211 h 742"/>
                <a:gd name="T72" fmla="*/ 789 w 1056"/>
                <a:gd name="T73" fmla="*/ 284 h 742"/>
                <a:gd name="T74" fmla="*/ 687 w 1056"/>
                <a:gd name="T75" fmla="*/ 338 h 742"/>
                <a:gd name="T76" fmla="*/ 357 w 1056"/>
                <a:gd name="T77" fmla="*/ 244 h 742"/>
                <a:gd name="T78" fmla="*/ 612 w 1056"/>
                <a:gd name="T79" fmla="*/ 244 h 742"/>
                <a:gd name="T80" fmla="*/ 973 w 1056"/>
                <a:gd name="T81" fmla="*/ 277 h 742"/>
                <a:gd name="T82" fmla="*/ 432 w 1056"/>
                <a:gd name="T83" fmla="*/ 277 h 742"/>
                <a:gd name="T84" fmla="*/ 1023 w 1056"/>
                <a:gd name="T85" fmla="*/ 350 h 742"/>
                <a:gd name="T86" fmla="*/ 1006 w 1056"/>
                <a:gd name="T87" fmla="*/ 371 h 742"/>
                <a:gd name="T88" fmla="*/ 1006 w 1056"/>
                <a:gd name="T89" fmla="*/ 322 h 742"/>
                <a:gd name="T90" fmla="*/ 482 w 1056"/>
                <a:gd name="T91" fmla="*/ 300 h 742"/>
                <a:gd name="T92" fmla="*/ 194 w 1056"/>
                <a:gd name="T93" fmla="*/ 482 h 742"/>
                <a:gd name="T94" fmla="*/ 194 w 1056"/>
                <a:gd name="T95" fmla="*/ 487 h 742"/>
                <a:gd name="T96" fmla="*/ 172 w 1056"/>
                <a:gd name="T97" fmla="*/ 504 h 742"/>
                <a:gd name="T98" fmla="*/ 163 w 1056"/>
                <a:gd name="T99" fmla="*/ 504 h 742"/>
                <a:gd name="T100" fmla="*/ 713 w 1056"/>
                <a:gd name="T101" fmla="*/ 515 h 742"/>
                <a:gd name="T102" fmla="*/ 812 w 1056"/>
                <a:gd name="T103" fmla="*/ 553 h 742"/>
                <a:gd name="T104" fmla="*/ 666 w 1056"/>
                <a:gd name="T105" fmla="*/ 582 h 742"/>
                <a:gd name="T106" fmla="*/ 666 w 1056"/>
                <a:gd name="T107" fmla="*/ 582 h 742"/>
                <a:gd name="T108" fmla="*/ 697 w 1056"/>
                <a:gd name="T109" fmla="*/ 598 h 742"/>
                <a:gd name="T110" fmla="*/ 720 w 1056"/>
                <a:gd name="T111" fmla="*/ 626 h 742"/>
                <a:gd name="T112" fmla="*/ 697 w 1056"/>
                <a:gd name="T113" fmla="*/ 671 h 742"/>
                <a:gd name="T114" fmla="*/ 704 w 1056"/>
                <a:gd name="T115" fmla="*/ 671 h 742"/>
                <a:gd name="T116" fmla="*/ 704 w 1056"/>
                <a:gd name="T117" fmla="*/ 671 h 742"/>
                <a:gd name="T118" fmla="*/ 838 w 1056"/>
                <a:gd name="T119" fmla="*/ 671 h 742"/>
                <a:gd name="T120" fmla="*/ 864 w 1056"/>
                <a:gd name="T121" fmla="*/ 721 h 742"/>
                <a:gd name="T122" fmla="*/ 931 w 1056"/>
                <a:gd name="T123" fmla="*/ 726 h 742"/>
                <a:gd name="T124" fmla="*/ 893 w 1056"/>
                <a:gd name="T125" fmla="*/ 74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6" h="742">
                  <a:moveTo>
                    <a:pt x="616" y="17"/>
                  </a:moveTo>
                  <a:lnTo>
                    <a:pt x="605" y="5"/>
                  </a:lnTo>
                  <a:lnTo>
                    <a:pt x="612" y="0"/>
                  </a:lnTo>
                  <a:lnTo>
                    <a:pt x="616" y="5"/>
                  </a:lnTo>
                  <a:lnTo>
                    <a:pt x="628" y="17"/>
                  </a:lnTo>
                  <a:lnTo>
                    <a:pt x="616" y="17"/>
                  </a:lnTo>
                  <a:lnTo>
                    <a:pt x="616" y="17"/>
                  </a:lnTo>
                  <a:lnTo>
                    <a:pt x="616" y="17"/>
                  </a:lnTo>
                  <a:close/>
                  <a:moveTo>
                    <a:pt x="453" y="38"/>
                  </a:moveTo>
                  <a:lnTo>
                    <a:pt x="453" y="45"/>
                  </a:lnTo>
                  <a:lnTo>
                    <a:pt x="444" y="62"/>
                  </a:lnTo>
                  <a:lnTo>
                    <a:pt x="394" y="62"/>
                  </a:lnTo>
                  <a:lnTo>
                    <a:pt x="399" y="45"/>
                  </a:lnTo>
                  <a:lnTo>
                    <a:pt x="453" y="45"/>
                  </a:lnTo>
                  <a:lnTo>
                    <a:pt x="453" y="38"/>
                  </a:lnTo>
                  <a:lnTo>
                    <a:pt x="453" y="38"/>
                  </a:lnTo>
                  <a:lnTo>
                    <a:pt x="453" y="38"/>
                  </a:lnTo>
                  <a:close/>
                  <a:moveTo>
                    <a:pt x="482" y="71"/>
                  </a:moveTo>
                  <a:lnTo>
                    <a:pt x="486" y="62"/>
                  </a:lnTo>
                  <a:lnTo>
                    <a:pt x="486" y="62"/>
                  </a:lnTo>
                  <a:lnTo>
                    <a:pt x="482" y="71"/>
                  </a:lnTo>
                  <a:lnTo>
                    <a:pt x="482" y="71"/>
                  </a:lnTo>
                  <a:lnTo>
                    <a:pt x="482" y="71"/>
                  </a:lnTo>
                  <a:close/>
                  <a:moveTo>
                    <a:pt x="666" y="95"/>
                  </a:moveTo>
                  <a:lnTo>
                    <a:pt x="649" y="95"/>
                  </a:lnTo>
                  <a:lnTo>
                    <a:pt x="633" y="78"/>
                  </a:lnTo>
                  <a:lnTo>
                    <a:pt x="659" y="71"/>
                  </a:lnTo>
                  <a:lnTo>
                    <a:pt x="666" y="78"/>
                  </a:lnTo>
                  <a:lnTo>
                    <a:pt x="671" y="95"/>
                  </a:lnTo>
                  <a:lnTo>
                    <a:pt x="666" y="95"/>
                  </a:lnTo>
                  <a:lnTo>
                    <a:pt x="666" y="95"/>
                  </a:lnTo>
                  <a:lnTo>
                    <a:pt x="666" y="95"/>
                  </a:lnTo>
                  <a:close/>
                  <a:moveTo>
                    <a:pt x="827" y="182"/>
                  </a:moveTo>
                  <a:lnTo>
                    <a:pt x="860" y="206"/>
                  </a:lnTo>
                  <a:lnTo>
                    <a:pt x="850" y="223"/>
                  </a:lnTo>
                  <a:lnTo>
                    <a:pt x="860" y="227"/>
                  </a:lnTo>
                  <a:lnTo>
                    <a:pt x="843" y="244"/>
                  </a:lnTo>
                  <a:lnTo>
                    <a:pt x="838" y="239"/>
                  </a:lnTo>
                  <a:lnTo>
                    <a:pt x="827" y="223"/>
                  </a:lnTo>
                  <a:lnTo>
                    <a:pt x="827" y="206"/>
                  </a:lnTo>
                  <a:lnTo>
                    <a:pt x="805" y="166"/>
                  </a:lnTo>
                  <a:lnTo>
                    <a:pt x="789" y="149"/>
                  </a:lnTo>
                  <a:lnTo>
                    <a:pt x="775" y="149"/>
                  </a:lnTo>
                  <a:lnTo>
                    <a:pt x="720" y="100"/>
                  </a:lnTo>
                  <a:lnTo>
                    <a:pt x="687" y="100"/>
                  </a:lnTo>
                  <a:lnTo>
                    <a:pt x="704" y="95"/>
                  </a:lnTo>
                  <a:lnTo>
                    <a:pt x="697" y="83"/>
                  </a:lnTo>
                  <a:lnTo>
                    <a:pt x="768" y="133"/>
                  </a:lnTo>
                  <a:lnTo>
                    <a:pt x="784" y="133"/>
                  </a:lnTo>
                  <a:lnTo>
                    <a:pt x="827" y="182"/>
                  </a:lnTo>
                  <a:lnTo>
                    <a:pt x="827" y="182"/>
                  </a:lnTo>
                  <a:lnTo>
                    <a:pt x="827" y="182"/>
                  </a:lnTo>
                  <a:close/>
                  <a:moveTo>
                    <a:pt x="9" y="560"/>
                  </a:moveTo>
                  <a:lnTo>
                    <a:pt x="9" y="393"/>
                  </a:lnTo>
                  <a:lnTo>
                    <a:pt x="0" y="393"/>
                  </a:lnTo>
                  <a:lnTo>
                    <a:pt x="0" y="376"/>
                  </a:lnTo>
                  <a:lnTo>
                    <a:pt x="9" y="355"/>
                  </a:lnTo>
                  <a:lnTo>
                    <a:pt x="9" y="83"/>
                  </a:lnTo>
                  <a:lnTo>
                    <a:pt x="21" y="83"/>
                  </a:lnTo>
                  <a:lnTo>
                    <a:pt x="118" y="133"/>
                  </a:lnTo>
                  <a:lnTo>
                    <a:pt x="184" y="149"/>
                  </a:lnTo>
                  <a:lnTo>
                    <a:pt x="215" y="173"/>
                  </a:lnTo>
                  <a:lnTo>
                    <a:pt x="231" y="182"/>
                  </a:lnTo>
                  <a:lnTo>
                    <a:pt x="238" y="173"/>
                  </a:lnTo>
                  <a:lnTo>
                    <a:pt x="253" y="173"/>
                  </a:lnTo>
                  <a:lnTo>
                    <a:pt x="253" y="189"/>
                  </a:lnTo>
                  <a:lnTo>
                    <a:pt x="281" y="194"/>
                  </a:lnTo>
                  <a:lnTo>
                    <a:pt x="293" y="211"/>
                  </a:lnTo>
                  <a:lnTo>
                    <a:pt x="307" y="223"/>
                  </a:lnTo>
                  <a:lnTo>
                    <a:pt x="340" y="244"/>
                  </a:lnTo>
                  <a:lnTo>
                    <a:pt x="345" y="265"/>
                  </a:lnTo>
                  <a:lnTo>
                    <a:pt x="340" y="300"/>
                  </a:lnTo>
                  <a:lnTo>
                    <a:pt x="394" y="305"/>
                  </a:lnTo>
                  <a:lnTo>
                    <a:pt x="432" y="334"/>
                  </a:lnTo>
                  <a:lnTo>
                    <a:pt x="465" y="334"/>
                  </a:lnTo>
                  <a:lnTo>
                    <a:pt x="486" y="355"/>
                  </a:lnTo>
                  <a:lnTo>
                    <a:pt x="486" y="376"/>
                  </a:lnTo>
                  <a:lnTo>
                    <a:pt x="470" y="388"/>
                  </a:lnTo>
                  <a:lnTo>
                    <a:pt x="427" y="388"/>
                  </a:lnTo>
                  <a:lnTo>
                    <a:pt x="427" y="404"/>
                  </a:lnTo>
                  <a:lnTo>
                    <a:pt x="444" y="416"/>
                  </a:lnTo>
                  <a:lnTo>
                    <a:pt x="444" y="445"/>
                  </a:lnTo>
                  <a:lnTo>
                    <a:pt x="465" y="449"/>
                  </a:lnTo>
                  <a:lnTo>
                    <a:pt x="482" y="471"/>
                  </a:lnTo>
                  <a:lnTo>
                    <a:pt x="508" y="482"/>
                  </a:lnTo>
                  <a:lnTo>
                    <a:pt x="519" y="520"/>
                  </a:lnTo>
                  <a:lnTo>
                    <a:pt x="524" y="527"/>
                  </a:lnTo>
                  <a:lnTo>
                    <a:pt x="541" y="553"/>
                  </a:lnTo>
                  <a:lnTo>
                    <a:pt x="590" y="553"/>
                  </a:lnTo>
                  <a:lnTo>
                    <a:pt x="595" y="560"/>
                  </a:lnTo>
                  <a:lnTo>
                    <a:pt x="579" y="577"/>
                  </a:lnTo>
                  <a:lnTo>
                    <a:pt x="590" y="582"/>
                  </a:lnTo>
                  <a:lnTo>
                    <a:pt x="605" y="593"/>
                  </a:lnTo>
                  <a:lnTo>
                    <a:pt x="642" y="593"/>
                  </a:lnTo>
                  <a:lnTo>
                    <a:pt x="642" y="598"/>
                  </a:lnTo>
                  <a:lnTo>
                    <a:pt x="616" y="610"/>
                  </a:lnTo>
                  <a:lnTo>
                    <a:pt x="633" y="626"/>
                  </a:lnTo>
                  <a:lnTo>
                    <a:pt x="682" y="638"/>
                  </a:lnTo>
                  <a:lnTo>
                    <a:pt x="704" y="638"/>
                  </a:lnTo>
                  <a:lnTo>
                    <a:pt x="682" y="648"/>
                  </a:lnTo>
                  <a:lnTo>
                    <a:pt x="666" y="648"/>
                  </a:lnTo>
                  <a:lnTo>
                    <a:pt x="666" y="648"/>
                  </a:lnTo>
                  <a:lnTo>
                    <a:pt x="687" y="655"/>
                  </a:lnTo>
                  <a:lnTo>
                    <a:pt x="687" y="664"/>
                  </a:lnTo>
                  <a:lnTo>
                    <a:pt x="659" y="671"/>
                  </a:lnTo>
                  <a:lnTo>
                    <a:pt x="628" y="664"/>
                  </a:lnTo>
                  <a:lnTo>
                    <a:pt x="642" y="655"/>
                  </a:lnTo>
                  <a:lnTo>
                    <a:pt x="616" y="648"/>
                  </a:lnTo>
                  <a:lnTo>
                    <a:pt x="562" y="638"/>
                  </a:lnTo>
                  <a:lnTo>
                    <a:pt x="553" y="631"/>
                  </a:lnTo>
                  <a:lnTo>
                    <a:pt x="524" y="638"/>
                  </a:lnTo>
                  <a:lnTo>
                    <a:pt x="508" y="631"/>
                  </a:lnTo>
                  <a:lnTo>
                    <a:pt x="498" y="631"/>
                  </a:lnTo>
                  <a:lnTo>
                    <a:pt x="470" y="626"/>
                  </a:lnTo>
                  <a:lnTo>
                    <a:pt x="449" y="593"/>
                  </a:lnTo>
                  <a:lnTo>
                    <a:pt x="432" y="582"/>
                  </a:lnTo>
                  <a:lnTo>
                    <a:pt x="416" y="570"/>
                  </a:lnTo>
                  <a:lnTo>
                    <a:pt x="427" y="553"/>
                  </a:lnTo>
                  <a:lnTo>
                    <a:pt x="427" y="560"/>
                  </a:lnTo>
                  <a:lnTo>
                    <a:pt x="399" y="553"/>
                  </a:lnTo>
                  <a:lnTo>
                    <a:pt x="394" y="537"/>
                  </a:lnTo>
                  <a:lnTo>
                    <a:pt x="361" y="482"/>
                  </a:lnTo>
                  <a:lnTo>
                    <a:pt x="281" y="466"/>
                  </a:lnTo>
                  <a:lnTo>
                    <a:pt x="281" y="449"/>
                  </a:lnTo>
                  <a:lnTo>
                    <a:pt x="281" y="461"/>
                  </a:lnTo>
                  <a:lnTo>
                    <a:pt x="253" y="449"/>
                  </a:lnTo>
                  <a:lnTo>
                    <a:pt x="253" y="445"/>
                  </a:lnTo>
                  <a:lnTo>
                    <a:pt x="253" y="449"/>
                  </a:lnTo>
                  <a:lnTo>
                    <a:pt x="248" y="445"/>
                  </a:lnTo>
                  <a:lnTo>
                    <a:pt x="248" y="461"/>
                  </a:lnTo>
                  <a:lnTo>
                    <a:pt x="238" y="461"/>
                  </a:lnTo>
                  <a:lnTo>
                    <a:pt x="238" y="449"/>
                  </a:lnTo>
                  <a:lnTo>
                    <a:pt x="231" y="466"/>
                  </a:lnTo>
                  <a:lnTo>
                    <a:pt x="210" y="461"/>
                  </a:lnTo>
                  <a:lnTo>
                    <a:pt x="194" y="445"/>
                  </a:lnTo>
                  <a:lnTo>
                    <a:pt x="215" y="471"/>
                  </a:lnTo>
                  <a:lnTo>
                    <a:pt x="201" y="482"/>
                  </a:lnTo>
                  <a:lnTo>
                    <a:pt x="172" y="471"/>
                  </a:lnTo>
                  <a:lnTo>
                    <a:pt x="184" y="482"/>
                  </a:lnTo>
                  <a:lnTo>
                    <a:pt x="194" y="499"/>
                  </a:lnTo>
                  <a:lnTo>
                    <a:pt x="146" y="504"/>
                  </a:lnTo>
                  <a:lnTo>
                    <a:pt x="123" y="499"/>
                  </a:lnTo>
                  <a:lnTo>
                    <a:pt x="108" y="504"/>
                  </a:lnTo>
                  <a:lnTo>
                    <a:pt x="101" y="487"/>
                  </a:lnTo>
                  <a:lnTo>
                    <a:pt x="85" y="499"/>
                  </a:lnTo>
                  <a:lnTo>
                    <a:pt x="101" y="487"/>
                  </a:lnTo>
                  <a:lnTo>
                    <a:pt x="108" y="504"/>
                  </a:lnTo>
                  <a:lnTo>
                    <a:pt x="130" y="499"/>
                  </a:lnTo>
                  <a:lnTo>
                    <a:pt x="156" y="515"/>
                  </a:lnTo>
                  <a:lnTo>
                    <a:pt x="177" y="537"/>
                  </a:lnTo>
                  <a:lnTo>
                    <a:pt x="177" y="544"/>
                  </a:lnTo>
                  <a:lnTo>
                    <a:pt x="172" y="553"/>
                  </a:lnTo>
                  <a:lnTo>
                    <a:pt x="146" y="553"/>
                  </a:lnTo>
                  <a:lnTo>
                    <a:pt x="123" y="577"/>
                  </a:lnTo>
                  <a:lnTo>
                    <a:pt x="92" y="560"/>
                  </a:lnTo>
                  <a:lnTo>
                    <a:pt x="47" y="570"/>
                  </a:lnTo>
                  <a:lnTo>
                    <a:pt x="33" y="560"/>
                  </a:lnTo>
                  <a:lnTo>
                    <a:pt x="16" y="570"/>
                  </a:lnTo>
                  <a:lnTo>
                    <a:pt x="9" y="560"/>
                  </a:lnTo>
                  <a:lnTo>
                    <a:pt x="9" y="560"/>
                  </a:lnTo>
                  <a:lnTo>
                    <a:pt x="9" y="560"/>
                  </a:lnTo>
                  <a:close/>
                  <a:moveTo>
                    <a:pt x="775" y="100"/>
                  </a:moveTo>
                  <a:lnTo>
                    <a:pt x="775" y="95"/>
                  </a:lnTo>
                  <a:lnTo>
                    <a:pt x="784" y="100"/>
                  </a:lnTo>
                  <a:lnTo>
                    <a:pt x="775" y="100"/>
                  </a:lnTo>
                  <a:lnTo>
                    <a:pt x="775" y="100"/>
                  </a:lnTo>
                  <a:lnTo>
                    <a:pt x="775" y="100"/>
                  </a:lnTo>
                  <a:close/>
                  <a:moveTo>
                    <a:pt x="697" y="116"/>
                  </a:moveTo>
                  <a:lnTo>
                    <a:pt x="704" y="112"/>
                  </a:lnTo>
                  <a:lnTo>
                    <a:pt x="713" y="116"/>
                  </a:lnTo>
                  <a:lnTo>
                    <a:pt x="697" y="116"/>
                  </a:lnTo>
                  <a:lnTo>
                    <a:pt x="697" y="116"/>
                  </a:lnTo>
                  <a:lnTo>
                    <a:pt x="697" y="116"/>
                  </a:lnTo>
                  <a:close/>
                  <a:moveTo>
                    <a:pt x="827" y="133"/>
                  </a:moveTo>
                  <a:lnTo>
                    <a:pt x="822" y="128"/>
                  </a:lnTo>
                  <a:lnTo>
                    <a:pt x="827" y="116"/>
                  </a:lnTo>
                  <a:lnTo>
                    <a:pt x="827" y="133"/>
                  </a:lnTo>
                  <a:lnTo>
                    <a:pt x="827" y="133"/>
                  </a:lnTo>
                  <a:lnTo>
                    <a:pt x="827" y="133"/>
                  </a:lnTo>
                  <a:close/>
                  <a:moveTo>
                    <a:pt x="897" y="194"/>
                  </a:moveTo>
                  <a:lnTo>
                    <a:pt x="893" y="194"/>
                  </a:lnTo>
                  <a:lnTo>
                    <a:pt x="897" y="189"/>
                  </a:lnTo>
                  <a:lnTo>
                    <a:pt x="897" y="194"/>
                  </a:lnTo>
                  <a:lnTo>
                    <a:pt x="897" y="194"/>
                  </a:lnTo>
                  <a:lnTo>
                    <a:pt x="897" y="194"/>
                  </a:lnTo>
                  <a:close/>
                  <a:moveTo>
                    <a:pt x="687" y="338"/>
                  </a:moveTo>
                  <a:lnTo>
                    <a:pt x="666" y="355"/>
                  </a:lnTo>
                  <a:lnTo>
                    <a:pt x="612" y="355"/>
                  </a:lnTo>
                  <a:lnTo>
                    <a:pt x="595" y="338"/>
                  </a:lnTo>
                  <a:lnTo>
                    <a:pt x="574" y="350"/>
                  </a:lnTo>
                  <a:lnTo>
                    <a:pt x="574" y="338"/>
                  </a:lnTo>
                  <a:lnTo>
                    <a:pt x="553" y="322"/>
                  </a:lnTo>
                  <a:lnTo>
                    <a:pt x="524" y="317"/>
                  </a:lnTo>
                  <a:lnTo>
                    <a:pt x="519" y="305"/>
                  </a:lnTo>
                  <a:lnTo>
                    <a:pt x="524" y="293"/>
                  </a:lnTo>
                  <a:lnTo>
                    <a:pt x="562" y="293"/>
                  </a:lnTo>
                  <a:lnTo>
                    <a:pt x="590" y="305"/>
                  </a:lnTo>
                  <a:lnTo>
                    <a:pt x="633" y="300"/>
                  </a:lnTo>
                  <a:lnTo>
                    <a:pt x="633" y="293"/>
                  </a:lnTo>
                  <a:lnTo>
                    <a:pt x="633" y="284"/>
                  </a:lnTo>
                  <a:lnTo>
                    <a:pt x="642" y="260"/>
                  </a:lnTo>
                  <a:lnTo>
                    <a:pt x="659" y="265"/>
                  </a:lnTo>
                  <a:lnTo>
                    <a:pt x="642" y="265"/>
                  </a:lnTo>
                  <a:lnTo>
                    <a:pt x="642" y="284"/>
                  </a:lnTo>
                  <a:lnTo>
                    <a:pt x="649" y="300"/>
                  </a:lnTo>
                  <a:lnTo>
                    <a:pt x="659" y="300"/>
                  </a:lnTo>
                  <a:lnTo>
                    <a:pt x="671" y="293"/>
                  </a:lnTo>
                  <a:lnTo>
                    <a:pt x="682" y="300"/>
                  </a:lnTo>
                  <a:lnTo>
                    <a:pt x="704" y="300"/>
                  </a:lnTo>
                  <a:lnTo>
                    <a:pt x="730" y="260"/>
                  </a:lnTo>
                  <a:lnTo>
                    <a:pt x="758" y="249"/>
                  </a:lnTo>
                  <a:lnTo>
                    <a:pt x="742" y="206"/>
                  </a:lnTo>
                  <a:lnTo>
                    <a:pt x="768" y="206"/>
                  </a:lnTo>
                  <a:lnTo>
                    <a:pt x="784" y="211"/>
                  </a:lnTo>
                  <a:lnTo>
                    <a:pt x="796" y="206"/>
                  </a:lnTo>
                  <a:lnTo>
                    <a:pt x="789" y="211"/>
                  </a:lnTo>
                  <a:lnTo>
                    <a:pt x="805" y="211"/>
                  </a:lnTo>
                  <a:lnTo>
                    <a:pt x="812" y="239"/>
                  </a:lnTo>
                  <a:lnTo>
                    <a:pt x="796" y="260"/>
                  </a:lnTo>
                  <a:lnTo>
                    <a:pt x="784" y="260"/>
                  </a:lnTo>
                  <a:lnTo>
                    <a:pt x="784" y="277"/>
                  </a:lnTo>
                  <a:lnTo>
                    <a:pt x="789" y="284"/>
                  </a:lnTo>
                  <a:lnTo>
                    <a:pt x="789" y="293"/>
                  </a:lnTo>
                  <a:lnTo>
                    <a:pt x="768" y="305"/>
                  </a:lnTo>
                  <a:lnTo>
                    <a:pt x="742" y="300"/>
                  </a:lnTo>
                  <a:lnTo>
                    <a:pt x="734" y="317"/>
                  </a:lnTo>
                  <a:lnTo>
                    <a:pt x="687" y="338"/>
                  </a:lnTo>
                  <a:lnTo>
                    <a:pt x="687" y="338"/>
                  </a:lnTo>
                  <a:lnTo>
                    <a:pt x="687" y="338"/>
                  </a:lnTo>
                  <a:close/>
                  <a:moveTo>
                    <a:pt x="357" y="244"/>
                  </a:moveTo>
                  <a:lnTo>
                    <a:pt x="345" y="239"/>
                  </a:lnTo>
                  <a:lnTo>
                    <a:pt x="357" y="227"/>
                  </a:lnTo>
                  <a:lnTo>
                    <a:pt x="361" y="239"/>
                  </a:lnTo>
                  <a:lnTo>
                    <a:pt x="357" y="244"/>
                  </a:lnTo>
                  <a:lnTo>
                    <a:pt x="357" y="244"/>
                  </a:lnTo>
                  <a:lnTo>
                    <a:pt x="357" y="244"/>
                  </a:lnTo>
                  <a:close/>
                  <a:moveTo>
                    <a:pt x="612" y="244"/>
                  </a:moveTo>
                  <a:lnTo>
                    <a:pt x="605" y="239"/>
                  </a:lnTo>
                  <a:lnTo>
                    <a:pt x="605" y="239"/>
                  </a:lnTo>
                  <a:lnTo>
                    <a:pt x="612" y="244"/>
                  </a:lnTo>
                  <a:lnTo>
                    <a:pt x="612" y="244"/>
                  </a:lnTo>
                  <a:lnTo>
                    <a:pt x="612" y="244"/>
                  </a:lnTo>
                  <a:close/>
                  <a:moveTo>
                    <a:pt x="968" y="293"/>
                  </a:moveTo>
                  <a:lnTo>
                    <a:pt x="956" y="265"/>
                  </a:lnTo>
                  <a:lnTo>
                    <a:pt x="968" y="260"/>
                  </a:lnTo>
                  <a:lnTo>
                    <a:pt x="973" y="277"/>
                  </a:lnTo>
                  <a:lnTo>
                    <a:pt x="968" y="293"/>
                  </a:lnTo>
                  <a:lnTo>
                    <a:pt x="968" y="293"/>
                  </a:lnTo>
                  <a:lnTo>
                    <a:pt x="968" y="293"/>
                  </a:lnTo>
                  <a:close/>
                  <a:moveTo>
                    <a:pt x="444" y="293"/>
                  </a:moveTo>
                  <a:lnTo>
                    <a:pt x="427" y="284"/>
                  </a:lnTo>
                  <a:lnTo>
                    <a:pt x="432" y="277"/>
                  </a:lnTo>
                  <a:lnTo>
                    <a:pt x="444" y="284"/>
                  </a:lnTo>
                  <a:lnTo>
                    <a:pt x="444" y="293"/>
                  </a:lnTo>
                  <a:lnTo>
                    <a:pt x="444" y="293"/>
                  </a:lnTo>
                  <a:lnTo>
                    <a:pt x="444" y="293"/>
                  </a:lnTo>
                  <a:close/>
                  <a:moveTo>
                    <a:pt x="1023" y="334"/>
                  </a:moveTo>
                  <a:lnTo>
                    <a:pt x="1023" y="350"/>
                  </a:lnTo>
                  <a:lnTo>
                    <a:pt x="1056" y="371"/>
                  </a:lnTo>
                  <a:lnTo>
                    <a:pt x="1056" y="393"/>
                  </a:lnTo>
                  <a:lnTo>
                    <a:pt x="1056" y="388"/>
                  </a:lnTo>
                  <a:lnTo>
                    <a:pt x="1039" y="393"/>
                  </a:lnTo>
                  <a:lnTo>
                    <a:pt x="1011" y="388"/>
                  </a:lnTo>
                  <a:lnTo>
                    <a:pt x="1006" y="371"/>
                  </a:lnTo>
                  <a:lnTo>
                    <a:pt x="1006" y="355"/>
                  </a:lnTo>
                  <a:lnTo>
                    <a:pt x="990" y="350"/>
                  </a:lnTo>
                  <a:lnTo>
                    <a:pt x="973" y="334"/>
                  </a:lnTo>
                  <a:lnTo>
                    <a:pt x="973" y="300"/>
                  </a:lnTo>
                  <a:lnTo>
                    <a:pt x="1001" y="300"/>
                  </a:lnTo>
                  <a:lnTo>
                    <a:pt x="1006" y="322"/>
                  </a:lnTo>
                  <a:lnTo>
                    <a:pt x="1023" y="334"/>
                  </a:lnTo>
                  <a:lnTo>
                    <a:pt x="1023" y="334"/>
                  </a:lnTo>
                  <a:lnTo>
                    <a:pt x="1023" y="334"/>
                  </a:lnTo>
                  <a:close/>
                  <a:moveTo>
                    <a:pt x="498" y="322"/>
                  </a:moveTo>
                  <a:lnTo>
                    <a:pt x="482" y="305"/>
                  </a:lnTo>
                  <a:lnTo>
                    <a:pt x="482" y="300"/>
                  </a:lnTo>
                  <a:lnTo>
                    <a:pt x="503" y="305"/>
                  </a:lnTo>
                  <a:lnTo>
                    <a:pt x="498" y="322"/>
                  </a:lnTo>
                  <a:lnTo>
                    <a:pt x="498" y="322"/>
                  </a:lnTo>
                  <a:lnTo>
                    <a:pt x="498" y="322"/>
                  </a:lnTo>
                  <a:close/>
                  <a:moveTo>
                    <a:pt x="194" y="487"/>
                  </a:moveTo>
                  <a:lnTo>
                    <a:pt x="194" y="482"/>
                  </a:lnTo>
                  <a:lnTo>
                    <a:pt x="194" y="487"/>
                  </a:lnTo>
                  <a:lnTo>
                    <a:pt x="194" y="487"/>
                  </a:lnTo>
                  <a:lnTo>
                    <a:pt x="194" y="487"/>
                  </a:lnTo>
                  <a:lnTo>
                    <a:pt x="194" y="487"/>
                  </a:lnTo>
                  <a:close/>
                  <a:moveTo>
                    <a:pt x="194" y="499"/>
                  </a:moveTo>
                  <a:lnTo>
                    <a:pt x="194" y="487"/>
                  </a:lnTo>
                  <a:lnTo>
                    <a:pt x="201" y="487"/>
                  </a:lnTo>
                  <a:lnTo>
                    <a:pt x="194" y="499"/>
                  </a:lnTo>
                  <a:lnTo>
                    <a:pt x="194" y="499"/>
                  </a:lnTo>
                  <a:lnTo>
                    <a:pt x="194" y="499"/>
                  </a:lnTo>
                  <a:close/>
                  <a:moveTo>
                    <a:pt x="184" y="515"/>
                  </a:moveTo>
                  <a:lnTo>
                    <a:pt x="172" y="504"/>
                  </a:lnTo>
                  <a:lnTo>
                    <a:pt x="184" y="504"/>
                  </a:lnTo>
                  <a:lnTo>
                    <a:pt x="184" y="515"/>
                  </a:lnTo>
                  <a:lnTo>
                    <a:pt x="184" y="515"/>
                  </a:lnTo>
                  <a:lnTo>
                    <a:pt x="184" y="515"/>
                  </a:lnTo>
                  <a:close/>
                  <a:moveTo>
                    <a:pt x="194" y="527"/>
                  </a:moveTo>
                  <a:lnTo>
                    <a:pt x="163" y="504"/>
                  </a:lnTo>
                  <a:lnTo>
                    <a:pt x="177" y="515"/>
                  </a:lnTo>
                  <a:lnTo>
                    <a:pt x="194" y="527"/>
                  </a:lnTo>
                  <a:lnTo>
                    <a:pt x="194" y="527"/>
                  </a:lnTo>
                  <a:lnTo>
                    <a:pt x="194" y="527"/>
                  </a:lnTo>
                  <a:close/>
                  <a:moveTo>
                    <a:pt x="720" y="537"/>
                  </a:moveTo>
                  <a:lnTo>
                    <a:pt x="713" y="515"/>
                  </a:lnTo>
                  <a:lnTo>
                    <a:pt x="720" y="504"/>
                  </a:lnTo>
                  <a:lnTo>
                    <a:pt x="720" y="537"/>
                  </a:lnTo>
                  <a:lnTo>
                    <a:pt x="720" y="537"/>
                  </a:lnTo>
                  <a:lnTo>
                    <a:pt x="720" y="537"/>
                  </a:lnTo>
                  <a:close/>
                  <a:moveTo>
                    <a:pt x="838" y="570"/>
                  </a:moveTo>
                  <a:lnTo>
                    <a:pt x="812" y="553"/>
                  </a:lnTo>
                  <a:lnTo>
                    <a:pt x="838" y="544"/>
                  </a:lnTo>
                  <a:lnTo>
                    <a:pt x="850" y="560"/>
                  </a:lnTo>
                  <a:lnTo>
                    <a:pt x="838" y="570"/>
                  </a:lnTo>
                  <a:lnTo>
                    <a:pt x="838" y="570"/>
                  </a:lnTo>
                  <a:lnTo>
                    <a:pt x="838" y="570"/>
                  </a:lnTo>
                  <a:close/>
                  <a:moveTo>
                    <a:pt x="666" y="582"/>
                  </a:moveTo>
                  <a:lnTo>
                    <a:pt x="649" y="577"/>
                  </a:lnTo>
                  <a:lnTo>
                    <a:pt x="649" y="570"/>
                  </a:lnTo>
                  <a:lnTo>
                    <a:pt x="666" y="570"/>
                  </a:lnTo>
                  <a:lnTo>
                    <a:pt x="666" y="582"/>
                  </a:lnTo>
                  <a:lnTo>
                    <a:pt x="666" y="582"/>
                  </a:lnTo>
                  <a:lnTo>
                    <a:pt x="666" y="582"/>
                  </a:lnTo>
                  <a:close/>
                  <a:moveTo>
                    <a:pt x="697" y="598"/>
                  </a:moveTo>
                  <a:lnTo>
                    <a:pt x="671" y="593"/>
                  </a:lnTo>
                  <a:lnTo>
                    <a:pt x="671" y="577"/>
                  </a:lnTo>
                  <a:lnTo>
                    <a:pt x="697" y="582"/>
                  </a:lnTo>
                  <a:lnTo>
                    <a:pt x="704" y="598"/>
                  </a:lnTo>
                  <a:lnTo>
                    <a:pt x="697" y="598"/>
                  </a:lnTo>
                  <a:lnTo>
                    <a:pt x="697" y="598"/>
                  </a:lnTo>
                  <a:lnTo>
                    <a:pt x="697" y="598"/>
                  </a:lnTo>
                  <a:close/>
                  <a:moveTo>
                    <a:pt x="730" y="638"/>
                  </a:moveTo>
                  <a:lnTo>
                    <a:pt x="704" y="631"/>
                  </a:lnTo>
                  <a:lnTo>
                    <a:pt x="697" y="598"/>
                  </a:lnTo>
                  <a:lnTo>
                    <a:pt x="720" y="626"/>
                  </a:lnTo>
                  <a:lnTo>
                    <a:pt x="730" y="615"/>
                  </a:lnTo>
                  <a:lnTo>
                    <a:pt x="730" y="638"/>
                  </a:lnTo>
                  <a:lnTo>
                    <a:pt x="730" y="638"/>
                  </a:lnTo>
                  <a:lnTo>
                    <a:pt x="730" y="638"/>
                  </a:lnTo>
                  <a:close/>
                  <a:moveTo>
                    <a:pt x="704" y="671"/>
                  </a:moveTo>
                  <a:lnTo>
                    <a:pt x="697" y="671"/>
                  </a:lnTo>
                  <a:lnTo>
                    <a:pt x="697" y="664"/>
                  </a:lnTo>
                  <a:lnTo>
                    <a:pt x="704" y="664"/>
                  </a:lnTo>
                  <a:lnTo>
                    <a:pt x="704" y="671"/>
                  </a:lnTo>
                  <a:lnTo>
                    <a:pt x="704" y="671"/>
                  </a:lnTo>
                  <a:lnTo>
                    <a:pt x="704" y="671"/>
                  </a:lnTo>
                  <a:close/>
                  <a:moveTo>
                    <a:pt x="704" y="671"/>
                  </a:moveTo>
                  <a:lnTo>
                    <a:pt x="704" y="664"/>
                  </a:lnTo>
                  <a:lnTo>
                    <a:pt x="713" y="664"/>
                  </a:lnTo>
                  <a:lnTo>
                    <a:pt x="713" y="671"/>
                  </a:lnTo>
                  <a:lnTo>
                    <a:pt x="704" y="671"/>
                  </a:lnTo>
                  <a:lnTo>
                    <a:pt x="704" y="671"/>
                  </a:lnTo>
                  <a:lnTo>
                    <a:pt x="704" y="671"/>
                  </a:lnTo>
                  <a:close/>
                  <a:moveTo>
                    <a:pt x="838" y="671"/>
                  </a:moveTo>
                  <a:lnTo>
                    <a:pt x="822" y="671"/>
                  </a:lnTo>
                  <a:lnTo>
                    <a:pt x="843" y="671"/>
                  </a:lnTo>
                  <a:lnTo>
                    <a:pt x="838" y="671"/>
                  </a:lnTo>
                  <a:lnTo>
                    <a:pt x="838" y="671"/>
                  </a:lnTo>
                  <a:lnTo>
                    <a:pt x="838" y="671"/>
                  </a:lnTo>
                  <a:close/>
                  <a:moveTo>
                    <a:pt x="864" y="721"/>
                  </a:moveTo>
                  <a:lnTo>
                    <a:pt x="860" y="709"/>
                  </a:lnTo>
                  <a:lnTo>
                    <a:pt x="864" y="709"/>
                  </a:lnTo>
                  <a:lnTo>
                    <a:pt x="864" y="721"/>
                  </a:lnTo>
                  <a:lnTo>
                    <a:pt x="864" y="721"/>
                  </a:lnTo>
                  <a:lnTo>
                    <a:pt x="864" y="721"/>
                  </a:lnTo>
                  <a:close/>
                  <a:moveTo>
                    <a:pt x="931" y="726"/>
                  </a:moveTo>
                  <a:lnTo>
                    <a:pt x="919" y="721"/>
                  </a:lnTo>
                  <a:lnTo>
                    <a:pt x="935" y="721"/>
                  </a:lnTo>
                  <a:lnTo>
                    <a:pt x="947" y="726"/>
                  </a:lnTo>
                  <a:lnTo>
                    <a:pt x="931" y="726"/>
                  </a:lnTo>
                  <a:lnTo>
                    <a:pt x="931" y="726"/>
                  </a:lnTo>
                  <a:lnTo>
                    <a:pt x="931" y="726"/>
                  </a:lnTo>
                  <a:close/>
                  <a:moveTo>
                    <a:pt x="893" y="742"/>
                  </a:moveTo>
                  <a:lnTo>
                    <a:pt x="876" y="737"/>
                  </a:lnTo>
                  <a:lnTo>
                    <a:pt x="864" y="721"/>
                  </a:lnTo>
                  <a:lnTo>
                    <a:pt x="905" y="742"/>
                  </a:lnTo>
                  <a:lnTo>
                    <a:pt x="893" y="742"/>
                  </a:lnTo>
                  <a:lnTo>
                    <a:pt x="893" y="742"/>
                  </a:lnTo>
                  <a:lnTo>
                    <a:pt x="893" y="742"/>
                  </a:lnTo>
                  <a:close/>
                </a:path>
              </a:pathLst>
            </a:custGeom>
            <a:pattFill prst="wd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7" name="Freeform 537">
              <a:extLst>
                <a:ext uri="{FF2B5EF4-FFF2-40B4-BE49-F238E27FC236}">
                  <a16:creationId xmlns:a16="http://schemas.microsoft.com/office/drawing/2014/main" id="{2AB62584-E1AA-407C-BB81-9AF9EBDCB801}"/>
                </a:ext>
              </a:extLst>
            </p:cNvPr>
            <p:cNvSpPr>
              <a:spLocks noEditPoints="1"/>
            </p:cNvSpPr>
            <p:nvPr/>
          </p:nvSpPr>
          <p:spPr bwMode="gray">
            <a:xfrm>
              <a:off x="5196603" y="4150798"/>
              <a:ext cx="106399" cy="61866"/>
            </a:xfrm>
            <a:custGeom>
              <a:avLst/>
              <a:gdLst>
                <a:gd name="T0" fmla="*/ 37 w 215"/>
                <a:gd name="T1" fmla="*/ 17 h 125"/>
                <a:gd name="T2" fmla="*/ 106 w 215"/>
                <a:gd name="T3" fmla="*/ 0 h 125"/>
                <a:gd name="T4" fmla="*/ 203 w 215"/>
                <a:gd name="T5" fmla="*/ 0 h 125"/>
                <a:gd name="T6" fmla="*/ 186 w 215"/>
                <a:gd name="T7" fmla="*/ 38 h 125"/>
                <a:gd name="T8" fmla="*/ 203 w 215"/>
                <a:gd name="T9" fmla="*/ 71 h 125"/>
                <a:gd name="T10" fmla="*/ 165 w 215"/>
                <a:gd name="T11" fmla="*/ 71 h 125"/>
                <a:gd name="T12" fmla="*/ 134 w 215"/>
                <a:gd name="T13" fmla="*/ 83 h 125"/>
                <a:gd name="T14" fmla="*/ 113 w 215"/>
                <a:gd name="T15" fmla="*/ 114 h 125"/>
                <a:gd name="T16" fmla="*/ 106 w 215"/>
                <a:gd name="T17" fmla="*/ 114 h 125"/>
                <a:gd name="T18" fmla="*/ 96 w 215"/>
                <a:gd name="T19" fmla="*/ 109 h 125"/>
                <a:gd name="T20" fmla="*/ 89 w 215"/>
                <a:gd name="T21" fmla="*/ 92 h 125"/>
                <a:gd name="T22" fmla="*/ 80 w 215"/>
                <a:gd name="T23" fmla="*/ 92 h 125"/>
                <a:gd name="T24" fmla="*/ 113 w 215"/>
                <a:gd name="T25" fmla="*/ 76 h 125"/>
                <a:gd name="T26" fmla="*/ 89 w 215"/>
                <a:gd name="T27" fmla="*/ 76 h 125"/>
                <a:gd name="T28" fmla="*/ 80 w 215"/>
                <a:gd name="T29" fmla="*/ 71 h 125"/>
                <a:gd name="T30" fmla="*/ 106 w 215"/>
                <a:gd name="T31" fmla="*/ 54 h 125"/>
                <a:gd name="T32" fmla="*/ 113 w 215"/>
                <a:gd name="T33" fmla="*/ 54 h 125"/>
                <a:gd name="T34" fmla="*/ 106 w 215"/>
                <a:gd name="T35" fmla="*/ 54 h 125"/>
                <a:gd name="T36" fmla="*/ 75 w 215"/>
                <a:gd name="T37" fmla="*/ 59 h 125"/>
                <a:gd name="T38" fmla="*/ 59 w 215"/>
                <a:gd name="T39" fmla="*/ 45 h 125"/>
                <a:gd name="T40" fmla="*/ 37 w 215"/>
                <a:gd name="T41" fmla="*/ 54 h 125"/>
                <a:gd name="T42" fmla="*/ 21 w 215"/>
                <a:gd name="T43" fmla="*/ 38 h 125"/>
                <a:gd name="T44" fmla="*/ 9 w 215"/>
                <a:gd name="T45" fmla="*/ 28 h 125"/>
                <a:gd name="T46" fmla="*/ 0 w 215"/>
                <a:gd name="T47" fmla="*/ 21 h 125"/>
                <a:gd name="T48" fmla="*/ 26 w 215"/>
                <a:gd name="T49" fmla="*/ 59 h 125"/>
                <a:gd name="T50" fmla="*/ 37 w 215"/>
                <a:gd name="T51" fmla="*/ 54 h 125"/>
                <a:gd name="T52" fmla="*/ 26 w 215"/>
                <a:gd name="T53" fmla="*/ 59 h 125"/>
                <a:gd name="T54" fmla="*/ 42 w 215"/>
                <a:gd name="T55" fmla="*/ 59 h 125"/>
                <a:gd name="T56" fmla="*/ 54 w 215"/>
                <a:gd name="T57" fmla="*/ 54 h 125"/>
                <a:gd name="T58" fmla="*/ 42 w 215"/>
                <a:gd name="T59" fmla="*/ 59 h 125"/>
                <a:gd name="T60" fmla="*/ 42 w 215"/>
                <a:gd name="T61" fmla="*/ 83 h 125"/>
                <a:gd name="T62" fmla="*/ 54 w 215"/>
                <a:gd name="T63" fmla="*/ 76 h 125"/>
                <a:gd name="T64" fmla="*/ 42 w 215"/>
                <a:gd name="T65" fmla="*/ 83 h 125"/>
                <a:gd name="T66" fmla="*/ 42 w 215"/>
                <a:gd name="T67" fmla="*/ 83 h 125"/>
                <a:gd name="T68" fmla="*/ 21 w 215"/>
                <a:gd name="T69" fmla="*/ 76 h 125"/>
                <a:gd name="T70" fmla="*/ 26 w 215"/>
                <a:gd name="T71" fmla="*/ 83 h 125"/>
                <a:gd name="T72" fmla="*/ 26 w 215"/>
                <a:gd name="T73" fmla="*/ 83 h 125"/>
                <a:gd name="T74" fmla="*/ 26 w 215"/>
                <a:gd name="T75" fmla="*/ 83 h 125"/>
                <a:gd name="T76" fmla="*/ 26 w 215"/>
                <a:gd name="T77" fmla="*/ 83 h 125"/>
                <a:gd name="T78" fmla="*/ 26 w 215"/>
                <a:gd name="T79" fmla="*/ 83 h 125"/>
                <a:gd name="T80" fmla="*/ 26 w 215"/>
                <a:gd name="T81" fmla="*/ 97 h 125"/>
                <a:gd name="T82" fmla="*/ 26 w 215"/>
                <a:gd name="T83" fmla="*/ 97 h 125"/>
                <a:gd name="T84" fmla="*/ 26 w 215"/>
                <a:gd name="T85" fmla="*/ 97 h 125"/>
                <a:gd name="T86" fmla="*/ 26 w 215"/>
                <a:gd name="T87" fmla="*/ 109 h 125"/>
                <a:gd name="T88" fmla="*/ 42 w 215"/>
                <a:gd name="T89" fmla="*/ 114 h 125"/>
                <a:gd name="T90" fmla="*/ 37 w 215"/>
                <a:gd name="T91" fmla="*/ 114 h 125"/>
                <a:gd name="T92" fmla="*/ 42 w 215"/>
                <a:gd name="T93" fmla="*/ 114 h 125"/>
                <a:gd name="T94" fmla="*/ 54 w 215"/>
                <a:gd name="T95" fmla="*/ 97 h 125"/>
                <a:gd name="T96" fmla="*/ 42 w 215"/>
                <a:gd name="T97" fmla="*/ 11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5" h="125">
                  <a:moveTo>
                    <a:pt x="0" y="21"/>
                  </a:moveTo>
                  <a:lnTo>
                    <a:pt x="37" y="17"/>
                  </a:lnTo>
                  <a:lnTo>
                    <a:pt x="63" y="17"/>
                  </a:lnTo>
                  <a:lnTo>
                    <a:pt x="106" y="0"/>
                  </a:lnTo>
                  <a:lnTo>
                    <a:pt x="165" y="0"/>
                  </a:lnTo>
                  <a:lnTo>
                    <a:pt x="203" y="0"/>
                  </a:lnTo>
                  <a:lnTo>
                    <a:pt x="215" y="21"/>
                  </a:lnTo>
                  <a:lnTo>
                    <a:pt x="186" y="38"/>
                  </a:lnTo>
                  <a:lnTo>
                    <a:pt x="203" y="45"/>
                  </a:lnTo>
                  <a:lnTo>
                    <a:pt x="203" y="71"/>
                  </a:lnTo>
                  <a:lnTo>
                    <a:pt x="186" y="71"/>
                  </a:lnTo>
                  <a:lnTo>
                    <a:pt x="165" y="71"/>
                  </a:lnTo>
                  <a:lnTo>
                    <a:pt x="148" y="76"/>
                  </a:lnTo>
                  <a:lnTo>
                    <a:pt x="134" y="83"/>
                  </a:lnTo>
                  <a:lnTo>
                    <a:pt x="113" y="125"/>
                  </a:lnTo>
                  <a:lnTo>
                    <a:pt x="113" y="114"/>
                  </a:lnTo>
                  <a:lnTo>
                    <a:pt x="113" y="97"/>
                  </a:lnTo>
                  <a:lnTo>
                    <a:pt x="106" y="114"/>
                  </a:lnTo>
                  <a:lnTo>
                    <a:pt x="106" y="97"/>
                  </a:lnTo>
                  <a:lnTo>
                    <a:pt x="96" y="109"/>
                  </a:lnTo>
                  <a:lnTo>
                    <a:pt x="89" y="109"/>
                  </a:lnTo>
                  <a:lnTo>
                    <a:pt x="89" y="92"/>
                  </a:lnTo>
                  <a:lnTo>
                    <a:pt x="96" y="83"/>
                  </a:lnTo>
                  <a:lnTo>
                    <a:pt x="80" y="92"/>
                  </a:lnTo>
                  <a:lnTo>
                    <a:pt x="96" y="76"/>
                  </a:lnTo>
                  <a:lnTo>
                    <a:pt x="113" y="76"/>
                  </a:lnTo>
                  <a:lnTo>
                    <a:pt x="96" y="71"/>
                  </a:lnTo>
                  <a:lnTo>
                    <a:pt x="89" y="76"/>
                  </a:lnTo>
                  <a:lnTo>
                    <a:pt x="89" y="71"/>
                  </a:lnTo>
                  <a:lnTo>
                    <a:pt x="80" y="71"/>
                  </a:lnTo>
                  <a:lnTo>
                    <a:pt x="89" y="54"/>
                  </a:lnTo>
                  <a:lnTo>
                    <a:pt x="106" y="54"/>
                  </a:lnTo>
                  <a:lnTo>
                    <a:pt x="118" y="59"/>
                  </a:lnTo>
                  <a:lnTo>
                    <a:pt x="113" y="54"/>
                  </a:lnTo>
                  <a:lnTo>
                    <a:pt x="118" y="45"/>
                  </a:lnTo>
                  <a:lnTo>
                    <a:pt x="106" y="54"/>
                  </a:lnTo>
                  <a:lnTo>
                    <a:pt x="89" y="45"/>
                  </a:lnTo>
                  <a:lnTo>
                    <a:pt x="75" y="59"/>
                  </a:lnTo>
                  <a:lnTo>
                    <a:pt x="54" y="59"/>
                  </a:lnTo>
                  <a:lnTo>
                    <a:pt x="59" y="45"/>
                  </a:lnTo>
                  <a:lnTo>
                    <a:pt x="63" y="45"/>
                  </a:lnTo>
                  <a:lnTo>
                    <a:pt x="37" y="54"/>
                  </a:lnTo>
                  <a:lnTo>
                    <a:pt x="26" y="54"/>
                  </a:lnTo>
                  <a:lnTo>
                    <a:pt x="21" y="38"/>
                  </a:lnTo>
                  <a:lnTo>
                    <a:pt x="42" y="21"/>
                  </a:lnTo>
                  <a:lnTo>
                    <a:pt x="9" y="28"/>
                  </a:lnTo>
                  <a:lnTo>
                    <a:pt x="0" y="21"/>
                  </a:lnTo>
                  <a:lnTo>
                    <a:pt x="0" y="21"/>
                  </a:lnTo>
                  <a:lnTo>
                    <a:pt x="0" y="21"/>
                  </a:lnTo>
                  <a:close/>
                  <a:moveTo>
                    <a:pt x="26" y="59"/>
                  </a:moveTo>
                  <a:lnTo>
                    <a:pt x="26" y="45"/>
                  </a:lnTo>
                  <a:lnTo>
                    <a:pt x="37" y="54"/>
                  </a:lnTo>
                  <a:lnTo>
                    <a:pt x="26" y="59"/>
                  </a:lnTo>
                  <a:lnTo>
                    <a:pt x="26" y="59"/>
                  </a:lnTo>
                  <a:lnTo>
                    <a:pt x="26" y="59"/>
                  </a:lnTo>
                  <a:close/>
                  <a:moveTo>
                    <a:pt x="42" y="59"/>
                  </a:moveTo>
                  <a:lnTo>
                    <a:pt x="37" y="54"/>
                  </a:lnTo>
                  <a:lnTo>
                    <a:pt x="54" y="54"/>
                  </a:lnTo>
                  <a:lnTo>
                    <a:pt x="42" y="59"/>
                  </a:lnTo>
                  <a:lnTo>
                    <a:pt x="42" y="59"/>
                  </a:lnTo>
                  <a:lnTo>
                    <a:pt x="42" y="59"/>
                  </a:lnTo>
                  <a:close/>
                  <a:moveTo>
                    <a:pt x="42" y="83"/>
                  </a:moveTo>
                  <a:lnTo>
                    <a:pt x="42" y="76"/>
                  </a:lnTo>
                  <a:lnTo>
                    <a:pt x="54" y="76"/>
                  </a:lnTo>
                  <a:lnTo>
                    <a:pt x="54" y="83"/>
                  </a:lnTo>
                  <a:lnTo>
                    <a:pt x="42" y="83"/>
                  </a:lnTo>
                  <a:lnTo>
                    <a:pt x="42" y="83"/>
                  </a:lnTo>
                  <a:lnTo>
                    <a:pt x="42" y="83"/>
                  </a:lnTo>
                  <a:close/>
                  <a:moveTo>
                    <a:pt x="26" y="83"/>
                  </a:moveTo>
                  <a:lnTo>
                    <a:pt x="21" y="76"/>
                  </a:lnTo>
                  <a:lnTo>
                    <a:pt x="26" y="76"/>
                  </a:lnTo>
                  <a:lnTo>
                    <a:pt x="26" y="83"/>
                  </a:lnTo>
                  <a:lnTo>
                    <a:pt x="26" y="83"/>
                  </a:lnTo>
                  <a:lnTo>
                    <a:pt x="26" y="83"/>
                  </a:lnTo>
                  <a:close/>
                  <a:moveTo>
                    <a:pt x="26" y="83"/>
                  </a:moveTo>
                  <a:lnTo>
                    <a:pt x="26" y="83"/>
                  </a:lnTo>
                  <a:lnTo>
                    <a:pt x="37" y="76"/>
                  </a:lnTo>
                  <a:lnTo>
                    <a:pt x="26" y="83"/>
                  </a:lnTo>
                  <a:lnTo>
                    <a:pt x="26" y="83"/>
                  </a:lnTo>
                  <a:lnTo>
                    <a:pt x="26" y="83"/>
                  </a:lnTo>
                  <a:close/>
                  <a:moveTo>
                    <a:pt x="26" y="97"/>
                  </a:moveTo>
                  <a:lnTo>
                    <a:pt x="26" y="97"/>
                  </a:lnTo>
                  <a:lnTo>
                    <a:pt x="37" y="97"/>
                  </a:lnTo>
                  <a:lnTo>
                    <a:pt x="26" y="97"/>
                  </a:lnTo>
                  <a:lnTo>
                    <a:pt x="26" y="97"/>
                  </a:lnTo>
                  <a:lnTo>
                    <a:pt x="26" y="97"/>
                  </a:lnTo>
                  <a:close/>
                  <a:moveTo>
                    <a:pt x="37" y="114"/>
                  </a:moveTo>
                  <a:lnTo>
                    <a:pt x="26" y="109"/>
                  </a:lnTo>
                  <a:lnTo>
                    <a:pt x="42" y="97"/>
                  </a:lnTo>
                  <a:lnTo>
                    <a:pt x="42" y="114"/>
                  </a:lnTo>
                  <a:lnTo>
                    <a:pt x="37" y="114"/>
                  </a:lnTo>
                  <a:lnTo>
                    <a:pt x="37" y="114"/>
                  </a:lnTo>
                  <a:lnTo>
                    <a:pt x="37" y="114"/>
                  </a:lnTo>
                  <a:close/>
                  <a:moveTo>
                    <a:pt x="42" y="114"/>
                  </a:moveTo>
                  <a:lnTo>
                    <a:pt x="42" y="109"/>
                  </a:lnTo>
                  <a:lnTo>
                    <a:pt x="54" y="97"/>
                  </a:lnTo>
                  <a:lnTo>
                    <a:pt x="42" y="114"/>
                  </a:lnTo>
                  <a:lnTo>
                    <a:pt x="42" y="114"/>
                  </a:lnTo>
                  <a:lnTo>
                    <a:pt x="42" y="114"/>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8" name="Freeform 538">
              <a:extLst>
                <a:ext uri="{FF2B5EF4-FFF2-40B4-BE49-F238E27FC236}">
                  <a16:creationId xmlns:a16="http://schemas.microsoft.com/office/drawing/2014/main" id="{024332EB-8FDA-4C47-866A-AC913DDFF41D}"/>
                </a:ext>
              </a:extLst>
            </p:cNvPr>
            <p:cNvSpPr>
              <a:spLocks/>
            </p:cNvSpPr>
            <p:nvPr/>
          </p:nvSpPr>
          <p:spPr bwMode="gray">
            <a:xfrm>
              <a:off x="7534401" y="3647945"/>
              <a:ext cx="31672" cy="63351"/>
            </a:xfrm>
            <a:custGeom>
              <a:avLst/>
              <a:gdLst>
                <a:gd name="T0" fmla="*/ 42 w 64"/>
                <a:gd name="T1" fmla="*/ 116 h 128"/>
                <a:gd name="T2" fmla="*/ 16 w 64"/>
                <a:gd name="T3" fmla="*/ 128 h 128"/>
                <a:gd name="T4" fmla="*/ 12 w 64"/>
                <a:gd name="T5" fmla="*/ 111 h 128"/>
                <a:gd name="T6" fmla="*/ 0 w 64"/>
                <a:gd name="T7" fmla="*/ 55 h 128"/>
                <a:gd name="T8" fmla="*/ 12 w 64"/>
                <a:gd name="T9" fmla="*/ 55 h 128"/>
                <a:gd name="T10" fmla="*/ 12 w 64"/>
                <a:gd name="T11" fmla="*/ 45 h 128"/>
                <a:gd name="T12" fmla="*/ 16 w 64"/>
                <a:gd name="T13" fmla="*/ 38 h 128"/>
                <a:gd name="T14" fmla="*/ 16 w 64"/>
                <a:gd name="T15" fmla="*/ 38 h 128"/>
                <a:gd name="T16" fmla="*/ 26 w 64"/>
                <a:gd name="T17" fmla="*/ 5 h 128"/>
                <a:gd name="T18" fmla="*/ 42 w 64"/>
                <a:gd name="T19" fmla="*/ 0 h 128"/>
                <a:gd name="T20" fmla="*/ 47 w 64"/>
                <a:gd name="T21" fmla="*/ 17 h 128"/>
                <a:gd name="T22" fmla="*/ 64 w 64"/>
                <a:gd name="T23" fmla="*/ 22 h 128"/>
                <a:gd name="T24" fmla="*/ 64 w 64"/>
                <a:gd name="T25" fmla="*/ 38 h 128"/>
                <a:gd name="T26" fmla="*/ 54 w 64"/>
                <a:gd name="T27" fmla="*/ 55 h 128"/>
                <a:gd name="T28" fmla="*/ 54 w 64"/>
                <a:gd name="T29" fmla="*/ 71 h 128"/>
                <a:gd name="T30" fmla="*/ 64 w 64"/>
                <a:gd name="T31" fmla="*/ 71 h 128"/>
                <a:gd name="T32" fmla="*/ 64 w 64"/>
                <a:gd name="T33" fmla="*/ 83 h 128"/>
                <a:gd name="T34" fmla="*/ 47 w 64"/>
                <a:gd name="T35" fmla="*/ 128 h 128"/>
                <a:gd name="T36" fmla="*/ 42 w 64"/>
                <a:gd name="T37" fmla="*/ 116 h 128"/>
                <a:gd name="T38" fmla="*/ 42 w 64"/>
                <a:gd name="T39" fmla="*/ 116 h 128"/>
                <a:gd name="T40" fmla="*/ 42 w 64"/>
                <a:gd name="T41" fmla="*/ 1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128">
                  <a:moveTo>
                    <a:pt x="42" y="116"/>
                  </a:moveTo>
                  <a:lnTo>
                    <a:pt x="16" y="128"/>
                  </a:lnTo>
                  <a:lnTo>
                    <a:pt x="12" y="111"/>
                  </a:lnTo>
                  <a:lnTo>
                    <a:pt x="0" y="55"/>
                  </a:lnTo>
                  <a:lnTo>
                    <a:pt x="12" y="55"/>
                  </a:lnTo>
                  <a:lnTo>
                    <a:pt x="12" y="45"/>
                  </a:lnTo>
                  <a:lnTo>
                    <a:pt x="16" y="38"/>
                  </a:lnTo>
                  <a:lnTo>
                    <a:pt x="16" y="38"/>
                  </a:lnTo>
                  <a:lnTo>
                    <a:pt x="26" y="5"/>
                  </a:lnTo>
                  <a:lnTo>
                    <a:pt x="42" y="0"/>
                  </a:lnTo>
                  <a:lnTo>
                    <a:pt x="47" y="17"/>
                  </a:lnTo>
                  <a:lnTo>
                    <a:pt x="64" y="22"/>
                  </a:lnTo>
                  <a:lnTo>
                    <a:pt x="64" y="38"/>
                  </a:lnTo>
                  <a:lnTo>
                    <a:pt x="54" y="55"/>
                  </a:lnTo>
                  <a:lnTo>
                    <a:pt x="54" y="71"/>
                  </a:lnTo>
                  <a:lnTo>
                    <a:pt x="64" y="71"/>
                  </a:lnTo>
                  <a:lnTo>
                    <a:pt x="64" y="83"/>
                  </a:lnTo>
                  <a:lnTo>
                    <a:pt x="47" y="128"/>
                  </a:lnTo>
                  <a:lnTo>
                    <a:pt x="42" y="116"/>
                  </a:lnTo>
                  <a:lnTo>
                    <a:pt x="42" y="116"/>
                  </a:lnTo>
                  <a:lnTo>
                    <a:pt x="42" y="116"/>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9" name="Freeform 539">
              <a:extLst>
                <a:ext uri="{FF2B5EF4-FFF2-40B4-BE49-F238E27FC236}">
                  <a16:creationId xmlns:a16="http://schemas.microsoft.com/office/drawing/2014/main" id="{9C161FAB-E492-4900-8590-70F7E584B70E}"/>
                </a:ext>
              </a:extLst>
            </p:cNvPr>
            <p:cNvSpPr>
              <a:spLocks/>
            </p:cNvSpPr>
            <p:nvPr/>
          </p:nvSpPr>
          <p:spPr bwMode="gray">
            <a:xfrm>
              <a:off x="7690783" y="5357442"/>
              <a:ext cx="23754" cy="18807"/>
            </a:xfrm>
            <a:custGeom>
              <a:avLst/>
              <a:gdLst>
                <a:gd name="T0" fmla="*/ 34 w 48"/>
                <a:gd name="T1" fmla="*/ 5 h 38"/>
                <a:gd name="T2" fmla="*/ 48 w 48"/>
                <a:gd name="T3" fmla="*/ 21 h 38"/>
                <a:gd name="T4" fmla="*/ 38 w 48"/>
                <a:gd name="T5" fmla="*/ 33 h 38"/>
                <a:gd name="T6" fmla="*/ 34 w 48"/>
                <a:gd name="T7" fmla="*/ 38 h 38"/>
                <a:gd name="T8" fmla="*/ 8 w 48"/>
                <a:gd name="T9" fmla="*/ 33 h 38"/>
                <a:gd name="T10" fmla="*/ 0 w 48"/>
                <a:gd name="T11" fmla="*/ 16 h 38"/>
                <a:gd name="T12" fmla="*/ 17 w 48"/>
                <a:gd name="T13" fmla="*/ 0 h 38"/>
                <a:gd name="T14" fmla="*/ 34 w 48"/>
                <a:gd name="T15" fmla="*/ 0 h 38"/>
                <a:gd name="T16" fmla="*/ 34 w 48"/>
                <a:gd name="T17" fmla="*/ 5 h 38"/>
                <a:gd name="T18" fmla="*/ 34 w 48"/>
                <a:gd name="T19" fmla="*/ 5 h 38"/>
                <a:gd name="T20" fmla="*/ 34 w 48"/>
                <a:gd name="T21"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38">
                  <a:moveTo>
                    <a:pt x="34" y="5"/>
                  </a:moveTo>
                  <a:lnTo>
                    <a:pt x="48" y="21"/>
                  </a:lnTo>
                  <a:lnTo>
                    <a:pt x="38" y="33"/>
                  </a:lnTo>
                  <a:lnTo>
                    <a:pt x="34" y="38"/>
                  </a:lnTo>
                  <a:lnTo>
                    <a:pt x="8" y="33"/>
                  </a:lnTo>
                  <a:lnTo>
                    <a:pt x="0" y="16"/>
                  </a:lnTo>
                  <a:lnTo>
                    <a:pt x="17" y="0"/>
                  </a:lnTo>
                  <a:lnTo>
                    <a:pt x="34" y="0"/>
                  </a:lnTo>
                  <a:lnTo>
                    <a:pt x="34" y="5"/>
                  </a:lnTo>
                  <a:lnTo>
                    <a:pt x="34" y="5"/>
                  </a:lnTo>
                  <a:lnTo>
                    <a:pt x="34" y="5"/>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0" name="Freeform 540">
              <a:extLst>
                <a:ext uri="{FF2B5EF4-FFF2-40B4-BE49-F238E27FC236}">
                  <a16:creationId xmlns:a16="http://schemas.microsoft.com/office/drawing/2014/main" id="{E18FBDF8-1257-4B47-A187-AF91D280EEB8}"/>
                </a:ext>
              </a:extLst>
            </p:cNvPr>
            <p:cNvSpPr>
              <a:spLocks/>
            </p:cNvSpPr>
            <p:nvPr/>
          </p:nvSpPr>
          <p:spPr bwMode="gray">
            <a:xfrm>
              <a:off x="6478830" y="2733806"/>
              <a:ext cx="327114" cy="206882"/>
            </a:xfrm>
            <a:custGeom>
              <a:avLst/>
              <a:gdLst>
                <a:gd name="T0" fmla="*/ 151 w 661"/>
                <a:gd name="T1" fmla="*/ 340 h 418"/>
                <a:gd name="T2" fmla="*/ 151 w 661"/>
                <a:gd name="T3" fmla="*/ 324 h 418"/>
                <a:gd name="T4" fmla="*/ 130 w 661"/>
                <a:gd name="T5" fmla="*/ 340 h 418"/>
                <a:gd name="T6" fmla="*/ 97 w 661"/>
                <a:gd name="T7" fmla="*/ 324 h 418"/>
                <a:gd name="T8" fmla="*/ 80 w 661"/>
                <a:gd name="T9" fmla="*/ 317 h 418"/>
                <a:gd name="T10" fmla="*/ 92 w 661"/>
                <a:gd name="T11" fmla="*/ 307 h 418"/>
                <a:gd name="T12" fmla="*/ 92 w 661"/>
                <a:gd name="T13" fmla="*/ 284 h 418"/>
                <a:gd name="T14" fmla="*/ 38 w 661"/>
                <a:gd name="T15" fmla="*/ 229 h 418"/>
                <a:gd name="T16" fmla="*/ 0 w 661"/>
                <a:gd name="T17" fmla="*/ 196 h 418"/>
                <a:gd name="T18" fmla="*/ 28 w 661"/>
                <a:gd name="T19" fmla="*/ 196 h 418"/>
                <a:gd name="T20" fmla="*/ 71 w 661"/>
                <a:gd name="T21" fmla="*/ 184 h 418"/>
                <a:gd name="T22" fmla="*/ 92 w 661"/>
                <a:gd name="T23" fmla="*/ 140 h 418"/>
                <a:gd name="T24" fmla="*/ 123 w 661"/>
                <a:gd name="T25" fmla="*/ 85 h 418"/>
                <a:gd name="T26" fmla="*/ 146 w 661"/>
                <a:gd name="T27" fmla="*/ 57 h 418"/>
                <a:gd name="T28" fmla="*/ 182 w 661"/>
                <a:gd name="T29" fmla="*/ 29 h 418"/>
                <a:gd name="T30" fmla="*/ 220 w 661"/>
                <a:gd name="T31" fmla="*/ 29 h 418"/>
                <a:gd name="T32" fmla="*/ 295 w 661"/>
                <a:gd name="T33" fmla="*/ 29 h 418"/>
                <a:gd name="T34" fmla="*/ 349 w 661"/>
                <a:gd name="T35" fmla="*/ 29 h 418"/>
                <a:gd name="T36" fmla="*/ 420 w 661"/>
                <a:gd name="T37" fmla="*/ 7 h 418"/>
                <a:gd name="T38" fmla="*/ 468 w 661"/>
                <a:gd name="T39" fmla="*/ 19 h 418"/>
                <a:gd name="T40" fmla="*/ 527 w 661"/>
                <a:gd name="T41" fmla="*/ 102 h 418"/>
                <a:gd name="T42" fmla="*/ 560 w 661"/>
                <a:gd name="T43" fmla="*/ 168 h 418"/>
                <a:gd name="T44" fmla="*/ 553 w 661"/>
                <a:gd name="T45" fmla="*/ 239 h 418"/>
                <a:gd name="T46" fmla="*/ 553 w 661"/>
                <a:gd name="T47" fmla="*/ 262 h 418"/>
                <a:gd name="T48" fmla="*/ 590 w 661"/>
                <a:gd name="T49" fmla="*/ 279 h 418"/>
                <a:gd name="T50" fmla="*/ 649 w 661"/>
                <a:gd name="T51" fmla="*/ 267 h 418"/>
                <a:gd name="T52" fmla="*/ 649 w 661"/>
                <a:gd name="T53" fmla="*/ 317 h 418"/>
                <a:gd name="T54" fmla="*/ 612 w 661"/>
                <a:gd name="T55" fmla="*/ 307 h 418"/>
                <a:gd name="T56" fmla="*/ 612 w 661"/>
                <a:gd name="T57" fmla="*/ 300 h 418"/>
                <a:gd name="T58" fmla="*/ 607 w 661"/>
                <a:gd name="T59" fmla="*/ 317 h 418"/>
                <a:gd name="T60" fmla="*/ 612 w 661"/>
                <a:gd name="T61" fmla="*/ 324 h 418"/>
                <a:gd name="T62" fmla="*/ 590 w 661"/>
                <a:gd name="T63" fmla="*/ 340 h 418"/>
                <a:gd name="T64" fmla="*/ 581 w 661"/>
                <a:gd name="T65" fmla="*/ 357 h 418"/>
                <a:gd name="T66" fmla="*/ 581 w 661"/>
                <a:gd name="T67" fmla="*/ 411 h 418"/>
                <a:gd name="T68" fmla="*/ 538 w 661"/>
                <a:gd name="T69" fmla="*/ 390 h 418"/>
                <a:gd name="T70" fmla="*/ 510 w 661"/>
                <a:gd name="T71" fmla="*/ 378 h 418"/>
                <a:gd name="T72" fmla="*/ 489 w 661"/>
                <a:gd name="T73" fmla="*/ 373 h 418"/>
                <a:gd name="T74" fmla="*/ 413 w 661"/>
                <a:gd name="T75" fmla="*/ 390 h 418"/>
                <a:gd name="T76" fmla="*/ 361 w 661"/>
                <a:gd name="T77" fmla="*/ 418 h 418"/>
                <a:gd name="T78" fmla="*/ 274 w 661"/>
                <a:gd name="T79" fmla="*/ 411 h 418"/>
                <a:gd name="T80" fmla="*/ 182 w 661"/>
                <a:gd name="T81" fmla="*/ 406 h 418"/>
                <a:gd name="T82" fmla="*/ 189 w 661"/>
                <a:gd name="T83" fmla="*/ 378 h 418"/>
                <a:gd name="T84" fmla="*/ 168 w 661"/>
                <a:gd name="T85" fmla="*/ 36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1" h="418">
                  <a:moveTo>
                    <a:pt x="168" y="362"/>
                  </a:moveTo>
                  <a:lnTo>
                    <a:pt x="151" y="340"/>
                  </a:lnTo>
                  <a:lnTo>
                    <a:pt x="177" y="340"/>
                  </a:lnTo>
                  <a:lnTo>
                    <a:pt x="151" y="324"/>
                  </a:lnTo>
                  <a:lnTo>
                    <a:pt x="146" y="324"/>
                  </a:lnTo>
                  <a:lnTo>
                    <a:pt x="130" y="340"/>
                  </a:lnTo>
                  <a:lnTo>
                    <a:pt x="123" y="333"/>
                  </a:lnTo>
                  <a:lnTo>
                    <a:pt x="97" y="324"/>
                  </a:lnTo>
                  <a:lnTo>
                    <a:pt x="92" y="317"/>
                  </a:lnTo>
                  <a:lnTo>
                    <a:pt x="80" y="317"/>
                  </a:lnTo>
                  <a:lnTo>
                    <a:pt x="75" y="307"/>
                  </a:lnTo>
                  <a:lnTo>
                    <a:pt x="92" y="307"/>
                  </a:lnTo>
                  <a:lnTo>
                    <a:pt x="75" y="300"/>
                  </a:lnTo>
                  <a:lnTo>
                    <a:pt x="92" y="284"/>
                  </a:lnTo>
                  <a:lnTo>
                    <a:pt x="38" y="251"/>
                  </a:lnTo>
                  <a:lnTo>
                    <a:pt x="38" y="229"/>
                  </a:lnTo>
                  <a:lnTo>
                    <a:pt x="28" y="229"/>
                  </a:lnTo>
                  <a:lnTo>
                    <a:pt x="0" y="196"/>
                  </a:lnTo>
                  <a:lnTo>
                    <a:pt x="16" y="189"/>
                  </a:lnTo>
                  <a:lnTo>
                    <a:pt x="28" y="196"/>
                  </a:lnTo>
                  <a:lnTo>
                    <a:pt x="38" y="184"/>
                  </a:lnTo>
                  <a:lnTo>
                    <a:pt x="71" y="184"/>
                  </a:lnTo>
                  <a:lnTo>
                    <a:pt x="75" y="151"/>
                  </a:lnTo>
                  <a:lnTo>
                    <a:pt x="92" y="140"/>
                  </a:lnTo>
                  <a:lnTo>
                    <a:pt x="97" y="118"/>
                  </a:lnTo>
                  <a:lnTo>
                    <a:pt x="123" y="85"/>
                  </a:lnTo>
                  <a:lnTo>
                    <a:pt x="123" y="73"/>
                  </a:lnTo>
                  <a:lnTo>
                    <a:pt x="146" y="57"/>
                  </a:lnTo>
                  <a:lnTo>
                    <a:pt x="168" y="45"/>
                  </a:lnTo>
                  <a:lnTo>
                    <a:pt x="182" y="29"/>
                  </a:lnTo>
                  <a:lnTo>
                    <a:pt x="205" y="19"/>
                  </a:lnTo>
                  <a:lnTo>
                    <a:pt x="220" y="29"/>
                  </a:lnTo>
                  <a:lnTo>
                    <a:pt x="274" y="29"/>
                  </a:lnTo>
                  <a:lnTo>
                    <a:pt x="295" y="29"/>
                  </a:lnTo>
                  <a:lnTo>
                    <a:pt x="328" y="57"/>
                  </a:lnTo>
                  <a:lnTo>
                    <a:pt x="349" y="29"/>
                  </a:lnTo>
                  <a:lnTo>
                    <a:pt x="413" y="29"/>
                  </a:lnTo>
                  <a:lnTo>
                    <a:pt x="420" y="7"/>
                  </a:lnTo>
                  <a:lnTo>
                    <a:pt x="446" y="0"/>
                  </a:lnTo>
                  <a:lnTo>
                    <a:pt x="468" y="19"/>
                  </a:lnTo>
                  <a:lnTo>
                    <a:pt x="489" y="57"/>
                  </a:lnTo>
                  <a:lnTo>
                    <a:pt x="527" y="102"/>
                  </a:lnTo>
                  <a:lnTo>
                    <a:pt x="543" y="118"/>
                  </a:lnTo>
                  <a:lnTo>
                    <a:pt x="560" y="168"/>
                  </a:lnTo>
                  <a:lnTo>
                    <a:pt x="543" y="196"/>
                  </a:lnTo>
                  <a:lnTo>
                    <a:pt x="553" y="239"/>
                  </a:lnTo>
                  <a:lnTo>
                    <a:pt x="543" y="246"/>
                  </a:lnTo>
                  <a:lnTo>
                    <a:pt x="553" y="262"/>
                  </a:lnTo>
                  <a:lnTo>
                    <a:pt x="564" y="267"/>
                  </a:lnTo>
                  <a:lnTo>
                    <a:pt x="590" y="279"/>
                  </a:lnTo>
                  <a:lnTo>
                    <a:pt x="635" y="262"/>
                  </a:lnTo>
                  <a:lnTo>
                    <a:pt x="649" y="267"/>
                  </a:lnTo>
                  <a:lnTo>
                    <a:pt x="661" y="279"/>
                  </a:lnTo>
                  <a:lnTo>
                    <a:pt x="649" y="317"/>
                  </a:lnTo>
                  <a:lnTo>
                    <a:pt x="612" y="317"/>
                  </a:lnTo>
                  <a:lnTo>
                    <a:pt x="612" y="307"/>
                  </a:lnTo>
                  <a:lnTo>
                    <a:pt x="619" y="300"/>
                  </a:lnTo>
                  <a:lnTo>
                    <a:pt x="612" y="300"/>
                  </a:lnTo>
                  <a:lnTo>
                    <a:pt x="598" y="300"/>
                  </a:lnTo>
                  <a:lnTo>
                    <a:pt x="607" y="317"/>
                  </a:lnTo>
                  <a:lnTo>
                    <a:pt x="598" y="333"/>
                  </a:lnTo>
                  <a:lnTo>
                    <a:pt x="612" y="324"/>
                  </a:lnTo>
                  <a:lnTo>
                    <a:pt x="590" y="333"/>
                  </a:lnTo>
                  <a:lnTo>
                    <a:pt x="590" y="340"/>
                  </a:lnTo>
                  <a:lnTo>
                    <a:pt x="607" y="333"/>
                  </a:lnTo>
                  <a:lnTo>
                    <a:pt x="581" y="357"/>
                  </a:lnTo>
                  <a:lnTo>
                    <a:pt x="590" y="390"/>
                  </a:lnTo>
                  <a:lnTo>
                    <a:pt x="581" y="411"/>
                  </a:lnTo>
                  <a:lnTo>
                    <a:pt x="543" y="406"/>
                  </a:lnTo>
                  <a:lnTo>
                    <a:pt x="538" y="390"/>
                  </a:lnTo>
                  <a:lnTo>
                    <a:pt x="522" y="390"/>
                  </a:lnTo>
                  <a:lnTo>
                    <a:pt x="510" y="378"/>
                  </a:lnTo>
                  <a:lnTo>
                    <a:pt x="501" y="390"/>
                  </a:lnTo>
                  <a:lnTo>
                    <a:pt x="489" y="373"/>
                  </a:lnTo>
                  <a:lnTo>
                    <a:pt x="472" y="373"/>
                  </a:lnTo>
                  <a:lnTo>
                    <a:pt x="413" y="390"/>
                  </a:lnTo>
                  <a:lnTo>
                    <a:pt x="383" y="411"/>
                  </a:lnTo>
                  <a:lnTo>
                    <a:pt x="361" y="418"/>
                  </a:lnTo>
                  <a:lnTo>
                    <a:pt x="295" y="406"/>
                  </a:lnTo>
                  <a:lnTo>
                    <a:pt x="274" y="411"/>
                  </a:lnTo>
                  <a:lnTo>
                    <a:pt x="220" y="395"/>
                  </a:lnTo>
                  <a:lnTo>
                    <a:pt x="182" y="406"/>
                  </a:lnTo>
                  <a:lnTo>
                    <a:pt x="182" y="390"/>
                  </a:lnTo>
                  <a:lnTo>
                    <a:pt x="189" y="378"/>
                  </a:lnTo>
                  <a:lnTo>
                    <a:pt x="168" y="362"/>
                  </a:lnTo>
                  <a:lnTo>
                    <a:pt x="168" y="362"/>
                  </a:lnTo>
                  <a:lnTo>
                    <a:pt x="168" y="362"/>
                  </a:lnTo>
                  <a:close/>
                </a:path>
              </a:pathLst>
            </a:custGeom>
            <a:pattFill prst="dk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1" name="Freeform 541">
              <a:extLst>
                <a:ext uri="{FF2B5EF4-FFF2-40B4-BE49-F238E27FC236}">
                  <a16:creationId xmlns:a16="http://schemas.microsoft.com/office/drawing/2014/main" id="{733F0E55-6EF7-444D-B1CD-47A4900D03E9}"/>
                </a:ext>
              </a:extLst>
            </p:cNvPr>
            <p:cNvSpPr>
              <a:spLocks noEditPoints="1"/>
            </p:cNvSpPr>
            <p:nvPr/>
          </p:nvSpPr>
          <p:spPr bwMode="gray">
            <a:xfrm>
              <a:off x="9833599" y="3898383"/>
              <a:ext cx="334538" cy="527103"/>
            </a:xfrm>
            <a:custGeom>
              <a:avLst/>
              <a:gdLst>
                <a:gd name="T0" fmla="*/ 324 w 676"/>
                <a:gd name="T1" fmla="*/ 16 h 1065"/>
                <a:gd name="T2" fmla="*/ 310 w 676"/>
                <a:gd name="T3" fmla="*/ 50 h 1065"/>
                <a:gd name="T4" fmla="*/ 459 w 676"/>
                <a:gd name="T5" fmla="*/ 437 h 1065"/>
                <a:gd name="T6" fmla="*/ 487 w 676"/>
                <a:gd name="T7" fmla="*/ 494 h 1065"/>
                <a:gd name="T8" fmla="*/ 395 w 676"/>
                <a:gd name="T9" fmla="*/ 416 h 1065"/>
                <a:gd name="T10" fmla="*/ 260 w 676"/>
                <a:gd name="T11" fmla="*/ 416 h 1065"/>
                <a:gd name="T12" fmla="*/ 239 w 676"/>
                <a:gd name="T13" fmla="*/ 349 h 1065"/>
                <a:gd name="T14" fmla="*/ 244 w 676"/>
                <a:gd name="T15" fmla="*/ 250 h 1065"/>
                <a:gd name="T16" fmla="*/ 378 w 676"/>
                <a:gd name="T17" fmla="*/ 90 h 1065"/>
                <a:gd name="T18" fmla="*/ 369 w 676"/>
                <a:gd name="T19" fmla="*/ 250 h 1065"/>
                <a:gd name="T20" fmla="*/ 369 w 676"/>
                <a:gd name="T21" fmla="*/ 416 h 1065"/>
                <a:gd name="T22" fmla="*/ 433 w 676"/>
                <a:gd name="T23" fmla="*/ 437 h 1065"/>
                <a:gd name="T24" fmla="*/ 362 w 676"/>
                <a:gd name="T25" fmla="*/ 342 h 1065"/>
                <a:gd name="T26" fmla="*/ 369 w 676"/>
                <a:gd name="T27" fmla="*/ 361 h 1065"/>
                <a:gd name="T28" fmla="*/ 508 w 676"/>
                <a:gd name="T29" fmla="*/ 444 h 1065"/>
                <a:gd name="T30" fmla="*/ 345 w 676"/>
                <a:gd name="T31" fmla="*/ 461 h 1065"/>
                <a:gd name="T32" fmla="*/ 239 w 676"/>
                <a:gd name="T33" fmla="*/ 444 h 1065"/>
                <a:gd name="T34" fmla="*/ 487 w 676"/>
                <a:gd name="T35" fmla="*/ 453 h 1065"/>
                <a:gd name="T36" fmla="*/ 492 w 676"/>
                <a:gd name="T37" fmla="*/ 470 h 1065"/>
                <a:gd name="T38" fmla="*/ 362 w 676"/>
                <a:gd name="T39" fmla="*/ 510 h 1065"/>
                <a:gd name="T40" fmla="*/ 503 w 676"/>
                <a:gd name="T41" fmla="*/ 581 h 1065"/>
                <a:gd name="T42" fmla="*/ 617 w 676"/>
                <a:gd name="T43" fmla="*/ 626 h 1065"/>
                <a:gd name="T44" fmla="*/ 584 w 676"/>
                <a:gd name="T45" fmla="*/ 527 h 1065"/>
                <a:gd name="T46" fmla="*/ 617 w 676"/>
                <a:gd name="T47" fmla="*/ 626 h 1065"/>
                <a:gd name="T48" fmla="*/ 218 w 676"/>
                <a:gd name="T49" fmla="*/ 555 h 1065"/>
                <a:gd name="T50" fmla="*/ 293 w 676"/>
                <a:gd name="T51" fmla="*/ 538 h 1065"/>
                <a:gd name="T52" fmla="*/ 433 w 676"/>
                <a:gd name="T53" fmla="*/ 621 h 1065"/>
                <a:gd name="T54" fmla="*/ 369 w 676"/>
                <a:gd name="T55" fmla="*/ 572 h 1065"/>
                <a:gd name="T56" fmla="*/ 529 w 676"/>
                <a:gd name="T57" fmla="*/ 581 h 1065"/>
                <a:gd name="T58" fmla="*/ 525 w 676"/>
                <a:gd name="T59" fmla="*/ 638 h 1065"/>
                <a:gd name="T60" fmla="*/ 546 w 676"/>
                <a:gd name="T61" fmla="*/ 692 h 1065"/>
                <a:gd name="T62" fmla="*/ 189 w 676"/>
                <a:gd name="T63" fmla="*/ 666 h 1065"/>
                <a:gd name="T64" fmla="*/ 24 w 676"/>
                <a:gd name="T65" fmla="*/ 803 h 1065"/>
                <a:gd name="T66" fmla="*/ 168 w 676"/>
                <a:gd name="T67" fmla="*/ 659 h 1065"/>
                <a:gd name="T68" fmla="*/ 185 w 676"/>
                <a:gd name="T69" fmla="*/ 642 h 1065"/>
                <a:gd name="T70" fmla="*/ 475 w 676"/>
                <a:gd name="T71" fmla="*/ 666 h 1065"/>
                <a:gd name="T72" fmla="*/ 449 w 676"/>
                <a:gd name="T73" fmla="*/ 675 h 1065"/>
                <a:gd name="T74" fmla="*/ 416 w 676"/>
                <a:gd name="T75" fmla="*/ 699 h 1065"/>
                <a:gd name="T76" fmla="*/ 617 w 676"/>
                <a:gd name="T77" fmla="*/ 649 h 1065"/>
                <a:gd name="T78" fmla="*/ 407 w 676"/>
                <a:gd name="T79" fmla="*/ 659 h 1065"/>
                <a:gd name="T80" fmla="*/ 513 w 676"/>
                <a:gd name="T81" fmla="*/ 659 h 1065"/>
                <a:gd name="T82" fmla="*/ 201 w 676"/>
                <a:gd name="T83" fmla="*/ 666 h 1065"/>
                <a:gd name="T84" fmla="*/ 529 w 676"/>
                <a:gd name="T85" fmla="*/ 699 h 1065"/>
                <a:gd name="T86" fmla="*/ 529 w 676"/>
                <a:gd name="T87" fmla="*/ 699 h 1065"/>
                <a:gd name="T88" fmla="*/ 638 w 676"/>
                <a:gd name="T89" fmla="*/ 720 h 1065"/>
                <a:gd name="T90" fmla="*/ 407 w 676"/>
                <a:gd name="T91" fmla="*/ 886 h 1065"/>
                <a:gd name="T92" fmla="*/ 421 w 676"/>
                <a:gd name="T93" fmla="*/ 831 h 1065"/>
                <a:gd name="T94" fmla="*/ 513 w 676"/>
                <a:gd name="T95" fmla="*/ 815 h 1065"/>
                <a:gd name="T96" fmla="*/ 631 w 676"/>
                <a:gd name="T97" fmla="*/ 737 h 1065"/>
                <a:gd name="T98" fmla="*/ 664 w 676"/>
                <a:gd name="T99" fmla="*/ 860 h 1065"/>
                <a:gd name="T100" fmla="*/ 622 w 676"/>
                <a:gd name="T101" fmla="*/ 914 h 1065"/>
                <a:gd name="T102" fmla="*/ 584 w 676"/>
                <a:gd name="T103" fmla="*/ 1025 h 1065"/>
                <a:gd name="T104" fmla="*/ 492 w 676"/>
                <a:gd name="T105" fmla="*/ 869 h 1065"/>
                <a:gd name="T106" fmla="*/ 454 w 676"/>
                <a:gd name="T107" fmla="*/ 758 h 1065"/>
                <a:gd name="T108" fmla="*/ 546 w 676"/>
                <a:gd name="T109" fmla="*/ 770 h 1065"/>
                <a:gd name="T110" fmla="*/ 416 w 676"/>
                <a:gd name="T111" fmla="*/ 898 h 1065"/>
                <a:gd name="T112" fmla="*/ 622 w 676"/>
                <a:gd name="T113" fmla="*/ 914 h 1065"/>
                <a:gd name="T114" fmla="*/ 352 w 676"/>
                <a:gd name="T115" fmla="*/ 959 h 1065"/>
                <a:gd name="T116" fmla="*/ 255 w 676"/>
                <a:gd name="T117" fmla="*/ 959 h 1065"/>
                <a:gd name="T118" fmla="*/ 310 w 676"/>
                <a:gd name="T119" fmla="*/ 997 h 1065"/>
                <a:gd name="T120" fmla="*/ 277 w 676"/>
                <a:gd name="T121" fmla="*/ 1025 h 1065"/>
                <a:gd name="T122" fmla="*/ 206 w 676"/>
                <a:gd name="T123" fmla="*/ 1065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6" h="1065">
                  <a:moveTo>
                    <a:pt x="352" y="0"/>
                  </a:moveTo>
                  <a:lnTo>
                    <a:pt x="345" y="0"/>
                  </a:lnTo>
                  <a:lnTo>
                    <a:pt x="352" y="0"/>
                  </a:lnTo>
                  <a:lnTo>
                    <a:pt x="352" y="0"/>
                  </a:lnTo>
                  <a:lnTo>
                    <a:pt x="352" y="0"/>
                  </a:lnTo>
                  <a:close/>
                  <a:moveTo>
                    <a:pt x="324" y="16"/>
                  </a:moveTo>
                  <a:lnTo>
                    <a:pt x="314" y="12"/>
                  </a:lnTo>
                  <a:lnTo>
                    <a:pt x="324" y="12"/>
                  </a:lnTo>
                  <a:lnTo>
                    <a:pt x="324" y="16"/>
                  </a:lnTo>
                  <a:lnTo>
                    <a:pt x="324" y="16"/>
                  </a:lnTo>
                  <a:lnTo>
                    <a:pt x="324" y="16"/>
                  </a:lnTo>
                  <a:close/>
                  <a:moveTo>
                    <a:pt x="345" y="54"/>
                  </a:moveTo>
                  <a:lnTo>
                    <a:pt x="345" y="38"/>
                  </a:lnTo>
                  <a:lnTo>
                    <a:pt x="352" y="38"/>
                  </a:lnTo>
                  <a:lnTo>
                    <a:pt x="345" y="54"/>
                  </a:lnTo>
                  <a:lnTo>
                    <a:pt x="345" y="54"/>
                  </a:lnTo>
                  <a:lnTo>
                    <a:pt x="345" y="54"/>
                  </a:lnTo>
                  <a:close/>
                  <a:moveTo>
                    <a:pt x="310" y="50"/>
                  </a:moveTo>
                  <a:lnTo>
                    <a:pt x="314" y="50"/>
                  </a:lnTo>
                  <a:lnTo>
                    <a:pt x="310" y="50"/>
                  </a:lnTo>
                  <a:lnTo>
                    <a:pt x="310" y="50"/>
                  </a:lnTo>
                  <a:lnTo>
                    <a:pt x="310" y="50"/>
                  </a:lnTo>
                  <a:close/>
                  <a:moveTo>
                    <a:pt x="433" y="437"/>
                  </a:moveTo>
                  <a:lnTo>
                    <a:pt x="449" y="420"/>
                  </a:lnTo>
                  <a:lnTo>
                    <a:pt x="437" y="404"/>
                  </a:lnTo>
                  <a:lnTo>
                    <a:pt x="449" y="404"/>
                  </a:lnTo>
                  <a:lnTo>
                    <a:pt x="454" y="416"/>
                  </a:lnTo>
                  <a:lnTo>
                    <a:pt x="492" y="427"/>
                  </a:lnTo>
                  <a:lnTo>
                    <a:pt x="459" y="427"/>
                  </a:lnTo>
                  <a:lnTo>
                    <a:pt x="459" y="437"/>
                  </a:lnTo>
                  <a:lnTo>
                    <a:pt x="487" y="470"/>
                  </a:lnTo>
                  <a:lnTo>
                    <a:pt x="475" y="470"/>
                  </a:lnTo>
                  <a:lnTo>
                    <a:pt x="475" y="477"/>
                  </a:lnTo>
                  <a:lnTo>
                    <a:pt x="487" y="470"/>
                  </a:lnTo>
                  <a:lnTo>
                    <a:pt x="503" y="482"/>
                  </a:lnTo>
                  <a:lnTo>
                    <a:pt x="508" y="477"/>
                  </a:lnTo>
                  <a:lnTo>
                    <a:pt x="503" y="515"/>
                  </a:lnTo>
                  <a:lnTo>
                    <a:pt x="492" y="515"/>
                  </a:lnTo>
                  <a:lnTo>
                    <a:pt x="487" y="498"/>
                  </a:lnTo>
                  <a:lnTo>
                    <a:pt x="487" y="494"/>
                  </a:lnTo>
                  <a:lnTo>
                    <a:pt x="492" y="494"/>
                  </a:lnTo>
                  <a:lnTo>
                    <a:pt x="503" y="482"/>
                  </a:lnTo>
                  <a:lnTo>
                    <a:pt x="487" y="482"/>
                  </a:lnTo>
                  <a:lnTo>
                    <a:pt x="475" y="494"/>
                  </a:lnTo>
                  <a:lnTo>
                    <a:pt x="454" y="477"/>
                  </a:lnTo>
                  <a:lnTo>
                    <a:pt x="449" y="482"/>
                  </a:lnTo>
                  <a:lnTo>
                    <a:pt x="437" y="453"/>
                  </a:lnTo>
                  <a:lnTo>
                    <a:pt x="416" y="437"/>
                  </a:lnTo>
                  <a:lnTo>
                    <a:pt x="416" y="427"/>
                  </a:lnTo>
                  <a:lnTo>
                    <a:pt x="395" y="416"/>
                  </a:lnTo>
                  <a:lnTo>
                    <a:pt x="395" y="427"/>
                  </a:lnTo>
                  <a:lnTo>
                    <a:pt x="407" y="470"/>
                  </a:lnTo>
                  <a:lnTo>
                    <a:pt x="400" y="470"/>
                  </a:lnTo>
                  <a:lnTo>
                    <a:pt x="383" y="444"/>
                  </a:lnTo>
                  <a:lnTo>
                    <a:pt x="340" y="416"/>
                  </a:lnTo>
                  <a:lnTo>
                    <a:pt x="314" y="420"/>
                  </a:lnTo>
                  <a:lnTo>
                    <a:pt x="310" y="437"/>
                  </a:lnTo>
                  <a:lnTo>
                    <a:pt x="293" y="437"/>
                  </a:lnTo>
                  <a:lnTo>
                    <a:pt x="277" y="416"/>
                  </a:lnTo>
                  <a:lnTo>
                    <a:pt x="260" y="416"/>
                  </a:lnTo>
                  <a:lnTo>
                    <a:pt x="260" y="427"/>
                  </a:lnTo>
                  <a:lnTo>
                    <a:pt x="255" y="387"/>
                  </a:lnTo>
                  <a:lnTo>
                    <a:pt x="286" y="371"/>
                  </a:lnTo>
                  <a:lnTo>
                    <a:pt x="286" y="366"/>
                  </a:lnTo>
                  <a:lnTo>
                    <a:pt x="277" y="349"/>
                  </a:lnTo>
                  <a:lnTo>
                    <a:pt x="255" y="349"/>
                  </a:lnTo>
                  <a:lnTo>
                    <a:pt x="255" y="371"/>
                  </a:lnTo>
                  <a:lnTo>
                    <a:pt x="244" y="383"/>
                  </a:lnTo>
                  <a:lnTo>
                    <a:pt x="234" y="361"/>
                  </a:lnTo>
                  <a:lnTo>
                    <a:pt x="239" y="349"/>
                  </a:lnTo>
                  <a:lnTo>
                    <a:pt x="222" y="349"/>
                  </a:lnTo>
                  <a:lnTo>
                    <a:pt x="218" y="316"/>
                  </a:lnTo>
                  <a:lnTo>
                    <a:pt x="206" y="305"/>
                  </a:lnTo>
                  <a:lnTo>
                    <a:pt x="206" y="272"/>
                  </a:lnTo>
                  <a:lnTo>
                    <a:pt x="206" y="260"/>
                  </a:lnTo>
                  <a:lnTo>
                    <a:pt x="201" y="272"/>
                  </a:lnTo>
                  <a:lnTo>
                    <a:pt x="201" y="250"/>
                  </a:lnTo>
                  <a:lnTo>
                    <a:pt x="206" y="234"/>
                  </a:lnTo>
                  <a:lnTo>
                    <a:pt x="222" y="260"/>
                  </a:lnTo>
                  <a:lnTo>
                    <a:pt x="244" y="250"/>
                  </a:lnTo>
                  <a:lnTo>
                    <a:pt x="239" y="217"/>
                  </a:lnTo>
                  <a:lnTo>
                    <a:pt x="244" y="194"/>
                  </a:lnTo>
                  <a:lnTo>
                    <a:pt x="244" y="161"/>
                  </a:lnTo>
                  <a:lnTo>
                    <a:pt x="239" y="144"/>
                  </a:lnTo>
                  <a:lnTo>
                    <a:pt x="260" y="73"/>
                  </a:lnTo>
                  <a:lnTo>
                    <a:pt x="293" y="66"/>
                  </a:lnTo>
                  <a:lnTo>
                    <a:pt x="352" y="94"/>
                  </a:lnTo>
                  <a:lnTo>
                    <a:pt x="362" y="90"/>
                  </a:lnTo>
                  <a:lnTo>
                    <a:pt x="369" y="73"/>
                  </a:lnTo>
                  <a:lnTo>
                    <a:pt x="378" y="90"/>
                  </a:lnTo>
                  <a:lnTo>
                    <a:pt x="378" y="94"/>
                  </a:lnTo>
                  <a:lnTo>
                    <a:pt x="369" y="106"/>
                  </a:lnTo>
                  <a:lnTo>
                    <a:pt x="362" y="127"/>
                  </a:lnTo>
                  <a:lnTo>
                    <a:pt x="369" y="161"/>
                  </a:lnTo>
                  <a:lnTo>
                    <a:pt x="383" y="165"/>
                  </a:lnTo>
                  <a:lnTo>
                    <a:pt x="383" y="177"/>
                  </a:lnTo>
                  <a:lnTo>
                    <a:pt x="395" y="177"/>
                  </a:lnTo>
                  <a:lnTo>
                    <a:pt x="383" y="198"/>
                  </a:lnTo>
                  <a:lnTo>
                    <a:pt x="369" y="234"/>
                  </a:lnTo>
                  <a:lnTo>
                    <a:pt x="369" y="250"/>
                  </a:lnTo>
                  <a:lnTo>
                    <a:pt x="362" y="255"/>
                  </a:lnTo>
                  <a:lnTo>
                    <a:pt x="352" y="260"/>
                  </a:lnTo>
                  <a:lnTo>
                    <a:pt x="362" y="250"/>
                  </a:lnTo>
                  <a:lnTo>
                    <a:pt x="324" y="272"/>
                  </a:lnTo>
                  <a:lnTo>
                    <a:pt x="331" y="288"/>
                  </a:lnTo>
                  <a:lnTo>
                    <a:pt x="310" y="309"/>
                  </a:lnTo>
                  <a:lnTo>
                    <a:pt x="331" y="361"/>
                  </a:lnTo>
                  <a:lnTo>
                    <a:pt x="331" y="366"/>
                  </a:lnTo>
                  <a:lnTo>
                    <a:pt x="340" y="399"/>
                  </a:lnTo>
                  <a:lnTo>
                    <a:pt x="369" y="416"/>
                  </a:lnTo>
                  <a:lnTo>
                    <a:pt x="378" y="404"/>
                  </a:lnTo>
                  <a:lnTo>
                    <a:pt x="369" y="399"/>
                  </a:lnTo>
                  <a:lnTo>
                    <a:pt x="369" y="387"/>
                  </a:lnTo>
                  <a:lnTo>
                    <a:pt x="378" y="404"/>
                  </a:lnTo>
                  <a:lnTo>
                    <a:pt x="383" y="383"/>
                  </a:lnTo>
                  <a:lnTo>
                    <a:pt x="407" y="387"/>
                  </a:lnTo>
                  <a:lnTo>
                    <a:pt x="433" y="416"/>
                  </a:lnTo>
                  <a:lnTo>
                    <a:pt x="433" y="437"/>
                  </a:lnTo>
                  <a:lnTo>
                    <a:pt x="433" y="437"/>
                  </a:lnTo>
                  <a:lnTo>
                    <a:pt x="433" y="437"/>
                  </a:lnTo>
                  <a:close/>
                  <a:moveTo>
                    <a:pt x="218" y="250"/>
                  </a:moveTo>
                  <a:lnTo>
                    <a:pt x="206" y="238"/>
                  </a:lnTo>
                  <a:lnTo>
                    <a:pt x="218" y="238"/>
                  </a:lnTo>
                  <a:lnTo>
                    <a:pt x="218" y="250"/>
                  </a:lnTo>
                  <a:lnTo>
                    <a:pt x="218" y="250"/>
                  </a:lnTo>
                  <a:lnTo>
                    <a:pt x="218" y="250"/>
                  </a:lnTo>
                  <a:close/>
                  <a:moveTo>
                    <a:pt x="352" y="366"/>
                  </a:moveTo>
                  <a:lnTo>
                    <a:pt x="340" y="342"/>
                  </a:lnTo>
                  <a:lnTo>
                    <a:pt x="352" y="333"/>
                  </a:lnTo>
                  <a:lnTo>
                    <a:pt x="362" y="342"/>
                  </a:lnTo>
                  <a:lnTo>
                    <a:pt x="352" y="342"/>
                  </a:lnTo>
                  <a:lnTo>
                    <a:pt x="352" y="361"/>
                  </a:lnTo>
                  <a:lnTo>
                    <a:pt x="352" y="366"/>
                  </a:lnTo>
                  <a:lnTo>
                    <a:pt x="352" y="366"/>
                  </a:lnTo>
                  <a:lnTo>
                    <a:pt x="352" y="366"/>
                  </a:lnTo>
                  <a:close/>
                  <a:moveTo>
                    <a:pt x="369" y="361"/>
                  </a:moveTo>
                  <a:lnTo>
                    <a:pt x="362" y="349"/>
                  </a:lnTo>
                  <a:lnTo>
                    <a:pt x="369" y="349"/>
                  </a:lnTo>
                  <a:lnTo>
                    <a:pt x="369" y="361"/>
                  </a:lnTo>
                  <a:lnTo>
                    <a:pt x="369" y="361"/>
                  </a:lnTo>
                  <a:lnTo>
                    <a:pt x="369" y="361"/>
                  </a:lnTo>
                  <a:close/>
                  <a:moveTo>
                    <a:pt x="508" y="444"/>
                  </a:moveTo>
                  <a:lnTo>
                    <a:pt x="503" y="437"/>
                  </a:lnTo>
                  <a:lnTo>
                    <a:pt x="503" y="420"/>
                  </a:lnTo>
                  <a:lnTo>
                    <a:pt x="503" y="404"/>
                  </a:lnTo>
                  <a:lnTo>
                    <a:pt x="508" y="404"/>
                  </a:lnTo>
                  <a:lnTo>
                    <a:pt x="525" y="420"/>
                  </a:lnTo>
                  <a:lnTo>
                    <a:pt x="513" y="444"/>
                  </a:lnTo>
                  <a:lnTo>
                    <a:pt x="513" y="437"/>
                  </a:lnTo>
                  <a:lnTo>
                    <a:pt x="508" y="444"/>
                  </a:lnTo>
                  <a:lnTo>
                    <a:pt x="508" y="444"/>
                  </a:lnTo>
                  <a:lnTo>
                    <a:pt x="508" y="444"/>
                  </a:lnTo>
                  <a:close/>
                  <a:moveTo>
                    <a:pt x="234" y="437"/>
                  </a:moveTo>
                  <a:lnTo>
                    <a:pt x="222" y="420"/>
                  </a:lnTo>
                  <a:lnTo>
                    <a:pt x="234" y="420"/>
                  </a:lnTo>
                  <a:lnTo>
                    <a:pt x="234" y="437"/>
                  </a:lnTo>
                  <a:lnTo>
                    <a:pt x="234" y="437"/>
                  </a:lnTo>
                  <a:lnTo>
                    <a:pt x="234" y="437"/>
                  </a:lnTo>
                  <a:close/>
                  <a:moveTo>
                    <a:pt x="352" y="470"/>
                  </a:moveTo>
                  <a:lnTo>
                    <a:pt x="345" y="461"/>
                  </a:lnTo>
                  <a:lnTo>
                    <a:pt x="345" y="444"/>
                  </a:lnTo>
                  <a:lnTo>
                    <a:pt x="362" y="453"/>
                  </a:lnTo>
                  <a:lnTo>
                    <a:pt x="352" y="470"/>
                  </a:lnTo>
                  <a:lnTo>
                    <a:pt x="352" y="470"/>
                  </a:lnTo>
                  <a:lnTo>
                    <a:pt x="352" y="470"/>
                  </a:lnTo>
                  <a:close/>
                  <a:moveTo>
                    <a:pt x="314" y="531"/>
                  </a:moveTo>
                  <a:lnTo>
                    <a:pt x="293" y="538"/>
                  </a:lnTo>
                  <a:lnTo>
                    <a:pt x="272" y="498"/>
                  </a:lnTo>
                  <a:lnTo>
                    <a:pt x="260" y="477"/>
                  </a:lnTo>
                  <a:lnTo>
                    <a:pt x="239" y="444"/>
                  </a:lnTo>
                  <a:lnTo>
                    <a:pt x="286" y="444"/>
                  </a:lnTo>
                  <a:lnTo>
                    <a:pt x="324" y="470"/>
                  </a:lnTo>
                  <a:lnTo>
                    <a:pt x="314" y="498"/>
                  </a:lnTo>
                  <a:lnTo>
                    <a:pt x="324" y="510"/>
                  </a:lnTo>
                  <a:lnTo>
                    <a:pt x="314" y="527"/>
                  </a:lnTo>
                  <a:lnTo>
                    <a:pt x="314" y="531"/>
                  </a:lnTo>
                  <a:lnTo>
                    <a:pt x="314" y="531"/>
                  </a:lnTo>
                  <a:lnTo>
                    <a:pt x="314" y="531"/>
                  </a:lnTo>
                  <a:close/>
                  <a:moveTo>
                    <a:pt x="487" y="470"/>
                  </a:moveTo>
                  <a:lnTo>
                    <a:pt x="487" y="453"/>
                  </a:lnTo>
                  <a:lnTo>
                    <a:pt x="492" y="461"/>
                  </a:lnTo>
                  <a:lnTo>
                    <a:pt x="487" y="470"/>
                  </a:lnTo>
                  <a:lnTo>
                    <a:pt x="487" y="470"/>
                  </a:lnTo>
                  <a:lnTo>
                    <a:pt x="487" y="470"/>
                  </a:lnTo>
                  <a:close/>
                  <a:moveTo>
                    <a:pt x="492" y="470"/>
                  </a:moveTo>
                  <a:lnTo>
                    <a:pt x="492" y="461"/>
                  </a:lnTo>
                  <a:lnTo>
                    <a:pt x="503" y="461"/>
                  </a:lnTo>
                  <a:lnTo>
                    <a:pt x="492" y="470"/>
                  </a:lnTo>
                  <a:lnTo>
                    <a:pt x="492" y="470"/>
                  </a:lnTo>
                  <a:lnTo>
                    <a:pt x="492" y="470"/>
                  </a:lnTo>
                  <a:close/>
                  <a:moveTo>
                    <a:pt x="454" y="510"/>
                  </a:moveTo>
                  <a:lnTo>
                    <a:pt x="421" y="477"/>
                  </a:lnTo>
                  <a:lnTo>
                    <a:pt x="433" y="477"/>
                  </a:lnTo>
                  <a:lnTo>
                    <a:pt x="454" y="510"/>
                  </a:lnTo>
                  <a:lnTo>
                    <a:pt x="454" y="510"/>
                  </a:lnTo>
                  <a:lnTo>
                    <a:pt x="454" y="510"/>
                  </a:lnTo>
                  <a:close/>
                  <a:moveTo>
                    <a:pt x="352" y="548"/>
                  </a:moveTo>
                  <a:lnTo>
                    <a:pt x="345" y="531"/>
                  </a:lnTo>
                  <a:lnTo>
                    <a:pt x="352" y="515"/>
                  </a:lnTo>
                  <a:lnTo>
                    <a:pt x="362" y="510"/>
                  </a:lnTo>
                  <a:lnTo>
                    <a:pt x="352" y="548"/>
                  </a:lnTo>
                  <a:lnTo>
                    <a:pt x="352" y="548"/>
                  </a:lnTo>
                  <a:lnTo>
                    <a:pt x="352" y="548"/>
                  </a:lnTo>
                  <a:close/>
                  <a:moveTo>
                    <a:pt x="475" y="531"/>
                  </a:moveTo>
                  <a:lnTo>
                    <a:pt x="470" y="510"/>
                  </a:lnTo>
                  <a:lnTo>
                    <a:pt x="475" y="510"/>
                  </a:lnTo>
                  <a:lnTo>
                    <a:pt x="475" y="531"/>
                  </a:lnTo>
                  <a:lnTo>
                    <a:pt x="475" y="531"/>
                  </a:lnTo>
                  <a:lnTo>
                    <a:pt x="475" y="531"/>
                  </a:lnTo>
                  <a:close/>
                  <a:moveTo>
                    <a:pt x="503" y="581"/>
                  </a:moveTo>
                  <a:lnTo>
                    <a:pt x="459" y="538"/>
                  </a:lnTo>
                  <a:lnTo>
                    <a:pt x="437" y="564"/>
                  </a:lnTo>
                  <a:lnTo>
                    <a:pt x="449" y="538"/>
                  </a:lnTo>
                  <a:lnTo>
                    <a:pt x="437" y="510"/>
                  </a:lnTo>
                  <a:lnTo>
                    <a:pt x="492" y="538"/>
                  </a:lnTo>
                  <a:lnTo>
                    <a:pt x="503" y="555"/>
                  </a:lnTo>
                  <a:lnTo>
                    <a:pt x="503" y="581"/>
                  </a:lnTo>
                  <a:lnTo>
                    <a:pt x="503" y="581"/>
                  </a:lnTo>
                  <a:lnTo>
                    <a:pt x="503" y="581"/>
                  </a:lnTo>
                  <a:close/>
                  <a:moveTo>
                    <a:pt x="617" y="626"/>
                  </a:moveTo>
                  <a:lnTo>
                    <a:pt x="610" y="621"/>
                  </a:lnTo>
                  <a:lnTo>
                    <a:pt x="584" y="621"/>
                  </a:lnTo>
                  <a:lnTo>
                    <a:pt x="563" y="593"/>
                  </a:lnTo>
                  <a:lnTo>
                    <a:pt x="555" y="593"/>
                  </a:lnTo>
                  <a:lnTo>
                    <a:pt x="567" y="572"/>
                  </a:lnTo>
                  <a:lnTo>
                    <a:pt x="525" y="538"/>
                  </a:lnTo>
                  <a:lnTo>
                    <a:pt x="513" y="515"/>
                  </a:lnTo>
                  <a:lnTo>
                    <a:pt x="541" y="515"/>
                  </a:lnTo>
                  <a:lnTo>
                    <a:pt x="579" y="515"/>
                  </a:lnTo>
                  <a:lnTo>
                    <a:pt x="584" y="527"/>
                  </a:lnTo>
                  <a:lnTo>
                    <a:pt x="584" y="531"/>
                  </a:lnTo>
                  <a:lnTo>
                    <a:pt x="600" y="538"/>
                  </a:lnTo>
                  <a:lnTo>
                    <a:pt x="593" y="548"/>
                  </a:lnTo>
                  <a:lnTo>
                    <a:pt x="600" y="548"/>
                  </a:lnTo>
                  <a:lnTo>
                    <a:pt x="593" y="555"/>
                  </a:lnTo>
                  <a:lnTo>
                    <a:pt x="593" y="588"/>
                  </a:lnTo>
                  <a:lnTo>
                    <a:pt x="610" y="605"/>
                  </a:lnTo>
                  <a:lnTo>
                    <a:pt x="600" y="609"/>
                  </a:lnTo>
                  <a:lnTo>
                    <a:pt x="610" y="609"/>
                  </a:lnTo>
                  <a:lnTo>
                    <a:pt x="617" y="626"/>
                  </a:lnTo>
                  <a:lnTo>
                    <a:pt x="617" y="626"/>
                  </a:lnTo>
                  <a:lnTo>
                    <a:pt x="617" y="626"/>
                  </a:lnTo>
                  <a:close/>
                  <a:moveTo>
                    <a:pt x="400" y="538"/>
                  </a:moveTo>
                  <a:lnTo>
                    <a:pt x="383" y="527"/>
                  </a:lnTo>
                  <a:lnTo>
                    <a:pt x="400" y="527"/>
                  </a:lnTo>
                  <a:lnTo>
                    <a:pt x="400" y="538"/>
                  </a:lnTo>
                  <a:lnTo>
                    <a:pt x="400" y="538"/>
                  </a:lnTo>
                  <a:lnTo>
                    <a:pt x="400" y="538"/>
                  </a:lnTo>
                  <a:close/>
                  <a:moveTo>
                    <a:pt x="234" y="555"/>
                  </a:moveTo>
                  <a:lnTo>
                    <a:pt x="218" y="555"/>
                  </a:lnTo>
                  <a:lnTo>
                    <a:pt x="206" y="531"/>
                  </a:lnTo>
                  <a:lnTo>
                    <a:pt x="239" y="548"/>
                  </a:lnTo>
                  <a:lnTo>
                    <a:pt x="239" y="555"/>
                  </a:lnTo>
                  <a:lnTo>
                    <a:pt x="234" y="555"/>
                  </a:lnTo>
                  <a:lnTo>
                    <a:pt x="234" y="555"/>
                  </a:lnTo>
                  <a:lnTo>
                    <a:pt x="234" y="555"/>
                  </a:lnTo>
                  <a:close/>
                  <a:moveTo>
                    <a:pt x="293" y="538"/>
                  </a:moveTo>
                  <a:lnTo>
                    <a:pt x="293" y="548"/>
                  </a:lnTo>
                  <a:lnTo>
                    <a:pt x="286" y="538"/>
                  </a:lnTo>
                  <a:lnTo>
                    <a:pt x="293" y="538"/>
                  </a:lnTo>
                  <a:lnTo>
                    <a:pt x="293" y="538"/>
                  </a:lnTo>
                  <a:lnTo>
                    <a:pt x="293" y="538"/>
                  </a:lnTo>
                  <a:close/>
                  <a:moveTo>
                    <a:pt x="206" y="581"/>
                  </a:moveTo>
                  <a:lnTo>
                    <a:pt x="206" y="555"/>
                  </a:lnTo>
                  <a:lnTo>
                    <a:pt x="222" y="564"/>
                  </a:lnTo>
                  <a:lnTo>
                    <a:pt x="206" y="581"/>
                  </a:lnTo>
                  <a:lnTo>
                    <a:pt x="206" y="581"/>
                  </a:lnTo>
                  <a:lnTo>
                    <a:pt x="206" y="581"/>
                  </a:lnTo>
                  <a:close/>
                  <a:moveTo>
                    <a:pt x="433" y="609"/>
                  </a:moveTo>
                  <a:lnTo>
                    <a:pt x="433" y="621"/>
                  </a:lnTo>
                  <a:lnTo>
                    <a:pt x="407" y="638"/>
                  </a:lnTo>
                  <a:lnTo>
                    <a:pt x="407" y="642"/>
                  </a:lnTo>
                  <a:lnTo>
                    <a:pt x="369" y="659"/>
                  </a:lnTo>
                  <a:lnTo>
                    <a:pt x="352" y="675"/>
                  </a:lnTo>
                  <a:lnTo>
                    <a:pt x="345" y="666"/>
                  </a:lnTo>
                  <a:lnTo>
                    <a:pt x="362" y="581"/>
                  </a:lnTo>
                  <a:lnTo>
                    <a:pt x="362" y="572"/>
                  </a:lnTo>
                  <a:lnTo>
                    <a:pt x="345" y="572"/>
                  </a:lnTo>
                  <a:lnTo>
                    <a:pt x="345" y="564"/>
                  </a:lnTo>
                  <a:lnTo>
                    <a:pt x="369" y="572"/>
                  </a:lnTo>
                  <a:lnTo>
                    <a:pt x="395" y="588"/>
                  </a:lnTo>
                  <a:lnTo>
                    <a:pt x="416" y="588"/>
                  </a:lnTo>
                  <a:lnTo>
                    <a:pt x="416" y="593"/>
                  </a:lnTo>
                  <a:lnTo>
                    <a:pt x="437" y="588"/>
                  </a:lnTo>
                  <a:lnTo>
                    <a:pt x="433" y="609"/>
                  </a:lnTo>
                  <a:lnTo>
                    <a:pt x="433" y="609"/>
                  </a:lnTo>
                  <a:lnTo>
                    <a:pt x="433" y="609"/>
                  </a:lnTo>
                  <a:close/>
                  <a:moveTo>
                    <a:pt x="529" y="593"/>
                  </a:moveTo>
                  <a:lnTo>
                    <a:pt x="513" y="581"/>
                  </a:lnTo>
                  <a:lnTo>
                    <a:pt x="529" y="581"/>
                  </a:lnTo>
                  <a:lnTo>
                    <a:pt x="541" y="588"/>
                  </a:lnTo>
                  <a:lnTo>
                    <a:pt x="529" y="593"/>
                  </a:lnTo>
                  <a:lnTo>
                    <a:pt x="529" y="593"/>
                  </a:lnTo>
                  <a:lnTo>
                    <a:pt x="529" y="593"/>
                  </a:lnTo>
                  <a:close/>
                  <a:moveTo>
                    <a:pt x="546" y="659"/>
                  </a:moveTo>
                  <a:lnTo>
                    <a:pt x="555" y="649"/>
                  </a:lnTo>
                  <a:lnTo>
                    <a:pt x="541" y="638"/>
                  </a:lnTo>
                  <a:lnTo>
                    <a:pt x="529" y="626"/>
                  </a:lnTo>
                  <a:lnTo>
                    <a:pt x="529" y="638"/>
                  </a:lnTo>
                  <a:lnTo>
                    <a:pt x="525" y="638"/>
                  </a:lnTo>
                  <a:lnTo>
                    <a:pt x="513" y="588"/>
                  </a:lnTo>
                  <a:lnTo>
                    <a:pt x="541" y="605"/>
                  </a:lnTo>
                  <a:lnTo>
                    <a:pt x="555" y="593"/>
                  </a:lnTo>
                  <a:lnTo>
                    <a:pt x="563" y="605"/>
                  </a:lnTo>
                  <a:lnTo>
                    <a:pt x="563" y="649"/>
                  </a:lnTo>
                  <a:lnTo>
                    <a:pt x="584" y="683"/>
                  </a:lnTo>
                  <a:lnTo>
                    <a:pt x="567" y="692"/>
                  </a:lnTo>
                  <a:lnTo>
                    <a:pt x="563" y="675"/>
                  </a:lnTo>
                  <a:lnTo>
                    <a:pt x="567" y="699"/>
                  </a:lnTo>
                  <a:lnTo>
                    <a:pt x="546" y="692"/>
                  </a:lnTo>
                  <a:lnTo>
                    <a:pt x="546" y="659"/>
                  </a:lnTo>
                  <a:lnTo>
                    <a:pt x="546" y="659"/>
                  </a:lnTo>
                  <a:lnTo>
                    <a:pt x="546" y="659"/>
                  </a:lnTo>
                  <a:close/>
                  <a:moveTo>
                    <a:pt x="201" y="605"/>
                  </a:moveTo>
                  <a:lnTo>
                    <a:pt x="189" y="593"/>
                  </a:lnTo>
                  <a:lnTo>
                    <a:pt x="206" y="593"/>
                  </a:lnTo>
                  <a:lnTo>
                    <a:pt x="201" y="605"/>
                  </a:lnTo>
                  <a:lnTo>
                    <a:pt x="201" y="605"/>
                  </a:lnTo>
                  <a:lnTo>
                    <a:pt x="201" y="605"/>
                  </a:lnTo>
                  <a:close/>
                  <a:moveTo>
                    <a:pt x="189" y="666"/>
                  </a:moveTo>
                  <a:lnTo>
                    <a:pt x="168" y="683"/>
                  </a:lnTo>
                  <a:lnTo>
                    <a:pt x="163" y="699"/>
                  </a:lnTo>
                  <a:lnTo>
                    <a:pt x="130" y="704"/>
                  </a:lnTo>
                  <a:lnTo>
                    <a:pt x="126" y="720"/>
                  </a:lnTo>
                  <a:lnTo>
                    <a:pt x="130" y="732"/>
                  </a:lnTo>
                  <a:lnTo>
                    <a:pt x="100" y="758"/>
                  </a:lnTo>
                  <a:lnTo>
                    <a:pt x="83" y="758"/>
                  </a:lnTo>
                  <a:lnTo>
                    <a:pt x="76" y="786"/>
                  </a:lnTo>
                  <a:lnTo>
                    <a:pt x="17" y="827"/>
                  </a:lnTo>
                  <a:lnTo>
                    <a:pt x="24" y="803"/>
                  </a:lnTo>
                  <a:lnTo>
                    <a:pt x="55" y="770"/>
                  </a:lnTo>
                  <a:lnTo>
                    <a:pt x="71" y="753"/>
                  </a:lnTo>
                  <a:lnTo>
                    <a:pt x="76" y="753"/>
                  </a:lnTo>
                  <a:lnTo>
                    <a:pt x="130" y="692"/>
                  </a:lnTo>
                  <a:lnTo>
                    <a:pt x="130" y="699"/>
                  </a:lnTo>
                  <a:lnTo>
                    <a:pt x="130" y="692"/>
                  </a:lnTo>
                  <a:lnTo>
                    <a:pt x="137" y="692"/>
                  </a:lnTo>
                  <a:lnTo>
                    <a:pt x="147" y="666"/>
                  </a:lnTo>
                  <a:lnTo>
                    <a:pt x="151" y="675"/>
                  </a:lnTo>
                  <a:lnTo>
                    <a:pt x="168" y="659"/>
                  </a:lnTo>
                  <a:lnTo>
                    <a:pt x="168" y="649"/>
                  </a:lnTo>
                  <a:lnTo>
                    <a:pt x="163" y="638"/>
                  </a:lnTo>
                  <a:lnTo>
                    <a:pt x="180" y="649"/>
                  </a:lnTo>
                  <a:lnTo>
                    <a:pt x="168" y="626"/>
                  </a:lnTo>
                  <a:lnTo>
                    <a:pt x="168" y="621"/>
                  </a:lnTo>
                  <a:lnTo>
                    <a:pt x="180" y="626"/>
                  </a:lnTo>
                  <a:lnTo>
                    <a:pt x="180" y="593"/>
                  </a:lnTo>
                  <a:lnTo>
                    <a:pt x="185" y="609"/>
                  </a:lnTo>
                  <a:lnTo>
                    <a:pt x="180" y="638"/>
                  </a:lnTo>
                  <a:lnTo>
                    <a:pt x="185" y="642"/>
                  </a:lnTo>
                  <a:lnTo>
                    <a:pt x="189" y="666"/>
                  </a:lnTo>
                  <a:lnTo>
                    <a:pt x="189" y="666"/>
                  </a:lnTo>
                  <a:lnTo>
                    <a:pt x="189" y="666"/>
                  </a:lnTo>
                  <a:close/>
                  <a:moveTo>
                    <a:pt x="475" y="621"/>
                  </a:moveTo>
                  <a:lnTo>
                    <a:pt x="475" y="605"/>
                  </a:lnTo>
                  <a:lnTo>
                    <a:pt x="475" y="621"/>
                  </a:lnTo>
                  <a:lnTo>
                    <a:pt x="475" y="621"/>
                  </a:lnTo>
                  <a:lnTo>
                    <a:pt x="475" y="621"/>
                  </a:lnTo>
                  <a:close/>
                  <a:moveTo>
                    <a:pt x="454" y="699"/>
                  </a:moveTo>
                  <a:lnTo>
                    <a:pt x="475" y="666"/>
                  </a:lnTo>
                  <a:lnTo>
                    <a:pt x="492" y="621"/>
                  </a:lnTo>
                  <a:lnTo>
                    <a:pt x="503" y="609"/>
                  </a:lnTo>
                  <a:lnTo>
                    <a:pt x="503" y="675"/>
                  </a:lnTo>
                  <a:lnTo>
                    <a:pt x="470" y="699"/>
                  </a:lnTo>
                  <a:lnTo>
                    <a:pt x="459" y="732"/>
                  </a:lnTo>
                  <a:lnTo>
                    <a:pt x="449" y="749"/>
                  </a:lnTo>
                  <a:lnTo>
                    <a:pt x="454" y="699"/>
                  </a:lnTo>
                  <a:lnTo>
                    <a:pt x="454" y="699"/>
                  </a:lnTo>
                  <a:lnTo>
                    <a:pt x="454" y="699"/>
                  </a:lnTo>
                  <a:close/>
                  <a:moveTo>
                    <a:pt x="449" y="675"/>
                  </a:moveTo>
                  <a:lnTo>
                    <a:pt x="433" y="732"/>
                  </a:lnTo>
                  <a:lnTo>
                    <a:pt x="449" y="753"/>
                  </a:lnTo>
                  <a:lnTo>
                    <a:pt x="437" y="770"/>
                  </a:lnTo>
                  <a:lnTo>
                    <a:pt x="421" y="770"/>
                  </a:lnTo>
                  <a:lnTo>
                    <a:pt x="416" y="753"/>
                  </a:lnTo>
                  <a:lnTo>
                    <a:pt x="395" y="737"/>
                  </a:lnTo>
                  <a:lnTo>
                    <a:pt x="383" y="716"/>
                  </a:lnTo>
                  <a:lnTo>
                    <a:pt x="383" y="704"/>
                  </a:lnTo>
                  <a:lnTo>
                    <a:pt x="400" y="704"/>
                  </a:lnTo>
                  <a:lnTo>
                    <a:pt x="416" y="699"/>
                  </a:lnTo>
                  <a:lnTo>
                    <a:pt x="416" y="659"/>
                  </a:lnTo>
                  <a:lnTo>
                    <a:pt x="421" y="649"/>
                  </a:lnTo>
                  <a:lnTo>
                    <a:pt x="421" y="638"/>
                  </a:lnTo>
                  <a:lnTo>
                    <a:pt x="437" y="626"/>
                  </a:lnTo>
                  <a:lnTo>
                    <a:pt x="459" y="638"/>
                  </a:lnTo>
                  <a:lnTo>
                    <a:pt x="459" y="642"/>
                  </a:lnTo>
                  <a:lnTo>
                    <a:pt x="449" y="675"/>
                  </a:lnTo>
                  <a:lnTo>
                    <a:pt x="449" y="675"/>
                  </a:lnTo>
                  <a:lnTo>
                    <a:pt x="449" y="675"/>
                  </a:lnTo>
                  <a:close/>
                  <a:moveTo>
                    <a:pt x="617" y="649"/>
                  </a:moveTo>
                  <a:lnTo>
                    <a:pt x="610" y="642"/>
                  </a:lnTo>
                  <a:lnTo>
                    <a:pt x="617" y="642"/>
                  </a:lnTo>
                  <a:lnTo>
                    <a:pt x="622" y="649"/>
                  </a:lnTo>
                  <a:lnTo>
                    <a:pt x="617" y="649"/>
                  </a:lnTo>
                  <a:lnTo>
                    <a:pt x="617" y="649"/>
                  </a:lnTo>
                  <a:lnTo>
                    <a:pt x="617" y="649"/>
                  </a:lnTo>
                  <a:close/>
                  <a:moveTo>
                    <a:pt x="395" y="675"/>
                  </a:moveTo>
                  <a:lnTo>
                    <a:pt x="383" y="666"/>
                  </a:lnTo>
                  <a:lnTo>
                    <a:pt x="400" y="649"/>
                  </a:lnTo>
                  <a:lnTo>
                    <a:pt x="407" y="659"/>
                  </a:lnTo>
                  <a:lnTo>
                    <a:pt x="395" y="675"/>
                  </a:lnTo>
                  <a:lnTo>
                    <a:pt x="395" y="675"/>
                  </a:lnTo>
                  <a:lnTo>
                    <a:pt x="395" y="675"/>
                  </a:lnTo>
                  <a:close/>
                  <a:moveTo>
                    <a:pt x="525" y="659"/>
                  </a:moveTo>
                  <a:lnTo>
                    <a:pt x="525" y="649"/>
                  </a:lnTo>
                  <a:lnTo>
                    <a:pt x="529" y="649"/>
                  </a:lnTo>
                  <a:lnTo>
                    <a:pt x="525" y="659"/>
                  </a:lnTo>
                  <a:lnTo>
                    <a:pt x="525" y="659"/>
                  </a:lnTo>
                  <a:lnTo>
                    <a:pt x="525" y="659"/>
                  </a:lnTo>
                  <a:close/>
                  <a:moveTo>
                    <a:pt x="513" y="659"/>
                  </a:moveTo>
                  <a:lnTo>
                    <a:pt x="513" y="649"/>
                  </a:lnTo>
                  <a:lnTo>
                    <a:pt x="525" y="659"/>
                  </a:lnTo>
                  <a:lnTo>
                    <a:pt x="513" y="659"/>
                  </a:lnTo>
                  <a:lnTo>
                    <a:pt x="513" y="659"/>
                  </a:lnTo>
                  <a:lnTo>
                    <a:pt x="513" y="659"/>
                  </a:lnTo>
                  <a:close/>
                  <a:moveTo>
                    <a:pt x="201" y="666"/>
                  </a:moveTo>
                  <a:lnTo>
                    <a:pt x="201" y="659"/>
                  </a:lnTo>
                  <a:lnTo>
                    <a:pt x="218" y="659"/>
                  </a:lnTo>
                  <a:lnTo>
                    <a:pt x="201" y="666"/>
                  </a:lnTo>
                  <a:lnTo>
                    <a:pt x="201" y="666"/>
                  </a:lnTo>
                  <a:lnTo>
                    <a:pt x="201" y="666"/>
                  </a:lnTo>
                  <a:close/>
                  <a:moveTo>
                    <a:pt x="610" y="716"/>
                  </a:moveTo>
                  <a:lnTo>
                    <a:pt x="610" y="704"/>
                  </a:lnTo>
                  <a:lnTo>
                    <a:pt x="600" y="692"/>
                  </a:lnTo>
                  <a:lnTo>
                    <a:pt x="610" y="666"/>
                  </a:lnTo>
                  <a:lnTo>
                    <a:pt x="617" y="704"/>
                  </a:lnTo>
                  <a:lnTo>
                    <a:pt x="610" y="716"/>
                  </a:lnTo>
                  <a:lnTo>
                    <a:pt x="610" y="716"/>
                  </a:lnTo>
                  <a:lnTo>
                    <a:pt x="610" y="716"/>
                  </a:lnTo>
                  <a:close/>
                  <a:moveTo>
                    <a:pt x="529" y="699"/>
                  </a:moveTo>
                  <a:lnTo>
                    <a:pt x="529" y="716"/>
                  </a:lnTo>
                  <a:lnTo>
                    <a:pt x="541" y="720"/>
                  </a:lnTo>
                  <a:lnTo>
                    <a:pt x="525" y="732"/>
                  </a:lnTo>
                  <a:lnTo>
                    <a:pt x="492" y="732"/>
                  </a:lnTo>
                  <a:lnTo>
                    <a:pt x="475" y="720"/>
                  </a:lnTo>
                  <a:lnTo>
                    <a:pt x="475" y="716"/>
                  </a:lnTo>
                  <a:lnTo>
                    <a:pt x="508" y="692"/>
                  </a:lnTo>
                  <a:lnTo>
                    <a:pt x="529" y="699"/>
                  </a:lnTo>
                  <a:lnTo>
                    <a:pt x="529" y="699"/>
                  </a:lnTo>
                  <a:lnTo>
                    <a:pt x="529" y="699"/>
                  </a:lnTo>
                  <a:close/>
                  <a:moveTo>
                    <a:pt x="584" y="704"/>
                  </a:moveTo>
                  <a:lnTo>
                    <a:pt x="579" y="692"/>
                  </a:lnTo>
                  <a:lnTo>
                    <a:pt x="584" y="704"/>
                  </a:lnTo>
                  <a:lnTo>
                    <a:pt x="584" y="704"/>
                  </a:lnTo>
                  <a:lnTo>
                    <a:pt x="584" y="704"/>
                  </a:lnTo>
                  <a:close/>
                  <a:moveTo>
                    <a:pt x="638" y="720"/>
                  </a:moveTo>
                  <a:lnTo>
                    <a:pt x="631" y="716"/>
                  </a:lnTo>
                  <a:lnTo>
                    <a:pt x="638" y="699"/>
                  </a:lnTo>
                  <a:lnTo>
                    <a:pt x="648" y="716"/>
                  </a:lnTo>
                  <a:lnTo>
                    <a:pt x="638" y="720"/>
                  </a:lnTo>
                  <a:lnTo>
                    <a:pt x="638" y="720"/>
                  </a:lnTo>
                  <a:lnTo>
                    <a:pt x="638" y="720"/>
                  </a:lnTo>
                  <a:close/>
                  <a:moveTo>
                    <a:pt x="454" y="898"/>
                  </a:moveTo>
                  <a:lnTo>
                    <a:pt x="449" y="881"/>
                  </a:lnTo>
                  <a:lnTo>
                    <a:pt x="437" y="886"/>
                  </a:lnTo>
                  <a:lnTo>
                    <a:pt x="433" y="881"/>
                  </a:lnTo>
                  <a:lnTo>
                    <a:pt x="437" y="881"/>
                  </a:lnTo>
                  <a:lnTo>
                    <a:pt x="433" y="864"/>
                  </a:lnTo>
                  <a:lnTo>
                    <a:pt x="421" y="886"/>
                  </a:lnTo>
                  <a:lnTo>
                    <a:pt x="407" y="886"/>
                  </a:lnTo>
                  <a:lnTo>
                    <a:pt x="416" y="864"/>
                  </a:lnTo>
                  <a:lnTo>
                    <a:pt x="400" y="864"/>
                  </a:lnTo>
                  <a:lnTo>
                    <a:pt x="378" y="886"/>
                  </a:lnTo>
                  <a:lnTo>
                    <a:pt x="383" y="886"/>
                  </a:lnTo>
                  <a:lnTo>
                    <a:pt x="378" y="898"/>
                  </a:lnTo>
                  <a:lnTo>
                    <a:pt x="362" y="926"/>
                  </a:lnTo>
                  <a:lnTo>
                    <a:pt x="352" y="921"/>
                  </a:lnTo>
                  <a:lnTo>
                    <a:pt x="345" y="914"/>
                  </a:lnTo>
                  <a:lnTo>
                    <a:pt x="369" y="848"/>
                  </a:lnTo>
                  <a:lnTo>
                    <a:pt x="421" y="831"/>
                  </a:lnTo>
                  <a:lnTo>
                    <a:pt x="421" y="810"/>
                  </a:lnTo>
                  <a:lnTo>
                    <a:pt x="449" y="810"/>
                  </a:lnTo>
                  <a:lnTo>
                    <a:pt x="454" y="794"/>
                  </a:lnTo>
                  <a:lnTo>
                    <a:pt x="475" y="803"/>
                  </a:lnTo>
                  <a:lnTo>
                    <a:pt x="487" y="810"/>
                  </a:lnTo>
                  <a:lnTo>
                    <a:pt x="487" y="831"/>
                  </a:lnTo>
                  <a:lnTo>
                    <a:pt x="470" y="848"/>
                  </a:lnTo>
                  <a:lnTo>
                    <a:pt x="492" y="831"/>
                  </a:lnTo>
                  <a:lnTo>
                    <a:pt x="508" y="831"/>
                  </a:lnTo>
                  <a:lnTo>
                    <a:pt x="513" y="815"/>
                  </a:lnTo>
                  <a:lnTo>
                    <a:pt x="525" y="803"/>
                  </a:lnTo>
                  <a:lnTo>
                    <a:pt x="546" y="810"/>
                  </a:lnTo>
                  <a:lnTo>
                    <a:pt x="555" y="777"/>
                  </a:lnTo>
                  <a:lnTo>
                    <a:pt x="567" y="786"/>
                  </a:lnTo>
                  <a:lnTo>
                    <a:pt x="584" y="777"/>
                  </a:lnTo>
                  <a:lnTo>
                    <a:pt x="600" y="777"/>
                  </a:lnTo>
                  <a:lnTo>
                    <a:pt x="593" y="732"/>
                  </a:lnTo>
                  <a:lnTo>
                    <a:pt x="593" y="716"/>
                  </a:lnTo>
                  <a:lnTo>
                    <a:pt x="610" y="732"/>
                  </a:lnTo>
                  <a:lnTo>
                    <a:pt x="631" y="737"/>
                  </a:lnTo>
                  <a:lnTo>
                    <a:pt x="638" y="753"/>
                  </a:lnTo>
                  <a:lnTo>
                    <a:pt x="648" y="753"/>
                  </a:lnTo>
                  <a:lnTo>
                    <a:pt x="648" y="770"/>
                  </a:lnTo>
                  <a:lnTo>
                    <a:pt x="664" y="786"/>
                  </a:lnTo>
                  <a:lnTo>
                    <a:pt x="638" y="803"/>
                  </a:lnTo>
                  <a:lnTo>
                    <a:pt x="648" y="810"/>
                  </a:lnTo>
                  <a:lnTo>
                    <a:pt x="664" y="810"/>
                  </a:lnTo>
                  <a:lnTo>
                    <a:pt x="655" y="831"/>
                  </a:lnTo>
                  <a:lnTo>
                    <a:pt x="669" y="831"/>
                  </a:lnTo>
                  <a:lnTo>
                    <a:pt x="664" y="860"/>
                  </a:lnTo>
                  <a:lnTo>
                    <a:pt x="669" y="869"/>
                  </a:lnTo>
                  <a:lnTo>
                    <a:pt x="676" y="898"/>
                  </a:lnTo>
                  <a:lnTo>
                    <a:pt x="655" y="926"/>
                  </a:lnTo>
                  <a:lnTo>
                    <a:pt x="664" y="938"/>
                  </a:lnTo>
                  <a:lnTo>
                    <a:pt x="655" y="926"/>
                  </a:lnTo>
                  <a:lnTo>
                    <a:pt x="648" y="926"/>
                  </a:lnTo>
                  <a:lnTo>
                    <a:pt x="655" y="938"/>
                  </a:lnTo>
                  <a:lnTo>
                    <a:pt x="648" y="975"/>
                  </a:lnTo>
                  <a:lnTo>
                    <a:pt x="638" y="926"/>
                  </a:lnTo>
                  <a:lnTo>
                    <a:pt x="622" y="914"/>
                  </a:lnTo>
                  <a:lnTo>
                    <a:pt x="622" y="898"/>
                  </a:lnTo>
                  <a:lnTo>
                    <a:pt x="610" y="902"/>
                  </a:lnTo>
                  <a:lnTo>
                    <a:pt x="610" y="914"/>
                  </a:lnTo>
                  <a:lnTo>
                    <a:pt x="600" y="921"/>
                  </a:lnTo>
                  <a:lnTo>
                    <a:pt x="593" y="938"/>
                  </a:lnTo>
                  <a:lnTo>
                    <a:pt x="593" y="954"/>
                  </a:lnTo>
                  <a:lnTo>
                    <a:pt x="610" y="959"/>
                  </a:lnTo>
                  <a:lnTo>
                    <a:pt x="617" y="992"/>
                  </a:lnTo>
                  <a:lnTo>
                    <a:pt x="593" y="1025"/>
                  </a:lnTo>
                  <a:lnTo>
                    <a:pt x="584" y="1025"/>
                  </a:lnTo>
                  <a:lnTo>
                    <a:pt x="579" y="1009"/>
                  </a:lnTo>
                  <a:lnTo>
                    <a:pt x="584" y="980"/>
                  </a:lnTo>
                  <a:lnTo>
                    <a:pt x="579" y="980"/>
                  </a:lnTo>
                  <a:lnTo>
                    <a:pt x="567" y="997"/>
                  </a:lnTo>
                  <a:lnTo>
                    <a:pt x="563" y="997"/>
                  </a:lnTo>
                  <a:lnTo>
                    <a:pt x="513" y="980"/>
                  </a:lnTo>
                  <a:lnTo>
                    <a:pt x="503" y="971"/>
                  </a:lnTo>
                  <a:lnTo>
                    <a:pt x="492" y="926"/>
                  </a:lnTo>
                  <a:lnTo>
                    <a:pt x="513" y="886"/>
                  </a:lnTo>
                  <a:lnTo>
                    <a:pt x="492" y="869"/>
                  </a:lnTo>
                  <a:lnTo>
                    <a:pt x="459" y="860"/>
                  </a:lnTo>
                  <a:lnTo>
                    <a:pt x="454" y="860"/>
                  </a:lnTo>
                  <a:lnTo>
                    <a:pt x="454" y="869"/>
                  </a:lnTo>
                  <a:lnTo>
                    <a:pt x="449" y="881"/>
                  </a:lnTo>
                  <a:lnTo>
                    <a:pt x="454" y="886"/>
                  </a:lnTo>
                  <a:lnTo>
                    <a:pt x="454" y="898"/>
                  </a:lnTo>
                  <a:lnTo>
                    <a:pt x="454" y="898"/>
                  </a:lnTo>
                  <a:lnTo>
                    <a:pt x="454" y="898"/>
                  </a:lnTo>
                  <a:close/>
                  <a:moveTo>
                    <a:pt x="470" y="770"/>
                  </a:moveTo>
                  <a:lnTo>
                    <a:pt x="454" y="758"/>
                  </a:lnTo>
                  <a:lnTo>
                    <a:pt x="470" y="753"/>
                  </a:lnTo>
                  <a:lnTo>
                    <a:pt x="475" y="758"/>
                  </a:lnTo>
                  <a:lnTo>
                    <a:pt x="470" y="770"/>
                  </a:lnTo>
                  <a:lnTo>
                    <a:pt x="470" y="770"/>
                  </a:lnTo>
                  <a:lnTo>
                    <a:pt x="470" y="770"/>
                  </a:lnTo>
                  <a:close/>
                  <a:moveTo>
                    <a:pt x="546" y="770"/>
                  </a:moveTo>
                  <a:lnTo>
                    <a:pt x="541" y="758"/>
                  </a:lnTo>
                  <a:lnTo>
                    <a:pt x="541" y="753"/>
                  </a:lnTo>
                  <a:lnTo>
                    <a:pt x="546" y="758"/>
                  </a:lnTo>
                  <a:lnTo>
                    <a:pt x="546" y="770"/>
                  </a:lnTo>
                  <a:lnTo>
                    <a:pt x="546" y="770"/>
                  </a:lnTo>
                  <a:lnTo>
                    <a:pt x="546" y="770"/>
                  </a:lnTo>
                  <a:close/>
                  <a:moveTo>
                    <a:pt x="7" y="864"/>
                  </a:moveTo>
                  <a:lnTo>
                    <a:pt x="0" y="843"/>
                  </a:lnTo>
                  <a:lnTo>
                    <a:pt x="7" y="843"/>
                  </a:lnTo>
                  <a:lnTo>
                    <a:pt x="17" y="860"/>
                  </a:lnTo>
                  <a:lnTo>
                    <a:pt x="7" y="864"/>
                  </a:lnTo>
                  <a:lnTo>
                    <a:pt x="7" y="864"/>
                  </a:lnTo>
                  <a:lnTo>
                    <a:pt x="7" y="864"/>
                  </a:lnTo>
                  <a:close/>
                  <a:moveTo>
                    <a:pt x="416" y="898"/>
                  </a:moveTo>
                  <a:lnTo>
                    <a:pt x="407" y="886"/>
                  </a:lnTo>
                  <a:lnTo>
                    <a:pt x="421" y="886"/>
                  </a:lnTo>
                  <a:lnTo>
                    <a:pt x="421" y="898"/>
                  </a:lnTo>
                  <a:lnTo>
                    <a:pt x="416" y="898"/>
                  </a:lnTo>
                  <a:lnTo>
                    <a:pt x="416" y="898"/>
                  </a:lnTo>
                  <a:lnTo>
                    <a:pt x="416" y="898"/>
                  </a:lnTo>
                  <a:close/>
                  <a:moveTo>
                    <a:pt x="617" y="926"/>
                  </a:moveTo>
                  <a:lnTo>
                    <a:pt x="610" y="914"/>
                  </a:lnTo>
                  <a:lnTo>
                    <a:pt x="617" y="902"/>
                  </a:lnTo>
                  <a:lnTo>
                    <a:pt x="622" y="914"/>
                  </a:lnTo>
                  <a:lnTo>
                    <a:pt x="617" y="926"/>
                  </a:lnTo>
                  <a:lnTo>
                    <a:pt x="617" y="926"/>
                  </a:lnTo>
                  <a:lnTo>
                    <a:pt x="617" y="926"/>
                  </a:lnTo>
                  <a:close/>
                  <a:moveTo>
                    <a:pt x="114" y="921"/>
                  </a:moveTo>
                  <a:lnTo>
                    <a:pt x="109" y="921"/>
                  </a:lnTo>
                  <a:lnTo>
                    <a:pt x="114" y="914"/>
                  </a:lnTo>
                  <a:lnTo>
                    <a:pt x="114" y="921"/>
                  </a:lnTo>
                  <a:lnTo>
                    <a:pt x="114" y="921"/>
                  </a:lnTo>
                  <a:lnTo>
                    <a:pt x="114" y="921"/>
                  </a:lnTo>
                  <a:close/>
                  <a:moveTo>
                    <a:pt x="352" y="959"/>
                  </a:moveTo>
                  <a:lnTo>
                    <a:pt x="340" y="942"/>
                  </a:lnTo>
                  <a:lnTo>
                    <a:pt x="362" y="938"/>
                  </a:lnTo>
                  <a:lnTo>
                    <a:pt x="369" y="954"/>
                  </a:lnTo>
                  <a:lnTo>
                    <a:pt x="369" y="959"/>
                  </a:lnTo>
                  <a:lnTo>
                    <a:pt x="352" y="959"/>
                  </a:lnTo>
                  <a:lnTo>
                    <a:pt x="352" y="959"/>
                  </a:lnTo>
                  <a:lnTo>
                    <a:pt x="352" y="959"/>
                  </a:lnTo>
                  <a:close/>
                  <a:moveTo>
                    <a:pt x="255" y="975"/>
                  </a:moveTo>
                  <a:lnTo>
                    <a:pt x="244" y="975"/>
                  </a:lnTo>
                  <a:lnTo>
                    <a:pt x="255" y="959"/>
                  </a:lnTo>
                  <a:lnTo>
                    <a:pt x="255" y="975"/>
                  </a:lnTo>
                  <a:lnTo>
                    <a:pt x="255" y="975"/>
                  </a:lnTo>
                  <a:lnTo>
                    <a:pt x="255" y="975"/>
                  </a:lnTo>
                  <a:close/>
                  <a:moveTo>
                    <a:pt x="345" y="992"/>
                  </a:moveTo>
                  <a:lnTo>
                    <a:pt x="340" y="980"/>
                  </a:lnTo>
                  <a:lnTo>
                    <a:pt x="352" y="992"/>
                  </a:lnTo>
                  <a:lnTo>
                    <a:pt x="345" y="992"/>
                  </a:lnTo>
                  <a:lnTo>
                    <a:pt x="345" y="992"/>
                  </a:lnTo>
                  <a:lnTo>
                    <a:pt x="345" y="992"/>
                  </a:lnTo>
                  <a:close/>
                  <a:moveTo>
                    <a:pt x="310" y="997"/>
                  </a:moveTo>
                  <a:lnTo>
                    <a:pt x="298" y="997"/>
                  </a:lnTo>
                  <a:lnTo>
                    <a:pt x="277" y="997"/>
                  </a:lnTo>
                  <a:lnTo>
                    <a:pt x="277" y="992"/>
                  </a:lnTo>
                  <a:lnTo>
                    <a:pt x="293" y="980"/>
                  </a:lnTo>
                  <a:lnTo>
                    <a:pt x="314" y="992"/>
                  </a:lnTo>
                  <a:lnTo>
                    <a:pt x="310" y="997"/>
                  </a:lnTo>
                  <a:lnTo>
                    <a:pt x="310" y="997"/>
                  </a:lnTo>
                  <a:lnTo>
                    <a:pt x="310" y="997"/>
                  </a:lnTo>
                  <a:close/>
                  <a:moveTo>
                    <a:pt x="277" y="1030"/>
                  </a:moveTo>
                  <a:lnTo>
                    <a:pt x="277" y="1025"/>
                  </a:lnTo>
                  <a:lnTo>
                    <a:pt x="277" y="1030"/>
                  </a:lnTo>
                  <a:lnTo>
                    <a:pt x="277" y="1030"/>
                  </a:lnTo>
                  <a:lnTo>
                    <a:pt x="277" y="1030"/>
                  </a:lnTo>
                  <a:close/>
                  <a:moveTo>
                    <a:pt x="206" y="1065"/>
                  </a:moveTo>
                  <a:lnTo>
                    <a:pt x="201" y="1053"/>
                  </a:lnTo>
                  <a:lnTo>
                    <a:pt x="234" y="1037"/>
                  </a:lnTo>
                  <a:lnTo>
                    <a:pt x="234" y="1053"/>
                  </a:lnTo>
                  <a:lnTo>
                    <a:pt x="218" y="1046"/>
                  </a:lnTo>
                  <a:lnTo>
                    <a:pt x="206" y="1065"/>
                  </a:lnTo>
                  <a:lnTo>
                    <a:pt x="206" y="1065"/>
                  </a:lnTo>
                  <a:lnTo>
                    <a:pt x="206" y="1065"/>
                  </a:lnTo>
                  <a:close/>
                </a:path>
              </a:pathLst>
            </a:custGeom>
            <a:pattFill prst="lt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3" name="Freeform 543">
              <a:extLst>
                <a:ext uri="{FF2B5EF4-FFF2-40B4-BE49-F238E27FC236}">
                  <a16:creationId xmlns:a16="http://schemas.microsoft.com/office/drawing/2014/main" id="{374A3A83-0D99-440B-A95B-16854173533D}"/>
                </a:ext>
              </a:extLst>
            </p:cNvPr>
            <p:cNvSpPr>
              <a:spLocks noEditPoints="1"/>
            </p:cNvSpPr>
            <p:nvPr/>
          </p:nvSpPr>
          <p:spPr bwMode="gray">
            <a:xfrm>
              <a:off x="-220814" y="706565"/>
              <a:ext cx="12596102" cy="2340535"/>
            </a:xfrm>
            <a:custGeom>
              <a:avLst/>
              <a:gdLst>
                <a:gd name="T0" fmla="*/ 24366 w 25453"/>
                <a:gd name="T1" fmla="*/ 2721 h 4729"/>
                <a:gd name="T2" fmla="*/ 23563 w 25453"/>
                <a:gd name="T3" fmla="*/ 3031 h 4729"/>
                <a:gd name="T4" fmla="*/ 23076 w 25453"/>
                <a:gd name="T5" fmla="*/ 3692 h 4729"/>
                <a:gd name="T6" fmla="*/ 23331 w 25453"/>
                <a:gd name="T7" fmla="*/ 2809 h 4729"/>
                <a:gd name="T8" fmla="*/ 22391 w 25453"/>
                <a:gd name="T9" fmla="*/ 2993 h 4729"/>
                <a:gd name="T10" fmla="*/ 22018 w 25453"/>
                <a:gd name="T11" fmla="*/ 3643 h 4729"/>
                <a:gd name="T12" fmla="*/ 21312 w 25453"/>
                <a:gd name="T13" fmla="*/ 4578 h 4729"/>
                <a:gd name="T14" fmla="*/ 20955 w 25453"/>
                <a:gd name="T15" fmla="*/ 3676 h 4729"/>
                <a:gd name="T16" fmla="*/ 19167 w 25453"/>
                <a:gd name="T17" fmla="*/ 3768 h 4729"/>
                <a:gd name="T18" fmla="*/ 18078 w 25453"/>
                <a:gd name="T19" fmla="*/ 3936 h 4729"/>
                <a:gd name="T20" fmla="*/ 17117 w 25453"/>
                <a:gd name="T21" fmla="*/ 3487 h 4729"/>
                <a:gd name="T22" fmla="*/ 16424 w 25453"/>
                <a:gd name="T23" fmla="*/ 3803 h 4729"/>
                <a:gd name="T24" fmla="*/ 15550 w 25453"/>
                <a:gd name="T25" fmla="*/ 3931 h 4729"/>
                <a:gd name="T26" fmla="*/ 15425 w 25453"/>
                <a:gd name="T27" fmla="*/ 4694 h 4729"/>
                <a:gd name="T28" fmla="*/ 14821 w 25453"/>
                <a:gd name="T29" fmla="*/ 4191 h 4729"/>
                <a:gd name="T30" fmla="*/ 14388 w 25453"/>
                <a:gd name="T31" fmla="*/ 3581 h 4729"/>
                <a:gd name="T32" fmla="*/ 14169 w 25453"/>
                <a:gd name="T33" fmla="*/ 2792 h 4729"/>
                <a:gd name="T34" fmla="*/ 14471 w 25453"/>
                <a:gd name="T35" fmla="*/ 1862 h 4729"/>
                <a:gd name="T36" fmla="*/ 14660 w 25453"/>
                <a:gd name="T37" fmla="*/ 2488 h 4729"/>
                <a:gd name="T38" fmla="*/ 15395 w 25453"/>
                <a:gd name="T39" fmla="*/ 2018 h 4729"/>
                <a:gd name="T40" fmla="*/ 16278 w 25453"/>
                <a:gd name="T41" fmla="*/ 1918 h 4729"/>
                <a:gd name="T42" fmla="*/ 16991 w 25453"/>
                <a:gd name="T43" fmla="*/ 1368 h 4729"/>
                <a:gd name="T44" fmla="*/ 17298 w 25453"/>
                <a:gd name="T45" fmla="*/ 2105 h 4729"/>
                <a:gd name="T46" fmla="*/ 17407 w 25453"/>
                <a:gd name="T47" fmla="*/ 1545 h 4729"/>
                <a:gd name="T48" fmla="*/ 17969 w 25453"/>
                <a:gd name="T49" fmla="*/ 1718 h 4729"/>
                <a:gd name="T50" fmla="*/ 18272 w 25453"/>
                <a:gd name="T51" fmla="*/ 1075 h 4729"/>
                <a:gd name="T52" fmla="*/ 19103 w 25453"/>
                <a:gd name="T53" fmla="*/ 891 h 4729"/>
                <a:gd name="T54" fmla="*/ 20065 w 25453"/>
                <a:gd name="T55" fmla="*/ 981 h 4729"/>
                <a:gd name="T56" fmla="*/ 20074 w 25453"/>
                <a:gd name="T57" fmla="*/ 1290 h 4729"/>
                <a:gd name="T58" fmla="*/ 21782 w 25453"/>
                <a:gd name="T59" fmla="*/ 1573 h 4729"/>
                <a:gd name="T60" fmla="*/ 22644 w 25453"/>
                <a:gd name="T61" fmla="*/ 1552 h 4729"/>
                <a:gd name="T62" fmla="*/ 24227 w 25453"/>
                <a:gd name="T63" fmla="*/ 1767 h 4729"/>
                <a:gd name="T64" fmla="*/ 25053 w 25453"/>
                <a:gd name="T65" fmla="*/ 2046 h 4729"/>
                <a:gd name="T66" fmla="*/ 25205 w 25453"/>
                <a:gd name="T67" fmla="*/ 2400 h 4729"/>
                <a:gd name="T68" fmla="*/ 16188 w 25453"/>
                <a:gd name="T69" fmla="*/ 5 h 4729"/>
                <a:gd name="T70" fmla="*/ 18557 w 25453"/>
                <a:gd name="T71" fmla="*/ 236 h 4729"/>
                <a:gd name="T72" fmla="*/ 16198 w 25453"/>
                <a:gd name="T73" fmla="*/ 116 h 4729"/>
                <a:gd name="T74" fmla="*/ 15593 w 25453"/>
                <a:gd name="T75" fmla="*/ 203 h 4729"/>
                <a:gd name="T76" fmla="*/ 15345 w 25453"/>
                <a:gd name="T77" fmla="*/ 236 h 4729"/>
                <a:gd name="T78" fmla="*/ 15933 w 25453"/>
                <a:gd name="T79" fmla="*/ 236 h 4729"/>
                <a:gd name="T80" fmla="*/ 18650 w 25453"/>
                <a:gd name="T81" fmla="*/ 404 h 4729"/>
                <a:gd name="T82" fmla="*/ 16252 w 25453"/>
                <a:gd name="T83" fmla="*/ 322 h 4729"/>
                <a:gd name="T84" fmla="*/ 19221 w 25453"/>
                <a:gd name="T85" fmla="*/ 598 h 4729"/>
                <a:gd name="T86" fmla="*/ 23093 w 25453"/>
                <a:gd name="T87" fmla="*/ 758 h 4729"/>
                <a:gd name="T88" fmla="*/ 16727 w 25453"/>
                <a:gd name="T89" fmla="*/ 832 h 4729"/>
                <a:gd name="T90" fmla="*/ 18978 w 25453"/>
                <a:gd name="T91" fmla="*/ 815 h 4729"/>
                <a:gd name="T92" fmla="*/ 18898 w 25453"/>
                <a:gd name="T93" fmla="*/ 886 h 4729"/>
                <a:gd name="T94" fmla="*/ 22046 w 25453"/>
                <a:gd name="T95" fmla="*/ 931 h 4729"/>
                <a:gd name="T96" fmla="*/ 16257 w 25453"/>
                <a:gd name="T97" fmla="*/ 947 h 4729"/>
                <a:gd name="T98" fmla="*/ 17700 w 25453"/>
                <a:gd name="T99" fmla="*/ 1129 h 4729"/>
                <a:gd name="T100" fmla="*/ 18125 w 25453"/>
                <a:gd name="T101" fmla="*/ 1195 h 4729"/>
                <a:gd name="T102" fmla="*/ 20700 w 25453"/>
                <a:gd name="T103" fmla="*/ 1363 h 4729"/>
                <a:gd name="T104" fmla="*/ 17133 w 25453"/>
                <a:gd name="T105" fmla="*/ 1314 h 4729"/>
                <a:gd name="T106" fmla="*/ 15858 w 25453"/>
                <a:gd name="T107" fmla="*/ 1363 h 4729"/>
                <a:gd name="T108" fmla="*/ 17693 w 25453"/>
                <a:gd name="T109" fmla="*/ 1392 h 4729"/>
                <a:gd name="T110" fmla="*/ 21775 w 25453"/>
                <a:gd name="T111" fmla="*/ 1552 h 4729"/>
                <a:gd name="T112" fmla="*/ 16257 w 25453"/>
                <a:gd name="T113" fmla="*/ 1696 h 4729"/>
                <a:gd name="T114" fmla="*/ 15534 w 25453"/>
                <a:gd name="T115" fmla="*/ 1923 h 4729"/>
                <a:gd name="T116" fmla="*/ 0 w 25453"/>
                <a:gd name="T117" fmla="*/ 2400 h 4729"/>
                <a:gd name="T118" fmla="*/ 13590 w 25453"/>
                <a:gd name="T119" fmla="*/ 3421 h 4729"/>
                <a:gd name="T120" fmla="*/ 22169 w 25453"/>
                <a:gd name="T121" fmla="*/ 3659 h 4729"/>
                <a:gd name="T122" fmla="*/ 23001 w 25453"/>
                <a:gd name="T123" fmla="*/ 3903 h 4729"/>
                <a:gd name="T124" fmla="*/ 22483 w 25453"/>
                <a:gd name="T125" fmla="*/ 4373 h 4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453" h="4729">
                  <a:moveTo>
                    <a:pt x="24735" y="2360"/>
                  </a:moveTo>
                  <a:lnTo>
                    <a:pt x="24706" y="2388"/>
                  </a:lnTo>
                  <a:lnTo>
                    <a:pt x="24638" y="2421"/>
                  </a:lnTo>
                  <a:lnTo>
                    <a:pt x="24654" y="2405"/>
                  </a:lnTo>
                  <a:lnTo>
                    <a:pt x="24572" y="2405"/>
                  </a:lnTo>
                  <a:lnTo>
                    <a:pt x="24562" y="2384"/>
                  </a:lnTo>
                  <a:lnTo>
                    <a:pt x="24517" y="2360"/>
                  </a:lnTo>
                  <a:lnTo>
                    <a:pt x="24479" y="2367"/>
                  </a:lnTo>
                  <a:lnTo>
                    <a:pt x="24529" y="2367"/>
                  </a:lnTo>
                  <a:lnTo>
                    <a:pt x="24550" y="2388"/>
                  </a:lnTo>
                  <a:lnTo>
                    <a:pt x="24529" y="2400"/>
                  </a:lnTo>
                  <a:lnTo>
                    <a:pt x="24508" y="2384"/>
                  </a:lnTo>
                  <a:lnTo>
                    <a:pt x="24491" y="2388"/>
                  </a:lnTo>
                  <a:lnTo>
                    <a:pt x="24465" y="2377"/>
                  </a:lnTo>
                  <a:lnTo>
                    <a:pt x="24442" y="2400"/>
                  </a:lnTo>
                  <a:lnTo>
                    <a:pt x="24352" y="2405"/>
                  </a:lnTo>
                  <a:lnTo>
                    <a:pt x="24437" y="2400"/>
                  </a:lnTo>
                  <a:lnTo>
                    <a:pt x="24465" y="2384"/>
                  </a:lnTo>
                  <a:lnTo>
                    <a:pt x="24491" y="2405"/>
                  </a:lnTo>
                  <a:lnTo>
                    <a:pt x="24465" y="2417"/>
                  </a:lnTo>
                  <a:lnTo>
                    <a:pt x="24465" y="2421"/>
                  </a:lnTo>
                  <a:lnTo>
                    <a:pt x="24491" y="2405"/>
                  </a:lnTo>
                  <a:lnTo>
                    <a:pt x="24513" y="2421"/>
                  </a:lnTo>
                  <a:lnTo>
                    <a:pt x="24529" y="2405"/>
                  </a:lnTo>
                  <a:lnTo>
                    <a:pt x="24567" y="2400"/>
                  </a:lnTo>
                  <a:lnTo>
                    <a:pt x="24550" y="2421"/>
                  </a:lnTo>
                  <a:lnTo>
                    <a:pt x="24572" y="2445"/>
                  </a:lnTo>
                  <a:lnTo>
                    <a:pt x="24605" y="2462"/>
                  </a:lnTo>
                  <a:lnTo>
                    <a:pt x="24621" y="2445"/>
                  </a:lnTo>
                  <a:lnTo>
                    <a:pt x="24626" y="2455"/>
                  </a:lnTo>
                  <a:lnTo>
                    <a:pt x="24638" y="2478"/>
                  </a:lnTo>
                  <a:lnTo>
                    <a:pt x="24626" y="2495"/>
                  </a:lnTo>
                  <a:lnTo>
                    <a:pt x="24642" y="2495"/>
                  </a:lnTo>
                  <a:lnTo>
                    <a:pt x="24654" y="2528"/>
                  </a:lnTo>
                  <a:lnTo>
                    <a:pt x="24642" y="2528"/>
                  </a:lnTo>
                  <a:lnTo>
                    <a:pt x="24621" y="2532"/>
                  </a:lnTo>
                  <a:lnTo>
                    <a:pt x="24654" y="2532"/>
                  </a:lnTo>
                  <a:lnTo>
                    <a:pt x="24654" y="2549"/>
                  </a:lnTo>
                  <a:lnTo>
                    <a:pt x="24642" y="2556"/>
                  </a:lnTo>
                  <a:lnTo>
                    <a:pt x="24659" y="2549"/>
                  </a:lnTo>
                  <a:lnTo>
                    <a:pt x="24654" y="2532"/>
                  </a:lnTo>
                  <a:lnTo>
                    <a:pt x="24668" y="2566"/>
                  </a:lnTo>
                  <a:lnTo>
                    <a:pt x="24659" y="2556"/>
                  </a:lnTo>
                  <a:lnTo>
                    <a:pt x="24659" y="2566"/>
                  </a:lnTo>
                  <a:lnTo>
                    <a:pt x="24697" y="2582"/>
                  </a:lnTo>
                  <a:lnTo>
                    <a:pt x="24697" y="2599"/>
                  </a:lnTo>
                  <a:lnTo>
                    <a:pt x="24680" y="2606"/>
                  </a:lnTo>
                  <a:lnTo>
                    <a:pt x="24706" y="2622"/>
                  </a:lnTo>
                  <a:lnTo>
                    <a:pt x="24706" y="2643"/>
                  </a:lnTo>
                  <a:lnTo>
                    <a:pt x="24676" y="2660"/>
                  </a:lnTo>
                  <a:lnTo>
                    <a:pt x="24680" y="2677"/>
                  </a:lnTo>
                  <a:lnTo>
                    <a:pt x="24676" y="2681"/>
                  </a:lnTo>
                  <a:lnTo>
                    <a:pt x="24600" y="2655"/>
                  </a:lnTo>
                  <a:lnTo>
                    <a:pt x="24550" y="2643"/>
                  </a:lnTo>
                  <a:lnTo>
                    <a:pt x="24550" y="2627"/>
                  </a:lnTo>
                  <a:lnTo>
                    <a:pt x="24562" y="2622"/>
                  </a:lnTo>
                  <a:lnTo>
                    <a:pt x="24546" y="2639"/>
                  </a:lnTo>
                  <a:lnTo>
                    <a:pt x="24529" y="2610"/>
                  </a:lnTo>
                  <a:lnTo>
                    <a:pt x="24529" y="2639"/>
                  </a:lnTo>
                  <a:lnTo>
                    <a:pt x="24550" y="2643"/>
                  </a:lnTo>
                  <a:lnTo>
                    <a:pt x="24508" y="2655"/>
                  </a:lnTo>
                  <a:lnTo>
                    <a:pt x="24479" y="2677"/>
                  </a:lnTo>
                  <a:lnTo>
                    <a:pt x="24373" y="2721"/>
                  </a:lnTo>
                  <a:lnTo>
                    <a:pt x="24357" y="2717"/>
                  </a:lnTo>
                  <a:lnTo>
                    <a:pt x="24366" y="2721"/>
                  </a:lnTo>
                  <a:lnTo>
                    <a:pt x="24357" y="2733"/>
                  </a:lnTo>
                  <a:lnTo>
                    <a:pt x="24328" y="2733"/>
                  </a:lnTo>
                  <a:lnTo>
                    <a:pt x="24319" y="2738"/>
                  </a:lnTo>
                  <a:lnTo>
                    <a:pt x="24302" y="2750"/>
                  </a:lnTo>
                  <a:lnTo>
                    <a:pt x="24290" y="2738"/>
                  </a:lnTo>
                  <a:lnTo>
                    <a:pt x="24281" y="2766"/>
                  </a:lnTo>
                  <a:lnTo>
                    <a:pt x="24276" y="2766"/>
                  </a:lnTo>
                  <a:lnTo>
                    <a:pt x="24260" y="2776"/>
                  </a:lnTo>
                  <a:lnTo>
                    <a:pt x="24243" y="2771"/>
                  </a:lnTo>
                  <a:lnTo>
                    <a:pt x="24227" y="2776"/>
                  </a:lnTo>
                  <a:lnTo>
                    <a:pt x="24243" y="2788"/>
                  </a:lnTo>
                  <a:lnTo>
                    <a:pt x="24227" y="2788"/>
                  </a:lnTo>
                  <a:lnTo>
                    <a:pt x="24239" y="2792"/>
                  </a:lnTo>
                  <a:lnTo>
                    <a:pt x="24222" y="2804"/>
                  </a:lnTo>
                  <a:lnTo>
                    <a:pt x="24205" y="2792"/>
                  </a:lnTo>
                  <a:lnTo>
                    <a:pt x="24205" y="2809"/>
                  </a:lnTo>
                  <a:lnTo>
                    <a:pt x="24210" y="2821"/>
                  </a:lnTo>
                  <a:lnTo>
                    <a:pt x="24194" y="2821"/>
                  </a:lnTo>
                  <a:lnTo>
                    <a:pt x="24184" y="2809"/>
                  </a:lnTo>
                  <a:lnTo>
                    <a:pt x="24189" y="2828"/>
                  </a:lnTo>
                  <a:lnTo>
                    <a:pt x="24184" y="2844"/>
                  </a:lnTo>
                  <a:lnTo>
                    <a:pt x="24172" y="2828"/>
                  </a:lnTo>
                  <a:lnTo>
                    <a:pt x="24172" y="2844"/>
                  </a:lnTo>
                  <a:lnTo>
                    <a:pt x="24151" y="2844"/>
                  </a:lnTo>
                  <a:lnTo>
                    <a:pt x="24151" y="2849"/>
                  </a:lnTo>
                  <a:lnTo>
                    <a:pt x="24135" y="2849"/>
                  </a:lnTo>
                  <a:lnTo>
                    <a:pt x="24135" y="2866"/>
                  </a:lnTo>
                  <a:lnTo>
                    <a:pt x="24080" y="2887"/>
                  </a:lnTo>
                  <a:lnTo>
                    <a:pt x="24080" y="2899"/>
                  </a:lnTo>
                  <a:lnTo>
                    <a:pt x="24076" y="2903"/>
                  </a:lnTo>
                  <a:lnTo>
                    <a:pt x="24064" y="2936"/>
                  </a:lnTo>
                  <a:lnTo>
                    <a:pt x="24059" y="2936"/>
                  </a:lnTo>
                  <a:lnTo>
                    <a:pt x="24033" y="2920"/>
                  </a:lnTo>
                  <a:lnTo>
                    <a:pt x="24021" y="2887"/>
                  </a:lnTo>
                  <a:lnTo>
                    <a:pt x="23979" y="2866"/>
                  </a:lnTo>
                  <a:lnTo>
                    <a:pt x="23979" y="2877"/>
                  </a:lnTo>
                  <a:lnTo>
                    <a:pt x="23913" y="2866"/>
                  </a:lnTo>
                  <a:lnTo>
                    <a:pt x="23832" y="2899"/>
                  </a:lnTo>
                  <a:lnTo>
                    <a:pt x="23761" y="2953"/>
                  </a:lnTo>
                  <a:lnTo>
                    <a:pt x="23773" y="2887"/>
                  </a:lnTo>
                  <a:lnTo>
                    <a:pt x="23778" y="2882"/>
                  </a:lnTo>
                  <a:lnTo>
                    <a:pt x="23757" y="2882"/>
                  </a:lnTo>
                  <a:lnTo>
                    <a:pt x="23702" y="2920"/>
                  </a:lnTo>
                  <a:lnTo>
                    <a:pt x="23686" y="2915"/>
                  </a:lnTo>
                  <a:lnTo>
                    <a:pt x="23702" y="2932"/>
                  </a:lnTo>
                  <a:lnTo>
                    <a:pt x="23681" y="2953"/>
                  </a:lnTo>
                  <a:lnTo>
                    <a:pt x="23665" y="2936"/>
                  </a:lnTo>
                  <a:lnTo>
                    <a:pt x="23648" y="2920"/>
                  </a:lnTo>
                  <a:lnTo>
                    <a:pt x="23643" y="2920"/>
                  </a:lnTo>
                  <a:lnTo>
                    <a:pt x="23643" y="2932"/>
                  </a:lnTo>
                  <a:lnTo>
                    <a:pt x="23627" y="2936"/>
                  </a:lnTo>
                  <a:lnTo>
                    <a:pt x="23627" y="2943"/>
                  </a:lnTo>
                  <a:lnTo>
                    <a:pt x="23617" y="2943"/>
                  </a:lnTo>
                  <a:lnTo>
                    <a:pt x="23627" y="2936"/>
                  </a:lnTo>
                  <a:lnTo>
                    <a:pt x="23617" y="2932"/>
                  </a:lnTo>
                  <a:lnTo>
                    <a:pt x="23596" y="2932"/>
                  </a:lnTo>
                  <a:lnTo>
                    <a:pt x="23601" y="2936"/>
                  </a:lnTo>
                  <a:lnTo>
                    <a:pt x="23596" y="2943"/>
                  </a:lnTo>
                  <a:lnTo>
                    <a:pt x="23572" y="2953"/>
                  </a:lnTo>
                  <a:lnTo>
                    <a:pt x="23572" y="2972"/>
                  </a:lnTo>
                  <a:lnTo>
                    <a:pt x="23558" y="2977"/>
                  </a:lnTo>
                  <a:lnTo>
                    <a:pt x="23572" y="2998"/>
                  </a:lnTo>
                  <a:lnTo>
                    <a:pt x="23563" y="3010"/>
                  </a:lnTo>
                  <a:lnTo>
                    <a:pt x="23546" y="3010"/>
                  </a:lnTo>
                  <a:lnTo>
                    <a:pt x="23563" y="3031"/>
                  </a:lnTo>
                  <a:lnTo>
                    <a:pt x="23546" y="3026"/>
                  </a:lnTo>
                  <a:lnTo>
                    <a:pt x="23542" y="3026"/>
                  </a:lnTo>
                  <a:lnTo>
                    <a:pt x="23546" y="3043"/>
                  </a:lnTo>
                  <a:lnTo>
                    <a:pt x="23504" y="3071"/>
                  </a:lnTo>
                  <a:lnTo>
                    <a:pt x="23487" y="3099"/>
                  </a:lnTo>
                  <a:lnTo>
                    <a:pt x="23471" y="3137"/>
                  </a:lnTo>
                  <a:lnTo>
                    <a:pt x="23487" y="3158"/>
                  </a:lnTo>
                  <a:lnTo>
                    <a:pt x="23504" y="3170"/>
                  </a:lnTo>
                  <a:lnTo>
                    <a:pt x="23504" y="3175"/>
                  </a:lnTo>
                  <a:lnTo>
                    <a:pt x="23520" y="3154"/>
                  </a:lnTo>
                  <a:lnTo>
                    <a:pt x="23563" y="3158"/>
                  </a:lnTo>
                  <a:lnTo>
                    <a:pt x="23563" y="3170"/>
                  </a:lnTo>
                  <a:lnTo>
                    <a:pt x="23558" y="3192"/>
                  </a:lnTo>
                  <a:lnTo>
                    <a:pt x="23525" y="3208"/>
                  </a:lnTo>
                  <a:lnTo>
                    <a:pt x="23535" y="3236"/>
                  </a:lnTo>
                  <a:lnTo>
                    <a:pt x="23535" y="3269"/>
                  </a:lnTo>
                  <a:lnTo>
                    <a:pt x="23542" y="3281"/>
                  </a:lnTo>
                  <a:lnTo>
                    <a:pt x="23563" y="3269"/>
                  </a:lnTo>
                  <a:lnTo>
                    <a:pt x="23572" y="3326"/>
                  </a:lnTo>
                  <a:lnTo>
                    <a:pt x="23546" y="3347"/>
                  </a:lnTo>
                  <a:lnTo>
                    <a:pt x="23525" y="3336"/>
                  </a:lnTo>
                  <a:lnTo>
                    <a:pt x="23525" y="3319"/>
                  </a:lnTo>
                  <a:lnTo>
                    <a:pt x="23558" y="3293"/>
                  </a:lnTo>
                  <a:lnTo>
                    <a:pt x="23546" y="3293"/>
                  </a:lnTo>
                  <a:lnTo>
                    <a:pt x="23542" y="3303"/>
                  </a:lnTo>
                  <a:lnTo>
                    <a:pt x="23525" y="3303"/>
                  </a:lnTo>
                  <a:lnTo>
                    <a:pt x="23504" y="3310"/>
                  </a:lnTo>
                  <a:lnTo>
                    <a:pt x="23520" y="3326"/>
                  </a:lnTo>
                  <a:lnTo>
                    <a:pt x="23483" y="3343"/>
                  </a:lnTo>
                  <a:lnTo>
                    <a:pt x="23454" y="3397"/>
                  </a:lnTo>
                  <a:lnTo>
                    <a:pt x="23466" y="3437"/>
                  </a:lnTo>
                  <a:lnTo>
                    <a:pt x="23487" y="3458"/>
                  </a:lnTo>
                  <a:lnTo>
                    <a:pt x="23487" y="3475"/>
                  </a:lnTo>
                  <a:lnTo>
                    <a:pt x="23454" y="3503"/>
                  </a:lnTo>
                  <a:lnTo>
                    <a:pt x="23428" y="3503"/>
                  </a:lnTo>
                  <a:lnTo>
                    <a:pt x="23416" y="3491"/>
                  </a:lnTo>
                  <a:lnTo>
                    <a:pt x="23383" y="3503"/>
                  </a:lnTo>
                  <a:lnTo>
                    <a:pt x="23341" y="3541"/>
                  </a:lnTo>
                  <a:lnTo>
                    <a:pt x="23324" y="3581"/>
                  </a:lnTo>
                  <a:lnTo>
                    <a:pt x="23331" y="3586"/>
                  </a:lnTo>
                  <a:lnTo>
                    <a:pt x="23331" y="3603"/>
                  </a:lnTo>
                  <a:lnTo>
                    <a:pt x="23324" y="3598"/>
                  </a:lnTo>
                  <a:lnTo>
                    <a:pt x="23341" y="3619"/>
                  </a:lnTo>
                  <a:lnTo>
                    <a:pt x="23341" y="3636"/>
                  </a:lnTo>
                  <a:lnTo>
                    <a:pt x="23308" y="3619"/>
                  </a:lnTo>
                  <a:lnTo>
                    <a:pt x="23270" y="3643"/>
                  </a:lnTo>
                  <a:lnTo>
                    <a:pt x="23249" y="3659"/>
                  </a:lnTo>
                  <a:lnTo>
                    <a:pt x="23239" y="3643"/>
                  </a:lnTo>
                  <a:lnTo>
                    <a:pt x="23223" y="3643"/>
                  </a:lnTo>
                  <a:lnTo>
                    <a:pt x="23223" y="3659"/>
                  </a:lnTo>
                  <a:lnTo>
                    <a:pt x="23239" y="3659"/>
                  </a:lnTo>
                  <a:lnTo>
                    <a:pt x="23232" y="3680"/>
                  </a:lnTo>
                  <a:lnTo>
                    <a:pt x="23223" y="3680"/>
                  </a:lnTo>
                  <a:lnTo>
                    <a:pt x="23232" y="3692"/>
                  </a:lnTo>
                  <a:lnTo>
                    <a:pt x="23232" y="3714"/>
                  </a:lnTo>
                  <a:lnTo>
                    <a:pt x="23218" y="3730"/>
                  </a:lnTo>
                  <a:lnTo>
                    <a:pt x="23218" y="3751"/>
                  </a:lnTo>
                  <a:lnTo>
                    <a:pt x="23105" y="3846"/>
                  </a:lnTo>
                  <a:lnTo>
                    <a:pt x="23109" y="3836"/>
                  </a:lnTo>
                  <a:lnTo>
                    <a:pt x="23093" y="3808"/>
                  </a:lnTo>
                  <a:lnTo>
                    <a:pt x="23093" y="3751"/>
                  </a:lnTo>
                  <a:lnTo>
                    <a:pt x="23076" y="3692"/>
                  </a:lnTo>
                  <a:lnTo>
                    <a:pt x="23088" y="3697"/>
                  </a:lnTo>
                  <a:lnTo>
                    <a:pt x="23088" y="3692"/>
                  </a:lnTo>
                  <a:lnTo>
                    <a:pt x="23076" y="3692"/>
                  </a:lnTo>
                  <a:lnTo>
                    <a:pt x="23060" y="3669"/>
                  </a:lnTo>
                  <a:lnTo>
                    <a:pt x="23022" y="3421"/>
                  </a:lnTo>
                  <a:lnTo>
                    <a:pt x="23034" y="3359"/>
                  </a:lnTo>
                  <a:lnTo>
                    <a:pt x="23055" y="3281"/>
                  </a:lnTo>
                  <a:lnTo>
                    <a:pt x="23088" y="3253"/>
                  </a:lnTo>
                  <a:lnTo>
                    <a:pt x="23093" y="3236"/>
                  </a:lnTo>
                  <a:lnTo>
                    <a:pt x="23105" y="3236"/>
                  </a:lnTo>
                  <a:lnTo>
                    <a:pt x="23126" y="3208"/>
                  </a:lnTo>
                  <a:lnTo>
                    <a:pt x="23126" y="3182"/>
                  </a:lnTo>
                  <a:lnTo>
                    <a:pt x="23109" y="3175"/>
                  </a:lnTo>
                  <a:lnTo>
                    <a:pt x="23126" y="3158"/>
                  </a:lnTo>
                  <a:lnTo>
                    <a:pt x="23142" y="3170"/>
                  </a:lnTo>
                  <a:lnTo>
                    <a:pt x="23157" y="3170"/>
                  </a:lnTo>
                  <a:lnTo>
                    <a:pt x="23168" y="3142"/>
                  </a:lnTo>
                  <a:lnTo>
                    <a:pt x="23218" y="3142"/>
                  </a:lnTo>
                  <a:lnTo>
                    <a:pt x="23320" y="3059"/>
                  </a:lnTo>
                  <a:lnTo>
                    <a:pt x="23324" y="3031"/>
                  </a:lnTo>
                  <a:lnTo>
                    <a:pt x="23362" y="2998"/>
                  </a:lnTo>
                  <a:lnTo>
                    <a:pt x="23374" y="2977"/>
                  </a:lnTo>
                  <a:lnTo>
                    <a:pt x="23395" y="2972"/>
                  </a:lnTo>
                  <a:lnTo>
                    <a:pt x="23438" y="2920"/>
                  </a:lnTo>
                  <a:lnTo>
                    <a:pt x="23466" y="2915"/>
                  </a:lnTo>
                  <a:lnTo>
                    <a:pt x="23471" y="2903"/>
                  </a:lnTo>
                  <a:lnTo>
                    <a:pt x="23471" y="2882"/>
                  </a:lnTo>
                  <a:lnTo>
                    <a:pt x="23535" y="2861"/>
                  </a:lnTo>
                  <a:lnTo>
                    <a:pt x="23542" y="2849"/>
                  </a:lnTo>
                  <a:lnTo>
                    <a:pt x="23596" y="2832"/>
                  </a:lnTo>
                  <a:lnTo>
                    <a:pt x="23596" y="2828"/>
                  </a:lnTo>
                  <a:lnTo>
                    <a:pt x="23579" y="2821"/>
                  </a:lnTo>
                  <a:lnTo>
                    <a:pt x="23617" y="2788"/>
                  </a:lnTo>
                  <a:lnTo>
                    <a:pt x="23617" y="2776"/>
                  </a:lnTo>
                  <a:lnTo>
                    <a:pt x="23601" y="2771"/>
                  </a:lnTo>
                  <a:lnTo>
                    <a:pt x="23610" y="2755"/>
                  </a:lnTo>
                  <a:lnTo>
                    <a:pt x="23617" y="2750"/>
                  </a:lnTo>
                  <a:lnTo>
                    <a:pt x="23627" y="2681"/>
                  </a:lnTo>
                  <a:lnTo>
                    <a:pt x="23655" y="2660"/>
                  </a:lnTo>
                  <a:lnTo>
                    <a:pt x="23698" y="2665"/>
                  </a:lnTo>
                  <a:lnTo>
                    <a:pt x="23709" y="2677"/>
                  </a:lnTo>
                  <a:lnTo>
                    <a:pt x="23698" y="2660"/>
                  </a:lnTo>
                  <a:lnTo>
                    <a:pt x="23735" y="2660"/>
                  </a:lnTo>
                  <a:lnTo>
                    <a:pt x="23686" y="2655"/>
                  </a:lnTo>
                  <a:lnTo>
                    <a:pt x="23643" y="2639"/>
                  </a:lnTo>
                  <a:lnTo>
                    <a:pt x="23563" y="2655"/>
                  </a:lnTo>
                  <a:lnTo>
                    <a:pt x="23558" y="2660"/>
                  </a:lnTo>
                  <a:lnTo>
                    <a:pt x="23572" y="2677"/>
                  </a:lnTo>
                  <a:lnTo>
                    <a:pt x="23558" y="2681"/>
                  </a:lnTo>
                  <a:lnTo>
                    <a:pt x="23558" y="2710"/>
                  </a:lnTo>
                  <a:lnTo>
                    <a:pt x="23542" y="2733"/>
                  </a:lnTo>
                  <a:lnTo>
                    <a:pt x="23572" y="2738"/>
                  </a:lnTo>
                  <a:lnTo>
                    <a:pt x="23563" y="2750"/>
                  </a:lnTo>
                  <a:lnTo>
                    <a:pt x="23546" y="2766"/>
                  </a:lnTo>
                  <a:lnTo>
                    <a:pt x="23535" y="2750"/>
                  </a:lnTo>
                  <a:lnTo>
                    <a:pt x="23525" y="2750"/>
                  </a:lnTo>
                  <a:lnTo>
                    <a:pt x="23535" y="2755"/>
                  </a:lnTo>
                  <a:lnTo>
                    <a:pt x="23504" y="2750"/>
                  </a:lnTo>
                  <a:lnTo>
                    <a:pt x="23400" y="2832"/>
                  </a:lnTo>
                  <a:lnTo>
                    <a:pt x="23395" y="2849"/>
                  </a:lnTo>
                  <a:lnTo>
                    <a:pt x="23362" y="2849"/>
                  </a:lnTo>
                  <a:lnTo>
                    <a:pt x="23346" y="2866"/>
                  </a:lnTo>
                  <a:lnTo>
                    <a:pt x="23357" y="2849"/>
                  </a:lnTo>
                  <a:lnTo>
                    <a:pt x="23346" y="2844"/>
                  </a:lnTo>
                  <a:lnTo>
                    <a:pt x="23362" y="2821"/>
                  </a:lnTo>
                  <a:lnTo>
                    <a:pt x="23346" y="2821"/>
                  </a:lnTo>
                  <a:lnTo>
                    <a:pt x="23324" y="2828"/>
                  </a:lnTo>
                  <a:lnTo>
                    <a:pt x="23331" y="2809"/>
                  </a:lnTo>
                  <a:lnTo>
                    <a:pt x="23331" y="2792"/>
                  </a:lnTo>
                  <a:lnTo>
                    <a:pt x="23324" y="2792"/>
                  </a:lnTo>
                  <a:lnTo>
                    <a:pt x="23362" y="2738"/>
                  </a:lnTo>
                  <a:lnTo>
                    <a:pt x="23362" y="2717"/>
                  </a:lnTo>
                  <a:lnTo>
                    <a:pt x="23303" y="2750"/>
                  </a:lnTo>
                  <a:lnTo>
                    <a:pt x="23294" y="2721"/>
                  </a:lnTo>
                  <a:lnTo>
                    <a:pt x="23287" y="2721"/>
                  </a:lnTo>
                  <a:lnTo>
                    <a:pt x="23202" y="2738"/>
                  </a:lnTo>
                  <a:lnTo>
                    <a:pt x="23164" y="2733"/>
                  </a:lnTo>
                  <a:lnTo>
                    <a:pt x="23109" y="2766"/>
                  </a:lnTo>
                  <a:lnTo>
                    <a:pt x="23105" y="2804"/>
                  </a:lnTo>
                  <a:lnTo>
                    <a:pt x="23060" y="2821"/>
                  </a:lnTo>
                  <a:lnTo>
                    <a:pt x="23055" y="2832"/>
                  </a:lnTo>
                  <a:lnTo>
                    <a:pt x="23050" y="2849"/>
                  </a:lnTo>
                  <a:lnTo>
                    <a:pt x="22984" y="2887"/>
                  </a:lnTo>
                  <a:lnTo>
                    <a:pt x="22963" y="2915"/>
                  </a:lnTo>
                  <a:lnTo>
                    <a:pt x="22946" y="2936"/>
                  </a:lnTo>
                  <a:lnTo>
                    <a:pt x="22930" y="2943"/>
                  </a:lnTo>
                  <a:lnTo>
                    <a:pt x="22942" y="2972"/>
                  </a:lnTo>
                  <a:lnTo>
                    <a:pt x="22925" y="2988"/>
                  </a:lnTo>
                  <a:lnTo>
                    <a:pt x="22925" y="2993"/>
                  </a:lnTo>
                  <a:lnTo>
                    <a:pt x="22953" y="2993"/>
                  </a:lnTo>
                  <a:lnTo>
                    <a:pt x="22946" y="2977"/>
                  </a:lnTo>
                  <a:lnTo>
                    <a:pt x="22984" y="2988"/>
                  </a:lnTo>
                  <a:lnTo>
                    <a:pt x="23001" y="2998"/>
                  </a:lnTo>
                  <a:lnTo>
                    <a:pt x="22996" y="3014"/>
                  </a:lnTo>
                  <a:lnTo>
                    <a:pt x="22968" y="3026"/>
                  </a:lnTo>
                  <a:lnTo>
                    <a:pt x="22946" y="3014"/>
                  </a:lnTo>
                  <a:lnTo>
                    <a:pt x="22942" y="3014"/>
                  </a:lnTo>
                  <a:lnTo>
                    <a:pt x="22930" y="3031"/>
                  </a:lnTo>
                  <a:lnTo>
                    <a:pt x="22916" y="3031"/>
                  </a:lnTo>
                  <a:lnTo>
                    <a:pt x="22899" y="3014"/>
                  </a:lnTo>
                  <a:lnTo>
                    <a:pt x="22871" y="3010"/>
                  </a:lnTo>
                  <a:lnTo>
                    <a:pt x="22861" y="3026"/>
                  </a:lnTo>
                  <a:lnTo>
                    <a:pt x="22845" y="3031"/>
                  </a:lnTo>
                  <a:lnTo>
                    <a:pt x="22840" y="3047"/>
                  </a:lnTo>
                  <a:lnTo>
                    <a:pt x="22802" y="3031"/>
                  </a:lnTo>
                  <a:lnTo>
                    <a:pt x="22786" y="3043"/>
                  </a:lnTo>
                  <a:lnTo>
                    <a:pt x="22779" y="3047"/>
                  </a:lnTo>
                  <a:lnTo>
                    <a:pt x="22731" y="3059"/>
                  </a:lnTo>
                  <a:lnTo>
                    <a:pt x="22710" y="3026"/>
                  </a:lnTo>
                  <a:lnTo>
                    <a:pt x="22791" y="3014"/>
                  </a:lnTo>
                  <a:lnTo>
                    <a:pt x="22765" y="3010"/>
                  </a:lnTo>
                  <a:lnTo>
                    <a:pt x="22748" y="2988"/>
                  </a:lnTo>
                  <a:lnTo>
                    <a:pt x="22731" y="2977"/>
                  </a:lnTo>
                  <a:lnTo>
                    <a:pt x="22698" y="2977"/>
                  </a:lnTo>
                  <a:lnTo>
                    <a:pt x="22698" y="2988"/>
                  </a:lnTo>
                  <a:lnTo>
                    <a:pt x="22682" y="2993"/>
                  </a:lnTo>
                  <a:lnTo>
                    <a:pt x="22682" y="2988"/>
                  </a:lnTo>
                  <a:lnTo>
                    <a:pt x="22665" y="2988"/>
                  </a:lnTo>
                  <a:lnTo>
                    <a:pt x="22682" y="2977"/>
                  </a:lnTo>
                  <a:lnTo>
                    <a:pt x="22606" y="2953"/>
                  </a:lnTo>
                  <a:lnTo>
                    <a:pt x="22568" y="2972"/>
                  </a:lnTo>
                  <a:lnTo>
                    <a:pt x="22576" y="2993"/>
                  </a:lnTo>
                  <a:lnTo>
                    <a:pt x="22559" y="2993"/>
                  </a:lnTo>
                  <a:lnTo>
                    <a:pt x="22552" y="2977"/>
                  </a:lnTo>
                  <a:lnTo>
                    <a:pt x="22547" y="2988"/>
                  </a:lnTo>
                  <a:lnTo>
                    <a:pt x="22547" y="2998"/>
                  </a:lnTo>
                  <a:lnTo>
                    <a:pt x="22559" y="2998"/>
                  </a:lnTo>
                  <a:lnTo>
                    <a:pt x="22559" y="3010"/>
                  </a:lnTo>
                  <a:lnTo>
                    <a:pt x="22521" y="3010"/>
                  </a:lnTo>
                  <a:lnTo>
                    <a:pt x="22521" y="2993"/>
                  </a:lnTo>
                  <a:lnTo>
                    <a:pt x="22505" y="2993"/>
                  </a:lnTo>
                  <a:lnTo>
                    <a:pt x="22462" y="3010"/>
                  </a:lnTo>
                  <a:lnTo>
                    <a:pt x="22391" y="2993"/>
                  </a:lnTo>
                  <a:lnTo>
                    <a:pt x="22375" y="2993"/>
                  </a:lnTo>
                  <a:lnTo>
                    <a:pt x="22375" y="3014"/>
                  </a:lnTo>
                  <a:lnTo>
                    <a:pt x="22354" y="3026"/>
                  </a:lnTo>
                  <a:lnTo>
                    <a:pt x="22337" y="3010"/>
                  </a:lnTo>
                  <a:lnTo>
                    <a:pt x="22342" y="2993"/>
                  </a:lnTo>
                  <a:lnTo>
                    <a:pt x="22207" y="2993"/>
                  </a:lnTo>
                  <a:lnTo>
                    <a:pt x="22160" y="2998"/>
                  </a:lnTo>
                  <a:lnTo>
                    <a:pt x="22084" y="3031"/>
                  </a:lnTo>
                  <a:lnTo>
                    <a:pt x="22051" y="3071"/>
                  </a:lnTo>
                  <a:lnTo>
                    <a:pt x="21980" y="3121"/>
                  </a:lnTo>
                  <a:lnTo>
                    <a:pt x="21964" y="3158"/>
                  </a:lnTo>
                  <a:lnTo>
                    <a:pt x="21938" y="3175"/>
                  </a:lnTo>
                  <a:lnTo>
                    <a:pt x="21900" y="3215"/>
                  </a:lnTo>
                  <a:lnTo>
                    <a:pt x="21872" y="3225"/>
                  </a:lnTo>
                  <a:lnTo>
                    <a:pt x="21857" y="3248"/>
                  </a:lnTo>
                  <a:lnTo>
                    <a:pt x="21834" y="3248"/>
                  </a:lnTo>
                  <a:lnTo>
                    <a:pt x="21803" y="3293"/>
                  </a:lnTo>
                  <a:lnTo>
                    <a:pt x="21803" y="3303"/>
                  </a:lnTo>
                  <a:lnTo>
                    <a:pt x="21775" y="3336"/>
                  </a:lnTo>
                  <a:lnTo>
                    <a:pt x="21683" y="3397"/>
                  </a:lnTo>
                  <a:lnTo>
                    <a:pt x="21668" y="3421"/>
                  </a:lnTo>
                  <a:lnTo>
                    <a:pt x="21619" y="3437"/>
                  </a:lnTo>
                  <a:lnTo>
                    <a:pt x="21598" y="3458"/>
                  </a:lnTo>
                  <a:lnTo>
                    <a:pt x="21602" y="3475"/>
                  </a:lnTo>
                  <a:lnTo>
                    <a:pt x="21635" y="3491"/>
                  </a:lnTo>
                  <a:lnTo>
                    <a:pt x="21711" y="3487"/>
                  </a:lnTo>
                  <a:lnTo>
                    <a:pt x="21711" y="3491"/>
                  </a:lnTo>
                  <a:lnTo>
                    <a:pt x="21706" y="3508"/>
                  </a:lnTo>
                  <a:lnTo>
                    <a:pt x="21711" y="3532"/>
                  </a:lnTo>
                  <a:lnTo>
                    <a:pt x="21694" y="3558"/>
                  </a:lnTo>
                  <a:lnTo>
                    <a:pt x="21706" y="3569"/>
                  </a:lnTo>
                  <a:lnTo>
                    <a:pt x="21737" y="3565"/>
                  </a:lnTo>
                  <a:lnTo>
                    <a:pt x="21744" y="3548"/>
                  </a:lnTo>
                  <a:lnTo>
                    <a:pt x="21728" y="3532"/>
                  </a:lnTo>
                  <a:lnTo>
                    <a:pt x="21737" y="3532"/>
                  </a:lnTo>
                  <a:lnTo>
                    <a:pt x="21775" y="3515"/>
                  </a:lnTo>
                  <a:lnTo>
                    <a:pt x="21744" y="3541"/>
                  </a:lnTo>
                  <a:lnTo>
                    <a:pt x="21744" y="3548"/>
                  </a:lnTo>
                  <a:lnTo>
                    <a:pt x="21765" y="3558"/>
                  </a:lnTo>
                  <a:lnTo>
                    <a:pt x="21782" y="3558"/>
                  </a:lnTo>
                  <a:lnTo>
                    <a:pt x="21765" y="3565"/>
                  </a:lnTo>
                  <a:lnTo>
                    <a:pt x="21758" y="3581"/>
                  </a:lnTo>
                  <a:lnTo>
                    <a:pt x="21737" y="3586"/>
                  </a:lnTo>
                  <a:lnTo>
                    <a:pt x="21744" y="3598"/>
                  </a:lnTo>
                  <a:lnTo>
                    <a:pt x="21791" y="3598"/>
                  </a:lnTo>
                  <a:lnTo>
                    <a:pt x="21813" y="3581"/>
                  </a:lnTo>
                  <a:lnTo>
                    <a:pt x="21820" y="3565"/>
                  </a:lnTo>
                  <a:lnTo>
                    <a:pt x="21834" y="3548"/>
                  </a:lnTo>
                  <a:lnTo>
                    <a:pt x="21834" y="3569"/>
                  </a:lnTo>
                  <a:lnTo>
                    <a:pt x="21813" y="3598"/>
                  </a:lnTo>
                  <a:lnTo>
                    <a:pt x="21829" y="3598"/>
                  </a:lnTo>
                  <a:lnTo>
                    <a:pt x="21834" y="3581"/>
                  </a:lnTo>
                  <a:lnTo>
                    <a:pt x="21850" y="3548"/>
                  </a:lnTo>
                  <a:lnTo>
                    <a:pt x="21846" y="3525"/>
                  </a:lnTo>
                  <a:lnTo>
                    <a:pt x="21834" y="3525"/>
                  </a:lnTo>
                  <a:lnTo>
                    <a:pt x="21888" y="3532"/>
                  </a:lnTo>
                  <a:lnTo>
                    <a:pt x="21909" y="3515"/>
                  </a:lnTo>
                  <a:lnTo>
                    <a:pt x="21954" y="3548"/>
                  </a:lnTo>
                  <a:lnTo>
                    <a:pt x="21954" y="3565"/>
                  </a:lnTo>
                  <a:lnTo>
                    <a:pt x="21976" y="3586"/>
                  </a:lnTo>
                  <a:lnTo>
                    <a:pt x="22009" y="3598"/>
                  </a:lnTo>
                  <a:lnTo>
                    <a:pt x="21997" y="3603"/>
                  </a:lnTo>
                  <a:lnTo>
                    <a:pt x="22035" y="3619"/>
                  </a:lnTo>
                  <a:lnTo>
                    <a:pt x="22035" y="3636"/>
                  </a:lnTo>
                  <a:lnTo>
                    <a:pt x="22018" y="3643"/>
                  </a:lnTo>
                  <a:lnTo>
                    <a:pt x="22018" y="3652"/>
                  </a:lnTo>
                  <a:lnTo>
                    <a:pt x="21980" y="3636"/>
                  </a:lnTo>
                  <a:lnTo>
                    <a:pt x="22018" y="3669"/>
                  </a:lnTo>
                  <a:lnTo>
                    <a:pt x="22030" y="3680"/>
                  </a:lnTo>
                  <a:lnTo>
                    <a:pt x="22013" y="3709"/>
                  </a:lnTo>
                  <a:lnTo>
                    <a:pt x="22046" y="3725"/>
                  </a:lnTo>
                  <a:lnTo>
                    <a:pt x="22030" y="3747"/>
                  </a:lnTo>
                  <a:lnTo>
                    <a:pt x="22035" y="3751"/>
                  </a:lnTo>
                  <a:lnTo>
                    <a:pt x="21997" y="3780"/>
                  </a:lnTo>
                  <a:lnTo>
                    <a:pt x="21997" y="3791"/>
                  </a:lnTo>
                  <a:lnTo>
                    <a:pt x="21992" y="3803"/>
                  </a:lnTo>
                  <a:lnTo>
                    <a:pt x="21997" y="3803"/>
                  </a:lnTo>
                  <a:lnTo>
                    <a:pt x="21997" y="3808"/>
                  </a:lnTo>
                  <a:lnTo>
                    <a:pt x="21980" y="3808"/>
                  </a:lnTo>
                  <a:lnTo>
                    <a:pt x="21980" y="3846"/>
                  </a:lnTo>
                  <a:lnTo>
                    <a:pt x="21976" y="3858"/>
                  </a:lnTo>
                  <a:lnTo>
                    <a:pt x="21964" y="3862"/>
                  </a:lnTo>
                  <a:lnTo>
                    <a:pt x="21964" y="3919"/>
                  </a:lnTo>
                  <a:lnTo>
                    <a:pt x="21976" y="3931"/>
                  </a:lnTo>
                  <a:lnTo>
                    <a:pt x="21980" y="3931"/>
                  </a:lnTo>
                  <a:lnTo>
                    <a:pt x="21959" y="3947"/>
                  </a:lnTo>
                  <a:lnTo>
                    <a:pt x="21976" y="3973"/>
                  </a:lnTo>
                  <a:lnTo>
                    <a:pt x="21959" y="4006"/>
                  </a:lnTo>
                  <a:lnTo>
                    <a:pt x="21959" y="4030"/>
                  </a:lnTo>
                  <a:lnTo>
                    <a:pt x="21954" y="4047"/>
                  </a:lnTo>
                  <a:lnTo>
                    <a:pt x="21942" y="4080"/>
                  </a:lnTo>
                  <a:lnTo>
                    <a:pt x="21883" y="4141"/>
                  </a:lnTo>
                  <a:lnTo>
                    <a:pt x="21867" y="4174"/>
                  </a:lnTo>
                  <a:lnTo>
                    <a:pt x="21834" y="4207"/>
                  </a:lnTo>
                  <a:lnTo>
                    <a:pt x="21820" y="4252"/>
                  </a:lnTo>
                  <a:lnTo>
                    <a:pt x="21796" y="4285"/>
                  </a:lnTo>
                  <a:lnTo>
                    <a:pt x="21683" y="4413"/>
                  </a:lnTo>
                  <a:lnTo>
                    <a:pt x="21668" y="4434"/>
                  </a:lnTo>
                  <a:lnTo>
                    <a:pt x="21640" y="4451"/>
                  </a:lnTo>
                  <a:lnTo>
                    <a:pt x="21631" y="4474"/>
                  </a:lnTo>
                  <a:lnTo>
                    <a:pt x="21614" y="4484"/>
                  </a:lnTo>
                  <a:lnTo>
                    <a:pt x="21619" y="4491"/>
                  </a:lnTo>
                  <a:lnTo>
                    <a:pt x="21619" y="4500"/>
                  </a:lnTo>
                  <a:lnTo>
                    <a:pt x="21586" y="4524"/>
                  </a:lnTo>
                  <a:lnTo>
                    <a:pt x="21527" y="4562"/>
                  </a:lnTo>
                  <a:lnTo>
                    <a:pt x="21505" y="4578"/>
                  </a:lnTo>
                  <a:lnTo>
                    <a:pt x="21456" y="4595"/>
                  </a:lnTo>
                  <a:lnTo>
                    <a:pt x="21442" y="4595"/>
                  </a:lnTo>
                  <a:lnTo>
                    <a:pt x="21442" y="4583"/>
                  </a:lnTo>
                  <a:lnTo>
                    <a:pt x="21435" y="4595"/>
                  </a:lnTo>
                  <a:lnTo>
                    <a:pt x="21425" y="4578"/>
                  </a:lnTo>
                  <a:lnTo>
                    <a:pt x="21413" y="4583"/>
                  </a:lnTo>
                  <a:lnTo>
                    <a:pt x="21404" y="4578"/>
                  </a:lnTo>
                  <a:lnTo>
                    <a:pt x="21397" y="4583"/>
                  </a:lnTo>
                  <a:lnTo>
                    <a:pt x="21397" y="4545"/>
                  </a:lnTo>
                  <a:lnTo>
                    <a:pt x="21371" y="4562"/>
                  </a:lnTo>
                  <a:lnTo>
                    <a:pt x="21366" y="4562"/>
                  </a:lnTo>
                  <a:lnTo>
                    <a:pt x="21380" y="4540"/>
                  </a:lnTo>
                  <a:lnTo>
                    <a:pt x="21359" y="4540"/>
                  </a:lnTo>
                  <a:lnTo>
                    <a:pt x="21333" y="4578"/>
                  </a:lnTo>
                  <a:lnTo>
                    <a:pt x="21317" y="4583"/>
                  </a:lnTo>
                  <a:lnTo>
                    <a:pt x="21317" y="4611"/>
                  </a:lnTo>
                  <a:lnTo>
                    <a:pt x="21312" y="4602"/>
                  </a:lnTo>
                  <a:lnTo>
                    <a:pt x="21279" y="4595"/>
                  </a:lnTo>
                  <a:lnTo>
                    <a:pt x="21295" y="4611"/>
                  </a:lnTo>
                  <a:lnTo>
                    <a:pt x="21279" y="4635"/>
                  </a:lnTo>
                  <a:lnTo>
                    <a:pt x="21274" y="4618"/>
                  </a:lnTo>
                  <a:lnTo>
                    <a:pt x="21274" y="4602"/>
                  </a:lnTo>
                  <a:lnTo>
                    <a:pt x="21262" y="4595"/>
                  </a:lnTo>
                  <a:lnTo>
                    <a:pt x="21312" y="4578"/>
                  </a:lnTo>
                  <a:lnTo>
                    <a:pt x="21312" y="4562"/>
                  </a:lnTo>
                  <a:lnTo>
                    <a:pt x="21328" y="4540"/>
                  </a:lnTo>
                  <a:lnTo>
                    <a:pt x="21317" y="4524"/>
                  </a:lnTo>
                  <a:lnTo>
                    <a:pt x="21328" y="4474"/>
                  </a:lnTo>
                  <a:lnTo>
                    <a:pt x="21312" y="4417"/>
                  </a:lnTo>
                  <a:lnTo>
                    <a:pt x="21295" y="4401"/>
                  </a:lnTo>
                  <a:lnTo>
                    <a:pt x="21333" y="4396"/>
                  </a:lnTo>
                  <a:lnTo>
                    <a:pt x="21366" y="4363"/>
                  </a:lnTo>
                  <a:lnTo>
                    <a:pt x="21371" y="4373"/>
                  </a:lnTo>
                  <a:lnTo>
                    <a:pt x="21435" y="4389"/>
                  </a:lnTo>
                  <a:lnTo>
                    <a:pt x="21451" y="4380"/>
                  </a:lnTo>
                  <a:lnTo>
                    <a:pt x="21451" y="4356"/>
                  </a:lnTo>
                  <a:lnTo>
                    <a:pt x="21472" y="4340"/>
                  </a:lnTo>
                  <a:lnTo>
                    <a:pt x="21472" y="4318"/>
                  </a:lnTo>
                  <a:lnTo>
                    <a:pt x="21505" y="4278"/>
                  </a:lnTo>
                  <a:lnTo>
                    <a:pt x="21510" y="4269"/>
                  </a:lnTo>
                  <a:lnTo>
                    <a:pt x="21505" y="4262"/>
                  </a:lnTo>
                  <a:lnTo>
                    <a:pt x="21510" y="4245"/>
                  </a:lnTo>
                  <a:lnTo>
                    <a:pt x="21522" y="4207"/>
                  </a:lnTo>
                  <a:lnTo>
                    <a:pt x="21527" y="4207"/>
                  </a:lnTo>
                  <a:lnTo>
                    <a:pt x="21527" y="4179"/>
                  </a:lnTo>
                  <a:lnTo>
                    <a:pt x="21548" y="4167"/>
                  </a:lnTo>
                  <a:lnTo>
                    <a:pt x="21565" y="4151"/>
                  </a:lnTo>
                  <a:lnTo>
                    <a:pt x="21548" y="4117"/>
                  </a:lnTo>
                  <a:lnTo>
                    <a:pt x="21565" y="4096"/>
                  </a:lnTo>
                  <a:lnTo>
                    <a:pt x="21543" y="4084"/>
                  </a:lnTo>
                  <a:lnTo>
                    <a:pt x="21494" y="4096"/>
                  </a:lnTo>
                  <a:lnTo>
                    <a:pt x="21479" y="4117"/>
                  </a:lnTo>
                  <a:lnTo>
                    <a:pt x="21451" y="4113"/>
                  </a:lnTo>
                  <a:lnTo>
                    <a:pt x="21418" y="4134"/>
                  </a:lnTo>
                  <a:lnTo>
                    <a:pt x="21413" y="4151"/>
                  </a:lnTo>
                  <a:lnTo>
                    <a:pt x="21305" y="4151"/>
                  </a:lnTo>
                  <a:lnTo>
                    <a:pt x="21295" y="4125"/>
                  </a:lnTo>
                  <a:lnTo>
                    <a:pt x="21279" y="4113"/>
                  </a:lnTo>
                  <a:lnTo>
                    <a:pt x="21291" y="4096"/>
                  </a:lnTo>
                  <a:lnTo>
                    <a:pt x="21274" y="4063"/>
                  </a:lnTo>
                  <a:lnTo>
                    <a:pt x="21279" y="4040"/>
                  </a:lnTo>
                  <a:lnTo>
                    <a:pt x="21253" y="4040"/>
                  </a:lnTo>
                  <a:lnTo>
                    <a:pt x="21224" y="4023"/>
                  </a:lnTo>
                  <a:lnTo>
                    <a:pt x="21208" y="4006"/>
                  </a:lnTo>
                  <a:lnTo>
                    <a:pt x="21203" y="4002"/>
                  </a:lnTo>
                  <a:lnTo>
                    <a:pt x="21198" y="3990"/>
                  </a:lnTo>
                  <a:lnTo>
                    <a:pt x="21170" y="4002"/>
                  </a:lnTo>
                  <a:lnTo>
                    <a:pt x="21149" y="3973"/>
                  </a:lnTo>
                  <a:lnTo>
                    <a:pt x="21078" y="3973"/>
                  </a:lnTo>
                  <a:lnTo>
                    <a:pt x="21057" y="3952"/>
                  </a:lnTo>
                  <a:lnTo>
                    <a:pt x="21057" y="3931"/>
                  </a:lnTo>
                  <a:lnTo>
                    <a:pt x="21064" y="3914"/>
                  </a:lnTo>
                  <a:lnTo>
                    <a:pt x="21047" y="3903"/>
                  </a:lnTo>
                  <a:lnTo>
                    <a:pt x="21040" y="3891"/>
                  </a:lnTo>
                  <a:lnTo>
                    <a:pt x="21047" y="3879"/>
                  </a:lnTo>
                  <a:lnTo>
                    <a:pt x="21040" y="3862"/>
                  </a:lnTo>
                  <a:lnTo>
                    <a:pt x="21019" y="3836"/>
                  </a:lnTo>
                  <a:lnTo>
                    <a:pt x="21019" y="3808"/>
                  </a:lnTo>
                  <a:lnTo>
                    <a:pt x="21009" y="3820"/>
                  </a:lnTo>
                  <a:lnTo>
                    <a:pt x="21019" y="3803"/>
                  </a:lnTo>
                  <a:lnTo>
                    <a:pt x="21009" y="3803"/>
                  </a:lnTo>
                  <a:lnTo>
                    <a:pt x="21002" y="3768"/>
                  </a:lnTo>
                  <a:lnTo>
                    <a:pt x="20981" y="3747"/>
                  </a:lnTo>
                  <a:lnTo>
                    <a:pt x="20993" y="3730"/>
                  </a:lnTo>
                  <a:lnTo>
                    <a:pt x="20972" y="3730"/>
                  </a:lnTo>
                  <a:lnTo>
                    <a:pt x="20981" y="3709"/>
                  </a:lnTo>
                  <a:lnTo>
                    <a:pt x="20965" y="3692"/>
                  </a:lnTo>
                  <a:lnTo>
                    <a:pt x="20950" y="3692"/>
                  </a:lnTo>
                  <a:lnTo>
                    <a:pt x="20955" y="3676"/>
                  </a:lnTo>
                  <a:lnTo>
                    <a:pt x="20927" y="3659"/>
                  </a:lnTo>
                  <a:lnTo>
                    <a:pt x="20934" y="3652"/>
                  </a:lnTo>
                  <a:lnTo>
                    <a:pt x="20927" y="3643"/>
                  </a:lnTo>
                  <a:lnTo>
                    <a:pt x="20896" y="3624"/>
                  </a:lnTo>
                  <a:lnTo>
                    <a:pt x="20875" y="3636"/>
                  </a:lnTo>
                  <a:lnTo>
                    <a:pt x="20846" y="3624"/>
                  </a:lnTo>
                  <a:lnTo>
                    <a:pt x="20830" y="3614"/>
                  </a:lnTo>
                  <a:lnTo>
                    <a:pt x="20820" y="3614"/>
                  </a:lnTo>
                  <a:lnTo>
                    <a:pt x="20787" y="3598"/>
                  </a:lnTo>
                  <a:lnTo>
                    <a:pt x="20587" y="3619"/>
                  </a:lnTo>
                  <a:lnTo>
                    <a:pt x="20535" y="3669"/>
                  </a:lnTo>
                  <a:lnTo>
                    <a:pt x="20539" y="3692"/>
                  </a:lnTo>
                  <a:lnTo>
                    <a:pt x="20561" y="3680"/>
                  </a:lnTo>
                  <a:lnTo>
                    <a:pt x="20577" y="3692"/>
                  </a:lnTo>
                  <a:lnTo>
                    <a:pt x="20577" y="3714"/>
                  </a:lnTo>
                  <a:lnTo>
                    <a:pt x="20587" y="3730"/>
                  </a:lnTo>
                  <a:lnTo>
                    <a:pt x="20577" y="3751"/>
                  </a:lnTo>
                  <a:lnTo>
                    <a:pt x="20539" y="3780"/>
                  </a:lnTo>
                  <a:lnTo>
                    <a:pt x="20518" y="3836"/>
                  </a:lnTo>
                  <a:lnTo>
                    <a:pt x="20502" y="3846"/>
                  </a:lnTo>
                  <a:lnTo>
                    <a:pt x="20497" y="3862"/>
                  </a:lnTo>
                  <a:lnTo>
                    <a:pt x="20468" y="3895"/>
                  </a:lnTo>
                  <a:lnTo>
                    <a:pt x="20485" y="3903"/>
                  </a:lnTo>
                  <a:lnTo>
                    <a:pt x="20485" y="3931"/>
                  </a:lnTo>
                  <a:lnTo>
                    <a:pt x="20468" y="3936"/>
                  </a:lnTo>
                  <a:lnTo>
                    <a:pt x="20431" y="3947"/>
                  </a:lnTo>
                  <a:lnTo>
                    <a:pt x="20388" y="3985"/>
                  </a:lnTo>
                  <a:lnTo>
                    <a:pt x="20301" y="3952"/>
                  </a:lnTo>
                  <a:lnTo>
                    <a:pt x="20291" y="3947"/>
                  </a:lnTo>
                  <a:lnTo>
                    <a:pt x="20270" y="3936"/>
                  </a:lnTo>
                  <a:lnTo>
                    <a:pt x="20232" y="3947"/>
                  </a:lnTo>
                  <a:lnTo>
                    <a:pt x="20209" y="3947"/>
                  </a:lnTo>
                  <a:lnTo>
                    <a:pt x="20171" y="3914"/>
                  </a:lnTo>
                  <a:lnTo>
                    <a:pt x="20128" y="3903"/>
                  </a:lnTo>
                  <a:lnTo>
                    <a:pt x="20053" y="3952"/>
                  </a:lnTo>
                  <a:lnTo>
                    <a:pt x="20048" y="3973"/>
                  </a:lnTo>
                  <a:lnTo>
                    <a:pt x="19923" y="4002"/>
                  </a:lnTo>
                  <a:lnTo>
                    <a:pt x="19885" y="4014"/>
                  </a:lnTo>
                  <a:lnTo>
                    <a:pt x="19800" y="4006"/>
                  </a:lnTo>
                  <a:lnTo>
                    <a:pt x="19779" y="3990"/>
                  </a:lnTo>
                  <a:lnTo>
                    <a:pt x="19729" y="4002"/>
                  </a:lnTo>
                  <a:lnTo>
                    <a:pt x="19687" y="3969"/>
                  </a:lnTo>
                  <a:lnTo>
                    <a:pt x="19691" y="3947"/>
                  </a:lnTo>
                  <a:lnTo>
                    <a:pt x="19628" y="3936"/>
                  </a:lnTo>
                  <a:lnTo>
                    <a:pt x="19620" y="3919"/>
                  </a:lnTo>
                  <a:lnTo>
                    <a:pt x="19599" y="3903"/>
                  </a:lnTo>
                  <a:lnTo>
                    <a:pt x="19566" y="3903"/>
                  </a:lnTo>
                  <a:lnTo>
                    <a:pt x="19552" y="3895"/>
                  </a:lnTo>
                  <a:lnTo>
                    <a:pt x="19507" y="3891"/>
                  </a:lnTo>
                  <a:lnTo>
                    <a:pt x="19439" y="3903"/>
                  </a:lnTo>
                  <a:lnTo>
                    <a:pt x="19410" y="3919"/>
                  </a:lnTo>
                  <a:lnTo>
                    <a:pt x="19401" y="3919"/>
                  </a:lnTo>
                  <a:lnTo>
                    <a:pt x="19389" y="3919"/>
                  </a:lnTo>
                  <a:lnTo>
                    <a:pt x="19356" y="3919"/>
                  </a:lnTo>
                  <a:lnTo>
                    <a:pt x="19351" y="3903"/>
                  </a:lnTo>
                  <a:lnTo>
                    <a:pt x="19335" y="3903"/>
                  </a:lnTo>
                  <a:lnTo>
                    <a:pt x="19292" y="3879"/>
                  </a:lnTo>
                  <a:lnTo>
                    <a:pt x="19297" y="3862"/>
                  </a:lnTo>
                  <a:lnTo>
                    <a:pt x="19280" y="3858"/>
                  </a:lnTo>
                  <a:lnTo>
                    <a:pt x="19292" y="3841"/>
                  </a:lnTo>
                  <a:lnTo>
                    <a:pt x="19280" y="3825"/>
                  </a:lnTo>
                  <a:lnTo>
                    <a:pt x="19280" y="3808"/>
                  </a:lnTo>
                  <a:lnTo>
                    <a:pt x="19243" y="3791"/>
                  </a:lnTo>
                  <a:lnTo>
                    <a:pt x="19226" y="3803"/>
                  </a:lnTo>
                  <a:lnTo>
                    <a:pt x="19167" y="3768"/>
                  </a:lnTo>
                  <a:lnTo>
                    <a:pt x="19129" y="3768"/>
                  </a:lnTo>
                  <a:lnTo>
                    <a:pt x="19049" y="3730"/>
                  </a:lnTo>
                  <a:lnTo>
                    <a:pt x="19032" y="3763"/>
                  </a:lnTo>
                  <a:lnTo>
                    <a:pt x="19011" y="3768"/>
                  </a:lnTo>
                  <a:lnTo>
                    <a:pt x="19006" y="3791"/>
                  </a:lnTo>
                  <a:lnTo>
                    <a:pt x="18990" y="3791"/>
                  </a:lnTo>
                  <a:lnTo>
                    <a:pt x="18973" y="3841"/>
                  </a:lnTo>
                  <a:lnTo>
                    <a:pt x="18990" y="3858"/>
                  </a:lnTo>
                  <a:lnTo>
                    <a:pt x="18990" y="3862"/>
                  </a:lnTo>
                  <a:lnTo>
                    <a:pt x="18990" y="3874"/>
                  </a:lnTo>
                  <a:lnTo>
                    <a:pt x="19011" y="3891"/>
                  </a:lnTo>
                  <a:lnTo>
                    <a:pt x="19011" y="3903"/>
                  </a:lnTo>
                  <a:lnTo>
                    <a:pt x="18994" y="3931"/>
                  </a:lnTo>
                  <a:lnTo>
                    <a:pt x="18969" y="3936"/>
                  </a:lnTo>
                  <a:lnTo>
                    <a:pt x="18940" y="3957"/>
                  </a:lnTo>
                  <a:lnTo>
                    <a:pt x="18919" y="3947"/>
                  </a:lnTo>
                  <a:lnTo>
                    <a:pt x="18886" y="3952"/>
                  </a:lnTo>
                  <a:lnTo>
                    <a:pt x="18848" y="3936"/>
                  </a:lnTo>
                  <a:lnTo>
                    <a:pt x="18843" y="3947"/>
                  </a:lnTo>
                  <a:lnTo>
                    <a:pt x="18834" y="3936"/>
                  </a:lnTo>
                  <a:lnTo>
                    <a:pt x="18810" y="3947"/>
                  </a:lnTo>
                  <a:lnTo>
                    <a:pt x="18780" y="3936"/>
                  </a:lnTo>
                  <a:lnTo>
                    <a:pt x="18772" y="3931"/>
                  </a:lnTo>
                  <a:lnTo>
                    <a:pt x="18751" y="3936"/>
                  </a:lnTo>
                  <a:lnTo>
                    <a:pt x="18735" y="3914"/>
                  </a:lnTo>
                  <a:lnTo>
                    <a:pt x="18725" y="3879"/>
                  </a:lnTo>
                  <a:lnTo>
                    <a:pt x="18645" y="3879"/>
                  </a:lnTo>
                  <a:lnTo>
                    <a:pt x="18633" y="3874"/>
                  </a:lnTo>
                  <a:lnTo>
                    <a:pt x="18633" y="3858"/>
                  </a:lnTo>
                  <a:lnTo>
                    <a:pt x="18628" y="3858"/>
                  </a:lnTo>
                  <a:lnTo>
                    <a:pt x="18612" y="3874"/>
                  </a:lnTo>
                  <a:lnTo>
                    <a:pt x="18591" y="3858"/>
                  </a:lnTo>
                  <a:lnTo>
                    <a:pt x="18579" y="3862"/>
                  </a:lnTo>
                  <a:lnTo>
                    <a:pt x="18546" y="3874"/>
                  </a:lnTo>
                  <a:lnTo>
                    <a:pt x="18524" y="3891"/>
                  </a:lnTo>
                  <a:lnTo>
                    <a:pt x="18494" y="3895"/>
                  </a:lnTo>
                  <a:lnTo>
                    <a:pt x="18482" y="3914"/>
                  </a:lnTo>
                  <a:lnTo>
                    <a:pt x="18432" y="3931"/>
                  </a:lnTo>
                  <a:lnTo>
                    <a:pt x="18428" y="3936"/>
                  </a:lnTo>
                  <a:lnTo>
                    <a:pt x="18402" y="3947"/>
                  </a:lnTo>
                  <a:lnTo>
                    <a:pt x="18411" y="3957"/>
                  </a:lnTo>
                  <a:lnTo>
                    <a:pt x="18380" y="3973"/>
                  </a:lnTo>
                  <a:lnTo>
                    <a:pt x="18373" y="3969"/>
                  </a:lnTo>
                  <a:lnTo>
                    <a:pt x="18373" y="3985"/>
                  </a:lnTo>
                  <a:lnTo>
                    <a:pt x="18357" y="3985"/>
                  </a:lnTo>
                  <a:lnTo>
                    <a:pt x="18347" y="3973"/>
                  </a:lnTo>
                  <a:lnTo>
                    <a:pt x="18347" y="3990"/>
                  </a:lnTo>
                  <a:lnTo>
                    <a:pt x="18305" y="3985"/>
                  </a:lnTo>
                  <a:lnTo>
                    <a:pt x="18293" y="3990"/>
                  </a:lnTo>
                  <a:lnTo>
                    <a:pt x="18293" y="4006"/>
                  </a:lnTo>
                  <a:lnTo>
                    <a:pt x="18276" y="4014"/>
                  </a:lnTo>
                  <a:lnTo>
                    <a:pt x="18239" y="4023"/>
                  </a:lnTo>
                  <a:lnTo>
                    <a:pt x="18239" y="4006"/>
                  </a:lnTo>
                  <a:lnTo>
                    <a:pt x="18213" y="4002"/>
                  </a:lnTo>
                  <a:lnTo>
                    <a:pt x="18213" y="3985"/>
                  </a:lnTo>
                  <a:lnTo>
                    <a:pt x="18184" y="3973"/>
                  </a:lnTo>
                  <a:lnTo>
                    <a:pt x="18201" y="3957"/>
                  </a:lnTo>
                  <a:lnTo>
                    <a:pt x="18201" y="3952"/>
                  </a:lnTo>
                  <a:lnTo>
                    <a:pt x="18184" y="3952"/>
                  </a:lnTo>
                  <a:lnTo>
                    <a:pt x="18163" y="3985"/>
                  </a:lnTo>
                  <a:lnTo>
                    <a:pt x="18125" y="3973"/>
                  </a:lnTo>
                  <a:lnTo>
                    <a:pt x="18092" y="3973"/>
                  </a:lnTo>
                  <a:lnTo>
                    <a:pt x="18087" y="3947"/>
                  </a:lnTo>
                  <a:lnTo>
                    <a:pt x="18078" y="3947"/>
                  </a:lnTo>
                  <a:lnTo>
                    <a:pt x="18078" y="3936"/>
                  </a:lnTo>
                  <a:lnTo>
                    <a:pt x="18078" y="3931"/>
                  </a:lnTo>
                  <a:lnTo>
                    <a:pt x="18033" y="3914"/>
                  </a:lnTo>
                  <a:lnTo>
                    <a:pt x="18002" y="3858"/>
                  </a:lnTo>
                  <a:lnTo>
                    <a:pt x="17969" y="3841"/>
                  </a:lnTo>
                  <a:lnTo>
                    <a:pt x="17915" y="3846"/>
                  </a:lnTo>
                  <a:lnTo>
                    <a:pt x="17915" y="3858"/>
                  </a:lnTo>
                  <a:lnTo>
                    <a:pt x="17898" y="3862"/>
                  </a:lnTo>
                  <a:lnTo>
                    <a:pt x="17835" y="3862"/>
                  </a:lnTo>
                  <a:lnTo>
                    <a:pt x="17823" y="3841"/>
                  </a:lnTo>
                  <a:lnTo>
                    <a:pt x="17802" y="3846"/>
                  </a:lnTo>
                  <a:lnTo>
                    <a:pt x="17806" y="3825"/>
                  </a:lnTo>
                  <a:lnTo>
                    <a:pt x="17780" y="3808"/>
                  </a:lnTo>
                  <a:lnTo>
                    <a:pt x="17769" y="3820"/>
                  </a:lnTo>
                  <a:lnTo>
                    <a:pt x="17752" y="3825"/>
                  </a:lnTo>
                  <a:lnTo>
                    <a:pt x="17764" y="3841"/>
                  </a:lnTo>
                  <a:lnTo>
                    <a:pt x="17731" y="3858"/>
                  </a:lnTo>
                  <a:lnTo>
                    <a:pt x="17731" y="3862"/>
                  </a:lnTo>
                  <a:lnTo>
                    <a:pt x="17575" y="3619"/>
                  </a:lnTo>
                  <a:lnTo>
                    <a:pt x="17483" y="3548"/>
                  </a:lnTo>
                  <a:lnTo>
                    <a:pt x="17478" y="3532"/>
                  </a:lnTo>
                  <a:lnTo>
                    <a:pt x="17495" y="3532"/>
                  </a:lnTo>
                  <a:lnTo>
                    <a:pt x="17511" y="3525"/>
                  </a:lnTo>
                  <a:lnTo>
                    <a:pt x="17499" y="3508"/>
                  </a:lnTo>
                  <a:lnTo>
                    <a:pt x="17478" y="3515"/>
                  </a:lnTo>
                  <a:lnTo>
                    <a:pt x="17461" y="3515"/>
                  </a:lnTo>
                  <a:lnTo>
                    <a:pt x="17461" y="3525"/>
                  </a:lnTo>
                  <a:lnTo>
                    <a:pt x="17407" y="3541"/>
                  </a:lnTo>
                  <a:lnTo>
                    <a:pt x="17402" y="3541"/>
                  </a:lnTo>
                  <a:lnTo>
                    <a:pt x="17407" y="3548"/>
                  </a:lnTo>
                  <a:lnTo>
                    <a:pt x="17374" y="3569"/>
                  </a:lnTo>
                  <a:lnTo>
                    <a:pt x="17360" y="3565"/>
                  </a:lnTo>
                  <a:lnTo>
                    <a:pt x="17353" y="3581"/>
                  </a:lnTo>
                  <a:lnTo>
                    <a:pt x="17336" y="3581"/>
                  </a:lnTo>
                  <a:lnTo>
                    <a:pt x="17336" y="3603"/>
                  </a:lnTo>
                  <a:lnTo>
                    <a:pt x="17322" y="3586"/>
                  </a:lnTo>
                  <a:lnTo>
                    <a:pt x="17298" y="3586"/>
                  </a:lnTo>
                  <a:lnTo>
                    <a:pt x="17284" y="3586"/>
                  </a:lnTo>
                  <a:lnTo>
                    <a:pt x="17268" y="3603"/>
                  </a:lnTo>
                  <a:lnTo>
                    <a:pt x="17251" y="3586"/>
                  </a:lnTo>
                  <a:lnTo>
                    <a:pt x="17268" y="3565"/>
                  </a:lnTo>
                  <a:lnTo>
                    <a:pt x="17284" y="3565"/>
                  </a:lnTo>
                  <a:lnTo>
                    <a:pt x="17294" y="3541"/>
                  </a:lnTo>
                  <a:lnTo>
                    <a:pt x="17251" y="3558"/>
                  </a:lnTo>
                  <a:lnTo>
                    <a:pt x="17239" y="3548"/>
                  </a:lnTo>
                  <a:lnTo>
                    <a:pt x="17230" y="3541"/>
                  </a:lnTo>
                  <a:lnTo>
                    <a:pt x="17209" y="3532"/>
                  </a:lnTo>
                  <a:lnTo>
                    <a:pt x="17197" y="3548"/>
                  </a:lnTo>
                  <a:lnTo>
                    <a:pt x="17213" y="3541"/>
                  </a:lnTo>
                  <a:lnTo>
                    <a:pt x="17213" y="3558"/>
                  </a:lnTo>
                  <a:lnTo>
                    <a:pt x="17197" y="3558"/>
                  </a:lnTo>
                  <a:lnTo>
                    <a:pt x="17192" y="3558"/>
                  </a:lnTo>
                  <a:lnTo>
                    <a:pt x="17197" y="3532"/>
                  </a:lnTo>
                  <a:lnTo>
                    <a:pt x="17185" y="3532"/>
                  </a:lnTo>
                  <a:lnTo>
                    <a:pt x="17192" y="3525"/>
                  </a:lnTo>
                  <a:lnTo>
                    <a:pt x="17176" y="3515"/>
                  </a:lnTo>
                  <a:lnTo>
                    <a:pt x="17171" y="3508"/>
                  </a:lnTo>
                  <a:lnTo>
                    <a:pt x="17176" y="3541"/>
                  </a:lnTo>
                  <a:lnTo>
                    <a:pt x="17143" y="3525"/>
                  </a:lnTo>
                  <a:lnTo>
                    <a:pt x="17138" y="3541"/>
                  </a:lnTo>
                  <a:lnTo>
                    <a:pt x="17121" y="3532"/>
                  </a:lnTo>
                  <a:lnTo>
                    <a:pt x="17105" y="3541"/>
                  </a:lnTo>
                  <a:lnTo>
                    <a:pt x="17088" y="3515"/>
                  </a:lnTo>
                  <a:lnTo>
                    <a:pt x="17105" y="3515"/>
                  </a:lnTo>
                  <a:lnTo>
                    <a:pt x="17105" y="3491"/>
                  </a:lnTo>
                  <a:lnTo>
                    <a:pt x="17117" y="3487"/>
                  </a:lnTo>
                  <a:lnTo>
                    <a:pt x="17100" y="3470"/>
                  </a:lnTo>
                  <a:lnTo>
                    <a:pt x="17088" y="3447"/>
                  </a:lnTo>
                  <a:lnTo>
                    <a:pt x="17083" y="3421"/>
                  </a:lnTo>
                  <a:lnTo>
                    <a:pt x="17062" y="3421"/>
                  </a:lnTo>
                  <a:lnTo>
                    <a:pt x="17046" y="3437"/>
                  </a:lnTo>
                  <a:lnTo>
                    <a:pt x="16996" y="3414"/>
                  </a:lnTo>
                  <a:lnTo>
                    <a:pt x="16975" y="3414"/>
                  </a:lnTo>
                  <a:lnTo>
                    <a:pt x="16970" y="3421"/>
                  </a:lnTo>
                  <a:lnTo>
                    <a:pt x="16954" y="3404"/>
                  </a:lnTo>
                  <a:lnTo>
                    <a:pt x="16954" y="3421"/>
                  </a:lnTo>
                  <a:lnTo>
                    <a:pt x="16937" y="3414"/>
                  </a:lnTo>
                  <a:lnTo>
                    <a:pt x="16928" y="3430"/>
                  </a:lnTo>
                  <a:lnTo>
                    <a:pt x="16899" y="3430"/>
                  </a:lnTo>
                  <a:lnTo>
                    <a:pt x="16906" y="3447"/>
                  </a:lnTo>
                  <a:lnTo>
                    <a:pt x="16899" y="3454"/>
                  </a:lnTo>
                  <a:lnTo>
                    <a:pt x="16883" y="3454"/>
                  </a:lnTo>
                  <a:lnTo>
                    <a:pt x="16852" y="3470"/>
                  </a:lnTo>
                  <a:lnTo>
                    <a:pt x="16743" y="3491"/>
                  </a:lnTo>
                  <a:lnTo>
                    <a:pt x="16743" y="3475"/>
                  </a:lnTo>
                  <a:lnTo>
                    <a:pt x="16727" y="3491"/>
                  </a:lnTo>
                  <a:lnTo>
                    <a:pt x="16706" y="3487"/>
                  </a:lnTo>
                  <a:lnTo>
                    <a:pt x="16689" y="3503"/>
                  </a:lnTo>
                  <a:lnTo>
                    <a:pt x="16689" y="3515"/>
                  </a:lnTo>
                  <a:lnTo>
                    <a:pt x="16668" y="3508"/>
                  </a:lnTo>
                  <a:lnTo>
                    <a:pt x="16604" y="3515"/>
                  </a:lnTo>
                  <a:lnTo>
                    <a:pt x="16604" y="3525"/>
                  </a:lnTo>
                  <a:lnTo>
                    <a:pt x="16597" y="3532"/>
                  </a:lnTo>
                  <a:lnTo>
                    <a:pt x="16580" y="3525"/>
                  </a:lnTo>
                  <a:lnTo>
                    <a:pt x="16543" y="3532"/>
                  </a:lnTo>
                  <a:lnTo>
                    <a:pt x="16543" y="3541"/>
                  </a:lnTo>
                  <a:lnTo>
                    <a:pt x="16505" y="3548"/>
                  </a:lnTo>
                  <a:lnTo>
                    <a:pt x="16505" y="3565"/>
                  </a:lnTo>
                  <a:lnTo>
                    <a:pt x="16491" y="3548"/>
                  </a:lnTo>
                  <a:lnTo>
                    <a:pt x="16467" y="3548"/>
                  </a:lnTo>
                  <a:lnTo>
                    <a:pt x="16467" y="3558"/>
                  </a:lnTo>
                  <a:lnTo>
                    <a:pt x="16420" y="3541"/>
                  </a:lnTo>
                  <a:lnTo>
                    <a:pt x="16398" y="3558"/>
                  </a:lnTo>
                  <a:lnTo>
                    <a:pt x="16398" y="3565"/>
                  </a:lnTo>
                  <a:lnTo>
                    <a:pt x="16415" y="3569"/>
                  </a:lnTo>
                  <a:lnTo>
                    <a:pt x="16398" y="3586"/>
                  </a:lnTo>
                  <a:lnTo>
                    <a:pt x="16387" y="3586"/>
                  </a:lnTo>
                  <a:lnTo>
                    <a:pt x="16424" y="3586"/>
                  </a:lnTo>
                  <a:lnTo>
                    <a:pt x="16436" y="3598"/>
                  </a:lnTo>
                  <a:lnTo>
                    <a:pt x="16420" y="3603"/>
                  </a:lnTo>
                  <a:lnTo>
                    <a:pt x="16415" y="3598"/>
                  </a:lnTo>
                  <a:lnTo>
                    <a:pt x="16403" y="3619"/>
                  </a:lnTo>
                  <a:lnTo>
                    <a:pt x="16474" y="3636"/>
                  </a:lnTo>
                  <a:lnTo>
                    <a:pt x="16474" y="3652"/>
                  </a:lnTo>
                  <a:lnTo>
                    <a:pt x="16458" y="3652"/>
                  </a:lnTo>
                  <a:lnTo>
                    <a:pt x="16424" y="3643"/>
                  </a:lnTo>
                  <a:lnTo>
                    <a:pt x="16398" y="3652"/>
                  </a:lnTo>
                  <a:lnTo>
                    <a:pt x="16370" y="3680"/>
                  </a:lnTo>
                  <a:lnTo>
                    <a:pt x="16382" y="3680"/>
                  </a:lnTo>
                  <a:lnTo>
                    <a:pt x="16382" y="3692"/>
                  </a:lnTo>
                  <a:lnTo>
                    <a:pt x="16387" y="3697"/>
                  </a:lnTo>
                  <a:lnTo>
                    <a:pt x="16398" y="3714"/>
                  </a:lnTo>
                  <a:lnTo>
                    <a:pt x="16370" y="3730"/>
                  </a:lnTo>
                  <a:lnTo>
                    <a:pt x="16361" y="3730"/>
                  </a:lnTo>
                  <a:lnTo>
                    <a:pt x="16316" y="3747"/>
                  </a:lnTo>
                  <a:lnTo>
                    <a:pt x="16328" y="3751"/>
                  </a:lnTo>
                  <a:lnTo>
                    <a:pt x="16361" y="3763"/>
                  </a:lnTo>
                  <a:lnTo>
                    <a:pt x="16349" y="3780"/>
                  </a:lnTo>
                  <a:lnTo>
                    <a:pt x="16387" y="3787"/>
                  </a:lnTo>
                  <a:lnTo>
                    <a:pt x="16387" y="3791"/>
                  </a:lnTo>
                  <a:lnTo>
                    <a:pt x="16424" y="3803"/>
                  </a:lnTo>
                  <a:lnTo>
                    <a:pt x="16441" y="3820"/>
                  </a:lnTo>
                  <a:lnTo>
                    <a:pt x="16436" y="3820"/>
                  </a:lnTo>
                  <a:lnTo>
                    <a:pt x="16420" y="3862"/>
                  </a:lnTo>
                  <a:lnTo>
                    <a:pt x="16370" y="3874"/>
                  </a:lnTo>
                  <a:lnTo>
                    <a:pt x="16344" y="3874"/>
                  </a:lnTo>
                  <a:lnTo>
                    <a:pt x="16328" y="3858"/>
                  </a:lnTo>
                  <a:lnTo>
                    <a:pt x="16311" y="3879"/>
                  </a:lnTo>
                  <a:lnTo>
                    <a:pt x="16290" y="3891"/>
                  </a:lnTo>
                  <a:lnTo>
                    <a:pt x="16295" y="3879"/>
                  </a:lnTo>
                  <a:lnTo>
                    <a:pt x="16290" y="3874"/>
                  </a:lnTo>
                  <a:lnTo>
                    <a:pt x="16252" y="3874"/>
                  </a:lnTo>
                  <a:lnTo>
                    <a:pt x="16226" y="3858"/>
                  </a:lnTo>
                  <a:lnTo>
                    <a:pt x="16219" y="3846"/>
                  </a:lnTo>
                  <a:lnTo>
                    <a:pt x="16226" y="3836"/>
                  </a:lnTo>
                  <a:lnTo>
                    <a:pt x="16202" y="3825"/>
                  </a:lnTo>
                  <a:lnTo>
                    <a:pt x="16198" y="3836"/>
                  </a:lnTo>
                  <a:lnTo>
                    <a:pt x="16165" y="3836"/>
                  </a:lnTo>
                  <a:lnTo>
                    <a:pt x="16165" y="3846"/>
                  </a:lnTo>
                  <a:lnTo>
                    <a:pt x="16150" y="3858"/>
                  </a:lnTo>
                  <a:lnTo>
                    <a:pt x="16117" y="3836"/>
                  </a:lnTo>
                  <a:lnTo>
                    <a:pt x="16096" y="3836"/>
                  </a:lnTo>
                  <a:lnTo>
                    <a:pt x="16089" y="3836"/>
                  </a:lnTo>
                  <a:lnTo>
                    <a:pt x="16096" y="3841"/>
                  </a:lnTo>
                  <a:lnTo>
                    <a:pt x="16080" y="3836"/>
                  </a:lnTo>
                  <a:lnTo>
                    <a:pt x="16063" y="3846"/>
                  </a:lnTo>
                  <a:lnTo>
                    <a:pt x="16058" y="3846"/>
                  </a:lnTo>
                  <a:lnTo>
                    <a:pt x="16047" y="3862"/>
                  </a:lnTo>
                  <a:lnTo>
                    <a:pt x="16021" y="3891"/>
                  </a:lnTo>
                  <a:lnTo>
                    <a:pt x="15950" y="3836"/>
                  </a:lnTo>
                  <a:lnTo>
                    <a:pt x="15938" y="3841"/>
                  </a:lnTo>
                  <a:lnTo>
                    <a:pt x="15938" y="3846"/>
                  </a:lnTo>
                  <a:lnTo>
                    <a:pt x="15950" y="3846"/>
                  </a:lnTo>
                  <a:lnTo>
                    <a:pt x="15950" y="3879"/>
                  </a:lnTo>
                  <a:lnTo>
                    <a:pt x="15938" y="3891"/>
                  </a:lnTo>
                  <a:lnTo>
                    <a:pt x="15933" y="3874"/>
                  </a:lnTo>
                  <a:lnTo>
                    <a:pt x="15938" y="3858"/>
                  </a:lnTo>
                  <a:lnTo>
                    <a:pt x="15928" y="3846"/>
                  </a:lnTo>
                  <a:lnTo>
                    <a:pt x="15900" y="3825"/>
                  </a:lnTo>
                  <a:lnTo>
                    <a:pt x="15879" y="3820"/>
                  </a:lnTo>
                  <a:lnTo>
                    <a:pt x="15879" y="3803"/>
                  </a:lnTo>
                  <a:lnTo>
                    <a:pt x="15862" y="3791"/>
                  </a:lnTo>
                  <a:lnTo>
                    <a:pt x="15803" y="3791"/>
                  </a:lnTo>
                  <a:lnTo>
                    <a:pt x="15787" y="3768"/>
                  </a:lnTo>
                  <a:lnTo>
                    <a:pt x="15772" y="3780"/>
                  </a:lnTo>
                  <a:lnTo>
                    <a:pt x="15756" y="3780"/>
                  </a:lnTo>
                  <a:lnTo>
                    <a:pt x="15749" y="3787"/>
                  </a:lnTo>
                  <a:lnTo>
                    <a:pt x="15749" y="3791"/>
                  </a:lnTo>
                  <a:lnTo>
                    <a:pt x="15739" y="3791"/>
                  </a:lnTo>
                  <a:lnTo>
                    <a:pt x="15711" y="3791"/>
                  </a:lnTo>
                  <a:lnTo>
                    <a:pt x="15711" y="3787"/>
                  </a:lnTo>
                  <a:lnTo>
                    <a:pt x="15718" y="3787"/>
                  </a:lnTo>
                  <a:lnTo>
                    <a:pt x="15718" y="3780"/>
                  </a:lnTo>
                  <a:lnTo>
                    <a:pt x="15680" y="3768"/>
                  </a:lnTo>
                  <a:lnTo>
                    <a:pt x="15680" y="3787"/>
                  </a:lnTo>
                  <a:lnTo>
                    <a:pt x="15664" y="3780"/>
                  </a:lnTo>
                  <a:lnTo>
                    <a:pt x="15664" y="3791"/>
                  </a:lnTo>
                  <a:lnTo>
                    <a:pt x="15647" y="3803"/>
                  </a:lnTo>
                  <a:lnTo>
                    <a:pt x="15647" y="3808"/>
                  </a:lnTo>
                  <a:lnTo>
                    <a:pt x="15609" y="3836"/>
                  </a:lnTo>
                  <a:lnTo>
                    <a:pt x="15588" y="3825"/>
                  </a:lnTo>
                  <a:lnTo>
                    <a:pt x="15576" y="3841"/>
                  </a:lnTo>
                  <a:lnTo>
                    <a:pt x="15576" y="3858"/>
                  </a:lnTo>
                  <a:lnTo>
                    <a:pt x="15534" y="3879"/>
                  </a:lnTo>
                  <a:lnTo>
                    <a:pt x="15534" y="3914"/>
                  </a:lnTo>
                  <a:lnTo>
                    <a:pt x="15550" y="3931"/>
                  </a:lnTo>
                  <a:lnTo>
                    <a:pt x="15539" y="3947"/>
                  </a:lnTo>
                  <a:lnTo>
                    <a:pt x="15508" y="3952"/>
                  </a:lnTo>
                  <a:lnTo>
                    <a:pt x="15501" y="3947"/>
                  </a:lnTo>
                  <a:lnTo>
                    <a:pt x="15480" y="3914"/>
                  </a:lnTo>
                  <a:lnTo>
                    <a:pt x="15454" y="3891"/>
                  </a:lnTo>
                  <a:lnTo>
                    <a:pt x="15447" y="3895"/>
                  </a:lnTo>
                  <a:lnTo>
                    <a:pt x="15432" y="3903"/>
                  </a:lnTo>
                  <a:lnTo>
                    <a:pt x="15432" y="3931"/>
                  </a:lnTo>
                  <a:lnTo>
                    <a:pt x="15409" y="3952"/>
                  </a:lnTo>
                  <a:lnTo>
                    <a:pt x="15395" y="4002"/>
                  </a:lnTo>
                  <a:lnTo>
                    <a:pt x="15416" y="4014"/>
                  </a:lnTo>
                  <a:lnTo>
                    <a:pt x="15395" y="4030"/>
                  </a:lnTo>
                  <a:lnTo>
                    <a:pt x="15378" y="4080"/>
                  </a:lnTo>
                  <a:lnTo>
                    <a:pt x="15416" y="4096"/>
                  </a:lnTo>
                  <a:lnTo>
                    <a:pt x="15425" y="4134"/>
                  </a:lnTo>
                  <a:lnTo>
                    <a:pt x="15442" y="4151"/>
                  </a:lnTo>
                  <a:lnTo>
                    <a:pt x="15442" y="4134"/>
                  </a:lnTo>
                  <a:lnTo>
                    <a:pt x="15496" y="4151"/>
                  </a:lnTo>
                  <a:lnTo>
                    <a:pt x="15555" y="4228"/>
                  </a:lnTo>
                  <a:lnTo>
                    <a:pt x="15534" y="4236"/>
                  </a:lnTo>
                  <a:lnTo>
                    <a:pt x="15517" y="4236"/>
                  </a:lnTo>
                  <a:lnTo>
                    <a:pt x="15517" y="4252"/>
                  </a:lnTo>
                  <a:lnTo>
                    <a:pt x="15560" y="4269"/>
                  </a:lnTo>
                  <a:lnTo>
                    <a:pt x="15572" y="4278"/>
                  </a:lnTo>
                  <a:lnTo>
                    <a:pt x="15560" y="4278"/>
                  </a:lnTo>
                  <a:lnTo>
                    <a:pt x="15550" y="4290"/>
                  </a:lnTo>
                  <a:lnTo>
                    <a:pt x="15522" y="4290"/>
                  </a:lnTo>
                  <a:lnTo>
                    <a:pt x="15534" y="4302"/>
                  </a:lnTo>
                  <a:lnTo>
                    <a:pt x="15534" y="4318"/>
                  </a:lnTo>
                  <a:lnTo>
                    <a:pt x="15522" y="4306"/>
                  </a:lnTo>
                  <a:lnTo>
                    <a:pt x="15496" y="4323"/>
                  </a:lnTo>
                  <a:lnTo>
                    <a:pt x="15470" y="4335"/>
                  </a:lnTo>
                  <a:lnTo>
                    <a:pt x="15447" y="4323"/>
                  </a:lnTo>
                  <a:lnTo>
                    <a:pt x="15454" y="4340"/>
                  </a:lnTo>
                  <a:lnTo>
                    <a:pt x="15442" y="4323"/>
                  </a:lnTo>
                  <a:lnTo>
                    <a:pt x="15447" y="4340"/>
                  </a:lnTo>
                  <a:lnTo>
                    <a:pt x="15447" y="4356"/>
                  </a:lnTo>
                  <a:lnTo>
                    <a:pt x="15416" y="4413"/>
                  </a:lnTo>
                  <a:lnTo>
                    <a:pt x="15416" y="4401"/>
                  </a:lnTo>
                  <a:lnTo>
                    <a:pt x="15395" y="4417"/>
                  </a:lnTo>
                  <a:lnTo>
                    <a:pt x="15387" y="4434"/>
                  </a:lnTo>
                  <a:lnTo>
                    <a:pt x="15395" y="4446"/>
                  </a:lnTo>
                  <a:lnTo>
                    <a:pt x="15416" y="4451"/>
                  </a:lnTo>
                  <a:lnTo>
                    <a:pt x="15432" y="4484"/>
                  </a:lnTo>
                  <a:lnTo>
                    <a:pt x="15447" y="4500"/>
                  </a:lnTo>
                  <a:lnTo>
                    <a:pt x="15442" y="4512"/>
                  </a:lnTo>
                  <a:lnTo>
                    <a:pt x="15442" y="4524"/>
                  </a:lnTo>
                  <a:lnTo>
                    <a:pt x="15447" y="4491"/>
                  </a:lnTo>
                  <a:lnTo>
                    <a:pt x="15463" y="4491"/>
                  </a:lnTo>
                  <a:lnTo>
                    <a:pt x="15447" y="4528"/>
                  </a:lnTo>
                  <a:lnTo>
                    <a:pt x="15447" y="4540"/>
                  </a:lnTo>
                  <a:lnTo>
                    <a:pt x="15454" y="4545"/>
                  </a:lnTo>
                  <a:lnTo>
                    <a:pt x="15447" y="4557"/>
                  </a:lnTo>
                  <a:lnTo>
                    <a:pt x="15442" y="4566"/>
                  </a:lnTo>
                  <a:lnTo>
                    <a:pt x="15463" y="4578"/>
                  </a:lnTo>
                  <a:lnTo>
                    <a:pt x="15463" y="4602"/>
                  </a:lnTo>
                  <a:lnTo>
                    <a:pt x="15484" y="4623"/>
                  </a:lnTo>
                  <a:lnTo>
                    <a:pt x="15508" y="4668"/>
                  </a:lnTo>
                  <a:lnTo>
                    <a:pt x="15522" y="4673"/>
                  </a:lnTo>
                  <a:lnTo>
                    <a:pt x="15508" y="4689"/>
                  </a:lnTo>
                  <a:lnTo>
                    <a:pt x="15484" y="4706"/>
                  </a:lnTo>
                  <a:lnTo>
                    <a:pt x="15480" y="4722"/>
                  </a:lnTo>
                  <a:lnTo>
                    <a:pt x="15463" y="4729"/>
                  </a:lnTo>
                  <a:lnTo>
                    <a:pt x="15432" y="4710"/>
                  </a:lnTo>
                  <a:lnTo>
                    <a:pt x="15425" y="4694"/>
                  </a:lnTo>
                  <a:lnTo>
                    <a:pt x="15395" y="4668"/>
                  </a:lnTo>
                  <a:lnTo>
                    <a:pt x="15387" y="4673"/>
                  </a:lnTo>
                  <a:lnTo>
                    <a:pt x="15371" y="4668"/>
                  </a:lnTo>
                  <a:lnTo>
                    <a:pt x="15319" y="4639"/>
                  </a:lnTo>
                  <a:lnTo>
                    <a:pt x="15324" y="4611"/>
                  </a:lnTo>
                  <a:lnTo>
                    <a:pt x="15291" y="4611"/>
                  </a:lnTo>
                  <a:lnTo>
                    <a:pt x="15286" y="4595"/>
                  </a:lnTo>
                  <a:lnTo>
                    <a:pt x="15269" y="4583"/>
                  </a:lnTo>
                  <a:lnTo>
                    <a:pt x="15253" y="4602"/>
                  </a:lnTo>
                  <a:lnTo>
                    <a:pt x="15236" y="4583"/>
                  </a:lnTo>
                  <a:lnTo>
                    <a:pt x="15194" y="4602"/>
                  </a:lnTo>
                  <a:lnTo>
                    <a:pt x="15182" y="4602"/>
                  </a:lnTo>
                  <a:lnTo>
                    <a:pt x="15182" y="4595"/>
                  </a:lnTo>
                  <a:lnTo>
                    <a:pt x="15144" y="4578"/>
                  </a:lnTo>
                  <a:lnTo>
                    <a:pt x="15123" y="4557"/>
                  </a:lnTo>
                  <a:lnTo>
                    <a:pt x="15031" y="4545"/>
                  </a:lnTo>
                  <a:lnTo>
                    <a:pt x="14967" y="4524"/>
                  </a:lnTo>
                  <a:lnTo>
                    <a:pt x="14941" y="4512"/>
                  </a:lnTo>
                  <a:lnTo>
                    <a:pt x="14924" y="4524"/>
                  </a:lnTo>
                  <a:lnTo>
                    <a:pt x="14924" y="4540"/>
                  </a:lnTo>
                  <a:lnTo>
                    <a:pt x="14832" y="4458"/>
                  </a:lnTo>
                  <a:lnTo>
                    <a:pt x="14795" y="4446"/>
                  </a:lnTo>
                  <a:lnTo>
                    <a:pt x="14766" y="4417"/>
                  </a:lnTo>
                  <a:lnTo>
                    <a:pt x="14766" y="4429"/>
                  </a:lnTo>
                  <a:lnTo>
                    <a:pt x="14745" y="4417"/>
                  </a:lnTo>
                  <a:lnTo>
                    <a:pt x="14724" y="4396"/>
                  </a:lnTo>
                  <a:lnTo>
                    <a:pt x="14686" y="4380"/>
                  </a:lnTo>
                  <a:lnTo>
                    <a:pt x="14707" y="4363"/>
                  </a:lnTo>
                  <a:lnTo>
                    <a:pt x="14691" y="4356"/>
                  </a:lnTo>
                  <a:lnTo>
                    <a:pt x="14686" y="4363"/>
                  </a:lnTo>
                  <a:lnTo>
                    <a:pt x="14698" y="4356"/>
                  </a:lnTo>
                  <a:lnTo>
                    <a:pt x="14714" y="4363"/>
                  </a:lnTo>
                  <a:lnTo>
                    <a:pt x="14714" y="4373"/>
                  </a:lnTo>
                  <a:lnTo>
                    <a:pt x="14745" y="4356"/>
                  </a:lnTo>
                  <a:lnTo>
                    <a:pt x="14761" y="4363"/>
                  </a:lnTo>
                  <a:lnTo>
                    <a:pt x="14761" y="4340"/>
                  </a:lnTo>
                  <a:lnTo>
                    <a:pt x="14752" y="4340"/>
                  </a:lnTo>
                  <a:lnTo>
                    <a:pt x="14752" y="4356"/>
                  </a:lnTo>
                  <a:lnTo>
                    <a:pt x="14752" y="4340"/>
                  </a:lnTo>
                  <a:lnTo>
                    <a:pt x="14761" y="4340"/>
                  </a:lnTo>
                  <a:lnTo>
                    <a:pt x="14752" y="4335"/>
                  </a:lnTo>
                  <a:lnTo>
                    <a:pt x="14766" y="4323"/>
                  </a:lnTo>
                  <a:lnTo>
                    <a:pt x="14778" y="4302"/>
                  </a:lnTo>
                  <a:lnTo>
                    <a:pt x="14783" y="4302"/>
                  </a:lnTo>
                  <a:lnTo>
                    <a:pt x="14783" y="4306"/>
                  </a:lnTo>
                  <a:lnTo>
                    <a:pt x="14795" y="4290"/>
                  </a:lnTo>
                  <a:lnTo>
                    <a:pt x="14816" y="4302"/>
                  </a:lnTo>
                  <a:lnTo>
                    <a:pt x="14821" y="4290"/>
                  </a:lnTo>
                  <a:lnTo>
                    <a:pt x="14783" y="4269"/>
                  </a:lnTo>
                  <a:lnTo>
                    <a:pt x="14778" y="4269"/>
                  </a:lnTo>
                  <a:lnTo>
                    <a:pt x="14761" y="4245"/>
                  </a:lnTo>
                  <a:lnTo>
                    <a:pt x="14783" y="4245"/>
                  </a:lnTo>
                  <a:lnTo>
                    <a:pt x="14799" y="4236"/>
                  </a:lnTo>
                  <a:lnTo>
                    <a:pt x="14821" y="4245"/>
                  </a:lnTo>
                  <a:lnTo>
                    <a:pt x="14816" y="4236"/>
                  </a:lnTo>
                  <a:lnTo>
                    <a:pt x="14804" y="4236"/>
                  </a:lnTo>
                  <a:lnTo>
                    <a:pt x="14804" y="4228"/>
                  </a:lnTo>
                  <a:lnTo>
                    <a:pt x="14854" y="4212"/>
                  </a:lnTo>
                  <a:lnTo>
                    <a:pt x="14870" y="4212"/>
                  </a:lnTo>
                  <a:lnTo>
                    <a:pt x="14870" y="4207"/>
                  </a:lnTo>
                  <a:lnTo>
                    <a:pt x="14870" y="4191"/>
                  </a:lnTo>
                  <a:lnTo>
                    <a:pt x="14854" y="4191"/>
                  </a:lnTo>
                  <a:lnTo>
                    <a:pt x="14821" y="4207"/>
                  </a:lnTo>
                  <a:lnTo>
                    <a:pt x="14816" y="4195"/>
                  </a:lnTo>
                  <a:lnTo>
                    <a:pt x="14821" y="4191"/>
                  </a:lnTo>
                  <a:lnTo>
                    <a:pt x="14832" y="4191"/>
                  </a:lnTo>
                  <a:lnTo>
                    <a:pt x="14799" y="4207"/>
                  </a:lnTo>
                  <a:lnTo>
                    <a:pt x="14799" y="4158"/>
                  </a:lnTo>
                  <a:lnTo>
                    <a:pt x="14832" y="4151"/>
                  </a:lnTo>
                  <a:lnTo>
                    <a:pt x="14837" y="4134"/>
                  </a:lnTo>
                  <a:lnTo>
                    <a:pt x="14908" y="4134"/>
                  </a:lnTo>
                  <a:lnTo>
                    <a:pt x="14908" y="4117"/>
                  </a:lnTo>
                  <a:lnTo>
                    <a:pt x="14924" y="4096"/>
                  </a:lnTo>
                  <a:lnTo>
                    <a:pt x="14908" y="4068"/>
                  </a:lnTo>
                  <a:lnTo>
                    <a:pt x="14903" y="4063"/>
                  </a:lnTo>
                  <a:lnTo>
                    <a:pt x="14908" y="4047"/>
                  </a:lnTo>
                  <a:lnTo>
                    <a:pt x="14924" y="4047"/>
                  </a:lnTo>
                  <a:lnTo>
                    <a:pt x="14924" y="4040"/>
                  </a:lnTo>
                  <a:lnTo>
                    <a:pt x="14908" y="4040"/>
                  </a:lnTo>
                  <a:lnTo>
                    <a:pt x="14903" y="4030"/>
                  </a:lnTo>
                  <a:lnTo>
                    <a:pt x="14913" y="4023"/>
                  </a:lnTo>
                  <a:lnTo>
                    <a:pt x="14929" y="4006"/>
                  </a:lnTo>
                  <a:lnTo>
                    <a:pt x="14924" y="3985"/>
                  </a:lnTo>
                  <a:lnTo>
                    <a:pt x="14929" y="3973"/>
                  </a:lnTo>
                  <a:lnTo>
                    <a:pt x="14908" y="3973"/>
                  </a:lnTo>
                  <a:lnTo>
                    <a:pt x="14891" y="3957"/>
                  </a:lnTo>
                  <a:lnTo>
                    <a:pt x="14870" y="3957"/>
                  </a:lnTo>
                  <a:lnTo>
                    <a:pt x="14858" y="3947"/>
                  </a:lnTo>
                  <a:lnTo>
                    <a:pt x="14849" y="3952"/>
                  </a:lnTo>
                  <a:lnTo>
                    <a:pt x="14799" y="3931"/>
                  </a:lnTo>
                  <a:lnTo>
                    <a:pt x="14795" y="3931"/>
                  </a:lnTo>
                  <a:lnTo>
                    <a:pt x="14783" y="3947"/>
                  </a:lnTo>
                  <a:lnTo>
                    <a:pt x="14761" y="3931"/>
                  </a:lnTo>
                  <a:lnTo>
                    <a:pt x="14745" y="3895"/>
                  </a:lnTo>
                  <a:lnTo>
                    <a:pt x="14686" y="3914"/>
                  </a:lnTo>
                  <a:lnTo>
                    <a:pt x="14660" y="3903"/>
                  </a:lnTo>
                  <a:lnTo>
                    <a:pt x="14653" y="3895"/>
                  </a:lnTo>
                  <a:lnTo>
                    <a:pt x="14615" y="3895"/>
                  </a:lnTo>
                  <a:lnTo>
                    <a:pt x="14601" y="3874"/>
                  </a:lnTo>
                  <a:lnTo>
                    <a:pt x="14606" y="3874"/>
                  </a:lnTo>
                  <a:lnTo>
                    <a:pt x="14589" y="3841"/>
                  </a:lnTo>
                  <a:lnTo>
                    <a:pt x="14601" y="3836"/>
                  </a:lnTo>
                  <a:lnTo>
                    <a:pt x="14584" y="3836"/>
                  </a:lnTo>
                  <a:lnTo>
                    <a:pt x="14577" y="3820"/>
                  </a:lnTo>
                  <a:lnTo>
                    <a:pt x="14551" y="3825"/>
                  </a:lnTo>
                  <a:lnTo>
                    <a:pt x="14530" y="3820"/>
                  </a:lnTo>
                  <a:lnTo>
                    <a:pt x="14509" y="3780"/>
                  </a:lnTo>
                  <a:lnTo>
                    <a:pt x="14530" y="3768"/>
                  </a:lnTo>
                  <a:lnTo>
                    <a:pt x="14530" y="3763"/>
                  </a:lnTo>
                  <a:lnTo>
                    <a:pt x="14509" y="3747"/>
                  </a:lnTo>
                  <a:lnTo>
                    <a:pt x="14509" y="3730"/>
                  </a:lnTo>
                  <a:lnTo>
                    <a:pt x="14492" y="3709"/>
                  </a:lnTo>
                  <a:lnTo>
                    <a:pt x="14443" y="3709"/>
                  </a:lnTo>
                  <a:lnTo>
                    <a:pt x="14421" y="3725"/>
                  </a:lnTo>
                  <a:lnTo>
                    <a:pt x="14384" y="3714"/>
                  </a:lnTo>
                  <a:lnTo>
                    <a:pt x="14374" y="3735"/>
                  </a:lnTo>
                  <a:lnTo>
                    <a:pt x="14346" y="3735"/>
                  </a:lnTo>
                  <a:lnTo>
                    <a:pt x="14329" y="3714"/>
                  </a:lnTo>
                  <a:lnTo>
                    <a:pt x="14329" y="3692"/>
                  </a:lnTo>
                  <a:lnTo>
                    <a:pt x="14320" y="3676"/>
                  </a:lnTo>
                  <a:lnTo>
                    <a:pt x="14329" y="3669"/>
                  </a:lnTo>
                  <a:lnTo>
                    <a:pt x="14308" y="3643"/>
                  </a:lnTo>
                  <a:lnTo>
                    <a:pt x="14320" y="3624"/>
                  </a:lnTo>
                  <a:lnTo>
                    <a:pt x="14374" y="3636"/>
                  </a:lnTo>
                  <a:lnTo>
                    <a:pt x="14405" y="3614"/>
                  </a:lnTo>
                  <a:lnTo>
                    <a:pt x="14417" y="3603"/>
                  </a:lnTo>
                  <a:lnTo>
                    <a:pt x="14388" y="3598"/>
                  </a:lnTo>
                  <a:lnTo>
                    <a:pt x="14388" y="3586"/>
                  </a:lnTo>
                  <a:lnTo>
                    <a:pt x="14400" y="3581"/>
                  </a:lnTo>
                  <a:lnTo>
                    <a:pt x="14388" y="3581"/>
                  </a:lnTo>
                  <a:lnTo>
                    <a:pt x="14367" y="3569"/>
                  </a:lnTo>
                  <a:lnTo>
                    <a:pt x="14346" y="3569"/>
                  </a:lnTo>
                  <a:lnTo>
                    <a:pt x="14350" y="3541"/>
                  </a:lnTo>
                  <a:lnTo>
                    <a:pt x="14313" y="3525"/>
                  </a:lnTo>
                  <a:lnTo>
                    <a:pt x="14308" y="3508"/>
                  </a:lnTo>
                  <a:lnTo>
                    <a:pt x="14298" y="3503"/>
                  </a:lnTo>
                  <a:lnTo>
                    <a:pt x="14298" y="3487"/>
                  </a:lnTo>
                  <a:lnTo>
                    <a:pt x="14275" y="3470"/>
                  </a:lnTo>
                  <a:lnTo>
                    <a:pt x="14291" y="3447"/>
                  </a:lnTo>
                  <a:lnTo>
                    <a:pt x="14275" y="3421"/>
                  </a:lnTo>
                  <a:lnTo>
                    <a:pt x="14282" y="3414"/>
                  </a:lnTo>
                  <a:lnTo>
                    <a:pt x="14282" y="3392"/>
                  </a:lnTo>
                  <a:lnTo>
                    <a:pt x="14275" y="3392"/>
                  </a:lnTo>
                  <a:lnTo>
                    <a:pt x="14254" y="3364"/>
                  </a:lnTo>
                  <a:lnTo>
                    <a:pt x="14237" y="3364"/>
                  </a:lnTo>
                  <a:lnTo>
                    <a:pt x="14211" y="3364"/>
                  </a:lnTo>
                  <a:lnTo>
                    <a:pt x="14185" y="3380"/>
                  </a:lnTo>
                  <a:lnTo>
                    <a:pt x="14173" y="3376"/>
                  </a:lnTo>
                  <a:lnTo>
                    <a:pt x="14185" y="3359"/>
                  </a:lnTo>
                  <a:lnTo>
                    <a:pt x="14173" y="3359"/>
                  </a:lnTo>
                  <a:lnTo>
                    <a:pt x="14152" y="3347"/>
                  </a:lnTo>
                  <a:lnTo>
                    <a:pt x="14131" y="3359"/>
                  </a:lnTo>
                  <a:lnTo>
                    <a:pt x="14119" y="3343"/>
                  </a:lnTo>
                  <a:lnTo>
                    <a:pt x="14098" y="3343"/>
                  </a:lnTo>
                  <a:lnTo>
                    <a:pt x="14093" y="3336"/>
                  </a:lnTo>
                  <a:lnTo>
                    <a:pt x="14098" y="3319"/>
                  </a:lnTo>
                  <a:lnTo>
                    <a:pt x="14076" y="3265"/>
                  </a:lnTo>
                  <a:lnTo>
                    <a:pt x="14060" y="3253"/>
                  </a:lnTo>
                  <a:lnTo>
                    <a:pt x="14065" y="3215"/>
                  </a:lnTo>
                  <a:lnTo>
                    <a:pt x="14043" y="3199"/>
                  </a:lnTo>
                  <a:lnTo>
                    <a:pt x="14043" y="3192"/>
                  </a:lnTo>
                  <a:lnTo>
                    <a:pt x="14039" y="3192"/>
                  </a:lnTo>
                  <a:lnTo>
                    <a:pt x="14043" y="3158"/>
                  </a:lnTo>
                  <a:lnTo>
                    <a:pt x="14065" y="3158"/>
                  </a:lnTo>
                  <a:lnTo>
                    <a:pt x="14043" y="3121"/>
                  </a:lnTo>
                  <a:lnTo>
                    <a:pt x="14043" y="3104"/>
                  </a:lnTo>
                  <a:lnTo>
                    <a:pt x="14039" y="3059"/>
                  </a:lnTo>
                  <a:lnTo>
                    <a:pt x="14065" y="3031"/>
                  </a:lnTo>
                  <a:lnTo>
                    <a:pt x="14076" y="3010"/>
                  </a:lnTo>
                  <a:lnTo>
                    <a:pt x="14093" y="3010"/>
                  </a:lnTo>
                  <a:lnTo>
                    <a:pt x="14093" y="2998"/>
                  </a:lnTo>
                  <a:lnTo>
                    <a:pt x="14081" y="2988"/>
                  </a:lnTo>
                  <a:lnTo>
                    <a:pt x="14081" y="2977"/>
                  </a:lnTo>
                  <a:lnTo>
                    <a:pt x="14076" y="2960"/>
                  </a:lnTo>
                  <a:lnTo>
                    <a:pt x="14081" y="2953"/>
                  </a:lnTo>
                  <a:lnTo>
                    <a:pt x="14102" y="2972"/>
                  </a:lnTo>
                  <a:lnTo>
                    <a:pt x="14114" y="2943"/>
                  </a:lnTo>
                  <a:lnTo>
                    <a:pt x="14136" y="2953"/>
                  </a:lnTo>
                  <a:lnTo>
                    <a:pt x="14157" y="2932"/>
                  </a:lnTo>
                  <a:lnTo>
                    <a:pt x="14228" y="2943"/>
                  </a:lnTo>
                  <a:lnTo>
                    <a:pt x="14237" y="2936"/>
                  </a:lnTo>
                  <a:lnTo>
                    <a:pt x="14211" y="2932"/>
                  </a:lnTo>
                  <a:lnTo>
                    <a:pt x="14211" y="2915"/>
                  </a:lnTo>
                  <a:lnTo>
                    <a:pt x="14199" y="2915"/>
                  </a:lnTo>
                  <a:lnTo>
                    <a:pt x="14152" y="2915"/>
                  </a:lnTo>
                  <a:lnTo>
                    <a:pt x="14119" y="2887"/>
                  </a:lnTo>
                  <a:lnTo>
                    <a:pt x="14114" y="2877"/>
                  </a:lnTo>
                  <a:lnTo>
                    <a:pt x="14131" y="2882"/>
                  </a:lnTo>
                  <a:lnTo>
                    <a:pt x="14131" y="2866"/>
                  </a:lnTo>
                  <a:lnTo>
                    <a:pt x="14119" y="2866"/>
                  </a:lnTo>
                  <a:lnTo>
                    <a:pt x="14131" y="2866"/>
                  </a:lnTo>
                  <a:lnTo>
                    <a:pt x="14131" y="2849"/>
                  </a:lnTo>
                  <a:lnTo>
                    <a:pt x="14093" y="2877"/>
                  </a:lnTo>
                  <a:lnTo>
                    <a:pt x="14065" y="2877"/>
                  </a:lnTo>
                  <a:lnTo>
                    <a:pt x="14169" y="2792"/>
                  </a:lnTo>
                  <a:lnTo>
                    <a:pt x="14308" y="2655"/>
                  </a:lnTo>
                  <a:lnTo>
                    <a:pt x="14329" y="2610"/>
                  </a:lnTo>
                  <a:lnTo>
                    <a:pt x="14308" y="2573"/>
                  </a:lnTo>
                  <a:lnTo>
                    <a:pt x="14223" y="2516"/>
                  </a:lnTo>
                  <a:lnTo>
                    <a:pt x="14261" y="2478"/>
                  </a:lnTo>
                  <a:lnTo>
                    <a:pt x="14261" y="2462"/>
                  </a:lnTo>
                  <a:lnTo>
                    <a:pt x="14223" y="2438"/>
                  </a:lnTo>
                  <a:lnTo>
                    <a:pt x="14228" y="2433"/>
                  </a:lnTo>
                  <a:lnTo>
                    <a:pt x="14223" y="2421"/>
                  </a:lnTo>
                  <a:lnTo>
                    <a:pt x="14237" y="2417"/>
                  </a:lnTo>
                  <a:lnTo>
                    <a:pt x="14228" y="2400"/>
                  </a:lnTo>
                  <a:lnTo>
                    <a:pt x="14206" y="2388"/>
                  </a:lnTo>
                  <a:lnTo>
                    <a:pt x="14190" y="2384"/>
                  </a:lnTo>
                  <a:lnTo>
                    <a:pt x="14190" y="2360"/>
                  </a:lnTo>
                  <a:lnTo>
                    <a:pt x="14211" y="2360"/>
                  </a:lnTo>
                  <a:lnTo>
                    <a:pt x="14206" y="2343"/>
                  </a:lnTo>
                  <a:lnTo>
                    <a:pt x="14190" y="2343"/>
                  </a:lnTo>
                  <a:lnTo>
                    <a:pt x="14199" y="2327"/>
                  </a:lnTo>
                  <a:lnTo>
                    <a:pt x="14206" y="2294"/>
                  </a:lnTo>
                  <a:lnTo>
                    <a:pt x="14228" y="2289"/>
                  </a:lnTo>
                  <a:lnTo>
                    <a:pt x="14211" y="2240"/>
                  </a:lnTo>
                  <a:lnTo>
                    <a:pt x="14152" y="2145"/>
                  </a:lnTo>
                  <a:lnTo>
                    <a:pt x="14157" y="2129"/>
                  </a:lnTo>
                  <a:lnTo>
                    <a:pt x="14211" y="2067"/>
                  </a:lnTo>
                  <a:lnTo>
                    <a:pt x="14223" y="2051"/>
                  </a:lnTo>
                  <a:lnTo>
                    <a:pt x="14199" y="2034"/>
                  </a:lnTo>
                  <a:lnTo>
                    <a:pt x="14173" y="2001"/>
                  </a:lnTo>
                  <a:lnTo>
                    <a:pt x="14131" y="1989"/>
                  </a:lnTo>
                  <a:lnTo>
                    <a:pt x="14114" y="1944"/>
                  </a:lnTo>
                  <a:lnTo>
                    <a:pt x="14136" y="1906"/>
                  </a:lnTo>
                  <a:lnTo>
                    <a:pt x="14102" y="1902"/>
                  </a:lnTo>
                  <a:lnTo>
                    <a:pt x="14147" y="1878"/>
                  </a:lnTo>
                  <a:lnTo>
                    <a:pt x="14169" y="1866"/>
                  </a:lnTo>
                  <a:lnTo>
                    <a:pt x="14169" y="1845"/>
                  </a:lnTo>
                  <a:lnTo>
                    <a:pt x="14228" y="1824"/>
                  </a:lnTo>
                  <a:lnTo>
                    <a:pt x="14228" y="1812"/>
                  </a:lnTo>
                  <a:lnTo>
                    <a:pt x="14228" y="1807"/>
                  </a:lnTo>
                  <a:lnTo>
                    <a:pt x="14261" y="1812"/>
                  </a:lnTo>
                  <a:lnTo>
                    <a:pt x="14282" y="1812"/>
                  </a:lnTo>
                  <a:lnTo>
                    <a:pt x="14282" y="1795"/>
                  </a:lnTo>
                  <a:lnTo>
                    <a:pt x="14282" y="1779"/>
                  </a:lnTo>
                  <a:lnTo>
                    <a:pt x="14346" y="1795"/>
                  </a:lnTo>
                  <a:lnTo>
                    <a:pt x="14336" y="1791"/>
                  </a:lnTo>
                  <a:lnTo>
                    <a:pt x="14336" y="1779"/>
                  </a:lnTo>
                  <a:lnTo>
                    <a:pt x="14367" y="1779"/>
                  </a:lnTo>
                  <a:lnTo>
                    <a:pt x="14350" y="1767"/>
                  </a:lnTo>
                  <a:lnTo>
                    <a:pt x="14400" y="1791"/>
                  </a:lnTo>
                  <a:lnTo>
                    <a:pt x="14438" y="1791"/>
                  </a:lnTo>
                  <a:lnTo>
                    <a:pt x="14438" y="1807"/>
                  </a:lnTo>
                  <a:lnTo>
                    <a:pt x="14421" y="1812"/>
                  </a:lnTo>
                  <a:lnTo>
                    <a:pt x="14362" y="1807"/>
                  </a:lnTo>
                  <a:lnTo>
                    <a:pt x="14388" y="1824"/>
                  </a:lnTo>
                  <a:lnTo>
                    <a:pt x="14374" y="1829"/>
                  </a:lnTo>
                  <a:lnTo>
                    <a:pt x="14426" y="1829"/>
                  </a:lnTo>
                  <a:lnTo>
                    <a:pt x="14417" y="1845"/>
                  </a:lnTo>
                  <a:lnTo>
                    <a:pt x="14426" y="1833"/>
                  </a:lnTo>
                  <a:lnTo>
                    <a:pt x="14471" y="1829"/>
                  </a:lnTo>
                  <a:lnTo>
                    <a:pt x="14443" y="1850"/>
                  </a:lnTo>
                  <a:lnTo>
                    <a:pt x="14459" y="1850"/>
                  </a:lnTo>
                  <a:lnTo>
                    <a:pt x="14471" y="1862"/>
                  </a:lnTo>
                  <a:lnTo>
                    <a:pt x="14426" y="1878"/>
                  </a:lnTo>
                  <a:lnTo>
                    <a:pt x="14426" y="1890"/>
                  </a:lnTo>
                  <a:lnTo>
                    <a:pt x="14426" y="1878"/>
                  </a:lnTo>
                  <a:lnTo>
                    <a:pt x="14459" y="1878"/>
                  </a:lnTo>
                  <a:lnTo>
                    <a:pt x="14471" y="1862"/>
                  </a:lnTo>
                  <a:lnTo>
                    <a:pt x="14471" y="1845"/>
                  </a:lnTo>
                  <a:lnTo>
                    <a:pt x="14480" y="1845"/>
                  </a:lnTo>
                  <a:lnTo>
                    <a:pt x="14639" y="1862"/>
                  </a:lnTo>
                  <a:lnTo>
                    <a:pt x="14761" y="1923"/>
                  </a:lnTo>
                  <a:lnTo>
                    <a:pt x="14804" y="1973"/>
                  </a:lnTo>
                  <a:lnTo>
                    <a:pt x="14821" y="1961"/>
                  </a:lnTo>
                  <a:lnTo>
                    <a:pt x="14887" y="2001"/>
                  </a:lnTo>
                  <a:lnTo>
                    <a:pt x="14908" y="2001"/>
                  </a:lnTo>
                  <a:lnTo>
                    <a:pt x="14903" y="1989"/>
                  </a:lnTo>
                  <a:lnTo>
                    <a:pt x="14908" y="1989"/>
                  </a:lnTo>
                  <a:lnTo>
                    <a:pt x="14946" y="2018"/>
                  </a:lnTo>
                  <a:lnTo>
                    <a:pt x="14946" y="2029"/>
                  </a:lnTo>
                  <a:lnTo>
                    <a:pt x="14955" y="2046"/>
                  </a:lnTo>
                  <a:lnTo>
                    <a:pt x="14993" y="2046"/>
                  </a:lnTo>
                  <a:lnTo>
                    <a:pt x="14993" y="2072"/>
                  </a:lnTo>
                  <a:lnTo>
                    <a:pt x="15000" y="2084"/>
                  </a:lnTo>
                  <a:lnTo>
                    <a:pt x="15000" y="2105"/>
                  </a:lnTo>
                  <a:lnTo>
                    <a:pt x="15017" y="2105"/>
                  </a:lnTo>
                  <a:lnTo>
                    <a:pt x="15017" y="2112"/>
                  </a:lnTo>
                  <a:lnTo>
                    <a:pt x="15010" y="2157"/>
                  </a:lnTo>
                  <a:lnTo>
                    <a:pt x="14962" y="2199"/>
                  </a:lnTo>
                  <a:lnTo>
                    <a:pt x="14924" y="2216"/>
                  </a:lnTo>
                  <a:lnTo>
                    <a:pt x="14821" y="2249"/>
                  </a:lnTo>
                  <a:lnTo>
                    <a:pt x="14606" y="2211"/>
                  </a:lnTo>
                  <a:lnTo>
                    <a:pt x="14563" y="2178"/>
                  </a:lnTo>
                  <a:lnTo>
                    <a:pt x="14530" y="2183"/>
                  </a:lnTo>
                  <a:lnTo>
                    <a:pt x="14525" y="2178"/>
                  </a:lnTo>
                  <a:lnTo>
                    <a:pt x="14530" y="2178"/>
                  </a:lnTo>
                  <a:lnTo>
                    <a:pt x="14492" y="2166"/>
                  </a:lnTo>
                  <a:lnTo>
                    <a:pt x="14471" y="2157"/>
                  </a:lnTo>
                  <a:lnTo>
                    <a:pt x="14476" y="2162"/>
                  </a:lnTo>
                  <a:lnTo>
                    <a:pt x="14471" y="2166"/>
                  </a:lnTo>
                  <a:lnTo>
                    <a:pt x="14443" y="2157"/>
                  </a:lnTo>
                  <a:lnTo>
                    <a:pt x="14405" y="2121"/>
                  </a:lnTo>
                  <a:lnTo>
                    <a:pt x="14350" y="2112"/>
                  </a:lnTo>
                  <a:lnTo>
                    <a:pt x="14374" y="2112"/>
                  </a:lnTo>
                  <a:lnTo>
                    <a:pt x="14400" y="2129"/>
                  </a:lnTo>
                  <a:lnTo>
                    <a:pt x="14400" y="2145"/>
                  </a:lnTo>
                  <a:lnTo>
                    <a:pt x="14421" y="2162"/>
                  </a:lnTo>
                  <a:lnTo>
                    <a:pt x="14417" y="2166"/>
                  </a:lnTo>
                  <a:lnTo>
                    <a:pt x="14454" y="2178"/>
                  </a:lnTo>
                  <a:lnTo>
                    <a:pt x="14421" y="2183"/>
                  </a:lnTo>
                  <a:lnTo>
                    <a:pt x="14443" y="2178"/>
                  </a:lnTo>
                  <a:lnTo>
                    <a:pt x="14471" y="2195"/>
                  </a:lnTo>
                  <a:lnTo>
                    <a:pt x="14421" y="2195"/>
                  </a:lnTo>
                  <a:lnTo>
                    <a:pt x="14480" y="2199"/>
                  </a:lnTo>
                  <a:lnTo>
                    <a:pt x="14454" y="2216"/>
                  </a:lnTo>
                  <a:lnTo>
                    <a:pt x="14509" y="2223"/>
                  </a:lnTo>
                  <a:lnTo>
                    <a:pt x="14563" y="2266"/>
                  </a:lnTo>
                  <a:lnTo>
                    <a:pt x="14568" y="2289"/>
                  </a:lnTo>
                  <a:lnTo>
                    <a:pt x="14547" y="2273"/>
                  </a:lnTo>
                  <a:lnTo>
                    <a:pt x="14551" y="2306"/>
                  </a:lnTo>
                  <a:lnTo>
                    <a:pt x="14547" y="2322"/>
                  </a:lnTo>
                  <a:lnTo>
                    <a:pt x="14530" y="2327"/>
                  </a:lnTo>
                  <a:lnTo>
                    <a:pt x="14547" y="2343"/>
                  </a:lnTo>
                  <a:lnTo>
                    <a:pt x="14568" y="2388"/>
                  </a:lnTo>
                  <a:lnTo>
                    <a:pt x="14568" y="2417"/>
                  </a:lnTo>
                  <a:lnTo>
                    <a:pt x="14551" y="2421"/>
                  </a:lnTo>
                  <a:lnTo>
                    <a:pt x="14589" y="2445"/>
                  </a:lnTo>
                  <a:lnTo>
                    <a:pt x="14606" y="2438"/>
                  </a:lnTo>
                  <a:lnTo>
                    <a:pt x="14622" y="2445"/>
                  </a:lnTo>
                  <a:lnTo>
                    <a:pt x="14639" y="2462"/>
                  </a:lnTo>
                  <a:lnTo>
                    <a:pt x="14643" y="2462"/>
                  </a:lnTo>
                  <a:lnTo>
                    <a:pt x="14660" y="2471"/>
                  </a:lnTo>
                  <a:lnTo>
                    <a:pt x="14660" y="2488"/>
                  </a:lnTo>
                  <a:lnTo>
                    <a:pt x="14740" y="2511"/>
                  </a:lnTo>
                  <a:lnTo>
                    <a:pt x="14783" y="2488"/>
                  </a:lnTo>
                  <a:lnTo>
                    <a:pt x="14783" y="2471"/>
                  </a:lnTo>
                  <a:lnTo>
                    <a:pt x="14778" y="2462"/>
                  </a:lnTo>
                  <a:lnTo>
                    <a:pt x="14778" y="2445"/>
                  </a:lnTo>
                  <a:lnTo>
                    <a:pt x="14766" y="2438"/>
                  </a:lnTo>
                  <a:lnTo>
                    <a:pt x="14728" y="2445"/>
                  </a:lnTo>
                  <a:lnTo>
                    <a:pt x="14724" y="2438"/>
                  </a:lnTo>
                  <a:lnTo>
                    <a:pt x="14691" y="2405"/>
                  </a:lnTo>
                  <a:lnTo>
                    <a:pt x="14676" y="2400"/>
                  </a:lnTo>
                  <a:lnTo>
                    <a:pt x="14669" y="2377"/>
                  </a:lnTo>
                  <a:lnTo>
                    <a:pt x="14698" y="2377"/>
                  </a:lnTo>
                  <a:lnTo>
                    <a:pt x="14698" y="2351"/>
                  </a:lnTo>
                  <a:lnTo>
                    <a:pt x="14714" y="2343"/>
                  </a:lnTo>
                  <a:lnTo>
                    <a:pt x="14761" y="2367"/>
                  </a:lnTo>
                  <a:lnTo>
                    <a:pt x="14778" y="2384"/>
                  </a:lnTo>
                  <a:lnTo>
                    <a:pt x="14804" y="2384"/>
                  </a:lnTo>
                  <a:lnTo>
                    <a:pt x="14783" y="2400"/>
                  </a:lnTo>
                  <a:lnTo>
                    <a:pt x="14783" y="2417"/>
                  </a:lnTo>
                  <a:lnTo>
                    <a:pt x="14816" y="2388"/>
                  </a:lnTo>
                  <a:lnTo>
                    <a:pt x="14891" y="2421"/>
                  </a:lnTo>
                  <a:lnTo>
                    <a:pt x="14913" y="2417"/>
                  </a:lnTo>
                  <a:lnTo>
                    <a:pt x="14908" y="2417"/>
                  </a:lnTo>
                  <a:lnTo>
                    <a:pt x="14908" y="2405"/>
                  </a:lnTo>
                  <a:lnTo>
                    <a:pt x="14955" y="2421"/>
                  </a:lnTo>
                  <a:lnTo>
                    <a:pt x="14946" y="2377"/>
                  </a:lnTo>
                  <a:lnTo>
                    <a:pt x="14903" y="2327"/>
                  </a:lnTo>
                  <a:lnTo>
                    <a:pt x="14903" y="2306"/>
                  </a:lnTo>
                  <a:lnTo>
                    <a:pt x="14946" y="2277"/>
                  </a:lnTo>
                  <a:lnTo>
                    <a:pt x="14967" y="2256"/>
                  </a:lnTo>
                  <a:lnTo>
                    <a:pt x="15021" y="2240"/>
                  </a:lnTo>
                  <a:lnTo>
                    <a:pt x="15069" y="2195"/>
                  </a:lnTo>
                  <a:lnTo>
                    <a:pt x="15106" y="2211"/>
                  </a:lnTo>
                  <a:lnTo>
                    <a:pt x="15156" y="2199"/>
                  </a:lnTo>
                  <a:lnTo>
                    <a:pt x="15177" y="2223"/>
                  </a:lnTo>
                  <a:lnTo>
                    <a:pt x="15156" y="2240"/>
                  </a:lnTo>
                  <a:lnTo>
                    <a:pt x="15156" y="2249"/>
                  </a:lnTo>
                  <a:lnTo>
                    <a:pt x="15172" y="2256"/>
                  </a:lnTo>
                  <a:lnTo>
                    <a:pt x="15172" y="2249"/>
                  </a:lnTo>
                  <a:lnTo>
                    <a:pt x="15156" y="2240"/>
                  </a:lnTo>
                  <a:lnTo>
                    <a:pt x="15194" y="2232"/>
                  </a:lnTo>
                  <a:lnTo>
                    <a:pt x="15198" y="2240"/>
                  </a:lnTo>
                  <a:lnTo>
                    <a:pt x="15198" y="2249"/>
                  </a:lnTo>
                  <a:lnTo>
                    <a:pt x="15215" y="2266"/>
                  </a:lnTo>
                  <a:lnTo>
                    <a:pt x="15210" y="2232"/>
                  </a:lnTo>
                  <a:lnTo>
                    <a:pt x="15232" y="2166"/>
                  </a:lnTo>
                  <a:lnTo>
                    <a:pt x="15227" y="2162"/>
                  </a:lnTo>
                  <a:lnTo>
                    <a:pt x="15236" y="2145"/>
                  </a:lnTo>
                  <a:lnTo>
                    <a:pt x="15210" y="2112"/>
                  </a:lnTo>
                  <a:lnTo>
                    <a:pt x="15182" y="2105"/>
                  </a:lnTo>
                  <a:lnTo>
                    <a:pt x="15182" y="2100"/>
                  </a:lnTo>
                  <a:lnTo>
                    <a:pt x="15210" y="2051"/>
                  </a:lnTo>
                  <a:lnTo>
                    <a:pt x="15210" y="2029"/>
                  </a:lnTo>
                  <a:lnTo>
                    <a:pt x="15215" y="2018"/>
                  </a:lnTo>
                  <a:lnTo>
                    <a:pt x="15210" y="2018"/>
                  </a:lnTo>
                  <a:lnTo>
                    <a:pt x="15215" y="1977"/>
                  </a:lnTo>
                  <a:lnTo>
                    <a:pt x="15156" y="1940"/>
                  </a:lnTo>
                  <a:lnTo>
                    <a:pt x="15156" y="1923"/>
                  </a:lnTo>
                  <a:lnTo>
                    <a:pt x="15210" y="1940"/>
                  </a:lnTo>
                  <a:lnTo>
                    <a:pt x="15291" y="1940"/>
                  </a:lnTo>
                  <a:lnTo>
                    <a:pt x="15333" y="1944"/>
                  </a:lnTo>
                  <a:lnTo>
                    <a:pt x="15340" y="1973"/>
                  </a:lnTo>
                  <a:lnTo>
                    <a:pt x="15378" y="1994"/>
                  </a:lnTo>
                  <a:lnTo>
                    <a:pt x="15378" y="2013"/>
                  </a:lnTo>
                  <a:lnTo>
                    <a:pt x="15395" y="2018"/>
                  </a:lnTo>
                  <a:lnTo>
                    <a:pt x="15395" y="2034"/>
                  </a:lnTo>
                  <a:lnTo>
                    <a:pt x="15302" y="2046"/>
                  </a:lnTo>
                  <a:lnTo>
                    <a:pt x="15291" y="2051"/>
                  </a:lnTo>
                  <a:lnTo>
                    <a:pt x="15291" y="2055"/>
                  </a:lnTo>
                  <a:lnTo>
                    <a:pt x="15269" y="2067"/>
                  </a:lnTo>
                  <a:lnTo>
                    <a:pt x="15265" y="2088"/>
                  </a:lnTo>
                  <a:lnTo>
                    <a:pt x="15319" y="2112"/>
                  </a:lnTo>
                  <a:lnTo>
                    <a:pt x="15324" y="2145"/>
                  </a:lnTo>
                  <a:lnTo>
                    <a:pt x="15340" y="2157"/>
                  </a:lnTo>
                  <a:lnTo>
                    <a:pt x="15387" y="2157"/>
                  </a:lnTo>
                  <a:lnTo>
                    <a:pt x="15371" y="2162"/>
                  </a:lnTo>
                  <a:lnTo>
                    <a:pt x="15463" y="2138"/>
                  </a:lnTo>
                  <a:lnTo>
                    <a:pt x="15463" y="2121"/>
                  </a:lnTo>
                  <a:lnTo>
                    <a:pt x="15454" y="2105"/>
                  </a:lnTo>
                  <a:lnTo>
                    <a:pt x="15480" y="2072"/>
                  </a:lnTo>
                  <a:lnTo>
                    <a:pt x="15470" y="2055"/>
                  </a:lnTo>
                  <a:lnTo>
                    <a:pt x="15480" y="2051"/>
                  </a:lnTo>
                  <a:lnTo>
                    <a:pt x="15534" y="2046"/>
                  </a:lnTo>
                  <a:lnTo>
                    <a:pt x="15555" y="2055"/>
                  </a:lnTo>
                  <a:lnTo>
                    <a:pt x="15522" y="2018"/>
                  </a:lnTo>
                  <a:lnTo>
                    <a:pt x="15572" y="2029"/>
                  </a:lnTo>
                  <a:lnTo>
                    <a:pt x="15626" y="1994"/>
                  </a:lnTo>
                  <a:lnTo>
                    <a:pt x="15609" y="2013"/>
                  </a:lnTo>
                  <a:lnTo>
                    <a:pt x="15614" y="2001"/>
                  </a:lnTo>
                  <a:lnTo>
                    <a:pt x="15680" y="1961"/>
                  </a:lnTo>
                  <a:lnTo>
                    <a:pt x="15697" y="1961"/>
                  </a:lnTo>
                  <a:lnTo>
                    <a:pt x="15765" y="1940"/>
                  </a:lnTo>
                  <a:lnTo>
                    <a:pt x="15787" y="1944"/>
                  </a:lnTo>
                  <a:lnTo>
                    <a:pt x="15772" y="1961"/>
                  </a:lnTo>
                  <a:lnTo>
                    <a:pt x="15777" y="1973"/>
                  </a:lnTo>
                  <a:lnTo>
                    <a:pt x="15810" y="1956"/>
                  </a:lnTo>
                  <a:lnTo>
                    <a:pt x="15794" y="1940"/>
                  </a:lnTo>
                  <a:lnTo>
                    <a:pt x="15810" y="1935"/>
                  </a:lnTo>
                  <a:lnTo>
                    <a:pt x="15777" y="1935"/>
                  </a:lnTo>
                  <a:lnTo>
                    <a:pt x="15886" y="1890"/>
                  </a:lnTo>
                  <a:lnTo>
                    <a:pt x="15938" y="1885"/>
                  </a:lnTo>
                  <a:lnTo>
                    <a:pt x="15874" y="1902"/>
                  </a:lnTo>
                  <a:lnTo>
                    <a:pt x="15900" y="1902"/>
                  </a:lnTo>
                  <a:lnTo>
                    <a:pt x="15879" y="1935"/>
                  </a:lnTo>
                  <a:lnTo>
                    <a:pt x="15895" y="1961"/>
                  </a:lnTo>
                  <a:lnTo>
                    <a:pt x="15886" y="1973"/>
                  </a:lnTo>
                  <a:lnTo>
                    <a:pt x="15874" y="1956"/>
                  </a:lnTo>
                  <a:lnTo>
                    <a:pt x="15879" y="1973"/>
                  </a:lnTo>
                  <a:lnTo>
                    <a:pt x="15862" y="1961"/>
                  </a:lnTo>
                  <a:lnTo>
                    <a:pt x="15848" y="1977"/>
                  </a:lnTo>
                  <a:lnTo>
                    <a:pt x="15917" y="1989"/>
                  </a:lnTo>
                  <a:lnTo>
                    <a:pt x="15933" y="1973"/>
                  </a:lnTo>
                  <a:lnTo>
                    <a:pt x="15954" y="1989"/>
                  </a:lnTo>
                  <a:lnTo>
                    <a:pt x="15966" y="1977"/>
                  </a:lnTo>
                  <a:lnTo>
                    <a:pt x="15966" y="1973"/>
                  </a:lnTo>
                  <a:lnTo>
                    <a:pt x="15966" y="1961"/>
                  </a:lnTo>
                  <a:lnTo>
                    <a:pt x="15992" y="1940"/>
                  </a:lnTo>
                  <a:lnTo>
                    <a:pt x="16042" y="1923"/>
                  </a:lnTo>
                  <a:lnTo>
                    <a:pt x="16134" y="1940"/>
                  </a:lnTo>
                  <a:lnTo>
                    <a:pt x="16155" y="1918"/>
                  </a:lnTo>
                  <a:lnTo>
                    <a:pt x="16181" y="1918"/>
                  </a:lnTo>
                  <a:lnTo>
                    <a:pt x="16181" y="1906"/>
                  </a:lnTo>
                  <a:lnTo>
                    <a:pt x="16198" y="1902"/>
                  </a:lnTo>
                  <a:lnTo>
                    <a:pt x="16209" y="1918"/>
                  </a:lnTo>
                  <a:lnTo>
                    <a:pt x="16202" y="1906"/>
                  </a:lnTo>
                  <a:lnTo>
                    <a:pt x="16202" y="1902"/>
                  </a:lnTo>
                  <a:lnTo>
                    <a:pt x="16240" y="1885"/>
                  </a:lnTo>
                  <a:lnTo>
                    <a:pt x="16273" y="1885"/>
                  </a:lnTo>
                  <a:lnTo>
                    <a:pt x="16240" y="1890"/>
                  </a:lnTo>
                  <a:lnTo>
                    <a:pt x="16278" y="1918"/>
                  </a:lnTo>
                  <a:lnTo>
                    <a:pt x="16257" y="1935"/>
                  </a:lnTo>
                  <a:lnTo>
                    <a:pt x="16257" y="1956"/>
                  </a:lnTo>
                  <a:lnTo>
                    <a:pt x="16311" y="1961"/>
                  </a:lnTo>
                  <a:lnTo>
                    <a:pt x="16316" y="1956"/>
                  </a:lnTo>
                  <a:lnTo>
                    <a:pt x="16306" y="1935"/>
                  </a:lnTo>
                  <a:lnTo>
                    <a:pt x="16311" y="1923"/>
                  </a:lnTo>
                  <a:lnTo>
                    <a:pt x="16361" y="1923"/>
                  </a:lnTo>
                  <a:lnTo>
                    <a:pt x="16387" y="1902"/>
                  </a:lnTo>
                  <a:lnTo>
                    <a:pt x="16387" y="1866"/>
                  </a:lnTo>
                  <a:lnTo>
                    <a:pt x="16365" y="1866"/>
                  </a:lnTo>
                  <a:lnTo>
                    <a:pt x="16361" y="1845"/>
                  </a:lnTo>
                  <a:lnTo>
                    <a:pt x="16332" y="1812"/>
                  </a:lnTo>
                  <a:lnTo>
                    <a:pt x="16344" y="1795"/>
                  </a:lnTo>
                  <a:lnTo>
                    <a:pt x="16365" y="1795"/>
                  </a:lnTo>
                  <a:lnTo>
                    <a:pt x="16370" y="1779"/>
                  </a:lnTo>
                  <a:lnTo>
                    <a:pt x="16382" y="1774"/>
                  </a:lnTo>
                  <a:lnTo>
                    <a:pt x="16543" y="1795"/>
                  </a:lnTo>
                  <a:lnTo>
                    <a:pt x="16613" y="1812"/>
                  </a:lnTo>
                  <a:lnTo>
                    <a:pt x="16672" y="1845"/>
                  </a:lnTo>
                  <a:lnTo>
                    <a:pt x="16656" y="1850"/>
                  </a:lnTo>
                  <a:lnTo>
                    <a:pt x="16656" y="1866"/>
                  </a:lnTo>
                  <a:lnTo>
                    <a:pt x="16684" y="1850"/>
                  </a:lnTo>
                  <a:lnTo>
                    <a:pt x="16739" y="1866"/>
                  </a:lnTo>
                  <a:lnTo>
                    <a:pt x="16722" y="1878"/>
                  </a:lnTo>
                  <a:lnTo>
                    <a:pt x="16819" y="1906"/>
                  </a:lnTo>
                  <a:lnTo>
                    <a:pt x="16814" y="1906"/>
                  </a:lnTo>
                  <a:lnTo>
                    <a:pt x="16831" y="1923"/>
                  </a:lnTo>
                  <a:lnTo>
                    <a:pt x="16899" y="1956"/>
                  </a:lnTo>
                  <a:lnTo>
                    <a:pt x="16906" y="1973"/>
                  </a:lnTo>
                  <a:lnTo>
                    <a:pt x="16899" y="1977"/>
                  </a:lnTo>
                  <a:lnTo>
                    <a:pt x="16906" y="1989"/>
                  </a:lnTo>
                  <a:lnTo>
                    <a:pt x="16916" y="1977"/>
                  </a:lnTo>
                  <a:lnTo>
                    <a:pt x="16958" y="1902"/>
                  </a:lnTo>
                  <a:lnTo>
                    <a:pt x="16954" y="1902"/>
                  </a:lnTo>
                  <a:lnTo>
                    <a:pt x="16970" y="1890"/>
                  </a:lnTo>
                  <a:lnTo>
                    <a:pt x="16937" y="1902"/>
                  </a:lnTo>
                  <a:lnTo>
                    <a:pt x="16916" y="1885"/>
                  </a:lnTo>
                  <a:lnTo>
                    <a:pt x="16890" y="1850"/>
                  </a:lnTo>
                  <a:lnTo>
                    <a:pt x="16890" y="1812"/>
                  </a:lnTo>
                  <a:lnTo>
                    <a:pt x="16883" y="1824"/>
                  </a:lnTo>
                  <a:lnTo>
                    <a:pt x="16814" y="1795"/>
                  </a:lnTo>
                  <a:lnTo>
                    <a:pt x="16814" y="1824"/>
                  </a:lnTo>
                  <a:lnTo>
                    <a:pt x="16798" y="1812"/>
                  </a:lnTo>
                  <a:lnTo>
                    <a:pt x="16798" y="1791"/>
                  </a:lnTo>
                  <a:lnTo>
                    <a:pt x="16807" y="1758"/>
                  </a:lnTo>
                  <a:lnTo>
                    <a:pt x="16814" y="1751"/>
                  </a:lnTo>
                  <a:lnTo>
                    <a:pt x="16814" y="1767"/>
                  </a:lnTo>
                  <a:lnTo>
                    <a:pt x="16831" y="1758"/>
                  </a:lnTo>
                  <a:lnTo>
                    <a:pt x="16835" y="1739"/>
                  </a:lnTo>
                  <a:lnTo>
                    <a:pt x="16819" y="1734"/>
                  </a:lnTo>
                  <a:lnTo>
                    <a:pt x="16835" y="1663"/>
                  </a:lnTo>
                  <a:lnTo>
                    <a:pt x="16819" y="1647"/>
                  </a:lnTo>
                  <a:lnTo>
                    <a:pt x="16793" y="1663"/>
                  </a:lnTo>
                  <a:lnTo>
                    <a:pt x="16793" y="1640"/>
                  </a:lnTo>
                  <a:lnTo>
                    <a:pt x="16807" y="1614"/>
                  </a:lnTo>
                  <a:lnTo>
                    <a:pt x="16798" y="1630"/>
                  </a:lnTo>
                  <a:lnTo>
                    <a:pt x="16793" y="1623"/>
                  </a:lnTo>
                  <a:lnTo>
                    <a:pt x="16807" y="1590"/>
                  </a:lnTo>
                  <a:lnTo>
                    <a:pt x="16883" y="1557"/>
                  </a:lnTo>
                  <a:lnTo>
                    <a:pt x="16916" y="1519"/>
                  </a:lnTo>
                  <a:lnTo>
                    <a:pt x="16954" y="1401"/>
                  </a:lnTo>
                  <a:lnTo>
                    <a:pt x="16970" y="1384"/>
                  </a:lnTo>
                  <a:lnTo>
                    <a:pt x="16975" y="1368"/>
                  </a:lnTo>
                  <a:lnTo>
                    <a:pt x="17013" y="1363"/>
                  </a:lnTo>
                  <a:lnTo>
                    <a:pt x="16991" y="1368"/>
                  </a:lnTo>
                  <a:lnTo>
                    <a:pt x="16996" y="1375"/>
                  </a:lnTo>
                  <a:lnTo>
                    <a:pt x="17138" y="1368"/>
                  </a:lnTo>
                  <a:lnTo>
                    <a:pt x="17171" y="1384"/>
                  </a:lnTo>
                  <a:lnTo>
                    <a:pt x="17154" y="1384"/>
                  </a:lnTo>
                  <a:lnTo>
                    <a:pt x="17223" y="1401"/>
                  </a:lnTo>
                  <a:lnTo>
                    <a:pt x="17213" y="1418"/>
                  </a:lnTo>
                  <a:lnTo>
                    <a:pt x="17230" y="1458"/>
                  </a:lnTo>
                  <a:lnTo>
                    <a:pt x="17197" y="1503"/>
                  </a:lnTo>
                  <a:lnTo>
                    <a:pt x="17192" y="1512"/>
                  </a:lnTo>
                  <a:lnTo>
                    <a:pt x="17192" y="1536"/>
                  </a:lnTo>
                  <a:lnTo>
                    <a:pt x="17154" y="1569"/>
                  </a:lnTo>
                  <a:lnTo>
                    <a:pt x="17171" y="1590"/>
                  </a:lnTo>
                  <a:lnTo>
                    <a:pt x="17209" y="1614"/>
                  </a:lnTo>
                  <a:lnTo>
                    <a:pt x="17209" y="1623"/>
                  </a:lnTo>
                  <a:lnTo>
                    <a:pt x="17223" y="1647"/>
                  </a:lnTo>
                  <a:lnTo>
                    <a:pt x="17213" y="1680"/>
                  </a:lnTo>
                  <a:lnTo>
                    <a:pt x="17223" y="1701"/>
                  </a:lnTo>
                  <a:lnTo>
                    <a:pt x="17192" y="1722"/>
                  </a:lnTo>
                  <a:lnTo>
                    <a:pt x="17209" y="1734"/>
                  </a:lnTo>
                  <a:lnTo>
                    <a:pt x="17197" y="1751"/>
                  </a:lnTo>
                  <a:lnTo>
                    <a:pt x="17213" y="1774"/>
                  </a:lnTo>
                  <a:lnTo>
                    <a:pt x="17197" y="1807"/>
                  </a:lnTo>
                  <a:lnTo>
                    <a:pt x="17209" y="1829"/>
                  </a:lnTo>
                  <a:lnTo>
                    <a:pt x="17197" y="1866"/>
                  </a:lnTo>
                  <a:lnTo>
                    <a:pt x="17209" y="1890"/>
                  </a:lnTo>
                  <a:lnTo>
                    <a:pt x="17213" y="1906"/>
                  </a:lnTo>
                  <a:lnTo>
                    <a:pt x="17268" y="1940"/>
                  </a:lnTo>
                  <a:lnTo>
                    <a:pt x="17284" y="1956"/>
                  </a:lnTo>
                  <a:lnTo>
                    <a:pt x="17268" y="1944"/>
                  </a:lnTo>
                  <a:lnTo>
                    <a:pt x="17246" y="1989"/>
                  </a:lnTo>
                  <a:lnTo>
                    <a:pt x="17239" y="1994"/>
                  </a:lnTo>
                  <a:lnTo>
                    <a:pt x="17251" y="2029"/>
                  </a:lnTo>
                  <a:lnTo>
                    <a:pt x="17239" y="2046"/>
                  </a:lnTo>
                  <a:lnTo>
                    <a:pt x="17209" y="2055"/>
                  </a:lnTo>
                  <a:lnTo>
                    <a:pt x="17209" y="2067"/>
                  </a:lnTo>
                  <a:lnTo>
                    <a:pt x="17192" y="2072"/>
                  </a:lnTo>
                  <a:lnTo>
                    <a:pt x="17197" y="2084"/>
                  </a:lnTo>
                  <a:lnTo>
                    <a:pt x="17192" y="2088"/>
                  </a:lnTo>
                  <a:lnTo>
                    <a:pt x="17171" y="2100"/>
                  </a:lnTo>
                  <a:lnTo>
                    <a:pt x="17185" y="2112"/>
                  </a:lnTo>
                  <a:lnTo>
                    <a:pt x="17176" y="2105"/>
                  </a:lnTo>
                  <a:lnTo>
                    <a:pt x="17154" y="2138"/>
                  </a:lnTo>
                  <a:lnTo>
                    <a:pt x="17121" y="2138"/>
                  </a:lnTo>
                  <a:lnTo>
                    <a:pt x="17138" y="2166"/>
                  </a:lnTo>
                  <a:lnTo>
                    <a:pt x="17138" y="2178"/>
                  </a:lnTo>
                  <a:lnTo>
                    <a:pt x="17100" y="2178"/>
                  </a:lnTo>
                  <a:lnTo>
                    <a:pt x="17088" y="2183"/>
                  </a:lnTo>
                  <a:lnTo>
                    <a:pt x="17079" y="2195"/>
                  </a:lnTo>
                  <a:lnTo>
                    <a:pt x="17046" y="2178"/>
                  </a:lnTo>
                  <a:lnTo>
                    <a:pt x="17079" y="2162"/>
                  </a:lnTo>
                  <a:lnTo>
                    <a:pt x="17046" y="2166"/>
                  </a:lnTo>
                  <a:lnTo>
                    <a:pt x="17013" y="2157"/>
                  </a:lnTo>
                  <a:lnTo>
                    <a:pt x="16954" y="2157"/>
                  </a:lnTo>
                  <a:lnTo>
                    <a:pt x="16958" y="2162"/>
                  </a:lnTo>
                  <a:lnTo>
                    <a:pt x="16958" y="2178"/>
                  </a:lnTo>
                  <a:lnTo>
                    <a:pt x="16982" y="2195"/>
                  </a:lnTo>
                  <a:lnTo>
                    <a:pt x="17050" y="2216"/>
                  </a:lnTo>
                  <a:lnTo>
                    <a:pt x="17133" y="2211"/>
                  </a:lnTo>
                  <a:lnTo>
                    <a:pt x="17171" y="2223"/>
                  </a:lnTo>
                  <a:lnTo>
                    <a:pt x="17192" y="2216"/>
                  </a:lnTo>
                  <a:lnTo>
                    <a:pt x="17192" y="2195"/>
                  </a:lnTo>
                  <a:lnTo>
                    <a:pt x="17197" y="2178"/>
                  </a:lnTo>
                  <a:lnTo>
                    <a:pt x="17230" y="2178"/>
                  </a:lnTo>
                  <a:lnTo>
                    <a:pt x="17294" y="2138"/>
                  </a:lnTo>
                  <a:lnTo>
                    <a:pt x="17298" y="2105"/>
                  </a:lnTo>
                  <a:lnTo>
                    <a:pt x="17298" y="2100"/>
                  </a:lnTo>
                  <a:lnTo>
                    <a:pt x="17353" y="2051"/>
                  </a:lnTo>
                  <a:lnTo>
                    <a:pt x="17360" y="2018"/>
                  </a:lnTo>
                  <a:lnTo>
                    <a:pt x="17353" y="1994"/>
                  </a:lnTo>
                  <a:lnTo>
                    <a:pt x="17332" y="1961"/>
                  </a:lnTo>
                  <a:lnTo>
                    <a:pt x="17336" y="1944"/>
                  </a:lnTo>
                  <a:lnTo>
                    <a:pt x="17336" y="1923"/>
                  </a:lnTo>
                  <a:lnTo>
                    <a:pt x="17353" y="1918"/>
                  </a:lnTo>
                  <a:lnTo>
                    <a:pt x="17483" y="1890"/>
                  </a:lnTo>
                  <a:lnTo>
                    <a:pt x="17495" y="1902"/>
                  </a:lnTo>
                  <a:lnTo>
                    <a:pt x="17495" y="1918"/>
                  </a:lnTo>
                  <a:lnTo>
                    <a:pt x="17537" y="1944"/>
                  </a:lnTo>
                  <a:lnTo>
                    <a:pt x="17537" y="1961"/>
                  </a:lnTo>
                  <a:lnTo>
                    <a:pt x="17532" y="1973"/>
                  </a:lnTo>
                  <a:lnTo>
                    <a:pt x="17537" y="1977"/>
                  </a:lnTo>
                  <a:lnTo>
                    <a:pt x="17532" y="2013"/>
                  </a:lnTo>
                  <a:lnTo>
                    <a:pt x="17537" y="2018"/>
                  </a:lnTo>
                  <a:lnTo>
                    <a:pt x="17520" y="2034"/>
                  </a:lnTo>
                  <a:lnTo>
                    <a:pt x="17570" y="2067"/>
                  </a:lnTo>
                  <a:lnTo>
                    <a:pt x="17662" y="2067"/>
                  </a:lnTo>
                  <a:lnTo>
                    <a:pt x="17646" y="2051"/>
                  </a:lnTo>
                  <a:lnTo>
                    <a:pt x="17624" y="2055"/>
                  </a:lnTo>
                  <a:lnTo>
                    <a:pt x="17617" y="2055"/>
                  </a:lnTo>
                  <a:lnTo>
                    <a:pt x="17629" y="2051"/>
                  </a:lnTo>
                  <a:lnTo>
                    <a:pt x="17549" y="2046"/>
                  </a:lnTo>
                  <a:lnTo>
                    <a:pt x="17554" y="1994"/>
                  </a:lnTo>
                  <a:lnTo>
                    <a:pt x="17601" y="1977"/>
                  </a:lnTo>
                  <a:lnTo>
                    <a:pt x="17587" y="1961"/>
                  </a:lnTo>
                  <a:lnTo>
                    <a:pt x="17587" y="1944"/>
                  </a:lnTo>
                  <a:lnTo>
                    <a:pt x="17570" y="1944"/>
                  </a:lnTo>
                  <a:lnTo>
                    <a:pt x="17563" y="1902"/>
                  </a:lnTo>
                  <a:lnTo>
                    <a:pt x="17445" y="1850"/>
                  </a:lnTo>
                  <a:lnTo>
                    <a:pt x="17407" y="1850"/>
                  </a:lnTo>
                  <a:lnTo>
                    <a:pt x="17360" y="1878"/>
                  </a:lnTo>
                  <a:lnTo>
                    <a:pt x="17332" y="1866"/>
                  </a:lnTo>
                  <a:lnTo>
                    <a:pt x="17298" y="1878"/>
                  </a:lnTo>
                  <a:lnTo>
                    <a:pt x="17284" y="1862"/>
                  </a:lnTo>
                  <a:lnTo>
                    <a:pt x="17298" y="1829"/>
                  </a:lnTo>
                  <a:lnTo>
                    <a:pt x="17268" y="1791"/>
                  </a:lnTo>
                  <a:lnTo>
                    <a:pt x="17294" y="1751"/>
                  </a:lnTo>
                  <a:lnTo>
                    <a:pt x="17284" y="1739"/>
                  </a:lnTo>
                  <a:lnTo>
                    <a:pt x="17332" y="1696"/>
                  </a:lnTo>
                  <a:lnTo>
                    <a:pt x="17332" y="1668"/>
                  </a:lnTo>
                  <a:lnTo>
                    <a:pt x="17298" y="1647"/>
                  </a:lnTo>
                  <a:lnTo>
                    <a:pt x="17298" y="1630"/>
                  </a:lnTo>
                  <a:lnTo>
                    <a:pt x="17268" y="1590"/>
                  </a:lnTo>
                  <a:lnTo>
                    <a:pt x="17239" y="1573"/>
                  </a:lnTo>
                  <a:lnTo>
                    <a:pt x="17268" y="1545"/>
                  </a:lnTo>
                  <a:lnTo>
                    <a:pt x="17268" y="1529"/>
                  </a:lnTo>
                  <a:lnTo>
                    <a:pt x="17268" y="1519"/>
                  </a:lnTo>
                  <a:lnTo>
                    <a:pt x="17369" y="1479"/>
                  </a:lnTo>
                  <a:lnTo>
                    <a:pt x="17386" y="1462"/>
                  </a:lnTo>
                  <a:lnTo>
                    <a:pt x="17386" y="1441"/>
                  </a:lnTo>
                  <a:lnTo>
                    <a:pt x="17374" y="1408"/>
                  </a:lnTo>
                  <a:lnTo>
                    <a:pt x="17360" y="1384"/>
                  </a:lnTo>
                  <a:lnTo>
                    <a:pt x="17374" y="1375"/>
                  </a:lnTo>
                  <a:lnTo>
                    <a:pt x="17402" y="1384"/>
                  </a:lnTo>
                  <a:lnTo>
                    <a:pt x="17412" y="1392"/>
                  </a:lnTo>
                  <a:lnTo>
                    <a:pt x="17402" y="1401"/>
                  </a:lnTo>
                  <a:lnTo>
                    <a:pt x="17424" y="1418"/>
                  </a:lnTo>
                  <a:lnTo>
                    <a:pt x="17412" y="1425"/>
                  </a:lnTo>
                  <a:lnTo>
                    <a:pt x="17428" y="1458"/>
                  </a:lnTo>
                  <a:lnTo>
                    <a:pt x="17391" y="1512"/>
                  </a:lnTo>
                  <a:lnTo>
                    <a:pt x="17391" y="1529"/>
                  </a:lnTo>
                  <a:lnTo>
                    <a:pt x="17407" y="1545"/>
                  </a:lnTo>
                  <a:lnTo>
                    <a:pt x="17407" y="1557"/>
                  </a:lnTo>
                  <a:lnTo>
                    <a:pt x="17391" y="1569"/>
                  </a:lnTo>
                  <a:lnTo>
                    <a:pt x="17391" y="1573"/>
                  </a:lnTo>
                  <a:lnTo>
                    <a:pt x="17428" y="1590"/>
                  </a:lnTo>
                  <a:lnTo>
                    <a:pt x="17511" y="1602"/>
                  </a:lnTo>
                  <a:lnTo>
                    <a:pt x="17511" y="1614"/>
                  </a:lnTo>
                  <a:lnTo>
                    <a:pt x="17516" y="1607"/>
                  </a:lnTo>
                  <a:lnTo>
                    <a:pt x="17563" y="1607"/>
                  </a:lnTo>
                  <a:lnTo>
                    <a:pt x="17575" y="1614"/>
                  </a:lnTo>
                  <a:lnTo>
                    <a:pt x="17587" y="1630"/>
                  </a:lnTo>
                  <a:lnTo>
                    <a:pt x="17617" y="1640"/>
                  </a:lnTo>
                  <a:lnTo>
                    <a:pt x="17662" y="1630"/>
                  </a:lnTo>
                  <a:lnTo>
                    <a:pt x="17624" y="1630"/>
                  </a:lnTo>
                  <a:lnTo>
                    <a:pt x="17617" y="1630"/>
                  </a:lnTo>
                  <a:lnTo>
                    <a:pt x="17624" y="1614"/>
                  </a:lnTo>
                  <a:lnTo>
                    <a:pt x="17608" y="1614"/>
                  </a:lnTo>
                  <a:lnTo>
                    <a:pt x="17624" y="1623"/>
                  </a:lnTo>
                  <a:lnTo>
                    <a:pt x="17617" y="1623"/>
                  </a:lnTo>
                  <a:lnTo>
                    <a:pt x="17601" y="1614"/>
                  </a:lnTo>
                  <a:lnTo>
                    <a:pt x="17608" y="1590"/>
                  </a:lnTo>
                  <a:lnTo>
                    <a:pt x="17575" y="1590"/>
                  </a:lnTo>
                  <a:lnTo>
                    <a:pt x="17587" y="1573"/>
                  </a:lnTo>
                  <a:lnTo>
                    <a:pt x="17570" y="1590"/>
                  </a:lnTo>
                  <a:lnTo>
                    <a:pt x="17549" y="1585"/>
                  </a:lnTo>
                  <a:lnTo>
                    <a:pt x="17554" y="1590"/>
                  </a:lnTo>
                  <a:lnTo>
                    <a:pt x="17461" y="1552"/>
                  </a:lnTo>
                  <a:lnTo>
                    <a:pt x="17445" y="1512"/>
                  </a:lnTo>
                  <a:lnTo>
                    <a:pt x="17457" y="1503"/>
                  </a:lnTo>
                  <a:lnTo>
                    <a:pt x="17511" y="1491"/>
                  </a:lnTo>
                  <a:lnTo>
                    <a:pt x="17554" y="1519"/>
                  </a:lnTo>
                  <a:lnTo>
                    <a:pt x="17591" y="1512"/>
                  </a:lnTo>
                  <a:lnTo>
                    <a:pt x="17601" y="1495"/>
                  </a:lnTo>
                  <a:lnTo>
                    <a:pt x="17587" y="1479"/>
                  </a:lnTo>
                  <a:lnTo>
                    <a:pt x="17537" y="1479"/>
                  </a:lnTo>
                  <a:lnTo>
                    <a:pt x="17549" y="1462"/>
                  </a:lnTo>
                  <a:lnTo>
                    <a:pt x="17563" y="1474"/>
                  </a:lnTo>
                  <a:lnTo>
                    <a:pt x="17575" y="1446"/>
                  </a:lnTo>
                  <a:lnTo>
                    <a:pt x="17624" y="1441"/>
                  </a:lnTo>
                  <a:lnTo>
                    <a:pt x="17693" y="1446"/>
                  </a:lnTo>
                  <a:lnTo>
                    <a:pt x="17785" y="1479"/>
                  </a:lnTo>
                  <a:lnTo>
                    <a:pt x="17785" y="1491"/>
                  </a:lnTo>
                  <a:lnTo>
                    <a:pt x="17769" y="1491"/>
                  </a:lnTo>
                  <a:lnTo>
                    <a:pt x="17839" y="1536"/>
                  </a:lnTo>
                  <a:lnTo>
                    <a:pt x="17927" y="1529"/>
                  </a:lnTo>
                  <a:lnTo>
                    <a:pt x="17953" y="1536"/>
                  </a:lnTo>
                  <a:lnTo>
                    <a:pt x="17941" y="1552"/>
                  </a:lnTo>
                  <a:lnTo>
                    <a:pt x="17932" y="1569"/>
                  </a:lnTo>
                  <a:lnTo>
                    <a:pt x="17889" y="1590"/>
                  </a:lnTo>
                  <a:lnTo>
                    <a:pt x="17894" y="1614"/>
                  </a:lnTo>
                  <a:lnTo>
                    <a:pt x="17877" y="1630"/>
                  </a:lnTo>
                  <a:lnTo>
                    <a:pt x="17894" y="1656"/>
                  </a:lnTo>
                  <a:lnTo>
                    <a:pt x="17872" y="1684"/>
                  </a:lnTo>
                  <a:lnTo>
                    <a:pt x="17894" y="1734"/>
                  </a:lnTo>
                  <a:lnTo>
                    <a:pt x="17877" y="1684"/>
                  </a:lnTo>
                  <a:lnTo>
                    <a:pt x="17898" y="1680"/>
                  </a:lnTo>
                  <a:lnTo>
                    <a:pt x="17898" y="1656"/>
                  </a:lnTo>
                  <a:lnTo>
                    <a:pt x="17910" y="1630"/>
                  </a:lnTo>
                  <a:lnTo>
                    <a:pt x="17948" y="1640"/>
                  </a:lnTo>
                  <a:lnTo>
                    <a:pt x="17941" y="1701"/>
                  </a:lnTo>
                  <a:lnTo>
                    <a:pt x="17910" y="1722"/>
                  </a:lnTo>
                  <a:lnTo>
                    <a:pt x="17910" y="1734"/>
                  </a:lnTo>
                  <a:lnTo>
                    <a:pt x="17948" y="1751"/>
                  </a:lnTo>
                  <a:lnTo>
                    <a:pt x="17948" y="1739"/>
                  </a:lnTo>
                  <a:lnTo>
                    <a:pt x="17932" y="1718"/>
                  </a:lnTo>
                  <a:lnTo>
                    <a:pt x="17969" y="1718"/>
                  </a:lnTo>
                  <a:lnTo>
                    <a:pt x="17986" y="1701"/>
                  </a:lnTo>
                  <a:lnTo>
                    <a:pt x="17969" y="1640"/>
                  </a:lnTo>
                  <a:lnTo>
                    <a:pt x="17948" y="1602"/>
                  </a:lnTo>
                  <a:lnTo>
                    <a:pt x="17979" y="1545"/>
                  </a:lnTo>
                  <a:lnTo>
                    <a:pt x="17965" y="1519"/>
                  </a:lnTo>
                  <a:lnTo>
                    <a:pt x="17915" y="1512"/>
                  </a:lnTo>
                  <a:lnTo>
                    <a:pt x="17877" y="1479"/>
                  </a:lnTo>
                  <a:lnTo>
                    <a:pt x="17889" y="1474"/>
                  </a:lnTo>
                  <a:lnTo>
                    <a:pt x="17877" y="1458"/>
                  </a:lnTo>
                  <a:lnTo>
                    <a:pt x="17806" y="1446"/>
                  </a:lnTo>
                  <a:lnTo>
                    <a:pt x="17780" y="1425"/>
                  </a:lnTo>
                  <a:lnTo>
                    <a:pt x="17785" y="1408"/>
                  </a:lnTo>
                  <a:lnTo>
                    <a:pt x="17769" y="1392"/>
                  </a:lnTo>
                  <a:lnTo>
                    <a:pt x="17785" y="1375"/>
                  </a:lnTo>
                  <a:lnTo>
                    <a:pt x="17785" y="1363"/>
                  </a:lnTo>
                  <a:lnTo>
                    <a:pt x="17752" y="1347"/>
                  </a:lnTo>
                  <a:lnTo>
                    <a:pt x="17764" y="1335"/>
                  </a:lnTo>
                  <a:lnTo>
                    <a:pt x="17738" y="1335"/>
                  </a:lnTo>
                  <a:lnTo>
                    <a:pt x="17764" y="1330"/>
                  </a:lnTo>
                  <a:lnTo>
                    <a:pt x="17747" y="1314"/>
                  </a:lnTo>
                  <a:lnTo>
                    <a:pt x="17769" y="1290"/>
                  </a:lnTo>
                  <a:lnTo>
                    <a:pt x="17764" y="1290"/>
                  </a:lnTo>
                  <a:lnTo>
                    <a:pt x="17764" y="1281"/>
                  </a:lnTo>
                  <a:lnTo>
                    <a:pt x="18054" y="1252"/>
                  </a:lnTo>
                  <a:lnTo>
                    <a:pt x="18092" y="1257"/>
                  </a:lnTo>
                  <a:lnTo>
                    <a:pt x="18146" y="1240"/>
                  </a:lnTo>
                  <a:lnTo>
                    <a:pt x="18222" y="1240"/>
                  </a:lnTo>
                  <a:lnTo>
                    <a:pt x="18217" y="1252"/>
                  </a:lnTo>
                  <a:lnTo>
                    <a:pt x="18130" y="1297"/>
                  </a:lnTo>
                  <a:lnTo>
                    <a:pt x="18130" y="1314"/>
                  </a:lnTo>
                  <a:lnTo>
                    <a:pt x="18196" y="1347"/>
                  </a:lnTo>
                  <a:lnTo>
                    <a:pt x="18201" y="1363"/>
                  </a:lnTo>
                  <a:lnTo>
                    <a:pt x="18196" y="1335"/>
                  </a:lnTo>
                  <a:lnTo>
                    <a:pt x="18142" y="1314"/>
                  </a:lnTo>
                  <a:lnTo>
                    <a:pt x="18130" y="1290"/>
                  </a:lnTo>
                  <a:lnTo>
                    <a:pt x="18234" y="1273"/>
                  </a:lnTo>
                  <a:lnTo>
                    <a:pt x="18267" y="1236"/>
                  </a:lnTo>
                  <a:lnTo>
                    <a:pt x="18239" y="1240"/>
                  </a:lnTo>
                  <a:lnTo>
                    <a:pt x="18217" y="1219"/>
                  </a:lnTo>
                  <a:lnTo>
                    <a:pt x="18250" y="1219"/>
                  </a:lnTo>
                  <a:lnTo>
                    <a:pt x="18239" y="1207"/>
                  </a:lnTo>
                  <a:lnTo>
                    <a:pt x="18213" y="1207"/>
                  </a:lnTo>
                  <a:lnTo>
                    <a:pt x="18201" y="1186"/>
                  </a:lnTo>
                  <a:lnTo>
                    <a:pt x="18184" y="1186"/>
                  </a:lnTo>
                  <a:lnTo>
                    <a:pt x="18142" y="1179"/>
                  </a:lnTo>
                  <a:lnTo>
                    <a:pt x="18142" y="1170"/>
                  </a:lnTo>
                  <a:lnTo>
                    <a:pt x="18168" y="1179"/>
                  </a:lnTo>
                  <a:lnTo>
                    <a:pt x="18146" y="1162"/>
                  </a:lnTo>
                  <a:lnTo>
                    <a:pt x="18180" y="1153"/>
                  </a:lnTo>
                  <a:lnTo>
                    <a:pt x="18213" y="1162"/>
                  </a:lnTo>
                  <a:lnTo>
                    <a:pt x="18196" y="1179"/>
                  </a:lnTo>
                  <a:lnTo>
                    <a:pt x="18222" y="1170"/>
                  </a:lnTo>
                  <a:lnTo>
                    <a:pt x="18184" y="1146"/>
                  </a:lnTo>
                  <a:lnTo>
                    <a:pt x="18196" y="1141"/>
                  </a:lnTo>
                  <a:lnTo>
                    <a:pt x="18184" y="1141"/>
                  </a:lnTo>
                  <a:lnTo>
                    <a:pt x="18130" y="1129"/>
                  </a:lnTo>
                  <a:lnTo>
                    <a:pt x="18158" y="1113"/>
                  </a:lnTo>
                  <a:lnTo>
                    <a:pt x="18146" y="1108"/>
                  </a:lnTo>
                  <a:lnTo>
                    <a:pt x="18213" y="1129"/>
                  </a:lnTo>
                  <a:lnTo>
                    <a:pt x="18213" y="1125"/>
                  </a:lnTo>
                  <a:lnTo>
                    <a:pt x="18201" y="1125"/>
                  </a:lnTo>
                  <a:lnTo>
                    <a:pt x="18239" y="1087"/>
                  </a:lnTo>
                  <a:lnTo>
                    <a:pt x="18234" y="1075"/>
                  </a:lnTo>
                  <a:lnTo>
                    <a:pt x="18255" y="1087"/>
                  </a:lnTo>
                  <a:lnTo>
                    <a:pt x="18272" y="1075"/>
                  </a:lnTo>
                  <a:lnTo>
                    <a:pt x="18213" y="1070"/>
                  </a:lnTo>
                  <a:lnTo>
                    <a:pt x="18217" y="1051"/>
                  </a:lnTo>
                  <a:lnTo>
                    <a:pt x="18288" y="1058"/>
                  </a:lnTo>
                  <a:lnTo>
                    <a:pt x="18373" y="1002"/>
                  </a:lnTo>
                  <a:lnTo>
                    <a:pt x="18395" y="1014"/>
                  </a:lnTo>
                  <a:lnTo>
                    <a:pt x="18428" y="997"/>
                  </a:lnTo>
                  <a:lnTo>
                    <a:pt x="18487" y="981"/>
                  </a:lnTo>
                  <a:lnTo>
                    <a:pt x="18541" y="981"/>
                  </a:lnTo>
                  <a:lnTo>
                    <a:pt x="18546" y="976"/>
                  </a:lnTo>
                  <a:lnTo>
                    <a:pt x="18720" y="943"/>
                  </a:lnTo>
                  <a:lnTo>
                    <a:pt x="18671" y="943"/>
                  </a:lnTo>
                  <a:lnTo>
                    <a:pt x="18666" y="947"/>
                  </a:lnTo>
                  <a:lnTo>
                    <a:pt x="18654" y="931"/>
                  </a:lnTo>
                  <a:lnTo>
                    <a:pt x="18645" y="943"/>
                  </a:lnTo>
                  <a:lnTo>
                    <a:pt x="18645" y="947"/>
                  </a:lnTo>
                  <a:lnTo>
                    <a:pt x="18628" y="943"/>
                  </a:lnTo>
                  <a:lnTo>
                    <a:pt x="18633" y="924"/>
                  </a:lnTo>
                  <a:lnTo>
                    <a:pt x="18654" y="924"/>
                  </a:lnTo>
                  <a:lnTo>
                    <a:pt x="18650" y="919"/>
                  </a:lnTo>
                  <a:lnTo>
                    <a:pt x="18666" y="919"/>
                  </a:lnTo>
                  <a:lnTo>
                    <a:pt x="18654" y="924"/>
                  </a:lnTo>
                  <a:lnTo>
                    <a:pt x="18666" y="931"/>
                  </a:lnTo>
                  <a:lnTo>
                    <a:pt x="18709" y="924"/>
                  </a:lnTo>
                  <a:lnTo>
                    <a:pt x="18683" y="907"/>
                  </a:lnTo>
                  <a:lnTo>
                    <a:pt x="18735" y="907"/>
                  </a:lnTo>
                  <a:lnTo>
                    <a:pt x="18742" y="924"/>
                  </a:lnTo>
                  <a:lnTo>
                    <a:pt x="18758" y="919"/>
                  </a:lnTo>
                  <a:lnTo>
                    <a:pt x="18742" y="907"/>
                  </a:lnTo>
                  <a:lnTo>
                    <a:pt x="18751" y="907"/>
                  </a:lnTo>
                  <a:lnTo>
                    <a:pt x="18865" y="919"/>
                  </a:lnTo>
                  <a:lnTo>
                    <a:pt x="18817" y="947"/>
                  </a:lnTo>
                  <a:lnTo>
                    <a:pt x="18827" y="947"/>
                  </a:lnTo>
                  <a:lnTo>
                    <a:pt x="18843" y="943"/>
                  </a:lnTo>
                  <a:lnTo>
                    <a:pt x="18881" y="931"/>
                  </a:lnTo>
                  <a:lnTo>
                    <a:pt x="18886" y="943"/>
                  </a:lnTo>
                  <a:lnTo>
                    <a:pt x="18881" y="947"/>
                  </a:lnTo>
                  <a:lnTo>
                    <a:pt x="18935" y="924"/>
                  </a:lnTo>
                  <a:lnTo>
                    <a:pt x="18940" y="924"/>
                  </a:lnTo>
                  <a:lnTo>
                    <a:pt x="18924" y="943"/>
                  </a:lnTo>
                  <a:lnTo>
                    <a:pt x="18973" y="931"/>
                  </a:lnTo>
                  <a:lnTo>
                    <a:pt x="18957" y="924"/>
                  </a:lnTo>
                  <a:lnTo>
                    <a:pt x="18994" y="919"/>
                  </a:lnTo>
                  <a:lnTo>
                    <a:pt x="19006" y="919"/>
                  </a:lnTo>
                  <a:lnTo>
                    <a:pt x="18978" y="907"/>
                  </a:lnTo>
                  <a:lnTo>
                    <a:pt x="19044" y="891"/>
                  </a:lnTo>
                  <a:lnTo>
                    <a:pt x="19032" y="903"/>
                  </a:lnTo>
                  <a:lnTo>
                    <a:pt x="19082" y="903"/>
                  </a:lnTo>
                  <a:lnTo>
                    <a:pt x="19065" y="907"/>
                  </a:lnTo>
                  <a:lnTo>
                    <a:pt x="19098" y="907"/>
                  </a:lnTo>
                  <a:lnTo>
                    <a:pt x="19087" y="919"/>
                  </a:lnTo>
                  <a:lnTo>
                    <a:pt x="19113" y="924"/>
                  </a:lnTo>
                  <a:lnTo>
                    <a:pt x="19103" y="959"/>
                  </a:lnTo>
                  <a:lnTo>
                    <a:pt x="19075" y="964"/>
                  </a:lnTo>
                  <a:lnTo>
                    <a:pt x="19065" y="997"/>
                  </a:lnTo>
                  <a:lnTo>
                    <a:pt x="19103" y="1014"/>
                  </a:lnTo>
                  <a:lnTo>
                    <a:pt x="19141" y="1051"/>
                  </a:lnTo>
                  <a:lnTo>
                    <a:pt x="19136" y="1035"/>
                  </a:lnTo>
                  <a:lnTo>
                    <a:pt x="19113" y="1018"/>
                  </a:lnTo>
                  <a:lnTo>
                    <a:pt x="19120" y="1014"/>
                  </a:lnTo>
                  <a:lnTo>
                    <a:pt x="19075" y="997"/>
                  </a:lnTo>
                  <a:lnTo>
                    <a:pt x="19082" y="964"/>
                  </a:lnTo>
                  <a:lnTo>
                    <a:pt x="19103" y="964"/>
                  </a:lnTo>
                  <a:lnTo>
                    <a:pt x="19120" y="947"/>
                  </a:lnTo>
                  <a:lnTo>
                    <a:pt x="19120" y="919"/>
                  </a:lnTo>
                  <a:lnTo>
                    <a:pt x="19103" y="891"/>
                  </a:lnTo>
                  <a:lnTo>
                    <a:pt x="19061" y="874"/>
                  </a:lnTo>
                  <a:lnTo>
                    <a:pt x="19044" y="865"/>
                  </a:lnTo>
                  <a:lnTo>
                    <a:pt x="19188" y="853"/>
                  </a:lnTo>
                  <a:lnTo>
                    <a:pt x="19280" y="874"/>
                  </a:lnTo>
                  <a:lnTo>
                    <a:pt x="19188" y="848"/>
                  </a:lnTo>
                  <a:lnTo>
                    <a:pt x="19205" y="848"/>
                  </a:lnTo>
                  <a:lnTo>
                    <a:pt x="19212" y="820"/>
                  </a:lnTo>
                  <a:lnTo>
                    <a:pt x="19188" y="799"/>
                  </a:lnTo>
                  <a:lnTo>
                    <a:pt x="19195" y="780"/>
                  </a:lnTo>
                  <a:lnTo>
                    <a:pt x="19212" y="780"/>
                  </a:lnTo>
                  <a:lnTo>
                    <a:pt x="19212" y="763"/>
                  </a:lnTo>
                  <a:lnTo>
                    <a:pt x="19276" y="721"/>
                  </a:lnTo>
                  <a:lnTo>
                    <a:pt x="19292" y="725"/>
                  </a:lnTo>
                  <a:lnTo>
                    <a:pt x="19351" y="681"/>
                  </a:lnTo>
                  <a:lnTo>
                    <a:pt x="19427" y="671"/>
                  </a:lnTo>
                  <a:lnTo>
                    <a:pt x="19439" y="671"/>
                  </a:lnTo>
                  <a:lnTo>
                    <a:pt x="19427" y="681"/>
                  </a:lnTo>
                  <a:lnTo>
                    <a:pt x="19460" y="671"/>
                  </a:lnTo>
                  <a:lnTo>
                    <a:pt x="19476" y="697"/>
                  </a:lnTo>
                  <a:lnTo>
                    <a:pt x="19507" y="697"/>
                  </a:lnTo>
                  <a:lnTo>
                    <a:pt x="19535" y="697"/>
                  </a:lnTo>
                  <a:lnTo>
                    <a:pt x="19552" y="721"/>
                  </a:lnTo>
                  <a:lnTo>
                    <a:pt x="19566" y="725"/>
                  </a:lnTo>
                  <a:lnTo>
                    <a:pt x="19528" y="725"/>
                  </a:lnTo>
                  <a:lnTo>
                    <a:pt x="19514" y="742"/>
                  </a:lnTo>
                  <a:lnTo>
                    <a:pt x="19422" y="763"/>
                  </a:lnTo>
                  <a:lnTo>
                    <a:pt x="19545" y="758"/>
                  </a:lnTo>
                  <a:lnTo>
                    <a:pt x="19535" y="775"/>
                  </a:lnTo>
                  <a:lnTo>
                    <a:pt x="19514" y="780"/>
                  </a:lnTo>
                  <a:lnTo>
                    <a:pt x="19604" y="775"/>
                  </a:lnTo>
                  <a:lnTo>
                    <a:pt x="19654" y="792"/>
                  </a:lnTo>
                  <a:lnTo>
                    <a:pt x="19637" y="799"/>
                  </a:lnTo>
                  <a:lnTo>
                    <a:pt x="19642" y="799"/>
                  </a:lnTo>
                  <a:lnTo>
                    <a:pt x="19590" y="848"/>
                  </a:lnTo>
                  <a:lnTo>
                    <a:pt x="19573" y="848"/>
                  </a:lnTo>
                  <a:lnTo>
                    <a:pt x="19573" y="853"/>
                  </a:lnTo>
                  <a:lnTo>
                    <a:pt x="19687" y="853"/>
                  </a:lnTo>
                  <a:lnTo>
                    <a:pt x="19691" y="836"/>
                  </a:lnTo>
                  <a:lnTo>
                    <a:pt x="19687" y="832"/>
                  </a:lnTo>
                  <a:lnTo>
                    <a:pt x="19687" y="820"/>
                  </a:lnTo>
                  <a:lnTo>
                    <a:pt x="19831" y="832"/>
                  </a:lnTo>
                  <a:lnTo>
                    <a:pt x="19906" y="820"/>
                  </a:lnTo>
                  <a:lnTo>
                    <a:pt x="19982" y="865"/>
                  </a:lnTo>
                  <a:lnTo>
                    <a:pt x="19961" y="874"/>
                  </a:lnTo>
                  <a:lnTo>
                    <a:pt x="19994" y="865"/>
                  </a:lnTo>
                  <a:lnTo>
                    <a:pt x="20020" y="886"/>
                  </a:lnTo>
                  <a:lnTo>
                    <a:pt x="20015" y="903"/>
                  </a:lnTo>
                  <a:lnTo>
                    <a:pt x="20010" y="891"/>
                  </a:lnTo>
                  <a:lnTo>
                    <a:pt x="20031" y="907"/>
                  </a:lnTo>
                  <a:lnTo>
                    <a:pt x="20010" y="924"/>
                  </a:lnTo>
                  <a:lnTo>
                    <a:pt x="20065" y="907"/>
                  </a:lnTo>
                  <a:lnTo>
                    <a:pt x="20036" y="891"/>
                  </a:lnTo>
                  <a:lnTo>
                    <a:pt x="20065" y="891"/>
                  </a:lnTo>
                  <a:lnTo>
                    <a:pt x="20074" y="907"/>
                  </a:lnTo>
                  <a:lnTo>
                    <a:pt x="20074" y="947"/>
                  </a:lnTo>
                  <a:lnTo>
                    <a:pt x="20091" y="943"/>
                  </a:lnTo>
                  <a:lnTo>
                    <a:pt x="20102" y="959"/>
                  </a:lnTo>
                  <a:lnTo>
                    <a:pt x="20091" y="985"/>
                  </a:lnTo>
                  <a:lnTo>
                    <a:pt x="20074" y="997"/>
                  </a:lnTo>
                  <a:lnTo>
                    <a:pt x="20069" y="997"/>
                  </a:lnTo>
                  <a:lnTo>
                    <a:pt x="20086" y="981"/>
                  </a:lnTo>
                  <a:lnTo>
                    <a:pt x="19994" y="959"/>
                  </a:lnTo>
                  <a:lnTo>
                    <a:pt x="20031" y="976"/>
                  </a:lnTo>
                  <a:lnTo>
                    <a:pt x="20031" y="997"/>
                  </a:lnTo>
                  <a:lnTo>
                    <a:pt x="20065" y="981"/>
                  </a:lnTo>
                  <a:lnTo>
                    <a:pt x="20065" y="997"/>
                  </a:lnTo>
                  <a:lnTo>
                    <a:pt x="20086" y="1002"/>
                  </a:lnTo>
                  <a:lnTo>
                    <a:pt x="20091" y="1018"/>
                  </a:lnTo>
                  <a:lnTo>
                    <a:pt x="20074" y="1018"/>
                  </a:lnTo>
                  <a:lnTo>
                    <a:pt x="20086" y="1030"/>
                  </a:lnTo>
                  <a:lnTo>
                    <a:pt x="20031" y="1075"/>
                  </a:lnTo>
                  <a:lnTo>
                    <a:pt x="19977" y="1092"/>
                  </a:lnTo>
                  <a:lnTo>
                    <a:pt x="19956" y="1125"/>
                  </a:lnTo>
                  <a:lnTo>
                    <a:pt x="19930" y="1125"/>
                  </a:lnTo>
                  <a:lnTo>
                    <a:pt x="19902" y="1141"/>
                  </a:lnTo>
                  <a:lnTo>
                    <a:pt x="19854" y="1153"/>
                  </a:lnTo>
                  <a:lnTo>
                    <a:pt x="19859" y="1153"/>
                  </a:lnTo>
                  <a:lnTo>
                    <a:pt x="19847" y="1170"/>
                  </a:lnTo>
                  <a:lnTo>
                    <a:pt x="19800" y="1170"/>
                  </a:lnTo>
                  <a:lnTo>
                    <a:pt x="19831" y="1179"/>
                  </a:lnTo>
                  <a:lnTo>
                    <a:pt x="19821" y="1195"/>
                  </a:lnTo>
                  <a:lnTo>
                    <a:pt x="19767" y="1219"/>
                  </a:lnTo>
                  <a:lnTo>
                    <a:pt x="19708" y="1264"/>
                  </a:lnTo>
                  <a:lnTo>
                    <a:pt x="19628" y="1273"/>
                  </a:lnTo>
                  <a:lnTo>
                    <a:pt x="19628" y="1281"/>
                  </a:lnTo>
                  <a:lnTo>
                    <a:pt x="19604" y="1314"/>
                  </a:lnTo>
                  <a:lnTo>
                    <a:pt x="19552" y="1318"/>
                  </a:lnTo>
                  <a:lnTo>
                    <a:pt x="19535" y="1363"/>
                  </a:lnTo>
                  <a:lnTo>
                    <a:pt x="19498" y="1392"/>
                  </a:lnTo>
                  <a:lnTo>
                    <a:pt x="19566" y="1363"/>
                  </a:lnTo>
                  <a:lnTo>
                    <a:pt x="19561" y="1347"/>
                  </a:lnTo>
                  <a:lnTo>
                    <a:pt x="19573" y="1330"/>
                  </a:lnTo>
                  <a:lnTo>
                    <a:pt x="19604" y="1335"/>
                  </a:lnTo>
                  <a:lnTo>
                    <a:pt x="19713" y="1330"/>
                  </a:lnTo>
                  <a:lnTo>
                    <a:pt x="19708" y="1318"/>
                  </a:lnTo>
                  <a:lnTo>
                    <a:pt x="19779" y="1307"/>
                  </a:lnTo>
                  <a:lnTo>
                    <a:pt x="19779" y="1290"/>
                  </a:lnTo>
                  <a:lnTo>
                    <a:pt x="19793" y="1297"/>
                  </a:lnTo>
                  <a:lnTo>
                    <a:pt x="19779" y="1281"/>
                  </a:lnTo>
                  <a:lnTo>
                    <a:pt x="19817" y="1297"/>
                  </a:lnTo>
                  <a:lnTo>
                    <a:pt x="19892" y="1264"/>
                  </a:lnTo>
                  <a:lnTo>
                    <a:pt x="19892" y="1252"/>
                  </a:lnTo>
                  <a:lnTo>
                    <a:pt x="19876" y="1252"/>
                  </a:lnTo>
                  <a:lnTo>
                    <a:pt x="19817" y="1264"/>
                  </a:lnTo>
                  <a:lnTo>
                    <a:pt x="19800" y="1252"/>
                  </a:lnTo>
                  <a:lnTo>
                    <a:pt x="19821" y="1224"/>
                  </a:lnTo>
                  <a:lnTo>
                    <a:pt x="19847" y="1219"/>
                  </a:lnTo>
                  <a:lnTo>
                    <a:pt x="19902" y="1236"/>
                  </a:lnTo>
                  <a:lnTo>
                    <a:pt x="19906" y="1219"/>
                  </a:lnTo>
                  <a:lnTo>
                    <a:pt x="19939" y="1207"/>
                  </a:lnTo>
                  <a:lnTo>
                    <a:pt x="19913" y="1224"/>
                  </a:lnTo>
                  <a:lnTo>
                    <a:pt x="19930" y="1240"/>
                  </a:lnTo>
                  <a:lnTo>
                    <a:pt x="19982" y="1257"/>
                  </a:lnTo>
                  <a:lnTo>
                    <a:pt x="20031" y="1252"/>
                  </a:lnTo>
                  <a:lnTo>
                    <a:pt x="20036" y="1240"/>
                  </a:lnTo>
                  <a:lnTo>
                    <a:pt x="20031" y="1224"/>
                  </a:lnTo>
                  <a:lnTo>
                    <a:pt x="20069" y="1264"/>
                  </a:lnTo>
                  <a:lnTo>
                    <a:pt x="20053" y="1297"/>
                  </a:lnTo>
                  <a:lnTo>
                    <a:pt x="20074" y="1314"/>
                  </a:lnTo>
                  <a:lnTo>
                    <a:pt x="20074" y="1363"/>
                  </a:lnTo>
                  <a:lnTo>
                    <a:pt x="20048" y="1375"/>
                  </a:lnTo>
                  <a:lnTo>
                    <a:pt x="20053" y="1392"/>
                  </a:lnTo>
                  <a:lnTo>
                    <a:pt x="20119" y="1418"/>
                  </a:lnTo>
                  <a:lnTo>
                    <a:pt x="20069" y="1401"/>
                  </a:lnTo>
                  <a:lnTo>
                    <a:pt x="20053" y="1384"/>
                  </a:lnTo>
                  <a:lnTo>
                    <a:pt x="20074" y="1363"/>
                  </a:lnTo>
                  <a:lnTo>
                    <a:pt x="20074" y="1318"/>
                  </a:lnTo>
                  <a:lnTo>
                    <a:pt x="20119" y="1314"/>
                  </a:lnTo>
                  <a:lnTo>
                    <a:pt x="20091" y="1314"/>
                  </a:lnTo>
                  <a:lnTo>
                    <a:pt x="20074" y="1290"/>
                  </a:lnTo>
                  <a:lnTo>
                    <a:pt x="20216" y="1257"/>
                  </a:lnTo>
                  <a:lnTo>
                    <a:pt x="20443" y="1281"/>
                  </a:lnTo>
                  <a:lnTo>
                    <a:pt x="20464" y="1290"/>
                  </a:lnTo>
                  <a:lnTo>
                    <a:pt x="20426" y="1290"/>
                  </a:lnTo>
                  <a:lnTo>
                    <a:pt x="20414" y="1297"/>
                  </a:lnTo>
                  <a:lnTo>
                    <a:pt x="20414" y="1330"/>
                  </a:lnTo>
                  <a:lnTo>
                    <a:pt x="20502" y="1351"/>
                  </a:lnTo>
                  <a:lnTo>
                    <a:pt x="20518" y="1368"/>
                  </a:lnTo>
                  <a:lnTo>
                    <a:pt x="20572" y="1375"/>
                  </a:lnTo>
                  <a:lnTo>
                    <a:pt x="20518" y="1363"/>
                  </a:lnTo>
                  <a:lnTo>
                    <a:pt x="20662" y="1363"/>
                  </a:lnTo>
                  <a:lnTo>
                    <a:pt x="20766" y="1392"/>
                  </a:lnTo>
                  <a:lnTo>
                    <a:pt x="20792" y="1392"/>
                  </a:lnTo>
                  <a:lnTo>
                    <a:pt x="20863" y="1408"/>
                  </a:lnTo>
                  <a:lnTo>
                    <a:pt x="20965" y="1458"/>
                  </a:lnTo>
                  <a:lnTo>
                    <a:pt x="20981" y="1446"/>
                  </a:lnTo>
                  <a:lnTo>
                    <a:pt x="21035" y="1512"/>
                  </a:lnTo>
                  <a:lnTo>
                    <a:pt x="21026" y="1529"/>
                  </a:lnTo>
                  <a:lnTo>
                    <a:pt x="21040" y="1573"/>
                  </a:lnTo>
                  <a:lnTo>
                    <a:pt x="21040" y="1569"/>
                  </a:lnTo>
                  <a:lnTo>
                    <a:pt x="21035" y="1529"/>
                  </a:lnTo>
                  <a:lnTo>
                    <a:pt x="21047" y="1512"/>
                  </a:lnTo>
                  <a:lnTo>
                    <a:pt x="21019" y="1491"/>
                  </a:lnTo>
                  <a:lnTo>
                    <a:pt x="21019" y="1458"/>
                  </a:lnTo>
                  <a:lnTo>
                    <a:pt x="21002" y="1441"/>
                  </a:lnTo>
                  <a:lnTo>
                    <a:pt x="21073" y="1446"/>
                  </a:lnTo>
                  <a:lnTo>
                    <a:pt x="21111" y="1479"/>
                  </a:lnTo>
                  <a:lnTo>
                    <a:pt x="21144" y="1529"/>
                  </a:lnTo>
                  <a:lnTo>
                    <a:pt x="21170" y="1519"/>
                  </a:lnTo>
                  <a:lnTo>
                    <a:pt x="21165" y="1495"/>
                  </a:lnTo>
                  <a:lnTo>
                    <a:pt x="21203" y="1536"/>
                  </a:lnTo>
                  <a:lnTo>
                    <a:pt x="21154" y="1536"/>
                  </a:lnTo>
                  <a:lnTo>
                    <a:pt x="21149" y="1545"/>
                  </a:lnTo>
                  <a:lnTo>
                    <a:pt x="21149" y="1552"/>
                  </a:lnTo>
                  <a:lnTo>
                    <a:pt x="21170" y="1552"/>
                  </a:lnTo>
                  <a:lnTo>
                    <a:pt x="21187" y="1585"/>
                  </a:lnTo>
                  <a:lnTo>
                    <a:pt x="21208" y="1590"/>
                  </a:lnTo>
                  <a:lnTo>
                    <a:pt x="21208" y="1614"/>
                  </a:lnTo>
                  <a:lnTo>
                    <a:pt x="21236" y="1614"/>
                  </a:lnTo>
                  <a:lnTo>
                    <a:pt x="21253" y="1630"/>
                  </a:lnTo>
                  <a:lnTo>
                    <a:pt x="21241" y="1630"/>
                  </a:lnTo>
                  <a:lnTo>
                    <a:pt x="21274" y="1647"/>
                  </a:lnTo>
                  <a:lnTo>
                    <a:pt x="21291" y="1630"/>
                  </a:lnTo>
                  <a:lnTo>
                    <a:pt x="21295" y="1663"/>
                  </a:lnTo>
                  <a:lnTo>
                    <a:pt x="21312" y="1663"/>
                  </a:lnTo>
                  <a:lnTo>
                    <a:pt x="21342" y="1647"/>
                  </a:lnTo>
                  <a:lnTo>
                    <a:pt x="21366" y="1602"/>
                  </a:lnTo>
                  <a:lnTo>
                    <a:pt x="21387" y="1602"/>
                  </a:lnTo>
                  <a:lnTo>
                    <a:pt x="21371" y="1590"/>
                  </a:lnTo>
                  <a:lnTo>
                    <a:pt x="21387" y="1536"/>
                  </a:lnTo>
                  <a:lnTo>
                    <a:pt x="21425" y="1503"/>
                  </a:lnTo>
                  <a:lnTo>
                    <a:pt x="21425" y="1529"/>
                  </a:lnTo>
                  <a:lnTo>
                    <a:pt x="21489" y="1569"/>
                  </a:lnTo>
                  <a:lnTo>
                    <a:pt x="21543" y="1585"/>
                  </a:lnTo>
                  <a:lnTo>
                    <a:pt x="21640" y="1545"/>
                  </a:lnTo>
                  <a:lnTo>
                    <a:pt x="21758" y="1585"/>
                  </a:lnTo>
                  <a:lnTo>
                    <a:pt x="21749" y="1590"/>
                  </a:lnTo>
                  <a:lnTo>
                    <a:pt x="21765" y="1590"/>
                  </a:lnTo>
                  <a:lnTo>
                    <a:pt x="21782" y="1614"/>
                  </a:lnTo>
                  <a:lnTo>
                    <a:pt x="21796" y="1607"/>
                  </a:lnTo>
                  <a:lnTo>
                    <a:pt x="21775" y="1602"/>
                  </a:lnTo>
                  <a:lnTo>
                    <a:pt x="21813" y="1590"/>
                  </a:lnTo>
                  <a:lnTo>
                    <a:pt x="21791" y="1590"/>
                  </a:lnTo>
                  <a:lnTo>
                    <a:pt x="21813" y="1585"/>
                  </a:lnTo>
                  <a:lnTo>
                    <a:pt x="21782" y="1573"/>
                  </a:lnTo>
                  <a:lnTo>
                    <a:pt x="21796" y="1552"/>
                  </a:lnTo>
                  <a:lnTo>
                    <a:pt x="21829" y="1545"/>
                  </a:lnTo>
                  <a:lnTo>
                    <a:pt x="21820" y="1552"/>
                  </a:lnTo>
                  <a:lnTo>
                    <a:pt x="21829" y="1557"/>
                  </a:lnTo>
                  <a:lnTo>
                    <a:pt x="21846" y="1545"/>
                  </a:lnTo>
                  <a:lnTo>
                    <a:pt x="21867" y="1552"/>
                  </a:lnTo>
                  <a:lnTo>
                    <a:pt x="21872" y="1573"/>
                  </a:lnTo>
                  <a:lnTo>
                    <a:pt x="21883" y="1573"/>
                  </a:lnTo>
                  <a:lnTo>
                    <a:pt x="21900" y="1557"/>
                  </a:lnTo>
                  <a:lnTo>
                    <a:pt x="21926" y="1569"/>
                  </a:lnTo>
                  <a:lnTo>
                    <a:pt x="21909" y="1536"/>
                  </a:lnTo>
                  <a:lnTo>
                    <a:pt x="21909" y="1512"/>
                  </a:lnTo>
                  <a:lnTo>
                    <a:pt x="21888" y="1503"/>
                  </a:lnTo>
                  <a:lnTo>
                    <a:pt x="21905" y="1503"/>
                  </a:lnTo>
                  <a:lnTo>
                    <a:pt x="21926" y="1474"/>
                  </a:lnTo>
                  <a:lnTo>
                    <a:pt x="21938" y="1479"/>
                  </a:lnTo>
                  <a:lnTo>
                    <a:pt x="21954" y="1462"/>
                  </a:lnTo>
                  <a:lnTo>
                    <a:pt x="21905" y="1462"/>
                  </a:lnTo>
                  <a:lnTo>
                    <a:pt x="21888" y="1479"/>
                  </a:lnTo>
                  <a:lnTo>
                    <a:pt x="21867" y="1462"/>
                  </a:lnTo>
                  <a:lnTo>
                    <a:pt x="21905" y="1425"/>
                  </a:lnTo>
                  <a:lnTo>
                    <a:pt x="21976" y="1425"/>
                  </a:lnTo>
                  <a:lnTo>
                    <a:pt x="22009" y="1418"/>
                  </a:lnTo>
                  <a:lnTo>
                    <a:pt x="22009" y="1401"/>
                  </a:lnTo>
                  <a:lnTo>
                    <a:pt x="21976" y="1375"/>
                  </a:lnTo>
                  <a:lnTo>
                    <a:pt x="21992" y="1375"/>
                  </a:lnTo>
                  <a:lnTo>
                    <a:pt x="22072" y="1392"/>
                  </a:lnTo>
                  <a:lnTo>
                    <a:pt x="22316" y="1425"/>
                  </a:lnTo>
                  <a:lnTo>
                    <a:pt x="22413" y="1446"/>
                  </a:lnTo>
                  <a:lnTo>
                    <a:pt x="22316" y="1446"/>
                  </a:lnTo>
                  <a:lnTo>
                    <a:pt x="22283" y="1429"/>
                  </a:lnTo>
                  <a:lnTo>
                    <a:pt x="22266" y="1441"/>
                  </a:lnTo>
                  <a:lnTo>
                    <a:pt x="22250" y="1462"/>
                  </a:lnTo>
                  <a:lnTo>
                    <a:pt x="22224" y="1458"/>
                  </a:lnTo>
                  <a:lnTo>
                    <a:pt x="22245" y="1474"/>
                  </a:lnTo>
                  <a:lnTo>
                    <a:pt x="22424" y="1458"/>
                  </a:lnTo>
                  <a:lnTo>
                    <a:pt x="22354" y="1512"/>
                  </a:lnTo>
                  <a:lnTo>
                    <a:pt x="22354" y="1491"/>
                  </a:lnTo>
                  <a:lnTo>
                    <a:pt x="22375" y="1479"/>
                  </a:lnTo>
                  <a:lnTo>
                    <a:pt x="22358" y="1474"/>
                  </a:lnTo>
                  <a:lnTo>
                    <a:pt x="22354" y="1491"/>
                  </a:lnTo>
                  <a:lnTo>
                    <a:pt x="22342" y="1462"/>
                  </a:lnTo>
                  <a:lnTo>
                    <a:pt x="22332" y="1462"/>
                  </a:lnTo>
                  <a:lnTo>
                    <a:pt x="22337" y="1462"/>
                  </a:lnTo>
                  <a:lnTo>
                    <a:pt x="22332" y="1491"/>
                  </a:lnTo>
                  <a:lnTo>
                    <a:pt x="22337" y="1491"/>
                  </a:lnTo>
                  <a:lnTo>
                    <a:pt x="22342" y="1503"/>
                  </a:lnTo>
                  <a:lnTo>
                    <a:pt x="22304" y="1512"/>
                  </a:lnTo>
                  <a:lnTo>
                    <a:pt x="22283" y="1503"/>
                  </a:lnTo>
                  <a:lnTo>
                    <a:pt x="22299" y="1519"/>
                  </a:lnTo>
                  <a:lnTo>
                    <a:pt x="22278" y="1529"/>
                  </a:lnTo>
                  <a:lnTo>
                    <a:pt x="22278" y="1536"/>
                  </a:lnTo>
                  <a:lnTo>
                    <a:pt x="22304" y="1545"/>
                  </a:lnTo>
                  <a:lnTo>
                    <a:pt x="22358" y="1519"/>
                  </a:lnTo>
                  <a:lnTo>
                    <a:pt x="22439" y="1446"/>
                  </a:lnTo>
                  <a:lnTo>
                    <a:pt x="22576" y="1462"/>
                  </a:lnTo>
                  <a:lnTo>
                    <a:pt x="22613" y="1479"/>
                  </a:lnTo>
                  <a:lnTo>
                    <a:pt x="22639" y="1512"/>
                  </a:lnTo>
                  <a:lnTo>
                    <a:pt x="22613" y="1529"/>
                  </a:lnTo>
                  <a:lnTo>
                    <a:pt x="22590" y="1503"/>
                  </a:lnTo>
                  <a:lnTo>
                    <a:pt x="22576" y="1529"/>
                  </a:lnTo>
                  <a:lnTo>
                    <a:pt x="22552" y="1519"/>
                  </a:lnTo>
                  <a:lnTo>
                    <a:pt x="22568" y="1529"/>
                  </a:lnTo>
                  <a:lnTo>
                    <a:pt x="22552" y="1536"/>
                  </a:lnTo>
                  <a:lnTo>
                    <a:pt x="22644" y="1552"/>
                  </a:lnTo>
                  <a:lnTo>
                    <a:pt x="22628" y="1552"/>
                  </a:lnTo>
                  <a:lnTo>
                    <a:pt x="22623" y="1569"/>
                  </a:lnTo>
                  <a:lnTo>
                    <a:pt x="22682" y="1557"/>
                  </a:lnTo>
                  <a:lnTo>
                    <a:pt x="22665" y="1585"/>
                  </a:lnTo>
                  <a:lnTo>
                    <a:pt x="22639" y="1602"/>
                  </a:lnTo>
                  <a:lnTo>
                    <a:pt x="22682" y="1573"/>
                  </a:lnTo>
                  <a:lnTo>
                    <a:pt x="22677" y="1590"/>
                  </a:lnTo>
                  <a:lnTo>
                    <a:pt x="22710" y="1573"/>
                  </a:lnTo>
                  <a:lnTo>
                    <a:pt x="22736" y="1585"/>
                  </a:lnTo>
                  <a:lnTo>
                    <a:pt x="22786" y="1630"/>
                  </a:lnTo>
                  <a:lnTo>
                    <a:pt x="22753" y="1630"/>
                  </a:lnTo>
                  <a:lnTo>
                    <a:pt x="22816" y="1647"/>
                  </a:lnTo>
                  <a:lnTo>
                    <a:pt x="22892" y="1647"/>
                  </a:lnTo>
                  <a:lnTo>
                    <a:pt x="23055" y="1614"/>
                  </a:lnTo>
                  <a:lnTo>
                    <a:pt x="23194" y="1623"/>
                  </a:lnTo>
                  <a:lnTo>
                    <a:pt x="23270" y="1647"/>
                  </a:lnTo>
                  <a:lnTo>
                    <a:pt x="23320" y="1668"/>
                  </a:lnTo>
                  <a:lnTo>
                    <a:pt x="23341" y="1701"/>
                  </a:lnTo>
                  <a:lnTo>
                    <a:pt x="23341" y="1722"/>
                  </a:lnTo>
                  <a:lnTo>
                    <a:pt x="23331" y="1739"/>
                  </a:lnTo>
                  <a:lnTo>
                    <a:pt x="23324" y="1739"/>
                  </a:lnTo>
                  <a:lnTo>
                    <a:pt x="23324" y="1751"/>
                  </a:lnTo>
                  <a:lnTo>
                    <a:pt x="23320" y="1774"/>
                  </a:lnTo>
                  <a:lnTo>
                    <a:pt x="23320" y="1779"/>
                  </a:lnTo>
                  <a:lnTo>
                    <a:pt x="23412" y="1812"/>
                  </a:lnTo>
                  <a:lnTo>
                    <a:pt x="23400" y="1829"/>
                  </a:lnTo>
                  <a:lnTo>
                    <a:pt x="23412" y="1862"/>
                  </a:lnTo>
                  <a:lnTo>
                    <a:pt x="23400" y="1878"/>
                  </a:lnTo>
                  <a:lnTo>
                    <a:pt x="23433" y="1885"/>
                  </a:lnTo>
                  <a:lnTo>
                    <a:pt x="23412" y="1940"/>
                  </a:lnTo>
                  <a:lnTo>
                    <a:pt x="23383" y="1940"/>
                  </a:lnTo>
                  <a:lnTo>
                    <a:pt x="23395" y="1944"/>
                  </a:lnTo>
                  <a:lnTo>
                    <a:pt x="23416" y="1940"/>
                  </a:lnTo>
                  <a:lnTo>
                    <a:pt x="23433" y="1906"/>
                  </a:lnTo>
                  <a:lnTo>
                    <a:pt x="23450" y="1890"/>
                  </a:lnTo>
                  <a:lnTo>
                    <a:pt x="23438" y="1862"/>
                  </a:lnTo>
                  <a:lnTo>
                    <a:pt x="23438" y="1833"/>
                  </a:lnTo>
                  <a:lnTo>
                    <a:pt x="23504" y="1807"/>
                  </a:lnTo>
                  <a:lnTo>
                    <a:pt x="23589" y="1795"/>
                  </a:lnTo>
                  <a:lnTo>
                    <a:pt x="23617" y="1791"/>
                  </a:lnTo>
                  <a:lnTo>
                    <a:pt x="23655" y="1807"/>
                  </a:lnTo>
                  <a:lnTo>
                    <a:pt x="23816" y="1824"/>
                  </a:lnTo>
                  <a:lnTo>
                    <a:pt x="23882" y="1791"/>
                  </a:lnTo>
                  <a:lnTo>
                    <a:pt x="23920" y="1812"/>
                  </a:lnTo>
                  <a:lnTo>
                    <a:pt x="23913" y="1833"/>
                  </a:lnTo>
                  <a:lnTo>
                    <a:pt x="23920" y="1850"/>
                  </a:lnTo>
                  <a:lnTo>
                    <a:pt x="23995" y="1878"/>
                  </a:lnTo>
                  <a:lnTo>
                    <a:pt x="24005" y="1906"/>
                  </a:lnTo>
                  <a:lnTo>
                    <a:pt x="24012" y="1918"/>
                  </a:lnTo>
                  <a:lnTo>
                    <a:pt x="24064" y="1906"/>
                  </a:lnTo>
                  <a:lnTo>
                    <a:pt x="24080" y="1918"/>
                  </a:lnTo>
                  <a:lnTo>
                    <a:pt x="24064" y="1906"/>
                  </a:lnTo>
                  <a:lnTo>
                    <a:pt x="24080" y="1902"/>
                  </a:lnTo>
                  <a:lnTo>
                    <a:pt x="24087" y="1906"/>
                  </a:lnTo>
                  <a:lnTo>
                    <a:pt x="24087" y="1890"/>
                  </a:lnTo>
                  <a:lnTo>
                    <a:pt x="24113" y="1878"/>
                  </a:lnTo>
                  <a:lnTo>
                    <a:pt x="24102" y="1845"/>
                  </a:lnTo>
                  <a:lnTo>
                    <a:pt x="24080" y="1812"/>
                  </a:lnTo>
                  <a:lnTo>
                    <a:pt x="24050" y="1807"/>
                  </a:lnTo>
                  <a:lnTo>
                    <a:pt x="24059" y="1791"/>
                  </a:lnTo>
                  <a:lnTo>
                    <a:pt x="24080" y="1791"/>
                  </a:lnTo>
                  <a:lnTo>
                    <a:pt x="24080" y="1751"/>
                  </a:lnTo>
                  <a:lnTo>
                    <a:pt x="24064" y="1739"/>
                  </a:lnTo>
                  <a:lnTo>
                    <a:pt x="24076" y="1739"/>
                  </a:lnTo>
                  <a:lnTo>
                    <a:pt x="24227" y="1767"/>
                  </a:lnTo>
                  <a:lnTo>
                    <a:pt x="24260" y="1774"/>
                  </a:lnTo>
                  <a:lnTo>
                    <a:pt x="24264" y="1791"/>
                  </a:lnTo>
                  <a:lnTo>
                    <a:pt x="24281" y="1779"/>
                  </a:lnTo>
                  <a:lnTo>
                    <a:pt x="24260" y="1767"/>
                  </a:lnTo>
                  <a:lnTo>
                    <a:pt x="24281" y="1767"/>
                  </a:lnTo>
                  <a:lnTo>
                    <a:pt x="24314" y="1779"/>
                  </a:lnTo>
                  <a:lnTo>
                    <a:pt x="24465" y="1774"/>
                  </a:lnTo>
                  <a:lnTo>
                    <a:pt x="24513" y="1795"/>
                  </a:lnTo>
                  <a:lnTo>
                    <a:pt x="24654" y="1833"/>
                  </a:lnTo>
                  <a:lnTo>
                    <a:pt x="24676" y="1845"/>
                  </a:lnTo>
                  <a:lnTo>
                    <a:pt x="24654" y="1833"/>
                  </a:lnTo>
                  <a:lnTo>
                    <a:pt x="24642" y="1845"/>
                  </a:lnTo>
                  <a:lnTo>
                    <a:pt x="24692" y="1850"/>
                  </a:lnTo>
                  <a:lnTo>
                    <a:pt x="24735" y="1885"/>
                  </a:lnTo>
                  <a:lnTo>
                    <a:pt x="24706" y="1866"/>
                  </a:lnTo>
                  <a:lnTo>
                    <a:pt x="24723" y="1885"/>
                  </a:lnTo>
                  <a:lnTo>
                    <a:pt x="24735" y="1885"/>
                  </a:lnTo>
                  <a:lnTo>
                    <a:pt x="24735" y="1944"/>
                  </a:lnTo>
                  <a:lnTo>
                    <a:pt x="24735" y="2013"/>
                  </a:lnTo>
                  <a:lnTo>
                    <a:pt x="24735" y="2067"/>
                  </a:lnTo>
                  <a:lnTo>
                    <a:pt x="24735" y="2129"/>
                  </a:lnTo>
                  <a:lnTo>
                    <a:pt x="24735" y="2183"/>
                  </a:lnTo>
                  <a:lnTo>
                    <a:pt x="24735" y="2249"/>
                  </a:lnTo>
                  <a:lnTo>
                    <a:pt x="24735" y="2306"/>
                  </a:lnTo>
                  <a:lnTo>
                    <a:pt x="24735" y="2360"/>
                  </a:lnTo>
                  <a:lnTo>
                    <a:pt x="24735" y="2360"/>
                  </a:lnTo>
                  <a:lnTo>
                    <a:pt x="24735" y="2360"/>
                  </a:lnTo>
                  <a:close/>
                  <a:moveTo>
                    <a:pt x="24735" y="1557"/>
                  </a:moveTo>
                  <a:lnTo>
                    <a:pt x="24739" y="1552"/>
                  </a:lnTo>
                  <a:lnTo>
                    <a:pt x="24836" y="1552"/>
                  </a:lnTo>
                  <a:lnTo>
                    <a:pt x="24912" y="1602"/>
                  </a:lnTo>
                  <a:lnTo>
                    <a:pt x="24874" y="1623"/>
                  </a:lnTo>
                  <a:lnTo>
                    <a:pt x="24782" y="1640"/>
                  </a:lnTo>
                  <a:lnTo>
                    <a:pt x="24735" y="1630"/>
                  </a:lnTo>
                  <a:lnTo>
                    <a:pt x="24735" y="1590"/>
                  </a:lnTo>
                  <a:lnTo>
                    <a:pt x="24735" y="1557"/>
                  </a:lnTo>
                  <a:lnTo>
                    <a:pt x="24735" y="1557"/>
                  </a:lnTo>
                  <a:lnTo>
                    <a:pt x="24735" y="1557"/>
                  </a:lnTo>
                  <a:close/>
                  <a:moveTo>
                    <a:pt x="24735" y="1630"/>
                  </a:moveTo>
                  <a:lnTo>
                    <a:pt x="24654" y="1656"/>
                  </a:lnTo>
                  <a:lnTo>
                    <a:pt x="24642" y="1623"/>
                  </a:lnTo>
                  <a:lnTo>
                    <a:pt x="24659" y="1602"/>
                  </a:lnTo>
                  <a:lnTo>
                    <a:pt x="24735" y="1557"/>
                  </a:lnTo>
                  <a:lnTo>
                    <a:pt x="24735" y="1590"/>
                  </a:lnTo>
                  <a:lnTo>
                    <a:pt x="24735" y="1630"/>
                  </a:lnTo>
                  <a:lnTo>
                    <a:pt x="24735" y="1630"/>
                  </a:lnTo>
                  <a:lnTo>
                    <a:pt x="24735" y="1630"/>
                  </a:lnTo>
                  <a:close/>
                  <a:moveTo>
                    <a:pt x="24735" y="1885"/>
                  </a:moveTo>
                  <a:lnTo>
                    <a:pt x="24756" y="1902"/>
                  </a:lnTo>
                  <a:lnTo>
                    <a:pt x="24768" y="1890"/>
                  </a:lnTo>
                  <a:lnTo>
                    <a:pt x="24772" y="1906"/>
                  </a:lnTo>
                  <a:lnTo>
                    <a:pt x="24805" y="1918"/>
                  </a:lnTo>
                  <a:lnTo>
                    <a:pt x="24836" y="1940"/>
                  </a:lnTo>
                  <a:lnTo>
                    <a:pt x="24820" y="1935"/>
                  </a:lnTo>
                  <a:lnTo>
                    <a:pt x="24820" y="1940"/>
                  </a:lnTo>
                  <a:lnTo>
                    <a:pt x="24864" y="1956"/>
                  </a:lnTo>
                  <a:lnTo>
                    <a:pt x="24874" y="1973"/>
                  </a:lnTo>
                  <a:lnTo>
                    <a:pt x="24890" y="1973"/>
                  </a:lnTo>
                  <a:lnTo>
                    <a:pt x="24843" y="1940"/>
                  </a:lnTo>
                  <a:lnTo>
                    <a:pt x="24895" y="1973"/>
                  </a:lnTo>
                  <a:lnTo>
                    <a:pt x="24890" y="1977"/>
                  </a:lnTo>
                  <a:lnTo>
                    <a:pt x="24895" y="1977"/>
                  </a:lnTo>
                  <a:lnTo>
                    <a:pt x="24919" y="1977"/>
                  </a:lnTo>
                  <a:lnTo>
                    <a:pt x="24928" y="1994"/>
                  </a:lnTo>
                  <a:lnTo>
                    <a:pt x="25053" y="2046"/>
                  </a:lnTo>
                  <a:lnTo>
                    <a:pt x="25063" y="2072"/>
                  </a:lnTo>
                  <a:lnTo>
                    <a:pt x="25058" y="2088"/>
                  </a:lnTo>
                  <a:lnTo>
                    <a:pt x="25075" y="2088"/>
                  </a:lnTo>
                  <a:lnTo>
                    <a:pt x="25079" y="2084"/>
                  </a:lnTo>
                  <a:lnTo>
                    <a:pt x="25096" y="2084"/>
                  </a:lnTo>
                  <a:lnTo>
                    <a:pt x="25096" y="2100"/>
                  </a:lnTo>
                  <a:lnTo>
                    <a:pt x="25091" y="2100"/>
                  </a:lnTo>
                  <a:lnTo>
                    <a:pt x="25079" y="2121"/>
                  </a:lnTo>
                  <a:lnTo>
                    <a:pt x="25096" y="2162"/>
                  </a:lnTo>
                  <a:lnTo>
                    <a:pt x="25079" y="2166"/>
                  </a:lnTo>
                  <a:lnTo>
                    <a:pt x="25117" y="2183"/>
                  </a:lnTo>
                  <a:lnTo>
                    <a:pt x="25117" y="2216"/>
                  </a:lnTo>
                  <a:lnTo>
                    <a:pt x="25150" y="2195"/>
                  </a:lnTo>
                  <a:lnTo>
                    <a:pt x="25146" y="2223"/>
                  </a:lnTo>
                  <a:lnTo>
                    <a:pt x="25150" y="2223"/>
                  </a:lnTo>
                  <a:lnTo>
                    <a:pt x="25167" y="2199"/>
                  </a:lnTo>
                  <a:lnTo>
                    <a:pt x="25129" y="2183"/>
                  </a:lnTo>
                  <a:lnTo>
                    <a:pt x="25150" y="2166"/>
                  </a:lnTo>
                  <a:lnTo>
                    <a:pt x="25146" y="2138"/>
                  </a:lnTo>
                  <a:lnTo>
                    <a:pt x="25108" y="2121"/>
                  </a:lnTo>
                  <a:lnTo>
                    <a:pt x="25172" y="2112"/>
                  </a:lnTo>
                  <a:lnTo>
                    <a:pt x="25214" y="2121"/>
                  </a:lnTo>
                  <a:lnTo>
                    <a:pt x="25198" y="2138"/>
                  </a:lnTo>
                  <a:lnTo>
                    <a:pt x="25198" y="2157"/>
                  </a:lnTo>
                  <a:lnTo>
                    <a:pt x="25214" y="2157"/>
                  </a:lnTo>
                  <a:lnTo>
                    <a:pt x="25205" y="2138"/>
                  </a:lnTo>
                  <a:lnTo>
                    <a:pt x="25214" y="2129"/>
                  </a:lnTo>
                  <a:lnTo>
                    <a:pt x="25235" y="2145"/>
                  </a:lnTo>
                  <a:lnTo>
                    <a:pt x="25259" y="2138"/>
                  </a:lnTo>
                  <a:lnTo>
                    <a:pt x="25221" y="2121"/>
                  </a:lnTo>
                  <a:lnTo>
                    <a:pt x="25311" y="2138"/>
                  </a:lnTo>
                  <a:lnTo>
                    <a:pt x="25311" y="2157"/>
                  </a:lnTo>
                  <a:lnTo>
                    <a:pt x="25335" y="2162"/>
                  </a:lnTo>
                  <a:lnTo>
                    <a:pt x="25335" y="2178"/>
                  </a:lnTo>
                  <a:lnTo>
                    <a:pt x="25398" y="2216"/>
                  </a:lnTo>
                  <a:lnTo>
                    <a:pt x="25387" y="2223"/>
                  </a:lnTo>
                  <a:lnTo>
                    <a:pt x="25403" y="2216"/>
                  </a:lnTo>
                  <a:lnTo>
                    <a:pt x="25420" y="2223"/>
                  </a:lnTo>
                  <a:lnTo>
                    <a:pt x="25415" y="2232"/>
                  </a:lnTo>
                  <a:lnTo>
                    <a:pt x="25441" y="2232"/>
                  </a:lnTo>
                  <a:lnTo>
                    <a:pt x="25453" y="2249"/>
                  </a:lnTo>
                  <a:lnTo>
                    <a:pt x="25453" y="2256"/>
                  </a:lnTo>
                  <a:lnTo>
                    <a:pt x="25420" y="2249"/>
                  </a:lnTo>
                  <a:lnTo>
                    <a:pt x="25387" y="2273"/>
                  </a:lnTo>
                  <a:lnTo>
                    <a:pt x="25398" y="2273"/>
                  </a:lnTo>
                  <a:lnTo>
                    <a:pt x="25398" y="2289"/>
                  </a:lnTo>
                  <a:lnTo>
                    <a:pt x="25387" y="2294"/>
                  </a:lnTo>
                  <a:lnTo>
                    <a:pt x="25323" y="2273"/>
                  </a:lnTo>
                  <a:lnTo>
                    <a:pt x="25361" y="2306"/>
                  </a:lnTo>
                  <a:lnTo>
                    <a:pt x="25349" y="2310"/>
                  </a:lnTo>
                  <a:lnTo>
                    <a:pt x="25335" y="2306"/>
                  </a:lnTo>
                  <a:lnTo>
                    <a:pt x="25290" y="2310"/>
                  </a:lnTo>
                  <a:lnTo>
                    <a:pt x="25306" y="2310"/>
                  </a:lnTo>
                  <a:lnTo>
                    <a:pt x="25273" y="2306"/>
                  </a:lnTo>
                  <a:lnTo>
                    <a:pt x="25268" y="2294"/>
                  </a:lnTo>
                  <a:lnTo>
                    <a:pt x="25235" y="2289"/>
                  </a:lnTo>
                  <a:lnTo>
                    <a:pt x="25259" y="2306"/>
                  </a:lnTo>
                  <a:lnTo>
                    <a:pt x="25268" y="2322"/>
                  </a:lnTo>
                  <a:lnTo>
                    <a:pt x="25280" y="2322"/>
                  </a:lnTo>
                  <a:lnTo>
                    <a:pt x="25273" y="2343"/>
                  </a:lnTo>
                  <a:lnTo>
                    <a:pt x="25242" y="2343"/>
                  </a:lnTo>
                  <a:lnTo>
                    <a:pt x="25273" y="2343"/>
                  </a:lnTo>
                  <a:lnTo>
                    <a:pt x="25280" y="2360"/>
                  </a:lnTo>
                  <a:lnTo>
                    <a:pt x="25259" y="2384"/>
                  </a:lnTo>
                  <a:lnTo>
                    <a:pt x="25205" y="2400"/>
                  </a:lnTo>
                  <a:lnTo>
                    <a:pt x="25226" y="2388"/>
                  </a:lnTo>
                  <a:lnTo>
                    <a:pt x="25235" y="2400"/>
                  </a:lnTo>
                  <a:lnTo>
                    <a:pt x="25214" y="2405"/>
                  </a:lnTo>
                  <a:lnTo>
                    <a:pt x="25259" y="2421"/>
                  </a:lnTo>
                  <a:lnTo>
                    <a:pt x="25268" y="2433"/>
                  </a:lnTo>
                  <a:lnTo>
                    <a:pt x="25252" y="2438"/>
                  </a:lnTo>
                  <a:lnTo>
                    <a:pt x="25235" y="2421"/>
                  </a:lnTo>
                  <a:lnTo>
                    <a:pt x="25221" y="2433"/>
                  </a:lnTo>
                  <a:lnTo>
                    <a:pt x="25226" y="2438"/>
                  </a:lnTo>
                  <a:lnTo>
                    <a:pt x="25226" y="2445"/>
                  </a:lnTo>
                  <a:lnTo>
                    <a:pt x="25205" y="2455"/>
                  </a:lnTo>
                  <a:lnTo>
                    <a:pt x="25188" y="2445"/>
                  </a:lnTo>
                  <a:lnTo>
                    <a:pt x="25205" y="2433"/>
                  </a:lnTo>
                  <a:lnTo>
                    <a:pt x="25188" y="2417"/>
                  </a:lnTo>
                  <a:lnTo>
                    <a:pt x="25198" y="2433"/>
                  </a:lnTo>
                  <a:lnTo>
                    <a:pt x="25172" y="2445"/>
                  </a:lnTo>
                  <a:lnTo>
                    <a:pt x="25150" y="2438"/>
                  </a:lnTo>
                  <a:lnTo>
                    <a:pt x="25146" y="2421"/>
                  </a:lnTo>
                  <a:lnTo>
                    <a:pt x="25091" y="2400"/>
                  </a:lnTo>
                  <a:lnTo>
                    <a:pt x="25053" y="2400"/>
                  </a:lnTo>
                  <a:lnTo>
                    <a:pt x="25053" y="2388"/>
                  </a:lnTo>
                  <a:lnTo>
                    <a:pt x="25020" y="2367"/>
                  </a:lnTo>
                  <a:lnTo>
                    <a:pt x="25025" y="2351"/>
                  </a:lnTo>
                  <a:lnTo>
                    <a:pt x="25020" y="2327"/>
                  </a:lnTo>
                  <a:lnTo>
                    <a:pt x="25004" y="2310"/>
                  </a:lnTo>
                  <a:lnTo>
                    <a:pt x="24933" y="2294"/>
                  </a:lnTo>
                  <a:lnTo>
                    <a:pt x="24902" y="2310"/>
                  </a:lnTo>
                  <a:lnTo>
                    <a:pt x="24836" y="2310"/>
                  </a:lnTo>
                  <a:lnTo>
                    <a:pt x="24843" y="2289"/>
                  </a:lnTo>
                  <a:lnTo>
                    <a:pt x="24827" y="2277"/>
                  </a:lnTo>
                  <a:lnTo>
                    <a:pt x="24810" y="2256"/>
                  </a:lnTo>
                  <a:lnTo>
                    <a:pt x="24820" y="2249"/>
                  </a:lnTo>
                  <a:lnTo>
                    <a:pt x="24836" y="2232"/>
                  </a:lnTo>
                  <a:lnTo>
                    <a:pt x="24836" y="2199"/>
                  </a:lnTo>
                  <a:lnTo>
                    <a:pt x="24810" y="2232"/>
                  </a:lnTo>
                  <a:lnTo>
                    <a:pt x="24794" y="2232"/>
                  </a:lnTo>
                  <a:lnTo>
                    <a:pt x="24789" y="2199"/>
                  </a:lnTo>
                  <a:lnTo>
                    <a:pt x="24789" y="2216"/>
                  </a:lnTo>
                  <a:lnTo>
                    <a:pt x="24772" y="2211"/>
                  </a:lnTo>
                  <a:lnTo>
                    <a:pt x="24789" y="2232"/>
                  </a:lnTo>
                  <a:lnTo>
                    <a:pt x="24782" y="2232"/>
                  </a:lnTo>
                  <a:lnTo>
                    <a:pt x="24756" y="2240"/>
                  </a:lnTo>
                  <a:lnTo>
                    <a:pt x="24751" y="2232"/>
                  </a:lnTo>
                  <a:lnTo>
                    <a:pt x="24756" y="2232"/>
                  </a:lnTo>
                  <a:lnTo>
                    <a:pt x="24751" y="2232"/>
                  </a:lnTo>
                  <a:lnTo>
                    <a:pt x="24739" y="2266"/>
                  </a:lnTo>
                  <a:lnTo>
                    <a:pt x="24782" y="2294"/>
                  </a:lnTo>
                  <a:lnTo>
                    <a:pt x="24782" y="2306"/>
                  </a:lnTo>
                  <a:lnTo>
                    <a:pt x="24768" y="2322"/>
                  </a:lnTo>
                  <a:lnTo>
                    <a:pt x="24768" y="2343"/>
                  </a:lnTo>
                  <a:lnTo>
                    <a:pt x="24751" y="2351"/>
                  </a:lnTo>
                  <a:lnTo>
                    <a:pt x="24735" y="2360"/>
                  </a:lnTo>
                  <a:lnTo>
                    <a:pt x="24735" y="2306"/>
                  </a:lnTo>
                  <a:lnTo>
                    <a:pt x="24735" y="2249"/>
                  </a:lnTo>
                  <a:lnTo>
                    <a:pt x="24735" y="2183"/>
                  </a:lnTo>
                  <a:lnTo>
                    <a:pt x="24735" y="2129"/>
                  </a:lnTo>
                  <a:lnTo>
                    <a:pt x="24735" y="2067"/>
                  </a:lnTo>
                  <a:lnTo>
                    <a:pt x="24735" y="2013"/>
                  </a:lnTo>
                  <a:lnTo>
                    <a:pt x="24735" y="1944"/>
                  </a:lnTo>
                  <a:lnTo>
                    <a:pt x="24735" y="1885"/>
                  </a:lnTo>
                  <a:lnTo>
                    <a:pt x="24735" y="1885"/>
                  </a:lnTo>
                  <a:lnTo>
                    <a:pt x="24735" y="1885"/>
                  </a:lnTo>
                  <a:close/>
                  <a:moveTo>
                    <a:pt x="16188" y="22"/>
                  </a:moveTo>
                  <a:lnTo>
                    <a:pt x="16172" y="22"/>
                  </a:lnTo>
                  <a:lnTo>
                    <a:pt x="16188" y="5"/>
                  </a:lnTo>
                  <a:lnTo>
                    <a:pt x="16278" y="0"/>
                  </a:lnTo>
                  <a:lnTo>
                    <a:pt x="16264" y="17"/>
                  </a:lnTo>
                  <a:lnTo>
                    <a:pt x="16188" y="22"/>
                  </a:lnTo>
                  <a:lnTo>
                    <a:pt x="16188" y="22"/>
                  </a:lnTo>
                  <a:lnTo>
                    <a:pt x="16188" y="22"/>
                  </a:lnTo>
                  <a:close/>
                  <a:moveTo>
                    <a:pt x="16474" y="22"/>
                  </a:moveTo>
                  <a:lnTo>
                    <a:pt x="16550" y="22"/>
                  </a:lnTo>
                  <a:lnTo>
                    <a:pt x="16592" y="33"/>
                  </a:lnTo>
                  <a:lnTo>
                    <a:pt x="16566" y="43"/>
                  </a:lnTo>
                  <a:lnTo>
                    <a:pt x="16474" y="33"/>
                  </a:lnTo>
                  <a:lnTo>
                    <a:pt x="16474" y="22"/>
                  </a:lnTo>
                  <a:lnTo>
                    <a:pt x="16474" y="22"/>
                  </a:lnTo>
                  <a:lnTo>
                    <a:pt x="16474" y="22"/>
                  </a:lnTo>
                  <a:close/>
                  <a:moveTo>
                    <a:pt x="16202" y="38"/>
                  </a:moveTo>
                  <a:lnTo>
                    <a:pt x="16235" y="38"/>
                  </a:lnTo>
                  <a:lnTo>
                    <a:pt x="16198" y="43"/>
                  </a:lnTo>
                  <a:lnTo>
                    <a:pt x="16202" y="38"/>
                  </a:lnTo>
                  <a:lnTo>
                    <a:pt x="16202" y="38"/>
                  </a:lnTo>
                  <a:lnTo>
                    <a:pt x="16202" y="38"/>
                  </a:lnTo>
                  <a:close/>
                  <a:moveTo>
                    <a:pt x="16453" y="38"/>
                  </a:moveTo>
                  <a:lnTo>
                    <a:pt x="16474" y="43"/>
                  </a:lnTo>
                  <a:lnTo>
                    <a:pt x="16441" y="38"/>
                  </a:lnTo>
                  <a:lnTo>
                    <a:pt x="16453" y="38"/>
                  </a:lnTo>
                  <a:lnTo>
                    <a:pt x="16453" y="38"/>
                  </a:lnTo>
                  <a:lnTo>
                    <a:pt x="16453" y="38"/>
                  </a:lnTo>
                  <a:close/>
                  <a:moveTo>
                    <a:pt x="16188" y="76"/>
                  </a:moveTo>
                  <a:lnTo>
                    <a:pt x="16096" y="59"/>
                  </a:lnTo>
                  <a:lnTo>
                    <a:pt x="16165" y="43"/>
                  </a:lnTo>
                  <a:lnTo>
                    <a:pt x="16219" y="71"/>
                  </a:lnTo>
                  <a:lnTo>
                    <a:pt x="16188" y="76"/>
                  </a:lnTo>
                  <a:lnTo>
                    <a:pt x="16188" y="76"/>
                  </a:lnTo>
                  <a:lnTo>
                    <a:pt x="16188" y="76"/>
                  </a:lnTo>
                  <a:close/>
                  <a:moveTo>
                    <a:pt x="16209" y="88"/>
                  </a:moveTo>
                  <a:lnTo>
                    <a:pt x="16252" y="71"/>
                  </a:lnTo>
                  <a:lnTo>
                    <a:pt x="16278" y="88"/>
                  </a:lnTo>
                  <a:lnTo>
                    <a:pt x="16209" y="88"/>
                  </a:lnTo>
                  <a:lnTo>
                    <a:pt x="16209" y="88"/>
                  </a:lnTo>
                  <a:lnTo>
                    <a:pt x="16209" y="88"/>
                  </a:lnTo>
                  <a:close/>
                  <a:moveTo>
                    <a:pt x="16009" y="99"/>
                  </a:moveTo>
                  <a:lnTo>
                    <a:pt x="16021" y="92"/>
                  </a:lnTo>
                  <a:lnTo>
                    <a:pt x="16004" y="92"/>
                  </a:lnTo>
                  <a:lnTo>
                    <a:pt x="16089" y="99"/>
                  </a:lnTo>
                  <a:lnTo>
                    <a:pt x="16063" y="76"/>
                  </a:lnTo>
                  <a:lnTo>
                    <a:pt x="16172" y="92"/>
                  </a:lnTo>
                  <a:lnTo>
                    <a:pt x="16075" y="116"/>
                  </a:lnTo>
                  <a:lnTo>
                    <a:pt x="16009" y="99"/>
                  </a:lnTo>
                  <a:lnTo>
                    <a:pt x="16009" y="99"/>
                  </a:lnTo>
                  <a:lnTo>
                    <a:pt x="16009" y="99"/>
                  </a:lnTo>
                  <a:close/>
                  <a:moveTo>
                    <a:pt x="15917" y="92"/>
                  </a:moveTo>
                  <a:lnTo>
                    <a:pt x="15912" y="88"/>
                  </a:lnTo>
                  <a:lnTo>
                    <a:pt x="15933" y="92"/>
                  </a:lnTo>
                  <a:lnTo>
                    <a:pt x="15917" y="92"/>
                  </a:lnTo>
                  <a:lnTo>
                    <a:pt x="15917" y="92"/>
                  </a:lnTo>
                  <a:lnTo>
                    <a:pt x="15917" y="92"/>
                  </a:lnTo>
                  <a:close/>
                  <a:moveTo>
                    <a:pt x="16311" y="92"/>
                  </a:moveTo>
                  <a:lnTo>
                    <a:pt x="16365" y="92"/>
                  </a:lnTo>
                  <a:lnTo>
                    <a:pt x="16306" y="92"/>
                  </a:lnTo>
                  <a:lnTo>
                    <a:pt x="16311" y="92"/>
                  </a:lnTo>
                  <a:lnTo>
                    <a:pt x="16311" y="92"/>
                  </a:lnTo>
                  <a:lnTo>
                    <a:pt x="16311" y="92"/>
                  </a:lnTo>
                  <a:close/>
                  <a:moveTo>
                    <a:pt x="18654" y="265"/>
                  </a:moveTo>
                  <a:lnTo>
                    <a:pt x="18524" y="260"/>
                  </a:lnTo>
                  <a:lnTo>
                    <a:pt x="18546" y="244"/>
                  </a:lnTo>
                  <a:lnTo>
                    <a:pt x="18612" y="244"/>
                  </a:lnTo>
                  <a:lnTo>
                    <a:pt x="18557" y="236"/>
                  </a:lnTo>
                  <a:lnTo>
                    <a:pt x="18617" y="220"/>
                  </a:lnTo>
                  <a:lnTo>
                    <a:pt x="18628" y="203"/>
                  </a:lnTo>
                  <a:lnTo>
                    <a:pt x="18654" y="170"/>
                  </a:lnTo>
                  <a:lnTo>
                    <a:pt x="18600" y="182"/>
                  </a:lnTo>
                  <a:lnTo>
                    <a:pt x="18617" y="166"/>
                  </a:lnTo>
                  <a:lnTo>
                    <a:pt x="18650" y="154"/>
                  </a:lnTo>
                  <a:lnTo>
                    <a:pt x="18645" y="144"/>
                  </a:lnTo>
                  <a:lnTo>
                    <a:pt x="18817" y="99"/>
                  </a:lnTo>
                  <a:lnTo>
                    <a:pt x="18780" y="99"/>
                  </a:lnTo>
                  <a:lnTo>
                    <a:pt x="18789" y="92"/>
                  </a:lnTo>
                  <a:lnTo>
                    <a:pt x="18834" y="92"/>
                  </a:lnTo>
                  <a:lnTo>
                    <a:pt x="18898" y="149"/>
                  </a:lnTo>
                  <a:lnTo>
                    <a:pt x="18990" y="187"/>
                  </a:lnTo>
                  <a:lnTo>
                    <a:pt x="18924" y="199"/>
                  </a:lnTo>
                  <a:lnTo>
                    <a:pt x="18919" y="220"/>
                  </a:lnTo>
                  <a:lnTo>
                    <a:pt x="18924" y="227"/>
                  </a:lnTo>
                  <a:lnTo>
                    <a:pt x="18935" y="255"/>
                  </a:lnTo>
                  <a:lnTo>
                    <a:pt x="18952" y="260"/>
                  </a:lnTo>
                  <a:lnTo>
                    <a:pt x="18924" y="265"/>
                  </a:lnTo>
                  <a:lnTo>
                    <a:pt x="18763" y="281"/>
                  </a:lnTo>
                  <a:lnTo>
                    <a:pt x="18687" y="310"/>
                  </a:lnTo>
                  <a:lnTo>
                    <a:pt x="18574" y="281"/>
                  </a:lnTo>
                  <a:lnTo>
                    <a:pt x="18628" y="281"/>
                  </a:lnTo>
                  <a:lnTo>
                    <a:pt x="18579" y="260"/>
                  </a:lnTo>
                  <a:lnTo>
                    <a:pt x="18654" y="265"/>
                  </a:lnTo>
                  <a:lnTo>
                    <a:pt x="18654" y="265"/>
                  </a:lnTo>
                  <a:lnTo>
                    <a:pt x="18654" y="265"/>
                  </a:lnTo>
                  <a:close/>
                  <a:moveTo>
                    <a:pt x="16117" y="109"/>
                  </a:moveTo>
                  <a:lnTo>
                    <a:pt x="16188" y="109"/>
                  </a:lnTo>
                  <a:lnTo>
                    <a:pt x="16150" y="128"/>
                  </a:lnTo>
                  <a:lnTo>
                    <a:pt x="16113" y="116"/>
                  </a:lnTo>
                  <a:lnTo>
                    <a:pt x="16117" y="109"/>
                  </a:lnTo>
                  <a:lnTo>
                    <a:pt x="16117" y="109"/>
                  </a:lnTo>
                  <a:lnTo>
                    <a:pt x="16117" y="109"/>
                  </a:lnTo>
                  <a:close/>
                  <a:moveTo>
                    <a:pt x="18503" y="133"/>
                  </a:moveTo>
                  <a:lnTo>
                    <a:pt x="18428" y="128"/>
                  </a:lnTo>
                  <a:lnTo>
                    <a:pt x="18418" y="109"/>
                  </a:lnTo>
                  <a:lnTo>
                    <a:pt x="18503" y="99"/>
                  </a:lnTo>
                  <a:lnTo>
                    <a:pt x="18541" y="116"/>
                  </a:lnTo>
                  <a:lnTo>
                    <a:pt x="18503" y="133"/>
                  </a:lnTo>
                  <a:lnTo>
                    <a:pt x="18503" y="133"/>
                  </a:lnTo>
                  <a:lnTo>
                    <a:pt x="18503" y="133"/>
                  </a:lnTo>
                  <a:close/>
                  <a:moveTo>
                    <a:pt x="16505" y="166"/>
                  </a:moveTo>
                  <a:lnTo>
                    <a:pt x="16543" y="149"/>
                  </a:lnTo>
                  <a:lnTo>
                    <a:pt x="16613" y="144"/>
                  </a:lnTo>
                  <a:lnTo>
                    <a:pt x="16618" y="116"/>
                  </a:lnTo>
                  <a:lnTo>
                    <a:pt x="16646" y="109"/>
                  </a:lnTo>
                  <a:lnTo>
                    <a:pt x="16689" y="116"/>
                  </a:lnTo>
                  <a:lnTo>
                    <a:pt x="16706" y="144"/>
                  </a:lnTo>
                  <a:lnTo>
                    <a:pt x="16706" y="154"/>
                  </a:lnTo>
                  <a:lnTo>
                    <a:pt x="16646" y="182"/>
                  </a:lnTo>
                  <a:lnTo>
                    <a:pt x="16550" y="199"/>
                  </a:lnTo>
                  <a:lnTo>
                    <a:pt x="16495" y="170"/>
                  </a:lnTo>
                  <a:lnTo>
                    <a:pt x="16505" y="166"/>
                  </a:lnTo>
                  <a:lnTo>
                    <a:pt x="16505" y="166"/>
                  </a:lnTo>
                  <a:lnTo>
                    <a:pt x="16505" y="166"/>
                  </a:lnTo>
                  <a:close/>
                  <a:moveTo>
                    <a:pt x="15647" y="133"/>
                  </a:moveTo>
                  <a:lnTo>
                    <a:pt x="15659" y="133"/>
                  </a:lnTo>
                  <a:lnTo>
                    <a:pt x="15647" y="128"/>
                  </a:lnTo>
                  <a:lnTo>
                    <a:pt x="15659" y="116"/>
                  </a:lnTo>
                  <a:lnTo>
                    <a:pt x="15685" y="128"/>
                  </a:lnTo>
                  <a:lnTo>
                    <a:pt x="15647" y="133"/>
                  </a:lnTo>
                  <a:lnTo>
                    <a:pt x="15647" y="133"/>
                  </a:lnTo>
                  <a:lnTo>
                    <a:pt x="15647" y="133"/>
                  </a:lnTo>
                  <a:close/>
                  <a:moveTo>
                    <a:pt x="16198" y="116"/>
                  </a:moveTo>
                  <a:lnTo>
                    <a:pt x="16226" y="116"/>
                  </a:lnTo>
                  <a:lnTo>
                    <a:pt x="16198" y="116"/>
                  </a:lnTo>
                  <a:lnTo>
                    <a:pt x="16198" y="116"/>
                  </a:lnTo>
                  <a:lnTo>
                    <a:pt x="16198" y="116"/>
                  </a:lnTo>
                  <a:close/>
                  <a:moveTo>
                    <a:pt x="16328" y="144"/>
                  </a:moveTo>
                  <a:lnTo>
                    <a:pt x="16370" y="128"/>
                  </a:lnTo>
                  <a:lnTo>
                    <a:pt x="16441" y="128"/>
                  </a:lnTo>
                  <a:lnTo>
                    <a:pt x="16398" y="154"/>
                  </a:lnTo>
                  <a:lnTo>
                    <a:pt x="16328" y="144"/>
                  </a:lnTo>
                  <a:lnTo>
                    <a:pt x="16328" y="144"/>
                  </a:lnTo>
                  <a:lnTo>
                    <a:pt x="16328" y="144"/>
                  </a:lnTo>
                  <a:close/>
                  <a:moveTo>
                    <a:pt x="15933" y="144"/>
                  </a:moveTo>
                  <a:lnTo>
                    <a:pt x="15950" y="128"/>
                  </a:lnTo>
                  <a:lnTo>
                    <a:pt x="16009" y="144"/>
                  </a:lnTo>
                  <a:lnTo>
                    <a:pt x="16047" y="133"/>
                  </a:lnTo>
                  <a:lnTo>
                    <a:pt x="16165" y="182"/>
                  </a:lnTo>
                  <a:lnTo>
                    <a:pt x="16113" y="199"/>
                  </a:lnTo>
                  <a:lnTo>
                    <a:pt x="16089" y="170"/>
                  </a:lnTo>
                  <a:lnTo>
                    <a:pt x="15933" y="144"/>
                  </a:lnTo>
                  <a:lnTo>
                    <a:pt x="15933" y="144"/>
                  </a:lnTo>
                  <a:lnTo>
                    <a:pt x="15933" y="144"/>
                  </a:lnTo>
                  <a:close/>
                  <a:moveTo>
                    <a:pt x="16047" y="128"/>
                  </a:moveTo>
                  <a:lnTo>
                    <a:pt x="16150" y="133"/>
                  </a:lnTo>
                  <a:lnTo>
                    <a:pt x="16202" y="154"/>
                  </a:lnTo>
                  <a:lnTo>
                    <a:pt x="16155" y="166"/>
                  </a:lnTo>
                  <a:lnTo>
                    <a:pt x="16047" y="128"/>
                  </a:lnTo>
                  <a:lnTo>
                    <a:pt x="16047" y="128"/>
                  </a:lnTo>
                  <a:lnTo>
                    <a:pt x="16047" y="128"/>
                  </a:lnTo>
                  <a:close/>
                  <a:moveTo>
                    <a:pt x="16172" y="133"/>
                  </a:moveTo>
                  <a:lnTo>
                    <a:pt x="16188" y="128"/>
                  </a:lnTo>
                  <a:lnTo>
                    <a:pt x="16235" y="144"/>
                  </a:lnTo>
                  <a:lnTo>
                    <a:pt x="16209" y="149"/>
                  </a:lnTo>
                  <a:lnTo>
                    <a:pt x="16172" y="133"/>
                  </a:lnTo>
                  <a:lnTo>
                    <a:pt x="16172" y="133"/>
                  </a:lnTo>
                  <a:lnTo>
                    <a:pt x="16172" y="133"/>
                  </a:lnTo>
                  <a:close/>
                  <a:moveTo>
                    <a:pt x="17672" y="149"/>
                  </a:moveTo>
                  <a:lnTo>
                    <a:pt x="17752" y="154"/>
                  </a:lnTo>
                  <a:lnTo>
                    <a:pt x="17714" y="170"/>
                  </a:lnTo>
                  <a:lnTo>
                    <a:pt x="17655" y="170"/>
                  </a:lnTo>
                  <a:lnTo>
                    <a:pt x="17672" y="149"/>
                  </a:lnTo>
                  <a:lnTo>
                    <a:pt x="17672" y="149"/>
                  </a:lnTo>
                  <a:lnTo>
                    <a:pt x="17672" y="149"/>
                  </a:lnTo>
                  <a:close/>
                  <a:moveTo>
                    <a:pt x="15534" y="260"/>
                  </a:moveTo>
                  <a:lnTo>
                    <a:pt x="15555" y="277"/>
                  </a:lnTo>
                  <a:lnTo>
                    <a:pt x="15517" y="277"/>
                  </a:lnTo>
                  <a:lnTo>
                    <a:pt x="15517" y="281"/>
                  </a:lnTo>
                  <a:lnTo>
                    <a:pt x="15508" y="293"/>
                  </a:lnTo>
                  <a:lnTo>
                    <a:pt x="15454" y="298"/>
                  </a:lnTo>
                  <a:lnTo>
                    <a:pt x="15454" y="293"/>
                  </a:lnTo>
                  <a:lnTo>
                    <a:pt x="15463" y="281"/>
                  </a:lnTo>
                  <a:lnTo>
                    <a:pt x="15484" y="277"/>
                  </a:lnTo>
                  <a:lnTo>
                    <a:pt x="15447" y="265"/>
                  </a:lnTo>
                  <a:lnTo>
                    <a:pt x="15416" y="281"/>
                  </a:lnTo>
                  <a:lnTo>
                    <a:pt x="15387" y="260"/>
                  </a:lnTo>
                  <a:lnTo>
                    <a:pt x="15416" y="244"/>
                  </a:lnTo>
                  <a:lnTo>
                    <a:pt x="15496" y="255"/>
                  </a:lnTo>
                  <a:lnTo>
                    <a:pt x="15454" y="244"/>
                  </a:lnTo>
                  <a:lnTo>
                    <a:pt x="15501" y="236"/>
                  </a:lnTo>
                  <a:lnTo>
                    <a:pt x="15484" y="227"/>
                  </a:lnTo>
                  <a:lnTo>
                    <a:pt x="15442" y="236"/>
                  </a:lnTo>
                  <a:lnTo>
                    <a:pt x="15508" y="210"/>
                  </a:lnTo>
                  <a:lnTo>
                    <a:pt x="15560" y="220"/>
                  </a:lnTo>
                  <a:lnTo>
                    <a:pt x="15576" y="210"/>
                  </a:lnTo>
                  <a:lnTo>
                    <a:pt x="15572" y="203"/>
                  </a:lnTo>
                  <a:lnTo>
                    <a:pt x="15593" y="203"/>
                  </a:lnTo>
                  <a:lnTo>
                    <a:pt x="15605" y="187"/>
                  </a:lnTo>
                  <a:lnTo>
                    <a:pt x="15550" y="187"/>
                  </a:lnTo>
                  <a:lnTo>
                    <a:pt x="15631" y="154"/>
                  </a:lnTo>
                  <a:lnTo>
                    <a:pt x="15659" y="154"/>
                  </a:lnTo>
                  <a:lnTo>
                    <a:pt x="15626" y="166"/>
                  </a:lnTo>
                  <a:lnTo>
                    <a:pt x="15680" y="154"/>
                  </a:lnTo>
                  <a:lnTo>
                    <a:pt x="15697" y="166"/>
                  </a:lnTo>
                  <a:lnTo>
                    <a:pt x="15643" y="187"/>
                  </a:lnTo>
                  <a:lnTo>
                    <a:pt x="15711" y="182"/>
                  </a:lnTo>
                  <a:lnTo>
                    <a:pt x="15739" y="187"/>
                  </a:lnTo>
                  <a:lnTo>
                    <a:pt x="15685" y="220"/>
                  </a:lnTo>
                  <a:lnTo>
                    <a:pt x="15605" y="227"/>
                  </a:lnTo>
                  <a:lnTo>
                    <a:pt x="15609" y="244"/>
                  </a:lnTo>
                  <a:lnTo>
                    <a:pt x="15539" y="244"/>
                  </a:lnTo>
                  <a:lnTo>
                    <a:pt x="15522" y="260"/>
                  </a:lnTo>
                  <a:lnTo>
                    <a:pt x="15534" y="260"/>
                  </a:lnTo>
                  <a:lnTo>
                    <a:pt x="15534" y="260"/>
                  </a:lnTo>
                  <a:lnTo>
                    <a:pt x="15534" y="260"/>
                  </a:lnTo>
                  <a:close/>
                  <a:moveTo>
                    <a:pt x="16181" y="170"/>
                  </a:moveTo>
                  <a:lnTo>
                    <a:pt x="16235" y="154"/>
                  </a:lnTo>
                  <a:lnTo>
                    <a:pt x="16257" y="170"/>
                  </a:lnTo>
                  <a:lnTo>
                    <a:pt x="16219" y="187"/>
                  </a:lnTo>
                  <a:lnTo>
                    <a:pt x="16172" y="170"/>
                  </a:lnTo>
                  <a:lnTo>
                    <a:pt x="16181" y="170"/>
                  </a:lnTo>
                  <a:lnTo>
                    <a:pt x="16181" y="170"/>
                  </a:lnTo>
                  <a:lnTo>
                    <a:pt x="16181" y="170"/>
                  </a:lnTo>
                  <a:close/>
                  <a:moveTo>
                    <a:pt x="15900" y="170"/>
                  </a:moveTo>
                  <a:lnTo>
                    <a:pt x="15983" y="154"/>
                  </a:lnTo>
                  <a:lnTo>
                    <a:pt x="16042" y="170"/>
                  </a:lnTo>
                  <a:lnTo>
                    <a:pt x="15966" y="187"/>
                  </a:lnTo>
                  <a:lnTo>
                    <a:pt x="15900" y="170"/>
                  </a:lnTo>
                  <a:lnTo>
                    <a:pt x="15900" y="170"/>
                  </a:lnTo>
                  <a:lnTo>
                    <a:pt x="15900" y="170"/>
                  </a:lnTo>
                  <a:close/>
                  <a:moveTo>
                    <a:pt x="16273" y="220"/>
                  </a:moveTo>
                  <a:lnTo>
                    <a:pt x="16278" y="210"/>
                  </a:lnTo>
                  <a:lnTo>
                    <a:pt x="16264" y="203"/>
                  </a:lnTo>
                  <a:lnTo>
                    <a:pt x="16273" y="199"/>
                  </a:lnTo>
                  <a:lnTo>
                    <a:pt x="16306" y="170"/>
                  </a:lnTo>
                  <a:lnTo>
                    <a:pt x="16453" y="166"/>
                  </a:lnTo>
                  <a:lnTo>
                    <a:pt x="16479" y="182"/>
                  </a:lnTo>
                  <a:lnTo>
                    <a:pt x="16467" y="199"/>
                  </a:lnTo>
                  <a:lnTo>
                    <a:pt x="16474" y="203"/>
                  </a:lnTo>
                  <a:lnTo>
                    <a:pt x="16441" y="210"/>
                  </a:lnTo>
                  <a:lnTo>
                    <a:pt x="16398" y="244"/>
                  </a:lnTo>
                  <a:lnTo>
                    <a:pt x="16344" y="227"/>
                  </a:lnTo>
                  <a:lnTo>
                    <a:pt x="16295" y="236"/>
                  </a:lnTo>
                  <a:lnTo>
                    <a:pt x="16273" y="220"/>
                  </a:lnTo>
                  <a:lnTo>
                    <a:pt x="16273" y="220"/>
                  </a:lnTo>
                  <a:lnTo>
                    <a:pt x="16273" y="220"/>
                  </a:lnTo>
                  <a:close/>
                  <a:moveTo>
                    <a:pt x="15345" y="236"/>
                  </a:moveTo>
                  <a:lnTo>
                    <a:pt x="15340" y="210"/>
                  </a:lnTo>
                  <a:lnTo>
                    <a:pt x="15307" y="220"/>
                  </a:lnTo>
                  <a:lnTo>
                    <a:pt x="15265" y="203"/>
                  </a:lnTo>
                  <a:lnTo>
                    <a:pt x="15409" y="182"/>
                  </a:lnTo>
                  <a:lnTo>
                    <a:pt x="15447" y="166"/>
                  </a:lnTo>
                  <a:lnTo>
                    <a:pt x="15517" y="182"/>
                  </a:lnTo>
                  <a:lnTo>
                    <a:pt x="15522" y="182"/>
                  </a:lnTo>
                  <a:lnTo>
                    <a:pt x="15508" y="187"/>
                  </a:lnTo>
                  <a:lnTo>
                    <a:pt x="15534" y="203"/>
                  </a:lnTo>
                  <a:lnTo>
                    <a:pt x="15484" y="199"/>
                  </a:lnTo>
                  <a:lnTo>
                    <a:pt x="15463" y="182"/>
                  </a:lnTo>
                  <a:lnTo>
                    <a:pt x="15432" y="199"/>
                  </a:lnTo>
                  <a:lnTo>
                    <a:pt x="15442" y="210"/>
                  </a:lnTo>
                  <a:lnTo>
                    <a:pt x="15425" y="203"/>
                  </a:lnTo>
                  <a:lnTo>
                    <a:pt x="15345" y="236"/>
                  </a:lnTo>
                  <a:lnTo>
                    <a:pt x="15345" y="236"/>
                  </a:lnTo>
                  <a:lnTo>
                    <a:pt x="15345" y="236"/>
                  </a:lnTo>
                  <a:close/>
                  <a:moveTo>
                    <a:pt x="16009" y="187"/>
                  </a:moveTo>
                  <a:lnTo>
                    <a:pt x="16080" y="182"/>
                  </a:lnTo>
                  <a:lnTo>
                    <a:pt x="16113" y="199"/>
                  </a:lnTo>
                  <a:lnTo>
                    <a:pt x="16037" y="203"/>
                  </a:lnTo>
                  <a:lnTo>
                    <a:pt x="16004" y="187"/>
                  </a:lnTo>
                  <a:lnTo>
                    <a:pt x="16009" y="187"/>
                  </a:lnTo>
                  <a:lnTo>
                    <a:pt x="16009" y="187"/>
                  </a:lnTo>
                  <a:lnTo>
                    <a:pt x="16009" y="187"/>
                  </a:lnTo>
                  <a:close/>
                  <a:moveTo>
                    <a:pt x="15848" y="220"/>
                  </a:moveTo>
                  <a:lnTo>
                    <a:pt x="15858" y="210"/>
                  </a:lnTo>
                  <a:lnTo>
                    <a:pt x="15841" y="203"/>
                  </a:lnTo>
                  <a:lnTo>
                    <a:pt x="15858" y="203"/>
                  </a:lnTo>
                  <a:lnTo>
                    <a:pt x="15874" y="220"/>
                  </a:lnTo>
                  <a:lnTo>
                    <a:pt x="15848" y="220"/>
                  </a:lnTo>
                  <a:lnTo>
                    <a:pt x="15848" y="220"/>
                  </a:lnTo>
                  <a:lnTo>
                    <a:pt x="15848" y="220"/>
                  </a:lnTo>
                  <a:close/>
                  <a:moveTo>
                    <a:pt x="16134" y="203"/>
                  </a:moveTo>
                  <a:lnTo>
                    <a:pt x="16188" y="203"/>
                  </a:lnTo>
                  <a:lnTo>
                    <a:pt x="16165" y="220"/>
                  </a:lnTo>
                  <a:lnTo>
                    <a:pt x="16127" y="210"/>
                  </a:lnTo>
                  <a:lnTo>
                    <a:pt x="16134" y="203"/>
                  </a:lnTo>
                  <a:lnTo>
                    <a:pt x="16134" y="203"/>
                  </a:lnTo>
                  <a:lnTo>
                    <a:pt x="16134" y="203"/>
                  </a:lnTo>
                  <a:close/>
                  <a:moveTo>
                    <a:pt x="15886" y="227"/>
                  </a:moveTo>
                  <a:lnTo>
                    <a:pt x="15900" y="220"/>
                  </a:lnTo>
                  <a:lnTo>
                    <a:pt x="15895" y="210"/>
                  </a:lnTo>
                  <a:lnTo>
                    <a:pt x="15900" y="203"/>
                  </a:lnTo>
                  <a:lnTo>
                    <a:pt x="15928" y="210"/>
                  </a:lnTo>
                  <a:lnTo>
                    <a:pt x="15912" y="220"/>
                  </a:lnTo>
                  <a:lnTo>
                    <a:pt x="15933" y="227"/>
                  </a:lnTo>
                  <a:lnTo>
                    <a:pt x="15917" y="236"/>
                  </a:lnTo>
                  <a:lnTo>
                    <a:pt x="15886" y="227"/>
                  </a:lnTo>
                  <a:lnTo>
                    <a:pt x="15886" y="227"/>
                  </a:lnTo>
                  <a:lnTo>
                    <a:pt x="15886" y="227"/>
                  </a:lnTo>
                  <a:close/>
                  <a:moveTo>
                    <a:pt x="15950" y="220"/>
                  </a:moveTo>
                  <a:lnTo>
                    <a:pt x="15971" y="210"/>
                  </a:lnTo>
                  <a:lnTo>
                    <a:pt x="15983" y="227"/>
                  </a:lnTo>
                  <a:lnTo>
                    <a:pt x="15950" y="220"/>
                  </a:lnTo>
                  <a:lnTo>
                    <a:pt x="15950" y="220"/>
                  </a:lnTo>
                  <a:lnTo>
                    <a:pt x="15950" y="220"/>
                  </a:lnTo>
                  <a:close/>
                  <a:moveTo>
                    <a:pt x="16155" y="293"/>
                  </a:moveTo>
                  <a:lnTo>
                    <a:pt x="16134" y="281"/>
                  </a:lnTo>
                  <a:lnTo>
                    <a:pt x="16134" y="244"/>
                  </a:lnTo>
                  <a:lnTo>
                    <a:pt x="16113" y="227"/>
                  </a:lnTo>
                  <a:lnTo>
                    <a:pt x="16209" y="227"/>
                  </a:lnTo>
                  <a:lnTo>
                    <a:pt x="16273" y="255"/>
                  </a:lnTo>
                  <a:lnTo>
                    <a:pt x="16209" y="260"/>
                  </a:lnTo>
                  <a:lnTo>
                    <a:pt x="16188" y="265"/>
                  </a:lnTo>
                  <a:lnTo>
                    <a:pt x="16219" y="265"/>
                  </a:lnTo>
                  <a:lnTo>
                    <a:pt x="16209" y="281"/>
                  </a:lnTo>
                  <a:lnTo>
                    <a:pt x="16181" y="277"/>
                  </a:lnTo>
                  <a:lnTo>
                    <a:pt x="16172" y="281"/>
                  </a:lnTo>
                  <a:lnTo>
                    <a:pt x="16181" y="293"/>
                  </a:lnTo>
                  <a:lnTo>
                    <a:pt x="16155" y="293"/>
                  </a:lnTo>
                  <a:lnTo>
                    <a:pt x="16155" y="293"/>
                  </a:lnTo>
                  <a:lnTo>
                    <a:pt x="16155" y="293"/>
                  </a:lnTo>
                  <a:close/>
                  <a:moveTo>
                    <a:pt x="15933" y="236"/>
                  </a:moveTo>
                  <a:lnTo>
                    <a:pt x="15950" y="227"/>
                  </a:lnTo>
                  <a:lnTo>
                    <a:pt x="15966" y="236"/>
                  </a:lnTo>
                  <a:lnTo>
                    <a:pt x="15928" y="244"/>
                  </a:lnTo>
                  <a:lnTo>
                    <a:pt x="15933" y="236"/>
                  </a:lnTo>
                  <a:lnTo>
                    <a:pt x="15933" y="236"/>
                  </a:lnTo>
                  <a:lnTo>
                    <a:pt x="15933" y="236"/>
                  </a:lnTo>
                  <a:close/>
                  <a:moveTo>
                    <a:pt x="15983" y="236"/>
                  </a:moveTo>
                  <a:lnTo>
                    <a:pt x="15992" y="236"/>
                  </a:lnTo>
                  <a:lnTo>
                    <a:pt x="15971" y="236"/>
                  </a:lnTo>
                  <a:lnTo>
                    <a:pt x="15983" y="236"/>
                  </a:lnTo>
                  <a:lnTo>
                    <a:pt x="15983" y="236"/>
                  </a:lnTo>
                  <a:lnTo>
                    <a:pt x="15983" y="236"/>
                  </a:lnTo>
                  <a:close/>
                  <a:moveTo>
                    <a:pt x="15787" y="277"/>
                  </a:moveTo>
                  <a:lnTo>
                    <a:pt x="15772" y="265"/>
                  </a:lnTo>
                  <a:lnTo>
                    <a:pt x="15824" y="244"/>
                  </a:lnTo>
                  <a:lnTo>
                    <a:pt x="15858" y="244"/>
                  </a:lnTo>
                  <a:lnTo>
                    <a:pt x="15895" y="265"/>
                  </a:lnTo>
                  <a:lnTo>
                    <a:pt x="15862" y="281"/>
                  </a:lnTo>
                  <a:lnTo>
                    <a:pt x="15787" y="277"/>
                  </a:lnTo>
                  <a:lnTo>
                    <a:pt x="15787" y="277"/>
                  </a:lnTo>
                  <a:lnTo>
                    <a:pt x="15787" y="277"/>
                  </a:lnTo>
                  <a:close/>
                  <a:moveTo>
                    <a:pt x="16025" y="293"/>
                  </a:moveTo>
                  <a:lnTo>
                    <a:pt x="16042" y="277"/>
                  </a:lnTo>
                  <a:lnTo>
                    <a:pt x="16042" y="265"/>
                  </a:lnTo>
                  <a:lnTo>
                    <a:pt x="16042" y="255"/>
                  </a:lnTo>
                  <a:lnTo>
                    <a:pt x="16117" y="260"/>
                  </a:lnTo>
                  <a:lnTo>
                    <a:pt x="16117" y="293"/>
                  </a:lnTo>
                  <a:lnTo>
                    <a:pt x="16113" y="298"/>
                  </a:lnTo>
                  <a:lnTo>
                    <a:pt x="16021" y="293"/>
                  </a:lnTo>
                  <a:lnTo>
                    <a:pt x="16025" y="293"/>
                  </a:lnTo>
                  <a:lnTo>
                    <a:pt x="16025" y="293"/>
                  </a:lnTo>
                  <a:lnTo>
                    <a:pt x="16025" y="293"/>
                  </a:lnTo>
                  <a:close/>
                  <a:moveTo>
                    <a:pt x="15966" y="265"/>
                  </a:moveTo>
                  <a:lnTo>
                    <a:pt x="15992" y="255"/>
                  </a:lnTo>
                  <a:lnTo>
                    <a:pt x="16009" y="260"/>
                  </a:lnTo>
                  <a:lnTo>
                    <a:pt x="15983" y="277"/>
                  </a:lnTo>
                  <a:lnTo>
                    <a:pt x="15966" y="265"/>
                  </a:lnTo>
                  <a:lnTo>
                    <a:pt x="15966" y="265"/>
                  </a:lnTo>
                  <a:lnTo>
                    <a:pt x="15966" y="265"/>
                  </a:lnTo>
                  <a:close/>
                  <a:moveTo>
                    <a:pt x="15917" y="277"/>
                  </a:moveTo>
                  <a:lnTo>
                    <a:pt x="15912" y="260"/>
                  </a:lnTo>
                  <a:lnTo>
                    <a:pt x="15917" y="255"/>
                  </a:lnTo>
                  <a:lnTo>
                    <a:pt x="15933" y="260"/>
                  </a:lnTo>
                  <a:lnTo>
                    <a:pt x="15917" y="277"/>
                  </a:lnTo>
                  <a:lnTo>
                    <a:pt x="15917" y="277"/>
                  </a:lnTo>
                  <a:lnTo>
                    <a:pt x="15917" y="277"/>
                  </a:lnTo>
                  <a:close/>
                  <a:moveTo>
                    <a:pt x="15609" y="298"/>
                  </a:moveTo>
                  <a:lnTo>
                    <a:pt x="15588" y="281"/>
                  </a:lnTo>
                  <a:lnTo>
                    <a:pt x="15614" y="265"/>
                  </a:lnTo>
                  <a:lnTo>
                    <a:pt x="15647" y="281"/>
                  </a:lnTo>
                  <a:lnTo>
                    <a:pt x="15609" y="298"/>
                  </a:lnTo>
                  <a:lnTo>
                    <a:pt x="15609" y="298"/>
                  </a:lnTo>
                  <a:lnTo>
                    <a:pt x="15609" y="298"/>
                  </a:lnTo>
                  <a:close/>
                  <a:moveTo>
                    <a:pt x="19098" y="425"/>
                  </a:moveTo>
                  <a:lnTo>
                    <a:pt x="19061" y="425"/>
                  </a:lnTo>
                  <a:lnTo>
                    <a:pt x="19120" y="459"/>
                  </a:lnTo>
                  <a:lnTo>
                    <a:pt x="19129" y="482"/>
                  </a:lnTo>
                  <a:lnTo>
                    <a:pt x="19087" y="499"/>
                  </a:lnTo>
                  <a:lnTo>
                    <a:pt x="19011" y="503"/>
                  </a:lnTo>
                  <a:lnTo>
                    <a:pt x="18935" y="499"/>
                  </a:lnTo>
                  <a:lnTo>
                    <a:pt x="18898" y="475"/>
                  </a:lnTo>
                  <a:lnTo>
                    <a:pt x="18827" y="475"/>
                  </a:lnTo>
                  <a:lnTo>
                    <a:pt x="18817" y="449"/>
                  </a:lnTo>
                  <a:lnTo>
                    <a:pt x="18780" y="466"/>
                  </a:lnTo>
                  <a:lnTo>
                    <a:pt x="18735" y="433"/>
                  </a:lnTo>
                  <a:lnTo>
                    <a:pt x="18735" y="392"/>
                  </a:lnTo>
                  <a:lnTo>
                    <a:pt x="18687" y="392"/>
                  </a:lnTo>
                  <a:lnTo>
                    <a:pt x="18704" y="392"/>
                  </a:lnTo>
                  <a:lnTo>
                    <a:pt x="18687" y="388"/>
                  </a:lnTo>
                  <a:lnTo>
                    <a:pt x="18697" y="371"/>
                  </a:lnTo>
                  <a:lnTo>
                    <a:pt x="18650" y="404"/>
                  </a:lnTo>
                  <a:lnTo>
                    <a:pt x="18650" y="392"/>
                  </a:lnTo>
                  <a:lnTo>
                    <a:pt x="18654" y="388"/>
                  </a:lnTo>
                  <a:lnTo>
                    <a:pt x="18628" y="376"/>
                  </a:lnTo>
                  <a:lnTo>
                    <a:pt x="18654" y="388"/>
                  </a:lnTo>
                  <a:lnTo>
                    <a:pt x="18709" y="347"/>
                  </a:lnTo>
                  <a:lnTo>
                    <a:pt x="18751" y="338"/>
                  </a:lnTo>
                  <a:lnTo>
                    <a:pt x="18725" y="322"/>
                  </a:lnTo>
                  <a:lnTo>
                    <a:pt x="18772" y="293"/>
                  </a:lnTo>
                  <a:lnTo>
                    <a:pt x="18796" y="310"/>
                  </a:lnTo>
                  <a:lnTo>
                    <a:pt x="18817" y="293"/>
                  </a:lnTo>
                  <a:lnTo>
                    <a:pt x="18957" y="281"/>
                  </a:lnTo>
                  <a:lnTo>
                    <a:pt x="18990" y="298"/>
                  </a:lnTo>
                  <a:lnTo>
                    <a:pt x="18957" y="347"/>
                  </a:lnTo>
                  <a:lnTo>
                    <a:pt x="18935" y="355"/>
                  </a:lnTo>
                  <a:lnTo>
                    <a:pt x="18969" y="347"/>
                  </a:lnTo>
                  <a:lnTo>
                    <a:pt x="18978" y="322"/>
                  </a:lnTo>
                  <a:lnTo>
                    <a:pt x="19011" y="331"/>
                  </a:lnTo>
                  <a:lnTo>
                    <a:pt x="19028" y="314"/>
                  </a:lnTo>
                  <a:lnTo>
                    <a:pt x="19023" y="310"/>
                  </a:lnTo>
                  <a:lnTo>
                    <a:pt x="19028" y="298"/>
                  </a:lnTo>
                  <a:lnTo>
                    <a:pt x="19075" y="298"/>
                  </a:lnTo>
                  <a:lnTo>
                    <a:pt x="19136" y="347"/>
                  </a:lnTo>
                  <a:lnTo>
                    <a:pt x="19113" y="371"/>
                  </a:lnTo>
                  <a:lnTo>
                    <a:pt x="19103" y="392"/>
                  </a:lnTo>
                  <a:lnTo>
                    <a:pt x="19113" y="409"/>
                  </a:lnTo>
                  <a:lnTo>
                    <a:pt x="19098" y="425"/>
                  </a:lnTo>
                  <a:lnTo>
                    <a:pt x="19098" y="425"/>
                  </a:lnTo>
                  <a:lnTo>
                    <a:pt x="19098" y="425"/>
                  </a:lnTo>
                  <a:close/>
                  <a:moveTo>
                    <a:pt x="16240" y="310"/>
                  </a:moveTo>
                  <a:lnTo>
                    <a:pt x="16278" y="293"/>
                  </a:lnTo>
                  <a:lnTo>
                    <a:pt x="16311" y="293"/>
                  </a:lnTo>
                  <a:lnTo>
                    <a:pt x="16311" y="310"/>
                  </a:lnTo>
                  <a:lnTo>
                    <a:pt x="16278" y="322"/>
                  </a:lnTo>
                  <a:lnTo>
                    <a:pt x="16240" y="310"/>
                  </a:lnTo>
                  <a:lnTo>
                    <a:pt x="16240" y="310"/>
                  </a:lnTo>
                  <a:lnTo>
                    <a:pt x="16240" y="310"/>
                  </a:lnTo>
                  <a:close/>
                  <a:moveTo>
                    <a:pt x="15626" y="314"/>
                  </a:moveTo>
                  <a:lnTo>
                    <a:pt x="15659" y="314"/>
                  </a:lnTo>
                  <a:lnTo>
                    <a:pt x="15697" y="293"/>
                  </a:lnTo>
                  <a:lnTo>
                    <a:pt x="15723" y="322"/>
                  </a:lnTo>
                  <a:lnTo>
                    <a:pt x="15626" y="314"/>
                  </a:lnTo>
                  <a:lnTo>
                    <a:pt x="15626" y="314"/>
                  </a:lnTo>
                  <a:lnTo>
                    <a:pt x="15626" y="314"/>
                  </a:lnTo>
                  <a:close/>
                  <a:moveTo>
                    <a:pt x="18503" y="298"/>
                  </a:moveTo>
                  <a:lnTo>
                    <a:pt x="18487" y="298"/>
                  </a:lnTo>
                  <a:lnTo>
                    <a:pt x="18633" y="310"/>
                  </a:lnTo>
                  <a:lnTo>
                    <a:pt x="18697" y="322"/>
                  </a:lnTo>
                  <a:lnTo>
                    <a:pt x="18645" y="355"/>
                  </a:lnTo>
                  <a:lnTo>
                    <a:pt x="18562" y="364"/>
                  </a:lnTo>
                  <a:lnTo>
                    <a:pt x="18595" y="355"/>
                  </a:lnTo>
                  <a:lnTo>
                    <a:pt x="18574" y="338"/>
                  </a:lnTo>
                  <a:lnTo>
                    <a:pt x="18503" y="331"/>
                  </a:lnTo>
                  <a:lnTo>
                    <a:pt x="18508" y="322"/>
                  </a:lnTo>
                  <a:lnTo>
                    <a:pt x="18503" y="298"/>
                  </a:lnTo>
                  <a:lnTo>
                    <a:pt x="18503" y="298"/>
                  </a:lnTo>
                  <a:lnTo>
                    <a:pt x="18503" y="298"/>
                  </a:lnTo>
                  <a:close/>
                  <a:moveTo>
                    <a:pt x="18704" y="310"/>
                  </a:moveTo>
                  <a:lnTo>
                    <a:pt x="18735" y="310"/>
                  </a:lnTo>
                  <a:lnTo>
                    <a:pt x="18704" y="314"/>
                  </a:lnTo>
                  <a:lnTo>
                    <a:pt x="18704" y="310"/>
                  </a:lnTo>
                  <a:lnTo>
                    <a:pt x="18704" y="310"/>
                  </a:lnTo>
                  <a:lnTo>
                    <a:pt x="18704" y="310"/>
                  </a:lnTo>
                  <a:close/>
                  <a:moveTo>
                    <a:pt x="16209" y="314"/>
                  </a:moveTo>
                  <a:lnTo>
                    <a:pt x="16226" y="314"/>
                  </a:lnTo>
                  <a:lnTo>
                    <a:pt x="16252" y="322"/>
                  </a:lnTo>
                  <a:lnTo>
                    <a:pt x="16202" y="322"/>
                  </a:lnTo>
                  <a:lnTo>
                    <a:pt x="16209" y="314"/>
                  </a:lnTo>
                  <a:lnTo>
                    <a:pt x="16209" y="314"/>
                  </a:lnTo>
                  <a:lnTo>
                    <a:pt x="16209" y="314"/>
                  </a:lnTo>
                  <a:close/>
                  <a:moveTo>
                    <a:pt x="18541" y="364"/>
                  </a:moveTo>
                  <a:lnTo>
                    <a:pt x="18503" y="355"/>
                  </a:lnTo>
                  <a:lnTo>
                    <a:pt x="18557" y="364"/>
                  </a:lnTo>
                  <a:lnTo>
                    <a:pt x="18541" y="364"/>
                  </a:lnTo>
                  <a:lnTo>
                    <a:pt x="18541" y="364"/>
                  </a:lnTo>
                  <a:lnTo>
                    <a:pt x="18541" y="364"/>
                  </a:lnTo>
                  <a:close/>
                  <a:moveTo>
                    <a:pt x="19129" y="376"/>
                  </a:moveTo>
                  <a:lnTo>
                    <a:pt x="19129" y="364"/>
                  </a:lnTo>
                  <a:lnTo>
                    <a:pt x="19150" y="364"/>
                  </a:lnTo>
                  <a:lnTo>
                    <a:pt x="19129" y="376"/>
                  </a:lnTo>
                  <a:lnTo>
                    <a:pt x="19129" y="376"/>
                  </a:lnTo>
                  <a:lnTo>
                    <a:pt x="19129" y="376"/>
                  </a:lnTo>
                  <a:close/>
                  <a:moveTo>
                    <a:pt x="17495" y="388"/>
                  </a:moveTo>
                  <a:lnTo>
                    <a:pt x="17445" y="371"/>
                  </a:lnTo>
                  <a:lnTo>
                    <a:pt x="17563" y="388"/>
                  </a:lnTo>
                  <a:lnTo>
                    <a:pt x="17499" y="392"/>
                  </a:lnTo>
                  <a:lnTo>
                    <a:pt x="17495" y="388"/>
                  </a:lnTo>
                  <a:lnTo>
                    <a:pt x="17495" y="388"/>
                  </a:lnTo>
                  <a:lnTo>
                    <a:pt x="17495" y="388"/>
                  </a:lnTo>
                  <a:close/>
                  <a:moveTo>
                    <a:pt x="18494" y="388"/>
                  </a:moveTo>
                  <a:lnTo>
                    <a:pt x="18536" y="392"/>
                  </a:lnTo>
                  <a:lnTo>
                    <a:pt x="18482" y="376"/>
                  </a:lnTo>
                  <a:lnTo>
                    <a:pt x="18494" y="388"/>
                  </a:lnTo>
                  <a:lnTo>
                    <a:pt x="18494" y="388"/>
                  </a:lnTo>
                  <a:lnTo>
                    <a:pt x="18494" y="388"/>
                  </a:lnTo>
                  <a:close/>
                  <a:moveTo>
                    <a:pt x="19129" y="392"/>
                  </a:moveTo>
                  <a:lnTo>
                    <a:pt x="19129" y="404"/>
                  </a:lnTo>
                  <a:lnTo>
                    <a:pt x="19120" y="404"/>
                  </a:lnTo>
                  <a:lnTo>
                    <a:pt x="19129" y="392"/>
                  </a:lnTo>
                  <a:lnTo>
                    <a:pt x="19129" y="392"/>
                  </a:lnTo>
                  <a:lnTo>
                    <a:pt x="19129" y="392"/>
                  </a:lnTo>
                  <a:close/>
                  <a:moveTo>
                    <a:pt x="19136" y="553"/>
                  </a:moveTo>
                  <a:lnTo>
                    <a:pt x="19157" y="503"/>
                  </a:lnTo>
                  <a:lnTo>
                    <a:pt x="19212" y="515"/>
                  </a:lnTo>
                  <a:lnTo>
                    <a:pt x="19183" y="487"/>
                  </a:lnTo>
                  <a:lnTo>
                    <a:pt x="19195" y="466"/>
                  </a:lnTo>
                  <a:lnTo>
                    <a:pt x="19243" y="475"/>
                  </a:lnTo>
                  <a:lnTo>
                    <a:pt x="19195" y="459"/>
                  </a:lnTo>
                  <a:lnTo>
                    <a:pt x="19212" y="433"/>
                  </a:lnTo>
                  <a:lnTo>
                    <a:pt x="19250" y="409"/>
                  </a:lnTo>
                  <a:lnTo>
                    <a:pt x="19264" y="425"/>
                  </a:lnTo>
                  <a:lnTo>
                    <a:pt x="19280" y="433"/>
                  </a:lnTo>
                  <a:lnTo>
                    <a:pt x="19280" y="409"/>
                  </a:lnTo>
                  <a:lnTo>
                    <a:pt x="19297" y="404"/>
                  </a:lnTo>
                  <a:lnTo>
                    <a:pt x="19351" y="421"/>
                  </a:lnTo>
                  <a:lnTo>
                    <a:pt x="19330" y="433"/>
                  </a:lnTo>
                  <a:lnTo>
                    <a:pt x="19297" y="499"/>
                  </a:lnTo>
                  <a:lnTo>
                    <a:pt x="19335" y="466"/>
                  </a:lnTo>
                  <a:lnTo>
                    <a:pt x="19406" y="449"/>
                  </a:lnTo>
                  <a:lnTo>
                    <a:pt x="19410" y="475"/>
                  </a:lnTo>
                  <a:lnTo>
                    <a:pt x="19439" y="475"/>
                  </a:lnTo>
                  <a:lnTo>
                    <a:pt x="19453" y="499"/>
                  </a:lnTo>
                  <a:lnTo>
                    <a:pt x="19453" y="503"/>
                  </a:lnTo>
                  <a:lnTo>
                    <a:pt x="19460" y="499"/>
                  </a:lnTo>
                  <a:lnTo>
                    <a:pt x="19491" y="499"/>
                  </a:lnTo>
                  <a:lnTo>
                    <a:pt x="19507" y="536"/>
                  </a:lnTo>
                  <a:lnTo>
                    <a:pt x="19460" y="577"/>
                  </a:lnTo>
                  <a:lnTo>
                    <a:pt x="19335" y="593"/>
                  </a:lnTo>
                  <a:lnTo>
                    <a:pt x="19318" y="598"/>
                  </a:lnTo>
                  <a:lnTo>
                    <a:pt x="19302" y="593"/>
                  </a:lnTo>
                  <a:lnTo>
                    <a:pt x="19221" y="598"/>
                  </a:lnTo>
                  <a:lnTo>
                    <a:pt x="19129" y="631"/>
                  </a:lnTo>
                  <a:lnTo>
                    <a:pt x="19087" y="643"/>
                  </a:lnTo>
                  <a:lnTo>
                    <a:pt x="19082" y="626"/>
                  </a:lnTo>
                  <a:lnTo>
                    <a:pt x="19136" y="553"/>
                  </a:lnTo>
                  <a:lnTo>
                    <a:pt x="19136" y="553"/>
                  </a:lnTo>
                  <a:lnTo>
                    <a:pt x="19136" y="553"/>
                  </a:lnTo>
                  <a:close/>
                  <a:moveTo>
                    <a:pt x="19561" y="598"/>
                  </a:moveTo>
                  <a:lnTo>
                    <a:pt x="19552" y="593"/>
                  </a:lnTo>
                  <a:lnTo>
                    <a:pt x="19583" y="577"/>
                  </a:lnTo>
                  <a:lnTo>
                    <a:pt x="19604" y="586"/>
                  </a:lnTo>
                  <a:lnTo>
                    <a:pt x="19561" y="598"/>
                  </a:lnTo>
                  <a:lnTo>
                    <a:pt x="19561" y="598"/>
                  </a:lnTo>
                  <a:lnTo>
                    <a:pt x="19561" y="598"/>
                  </a:lnTo>
                  <a:close/>
                  <a:moveTo>
                    <a:pt x="19654" y="626"/>
                  </a:moveTo>
                  <a:lnTo>
                    <a:pt x="19583" y="598"/>
                  </a:lnTo>
                  <a:lnTo>
                    <a:pt x="19670" y="610"/>
                  </a:lnTo>
                  <a:lnTo>
                    <a:pt x="19654" y="626"/>
                  </a:lnTo>
                  <a:lnTo>
                    <a:pt x="19654" y="626"/>
                  </a:lnTo>
                  <a:lnTo>
                    <a:pt x="19654" y="626"/>
                  </a:lnTo>
                  <a:close/>
                  <a:moveTo>
                    <a:pt x="18562" y="688"/>
                  </a:moveTo>
                  <a:lnTo>
                    <a:pt x="18546" y="681"/>
                  </a:lnTo>
                  <a:lnTo>
                    <a:pt x="18574" y="688"/>
                  </a:lnTo>
                  <a:lnTo>
                    <a:pt x="18562" y="688"/>
                  </a:lnTo>
                  <a:lnTo>
                    <a:pt x="18562" y="688"/>
                  </a:lnTo>
                  <a:lnTo>
                    <a:pt x="18562" y="688"/>
                  </a:lnTo>
                  <a:close/>
                  <a:moveTo>
                    <a:pt x="19642" y="754"/>
                  </a:moveTo>
                  <a:lnTo>
                    <a:pt x="19637" y="742"/>
                  </a:lnTo>
                  <a:lnTo>
                    <a:pt x="19654" y="725"/>
                  </a:lnTo>
                  <a:lnTo>
                    <a:pt x="19670" y="737"/>
                  </a:lnTo>
                  <a:lnTo>
                    <a:pt x="19670" y="742"/>
                  </a:lnTo>
                  <a:lnTo>
                    <a:pt x="19642" y="754"/>
                  </a:lnTo>
                  <a:lnTo>
                    <a:pt x="19642" y="754"/>
                  </a:lnTo>
                  <a:lnTo>
                    <a:pt x="19642" y="754"/>
                  </a:lnTo>
                  <a:close/>
                  <a:moveTo>
                    <a:pt x="18373" y="758"/>
                  </a:moveTo>
                  <a:lnTo>
                    <a:pt x="18364" y="742"/>
                  </a:lnTo>
                  <a:lnTo>
                    <a:pt x="18373" y="737"/>
                  </a:lnTo>
                  <a:lnTo>
                    <a:pt x="18402" y="742"/>
                  </a:lnTo>
                  <a:lnTo>
                    <a:pt x="18373" y="758"/>
                  </a:lnTo>
                  <a:lnTo>
                    <a:pt x="18373" y="758"/>
                  </a:lnTo>
                  <a:lnTo>
                    <a:pt x="18373" y="758"/>
                  </a:lnTo>
                  <a:close/>
                  <a:moveTo>
                    <a:pt x="19535" y="742"/>
                  </a:moveTo>
                  <a:lnTo>
                    <a:pt x="19552" y="737"/>
                  </a:lnTo>
                  <a:lnTo>
                    <a:pt x="19535" y="742"/>
                  </a:lnTo>
                  <a:lnTo>
                    <a:pt x="19535" y="742"/>
                  </a:lnTo>
                  <a:lnTo>
                    <a:pt x="19535" y="742"/>
                  </a:lnTo>
                  <a:close/>
                  <a:moveTo>
                    <a:pt x="18881" y="754"/>
                  </a:moveTo>
                  <a:lnTo>
                    <a:pt x="18886" y="758"/>
                  </a:lnTo>
                  <a:lnTo>
                    <a:pt x="18860" y="780"/>
                  </a:lnTo>
                  <a:lnTo>
                    <a:pt x="18796" y="780"/>
                  </a:lnTo>
                  <a:lnTo>
                    <a:pt x="18881" y="754"/>
                  </a:lnTo>
                  <a:lnTo>
                    <a:pt x="18881" y="754"/>
                  </a:lnTo>
                  <a:lnTo>
                    <a:pt x="18881" y="754"/>
                  </a:lnTo>
                  <a:close/>
                  <a:moveTo>
                    <a:pt x="18357" y="758"/>
                  </a:moveTo>
                  <a:lnTo>
                    <a:pt x="18331" y="763"/>
                  </a:lnTo>
                  <a:lnTo>
                    <a:pt x="18347" y="763"/>
                  </a:lnTo>
                  <a:lnTo>
                    <a:pt x="18343" y="780"/>
                  </a:lnTo>
                  <a:lnTo>
                    <a:pt x="18331" y="763"/>
                  </a:lnTo>
                  <a:lnTo>
                    <a:pt x="18357" y="758"/>
                  </a:lnTo>
                  <a:lnTo>
                    <a:pt x="18357" y="758"/>
                  </a:lnTo>
                  <a:lnTo>
                    <a:pt x="18357" y="758"/>
                  </a:lnTo>
                  <a:close/>
                  <a:moveTo>
                    <a:pt x="23093" y="758"/>
                  </a:moveTo>
                  <a:lnTo>
                    <a:pt x="23109" y="758"/>
                  </a:lnTo>
                  <a:lnTo>
                    <a:pt x="23088" y="758"/>
                  </a:lnTo>
                  <a:lnTo>
                    <a:pt x="23093" y="758"/>
                  </a:lnTo>
                  <a:lnTo>
                    <a:pt x="23093" y="758"/>
                  </a:lnTo>
                  <a:lnTo>
                    <a:pt x="23093" y="758"/>
                  </a:lnTo>
                  <a:close/>
                  <a:moveTo>
                    <a:pt x="16101" y="1314"/>
                  </a:moveTo>
                  <a:lnTo>
                    <a:pt x="16096" y="1307"/>
                  </a:lnTo>
                  <a:lnTo>
                    <a:pt x="16096" y="1318"/>
                  </a:lnTo>
                  <a:lnTo>
                    <a:pt x="16047" y="1318"/>
                  </a:lnTo>
                  <a:lnTo>
                    <a:pt x="16037" y="1297"/>
                  </a:lnTo>
                  <a:lnTo>
                    <a:pt x="16042" y="1314"/>
                  </a:lnTo>
                  <a:lnTo>
                    <a:pt x="15971" y="1297"/>
                  </a:lnTo>
                  <a:lnTo>
                    <a:pt x="15917" y="1314"/>
                  </a:lnTo>
                  <a:lnTo>
                    <a:pt x="15900" y="1307"/>
                  </a:lnTo>
                  <a:lnTo>
                    <a:pt x="15928" y="1297"/>
                  </a:lnTo>
                  <a:lnTo>
                    <a:pt x="15928" y="1290"/>
                  </a:lnTo>
                  <a:lnTo>
                    <a:pt x="15917" y="1290"/>
                  </a:lnTo>
                  <a:lnTo>
                    <a:pt x="15928" y="1281"/>
                  </a:lnTo>
                  <a:lnTo>
                    <a:pt x="15987" y="1257"/>
                  </a:lnTo>
                  <a:lnTo>
                    <a:pt x="15900" y="1273"/>
                  </a:lnTo>
                  <a:lnTo>
                    <a:pt x="15879" y="1252"/>
                  </a:lnTo>
                  <a:lnTo>
                    <a:pt x="15954" y="1224"/>
                  </a:lnTo>
                  <a:lnTo>
                    <a:pt x="15938" y="1219"/>
                  </a:lnTo>
                  <a:lnTo>
                    <a:pt x="15971" y="1195"/>
                  </a:lnTo>
                  <a:lnTo>
                    <a:pt x="16037" y="1203"/>
                  </a:lnTo>
                  <a:lnTo>
                    <a:pt x="15983" y="1179"/>
                  </a:lnTo>
                  <a:lnTo>
                    <a:pt x="16025" y="1179"/>
                  </a:lnTo>
                  <a:lnTo>
                    <a:pt x="15987" y="1170"/>
                  </a:lnTo>
                  <a:lnTo>
                    <a:pt x="15992" y="1153"/>
                  </a:lnTo>
                  <a:lnTo>
                    <a:pt x="16063" y="1146"/>
                  </a:lnTo>
                  <a:lnTo>
                    <a:pt x="16009" y="1141"/>
                  </a:lnTo>
                  <a:lnTo>
                    <a:pt x="16009" y="1125"/>
                  </a:lnTo>
                  <a:lnTo>
                    <a:pt x="16113" y="1125"/>
                  </a:lnTo>
                  <a:lnTo>
                    <a:pt x="16089" y="1125"/>
                  </a:lnTo>
                  <a:lnTo>
                    <a:pt x="16075" y="1108"/>
                  </a:lnTo>
                  <a:lnTo>
                    <a:pt x="16037" y="1108"/>
                  </a:lnTo>
                  <a:lnTo>
                    <a:pt x="16089" y="1087"/>
                  </a:lnTo>
                  <a:lnTo>
                    <a:pt x="16063" y="1087"/>
                  </a:lnTo>
                  <a:lnTo>
                    <a:pt x="16075" y="1075"/>
                  </a:lnTo>
                  <a:lnTo>
                    <a:pt x="16037" y="1075"/>
                  </a:lnTo>
                  <a:lnTo>
                    <a:pt x="16042" y="1070"/>
                  </a:lnTo>
                  <a:lnTo>
                    <a:pt x="16025" y="1070"/>
                  </a:lnTo>
                  <a:lnTo>
                    <a:pt x="16025" y="1058"/>
                  </a:lnTo>
                  <a:lnTo>
                    <a:pt x="16063" y="1051"/>
                  </a:lnTo>
                  <a:lnTo>
                    <a:pt x="16075" y="1070"/>
                  </a:lnTo>
                  <a:lnTo>
                    <a:pt x="16101" y="1042"/>
                  </a:lnTo>
                  <a:lnTo>
                    <a:pt x="16096" y="1035"/>
                  </a:lnTo>
                  <a:lnTo>
                    <a:pt x="16101" y="1030"/>
                  </a:lnTo>
                  <a:lnTo>
                    <a:pt x="16165" y="1030"/>
                  </a:lnTo>
                  <a:lnTo>
                    <a:pt x="16150" y="1002"/>
                  </a:lnTo>
                  <a:lnTo>
                    <a:pt x="16198" y="997"/>
                  </a:lnTo>
                  <a:lnTo>
                    <a:pt x="16181" y="985"/>
                  </a:lnTo>
                  <a:lnTo>
                    <a:pt x="16235" y="959"/>
                  </a:lnTo>
                  <a:lnTo>
                    <a:pt x="16349" y="931"/>
                  </a:lnTo>
                  <a:lnTo>
                    <a:pt x="16328" y="924"/>
                  </a:lnTo>
                  <a:lnTo>
                    <a:pt x="16344" y="919"/>
                  </a:lnTo>
                  <a:lnTo>
                    <a:pt x="16382" y="919"/>
                  </a:lnTo>
                  <a:lnTo>
                    <a:pt x="16361" y="931"/>
                  </a:lnTo>
                  <a:lnTo>
                    <a:pt x="16370" y="931"/>
                  </a:lnTo>
                  <a:lnTo>
                    <a:pt x="16403" y="907"/>
                  </a:lnTo>
                  <a:lnTo>
                    <a:pt x="16387" y="907"/>
                  </a:lnTo>
                  <a:lnTo>
                    <a:pt x="16398" y="891"/>
                  </a:lnTo>
                  <a:lnTo>
                    <a:pt x="16441" y="886"/>
                  </a:lnTo>
                  <a:lnTo>
                    <a:pt x="16495" y="903"/>
                  </a:lnTo>
                  <a:lnTo>
                    <a:pt x="16580" y="874"/>
                  </a:lnTo>
                  <a:lnTo>
                    <a:pt x="16613" y="886"/>
                  </a:lnTo>
                  <a:lnTo>
                    <a:pt x="16710" y="848"/>
                  </a:lnTo>
                  <a:lnTo>
                    <a:pt x="16743" y="853"/>
                  </a:lnTo>
                  <a:lnTo>
                    <a:pt x="16727" y="832"/>
                  </a:lnTo>
                  <a:lnTo>
                    <a:pt x="16852" y="780"/>
                  </a:lnTo>
                  <a:lnTo>
                    <a:pt x="16921" y="792"/>
                  </a:lnTo>
                  <a:lnTo>
                    <a:pt x="16954" y="815"/>
                  </a:lnTo>
                  <a:lnTo>
                    <a:pt x="16937" y="848"/>
                  </a:lnTo>
                  <a:lnTo>
                    <a:pt x="16944" y="853"/>
                  </a:lnTo>
                  <a:lnTo>
                    <a:pt x="16899" y="886"/>
                  </a:lnTo>
                  <a:lnTo>
                    <a:pt x="16906" y="886"/>
                  </a:lnTo>
                  <a:lnTo>
                    <a:pt x="16684" y="959"/>
                  </a:lnTo>
                  <a:lnTo>
                    <a:pt x="16592" y="981"/>
                  </a:lnTo>
                  <a:lnTo>
                    <a:pt x="16576" y="976"/>
                  </a:lnTo>
                  <a:lnTo>
                    <a:pt x="16559" y="985"/>
                  </a:lnTo>
                  <a:lnTo>
                    <a:pt x="16441" y="1018"/>
                  </a:lnTo>
                  <a:lnTo>
                    <a:pt x="16424" y="1042"/>
                  </a:lnTo>
                  <a:lnTo>
                    <a:pt x="16415" y="1030"/>
                  </a:lnTo>
                  <a:lnTo>
                    <a:pt x="16403" y="1042"/>
                  </a:lnTo>
                  <a:lnTo>
                    <a:pt x="16370" y="1058"/>
                  </a:lnTo>
                  <a:lnTo>
                    <a:pt x="16382" y="1070"/>
                  </a:lnTo>
                  <a:lnTo>
                    <a:pt x="16370" y="1075"/>
                  </a:lnTo>
                  <a:lnTo>
                    <a:pt x="16361" y="1058"/>
                  </a:lnTo>
                  <a:lnTo>
                    <a:pt x="16361" y="1075"/>
                  </a:lnTo>
                  <a:lnTo>
                    <a:pt x="16316" y="1075"/>
                  </a:lnTo>
                  <a:lnTo>
                    <a:pt x="16370" y="1087"/>
                  </a:lnTo>
                  <a:lnTo>
                    <a:pt x="16332" y="1096"/>
                  </a:lnTo>
                  <a:lnTo>
                    <a:pt x="16349" y="1108"/>
                  </a:lnTo>
                  <a:lnTo>
                    <a:pt x="16344" y="1113"/>
                  </a:lnTo>
                  <a:lnTo>
                    <a:pt x="16316" y="1113"/>
                  </a:lnTo>
                  <a:lnTo>
                    <a:pt x="16290" y="1108"/>
                  </a:lnTo>
                  <a:lnTo>
                    <a:pt x="16311" y="1125"/>
                  </a:lnTo>
                  <a:lnTo>
                    <a:pt x="16306" y="1141"/>
                  </a:lnTo>
                  <a:lnTo>
                    <a:pt x="16264" y="1113"/>
                  </a:lnTo>
                  <a:lnTo>
                    <a:pt x="16273" y="1129"/>
                  </a:lnTo>
                  <a:lnTo>
                    <a:pt x="16257" y="1141"/>
                  </a:lnTo>
                  <a:lnTo>
                    <a:pt x="16264" y="1153"/>
                  </a:lnTo>
                  <a:lnTo>
                    <a:pt x="16198" y="1141"/>
                  </a:lnTo>
                  <a:lnTo>
                    <a:pt x="16226" y="1153"/>
                  </a:lnTo>
                  <a:lnTo>
                    <a:pt x="16235" y="1179"/>
                  </a:lnTo>
                  <a:lnTo>
                    <a:pt x="16219" y="1195"/>
                  </a:lnTo>
                  <a:lnTo>
                    <a:pt x="16202" y="1186"/>
                  </a:lnTo>
                  <a:lnTo>
                    <a:pt x="16209" y="1203"/>
                  </a:lnTo>
                  <a:lnTo>
                    <a:pt x="16198" y="1203"/>
                  </a:lnTo>
                  <a:lnTo>
                    <a:pt x="16198" y="1219"/>
                  </a:lnTo>
                  <a:lnTo>
                    <a:pt x="16165" y="1207"/>
                  </a:lnTo>
                  <a:lnTo>
                    <a:pt x="16150" y="1195"/>
                  </a:lnTo>
                  <a:lnTo>
                    <a:pt x="16143" y="1195"/>
                  </a:lnTo>
                  <a:lnTo>
                    <a:pt x="16150" y="1207"/>
                  </a:lnTo>
                  <a:lnTo>
                    <a:pt x="16134" y="1207"/>
                  </a:lnTo>
                  <a:lnTo>
                    <a:pt x="16172" y="1236"/>
                  </a:lnTo>
                  <a:lnTo>
                    <a:pt x="16181" y="1252"/>
                  </a:lnTo>
                  <a:lnTo>
                    <a:pt x="16165" y="1257"/>
                  </a:lnTo>
                  <a:lnTo>
                    <a:pt x="16143" y="1240"/>
                  </a:lnTo>
                  <a:lnTo>
                    <a:pt x="16080" y="1236"/>
                  </a:lnTo>
                  <a:lnTo>
                    <a:pt x="16134" y="1240"/>
                  </a:lnTo>
                  <a:lnTo>
                    <a:pt x="16155" y="1264"/>
                  </a:lnTo>
                  <a:lnTo>
                    <a:pt x="16134" y="1281"/>
                  </a:lnTo>
                  <a:lnTo>
                    <a:pt x="16096" y="1264"/>
                  </a:lnTo>
                  <a:lnTo>
                    <a:pt x="16096" y="1273"/>
                  </a:lnTo>
                  <a:lnTo>
                    <a:pt x="16127" y="1290"/>
                  </a:lnTo>
                  <a:lnTo>
                    <a:pt x="16101" y="1314"/>
                  </a:lnTo>
                  <a:lnTo>
                    <a:pt x="16101" y="1314"/>
                  </a:lnTo>
                  <a:lnTo>
                    <a:pt x="16101" y="1314"/>
                  </a:lnTo>
                  <a:close/>
                  <a:moveTo>
                    <a:pt x="18978" y="815"/>
                  </a:moveTo>
                  <a:lnTo>
                    <a:pt x="18969" y="808"/>
                  </a:lnTo>
                  <a:lnTo>
                    <a:pt x="18978" y="808"/>
                  </a:lnTo>
                  <a:lnTo>
                    <a:pt x="18978" y="815"/>
                  </a:lnTo>
                  <a:lnTo>
                    <a:pt x="18978" y="815"/>
                  </a:lnTo>
                  <a:lnTo>
                    <a:pt x="18978" y="815"/>
                  </a:lnTo>
                  <a:close/>
                  <a:moveTo>
                    <a:pt x="22521" y="836"/>
                  </a:moveTo>
                  <a:lnTo>
                    <a:pt x="22547" y="820"/>
                  </a:lnTo>
                  <a:lnTo>
                    <a:pt x="22585" y="820"/>
                  </a:lnTo>
                  <a:lnTo>
                    <a:pt x="22576" y="836"/>
                  </a:lnTo>
                  <a:lnTo>
                    <a:pt x="22521" y="836"/>
                  </a:lnTo>
                  <a:lnTo>
                    <a:pt x="22521" y="836"/>
                  </a:lnTo>
                  <a:lnTo>
                    <a:pt x="22521" y="836"/>
                  </a:lnTo>
                  <a:close/>
                  <a:moveTo>
                    <a:pt x="18957" y="848"/>
                  </a:moveTo>
                  <a:lnTo>
                    <a:pt x="18940" y="836"/>
                  </a:lnTo>
                  <a:lnTo>
                    <a:pt x="18952" y="820"/>
                  </a:lnTo>
                  <a:lnTo>
                    <a:pt x="18957" y="836"/>
                  </a:lnTo>
                  <a:lnTo>
                    <a:pt x="18957" y="848"/>
                  </a:lnTo>
                  <a:lnTo>
                    <a:pt x="18957" y="848"/>
                  </a:lnTo>
                  <a:lnTo>
                    <a:pt x="18957" y="848"/>
                  </a:lnTo>
                  <a:close/>
                  <a:moveTo>
                    <a:pt x="18827" y="832"/>
                  </a:moveTo>
                  <a:lnTo>
                    <a:pt x="18834" y="832"/>
                  </a:lnTo>
                  <a:lnTo>
                    <a:pt x="18806" y="832"/>
                  </a:lnTo>
                  <a:lnTo>
                    <a:pt x="18827" y="832"/>
                  </a:lnTo>
                  <a:lnTo>
                    <a:pt x="18827" y="832"/>
                  </a:lnTo>
                  <a:lnTo>
                    <a:pt x="18827" y="832"/>
                  </a:lnTo>
                  <a:close/>
                  <a:moveTo>
                    <a:pt x="18789" y="820"/>
                  </a:moveTo>
                  <a:lnTo>
                    <a:pt x="18806" y="832"/>
                  </a:lnTo>
                  <a:lnTo>
                    <a:pt x="18763" y="836"/>
                  </a:lnTo>
                  <a:lnTo>
                    <a:pt x="18789" y="820"/>
                  </a:lnTo>
                  <a:lnTo>
                    <a:pt x="18789" y="820"/>
                  </a:lnTo>
                  <a:lnTo>
                    <a:pt x="18789" y="820"/>
                  </a:lnTo>
                  <a:close/>
                  <a:moveTo>
                    <a:pt x="18881" y="832"/>
                  </a:moveTo>
                  <a:lnTo>
                    <a:pt x="18865" y="836"/>
                  </a:lnTo>
                  <a:lnTo>
                    <a:pt x="18843" y="836"/>
                  </a:lnTo>
                  <a:lnTo>
                    <a:pt x="18881" y="832"/>
                  </a:lnTo>
                  <a:lnTo>
                    <a:pt x="18881" y="832"/>
                  </a:lnTo>
                  <a:lnTo>
                    <a:pt x="18881" y="832"/>
                  </a:lnTo>
                  <a:close/>
                  <a:moveTo>
                    <a:pt x="20010" y="865"/>
                  </a:moveTo>
                  <a:lnTo>
                    <a:pt x="19968" y="836"/>
                  </a:lnTo>
                  <a:lnTo>
                    <a:pt x="20010" y="836"/>
                  </a:lnTo>
                  <a:lnTo>
                    <a:pt x="20020" y="853"/>
                  </a:lnTo>
                  <a:lnTo>
                    <a:pt x="20010" y="865"/>
                  </a:lnTo>
                  <a:lnTo>
                    <a:pt x="20010" y="865"/>
                  </a:lnTo>
                  <a:lnTo>
                    <a:pt x="20010" y="865"/>
                  </a:lnTo>
                  <a:close/>
                  <a:moveTo>
                    <a:pt x="18704" y="836"/>
                  </a:moveTo>
                  <a:lnTo>
                    <a:pt x="18735" y="848"/>
                  </a:lnTo>
                  <a:lnTo>
                    <a:pt x="18697" y="848"/>
                  </a:lnTo>
                  <a:lnTo>
                    <a:pt x="18704" y="836"/>
                  </a:lnTo>
                  <a:lnTo>
                    <a:pt x="18704" y="836"/>
                  </a:lnTo>
                  <a:lnTo>
                    <a:pt x="18704" y="836"/>
                  </a:lnTo>
                  <a:close/>
                  <a:moveTo>
                    <a:pt x="20048" y="874"/>
                  </a:moveTo>
                  <a:lnTo>
                    <a:pt x="20065" y="870"/>
                  </a:lnTo>
                  <a:lnTo>
                    <a:pt x="20069" y="874"/>
                  </a:lnTo>
                  <a:lnTo>
                    <a:pt x="20048" y="874"/>
                  </a:lnTo>
                  <a:lnTo>
                    <a:pt x="20048" y="874"/>
                  </a:lnTo>
                  <a:lnTo>
                    <a:pt x="20048" y="874"/>
                  </a:lnTo>
                  <a:close/>
                  <a:moveTo>
                    <a:pt x="18902" y="907"/>
                  </a:moveTo>
                  <a:lnTo>
                    <a:pt x="18898" y="903"/>
                  </a:lnTo>
                  <a:lnTo>
                    <a:pt x="18902" y="874"/>
                  </a:lnTo>
                  <a:lnTo>
                    <a:pt x="18919" y="886"/>
                  </a:lnTo>
                  <a:lnTo>
                    <a:pt x="18902" y="907"/>
                  </a:lnTo>
                  <a:lnTo>
                    <a:pt x="18902" y="907"/>
                  </a:lnTo>
                  <a:lnTo>
                    <a:pt x="18902" y="907"/>
                  </a:lnTo>
                  <a:close/>
                  <a:moveTo>
                    <a:pt x="18898" y="886"/>
                  </a:moveTo>
                  <a:lnTo>
                    <a:pt x="18872" y="886"/>
                  </a:lnTo>
                  <a:lnTo>
                    <a:pt x="18902" y="886"/>
                  </a:lnTo>
                  <a:lnTo>
                    <a:pt x="18898" y="886"/>
                  </a:lnTo>
                  <a:lnTo>
                    <a:pt x="18898" y="886"/>
                  </a:lnTo>
                  <a:lnTo>
                    <a:pt x="18898" y="886"/>
                  </a:lnTo>
                  <a:close/>
                  <a:moveTo>
                    <a:pt x="18872" y="919"/>
                  </a:moveTo>
                  <a:lnTo>
                    <a:pt x="18796" y="903"/>
                  </a:lnTo>
                  <a:lnTo>
                    <a:pt x="18806" y="886"/>
                  </a:lnTo>
                  <a:lnTo>
                    <a:pt x="18898" y="891"/>
                  </a:lnTo>
                  <a:lnTo>
                    <a:pt x="18886" y="907"/>
                  </a:lnTo>
                  <a:lnTo>
                    <a:pt x="18886" y="891"/>
                  </a:lnTo>
                  <a:lnTo>
                    <a:pt x="18872" y="891"/>
                  </a:lnTo>
                  <a:lnTo>
                    <a:pt x="18872" y="903"/>
                  </a:lnTo>
                  <a:lnTo>
                    <a:pt x="18872" y="907"/>
                  </a:lnTo>
                  <a:lnTo>
                    <a:pt x="18872" y="919"/>
                  </a:lnTo>
                  <a:lnTo>
                    <a:pt x="18872" y="919"/>
                  </a:lnTo>
                  <a:lnTo>
                    <a:pt x="18872" y="919"/>
                  </a:lnTo>
                  <a:close/>
                  <a:moveTo>
                    <a:pt x="18758" y="891"/>
                  </a:moveTo>
                  <a:lnTo>
                    <a:pt x="18780" y="891"/>
                  </a:lnTo>
                  <a:lnTo>
                    <a:pt x="18763" y="903"/>
                  </a:lnTo>
                  <a:lnTo>
                    <a:pt x="18735" y="903"/>
                  </a:lnTo>
                  <a:lnTo>
                    <a:pt x="18763" y="903"/>
                  </a:lnTo>
                  <a:lnTo>
                    <a:pt x="18758" y="891"/>
                  </a:lnTo>
                  <a:lnTo>
                    <a:pt x="18758" y="891"/>
                  </a:lnTo>
                  <a:lnTo>
                    <a:pt x="18758" y="891"/>
                  </a:lnTo>
                  <a:close/>
                  <a:moveTo>
                    <a:pt x="18780" y="903"/>
                  </a:moveTo>
                  <a:lnTo>
                    <a:pt x="18789" y="907"/>
                  </a:lnTo>
                  <a:lnTo>
                    <a:pt x="18780" y="907"/>
                  </a:lnTo>
                  <a:lnTo>
                    <a:pt x="18780" y="903"/>
                  </a:lnTo>
                  <a:lnTo>
                    <a:pt x="18780" y="903"/>
                  </a:lnTo>
                  <a:lnTo>
                    <a:pt x="18780" y="903"/>
                  </a:lnTo>
                  <a:close/>
                  <a:moveTo>
                    <a:pt x="22105" y="1108"/>
                  </a:moveTo>
                  <a:lnTo>
                    <a:pt x="22072" y="1087"/>
                  </a:lnTo>
                  <a:lnTo>
                    <a:pt x="22098" y="1087"/>
                  </a:lnTo>
                  <a:lnTo>
                    <a:pt x="22089" y="1075"/>
                  </a:lnTo>
                  <a:lnTo>
                    <a:pt x="21938" y="1096"/>
                  </a:lnTo>
                  <a:lnTo>
                    <a:pt x="21909" y="1087"/>
                  </a:lnTo>
                  <a:lnTo>
                    <a:pt x="21900" y="1087"/>
                  </a:lnTo>
                  <a:lnTo>
                    <a:pt x="21905" y="1096"/>
                  </a:lnTo>
                  <a:lnTo>
                    <a:pt x="21900" y="1113"/>
                  </a:lnTo>
                  <a:lnTo>
                    <a:pt x="21867" y="1125"/>
                  </a:lnTo>
                  <a:lnTo>
                    <a:pt x="21791" y="1096"/>
                  </a:lnTo>
                  <a:lnTo>
                    <a:pt x="21782" y="1087"/>
                  </a:lnTo>
                  <a:lnTo>
                    <a:pt x="21737" y="1058"/>
                  </a:lnTo>
                  <a:lnTo>
                    <a:pt x="21711" y="1030"/>
                  </a:lnTo>
                  <a:lnTo>
                    <a:pt x="21749" y="1030"/>
                  </a:lnTo>
                  <a:lnTo>
                    <a:pt x="21749" y="1018"/>
                  </a:lnTo>
                  <a:lnTo>
                    <a:pt x="21737" y="1018"/>
                  </a:lnTo>
                  <a:lnTo>
                    <a:pt x="21744" y="985"/>
                  </a:lnTo>
                  <a:lnTo>
                    <a:pt x="21720" y="985"/>
                  </a:lnTo>
                  <a:lnTo>
                    <a:pt x="21737" y="981"/>
                  </a:lnTo>
                  <a:lnTo>
                    <a:pt x="21728" y="976"/>
                  </a:lnTo>
                  <a:lnTo>
                    <a:pt x="21737" y="964"/>
                  </a:lnTo>
                  <a:lnTo>
                    <a:pt x="21775" y="964"/>
                  </a:lnTo>
                  <a:lnTo>
                    <a:pt x="21749" y="943"/>
                  </a:lnTo>
                  <a:lnTo>
                    <a:pt x="21820" y="907"/>
                  </a:lnTo>
                  <a:lnTo>
                    <a:pt x="21829" y="924"/>
                  </a:lnTo>
                  <a:lnTo>
                    <a:pt x="21829" y="903"/>
                  </a:lnTo>
                  <a:lnTo>
                    <a:pt x="21850" y="903"/>
                  </a:lnTo>
                  <a:lnTo>
                    <a:pt x="21872" y="919"/>
                  </a:lnTo>
                  <a:lnTo>
                    <a:pt x="21921" y="931"/>
                  </a:lnTo>
                  <a:lnTo>
                    <a:pt x="21926" y="943"/>
                  </a:lnTo>
                  <a:lnTo>
                    <a:pt x="21921" y="947"/>
                  </a:lnTo>
                  <a:lnTo>
                    <a:pt x="21926" y="959"/>
                  </a:lnTo>
                  <a:lnTo>
                    <a:pt x="21964" y="964"/>
                  </a:lnTo>
                  <a:lnTo>
                    <a:pt x="21964" y="981"/>
                  </a:lnTo>
                  <a:lnTo>
                    <a:pt x="22009" y="981"/>
                  </a:lnTo>
                  <a:lnTo>
                    <a:pt x="21997" y="976"/>
                  </a:lnTo>
                  <a:lnTo>
                    <a:pt x="22009" y="924"/>
                  </a:lnTo>
                  <a:lnTo>
                    <a:pt x="22046" y="931"/>
                  </a:lnTo>
                  <a:lnTo>
                    <a:pt x="22030" y="903"/>
                  </a:lnTo>
                  <a:lnTo>
                    <a:pt x="22115" y="947"/>
                  </a:lnTo>
                  <a:lnTo>
                    <a:pt x="22207" y="959"/>
                  </a:lnTo>
                  <a:lnTo>
                    <a:pt x="22316" y="1002"/>
                  </a:lnTo>
                  <a:lnTo>
                    <a:pt x="22266" y="1014"/>
                  </a:lnTo>
                  <a:lnTo>
                    <a:pt x="22261" y="1030"/>
                  </a:lnTo>
                  <a:lnTo>
                    <a:pt x="22283" y="1035"/>
                  </a:lnTo>
                  <a:lnTo>
                    <a:pt x="22245" y="1070"/>
                  </a:lnTo>
                  <a:lnTo>
                    <a:pt x="22212" y="1075"/>
                  </a:lnTo>
                  <a:lnTo>
                    <a:pt x="22136" y="1058"/>
                  </a:lnTo>
                  <a:lnTo>
                    <a:pt x="22105" y="1030"/>
                  </a:lnTo>
                  <a:lnTo>
                    <a:pt x="22115" y="1014"/>
                  </a:lnTo>
                  <a:lnTo>
                    <a:pt x="22143" y="985"/>
                  </a:lnTo>
                  <a:lnTo>
                    <a:pt x="22143" y="981"/>
                  </a:lnTo>
                  <a:lnTo>
                    <a:pt x="22105" y="976"/>
                  </a:lnTo>
                  <a:lnTo>
                    <a:pt x="22084" y="985"/>
                  </a:lnTo>
                  <a:lnTo>
                    <a:pt x="22084" y="1018"/>
                  </a:lnTo>
                  <a:lnTo>
                    <a:pt x="22115" y="1058"/>
                  </a:lnTo>
                  <a:lnTo>
                    <a:pt x="22191" y="1087"/>
                  </a:lnTo>
                  <a:lnTo>
                    <a:pt x="22122" y="1092"/>
                  </a:lnTo>
                  <a:lnTo>
                    <a:pt x="22105" y="1108"/>
                  </a:lnTo>
                  <a:lnTo>
                    <a:pt x="22105" y="1108"/>
                  </a:lnTo>
                  <a:lnTo>
                    <a:pt x="22105" y="1108"/>
                  </a:lnTo>
                  <a:close/>
                  <a:moveTo>
                    <a:pt x="22816" y="907"/>
                  </a:moveTo>
                  <a:lnTo>
                    <a:pt x="22807" y="907"/>
                  </a:lnTo>
                  <a:lnTo>
                    <a:pt x="22833" y="907"/>
                  </a:lnTo>
                  <a:lnTo>
                    <a:pt x="22816" y="907"/>
                  </a:lnTo>
                  <a:lnTo>
                    <a:pt x="22816" y="907"/>
                  </a:lnTo>
                  <a:lnTo>
                    <a:pt x="22816" y="907"/>
                  </a:lnTo>
                  <a:close/>
                  <a:moveTo>
                    <a:pt x="16316" y="907"/>
                  </a:moveTo>
                  <a:lnTo>
                    <a:pt x="16361" y="903"/>
                  </a:lnTo>
                  <a:lnTo>
                    <a:pt x="16311" y="919"/>
                  </a:lnTo>
                  <a:lnTo>
                    <a:pt x="16316" y="907"/>
                  </a:lnTo>
                  <a:lnTo>
                    <a:pt x="16316" y="907"/>
                  </a:lnTo>
                  <a:lnTo>
                    <a:pt x="16316" y="907"/>
                  </a:lnTo>
                  <a:close/>
                  <a:moveTo>
                    <a:pt x="21997" y="924"/>
                  </a:moveTo>
                  <a:lnTo>
                    <a:pt x="21992" y="919"/>
                  </a:lnTo>
                  <a:lnTo>
                    <a:pt x="21997" y="907"/>
                  </a:lnTo>
                  <a:lnTo>
                    <a:pt x="22013" y="919"/>
                  </a:lnTo>
                  <a:lnTo>
                    <a:pt x="21997" y="924"/>
                  </a:lnTo>
                  <a:lnTo>
                    <a:pt x="21997" y="924"/>
                  </a:lnTo>
                  <a:lnTo>
                    <a:pt x="21997" y="924"/>
                  </a:lnTo>
                  <a:close/>
                  <a:moveTo>
                    <a:pt x="17932" y="943"/>
                  </a:moveTo>
                  <a:lnTo>
                    <a:pt x="17889" y="943"/>
                  </a:lnTo>
                  <a:lnTo>
                    <a:pt x="17953" y="943"/>
                  </a:lnTo>
                  <a:lnTo>
                    <a:pt x="17932" y="943"/>
                  </a:lnTo>
                  <a:lnTo>
                    <a:pt x="17932" y="943"/>
                  </a:lnTo>
                  <a:lnTo>
                    <a:pt x="17932" y="943"/>
                  </a:lnTo>
                  <a:close/>
                  <a:moveTo>
                    <a:pt x="16240" y="943"/>
                  </a:moveTo>
                  <a:lnTo>
                    <a:pt x="16273" y="931"/>
                  </a:lnTo>
                  <a:lnTo>
                    <a:pt x="16235" y="947"/>
                  </a:lnTo>
                  <a:lnTo>
                    <a:pt x="16240" y="943"/>
                  </a:lnTo>
                  <a:lnTo>
                    <a:pt x="16240" y="943"/>
                  </a:lnTo>
                  <a:lnTo>
                    <a:pt x="16240" y="943"/>
                  </a:lnTo>
                  <a:close/>
                  <a:moveTo>
                    <a:pt x="17839" y="943"/>
                  </a:moveTo>
                  <a:lnTo>
                    <a:pt x="17889" y="947"/>
                  </a:lnTo>
                  <a:lnTo>
                    <a:pt x="17835" y="943"/>
                  </a:lnTo>
                  <a:lnTo>
                    <a:pt x="17839" y="943"/>
                  </a:lnTo>
                  <a:lnTo>
                    <a:pt x="17839" y="943"/>
                  </a:lnTo>
                  <a:lnTo>
                    <a:pt x="17839" y="943"/>
                  </a:lnTo>
                  <a:close/>
                  <a:moveTo>
                    <a:pt x="16257" y="947"/>
                  </a:moveTo>
                  <a:lnTo>
                    <a:pt x="16273" y="943"/>
                  </a:lnTo>
                  <a:lnTo>
                    <a:pt x="16252" y="947"/>
                  </a:lnTo>
                  <a:lnTo>
                    <a:pt x="16257" y="947"/>
                  </a:lnTo>
                  <a:lnTo>
                    <a:pt x="16257" y="947"/>
                  </a:lnTo>
                  <a:lnTo>
                    <a:pt x="16257" y="947"/>
                  </a:lnTo>
                  <a:close/>
                  <a:moveTo>
                    <a:pt x="21614" y="1018"/>
                  </a:moveTo>
                  <a:lnTo>
                    <a:pt x="21631" y="997"/>
                  </a:lnTo>
                  <a:lnTo>
                    <a:pt x="21619" y="981"/>
                  </a:lnTo>
                  <a:lnTo>
                    <a:pt x="21635" y="959"/>
                  </a:lnTo>
                  <a:lnTo>
                    <a:pt x="21640" y="981"/>
                  </a:lnTo>
                  <a:lnTo>
                    <a:pt x="21668" y="985"/>
                  </a:lnTo>
                  <a:lnTo>
                    <a:pt x="21652" y="1002"/>
                  </a:lnTo>
                  <a:lnTo>
                    <a:pt x="21657" y="1014"/>
                  </a:lnTo>
                  <a:lnTo>
                    <a:pt x="21652" y="1018"/>
                  </a:lnTo>
                  <a:lnTo>
                    <a:pt x="21614" y="1018"/>
                  </a:lnTo>
                  <a:lnTo>
                    <a:pt x="21614" y="1018"/>
                  </a:lnTo>
                  <a:lnTo>
                    <a:pt x="21614" y="1018"/>
                  </a:lnTo>
                  <a:close/>
                  <a:moveTo>
                    <a:pt x="22391" y="985"/>
                  </a:moveTo>
                  <a:lnTo>
                    <a:pt x="22408" y="1002"/>
                  </a:lnTo>
                  <a:lnTo>
                    <a:pt x="22396" y="1014"/>
                  </a:lnTo>
                  <a:lnTo>
                    <a:pt x="22424" y="1030"/>
                  </a:lnTo>
                  <a:lnTo>
                    <a:pt x="22450" y="1030"/>
                  </a:lnTo>
                  <a:lnTo>
                    <a:pt x="22439" y="1030"/>
                  </a:lnTo>
                  <a:lnTo>
                    <a:pt x="22450" y="1014"/>
                  </a:lnTo>
                  <a:lnTo>
                    <a:pt x="22521" y="1018"/>
                  </a:lnTo>
                  <a:lnTo>
                    <a:pt x="22538" y="1018"/>
                  </a:lnTo>
                  <a:lnTo>
                    <a:pt x="22531" y="1035"/>
                  </a:lnTo>
                  <a:lnTo>
                    <a:pt x="22538" y="1042"/>
                  </a:lnTo>
                  <a:lnTo>
                    <a:pt x="22590" y="1035"/>
                  </a:lnTo>
                  <a:lnTo>
                    <a:pt x="22644" y="1042"/>
                  </a:lnTo>
                  <a:lnTo>
                    <a:pt x="22665" y="1070"/>
                  </a:lnTo>
                  <a:lnTo>
                    <a:pt x="22698" y="1058"/>
                  </a:lnTo>
                  <a:lnTo>
                    <a:pt x="22682" y="1075"/>
                  </a:lnTo>
                  <a:lnTo>
                    <a:pt x="22677" y="1092"/>
                  </a:lnTo>
                  <a:lnTo>
                    <a:pt x="22613" y="1113"/>
                  </a:lnTo>
                  <a:lnTo>
                    <a:pt x="22514" y="1108"/>
                  </a:lnTo>
                  <a:lnTo>
                    <a:pt x="22358" y="1042"/>
                  </a:lnTo>
                  <a:lnTo>
                    <a:pt x="22387" y="997"/>
                  </a:lnTo>
                  <a:lnTo>
                    <a:pt x="22391" y="985"/>
                  </a:lnTo>
                  <a:lnTo>
                    <a:pt x="22391" y="985"/>
                  </a:lnTo>
                  <a:lnTo>
                    <a:pt x="22391" y="985"/>
                  </a:lnTo>
                  <a:close/>
                  <a:moveTo>
                    <a:pt x="17877" y="1002"/>
                  </a:moveTo>
                  <a:lnTo>
                    <a:pt x="17872" y="1014"/>
                  </a:lnTo>
                  <a:lnTo>
                    <a:pt x="17889" y="1030"/>
                  </a:lnTo>
                  <a:lnTo>
                    <a:pt x="17872" y="1030"/>
                  </a:lnTo>
                  <a:lnTo>
                    <a:pt x="17872" y="1051"/>
                  </a:lnTo>
                  <a:lnTo>
                    <a:pt x="17856" y="1042"/>
                  </a:lnTo>
                  <a:lnTo>
                    <a:pt x="17856" y="1035"/>
                  </a:lnTo>
                  <a:lnTo>
                    <a:pt x="17844" y="1035"/>
                  </a:lnTo>
                  <a:lnTo>
                    <a:pt x="17835" y="1030"/>
                  </a:lnTo>
                  <a:lnTo>
                    <a:pt x="17877" y="1002"/>
                  </a:lnTo>
                  <a:lnTo>
                    <a:pt x="17877" y="1002"/>
                  </a:lnTo>
                  <a:lnTo>
                    <a:pt x="17877" y="1002"/>
                  </a:lnTo>
                  <a:close/>
                  <a:moveTo>
                    <a:pt x="18217" y="1075"/>
                  </a:moveTo>
                  <a:lnTo>
                    <a:pt x="18222" y="1087"/>
                  </a:lnTo>
                  <a:lnTo>
                    <a:pt x="18196" y="1092"/>
                  </a:lnTo>
                  <a:lnTo>
                    <a:pt x="18201" y="1096"/>
                  </a:lnTo>
                  <a:lnTo>
                    <a:pt x="18163" y="1092"/>
                  </a:lnTo>
                  <a:lnTo>
                    <a:pt x="18217" y="1075"/>
                  </a:lnTo>
                  <a:lnTo>
                    <a:pt x="18217" y="1075"/>
                  </a:lnTo>
                  <a:lnTo>
                    <a:pt x="18217" y="1075"/>
                  </a:lnTo>
                  <a:close/>
                  <a:moveTo>
                    <a:pt x="18109" y="1108"/>
                  </a:moveTo>
                  <a:lnTo>
                    <a:pt x="18125" y="1113"/>
                  </a:lnTo>
                  <a:lnTo>
                    <a:pt x="18087" y="1113"/>
                  </a:lnTo>
                  <a:lnTo>
                    <a:pt x="18109" y="1108"/>
                  </a:lnTo>
                  <a:lnTo>
                    <a:pt x="18109" y="1108"/>
                  </a:lnTo>
                  <a:lnTo>
                    <a:pt x="18109" y="1108"/>
                  </a:lnTo>
                  <a:close/>
                  <a:moveTo>
                    <a:pt x="17672" y="1129"/>
                  </a:moveTo>
                  <a:lnTo>
                    <a:pt x="17700" y="1129"/>
                  </a:lnTo>
                  <a:lnTo>
                    <a:pt x="17693" y="1146"/>
                  </a:lnTo>
                  <a:lnTo>
                    <a:pt x="17672" y="1129"/>
                  </a:lnTo>
                  <a:lnTo>
                    <a:pt x="17672" y="1129"/>
                  </a:lnTo>
                  <a:lnTo>
                    <a:pt x="17672" y="1129"/>
                  </a:lnTo>
                  <a:close/>
                  <a:moveTo>
                    <a:pt x="18125" y="1141"/>
                  </a:moveTo>
                  <a:lnTo>
                    <a:pt x="18104" y="1153"/>
                  </a:lnTo>
                  <a:lnTo>
                    <a:pt x="18087" y="1146"/>
                  </a:lnTo>
                  <a:lnTo>
                    <a:pt x="18125" y="1141"/>
                  </a:lnTo>
                  <a:lnTo>
                    <a:pt x="18125" y="1141"/>
                  </a:lnTo>
                  <a:lnTo>
                    <a:pt x="18125" y="1141"/>
                  </a:lnTo>
                  <a:close/>
                  <a:moveTo>
                    <a:pt x="18142" y="1153"/>
                  </a:moveTo>
                  <a:lnTo>
                    <a:pt x="18125" y="1153"/>
                  </a:lnTo>
                  <a:lnTo>
                    <a:pt x="18130" y="1141"/>
                  </a:lnTo>
                  <a:lnTo>
                    <a:pt x="18163" y="1146"/>
                  </a:lnTo>
                  <a:lnTo>
                    <a:pt x="18142" y="1153"/>
                  </a:lnTo>
                  <a:lnTo>
                    <a:pt x="18142" y="1153"/>
                  </a:lnTo>
                  <a:lnTo>
                    <a:pt x="18142" y="1153"/>
                  </a:lnTo>
                  <a:close/>
                  <a:moveTo>
                    <a:pt x="20020" y="1207"/>
                  </a:moveTo>
                  <a:lnTo>
                    <a:pt x="19982" y="1203"/>
                  </a:lnTo>
                  <a:lnTo>
                    <a:pt x="19930" y="1170"/>
                  </a:lnTo>
                  <a:lnTo>
                    <a:pt x="19961" y="1170"/>
                  </a:lnTo>
                  <a:lnTo>
                    <a:pt x="19977" y="1141"/>
                  </a:lnTo>
                  <a:lnTo>
                    <a:pt x="20069" y="1162"/>
                  </a:lnTo>
                  <a:lnTo>
                    <a:pt x="20053" y="1186"/>
                  </a:lnTo>
                  <a:lnTo>
                    <a:pt x="20020" y="1207"/>
                  </a:lnTo>
                  <a:lnTo>
                    <a:pt x="20020" y="1207"/>
                  </a:lnTo>
                  <a:lnTo>
                    <a:pt x="20020" y="1207"/>
                  </a:lnTo>
                  <a:close/>
                  <a:moveTo>
                    <a:pt x="18054" y="1146"/>
                  </a:moveTo>
                  <a:lnTo>
                    <a:pt x="18071" y="1153"/>
                  </a:lnTo>
                  <a:lnTo>
                    <a:pt x="18050" y="1153"/>
                  </a:lnTo>
                  <a:lnTo>
                    <a:pt x="18054" y="1162"/>
                  </a:lnTo>
                  <a:lnTo>
                    <a:pt x="18033" y="1153"/>
                  </a:lnTo>
                  <a:lnTo>
                    <a:pt x="18054" y="1146"/>
                  </a:lnTo>
                  <a:lnTo>
                    <a:pt x="18054" y="1146"/>
                  </a:lnTo>
                  <a:lnTo>
                    <a:pt x="18054" y="1146"/>
                  </a:lnTo>
                  <a:close/>
                  <a:moveTo>
                    <a:pt x="20246" y="1179"/>
                  </a:moveTo>
                  <a:lnTo>
                    <a:pt x="20246" y="1162"/>
                  </a:lnTo>
                  <a:lnTo>
                    <a:pt x="20263" y="1179"/>
                  </a:lnTo>
                  <a:lnTo>
                    <a:pt x="20246" y="1179"/>
                  </a:lnTo>
                  <a:lnTo>
                    <a:pt x="20246" y="1179"/>
                  </a:lnTo>
                  <a:lnTo>
                    <a:pt x="20246" y="1179"/>
                  </a:lnTo>
                  <a:close/>
                  <a:moveTo>
                    <a:pt x="21964" y="1236"/>
                  </a:moveTo>
                  <a:lnTo>
                    <a:pt x="21942" y="1219"/>
                  </a:lnTo>
                  <a:lnTo>
                    <a:pt x="21942" y="1195"/>
                  </a:lnTo>
                  <a:lnTo>
                    <a:pt x="21980" y="1179"/>
                  </a:lnTo>
                  <a:lnTo>
                    <a:pt x="22013" y="1195"/>
                  </a:lnTo>
                  <a:lnTo>
                    <a:pt x="22009" y="1219"/>
                  </a:lnTo>
                  <a:lnTo>
                    <a:pt x="21964" y="1236"/>
                  </a:lnTo>
                  <a:lnTo>
                    <a:pt x="21964" y="1236"/>
                  </a:lnTo>
                  <a:lnTo>
                    <a:pt x="21964" y="1236"/>
                  </a:lnTo>
                  <a:close/>
                  <a:moveTo>
                    <a:pt x="21614" y="1186"/>
                  </a:moveTo>
                  <a:lnTo>
                    <a:pt x="21657" y="1207"/>
                  </a:lnTo>
                  <a:lnTo>
                    <a:pt x="21673" y="1224"/>
                  </a:lnTo>
                  <a:lnTo>
                    <a:pt x="21657" y="1236"/>
                  </a:lnTo>
                  <a:lnTo>
                    <a:pt x="21614" y="1195"/>
                  </a:lnTo>
                  <a:lnTo>
                    <a:pt x="21614" y="1186"/>
                  </a:lnTo>
                  <a:lnTo>
                    <a:pt x="21614" y="1186"/>
                  </a:lnTo>
                  <a:lnTo>
                    <a:pt x="21614" y="1186"/>
                  </a:lnTo>
                  <a:close/>
                  <a:moveTo>
                    <a:pt x="18125" y="1195"/>
                  </a:moveTo>
                  <a:lnTo>
                    <a:pt x="18109" y="1203"/>
                  </a:lnTo>
                  <a:lnTo>
                    <a:pt x="18116" y="1195"/>
                  </a:lnTo>
                  <a:lnTo>
                    <a:pt x="18104" y="1195"/>
                  </a:lnTo>
                  <a:lnTo>
                    <a:pt x="18125" y="1195"/>
                  </a:lnTo>
                  <a:lnTo>
                    <a:pt x="18125" y="1195"/>
                  </a:lnTo>
                  <a:lnTo>
                    <a:pt x="18125" y="1195"/>
                  </a:lnTo>
                  <a:close/>
                  <a:moveTo>
                    <a:pt x="17910" y="1195"/>
                  </a:moveTo>
                  <a:lnTo>
                    <a:pt x="17915" y="1203"/>
                  </a:lnTo>
                  <a:lnTo>
                    <a:pt x="17889" y="1203"/>
                  </a:lnTo>
                  <a:lnTo>
                    <a:pt x="17910" y="1195"/>
                  </a:lnTo>
                  <a:lnTo>
                    <a:pt x="17910" y="1195"/>
                  </a:lnTo>
                  <a:lnTo>
                    <a:pt x="17910" y="1195"/>
                  </a:lnTo>
                  <a:close/>
                  <a:moveTo>
                    <a:pt x="17927" y="1207"/>
                  </a:moveTo>
                  <a:lnTo>
                    <a:pt x="17948" y="1195"/>
                  </a:lnTo>
                  <a:lnTo>
                    <a:pt x="17979" y="1207"/>
                  </a:lnTo>
                  <a:lnTo>
                    <a:pt x="17927" y="1207"/>
                  </a:lnTo>
                  <a:lnTo>
                    <a:pt x="17927" y="1207"/>
                  </a:lnTo>
                  <a:lnTo>
                    <a:pt x="17927" y="1207"/>
                  </a:lnTo>
                  <a:close/>
                  <a:moveTo>
                    <a:pt x="18002" y="1219"/>
                  </a:moveTo>
                  <a:lnTo>
                    <a:pt x="18033" y="1207"/>
                  </a:lnTo>
                  <a:lnTo>
                    <a:pt x="18033" y="1224"/>
                  </a:lnTo>
                  <a:lnTo>
                    <a:pt x="18002" y="1219"/>
                  </a:lnTo>
                  <a:lnTo>
                    <a:pt x="18002" y="1219"/>
                  </a:lnTo>
                  <a:lnTo>
                    <a:pt x="18002" y="1219"/>
                  </a:lnTo>
                  <a:close/>
                  <a:moveTo>
                    <a:pt x="20846" y="1240"/>
                  </a:moveTo>
                  <a:lnTo>
                    <a:pt x="20830" y="1236"/>
                  </a:lnTo>
                  <a:lnTo>
                    <a:pt x="20858" y="1236"/>
                  </a:lnTo>
                  <a:lnTo>
                    <a:pt x="20846" y="1240"/>
                  </a:lnTo>
                  <a:lnTo>
                    <a:pt x="20846" y="1240"/>
                  </a:lnTo>
                  <a:lnTo>
                    <a:pt x="20846" y="1240"/>
                  </a:lnTo>
                  <a:close/>
                  <a:moveTo>
                    <a:pt x="22013" y="1236"/>
                  </a:moveTo>
                  <a:lnTo>
                    <a:pt x="22072" y="1236"/>
                  </a:lnTo>
                  <a:lnTo>
                    <a:pt x="22115" y="1240"/>
                  </a:lnTo>
                  <a:lnTo>
                    <a:pt x="22174" y="1290"/>
                  </a:lnTo>
                  <a:lnTo>
                    <a:pt x="22181" y="1297"/>
                  </a:lnTo>
                  <a:lnTo>
                    <a:pt x="22174" y="1307"/>
                  </a:lnTo>
                  <a:lnTo>
                    <a:pt x="22181" y="1330"/>
                  </a:lnTo>
                  <a:lnTo>
                    <a:pt x="22098" y="1318"/>
                  </a:lnTo>
                  <a:lnTo>
                    <a:pt x="21992" y="1297"/>
                  </a:lnTo>
                  <a:lnTo>
                    <a:pt x="21926" y="1314"/>
                  </a:lnTo>
                  <a:lnTo>
                    <a:pt x="21909" y="1307"/>
                  </a:lnTo>
                  <a:lnTo>
                    <a:pt x="21964" y="1290"/>
                  </a:lnTo>
                  <a:lnTo>
                    <a:pt x="22013" y="1236"/>
                  </a:lnTo>
                  <a:lnTo>
                    <a:pt x="22013" y="1236"/>
                  </a:lnTo>
                  <a:lnTo>
                    <a:pt x="22013" y="1236"/>
                  </a:lnTo>
                  <a:close/>
                  <a:moveTo>
                    <a:pt x="20776" y="1330"/>
                  </a:moveTo>
                  <a:lnTo>
                    <a:pt x="20754" y="1307"/>
                  </a:lnTo>
                  <a:lnTo>
                    <a:pt x="20754" y="1281"/>
                  </a:lnTo>
                  <a:lnTo>
                    <a:pt x="20771" y="1264"/>
                  </a:lnTo>
                  <a:lnTo>
                    <a:pt x="20809" y="1273"/>
                  </a:lnTo>
                  <a:lnTo>
                    <a:pt x="20804" y="1252"/>
                  </a:lnTo>
                  <a:lnTo>
                    <a:pt x="20820" y="1264"/>
                  </a:lnTo>
                  <a:lnTo>
                    <a:pt x="20842" y="1252"/>
                  </a:lnTo>
                  <a:lnTo>
                    <a:pt x="20880" y="1273"/>
                  </a:lnTo>
                  <a:lnTo>
                    <a:pt x="20896" y="1264"/>
                  </a:lnTo>
                  <a:lnTo>
                    <a:pt x="20901" y="1281"/>
                  </a:lnTo>
                  <a:lnTo>
                    <a:pt x="20927" y="1281"/>
                  </a:lnTo>
                  <a:lnTo>
                    <a:pt x="20917" y="1297"/>
                  </a:lnTo>
                  <a:lnTo>
                    <a:pt x="20917" y="1307"/>
                  </a:lnTo>
                  <a:lnTo>
                    <a:pt x="20972" y="1281"/>
                  </a:lnTo>
                  <a:lnTo>
                    <a:pt x="20981" y="1290"/>
                  </a:lnTo>
                  <a:lnTo>
                    <a:pt x="20965" y="1307"/>
                  </a:lnTo>
                  <a:lnTo>
                    <a:pt x="20988" y="1307"/>
                  </a:lnTo>
                  <a:lnTo>
                    <a:pt x="21002" y="1347"/>
                  </a:lnTo>
                  <a:lnTo>
                    <a:pt x="20972" y="1375"/>
                  </a:lnTo>
                  <a:lnTo>
                    <a:pt x="20981" y="1384"/>
                  </a:lnTo>
                  <a:lnTo>
                    <a:pt x="20972" y="1425"/>
                  </a:lnTo>
                  <a:lnTo>
                    <a:pt x="20981" y="1441"/>
                  </a:lnTo>
                  <a:lnTo>
                    <a:pt x="20965" y="1458"/>
                  </a:lnTo>
                  <a:lnTo>
                    <a:pt x="20863" y="1401"/>
                  </a:lnTo>
                  <a:lnTo>
                    <a:pt x="20700" y="1363"/>
                  </a:lnTo>
                  <a:lnTo>
                    <a:pt x="20717" y="1351"/>
                  </a:lnTo>
                  <a:lnTo>
                    <a:pt x="20754" y="1368"/>
                  </a:lnTo>
                  <a:lnTo>
                    <a:pt x="20766" y="1363"/>
                  </a:lnTo>
                  <a:lnTo>
                    <a:pt x="20771" y="1335"/>
                  </a:lnTo>
                  <a:lnTo>
                    <a:pt x="20787" y="1330"/>
                  </a:lnTo>
                  <a:lnTo>
                    <a:pt x="20776" y="1330"/>
                  </a:lnTo>
                  <a:lnTo>
                    <a:pt x="20776" y="1330"/>
                  </a:lnTo>
                  <a:lnTo>
                    <a:pt x="20776" y="1330"/>
                  </a:lnTo>
                  <a:close/>
                  <a:moveTo>
                    <a:pt x="18213" y="1264"/>
                  </a:moveTo>
                  <a:lnTo>
                    <a:pt x="18201" y="1273"/>
                  </a:lnTo>
                  <a:lnTo>
                    <a:pt x="18168" y="1273"/>
                  </a:lnTo>
                  <a:lnTo>
                    <a:pt x="18213" y="1264"/>
                  </a:lnTo>
                  <a:lnTo>
                    <a:pt x="18213" y="1264"/>
                  </a:lnTo>
                  <a:lnTo>
                    <a:pt x="18213" y="1264"/>
                  </a:lnTo>
                  <a:close/>
                  <a:moveTo>
                    <a:pt x="17747" y="1290"/>
                  </a:moveTo>
                  <a:lnTo>
                    <a:pt x="17731" y="1281"/>
                  </a:lnTo>
                  <a:lnTo>
                    <a:pt x="17752" y="1281"/>
                  </a:lnTo>
                  <a:lnTo>
                    <a:pt x="17747" y="1290"/>
                  </a:lnTo>
                  <a:lnTo>
                    <a:pt x="17747" y="1290"/>
                  </a:lnTo>
                  <a:lnTo>
                    <a:pt x="17747" y="1290"/>
                  </a:lnTo>
                  <a:close/>
                  <a:moveTo>
                    <a:pt x="17402" y="1297"/>
                  </a:moveTo>
                  <a:lnTo>
                    <a:pt x="17412" y="1281"/>
                  </a:lnTo>
                  <a:lnTo>
                    <a:pt x="17457" y="1281"/>
                  </a:lnTo>
                  <a:lnTo>
                    <a:pt x="17440" y="1297"/>
                  </a:lnTo>
                  <a:lnTo>
                    <a:pt x="17407" y="1297"/>
                  </a:lnTo>
                  <a:lnTo>
                    <a:pt x="17412" y="1290"/>
                  </a:lnTo>
                  <a:lnTo>
                    <a:pt x="17402" y="1297"/>
                  </a:lnTo>
                  <a:lnTo>
                    <a:pt x="17402" y="1297"/>
                  </a:lnTo>
                  <a:lnTo>
                    <a:pt x="17402" y="1297"/>
                  </a:lnTo>
                  <a:close/>
                  <a:moveTo>
                    <a:pt x="21002" y="1347"/>
                  </a:moveTo>
                  <a:lnTo>
                    <a:pt x="21002" y="1335"/>
                  </a:lnTo>
                  <a:lnTo>
                    <a:pt x="20993" y="1318"/>
                  </a:lnTo>
                  <a:lnTo>
                    <a:pt x="20993" y="1307"/>
                  </a:lnTo>
                  <a:lnTo>
                    <a:pt x="21002" y="1297"/>
                  </a:lnTo>
                  <a:lnTo>
                    <a:pt x="21009" y="1307"/>
                  </a:lnTo>
                  <a:lnTo>
                    <a:pt x="21019" y="1290"/>
                  </a:lnTo>
                  <a:lnTo>
                    <a:pt x="21009" y="1290"/>
                  </a:lnTo>
                  <a:lnTo>
                    <a:pt x="21026" y="1281"/>
                  </a:lnTo>
                  <a:lnTo>
                    <a:pt x="21090" y="1290"/>
                  </a:lnTo>
                  <a:lnTo>
                    <a:pt x="21094" y="1307"/>
                  </a:lnTo>
                  <a:lnTo>
                    <a:pt x="21116" y="1314"/>
                  </a:lnTo>
                  <a:lnTo>
                    <a:pt x="21111" y="1318"/>
                  </a:lnTo>
                  <a:lnTo>
                    <a:pt x="21154" y="1335"/>
                  </a:lnTo>
                  <a:lnTo>
                    <a:pt x="21149" y="1351"/>
                  </a:lnTo>
                  <a:lnTo>
                    <a:pt x="21170" y="1347"/>
                  </a:lnTo>
                  <a:lnTo>
                    <a:pt x="21154" y="1363"/>
                  </a:lnTo>
                  <a:lnTo>
                    <a:pt x="21111" y="1368"/>
                  </a:lnTo>
                  <a:lnTo>
                    <a:pt x="21111" y="1384"/>
                  </a:lnTo>
                  <a:lnTo>
                    <a:pt x="20993" y="1425"/>
                  </a:lnTo>
                  <a:lnTo>
                    <a:pt x="20988" y="1429"/>
                  </a:lnTo>
                  <a:lnTo>
                    <a:pt x="20993" y="1441"/>
                  </a:lnTo>
                  <a:lnTo>
                    <a:pt x="20972" y="1425"/>
                  </a:lnTo>
                  <a:lnTo>
                    <a:pt x="20981" y="1401"/>
                  </a:lnTo>
                  <a:lnTo>
                    <a:pt x="20988" y="1384"/>
                  </a:lnTo>
                  <a:lnTo>
                    <a:pt x="20981" y="1368"/>
                  </a:lnTo>
                  <a:lnTo>
                    <a:pt x="21002" y="1347"/>
                  </a:lnTo>
                  <a:lnTo>
                    <a:pt x="21002" y="1347"/>
                  </a:lnTo>
                  <a:lnTo>
                    <a:pt x="21002" y="1347"/>
                  </a:lnTo>
                  <a:close/>
                  <a:moveTo>
                    <a:pt x="17013" y="1351"/>
                  </a:moveTo>
                  <a:lnTo>
                    <a:pt x="17029" y="1330"/>
                  </a:lnTo>
                  <a:lnTo>
                    <a:pt x="17024" y="1307"/>
                  </a:lnTo>
                  <a:lnTo>
                    <a:pt x="17062" y="1290"/>
                  </a:lnTo>
                  <a:lnTo>
                    <a:pt x="17117" y="1297"/>
                  </a:lnTo>
                  <a:lnTo>
                    <a:pt x="17088" y="1318"/>
                  </a:lnTo>
                  <a:lnTo>
                    <a:pt x="17133" y="1314"/>
                  </a:lnTo>
                  <a:lnTo>
                    <a:pt x="17143" y="1330"/>
                  </a:lnTo>
                  <a:lnTo>
                    <a:pt x="17050" y="1351"/>
                  </a:lnTo>
                  <a:lnTo>
                    <a:pt x="17013" y="1351"/>
                  </a:lnTo>
                  <a:lnTo>
                    <a:pt x="17013" y="1351"/>
                  </a:lnTo>
                  <a:lnTo>
                    <a:pt x="17013" y="1351"/>
                  </a:lnTo>
                  <a:close/>
                  <a:moveTo>
                    <a:pt x="16134" y="1684"/>
                  </a:moveTo>
                  <a:lnTo>
                    <a:pt x="16089" y="1680"/>
                  </a:lnTo>
                  <a:lnTo>
                    <a:pt x="16080" y="1668"/>
                  </a:lnTo>
                  <a:lnTo>
                    <a:pt x="16080" y="1663"/>
                  </a:lnTo>
                  <a:lnTo>
                    <a:pt x="16058" y="1668"/>
                  </a:lnTo>
                  <a:lnTo>
                    <a:pt x="16075" y="1668"/>
                  </a:lnTo>
                  <a:lnTo>
                    <a:pt x="16089" y="1684"/>
                  </a:lnTo>
                  <a:lnTo>
                    <a:pt x="16075" y="1684"/>
                  </a:lnTo>
                  <a:lnTo>
                    <a:pt x="16063" y="1684"/>
                  </a:lnTo>
                  <a:lnTo>
                    <a:pt x="16080" y="1684"/>
                  </a:lnTo>
                  <a:lnTo>
                    <a:pt x="16037" y="1668"/>
                  </a:lnTo>
                  <a:lnTo>
                    <a:pt x="16047" y="1684"/>
                  </a:lnTo>
                  <a:lnTo>
                    <a:pt x="16037" y="1684"/>
                  </a:lnTo>
                  <a:lnTo>
                    <a:pt x="16021" y="1680"/>
                  </a:lnTo>
                  <a:lnTo>
                    <a:pt x="16025" y="1668"/>
                  </a:lnTo>
                  <a:lnTo>
                    <a:pt x="16004" y="1663"/>
                  </a:lnTo>
                  <a:lnTo>
                    <a:pt x="15983" y="1684"/>
                  </a:lnTo>
                  <a:lnTo>
                    <a:pt x="15938" y="1656"/>
                  </a:lnTo>
                  <a:lnTo>
                    <a:pt x="15933" y="1663"/>
                  </a:lnTo>
                  <a:lnTo>
                    <a:pt x="15954" y="1668"/>
                  </a:lnTo>
                  <a:lnTo>
                    <a:pt x="15928" y="1656"/>
                  </a:lnTo>
                  <a:lnTo>
                    <a:pt x="15862" y="1656"/>
                  </a:lnTo>
                  <a:lnTo>
                    <a:pt x="15858" y="1647"/>
                  </a:lnTo>
                  <a:lnTo>
                    <a:pt x="15879" y="1647"/>
                  </a:lnTo>
                  <a:lnTo>
                    <a:pt x="15886" y="1640"/>
                  </a:lnTo>
                  <a:lnTo>
                    <a:pt x="15862" y="1614"/>
                  </a:lnTo>
                  <a:lnTo>
                    <a:pt x="15917" y="1607"/>
                  </a:lnTo>
                  <a:lnTo>
                    <a:pt x="15862" y="1602"/>
                  </a:lnTo>
                  <a:lnTo>
                    <a:pt x="15862" y="1590"/>
                  </a:lnTo>
                  <a:lnTo>
                    <a:pt x="15879" y="1573"/>
                  </a:lnTo>
                  <a:lnTo>
                    <a:pt x="15895" y="1569"/>
                  </a:lnTo>
                  <a:lnTo>
                    <a:pt x="15862" y="1590"/>
                  </a:lnTo>
                  <a:lnTo>
                    <a:pt x="15848" y="1569"/>
                  </a:lnTo>
                  <a:lnTo>
                    <a:pt x="15862" y="1557"/>
                  </a:lnTo>
                  <a:lnTo>
                    <a:pt x="15858" y="1552"/>
                  </a:lnTo>
                  <a:lnTo>
                    <a:pt x="15824" y="1573"/>
                  </a:lnTo>
                  <a:lnTo>
                    <a:pt x="15803" y="1557"/>
                  </a:lnTo>
                  <a:lnTo>
                    <a:pt x="15803" y="1552"/>
                  </a:lnTo>
                  <a:lnTo>
                    <a:pt x="15787" y="1569"/>
                  </a:lnTo>
                  <a:lnTo>
                    <a:pt x="15777" y="1552"/>
                  </a:lnTo>
                  <a:lnTo>
                    <a:pt x="15772" y="1557"/>
                  </a:lnTo>
                  <a:lnTo>
                    <a:pt x="15777" y="1557"/>
                  </a:lnTo>
                  <a:lnTo>
                    <a:pt x="15749" y="1569"/>
                  </a:lnTo>
                  <a:lnTo>
                    <a:pt x="15735" y="1552"/>
                  </a:lnTo>
                  <a:lnTo>
                    <a:pt x="15718" y="1512"/>
                  </a:lnTo>
                  <a:lnTo>
                    <a:pt x="15735" y="1491"/>
                  </a:lnTo>
                  <a:lnTo>
                    <a:pt x="15749" y="1474"/>
                  </a:lnTo>
                  <a:lnTo>
                    <a:pt x="15787" y="1491"/>
                  </a:lnTo>
                  <a:lnTo>
                    <a:pt x="15787" y="1462"/>
                  </a:lnTo>
                  <a:lnTo>
                    <a:pt x="15820" y="1446"/>
                  </a:lnTo>
                  <a:lnTo>
                    <a:pt x="15810" y="1429"/>
                  </a:lnTo>
                  <a:lnTo>
                    <a:pt x="15841" y="1418"/>
                  </a:lnTo>
                  <a:lnTo>
                    <a:pt x="15810" y="1418"/>
                  </a:lnTo>
                  <a:lnTo>
                    <a:pt x="15820" y="1408"/>
                  </a:lnTo>
                  <a:lnTo>
                    <a:pt x="15848" y="1408"/>
                  </a:lnTo>
                  <a:lnTo>
                    <a:pt x="15787" y="1392"/>
                  </a:lnTo>
                  <a:lnTo>
                    <a:pt x="15832" y="1368"/>
                  </a:lnTo>
                  <a:lnTo>
                    <a:pt x="15858" y="1375"/>
                  </a:lnTo>
                  <a:lnTo>
                    <a:pt x="15841" y="1363"/>
                  </a:lnTo>
                  <a:lnTo>
                    <a:pt x="15858" y="1363"/>
                  </a:lnTo>
                  <a:lnTo>
                    <a:pt x="15841" y="1347"/>
                  </a:lnTo>
                  <a:lnTo>
                    <a:pt x="15858" y="1330"/>
                  </a:lnTo>
                  <a:lnTo>
                    <a:pt x="15886" y="1314"/>
                  </a:lnTo>
                  <a:lnTo>
                    <a:pt x="15917" y="1318"/>
                  </a:lnTo>
                  <a:lnTo>
                    <a:pt x="15966" y="1297"/>
                  </a:lnTo>
                  <a:lnTo>
                    <a:pt x="16075" y="1330"/>
                  </a:lnTo>
                  <a:lnTo>
                    <a:pt x="16080" y="1335"/>
                  </a:lnTo>
                  <a:lnTo>
                    <a:pt x="16025" y="1351"/>
                  </a:lnTo>
                  <a:lnTo>
                    <a:pt x="16075" y="1351"/>
                  </a:lnTo>
                  <a:lnTo>
                    <a:pt x="16063" y="1363"/>
                  </a:lnTo>
                  <a:lnTo>
                    <a:pt x="16021" y="1363"/>
                  </a:lnTo>
                  <a:lnTo>
                    <a:pt x="16058" y="1363"/>
                  </a:lnTo>
                  <a:lnTo>
                    <a:pt x="16047" y="1384"/>
                  </a:lnTo>
                  <a:lnTo>
                    <a:pt x="16004" y="1384"/>
                  </a:lnTo>
                  <a:lnTo>
                    <a:pt x="16042" y="1401"/>
                  </a:lnTo>
                  <a:lnTo>
                    <a:pt x="16025" y="1408"/>
                  </a:lnTo>
                  <a:lnTo>
                    <a:pt x="16021" y="1425"/>
                  </a:lnTo>
                  <a:lnTo>
                    <a:pt x="15987" y="1418"/>
                  </a:lnTo>
                  <a:lnTo>
                    <a:pt x="16009" y="1425"/>
                  </a:lnTo>
                  <a:lnTo>
                    <a:pt x="15983" y="1429"/>
                  </a:lnTo>
                  <a:lnTo>
                    <a:pt x="16004" y="1429"/>
                  </a:lnTo>
                  <a:lnTo>
                    <a:pt x="16004" y="1458"/>
                  </a:lnTo>
                  <a:lnTo>
                    <a:pt x="16009" y="1474"/>
                  </a:lnTo>
                  <a:lnTo>
                    <a:pt x="15987" y="1503"/>
                  </a:lnTo>
                  <a:lnTo>
                    <a:pt x="16009" y="1512"/>
                  </a:lnTo>
                  <a:lnTo>
                    <a:pt x="16021" y="1545"/>
                  </a:lnTo>
                  <a:lnTo>
                    <a:pt x="16058" y="1602"/>
                  </a:lnTo>
                  <a:lnTo>
                    <a:pt x="16117" y="1647"/>
                  </a:lnTo>
                  <a:lnTo>
                    <a:pt x="16155" y="1663"/>
                  </a:lnTo>
                  <a:lnTo>
                    <a:pt x="16143" y="1680"/>
                  </a:lnTo>
                  <a:lnTo>
                    <a:pt x="16096" y="1668"/>
                  </a:lnTo>
                  <a:lnTo>
                    <a:pt x="16134" y="1684"/>
                  </a:lnTo>
                  <a:lnTo>
                    <a:pt x="16134" y="1684"/>
                  </a:lnTo>
                  <a:lnTo>
                    <a:pt x="16134" y="1684"/>
                  </a:lnTo>
                  <a:close/>
                  <a:moveTo>
                    <a:pt x="17105" y="1314"/>
                  </a:moveTo>
                  <a:lnTo>
                    <a:pt x="17121" y="1307"/>
                  </a:lnTo>
                  <a:lnTo>
                    <a:pt x="17105" y="1318"/>
                  </a:lnTo>
                  <a:lnTo>
                    <a:pt x="17105" y="1314"/>
                  </a:lnTo>
                  <a:lnTo>
                    <a:pt x="17105" y="1314"/>
                  </a:lnTo>
                  <a:lnTo>
                    <a:pt x="17105" y="1314"/>
                  </a:lnTo>
                  <a:close/>
                  <a:moveTo>
                    <a:pt x="17461" y="1335"/>
                  </a:moveTo>
                  <a:lnTo>
                    <a:pt x="17457" y="1330"/>
                  </a:lnTo>
                  <a:lnTo>
                    <a:pt x="17499" y="1335"/>
                  </a:lnTo>
                  <a:lnTo>
                    <a:pt x="17461" y="1335"/>
                  </a:lnTo>
                  <a:lnTo>
                    <a:pt x="17461" y="1335"/>
                  </a:lnTo>
                  <a:lnTo>
                    <a:pt x="17461" y="1335"/>
                  </a:lnTo>
                  <a:close/>
                  <a:moveTo>
                    <a:pt x="20535" y="1351"/>
                  </a:moveTo>
                  <a:lnTo>
                    <a:pt x="20506" y="1347"/>
                  </a:lnTo>
                  <a:lnTo>
                    <a:pt x="20523" y="1335"/>
                  </a:lnTo>
                  <a:lnTo>
                    <a:pt x="20549" y="1347"/>
                  </a:lnTo>
                  <a:lnTo>
                    <a:pt x="20535" y="1351"/>
                  </a:lnTo>
                  <a:lnTo>
                    <a:pt x="20535" y="1351"/>
                  </a:lnTo>
                  <a:lnTo>
                    <a:pt x="20535" y="1351"/>
                  </a:lnTo>
                  <a:close/>
                  <a:moveTo>
                    <a:pt x="17315" y="1351"/>
                  </a:moveTo>
                  <a:lnTo>
                    <a:pt x="17336" y="1335"/>
                  </a:lnTo>
                  <a:lnTo>
                    <a:pt x="17369" y="1351"/>
                  </a:lnTo>
                  <a:lnTo>
                    <a:pt x="17353" y="1347"/>
                  </a:lnTo>
                  <a:lnTo>
                    <a:pt x="17353" y="1375"/>
                  </a:lnTo>
                  <a:lnTo>
                    <a:pt x="17315" y="1351"/>
                  </a:lnTo>
                  <a:lnTo>
                    <a:pt x="17315" y="1351"/>
                  </a:lnTo>
                  <a:lnTo>
                    <a:pt x="17315" y="1351"/>
                  </a:lnTo>
                  <a:close/>
                  <a:moveTo>
                    <a:pt x="17629" y="1368"/>
                  </a:moveTo>
                  <a:lnTo>
                    <a:pt x="17672" y="1347"/>
                  </a:lnTo>
                  <a:lnTo>
                    <a:pt x="17693" y="1368"/>
                  </a:lnTo>
                  <a:lnTo>
                    <a:pt x="17693" y="1392"/>
                  </a:lnTo>
                  <a:lnTo>
                    <a:pt x="17683" y="1401"/>
                  </a:lnTo>
                  <a:lnTo>
                    <a:pt x="17629" y="1384"/>
                  </a:lnTo>
                  <a:lnTo>
                    <a:pt x="17629" y="1368"/>
                  </a:lnTo>
                  <a:lnTo>
                    <a:pt x="17629" y="1368"/>
                  </a:lnTo>
                  <a:lnTo>
                    <a:pt x="17629" y="1368"/>
                  </a:lnTo>
                  <a:close/>
                  <a:moveTo>
                    <a:pt x="20695" y="1368"/>
                  </a:moveTo>
                  <a:lnTo>
                    <a:pt x="20787" y="1392"/>
                  </a:lnTo>
                  <a:lnTo>
                    <a:pt x="20724" y="1384"/>
                  </a:lnTo>
                  <a:lnTo>
                    <a:pt x="20695" y="1368"/>
                  </a:lnTo>
                  <a:lnTo>
                    <a:pt x="20695" y="1368"/>
                  </a:lnTo>
                  <a:lnTo>
                    <a:pt x="20695" y="1368"/>
                  </a:lnTo>
                  <a:close/>
                  <a:moveTo>
                    <a:pt x="21170" y="1384"/>
                  </a:moveTo>
                  <a:lnTo>
                    <a:pt x="21111" y="1375"/>
                  </a:lnTo>
                  <a:lnTo>
                    <a:pt x="21149" y="1375"/>
                  </a:lnTo>
                  <a:lnTo>
                    <a:pt x="21182" y="1384"/>
                  </a:lnTo>
                  <a:lnTo>
                    <a:pt x="21170" y="1384"/>
                  </a:lnTo>
                  <a:lnTo>
                    <a:pt x="21170" y="1384"/>
                  </a:lnTo>
                  <a:lnTo>
                    <a:pt x="21170" y="1384"/>
                  </a:lnTo>
                  <a:close/>
                  <a:moveTo>
                    <a:pt x="21040" y="1408"/>
                  </a:moveTo>
                  <a:lnTo>
                    <a:pt x="21111" y="1384"/>
                  </a:lnTo>
                  <a:lnTo>
                    <a:pt x="21187" y="1401"/>
                  </a:lnTo>
                  <a:lnTo>
                    <a:pt x="21040" y="1408"/>
                  </a:lnTo>
                  <a:lnTo>
                    <a:pt x="21040" y="1408"/>
                  </a:lnTo>
                  <a:lnTo>
                    <a:pt x="21040" y="1408"/>
                  </a:lnTo>
                  <a:close/>
                  <a:moveTo>
                    <a:pt x="17223" y="1401"/>
                  </a:moveTo>
                  <a:lnTo>
                    <a:pt x="17239" y="1401"/>
                  </a:lnTo>
                  <a:lnTo>
                    <a:pt x="17239" y="1408"/>
                  </a:lnTo>
                  <a:lnTo>
                    <a:pt x="17223" y="1401"/>
                  </a:lnTo>
                  <a:lnTo>
                    <a:pt x="17223" y="1401"/>
                  </a:lnTo>
                  <a:lnTo>
                    <a:pt x="17223" y="1401"/>
                  </a:lnTo>
                  <a:close/>
                  <a:moveTo>
                    <a:pt x="21102" y="1408"/>
                  </a:moveTo>
                  <a:lnTo>
                    <a:pt x="21144" y="1401"/>
                  </a:lnTo>
                  <a:lnTo>
                    <a:pt x="21154" y="1418"/>
                  </a:lnTo>
                  <a:lnTo>
                    <a:pt x="21144" y="1425"/>
                  </a:lnTo>
                  <a:lnTo>
                    <a:pt x="21102" y="1408"/>
                  </a:lnTo>
                  <a:lnTo>
                    <a:pt x="21102" y="1408"/>
                  </a:lnTo>
                  <a:lnTo>
                    <a:pt x="21102" y="1408"/>
                  </a:lnTo>
                  <a:close/>
                  <a:moveTo>
                    <a:pt x="21002" y="1429"/>
                  </a:moveTo>
                  <a:lnTo>
                    <a:pt x="21002" y="1425"/>
                  </a:lnTo>
                  <a:lnTo>
                    <a:pt x="21078" y="1408"/>
                  </a:lnTo>
                  <a:lnTo>
                    <a:pt x="21144" y="1429"/>
                  </a:lnTo>
                  <a:lnTo>
                    <a:pt x="21182" y="1429"/>
                  </a:lnTo>
                  <a:lnTo>
                    <a:pt x="21198" y="1446"/>
                  </a:lnTo>
                  <a:lnTo>
                    <a:pt x="21187" y="1458"/>
                  </a:lnTo>
                  <a:lnTo>
                    <a:pt x="21203" y="1462"/>
                  </a:lnTo>
                  <a:lnTo>
                    <a:pt x="21182" y="1474"/>
                  </a:lnTo>
                  <a:lnTo>
                    <a:pt x="21198" y="1479"/>
                  </a:lnTo>
                  <a:lnTo>
                    <a:pt x="21187" y="1479"/>
                  </a:lnTo>
                  <a:lnTo>
                    <a:pt x="21149" y="1491"/>
                  </a:lnTo>
                  <a:lnTo>
                    <a:pt x="21064" y="1429"/>
                  </a:lnTo>
                  <a:lnTo>
                    <a:pt x="21002" y="1429"/>
                  </a:lnTo>
                  <a:lnTo>
                    <a:pt x="21002" y="1429"/>
                  </a:lnTo>
                  <a:lnTo>
                    <a:pt x="21002" y="1429"/>
                  </a:lnTo>
                  <a:close/>
                  <a:moveTo>
                    <a:pt x="17511" y="1446"/>
                  </a:moveTo>
                  <a:lnTo>
                    <a:pt x="17563" y="1408"/>
                  </a:lnTo>
                  <a:lnTo>
                    <a:pt x="17617" y="1425"/>
                  </a:lnTo>
                  <a:lnTo>
                    <a:pt x="17570" y="1458"/>
                  </a:lnTo>
                  <a:lnTo>
                    <a:pt x="17520" y="1458"/>
                  </a:lnTo>
                  <a:lnTo>
                    <a:pt x="17511" y="1446"/>
                  </a:lnTo>
                  <a:lnTo>
                    <a:pt x="17511" y="1446"/>
                  </a:lnTo>
                  <a:lnTo>
                    <a:pt x="17511" y="1446"/>
                  </a:lnTo>
                  <a:close/>
                  <a:moveTo>
                    <a:pt x="21791" y="1557"/>
                  </a:moveTo>
                  <a:lnTo>
                    <a:pt x="21775" y="1573"/>
                  </a:lnTo>
                  <a:lnTo>
                    <a:pt x="21720" y="1557"/>
                  </a:lnTo>
                  <a:lnTo>
                    <a:pt x="21775" y="1552"/>
                  </a:lnTo>
                  <a:lnTo>
                    <a:pt x="21791" y="1557"/>
                  </a:lnTo>
                  <a:lnTo>
                    <a:pt x="21791" y="1557"/>
                  </a:lnTo>
                  <a:lnTo>
                    <a:pt x="21791" y="1557"/>
                  </a:lnTo>
                  <a:close/>
                  <a:moveTo>
                    <a:pt x="15832" y="1630"/>
                  </a:moveTo>
                  <a:lnTo>
                    <a:pt x="15810" y="1602"/>
                  </a:lnTo>
                  <a:lnTo>
                    <a:pt x="15777" y="1585"/>
                  </a:lnTo>
                  <a:lnTo>
                    <a:pt x="15810" y="1573"/>
                  </a:lnTo>
                  <a:lnTo>
                    <a:pt x="15832" y="1590"/>
                  </a:lnTo>
                  <a:lnTo>
                    <a:pt x="15810" y="1573"/>
                  </a:lnTo>
                  <a:lnTo>
                    <a:pt x="15820" y="1590"/>
                  </a:lnTo>
                  <a:lnTo>
                    <a:pt x="15848" y="1590"/>
                  </a:lnTo>
                  <a:lnTo>
                    <a:pt x="15848" y="1607"/>
                  </a:lnTo>
                  <a:lnTo>
                    <a:pt x="15832" y="1614"/>
                  </a:lnTo>
                  <a:lnTo>
                    <a:pt x="15841" y="1630"/>
                  </a:lnTo>
                  <a:lnTo>
                    <a:pt x="15832" y="1630"/>
                  </a:lnTo>
                  <a:lnTo>
                    <a:pt x="15832" y="1630"/>
                  </a:lnTo>
                  <a:lnTo>
                    <a:pt x="15832" y="1630"/>
                  </a:lnTo>
                  <a:close/>
                  <a:moveTo>
                    <a:pt x="15848" y="1585"/>
                  </a:moveTo>
                  <a:lnTo>
                    <a:pt x="15841" y="1585"/>
                  </a:lnTo>
                  <a:lnTo>
                    <a:pt x="15858" y="1590"/>
                  </a:lnTo>
                  <a:lnTo>
                    <a:pt x="15848" y="1585"/>
                  </a:lnTo>
                  <a:lnTo>
                    <a:pt x="15848" y="1585"/>
                  </a:lnTo>
                  <a:lnTo>
                    <a:pt x="15848" y="1585"/>
                  </a:lnTo>
                  <a:close/>
                  <a:moveTo>
                    <a:pt x="23383" y="1656"/>
                  </a:moveTo>
                  <a:lnTo>
                    <a:pt x="23374" y="1647"/>
                  </a:lnTo>
                  <a:lnTo>
                    <a:pt x="23362" y="1640"/>
                  </a:lnTo>
                  <a:lnTo>
                    <a:pt x="23383" y="1656"/>
                  </a:lnTo>
                  <a:lnTo>
                    <a:pt x="23383" y="1656"/>
                  </a:lnTo>
                  <a:lnTo>
                    <a:pt x="23383" y="1656"/>
                  </a:lnTo>
                  <a:close/>
                  <a:moveTo>
                    <a:pt x="17941" y="1701"/>
                  </a:moveTo>
                  <a:lnTo>
                    <a:pt x="17948" y="1656"/>
                  </a:lnTo>
                  <a:lnTo>
                    <a:pt x="17953" y="1647"/>
                  </a:lnTo>
                  <a:lnTo>
                    <a:pt x="17969" y="1663"/>
                  </a:lnTo>
                  <a:lnTo>
                    <a:pt x="17953" y="1668"/>
                  </a:lnTo>
                  <a:lnTo>
                    <a:pt x="17953" y="1696"/>
                  </a:lnTo>
                  <a:lnTo>
                    <a:pt x="17941" y="1701"/>
                  </a:lnTo>
                  <a:lnTo>
                    <a:pt x="17941" y="1701"/>
                  </a:lnTo>
                  <a:lnTo>
                    <a:pt x="17941" y="1701"/>
                  </a:lnTo>
                  <a:close/>
                  <a:moveTo>
                    <a:pt x="16117" y="1696"/>
                  </a:moveTo>
                  <a:lnTo>
                    <a:pt x="16101" y="1680"/>
                  </a:lnTo>
                  <a:lnTo>
                    <a:pt x="16127" y="1684"/>
                  </a:lnTo>
                  <a:lnTo>
                    <a:pt x="16117" y="1696"/>
                  </a:lnTo>
                  <a:lnTo>
                    <a:pt x="16117" y="1696"/>
                  </a:lnTo>
                  <a:lnTo>
                    <a:pt x="16117" y="1696"/>
                  </a:lnTo>
                  <a:close/>
                  <a:moveTo>
                    <a:pt x="17979" y="1701"/>
                  </a:moveTo>
                  <a:lnTo>
                    <a:pt x="17965" y="1713"/>
                  </a:lnTo>
                  <a:lnTo>
                    <a:pt x="17979" y="1684"/>
                  </a:lnTo>
                  <a:lnTo>
                    <a:pt x="17979" y="1696"/>
                  </a:lnTo>
                  <a:lnTo>
                    <a:pt x="17979" y="1701"/>
                  </a:lnTo>
                  <a:lnTo>
                    <a:pt x="17979" y="1701"/>
                  </a:lnTo>
                  <a:lnTo>
                    <a:pt x="17979" y="1701"/>
                  </a:lnTo>
                  <a:close/>
                  <a:moveTo>
                    <a:pt x="16316" y="1795"/>
                  </a:moveTo>
                  <a:lnTo>
                    <a:pt x="16295" y="1795"/>
                  </a:lnTo>
                  <a:lnTo>
                    <a:pt x="16290" y="1791"/>
                  </a:lnTo>
                  <a:lnTo>
                    <a:pt x="16295" y="1779"/>
                  </a:lnTo>
                  <a:lnTo>
                    <a:pt x="16278" y="1774"/>
                  </a:lnTo>
                  <a:lnTo>
                    <a:pt x="16252" y="1767"/>
                  </a:lnTo>
                  <a:lnTo>
                    <a:pt x="16264" y="1774"/>
                  </a:lnTo>
                  <a:lnTo>
                    <a:pt x="16257" y="1774"/>
                  </a:lnTo>
                  <a:lnTo>
                    <a:pt x="16226" y="1751"/>
                  </a:lnTo>
                  <a:lnTo>
                    <a:pt x="16226" y="1734"/>
                  </a:lnTo>
                  <a:lnTo>
                    <a:pt x="16209" y="1722"/>
                  </a:lnTo>
                  <a:lnTo>
                    <a:pt x="16240" y="1734"/>
                  </a:lnTo>
                  <a:lnTo>
                    <a:pt x="16226" y="1718"/>
                  </a:lnTo>
                  <a:lnTo>
                    <a:pt x="16257" y="1696"/>
                  </a:lnTo>
                  <a:lnTo>
                    <a:pt x="16349" y="1767"/>
                  </a:lnTo>
                  <a:lnTo>
                    <a:pt x="16361" y="1779"/>
                  </a:lnTo>
                  <a:lnTo>
                    <a:pt x="16316" y="1795"/>
                  </a:lnTo>
                  <a:lnTo>
                    <a:pt x="16316" y="1795"/>
                  </a:lnTo>
                  <a:lnTo>
                    <a:pt x="16316" y="1795"/>
                  </a:lnTo>
                  <a:close/>
                  <a:moveTo>
                    <a:pt x="17927" y="1734"/>
                  </a:moveTo>
                  <a:lnTo>
                    <a:pt x="17932" y="1722"/>
                  </a:lnTo>
                  <a:lnTo>
                    <a:pt x="17948" y="1739"/>
                  </a:lnTo>
                  <a:lnTo>
                    <a:pt x="17927" y="1734"/>
                  </a:lnTo>
                  <a:lnTo>
                    <a:pt x="17927" y="1734"/>
                  </a:lnTo>
                  <a:lnTo>
                    <a:pt x="17927" y="1734"/>
                  </a:lnTo>
                  <a:close/>
                  <a:moveTo>
                    <a:pt x="23995" y="1791"/>
                  </a:moveTo>
                  <a:lnTo>
                    <a:pt x="23988" y="1791"/>
                  </a:lnTo>
                  <a:lnTo>
                    <a:pt x="23988" y="1807"/>
                  </a:lnTo>
                  <a:lnTo>
                    <a:pt x="23979" y="1812"/>
                  </a:lnTo>
                  <a:lnTo>
                    <a:pt x="23957" y="1812"/>
                  </a:lnTo>
                  <a:lnTo>
                    <a:pt x="23882" y="1779"/>
                  </a:lnTo>
                  <a:lnTo>
                    <a:pt x="23920" y="1758"/>
                  </a:lnTo>
                  <a:lnTo>
                    <a:pt x="23995" y="1774"/>
                  </a:lnTo>
                  <a:lnTo>
                    <a:pt x="23995" y="1791"/>
                  </a:lnTo>
                  <a:lnTo>
                    <a:pt x="23995" y="1791"/>
                  </a:lnTo>
                  <a:lnTo>
                    <a:pt x="23995" y="1791"/>
                  </a:lnTo>
                  <a:close/>
                  <a:moveTo>
                    <a:pt x="24050" y="1795"/>
                  </a:moveTo>
                  <a:lnTo>
                    <a:pt x="24033" y="1791"/>
                  </a:lnTo>
                  <a:lnTo>
                    <a:pt x="24050" y="1779"/>
                  </a:lnTo>
                  <a:lnTo>
                    <a:pt x="24050" y="1795"/>
                  </a:lnTo>
                  <a:lnTo>
                    <a:pt x="24050" y="1795"/>
                  </a:lnTo>
                  <a:lnTo>
                    <a:pt x="24050" y="1795"/>
                  </a:lnTo>
                  <a:close/>
                  <a:moveTo>
                    <a:pt x="23433" y="1833"/>
                  </a:moveTo>
                  <a:lnTo>
                    <a:pt x="23433" y="1812"/>
                  </a:lnTo>
                  <a:lnTo>
                    <a:pt x="23450" y="1812"/>
                  </a:lnTo>
                  <a:lnTo>
                    <a:pt x="23450" y="1829"/>
                  </a:lnTo>
                  <a:lnTo>
                    <a:pt x="23433" y="1833"/>
                  </a:lnTo>
                  <a:lnTo>
                    <a:pt x="23433" y="1833"/>
                  </a:lnTo>
                  <a:lnTo>
                    <a:pt x="23433" y="1833"/>
                  </a:lnTo>
                  <a:close/>
                  <a:moveTo>
                    <a:pt x="16814" y="1824"/>
                  </a:moveTo>
                  <a:lnTo>
                    <a:pt x="16835" y="1812"/>
                  </a:lnTo>
                  <a:lnTo>
                    <a:pt x="16831" y="1829"/>
                  </a:lnTo>
                  <a:lnTo>
                    <a:pt x="16814" y="1824"/>
                  </a:lnTo>
                  <a:lnTo>
                    <a:pt x="16814" y="1824"/>
                  </a:lnTo>
                  <a:lnTo>
                    <a:pt x="16814" y="1824"/>
                  </a:lnTo>
                  <a:close/>
                  <a:moveTo>
                    <a:pt x="23433" y="1902"/>
                  </a:moveTo>
                  <a:lnTo>
                    <a:pt x="23438" y="1885"/>
                  </a:lnTo>
                  <a:lnTo>
                    <a:pt x="23416" y="1878"/>
                  </a:lnTo>
                  <a:lnTo>
                    <a:pt x="23416" y="1845"/>
                  </a:lnTo>
                  <a:lnTo>
                    <a:pt x="23412" y="1833"/>
                  </a:lnTo>
                  <a:lnTo>
                    <a:pt x="23416" y="1829"/>
                  </a:lnTo>
                  <a:lnTo>
                    <a:pt x="23433" y="1824"/>
                  </a:lnTo>
                  <a:lnTo>
                    <a:pt x="23428" y="1829"/>
                  </a:lnTo>
                  <a:lnTo>
                    <a:pt x="23433" y="1833"/>
                  </a:lnTo>
                  <a:lnTo>
                    <a:pt x="23433" y="1850"/>
                  </a:lnTo>
                  <a:lnTo>
                    <a:pt x="23438" y="1890"/>
                  </a:lnTo>
                  <a:lnTo>
                    <a:pt x="23433" y="1902"/>
                  </a:lnTo>
                  <a:lnTo>
                    <a:pt x="23433" y="1902"/>
                  </a:lnTo>
                  <a:lnTo>
                    <a:pt x="23433" y="1902"/>
                  </a:lnTo>
                  <a:close/>
                  <a:moveTo>
                    <a:pt x="15496" y="1878"/>
                  </a:moveTo>
                  <a:lnTo>
                    <a:pt x="15508" y="1845"/>
                  </a:lnTo>
                  <a:lnTo>
                    <a:pt x="15555" y="1824"/>
                  </a:lnTo>
                  <a:lnTo>
                    <a:pt x="15631" y="1850"/>
                  </a:lnTo>
                  <a:lnTo>
                    <a:pt x="15647" y="1866"/>
                  </a:lnTo>
                  <a:lnTo>
                    <a:pt x="15631" y="1885"/>
                  </a:lnTo>
                  <a:lnTo>
                    <a:pt x="15643" y="1866"/>
                  </a:lnTo>
                  <a:lnTo>
                    <a:pt x="15631" y="1866"/>
                  </a:lnTo>
                  <a:lnTo>
                    <a:pt x="15588" y="1906"/>
                  </a:lnTo>
                  <a:lnTo>
                    <a:pt x="15534" y="1923"/>
                  </a:lnTo>
                  <a:lnTo>
                    <a:pt x="15496" y="1902"/>
                  </a:lnTo>
                  <a:lnTo>
                    <a:pt x="15496" y="1878"/>
                  </a:lnTo>
                  <a:lnTo>
                    <a:pt x="15496" y="1878"/>
                  </a:lnTo>
                  <a:lnTo>
                    <a:pt x="15496" y="1878"/>
                  </a:lnTo>
                  <a:close/>
                  <a:moveTo>
                    <a:pt x="16814" y="1833"/>
                  </a:moveTo>
                  <a:lnTo>
                    <a:pt x="16814" y="1829"/>
                  </a:lnTo>
                  <a:lnTo>
                    <a:pt x="16831" y="1833"/>
                  </a:lnTo>
                  <a:lnTo>
                    <a:pt x="16814" y="1833"/>
                  </a:lnTo>
                  <a:lnTo>
                    <a:pt x="16814" y="1833"/>
                  </a:lnTo>
                  <a:lnTo>
                    <a:pt x="16814" y="1833"/>
                  </a:lnTo>
                  <a:close/>
                  <a:moveTo>
                    <a:pt x="14513" y="1833"/>
                  </a:moveTo>
                  <a:lnTo>
                    <a:pt x="14530" y="1845"/>
                  </a:lnTo>
                  <a:lnTo>
                    <a:pt x="14497" y="1833"/>
                  </a:lnTo>
                  <a:lnTo>
                    <a:pt x="14513" y="1833"/>
                  </a:lnTo>
                  <a:lnTo>
                    <a:pt x="14513" y="1833"/>
                  </a:lnTo>
                  <a:lnTo>
                    <a:pt x="14513" y="1833"/>
                  </a:lnTo>
                  <a:close/>
                  <a:moveTo>
                    <a:pt x="16273" y="1866"/>
                  </a:moveTo>
                  <a:lnTo>
                    <a:pt x="16235" y="1845"/>
                  </a:lnTo>
                  <a:lnTo>
                    <a:pt x="16264" y="1850"/>
                  </a:lnTo>
                  <a:lnTo>
                    <a:pt x="16273" y="1866"/>
                  </a:lnTo>
                  <a:lnTo>
                    <a:pt x="16273" y="1866"/>
                  </a:lnTo>
                  <a:lnTo>
                    <a:pt x="16273" y="1866"/>
                  </a:lnTo>
                  <a:close/>
                  <a:moveTo>
                    <a:pt x="16134" y="1918"/>
                  </a:moveTo>
                  <a:lnTo>
                    <a:pt x="16181" y="1906"/>
                  </a:lnTo>
                  <a:lnTo>
                    <a:pt x="16127" y="1923"/>
                  </a:lnTo>
                  <a:lnTo>
                    <a:pt x="16134" y="1918"/>
                  </a:lnTo>
                  <a:lnTo>
                    <a:pt x="16134" y="1918"/>
                  </a:lnTo>
                  <a:lnTo>
                    <a:pt x="16134" y="1918"/>
                  </a:lnTo>
                  <a:close/>
                  <a:moveTo>
                    <a:pt x="17013" y="2195"/>
                  </a:moveTo>
                  <a:lnTo>
                    <a:pt x="16982" y="2162"/>
                  </a:lnTo>
                  <a:lnTo>
                    <a:pt x="16958" y="2162"/>
                  </a:lnTo>
                  <a:lnTo>
                    <a:pt x="17029" y="2166"/>
                  </a:lnTo>
                  <a:lnTo>
                    <a:pt x="17029" y="2195"/>
                  </a:lnTo>
                  <a:lnTo>
                    <a:pt x="17013" y="2195"/>
                  </a:lnTo>
                  <a:lnTo>
                    <a:pt x="17013" y="2195"/>
                  </a:lnTo>
                  <a:lnTo>
                    <a:pt x="17013" y="2195"/>
                  </a:lnTo>
                  <a:close/>
                  <a:moveTo>
                    <a:pt x="15102" y="2162"/>
                  </a:moveTo>
                  <a:lnTo>
                    <a:pt x="15106" y="2166"/>
                  </a:lnTo>
                  <a:lnTo>
                    <a:pt x="15092" y="2162"/>
                  </a:lnTo>
                  <a:lnTo>
                    <a:pt x="15102" y="2162"/>
                  </a:lnTo>
                  <a:lnTo>
                    <a:pt x="15102" y="2162"/>
                  </a:lnTo>
                  <a:lnTo>
                    <a:pt x="15102" y="2162"/>
                  </a:lnTo>
                  <a:close/>
                  <a:moveTo>
                    <a:pt x="16975" y="2166"/>
                  </a:moveTo>
                  <a:lnTo>
                    <a:pt x="16975" y="2178"/>
                  </a:lnTo>
                  <a:lnTo>
                    <a:pt x="16975" y="2166"/>
                  </a:lnTo>
                  <a:lnTo>
                    <a:pt x="16975" y="2166"/>
                  </a:lnTo>
                  <a:lnTo>
                    <a:pt x="16975" y="2166"/>
                  </a:lnTo>
                  <a:close/>
                  <a:moveTo>
                    <a:pt x="253" y="2277"/>
                  </a:moveTo>
                  <a:lnTo>
                    <a:pt x="253" y="2273"/>
                  </a:lnTo>
                  <a:lnTo>
                    <a:pt x="265" y="2273"/>
                  </a:lnTo>
                  <a:lnTo>
                    <a:pt x="253" y="2277"/>
                  </a:lnTo>
                  <a:lnTo>
                    <a:pt x="253" y="2277"/>
                  </a:lnTo>
                  <a:lnTo>
                    <a:pt x="253" y="2277"/>
                  </a:lnTo>
                  <a:close/>
                  <a:moveTo>
                    <a:pt x="14632" y="2351"/>
                  </a:moveTo>
                  <a:lnTo>
                    <a:pt x="14632" y="2367"/>
                  </a:lnTo>
                  <a:lnTo>
                    <a:pt x="14622" y="2377"/>
                  </a:lnTo>
                  <a:lnTo>
                    <a:pt x="14606" y="2351"/>
                  </a:lnTo>
                  <a:lnTo>
                    <a:pt x="14632" y="2351"/>
                  </a:lnTo>
                  <a:lnTo>
                    <a:pt x="14632" y="2351"/>
                  </a:lnTo>
                  <a:lnTo>
                    <a:pt x="14632" y="2351"/>
                  </a:lnTo>
                  <a:close/>
                  <a:moveTo>
                    <a:pt x="0" y="2400"/>
                  </a:moveTo>
                  <a:lnTo>
                    <a:pt x="17" y="2384"/>
                  </a:lnTo>
                  <a:lnTo>
                    <a:pt x="38" y="2400"/>
                  </a:lnTo>
                  <a:lnTo>
                    <a:pt x="0" y="2400"/>
                  </a:lnTo>
                  <a:lnTo>
                    <a:pt x="0" y="2400"/>
                  </a:lnTo>
                  <a:lnTo>
                    <a:pt x="0" y="2400"/>
                  </a:lnTo>
                  <a:close/>
                  <a:moveTo>
                    <a:pt x="14946" y="2400"/>
                  </a:moveTo>
                  <a:lnTo>
                    <a:pt x="14955" y="2421"/>
                  </a:lnTo>
                  <a:lnTo>
                    <a:pt x="14913" y="2405"/>
                  </a:lnTo>
                  <a:lnTo>
                    <a:pt x="14941" y="2417"/>
                  </a:lnTo>
                  <a:lnTo>
                    <a:pt x="14929" y="2400"/>
                  </a:lnTo>
                  <a:lnTo>
                    <a:pt x="14946" y="2400"/>
                  </a:lnTo>
                  <a:lnTo>
                    <a:pt x="14946" y="2400"/>
                  </a:lnTo>
                  <a:lnTo>
                    <a:pt x="14946" y="2400"/>
                  </a:lnTo>
                  <a:close/>
                  <a:moveTo>
                    <a:pt x="14639" y="2438"/>
                  </a:moveTo>
                  <a:lnTo>
                    <a:pt x="14643" y="2445"/>
                  </a:lnTo>
                  <a:lnTo>
                    <a:pt x="14632" y="2438"/>
                  </a:lnTo>
                  <a:lnTo>
                    <a:pt x="14639" y="2438"/>
                  </a:lnTo>
                  <a:lnTo>
                    <a:pt x="14639" y="2438"/>
                  </a:lnTo>
                  <a:lnTo>
                    <a:pt x="14639" y="2438"/>
                  </a:lnTo>
                  <a:close/>
                  <a:moveTo>
                    <a:pt x="14119" y="2899"/>
                  </a:moveTo>
                  <a:lnTo>
                    <a:pt x="14131" y="2899"/>
                  </a:lnTo>
                  <a:lnTo>
                    <a:pt x="14119" y="2887"/>
                  </a:lnTo>
                  <a:lnTo>
                    <a:pt x="14119" y="2899"/>
                  </a:lnTo>
                  <a:lnTo>
                    <a:pt x="14119" y="2899"/>
                  </a:lnTo>
                  <a:lnTo>
                    <a:pt x="14119" y="2899"/>
                  </a:lnTo>
                  <a:close/>
                  <a:moveTo>
                    <a:pt x="23572" y="3088"/>
                  </a:moveTo>
                  <a:lnTo>
                    <a:pt x="23596" y="3064"/>
                  </a:lnTo>
                  <a:lnTo>
                    <a:pt x="23610" y="3043"/>
                  </a:lnTo>
                  <a:lnTo>
                    <a:pt x="23596" y="3031"/>
                  </a:lnTo>
                  <a:lnTo>
                    <a:pt x="23655" y="3014"/>
                  </a:lnTo>
                  <a:lnTo>
                    <a:pt x="23665" y="3031"/>
                  </a:lnTo>
                  <a:lnTo>
                    <a:pt x="23665" y="3047"/>
                  </a:lnTo>
                  <a:lnTo>
                    <a:pt x="23627" y="3059"/>
                  </a:lnTo>
                  <a:lnTo>
                    <a:pt x="23579" y="3099"/>
                  </a:lnTo>
                  <a:lnTo>
                    <a:pt x="23572" y="3088"/>
                  </a:lnTo>
                  <a:lnTo>
                    <a:pt x="23572" y="3088"/>
                  </a:lnTo>
                  <a:lnTo>
                    <a:pt x="23572" y="3088"/>
                  </a:lnTo>
                  <a:close/>
                  <a:moveTo>
                    <a:pt x="22665" y="3031"/>
                  </a:moveTo>
                  <a:lnTo>
                    <a:pt x="22682" y="3026"/>
                  </a:lnTo>
                  <a:lnTo>
                    <a:pt x="22665" y="3031"/>
                  </a:lnTo>
                  <a:lnTo>
                    <a:pt x="22665" y="3031"/>
                  </a:lnTo>
                  <a:lnTo>
                    <a:pt x="22665" y="3031"/>
                  </a:lnTo>
                  <a:close/>
                  <a:moveTo>
                    <a:pt x="23773" y="3421"/>
                  </a:moveTo>
                  <a:lnTo>
                    <a:pt x="23773" y="3437"/>
                  </a:lnTo>
                  <a:lnTo>
                    <a:pt x="23806" y="3470"/>
                  </a:lnTo>
                  <a:lnTo>
                    <a:pt x="23806" y="3487"/>
                  </a:lnTo>
                  <a:lnTo>
                    <a:pt x="23778" y="3470"/>
                  </a:lnTo>
                  <a:lnTo>
                    <a:pt x="23752" y="3421"/>
                  </a:lnTo>
                  <a:lnTo>
                    <a:pt x="23773" y="3421"/>
                  </a:lnTo>
                  <a:lnTo>
                    <a:pt x="23773" y="3421"/>
                  </a:lnTo>
                  <a:lnTo>
                    <a:pt x="23773" y="3421"/>
                  </a:lnTo>
                  <a:close/>
                  <a:moveTo>
                    <a:pt x="13606" y="3430"/>
                  </a:moveTo>
                  <a:lnTo>
                    <a:pt x="13611" y="3421"/>
                  </a:lnTo>
                  <a:lnTo>
                    <a:pt x="13665" y="3447"/>
                  </a:lnTo>
                  <a:lnTo>
                    <a:pt x="13699" y="3447"/>
                  </a:lnTo>
                  <a:lnTo>
                    <a:pt x="13720" y="3470"/>
                  </a:lnTo>
                  <a:lnTo>
                    <a:pt x="13715" y="3487"/>
                  </a:lnTo>
                  <a:lnTo>
                    <a:pt x="13703" y="3503"/>
                  </a:lnTo>
                  <a:lnTo>
                    <a:pt x="13715" y="3515"/>
                  </a:lnTo>
                  <a:lnTo>
                    <a:pt x="13618" y="3515"/>
                  </a:lnTo>
                  <a:lnTo>
                    <a:pt x="13505" y="3508"/>
                  </a:lnTo>
                  <a:lnTo>
                    <a:pt x="13552" y="3487"/>
                  </a:lnTo>
                  <a:lnTo>
                    <a:pt x="13526" y="3487"/>
                  </a:lnTo>
                  <a:lnTo>
                    <a:pt x="13519" y="3475"/>
                  </a:lnTo>
                  <a:lnTo>
                    <a:pt x="13510" y="3487"/>
                  </a:lnTo>
                  <a:lnTo>
                    <a:pt x="13519" y="3454"/>
                  </a:lnTo>
                  <a:lnTo>
                    <a:pt x="13552" y="3454"/>
                  </a:lnTo>
                  <a:lnTo>
                    <a:pt x="13580" y="3421"/>
                  </a:lnTo>
                  <a:lnTo>
                    <a:pt x="13590" y="3421"/>
                  </a:lnTo>
                  <a:lnTo>
                    <a:pt x="13557" y="3454"/>
                  </a:lnTo>
                  <a:lnTo>
                    <a:pt x="13606" y="3458"/>
                  </a:lnTo>
                  <a:lnTo>
                    <a:pt x="13606" y="3437"/>
                  </a:lnTo>
                  <a:lnTo>
                    <a:pt x="13606" y="3430"/>
                  </a:lnTo>
                  <a:lnTo>
                    <a:pt x="13606" y="3430"/>
                  </a:lnTo>
                  <a:lnTo>
                    <a:pt x="13606" y="3430"/>
                  </a:lnTo>
                  <a:close/>
                  <a:moveTo>
                    <a:pt x="21744" y="3475"/>
                  </a:moveTo>
                  <a:lnTo>
                    <a:pt x="21765" y="3430"/>
                  </a:lnTo>
                  <a:lnTo>
                    <a:pt x="21803" y="3447"/>
                  </a:lnTo>
                  <a:lnTo>
                    <a:pt x="21775" y="3491"/>
                  </a:lnTo>
                  <a:lnTo>
                    <a:pt x="21758" y="3458"/>
                  </a:lnTo>
                  <a:lnTo>
                    <a:pt x="21744" y="3475"/>
                  </a:lnTo>
                  <a:lnTo>
                    <a:pt x="21744" y="3475"/>
                  </a:lnTo>
                  <a:lnTo>
                    <a:pt x="21744" y="3475"/>
                  </a:lnTo>
                  <a:close/>
                  <a:moveTo>
                    <a:pt x="21694" y="3458"/>
                  </a:moveTo>
                  <a:lnTo>
                    <a:pt x="21737" y="3437"/>
                  </a:lnTo>
                  <a:lnTo>
                    <a:pt x="21728" y="3458"/>
                  </a:lnTo>
                  <a:lnTo>
                    <a:pt x="21694" y="3458"/>
                  </a:lnTo>
                  <a:lnTo>
                    <a:pt x="21694" y="3458"/>
                  </a:lnTo>
                  <a:lnTo>
                    <a:pt x="21694" y="3458"/>
                  </a:lnTo>
                  <a:close/>
                  <a:moveTo>
                    <a:pt x="13498" y="3508"/>
                  </a:moveTo>
                  <a:lnTo>
                    <a:pt x="13488" y="3503"/>
                  </a:lnTo>
                  <a:lnTo>
                    <a:pt x="13510" y="3487"/>
                  </a:lnTo>
                  <a:lnTo>
                    <a:pt x="13498" y="3508"/>
                  </a:lnTo>
                  <a:lnTo>
                    <a:pt x="13498" y="3508"/>
                  </a:lnTo>
                  <a:lnTo>
                    <a:pt x="13498" y="3508"/>
                  </a:lnTo>
                  <a:close/>
                  <a:moveTo>
                    <a:pt x="21765" y="3508"/>
                  </a:moveTo>
                  <a:lnTo>
                    <a:pt x="21758" y="3503"/>
                  </a:lnTo>
                  <a:lnTo>
                    <a:pt x="21765" y="3491"/>
                  </a:lnTo>
                  <a:lnTo>
                    <a:pt x="21765" y="3508"/>
                  </a:lnTo>
                  <a:lnTo>
                    <a:pt x="21765" y="3508"/>
                  </a:lnTo>
                  <a:lnTo>
                    <a:pt x="21765" y="3508"/>
                  </a:lnTo>
                  <a:close/>
                  <a:moveTo>
                    <a:pt x="22072" y="4080"/>
                  </a:moveTo>
                  <a:lnTo>
                    <a:pt x="22068" y="4058"/>
                  </a:lnTo>
                  <a:lnTo>
                    <a:pt x="22072" y="4030"/>
                  </a:lnTo>
                  <a:lnTo>
                    <a:pt x="22084" y="3973"/>
                  </a:lnTo>
                  <a:lnTo>
                    <a:pt x="22084" y="3903"/>
                  </a:lnTo>
                  <a:lnTo>
                    <a:pt x="22072" y="3891"/>
                  </a:lnTo>
                  <a:lnTo>
                    <a:pt x="22089" y="3825"/>
                  </a:lnTo>
                  <a:lnTo>
                    <a:pt x="22084" y="3791"/>
                  </a:lnTo>
                  <a:lnTo>
                    <a:pt x="22051" y="3751"/>
                  </a:lnTo>
                  <a:lnTo>
                    <a:pt x="22051" y="3714"/>
                  </a:lnTo>
                  <a:lnTo>
                    <a:pt x="22061" y="3692"/>
                  </a:lnTo>
                  <a:lnTo>
                    <a:pt x="22068" y="3643"/>
                  </a:lnTo>
                  <a:lnTo>
                    <a:pt x="22061" y="3614"/>
                  </a:lnTo>
                  <a:lnTo>
                    <a:pt x="22089" y="3598"/>
                  </a:lnTo>
                  <a:lnTo>
                    <a:pt x="22089" y="3614"/>
                  </a:lnTo>
                  <a:lnTo>
                    <a:pt x="22105" y="3614"/>
                  </a:lnTo>
                  <a:lnTo>
                    <a:pt x="22122" y="3598"/>
                  </a:lnTo>
                  <a:lnTo>
                    <a:pt x="22115" y="3598"/>
                  </a:lnTo>
                  <a:lnTo>
                    <a:pt x="22105" y="3581"/>
                  </a:lnTo>
                  <a:lnTo>
                    <a:pt x="22122" y="3586"/>
                  </a:lnTo>
                  <a:lnTo>
                    <a:pt x="22127" y="3581"/>
                  </a:lnTo>
                  <a:lnTo>
                    <a:pt x="22127" y="3565"/>
                  </a:lnTo>
                  <a:lnTo>
                    <a:pt x="22115" y="3581"/>
                  </a:lnTo>
                  <a:lnTo>
                    <a:pt x="22122" y="3558"/>
                  </a:lnTo>
                  <a:lnTo>
                    <a:pt x="22098" y="3525"/>
                  </a:lnTo>
                  <a:lnTo>
                    <a:pt x="22122" y="3525"/>
                  </a:lnTo>
                  <a:lnTo>
                    <a:pt x="22122" y="3508"/>
                  </a:lnTo>
                  <a:lnTo>
                    <a:pt x="22143" y="3541"/>
                  </a:lnTo>
                  <a:lnTo>
                    <a:pt x="22136" y="3569"/>
                  </a:lnTo>
                  <a:lnTo>
                    <a:pt x="22153" y="3598"/>
                  </a:lnTo>
                  <a:lnTo>
                    <a:pt x="22153" y="3614"/>
                  </a:lnTo>
                  <a:lnTo>
                    <a:pt x="22160" y="3619"/>
                  </a:lnTo>
                  <a:lnTo>
                    <a:pt x="22169" y="3659"/>
                  </a:lnTo>
                  <a:lnTo>
                    <a:pt x="22169" y="3697"/>
                  </a:lnTo>
                  <a:lnTo>
                    <a:pt x="22160" y="3714"/>
                  </a:lnTo>
                  <a:lnTo>
                    <a:pt x="22160" y="3692"/>
                  </a:lnTo>
                  <a:lnTo>
                    <a:pt x="22153" y="3709"/>
                  </a:lnTo>
                  <a:lnTo>
                    <a:pt x="22153" y="3747"/>
                  </a:lnTo>
                  <a:lnTo>
                    <a:pt x="22169" y="3768"/>
                  </a:lnTo>
                  <a:lnTo>
                    <a:pt x="22160" y="3791"/>
                  </a:lnTo>
                  <a:lnTo>
                    <a:pt x="22169" y="3791"/>
                  </a:lnTo>
                  <a:lnTo>
                    <a:pt x="22169" y="3780"/>
                  </a:lnTo>
                  <a:lnTo>
                    <a:pt x="22174" y="3808"/>
                  </a:lnTo>
                  <a:lnTo>
                    <a:pt x="22169" y="3808"/>
                  </a:lnTo>
                  <a:lnTo>
                    <a:pt x="22181" y="3820"/>
                  </a:lnTo>
                  <a:lnTo>
                    <a:pt x="22198" y="3903"/>
                  </a:lnTo>
                  <a:lnTo>
                    <a:pt x="22212" y="3936"/>
                  </a:lnTo>
                  <a:lnTo>
                    <a:pt x="22245" y="4023"/>
                  </a:lnTo>
                  <a:lnTo>
                    <a:pt x="22261" y="4040"/>
                  </a:lnTo>
                  <a:lnTo>
                    <a:pt x="22266" y="4063"/>
                  </a:lnTo>
                  <a:lnTo>
                    <a:pt x="22245" y="4030"/>
                  </a:lnTo>
                  <a:lnTo>
                    <a:pt x="22212" y="4006"/>
                  </a:lnTo>
                  <a:lnTo>
                    <a:pt x="22169" y="3990"/>
                  </a:lnTo>
                  <a:lnTo>
                    <a:pt x="22169" y="4002"/>
                  </a:lnTo>
                  <a:lnTo>
                    <a:pt x="22191" y="4002"/>
                  </a:lnTo>
                  <a:lnTo>
                    <a:pt x="22160" y="4006"/>
                  </a:lnTo>
                  <a:lnTo>
                    <a:pt x="22143" y="4023"/>
                  </a:lnTo>
                  <a:lnTo>
                    <a:pt x="22143" y="4040"/>
                  </a:lnTo>
                  <a:lnTo>
                    <a:pt x="22115" y="4117"/>
                  </a:lnTo>
                  <a:lnTo>
                    <a:pt x="22115" y="4141"/>
                  </a:lnTo>
                  <a:lnTo>
                    <a:pt x="22122" y="4158"/>
                  </a:lnTo>
                  <a:lnTo>
                    <a:pt x="22143" y="4191"/>
                  </a:lnTo>
                  <a:lnTo>
                    <a:pt x="22160" y="4236"/>
                  </a:lnTo>
                  <a:lnTo>
                    <a:pt x="22169" y="4245"/>
                  </a:lnTo>
                  <a:lnTo>
                    <a:pt x="22169" y="4228"/>
                  </a:lnTo>
                  <a:lnTo>
                    <a:pt x="22174" y="4228"/>
                  </a:lnTo>
                  <a:lnTo>
                    <a:pt x="22181" y="4269"/>
                  </a:lnTo>
                  <a:lnTo>
                    <a:pt x="22174" y="4302"/>
                  </a:lnTo>
                  <a:lnTo>
                    <a:pt x="22169" y="4252"/>
                  </a:lnTo>
                  <a:lnTo>
                    <a:pt x="22127" y="4252"/>
                  </a:lnTo>
                  <a:lnTo>
                    <a:pt x="22122" y="4236"/>
                  </a:lnTo>
                  <a:lnTo>
                    <a:pt x="22105" y="4252"/>
                  </a:lnTo>
                  <a:lnTo>
                    <a:pt x="22084" y="4306"/>
                  </a:lnTo>
                  <a:lnTo>
                    <a:pt x="22068" y="4302"/>
                  </a:lnTo>
                  <a:lnTo>
                    <a:pt x="22061" y="4252"/>
                  </a:lnTo>
                  <a:lnTo>
                    <a:pt x="22072" y="4207"/>
                  </a:lnTo>
                  <a:lnTo>
                    <a:pt x="22072" y="4158"/>
                  </a:lnTo>
                  <a:lnTo>
                    <a:pt x="22089" y="4125"/>
                  </a:lnTo>
                  <a:lnTo>
                    <a:pt x="22084" y="4096"/>
                  </a:lnTo>
                  <a:lnTo>
                    <a:pt x="22072" y="4080"/>
                  </a:lnTo>
                  <a:lnTo>
                    <a:pt x="22072" y="4080"/>
                  </a:lnTo>
                  <a:lnTo>
                    <a:pt x="22072" y="4080"/>
                  </a:lnTo>
                  <a:close/>
                  <a:moveTo>
                    <a:pt x="23017" y="3846"/>
                  </a:moveTo>
                  <a:lnTo>
                    <a:pt x="23022" y="3846"/>
                  </a:lnTo>
                  <a:lnTo>
                    <a:pt x="23034" y="3858"/>
                  </a:lnTo>
                  <a:lnTo>
                    <a:pt x="23022" y="3858"/>
                  </a:lnTo>
                  <a:lnTo>
                    <a:pt x="23017" y="3846"/>
                  </a:lnTo>
                  <a:lnTo>
                    <a:pt x="23017" y="3846"/>
                  </a:lnTo>
                  <a:lnTo>
                    <a:pt x="23017" y="3846"/>
                  </a:lnTo>
                  <a:close/>
                  <a:moveTo>
                    <a:pt x="23088" y="3874"/>
                  </a:moveTo>
                  <a:lnTo>
                    <a:pt x="23072" y="3874"/>
                  </a:lnTo>
                  <a:lnTo>
                    <a:pt x="23072" y="3862"/>
                  </a:lnTo>
                  <a:lnTo>
                    <a:pt x="23088" y="3858"/>
                  </a:lnTo>
                  <a:lnTo>
                    <a:pt x="23088" y="3874"/>
                  </a:lnTo>
                  <a:lnTo>
                    <a:pt x="23088" y="3874"/>
                  </a:lnTo>
                  <a:lnTo>
                    <a:pt x="23088" y="3874"/>
                  </a:lnTo>
                  <a:close/>
                  <a:moveTo>
                    <a:pt x="23001" y="3931"/>
                  </a:moveTo>
                  <a:lnTo>
                    <a:pt x="23001" y="3903"/>
                  </a:lnTo>
                  <a:lnTo>
                    <a:pt x="23034" y="3895"/>
                  </a:lnTo>
                  <a:lnTo>
                    <a:pt x="23050" y="3874"/>
                  </a:lnTo>
                  <a:lnTo>
                    <a:pt x="23060" y="3862"/>
                  </a:lnTo>
                  <a:lnTo>
                    <a:pt x="23072" y="3891"/>
                  </a:lnTo>
                  <a:lnTo>
                    <a:pt x="23050" y="3914"/>
                  </a:lnTo>
                  <a:lnTo>
                    <a:pt x="23001" y="3931"/>
                  </a:lnTo>
                  <a:lnTo>
                    <a:pt x="23001" y="3931"/>
                  </a:lnTo>
                  <a:lnTo>
                    <a:pt x="23001" y="3931"/>
                  </a:lnTo>
                  <a:close/>
                  <a:moveTo>
                    <a:pt x="22946" y="3957"/>
                  </a:moveTo>
                  <a:lnTo>
                    <a:pt x="22946" y="3952"/>
                  </a:lnTo>
                  <a:lnTo>
                    <a:pt x="22946" y="3957"/>
                  </a:lnTo>
                  <a:lnTo>
                    <a:pt x="22946" y="3957"/>
                  </a:lnTo>
                  <a:lnTo>
                    <a:pt x="22946" y="3957"/>
                  </a:lnTo>
                  <a:close/>
                  <a:moveTo>
                    <a:pt x="22953" y="4002"/>
                  </a:moveTo>
                  <a:lnTo>
                    <a:pt x="22968" y="3973"/>
                  </a:lnTo>
                  <a:lnTo>
                    <a:pt x="22979" y="3969"/>
                  </a:lnTo>
                  <a:lnTo>
                    <a:pt x="22968" y="3990"/>
                  </a:lnTo>
                  <a:lnTo>
                    <a:pt x="22968" y="4002"/>
                  </a:lnTo>
                  <a:lnTo>
                    <a:pt x="22953" y="4002"/>
                  </a:lnTo>
                  <a:lnTo>
                    <a:pt x="22953" y="4002"/>
                  </a:lnTo>
                  <a:lnTo>
                    <a:pt x="22953" y="4002"/>
                  </a:lnTo>
                  <a:close/>
                  <a:moveTo>
                    <a:pt x="22946" y="4014"/>
                  </a:moveTo>
                  <a:lnTo>
                    <a:pt x="22953" y="4014"/>
                  </a:lnTo>
                  <a:lnTo>
                    <a:pt x="22953" y="4023"/>
                  </a:lnTo>
                  <a:lnTo>
                    <a:pt x="22946" y="4014"/>
                  </a:lnTo>
                  <a:lnTo>
                    <a:pt x="22946" y="4014"/>
                  </a:lnTo>
                  <a:lnTo>
                    <a:pt x="22946" y="4014"/>
                  </a:lnTo>
                  <a:close/>
                  <a:moveTo>
                    <a:pt x="22916" y="4058"/>
                  </a:moveTo>
                  <a:lnTo>
                    <a:pt x="22925" y="4040"/>
                  </a:lnTo>
                  <a:lnTo>
                    <a:pt x="22930" y="4040"/>
                  </a:lnTo>
                  <a:lnTo>
                    <a:pt x="22916" y="4058"/>
                  </a:lnTo>
                  <a:lnTo>
                    <a:pt x="22916" y="4058"/>
                  </a:lnTo>
                  <a:lnTo>
                    <a:pt x="22916" y="4058"/>
                  </a:lnTo>
                  <a:close/>
                  <a:moveTo>
                    <a:pt x="22861" y="4117"/>
                  </a:moveTo>
                  <a:lnTo>
                    <a:pt x="22854" y="4113"/>
                  </a:lnTo>
                  <a:lnTo>
                    <a:pt x="22861" y="4113"/>
                  </a:lnTo>
                  <a:lnTo>
                    <a:pt x="22861" y="4117"/>
                  </a:lnTo>
                  <a:lnTo>
                    <a:pt x="22861" y="4117"/>
                  </a:lnTo>
                  <a:lnTo>
                    <a:pt x="22861" y="4117"/>
                  </a:lnTo>
                  <a:close/>
                  <a:moveTo>
                    <a:pt x="22807" y="4179"/>
                  </a:moveTo>
                  <a:lnTo>
                    <a:pt x="22816" y="4179"/>
                  </a:lnTo>
                  <a:lnTo>
                    <a:pt x="22807" y="4179"/>
                  </a:lnTo>
                  <a:lnTo>
                    <a:pt x="22807" y="4179"/>
                  </a:lnTo>
                  <a:lnTo>
                    <a:pt x="22807" y="4179"/>
                  </a:lnTo>
                  <a:close/>
                  <a:moveTo>
                    <a:pt x="22791" y="4195"/>
                  </a:moveTo>
                  <a:lnTo>
                    <a:pt x="22779" y="4224"/>
                  </a:lnTo>
                  <a:lnTo>
                    <a:pt x="22753" y="4228"/>
                  </a:lnTo>
                  <a:lnTo>
                    <a:pt x="22791" y="4195"/>
                  </a:lnTo>
                  <a:lnTo>
                    <a:pt x="22791" y="4195"/>
                  </a:lnTo>
                  <a:lnTo>
                    <a:pt x="22791" y="4195"/>
                  </a:lnTo>
                  <a:close/>
                  <a:moveTo>
                    <a:pt x="22602" y="4340"/>
                  </a:moveTo>
                  <a:lnTo>
                    <a:pt x="22613" y="4318"/>
                  </a:lnTo>
                  <a:lnTo>
                    <a:pt x="22628" y="4302"/>
                  </a:lnTo>
                  <a:lnTo>
                    <a:pt x="22661" y="4285"/>
                  </a:lnTo>
                  <a:lnTo>
                    <a:pt x="22665" y="4285"/>
                  </a:lnTo>
                  <a:lnTo>
                    <a:pt x="22644" y="4306"/>
                  </a:lnTo>
                  <a:lnTo>
                    <a:pt x="22613" y="4335"/>
                  </a:lnTo>
                  <a:lnTo>
                    <a:pt x="22602" y="4340"/>
                  </a:lnTo>
                  <a:lnTo>
                    <a:pt x="22602" y="4340"/>
                  </a:lnTo>
                  <a:lnTo>
                    <a:pt x="22602" y="4340"/>
                  </a:lnTo>
                  <a:close/>
                  <a:moveTo>
                    <a:pt x="22413" y="4446"/>
                  </a:moveTo>
                  <a:lnTo>
                    <a:pt x="22413" y="4434"/>
                  </a:lnTo>
                  <a:lnTo>
                    <a:pt x="22439" y="4417"/>
                  </a:lnTo>
                  <a:lnTo>
                    <a:pt x="22429" y="4413"/>
                  </a:lnTo>
                  <a:lnTo>
                    <a:pt x="22483" y="4373"/>
                  </a:lnTo>
                  <a:lnTo>
                    <a:pt x="22483" y="4363"/>
                  </a:lnTo>
                  <a:lnTo>
                    <a:pt x="22493" y="4356"/>
                  </a:lnTo>
                  <a:lnTo>
                    <a:pt x="22500" y="4373"/>
                  </a:lnTo>
                  <a:lnTo>
                    <a:pt x="22514" y="4373"/>
                  </a:lnTo>
                  <a:lnTo>
                    <a:pt x="22547" y="4347"/>
                  </a:lnTo>
                  <a:lnTo>
                    <a:pt x="22552" y="4347"/>
                  </a:lnTo>
                  <a:lnTo>
                    <a:pt x="22552" y="4363"/>
                  </a:lnTo>
                  <a:lnTo>
                    <a:pt x="22514" y="4373"/>
                  </a:lnTo>
                  <a:lnTo>
                    <a:pt x="22476" y="4396"/>
                  </a:lnTo>
                  <a:lnTo>
                    <a:pt x="22467" y="4396"/>
                  </a:lnTo>
                  <a:lnTo>
                    <a:pt x="22462" y="4413"/>
                  </a:lnTo>
                  <a:lnTo>
                    <a:pt x="22413" y="4446"/>
                  </a:lnTo>
                  <a:lnTo>
                    <a:pt x="22413" y="4446"/>
                  </a:lnTo>
                  <a:lnTo>
                    <a:pt x="22413" y="4446"/>
                  </a:lnTo>
                  <a:close/>
                  <a:moveTo>
                    <a:pt x="22370" y="4434"/>
                  </a:moveTo>
                  <a:lnTo>
                    <a:pt x="22391" y="4446"/>
                  </a:lnTo>
                  <a:lnTo>
                    <a:pt x="22354" y="4467"/>
                  </a:lnTo>
                  <a:lnTo>
                    <a:pt x="22337" y="4491"/>
                  </a:lnTo>
                  <a:lnTo>
                    <a:pt x="22332" y="4491"/>
                  </a:lnTo>
                  <a:lnTo>
                    <a:pt x="22320" y="4512"/>
                  </a:lnTo>
                  <a:lnTo>
                    <a:pt x="22316" y="4507"/>
                  </a:lnTo>
                  <a:lnTo>
                    <a:pt x="22316" y="4500"/>
                  </a:lnTo>
                  <a:lnTo>
                    <a:pt x="22337" y="4474"/>
                  </a:lnTo>
                  <a:lnTo>
                    <a:pt x="22370" y="4434"/>
                  </a:lnTo>
                  <a:lnTo>
                    <a:pt x="22370" y="4434"/>
                  </a:lnTo>
                  <a:lnTo>
                    <a:pt x="22370" y="4434"/>
                  </a:lnTo>
                  <a:close/>
                  <a:moveTo>
                    <a:pt x="15463" y="4484"/>
                  </a:moveTo>
                  <a:lnTo>
                    <a:pt x="15454" y="4484"/>
                  </a:lnTo>
                  <a:lnTo>
                    <a:pt x="15463" y="4484"/>
                  </a:lnTo>
                  <a:lnTo>
                    <a:pt x="15463" y="4484"/>
                  </a:lnTo>
                  <a:lnTo>
                    <a:pt x="15463" y="4484"/>
                  </a:lnTo>
                  <a:close/>
                  <a:moveTo>
                    <a:pt x="22413" y="4491"/>
                  </a:moveTo>
                  <a:lnTo>
                    <a:pt x="22408" y="4507"/>
                  </a:lnTo>
                  <a:lnTo>
                    <a:pt x="22396" y="4507"/>
                  </a:lnTo>
                  <a:lnTo>
                    <a:pt x="22396" y="4500"/>
                  </a:lnTo>
                  <a:lnTo>
                    <a:pt x="22413" y="4491"/>
                  </a:lnTo>
                  <a:lnTo>
                    <a:pt x="22413" y="4491"/>
                  </a:lnTo>
                  <a:lnTo>
                    <a:pt x="22413" y="4491"/>
                  </a:lnTo>
                  <a:close/>
                  <a:moveTo>
                    <a:pt x="22370" y="4524"/>
                  </a:moveTo>
                  <a:lnTo>
                    <a:pt x="22370" y="4528"/>
                  </a:lnTo>
                  <a:lnTo>
                    <a:pt x="22358" y="4524"/>
                  </a:lnTo>
                  <a:lnTo>
                    <a:pt x="22370" y="4524"/>
                  </a:lnTo>
                  <a:lnTo>
                    <a:pt x="22370" y="4524"/>
                  </a:lnTo>
                  <a:lnTo>
                    <a:pt x="22370" y="4524"/>
                  </a:lnTo>
                  <a:close/>
                  <a:moveTo>
                    <a:pt x="21366" y="4566"/>
                  </a:moveTo>
                  <a:lnTo>
                    <a:pt x="21359" y="4566"/>
                  </a:lnTo>
                  <a:lnTo>
                    <a:pt x="21366" y="4562"/>
                  </a:lnTo>
                  <a:lnTo>
                    <a:pt x="21366" y="4566"/>
                  </a:lnTo>
                  <a:lnTo>
                    <a:pt x="21366" y="4566"/>
                  </a:lnTo>
                  <a:lnTo>
                    <a:pt x="21366" y="4566"/>
                  </a:lnTo>
                  <a:close/>
                </a:path>
              </a:pathLst>
            </a:custGeom>
            <a:pattFill prst="wd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4" name="Freeform 544">
              <a:extLst>
                <a:ext uri="{FF2B5EF4-FFF2-40B4-BE49-F238E27FC236}">
                  <a16:creationId xmlns:a16="http://schemas.microsoft.com/office/drawing/2014/main" id="{9F9FD288-287F-4B1A-A032-8C295EB7FDAD}"/>
                </a:ext>
              </a:extLst>
            </p:cNvPr>
            <p:cNvSpPr>
              <a:spLocks/>
            </p:cNvSpPr>
            <p:nvPr/>
          </p:nvSpPr>
          <p:spPr bwMode="gray">
            <a:xfrm>
              <a:off x="6774766" y="4639294"/>
              <a:ext cx="71263" cy="62361"/>
            </a:xfrm>
            <a:custGeom>
              <a:avLst/>
              <a:gdLst>
                <a:gd name="T0" fmla="*/ 16 w 144"/>
                <a:gd name="T1" fmla="*/ 126 h 126"/>
                <a:gd name="T2" fmla="*/ 9 w 144"/>
                <a:gd name="T3" fmla="*/ 119 h 126"/>
                <a:gd name="T4" fmla="*/ 0 w 144"/>
                <a:gd name="T5" fmla="*/ 97 h 126"/>
                <a:gd name="T6" fmla="*/ 21 w 144"/>
                <a:gd name="T7" fmla="*/ 88 h 126"/>
                <a:gd name="T8" fmla="*/ 21 w 144"/>
                <a:gd name="T9" fmla="*/ 64 h 126"/>
                <a:gd name="T10" fmla="*/ 30 w 144"/>
                <a:gd name="T11" fmla="*/ 43 h 126"/>
                <a:gd name="T12" fmla="*/ 54 w 144"/>
                <a:gd name="T13" fmla="*/ 26 h 126"/>
                <a:gd name="T14" fmla="*/ 68 w 144"/>
                <a:gd name="T15" fmla="*/ 26 h 126"/>
                <a:gd name="T16" fmla="*/ 85 w 144"/>
                <a:gd name="T17" fmla="*/ 34 h 126"/>
                <a:gd name="T18" fmla="*/ 106 w 144"/>
                <a:gd name="T19" fmla="*/ 0 h 126"/>
                <a:gd name="T20" fmla="*/ 118 w 144"/>
                <a:gd name="T21" fmla="*/ 0 h 126"/>
                <a:gd name="T22" fmla="*/ 122 w 144"/>
                <a:gd name="T23" fmla="*/ 26 h 126"/>
                <a:gd name="T24" fmla="*/ 129 w 144"/>
                <a:gd name="T25" fmla="*/ 34 h 126"/>
                <a:gd name="T26" fmla="*/ 139 w 144"/>
                <a:gd name="T27" fmla="*/ 50 h 126"/>
                <a:gd name="T28" fmla="*/ 139 w 144"/>
                <a:gd name="T29" fmla="*/ 64 h 126"/>
                <a:gd name="T30" fmla="*/ 144 w 144"/>
                <a:gd name="T31" fmla="*/ 71 h 126"/>
                <a:gd name="T32" fmla="*/ 139 w 144"/>
                <a:gd name="T33" fmla="*/ 97 h 126"/>
                <a:gd name="T34" fmla="*/ 122 w 144"/>
                <a:gd name="T35" fmla="*/ 97 h 126"/>
                <a:gd name="T36" fmla="*/ 106 w 144"/>
                <a:gd name="T37" fmla="*/ 97 h 126"/>
                <a:gd name="T38" fmla="*/ 92 w 144"/>
                <a:gd name="T39" fmla="*/ 104 h 126"/>
                <a:gd name="T40" fmla="*/ 75 w 144"/>
                <a:gd name="T41" fmla="*/ 97 h 126"/>
                <a:gd name="T42" fmla="*/ 68 w 144"/>
                <a:gd name="T43" fmla="*/ 126 h 126"/>
                <a:gd name="T44" fmla="*/ 37 w 144"/>
                <a:gd name="T45" fmla="*/ 126 h 126"/>
                <a:gd name="T46" fmla="*/ 37 w 144"/>
                <a:gd name="T47" fmla="*/ 119 h 126"/>
                <a:gd name="T48" fmla="*/ 21 w 144"/>
                <a:gd name="T49" fmla="*/ 109 h 126"/>
                <a:gd name="T50" fmla="*/ 16 w 144"/>
                <a:gd name="T51" fmla="*/ 109 h 126"/>
                <a:gd name="T52" fmla="*/ 16 w 144"/>
                <a:gd name="T53" fmla="*/ 126 h 126"/>
                <a:gd name="T54" fmla="*/ 16 w 144"/>
                <a:gd name="T55" fmla="*/ 126 h 126"/>
                <a:gd name="T56" fmla="*/ 16 w 144"/>
                <a:gd name="T5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26">
                  <a:moveTo>
                    <a:pt x="16" y="126"/>
                  </a:moveTo>
                  <a:lnTo>
                    <a:pt x="9" y="119"/>
                  </a:lnTo>
                  <a:lnTo>
                    <a:pt x="0" y="97"/>
                  </a:lnTo>
                  <a:lnTo>
                    <a:pt x="21" y="88"/>
                  </a:lnTo>
                  <a:lnTo>
                    <a:pt x="21" y="64"/>
                  </a:lnTo>
                  <a:lnTo>
                    <a:pt x="30" y="43"/>
                  </a:lnTo>
                  <a:lnTo>
                    <a:pt x="54" y="26"/>
                  </a:lnTo>
                  <a:lnTo>
                    <a:pt x="68" y="26"/>
                  </a:lnTo>
                  <a:lnTo>
                    <a:pt x="85" y="34"/>
                  </a:lnTo>
                  <a:lnTo>
                    <a:pt x="106" y="0"/>
                  </a:lnTo>
                  <a:lnTo>
                    <a:pt x="118" y="0"/>
                  </a:lnTo>
                  <a:lnTo>
                    <a:pt x="122" y="26"/>
                  </a:lnTo>
                  <a:lnTo>
                    <a:pt x="129" y="34"/>
                  </a:lnTo>
                  <a:lnTo>
                    <a:pt x="139" y="50"/>
                  </a:lnTo>
                  <a:lnTo>
                    <a:pt x="139" y="64"/>
                  </a:lnTo>
                  <a:lnTo>
                    <a:pt x="144" y="71"/>
                  </a:lnTo>
                  <a:lnTo>
                    <a:pt x="139" y="97"/>
                  </a:lnTo>
                  <a:lnTo>
                    <a:pt x="122" y="97"/>
                  </a:lnTo>
                  <a:lnTo>
                    <a:pt x="106" y="97"/>
                  </a:lnTo>
                  <a:lnTo>
                    <a:pt x="92" y="104"/>
                  </a:lnTo>
                  <a:lnTo>
                    <a:pt x="75" y="97"/>
                  </a:lnTo>
                  <a:lnTo>
                    <a:pt x="68" y="126"/>
                  </a:lnTo>
                  <a:lnTo>
                    <a:pt x="37" y="126"/>
                  </a:lnTo>
                  <a:lnTo>
                    <a:pt x="37" y="119"/>
                  </a:lnTo>
                  <a:lnTo>
                    <a:pt x="21" y="109"/>
                  </a:lnTo>
                  <a:lnTo>
                    <a:pt x="16" y="109"/>
                  </a:lnTo>
                  <a:lnTo>
                    <a:pt x="16" y="126"/>
                  </a:lnTo>
                  <a:lnTo>
                    <a:pt x="16" y="126"/>
                  </a:lnTo>
                  <a:lnTo>
                    <a:pt x="16" y="126"/>
                  </a:lnTo>
                  <a:close/>
                </a:path>
              </a:pathLst>
            </a:custGeom>
            <a:pattFill prst="lt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5" name="Freeform 545">
              <a:extLst>
                <a:ext uri="{FF2B5EF4-FFF2-40B4-BE49-F238E27FC236}">
                  <a16:creationId xmlns:a16="http://schemas.microsoft.com/office/drawing/2014/main" id="{FAC3AC2E-EF5D-4856-8A79-2D26213D6713}"/>
                </a:ext>
              </a:extLst>
            </p:cNvPr>
            <p:cNvSpPr>
              <a:spLocks noEditPoints="1"/>
            </p:cNvSpPr>
            <p:nvPr/>
          </p:nvSpPr>
          <p:spPr bwMode="gray">
            <a:xfrm>
              <a:off x="6972221" y="3414338"/>
              <a:ext cx="733903" cy="626585"/>
            </a:xfrm>
            <a:custGeom>
              <a:avLst/>
              <a:gdLst>
                <a:gd name="T0" fmla="*/ 997 w 1483"/>
                <a:gd name="T1" fmla="*/ 1070 h 1266"/>
                <a:gd name="T2" fmla="*/ 694 w 1483"/>
                <a:gd name="T3" fmla="*/ 1139 h 1266"/>
                <a:gd name="T4" fmla="*/ 619 w 1483"/>
                <a:gd name="T5" fmla="*/ 1127 h 1266"/>
                <a:gd name="T6" fmla="*/ 609 w 1483"/>
                <a:gd name="T7" fmla="*/ 1193 h 1266"/>
                <a:gd name="T8" fmla="*/ 581 w 1483"/>
                <a:gd name="T9" fmla="*/ 1209 h 1266"/>
                <a:gd name="T10" fmla="*/ 567 w 1483"/>
                <a:gd name="T11" fmla="*/ 1172 h 1266"/>
                <a:gd name="T12" fmla="*/ 550 w 1483"/>
                <a:gd name="T13" fmla="*/ 1127 h 1266"/>
                <a:gd name="T14" fmla="*/ 475 w 1483"/>
                <a:gd name="T15" fmla="*/ 1044 h 1266"/>
                <a:gd name="T16" fmla="*/ 463 w 1483"/>
                <a:gd name="T17" fmla="*/ 1011 h 1266"/>
                <a:gd name="T18" fmla="*/ 441 w 1483"/>
                <a:gd name="T19" fmla="*/ 971 h 1266"/>
                <a:gd name="T20" fmla="*/ 378 w 1483"/>
                <a:gd name="T21" fmla="*/ 921 h 1266"/>
                <a:gd name="T22" fmla="*/ 323 w 1483"/>
                <a:gd name="T23" fmla="*/ 860 h 1266"/>
                <a:gd name="T24" fmla="*/ 312 w 1483"/>
                <a:gd name="T25" fmla="*/ 805 h 1266"/>
                <a:gd name="T26" fmla="*/ 278 w 1483"/>
                <a:gd name="T27" fmla="*/ 654 h 1266"/>
                <a:gd name="T28" fmla="*/ 189 w 1483"/>
                <a:gd name="T29" fmla="*/ 572 h 1266"/>
                <a:gd name="T30" fmla="*/ 172 w 1483"/>
                <a:gd name="T31" fmla="*/ 510 h 1266"/>
                <a:gd name="T32" fmla="*/ 156 w 1483"/>
                <a:gd name="T33" fmla="*/ 489 h 1266"/>
                <a:gd name="T34" fmla="*/ 47 w 1483"/>
                <a:gd name="T35" fmla="*/ 326 h 1266"/>
                <a:gd name="T36" fmla="*/ 0 w 1483"/>
                <a:gd name="T37" fmla="*/ 321 h 1266"/>
                <a:gd name="T38" fmla="*/ 106 w 1483"/>
                <a:gd name="T39" fmla="*/ 239 h 1266"/>
                <a:gd name="T40" fmla="*/ 210 w 1483"/>
                <a:gd name="T41" fmla="*/ 177 h 1266"/>
                <a:gd name="T42" fmla="*/ 172 w 1483"/>
                <a:gd name="T43" fmla="*/ 50 h 1266"/>
                <a:gd name="T44" fmla="*/ 408 w 1483"/>
                <a:gd name="T45" fmla="*/ 17 h 1266"/>
                <a:gd name="T46" fmla="*/ 718 w 1483"/>
                <a:gd name="T47" fmla="*/ 239 h 1266"/>
                <a:gd name="T48" fmla="*/ 928 w 1483"/>
                <a:gd name="T49" fmla="*/ 288 h 1266"/>
                <a:gd name="T50" fmla="*/ 987 w 1483"/>
                <a:gd name="T51" fmla="*/ 326 h 1266"/>
                <a:gd name="T52" fmla="*/ 1004 w 1483"/>
                <a:gd name="T53" fmla="*/ 345 h 1266"/>
                <a:gd name="T54" fmla="*/ 1034 w 1483"/>
                <a:gd name="T55" fmla="*/ 378 h 1266"/>
                <a:gd name="T56" fmla="*/ 1051 w 1483"/>
                <a:gd name="T57" fmla="*/ 387 h 1266"/>
                <a:gd name="T58" fmla="*/ 1089 w 1483"/>
                <a:gd name="T59" fmla="*/ 432 h 1266"/>
                <a:gd name="T60" fmla="*/ 1105 w 1483"/>
                <a:gd name="T61" fmla="*/ 461 h 1266"/>
                <a:gd name="T62" fmla="*/ 1089 w 1483"/>
                <a:gd name="T63" fmla="*/ 489 h 1266"/>
                <a:gd name="T64" fmla="*/ 1122 w 1483"/>
                <a:gd name="T65" fmla="*/ 531 h 1266"/>
                <a:gd name="T66" fmla="*/ 1143 w 1483"/>
                <a:gd name="T67" fmla="*/ 583 h 1266"/>
                <a:gd name="T68" fmla="*/ 1176 w 1483"/>
                <a:gd name="T69" fmla="*/ 588 h 1266"/>
                <a:gd name="T70" fmla="*/ 1186 w 1483"/>
                <a:gd name="T71" fmla="*/ 600 h 1266"/>
                <a:gd name="T72" fmla="*/ 1197 w 1483"/>
                <a:gd name="T73" fmla="*/ 626 h 1266"/>
                <a:gd name="T74" fmla="*/ 1450 w 1483"/>
                <a:gd name="T75" fmla="*/ 737 h 1266"/>
                <a:gd name="T76" fmla="*/ 1436 w 1483"/>
                <a:gd name="T77" fmla="*/ 938 h 1266"/>
                <a:gd name="T78" fmla="*/ 9 w 1483"/>
                <a:gd name="T79" fmla="*/ 333 h 1266"/>
                <a:gd name="T80" fmla="*/ 0 w 1483"/>
                <a:gd name="T81" fmla="*/ 326 h 1266"/>
                <a:gd name="T82" fmla="*/ 1051 w 1483"/>
                <a:gd name="T83" fmla="*/ 383 h 1266"/>
                <a:gd name="T84" fmla="*/ 1051 w 1483"/>
                <a:gd name="T85" fmla="*/ 383 h 1266"/>
                <a:gd name="T86" fmla="*/ 517 w 1483"/>
                <a:gd name="T87" fmla="*/ 1172 h 1266"/>
                <a:gd name="T88" fmla="*/ 517 w 1483"/>
                <a:gd name="T89" fmla="*/ 1172 h 1266"/>
                <a:gd name="T90" fmla="*/ 517 w 1483"/>
                <a:gd name="T91" fmla="*/ 1172 h 1266"/>
                <a:gd name="T92" fmla="*/ 512 w 1483"/>
                <a:gd name="T93" fmla="*/ 1181 h 1266"/>
                <a:gd name="T94" fmla="*/ 529 w 1483"/>
                <a:gd name="T95" fmla="*/ 1181 h 1266"/>
                <a:gd name="T96" fmla="*/ 534 w 1483"/>
                <a:gd name="T97" fmla="*/ 1200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3" h="1266">
                  <a:moveTo>
                    <a:pt x="1436" y="938"/>
                  </a:moveTo>
                  <a:lnTo>
                    <a:pt x="1230" y="1016"/>
                  </a:lnTo>
                  <a:lnTo>
                    <a:pt x="997" y="1070"/>
                  </a:lnTo>
                  <a:lnTo>
                    <a:pt x="824" y="1266"/>
                  </a:lnTo>
                  <a:lnTo>
                    <a:pt x="824" y="1193"/>
                  </a:lnTo>
                  <a:lnTo>
                    <a:pt x="694" y="1139"/>
                  </a:lnTo>
                  <a:lnTo>
                    <a:pt x="656" y="1143"/>
                  </a:lnTo>
                  <a:lnTo>
                    <a:pt x="635" y="1127"/>
                  </a:lnTo>
                  <a:lnTo>
                    <a:pt x="619" y="1127"/>
                  </a:lnTo>
                  <a:lnTo>
                    <a:pt x="609" y="1139"/>
                  </a:lnTo>
                  <a:lnTo>
                    <a:pt x="604" y="1172"/>
                  </a:lnTo>
                  <a:lnTo>
                    <a:pt x="609" y="1193"/>
                  </a:lnTo>
                  <a:lnTo>
                    <a:pt x="604" y="1193"/>
                  </a:lnTo>
                  <a:lnTo>
                    <a:pt x="593" y="1200"/>
                  </a:lnTo>
                  <a:lnTo>
                    <a:pt x="581" y="1209"/>
                  </a:lnTo>
                  <a:lnTo>
                    <a:pt x="581" y="1193"/>
                  </a:lnTo>
                  <a:lnTo>
                    <a:pt x="567" y="1176"/>
                  </a:lnTo>
                  <a:lnTo>
                    <a:pt x="567" y="1172"/>
                  </a:lnTo>
                  <a:lnTo>
                    <a:pt x="555" y="1155"/>
                  </a:lnTo>
                  <a:lnTo>
                    <a:pt x="550" y="1160"/>
                  </a:lnTo>
                  <a:lnTo>
                    <a:pt x="550" y="1127"/>
                  </a:lnTo>
                  <a:lnTo>
                    <a:pt x="500" y="1098"/>
                  </a:lnTo>
                  <a:lnTo>
                    <a:pt x="484" y="1061"/>
                  </a:lnTo>
                  <a:lnTo>
                    <a:pt x="475" y="1044"/>
                  </a:lnTo>
                  <a:lnTo>
                    <a:pt x="475" y="1028"/>
                  </a:lnTo>
                  <a:lnTo>
                    <a:pt x="463" y="1016"/>
                  </a:lnTo>
                  <a:lnTo>
                    <a:pt x="463" y="1011"/>
                  </a:lnTo>
                  <a:lnTo>
                    <a:pt x="458" y="1004"/>
                  </a:lnTo>
                  <a:lnTo>
                    <a:pt x="446" y="987"/>
                  </a:lnTo>
                  <a:lnTo>
                    <a:pt x="441" y="971"/>
                  </a:lnTo>
                  <a:lnTo>
                    <a:pt x="441" y="959"/>
                  </a:lnTo>
                  <a:lnTo>
                    <a:pt x="392" y="921"/>
                  </a:lnTo>
                  <a:lnTo>
                    <a:pt x="378" y="921"/>
                  </a:lnTo>
                  <a:lnTo>
                    <a:pt x="366" y="905"/>
                  </a:lnTo>
                  <a:lnTo>
                    <a:pt x="349" y="883"/>
                  </a:lnTo>
                  <a:lnTo>
                    <a:pt x="323" y="860"/>
                  </a:lnTo>
                  <a:lnTo>
                    <a:pt x="323" y="843"/>
                  </a:lnTo>
                  <a:lnTo>
                    <a:pt x="323" y="827"/>
                  </a:lnTo>
                  <a:lnTo>
                    <a:pt x="312" y="805"/>
                  </a:lnTo>
                  <a:lnTo>
                    <a:pt x="323" y="765"/>
                  </a:lnTo>
                  <a:lnTo>
                    <a:pt x="316" y="749"/>
                  </a:lnTo>
                  <a:lnTo>
                    <a:pt x="278" y="654"/>
                  </a:lnTo>
                  <a:lnTo>
                    <a:pt x="257" y="638"/>
                  </a:lnTo>
                  <a:lnTo>
                    <a:pt x="203" y="609"/>
                  </a:lnTo>
                  <a:lnTo>
                    <a:pt x="189" y="572"/>
                  </a:lnTo>
                  <a:lnTo>
                    <a:pt x="193" y="572"/>
                  </a:lnTo>
                  <a:lnTo>
                    <a:pt x="189" y="548"/>
                  </a:lnTo>
                  <a:lnTo>
                    <a:pt x="172" y="510"/>
                  </a:lnTo>
                  <a:lnTo>
                    <a:pt x="156" y="498"/>
                  </a:lnTo>
                  <a:lnTo>
                    <a:pt x="151" y="494"/>
                  </a:lnTo>
                  <a:lnTo>
                    <a:pt x="156" y="489"/>
                  </a:lnTo>
                  <a:lnTo>
                    <a:pt x="139" y="477"/>
                  </a:lnTo>
                  <a:lnTo>
                    <a:pt x="118" y="437"/>
                  </a:lnTo>
                  <a:lnTo>
                    <a:pt x="47" y="326"/>
                  </a:lnTo>
                  <a:lnTo>
                    <a:pt x="14" y="321"/>
                  </a:lnTo>
                  <a:lnTo>
                    <a:pt x="9" y="326"/>
                  </a:lnTo>
                  <a:lnTo>
                    <a:pt x="0" y="321"/>
                  </a:lnTo>
                  <a:lnTo>
                    <a:pt x="14" y="288"/>
                  </a:lnTo>
                  <a:lnTo>
                    <a:pt x="30" y="222"/>
                  </a:lnTo>
                  <a:lnTo>
                    <a:pt x="106" y="239"/>
                  </a:lnTo>
                  <a:lnTo>
                    <a:pt x="139" y="215"/>
                  </a:lnTo>
                  <a:lnTo>
                    <a:pt x="156" y="182"/>
                  </a:lnTo>
                  <a:lnTo>
                    <a:pt x="210" y="177"/>
                  </a:lnTo>
                  <a:lnTo>
                    <a:pt x="215" y="144"/>
                  </a:lnTo>
                  <a:lnTo>
                    <a:pt x="241" y="139"/>
                  </a:lnTo>
                  <a:lnTo>
                    <a:pt x="172" y="50"/>
                  </a:lnTo>
                  <a:lnTo>
                    <a:pt x="316" y="9"/>
                  </a:lnTo>
                  <a:lnTo>
                    <a:pt x="323" y="0"/>
                  </a:lnTo>
                  <a:lnTo>
                    <a:pt x="408" y="17"/>
                  </a:lnTo>
                  <a:lnTo>
                    <a:pt x="484" y="66"/>
                  </a:lnTo>
                  <a:lnTo>
                    <a:pt x="534" y="83"/>
                  </a:lnTo>
                  <a:lnTo>
                    <a:pt x="718" y="239"/>
                  </a:lnTo>
                  <a:lnTo>
                    <a:pt x="841" y="239"/>
                  </a:lnTo>
                  <a:lnTo>
                    <a:pt x="907" y="250"/>
                  </a:lnTo>
                  <a:lnTo>
                    <a:pt x="928" y="288"/>
                  </a:lnTo>
                  <a:lnTo>
                    <a:pt x="971" y="288"/>
                  </a:lnTo>
                  <a:lnTo>
                    <a:pt x="982" y="288"/>
                  </a:lnTo>
                  <a:lnTo>
                    <a:pt x="987" y="326"/>
                  </a:lnTo>
                  <a:lnTo>
                    <a:pt x="1004" y="345"/>
                  </a:lnTo>
                  <a:lnTo>
                    <a:pt x="1004" y="350"/>
                  </a:lnTo>
                  <a:lnTo>
                    <a:pt x="1004" y="345"/>
                  </a:lnTo>
                  <a:lnTo>
                    <a:pt x="1004" y="361"/>
                  </a:lnTo>
                  <a:lnTo>
                    <a:pt x="1034" y="366"/>
                  </a:lnTo>
                  <a:lnTo>
                    <a:pt x="1034" y="378"/>
                  </a:lnTo>
                  <a:lnTo>
                    <a:pt x="1025" y="378"/>
                  </a:lnTo>
                  <a:lnTo>
                    <a:pt x="1041" y="399"/>
                  </a:lnTo>
                  <a:lnTo>
                    <a:pt x="1051" y="387"/>
                  </a:lnTo>
                  <a:lnTo>
                    <a:pt x="1067" y="404"/>
                  </a:lnTo>
                  <a:lnTo>
                    <a:pt x="1096" y="437"/>
                  </a:lnTo>
                  <a:lnTo>
                    <a:pt x="1089" y="432"/>
                  </a:lnTo>
                  <a:lnTo>
                    <a:pt x="1089" y="444"/>
                  </a:lnTo>
                  <a:lnTo>
                    <a:pt x="1096" y="456"/>
                  </a:lnTo>
                  <a:lnTo>
                    <a:pt x="1105" y="461"/>
                  </a:lnTo>
                  <a:lnTo>
                    <a:pt x="1096" y="477"/>
                  </a:lnTo>
                  <a:lnTo>
                    <a:pt x="1089" y="472"/>
                  </a:lnTo>
                  <a:lnTo>
                    <a:pt x="1089" y="489"/>
                  </a:lnTo>
                  <a:lnTo>
                    <a:pt x="1105" y="515"/>
                  </a:lnTo>
                  <a:lnTo>
                    <a:pt x="1096" y="510"/>
                  </a:lnTo>
                  <a:lnTo>
                    <a:pt x="1122" y="531"/>
                  </a:lnTo>
                  <a:lnTo>
                    <a:pt x="1126" y="555"/>
                  </a:lnTo>
                  <a:lnTo>
                    <a:pt x="1143" y="583"/>
                  </a:lnTo>
                  <a:lnTo>
                    <a:pt x="1143" y="583"/>
                  </a:lnTo>
                  <a:lnTo>
                    <a:pt x="1148" y="600"/>
                  </a:lnTo>
                  <a:lnTo>
                    <a:pt x="1176" y="588"/>
                  </a:lnTo>
                  <a:lnTo>
                    <a:pt x="1176" y="588"/>
                  </a:lnTo>
                  <a:lnTo>
                    <a:pt x="1176" y="600"/>
                  </a:lnTo>
                  <a:lnTo>
                    <a:pt x="1181" y="588"/>
                  </a:lnTo>
                  <a:lnTo>
                    <a:pt x="1186" y="600"/>
                  </a:lnTo>
                  <a:lnTo>
                    <a:pt x="1176" y="609"/>
                  </a:lnTo>
                  <a:lnTo>
                    <a:pt x="1197" y="621"/>
                  </a:lnTo>
                  <a:lnTo>
                    <a:pt x="1197" y="626"/>
                  </a:lnTo>
                  <a:lnTo>
                    <a:pt x="1268" y="716"/>
                  </a:lnTo>
                  <a:lnTo>
                    <a:pt x="1445" y="737"/>
                  </a:lnTo>
                  <a:lnTo>
                    <a:pt x="1450" y="737"/>
                  </a:lnTo>
                  <a:lnTo>
                    <a:pt x="1483" y="789"/>
                  </a:lnTo>
                  <a:lnTo>
                    <a:pt x="1436" y="938"/>
                  </a:lnTo>
                  <a:lnTo>
                    <a:pt x="1436" y="938"/>
                  </a:lnTo>
                  <a:lnTo>
                    <a:pt x="1436" y="938"/>
                  </a:lnTo>
                  <a:close/>
                  <a:moveTo>
                    <a:pt x="0" y="326"/>
                  </a:moveTo>
                  <a:lnTo>
                    <a:pt x="9" y="333"/>
                  </a:lnTo>
                  <a:lnTo>
                    <a:pt x="0" y="333"/>
                  </a:lnTo>
                  <a:lnTo>
                    <a:pt x="0" y="326"/>
                  </a:lnTo>
                  <a:lnTo>
                    <a:pt x="0" y="326"/>
                  </a:lnTo>
                  <a:lnTo>
                    <a:pt x="0" y="326"/>
                  </a:lnTo>
                  <a:close/>
                  <a:moveTo>
                    <a:pt x="1051" y="383"/>
                  </a:moveTo>
                  <a:lnTo>
                    <a:pt x="1051" y="383"/>
                  </a:lnTo>
                  <a:lnTo>
                    <a:pt x="1058" y="383"/>
                  </a:lnTo>
                  <a:lnTo>
                    <a:pt x="1051" y="383"/>
                  </a:lnTo>
                  <a:lnTo>
                    <a:pt x="1051" y="383"/>
                  </a:lnTo>
                  <a:lnTo>
                    <a:pt x="1051" y="383"/>
                  </a:lnTo>
                  <a:close/>
                  <a:moveTo>
                    <a:pt x="517" y="1172"/>
                  </a:moveTo>
                  <a:lnTo>
                    <a:pt x="517" y="1172"/>
                  </a:lnTo>
                  <a:lnTo>
                    <a:pt x="529" y="1181"/>
                  </a:lnTo>
                  <a:lnTo>
                    <a:pt x="512" y="1176"/>
                  </a:lnTo>
                  <a:lnTo>
                    <a:pt x="517" y="1172"/>
                  </a:lnTo>
                  <a:lnTo>
                    <a:pt x="517" y="1172"/>
                  </a:lnTo>
                  <a:lnTo>
                    <a:pt x="517" y="1172"/>
                  </a:lnTo>
                  <a:lnTo>
                    <a:pt x="517" y="1172"/>
                  </a:lnTo>
                  <a:close/>
                  <a:moveTo>
                    <a:pt x="534" y="1200"/>
                  </a:moveTo>
                  <a:lnTo>
                    <a:pt x="534" y="1193"/>
                  </a:lnTo>
                  <a:lnTo>
                    <a:pt x="512" y="1181"/>
                  </a:lnTo>
                  <a:lnTo>
                    <a:pt x="512" y="1176"/>
                  </a:lnTo>
                  <a:lnTo>
                    <a:pt x="517" y="1181"/>
                  </a:lnTo>
                  <a:lnTo>
                    <a:pt x="529" y="1181"/>
                  </a:lnTo>
                  <a:lnTo>
                    <a:pt x="529" y="1181"/>
                  </a:lnTo>
                  <a:lnTo>
                    <a:pt x="534" y="1176"/>
                  </a:lnTo>
                  <a:lnTo>
                    <a:pt x="534" y="1200"/>
                  </a:lnTo>
                  <a:lnTo>
                    <a:pt x="534" y="1200"/>
                  </a:lnTo>
                  <a:lnTo>
                    <a:pt x="534" y="1200"/>
                  </a:lnTo>
                  <a:close/>
                </a:path>
              </a:pathLst>
            </a:custGeom>
            <a:pattFill prst="lt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6" name="Freeform 546">
              <a:extLst>
                <a:ext uri="{FF2B5EF4-FFF2-40B4-BE49-F238E27FC236}">
                  <a16:creationId xmlns:a16="http://schemas.microsoft.com/office/drawing/2014/main" id="{A061B3C2-05CC-4EF7-A96A-C20830B939F5}"/>
                </a:ext>
              </a:extLst>
            </p:cNvPr>
            <p:cNvSpPr>
              <a:spLocks/>
            </p:cNvSpPr>
            <p:nvPr/>
          </p:nvSpPr>
          <p:spPr bwMode="gray">
            <a:xfrm>
              <a:off x="3815896" y="2790228"/>
              <a:ext cx="7918" cy="10393"/>
            </a:xfrm>
            <a:custGeom>
              <a:avLst/>
              <a:gdLst>
                <a:gd name="T0" fmla="*/ 5 w 16"/>
                <a:gd name="T1" fmla="*/ 0 h 21"/>
                <a:gd name="T2" fmla="*/ 5 w 16"/>
                <a:gd name="T3" fmla="*/ 4 h 21"/>
                <a:gd name="T4" fmla="*/ 5 w 16"/>
                <a:gd name="T5" fmla="*/ 4 h 21"/>
                <a:gd name="T6" fmla="*/ 16 w 16"/>
                <a:gd name="T7" fmla="*/ 21 h 21"/>
                <a:gd name="T8" fmla="*/ 5 w 16"/>
                <a:gd name="T9" fmla="*/ 21 h 21"/>
                <a:gd name="T10" fmla="*/ 0 w 16"/>
                <a:gd name="T11" fmla="*/ 0 h 21"/>
                <a:gd name="T12" fmla="*/ 5 w 16"/>
                <a:gd name="T13" fmla="*/ 0 h 21"/>
                <a:gd name="T14" fmla="*/ 5 w 16"/>
                <a:gd name="T15" fmla="*/ 0 h 21"/>
                <a:gd name="T16" fmla="*/ 5 w 16"/>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1">
                  <a:moveTo>
                    <a:pt x="5" y="0"/>
                  </a:moveTo>
                  <a:lnTo>
                    <a:pt x="5" y="4"/>
                  </a:lnTo>
                  <a:lnTo>
                    <a:pt x="5" y="4"/>
                  </a:lnTo>
                  <a:lnTo>
                    <a:pt x="16" y="21"/>
                  </a:lnTo>
                  <a:lnTo>
                    <a:pt x="5" y="21"/>
                  </a:lnTo>
                  <a:lnTo>
                    <a:pt x="0" y="0"/>
                  </a:lnTo>
                  <a:lnTo>
                    <a:pt x="5" y="0"/>
                  </a:lnTo>
                  <a:lnTo>
                    <a:pt x="5" y="0"/>
                  </a:lnTo>
                  <a:lnTo>
                    <a:pt x="5" y="0"/>
                  </a:lnTo>
                  <a:close/>
                </a:path>
              </a:pathLst>
            </a:custGeom>
            <a:solidFill>
              <a:schemeClr val="accent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7" name="Freeform 547">
              <a:extLst>
                <a:ext uri="{FF2B5EF4-FFF2-40B4-BE49-F238E27FC236}">
                  <a16:creationId xmlns:a16="http://schemas.microsoft.com/office/drawing/2014/main" id="{BC0BAAC6-7DD4-4B03-A62E-B70D5A788441}"/>
                </a:ext>
              </a:extLst>
            </p:cNvPr>
            <p:cNvSpPr>
              <a:spLocks/>
            </p:cNvSpPr>
            <p:nvPr/>
          </p:nvSpPr>
          <p:spPr bwMode="gray">
            <a:xfrm>
              <a:off x="3594687" y="3976580"/>
              <a:ext cx="2474" cy="8414"/>
            </a:xfrm>
            <a:custGeom>
              <a:avLst/>
              <a:gdLst>
                <a:gd name="T0" fmla="*/ 5 w 5"/>
                <a:gd name="T1" fmla="*/ 17 h 17"/>
                <a:gd name="T2" fmla="*/ 0 w 5"/>
                <a:gd name="T3" fmla="*/ 0 h 17"/>
                <a:gd name="T4" fmla="*/ 5 w 5"/>
                <a:gd name="T5" fmla="*/ 0 h 17"/>
                <a:gd name="T6" fmla="*/ 5 w 5"/>
                <a:gd name="T7" fmla="*/ 17 h 17"/>
                <a:gd name="T8" fmla="*/ 5 w 5"/>
                <a:gd name="T9" fmla="*/ 17 h 17"/>
                <a:gd name="T10" fmla="*/ 5 w 5"/>
                <a:gd name="T11" fmla="*/ 17 h 17"/>
              </a:gdLst>
              <a:ahLst/>
              <a:cxnLst>
                <a:cxn ang="0">
                  <a:pos x="T0" y="T1"/>
                </a:cxn>
                <a:cxn ang="0">
                  <a:pos x="T2" y="T3"/>
                </a:cxn>
                <a:cxn ang="0">
                  <a:pos x="T4" y="T5"/>
                </a:cxn>
                <a:cxn ang="0">
                  <a:pos x="T6" y="T7"/>
                </a:cxn>
                <a:cxn ang="0">
                  <a:pos x="T8" y="T9"/>
                </a:cxn>
                <a:cxn ang="0">
                  <a:pos x="T10" y="T11"/>
                </a:cxn>
              </a:cxnLst>
              <a:rect l="0" t="0" r="r" b="b"/>
              <a:pathLst>
                <a:path w="5" h="17">
                  <a:moveTo>
                    <a:pt x="5" y="17"/>
                  </a:moveTo>
                  <a:lnTo>
                    <a:pt x="0" y="0"/>
                  </a:lnTo>
                  <a:lnTo>
                    <a:pt x="5" y="0"/>
                  </a:lnTo>
                  <a:lnTo>
                    <a:pt x="5" y="17"/>
                  </a:lnTo>
                  <a:lnTo>
                    <a:pt x="5" y="17"/>
                  </a:lnTo>
                  <a:lnTo>
                    <a:pt x="5" y="17"/>
                  </a:lnTo>
                  <a:close/>
                </a:path>
              </a:pathLst>
            </a:custGeom>
            <a:solidFill>
              <a:schemeClr val="accent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8" name="Freeform 548">
              <a:extLst>
                <a:ext uri="{FF2B5EF4-FFF2-40B4-BE49-F238E27FC236}">
                  <a16:creationId xmlns:a16="http://schemas.microsoft.com/office/drawing/2014/main" id="{B5B8AAC8-7C73-4208-BEBA-27F82EAA5D07}"/>
                </a:ext>
              </a:extLst>
            </p:cNvPr>
            <p:cNvSpPr>
              <a:spLocks noEditPoints="1"/>
            </p:cNvSpPr>
            <p:nvPr/>
          </p:nvSpPr>
          <p:spPr bwMode="gray">
            <a:xfrm>
              <a:off x="7379010" y="4764514"/>
              <a:ext cx="323650" cy="176691"/>
            </a:xfrm>
            <a:custGeom>
              <a:avLst/>
              <a:gdLst>
                <a:gd name="T0" fmla="*/ 654 w 654"/>
                <a:gd name="T1" fmla="*/ 17 h 357"/>
                <a:gd name="T2" fmla="*/ 638 w 654"/>
                <a:gd name="T3" fmla="*/ 12 h 357"/>
                <a:gd name="T4" fmla="*/ 647 w 654"/>
                <a:gd name="T5" fmla="*/ 0 h 357"/>
                <a:gd name="T6" fmla="*/ 654 w 654"/>
                <a:gd name="T7" fmla="*/ 17 h 357"/>
                <a:gd name="T8" fmla="*/ 654 w 654"/>
                <a:gd name="T9" fmla="*/ 17 h 357"/>
                <a:gd name="T10" fmla="*/ 654 w 654"/>
                <a:gd name="T11" fmla="*/ 17 h 357"/>
                <a:gd name="T12" fmla="*/ 7 w 654"/>
                <a:gd name="T13" fmla="*/ 357 h 357"/>
                <a:gd name="T14" fmla="*/ 0 w 654"/>
                <a:gd name="T15" fmla="*/ 352 h 357"/>
                <a:gd name="T16" fmla="*/ 23 w 654"/>
                <a:gd name="T17" fmla="*/ 352 h 357"/>
                <a:gd name="T18" fmla="*/ 7 w 654"/>
                <a:gd name="T19" fmla="*/ 357 h 357"/>
                <a:gd name="T20" fmla="*/ 7 w 654"/>
                <a:gd name="T21" fmla="*/ 357 h 357"/>
                <a:gd name="T22" fmla="*/ 7 w 654"/>
                <a:gd name="T23"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4" h="357">
                  <a:moveTo>
                    <a:pt x="654" y="17"/>
                  </a:moveTo>
                  <a:lnTo>
                    <a:pt x="638" y="12"/>
                  </a:lnTo>
                  <a:lnTo>
                    <a:pt x="647" y="0"/>
                  </a:lnTo>
                  <a:lnTo>
                    <a:pt x="654" y="17"/>
                  </a:lnTo>
                  <a:lnTo>
                    <a:pt x="654" y="17"/>
                  </a:lnTo>
                  <a:lnTo>
                    <a:pt x="654" y="17"/>
                  </a:lnTo>
                  <a:close/>
                  <a:moveTo>
                    <a:pt x="7" y="357"/>
                  </a:moveTo>
                  <a:lnTo>
                    <a:pt x="0" y="352"/>
                  </a:lnTo>
                  <a:lnTo>
                    <a:pt x="23" y="352"/>
                  </a:lnTo>
                  <a:lnTo>
                    <a:pt x="7" y="357"/>
                  </a:lnTo>
                  <a:lnTo>
                    <a:pt x="7" y="357"/>
                  </a:lnTo>
                  <a:lnTo>
                    <a:pt x="7" y="357"/>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9" name="Freeform 549">
              <a:extLst>
                <a:ext uri="{FF2B5EF4-FFF2-40B4-BE49-F238E27FC236}">
                  <a16:creationId xmlns:a16="http://schemas.microsoft.com/office/drawing/2014/main" id="{80D085D0-C654-4EEC-89BA-C17EA9F5BF77}"/>
                </a:ext>
              </a:extLst>
            </p:cNvPr>
            <p:cNvSpPr>
              <a:spLocks noEditPoints="1"/>
            </p:cNvSpPr>
            <p:nvPr/>
          </p:nvSpPr>
          <p:spPr bwMode="gray">
            <a:xfrm>
              <a:off x="6275435" y="5403966"/>
              <a:ext cx="813578" cy="1006692"/>
            </a:xfrm>
            <a:custGeom>
              <a:avLst/>
              <a:gdLst>
                <a:gd name="T0" fmla="*/ 449 w 1644"/>
                <a:gd name="T1" fmla="*/ 289 h 2034"/>
                <a:gd name="T2" fmla="*/ 437 w 1644"/>
                <a:gd name="T3" fmla="*/ 355 h 2034"/>
                <a:gd name="T4" fmla="*/ 534 w 1644"/>
                <a:gd name="T5" fmla="*/ 350 h 2034"/>
                <a:gd name="T6" fmla="*/ 588 w 1644"/>
                <a:gd name="T7" fmla="*/ 260 h 2034"/>
                <a:gd name="T8" fmla="*/ 664 w 1644"/>
                <a:gd name="T9" fmla="*/ 272 h 2034"/>
                <a:gd name="T10" fmla="*/ 718 w 1644"/>
                <a:gd name="T11" fmla="*/ 289 h 2034"/>
                <a:gd name="T12" fmla="*/ 805 w 1644"/>
                <a:gd name="T13" fmla="*/ 199 h 2034"/>
                <a:gd name="T14" fmla="*/ 881 w 1644"/>
                <a:gd name="T15" fmla="*/ 123 h 2034"/>
                <a:gd name="T16" fmla="*/ 923 w 1644"/>
                <a:gd name="T17" fmla="*/ 90 h 2034"/>
                <a:gd name="T18" fmla="*/ 1020 w 1644"/>
                <a:gd name="T19" fmla="*/ 22 h 2034"/>
                <a:gd name="T20" fmla="*/ 1075 w 1644"/>
                <a:gd name="T21" fmla="*/ 0 h 2034"/>
                <a:gd name="T22" fmla="*/ 1188 w 1644"/>
                <a:gd name="T23" fmla="*/ 22 h 2034"/>
                <a:gd name="T24" fmla="*/ 1226 w 1644"/>
                <a:gd name="T25" fmla="*/ 144 h 2034"/>
                <a:gd name="T26" fmla="*/ 1226 w 1644"/>
                <a:gd name="T27" fmla="*/ 293 h 2034"/>
                <a:gd name="T28" fmla="*/ 1171 w 1644"/>
                <a:gd name="T29" fmla="*/ 293 h 2034"/>
                <a:gd name="T30" fmla="*/ 1157 w 1644"/>
                <a:gd name="T31" fmla="*/ 355 h 2034"/>
                <a:gd name="T32" fmla="*/ 1238 w 1644"/>
                <a:gd name="T33" fmla="*/ 400 h 2034"/>
                <a:gd name="T34" fmla="*/ 1297 w 1644"/>
                <a:gd name="T35" fmla="*/ 366 h 2034"/>
                <a:gd name="T36" fmla="*/ 1221 w 1644"/>
                <a:gd name="T37" fmla="*/ 522 h 2034"/>
                <a:gd name="T38" fmla="*/ 1167 w 1644"/>
                <a:gd name="T39" fmla="*/ 605 h 2034"/>
                <a:gd name="T40" fmla="*/ 990 w 1644"/>
                <a:gd name="T41" fmla="*/ 815 h 2034"/>
                <a:gd name="T42" fmla="*/ 848 w 1644"/>
                <a:gd name="T43" fmla="*/ 910 h 2034"/>
                <a:gd name="T44" fmla="*/ 794 w 1644"/>
                <a:gd name="T45" fmla="*/ 926 h 2034"/>
                <a:gd name="T46" fmla="*/ 734 w 1644"/>
                <a:gd name="T47" fmla="*/ 943 h 2034"/>
                <a:gd name="T48" fmla="*/ 626 w 1644"/>
                <a:gd name="T49" fmla="*/ 938 h 2034"/>
                <a:gd name="T50" fmla="*/ 517 w 1644"/>
                <a:gd name="T51" fmla="*/ 959 h 2034"/>
                <a:gd name="T52" fmla="*/ 453 w 1644"/>
                <a:gd name="T53" fmla="*/ 959 h 2034"/>
                <a:gd name="T54" fmla="*/ 394 w 1644"/>
                <a:gd name="T55" fmla="*/ 992 h 2034"/>
                <a:gd name="T56" fmla="*/ 345 w 1644"/>
                <a:gd name="T57" fmla="*/ 964 h 2034"/>
                <a:gd name="T58" fmla="*/ 307 w 1644"/>
                <a:gd name="T59" fmla="*/ 943 h 2034"/>
                <a:gd name="T60" fmla="*/ 286 w 1644"/>
                <a:gd name="T61" fmla="*/ 959 h 2034"/>
                <a:gd name="T62" fmla="*/ 286 w 1644"/>
                <a:gd name="T63" fmla="*/ 922 h 2034"/>
                <a:gd name="T64" fmla="*/ 248 w 1644"/>
                <a:gd name="T65" fmla="*/ 848 h 2034"/>
                <a:gd name="T66" fmla="*/ 260 w 1644"/>
                <a:gd name="T67" fmla="*/ 832 h 2034"/>
                <a:gd name="T68" fmla="*/ 269 w 1644"/>
                <a:gd name="T69" fmla="*/ 759 h 2034"/>
                <a:gd name="T70" fmla="*/ 151 w 1644"/>
                <a:gd name="T71" fmla="*/ 522 h 2034"/>
                <a:gd name="T72" fmla="*/ 168 w 1644"/>
                <a:gd name="T73" fmla="*/ 461 h 2034"/>
                <a:gd name="T74" fmla="*/ 205 w 1644"/>
                <a:gd name="T75" fmla="*/ 466 h 2034"/>
                <a:gd name="T76" fmla="*/ 222 w 1644"/>
                <a:gd name="T77" fmla="*/ 515 h 2034"/>
                <a:gd name="T78" fmla="*/ 302 w 1644"/>
                <a:gd name="T79" fmla="*/ 515 h 2034"/>
                <a:gd name="T80" fmla="*/ 340 w 1644"/>
                <a:gd name="T81" fmla="*/ 511 h 2034"/>
                <a:gd name="T82" fmla="*/ 394 w 1644"/>
                <a:gd name="T83" fmla="*/ 482 h 2034"/>
                <a:gd name="T84" fmla="*/ 394 w 1644"/>
                <a:gd name="T85" fmla="*/ 199 h 2034"/>
                <a:gd name="T86" fmla="*/ 966 w 1644"/>
                <a:gd name="T87" fmla="*/ 511 h 2034"/>
                <a:gd name="T88" fmla="*/ 886 w 1644"/>
                <a:gd name="T89" fmla="*/ 577 h 2034"/>
                <a:gd name="T90" fmla="*/ 935 w 1644"/>
                <a:gd name="T91" fmla="*/ 659 h 2034"/>
                <a:gd name="T92" fmla="*/ 1011 w 1644"/>
                <a:gd name="T93" fmla="*/ 622 h 2034"/>
                <a:gd name="T94" fmla="*/ 1042 w 1644"/>
                <a:gd name="T95" fmla="*/ 577 h 2034"/>
                <a:gd name="T96" fmla="*/ 1049 w 1644"/>
                <a:gd name="T97" fmla="*/ 539 h 2034"/>
                <a:gd name="T98" fmla="*/ 1011 w 1644"/>
                <a:gd name="T99" fmla="*/ 511 h 2034"/>
                <a:gd name="T100" fmla="*/ 21 w 1644"/>
                <a:gd name="T101" fmla="*/ 78 h 2034"/>
                <a:gd name="T102" fmla="*/ 0 w 1644"/>
                <a:gd name="T103" fmla="*/ 55 h 2034"/>
                <a:gd name="T104" fmla="*/ 5 w 1644"/>
                <a:gd name="T105" fmla="*/ 38 h 2034"/>
                <a:gd name="T106" fmla="*/ 1644 w 1644"/>
                <a:gd name="T107" fmla="*/ 2034 h 2034"/>
                <a:gd name="T108" fmla="*/ 1644 w 1644"/>
                <a:gd name="T109" fmla="*/ 2029 h 2034"/>
                <a:gd name="T110" fmla="*/ 1644 w 1644"/>
                <a:gd name="T111" fmla="*/ 2034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44" h="2034">
                  <a:moveTo>
                    <a:pt x="394" y="199"/>
                  </a:moveTo>
                  <a:lnTo>
                    <a:pt x="416" y="222"/>
                  </a:lnTo>
                  <a:lnTo>
                    <a:pt x="449" y="289"/>
                  </a:lnTo>
                  <a:lnTo>
                    <a:pt x="453" y="310"/>
                  </a:lnTo>
                  <a:lnTo>
                    <a:pt x="432" y="333"/>
                  </a:lnTo>
                  <a:lnTo>
                    <a:pt x="437" y="355"/>
                  </a:lnTo>
                  <a:lnTo>
                    <a:pt x="508" y="366"/>
                  </a:lnTo>
                  <a:lnTo>
                    <a:pt x="517" y="350"/>
                  </a:lnTo>
                  <a:lnTo>
                    <a:pt x="534" y="350"/>
                  </a:lnTo>
                  <a:lnTo>
                    <a:pt x="546" y="326"/>
                  </a:lnTo>
                  <a:lnTo>
                    <a:pt x="579" y="300"/>
                  </a:lnTo>
                  <a:lnTo>
                    <a:pt x="588" y="260"/>
                  </a:lnTo>
                  <a:lnTo>
                    <a:pt x="600" y="244"/>
                  </a:lnTo>
                  <a:lnTo>
                    <a:pt x="633" y="239"/>
                  </a:lnTo>
                  <a:lnTo>
                    <a:pt x="664" y="272"/>
                  </a:lnTo>
                  <a:lnTo>
                    <a:pt x="685" y="272"/>
                  </a:lnTo>
                  <a:lnTo>
                    <a:pt x="697" y="277"/>
                  </a:lnTo>
                  <a:lnTo>
                    <a:pt x="718" y="289"/>
                  </a:lnTo>
                  <a:lnTo>
                    <a:pt x="777" y="272"/>
                  </a:lnTo>
                  <a:lnTo>
                    <a:pt x="789" y="255"/>
                  </a:lnTo>
                  <a:lnTo>
                    <a:pt x="805" y="199"/>
                  </a:lnTo>
                  <a:lnTo>
                    <a:pt x="843" y="189"/>
                  </a:lnTo>
                  <a:lnTo>
                    <a:pt x="869" y="166"/>
                  </a:lnTo>
                  <a:lnTo>
                    <a:pt x="881" y="123"/>
                  </a:lnTo>
                  <a:lnTo>
                    <a:pt x="914" y="95"/>
                  </a:lnTo>
                  <a:lnTo>
                    <a:pt x="919" y="95"/>
                  </a:lnTo>
                  <a:lnTo>
                    <a:pt x="923" y="90"/>
                  </a:lnTo>
                  <a:lnTo>
                    <a:pt x="952" y="74"/>
                  </a:lnTo>
                  <a:lnTo>
                    <a:pt x="973" y="38"/>
                  </a:lnTo>
                  <a:lnTo>
                    <a:pt x="1020" y="22"/>
                  </a:lnTo>
                  <a:lnTo>
                    <a:pt x="1027" y="12"/>
                  </a:lnTo>
                  <a:lnTo>
                    <a:pt x="1049" y="12"/>
                  </a:lnTo>
                  <a:lnTo>
                    <a:pt x="1075" y="0"/>
                  </a:lnTo>
                  <a:lnTo>
                    <a:pt x="1120" y="17"/>
                  </a:lnTo>
                  <a:lnTo>
                    <a:pt x="1157" y="17"/>
                  </a:lnTo>
                  <a:lnTo>
                    <a:pt x="1188" y="22"/>
                  </a:lnTo>
                  <a:lnTo>
                    <a:pt x="1205" y="78"/>
                  </a:lnTo>
                  <a:lnTo>
                    <a:pt x="1205" y="107"/>
                  </a:lnTo>
                  <a:lnTo>
                    <a:pt x="1226" y="144"/>
                  </a:lnTo>
                  <a:lnTo>
                    <a:pt x="1238" y="178"/>
                  </a:lnTo>
                  <a:lnTo>
                    <a:pt x="1238" y="293"/>
                  </a:lnTo>
                  <a:lnTo>
                    <a:pt x="1226" y="293"/>
                  </a:lnTo>
                  <a:lnTo>
                    <a:pt x="1195" y="277"/>
                  </a:lnTo>
                  <a:lnTo>
                    <a:pt x="1188" y="277"/>
                  </a:lnTo>
                  <a:lnTo>
                    <a:pt x="1171" y="293"/>
                  </a:lnTo>
                  <a:lnTo>
                    <a:pt x="1150" y="326"/>
                  </a:lnTo>
                  <a:lnTo>
                    <a:pt x="1150" y="355"/>
                  </a:lnTo>
                  <a:lnTo>
                    <a:pt x="1157" y="355"/>
                  </a:lnTo>
                  <a:lnTo>
                    <a:pt x="1171" y="388"/>
                  </a:lnTo>
                  <a:lnTo>
                    <a:pt x="1205" y="400"/>
                  </a:lnTo>
                  <a:lnTo>
                    <a:pt x="1238" y="400"/>
                  </a:lnTo>
                  <a:lnTo>
                    <a:pt x="1238" y="355"/>
                  </a:lnTo>
                  <a:lnTo>
                    <a:pt x="1242" y="366"/>
                  </a:lnTo>
                  <a:lnTo>
                    <a:pt x="1297" y="366"/>
                  </a:lnTo>
                  <a:lnTo>
                    <a:pt x="1259" y="494"/>
                  </a:lnTo>
                  <a:lnTo>
                    <a:pt x="1238" y="522"/>
                  </a:lnTo>
                  <a:lnTo>
                    <a:pt x="1221" y="522"/>
                  </a:lnTo>
                  <a:lnTo>
                    <a:pt x="1188" y="565"/>
                  </a:lnTo>
                  <a:lnTo>
                    <a:pt x="1167" y="605"/>
                  </a:lnTo>
                  <a:lnTo>
                    <a:pt x="1167" y="605"/>
                  </a:lnTo>
                  <a:lnTo>
                    <a:pt x="1096" y="716"/>
                  </a:lnTo>
                  <a:lnTo>
                    <a:pt x="1049" y="742"/>
                  </a:lnTo>
                  <a:lnTo>
                    <a:pt x="990" y="815"/>
                  </a:lnTo>
                  <a:lnTo>
                    <a:pt x="952" y="848"/>
                  </a:lnTo>
                  <a:lnTo>
                    <a:pt x="886" y="886"/>
                  </a:lnTo>
                  <a:lnTo>
                    <a:pt x="848" y="910"/>
                  </a:lnTo>
                  <a:lnTo>
                    <a:pt x="794" y="910"/>
                  </a:lnTo>
                  <a:lnTo>
                    <a:pt x="789" y="922"/>
                  </a:lnTo>
                  <a:lnTo>
                    <a:pt x="794" y="926"/>
                  </a:lnTo>
                  <a:lnTo>
                    <a:pt x="739" y="926"/>
                  </a:lnTo>
                  <a:lnTo>
                    <a:pt x="739" y="926"/>
                  </a:lnTo>
                  <a:lnTo>
                    <a:pt x="734" y="943"/>
                  </a:lnTo>
                  <a:lnTo>
                    <a:pt x="647" y="926"/>
                  </a:lnTo>
                  <a:lnTo>
                    <a:pt x="633" y="926"/>
                  </a:lnTo>
                  <a:lnTo>
                    <a:pt x="626" y="938"/>
                  </a:lnTo>
                  <a:lnTo>
                    <a:pt x="572" y="926"/>
                  </a:lnTo>
                  <a:lnTo>
                    <a:pt x="541" y="938"/>
                  </a:lnTo>
                  <a:lnTo>
                    <a:pt x="517" y="959"/>
                  </a:lnTo>
                  <a:lnTo>
                    <a:pt x="503" y="959"/>
                  </a:lnTo>
                  <a:lnTo>
                    <a:pt x="486" y="959"/>
                  </a:lnTo>
                  <a:lnTo>
                    <a:pt x="453" y="959"/>
                  </a:lnTo>
                  <a:lnTo>
                    <a:pt x="449" y="964"/>
                  </a:lnTo>
                  <a:lnTo>
                    <a:pt x="427" y="964"/>
                  </a:lnTo>
                  <a:lnTo>
                    <a:pt x="394" y="992"/>
                  </a:lnTo>
                  <a:lnTo>
                    <a:pt x="373" y="992"/>
                  </a:lnTo>
                  <a:lnTo>
                    <a:pt x="345" y="976"/>
                  </a:lnTo>
                  <a:lnTo>
                    <a:pt x="345" y="964"/>
                  </a:lnTo>
                  <a:lnTo>
                    <a:pt x="340" y="959"/>
                  </a:lnTo>
                  <a:lnTo>
                    <a:pt x="307" y="959"/>
                  </a:lnTo>
                  <a:lnTo>
                    <a:pt x="307" y="943"/>
                  </a:lnTo>
                  <a:lnTo>
                    <a:pt x="307" y="938"/>
                  </a:lnTo>
                  <a:lnTo>
                    <a:pt x="286" y="938"/>
                  </a:lnTo>
                  <a:lnTo>
                    <a:pt x="286" y="959"/>
                  </a:lnTo>
                  <a:lnTo>
                    <a:pt x="274" y="955"/>
                  </a:lnTo>
                  <a:lnTo>
                    <a:pt x="269" y="926"/>
                  </a:lnTo>
                  <a:lnTo>
                    <a:pt x="286" y="922"/>
                  </a:lnTo>
                  <a:lnTo>
                    <a:pt x="286" y="903"/>
                  </a:lnTo>
                  <a:lnTo>
                    <a:pt x="253" y="848"/>
                  </a:lnTo>
                  <a:lnTo>
                    <a:pt x="248" y="848"/>
                  </a:lnTo>
                  <a:lnTo>
                    <a:pt x="236" y="832"/>
                  </a:lnTo>
                  <a:lnTo>
                    <a:pt x="253" y="827"/>
                  </a:lnTo>
                  <a:lnTo>
                    <a:pt x="260" y="832"/>
                  </a:lnTo>
                  <a:lnTo>
                    <a:pt x="269" y="815"/>
                  </a:lnTo>
                  <a:lnTo>
                    <a:pt x="274" y="794"/>
                  </a:lnTo>
                  <a:lnTo>
                    <a:pt x="269" y="759"/>
                  </a:lnTo>
                  <a:lnTo>
                    <a:pt x="198" y="631"/>
                  </a:lnTo>
                  <a:lnTo>
                    <a:pt x="168" y="539"/>
                  </a:lnTo>
                  <a:lnTo>
                    <a:pt x="151" y="522"/>
                  </a:lnTo>
                  <a:lnTo>
                    <a:pt x="146" y="499"/>
                  </a:lnTo>
                  <a:lnTo>
                    <a:pt x="160" y="494"/>
                  </a:lnTo>
                  <a:lnTo>
                    <a:pt x="168" y="461"/>
                  </a:lnTo>
                  <a:lnTo>
                    <a:pt x="184" y="454"/>
                  </a:lnTo>
                  <a:lnTo>
                    <a:pt x="198" y="466"/>
                  </a:lnTo>
                  <a:lnTo>
                    <a:pt x="205" y="466"/>
                  </a:lnTo>
                  <a:lnTo>
                    <a:pt x="205" y="511"/>
                  </a:lnTo>
                  <a:lnTo>
                    <a:pt x="222" y="511"/>
                  </a:lnTo>
                  <a:lnTo>
                    <a:pt x="222" y="515"/>
                  </a:lnTo>
                  <a:lnTo>
                    <a:pt x="248" y="515"/>
                  </a:lnTo>
                  <a:lnTo>
                    <a:pt x="260" y="522"/>
                  </a:lnTo>
                  <a:lnTo>
                    <a:pt x="302" y="515"/>
                  </a:lnTo>
                  <a:lnTo>
                    <a:pt x="328" y="522"/>
                  </a:lnTo>
                  <a:lnTo>
                    <a:pt x="340" y="522"/>
                  </a:lnTo>
                  <a:lnTo>
                    <a:pt x="340" y="511"/>
                  </a:lnTo>
                  <a:lnTo>
                    <a:pt x="357" y="511"/>
                  </a:lnTo>
                  <a:lnTo>
                    <a:pt x="361" y="494"/>
                  </a:lnTo>
                  <a:lnTo>
                    <a:pt x="394" y="482"/>
                  </a:lnTo>
                  <a:lnTo>
                    <a:pt x="394" y="199"/>
                  </a:lnTo>
                  <a:lnTo>
                    <a:pt x="394" y="199"/>
                  </a:lnTo>
                  <a:lnTo>
                    <a:pt x="394" y="199"/>
                  </a:lnTo>
                  <a:close/>
                  <a:moveTo>
                    <a:pt x="1011" y="511"/>
                  </a:moveTo>
                  <a:lnTo>
                    <a:pt x="994" y="499"/>
                  </a:lnTo>
                  <a:lnTo>
                    <a:pt x="966" y="511"/>
                  </a:lnTo>
                  <a:lnTo>
                    <a:pt x="923" y="532"/>
                  </a:lnTo>
                  <a:lnTo>
                    <a:pt x="902" y="572"/>
                  </a:lnTo>
                  <a:lnTo>
                    <a:pt x="886" y="577"/>
                  </a:lnTo>
                  <a:lnTo>
                    <a:pt x="902" y="610"/>
                  </a:lnTo>
                  <a:lnTo>
                    <a:pt x="914" y="631"/>
                  </a:lnTo>
                  <a:lnTo>
                    <a:pt x="935" y="659"/>
                  </a:lnTo>
                  <a:lnTo>
                    <a:pt x="957" y="659"/>
                  </a:lnTo>
                  <a:lnTo>
                    <a:pt x="978" y="622"/>
                  </a:lnTo>
                  <a:lnTo>
                    <a:pt x="1011" y="622"/>
                  </a:lnTo>
                  <a:lnTo>
                    <a:pt x="1032" y="605"/>
                  </a:lnTo>
                  <a:lnTo>
                    <a:pt x="1032" y="577"/>
                  </a:lnTo>
                  <a:lnTo>
                    <a:pt x="1042" y="577"/>
                  </a:lnTo>
                  <a:lnTo>
                    <a:pt x="1042" y="572"/>
                  </a:lnTo>
                  <a:lnTo>
                    <a:pt x="1058" y="555"/>
                  </a:lnTo>
                  <a:lnTo>
                    <a:pt x="1049" y="539"/>
                  </a:lnTo>
                  <a:lnTo>
                    <a:pt x="1011" y="511"/>
                  </a:lnTo>
                  <a:lnTo>
                    <a:pt x="1011" y="511"/>
                  </a:lnTo>
                  <a:lnTo>
                    <a:pt x="1011" y="511"/>
                  </a:lnTo>
                  <a:close/>
                  <a:moveTo>
                    <a:pt x="5" y="38"/>
                  </a:moveTo>
                  <a:lnTo>
                    <a:pt x="16" y="38"/>
                  </a:lnTo>
                  <a:lnTo>
                    <a:pt x="21" y="78"/>
                  </a:lnTo>
                  <a:lnTo>
                    <a:pt x="0" y="78"/>
                  </a:lnTo>
                  <a:lnTo>
                    <a:pt x="0" y="66"/>
                  </a:lnTo>
                  <a:lnTo>
                    <a:pt x="0" y="55"/>
                  </a:lnTo>
                  <a:lnTo>
                    <a:pt x="0" y="66"/>
                  </a:lnTo>
                  <a:lnTo>
                    <a:pt x="5" y="66"/>
                  </a:lnTo>
                  <a:lnTo>
                    <a:pt x="5" y="38"/>
                  </a:lnTo>
                  <a:lnTo>
                    <a:pt x="5" y="38"/>
                  </a:lnTo>
                  <a:lnTo>
                    <a:pt x="5" y="38"/>
                  </a:lnTo>
                  <a:close/>
                  <a:moveTo>
                    <a:pt x="1644" y="2034"/>
                  </a:moveTo>
                  <a:lnTo>
                    <a:pt x="1627" y="2029"/>
                  </a:lnTo>
                  <a:lnTo>
                    <a:pt x="1637" y="2022"/>
                  </a:lnTo>
                  <a:lnTo>
                    <a:pt x="1644" y="2029"/>
                  </a:lnTo>
                  <a:lnTo>
                    <a:pt x="1644" y="2034"/>
                  </a:lnTo>
                  <a:lnTo>
                    <a:pt x="1644" y="2034"/>
                  </a:lnTo>
                  <a:lnTo>
                    <a:pt x="1644" y="2034"/>
                  </a:lnTo>
                  <a:close/>
                </a:path>
              </a:pathLst>
            </a:custGeom>
            <a:pattFill prst="nar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20" name="Freeform 550">
              <a:extLst>
                <a:ext uri="{FF2B5EF4-FFF2-40B4-BE49-F238E27FC236}">
                  <a16:creationId xmlns:a16="http://schemas.microsoft.com/office/drawing/2014/main" id="{BC8A4475-4719-4FCD-A0F6-4B04ADF81832}"/>
                </a:ext>
              </a:extLst>
            </p:cNvPr>
            <p:cNvSpPr>
              <a:spLocks/>
            </p:cNvSpPr>
            <p:nvPr/>
          </p:nvSpPr>
          <p:spPr bwMode="gray">
            <a:xfrm>
              <a:off x="5168395" y="3999842"/>
              <a:ext cx="215271" cy="161348"/>
            </a:xfrm>
            <a:custGeom>
              <a:avLst/>
              <a:gdLst>
                <a:gd name="T0" fmla="*/ 163 w 435"/>
                <a:gd name="T1" fmla="*/ 305 h 326"/>
                <a:gd name="T2" fmla="*/ 92 w 435"/>
                <a:gd name="T3" fmla="*/ 322 h 326"/>
                <a:gd name="T4" fmla="*/ 45 w 435"/>
                <a:gd name="T5" fmla="*/ 322 h 326"/>
                <a:gd name="T6" fmla="*/ 75 w 435"/>
                <a:gd name="T7" fmla="*/ 310 h 326"/>
                <a:gd name="T8" fmla="*/ 130 w 435"/>
                <a:gd name="T9" fmla="*/ 310 h 326"/>
                <a:gd name="T10" fmla="*/ 137 w 435"/>
                <a:gd name="T11" fmla="*/ 293 h 326"/>
                <a:gd name="T12" fmla="*/ 137 w 435"/>
                <a:gd name="T13" fmla="*/ 293 h 326"/>
                <a:gd name="T14" fmla="*/ 130 w 435"/>
                <a:gd name="T15" fmla="*/ 310 h 326"/>
                <a:gd name="T16" fmla="*/ 99 w 435"/>
                <a:gd name="T17" fmla="*/ 293 h 326"/>
                <a:gd name="T18" fmla="*/ 75 w 435"/>
                <a:gd name="T19" fmla="*/ 310 h 326"/>
                <a:gd name="T20" fmla="*/ 59 w 435"/>
                <a:gd name="T21" fmla="*/ 293 h 326"/>
                <a:gd name="T22" fmla="*/ 54 w 435"/>
                <a:gd name="T23" fmla="*/ 272 h 326"/>
                <a:gd name="T24" fmla="*/ 113 w 435"/>
                <a:gd name="T25" fmla="*/ 267 h 326"/>
                <a:gd name="T26" fmla="*/ 151 w 435"/>
                <a:gd name="T27" fmla="*/ 251 h 326"/>
                <a:gd name="T28" fmla="*/ 222 w 435"/>
                <a:gd name="T29" fmla="*/ 267 h 326"/>
                <a:gd name="T30" fmla="*/ 260 w 435"/>
                <a:gd name="T31" fmla="*/ 251 h 326"/>
                <a:gd name="T32" fmla="*/ 222 w 435"/>
                <a:gd name="T33" fmla="*/ 251 h 326"/>
                <a:gd name="T34" fmla="*/ 191 w 435"/>
                <a:gd name="T35" fmla="*/ 232 h 326"/>
                <a:gd name="T36" fmla="*/ 168 w 435"/>
                <a:gd name="T37" fmla="*/ 215 h 326"/>
                <a:gd name="T38" fmla="*/ 137 w 435"/>
                <a:gd name="T39" fmla="*/ 232 h 326"/>
                <a:gd name="T40" fmla="*/ 59 w 435"/>
                <a:gd name="T41" fmla="*/ 222 h 326"/>
                <a:gd name="T42" fmla="*/ 54 w 435"/>
                <a:gd name="T43" fmla="*/ 222 h 326"/>
                <a:gd name="T44" fmla="*/ 75 w 435"/>
                <a:gd name="T45" fmla="*/ 194 h 326"/>
                <a:gd name="T46" fmla="*/ 59 w 435"/>
                <a:gd name="T47" fmla="*/ 199 h 326"/>
                <a:gd name="T48" fmla="*/ 21 w 435"/>
                <a:gd name="T49" fmla="*/ 156 h 326"/>
                <a:gd name="T50" fmla="*/ 0 w 435"/>
                <a:gd name="T51" fmla="*/ 156 h 326"/>
                <a:gd name="T52" fmla="*/ 21 w 435"/>
                <a:gd name="T53" fmla="*/ 140 h 326"/>
                <a:gd name="T54" fmla="*/ 66 w 435"/>
                <a:gd name="T55" fmla="*/ 74 h 326"/>
                <a:gd name="T56" fmla="*/ 83 w 435"/>
                <a:gd name="T57" fmla="*/ 17 h 326"/>
                <a:gd name="T58" fmla="*/ 175 w 435"/>
                <a:gd name="T59" fmla="*/ 0 h 326"/>
                <a:gd name="T60" fmla="*/ 255 w 435"/>
                <a:gd name="T61" fmla="*/ 50 h 326"/>
                <a:gd name="T62" fmla="*/ 272 w 435"/>
                <a:gd name="T63" fmla="*/ 50 h 326"/>
                <a:gd name="T64" fmla="*/ 283 w 435"/>
                <a:gd name="T65" fmla="*/ 50 h 326"/>
                <a:gd name="T66" fmla="*/ 309 w 435"/>
                <a:gd name="T67" fmla="*/ 100 h 326"/>
                <a:gd name="T68" fmla="*/ 326 w 435"/>
                <a:gd name="T69" fmla="*/ 107 h 326"/>
                <a:gd name="T70" fmla="*/ 347 w 435"/>
                <a:gd name="T71" fmla="*/ 128 h 326"/>
                <a:gd name="T72" fmla="*/ 368 w 435"/>
                <a:gd name="T73" fmla="*/ 178 h 326"/>
                <a:gd name="T74" fmla="*/ 385 w 435"/>
                <a:gd name="T75" fmla="*/ 215 h 326"/>
                <a:gd name="T76" fmla="*/ 401 w 435"/>
                <a:gd name="T77" fmla="*/ 256 h 326"/>
                <a:gd name="T78" fmla="*/ 406 w 435"/>
                <a:gd name="T79" fmla="*/ 251 h 326"/>
                <a:gd name="T80" fmla="*/ 435 w 435"/>
                <a:gd name="T81" fmla="*/ 322 h 326"/>
                <a:gd name="T82" fmla="*/ 364 w 435"/>
                <a:gd name="T83" fmla="*/ 326 h 326"/>
                <a:gd name="T84" fmla="*/ 309 w 435"/>
                <a:gd name="T85" fmla="*/ 322 h 326"/>
                <a:gd name="T86" fmla="*/ 260 w 435"/>
                <a:gd name="T87" fmla="*/ 305 h 326"/>
                <a:gd name="T88" fmla="*/ 222 w 435"/>
                <a:gd name="T89" fmla="*/ 30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5" h="326">
                  <a:moveTo>
                    <a:pt x="222" y="305"/>
                  </a:moveTo>
                  <a:lnTo>
                    <a:pt x="163" y="305"/>
                  </a:lnTo>
                  <a:lnTo>
                    <a:pt x="120" y="322"/>
                  </a:lnTo>
                  <a:lnTo>
                    <a:pt x="92" y="322"/>
                  </a:lnTo>
                  <a:lnTo>
                    <a:pt x="54" y="326"/>
                  </a:lnTo>
                  <a:lnTo>
                    <a:pt x="45" y="322"/>
                  </a:lnTo>
                  <a:lnTo>
                    <a:pt x="59" y="305"/>
                  </a:lnTo>
                  <a:lnTo>
                    <a:pt x="75" y="310"/>
                  </a:lnTo>
                  <a:lnTo>
                    <a:pt x="99" y="305"/>
                  </a:lnTo>
                  <a:lnTo>
                    <a:pt x="130" y="310"/>
                  </a:lnTo>
                  <a:lnTo>
                    <a:pt x="137" y="305"/>
                  </a:lnTo>
                  <a:lnTo>
                    <a:pt x="137" y="293"/>
                  </a:lnTo>
                  <a:lnTo>
                    <a:pt x="146" y="289"/>
                  </a:lnTo>
                  <a:lnTo>
                    <a:pt x="137" y="293"/>
                  </a:lnTo>
                  <a:lnTo>
                    <a:pt x="137" y="305"/>
                  </a:lnTo>
                  <a:lnTo>
                    <a:pt x="130" y="310"/>
                  </a:lnTo>
                  <a:lnTo>
                    <a:pt x="109" y="310"/>
                  </a:lnTo>
                  <a:lnTo>
                    <a:pt x="99" y="293"/>
                  </a:lnTo>
                  <a:lnTo>
                    <a:pt x="99" y="305"/>
                  </a:lnTo>
                  <a:lnTo>
                    <a:pt x="75" y="310"/>
                  </a:lnTo>
                  <a:lnTo>
                    <a:pt x="59" y="305"/>
                  </a:lnTo>
                  <a:lnTo>
                    <a:pt x="59" y="293"/>
                  </a:lnTo>
                  <a:lnTo>
                    <a:pt x="54" y="310"/>
                  </a:lnTo>
                  <a:lnTo>
                    <a:pt x="54" y="272"/>
                  </a:lnTo>
                  <a:lnTo>
                    <a:pt x="54" y="267"/>
                  </a:lnTo>
                  <a:lnTo>
                    <a:pt x="113" y="267"/>
                  </a:lnTo>
                  <a:lnTo>
                    <a:pt x="113" y="256"/>
                  </a:lnTo>
                  <a:lnTo>
                    <a:pt x="151" y="251"/>
                  </a:lnTo>
                  <a:lnTo>
                    <a:pt x="168" y="232"/>
                  </a:lnTo>
                  <a:lnTo>
                    <a:pt x="222" y="267"/>
                  </a:lnTo>
                  <a:lnTo>
                    <a:pt x="255" y="256"/>
                  </a:lnTo>
                  <a:lnTo>
                    <a:pt x="260" y="251"/>
                  </a:lnTo>
                  <a:lnTo>
                    <a:pt x="243" y="232"/>
                  </a:lnTo>
                  <a:lnTo>
                    <a:pt x="222" y="251"/>
                  </a:lnTo>
                  <a:lnTo>
                    <a:pt x="205" y="232"/>
                  </a:lnTo>
                  <a:lnTo>
                    <a:pt x="191" y="232"/>
                  </a:lnTo>
                  <a:lnTo>
                    <a:pt x="184" y="222"/>
                  </a:lnTo>
                  <a:lnTo>
                    <a:pt x="168" y="215"/>
                  </a:lnTo>
                  <a:lnTo>
                    <a:pt x="146" y="222"/>
                  </a:lnTo>
                  <a:lnTo>
                    <a:pt x="137" y="232"/>
                  </a:lnTo>
                  <a:lnTo>
                    <a:pt x="59" y="232"/>
                  </a:lnTo>
                  <a:lnTo>
                    <a:pt x="59" y="222"/>
                  </a:lnTo>
                  <a:lnTo>
                    <a:pt x="66" y="211"/>
                  </a:lnTo>
                  <a:lnTo>
                    <a:pt x="54" y="222"/>
                  </a:lnTo>
                  <a:lnTo>
                    <a:pt x="54" y="211"/>
                  </a:lnTo>
                  <a:lnTo>
                    <a:pt x="75" y="194"/>
                  </a:lnTo>
                  <a:lnTo>
                    <a:pt x="66" y="194"/>
                  </a:lnTo>
                  <a:lnTo>
                    <a:pt x="59" y="199"/>
                  </a:lnTo>
                  <a:lnTo>
                    <a:pt x="45" y="199"/>
                  </a:lnTo>
                  <a:lnTo>
                    <a:pt x="21" y="156"/>
                  </a:lnTo>
                  <a:lnTo>
                    <a:pt x="7" y="156"/>
                  </a:lnTo>
                  <a:lnTo>
                    <a:pt x="0" y="156"/>
                  </a:lnTo>
                  <a:lnTo>
                    <a:pt x="0" y="156"/>
                  </a:lnTo>
                  <a:lnTo>
                    <a:pt x="21" y="140"/>
                  </a:lnTo>
                  <a:lnTo>
                    <a:pt x="45" y="111"/>
                  </a:lnTo>
                  <a:lnTo>
                    <a:pt x="66" y="74"/>
                  </a:lnTo>
                  <a:lnTo>
                    <a:pt x="66" y="50"/>
                  </a:lnTo>
                  <a:lnTo>
                    <a:pt x="83" y="17"/>
                  </a:lnTo>
                  <a:lnTo>
                    <a:pt x="130" y="17"/>
                  </a:lnTo>
                  <a:lnTo>
                    <a:pt x="175" y="0"/>
                  </a:lnTo>
                  <a:lnTo>
                    <a:pt x="222" y="12"/>
                  </a:lnTo>
                  <a:lnTo>
                    <a:pt x="255" y="50"/>
                  </a:lnTo>
                  <a:lnTo>
                    <a:pt x="260" y="45"/>
                  </a:lnTo>
                  <a:lnTo>
                    <a:pt x="272" y="50"/>
                  </a:lnTo>
                  <a:lnTo>
                    <a:pt x="276" y="50"/>
                  </a:lnTo>
                  <a:lnTo>
                    <a:pt x="283" y="50"/>
                  </a:lnTo>
                  <a:lnTo>
                    <a:pt x="298" y="83"/>
                  </a:lnTo>
                  <a:lnTo>
                    <a:pt x="309" y="100"/>
                  </a:lnTo>
                  <a:lnTo>
                    <a:pt x="314" y="100"/>
                  </a:lnTo>
                  <a:lnTo>
                    <a:pt x="326" y="107"/>
                  </a:lnTo>
                  <a:lnTo>
                    <a:pt x="326" y="111"/>
                  </a:lnTo>
                  <a:lnTo>
                    <a:pt x="347" y="128"/>
                  </a:lnTo>
                  <a:lnTo>
                    <a:pt x="368" y="144"/>
                  </a:lnTo>
                  <a:lnTo>
                    <a:pt x="368" y="178"/>
                  </a:lnTo>
                  <a:lnTo>
                    <a:pt x="385" y="194"/>
                  </a:lnTo>
                  <a:lnTo>
                    <a:pt x="385" y="215"/>
                  </a:lnTo>
                  <a:lnTo>
                    <a:pt x="380" y="232"/>
                  </a:lnTo>
                  <a:lnTo>
                    <a:pt x="401" y="256"/>
                  </a:lnTo>
                  <a:lnTo>
                    <a:pt x="401" y="251"/>
                  </a:lnTo>
                  <a:lnTo>
                    <a:pt x="406" y="251"/>
                  </a:lnTo>
                  <a:lnTo>
                    <a:pt x="435" y="277"/>
                  </a:lnTo>
                  <a:lnTo>
                    <a:pt x="435" y="322"/>
                  </a:lnTo>
                  <a:lnTo>
                    <a:pt x="385" y="322"/>
                  </a:lnTo>
                  <a:lnTo>
                    <a:pt x="364" y="326"/>
                  </a:lnTo>
                  <a:lnTo>
                    <a:pt x="326" y="310"/>
                  </a:lnTo>
                  <a:lnTo>
                    <a:pt x="309" y="322"/>
                  </a:lnTo>
                  <a:lnTo>
                    <a:pt x="309" y="305"/>
                  </a:lnTo>
                  <a:lnTo>
                    <a:pt x="260" y="305"/>
                  </a:lnTo>
                  <a:lnTo>
                    <a:pt x="222" y="305"/>
                  </a:lnTo>
                  <a:lnTo>
                    <a:pt x="222" y="305"/>
                  </a:lnTo>
                  <a:lnTo>
                    <a:pt x="222" y="305"/>
                  </a:lnTo>
                  <a:close/>
                </a:path>
              </a:pathLst>
            </a:custGeom>
            <a:pattFill prst="dk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21" name="Freeform 551">
              <a:extLst>
                <a:ext uri="{FF2B5EF4-FFF2-40B4-BE49-F238E27FC236}">
                  <a16:creationId xmlns:a16="http://schemas.microsoft.com/office/drawing/2014/main" id="{AE682A35-EBBA-40D7-973F-297DCD9076A1}"/>
                </a:ext>
              </a:extLst>
            </p:cNvPr>
            <p:cNvSpPr>
              <a:spLocks noEditPoints="1"/>
            </p:cNvSpPr>
            <p:nvPr/>
          </p:nvSpPr>
          <p:spPr bwMode="gray">
            <a:xfrm>
              <a:off x="5274794" y="4883792"/>
              <a:ext cx="299400" cy="1108153"/>
            </a:xfrm>
            <a:custGeom>
              <a:avLst/>
              <a:gdLst>
                <a:gd name="T0" fmla="*/ 0 w 605"/>
                <a:gd name="T1" fmla="*/ 5 h 2239"/>
                <a:gd name="T2" fmla="*/ 0 w 605"/>
                <a:gd name="T3" fmla="*/ 0 h 2239"/>
                <a:gd name="T4" fmla="*/ 5 w 605"/>
                <a:gd name="T5" fmla="*/ 5 h 2239"/>
                <a:gd name="T6" fmla="*/ 0 w 605"/>
                <a:gd name="T7" fmla="*/ 5 h 2239"/>
                <a:gd name="T8" fmla="*/ 0 w 605"/>
                <a:gd name="T9" fmla="*/ 5 h 2239"/>
                <a:gd name="T10" fmla="*/ 0 w 605"/>
                <a:gd name="T11" fmla="*/ 5 h 2239"/>
                <a:gd name="T12" fmla="*/ 605 w 605"/>
                <a:gd name="T13" fmla="*/ 593 h 2239"/>
                <a:gd name="T14" fmla="*/ 600 w 605"/>
                <a:gd name="T15" fmla="*/ 593 h 2239"/>
                <a:gd name="T16" fmla="*/ 605 w 605"/>
                <a:gd name="T17" fmla="*/ 588 h 2239"/>
                <a:gd name="T18" fmla="*/ 605 w 605"/>
                <a:gd name="T19" fmla="*/ 593 h 2239"/>
                <a:gd name="T20" fmla="*/ 605 w 605"/>
                <a:gd name="T21" fmla="*/ 593 h 2239"/>
                <a:gd name="T22" fmla="*/ 605 w 605"/>
                <a:gd name="T23" fmla="*/ 593 h 2239"/>
                <a:gd name="T24" fmla="*/ 146 w 605"/>
                <a:gd name="T25" fmla="*/ 2239 h 2239"/>
                <a:gd name="T26" fmla="*/ 146 w 605"/>
                <a:gd name="T27" fmla="*/ 2235 h 2239"/>
                <a:gd name="T28" fmla="*/ 151 w 605"/>
                <a:gd name="T29" fmla="*/ 2235 h 2239"/>
                <a:gd name="T30" fmla="*/ 146 w 605"/>
                <a:gd name="T31" fmla="*/ 2239 h 2239"/>
                <a:gd name="T32" fmla="*/ 146 w 605"/>
                <a:gd name="T33" fmla="*/ 2239 h 2239"/>
                <a:gd name="T34" fmla="*/ 146 w 605"/>
                <a:gd name="T35" fmla="*/ 2239 h 2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5" h="2239">
                  <a:moveTo>
                    <a:pt x="0" y="5"/>
                  </a:moveTo>
                  <a:lnTo>
                    <a:pt x="0" y="0"/>
                  </a:lnTo>
                  <a:lnTo>
                    <a:pt x="5" y="5"/>
                  </a:lnTo>
                  <a:lnTo>
                    <a:pt x="0" y="5"/>
                  </a:lnTo>
                  <a:lnTo>
                    <a:pt x="0" y="5"/>
                  </a:lnTo>
                  <a:lnTo>
                    <a:pt x="0" y="5"/>
                  </a:lnTo>
                  <a:close/>
                  <a:moveTo>
                    <a:pt x="605" y="593"/>
                  </a:moveTo>
                  <a:lnTo>
                    <a:pt x="600" y="593"/>
                  </a:lnTo>
                  <a:lnTo>
                    <a:pt x="605" y="588"/>
                  </a:lnTo>
                  <a:lnTo>
                    <a:pt x="605" y="593"/>
                  </a:lnTo>
                  <a:lnTo>
                    <a:pt x="605" y="593"/>
                  </a:lnTo>
                  <a:lnTo>
                    <a:pt x="605" y="593"/>
                  </a:lnTo>
                  <a:close/>
                  <a:moveTo>
                    <a:pt x="146" y="2239"/>
                  </a:moveTo>
                  <a:lnTo>
                    <a:pt x="146" y="2235"/>
                  </a:lnTo>
                  <a:lnTo>
                    <a:pt x="151" y="2235"/>
                  </a:lnTo>
                  <a:lnTo>
                    <a:pt x="146" y="2239"/>
                  </a:lnTo>
                  <a:lnTo>
                    <a:pt x="146" y="2239"/>
                  </a:lnTo>
                  <a:lnTo>
                    <a:pt x="146" y="2239"/>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22" name="Freeform 552">
              <a:extLst>
                <a:ext uri="{FF2B5EF4-FFF2-40B4-BE49-F238E27FC236}">
                  <a16:creationId xmlns:a16="http://schemas.microsoft.com/office/drawing/2014/main" id="{79EE1CFE-ED9E-4327-A72C-782CA47736DC}"/>
                </a:ext>
              </a:extLst>
            </p:cNvPr>
            <p:cNvSpPr>
              <a:spLocks/>
            </p:cNvSpPr>
            <p:nvPr/>
          </p:nvSpPr>
          <p:spPr bwMode="gray">
            <a:xfrm>
              <a:off x="6241288" y="2798147"/>
              <a:ext cx="107884" cy="65331"/>
            </a:xfrm>
            <a:custGeom>
              <a:avLst/>
              <a:gdLst>
                <a:gd name="T0" fmla="*/ 22 w 218"/>
                <a:gd name="T1" fmla="*/ 28 h 132"/>
                <a:gd name="T2" fmla="*/ 74 w 218"/>
                <a:gd name="T3" fmla="*/ 45 h 132"/>
                <a:gd name="T4" fmla="*/ 102 w 218"/>
                <a:gd name="T5" fmla="*/ 38 h 132"/>
                <a:gd name="T6" fmla="*/ 102 w 218"/>
                <a:gd name="T7" fmla="*/ 21 h 132"/>
                <a:gd name="T8" fmla="*/ 166 w 218"/>
                <a:gd name="T9" fmla="*/ 12 h 132"/>
                <a:gd name="T10" fmla="*/ 180 w 218"/>
                <a:gd name="T11" fmla="*/ 0 h 132"/>
                <a:gd name="T12" fmla="*/ 208 w 218"/>
                <a:gd name="T13" fmla="*/ 5 h 132"/>
                <a:gd name="T14" fmla="*/ 196 w 218"/>
                <a:gd name="T15" fmla="*/ 12 h 132"/>
                <a:gd name="T16" fmla="*/ 218 w 218"/>
                <a:gd name="T17" fmla="*/ 38 h 132"/>
                <a:gd name="T18" fmla="*/ 196 w 218"/>
                <a:gd name="T19" fmla="*/ 28 h 132"/>
                <a:gd name="T20" fmla="*/ 196 w 218"/>
                <a:gd name="T21" fmla="*/ 45 h 132"/>
                <a:gd name="T22" fmla="*/ 154 w 218"/>
                <a:gd name="T23" fmla="*/ 62 h 132"/>
                <a:gd name="T24" fmla="*/ 154 w 218"/>
                <a:gd name="T25" fmla="*/ 66 h 132"/>
                <a:gd name="T26" fmla="*/ 159 w 218"/>
                <a:gd name="T27" fmla="*/ 78 h 132"/>
                <a:gd name="T28" fmla="*/ 159 w 218"/>
                <a:gd name="T29" fmla="*/ 95 h 132"/>
                <a:gd name="T30" fmla="*/ 128 w 218"/>
                <a:gd name="T31" fmla="*/ 99 h 132"/>
                <a:gd name="T32" fmla="*/ 128 w 218"/>
                <a:gd name="T33" fmla="*/ 111 h 132"/>
                <a:gd name="T34" fmla="*/ 137 w 218"/>
                <a:gd name="T35" fmla="*/ 111 h 132"/>
                <a:gd name="T36" fmla="*/ 128 w 218"/>
                <a:gd name="T37" fmla="*/ 123 h 132"/>
                <a:gd name="T38" fmla="*/ 123 w 218"/>
                <a:gd name="T39" fmla="*/ 132 h 132"/>
                <a:gd name="T40" fmla="*/ 102 w 218"/>
                <a:gd name="T41" fmla="*/ 123 h 132"/>
                <a:gd name="T42" fmla="*/ 85 w 218"/>
                <a:gd name="T43" fmla="*/ 111 h 132"/>
                <a:gd name="T44" fmla="*/ 69 w 218"/>
                <a:gd name="T45" fmla="*/ 123 h 132"/>
                <a:gd name="T46" fmla="*/ 15 w 218"/>
                <a:gd name="T47" fmla="*/ 123 h 132"/>
                <a:gd name="T48" fmla="*/ 22 w 218"/>
                <a:gd name="T49" fmla="*/ 116 h 132"/>
                <a:gd name="T50" fmla="*/ 22 w 218"/>
                <a:gd name="T51" fmla="*/ 116 h 132"/>
                <a:gd name="T52" fmla="*/ 36 w 218"/>
                <a:gd name="T53" fmla="*/ 111 h 132"/>
                <a:gd name="T54" fmla="*/ 15 w 218"/>
                <a:gd name="T55" fmla="*/ 95 h 132"/>
                <a:gd name="T56" fmla="*/ 15 w 218"/>
                <a:gd name="T57" fmla="*/ 78 h 132"/>
                <a:gd name="T58" fmla="*/ 5 w 218"/>
                <a:gd name="T59" fmla="*/ 78 h 132"/>
                <a:gd name="T60" fmla="*/ 15 w 218"/>
                <a:gd name="T61" fmla="*/ 62 h 132"/>
                <a:gd name="T62" fmla="*/ 0 w 218"/>
                <a:gd name="T63" fmla="*/ 62 h 132"/>
                <a:gd name="T64" fmla="*/ 0 w 218"/>
                <a:gd name="T65" fmla="*/ 54 h 132"/>
                <a:gd name="T66" fmla="*/ 22 w 218"/>
                <a:gd name="T67" fmla="*/ 28 h 132"/>
                <a:gd name="T68" fmla="*/ 22 w 218"/>
                <a:gd name="T69" fmla="*/ 28 h 132"/>
                <a:gd name="T70" fmla="*/ 22 w 218"/>
                <a:gd name="T71" fmla="*/ 2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8" h="132">
                  <a:moveTo>
                    <a:pt x="22" y="28"/>
                  </a:moveTo>
                  <a:lnTo>
                    <a:pt x="74" y="45"/>
                  </a:lnTo>
                  <a:lnTo>
                    <a:pt x="102" y="38"/>
                  </a:lnTo>
                  <a:lnTo>
                    <a:pt x="102" y="21"/>
                  </a:lnTo>
                  <a:lnTo>
                    <a:pt x="166" y="12"/>
                  </a:lnTo>
                  <a:lnTo>
                    <a:pt x="180" y="0"/>
                  </a:lnTo>
                  <a:lnTo>
                    <a:pt x="208" y="5"/>
                  </a:lnTo>
                  <a:lnTo>
                    <a:pt x="196" y="12"/>
                  </a:lnTo>
                  <a:lnTo>
                    <a:pt x="218" y="38"/>
                  </a:lnTo>
                  <a:lnTo>
                    <a:pt x="196" y="28"/>
                  </a:lnTo>
                  <a:lnTo>
                    <a:pt x="196" y="45"/>
                  </a:lnTo>
                  <a:lnTo>
                    <a:pt x="154" y="62"/>
                  </a:lnTo>
                  <a:lnTo>
                    <a:pt x="154" y="66"/>
                  </a:lnTo>
                  <a:lnTo>
                    <a:pt x="159" y="78"/>
                  </a:lnTo>
                  <a:lnTo>
                    <a:pt x="159" y="95"/>
                  </a:lnTo>
                  <a:lnTo>
                    <a:pt x="128" y="99"/>
                  </a:lnTo>
                  <a:lnTo>
                    <a:pt x="128" y="111"/>
                  </a:lnTo>
                  <a:lnTo>
                    <a:pt x="137" y="111"/>
                  </a:lnTo>
                  <a:lnTo>
                    <a:pt x="128" y="123"/>
                  </a:lnTo>
                  <a:lnTo>
                    <a:pt x="123" y="132"/>
                  </a:lnTo>
                  <a:lnTo>
                    <a:pt x="102" y="123"/>
                  </a:lnTo>
                  <a:lnTo>
                    <a:pt x="85" y="111"/>
                  </a:lnTo>
                  <a:lnTo>
                    <a:pt x="69" y="123"/>
                  </a:lnTo>
                  <a:lnTo>
                    <a:pt x="15" y="123"/>
                  </a:lnTo>
                  <a:lnTo>
                    <a:pt x="22" y="116"/>
                  </a:lnTo>
                  <a:lnTo>
                    <a:pt x="22" y="116"/>
                  </a:lnTo>
                  <a:lnTo>
                    <a:pt x="36" y="111"/>
                  </a:lnTo>
                  <a:lnTo>
                    <a:pt x="15" y="95"/>
                  </a:lnTo>
                  <a:lnTo>
                    <a:pt x="15" y="78"/>
                  </a:lnTo>
                  <a:lnTo>
                    <a:pt x="5" y="78"/>
                  </a:lnTo>
                  <a:lnTo>
                    <a:pt x="15" y="62"/>
                  </a:lnTo>
                  <a:lnTo>
                    <a:pt x="0" y="62"/>
                  </a:lnTo>
                  <a:lnTo>
                    <a:pt x="0" y="54"/>
                  </a:lnTo>
                  <a:lnTo>
                    <a:pt x="22" y="28"/>
                  </a:lnTo>
                  <a:lnTo>
                    <a:pt x="22" y="28"/>
                  </a:lnTo>
                  <a:lnTo>
                    <a:pt x="22" y="28"/>
                  </a:lnTo>
                  <a:close/>
                </a:path>
              </a:pathLst>
            </a:custGeom>
            <a:pattFill prst="wd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23" name="Freeform 553">
              <a:extLst>
                <a:ext uri="{FF2B5EF4-FFF2-40B4-BE49-F238E27FC236}">
                  <a16:creationId xmlns:a16="http://schemas.microsoft.com/office/drawing/2014/main" id="{F2A45445-0193-4A44-A7A0-AEBEA502DFFE}"/>
                </a:ext>
              </a:extLst>
            </p:cNvPr>
            <p:cNvSpPr>
              <a:spLocks noEditPoints="1"/>
            </p:cNvSpPr>
            <p:nvPr/>
          </p:nvSpPr>
          <p:spPr bwMode="gray">
            <a:xfrm>
              <a:off x="5313394" y="4244340"/>
              <a:ext cx="106399" cy="112349"/>
            </a:xfrm>
            <a:custGeom>
              <a:avLst/>
              <a:gdLst>
                <a:gd name="T0" fmla="*/ 165 w 215"/>
                <a:gd name="T1" fmla="*/ 184 h 227"/>
                <a:gd name="T2" fmla="*/ 139 w 215"/>
                <a:gd name="T3" fmla="*/ 206 h 227"/>
                <a:gd name="T4" fmla="*/ 127 w 215"/>
                <a:gd name="T5" fmla="*/ 227 h 227"/>
                <a:gd name="T6" fmla="*/ 97 w 215"/>
                <a:gd name="T7" fmla="*/ 217 h 227"/>
                <a:gd name="T8" fmla="*/ 52 w 215"/>
                <a:gd name="T9" fmla="*/ 189 h 227"/>
                <a:gd name="T10" fmla="*/ 59 w 215"/>
                <a:gd name="T11" fmla="*/ 184 h 227"/>
                <a:gd name="T12" fmla="*/ 75 w 215"/>
                <a:gd name="T13" fmla="*/ 173 h 227"/>
                <a:gd name="T14" fmla="*/ 59 w 215"/>
                <a:gd name="T15" fmla="*/ 184 h 227"/>
                <a:gd name="T16" fmla="*/ 21 w 215"/>
                <a:gd name="T17" fmla="*/ 161 h 227"/>
                <a:gd name="T18" fmla="*/ 30 w 215"/>
                <a:gd name="T19" fmla="*/ 151 h 227"/>
                <a:gd name="T20" fmla="*/ 21 w 215"/>
                <a:gd name="T21" fmla="*/ 128 h 227"/>
                <a:gd name="T22" fmla="*/ 16 w 215"/>
                <a:gd name="T23" fmla="*/ 132 h 227"/>
                <a:gd name="T24" fmla="*/ 0 w 215"/>
                <a:gd name="T25" fmla="*/ 111 h 227"/>
                <a:gd name="T26" fmla="*/ 16 w 215"/>
                <a:gd name="T27" fmla="*/ 116 h 227"/>
                <a:gd name="T28" fmla="*/ 16 w 215"/>
                <a:gd name="T29" fmla="*/ 116 h 227"/>
                <a:gd name="T30" fmla="*/ 30 w 215"/>
                <a:gd name="T31" fmla="*/ 111 h 227"/>
                <a:gd name="T32" fmla="*/ 5 w 215"/>
                <a:gd name="T33" fmla="*/ 111 h 227"/>
                <a:gd name="T34" fmla="*/ 5 w 215"/>
                <a:gd name="T35" fmla="*/ 90 h 227"/>
                <a:gd name="T36" fmla="*/ 16 w 215"/>
                <a:gd name="T37" fmla="*/ 90 h 227"/>
                <a:gd name="T38" fmla="*/ 0 w 215"/>
                <a:gd name="T39" fmla="*/ 73 h 227"/>
                <a:gd name="T40" fmla="*/ 16 w 215"/>
                <a:gd name="T41" fmla="*/ 73 h 227"/>
                <a:gd name="T42" fmla="*/ 21 w 215"/>
                <a:gd name="T43" fmla="*/ 57 h 227"/>
                <a:gd name="T44" fmla="*/ 42 w 215"/>
                <a:gd name="T45" fmla="*/ 50 h 227"/>
                <a:gd name="T46" fmla="*/ 59 w 215"/>
                <a:gd name="T47" fmla="*/ 5 h 227"/>
                <a:gd name="T48" fmla="*/ 75 w 215"/>
                <a:gd name="T49" fmla="*/ 5 h 227"/>
                <a:gd name="T50" fmla="*/ 85 w 215"/>
                <a:gd name="T51" fmla="*/ 17 h 227"/>
                <a:gd name="T52" fmla="*/ 97 w 215"/>
                <a:gd name="T53" fmla="*/ 5 h 227"/>
                <a:gd name="T54" fmla="*/ 97 w 215"/>
                <a:gd name="T55" fmla="*/ 0 h 227"/>
                <a:gd name="T56" fmla="*/ 144 w 215"/>
                <a:gd name="T57" fmla="*/ 0 h 227"/>
                <a:gd name="T58" fmla="*/ 182 w 215"/>
                <a:gd name="T59" fmla="*/ 57 h 227"/>
                <a:gd name="T60" fmla="*/ 177 w 215"/>
                <a:gd name="T61" fmla="*/ 73 h 227"/>
                <a:gd name="T62" fmla="*/ 193 w 215"/>
                <a:gd name="T63" fmla="*/ 73 h 227"/>
                <a:gd name="T64" fmla="*/ 193 w 215"/>
                <a:gd name="T65" fmla="*/ 90 h 227"/>
                <a:gd name="T66" fmla="*/ 198 w 215"/>
                <a:gd name="T67" fmla="*/ 95 h 227"/>
                <a:gd name="T68" fmla="*/ 182 w 215"/>
                <a:gd name="T69" fmla="*/ 128 h 227"/>
                <a:gd name="T70" fmla="*/ 215 w 215"/>
                <a:gd name="T71" fmla="*/ 111 h 227"/>
                <a:gd name="T72" fmla="*/ 203 w 215"/>
                <a:gd name="T73" fmla="*/ 132 h 227"/>
                <a:gd name="T74" fmla="*/ 193 w 215"/>
                <a:gd name="T75" fmla="*/ 144 h 227"/>
                <a:gd name="T76" fmla="*/ 193 w 215"/>
                <a:gd name="T77" fmla="*/ 168 h 227"/>
                <a:gd name="T78" fmla="*/ 165 w 215"/>
                <a:gd name="T79" fmla="*/ 184 h 227"/>
                <a:gd name="T80" fmla="*/ 165 w 215"/>
                <a:gd name="T81" fmla="*/ 184 h 227"/>
                <a:gd name="T82" fmla="*/ 165 w 215"/>
                <a:gd name="T83" fmla="*/ 184 h 227"/>
                <a:gd name="T84" fmla="*/ 30 w 215"/>
                <a:gd name="T85" fmla="*/ 173 h 227"/>
                <a:gd name="T86" fmla="*/ 52 w 215"/>
                <a:gd name="T87" fmla="*/ 173 h 227"/>
                <a:gd name="T88" fmla="*/ 52 w 215"/>
                <a:gd name="T89" fmla="*/ 184 h 227"/>
                <a:gd name="T90" fmla="*/ 52 w 215"/>
                <a:gd name="T91" fmla="*/ 189 h 227"/>
                <a:gd name="T92" fmla="*/ 21 w 215"/>
                <a:gd name="T93" fmla="*/ 184 h 227"/>
                <a:gd name="T94" fmla="*/ 30 w 215"/>
                <a:gd name="T95" fmla="*/ 173 h 227"/>
                <a:gd name="T96" fmla="*/ 30 w 215"/>
                <a:gd name="T97" fmla="*/ 173 h 227"/>
                <a:gd name="T98" fmla="*/ 30 w 215"/>
                <a:gd name="T99" fmla="*/ 17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5" h="227">
                  <a:moveTo>
                    <a:pt x="165" y="184"/>
                  </a:moveTo>
                  <a:lnTo>
                    <a:pt x="139" y="206"/>
                  </a:lnTo>
                  <a:lnTo>
                    <a:pt x="127" y="227"/>
                  </a:lnTo>
                  <a:lnTo>
                    <a:pt x="97" y="217"/>
                  </a:lnTo>
                  <a:lnTo>
                    <a:pt x="52" y="189"/>
                  </a:lnTo>
                  <a:lnTo>
                    <a:pt x="59" y="184"/>
                  </a:lnTo>
                  <a:lnTo>
                    <a:pt x="75" y="173"/>
                  </a:lnTo>
                  <a:lnTo>
                    <a:pt x="59" y="184"/>
                  </a:lnTo>
                  <a:lnTo>
                    <a:pt x="21" y="161"/>
                  </a:lnTo>
                  <a:lnTo>
                    <a:pt x="30" y="151"/>
                  </a:lnTo>
                  <a:lnTo>
                    <a:pt x="21" y="128"/>
                  </a:lnTo>
                  <a:lnTo>
                    <a:pt x="16" y="132"/>
                  </a:lnTo>
                  <a:lnTo>
                    <a:pt x="0" y="111"/>
                  </a:lnTo>
                  <a:lnTo>
                    <a:pt x="16" y="116"/>
                  </a:lnTo>
                  <a:lnTo>
                    <a:pt x="16" y="116"/>
                  </a:lnTo>
                  <a:lnTo>
                    <a:pt x="30" y="111"/>
                  </a:lnTo>
                  <a:lnTo>
                    <a:pt x="5" y="111"/>
                  </a:lnTo>
                  <a:lnTo>
                    <a:pt x="5" y="90"/>
                  </a:lnTo>
                  <a:lnTo>
                    <a:pt x="16" y="90"/>
                  </a:lnTo>
                  <a:lnTo>
                    <a:pt x="0" y="73"/>
                  </a:lnTo>
                  <a:lnTo>
                    <a:pt x="16" y="73"/>
                  </a:lnTo>
                  <a:lnTo>
                    <a:pt x="21" y="57"/>
                  </a:lnTo>
                  <a:lnTo>
                    <a:pt x="42" y="50"/>
                  </a:lnTo>
                  <a:lnTo>
                    <a:pt x="59" y="5"/>
                  </a:lnTo>
                  <a:lnTo>
                    <a:pt x="75" y="5"/>
                  </a:lnTo>
                  <a:lnTo>
                    <a:pt x="85" y="17"/>
                  </a:lnTo>
                  <a:lnTo>
                    <a:pt x="97" y="5"/>
                  </a:lnTo>
                  <a:lnTo>
                    <a:pt x="97" y="0"/>
                  </a:lnTo>
                  <a:lnTo>
                    <a:pt x="144" y="0"/>
                  </a:lnTo>
                  <a:lnTo>
                    <a:pt x="182" y="57"/>
                  </a:lnTo>
                  <a:lnTo>
                    <a:pt x="177" y="73"/>
                  </a:lnTo>
                  <a:lnTo>
                    <a:pt x="193" y="73"/>
                  </a:lnTo>
                  <a:lnTo>
                    <a:pt x="193" y="90"/>
                  </a:lnTo>
                  <a:lnTo>
                    <a:pt x="198" y="95"/>
                  </a:lnTo>
                  <a:lnTo>
                    <a:pt x="182" y="128"/>
                  </a:lnTo>
                  <a:lnTo>
                    <a:pt x="215" y="111"/>
                  </a:lnTo>
                  <a:lnTo>
                    <a:pt x="203" y="132"/>
                  </a:lnTo>
                  <a:lnTo>
                    <a:pt x="193" y="144"/>
                  </a:lnTo>
                  <a:lnTo>
                    <a:pt x="193" y="168"/>
                  </a:lnTo>
                  <a:lnTo>
                    <a:pt x="165" y="184"/>
                  </a:lnTo>
                  <a:lnTo>
                    <a:pt x="165" y="184"/>
                  </a:lnTo>
                  <a:lnTo>
                    <a:pt x="165" y="184"/>
                  </a:lnTo>
                  <a:close/>
                  <a:moveTo>
                    <a:pt x="30" y="173"/>
                  </a:moveTo>
                  <a:lnTo>
                    <a:pt x="52" y="173"/>
                  </a:lnTo>
                  <a:lnTo>
                    <a:pt x="52" y="184"/>
                  </a:lnTo>
                  <a:lnTo>
                    <a:pt x="52" y="189"/>
                  </a:lnTo>
                  <a:lnTo>
                    <a:pt x="21" y="184"/>
                  </a:lnTo>
                  <a:lnTo>
                    <a:pt x="30" y="173"/>
                  </a:lnTo>
                  <a:lnTo>
                    <a:pt x="30" y="173"/>
                  </a:lnTo>
                  <a:lnTo>
                    <a:pt x="30" y="173"/>
                  </a:lnTo>
                  <a:close/>
                </a:path>
              </a:pathLst>
            </a:custGeom>
            <a:pattFill prst="lt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48" name="Freeform 554">
              <a:extLst>
                <a:ext uri="{FF2B5EF4-FFF2-40B4-BE49-F238E27FC236}">
                  <a16:creationId xmlns:a16="http://schemas.microsoft.com/office/drawing/2014/main" id="{CEE80A04-4463-47EC-82DD-E04F81925D7A}"/>
                </a:ext>
              </a:extLst>
            </p:cNvPr>
            <p:cNvSpPr>
              <a:spLocks/>
            </p:cNvSpPr>
            <p:nvPr/>
          </p:nvSpPr>
          <p:spPr bwMode="gray">
            <a:xfrm>
              <a:off x="6205162" y="2925841"/>
              <a:ext cx="5939" cy="4455"/>
            </a:xfrm>
            <a:custGeom>
              <a:avLst/>
              <a:gdLst>
                <a:gd name="T0" fmla="*/ 0 w 12"/>
                <a:gd name="T1" fmla="*/ 0 h 9"/>
                <a:gd name="T2" fmla="*/ 12 w 12"/>
                <a:gd name="T3" fmla="*/ 0 h 9"/>
                <a:gd name="T4" fmla="*/ 0 w 12"/>
                <a:gd name="T5" fmla="*/ 9 h 9"/>
                <a:gd name="T6" fmla="*/ 0 w 12"/>
                <a:gd name="T7" fmla="*/ 0 h 9"/>
                <a:gd name="T8" fmla="*/ 0 w 12"/>
                <a:gd name="T9" fmla="*/ 0 h 9"/>
                <a:gd name="T10" fmla="*/ 0 w 12"/>
                <a:gd name="T11" fmla="*/ 0 h 9"/>
              </a:gdLst>
              <a:ahLst/>
              <a:cxnLst>
                <a:cxn ang="0">
                  <a:pos x="T0" y="T1"/>
                </a:cxn>
                <a:cxn ang="0">
                  <a:pos x="T2" y="T3"/>
                </a:cxn>
                <a:cxn ang="0">
                  <a:pos x="T4" y="T5"/>
                </a:cxn>
                <a:cxn ang="0">
                  <a:pos x="T6" y="T7"/>
                </a:cxn>
                <a:cxn ang="0">
                  <a:pos x="T8" y="T9"/>
                </a:cxn>
                <a:cxn ang="0">
                  <a:pos x="T10" y="T11"/>
                </a:cxn>
              </a:cxnLst>
              <a:rect l="0" t="0" r="r" b="b"/>
              <a:pathLst>
                <a:path w="12" h="9">
                  <a:moveTo>
                    <a:pt x="0" y="0"/>
                  </a:moveTo>
                  <a:lnTo>
                    <a:pt x="12" y="0"/>
                  </a:lnTo>
                  <a:lnTo>
                    <a:pt x="0" y="9"/>
                  </a:lnTo>
                  <a:lnTo>
                    <a:pt x="0" y="0"/>
                  </a:lnTo>
                  <a:lnTo>
                    <a:pt x="0" y="0"/>
                  </a:lnTo>
                  <a:lnTo>
                    <a:pt x="0" y="0"/>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49" name="Freeform 555">
              <a:extLst>
                <a:ext uri="{FF2B5EF4-FFF2-40B4-BE49-F238E27FC236}">
                  <a16:creationId xmlns:a16="http://schemas.microsoft.com/office/drawing/2014/main" id="{40A56BD3-2F03-4BCD-AD88-F14BB904A7DB}"/>
                </a:ext>
              </a:extLst>
            </p:cNvPr>
            <p:cNvSpPr>
              <a:spLocks/>
            </p:cNvSpPr>
            <p:nvPr/>
          </p:nvSpPr>
          <p:spPr bwMode="gray">
            <a:xfrm>
              <a:off x="9370890" y="4554166"/>
              <a:ext cx="11877" cy="2475"/>
            </a:xfrm>
            <a:custGeom>
              <a:avLst/>
              <a:gdLst>
                <a:gd name="T0" fmla="*/ 24 w 24"/>
                <a:gd name="T1" fmla="*/ 0 h 5"/>
                <a:gd name="T2" fmla="*/ 16 w 24"/>
                <a:gd name="T3" fmla="*/ 5 h 5"/>
                <a:gd name="T4" fmla="*/ 0 w 24"/>
                <a:gd name="T5" fmla="*/ 5 h 5"/>
                <a:gd name="T6" fmla="*/ 7 w 24"/>
                <a:gd name="T7" fmla="*/ 0 h 5"/>
                <a:gd name="T8" fmla="*/ 24 w 24"/>
                <a:gd name="T9" fmla="*/ 0 h 5"/>
                <a:gd name="T10" fmla="*/ 24 w 24"/>
                <a:gd name="T11" fmla="*/ 0 h 5"/>
                <a:gd name="T12" fmla="*/ 24 w 2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4" h="5">
                  <a:moveTo>
                    <a:pt x="24" y="0"/>
                  </a:moveTo>
                  <a:lnTo>
                    <a:pt x="16" y="5"/>
                  </a:lnTo>
                  <a:lnTo>
                    <a:pt x="0" y="5"/>
                  </a:lnTo>
                  <a:lnTo>
                    <a:pt x="7" y="0"/>
                  </a:lnTo>
                  <a:lnTo>
                    <a:pt x="24" y="0"/>
                  </a:lnTo>
                  <a:lnTo>
                    <a:pt x="24" y="0"/>
                  </a:lnTo>
                  <a:lnTo>
                    <a:pt x="24" y="0"/>
                  </a:lnTo>
                  <a:close/>
                </a:path>
              </a:pathLst>
            </a:custGeom>
            <a:solidFill>
              <a:schemeClr val="accent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0" name="Freeform 556">
              <a:extLst>
                <a:ext uri="{FF2B5EF4-FFF2-40B4-BE49-F238E27FC236}">
                  <a16:creationId xmlns:a16="http://schemas.microsoft.com/office/drawing/2014/main" id="{355C05F1-34D0-4B36-96EE-603CAB214B37}"/>
                </a:ext>
              </a:extLst>
            </p:cNvPr>
            <p:cNvSpPr>
              <a:spLocks/>
            </p:cNvSpPr>
            <p:nvPr/>
          </p:nvSpPr>
          <p:spPr bwMode="gray">
            <a:xfrm>
              <a:off x="7198875" y="4172078"/>
              <a:ext cx="358786" cy="490972"/>
            </a:xfrm>
            <a:custGeom>
              <a:avLst/>
              <a:gdLst>
                <a:gd name="T0" fmla="*/ 130 w 725"/>
                <a:gd name="T1" fmla="*/ 555 h 992"/>
                <a:gd name="T2" fmla="*/ 184 w 725"/>
                <a:gd name="T3" fmla="*/ 515 h 992"/>
                <a:gd name="T4" fmla="*/ 276 w 725"/>
                <a:gd name="T5" fmla="*/ 515 h 992"/>
                <a:gd name="T6" fmla="*/ 416 w 725"/>
                <a:gd name="T7" fmla="*/ 295 h 992"/>
                <a:gd name="T8" fmla="*/ 184 w 725"/>
                <a:gd name="T9" fmla="*/ 193 h 992"/>
                <a:gd name="T10" fmla="*/ 151 w 725"/>
                <a:gd name="T11" fmla="*/ 151 h 992"/>
                <a:gd name="T12" fmla="*/ 130 w 725"/>
                <a:gd name="T13" fmla="*/ 127 h 992"/>
                <a:gd name="T14" fmla="*/ 130 w 725"/>
                <a:gd name="T15" fmla="*/ 73 h 992"/>
                <a:gd name="T16" fmla="*/ 168 w 725"/>
                <a:gd name="T17" fmla="*/ 49 h 992"/>
                <a:gd name="T18" fmla="*/ 234 w 725"/>
                <a:gd name="T19" fmla="*/ 111 h 992"/>
                <a:gd name="T20" fmla="*/ 331 w 725"/>
                <a:gd name="T21" fmla="*/ 85 h 992"/>
                <a:gd name="T22" fmla="*/ 449 w 725"/>
                <a:gd name="T23" fmla="*/ 66 h 992"/>
                <a:gd name="T24" fmla="*/ 503 w 725"/>
                <a:gd name="T25" fmla="*/ 66 h 992"/>
                <a:gd name="T26" fmla="*/ 557 w 725"/>
                <a:gd name="T27" fmla="*/ 56 h 992"/>
                <a:gd name="T28" fmla="*/ 600 w 725"/>
                <a:gd name="T29" fmla="*/ 40 h 992"/>
                <a:gd name="T30" fmla="*/ 654 w 725"/>
                <a:gd name="T31" fmla="*/ 28 h 992"/>
                <a:gd name="T32" fmla="*/ 687 w 725"/>
                <a:gd name="T33" fmla="*/ 0 h 992"/>
                <a:gd name="T34" fmla="*/ 704 w 725"/>
                <a:gd name="T35" fmla="*/ 49 h 992"/>
                <a:gd name="T36" fmla="*/ 709 w 725"/>
                <a:gd name="T37" fmla="*/ 66 h 992"/>
                <a:gd name="T38" fmla="*/ 704 w 725"/>
                <a:gd name="T39" fmla="*/ 111 h 992"/>
                <a:gd name="T40" fmla="*/ 709 w 725"/>
                <a:gd name="T41" fmla="*/ 106 h 992"/>
                <a:gd name="T42" fmla="*/ 725 w 725"/>
                <a:gd name="T43" fmla="*/ 122 h 992"/>
                <a:gd name="T44" fmla="*/ 692 w 725"/>
                <a:gd name="T45" fmla="*/ 122 h 992"/>
                <a:gd name="T46" fmla="*/ 654 w 725"/>
                <a:gd name="T47" fmla="*/ 233 h 992"/>
                <a:gd name="T48" fmla="*/ 616 w 725"/>
                <a:gd name="T49" fmla="*/ 295 h 992"/>
                <a:gd name="T50" fmla="*/ 569 w 725"/>
                <a:gd name="T51" fmla="*/ 382 h 992"/>
                <a:gd name="T52" fmla="*/ 487 w 725"/>
                <a:gd name="T53" fmla="*/ 548 h 992"/>
                <a:gd name="T54" fmla="*/ 243 w 725"/>
                <a:gd name="T55" fmla="*/ 753 h 992"/>
                <a:gd name="T56" fmla="*/ 71 w 725"/>
                <a:gd name="T57" fmla="*/ 937 h 992"/>
                <a:gd name="T58" fmla="*/ 0 w 725"/>
                <a:gd name="T59" fmla="*/ 937 h 992"/>
                <a:gd name="T60" fmla="*/ 21 w 725"/>
                <a:gd name="T61" fmla="*/ 642 h 992"/>
                <a:gd name="T62" fmla="*/ 71 w 725"/>
                <a:gd name="T63" fmla="*/ 571 h 992"/>
                <a:gd name="T64" fmla="*/ 71 w 725"/>
                <a:gd name="T65" fmla="*/ 571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5" h="992">
                  <a:moveTo>
                    <a:pt x="71" y="571"/>
                  </a:moveTo>
                  <a:lnTo>
                    <a:pt x="130" y="555"/>
                  </a:lnTo>
                  <a:lnTo>
                    <a:pt x="146" y="531"/>
                  </a:lnTo>
                  <a:lnTo>
                    <a:pt x="184" y="515"/>
                  </a:lnTo>
                  <a:lnTo>
                    <a:pt x="205" y="510"/>
                  </a:lnTo>
                  <a:lnTo>
                    <a:pt x="276" y="515"/>
                  </a:lnTo>
                  <a:lnTo>
                    <a:pt x="487" y="295"/>
                  </a:lnTo>
                  <a:lnTo>
                    <a:pt x="416" y="295"/>
                  </a:lnTo>
                  <a:lnTo>
                    <a:pt x="205" y="222"/>
                  </a:lnTo>
                  <a:lnTo>
                    <a:pt x="184" y="193"/>
                  </a:lnTo>
                  <a:lnTo>
                    <a:pt x="168" y="193"/>
                  </a:lnTo>
                  <a:lnTo>
                    <a:pt x="151" y="151"/>
                  </a:lnTo>
                  <a:lnTo>
                    <a:pt x="146" y="151"/>
                  </a:lnTo>
                  <a:lnTo>
                    <a:pt x="130" y="127"/>
                  </a:lnTo>
                  <a:lnTo>
                    <a:pt x="113" y="106"/>
                  </a:lnTo>
                  <a:lnTo>
                    <a:pt x="130" y="73"/>
                  </a:lnTo>
                  <a:lnTo>
                    <a:pt x="151" y="40"/>
                  </a:lnTo>
                  <a:lnTo>
                    <a:pt x="168" y="49"/>
                  </a:lnTo>
                  <a:lnTo>
                    <a:pt x="189" y="89"/>
                  </a:lnTo>
                  <a:lnTo>
                    <a:pt x="234" y="111"/>
                  </a:lnTo>
                  <a:lnTo>
                    <a:pt x="272" y="122"/>
                  </a:lnTo>
                  <a:lnTo>
                    <a:pt x="331" y="85"/>
                  </a:lnTo>
                  <a:lnTo>
                    <a:pt x="378" y="94"/>
                  </a:lnTo>
                  <a:lnTo>
                    <a:pt x="449" y="66"/>
                  </a:lnTo>
                  <a:lnTo>
                    <a:pt x="470" y="66"/>
                  </a:lnTo>
                  <a:lnTo>
                    <a:pt x="503" y="66"/>
                  </a:lnTo>
                  <a:lnTo>
                    <a:pt x="524" y="49"/>
                  </a:lnTo>
                  <a:lnTo>
                    <a:pt x="557" y="56"/>
                  </a:lnTo>
                  <a:lnTo>
                    <a:pt x="583" y="49"/>
                  </a:lnTo>
                  <a:lnTo>
                    <a:pt x="600" y="40"/>
                  </a:lnTo>
                  <a:lnTo>
                    <a:pt x="633" y="40"/>
                  </a:lnTo>
                  <a:lnTo>
                    <a:pt x="654" y="28"/>
                  </a:lnTo>
                  <a:lnTo>
                    <a:pt x="671" y="11"/>
                  </a:lnTo>
                  <a:lnTo>
                    <a:pt x="687" y="0"/>
                  </a:lnTo>
                  <a:lnTo>
                    <a:pt x="720" y="11"/>
                  </a:lnTo>
                  <a:lnTo>
                    <a:pt x="704" y="49"/>
                  </a:lnTo>
                  <a:lnTo>
                    <a:pt x="704" y="56"/>
                  </a:lnTo>
                  <a:lnTo>
                    <a:pt x="709" y="66"/>
                  </a:lnTo>
                  <a:lnTo>
                    <a:pt x="709" y="106"/>
                  </a:lnTo>
                  <a:lnTo>
                    <a:pt x="704" y="111"/>
                  </a:lnTo>
                  <a:lnTo>
                    <a:pt x="709" y="111"/>
                  </a:lnTo>
                  <a:lnTo>
                    <a:pt x="709" y="106"/>
                  </a:lnTo>
                  <a:lnTo>
                    <a:pt x="725" y="111"/>
                  </a:lnTo>
                  <a:lnTo>
                    <a:pt x="725" y="122"/>
                  </a:lnTo>
                  <a:lnTo>
                    <a:pt x="720" y="111"/>
                  </a:lnTo>
                  <a:lnTo>
                    <a:pt x="692" y="122"/>
                  </a:lnTo>
                  <a:lnTo>
                    <a:pt x="687" y="193"/>
                  </a:lnTo>
                  <a:lnTo>
                    <a:pt x="654" y="233"/>
                  </a:lnTo>
                  <a:lnTo>
                    <a:pt x="638" y="278"/>
                  </a:lnTo>
                  <a:lnTo>
                    <a:pt x="616" y="295"/>
                  </a:lnTo>
                  <a:lnTo>
                    <a:pt x="612" y="328"/>
                  </a:lnTo>
                  <a:lnTo>
                    <a:pt x="569" y="382"/>
                  </a:lnTo>
                  <a:lnTo>
                    <a:pt x="562" y="427"/>
                  </a:lnTo>
                  <a:lnTo>
                    <a:pt x="487" y="548"/>
                  </a:lnTo>
                  <a:lnTo>
                    <a:pt x="347" y="699"/>
                  </a:lnTo>
                  <a:lnTo>
                    <a:pt x="243" y="753"/>
                  </a:lnTo>
                  <a:lnTo>
                    <a:pt x="168" y="826"/>
                  </a:lnTo>
                  <a:lnTo>
                    <a:pt x="71" y="937"/>
                  </a:lnTo>
                  <a:lnTo>
                    <a:pt x="38" y="992"/>
                  </a:lnTo>
                  <a:lnTo>
                    <a:pt x="0" y="937"/>
                  </a:lnTo>
                  <a:lnTo>
                    <a:pt x="0" y="666"/>
                  </a:lnTo>
                  <a:lnTo>
                    <a:pt x="21" y="642"/>
                  </a:lnTo>
                  <a:lnTo>
                    <a:pt x="59" y="583"/>
                  </a:lnTo>
                  <a:lnTo>
                    <a:pt x="71" y="571"/>
                  </a:lnTo>
                  <a:lnTo>
                    <a:pt x="71" y="571"/>
                  </a:lnTo>
                  <a:lnTo>
                    <a:pt x="71" y="571"/>
                  </a:lnTo>
                  <a:close/>
                </a:path>
              </a:pathLst>
            </a:custGeom>
            <a:pattFill prst="dk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1" name="Freeform 557">
              <a:extLst>
                <a:ext uri="{FF2B5EF4-FFF2-40B4-BE49-F238E27FC236}">
                  <a16:creationId xmlns:a16="http://schemas.microsoft.com/office/drawing/2014/main" id="{0CBA61BC-6F11-4A48-89F8-6C13C394AA39}"/>
                </a:ext>
              </a:extLst>
            </p:cNvPr>
            <p:cNvSpPr>
              <a:spLocks noEditPoints="1"/>
            </p:cNvSpPr>
            <p:nvPr/>
          </p:nvSpPr>
          <p:spPr bwMode="gray">
            <a:xfrm>
              <a:off x="5145136" y="2933758"/>
              <a:ext cx="776957" cy="658261"/>
            </a:xfrm>
            <a:custGeom>
              <a:avLst/>
              <a:gdLst>
                <a:gd name="T0" fmla="*/ 793 w 1570"/>
                <a:gd name="T1" fmla="*/ 251 h 1330"/>
                <a:gd name="T2" fmla="*/ 815 w 1570"/>
                <a:gd name="T3" fmla="*/ 184 h 1330"/>
                <a:gd name="T4" fmla="*/ 756 w 1570"/>
                <a:gd name="T5" fmla="*/ 173 h 1330"/>
                <a:gd name="T6" fmla="*/ 708 w 1570"/>
                <a:gd name="T7" fmla="*/ 151 h 1330"/>
                <a:gd name="T8" fmla="*/ 647 w 1570"/>
                <a:gd name="T9" fmla="*/ 151 h 1330"/>
                <a:gd name="T10" fmla="*/ 654 w 1570"/>
                <a:gd name="T11" fmla="*/ 123 h 1330"/>
                <a:gd name="T12" fmla="*/ 642 w 1570"/>
                <a:gd name="T13" fmla="*/ 111 h 1330"/>
                <a:gd name="T14" fmla="*/ 633 w 1570"/>
                <a:gd name="T15" fmla="*/ 66 h 1330"/>
                <a:gd name="T16" fmla="*/ 663 w 1570"/>
                <a:gd name="T17" fmla="*/ 45 h 1330"/>
                <a:gd name="T18" fmla="*/ 722 w 1570"/>
                <a:gd name="T19" fmla="*/ 7 h 1330"/>
                <a:gd name="T20" fmla="*/ 777 w 1570"/>
                <a:gd name="T21" fmla="*/ 24 h 1330"/>
                <a:gd name="T22" fmla="*/ 869 w 1570"/>
                <a:gd name="T23" fmla="*/ 24 h 1330"/>
                <a:gd name="T24" fmla="*/ 1063 w 1570"/>
                <a:gd name="T25" fmla="*/ 28 h 1330"/>
                <a:gd name="T26" fmla="*/ 1171 w 1570"/>
                <a:gd name="T27" fmla="*/ 62 h 1330"/>
                <a:gd name="T28" fmla="*/ 1273 w 1570"/>
                <a:gd name="T29" fmla="*/ 95 h 1330"/>
                <a:gd name="T30" fmla="*/ 1372 w 1570"/>
                <a:gd name="T31" fmla="*/ 99 h 1330"/>
                <a:gd name="T32" fmla="*/ 1436 w 1570"/>
                <a:gd name="T33" fmla="*/ 118 h 1330"/>
                <a:gd name="T34" fmla="*/ 1495 w 1570"/>
                <a:gd name="T35" fmla="*/ 123 h 1330"/>
                <a:gd name="T36" fmla="*/ 1495 w 1570"/>
                <a:gd name="T37" fmla="*/ 168 h 1330"/>
                <a:gd name="T38" fmla="*/ 1318 w 1570"/>
                <a:gd name="T39" fmla="*/ 262 h 1330"/>
                <a:gd name="T40" fmla="*/ 1327 w 1570"/>
                <a:gd name="T41" fmla="*/ 279 h 1330"/>
                <a:gd name="T42" fmla="*/ 1263 w 1570"/>
                <a:gd name="T43" fmla="*/ 411 h 1330"/>
                <a:gd name="T44" fmla="*/ 1226 w 1570"/>
                <a:gd name="T45" fmla="*/ 527 h 1330"/>
                <a:gd name="T46" fmla="*/ 1112 w 1570"/>
                <a:gd name="T47" fmla="*/ 593 h 1330"/>
                <a:gd name="T48" fmla="*/ 949 w 1570"/>
                <a:gd name="T49" fmla="*/ 617 h 1330"/>
                <a:gd name="T50" fmla="*/ 881 w 1570"/>
                <a:gd name="T51" fmla="*/ 666 h 1330"/>
                <a:gd name="T52" fmla="*/ 826 w 1570"/>
                <a:gd name="T53" fmla="*/ 600 h 1330"/>
                <a:gd name="T54" fmla="*/ 751 w 1570"/>
                <a:gd name="T55" fmla="*/ 560 h 1330"/>
                <a:gd name="T56" fmla="*/ 777 w 1570"/>
                <a:gd name="T57" fmla="*/ 489 h 1330"/>
                <a:gd name="T58" fmla="*/ 760 w 1570"/>
                <a:gd name="T59" fmla="*/ 432 h 1330"/>
                <a:gd name="T60" fmla="*/ 777 w 1570"/>
                <a:gd name="T61" fmla="*/ 354 h 1330"/>
                <a:gd name="T62" fmla="*/ 789 w 1570"/>
                <a:gd name="T63" fmla="*/ 305 h 1330"/>
                <a:gd name="T64" fmla="*/ 1544 w 1570"/>
                <a:gd name="T65" fmla="*/ 321 h 1330"/>
                <a:gd name="T66" fmla="*/ 1570 w 1570"/>
                <a:gd name="T67" fmla="*/ 350 h 1330"/>
                <a:gd name="T68" fmla="*/ 1478 w 1570"/>
                <a:gd name="T69" fmla="*/ 333 h 1330"/>
                <a:gd name="T70" fmla="*/ 1495 w 1570"/>
                <a:gd name="T71" fmla="*/ 378 h 1330"/>
                <a:gd name="T72" fmla="*/ 1441 w 1570"/>
                <a:gd name="T73" fmla="*/ 371 h 1330"/>
                <a:gd name="T74" fmla="*/ 1356 w 1570"/>
                <a:gd name="T75" fmla="*/ 416 h 1330"/>
                <a:gd name="T76" fmla="*/ 1365 w 1570"/>
                <a:gd name="T77" fmla="*/ 428 h 1330"/>
                <a:gd name="T78" fmla="*/ 1372 w 1570"/>
                <a:gd name="T79" fmla="*/ 432 h 1330"/>
                <a:gd name="T80" fmla="*/ 1372 w 1570"/>
                <a:gd name="T81" fmla="*/ 444 h 1330"/>
                <a:gd name="T82" fmla="*/ 330 w 1570"/>
                <a:gd name="T83" fmla="*/ 1202 h 1330"/>
                <a:gd name="T84" fmla="*/ 309 w 1570"/>
                <a:gd name="T85" fmla="*/ 1238 h 1330"/>
                <a:gd name="T86" fmla="*/ 16 w 1570"/>
                <a:gd name="T87" fmla="*/ 1238 h 1330"/>
                <a:gd name="T88" fmla="*/ 21 w 1570"/>
                <a:gd name="T89" fmla="*/ 1259 h 1330"/>
                <a:gd name="T90" fmla="*/ 293 w 1570"/>
                <a:gd name="T91" fmla="*/ 1243 h 1330"/>
                <a:gd name="T92" fmla="*/ 271 w 1570"/>
                <a:gd name="T93" fmla="*/ 1297 h 1330"/>
                <a:gd name="T94" fmla="*/ 87 w 1570"/>
                <a:gd name="T95" fmla="*/ 1276 h 1330"/>
                <a:gd name="T96" fmla="*/ 125 w 1570"/>
                <a:gd name="T97" fmla="*/ 1292 h 1330"/>
                <a:gd name="T98" fmla="*/ 59 w 1570"/>
                <a:gd name="T99" fmla="*/ 1297 h 1330"/>
                <a:gd name="T100" fmla="*/ 59 w 1570"/>
                <a:gd name="T101" fmla="*/ 1297 h 1330"/>
                <a:gd name="T102" fmla="*/ 163 w 1570"/>
                <a:gd name="T103" fmla="*/ 1304 h 1330"/>
                <a:gd name="T104" fmla="*/ 196 w 1570"/>
                <a:gd name="T105" fmla="*/ 1313 h 1330"/>
                <a:gd name="T106" fmla="*/ 7 w 1570"/>
                <a:gd name="T107" fmla="*/ 1330 h 1330"/>
                <a:gd name="T108" fmla="*/ 7 w 1570"/>
                <a:gd name="T109" fmla="*/ 133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70" h="1330">
                  <a:moveTo>
                    <a:pt x="789" y="305"/>
                  </a:moveTo>
                  <a:lnTo>
                    <a:pt x="793" y="300"/>
                  </a:lnTo>
                  <a:lnTo>
                    <a:pt x="793" y="284"/>
                  </a:lnTo>
                  <a:lnTo>
                    <a:pt x="793" y="251"/>
                  </a:lnTo>
                  <a:lnTo>
                    <a:pt x="789" y="239"/>
                  </a:lnTo>
                  <a:lnTo>
                    <a:pt x="826" y="210"/>
                  </a:lnTo>
                  <a:lnTo>
                    <a:pt x="843" y="189"/>
                  </a:lnTo>
                  <a:lnTo>
                    <a:pt x="815" y="184"/>
                  </a:lnTo>
                  <a:lnTo>
                    <a:pt x="810" y="156"/>
                  </a:lnTo>
                  <a:lnTo>
                    <a:pt x="772" y="156"/>
                  </a:lnTo>
                  <a:lnTo>
                    <a:pt x="772" y="168"/>
                  </a:lnTo>
                  <a:lnTo>
                    <a:pt x="756" y="173"/>
                  </a:lnTo>
                  <a:lnTo>
                    <a:pt x="734" y="168"/>
                  </a:lnTo>
                  <a:lnTo>
                    <a:pt x="701" y="173"/>
                  </a:lnTo>
                  <a:lnTo>
                    <a:pt x="696" y="168"/>
                  </a:lnTo>
                  <a:lnTo>
                    <a:pt x="708" y="151"/>
                  </a:lnTo>
                  <a:lnTo>
                    <a:pt x="696" y="139"/>
                  </a:lnTo>
                  <a:lnTo>
                    <a:pt x="654" y="156"/>
                  </a:lnTo>
                  <a:lnTo>
                    <a:pt x="647" y="168"/>
                  </a:lnTo>
                  <a:lnTo>
                    <a:pt x="647" y="151"/>
                  </a:lnTo>
                  <a:lnTo>
                    <a:pt x="670" y="123"/>
                  </a:lnTo>
                  <a:lnTo>
                    <a:pt x="647" y="135"/>
                  </a:lnTo>
                  <a:lnTo>
                    <a:pt x="663" y="118"/>
                  </a:lnTo>
                  <a:lnTo>
                    <a:pt x="654" y="123"/>
                  </a:lnTo>
                  <a:lnTo>
                    <a:pt x="647" y="118"/>
                  </a:lnTo>
                  <a:lnTo>
                    <a:pt x="654" y="118"/>
                  </a:lnTo>
                  <a:lnTo>
                    <a:pt x="663" y="95"/>
                  </a:lnTo>
                  <a:lnTo>
                    <a:pt x="642" y="111"/>
                  </a:lnTo>
                  <a:lnTo>
                    <a:pt x="642" y="95"/>
                  </a:lnTo>
                  <a:lnTo>
                    <a:pt x="647" y="83"/>
                  </a:lnTo>
                  <a:lnTo>
                    <a:pt x="633" y="95"/>
                  </a:lnTo>
                  <a:lnTo>
                    <a:pt x="633" y="66"/>
                  </a:lnTo>
                  <a:lnTo>
                    <a:pt x="626" y="78"/>
                  </a:lnTo>
                  <a:lnTo>
                    <a:pt x="626" y="57"/>
                  </a:lnTo>
                  <a:lnTo>
                    <a:pt x="647" y="40"/>
                  </a:lnTo>
                  <a:lnTo>
                    <a:pt x="663" y="45"/>
                  </a:lnTo>
                  <a:lnTo>
                    <a:pt x="685" y="28"/>
                  </a:lnTo>
                  <a:lnTo>
                    <a:pt x="696" y="24"/>
                  </a:lnTo>
                  <a:lnTo>
                    <a:pt x="718" y="0"/>
                  </a:lnTo>
                  <a:lnTo>
                    <a:pt x="722" y="7"/>
                  </a:lnTo>
                  <a:lnTo>
                    <a:pt x="751" y="7"/>
                  </a:lnTo>
                  <a:lnTo>
                    <a:pt x="760" y="24"/>
                  </a:lnTo>
                  <a:lnTo>
                    <a:pt x="777" y="24"/>
                  </a:lnTo>
                  <a:lnTo>
                    <a:pt x="777" y="24"/>
                  </a:lnTo>
                  <a:lnTo>
                    <a:pt x="789" y="12"/>
                  </a:lnTo>
                  <a:lnTo>
                    <a:pt x="848" y="24"/>
                  </a:lnTo>
                  <a:lnTo>
                    <a:pt x="864" y="12"/>
                  </a:lnTo>
                  <a:lnTo>
                    <a:pt x="869" y="24"/>
                  </a:lnTo>
                  <a:lnTo>
                    <a:pt x="956" y="28"/>
                  </a:lnTo>
                  <a:lnTo>
                    <a:pt x="1020" y="24"/>
                  </a:lnTo>
                  <a:lnTo>
                    <a:pt x="1048" y="40"/>
                  </a:lnTo>
                  <a:lnTo>
                    <a:pt x="1063" y="28"/>
                  </a:lnTo>
                  <a:lnTo>
                    <a:pt x="1112" y="45"/>
                  </a:lnTo>
                  <a:lnTo>
                    <a:pt x="1150" y="40"/>
                  </a:lnTo>
                  <a:lnTo>
                    <a:pt x="1171" y="45"/>
                  </a:lnTo>
                  <a:lnTo>
                    <a:pt x="1171" y="62"/>
                  </a:lnTo>
                  <a:lnTo>
                    <a:pt x="1221" y="66"/>
                  </a:lnTo>
                  <a:lnTo>
                    <a:pt x="1237" y="83"/>
                  </a:lnTo>
                  <a:lnTo>
                    <a:pt x="1247" y="83"/>
                  </a:lnTo>
                  <a:lnTo>
                    <a:pt x="1273" y="95"/>
                  </a:lnTo>
                  <a:lnTo>
                    <a:pt x="1318" y="95"/>
                  </a:lnTo>
                  <a:lnTo>
                    <a:pt x="1327" y="78"/>
                  </a:lnTo>
                  <a:lnTo>
                    <a:pt x="1365" y="95"/>
                  </a:lnTo>
                  <a:lnTo>
                    <a:pt x="1372" y="99"/>
                  </a:lnTo>
                  <a:lnTo>
                    <a:pt x="1372" y="118"/>
                  </a:lnTo>
                  <a:lnTo>
                    <a:pt x="1398" y="111"/>
                  </a:lnTo>
                  <a:lnTo>
                    <a:pt x="1410" y="123"/>
                  </a:lnTo>
                  <a:lnTo>
                    <a:pt x="1436" y="118"/>
                  </a:lnTo>
                  <a:lnTo>
                    <a:pt x="1452" y="123"/>
                  </a:lnTo>
                  <a:lnTo>
                    <a:pt x="1478" y="118"/>
                  </a:lnTo>
                  <a:lnTo>
                    <a:pt x="1495" y="118"/>
                  </a:lnTo>
                  <a:lnTo>
                    <a:pt x="1495" y="123"/>
                  </a:lnTo>
                  <a:lnTo>
                    <a:pt x="1507" y="123"/>
                  </a:lnTo>
                  <a:lnTo>
                    <a:pt x="1490" y="135"/>
                  </a:lnTo>
                  <a:lnTo>
                    <a:pt x="1495" y="151"/>
                  </a:lnTo>
                  <a:lnTo>
                    <a:pt x="1495" y="168"/>
                  </a:lnTo>
                  <a:lnTo>
                    <a:pt x="1436" y="206"/>
                  </a:lnTo>
                  <a:lnTo>
                    <a:pt x="1419" y="222"/>
                  </a:lnTo>
                  <a:lnTo>
                    <a:pt x="1344" y="239"/>
                  </a:lnTo>
                  <a:lnTo>
                    <a:pt x="1318" y="262"/>
                  </a:lnTo>
                  <a:lnTo>
                    <a:pt x="1334" y="267"/>
                  </a:lnTo>
                  <a:lnTo>
                    <a:pt x="1318" y="279"/>
                  </a:lnTo>
                  <a:lnTo>
                    <a:pt x="1318" y="279"/>
                  </a:lnTo>
                  <a:lnTo>
                    <a:pt x="1327" y="279"/>
                  </a:lnTo>
                  <a:lnTo>
                    <a:pt x="1311" y="279"/>
                  </a:lnTo>
                  <a:lnTo>
                    <a:pt x="1273" y="321"/>
                  </a:lnTo>
                  <a:lnTo>
                    <a:pt x="1247" y="371"/>
                  </a:lnTo>
                  <a:lnTo>
                    <a:pt x="1263" y="411"/>
                  </a:lnTo>
                  <a:lnTo>
                    <a:pt x="1289" y="432"/>
                  </a:lnTo>
                  <a:lnTo>
                    <a:pt x="1237" y="465"/>
                  </a:lnTo>
                  <a:lnTo>
                    <a:pt x="1209" y="522"/>
                  </a:lnTo>
                  <a:lnTo>
                    <a:pt x="1226" y="527"/>
                  </a:lnTo>
                  <a:lnTo>
                    <a:pt x="1183" y="527"/>
                  </a:lnTo>
                  <a:lnTo>
                    <a:pt x="1155" y="543"/>
                  </a:lnTo>
                  <a:lnTo>
                    <a:pt x="1129" y="600"/>
                  </a:lnTo>
                  <a:lnTo>
                    <a:pt x="1112" y="593"/>
                  </a:lnTo>
                  <a:lnTo>
                    <a:pt x="1079" y="610"/>
                  </a:lnTo>
                  <a:lnTo>
                    <a:pt x="1063" y="600"/>
                  </a:lnTo>
                  <a:lnTo>
                    <a:pt x="966" y="600"/>
                  </a:lnTo>
                  <a:lnTo>
                    <a:pt x="949" y="617"/>
                  </a:lnTo>
                  <a:lnTo>
                    <a:pt x="911" y="626"/>
                  </a:lnTo>
                  <a:lnTo>
                    <a:pt x="902" y="650"/>
                  </a:lnTo>
                  <a:lnTo>
                    <a:pt x="897" y="650"/>
                  </a:lnTo>
                  <a:lnTo>
                    <a:pt x="881" y="666"/>
                  </a:lnTo>
                  <a:lnTo>
                    <a:pt x="848" y="650"/>
                  </a:lnTo>
                  <a:lnTo>
                    <a:pt x="831" y="626"/>
                  </a:lnTo>
                  <a:lnTo>
                    <a:pt x="843" y="617"/>
                  </a:lnTo>
                  <a:lnTo>
                    <a:pt x="826" y="600"/>
                  </a:lnTo>
                  <a:lnTo>
                    <a:pt x="826" y="593"/>
                  </a:lnTo>
                  <a:lnTo>
                    <a:pt x="789" y="560"/>
                  </a:lnTo>
                  <a:lnTo>
                    <a:pt x="756" y="560"/>
                  </a:lnTo>
                  <a:lnTo>
                    <a:pt x="751" y="560"/>
                  </a:lnTo>
                  <a:lnTo>
                    <a:pt x="751" y="527"/>
                  </a:lnTo>
                  <a:lnTo>
                    <a:pt x="751" y="522"/>
                  </a:lnTo>
                  <a:lnTo>
                    <a:pt x="760" y="499"/>
                  </a:lnTo>
                  <a:lnTo>
                    <a:pt x="777" y="489"/>
                  </a:lnTo>
                  <a:lnTo>
                    <a:pt x="789" y="482"/>
                  </a:lnTo>
                  <a:lnTo>
                    <a:pt x="777" y="482"/>
                  </a:lnTo>
                  <a:lnTo>
                    <a:pt x="756" y="461"/>
                  </a:lnTo>
                  <a:lnTo>
                    <a:pt x="760" y="432"/>
                  </a:lnTo>
                  <a:lnTo>
                    <a:pt x="789" y="411"/>
                  </a:lnTo>
                  <a:lnTo>
                    <a:pt x="760" y="395"/>
                  </a:lnTo>
                  <a:lnTo>
                    <a:pt x="751" y="354"/>
                  </a:lnTo>
                  <a:lnTo>
                    <a:pt x="777" y="354"/>
                  </a:lnTo>
                  <a:lnTo>
                    <a:pt x="793" y="321"/>
                  </a:lnTo>
                  <a:lnTo>
                    <a:pt x="777" y="317"/>
                  </a:lnTo>
                  <a:lnTo>
                    <a:pt x="789" y="305"/>
                  </a:lnTo>
                  <a:lnTo>
                    <a:pt x="789" y="305"/>
                  </a:lnTo>
                  <a:lnTo>
                    <a:pt x="789" y="305"/>
                  </a:lnTo>
                  <a:close/>
                  <a:moveTo>
                    <a:pt x="1570" y="350"/>
                  </a:moveTo>
                  <a:lnTo>
                    <a:pt x="1544" y="333"/>
                  </a:lnTo>
                  <a:lnTo>
                    <a:pt x="1544" y="321"/>
                  </a:lnTo>
                  <a:lnTo>
                    <a:pt x="1566" y="321"/>
                  </a:lnTo>
                  <a:lnTo>
                    <a:pt x="1570" y="338"/>
                  </a:lnTo>
                  <a:lnTo>
                    <a:pt x="1570" y="350"/>
                  </a:lnTo>
                  <a:lnTo>
                    <a:pt x="1570" y="350"/>
                  </a:lnTo>
                  <a:lnTo>
                    <a:pt x="1570" y="350"/>
                  </a:lnTo>
                  <a:close/>
                  <a:moveTo>
                    <a:pt x="1441" y="371"/>
                  </a:moveTo>
                  <a:lnTo>
                    <a:pt x="1441" y="362"/>
                  </a:lnTo>
                  <a:lnTo>
                    <a:pt x="1478" y="333"/>
                  </a:lnTo>
                  <a:lnTo>
                    <a:pt x="1490" y="333"/>
                  </a:lnTo>
                  <a:lnTo>
                    <a:pt x="1495" y="350"/>
                  </a:lnTo>
                  <a:lnTo>
                    <a:pt x="1516" y="350"/>
                  </a:lnTo>
                  <a:lnTo>
                    <a:pt x="1495" y="378"/>
                  </a:lnTo>
                  <a:lnTo>
                    <a:pt x="1490" y="388"/>
                  </a:lnTo>
                  <a:lnTo>
                    <a:pt x="1462" y="378"/>
                  </a:lnTo>
                  <a:lnTo>
                    <a:pt x="1457" y="362"/>
                  </a:lnTo>
                  <a:lnTo>
                    <a:pt x="1441" y="371"/>
                  </a:lnTo>
                  <a:lnTo>
                    <a:pt x="1441" y="371"/>
                  </a:lnTo>
                  <a:lnTo>
                    <a:pt x="1441" y="371"/>
                  </a:lnTo>
                  <a:close/>
                  <a:moveTo>
                    <a:pt x="1365" y="428"/>
                  </a:moveTo>
                  <a:lnTo>
                    <a:pt x="1356" y="416"/>
                  </a:lnTo>
                  <a:lnTo>
                    <a:pt x="1365" y="411"/>
                  </a:lnTo>
                  <a:lnTo>
                    <a:pt x="1386" y="406"/>
                  </a:lnTo>
                  <a:lnTo>
                    <a:pt x="1386" y="411"/>
                  </a:lnTo>
                  <a:lnTo>
                    <a:pt x="1365" y="428"/>
                  </a:lnTo>
                  <a:lnTo>
                    <a:pt x="1365" y="428"/>
                  </a:lnTo>
                  <a:lnTo>
                    <a:pt x="1365" y="428"/>
                  </a:lnTo>
                  <a:close/>
                  <a:moveTo>
                    <a:pt x="1372" y="444"/>
                  </a:moveTo>
                  <a:lnTo>
                    <a:pt x="1372" y="432"/>
                  </a:lnTo>
                  <a:lnTo>
                    <a:pt x="1382" y="444"/>
                  </a:lnTo>
                  <a:lnTo>
                    <a:pt x="1372" y="444"/>
                  </a:lnTo>
                  <a:lnTo>
                    <a:pt x="1372" y="444"/>
                  </a:lnTo>
                  <a:lnTo>
                    <a:pt x="1372" y="444"/>
                  </a:lnTo>
                  <a:close/>
                  <a:moveTo>
                    <a:pt x="309" y="1238"/>
                  </a:moveTo>
                  <a:lnTo>
                    <a:pt x="302" y="1226"/>
                  </a:lnTo>
                  <a:lnTo>
                    <a:pt x="309" y="1219"/>
                  </a:lnTo>
                  <a:lnTo>
                    <a:pt x="330" y="1202"/>
                  </a:lnTo>
                  <a:lnTo>
                    <a:pt x="323" y="1226"/>
                  </a:lnTo>
                  <a:lnTo>
                    <a:pt x="309" y="1238"/>
                  </a:lnTo>
                  <a:lnTo>
                    <a:pt x="309" y="1238"/>
                  </a:lnTo>
                  <a:lnTo>
                    <a:pt x="309" y="1238"/>
                  </a:lnTo>
                  <a:close/>
                  <a:moveTo>
                    <a:pt x="21" y="1259"/>
                  </a:moveTo>
                  <a:lnTo>
                    <a:pt x="21" y="1264"/>
                  </a:lnTo>
                  <a:lnTo>
                    <a:pt x="7" y="1243"/>
                  </a:lnTo>
                  <a:lnTo>
                    <a:pt x="16" y="1238"/>
                  </a:lnTo>
                  <a:lnTo>
                    <a:pt x="33" y="1243"/>
                  </a:lnTo>
                  <a:lnTo>
                    <a:pt x="21" y="1259"/>
                  </a:lnTo>
                  <a:lnTo>
                    <a:pt x="21" y="1259"/>
                  </a:lnTo>
                  <a:lnTo>
                    <a:pt x="21" y="1259"/>
                  </a:lnTo>
                  <a:close/>
                  <a:moveTo>
                    <a:pt x="271" y="1297"/>
                  </a:moveTo>
                  <a:lnTo>
                    <a:pt x="264" y="1297"/>
                  </a:lnTo>
                  <a:lnTo>
                    <a:pt x="276" y="1280"/>
                  </a:lnTo>
                  <a:lnTo>
                    <a:pt x="293" y="1243"/>
                  </a:lnTo>
                  <a:lnTo>
                    <a:pt x="302" y="1243"/>
                  </a:lnTo>
                  <a:lnTo>
                    <a:pt x="302" y="1259"/>
                  </a:lnTo>
                  <a:lnTo>
                    <a:pt x="293" y="1280"/>
                  </a:lnTo>
                  <a:lnTo>
                    <a:pt x="271" y="1297"/>
                  </a:lnTo>
                  <a:lnTo>
                    <a:pt x="271" y="1297"/>
                  </a:lnTo>
                  <a:lnTo>
                    <a:pt x="271" y="1297"/>
                  </a:lnTo>
                  <a:close/>
                  <a:moveTo>
                    <a:pt x="104" y="1297"/>
                  </a:moveTo>
                  <a:lnTo>
                    <a:pt x="87" y="1276"/>
                  </a:lnTo>
                  <a:lnTo>
                    <a:pt x="108" y="1264"/>
                  </a:lnTo>
                  <a:lnTo>
                    <a:pt x="125" y="1259"/>
                  </a:lnTo>
                  <a:lnTo>
                    <a:pt x="141" y="1259"/>
                  </a:lnTo>
                  <a:lnTo>
                    <a:pt x="125" y="1292"/>
                  </a:lnTo>
                  <a:lnTo>
                    <a:pt x="104" y="1297"/>
                  </a:lnTo>
                  <a:lnTo>
                    <a:pt x="104" y="1297"/>
                  </a:lnTo>
                  <a:lnTo>
                    <a:pt x="104" y="1297"/>
                  </a:lnTo>
                  <a:close/>
                  <a:moveTo>
                    <a:pt x="59" y="1297"/>
                  </a:moveTo>
                  <a:lnTo>
                    <a:pt x="54" y="1292"/>
                  </a:lnTo>
                  <a:lnTo>
                    <a:pt x="59" y="1280"/>
                  </a:lnTo>
                  <a:lnTo>
                    <a:pt x="75" y="1292"/>
                  </a:lnTo>
                  <a:lnTo>
                    <a:pt x="59" y="1297"/>
                  </a:lnTo>
                  <a:lnTo>
                    <a:pt x="59" y="1297"/>
                  </a:lnTo>
                  <a:lnTo>
                    <a:pt x="59" y="1297"/>
                  </a:lnTo>
                  <a:close/>
                  <a:moveTo>
                    <a:pt x="179" y="1321"/>
                  </a:moveTo>
                  <a:lnTo>
                    <a:pt x="163" y="1304"/>
                  </a:lnTo>
                  <a:lnTo>
                    <a:pt x="167" y="1292"/>
                  </a:lnTo>
                  <a:lnTo>
                    <a:pt x="196" y="1292"/>
                  </a:lnTo>
                  <a:lnTo>
                    <a:pt x="196" y="1297"/>
                  </a:lnTo>
                  <a:lnTo>
                    <a:pt x="196" y="1313"/>
                  </a:lnTo>
                  <a:lnTo>
                    <a:pt x="179" y="1321"/>
                  </a:lnTo>
                  <a:lnTo>
                    <a:pt x="179" y="1321"/>
                  </a:lnTo>
                  <a:lnTo>
                    <a:pt x="179" y="1321"/>
                  </a:lnTo>
                  <a:close/>
                  <a:moveTo>
                    <a:pt x="7" y="1330"/>
                  </a:moveTo>
                  <a:lnTo>
                    <a:pt x="0" y="1321"/>
                  </a:lnTo>
                  <a:lnTo>
                    <a:pt x="16" y="1313"/>
                  </a:lnTo>
                  <a:lnTo>
                    <a:pt x="7" y="1330"/>
                  </a:lnTo>
                  <a:lnTo>
                    <a:pt x="7" y="1330"/>
                  </a:lnTo>
                  <a:lnTo>
                    <a:pt x="7" y="1330"/>
                  </a:lnTo>
                  <a:close/>
                </a:path>
              </a:pathLst>
            </a:custGeom>
            <a:pattFill prst="dk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2" name="Freeform 558">
              <a:extLst>
                <a:ext uri="{FF2B5EF4-FFF2-40B4-BE49-F238E27FC236}">
                  <a16:creationId xmlns:a16="http://schemas.microsoft.com/office/drawing/2014/main" id="{3763F750-8CC8-4213-8AE1-A5F5CCD1EFFB}"/>
                </a:ext>
              </a:extLst>
            </p:cNvPr>
            <p:cNvSpPr>
              <a:spLocks/>
            </p:cNvSpPr>
            <p:nvPr/>
          </p:nvSpPr>
          <p:spPr bwMode="gray">
            <a:xfrm>
              <a:off x="6428351" y="2827349"/>
              <a:ext cx="144009" cy="189560"/>
            </a:xfrm>
            <a:custGeom>
              <a:avLst/>
              <a:gdLst>
                <a:gd name="T0" fmla="*/ 90 w 291"/>
                <a:gd name="T1" fmla="*/ 317 h 383"/>
                <a:gd name="T2" fmla="*/ 102 w 291"/>
                <a:gd name="T3" fmla="*/ 300 h 383"/>
                <a:gd name="T4" fmla="*/ 107 w 291"/>
                <a:gd name="T5" fmla="*/ 295 h 383"/>
                <a:gd name="T6" fmla="*/ 31 w 291"/>
                <a:gd name="T7" fmla="*/ 239 h 383"/>
                <a:gd name="T8" fmla="*/ 48 w 291"/>
                <a:gd name="T9" fmla="*/ 222 h 383"/>
                <a:gd name="T10" fmla="*/ 48 w 291"/>
                <a:gd name="T11" fmla="*/ 201 h 383"/>
                <a:gd name="T12" fmla="*/ 22 w 291"/>
                <a:gd name="T13" fmla="*/ 168 h 383"/>
                <a:gd name="T14" fmla="*/ 14 w 291"/>
                <a:gd name="T15" fmla="*/ 118 h 383"/>
                <a:gd name="T16" fmla="*/ 48 w 291"/>
                <a:gd name="T17" fmla="*/ 90 h 383"/>
                <a:gd name="T18" fmla="*/ 14 w 291"/>
                <a:gd name="T19" fmla="*/ 62 h 383"/>
                <a:gd name="T20" fmla="*/ 5 w 291"/>
                <a:gd name="T21" fmla="*/ 57 h 383"/>
                <a:gd name="T22" fmla="*/ 0 w 291"/>
                <a:gd name="T23" fmla="*/ 24 h 383"/>
                <a:gd name="T24" fmla="*/ 31 w 291"/>
                <a:gd name="T25" fmla="*/ 17 h 383"/>
                <a:gd name="T26" fmla="*/ 102 w 291"/>
                <a:gd name="T27" fmla="*/ 7 h 383"/>
                <a:gd name="T28" fmla="*/ 140 w 291"/>
                <a:gd name="T29" fmla="*/ 40 h 383"/>
                <a:gd name="T30" fmla="*/ 194 w 291"/>
                <a:gd name="T31" fmla="*/ 95 h 383"/>
                <a:gd name="T32" fmla="*/ 194 w 291"/>
                <a:gd name="T33" fmla="*/ 118 h 383"/>
                <a:gd name="T34" fmla="*/ 182 w 291"/>
                <a:gd name="T35" fmla="*/ 128 h 383"/>
                <a:gd name="T36" fmla="*/ 199 w 291"/>
                <a:gd name="T37" fmla="*/ 135 h 383"/>
                <a:gd name="T38" fmla="*/ 232 w 291"/>
                <a:gd name="T39" fmla="*/ 151 h 383"/>
                <a:gd name="T40" fmla="*/ 253 w 291"/>
                <a:gd name="T41" fmla="*/ 135 h 383"/>
                <a:gd name="T42" fmla="*/ 253 w 291"/>
                <a:gd name="T43" fmla="*/ 151 h 383"/>
                <a:gd name="T44" fmla="*/ 253 w 291"/>
                <a:gd name="T45" fmla="*/ 201 h 383"/>
                <a:gd name="T46" fmla="*/ 265 w 291"/>
                <a:gd name="T47" fmla="*/ 246 h 383"/>
                <a:gd name="T48" fmla="*/ 279 w 291"/>
                <a:gd name="T49" fmla="*/ 295 h 383"/>
                <a:gd name="T50" fmla="*/ 253 w 291"/>
                <a:gd name="T51" fmla="*/ 317 h 383"/>
                <a:gd name="T52" fmla="*/ 248 w 291"/>
                <a:gd name="T53" fmla="*/ 338 h 383"/>
                <a:gd name="T54" fmla="*/ 199 w 291"/>
                <a:gd name="T55" fmla="*/ 350 h 383"/>
                <a:gd name="T56" fmla="*/ 177 w 291"/>
                <a:gd name="T57" fmla="*/ 354 h 383"/>
                <a:gd name="T58" fmla="*/ 140 w 291"/>
                <a:gd name="T59" fmla="*/ 366 h 383"/>
                <a:gd name="T60" fmla="*/ 123 w 291"/>
                <a:gd name="T61" fmla="*/ 383 h 383"/>
                <a:gd name="T62" fmla="*/ 102 w 291"/>
                <a:gd name="T63" fmla="*/ 338 h 383"/>
                <a:gd name="T64" fmla="*/ 85 w 291"/>
                <a:gd name="T65" fmla="*/ 32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1" h="383">
                  <a:moveTo>
                    <a:pt x="85" y="329"/>
                  </a:moveTo>
                  <a:lnTo>
                    <a:pt x="90" y="317"/>
                  </a:lnTo>
                  <a:lnTo>
                    <a:pt x="85" y="312"/>
                  </a:lnTo>
                  <a:lnTo>
                    <a:pt x="102" y="300"/>
                  </a:lnTo>
                  <a:lnTo>
                    <a:pt x="107" y="300"/>
                  </a:lnTo>
                  <a:lnTo>
                    <a:pt x="107" y="295"/>
                  </a:lnTo>
                  <a:lnTo>
                    <a:pt x="64" y="272"/>
                  </a:lnTo>
                  <a:lnTo>
                    <a:pt x="31" y="239"/>
                  </a:lnTo>
                  <a:lnTo>
                    <a:pt x="48" y="239"/>
                  </a:lnTo>
                  <a:lnTo>
                    <a:pt x="48" y="222"/>
                  </a:lnTo>
                  <a:lnTo>
                    <a:pt x="31" y="201"/>
                  </a:lnTo>
                  <a:lnTo>
                    <a:pt x="48" y="201"/>
                  </a:lnTo>
                  <a:lnTo>
                    <a:pt x="52" y="189"/>
                  </a:lnTo>
                  <a:lnTo>
                    <a:pt x="22" y="168"/>
                  </a:lnTo>
                  <a:lnTo>
                    <a:pt x="38" y="118"/>
                  </a:lnTo>
                  <a:lnTo>
                    <a:pt x="14" y="118"/>
                  </a:lnTo>
                  <a:lnTo>
                    <a:pt x="22" y="90"/>
                  </a:lnTo>
                  <a:lnTo>
                    <a:pt x="48" y="90"/>
                  </a:lnTo>
                  <a:lnTo>
                    <a:pt x="14" y="73"/>
                  </a:lnTo>
                  <a:lnTo>
                    <a:pt x="14" y="62"/>
                  </a:lnTo>
                  <a:lnTo>
                    <a:pt x="22" y="62"/>
                  </a:lnTo>
                  <a:lnTo>
                    <a:pt x="5" y="57"/>
                  </a:lnTo>
                  <a:lnTo>
                    <a:pt x="5" y="40"/>
                  </a:lnTo>
                  <a:lnTo>
                    <a:pt x="0" y="24"/>
                  </a:lnTo>
                  <a:lnTo>
                    <a:pt x="22" y="17"/>
                  </a:lnTo>
                  <a:lnTo>
                    <a:pt x="31" y="17"/>
                  </a:lnTo>
                  <a:lnTo>
                    <a:pt x="52" y="0"/>
                  </a:lnTo>
                  <a:lnTo>
                    <a:pt x="102" y="7"/>
                  </a:lnTo>
                  <a:lnTo>
                    <a:pt x="128" y="40"/>
                  </a:lnTo>
                  <a:lnTo>
                    <a:pt x="140" y="40"/>
                  </a:lnTo>
                  <a:lnTo>
                    <a:pt x="140" y="62"/>
                  </a:lnTo>
                  <a:lnTo>
                    <a:pt x="194" y="95"/>
                  </a:lnTo>
                  <a:lnTo>
                    <a:pt x="177" y="111"/>
                  </a:lnTo>
                  <a:lnTo>
                    <a:pt x="194" y="118"/>
                  </a:lnTo>
                  <a:lnTo>
                    <a:pt x="177" y="118"/>
                  </a:lnTo>
                  <a:lnTo>
                    <a:pt x="182" y="128"/>
                  </a:lnTo>
                  <a:lnTo>
                    <a:pt x="194" y="128"/>
                  </a:lnTo>
                  <a:lnTo>
                    <a:pt x="199" y="135"/>
                  </a:lnTo>
                  <a:lnTo>
                    <a:pt x="227" y="144"/>
                  </a:lnTo>
                  <a:lnTo>
                    <a:pt x="232" y="151"/>
                  </a:lnTo>
                  <a:lnTo>
                    <a:pt x="248" y="135"/>
                  </a:lnTo>
                  <a:lnTo>
                    <a:pt x="253" y="135"/>
                  </a:lnTo>
                  <a:lnTo>
                    <a:pt x="279" y="151"/>
                  </a:lnTo>
                  <a:lnTo>
                    <a:pt x="253" y="151"/>
                  </a:lnTo>
                  <a:lnTo>
                    <a:pt x="270" y="173"/>
                  </a:lnTo>
                  <a:lnTo>
                    <a:pt x="253" y="201"/>
                  </a:lnTo>
                  <a:lnTo>
                    <a:pt x="248" y="217"/>
                  </a:lnTo>
                  <a:lnTo>
                    <a:pt x="265" y="246"/>
                  </a:lnTo>
                  <a:lnTo>
                    <a:pt x="291" y="272"/>
                  </a:lnTo>
                  <a:lnTo>
                    <a:pt x="279" y="295"/>
                  </a:lnTo>
                  <a:lnTo>
                    <a:pt x="253" y="300"/>
                  </a:lnTo>
                  <a:lnTo>
                    <a:pt x="253" y="317"/>
                  </a:lnTo>
                  <a:lnTo>
                    <a:pt x="265" y="333"/>
                  </a:lnTo>
                  <a:lnTo>
                    <a:pt x="248" y="338"/>
                  </a:lnTo>
                  <a:lnTo>
                    <a:pt x="215" y="338"/>
                  </a:lnTo>
                  <a:lnTo>
                    <a:pt x="199" y="350"/>
                  </a:lnTo>
                  <a:lnTo>
                    <a:pt x="182" y="350"/>
                  </a:lnTo>
                  <a:lnTo>
                    <a:pt x="177" y="354"/>
                  </a:lnTo>
                  <a:lnTo>
                    <a:pt x="161" y="354"/>
                  </a:lnTo>
                  <a:lnTo>
                    <a:pt x="140" y="366"/>
                  </a:lnTo>
                  <a:lnTo>
                    <a:pt x="128" y="383"/>
                  </a:lnTo>
                  <a:lnTo>
                    <a:pt x="123" y="383"/>
                  </a:lnTo>
                  <a:lnTo>
                    <a:pt x="123" y="350"/>
                  </a:lnTo>
                  <a:lnTo>
                    <a:pt x="102" y="338"/>
                  </a:lnTo>
                  <a:lnTo>
                    <a:pt x="85" y="329"/>
                  </a:lnTo>
                  <a:lnTo>
                    <a:pt x="85" y="329"/>
                  </a:lnTo>
                  <a:lnTo>
                    <a:pt x="85" y="329"/>
                  </a:lnTo>
                  <a:close/>
                </a:path>
              </a:pathLst>
            </a:custGeom>
            <a:pattFill prst="wd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3" name="Freeform 559">
              <a:extLst>
                <a:ext uri="{FF2B5EF4-FFF2-40B4-BE49-F238E27FC236}">
                  <a16:creationId xmlns:a16="http://schemas.microsoft.com/office/drawing/2014/main" id="{E5683A77-5244-4042-8006-7E03598A00A7}"/>
                </a:ext>
              </a:extLst>
            </p:cNvPr>
            <p:cNvSpPr>
              <a:spLocks/>
            </p:cNvSpPr>
            <p:nvPr/>
          </p:nvSpPr>
          <p:spPr bwMode="gray">
            <a:xfrm>
              <a:off x="3657041" y="4098334"/>
              <a:ext cx="7918" cy="10393"/>
            </a:xfrm>
            <a:custGeom>
              <a:avLst/>
              <a:gdLst>
                <a:gd name="T0" fmla="*/ 4 w 16"/>
                <a:gd name="T1" fmla="*/ 21 h 21"/>
                <a:gd name="T2" fmla="*/ 0 w 16"/>
                <a:gd name="T3" fmla="*/ 16 h 21"/>
                <a:gd name="T4" fmla="*/ 4 w 16"/>
                <a:gd name="T5" fmla="*/ 0 h 21"/>
                <a:gd name="T6" fmla="*/ 16 w 16"/>
                <a:gd name="T7" fmla="*/ 9 h 21"/>
                <a:gd name="T8" fmla="*/ 4 w 16"/>
                <a:gd name="T9" fmla="*/ 21 h 21"/>
                <a:gd name="T10" fmla="*/ 4 w 16"/>
                <a:gd name="T11" fmla="*/ 21 h 21"/>
                <a:gd name="T12" fmla="*/ 4 w 16"/>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6" h="21">
                  <a:moveTo>
                    <a:pt x="4" y="21"/>
                  </a:moveTo>
                  <a:lnTo>
                    <a:pt x="0" y="16"/>
                  </a:lnTo>
                  <a:lnTo>
                    <a:pt x="4" y="0"/>
                  </a:lnTo>
                  <a:lnTo>
                    <a:pt x="16" y="9"/>
                  </a:lnTo>
                  <a:lnTo>
                    <a:pt x="4" y="21"/>
                  </a:lnTo>
                  <a:lnTo>
                    <a:pt x="4" y="21"/>
                  </a:lnTo>
                  <a:lnTo>
                    <a:pt x="4" y="21"/>
                  </a:lnTo>
                  <a:close/>
                </a:path>
              </a:pathLst>
            </a:custGeom>
            <a:solidFill>
              <a:schemeClr val="accent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6" name="Freeform 560">
              <a:extLst>
                <a:ext uri="{FF2B5EF4-FFF2-40B4-BE49-F238E27FC236}">
                  <a16:creationId xmlns:a16="http://schemas.microsoft.com/office/drawing/2014/main" id="{32A216A0-67BB-43EB-867E-40E79BD1DED4}"/>
                </a:ext>
              </a:extLst>
            </p:cNvPr>
            <p:cNvSpPr>
              <a:spLocks noEditPoints="1"/>
            </p:cNvSpPr>
            <p:nvPr/>
          </p:nvSpPr>
          <p:spPr bwMode="gray">
            <a:xfrm>
              <a:off x="6137364" y="797632"/>
              <a:ext cx="915523" cy="488993"/>
            </a:xfrm>
            <a:custGeom>
              <a:avLst/>
              <a:gdLst>
                <a:gd name="T0" fmla="*/ 749 w 1850"/>
                <a:gd name="T1" fmla="*/ 22 h 988"/>
                <a:gd name="T2" fmla="*/ 706 w 1850"/>
                <a:gd name="T3" fmla="*/ 17 h 988"/>
                <a:gd name="T4" fmla="*/ 678 w 1850"/>
                <a:gd name="T5" fmla="*/ 38 h 988"/>
                <a:gd name="T6" fmla="*/ 959 w 1850"/>
                <a:gd name="T7" fmla="*/ 43 h 988"/>
                <a:gd name="T8" fmla="*/ 834 w 1850"/>
                <a:gd name="T9" fmla="*/ 60 h 988"/>
                <a:gd name="T10" fmla="*/ 905 w 1850"/>
                <a:gd name="T11" fmla="*/ 71 h 988"/>
                <a:gd name="T12" fmla="*/ 933 w 1850"/>
                <a:gd name="T13" fmla="*/ 78 h 988"/>
                <a:gd name="T14" fmla="*/ 1013 w 1850"/>
                <a:gd name="T15" fmla="*/ 78 h 988"/>
                <a:gd name="T16" fmla="*/ 1082 w 1850"/>
                <a:gd name="T17" fmla="*/ 187 h 988"/>
                <a:gd name="T18" fmla="*/ 921 w 1850"/>
                <a:gd name="T19" fmla="*/ 260 h 988"/>
                <a:gd name="T20" fmla="*/ 690 w 1850"/>
                <a:gd name="T21" fmla="*/ 187 h 988"/>
                <a:gd name="T22" fmla="*/ 586 w 1850"/>
                <a:gd name="T23" fmla="*/ 128 h 988"/>
                <a:gd name="T24" fmla="*/ 657 w 1850"/>
                <a:gd name="T25" fmla="*/ 95 h 988"/>
                <a:gd name="T26" fmla="*/ 728 w 1850"/>
                <a:gd name="T27" fmla="*/ 78 h 988"/>
                <a:gd name="T28" fmla="*/ 825 w 1850"/>
                <a:gd name="T29" fmla="*/ 133 h 988"/>
                <a:gd name="T30" fmla="*/ 980 w 1850"/>
                <a:gd name="T31" fmla="*/ 60 h 988"/>
                <a:gd name="T32" fmla="*/ 586 w 1850"/>
                <a:gd name="T33" fmla="*/ 78 h 988"/>
                <a:gd name="T34" fmla="*/ 1481 w 1850"/>
                <a:gd name="T35" fmla="*/ 116 h 988"/>
                <a:gd name="T36" fmla="*/ 1219 w 1850"/>
                <a:gd name="T37" fmla="*/ 100 h 988"/>
                <a:gd name="T38" fmla="*/ 1843 w 1850"/>
                <a:gd name="T39" fmla="*/ 100 h 988"/>
                <a:gd name="T40" fmla="*/ 85 w 1850"/>
                <a:gd name="T41" fmla="*/ 334 h 988"/>
                <a:gd name="T42" fmla="*/ 118 w 1850"/>
                <a:gd name="T43" fmla="*/ 244 h 988"/>
                <a:gd name="T44" fmla="*/ 31 w 1850"/>
                <a:gd name="T45" fmla="*/ 227 h 988"/>
                <a:gd name="T46" fmla="*/ 85 w 1850"/>
                <a:gd name="T47" fmla="*/ 154 h 988"/>
                <a:gd name="T48" fmla="*/ 139 w 1850"/>
                <a:gd name="T49" fmla="*/ 194 h 988"/>
                <a:gd name="T50" fmla="*/ 295 w 1850"/>
                <a:gd name="T51" fmla="*/ 154 h 988"/>
                <a:gd name="T52" fmla="*/ 388 w 1850"/>
                <a:gd name="T53" fmla="*/ 239 h 988"/>
                <a:gd name="T54" fmla="*/ 458 w 1850"/>
                <a:gd name="T55" fmla="*/ 133 h 988"/>
                <a:gd name="T56" fmla="*/ 555 w 1850"/>
                <a:gd name="T57" fmla="*/ 187 h 988"/>
                <a:gd name="T58" fmla="*/ 652 w 1850"/>
                <a:gd name="T59" fmla="*/ 350 h 988"/>
                <a:gd name="T60" fmla="*/ 555 w 1850"/>
                <a:gd name="T61" fmla="*/ 442 h 988"/>
                <a:gd name="T62" fmla="*/ 480 w 1850"/>
                <a:gd name="T63" fmla="*/ 598 h 988"/>
                <a:gd name="T64" fmla="*/ 350 w 1850"/>
                <a:gd name="T65" fmla="*/ 598 h 988"/>
                <a:gd name="T66" fmla="*/ 286 w 1850"/>
                <a:gd name="T67" fmla="*/ 520 h 988"/>
                <a:gd name="T68" fmla="*/ 248 w 1850"/>
                <a:gd name="T69" fmla="*/ 487 h 988"/>
                <a:gd name="T70" fmla="*/ 265 w 1850"/>
                <a:gd name="T71" fmla="*/ 433 h 988"/>
                <a:gd name="T72" fmla="*/ 480 w 1850"/>
                <a:gd name="T73" fmla="*/ 376 h 988"/>
                <a:gd name="T74" fmla="*/ 350 w 1850"/>
                <a:gd name="T75" fmla="*/ 350 h 988"/>
                <a:gd name="T76" fmla="*/ 286 w 1850"/>
                <a:gd name="T77" fmla="*/ 355 h 988"/>
                <a:gd name="T78" fmla="*/ 227 w 1850"/>
                <a:gd name="T79" fmla="*/ 416 h 988"/>
                <a:gd name="T80" fmla="*/ 662 w 1850"/>
                <a:gd name="T81" fmla="*/ 249 h 988"/>
                <a:gd name="T82" fmla="*/ 673 w 1850"/>
                <a:gd name="T83" fmla="*/ 282 h 988"/>
                <a:gd name="T84" fmla="*/ 732 w 1850"/>
                <a:gd name="T85" fmla="*/ 282 h 988"/>
                <a:gd name="T86" fmla="*/ 1396 w 1850"/>
                <a:gd name="T87" fmla="*/ 293 h 988"/>
                <a:gd name="T88" fmla="*/ 1354 w 1850"/>
                <a:gd name="T89" fmla="*/ 305 h 988"/>
                <a:gd name="T90" fmla="*/ 47 w 1850"/>
                <a:gd name="T91" fmla="*/ 371 h 988"/>
                <a:gd name="T92" fmla="*/ 97 w 1850"/>
                <a:gd name="T93" fmla="*/ 376 h 988"/>
                <a:gd name="T94" fmla="*/ 1136 w 1850"/>
                <a:gd name="T95" fmla="*/ 315 h 988"/>
                <a:gd name="T96" fmla="*/ 813 w 1850"/>
                <a:gd name="T97" fmla="*/ 355 h 988"/>
                <a:gd name="T98" fmla="*/ 678 w 1850"/>
                <a:gd name="T99" fmla="*/ 371 h 988"/>
                <a:gd name="T100" fmla="*/ 841 w 1850"/>
                <a:gd name="T101" fmla="*/ 537 h 988"/>
                <a:gd name="T102" fmla="*/ 732 w 1850"/>
                <a:gd name="T103" fmla="*/ 433 h 988"/>
                <a:gd name="T104" fmla="*/ 1013 w 1850"/>
                <a:gd name="T105" fmla="*/ 482 h 988"/>
                <a:gd name="T106" fmla="*/ 879 w 1850"/>
                <a:gd name="T107" fmla="*/ 560 h 988"/>
                <a:gd name="T108" fmla="*/ 1068 w 1850"/>
                <a:gd name="T109" fmla="*/ 648 h 988"/>
                <a:gd name="T110" fmla="*/ 602 w 1850"/>
                <a:gd name="T111" fmla="*/ 988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50" h="988">
                  <a:moveTo>
                    <a:pt x="728" y="17"/>
                  </a:moveTo>
                  <a:lnTo>
                    <a:pt x="711" y="0"/>
                  </a:lnTo>
                  <a:lnTo>
                    <a:pt x="744" y="5"/>
                  </a:lnTo>
                  <a:lnTo>
                    <a:pt x="728" y="17"/>
                  </a:lnTo>
                  <a:lnTo>
                    <a:pt x="728" y="17"/>
                  </a:lnTo>
                  <a:lnTo>
                    <a:pt x="728" y="17"/>
                  </a:lnTo>
                  <a:close/>
                  <a:moveTo>
                    <a:pt x="749" y="22"/>
                  </a:moveTo>
                  <a:lnTo>
                    <a:pt x="744" y="17"/>
                  </a:lnTo>
                  <a:lnTo>
                    <a:pt x="765" y="17"/>
                  </a:lnTo>
                  <a:lnTo>
                    <a:pt x="749" y="22"/>
                  </a:lnTo>
                  <a:lnTo>
                    <a:pt x="749" y="22"/>
                  </a:lnTo>
                  <a:lnTo>
                    <a:pt x="749" y="22"/>
                  </a:lnTo>
                  <a:close/>
                  <a:moveTo>
                    <a:pt x="716" y="22"/>
                  </a:moveTo>
                  <a:lnTo>
                    <a:pt x="706" y="17"/>
                  </a:lnTo>
                  <a:lnTo>
                    <a:pt x="728" y="22"/>
                  </a:lnTo>
                  <a:lnTo>
                    <a:pt x="716" y="22"/>
                  </a:lnTo>
                  <a:lnTo>
                    <a:pt x="716" y="22"/>
                  </a:lnTo>
                  <a:lnTo>
                    <a:pt x="716" y="22"/>
                  </a:lnTo>
                  <a:close/>
                  <a:moveTo>
                    <a:pt x="673" y="43"/>
                  </a:moveTo>
                  <a:lnTo>
                    <a:pt x="657" y="43"/>
                  </a:lnTo>
                  <a:lnTo>
                    <a:pt x="678" y="38"/>
                  </a:lnTo>
                  <a:lnTo>
                    <a:pt x="673" y="43"/>
                  </a:lnTo>
                  <a:lnTo>
                    <a:pt x="673" y="43"/>
                  </a:lnTo>
                  <a:lnTo>
                    <a:pt x="673" y="43"/>
                  </a:lnTo>
                  <a:close/>
                  <a:moveTo>
                    <a:pt x="959" y="43"/>
                  </a:moveTo>
                  <a:lnTo>
                    <a:pt x="976" y="43"/>
                  </a:lnTo>
                  <a:lnTo>
                    <a:pt x="947" y="43"/>
                  </a:lnTo>
                  <a:lnTo>
                    <a:pt x="959" y="43"/>
                  </a:lnTo>
                  <a:lnTo>
                    <a:pt x="959" y="43"/>
                  </a:lnTo>
                  <a:lnTo>
                    <a:pt x="959" y="43"/>
                  </a:lnTo>
                  <a:close/>
                  <a:moveTo>
                    <a:pt x="834" y="128"/>
                  </a:moveTo>
                  <a:lnTo>
                    <a:pt x="841" y="83"/>
                  </a:lnTo>
                  <a:lnTo>
                    <a:pt x="851" y="78"/>
                  </a:lnTo>
                  <a:lnTo>
                    <a:pt x="834" y="71"/>
                  </a:lnTo>
                  <a:lnTo>
                    <a:pt x="834" y="60"/>
                  </a:lnTo>
                  <a:lnTo>
                    <a:pt x="858" y="55"/>
                  </a:lnTo>
                  <a:lnTo>
                    <a:pt x="858" y="71"/>
                  </a:lnTo>
                  <a:lnTo>
                    <a:pt x="867" y="71"/>
                  </a:lnTo>
                  <a:lnTo>
                    <a:pt x="872" y="43"/>
                  </a:lnTo>
                  <a:lnTo>
                    <a:pt x="905" y="55"/>
                  </a:lnTo>
                  <a:lnTo>
                    <a:pt x="888" y="60"/>
                  </a:lnTo>
                  <a:lnTo>
                    <a:pt x="905" y="71"/>
                  </a:lnTo>
                  <a:lnTo>
                    <a:pt x="888" y="83"/>
                  </a:lnTo>
                  <a:lnTo>
                    <a:pt x="879" y="100"/>
                  </a:lnTo>
                  <a:lnTo>
                    <a:pt x="888" y="112"/>
                  </a:lnTo>
                  <a:lnTo>
                    <a:pt x="910" y="95"/>
                  </a:lnTo>
                  <a:lnTo>
                    <a:pt x="926" y="100"/>
                  </a:lnTo>
                  <a:lnTo>
                    <a:pt x="933" y="95"/>
                  </a:lnTo>
                  <a:lnTo>
                    <a:pt x="933" y="78"/>
                  </a:lnTo>
                  <a:lnTo>
                    <a:pt x="980" y="78"/>
                  </a:lnTo>
                  <a:lnTo>
                    <a:pt x="964" y="71"/>
                  </a:lnTo>
                  <a:lnTo>
                    <a:pt x="997" y="78"/>
                  </a:lnTo>
                  <a:lnTo>
                    <a:pt x="980" y="83"/>
                  </a:lnTo>
                  <a:lnTo>
                    <a:pt x="985" y="83"/>
                  </a:lnTo>
                  <a:lnTo>
                    <a:pt x="1013" y="71"/>
                  </a:lnTo>
                  <a:lnTo>
                    <a:pt x="1013" y="78"/>
                  </a:lnTo>
                  <a:lnTo>
                    <a:pt x="1002" y="83"/>
                  </a:lnTo>
                  <a:lnTo>
                    <a:pt x="1039" y="78"/>
                  </a:lnTo>
                  <a:lnTo>
                    <a:pt x="1035" y="83"/>
                  </a:lnTo>
                  <a:lnTo>
                    <a:pt x="1174" y="112"/>
                  </a:lnTo>
                  <a:lnTo>
                    <a:pt x="1165" y="133"/>
                  </a:lnTo>
                  <a:lnTo>
                    <a:pt x="1181" y="138"/>
                  </a:lnTo>
                  <a:lnTo>
                    <a:pt x="1082" y="187"/>
                  </a:lnTo>
                  <a:lnTo>
                    <a:pt x="1089" y="206"/>
                  </a:lnTo>
                  <a:lnTo>
                    <a:pt x="1073" y="223"/>
                  </a:lnTo>
                  <a:lnTo>
                    <a:pt x="1035" y="239"/>
                  </a:lnTo>
                  <a:lnTo>
                    <a:pt x="1002" y="227"/>
                  </a:lnTo>
                  <a:lnTo>
                    <a:pt x="976" y="239"/>
                  </a:lnTo>
                  <a:lnTo>
                    <a:pt x="959" y="260"/>
                  </a:lnTo>
                  <a:lnTo>
                    <a:pt x="921" y="260"/>
                  </a:lnTo>
                  <a:lnTo>
                    <a:pt x="858" y="239"/>
                  </a:lnTo>
                  <a:lnTo>
                    <a:pt x="872" y="223"/>
                  </a:lnTo>
                  <a:lnTo>
                    <a:pt x="728" y="227"/>
                  </a:lnTo>
                  <a:lnTo>
                    <a:pt x="728" y="211"/>
                  </a:lnTo>
                  <a:lnTo>
                    <a:pt x="690" y="211"/>
                  </a:lnTo>
                  <a:lnTo>
                    <a:pt x="640" y="187"/>
                  </a:lnTo>
                  <a:lnTo>
                    <a:pt x="690" y="187"/>
                  </a:lnTo>
                  <a:lnTo>
                    <a:pt x="749" y="194"/>
                  </a:lnTo>
                  <a:lnTo>
                    <a:pt x="706" y="182"/>
                  </a:lnTo>
                  <a:lnTo>
                    <a:pt x="803" y="171"/>
                  </a:lnTo>
                  <a:lnTo>
                    <a:pt x="834" y="154"/>
                  </a:lnTo>
                  <a:lnTo>
                    <a:pt x="586" y="171"/>
                  </a:lnTo>
                  <a:lnTo>
                    <a:pt x="539" y="138"/>
                  </a:lnTo>
                  <a:lnTo>
                    <a:pt x="586" y="128"/>
                  </a:lnTo>
                  <a:lnTo>
                    <a:pt x="517" y="112"/>
                  </a:lnTo>
                  <a:lnTo>
                    <a:pt x="581" y="95"/>
                  </a:lnTo>
                  <a:lnTo>
                    <a:pt x="624" y="112"/>
                  </a:lnTo>
                  <a:lnTo>
                    <a:pt x="640" y="100"/>
                  </a:lnTo>
                  <a:lnTo>
                    <a:pt x="619" y="95"/>
                  </a:lnTo>
                  <a:lnTo>
                    <a:pt x="602" y="71"/>
                  </a:lnTo>
                  <a:lnTo>
                    <a:pt x="657" y="95"/>
                  </a:lnTo>
                  <a:lnTo>
                    <a:pt x="657" y="78"/>
                  </a:lnTo>
                  <a:lnTo>
                    <a:pt x="662" y="60"/>
                  </a:lnTo>
                  <a:lnTo>
                    <a:pt x="636" y="55"/>
                  </a:lnTo>
                  <a:lnTo>
                    <a:pt x="652" y="43"/>
                  </a:lnTo>
                  <a:lnTo>
                    <a:pt x="706" y="60"/>
                  </a:lnTo>
                  <a:lnTo>
                    <a:pt x="711" y="78"/>
                  </a:lnTo>
                  <a:lnTo>
                    <a:pt x="728" y="78"/>
                  </a:lnTo>
                  <a:lnTo>
                    <a:pt x="728" y="83"/>
                  </a:lnTo>
                  <a:lnTo>
                    <a:pt x="728" y="95"/>
                  </a:lnTo>
                  <a:lnTo>
                    <a:pt x="803" y="83"/>
                  </a:lnTo>
                  <a:lnTo>
                    <a:pt x="803" y="95"/>
                  </a:lnTo>
                  <a:lnTo>
                    <a:pt x="782" y="112"/>
                  </a:lnTo>
                  <a:lnTo>
                    <a:pt x="803" y="100"/>
                  </a:lnTo>
                  <a:lnTo>
                    <a:pt x="825" y="133"/>
                  </a:lnTo>
                  <a:lnTo>
                    <a:pt x="834" y="128"/>
                  </a:lnTo>
                  <a:lnTo>
                    <a:pt x="834" y="128"/>
                  </a:lnTo>
                  <a:lnTo>
                    <a:pt x="834" y="128"/>
                  </a:lnTo>
                  <a:close/>
                  <a:moveTo>
                    <a:pt x="976" y="60"/>
                  </a:moveTo>
                  <a:lnTo>
                    <a:pt x="959" y="60"/>
                  </a:lnTo>
                  <a:lnTo>
                    <a:pt x="964" y="55"/>
                  </a:lnTo>
                  <a:lnTo>
                    <a:pt x="980" y="60"/>
                  </a:lnTo>
                  <a:lnTo>
                    <a:pt x="976" y="60"/>
                  </a:lnTo>
                  <a:lnTo>
                    <a:pt x="976" y="60"/>
                  </a:lnTo>
                  <a:lnTo>
                    <a:pt x="976" y="60"/>
                  </a:lnTo>
                  <a:close/>
                  <a:moveTo>
                    <a:pt x="565" y="83"/>
                  </a:moveTo>
                  <a:lnTo>
                    <a:pt x="539" y="78"/>
                  </a:lnTo>
                  <a:lnTo>
                    <a:pt x="555" y="71"/>
                  </a:lnTo>
                  <a:lnTo>
                    <a:pt x="586" y="78"/>
                  </a:lnTo>
                  <a:lnTo>
                    <a:pt x="565" y="83"/>
                  </a:lnTo>
                  <a:lnTo>
                    <a:pt x="565" y="83"/>
                  </a:lnTo>
                  <a:lnTo>
                    <a:pt x="565" y="83"/>
                  </a:lnTo>
                  <a:close/>
                  <a:moveTo>
                    <a:pt x="1481" y="116"/>
                  </a:moveTo>
                  <a:lnTo>
                    <a:pt x="1472" y="112"/>
                  </a:lnTo>
                  <a:lnTo>
                    <a:pt x="1628" y="95"/>
                  </a:lnTo>
                  <a:lnTo>
                    <a:pt x="1481" y="116"/>
                  </a:lnTo>
                  <a:lnTo>
                    <a:pt x="1481" y="116"/>
                  </a:lnTo>
                  <a:lnTo>
                    <a:pt x="1481" y="116"/>
                  </a:lnTo>
                  <a:close/>
                  <a:moveTo>
                    <a:pt x="1219" y="100"/>
                  </a:moveTo>
                  <a:lnTo>
                    <a:pt x="1233" y="100"/>
                  </a:lnTo>
                  <a:lnTo>
                    <a:pt x="1212" y="112"/>
                  </a:lnTo>
                  <a:lnTo>
                    <a:pt x="1219" y="100"/>
                  </a:lnTo>
                  <a:lnTo>
                    <a:pt x="1219" y="100"/>
                  </a:lnTo>
                  <a:lnTo>
                    <a:pt x="1219" y="100"/>
                  </a:lnTo>
                  <a:close/>
                  <a:moveTo>
                    <a:pt x="1843" y="100"/>
                  </a:moveTo>
                  <a:lnTo>
                    <a:pt x="1838" y="100"/>
                  </a:lnTo>
                  <a:lnTo>
                    <a:pt x="1850" y="100"/>
                  </a:lnTo>
                  <a:lnTo>
                    <a:pt x="1843" y="100"/>
                  </a:lnTo>
                  <a:lnTo>
                    <a:pt x="1843" y="100"/>
                  </a:lnTo>
                  <a:lnTo>
                    <a:pt x="1843" y="100"/>
                  </a:lnTo>
                  <a:close/>
                  <a:moveTo>
                    <a:pt x="227" y="416"/>
                  </a:moveTo>
                  <a:lnTo>
                    <a:pt x="177" y="409"/>
                  </a:lnTo>
                  <a:lnTo>
                    <a:pt x="173" y="393"/>
                  </a:lnTo>
                  <a:lnTo>
                    <a:pt x="135" y="371"/>
                  </a:lnTo>
                  <a:lnTo>
                    <a:pt x="194" y="360"/>
                  </a:lnTo>
                  <a:lnTo>
                    <a:pt x="102" y="350"/>
                  </a:lnTo>
                  <a:lnTo>
                    <a:pt x="85" y="334"/>
                  </a:lnTo>
                  <a:lnTo>
                    <a:pt x="102" y="315"/>
                  </a:lnTo>
                  <a:lnTo>
                    <a:pt x="64" y="293"/>
                  </a:lnTo>
                  <a:lnTo>
                    <a:pt x="151" y="298"/>
                  </a:lnTo>
                  <a:lnTo>
                    <a:pt x="139" y="293"/>
                  </a:lnTo>
                  <a:lnTo>
                    <a:pt x="106" y="293"/>
                  </a:lnTo>
                  <a:lnTo>
                    <a:pt x="97" y="277"/>
                  </a:lnTo>
                  <a:lnTo>
                    <a:pt x="118" y="244"/>
                  </a:lnTo>
                  <a:lnTo>
                    <a:pt x="102" y="249"/>
                  </a:lnTo>
                  <a:lnTo>
                    <a:pt x="85" y="239"/>
                  </a:lnTo>
                  <a:lnTo>
                    <a:pt x="80" y="244"/>
                  </a:lnTo>
                  <a:lnTo>
                    <a:pt x="97" y="260"/>
                  </a:lnTo>
                  <a:lnTo>
                    <a:pt x="52" y="277"/>
                  </a:lnTo>
                  <a:lnTo>
                    <a:pt x="47" y="249"/>
                  </a:lnTo>
                  <a:lnTo>
                    <a:pt x="31" y="227"/>
                  </a:lnTo>
                  <a:lnTo>
                    <a:pt x="31" y="211"/>
                  </a:lnTo>
                  <a:lnTo>
                    <a:pt x="14" y="194"/>
                  </a:lnTo>
                  <a:lnTo>
                    <a:pt x="52" y="194"/>
                  </a:lnTo>
                  <a:lnTo>
                    <a:pt x="31" y="194"/>
                  </a:lnTo>
                  <a:lnTo>
                    <a:pt x="64" y="187"/>
                  </a:lnTo>
                  <a:lnTo>
                    <a:pt x="52" y="166"/>
                  </a:lnTo>
                  <a:lnTo>
                    <a:pt x="85" y="154"/>
                  </a:lnTo>
                  <a:lnTo>
                    <a:pt x="135" y="182"/>
                  </a:lnTo>
                  <a:lnTo>
                    <a:pt x="135" y="171"/>
                  </a:lnTo>
                  <a:lnTo>
                    <a:pt x="123" y="154"/>
                  </a:lnTo>
                  <a:lnTo>
                    <a:pt x="156" y="166"/>
                  </a:lnTo>
                  <a:lnTo>
                    <a:pt x="241" y="149"/>
                  </a:lnTo>
                  <a:lnTo>
                    <a:pt x="248" y="166"/>
                  </a:lnTo>
                  <a:lnTo>
                    <a:pt x="139" y="194"/>
                  </a:lnTo>
                  <a:lnTo>
                    <a:pt x="215" y="194"/>
                  </a:lnTo>
                  <a:lnTo>
                    <a:pt x="203" y="211"/>
                  </a:lnTo>
                  <a:lnTo>
                    <a:pt x="227" y="211"/>
                  </a:lnTo>
                  <a:lnTo>
                    <a:pt x="258" y="244"/>
                  </a:lnTo>
                  <a:lnTo>
                    <a:pt x="265" y="239"/>
                  </a:lnTo>
                  <a:lnTo>
                    <a:pt x="241" y="206"/>
                  </a:lnTo>
                  <a:lnTo>
                    <a:pt x="295" y="154"/>
                  </a:lnTo>
                  <a:lnTo>
                    <a:pt x="338" y="187"/>
                  </a:lnTo>
                  <a:lnTo>
                    <a:pt x="354" y="239"/>
                  </a:lnTo>
                  <a:lnTo>
                    <a:pt x="376" y="249"/>
                  </a:lnTo>
                  <a:lnTo>
                    <a:pt x="371" y="265"/>
                  </a:lnTo>
                  <a:lnTo>
                    <a:pt x="376" y="260"/>
                  </a:lnTo>
                  <a:lnTo>
                    <a:pt x="425" y="305"/>
                  </a:lnTo>
                  <a:lnTo>
                    <a:pt x="388" y="239"/>
                  </a:lnTo>
                  <a:lnTo>
                    <a:pt x="366" y="154"/>
                  </a:lnTo>
                  <a:lnTo>
                    <a:pt x="404" y="149"/>
                  </a:lnTo>
                  <a:lnTo>
                    <a:pt x="388" y="133"/>
                  </a:lnTo>
                  <a:lnTo>
                    <a:pt x="409" y="116"/>
                  </a:lnTo>
                  <a:lnTo>
                    <a:pt x="430" y="116"/>
                  </a:lnTo>
                  <a:lnTo>
                    <a:pt x="447" y="149"/>
                  </a:lnTo>
                  <a:lnTo>
                    <a:pt x="458" y="133"/>
                  </a:lnTo>
                  <a:lnTo>
                    <a:pt x="480" y="138"/>
                  </a:lnTo>
                  <a:lnTo>
                    <a:pt x="539" y="171"/>
                  </a:lnTo>
                  <a:lnTo>
                    <a:pt x="517" y="187"/>
                  </a:lnTo>
                  <a:lnTo>
                    <a:pt x="513" y="206"/>
                  </a:lnTo>
                  <a:lnTo>
                    <a:pt x="517" y="223"/>
                  </a:lnTo>
                  <a:lnTo>
                    <a:pt x="501" y="227"/>
                  </a:lnTo>
                  <a:lnTo>
                    <a:pt x="555" y="187"/>
                  </a:lnTo>
                  <a:lnTo>
                    <a:pt x="586" y="211"/>
                  </a:lnTo>
                  <a:lnTo>
                    <a:pt x="593" y="260"/>
                  </a:lnTo>
                  <a:lnTo>
                    <a:pt x="652" y="265"/>
                  </a:lnTo>
                  <a:lnTo>
                    <a:pt x="662" y="282"/>
                  </a:lnTo>
                  <a:lnTo>
                    <a:pt x="782" y="315"/>
                  </a:lnTo>
                  <a:lnTo>
                    <a:pt x="765" y="350"/>
                  </a:lnTo>
                  <a:lnTo>
                    <a:pt x="652" y="350"/>
                  </a:lnTo>
                  <a:lnTo>
                    <a:pt x="640" y="355"/>
                  </a:lnTo>
                  <a:lnTo>
                    <a:pt x="652" y="371"/>
                  </a:lnTo>
                  <a:lnTo>
                    <a:pt x="593" y="371"/>
                  </a:lnTo>
                  <a:lnTo>
                    <a:pt x="602" y="388"/>
                  </a:lnTo>
                  <a:lnTo>
                    <a:pt x="602" y="404"/>
                  </a:lnTo>
                  <a:lnTo>
                    <a:pt x="610" y="433"/>
                  </a:lnTo>
                  <a:lnTo>
                    <a:pt x="555" y="442"/>
                  </a:lnTo>
                  <a:lnTo>
                    <a:pt x="555" y="466"/>
                  </a:lnTo>
                  <a:lnTo>
                    <a:pt x="565" y="482"/>
                  </a:lnTo>
                  <a:lnTo>
                    <a:pt x="548" y="520"/>
                  </a:lnTo>
                  <a:lnTo>
                    <a:pt x="513" y="537"/>
                  </a:lnTo>
                  <a:lnTo>
                    <a:pt x="484" y="593"/>
                  </a:lnTo>
                  <a:lnTo>
                    <a:pt x="463" y="593"/>
                  </a:lnTo>
                  <a:lnTo>
                    <a:pt x="480" y="598"/>
                  </a:lnTo>
                  <a:lnTo>
                    <a:pt x="458" y="631"/>
                  </a:lnTo>
                  <a:lnTo>
                    <a:pt x="475" y="648"/>
                  </a:lnTo>
                  <a:lnTo>
                    <a:pt x="447" y="664"/>
                  </a:lnTo>
                  <a:lnTo>
                    <a:pt x="354" y="615"/>
                  </a:lnTo>
                  <a:lnTo>
                    <a:pt x="425" y="598"/>
                  </a:lnTo>
                  <a:lnTo>
                    <a:pt x="392" y="582"/>
                  </a:lnTo>
                  <a:lnTo>
                    <a:pt x="350" y="598"/>
                  </a:lnTo>
                  <a:lnTo>
                    <a:pt x="324" y="577"/>
                  </a:lnTo>
                  <a:lnTo>
                    <a:pt x="286" y="577"/>
                  </a:lnTo>
                  <a:lnTo>
                    <a:pt x="265" y="553"/>
                  </a:lnTo>
                  <a:lnTo>
                    <a:pt x="241" y="520"/>
                  </a:lnTo>
                  <a:lnTo>
                    <a:pt x="269" y="515"/>
                  </a:lnTo>
                  <a:lnTo>
                    <a:pt x="286" y="515"/>
                  </a:lnTo>
                  <a:lnTo>
                    <a:pt x="286" y="520"/>
                  </a:lnTo>
                  <a:lnTo>
                    <a:pt x="371" y="520"/>
                  </a:lnTo>
                  <a:lnTo>
                    <a:pt x="404" y="537"/>
                  </a:lnTo>
                  <a:lnTo>
                    <a:pt x="409" y="527"/>
                  </a:lnTo>
                  <a:lnTo>
                    <a:pt x="300" y="499"/>
                  </a:lnTo>
                  <a:lnTo>
                    <a:pt x="447" y="471"/>
                  </a:lnTo>
                  <a:lnTo>
                    <a:pt x="463" y="461"/>
                  </a:lnTo>
                  <a:lnTo>
                    <a:pt x="248" y="487"/>
                  </a:lnTo>
                  <a:lnTo>
                    <a:pt x="232" y="482"/>
                  </a:lnTo>
                  <a:lnTo>
                    <a:pt x="241" y="471"/>
                  </a:lnTo>
                  <a:lnTo>
                    <a:pt x="227" y="466"/>
                  </a:lnTo>
                  <a:lnTo>
                    <a:pt x="227" y="442"/>
                  </a:lnTo>
                  <a:lnTo>
                    <a:pt x="248" y="433"/>
                  </a:lnTo>
                  <a:lnTo>
                    <a:pt x="269" y="449"/>
                  </a:lnTo>
                  <a:lnTo>
                    <a:pt x="265" y="433"/>
                  </a:lnTo>
                  <a:lnTo>
                    <a:pt x="317" y="426"/>
                  </a:lnTo>
                  <a:lnTo>
                    <a:pt x="338" y="409"/>
                  </a:lnTo>
                  <a:lnTo>
                    <a:pt x="371" y="409"/>
                  </a:lnTo>
                  <a:lnTo>
                    <a:pt x="366" y="404"/>
                  </a:lnTo>
                  <a:lnTo>
                    <a:pt x="371" y="393"/>
                  </a:lnTo>
                  <a:lnTo>
                    <a:pt x="442" y="393"/>
                  </a:lnTo>
                  <a:lnTo>
                    <a:pt x="480" y="376"/>
                  </a:lnTo>
                  <a:lnTo>
                    <a:pt x="409" y="376"/>
                  </a:lnTo>
                  <a:lnTo>
                    <a:pt x="447" y="338"/>
                  </a:lnTo>
                  <a:lnTo>
                    <a:pt x="425" y="334"/>
                  </a:lnTo>
                  <a:lnTo>
                    <a:pt x="392" y="371"/>
                  </a:lnTo>
                  <a:lnTo>
                    <a:pt x="354" y="376"/>
                  </a:lnTo>
                  <a:lnTo>
                    <a:pt x="333" y="355"/>
                  </a:lnTo>
                  <a:lnTo>
                    <a:pt x="350" y="350"/>
                  </a:lnTo>
                  <a:lnTo>
                    <a:pt x="354" y="322"/>
                  </a:lnTo>
                  <a:lnTo>
                    <a:pt x="350" y="315"/>
                  </a:lnTo>
                  <a:lnTo>
                    <a:pt x="324" y="355"/>
                  </a:lnTo>
                  <a:lnTo>
                    <a:pt x="312" y="350"/>
                  </a:lnTo>
                  <a:lnTo>
                    <a:pt x="312" y="334"/>
                  </a:lnTo>
                  <a:lnTo>
                    <a:pt x="286" y="338"/>
                  </a:lnTo>
                  <a:lnTo>
                    <a:pt x="286" y="355"/>
                  </a:lnTo>
                  <a:lnTo>
                    <a:pt x="279" y="371"/>
                  </a:lnTo>
                  <a:lnTo>
                    <a:pt x="300" y="388"/>
                  </a:lnTo>
                  <a:lnTo>
                    <a:pt x="279" y="388"/>
                  </a:lnTo>
                  <a:lnTo>
                    <a:pt x="269" y="393"/>
                  </a:lnTo>
                  <a:lnTo>
                    <a:pt x="227" y="416"/>
                  </a:lnTo>
                  <a:lnTo>
                    <a:pt x="227" y="416"/>
                  </a:lnTo>
                  <a:lnTo>
                    <a:pt x="227" y="416"/>
                  </a:lnTo>
                  <a:close/>
                  <a:moveTo>
                    <a:pt x="26" y="182"/>
                  </a:moveTo>
                  <a:lnTo>
                    <a:pt x="14" y="171"/>
                  </a:lnTo>
                  <a:lnTo>
                    <a:pt x="47" y="182"/>
                  </a:lnTo>
                  <a:lnTo>
                    <a:pt x="26" y="182"/>
                  </a:lnTo>
                  <a:lnTo>
                    <a:pt x="26" y="182"/>
                  </a:lnTo>
                  <a:lnTo>
                    <a:pt x="26" y="182"/>
                  </a:lnTo>
                  <a:close/>
                  <a:moveTo>
                    <a:pt x="662" y="249"/>
                  </a:moveTo>
                  <a:lnTo>
                    <a:pt x="673" y="239"/>
                  </a:lnTo>
                  <a:lnTo>
                    <a:pt x="678" y="239"/>
                  </a:lnTo>
                  <a:lnTo>
                    <a:pt x="662" y="249"/>
                  </a:lnTo>
                  <a:lnTo>
                    <a:pt x="662" y="249"/>
                  </a:lnTo>
                  <a:lnTo>
                    <a:pt x="662" y="249"/>
                  </a:lnTo>
                  <a:close/>
                  <a:moveTo>
                    <a:pt x="695" y="293"/>
                  </a:moveTo>
                  <a:lnTo>
                    <a:pt x="673" y="282"/>
                  </a:lnTo>
                  <a:lnTo>
                    <a:pt x="690" y="265"/>
                  </a:lnTo>
                  <a:lnTo>
                    <a:pt x="728" y="277"/>
                  </a:lnTo>
                  <a:lnTo>
                    <a:pt x="695" y="293"/>
                  </a:lnTo>
                  <a:lnTo>
                    <a:pt x="695" y="293"/>
                  </a:lnTo>
                  <a:lnTo>
                    <a:pt x="695" y="293"/>
                  </a:lnTo>
                  <a:close/>
                  <a:moveTo>
                    <a:pt x="744" y="282"/>
                  </a:moveTo>
                  <a:lnTo>
                    <a:pt x="732" y="282"/>
                  </a:lnTo>
                  <a:lnTo>
                    <a:pt x="761" y="282"/>
                  </a:lnTo>
                  <a:lnTo>
                    <a:pt x="744" y="282"/>
                  </a:lnTo>
                  <a:lnTo>
                    <a:pt x="744" y="282"/>
                  </a:lnTo>
                  <a:lnTo>
                    <a:pt x="744" y="282"/>
                  </a:lnTo>
                  <a:close/>
                  <a:moveTo>
                    <a:pt x="1391" y="293"/>
                  </a:moveTo>
                  <a:lnTo>
                    <a:pt x="1375" y="293"/>
                  </a:lnTo>
                  <a:lnTo>
                    <a:pt x="1396" y="293"/>
                  </a:lnTo>
                  <a:lnTo>
                    <a:pt x="1391" y="293"/>
                  </a:lnTo>
                  <a:lnTo>
                    <a:pt x="1391" y="293"/>
                  </a:lnTo>
                  <a:lnTo>
                    <a:pt x="1391" y="293"/>
                  </a:lnTo>
                  <a:close/>
                  <a:moveTo>
                    <a:pt x="1233" y="315"/>
                  </a:moveTo>
                  <a:lnTo>
                    <a:pt x="1233" y="305"/>
                  </a:lnTo>
                  <a:lnTo>
                    <a:pt x="1257" y="298"/>
                  </a:lnTo>
                  <a:lnTo>
                    <a:pt x="1354" y="305"/>
                  </a:lnTo>
                  <a:lnTo>
                    <a:pt x="1321" y="315"/>
                  </a:lnTo>
                  <a:lnTo>
                    <a:pt x="1288" y="298"/>
                  </a:lnTo>
                  <a:lnTo>
                    <a:pt x="1233" y="315"/>
                  </a:lnTo>
                  <a:lnTo>
                    <a:pt x="1233" y="315"/>
                  </a:lnTo>
                  <a:lnTo>
                    <a:pt x="1233" y="315"/>
                  </a:lnTo>
                  <a:close/>
                  <a:moveTo>
                    <a:pt x="118" y="416"/>
                  </a:moveTo>
                  <a:lnTo>
                    <a:pt x="47" y="371"/>
                  </a:lnTo>
                  <a:lnTo>
                    <a:pt x="10" y="322"/>
                  </a:lnTo>
                  <a:lnTo>
                    <a:pt x="0" y="305"/>
                  </a:lnTo>
                  <a:lnTo>
                    <a:pt x="43" y="315"/>
                  </a:lnTo>
                  <a:lnTo>
                    <a:pt x="52" y="334"/>
                  </a:lnTo>
                  <a:lnTo>
                    <a:pt x="47" y="334"/>
                  </a:lnTo>
                  <a:lnTo>
                    <a:pt x="52" y="360"/>
                  </a:lnTo>
                  <a:lnTo>
                    <a:pt x="97" y="376"/>
                  </a:lnTo>
                  <a:lnTo>
                    <a:pt x="118" y="404"/>
                  </a:lnTo>
                  <a:lnTo>
                    <a:pt x="118" y="416"/>
                  </a:lnTo>
                  <a:lnTo>
                    <a:pt x="118" y="416"/>
                  </a:lnTo>
                  <a:lnTo>
                    <a:pt x="118" y="416"/>
                  </a:lnTo>
                  <a:close/>
                  <a:moveTo>
                    <a:pt x="1143" y="350"/>
                  </a:moveTo>
                  <a:lnTo>
                    <a:pt x="1120" y="322"/>
                  </a:lnTo>
                  <a:lnTo>
                    <a:pt x="1136" y="315"/>
                  </a:lnTo>
                  <a:lnTo>
                    <a:pt x="1165" y="338"/>
                  </a:lnTo>
                  <a:lnTo>
                    <a:pt x="1143" y="350"/>
                  </a:lnTo>
                  <a:lnTo>
                    <a:pt x="1143" y="350"/>
                  </a:lnTo>
                  <a:lnTo>
                    <a:pt x="1143" y="350"/>
                  </a:lnTo>
                  <a:close/>
                  <a:moveTo>
                    <a:pt x="678" y="371"/>
                  </a:moveTo>
                  <a:lnTo>
                    <a:pt x="761" y="350"/>
                  </a:lnTo>
                  <a:lnTo>
                    <a:pt x="813" y="355"/>
                  </a:lnTo>
                  <a:lnTo>
                    <a:pt x="825" y="371"/>
                  </a:lnTo>
                  <a:lnTo>
                    <a:pt x="825" y="404"/>
                  </a:lnTo>
                  <a:lnTo>
                    <a:pt x="716" y="416"/>
                  </a:lnTo>
                  <a:lnTo>
                    <a:pt x="728" y="404"/>
                  </a:lnTo>
                  <a:lnTo>
                    <a:pt x="706" y="393"/>
                  </a:lnTo>
                  <a:lnTo>
                    <a:pt x="716" y="388"/>
                  </a:lnTo>
                  <a:lnTo>
                    <a:pt x="678" y="371"/>
                  </a:lnTo>
                  <a:lnTo>
                    <a:pt x="678" y="371"/>
                  </a:lnTo>
                  <a:lnTo>
                    <a:pt x="678" y="371"/>
                  </a:lnTo>
                  <a:close/>
                  <a:moveTo>
                    <a:pt x="858" y="560"/>
                  </a:moveTo>
                  <a:lnTo>
                    <a:pt x="841" y="560"/>
                  </a:lnTo>
                  <a:lnTo>
                    <a:pt x="841" y="553"/>
                  </a:lnTo>
                  <a:lnTo>
                    <a:pt x="851" y="544"/>
                  </a:lnTo>
                  <a:lnTo>
                    <a:pt x="841" y="537"/>
                  </a:lnTo>
                  <a:lnTo>
                    <a:pt x="867" y="515"/>
                  </a:lnTo>
                  <a:lnTo>
                    <a:pt x="732" y="527"/>
                  </a:lnTo>
                  <a:lnTo>
                    <a:pt x="732" y="515"/>
                  </a:lnTo>
                  <a:lnTo>
                    <a:pt x="761" y="504"/>
                  </a:lnTo>
                  <a:lnTo>
                    <a:pt x="761" y="487"/>
                  </a:lnTo>
                  <a:lnTo>
                    <a:pt x="787" y="461"/>
                  </a:lnTo>
                  <a:lnTo>
                    <a:pt x="732" y="433"/>
                  </a:lnTo>
                  <a:lnTo>
                    <a:pt x="879" y="409"/>
                  </a:lnTo>
                  <a:lnTo>
                    <a:pt x="910" y="416"/>
                  </a:lnTo>
                  <a:lnTo>
                    <a:pt x="888" y="433"/>
                  </a:lnTo>
                  <a:lnTo>
                    <a:pt x="888" y="449"/>
                  </a:lnTo>
                  <a:lnTo>
                    <a:pt x="926" y="466"/>
                  </a:lnTo>
                  <a:lnTo>
                    <a:pt x="976" y="466"/>
                  </a:lnTo>
                  <a:lnTo>
                    <a:pt x="1013" y="482"/>
                  </a:lnTo>
                  <a:lnTo>
                    <a:pt x="964" y="499"/>
                  </a:lnTo>
                  <a:lnTo>
                    <a:pt x="933" y="527"/>
                  </a:lnTo>
                  <a:lnTo>
                    <a:pt x="858" y="560"/>
                  </a:lnTo>
                  <a:lnTo>
                    <a:pt x="858" y="560"/>
                  </a:lnTo>
                  <a:lnTo>
                    <a:pt x="858" y="560"/>
                  </a:lnTo>
                  <a:close/>
                  <a:moveTo>
                    <a:pt x="888" y="560"/>
                  </a:moveTo>
                  <a:lnTo>
                    <a:pt x="879" y="560"/>
                  </a:lnTo>
                  <a:lnTo>
                    <a:pt x="905" y="560"/>
                  </a:lnTo>
                  <a:lnTo>
                    <a:pt x="888" y="560"/>
                  </a:lnTo>
                  <a:lnTo>
                    <a:pt x="888" y="560"/>
                  </a:lnTo>
                  <a:lnTo>
                    <a:pt x="888" y="560"/>
                  </a:lnTo>
                  <a:close/>
                  <a:moveTo>
                    <a:pt x="1018" y="688"/>
                  </a:moveTo>
                  <a:lnTo>
                    <a:pt x="1018" y="681"/>
                  </a:lnTo>
                  <a:lnTo>
                    <a:pt x="1068" y="648"/>
                  </a:lnTo>
                  <a:lnTo>
                    <a:pt x="1018" y="688"/>
                  </a:lnTo>
                  <a:lnTo>
                    <a:pt x="1018" y="688"/>
                  </a:lnTo>
                  <a:lnTo>
                    <a:pt x="1018" y="688"/>
                  </a:lnTo>
                  <a:close/>
                  <a:moveTo>
                    <a:pt x="602" y="988"/>
                  </a:moveTo>
                  <a:lnTo>
                    <a:pt x="586" y="969"/>
                  </a:lnTo>
                  <a:lnTo>
                    <a:pt x="619" y="969"/>
                  </a:lnTo>
                  <a:lnTo>
                    <a:pt x="602" y="988"/>
                  </a:lnTo>
                  <a:lnTo>
                    <a:pt x="602" y="988"/>
                  </a:lnTo>
                  <a:lnTo>
                    <a:pt x="602" y="988"/>
                  </a:lnTo>
                  <a:close/>
                </a:path>
              </a:pathLst>
            </a:custGeom>
            <a:pattFill prst="nar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7" name="Freeform 561">
              <a:extLst>
                <a:ext uri="{FF2B5EF4-FFF2-40B4-BE49-F238E27FC236}">
                  <a16:creationId xmlns:a16="http://schemas.microsoft.com/office/drawing/2014/main" id="{C5201259-ED50-420C-95D2-D05D60993439}"/>
                </a:ext>
              </a:extLst>
            </p:cNvPr>
            <p:cNvSpPr>
              <a:spLocks noEditPoints="1"/>
            </p:cNvSpPr>
            <p:nvPr/>
          </p:nvSpPr>
          <p:spPr bwMode="gray">
            <a:xfrm>
              <a:off x="6160624" y="1636047"/>
              <a:ext cx="453802" cy="761205"/>
            </a:xfrm>
            <a:custGeom>
              <a:avLst/>
              <a:gdLst>
                <a:gd name="T0" fmla="*/ 69 w 917"/>
                <a:gd name="T1" fmla="*/ 1065 h 1538"/>
                <a:gd name="T2" fmla="*/ 69 w 917"/>
                <a:gd name="T3" fmla="*/ 860 h 1538"/>
                <a:gd name="T4" fmla="*/ 76 w 917"/>
                <a:gd name="T5" fmla="*/ 666 h 1538"/>
                <a:gd name="T6" fmla="*/ 211 w 917"/>
                <a:gd name="T7" fmla="*/ 555 h 1538"/>
                <a:gd name="T8" fmla="*/ 274 w 917"/>
                <a:gd name="T9" fmla="*/ 357 h 1538"/>
                <a:gd name="T10" fmla="*/ 378 w 917"/>
                <a:gd name="T11" fmla="*/ 177 h 1538"/>
                <a:gd name="T12" fmla="*/ 485 w 917"/>
                <a:gd name="T13" fmla="*/ 66 h 1538"/>
                <a:gd name="T14" fmla="*/ 648 w 917"/>
                <a:gd name="T15" fmla="*/ 12 h 1538"/>
                <a:gd name="T16" fmla="*/ 865 w 917"/>
                <a:gd name="T17" fmla="*/ 151 h 1538"/>
                <a:gd name="T18" fmla="*/ 903 w 917"/>
                <a:gd name="T19" fmla="*/ 279 h 1538"/>
                <a:gd name="T20" fmla="*/ 903 w 917"/>
                <a:gd name="T21" fmla="*/ 362 h 1538"/>
                <a:gd name="T22" fmla="*/ 794 w 917"/>
                <a:gd name="T23" fmla="*/ 395 h 1538"/>
                <a:gd name="T24" fmla="*/ 778 w 917"/>
                <a:gd name="T25" fmla="*/ 428 h 1538"/>
                <a:gd name="T26" fmla="*/ 740 w 917"/>
                <a:gd name="T27" fmla="*/ 465 h 1538"/>
                <a:gd name="T28" fmla="*/ 697 w 917"/>
                <a:gd name="T29" fmla="*/ 510 h 1538"/>
                <a:gd name="T30" fmla="*/ 697 w 917"/>
                <a:gd name="T31" fmla="*/ 593 h 1538"/>
                <a:gd name="T32" fmla="*/ 589 w 917"/>
                <a:gd name="T33" fmla="*/ 666 h 1538"/>
                <a:gd name="T34" fmla="*/ 546 w 917"/>
                <a:gd name="T35" fmla="*/ 695 h 1538"/>
                <a:gd name="T36" fmla="*/ 501 w 917"/>
                <a:gd name="T37" fmla="*/ 749 h 1538"/>
                <a:gd name="T38" fmla="*/ 480 w 917"/>
                <a:gd name="T39" fmla="*/ 761 h 1538"/>
                <a:gd name="T40" fmla="*/ 463 w 917"/>
                <a:gd name="T41" fmla="*/ 806 h 1538"/>
                <a:gd name="T42" fmla="*/ 447 w 917"/>
                <a:gd name="T43" fmla="*/ 877 h 1538"/>
                <a:gd name="T44" fmla="*/ 433 w 917"/>
                <a:gd name="T45" fmla="*/ 910 h 1538"/>
                <a:gd name="T46" fmla="*/ 480 w 917"/>
                <a:gd name="T47" fmla="*/ 988 h 1538"/>
                <a:gd name="T48" fmla="*/ 539 w 917"/>
                <a:gd name="T49" fmla="*/ 1044 h 1538"/>
                <a:gd name="T50" fmla="*/ 555 w 917"/>
                <a:gd name="T51" fmla="*/ 1082 h 1538"/>
                <a:gd name="T52" fmla="*/ 470 w 917"/>
                <a:gd name="T53" fmla="*/ 1110 h 1538"/>
                <a:gd name="T54" fmla="*/ 454 w 917"/>
                <a:gd name="T55" fmla="*/ 1099 h 1538"/>
                <a:gd name="T56" fmla="*/ 454 w 917"/>
                <a:gd name="T57" fmla="*/ 1110 h 1538"/>
                <a:gd name="T58" fmla="*/ 395 w 917"/>
                <a:gd name="T59" fmla="*/ 1110 h 1538"/>
                <a:gd name="T60" fmla="*/ 437 w 917"/>
                <a:gd name="T61" fmla="*/ 1132 h 1538"/>
                <a:gd name="T62" fmla="*/ 534 w 917"/>
                <a:gd name="T63" fmla="*/ 1122 h 1538"/>
                <a:gd name="T64" fmla="*/ 454 w 917"/>
                <a:gd name="T65" fmla="*/ 1172 h 1538"/>
                <a:gd name="T66" fmla="*/ 383 w 917"/>
                <a:gd name="T67" fmla="*/ 1205 h 1538"/>
                <a:gd name="T68" fmla="*/ 383 w 917"/>
                <a:gd name="T69" fmla="*/ 1266 h 1538"/>
                <a:gd name="T70" fmla="*/ 383 w 917"/>
                <a:gd name="T71" fmla="*/ 1304 h 1538"/>
                <a:gd name="T72" fmla="*/ 371 w 917"/>
                <a:gd name="T73" fmla="*/ 1403 h 1538"/>
                <a:gd name="T74" fmla="*/ 215 w 917"/>
                <a:gd name="T75" fmla="*/ 1486 h 1538"/>
                <a:gd name="T76" fmla="*/ 130 w 917"/>
                <a:gd name="T77" fmla="*/ 1538 h 1538"/>
                <a:gd name="T78" fmla="*/ 123 w 917"/>
                <a:gd name="T79" fmla="*/ 1427 h 1538"/>
                <a:gd name="T80" fmla="*/ 69 w 917"/>
                <a:gd name="T81" fmla="*/ 1321 h 1538"/>
                <a:gd name="T82" fmla="*/ 55 w 917"/>
                <a:gd name="T83" fmla="*/ 1299 h 1538"/>
                <a:gd name="T84" fmla="*/ 5 w 917"/>
                <a:gd name="T85" fmla="*/ 1226 h 1538"/>
                <a:gd name="T86" fmla="*/ 31 w 917"/>
                <a:gd name="T87" fmla="*/ 1172 h 1538"/>
                <a:gd name="T88" fmla="*/ 485 w 917"/>
                <a:gd name="T89" fmla="*/ 761 h 1538"/>
                <a:gd name="T90" fmla="*/ 447 w 917"/>
                <a:gd name="T91" fmla="*/ 789 h 1538"/>
                <a:gd name="T92" fmla="*/ 508 w 917"/>
                <a:gd name="T93" fmla="*/ 999 h 1538"/>
                <a:gd name="T94" fmla="*/ 534 w 917"/>
                <a:gd name="T95" fmla="*/ 1099 h 1538"/>
                <a:gd name="T96" fmla="*/ 433 w 917"/>
                <a:gd name="T97" fmla="*/ 1115 h 1538"/>
                <a:gd name="T98" fmla="*/ 447 w 917"/>
                <a:gd name="T99" fmla="*/ 1115 h 1538"/>
                <a:gd name="T100" fmla="*/ 522 w 917"/>
                <a:gd name="T101" fmla="*/ 1132 h 1538"/>
                <a:gd name="T102" fmla="*/ 577 w 917"/>
                <a:gd name="T103" fmla="*/ 1226 h 1538"/>
                <a:gd name="T104" fmla="*/ 38 w 917"/>
                <a:gd name="T105" fmla="*/ 1238 h 1538"/>
                <a:gd name="T106" fmla="*/ 48 w 917"/>
                <a:gd name="T107" fmla="*/ 1259 h 1538"/>
                <a:gd name="T108" fmla="*/ 560 w 917"/>
                <a:gd name="T109" fmla="*/ 1283 h 1538"/>
                <a:gd name="T110" fmla="*/ 560 w 917"/>
                <a:gd name="T111" fmla="*/ 1283 h 1538"/>
                <a:gd name="T112" fmla="*/ 508 w 917"/>
                <a:gd name="T113" fmla="*/ 1354 h 1538"/>
                <a:gd name="T114" fmla="*/ 555 w 917"/>
                <a:gd name="T115" fmla="*/ 1276 h 1538"/>
                <a:gd name="T116" fmla="*/ 426 w 917"/>
                <a:gd name="T117" fmla="*/ 1337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7" h="1538">
                  <a:moveTo>
                    <a:pt x="31" y="1172"/>
                  </a:moveTo>
                  <a:lnTo>
                    <a:pt x="48" y="1132"/>
                  </a:lnTo>
                  <a:lnTo>
                    <a:pt x="38" y="1099"/>
                  </a:lnTo>
                  <a:lnTo>
                    <a:pt x="55" y="1082"/>
                  </a:lnTo>
                  <a:lnTo>
                    <a:pt x="48" y="1065"/>
                  </a:lnTo>
                  <a:lnTo>
                    <a:pt x="69" y="1065"/>
                  </a:lnTo>
                  <a:lnTo>
                    <a:pt x="92" y="1044"/>
                  </a:lnTo>
                  <a:lnTo>
                    <a:pt x="107" y="1004"/>
                  </a:lnTo>
                  <a:lnTo>
                    <a:pt x="76" y="943"/>
                  </a:lnTo>
                  <a:lnTo>
                    <a:pt x="107" y="943"/>
                  </a:lnTo>
                  <a:lnTo>
                    <a:pt x="123" y="910"/>
                  </a:lnTo>
                  <a:lnTo>
                    <a:pt x="69" y="860"/>
                  </a:lnTo>
                  <a:lnTo>
                    <a:pt x="85" y="806"/>
                  </a:lnTo>
                  <a:lnTo>
                    <a:pt x="69" y="765"/>
                  </a:lnTo>
                  <a:lnTo>
                    <a:pt x="59" y="732"/>
                  </a:lnTo>
                  <a:lnTo>
                    <a:pt x="76" y="721"/>
                  </a:lnTo>
                  <a:lnTo>
                    <a:pt x="59" y="695"/>
                  </a:lnTo>
                  <a:lnTo>
                    <a:pt x="76" y="666"/>
                  </a:lnTo>
                  <a:lnTo>
                    <a:pt x="69" y="654"/>
                  </a:lnTo>
                  <a:lnTo>
                    <a:pt x="107" y="617"/>
                  </a:lnTo>
                  <a:lnTo>
                    <a:pt x="130" y="600"/>
                  </a:lnTo>
                  <a:lnTo>
                    <a:pt x="199" y="612"/>
                  </a:lnTo>
                  <a:lnTo>
                    <a:pt x="215" y="584"/>
                  </a:lnTo>
                  <a:lnTo>
                    <a:pt x="211" y="555"/>
                  </a:lnTo>
                  <a:lnTo>
                    <a:pt x="178" y="543"/>
                  </a:lnTo>
                  <a:lnTo>
                    <a:pt x="237" y="456"/>
                  </a:lnTo>
                  <a:lnTo>
                    <a:pt x="237" y="428"/>
                  </a:lnTo>
                  <a:lnTo>
                    <a:pt x="248" y="395"/>
                  </a:lnTo>
                  <a:lnTo>
                    <a:pt x="237" y="362"/>
                  </a:lnTo>
                  <a:lnTo>
                    <a:pt x="274" y="357"/>
                  </a:lnTo>
                  <a:lnTo>
                    <a:pt x="307" y="338"/>
                  </a:lnTo>
                  <a:lnTo>
                    <a:pt x="303" y="317"/>
                  </a:lnTo>
                  <a:lnTo>
                    <a:pt x="371" y="251"/>
                  </a:lnTo>
                  <a:lnTo>
                    <a:pt x="371" y="229"/>
                  </a:lnTo>
                  <a:lnTo>
                    <a:pt x="345" y="206"/>
                  </a:lnTo>
                  <a:lnTo>
                    <a:pt x="378" y="177"/>
                  </a:lnTo>
                  <a:lnTo>
                    <a:pt x="395" y="140"/>
                  </a:lnTo>
                  <a:lnTo>
                    <a:pt x="433" y="118"/>
                  </a:lnTo>
                  <a:lnTo>
                    <a:pt x="480" y="140"/>
                  </a:lnTo>
                  <a:lnTo>
                    <a:pt x="492" y="111"/>
                  </a:lnTo>
                  <a:lnTo>
                    <a:pt x="485" y="78"/>
                  </a:lnTo>
                  <a:lnTo>
                    <a:pt x="485" y="66"/>
                  </a:lnTo>
                  <a:lnTo>
                    <a:pt x="546" y="66"/>
                  </a:lnTo>
                  <a:lnTo>
                    <a:pt x="615" y="95"/>
                  </a:lnTo>
                  <a:lnTo>
                    <a:pt x="643" y="66"/>
                  </a:lnTo>
                  <a:lnTo>
                    <a:pt x="615" y="62"/>
                  </a:lnTo>
                  <a:lnTo>
                    <a:pt x="648" y="28"/>
                  </a:lnTo>
                  <a:lnTo>
                    <a:pt x="648" y="12"/>
                  </a:lnTo>
                  <a:lnTo>
                    <a:pt x="631" y="0"/>
                  </a:lnTo>
                  <a:lnTo>
                    <a:pt x="664" y="0"/>
                  </a:lnTo>
                  <a:lnTo>
                    <a:pt x="766" y="66"/>
                  </a:lnTo>
                  <a:lnTo>
                    <a:pt x="827" y="83"/>
                  </a:lnTo>
                  <a:lnTo>
                    <a:pt x="879" y="140"/>
                  </a:lnTo>
                  <a:lnTo>
                    <a:pt x="865" y="151"/>
                  </a:lnTo>
                  <a:lnTo>
                    <a:pt x="865" y="194"/>
                  </a:lnTo>
                  <a:lnTo>
                    <a:pt x="886" y="206"/>
                  </a:lnTo>
                  <a:lnTo>
                    <a:pt x="886" y="222"/>
                  </a:lnTo>
                  <a:lnTo>
                    <a:pt x="879" y="222"/>
                  </a:lnTo>
                  <a:lnTo>
                    <a:pt x="874" y="234"/>
                  </a:lnTo>
                  <a:lnTo>
                    <a:pt x="903" y="279"/>
                  </a:lnTo>
                  <a:lnTo>
                    <a:pt x="896" y="284"/>
                  </a:lnTo>
                  <a:lnTo>
                    <a:pt x="896" y="305"/>
                  </a:lnTo>
                  <a:lnTo>
                    <a:pt x="879" y="321"/>
                  </a:lnTo>
                  <a:lnTo>
                    <a:pt x="879" y="338"/>
                  </a:lnTo>
                  <a:lnTo>
                    <a:pt x="886" y="357"/>
                  </a:lnTo>
                  <a:lnTo>
                    <a:pt x="903" y="362"/>
                  </a:lnTo>
                  <a:lnTo>
                    <a:pt x="917" y="395"/>
                  </a:lnTo>
                  <a:lnTo>
                    <a:pt x="848" y="399"/>
                  </a:lnTo>
                  <a:lnTo>
                    <a:pt x="841" y="411"/>
                  </a:lnTo>
                  <a:lnTo>
                    <a:pt x="811" y="390"/>
                  </a:lnTo>
                  <a:lnTo>
                    <a:pt x="811" y="399"/>
                  </a:lnTo>
                  <a:lnTo>
                    <a:pt x="794" y="395"/>
                  </a:lnTo>
                  <a:lnTo>
                    <a:pt x="789" y="395"/>
                  </a:lnTo>
                  <a:lnTo>
                    <a:pt x="778" y="416"/>
                  </a:lnTo>
                  <a:lnTo>
                    <a:pt x="794" y="416"/>
                  </a:lnTo>
                  <a:lnTo>
                    <a:pt x="794" y="428"/>
                  </a:lnTo>
                  <a:lnTo>
                    <a:pt x="752" y="411"/>
                  </a:lnTo>
                  <a:lnTo>
                    <a:pt x="778" y="428"/>
                  </a:lnTo>
                  <a:lnTo>
                    <a:pt x="756" y="432"/>
                  </a:lnTo>
                  <a:lnTo>
                    <a:pt x="766" y="444"/>
                  </a:lnTo>
                  <a:lnTo>
                    <a:pt x="756" y="449"/>
                  </a:lnTo>
                  <a:lnTo>
                    <a:pt x="723" y="449"/>
                  </a:lnTo>
                  <a:lnTo>
                    <a:pt x="740" y="456"/>
                  </a:lnTo>
                  <a:lnTo>
                    <a:pt x="740" y="465"/>
                  </a:lnTo>
                  <a:lnTo>
                    <a:pt x="711" y="449"/>
                  </a:lnTo>
                  <a:lnTo>
                    <a:pt x="740" y="473"/>
                  </a:lnTo>
                  <a:lnTo>
                    <a:pt x="735" y="489"/>
                  </a:lnTo>
                  <a:lnTo>
                    <a:pt x="711" y="501"/>
                  </a:lnTo>
                  <a:lnTo>
                    <a:pt x="711" y="510"/>
                  </a:lnTo>
                  <a:lnTo>
                    <a:pt x="697" y="510"/>
                  </a:lnTo>
                  <a:lnTo>
                    <a:pt x="718" y="522"/>
                  </a:lnTo>
                  <a:lnTo>
                    <a:pt x="718" y="527"/>
                  </a:lnTo>
                  <a:lnTo>
                    <a:pt x="702" y="527"/>
                  </a:lnTo>
                  <a:lnTo>
                    <a:pt x="735" y="543"/>
                  </a:lnTo>
                  <a:lnTo>
                    <a:pt x="735" y="560"/>
                  </a:lnTo>
                  <a:lnTo>
                    <a:pt x="697" y="593"/>
                  </a:lnTo>
                  <a:lnTo>
                    <a:pt x="681" y="621"/>
                  </a:lnTo>
                  <a:lnTo>
                    <a:pt x="659" y="633"/>
                  </a:lnTo>
                  <a:lnTo>
                    <a:pt x="648" y="650"/>
                  </a:lnTo>
                  <a:lnTo>
                    <a:pt x="615" y="654"/>
                  </a:lnTo>
                  <a:lnTo>
                    <a:pt x="605" y="671"/>
                  </a:lnTo>
                  <a:lnTo>
                    <a:pt x="589" y="666"/>
                  </a:lnTo>
                  <a:lnTo>
                    <a:pt x="589" y="671"/>
                  </a:lnTo>
                  <a:lnTo>
                    <a:pt x="572" y="671"/>
                  </a:lnTo>
                  <a:lnTo>
                    <a:pt x="572" y="688"/>
                  </a:lnTo>
                  <a:lnTo>
                    <a:pt x="555" y="695"/>
                  </a:lnTo>
                  <a:lnTo>
                    <a:pt x="555" y="704"/>
                  </a:lnTo>
                  <a:lnTo>
                    <a:pt x="546" y="695"/>
                  </a:lnTo>
                  <a:lnTo>
                    <a:pt x="539" y="695"/>
                  </a:lnTo>
                  <a:lnTo>
                    <a:pt x="546" y="704"/>
                  </a:lnTo>
                  <a:lnTo>
                    <a:pt x="534" y="704"/>
                  </a:lnTo>
                  <a:lnTo>
                    <a:pt x="501" y="721"/>
                  </a:lnTo>
                  <a:lnTo>
                    <a:pt x="522" y="728"/>
                  </a:lnTo>
                  <a:lnTo>
                    <a:pt x="501" y="749"/>
                  </a:lnTo>
                  <a:lnTo>
                    <a:pt x="480" y="744"/>
                  </a:lnTo>
                  <a:lnTo>
                    <a:pt x="470" y="728"/>
                  </a:lnTo>
                  <a:lnTo>
                    <a:pt x="463" y="728"/>
                  </a:lnTo>
                  <a:lnTo>
                    <a:pt x="485" y="749"/>
                  </a:lnTo>
                  <a:lnTo>
                    <a:pt x="485" y="761"/>
                  </a:lnTo>
                  <a:lnTo>
                    <a:pt x="480" y="761"/>
                  </a:lnTo>
                  <a:lnTo>
                    <a:pt x="485" y="765"/>
                  </a:lnTo>
                  <a:lnTo>
                    <a:pt x="463" y="782"/>
                  </a:lnTo>
                  <a:lnTo>
                    <a:pt x="437" y="777"/>
                  </a:lnTo>
                  <a:lnTo>
                    <a:pt x="437" y="782"/>
                  </a:lnTo>
                  <a:lnTo>
                    <a:pt x="437" y="799"/>
                  </a:lnTo>
                  <a:lnTo>
                    <a:pt x="463" y="806"/>
                  </a:lnTo>
                  <a:lnTo>
                    <a:pt x="447" y="806"/>
                  </a:lnTo>
                  <a:lnTo>
                    <a:pt x="447" y="839"/>
                  </a:lnTo>
                  <a:lnTo>
                    <a:pt x="437" y="839"/>
                  </a:lnTo>
                  <a:lnTo>
                    <a:pt x="437" y="855"/>
                  </a:lnTo>
                  <a:lnTo>
                    <a:pt x="447" y="872"/>
                  </a:lnTo>
                  <a:lnTo>
                    <a:pt x="447" y="877"/>
                  </a:lnTo>
                  <a:lnTo>
                    <a:pt x="426" y="872"/>
                  </a:lnTo>
                  <a:lnTo>
                    <a:pt x="433" y="872"/>
                  </a:lnTo>
                  <a:lnTo>
                    <a:pt x="416" y="877"/>
                  </a:lnTo>
                  <a:lnTo>
                    <a:pt x="433" y="893"/>
                  </a:lnTo>
                  <a:lnTo>
                    <a:pt x="416" y="900"/>
                  </a:lnTo>
                  <a:lnTo>
                    <a:pt x="433" y="910"/>
                  </a:lnTo>
                  <a:lnTo>
                    <a:pt x="426" y="950"/>
                  </a:lnTo>
                  <a:lnTo>
                    <a:pt x="433" y="966"/>
                  </a:lnTo>
                  <a:lnTo>
                    <a:pt x="433" y="983"/>
                  </a:lnTo>
                  <a:lnTo>
                    <a:pt x="454" y="988"/>
                  </a:lnTo>
                  <a:lnTo>
                    <a:pt x="463" y="999"/>
                  </a:lnTo>
                  <a:lnTo>
                    <a:pt x="480" y="988"/>
                  </a:lnTo>
                  <a:lnTo>
                    <a:pt x="501" y="1021"/>
                  </a:lnTo>
                  <a:lnTo>
                    <a:pt x="518" y="1021"/>
                  </a:lnTo>
                  <a:lnTo>
                    <a:pt x="522" y="1028"/>
                  </a:lnTo>
                  <a:lnTo>
                    <a:pt x="508" y="1021"/>
                  </a:lnTo>
                  <a:lnTo>
                    <a:pt x="508" y="1037"/>
                  </a:lnTo>
                  <a:lnTo>
                    <a:pt x="539" y="1044"/>
                  </a:lnTo>
                  <a:lnTo>
                    <a:pt x="546" y="1061"/>
                  </a:lnTo>
                  <a:lnTo>
                    <a:pt x="555" y="1065"/>
                  </a:lnTo>
                  <a:lnTo>
                    <a:pt x="555" y="1077"/>
                  </a:lnTo>
                  <a:lnTo>
                    <a:pt x="546" y="1065"/>
                  </a:lnTo>
                  <a:lnTo>
                    <a:pt x="539" y="1077"/>
                  </a:lnTo>
                  <a:lnTo>
                    <a:pt x="555" y="1082"/>
                  </a:lnTo>
                  <a:lnTo>
                    <a:pt x="501" y="1110"/>
                  </a:lnTo>
                  <a:lnTo>
                    <a:pt x="508" y="1115"/>
                  </a:lnTo>
                  <a:lnTo>
                    <a:pt x="492" y="1115"/>
                  </a:lnTo>
                  <a:lnTo>
                    <a:pt x="485" y="1122"/>
                  </a:lnTo>
                  <a:lnTo>
                    <a:pt x="470" y="1115"/>
                  </a:lnTo>
                  <a:lnTo>
                    <a:pt x="470" y="1110"/>
                  </a:lnTo>
                  <a:lnTo>
                    <a:pt x="463" y="1094"/>
                  </a:lnTo>
                  <a:lnTo>
                    <a:pt x="454" y="1094"/>
                  </a:lnTo>
                  <a:lnTo>
                    <a:pt x="463" y="1082"/>
                  </a:lnTo>
                  <a:lnTo>
                    <a:pt x="454" y="1077"/>
                  </a:lnTo>
                  <a:lnTo>
                    <a:pt x="447" y="1094"/>
                  </a:lnTo>
                  <a:lnTo>
                    <a:pt x="454" y="1099"/>
                  </a:lnTo>
                  <a:lnTo>
                    <a:pt x="447" y="1082"/>
                  </a:lnTo>
                  <a:lnTo>
                    <a:pt x="454" y="1082"/>
                  </a:lnTo>
                  <a:lnTo>
                    <a:pt x="454" y="1094"/>
                  </a:lnTo>
                  <a:lnTo>
                    <a:pt x="470" y="1099"/>
                  </a:lnTo>
                  <a:lnTo>
                    <a:pt x="463" y="1115"/>
                  </a:lnTo>
                  <a:lnTo>
                    <a:pt x="454" y="1110"/>
                  </a:lnTo>
                  <a:lnTo>
                    <a:pt x="437" y="1094"/>
                  </a:lnTo>
                  <a:lnTo>
                    <a:pt x="437" y="1110"/>
                  </a:lnTo>
                  <a:lnTo>
                    <a:pt x="378" y="1099"/>
                  </a:lnTo>
                  <a:lnTo>
                    <a:pt x="378" y="1110"/>
                  </a:lnTo>
                  <a:lnTo>
                    <a:pt x="345" y="1110"/>
                  </a:lnTo>
                  <a:lnTo>
                    <a:pt x="395" y="1110"/>
                  </a:lnTo>
                  <a:lnTo>
                    <a:pt x="409" y="1122"/>
                  </a:lnTo>
                  <a:lnTo>
                    <a:pt x="395" y="1110"/>
                  </a:lnTo>
                  <a:lnTo>
                    <a:pt x="400" y="1110"/>
                  </a:lnTo>
                  <a:lnTo>
                    <a:pt x="433" y="1122"/>
                  </a:lnTo>
                  <a:lnTo>
                    <a:pt x="433" y="1132"/>
                  </a:lnTo>
                  <a:lnTo>
                    <a:pt x="437" y="1132"/>
                  </a:lnTo>
                  <a:lnTo>
                    <a:pt x="437" y="1122"/>
                  </a:lnTo>
                  <a:lnTo>
                    <a:pt x="470" y="1132"/>
                  </a:lnTo>
                  <a:lnTo>
                    <a:pt x="501" y="1122"/>
                  </a:lnTo>
                  <a:lnTo>
                    <a:pt x="518" y="1122"/>
                  </a:lnTo>
                  <a:lnTo>
                    <a:pt x="518" y="1115"/>
                  </a:lnTo>
                  <a:lnTo>
                    <a:pt x="534" y="1122"/>
                  </a:lnTo>
                  <a:lnTo>
                    <a:pt x="501" y="1132"/>
                  </a:lnTo>
                  <a:lnTo>
                    <a:pt x="501" y="1148"/>
                  </a:lnTo>
                  <a:lnTo>
                    <a:pt x="485" y="1155"/>
                  </a:lnTo>
                  <a:lnTo>
                    <a:pt x="480" y="1181"/>
                  </a:lnTo>
                  <a:lnTo>
                    <a:pt x="463" y="1139"/>
                  </a:lnTo>
                  <a:lnTo>
                    <a:pt x="454" y="1172"/>
                  </a:lnTo>
                  <a:lnTo>
                    <a:pt x="437" y="1188"/>
                  </a:lnTo>
                  <a:lnTo>
                    <a:pt x="416" y="1188"/>
                  </a:lnTo>
                  <a:lnTo>
                    <a:pt x="426" y="1193"/>
                  </a:lnTo>
                  <a:lnTo>
                    <a:pt x="409" y="1205"/>
                  </a:lnTo>
                  <a:lnTo>
                    <a:pt x="357" y="1205"/>
                  </a:lnTo>
                  <a:lnTo>
                    <a:pt x="383" y="1205"/>
                  </a:lnTo>
                  <a:lnTo>
                    <a:pt x="409" y="1221"/>
                  </a:lnTo>
                  <a:lnTo>
                    <a:pt x="371" y="1221"/>
                  </a:lnTo>
                  <a:lnTo>
                    <a:pt x="395" y="1226"/>
                  </a:lnTo>
                  <a:lnTo>
                    <a:pt x="400" y="1243"/>
                  </a:lnTo>
                  <a:lnTo>
                    <a:pt x="395" y="1266"/>
                  </a:lnTo>
                  <a:lnTo>
                    <a:pt x="383" y="1266"/>
                  </a:lnTo>
                  <a:lnTo>
                    <a:pt x="395" y="1283"/>
                  </a:lnTo>
                  <a:lnTo>
                    <a:pt x="378" y="1266"/>
                  </a:lnTo>
                  <a:lnTo>
                    <a:pt x="395" y="1292"/>
                  </a:lnTo>
                  <a:lnTo>
                    <a:pt x="371" y="1276"/>
                  </a:lnTo>
                  <a:lnTo>
                    <a:pt x="395" y="1299"/>
                  </a:lnTo>
                  <a:lnTo>
                    <a:pt x="383" y="1304"/>
                  </a:lnTo>
                  <a:lnTo>
                    <a:pt x="395" y="1321"/>
                  </a:lnTo>
                  <a:lnTo>
                    <a:pt x="378" y="1337"/>
                  </a:lnTo>
                  <a:lnTo>
                    <a:pt x="378" y="1354"/>
                  </a:lnTo>
                  <a:lnTo>
                    <a:pt x="383" y="1358"/>
                  </a:lnTo>
                  <a:lnTo>
                    <a:pt x="378" y="1370"/>
                  </a:lnTo>
                  <a:lnTo>
                    <a:pt x="371" y="1403"/>
                  </a:lnTo>
                  <a:lnTo>
                    <a:pt x="329" y="1465"/>
                  </a:lnTo>
                  <a:lnTo>
                    <a:pt x="319" y="1460"/>
                  </a:lnTo>
                  <a:lnTo>
                    <a:pt x="253" y="1460"/>
                  </a:lnTo>
                  <a:lnTo>
                    <a:pt x="253" y="1469"/>
                  </a:lnTo>
                  <a:lnTo>
                    <a:pt x="237" y="1465"/>
                  </a:lnTo>
                  <a:lnTo>
                    <a:pt x="215" y="1486"/>
                  </a:lnTo>
                  <a:lnTo>
                    <a:pt x="215" y="1505"/>
                  </a:lnTo>
                  <a:lnTo>
                    <a:pt x="232" y="1521"/>
                  </a:lnTo>
                  <a:lnTo>
                    <a:pt x="215" y="1538"/>
                  </a:lnTo>
                  <a:lnTo>
                    <a:pt x="182" y="1526"/>
                  </a:lnTo>
                  <a:lnTo>
                    <a:pt x="156" y="1538"/>
                  </a:lnTo>
                  <a:lnTo>
                    <a:pt x="130" y="1538"/>
                  </a:lnTo>
                  <a:lnTo>
                    <a:pt x="123" y="1521"/>
                  </a:lnTo>
                  <a:lnTo>
                    <a:pt x="140" y="1505"/>
                  </a:lnTo>
                  <a:lnTo>
                    <a:pt x="92" y="1443"/>
                  </a:lnTo>
                  <a:lnTo>
                    <a:pt x="123" y="1448"/>
                  </a:lnTo>
                  <a:lnTo>
                    <a:pt x="107" y="1432"/>
                  </a:lnTo>
                  <a:lnTo>
                    <a:pt x="123" y="1427"/>
                  </a:lnTo>
                  <a:lnTo>
                    <a:pt x="123" y="1410"/>
                  </a:lnTo>
                  <a:lnTo>
                    <a:pt x="114" y="1410"/>
                  </a:lnTo>
                  <a:lnTo>
                    <a:pt x="102" y="1387"/>
                  </a:lnTo>
                  <a:lnTo>
                    <a:pt x="85" y="1377"/>
                  </a:lnTo>
                  <a:lnTo>
                    <a:pt x="69" y="1349"/>
                  </a:lnTo>
                  <a:lnTo>
                    <a:pt x="69" y="1321"/>
                  </a:lnTo>
                  <a:lnTo>
                    <a:pt x="59" y="1321"/>
                  </a:lnTo>
                  <a:lnTo>
                    <a:pt x="59" y="1337"/>
                  </a:lnTo>
                  <a:lnTo>
                    <a:pt x="55" y="1332"/>
                  </a:lnTo>
                  <a:lnTo>
                    <a:pt x="55" y="1304"/>
                  </a:lnTo>
                  <a:lnTo>
                    <a:pt x="55" y="1299"/>
                  </a:lnTo>
                  <a:lnTo>
                    <a:pt x="55" y="1299"/>
                  </a:lnTo>
                  <a:lnTo>
                    <a:pt x="38" y="1299"/>
                  </a:lnTo>
                  <a:lnTo>
                    <a:pt x="38" y="1283"/>
                  </a:lnTo>
                  <a:lnTo>
                    <a:pt x="55" y="1243"/>
                  </a:lnTo>
                  <a:lnTo>
                    <a:pt x="48" y="1238"/>
                  </a:lnTo>
                  <a:lnTo>
                    <a:pt x="31" y="1243"/>
                  </a:lnTo>
                  <a:lnTo>
                    <a:pt x="5" y="1226"/>
                  </a:lnTo>
                  <a:lnTo>
                    <a:pt x="5" y="1181"/>
                  </a:lnTo>
                  <a:lnTo>
                    <a:pt x="0" y="1165"/>
                  </a:lnTo>
                  <a:lnTo>
                    <a:pt x="15" y="1148"/>
                  </a:lnTo>
                  <a:lnTo>
                    <a:pt x="22" y="1165"/>
                  </a:lnTo>
                  <a:lnTo>
                    <a:pt x="22" y="1172"/>
                  </a:lnTo>
                  <a:lnTo>
                    <a:pt x="31" y="1172"/>
                  </a:lnTo>
                  <a:lnTo>
                    <a:pt x="31" y="1172"/>
                  </a:lnTo>
                  <a:lnTo>
                    <a:pt x="31" y="1172"/>
                  </a:lnTo>
                  <a:close/>
                  <a:moveTo>
                    <a:pt x="485" y="761"/>
                  </a:moveTo>
                  <a:lnTo>
                    <a:pt x="485" y="749"/>
                  </a:lnTo>
                  <a:lnTo>
                    <a:pt x="492" y="749"/>
                  </a:lnTo>
                  <a:lnTo>
                    <a:pt x="485" y="761"/>
                  </a:lnTo>
                  <a:lnTo>
                    <a:pt x="485" y="761"/>
                  </a:lnTo>
                  <a:lnTo>
                    <a:pt x="485" y="761"/>
                  </a:lnTo>
                  <a:close/>
                  <a:moveTo>
                    <a:pt x="447" y="799"/>
                  </a:moveTo>
                  <a:lnTo>
                    <a:pt x="437" y="782"/>
                  </a:lnTo>
                  <a:lnTo>
                    <a:pt x="447" y="782"/>
                  </a:lnTo>
                  <a:lnTo>
                    <a:pt x="447" y="789"/>
                  </a:lnTo>
                  <a:lnTo>
                    <a:pt x="447" y="799"/>
                  </a:lnTo>
                  <a:lnTo>
                    <a:pt x="447" y="799"/>
                  </a:lnTo>
                  <a:lnTo>
                    <a:pt x="447" y="799"/>
                  </a:lnTo>
                  <a:close/>
                  <a:moveTo>
                    <a:pt x="522" y="1021"/>
                  </a:moveTo>
                  <a:lnTo>
                    <a:pt x="508" y="1011"/>
                  </a:lnTo>
                  <a:lnTo>
                    <a:pt x="508" y="999"/>
                  </a:lnTo>
                  <a:lnTo>
                    <a:pt x="522" y="1021"/>
                  </a:lnTo>
                  <a:lnTo>
                    <a:pt x="522" y="1021"/>
                  </a:lnTo>
                  <a:lnTo>
                    <a:pt x="522" y="1021"/>
                  </a:lnTo>
                  <a:close/>
                  <a:moveTo>
                    <a:pt x="522" y="1115"/>
                  </a:moveTo>
                  <a:lnTo>
                    <a:pt x="522" y="1110"/>
                  </a:lnTo>
                  <a:lnTo>
                    <a:pt x="534" y="1099"/>
                  </a:lnTo>
                  <a:lnTo>
                    <a:pt x="522" y="1115"/>
                  </a:lnTo>
                  <a:lnTo>
                    <a:pt x="522" y="1115"/>
                  </a:lnTo>
                  <a:lnTo>
                    <a:pt x="522" y="1115"/>
                  </a:lnTo>
                  <a:close/>
                  <a:moveTo>
                    <a:pt x="433" y="1122"/>
                  </a:moveTo>
                  <a:lnTo>
                    <a:pt x="416" y="1115"/>
                  </a:lnTo>
                  <a:lnTo>
                    <a:pt x="433" y="1115"/>
                  </a:lnTo>
                  <a:lnTo>
                    <a:pt x="433" y="1122"/>
                  </a:lnTo>
                  <a:lnTo>
                    <a:pt x="433" y="1122"/>
                  </a:lnTo>
                  <a:lnTo>
                    <a:pt x="433" y="1122"/>
                  </a:lnTo>
                  <a:close/>
                  <a:moveTo>
                    <a:pt x="470" y="1132"/>
                  </a:moveTo>
                  <a:lnTo>
                    <a:pt x="454" y="1132"/>
                  </a:lnTo>
                  <a:lnTo>
                    <a:pt x="447" y="1115"/>
                  </a:lnTo>
                  <a:lnTo>
                    <a:pt x="470" y="1132"/>
                  </a:lnTo>
                  <a:lnTo>
                    <a:pt x="470" y="1132"/>
                  </a:lnTo>
                  <a:lnTo>
                    <a:pt x="470" y="1132"/>
                  </a:lnTo>
                  <a:close/>
                  <a:moveTo>
                    <a:pt x="518" y="1139"/>
                  </a:moveTo>
                  <a:lnTo>
                    <a:pt x="508" y="1132"/>
                  </a:lnTo>
                  <a:lnTo>
                    <a:pt x="522" y="1132"/>
                  </a:lnTo>
                  <a:lnTo>
                    <a:pt x="518" y="1139"/>
                  </a:lnTo>
                  <a:lnTo>
                    <a:pt x="518" y="1139"/>
                  </a:lnTo>
                  <a:lnTo>
                    <a:pt x="518" y="1139"/>
                  </a:lnTo>
                  <a:close/>
                  <a:moveTo>
                    <a:pt x="572" y="1238"/>
                  </a:moveTo>
                  <a:lnTo>
                    <a:pt x="560" y="1226"/>
                  </a:lnTo>
                  <a:lnTo>
                    <a:pt x="577" y="1226"/>
                  </a:lnTo>
                  <a:lnTo>
                    <a:pt x="572" y="1238"/>
                  </a:lnTo>
                  <a:lnTo>
                    <a:pt x="572" y="1238"/>
                  </a:lnTo>
                  <a:lnTo>
                    <a:pt x="572" y="1238"/>
                  </a:lnTo>
                  <a:close/>
                  <a:moveTo>
                    <a:pt x="22" y="1259"/>
                  </a:moveTo>
                  <a:lnTo>
                    <a:pt x="22" y="1250"/>
                  </a:lnTo>
                  <a:lnTo>
                    <a:pt x="38" y="1238"/>
                  </a:lnTo>
                  <a:lnTo>
                    <a:pt x="48" y="1243"/>
                  </a:lnTo>
                  <a:lnTo>
                    <a:pt x="48" y="1250"/>
                  </a:lnTo>
                  <a:lnTo>
                    <a:pt x="22" y="1259"/>
                  </a:lnTo>
                  <a:lnTo>
                    <a:pt x="22" y="1259"/>
                  </a:lnTo>
                  <a:lnTo>
                    <a:pt x="22" y="1259"/>
                  </a:lnTo>
                  <a:close/>
                  <a:moveTo>
                    <a:pt x="48" y="1259"/>
                  </a:moveTo>
                  <a:lnTo>
                    <a:pt x="31" y="1276"/>
                  </a:lnTo>
                  <a:lnTo>
                    <a:pt x="31" y="1266"/>
                  </a:lnTo>
                  <a:lnTo>
                    <a:pt x="48" y="1259"/>
                  </a:lnTo>
                  <a:lnTo>
                    <a:pt x="48" y="1259"/>
                  </a:lnTo>
                  <a:lnTo>
                    <a:pt x="48" y="1259"/>
                  </a:lnTo>
                  <a:close/>
                  <a:moveTo>
                    <a:pt x="560" y="1283"/>
                  </a:moveTo>
                  <a:lnTo>
                    <a:pt x="555" y="1276"/>
                  </a:lnTo>
                  <a:lnTo>
                    <a:pt x="560" y="1266"/>
                  </a:lnTo>
                  <a:lnTo>
                    <a:pt x="577" y="1266"/>
                  </a:lnTo>
                  <a:lnTo>
                    <a:pt x="560" y="1276"/>
                  </a:lnTo>
                  <a:lnTo>
                    <a:pt x="560" y="1283"/>
                  </a:lnTo>
                  <a:lnTo>
                    <a:pt x="560" y="1283"/>
                  </a:lnTo>
                  <a:lnTo>
                    <a:pt x="560" y="1283"/>
                  </a:lnTo>
                  <a:close/>
                  <a:moveTo>
                    <a:pt x="555" y="1276"/>
                  </a:moveTo>
                  <a:lnTo>
                    <a:pt x="555" y="1283"/>
                  </a:lnTo>
                  <a:lnTo>
                    <a:pt x="539" y="1299"/>
                  </a:lnTo>
                  <a:lnTo>
                    <a:pt x="534" y="1349"/>
                  </a:lnTo>
                  <a:lnTo>
                    <a:pt x="508" y="1354"/>
                  </a:lnTo>
                  <a:lnTo>
                    <a:pt x="501" y="1377"/>
                  </a:lnTo>
                  <a:lnTo>
                    <a:pt x="492" y="1377"/>
                  </a:lnTo>
                  <a:lnTo>
                    <a:pt x="501" y="1370"/>
                  </a:lnTo>
                  <a:lnTo>
                    <a:pt x="492" y="1316"/>
                  </a:lnTo>
                  <a:lnTo>
                    <a:pt x="534" y="1276"/>
                  </a:lnTo>
                  <a:lnTo>
                    <a:pt x="555" y="1276"/>
                  </a:lnTo>
                  <a:lnTo>
                    <a:pt x="555" y="1276"/>
                  </a:lnTo>
                  <a:lnTo>
                    <a:pt x="555" y="1276"/>
                  </a:lnTo>
                  <a:close/>
                  <a:moveTo>
                    <a:pt x="371" y="1448"/>
                  </a:moveTo>
                  <a:lnTo>
                    <a:pt x="371" y="1410"/>
                  </a:lnTo>
                  <a:lnTo>
                    <a:pt x="409" y="1337"/>
                  </a:lnTo>
                  <a:lnTo>
                    <a:pt x="426" y="1337"/>
                  </a:lnTo>
                  <a:lnTo>
                    <a:pt x="371" y="1448"/>
                  </a:lnTo>
                  <a:lnTo>
                    <a:pt x="371" y="1448"/>
                  </a:lnTo>
                  <a:lnTo>
                    <a:pt x="371" y="1448"/>
                  </a:lnTo>
                  <a:close/>
                </a:path>
              </a:pathLst>
            </a:custGeom>
            <a:pattFill prst="wd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8" name="Freeform 562">
              <a:extLst>
                <a:ext uri="{FF2B5EF4-FFF2-40B4-BE49-F238E27FC236}">
                  <a16:creationId xmlns:a16="http://schemas.microsoft.com/office/drawing/2014/main" id="{FE3DC5DD-D6F8-4456-9416-67C922DFBE72}"/>
                </a:ext>
              </a:extLst>
            </p:cNvPr>
            <p:cNvSpPr>
              <a:spLocks noEditPoints="1"/>
            </p:cNvSpPr>
            <p:nvPr/>
          </p:nvSpPr>
          <p:spPr bwMode="gray">
            <a:xfrm>
              <a:off x="4452803" y="6740283"/>
              <a:ext cx="408274" cy="257364"/>
            </a:xfrm>
            <a:custGeom>
              <a:avLst/>
              <a:gdLst>
                <a:gd name="T0" fmla="*/ 81 w 825"/>
                <a:gd name="T1" fmla="*/ 33 h 520"/>
                <a:gd name="T2" fmla="*/ 64 w 825"/>
                <a:gd name="T3" fmla="*/ 29 h 520"/>
                <a:gd name="T4" fmla="*/ 50 w 825"/>
                <a:gd name="T5" fmla="*/ 29 h 520"/>
                <a:gd name="T6" fmla="*/ 50 w 825"/>
                <a:gd name="T7" fmla="*/ 17 h 520"/>
                <a:gd name="T8" fmla="*/ 55 w 825"/>
                <a:gd name="T9" fmla="*/ 17 h 520"/>
                <a:gd name="T10" fmla="*/ 33 w 825"/>
                <a:gd name="T11" fmla="*/ 17 h 520"/>
                <a:gd name="T12" fmla="*/ 26 w 825"/>
                <a:gd name="T13" fmla="*/ 10 h 520"/>
                <a:gd name="T14" fmla="*/ 33 w 825"/>
                <a:gd name="T15" fmla="*/ 10 h 520"/>
                <a:gd name="T16" fmla="*/ 0 w 825"/>
                <a:gd name="T17" fmla="*/ 0 h 520"/>
                <a:gd name="T18" fmla="*/ 102 w 825"/>
                <a:gd name="T19" fmla="*/ 10 h 520"/>
                <a:gd name="T20" fmla="*/ 102 w 825"/>
                <a:gd name="T21" fmla="*/ 29 h 520"/>
                <a:gd name="T22" fmla="*/ 102 w 825"/>
                <a:gd name="T23" fmla="*/ 29 h 520"/>
                <a:gd name="T24" fmla="*/ 109 w 825"/>
                <a:gd name="T25" fmla="*/ 29 h 520"/>
                <a:gd name="T26" fmla="*/ 123 w 825"/>
                <a:gd name="T27" fmla="*/ 45 h 520"/>
                <a:gd name="T28" fmla="*/ 118 w 825"/>
                <a:gd name="T29" fmla="*/ 29 h 520"/>
                <a:gd name="T30" fmla="*/ 123 w 825"/>
                <a:gd name="T31" fmla="*/ 29 h 520"/>
                <a:gd name="T32" fmla="*/ 140 w 825"/>
                <a:gd name="T33" fmla="*/ 55 h 520"/>
                <a:gd name="T34" fmla="*/ 161 w 825"/>
                <a:gd name="T35" fmla="*/ 83 h 520"/>
                <a:gd name="T36" fmla="*/ 140 w 825"/>
                <a:gd name="T37" fmla="*/ 83 h 520"/>
                <a:gd name="T38" fmla="*/ 147 w 825"/>
                <a:gd name="T39" fmla="*/ 90 h 520"/>
                <a:gd name="T40" fmla="*/ 140 w 825"/>
                <a:gd name="T41" fmla="*/ 90 h 520"/>
                <a:gd name="T42" fmla="*/ 109 w 825"/>
                <a:gd name="T43" fmla="*/ 55 h 520"/>
                <a:gd name="T44" fmla="*/ 81 w 825"/>
                <a:gd name="T45" fmla="*/ 33 h 520"/>
                <a:gd name="T46" fmla="*/ 81 w 825"/>
                <a:gd name="T47" fmla="*/ 33 h 520"/>
                <a:gd name="T48" fmla="*/ 81 w 825"/>
                <a:gd name="T49" fmla="*/ 33 h 520"/>
                <a:gd name="T50" fmla="*/ 766 w 825"/>
                <a:gd name="T51" fmla="*/ 279 h 520"/>
                <a:gd name="T52" fmla="*/ 766 w 825"/>
                <a:gd name="T53" fmla="*/ 274 h 520"/>
                <a:gd name="T54" fmla="*/ 770 w 825"/>
                <a:gd name="T55" fmla="*/ 274 h 520"/>
                <a:gd name="T56" fmla="*/ 766 w 825"/>
                <a:gd name="T57" fmla="*/ 279 h 520"/>
                <a:gd name="T58" fmla="*/ 766 w 825"/>
                <a:gd name="T59" fmla="*/ 279 h 520"/>
                <a:gd name="T60" fmla="*/ 766 w 825"/>
                <a:gd name="T61" fmla="*/ 279 h 520"/>
                <a:gd name="T62" fmla="*/ 820 w 825"/>
                <a:gd name="T63" fmla="*/ 397 h 520"/>
                <a:gd name="T64" fmla="*/ 808 w 825"/>
                <a:gd name="T65" fmla="*/ 385 h 520"/>
                <a:gd name="T66" fmla="*/ 820 w 825"/>
                <a:gd name="T67" fmla="*/ 385 h 520"/>
                <a:gd name="T68" fmla="*/ 820 w 825"/>
                <a:gd name="T69" fmla="*/ 397 h 520"/>
                <a:gd name="T70" fmla="*/ 820 w 825"/>
                <a:gd name="T71" fmla="*/ 397 h 520"/>
                <a:gd name="T72" fmla="*/ 820 w 825"/>
                <a:gd name="T73" fmla="*/ 397 h 520"/>
                <a:gd name="T74" fmla="*/ 825 w 825"/>
                <a:gd name="T75" fmla="*/ 463 h 520"/>
                <a:gd name="T76" fmla="*/ 808 w 825"/>
                <a:gd name="T77" fmla="*/ 459 h 520"/>
                <a:gd name="T78" fmla="*/ 825 w 825"/>
                <a:gd name="T79" fmla="*/ 451 h 520"/>
                <a:gd name="T80" fmla="*/ 825 w 825"/>
                <a:gd name="T81" fmla="*/ 463 h 520"/>
                <a:gd name="T82" fmla="*/ 825 w 825"/>
                <a:gd name="T83" fmla="*/ 463 h 520"/>
                <a:gd name="T84" fmla="*/ 825 w 825"/>
                <a:gd name="T85" fmla="*/ 463 h 520"/>
                <a:gd name="T86" fmla="*/ 803 w 825"/>
                <a:gd name="T87" fmla="*/ 520 h 520"/>
                <a:gd name="T88" fmla="*/ 803 w 825"/>
                <a:gd name="T89" fmla="*/ 520 h 520"/>
                <a:gd name="T90" fmla="*/ 808 w 825"/>
                <a:gd name="T91" fmla="*/ 520 h 520"/>
                <a:gd name="T92" fmla="*/ 803 w 825"/>
                <a:gd name="T93" fmla="*/ 520 h 520"/>
                <a:gd name="T94" fmla="*/ 803 w 825"/>
                <a:gd name="T95" fmla="*/ 520 h 520"/>
                <a:gd name="T96" fmla="*/ 803 w 825"/>
                <a:gd name="T97" fmla="*/ 52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5" h="520">
                  <a:moveTo>
                    <a:pt x="81" y="33"/>
                  </a:moveTo>
                  <a:lnTo>
                    <a:pt x="64" y="29"/>
                  </a:lnTo>
                  <a:lnTo>
                    <a:pt x="50" y="29"/>
                  </a:lnTo>
                  <a:lnTo>
                    <a:pt x="50" y="17"/>
                  </a:lnTo>
                  <a:lnTo>
                    <a:pt x="55" y="17"/>
                  </a:lnTo>
                  <a:lnTo>
                    <a:pt x="33" y="17"/>
                  </a:lnTo>
                  <a:lnTo>
                    <a:pt x="26" y="10"/>
                  </a:lnTo>
                  <a:lnTo>
                    <a:pt x="33" y="10"/>
                  </a:lnTo>
                  <a:lnTo>
                    <a:pt x="0" y="0"/>
                  </a:lnTo>
                  <a:lnTo>
                    <a:pt x="102" y="10"/>
                  </a:lnTo>
                  <a:lnTo>
                    <a:pt x="102" y="29"/>
                  </a:lnTo>
                  <a:lnTo>
                    <a:pt x="102" y="29"/>
                  </a:lnTo>
                  <a:lnTo>
                    <a:pt x="109" y="29"/>
                  </a:lnTo>
                  <a:lnTo>
                    <a:pt x="123" y="45"/>
                  </a:lnTo>
                  <a:lnTo>
                    <a:pt x="118" y="29"/>
                  </a:lnTo>
                  <a:lnTo>
                    <a:pt x="123" y="29"/>
                  </a:lnTo>
                  <a:lnTo>
                    <a:pt x="140" y="55"/>
                  </a:lnTo>
                  <a:lnTo>
                    <a:pt x="161" y="83"/>
                  </a:lnTo>
                  <a:lnTo>
                    <a:pt x="140" y="83"/>
                  </a:lnTo>
                  <a:lnTo>
                    <a:pt x="147" y="90"/>
                  </a:lnTo>
                  <a:lnTo>
                    <a:pt x="140" y="90"/>
                  </a:lnTo>
                  <a:lnTo>
                    <a:pt x="109" y="55"/>
                  </a:lnTo>
                  <a:lnTo>
                    <a:pt x="81" y="33"/>
                  </a:lnTo>
                  <a:lnTo>
                    <a:pt x="81" y="33"/>
                  </a:lnTo>
                  <a:lnTo>
                    <a:pt x="81" y="33"/>
                  </a:lnTo>
                  <a:close/>
                  <a:moveTo>
                    <a:pt x="766" y="279"/>
                  </a:moveTo>
                  <a:lnTo>
                    <a:pt x="766" y="274"/>
                  </a:lnTo>
                  <a:lnTo>
                    <a:pt x="770" y="274"/>
                  </a:lnTo>
                  <a:lnTo>
                    <a:pt x="766" y="279"/>
                  </a:lnTo>
                  <a:lnTo>
                    <a:pt x="766" y="279"/>
                  </a:lnTo>
                  <a:lnTo>
                    <a:pt x="766" y="279"/>
                  </a:lnTo>
                  <a:close/>
                  <a:moveTo>
                    <a:pt x="820" y="397"/>
                  </a:moveTo>
                  <a:lnTo>
                    <a:pt x="808" y="385"/>
                  </a:lnTo>
                  <a:lnTo>
                    <a:pt x="820" y="385"/>
                  </a:lnTo>
                  <a:lnTo>
                    <a:pt x="820" y="397"/>
                  </a:lnTo>
                  <a:lnTo>
                    <a:pt x="820" y="397"/>
                  </a:lnTo>
                  <a:lnTo>
                    <a:pt x="820" y="397"/>
                  </a:lnTo>
                  <a:close/>
                  <a:moveTo>
                    <a:pt x="825" y="463"/>
                  </a:moveTo>
                  <a:lnTo>
                    <a:pt x="808" y="459"/>
                  </a:lnTo>
                  <a:lnTo>
                    <a:pt x="825" y="451"/>
                  </a:lnTo>
                  <a:lnTo>
                    <a:pt x="825" y="463"/>
                  </a:lnTo>
                  <a:lnTo>
                    <a:pt x="825" y="463"/>
                  </a:lnTo>
                  <a:lnTo>
                    <a:pt x="825" y="463"/>
                  </a:lnTo>
                  <a:close/>
                  <a:moveTo>
                    <a:pt x="803" y="520"/>
                  </a:moveTo>
                  <a:lnTo>
                    <a:pt x="803" y="520"/>
                  </a:lnTo>
                  <a:lnTo>
                    <a:pt x="808" y="520"/>
                  </a:lnTo>
                  <a:lnTo>
                    <a:pt x="803" y="520"/>
                  </a:lnTo>
                  <a:lnTo>
                    <a:pt x="803" y="520"/>
                  </a:lnTo>
                  <a:lnTo>
                    <a:pt x="803" y="520"/>
                  </a:lnTo>
                  <a:close/>
                </a:path>
              </a:pathLst>
            </a:custGeom>
            <a:solidFill>
              <a:schemeClr val="accent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9" name="Freeform 563">
              <a:extLst>
                <a:ext uri="{FF2B5EF4-FFF2-40B4-BE49-F238E27FC236}">
                  <a16:creationId xmlns:a16="http://schemas.microsoft.com/office/drawing/2014/main" id="{860A0893-6FB6-4921-9F71-288483517C5C}"/>
                </a:ext>
              </a:extLst>
            </p:cNvPr>
            <p:cNvSpPr>
              <a:spLocks/>
            </p:cNvSpPr>
            <p:nvPr/>
          </p:nvSpPr>
          <p:spPr bwMode="gray">
            <a:xfrm>
              <a:off x="7011812" y="3208446"/>
              <a:ext cx="233582" cy="201438"/>
            </a:xfrm>
            <a:custGeom>
              <a:avLst/>
              <a:gdLst>
                <a:gd name="T0" fmla="*/ 0 w 472"/>
                <a:gd name="T1" fmla="*/ 333 h 407"/>
                <a:gd name="T2" fmla="*/ 0 w 472"/>
                <a:gd name="T3" fmla="*/ 333 h 407"/>
                <a:gd name="T4" fmla="*/ 28 w 472"/>
                <a:gd name="T5" fmla="*/ 300 h 407"/>
                <a:gd name="T6" fmla="*/ 21 w 472"/>
                <a:gd name="T7" fmla="*/ 300 h 407"/>
                <a:gd name="T8" fmla="*/ 28 w 472"/>
                <a:gd name="T9" fmla="*/ 284 h 407"/>
                <a:gd name="T10" fmla="*/ 54 w 472"/>
                <a:gd name="T11" fmla="*/ 284 h 407"/>
                <a:gd name="T12" fmla="*/ 43 w 472"/>
                <a:gd name="T13" fmla="*/ 279 h 407"/>
                <a:gd name="T14" fmla="*/ 71 w 472"/>
                <a:gd name="T15" fmla="*/ 251 h 407"/>
                <a:gd name="T16" fmla="*/ 59 w 472"/>
                <a:gd name="T17" fmla="*/ 239 h 407"/>
                <a:gd name="T18" fmla="*/ 43 w 472"/>
                <a:gd name="T19" fmla="*/ 229 h 407"/>
                <a:gd name="T20" fmla="*/ 54 w 472"/>
                <a:gd name="T21" fmla="*/ 222 h 407"/>
                <a:gd name="T22" fmla="*/ 21 w 472"/>
                <a:gd name="T23" fmla="*/ 222 h 407"/>
                <a:gd name="T24" fmla="*/ 17 w 472"/>
                <a:gd name="T25" fmla="*/ 194 h 407"/>
                <a:gd name="T26" fmla="*/ 21 w 472"/>
                <a:gd name="T27" fmla="*/ 173 h 407"/>
                <a:gd name="T28" fmla="*/ 21 w 472"/>
                <a:gd name="T29" fmla="*/ 156 h 407"/>
                <a:gd name="T30" fmla="*/ 5 w 472"/>
                <a:gd name="T31" fmla="*/ 140 h 407"/>
                <a:gd name="T32" fmla="*/ 21 w 472"/>
                <a:gd name="T33" fmla="*/ 111 h 407"/>
                <a:gd name="T34" fmla="*/ 38 w 472"/>
                <a:gd name="T35" fmla="*/ 128 h 407"/>
                <a:gd name="T36" fmla="*/ 38 w 472"/>
                <a:gd name="T37" fmla="*/ 111 h 407"/>
                <a:gd name="T38" fmla="*/ 54 w 472"/>
                <a:gd name="T39" fmla="*/ 111 h 407"/>
                <a:gd name="T40" fmla="*/ 54 w 472"/>
                <a:gd name="T41" fmla="*/ 83 h 407"/>
                <a:gd name="T42" fmla="*/ 76 w 472"/>
                <a:gd name="T43" fmla="*/ 83 h 407"/>
                <a:gd name="T44" fmla="*/ 59 w 472"/>
                <a:gd name="T45" fmla="*/ 71 h 407"/>
                <a:gd name="T46" fmla="*/ 71 w 472"/>
                <a:gd name="T47" fmla="*/ 38 h 407"/>
                <a:gd name="T48" fmla="*/ 109 w 472"/>
                <a:gd name="T49" fmla="*/ 55 h 407"/>
                <a:gd name="T50" fmla="*/ 125 w 472"/>
                <a:gd name="T51" fmla="*/ 55 h 407"/>
                <a:gd name="T52" fmla="*/ 184 w 472"/>
                <a:gd name="T53" fmla="*/ 26 h 407"/>
                <a:gd name="T54" fmla="*/ 201 w 472"/>
                <a:gd name="T55" fmla="*/ 38 h 407"/>
                <a:gd name="T56" fmla="*/ 217 w 472"/>
                <a:gd name="T57" fmla="*/ 43 h 407"/>
                <a:gd name="T58" fmla="*/ 255 w 472"/>
                <a:gd name="T59" fmla="*/ 55 h 407"/>
                <a:gd name="T60" fmla="*/ 293 w 472"/>
                <a:gd name="T61" fmla="*/ 43 h 407"/>
                <a:gd name="T62" fmla="*/ 364 w 472"/>
                <a:gd name="T63" fmla="*/ 17 h 407"/>
                <a:gd name="T64" fmla="*/ 418 w 472"/>
                <a:gd name="T65" fmla="*/ 17 h 407"/>
                <a:gd name="T66" fmla="*/ 451 w 472"/>
                <a:gd name="T67" fmla="*/ 5 h 407"/>
                <a:gd name="T68" fmla="*/ 456 w 472"/>
                <a:gd name="T69" fmla="*/ 0 h 407"/>
                <a:gd name="T70" fmla="*/ 472 w 472"/>
                <a:gd name="T71" fmla="*/ 5 h 407"/>
                <a:gd name="T72" fmla="*/ 472 w 472"/>
                <a:gd name="T73" fmla="*/ 17 h 407"/>
                <a:gd name="T74" fmla="*/ 435 w 472"/>
                <a:gd name="T75" fmla="*/ 55 h 407"/>
                <a:gd name="T76" fmla="*/ 402 w 472"/>
                <a:gd name="T77" fmla="*/ 62 h 407"/>
                <a:gd name="T78" fmla="*/ 397 w 472"/>
                <a:gd name="T79" fmla="*/ 78 h 407"/>
                <a:gd name="T80" fmla="*/ 397 w 472"/>
                <a:gd name="T81" fmla="*/ 99 h 407"/>
                <a:gd name="T82" fmla="*/ 402 w 472"/>
                <a:gd name="T83" fmla="*/ 116 h 407"/>
                <a:gd name="T84" fmla="*/ 402 w 472"/>
                <a:gd name="T85" fmla="*/ 140 h 407"/>
                <a:gd name="T86" fmla="*/ 397 w 472"/>
                <a:gd name="T87" fmla="*/ 173 h 407"/>
                <a:gd name="T88" fmla="*/ 397 w 472"/>
                <a:gd name="T89" fmla="*/ 206 h 407"/>
                <a:gd name="T90" fmla="*/ 380 w 472"/>
                <a:gd name="T91" fmla="*/ 239 h 407"/>
                <a:gd name="T92" fmla="*/ 222 w 472"/>
                <a:gd name="T93" fmla="*/ 324 h 407"/>
                <a:gd name="T94" fmla="*/ 83 w 472"/>
                <a:gd name="T95" fmla="*/ 407 h 407"/>
                <a:gd name="T96" fmla="*/ 54 w 472"/>
                <a:gd name="T97" fmla="*/ 407 h 407"/>
                <a:gd name="T98" fmla="*/ 28 w 472"/>
                <a:gd name="T99" fmla="*/ 390 h 407"/>
                <a:gd name="T100" fmla="*/ 21 w 472"/>
                <a:gd name="T101" fmla="*/ 373 h 407"/>
                <a:gd name="T102" fmla="*/ 0 w 472"/>
                <a:gd name="T103" fmla="*/ 378 h 407"/>
                <a:gd name="T104" fmla="*/ 0 w 472"/>
                <a:gd name="T105" fmla="*/ 333 h 407"/>
                <a:gd name="T106" fmla="*/ 0 w 472"/>
                <a:gd name="T107" fmla="*/ 333 h 407"/>
                <a:gd name="T108" fmla="*/ 0 w 472"/>
                <a:gd name="T109" fmla="*/ 333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2" h="407">
                  <a:moveTo>
                    <a:pt x="0" y="333"/>
                  </a:moveTo>
                  <a:lnTo>
                    <a:pt x="0" y="333"/>
                  </a:lnTo>
                  <a:lnTo>
                    <a:pt x="28" y="300"/>
                  </a:lnTo>
                  <a:lnTo>
                    <a:pt x="21" y="300"/>
                  </a:lnTo>
                  <a:lnTo>
                    <a:pt x="28" y="284"/>
                  </a:lnTo>
                  <a:lnTo>
                    <a:pt x="54" y="284"/>
                  </a:lnTo>
                  <a:lnTo>
                    <a:pt x="43" y="279"/>
                  </a:lnTo>
                  <a:lnTo>
                    <a:pt x="71" y="251"/>
                  </a:lnTo>
                  <a:lnTo>
                    <a:pt x="59" y="239"/>
                  </a:lnTo>
                  <a:lnTo>
                    <a:pt x="43" y="229"/>
                  </a:lnTo>
                  <a:lnTo>
                    <a:pt x="54" y="222"/>
                  </a:lnTo>
                  <a:lnTo>
                    <a:pt x="21" y="222"/>
                  </a:lnTo>
                  <a:lnTo>
                    <a:pt x="17" y="194"/>
                  </a:lnTo>
                  <a:lnTo>
                    <a:pt x="21" y="173"/>
                  </a:lnTo>
                  <a:lnTo>
                    <a:pt x="21" y="156"/>
                  </a:lnTo>
                  <a:lnTo>
                    <a:pt x="5" y="140"/>
                  </a:lnTo>
                  <a:lnTo>
                    <a:pt x="21" y="111"/>
                  </a:lnTo>
                  <a:lnTo>
                    <a:pt x="38" y="128"/>
                  </a:lnTo>
                  <a:lnTo>
                    <a:pt x="38" y="111"/>
                  </a:lnTo>
                  <a:lnTo>
                    <a:pt x="54" y="111"/>
                  </a:lnTo>
                  <a:lnTo>
                    <a:pt x="54" y="83"/>
                  </a:lnTo>
                  <a:lnTo>
                    <a:pt x="76" y="83"/>
                  </a:lnTo>
                  <a:lnTo>
                    <a:pt x="59" y="71"/>
                  </a:lnTo>
                  <a:lnTo>
                    <a:pt x="71" y="38"/>
                  </a:lnTo>
                  <a:lnTo>
                    <a:pt x="109" y="55"/>
                  </a:lnTo>
                  <a:lnTo>
                    <a:pt x="125" y="55"/>
                  </a:lnTo>
                  <a:lnTo>
                    <a:pt x="184" y="26"/>
                  </a:lnTo>
                  <a:lnTo>
                    <a:pt x="201" y="38"/>
                  </a:lnTo>
                  <a:lnTo>
                    <a:pt x="217" y="43"/>
                  </a:lnTo>
                  <a:lnTo>
                    <a:pt x="255" y="55"/>
                  </a:lnTo>
                  <a:lnTo>
                    <a:pt x="293" y="43"/>
                  </a:lnTo>
                  <a:lnTo>
                    <a:pt x="364" y="17"/>
                  </a:lnTo>
                  <a:lnTo>
                    <a:pt x="418" y="17"/>
                  </a:lnTo>
                  <a:lnTo>
                    <a:pt x="451" y="5"/>
                  </a:lnTo>
                  <a:lnTo>
                    <a:pt x="456" y="0"/>
                  </a:lnTo>
                  <a:lnTo>
                    <a:pt x="472" y="5"/>
                  </a:lnTo>
                  <a:lnTo>
                    <a:pt x="472" y="17"/>
                  </a:lnTo>
                  <a:lnTo>
                    <a:pt x="435" y="55"/>
                  </a:lnTo>
                  <a:lnTo>
                    <a:pt x="402" y="62"/>
                  </a:lnTo>
                  <a:lnTo>
                    <a:pt x="397" y="78"/>
                  </a:lnTo>
                  <a:lnTo>
                    <a:pt x="397" y="99"/>
                  </a:lnTo>
                  <a:lnTo>
                    <a:pt x="402" y="116"/>
                  </a:lnTo>
                  <a:lnTo>
                    <a:pt x="402" y="140"/>
                  </a:lnTo>
                  <a:lnTo>
                    <a:pt x="397" y="173"/>
                  </a:lnTo>
                  <a:lnTo>
                    <a:pt x="397" y="206"/>
                  </a:lnTo>
                  <a:lnTo>
                    <a:pt x="380" y="239"/>
                  </a:lnTo>
                  <a:lnTo>
                    <a:pt x="222" y="324"/>
                  </a:lnTo>
                  <a:lnTo>
                    <a:pt x="83" y="407"/>
                  </a:lnTo>
                  <a:lnTo>
                    <a:pt x="54" y="407"/>
                  </a:lnTo>
                  <a:lnTo>
                    <a:pt x="28" y="390"/>
                  </a:lnTo>
                  <a:lnTo>
                    <a:pt x="21" y="373"/>
                  </a:lnTo>
                  <a:lnTo>
                    <a:pt x="0" y="378"/>
                  </a:lnTo>
                  <a:lnTo>
                    <a:pt x="0" y="333"/>
                  </a:lnTo>
                  <a:lnTo>
                    <a:pt x="0" y="333"/>
                  </a:lnTo>
                  <a:lnTo>
                    <a:pt x="0" y="333"/>
                  </a:lnTo>
                  <a:close/>
                </a:path>
              </a:pathLst>
            </a:custGeom>
            <a:pattFill prst="wd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0" name="Freeform 564">
              <a:extLst>
                <a:ext uri="{FF2B5EF4-FFF2-40B4-BE49-F238E27FC236}">
                  <a16:creationId xmlns:a16="http://schemas.microsoft.com/office/drawing/2014/main" id="{6F89FA0C-E251-4D3B-8BB5-DCB7ABBFDD99}"/>
                </a:ext>
              </a:extLst>
            </p:cNvPr>
            <p:cNvSpPr>
              <a:spLocks/>
            </p:cNvSpPr>
            <p:nvPr/>
          </p:nvSpPr>
          <p:spPr bwMode="gray">
            <a:xfrm>
              <a:off x="5981973" y="2756079"/>
              <a:ext cx="155391" cy="89087"/>
            </a:xfrm>
            <a:custGeom>
              <a:avLst/>
              <a:gdLst>
                <a:gd name="T0" fmla="*/ 38 w 314"/>
                <a:gd name="T1" fmla="*/ 90 h 180"/>
                <a:gd name="T2" fmla="*/ 71 w 314"/>
                <a:gd name="T3" fmla="*/ 50 h 180"/>
                <a:gd name="T4" fmla="*/ 76 w 314"/>
                <a:gd name="T5" fmla="*/ 38 h 180"/>
                <a:gd name="T6" fmla="*/ 71 w 314"/>
                <a:gd name="T7" fmla="*/ 38 h 180"/>
                <a:gd name="T8" fmla="*/ 76 w 314"/>
                <a:gd name="T9" fmla="*/ 28 h 180"/>
                <a:gd name="T10" fmla="*/ 97 w 314"/>
                <a:gd name="T11" fmla="*/ 33 h 180"/>
                <a:gd name="T12" fmla="*/ 113 w 314"/>
                <a:gd name="T13" fmla="*/ 17 h 180"/>
                <a:gd name="T14" fmla="*/ 184 w 314"/>
                <a:gd name="T15" fmla="*/ 17 h 180"/>
                <a:gd name="T16" fmla="*/ 184 w 314"/>
                <a:gd name="T17" fmla="*/ 10 h 180"/>
                <a:gd name="T18" fmla="*/ 168 w 314"/>
                <a:gd name="T19" fmla="*/ 10 h 180"/>
                <a:gd name="T20" fmla="*/ 184 w 314"/>
                <a:gd name="T21" fmla="*/ 0 h 180"/>
                <a:gd name="T22" fmla="*/ 194 w 314"/>
                <a:gd name="T23" fmla="*/ 0 h 180"/>
                <a:gd name="T24" fmla="*/ 194 w 314"/>
                <a:gd name="T25" fmla="*/ 10 h 180"/>
                <a:gd name="T26" fmla="*/ 231 w 314"/>
                <a:gd name="T27" fmla="*/ 10 h 180"/>
                <a:gd name="T28" fmla="*/ 253 w 314"/>
                <a:gd name="T29" fmla="*/ 28 h 180"/>
                <a:gd name="T30" fmla="*/ 260 w 314"/>
                <a:gd name="T31" fmla="*/ 33 h 180"/>
                <a:gd name="T32" fmla="*/ 253 w 314"/>
                <a:gd name="T33" fmla="*/ 50 h 180"/>
                <a:gd name="T34" fmla="*/ 248 w 314"/>
                <a:gd name="T35" fmla="*/ 66 h 180"/>
                <a:gd name="T36" fmla="*/ 253 w 314"/>
                <a:gd name="T37" fmla="*/ 66 h 180"/>
                <a:gd name="T38" fmla="*/ 276 w 314"/>
                <a:gd name="T39" fmla="*/ 73 h 180"/>
                <a:gd name="T40" fmla="*/ 276 w 314"/>
                <a:gd name="T41" fmla="*/ 83 h 180"/>
                <a:gd name="T42" fmla="*/ 293 w 314"/>
                <a:gd name="T43" fmla="*/ 90 h 180"/>
                <a:gd name="T44" fmla="*/ 307 w 314"/>
                <a:gd name="T45" fmla="*/ 73 h 180"/>
                <a:gd name="T46" fmla="*/ 314 w 314"/>
                <a:gd name="T47" fmla="*/ 83 h 180"/>
                <a:gd name="T48" fmla="*/ 314 w 314"/>
                <a:gd name="T49" fmla="*/ 111 h 180"/>
                <a:gd name="T50" fmla="*/ 302 w 314"/>
                <a:gd name="T51" fmla="*/ 106 h 180"/>
                <a:gd name="T52" fmla="*/ 286 w 314"/>
                <a:gd name="T53" fmla="*/ 111 h 180"/>
                <a:gd name="T54" fmla="*/ 286 w 314"/>
                <a:gd name="T55" fmla="*/ 123 h 180"/>
                <a:gd name="T56" fmla="*/ 293 w 314"/>
                <a:gd name="T57" fmla="*/ 128 h 180"/>
                <a:gd name="T58" fmla="*/ 293 w 314"/>
                <a:gd name="T59" fmla="*/ 147 h 180"/>
                <a:gd name="T60" fmla="*/ 276 w 314"/>
                <a:gd name="T61" fmla="*/ 128 h 180"/>
                <a:gd name="T62" fmla="*/ 253 w 314"/>
                <a:gd name="T63" fmla="*/ 139 h 180"/>
                <a:gd name="T64" fmla="*/ 248 w 314"/>
                <a:gd name="T65" fmla="*/ 123 h 180"/>
                <a:gd name="T66" fmla="*/ 231 w 314"/>
                <a:gd name="T67" fmla="*/ 123 h 180"/>
                <a:gd name="T68" fmla="*/ 231 w 314"/>
                <a:gd name="T69" fmla="*/ 139 h 180"/>
                <a:gd name="T70" fmla="*/ 215 w 314"/>
                <a:gd name="T71" fmla="*/ 168 h 180"/>
                <a:gd name="T72" fmla="*/ 222 w 314"/>
                <a:gd name="T73" fmla="*/ 168 h 180"/>
                <a:gd name="T74" fmla="*/ 215 w 314"/>
                <a:gd name="T75" fmla="*/ 180 h 180"/>
                <a:gd name="T76" fmla="*/ 201 w 314"/>
                <a:gd name="T77" fmla="*/ 163 h 180"/>
                <a:gd name="T78" fmla="*/ 201 w 314"/>
                <a:gd name="T79" fmla="*/ 151 h 180"/>
                <a:gd name="T80" fmla="*/ 177 w 314"/>
                <a:gd name="T81" fmla="*/ 147 h 180"/>
                <a:gd name="T82" fmla="*/ 177 w 314"/>
                <a:gd name="T83" fmla="*/ 123 h 180"/>
                <a:gd name="T84" fmla="*/ 163 w 314"/>
                <a:gd name="T85" fmla="*/ 123 h 180"/>
                <a:gd name="T86" fmla="*/ 151 w 314"/>
                <a:gd name="T87" fmla="*/ 151 h 180"/>
                <a:gd name="T88" fmla="*/ 130 w 314"/>
                <a:gd name="T89" fmla="*/ 168 h 180"/>
                <a:gd name="T90" fmla="*/ 125 w 314"/>
                <a:gd name="T91" fmla="*/ 168 h 180"/>
                <a:gd name="T92" fmla="*/ 87 w 314"/>
                <a:gd name="T93" fmla="*/ 180 h 180"/>
                <a:gd name="T94" fmla="*/ 76 w 314"/>
                <a:gd name="T95" fmla="*/ 168 h 180"/>
                <a:gd name="T96" fmla="*/ 59 w 314"/>
                <a:gd name="T97" fmla="*/ 151 h 180"/>
                <a:gd name="T98" fmla="*/ 59 w 314"/>
                <a:gd name="T99" fmla="*/ 128 h 180"/>
                <a:gd name="T100" fmla="*/ 54 w 314"/>
                <a:gd name="T101" fmla="*/ 123 h 180"/>
                <a:gd name="T102" fmla="*/ 21 w 314"/>
                <a:gd name="T103" fmla="*/ 128 h 180"/>
                <a:gd name="T104" fmla="*/ 21 w 314"/>
                <a:gd name="T105" fmla="*/ 147 h 180"/>
                <a:gd name="T106" fmla="*/ 5 w 314"/>
                <a:gd name="T107" fmla="*/ 151 h 180"/>
                <a:gd name="T108" fmla="*/ 0 w 314"/>
                <a:gd name="T109" fmla="*/ 147 h 180"/>
                <a:gd name="T110" fmla="*/ 16 w 314"/>
                <a:gd name="T111" fmla="*/ 139 h 180"/>
                <a:gd name="T112" fmla="*/ 16 w 314"/>
                <a:gd name="T113" fmla="*/ 128 h 180"/>
                <a:gd name="T114" fmla="*/ 5 w 314"/>
                <a:gd name="T115" fmla="*/ 123 h 180"/>
                <a:gd name="T116" fmla="*/ 16 w 314"/>
                <a:gd name="T117" fmla="*/ 111 h 180"/>
                <a:gd name="T118" fmla="*/ 33 w 314"/>
                <a:gd name="T119" fmla="*/ 95 h 180"/>
                <a:gd name="T120" fmla="*/ 38 w 314"/>
                <a:gd name="T121" fmla="*/ 90 h 180"/>
                <a:gd name="T122" fmla="*/ 38 w 314"/>
                <a:gd name="T123" fmla="*/ 90 h 180"/>
                <a:gd name="T124" fmla="*/ 38 w 314"/>
                <a:gd name="T125"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4" h="180">
                  <a:moveTo>
                    <a:pt x="38" y="90"/>
                  </a:moveTo>
                  <a:lnTo>
                    <a:pt x="71" y="50"/>
                  </a:lnTo>
                  <a:lnTo>
                    <a:pt x="76" y="38"/>
                  </a:lnTo>
                  <a:lnTo>
                    <a:pt x="71" y="38"/>
                  </a:lnTo>
                  <a:lnTo>
                    <a:pt x="76" y="28"/>
                  </a:lnTo>
                  <a:lnTo>
                    <a:pt x="97" y="33"/>
                  </a:lnTo>
                  <a:lnTo>
                    <a:pt x="113" y="17"/>
                  </a:lnTo>
                  <a:lnTo>
                    <a:pt x="184" y="17"/>
                  </a:lnTo>
                  <a:lnTo>
                    <a:pt x="184" y="10"/>
                  </a:lnTo>
                  <a:lnTo>
                    <a:pt x="168" y="10"/>
                  </a:lnTo>
                  <a:lnTo>
                    <a:pt x="184" y="0"/>
                  </a:lnTo>
                  <a:lnTo>
                    <a:pt x="194" y="0"/>
                  </a:lnTo>
                  <a:lnTo>
                    <a:pt x="194" y="10"/>
                  </a:lnTo>
                  <a:lnTo>
                    <a:pt x="231" y="10"/>
                  </a:lnTo>
                  <a:lnTo>
                    <a:pt x="253" y="28"/>
                  </a:lnTo>
                  <a:lnTo>
                    <a:pt x="260" y="33"/>
                  </a:lnTo>
                  <a:lnTo>
                    <a:pt x="253" y="50"/>
                  </a:lnTo>
                  <a:lnTo>
                    <a:pt x="248" y="66"/>
                  </a:lnTo>
                  <a:lnTo>
                    <a:pt x="253" y="66"/>
                  </a:lnTo>
                  <a:lnTo>
                    <a:pt x="276" y="73"/>
                  </a:lnTo>
                  <a:lnTo>
                    <a:pt x="276" y="83"/>
                  </a:lnTo>
                  <a:lnTo>
                    <a:pt x="293" y="90"/>
                  </a:lnTo>
                  <a:lnTo>
                    <a:pt x="307" y="73"/>
                  </a:lnTo>
                  <a:lnTo>
                    <a:pt x="314" y="83"/>
                  </a:lnTo>
                  <a:lnTo>
                    <a:pt x="314" y="111"/>
                  </a:lnTo>
                  <a:lnTo>
                    <a:pt x="302" y="106"/>
                  </a:lnTo>
                  <a:lnTo>
                    <a:pt x="286" y="111"/>
                  </a:lnTo>
                  <a:lnTo>
                    <a:pt x="286" y="123"/>
                  </a:lnTo>
                  <a:lnTo>
                    <a:pt x="293" y="128"/>
                  </a:lnTo>
                  <a:lnTo>
                    <a:pt x="293" y="147"/>
                  </a:lnTo>
                  <a:lnTo>
                    <a:pt x="276" y="128"/>
                  </a:lnTo>
                  <a:lnTo>
                    <a:pt x="253" y="139"/>
                  </a:lnTo>
                  <a:lnTo>
                    <a:pt x="248" y="123"/>
                  </a:lnTo>
                  <a:lnTo>
                    <a:pt x="231" y="123"/>
                  </a:lnTo>
                  <a:lnTo>
                    <a:pt x="231" y="139"/>
                  </a:lnTo>
                  <a:lnTo>
                    <a:pt x="215" y="168"/>
                  </a:lnTo>
                  <a:lnTo>
                    <a:pt x="222" y="168"/>
                  </a:lnTo>
                  <a:lnTo>
                    <a:pt x="215" y="180"/>
                  </a:lnTo>
                  <a:lnTo>
                    <a:pt x="201" y="163"/>
                  </a:lnTo>
                  <a:lnTo>
                    <a:pt x="201" y="151"/>
                  </a:lnTo>
                  <a:lnTo>
                    <a:pt x="177" y="147"/>
                  </a:lnTo>
                  <a:lnTo>
                    <a:pt x="177" y="123"/>
                  </a:lnTo>
                  <a:lnTo>
                    <a:pt x="163" y="123"/>
                  </a:lnTo>
                  <a:lnTo>
                    <a:pt x="151" y="151"/>
                  </a:lnTo>
                  <a:lnTo>
                    <a:pt x="130" y="168"/>
                  </a:lnTo>
                  <a:lnTo>
                    <a:pt x="125" y="168"/>
                  </a:lnTo>
                  <a:lnTo>
                    <a:pt x="87" y="180"/>
                  </a:lnTo>
                  <a:lnTo>
                    <a:pt x="76" y="168"/>
                  </a:lnTo>
                  <a:lnTo>
                    <a:pt x="59" y="151"/>
                  </a:lnTo>
                  <a:lnTo>
                    <a:pt x="59" y="128"/>
                  </a:lnTo>
                  <a:lnTo>
                    <a:pt x="54" y="123"/>
                  </a:lnTo>
                  <a:lnTo>
                    <a:pt x="21" y="128"/>
                  </a:lnTo>
                  <a:lnTo>
                    <a:pt x="21" y="147"/>
                  </a:lnTo>
                  <a:lnTo>
                    <a:pt x="5" y="151"/>
                  </a:lnTo>
                  <a:lnTo>
                    <a:pt x="0" y="147"/>
                  </a:lnTo>
                  <a:lnTo>
                    <a:pt x="16" y="139"/>
                  </a:lnTo>
                  <a:lnTo>
                    <a:pt x="16" y="128"/>
                  </a:lnTo>
                  <a:lnTo>
                    <a:pt x="5" y="123"/>
                  </a:lnTo>
                  <a:lnTo>
                    <a:pt x="16" y="111"/>
                  </a:lnTo>
                  <a:lnTo>
                    <a:pt x="33" y="95"/>
                  </a:lnTo>
                  <a:lnTo>
                    <a:pt x="38" y="90"/>
                  </a:lnTo>
                  <a:lnTo>
                    <a:pt x="38" y="90"/>
                  </a:lnTo>
                  <a:lnTo>
                    <a:pt x="38" y="90"/>
                  </a:lnTo>
                  <a:close/>
                </a:path>
              </a:pathLst>
            </a:custGeom>
            <a:pattFill prst="dk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1" name="Freeform 565">
              <a:extLst>
                <a:ext uri="{FF2B5EF4-FFF2-40B4-BE49-F238E27FC236}">
                  <a16:creationId xmlns:a16="http://schemas.microsoft.com/office/drawing/2014/main" id="{48AAA437-FF45-4DD9-9C5D-B07E0D51224E}"/>
                </a:ext>
              </a:extLst>
            </p:cNvPr>
            <p:cNvSpPr>
              <a:spLocks noEditPoints="1"/>
            </p:cNvSpPr>
            <p:nvPr/>
          </p:nvSpPr>
          <p:spPr bwMode="gray">
            <a:xfrm>
              <a:off x="7566074" y="3649430"/>
              <a:ext cx="161330" cy="129673"/>
            </a:xfrm>
            <a:custGeom>
              <a:avLst/>
              <a:gdLst>
                <a:gd name="T0" fmla="*/ 326 w 326"/>
                <a:gd name="T1" fmla="*/ 97 h 262"/>
                <a:gd name="T2" fmla="*/ 312 w 326"/>
                <a:gd name="T3" fmla="*/ 106 h 262"/>
                <a:gd name="T4" fmla="*/ 304 w 326"/>
                <a:gd name="T5" fmla="*/ 97 h 262"/>
                <a:gd name="T6" fmla="*/ 312 w 326"/>
                <a:gd name="T7" fmla="*/ 97 h 262"/>
                <a:gd name="T8" fmla="*/ 304 w 326"/>
                <a:gd name="T9" fmla="*/ 90 h 262"/>
                <a:gd name="T10" fmla="*/ 288 w 326"/>
                <a:gd name="T11" fmla="*/ 97 h 262"/>
                <a:gd name="T12" fmla="*/ 288 w 326"/>
                <a:gd name="T13" fmla="*/ 146 h 262"/>
                <a:gd name="T14" fmla="*/ 304 w 326"/>
                <a:gd name="T15" fmla="*/ 146 h 262"/>
                <a:gd name="T16" fmla="*/ 304 w 326"/>
                <a:gd name="T17" fmla="*/ 151 h 262"/>
                <a:gd name="T18" fmla="*/ 274 w 326"/>
                <a:gd name="T19" fmla="*/ 163 h 262"/>
                <a:gd name="T20" fmla="*/ 274 w 326"/>
                <a:gd name="T21" fmla="*/ 179 h 262"/>
                <a:gd name="T22" fmla="*/ 252 w 326"/>
                <a:gd name="T23" fmla="*/ 234 h 262"/>
                <a:gd name="T24" fmla="*/ 252 w 326"/>
                <a:gd name="T25" fmla="*/ 262 h 262"/>
                <a:gd name="T26" fmla="*/ 245 w 326"/>
                <a:gd name="T27" fmla="*/ 262 h 262"/>
                <a:gd name="T28" fmla="*/ 71 w 326"/>
                <a:gd name="T29" fmla="*/ 241 h 262"/>
                <a:gd name="T30" fmla="*/ 0 w 326"/>
                <a:gd name="T31" fmla="*/ 151 h 262"/>
                <a:gd name="T32" fmla="*/ 0 w 326"/>
                <a:gd name="T33" fmla="*/ 146 h 262"/>
                <a:gd name="T34" fmla="*/ 7 w 326"/>
                <a:gd name="T35" fmla="*/ 146 h 262"/>
                <a:gd name="T36" fmla="*/ 16 w 326"/>
                <a:gd name="T37" fmla="*/ 163 h 262"/>
                <a:gd name="T38" fmla="*/ 33 w 326"/>
                <a:gd name="T39" fmla="*/ 167 h 262"/>
                <a:gd name="T40" fmla="*/ 54 w 326"/>
                <a:gd name="T41" fmla="*/ 163 h 262"/>
                <a:gd name="T42" fmla="*/ 71 w 326"/>
                <a:gd name="T43" fmla="*/ 146 h 262"/>
                <a:gd name="T44" fmla="*/ 139 w 326"/>
                <a:gd name="T45" fmla="*/ 163 h 262"/>
                <a:gd name="T46" fmla="*/ 177 w 326"/>
                <a:gd name="T47" fmla="*/ 151 h 262"/>
                <a:gd name="T48" fmla="*/ 198 w 326"/>
                <a:gd name="T49" fmla="*/ 146 h 262"/>
                <a:gd name="T50" fmla="*/ 198 w 326"/>
                <a:gd name="T51" fmla="*/ 130 h 262"/>
                <a:gd name="T52" fmla="*/ 203 w 326"/>
                <a:gd name="T53" fmla="*/ 130 h 262"/>
                <a:gd name="T54" fmla="*/ 215 w 326"/>
                <a:gd name="T55" fmla="*/ 106 h 262"/>
                <a:gd name="T56" fmla="*/ 245 w 326"/>
                <a:gd name="T57" fmla="*/ 78 h 262"/>
                <a:gd name="T58" fmla="*/ 274 w 326"/>
                <a:gd name="T59" fmla="*/ 40 h 262"/>
                <a:gd name="T60" fmla="*/ 283 w 326"/>
                <a:gd name="T61" fmla="*/ 40 h 262"/>
                <a:gd name="T62" fmla="*/ 300 w 326"/>
                <a:gd name="T63" fmla="*/ 35 h 262"/>
                <a:gd name="T64" fmla="*/ 312 w 326"/>
                <a:gd name="T65" fmla="*/ 0 h 262"/>
                <a:gd name="T66" fmla="*/ 321 w 326"/>
                <a:gd name="T67" fmla="*/ 12 h 262"/>
                <a:gd name="T68" fmla="*/ 312 w 326"/>
                <a:gd name="T69" fmla="*/ 35 h 262"/>
                <a:gd name="T70" fmla="*/ 326 w 326"/>
                <a:gd name="T71" fmla="*/ 35 h 262"/>
                <a:gd name="T72" fmla="*/ 326 w 326"/>
                <a:gd name="T73" fmla="*/ 40 h 262"/>
                <a:gd name="T74" fmla="*/ 326 w 326"/>
                <a:gd name="T75" fmla="*/ 90 h 262"/>
                <a:gd name="T76" fmla="*/ 326 w 326"/>
                <a:gd name="T77" fmla="*/ 97 h 262"/>
                <a:gd name="T78" fmla="*/ 326 w 326"/>
                <a:gd name="T79" fmla="*/ 97 h 262"/>
                <a:gd name="T80" fmla="*/ 326 w 326"/>
                <a:gd name="T81" fmla="*/ 97 h 262"/>
                <a:gd name="T82" fmla="*/ 198 w 326"/>
                <a:gd name="T83" fmla="*/ 130 h 262"/>
                <a:gd name="T84" fmla="*/ 193 w 326"/>
                <a:gd name="T85" fmla="*/ 130 h 262"/>
                <a:gd name="T86" fmla="*/ 193 w 326"/>
                <a:gd name="T87" fmla="*/ 123 h 262"/>
                <a:gd name="T88" fmla="*/ 198 w 326"/>
                <a:gd name="T89" fmla="*/ 130 h 262"/>
                <a:gd name="T90" fmla="*/ 198 w 326"/>
                <a:gd name="T91" fmla="*/ 130 h 262"/>
                <a:gd name="T92" fmla="*/ 198 w 326"/>
                <a:gd name="T93" fmla="*/ 130 h 262"/>
                <a:gd name="T94" fmla="*/ 71 w 326"/>
                <a:gd name="T95" fmla="*/ 146 h 262"/>
                <a:gd name="T96" fmla="*/ 71 w 326"/>
                <a:gd name="T97" fmla="*/ 134 h 262"/>
                <a:gd name="T98" fmla="*/ 75 w 326"/>
                <a:gd name="T99" fmla="*/ 134 h 262"/>
                <a:gd name="T100" fmla="*/ 71 w 326"/>
                <a:gd name="T101" fmla="*/ 146 h 262"/>
                <a:gd name="T102" fmla="*/ 71 w 326"/>
                <a:gd name="T103" fmla="*/ 146 h 262"/>
                <a:gd name="T104" fmla="*/ 71 w 326"/>
                <a:gd name="T105" fmla="*/ 146 h 262"/>
                <a:gd name="T106" fmla="*/ 151 w 326"/>
                <a:gd name="T107" fmla="*/ 151 h 262"/>
                <a:gd name="T108" fmla="*/ 144 w 326"/>
                <a:gd name="T109" fmla="*/ 151 h 262"/>
                <a:gd name="T110" fmla="*/ 160 w 326"/>
                <a:gd name="T111" fmla="*/ 146 h 262"/>
                <a:gd name="T112" fmla="*/ 165 w 326"/>
                <a:gd name="T113" fmla="*/ 146 h 262"/>
                <a:gd name="T114" fmla="*/ 151 w 326"/>
                <a:gd name="T115" fmla="*/ 151 h 262"/>
                <a:gd name="T116" fmla="*/ 151 w 326"/>
                <a:gd name="T117" fmla="*/ 151 h 262"/>
                <a:gd name="T118" fmla="*/ 151 w 326"/>
                <a:gd name="T119" fmla="*/ 15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6" h="262">
                  <a:moveTo>
                    <a:pt x="326" y="97"/>
                  </a:moveTo>
                  <a:lnTo>
                    <a:pt x="312" y="106"/>
                  </a:lnTo>
                  <a:lnTo>
                    <a:pt x="304" y="97"/>
                  </a:lnTo>
                  <a:lnTo>
                    <a:pt x="312" y="97"/>
                  </a:lnTo>
                  <a:lnTo>
                    <a:pt x="304" y="90"/>
                  </a:lnTo>
                  <a:lnTo>
                    <a:pt x="288" y="97"/>
                  </a:lnTo>
                  <a:lnTo>
                    <a:pt x="288" y="146"/>
                  </a:lnTo>
                  <a:lnTo>
                    <a:pt x="304" y="146"/>
                  </a:lnTo>
                  <a:lnTo>
                    <a:pt x="304" y="151"/>
                  </a:lnTo>
                  <a:lnTo>
                    <a:pt x="274" y="163"/>
                  </a:lnTo>
                  <a:lnTo>
                    <a:pt x="274" y="179"/>
                  </a:lnTo>
                  <a:lnTo>
                    <a:pt x="252" y="234"/>
                  </a:lnTo>
                  <a:lnTo>
                    <a:pt x="252" y="262"/>
                  </a:lnTo>
                  <a:lnTo>
                    <a:pt x="245" y="262"/>
                  </a:lnTo>
                  <a:lnTo>
                    <a:pt x="71" y="241"/>
                  </a:lnTo>
                  <a:lnTo>
                    <a:pt x="0" y="151"/>
                  </a:lnTo>
                  <a:lnTo>
                    <a:pt x="0" y="146"/>
                  </a:lnTo>
                  <a:lnTo>
                    <a:pt x="7" y="146"/>
                  </a:lnTo>
                  <a:lnTo>
                    <a:pt x="16" y="163"/>
                  </a:lnTo>
                  <a:lnTo>
                    <a:pt x="33" y="167"/>
                  </a:lnTo>
                  <a:lnTo>
                    <a:pt x="54" y="163"/>
                  </a:lnTo>
                  <a:lnTo>
                    <a:pt x="71" y="146"/>
                  </a:lnTo>
                  <a:lnTo>
                    <a:pt x="139" y="163"/>
                  </a:lnTo>
                  <a:lnTo>
                    <a:pt x="177" y="151"/>
                  </a:lnTo>
                  <a:lnTo>
                    <a:pt x="198" y="146"/>
                  </a:lnTo>
                  <a:lnTo>
                    <a:pt x="198" y="130"/>
                  </a:lnTo>
                  <a:lnTo>
                    <a:pt x="203" y="130"/>
                  </a:lnTo>
                  <a:lnTo>
                    <a:pt x="215" y="106"/>
                  </a:lnTo>
                  <a:lnTo>
                    <a:pt x="245" y="78"/>
                  </a:lnTo>
                  <a:lnTo>
                    <a:pt x="274" y="40"/>
                  </a:lnTo>
                  <a:lnTo>
                    <a:pt x="283" y="40"/>
                  </a:lnTo>
                  <a:lnTo>
                    <a:pt x="300" y="35"/>
                  </a:lnTo>
                  <a:lnTo>
                    <a:pt x="312" y="0"/>
                  </a:lnTo>
                  <a:lnTo>
                    <a:pt x="321" y="12"/>
                  </a:lnTo>
                  <a:lnTo>
                    <a:pt x="312" y="35"/>
                  </a:lnTo>
                  <a:lnTo>
                    <a:pt x="326" y="35"/>
                  </a:lnTo>
                  <a:lnTo>
                    <a:pt x="326" y="40"/>
                  </a:lnTo>
                  <a:lnTo>
                    <a:pt x="326" y="90"/>
                  </a:lnTo>
                  <a:lnTo>
                    <a:pt x="326" y="97"/>
                  </a:lnTo>
                  <a:lnTo>
                    <a:pt x="326" y="97"/>
                  </a:lnTo>
                  <a:lnTo>
                    <a:pt x="326" y="97"/>
                  </a:lnTo>
                  <a:close/>
                  <a:moveTo>
                    <a:pt x="198" y="130"/>
                  </a:moveTo>
                  <a:lnTo>
                    <a:pt x="193" y="130"/>
                  </a:lnTo>
                  <a:lnTo>
                    <a:pt x="193" y="123"/>
                  </a:lnTo>
                  <a:lnTo>
                    <a:pt x="198" y="130"/>
                  </a:lnTo>
                  <a:lnTo>
                    <a:pt x="198" y="130"/>
                  </a:lnTo>
                  <a:lnTo>
                    <a:pt x="198" y="130"/>
                  </a:lnTo>
                  <a:close/>
                  <a:moveTo>
                    <a:pt x="71" y="146"/>
                  </a:moveTo>
                  <a:lnTo>
                    <a:pt x="71" y="134"/>
                  </a:lnTo>
                  <a:lnTo>
                    <a:pt x="75" y="134"/>
                  </a:lnTo>
                  <a:lnTo>
                    <a:pt x="71" y="146"/>
                  </a:lnTo>
                  <a:lnTo>
                    <a:pt x="71" y="146"/>
                  </a:lnTo>
                  <a:lnTo>
                    <a:pt x="71" y="146"/>
                  </a:lnTo>
                  <a:close/>
                  <a:moveTo>
                    <a:pt x="151" y="151"/>
                  </a:moveTo>
                  <a:lnTo>
                    <a:pt x="144" y="151"/>
                  </a:lnTo>
                  <a:lnTo>
                    <a:pt x="160" y="146"/>
                  </a:lnTo>
                  <a:lnTo>
                    <a:pt x="165" y="146"/>
                  </a:lnTo>
                  <a:lnTo>
                    <a:pt x="151" y="151"/>
                  </a:lnTo>
                  <a:lnTo>
                    <a:pt x="151" y="151"/>
                  </a:lnTo>
                  <a:lnTo>
                    <a:pt x="151" y="151"/>
                  </a:lnTo>
                  <a:close/>
                </a:path>
              </a:pathLst>
            </a:custGeom>
            <a:pattFill prst="dk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3" name="Freeform 567">
              <a:extLst>
                <a:ext uri="{FF2B5EF4-FFF2-40B4-BE49-F238E27FC236}">
                  <a16:creationId xmlns:a16="http://schemas.microsoft.com/office/drawing/2014/main" id="{8CA25919-A8F9-4C7B-BE9D-CB8007FF964E}"/>
                </a:ext>
              </a:extLst>
            </p:cNvPr>
            <p:cNvSpPr>
              <a:spLocks noEditPoints="1"/>
            </p:cNvSpPr>
            <p:nvPr/>
          </p:nvSpPr>
          <p:spPr bwMode="gray">
            <a:xfrm>
              <a:off x="9152155" y="3862252"/>
              <a:ext cx="287523" cy="537496"/>
            </a:xfrm>
            <a:custGeom>
              <a:avLst/>
              <a:gdLst>
                <a:gd name="T0" fmla="*/ 298 w 581"/>
                <a:gd name="T1" fmla="*/ 1070 h 1086"/>
                <a:gd name="T2" fmla="*/ 267 w 581"/>
                <a:gd name="T3" fmla="*/ 1046 h 1086"/>
                <a:gd name="T4" fmla="*/ 217 w 581"/>
                <a:gd name="T5" fmla="*/ 1025 h 1086"/>
                <a:gd name="T6" fmla="*/ 196 w 581"/>
                <a:gd name="T7" fmla="*/ 1025 h 1086"/>
                <a:gd name="T8" fmla="*/ 147 w 581"/>
                <a:gd name="T9" fmla="*/ 968 h 1086"/>
                <a:gd name="T10" fmla="*/ 121 w 581"/>
                <a:gd name="T11" fmla="*/ 930 h 1086"/>
                <a:gd name="T12" fmla="*/ 92 w 581"/>
                <a:gd name="T13" fmla="*/ 885 h 1086"/>
                <a:gd name="T14" fmla="*/ 66 w 581"/>
                <a:gd name="T15" fmla="*/ 881 h 1086"/>
                <a:gd name="T16" fmla="*/ 104 w 581"/>
                <a:gd name="T17" fmla="*/ 720 h 1086"/>
                <a:gd name="T18" fmla="*/ 147 w 581"/>
                <a:gd name="T19" fmla="*/ 588 h 1086"/>
                <a:gd name="T20" fmla="*/ 137 w 581"/>
                <a:gd name="T21" fmla="*/ 543 h 1086"/>
                <a:gd name="T22" fmla="*/ 71 w 581"/>
                <a:gd name="T23" fmla="*/ 432 h 1086"/>
                <a:gd name="T24" fmla="*/ 88 w 581"/>
                <a:gd name="T25" fmla="*/ 382 h 1086"/>
                <a:gd name="T26" fmla="*/ 109 w 581"/>
                <a:gd name="T27" fmla="*/ 304 h 1086"/>
                <a:gd name="T28" fmla="*/ 33 w 581"/>
                <a:gd name="T29" fmla="*/ 210 h 1086"/>
                <a:gd name="T30" fmla="*/ 12 w 581"/>
                <a:gd name="T31" fmla="*/ 156 h 1086"/>
                <a:gd name="T32" fmla="*/ 33 w 581"/>
                <a:gd name="T33" fmla="*/ 82 h 1086"/>
                <a:gd name="T34" fmla="*/ 66 w 581"/>
                <a:gd name="T35" fmla="*/ 56 h 1086"/>
                <a:gd name="T36" fmla="*/ 147 w 581"/>
                <a:gd name="T37" fmla="*/ 28 h 1086"/>
                <a:gd name="T38" fmla="*/ 191 w 581"/>
                <a:gd name="T39" fmla="*/ 0 h 1086"/>
                <a:gd name="T40" fmla="*/ 217 w 581"/>
                <a:gd name="T41" fmla="*/ 28 h 1086"/>
                <a:gd name="T42" fmla="*/ 243 w 581"/>
                <a:gd name="T43" fmla="*/ 73 h 1086"/>
                <a:gd name="T44" fmla="*/ 281 w 581"/>
                <a:gd name="T45" fmla="*/ 106 h 1086"/>
                <a:gd name="T46" fmla="*/ 272 w 581"/>
                <a:gd name="T47" fmla="*/ 160 h 1086"/>
                <a:gd name="T48" fmla="*/ 298 w 581"/>
                <a:gd name="T49" fmla="*/ 200 h 1086"/>
                <a:gd name="T50" fmla="*/ 359 w 581"/>
                <a:gd name="T51" fmla="*/ 182 h 1086"/>
                <a:gd name="T52" fmla="*/ 406 w 581"/>
                <a:gd name="T53" fmla="*/ 182 h 1086"/>
                <a:gd name="T54" fmla="*/ 428 w 581"/>
                <a:gd name="T55" fmla="*/ 156 h 1086"/>
                <a:gd name="T56" fmla="*/ 527 w 581"/>
                <a:gd name="T57" fmla="*/ 238 h 1086"/>
                <a:gd name="T58" fmla="*/ 569 w 581"/>
                <a:gd name="T59" fmla="*/ 345 h 1086"/>
                <a:gd name="T60" fmla="*/ 581 w 581"/>
                <a:gd name="T61" fmla="*/ 404 h 1086"/>
                <a:gd name="T62" fmla="*/ 543 w 581"/>
                <a:gd name="T63" fmla="*/ 453 h 1086"/>
                <a:gd name="T64" fmla="*/ 414 w 581"/>
                <a:gd name="T65" fmla="*/ 453 h 1086"/>
                <a:gd name="T66" fmla="*/ 373 w 581"/>
                <a:gd name="T67" fmla="*/ 510 h 1086"/>
                <a:gd name="T68" fmla="*/ 364 w 581"/>
                <a:gd name="T69" fmla="*/ 581 h 1086"/>
                <a:gd name="T70" fmla="*/ 373 w 581"/>
                <a:gd name="T71" fmla="*/ 609 h 1086"/>
                <a:gd name="T72" fmla="*/ 359 w 581"/>
                <a:gd name="T73" fmla="*/ 604 h 1086"/>
                <a:gd name="T74" fmla="*/ 310 w 581"/>
                <a:gd name="T75" fmla="*/ 571 h 1086"/>
                <a:gd name="T76" fmla="*/ 251 w 581"/>
                <a:gd name="T77" fmla="*/ 581 h 1086"/>
                <a:gd name="T78" fmla="*/ 191 w 581"/>
                <a:gd name="T79" fmla="*/ 531 h 1086"/>
                <a:gd name="T80" fmla="*/ 163 w 581"/>
                <a:gd name="T81" fmla="*/ 666 h 1086"/>
                <a:gd name="T82" fmla="*/ 142 w 581"/>
                <a:gd name="T83" fmla="*/ 819 h 1086"/>
                <a:gd name="T84" fmla="*/ 191 w 581"/>
                <a:gd name="T85" fmla="*/ 876 h 1086"/>
                <a:gd name="T86" fmla="*/ 201 w 581"/>
                <a:gd name="T87" fmla="*/ 885 h 1086"/>
                <a:gd name="T88" fmla="*/ 213 w 581"/>
                <a:gd name="T89" fmla="*/ 935 h 1086"/>
                <a:gd name="T90" fmla="*/ 217 w 581"/>
                <a:gd name="T91" fmla="*/ 975 h 1086"/>
                <a:gd name="T92" fmla="*/ 281 w 581"/>
                <a:gd name="T93" fmla="*/ 996 h 1086"/>
                <a:gd name="T94" fmla="*/ 336 w 581"/>
                <a:gd name="T95" fmla="*/ 1046 h 1086"/>
                <a:gd name="T96" fmla="*/ 352 w 581"/>
                <a:gd name="T97" fmla="*/ 626 h 1086"/>
                <a:gd name="T98" fmla="*/ 359 w 581"/>
                <a:gd name="T99" fmla="*/ 626 h 1086"/>
                <a:gd name="T100" fmla="*/ 364 w 581"/>
                <a:gd name="T101" fmla="*/ 642 h 1086"/>
                <a:gd name="T102" fmla="*/ 196 w 581"/>
                <a:gd name="T103" fmla="*/ 791 h 1086"/>
                <a:gd name="T104" fmla="*/ 191 w 581"/>
                <a:gd name="T105" fmla="*/ 786 h 1086"/>
                <a:gd name="T106" fmla="*/ 196 w 581"/>
                <a:gd name="T107" fmla="*/ 808 h 1086"/>
                <a:gd name="T108" fmla="*/ 66 w 581"/>
                <a:gd name="T109" fmla="*/ 843 h 1086"/>
                <a:gd name="T110" fmla="*/ 71 w 581"/>
                <a:gd name="T111" fmla="*/ 843 h 1086"/>
                <a:gd name="T112" fmla="*/ 66 w 581"/>
                <a:gd name="T113" fmla="*/ 902 h 1086"/>
                <a:gd name="T114" fmla="*/ 88 w 581"/>
                <a:gd name="T115" fmla="*/ 914 h 1086"/>
                <a:gd name="T116" fmla="*/ 88 w 581"/>
                <a:gd name="T117" fmla="*/ 914 h 1086"/>
                <a:gd name="T118" fmla="*/ 158 w 581"/>
                <a:gd name="T119" fmla="*/ 1025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1" h="1086">
                  <a:moveTo>
                    <a:pt x="336" y="1046"/>
                  </a:moveTo>
                  <a:lnTo>
                    <a:pt x="321" y="1079"/>
                  </a:lnTo>
                  <a:lnTo>
                    <a:pt x="305" y="1079"/>
                  </a:lnTo>
                  <a:lnTo>
                    <a:pt x="298" y="1070"/>
                  </a:lnTo>
                  <a:lnTo>
                    <a:pt x="267" y="1086"/>
                  </a:lnTo>
                  <a:lnTo>
                    <a:pt x="255" y="1079"/>
                  </a:lnTo>
                  <a:lnTo>
                    <a:pt x="267" y="1063"/>
                  </a:lnTo>
                  <a:lnTo>
                    <a:pt x="267" y="1046"/>
                  </a:lnTo>
                  <a:lnTo>
                    <a:pt x="251" y="1046"/>
                  </a:lnTo>
                  <a:lnTo>
                    <a:pt x="243" y="1025"/>
                  </a:lnTo>
                  <a:lnTo>
                    <a:pt x="234" y="1030"/>
                  </a:lnTo>
                  <a:lnTo>
                    <a:pt x="217" y="1025"/>
                  </a:lnTo>
                  <a:lnTo>
                    <a:pt x="213" y="1013"/>
                  </a:lnTo>
                  <a:lnTo>
                    <a:pt x="201" y="1013"/>
                  </a:lnTo>
                  <a:lnTo>
                    <a:pt x="196" y="1030"/>
                  </a:lnTo>
                  <a:lnTo>
                    <a:pt x="196" y="1025"/>
                  </a:lnTo>
                  <a:lnTo>
                    <a:pt x="163" y="996"/>
                  </a:lnTo>
                  <a:lnTo>
                    <a:pt x="175" y="987"/>
                  </a:lnTo>
                  <a:lnTo>
                    <a:pt x="158" y="987"/>
                  </a:lnTo>
                  <a:lnTo>
                    <a:pt x="147" y="968"/>
                  </a:lnTo>
                  <a:lnTo>
                    <a:pt x="137" y="942"/>
                  </a:lnTo>
                  <a:lnTo>
                    <a:pt x="125" y="935"/>
                  </a:lnTo>
                  <a:lnTo>
                    <a:pt x="121" y="935"/>
                  </a:lnTo>
                  <a:lnTo>
                    <a:pt x="121" y="930"/>
                  </a:lnTo>
                  <a:lnTo>
                    <a:pt x="104" y="919"/>
                  </a:lnTo>
                  <a:lnTo>
                    <a:pt x="92" y="897"/>
                  </a:lnTo>
                  <a:lnTo>
                    <a:pt x="92" y="897"/>
                  </a:lnTo>
                  <a:lnTo>
                    <a:pt x="92" y="885"/>
                  </a:lnTo>
                  <a:lnTo>
                    <a:pt x="83" y="897"/>
                  </a:lnTo>
                  <a:lnTo>
                    <a:pt x="83" y="902"/>
                  </a:lnTo>
                  <a:lnTo>
                    <a:pt x="66" y="897"/>
                  </a:lnTo>
                  <a:lnTo>
                    <a:pt x="66" y="881"/>
                  </a:lnTo>
                  <a:lnTo>
                    <a:pt x="71" y="831"/>
                  </a:lnTo>
                  <a:lnTo>
                    <a:pt x="104" y="748"/>
                  </a:lnTo>
                  <a:lnTo>
                    <a:pt x="104" y="737"/>
                  </a:lnTo>
                  <a:lnTo>
                    <a:pt x="104" y="720"/>
                  </a:lnTo>
                  <a:lnTo>
                    <a:pt x="137" y="699"/>
                  </a:lnTo>
                  <a:lnTo>
                    <a:pt x="163" y="642"/>
                  </a:lnTo>
                  <a:lnTo>
                    <a:pt x="147" y="604"/>
                  </a:lnTo>
                  <a:lnTo>
                    <a:pt x="147" y="588"/>
                  </a:lnTo>
                  <a:lnTo>
                    <a:pt x="137" y="571"/>
                  </a:lnTo>
                  <a:lnTo>
                    <a:pt x="125" y="548"/>
                  </a:lnTo>
                  <a:lnTo>
                    <a:pt x="125" y="543"/>
                  </a:lnTo>
                  <a:lnTo>
                    <a:pt x="137" y="543"/>
                  </a:lnTo>
                  <a:lnTo>
                    <a:pt x="137" y="498"/>
                  </a:lnTo>
                  <a:lnTo>
                    <a:pt x="121" y="477"/>
                  </a:lnTo>
                  <a:lnTo>
                    <a:pt x="92" y="460"/>
                  </a:lnTo>
                  <a:lnTo>
                    <a:pt x="71" y="432"/>
                  </a:lnTo>
                  <a:lnTo>
                    <a:pt x="66" y="404"/>
                  </a:lnTo>
                  <a:lnTo>
                    <a:pt x="66" y="387"/>
                  </a:lnTo>
                  <a:lnTo>
                    <a:pt x="83" y="382"/>
                  </a:lnTo>
                  <a:lnTo>
                    <a:pt x="88" y="382"/>
                  </a:lnTo>
                  <a:lnTo>
                    <a:pt x="92" y="333"/>
                  </a:lnTo>
                  <a:lnTo>
                    <a:pt x="109" y="326"/>
                  </a:lnTo>
                  <a:lnTo>
                    <a:pt x="109" y="304"/>
                  </a:lnTo>
                  <a:lnTo>
                    <a:pt x="109" y="304"/>
                  </a:lnTo>
                  <a:lnTo>
                    <a:pt x="92" y="309"/>
                  </a:lnTo>
                  <a:lnTo>
                    <a:pt x="83" y="276"/>
                  </a:lnTo>
                  <a:lnTo>
                    <a:pt x="88" y="267"/>
                  </a:lnTo>
                  <a:lnTo>
                    <a:pt x="33" y="210"/>
                  </a:lnTo>
                  <a:lnTo>
                    <a:pt x="29" y="165"/>
                  </a:lnTo>
                  <a:lnTo>
                    <a:pt x="12" y="165"/>
                  </a:lnTo>
                  <a:lnTo>
                    <a:pt x="0" y="144"/>
                  </a:lnTo>
                  <a:lnTo>
                    <a:pt x="12" y="156"/>
                  </a:lnTo>
                  <a:lnTo>
                    <a:pt x="33" y="144"/>
                  </a:lnTo>
                  <a:lnTo>
                    <a:pt x="29" y="111"/>
                  </a:lnTo>
                  <a:lnTo>
                    <a:pt x="33" y="106"/>
                  </a:lnTo>
                  <a:lnTo>
                    <a:pt x="33" y="82"/>
                  </a:lnTo>
                  <a:lnTo>
                    <a:pt x="38" y="66"/>
                  </a:lnTo>
                  <a:lnTo>
                    <a:pt x="50" y="66"/>
                  </a:lnTo>
                  <a:lnTo>
                    <a:pt x="50" y="49"/>
                  </a:lnTo>
                  <a:lnTo>
                    <a:pt x="66" y="56"/>
                  </a:lnTo>
                  <a:lnTo>
                    <a:pt x="109" y="49"/>
                  </a:lnTo>
                  <a:lnTo>
                    <a:pt x="121" y="49"/>
                  </a:lnTo>
                  <a:lnTo>
                    <a:pt x="125" y="33"/>
                  </a:lnTo>
                  <a:lnTo>
                    <a:pt x="147" y="28"/>
                  </a:lnTo>
                  <a:lnTo>
                    <a:pt x="158" y="28"/>
                  </a:lnTo>
                  <a:lnTo>
                    <a:pt x="158" y="11"/>
                  </a:lnTo>
                  <a:lnTo>
                    <a:pt x="175" y="11"/>
                  </a:lnTo>
                  <a:lnTo>
                    <a:pt x="191" y="0"/>
                  </a:lnTo>
                  <a:lnTo>
                    <a:pt x="196" y="11"/>
                  </a:lnTo>
                  <a:lnTo>
                    <a:pt x="201" y="16"/>
                  </a:lnTo>
                  <a:lnTo>
                    <a:pt x="213" y="11"/>
                  </a:lnTo>
                  <a:lnTo>
                    <a:pt x="217" y="28"/>
                  </a:lnTo>
                  <a:lnTo>
                    <a:pt x="229" y="28"/>
                  </a:lnTo>
                  <a:lnTo>
                    <a:pt x="217" y="56"/>
                  </a:lnTo>
                  <a:lnTo>
                    <a:pt x="229" y="73"/>
                  </a:lnTo>
                  <a:lnTo>
                    <a:pt x="243" y="73"/>
                  </a:lnTo>
                  <a:lnTo>
                    <a:pt x="251" y="66"/>
                  </a:lnTo>
                  <a:lnTo>
                    <a:pt x="281" y="73"/>
                  </a:lnTo>
                  <a:lnTo>
                    <a:pt x="272" y="82"/>
                  </a:lnTo>
                  <a:lnTo>
                    <a:pt x="281" y="106"/>
                  </a:lnTo>
                  <a:lnTo>
                    <a:pt x="272" y="123"/>
                  </a:lnTo>
                  <a:lnTo>
                    <a:pt x="281" y="139"/>
                  </a:lnTo>
                  <a:lnTo>
                    <a:pt x="267" y="156"/>
                  </a:lnTo>
                  <a:lnTo>
                    <a:pt x="272" y="160"/>
                  </a:lnTo>
                  <a:lnTo>
                    <a:pt x="272" y="177"/>
                  </a:lnTo>
                  <a:lnTo>
                    <a:pt x="255" y="217"/>
                  </a:lnTo>
                  <a:lnTo>
                    <a:pt x="272" y="222"/>
                  </a:lnTo>
                  <a:lnTo>
                    <a:pt x="298" y="200"/>
                  </a:lnTo>
                  <a:lnTo>
                    <a:pt x="310" y="182"/>
                  </a:lnTo>
                  <a:lnTo>
                    <a:pt x="321" y="182"/>
                  </a:lnTo>
                  <a:lnTo>
                    <a:pt x="336" y="165"/>
                  </a:lnTo>
                  <a:lnTo>
                    <a:pt x="359" y="182"/>
                  </a:lnTo>
                  <a:lnTo>
                    <a:pt x="373" y="193"/>
                  </a:lnTo>
                  <a:lnTo>
                    <a:pt x="373" y="200"/>
                  </a:lnTo>
                  <a:lnTo>
                    <a:pt x="390" y="182"/>
                  </a:lnTo>
                  <a:lnTo>
                    <a:pt x="406" y="182"/>
                  </a:lnTo>
                  <a:lnTo>
                    <a:pt x="406" y="177"/>
                  </a:lnTo>
                  <a:lnTo>
                    <a:pt x="418" y="165"/>
                  </a:lnTo>
                  <a:lnTo>
                    <a:pt x="418" y="160"/>
                  </a:lnTo>
                  <a:lnTo>
                    <a:pt x="428" y="156"/>
                  </a:lnTo>
                  <a:lnTo>
                    <a:pt x="466" y="160"/>
                  </a:lnTo>
                  <a:lnTo>
                    <a:pt x="489" y="200"/>
                  </a:lnTo>
                  <a:lnTo>
                    <a:pt x="520" y="222"/>
                  </a:lnTo>
                  <a:lnTo>
                    <a:pt x="527" y="238"/>
                  </a:lnTo>
                  <a:lnTo>
                    <a:pt x="520" y="293"/>
                  </a:lnTo>
                  <a:lnTo>
                    <a:pt x="543" y="326"/>
                  </a:lnTo>
                  <a:lnTo>
                    <a:pt x="569" y="333"/>
                  </a:lnTo>
                  <a:lnTo>
                    <a:pt x="569" y="345"/>
                  </a:lnTo>
                  <a:lnTo>
                    <a:pt x="569" y="349"/>
                  </a:lnTo>
                  <a:lnTo>
                    <a:pt x="581" y="361"/>
                  </a:lnTo>
                  <a:lnTo>
                    <a:pt x="574" y="399"/>
                  </a:lnTo>
                  <a:lnTo>
                    <a:pt x="581" y="404"/>
                  </a:lnTo>
                  <a:lnTo>
                    <a:pt x="574" y="437"/>
                  </a:lnTo>
                  <a:lnTo>
                    <a:pt x="553" y="453"/>
                  </a:lnTo>
                  <a:lnTo>
                    <a:pt x="543" y="470"/>
                  </a:lnTo>
                  <a:lnTo>
                    <a:pt x="543" y="453"/>
                  </a:lnTo>
                  <a:lnTo>
                    <a:pt x="527" y="444"/>
                  </a:lnTo>
                  <a:lnTo>
                    <a:pt x="466" y="453"/>
                  </a:lnTo>
                  <a:lnTo>
                    <a:pt x="444" y="444"/>
                  </a:lnTo>
                  <a:lnTo>
                    <a:pt x="414" y="453"/>
                  </a:lnTo>
                  <a:lnTo>
                    <a:pt x="397" y="470"/>
                  </a:lnTo>
                  <a:lnTo>
                    <a:pt x="380" y="498"/>
                  </a:lnTo>
                  <a:lnTo>
                    <a:pt x="364" y="498"/>
                  </a:lnTo>
                  <a:lnTo>
                    <a:pt x="373" y="510"/>
                  </a:lnTo>
                  <a:lnTo>
                    <a:pt x="359" y="510"/>
                  </a:lnTo>
                  <a:lnTo>
                    <a:pt x="352" y="531"/>
                  </a:lnTo>
                  <a:lnTo>
                    <a:pt x="364" y="555"/>
                  </a:lnTo>
                  <a:lnTo>
                    <a:pt x="364" y="581"/>
                  </a:lnTo>
                  <a:lnTo>
                    <a:pt x="380" y="597"/>
                  </a:lnTo>
                  <a:lnTo>
                    <a:pt x="380" y="621"/>
                  </a:lnTo>
                  <a:lnTo>
                    <a:pt x="397" y="654"/>
                  </a:lnTo>
                  <a:lnTo>
                    <a:pt x="373" y="609"/>
                  </a:lnTo>
                  <a:lnTo>
                    <a:pt x="364" y="609"/>
                  </a:lnTo>
                  <a:lnTo>
                    <a:pt x="364" y="621"/>
                  </a:lnTo>
                  <a:lnTo>
                    <a:pt x="352" y="609"/>
                  </a:lnTo>
                  <a:lnTo>
                    <a:pt x="359" y="604"/>
                  </a:lnTo>
                  <a:lnTo>
                    <a:pt x="343" y="604"/>
                  </a:lnTo>
                  <a:lnTo>
                    <a:pt x="336" y="588"/>
                  </a:lnTo>
                  <a:lnTo>
                    <a:pt x="326" y="588"/>
                  </a:lnTo>
                  <a:lnTo>
                    <a:pt x="310" y="571"/>
                  </a:lnTo>
                  <a:lnTo>
                    <a:pt x="288" y="581"/>
                  </a:lnTo>
                  <a:lnTo>
                    <a:pt x="267" y="581"/>
                  </a:lnTo>
                  <a:lnTo>
                    <a:pt x="255" y="588"/>
                  </a:lnTo>
                  <a:lnTo>
                    <a:pt x="251" y="581"/>
                  </a:lnTo>
                  <a:lnTo>
                    <a:pt x="255" y="515"/>
                  </a:lnTo>
                  <a:lnTo>
                    <a:pt x="229" y="515"/>
                  </a:lnTo>
                  <a:lnTo>
                    <a:pt x="196" y="526"/>
                  </a:lnTo>
                  <a:lnTo>
                    <a:pt x="191" y="531"/>
                  </a:lnTo>
                  <a:lnTo>
                    <a:pt x="196" y="548"/>
                  </a:lnTo>
                  <a:lnTo>
                    <a:pt x="191" y="581"/>
                  </a:lnTo>
                  <a:lnTo>
                    <a:pt x="191" y="609"/>
                  </a:lnTo>
                  <a:lnTo>
                    <a:pt x="163" y="666"/>
                  </a:lnTo>
                  <a:lnTo>
                    <a:pt x="158" y="708"/>
                  </a:lnTo>
                  <a:lnTo>
                    <a:pt x="125" y="748"/>
                  </a:lnTo>
                  <a:lnTo>
                    <a:pt x="125" y="791"/>
                  </a:lnTo>
                  <a:lnTo>
                    <a:pt x="142" y="819"/>
                  </a:lnTo>
                  <a:lnTo>
                    <a:pt x="137" y="826"/>
                  </a:lnTo>
                  <a:lnTo>
                    <a:pt x="147" y="831"/>
                  </a:lnTo>
                  <a:lnTo>
                    <a:pt x="180" y="826"/>
                  </a:lnTo>
                  <a:lnTo>
                    <a:pt x="191" y="876"/>
                  </a:lnTo>
                  <a:lnTo>
                    <a:pt x="196" y="885"/>
                  </a:lnTo>
                  <a:lnTo>
                    <a:pt x="201" y="885"/>
                  </a:lnTo>
                  <a:lnTo>
                    <a:pt x="196" y="881"/>
                  </a:lnTo>
                  <a:lnTo>
                    <a:pt x="201" y="885"/>
                  </a:lnTo>
                  <a:lnTo>
                    <a:pt x="217" y="959"/>
                  </a:lnTo>
                  <a:lnTo>
                    <a:pt x="229" y="975"/>
                  </a:lnTo>
                  <a:lnTo>
                    <a:pt x="217" y="968"/>
                  </a:lnTo>
                  <a:lnTo>
                    <a:pt x="213" y="935"/>
                  </a:lnTo>
                  <a:lnTo>
                    <a:pt x="201" y="935"/>
                  </a:lnTo>
                  <a:lnTo>
                    <a:pt x="196" y="935"/>
                  </a:lnTo>
                  <a:lnTo>
                    <a:pt x="201" y="952"/>
                  </a:lnTo>
                  <a:lnTo>
                    <a:pt x="217" y="975"/>
                  </a:lnTo>
                  <a:lnTo>
                    <a:pt x="234" y="975"/>
                  </a:lnTo>
                  <a:lnTo>
                    <a:pt x="243" y="992"/>
                  </a:lnTo>
                  <a:lnTo>
                    <a:pt x="255" y="996"/>
                  </a:lnTo>
                  <a:lnTo>
                    <a:pt x="281" y="996"/>
                  </a:lnTo>
                  <a:lnTo>
                    <a:pt x="281" y="992"/>
                  </a:lnTo>
                  <a:lnTo>
                    <a:pt x="298" y="996"/>
                  </a:lnTo>
                  <a:lnTo>
                    <a:pt x="310" y="1030"/>
                  </a:lnTo>
                  <a:lnTo>
                    <a:pt x="336" y="1046"/>
                  </a:lnTo>
                  <a:lnTo>
                    <a:pt x="336" y="1046"/>
                  </a:lnTo>
                  <a:lnTo>
                    <a:pt x="336" y="1046"/>
                  </a:lnTo>
                  <a:close/>
                  <a:moveTo>
                    <a:pt x="359" y="626"/>
                  </a:moveTo>
                  <a:lnTo>
                    <a:pt x="352" y="626"/>
                  </a:lnTo>
                  <a:lnTo>
                    <a:pt x="352" y="621"/>
                  </a:lnTo>
                  <a:lnTo>
                    <a:pt x="359" y="626"/>
                  </a:lnTo>
                  <a:lnTo>
                    <a:pt x="359" y="626"/>
                  </a:lnTo>
                  <a:lnTo>
                    <a:pt x="359" y="626"/>
                  </a:lnTo>
                  <a:close/>
                  <a:moveTo>
                    <a:pt x="364" y="642"/>
                  </a:moveTo>
                  <a:lnTo>
                    <a:pt x="373" y="659"/>
                  </a:lnTo>
                  <a:lnTo>
                    <a:pt x="364" y="659"/>
                  </a:lnTo>
                  <a:lnTo>
                    <a:pt x="364" y="642"/>
                  </a:lnTo>
                  <a:lnTo>
                    <a:pt x="364" y="642"/>
                  </a:lnTo>
                  <a:lnTo>
                    <a:pt x="364" y="642"/>
                  </a:lnTo>
                  <a:close/>
                  <a:moveTo>
                    <a:pt x="191" y="786"/>
                  </a:moveTo>
                  <a:lnTo>
                    <a:pt x="196" y="791"/>
                  </a:lnTo>
                  <a:lnTo>
                    <a:pt x="191" y="791"/>
                  </a:lnTo>
                  <a:lnTo>
                    <a:pt x="191" y="786"/>
                  </a:lnTo>
                  <a:lnTo>
                    <a:pt x="191" y="786"/>
                  </a:lnTo>
                  <a:lnTo>
                    <a:pt x="191" y="786"/>
                  </a:lnTo>
                  <a:close/>
                  <a:moveTo>
                    <a:pt x="196" y="808"/>
                  </a:moveTo>
                  <a:lnTo>
                    <a:pt x="191" y="819"/>
                  </a:lnTo>
                  <a:lnTo>
                    <a:pt x="191" y="808"/>
                  </a:lnTo>
                  <a:lnTo>
                    <a:pt x="196" y="808"/>
                  </a:lnTo>
                  <a:lnTo>
                    <a:pt x="196" y="808"/>
                  </a:lnTo>
                  <a:lnTo>
                    <a:pt x="196" y="808"/>
                  </a:lnTo>
                  <a:close/>
                  <a:moveTo>
                    <a:pt x="71" y="843"/>
                  </a:moveTo>
                  <a:lnTo>
                    <a:pt x="66" y="843"/>
                  </a:lnTo>
                  <a:lnTo>
                    <a:pt x="66" y="831"/>
                  </a:lnTo>
                  <a:lnTo>
                    <a:pt x="71" y="843"/>
                  </a:lnTo>
                  <a:lnTo>
                    <a:pt x="71" y="843"/>
                  </a:lnTo>
                  <a:lnTo>
                    <a:pt x="71" y="843"/>
                  </a:lnTo>
                  <a:close/>
                  <a:moveTo>
                    <a:pt x="71" y="902"/>
                  </a:moveTo>
                  <a:lnTo>
                    <a:pt x="83" y="930"/>
                  </a:lnTo>
                  <a:lnTo>
                    <a:pt x="71" y="935"/>
                  </a:lnTo>
                  <a:lnTo>
                    <a:pt x="66" y="902"/>
                  </a:lnTo>
                  <a:lnTo>
                    <a:pt x="71" y="902"/>
                  </a:lnTo>
                  <a:lnTo>
                    <a:pt x="71" y="902"/>
                  </a:lnTo>
                  <a:lnTo>
                    <a:pt x="71" y="902"/>
                  </a:lnTo>
                  <a:close/>
                  <a:moveTo>
                    <a:pt x="88" y="914"/>
                  </a:moveTo>
                  <a:lnTo>
                    <a:pt x="88" y="914"/>
                  </a:lnTo>
                  <a:lnTo>
                    <a:pt x="88" y="930"/>
                  </a:lnTo>
                  <a:lnTo>
                    <a:pt x="88" y="914"/>
                  </a:lnTo>
                  <a:lnTo>
                    <a:pt x="88" y="914"/>
                  </a:lnTo>
                  <a:lnTo>
                    <a:pt x="88" y="914"/>
                  </a:lnTo>
                  <a:close/>
                  <a:moveTo>
                    <a:pt x="163" y="1013"/>
                  </a:moveTo>
                  <a:lnTo>
                    <a:pt x="163" y="1030"/>
                  </a:lnTo>
                  <a:lnTo>
                    <a:pt x="158" y="1025"/>
                  </a:lnTo>
                  <a:lnTo>
                    <a:pt x="163" y="1013"/>
                  </a:lnTo>
                  <a:lnTo>
                    <a:pt x="163" y="1013"/>
                  </a:lnTo>
                  <a:lnTo>
                    <a:pt x="163" y="1013"/>
                  </a:lnTo>
                  <a:close/>
                </a:path>
              </a:pathLst>
            </a:custGeom>
            <a:pattFill prst="dk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4" name="Freeform 568">
              <a:extLst>
                <a:ext uri="{FF2B5EF4-FFF2-40B4-BE49-F238E27FC236}">
                  <a16:creationId xmlns:a16="http://schemas.microsoft.com/office/drawing/2014/main" id="{92082C64-5F0F-4C90-AC45-52CA43BE15C6}"/>
                </a:ext>
              </a:extLst>
            </p:cNvPr>
            <p:cNvSpPr>
              <a:spLocks/>
            </p:cNvSpPr>
            <p:nvPr/>
          </p:nvSpPr>
          <p:spPr bwMode="gray">
            <a:xfrm>
              <a:off x="8109449" y="3053038"/>
              <a:ext cx="276142" cy="182631"/>
            </a:xfrm>
            <a:custGeom>
              <a:avLst/>
              <a:gdLst>
                <a:gd name="T0" fmla="*/ 520 w 558"/>
                <a:gd name="T1" fmla="*/ 302 h 369"/>
                <a:gd name="T2" fmla="*/ 451 w 558"/>
                <a:gd name="T3" fmla="*/ 319 h 369"/>
                <a:gd name="T4" fmla="*/ 461 w 558"/>
                <a:gd name="T5" fmla="*/ 314 h 369"/>
                <a:gd name="T6" fmla="*/ 418 w 558"/>
                <a:gd name="T7" fmla="*/ 298 h 369"/>
                <a:gd name="T8" fmla="*/ 380 w 558"/>
                <a:gd name="T9" fmla="*/ 335 h 369"/>
                <a:gd name="T10" fmla="*/ 321 w 558"/>
                <a:gd name="T11" fmla="*/ 359 h 369"/>
                <a:gd name="T12" fmla="*/ 305 w 558"/>
                <a:gd name="T13" fmla="*/ 359 h 369"/>
                <a:gd name="T14" fmla="*/ 305 w 558"/>
                <a:gd name="T15" fmla="*/ 265 h 369"/>
                <a:gd name="T16" fmla="*/ 288 w 558"/>
                <a:gd name="T17" fmla="*/ 232 h 369"/>
                <a:gd name="T18" fmla="*/ 246 w 558"/>
                <a:gd name="T19" fmla="*/ 220 h 369"/>
                <a:gd name="T20" fmla="*/ 213 w 558"/>
                <a:gd name="T21" fmla="*/ 281 h 369"/>
                <a:gd name="T22" fmla="*/ 180 w 558"/>
                <a:gd name="T23" fmla="*/ 286 h 369"/>
                <a:gd name="T24" fmla="*/ 147 w 558"/>
                <a:gd name="T25" fmla="*/ 302 h 369"/>
                <a:gd name="T26" fmla="*/ 142 w 558"/>
                <a:gd name="T27" fmla="*/ 331 h 369"/>
                <a:gd name="T28" fmla="*/ 54 w 558"/>
                <a:gd name="T29" fmla="*/ 343 h 369"/>
                <a:gd name="T30" fmla="*/ 33 w 558"/>
                <a:gd name="T31" fmla="*/ 319 h 369"/>
                <a:gd name="T32" fmla="*/ 66 w 558"/>
                <a:gd name="T33" fmla="*/ 260 h 369"/>
                <a:gd name="T34" fmla="*/ 83 w 558"/>
                <a:gd name="T35" fmla="*/ 243 h 369"/>
                <a:gd name="T36" fmla="*/ 54 w 558"/>
                <a:gd name="T37" fmla="*/ 187 h 369"/>
                <a:gd name="T38" fmla="*/ 54 w 558"/>
                <a:gd name="T39" fmla="*/ 170 h 369"/>
                <a:gd name="T40" fmla="*/ 28 w 558"/>
                <a:gd name="T41" fmla="*/ 165 h 369"/>
                <a:gd name="T42" fmla="*/ 0 w 558"/>
                <a:gd name="T43" fmla="*/ 149 h 369"/>
                <a:gd name="T44" fmla="*/ 33 w 558"/>
                <a:gd name="T45" fmla="*/ 116 h 369"/>
                <a:gd name="T46" fmla="*/ 92 w 558"/>
                <a:gd name="T47" fmla="*/ 99 h 369"/>
                <a:gd name="T48" fmla="*/ 104 w 558"/>
                <a:gd name="T49" fmla="*/ 83 h 369"/>
                <a:gd name="T50" fmla="*/ 92 w 558"/>
                <a:gd name="T51" fmla="*/ 78 h 369"/>
                <a:gd name="T52" fmla="*/ 142 w 558"/>
                <a:gd name="T53" fmla="*/ 45 h 369"/>
                <a:gd name="T54" fmla="*/ 147 w 558"/>
                <a:gd name="T55" fmla="*/ 21 h 369"/>
                <a:gd name="T56" fmla="*/ 213 w 558"/>
                <a:gd name="T57" fmla="*/ 12 h 369"/>
                <a:gd name="T58" fmla="*/ 250 w 558"/>
                <a:gd name="T59" fmla="*/ 28 h 369"/>
                <a:gd name="T60" fmla="*/ 217 w 558"/>
                <a:gd name="T61" fmla="*/ 54 h 369"/>
                <a:gd name="T62" fmla="*/ 255 w 558"/>
                <a:gd name="T63" fmla="*/ 66 h 369"/>
                <a:gd name="T64" fmla="*/ 234 w 558"/>
                <a:gd name="T65" fmla="*/ 78 h 369"/>
                <a:gd name="T66" fmla="*/ 229 w 558"/>
                <a:gd name="T67" fmla="*/ 95 h 369"/>
                <a:gd name="T68" fmla="*/ 196 w 558"/>
                <a:gd name="T69" fmla="*/ 66 h 369"/>
                <a:gd name="T70" fmla="*/ 158 w 558"/>
                <a:gd name="T71" fmla="*/ 95 h 369"/>
                <a:gd name="T72" fmla="*/ 142 w 558"/>
                <a:gd name="T73" fmla="*/ 83 h 369"/>
                <a:gd name="T74" fmla="*/ 142 w 558"/>
                <a:gd name="T75" fmla="*/ 121 h 369"/>
                <a:gd name="T76" fmla="*/ 234 w 558"/>
                <a:gd name="T77" fmla="*/ 121 h 369"/>
                <a:gd name="T78" fmla="*/ 255 w 558"/>
                <a:gd name="T79" fmla="*/ 137 h 369"/>
                <a:gd name="T80" fmla="*/ 298 w 558"/>
                <a:gd name="T81" fmla="*/ 121 h 369"/>
                <a:gd name="T82" fmla="*/ 310 w 558"/>
                <a:gd name="T83" fmla="*/ 132 h 369"/>
                <a:gd name="T84" fmla="*/ 336 w 558"/>
                <a:gd name="T85" fmla="*/ 137 h 369"/>
                <a:gd name="T86" fmla="*/ 359 w 558"/>
                <a:gd name="T87" fmla="*/ 137 h 369"/>
                <a:gd name="T88" fmla="*/ 451 w 558"/>
                <a:gd name="T89" fmla="*/ 132 h 369"/>
                <a:gd name="T90" fmla="*/ 461 w 558"/>
                <a:gd name="T91" fmla="*/ 170 h 369"/>
                <a:gd name="T92" fmla="*/ 461 w 558"/>
                <a:gd name="T93" fmla="*/ 203 h 369"/>
                <a:gd name="T94" fmla="*/ 482 w 558"/>
                <a:gd name="T95" fmla="*/ 203 h 369"/>
                <a:gd name="T96" fmla="*/ 536 w 558"/>
                <a:gd name="T97" fmla="*/ 220 h 369"/>
                <a:gd name="T98" fmla="*/ 543 w 558"/>
                <a:gd name="T99" fmla="*/ 276 h 369"/>
                <a:gd name="T100" fmla="*/ 558 w 558"/>
                <a:gd name="T101" fmla="*/ 302 h 369"/>
                <a:gd name="T102" fmla="*/ 536 w 558"/>
                <a:gd name="T103" fmla="*/ 31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58" h="369">
                  <a:moveTo>
                    <a:pt x="536" y="319"/>
                  </a:moveTo>
                  <a:lnTo>
                    <a:pt x="520" y="302"/>
                  </a:lnTo>
                  <a:lnTo>
                    <a:pt x="489" y="302"/>
                  </a:lnTo>
                  <a:lnTo>
                    <a:pt x="451" y="319"/>
                  </a:lnTo>
                  <a:lnTo>
                    <a:pt x="444" y="314"/>
                  </a:lnTo>
                  <a:lnTo>
                    <a:pt x="461" y="314"/>
                  </a:lnTo>
                  <a:lnTo>
                    <a:pt x="461" y="302"/>
                  </a:lnTo>
                  <a:lnTo>
                    <a:pt x="418" y="298"/>
                  </a:lnTo>
                  <a:lnTo>
                    <a:pt x="390" y="319"/>
                  </a:lnTo>
                  <a:lnTo>
                    <a:pt x="380" y="335"/>
                  </a:lnTo>
                  <a:lnTo>
                    <a:pt x="352" y="335"/>
                  </a:lnTo>
                  <a:lnTo>
                    <a:pt x="321" y="359"/>
                  </a:lnTo>
                  <a:lnTo>
                    <a:pt x="310" y="369"/>
                  </a:lnTo>
                  <a:lnTo>
                    <a:pt x="305" y="359"/>
                  </a:lnTo>
                  <a:lnTo>
                    <a:pt x="288" y="331"/>
                  </a:lnTo>
                  <a:lnTo>
                    <a:pt x="305" y="265"/>
                  </a:lnTo>
                  <a:lnTo>
                    <a:pt x="284" y="265"/>
                  </a:lnTo>
                  <a:lnTo>
                    <a:pt x="288" y="232"/>
                  </a:lnTo>
                  <a:lnTo>
                    <a:pt x="255" y="220"/>
                  </a:lnTo>
                  <a:lnTo>
                    <a:pt x="246" y="220"/>
                  </a:lnTo>
                  <a:lnTo>
                    <a:pt x="201" y="260"/>
                  </a:lnTo>
                  <a:lnTo>
                    <a:pt x="213" y="281"/>
                  </a:lnTo>
                  <a:lnTo>
                    <a:pt x="201" y="298"/>
                  </a:lnTo>
                  <a:lnTo>
                    <a:pt x="180" y="286"/>
                  </a:lnTo>
                  <a:lnTo>
                    <a:pt x="158" y="286"/>
                  </a:lnTo>
                  <a:lnTo>
                    <a:pt x="147" y="302"/>
                  </a:lnTo>
                  <a:lnTo>
                    <a:pt x="147" y="319"/>
                  </a:lnTo>
                  <a:lnTo>
                    <a:pt x="142" y="331"/>
                  </a:lnTo>
                  <a:lnTo>
                    <a:pt x="109" y="314"/>
                  </a:lnTo>
                  <a:lnTo>
                    <a:pt x="54" y="343"/>
                  </a:lnTo>
                  <a:lnTo>
                    <a:pt x="33" y="331"/>
                  </a:lnTo>
                  <a:lnTo>
                    <a:pt x="33" y="319"/>
                  </a:lnTo>
                  <a:lnTo>
                    <a:pt x="38" y="298"/>
                  </a:lnTo>
                  <a:lnTo>
                    <a:pt x="66" y="260"/>
                  </a:lnTo>
                  <a:lnTo>
                    <a:pt x="71" y="260"/>
                  </a:lnTo>
                  <a:lnTo>
                    <a:pt x="83" y="243"/>
                  </a:lnTo>
                  <a:lnTo>
                    <a:pt x="54" y="210"/>
                  </a:lnTo>
                  <a:lnTo>
                    <a:pt x="54" y="187"/>
                  </a:lnTo>
                  <a:lnTo>
                    <a:pt x="66" y="187"/>
                  </a:lnTo>
                  <a:lnTo>
                    <a:pt x="54" y="170"/>
                  </a:lnTo>
                  <a:lnTo>
                    <a:pt x="33" y="170"/>
                  </a:lnTo>
                  <a:lnTo>
                    <a:pt x="28" y="165"/>
                  </a:lnTo>
                  <a:lnTo>
                    <a:pt x="12" y="154"/>
                  </a:lnTo>
                  <a:lnTo>
                    <a:pt x="0" y="149"/>
                  </a:lnTo>
                  <a:lnTo>
                    <a:pt x="12" y="132"/>
                  </a:lnTo>
                  <a:lnTo>
                    <a:pt x="33" y="116"/>
                  </a:lnTo>
                  <a:lnTo>
                    <a:pt x="88" y="121"/>
                  </a:lnTo>
                  <a:lnTo>
                    <a:pt x="92" y="99"/>
                  </a:lnTo>
                  <a:lnTo>
                    <a:pt x="109" y="99"/>
                  </a:lnTo>
                  <a:lnTo>
                    <a:pt x="104" y="83"/>
                  </a:lnTo>
                  <a:lnTo>
                    <a:pt x="121" y="78"/>
                  </a:lnTo>
                  <a:lnTo>
                    <a:pt x="92" y="78"/>
                  </a:lnTo>
                  <a:lnTo>
                    <a:pt x="142" y="66"/>
                  </a:lnTo>
                  <a:lnTo>
                    <a:pt x="142" y="45"/>
                  </a:lnTo>
                  <a:lnTo>
                    <a:pt x="147" y="21"/>
                  </a:lnTo>
                  <a:lnTo>
                    <a:pt x="147" y="21"/>
                  </a:lnTo>
                  <a:lnTo>
                    <a:pt x="175" y="38"/>
                  </a:lnTo>
                  <a:lnTo>
                    <a:pt x="213" y="12"/>
                  </a:lnTo>
                  <a:lnTo>
                    <a:pt x="217" y="0"/>
                  </a:lnTo>
                  <a:lnTo>
                    <a:pt x="250" y="28"/>
                  </a:lnTo>
                  <a:lnTo>
                    <a:pt x="217" y="54"/>
                  </a:lnTo>
                  <a:lnTo>
                    <a:pt x="217" y="54"/>
                  </a:lnTo>
                  <a:lnTo>
                    <a:pt x="234" y="66"/>
                  </a:lnTo>
                  <a:lnTo>
                    <a:pt x="255" y="66"/>
                  </a:lnTo>
                  <a:lnTo>
                    <a:pt x="255" y="78"/>
                  </a:lnTo>
                  <a:lnTo>
                    <a:pt x="234" y="78"/>
                  </a:lnTo>
                  <a:lnTo>
                    <a:pt x="234" y="95"/>
                  </a:lnTo>
                  <a:lnTo>
                    <a:pt x="229" y="95"/>
                  </a:lnTo>
                  <a:lnTo>
                    <a:pt x="229" y="83"/>
                  </a:lnTo>
                  <a:lnTo>
                    <a:pt x="196" y="66"/>
                  </a:lnTo>
                  <a:lnTo>
                    <a:pt x="158" y="78"/>
                  </a:lnTo>
                  <a:lnTo>
                    <a:pt x="158" y="95"/>
                  </a:lnTo>
                  <a:lnTo>
                    <a:pt x="147" y="95"/>
                  </a:lnTo>
                  <a:lnTo>
                    <a:pt x="142" y="83"/>
                  </a:lnTo>
                  <a:lnTo>
                    <a:pt x="142" y="99"/>
                  </a:lnTo>
                  <a:lnTo>
                    <a:pt x="142" y="121"/>
                  </a:lnTo>
                  <a:lnTo>
                    <a:pt x="229" y="121"/>
                  </a:lnTo>
                  <a:lnTo>
                    <a:pt x="234" y="121"/>
                  </a:lnTo>
                  <a:lnTo>
                    <a:pt x="246" y="137"/>
                  </a:lnTo>
                  <a:lnTo>
                    <a:pt x="255" y="137"/>
                  </a:lnTo>
                  <a:lnTo>
                    <a:pt x="267" y="132"/>
                  </a:lnTo>
                  <a:lnTo>
                    <a:pt x="298" y="121"/>
                  </a:lnTo>
                  <a:lnTo>
                    <a:pt x="298" y="132"/>
                  </a:lnTo>
                  <a:lnTo>
                    <a:pt x="310" y="132"/>
                  </a:lnTo>
                  <a:lnTo>
                    <a:pt x="310" y="149"/>
                  </a:lnTo>
                  <a:lnTo>
                    <a:pt x="336" y="137"/>
                  </a:lnTo>
                  <a:lnTo>
                    <a:pt x="352" y="154"/>
                  </a:lnTo>
                  <a:lnTo>
                    <a:pt x="359" y="137"/>
                  </a:lnTo>
                  <a:lnTo>
                    <a:pt x="413" y="137"/>
                  </a:lnTo>
                  <a:lnTo>
                    <a:pt x="451" y="132"/>
                  </a:lnTo>
                  <a:lnTo>
                    <a:pt x="444" y="154"/>
                  </a:lnTo>
                  <a:lnTo>
                    <a:pt x="461" y="170"/>
                  </a:lnTo>
                  <a:lnTo>
                    <a:pt x="451" y="177"/>
                  </a:lnTo>
                  <a:lnTo>
                    <a:pt x="461" y="203"/>
                  </a:lnTo>
                  <a:lnTo>
                    <a:pt x="473" y="210"/>
                  </a:lnTo>
                  <a:lnTo>
                    <a:pt x="482" y="203"/>
                  </a:lnTo>
                  <a:lnTo>
                    <a:pt x="499" y="203"/>
                  </a:lnTo>
                  <a:lnTo>
                    <a:pt x="536" y="220"/>
                  </a:lnTo>
                  <a:lnTo>
                    <a:pt x="527" y="248"/>
                  </a:lnTo>
                  <a:lnTo>
                    <a:pt x="543" y="276"/>
                  </a:lnTo>
                  <a:lnTo>
                    <a:pt x="536" y="281"/>
                  </a:lnTo>
                  <a:lnTo>
                    <a:pt x="558" y="302"/>
                  </a:lnTo>
                  <a:lnTo>
                    <a:pt x="536" y="319"/>
                  </a:lnTo>
                  <a:lnTo>
                    <a:pt x="536" y="319"/>
                  </a:lnTo>
                  <a:lnTo>
                    <a:pt x="536" y="319"/>
                  </a:lnTo>
                  <a:close/>
                </a:path>
              </a:pathLst>
            </a:custGeom>
            <a:pattFill prst="wd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5" name="Freeform 569">
              <a:extLst>
                <a:ext uri="{FF2B5EF4-FFF2-40B4-BE49-F238E27FC236}">
                  <a16:creationId xmlns:a16="http://schemas.microsoft.com/office/drawing/2014/main" id="{178247E1-3D97-4C01-9C8D-70A445EFAD3E}"/>
                </a:ext>
              </a:extLst>
            </p:cNvPr>
            <p:cNvSpPr>
              <a:spLocks noEditPoints="1"/>
            </p:cNvSpPr>
            <p:nvPr/>
          </p:nvSpPr>
          <p:spPr bwMode="gray">
            <a:xfrm>
              <a:off x="3274501" y="3807314"/>
              <a:ext cx="12867" cy="7919"/>
            </a:xfrm>
            <a:custGeom>
              <a:avLst/>
              <a:gdLst>
                <a:gd name="T0" fmla="*/ 14 w 26"/>
                <a:gd name="T1" fmla="*/ 11 h 16"/>
                <a:gd name="T2" fmla="*/ 0 w 26"/>
                <a:gd name="T3" fmla="*/ 0 h 16"/>
                <a:gd name="T4" fmla="*/ 5 w 26"/>
                <a:gd name="T5" fmla="*/ 0 h 16"/>
                <a:gd name="T6" fmla="*/ 14 w 26"/>
                <a:gd name="T7" fmla="*/ 11 h 16"/>
                <a:gd name="T8" fmla="*/ 14 w 26"/>
                <a:gd name="T9" fmla="*/ 11 h 16"/>
                <a:gd name="T10" fmla="*/ 14 w 26"/>
                <a:gd name="T11" fmla="*/ 11 h 16"/>
                <a:gd name="T12" fmla="*/ 26 w 26"/>
                <a:gd name="T13" fmla="*/ 16 h 16"/>
                <a:gd name="T14" fmla="*/ 14 w 26"/>
                <a:gd name="T15" fmla="*/ 16 h 16"/>
                <a:gd name="T16" fmla="*/ 14 w 26"/>
                <a:gd name="T17" fmla="*/ 11 h 16"/>
                <a:gd name="T18" fmla="*/ 21 w 26"/>
                <a:gd name="T19" fmla="*/ 11 h 16"/>
                <a:gd name="T20" fmla="*/ 26 w 26"/>
                <a:gd name="T21" fmla="*/ 16 h 16"/>
                <a:gd name="T22" fmla="*/ 26 w 26"/>
                <a:gd name="T23" fmla="*/ 16 h 16"/>
                <a:gd name="T24" fmla="*/ 26 w 26"/>
                <a:gd name="T2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6">
                  <a:moveTo>
                    <a:pt x="14" y="11"/>
                  </a:moveTo>
                  <a:lnTo>
                    <a:pt x="0" y="0"/>
                  </a:lnTo>
                  <a:lnTo>
                    <a:pt x="5" y="0"/>
                  </a:lnTo>
                  <a:lnTo>
                    <a:pt x="14" y="11"/>
                  </a:lnTo>
                  <a:lnTo>
                    <a:pt x="14" y="11"/>
                  </a:lnTo>
                  <a:lnTo>
                    <a:pt x="14" y="11"/>
                  </a:lnTo>
                  <a:close/>
                  <a:moveTo>
                    <a:pt x="26" y="16"/>
                  </a:moveTo>
                  <a:lnTo>
                    <a:pt x="14" y="16"/>
                  </a:lnTo>
                  <a:lnTo>
                    <a:pt x="14" y="11"/>
                  </a:lnTo>
                  <a:lnTo>
                    <a:pt x="21" y="11"/>
                  </a:lnTo>
                  <a:lnTo>
                    <a:pt x="26" y="16"/>
                  </a:lnTo>
                  <a:lnTo>
                    <a:pt x="26" y="16"/>
                  </a:lnTo>
                  <a:lnTo>
                    <a:pt x="26" y="16"/>
                  </a:lnTo>
                  <a:close/>
                </a:path>
              </a:pathLst>
            </a:custGeom>
            <a:solidFill>
              <a:schemeClr val="accent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7" name="Freeform 571">
              <a:extLst>
                <a:ext uri="{FF2B5EF4-FFF2-40B4-BE49-F238E27FC236}">
                  <a16:creationId xmlns:a16="http://schemas.microsoft.com/office/drawing/2014/main" id="{050302A1-5438-4C9E-ADD9-64107D086135}"/>
                </a:ext>
              </a:extLst>
            </p:cNvPr>
            <p:cNvSpPr>
              <a:spLocks/>
            </p:cNvSpPr>
            <p:nvPr/>
          </p:nvSpPr>
          <p:spPr bwMode="gray">
            <a:xfrm>
              <a:off x="5769176" y="4204745"/>
              <a:ext cx="68788" cy="177681"/>
            </a:xfrm>
            <a:custGeom>
              <a:avLst/>
              <a:gdLst>
                <a:gd name="T0" fmla="*/ 128 w 139"/>
                <a:gd name="T1" fmla="*/ 260 h 359"/>
                <a:gd name="T2" fmla="*/ 128 w 139"/>
                <a:gd name="T3" fmla="*/ 297 h 359"/>
                <a:gd name="T4" fmla="*/ 123 w 139"/>
                <a:gd name="T5" fmla="*/ 297 h 359"/>
                <a:gd name="T6" fmla="*/ 123 w 139"/>
                <a:gd name="T7" fmla="*/ 321 h 359"/>
                <a:gd name="T8" fmla="*/ 139 w 139"/>
                <a:gd name="T9" fmla="*/ 349 h 359"/>
                <a:gd name="T10" fmla="*/ 128 w 139"/>
                <a:gd name="T11" fmla="*/ 354 h 359"/>
                <a:gd name="T12" fmla="*/ 95 w 139"/>
                <a:gd name="T13" fmla="*/ 359 h 359"/>
                <a:gd name="T14" fmla="*/ 83 w 139"/>
                <a:gd name="T15" fmla="*/ 349 h 359"/>
                <a:gd name="T16" fmla="*/ 66 w 139"/>
                <a:gd name="T17" fmla="*/ 338 h 359"/>
                <a:gd name="T18" fmla="*/ 50 w 139"/>
                <a:gd name="T19" fmla="*/ 297 h 359"/>
                <a:gd name="T20" fmla="*/ 57 w 139"/>
                <a:gd name="T21" fmla="*/ 297 h 359"/>
                <a:gd name="T22" fmla="*/ 57 w 139"/>
                <a:gd name="T23" fmla="*/ 276 h 359"/>
                <a:gd name="T24" fmla="*/ 50 w 139"/>
                <a:gd name="T25" fmla="*/ 264 h 359"/>
                <a:gd name="T26" fmla="*/ 50 w 139"/>
                <a:gd name="T27" fmla="*/ 260 h 359"/>
                <a:gd name="T28" fmla="*/ 50 w 139"/>
                <a:gd name="T29" fmla="*/ 243 h 359"/>
                <a:gd name="T30" fmla="*/ 57 w 139"/>
                <a:gd name="T31" fmla="*/ 210 h 359"/>
                <a:gd name="T32" fmla="*/ 66 w 139"/>
                <a:gd name="T33" fmla="*/ 203 h 359"/>
                <a:gd name="T34" fmla="*/ 33 w 139"/>
                <a:gd name="T35" fmla="*/ 170 h 359"/>
                <a:gd name="T36" fmla="*/ 50 w 139"/>
                <a:gd name="T37" fmla="*/ 165 h 359"/>
                <a:gd name="T38" fmla="*/ 40 w 139"/>
                <a:gd name="T39" fmla="*/ 149 h 359"/>
                <a:gd name="T40" fmla="*/ 50 w 139"/>
                <a:gd name="T41" fmla="*/ 127 h 359"/>
                <a:gd name="T42" fmla="*/ 40 w 139"/>
                <a:gd name="T43" fmla="*/ 116 h 359"/>
                <a:gd name="T44" fmla="*/ 28 w 139"/>
                <a:gd name="T45" fmla="*/ 116 h 359"/>
                <a:gd name="T46" fmla="*/ 40 w 139"/>
                <a:gd name="T47" fmla="*/ 75 h 359"/>
                <a:gd name="T48" fmla="*/ 33 w 139"/>
                <a:gd name="T49" fmla="*/ 59 h 359"/>
                <a:gd name="T50" fmla="*/ 33 w 139"/>
                <a:gd name="T51" fmla="*/ 54 h 359"/>
                <a:gd name="T52" fmla="*/ 0 w 139"/>
                <a:gd name="T53" fmla="*/ 26 h 359"/>
                <a:gd name="T54" fmla="*/ 12 w 139"/>
                <a:gd name="T55" fmla="*/ 5 h 359"/>
                <a:gd name="T56" fmla="*/ 0 w 139"/>
                <a:gd name="T57" fmla="*/ 0 h 359"/>
                <a:gd name="T58" fmla="*/ 50 w 139"/>
                <a:gd name="T59" fmla="*/ 5 h 359"/>
                <a:gd name="T60" fmla="*/ 50 w 139"/>
                <a:gd name="T61" fmla="*/ 16 h 359"/>
                <a:gd name="T62" fmla="*/ 73 w 139"/>
                <a:gd name="T63" fmla="*/ 5 h 359"/>
                <a:gd name="T64" fmla="*/ 66 w 139"/>
                <a:gd name="T65" fmla="*/ 54 h 359"/>
                <a:gd name="T66" fmla="*/ 106 w 139"/>
                <a:gd name="T67" fmla="*/ 75 h 359"/>
                <a:gd name="T68" fmla="*/ 106 w 139"/>
                <a:gd name="T69" fmla="*/ 116 h 359"/>
                <a:gd name="T70" fmla="*/ 128 w 139"/>
                <a:gd name="T71" fmla="*/ 149 h 359"/>
                <a:gd name="T72" fmla="*/ 128 w 139"/>
                <a:gd name="T73" fmla="*/ 260 h 359"/>
                <a:gd name="T74" fmla="*/ 128 w 139"/>
                <a:gd name="T75" fmla="*/ 260 h 359"/>
                <a:gd name="T76" fmla="*/ 128 w 139"/>
                <a:gd name="T77" fmla="*/ 26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359">
                  <a:moveTo>
                    <a:pt x="128" y="260"/>
                  </a:moveTo>
                  <a:lnTo>
                    <a:pt x="128" y="297"/>
                  </a:lnTo>
                  <a:lnTo>
                    <a:pt x="123" y="297"/>
                  </a:lnTo>
                  <a:lnTo>
                    <a:pt x="123" y="321"/>
                  </a:lnTo>
                  <a:lnTo>
                    <a:pt x="139" y="349"/>
                  </a:lnTo>
                  <a:lnTo>
                    <a:pt x="128" y="354"/>
                  </a:lnTo>
                  <a:lnTo>
                    <a:pt x="95" y="359"/>
                  </a:lnTo>
                  <a:lnTo>
                    <a:pt x="83" y="349"/>
                  </a:lnTo>
                  <a:lnTo>
                    <a:pt x="66" y="338"/>
                  </a:lnTo>
                  <a:lnTo>
                    <a:pt x="50" y="297"/>
                  </a:lnTo>
                  <a:lnTo>
                    <a:pt x="57" y="297"/>
                  </a:lnTo>
                  <a:lnTo>
                    <a:pt x="57" y="276"/>
                  </a:lnTo>
                  <a:lnTo>
                    <a:pt x="50" y="264"/>
                  </a:lnTo>
                  <a:lnTo>
                    <a:pt x="50" y="260"/>
                  </a:lnTo>
                  <a:lnTo>
                    <a:pt x="50" y="243"/>
                  </a:lnTo>
                  <a:lnTo>
                    <a:pt x="57" y="210"/>
                  </a:lnTo>
                  <a:lnTo>
                    <a:pt x="66" y="203"/>
                  </a:lnTo>
                  <a:lnTo>
                    <a:pt x="33" y="170"/>
                  </a:lnTo>
                  <a:lnTo>
                    <a:pt x="50" y="165"/>
                  </a:lnTo>
                  <a:lnTo>
                    <a:pt x="40" y="149"/>
                  </a:lnTo>
                  <a:lnTo>
                    <a:pt x="50" y="127"/>
                  </a:lnTo>
                  <a:lnTo>
                    <a:pt x="40" y="116"/>
                  </a:lnTo>
                  <a:lnTo>
                    <a:pt x="28" y="116"/>
                  </a:lnTo>
                  <a:lnTo>
                    <a:pt x="40" y="75"/>
                  </a:lnTo>
                  <a:lnTo>
                    <a:pt x="33" y="59"/>
                  </a:lnTo>
                  <a:lnTo>
                    <a:pt x="33" y="54"/>
                  </a:lnTo>
                  <a:lnTo>
                    <a:pt x="0" y="26"/>
                  </a:lnTo>
                  <a:lnTo>
                    <a:pt x="12" y="5"/>
                  </a:lnTo>
                  <a:lnTo>
                    <a:pt x="0" y="0"/>
                  </a:lnTo>
                  <a:lnTo>
                    <a:pt x="50" y="5"/>
                  </a:lnTo>
                  <a:lnTo>
                    <a:pt x="50" y="16"/>
                  </a:lnTo>
                  <a:lnTo>
                    <a:pt x="73" y="5"/>
                  </a:lnTo>
                  <a:lnTo>
                    <a:pt x="66" y="54"/>
                  </a:lnTo>
                  <a:lnTo>
                    <a:pt x="106" y="75"/>
                  </a:lnTo>
                  <a:lnTo>
                    <a:pt x="106" y="116"/>
                  </a:lnTo>
                  <a:lnTo>
                    <a:pt x="128" y="149"/>
                  </a:lnTo>
                  <a:lnTo>
                    <a:pt x="128" y="260"/>
                  </a:lnTo>
                  <a:lnTo>
                    <a:pt x="128" y="260"/>
                  </a:lnTo>
                  <a:lnTo>
                    <a:pt x="128" y="260"/>
                  </a:lnTo>
                  <a:close/>
                </a:path>
              </a:pathLst>
            </a:custGeom>
            <a:pattFill prst="lt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8" name="Freeform 572">
              <a:extLst>
                <a:ext uri="{FF2B5EF4-FFF2-40B4-BE49-F238E27FC236}">
                  <a16:creationId xmlns:a16="http://schemas.microsoft.com/office/drawing/2014/main" id="{D63D0973-F71D-4E3F-AA6F-4240A2AF0AE1}"/>
                </a:ext>
              </a:extLst>
            </p:cNvPr>
            <p:cNvSpPr>
              <a:spLocks noEditPoints="1"/>
            </p:cNvSpPr>
            <p:nvPr/>
          </p:nvSpPr>
          <p:spPr bwMode="gray">
            <a:xfrm>
              <a:off x="5999293" y="4541299"/>
              <a:ext cx="35136" cy="59887"/>
            </a:xfrm>
            <a:custGeom>
              <a:avLst/>
              <a:gdLst>
                <a:gd name="T0" fmla="*/ 62 w 71"/>
                <a:gd name="T1" fmla="*/ 12 h 121"/>
                <a:gd name="T2" fmla="*/ 62 w 71"/>
                <a:gd name="T3" fmla="*/ 7 h 121"/>
                <a:gd name="T4" fmla="*/ 62 w 71"/>
                <a:gd name="T5" fmla="*/ 0 h 121"/>
                <a:gd name="T6" fmla="*/ 71 w 71"/>
                <a:gd name="T7" fmla="*/ 7 h 121"/>
                <a:gd name="T8" fmla="*/ 62 w 71"/>
                <a:gd name="T9" fmla="*/ 12 h 121"/>
                <a:gd name="T10" fmla="*/ 62 w 71"/>
                <a:gd name="T11" fmla="*/ 12 h 121"/>
                <a:gd name="T12" fmla="*/ 62 w 71"/>
                <a:gd name="T13" fmla="*/ 12 h 121"/>
                <a:gd name="T14" fmla="*/ 0 w 71"/>
                <a:gd name="T15" fmla="*/ 121 h 121"/>
                <a:gd name="T16" fmla="*/ 0 w 71"/>
                <a:gd name="T17" fmla="*/ 104 h 121"/>
                <a:gd name="T18" fmla="*/ 17 w 71"/>
                <a:gd name="T19" fmla="*/ 99 h 121"/>
                <a:gd name="T20" fmla="*/ 17 w 71"/>
                <a:gd name="T21" fmla="*/ 116 h 121"/>
                <a:gd name="T22" fmla="*/ 0 w 71"/>
                <a:gd name="T23" fmla="*/ 121 h 121"/>
                <a:gd name="T24" fmla="*/ 0 w 71"/>
                <a:gd name="T25" fmla="*/ 121 h 121"/>
                <a:gd name="T26" fmla="*/ 0 w 71"/>
                <a:gd name="T2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121">
                  <a:moveTo>
                    <a:pt x="62" y="12"/>
                  </a:moveTo>
                  <a:lnTo>
                    <a:pt x="62" y="7"/>
                  </a:lnTo>
                  <a:lnTo>
                    <a:pt x="62" y="0"/>
                  </a:lnTo>
                  <a:lnTo>
                    <a:pt x="71" y="7"/>
                  </a:lnTo>
                  <a:lnTo>
                    <a:pt x="62" y="12"/>
                  </a:lnTo>
                  <a:lnTo>
                    <a:pt x="62" y="12"/>
                  </a:lnTo>
                  <a:lnTo>
                    <a:pt x="62" y="12"/>
                  </a:lnTo>
                  <a:close/>
                  <a:moveTo>
                    <a:pt x="0" y="121"/>
                  </a:moveTo>
                  <a:lnTo>
                    <a:pt x="0" y="104"/>
                  </a:lnTo>
                  <a:lnTo>
                    <a:pt x="17" y="99"/>
                  </a:lnTo>
                  <a:lnTo>
                    <a:pt x="17" y="116"/>
                  </a:lnTo>
                  <a:lnTo>
                    <a:pt x="0" y="121"/>
                  </a:lnTo>
                  <a:lnTo>
                    <a:pt x="0" y="121"/>
                  </a:lnTo>
                  <a:lnTo>
                    <a:pt x="0" y="121"/>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9" name="Freeform 573">
              <a:extLst>
                <a:ext uri="{FF2B5EF4-FFF2-40B4-BE49-F238E27FC236}">
                  <a16:creationId xmlns:a16="http://schemas.microsoft.com/office/drawing/2014/main" id="{C75E2A2C-FAD0-438C-A96C-52F6157AD83B}"/>
                </a:ext>
              </a:extLst>
            </p:cNvPr>
            <p:cNvSpPr>
              <a:spLocks noEditPoints="1"/>
            </p:cNvSpPr>
            <p:nvPr/>
          </p:nvSpPr>
          <p:spPr bwMode="gray">
            <a:xfrm>
              <a:off x="6034430" y="3208446"/>
              <a:ext cx="140545" cy="284091"/>
            </a:xfrm>
            <a:custGeom>
              <a:avLst/>
              <a:gdLst>
                <a:gd name="T0" fmla="*/ 24 w 284"/>
                <a:gd name="T1" fmla="*/ 251 h 574"/>
                <a:gd name="T2" fmla="*/ 55 w 284"/>
                <a:gd name="T3" fmla="*/ 222 h 574"/>
                <a:gd name="T4" fmla="*/ 59 w 284"/>
                <a:gd name="T5" fmla="*/ 156 h 574"/>
                <a:gd name="T6" fmla="*/ 55 w 284"/>
                <a:gd name="T7" fmla="*/ 116 h 574"/>
                <a:gd name="T8" fmla="*/ 45 w 284"/>
                <a:gd name="T9" fmla="*/ 62 h 574"/>
                <a:gd name="T10" fmla="*/ 76 w 284"/>
                <a:gd name="T11" fmla="*/ 26 h 574"/>
                <a:gd name="T12" fmla="*/ 168 w 284"/>
                <a:gd name="T13" fmla="*/ 0 h 574"/>
                <a:gd name="T14" fmla="*/ 161 w 284"/>
                <a:gd name="T15" fmla="*/ 17 h 574"/>
                <a:gd name="T16" fmla="*/ 168 w 284"/>
                <a:gd name="T17" fmla="*/ 5 h 574"/>
                <a:gd name="T18" fmla="*/ 194 w 284"/>
                <a:gd name="T19" fmla="*/ 5 h 574"/>
                <a:gd name="T20" fmla="*/ 194 w 284"/>
                <a:gd name="T21" fmla="*/ 17 h 574"/>
                <a:gd name="T22" fmla="*/ 199 w 284"/>
                <a:gd name="T23" fmla="*/ 38 h 574"/>
                <a:gd name="T24" fmla="*/ 199 w 284"/>
                <a:gd name="T25" fmla="*/ 43 h 574"/>
                <a:gd name="T26" fmla="*/ 253 w 284"/>
                <a:gd name="T27" fmla="*/ 26 h 574"/>
                <a:gd name="T28" fmla="*/ 215 w 284"/>
                <a:gd name="T29" fmla="*/ 78 h 574"/>
                <a:gd name="T30" fmla="*/ 220 w 284"/>
                <a:gd name="T31" fmla="*/ 128 h 574"/>
                <a:gd name="T32" fmla="*/ 248 w 284"/>
                <a:gd name="T33" fmla="*/ 156 h 574"/>
                <a:gd name="T34" fmla="*/ 232 w 284"/>
                <a:gd name="T35" fmla="*/ 210 h 574"/>
                <a:gd name="T36" fmla="*/ 177 w 284"/>
                <a:gd name="T37" fmla="*/ 251 h 574"/>
                <a:gd name="T38" fmla="*/ 199 w 284"/>
                <a:gd name="T39" fmla="*/ 296 h 574"/>
                <a:gd name="T40" fmla="*/ 220 w 284"/>
                <a:gd name="T41" fmla="*/ 296 h 574"/>
                <a:gd name="T42" fmla="*/ 232 w 284"/>
                <a:gd name="T43" fmla="*/ 317 h 574"/>
                <a:gd name="T44" fmla="*/ 236 w 284"/>
                <a:gd name="T45" fmla="*/ 300 h 574"/>
                <a:gd name="T46" fmla="*/ 258 w 284"/>
                <a:gd name="T47" fmla="*/ 333 h 574"/>
                <a:gd name="T48" fmla="*/ 274 w 284"/>
                <a:gd name="T49" fmla="*/ 378 h 574"/>
                <a:gd name="T50" fmla="*/ 236 w 284"/>
                <a:gd name="T51" fmla="*/ 418 h 574"/>
                <a:gd name="T52" fmla="*/ 199 w 284"/>
                <a:gd name="T53" fmla="*/ 463 h 574"/>
                <a:gd name="T54" fmla="*/ 199 w 284"/>
                <a:gd name="T55" fmla="*/ 518 h 574"/>
                <a:gd name="T56" fmla="*/ 168 w 284"/>
                <a:gd name="T57" fmla="*/ 562 h 574"/>
                <a:gd name="T58" fmla="*/ 109 w 284"/>
                <a:gd name="T59" fmla="*/ 430 h 574"/>
                <a:gd name="T60" fmla="*/ 59 w 284"/>
                <a:gd name="T61" fmla="*/ 362 h 574"/>
                <a:gd name="T62" fmla="*/ 17 w 284"/>
                <a:gd name="T63" fmla="*/ 333 h 574"/>
                <a:gd name="T64" fmla="*/ 0 w 284"/>
                <a:gd name="T65" fmla="*/ 262 h 574"/>
                <a:gd name="T66" fmla="*/ 0 w 284"/>
                <a:gd name="T67" fmla="*/ 262 h 574"/>
                <a:gd name="T68" fmla="*/ 258 w 284"/>
                <a:gd name="T69" fmla="*/ 206 h 574"/>
                <a:gd name="T70" fmla="*/ 253 w 284"/>
                <a:gd name="T71" fmla="*/ 210 h 574"/>
                <a:gd name="T72" fmla="*/ 253 w 284"/>
                <a:gd name="T73" fmla="*/ 210 h 574"/>
                <a:gd name="T74" fmla="*/ 232 w 284"/>
                <a:gd name="T75" fmla="*/ 296 h 574"/>
                <a:gd name="T76" fmla="*/ 232 w 284"/>
                <a:gd name="T77" fmla="*/ 279 h 574"/>
                <a:gd name="T78" fmla="*/ 236 w 284"/>
                <a:gd name="T79" fmla="*/ 300 h 574"/>
                <a:gd name="T80" fmla="*/ 236 w 284"/>
                <a:gd name="T81" fmla="*/ 30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4" h="574">
                  <a:moveTo>
                    <a:pt x="0" y="262"/>
                  </a:moveTo>
                  <a:lnTo>
                    <a:pt x="24" y="251"/>
                  </a:lnTo>
                  <a:lnTo>
                    <a:pt x="24" y="239"/>
                  </a:lnTo>
                  <a:lnTo>
                    <a:pt x="55" y="222"/>
                  </a:lnTo>
                  <a:lnTo>
                    <a:pt x="59" y="173"/>
                  </a:lnTo>
                  <a:lnTo>
                    <a:pt x="59" y="156"/>
                  </a:lnTo>
                  <a:lnTo>
                    <a:pt x="59" y="133"/>
                  </a:lnTo>
                  <a:lnTo>
                    <a:pt x="55" y="116"/>
                  </a:lnTo>
                  <a:lnTo>
                    <a:pt x="59" y="71"/>
                  </a:lnTo>
                  <a:lnTo>
                    <a:pt x="45" y="62"/>
                  </a:lnTo>
                  <a:lnTo>
                    <a:pt x="88" y="38"/>
                  </a:lnTo>
                  <a:lnTo>
                    <a:pt x="76" y="26"/>
                  </a:lnTo>
                  <a:lnTo>
                    <a:pt x="151" y="0"/>
                  </a:lnTo>
                  <a:lnTo>
                    <a:pt x="168" y="0"/>
                  </a:lnTo>
                  <a:lnTo>
                    <a:pt x="161" y="5"/>
                  </a:lnTo>
                  <a:lnTo>
                    <a:pt x="161" y="17"/>
                  </a:lnTo>
                  <a:lnTo>
                    <a:pt x="168" y="5"/>
                  </a:lnTo>
                  <a:lnTo>
                    <a:pt x="168" y="5"/>
                  </a:lnTo>
                  <a:lnTo>
                    <a:pt x="177" y="0"/>
                  </a:lnTo>
                  <a:lnTo>
                    <a:pt x="194" y="5"/>
                  </a:lnTo>
                  <a:lnTo>
                    <a:pt x="182" y="17"/>
                  </a:lnTo>
                  <a:lnTo>
                    <a:pt x="194" y="17"/>
                  </a:lnTo>
                  <a:lnTo>
                    <a:pt x="194" y="21"/>
                  </a:lnTo>
                  <a:lnTo>
                    <a:pt x="199" y="38"/>
                  </a:lnTo>
                  <a:lnTo>
                    <a:pt x="194" y="38"/>
                  </a:lnTo>
                  <a:lnTo>
                    <a:pt x="199" y="43"/>
                  </a:lnTo>
                  <a:lnTo>
                    <a:pt x="248" y="17"/>
                  </a:lnTo>
                  <a:lnTo>
                    <a:pt x="253" y="26"/>
                  </a:lnTo>
                  <a:lnTo>
                    <a:pt x="232" y="71"/>
                  </a:lnTo>
                  <a:lnTo>
                    <a:pt x="215" y="78"/>
                  </a:lnTo>
                  <a:lnTo>
                    <a:pt x="203" y="95"/>
                  </a:lnTo>
                  <a:lnTo>
                    <a:pt x="220" y="128"/>
                  </a:lnTo>
                  <a:lnTo>
                    <a:pt x="248" y="133"/>
                  </a:lnTo>
                  <a:lnTo>
                    <a:pt x="248" y="156"/>
                  </a:lnTo>
                  <a:lnTo>
                    <a:pt x="253" y="173"/>
                  </a:lnTo>
                  <a:lnTo>
                    <a:pt x="232" y="210"/>
                  </a:lnTo>
                  <a:lnTo>
                    <a:pt x="182" y="246"/>
                  </a:lnTo>
                  <a:lnTo>
                    <a:pt x="177" y="251"/>
                  </a:lnTo>
                  <a:lnTo>
                    <a:pt x="182" y="279"/>
                  </a:lnTo>
                  <a:lnTo>
                    <a:pt x="199" y="296"/>
                  </a:lnTo>
                  <a:lnTo>
                    <a:pt x="203" y="300"/>
                  </a:lnTo>
                  <a:lnTo>
                    <a:pt x="220" y="296"/>
                  </a:lnTo>
                  <a:lnTo>
                    <a:pt x="220" y="307"/>
                  </a:lnTo>
                  <a:lnTo>
                    <a:pt x="232" y="317"/>
                  </a:lnTo>
                  <a:lnTo>
                    <a:pt x="236" y="307"/>
                  </a:lnTo>
                  <a:lnTo>
                    <a:pt x="236" y="300"/>
                  </a:lnTo>
                  <a:lnTo>
                    <a:pt x="248" y="300"/>
                  </a:lnTo>
                  <a:lnTo>
                    <a:pt x="258" y="333"/>
                  </a:lnTo>
                  <a:lnTo>
                    <a:pt x="284" y="340"/>
                  </a:lnTo>
                  <a:lnTo>
                    <a:pt x="274" y="378"/>
                  </a:lnTo>
                  <a:lnTo>
                    <a:pt x="284" y="395"/>
                  </a:lnTo>
                  <a:lnTo>
                    <a:pt x="236" y="418"/>
                  </a:lnTo>
                  <a:lnTo>
                    <a:pt x="203" y="451"/>
                  </a:lnTo>
                  <a:lnTo>
                    <a:pt x="199" y="463"/>
                  </a:lnTo>
                  <a:lnTo>
                    <a:pt x="182" y="473"/>
                  </a:lnTo>
                  <a:lnTo>
                    <a:pt x="199" y="518"/>
                  </a:lnTo>
                  <a:lnTo>
                    <a:pt x="194" y="529"/>
                  </a:lnTo>
                  <a:lnTo>
                    <a:pt x="168" y="562"/>
                  </a:lnTo>
                  <a:lnTo>
                    <a:pt x="147" y="574"/>
                  </a:lnTo>
                  <a:lnTo>
                    <a:pt x="109" y="430"/>
                  </a:lnTo>
                  <a:lnTo>
                    <a:pt x="59" y="390"/>
                  </a:lnTo>
                  <a:lnTo>
                    <a:pt x="59" y="362"/>
                  </a:lnTo>
                  <a:lnTo>
                    <a:pt x="45" y="340"/>
                  </a:lnTo>
                  <a:lnTo>
                    <a:pt x="17" y="333"/>
                  </a:lnTo>
                  <a:lnTo>
                    <a:pt x="0" y="279"/>
                  </a:lnTo>
                  <a:lnTo>
                    <a:pt x="0" y="262"/>
                  </a:lnTo>
                  <a:lnTo>
                    <a:pt x="0" y="262"/>
                  </a:lnTo>
                  <a:lnTo>
                    <a:pt x="0" y="262"/>
                  </a:lnTo>
                  <a:close/>
                  <a:moveTo>
                    <a:pt x="253" y="210"/>
                  </a:moveTo>
                  <a:lnTo>
                    <a:pt x="258" y="206"/>
                  </a:lnTo>
                  <a:lnTo>
                    <a:pt x="270" y="206"/>
                  </a:lnTo>
                  <a:lnTo>
                    <a:pt x="253" y="210"/>
                  </a:lnTo>
                  <a:lnTo>
                    <a:pt x="253" y="210"/>
                  </a:lnTo>
                  <a:lnTo>
                    <a:pt x="253" y="210"/>
                  </a:lnTo>
                  <a:close/>
                  <a:moveTo>
                    <a:pt x="236" y="300"/>
                  </a:moveTo>
                  <a:lnTo>
                    <a:pt x="232" y="296"/>
                  </a:lnTo>
                  <a:lnTo>
                    <a:pt x="232" y="296"/>
                  </a:lnTo>
                  <a:lnTo>
                    <a:pt x="232" y="279"/>
                  </a:lnTo>
                  <a:lnTo>
                    <a:pt x="248" y="284"/>
                  </a:lnTo>
                  <a:lnTo>
                    <a:pt x="236" y="300"/>
                  </a:lnTo>
                  <a:lnTo>
                    <a:pt x="236" y="300"/>
                  </a:lnTo>
                  <a:lnTo>
                    <a:pt x="236" y="300"/>
                  </a:lnTo>
                  <a:close/>
                </a:path>
              </a:pathLst>
            </a:custGeom>
            <a:pattFill prst="wd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0" name="Freeform 574">
              <a:extLst>
                <a:ext uri="{FF2B5EF4-FFF2-40B4-BE49-F238E27FC236}">
                  <a16:creationId xmlns:a16="http://schemas.microsoft.com/office/drawing/2014/main" id="{AC99154E-964D-496D-A3B1-0AFED2AD13BD}"/>
                </a:ext>
              </a:extLst>
            </p:cNvPr>
            <p:cNvSpPr>
              <a:spLocks noEditPoints="1"/>
            </p:cNvSpPr>
            <p:nvPr/>
          </p:nvSpPr>
          <p:spPr bwMode="gray">
            <a:xfrm>
              <a:off x="6665893" y="3008493"/>
              <a:ext cx="662640" cy="263304"/>
            </a:xfrm>
            <a:custGeom>
              <a:avLst/>
              <a:gdLst>
                <a:gd name="T0" fmla="*/ 71 w 1339"/>
                <a:gd name="T1" fmla="*/ 62 h 532"/>
                <a:gd name="T2" fmla="*/ 59 w 1339"/>
                <a:gd name="T3" fmla="*/ 22 h 532"/>
                <a:gd name="T4" fmla="*/ 113 w 1339"/>
                <a:gd name="T5" fmla="*/ 0 h 532"/>
                <a:gd name="T6" fmla="*/ 168 w 1339"/>
                <a:gd name="T7" fmla="*/ 38 h 532"/>
                <a:gd name="T8" fmla="*/ 222 w 1339"/>
                <a:gd name="T9" fmla="*/ 95 h 532"/>
                <a:gd name="T10" fmla="*/ 177 w 1339"/>
                <a:gd name="T11" fmla="*/ 88 h 532"/>
                <a:gd name="T12" fmla="*/ 75 w 1339"/>
                <a:gd name="T13" fmla="*/ 144 h 532"/>
                <a:gd name="T14" fmla="*/ 80 w 1339"/>
                <a:gd name="T15" fmla="*/ 128 h 532"/>
                <a:gd name="T16" fmla="*/ 26 w 1339"/>
                <a:gd name="T17" fmla="*/ 116 h 532"/>
                <a:gd name="T18" fmla="*/ 1264 w 1339"/>
                <a:gd name="T19" fmla="*/ 409 h 532"/>
                <a:gd name="T20" fmla="*/ 1188 w 1339"/>
                <a:gd name="T21" fmla="*/ 421 h 532"/>
                <a:gd name="T22" fmla="*/ 1150 w 1339"/>
                <a:gd name="T23" fmla="*/ 409 h 532"/>
                <a:gd name="T24" fmla="*/ 957 w 1339"/>
                <a:gd name="T25" fmla="*/ 461 h 532"/>
                <a:gd name="T26" fmla="*/ 827 w 1339"/>
                <a:gd name="T27" fmla="*/ 461 h 532"/>
                <a:gd name="T28" fmla="*/ 777 w 1339"/>
                <a:gd name="T29" fmla="*/ 487 h 532"/>
                <a:gd name="T30" fmla="*/ 739 w 1339"/>
                <a:gd name="T31" fmla="*/ 532 h 532"/>
                <a:gd name="T32" fmla="*/ 739 w 1339"/>
                <a:gd name="T33" fmla="*/ 461 h 532"/>
                <a:gd name="T34" fmla="*/ 701 w 1339"/>
                <a:gd name="T35" fmla="*/ 461 h 532"/>
                <a:gd name="T36" fmla="*/ 583 w 1339"/>
                <a:gd name="T37" fmla="*/ 487 h 532"/>
                <a:gd name="T38" fmla="*/ 470 w 1339"/>
                <a:gd name="T39" fmla="*/ 499 h 532"/>
                <a:gd name="T40" fmla="*/ 340 w 1339"/>
                <a:gd name="T41" fmla="*/ 482 h 532"/>
                <a:gd name="T42" fmla="*/ 243 w 1339"/>
                <a:gd name="T43" fmla="*/ 482 h 532"/>
                <a:gd name="T44" fmla="*/ 231 w 1339"/>
                <a:gd name="T45" fmla="*/ 449 h 532"/>
                <a:gd name="T46" fmla="*/ 189 w 1339"/>
                <a:gd name="T47" fmla="*/ 444 h 532"/>
                <a:gd name="T48" fmla="*/ 168 w 1339"/>
                <a:gd name="T49" fmla="*/ 461 h 532"/>
                <a:gd name="T50" fmla="*/ 125 w 1339"/>
                <a:gd name="T51" fmla="*/ 461 h 532"/>
                <a:gd name="T52" fmla="*/ 113 w 1339"/>
                <a:gd name="T53" fmla="*/ 433 h 532"/>
                <a:gd name="T54" fmla="*/ 134 w 1339"/>
                <a:gd name="T55" fmla="*/ 409 h 532"/>
                <a:gd name="T56" fmla="*/ 113 w 1339"/>
                <a:gd name="T57" fmla="*/ 350 h 532"/>
                <a:gd name="T58" fmla="*/ 42 w 1339"/>
                <a:gd name="T59" fmla="*/ 322 h 532"/>
                <a:gd name="T60" fmla="*/ 54 w 1339"/>
                <a:gd name="T61" fmla="*/ 310 h 532"/>
                <a:gd name="T62" fmla="*/ 108 w 1339"/>
                <a:gd name="T63" fmla="*/ 310 h 532"/>
                <a:gd name="T64" fmla="*/ 97 w 1339"/>
                <a:gd name="T65" fmla="*/ 265 h 532"/>
                <a:gd name="T66" fmla="*/ 92 w 1339"/>
                <a:gd name="T67" fmla="*/ 222 h 532"/>
                <a:gd name="T68" fmla="*/ 75 w 1339"/>
                <a:gd name="T69" fmla="*/ 144 h 532"/>
                <a:gd name="T70" fmla="*/ 146 w 1339"/>
                <a:gd name="T71" fmla="*/ 133 h 532"/>
                <a:gd name="T72" fmla="*/ 163 w 1339"/>
                <a:gd name="T73" fmla="*/ 149 h 532"/>
                <a:gd name="T74" fmla="*/ 269 w 1339"/>
                <a:gd name="T75" fmla="*/ 116 h 532"/>
                <a:gd name="T76" fmla="*/ 238 w 1339"/>
                <a:gd name="T77" fmla="*/ 88 h 532"/>
                <a:gd name="T78" fmla="*/ 361 w 1339"/>
                <a:gd name="T79" fmla="*/ 88 h 532"/>
                <a:gd name="T80" fmla="*/ 541 w 1339"/>
                <a:gd name="T81" fmla="*/ 5 h 532"/>
                <a:gd name="T82" fmla="*/ 692 w 1339"/>
                <a:gd name="T83" fmla="*/ 38 h 532"/>
                <a:gd name="T84" fmla="*/ 756 w 1339"/>
                <a:gd name="T85" fmla="*/ 71 h 532"/>
                <a:gd name="T86" fmla="*/ 831 w 1339"/>
                <a:gd name="T87" fmla="*/ 88 h 532"/>
                <a:gd name="T88" fmla="*/ 961 w 1339"/>
                <a:gd name="T89" fmla="*/ 88 h 532"/>
                <a:gd name="T90" fmla="*/ 1134 w 1339"/>
                <a:gd name="T91" fmla="*/ 55 h 532"/>
                <a:gd name="T92" fmla="*/ 1205 w 1339"/>
                <a:gd name="T93" fmla="*/ 38 h 532"/>
                <a:gd name="T94" fmla="*/ 1268 w 1339"/>
                <a:gd name="T95" fmla="*/ 111 h 532"/>
                <a:gd name="T96" fmla="*/ 1280 w 1339"/>
                <a:gd name="T97" fmla="*/ 173 h 532"/>
                <a:gd name="T98" fmla="*/ 1334 w 1339"/>
                <a:gd name="T99" fmla="*/ 199 h 532"/>
                <a:gd name="T100" fmla="*/ 1301 w 1339"/>
                <a:gd name="T101" fmla="*/ 255 h 532"/>
                <a:gd name="T102" fmla="*/ 1318 w 1339"/>
                <a:gd name="T103" fmla="*/ 317 h 532"/>
                <a:gd name="T104" fmla="*/ 1339 w 1339"/>
                <a:gd name="T105" fmla="*/ 404 h 532"/>
                <a:gd name="T106" fmla="*/ 1301 w 1339"/>
                <a:gd name="T107" fmla="*/ 421 h 532"/>
                <a:gd name="T108" fmla="*/ 1297 w 1339"/>
                <a:gd name="T109" fmla="*/ 404 h 532"/>
                <a:gd name="T110" fmla="*/ 134 w 1339"/>
                <a:gd name="T111" fmla="*/ 128 h 532"/>
                <a:gd name="T112" fmla="*/ 0 w 1339"/>
                <a:gd name="T113" fmla="*/ 166 h 532"/>
                <a:gd name="T114" fmla="*/ 5 w 1339"/>
                <a:gd name="T115" fmla="*/ 166 h 532"/>
                <a:gd name="T116" fmla="*/ 21 w 1339"/>
                <a:gd name="T117" fmla="*/ 189 h 532"/>
                <a:gd name="T118" fmla="*/ 26 w 1339"/>
                <a:gd name="T119" fmla="*/ 199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39" h="532">
                  <a:moveTo>
                    <a:pt x="26" y="116"/>
                  </a:moveTo>
                  <a:lnTo>
                    <a:pt x="54" y="95"/>
                  </a:lnTo>
                  <a:lnTo>
                    <a:pt x="42" y="71"/>
                  </a:lnTo>
                  <a:lnTo>
                    <a:pt x="71" y="62"/>
                  </a:lnTo>
                  <a:lnTo>
                    <a:pt x="71" y="38"/>
                  </a:lnTo>
                  <a:lnTo>
                    <a:pt x="54" y="33"/>
                  </a:lnTo>
                  <a:lnTo>
                    <a:pt x="54" y="22"/>
                  </a:lnTo>
                  <a:lnTo>
                    <a:pt x="59" y="22"/>
                  </a:lnTo>
                  <a:lnTo>
                    <a:pt x="71" y="5"/>
                  </a:lnTo>
                  <a:lnTo>
                    <a:pt x="92" y="5"/>
                  </a:lnTo>
                  <a:lnTo>
                    <a:pt x="97" y="0"/>
                  </a:lnTo>
                  <a:lnTo>
                    <a:pt x="113" y="0"/>
                  </a:lnTo>
                  <a:lnTo>
                    <a:pt x="134" y="17"/>
                  </a:lnTo>
                  <a:lnTo>
                    <a:pt x="168" y="5"/>
                  </a:lnTo>
                  <a:lnTo>
                    <a:pt x="163" y="22"/>
                  </a:lnTo>
                  <a:lnTo>
                    <a:pt x="168" y="38"/>
                  </a:lnTo>
                  <a:lnTo>
                    <a:pt x="201" y="55"/>
                  </a:lnTo>
                  <a:lnTo>
                    <a:pt x="238" y="71"/>
                  </a:lnTo>
                  <a:lnTo>
                    <a:pt x="238" y="88"/>
                  </a:lnTo>
                  <a:lnTo>
                    <a:pt x="222" y="95"/>
                  </a:lnTo>
                  <a:lnTo>
                    <a:pt x="205" y="95"/>
                  </a:lnTo>
                  <a:lnTo>
                    <a:pt x="201" y="88"/>
                  </a:lnTo>
                  <a:lnTo>
                    <a:pt x="201" y="95"/>
                  </a:lnTo>
                  <a:lnTo>
                    <a:pt x="177" y="88"/>
                  </a:lnTo>
                  <a:lnTo>
                    <a:pt x="163" y="95"/>
                  </a:lnTo>
                  <a:lnTo>
                    <a:pt x="130" y="95"/>
                  </a:lnTo>
                  <a:lnTo>
                    <a:pt x="113" y="116"/>
                  </a:lnTo>
                  <a:lnTo>
                    <a:pt x="75" y="144"/>
                  </a:lnTo>
                  <a:lnTo>
                    <a:pt x="38" y="173"/>
                  </a:lnTo>
                  <a:lnTo>
                    <a:pt x="42" y="156"/>
                  </a:lnTo>
                  <a:lnTo>
                    <a:pt x="38" y="149"/>
                  </a:lnTo>
                  <a:lnTo>
                    <a:pt x="80" y="128"/>
                  </a:lnTo>
                  <a:lnTo>
                    <a:pt x="75" y="116"/>
                  </a:lnTo>
                  <a:lnTo>
                    <a:pt x="26" y="128"/>
                  </a:lnTo>
                  <a:lnTo>
                    <a:pt x="26" y="116"/>
                  </a:lnTo>
                  <a:lnTo>
                    <a:pt x="26" y="116"/>
                  </a:lnTo>
                  <a:lnTo>
                    <a:pt x="26" y="116"/>
                  </a:lnTo>
                  <a:close/>
                  <a:moveTo>
                    <a:pt x="1297" y="404"/>
                  </a:moveTo>
                  <a:lnTo>
                    <a:pt x="1280" y="409"/>
                  </a:lnTo>
                  <a:lnTo>
                    <a:pt x="1264" y="409"/>
                  </a:lnTo>
                  <a:lnTo>
                    <a:pt x="1226" y="392"/>
                  </a:lnTo>
                  <a:lnTo>
                    <a:pt x="1214" y="404"/>
                  </a:lnTo>
                  <a:lnTo>
                    <a:pt x="1205" y="392"/>
                  </a:lnTo>
                  <a:lnTo>
                    <a:pt x="1188" y="421"/>
                  </a:lnTo>
                  <a:lnTo>
                    <a:pt x="1171" y="421"/>
                  </a:lnTo>
                  <a:lnTo>
                    <a:pt x="1171" y="409"/>
                  </a:lnTo>
                  <a:lnTo>
                    <a:pt x="1155" y="404"/>
                  </a:lnTo>
                  <a:lnTo>
                    <a:pt x="1150" y="409"/>
                  </a:lnTo>
                  <a:lnTo>
                    <a:pt x="1117" y="421"/>
                  </a:lnTo>
                  <a:lnTo>
                    <a:pt x="1063" y="421"/>
                  </a:lnTo>
                  <a:lnTo>
                    <a:pt x="994" y="449"/>
                  </a:lnTo>
                  <a:lnTo>
                    <a:pt x="957" y="461"/>
                  </a:lnTo>
                  <a:lnTo>
                    <a:pt x="919" y="449"/>
                  </a:lnTo>
                  <a:lnTo>
                    <a:pt x="902" y="444"/>
                  </a:lnTo>
                  <a:lnTo>
                    <a:pt x="886" y="433"/>
                  </a:lnTo>
                  <a:lnTo>
                    <a:pt x="827" y="461"/>
                  </a:lnTo>
                  <a:lnTo>
                    <a:pt x="810" y="461"/>
                  </a:lnTo>
                  <a:lnTo>
                    <a:pt x="772" y="444"/>
                  </a:lnTo>
                  <a:lnTo>
                    <a:pt x="760" y="477"/>
                  </a:lnTo>
                  <a:lnTo>
                    <a:pt x="777" y="487"/>
                  </a:lnTo>
                  <a:lnTo>
                    <a:pt x="756" y="487"/>
                  </a:lnTo>
                  <a:lnTo>
                    <a:pt x="756" y="515"/>
                  </a:lnTo>
                  <a:lnTo>
                    <a:pt x="739" y="515"/>
                  </a:lnTo>
                  <a:lnTo>
                    <a:pt x="739" y="532"/>
                  </a:lnTo>
                  <a:lnTo>
                    <a:pt x="723" y="515"/>
                  </a:lnTo>
                  <a:lnTo>
                    <a:pt x="723" y="515"/>
                  </a:lnTo>
                  <a:lnTo>
                    <a:pt x="706" y="482"/>
                  </a:lnTo>
                  <a:lnTo>
                    <a:pt x="739" y="461"/>
                  </a:lnTo>
                  <a:lnTo>
                    <a:pt x="739" y="444"/>
                  </a:lnTo>
                  <a:lnTo>
                    <a:pt x="723" y="433"/>
                  </a:lnTo>
                  <a:lnTo>
                    <a:pt x="692" y="449"/>
                  </a:lnTo>
                  <a:lnTo>
                    <a:pt x="701" y="461"/>
                  </a:lnTo>
                  <a:lnTo>
                    <a:pt x="675" y="466"/>
                  </a:lnTo>
                  <a:lnTo>
                    <a:pt x="631" y="444"/>
                  </a:lnTo>
                  <a:lnTo>
                    <a:pt x="609" y="466"/>
                  </a:lnTo>
                  <a:lnTo>
                    <a:pt x="583" y="487"/>
                  </a:lnTo>
                  <a:lnTo>
                    <a:pt x="579" y="482"/>
                  </a:lnTo>
                  <a:lnTo>
                    <a:pt x="562" y="499"/>
                  </a:lnTo>
                  <a:lnTo>
                    <a:pt x="503" y="503"/>
                  </a:lnTo>
                  <a:lnTo>
                    <a:pt x="470" y="499"/>
                  </a:lnTo>
                  <a:lnTo>
                    <a:pt x="449" y="466"/>
                  </a:lnTo>
                  <a:lnTo>
                    <a:pt x="378" y="444"/>
                  </a:lnTo>
                  <a:lnTo>
                    <a:pt x="345" y="444"/>
                  </a:lnTo>
                  <a:lnTo>
                    <a:pt x="340" y="482"/>
                  </a:lnTo>
                  <a:lnTo>
                    <a:pt x="328" y="499"/>
                  </a:lnTo>
                  <a:lnTo>
                    <a:pt x="323" y="482"/>
                  </a:lnTo>
                  <a:lnTo>
                    <a:pt x="286" y="499"/>
                  </a:lnTo>
                  <a:lnTo>
                    <a:pt x="243" y="482"/>
                  </a:lnTo>
                  <a:lnTo>
                    <a:pt x="243" y="466"/>
                  </a:lnTo>
                  <a:lnTo>
                    <a:pt x="238" y="466"/>
                  </a:lnTo>
                  <a:lnTo>
                    <a:pt x="238" y="461"/>
                  </a:lnTo>
                  <a:lnTo>
                    <a:pt x="231" y="449"/>
                  </a:lnTo>
                  <a:lnTo>
                    <a:pt x="222" y="461"/>
                  </a:lnTo>
                  <a:lnTo>
                    <a:pt x="215" y="449"/>
                  </a:lnTo>
                  <a:lnTo>
                    <a:pt x="201" y="433"/>
                  </a:lnTo>
                  <a:lnTo>
                    <a:pt x="189" y="444"/>
                  </a:lnTo>
                  <a:lnTo>
                    <a:pt x="184" y="444"/>
                  </a:lnTo>
                  <a:lnTo>
                    <a:pt x="184" y="449"/>
                  </a:lnTo>
                  <a:lnTo>
                    <a:pt x="163" y="466"/>
                  </a:lnTo>
                  <a:lnTo>
                    <a:pt x="168" y="461"/>
                  </a:lnTo>
                  <a:lnTo>
                    <a:pt x="163" y="449"/>
                  </a:lnTo>
                  <a:lnTo>
                    <a:pt x="177" y="449"/>
                  </a:lnTo>
                  <a:lnTo>
                    <a:pt x="177" y="444"/>
                  </a:lnTo>
                  <a:lnTo>
                    <a:pt x="125" y="461"/>
                  </a:lnTo>
                  <a:lnTo>
                    <a:pt x="168" y="444"/>
                  </a:lnTo>
                  <a:lnTo>
                    <a:pt x="168" y="433"/>
                  </a:lnTo>
                  <a:lnTo>
                    <a:pt x="189" y="425"/>
                  </a:lnTo>
                  <a:lnTo>
                    <a:pt x="113" y="433"/>
                  </a:lnTo>
                  <a:lnTo>
                    <a:pt x="113" y="425"/>
                  </a:lnTo>
                  <a:lnTo>
                    <a:pt x="113" y="421"/>
                  </a:lnTo>
                  <a:lnTo>
                    <a:pt x="130" y="421"/>
                  </a:lnTo>
                  <a:lnTo>
                    <a:pt x="134" y="409"/>
                  </a:lnTo>
                  <a:lnTo>
                    <a:pt x="125" y="404"/>
                  </a:lnTo>
                  <a:lnTo>
                    <a:pt x="125" y="392"/>
                  </a:lnTo>
                  <a:lnTo>
                    <a:pt x="108" y="404"/>
                  </a:lnTo>
                  <a:lnTo>
                    <a:pt x="113" y="350"/>
                  </a:lnTo>
                  <a:lnTo>
                    <a:pt x="92" y="338"/>
                  </a:lnTo>
                  <a:lnTo>
                    <a:pt x="75" y="322"/>
                  </a:lnTo>
                  <a:lnTo>
                    <a:pt x="71" y="338"/>
                  </a:lnTo>
                  <a:lnTo>
                    <a:pt x="42" y="322"/>
                  </a:lnTo>
                  <a:lnTo>
                    <a:pt x="42" y="317"/>
                  </a:lnTo>
                  <a:lnTo>
                    <a:pt x="54" y="317"/>
                  </a:lnTo>
                  <a:lnTo>
                    <a:pt x="59" y="310"/>
                  </a:lnTo>
                  <a:lnTo>
                    <a:pt x="54" y="310"/>
                  </a:lnTo>
                  <a:lnTo>
                    <a:pt x="54" y="293"/>
                  </a:lnTo>
                  <a:lnTo>
                    <a:pt x="59" y="293"/>
                  </a:lnTo>
                  <a:lnTo>
                    <a:pt x="75" y="317"/>
                  </a:lnTo>
                  <a:lnTo>
                    <a:pt x="108" y="310"/>
                  </a:lnTo>
                  <a:lnTo>
                    <a:pt x="92" y="310"/>
                  </a:lnTo>
                  <a:lnTo>
                    <a:pt x="75" y="293"/>
                  </a:lnTo>
                  <a:lnTo>
                    <a:pt x="75" y="281"/>
                  </a:lnTo>
                  <a:lnTo>
                    <a:pt x="97" y="265"/>
                  </a:lnTo>
                  <a:lnTo>
                    <a:pt x="80" y="265"/>
                  </a:lnTo>
                  <a:lnTo>
                    <a:pt x="80" y="255"/>
                  </a:lnTo>
                  <a:lnTo>
                    <a:pt x="71" y="239"/>
                  </a:lnTo>
                  <a:lnTo>
                    <a:pt x="92" y="222"/>
                  </a:lnTo>
                  <a:lnTo>
                    <a:pt x="92" y="211"/>
                  </a:lnTo>
                  <a:lnTo>
                    <a:pt x="26" y="222"/>
                  </a:lnTo>
                  <a:lnTo>
                    <a:pt x="38" y="182"/>
                  </a:lnTo>
                  <a:lnTo>
                    <a:pt x="75" y="144"/>
                  </a:lnTo>
                  <a:lnTo>
                    <a:pt x="108" y="144"/>
                  </a:lnTo>
                  <a:lnTo>
                    <a:pt x="130" y="149"/>
                  </a:lnTo>
                  <a:lnTo>
                    <a:pt x="151" y="149"/>
                  </a:lnTo>
                  <a:lnTo>
                    <a:pt x="146" y="133"/>
                  </a:lnTo>
                  <a:lnTo>
                    <a:pt x="146" y="133"/>
                  </a:lnTo>
                  <a:lnTo>
                    <a:pt x="168" y="133"/>
                  </a:lnTo>
                  <a:lnTo>
                    <a:pt x="163" y="144"/>
                  </a:lnTo>
                  <a:lnTo>
                    <a:pt x="163" y="149"/>
                  </a:lnTo>
                  <a:lnTo>
                    <a:pt x="238" y="149"/>
                  </a:lnTo>
                  <a:lnTo>
                    <a:pt x="243" y="144"/>
                  </a:lnTo>
                  <a:lnTo>
                    <a:pt x="222" y="133"/>
                  </a:lnTo>
                  <a:lnTo>
                    <a:pt x="269" y="116"/>
                  </a:lnTo>
                  <a:lnTo>
                    <a:pt x="297" y="116"/>
                  </a:lnTo>
                  <a:lnTo>
                    <a:pt x="260" y="111"/>
                  </a:lnTo>
                  <a:lnTo>
                    <a:pt x="243" y="100"/>
                  </a:lnTo>
                  <a:lnTo>
                    <a:pt x="238" y="88"/>
                  </a:lnTo>
                  <a:lnTo>
                    <a:pt x="243" y="71"/>
                  </a:lnTo>
                  <a:lnTo>
                    <a:pt x="307" y="78"/>
                  </a:lnTo>
                  <a:lnTo>
                    <a:pt x="323" y="71"/>
                  </a:lnTo>
                  <a:lnTo>
                    <a:pt x="361" y="88"/>
                  </a:lnTo>
                  <a:lnTo>
                    <a:pt x="394" y="88"/>
                  </a:lnTo>
                  <a:lnTo>
                    <a:pt x="416" y="62"/>
                  </a:lnTo>
                  <a:lnTo>
                    <a:pt x="458" y="33"/>
                  </a:lnTo>
                  <a:lnTo>
                    <a:pt x="541" y="5"/>
                  </a:lnTo>
                  <a:lnTo>
                    <a:pt x="638" y="5"/>
                  </a:lnTo>
                  <a:lnTo>
                    <a:pt x="654" y="0"/>
                  </a:lnTo>
                  <a:lnTo>
                    <a:pt x="675" y="33"/>
                  </a:lnTo>
                  <a:lnTo>
                    <a:pt x="692" y="38"/>
                  </a:lnTo>
                  <a:lnTo>
                    <a:pt x="723" y="33"/>
                  </a:lnTo>
                  <a:lnTo>
                    <a:pt x="730" y="33"/>
                  </a:lnTo>
                  <a:lnTo>
                    <a:pt x="730" y="55"/>
                  </a:lnTo>
                  <a:lnTo>
                    <a:pt x="756" y="71"/>
                  </a:lnTo>
                  <a:lnTo>
                    <a:pt x="782" y="62"/>
                  </a:lnTo>
                  <a:lnTo>
                    <a:pt x="798" y="71"/>
                  </a:lnTo>
                  <a:lnTo>
                    <a:pt x="798" y="78"/>
                  </a:lnTo>
                  <a:lnTo>
                    <a:pt x="831" y="88"/>
                  </a:lnTo>
                  <a:lnTo>
                    <a:pt x="848" y="78"/>
                  </a:lnTo>
                  <a:lnTo>
                    <a:pt x="853" y="95"/>
                  </a:lnTo>
                  <a:lnTo>
                    <a:pt x="890" y="100"/>
                  </a:lnTo>
                  <a:lnTo>
                    <a:pt x="961" y="88"/>
                  </a:lnTo>
                  <a:lnTo>
                    <a:pt x="1016" y="100"/>
                  </a:lnTo>
                  <a:lnTo>
                    <a:pt x="1101" y="62"/>
                  </a:lnTo>
                  <a:lnTo>
                    <a:pt x="1117" y="45"/>
                  </a:lnTo>
                  <a:lnTo>
                    <a:pt x="1134" y="55"/>
                  </a:lnTo>
                  <a:lnTo>
                    <a:pt x="1150" y="45"/>
                  </a:lnTo>
                  <a:lnTo>
                    <a:pt x="1176" y="55"/>
                  </a:lnTo>
                  <a:lnTo>
                    <a:pt x="1188" y="38"/>
                  </a:lnTo>
                  <a:lnTo>
                    <a:pt x="1205" y="38"/>
                  </a:lnTo>
                  <a:lnTo>
                    <a:pt x="1231" y="78"/>
                  </a:lnTo>
                  <a:lnTo>
                    <a:pt x="1242" y="78"/>
                  </a:lnTo>
                  <a:lnTo>
                    <a:pt x="1247" y="78"/>
                  </a:lnTo>
                  <a:lnTo>
                    <a:pt x="1268" y="111"/>
                  </a:lnTo>
                  <a:lnTo>
                    <a:pt x="1259" y="144"/>
                  </a:lnTo>
                  <a:lnTo>
                    <a:pt x="1264" y="166"/>
                  </a:lnTo>
                  <a:lnTo>
                    <a:pt x="1264" y="166"/>
                  </a:lnTo>
                  <a:lnTo>
                    <a:pt x="1280" y="173"/>
                  </a:lnTo>
                  <a:lnTo>
                    <a:pt x="1311" y="173"/>
                  </a:lnTo>
                  <a:lnTo>
                    <a:pt x="1339" y="206"/>
                  </a:lnTo>
                  <a:lnTo>
                    <a:pt x="1339" y="206"/>
                  </a:lnTo>
                  <a:lnTo>
                    <a:pt x="1334" y="199"/>
                  </a:lnTo>
                  <a:lnTo>
                    <a:pt x="1318" y="206"/>
                  </a:lnTo>
                  <a:lnTo>
                    <a:pt x="1318" y="227"/>
                  </a:lnTo>
                  <a:lnTo>
                    <a:pt x="1285" y="227"/>
                  </a:lnTo>
                  <a:lnTo>
                    <a:pt x="1301" y="255"/>
                  </a:lnTo>
                  <a:lnTo>
                    <a:pt x="1301" y="265"/>
                  </a:lnTo>
                  <a:lnTo>
                    <a:pt x="1311" y="277"/>
                  </a:lnTo>
                  <a:lnTo>
                    <a:pt x="1311" y="317"/>
                  </a:lnTo>
                  <a:lnTo>
                    <a:pt x="1318" y="317"/>
                  </a:lnTo>
                  <a:lnTo>
                    <a:pt x="1301" y="355"/>
                  </a:lnTo>
                  <a:lnTo>
                    <a:pt x="1334" y="371"/>
                  </a:lnTo>
                  <a:lnTo>
                    <a:pt x="1323" y="392"/>
                  </a:lnTo>
                  <a:lnTo>
                    <a:pt x="1339" y="404"/>
                  </a:lnTo>
                  <a:lnTo>
                    <a:pt x="1339" y="421"/>
                  </a:lnTo>
                  <a:lnTo>
                    <a:pt x="1334" y="409"/>
                  </a:lnTo>
                  <a:lnTo>
                    <a:pt x="1311" y="433"/>
                  </a:lnTo>
                  <a:lnTo>
                    <a:pt x="1301" y="421"/>
                  </a:lnTo>
                  <a:lnTo>
                    <a:pt x="1301" y="409"/>
                  </a:lnTo>
                  <a:lnTo>
                    <a:pt x="1297" y="404"/>
                  </a:lnTo>
                  <a:lnTo>
                    <a:pt x="1297" y="404"/>
                  </a:lnTo>
                  <a:lnTo>
                    <a:pt x="1297" y="404"/>
                  </a:lnTo>
                  <a:close/>
                  <a:moveTo>
                    <a:pt x="134" y="128"/>
                  </a:moveTo>
                  <a:lnTo>
                    <a:pt x="130" y="128"/>
                  </a:lnTo>
                  <a:lnTo>
                    <a:pt x="146" y="128"/>
                  </a:lnTo>
                  <a:lnTo>
                    <a:pt x="134" y="128"/>
                  </a:lnTo>
                  <a:lnTo>
                    <a:pt x="134" y="128"/>
                  </a:lnTo>
                  <a:lnTo>
                    <a:pt x="134" y="128"/>
                  </a:lnTo>
                  <a:close/>
                  <a:moveTo>
                    <a:pt x="5" y="166"/>
                  </a:moveTo>
                  <a:lnTo>
                    <a:pt x="0" y="166"/>
                  </a:lnTo>
                  <a:lnTo>
                    <a:pt x="5" y="156"/>
                  </a:lnTo>
                  <a:lnTo>
                    <a:pt x="21" y="156"/>
                  </a:lnTo>
                  <a:lnTo>
                    <a:pt x="21" y="166"/>
                  </a:lnTo>
                  <a:lnTo>
                    <a:pt x="5" y="166"/>
                  </a:lnTo>
                  <a:lnTo>
                    <a:pt x="5" y="166"/>
                  </a:lnTo>
                  <a:lnTo>
                    <a:pt x="5" y="166"/>
                  </a:lnTo>
                  <a:close/>
                  <a:moveTo>
                    <a:pt x="26" y="199"/>
                  </a:moveTo>
                  <a:lnTo>
                    <a:pt x="21" y="189"/>
                  </a:lnTo>
                  <a:lnTo>
                    <a:pt x="26" y="189"/>
                  </a:lnTo>
                  <a:lnTo>
                    <a:pt x="26" y="199"/>
                  </a:lnTo>
                  <a:lnTo>
                    <a:pt x="26" y="199"/>
                  </a:lnTo>
                  <a:lnTo>
                    <a:pt x="26" y="199"/>
                  </a:lnTo>
                  <a:close/>
                </a:path>
              </a:pathLst>
            </a:custGeom>
            <a:pattFill prst="dk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1" name="Freeform 575">
              <a:extLst>
                <a:ext uri="{FF2B5EF4-FFF2-40B4-BE49-F238E27FC236}">
                  <a16:creationId xmlns:a16="http://schemas.microsoft.com/office/drawing/2014/main" id="{C7B6BC88-FFD8-4A52-B385-94054EA3E9D6}"/>
                </a:ext>
              </a:extLst>
            </p:cNvPr>
            <p:cNvSpPr>
              <a:spLocks noEditPoints="1"/>
            </p:cNvSpPr>
            <p:nvPr/>
          </p:nvSpPr>
          <p:spPr bwMode="gray">
            <a:xfrm>
              <a:off x="9879129" y="3684571"/>
              <a:ext cx="128668" cy="122744"/>
            </a:xfrm>
            <a:custGeom>
              <a:avLst/>
              <a:gdLst>
                <a:gd name="T0" fmla="*/ 130 w 260"/>
                <a:gd name="T1" fmla="*/ 132 h 248"/>
                <a:gd name="T2" fmla="*/ 142 w 260"/>
                <a:gd name="T3" fmla="*/ 108 h 248"/>
                <a:gd name="T4" fmla="*/ 196 w 260"/>
                <a:gd name="T5" fmla="*/ 21 h 248"/>
                <a:gd name="T6" fmla="*/ 222 w 260"/>
                <a:gd name="T7" fmla="*/ 4 h 248"/>
                <a:gd name="T8" fmla="*/ 222 w 260"/>
                <a:gd name="T9" fmla="*/ 4 h 248"/>
                <a:gd name="T10" fmla="*/ 234 w 260"/>
                <a:gd name="T11" fmla="*/ 0 h 248"/>
                <a:gd name="T12" fmla="*/ 260 w 260"/>
                <a:gd name="T13" fmla="*/ 9 h 248"/>
                <a:gd name="T14" fmla="*/ 251 w 260"/>
                <a:gd name="T15" fmla="*/ 26 h 248"/>
                <a:gd name="T16" fmla="*/ 256 w 260"/>
                <a:gd name="T17" fmla="*/ 59 h 248"/>
                <a:gd name="T18" fmla="*/ 239 w 260"/>
                <a:gd name="T19" fmla="*/ 82 h 248"/>
                <a:gd name="T20" fmla="*/ 222 w 260"/>
                <a:gd name="T21" fmla="*/ 148 h 248"/>
                <a:gd name="T22" fmla="*/ 206 w 260"/>
                <a:gd name="T23" fmla="*/ 174 h 248"/>
                <a:gd name="T24" fmla="*/ 196 w 260"/>
                <a:gd name="T25" fmla="*/ 203 h 248"/>
                <a:gd name="T26" fmla="*/ 180 w 260"/>
                <a:gd name="T27" fmla="*/ 248 h 248"/>
                <a:gd name="T28" fmla="*/ 168 w 260"/>
                <a:gd name="T29" fmla="*/ 248 h 248"/>
                <a:gd name="T30" fmla="*/ 168 w 260"/>
                <a:gd name="T31" fmla="*/ 226 h 248"/>
                <a:gd name="T32" fmla="*/ 147 w 260"/>
                <a:gd name="T33" fmla="*/ 203 h 248"/>
                <a:gd name="T34" fmla="*/ 130 w 260"/>
                <a:gd name="T35" fmla="*/ 170 h 248"/>
                <a:gd name="T36" fmla="*/ 126 w 260"/>
                <a:gd name="T37" fmla="*/ 165 h 248"/>
                <a:gd name="T38" fmla="*/ 130 w 260"/>
                <a:gd name="T39" fmla="*/ 132 h 248"/>
                <a:gd name="T40" fmla="*/ 130 w 260"/>
                <a:gd name="T41" fmla="*/ 132 h 248"/>
                <a:gd name="T42" fmla="*/ 130 w 260"/>
                <a:gd name="T43" fmla="*/ 132 h 248"/>
                <a:gd name="T44" fmla="*/ 0 w 260"/>
                <a:gd name="T45" fmla="*/ 59 h 248"/>
                <a:gd name="T46" fmla="*/ 5 w 260"/>
                <a:gd name="T47" fmla="*/ 54 h 248"/>
                <a:gd name="T48" fmla="*/ 17 w 260"/>
                <a:gd name="T49" fmla="*/ 59 h 248"/>
                <a:gd name="T50" fmla="*/ 17 w 260"/>
                <a:gd name="T51" fmla="*/ 59 h 248"/>
                <a:gd name="T52" fmla="*/ 0 w 260"/>
                <a:gd name="T53" fmla="*/ 59 h 248"/>
                <a:gd name="T54" fmla="*/ 0 w 260"/>
                <a:gd name="T55" fmla="*/ 59 h 248"/>
                <a:gd name="T56" fmla="*/ 0 w 260"/>
                <a:gd name="T57" fmla="*/ 59 h 248"/>
                <a:gd name="T58" fmla="*/ 93 w 260"/>
                <a:gd name="T59" fmla="*/ 132 h 248"/>
                <a:gd name="T60" fmla="*/ 93 w 260"/>
                <a:gd name="T61" fmla="*/ 120 h 248"/>
                <a:gd name="T62" fmla="*/ 97 w 260"/>
                <a:gd name="T63" fmla="*/ 132 h 248"/>
                <a:gd name="T64" fmla="*/ 93 w 260"/>
                <a:gd name="T65" fmla="*/ 132 h 248"/>
                <a:gd name="T66" fmla="*/ 93 w 260"/>
                <a:gd name="T67" fmla="*/ 132 h 248"/>
                <a:gd name="T68" fmla="*/ 93 w 260"/>
                <a:gd name="T69" fmla="*/ 13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0" h="248">
                  <a:moveTo>
                    <a:pt x="130" y="132"/>
                  </a:moveTo>
                  <a:lnTo>
                    <a:pt x="142" y="108"/>
                  </a:lnTo>
                  <a:lnTo>
                    <a:pt x="196" y="21"/>
                  </a:lnTo>
                  <a:lnTo>
                    <a:pt x="222" y="4"/>
                  </a:lnTo>
                  <a:lnTo>
                    <a:pt x="222" y="4"/>
                  </a:lnTo>
                  <a:lnTo>
                    <a:pt x="234" y="0"/>
                  </a:lnTo>
                  <a:lnTo>
                    <a:pt x="260" y="9"/>
                  </a:lnTo>
                  <a:lnTo>
                    <a:pt x="251" y="26"/>
                  </a:lnTo>
                  <a:lnTo>
                    <a:pt x="256" y="59"/>
                  </a:lnTo>
                  <a:lnTo>
                    <a:pt x="239" y="82"/>
                  </a:lnTo>
                  <a:lnTo>
                    <a:pt x="222" y="148"/>
                  </a:lnTo>
                  <a:lnTo>
                    <a:pt x="206" y="174"/>
                  </a:lnTo>
                  <a:lnTo>
                    <a:pt x="196" y="203"/>
                  </a:lnTo>
                  <a:lnTo>
                    <a:pt x="180" y="248"/>
                  </a:lnTo>
                  <a:lnTo>
                    <a:pt x="168" y="248"/>
                  </a:lnTo>
                  <a:lnTo>
                    <a:pt x="168" y="226"/>
                  </a:lnTo>
                  <a:lnTo>
                    <a:pt x="147" y="203"/>
                  </a:lnTo>
                  <a:lnTo>
                    <a:pt x="130" y="170"/>
                  </a:lnTo>
                  <a:lnTo>
                    <a:pt x="126" y="165"/>
                  </a:lnTo>
                  <a:lnTo>
                    <a:pt x="130" y="132"/>
                  </a:lnTo>
                  <a:lnTo>
                    <a:pt x="130" y="132"/>
                  </a:lnTo>
                  <a:lnTo>
                    <a:pt x="130" y="132"/>
                  </a:lnTo>
                  <a:close/>
                  <a:moveTo>
                    <a:pt x="0" y="59"/>
                  </a:moveTo>
                  <a:lnTo>
                    <a:pt x="5" y="54"/>
                  </a:lnTo>
                  <a:lnTo>
                    <a:pt x="17" y="59"/>
                  </a:lnTo>
                  <a:lnTo>
                    <a:pt x="17" y="59"/>
                  </a:lnTo>
                  <a:lnTo>
                    <a:pt x="0" y="59"/>
                  </a:lnTo>
                  <a:lnTo>
                    <a:pt x="0" y="59"/>
                  </a:lnTo>
                  <a:lnTo>
                    <a:pt x="0" y="59"/>
                  </a:lnTo>
                  <a:close/>
                  <a:moveTo>
                    <a:pt x="93" y="132"/>
                  </a:moveTo>
                  <a:lnTo>
                    <a:pt x="93" y="120"/>
                  </a:lnTo>
                  <a:lnTo>
                    <a:pt x="97" y="132"/>
                  </a:lnTo>
                  <a:lnTo>
                    <a:pt x="93" y="132"/>
                  </a:lnTo>
                  <a:lnTo>
                    <a:pt x="93" y="132"/>
                  </a:lnTo>
                  <a:lnTo>
                    <a:pt x="93" y="132"/>
                  </a:lnTo>
                  <a:close/>
                </a:path>
              </a:pathLst>
            </a:custGeom>
            <a:pattFill prst="dk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2" name="Freeform 577">
              <a:extLst>
                <a:ext uri="{FF2B5EF4-FFF2-40B4-BE49-F238E27FC236}">
                  <a16:creationId xmlns:a16="http://schemas.microsoft.com/office/drawing/2014/main" id="{A4A309F6-4DCA-4CD8-AE85-2F0D0BB5C866}"/>
                </a:ext>
              </a:extLst>
            </p:cNvPr>
            <p:cNvSpPr>
              <a:spLocks/>
            </p:cNvSpPr>
            <p:nvPr/>
          </p:nvSpPr>
          <p:spPr bwMode="gray">
            <a:xfrm>
              <a:off x="7596261" y="2977312"/>
              <a:ext cx="492402" cy="317746"/>
            </a:xfrm>
            <a:custGeom>
              <a:avLst/>
              <a:gdLst>
                <a:gd name="T0" fmla="*/ 926 w 995"/>
                <a:gd name="T1" fmla="*/ 453 h 642"/>
                <a:gd name="T2" fmla="*/ 860 w 995"/>
                <a:gd name="T3" fmla="*/ 486 h 642"/>
                <a:gd name="T4" fmla="*/ 806 w 995"/>
                <a:gd name="T5" fmla="*/ 571 h 642"/>
                <a:gd name="T6" fmla="*/ 747 w 995"/>
                <a:gd name="T7" fmla="*/ 609 h 642"/>
                <a:gd name="T8" fmla="*/ 699 w 995"/>
                <a:gd name="T9" fmla="*/ 637 h 642"/>
                <a:gd name="T10" fmla="*/ 640 w 995"/>
                <a:gd name="T11" fmla="*/ 621 h 642"/>
                <a:gd name="T12" fmla="*/ 607 w 995"/>
                <a:gd name="T13" fmla="*/ 526 h 642"/>
                <a:gd name="T14" fmla="*/ 494 w 995"/>
                <a:gd name="T15" fmla="*/ 477 h 642"/>
                <a:gd name="T16" fmla="*/ 409 w 995"/>
                <a:gd name="T17" fmla="*/ 437 h 642"/>
                <a:gd name="T18" fmla="*/ 333 w 995"/>
                <a:gd name="T19" fmla="*/ 387 h 642"/>
                <a:gd name="T20" fmla="*/ 279 w 995"/>
                <a:gd name="T21" fmla="*/ 387 h 642"/>
                <a:gd name="T22" fmla="*/ 262 w 995"/>
                <a:gd name="T23" fmla="*/ 403 h 642"/>
                <a:gd name="T24" fmla="*/ 161 w 995"/>
                <a:gd name="T25" fmla="*/ 453 h 642"/>
                <a:gd name="T26" fmla="*/ 102 w 995"/>
                <a:gd name="T27" fmla="*/ 470 h 642"/>
                <a:gd name="T28" fmla="*/ 106 w 995"/>
                <a:gd name="T29" fmla="*/ 333 h 642"/>
                <a:gd name="T30" fmla="*/ 47 w 995"/>
                <a:gd name="T31" fmla="*/ 292 h 642"/>
                <a:gd name="T32" fmla="*/ 52 w 995"/>
                <a:gd name="T33" fmla="*/ 271 h 642"/>
                <a:gd name="T34" fmla="*/ 90 w 995"/>
                <a:gd name="T35" fmla="*/ 288 h 642"/>
                <a:gd name="T36" fmla="*/ 31 w 995"/>
                <a:gd name="T37" fmla="*/ 248 h 642"/>
                <a:gd name="T38" fmla="*/ 17 w 995"/>
                <a:gd name="T39" fmla="*/ 210 h 642"/>
                <a:gd name="T40" fmla="*/ 47 w 995"/>
                <a:gd name="T41" fmla="*/ 177 h 642"/>
                <a:gd name="T42" fmla="*/ 90 w 995"/>
                <a:gd name="T43" fmla="*/ 193 h 642"/>
                <a:gd name="T44" fmla="*/ 135 w 995"/>
                <a:gd name="T45" fmla="*/ 160 h 642"/>
                <a:gd name="T46" fmla="*/ 161 w 995"/>
                <a:gd name="T47" fmla="*/ 153 h 642"/>
                <a:gd name="T48" fmla="*/ 90 w 995"/>
                <a:gd name="T49" fmla="*/ 54 h 642"/>
                <a:gd name="T50" fmla="*/ 26 w 995"/>
                <a:gd name="T51" fmla="*/ 99 h 642"/>
                <a:gd name="T52" fmla="*/ 31 w 995"/>
                <a:gd name="T53" fmla="*/ 153 h 642"/>
                <a:gd name="T54" fmla="*/ 10 w 995"/>
                <a:gd name="T55" fmla="*/ 103 h 642"/>
                <a:gd name="T56" fmla="*/ 69 w 995"/>
                <a:gd name="T57" fmla="*/ 49 h 642"/>
                <a:gd name="T58" fmla="*/ 177 w 995"/>
                <a:gd name="T59" fmla="*/ 87 h 642"/>
                <a:gd name="T60" fmla="*/ 321 w 995"/>
                <a:gd name="T61" fmla="*/ 137 h 642"/>
                <a:gd name="T62" fmla="*/ 317 w 995"/>
                <a:gd name="T63" fmla="*/ 82 h 642"/>
                <a:gd name="T64" fmla="*/ 392 w 995"/>
                <a:gd name="T65" fmla="*/ 26 h 642"/>
                <a:gd name="T66" fmla="*/ 425 w 995"/>
                <a:gd name="T67" fmla="*/ 49 h 642"/>
                <a:gd name="T68" fmla="*/ 425 w 995"/>
                <a:gd name="T69" fmla="*/ 16 h 642"/>
                <a:gd name="T70" fmla="*/ 468 w 995"/>
                <a:gd name="T71" fmla="*/ 26 h 642"/>
                <a:gd name="T72" fmla="*/ 532 w 995"/>
                <a:gd name="T73" fmla="*/ 49 h 642"/>
                <a:gd name="T74" fmla="*/ 532 w 995"/>
                <a:gd name="T75" fmla="*/ 87 h 642"/>
                <a:gd name="T76" fmla="*/ 539 w 995"/>
                <a:gd name="T77" fmla="*/ 127 h 642"/>
                <a:gd name="T78" fmla="*/ 619 w 995"/>
                <a:gd name="T79" fmla="*/ 144 h 642"/>
                <a:gd name="T80" fmla="*/ 678 w 995"/>
                <a:gd name="T81" fmla="*/ 193 h 642"/>
                <a:gd name="T82" fmla="*/ 780 w 995"/>
                <a:gd name="T83" fmla="*/ 292 h 642"/>
                <a:gd name="T84" fmla="*/ 834 w 995"/>
                <a:gd name="T85" fmla="*/ 326 h 642"/>
                <a:gd name="T86" fmla="*/ 995 w 995"/>
                <a:gd name="T87" fmla="*/ 415 h 642"/>
                <a:gd name="T88" fmla="*/ 985 w 995"/>
                <a:gd name="T89" fmla="*/ 460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5" h="642">
                  <a:moveTo>
                    <a:pt x="985" y="460"/>
                  </a:moveTo>
                  <a:lnTo>
                    <a:pt x="969" y="470"/>
                  </a:lnTo>
                  <a:lnTo>
                    <a:pt x="926" y="453"/>
                  </a:lnTo>
                  <a:lnTo>
                    <a:pt x="914" y="477"/>
                  </a:lnTo>
                  <a:lnTo>
                    <a:pt x="888" y="477"/>
                  </a:lnTo>
                  <a:lnTo>
                    <a:pt x="860" y="486"/>
                  </a:lnTo>
                  <a:lnTo>
                    <a:pt x="860" y="498"/>
                  </a:lnTo>
                  <a:lnTo>
                    <a:pt x="839" y="552"/>
                  </a:lnTo>
                  <a:lnTo>
                    <a:pt x="806" y="571"/>
                  </a:lnTo>
                  <a:lnTo>
                    <a:pt x="747" y="588"/>
                  </a:lnTo>
                  <a:lnTo>
                    <a:pt x="747" y="604"/>
                  </a:lnTo>
                  <a:lnTo>
                    <a:pt x="747" y="609"/>
                  </a:lnTo>
                  <a:lnTo>
                    <a:pt x="747" y="621"/>
                  </a:lnTo>
                  <a:lnTo>
                    <a:pt x="716" y="637"/>
                  </a:lnTo>
                  <a:lnTo>
                    <a:pt x="699" y="637"/>
                  </a:lnTo>
                  <a:lnTo>
                    <a:pt x="683" y="642"/>
                  </a:lnTo>
                  <a:lnTo>
                    <a:pt x="671" y="621"/>
                  </a:lnTo>
                  <a:lnTo>
                    <a:pt x="640" y="621"/>
                  </a:lnTo>
                  <a:lnTo>
                    <a:pt x="624" y="604"/>
                  </a:lnTo>
                  <a:lnTo>
                    <a:pt x="619" y="609"/>
                  </a:lnTo>
                  <a:lnTo>
                    <a:pt x="607" y="526"/>
                  </a:lnTo>
                  <a:lnTo>
                    <a:pt x="548" y="526"/>
                  </a:lnTo>
                  <a:lnTo>
                    <a:pt x="532" y="493"/>
                  </a:lnTo>
                  <a:lnTo>
                    <a:pt x="494" y="477"/>
                  </a:lnTo>
                  <a:lnTo>
                    <a:pt x="477" y="453"/>
                  </a:lnTo>
                  <a:lnTo>
                    <a:pt x="456" y="437"/>
                  </a:lnTo>
                  <a:lnTo>
                    <a:pt x="409" y="437"/>
                  </a:lnTo>
                  <a:lnTo>
                    <a:pt x="404" y="432"/>
                  </a:lnTo>
                  <a:lnTo>
                    <a:pt x="350" y="415"/>
                  </a:lnTo>
                  <a:lnTo>
                    <a:pt x="333" y="387"/>
                  </a:lnTo>
                  <a:lnTo>
                    <a:pt x="321" y="399"/>
                  </a:lnTo>
                  <a:lnTo>
                    <a:pt x="300" y="387"/>
                  </a:lnTo>
                  <a:lnTo>
                    <a:pt x="279" y="387"/>
                  </a:lnTo>
                  <a:lnTo>
                    <a:pt x="269" y="399"/>
                  </a:lnTo>
                  <a:lnTo>
                    <a:pt x="269" y="403"/>
                  </a:lnTo>
                  <a:lnTo>
                    <a:pt x="262" y="403"/>
                  </a:lnTo>
                  <a:lnTo>
                    <a:pt x="210" y="403"/>
                  </a:lnTo>
                  <a:lnTo>
                    <a:pt x="173" y="432"/>
                  </a:lnTo>
                  <a:lnTo>
                    <a:pt x="161" y="453"/>
                  </a:lnTo>
                  <a:lnTo>
                    <a:pt x="156" y="460"/>
                  </a:lnTo>
                  <a:lnTo>
                    <a:pt x="123" y="470"/>
                  </a:lnTo>
                  <a:lnTo>
                    <a:pt x="102" y="470"/>
                  </a:lnTo>
                  <a:lnTo>
                    <a:pt x="90" y="420"/>
                  </a:lnTo>
                  <a:lnTo>
                    <a:pt x="90" y="366"/>
                  </a:lnTo>
                  <a:lnTo>
                    <a:pt x="106" y="333"/>
                  </a:lnTo>
                  <a:lnTo>
                    <a:pt x="85" y="321"/>
                  </a:lnTo>
                  <a:lnTo>
                    <a:pt x="80" y="304"/>
                  </a:lnTo>
                  <a:lnTo>
                    <a:pt x="47" y="292"/>
                  </a:lnTo>
                  <a:lnTo>
                    <a:pt x="47" y="309"/>
                  </a:lnTo>
                  <a:lnTo>
                    <a:pt x="47" y="288"/>
                  </a:lnTo>
                  <a:lnTo>
                    <a:pt x="52" y="271"/>
                  </a:lnTo>
                  <a:lnTo>
                    <a:pt x="52" y="288"/>
                  </a:lnTo>
                  <a:lnTo>
                    <a:pt x="80" y="288"/>
                  </a:lnTo>
                  <a:lnTo>
                    <a:pt x="90" y="288"/>
                  </a:lnTo>
                  <a:lnTo>
                    <a:pt x="69" y="271"/>
                  </a:lnTo>
                  <a:lnTo>
                    <a:pt x="80" y="248"/>
                  </a:lnTo>
                  <a:lnTo>
                    <a:pt x="31" y="248"/>
                  </a:lnTo>
                  <a:lnTo>
                    <a:pt x="38" y="264"/>
                  </a:lnTo>
                  <a:lnTo>
                    <a:pt x="17" y="238"/>
                  </a:lnTo>
                  <a:lnTo>
                    <a:pt x="17" y="210"/>
                  </a:lnTo>
                  <a:lnTo>
                    <a:pt x="31" y="181"/>
                  </a:lnTo>
                  <a:lnTo>
                    <a:pt x="31" y="153"/>
                  </a:lnTo>
                  <a:lnTo>
                    <a:pt x="47" y="177"/>
                  </a:lnTo>
                  <a:lnTo>
                    <a:pt x="69" y="181"/>
                  </a:lnTo>
                  <a:lnTo>
                    <a:pt x="80" y="165"/>
                  </a:lnTo>
                  <a:lnTo>
                    <a:pt x="90" y="193"/>
                  </a:lnTo>
                  <a:lnTo>
                    <a:pt x="139" y="181"/>
                  </a:lnTo>
                  <a:lnTo>
                    <a:pt x="123" y="165"/>
                  </a:lnTo>
                  <a:lnTo>
                    <a:pt x="135" y="160"/>
                  </a:lnTo>
                  <a:lnTo>
                    <a:pt x="139" y="177"/>
                  </a:lnTo>
                  <a:lnTo>
                    <a:pt x="156" y="165"/>
                  </a:lnTo>
                  <a:lnTo>
                    <a:pt x="161" y="153"/>
                  </a:lnTo>
                  <a:lnTo>
                    <a:pt x="118" y="120"/>
                  </a:lnTo>
                  <a:lnTo>
                    <a:pt x="102" y="66"/>
                  </a:lnTo>
                  <a:lnTo>
                    <a:pt x="90" y="54"/>
                  </a:lnTo>
                  <a:lnTo>
                    <a:pt x="47" y="66"/>
                  </a:lnTo>
                  <a:lnTo>
                    <a:pt x="31" y="70"/>
                  </a:lnTo>
                  <a:lnTo>
                    <a:pt x="26" y="99"/>
                  </a:lnTo>
                  <a:lnTo>
                    <a:pt x="31" y="99"/>
                  </a:lnTo>
                  <a:lnTo>
                    <a:pt x="26" y="120"/>
                  </a:lnTo>
                  <a:lnTo>
                    <a:pt x="31" y="153"/>
                  </a:lnTo>
                  <a:lnTo>
                    <a:pt x="26" y="127"/>
                  </a:lnTo>
                  <a:lnTo>
                    <a:pt x="10" y="111"/>
                  </a:lnTo>
                  <a:lnTo>
                    <a:pt x="10" y="103"/>
                  </a:lnTo>
                  <a:lnTo>
                    <a:pt x="0" y="99"/>
                  </a:lnTo>
                  <a:lnTo>
                    <a:pt x="38" y="54"/>
                  </a:lnTo>
                  <a:lnTo>
                    <a:pt x="69" y="49"/>
                  </a:lnTo>
                  <a:lnTo>
                    <a:pt x="123" y="37"/>
                  </a:lnTo>
                  <a:lnTo>
                    <a:pt x="177" y="82"/>
                  </a:lnTo>
                  <a:lnTo>
                    <a:pt x="177" y="87"/>
                  </a:lnTo>
                  <a:lnTo>
                    <a:pt x="210" y="137"/>
                  </a:lnTo>
                  <a:lnTo>
                    <a:pt x="246" y="127"/>
                  </a:lnTo>
                  <a:lnTo>
                    <a:pt x="321" y="137"/>
                  </a:lnTo>
                  <a:lnTo>
                    <a:pt x="321" y="127"/>
                  </a:lnTo>
                  <a:lnTo>
                    <a:pt x="317" y="99"/>
                  </a:lnTo>
                  <a:lnTo>
                    <a:pt x="317" y="82"/>
                  </a:lnTo>
                  <a:lnTo>
                    <a:pt x="350" y="54"/>
                  </a:lnTo>
                  <a:lnTo>
                    <a:pt x="376" y="54"/>
                  </a:lnTo>
                  <a:lnTo>
                    <a:pt x="392" y="26"/>
                  </a:lnTo>
                  <a:lnTo>
                    <a:pt x="409" y="33"/>
                  </a:lnTo>
                  <a:lnTo>
                    <a:pt x="413" y="49"/>
                  </a:lnTo>
                  <a:lnTo>
                    <a:pt x="425" y="49"/>
                  </a:lnTo>
                  <a:lnTo>
                    <a:pt x="404" y="16"/>
                  </a:lnTo>
                  <a:lnTo>
                    <a:pt x="409" y="9"/>
                  </a:lnTo>
                  <a:lnTo>
                    <a:pt x="425" y="16"/>
                  </a:lnTo>
                  <a:lnTo>
                    <a:pt x="430" y="0"/>
                  </a:lnTo>
                  <a:lnTo>
                    <a:pt x="456" y="26"/>
                  </a:lnTo>
                  <a:lnTo>
                    <a:pt x="468" y="26"/>
                  </a:lnTo>
                  <a:lnTo>
                    <a:pt x="477" y="37"/>
                  </a:lnTo>
                  <a:lnTo>
                    <a:pt x="515" y="37"/>
                  </a:lnTo>
                  <a:lnTo>
                    <a:pt x="532" y="49"/>
                  </a:lnTo>
                  <a:lnTo>
                    <a:pt x="532" y="66"/>
                  </a:lnTo>
                  <a:lnTo>
                    <a:pt x="548" y="87"/>
                  </a:lnTo>
                  <a:lnTo>
                    <a:pt x="532" y="87"/>
                  </a:lnTo>
                  <a:lnTo>
                    <a:pt x="539" y="103"/>
                  </a:lnTo>
                  <a:lnTo>
                    <a:pt x="532" y="120"/>
                  </a:lnTo>
                  <a:lnTo>
                    <a:pt x="539" y="127"/>
                  </a:lnTo>
                  <a:lnTo>
                    <a:pt x="565" y="137"/>
                  </a:lnTo>
                  <a:lnTo>
                    <a:pt x="591" y="137"/>
                  </a:lnTo>
                  <a:lnTo>
                    <a:pt x="619" y="144"/>
                  </a:lnTo>
                  <a:lnTo>
                    <a:pt x="628" y="127"/>
                  </a:lnTo>
                  <a:lnTo>
                    <a:pt x="662" y="144"/>
                  </a:lnTo>
                  <a:lnTo>
                    <a:pt x="678" y="193"/>
                  </a:lnTo>
                  <a:lnTo>
                    <a:pt x="695" y="210"/>
                  </a:lnTo>
                  <a:lnTo>
                    <a:pt x="699" y="238"/>
                  </a:lnTo>
                  <a:lnTo>
                    <a:pt x="780" y="292"/>
                  </a:lnTo>
                  <a:lnTo>
                    <a:pt x="784" y="309"/>
                  </a:lnTo>
                  <a:lnTo>
                    <a:pt x="817" y="333"/>
                  </a:lnTo>
                  <a:lnTo>
                    <a:pt x="834" y="326"/>
                  </a:lnTo>
                  <a:lnTo>
                    <a:pt x="914" y="387"/>
                  </a:lnTo>
                  <a:lnTo>
                    <a:pt x="940" y="387"/>
                  </a:lnTo>
                  <a:lnTo>
                    <a:pt x="995" y="415"/>
                  </a:lnTo>
                  <a:lnTo>
                    <a:pt x="985" y="432"/>
                  </a:lnTo>
                  <a:lnTo>
                    <a:pt x="985" y="460"/>
                  </a:lnTo>
                  <a:lnTo>
                    <a:pt x="985" y="460"/>
                  </a:lnTo>
                  <a:lnTo>
                    <a:pt x="985" y="460"/>
                  </a:lnTo>
                  <a:close/>
                </a:path>
              </a:pathLst>
            </a:custGeom>
            <a:pattFill prst="dk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3" name="Freeform 578">
              <a:extLst>
                <a:ext uri="{FF2B5EF4-FFF2-40B4-BE49-F238E27FC236}">
                  <a16:creationId xmlns:a16="http://schemas.microsoft.com/office/drawing/2014/main" id="{BB669EDE-3FF0-4D44-A55C-9AF437E926F4}"/>
                </a:ext>
              </a:extLst>
            </p:cNvPr>
            <p:cNvSpPr>
              <a:spLocks noEditPoints="1"/>
            </p:cNvSpPr>
            <p:nvPr/>
          </p:nvSpPr>
          <p:spPr bwMode="gray">
            <a:xfrm>
              <a:off x="6793076" y="4639294"/>
              <a:ext cx="388479" cy="385058"/>
            </a:xfrm>
            <a:custGeom>
              <a:avLst/>
              <a:gdLst>
                <a:gd name="T0" fmla="*/ 612 w 785"/>
                <a:gd name="T1" fmla="*/ 737 h 778"/>
                <a:gd name="T2" fmla="*/ 596 w 785"/>
                <a:gd name="T3" fmla="*/ 766 h 778"/>
                <a:gd name="T4" fmla="*/ 525 w 785"/>
                <a:gd name="T5" fmla="*/ 766 h 778"/>
                <a:gd name="T6" fmla="*/ 482 w 785"/>
                <a:gd name="T7" fmla="*/ 778 h 778"/>
                <a:gd name="T8" fmla="*/ 461 w 785"/>
                <a:gd name="T9" fmla="*/ 754 h 778"/>
                <a:gd name="T10" fmla="*/ 395 w 785"/>
                <a:gd name="T11" fmla="*/ 766 h 778"/>
                <a:gd name="T12" fmla="*/ 374 w 785"/>
                <a:gd name="T13" fmla="*/ 712 h 778"/>
                <a:gd name="T14" fmla="*/ 352 w 785"/>
                <a:gd name="T15" fmla="*/ 626 h 778"/>
                <a:gd name="T16" fmla="*/ 319 w 785"/>
                <a:gd name="T17" fmla="*/ 626 h 778"/>
                <a:gd name="T18" fmla="*/ 288 w 785"/>
                <a:gd name="T19" fmla="*/ 622 h 778"/>
                <a:gd name="T20" fmla="*/ 248 w 785"/>
                <a:gd name="T21" fmla="*/ 605 h 778"/>
                <a:gd name="T22" fmla="*/ 218 w 785"/>
                <a:gd name="T23" fmla="*/ 589 h 778"/>
                <a:gd name="T24" fmla="*/ 189 w 785"/>
                <a:gd name="T25" fmla="*/ 572 h 778"/>
                <a:gd name="T26" fmla="*/ 147 w 785"/>
                <a:gd name="T27" fmla="*/ 551 h 778"/>
                <a:gd name="T28" fmla="*/ 104 w 785"/>
                <a:gd name="T29" fmla="*/ 515 h 778"/>
                <a:gd name="T30" fmla="*/ 50 w 785"/>
                <a:gd name="T31" fmla="*/ 423 h 778"/>
                <a:gd name="T32" fmla="*/ 17 w 785"/>
                <a:gd name="T33" fmla="*/ 383 h 778"/>
                <a:gd name="T34" fmla="*/ 17 w 785"/>
                <a:gd name="T35" fmla="*/ 345 h 778"/>
                <a:gd name="T36" fmla="*/ 0 w 785"/>
                <a:gd name="T37" fmla="*/ 251 h 778"/>
                <a:gd name="T38" fmla="*/ 50 w 785"/>
                <a:gd name="T39" fmla="*/ 234 h 778"/>
                <a:gd name="T40" fmla="*/ 71 w 785"/>
                <a:gd name="T41" fmla="*/ 201 h 778"/>
                <a:gd name="T42" fmla="*/ 104 w 785"/>
                <a:gd name="T43" fmla="*/ 161 h 778"/>
                <a:gd name="T44" fmla="*/ 88 w 785"/>
                <a:gd name="T45" fmla="*/ 140 h 778"/>
                <a:gd name="T46" fmla="*/ 81 w 785"/>
                <a:gd name="T47" fmla="*/ 140 h 778"/>
                <a:gd name="T48" fmla="*/ 104 w 785"/>
                <a:gd name="T49" fmla="*/ 100 h 778"/>
                <a:gd name="T50" fmla="*/ 104 w 785"/>
                <a:gd name="T51" fmla="*/ 67 h 778"/>
                <a:gd name="T52" fmla="*/ 92 w 785"/>
                <a:gd name="T53" fmla="*/ 34 h 778"/>
                <a:gd name="T54" fmla="*/ 81 w 785"/>
                <a:gd name="T55" fmla="*/ 0 h 778"/>
                <a:gd name="T56" fmla="*/ 248 w 785"/>
                <a:gd name="T57" fmla="*/ 0 h 778"/>
                <a:gd name="T58" fmla="*/ 579 w 785"/>
                <a:gd name="T59" fmla="*/ 145 h 778"/>
                <a:gd name="T60" fmla="*/ 579 w 785"/>
                <a:gd name="T61" fmla="*/ 178 h 778"/>
                <a:gd name="T62" fmla="*/ 700 w 785"/>
                <a:gd name="T63" fmla="*/ 277 h 778"/>
                <a:gd name="T64" fmla="*/ 688 w 785"/>
                <a:gd name="T65" fmla="*/ 277 h 778"/>
                <a:gd name="T66" fmla="*/ 678 w 785"/>
                <a:gd name="T67" fmla="*/ 388 h 778"/>
                <a:gd name="T68" fmla="*/ 721 w 785"/>
                <a:gd name="T69" fmla="*/ 433 h 778"/>
                <a:gd name="T70" fmla="*/ 700 w 785"/>
                <a:gd name="T71" fmla="*/ 489 h 778"/>
                <a:gd name="T72" fmla="*/ 716 w 785"/>
                <a:gd name="T73" fmla="*/ 499 h 778"/>
                <a:gd name="T74" fmla="*/ 704 w 785"/>
                <a:gd name="T75" fmla="*/ 556 h 778"/>
                <a:gd name="T76" fmla="*/ 704 w 785"/>
                <a:gd name="T77" fmla="*/ 572 h 778"/>
                <a:gd name="T78" fmla="*/ 737 w 785"/>
                <a:gd name="T79" fmla="*/ 655 h 778"/>
                <a:gd name="T80" fmla="*/ 754 w 785"/>
                <a:gd name="T81" fmla="*/ 662 h 778"/>
                <a:gd name="T82" fmla="*/ 770 w 785"/>
                <a:gd name="T83" fmla="*/ 667 h 778"/>
                <a:gd name="T84" fmla="*/ 700 w 785"/>
                <a:gd name="T85" fmla="*/ 737 h 778"/>
                <a:gd name="T86" fmla="*/ 645 w 785"/>
                <a:gd name="T87" fmla="*/ 754 h 778"/>
                <a:gd name="T88" fmla="*/ 645 w 785"/>
                <a:gd name="T89" fmla="*/ 754 h 778"/>
                <a:gd name="T90" fmla="*/ 733 w 785"/>
                <a:gd name="T91" fmla="*/ 277 h 778"/>
                <a:gd name="T92" fmla="*/ 737 w 785"/>
                <a:gd name="T93" fmla="*/ 305 h 778"/>
                <a:gd name="T94" fmla="*/ 721 w 785"/>
                <a:gd name="T95" fmla="*/ 322 h 778"/>
                <a:gd name="T96" fmla="*/ 733 w 785"/>
                <a:gd name="T97" fmla="*/ 305 h 778"/>
                <a:gd name="T98" fmla="*/ 704 w 785"/>
                <a:gd name="T99" fmla="*/ 362 h 778"/>
                <a:gd name="T100" fmla="*/ 716 w 785"/>
                <a:gd name="T101" fmla="*/ 367 h 778"/>
                <a:gd name="T102" fmla="*/ 721 w 785"/>
                <a:gd name="T103" fmla="*/ 388 h 778"/>
                <a:gd name="T104" fmla="*/ 688 w 785"/>
                <a:gd name="T105" fmla="*/ 378 h 778"/>
                <a:gd name="T106" fmla="*/ 700 w 785"/>
                <a:gd name="T107" fmla="*/ 345 h 778"/>
                <a:gd name="T108" fmla="*/ 704 w 785"/>
                <a:gd name="T109" fmla="*/ 362 h 778"/>
                <a:gd name="T110" fmla="*/ 721 w 785"/>
                <a:gd name="T111" fmla="*/ 499 h 778"/>
                <a:gd name="T112" fmla="*/ 742 w 785"/>
                <a:gd name="T113" fmla="*/ 478 h 778"/>
                <a:gd name="T114" fmla="*/ 721 w 785"/>
                <a:gd name="T115" fmla="*/ 499 h 778"/>
                <a:gd name="T116" fmla="*/ 721 w 785"/>
                <a:gd name="T117" fmla="*/ 499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5" h="778">
                  <a:moveTo>
                    <a:pt x="645" y="754"/>
                  </a:moveTo>
                  <a:lnTo>
                    <a:pt x="612" y="737"/>
                  </a:lnTo>
                  <a:lnTo>
                    <a:pt x="607" y="749"/>
                  </a:lnTo>
                  <a:lnTo>
                    <a:pt x="596" y="766"/>
                  </a:lnTo>
                  <a:lnTo>
                    <a:pt x="574" y="778"/>
                  </a:lnTo>
                  <a:lnTo>
                    <a:pt x="525" y="766"/>
                  </a:lnTo>
                  <a:lnTo>
                    <a:pt x="503" y="778"/>
                  </a:lnTo>
                  <a:lnTo>
                    <a:pt x="482" y="778"/>
                  </a:lnTo>
                  <a:lnTo>
                    <a:pt x="482" y="766"/>
                  </a:lnTo>
                  <a:lnTo>
                    <a:pt x="461" y="754"/>
                  </a:lnTo>
                  <a:lnTo>
                    <a:pt x="433" y="771"/>
                  </a:lnTo>
                  <a:lnTo>
                    <a:pt x="395" y="766"/>
                  </a:lnTo>
                  <a:lnTo>
                    <a:pt x="374" y="733"/>
                  </a:lnTo>
                  <a:lnTo>
                    <a:pt x="374" y="712"/>
                  </a:lnTo>
                  <a:lnTo>
                    <a:pt x="364" y="655"/>
                  </a:lnTo>
                  <a:lnTo>
                    <a:pt x="352" y="626"/>
                  </a:lnTo>
                  <a:lnTo>
                    <a:pt x="326" y="610"/>
                  </a:lnTo>
                  <a:lnTo>
                    <a:pt x="319" y="626"/>
                  </a:lnTo>
                  <a:lnTo>
                    <a:pt x="310" y="622"/>
                  </a:lnTo>
                  <a:lnTo>
                    <a:pt x="288" y="622"/>
                  </a:lnTo>
                  <a:lnTo>
                    <a:pt x="281" y="610"/>
                  </a:lnTo>
                  <a:lnTo>
                    <a:pt x="248" y="605"/>
                  </a:lnTo>
                  <a:lnTo>
                    <a:pt x="227" y="600"/>
                  </a:lnTo>
                  <a:lnTo>
                    <a:pt x="218" y="589"/>
                  </a:lnTo>
                  <a:lnTo>
                    <a:pt x="189" y="584"/>
                  </a:lnTo>
                  <a:lnTo>
                    <a:pt x="189" y="572"/>
                  </a:lnTo>
                  <a:lnTo>
                    <a:pt x="163" y="572"/>
                  </a:lnTo>
                  <a:lnTo>
                    <a:pt x="147" y="551"/>
                  </a:lnTo>
                  <a:lnTo>
                    <a:pt x="118" y="551"/>
                  </a:lnTo>
                  <a:lnTo>
                    <a:pt x="104" y="515"/>
                  </a:lnTo>
                  <a:lnTo>
                    <a:pt x="71" y="445"/>
                  </a:lnTo>
                  <a:lnTo>
                    <a:pt x="50" y="423"/>
                  </a:lnTo>
                  <a:lnTo>
                    <a:pt x="26" y="404"/>
                  </a:lnTo>
                  <a:lnTo>
                    <a:pt x="17" y="383"/>
                  </a:lnTo>
                  <a:lnTo>
                    <a:pt x="12" y="362"/>
                  </a:lnTo>
                  <a:lnTo>
                    <a:pt x="17" y="345"/>
                  </a:lnTo>
                  <a:lnTo>
                    <a:pt x="0" y="289"/>
                  </a:lnTo>
                  <a:lnTo>
                    <a:pt x="0" y="251"/>
                  </a:lnTo>
                  <a:lnTo>
                    <a:pt x="33" y="251"/>
                  </a:lnTo>
                  <a:lnTo>
                    <a:pt x="50" y="234"/>
                  </a:lnTo>
                  <a:lnTo>
                    <a:pt x="71" y="201"/>
                  </a:lnTo>
                  <a:lnTo>
                    <a:pt x="71" y="201"/>
                  </a:lnTo>
                  <a:lnTo>
                    <a:pt x="81" y="185"/>
                  </a:lnTo>
                  <a:lnTo>
                    <a:pt x="104" y="161"/>
                  </a:lnTo>
                  <a:lnTo>
                    <a:pt x="104" y="145"/>
                  </a:lnTo>
                  <a:lnTo>
                    <a:pt x="88" y="140"/>
                  </a:lnTo>
                  <a:lnTo>
                    <a:pt x="81" y="140"/>
                  </a:lnTo>
                  <a:lnTo>
                    <a:pt x="81" y="140"/>
                  </a:lnTo>
                  <a:lnTo>
                    <a:pt x="88" y="100"/>
                  </a:lnTo>
                  <a:lnTo>
                    <a:pt x="104" y="100"/>
                  </a:lnTo>
                  <a:lnTo>
                    <a:pt x="109" y="74"/>
                  </a:lnTo>
                  <a:lnTo>
                    <a:pt x="104" y="67"/>
                  </a:lnTo>
                  <a:lnTo>
                    <a:pt x="104" y="50"/>
                  </a:lnTo>
                  <a:lnTo>
                    <a:pt x="92" y="34"/>
                  </a:lnTo>
                  <a:lnTo>
                    <a:pt x="88" y="29"/>
                  </a:lnTo>
                  <a:lnTo>
                    <a:pt x="81" y="0"/>
                  </a:lnTo>
                  <a:lnTo>
                    <a:pt x="104" y="0"/>
                  </a:lnTo>
                  <a:lnTo>
                    <a:pt x="248" y="0"/>
                  </a:lnTo>
                  <a:lnTo>
                    <a:pt x="319" y="0"/>
                  </a:lnTo>
                  <a:lnTo>
                    <a:pt x="579" y="145"/>
                  </a:lnTo>
                  <a:lnTo>
                    <a:pt x="591" y="166"/>
                  </a:lnTo>
                  <a:lnTo>
                    <a:pt x="579" y="178"/>
                  </a:lnTo>
                  <a:lnTo>
                    <a:pt x="688" y="267"/>
                  </a:lnTo>
                  <a:lnTo>
                    <a:pt x="700" y="277"/>
                  </a:lnTo>
                  <a:lnTo>
                    <a:pt x="688" y="289"/>
                  </a:lnTo>
                  <a:lnTo>
                    <a:pt x="688" y="277"/>
                  </a:lnTo>
                  <a:lnTo>
                    <a:pt x="666" y="367"/>
                  </a:lnTo>
                  <a:lnTo>
                    <a:pt x="678" y="388"/>
                  </a:lnTo>
                  <a:lnTo>
                    <a:pt x="683" y="400"/>
                  </a:lnTo>
                  <a:lnTo>
                    <a:pt x="721" y="433"/>
                  </a:lnTo>
                  <a:lnTo>
                    <a:pt x="700" y="478"/>
                  </a:lnTo>
                  <a:lnTo>
                    <a:pt x="700" y="489"/>
                  </a:lnTo>
                  <a:lnTo>
                    <a:pt x="716" y="494"/>
                  </a:lnTo>
                  <a:lnTo>
                    <a:pt x="716" y="499"/>
                  </a:lnTo>
                  <a:lnTo>
                    <a:pt x="700" y="527"/>
                  </a:lnTo>
                  <a:lnTo>
                    <a:pt x="704" y="556"/>
                  </a:lnTo>
                  <a:lnTo>
                    <a:pt x="716" y="572"/>
                  </a:lnTo>
                  <a:lnTo>
                    <a:pt x="704" y="572"/>
                  </a:lnTo>
                  <a:lnTo>
                    <a:pt x="721" y="589"/>
                  </a:lnTo>
                  <a:lnTo>
                    <a:pt x="737" y="655"/>
                  </a:lnTo>
                  <a:lnTo>
                    <a:pt x="754" y="667"/>
                  </a:lnTo>
                  <a:lnTo>
                    <a:pt x="754" y="662"/>
                  </a:lnTo>
                  <a:lnTo>
                    <a:pt x="770" y="678"/>
                  </a:lnTo>
                  <a:lnTo>
                    <a:pt x="770" y="667"/>
                  </a:lnTo>
                  <a:lnTo>
                    <a:pt x="785" y="683"/>
                  </a:lnTo>
                  <a:lnTo>
                    <a:pt x="700" y="737"/>
                  </a:lnTo>
                  <a:lnTo>
                    <a:pt x="678" y="737"/>
                  </a:lnTo>
                  <a:lnTo>
                    <a:pt x="645" y="754"/>
                  </a:lnTo>
                  <a:lnTo>
                    <a:pt x="645" y="754"/>
                  </a:lnTo>
                  <a:lnTo>
                    <a:pt x="645" y="754"/>
                  </a:lnTo>
                  <a:close/>
                  <a:moveTo>
                    <a:pt x="733" y="305"/>
                  </a:moveTo>
                  <a:lnTo>
                    <a:pt x="733" y="277"/>
                  </a:lnTo>
                  <a:lnTo>
                    <a:pt x="737" y="277"/>
                  </a:lnTo>
                  <a:lnTo>
                    <a:pt x="737" y="305"/>
                  </a:lnTo>
                  <a:lnTo>
                    <a:pt x="733" y="322"/>
                  </a:lnTo>
                  <a:lnTo>
                    <a:pt x="721" y="322"/>
                  </a:lnTo>
                  <a:lnTo>
                    <a:pt x="733" y="305"/>
                  </a:lnTo>
                  <a:lnTo>
                    <a:pt x="733" y="305"/>
                  </a:lnTo>
                  <a:lnTo>
                    <a:pt x="733" y="305"/>
                  </a:lnTo>
                  <a:close/>
                  <a:moveTo>
                    <a:pt x="704" y="362"/>
                  </a:moveTo>
                  <a:lnTo>
                    <a:pt x="716" y="378"/>
                  </a:lnTo>
                  <a:lnTo>
                    <a:pt x="716" y="367"/>
                  </a:lnTo>
                  <a:lnTo>
                    <a:pt x="716" y="378"/>
                  </a:lnTo>
                  <a:lnTo>
                    <a:pt x="721" y="388"/>
                  </a:lnTo>
                  <a:lnTo>
                    <a:pt x="716" y="400"/>
                  </a:lnTo>
                  <a:lnTo>
                    <a:pt x="688" y="378"/>
                  </a:lnTo>
                  <a:lnTo>
                    <a:pt x="688" y="362"/>
                  </a:lnTo>
                  <a:lnTo>
                    <a:pt x="700" y="345"/>
                  </a:lnTo>
                  <a:lnTo>
                    <a:pt x="704" y="362"/>
                  </a:lnTo>
                  <a:lnTo>
                    <a:pt x="704" y="362"/>
                  </a:lnTo>
                  <a:lnTo>
                    <a:pt x="704" y="362"/>
                  </a:lnTo>
                  <a:close/>
                  <a:moveTo>
                    <a:pt x="721" y="499"/>
                  </a:moveTo>
                  <a:lnTo>
                    <a:pt x="721" y="499"/>
                  </a:lnTo>
                  <a:lnTo>
                    <a:pt x="742" y="478"/>
                  </a:lnTo>
                  <a:lnTo>
                    <a:pt x="737" y="499"/>
                  </a:lnTo>
                  <a:lnTo>
                    <a:pt x="721" y="499"/>
                  </a:lnTo>
                  <a:lnTo>
                    <a:pt x="721" y="499"/>
                  </a:lnTo>
                  <a:lnTo>
                    <a:pt x="721" y="499"/>
                  </a:lnTo>
                  <a:close/>
                </a:path>
              </a:pathLst>
            </a:custGeom>
            <a:pattFill prst="wd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4" name="Freeform 579">
              <a:extLst>
                <a:ext uri="{FF2B5EF4-FFF2-40B4-BE49-F238E27FC236}">
                  <a16:creationId xmlns:a16="http://schemas.microsoft.com/office/drawing/2014/main" id="{BB818738-67F6-4743-876A-20A535E79970}"/>
                </a:ext>
              </a:extLst>
            </p:cNvPr>
            <p:cNvSpPr>
              <a:spLocks/>
            </p:cNvSpPr>
            <p:nvPr/>
          </p:nvSpPr>
          <p:spPr bwMode="gray">
            <a:xfrm>
              <a:off x="6801489" y="4452706"/>
              <a:ext cx="187063" cy="201932"/>
            </a:xfrm>
            <a:custGeom>
              <a:avLst/>
              <a:gdLst>
                <a:gd name="T0" fmla="*/ 231 w 378"/>
                <a:gd name="T1" fmla="*/ 375 h 408"/>
                <a:gd name="T2" fmla="*/ 87 w 378"/>
                <a:gd name="T3" fmla="*/ 375 h 408"/>
                <a:gd name="T4" fmla="*/ 66 w 378"/>
                <a:gd name="T5" fmla="*/ 375 h 408"/>
                <a:gd name="T6" fmla="*/ 54 w 378"/>
                <a:gd name="T7" fmla="*/ 375 h 408"/>
                <a:gd name="T8" fmla="*/ 33 w 378"/>
                <a:gd name="T9" fmla="*/ 408 h 408"/>
                <a:gd name="T10" fmla="*/ 16 w 378"/>
                <a:gd name="T11" fmla="*/ 401 h 408"/>
                <a:gd name="T12" fmla="*/ 0 w 378"/>
                <a:gd name="T13" fmla="*/ 401 h 408"/>
                <a:gd name="T14" fmla="*/ 0 w 378"/>
                <a:gd name="T15" fmla="*/ 368 h 408"/>
                <a:gd name="T16" fmla="*/ 12 w 378"/>
                <a:gd name="T17" fmla="*/ 297 h 408"/>
                <a:gd name="T18" fmla="*/ 21 w 378"/>
                <a:gd name="T19" fmla="*/ 264 h 408"/>
                <a:gd name="T20" fmla="*/ 21 w 378"/>
                <a:gd name="T21" fmla="*/ 243 h 408"/>
                <a:gd name="T22" fmla="*/ 38 w 378"/>
                <a:gd name="T23" fmla="*/ 236 h 408"/>
                <a:gd name="T24" fmla="*/ 49 w 378"/>
                <a:gd name="T25" fmla="*/ 219 h 408"/>
                <a:gd name="T26" fmla="*/ 66 w 378"/>
                <a:gd name="T27" fmla="*/ 219 h 408"/>
                <a:gd name="T28" fmla="*/ 125 w 378"/>
                <a:gd name="T29" fmla="*/ 148 h 408"/>
                <a:gd name="T30" fmla="*/ 104 w 378"/>
                <a:gd name="T31" fmla="*/ 132 h 408"/>
                <a:gd name="T32" fmla="*/ 92 w 378"/>
                <a:gd name="T33" fmla="*/ 132 h 408"/>
                <a:gd name="T34" fmla="*/ 75 w 378"/>
                <a:gd name="T35" fmla="*/ 127 h 408"/>
                <a:gd name="T36" fmla="*/ 92 w 378"/>
                <a:gd name="T37" fmla="*/ 99 h 408"/>
                <a:gd name="T38" fmla="*/ 87 w 378"/>
                <a:gd name="T39" fmla="*/ 82 h 408"/>
                <a:gd name="T40" fmla="*/ 92 w 378"/>
                <a:gd name="T41" fmla="*/ 61 h 408"/>
                <a:gd name="T42" fmla="*/ 92 w 378"/>
                <a:gd name="T43" fmla="*/ 54 h 408"/>
                <a:gd name="T44" fmla="*/ 92 w 378"/>
                <a:gd name="T45" fmla="*/ 54 h 408"/>
                <a:gd name="T46" fmla="*/ 104 w 378"/>
                <a:gd name="T47" fmla="*/ 37 h 408"/>
                <a:gd name="T48" fmla="*/ 108 w 378"/>
                <a:gd name="T49" fmla="*/ 28 h 408"/>
                <a:gd name="T50" fmla="*/ 142 w 378"/>
                <a:gd name="T51" fmla="*/ 37 h 408"/>
                <a:gd name="T52" fmla="*/ 156 w 378"/>
                <a:gd name="T53" fmla="*/ 28 h 408"/>
                <a:gd name="T54" fmla="*/ 163 w 378"/>
                <a:gd name="T55" fmla="*/ 44 h 408"/>
                <a:gd name="T56" fmla="*/ 184 w 378"/>
                <a:gd name="T57" fmla="*/ 54 h 408"/>
                <a:gd name="T58" fmla="*/ 184 w 378"/>
                <a:gd name="T59" fmla="*/ 44 h 408"/>
                <a:gd name="T60" fmla="*/ 201 w 378"/>
                <a:gd name="T61" fmla="*/ 37 h 408"/>
                <a:gd name="T62" fmla="*/ 217 w 378"/>
                <a:gd name="T63" fmla="*/ 28 h 408"/>
                <a:gd name="T64" fmla="*/ 238 w 378"/>
                <a:gd name="T65" fmla="*/ 21 h 408"/>
                <a:gd name="T66" fmla="*/ 255 w 378"/>
                <a:gd name="T67" fmla="*/ 28 h 408"/>
                <a:gd name="T68" fmla="*/ 281 w 378"/>
                <a:gd name="T69" fmla="*/ 28 h 408"/>
                <a:gd name="T70" fmla="*/ 307 w 378"/>
                <a:gd name="T71" fmla="*/ 0 h 408"/>
                <a:gd name="T72" fmla="*/ 323 w 378"/>
                <a:gd name="T73" fmla="*/ 28 h 408"/>
                <a:gd name="T74" fmla="*/ 340 w 378"/>
                <a:gd name="T75" fmla="*/ 37 h 408"/>
                <a:gd name="T76" fmla="*/ 340 w 378"/>
                <a:gd name="T77" fmla="*/ 61 h 408"/>
                <a:gd name="T78" fmla="*/ 345 w 378"/>
                <a:gd name="T79" fmla="*/ 94 h 408"/>
                <a:gd name="T80" fmla="*/ 361 w 378"/>
                <a:gd name="T81" fmla="*/ 99 h 408"/>
                <a:gd name="T82" fmla="*/ 373 w 378"/>
                <a:gd name="T83" fmla="*/ 127 h 408"/>
                <a:gd name="T84" fmla="*/ 378 w 378"/>
                <a:gd name="T85" fmla="*/ 165 h 408"/>
                <a:gd name="T86" fmla="*/ 378 w 378"/>
                <a:gd name="T87" fmla="*/ 181 h 408"/>
                <a:gd name="T88" fmla="*/ 361 w 378"/>
                <a:gd name="T89" fmla="*/ 203 h 408"/>
                <a:gd name="T90" fmla="*/ 373 w 378"/>
                <a:gd name="T91" fmla="*/ 210 h 408"/>
                <a:gd name="T92" fmla="*/ 345 w 378"/>
                <a:gd name="T93" fmla="*/ 219 h 408"/>
                <a:gd name="T94" fmla="*/ 340 w 378"/>
                <a:gd name="T95" fmla="*/ 243 h 408"/>
                <a:gd name="T96" fmla="*/ 323 w 378"/>
                <a:gd name="T97" fmla="*/ 259 h 408"/>
                <a:gd name="T98" fmla="*/ 302 w 378"/>
                <a:gd name="T99" fmla="*/ 297 h 408"/>
                <a:gd name="T100" fmla="*/ 307 w 378"/>
                <a:gd name="T101" fmla="*/ 314 h 408"/>
                <a:gd name="T102" fmla="*/ 302 w 378"/>
                <a:gd name="T103" fmla="*/ 375 h 408"/>
                <a:gd name="T104" fmla="*/ 231 w 378"/>
                <a:gd name="T105" fmla="*/ 375 h 408"/>
                <a:gd name="T106" fmla="*/ 231 w 378"/>
                <a:gd name="T107" fmla="*/ 375 h 408"/>
                <a:gd name="T108" fmla="*/ 231 w 378"/>
                <a:gd name="T109" fmla="*/ 375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8" h="408">
                  <a:moveTo>
                    <a:pt x="231" y="375"/>
                  </a:moveTo>
                  <a:lnTo>
                    <a:pt x="87" y="375"/>
                  </a:lnTo>
                  <a:lnTo>
                    <a:pt x="66" y="375"/>
                  </a:lnTo>
                  <a:lnTo>
                    <a:pt x="54" y="375"/>
                  </a:lnTo>
                  <a:lnTo>
                    <a:pt x="33" y="408"/>
                  </a:lnTo>
                  <a:lnTo>
                    <a:pt x="16" y="401"/>
                  </a:lnTo>
                  <a:lnTo>
                    <a:pt x="0" y="401"/>
                  </a:lnTo>
                  <a:lnTo>
                    <a:pt x="0" y="368"/>
                  </a:lnTo>
                  <a:lnTo>
                    <a:pt x="12" y="297"/>
                  </a:lnTo>
                  <a:lnTo>
                    <a:pt x="21" y="264"/>
                  </a:lnTo>
                  <a:lnTo>
                    <a:pt x="21" y="243"/>
                  </a:lnTo>
                  <a:lnTo>
                    <a:pt x="38" y="236"/>
                  </a:lnTo>
                  <a:lnTo>
                    <a:pt x="49" y="219"/>
                  </a:lnTo>
                  <a:lnTo>
                    <a:pt x="66" y="219"/>
                  </a:lnTo>
                  <a:lnTo>
                    <a:pt x="125" y="148"/>
                  </a:lnTo>
                  <a:lnTo>
                    <a:pt x="104" y="132"/>
                  </a:lnTo>
                  <a:lnTo>
                    <a:pt x="92" y="132"/>
                  </a:lnTo>
                  <a:lnTo>
                    <a:pt x="75" y="127"/>
                  </a:lnTo>
                  <a:lnTo>
                    <a:pt x="92" y="99"/>
                  </a:lnTo>
                  <a:lnTo>
                    <a:pt x="87" y="82"/>
                  </a:lnTo>
                  <a:lnTo>
                    <a:pt x="92" y="61"/>
                  </a:lnTo>
                  <a:lnTo>
                    <a:pt x="92" y="54"/>
                  </a:lnTo>
                  <a:lnTo>
                    <a:pt x="92" y="54"/>
                  </a:lnTo>
                  <a:lnTo>
                    <a:pt x="104" y="37"/>
                  </a:lnTo>
                  <a:lnTo>
                    <a:pt x="108" y="28"/>
                  </a:lnTo>
                  <a:lnTo>
                    <a:pt x="142" y="37"/>
                  </a:lnTo>
                  <a:lnTo>
                    <a:pt x="156" y="28"/>
                  </a:lnTo>
                  <a:lnTo>
                    <a:pt x="163" y="44"/>
                  </a:lnTo>
                  <a:lnTo>
                    <a:pt x="184" y="54"/>
                  </a:lnTo>
                  <a:lnTo>
                    <a:pt x="184" y="44"/>
                  </a:lnTo>
                  <a:lnTo>
                    <a:pt x="201" y="37"/>
                  </a:lnTo>
                  <a:lnTo>
                    <a:pt x="217" y="28"/>
                  </a:lnTo>
                  <a:lnTo>
                    <a:pt x="238" y="21"/>
                  </a:lnTo>
                  <a:lnTo>
                    <a:pt x="255" y="28"/>
                  </a:lnTo>
                  <a:lnTo>
                    <a:pt x="281" y="28"/>
                  </a:lnTo>
                  <a:lnTo>
                    <a:pt x="307" y="0"/>
                  </a:lnTo>
                  <a:lnTo>
                    <a:pt x="323" y="28"/>
                  </a:lnTo>
                  <a:lnTo>
                    <a:pt x="340" y="37"/>
                  </a:lnTo>
                  <a:lnTo>
                    <a:pt x="340" y="61"/>
                  </a:lnTo>
                  <a:lnTo>
                    <a:pt x="345" y="94"/>
                  </a:lnTo>
                  <a:lnTo>
                    <a:pt x="361" y="99"/>
                  </a:lnTo>
                  <a:lnTo>
                    <a:pt x="373" y="127"/>
                  </a:lnTo>
                  <a:lnTo>
                    <a:pt x="378" y="165"/>
                  </a:lnTo>
                  <a:lnTo>
                    <a:pt x="378" y="181"/>
                  </a:lnTo>
                  <a:lnTo>
                    <a:pt x="361" y="203"/>
                  </a:lnTo>
                  <a:lnTo>
                    <a:pt x="373" y="210"/>
                  </a:lnTo>
                  <a:lnTo>
                    <a:pt x="345" y="219"/>
                  </a:lnTo>
                  <a:lnTo>
                    <a:pt x="340" y="243"/>
                  </a:lnTo>
                  <a:lnTo>
                    <a:pt x="323" y="259"/>
                  </a:lnTo>
                  <a:lnTo>
                    <a:pt x="302" y="297"/>
                  </a:lnTo>
                  <a:lnTo>
                    <a:pt x="307" y="314"/>
                  </a:lnTo>
                  <a:lnTo>
                    <a:pt x="302" y="375"/>
                  </a:lnTo>
                  <a:lnTo>
                    <a:pt x="231" y="375"/>
                  </a:lnTo>
                  <a:lnTo>
                    <a:pt x="231" y="375"/>
                  </a:lnTo>
                  <a:lnTo>
                    <a:pt x="231" y="375"/>
                  </a:lnTo>
                  <a:close/>
                </a:path>
              </a:pathLst>
            </a:custGeom>
            <a:pattFill prst="nar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5" name="Freeform 580">
              <a:extLst>
                <a:ext uri="{FF2B5EF4-FFF2-40B4-BE49-F238E27FC236}">
                  <a16:creationId xmlns:a16="http://schemas.microsoft.com/office/drawing/2014/main" id="{F49DB6D3-CA82-47BD-B6E1-07E8CAEBE53D}"/>
                </a:ext>
              </a:extLst>
            </p:cNvPr>
            <p:cNvSpPr>
              <a:spLocks noEditPoints="1"/>
            </p:cNvSpPr>
            <p:nvPr/>
          </p:nvSpPr>
          <p:spPr bwMode="gray">
            <a:xfrm>
              <a:off x="5491056" y="2114151"/>
              <a:ext cx="346909" cy="538981"/>
            </a:xfrm>
            <a:custGeom>
              <a:avLst/>
              <a:gdLst>
                <a:gd name="T0" fmla="*/ 494 w 701"/>
                <a:gd name="T1" fmla="*/ 38 h 1089"/>
                <a:gd name="T2" fmla="*/ 494 w 701"/>
                <a:gd name="T3" fmla="*/ 71 h 1089"/>
                <a:gd name="T4" fmla="*/ 472 w 701"/>
                <a:gd name="T5" fmla="*/ 71 h 1089"/>
                <a:gd name="T6" fmla="*/ 489 w 701"/>
                <a:gd name="T7" fmla="*/ 62 h 1089"/>
                <a:gd name="T8" fmla="*/ 375 w 701"/>
                <a:gd name="T9" fmla="*/ 206 h 1089"/>
                <a:gd name="T10" fmla="*/ 347 w 701"/>
                <a:gd name="T11" fmla="*/ 222 h 1089"/>
                <a:gd name="T12" fmla="*/ 375 w 701"/>
                <a:gd name="T13" fmla="*/ 215 h 1089"/>
                <a:gd name="T14" fmla="*/ 201 w 701"/>
                <a:gd name="T15" fmla="*/ 907 h 1089"/>
                <a:gd name="T16" fmla="*/ 342 w 701"/>
                <a:gd name="T17" fmla="*/ 770 h 1089"/>
                <a:gd name="T18" fmla="*/ 375 w 701"/>
                <a:gd name="T19" fmla="*/ 737 h 1089"/>
                <a:gd name="T20" fmla="*/ 359 w 701"/>
                <a:gd name="T21" fmla="*/ 610 h 1089"/>
                <a:gd name="T22" fmla="*/ 234 w 701"/>
                <a:gd name="T23" fmla="*/ 643 h 1089"/>
                <a:gd name="T24" fmla="*/ 234 w 701"/>
                <a:gd name="T25" fmla="*/ 503 h 1089"/>
                <a:gd name="T26" fmla="*/ 217 w 701"/>
                <a:gd name="T27" fmla="*/ 482 h 1089"/>
                <a:gd name="T28" fmla="*/ 179 w 701"/>
                <a:gd name="T29" fmla="*/ 499 h 1089"/>
                <a:gd name="T30" fmla="*/ 196 w 701"/>
                <a:gd name="T31" fmla="*/ 459 h 1089"/>
                <a:gd name="T32" fmla="*/ 163 w 701"/>
                <a:gd name="T33" fmla="*/ 425 h 1089"/>
                <a:gd name="T34" fmla="*/ 170 w 701"/>
                <a:gd name="T35" fmla="*/ 392 h 1089"/>
                <a:gd name="T36" fmla="*/ 163 w 701"/>
                <a:gd name="T37" fmla="*/ 350 h 1089"/>
                <a:gd name="T38" fmla="*/ 184 w 701"/>
                <a:gd name="T39" fmla="*/ 293 h 1089"/>
                <a:gd name="T40" fmla="*/ 250 w 701"/>
                <a:gd name="T41" fmla="*/ 239 h 1089"/>
                <a:gd name="T42" fmla="*/ 288 w 701"/>
                <a:gd name="T43" fmla="*/ 317 h 1089"/>
                <a:gd name="T44" fmla="*/ 430 w 701"/>
                <a:gd name="T45" fmla="*/ 333 h 1089"/>
                <a:gd name="T46" fmla="*/ 375 w 701"/>
                <a:gd name="T47" fmla="*/ 459 h 1089"/>
                <a:gd name="T48" fmla="*/ 456 w 701"/>
                <a:gd name="T49" fmla="*/ 548 h 1089"/>
                <a:gd name="T50" fmla="*/ 581 w 701"/>
                <a:gd name="T51" fmla="*/ 754 h 1089"/>
                <a:gd name="T52" fmla="*/ 614 w 701"/>
                <a:gd name="T53" fmla="*/ 808 h 1089"/>
                <a:gd name="T54" fmla="*/ 668 w 701"/>
                <a:gd name="T55" fmla="*/ 907 h 1089"/>
                <a:gd name="T56" fmla="*/ 614 w 701"/>
                <a:gd name="T57" fmla="*/ 957 h 1089"/>
                <a:gd name="T58" fmla="*/ 522 w 701"/>
                <a:gd name="T59" fmla="*/ 1018 h 1089"/>
                <a:gd name="T60" fmla="*/ 364 w 701"/>
                <a:gd name="T61" fmla="*/ 1018 h 1089"/>
                <a:gd name="T62" fmla="*/ 212 w 701"/>
                <a:gd name="T63" fmla="*/ 1089 h 1089"/>
                <a:gd name="T64" fmla="*/ 255 w 701"/>
                <a:gd name="T65" fmla="*/ 1018 h 1089"/>
                <a:gd name="T66" fmla="*/ 342 w 701"/>
                <a:gd name="T67" fmla="*/ 957 h 1089"/>
                <a:gd name="T68" fmla="*/ 217 w 701"/>
                <a:gd name="T69" fmla="*/ 936 h 1089"/>
                <a:gd name="T70" fmla="*/ 104 w 701"/>
                <a:gd name="T71" fmla="*/ 317 h 1089"/>
                <a:gd name="T72" fmla="*/ 87 w 701"/>
                <a:gd name="T73" fmla="*/ 277 h 1089"/>
                <a:gd name="T74" fmla="*/ 142 w 701"/>
                <a:gd name="T75" fmla="*/ 277 h 1089"/>
                <a:gd name="T76" fmla="*/ 38 w 701"/>
                <a:gd name="T77" fmla="*/ 338 h 1089"/>
                <a:gd name="T78" fmla="*/ 146 w 701"/>
                <a:gd name="T79" fmla="*/ 388 h 1089"/>
                <a:gd name="T80" fmla="*/ 108 w 701"/>
                <a:gd name="T81" fmla="*/ 338 h 1089"/>
                <a:gd name="T82" fmla="*/ 163 w 701"/>
                <a:gd name="T83" fmla="*/ 392 h 1089"/>
                <a:gd name="T84" fmla="*/ 61 w 701"/>
                <a:gd name="T85" fmla="*/ 392 h 1089"/>
                <a:gd name="T86" fmla="*/ 49 w 701"/>
                <a:gd name="T87" fmla="*/ 409 h 1089"/>
                <a:gd name="T88" fmla="*/ 116 w 701"/>
                <a:gd name="T89" fmla="*/ 404 h 1089"/>
                <a:gd name="T90" fmla="*/ 142 w 701"/>
                <a:gd name="T91" fmla="*/ 421 h 1089"/>
                <a:gd name="T92" fmla="*/ 146 w 701"/>
                <a:gd name="T93" fmla="*/ 466 h 1089"/>
                <a:gd name="T94" fmla="*/ 78 w 701"/>
                <a:gd name="T95" fmla="*/ 459 h 1089"/>
                <a:gd name="T96" fmla="*/ 170 w 701"/>
                <a:gd name="T97" fmla="*/ 492 h 1089"/>
                <a:gd name="T98" fmla="*/ 142 w 701"/>
                <a:gd name="T99" fmla="*/ 503 h 1089"/>
                <a:gd name="T100" fmla="*/ 130 w 701"/>
                <a:gd name="T101" fmla="*/ 548 h 1089"/>
                <a:gd name="T102" fmla="*/ 217 w 701"/>
                <a:gd name="T103" fmla="*/ 536 h 1089"/>
                <a:gd name="T104" fmla="*/ 212 w 701"/>
                <a:gd name="T105" fmla="*/ 560 h 1089"/>
                <a:gd name="T106" fmla="*/ 38 w 701"/>
                <a:gd name="T107" fmla="*/ 631 h 1089"/>
                <a:gd name="T108" fmla="*/ 158 w 701"/>
                <a:gd name="T109" fmla="*/ 647 h 1089"/>
                <a:gd name="T110" fmla="*/ 158 w 701"/>
                <a:gd name="T111" fmla="*/ 697 h 1089"/>
                <a:gd name="T112" fmla="*/ 250 w 701"/>
                <a:gd name="T113" fmla="*/ 770 h 1089"/>
                <a:gd name="T114" fmla="*/ 635 w 701"/>
                <a:gd name="T115" fmla="*/ 957 h 1089"/>
                <a:gd name="T116" fmla="*/ 484 w 701"/>
                <a:gd name="T117" fmla="*/ 1035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1" h="1089">
                  <a:moveTo>
                    <a:pt x="510" y="17"/>
                  </a:moveTo>
                  <a:lnTo>
                    <a:pt x="505" y="17"/>
                  </a:lnTo>
                  <a:lnTo>
                    <a:pt x="510" y="0"/>
                  </a:lnTo>
                  <a:lnTo>
                    <a:pt x="522" y="0"/>
                  </a:lnTo>
                  <a:lnTo>
                    <a:pt x="510" y="17"/>
                  </a:lnTo>
                  <a:lnTo>
                    <a:pt x="510" y="17"/>
                  </a:lnTo>
                  <a:lnTo>
                    <a:pt x="510" y="17"/>
                  </a:lnTo>
                  <a:close/>
                  <a:moveTo>
                    <a:pt x="494" y="38"/>
                  </a:moveTo>
                  <a:lnTo>
                    <a:pt x="489" y="22"/>
                  </a:lnTo>
                  <a:lnTo>
                    <a:pt x="505" y="5"/>
                  </a:lnTo>
                  <a:lnTo>
                    <a:pt x="505" y="33"/>
                  </a:lnTo>
                  <a:lnTo>
                    <a:pt x="494" y="38"/>
                  </a:lnTo>
                  <a:lnTo>
                    <a:pt x="494" y="38"/>
                  </a:lnTo>
                  <a:lnTo>
                    <a:pt x="494" y="38"/>
                  </a:lnTo>
                  <a:close/>
                  <a:moveTo>
                    <a:pt x="489" y="62"/>
                  </a:moveTo>
                  <a:lnTo>
                    <a:pt x="494" y="71"/>
                  </a:lnTo>
                  <a:lnTo>
                    <a:pt x="489" y="78"/>
                  </a:lnTo>
                  <a:lnTo>
                    <a:pt x="484" y="99"/>
                  </a:lnTo>
                  <a:lnTo>
                    <a:pt x="472" y="99"/>
                  </a:lnTo>
                  <a:lnTo>
                    <a:pt x="489" y="78"/>
                  </a:lnTo>
                  <a:lnTo>
                    <a:pt x="484" y="62"/>
                  </a:lnTo>
                  <a:lnTo>
                    <a:pt x="472" y="62"/>
                  </a:lnTo>
                  <a:lnTo>
                    <a:pt x="484" y="71"/>
                  </a:lnTo>
                  <a:lnTo>
                    <a:pt x="472" y="71"/>
                  </a:lnTo>
                  <a:lnTo>
                    <a:pt x="456" y="55"/>
                  </a:lnTo>
                  <a:lnTo>
                    <a:pt x="484" y="45"/>
                  </a:lnTo>
                  <a:lnTo>
                    <a:pt x="456" y="38"/>
                  </a:lnTo>
                  <a:lnTo>
                    <a:pt x="484" y="22"/>
                  </a:lnTo>
                  <a:lnTo>
                    <a:pt x="484" y="38"/>
                  </a:lnTo>
                  <a:lnTo>
                    <a:pt x="505" y="38"/>
                  </a:lnTo>
                  <a:lnTo>
                    <a:pt x="489" y="62"/>
                  </a:lnTo>
                  <a:lnTo>
                    <a:pt x="489" y="62"/>
                  </a:lnTo>
                  <a:lnTo>
                    <a:pt x="489" y="62"/>
                  </a:lnTo>
                  <a:close/>
                  <a:moveTo>
                    <a:pt x="385" y="173"/>
                  </a:moveTo>
                  <a:lnTo>
                    <a:pt x="385" y="166"/>
                  </a:lnTo>
                  <a:lnTo>
                    <a:pt x="401" y="166"/>
                  </a:lnTo>
                  <a:lnTo>
                    <a:pt x="385" y="173"/>
                  </a:lnTo>
                  <a:lnTo>
                    <a:pt x="385" y="173"/>
                  </a:lnTo>
                  <a:lnTo>
                    <a:pt x="385" y="173"/>
                  </a:lnTo>
                  <a:close/>
                  <a:moveTo>
                    <a:pt x="375" y="206"/>
                  </a:moveTo>
                  <a:lnTo>
                    <a:pt x="342" y="199"/>
                  </a:lnTo>
                  <a:lnTo>
                    <a:pt x="342" y="182"/>
                  </a:lnTo>
                  <a:lnTo>
                    <a:pt x="359" y="182"/>
                  </a:lnTo>
                  <a:lnTo>
                    <a:pt x="380" y="206"/>
                  </a:lnTo>
                  <a:lnTo>
                    <a:pt x="375" y="206"/>
                  </a:lnTo>
                  <a:lnTo>
                    <a:pt x="375" y="206"/>
                  </a:lnTo>
                  <a:lnTo>
                    <a:pt x="375" y="206"/>
                  </a:lnTo>
                  <a:close/>
                  <a:moveTo>
                    <a:pt x="347" y="222"/>
                  </a:moveTo>
                  <a:lnTo>
                    <a:pt x="331" y="206"/>
                  </a:lnTo>
                  <a:lnTo>
                    <a:pt x="347" y="215"/>
                  </a:lnTo>
                  <a:lnTo>
                    <a:pt x="347" y="222"/>
                  </a:lnTo>
                  <a:lnTo>
                    <a:pt x="347" y="222"/>
                  </a:lnTo>
                  <a:lnTo>
                    <a:pt x="347" y="222"/>
                  </a:lnTo>
                  <a:close/>
                  <a:moveTo>
                    <a:pt x="364" y="222"/>
                  </a:moveTo>
                  <a:lnTo>
                    <a:pt x="359" y="215"/>
                  </a:lnTo>
                  <a:lnTo>
                    <a:pt x="375" y="215"/>
                  </a:lnTo>
                  <a:lnTo>
                    <a:pt x="364" y="222"/>
                  </a:lnTo>
                  <a:lnTo>
                    <a:pt x="364" y="222"/>
                  </a:lnTo>
                  <a:lnTo>
                    <a:pt x="364" y="222"/>
                  </a:lnTo>
                  <a:close/>
                  <a:moveTo>
                    <a:pt x="217" y="936"/>
                  </a:moveTo>
                  <a:lnTo>
                    <a:pt x="234" y="924"/>
                  </a:lnTo>
                  <a:lnTo>
                    <a:pt x="201" y="924"/>
                  </a:lnTo>
                  <a:lnTo>
                    <a:pt x="217" y="924"/>
                  </a:lnTo>
                  <a:lnTo>
                    <a:pt x="201" y="907"/>
                  </a:lnTo>
                  <a:lnTo>
                    <a:pt x="276" y="879"/>
                  </a:lnTo>
                  <a:lnTo>
                    <a:pt x="288" y="853"/>
                  </a:lnTo>
                  <a:lnTo>
                    <a:pt x="276" y="813"/>
                  </a:lnTo>
                  <a:lnTo>
                    <a:pt x="255" y="825"/>
                  </a:lnTo>
                  <a:lnTo>
                    <a:pt x="238" y="825"/>
                  </a:lnTo>
                  <a:lnTo>
                    <a:pt x="238" y="825"/>
                  </a:lnTo>
                  <a:lnTo>
                    <a:pt x="276" y="780"/>
                  </a:lnTo>
                  <a:lnTo>
                    <a:pt x="342" y="770"/>
                  </a:lnTo>
                  <a:lnTo>
                    <a:pt x="359" y="780"/>
                  </a:lnTo>
                  <a:lnTo>
                    <a:pt x="347" y="770"/>
                  </a:lnTo>
                  <a:lnTo>
                    <a:pt x="359" y="770"/>
                  </a:lnTo>
                  <a:lnTo>
                    <a:pt x="375" y="775"/>
                  </a:lnTo>
                  <a:lnTo>
                    <a:pt x="380" y="770"/>
                  </a:lnTo>
                  <a:lnTo>
                    <a:pt x="364" y="770"/>
                  </a:lnTo>
                  <a:lnTo>
                    <a:pt x="359" y="754"/>
                  </a:lnTo>
                  <a:lnTo>
                    <a:pt x="375" y="737"/>
                  </a:lnTo>
                  <a:lnTo>
                    <a:pt x="359" y="725"/>
                  </a:lnTo>
                  <a:lnTo>
                    <a:pt x="359" y="714"/>
                  </a:lnTo>
                  <a:lnTo>
                    <a:pt x="364" y="714"/>
                  </a:lnTo>
                  <a:lnTo>
                    <a:pt x="375" y="681"/>
                  </a:lnTo>
                  <a:lnTo>
                    <a:pt x="347" y="697"/>
                  </a:lnTo>
                  <a:lnTo>
                    <a:pt x="321" y="659"/>
                  </a:lnTo>
                  <a:lnTo>
                    <a:pt x="331" y="614"/>
                  </a:lnTo>
                  <a:lnTo>
                    <a:pt x="359" y="610"/>
                  </a:lnTo>
                  <a:lnTo>
                    <a:pt x="326" y="610"/>
                  </a:lnTo>
                  <a:lnTo>
                    <a:pt x="321" y="614"/>
                  </a:lnTo>
                  <a:lnTo>
                    <a:pt x="293" y="631"/>
                  </a:lnTo>
                  <a:lnTo>
                    <a:pt x="267" y="614"/>
                  </a:lnTo>
                  <a:lnTo>
                    <a:pt x="267" y="643"/>
                  </a:lnTo>
                  <a:lnTo>
                    <a:pt x="234" y="614"/>
                  </a:lnTo>
                  <a:lnTo>
                    <a:pt x="222" y="626"/>
                  </a:lnTo>
                  <a:lnTo>
                    <a:pt x="234" y="643"/>
                  </a:lnTo>
                  <a:lnTo>
                    <a:pt x="222" y="643"/>
                  </a:lnTo>
                  <a:lnTo>
                    <a:pt x="212" y="614"/>
                  </a:lnTo>
                  <a:lnTo>
                    <a:pt x="212" y="610"/>
                  </a:lnTo>
                  <a:lnTo>
                    <a:pt x="250" y="553"/>
                  </a:lnTo>
                  <a:lnTo>
                    <a:pt x="222" y="536"/>
                  </a:lnTo>
                  <a:lnTo>
                    <a:pt x="234" y="515"/>
                  </a:lnTo>
                  <a:lnTo>
                    <a:pt x="255" y="515"/>
                  </a:lnTo>
                  <a:lnTo>
                    <a:pt x="234" y="503"/>
                  </a:lnTo>
                  <a:lnTo>
                    <a:pt x="234" y="492"/>
                  </a:lnTo>
                  <a:lnTo>
                    <a:pt x="222" y="520"/>
                  </a:lnTo>
                  <a:lnTo>
                    <a:pt x="212" y="515"/>
                  </a:lnTo>
                  <a:lnTo>
                    <a:pt x="212" y="520"/>
                  </a:lnTo>
                  <a:lnTo>
                    <a:pt x="201" y="520"/>
                  </a:lnTo>
                  <a:lnTo>
                    <a:pt x="201" y="503"/>
                  </a:lnTo>
                  <a:lnTo>
                    <a:pt x="222" y="482"/>
                  </a:lnTo>
                  <a:lnTo>
                    <a:pt x="217" y="482"/>
                  </a:lnTo>
                  <a:lnTo>
                    <a:pt x="196" y="503"/>
                  </a:lnTo>
                  <a:lnTo>
                    <a:pt x="196" y="532"/>
                  </a:lnTo>
                  <a:lnTo>
                    <a:pt x="184" y="548"/>
                  </a:lnTo>
                  <a:lnTo>
                    <a:pt x="184" y="570"/>
                  </a:lnTo>
                  <a:lnTo>
                    <a:pt x="163" y="577"/>
                  </a:lnTo>
                  <a:lnTo>
                    <a:pt x="179" y="532"/>
                  </a:lnTo>
                  <a:lnTo>
                    <a:pt x="170" y="515"/>
                  </a:lnTo>
                  <a:lnTo>
                    <a:pt x="179" y="499"/>
                  </a:lnTo>
                  <a:lnTo>
                    <a:pt x="170" y="503"/>
                  </a:lnTo>
                  <a:lnTo>
                    <a:pt x="184" y="492"/>
                  </a:lnTo>
                  <a:lnTo>
                    <a:pt x="179" y="492"/>
                  </a:lnTo>
                  <a:lnTo>
                    <a:pt x="179" y="475"/>
                  </a:lnTo>
                  <a:lnTo>
                    <a:pt x="217" y="449"/>
                  </a:lnTo>
                  <a:lnTo>
                    <a:pt x="217" y="449"/>
                  </a:lnTo>
                  <a:lnTo>
                    <a:pt x="212" y="459"/>
                  </a:lnTo>
                  <a:lnTo>
                    <a:pt x="196" y="459"/>
                  </a:lnTo>
                  <a:lnTo>
                    <a:pt x="201" y="449"/>
                  </a:lnTo>
                  <a:lnTo>
                    <a:pt x="196" y="442"/>
                  </a:lnTo>
                  <a:lnTo>
                    <a:pt x="212" y="421"/>
                  </a:lnTo>
                  <a:lnTo>
                    <a:pt x="170" y="459"/>
                  </a:lnTo>
                  <a:lnTo>
                    <a:pt x="146" y="442"/>
                  </a:lnTo>
                  <a:lnTo>
                    <a:pt x="184" y="437"/>
                  </a:lnTo>
                  <a:lnTo>
                    <a:pt x="130" y="437"/>
                  </a:lnTo>
                  <a:lnTo>
                    <a:pt x="163" y="425"/>
                  </a:lnTo>
                  <a:lnTo>
                    <a:pt x="163" y="425"/>
                  </a:lnTo>
                  <a:lnTo>
                    <a:pt x="163" y="421"/>
                  </a:lnTo>
                  <a:lnTo>
                    <a:pt x="179" y="421"/>
                  </a:lnTo>
                  <a:lnTo>
                    <a:pt x="158" y="409"/>
                  </a:lnTo>
                  <a:lnTo>
                    <a:pt x="163" y="404"/>
                  </a:lnTo>
                  <a:lnTo>
                    <a:pt x="184" y="404"/>
                  </a:lnTo>
                  <a:lnTo>
                    <a:pt x="163" y="392"/>
                  </a:lnTo>
                  <a:lnTo>
                    <a:pt x="170" y="392"/>
                  </a:lnTo>
                  <a:lnTo>
                    <a:pt x="196" y="392"/>
                  </a:lnTo>
                  <a:lnTo>
                    <a:pt x="179" y="388"/>
                  </a:lnTo>
                  <a:lnTo>
                    <a:pt x="179" y="383"/>
                  </a:lnTo>
                  <a:lnTo>
                    <a:pt x="196" y="383"/>
                  </a:lnTo>
                  <a:lnTo>
                    <a:pt x="179" y="371"/>
                  </a:lnTo>
                  <a:lnTo>
                    <a:pt x="184" y="366"/>
                  </a:lnTo>
                  <a:lnTo>
                    <a:pt x="163" y="366"/>
                  </a:lnTo>
                  <a:lnTo>
                    <a:pt x="163" y="350"/>
                  </a:lnTo>
                  <a:lnTo>
                    <a:pt x="184" y="350"/>
                  </a:lnTo>
                  <a:lnTo>
                    <a:pt x="163" y="338"/>
                  </a:lnTo>
                  <a:lnTo>
                    <a:pt x="163" y="317"/>
                  </a:lnTo>
                  <a:lnTo>
                    <a:pt x="170" y="317"/>
                  </a:lnTo>
                  <a:lnTo>
                    <a:pt x="179" y="326"/>
                  </a:lnTo>
                  <a:lnTo>
                    <a:pt x="179" y="310"/>
                  </a:lnTo>
                  <a:lnTo>
                    <a:pt x="217" y="317"/>
                  </a:lnTo>
                  <a:lnTo>
                    <a:pt x="184" y="293"/>
                  </a:lnTo>
                  <a:lnTo>
                    <a:pt x="201" y="293"/>
                  </a:lnTo>
                  <a:lnTo>
                    <a:pt x="196" y="277"/>
                  </a:lnTo>
                  <a:lnTo>
                    <a:pt x="217" y="277"/>
                  </a:lnTo>
                  <a:lnTo>
                    <a:pt x="212" y="260"/>
                  </a:lnTo>
                  <a:lnTo>
                    <a:pt x="222" y="239"/>
                  </a:lnTo>
                  <a:lnTo>
                    <a:pt x="238" y="244"/>
                  </a:lnTo>
                  <a:lnTo>
                    <a:pt x="238" y="255"/>
                  </a:lnTo>
                  <a:lnTo>
                    <a:pt x="250" y="239"/>
                  </a:lnTo>
                  <a:lnTo>
                    <a:pt x="271" y="244"/>
                  </a:lnTo>
                  <a:lnTo>
                    <a:pt x="359" y="227"/>
                  </a:lnTo>
                  <a:lnTo>
                    <a:pt x="359" y="255"/>
                  </a:lnTo>
                  <a:lnTo>
                    <a:pt x="347" y="272"/>
                  </a:lnTo>
                  <a:lnTo>
                    <a:pt x="293" y="310"/>
                  </a:lnTo>
                  <a:lnTo>
                    <a:pt x="288" y="317"/>
                  </a:lnTo>
                  <a:lnTo>
                    <a:pt x="267" y="310"/>
                  </a:lnTo>
                  <a:lnTo>
                    <a:pt x="288" y="317"/>
                  </a:lnTo>
                  <a:lnTo>
                    <a:pt x="309" y="317"/>
                  </a:lnTo>
                  <a:lnTo>
                    <a:pt x="293" y="333"/>
                  </a:lnTo>
                  <a:lnTo>
                    <a:pt x="271" y="333"/>
                  </a:lnTo>
                  <a:lnTo>
                    <a:pt x="267" y="350"/>
                  </a:lnTo>
                  <a:lnTo>
                    <a:pt x="288" y="338"/>
                  </a:lnTo>
                  <a:lnTo>
                    <a:pt x="276" y="355"/>
                  </a:lnTo>
                  <a:lnTo>
                    <a:pt x="326" y="333"/>
                  </a:lnTo>
                  <a:lnTo>
                    <a:pt x="430" y="333"/>
                  </a:lnTo>
                  <a:lnTo>
                    <a:pt x="439" y="333"/>
                  </a:lnTo>
                  <a:lnTo>
                    <a:pt x="451" y="355"/>
                  </a:lnTo>
                  <a:lnTo>
                    <a:pt x="434" y="371"/>
                  </a:lnTo>
                  <a:lnTo>
                    <a:pt x="418" y="421"/>
                  </a:lnTo>
                  <a:lnTo>
                    <a:pt x="397" y="437"/>
                  </a:lnTo>
                  <a:lnTo>
                    <a:pt x="397" y="449"/>
                  </a:lnTo>
                  <a:lnTo>
                    <a:pt x="342" y="466"/>
                  </a:lnTo>
                  <a:lnTo>
                    <a:pt x="375" y="459"/>
                  </a:lnTo>
                  <a:lnTo>
                    <a:pt x="397" y="482"/>
                  </a:lnTo>
                  <a:lnTo>
                    <a:pt x="331" y="503"/>
                  </a:lnTo>
                  <a:lnTo>
                    <a:pt x="309" y="503"/>
                  </a:lnTo>
                  <a:lnTo>
                    <a:pt x="359" y="515"/>
                  </a:lnTo>
                  <a:lnTo>
                    <a:pt x="385" y="499"/>
                  </a:lnTo>
                  <a:lnTo>
                    <a:pt x="430" y="520"/>
                  </a:lnTo>
                  <a:lnTo>
                    <a:pt x="439" y="548"/>
                  </a:lnTo>
                  <a:lnTo>
                    <a:pt x="456" y="548"/>
                  </a:lnTo>
                  <a:lnTo>
                    <a:pt x="484" y="631"/>
                  </a:lnTo>
                  <a:lnTo>
                    <a:pt x="489" y="643"/>
                  </a:lnTo>
                  <a:lnTo>
                    <a:pt x="538" y="659"/>
                  </a:lnTo>
                  <a:lnTo>
                    <a:pt x="548" y="681"/>
                  </a:lnTo>
                  <a:lnTo>
                    <a:pt x="564" y="697"/>
                  </a:lnTo>
                  <a:lnTo>
                    <a:pt x="560" y="702"/>
                  </a:lnTo>
                  <a:lnTo>
                    <a:pt x="581" y="742"/>
                  </a:lnTo>
                  <a:lnTo>
                    <a:pt x="581" y="754"/>
                  </a:lnTo>
                  <a:lnTo>
                    <a:pt x="560" y="737"/>
                  </a:lnTo>
                  <a:lnTo>
                    <a:pt x="522" y="737"/>
                  </a:lnTo>
                  <a:lnTo>
                    <a:pt x="548" y="737"/>
                  </a:lnTo>
                  <a:lnTo>
                    <a:pt x="593" y="770"/>
                  </a:lnTo>
                  <a:lnTo>
                    <a:pt x="597" y="792"/>
                  </a:lnTo>
                  <a:lnTo>
                    <a:pt x="576" y="813"/>
                  </a:lnTo>
                  <a:lnTo>
                    <a:pt x="597" y="825"/>
                  </a:lnTo>
                  <a:lnTo>
                    <a:pt x="614" y="808"/>
                  </a:lnTo>
                  <a:lnTo>
                    <a:pt x="635" y="808"/>
                  </a:lnTo>
                  <a:lnTo>
                    <a:pt x="668" y="813"/>
                  </a:lnTo>
                  <a:lnTo>
                    <a:pt x="690" y="829"/>
                  </a:lnTo>
                  <a:lnTo>
                    <a:pt x="701" y="853"/>
                  </a:lnTo>
                  <a:lnTo>
                    <a:pt x="685" y="891"/>
                  </a:lnTo>
                  <a:lnTo>
                    <a:pt x="668" y="907"/>
                  </a:lnTo>
                  <a:lnTo>
                    <a:pt x="657" y="903"/>
                  </a:lnTo>
                  <a:lnTo>
                    <a:pt x="668" y="907"/>
                  </a:lnTo>
                  <a:lnTo>
                    <a:pt x="657" y="919"/>
                  </a:lnTo>
                  <a:lnTo>
                    <a:pt x="647" y="919"/>
                  </a:lnTo>
                  <a:lnTo>
                    <a:pt x="619" y="924"/>
                  </a:lnTo>
                  <a:lnTo>
                    <a:pt x="635" y="924"/>
                  </a:lnTo>
                  <a:lnTo>
                    <a:pt x="647" y="940"/>
                  </a:lnTo>
                  <a:lnTo>
                    <a:pt x="597" y="957"/>
                  </a:lnTo>
                  <a:lnTo>
                    <a:pt x="619" y="947"/>
                  </a:lnTo>
                  <a:lnTo>
                    <a:pt x="614" y="957"/>
                  </a:lnTo>
                  <a:lnTo>
                    <a:pt x="635" y="964"/>
                  </a:lnTo>
                  <a:lnTo>
                    <a:pt x="673" y="957"/>
                  </a:lnTo>
                  <a:lnTo>
                    <a:pt x="673" y="981"/>
                  </a:lnTo>
                  <a:lnTo>
                    <a:pt x="647" y="990"/>
                  </a:lnTo>
                  <a:lnTo>
                    <a:pt x="647" y="1002"/>
                  </a:lnTo>
                  <a:lnTo>
                    <a:pt x="593" y="1018"/>
                  </a:lnTo>
                  <a:lnTo>
                    <a:pt x="560" y="1014"/>
                  </a:lnTo>
                  <a:lnTo>
                    <a:pt x="522" y="1018"/>
                  </a:lnTo>
                  <a:lnTo>
                    <a:pt x="510" y="1014"/>
                  </a:lnTo>
                  <a:lnTo>
                    <a:pt x="494" y="1014"/>
                  </a:lnTo>
                  <a:lnTo>
                    <a:pt x="494" y="1018"/>
                  </a:lnTo>
                  <a:lnTo>
                    <a:pt x="430" y="1018"/>
                  </a:lnTo>
                  <a:lnTo>
                    <a:pt x="434" y="1035"/>
                  </a:lnTo>
                  <a:lnTo>
                    <a:pt x="401" y="1030"/>
                  </a:lnTo>
                  <a:lnTo>
                    <a:pt x="401" y="1035"/>
                  </a:lnTo>
                  <a:lnTo>
                    <a:pt x="364" y="1018"/>
                  </a:lnTo>
                  <a:lnTo>
                    <a:pt x="331" y="1035"/>
                  </a:lnTo>
                  <a:lnTo>
                    <a:pt x="309" y="1068"/>
                  </a:lnTo>
                  <a:lnTo>
                    <a:pt x="276" y="1051"/>
                  </a:lnTo>
                  <a:lnTo>
                    <a:pt x="267" y="1056"/>
                  </a:lnTo>
                  <a:lnTo>
                    <a:pt x="238" y="1056"/>
                  </a:lnTo>
                  <a:lnTo>
                    <a:pt x="217" y="1073"/>
                  </a:lnTo>
                  <a:lnTo>
                    <a:pt x="217" y="1084"/>
                  </a:lnTo>
                  <a:lnTo>
                    <a:pt x="212" y="1089"/>
                  </a:lnTo>
                  <a:lnTo>
                    <a:pt x="184" y="1073"/>
                  </a:lnTo>
                  <a:lnTo>
                    <a:pt x="170" y="1084"/>
                  </a:lnTo>
                  <a:lnTo>
                    <a:pt x="170" y="1073"/>
                  </a:lnTo>
                  <a:lnTo>
                    <a:pt x="196" y="1073"/>
                  </a:lnTo>
                  <a:lnTo>
                    <a:pt x="217" y="1051"/>
                  </a:lnTo>
                  <a:lnTo>
                    <a:pt x="217" y="1035"/>
                  </a:lnTo>
                  <a:lnTo>
                    <a:pt x="238" y="1035"/>
                  </a:lnTo>
                  <a:lnTo>
                    <a:pt x="255" y="1018"/>
                  </a:lnTo>
                  <a:lnTo>
                    <a:pt x="255" y="997"/>
                  </a:lnTo>
                  <a:lnTo>
                    <a:pt x="271" y="997"/>
                  </a:lnTo>
                  <a:lnTo>
                    <a:pt x="276" y="990"/>
                  </a:lnTo>
                  <a:lnTo>
                    <a:pt x="276" y="981"/>
                  </a:lnTo>
                  <a:lnTo>
                    <a:pt x="359" y="973"/>
                  </a:lnTo>
                  <a:lnTo>
                    <a:pt x="364" y="957"/>
                  </a:lnTo>
                  <a:lnTo>
                    <a:pt x="401" y="924"/>
                  </a:lnTo>
                  <a:lnTo>
                    <a:pt x="342" y="957"/>
                  </a:lnTo>
                  <a:lnTo>
                    <a:pt x="326" y="957"/>
                  </a:lnTo>
                  <a:lnTo>
                    <a:pt x="305" y="936"/>
                  </a:lnTo>
                  <a:lnTo>
                    <a:pt x="276" y="947"/>
                  </a:lnTo>
                  <a:lnTo>
                    <a:pt x="271" y="940"/>
                  </a:lnTo>
                  <a:lnTo>
                    <a:pt x="288" y="936"/>
                  </a:lnTo>
                  <a:lnTo>
                    <a:pt x="267" y="924"/>
                  </a:lnTo>
                  <a:lnTo>
                    <a:pt x="217" y="936"/>
                  </a:lnTo>
                  <a:lnTo>
                    <a:pt x="217" y="936"/>
                  </a:lnTo>
                  <a:lnTo>
                    <a:pt x="217" y="936"/>
                  </a:lnTo>
                  <a:close/>
                  <a:moveTo>
                    <a:pt x="116" y="310"/>
                  </a:moveTo>
                  <a:lnTo>
                    <a:pt x="104" y="310"/>
                  </a:lnTo>
                  <a:lnTo>
                    <a:pt x="104" y="298"/>
                  </a:lnTo>
                  <a:lnTo>
                    <a:pt x="108" y="293"/>
                  </a:lnTo>
                  <a:lnTo>
                    <a:pt x="104" y="293"/>
                  </a:lnTo>
                  <a:lnTo>
                    <a:pt x="104" y="298"/>
                  </a:lnTo>
                  <a:lnTo>
                    <a:pt x="104" y="317"/>
                  </a:lnTo>
                  <a:lnTo>
                    <a:pt x="87" y="333"/>
                  </a:lnTo>
                  <a:lnTo>
                    <a:pt x="71" y="317"/>
                  </a:lnTo>
                  <a:lnTo>
                    <a:pt x="92" y="310"/>
                  </a:lnTo>
                  <a:lnTo>
                    <a:pt x="71" y="298"/>
                  </a:lnTo>
                  <a:lnTo>
                    <a:pt x="78" y="298"/>
                  </a:lnTo>
                  <a:lnTo>
                    <a:pt x="71" y="281"/>
                  </a:lnTo>
                  <a:lnTo>
                    <a:pt x="78" y="277"/>
                  </a:lnTo>
                  <a:lnTo>
                    <a:pt x="87" y="277"/>
                  </a:lnTo>
                  <a:lnTo>
                    <a:pt x="92" y="293"/>
                  </a:lnTo>
                  <a:lnTo>
                    <a:pt x="92" y="281"/>
                  </a:lnTo>
                  <a:lnTo>
                    <a:pt x="104" y="277"/>
                  </a:lnTo>
                  <a:lnTo>
                    <a:pt x="92" y="272"/>
                  </a:lnTo>
                  <a:lnTo>
                    <a:pt x="130" y="244"/>
                  </a:lnTo>
                  <a:lnTo>
                    <a:pt x="142" y="255"/>
                  </a:lnTo>
                  <a:lnTo>
                    <a:pt x="125" y="277"/>
                  </a:lnTo>
                  <a:lnTo>
                    <a:pt x="142" y="277"/>
                  </a:lnTo>
                  <a:lnTo>
                    <a:pt x="108" y="293"/>
                  </a:lnTo>
                  <a:lnTo>
                    <a:pt x="125" y="293"/>
                  </a:lnTo>
                  <a:lnTo>
                    <a:pt x="125" y="298"/>
                  </a:lnTo>
                  <a:lnTo>
                    <a:pt x="116" y="310"/>
                  </a:lnTo>
                  <a:lnTo>
                    <a:pt x="116" y="310"/>
                  </a:lnTo>
                  <a:lnTo>
                    <a:pt x="116" y="310"/>
                  </a:lnTo>
                  <a:close/>
                  <a:moveTo>
                    <a:pt x="61" y="350"/>
                  </a:moveTo>
                  <a:lnTo>
                    <a:pt x="38" y="338"/>
                  </a:lnTo>
                  <a:lnTo>
                    <a:pt x="71" y="333"/>
                  </a:lnTo>
                  <a:lnTo>
                    <a:pt x="78" y="338"/>
                  </a:lnTo>
                  <a:lnTo>
                    <a:pt x="61" y="350"/>
                  </a:lnTo>
                  <a:lnTo>
                    <a:pt x="61" y="350"/>
                  </a:lnTo>
                  <a:lnTo>
                    <a:pt x="61" y="350"/>
                  </a:lnTo>
                  <a:close/>
                  <a:moveTo>
                    <a:pt x="163" y="392"/>
                  </a:moveTo>
                  <a:lnTo>
                    <a:pt x="146" y="404"/>
                  </a:lnTo>
                  <a:lnTo>
                    <a:pt x="146" y="388"/>
                  </a:lnTo>
                  <a:lnTo>
                    <a:pt x="130" y="388"/>
                  </a:lnTo>
                  <a:lnTo>
                    <a:pt x="116" y="371"/>
                  </a:lnTo>
                  <a:lnTo>
                    <a:pt x="130" y="371"/>
                  </a:lnTo>
                  <a:lnTo>
                    <a:pt x="116" y="366"/>
                  </a:lnTo>
                  <a:lnTo>
                    <a:pt x="108" y="371"/>
                  </a:lnTo>
                  <a:lnTo>
                    <a:pt x="104" y="366"/>
                  </a:lnTo>
                  <a:lnTo>
                    <a:pt x="92" y="355"/>
                  </a:lnTo>
                  <a:lnTo>
                    <a:pt x="108" y="338"/>
                  </a:lnTo>
                  <a:lnTo>
                    <a:pt x="125" y="350"/>
                  </a:lnTo>
                  <a:lnTo>
                    <a:pt x="125" y="338"/>
                  </a:lnTo>
                  <a:lnTo>
                    <a:pt x="130" y="333"/>
                  </a:lnTo>
                  <a:lnTo>
                    <a:pt x="142" y="350"/>
                  </a:lnTo>
                  <a:lnTo>
                    <a:pt x="142" y="371"/>
                  </a:lnTo>
                  <a:lnTo>
                    <a:pt x="179" y="383"/>
                  </a:lnTo>
                  <a:lnTo>
                    <a:pt x="163" y="392"/>
                  </a:lnTo>
                  <a:lnTo>
                    <a:pt x="163" y="392"/>
                  </a:lnTo>
                  <a:lnTo>
                    <a:pt x="163" y="392"/>
                  </a:lnTo>
                  <a:close/>
                  <a:moveTo>
                    <a:pt x="61" y="366"/>
                  </a:moveTo>
                  <a:lnTo>
                    <a:pt x="54" y="355"/>
                  </a:lnTo>
                  <a:lnTo>
                    <a:pt x="61" y="355"/>
                  </a:lnTo>
                  <a:lnTo>
                    <a:pt x="61" y="366"/>
                  </a:lnTo>
                  <a:lnTo>
                    <a:pt x="61" y="366"/>
                  </a:lnTo>
                  <a:lnTo>
                    <a:pt x="61" y="366"/>
                  </a:lnTo>
                  <a:close/>
                  <a:moveTo>
                    <a:pt x="61" y="392"/>
                  </a:moveTo>
                  <a:lnTo>
                    <a:pt x="54" y="392"/>
                  </a:lnTo>
                  <a:lnTo>
                    <a:pt x="54" y="366"/>
                  </a:lnTo>
                  <a:lnTo>
                    <a:pt x="61" y="371"/>
                  </a:lnTo>
                  <a:lnTo>
                    <a:pt x="61" y="371"/>
                  </a:lnTo>
                  <a:lnTo>
                    <a:pt x="61" y="392"/>
                  </a:lnTo>
                  <a:lnTo>
                    <a:pt x="61" y="392"/>
                  </a:lnTo>
                  <a:lnTo>
                    <a:pt x="61" y="392"/>
                  </a:lnTo>
                  <a:close/>
                  <a:moveTo>
                    <a:pt x="49" y="409"/>
                  </a:moveTo>
                  <a:lnTo>
                    <a:pt x="38" y="409"/>
                  </a:lnTo>
                  <a:lnTo>
                    <a:pt x="49" y="392"/>
                  </a:lnTo>
                  <a:lnTo>
                    <a:pt x="54" y="404"/>
                  </a:lnTo>
                  <a:lnTo>
                    <a:pt x="49" y="409"/>
                  </a:lnTo>
                  <a:lnTo>
                    <a:pt x="49" y="409"/>
                  </a:lnTo>
                  <a:lnTo>
                    <a:pt x="49" y="409"/>
                  </a:lnTo>
                  <a:close/>
                  <a:moveTo>
                    <a:pt x="130" y="409"/>
                  </a:moveTo>
                  <a:lnTo>
                    <a:pt x="116" y="404"/>
                  </a:lnTo>
                  <a:lnTo>
                    <a:pt x="130" y="404"/>
                  </a:lnTo>
                  <a:lnTo>
                    <a:pt x="130" y="409"/>
                  </a:lnTo>
                  <a:lnTo>
                    <a:pt x="130" y="409"/>
                  </a:lnTo>
                  <a:lnTo>
                    <a:pt x="130" y="409"/>
                  </a:lnTo>
                  <a:close/>
                  <a:moveTo>
                    <a:pt x="142" y="421"/>
                  </a:moveTo>
                  <a:lnTo>
                    <a:pt x="142" y="409"/>
                  </a:lnTo>
                  <a:lnTo>
                    <a:pt x="142" y="409"/>
                  </a:lnTo>
                  <a:lnTo>
                    <a:pt x="142" y="421"/>
                  </a:lnTo>
                  <a:lnTo>
                    <a:pt x="142" y="421"/>
                  </a:lnTo>
                  <a:lnTo>
                    <a:pt x="142" y="421"/>
                  </a:lnTo>
                  <a:close/>
                  <a:moveTo>
                    <a:pt x="142" y="442"/>
                  </a:moveTo>
                  <a:lnTo>
                    <a:pt x="179" y="466"/>
                  </a:lnTo>
                  <a:lnTo>
                    <a:pt x="163" y="475"/>
                  </a:lnTo>
                  <a:lnTo>
                    <a:pt x="130" y="482"/>
                  </a:lnTo>
                  <a:lnTo>
                    <a:pt x="125" y="475"/>
                  </a:lnTo>
                  <a:lnTo>
                    <a:pt x="146" y="466"/>
                  </a:lnTo>
                  <a:lnTo>
                    <a:pt x="142" y="466"/>
                  </a:lnTo>
                  <a:lnTo>
                    <a:pt x="146" y="459"/>
                  </a:lnTo>
                  <a:lnTo>
                    <a:pt x="125" y="449"/>
                  </a:lnTo>
                  <a:lnTo>
                    <a:pt x="142" y="442"/>
                  </a:lnTo>
                  <a:lnTo>
                    <a:pt x="142" y="442"/>
                  </a:lnTo>
                  <a:lnTo>
                    <a:pt x="142" y="442"/>
                  </a:lnTo>
                  <a:close/>
                  <a:moveTo>
                    <a:pt x="87" y="459"/>
                  </a:moveTo>
                  <a:lnTo>
                    <a:pt x="78" y="459"/>
                  </a:lnTo>
                  <a:lnTo>
                    <a:pt x="104" y="449"/>
                  </a:lnTo>
                  <a:lnTo>
                    <a:pt x="87" y="459"/>
                  </a:lnTo>
                  <a:lnTo>
                    <a:pt x="87" y="459"/>
                  </a:lnTo>
                  <a:lnTo>
                    <a:pt x="87" y="459"/>
                  </a:lnTo>
                  <a:close/>
                  <a:moveTo>
                    <a:pt x="158" y="532"/>
                  </a:moveTo>
                  <a:lnTo>
                    <a:pt x="146" y="520"/>
                  </a:lnTo>
                  <a:lnTo>
                    <a:pt x="146" y="515"/>
                  </a:lnTo>
                  <a:lnTo>
                    <a:pt x="170" y="492"/>
                  </a:lnTo>
                  <a:lnTo>
                    <a:pt x="158" y="532"/>
                  </a:lnTo>
                  <a:lnTo>
                    <a:pt x="158" y="532"/>
                  </a:lnTo>
                  <a:lnTo>
                    <a:pt x="158" y="532"/>
                  </a:lnTo>
                  <a:close/>
                  <a:moveTo>
                    <a:pt x="142" y="503"/>
                  </a:moveTo>
                  <a:lnTo>
                    <a:pt x="130" y="499"/>
                  </a:lnTo>
                  <a:lnTo>
                    <a:pt x="142" y="492"/>
                  </a:lnTo>
                  <a:lnTo>
                    <a:pt x="142" y="503"/>
                  </a:lnTo>
                  <a:lnTo>
                    <a:pt x="142" y="503"/>
                  </a:lnTo>
                  <a:lnTo>
                    <a:pt x="142" y="503"/>
                  </a:lnTo>
                  <a:close/>
                  <a:moveTo>
                    <a:pt x="130" y="548"/>
                  </a:moveTo>
                  <a:lnTo>
                    <a:pt x="130" y="532"/>
                  </a:lnTo>
                  <a:lnTo>
                    <a:pt x="116" y="536"/>
                  </a:lnTo>
                  <a:lnTo>
                    <a:pt x="116" y="520"/>
                  </a:lnTo>
                  <a:lnTo>
                    <a:pt x="142" y="515"/>
                  </a:lnTo>
                  <a:lnTo>
                    <a:pt x="146" y="536"/>
                  </a:lnTo>
                  <a:lnTo>
                    <a:pt x="130" y="548"/>
                  </a:lnTo>
                  <a:lnTo>
                    <a:pt x="130" y="548"/>
                  </a:lnTo>
                  <a:lnTo>
                    <a:pt x="130" y="548"/>
                  </a:lnTo>
                  <a:close/>
                  <a:moveTo>
                    <a:pt x="217" y="536"/>
                  </a:moveTo>
                  <a:lnTo>
                    <a:pt x="212" y="515"/>
                  </a:lnTo>
                  <a:lnTo>
                    <a:pt x="217" y="520"/>
                  </a:lnTo>
                  <a:lnTo>
                    <a:pt x="217" y="536"/>
                  </a:lnTo>
                  <a:lnTo>
                    <a:pt x="217" y="536"/>
                  </a:lnTo>
                  <a:lnTo>
                    <a:pt x="217" y="536"/>
                  </a:lnTo>
                  <a:close/>
                  <a:moveTo>
                    <a:pt x="212" y="560"/>
                  </a:moveTo>
                  <a:lnTo>
                    <a:pt x="196" y="560"/>
                  </a:lnTo>
                  <a:lnTo>
                    <a:pt x="196" y="536"/>
                  </a:lnTo>
                  <a:lnTo>
                    <a:pt x="212" y="536"/>
                  </a:lnTo>
                  <a:lnTo>
                    <a:pt x="217" y="560"/>
                  </a:lnTo>
                  <a:lnTo>
                    <a:pt x="212" y="560"/>
                  </a:lnTo>
                  <a:lnTo>
                    <a:pt x="212" y="560"/>
                  </a:lnTo>
                  <a:lnTo>
                    <a:pt x="212" y="560"/>
                  </a:lnTo>
                  <a:close/>
                  <a:moveTo>
                    <a:pt x="108" y="702"/>
                  </a:moveTo>
                  <a:lnTo>
                    <a:pt x="78" y="664"/>
                  </a:lnTo>
                  <a:lnTo>
                    <a:pt x="61" y="697"/>
                  </a:lnTo>
                  <a:lnTo>
                    <a:pt x="23" y="685"/>
                  </a:lnTo>
                  <a:lnTo>
                    <a:pt x="0" y="664"/>
                  </a:lnTo>
                  <a:lnTo>
                    <a:pt x="33" y="647"/>
                  </a:lnTo>
                  <a:lnTo>
                    <a:pt x="16" y="643"/>
                  </a:lnTo>
                  <a:lnTo>
                    <a:pt x="38" y="631"/>
                  </a:lnTo>
                  <a:lnTo>
                    <a:pt x="61" y="603"/>
                  </a:lnTo>
                  <a:lnTo>
                    <a:pt x="78" y="603"/>
                  </a:lnTo>
                  <a:lnTo>
                    <a:pt x="87" y="593"/>
                  </a:lnTo>
                  <a:lnTo>
                    <a:pt x="116" y="586"/>
                  </a:lnTo>
                  <a:lnTo>
                    <a:pt x="146" y="586"/>
                  </a:lnTo>
                  <a:lnTo>
                    <a:pt x="146" y="603"/>
                  </a:lnTo>
                  <a:lnTo>
                    <a:pt x="170" y="626"/>
                  </a:lnTo>
                  <a:lnTo>
                    <a:pt x="158" y="647"/>
                  </a:lnTo>
                  <a:lnTo>
                    <a:pt x="179" y="643"/>
                  </a:lnTo>
                  <a:lnTo>
                    <a:pt x="196" y="659"/>
                  </a:lnTo>
                  <a:lnTo>
                    <a:pt x="184" y="669"/>
                  </a:lnTo>
                  <a:lnTo>
                    <a:pt x="179" y="659"/>
                  </a:lnTo>
                  <a:lnTo>
                    <a:pt x="170" y="647"/>
                  </a:lnTo>
                  <a:lnTo>
                    <a:pt x="179" y="681"/>
                  </a:lnTo>
                  <a:lnTo>
                    <a:pt x="163" y="681"/>
                  </a:lnTo>
                  <a:lnTo>
                    <a:pt x="158" y="697"/>
                  </a:lnTo>
                  <a:lnTo>
                    <a:pt x="146" y="702"/>
                  </a:lnTo>
                  <a:lnTo>
                    <a:pt x="130" y="697"/>
                  </a:lnTo>
                  <a:lnTo>
                    <a:pt x="108" y="702"/>
                  </a:lnTo>
                  <a:lnTo>
                    <a:pt x="108" y="702"/>
                  </a:lnTo>
                  <a:lnTo>
                    <a:pt x="108" y="702"/>
                  </a:lnTo>
                  <a:close/>
                  <a:moveTo>
                    <a:pt x="267" y="792"/>
                  </a:moveTo>
                  <a:lnTo>
                    <a:pt x="250" y="775"/>
                  </a:lnTo>
                  <a:lnTo>
                    <a:pt x="250" y="770"/>
                  </a:lnTo>
                  <a:lnTo>
                    <a:pt x="271" y="770"/>
                  </a:lnTo>
                  <a:lnTo>
                    <a:pt x="288" y="775"/>
                  </a:lnTo>
                  <a:lnTo>
                    <a:pt x="267" y="792"/>
                  </a:lnTo>
                  <a:lnTo>
                    <a:pt x="267" y="792"/>
                  </a:lnTo>
                  <a:lnTo>
                    <a:pt x="267" y="792"/>
                  </a:lnTo>
                  <a:close/>
                  <a:moveTo>
                    <a:pt x="635" y="964"/>
                  </a:moveTo>
                  <a:lnTo>
                    <a:pt x="631" y="957"/>
                  </a:lnTo>
                  <a:lnTo>
                    <a:pt x="635" y="957"/>
                  </a:lnTo>
                  <a:lnTo>
                    <a:pt x="635" y="964"/>
                  </a:lnTo>
                  <a:lnTo>
                    <a:pt x="635" y="964"/>
                  </a:lnTo>
                  <a:lnTo>
                    <a:pt x="635" y="964"/>
                  </a:lnTo>
                  <a:close/>
                  <a:moveTo>
                    <a:pt x="484" y="1035"/>
                  </a:moveTo>
                  <a:lnTo>
                    <a:pt x="468" y="1030"/>
                  </a:lnTo>
                  <a:lnTo>
                    <a:pt x="484" y="1018"/>
                  </a:lnTo>
                  <a:lnTo>
                    <a:pt x="494" y="1030"/>
                  </a:lnTo>
                  <a:lnTo>
                    <a:pt x="484" y="1035"/>
                  </a:lnTo>
                  <a:lnTo>
                    <a:pt x="484" y="1035"/>
                  </a:lnTo>
                  <a:lnTo>
                    <a:pt x="484" y="1035"/>
                  </a:lnTo>
                  <a:close/>
                </a:path>
              </a:pathLst>
            </a:custGeom>
            <a:pattFill prst="wd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6" name="Freeform 581">
              <a:extLst>
                <a:ext uri="{FF2B5EF4-FFF2-40B4-BE49-F238E27FC236}">
                  <a16:creationId xmlns:a16="http://schemas.microsoft.com/office/drawing/2014/main" id="{1269F70A-14E6-41A1-BC21-61BD5EA692AB}"/>
                </a:ext>
              </a:extLst>
            </p:cNvPr>
            <p:cNvSpPr>
              <a:spLocks noEditPoints="1"/>
            </p:cNvSpPr>
            <p:nvPr/>
          </p:nvSpPr>
          <p:spPr bwMode="gray">
            <a:xfrm>
              <a:off x="6543163" y="2540783"/>
              <a:ext cx="624040" cy="369715"/>
            </a:xfrm>
            <a:custGeom>
              <a:avLst/>
              <a:gdLst>
                <a:gd name="T0" fmla="*/ 463 w 1261"/>
                <a:gd name="T1" fmla="*/ 669 h 747"/>
                <a:gd name="T2" fmla="*/ 446 w 1261"/>
                <a:gd name="T3" fmla="*/ 641 h 747"/>
                <a:gd name="T4" fmla="*/ 479 w 1261"/>
                <a:gd name="T5" fmla="*/ 598 h 747"/>
                <a:gd name="T6" fmla="*/ 489 w 1261"/>
                <a:gd name="T7" fmla="*/ 546 h 747"/>
                <a:gd name="T8" fmla="*/ 534 w 1261"/>
                <a:gd name="T9" fmla="*/ 558 h 747"/>
                <a:gd name="T10" fmla="*/ 543 w 1261"/>
                <a:gd name="T11" fmla="*/ 546 h 747"/>
                <a:gd name="T12" fmla="*/ 505 w 1261"/>
                <a:gd name="T13" fmla="*/ 485 h 747"/>
                <a:gd name="T14" fmla="*/ 489 w 1261"/>
                <a:gd name="T15" fmla="*/ 419 h 747"/>
                <a:gd name="T16" fmla="*/ 413 w 1261"/>
                <a:gd name="T17" fmla="*/ 390 h 747"/>
                <a:gd name="T18" fmla="*/ 290 w 1261"/>
                <a:gd name="T19" fmla="*/ 397 h 747"/>
                <a:gd name="T20" fmla="*/ 165 w 1261"/>
                <a:gd name="T21" fmla="*/ 419 h 747"/>
                <a:gd name="T22" fmla="*/ 52 w 1261"/>
                <a:gd name="T23" fmla="*/ 419 h 747"/>
                <a:gd name="T24" fmla="*/ 0 w 1261"/>
                <a:gd name="T25" fmla="*/ 381 h 747"/>
                <a:gd name="T26" fmla="*/ 52 w 1261"/>
                <a:gd name="T27" fmla="*/ 324 h 747"/>
                <a:gd name="T28" fmla="*/ 38 w 1261"/>
                <a:gd name="T29" fmla="*/ 267 h 747"/>
                <a:gd name="T30" fmla="*/ 139 w 1261"/>
                <a:gd name="T31" fmla="*/ 173 h 747"/>
                <a:gd name="T32" fmla="*/ 106 w 1261"/>
                <a:gd name="T33" fmla="*/ 85 h 747"/>
                <a:gd name="T34" fmla="*/ 253 w 1261"/>
                <a:gd name="T35" fmla="*/ 45 h 747"/>
                <a:gd name="T36" fmla="*/ 392 w 1261"/>
                <a:gd name="T37" fmla="*/ 85 h 747"/>
                <a:gd name="T38" fmla="*/ 430 w 1261"/>
                <a:gd name="T39" fmla="*/ 74 h 747"/>
                <a:gd name="T40" fmla="*/ 468 w 1261"/>
                <a:gd name="T41" fmla="*/ 78 h 747"/>
                <a:gd name="T42" fmla="*/ 538 w 1261"/>
                <a:gd name="T43" fmla="*/ 95 h 747"/>
                <a:gd name="T44" fmla="*/ 593 w 1261"/>
                <a:gd name="T45" fmla="*/ 74 h 747"/>
                <a:gd name="T46" fmla="*/ 678 w 1261"/>
                <a:gd name="T47" fmla="*/ 29 h 747"/>
                <a:gd name="T48" fmla="*/ 775 w 1261"/>
                <a:gd name="T49" fmla="*/ 0 h 747"/>
                <a:gd name="T50" fmla="*/ 862 w 1261"/>
                <a:gd name="T51" fmla="*/ 57 h 747"/>
                <a:gd name="T52" fmla="*/ 883 w 1261"/>
                <a:gd name="T53" fmla="*/ 119 h 747"/>
                <a:gd name="T54" fmla="*/ 921 w 1261"/>
                <a:gd name="T55" fmla="*/ 135 h 747"/>
                <a:gd name="T56" fmla="*/ 985 w 1261"/>
                <a:gd name="T57" fmla="*/ 189 h 747"/>
                <a:gd name="T58" fmla="*/ 1093 w 1261"/>
                <a:gd name="T59" fmla="*/ 225 h 747"/>
                <a:gd name="T60" fmla="*/ 1179 w 1261"/>
                <a:gd name="T61" fmla="*/ 246 h 747"/>
                <a:gd name="T62" fmla="*/ 1240 w 1261"/>
                <a:gd name="T63" fmla="*/ 267 h 747"/>
                <a:gd name="T64" fmla="*/ 1245 w 1261"/>
                <a:gd name="T65" fmla="*/ 319 h 747"/>
                <a:gd name="T66" fmla="*/ 1254 w 1261"/>
                <a:gd name="T67" fmla="*/ 341 h 747"/>
                <a:gd name="T68" fmla="*/ 1254 w 1261"/>
                <a:gd name="T69" fmla="*/ 390 h 747"/>
                <a:gd name="T70" fmla="*/ 1164 w 1261"/>
                <a:gd name="T71" fmla="*/ 447 h 747"/>
                <a:gd name="T72" fmla="*/ 1060 w 1261"/>
                <a:gd name="T73" fmla="*/ 520 h 747"/>
                <a:gd name="T74" fmla="*/ 900 w 1261"/>
                <a:gd name="T75" fmla="*/ 586 h 747"/>
                <a:gd name="T76" fmla="*/ 879 w 1261"/>
                <a:gd name="T77" fmla="*/ 579 h 747"/>
                <a:gd name="T78" fmla="*/ 867 w 1261"/>
                <a:gd name="T79" fmla="*/ 579 h 747"/>
                <a:gd name="T80" fmla="*/ 829 w 1261"/>
                <a:gd name="T81" fmla="*/ 579 h 747"/>
                <a:gd name="T82" fmla="*/ 824 w 1261"/>
                <a:gd name="T83" fmla="*/ 598 h 747"/>
                <a:gd name="T84" fmla="*/ 857 w 1261"/>
                <a:gd name="T85" fmla="*/ 598 h 747"/>
                <a:gd name="T86" fmla="*/ 862 w 1261"/>
                <a:gd name="T87" fmla="*/ 619 h 747"/>
                <a:gd name="T88" fmla="*/ 900 w 1261"/>
                <a:gd name="T89" fmla="*/ 652 h 747"/>
                <a:gd name="T90" fmla="*/ 895 w 1261"/>
                <a:gd name="T91" fmla="*/ 598 h 747"/>
                <a:gd name="T92" fmla="*/ 968 w 1261"/>
                <a:gd name="T93" fmla="*/ 659 h 747"/>
                <a:gd name="T94" fmla="*/ 1001 w 1261"/>
                <a:gd name="T95" fmla="*/ 685 h 747"/>
                <a:gd name="T96" fmla="*/ 900 w 1261"/>
                <a:gd name="T97" fmla="*/ 697 h 747"/>
                <a:gd name="T98" fmla="*/ 808 w 1261"/>
                <a:gd name="T99" fmla="*/ 742 h 747"/>
                <a:gd name="T100" fmla="*/ 808 w 1261"/>
                <a:gd name="T101" fmla="*/ 697 h 747"/>
                <a:gd name="T102" fmla="*/ 732 w 1261"/>
                <a:gd name="T103" fmla="*/ 659 h 747"/>
                <a:gd name="T104" fmla="*/ 808 w 1261"/>
                <a:gd name="T105" fmla="*/ 598 h 747"/>
                <a:gd name="T106" fmla="*/ 732 w 1261"/>
                <a:gd name="T107" fmla="*/ 586 h 747"/>
                <a:gd name="T108" fmla="*/ 652 w 1261"/>
                <a:gd name="T109" fmla="*/ 546 h 747"/>
                <a:gd name="T110" fmla="*/ 694 w 1261"/>
                <a:gd name="T111" fmla="*/ 541 h 747"/>
                <a:gd name="T112" fmla="*/ 685 w 1261"/>
                <a:gd name="T113" fmla="*/ 501 h 747"/>
                <a:gd name="T114" fmla="*/ 685 w 1261"/>
                <a:gd name="T115" fmla="*/ 541 h 747"/>
                <a:gd name="T116" fmla="*/ 609 w 1261"/>
                <a:gd name="T117" fmla="*/ 546 h 747"/>
                <a:gd name="T118" fmla="*/ 534 w 1261"/>
                <a:gd name="T119" fmla="*/ 636 h 747"/>
                <a:gd name="T120" fmla="*/ 534 w 1261"/>
                <a:gd name="T121" fmla="*/ 669 h 747"/>
                <a:gd name="T122" fmla="*/ 699 w 1261"/>
                <a:gd name="T123" fmla="*/ 586 h 747"/>
                <a:gd name="T124" fmla="*/ 699 w 1261"/>
                <a:gd name="T125" fmla="*/ 586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1" h="747">
                  <a:moveTo>
                    <a:pt x="534" y="669"/>
                  </a:moveTo>
                  <a:lnTo>
                    <a:pt x="522" y="659"/>
                  </a:lnTo>
                  <a:lnTo>
                    <a:pt x="505" y="652"/>
                  </a:lnTo>
                  <a:lnTo>
                    <a:pt x="463" y="669"/>
                  </a:lnTo>
                  <a:lnTo>
                    <a:pt x="437" y="659"/>
                  </a:lnTo>
                  <a:lnTo>
                    <a:pt x="425" y="652"/>
                  </a:lnTo>
                  <a:lnTo>
                    <a:pt x="430" y="641"/>
                  </a:lnTo>
                  <a:lnTo>
                    <a:pt x="446" y="641"/>
                  </a:lnTo>
                  <a:lnTo>
                    <a:pt x="446" y="631"/>
                  </a:lnTo>
                  <a:lnTo>
                    <a:pt x="463" y="615"/>
                  </a:lnTo>
                  <a:lnTo>
                    <a:pt x="463" y="603"/>
                  </a:lnTo>
                  <a:lnTo>
                    <a:pt x="479" y="598"/>
                  </a:lnTo>
                  <a:lnTo>
                    <a:pt x="484" y="579"/>
                  </a:lnTo>
                  <a:lnTo>
                    <a:pt x="479" y="574"/>
                  </a:lnTo>
                  <a:lnTo>
                    <a:pt x="484" y="558"/>
                  </a:lnTo>
                  <a:lnTo>
                    <a:pt x="489" y="546"/>
                  </a:lnTo>
                  <a:lnTo>
                    <a:pt x="501" y="563"/>
                  </a:lnTo>
                  <a:lnTo>
                    <a:pt x="517" y="558"/>
                  </a:lnTo>
                  <a:lnTo>
                    <a:pt x="522" y="563"/>
                  </a:lnTo>
                  <a:lnTo>
                    <a:pt x="534" y="558"/>
                  </a:lnTo>
                  <a:lnTo>
                    <a:pt x="543" y="563"/>
                  </a:lnTo>
                  <a:lnTo>
                    <a:pt x="560" y="563"/>
                  </a:lnTo>
                  <a:lnTo>
                    <a:pt x="543" y="546"/>
                  </a:lnTo>
                  <a:lnTo>
                    <a:pt x="543" y="546"/>
                  </a:lnTo>
                  <a:lnTo>
                    <a:pt x="543" y="525"/>
                  </a:lnTo>
                  <a:lnTo>
                    <a:pt x="522" y="520"/>
                  </a:lnTo>
                  <a:lnTo>
                    <a:pt x="522" y="475"/>
                  </a:lnTo>
                  <a:lnTo>
                    <a:pt x="505" y="485"/>
                  </a:lnTo>
                  <a:lnTo>
                    <a:pt x="489" y="468"/>
                  </a:lnTo>
                  <a:lnTo>
                    <a:pt x="489" y="463"/>
                  </a:lnTo>
                  <a:lnTo>
                    <a:pt x="501" y="435"/>
                  </a:lnTo>
                  <a:lnTo>
                    <a:pt x="489" y="419"/>
                  </a:lnTo>
                  <a:lnTo>
                    <a:pt x="484" y="419"/>
                  </a:lnTo>
                  <a:lnTo>
                    <a:pt x="468" y="407"/>
                  </a:lnTo>
                  <a:lnTo>
                    <a:pt x="413" y="397"/>
                  </a:lnTo>
                  <a:lnTo>
                    <a:pt x="413" y="390"/>
                  </a:lnTo>
                  <a:lnTo>
                    <a:pt x="392" y="374"/>
                  </a:lnTo>
                  <a:lnTo>
                    <a:pt x="323" y="381"/>
                  </a:lnTo>
                  <a:lnTo>
                    <a:pt x="316" y="390"/>
                  </a:lnTo>
                  <a:lnTo>
                    <a:pt x="290" y="397"/>
                  </a:lnTo>
                  <a:lnTo>
                    <a:pt x="286" y="419"/>
                  </a:lnTo>
                  <a:lnTo>
                    <a:pt x="219" y="419"/>
                  </a:lnTo>
                  <a:lnTo>
                    <a:pt x="198" y="447"/>
                  </a:lnTo>
                  <a:lnTo>
                    <a:pt x="165" y="419"/>
                  </a:lnTo>
                  <a:lnTo>
                    <a:pt x="144" y="419"/>
                  </a:lnTo>
                  <a:lnTo>
                    <a:pt x="90" y="419"/>
                  </a:lnTo>
                  <a:lnTo>
                    <a:pt x="75" y="407"/>
                  </a:lnTo>
                  <a:lnTo>
                    <a:pt x="52" y="419"/>
                  </a:lnTo>
                  <a:lnTo>
                    <a:pt x="47" y="407"/>
                  </a:lnTo>
                  <a:lnTo>
                    <a:pt x="38" y="407"/>
                  </a:lnTo>
                  <a:lnTo>
                    <a:pt x="5" y="381"/>
                  </a:lnTo>
                  <a:lnTo>
                    <a:pt x="0" y="381"/>
                  </a:lnTo>
                  <a:lnTo>
                    <a:pt x="0" y="362"/>
                  </a:lnTo>
                  <a:lnTo>
                    <a:pt x="14" y="352"/>
                  </a:lnTo>
                  <a:lnTo>
                    <a:pt x="31" y="319"/>
                  </a:lnTo>
                  <a:lnTo>
                    <a:pt x="52" y="324"/>
                  </a:lnTo>
                  <a:lnTo>
                    <a:pt x="52" y="319"/>
                  </a:lnTo>
                  <a:lnTo>
                    <a:pt x="38" y="308"/>
                  </a:lnTo>
                  <a:lnTo>
                    <a:pt x="47" y="296"/>
                  </a:lnTo>
                  <a:lnTo>
                    <a:pt x="38" y="267"/>
                  </a:lnTo>
                  <a:lnTo>
                    <a:pt x="85" y="225"/>
                  </a:lnTo>
                  <a:lnTo>
                    <a:pt x="113" y="189"/>
                  </a:lnTo>
                  <a:lnTo>
                    <a:pt x="127" y="189"/>
                  </a:lnTo>
                  <a:lnTo>
                    <a:pt x="139" y="173"/>
                  </a:lnTo>
                  <a:lnTo>
                    <a:pt x="127" y="152"/>
                  </a:lnTo>
                  <a:lnTo>
                    <a:pt x="139" y="152"/>
                  </a:lnTo>
                  <a:lnTo>
                    <a:pt x="113" y="111"/>
                  </a:lnTo>
                  <a:lnTo>
                    <a:pt x="106" y="85"/>
                  </a:lnTo>
                  <a:lnTo>
                    <a:pt x="106" y="74"/>
                  </a:lnTo>
                  <a:lnTo>
                    <a:pt x="139" y="78"/>
                  </a:lnTo>
                  <a:lnTo>
                    <a:pt x="160" y="45"/>
                  </a:lnTo>
                  <a:lnTo>
                    <a:pt x="253" y="45"/>
                  </a:lnTo>
                  <a:lnTo>
                    <a:pt x="354" y="62"/>
                  </a:lnTo>
                  <a:lnTo>
                    <a:pt x="361" y="78"/>
                  </a:lnTo>
                  <a:lnTo>
                    <a:pt x="392" y="78"/>
                  </a:lnTo>
                  <a:lnTo>
                    <a:pt x="392" y="85"/>
                  </a:lnTo>
                  <a:lnTo>
                    <a:pt x="392" y="85"/>
                  </a:lnTo>
                  <a:lnTo>
                    <a:pt x="399" y="74"/>
                  </a:lnTo>
                  <a:lnTo>
                    <a:pt x="413" y="78"/>
                  </a:lnTo>
                  <a:lnTo>
                    <a:pt x="430" y="74"/>
                  </a:lnTo>
                  <a:lnTo>
                    <a:pt x="430" y="78"/>
                  </a:lnTo>
                  <a:lnTo>
                    <a:pt x="451" y="78"/>
                  </a:lnTo>
                  <a:lnTo>
                    <a:pt x="463" y="95"/>
                  </a:lnTo>
                  <a:lnTo>
                    <a:pt x="468" y="78"/>
                  </a:lnTo>
                  <a:lnTo>
                    <a:pt x="489" y="74"/>
                  </a:lnTo>
                  <a:lnTo>
                    <a:pt x="505" y="95"/>
                  </a:lnTo>
                  <a:lnTo>
                    <a:pt x="534" y="85"/>
                  </a:lnTo>
                  <a:lnTo>
                    <a:pt x="538" y="95"/>
                  </a:lnTo>
                  <a:lnTo>
                    <a:pt x="560" y="85"/>
                  </a:lnTo>
                  <a:lnTo>
                    <a:pt x="593" y="111"/>
                  </a:lnTo>
                  <a:lnTo>
                    <a:pt x="597" y="102"/>
                  </a:lnTo>
                  <a:lnTo>
                    <a:pt x="593" y="74"/>
                  </a:lnTo>
                  <a:lnTo>
                    <a:pt x="597" y="57"/>
                  </a:lnTo>
                  <a:lnTo>
                    <a:pt x="614" y="41"/>
                  </a:lnTo>
                  <a:lnTo>
                    <a:pt x="614" y="29"/>
                  </a:lnTo>
                  <a:lnTo>
                    <a:pt x="678" y="29"/>
                  </a:lnTo>
                  <a:lnTo>
                    <a:pt x="706" y="29"/>
                  </a:lnTo>
                  <a:lnTo>
                    <a:pt x="716" y="8"/>
                  </a:lnTo>
                  <a:lnTo>
                    <a:pt x="753" y="17"/>
                  </a:lnTo>
                  <a:lnTo>
                    <a:pt x="775" y="0"/>
                  </a:lnTo>
                  <a:lnTo>
                    <a:pt x="824" y="0"/>
                  </a:lnTo>
                  <a:lnTo>
                    <a:pt x="841" y="24"/>
                  </a:lnTo>
                  <a:lnTo>
                    <a:pt x="841" y="41"/>
                  </a:lnTo>
                  <a:lnTo>
                    <a:pt x="862" y="57"/>
                  </a:lnTo>
                  <a:lnTo>
                    <a:pt x="862" y="62"/>
                  </a:lnTo>
                  <a:lnTo>
                    <a:pt x="841" y="74"/>
                  </a:lnTo>
                  <a:lnTo>
                    <a:pt x="862" y="111"/>
                  </a:lnTo>
                  <a:lnTo>
                    <a:pt x="883" y="119"/>
                  </a:lnTo>
                  <a:lnTo>
                    <a:pt x="909" y="111"/>
                  </a:lnTo>
                  <a:lnTo>
                    <a:pt x="916" y="128"/>
                  </a:lnTo>
                  <a:lnTo>
                    <a:pt x="933" y="128"/>
                  </a:lnTo>
                  <a:lnTo>
                    <a:pt x="921" y="135"/>
                  </a:lnTo>
                  <a:lnTo>
                    <a:pt x="938" y="168"/>
                  </a:lnTo>
                  <a:lnTo>
                    <a:pt x="933" y="168"/>
                  </a:lnTo>
                  <a:lnTo>
                    <a:pt x="947" y="189"/>
                  </a:lnTo>
                  <a:lnTo>
                    <a:pt x="985" y="189"/>
                  </a:lnTo>
                  <a:lnTo>
                    <a:pt x="992" y="197"/>
                  </a:lnTo>
                  <a:lnTo>
                    <a:pt x="1018" y="206"/>
                  </a:lnTo>
                  <a:lnTo>
                    <a:pt x="1077" y="189"/>
                  </a:lnTo>
                  <a:lnTo>
                    <a:pt x="1093" y="225"/>
                  </a:lnTo>
                  <a:lnTo>
                    <a:pt x="1115" y="241"/>
                  </a:lnTo>
                  <a:lnTo>
                    <a:pt x="1127" y="225"/>
                  </a:lnTo>
                  <a:lnTo>
                    <a:pt x="1131" y="225"/>
                  </a:lnTo>
                  <a:lnTo>
                    <a:pt x="1179" y="246"/>
                  </a:lnTo>
                  <a:lnTo>
                    <a:pt x="1190" y="241"/>
                  </a:lnTo>
                  <a:lnTo>
                    <a:pt x="1202" y="251"/>
                  </a:lnTo>
                  <a:lnTo>
                    <a:pt x="1223" y="251"/>
                  </a:lnTo>
                  <a:lnTo>
                    <a:pt x="1240" y="267"/>
                  </a:lnTo>
                  <a:lnTo>
                    <a:pt x="1261" y="267"/>
                  </a:lnTo>
                  <a:lnTo>
                    <a:pt x="1254" y="279"/>
                  </a:lnTo>
                  <a:lnTo>
                    <a:pt x="1261" y="303"/>
                  </a:lnTo>
                  <a:lnTo>
                    <a:pt x="1245" y="319"/>
                  </a:lnTo>
                  <a:lnTo>
                    <a:pt x="1233" y="324"/>
                  </a:lnTo>
                  <a:lnTo>
                    <a:pt x="1240" y="336"/>
                  </a:lnTo>
                  <a:lnTo>
                    <a:pt x="1254" y="336"/>
                  </a:lnTo>
                  <a:lnTo>
                    <a:pt x="1254" y="341"/>
                  </a:lnTo>
                  <a:lnTo>
                    <a:pt x="1240" y="341"/>
                  </a:lnTo>
                  <a:lnTo>
                    <a:pt x="1233" y="357"/>
                  </a:lnTo>
                  <a:lnTo>
                    <a:pt x="1240" y="362"/>
                  </a:lnTo>
                  <a:lnTo>
                    <a:pt x="1254" y="390"/>
                  </a:lnTo>
                  <a:lnTo>
                    <a:pt x="1240" y="414"/>
                  </a:lnTo>
                  <a:lnTo>
                    <a:pt x="1240" y="430"/>
                  </a:lnTo>
                  <a:lnTo>
                    <a:pt x="1169" y="430"/>
                  </a:lnTo>
                  <a:lnTo>
                    <a:pt x="1164" y="447"/>
                  </a:lnTo>
                  <a:lnTo>
                    <a:pt x="1131" y="452"/>
                  </a:lnTo>
                  <a:lnTo>
                    <a:pt x="1131" y="501"/>
                  </a:lnTo>
                  <a:lnTo>
                    <a:pt x="1077" y="501"/>
                  </a:lnTo>
                  <a:lnTo>
                    <a:pt x="1060" y="520"/>
                  </a:lnTo>
                  <a:lnTo>
                    <a:pt x="1056" y="520"/>
                  </a:lnTo>
                  <a:lnTo>
                    <a:pt x="985" y="541"/>
                  </a:lnTo>
                  <a:lnTo>
                    <a:pt x="964" y="541"/>
                  </a:lnTo>
                  <a:lnTo>
                    <a:pt x="900" y="586"/>
                  </a:lnTo>
                  <a:lnTo>
                    <a:pt x="921" y="574"/>
                  </a:lnTo>
                  <a:lnTo>
                    <a:pt x="916" y="558"/>
                  </a:lnTo>
                  <a:lnTo>
                    <a:pt x="909" y="574"/>
                  </a:lnTo>
                  <a:lnTo>
                    <a:pt x="879" y="579"/>
                  </a:lnTo>
                  <a:lnTo>
                    <a:pt x="867" y="598"/>
                  </a:lnTo>
                  <a:lnTo>
                    <a:pt x="862" y="598"/>
                  </a:lnTo>
                  <a:lnTo>
                    <a:pt x="867" y="586"/>
                  </a:lnTo>
                  <a:lnTo>
                    <a:pt x="867" y="579"/>
                  </a:lnTo>
                  <a:lnTo>
                    <a:pt x="857" y="579"/>
                  </a:lnTo>
                  <a:lnTo>
                    <a:pt x="845" y="574"/>
                  </a:lnTo>
                  <a:lnTo>
                    <a:pt x="841" y="586"/>
                  </a:lnTo>
                  <a:lnTo>
                    <a:pt x="829" y="579"/>
                  </a:lnTo>
                  <a:lnTo>
                    <a:pt x="808" y="579"/>
                  </a:lnTo>
                  <a:lnTo>
                    <a:pt x="812" y="586"/>
                  </a:lnTo>
                  <a:lnTo>
                    <a:pt x="824" y="579"/>
                  </a:lnTo>
                  <a:lnTo>
                    <a:pt x="824" y="598"/>
                  </a:lnTo>
                  <a:lnTo>
                    <a:pt x="829" y="586"/>
                  </a:lnTo>
                  <a:lnTo>
                    <a:pt x="841" y="603"/>
                  </a:lnTo>
                  <a:lnTo>
                    <a:pt x="845" y="598"/>
                  </a:lnTo>
                  <a:lnTo>
                    <a:pt x="857" y="598"/>
                  </a:lnTo>
                  <a:lnTo>
                    <a:pt x="862" y="603"/>
                  </a:lnTo>
                  <a:lnTo>
                    <a:pt x="857" y="615"/>
                  </a:lnTo>
                  <a:lnTo>
                    <a:pt x="879" y="603"/>
                  </a:lnTo>
                  <a:lnTo>
                    <a:pt x="862" y="619"/>
                  </a:lnTo>
                  <a:lnTo>
                    <a:pt x="879" y="619"/>
                  </a:lnTo>
                  <a:lnTo>
                    <a:pt x="900" y="631"/>
                  </a:lnTo>
                  <a:lnTo>
                    <a:pt x="909" y="641"/>
                  </a:lnTo>
                  <a:lnTo>
                    <a:pt x="900" y="652"/>
                  </a:lnTo>
                  <a:lnTo>
                    <a:pt x="909" y="659"/>
                  </a:lnTo>
                  <a:lnTo>
                    <a:pt x="921" y="659"/>
                  </a:lnTo>
                  <a:lnTo>
                    <a:pt x="879" y="586"/>
                  </a:lnTo>
                  <a:lnTo>
                    <a:pt x="895" y="598"/>
                  </a:lnTo>
                  <a:lnTo>
                    <a:pt x="909" y="631"/>
                  </a:lnTo>
                  <a:lnTo>
                    <a:pt x="938" y="659"/>
                  </a:lnTo>
                  <a:lnTo>
                    <a:pt x="964" y="652"/>
                  </a:lnTo>
                  <a:lnTo>
                    <a:pt x="968" y="659"/>
                  </a:lnTo>
                  <a:lnTo>
                    <a:pt x="985" y="641"/>
                  </a:lnTo>
                  <a:lnTo>
                    <a:pt x="1018" y="652"/>
                  </a:lnTo>
                  <a:lnTo>
                    <a:pt x="1001" y="659"/>
                  </a:lnTo>
                  <a:lnTo>
                    <a:pt x="1001" y="685"/>
                  </a:lnTo>
                  <a:lnTo>
                    <a:pt x="964" y="693"/>
                  </a:lnTo>
                  <a:lnTo>
                    <a:pt x="938" y="676"/>
                  </a:lnTo>
                  <a:lnTo>
                    <a:pt x="909" y="709"/>
                  </a:lnTo>
                  <a:lnTo>
                    <a:pt x="900" y="697"/>
                  </a:lnTo>
                  <a:lnTo>
                    <a:pt x="867" y="709"/>
                  </a:lnTo>
                  <a:lnTo>
                    <a:pt x="857" y="730"/>
                  </a:lnTo>
                  <a:lnTo>
                    <a:pt x="829" y="747"/>
                  </a:lnTo>
                  <a:lnTo>
                    <a:pt x="808" y="742"/>
                  </a:lnTo>
                  <a:lnTo>
                    <a:pt x="786" y="726"/>
                  </a:lnTo>
                  <a:lnTo>
                    <a:pt x="803" y="726"/>
                  </a:lnTo>
                  <a:lnTo>
                    <a:pt x="803" y="709"/>
                  </a:lnTo>
                  <a:lnTo>
                    <a:pt x="808" y="697"/>
                  </a:lnTo>
                  <a:lnTo>
                    <a:pt x="803" y="676"/>
                  </a:lnTo>
                  <a:lnTo>
                    <a:pt x="775" y="676"/>
                  </a:lnTo>
                  <a:lnTo>
                    <a:pt x="753" y="659"/>
                  </a:lnTo>
                  <a:lnTo>
                    <a:pt x="732" y="659"/>
                  </a:lnTo>
                  <a:lnTo>
                    <a:pt x="720" y="652"/>
                  </a:lnTo>
                  <a:lnTo>
                    <a:pt x="753" y="631"/>
                  </a:lnTo>
                  <a:lnTo>
                    <a:pt x="812" y="603"/>
                  </a:lnTo>
                  <a:lnTo>
                    <a:pt x="808" y="598"/>
                  </a:lnTo>
                  <a:lnTo>
                    <a:pt x="808" y="586"/>
                  </a:lnTo>
                  <a:lnTo>
                    <a:pt x="791" y="598"/>
                  </a:lnTo>
                  <a:lnTo>
                    <a:pt x="775" y="579"/>
                  </a:lnTo>
                  <a:lnTo>
                    <a:pt x="732" y="586"/>
                  </a:lnTo>
                  <a:lnTo>
                    <a:pt x="678" y="574"/>
                  </a:lnTo>
                  <a:lnTo>
                    <a:pt x="694" y="563"/>
                  </a:lnTo>
                  <a:lnTo>
                    <a:pt x="668" y="558"/>
                  </a:lnTo>
                  <a:lnTo>
                    <a:pt x="652" y="546"/>
                  </a:lnTo>
                  <a:lnTo>
                    <a:pt x="716" y="558"/>
                  </a:lnTo>
                  <a:lnTo>
                    <a:pt x="737" y="541"/>
                  </a:lnTo>
                  <a:lnTo>
                    <a:pt x="716" y="546"/>
                  </a:lnTo>
                  <a:lnTo>
                    <a:pt x="694" y="541"/>
                  </a:lnTo>
                  <a:lnTo>
                    <a:pt x="685" y="530"/>
                  </a:lnTo>
                  <a:lnTo>
                    <a:pt x="694" y="508"/>
                  </a:lnTo>
                  <a:lnTo>
                    <a:pt x="678" y="485"/>
                  </a:lnTo>
                  <a:lnTo>
                    <a:pt x="685" y="501"/>
                  </a:lnTo>
                  <a:lnTo>
                    <a:pt x="685" y="508"/>
                  </a:lnTo>
                  <a:lnTo>
                    <a:pt x="694" y="520"/>
                  </a:lnTo>
                  <a:lnTo>
                    <a:pt x="685" y="525"/>
                  </a:lnTo>
                  <a:lnTo>
                    <a:pt x="685" y="541"/>
                  </a:lnTo>
                  <a:lnTo>
                    <a:pt x="652" y="541"/>
                  </a:lnTo>
                  <a:lnTo>
                    <a:pt x="661" y="525"/>
                  </a:lnTo>
                  <a:lnTo>
                    <a:pt x="652" y="541"/>
                  </a:lnTo>
                  <a:lnTo>
                    <a:pt x="609" y="546"/>
                  </a:lnTo>
                  <a:lnTo>
                    <a:pt x="609" y="563"/>
                  </a:lnTo>
                  <a:lnTo>
                    <a:pt x="571" y="615"/>
                  </a:lnTo>
                  <a:lnTo>
                    <a:pt x="543" y="615"/>
                  </a:lnTo>
                  <a:lnTo>
                    <a:pt x="534" y="636"/>
                  </a:lnTo>
                  <a:lnTo>
                    <a:pt x="522" y="615"/>
                  </a:lnTo>
                  <a:lnTo>
                    <a:pt x="522" y="636"/>
                  </a:lnTo>
                  <a:lnTo>
                    <a:pt x="538" y="652"/>
                  </a:lnTo>
                  <a:lnTo>
                    <a:pt x="534" y="669"/>
                  </a:lnTo>
                  <a:lnTo>
                    <a:pt x="534" y="669"/>
                  </a:lnTo>
                  <a:lnTo>
                    <a:pt x="534" y="669"/>
                  </a:lnTo>
                  <a:lnTo>
                    <a:pt x="534" y="669"/>
                  </a:lnTo>
                  <a:close/>
                  <a:moveTo>
                    <a:pt x="699" y="586"/>
                  </a:moveTo>
                  <a:lnTo>
                    <a:pt x="661" y="574"/>
                  </a:lnTo>
                  <a:lnTo>
                    <a:pt x="652" y="563"/>
                  </a:lnTo>
                  <a:lnTo>
                    <a:pt x="661" y="574"/>
                  </a:lnTo>
                  <a:lnTo>
                    <a:pt x="699" y="586"/>
                  </a:lnTo>
                  <a:lnTo>
                    <a:pt x="699" y="586"/>
                  </a:lnTo>
                  <a:lnTo>
                    <a:pt x="699" y="586"/>
                  </a:lnTo>
                  <a:close/>
                </a:path>
              </a:pathLst>
            </a:custGeom>
            <a:pattFill prst="dk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7" name="Freeform 582">
              <a:extLst>
                <a:ext uri="{FF2B5EF4-FFF2-40B4-BE49-F238E27FC236}">
                  <a16:creationId xmlns:a16="http://schemas.microsoft.com/office/drawing/2014/main" id="{13BD96F1-0D91-488B-BD59-EF9D8E4AB168}"/>
                </a:ext>
              </a:extLst>
            </p:cNvPr>
            <p:cNvSpPr>
              <a:spLocks noEditPoints="1"/>
            </p:cNvSpPr>
            <p:nvPr/>
          </p:nvSpPr>
          <p:spPr bwMode="gray">
            <a:xfrm>
              <a:off x="-438066" y="1492517"/>
              <a:ext cx="12453084" cy="2429127"/>
            </a:xfrm>
            <a:custGeom>
              <a:avLst/>
              <a:gdLst>
                <a:gd name="T0" fmla="*/ 3387 w 25164"/>
                <a:gd name="T1" fmla="*/ 1889 h 4908"/>
                <a:gd name="T2" fmla="*/ 3186 w 25164"/>
                <a:gd name="T3" fmla="*/ 1606 h 4908"/>
                <a:gd name="T4" fmla="*/ 2948 w 25164"/>
                <a:gd name="T5" fmla="*/ 1462 h 4908"/>
                <a:gd name="T6" fmla="*/ 2615 w 25164"/>
                <a:gd name="T7" fmla="*/ 1351 h 4908"/>
                <a:gd name="T8" fmla="*/ 2154 w 25164"/>
                <a:gd name="T9" fmla="*/ 1263 h 4908"/>
                <a:gd name="T10" fmla="*/ 1939 w 25164"/>
                <a:gd name="T11" fmla="*/ 1301 h 4908"/>
                <a:gd name="T12" fmla="*/ 1734 w 25164"/>
                <a:gd name="T13" fmla="*/ 1445 h 4908"/>
                <a:gd name="T14" fmla="*/ 1427 w 25164"/>
                <a:gd name="T15" fmla="*/ 1755 h 4908"/>
                <a:gd name="T16" fmla="*/ 1103 w 25164"/>
                <a:gd name="T17" fmla="*/ 1866 h 4908"/>
                <a:gd name="T18" fmla="*/ 1420 w 25164"/>
                <a:gd name="T19" fmla="*/ 1462 h 4908"/>
                <a:gd name="T20" fmla="*/ 978 w 25164"/>
                <a:gd name="T21" fmla="*/ 1289 h 4908"/>
                <a:gd name="T22" fmla="*/ 935 w 25164"/>
                <a:gd name="T23" fmla="*/ 1145 h 4908"/>
                <a:gd name="T24" fmla="*/ 1117 w 25164"/>
                <a:gd name="T25" fmla="*/ 848 h 4908"/>
                <a:gd name="T26" fmla="*/ 1205 w 25164"/>
                <a:gd name="T27" fmla="*/ 670 h 4908"/>
                <a:gd name="T28" fmla="*/ 1103 w 25164"/>
                <a:gd name="T29" fmla="*/ 243 h 4908"/>
                <a:gd name="T30" fmla="*/ 1696 w 25164"/>
                <a:gd name="T31" fmla="*/ 26 h 4908"/>
                <a:gd name="T32" fmla="*/ 520 w 25164"/>
                <a:gd name="T33" fmla="*/ 980 h 4908"/>
                <a:gd name="T34" fmla="*/ 2183 w 25164"/>
                <a:gd name="T35" fmla="*/ 1263 h 4908"/>
                <a:gd name="T36" fmla="*/ 2268 w 25164"/>
                <a:gd name="T37" fmla="*/ 1296 h 4908"/>
                <a:gd name="T38" fmla="*/ 2154 w 25164"/>
                <a:gd name="T39" fmla="*/ 1346 h 4908"/>
                <a:gd name="T40" fmla="*/ 1868 w 25164"/>
                <a:gd name="T41" fmla="*/ 1533 h 4908"/>
                <a:gd name="T42" fmla="*/ 3061 w 25164"/>
                <a:gd name="T43" fmla="*/ 1589 h 4908"/>
                <a:gd name="T44" fmla="*/ 2993 w 25164"/>
                <a:gd name="T45" fmla="*/ 1556 h 4908"/>
                <a:gd name="T46" fmla="*/ 1724 w 25164"/>
                <a:gd name="T47" fmla="*/ 1651 h 4908"/>
                <a:gd name="T48" fmla="*/ 3085 w 25164"/>
                <a:gd name="T49" fmla="*/ 1622 h 4908"/>
                <a:gd name="T50" fmla="*/ 3182 w 25164"/>
                <a:gd name="T51" fmla="*/ 1677 h 4908"/>
                <a:gd name="T52" fmla="*/ 3241 w 25164"/>
                <a:gd name="T53" fmla="*/ 1684 h 4908"/>
                <a:gd name="T54" fmla="*/ 3262 w 25164"/>
                <a:gd name="T55" fmla="*/ 1722 h 4908"/>
                <a:gd name="T56" fmla="*/ 3203 w 25164"/>
                <a:gd name="T57" fmla="*/ 1804 h 4908"/>
                <a:gd name="T58" fmla="*/ 3342 w 25164"/>
                <a:gd name="T59" fmla="*/ 1833 h 4908"/>
                <a:gd name="T60" fmla="*/ 3203 w 25164"/>
                <a:gd name="T61" fmla="*/ 1811 h 4908"/>
                <a:gd name="T62" fmla="*/ 1301 w 25164"/>
                <a:gd name="T63" fmla="*/ 1828 h 4908"/>
                <a:gd name="T64" fmla="*/ 3246 w 25164"/>
                <a:gd name="T65" fmla="*/ 1861 h 4908"/>
                <a:gd name="T66" fmla="*/ 3349 w 25164"/>
                <a:gd name="T67" fmla="*/ 1866 h 4908"/>
                <a:gd name="T68" fmla="*/ 957 w 25164"/>
                <a:gd name="T69" fmla="*/ 1960 h 4908"/>
                <a:gd name="T70" fmla="*/ 789 w 25164"/>
                <a:gd name="T71" fmla="*/ 2017 h 4908"/>
                <a:gd name="T72" fmla="*/ 324 w 25164"/>
                <a:gd name="T73" fmla="*/ 2149 h 4908"/>
                <a:gd name="T74" fmla="*/ 201 w 25164"/>
                <a:gd name="T75" fmla="*/ 2161 h 4908"/>
                <a:gd name="T76" fmla="*/ 75 w 25164"/>
                <a:gd name="T77" fmla="*/ 2199 h 4908"/>
                <a:gd name="T78" fmla="*/ 5882 w 25164"/>
                <a:gd name="T79" fmla="*/ 2404 h 4908"/>
                <a:gd name="T80" fmla="*/ 7004 w 25164"/>
                <a:gd name="T81" fmla="*/ 2974 h 4908"/>
                <a:gd name="T82" fmla="*/ 7743 w 25164"/>
                <a:gd name="T83" fmla="*/ 2863 h 4908"/>
                <a:gd name="T84" fmla="*/ 7561 w 25164"/>
                <a:gd name="T85" fmla="*/ 3118 h 4908"/>
                <a:gd name="T86" fmla="*/ 7231 w 25164"/>
                <a:gd name="T87" fmla="*/ 3413 h 4908"/>
                <a:gd name="T88" fmla="*/ 7150 w 25164"/>
                <a:gd name="T89" fmla="*/ 3373 h 4908"/>
                <a:gd name="T90" fmla="*/ 7200 w 25164"/>
                <a:gd name="T91" fmla="*/ 3562 h 4908"/>
                <a:gd name="T92" fmla="*/ 7086 w 25164"/>
                <a:gd name="T93" fmla="*/ 3727 h 4908"/>
                <a:gd name="T94" fmla="*/ 6890 w 25164"/>
                <a:gd name="T95" fmla="*/ 4155 h 4908"/>
                <a:gd name="T96" fmla="*/ 6638 w 25164"/>
                <a:gd name="T97" fmla="*/ 4065 h 4908"/>
                <a:gd name="T98" fmla="*/ 6281 w 25164"/>
                <a:gd name="T99" fmla="*/ 4077 h 4908"/>
                <a:gd name="T100" fmla="*/ 5908 w 25164"/>
                <a:gd name="T101" fmla="*/ 4077 h 4908"/>
                <a:gd name="T102" fmla="*/ 5530 w 25164"/>
                <a:gd name="T103" fmla="*/ 4204 h 4908"/>
                <a:gd name="T104" fmla="*/ 4013 w 25164"/>
                <a:gd name="T105" fmla="*/ 3496 h 4908"/>
                <a:gd name="T106" fmla="*/ 3841 w 25164"/>
                <a:gd name="T107" fmla="*/ 2940 h 4908"/>
                <a:gd name="T108" fmla="*/ 3947 w 25164"/>
                <a:gd name="T109" fmla="*/ 2581 h 4908"/>
                <a:gd name="T110" fmla="*/ 3938 w 25164"/>
                <a:gd name="T111" fmla="*/ 2492 h 4908"/>
                <a:gd name="T112" fmla="*/ 7738 w 25164"/>
                <a:gd name="T113" fmla="*/ 2870 h 4908"/>
                <a:gd name="T114" fmla="*/ 7344 w 25164"/>
                <a:gd name="T115" fmla="*/ 3196 h 4908"/>
                <a:gd name="T116" fmla="*/ 4245 w 25164"/>
                <a:gd name="T117" fmla="*/ 3784 h 4908"/>
                <a:gd name="T118" fmla="*/ 5903 w 25164"/>
                <a:gd name="T119" fmla="*/ 4117 h 4908"/>
                <a:gd name="T120" fmla="*/ 1356 w 25164"/>
                <a:gd name="T121" fmla="*/ 4653 h 4908"/>
                <a:gd name="T122" fmla="*/ 1549 w 25164"/>
                <a:gd name="T123" fmla="*/ 4764 h 4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164" h="4908">
                  <a:moveTo>
                    <a:pt x="2662" y="222"/>
                  </a:moveTo>
                  <a:lnTo>
                    <a:pt x="2662" y="1313"/>
                  </a:lnTo>
                  <a:lnTo>
                    <a:pt x="2700" y="1318"/>
                  </a:lnTo>
                  <a:lnTo>
                    <a:pt x="2700" y="1313"/>
                  </a:lnTo>
                  <a:lnTo>
                    <a:pt x="2733" y="1329"/>
                  </a:lnTo>
                  <a:lnTo>
                    <a:pt x="2754" y="1313"/>
                  </a:lnTo>
                  <a:lnTo>
                    <a:pt x="2804" y="1301"/>
                  </a:lnTo>
                  <a:lnTo>
                    <a:pt x="2792" y="1334"/>
                  </a:lnTo>
                  <a:lnTo>
                    <a:pt x="2825" y="1351"/>
                  </a:lnTo>
                  <a:lnTo>
                    <a:pt x="2830" y="1367"/>
                  </a:lnTo>
                  <a:lnTo>
                    <a:pt x="2901" y="1424"/>
                  </a:lnTo>
                  <a:lnTo>
                    <a:pt x="2910" y="1462"/>
                  </a:lnTo>
                  <a:lnTo>
                    <a:pt x="2955" y="1429"/>
                  </a:lnTo>
                  <a:lnTo>
                    <a:pt x="2972" y="1429"/>
                  </a:lnTo>
                  <a:lnTo>
                    <a:pt x="2976" y="1424"/>
                  </a:lnTo>
                  <a:lnTo>
                    <a:pt x="2976" y="1400"/>
                  </a:lnTo>
                  <a:lnTo>
                    <a:pt x="2993" y="1400"/>
                  </a:lnTo>
                  <a:lnTo>
                    <a:pt x="2986" y="1389"/>
                  </a:lnTo>
                  <a:lnTo>
                    <a:pt x="3047" y="1367"/>
                  </a:lnTo>
                  <a:lnTo>
                    <a:pt x="3085" y="1389"/>
                  </a:lnTo>
                  <a:lnTo>
                    <a:pt x="3078" y="1407"/>
                  </a:lnTo>
                  <a:lnTo>
                    <a:pt x="3085" y="1424"/>
                  </a:lnTo>
                  <a:lnTo>
                    <a:pt x="3127" y="1441"/>
                  </a:lnTo>
                  <a:lnTo>
                    <a:pt x="3137" y="1474"/>
                  </a:lnTo>
                  <a:lnTo>
                    <a:pt x="3165" y="1478"/>
                  </a:lnTo>
                  <a:lnTo>
                    <a:pt x="3191" y="1511"/>
                  </a:lnTo>
                  <a:lnTo>
                    <a:pt x="3203" y="1528"/>
                  </a:lnTo>
                  <a:lnTo>
                    <a:pt x="3279" y="1639"/>
                  </a:lnTo>
                  <a:lnTo>
                    <a:pt x="3274" y="1651"/>
                  </a:lnTo>
                  <a:lnTo>
                    <a:pt x="3295" y="1660"/>
                  </a:lnTo>
                  <a:lnTo>
                    <a:pt x="3288" y="1677"/>
                  </a:lnTo>
                  <a:lnTo>
                    <a:pt x="3300" y="1684"/>
                  </a:lnTo>
                  <a:lnTo>
                    <a:pt x="3312" y="1700"/>
                  </a:lnTo>
                  <a:lnTo>
                    <a:pt x="3326" y="1700"/>
                  </a:lnTo>
                  <a:lnTo>
                    <a:pt x="3380" y="1722"/>
                  </a:lnTo>
                  <a:lnTo>
                    <a:pt x="3409" y="1750"/>
                  </a:lnTo>
                  <a:lnTo>
                    <a:pt x="3425" y="1750"/>
                  </a:lnTo>
                  <a:lnTo>
                    <a:pt x="3434" y="1771"/>
                  </a:lnTo>
                  <a:lnTo>
                    <a:pt x="3425" y="1788"/>
                  </a:lnTo>
                  <a:lnTo>
                    <a:pt x="3434" y="1833"/>
                  </a:lnTo>
                  <a:lnTo>
                    <a:pt x="3409" y="1873"/>
                  </a:lnTo>
                  <a:lnTo>
                    <a:pt x="3387" y="1889"/>
                  </a:lnTo>
                  <a:lnTo>
                    <a:pt x="3380" y="1866"/>
                  </a:lnTo>
                  <a:lnTo>
                    <a:pt x="3380" y="1882"/>
                  </a:lnTo>
                  <a:lnTo>
                    <a:pt x="3371" y="1889"/>
                  </a:lnTo>
                  <a:lnTo>
                    <a:pt x="3364" y="1866"/>
                  </a:lnTo>
                  <a:lnTo>
                    <a:pt x="3387" y="1849"/>
                  </a:lnTo>
                  <a:lnTo>
                    <a:pt x="3401" y="1833"/>
                  </a:lnTo>
                  <a:lnTo>
                    <a:pt x="3387" y="1849"/>
                  </a:lnTo>
                  <a:lnTo>
                    <a:pt x="3364" y="1849"/>
                  </a:lnTo>
                  <a:lnTo>
                    <a:pt x="3371" y="1833"/>
                  </a:lnTo>
                  <a:lnTo>
                    <a:pt x="3397" y="1833"/>
                  </a:lnTo>
                  <a:lnTo>
                    <a:pt x="3371" y="1833"/>
                  </a:lnTo>
                  <a:lnTo>
                    <a:pt x="3371" y="1795"/>
                  </a:lnTo>
                  <a:lnTo>
                    <a:pt x="3354" y="1771"/>
                  </a:lnTo>
                  <a:lnTo>
                    <a:pt x="3364" y="1755"/>
                  </a:lnTo>
                  <a:lnTo>
                    <a:pt x="3300" y="1778"/>
                  </a:lnTo>
                  <a:lnTo>
                    <a:pt x="3312" y="1778"/>
                  </a:lnTo>
                  <a:lnTo>
                    <a:pt x="3295" y="1811"/>
                  </a:lnTo>
                  <a:lnTo>
                    <a:pt x="3288" y="1804"/>
                  </a:lnTo>
                  <a:lnTo>
                    <a:pt x="3279" y="1788"/>
                  </a:lnTo>
                  <a:lnTo>
                    <a:pt x="3295" y="1762"/>
                  </a:lnTo>
                  <a:lnTo>
                    <a:pt x="3295" y="1750"/>
                  </a:lnTo>
                  <a:lnTo>
                    <a:pt x="3312" y="1738"/>
                  </a:lnTo>
                  <a:lnTo>
                    <a:pt x="3274" y="1705"/>
                  </a:lnTo>
                  <a:lnTo>
                    <a:pt x="3274" y="1700"/>
                  </a:lnTo>
                  <a:lnTo>
                    <a:pt x="3257" y="1700"/>
                  </a:lnTo>
                  <a:lnTo>
                    <a:pt x="3274" y="1677"/>
                  </a:lnTo>
                  <a:lnTo>
                    <a:pt x="3257" y="1684"/>
                  </a:lnTo>
                  <a:lnTo>
                    <a:pt x="3241" y="1677"/>
                  </a:lnTo>
                  <a:lnTo>
                    <a:pt x="3236" y="1667"/>
                  </a:lnTo>
                  <a:lnTo>
                    <a:pt x="3241" y="1660"/>
                  </a:lnTo>
                  <a:lnTo>
                    <a:pt x="3241" y="1651"/>
                  </a:lnTo>
                  <a:lnTo>
                    <a:pt x="3236" y="1660"/>
                  </a:lnTo>
                  <a:lnTo>
                    <a:pt x="3220" y="1651"/>
                  </a:lnTo>
                  <a:lnTo>
                    <a:pt x="3208" y="1644"/>
                  </a:lnTo>
                  <a:lnTo>
                    <a:pt x="3203" y="1651"/>
                  </a:lnTo>
                  <a:lnTo>
                    <a:pt x="3186" y="1644"/>
                  </a:lnTo>
                  <a:lnTo>
                    <a:pt x="3191" y="1627"/>
                  </a:lnTo>
                  <a:lnTo>
                    <a:pt x="3220" y="1622"/>
                  </a:lnTo>
                  <a:lnTo>
                    <a:pt x="3191" y="1627"/>
                  </a:lnTo>
                  <a:lnTo>
                    <a:pt x="3186" y="1611"/>
                  </a:lnTo>
                  <a:lnTo>
                    <a:pt x="3203" y="1594"/>
                  </a:lnTo>
                  <a:lnTo>
                    <a:pt x="3186" y="1606"/>
                  </a:lnTo>
                  <a:lnTo>
                    <a:pt x="3182" y="1589"/>
                  </a:lnTo>
                  <a:lnTo>
                    <a:pt x="3224" y="1606"/>
                  </a:lnTo>
                  <a:lnTo>
                    <a:pt x="3186" y="1585"/>
                  </a:lnTo>
                  <a:lnTo>
                    <a:pt x="3186" y="1568"/>
                  </a:lnTo>
                  <a:lnTo>
                    <a:pt x="3220" y="1573"/>
                  </a:lnTo>
                  <a:lnTo>
                    <a:pt x="3186" y="1568"/>
                  </a:lnTo>
                  <a:lnTo>
                    <a:pt x="3182" y="1585"/>
                  </a:lnTo>
                  <a:lnTo>
                    <a:pt x="3170" y="1556"/>
                  </a:lnTo>
                  <a:lnTo>
                    <a:pt x="3182" y="1540"/>
                  </a:lnTo>
                  <a:lnTo>
                    <a:pt x="3165" y="1556"/>
                  </a:lnTo>
                  <a:lnTo>
                    <a:pt x="3149" y="1552"/>
                  </a:lnTo>
                  <a:lnTo>
                    <a:pt x="3153" y="1516"/>
                  </a:lnTo>
                  <a:lnTo>
                    <a:pt x="3170" y="1500"/>
                  </a:lnTo>
                  <a:lnTo>
                    <a:pt x="3153" y="1500"/>
                  </a:lnTo>
                  <a:lnTo>
                    <a:pt x="3137" y="1533"/>
                  </a:lnTo>
                  <a:lnTo>
                    <a:pt x="3099" y="1516"/>
                  </a:lnTo>
                  <a:lnTo>
                    <a:pt x="3085" y="1483"/>
                  </a:lnTo>
                  <a:lnTo>
                    <a:pt x="3085" y="1474"/>
                  </a:lnTo>
                  <a:lnTo>
                    <a:pt x="3078" y="1478"/>
                  </a:lnTo>
                  <a:lnTo>
                    <a:pt x="3073" y="1474"/>
                  </a:lnTo>
                  <a:lnTo>
                    <a:pt x="3057" y="1424"/>
                  </a:lnTo>
                  <a:lnTo>
                    <a:pt x="3061" y="1400"/>
                  </a:lnTo>
                  <a:lnTo>
                    <a:pt x="3057" y="1424"/>
                  </a:lnTo>
                  <a:lnTo>
                    <a:pt x="3061" y="1445"/>
                  </a:lnTo>
                  <a:lnTo>
                    <a:pt x="3047" y="1429"/>
                  </a:lnTo>
                  <a:lnTo>
                    <a:pt x="3073" y="1483"/>
                  </a:lnTo>
                  <a:lnTo>
                    <a:pt x="3078" y="1516"/>
                  </a:lnTo>
                  <a:lnTo>
                    <a:pt x="3078" y="1533"/>
                  </a:lnTo>
                  <a:lnTo>
                    <a:pt x="3061" y="1533"/>
                  </a:lnTo>
                  <a:lnTo>
                    <a:pt x="3047" y="1511"/>
                  </a:lnTo>
                  <a:lnTo>
                    <a:pt x="3019" y="1516"/>
                  </a:lnTo>
                  <a:lnTo>
                    <a:pt x="3023" y="1500"/>
                  </a:lnTo>
                  <a:lnTo>
                    <a:pt x="3009" y="1474"/>
                  </a:lnTo>
                  <a:lnTo>
                    <a:pt x="3031" y="1462"/>
                  </a:lnTo>
                  <a:lnTo>
                    <a:pt x="3009" y="1462"/>
                  </a:lnTo>
                  <a:lnTo>
                    <a:pt x="3002" y="1445"/>
                  </a:lnTo>
                  <a:lnTo>
                    <a:pt x="3009" y="1474"/>
                  </a:lnTo>
                  <a:lnTo>
                    <a:pt x="2993" y="1478"/>
                  </a:lnTo>
                  <a:lnTo>
                    <a:pt x="2972" y="1457"/>
                  </a:lnTo>
                  <a:lnTo>
                    <a:pt x="2964" y="1462"/>
                  </a:lnTo>
                  <a:lnTo>
                    <a:pt x="2938" y="1445"/>
                  </a:lnTo>
                  <a:lnTo>
                    <a:pt x="2948" y="1462"/>
                  </a:lnTo>
                  <a:lnTo>
                    <a:pt x="2934" y="1474"/>
                  </a:lnTo>
                  <a:lnTo>
                    <a:pt x="2948" y="1462"/>
                  </a:lnTo>
                  <a:lnTo>
                    <a:pt x="2972" y="1474"/>
                  </a:lnTo>
                  <a:lnTo>
                    <a:pt x="2976" y="1474"/>
                  </a:lnTo>
                  <a:lnTo>
                    <a:pt x="2972" y="1474"/>
                  </a:lnTo>
                  <a:lnTo>
                    <a:pt x="2993" y="1483"/>
                  </a:lnTo>
                  <a:lnTo>
                    <a:pt x="2976" y="1495"/>
                  </a:lnTo>
                  <a:lnTo>
                    <a:pt x="2993" y="1483"/>
                  </a:lnTo>
                  <a:lnTo>
                    <a:pt x="3009" y="1516"/>
                  </a:lnTo>
                  <a:lnTo>
                    <a:pt x="2993" y="1528"/>
                  </a:lnTo>
                  <a:lnTo>
                    <a:pt x="2976" y="1511"/>
                  </a:lnTo>
                  <a:lnTo>
                    <a:pt x="2976" y="1516"/>
                  </a:lnTo>
                  <a:lnTo>
                    <a:pt x="2986" y="1528"/>
                  </a:lnTo>
                  <a:lnTo>
                    <a:pt x="2972" y="1516"/>
                  </a:lnTo>
                  <a:lnTo>
                    <a:pt x="2976" y="1528"/>
                  </a:lnTo>
                  <a:lnTo>
                    <a:pt x="2972" y="1533"/>
                  </a:lnTo>
                  <a:lnTo>
                    <a:pt x="2955" y="1516"/>
                  </a:lnTo>
                  <a:lnTo>
                    <a:pt x="2901" y="1495"/>
                  </a:lnTo>
                  <a:lnTo>
                    <a:pt x="2910" y="1483"/>
                  </a:lnTo>
                  <a:lnTo>
                    <a:pt x="2896" y="1483"/>
                  </a:lnTo>
                  <a:lnTo>
                    <a:pt x="2863" y="1445"/>
                  </a:lnTo>
                  <a:lnTo>
                    <a:pt x="2830" y="1441"/>
                  </a:lnTo>
                  <a:lnTo>
                    <a:pt x="2842" y="1429"/>
                  </a:lnTo>
                  <a:lnTo>
                    <a:pt x="2830" y="1441"/>
                  </a:lnTo>
                  <a:lnTo>
                    <a:pt x="2754" y="1400"/>
                  </a:lnTo>
                  <a:lnTo>
                    <a:pt x="2771" y="1384"/>
                  </a:lnTo>
                  <a:lnTo>
                    <a:pt x="2759" y="1355"/>
                  </a:lnTo>
                  <a:lnTo>
                    <a:pt x="2771" y="1346"/>
                  </a:lnTo>
                  <a:lnTo>
                    <a:pt x="2775" y="1355"/>
                  </a:lnTo>
                  <a:lnTo>
                    <a:pt x="2787" y="1389"/>
                  </a:lnTo>
                  <a:lnTo>
                    <a:pt x="2787" y="1384"/>
                  </a:lnTo>
                  <a:lnTo>
                    <a:pt x="2787" y="1367"/>
                  </a:lnTo>
                  <a:lnTo>
                    <a:pt x="2809" y="1367"/>
                  </a:lnTo>
                  <a:lnTo>
                    <a:pt x="2771" y="1346"/>
                  </a:lnTo>
                  <a:lnTo>
                    <a:pt x="2738" y="1367"/>
                  </a:lnTo>
                  <a:lnTo>
                    <a:pt x="2707" y="1372"/>
                  </a:lnTo>
                  <a:lnTo>
                    <a:pt x="2641" y="1355"/>
                  </a:lnTo>
                  <a:lnTo>
                    <a:pt x="2646" y="1346"/>
                  </a:lnTo>
                  <a:lnTo>
                    <a:pt x="2641" y="1329"/>
                  </a:lnTo>
                  <a:lnTo>
                    <a:pt x="2631" y="1334"/>
                  </a:lnTo>
                  <a:lnTo>
                    <a:pt x="2641" y="1346"/>
                  </a:lnTo>
                  <a:lnTo>
                    <a:pt x="2615" y="1351"/>
                  </a:lnTo>
                  <a:lnTo>
                    <a:pt x="2544" y="1334"/>
                  </a:lnTo>
                  <a:lnTo>
                    <a:pt x="2464" y="1346"/>
                  </a:lnTo>
                  <a:lnTo>
                    <a:pt x="2435" y="1329"/>
                  </a:lnTo>
                  <a:lnTo>
                    <a:pt x="2414" y="1329"/>
                  </a:lnTo>
                  <a:lnTo>
                    <a:pt x="2381" y="1313"/>
                  </a:lnTo>
                  <a:lnTo>
                    <a:pt x="2398" y="1280"/>
                  </a:lnTo>
                  <a:lnTo>
                    <a:pt x="2409" y="1263"/>
                  </a:lnTo>
                  <a:lnTo>
                    <a:pt x="2360" y="1301"/>
                  </a:lnTo>
                  <a:lnTo>
                    <a:pt x="2322" y="1289"/>
                  </a:lnTo>
                  <a:lnTo>
                    <a:pt x="2338" y="1273"/>
                  </a:lnTo>
                  <a:lnTo>
                    <a:pt x="2291" y="1273"/>
                  </a:lnTo>
                  <a:lnTo>
                    <a:pt x="2317" y="1263"/>
                  </a:lnTo>
                  <a:lnTo>
                    <a:pt x="2305" y="1256"/>
                  </a:lnTo>
                  <a:lnTo>
                    <a:pt x="2268" y="1273"/>
                  </a:lnTo>
                  <a:lnTo>
                    <a:pt x="2263" y="1263"/>
                  </a:lnTo>
                  <a:lnTo>
                    <a:pt x="2305" y="1256"/>
                  </a:lnTo>
                  <a:lnTo>
                    <a:pt x="2301" y="1244"/>
                  </a:lnTo>
                  <a:lnTo>
                    <a:pt x="2275" y="1256"/>
                  </a:lnTo>
                  <a:lnTo>
                    <a:pt x="2263" y="1240"/>
                  </a:lnTo>
                  <a:lnTo>
                    <a:pt x="2268" y="1223"/>
                  </a:lnTo>
                  <a:lnTo>
                    <a:pt x="2301" y="1223"/>
                  </a:lnTo>
                  <a:lnTo>
                    <a:pt x="2291" y="1223"/>
                  </a:lnTo>
                  <a:lnTo>
                    <a:pt x="2268" y="1223"/>
                  </a:lnTo>
                  <a:lnTo>
                    <a:pt x="2246" y="1240"/>
                  </a:lnTo>
                  <a:lnTo>
                    <a:pt x="2237" y="1235"/>
                  </a:lnTo>
                  <a:lnTo>
                    <a:pt x="2216" y="1244"/>
                  </a:lnTo>
                  <a:lnTo>
                    <a:pt x="2209" y="1244"/>
                  </a:lnTo>
                  <a:lnTo>
                    <a:pt x="2209" y="1218"/>
                  </a:lnTo>
                  <a:lnTo>
                    <a:pt x="2199" y="1244"/>
                  </a:lnTo>
                  <a:lnTo>
                    <a:pt x="2183" y="1256"/>
                  </a:lnTo>
                  <a:lnTo>
                    <a:pt x="2166" y="1240"/>
                  </a:lnTo>
                  <a:lnTo>
                    <a:pt x="2192" y="1207"/>
                  </a:lnTo>
                  <a:lnTo>
                    <a:pt x="2166" y="1235"/>
                  </a:lnTo>
                  <a:lnTo>
                    <a:pt x="2161" y="1223"/>
                  </a:lnTo>
                  <a:lnTo>
                    <a:pt x="2145" y="1235"/>
                  </a:lnTo>
                  <a:lnTo>
                    <a:pt x="2140" y="1240"/>
                  </a:lnTo>
                  <a:lnTo>
                    <a:pt x="2161" y="1235"/>
                  </a:lnTo>
                  <a:lnTo>
                    <a:pt x="2145" y="1256"/>
                  </a:lnTo>
                  <a:lnTo>
                    <a:pt x="2123" y="1256"/>
                  </a:lnTo>
                  <a:lnTo>
                    <a:pt x="2140" y="1256"/>
                  </a:lnTo>
                  <a:lnTo>
                    <a:pt x="2123" y="1273"/>
                  </a:lnTo>
                  <a:lnTo>
                    <a:pt x="2154" y="1263"/>
                  </a:lnTo>
                  <a:lnTo>
                    <a:pt x="2161" y="1280"/>
                  </a:lnTo>
                  <a:lnTo>
                    <a:pt x="2123" y="1296"/>
                  </a:lnTo>
                  <a:lnTo>
                    <a:pt x="2140" y="1289"/>
                  </a:lnTo>
                  <a:lnTo>
                    <a:pt x="2154" y="1296"/>
                  </a:lnTo>
                  <a:lnTo>
                    <a:pt x="2166" y="1280"/>
                  </a:lnTo>
                  <a:lnTo>
                    <a:pt x="2178" y="1296"/>
                  </a:lnTo>
                  <a:lnTo>
                    <a:pt x="2145" y="1329"/>
                  </a:lnTo>
                  <a:lnTo>
                    <a:pt x="2166" y="1318"/>
                  </a:lnTo>
                  <a:lnTo>
                    <a:pt x="2154" y="1334"/>
                  </a:lnTo>
                  <a:lnTo>
                    <a:pt x="2154" y="1329"/>
                  </a:lnTo>
                  <a:lnTo>
                    <a:pt x="2145" y="1351"/>
                  </a:lnTo>
                  <a:lnTo>
                    <a:pt x="2102" y="1351"/>
                  </a:lnTo>
                  <a:lnTo>
                    <a:pt x="2102" y="1334"/>
                  </a:lnTo>
                  <a:lnTo>
                    <a:pt x="2086" y="1355"/>
                  </a:lnTo>
                  <a:lnTo>
                    <a:pt x="2086" y="1346"/>
                  </a:lnTo>
                  <a:lnTo>
                    <a:pt x="2074" y="1334"/>
                  </a:lnTo>
                  <a:lnTo>
                    <a:pt x="2057" y="1367"/>
                  </a:lnTo>
                  <a:lnTo>
                    <a:pt x="2069" y="1372"/>
                  </a:lnTo>
                  <a:lnTo>
                    <a:pt x="2053" y="1351"/>
                  </a:lnTo>
                  <a:lnTo>
                    <a:pt x="2053" y="1384"/>
                  </a:lnTo>
                  <a:lnTo>
                    <a:pt x="2031" y="1367"/>
                  </a:lnTo>
                  <a:lnTo>
                    <a:pt x="2036" y="1372"/>
                  </a:lnTo>
                  <a:lnTo>
                    <a:pt x="2031" y="1384"/>
                  </a:lnTo>
                  <a:lnTo>
                    <a:pt x="2003" y="1400"/>
                  </a:lnTo>
                  <a:lnTo>
                    <a:pt x="2015" y="1372"/>
                  </a:lnTo>
                  <a:lnTo>
                    <a:pt x="1998" y="1400"/>
                  </a:lnTo>
                  <a:lnTo>
                    <a:pt x="1994" y="1389"/>
                  </a:lnTo>
                  <a:lnTo>
                    <a:pt x="1994" y="1400"/>
                  </a:lnTo>
                  <a:lnTo>
                    <a:pt x="1994" y="1407"/>
                  </a:lnTo>
                  <a:lnTo>
                    <a:pt x="1965" y="1424"/>
                  </a:lnTo>
                  <a:lnTo>
                    <a:pt x="1951" y="1424"/>
                  </a:lnTo>
                  <a:lnTo>
                    <a:pt x="1951" y="1429"/>
                  </a:lnTo>
                  <a:lnTo>
                    <a:pt x="1927" y="1424"/>
                  </a:lnTo>
                  <a:lnTo>
                    <a:pt x="1913" y="1441"/>
                  </a:lnTo>
                  <a:lnTo>
                    <a:pt x="1890" y="1424"/>
                  </a:lnTo>
                  <a:lnTo>
                    <a:pt x="1897" y="1407"/>
                  </a:lnTo>
                  <a:lnTo>
                    <a:pt x="1927" y="1400"/>
                  </a:lnTo>
                  <a:lnTo>
                    <a:pt x="1961" y="1367"/>
                  </a:lnTo>
                  <a:lnTo>
                    <a:pt x="1927" y="1384"/>
                  </a:lnTo>
                  <a:lnTo>
                    <a:pt x="1897" y="1372"/>
                  </a:lnTo>
                  <a:lnTo>
                    <a:pt x="1913" y="1346"/>
                  </a:lnTo>
                  <a:lnTo>
                    <a:pt x="1939" y="1301"/>
                  </a:lnTo>
                  <a:lnTo>
                    <a:pt x="1944" y="1289"/>
                  </a:lnTo>
                  <a:lnTo>
                    <a:pt x="1939" y="1263"/>
                  </a:lnTo>
                  <a:lnTo>
                    <a:pt x="2003" y="1235"/>
                  </a:lnTo>
                  <a:lnTo>
                    <a:pt x="2015" y="1240"/>
                  </a:lnTo>
                  <a:lnTo>
                    <a:pt x="2048" y="1240"/>
                  </a:lnTo>
                  <a:lnTo>
                    <a:pt x="2102" y="1256"/>
                  </a:lnTo>
                  <a:lnTo>
                    <a:pt x="2090" y="1240"/>
                  </a:lnTo>
                  <a:lnTo>
                    <a:pt x="2057" y="1240"/>
                  </a:lnTo>
                  <a:lnTo>
                    <a:pt x="2031" y="1218"/>
                  </a:lnTo>
                  <a:lnTo>
                    <a:pt x="2053" y="1190"/>
                  </a:lnTo>
                  <a:lnTo>
                    <a:pt x="2086" y="1185"/>
                  </a:lnTo>
                  <a:lnTo>
                    <a:pt x="2074" y="1178"/>
                  </a:lnTo>
                  <a:lnTo>
                    <a:pt x="2053" y="1185"/>
                  </a:lnTo>
                  <a:lnTo>
                    <a:pt x="2031" y="1207"/>
                  </a:lnTo>
                  <a:lnTo>
                    <a:pt x="1994" y="1207"/>
                  </a:lnTo>
                  <a:lnTo>
                    <a:pt x="1961" y="1218"/>
                  </a:lnTo>
                  <a:lnTo>
                    <a:pt x="1951" y="1235"/>
                  </a:lnTo>
                  <a:lnTo>
                    <a:pt x="1923" y="1240"/>
                  </a:lnTo>
                  <a:lnTo>
                    <a:pt x="1906" y="1256"/>
                  </a:lnTo>
                  <a:lnTo>
                    <a:pt x="1913" y="1263"/>
                  </a:lnTo>
                  <a:lnTo>
                    <a:pt x="1897" y="1263"/>
                  </a:lnTo>
                  <a:lnTo>
                    <a:pt x="1875" y="1289"/>
                  </a:lnTo>
                  <a:lnTo>
                    <a:pt x="1859" y="1313"/>
                  </a:lnTo>
                  <a:lnTo>
                    <a:pt x="1842" y="1318"/>
                  </a:lnTo>
                  <a:lnTo>
                    <a:pt x="1814" y="1313"/>
                  </a:lnTo>
                  <a:lnTo>
                    <a:pt x="1831" y="1313"/>
                  </a:lnTo>
                  <a:lnTo>
                    <a:pt x="1852" y="1334"/>
                  </a:lnTo>
                  <a:lnTo>
                    <a:pt x="1842" y="1351"/>
                  </a:lnTo>
                  <a:lnTo>
                    <a:pt x="1805" y="1367"/>
                  </a:lnTo>
                  <a:lnTo>
                    <a:pt x="1821" y="1367"/>
                  </a:lnTo>
                  <a:lnTo>
                    <a:pt x="1821" y="1372"/>
                  </a:lnTo>
                  <a:lnTo>
                    <a:pt x="1800" y="1384"/>
                  </a:lnTo>
                  <a:lnTo>
                    <a:pt x="1788" y="1384"/>
                  </a:lnTo>
                  <a:lnTo>
                    <a:pt x="1800" y="1372"/>
                  </a:lnTo>
                  <a:lnTo>
                    <a:pt x="1788" y="1367"/>
                  </a:lnTo>
                  <a:lnTo>
                    <a:pt x="1783" y="1389"/>
                  </a:lnTo>
                  <a:lnTo>
                    <a:pt x="1767" y="1400"/>
                  </a:lnTo>
                  <a:lnTo>
                    <a:pt x="1767" y="1407"/>
                  </a:lnTo>
                  <a:lnTo>
                    <a:pt x="1746" y="1412"/>
                  </a:lnTo>
                  <a:lnTo>
                    <a:pt x="1750" y="1412"/>
                  </a:lnTo>
                  <a:lnTo>
                    <a:pt x="1734" y="1441"/>
                  </a:lnTo>
                  <a:lnTo>
                    <a:pt x="1734" y="1445"/>
                  </a:lnTo>
                  <a:lnTo>
                    <a:pt x="1776" y="1445"/>
                  </a:lnTo>
                  <a:lnTo>
                    <a:pt x="1805" y="1474"/>
                  </a:lnTo>
                  <a:lnTo>
                    <a:pt x="1783" y="1495"/>
                  </a:lnTo>
                  <a:lnTo>
                    <a:pt x="1746" y="1511"/>
                  </a:lnTo>
                  <a:lnTo>
                    <a:pt x="1750" y="1516"/>
                  </a:lnTo>
                  <a:lnTo>
                    <a:pt x="1729" y="1528"/>
                  </a:lnTo>
                  <a:lnTo>
                    <a:pt x="1746" y="1528"/>
                  </a:lnTo>
                  <a:lnTo>
                    <a:pt x="1734" y="1540"/>
                  </a:lnTo>
                  <a:lnTo>
                    <a:pt x="1724" y="1540"/>
                  </a:lnTo>
                  <a:lnTo>
                    <a:pt x="1712" y="1556"/>
                  </a:lnTo>
                  <a:lnTo>
                    <a:pt x="1679" y="1556"/>
                  </a:lnTo>
                  <a:lnTo>
                    <a:pt x="1675" y="1568"/>
                  </a:lnTo>
                  <a:lnTo>
                    <a:pt x="1658" y="1585"/>
                  </a:lnTo>
                  <a:lnTo>
                    <a:pt x="1637" y="1585"/>
                  </a:lnTo>
                  <a:lnTo>
                    <a:pt x="1625" y="1606"/>
                  </a:lnTo>
                  <a:lnTo>
                    <a:pt x="1604" y="1606"/>
                  </a:lnTo>
                  <a:lnTo>
                    <a:pt x="1604" y="1611"/>
                  </a:lnTo>
                  <a:lnTo>
                    <a:pt x="1599" y="1611"/>
                  </a:lnTo>
                  <a:lnTo>
                    <a:pt x="1571" y="1627"/>
                  </a:lnTo>
                  <a:lnTo>
                    <a:pt x="1587" y="1627"/>
                  </a:lnTo>
                  <a:lnTo>
                    <a:pt x="1587" y="1644"/>
                  </a:lnTo>
                  <a:lnTo>
                    <a:pt x="1571" y="1660"/>
                  </a:lnTo>
                  <a:lnTo>
                    <a:pt x="1545" y="1660"/>
                  </a:lnTo>
                  <a:lnTo>
                    <a:pt x="1528" y="1684"/>
                  </a:lnTo>
                  <a:lnTo>
                    <a:pt x="1512" y="1677"/>
                  </a:lnTo>
                  <a:lnTo>
                    <a:pt x="1495" y="1693"/>
                  </a:lnTo>
                  <a:lnTo>
                    <a:pt x="1502" y="1700"/>
                  </a:lnTo>
                  <a:lnTo>
                    <a:pt x="1490" y="1693"/>
                  </a:lnTo>
                  <a:lnTo>
                    <a:pt x="1457" y="1705"/>
                  </a:lnTo>
                  <a:lnTo>
                    <a:pt x="1481" y="1705"/>
                  </a:lnTo>
                  <a:lnTo>
                    <a:pt x="1481" y="1717"/>
                  </a:lnTo>
                  <a:lnTo>
                    <a:pt x="1457" y="1705"/>
                  </a:lnTo>
                  <a:lnTo>
                    <a:pt x="1443" y="1717"/>
                  </a:lnTo>
                  <a:lnTo>
                    <a:pt x="1427" y="1738"/>
                  </a:lnTo>
                  <a:lnTo>
                    <a:pt x="1436" y="1738"/>
                  </a:lnTo>
                  <a:lnTo>
                    <a:pt x="1443" y="1733"/>
                  </a:lnTo>
                  <a:lnTo>
                    <a:pt x="1457" y="1733"/>
                  </a:lnTo>
                  <a:lnTo>
                    <a:pt x="1448" y="1750"/>
                  </a:lnTo>
                  <a:lnTo>
                    <a:pt x="1464" y="1738"/>
                  </a:lnTo>
                  <a:lnTo>
                    <a:pt x="1443" y="1750"/>
                  </a:lnTo>
                  <a:lnTo>
                    <a:pt x="1436" y="1762"/>
                  </a:lnTo>
                  <a:lnTo>
                    <a:pt x="1427" y="1755"/>
                  </a:lnTo>
                  <a:lnTo>
                    <a:pt x="1436" y="1750"/>
                  </a:lnTo>
                  <a:lnTo>
                    <a:pt x="1427" y="1750"/>
                  </a:lnTo>
                  <a:lnTo>
                    <a:pt x="1427" y="1771"/>
                  </a:lnTo>
                  <a:lnTo>
                    <a:pt x="1410" y="1762"/>
                  </a:lnTo>
                  <a:lnTo>
                    <a:pt x="1405" y="1771"/>
                  </a:lnTo>
                  <a:lnTo>
                    <a:pt x="1372" y="1778"/>
                  </a:lnTo>
                  <a:lnTo>
                    <a:pt x="1351" y="1804"/>
                  </a:lnTo>
                  <a:lnTo>
                    <a:pt x="1356" y="1778"/>
                  </a:lnTo>
                  <a:lnTo>
                    <a:pt x="1339" y="1778"/>
                  </a:lnTo>
                  <a:lnTo>
                    <a:pt x="1318" y="1795"/>
                  </a:lnTo>
                  <a:lnTo>
                    <a:pt x="1301" y="1804"/>
                  </a:lnTo>
                  <a:lnTo>
                    <a:pt x="1297" y="1816"/>
                  </a:lnTo>
                  <a:lnTo>
                    <a:pt x="1285" y="1811"/>
                  </a:lnTo>
                  <a:lnTo>
                    <a:pt x="1280" y="1811"/>
                  </a:lnTo>
                  <a:lnTo>
                    <a:pt x="1280" y="1816"/>
                  </a:lnTo>
                  <a:lnTo>
                    <a:pt x="1264" y="1811"/>
                  </a:lnTo>
                  <a:lnTo>
                    <a:pt x="1242" y="1828"/>
                  </a:lnTo>
                  <a:lnTo>
                    <a:pt x="1226" y="1828"/>
                  </a:lnTo>
                  <a:lnTo>
                    <a:pt x="1226" y="1816"/>
                  </a:lnTo>
                  <a:lnTo>
                    <a:pt x="1231" y="1804"/>
                  </a:lnTo>
                  <a:lnTo>
                    <a:pt x="1247" y="1811"/>
                  </a:lnTo>
                  <a:lnTo>
                    <a:pt x="1221" y="1804"/>
                  </a:lnTo>
                  <a:lnTo>
                    <a:pt x="1205" y="1833"/>
                  </a:lnTo>
                  <a:lnTo>
                    <a:pt x="1188" y="1844"/>
                  </a:lnTo>
                  <a:lnTo>
                    <a:pt x="1193" y="1849"/>
                  </a:lnTo>
                  <a:lnTo>
                    <a:pt x="1179" y="1861"/>
                  </a:lnTo>
                  <a:lnTo>
                    <a:pt x="1179" y="1849"/>
                  </a:lnTo>
                  <a:lnTo>
                    <a:pt x="1172" y="1849"/>
                  </a:lnTo>
                  <a:lnTo>
                    <a:pt x="1172" y="1861"/>
                  </a:lnTo>
                  <a:lnTo>
                    <a:pt x="1155" y="1861"/>
                  </a:lnTo>
                  <a:lnTo>
                    <a:pt x="1150" y="1833"/>
                  </a:lnTo>
                  <a:lnTo>
                    <a:pt x="1141" y="1844"/>
                  </a:lnTo>
                  <a:lnTo>
                    <a:pt x="1150" y="1849"/>
                  </a:lnTo>
                  <a:lnTo>
                    <a:pt x="1150" y="1866"/>
                  </a:lnTo>
                  <a:lnTo>
                    <a:pt x="1141" y="1866"/>
                  </a:lnTo>
                  <a:lnTo>
                    <a:pt x="1124" y="1873"/>
                  </a:lnTo>
                  <a:lnTo>
                    <a:pt x="1103" y="1849"/>
                  </a:lnTo>
                  <a:lnTo>
                    <a:pt x="1103" y="1861"/>
                  </a:lnTo>
                  <a:lnTo>
                    <a:pt x="1117" y="1866"/>
                  </a:lnTo>
                  <a:lnTo>
                    <a:pt x="1096" y="1882"/>
                  </a:lnTo>
                  <a:lnTo>
                    <a:pt x="1096" y="1873"/>
                  </a:lnTo>
                  <a:lnTo>
                    <a:pt x="1103" y="1866"/>
                  </a:lnTo>
                  <a:lnTo>
                    <a:pt x="1096" y="1849"/>
                  </a:lnTo>
                  <a:lnTo>
                    <a:pt x="1117" y="1849"/>
                  </a:lnTo>
                  <a:lnTo>
                    <a:pt x="1124" y="1833"/>
                  </a:lnTo>
                  <a:lnTo>
                    <a:pt x="1150" y="1828"/>
                  </a:lnTo>
                  <a:lnTo>
                    <a:pt x="1155" y="1828"/>
                  </a:lnTo>
                  <a:lnTo>
                    <a:pt x="1150" y="1816"/>
                  </a:lnTo>
                  <a:lnTo>
                    <a:pt x="1172" y="1795"/>
                  </a:lnTo>
                  <a:lnTo>
                    <a:pt x="1205" y="1771"/>
                  </a:lnTo>
                  <a:lnTo>
                    <a:pt x="1259" y="1771"/>
                  </a:lnTo>
                  <a:lnTo>
                    <a:pt x="1280" y="1795"/>
                  </a:lnTo>
                  <a:lnTo>
                    <a:pt x="1275" y="1778"/>
                  </a:lnTo>
                  <a:lnTo>
                    <a:pt x="1313" y="1788"/>
                  </a:lnTo>
                  <a:lnTo>
                    <a:pt x="1313" y="1778"/>
                  </a:lnTo>
                  <a:lnTo>
                    <a:pt x="1285" y="1762"/>
                  </a:lnTo>
                  <a:lnTo>
                    <a:pt x="1301" y="1733"/>
                  </a:lnTo>
                  <a:lnTo>
                    <a:pt x="1394" y="1684"/>
                  </a:lnTo>
                  <a:lnTo>
                    <a:pt x="1427" y="1684"/>
                  </a:lnTo>
                  <a:lnTo>
                    <a:pt x="1427" y="1651"/>
                  </a:lnTo>
                  <a:lnTo>
                    <a:pt x="1474" y="1611"/>
                  </a:lnTo>
                  <a:lnTo>
                    <a:pt x="1490" y="1606"/>
                  </a:lnTo>
                  <a:lnTo>
                    <a:pt x="1495" y="1611"/>
                  </a:lnTo>
                  <a:lnTo>
                    <a:pt x="1512" y="1611"/>
                  </a:lnTo>
                  <a:lnTo>
                    <a:pt x="1512" y="1606"/>
                  </a:lnTo>
                  <a:lnTo>
                    <a:pt x="1502" y="1611"/>
                  </a:lnTo>
                  <a:lnTo>
                    <a:pt x="1490" y="1594"/>
                  </a:lnTo>
                  <a:lnTo>
                    <a:pt x="1495" y="1552"/>
                  </a:lnTo>
                  <a:lnTo>
                    <a:pt x="1512" y="1533"/>
                  </a:lnTo>
                  <a:lnTo>
                    <a:pt x="1528" y="1540"/>
                  </a:lnTo>
                  <a:lnTo>
                    <a:pt x="1502" y="1533"/>
                  </a:lnTo>
                  <a:lnTo>
                    <a:pt x="1502" y="1516"/>
                  </a:lnTo>
                  <a:lnTo>
                    <a:pt x="1533" y="1478"/>
                  </a:lnTo>
                  <a:lnTo>
                    <a:pt x="1557" y="1441"/>
                  </a:lnTo>
                  <a:lnTo>
                    <a:pt x="1533" y="1462"/>
                  </a:lnTo>
                  <a:lnTo>
                    <a:pt x="1457" y="1495"/>
                  </a:lnTo>
                  <a:lnTo>
                    <a:pt x="1427" y="1474"/>
                  </a:lnTo>
                  <a:lnTo>
                    <a:pt x="1436" y="1457"/>
                  </a:lnTo>
                  <a:lnTo>
                    <a:pt x="1457" y="1457"/>
                  </a:lnTo>
                  <a:lnTo>
                    <a:pt x="1474" y="1462"/>
                  </a:lnTo>
                  <a:lnTo>
                    <a:pt x="1436" y="1429"/>
                  </a:lnTo>
                  <a:lnTo>
                    <a:pt x="1436" y="1445"/>
                  </a:lnTo>
                  <a:lnTo>
                    <a:pt x="1427" y="1462"/>
                  </a:lnTo>
                  <a:lnTo>
                    <a:pt x="1420" y="1462"/>
                  </a:lnTo>
                  <a:lnTo>
                    <a:pt x="1420" y="1457"/>
                  </a:lnTo>
                  <a:lnTo>
                    <a:pt x="1410" y="1457"/>
                  </a:lnTo>
                  <a:lnTo>
                    <a:pt x="1420" y="1478"/>
                  </a:lnTo>
                  <a:lnTo>
                    <a:pt x="1410" y="1478"/>
                  </a:lnTo>
                  <a:lnTo>
                    <a:pt x="1410" y="1474"/>
                  </a:lnTo>
                  <a:lnTo>
                    <a:pt x="1405" y="1478"/>
                  </a:lnTo>
                  <a:lnTo>
                    <a:pt x="1420" y="1500"/>
                  </a:lnTo>
                  <a:lnTo>
                    <a:pt x="1405" y="1516"/>
                  </a:lnTo>
                  <a:lnTo>
                    <a:pt x="1394" y="1511"/>
                  </a:lnTo>
                  <a:lnTo>
                    <a:pt x="1356" y="1457"/>
                  </a:lnTo>
                  <a:lnTo>
                    <a:pt x="1335" y="1478"/>
                  </a:lnTo>
                  <a:lnTo>
                    <a:pt x="1313" y="1457"/>
                  </a:lnTo>
                  <a:lnTo>
                    <a:pt x="1301" y="1445"/>
                  </a:lnTo>
                  <a:lnTo>
                    <a:pt x="1221" y="1495"/>
                  </a:lnTo>
                  <a:lnTo>
                    <a:pt x="1179" y="1483"/>
                  </a:lnTo>
                  <a:lnTo>
                    <a:pt x="1193" y="1483"/>
                  </a:lnTo>
                  <a:lnTo>
                    <a:pt x="1209" y="1478"/>
                  </a:lnTo>
                  <a:lnTo>
                    <a:pt x="1205" y="1462"/>
                  </a:lnTo>
                  <a:lnTo>
                    <a:pt x="1205" y="1445"/>
                  </a:lnTo>
                  <a:lnTo>
                    <a:pt x="1221" y="1441"/>
                  </a:lnTo>
                  <a:lnTo>
                    <a:pt x="1193" y="1445"/>
                  </a:lnTo>
                  <a:lnTo>
                    <a:pt x="1188" y="1441"/>
                  </a:lnTo>
                  <a:lnTo>
                    <a:pt x="1193" y="1412"/>
                  </a:lnTo>
                  <a:lnTo>
                    <a:pt x="1209" y="1400"/>
                  </a:lnTo>
                  <a:lnTo>
                    <a:pt x="1172" y="1334"/>
                  </a:lnTo>
                  <a:lnTo>
                    <a:pt x="1179" y="1318"/>
                  </a:lnTo>
                  <a:lnTo>
                    <a:pt x="1167" y="1329"/>
                  </a:lnTo>
                  <a:lnTo>
                    <a:pt x="1167" y="1313"/>
                  </a:lnTo>
                  <a:lnTo>
                    <a:pt x="1172" y="1280"/>
                  </a:lnTo>
                  <a:lnTo>
                    <a:pt x="1193" y="1273"/>
                  </a:lnTo>
                  <a:lnTo>
                    <a:pt x="1172" y="1280"/>
                  </a:lnTo>
                  <a:lnTo>
                    <a:pt x="1150" y="1313"/>
                  </a:lnTo>
                  <a:lnTo>
                    <a:pt x="1155" y="1329"/>
                  </a:lnTo>
                  <a:lnTo>
                    <a:pt x="1155" y="1346"/>
                  </a:lnTo>
                  <a:lnTo>
                    <a:pt x="1096" y="1367"/>
                  </a:lnTo>
                  <a:lnTo>
                    <a:pt x="1042" y="1367"/>
                  </a:lnTo>
                  <a:lnTo>
                    <a:pt x="1032" y="1351"/>
                  </a:lnTo>
                  <a:lnTo>
                    <a:pt x="1042" y="1346"/>
                  </a:lnTo>
                  <a:lnTo>
                    <a:pt x="1016" y="1334"/>
                  </a:lnTo>
                  <a:lnTo>
                    <a:pt x="1004" y="1313"/>
                  </a:lnTo>
                  <a:lnTo>
                    <a:pt x="973" y="1296"/>
                  </a:lnTo>
                  <a:lnTo>
                    <a:pt x="978" y="1289"/>
                  </a:lnTo>
                  <a:lnTo>
                    <a:pt x="952" y="1289"/>
                  </a:lnTo>
                  <a:lnTo>
                    <a:pt x="1004" y="1244"/>
                  </a:lnTo>
                  <a:lnTo>
                    <a:pt x="1004" y="1256"/>
                  </a:lnTo>
                  <a:lnTo>
                    <a:pt x="1032" y="1263"/>
                  </a:lnTo>
                  <a:lnTo>
                    <a:pt x="1032" y="1273"/>
                  </a:lnTo>
                  <a:lnTo>
                    <a:pt x="1016" y="1289"/>
                  </a:lnTo>
                  <a:lnTo>
                    <a:pt x="1049" y="1263"/>
                  </a:lnTo>
                  <a:lnTo>
                    <a:pt x="1065" y="1263"/>
                  </a:lnTo>
                  <a:lnTo>
                    <a:pt x="1065" y="1280"/>
                  </a:lnTo>
                  <a:lnTo>
                    <a:pt x="1070" y="1280"/>
                  </a:lnTo>
                  <a:lnTo>
                    <a:pt x="1086" y="1263"/>
                  </a:lnTo>
                  <a:lnTo>
                    <a:pt x="1058" y="1256"/>
                  </a:lnTo>
                  <a:lnTo>
                    <a:pt x="1079" y="1244"/>
                  </a:lnTo>
                  <a:lnTo>
                    <a:pt x="1065" y="1240"/>
                  </a:lnTo>
                  <a:lnTo>
                    <a:pt x="1049" y="1256"/>
                  </a:lnTo>
                  <a:lnTo>
                    <a:pt x="973" y="1244"/>
                  </a:lnTo>
                  <a:lnTo>
                    <a:pt x="961" y="1240"/>
                  </a:lnTo>
                  <a:lnTo>
                    <a:pt x="994" y="1223"/>
                  </a:lnTo>
                  <a:lnTo>
                    <a:pt x="973" y="1223"/>
                  </a:lnTo>
                  <a:lnTo>
                    <a:pt x="973" y="1207"/>
                  </a:lnTo>
                  <a:lnTo>
                    <a:pt x="961" y="1218"/>
                  </a:lnTo>
                  <a:lnTo>
                    <a:pt x="957" y="1218"/>
                  </a:lnTo>
                  <a:lnTo>
                    <a:pt x="973" y="1190"/>
                  </a:lnTo>
                  <a:lnTo>
                    <a:pt x="990" y="1185"/>
                  </a:lnTo>
                  <a:lnTo>
                    <a:pt x="1004" y="1169"/>
                  </a:lnTo>
                  <a:lnTo>
                    <a:pt x="957" y="1202"/>
                  </a:lnTo>
                  <a:lnTo>
                    <a:pt x="952" y="1218"/>
                  </a:lnTo>
                  <a:lnTo>
                    <a:pt x="957" y="1218"/>
                  </a:lnTo>
                  <a:lnTo>
                    <a:pt x="952" y="1235"/>
                  </a:lnTo>
                  <a:lnTo>
                    <a:pt x="935" y="1223"/>
                  </a:lnTo>
                  <a:lnTo>
                    <a:pt x="935" y="1207"/>
                  </a:lnTo>
                  <a:lnTo>
                    <a:pt x="919" y="1202"/>
                  </a:lnTo>
                  <a:lnTo>
                    <a:pt x="919" y="1190"/>
                  </a:lnTo>
                  <a:lnTo>
                    <a:pt x="924" y="1185"/>
                  </a:lnTo>
                  <a:lnTo>
                    <a:pt x="924" y="1178"/>
                  </a:lnTo>
                  <a:lnTo>
                    <a:pt x="902" y="1185"/>
                  </a:lnTo>
                  <a:lnTo>
                    <a:pt x="898" y="1169"/>
                  </a:lnTo>
                  <a:lnTo>
                    <a:pt x="898" y="1162"/>
                  </a:lnTo>
                  <a:lnTo>
                    <a:pt x="902" y="1169"/>
                  </a:lnTo>
                  <a:lnTo>
                    <a:pt x="924" y="1162"/>
                  </a:lnTo>
                  <a:lnTo>
                    <a:pt x="902" y="1145"/>
                  </a:lnTo>
                  <a:lnTo>
                    <a:pt x="935" y="1145"/>
                  </a:lnTo>
                  <a:lnTo>
                    <a:pt x="924" y="1129"/>
                  </a:lnTo>
                  <a:lnTo>
                    <a:pt x="935" y="1112"/>
                  </a:lnTo>
                  <a:lnTo>
                    <a:pt x="961" y="1074"/>
                  </a:lnTo>
                  <a:lnTo>
                    <a:pt x="978" y="1067"/>
                  </a:lnTo>
                  <a:lnTo>
                    <a:pt x="1004" y="1079"/>
                  </a:lnTo>
                  <a:lnTo>
                    <a:pt x="990" y="1067"/>
                  </a:lnTo>
                  <a:lnTo>
                    <a:pt x="1016" y="1041"/>
                  </a:lnTo>
                  <a:lnTo>
                    <a:pt x="994" y="1051"/>
                  </a:lnTo>
                  <a:lnTo>
                    <a:pt x="990" y="1034"/>
                  </a:lnTo>
                  <a:lnTo>
                    <a:pt x="1004" y="1013"/>
                  </a:lnTo>
                  <a:lnTo>
                    <a:pt x="1027" y="1013"/>
                  </a:lnTo>
                  <a:lnTo>
                    <a:pt x="1011" y="1001"/>
                  </a:lnTo>
                  <a:lnTo>
                    <a:pt x="1016" y="985"/>
                  </a:lnTo>
                  <a:lnTo>
                    <a:pt x="1049" y="985"/>
                  </a:lnTo>
                  <a:lnTo>
                    <a:pt x="1096" y="1013"/>
                  </a:lnTo>
                  <a:lnTo>
                    <a:pt x="1112" y="1013"/>
                  </a:lnTo>
                  <a:lnTo>
                    <a:pt x="1150" y="985"/>
                  </a:lnTo>
                  <a:lnTo>
                    <a:pt x="1167" y="959"/>
                  </a:lnTo>
                  <a:lnTo>
                    <a:pt x="1188" y="959"/>
                  </a:lnTo>
                  <a:lnTo>
                    <a:pt x="1179" y="963"/>
                  </a:lnTo>
                  <a:lnTo>
                    <a:pt x="1247" y="959"/>
                  </a:lnTo>
                  <a:lnTo>
                    <a:pt x="1275" y="930"/>
                  </a:lnTo>
                  <a:lnTo>
                    <a:pt x="1275" y="914"/>
                  </a:lnTo>
                  <a:lnTo>
                    <a:pt x="1264" y="874"/>
                  </a:lnTo>
                  <a:lnTo>
                    <a:pt x="1247" y="852"/>
                  </a:lnTo>
                  <a:lnTo>
                    <a:pt x="1226" y="852"/>
                  </a:lnTo>
                  <a:lnTo>
                    <a:pt x="1231" y="836"/>
                  </a:lnTo>
                  <a:lnTo>
                    <a:pt x="1259" y="848"/>
                  </a:lnTo>
                  <a:lnTo>
                    <a:pt x="1275" y="831"/>
                  </a:lnTo>
                  <a:lnTo>
                    <a:pt x="1275" y="819"/>
                  </a:lnTo>
                  <a:lnTo>
                    <a:pt x="1247" y="796"/>
                  </a:lnTo>
                  <a:lnTo>
                    <a:pt x="1259" y="791"/>
                  </a:lnTo>
                  <a:lnTo>
                    <a:pt x="1247" y="791"/>
                  </a:lnTo>
                  <a:lnTo>
                    <a:pt x="1226" y="815"/>
                  </a:lnTo>
                  <a:lnTo>
                    <a:pt x="1179" y="819"/>
                  </a:lnTo>
                  <a:lnTo>
                    <a:pt x="1150" y="848"/>
                  </a:lnTo>
                  <a:lnTo>
                    <a:pt x="1150" y="852"/>
                  </a:lnTo>
                  <a:lnTo>
                    <a:pt x="1134" y="857"/>
                  </a:lnTo>
                  <a:lnTo>
                    <a:pt x="1124" y="848"/>
                  </a:lnTo>
                  <a:lnTo>
                    <a:pt x="1112" y="819"/>
                  </a:lnTo>
                  <a:lnTo>
                    <a:pt x="1096" y="836"/>
                  </a:lnTo>
                  <a:lnTo>
                    <a:pt x="1117" y="848"/>
                  </a:lnTo>
                  <a:lnTo>
                    <a:pt x="1112" y="852"/>
                  </a:lnTo>
                  <a:lnTo>
                    <a:pt x="1086" y="836"/>
                  </a:lnTo>
                  <a:lnTo>
                    <a:pt x="1065" y="831"/>
                  </a:lnTo>
                  <a:lnTo>
                    <a:pt x="990" y="836"/>
                  </a:lnTo>
                  <a:lnTo>
                    <a:pt x="990" y="848"/>
                  </a:lnTo>
                  <a:lnTo>
                    <a:pt x="994" y="848"/>
                  </a:lnTo>
                  <a:lnTo>
                    <a:pt x="978" y="852"/>
                  </a:lnTo>
                  <a:lnTo>
                    <a:pt x="902" y="836"/>
                  </a:lnTo>
                  <a:lnTo>
                    <a:pt x="881" y="819"/>
                  </a:lnTo>
                  <a:lnTo>
                    <a:pt x="869" y="815"/>
                  </a:lnTo>
                  <a:lnTo>
                    <a:pt x="881" y="796"/>
                  </a:lnTo>
                  <a:lnTo>
                    <a:pt x="843" y="763"/>
                  </a:lnTo>
                  <a:lnTo>
                    <a:pt x="848" y="746"/>
                  </a:lnTo>
                  <a:lnTo>
                    <a:pt x="843" y="763"/>
                  </a:lnTo>
                  <a:lnTo>
                    <a:pt x="864" y="774"/>
                  </a:lnTo>
                  <a:lnTo>
                    <a:pt x="881" y="746"/>
                  </a:lnTo>
                  <a:lnTo>
                    <a:pt x="902" y="758"/>
                  </a:lnTo>
                  <a:lnTo>
                    <a:pt x="810" y="737"/>
                  </a:lnTo>
                  <a:lnTo>
                    <a:pt x="756" y="708"/>
                  </a:lnTo>
                  <a:lnTo>
                    <a:pt x="777" y="692"/>
                  </a:lnTo>
                  <a:lnTo>
                    <a:pt x="763" y="708"/>
                  </a:lnTo>
                  <a:lnTo>
                    <a:pt x="801" y="704"/>
                  </a:lnTo>
                  <a:lnTo>
                    <a:pt x="801" y="692"/>
                  </a:lnTo>
                  <a:lnTo>
                    <a:pt x="801" y="687"/>
                  </a:lnTo>
                  <a:lnTo>
                    <a:pt x="831" y="680"/>
                  </a:lnTo>
                  <a:lnTo>
                    <a:pt x="848" y="680"/>
                  </a:lnTo>
                  <a:lnTo>
                    <a:pt x="843" y="670"/>
                  </a:lnTo>
                  <a:lnTo>
                    <a:pt x="886" y="647"/>
                  </a:lnTo>
                  <a:lnTo>
                    <a:pt x="924" y="654"/>
                  </a:lnTo>
                  <a:lnTo>
                    <a:pt x="940" y="647"/>
                  </a:lnTo>
                  <a:lnTo>
                    <a:pt x="919" y="635"/>
                  </a:lnTo>
                  <a:lnTo>
                    <a:pt x="935" y="626"/>
                  </a:lnTo>
                  <a:lnTo>
                    <a:pt x="1027" y="597"/>
                  </a:lnTo>
                  <a:lnTo>
                    <a:pt x="1070" y="597"/>
                  </a:lnTo>
                  <a:lnTo>
                    <a:pt x="1058" y="597"/>
                  </a:lnTo>
                  <a:lnTo>
                    <a:pt x="1065" y="609"/>
                  </a:lnTo>
                  <a:lnTo>
                    <a:pt x="1058" y="626"/>
                  </a:lnTo>
                  <a:lnTo>
                    <a:pt x="1058" y="630"/>
                  </a:lnTo>
                  <a:lnTo>
                    <a:pt x="1032" y="647"/>
                  </a:lnTo>
                  <a:lnTo>
                    <a:pt x="1070" y="663"/>
                  </a:lnTo>
                  <a:lnTo>
                    <a:pt x="1188" y="663"/>
                  </a:lnTo>
                  <a:lnTo>
                    <a:pt x="1205" y="670"/>
                  </a:lnTo>
                  <a:lnTo>
                    <a:pt x="1226" y="635"/>
                  </a:lnTo>
                  <a:lnTo>
                    <a:pt x="1259" y="635"/>
                  </a:lnTo>
                  <a:lnTo>
                    <a:pt x="1247" y="654"/>
                  </a:lnTo>
                  <a:lnTo>
                    <a:pt x="1259" y="635"/>
                  </a:lnTo>
                  <a:lnTo>
                    <a:pt x="1247" y="626"/>
                  </a:lnTo>
                  <a:lnTo>
                    <a:pt x="1226" y="614"/>
                  </a:lnTo>
                  <a:lnTo>
                    <a:pt x="1193" y="626"/>
                  </a:lnTo>
                  <a:lnTo>
                    <a:pt x="1193" y="630"/>
                  </a:lnTo>
                  <a:lnTo>
                    <a:pt x="1193" y="597"/>
                  </a:lnTo>
                  <a:lnTo>
                    <a:pt x="1172" y="581"/>
                  </a:lnTo>
                  <a:lnTo>
                    <a:pt x="1155" y="576"/>
                  </a:lnTo>
                  <a:lnTo>
                    <a:pt x="1141" y="559"/>
                  </a:lnTo>
                  <a:lnTo>
                    <a:pt x="1167" y="552"/>
                  </a:lnTo>
                  <a:lnTo>
                    <a:pt x="1179" y="569"/>
                  </a:lnTo>
                  <a:lnTo>
                    <a:pt x="1188" y="593"/>
                  </a:lnTo>
                  <a:lnTo>
                    <a:pt x="1221" y="614"/>
                  </a:lnTo>
                  <a:lnTo>
                    <a:pt x="1247" y="597"/>
                  </a:lnTo>
                  <a:lnTo>
                    <a:pt x="1275" y="626"/>
                  </a:lnTo>
                  <a:lnTo>
                    <a:pt x="1313" y="626"/>
                  </a:lnTo>
                  <a:lnTo>
                    <a:pt x="1313" y="593"/>
                  </a:lnTo>
                  <a:lnTo>
                    <a:pt x="1285" y="597"/>
                  </a:lnTo>
                  <a:lnTo>
                    <a:pt x="1247" y="593"/>
                  </a:lnTo>
                  <a:lnTo>
                    <a:pt x="1242" y="597"/>
                  </a:lnTo>
                  <a:lnTo>
                    <a:pt x="1226" y="597"/>
                  </a:lnTo>
                  <a:lnTo>
                    <a:pt x="1193" y="581"/>
                  </a:lnTo>
                  <a:lnTo>
                    <a:pt x="1209" y="552"/>
                  </a:lnTo>
                  <a:lnTo>
                    <a:pt x="1226" y="552"/>
                  </a:lnTo>
                  <a:lnTo>
                    <a:pt x="1193" y="543"/>
                  </a:lnTo>
                  <a:lnTo>
                    <a:pt x="1155" y="543"/>
                  </a:lnTo>
                  <a:lnTo>
                    <a:pt x="1167" y="526"/>
                  </a:lnTo>
                  <a:lnTo>
                    <a:pt x="1150" y="543"/>
                  </a:lnTo>
                  <a:lnTo>
                    <a:pt x="1065" y="536"/>
                  </a:lnTo>
                  <a:lnTo>
                    <a:pt x="1065" y="503"/>
                  </a:lnTo>
                  <a:lnTo>
                    <a:pt x="1042" y="470"/>
                  </a:lnTo>
                  <a:lnTo>
                    <a:pt x="952" y="415"/>
                  </a:lnTo>
                  <a:lnTo>
                    <a:pt x="848" y="375"/>
                  </a:lnTo>
                  <a:lnTo>
                    <a:pt x="886" y="370"/>
                  </a:lnTo>
                  <a:lnTo>
                    <a:pt x="898" y="354"/>
                  </a:lnTo>
                  <a:lnTo>
                    <a:pt x="898" y="314"/>
                  </a:lnTo>
                  <a:lnTo>
                    <a:pt x="1027" y="304"/>
                  </a:lnTo>
                  <a:lnTo>
                    <a:pt x="1070" y="281"/>
                  </a:lnTo>
                  <a:lnTo>
                    <a:pt x="1103" y="243"/>
                  </a:lnTo>
                  <a:lnTo>
                    <a:pt x="1103" y="259"/>
                  </a:lnTo>
                  <a:lnTo>
                    <a:pt x="1112" y="248"/>
                  </a:lnTo>
                  <a:lnTo>
                    <a:pt x="1124" y="210"/>
                  </a:lnTo>
                  <a:lnTo>
                    <a:pt x="1117" y="205"/>
                  </a:lnTo>
                  <a:lnTo>
                    <a:pt x="1193" y="132"/>
                  </a:lnTo>
                  <a:lnTo>
                    <a:pt x="1205" y="137"/>
                  </a:lnTo>
                  <a:lnTo>
                    <a:pt x="1179" y="153"/>
                  </a:lnTo>
                  <a:lnTo>
                    <a:pt x="1247" y="137"/>
                  </a:lnTo>
                  <a:lnTo>
                    <a:pt x="1335" y="94"/>
                  </a:lnTo>
                  <a:lnTo>
                    <a:pt x="1335" y="111"/>
                  </a:lnTo>
                  <a:lnTo>
                    <a:pt x="1318" y="111"/>
                  </a:lnTo>
                  <a:lnTo>
                    <a:pt x="1330" y="111"/>
                  </a:lnTo>
                  <a:lnTo>
                    <a:pt x="1339" y="137"/>
                  </a:lnTo>
                  <a:lnTo>
                    <a:pt x="1335" y="127"/>
                  </a:lnTo>
                  <a:lnTo>
                    <a:pt x="1339" y="111"/>
                  </a:lnTo>
                  <a:lnTo>
                    <a:pt x="1382" y="99"/>
                  </a:lnTo>
                  <a:lnTo>
                    <a:pt x="1351" y="111"/>
                  </a:lnTo>
                  <a:lnTo>
                    <a:pt x="1335" y="94"/>
                  </a:lnTo>
                  <a:lnTo>
                    <a:pt x="1318" y="94"/>
                  </a:lnTo>
                  <a:lnTo>
                    <a:pt x="1389" y="61"/>
                  </a:lnTo>
                  <a:lnTo>
                    <a:pt x="1372" y="61"/>
                  </a:lnTo>
                  <a:lnTo>
                    <a:pt x="1389" y="61"/>
                  </a:lnTo>
                  <a:lnTo>
                    <a:pt x="1368" y="70"/>
                  </a:lnTo>
                  <a:lnTo>
                    <a:pt x="1382" y="78"/>
                  </a:lnTo>
                  <a:lnTo>
                    <a:pt x="1405" y="70"/>
                  </a:lnTo>
                  <a:lnTo>
                    <a:pt x="1481" y="61"/>
                  </a:lnTo>
                  <a:lnTo>
                    <a:pt x="1566" y="0"/>
                  </a:lnTo>
                  <a:lnTo>
                    <a:pt x="1583" y="4"/>
                  </a:lnTo>
                  <a:lnTo>
                    <a:pt x="1637" y="21"/>
                  </a:lnTo>
                  <a:lnTo>
                    <a:pt x="1642" y="26"/>
                  </a:lnTo>
                  <a:lnTo>
                    <a:pt x="1625" y="42"/>
                  </a:lnTo>
                  <a:lnTo>
                    <a:pt x="1599" y="54"/>
                  </a:lnTo>
                  <a:lnTo>
                    <a:pt x="1611" y="54"/>
                  </a:lnTo>
                  <a:lnTo>
                    <a:pt x="1611" y="78"/>
                  </a:lnTo>
                  <a:lnTo>
                    <a:pt x="1637" y="61"/>
                  </a:lnTo>
                  <a:lnTo>
                    <a:pt x="1653" y="42"/>
                  </a:lnTo>
                  <a:lnTo>
                    <a:pt x="1670" y="42"/>
                  </a:lnTo>
                  <a:lnTo>
                    <a:pt x="1658" y="26"/>
                  </a:lnTo>
                  <a:lnTo>
                    <a:pt x="1675" y="21"/>
                  </a:lnTo>
                  <a:lnTo>
                    <a:pt x="1675" y="37"/>
                  </a:lnTo>
                  <a:lnTo>
                    <a:pt x="1679" y="26"/>
                  </a:lnTo>
                  <a:lnTo>
                    <a:pt x="1696" y="26"/>
                  </a:lnTo>
                  <a:lnTo>
                    <a:pt x="1712" y="42"/>
                  </a:lnTo>
                  <a:lnTo>
                    <a:pt x="1708" y="54"/>
                  </a:lnTo>
                  <a:lnTo>
                    <a:pt x="1708" y="61"/>
                  </a:lnTo>
                  <a:lnTo>
                    <a:pt x="1734" y="70"/>
                  </a:lnTo>
                  <a:lnTo>
                    <a:pt x="1762" y="54"/>
                  </a:lnTo>
                  <a:lnTo>
                    <a:pt x="1805" y="54"/>
                  </a:lnTo>
                  <a:lnTo>
                    <a:pt x="1875" y="61"/>
                  </a:lnTo>
                  <a:lnTo>
                    <a:pt x="1859" y="82"/>
                  </a:lnTo>
                  <a:lnTo>
                    <a:pt x="1885" y="99"/>
                  </a:lnTo>
                  <a:lnTo>
                    <a:pt x="1842" y="99"/>
                  </a:lnTo>
                  <a:lnTo>
                    <a:pt x="1913" y="99"/>
                  </a:lnTo>
                  <a:lnTo>
                    <a:pt x="1890" y="115"/>
                  </a:lnTo>
                  <a:lnTo>
                    <a:pt x="1944" y="127"/>
                  </a:lnTo>
                  <a:lnTo>
                    <a:pt x="1951" y="115"/>
                  </a:lnTo>
                  <a:lnTo>
                    <a:pt x="1977" y="111"/>
                  </a:lnTo>
                  <a:lnTo>
                    <a:pt x="2003" y="111"/>
                  </a:lnTo>
                  <a:lnTo>
                    <a:pt x="2003" y="115"/>
                  </a:lnTo>
                  <a:lnTo>
                    <a:pt x="2036" y="111"/>
                  </a:lnTo>
                  <a:lnTo>
                    <a:pt x="2090" y="111"/>
                  </a:lnTo>
                  <a:lnTo>
                    <a:pt x="2140" y="132"/>
                  </a:lnTo>
                  <a:lnTo>
                    <a:pt x="2161" y="127"/>
                  </a:lnTo>
                  <a:lnTo>
                    <a:pt x="2192" y="148"/>
                  </a:lnTo>
                  <a:lnTo>
                    <a:pt x="2322" y="153"/>
                  </a:lnTo>
                  <a:lnTo>
                    <a:pt x="2381" y="181"/>
                  </a:lnTo>
                  <a:lnTo>
                    <a:pt x="2501" y="153"/>
                  </a:lnTo>
                  <a:lnTo>
                    <a:pt x="2544" y="170"/>
                  </a:lnTo>
                  <a:lnTo>
                    <a:pt x="2641" y="222"/>
                  </a:lnTo>
                  <a:lnTo>
                    <a:pt x="2662" y="222"/>
                  </a:lnTo>
                  <a:lnTo>
                    <a:pt x="2662" y="222"/>
                  </a:lnTo>
                  <a:lnTo>
                    <a:pt x="2662" y="222"/>
                  </a:lnTo>
                  <a:close/>
                  <a:moveTo>
                    <a:pt x="709" y="996"/>
                  </a:moveTo>
                  <a:lnTo>
                    <a:pt x="680" y="996"/>
                  </a:lnTo>
                  <a:lnTo>
                    <a:pt x="654" y="1018"/>
                  </a:lnTo>
                  <a:lnTo>
                    <a:pt x="649" y="1018"/>
                  </a:lnTo>
                  <a:lnTo>
                    <a:pt x="638" y="1001"/>
                  </a:lnTo>
                  <a:lnTo>
                    <a:pt x="612" y="996"/>
                  </a:lnTo>
                  <a:lnTo>
                    <a:pt x="612" y="980"/>
                  </a:lnTo>
                  <a:lnTo>
                    <a:pt x="595" y="968"/>
                  </a:lnTo>
                  <a:lnTo>
                    <a:pt x="557" y="963"/>
                  </a:lnTo>
                  <a:lnTo>
                    <a:pt x="612" y="985"/>
                  </a:lnTo>
                  <a:lnTo>
                    <a:pt x="562" y="963"/>
                  </a:lnTo>
                  <a:lnTo>
                    <a:pt x="520" y="980"/>
                  </a:lnTo>
                  <a:lnTo>
                    <a:pt x="503" y="968"/>
                  </a:lnTo>
                  <a:lnTo>
                    <a:pt x="503" y="959"/>
                  </a:lnTo>
                  <a:lnTo>
                    <a:pt x="508" y="923"/>
                  </a:lnTo>
                  <a:lnTo>
                    <a:pt x="524" y="947"/>
                  </a:lnTo>
                  <a:lnTo>
                    <a:pt x="562" y="947"/>
                  </a:lnTo>
                  <a:lnTo>
                    <a:pt x="612" y="930"/>
                  </a:lnTo>
                  <a:lnTo>
                    <a:pt x="664" y="968"/>
                  </a:lnTo>
                  <a:lnTo>
                    <a:pt x="718" y="980"/>
                  </a:lnTo>
                  <a:lnTo>
                    <a:pt x="709" y="996"/>
                  </a:lnTo>
                  <a:lnTo>
                    <a:pt x="709" y="996"/>
                  </a:lnTo>
                  <a:lnTo>
                    <a:pt x="709" y="996"/>
                  </a:lnTo>
                  <a:close/>
                  <a:moveTo>
                    <a:pt x="1167" y="947"/>
                  </a:moveTo>
                  <a:lnTo>
                    <a:pt x="1141" y="947"/>
                  </a:lnTo>
                  <a:lnTo>
                    <a:pt x="1150" y="940"/>
                  </a:lnTo>
                  <a:lnTo>
                    <a:pt x="1167" y="947"/>
                  </a:lnTo>
                  <a:lnTo>
                    <a:pt x="1167" y="947"/>
                  </a:lnTo>
                  <a:lnTo>
                    <a:pt x="1167" y="947"/>
                  </a:lnTo>
                  <a:close/>
                  <a:moveTo>
                    <a:pt x="2166" y="1244"/>
                  </a:moveTo>
                  <a:lnTo>
                    <a:pt x="2178" y="1256"/>
                  </a:lnTo>
                  <a:lnTo>
                    <a:pt x="2161" y="1256"/>
                  </a:lnTo>
                  <a:lnTo>
                    <a:pt x="2166" y="1244"/>
                  </a:lnTo>
                  <a:lnTo>
                    <a:pt x="2166" y="1244"/>
                  </a:lnTo>
                  <a:lnTo>
                    <a:pt x="2166" y="1244"/>
                  </a:lnTo>
                  <a:close/>
                  <a:moveTo>
                    <a:pt x="2263" y="1244"/>
                  </a:moveTo>
                  <a:lnTo>
                    <a:pt x="2263" y="1256"/>
                  </a:lnTo>
                  <a:lnTo>
                    <a:pt x="2253" y="1256"/>
                  </a:lnTo>
                  <a:lnTo>
                    <a:pt x="2263" y="1244"/>
                  </a:lnTo>
                  <a:lnTo>
                    <a:pt x="2263" y="1244"/>
                  </a:lnTo>
                  <a:lnTo>
                    <a:pt x="2263" y="1244"/>
                  </a:lnTo>
                  <a:close/>
                  <a:moveTo>
                    <a:pt x="978" y="1244"/>
                  </a:moveTo>
                  <a:lnTo>
                    <a:pt x="990" y="1256"/>
                  </a:lnTo>
                  <a:lnTo>
                    <a:pt x="978" y="1256"/>
                  </a:lnTo>
                  <a:lnTo>
                    <a:pt x="978" y="1244"/>
                  </a:lnTo>
                  <a:lnTo>
                    <a:pt x="978" y="1244"/>
                  </a:lnTo>
                  <a:lnTo>
                    <a:pt x="978" y="1244"/>
                  </a:lnTo>
                  <a:close/>
                  <a:moveTo>
                    <a:pt x="2161" y="1263"/>
                  </a:moveTo>
                  <a:lnTo>
                    <a:pt x="2161" y="1273"/>
                  </a:lnTo>
                  <a:lnTo>
                    <a:pt x="2154" y="1263"/>
                  </a:lnTo>
                  <a:lnTo>
                    <a:pt x="2161" y="1263"/>
                  </a:lnTo>
                  <a:lnTo>
                    <a:pt x="2161" y="1263"/>
                  </a:lnTo>
                  <a:lnTo>
                    <a:pt x="2161" y="1263"/>
                  </a:lnTo>
                  <a:close/>
                  <a:moveTo>
                    <a:pt x="2183" y="1263"/>
                  </a:moveTo>
                  <a:lnTo>
                    <a:pt x="2183" y="1273"/>
                  </a:lnTo>
                  <a:lnTo>
                    <a:pt x="2178" y="1273"/>
                  </a:lnTo>
                  <a:lnTo>
                    <a:pt x="2166" y="1263"/>
                  </a:lnTo>
                  <a:lnTo>
                    <a:pt x="2183" y="1263"/>
                  </a:lnTo>
                  <a:lnTo>
                    <a:pt x="2183" y="1263"/>
                  </a:lnTo>
                  <a:lnTo>
                    <a:pt x="2183" y="1263"/>
                  </a:lnTo>
                  <a:close/>
                  <a:moveTo>
                    <a:pt x="2216" y="1273"/>
                  </a:moveTo>
                  <a:lnTo>
                    <a:pt x="2220" y="1273"/>
                  </a:lnTo>
                  <a:lnTo>
                    <a:pt x="2209" y="1280"/>
                  </a:lnTo>
                  <a:lnTo>
                    <a:pt x="2216" y="1273"/>
                  </a:lnTo>
                  <a:lnTo>
                    <a:pt x="2216" y="1273"/>
                  </a:lnTo>
                  <a:lnTo>
                    <a:pt x="2216" y="1273"/>
                  </a:lnTo>
                  <a:close/>
                  <a:moveTo>
                    <a:pt x="470" y="1313"/>
                  </a:moveTo>
                  <a:lnTo>
                    <a:pt x="449" y="1313"/>
                  </a:lnTo>
                  <a:lnTo>
                    <a:pt x="416" y="1289"/>
                  </a:lnTo>
                  <a:lnTo>
                    <a:pt x="423" y="1280"/>
                  </a:lnTo>
                  <a:lnTo>
                    <a:pt x="432" y="1296"/>
                  </a:lnTo>
                  <a:lnTo>
                    <a:pt x="470" y="1313"/>
                  </a:lnTo>
                  <a:lnTo>
                    <a:pt x="470" y="1313"/>
                  </a:lnTo>
                  <a:lnTo>
                    <a:pt x="470" y="1313"/>
                  </a:lnTo>
                  <a:close/>
                  <a:moveTo>
                    <a:pt x="1897" y="1296"/>
                  </a:moveTo>
                  <a:lnTo>
                    <a:pt x="1890" y="1301"/>
                  </a:lnTo>
                  <a:lnTo>
                    <a:pt x="1897" y="1289"/>
                  </a:lnTo>
                  <a:lnTo>
                    <a:pt x="1897" y="1296"/>
                  </a:lnTo>
                  <a:lnTo>
                    <a:pt x="1897" y="1296"/>
                  </a:lnTo>
                  <a:lnTo>
                    <a:pt x="1897" y="1296"/>
                  </a:lnTo>
                  <a:close/>
                  <a:moveTo>
                    <a:pt x="2199" y="1296"/>
                  </a:moveTo>
                  <a:lnTo>
                    <a:pt x="2192" y="1301"/>
                  </a:lnTo>
                  <a:lnTo>
                    <a:pt x="2199" y="1301"/>
                  </a:lnTo>
                  <a:lnTo>
                    <a:pt x="2192" y="1329"/>
                  </a:lnTo>
                  <a:lnTo>
                    <a:pt x="2178" y="1318"/>
                  </a:lnTo>
                  <a:lnTo>
                    <a:pt x="2192" y="1296"/>
                  </a:lnTo>
                  <a:lnTo>
                    <a:pt x="2192" y="1289"/>
                  </a:lnTo>
                  <a:lnTo>
                    <a:pt x="2199" y="1296"/>
                  </a:lnTo>
                  <a:lnTo>
                    <a:pt x="2199" y="1296"/>
                  </a:lnTo>
                  <a:lnTo>
                    <a:pt x="2199" y="1296"/>
                  </a:lnTo>
                  <a:close/>
                  <a:moveTo>
                    <a:pt x="2305" y="1301"/>
                  </a:moveTo>
                  <a:lnTo>
                    <a:pt x="2268" y="1318"/>
                  </a:lnTo>
                  <a:lnTo>
                    <a:pt x="2268" y="1313"/>
                  </a:lnTo>
                  <a:lnTo>
                    <a:pt x="2275" y="1301"/>
                  </a:lnTo>
                  <a:lnTo>
                    <a:pt x="2263" y="1301"/>
                  </a:lnTo>
                  <a:lnTo>
                    <a:pt x="2268" y="1296"/>
                  </a:lnTo>
                  <a:lnTo>
                    <a:pt x="2305" y="1301"/>
                  </a:lnTo>
                  <a:lnTo>
                    <a:pt x="2305" y="1301"/>
                  </a:lnTo>
                  <a:lnTo>
                    <a:pt x="2305" y="1301"/>
                  </a:lnTo>
                  <a:close/>
                  <a:moveTo>
                    <a:pt x="902" y="1301"/>
                  </a:moveTo>
                  <a:lnTo>
                    <a:pt x="902" y="1313"/>
                  </a:lnTo>
                  <a:lnTo>
                    <a:pt x="935" y="1313"/>
                  </a:lnTo>
                  <a:lnTo>
                    <a:pt x="935" y="1334"/>
                  </a:lnTo>
                  <a:lnTo>
                    <a:pt x="940" y="1351"/>
                  </a:lnTo>
                  <a:lnTo>
                    <a:pt x="898" y="1355"/>
                  </a:lnTo>
                  <a:lnTo>
                    <a:pt x="902" y="1367"/>
                  </a:lnTo>
                  <a:lnTo>
                    <a:pt x="898" y="1372"/>
                  </a:lnTo>
                  <a:lnTo>
                    <a:pt x="831" y="1346"/>
                  </a:lnTo>
                  <a:lnTo>
                    <a:pt x="810" y="1329"/>
                  </a:lnTo>
                  <a:lnTo>
                    <a:pt x="848" y="1318"/>
                  </a:lnTo>
                  <a:lnTo>
                    <a:pt x="869" y="1301"/>
                  </a:lnTo>
                  <a:lnTo>
                    <a:pt x="902" y="1301"/>
                  </a:lnTo>
                  <a:lnTo>
                    <a:pt x="902" y="1301"/>
                  </a:lnTo>
                  <a:lnTo>
                    <a:pt x="902" y="1301"/>
                  </a:lnTo>
                  <a:close/>
                  <a:moveTo>
                    <a:pt x="2376" y="1301"/>
                  </a:moveTo>
                  <a:lnTo>
                    <a:pt x="2376" y="1313"/>
                  </a:lnTo>
                  <a:lnTo>
                    <a:pt x="2360" y="1313"/>
                  </a:lnTo>
                  <a:lnTo>
                    <a:pt x="2376" y="1301"/>
                  </a:lnTo>
                  <a:lnTo>
                    <a:pt x="2376" y="1301"/>
                  </a:lnTo>
                  <a:lnTo>
                    <a:pt x="2376" y="1301"/>
                  </a:lnTo>
                  <a:close/>
                  <a:moveTo>
                    <a:pt x="2178" y="1301"/>
                  </a:moveTo>
                  <a:lnTo>
                    <a:pt x="2166" y="1313"/>
                  </a:lnTo>
                  <a:lnTo>
                    <a:pt x="2161" y="1313"/>
                  </a:lnTo>
                  <a:lnTo>
                    <a:pt x="2178" y="1301"/>
                  </a:lnTo>
                  <a:lnTo>
                    <a:pt x="2178" y="1301"/>
                  </a:lnTo>
                  <a:lnTo>
                    <a:pt x="2178" y="1301"/>
                  </a:lnTo>
                  <a:close/>
                  <a:moveTo>
                    <a:pt x="2246" y="1313"/>
                  </a:moveTo>
                  <a:lnTo>
                    <a:pt x="2209" y="1355"/>
                  </a:lnTo>
                  <a:lnTo>
                    <a:pt x="2178" y="1367"/>
                  </a:lnTo>
                  <a:lnTo>
                    <a:pt x="2183" y="1351"/>
                  </a:lnTo>
                  <a:lnTo>
                    <a:pt x="2216" y="1334"/>
                  </a:lnTo>
                  <a:lnTo>
                    <a:pt x="2230" y="1301"/>
                  </a:lnTo>
                  <a:lnTo>
                    <a:pt x="2246" y="1313"/>
                  </a:lnTo>
                  <a:lnTo>
                    <a:pt x="2246" y="1313"/>
                  </a:lnTo>
                  <a:lnTo>
                    <a:pt x="2246" y="1313"/>
                  </a:lnTo>
                  <a:close/>
                  <a:moveTo>
                    <a:pt x="2166" y="1329"/>
                  </a:moveTo>
                  <a:lnTo>
                    <a:pt x="2161" y="1346"/>
                  </a:lnTo>
                  <a:lnTo>
                    <a:pt x="2154" y="1346"/>
                  </a:lnTo>
                  <a:lnTo>
                    <a:pt x="2166" y="1329"/>
                  </a:lnTo>
                  <a:lnTo>
                    <a:pt x="2166" y="1329"/>
                  </a:lnTo>
                  <a:lnTo>
                    <a:pt x="2166" y="1329"/>
                  </a:lnTo>
                  <a:close/>
                  <a:moveTo>
                    <a:pt x="2183" y="1334"/>
                  </a:moveTo>
                  <a:lnTo>
                    <a:pt x="2161" y="1346"/>
                  </a:lnTo>
                  <a:lnTo>
                    <a:pt x="2178" y="1329"/>
                  </a:lnTo>
                  <a:lnTo>
                    <a:pt x="2183" y="1334"/>
                  </a:lnTo>
                  <a:lnTo>
                    <a:pt x="2183" y="1334"/>
                  </a:lnTo>
                  <a:lnTo>
                    <a:pt x="2183" y="1334"/>
                  </a:lnTo>
                  <a:close/>
                  <a:moveTo>
                    <a:pt x="1788" y="1407"/>
                  </a:moveTo>
                  <a:lnTo>
                    <a:pt x="1800" y="1412"/>
                  </a:lnTo>
                  <a:lnTo>
                    <a:pt x="1783" y="1412"/>
                  </a:lnTo>
                  <a:lnTo>
                    <a:pt x="1788" y="1407"/>
                  </a:lnTo>
                  <a:lnTo>
                    <a:pt x="1788" y="1407"/>
                  </a:lnTo>
                  <a:lnTo>
                    <a:pt x="1788" y="1407"/>
                  </a:lnTo>
                  <a:close/>
                  <a:moveTo>
                    <a:pt x="1247" y="1483"/>
                  </a:moveTo>
                  <a:lnTo>
                    <a:pt x="1280" y="1474"/>
                  </a:lnTo>
                  <a:lnTo>
                    <a:pt x="1264" y="1495"/>
                  </a:lnTo>
                  <a:lnTo>
                    <a:pt x="1259" y="1500"/>
                  </a:lnTo>
                  <a:lnTo>
                    <a:pt x="1247" y="1483"/>
                  </a:lnTo>
                  <a:lnTo>
                    <a:pt x="1247" y="1483"/>
                  </a:lnTo>
                  <a:lnTo>
                    <a:pt x="1247" y="1483"/>
                  </a:lnTo>
                  <a:close/>
                  <a:moveTo>
                    <a:pt x="1868" y="1495"/>
                  </a:moveTo>
                  <a:lnTo>
                    <a:pt x="1859" y="1511"/>
                  </a:lnTo>
                  <a:lnTo>
                    <a:pt x="1842" y="1500"/>
                  </a:lnTo>
                  <a:lnTo>
                    <a:pt x="1868" y="1495"/>
                  </a:lnTo>
                  <a:lnTo>
                    <a:pt x="1868" y="1495"/>
                  </a:lnTo>
                  <a:lnTo>
                    <a:pt x="1868" y="1495"/>
                  </a:lnTo>
                  <a:close/>
                  <a:moveTo>
                    <a:pt x="1842" y="1552"/>
                  </a:moveTo>
                  <a:lnTo>
                    <a:pt x="1831" y="1556"/>
                  </a:lnTo>
                  <a:lnTo>
                    <a:pt x="1805" y="1540"/>
                  </a:lnTo>
                  <a:lnTo>
                    <a:pt x="1831" y="1540"/>
                  </a:lnTo>
                  <a:lnTo>
                    <a:pt x="1814" y="1533"/>
                  </a:lnTo>
                  <a:lnTo>
                    <a:pt x="1838" y="1528"/>
                  </a:lnTo>
                  <a:lnTo>
                    <a:pt x="1838" y="1516"/>
                  </a:lnTo>
                  <a:lnTo>
                    <a:pt x="1842" y="1511"/>
                  </a:lnTo>
                  <a:lnTo>
                    <a:pt x="1859" y="1516"/>
                  </a:lnTo>
                  <a:lnTo>
                    <a:pt x="1868" y="1511"/>
                  </a:lnTo>
                  <a:lnTo>
                    <a:pt x="1890" y="1528"/>
                  </a:lnTo>
                  <a:lnTo>
                    <a:pt x="1885" y="1540"/>
                  </a:lnTo>
                  <a:lnTo>
                    <a:pt x="1875" y="1528"/>
                  </a:lnTo>
                  <a:lnTo>
                    <a:pt x="1868" y="1533"/>
                  </a:lnTo>
                  <a:lnTo>
                    <a:pt x="1875" y="1540"/>
                  </a:lnTo>
                  <a:lnTo>
                    <a:pt x="1852" y="1540"/>
                  </a:lnTo>
                  <a:lnTo>
                    <a:pt x="1842" y="1552"/>
                  </a:lnTo>
                  <a:lnTo>
                    <a:pt x="1842" y="1552"/>
                  </a:lnTo>
                  <a:lnTo>
                    <a:pt x="1842" y="1552"/>
                  </a:lnTo>
                  <a:close/>
                  <a:moveTo>
                    <a:pt x="3116" y="1606"/>
                  </a:moveTo>
                  <a:lnTo>
                    <a:pt x="3085" y="1516"/>
                  </a:lnTo>
                  <a:lnTo>
                    <a:pt x="3111" y="1540"/>
                  </a:lnTo>
                  <a:lnTo>
                    <a:pt x="3137" y="1540"/>
                  </a:lnTo>
                  <a:lnTo>
                    <a:pt x="3165" y="1589"/>
                  </a:lnTo>
                  <a:lnTo>
                    <a:pt x="3132" y="1552"/>
                  </a:lnTo>
                  <a:lnTo>
                    <a:pt x="3132" y="1573"/>
                  </a:lnTo>
                  <a:lnTo>
                    <a:pt x="3165" y="1611"/>
                  </a:lnTo>
                  <a:lnTo>
                    <a:pt x="3149" y="1611"/>
                  </a:lnTo>
                  <a:lnTo>
                    <a:pt x="3165" y="1622"/>
                  </a:lnTo>
                  <a:lnTo>
                    <a:pt x="3153" y="1627"/>
                  </a:lnTo>
                  <a:lnTo>
                    <a:pt x="3137" y="1622"/>
                  </a:lnTo>
                  <a:lnTo>
                    <a:pt x="3149" y="1639"/>
                  </a:lnTo>
                  <a:lnTo>
                    <a:pt x="3116" y="1660"/>
                  </a:lnTo>
                  <a:lnTo>
                    <a:pt x="3111" y="1639"/>
                  </a:lnTo>
                  <a:lnTo>
                    <a:pt x="3116" y="1622"/>
                  </a:lnTo>
                  <a:lnTo>
                    <a:pt x="3132" y="1627"/>
                  </a:lnTo>
                  <a:lnTo>
                    <a:pt x="3116" y="1611"/>
                  </a:lnTo>
                  <a:lnTo>
                    <a:pt x="3132" y="1606"/>
                  </a:lnTo>
                  <a:lnTo>
                    <a:pt x="3116" y="1606"/>
                  </a:lnTo>
                  <a:lnTo>
                    <a:pt x="3116" y="1606"/>
                  </a:lnTo>
                  <a:lnTo>
                    <a:pt x="3116" y="1606"/>
                  </a:lnTo>
                  <a:close/>
                  <a:moveTo>
                    <a:pt x="3040" y="1516"/>
                  </a:moveTo>
                  <a:lnTo>
                    <a:pt x="3047" y="1516"/>
                  </a:lnTo>
                  <a:lnTo>
                    <a:pt x="3031" y="1516"/>
                  </a:lnTo>
                  <a:lnTo>
                    <a:pt x="3040" y="1516"/>
                  </a:lnTo>
                  <a:lnTo>
                    <a:pt x="3040" y="1516"/>
                  </a:lnTo>
                  <a:lnTo>
                    <a:pt x="3040" y="1516"/>
                  </a:lnTo>
                  <a:close/>
                  <a:moveTo>
                    <a:pt x="3116" y="1516"/>
                  </a:moveTo>
                  <a:lnTo>
                    <a:pt x="3132" y="1533"/>
                  </a:lnTo>
                  <a:lnTo>
                    <a:pt x="3111" y="1528"/>
                  </a:lnTo>
                  <a:lnTo>
                    <a:pt x="3116" y="1516"/>
                  </a:lnTo>
                  <a:lnTo>
                    <a:pt x="3116" y="1516"/>
                  </a:lnTo>
                  <a:lnTo>
                    <a:pt x="3116" y="1516"/>
                  </a:lnTo>
                  <a:close/>
                  <a:moveTo>
                    <a:pt x="3078" y="1585"/>
                  </a:moveTo>
                  <a:lnTo>
                    <a:pt x="3023" y="1556"/>
                  </a:lnTo>
                  <a:lnTo>
                    <a:pt x="3061" y="1589"/>
                  </a:lnTo>
                  <a:lnTo>
                    <a:pt x="3085" y="1585"/>
                  </a:lnTo>
                  <a:lnTo>
                    <a:pt x="3094" y="1594"/>
                  </a:lnTo>
                  <a:lnTo>
                    <a:pt x="3094" y="1611"/>
                  </a:lnTo>
                  <a:lnTo>
                    <a:pt x="3078" y="1611"/>
                  </a:lnTo>
                  <a:lnTo>
                    <a:pt x="3023" y="1585"/>
                  </a:lnTo>
                  <a:lnTo>
                    <a:pt x="3047" y="1594"/>
                  </a:lnTo>
                  <a:lnTo>
                    <a:pt x="3047" y="1611"/>
                  </a:lnTo>
                  <a:lnTo>
                    <a:pt x="3031" y="1622"/>
                  </a:lnTo>
                  <a:lnTo>
                    <a:pt x="3023" y="1622"/>
                  </a:lnTo>
                  <a:lnTo>
                    <a:pt x="3019" y="1606"/>
                  </a:lnTo>
                  <a:lnTo>
                    <a:pt x="3031" y="1611"/>
                  </a:lnTo>
                  <a:lnTo>
                    <a:pt x="3009" y="1594"/>
                  </a:lnTo>
                  <a:lnTo>
                    <a:pt x="3019" y="1594"/>
                  </a:lnTo>
                  <a:lnTo>
                    <a:pt x="2986" y="1573"/>
                  </a:lnTo>
                  <a:lnTo>
                    <a:pt x="2993" y="1556"/>
                  </a:lnTo>
                  <a:lnTo>
                    <a:pt x="3009" y="1573"/>
                  </a:lnTo>
                  <a:lnTo>
                    <a:pt x="2986" y="1540"/>
                  </a:lnTo>
                  <a:lnTo>
                    <a:pt x="2986" y="1533"/>
                  </a:lnTo>
                  <a:lnTo>
                    <a:pt x="3002" y="1552"/>
                  </a:lnTo>
                  <a:lnTo>
                    <a:pt x="3002" y="1533"/>
                  </a:lnTo>
                  <a:lnTo>
                    <a:pt x="3031" y="1528"/>
                  </a:lnTo>
                  <a:lnTo>
                    <a:pt x="3047" y="1540"/>
                  </a:lnTo>
                  <a:lnTo>
                    <a:pt x="3040" y="1552"/>
                  </a:lnTo>
                  <a:lnTo>
                    <a:pt x="3031" y="1552"/>
                  </a:lnTo>
                  <a:lnTo>
                    <a:pt x="3031" y="1556"/>
                  </a:lnTo>
                  <a:lnTo>
                    <a:pt x="3040" y="1556"/>
                  </a:lnTo>
                  <a:lnTo>
                    <a:pt x="3057" y="1540"/>
                  </a:lnTo>
                  <a:lnTo>
                    <a:pt x="3085" y="1556"/>
                  </a:lnTo>
                  <a:lnTo>
                    <a:pt x="3085" y="1573"/>
                  </a:lnTo>
                  <a:lnTo>
                    <a:pt x="3073" y="1568"/>
                  </a:lnTo>
                  <a:lnTo>
                    <a:pt x="3085" y="1573"/>
                  </a:lnTo>
                  <a:lnTo>
                    <a:pt x="3078" y="1585"/>
                  </a:lnTo>
                  <a:lnTo>
                    <a:pt x="3078" y="1585"/>
                  </a:lnTo>
                  <a:lnTo>
                    <a:pt x="3078" y="1585"/>
                  </a:lnTo>
                  <a:close/>
                  <a:moveTo>
                    <a:pt x="1805" y="1540"/>
                  </a:moveTo>
                  <a:lnTo>
                    <a:pt x="1831" y="1556"/>
                  </a:lnTo>
                  <a:lnTo>
                    <a:pt x="1788" y="1552"/>
                  </a:lnTo>
                  <a:lnTo>
                    <a:pt x="1805" y="1540"/>
                  </a:lnTo>
                  <a:lnTo>
                    <a:pt x="1805" y="1540"/>
                  </a:lnTo>
                  <a:lnTo>
                    <a:pt x="1805" y="1540"/>
                  </a:lnTo>
                  <a:close/>
                  <a:moveTo>
                    <a:pt x="2976" y="1552"/>
                  </a:moveTo>
                  <a:lnTo>
                    <a:pt x="2993" y="1556"/>
                  </a:lnTo>
                  <a:lnTo>
                    <a:pt x="2986" y="1573"/>
                  </a:lnTo>
                  <a:lnTo>
                    <a:pt x="2976" y="1556"/>
                  </a:lnTo>
                  <a:lnTo>
                    <a:pt x="2976" y="1552"/>
                  </a:lnTo>
                  <a:lnTo>
                    <a:pt x="2976" y="1552"/>
                  </a:lnTo>
                  <a:lnTo>
                    <a:pt x="2976" y="1552"/>
                  </a:lnTo>
                  <a:close/>
                  <a:moveTo>
                    <a:pt x="1783" y="1594"/>
                  </a:moveTo>
                  <a:lnTo>
                    <a:pt x="1762" y="1589"/>
                  </a:lnTo>
                  <a:lnTo>
                    <a:pt x="1762" y="1573"/>
                  </a:lnTo>
                  <a:lnTo>
                    <a:pt x="1767" y="1568"/>
                  </a:lnTo>
                  <a:lnTo>
                    <a:pt x="1783" y="1573"/>
                  </a:lnTo>
                  <a:lnTo>
                    <a:pt x="1788" y="1594"/>
                  </a:lnTo>
                  <a:lnTo>
                    <a:pt x="1800" y="1589"/>
                  </a:lnTo>
                  <a:lnTo>
                    <a:pt x="1788" y="1573"/>
                  </a:lnTo>
                  <a:lnTo>
                    <a:pt x="1821" y="1573"/>
                  </a:lnTo>
                  <a:lnTo>
                    <a:pt x="1805" y="1556"/>
                  </a:lnTo>
                  <a:lnTo>
                    <a:pt x="1838" y="1568"/>
                  </a:lnTo>
                  <a:lnTo>
                    <a:pt x="1831" y="1573"/>
                  </a:lnTo>
                  <a:lnTo>
                    <a:pt x="1831" y="1589"/>
                  </a:lnTo>
                  <a:lnTo>
                    <a:pt x="1838" y="1573"/>
                  </a:lnTo>
                  <a:lnTo>
                    <a:pt x="1859" y="1568"/>
                  </a:lnTo>
                  <a:lnTo>
                    <a:pt x="1868" y="1573"/>
                  </a:lnTo>
                  <a:lnTo>
                    <a:pt x="1852" y="1589"/>
                  </a:lnTo>
                  <a:lnTo>
                    <a:pt x="1859" y="1594"/>
                  </a:lnTo>
                  <a:lnTo>
                    <a:pt x="1885" y="1594"/>
                  </a:lnTo>
                  <a:lnTo>
                    <a:pt x="1868" y="1622"/>
                  </a:lnTo>
                  <a:lnTo>
                    <a:pt x="1838" y="1606"/>
                  </a:lnTo>
                  <a:lnTo>
                    <a:pt x="1821" y="1611"/>
                  </a:lnTo>
                  <a:lnTo>
                    <a:pt x="1852" y="1622"/>
                  </a:lnTo>
                  <a:lnTo>
                    <a:pt x="1842" y="1627"/>
                  </a:lnTo>
                  <a:lnTo>
                    <a:pt x="1814" y="1627"/>
                  </a:lnTo>
                  <a:lnTo>
                    <a:pt x="1821" y="1639"/>
                  </a:lnTo>
                  <a:lnTo>
                    <a:pt x="1767" y="1651"/>
                  </a:lnTo>
                  <a:lnTo>
                    <a:pt x="1783" y="1660"/>
                  </a:lnTo>
                  <a:lnTo>
                    <a:pt x="1750" y="1684"/>
                  </a:lnTo>
                  <a:lnTo>
                    <a:pt x="1746" y="1684"/>
                  </a:lnTo>
                  <a:lnTo>
                    <a:pt x="1767" y="1660"/>
                  </a:lnTo>
                  <a:lnTo>
                    <a:pt x="1750" y="1667"/>
                  </a:lnTo>
                  <a:lnTo>
                    <a:pt x="1767" y="1644"/>
                  </a:lnTo>
                  <a:lnTo>
                    <a:pt x="1746" y="1667"/>
                  </a:lnTo>
                  <a:lnTo>
                    <a:pt x="1750" y="1651"/>
                  </a:lnTo>
                  <a:lnTo>
                    <a:pt x="1724" y="1644"/>
                  </a:lnTo>
                  <a:lnTo>
                    <a:pt x="1724" y="1651"/>
                  </a:lnTo>
                  <a:lnTo>
                    <a:pt x="1746" y="1651"/>
                  </a:lnTo>
                  <a:lnTo>
                    <a:pt x="1729" y="1677"/>
                  </a:lnTo>
                  <a:lnTo>
                    <a:pt x="1712" y="1660"/>
                  </a:lnTo>
                  <a:lnTo>
                    <a:pt x="1708" y="1639"/>
                  </a:lnTo>
                  <a:lnTo>
                    <a:pt x="1696" y="1627"/>
                  </a:lnTo>
                  <a:lnTo>
                    <a:pt x="1708" y="1606"/>
                  </a:lnTo>
                  <a:lnTo>
                    <a:pt x="1734" y="1589"/>
                  </a:lnTo>
                  <a:lnTo>
                    <a:pt x="1750" y="1594"/>
                  </a:lnTo>
                  <a:lnTo>
                    <a:pt x="1762" y="1622"/>
                  </a:lnTo>
                  <a:lnTo>
                    <a:pt x="1776" y="1639"/>
                  </a:lnTo>
                  <a:lnTo>
                    <a:pt x="1767" y="1622"/>
                  </a:lnTo>
                  <a:lnTo>
                    <a:pt x="1762" y="1594"/>
                  </a:lnTo>
                  <a:lnTo>
                    <a:pt x="1783" y="1594"/>
                  </a:lnTo>
                  <a:lnTo>
                    <a:pt x="1783" y="1594"/>
                  </a:lnTo>
                  <a:lnTo>
                    <a:pt x="1783" y="1594"/>
                  </a:lnTo>
                  <a:close/>
                  <a:moveTo>
                    <a:pt x="1868" y="1568"/>
                  </a:moveTo>
                  <a:lnTo>
                    <a:pt x="1859" y="1568"/>
                  </a:lnTo>
                  <a:lnTo>
                    <a:pt x="1868" y="1568"/>
                  </a:lnTo>
                  <a:lnTo>
                    <a:pt x="1868" y="1568"/>
                  </a:lnTo>
                  <a:lnTo>
                    <a:pt x="1868" y="1568"/>
                  </a:lnTo>
                  <a:close/>
                  <a:moveTo>
                    <a:pt x="1788" y="1556"/>
                  </a:moveTo>
                  <a:lnTo>
                    <a:pt x="1805" y="1573"/>
                  </a:lnTo>
                  <a:lnTo>
                    <a:pt x="1783" y="1568"/>
                  </a:lnTo>
                  <a:lnTo>
                    <a:pt x="1788" y="1556"/>
                  </a:lnTo>
                  <a:lnTo>
                    <a:pt x="1788" y="1556"/>
                  </a:lnTo>
                  <a:lnTo>
                    <a:pt x="1788" y="1556"/>
                  </a:lnTo>
                  <a:close/>
                  <a:moveTo>
                    <a:pt x="3111" y="1705"/>
                  </a:moveTo>
                  <a:lnTo>
                    <a:pt x="3111" y="1750"/>
                  </a:lnTo>
                  <a:lnTo>
                    <a:pt x="3078" y="1705"/>
                  </a:lnTo>
                  <a:lnTo>
                    <a:pt x="3094" y="1693"/>
                  </a:lnTo>
                  <a:lnTo>
                    <a:pt x="3078" y="1700"/>
                  </a:lnTo>
                  <a:lnTo>
                    <a:pt x="3073" y="1693"/>
                  </a:lnTo>
                  <a:lnTo>
                    <a:pt x="3078" y="1677"/>
                  </a:lnTo>
                  <a:lnTo>
                    <a:pt x="3057" y="1677"/>
                  </a:lnTo>
                  <a:lnTo>
                    <a:pt x="3057" y="1644"/>
                  </a:lnTo>
                  <a:lnTo>
                    <a:pt x="3061" y="1639"/>
                  </a:lnTo>
                  <a:lnTo>
                    <a:pt x="3047" y="1639"/>
                  </a:lnTo>
                  <a:lnTo>
                    <a:pt x="3040" y="1622"/>
                  </a:lnTo>
                  <a:lnTo>
                    <a:pt x="3047" y="1622"/>
                  </a:lnTo>
                  <a:lnTo>
                    <a:pt x="3047" y="1606"/>
                  </a:lnTo>
                  <a:lnTo>
                    <a:pt x="3057" y="1606"/>
                  </a:lnTo>
                  <a:lnTo>
                    <a:pt x="3085" y="1622"/>
                  </a:lnTo>
                  <a:lnTo>
                    <a:pt x="3099" y="1644"/>
                  </a:lnTo>
                  <a:lnTo>
                    <a:pt x="3111" y="1705"/>
                  </a:lnTo>
                  <a:lnTo>
                    <a:pt x="3111" y="1705"/>
                  </a:lnTo>
                  <a:lnTo>
                    <a:pt x="3111" y="1705"/>
                  </a:lnTo>
                  <a:close/>
                  <a:moveTo>
                    <a:pt x="3094" y="1622"/>
                  </a:moveTo>
                  <a:lnTo>
                    <a:pt x="3099" y="1627"/>
                  </a:lnTo>
                  <a:lnTo>
                    <a:pt x="3085" y="1622"/>
                  </a:lnTo>
                  <a:lnTo>
                    <a:pt x="3094" y="1622"/>
                  </a:lnTo>
                  <a:lnTo>
                    <a:pt x="3094" y="1622"/>
                  </a:lnTo>
                  <a:lnTo>
                    <a:pt x="3094" y="1622"/>
                  </a:lnTo>
                  <a:close/>
                  <a:moveTo>
                    <a:pt x="3031" y="1627"/>
                  </a:moveTo>
                  <a:lnTo>
                    <a:pt x="3047" y="1639"/>
                  </a:lnTo>
                  <a:lnTo>
                    <a:pt x="3047" y="1644"/>
                  </a:lnTo>
                  <a:lnTo>
                    <a:pt x="3040" y="1660"/>
                  </a:lnTo>
                  <a:lnTo>
                    <a:pt x="3023" y="1660"/>
                  </a:lnTo>
                  <a:lnTo>
                    <a:pt x="3031" y="1644"/>
                  </a:lnTo>
                  <a:lnTo>
                    <a:pt x="3023" y="1644"/>
                  </a:lnTo>
                  <a:lnTo>
                    <a:pt x="3023" y="1627"/>
                  </a:lnTo>
                  <a:lnTo>
                    <a:pt x="3031" y="1627"/>
                  </a:lnTo>
                  <a:lnTo>
                    <a:pt x="3031" y="1627"/>
                  </a:lnTo>
                  <a:lnTo>
                    <a:pt x="3031" y="1627"/>
                  </a:lnTo>
                  <a:close/>
                  <a:moveTo>
                    <a:pt x="612" y="1651"/>
                  </a:moveTo>
                  <a:lnTo>
                    <a:pt x="600" y="1644"/>
                  </a:lnTo>
                  <a:lnTo>
                    <a:pt x="616" y="1639"/>
                  </a:lnTo>
                  <a:lnTo>
                    <a:pt x="612" y="1651"/>
                  </a:lnTo>
                  <a:lnTo>
                    <a:pt x="612" y="1651"/>
                  </a:lnTo>
                  <a:lnTo>
                    <a:pt x="612" y="1651"/>
                  </a:lnTo>
                  <a:close/>
                  <a:moveTo>
                    <a:pt x="1831" y="1644"/>
                  </a:moveTo>
                  <a:lnTo>
                    <a:pt x="1800" y="1660"/>
                  </a:lnTo>
                  <a:lnTo>
                    <a:pt x="1788" y="1651"/>
                  </a:lnTo>
                  <a:lnTo>
                    <a:pt x="1805" y="1639"/>
                  </a:lnTo>
                  <a:lnTo>
                    <a:pt x="1831" y="1644"/>
                  </a:lnTo>
                  <a:lnTo>
                    <a:pt x="1831" y="1644"/>
                  </a:lnTo>
                  <a:lnTo>
                    <a:pt x="1831" y="1644"/>
                  </a:lnTo>
                  <a:close/>
                  <a:moveTo>
                    <a:pt x="3220" y="1660"/>
                  </a:moveTo>
                  <a:lnTo>
                    <a:pt x="3236" y="1677"/>
                  </a:lnTo>
                  <a:lnTo>
                    <a:pt x="3224" y="1700"/>
                  </a:lnTo>
                  <a:lnTo>
                    <a:pt x="3203" y="1677"/>
                  </a:lnTo>
                  <a:lnTo>
                    <a:pt x="3220" y="1705"/>
                  </a:lnTo>
                  <a:lnTo>
                    <a:pt x="3186" y="1717"/>
                  </a:lnTo>
                  <a:lnTo>
                    <a:pt x="3182" y="1717"/>
                  </a:lnTo>
                  <a:lnTo>
                    <a:pt x="3182" y="1677"/>
                  </a:lnTo>
                  <a:lnTo>
                    <a:pt x="3165" y="1667"/>
                  </a:lnTo>
                  <a:lnTo>
                    <a:pt x="3170" y="1667"/>
                  </a:lnTo>
                  <a:lnTo>
                    <a:pt x="3153" y="1660"/>
                  </a:lnTo>
                  <a:lnTo>
                    <a:pt x="3165" y="1651"/>
                  </a:lnTo>
                  <a:lnTo>
                    <a:pt x="3220" y="1660"/>
                  </a:lnTo>
                  <a:lnTo>
                    <a:pt x="3220" y="1660"/>
                  </a:lnTo>
                  <a:lnTo>
                    <a:pt x="3220" y="1660"/>
                  </a:lnTo>
                  <a:close/>
                  <a:moveTo>
                    <a:pt x="3137" y="1733"/>
                  </a:moveTo>
                  <a:lnTo>
                    <a:pt x="3132" y="1722"/>
                  </a:lnTo>
                  <a:lnTo>
                    <a:pt x="3137" y="1722"/>
                  </a:lnTo>
                  <a:lnTo>
                    <a:pt x="3149" y="1722"/>
                  </a:lnTo>
                  <a:lnTo>
                    <a:pt x="3149" y="1705"/>
                  </a:lnTo>
                  <a:lnTo>
                    <a:pt x="3132" y="1705"/>
                  </a:lnTo>
                  <a:lnTo>
                    <a:pt x="3127" y="1677"/>
                  </a:lnTo>
                  <a:lnTo>
                    <a:pt x="3149" y="1677"/>
                  </a:lnTo>
                  <a:lnTo>
                    <a:pt x="3132" y="1667"/>
                  </a:lnTo>
                  <a:lnTo>
                    <a:pt x="3153" y="1677"/>
                  </a:lnTo>
                  <a:lnTo>
                    <a:pt x="3165" y="1684"/>
                  </a:lnTo>
                  <a:lnTo>
                    <a:pt x="3153" y="1700"/>
                  </a:lnTo>
                  <a:lnTo>
                    <a:pt x="3165" y="1684"/>
                  </a:lnTo>
                  <a:lnTo>
                    <a:pt x="3170" y="1684"/>
                  </a:lnTo>
                  <a:lnTo>
                    <a:pt x="3182" y="1700"/>
                  </a:lnTo>
                  <a:lnTo>
                    <a:pt x="3165" y="1700"/>
                  </a:lnTo>
                  <a:lnTo>
                    <a:pt x="3165" y="1733"/>
                  </a:lnTo>
                  <a:lnTo>
                    <a:pt x="3153" y="1722"/>
                  </a:lnTo>
                  <a:lnTo>
                    <a:pt x="3153" y="1738"/>
                  </a:lnTo>
                  <a:lnTo>
                    <a:pt x="3165" y="1738"/>
                  </a:lnTo>
                  <a:lnTo>
                    <a:pt x="3153" y="1755"/>
                  </a:lnTo>
                  <a:lnTo>
                    <a:pt x="3149" y="1755"/>
                  </a:lnTo>
                  <a:lnTo>
                    <a:pt x="3149" y="1733"/>
                  </a:lnTo>
                  <a:lnTo>
                    <a:pt x="3149" y="1762"/>
                  </a:lnTo>
                  <a:lnTo>
                    <a:pt x="3137" y="1762"/>
                  </a:lnTo>
                  <a:lnTo>
                    <a:pt x="3137" y="1733"/>
                  </a:lnTo>
                  <a:lnTo>
                    <a:pt x="3137" y="1733"/>
                  </a:lnTo>
                  <a:lnTo>
                    <a:pt x="3137" y="1733"/>
                  </a:lnTo>
                  <a:close/>
                  <a:moveTo>
                    <a:pt x="3241" y="1684"/>
                  </a:moveTo>
                  <a:lnTo>
                    <a:pt x="3257" y="1705"/>
                  </a:lnTo>
                  <a:lnTo>
                    <a:pt x="3224" y="1705"/>
                  </a:lnTo>
                  <a:lnTo>
                    <a:pt x="3236" y="1684"/>
                  </a:lnTo>
                  <a:lnTo>
                    <a:pt x="3241" y="1684"/>
                  </a:lnTo>
                  <a:lnTo>
                    <a:pt x="3241" y="1684"/>
                  </a:lnTo>
                  <a:lnTo>
                    <a:pt x="3241" y="1684"/>
                  </a:lnTo>
                  <a:close/>
                  <a:moveTo>
                    <a:pt x="654" y="1705"/>
                  </a:moveTo>
                  <a:lnTo>
                    <a:pt x="638" y="1700"/>
                  </a:lnTo>
                  <a:lnTo>
                    <a:pt x="664" y="1700"/>
                  </a:lnTo>
                  <a:lnTo>
                    <a:pt x="654" y="1705"/>
                  </a:lnTo>
                  <a:lnTo>
                    <a:pt x="654" y="1705"/>
                  </a:lnTo>
                  <a:lnTo>
                    <a:pt x="654" y="1705"/>
                  </a:lnTo>
                  <a:close/>
                  <a:moveTo>
                    <a:pt x="1746" y="1700"/>
                  </a:moveTo>
                  <a:lnTo>
                    <a:pt x="1734" y="1717"/>
                  </a:lnTo>
                  <a:lnTo>
                    <a:pt x="1729" y="1705"/>
                  </a:lnTo>
                  <a:lnTo>
                    <a:pt x="1746" y="1700"/>
                  </a:lnTo>
                  <a:lnTo>
                    <a:pt x="1746" y="1700"/>
                  </a:lnTo>
                  <a:lnTo>
                    <a:pt x="1746" y="1700"/>
                  </a:lnTo>
                  <a:close/>
                  <a:moveTo>
                    <a:pt x="1724" y="1700"/>
                  </a:moveTo>
                  <a:lnTo>
                    <a:pt x="1696" y="1722"/>
                  </a:lnTo>
                  <a:lnTo>
                    <a:pt x="1696" y="1705"/>
                  </a:lnTo>
                  <a:lnTo>
                    <a:pt x="1724" y="1700"/>
                  </a:lnTo>
                  <a:lnTo>
                    <a:pt x="1724" y="1700"/>
                  </a:lnTo>
                  <a:lnTo>
                    <a:pt x="1724" y="1700"/>
                  </a:lnTo>
                  <a:close/>
                  <a:moveTo>
                    <a:pt x="1528" y="1700"/>
                  </a:moveTo>
                  <a:lnTo>
                    <a:pt x="1545" y="1705"/>
                  </a:lnTo>
                  <a:lnTo>
                    <a:pt x="1519" y="1705"/>
                  </a:lnTo>
                  <a:lnTo>
                    <a:pt x="1528" y="1700"/>
                  </a:lnTo>
                  <a:lnTo>
                    <a:pt x="1528" y="1700"/>
                  </a:lnTo>
                  <a:lnTo>
                    <a:pt x="1528" y="1700"/>
                  </a:lnTo>
                  <a:close/>
                  <a:moveTo>
                    <a:pt x="3288" y="1755"/>
                  </a:moveTo>
                  <a:lnTo>
                    <a:pt x="3274" y="1733"/>
                  </a:lnTo>
                  <a:lnTo>
                    <a:pt x="3274" y="1717"/>
                  </a:lnTo>
                  <a:lnTo>
                    <a:pt x="3295" y="1733"/>
                  </a:lnTo>
                  <a:lnTo>
                    <a:pt x="3295" y="1738"/>
                  </a:lnTo>
                  <a:lnTo>
                    <a:pt x="3288" y="1755"/>
                  </a:lnTo>
                  <a:lnTo>
                    <a:pt x="3288" y="1755"/>
                  </a:lnTo>
                  <a:lnTo>
                    <a:pt x="3288" y="1755"/>
                  </a:lnTo>
                  <a:close/>
                  <a:moveTo>
                    <a:pt x="3236" y="1738"/>
                  </a:moveTo>
                  <a:lnTo>
                    <a:pt x="3220" y="1733"/>
                  </a:lnTo>
                  <a:lnTo>
                    <a:pt x="3236" y="1717"/>
                  </a:lnTo>
                  <a:lnTo>
                    <a:pt x="3246" y="1717"/>
                  </a:lnTo>
                  <a:lnTo>
                    <a:pt x="3246" y="1733"/>
                  </a:lnTo>
                  <a:lnTo>
                    <a:pt x="3236" y="1738"/>
                  </a:lnTo>
                  <a:lnTo>
                    <a:pt x="3236" y="1738"/>
                  </a:lnTo>
                  <a:lnTo>
                    <a:pt x="3236" y="1738"/>
                  </a:lnTo>
                  <a:close/>
                  <a:moveTo>
                    <a:pt x="3262" y="1717"/>
                  </a:moveTo>
                  <a:lnTo>
                    <a:pt x="3262" y="1722"/>
                  </a:lnTo>
                  <a:lnTo>
                    <a:pt x="3257" y="1722"/>
                  </a:lnTo>
                  <a:lnTo>
                    <a:pt x="3262" y="1717"/>
                  </a:lnTo>
                  <a:lnTo>
                    <a:pt x="3262" y="1717"/>
                  </a:lnTo>
                  <a:lnTo>
                    <a:pt x="3262" y="1717"/>
                  </a:lnTo>
                  <a:close/>
                  <a:moveTo>
                    <a:pt x="3274" y="1771"/>
                  </a:moveTo>
                  <a:lnTo>
                    <a:pt x="3262" y="1755"/>
                  </a:lnTo>
                  <a:lnTo>
                    <a:pt x="3246" y="1755"/>
                  </a:lnTo>
                  <a:lnTo>
                    <a:pt x="3246" y="1738"/>
                  </a:lnTo>
                  <a:lnTo>
                    <a:pt x="3262" y="1722"/>
                  </a:lnTo>
                  <a:lnTo>
                    <a:pt x="3262" y="1738"/>
                  </a:lnTo>
                  <a:lnTo>
                    <a:pt x="3288" y="1755"/>
                  </a:lnTo>
                  <a:lnTo>
                    <a:pt x="3288" y="1771"/>
                  </a:lnTo>
                  <a:lnTo>
                    <a:pt x="3274" y="1771"/>
                  </a:lnTo>
                  <a:lnTo>
                    <a:pt x="3274" y="1771"/>
                  </a:lnTo>
                  <a:lnTo>
                    <a:pt x="3274" y="1771"/>
                  </a:lnTo>
                  <a:close/>
                  <a:moveTo>
                    <a:pt x="3288" y="1816"/>
                  </a:moveTo>
                  <a:lnTo>
                    <a:pt x="3257" y="1804"/>
                  </a:lnTo>
                  <a:lnTo>
                    <a:pt x="3257" y="1811"/>
                  </a:lnTo>
                  <a:lnTo>
                    <a:pt x="3279" y="1816"/>
                  </a:lnTo>
                  <a:lnTo>
                    <a:pt x="3288" y="1833"/>
                  </a:lnTo>
                  <a:lnTo>
                    <a:pt x="3279" y="1844"/>
                  </a:lnTo>
                  <a:lnTo>
                    <a:pt x="3295" y="1833"/>
                  </a:lnTo>
                  <a:lnTo>
                    <a:pt x="3295" y="1849"/>
                  </a:lnTo>
                  <a:lnTo>
                    <a:pt x="3279" y="1866"/>
                  </a:lnTo>
                  <a:lnTo>
                    <a:pt x="3295" y="1861"/>
                  </a:lnTo>
                  <a:lnTo>
                    <a:pt x="3295" y="1899"/>
                  </a:lnTo>
                  <a:lnTo>
                    <a:pt x="3274" y="1889"/>
                  </a:lnTo>
                  <a:lnTo>
                    <a:pt x="3279" y="1882"/>
                  </a:lnTo>
                  <a:lnTo>
                    <a:pt x="3262" y="1866"/>
                  </a:lnTo>
                  <a:lnTo>
                    <a:pt x="3257" y="1866"/>
                  </a:lnTo>
                  <a:lnTo>
                    <a:pt x="3257" y="1849"/>
                  </a:lnTo>
                  <a:lnTo>
                    <a:pt x="3246" y="1833"/>
                  </a:lnTo>
                  <a:lnTo>
                    <a:pt x="3246" y="1849"/>
                  </a:lnTo>
                  <a:lnTo>
                    <a:pt x="3241" y="1844"/>
                  </a:lnTo>
                  <a:lnTo>
                    <a:pt x="3224" y="1844"/>
                  </a:lnTo>
                  <a:lnTo>
                    <a:pt x="3236" y="1833"/>
                  </a:lnTo>
                  <a:lnTo>
                    <a:pt x="3208" y="1833"/>
                  </a:lnTo>
                  <a:lnTo>
                    <a:pt x="3208" y="1828"/>
                  </a:lnTo>
                  <a:lnTo>
                    <a:pt x="3236" y="1828"/>
                  </a:lnTo>
                  <a:lnTo>
                    <a:pt x="3220" y="1811"/>
                  </a:lnTo>
                  <a:lnTo>
                    <a:pt x="3236" y="1804"/>
                  </a:lnTo>
                  <a:lnTo>
                    <a:pt x="3203" y="1804"/>
                  </a:lnTo>
                  <a:lnTo>
                    <a:pt x="3203" y="1788"/>
                  </a:lnTo>
                  <a:lnTo>
                    <a:pt x="3208" y="1788"/>
                  </a:lnTo>
                  <a:lnTo>
                    <a:pt x="3220" y="1771"/>
                  </a:lnTo>
                  <a:lnTo>
                    <a:pt x="3208" y="1771"/>
                  </a:lnTo>
                  <a:lnTo>
                    <a:pt x="3208" y="1750"/>
                  </a:lnTo>
                  <a:lnTo>
                    <a:pt x="3182" y="1738"/>
                  </a:lnTo>
                  <a:lnTo>
                    <a:pt x="3182" y="1733"/>
                  </a:lnTo>
                  <a:lnTo>
                    <a:pt x="3208" y="1733"/>
                  </a:lnTo>
                  <a:lnTo>
                    <a:pt x="3224" y="1750"/>
                  </a:lnTo>
                  <a:lnTo>
                    <a:pt x="3220" y="1750"/>
                  </a:lnTo>
                  <a:lnTo>
                    <a:pt x="3220" y="1755"/>
                  </a:lnTo>
                  <a:lnTo>
                    <a:pt x="3246" y="1771"/>
                  </a:lnTo>
                  <a:lnTo>
                    <a:pt x="3288" y="1816"/>
                  </a:lnTo>
                  <a:lnTo>
                    <a:pt x="3288" y="1816"/>
                  </a:lnTo>
                  <a:lnTo>
                    <a:pt x="3288" y="1816"/>
                  </a:lnTo>
                  <a:close/>
                  <a:moveTo>
                    <a:pt x="3203" y="1750"/>
                  </a:moveTo>
                  <a:lnTo>
                    <a:pt x="3203" y="1762"/>
                  </a:lnTo>
                  <a:lnTo>
                    <a:pt x="3170" y="1771"/>
                  </a:lnTo>
                  <a:lnTo>
                    <a:pt x="3186" y="1750"/>
                  </a:lnTo>
                  <a:lnTo>
                    <a:pt x="3203" y="1750"/>
                  </a:lnTo>
                  <a:lnTo>
                    <a:pt x="3203" y="1750"/>
                  </a:lnTo>
                  <a:lnTo>
                    <a:pt x="3203" y="1750"/>
                  </a:lnTo>
                  <a:close/>
                  <a:moveTo>
                    <a:pt x="3342" y="1833"/>
                  </a:moveTo>
                  <a:lnTo>
                    <a:pt x="3333" y="1833"/>
                  </a:lnTo>
                  <a:lnTo>
                    <a:pt x="3349" y="1816"/>
                  </a:lnTo>
                  <a:lnTo>
                    <a:pt x="3342" y="1804"/>
                  </a:lnTo>
                  <a:lnTo>
                    <a:pt x="3342" y="1816"/>
                  </a:lnTo>
                  <a:lnTo>
                    <a:pt x="3333" y="1833"/>
                  </a:lnTo>
                  <a:lnTo>
                    <a:pt x="3333" y="1811"/>
                  </a:lnTo>
                  <a:lnTo>
                    <a:pt x="3326" y="1833"/>
                  </a:lnTo>
                  <a:lnTo>
                    <a:pt x="3312" y="1816"/>
                  </a:lnTo>
                  <a:lnTo>
                    <a:pt x="3316" y="1811"/>
                  </a:lnTo>
                  <a:lnTo>
                    <a:pt x="3316" y="1788"/>
                  </a:lnTo>
                  <a:lnTo>
                    <a:pt x="3316" y="1778"/>
                  </a:lnTo>
                  <a:lnTo>
                    <a:pt x="3349" y="1762"/>
                  </a:lnTo>
                  <a:lnTo>
                    <a:pt x="3371" y="1804"/>
                  </a:lnTo>
                  <a:lnTo>
                    <a:pt x="3364" y="1828"/>
                  </a:lnTo>
                  <a:lnTo>
                    <a:pt x="3354" y="1844"/>
                  </a:lnTo>
                  <a:lnTo>
                    <a:pt x="3349" y="1844"/>
                  </a:lnTo>
                  <a:lnTo>
                    <a:pt x="3349" y="1828"/>
                  </a:lnTo>
                  <a:lnTo>
                    <a:pt x="3342" y="1833"/>
                  </a:lnTo>
                  <a:lnTo>
                    <a:pt x="3342" y="1833"/>
                  </a:lnTo>
                  <a:lnTo>
                    <a:pt x="3342" y="1833"/>
                  </a:lnTo>
                  <a:close/>
                  <a:moveTo>
                    <a:pt x="3165" y="1771"/>
                  </a:moveTo>
                  <a:lnTo>
                    <a:pt x="3165" y="1778"/>
                  </a:lnTo>
                  <a:lnTo>
                    <a:pt x="3153" y="1778"/>
                  </a:lnTo>
                  <a:lnTo>
                    <a:pt x="3165" y="1771"/>
                  </a:lnTo>
                  <a:lnTo>
                    <a:pt x="3165" y="1771"/>
                  </a:lnTo>
                  <a:lnTo>
                    <a:pt x="3165" y="1771"/>
                  </a:lnTo>
                  <a:close/>
                  <a:moveTo>
                    <a:pt x="3149" y="1771"/>
                  </a:moveTo>
                  <a:lnTo>
                    <a:pt x="3132" y="1778"/>
                  </a:lnTo>
                  <a:lnTo>
                    <a:pt x="3132" y="1771"/>
                  </a:lnTo>
                  <a:lnTo>
                    <a:pt x="3149" y="1771"/>
                  </a:lnTo>
                  <a:lnTo>
                    <a:pt x="3149" y="1771"/>
                  </a:lnTo>
                  <a:lnTo>
                    <a:pt x="3149" y="1771"/>
                  </a:lnTo>
                  <a:close/>
                  <a:moveTo>
                    <a:pt x="1642" y="1771"/>
                  </a:moveTo>
                  <a:lnTo>
                    <a:pt x="1642" y="1788"/>
                  </a:lnTo>
                  <a:lnTo>
                    <a:pt x="1625" y="1788"/>
                  </a:lnTo>
                  <a:lnTo>
                    <a:pt x="1642" y="1771"/>
                  </a:lnTo>
                  <a:lnTo>
                    <a:pt x="1642" y="1771"/>
                  </a:lnTo>
                  <a:lnTo>
                    <a:pt x="1642" y="1771"/>
                  </a:lnTo>
                  <a:close/>
                  <a:moveTo>
                    <a:pt x="3208" y="1778"/>
                  </a:moveTo>
                  <a:lnTo>
                    <a:pt x="3208" y="1788"/>
                  </a:lnTo>
                  <a:lnTo>
                    <a:pt x="3203" y="1778"/>
                  </a:lnTo>
                  <a:lnTo>
                    <a:pt x="3208" y="1778"/>
                  </a:lnTo>
                  <a:lnTo>
                    <a:pt x="3208" y="1778"/>
                  </a:lnTo>
                  <a:lnTo>
                    <a:pt x="3208" y="1778"/>
                  </a:lnTo>
                  <a:close/>
                  <a:moveTo>
                    <a:pt x="1410" y="1771"/>
                  </a:moveTo>
                  <a:lnTo>
                    <a:pt x="1420" y="1778"/>
                  </a:lnTo>
                  <a:lnTo>
                    <a:pt x="1405" y="1778"/>
                  </a:lnTo>
                  <a:lnTo>
                    <a:pt x="1410" y="1771"/>
                  </a:lnTo>
                  <a:lnTo>
                    <a:pt x="1410" y="1771"/>
                  </a:lnTo>
                  <a:lnTo>
                    <a:pt x="1410" y="1771"/>
                  </a:lnTo>
                  <a:close/>
                  <a:moveTo>
                    <a:pt x="3203" y="1788"/>
                  </a:moveTo>
                  <a:lnTo>
                    <a:pt x="3186" y="1795"/>
                  </a:lnTo>
                  <a:lnTo>
                    <a:pt x="3182" y="1788"/>
                  </a:lnTo>
                  <a:lnTo>
                    <a:pt x="3203" y="1788"/>
                  </a:lnTo>
                  <a:lnTo>
                    <a:pt x="3203" y="1788"/>
                  </a:lnTo>
                  <a:lnTo>
                    <a:pt x="3203" y="1788"/>
                  </a:lnTo>
                  <a:close/>
                  <a:moveTo>
                    <a:pt x="3203" y="1811"/>
                  </a:moveTo>
                  <a:lnTo>
                    <a:pt x="3203" y="1816"/>
                  </a:lnTo>
                  <a:lnTo>
                    <a:pt x="3191" y="1811"/>
                  </a:lnTo>
                  <a:lnTo>
                    <a:pt x="3203" y="1811"/>
                  </a:lnTo>
                  <a:lnTo>
                    <a:pt x="3203" y="1811"/>
                  </a:lnTo>
                  <a:lnTo>
                    <a:pt x="3203" y="1811"/>
                  </a:lnTo>
                  <a:close/>
                  <a:moveTo>
                    <a:pt x="3182" y="1816"/>
                  </a:moveTo>
                  <a:lnTo>
                    <a:pt x="3170" y="1816"/>
                  </a:lnTo>
                  <a:lnTo>
                    <a:pt x="3170" y="1811"/>
                  </a:lnTo>
                  <a:lnTo>
                    <a:pt x="3186" y="1811"/>
                  </a:lnTo>
                  <a:lnTo>
                    <a:pt x="3182" y="1816"/>
                  </a:lnTo>
                  <a:lnTo>
                    <a:pt x="3182" y="1816"/>
                  </a:lnTo>
                  <a:lnTo>
                    <a:pt x="3182" y="1816"/>
                  </a:lnTo>
                  <a:close/>
                  <a:moveTo>
                    <a:pt x="3191" y="1811"/>
                  </a:moveTo>
                  <a:lnTo>
                    <a:pt x="3191" y="1816"/>
                  </a:lnTo>
                  <a:lnTo>
                    <a:pt x="3182" y="1816"/>
                  </a:lnTo>
                  <a:lnTo>
                    <a:pt x="3191" y="1811"/>
                  </a:lnTo>
                  <a:lnTo>
                    <a:pt x="3191" y="1811"/>
                  </a:lnTo>
                  <a:lnTo>
                    <a:pt x="3191" y="1811"/>
                  </a:lnTo>
                  <a:close/>
                  <a:moveTo>
                    <a:pt x="3312" y="1816"/>
                  </a:moveTo>
                  <a:lnTo>
                    <a:pt x="3316" y="1833"/>
                  </a:lnTo>
                  <a:lnTo>
                    <a:pt x="3312" y="1849"/>
                  </a:lnTo>
                  <a:lnTo>
                    <a:pt x="3312" y="1844"/>
                  </a:lnTo>
                  <a:lnTo>
                    <a:pt x="3312" y="1816"/>
                  </a:lnTo>
                  <a:lnTo>
                    <a:pt x="3312" y="1816"/>
                  </a:lnTo>
                  <a:lnTo>
                    <a:pt x="3312" y="1816"/>
                  </a:lnTo>
                  <a:close/>
                  <a:moveTo>
                    <a:pt x="3191" y="1828"/>
                  </a:moveTo>
                  <a:lnTo>
                    <a:pt x="3182" y="1844"/>
                  </a:lnTo>
                  <a:lnTo>
                    <a:pt x="3182" y="1833"/>
                  </a:lnTo>
                  <a:lnTo>
                    <a:pt x="3186" y="1816"/>
                  </a:lnTo>
                  <a:lnTo>
                    <a:pt x="3191" y="1828"/>
                  </a:lnTo>
                  <a:lnTo>
                    <a:pt x="3191" y="1828"/>
                  </a:lnTo>
                  <a:lnTo>
                    <a:pt x="3191" y="1828"/>
                  </a:lnTo>
                  <a:close/>
                  <a:moveTo>
                    <a:pt x="1280" y="1828"/>
                  </a:moveTo>
                  <a:lnTo>
                    <a:pt x="1285" y="1828"/>
                  </a:lnTo>
                  <a:lnTo>
                    <a:pt x="1285" y="1844"/>
                  </a:lnTo>
                  <a:lnTo>
                    <a:pt x="1297" y="1844"/>
                  </a:lnTo>
                  <a:lnTo>
                    <a:pt x="1275" y="1849"/>
                  </a:lnTo>
                  <a:lnTo>
                    <a:pt x="1275" y="1833"/>
                  </a:lnTo>
                  <a:lnTo>
                    <a:pt x="1280" y="1828"/>
                  </a:lnTo>
                  <a:lnTo>
                    <a:pt x="1280" y="1828"/>
                  </a:lnTo>
                  <a:lnTo>
                    <a:pt x="1280" y="1828"/>
                  </a:lnTo>
                  <a:close/>
                  <a:moveTo>
                    <a:pt x="1301" y="1828"/>
                  </a:moveTo>
                  <a:lnTo>
                    <a:pt x="1301" y="1844"/>
                  </a:lnTo>
                  <a:lnTo>
                    <a:pt x="1297" y="1833"/>
                  </a:lnTo>
                  <a:lnTo>
                    <a:pt x="1301" y="1828"/>
                  </a:lnTo>
                  <a:lnTo>
                    <a:pt x="1301" y="1828"/>
                  </a:lnTo>
                  <a:lnTo>
                    <a:pt x="1301" y="1828"/>
                  </a:lnTo>
                  <a:close/>
                  <a:moveTo>
                    <a:pt x="3203" y="1833"/>
                  </a:moveTo>
                  <a:lnTo>
                    <a:pt x="3208" y="1844"/>
                  </a:lnTo>
                  <a:lnTo>
                    <a:pt x="3191" y="1844"/>
                  </a:lnTo>
                  <a:lnTo>
                    <a:pt x="3191" y="1833"/>
                  </a:lnTo>
                  <a:lnTo>
                    <a:pt x="3203" y="1833"/>
                  </a:lnTo>
                  <a:lnTo>
                    <a:pt x="3203" y="1833"/>
                  </a:lnTo>
                  <a:lnTo>
                    <a:pt x="3203" y="1833"/>
                  </a:lnTo>
                  <a:close/>
                  <a:moveTo>
                    <a:pt x="1339" y="1833"/>
                  </a:moveTo>
                  <a:lnTo>
                    <a:pt x="1339" y="1849"/>
                  </a:lnTo>
                  <a:lnTo>
                    <a:pt x="1313" y="1873"/>
                  </a:lnTo>
                  <a:lnTo>
                    <a:pt x="1318" y="1861"/>
                  </a:lnTo>
                  <a:lnTo>
                    <a:pt x="1318" y="1849"/>
                  </a:lnTo>
                  <a:lnTo>
                    <a:pt x="1330" y="1849"/>
                  </a:lnTo>
                  <a:lnTo>
                    <a:pt x="1339" y="1833"/>
                  </a:lnTo>
                  <a:lnTo>
                    <a:pt x="1339" y="1833"/>
                  </a:lnTo>
                  <a:lnTo>
                    <a:pt x="1339" y="1833"/>
                  </a:lnTo>
                  <a:close/>
                  <a:moveTo>
                    <a:pt x="3333" y="1844"/>
                  </a:moveTo>
                  <a:lnTo>
                    <a:pt x="3342" y="1844"/>
                  </a:lnTo>
                  <a:lnTo>
                    <a:pt x="3342" y="1861"/>
                  </a:lnTo>
                  <a:lnTo>
                    <a:pt x="3326" y="1866"/>
                  </a:lnTo>
                  <a:lnTo>
                    <a:pt x="3326" y="1833"/>
                  </a:lnTo>
                  <a:lnTo>
                    <a:pt x="3333" y="1844"/>
                  </a:lnTo>
                  <a:lnTo>
                    <a:pt x="3333" y="1844"/>
                  </a:lnTo>
                  <a:lnTo>
                    <a:pt x="3333" y="1844"/>
                  </a:lnTo>
                  <a:close/>
                  <a:moveTo>
                    <a:pt x="3220" y="1844"/>
                  </a:moveTo>
                  <a:lnTo>
                    <a:pt x="3246" y="1899"/>
                  </a:lnTo>
                  <a:lnTo>
                    <a:pt x="3236" y="1899"/>
                  </a:lnTo>
                  <a:lnTo>
                    <a:pt x="3220" y="1866"/>
                  </a:lnTo>
                  <a:lnTo>
                    <a:pt x="3208" y="1861"/>
                  </a:lnTo>
                  <a:lnTo>
                    <a:pt x="3208" y="1844"/>
                  </a:lnTo>
                  <a:lnTo>
                    <a:pt x="3220" y="1844"/>
                  </a:lnTo>
                  <a:lnTo>
                    <a:pt x="3220" y="1844"/>
                  </a:lnTo>
                  <a:lnTo>
                    <a:pt x="3220" y="1844"/>
                  </a:lnTo>
                  <a:close/>
                  <a:moveTo>
                    <a:pt x="1368" y="1844"/>
                  </a:moveTo>
                  <a:lnTo>
                    <a:pt x="1368" y="1861"/>
                  </a:lnTo>
                  <a:lnTo>
                    <a:pt x="1356" y="1861"/>
                  </a:lnTo>
                  <a:lnTo>
                    <a:pt x="1368" y="1844"/>
                  </a:lnTo>
                  <a:lnTo>
                    <a:pt x="1368" y="1844"/>
                  </a:lnTo>
                  <a:lnTo>
                    <a:pt x="1368" y="1844"/>
                  </a:lnTo>
                  <a:close/>
                  <a:moveTo>
                    <a:pt x="3241" y="1844"/>
                  </a:moveTo>
                  <a:lnTo>
                    <a:pt x="3246" y="1861"/>
                  </a:lnTo>
                  <a:lnTo>
                    <a:pt x="3236" y="1861"/>
                  </a:lnTo>
                  <a:lnTo>
                    <a:pt x="3241" y="1844"/>
                  </a:lnTo>
                  <a:lnTo>
                    <a:pt x="3241" y="1844"/>
                  </a:lnTo>
                  <a:lnTo>
                    <a:pt x="3241" y="1844"/>
                  </a:lnTo>
                  <a:close/>
                  <a:moveTo>
                    <a:pt x="1209" y="1849"/>
                  </a:moveTo>
                  <a:lnTo>
                    <a:pt x="1221" y="1849"/>
                  </a:lnTo>
                  <a:lnTo>
                    <a:pt x="1205" y="1861"/>
                  </a:lnTo>
                  <a:lnTo>
                    <a:pt x="1193" y="1849"/>
                  </a:lnTo>
                  <a:lnTo>
                    <a:pt x="1209" y="1849"/>
                  </a:lnTo>
                  <a:lnTo>
                    <a:pt x="1209" y="1849"/>
                  </a:lnTo>
                  <a:lnTo>
                    <a:pt x="1209" y="1849"/>
                  </a:lnTo>
                  <a:close/>
                  <a:moveTo>
                    <a:pt x="1032" y="1906"/>
                  </a:moveTo>
                  <a:lnTo>
                    <a:pt x="1027" y="1922"/>
                  </a:lnTo>
                  <a:lnTo>
                    <a:pt x="1004" y="1922"/>
                  </a:lnTo>
                  <a:lnTo>
                    <a:pt x="990" y="1922"/>
                  </a:lnTo>
                  <a:lnTo>
                    <a:pt x="978" y="1906"/>
                  </a:lnTo>
                  <a:lnTo>
                    <a:pt x="1004" y="1899"/>
                  </a:lnTo>
                  <a:lnTo>
                    <a:pt x="1016" y="1873"/>
                  </a:lnTo>
                  <a:lnTo>
                    <a:pt x="1032" y="1873"/>
                  </a:lnTo>
                  <a:lnTo>
                    <a:pt x="1065" y="1861"/>
                  </a:lnTo>
                  <a:lnTo>
                    <a:pt x="1079" y="1861"/>
                  </a:lnTo>
                  <a:lnTo>
                    <a:pt x="1096" y="1882"/>
                  </a:lnTo>
                  <a:lnTo>
                    <a:pt x="1112" y="1889"/>
                  </a:lnTo>
                  <a:lnTo>
                    <a:pt x="1117" y="1899"/>
                  </a:lnTo>
                  <a:lnTo>
                    <a:pt x="1096" y="1889"/>
                  </a:lnTo>
                  <a:lnTo>
                    <a:pt x="1079" y="1906"/>
                  </a:lnTo>
                  <a:lnTo>
                    <a:pt x="1032" y="1906"/>
                  </a:lnTo>
                  <a:lnTo>
                    <a:pt x="1032" y="1906"/>
                  </a:lnTo>
                  <a:lnTo>
                    <a:pt x="1032" y="1906"/>
                  </a:lnTo>
                  <a:close/>
                  <a:moveTo>
                    <a:pt x="1372" y="1861"/>
                  </a:moveTo>
                  <a:lnTo>
                    <a:pt x="1372" y="1866"/>
                  </a:lnTo>
                  <a:lnTo>
                    <a:pt x="1368" y="1866"/>
                  </a:lnTo>
                  <a:lnTo>
                    <a:pt x="1368" y="1861"/>
                  </a:lnTo>
                  <a:lnTo>
                    <a:pt x="1372" y="1861"/>
                  </a:lnTo>
                  <a:lnTo>
                    <a:pt x="1372" y="1861"/>
                  </a:lnTo>
                  <a:lnTo>
                    <a:pt x="1372" y="1861"/>
                  </a:lnTo>
                  <a:close/>
                  <a:moveTo>
                    <a:pt x="3349" y="1866"/>
                  </a:moveTo>
                  <a:lnTo>
                    <a:pt x="3349" y="1873"/>
                  </a:lnTo>
                  <a:lnTo>
                    <a:pt x="3333" y="1873"/>
                  </a:lnTo>
                  <a:lnTo>
                    <a:pt x="3349" y="1866"/>
                  </a:lnTo>
                  <a:lnTo>
                    <a:pt x="3349" y="1866"/>
                  </a:lnTo>
                  <a:lnTo>
                    <a:pt x="3349" y="1866"/>
                  </a:lnTo>
                  <a:close/>
                  <a:moveTo>
                    <a:pt x="1172" y="1866"/>
                  </a:moveTo>
                  <a:lnTo>
                    <a:pt x="1167" y="1882"/>
                  </a:lnTo>
                  <a:lnTo>
                    <a:pt x="1155" y="1873"/>
                  </a:lnTo>
                  <a:lnTo>
                    <a:pt x="1172" y="1866"/>
                  </a:lnTo>
                  <a:lnTo>
                    <a:pt x="1172" y="1866"/>
                  </a:lnTo>
                  <a:lnTo>
                    <a:pt x="1172" y="1866"/>
                  </a:lnTo>
                  <a:close/>
                  <a:moveTo>
                    <a:pt x="1382" y="1866"/>
                  </a:moveTo>
                  <a:lnTo>
                    <a:pt x="1389" y="1873"/>
                  </a:lnTo>
                  <a:lnTo>
                    <a:pt x="1382" y="1873"/>
                  </a:lnTo>
                  <a:lnTo>
                    <a:pt x="1382" y="1866"/>
                  </a:lnTo>
                  <a:lnTo>
                    <a:pt x="1382" y="1866"/>
                  </a:lnTo>
                  <a:lnTo>
                    <a:pt x="1382" y="1866"/>
                  </a:lnTo>
                  <a:close/>
                  <a:moveTo>
                    <a:pt x="3246" y="1873"/>
                  </a:moveTo>
                  <a:lnTo>
                    <a:pt x="3246" y="1889"/>
                  </a:lnTo>
                  <a:lnTo>
                    <a:pt x="3241" y="1873"/>
                  </a:lnTo>
                  <a:lnTo>
                    <a:pt x="3246" y="1873"/>
                  </a:lnTo>
                  <a:lnTo>
                    <a:pt x="3246" y="1873"/>
                  </a:lnTo>
                  <a:lnTo>
                    <a:pt x="3246" y="1873"/>
                  </a:lnTo>
                  <a:close/>
                  <a:moveTo>
                    <a:pt x="1134" y="1915"/>
                  </a:moveTo>
                  <a:lnTo>
                    <a:pt x="1150" y="1927"/>
                  </a:lnTo>
                  <a:lnTo>
                    <a:pt x="1134" y="1922"/>
                  </a:lnTo>
                  <a:lnTo>
                    <a:pt x="1134" y="1915"/>
                  </a:lnTo>
                  <a:lnTo>
                    <a:pt x="1134" y="1915"/>
                  </a:lnTo>
                  <a:lnTo>
                    <a:pt x="1134" y="1915"/>
                  </a:lnTo>
                  <a:close/>
                  <a:moveTo>
                    <a:pt x="940" y="1955"/>
                  </a:moveTo>
                  <a:lnTo>
                    <a:pt x="935" y="1939"/>
                  </a:lnTo>
                  <a:lnTo>
                    <a:pt x="952" y="1939"/>
                  </a:lnTo>
                  <a:lnTo>
                    <a:pt x="940" y="1955"/>
                  </a:lnTo>
                  <a:lnTo>
                    <a:pt x="940" y="1955"/>
                  </a:lnTo>
                  <a:lnTo>
                    <a:pt x="940" y="1955"/>
                  </a:lnTo>
                  <a:close/>
                  <a:moveTo>
                    <a:pt x="919" y="1960"/>
                  </a:moveTo>
                  <a:lnTo>
                    <a:pt x="902" y="1955"/>
                  </a:lnTo>
                  <a:lnTo>
                    <a:pt x="907" y="1939"/>
                  </a:lnTo>
                  <a:lnTo>
                    <a:pt x="935" y="1955"/>
                  </a:lnTo>
                  <a:lnTo>
                    <a:pt x="919" y="1960"/>
                  </a:lnTo>
                  <a:lnTo>
                    <a:pt x="919" y="1960"/>
                  </a:lnTo>
                  <a:lnTo>
                    <a:pt x="919" y="1960"/>
                  </a:lnTo>
                  <a:close/>
                  <a:moveTo>
                    <a:pt x="957" y="1960"/>
                  </a:moveTo>
                  <a:lnTo>
                    <a:pt x="952" y="1955"/>
                  </a:lnTo>
                  <a:lnTo>
                    <a:pt x="961" y="1955"/>
                  </a:lnTo>
                  <a:lnTo>
                    <a:pt x="957" y="1960"/>
                  </a:lnTo>
                  <a:lnTo>
                    <a:pt x="957" y="1960"/>
                  </a:lnTo>
                  <a:lnTo>
                    <a:pt x="957" y="1960"/>
                  </a:lnTo>
                  <a:close/>
                  <a:moveTo>
                    <a:pt x="831" y="2000"/>
                  </a:moveTo>
                  <a:lnTo>
                    <a:pt x="843" y="1993"/>
                  </a:lnTo>
                  <a:lnTo>
                    <a:pt x="853" y="1993"/>
                  </a:lnTo>
                  <a:lnTo>
                    <a:pt x="827" y="1981"/>
                  </a:lnTo>
                  <a:lnTo>
                    <a:pt x="843" y="1972"/>
                  </a:lnTo>
                  <a:lnTo>
                    <a:pt x="864" y="1960"/>
                  </a:lnTo>
                  <a:lnTo>
                    <a:pt x="864" y="1977"/>
                  </a:lnTo>
                  <a:lnTo>
                    <a:pt x="886" y="1960"/>
                  </a:lnTo>
                  <a:lnTo>
                    <a:pt x="898" y="1972"/>
                  </a:lnTo>
                  <a:lnTo>
                    <a:pt x="869" y="1993"/>
                  </a:lnTo>
                  <a:lnTo>
                    <a:pt x="886" y="1981"/>
                  </a:lnTo>
                  <a:lnTo>
                    <a:pt x="886" y="1993"/>
                  </a:lnTo>
                  <a:lnTo>
                    <a:pt x="869" y="2000"/>
                  </a:lnTo>
                  <a:lnTo>
                    <a:pt x="853" y="2017"/>
                  </a:lnTo>
                  <a:lnTo>
                    <a:pt x="794" y="2038"/>
                  </a:lnTo>
                  <a:lnTo>
                    <a:pt x="777" y="2033"/>
                  </a:lnTo>
                  <a:lnTo>
                    <a:pt x="827" y="2017"/>
                  </a:lnTo>
                  <a:lnTo>
                    <a:pt x="831" y="2010"/>
                  </a:lnTo>
                  <a:lnTo>
                    <a:pt x="827" y="2000"/>
                  </a:lnTo>
                  <a:lnTo>
                    <a:pt x="831" y="2000"/>
                  </a:lnTo>
                  <a:lnTo>
                    <a:pt x="831" y="2000"/>
                  </a:lnTo>
                  <a:lnTo>
                    <a:pt x="831" y="2000"/>
                  </a:lnTo>
                  <a:close/>
                  <a:moveTo>
                    <a:pt x="898" y="1993"/>
                  </a:moveTo>
                  <a:lnTo>
                    <a:pt x="886" y="1981"/>
                  </a:lnTo>
                  <a:lnTo>
                    <a:pt x="902" y="1977"/>
                  </a:lnTo>
                  <a:lnTo>
                    <a:pt x="898" y="1993"/>
                  </a:lnTo>
                  <a:lnTo>
                    <a:pt x="898" y="1993"/>
                  </a:lnTo>
                  <a:lnTo>
                    <a:pt x="898" y="1993"/>
                  </a:lnTo>
                  <a:close/>
                  <a:moveTo>
                    <a:pt x="789" y="2017"/>
                  </a:moveTo>
                  <a:lnTo>
                    <a:pt x="777" y="2026"/>
                  </a:lnTo>
                  <a:lnTo>
                    <a:pt x="746" y="2038"/>
                  </a:lnTo>
                  <a:lnTo>
                    <a:pt x="735" y="2055"/>
                  </a:lnTo>
                  <a:lnTo>
                    <a:pt x="692" y="2083"/>
                  </a:lnTo>
                  <a:lnTo>
                    <a:pt x="709" y="2066"/>
                  </a:lnTo>
                  <a:lnTo>
                    <a:pt x="709" y="2050"/>
                  </a:lnTo>
                  <a:lnTo>
                    <a:pt x="725" y="2033"/>
                  </a:lnTo>
                  <a:lnTo>
                    <a:pt x="739" y="2033"/>
                  </a:lnTo>
                  <a:lnTo>
                    <a:pt x="739" y="2026"/>
                  </a:lnTo>
                  <a:lnTo>
                    <a:pt x="739" y="2017"/>
                  </a:lnTo>
                  <a:lnTo>
                    <a:pt x="772" y="2010"/>
                  </a:lnTo>
                  <a:lnTo>
                    <a:pt x="789" y="2017"/>
                  </a:lnTo>
                  <a:lnTo>
                    <a:pt x="789" y="2017"/>
                  </a:lnTo>
                  <a:lnTo>
                    <a:pt x="789" y="2017"/>
                  </a:lnTo>
                  <a:close/>
                  <a:moveTo>
                    <a:pt x="649" y="2066"/>
                  </a:moveTo>
                  <a:lnTo>
                    <a:pt x="649" y="2055"/>
                  </a:lnTo>
                  <a:lnTo>
                    <a:pt x="649" y="2066"/>
                  </a:lnTo>
                  <a:lnTo>
                    <a:pt x="649" y="2066"/>
                  </a:lnTo>
                  <a:lnTo>
                    <a:pt x="649" y="2066"/>
                  </a:lnTo>
                  <a:close/>
                  <a:moveTo>
                    <a:pt x="24685" y="2088"/>
                  </a:moveTo>
                  <a:lnTo>
                    <a:pt x="24678" y="2071"/>
                  </a:lnTo>
                  <a:lnTo>
                    <a:pt x="24652" y="2071"/>
                  </a:lnTo>
                  <a:lnTo>
                    <a:pt x="24668" y="2066"/>
                  </a:lnTo>
                  <a:lnTo>
                    <a:pt x="24701" y="2066"/>
                  </a:lnTo>
                  <a:lnTo>
                    <a:pt x="24722" y="2071"/>
                  </a:lnTo>
                  <a:lnTo>
                    <a:pt x="24685" y="2088"/>
                  </a:lnTo>
                  <a:lnTo>
                    <a:pt x="24685" y="2088"/>
                  </a:lnTo>
                  <a:lnTo>
                    <a:pt x="24685" y="2088"/>
                  </a:lnTo>
                  <a:close/>
                  <a:moveTo>
                    <a:pt x="633" y="2083"/>
                  </a:moveTo>
                  <a:lnTo>
                    <a:pt x="649" y="2071"/>
                  </a:lnTo>
                  <a:lnTo>
                    <a:pt x="649" y="2083"/>
                  </a:lnTo>
                  <a:lnTo>
                    <a:pt x="633" y="2083"/>
                  </a:lnTo>
                  <a:lnTo>
                    <a:pt x="633" y="2083"/>
                  </a:lnTo>
                  <a:lnTo>
                    <a:pt x="633" y="2083"/>
                  </a:lnTo>
                  <a:close/>
                  <a:moveTo>
                    <a:pt x="616" y="2088"/>
                  </a:moveTo>
                  <a:lnTo>
                    <a:pt x="616" y="2083"/>
                  </a:lnTo>
                  <a:lnTo>
                    <a:pt x="626" y="2088"/>
                  </a:lnTo>
                  <a:lnTo>
                    <a:pt x="616" y="2088"/>
                  </a:lnTo>
                  <a:lnTo>
                    <a:pt x="616" y="2088"/>
                  </a:lnTo>
                  <a:lnTo>
                    <a:pt x="616" y="2088"/>
                  </a:lnTo>
                  <a:close/>
                  <a:moveTo>
                    <a:pt x="574" y="2104"/>
                  </a:moveTo>
                  <a:lnTo>
                    <a:pt x="579" y="2092"/>
                  </a:lnTo>
                  <a:lnTo>
                    <a:pt x="583" y="2092"/>
                  </a:lnTo>
                  <a:lnTo>
                    <a:pt x="574" y="2104"/>
                  </a:lnTo>
                  <a:lnTo>
                    <a:pt x="574" y="2104"/>
                  </a:lnTo>
                  <a:lnTo>
                    <a:pt x="574" y="2104"/>
                  </a:lnTo>
                  <a:close/>
                  <a:moveTo>
                    <a:pt x="24739" y="2126"/>
                  </a:moveTo>
                  <a:lnTo>
                    <a:pt x="24715" y="2121"/>
                  </a:lnTo>
                  <a:lnTo>
                    <a:pt x="24744" y="2109"/>
                  </a:lnTo>
                  <a:lnTo>
                    <a:pt x="24744" y="2126"/>
                  </a:lnTo>
                  <a:lnTo>
                    <a:pt x="24739" y="2126"/>
                  </a:lnTo>
                  <a:lnTo>
                    <a:pt x="24739" y="2126"/>
                  </a:lnTo>
                  <a:lnTo>
                    <a:pt x="24739" y="2126"/>
                  </a:lnTo>
                  <a:close/>
                  <a:moveTo>
                    <a:pt x="324" y="2149"/>
                  </a:moveTo>
                  <a:lnTo>
                    <a:pt x="255" y="2161"/>
                  </a:lnTo>
                  <a:lnTo>
                    <a:pt x="331" y="2137"/>
                  </a:lnTo>
                  <a:lnTo>
                    <a:pt x="314" y="2126"/>
                  </a:lnTo>
                  <a:lnTo>
                    <a:pt x="331" y="2121"/>
                  </a:lnTo>
                  <a:lnTo>
                    <a:pt x="347" y="2126"/>
                  </a:lnTo>
                  <a:lnTo>
                    <a:pt x="340" y="2142"/>
                  </a:lnTo>
                  <a:lnTo>
                    <a:pt x="324" y="2149"/>
                  </a:lnTo>
                  <a:lnTo>
                    <a:pt x="324" y="2149"/>
                  </a:lnTo>
                  <a:lnTo>
                    <a:pt x="324" y="2149"/>
                  </a:lnTo>
                  <a:close/>
                  <a:moveTo>
                    <a:pt x="453" y="2137"/>
                  </a:moveTo>
                  <a:lnTo>
                    <a:pt x="449" y="2137"/>
                  </a:lnTo>
                  <a:lnTo>
                    <a:pt x="453" y="2121"/>
                  </a:lnTo>
                  <a:lnTo>
                    <a:pt x="470" y="2126"/>
                  </a:lnTo>
                  <a:lnTo>
                    <a:pt x="453" y="2137"/>
                  </a:lnTo>
                  <a:lnTo>
                    <a:pt x="453" y="2137"/>
                  </a:lnTo>
                  <a:lnTo>
                    <a:pt x="453" y="2137"/>
                  </a:lnTo>
                  <a:close/>
                  <a:moveTo>
                    <a:pt x="24895" y="2126"/>
                  </a:moveTo>
                  <a:lnTo>
                    <a:pt x="24895" y="2121"/>
                  </a:lnTo>
                  <a:lnTo>
                    <a:pt x="24900" y="2126"/>
                  </a:lnTo>
                  <a:lnTo>
                    <a:pt x="24895" y="2126"/>
                  </a:lnTo>
                  <a:lnTo>
                    <a:pt x="24895" y="2126"/>
                  </a:lnTo>
                  <a:lnTo>
                    <a:pt x="24895" y="2126"/>
                  </a:lnTo>
                  <a:close/>
                  <a:moveTo>
                    <a:pt x="385" y="2161"/>
                  </a:moveTo>
                  <a:lnTo>
                    <a:pt x="347" y="2142"/>
                  </a:lnTo>
                  <a:lnTo>
                    <a:pt x="423" y="2149"/>
                  </a:lnTo>
                  <a:lnTo>
                    <a:pt x="385" y="2161"/>
                  </a:lnTo>
                  <a:lnTo>
                    <a:pt x="385" y="2161"/>
                  </a:lnTo>
                  <a:lnTo>
                    <a:pt x="385" y="2161"/>
                  </a:lnTo>
                  <a:close/>
                  <a:moveTo>
                    <a:pt x="24992" y="2178"/>
                  </a:moveTo>
                  <a:lnTo>
                    <a:pt x="24987" y="2166"/>
                  </a:lnTo>
                  <a:lnTo>
                    <a:pt x="25008" y="2149"/>
                  </a:lnTo>
                  <a:lnTo>
                    <a:pt x="25013" y="2149"/>
                  </a:lnTo>
                  <a:lnTo>
                    <a:pt x="25013" y="2166"/>
                  </a:lnTo>
                  <a:lnTo>
                    <a:pt x="25003" y="2166"/>
                  </a:lnTo>
                  <a:lnTo>
                    <a:pt x="24992" y="2178"/>
                  </a:lnTo>
                  <a:lnTo>
                    <a:pt x="24992" y="2178"/>
                  </a:lnTo>
                  <a:lnTo>
                    <a:pt x="24992" y="2178"/>
                  </a:lnTo>
                  <a:close/>
                  <a:moveTo>
                    <a:pt x="201" y="2161"/>
                  </a:moveTo>
                  <a:lnTo>
                    <a:pt x="196" y="2161"/>
                  </a:lnTo>
                  <a:lnTo>
                    <a:pt x="201" y="2149"/>
                  </a:lnTo>
                  <a:lnTo>
                    <a:pt x="205" y="2149"/>
                  </a:lnTo>
                  <a:lnTo>
                    <a:pt x="201" y="2161"/>
                  </a:lnTo>
                  <a:lnTo>
                    <a:pt x="201" y="2161"/>
                  </a:lnTo>
                  <a:lnTo>
                    <a:pt x="201" y="2161"/>
                  </a:lnTo>
                  <a:close/>
                  <a:moveTo>
                    <a:pt x="25155" y="2166"/>
                  </a:moveTo>
                  <a:lnTo>
                    <a:pt x="25148" y="2161"/>
                  </a:lnTo>
                  <a:lnTo>
                    <a:pt x="25155" y="2161"/>
                  </a:lnTo>
                  <a:lnTo>
                    <a:pt x="25164" y="2161"/>
                  </a:lnTo>
                  <a:lnTo>
                    <a:pt x="25155" y="2166"/>
                  </a:lnTo>
                  <a:lnTo>
                    <a:pt x="25155" y="2166"/>
                  </a:lnTo>
                  <a:lnTo>
                    <a:pt x="25155" y="2166"/>
                  </a:lnTo>
                  <a:close/>
                  <a:moveTo>
                    <a:pt x="217" y="2161"/>
                  </a:moveTo>
                  <a:lnTo>
                    <a:pt x="205" y="2161"/>
                  </a:lnTo>
                  <a:lnTo>
                    <a:pt x="222" y="2161"/>
                  </a:lnTo>
                  <a:lnTo>
                    <a:pt x="217" y="2161"/>
                  </a:lnTo>
                  <a:lnTo>
                    <a:pt x="217" y="2161"/>
                  </a:lnTo>
                  <a:lnTo>
                    <a:pt x="217" y="2161"/>
                  </a:lnTo>
                  <a:close/>
                  <a:moveTo>
                    <a:pt x="25079" y="2166"/>
                  </a:moveTo>
                  <a:lnTo>
                    <a:pt x="25067" y="2161"/>
                  </a:lnTo>
                  <a:lnTo>
                    <a:pt x="25084" y="2166"/>
                  </a:lnTo>
                  <a:lnTo>
                    <a:pt x="25079" y="2166"/>
                  </a:lnTo>
                  <a:lnTo>
                    <a:pt x="25079" y="2166"/>
                  </a:lnTo>
                  <a:lnTo>
                    <a:pt x="25079" y="2166"/>
                  </a:lnTo>
                  <a:close/>
                  <a:moveTo>
                    <a:pt x="142" y="2199"/>
                  </a:moveTo>
                  <a:lnTo>
                    <a:pt x="142" y="2194"/>
                  </a:lnTo>
                  <a:lnTo>
                    <a:pt x="151" y="2178"/>
                  </a:lnTo>
                  <a:lnTo>
                    <a:pt x="151" y="2166"/>
                  </a:lnTo>
                  <a:lnTo>
                    <a:pt x="168" y="2161"/>
                  </a:lnTo>
                  <a:lnTo>
                    <a:pt x="163" y="2178"/>
                  </a:lnTo>
                  <a:lnTo>
                    <a:pt x="179" y="2178"/>
                  </a:lnTo>
                  <a:lnTo>
                    <a:pt x="179" y="2182"/>
                  </a:lnTo>
                  <a:lnTo>
                    <a:pt x="142" y="2199"/>
                  </a:lnTo>
                  <a:lnTo>
                    <a:pt x="142" y="2199"/>
                  </a:lnTo>
                  <a:lnTo>
                    <a:pt x="142" y="2199"/>
                  </a:lnTo>
                  <a:close/>
                  <a:moveTo>
                    <a:pt x="92" y="2194"/>
                  </a:moveTo>
                  <a:lnTo>
                    <a:pt x="87" y="2194"/>
                  </a:lnTo>
                  <a:lnTo>
                    <a:pt x="125" y="2178"/>
                  </a:lnTo>
                  <a:lnTo>
                    <a:pt x="125" y="2166"/>
                  </a:lnTo>
                  <a:lnTo>
                    <a:pt x="130" y="2166"/>
                  </a:lnTo>
                  <a:lnTo>
                    <a:pt x="125" y="2194"/>
                  </a:lnTo>
                  <a:lnTo>
                    <a:pt x="92" y="2194"/>
                  </a:lnTo>
                  <a:lnTo>
                    <a:pt x="92" y="2194"/>
                  </a:lnTo>
                  <a:lnTo>
                    <a:pt x="92" y="2194"/>
                  </a:lnTo>
                  <a:close/>
                  <a:moveTo>
                    <a:pt x="75" y="2199"/>
                  </a:moveTo>
                  <a:lnTo>
                    <a:pt x="59" y="2194"/>
                  </a:lnTo>
                  <a:lnTo>
                    <a:pt x="71" y="2182"/>
                  </a:lnTo>
                  <a:lnTo>
                    <a:pt x="54" y="2166"/>
                  </a:lnTo>
                  <a:lnTo>
                    <a:pt x="71" y="2166"/>
                  </a:lnTo>
                  <a:lnTo>
                    <a:pt x="75" y="2178"/>
                  </a:lnTo>
                  <a:lnTo>
                    <a:pt x="75" y="2199"/>
                  </a:lnTo>
                  <a:lnTo>
                    <a:pt x="75" y="2199"/>
                  </a:lnTo>
                  <a:lnTo>
                    <a:pt x="75" y="2199"/>
                  </a:lnTo>
                  <a:close/>
                  <a:moveTo>
                    <a:pt x="201" y="2182"/>
                  </a:moveTo>
                  <a:lnTo>
                    <a:pt x="196" y="2166"/>
                  </a:lnTo>
                  <a:lnTo>
                    <a:pt x="205" y="2178"/>
                  </a:lnTo>
                  <a:lnTo>
                    <a:pt x="201" y="2182"/>
                  </a:lnTo>
                  <a:lnTo>
                    <a:pt x="201" y="2182"/>
                  </a:lnTo>
                  <a:lnTo>
                    <a:pt x="201" y="2182"/>
                  </a:lnTo>
                  <a:close/>
                  <a:moveTo>
                    <a:pt x="184" y="2182"/>
                  </a:moveTo>
                  <a:lnTo>
                    <a:pt x="179" y="2178"/>
                  </a:lnTo>
                  <a:lnTo>
                    <a:pt x="184" y="2178"/>
                  </a:lnTo>
                  <a:lnTo>
                    <a:pt x="184" y="2182"/>
                  </a:lnTo>
                  <a:lnTo>
                    <a:pt x="184" y="2182"/>
                  </a:lnTo>
                  <a:lnTo>
                    <a:pt x="184" y="2182"/>
                  </a:lnTo>
                  <a:close/>
                  <a:moveTo>
                    <a:pt x="16" y="2182"/>
                  </a:moveTo>
                  <a:lnTo>
                    <a:pt x="7" y="2178"/>
                  </a:lnTo>
                  <a:lnTo>
                    <a:pt x="16" y="2182"/>
                  </a:lnTo>
                  <a:lnTo>
                    <a:pt x="16" y="2182"/>
                  </a:lnTo>
                  <a:lnTo>
                    <a:pt x="16" y="2182"/>
                  </a:lnTo>
                  <a:close/>
                  <a:moveTo>
                    <a:pt x="25131" y="2220"/>
                  </a:moveTo>
                  <a:lnTo>
                    <a:pt x="25084" y="2194"/>
                  </a:lnTo>
                  <a:lnTo>
                    <a:pt x="25100" y="2199"/>
                  </a:lnTo>
                  <a:lnTo>
                    <a:pt x="25131" y="2215"/>
                  </a:lnTo>
                  <a:lnTo>
                    <a:pt x="25148" y="2215"/>
                  </a:lnTo>
                  <a:lnTo>
                    <a:pt x="25131" y="2220"/>
                  </a:lnTo>
                  <a:lnTo>
                    <a:pt x="25131" y="2220"/>
                  </a:lnTo>
                  <a:lnTo>
                    <a:pt x="25131" y="2220"/>
                  </a:lnTo>
                  <a:close/>
                  <a:moveTo>
                    <a:pt x="0" y="2220"/>
                  </a:moveTo>
                  <a:lnTo>
                    <a:pt x="0" y="2215"/>
                  </a:lnTo>
                  <a:lnTo>
                    <a:pt x="7" y="2220"/>
                  </a:lnTo>
                  <a:lnTo>
                    <a:pt x="0" y="2220"/>
                  </a:lnTo>
                  <a:lnTo>
                    <a:pt x="0" y="2220"/>
                  </a:lnTo>
                  <a:lnTo>
                    <a:pt x="0" y="2220"/>
                  </a:lnTo>
                  <a:close/>
                  <a:moveTo>
                    <a:pt x="3942" y="2442"/>
                  </a:moveTo>
                  <a:lnTo>
                    <a:pt x="5882" y="2442"/>
                  </a:lnTo>
                  <a:lnTo>
                    <a:pt x="5882" y="2404"/>
                  </a:lnTo>
                  <a:lnTo>
                    <a:pt x="5903" y="2414"/>
                  </a:lnTo>
                  <a:lnTo>
                    <a:pt x="5908" y="2459"/>
                  </a:lnTo>
                  <a:lnTo>
                    <a:pt x="5920" y="2470"/>
                  </a:lnTo>
                  <a:lnTo>
                    <a:pt x="5974" y="2475"/>
                  </a:lnTo>
                  <a:lnTo>
                    <a:pt x="5974" y="2482"/>
                  </a:lnTo>
                  <a:lnTo>
                    <a:pt x="6012" y="2475"/>
                  </a:lnTo>
                  <a:lnTo>
                    <a:pt x="6033" y="2475"/>
                  </a:lnTo>
                  <a:lnTo>
                    <a:pt x="6071" y="2499"/>
                  </a:lnTo>
                  <a:lnTo>
                    <a:pt x="6071" y="2515"/>
                  </a:lnTo>
                  <a:lnTo>
                    <a:pt x="6080" y="2499"/>
                  </a:lnTo>
                  <a:lnTo>
                    <a:pt x="6097" y="2499"/>
                  </a:lnTo>
                  <a:lnTo>
                    <a:pt x="6101" y="2515"/>
                  </a:lnTo>
                  <a:lnTo>
                    <a:pt x="6139" y="2532"/>
                  </a:lnTo>
                  <a:lnTo>
                    <a:pt x="6177" y="2515"/>
                  </a:lnTo>
                  <a:lnTo>
                    <a:pt x="6189" y="2525"/>
                  </a:lnTo>
                  <a:lnTo>
                    <a:pt x="6227" y="2525"/>
                  </a:lnTo>
                  <a:lnTo>
                    <a:pt x="6248" y="2532"/>
                  </a:lnTo>
                  <a:lnTo>
                    <a:pt x="6286" y="2537"/>
                  </a:lnTo>
                  <a:lnTo>
                    <a:pt x="6357" y="2508"/>
                  </a:lnTo>
                  <a:lnTo>
                    <a:pt x="6605" y="2636"/>
                  </a:lnTo>
                  <a:lnTo>
                    <a:pt x="6605" y="2659"/>
                  </a:lnTo>
                  <a:lnTo>
                    <a:pt x="6621" y="2676"/>
                  </a:lnTo>
                  <a:lnTo>
                    <a:pt x="6654" y="2664"/>
                  </a:lnTo>
                  <a:lnTo>
                    <a:pt x="6654" y="2692"/>
                  </a:lnTo>
                  <a:lnTo>
                    <a:pt x="6664" y="2702"/>
                  </a:lnTo>
                  <a:lnTo>
                    <a:pt x="6692" y="2702"/>
                  </a:lnTo>
                  <a:lnTo>
                    <a:pt x="6697" y="2714"/>
                  </a:lnTo>
                  <a:lnTo>
                    <a:pt x="6692" y="2730"/>
                  </a:lnTo>
                  <a:lnTo>
                    <a:pt x="6768" y="2775"/>
                  </a:lnTo>
                  <a:lnTo>
                    <a:pt x="6789" y="2924"/>
                  </a:lnTo>
                  <a:lnTo>
                    <a:pt x="6772" y="2981"/>
                  </a:lnTo>
                  <a:lnTo>
                    <a:pt x="6768" y="3014"/>
                  </a:lnTo>
                  <a:lnTo>
                    <a:pt x="6730" y="3047"/>
                  </a:lnTo>
                  <a:lnTo>
                    <a:pt x="6718" y="3063"/>
                  </a:lnTo>
                  <a:lnTo>
                    <a:pt x="6730" y="3080"/>
                  </a:lnTo>
                  <a:lnTo>
                    <a:pt x="6751" y="3096"/>
                  </a:lnTo>
                  <a:lnTo>
                    <a:pt x="6772" y="3096"/>
                  </a:lnTo>
                  <a:lnTo>
                    <a:pt x="6853" y="3047"/>
                  </a:lnTo>
                  <a:lnTo>
                    <a:pt x="6935" y="3030"/>
                  </a:lnTo>
                  <a:lnTo>
                    <a:pt x="7016" y="2997"/>
                  </a:lnTo>
                  <a:lnTo>
                    <a:pt x="7020" y="2990"/>
                  </a:lnTo>
                  <a:lnTo>
                    <a:pt x="7004" y="2974"/>
                  </a:lnTo>
                  <a:lnTo>
                    <a:pt x="7004" y="2957"/>
                  </a:lnTo>
                  <a:lnTo>
                    <a:pt x="6999" y="2940"/>
                  </a:lnTo>
                  <a:lnTo>
                    <a:pt x="7032" y="2924"/>
                  </a:lnTo>
                  <a:lnTo>
                    <a:pt x="7167" y="2924"/>
                  </a:lnTo>
                  <a:lnTo>
                    <a:pt x="7193" y="2886"/>
                  </a:lnTo>
                  <a:lnTo>
                    <a:pt x="7290" y="2808"/>
                  </a:lnTo>
                  <a:lnTo>
                    <a:pt x="7540" y="2803"/>
                  </a:lnTo>
                  <a:lnTo>
                    <a:pt x="7545" y="2787"/>
                  </a:lnTo>
                  <a:lnTo>
                    <a:pt x="7554" y="2775"/>
                  </a:lnTo>
                  <a:lnTo>
                    <a:pt x="7561" y="2787"/>
                  </a:lnTo>
                  <a:lnTo>
                    <a:pt x="7571" y="2775"/>
                  </a:lnTo>
                  <a:lnTo>
                    <a:pt x="7582" y="2787"/>
                  </a:lnTo>
                  <a:lnTo>
                    <a:pt x="7592" y="2759"/>
                  </a:lnTo>
                  <a:lnTo>
                    <a:pt x="7592" y="2754"/>
                  </a:lnTo>
                  <a:lnTo>
                    <a:pt x="7625" y="2718"/>
                  </a:lnTo>
                  <a:lnTo>
                    <a:pt x="7625" y="2697"/>
                  </a:lnTo>
                  <a:lnTo>
                    <a:pt x="7637" y="2676"/>
                  </a:lnTo>
                  <a:lnTo>
                    <a:pt x="7646" y="2648"/>
                  </a:lnTo>
                  <a:lnTo>
                    <a:pt x="7701" y="2581"/>
                  </a:lnTo>
                  <a:lnTo>
                    <a:pt x="7705" y="2586"/>
                  </a:lnTo>
                  <a:lnTo>
                    <a:pt x="7705" y="2603"/>
                  </a:lnTo>
                  <a:lnTo>
                    <a:pt x="7722" y="2610"/>
                  </a:lnTo>
                  <a:lnTo>
                    <a:pt x="7760" y="2591"/>
                  </a:lnTo>
                  <a:lnTo>
                    <a:pt x="7805" y="2619"/>
                  </a:lnTo>
                  <a:lnTo>
                    <a:pt x="7805" y="2747"/>
                  </a:lnTo>
                  <a:lnTo>
                    <a:pt x="7826" y="2754"/>
                  </a:lnTo>
                  <a:lnTo>
                    <a:pt x="7814" y="2759"/>
                  </a:lnTo>
                  <a:lnTo>
                    <a:pt x="7826" y="2775"/>
                  </a:lnTo>
                  <a:lnTo>
                    <a:pt x="7831" y="2792"/>
                  </a:lnTo>
                  <a:lnTo>
                    <a:pt x="7842" y="2792"/>
                  </a:lnTo>
                  <a:lnTo>
                    <a:pt x="7856" y="2808"/>
                  </a:lnTo>
                  <a:lnTo>
                    <a:pt x="7842" y="2813"/>
                  </a:lnTo>
                  <a:lnTo>
                    <a:pt x="7856" y="2813"/>
                  </a:lnTo>
                  <a:lnTo>
                    <a:pt x="7842" y="2829"/>
                  </a:lnTo>
                  <a:lnTo>
                    <a:pt x="7814" y="2829"/>
                  </a:lnTo>
                  <a:lnTo>
                    <a:pt x="7814" y="2846"/>
                  </a:lnTo>
                  <a:lnTo>
                    <a:pt x="7805" y="2846"/>
                  </a:lnTo>
                  <a:lnTo>
                    <a:pt x="7776" y="2863"/>
                  </a:lnTo>
                  <a:lnTo>
                    <a:pt x="7776" y="2858"/>
                  </a:lnTo>
                  <a:lnTo>
                    <a:pt x="7760" y="2858"/>
                  </a:lnTo>
                  <a:lnTo>
                    <a:pt x="7743" y="2858"/>
                  </a:lnTo>
                  <a:lnTo>
                    <a:pt x="7743" y="2863"/>
                  </a:lnTo>
                  <a:lnTo>
                    <a:pt x="7738" y="2863"/>
                  </a:lnTo>
                  <a:lnTo>
                    <a:pt x="7722" y="2863"/>
                  </a:lnTo>
                  <a:lnTo>
                    <a:pt x="7734" y="2841"/>
                  </a:lnTo>
                  <a:lnTo>
                    <a:pt x="7717" y="2858"/>
                  </a:lnTo>
                  <a:lnTo>
                    <a:pt x="7705" y="2886"/>
                  </a:lnTo>
                  <a:lnTo>
                    <a:pt x="7691" y="2898"/>
                  </a:lnTo>
                  <a:lnTo>
                    <a:pt x="7684" y="2886"/>
                  </a:lnTo>
                  <a:lnTo>
                    <a:pt x="7679" y="2903"/>
                  </a:lnTo>
                  <a:lnTo>
                    <a:pt x="7679" y="2886"/>
                  </a:lnTo>
                  <a:lnTo>
                    <a:pt x="7668" y="2903"/>
                  </a:lnTo>
                  <a:lnTo>
                    <a:pt x="7668" y="2886"/>
                  </a:lnTo>
                  <a:lnTo>
                    <a:pt x="7663" y="2914"/>
                  </a:lnTo>
                  <a:lnTo>
                    <a:pt x="7663" y="2886"/>
                  </a:lnTo>
                  <a:lnTo>
                    <a:pt x="7653" y="2898"/>
                  </a:lnTo>
                  <a:lnTo>
                    <a:pt x="7653" y="2919"/>
                  </a:lnTo>
                  <a:lnTo>
                    <a:pt x="7646" y="2903"/>
                  </a:lnTo>
                  <a:lnTo>
                    <a:pt x="7630" y="2914"/>
                  </a:lnTo>
                  <a:lnTo>
                    <a:pt x="7625" y="2924"/>
                  </a:lnTo>
                  <a:lnTo>
                    <a:pt x="7630" y="2936"/>
                  </a:lnTo>
                  <a:lnTo>
                    <a:pt x="7608" y="2952"/>
                  </a:lnTo>
                  <a:lnTo>
                    <a:pt x="7599" y="2974"/>
                  </a:lnTo>
                  <a:lnTo>
                    <a:pt x="7592" y="2969"/>
                  </a:lnTo>
                  <a:lnTo>
                    <a:pt x="7582" y="3007"/>
                  </a:lnTo>
                  <a:lnTo>
                    <a:pt x="7599" y="3014"/>
                  </a:lnTo>
                  <a:lnTo>
                    <a:pt x="7582" y="3023"/>
                  </a:lnTo>
                  <a:lnTo>
                    <a:pt x="7571" y="3035"/>
                  </a:lnTo>
                  <a:lnTo>
                    <a:pt x="7592" y="3047"/>
                  </a:lnTo>
                  <a:lnTo>
                    <a:pt x="7592" y="3068"/>
                  </a:lnTo>
                  <a:lnTo>
                    <a:pt x="7608" y="3080"/>
                  </a:lnTo>
                  <a:lnTo>
                    <a:pt x="7608" y="3085"/>
                  </a:lnTo>
                  <a:lnTo>
                    <a:pt x="7625" y="3096"/>
                  </a:lnTo>
                  <a:lnTo>
                    <a:pt x="7646" y="3085"/>
                  </a:lnTo>
                  <a:lnTo>
                    <a:pt x="7646" y="3080"/>
                  </a:lnTo>
                  <a:lnTo>
                    <a:pt x="7625" y="3063"/>
                  </a:lnTo>
                  <a:lnTo>
                    <a:pt x="7637" y="3063"/>
                  </a:lnTo>
                  <a:lnTo>
                    <a:pt x="7646" y="3080"/>
                  </a:lnTo>
                  <a:lnTo>
                    <a:pt x="7646" y="3096"/>
                  </a:lnTo>
                  <a:lnTo>
                    <a:pt x="7616" y="3101"/>
                  </a:lnTo>
                  <a:lnTo>
                    <a:pt x="7599" y="3108"/>
                  </a:lnTo>
                  <a:lnTo>
                    <a:pt x="7599" y="3096"/>
                  </a:lnTo>
                  <a:lnTo>
                    <a:pt x="7592" y="3096"/>
                  </a:lnTo>
                  <a:lnTo>
                    <a:pt x="7561" y="3118"/>
                  </a:lnTo>
                  <a:lnTo>
                    <a:pt x="7561" y="3101"/>
                  </a:lnTo>
                  <a:lnTo>
                    <a:pt x="7571" y="3085"/>
                  </a:lnTo>
                  <a:lnTo>
                    <a:pt x="7554" y="3101"/>
                  </a:lnTo>
                  <a:lnTo>
                    <a:pt x="7545" y="3085"/>
                  </a:lnTo>
                  <a:lnTo>
                    <a:pt x="7540" y="3125"/>
                  </a:lnTo>
                  <a:lnTo>
                    <a:pt x="7436" y="3134"/>
                  </a:lnTo>
                  <a:lnTo>
                    <a:pt x="7393" y="3158"/>
                  </a:lnTo>
                  <a:lnTo>
                    <a:pt x="7360" y="3179"/>
                  </a:lnTo>
                  <a:lnTo>
                    <a:pt x="7377" y="3151"/>
                  </a:lnTo>
                  <a:lnTo>
                    <a:pt x="7365" y="3125"/>
                  </a:lnTo>
                  <a:lnTo>
                    <a:pt x="7365" y="3158"/>
                  </a:lnTo>
                  <a:lnTo>
                    <a:pt x="7344" y="3196"/>
                  </a:lnTo>
                  <a:lnTo>
                    <a:pt x="7360" y="3196"/>
                  </a:lnTo>
                  <a:lnTo>
                    <a:pt x="7365" y="3212"/>
                  </a:lnTo>
                  <a:lnTo>
                    <a:pt x="7360" y="3262"/>
                  </a:lnTo>
                  <a:lnTo>
                    <a:pt x="7360" y="3236"/>
                  </a:lnTo>
                  <a:lnTo>
                    <a:pt x="7356" y="3269"/>
                  </a:lnTo>
                  <a:lnTo>
                    <a:pt x="7339" y="3285"/>
                  </a:lnTo>
                  <a:lnTo>
                    <a:pt x="7327" y="3290"/>
                  </a:lnTo>
                  <a:lnTo>
                    <a:pt x="7313" y="3302"/>
                  </a:lnTo>
                  <a:lnTo>
                    <a:pt x="7323" y="3302"/>
                  </a:lnTo>
                  <a:lnTo>
                    <a:pt x="7313" y="3318"/>
                  </a:lnTo>
                  <a:lnTo>
                    <a:pt x="7301" y="3328"/>
                  </a:lnTo>
                  <a:lnTo>
                    <a:pt x="7301" y="3307"/>
                  </a:lnTo>
                  <a:lnTo>
                    <a:pt x="7259" y="3290"/>
                  </a:lnTo>
                  <a:lnTo>
                    <a:pt x="7252" y="3274"/>
                  </a:lnTo>
                  <a:lnTo>
                    <a:pt x="7290" y="3236"/>
                  </a:lnTo>
                  <a:lnTo>
                    <a:pt x="7252" y="3269"/>
                  </a:lnTo>
                  <a:lnTo>
                    <a:pt x="7252" y="3285"/>
                  </a:lnTo>
                  <a:lnTo>
                    <a:pt x="7285" y="3347"/>
                  </a:lnTo>
                  <a:lnTo>
                    <a:pt x="7275" y="3356"/>
                  </a:lnTo>
                  <a:lnTo>
                    <a:pt x="7290" y="3363"/>
                  </a:lnTo>
                  <a:lnTo>
                    <a:pt x="7290" y="3373"/>
                  </a:lnTo>
                  <a:lnTo>
                    <a:pt x="7268" y="3401"/>
                  </a:lnTo>
                  <a:lnTo>
                    <a:pt x="7252" y="3439"/>
                  </a:lnTo>
                  <a:lnTo>
                    <a:pt x="7247" y="3451"/>
                  </a:lnTo>
                  <a:lnTo>
                    <a:pt x="7221" y="3484"/>
                  </a:lnTo>
                  <a:lnTo>
                    <a:pt x="7221" y="3467"/>
                  </a:lnTo>
                  <a:lnTo>
                    <a:pt x="7231" y="3439"/>
                  </a:lnTo>
                  <a:lnTo>
                    <a:pt x="7247" y="3418"/>
                  </a:lnTo>
                  <a:lnTo>
                    <a:pt x="7247" y="3413"/>
                  </a:lnTo>
                  <a:lnTo>
                    <a:pt x="7231" y="3413"/>
                  </a:lnTo>
                  <a:lnTo>
                    <a:pt x="7238" y="3373"/>
                  </a:lnTo>
                  <a:lnTo>
                    <a:pt x="7221" y="3385"/>
                  </a:lnTo>
                  <a:lnTo>
                    <a:pt x="7205" y="3380"/>
                  </a:lnTo>
                  <a:lnTo>
                    <a:pt x="7200" y="3373"/>
                  </a:lnTo>
                  <a:lnTo>
                    <a:pt x="7214" y="3363"/>
                  </a:lnTo>
                  <a:lnTo>
                    <a:pt x="7205" y="3363"/>
                  </a:lnTo>
                  <a:lnTo>
                    <a:pt x="7205" y="3356"/>
                  </a:lnTo>
                  <a:lnTo>
                    <a:pt x="7221" y="3363"/>
                  </a:lnTo>
                  <a:lnTo>
                    <a:pt x="7221" y="3356"/>
                  </a:lnTo>
                  <a:lnTo>
                    <a:pt x="7205" y="3347"/>
                  </a:lnTo>
                  <a:lnTo>
                    <a:pt x="7200" y="3347"/>
                  </a:lnTo>
                  <a:lnTo>
                    <a:pt x="7205" y="3340"/>
                  </a:lnTo>
                  <a:lnTo>
                    <a:pt x="7214" y="3340"/>
                  </a:lnTo>
                  <a:lnTo>
                    <a:pt x="7205" y="3323"/>
                  </a:lnTo>
                  <a:lnTo>
                    <a:pt x="7200" y="3340"/>
                  </a:lnTo>
                  <a:lnTo>
                    <a:pt x="7200" y="3323"/>
                  </a:lnTo>
                  <a:lnTo>
                    <a:pt x="7205" y="3323"/>
                  </a:lnTo>
                  <a:lnTo>
                    <a:pt x="7221" y="3318"/>
                  </a:lnTo>
                  <a:lnTo>
                    <a:pt x="7205" y="3323"/>
                  </a:lnTo>
                  <a:lnTo>
                    <a:pt x="7205" y="3307"/>
                  </a:lnTo>
                  <a:lnTo>
                    <a:pt x="7214" y="3302"/>
                  </a:lnTo>
                  <a:lnTo>
                    <a:pt x="7221" y="3290"/>
                  </a:lnTo>
                  <a:lnTo>
                    <a:pt x="7238" y="3274"/>
                  </a:lnTo>
                  <a:lnTo>
                    <a:pt x="7214" y="3274"/>
                  </a:lnTo>
                  <a:lnTo>
                    <a:pt x="7221" y="3285"/>
                  </a:lnTo>
                  <a:lnTo>
                    <a:pt x="7205" y="3290"/>
                  </a:lnTo>
                  <a:lnTo>
                    <a:pt x="7205" y="3285"/>
                  </a:lnTo>
                  <a:lnTo>
                    <a:pt x="7200" y="3290"/>
                  </a:lnTo>
                  <a:lnTo>
                    <a:pt x="7193" y="3302"/>
                  </a:lnTo>
                  <a:lnTo>
                    <a:pt x="7193" y="3307"/>
                  </a:lnTo>
                  <a:lnTo>
                    <a:pt x="7176" y="3302"/>
                  </a:lnTo>
                  <a:lnTo>
                    <a:pt x="7193" y="3323"/>
                  </a:lnTo>
                  <a:lnTo>
                    <a:pt x="7183" y="3347"/>
                  </a:lnTo>
                  <a:lnTo>
                    <a:pt x="7200" y="3380"/>
                  </a:lnTo>
                  <a:lnTo>
                    <a:pt x="7176" y="3373"/>
                  </a:lnTo>
                  <a:lnTo>
                    <a:pt x="7176" y="3356"/>
                  </a:lnTo>
                  <a:lnTo>
                    <a:pt x="7176" y="3373"/>
                  </a:lnTo>
                  <a:lnTo>
                    <a:pt x="7200" y="3385"/>
                  </a:lnTo>
                  <a:lnTo>
                    <a:pt x="7200" y="3401"/>
                  </a:lnTo>
                  <a:lnTo>
                    <a:pt x="7183" y="3385"/>
                  </a:lnTo>
                  <a:lnTo>
                    <a:pt x="7162" y="3385"/>
                  </a:lnTo>
                  <a:lnTo>
                    <a:pt x="7150" y="3373"/>
                  </a:lnTo>
                  <a:lnTo>
                    <a:pt x="7138" y="3373"/>
                  </a:lnTo>
                  <a:lnTo>
                    <a:pt x="7138" y="3363"/>
                  </a:lnTo>
                  <a:lnTo>
                    <a:pt x="7150" y="3347"/>
                  </a:lnTo>
                  <a:lnTo>
                    <a:pt x="7145" y="3328"/>
                  </a:lnTo>
                  <a:lnTo>
                    <a:pt x="7150" y="3347"/>
                  </a:lnTo>
                  <a:lnTo>
                    <a:pt x="7138" y="3356"/>
                  </a:lnTo>
                  <a:lnTo>
                    <a:pt x="7129" y="3380"/>
                  </a:lnTo>
                  <a:lnTo>
                    <a:pt x="7145" y="3380"/>
                  </a:lnTo>
                  <a:lnTo>
                    <a:pt x="7162" y="3396"/>
                  </a:lnTo>
                  <a:lnTo>
                    <a:pt x="7183" y="3396"/>
                  </a:lnTo>
                  <a:lnTo>
                    <a:pt x="7205" y="3418"/>
                  </a:lnTo>
                  <a:lnTo>
                    <a:pt x="7200" y="3439"/>
                  </a:lnTo>
                  <a:lnTo>
                    <a:pt x="7145" y="3396"/>
                  </a:lnTo>
                  <a:lnTo>
                    <a:pt x="7162" y="3401"/>
                  </a:lnTo>
                  <a:lnTo>
                    <a:pt x="7183" y="3439"/>
                  </a:lnTo>
                  <a:lnTo>
                    <a:pt x="7200" y="3439"/>
                  </a:lnTo>
                  <a:lnTo>
                    <a:pt x="7205" y="3455"/>
                  </a:lnTo>
                  <a:lnTo>
                    <a:pt x="7200" y="3455"/>
                  </a:lnTo>
                  <a:lnTo>
                    <a:pt x="7200" y="3467"/>
                  </a:lnTo>
                  <a:lnTo>
                    <a:pt x="7176" y="3455"/>
                  </a:lnTo>
                  <a:lnTo>
                    <a:pt x="7205" y="3484"/>
                  </a:lnTo>
                  <a:lnTo>
                    <a:pt x="7200" y="3496"/>
                  </a:lnTo>
                  <a:lnTo>
                    <a:pt x="7176" y="3472"/>
                  </a:lnTo>
                  <a:lnTo>
                    <a:pt x="7138" y="3467"/>
                  </a:lnTo>
                  <a:lnTo>
                    <a:pt x="7176" y="3484"/>
                  </a:lnTo>
                  <a:lnTo>
                    <a:pt x="7193" y="3496"/>
                  </a:lnTo>
                  <a:lnTo>
                    <a:pt x="7200" y="3507"/>
                  </a:lnTo>
                  <a:lnTo>
                    <a:pt x="7200" y="3496"/>
                  </a:lnTo>
                  <a:lnTo>
                    <a:pt x="7221" y="3496"/>
                  </a:lnTo>
                  <a:lnTo>
                    <a:pt x="7252" y="3595"/>
                  </a:lnTo>
                  <a:lnTo>
                    <a:pt x="7247" y="3566"/>
                  </a:lnTo>
                  <a:lnTo>
                    <a:pt x="7231" y="3512"/>
                  </a:lnTo>
                  <a:lnTo>
                    <a:pt x="7221" y="3529"/>
                  </a:lnTo>
                  <a:lnTo>
                    <a:pt x="7231" y="3540"/>
                  </a:lnTo>
                  <a:lnTo>
                    <a:pt x="7221" y="3529"/>
                  </a:lnTo>
                  <a:lnTo>
                    <a:pt x="7238" y="3566"/>
                  </a:lnTo>
                  <a:lnTo>
                    <a:pt x="7221" y="3545"/>
                  </a:lnTo>
                  <a:lnTo>
                    <a:pt x="7231" y="3562"/>
                  </a:lnTo>
                  <a:lnTo>
                    <a:pt x="7205" y="3545"/>
                  </a:lnTo>
                  <a:lnTo>
                    <a:pt x="7221" y="3562"/>
                  </a:lnTo>
                  <a:lnTo>
                    <a:pt x="7205" y="3566"/>
                  </a:lnTo>
                  <a:lnTo>
                    <a:pt x="7200" y="3562"/>
                  </a:lnTo>
                  <a:lnTo>
                    <a:pt x="7193" y="3578"/>
                  </a:lnTo>
                  <a:lnTo>
                    <a:pt x="7176" y="3566"/>
                  </a:lnTo>
                  <a:lnTo>
                    <a:pt x="7176" y="3550"/>
                  </a:lnTo>
                  <a:lnTo>
                    <a:pt x="7167" y="3578"/>
                  </a:lnTo>
                  <a:lnTo>
                    <a:pt x="7193" y="3578"/>
                  </a:lnTo>
                  <a:lnTo>
                    <a:pt x="7205" y="3578"/>
                  </a:lnTo>
                  <a:lnTo>
                    <a:pt x="7214" y="3578"/>
                  </a:lnTo>
                  <a:lnTo>
                    <a:pt x="7221" y="3600"/>
                  </a:lnTo>
                  <a:lnTo>
                    <a:pt x="7214" y="3600"/>
                  </a:lnTo>
                  <a:lnTo>
                    <a:pt x="7221" y="3600"/>
                  </a:lnTo>
                  <a:lnTo>
                    <a:pt x="7221" y="3583"/>
                  </a:lnTo>
                  <a:lnTo>
                    <a:pt x="7231" y="3578"/>
                  </a:lnTo>
                  <a:lnTo>
                    <a:pt x="7247" y="3595"/>
                  </a:lnTo>
                  <a:lnTo>
                    <a:pt x="7238" y="3607"/>
                  </a:lnTo>
                  <a:lnTo>
                    <a:pt x="7221" y="3616"/>
                  </a:lnTo>
                  <a:lnTo>
                    <a:pt x="7214" y="3623"/>
                  </a:lnTo>
                  <a:lnTo>
                    <a:pt x="7193" y="3623"/>
                  </a:lnTo>
                  <a:lnTo>
                    <a:pt x="7183" y="3607"/>
                  </a:lnTo>
                  <a:lnTo>
                    <a:pt x="7176" y="3623"/>
                  </a:lnTo>
                  <a:lnTo>
                    <a:pt x="7150" y="3607"/>
                  </a:lnTo>
                  <a:lnTo>
                    <a:pt x="7193" y="3633"/>
                  </a:lnTo>
                  <a:lnTo>
                    <a:pt x="7176" y="3640"/>
                  </a:lnTo>
                  <a:lnTo>
                    <a:pt x="7183" y="3651"/>
                  </a:lnTo>
                  <a:lnTo>
                    <a:pt x="7167" y="3656"/>
                  </a:lnTo>
                  <a:lnTo>
                    <a:pt x="7145" y="3640"/>
                  </a:lnTo>
                  <a:lnTo>
                    <a:pt x="7150" y="3656"/>
                  </a:lnTo>
                  <a:lnTo>
                    <a:pt x="7167" y="3661"/>
                  </a:lnTo>
                  <a:lnTo>
                    <a:pt x="7193" y="3651"/>
                  </a:lnTo>
                  <a:lnTo>
                    <a:pt x="7193" y="3661"/>
                  </a:lnTo>
                  <a:lnTo>
                    <a:pt x="7200" y="3656"/>
                  </a:lnTo>
                  <a:lnTo>
                    <a:pt x="7205" y="3656"/>
                  </a:lnTo>
                  <a:lnTo>
                    <a:pt x="7200" y="3661"/>
                  </a:lnTo>
                  <a:lnTo>
                    <a:pt x="7183" y="3677"/>
                  </a:lnTo>
                  <a:lnTo>
                    <a:pt x="7176" y="3677"/>
                  </a:lnTo>
                  <a:lnTo>
                    <a:pt x="7176" y="3673"/>
                  </a:lnTo>
                  <a:lnTo>
                    <a:pt x="7145" y="3677"/>
                  </a:lnTo>
                  <a:lnTo>
                    <a:pt x="7129" y="3689"/>
                  </a:lnTo>
                  <a:lnTo>
                    <a:pt x="7124" y="3677"/>
                  </a:lnTo>
                  <a:lnTo>
                    <a:pt x="7129" y="3694"/>
                  </a:lnTo>
                  <a:lnTo>
                    <a:pt x="7108" y="3711"/>
                  </a:lnTo>
                  <a:lnTo>
                    <a:pt x="7091" y="3744"/>
                  </a:lnTo>
                  <a:lnTo>
                    <a:pt x="7086" y="3727"/>
                  </a:lnTo>
                  <a:lnTo>
                    <a:pt x="7086" y="3744"/>
                  </a:lnTo>
                  <a:lnTo>
                    <a:pt x="7042" y="3744"/>
                  </a:lnTo>
                  <a:lnTo>
                    <a:pt x="7020" y="3760"/>
                  </a:lnTo>
                  <a:lnTo>
                    <a:pt x="6999" y="3800"/>
                  </a:lnTo>
                  <a:lnTo>
                    <a:pt x="6987" y="3788"/>
                  </a:lnTo>
                  <a:lnTo>
                    <a:pt x="6999" y="3784"/>
                  </a:lnTo>
                  <a:lnTo>
                    <a:pt x="6987" y="3788"/>
                  </a:lnTo>
                  <a:lnTo>
                    <a:pt x="6999" y="3805"/>
                  </a:lnTo>
                  <a:lnTo>
                    <a:pt x="6982" y="3817"/>
                  </a:lnTo>
                  <a:lnTo>
                    <a:pt x="6978" y="3817"/>
                  </a:lnTo>
                  <a:lnTo>
                    <a:pt x="6949" y="3838"/>
                  </a:lnTo>
                  <a:lnTo>
                    <a:pt x="6945" y="3829"/>
                  </a:lnTo>
                  <a:lnTo>
                    <a:pt x="6949" y="3845"/>
                  </a:lnTo>
                  <a:lnTo>
                    <a:pt x="6923" y="3862"/>
                  </a:lnTo>
                  <a:lnTo>
                    <a:pt x="6897" y="3855"/>
                  </a:lnTo>
                  <a:lnTo>
                    <a:pt x="6907" y="3862"/>
                  </a:lnTo>
                  <a:lnTo>
                    <a:pt x="6907" y="3871"/>
                  </a:lnTo>
                  <a:lnTo>
                    <a:pt x="6897" y="3878"/>
                  </a:lnTo>
                  <a:lnTo>
                    <a:pt x="6897" y="3862"/>
                  </a:lnTo>
                  <a:lnTo>
                    <a:pt x="6890" y="3871"/>
                  </a:lnTo>
                  <a:lnTo>
                    <a:pt x="6881" y="3855"/>
                  </a:lnTo>
                  <a:lnTo>
                    <a:pt x="6897" y="3878"/>
                  </a:lnTo>
                  <a:lnTo>
                    <a:pt x="6881" y="3883"/>
                  </a:lnTo>
                  <a:lnTo>
                    <a:pt x="6881" y="3895"/>
                  </a:lnTo>
                  <a:lnTo>
                    <a:pt x="6881" y="3900"/>
                  </a:lnTo>
                  <a:lnTo>
                    <a:pt x="6869" y="3916"/>
                  </a:lnTo>
                  <a:lnTo>
                    <a:pt x="6860" y="3933"/>
                  </a:lnTo>
                  <a:lnTo>
                    <a:pt x="6853" y="3933"/>
                  </a:lnTo>
                  <a:lnTo>
                    <a:pt x="6860" y="3937"/>
                  </a:lnTo>
                  <a:lnTo>
                    <a:pt x="6853" y="3956"/>
                  </a:lnTo>
                  <a:lnTo>
                    <a:pt x="6836" y="3966"/>
                  </a:lnTo>
                  <a:lnTo>
                    <a:pt x="6843" y="3973"/>
                  </a:lnTo>
                  <a:lnTo>
                    <a:pt x="6836" y="3989"/>
                  </a:lnTo>
                  <a:lnTo>
                    <a:pt x="6853" y="4077"/>
                  </a:lnTo>
                  <a:lnTo>
                    <a:pt x="6874" y="4122"/>
                  </a:lnTo>
                  <a:lnTo>
                    <a:pt x="6907" y="4171"/>
                  </a:lnTo>
                  <a:lnTo>
                    <a:pt x="6897" y="4192"/>
                  </a:lnTo>
                  <a:lnTo>
                    <a:pt x="6912" y="4225"/>
                  </a:lnTo>
                  <a:lnTo>
                    <a:pt x="6897" y="4192"/>
                  </a:lnTo>
                  <a:lnTo>
                    <a:pt x="6897" y="4159"/>
                  </a:lnTo>
                  <a:lnTo>
                    <a:pt x="6890" y="4159"/>
                  </a:lnTo>
                  <a:lnTo>
                    <a:pt x="6890" y="4155"/>
                  </a:lnTo>
                  <a:lnTo>
                    <a:pt x="6881" y="4155"/>
                  </a:lnTo>
                  <a:lnTo>
                    <a:pt x="6890" y="4176"/>
                  </a:lnTo>
                  <a:lnTo>
                    <a:pt x="6935" y="4303"/>
                  </a:lnTo>
                  <a:lnTo>
                    <a:pt x="6928" y="4377"/>
                  </a:lnTo>
                  <a:lnTo>
                    <a:pt x="6923" y="4398"/>
                  </a:lnTo>
                  <a:lnTo>
                    <a:pt x="6912" y="4431"/>
                  </a:lnTo>
                  <a:lnTo>
                    <a:pt x="6907" y="4426"/>
                  </a:lnTo>
                  <a:lnTo>
                    <a:pt x="6869" y="4431"/>
                  </a:lnTo>
                  <a:lnTo>
                    <a:pt x="6860" y="4426"/>
                  </a:lnTo>
                  <a:lnTo>
                    <a:pt x="6874" y="4431"/>
                  </a:lnTo>
                  <a:lnTo>
                    <a:pt x="6874" y="4426"/>
                  </a:lnTo>
                  <a:lnTo>
                    <a:pt x="6860" y="4414"/>
                  </a:lnTo>
                  <a:lnTo>
                    <a:pt x="6853" y="4381"/>
                  </a:lnTo>
                  <a:lnTo>
                    <a:pt x="6822" y="4370"/>
                  </a:lnTo>
                  <a:lnTo>
                    <a:pt x="6815" y="4327"/>
                  </a:lnTo>
                  <a:lnTo>
                    <a:pt x="6805" y="4327"/>
                  </a:lnTo>
                  <a:lnTo>
                    <a:pt x="6822" y="4315"/>
                  </a:lnTo>
                  <a:lnTo>
                    <a:pt x="6805" y="4327"/>
                  </a:lnTo>
                  <a:lnTo>
                    <a:pt x="6798" y="4327"/>
                  </a:lnTo>
                  <a:lnTo>
                    <a:pt x="6798" y="4299"/>
                  </a:lnTo>
                  <a:lnTo>
                    <a:pt x="6789" y="4299"/>
                  </a:lnTo>
                  <a:lnTo>
                    <a:pt x="6789" y="4303"/>
                  </a:lnTo>
                  <a:lnTo>
                    <a:pt x="6784" y="4303"/>
                  </a:lnTo>
                  <a:lnTo>
                    <a:pt x="6760" y="4261"/>
                  </a:lnTo>
                  <a:lnTo>
                    <a:pt x="6772" y="4225"/>
                  </a:lnTo>
                  <a:lnTo>
                    <a:pt x="6772" y="4216"/>
                  </a:lnTo>
                  <a:lnTo>
                    <a:pt x="6751" y="4209"/>
                  </a:lnTo>
                  <a:lnTo>
                    <a:pt x="6751" y="4216"/>
                  </a:lnTo>
                  <a:lnTo>
                    <a:pt x="6760" y="4225"/>
                  </a:lnTo>
                  <a:lnTo>
                    <a:pt x="6751" y="4244"/>
                  </a:lnTo>
                  <a:lnTo>
                    <a:pt x="6746" y="4225"/>
                  </a:lnTo>
                  <a:lnTo>
                    <a:pt x="6760" y="4176"/>
                  </a:lnTo>
                  <a:lnTo>
                    <a:pt x="6760" y="4150"/>
                  </a:lnTo>
                  <a:lnTo>
                    <a:pt x="6746" y="4122"/>
                  </a:lnTo>
                  <a:lnTo>
                    <a:pt x="6730" y="4117"/>
                  </a:lnTo>
                  <a:lnTo>
                    <a:pt x="6708" y="4093"/>
                  </a:lnTo>
                  <a:lnTo>
                    <a:pt x="6708" y="4081"/>
                  </a:lnTo>
                  <a:lnTo>
                    <a:pt x="6680" y="4060"/>
                  </a:lnTo>
                  <a:lnTo>
                    <a:pt x="6659" y="4048"/>
                  </a:lnTo>
                  <a:lnTo>
                    <a:pt x="6642" y="4048"/>
                  </a:lnTo>
                  <a:lnTo>
                    <a:pt x="6626" y="4060"/>
                  </a:lnTo>
                  <a:lnTo>
                    <a:pt x="6638" y="4065"/>
                  </a:lnTo>
                  <a:lnTo>
                    <a:pt x="6626" y="4060"/>
                  </a:lnTo>
                  <a:lnTo>
                    <a:pt x="6600" y="4077"/>
                  </a:lnTo>
                  <a:lnTo>
                    <a:pt x="6567" y="4081"/>
                  </a:lnTo>
                  <a:lnTo>
                    <a:pt x="6567" y="4065"/>
                  </a:lnTo>
                  <a:lnTo>
                    <a:pt x="6567" y="4081"/>
                  </a:lnTo>
                  <a:lnTo>
                    <a:pt x="6567" y="4065"/>
                  </a:lnTo>
                  <a:lnTo>
                    <a:pt x="6545" y="4048"/>
                  </a:lnTo>
                  <a:lnTo>
                    <a:pt x="6567" y="4048"/>
                  </a:lnTo>
                  <a:lnTo>
                    <a:pt x="6545" y="4044"/>
                  </a:lnTo>
                  <a:lnTo>
                    <a:pt x="6534" y="4039"/>
                  </a:lnTo>
                  <a:lnTo>
                    <a:pt x="6545" y="4044"/>
                  </a:lnTo>
                  <a:lnTo>
                    <a:pt x="6496" y="4027"/>
                  </a:lnTo>
                  <a:lnTo>
                    <a:pt x="6512" y="4027"/>
                  </a:lnTo>
                  <a:lnTo>
                    <a:pt x="6503" y="4022"/>
                  </a:lnTo>
                  <a:lnTo>
                    <a:pt x="6437" y="4027"/>
                  </a:lnTo>
                  <a:lnTo>
                    <a:pt x="6458" y="4022"/>
                  </a:lnTo>
                  <a:lnTo>
                    <a:pt x="6442" y="4011"/>
                  </a:lnTo>
                  <a:lnTo>
                    <a:pt x="6427" y="4027"/>
                  </a:lnTo>
                  <a:lnTo>
                    <a:pt x="6411" y="4039"/>
                  </a:lnTo>
                  <a:lnTo>
                    <a:pt x="6427" y="4022"/>
                  </a:lnTo>
                  <a:lnTo>
                    <a:pt x="6420" y="4022"/>
                  </a:lnTo>
                  <a:lnTo>
                    <a:pt x="6411" y="4039"/>
                  </a:lnTo>
                  <a:lnTo>
                    <a:pt x="6382" y="4039"/>
                  </a:lnTo>
                  <a:lnTo>
                    <a:pt x="6394" y="4039"/>
                  </a:lnTo>
                  <a:lnTo>
                    <a:pt x="6390" y="4022"/>
                  </a:lnTo>
                  <a:lnTo>
                    <a:pt x="6390" y="4006"/>
                  </a:lnTo>
                  <a:lnTo>
                    <a:pt x="6382" y="4006"/>
                  </a:lnTo>
                  <a:lnTo>
                    <a:pt x="6373" y="4027"/>
                  </a:lnTo>
                  <a:lnTo>
                    <a:pt x="6357" y="4027"/>
                  </a:lnTo>
                  <a:lnTo>
                    <a:pt x="6352" y="4027"/>
                  </a:lnTo>
                  <a:lnTo>
                    <a:pt x="6314" y="4022"/>
                  </a:lnTo>
                  <a:lnTo>
                    <a:pt x="6276" y="4044"/>
                  </a:lnTo>
                  <a:lnTo>
                    <a:pt x="6227" y="4027"/>
                  </a:lnTo>
                  <a:lnTo>
                    <a:pt x="6210" y="4044"/>
                  </a:lnTo>
                  <a:lnTo>
                    <a:pt x="6210" y="4048"/>
                  </a:lnTo>
                  <a:lnTo>
                    <a:pt x="6227" y="4048"/>
                  </a:lnTo>
                  <a:lnTo>
                    <a:pt x="6264" y="4044"/>
                  </a:lnTo>
                  <a:lnTo>
                    <a:pt x="6248" y="4048"/>
                  </a:lnTo>
                  <a:lnTo>
                    <a:pt x="6264" y="4065"/>
                  </a:lnTo>
                  <a:lnTo>
                    <a:pt x="6281" y="4048"/>
                  </a:lnTo>
                  <a:lnTo>
                    <a:pt x="6286" y="4065"/>
                  </a:lnTo>
                  <a:lnTo>
                    <a:pt x="6281" y="4077"/>
                  </a:lnTo>
                  <a:lnTo>
                    <a:pt x="6281" y="4065"/>
                  </a:lnTo>
                  <a:lnTo>
                    <a:pt x="6260" y="4081"/>
                  </a:lnTo>
                  <a:lnTo>
                    <a:pt x="6314" y="4122"/>
                  </a:lnTo>
                  <a:lnTo>
                    <a:pt x="6302" y="4133"/>
                  </a:lnTo>
                  <a:lnTo>
                    <a:pt x="6297" y="4133"/>
                  </a:lnTo>
                  <a:lnTo>
                    <a:pt x="6281" y="4138"/>
                  </a:lnTo>
                  <a:lnTo>
                    <a:pt x="6286" y="4122"/>
                  </a:lnTo>
                  <a:lnTo>
                    <a:pt x="6281" y="4133"/>
                  </a:lnTo>
                  <a:lnTo>
                    <a:pt x="6281" y="4117"/>
                  </a:lnTo>
                  <a:lnTo>
                    <a:pt x="6260" y="4105"/>
                  </a:lnTo>
                  <a:lnTo>
                    <a:pt x="6260" y="4100"/>
                  </a:lnTo>
                  <a:lnTo>
                    <a:pt x="6227" y="4093"/>
                  </a:lnTo>
                  <a:lnTo>
                    <a:pt x="6227" y="4100"/>
                  </a:lnTo>
                  <a:lnTo>
                    <a:pt x="6243" y="4100"/>
                  </a:lnTo>
                  <a:lnTo>
                    <a:pt x="6231" y="4122"/>
                  </a:lnTo>
                  <a:lnTo>
                    <a:pt x="6227" y="4133"/>
                  </a:lnTo>
                  <a:lnTo>
                    <a:pt x="6222" y="4117"/>
                  </a:lnTo>
                  <a:lnTo>
                    <a:pt x="6210" y="4105"/>
                  </a:lnTo>
                  <a:lnTo>
                    <a:pt x="6189" y="4122"/>
                  </a:lnTo>
                  <a:lnTo>
                    <a:pt x="6151" y="4117"/>
                  </a:lnTo>
                  <a:lnTo>
                    <a:pt x="6151" y="4105"/>
                  </a:lnTo>
                  <a:lnTo>
                    <a:pt x="6156" y="4105"/>
                  </a:lnTo>
                  <a:lnTo>
                    <a:pt x="6156" y="4117"/>
                  </a:lnTo>
                  <a:lnTo>
                    <a:pt x="6168" y="4105"/>
                  </a:lnTo>
                  <a:lnTo>
                    <a:pt x="6134" y="4093"/>
                  </a:lnTo>
                  <a:lnTo>
                    <a:pt x="6125" y="4077"/>
                  </a:lnTo>
                  <a:lnTo>
                    <a:pt x="6113" y="4065"/>
                  </a:lnTo>
                  <a:lnTo>
                    <a:pt x="6087" y="4077"/>
                  </a:lnTo>
                  <a:lnTo>
                    <a:pt x="6097" y="4081"/>
                  </a:lnTo>
                  <a:lnTo>
                    <a:pt x="6080" y="4093"/>
                  </a:lnTo>
                  <a:lnTo>
                    <a:pt x="6012" y="4077"/>
                  </a:lnTo>
                  <a:lnTo>
                    <a:pt x="5974" y="4077"/>
                  </a:lnTo>
                  <a:lnTo>
                    <a:pt x="5962" y="4065"/>
                  </a:lnTo>
                  <a:lnTo>
                    <a:pt x="5979" y="4060"/>
                  </a:lnTo>
                  <a:lnTo>
                    <a:pt x="5974" y="4060"/>
                  </a:lnTo>
                  <a:lnTo>
                    <a:pt x="5962" y="4065"/>
                  </a:lnTo>
                  <a:lnTo>
                    <a:pt x="5974" y="4081"/>
                  </a:lnTo>
                  <a:lnTo>
                    <a:pt x="5950" y="4081"/>
                  </a:lnTo>
                  <a:lnTo>
                    <a:pt x="5903" y="4105"/>
                  </a:lnTo>
                  <a:lnTo>
                    <a:pt x="5924" y="4093"/>
                  </a:lnTo>
                  <a:lnTo>
                    <a:pt x="5903" y="4093"/>
                  </a:lnTo>
                  <a:lnTo>
                    <a:pt x="5908" y="4077"/>
                  </a:lnTo>
                  <a:lnTo>
                    <a:pt x="5886" y="4077"/>
                  </a:lnTo>
                  <a:lnTo>
                    <a:pt x="5898" y="4105"/>
                  </a:lnTo>
                  <a:lnTo>
                    <a:pt x="5882" y="4133"/>
                  </a:lnTo>
                  <a:lnTo>
                    <a:pt x="5799" y="4176"/>
                  </a:lnTo>
                  <a:lnTo>
                    <a:pt x="5816" y="4159"/>
                  </a:lnTo>
                  <a:lnTo>
                    <a:pt x="5799" y="4171"/>
                  </a:lnTo>
                  <a:lnTo>
                    <a:pt x="5811" y="4159"/>
                  </a:lnTo>
                  <a:lnTo>
                    <a:pt x="5790" y="4155"/>
                  </a:lnTo>
                  <a:lnTo>
                    <a:pt x="5794" y="4159"/>
                  </a:lnTo>
                  <a:lnTo>
                    <a:pt x="5790" y="4159"/>
                  </a:lnTo>
                  <a:lnTo>
                    <a:pt x="5773" y="4155"/>
                  </a:lnTo>
                  <a:lnTo>
                    <a:pt x="5778" y="4171"/>
                  </a:lnTo>
                  <a:lnTo>
                    <a:pt x="5794" y="4176"/>
                  </a:lnTo>
                  <a:lnTo>
                    <a:pt x="5773" y="4188"/>
                  </a:lnTo>
                  <a:lnTo>
                    <a:pt x="5761" y="4176"/>
                  </a:lnTo>
                  <a:lnTo>
                    <a:pt x="5761" y="4192"/>
                  </a:lnTo>
                  <a:lnTo>
                    <a:pt x="5757" y="4204"/>
                  </a:lnTo>
                  <a:lnTo>
                    <a:pt x="5740" y="4204"/>
                  </a:lnTo>
                  <a:lnTo>
                    <a:pt x="5735" y="4209"/>
                  </a:lnTo>
                  <a:lnTo>
                    <a:pt x="5747" y="4209"/>
                  </a:lnTo>
                  <a:lnTo>
                    <a:pt x="5740" y="4225"/>
                  </a:lnTo>
                  <a:lnTo>
                    <a:pt x="5709" y="4225"/>
                  </a:lnTo>
                  <a:lnTo>
                    <a:pt x="5735" y="4244"/>
                  </a:lnTo>
                  <a:lnTo>
                    <a:pt x="5719" y="4266"/>
                  </a:lnTo>
                  <a:lnTo>
                    <a:pt x="5709" y="4266"/>
                  </a:lnTo>
                  <a:lnTo>
                    <a:pt x="5693" y="4261"/>
                  </a:lnTo>
                  <a:lnTo>
                    <a:pt x="5702" y="4270"/>
                  </a:lnTo>
                  <a:lnTo>
                    <a:pt x="5719" y="4266"/>
                  </a:lnTo>
                  <a:lnTo>
                    <a:pt x="5709" y="4303"/>
                  </a:lnTo>
                  <a:lnTo>
                    <a:pt x="5735" y="4370"/>
                  </a:lnTo>
                  <a:lnTo>
                    <a:pt x="5740" y="4360"/>
                  </a:lnTo>
                  <a:lnTo>
                    <a:pt x="5740" y="4370"/>
                  </a:lnTo>
                  <a:lnTo>
                    <a:pt x="5719" y="4377"/>
                  </a:lnTo>
                  <a:lnTo>
                    <a:pt x="5702" y="4370"/>
                  </a:lnTo>
                  <a:lnTo>
                    <a:pt x="5664" y="4360"/>
                  </a:lnTo>
                  <a:lnTo>
                    <a:pt x="5648" y="4353"/>
                  </a:lnTo>
                  <a:lnTo>
                    <a:pt x="5601" y="4337"/>
                  </a:lnTo>
                  <a:lnTo>
                    <a:pt x="5596" y="4303"/>
                  </a:lnTo>
                  <a:lnTo>
                    <a:pt x="5579" y="4287"/>
                  </a:lnTo>
                  <a:lnTo>
                    <a:pt x="5572" y="4249"/>
                  </a:lnTo>
                  <a:lnTo>
                    <a:pt x="5546" y="4233"/>
                  </a:lnTo>
                  <a:lnTo>
                    <a:pt x="5530" y="4204"/>
                  </a:lnTo>
                  <a:lnTo>
                    <a:pt x="5520" y="4192"/>
                  </a:lnTo>
                  <a:lnTo>
                    <a:pt x="5492" y="4122"/>
                  </a:lnTo>
                  <a:lnTo>
                    <a:pt x="5449" y="4081"/>
                  </a:lnTo>
                  <a:lnTo>
                    <a:pt x="5438" y="4077"/>
                  </a:lnTo>
                  <a:lnTo>
                    <a:pt x="5395" y="4077"/>
                  </a:lnTo>
                  <a:lnTo>
                    <a:pt x="5379" y="4065"/>
                  </a:lnTo>
                  <a:lnTo>
                    <a:pt x="5357" y="4077"/>
                  </a:lnTo>
                  <a:lnTo>
                    <a:pt x="5341" y="4117"/>
                  </a:lnTo>
                  <a:lnTo>
                    <a:pt x="5315" y="4138"/>
                  </a:lnTo>
                  <a:lnTo>
                    <a:pt x="5303" y="4133"/>
                  </a:lnTo>
                  <a:lnTo>
                    <a:pt x="5256" y="4105"/>
                  </a:lnTo>
                  <a:lnTo>
                    <a:pt x="5223" y="4081"/>
                  </a:lnTo>
                  <a:lnTo>
                    <a:pt x="5206" y="4060"/>
                  </a:lnTo>
                  <a:lnTo>
                    <a:pt x="5206" y="4044"/>
                  </a:lnTo>
                  <a:lnTo>
                    <a:pt x="5194" y="4011"/>
                  </a:lnTo>
                  <a:lnTo>
                    <a:pt x="5097" y="3937"/>
                  </a:lnTo>
                  <a:lnTo>
                    <a:pt x="5093" y="3916"/>
                  </a:lnTo>
                  <a:lnTo>
                    <a:pt x="4963" y="3916"/>
                  </a:lnTo>
                  <a:lnTo>
                    <a:pt x="4963" y="3949"/>
                  </a:lnTo>
                  <a:lnTo>
                    <a:pt x="4764" y="3949"/>
                  </a:lnTo>
                  <a:lnTo>
                    <a:pt x="4500" y="3855"/>
                  </a:lnTo>
                  <a:lnTo>
                    <a:pt x="4505" y="3838"/>
                  </a:lnTo>
                  <a:lnTo>
                    <a:pt x="4337" y="3855"/>
                  </a:lnTo>
                  <a:lnTo>
                    <a:pt x="4325" y="3838"/>
                  </a:lnTo>
                  <a:lnTo>
                    <a:pt x="4337" y="3845"/>
                  </a:lnTo>
                  <a:lnTo>
                    <a:pt x="4325" y="3845"/>
                  </a:lnTo>
                  <a:lnTo>
                    <a:pt x="4325" y="3822"/>
                  </a:lnTo>
                  <a:lnTo>
                    <a:pt x="4316" y="3788"/>
                  </a:lnTo>
                  <a:lnTo>
                    <a:pt x="4266" y="3760"/>
                  </a:lnTo>
                  <a:lnTo>
                    <a:pt x="4249" y="3760"/>
                  </a:lnTo>
                  <a:lnTo>
                    <a:pt x="4235" y="3734"/>
                  </a:lnTo>
                  <a:lnTo>
                    <a:pt x="4197" y="3727"/>
                  </a:lnTo>
                  <a:lnTo>
                    <a:pt x="4164" y="3706"/>
                  </a:lnTo>
                  <a:lnTo>
                    <a:pt x="4105" y="3706"/>
                  </a:lnTo>
                  <a:lnTo>
                    <a:pt x="4089" y="3689"/>
                  </a:lnTo>
                  <a:lnTo>
                    <a:pt x="4098" y="3651"/>
                  </a:lnTo>
                  <a:lnTo>
                    <a:pt x="4072" y="3640"/>
                  </a:lnTo>
                  <a:lnTo>
                    <a:pt x="4072" y="3616"/>
                  </a:lnTo>
                  <a:lnTo>
                    <a:pt x="4001" y="3545"/>
                  </a:lnTo>
                  <a:lnTo>
                    <a:pt x="3997" y="3524"/>
                  </a:lnTo>
                  <a:lnTo>
                    <a:pt x="4013" y="3524"/>
                  </a:lnTo>
                  <a:lnTo>
                    <a:pt x="4013" y="3496"/>
                  </a:lnTo>
                  <a:lnTo>
                    <a:pt x="4001" y="3488"/>
                  </a:lnTo>
                  <a:lnTo>
                    <a:pt x="3980" y="3488"/>
                  </a:lnTo>
                  <a:lnTo>
                    <a:pt x="3964" y="3472"/>
                  </a:lnTo>
                  <a:lnTo>
                    <a:pt x="3964" y="3455"/>
                  </a:lnTo>
                  <a:lnTo>
                    <a:pt x="3959" y="3451"/>
                  </a:lnTo>
                  <a:lnTo>
                    <a:pt x="3959" y="3429"/>
                  </a:lnTo>
                  <a:lnTo>
                    <a:pt x="3964" y="3429"/>
                  </a:lnTo>
                  <a:lnTo>
                    <a:pt x="3975" y="3439"/>
                  </a:lnTo>
                  <a:lnTo>
                    <a:pt x="3997" y="3451"/>
                  </a:lnTo>
                  <a:lnTo>
                    <a:pt x="3964" y="3413"/>
                  </a:lnTo>
                  <a:lnTo>
                    <a:pt x="3980" y="3401"/>
                  </a:lnTo>
                  <a:lnTo>
                    <a:pt x="4018" y="3413"/>
                  </a:lnTo>
                  <a:lnTo>
                    <a:pt x="4030" y="3401"/>
                  </a:lnTo>
                  <a:lnTo>
                    <a:pt x="4034" y="3413"/>
                  </a:lnTo>
                  <a:lnTo>
                    <a:pt x="4030" y="3401"/>
                  </a:lnTo>
                  <a:lnTo>
                    <a:pt x="4013" y="3401"/>
                  </a:lnTo>
                  <a:lnTo>
                    <a:pt x="3997" y="3396"/>
                  </a:lnTo>
                  <a:lnTo>
                    <a:pt x="3992" y="3401"/>
                  </a:lnTo>
                  <a:lnTo>
                    <a:pt x="3975" y="3396"/>
                  </a:lnTo>
                  <a:lnTo>
                    <a:pt x="3964" y="3396"/>
                  </a:lnTo>
                  <a:lnTo>
                    <a:pt x="3964" y="3418"/>
                  </a:lnTo>
                  <a:lnTo>
                    <a:pt x="3959" y="3429"/>
                  </a:lnTo>
                  <a:lnTo>
                    <a:pt x="3938" y="3401"/>
                  </a:lnTo>
                  <a:lnTo>
                    <a:pt x="3926" y="3413"/>
                  </a:lnTo>
                  <a:lnTo>
                    <a:pt x="3926" y="3385"/>
                  </a:lnTo>
                  <a:lnTo>
                    <a:pt x="3942" y="3401"/>
                  </a:lnTo>
                  <a:lnTo>
                    <a:pt x="3921" y="3373"/>
                  </a:lnTo>
                  <a:lnTo>
                    <a:pt x="3871" y="3328"/>
                  </a:lnTo>
                  <a:lnTo>
                    <a:pt x="3871" y="3262"/>
                  </a:lnTo>
                  <a:lnTo>
                    <a:pt x="3850" y="3229"/>
                  </a:lnTo>
                  <a:lnTo>
                    <a:pt x="3834" y="3219"/>
                  </a:lnTo>
                  <a:lnTo>
                    <a:pt x="3829" y="3207"/>
                  </a:lnTo>
                  <a:lnTo>
                    <a:pt x="3841" y="3174"/>
                  </a:lnTo>
                  <a:lnTo>
                    <a:pt x="3850" y="3118"/>
                  </a:lnTo>
                  <a:lnTo>
                    <a:pt x="3841" y="3085"/>
                  </a:lnTo>
                  <a:lnTo>
                    <a:pt x="3841" y="3068"/>
                  </a:lnTo>
                  <a:lnTo>
                    <a:pt x="3829" y="3047"/>
                  </a:lnTo>
                  <a:lnTo>
                    <a:pt x="3829" y="3014"/>
                  </a:lnTo>
                  <a:lnTo>
                    <a:pt x="3817" y="2990"/>
                  </a:lnTo>
                  <a:lnTo>
                    <a:pt x="3829" y="2952"/>
                  </a:lnTo>
                  <a:lnTo>
                    <a:pt x="3841" y="2952"/>
                  </a:lnTo>
                  <a:lnTo>
                    <a:pt x="3841" y="2940"/>
                  </a:lnTo>
                  <a:lnTo>
                    <a:pt x="3834" y="2940"/>
                  </a:lnTo>
                  <a:lnTo>
                    <a:pt x="3850" y="2919"/>
                  </a:lnTo>
                  <a:lnTo>
                    <a:pt x="3850" y="2813"/>
                  </a:lnTo>
                  <a:lnTo>
                    <a:pt x="3855" y="2792"/>
                  </a:lnTo>
                  <a:lnTo>
                    <a:pt x="3855" y="2759"/>
                  </a:lnTo>
                  <a:lnTo>
                    <a:pt x="3867" y="2759"/>
                  </a:lnTo>
                  <a:lnTo>
                    <a:pt x="3855" y="2697"/>
                  </a:lnTo>
                  <a:lnTo>
                    <a:pt x="3888" y="2692"/>
                  </a:lnTo>
                  <a:lnTo>
                    <a:pt x="3905" y="2702"/>
                  </a:lnTo>
                  <a:lnTo>
                    <a:pt x="3909" y="2697"/>
                  </a:lnTo>
                  <a:lnTo>
                    <a:pt x="3855" y="2692"/>
                  </a:lnTo>
                  <a:lnTo>
                    <a:pt x="3850" y="2659"/>
                  </a:lnTo>
                  <a:lnTo>
                    <a:pt x="3855" y="2681"/>
                  </a:lnTo>
                  <a:lnTo>
                    <a:pt x="3867" y="2664"/>
                  </a:lnTo>
                  <a:lnTo>
                    <a:pt x="3855" y="2659"/>
                  </a:lnTo>
                  <a:lnTo>
                    <a:pt x="3871" y="2648"/>
                  </a:lnTo>
                  <a:lnTo>
                    <a:pt x="3850" y="2648"/>
                  </a:lnTo>
                  <a:lnTo>
                    <a:pt x="3850" y="2643"/>
                  </a:lnTo>
                  <a:lnTo>
                    <a:pt x="3871" y="2626"/>
                  </a:lnTo>
                  <a:lnTo>
                    <a:pt x="3850" y="2619"/>
                  </a:lnTo>
                  <a:lnTo>
                    <a:pt x="3841" y="2636"/>
                  </a:lnTo>
                  <a:lnTo>
                    <a:pt x="3829" y="2565"/>
                  </a:lnTo>
                  <a:lnTo>
                    <a:pt x="3812" y="2532"/>
                  </a:lnTo>
                  <a:lnTo>
                    <a:pt x="3803" y="2499"/>
                  </a:lnTo>
                  <a:lnTo>
                    <a:pt x="3855" y="2515"/>
                  </a:lnTo>
                  <a:lnTo>
                    <a:pt x="3905" y="2525"/>
                  </a:lnTo>
                  <a:lnTo>
                    <a:pt x="3921" y="2515"/>
                  </a:lnTo>
                  <a:lnTo>
                    <a:pt x="3938" y="2525"/>
                  </a:lnTo>
                  <a:lnTo>
                    <a:pt x="3942" y="2515"/>
                  </a:lnTo>
                  <a:lnTo>
                    <a:pt x="3942" y="2525"/>
                  </a:lnTo>
                  <a:lnTo>
                    <a:pt x="3947" y="2537"/>
                  </a:lnTo>
                  <a:lnTo>
                    <a:pt x="3942" y="2553"/>
                  </a:lnTo>
                  <a:lnTo>
                    <a:pt x="3938" y="2548"/>
                  </a:lnTo>
                  <a:lnTo>
                    <a:pt x="3909" y="2591"/>
                  </a:lnTo>
                  <a:lnTo>
                    <a:pt x="3938" y="2586"/>
                  </a:lnTo>
                  <a:lnTo>
                    <a:pt x="3921" y="2586"/>
                  </a:lnTo>
                  <a:lnTo>
                    <a:pt x="3959" y="2537"/>
                  </a:lnTo>
                  <a:lnTo>
                    <a:pt x="3964" y="2553"/>
                  </a:lnTo>
                  <a:lnTo>
                    <a:pt x="3947" y="2565"/>
                  </a:lnTo>
                  <a:lnTo>
                    <a:pt x="3947" y="2570"/>
                  </a:lnTo>
                  <a:lnTo>
                    <a:pt x="3947" y="2565"/>
                  </a:lnTo>
                  <a:lnTo>
                    <a:pt x="3947" y="2581"/>
                  </a:lnTo>
                  <a:lnTo>
                    <a:pt x="3959" y="2570"/>
                  </a:lnTo>
                  <a:lnTo>
                    <a:pt x="3959" y="2603"/>
                  </a:lnTo>
                  <a:lnTo>
                    <a:pt x="3947" y="2591"/>
                  </a:lnTo>
                  <a:lnTo>
                    <a:pt x="3947" y="2586"/>
                  </a:lnTo>
                  <a:lnTo>
                    <a:pt x="3942" y="2610"/>
                  </a:lnTo>
                  <a:lnTo>
                    <a:pt x="3942" y="2586"/>
                  </a:lnTo>
                  <a:lnTo>
                    <a:pt x="3921" y="2610"/>
                  </a:lnTo>
                  <a:lnTo>
                    <a:pt x="3938" y="2619"/>
                  </a:lnTo>
                  <a:lnTo>
                    <a:pt x="3938" y="2610"/>
                  </a:lnTo>
                  <a:lnTo>
                    <a:pt x="3942" y="2619"/>
                  </a:lnTo>
                  <a:lnTo>
                    <a:pt x="3975" y="2586"/>
                  </a:lnTo>
                  <a:lnTo>
                    <a:pt x="3964" y="2565"/>
                  </a:lnTo>
                  <a:lnTo>
                    <a:pt x="3975" y="2537"/>
                  </a:lnTo>
                  <a:lnTo>
                    <a:pt x="3975" y="2532"/>
                  </a:lnTo>
                  <a:lnTo>
                    <a:pt x="3964" y="2515"/>
                  </a:lnTo>
                  <a:lnTo>
                    <a:pt x="3964" y="2525"/>
                  </a:lnTo>
                  <a:lnTo>
                    <a:pt x="3959" y="2515"/>
                  </a:lnTo>
                  <a:lnTo>
                    <a:pt x="3964" y="2508"/>
                  </a:lnTo>
                  <a:lnTo>
                    <a:pt x="3942" y="2492"/>
                  </a:lnTo>
                  <a:lnTo>
                    <a:pt x="3959" y="2492"/>
                  </a:lnTo>
                  <a:lnTo>
                    <a:pt x="3964" y="2475"/>
                  </a:lnTo>
                  <a:lnTo>
                    <a:pt x="3959" y="2470"/>
                  </a:lnTo>
                  <a:lnTo>
                    <a:pt x="3947" y="2459"/>
                  </a:lnTo>
                  <a:lnTo>
                    <a:pt x="3942" y="2454"/>
                  </a:lnTo>
                  <a:lnTo>
                    <a:pt x="3942" y="2442"/>
                  </a:lnTo>
                  <a:lnTo>
                    <a:pt x="3942" y="2442"/>
                  </a:lnTo>
                  <a:lnTo>
                    <a:pt x="3942" y="2442"/>
                  </a:lnTo>
                  <a:close/>
                  <a:moveTo>
                    <a:pt x="3938" y="2470"/>
                  </a:moveTo>
                  <a:lnTo>
                    <a:pt x="3942" y="2475"/>
                  </a:lnTo>
                  <a:lnTo>
                    <a:pt x="3926" y="2475"/>
                  </a:lnTo>
                  <a:lnTo>
                    <a:pt x="3938" y="2470"/>
                  </a:lnTo>
                  <a:lnTo>
                    <a:pt x="3938" y="2470"/>
                  </a:lnTo>
                  <a:lnTo>
                    <a:pt x="3938" y="2470"/>
                  </a:lnTo>
                  <a:close/>
                  <a:moveTo>
                    <a:pt x="3921" y="2475"/>
                  </a:moveTo>
                  <a:lnTo>
                    <a:pt x="3926" y="2492"/>
                  </a:lnTo>
                  <a:lnTo>
                    <a:pt x="3909" y="2492"/>
                  </a:lnTo>
                  <a:lnTo>
                    <a:pt x="3909" y="2475"/>
                  </a:lnTo>
                  <a:lnTo>
                    <a:pt x="3921" y="2475"/>
                  </a:lnTo>
                  <a:lnTo>
                    <a:pt x="3921" y="2475"/>
                  </a:lnTo>
                  <a:lnTo>
                    <a:pt x="3921" y="2475"/>
                  </a:lnTo>
                  <a:close/>
                  <a:moveTo>
                    <a:pt x="3938" y="2482"/>
                  </a:moveTo>
                  <a:lnTo>
                    <a:pt x="3938" y="2492"/>
                  </a:lnTo>
                  <a:lnTo>
                    <a:pt x="3926" y="2492"/>
                  </a:lnTo>
                  <a:lnTo>
                    <a:pt x="3938" y="2482"/>
                  </a:lnTo>
                  <a:lnTo>
                    <a:pt x="3938" y="2482"/>
                  </a:lnTo>
                  <a:lnTo>
                    <a:pt x="3938" y="2482"/>
                  </a:lnTo>
                  <a:close/>
                  <a:moveTo>
                    <a:pt x="3959" y="2499"/>
                  </a:moveTo>
                  <a:lnTo>
                    <a:pt x="3959" y="2508"/>
                  </a:lnTo>
                  <a:lnTo>
                    <a:pt x="3947" y="2515"/>
                  </a:lnTo>
                  <a:lnTo>
                    <a:pt x="3975" y="2532"/>
                  </a:lnTo>
                  <a:lnTo>
                    <a:pt x="3964" y="2537"/>
                  </a:lnTo>
                  <a:lnTo>
                    <a:pt x="3942" y="2515"/>
                  </a:lnTo>
                  <a:lnTo>
                    <a:pt x="3959" y="2499"/>
                  </a:lnTo>
                  <a:lnTo>
                    <a:pt x="3959" y="2499"/>
                  </a:lnTo>
                  <a:lnTo>
                    <a:pt x="3959" y="2499"/>
                  </a:lnTo>
                  <a:close/>
                  <a:moveTo>
                    <a:pt x="3959" y="2565"/>
                  </a:moveTo>
                  <a:lnTo>
                    <a:pt x="3959" y="2570"/>
                  </a:lnTo>
                  <a:lnTo>
                    <a:pt x="3959" y="2565"/>
                  </a:lnTo>
                  <a:lnTo>
                    <a:pt x="3959" y="2565"/>
                  </a:lnTo>
                  <a:lnTo>
                    <a:pt x="3959" y="2565"/>
                  </a:lnTo>
                  <a:close/>
                  <a:moveTo>
                    <a:pt x="3964" y="2586"/>
                  </a:moveTo>
                  <a:lnTo>
                    <a:pt x="3959" y="2591"/>
                  </a:lnTo>
                  <a:lnTo>
                    <a:pt x="3964" y="2581"/>
                  </a:lnTo>
                  <a:lnTo>
                    <a:pt x="3964" y="2586"/>
                  </a:lnTo>
                  <a:lnTo>
                    <a:pt x="3964" y="2586"/>
                  </a:lnTo>
                  <a:lnTo>
                    <a:pt x="3964" y="2586"/>
                  </a:lnTo>
                  <a:close/>
                  <a:moveTo>
                    <a:pt x="3938" y="2603"/>
                  </a:moveTo>
                  <a:lnTo>
                    <a:pt x="3938" y="2610"/>
                  </a:lnTo>
                  <a:lnTo>
                    <a:pt x="3938" y="2603"/>
                  </a:lnTo>
                  <a:lnTo>
                    <a:pt x="3938" y="2603"/>
                  </a:lnTo>
                  <a:lnTo>
                    <a:pt x="3938" y="2603"/>
                  </a:lnTo>
                  <a:close/>
                  <a:moveTo>
                    <a:pt x="7771" y="2858"/>
                  </a:moveTo>
                  <a:lnTo>
                    <a:pt x="7771" y="2863"/>
                  </a:lnTo>
                  <a:lnTo>
                    <a:pt x="7760" y="2870"/>
                  </a:lnTo>
                  <a:lnTo>
                    <a:pt x="7755" y="2870"/>
                  </a:lnTo>
                  <a:lnTo>
                    <a:pt x="7755" y="2858"/>
                  </a:lnTo>
                  <a:lnTo>
                    <a:pt x="7771" y="2858"/>
                  </a:lnTo>
                  <a:lnTo>
                    <a:pt x="7771" y="2858"/>
                  </a:lnTo>
                  <a:lnTo>
                    <a:pt x="7771" y="2858"/>
                  </a:lnTo>
                  <a:close/>
                  <a:moveTo>
                    <a:pt x="7738" y="2870"/>
                  </a:moveTo>
                  <a:lnTo>
                    <a:pt x="7738" y="2879"/>
                  </a:lnTo>
                  <a:lnTo>
                    <a:pt x="7734" y="2879"/>
                  </a:lnTo>
                  <a:lnTo>
                    <a:pt x="7738" y="2870"/>
                  </a:lnTo>
                  <a:lnTo>
                    <a:pt x="7738" y="2870"/>
                  </a:lnTo>
                  <a:lnTo>
                    <a:pt x="7738" y="2870"/>
                  </a:lnTo>
                  <a:close/>
                  <a:moveTo>
                    <a:pt x="7734" y="2886"/>
                  </a:moveTo>
                  <a:lnTo>
                    <a:pt x="7722" y="2886"/>
                  </a:lnTo>
                  <a:lnTo>
                    <a:pt x="7722" y="2879"/>
                  </a:lnTo>
                  <a:lnTo>
                    <a:pt x="7734" y="2886"/>
                  </a:lnTo>
                  <a:lnTo>
                    <a:pt x="7734" y="2886"/>
                  </a:lnTo>
                  <a:lnTo>
                    <a:pt x="7734" y="2886"/>
                  </a:lnTo>
                  <a:close/>
                  <a:moveTo>
                    <a:pt x="7561" y="3101"/>
                  </a:moveTo>
                  <a:lnTo>
                    <a:pt x="7554" y="3108"/>
                  </a:lnTo>
                  <a:lnTo>
                    <a:pt x="7545" y="3118"/>
                  </a:lnTo>
                  <a:lnTo>
                    <a:pt x="7561" y="3101"/>
                  </a:lnTo>
                  <a:lnTo>
                    <a:pt x="7561" y="3101"/>
                  </a:lnTo>
                  <a:lnTo>
                    <a:pt x="7561" y="3101"/>
                  </a:lnTo>
                  <a:close/>
                  <a:moveTo>
                    <a:pt x="7608" y="3118"/>
                  </a:moveTo>
                  <a:lnTo>
                    <a:pt x="7608" y="3125"/>
                  </a:lnTo>
                  <a:lnTo>
                    <a:pt x="7582" y="3125"/>
                  </a:lnTo>
                  <a:lnTo>
                    <a:pt x="7608" y="3118"/>
                  </a:lnTo>
                  <a:lnTo>
                    <a:pt x="7608" y="3118"/>
                  </a:lnTo>
                  <a:lnTo>
                    <a:pt x="7608" y="3118"/>
                  </a:lnTo>
                  <a:close/>
                  <a:moveTo>
                    <a:pt x="7637" y="3125"/>
                  </a:moveTo>
                  <a:lnTo>
                    <a:pt x="7646" y="3134"/>
                  </a:lnTo>
                  <a:lnTo>
                    <a:pt x="7630" y="3134"/>
                  </a:lnTo>
                  <a:lnTo>
                    <a:pt x="7637" y="3125"/>
                  </a:lnTo>
                  <a:lnTo>
                    <a:pt x="7637" y="3125"/>
                  </a:lnTo>
                  <a:lnTo>
                    <a:pt x="7637" y="3125"/>
                  </a:lnTo>
                  <a:close/>
                  <a:moveTo>
                    <a:pt x="7448" y="3174"/>
                  </a:moveTo>
                  <a:lnTo>
                    <a:pt x="7382" y="3191"/>
                  </a:lnTo>
                  <a:lnTo>
                    <a:pt x="7393" y="3191"/>
                  </a:lnTo>
                  <a:lnTo>
                    <a:pt x="7365" y="3191"/>
                  </a:lnTo>
                  <a:lnTo>
                    <a:pt x="7377" y="3191"/>
                  </a:lnTo>
                  <a:lnTo>
                    <a:pt x="7360" y="3191"/>
                  </a:lnTo>
                  <a:lnTo>
                    <a:pt x="7365" y="3174"/>
                  </a:lnTo>
                  <a:lnTo>
                    <a:pt x="7393" y="3163"/>
                  </a:lnTo>
                  <a:lnTo>
                    <a:pt x="7464" y="3158"/>
                  </a:lnTo>
                  <a:lnTo>
                    <a:pt x="7486" y="3141"/>
                  </a:lnTo>
                  <a:lnTo>
                    <a:pt x="7464" y="3163"/>
                  </a:lnTo>
                  <a:lnTo>
                    <a:pt x="7516" y="3151"/>
                  </a:lnTo>
                  <a:lnTo>
                    <a:pt x="7448" y="3174"/>
                  </a:lnTo>
                  <a:lnTo>
                    <a:pt x="7448" y="3174"/>
                  </a:lnTo>
                  <a:lnTo>
                    <a:pt x="7448" y="3174"/>
                  </a:lnTo>
                  <a:close/>
                  <a:moveTo>
                    <a:pt x="7360" y="3191"/>
                  </a:moveTo>
                  <a:lnTo>
                    <a:pt x="7344" y="3196"/>
                  </a:lnTo>
                  <a:lnTo>
                    <a:pt x="7356" y="3191"/>
                  </a:lnTo>
                  <a:lnTo>
                    <a:pt x="7360" y="3191"/>
                  </a:lnTo>
                  <a:lnTo>
                    <a:pt x="7360" y="3191"/>
                  </a:lnTo>
                  <a:lnTo>
                    <a:pt x="7360" y="3191"/>
                  </a:lnTo>
                  <a:close/>
                  <a:moveTo>
                    <a:pt x="7339" y="3290"/>
                  </a:moveTo>
                  <a:lnTo>
                    <a:pt x="7327" y="3290"/>
                  </a:lnTo>
                  <a:lnTo>
                    <a:pt x="7344" y="3285"/>
                  </a:lnTo>
                  <a:lnTo>
                    <a:pt x="7339" y="3290"/>
                  </a:lnTo>
                  <a:lnTo>
                    <a:pt x="7339" y="3290"/>
                  </a:lnTo>
                  <a:lnTo>
                    <a:pt x="7339" y="3290"/>
                  </a:lnTo>
                  <a:close/>
                  <a:moveTo>
                    <a:pt x="7275" y="3401"/>
                  </a:moveTo>
                  <a:lnTo>
                    <a:pt x="7268" y="3418"/>
                  </a:lnTo>
                  <a:lnTo>
                    <a:pt x="7285" y="3385"/>
                  </a:lnTo>
                  <a:lnTo>
                    <a:pt x="7275" y="3401"/>
                  </a:lnTo>
                  <a:lnTo>
                    <a:pt x="7275" y="3401"/>
                  </a:lnTo>
                  <a:lnTo>
                    <a:pt x="7275" y="3401"/>
                  </a:lnTo>
                  <a:close/>
                  <a:moveTo>
                    <a:pt x="7252" y="3640"/>
                  </a:moveTo>
                  <a:lnTo>
                    <a:pt x="7247" y="3640"/>
                  </a:lnTo>
                  <a:lnTo>
                    <a:pt x="7259" y="3633"/>
                  </a:lnTo>
                  <a:lnTo>
                    <a:pt x="7259" y="3595"/>
                  </a:lnTo>
                  <a:lnTo>
                    <a:pt x="7259" y="3607"/>
                  </a:lnTo>
                  <a:lnTo>
                    <a:pt x="7252" y="3640"/>
                  </a:lnTo>
                  <a:lnTo>
                    <a:pt x="7252" y="3640"/>
                  </a:lnTo>
                  <a:lnTo>
                    <a:pt x="7252" y="3640"/>
                  </a:lnTo>
                  <a:close/>
                  <a:moveTo>
                    <a:pt x="4143" y="3727"/>
                  </a:moveTo>
                  <a:lnTo>
                    <a:pt x="4174" y="3734"/>
                  </a:lnTo>
                  <a:lnTo>
                    <a:pt x="4153" y="3744"/>
                  </a:lnTo>
                  <a:lnTo>
                    <a:pt x="4143" y="3734"/>
                  </a:lnTo>
                  <a:lnTo>
                    <a:pt x="4143" y="3727"/>
                  </a:lnTo>
                  <a:lnTo>
                    <a:pt x="4143" y="3727"/>
                  </a:lnTo>
                  <a:lnTo>
                    <a:pt x="4143" y="3727"/>
                  </a:lnTo>
                  <a:close/>
                  <a:moveTo>
                    <a:pt x="4136" y="3734"/>
                  </a:moveTo>
                  <a:lnTo>
                    <a:pt x="4127" y="3744"/>
                  </a:lnTo>
                  <a:lnTo>
                    <a:pt x="4122" y="3734"/>
                  </a:lnTo>
                  <a:lnTo>
                    <a:pt x="4136" y="3734"/>
                  </a:lnTo>
                  <a:lnTo>
                    <a:pt x="4136" y="3734"/>
                  </a:lnTo>
                  <a:lnTo>
                    <a:pt x="4136" y="3734"/>
                  </a:lnTo>
                  <a:close/>
                  <a:moveTo>
                    <a:pt x="4245" y="3784"/>
                  </a:moveTo>
                  <a:lnTo>
                    <a:pt x="4261" y="3788"/>
                  </a:lnTo>
                  <a:lnTo>
                    <a:pt x="4245" y="3788"/>
                  </a:lnTo>
                  <a:lnTo>
                    <a:pt x="4235" y="3772"/>
                  </a:lnTo>
                  <a:lnTo>
                    <a:pt x="4245" y="3784"/>
                  </a:lnTo>
                  <a:lnTo>
                    <a:pt x="4245" y="3784"/>
                  </a:lnTo>
                  <a:lnTo>
                    <a:pt x="4245" y="3784"/>
                  </a:lnTo>
                  <a:close/>
                  <a:moveTo>
                    <a:pt x="4174" y="3800"/>
                  </a:moveTo>
                  <a:lnTo>
                    <a:pt x="4164" y="3800"/>
                  </a:lnTo>
                  <a:lnTo>
                    <a:pt x="4174" y="3800"/>
                  </a:lnTo>
                  <a:lnTo>
                    <a:pt x="4174" y="3800"/>
                  </a:lnTo>
                  <a:lnTo>
                    <a:pt x="4174" y="3800"/>
                  </a:lnTo>
                  <a:close/>
                  <a:moveTo>
                    <a:pt x="4235" y="3817"/>
                  </a:moveTo>
                  <a:lnTo>
                    <a:pt x="4249" y="3829"/>
                  </a:lnTo>
                  <a:lnTo>
                    <a:pt x="4245" y="3829"/>
                  </a:lnTo>
                  <a:lnTo>
                    <a:pt x="4235" y="3817"/>
                  </a:lnTo>
                  <a:lnTo>
                    <a:pt x="4235" y="3817"/>
                  </a:lnTo>
                  <a:lnTo>
                    <a:pt x="4235" y="3817"/>
                  </a:lnTo>
                  <a:close/>
                  <a:moveTo>
                    <a:pt x="6843" y="3982"/>
                  </a:moveTo>
                  <a:lnTo>
                    <a:pt x="6836" y="3994"/>
                  </a:lnTo>
                  <a:lnTo>
                    <a:pt x="6836" y="3989"/>
                  </a:lnTo>
                  <a:lnTo>
                    <a:pt x="6843" y="3982"/>
                  </a:lnTo>
                  <a:lnTo>
                    <a:pt x="6843" y="3982"/>
                  </a:lnTo>
                  <a:lnTo>
                    <a:pt x="6843" y="3982"/>
                  </a:lnTo>
                  <a:close/>
                  <a:moveTo>
                    <a:pt x="6297" y="4044"/>
                  </a:moveTo>
                  <a:lnTo>
                    <a:pt x="6286" y="4048"/>
                  </a:lnTo>
                  <a:lnTo>
                    <a:pt x="6297" y="4044"/>
                  </a:lnTo>
                  <a:lnTo>
                    <a:pt x="6297" y="4044"/>
                  </a:lnTo>
                  <a:lnTo>
                    <a:pt x="6297" y="4044"/>
                  </a:lnTo>
                  <a:close/>
                  <a:moveTo>
                    <a:pt x="6319" y="4077"/>
                  </a:moveTo>
                  <a:lnTo>
                    <a:pt x="6319" y="4048"/>
                  </a:lnTo>
                  <a:lnTo>
                    <a:pt x="6328" y="4060"/>
                  </a:lnTo>
                  <a:lnTo>
                    <a:pt x="6319" y="4077"/>
                  </a:lnTo>
                  <a:lnTo>
                    <a:pt x="6319" y="4077"/>
                  </a:lnTo>
                  <a:lnTo>
                    <a:pt x="6319" y="4077"/>
                  </a:lnTo>
                  <a:close/>
                  <a:moveTo>
                    <a:pt x="6118" y="4093"/>
                  </a:moveTo>
                  <a:lnTo>
                    <a:pt x="6113" y="4100"/>
                  </a:lnTo>
                  <a:lnTo>
                    <a:pt x="6097" y="4093"/>
                  </a:lnTo>
                  <a:lnTo>
                    <a:pt x="6101" y="4081"/>
                  </a:lnTo>
                  <a:lnTo>
                    <a:pt x="6118" y="4093"/>
                  </a:lnTo>
                  <a:lnTo>
                    <a:pt x="6118" y="4093"/>
                  </a:lnTo>
                  <a:lnTo>
                    <a:pt x="6118" y="4093"/>
                  </a:lnTo>
                  <a:close/>
                  <a:moveTo>
                    <a:pt x="5903" y="4117"/>
                  </a:moveTo>
                  <a:lnTo>
                    <a:pt x="5882" y="4122"/>
                  </a:lnTo>
                  <a:lnTo>
                    <a:pt x="5903" y="4105"/>
                  </a:lnTo>
                  <a:lnTo>
                    <a:pt x="5903" y="4117"/>
                  </a:lnTo>
                  <a:lnTo>
                    <a:pt x="5903" y="4117"/>
                  </a:lnTo>
                  <a:lnTo>
                    <a:pt x="5903" y="4117"/>
                  </a:lnTo>
                  <a:close/>
                  <a:moveTo>
                    <a:pt x="6897" y="4188"/>
                  </a:moveTo>
                  <a:lnTo>
                    <a:pt x="6897" y="4192"/>
                  </a:lnTo>
                  <a:lnTo>
                    <a:pt x="6890" y="4176"/>
                  </a:lnTo>
                  <a:lnTo>
                    <a:pt x="6897" y="4159"/>
                  </a:lnTo>
                  <a:lnTo>
                    <a:pt x="6897" y="4188"/>
                  </a:lnTo>
                  <a:lnTo>
                    <a:pt x="6897" y="4188"/>
                  </a:lnTo>
                  <a:lnTo>
                    <a:pt x="6897" y="4188"/>
                  </a:lnTo>
                  <a:close/>
                  <a:moveTo>
                    <a:pt x="5761" y="4192"/>
                  </a:moveTo>
                  <a:lnTo>
                    <a:pt x="5794" y="4176"/>
                  </a:lnTo>
                  <a:lnTo>
                    <a:pt x="5761" y="4204"/>
                  </a:lnTo>
                  <a:lnTo>
                    <a:pt x="5761" y="4192"/>
                  </a:lnTo>
                  <a:lnTo>
                    <a:pt x="5761" y="4192"/>
                  </a:lnTo>
                  <a:lnTo>
                    <a:pt x="5761" y="4192"/>
                  </a:lnTo>
                  <a:close/>
                  <a:moveTo>
                    <a:pt x="5735" y="4249"/>
                  </a:moveTo>
                  <a:lnTo>
                    <a:pt x="5723" y="4270"/>
                  </a:lnTo>
                  <a:lnTo>
                    <a:pt x="5723" y="4249"/>
                  </a:lnTo>
                  <a:lnTo>
                    <a:pt x="5747" y="4225"/>
                  </a:lnTo>
                  <a:lnTo>
                    <a:pt x="5735" y="4249"/>
                  </a:lnTo>
                  <a:lnTo>
                    <a:pt x="5735" y="4249"/>
                  </a:lnTo>
                  <a:lnTo>
                    <a:pt x="5735" y="4249"/>
                  </a:lnTo>
                  <a:close/>
                  <a:moveTo>
                    <a:pt x="5723" y="4315"/>
                  </a:moveTo>
                  <a:lnTo>
                    <a:pt x="5723" y="4270"/>
                  </a:lnTo>
                  <a:lnTo>
                    <a:pt x="5740" y="4360"/>
                  </a:lnTo>
                  <a:lnTo>
                    <a:pt x="5723" y="4315"/>
                  </a:lnTo>
                  <a:lnTo>
                    <a:pt x="5723" y="4315"/>
                  </a:lnTo>
                  <a:lnTo>
                    <a:pt x="5723" y="4315"/>
                  </a:lnTo>
                  <a:close/>
                  <a:moveTo>
                    <a:pt x="6912" y="4431"/>
                  </a:moveTo>
                  <a:lnTo>
                    <a:pt x="6923" y="4414"/>
                  </a:lnTo>
                  <a:lnTo>
                    <a:pt x="6897" y="4448"/>
                  </a:lnTo>
                  <a:lnTo>
                    <a:pt x="6912" y="4431"/>
                  </a:lnTo>
                  <a:lnTo>
                    <a:pt x="6912" y="4431"/>
                  </a:lnTo>
                  <a:lnTo>
                    <a:pt x="6912" y="4431"/>
                  </a:lnTo>
                  <a:close/>
                  <a:moveTo>
                    <a:pt x="6836" y="4471"/>
                  </a:moveTo>
                  <a:lnTo>
                    <a:pt x="6827" y="4481"/>
                  </a:lnTo>
                  <a:lnTo>
                    <a:pt x="6836" y="4471"/>
                  </a:lnTo>
                  <a:lnTo>
                    <a:pt x="6836" y="4471"/>
                  </a:lnTo>
                  <a:lnTo>
                    <a:pt x="6836" y="4471"/>
                  </a:lnTo>
                  <a:close/>
                  <a:moveTo>
                    <a:pt x="1368" y="4686"/>
                  </a:moveTo>
                  <a:lnTo>
                    <a:pt x="1351" y="4674"/>
                  </a:lnTo>
                  <a:lnTo>
                    <a:pt x="1351" y="4665"/>
                  </a:lnTo>
                  <a:lnTo>
                    <a:pt x="1356" y="4653"/>
                  </a:lnTo>
                  <a:lnTo>
                    <a:pt x="1382" y="4653"/>
                  </a:lnTo>
                  <a:lnTo>
                    <a:pt x="1372" y="4674"/>
                  </a:lnTo>
                  <a:lnTo>
                    <a:pt x="1368" y="4686"/>
                  </a:lnTo>
                  <a:lnTo>
                    <a:pt x="1368" y="4686"/>
                  </a:lnTo>
                  <a:lnTo>
                    <a:pt x="1368" y="4686"/>
                  </a:lnTo>
                  <a:close/>
                  <a:moveTo>
                    <a:pt x="1318" y="4686"/>
                  </a:moveTo>
                  <a:lnTo>
                    <a:pt x="1313" y="4674"/>
                  </a:lnTo>
                  <a:lnTo>
                    <a:pt x="1330" y="4670"/>
                  </a:lnTo>
                  <a:lnTo>
                    <a:pt x="1318" y="4686"/>
                  </a:lnTo>
                  <a:lnTo>
                    <a:pt x="1318" y="4686"/>
                  </a:lnTo>
                  <a:lnTo>
                    <a:pt x="1318" y="4686"/>
                  </a:lnTo>
                  <a:close/>
                  <a:moveTo>
                    <a:pt x="1481" y="4726"/>
                  </a:moveTo>
                  <a:lnTo>
                    <a:pt x="1464" y="4726"/>
                  </a:lnTo>
                  <a:lnTo>
                    <a:pt x="1448" y="4703"/>
                  </a:lnTo>
                  <a:lnTo>
                    <a:pt x="1474" y="4693"/>
                  </a:lnTo>
                  <a:lnTo>
                    <a:pt x="1495" y="4726"/>
                  </a:lnTo>
                  <a:lnTo>
                    <a:pt x="1481" y="4726"/>
                  </a:lnTo>
                  <a:lnTo>
                    <a:pt x="1481" y="4726"/>
                  </a:lnTo>
                  <a:lnTo>
                    <a:pt x="1481" y="4726"/>
                  </a:lnTo>
                  <a:close/>
                  <a:moveTo>
                    <a:pt x="1549" y="4743"/>
                  </a:moveTo>
                  <a:lnTo>
                    <a:pt x="1519" y="4743"/>
                  </a:lnTo>
                  <a:lnTo>
                    <a:pt x="1528" y="4731"/>
                  </a:lnTo>
                  <a:lnTo>
                    <a:pt x="1557" y="4731"/>
                  </a:lnTo>
                  <a:lnTo>
                    <a:pt x="1549" y="4743"/>
                  </a:lnTo>
                  <a:lnTo>
                    <a:pt x="1549" y="4743"/>
                  </a:lnTo>
                  <a:lnTo>
                    <a:pt x="1549" y="4743"/>
                  </a:lnTo>
                  <a:close/>
                  <a:moveTo>
                    <a:pt x="1583" y="4781"/>
                  </a:moveTo>
                  <a:lnTo>
                    <a:pt x="1571" y="4764"/>
                  </a:lnTo>
                  <a:lnTo>
                    <a:pt x="1566" y="4759"/>
                  </a:lnTo>
                  <a:lnTo>
                    <a:pt x="1566" y="4743"/>
                  </a:lnTo>
                  <a:lnTo>
                    <a:pt x="1583" y="4759"/>
                  </a:lnTo>
                  <a:lnTo>
                    <a:pt x="1599" y="4748"/>
                  </a:lnTo>
                  <a:lnTo>
                    <a:pt x="1611" y="4764"/>
                  </a:lnTo>
                  <a:lnTo>
                    <a:pt x="1604" y="4776"/>
                  </a:lnTo>
                  <a:lnTo>
                    <a:pt x="1583" y="4781"/>
                  </a:lnTo>
                  <a:lnTo>
                    <a:pt x="1583" y="4781"/>
                  </a:lnTo>
                  <a:lnTo>
                    <a:pt x="1583" y="4781"/>
                  </a:lnTo>
                  <a:close/>
                  <a:moveTo>
                    <a:pt x="1549" y="4764"/>
                  </a:moveTo>
                  <a:lnTo>
                    <a:pt x="1533" y="4759"/>
                  </a:lnTo>
                  <a:lnTo>
                    <a:pt x="1549" y="4759"/>
                  </a:lnTo>
                  <a:lnTo>
                    <a:pt x="1549" y="4764"/>
                  </a:lnTo>
                  <a:lnTo>
                    <a:pt x="1549" y="4764"/>
                  </a:lnTo>
                  <a:lnTo>
                    <a:pt x="1549" y="4764"/>
                  </a:lnTo>
                  <a:close/>
                  <a:moveTo>
                    <a:pt x="1566" y="4785"/>
                  </a:moveTo>
                  <a:lnTo>
                    <a:pt x="1571" y="4781"/>
                  </a:lnTo>
                  <a:lnTo>
                    <a:pt x="1566" y="4785"/>
                  </a:lnTo>
                  <a:lnTo>
                    <a:pt x="1566" y="4785"/>
                  </a:lnTo>
                  <a:lnTo>
                    <a:pt x="1566" y="4785"/>
                  </a:lnTo>
                  <a:close/>
                  <a:moveTo>
                    <a:pt x="1620" y="4802"/>
                  </a:moveTo>
                  <a:lnTo>
                    <a:pt x="1670" y="4818"/>
                  </a:lnTo>
                  <a:lnTo>
                    <a:pt x="1679" y="4854"/>
                  </a:lnTo>
                  <a:lnTo>
                    <a:pt x="1696" y="4859"/>
                  </a:lnTo>
                  <a:lnTo>
                    <a:pt x="1679" y="4875"/>
                  </a:lnTo>
                  <a:lnTo>
                    <a:pt x="1658" y="4875"/>
                  </a:lnTo>
                  <a:lnTo>
                    <a:pt x="1642" y="4892"/>
                  </a:lnTo>
                  <a:lnTo>
                    <a:pt x="1637" y="4908"/>
                  </a:lnTo>
                  <a:lnTo>
                    <a:pt x="1620" y="4892"/>
                  </a:lnTo>
                  <a:lnTo>
                    <a:pt x="1620" y="4870"/>
                  </a:lnTo>
                  <a:lnTo>
                    <a:pt x="1604" y="4842"/>
                  </a:lnTo>
                  <a:lnTo>
                    <a:pt x="1620" y="4818"/>
                  </a:lnTo>
                  <a:lnTo>
                    <a:pt x="1620" y="4814"/>
                  </a:lnTo>
                  <a:lnTo>
                    <a:pt x="1620" y="4802"/>
                  </a:lnTo>
                  <a:lnTo>
                    <a:pt x="1620" y="4802"/>
                  </a:lnTo>
                  <a:lnTo>
                    <a:pt x="1620" y="4802"/>
                  </a:lnTo>
                  <a:close/>
                </a:path>
              </a:pathLst>
            </a:custGeom>
            <a:pattFill prst="dk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8" name="Freeform 583">
              <a:extLst>
                <a:ext uri="{FF2B5EF4-FFF2-40B4-BE49-F238E27FC236}">
                  <a16:creationId xmlns:a16="http://schemas.microsoft.com/office/drawing/2014/main" id="{DB0C0644-A4E5-44A0-8C33-5925C48ED864}"/>
                </a:ext>
              </a:extLst>
            </p:cNvPr>
            <p:cNvSpPr>
              <a:spLocks/>
            </p:cNvSpPr>
            <p:nvPr/>
          </p:nvSpPr>
          <p:spPr bwMode="gray">
            <a:xfrm>
              <a:off x="5583103" y="4062205"/>
              <a:ext cx="276142" cy="205397"/>
            </a:xfrm>
            <a:custGeom>
              <a:avLst/>
              <a:gdLst>
                <a:gd name="T0" fmla="*/ 428 w 558"/>
                <a:gd name="T1" fmla="*/ 304 h 415"/>
                <a:gd name="T2" fmla="*/ 378 w 558"/>
                <a:gd name="T3" fmla="*/ 288 h 415"/>
                <a:gd name="T4" fmla="*/ 341 w 558"/>
                <a:gd name="T5" fmla="*/ 304 h 415"/>
                <a:gd name="T6" fmla="*/ 319 w 558"/>
                <a:gd name="T7" fmla="*/ 293 h 415"/>
                <a:gd name="T8" fmla="*/ 178 w 558"/>
                <a:gd name="T9" fmla="*/ 316 h 415"/>
                <a:gd name="T10" fmla="*/ 194 w 558"/>
                <a:gd name="T11" fmla="*/ 399 h 415"/>
                <a:gd name="T12" fmla="*/ 194 w 558"/>
                <a:gd name="T13" fmla="*/ 415 h 415"/>
                <a:gd name="T14" fmla="*/ 135 w 558"/>
                <a:gd name="T15" fmla="*/ 370 h 415"/>
                <a:gd name="T16" fmla="*/ 85 w 558"/>
                <a:gd name="T17" fmla="*/ 399 h 415"/>
                <a:gd name="T18" fmla="*/ 38 w 558"/>
                <a:gd name="T19" fmla="*/ 370 h 415"/>
                <a:gd name="T20" fmla="*/ 10 w 558"/>
                <a:gd name="T21" fmla="*/ 349 h 415"/>
                <a:gd name="T22" fmla="*/ 10 w 558"/>
                <a:gd name="T23" fmla="*/ 309 h 415"/>
                <a:gd name="T24" fmla="*/ 15 w 558"/>
                <a:gd name="T25" fmla="*/ 288 h 415"/>
                <a:gd name="T26" fmla="*/ 15 w 558"/>
                <a:gd name="T27" fmla="*/ 233 h 415"/>
                <a:gd name="T28" fmla="*/ 64 w 558"/>
                <a:gd name="T29" fmla="*/ 217 h 415"/>
                <a:gd name="T30" fmla="*/ 81 w 558"/>
                <a:gd name="T31" fmla="*/ 181 h 415"/>
                <a:gd name="T32" fmla="*/ 85 w 558"/>
                <a:gd name="T33" fmla="*/ 165 h 415"/>
                <a:gd name="T34" fmla="*/ 85 w 558"/>
                <a:gd name="T35" fmla="*/ 144 h 415"/>
                <a:gd name="T36" fmla="*/ 145 w 558"/>
                <a:gd name="T37" fmla="*/ 139 h 415"/>
                <a:gd name="T38" fmla="*/ 161 w 558"/>
                <a:gd name="T39" fmla="*/ 127 h 415"/>
                <a:gd name="T40" fmla="*/ 189 w 558"/>
                <a:gd name="T41" fmla="*/ 106 h 415"/>
                <a:gd name="T42" fmla="*/ 215 w 558"/>
                <a:gd name="T43" fmla="*/ 54 h 415"/>
                <a:gd name="T44" fmla="*/ 248 w 558"/>
                <a:gd name="T45" fmla="*/ 66 h 415"/>
                <a:gd name="T46" fmla="*/ 270 w 558"/>
                <a:gd name="T47" fmla="*/ 37 h 415"/>
                <a:gd name="T48" fmla="*/ 308 w 558"/>
                <a:gd name="T49" fmla="*/ 16 h 415"/>
                <a:gd name="T50" fmla="*/ 357 w 558"/>
                <a:gd name="T51" fmla="*/ 0 h 415"/>
                <a:gd name="T52" fmla="*/ 374 w 558"/>
                <a:gd name="T53" fmla="*/ 0 h 415"/>
                <a:gd name="T54" fmla="*/ 395 w 558"/>
                <a:gd name="T55" fmla="*/ 37 h 415"/>
                <a:gd name="T56" fmla="*/ 411 w 558"/>
                <a:gd name="T57" fmla="*/ 66 h 415"/>
                <a:gd name="T58" fmla="*/ 459 w 558"/>
                <a:gd name="T59" fmla="*/ 111 h 415"/>
                <a:gd name="T60" fmla="*/ 482 w 558"/>
                <a:gd name="T61" fmla="*/ 127 h 415"/>
                <a:gd name="T62" fmla="*/ 459 w 558"/>
                <a:gd name="T63" fmla="*/ 144 h 415"/>
                <a:gd name="T64" fmla="*/ 534 w 558"/>
                <a:gd name="T65" fmla="*/ 177 h 415"/>
                <a:gd name="T66" fmla="*/ 534 w 558"/>
                <a:gd name="T67" fmla="*/ 198 h 415"/>
                <a:gd name="T68" fmla="*/ 551 w 558"/>
                <a:gd name="T69" fmla="*/ 250 h 415"/>
                <a:gd name="T70" fmla="*/ 504 w 558"/>
                <a:gd name="T71" fmla="*/ 271 h 415"/>
                <a:gd name="T72" fmla="*/ 482 w 558"/>
                <a:gd name="T73" fmla="*/ 271 h 415"/>
                <a:gd name="T74" fmla="*/ 449 w 558"/>
                <a:gd name="T75" fmla="*/ 293 h 415"/>
                <a:gd name="T76" fmla="*/ 449 w 558"/>
                <a:gd name="T77" fmla="*/ 293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8" h="415">
                  <a:moveTo>
                    <a:pt x="449" y="293"/>
                  </a:moveTo>
                  <a:lnTo>
                    <a:pt x="428" y="304"/>
                  </a:lnTo>
                  <a:lnTo>
                    <a:pt x="428" y="293"/>
                  </a:lnTo>
                  <a:lnTo>
                    <a:pt x="378" y="288"/>
                  </a:lnTo>
                  <a:lnTo>
                    <a:pt x="362" y="288"/>
                  </a:lnTo>
                  <a:lnTo>
                    <a:pt x="341" y="304"/>
                  </a:lnTo>
                  <a:lnTo>
                    <a:pt x="341" y="293"/>
                  </a:lnTo>
                  <a:lnTo>
                    <a:pt x="319" y="293"/>
                  </a:lnTo>
                  <a:lnTo>
                    <a:pt x="189" y="293"/>
                  </a:lnTo>
                  <a:lnTo>
                    <a:pt x="178" y="316"/>
                  </a:lnTo>
                  <a:lnTo>
                    <a:pt x="194" y="349"/>
                  </a:lnTo>
                  <a:lnTo>
                    <a:pt x="194" y="399"/>
                  </a:lnTo>
                  <a:lnTo>
                    <a:pt x="199" y="404"/>
                  </a:lnTo>
                  <a:lnTo>
                    <a:pt x="194" y="415"/>
                  </a:lnTo>
                  <a:lnTo>
                    <a:pt x="161" y="370"/>
                  </a:lnTo>
                  <a:lnTo>
                    <a:pt x="135" y="370"/>
                  </a:lnTo>
                  <a:lnTo>
                    <a:pt x="90" y="382"/>
                  </a:lnTo>
                  <a:lnTo>
                    <a:pt x="85" y="399"/>
                  </a:lnTo>
                  <a:lnTo>
                    <a:pt x="52" y="387"/>
                  </a:lnTo>
                  <a:lnTo>
                    <a:pt x="38" y="370"/>
                  </a:lnTo>
                  <a:lnTo>
                    <a:pt x="26" y="349"/>
                  </a:lnTo>
                  <a:lnTo>
                    <a:pt x="10" y="349"/>
                  </a:lnTo>
                  <a:lnTo>
                    <a:pt x="0" y="333"/>
                  </a:lnTo>
                  <a:lnTo>
                    <a:pt x="10" y="309"/>
                  </a:lnTo>
                  <a:lnTo>
                    <a:pt x="0" y="293"/>
                  </a:lnTo>
                  <a:lnTo>
                    <a:pt x="15" y="288"/>
                  </a:lnTo>
                  <a:lnTo>
                    <a:pt x="26" y="259"/>
                  </a:lnTo>
                  <a:lnTo>
                    <a:pt x="15" y="233"/>
                  </a:lnTo>
                  <a:lnTo>
                    <a:pt x="26" y="222"/>
                  </a:lnTo>
                  <a:lnTo>
                    <a:pt x="64" y="217"/>
                  </a:lnTo>
                  <a:lnTo>
                    <a:pt x="81" y="198"/>
                  </a:lnTo>
                  <a:lnTo>
                    <a:pt x="81" y="181"/>
                  </a:lnTo>
                  <a:lnTo>
                    <a:pt x="69" y="165"/>
                  </a:lnTo>
                  <a:lnTo>
                    <a:pt x="85" y="165"/>
                  </a:lnTo>
                  <a:lnTo>
                    <a:pt x="90" y="160"/>
                  </a:lnTo>
                  <a:lnTo>
                    <a:pt x="85" y="144"/>
                  </a:lnTo>
                  <a:lnTo>
                    <a:pt x="107" y="111"/>
                  </a:lnTo>
                  <a:lnTo>
                    <a:pt x="145" y="139"/>
                  </a:lnTo>
                  <a:lnTo>
                    <a:pt x="145" y="127"/>
                  </a:lnTo>
                  <a:lnTo>
                    <a:pt x="161" y="127"/>
                  </a:lnTo>
                  <a:lnTo>
                    <a:pt x="156" y="94"/>
                  </a:lnTo>
                  <a:lnTo>
                    <a:pt x="189" y="106"/>
                  </a:lnTo>
                  <a:lnTo>
                    <a:pt x="189" y="70"/>
                  </a:lnTo>
                  <a:lnTo>
                    <a:pt x="215" y="54"/>
                  </a:lnTo>
                  <a:lnTo>
                    <a:pt x="244" y="66"/>
                  </a:lnTo>
                  <a:lnTo>
                    <a:pt x="248" y="66"/>
                  </a:lnTo>
                  <a:lnTo>
                    <a:pt x="248" y="37"/>
                  </a:lnTo>
                  <a:lnTo>
                    <a:pt x="270" y="37"/>
                  </a:lnTo>
                  <a:lnTo>
                    <a:pt x="298" y="28"/>
                  </a:lnTo>
                  <a:lnTo>
                    <a:pt x="308" y="16"/>
                  </a:lnTo>
                  <a:lnTo>
                    <a:pt x="336" y="0"/>
                  </a:lnTo>
                  <a:lnTo>
                    <a:pt x="357" y="0"/>
                  </a:lnTo>
                  <a:lnTo>
                    <a:pt x="362" y="0"/>
                  </a:lnTo>
                  <a:lnTo>
                    <a:pt x="374" y="0"/>
                  </a:lnTo>
                  <a:lnTo>
                    <a:pt x="404" y="11"/>
                  </a:lnTo>
                  <a:lnTo>
                    <a:pt x="395" y="37"/>
                  </a:lnTo>
                  <a:lnTo>
                    <a:pt x="416" y="54"/>
                  </a:lnTo>
                  <a:lnTo>
                    <a:pt x="411" y="66"/>
                  </a:lnTo>
                  <a:lnTo>
                    <a:pt x="428" y="94"/>
                  </a:lnTo>
                  <a:lnTo>
                    <a:pt x="459" y="111"/>
                  </a:lnTo>
                  <a:lnTo>
                    <a:pt x="459" y="111"/>
                  </a:lnTo>
                  <a:lnTo>
                    <a:pt x="482" y="127"/>
                  </a:lnTo>
                  <a:lnTo>
                    <a:pt x="459" y="122"/>
                  </a:lnTo>
                  <a:lnTo>
                    <a:pt x="459" y="144"/>
                  </a:lnTo>
                  <a:lnTo>
                    <a:pt x="497" y="177"/>
                  </a:lnTo>
                  <a:lnTo>
                    <a:pt x="534" y="177"/>
                  </a:lnTo>
                  <a:lnTo>
                    <a:pt x="541" y="193"/>
                  </a:lnTo>
                  <a:lnTo>
                    <a:pt x="534" y="198"/>
                  </a:lnTo>
                  <a:lnTo>
                    <a:pt x="558" y="233"/>
                  </a:lnTo>
                  <a:lnTo>
                    <a:pt x="551" y="250"/>
                  </a:lnTo>
                  <a:lnTo>
                    <a:pt x="525" y="259"/>
                  </a:lnTo>
                  <a:lnTo>
                    <a:pt x="504" y="271"/>
                  </a:lnTo>
                  <a:lnTo>
                    <a:pt x="487" y="259"/>
                  </a:lnTo>
                  <a:lnTo>
                    <a:pt x="482" y="271"/>
                  </a:lnTo>
                  <a:lnTo>
                    <a:pt x="471" y="276"/>
                  </a:lnTo>
                  <a:lnTo>
                    <a:pt x="449" y="293"/>
                  </a:lnTo>
                  <a:lnTo>
                    <a:pt x="449" y="293"/>
                  </a:lnTo>
                  <a:lnTo>
                    <a:pt x="449" y="293"/>
                  </a:lnTo>
                  <a:close/>
                </a:path>
              </a:pathLst>
            </a:custGeom>
            <a:pattFill prst="dk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9" name="Freeform 584">
              <a:extLst>
                <a:ext uri="{FF2B5EF4-FFF2-40B4-BE49-F238E27FC236}">
                  <a16:creationId xmlns:a16="http://schemas.microsoft.com/office/drawing/2014/main" id="{24CAF02A-73EA-4B20-BB98-85BEFBFEBB1D}"/>
                </a:ext>
              </a:extLst>
            </p:cNvPr>
            <p:cNvSpPr>
              <a:spLocks/>
            </p:cNvSpPr>
            <p:nvPr/>
          </p:nvSpPr>
          <p:spPr bwMode="gray">
            <a:xfrm>
              <a:off x="3748099" y="5711813"/>
              <a:ext cx="184590" cy="191539"/>
            </a:xfrm>
            <a:custGeom>
              <a:avLst/>
              <a:gdLst>
                <a:gd name="T0" fmla="*/ 16 w 373"/>
                <a:gd name="T1" fmla="*/ 177 h 387"/>
                <a:gd name="T2" fmla="*/ 21 w 373"/>
                <a:gd name="T3" fmla="*/ 172 h 387"/>
                <a:gd name="T4" fmla="*/ 16 w 373"/>
                <a:gd name="T5" fmla="*/ 139 h 387"/>
                <a:gd name="T6" fmla="*/ 21 w 373"/>
                <a:gd name="T7" fmla="*/ 122 h 387"/>
                <a:gd name="T8" fmla="*/ 33 w 373"/>
                <a:gd name="T9" fmla="*/ 111 h 387"/>
                <a:gd name="T10" fmla="*/ 21 w 373"/>
                <a:gd name="T11" fmla="*/ 99 h 387"/>
                <a:gd name="T12" fmla="*/ 33 w 373"/>
                <a:gd name="T13" fmla="*/ 82 h 387"/>
                <a:gd name="T14" fmla="*/ 49 w 373"/>
                <a:gd name="T15" fmla="*/ 56 h 387"/>
                <a:gd name="T16" fmla="*/ 38 w 373"/>
                <a:gd name="T17" fmla="*/ 28 h 387"/>
                <a:gd name="T18" fmla="*/ 54 w 373"/>
                <a:gd name="T19" fmla="*/ 11 h 387"/>
                <a:gd name="T20" fmla="*/ 54 w 373"/>
                <a:gd name="T21" fmla="*/ 7 h 387"/>
                <a:gd name="T22" fmla="*/ 59 w 373"/>
                <a:gd name="T23" fmla="*/ 7 h 387"/>
                <a:gd name="T24" fmla="*/ 87 w 373"/>
                <a:gd name="T25" fmla="*/ 11 h 387"/>
                <a:gd name="T26" fmla="*/ 92 w 373"/>
                <a:gd name="T27" fmla="*/ 0 h 387"/>
                <a:gd name="T28" fmla="*/ 113 w 373"/>
                <a:gd name="T29" fmla="*/ 0 h 387"/>
                <a:gd name="T30" fmla="*/ 168 w 373"/>
                <a:gd name="T31" fmla="*/ 56 h 387"/>
                <a:gd name="T32" fmla="*/ 168 w 373"/>
                <a:gd name="T33" fmla="*/ 66 h 387"/>
                <a:gd name="T34" fmla="*/ 177 w 373"/>
                <a:gd name="T35" fmla="*/ 66 h 387"/>
                <a:gd name="T36" fmla="*/ 201 w 373"/>
                <a:gd name="T37" fmla="*/ 56 h 387"/>
                <a:gd name="T38" fmla="*/ 222 w 373"/>
                <a:gd name="T39" fmla="*/ 82 h 387"/>
                <a:gd name="T40" fmla="*/ 269 w 373"/>
                <a:gd name="T41" fmla="*/ 99 h 387"/>
                <a:gd name="T42" fmla="*/ 286 w 373"/>
                <a:gd name="T43" fmla="*/ 132 h 387"/>
                <a:gd name="T44" fmla="*/ 319 w 373"/>
                <a:gd name="T45" fmla="*/ 139 h 387"/>
                <a:gd name="T46" fmla="*/ 340 w 373"/>
                <a:gd name="T47" fmla="*/ 177 h 387"/>
                <a:gd name="T48" fmla="*/ 373 w 373"/>
                <a:gd name="T49" fmla="*/ 205 h 387"/>
                <a:gd name="T50" fmla="*/ 340 w 373"/>
                <a:gd name="T51" fmla="*/ 233 h 387"/>
                <a:gd name="T52" fmla="*/ 340 w 373"/>
                <a:gd name="T53" fmla="*/ 283 h 387"/>
                <a:gd name="T54" fmla="*/ 357 w 373"/>
                <a:gd name="T55" fmla="*/ 283 h 387"/>
                <a:gd name="T56" fmla="*/ 340 w 373"/>
                <a:gd name="T57" fmla="*/ 316 h 387"/>
                <a:gd name="T58" fmla="*/ 302 w 373"/>
                <a:gd name="T59" fmla="*/ 359 h 387"/>
                <a:gd name="T60" fmla="*/ 286 w 373"/>
                <a:gd name="T61" fmla="*/ 354 h 387"/>
                <a:gd name="T62" fmla="*/ 286 w 373"/>
                <a:gd name="T63" fmla="*/ 359 h 387"/>
                <a:gd name="T64" fmla="*/ 248 w 373"/>
                <a:gd name="T65" fmla="*/ 387 h 387"/>
                <a:gd name="T66" fmla="*/ 194 w 373"/>
                <a:gd name="T67" fmla="*/ 370 h 387"/>
                <a:gd name="T68" fmla="*/ 146 w 373"/>
                <a:gd name="T69" fmla="*/ 375 h 387"/>
                <a:gd name="T70" fmla="*/ 139 w 373"/>
                <a:gd name="T71" fmla="*/ 375 h 387"/>
                <a:gd name="T72" fmla="*/ 146 w 373"/>
                <a:gd name="T73" fmla="*/ 370 h 387"/>
                <a:gd name="T74" fmla="*/ 108 w 373"/>
                <a:gd name="T75" fmla="*/ 359 h 387"/>
                <a:gd name="T76" fmla="*/ 92 w 373"/>
                <a:gd name="T77" fmla="*/ 342 h 387"/>
                <a:gd name="T78" fmla="*/ 38 w 373"/>
                <a:gd name="T79" fmla="*/ 342 h 387"/>
                <a:gd name="T80" fmla="*/ 0 w 373"/>
                <a:gd name="T81" fmla="*/ 300 h 387"/>
                <a:gd name="T82" fmla="*/ 0 w 373"/>
                <a:gd name="T83" fmla="*/ 267 h 387"/>
                <a:gd name="T84" fmla="*/ 0 w 373"/>
                <a:gd name="T85" fmla="*/ 233 h 387"/>
                <a:gd name="T86" fmla="*/ 16 w 373"/>
                <a:gd name="T87" fmla="*/ 233 h 387"/>
                <a:gd name="T88" fmla="*/ 21 w 373"/>
                <a:gd name="T89" fmla="*/ 222 h 387"/>
                <a:gd name="T90" fmla="*/ 16 w 373"/>
                <a:gd name="T91" fmla="*/ 177 h 387"/>
                <a:gd name="T92" fmla="*/ 16 w 373"/>
                <a:gd name="T93" fmla="*/ 177 h 387"/>
                <a:gd name="T94" fmla="*/ 16 w 373"/>
                <a:gd name="T95" fmla="*/ 17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87">
                  <a:moveTo>
                    <a:pt x="16" y="177"/>
                  </a:moveTo>
                  <a:lnTo>
                    <a:pt x="21" y="172"/>
                  </a:lnTo>
                  <a:lnTo>
                    <a:pt x="16" y="139"/>
                  </a:lnTo>
                  <a:lnTo>
                    <a:pt x="21" y="122"/>
                  </a:lnTo>
                  <a:lnTo>
                    <a:pt x="33" y="111"/>
                  </a:lnTo>
                  <a:lnTo>
                    <a:pt x="21" y="99"/>
                  </a:lnTo>
                  <a:lnTo>
                    <a:pt x="33" y="82"/>
                  </a:lnTo>
                  <a:lnTo>
                    <a:pt x="49" y="56"/>
                  </a:lnTo>
                  <a:lnTo>
                    <a:pt x="38" y="28"/>
                  </a:lnTo>
                  <a:lnTo>
                    <a:pt x="54" y="11"/>
                  </a:lnTo>
                  <a:lnTo>
                    <a:pt x="54" y="7"/>
                  </a:lnTo>
                  <a:lnTo>
                    <a:pt x="59" y="7"/>
                  </a:lnTo>
                  <a:lnTo>
                    <a:pt x="87" y="11"/>
                  </a:lnTo>
                  <a:lnTo>
                    <a:pt x="92" y="0"/>
                  </a:lnTo>
                  <a:lnTo>
                    <a:pt x="113" y="0"/>
                  </a:lnTo>
                  <a:lnTo>
                    <a:pt x="168" y="56"/>
                  </a:lnTo>
                  <a:lnTo>
                    <a:pt x="168" y="66"/>
                  </a:lnTo>
                  <a:lnTo>
                    <a:pt x="177" y="66"/>
                  </a:lnTo>
                  <a:lnTo>
                    <a:pt x="201" y="56"/>
                  </a:lnTo>
                  <a:lnTo>
                    <a:pt x="222" y="82"/>
                  </a:lnTo>
                  <a:lnTo>
                    <a:pt x="269" y="99"/>
                  </a:lnTo>
                  <a:lnTo>
                    <a:pt x="286" y="132"/>
                  </a:lnTo>
                  <a:lnTo>
                    <a:pt x="319" y="139"/>
                  </a:lnTo>
                  <a:lnTo>
                    <a:pt x="340" y="177"/>
                  </a:lnTo>
                  <a:lnTo>
                    <a:pt x="373" y="205"/>
                  </a:lnTo>
                  <a:lnTo>
                    <a:pt x="340" y="233"/>
                  </a:lnTo>
                  <a:lnTo>
                    <a:pt x="340" y="283"/>
                  </a:lnTo>
                  <a:lnTo>
                    <a:pt x="357" y="283"/>
                  </a:lnTo>
                  <a:lnTo>
                    <a:pt x="340" y="316"/>
                  </a:lnTo>
                  <a:lnTo>
                    <a:pt x="302" y="359"/>
                  </a:lnTo>
                  <a:lnTo>
                    <a:pt x="286" y="354"/>
                  </a:lnTo>
                  <a:lnTo>
                    <a:pt x="286" y="359"/>
                  </a:lnTo>
                  <a:lnTo>
                    <a:pt x="248" y="387"/>
                  </a:lnTo>
                  <a:lnTo>
                    <a:pt x="194" y="370"/>
                  </a:lnTo>
                  <a:lnTo>
                    <a:pt x="146" y="375"/>
                  </a:lnTo>
                  <a:lnTo>
                    <a:pt x="139" y="375"/>
                  </a:lnTo>
                  <a:lnTo>
                    <a:pt x="146" y="370"/>
                  </a:lnTo>
                  <a:lnTo>
                    <a:pt x="108" y="359"/>
                  </a:lnTo>
                  <a:lnTo>
                    <a:pt x="92" y="342"/>
                  </a:lnTo>
                  <a:lnTo>
                    <a:pt x="38" y="342"/>
                  </a:lnTo>
                  <a:lnTo>
                    <a:pt x="0" y="300"/>
                  </a:lnTo>
                  <a:lnTo>
                    <a:pt x="0" y="267"/>
                  </a:lnTo>
                  <a:lnTo>
                    <a:pt x="0" y="233"/>
                  </a:lnTo>
                  <a:lnTo>
                    <a:pt x="16" y="233"/>
                  </a:lnTo>
                  <a:lnTo>
                    <a:pt x="21" y="222"/>
                  </a:lnTo>
                  <a:lnTo>
                    <a:pt x="16" y="177"/>
                  </a:lnTo>
                  <a:lnTo>
                    <a:pt x="16" y="177"/>
                  </a:lnTo>
                  <a:lnTo>
                    <a:pt x="16" y="177"/>
                  </a:lnTo>
                  <a:close/>
                </a:path>
              </a:pathLst>
            </a:custGeom>
            <a:pattFill prst="wd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0" name="Freeform 585">
              <a:extLst>
                <a:ext uri="{FF2B5EF4-FFF2-40B4-BE49-F238E27FC236}">
                  <a16:creationId xmlns:a16="http://schemas.microsoft.com/office/drawing/2014/main" id="{EA518C43-09E9-4452-8B36-826589932F7F}"/>
                </a:ext>
              </a:extLst>
            </p:cNvPr>
            <p:cNvSpPr>
              <a:spLocks/>
            </p:cNvSpPr>
            <p:nvPr/>
          </p:nvSpPr>
          <p:spPr bwMode="gray">
            <a:xfrm>
              <a:off x="7716516" y="2855559"/>
              <a:ext cx="597316" cy="356352"/>
            </a:xfrm>
            <a:custGeom>
              <a:avLst/>
              <a:gdLst>
                <a:gd name="T0" fmla="*/ 827 w 1207"/>
                <a:gd name="T1" fmla="*/ 515 h 720"/>
                <a:gd name="T2" fmla="*/ 806 w 1207"/>
                <a:gd name="T3" fmla="*/ 555 h 720"/>
                <a:gd name="T4" fmla="*/ 851 w 1207"/>
                <a:gd name="T5" fmla="*/ 572 h 720"/>
                <a:gd name="T6" fmla="*/ 851 w 1207"/>
                <a:gd name="T7" fmla="*/ 609 h 720"/>
                <a:gd name="T8" fmla="*/ 860 w 1207"/>
                <a:gd name="T9" fmla="*/ 659 h 720"/>
                <a:gd name="T10" fmla="*/ 813 w 1207"/>
                <a:gd name="T11" fmla="*/ 716 h 720"/>
                <a:gd name="T12" fmla="*/ 742 w 1207"/>
                <a:gd name="T13" fmla="*/ 704 h 720"/>
                <a:gd name="T14" fmla="*/ 700 w 1207"/>
                <a:gd name="T15" fmla="*/ 633 h 720"/>
                <a:gd name="T16" fmla="*/ 574 w 1207"/>
                <a:gd name="T17" fmla="*/ 576 h 720"/>
                <a:gd name="T18" fmla="*/ 456 w 1207"/>
                <a:gd name="T19" fmla="*/ 482 h 720"/>
                <a:gd name="T20" fmla="*/ 419 w 1207"/>
                <a:gd name="T21" fmla="*/ 387 h 720"/>
                <a:gd name="T22" fmla="*/ 348 w 1207"/>
                <a:gd name="T23" fmla="*/ 383 h 720"/>
                <a:gd name="T24" fmla="*/ 289 w 1207"/>
                <a:gd name="T25" fmla="*/ 366 h 720"/>
                <a:gd name="T26" fmla="*/ 303 w 1207"/>
                <a:gd name="T27" fmla="*/ 333 h 720"/>
                <a:gd name="T28" fmla="*/ 272 w 1207"/>
                <a:gd name="T29" fmla="*/ 283 h 720"/>
                <a:gd name="T30" fmla="*/ 213 w 1207"/>
                <a:gd name="T31" fmla="*/ 272 h 720"/>
                <a:gd name="T32" fmla="*/ 163 w 1207"/>
                <a:gd name="T33" fmla="*/ 255 h 720"/>
                <a:gd name="T34" fmla="*/ 168 w 1207"/>
                <a:gd name="T35" fmla="*/ 293 h 720"/>
                <a:gd name="T36" fmla="*/ 130 w 1207"/>
                <a:gd name="T37" fmla="*/ 300 h 720"/>
                <a:gd name="T38" fmla="*/ 71 w 1207"/>
                <a:gd name="T39" fmla="*/ 345 h 720"/>
                <a:gd name="T40" fmla="*/ 0 w 1207"/>
                <a:gd name="T41" fmla="*/ 371 h 720"/>
                <a:gd name="T42" fmla="*/ 364 w 1207"/>
                <a:gd name="T43" fmla="*/ 116 h 720"/>
                <a:gd name="T44" fmla="*/ 596 w 1207"/>
                <a:gd name="T45" fmla="*/ 182 h 720"/>
                <a:gd name="T46" fmla="*/ 671 w 1207"/>
                <a:gd name="T47" fmla="*/ 201 h 720"/>
                <a:gd name="T48" fmla="*/ 704 w 1207"/>
                <a:gd name="T49" fmla="*/ 316 h 720"/>
                <a:gd name="T50" fmla="*/ 844 w 1207"/>
                <a:gd name="T51" fmla="*/ 387 h 720"/>
                <a:gd name="T52" fmla="*/ 877 w 1207"/>
                <a:gd name="T53" fmla="*/ 437 h 720"/>
                <a:gd name="T54" fmla="*/ 919 w 1207"/>
                <a:gd name="T55" fmla="*/ 383 h 720"/>
                <a:gd name="T56" fmla="*/ 985 w 1207"/>
                <a:gd name="T57" fmla="*/ 345 h 720"/>
                <a:gd name="T58" fmla="*/ 1040 w 1207"/>
                <a:gd name="T59" fmla="*/ 300 h 720"/>
                <a:gd name="T60" fmla="*/ 1078 w 1207"/>
                <a:gd name="T61" fmla="*/ 300 h 720"/>
                <a:gd name="T62" fmla="*/ 1040 w 1207"/>
                <a:gd name="T63" fmla="*/ 328 h 720"/>
                <a:gd name="T64" fmla="*/ 1040 w 1207"/>
                <a:gd name="T65" fmla="*/ 366 h 720"/>
                <a:gd name="T66" fmla="*/ 1082 w 1207"/>
                <a:gd name="T67" fmla="*/ 371 h 720"/>
                <a:gd name="T68" fmla="*/ 1120 w 1207"/>
                <a:gd name="T69" fmla="*/ 371 h 720"/>
                <a:gd name="T70" fmla="*/ 1137 w 1207"/>
                <a:gd name="T71" fmla="*/ 404 h 720"/>
                <a:gd name="T72" fmla="*/ 1207 w 1207"/>
                <a:gd name="T73" fmla="*/ 420 h 720"/>
                <a:gd name="T74" fmla="*/ 1153 w 1207"/>
                <a:gd name="T75" fmla="*/ 437 h 720"/>
                <a:gd name="T76" fmla="*/ 1132 w 1207"/>
                <a:gd name="T77" fmla="*/ 460 h 720"/>
                <a:gd name="T78" fmla="*/ 1082 w 1207"/>
                <a:gd name="T79" fmla="*/ 460 h 720"/>
                <a:gd name="T80" fmla="*/ 1011 w 1207"/>
                <a:gd name="T81" fmla="*/ 456 h 720"/>
                <a:gd name="T82" fmla="*/ 1011 w 1207"/>
                <a:gd name="T83" fmla="*/ 399 h 720"/>
                <a:gd name="T84" fmla="*/ 943 w 1207"/>
                <a:gd name="T85" fmla="*/ 420 h 720"/>
                <a:gd name="T86" fmla="*/ 936 w 1207"/>
                <a:gd name="T87" fmla="*/ 465 h 720"/>
                <a:gd name="T88" fmla="*/ 898 w 1207"/>
                <a:gd name="T89" fmla="*/ 482 h 720"/>
                <a:gd name="T90" fmla="*/ 889 w 1207"/>
                <a:gd name="T91" fmla="*/ 49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07" h="720">
                  <a:moveTo>
                    <a:pt x="889" y="498"/>
                  </a:moveTo>
                  <a:lnTo>
                    <a:pt x="882" y="522"/>
                  </a:lnTo>
                  <a:lnTo>
                    <a:pt x="827" y="515"/>
                  </a:lnTo>
                  <a:lnTo>
                    <a:pt x="806" y="531"/>
                  </a:lnTo>
                  <a:lnTo>
                    <a:pt x="796" y="548"/>
                  </a:lnTo>
                  <a:lnTo>
                    <a:pt x="806" y="555"/>
                  </a:lnTo>
                  <a:lnTo>
                    <a:pt x="822" y="564"/>
                  </a:lnTo>
                  <a:lnTo>
                    <a:pt x="827" y="572"/>
                  </a:lnTo>
                  <a:lnTo>
                    <a:pt x="851" y="572"/>
                  </a:lnTo>
                  <a:lnTo>
                    <a:pt x="860" y="588"/>
                  </a:lnTo>
                  <a:lnTo>
                    <a:pt x="851" y="588"/>
                  </a:lnTo>
                  <a:lnTo>
                    <a:pt x="851" y="609"/>
                  </a:lnTo>
                  <a:lnTo>
                    <a:pt x="877" y="642"/>
                  </a:lnTo>
                  <a:lnTo>
                    <a:pt x="867" y="659"/>
                  </a:lnTo>
                  <a:lnTo>
                    <a:pt x="860" y="659"/>
                  </a:lnTo>
                  <a:lnTo>
                    <a:pt x="834" y="699"/>
                  </a:lnTo>
                  <a:lnTo>
                    <a:pt x="827" y="720"/>
                  </a:lnTo>
                  <a:lnTo>
                    <a:pt x="813" y="716"/>
                  </a:lnTo>
                  <a:lnTo>
                    <a:pt x="789" y="720"/>
                  </a:lnTo>
                  <a:lnTo>
                    <a:pt x="775" y="704"/>
                  </a:lnTo>
                  <a:lnTo>
                    <a:pt x="742" y="704"/>
                  </a:lnTo>
                  <a:lnTo>
                    <a:pt x="742" y="675"/>
                  </a:lnTo>
                  <a:lnTo>
                    <a:pt x="752" y="659"/>
                  </a:lnTo>
                  <a:lnTo>
                    <a:pt x="700" y="633"/>
                  </a:lnTo>
                  <a:lnTo>
                    <a:pt x="671" y="633"/>
                  </a:lnTo>
                  <a:lnTo>
                    <a:pt x="591" y="572"/>
                  </a:lnTo>
                  <a:lnTo>
                    <a:pt x="574" y="576"/>
                  </a:lnTo>
                  <a:lnTo>
                    <a:pt x="541" y="555"/>
                  </a:lnTo>
                  <a:lnTo>
                    <a:pt x="537" y="538"/>
                  </a:lnTo>
                  <a:lnTo>
                    <a:pt x="456" y="482"/>
                  </a:lnTo>
                  <a:lnTo>
                    <a:pt x="449" y="456"/>
                  </a:lnTo>
                  <a:lnTo>
                    <a:pt x="433" y="437"/>
                  </a:lnTo>
                  <a:lnTo>
                    <a:pt x="419" y="387"/>
                  </a:lnTo>
                  <a:lnTo>
                    <a:pt x="385" y="371"/>
                  </a:lnTo>
                  <a:lnTo>
                    <a:pt x="374" y="387"/>
                  </a:lnTo>
                  <a:lnTo>
                    <a:pt x="348" y="383"/>
                  </a:lnTo>
                  <a:lnTo>
                    <a:pt x="319" y="383"/>
                  </a:lnTo>
                  <a:lnTo>
                    <a:pt x="293" y="371"/>
                  </a:lnTo>
                  <a:lnTo>
                    <a:pt x="289" y="366"/>
                  </a:lnTo>
                  <a:lnTo>
                    <a:pt x="293" y="349"/>
                  </a:lnTo>
                  <a:lnTo>
                    <a:pt x="289" y="333"/>
                  </a:lnTo>
                  <a:lnTo>
                    <a:pt x="303" y="333"/>
                  </a:lnTo>
                  <a:lnTo>
                    <a:pt x="289" y="309"/>
                  </a:lnTo>
                  <a:lnTo>
                    <a:pt x="289" y="293"/>
                  </a:lnTo>
                  <a:lnTo>
                    <a:pt x="272" y="283"/>
                  </a:lnTo>
                  <a:lnTo>
                    <a:pt x="234" y="283"/>
                  </a:lnTo>
                  <a:lnTo>
                    <a:pt x="222" y="272"/>
                  </a:lnTo>
                  <a:lnTo>
                    <a:pt x="213" y="272"/>
                  </a:lnTo>
                  <a:lnTo>
                    <a:pt x="185" y="243"/>
                  </a:lnTo>
                  <a:lnTo>
                    <a:pt x="180" y="260"/>
                  </a:lnTo>
                  <a:lnTo>
                    <a:pt x="163" y="255"/>
                  </a:lnTo>
                  <a:lnTo>
                    <a:pt x="159" y="260"/>
                  </a:lnTo>
                  <a:lnTo>
                    <a:pt x="180" y="293"/>
                  </a:lnTo>
                  <a:lnTo>
                    <a:pt x="168" y="293"/>
                  </a:lnTo>
                  <a:lnTo>
                    <a:pt x="163" y="276"/>
                  </a:lnTo>
                  <a:lnTo>
                    <a:pt x="147" y="272"/>
                  </a:lnTo>
                  <a:lnTo>
                    <a:pt x="130" y="300"/>
                  </a:lnTo>
                  <a:lnTo>
                    <a:pt x="104" y="300"/>
                  </a:lnTo>
                  <a:lnTo>
                    <a:pt x="71" y="328"/>
                  </a:lnTo>
                  <a:lnTo>
                    <a:pt x="71" y="345"/>
                  </a:lnTo>
                  <a:lnTo>
                    <a:pt x="76" y="371"/>
                  </a:lnTo>
                  <a:lnTo>
                    <a:pt x="76" y="383"/>
                  </a:lnTo>
                  <a:lnTo>
                    <a:pt x="0" y="371"/>
                  </a:lnTo>
                  <a:lnTo>
                    <a:pt x="0" y="54"/>
                  </a:lnTo>
                  <a:lnTo>
                    <a:pt x="180" y="0"/>
                  </a:lnTo>
                  <a:lnTo>
                    <a:pt x="364" y="116"/>
                  </a:lnTo>
                  <a:lnTo>
                    <a:pt x="428" y="182"/>
                  </a:lnTo>
                  <a:lnTo>
                    <a:pt x="508" y="172"/>
                  </a:lnTo>
                  <a:lnTo>
                    <a:pt x="596" y="182"/>
                  </a:lnTo>
                  <a:lnTo>
                    <a:pt x="629" y="165"/>
                  </a:lnTo>
                  <a:lnTo>
                    <a:pt x="650" y="189"/>
                  </a:lnTo>
                  <a:lnTo>
                    <a:pt x="671" y="201"/>
                  </a:lnTo>
                  <a:lnTo>
                    <a:pt x="688" y="238"/>
                  </a:lnTo>
                  <a:lnTo>
                    <a:pt x="714" y="227"/>
                  </a:lnTo>
                  <a:lnTo>
                    <a:pt x="704" y="316"/>
                  </a:lnTo>
                  <a:lnTo>
                    <a:pt x="742" y="316"/>
                  </a:lnTo>
                  <a:lnTo>
                    <a:pt x="759" y="387"/>
                  </a:lnTo>
                  <a:lnTo>
                    <a:pt x="844" y="387"/>
                  </a:lnTo>
                  <a:lnTo>
                    <a:pt x="860" y="399"/>
                  </a:lnTo>
                  <a:lnTo>
                    <a:pt x="851" y="420"/>
                  </a:lnTo>
                  <a:lnTo>
                    <a:pt x="877" y="437"/>
                  </a:lnTo>
                  <a:lnTo>
                    <a:pt x="889" y="437"/>
                  </a:lnTo>
                  <a:lnTo>
                    <a:pt x="889" y="411"/>
                  </a:lnTo>
                  <a:lnTo>
                    <a:pt x="919" y="383"/>
                  </a:lnTo>
                  <a:lnTo>
                    <a:pt x="919" y="371"/>
                  </a:lnTo>
                  <a:lnTo>
                    <a:pt x="957" y="345"/>
                  </a:lnTo>
                  <a:lnTo>
                    <a:pt x="985" y="345"/>
                  </a:lnTo>
                  <a:lnTo>
                    <a:pt x="1011" y="309"/>
                  </a:lnTo>
                  <a:lnTo>
                    <a:pt x="1028" y="316"/>
                  </a:lnTo>
                  <a:lnTo>
                    <a:pt x="1040" y="300"/>
                  </a:lnTo>
                  <a:lnTo>
                    <a:pt x="1049" y="293"/>
                  </a:lnTo>
                  <a:lnTo>
                    <a:pt x="1061" y="283"/>
                  </a:lnTo>
                  <a:lnTo>
                    <a:pt x="1078" y="300"/>
                  </a:lnTo>
                  <a:lnTo>
                    <a:pt x="1044" y="309"/>
                  </a:lnTo>
                  <a:lnTo>
                    <a:pt x="1044" y="328"/>
                  </a:lnTo>
                  <a:lnTo>
                    <a:pt x="1040" y="328"/>
                  </a:lnTo>
                  <a:lnTo>
                    <a:pt x="995" y="354"/>
                  </a:lnTo>
                  <a:lnTo>
                    <a:pt x="1023" y="366"/>
                  </a:lnTo>
                  <a:lnTo>
                    <a:pt x="1040" y="366"/>
                  </a:lnTo>
                  <a:lnTo>
                    <a:pt x="1044" y="383"/>
                  </a:lnTo>
                  <a:lnTo>
                    <a:pt x="1082" y="387"/>
                  </a:lnTo>
                  <a:lnTo>
                    <a:pt x="1082" y="371"/>
                  </a:lnTo>
                  <a:lnTo>
                    <a:pt x="1099" y="371"/>
                  </a:lnTo>
                  <a:lnTo>
                    <a:pt x="1104" y="354"/>
                  </a:lnTo>
                  <a:lnTo>
                    <a:pt x="1120" y="371"/>
                  </a:lnTo>
                  <a:lnTo>
                    <a:pt x="1120" y="387"/>
                  </a:lnTo>
                  <a:lnTo>
                    <a:pt x="1137" y="387"/>
                  </a:lnTo>
                  <a:lnTo>
                    <a:pt x="1137" y="404"/>
                  </a:lnTo>
                  <a:lnTo>
                    <a:pt x="1153" y="399"/>
                  </a:lnTo>
                  <a:lnTo>
                    <a:pt x="1170" y="411"/>
                  </a:lnTo>
                  <a:lnTo>
                    <a:pt x="1207" y="420"/>
                  </a:lnTo>
                  <a:lnTo>
                    <a:pt x="1186" y="427"/>
                  </a:lnTo>
                  <a:lnTo>
                    <a:pt x="1170" y="444"/>
                  </a:lnTo>
                  <a:lnTo>
                    <a:pt x="1153" y="437"/>
                  </a:lnTo>
                  <a:lnTo>
                    <a:pt x="1153" y="456"/>
                  </a:lnTo>
                  <a:lnTo>
                    <a:pt x="1137" y="456"/>
                  </a:lnTo>
                  <a:lnTo>
                    <a:pt x="1132" y="460"/>
                  </a:lnTo>
                  <a:lnTo>
                    <a:pt x="1132" y="465"/>
                  </a:lnTo>
                  <a:lnTo>
                    <a:pt x="1104" y="477"/>
                  </a:lnTo>
                  <a:lnTo>
                    <a:pt x="1082" y="460"/>
                  </a:lnTo>
                  <a:lnTo>
                    <a:pt x="1049" y="465"/>
                  </a:lnTo>
                  <a:lnTo>
                    <a:pt x="1028" y="465"/>
                  </a:lnTo>
                  <a:lnTo>
                    <a:pt x="1011" y="456"/>
                  </a:lnTo>
                  <a:lnTo>
                    <a:pt x="1011" y="456"/>
                  </a:lnTo>
                  <a:lnTo>
                    <a:pt x="1044" y="427"/>
                  </a:lnTo>
                  <a:lnTo>
                    <a:pt x="1011" y="399"/>
                  </a:lnTo>
                  <a:lnTo>
                    <a:pt x="1007" y="411"/>
                  </a:lnTo>
                  <a:lnTo>
                    <a:pt x="969" y="437"/>
                  </a:lnTo>
                  <a:lnTo>
                    <a:pt x="943" y="420"/>
                  </a:lnTo>
                  <a:lnTo>
                    <a:pt x="943" y="420"/>
                  </a:lnTo>
                  <a:lnTo>
                    <a:pt x="936" y="444"/>
                  </a:lnTo>
                  <a:lnTo>
                    <a:pt x="936" y="465"/>
                  </a:lnTo>
                  <a:lnTo>
                    <a:pt x="889" y="477"/>
                  </a:lnTo>
                  <a:lnTo>
                    <a:pt x="915" y="477"/>
                  </a:lnTo>
                  <a:lnTo>
                    <a:pt x="898" y="482"/>
                  </a:lnTo>
                  <a:lnTo>
                    <a:pt x="905" y="498"/>
                  </a:lnTo>
                  <a:lnTo>
                    <a:pt x="889" y="498"/>
                  </a:lnTo>
                  <a:lnTo>
                    <a:pt x="889" y="498"/>
                  </a:lnTo>
                  <a:lnTo>
                    <a:pt x="889" y="498"/>
                  </a:lnTo>
                  <a:close/>
                </a:path>
              </a:pathLst>
            </a:custGeom>
            <a:pattFill prst="wd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1" name="Freeform 586">
              <a:extLst>
                <a:ext uri="{FF2B5EF4-FFF2-40B4-BE49-F238E27FC236}">
                  <a16:creationId xmlns:a16="http://schemas.microsoft.com/office/drawing/2014/main" id="{4129C107-A651-47B9-9417-8053C4A02A3E}"/>
                </a:ext>
              </a:extLst>
            </p:cNvPr>
            <p:cNvSpPr>
              <a:spLocks/>
            </p:cNvSpPr>
            <p:nvPr/>
          </p:nvSpPr>
          <p:spPr bwMode="gray">
            <a:xfrm>
              <a:off x="3648628" y="4124071"/>
              <a:ext cx="990" cy="10393"/>
            </a:xfrm>
            <a:custGeom>
              <a:avLst/>
              <a:gdLst>
                <a:gd name="T0" fmla="*/ 2 w 2"/>
                <a:gd name="T1" fmla="*/ 21 h 21"/>
                <a:gd name="T2" fmla="*/ 0 w 2"/>
                <a:gd name="T3" fmla="*/ 14 h 21"/>
                <a:gd name="T4" fmla="*/ 2 w 2"/>
                <a:gd name="T5" fmla="*/ 0 h 21"/>
                <a:gd name="T6" fmla="*/ 2 w 2"/>
                <a:gd name="T7" fmla="*/ 5 h 21"/>
                <a:gd name="T8" fmla="*/ 2 w 2"/>
                <a:gd name="T9" fmla="*/ 21 h 21"/>
                <a:gd name="T10" fmla="*/ 2 w 2"/>
                <a:gd name="T11" fmla="*/ 21 h 21"/>
                <a:gd name="T12" fmla="*/ 2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2" y="21"/>
                  </a:moveTo>
                  <a:lnTo>
                    <a:pt x="0" y="14"/>
                  </a:lnTo>
                  <a:lnTo>
                    <a:pt x="2" y="0"/>
                  </a:lnTo>
                  <a:lnTo>
                    <a:pt x="2" y="5"/>
                  </a:lnTo>
                  <a:lnTo>
                    <a:pt x="2" y="21"/>
                  </a:lnTo>
                  <a:lnTo>
                    <a:pt x="2" y="21"/>
                  </a:lnTo>
                  <a:lnTo>
                    <a:pt x="2" y="21"/>
                  </a:lnTo>
                  <a:close/>
                </a:path>
              </a:pathLst>
            </a:custGeom>
            <a:solidFill>
              <a:schemeClr val="accent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2" name="Freeform 587">
              <a:extLst>
                <a:ext uri="{FF2B5EF4-FFF2-40B4-BE49-F238E27FC236}">
                  <a16:creationId xmlns:a16="http://schemas.microsoft.com/office/drawing/2014/main" id="{3EF58B21-22FE-44BC-B0FA-7D9E6207215C}"/>
                </a:ext>
              </a:extLst>
            </p:cNvPr>
            <p:cNvSpPr>
              <a:spLocks noEditPoints="1"/>
            </p:cNvSpPr>
            <p:nvPr/>
          </p:nvSpPr>
          <p:spPr bwMode="gray">
            <a:xfrm>
              <a:off x="3229962" y="4163666"/>
              <a:ext cx="466669" cy="418713"/>
            </a:xfrm>
            <a:custGeom>
              <a:avLst/>
              <a:gdLst>
                <a:gd name="T0" fmla="*/ 900 w 943"/>
                <a:gd name="T1" fmla="*/ 324 h 846"/>
                <a:gd name="T2" fmla="*/ 905 w 943"/>
                <a:gd name="T3" fmla="*/ 366 h 846"/>
                <a:gd name="T4" fmla="*/ 851 w 943"/>
                <a:gd name="T5" fmla="*/ 439 h 846"/>
                <a:gd name="T6" fmla="*/ 879 w 943"/>
                <a:gd name="T7" fmla="*/ 550 h 846"/>
                <a:gd name="T8" fmla="*/ 813 w 943"/>
                <a:gd name="T9" fmla="*/ 584 h 846"/>
                <a:gd name="T10" fmla="*/ 744 w 943"/>
                <a:gd name="T11" fmla="*/ 600 h 846"/>
                <a:gd name="T12" fmla="*/ 669 w 943"/>
                <a:gd name="T13" fmla="*/ 607 h 846"/>
                <a:gd name="T14" fmla="*/ 610 w 943"/>
                <a:gd name="T15" fmla="*/ 600 h 846"/>
                <a:gd name="T16" fmla="*/ 702 w 943"/>
                <a:gd name="T17" fmla="*/ 718 h 846"/>
                <a:gd name="T18" fmla="*/ 631 w 943"/>
                <a:gd name="T19" fmla="*/ 780 h 846"/>
                <a:gd name="T20" fmla="*/ 560 w 943"/>
                <a:gd name="T21" fmla="*/ 824 h 846"/>
                <a:gd name="T22" fmla="*/ 527 w 943"/>
                <a:gd name="T23" fmla="*/ 824 h 846"/>
                <a:gd name="T24" fmla="*/ 430 w 943"/>
                <a:gd name="T25" fmla="*/ 718 h 846"/>
                <a:gd name="T26" fmla="*/ 400 w 943"/>
                <a:gd name="T27" fmla="*/ 612 h 846"/>
                <a:gd name="T28" fmla="*/ 414 w 943"/>
                <a:gd name="T29" fmla="*/ 456 h 846"/>
                <a:gd name="T30" fmla="*/ 296 w 943"/>
                <a:gd name="T31" fmla="*/ 439 h 846"/>
                <a:gd name="T32" fmla="*/ 215 w 943"/>
                <a:gd name="T33" fmla="*/ 385 h 846"/>
                <a:gd name="T34" fmla="*/ 81 w 943"/>
                <a:gd name="T35" fmla="*/ 362 h 846"/>
                <a:gd name="T36" fmla="*/ 43 w 943"/>
                <a:gd name="T37" fmla="*/ 267 h 846"/>
                <a:gd name="T38" fmla="*/ 22 w 943"/>
                <a:gd name="T39" fmla="*/ 184 h 846"/>
                <a:gd name="T40" fmla="*/ 144 w 943"/>
                <a:gd name="T41" fmla="*/ 28 h 846"/>
                <a:gd name="T42" fmla="*/ 81 w 943"/>
                <a:gd name="T43" fmla="*/ 177 h 846"/>
                <a:gd name="T44" fmla="*/ 161 w 943"/>
                <a:gd name="T45" fmla="*/ 213 h 846"/>
                <a:gd name="T46" fmla="*/ 199 w 943"/>
                <a:gd name="T47" fmla="*/ 73 h 846"/>
                <a:gd name="T48" fmla="*/ 241 w 943"/>
                <a:gd name="T49" fmla="*/ 45 h 846"/>
                <a:gd name="T50" fmla="*/ 241 w 943"/>
                <a:gd name="T51" fmla="*/ 12 h 846"/>
                <a:gd name="T52" fmla="*/ 362 w 943"/>
                <a:gd name="T53" fmla="*/ 99 h 846"/>
                <a:gd name="T54" fmla="*/ 506 w 943"/>
                <a:gd name="T55" fmla="*/ 123 h 846"/>
                <a:gd name="T56" fmla="*/ 636 w 943"/>
                <a:gd name="T57" fmla="*/ 128 h 846"/>
                <a:gd name="T58" fmla="*/ 685 w 943"/>
                <a:gd name="T59" fmla="*/ 123 h 846"/>
                <a:gd name="T60" fmla="*/ 770 w 943"/>
                <a:gd name="T61" fmla="*/ 128 h 846"/>
                <a:gd name="T62" fmla="*/ 723 w 943"/>
                <a:gd name="T63" fmla="*/ 139 h 846"/>
                <a:gd name="T64" fmla="*/ 754 w 943"/>
                <a:gd name="T65" fmla="*/ 156 h 846"/>
                <a:gd name="T66" fmla="*/ 770 w 943"/>
                <a:gd name="T67" fmla="*/ 184 h 846"/>
                <a:gd name="T68" fmla="*/ 792 w 943"/>
                <a:gd name="T69" fmla="*/ 177 h 846"/>
                <a:gd name="T70" fmla="*/ 808 w 943"/>
                <a:gd name="T71" fmla="*/ 177 h 846"/>
                <a:gd name="T72" fmla="*/ 879 w 943"/>
                <a:gd name="T73" fmla="*/ 213 h 846"/>
                <a:gd name="T74" fmla="*/ 851 w 943"/>
                <a:gd name="T75" fmla="*/ 267 h 846"/>
                <a:gd name="T76" fmla="*/ 863 w 943"/>
                <a:gd name="T77" fmla="*/ 279 h 846"/>
                <a:gd name="T78" fmla="*/ 938 w 943"/>
                <a:gd name="T79" fmla="*/ 272 h 846"/>
                <a:gd name="T80" fmla="*/ 506 w 943"/>
                <a:gd name="T81" fmla="*/ 33 h 846"/>
                <a:gd name="T82" fmla="*/ 648 w 943"/>
                <a:gd name="T83" fmla="*/ 99 h 846"/>
                <a:gd name="T84" fmla="*/ 664 w 943"/>
                <a:gd name="T85" fmla="*/ 83 h 846"/>
                <a:gd name="T86" fmla="*/ 565 w 943"/>
                <a:gd name="T87" fmla="*/ 99 h 846"/>
                <a:gd name="T88" fmla="*/ 565 w 943"/>
                <a:gd name="T89" fmla="*/ 99 h 846"/>
                <a:gd name="T90" fmla="*/ 879 w 943"/>
                <a:gd name="T91" fmla="*/ 234 h 846"/>
                <a:gd name="T92" fmla="*/ 867 w 943"/>
                <a:gd name="T93" fmla="*/ 250 h 846"/>
                <a:gd name="T94" fmla="*/ 879 w 943"/>
                <a:gd name="T95" fmla="*/ 250 h 846"/>
                <a:gd name="T96" fmla="*/ 867 w 943"/>
                <a:gd name="T97" fmla="*/ 267 h 846"/>
                <a:gd name="T98" fmla="*/ 867 w 943"/>
                <a:gd name="T99" fmla="*/ 267 h 846"/>
                <a:gd name="T100" fmla="*/ 863 w 943"/>
                <a:gd name="T101" fmla="*/ 267 h 846"/>
                <a:gd name="T102" fmla="*/ 851 w 943"/>
                <a:gd name="T103" fmla="*/ 272 h 846"/>
                <a:gd name="T104" fmla="*/ 867 w 943"/>
                <a:gd name="T105" fmla="*/ 267 h 846"/>
                <a:gd name="T106" fmla="*/ 825 w 943"/>
                <a:gd name="T107" fmla="*/ 272 h 846"/>
                <a:gd name="T108" fmla="*/ 846 w 943"/>
                <a:gd name="T109" fmla="*/ 272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43" h="846">
                  <a:moveTo>
                    <a:pt x="938" y="272"/>
                  </a:moveTo>
                  <a:lnTo>
                    <a:pt x="943" y="295"/>
                  </a:lnTo>
                  <a:lnTo>
                    <a:pt x="938" y="295"/>
                  </a:lnTo>
                  <a:lnTo>
                    <a:pt x="933" y="307"/>
                  </a:lnTo>
                  <a:lnTo>
                    <a:pt x="900" y="324"/>
                  </a:lnTo>
                  <a:lnTo>
                    <a:pt x="884" y="345"/>
                  </a:lnTo>
                  <a:lnTo>
                    <a:pt x="889" y="362"/>
                  </a:lnTo>
                  <a:lnTo>
                    <a:pt x="889" y="366"/>
                  </a:lnTo>
                  <a:lnTo>
                    <a:pt x="900" y="378"/>
                  </a:lnTo>
                  <a:lnTo>
                    <a:pt x="905" y="366"/>
                  </a:lnTo>
                  <a:lnTo>
                    <a:pt x="917" y="378"/>
                  </a:lnTo>
                  <a:lnTo>
                    <a:pt x="884" y="402"/>
                  </a:lnTo>
                  <a:lnTo>
                    <a:pt x="851" y="402"/>
                  </a:lnTo>
                  <a:lnTo>
                    <a:pt x="851" y="418"/>
                  </a:lnTo>
                  <a:lnTo>
                    <a:pt x="851" y="439"/>
                  </a:lnTo>
                  <a:lnTo>
                    <a:pt x="837" y="463"/>
                  </a:lnTo>
                  <a:lnTo>
                    <a:pt x="884" y="513"/>
                  </a:lnTo>
                  <a:lnTo>
                    <a:pt x="889" y="517"/>
                  </a:lnTo>
                  <a:lnTo>
                    <a:pt x="889" y="534"/>
                  </a:lnTo>
                  <a:lnTo>
                    <a:pt x="879" y="550"/>
                  </a:lnTo>
                  <a:lnTo>
                    <a:pt x="867" y="558"/>
                  </a:lnTo>
                  <a:lnTo>
                    <a:pt x="846" y="567"/>
                  </a:lnTo>
                  <a:lnTo>
                    <a:pt x="830" y="574"/>
                  </a:lnTo>
                  <a:lnTo>
                    <a:pt x="825" y="584"/>
                  </a:lnTo>
                  <a:lnTo>
                    <a:pt x="813" y="584"/>
                  </a:lnTo>
                  <a:lnTo>
                    <a:pt x="808" y="591"/>
                  </a:lnTo>
                  <a:lnTo>
                    <a:pt x="782" y="591"/>
                  </a:lnTo>
                  <a:lnTo>
                    <a:pt x="761" y="591"/>
                  </a:lnTo>
                  <a:lnTo>
                    <a:pt x="754" y="600"/>
                  </a:lnTo>
                  <a:lnTo>
                    <a:pt x="744" y="600"/>
                  </a:lnTo>
                  <a:lnTo>
                    <a:pt x="744" y="624"/>
                  </a:lnTo>
                  <a:lnTo>
                    <a:pt x="728" y="628"/>
                  </a:lnTo>
                  <a:lnTo>
                    <a:pt x="702" y="607"/>
                  </a:lnTo>
                  <a:lnTo>
                    <a:pt x="690" y="612"/>
                  </a:lnTo>
                  <a:lnTo>
                    <a:pt x="669" y="607"/>
                  </a:lnTo>
                  <a:lnTo>
                    <a:pt x="652" y="607"/>
                  </a:lnTo>
                  <a:lnTo>
                    <a:pt x="648" y="591"/>
                  </a:lnTo>
                  <a:lnTo>
                    <a:pt x="615" y="591"/>
                  </a:lnTo>
                  <a:lnTo>
                    <a:pt x="598" y="584"/>
                  </a:lnTo>
                  <a:lnTo>
                    <a:pt x="610" y="600"/>
                  </a:lnTo>
                  <a:lnTo>
                    <a:pt x="636" y="628"/>
                  </a:lnTo>
                  <a:lnTo>
                    <a:pt x="636" y="662"/>
                  </a:lnTo>
                  <a:lnTo>
                    <a:pt x="652" y="695"/>
                  </a:lnTo>
                  <a:lnTo>
                    <a:pt x="652" y="711"/>
                  </a:lnTo>
                  <a:lnTo>
                    <a:pt x="702" y="718"/>
                  </a:lnTo>
                  <a:lnTo>
                    <a:pt x="702" y="735"/>
                  </a:lnTo>
                  <a:lnTo>
                    <a:pt x="652" y="751"/>
                  </a:lnTo>
                  <a:lnTo>
                    <a:pt x="648" y="773"/>
                  </a:lnTo>
                  <a:lnTo>
                    <a:pt x="636" y="780"/>
                  </a:lnTo>
                  <a:lnTo>
                    <a:pt x="631" y="780"/>
                  </a:lnTo>
                  <a:lnTo>
                    <a:pt x="610" y="796"/>
                  </a:lnTo>
                  <a:lnTo>
                    <a:pt x="598" y="796"/>
                  </a:lnTo>
                  <a:lnTo>
                    <a:pt x="577" y="806"/>
                  </a:lnTo>
                  <a:lnTo>
                    <a:pt x="565" y="824"/>
                  </a:lnTo>
                  <a:lnTo>
                    <a:pt x="560" y="824"/>
                  </a:lnTo>
                  <a:lnTo>
                    <a:pt x="544" y="846"/>
                  </a:lnTo>
                  <a:lnTo>
                    <a:pt x="544" y="841"/>
                  </a:lnTo>
                  <a:lnTo>
                    <a:pt x="544" y="824"/>
                  </a:lnTo>
                  <a:lnTo>
                    <a:pt x="544" y="824"/>
                  </a:lnTo>
                  <a:lnTo>
                    <a:pt x="527" y="824"/>
                  </a:lnTo>
                  <a:lnTo>
                    <a:pt x="506" y="841"/>
                  </a:lnTo>
                  <a:lnTo>
                    <a:pt x="489" y="841"/>
                  </a:lnTo>
                  <a:lnTo>
                    <a:pt x="452" y="806"/>
                  </a:lnTo>
                  <a:lnTo>
                    <a:pt x="430" y="723"/>
                  </a:lnTo>
                  <a:lnTo>
                    <a:pt x="430" y="718"/>
                  </a:lnTo>
                  <a:lnTo>
                    <a:pt x="400" y="685"/>
                  </a:lnTo>
                  <a:lnTo>
                    <a:pt x="383" y="685"/>
                  </a:lnTo>
                  <a:lnTo>
                    <a:pt x="421" y="645"/>
                  </a:lnTo>
                  <a:lnTo>
                    <a:pt x="404" y="624"/>
                  </a:lnTo>
                  <a:lnTo>
                    <a:pt x="400" y="612"/>
                  </a:lnTo>
                  <a:lnTo>
                    <a:pt x="383" y="558"/>
                  </a:lnTo>
                  <a:lnTo>
                    <a:pt x="383" y="501"/>
                  </a:lnTo>
                  <a:lnTo>
                    <a:pt x="400" y="489"/>
                  </a:lnTo>
                  <a:lnTo>
                    <a:pt x="400" y="473"/>
                  </a:lnTo>
                  <a:lnTo>
                    <a:pt x="414" y="456"/>
                  </a:lnTo>
                  <a:lnTo>
                    <a:pt x="414" y="439"/>
                  </a:lnTo>
                  <a:lnTo>
                    <a:pt x="383" y="435"/>
                  </a:lnTo>
                  <a:lnTo>
                    <a:pt x="378" y="439"/>
                  </a:lnTo>
                  <a:lnTo>
                    <a:pt x="329" y="444"/>
                  </a:lnTo>
                  <a:lnTo>
                    <a:pt x="296" y="439"/>
                  </a:lnTo>
                  <a:lnTo>
                    <a:pt x="291" y="444"/>
                  </a:lnTo>
                  <a:lnTo>
                    <a:pt x="279" y="444"/>
                  </a:lnTo>
                  <a:lnTo>
                    <a:pt x="274" y="444"/>
                  </a:lnTo>
                  <a:lnTo>
                    <a:pt x="227" y="385"/>
                  </a:lnTo>
                  <a:lnTo>
                    <a:pt x="215" y="385"/>
                  </a:lnTo>
                  <a:lnTo>
                    <a:pt x="182" y="378"/>
                  </a:lnTo>
                  <a:lnTo>
                    <a:pt x="152" y="385"/>
                  </a:lnTo>
                  <a:lnTo>
                    <a:pt x="119" y="378"/>
                  </a:lnTo>
                  <a:lnTo>
                    <a:pt x="90" y="385"/>
                  </a:lnTo>
                  <a:lnTo>
                    <a:pt x="81" y="362"/>
                  </a:lnTo>
                  <a:lnTo>
                    <a:pt x="59" y="345"/>
                  </a:lnTo>
                  <a:lnTo>
                    <a:pt x="59" y="312"/>
                  </a:lnTo>
                  <a:lnTo>
                    <a:pt x="64" y="307"/>
                  </a:lnTo>
                  <a:lnTo>
                    <a:pt x="64" y="279"/>
                  </a:lnTo>
                  <a:lnTo>
                    <a:pt x="43" y="267"/>
                  </a:lnTo>
                  <a:lnTo>
                    <a:pt x="38" y="234"/>
                  </a:lnTo>
                  <a:lnTo>
                    <a:pt x="26" y="222"/>
                  </a:lnTo>
                  <a:lnTo>
                    <a:pt x="22" y="217"/>
                  </a:lnTo>
                  <a:lnTo>
                    <a:pt x="0" y="222"/>
                  </a:lnTo>
                  <a:lnTo>
                    <a:pt x="22" y="184"/>
                  </a:lnTo>
                  <a:lnTo>
                    <a:pt x="26" y="128"/>
                  </a:lnTo>
                  <a:lnTo>
                    <a:pt x="59" y="83"/>
                  </a:lnTo>
                  <a:lnTo>
                    <a:pt x="81" y="73"/>
                  </a:lnTo>
                  <a:lnTo>
                    <a:pt x="97" y="45"/>
                  </a:lnTo>
                  <a:lnTo>
                    <a:pt x="144" y="28"/>
                  </a:lnTo>
                  <a:lnTo>
                    <a:pt x="135" y="33"/>
                  </a:lnTo>
                  <a:lnTo>
                    <a:pt x="97" y="50"/>
                  </a:lnTo>
                  <a:lnTo>
                    <a:pt x="119" y="111"/>
                  </a:lnTo>
                  <a:lnTo>
                    <a:pt x="119" y="128"/>
                  </a:lnTo>
                  <a:lnTo>
                    <a:pt x="81" y="177"/>
                  </a:lnTo>
                  <a:lnTo>
                    <a:pt x="114" y="213"/>
                  </a:lnTo>
                  <a:lnTo>
                    <a:pt x="114" y="222"/>
                  </a:lnTo>
                  <a:lnTo>
                    <a:pt x="119" y="234"/>
                  </a:lnTo>
                  <a:lnTo>
                    <a:pt x="144" y="222"/>
                  </a:lnTo>
                  <a:lnTo>
                    <a:pt x="161" y="213"/>
                  </a:lnTo>
                  <a:lnTo>
                    <a:pt x="161" y="177"/>
                  </a:lnTo>
                  <a:lnTo>
                    <a:pt x="128" y="123"/>
                  </a:lnTo>
                  <a:lnTo>
                    <a:pt x="128" y="106"/>
                  </a:lnTo>
                  <a:lnTo>
                    <a:pt x="128" y="99"/>
                  </a:lnTo>
                  <a:lnTo>
                    <a:pt x="199" y="73"/>
                  </a:lnTo>
                  <a:lnTo>
                    <a:pt x="227" y="57"/>
                  </a:lnTo>
                  <a:lnTo>
                    <a:pt x="227" y="50"/>
                  </a:lnTo>
                  <a:lnTo>
                    <a:pt x="241" y="57"/>
                  </a:lnTo>
                  <a:lnTo>
                    <a:pt x="253" y="57"/>
                  </a:lnTo>
                  <a:lnTo>
                    <a:pt x="241" y="45"/>
                  </a:lnTo>
                  <a:lnTo>
                    <a:pt x="215" y="45"/>
                  </a:lnTo>
                  <a:lnTo>
                    <a:pt x="215" y="28"/>
                  </a:lnTo>
                  <a:lnTo>
                    <a:pt x="220" y="12"/>
                  </a:lnTo>
                  <a:lnTo>
                    <a:pt x="237" y="0"/>
                  </a:lnTo>
                  <a:lnTo>
                    <a:pt x="241" y="12"/>
                  </a:lnTo>
                  <a:lnTo>
                    <a:pt x="258" y="57"/>
                  </a:lnTo>
                  <a:lnTo>
                    <a:pt x="279" y="50"/>
                  </a:lnTo>
                  <a:lnTo>
                    <a:pt x="312" y="57"/>
                  </a:lnTo>
                  <a:lnTo>
                    <a:pt x="345" y="83"/>
                  </a:lnTo>
                  <a:lnTo>
                    <a:pt x="362" y="99"/>
                  </a:lnTo>
                  <a:lnTo>
                    <a:pt x="350" y="106"/>
                  </a:lnTo>
                  <a:lnTo>
                    <a:pt x="350" y="123"/>
                  </a:lnTo>
                  <a:lnTo>
                    <a:pt x="367" y="128"/>
                  </a:lnTo>
                  <a:lnTo>
                    <a:pt x="501" y="123"/>
                  </a:lnTo>
                  <a:lnTo>
                    <a:pt x="506" y="123"/>
                  </a:lnTo>
                  <a:lnTo>
                    <a:pt x="506" y="128"/>
                  </a:lnTo>
                  <a:lnTo>
                    <a:pt x="527" y="144"/>
                  </a:lnTo>
                  <a:lnTo>
                    <a:pt x="577" y="161"/>
                  </a:lnTo>
                  <a:lnTo>
                    <a:pt x="598" y="161"/>
                  </a:lnTo>
                  <a:lnTo>
                    <a:pt x="636" y="128"/>
                  </a:lnTo>
                  <a:lnTo>
                    <a:pt x="674" y="128"/>
                  </a:lnTo>
                  <a:lnTo>
                    <a:pt x="652" y="123"/>
                  </a:lnTo>
                  <a:lnTo>
                    <a:pt x="636" y="128"/>
                  </a:lnTo>
                  <a:lnTo>
                    <a:pt x="636" y="111"/>
                  </a:lnTo>
                  <a:lnTo>
                    <a:pt x="685" y="123"/>
                  </a:lnTo>
                  <a:lnTo>
                    <a:pt x="716" y="111"/>
                  </a:lnTo>
                  <a:lnTo>
                    <a:pt x="799" y="111"/>
                  </a:lnTo>
                  <a:lnTo>
                    <a:pt x="799" y="111"/>
                  </a:lnTo>
                  <a:lnTo>
                    <a:pt x="778" y="123"/>
                  </a:lnTo>
                  <a:lnTo>
                    <a:pt x="770" y="128"/>
                  </a:lnTo>
                  <a:lnTo>
                    <a:pt x="728" y="128"/>
                  </a:lnTo>
                  <a:lnTo>
                    <a:pt x="723" y="128"/>
                  </a:lnTo>
                  <a:lnTo>
                    <a:pt x="740" y="128"/>
                  </a:lnTo>
                  <a:lnTo>
                    <a:pt x="740" y="139"/>
                  </a:lnTo>
                  <a:lnTo>
                    <a:pt x="723" y="139"/>
                  </a:lnTo>
                  <a:lnTo>
                    <a:pt x="723" y="144"/>
                  </a:lnTo>
                  <a:lnTo>
                    <a:pt x="728" y="144"/>
                  </a:lnTo>
                  <a:lnTo>
                    <a:pt x="728" y="139"/>
                  </a:lnTo>
                  <a:lnTo>
                    <a:pt x="740" y="139"/>
                  </a:lnTo>
                  <a:lnTo>
                    <a:pt x="754" y="156"/>
                  </a:lnTo>
                  <a:lnTo>
                    <a:pt x="723" y="161"/>
                  </a:lnTo>
                  <a:lnTo>
                    <a:pt x="740" y="161"/>
                  </a:lnTo>
                  <a:lnTo>
                    <a:pt x="754" y="161"/>
                  </a:lnTo>
                  <a:lnTo>
                    <a:pt x="754" y="144"/>
                  </a:lnTo>
                  <a:lnTo>
                    <a:pt x="770" y="184"/>
                  </a:lnTo>
                  <a:lnTo>
                    <a:pt x="778" y="168"/>
                  </a:lnTo>
                  <a:lnTo>
                    <a:pt x="778" y="168"/>
                  </a:lnTo>
                  <a:lnTo>
                    <a:pt x="778" y="194"/>
                  </a:lnTo>
                  <a:lnTo>
                    <a:pt x="782" y="177"/>
                  </a:lnTo>
                  <a:lnTo>
                    <a:pt x="792" y="177"/>
                  </a:lnTo>
                  <a:lnTo>
                    <a:pt x="778" y="168"/>
                  </a:lnTo>
                  <a:lnTo>
                    <a:pt x="782" y="161"/>
                  </a:lnTo>
                  <a:lnTo>
                    <a:pt x="799" y="168"/>
                  </a:lnTo>
                  <a:lnTo>
                    <a:pt x="813" y="194"/>
                  </a:lnTo>
                  <a:lnTo>
                    <a:pt x="808" y="177"/>
                  </a:lnTo>
                  <a:lnTo>
                    <a:pt x="825" y="177"/>
                  </a:lnTo>
                  <a:lnTo>
                    <a:pt x="825" y="168"/>
                  </a:lnTo>
                  <a:lnTo>
                    <a:pt x="846" y="194"/>
                  </a:lnTo>
                  <a:lnTo>
                    <a:pt x="863" y="194"/>
                  </a:lnTo>
                  <a:lnTo>
                    <a:pt x="879" y="213"/>
                  </a:lnTo>
                  <a:lnTo>
                    <a:pt x="879" y="217"/>
                  </a:lnTo>
                  <a:lnTo>
                    <a:pt x="863" y="234"/>
                  </a:lnTo>
                  <a:lnTo>
                    <a:pt x="863" y="234"/>
                  </a:lnTo>
                  <a:lnTo>
                    <a:pt x="867" y="222"/>
                  </a:lnTo>
                  <a:lnTo>
                    <a:pt x="851" y="267"/>
                  </a:lnTo>
                  <a:lnTo>
                    <a:pt x="825" y="267"/>
                  </a:lnTo>
                  <a:lnTo>
                    <a:pt x="825" y="272"/>
                  </a:lnTo>
                  <a:lnTo>
                    <a:pt x="837" y="279"/>
                  </a:lnTo>
                  <a:lnTo>
                    <a:pt x="863" y="272"/>
                  </a:lnTo>
                  <a:lnTo>
                    <a:pt x="863" y="279"/>
                  </a:lnTo>
                  <a:lnTo>
                    <a:pt x="867" y="267"/>
                  </a:lnTo>
                  <a:lnTo>
                    <a:pt x="900" y="272"/>
                  </a:lnTo>
                  <a:lnTo>
                    <a:pt x="905" y="267"/>
                  </a:lnTo>
                  <a:lnTo>
                    <a:pt x="917" y="267"/>
                  </a:lnTo>
                  <a:lnTo>
                    <a:pt x="938" y="272"/>
                  </a:lnTo>
                  <a:lnTo>
                    <a:pt x="938" y="272"/>
                  </a:lnTo>
                  <a:lnTo>
                    <a:pt x="938" y="272"/>
                  </a:lnTo>
                  <a:close/>
                  <a:moveTo>
                    <a:pt x="506" y="33"/>
                  </a:moveTo>
                  <a:lnTo>
                    <a:pt x="501" y="33"/>
                  </a:lnTo>
                  <a:lnTo>
                    <a:pt x="506" y="33"/>
                  </a:lnTo>
                  <a:lnTo>
                    <a:pt x="506" y="33"/>
                  </a:lnTo>
                  <a:lnTo>
                    <a:pt x="506" y="33"/>
                  </a:lnTo>
                  <a:lnTo>
                    <a:pt x="506" y="33"/>
                  </a:lnTo>
                  <a:close/>
                  <a:moveTo>
                    <a:pt x="652" y="106"/>
                  </a:moveTo>
                  <a:lnTo>
                    <a:pt x="648" y="99"/>
                  </a:lnTo>
                  <a:lnTo>
                    <a:pt x="631" y="99"/>
                  </a:lnTo>
                  <a:lnTo>
                    <a:pt x="631" y="90"/>
                  </a:lnTo>
                  <a:lnTo>
                    <a:pt x="636" y="83"/>
                  </a:lnTo>
                  <a:lnTo>
                    <a:pt x="652" y="90"/>
                  </a:lnTo>
                  <a:lnTo>
                    <a:pt x="664" y="83"/>
                  </a:lnTo>
                  <a:lnTo>
                    <a:pt x="669" y="90"/>
                  </a:lnTo>
                  <a:lnTo>
                    <a:pt x="652" y="106"/>
                  </a:lnTo>
                  <a:lnTo>
                    <a:pt x="652" y="106"/>
                  </a:lnTo>
                  <a:lnTo>
                    <a:pt x="652" y="106"/>
                  </a:lnTo>
                  <a:close/>
                  <a:moveTo>
                    <a:pt x="565" y="99"/>
                  </a:moveTo>
                  <a:lnTo>
                    <a:pt x="556" y="99"/>
                  </a:lnTo>
                  <a:lnTo>
                    <a:pt x="565" y="99"/>
                  </a:lnTo>
                  <a:lnTo>
                    <a:pt x="565" y="99"/>
                  </a:lnTo>
                  <a:lnTo>
                    <a:pt x="565" y="99"/>
                  </a:lnTo>
                  <a:lnTo>
                    <a:pt x="565" y="99"/>
                  </a:lnTo>
                  <a:close/>
                  <a:moveTo>
                    <a:pt x="879" y="234"/>
                  </a:moveTo>
                  <a:lnTo>
                    <a:pt x="867" y="234"/>
                  </a:lnTo>
                  <a:lnTo>
                    <a:pt x="879" y="222"/>
                  </a:lnTo>
                  <a:lnTo>
                    <a:pt x="879" y="234"/>
                  </a:lnTo>
                  <a:lnTo>
                    <a:pt x="879" y="234"/>
                  </a:lnTo>
                  <a:lnTo>
                    <a:pt x="879" y="234"/>
                  </a:lnTo>
                  <a:close/>
                  <a:moveTo>
                    <a:pt x="867" y="250"/>
                  </a:moveTo>
                  <a:lnTo>
                    <a:pt x="863" y="250"/>
                  </a:lnTo>
                  <a:lnTo>
                    <a:pt x="879" y="234"/>
                  </a:lnTo>
                  <a:lnTo>
                    <a:pt x="867" y="250"/>
                  </a:lnTo>
                  <a:lnTo>
                    <a:pt x="867" y="250"/>
                  </a:lnTo>
                  <a:lnTo>
                    <a:pt x="867" y="250"/>
                  </a:lnTo>
                  <a:close/>
                  <a:moveTo>
                    <a:pt x="851" y="255"/>
                  </a:moveTo>
                  <a:lnTo>
                    <a:pt x="863" y="250"/>
                  </a:lnTo>
                  <a:lnTo>
                    <a:pt x="879" y="250"/>
                  </a:lnTo>
                  <a:lnTo>
                    <a:pt x="867" y="255"/>
                  </a:lnTo>
                  <a:lnTo>
                    <a:pt x="851" y="255"/>
                  </a:lnTo>
                  <a:lnTo>
                    <a:pt x="851" y="255"/>
                  </a:lnTo>
                  <a:lnTo>
                    <a:pt x="851" y="255"/>
                  </a:lnTo>
                  <a:close/>
                  <a:moveTo>
                    <a:pt x="867" y="267"/>
                  </a:moveTo>
                  <a:lnTo>
                    <a:pt x="867" y="267"/>
                  </a:lnTo>
                  <a:lnTo>
                    <a:pt x="879" y="255"/>
                  </a:lnTo>
                  <a:lnTo>
                    <a:pt x="867" y="267"/>
                  </a:lnTo>
                  <a:lnTo>
                    <a:pt x="867" y="267"/>
                  </a:lnTo>
                  <a:lnTo>
                    <a:pt x="867" y="267"/>
                  </a:lnTo>
                  <a:close/>
                  <a:moveTo>
                    <a:pt x="863" y="267"/>
                  </a:moveTo>
                  <a:lnTo>
                    <a:pt x="851" y="267"/>
                  </a:lnTo>
                  <a:lnTo>
                    <a:pt x="867" y="255"/>
                  </a:lnTo>
                  <a:lnTo>
                    <a:pt x="863" y="267"/>
                  </a:lnTo>
                  <a:lnTo>
                    <a:pt x="863" y="267"/>
                  </a:lnTo>
                  <a:lnTo>
                    <a:pt x="863" y="267"/>
                  </a:lnTo>
                  <a:close/>
                  <a:moveTo>
                    <a:pt x="851" y="272"/>
                  </a:moveTo>
                  <a:lnTo>
                    <a:pt x="851" y="267"/>
                  </a:lnTo>
                  <a:lnTo>
                    <a:pt x="863" y="267"/>
                  </a:lnTo>
                  <a:lnTo>
                    <a:pt x="851" y="272"/>
                  </a:lnTo>
                  <a:lnTo>
                    <a:pt x="851" y="272"/>
                  </a:lnTo>
                  <a:lnTo>
                    <a:pt x="851" y="272"/>
                  </a:lnTo>
                  <a:close/>
                  <a:moveTo>
                    <a:pt x="851" y="272"/>
                  </a:moveTo>
                  <a:lnTo>
                    <a:pt x="846" y="272"/>
                  </a:lnTo>
                  <a:lnTo>
                    <a:pt x="867" y="267"/>
                  </a:lnTo>
                  <a:lnTo>
                    <a:pt x="851" y="272"/>
                  </a:lnTo>
                  <a:lnTo>
                    <a:pt x="851" y="272"/>
                  </a:lnTo>
                  <a:lnTo>
                    <a:pt x="851" y="272"/>
                  </a:lnTo>
                  <a:close/>
                  <a:moveTo>
                    <a:pt x="846" y="272"/>
                  </a:moveTo>
                  <a:lnTo>
                    <a:pt x="825" y="272"/>
                  </a:lnTo>
                  <a:lnTo>
                    <a:pt x="846" y="272"/>
                  </a:lnTo>
                  <a:lnTo>
                    <a:pt x="851" y="272"/>
                  </a:lnTo>
                  <a:lnTo>
                    <a:pt x="846" y="272"/>
                  </a:lnTo>
                  <a:lnTo>
                    <a:pt x="846" y="272"/>
                  </a:lnTo>
                  <a:lnTo>
                    <a:pt x="846" y="272"/>
                  </a:lnTo>
                  <a:close/>
                </a:path>
              </a:pathLst>
            </a:custGeom>
            <a:pattFill prst="dk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3" name="Freeform 588">
              <a:extLst>
                <a:ext uri="{FF2B5EF4-FFF2-40B4-BE49-F238E27FC236}">
                  <a16:creationId xmlns:a16="http://schemas.microsoft.com/office/drawing/2014/main" id="{571C242E-BAD5-462F-90B1-0968624C65C4}"/>
                </a:ext>
              </a:extLst>
            </p:cNvPr>
            <p:cNvSpPr>
              <a:spLocks noEditPoints="1"/>
            </p:cNvSpPr>
            <p:nvPr/>
          </p:nvSpPr>
          <p:spPr bwMode="gray">
            <a:xfrm>
              <a:off x="9320413" y="3757821"/>
              <a:ext cx="254862" cy="537992"/>
            </a:xfrm>
            <a:custGeom>
              <a:avLst/>
              <a:gdLst>
                <a:gd name="T0" fmla="*/ 374 w 515"/>
                <a:gd name="T1" fmla="*/ 615 h 1087"/>
                <a:gd name="T2" fmla="*/ 364 w 515"/>
                <a:gd name="T3" fmla="*/ 556 h 1087"/>
                <a:gd name="T4" fmla="*/ 340 w 515"/>
                <a:gd name="T5" fmla="*/ 522 h 1087"/>
                <a:gd name="T6" fmla="*/ 310 w 515"/>
                <a:gd name="T7" fmla="*/ 499 h 1087"/>
                <a:gd name="T8" fmla="*/ 248 w 515"/>
                <a:gd name="T9" fmla="*/ 421 h 1087"/>
                <a:gd name="T10" fmla="*/ 211 w 515"/>
                <a:gd name="T11" fmla="*/ 367 h 1087"/>
                <a:gd name="T12" fmla="*/ 118 w 515"/>
                <a:gd name="T13" fmla="*/ 300 h 1087"/>
                <a:gd name="T14" fmla="*/ 185 w 515"/>
                <a:gd name="T15" fmla="*/ 260 h 1087"/>
                <a:gd name="T16" fmla="*/ 173 w 515"/>
                <a:gd name="T17" fmla="*/ 211 h 1087"/>
                <a:gd name="T18" fmla="*/ 118 w 515"/>
                <a:gd name="T19" fmla="*/ 182 h 1087"/>
                <a:gd name="T20" fmla="*/ 55 w 515"/>
                <a:gd name="T21" fmla="*/ 116 h 1087"/>
                <a:gd name="T22" fmla="*/ 22 w 515"/>
                <a:gd name="T23" fmla="*/ 41 h 1087"/>
                <a:gd name="T24" fmla="*/ 102 w 515"/>
                <a:gd name="T25" fmla="*/ 41 h 1087"/>
                <a:gd name="T26" fmla="*/ 147 w 515"/>
                <a:gd name="T27" fmla="*/ 41 h 1087"/>
                <a:gd name="T28" fmla="*/ 194 w 515"/>
                <a:gd name="T29" fmla="*/ 5 h 1087"/>
                <a:gd name="T30" fmla="*/ 281 w 515"/>
                <a:gd name="T31" fmla="*/ 22 h 1087"/>
                <a:gd name="T32" fmla="*/ 326 w 515"/>
                <a:gd name="T33" fmla="*/ 41 h 1087"/>
                <a:gd name="T34" fmla="*/ 340 w 515"/>
                <a:gd name="T35" fmla="*/ 100 h 1087"/>
                <a:gd name="T36" fmla="*/ 395 w 515"/>
                <a:gd name="T37" fmla="*/ 128 h 1087"/>
                <a:gd name="T38" fmla="*/ 395 w 515"/>
                <a:gd name="T39" fmla="*/ 133 h 1087"/>
                <a:gd name="T40" fmla="*/ 348 w 515"/>
                <a:gd name="T41" fmla="*/ 182 h 1087"/>
                <a:gd name="T42" fmla="*/ 336 w 515"/>
                <a:gd name="T43" fmla="*/ 173 h 1087"/>
                <a:gd name="T44" fmla="*/ 310 w 515"/>
                <a:gd name="T45" fmla="*/ 173 h 1087"/>
                <a:gd name="T46" fmla="*/ 310 w 515"/>
                <a:gd name="T47" fmla="*/ 201 h 1087"/>
                <a:gd name="T48" fmla="*/ 265 w 515"/>
                <a:gd name="T49" fmla="*/ 256 h 1087"/>
                <a:gd name="T50" fmla="*/ 265 w 515"/>
                <a:gd name="T51" fmla="*/ 367 h 1087"/>
                <a:gd name="T52" fmla="*/ 348 w 515"/>
                <a:gd name="T53" fmla="*/ 466 h 1087"/>
                <a:gd name="T54" fmla="*/ 390 w 515"/>
                <a:gd name="T55" fmla="*/ 504 h 1087"/>
                <a:gd name="T56" fmla="*/ 418 w 515"/>
                <a:gd name="T57" fmla="*/ 539 h 1087"/>
                <a:gd name="T58" fmla="*/ 428 w 515"/>
                <a:gd name="T59" fmla="*/ 539 h 1087"/>
                <a:gd name="T60" fmla="*/ 503 w 515"/>
                <a:gd name="T61" fmla="*/ 704 h 1087"/>
                <a:gd name="T62" fmla="*/ 499 w 515"/>
                <a:gd name="T63" fmla="*/ 737 h 1087"/>
                <a:gd name="T64" fmla="*/ 487 w 515"/>
                <a:gd name="T65" fmla="*/ 808 h 1087"/>
                <a:gd name="T66" fmla="*/ 487 w 515"/>
                <a:gd name="T67" fmla="*/ 848 h 1087"/>
                <a:gd name="T68" fmla="*/ 482 w 515"/>
                <a:gd name="T69" fmla="*/ 886 h 1087"/>
                <a:gd name="T70" fmla="*/ 395 w 515"/>
                <a:gd name="T71" fmla="*/ 931 h 1087"/>
                <a:gd name="T72" fmla="*/ 336 w 515"/>
                <a:gd name="T73" fmla="*/ 948 h 1087"/>
                <a:gd name="T74" fmla="*/ 310 w 515"/>
                <a:gd name="T75" fmla="*/ 948 h 1087"/>
                <a:gd name="T76" fmla="*/ 326 w 515"/>
                <a:gd name="T77" fmla="*/ 976 h 1087"/>
                <a:gd name="T78" fmla="*/ 319 w 515"/>
                <a:gd name="T79" fmla="*/ 988 h 1087"/>
                <a:gd name="T80" fmla="*/ 310 w 515"/>
                <a:gd name="T81" fmla="*/ 1014 h 1087"/>
                <a:gd name="T82" fmla="*/ 281 w 515"/>
                <a:gd name="T83" fmla="*/ 1030 h 1087"/>
                <a:gd name="T84" fmla="*/ 180 w 515"/>
                <a:gd name="T85" fmla="*/ 1087 h 1087"/>
                <a:gd name="T86" fmla="*/ 201 w 515"/>
                <a:gd name="T87" fmla="*/ 988 h 1087"/>
                <a:gd name="T88" fmla="*/ 173 w 515"/>
                <a:gd name="T89" fmla="*/ 976 h 1087"/>
                <a:gd name="T90" fmla="*/ 201 w 515"/>
                <a:gd name="T91" fmla="*/ 931 h 1087"/>
                <a:gd name="T92" fmla="*/ 234 w 515"/>
                <a:gd name="T93" fmla="*/ 919 h 1087"/>
                <a:gd name="T94" fmla="*/ 255 w 515"/>
                <a:gd name="T95" fmla="*/ 893 h 1087"/>
                <a:gd name="T96" fmla="*/ 303 w 515"/>
                <a:gd name="T97" fmla="*/ 865 h 1087"/>
                <a:gd name="T98" fmla="*/ 364 w 515"/>
                <a:gd name="T99" fmla="*/ 815 h 1087"/>
                <a:gd name="T100" fmla="*/ 374 w 515"/>
                <a:gd name="T101" fmla="*/ 766 h 1087"/>
                <a:gd name="T102" fmla="*/ 374 w 515"/>
                <a:gd name="T103" fmla="*/ 700 h 1087"/>
                <a:gd name="T104" fmla="*/ 364 w 515"/>
                <a:gd name="T105" fmla="*/ 166 h 1087"/>
                <a:gd name="T106" fmla="*/ 378 w 515"/>
                <a:gd name="T107" fmla="*/ 173 h 1087"/>
                <a:gd name="T108" fmla="*/ 378 w 515"/>
                <a:gd name="T109" fmla="*/ 173 h 1087"/>
                <a:gd name="T110" fmla="*/ 336 w 515"/>
                <a:gd name="T111" fmla="*/ 189 h 1087"/>
                <a:gd name="T112" fmla="*/ 336 w 515"/>
                <a:gd name="T113" fmla="*/ 182 h 1087"/>
                <a:gd name="T114" fmla="*/ 336 w 515"/>
                <a:gd name="T115" fmla="*/ 182 h 1087"/>
                <a:gd name="T116" fmla="*/ 326 w 515"/>
                <a:gd name="T117" fmla="*/ 959 h 1087"/>
                <a:gd name="T118" fmla="*/ 326 w 515"/>
                <a:gd name="T119" fmla="*/ 931 h 1087"/>
                <a:gd name="T120" fmla="*/ 336 w 515"/>
                <a:gd name="T121" fmla="*/ 948 h 1087"/>
                <a:gd name="T122" fmla="*/ 130 w 515"/>
                <a:gd name="T123" fmla="*/ 959 h 1087"/>
                <a:gd name="T124" fmla="*/ 130 w 515"/>
                <a:gd name="T125" fmla="*/ 948 h 1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5" h="1087">
                  <a:moveTo>
                    <a:pt x="374" y="700"/>
                  </a:moveTo>
                  <a:lnTo>
                    <a:pt x="364" y="683"/>
                  </a:lnTo>
                  <a:lnTo>
                    <a:pt x="378" y="643"/>
                  </a:lnTo>
                  <a:lnTo>
                    <a:pt x="374" y="615"/>
                  </a:lnTo>
                  <a:lnTo>
                    <a:pt x="378" y="615"/>
                  </a:lnTo>
                  <a:lnTo>
                    <a:pt x="390" y="598"/>
                  </a:lnTo>
                  <a:lnTo>
                    <a:pt x="348" y="560"/>
                  </a:lnTo>
                  <a:lnTo>
                    <a:pt x="364" y="556"/>
                  </a:lnTo>
                  <a:lnTo>
                    <a:pt x="374" y="539"/>
                  </a:lnTo>
                  <a:lnTo>
                    <a:pt x="364" y="539"/>
                  </a:lnTo>
                  <a:lnTo>
                    <a:pt x="348" y="522"/>
                  </a:lnTo>
                  <a:lnTo>
                    <a:pt x="340" y="522"/>
                  </a:lnTo>
                  <a:lnTo>
                    <a:pt x="336" y="504"/>
                  </a:lnTo>
                  <a:lnTo>
                    <a:pt x="326" y="515"/>
                  </a:lnTo>
                  <a:lnTo>
                    <a:pt x="319" y="515"/>
                  </a:lnTo>
                  <a:lnTo>
                    <a:pt x="310" y="499"/>
                  </a:lnTo>
                  <a:lnTo>
                    <a:pt x="310" y="478"/>
                  </a:lnTo>
                  <a:lnTo>
                    <a:pt x="303" y="478"/>
                  </a:lnTo>
                  <a:lnTo>
                    <a:pt x="293" y="461"/>
                  </a:lnTo>
                  <a:lnTo>
                    <a:pt x="248" y="421"/>
                  </a:lnTo>
                  <a:lnTo>
                    <a:pt x="234" y="388"/>
                  </a:lnTo>
                  <a:lnTo>
                    <a:pt x="227" y="388"/>
                  </a:lnTo>
                  <a:lnTo>
                    <a:pt x="211" y="371"/>
                  </a:lnTo>
                  <a:lnTo>
                    <a:pt x="211" y="367"/>
                  </a:lnTo>
                  <a:lnTo>
                    <a:pt x="211" y="350"/>
                  </a:lnTo>
                  <a:lnTo>
                    <a:pt x="180" y="338"/>
                  </a:lnTo>
                  <a:lnTo>
                    <a:pt x="140" y="310"/>
                  </a:lnTo>
                  <a:lnTo>
                    <a:pt x="118" y="300"/>
                  </a:lnTo>
                  <a:lnTo>
                    <a:pt x="130" y="284"/>
                  </a:lnTo>
                  <a:lnTo>
                    <a:pt x="130" y="267"/>
                  </a:lnTo>
                  <a:lnTo>
                    <a:pt x="173" y="277"/>
                  </a:lnTo>
                  <a:lnTo>
                    <a:pt x="185" y="260"/>
                  </a:lnTo>
                  <a:lnTo>
                    <a:pt x="185" y="256"/>
                  </a:lnTo>
                  <a:lnTo>
                    <a:pt x="194" y="244"/>
                  </a:lnTo>
                  <a:lnTo>
                    <a:pt x="194" y="239"/>
                  </a:lnTo>
                  <a:lnTo>
                    <a:pt x="173" y="211"/>
                  </a:lnTo>
                  <a:lnTo>
                    <a:pt x="156" y="211"/>
                  </a:lnTo>
                  <a:lnTo>
                    <a:pt x="173" y="201"/>
                  </a:lnTo>
                  <a:lnTo>
                    <a:pt x="130" y="173"/>
                  </a:lnTo>
                  <a:lnTo>
                    <a:pt x="118" y="182"/>
                  </a:lnTo>
                  <a:lnTo>
                    <a:pt x="109" y="201"/>
                  </a:lnTo>
                  <a:lnTo>
                    <a:pt x="71" y="182"/>
                  </a:lnTo>
                  <a:lnTo>
                    <a:pt x="48" y="149"/>
                  </a:lnTo>
                  <a:lnTo>
                    <a:pt x="55" y="116"/>
                  </a:lnTo>
                  <a:lnTo>
                    <a:pt x="33" y="128"/>
                  </a:lnTo>
                  <a:lnTo>
                    <a:pt x="33" y="100"/>
                  </a:lnTo>
                  <a:lnTo>
                    <a:pt x="0" y="74"/>
                  </a:lnTo>
                  <a:lnTo>
                    <a:pt x="22" y="41"/>
                  </a:lnTo>
                  <a:lnTo>
                    <a:pt x="64" y="62"/>
                  </a:lnTo>
                  <a:lnTo>
                    <a:pt x="76" y="41"/>
                  </a:lnTo>
                  <a:lnTo>
                    <a:pt x="92" y="57"/>
                  </a:lnTo>
                  <a:lnTo>
                    <a:pt x="102" y="41"/>
                  </a:lnTo>
                  <a:lnTo>
                    <a:pt x="126" y="62"/>
                  </a:lnTo>
                  <a:lnTo>
                    <a:pt x="130" y="41"/>
                  </a:lnTo>
                  <a:lnTo>
                    <a:pt x="147" y="29"/>
                  </a:lnTo>
                  <a:lnTo>
                    <a:pt x="147" y="41"/>
                  </a:lnTo>
                  <a:lnTo>
                    <a:pt x="156" y="45"/>
                  </a:lnTo>
                  <a:lnTo>
                    <a:pt x="173" y="29"/>
                  </a:lnTo>
                  <a:lnTo>
                    <a:pt x="180" y="41"/>
                  </a:lnTo>
                  <a:lnTo>
                    <a:pt x="194" y="5"/>
                  </a:lnTo>
                  <a:lnTo>
                    <a:pt x="227" y="0"/>
                  </a:lnTo>
                  <a:lnTo>
                    <a:pt x="239" y="17"/>
                  </a:lnTo>
                  <a:lnTo>
                    <a:pt x="255" y="29"/>
                  </a:lnTo>
                  <a:lnTo>
                    <a:pt x="281" y="22"/>
                  </a:lnTo>
                  <a:lnTo>
                    <a:pt x="286" y="29"/>
                  </a:lnTo>
                  <a:lnTo>
                    <a:pt x="303" y="22"/>
                  </a:lnTo>
                  <a:lnTo>
                    <a:pt x="319" y="29"/>
                  </a:lnTo>
                  <a:lnTo>
                    <a:pt x="326" y="41"/>
                  </a:lnTo>
                  <a:lnTo>
                    <a:pt x="310" y="62"/>
                  </a:lnTo>
                  <a:lnTo>
                    <a:pt x="319" y="78"/>
                  </a:lnTo>
                  <a:lnTo>
                    <a:pt x="319" y="95"/>
                  </a:lnTo>
                  <a:lnTo>
                    <a:pt x="340" y="100"/>
                  </a:lnTo>
                  <a:lnTo>
                    <a:pt x="340" y="111"/>
                  </a:lnTo>
                  <a:lnTo>
                    <a:pt x="357" y="116"/>
                  </a:lnTo>
                  <a:lnTo>
                    <a:pt x="364" y="128"/>
                  </a:lnTo>
                  <a:lnTo>
                    <a:pt x="395" y="128"/>
                  </a:lnTo>
                  <a:lnTo>
                    <a:pt x="411" y="133"/>
                  </a:lnTo>
                  <a:lnTo>
                    <a:pt x="411" y="133"/>
                  </a:lnTo>
                  <a:lnTo>
                    <a:pt x="407" y="145"/>
                  </a:lnTo>
                  <a:lnTo>
                    <a:pt x="395" y="133"/>
                  </a:lnTo>
                  <a:lnTo>
                    <a:pt x="378" y="149"/>
                  </a:lnTo>
                  <a:lnTo>
                    <a:pt x="374" y="149"/>
                  </a:lnTo>
                  <a:lnTo>
                    <a:pt x="364" y="173"/>
                  </a:lnTo>
                  <a:lnTo>
                    <a:pt x="348" y="182"/>
                  </a:lnTo>
                  <a:lnTo>
                    <a:pt x="340" y="173"/>
                  </a:lnTo>
                  <a:lnTo>
                    <a:pt x="348" y="173"/>
                  </a:lnTo>
                  <a:lnTo>
                    <a:pt x="340" y="173"/>
                  </a:lnTo>
                  <a:lnTo>
                    <a:pt x="336" y="173"/>
                  </a:lnTo>
                  <a:lnTo>
                    <a:pt x="336" y="182"/>
                  </a:lnTo>
                  <a:lnTo>
                    <a:pt x="326" y="182"/>
                  </a:lnTo>
                  <a:lnTo>
                    <a:pt x="326" y="173"/>
                  </a:lnTo>
                  <a:lnTo>
                    <a:pt x="310" y="173"/>
                  </a:lnTo>
                  <a:lnTo>
                    <a:pt x="326" y="182"/>
                  </a:lnTo>
                  <a:lnTo>
                    <a:pt x="319" y="182"/>
                  </a:lnTo>
                  <a:lnTo>
                    <a:pt x="326" y="201"/>
                  </a:lnTo>
                  <a:lnTo>
                    <a:pt x="310" y="201"/>
                  </a:lnTo>
                  <a:lnTo>
                    <a:pt x="310" y="227"/>
                  </a:lnTo>
                  <a:lnTo>
                    <a:pt x="303" y="227"/>
                  </a:lnTo>
                  <a:lnTo>
                    <a:pt x="310" y="227"/>
                  </a:lnTo>
                  <a:lnTo>
                    <a:pt x="265" y="256"/>
                  </a:lnTo>
                  <a:lnTo>
                    <a:pt x="255" y="277"/>
                  </a:lnTo>
                  <a:lnTo>
                    <a:pt x="255" y="300"/>
                  </a:lnTo>
                  <a:lnTo>
                    <a:pt x="239" y="322"/>
                  </a:lnTo>
                  <a:lnTo>
                    <a:pt x="265" y="367"/>
                  </a:lnTo>
                  <a:lnTo>
                    <a:pt x="303" y="404"/>
                  </a:lnTo>
                  <a:lnTo>
                    <a:pt x="293" y="421"/>
                  </a:lnTo>
                  <a:lnTo>
                    <a:pt x="319" y="445"/>
                  </a:lnTo>
                  <a:lnTo>
                    <a:pt x="348" y="466"/>
                  </a:lnTo>
                  <a:lnTo>
                    <a:pt x="348" y="482"/>
                  </a:lnTo>
                  <a:lnTo>
                    <a:pt x="378" y="499"/>
                  </a:lnTo>
                  <a:lnTo>
                    <a:pt x="374" y="499"/>
                  </a:lnTo>
                  <a:lnTo>
                    <a:pt x="390" y="504"/>
                  </a:lnTo>
                  <a:lnTo>
                    <a:pt x="395" y="522"/>
                  </a:lnTo>
                  <a:lnTo>
                    <a:pt x="411" y="522"/>
                  </a:lnTo>
                  <a:lnTo>
                    <a:pt x="428" y="532"/>
                  </a:lnTo>
                  <a:lnTo>
                    <a:pt x="418" y="539"/>
                  </a:lnTo>
                  <a:lnTo>
                    <a:pt x="428" y="544"/>
                  </a:lnTo>
                  <a:lnTo>
                    <a:pt x="428" y="532"/>
                  </a:lnTo>
                  <a:lnTo>
                    <a:pt x="433" y="539"/>
                  </a:lnTo>
                  <a:lnTo>
                    <a:pt x="428" y="539"/>
                  </a:lnTo>
                  <a:lnTo>
                    <a:pt x="433" y="544"/>
                  </a:lnTo>
                  <a:lnTo>
                    <a:pt x="461" y="589"/>
                  </a:lnTo>
                  <a:lnTo>
                    <a:pt x="466" y="589"/>
                  </a:lnTo>
                  <a:lnTo>
                    <a:pt x="503" y="704"/>
                  </a:lnTo>
                  <a:lnTo>
                    <a:pt x="503" y="709"/>
                  </a:lnTo>
                  <a:lnTo>
                    <a:pt x="499" y="704"/>
                  </a:lnTo>
                  <a:lnTo>
                    <a:pt x="499" y="704"/>
                  </a:lnTo>
                  <a:lnTo>
                    <a:pt x="499" y="737"/>
                  </a:lnTo>
                  <a:lnTo>
                    <a:pt x="515" y="775"/>
                  </a:lnTo>
                  <a:lnTo>
                    <a:pt x="499" y="792"/>
                  </a:lnTo>
                  <a:lnTo>
                    <a:pt x="503" y="815"/>
                  </a:lnTo>
                  <a:lnTo>
                    <a:pt x="487" y="808"/>
                  </a:lnTo>
                  <a:lnTo>
                    <a:pt x="499" y="848"/>
                  </a:lnTo>
                  <a:lnTo>
                    <a:pt x="499" y="832"/>
                  </a:lnTo>
                  <a:lnTo>
                    <a:pt x="499" y="837"/>
                  </a:lnTo>
                  <a:lnTo>
                    <a:pt x="487" y="848"/>
                  </a:lnTo>
                  <a:lnTo>
                    <a:pt x="499" y="853"/>
                  </a:lnTo>
                  <a:lnTo>
                    <a:pt x="487" y="870"/>
                  </a:lnTo>
                  <a:lnTo>
                    <a:pt x="482" y="870"/>
                  </a:lnTo>
                  <a:lnTo>
                    <a:pt x="482" y="886"/>
                  </a:lnTo>
                  <a:lnTo>
                    <a:pt x="466" y="886"/>
                  </a:lnTo>
                  <a:lnTo>
                    <a:pt x="418" y="919"/>
                  </a:lnTo>
                  <a:lnTo>
                    <a:pt x="411" y="931"/>
                  </a:lnTo>
                  <a:lnTo>
                    <a:pt x="395" y="931"/>
                  </a:lnTo>
                  <a:lnTo>
                    <a:pt x="357" y="959"/>
                  </a:lnTo>
                  <a:lnTo>
                    <a:pt x="340" y="948"/>
                  </a:lnTo>
                  <a:lnTo>
                    <a:pt x="340" y="931"/>
                  </a:lnTo>
                  <a:lnTo>
                    <a:pt x="336" y="948"/>
                  </a:lnTo>
                  <a:lnTo>
                    <a:pt x="336" y="943"/>
                  </a:lnTo>
                  <a:lnTo>
                    <a:pt x="319" y="931"/>
                  </a:lnTo>
                  <a:lnTo>
                    <a:pt x="319" y="948"/>
                  </a:lnTo>
                  <a:lnTo>
                    <a:pt x="310" y="948"/>
                  </a:lnTo>
                  <a:lnTo>
                    <a:pt x="319" y="948"/>
                  </a:lnTo>
                  <a:lnTo>
                    <a:pt x="326" y="964"/>
                  </a:lnTo>
                  <a:lnTo>
                    <a:pt x="293" y="964"/>
                  </a:lnTo>
                  <a:lnTo>
                    <a:pt x="326" y="976"/>
                  </a:lnTo>
                  <a:lnTo>
                    <a:pt x="326" y="981"/>
                  </a:lnTo>
                  <a:lnTo>
                    <a:pt x="310" y="988"/>
                  </a:lnTo>
                  <a:lnTo>
                    <a:pt x="286" y="964"/>
                  </a:lnTo>
                  <a:lnTo>
                    <a:pt x="319" y="988"/>
                  </a:lnTo>
                  <a:lnTo>
                    <a:pt x="310" y="997"/>
                  </a:lnTo>
                  <a:lnTo>
                    <a:pt x="281" y="964"/>
                  </a:lnTo>
                  <a:lnTo>
                    <a:pt x="310" y="1004"/>
                  </a:lnTo>
                  <a:lnTo>
                    <a:pt x="310" y="1014"/>
                  </a:lnTo>
                  <a:lnTo>
                    <a:pt x="293" y="1021"/>
                  </a:lnTo>
                  <a:lnTo>
                    <a:pt x="255" y="981"/>
                  </a:lnTo>
                  <a:lnTo>
                    <a:pt x="281" y="1014"/>
                  </a:lnTo>
                  <a:lnTo>
                    <a:pt x="281" y="1030"/>
                  </a:lnTo>
                  <a:lnTo>
                    <a:pt x="234" y="1042"/>
                  </a:lnTo>
                  <a:lnTo>
                    <a:pt x="218" y="1075"/>
                  </a:lnTo>
                  <a:lnTo>
                    <a:pt x="201" y="1087"/>
                  </a:lnTo>
                  <a:lnTo>
                    <a:pt x="180" y="1087"/>
                  </a:lnTo>
                  <a:lnTo>
                    <a:pt x="194" y="1075"/>
                  </a:lnTo>
                  <a:lnTo>
                    <a:pt x="185" y="1070"/>
                  </a:lnTo>
                  <a:lnTo>
                    <a:pt x="185" y="1004"/>
                  </a:lnTo>
                  <a:lnTo>
                    <a:pt x="201" y="988"/>
                  </a:lnTo>
                  <a:lnTo>
                    <a:pt x="211" y="997"/>
                  </a:lnTo>
                  <a:lnTo>
                    <a:pt x="211" y="988"/>
                  </a:lnTo>
                  <a:lnTo>
                    <a:pt x="185" y="964"/>
                  </a:lnTo>
                  <a:lnTo>
                    <a:pt x="173" y="976"/>
                  </a:lnTo>
                  <a:lnTo>
                    <a:pt x="163" y="959"/>
                  </a:lnTo>
                  <a:lnTo>
                    <a:pt x="173" y="948"/>
                  </a:lnTo>
                  <a:lnTo>
                    <a:pt x="194" y="943"/>
                  </a:lnTo>
                  <a:lnTo>
                    <a:pt x="201" y="931"/>
                  </a:lnTo>
                  <a:lnTo>
                    <a:pt x="201" y="919"/>
                  </a:lnTo>
                  <a:lnTo>
                    <a:pt x="211" y="919"/>
                  </a:lnTo>
                  <a:lnTo>
                    <a:pt x="227" y="919"/>
                  </a:lnTo>
                  <a:lnTo>
                    <a:pt x="234" y="919"/>
                  </a:lnTo>
                  <a:lnTo>
                    <a:pt x="255" y="910"/>
                  </a:lnTo>
                  <a:lnTo>
                    <a:pt x="281" y="926"/>
                  </a:lnTo>
                  <a:lnTo>
                    <a:pt x="281" y="910"/>
                  </a:lnTo>
                  <a:lnTo>
                    <a:pt x="255" y="893"/>
                  </a:lnTo>
                  <a:lnTo>
                    <a:pt x="255" y="870"/>
                  </a:lnTo>
                  <a:lnTo>
                    <a:pt x="265" y="865"/>
                  </a:lnTo>
                  <a:lnTo>
                    <a:pt x="272" y="853"/>
                  </a:lnTo>
                  <a:lnTo>
                    <a:pt x="303" y="865"/>
                  </a:lnTo>
                  <a:lnTo>
                    <a:pt x="293" y="837"/>
                  </a:lnTo>
                  <a:lnTo>
                    <a:pt x="319" y="837"/>
                  </a:lnTo>
                  <a:lnTo>
                    <a:pt x="348" y="815"/>
                  </a:lnTo>
                  <a:lnTo>
                    <a:pt x="364" y="815"/>
                  </a:lnTo>
                  <a:lnTo>
                    <a:pt x="374" y="820"/>
                  </a:lnTo>
                  <a:lnTo>
                    <a:pt x="378" y="815"/>
                  </a:lnTo>
                  <a:lnTo>
                    <a:pt x="378" y="792"/>
                  </a:lnTo>
                  <a:lnTo>
                    <a:pt x="374" y="766"/>
                  </a:lnTo>
                  <a:lnTo>
                    <a:pt x="378" y="726"/>
                  </a:lnTo>
                  <a:lnTo>
                    <a:pt x="374" y="704"/>
                  </a:lnTo>
                  <a:lnTo>
                    <a:pt x="374" y="700"/>
                  </a:lnTo>
                  <a:lnTo>
                    <a:pt x="374" y="700"/>
                  </a:lnTo>
                  <a:lnTo>
                    <a:pt x="374" y="700"/>
                  </a:lnTo>
                  <a:close/>
                  <a:moveTo>
                    <a:pt x="374" y="149"/>
                  </a:moveTo>
                  <a:lnTo>
                    <a:pt x="378" y="156"/>
                  </a:lnTo>
                  <a:lnTo>
                    <a:pt x="364" y="166"/>
                  </a:lnTo>
                  <a:lnTo>
                    <a:pt x="374" y="149"/>
                  </a:lnTo>
                  <a:lnTo>
                    <a:pt x="374" y="149"/>
                  </a:lnTo>
                  <a:lnTo>
                    <a:pt x="374" y="149"/>
                  </a:lnTo>
                  <a:close/>
                  <a:moveTo>
                    <a:pt x="378" y="173"/>
                  </a:moveTo>
                  <a:lnTo>
                    <a:pt x="374" y="182"/>
                  </a:lnTo>
                  <a:lnTo>
                    <a:pt x="364" y="182"/>
                  </a:lnTo>
                  <a:lnTo>
                    <a:pt x="378" y="173"/>
                  </a:lnTo>
                  <a:lnTo>
                    <a:pt x="378" y="173"/>
                  </a:lnTo>
                  <a:lnTo>
                    <a:pt x="378" y="173"/>
                  </a:lnTo>
                  <a:close/>
                  <a:moveTo>
                    <a:pt x="326" y="182"/>
                  </a:moveTo>
                  <a:lnTo>
                    <a:pt x="326" y="182"/>
                  </a:lnTo>
                  <a:lnTo>
                    <a:pt x="336" y="189"/>
                  </a:lnTo>
                  <a:lnTo>
                    <a:pt x="326" y="182"/>
                  </a:lnTo>
                  <a:lnTo>
                    <a:pt x="326" y="182"/>
                  </a:lnTo>
                  <a:lnTo>
                    <a:pt x="326" y="182"/>
                  </a:lnTo>
                  <a:close/>
                  <a:moveTo>
                    <a:pt x="336" y="182"/>
                  </a:moveTo>
                  <a:lnTo>
                    <a:pt x="348" y="189"/>
                  </a:lnTo>
                  <a:lnTo>
                    <a:pt x="340" y="201"/>
                  </a:lnTo>
                  <a:lnTo>
                    <a:pt x="336" y="182"/>
                  </a:lnTo>
                  <a:lnTo>
                    <a:pt x="336" y="182"/>
                  </a:lnTo>
                  <a:lnTo>
                    <a:pt x="336" y="182"/>
                  </a:lnTo>
                  <a:close/>
                  <a:moveTo>
                    <a:pt x="326" y="931"/>
                  </a:moveTo>
                  <a:lnTo>
                    <a:pt x="326" y="943"/>
                  </a:lnTo>
                  <a:lnTo>
                    <a:pt x="326" y="959"/>
                  </a:lnTo>
                  <a:lnTo>
                    <a:pt x="326" y="948"/>
                  </a:lnTo>
                  <a:lnTo>
                    <a:pt x="326" y="931"/>
                  </a:lnTo>
                  <a:lnTo>
                    <a:pt x="326" y="931"/>
                  </a:lnTo>
                  <a:lnTo>
                    <a:pt x="326" y="931"/>
                  </a:lnTo>
                  <a:close/>
                  <a:moveTo>
                    <a:pt x="336" y="948"/>
                  </a:moveTo>
                  <a:lnTo>
                    <a:pt x="340" y="959"/>
                  </a:lnTo>
                  <a:lnTo>
                    <a:pt x="336" y="959"/>
                  </a:lnTo>
                  <a:lnTo>
                    <a:pt x="336" y="948"/>
                  </a:lnTo>
                  <a:lnTo>
                    <a:pt x="336" y="948"/>
                  </a:lnTo>
                  <a:lnTo>
                    <a:pt x="336" y="948"/>
                  </a:lnTo>
                  <a:close/>
                  <a:moveTo>
                    <a:pt x="130" y="948"/>
                  </a:moveTo>
                  <a:lnTo>
                    <a:pt x="130" y="959"/>
                  </a:lnTo>
                  <a:lnTo>
                    <a:pt x="130" y="981"/>
                  </a:lnTo>
                  <a:lnTo>
                    <a:pt x="118" y="959"/>
                  </a:lnTo>
                  <a:lnTo>
                    <a:pt x="130" y="948"/>
                  </a:lnTo>
                  <a:lnTo>
                    <a:pt x="130" y="948"/>
                  </a:lnTo>
                  <a:lnTo>
                    <a:pt x="130" y="948"/>
                  </a:lnTo>
                  <a:close/>
                </a:path>
              </a:pathLst>
            </a:custGeom>
            <a:pattFill prst="dk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4" name="Freeform 589">
              <a:extLst>
                <a:ext uri="{FF2B5EF4-FFF2-40B4-BE49-F238E27FC236}">
                  <a16:creationId xmlns:a16="http://schemas.microsoft.com/office/drawing/2014/main" id="{3359F55A-8ECE-4AD7-B06C-1E3DD036545E}"/>
                </a:ext>
              </a:extLst>
            </p:cNvPr>
            <p:cNvSpPr>
              <a:spLocks noEditPoints="1"/>
            </p:cNvSpPr>
            <p:nvPr/>
          </p:nvSpPr>
          <p:spPr bwMode="gray">
            <a:xfrm>
              <a:off x="3522434" y="3940451"/>
              <a:ext cx="10392" cy="25736"/>
            </a:xfrm>
            <a:custGeom>
              <a:avLst/>
              <a:gdLst>
                <a:gd name="T0" fmla="*/ 16 w 21"/>
                <a:gd name="T1" fmla="*/ 0 h 52"/>
                <a:gd name="T2" fmla="*/ 7 w 21"/>
                <a:gd name="T3" fmla="*/ 0 h 52"/>
                <a:gd name="T4" fmla="*/ 16 w 21"/>
                <a:gd name="T5" fmla="*/ 0 h 52"/>
                <a:gd name="T6" fmla="*/ 16 w 21"/>
                <a:gd name="T7" fmla="*/ 0 h 52"/>
                <a:gd name="T8" fmla="*/ 16 w 21"/>
                <a:gd name="T9" fmla="*/ 0 h 52"/>
                <a:gd name="T10" fmla="*/ 16 w 21"/>
                <a:gd name="T11" fmla="*/ 0 h 52"/>
                <a:gd name="T12" fmla="*/ 0 w 21"/>
                <a:gd name="T13" fmla="*/ 52 h 52"/>
                <a:gd name="T14" fmla="*/ 0 w 21"/>
                <a:gd name="T15" fmla="*/ 40 h 52"/>
                <a:gd name="T16" fmla="*/ 21 w 21"/>
                <a:gd name="T17" fmla="*/ 52 h 52"/>
                <a:gd name="T18" fmla="*/ 0 w 21"/>
                <a:gd name="T19" fmla="*/ 52 h 52"/>
                <a:gd name="T20" fmla="*/ 0 w 21"/>
                <a:gd name="T21" fmla="*/ 52 h 52"/>
                <a:gd name="T22" fmla="*/ 0 w 21"/>
                <a:gd name="T23"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2">
                  <a:moveTo>
                    <a:pt x="16" y="0"/>
                  </a:moveTo>
                  <a:lnTo>
                    <a:pt x="7" y="0"/>
                  </a:lnTo>
                  <a:lnTo>
                    <a:pt x="16" y="0"/>
                  </a:lnTo>
                  <a:lnTo>
                    <a:pt x="16" y="0"/>
                  </a:lnTo>
                  <a:lnTo>
                    <a:pt x="16" y="0"/>
                  </a:lnTo>
                  <a:lnTo>
                    <a:pt x="16" y="0"/>
                  </a:lnTo>
                  <a:close/>
                  <a:moveTo>
                    <a:pt x="0" y="52"/>
                  </a:moveTo>
                  <a:lnTo>
                    <a:pt x="0" y="40"/>
                  </a:lnTo>
                  <a:lnTo>
                    <a:pt x="21" y="52"/>
                  </a:lnTo>
                  <a:lnTo>
                    <a:pt x="0" y="52"/>
                  </a:lnTo>
                  <a:lnTo>
                    <a:pt x="0" y="52"/>
                  </a:lnTo>
                  <a:lnTo>
                    <a:pt x="0" y="52"/>
                  </a:lnTo>
                  <a:close/>
                </a:path>
              </a:pathLst>
            </a:custGeom>
            <a:solidFill>
              <a:schemeClr val="accent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5" name="Freeform 590">
              <a:extLst>
                <a:ext uri="{FF2B5EF4-FFF2-40B4-BE49-F238E27FC236}">
                  <a16:creationId xmlns:a16="http://schemas.microsoft.com/office/drawing/2014/main" id="{A39AC452-4008-4AE5-A5CB-4B4AD38FA5B0}"/>
                </a:ext>
              </a:extLst>
            </p:cNvPr>
            <p:cNvSpPr>
              <a:spLocks/>
            </p:cNvSpPr>
            <p:nvPr/>
          </p:nvSpPr>
          <p:spPr bwMode="gray">
            <a:xfrm>
              <a:off x="6184377" y="5213417"/>
              <a:ext cx="466173" cy="450388"/>
            </a:xfrm>
            <a:custGeom>
              <a:avLst/>
              <a:gdLst>
                <a:gd name="T0" fmla="*/ 21 w 942"/>
                <a:gd name="T1" fmla="*/ 17 h 910"/>
                <a:gd name="T2" fmla="*/ 96 w 942"/>
                <a:gd name="T3" fmla="*/ 0 h 910"/>
                <a:gd name="T4" fmla="*/ 151 w 942"/>
                <a:gd name="T5" fmla="*/ 38 h 910"/>
                <a:gd name="T6" fmla="*/ 474 w 942"/>
                <a:gd name="T7" fmla="*/ 55 h 910"/>
                <a:gd name="T8" fmla="*/ 597 w 942"/>
                <a:gd name="T9" fmla="*/ 71 h 910"/>
                <a:gd name="T10" fmla="*/ 635 w 942"/>
                <a:gd name="T11" fmla="*/ 76 h 910"/>
                <a:gd name="T12" fmla="*/ 668 w 942"/>
                <a:gd name="T13" fmla="*/ 76 h 910"/>
                <a:gd name="T14" fmla="*/ 867 w 942"/>
                <a:gd name="T15" fmla="*/ 38 h 910"/>
                <a:gd name="T16" fmla="*/ 921 w 942"/>
                <a:gd name="T17" fmla="*/ 50 h 910"/>
                <a:gd name="T18" fmla="*/ 916 w 942"/>
                <a:gd name="T19" fmla="*/ 59 h 910"/>
                <a:gd name="T20" fmla="*/ 878 w 942"/>
                <a:gd name="T21" fmla="*/ 76 h 910"/>
                <a:gd name="T22" fmla="*/ 807 w 942"/>
                <a:gd name="T23" fmla="*/ 76 h 910"/>
                <a:gd name="T24" fmla="*/ 647 w 942"/>
                <a:gd name="T25" fmla="*/ 383 h 910"/>
                <a:gd name="T26" fmla="*/ 576 w 942"/>
                <a:gd name="T27" fmla="*/ 586 h 910"/>
                <a:gd name="T28" fmla="*/ 543 w 942"/>
                <a:gd name="T29" fmla="*/ 881 h 910"/>
                <a:gd name="T30" fmla="*/ 522 w 942"/>
                <a:gd name="T31" fmla="*/ 898 h 910"/>
                <a:gd name="T32" fmla="*/ 512 w 942"/>
                <a:gd name="T33" fmla="*/ 910 h 910"/>
                <a:gd name="T34" fmla="*/ 441 w 942"/>
                <a:gd name="T35" fmla="*/ 910 h 910"/>
                <a:gd name="T36" fmla="*/ 404 w 942"/>
                <a:gd name="T37" fmla="*/ 903 h 910"/>
                <a:gd name="T38" fmla="*/ 387 w 942"/>
                <a:gd name="T39" fmla="*/ 898 h 910"/>
                <a:gd name="T40" fmla="*/ 382 w 942"/>
                <a:gd name="T41" fmla="*/ 853 h 910"/>
                <a:gd name="T42" fmla="*/ 349 w 942"/>
                <a:gd name="T43" fmla="*/ 848 h 910"/>
                <a:gd name="T44" fmla="*/ 328 w 942"/>
                <a:gd name="T45" fmla="*/ 886 h 910"/>
                <a:gd name="T46" fmla="*/ 274 w 942"/>
                <a:gd name="T47" fmla="*/ 841 h 910"/>
                <a:gd name="T48" fmla="*/ 236 w 942"/>
                <a:gd name="T49" fmla="*/ 759 h 910"/>
                <a:gd name="T50" fmla="*/ 236 w 942"/>
                <a:gd name="T51" fmla="*/ 730 h 910"/>
                <a:gd name="T52" fmla="*/ 219 w 942"/>
                <a:gd name="T53" fmla="*/ 714 h 910"/>
                <a:gd name="T54" fmla="*/ 215 w 942"/>
                <a:gd name="T55" fmla="*/ 664 h 910"/>
                <a:gd name="T56" fmla="*/ 181 w 942"/>
                <a:gd name="T57" fmla="*/ 537 h 910"/>
                <a:gd name="T58" fmla="*/ 203 w 942"/>
                <a:gd name="T59" fmla="*/ 466 h 910"/>
                <a:gd name="T60" fmla="*/ 189 w 942"/>
                <a:gd name="T61" fmla="*/ 425 h 910"/>
                <a:gd name="T62" fmla="*/ 151 w 942"/>
                <a:gd name="T63" fmla="*/ 366 h 910"/>
                <a:gd name="T64" fmla="*/ 113 w 942"/>
                <a:gd name="T65" fmla="*/ 293 h 910"/>
                <a:gd name="T66" fmla="*/ 42 w 942"/>
                <a:gd name="T67" fmla="*/ 149 h 910"/>
                <a:gd name="T68" fmla="*/ 0 w 942"/>
                <a:gd name="T69" fmla="*/ 88 h 910"/>
                <a:gd name="T70" fmla="*/ 0 w 942"/>
                <a:gd name="T71" fmla="*/ 22 h 910"/>
                <a:gd name="T72" fmla="*/ 0 w 942"/>
                <a:gd name="T73" fmla="*/ 22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2" h="910">
                  <a:moveTo>
                    <a:pt x="0" y="22"/>
                  </a:moveTo>
                  <a:lnTo>
                    <a:pt x="21" y="17"/>
                  </a:lnTo>
                  <a:lnTo>
                    <a:pt x="52" y="22"/>
                  </a:lnTo>
                  <a:lnTo>
                    <a:pt x="96" y="0"/>
                  </a:lnTo>
                  <a:lnTo>
                    <a:pt x="118" y="5"/>
                  </a:lnTo>
                  <a:lnTo>
                    <a:pt x="151" y="38"/>
                  </a:lnTo>
                  <a:lnTo>
                    <a:pt x="467" y="33"/>
                  </a:lnTo>
                  <a:lnTo>
                    <a:pt x="474" y="55"/>
                  </a:lnTo>
                  <a:lnTo>
                    <a:pt x="496" y="59"/>
                  </a:lnTo>
                  <a:lnTo>
                    <a:pt x="597" y="71"/>
                  </a:lnTo>
                  <a:lnTo>
                    <a:pt x="614" y="76"/>
                  </a:lnTo>
                  <a:lnTo>
                    <a:pt x="635" y="76"/>
                  </a:lnTo>
                  <a:lnTo>
                    <a:pt x="652" y="71"/>
                  </a:lnTo>
                  <a:lnTo>
                    <a:pt x="668" y="76"/>
                  </a:lnTo>
                  <a:lnTo>
                    <a:pt x="812" y="55"/>
                  </a:lnTo>
                  <a:lnTo>
                    <a:pt x="867" y="38"/>
                  </a:lnTo>
                  <a:lnTo>
                    <a:pt x="900" y="38"/>
                  </a:lnTo>
                  <a:lnTo>
                    <a:pt x="921" y="50"/>
                  </a:lnTo>
                  <a:lnTo>
                    <a:pt x="942" y="59"/>
                  </a:lnTo>
                  <a:lnTo>
                    <a:pt x="916" y="59"/>
                  </a:lnTo>
                  <a:lnTo>
                    <a:pt x="888" y="88"/>
                  </a:lnTo>
                  <a:lnTo>
                    <a:pt x="878" y="76"/>
                  </a:lnTo>
                  <a:lnTo>
                    <a:pt x="829" y="116"/>
                  </a:lnTo>
                  <a:lnTo>
                    <a:pt x="807" y="76"/>
                  </a:lnTo>
                  <a:lnTo>
                    <a:pt x="647" y="104"/>
                  </a:lnTo>
                  <a:lnTo>
                    <a:pt x="647" y="383"/>
                  </a:lnTo>
                  <a:lnTo>
                    <a:pt x="576" y="383"/>
                  </a:lnTo>
                  <a:lnTo>
                    <a:pt x="576" y="586"/>
                  </a:lnTo>
                  <a:lnTo>
                    <a:pt x="576" y="870"/>
                  </a:lnTo>
                  <a:lnTo>
                    <a:pt x="543" y="881"/>
                  </a:lnTo>
                  <a:lnTo>
                    <a:pt x="538" y="898"/>
                  </a:lnTo>
                  <a:lnTo>
                    <a:pt x="522" y="898"/>
                  </a:lnTo>
                  <a:lnTo>
                    <a:pt x="522" y="910"/>
                  </a:lnTo>
                  <a:lnTo>
                    <a:pt x="512" y="910"/>
                  </a:lnTo>
                  <a:lnTo>
                    <a:pt x="484" y="903"/>
                  </a:lnTo>
                  <a:lnTo>
                    <a:pt x="441" y="910"/>
                  </a:lnTo>
                  <a:lnTo>
                    <a:pt x="430" y="903"/>
                  </a:lnTo>
                  <a:lnTo>
                    <a:pt x="404" y="903"/>
                  </a:lnTo>
                  <a:lnTo>
                    <a:pt x="404" y="898"/>
                  </a:lnTo>
                  <a:lnTo>
                    <a:pt x="387" y="898"/>
                  </a:lnTo>
                  <a:lnTo>
                    <a:pt x="387" y="853"/>
                  </a:lnTo>
                  <a:lnTo>
                    <a:pt x="382" y="853"/>
                  </a:lnTo>
                  <a:lnTo>
                    <a:pt x="366" y="841"/>
                  </a:lnTo>
                  <a:lnTo>
                    <a:pt x="349" y="848"/>
                  </a:lnTo>
                  <a:lnTo>
                    <a:pt x="344" y="881"/>
                  </a:lnTo>
                  <a:lnTo>
                    <a:pt x="328" y="886"/>
                  </a:lnTo>
                  <a:lnTo>
                    <a:pt x="323" y="881"/>
                  </a:lnTo>
                  <a:lnTo>
                    <a:pt x="274" y="841"/>
                  </a:lnTo>
                  <a:lnTo>
                    <a:pt x="241" y="787"/>
                  </a:lnTo>
                  <a:lnTo>
                    <a:pt x="236" y="759"/>
                  </a:lnTo>
                  <a:lnTo>
                    <a:pt x="226" y="737"/>
                  </a:lnTo>
                  <a:lnTo>
                    <a:pt x="236" y="730"/>
                  </a:lnTo>
                  <a:lnTo>
                    <a:pt x="226" y="714"/>
                  </a:lnTo>
                  <a:lnTo>
                    <a:pt x="219" y="714"/>
                  </a:lnTo>
                  <a:lnTo>
                    <a:pt x="219" y="688"/>
                  </a:lnTo>
                  <a:lnTo>
                    <a:pt x="215" y="664"/>
                  </a:lnTo>
                  <a:lnTo>
                    <a:pt x="215" y="610"/>
                  </a:lnTo>
                  <a:lnTo>
                    <a:pt x="181" y="537"/>
                  </a:lnTo>
                  <a:lnTo>
                    <a:pt x="181" y="466"/>
                  </a:lnTo>
                  <a:lnTo>
                    <a:pt x="203" y="466"/>
                  </a:lnTo>
                  <a:lnTo>
                    <a:pt x="198" y="425"/>
                  </a:lnTo>
                  <a:lnTo>
                    <a:pt x="189" y="425"/>
                  </a:lnTo>
                  <a:lnTo>
                    <a:pt x="181" y="404"/>
                  </a:lnTo>
                  <a:lnTo>
                    <a:pt x="151" y="366"/>
                  </a:lnTo>
                  <a:lnTo>
                    <a:pt x="144" y="343"/>
                  </a:lnTo>
                  <a:lnTo>
                    <a:pt x="113" y="293"/>
                  </a:lnTo>
                  <a:lnTo>
                    <a:pt x="96" y="244"/>
                  </a:lnTo>
                  <a:lnTo>
                    <a:pt x="42" y="149"/>
                  </a:lnTo>
                  <a:lnTo>
                    <a:pt x="9" y="109"/>
                  </a:lnTo>
                  <a:lnTo>
                    <a:pt x="0" y="88"/>
                  </a:lnTo>
                  <a:lnTo>
                    <a:pt x="0" y="50"/>
                  </a:lnTo>
                  <a:lnTo>
                    <a:pt x="0" y="22"/>
                  </a:lnTo>
                  <a:lnTo>
                    <a:pt x="0" y="22"/>
                  </a:lnTo>
                  <a:lnTo>
                    <a:pt x="0" y="22"/>
                  </a:lnTo>
                  <a:close/>
                </a:path>
              </a:pathLst>
            </a:custGeom>
            <a:pattFill prst="wd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6" name="Freeform 591">
              <a:extLst>
                <a:ext uri="{FF2B5EF4-FFF2-40B4-BE49-F238E27FC236}">
                  <a16:creationId xmlns:a16="http://schemas.microsoft.com/office/drawing/2014/main" id="{BADC4557-1BD7-4968-9F40-49936EFE069E}"/>
                </a:ext>
              </a:extLst>
            </p:cNvPr>
            <p:cNvSpPr>
              <a:spLocks/>
            </p:cNvSpPr>
            <p:nvPr/>
          </p:nvSpPr>
          <p:spPr bwMode="gray">
            <a:xfrm>
              <a:off x="6986079" y="3401470"/>
              <a:ext cx="21280" cy="46524"/>
            </a:xfrm>
            <a:custGeom>
              <a:avLst/>
              <a:gdLst>
                <a:gd name="T0" fmla="*/ 43 w 43"/>
                <a:gd name="T1" fmla="*/ 21 h 94"/>
                <a:gd name="T2" fmla="*/ 43 w 43"/>
                <a:gd name="T3" fmla="*/ 83 h 94"/>
                <a:gd name="T4" fmla="*/ 17 w 43"/>
                <a:gd name="T5" fmla="*/ 94 h 94"/>
                <a:gd name="T6" fmla="*/ 0 w 43"/>
                <a:gd name="T7" fmla="*/ 94 h 94"/>
                <a:gd name="T8" fmla="*/ 7 w 43"/>
                <a:gd name="T9" fmla="*/ 71 h 94"/>
                <a:gd name="T10" fmla="*/ 21 w 43"/>
                <a:gd name="T11" fmla="*/ 61 h 94"/>
                <a:gd name="T12" fmla="*/ 7 w 43"/>
                <a:gd name="T13" fmla="*/ 54 h 94"/>
                <a:gd name="T14" fmla="*/ 17 w 43"/>
                <a:gd name="T15" fmla="*/ 5 h 94"/>
                <a:gd name="T16" fmla="*/ 21 w 43"/>
                <a:gd name="T17" fmla="*/ 0 h 94"/>
                <a:gd name="T18" fmla="*/ 43 w 43"/>
                <a:gd name="T19" fmla="*/ 17 h 94"/>
                <a:gd name="T20" fmla="*/ 43 w 43"/>
                <a:gd name="T21" fmla="*/ 21 h 94"/>
                <a:gd name="T22" fmla="*/ 43 w 43"/>
                <a:gd name="T23" fmla="*/ 21 h 94"/>
                <a:gd name="T24" fmla="*/ 43 w 43"/>
                <a:gd name="T25" fmla="*/ 2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94">
                  <a:moveTo>
                    <a:pt x="43" y="21"/>
                  </a:moveTo>
                  <a:lnTo>
                    <a:pt x="43" y="83"/>
                  </a:lnTo>
                  <a:lnTo>
                    <a:pt x="17" y="94"/>
                  </a:lnTo>
                  <a:lnTo>
                    <a:pt x="0" y="94"/>
                  </a:lnTo>
                  <a:lnTo>
                    <a:pt x="7" y="71"/>
                  </a:lnTo>
                  <a:lnTo>
                    <a:pt x="21" y="61"/>
                  </a:lnTo>
                  <a:lnTo>
                    <a:pt x="7" y="54"/>
                  </a:lnTo>
                  <a:lnTo>
                    <a:pt x="17" y="5"/>
                  </a:lnTo>
                  <a:lnTo>
                    <a:pt x="21" y="0"/>
                  </a:lnTo>
                  <a:lnTo>
                    <a:pt x="43" y="17"/>
                  </a:lnTo>
                  <a:lnTo>
                    <a:pt x="43" y="21"/>
                  </a:lnTo>
                  <a:lnTo>
                    <a:pt x="43" y="21"/>
                  </a:lnTo>
                  <a:lnTo>
                    <a:pt x="43" y="21"/>
                  </a:lnTo>
                  <a:close/>
                </a:path>
              </a:pathLst>
            </a:custGeom>
            <a:solidFill>
              <a:schemeClr val="accent2"/>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7" name="Freeform 592">
              <a:extLst>
                <a:ext uri="{FF2B5EF4-FFF2-40B4-BE49-F238E27FC236}">
                  <a16:creationId xmlns:a16="http://schemas.microsoft.com/office/drawing/2014/main" id="{8DA9D499-FE0F-483B-BBA7-9D575E330CEC}"/>
                </a:ext>
              </a:extLst>
            </p:cNvPr>
            <p:cNvSpPr>
              <a:spLocks/>
            </p:cNvSpPr>
            <p:nvPr/>
          </p:nvSpPr>
          <p:spPr bwMode="gray">
            <a:xfrm>
              <a:off x="5181262" y="3592019"/>
              <a:ext cx="293462" cy="259344"/>
            </a:xfrm>
            <a:custGeom>
              <a:avLst/>
              <a:gdLst>
                <a:gd name="T0" fmla="*/ 196 w 593"/>
                <a:gd name="T1" fmla="*/ 487 h 524"/>
                <a:gd name="T2" fmla="*/ 12 w 593"/>
                <a:gd name="T3" fmla="*/ 487 h 524"/>
                <a:gd name="T4" fmla="*/ 0 w 593"/>
                <a:gd name="T5" fmla="*/ 524 h 524"/>
                <a:gd name="T6" fmla="*/ 0 w 593"/>
                <a:gd name="T7" fmla="*/ 508 h 524"/>
                <a:gd name="T8" fmla="*/ 12 w 593"/>
                <a:gd name="T9" fmla="*/ 435 h 524"/>
                <a:gd name="T10" fmla="*/ 28 w 593"/>
                <a:gd name="T11" fmla="*/ 413 h 524"/>
                <a:gd name="T12" fmla="*/ 38 w 593"/>
                <a:gd name="T13" fmla="*/ 409 h 524"/>
                <a:gd name="T14" fmla="*/ 71 w 593"/>
                <a:gd name="T15" fmla="*/ 335 h 524"/>
                <a:gd name="T16" fmla="*/ 92 w 593"/>
                <a:gd name="T17" fmla="*/ 295 h 524"/>
                <a:gd name="T18" fmla="*/ 92 w 593"/>
                <a:gd name="T19" fmla="*/ 286 h 524"/>
                <a:gd name="T20" fmla="*/ 71 w 593"/>
                <a:gd name="T21" fmla="*/ 302 h 524"/>
                <a:gd name="T22" fmla="*/ 158 w 593"/>
                <a:gd name="T23" fmla="*/ 229 h 524"/>
                <a:gd name="T24" fmla="*/ 163 w 593"/>
                <a:gd name="T25" fmla="*/ 168 h 524"/>
                <a:gd name="T26" fmla="*/ 179 w 593"/>
                <a:gd name="T27" fmla="*/ 135 h 524"/>
                <a:gd name="T28" fmla="*/ 179 w 593"/>
                <a:gd name="T29" fmla="*/ 113 h 524"/>
                <a:gd name="T30" fmla="*/ 250 w 593"/>
                <a:gd name="T31" fmla="*/ 73 h 524"/>
                <a:gd name="T32" fmla="*/ 272 w 593"/>
                <a:gd name="T33" fmla="*/ 0 h 524"/>
                <a:gd name="T34" fmla="*/ 593 w 593"/>
                <a:gd name="T35" fmla="*/ 0 h 524"/>
                <a:gd name="T36" fmla="*/ 593 w 593"/>
                <a:gd name="T37" fmla="*/ 24 h 524"/>
                <a:gd name="T38" fmla="*/ 593 w 593"/>
                <a:gd name="T39" fmla="*/ 130 h 524"/>
                <a:gd name="T40" fmla="*/ 359 w 593"/>
                <a:gd name="T41" fmla="*/ 130 h 524"/>
                <a:gd name="T42" fmla="*/ 359 w 593"/>
                <a:gd name="T43" fmla="*/ 324 h 524"/>
                <a:gd name="T44" fmla="*/ 321 w 593"/>
                <a:gd name="T45" fmla="*/ 335 h 524"/>
                <a:gd name="T46" fmla="*/ 283 w 593"/>
                <a:gd name="T47" fmla="*/ 364 h 524"/>
                <a:gd name="T48" fmla="*/ 288 w 593"/>
                <a:gd name="T49" fmla="*/ 487 h 524"/>
                <a:gd name="T50" fmla="*/ 196 w 593"/>
                <a:gd name="T51" fmla="*/ 487 h 524"/>
                <a:gd name="T52" fmla="*/ 196 w 593"/>
                <a:gd name="T53" fmla="*/ 487 h 524"/>
                <a:gd name="T54" fmla="*/ 196 w 593"/>
                <a:gd name="T55" fmla="*/ 48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93" h="524">
                  <a:moveTo>
                    <a:pt x="196" y="487"/>
                  </a:moveTo>
                  <a:lnTo>
                    <a:pt x="12" y="487"/>
                  </a:lnTo>
                  <a:lnTo>
                    <a:pt x="0" y="524"/>
                  </a:lnTo>
                  <a:lnTo>
                    <a:pt x="0" y="508"/>
                  </a:lnTo>
                  <a:lnTo>
                    <a:pt x="12" y="435"/>
                  </a:lnTo>
                  <a:lnTo>
                    <a:pt x="28" y="413"/>
                  </a:lnTo>
                  <a:lnTo>
                    <a:pt x="38" y="409"/>
                  </a:lnTo>
                  <a:lnTo>
                    <a:pt x="71" y="335"/>
                  </a:lnTo>
                  <a:lnTo>
                    <a:pt x="92" y="295"/>
                  </a:lnTo>
                  <a:lnTo>
                    <a:pt x="92" y="286"/>
                  </a:lnTo>
                  <a:lnTo>
                    <a:pt x="71" y="302"/>
                  </a:lnTo>
                  <a:lnTo>
                    <a:pt x="158" y="229"/>
                  </a:lnTo>
                  <a:lnTo>
                    <a:pt x="163" y="168"/>
                  </a:lnTo>
                  <a:lnTo>
                    <a:pt x="179" y="135"/>
                  </a:lnTo>
                  <a:lnTo>
                    <a:pt x="179" y="113"/>
                  </a:lnTo>
                  <a:lnTo>
                    <a:pt x="250" y="73"/>
                  </a:lnTo>
                  <a:lnTo>
                    <a:pt x="272" y="0"/>
                  </a:lnTo>
                  <a:lnTo>
                    <a:pt x="593" y="0"/>
                  </a:lnTo>
                  <a:lnTo>
                    <a:pt x="593" y="24"/>
                  </a:lnTo>
                  <a:lnTo>
                    <a:pt x="593" y="130"/>
                  </a:lnTo>
                  <a:lnTo>
                    <a:pt x="359" y="130"/>
                  </a:lnTo>
                  <a:lnTo>
                    <a:pt x="359" y="324"/>
                  </a:lnTo>
                  <a:lnTo>
                    <a:pt x="321" y="335"/>
                  </a:lnTo>
                  <a:lnTo>
                    <a:pt x="283" y="364"/>
                  </a:lnTo>
                  <a:lnTo>
                    <a:pt x="288" y="487"/>
                  </a:lnTo>
                  <a:lnTo>
                    <a:pt x="196" y="487"/>
                  </a:lnTo>
                  <a:lnTo>
                    <a:pt x="196" y="487"/>
                  </a:lnTo>
                  <a:lnTo>
                    <a:pt x="196" y="487"/>
                  </a:lnTo>
                  <a:close/>
                </a:path>
              </a:pathLst>
            </a:custGeom>
            <a:pattFill prst="dkVert">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9" name="Freeform 594">
              <a:extLst>
                <a:ext uri="{FF2B5EF4-FFF2-40B4-BE49-F238E27FC236}">
                  <a16:creationId xmlns:a16="http://schemas.microsoft.com/office/drawing/2014/main" id="{4801B1F7-0C64-4ED0-9385-AF3F7D7E067A}"/>
                </a:ext>
              </a:extLst>
            </p:cNvPr>
            <p:cNvSpPr>
              <a:spLocks/>
            </p:cNvSpPr>
            <p:nvPr/>
          </p:nvSpPr>
          <p:spPr bwMode="gray">
            <a:xfrm>
              <a:off x="6844544" y="5542052"/>
              <a:ext cx="44539" cy="59887"/>
            </a:xfrm>
            <a:custGeom>
              <a:avLst/>
              <a:gdLst>
                <a:gd name="T0" fmla="*/ 5 w 90"/>
                <a:gd name="T1" fmla="*/ 76 h 121"/>
                <a:gd name="T2" fmla="*/ 0 w 90"/>
                <a:gd name="T3" fmla="*/ 76 h 121"/>
                <a:gd name="T4" fmla="*/ 0 w 90"/>
                <a:gd name="T5" fmla="*/ 50 h 121"/>
                <a:gd name="T6" fmla="*/ 21 w 90"/>
                <a:gd name="T7" fmla="*/ 17 h 121"/>
                <a:gd name="T8" fmla="*/ 36 w 90"/>
                <a:gd name="T9" fmla="*/ 0 h 121"/>
                <a:gd name="T10" fmla="*/ 43 w 90"/>
                <a:gd name="T11" fmla="*/ 0 h 121"/>
                <a:gd name="T12" fmla="*/ 73 w 90"/>
                <a:gd name="T13" fmla="*/ 17 h 121"/>
                <a:gd name="T14" fmla="*/ 85 w 90"/>
                <a:gd name="T15" fmla="*/ 17 h 121"/>
                <a:gd name="T16" fmla="*/ 90 w 90"/>
                <a:gd name="T17" fmla="*/ 33 h 121"/>
                <a:gd name="T18" fmla="*/ 90 w 90"/>
                <a:gd name="T19" fmla="*/ 87 h 121"/>
                <a:gd name="T20" fmla="*/ 85 w 90"/>
                <a:gd name="T21" fmla="*/ 76 h 121"/>
                <a:gd name="T22" fmla="*/ 85 w 90"/>
                <a:gd name="T23" fmla="*/ 121 h 121"/>
                <a:gd name="T24" fmla="*/ 52 w 90"/>
                <a:gd name="T25" fmla="*/ 121 h 121"/>
                <a:gd name="T26" fmla="*/ 21 w 90"/>
                <a:gd name="T27" fmla="*/ 109 h 121"/>
                <a:gd name="T28" fmla="*/ 5 w 90"/>
                <a:gd name="T29" fmla="*/ 76 h 121"/>
                <a:gd name="T30" fmla="*/ 5 w 90"/>
                <a:gd name="T31" fmla="*/ 76 h 121"/>
                <a:gd name="T32" fmla="*/ 5 w 90"/>
                <a:gd name="T33" fmla="*/ 7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21">
                  <a:moveTo>
                    <a:pt x="5" y="76"/>
                  </a:moveTo>
                  <a:lnTo>
                    <a:pt x="0" y="76"/>
                  </a:lnTo>
                  <a:lnTo>
                    <a:pt x="0" y="50"/>
                  </a:lnTo>
                  <a:lnTo>
                    <a:pt x="21" y="17"/>
                  </a:lnTo>
                  <a:lnTo>
                    <a:pt x="36" y="0"/>
                  </a:lnTo>
                  <a:lnTo>
                    <a:pt x="43" y="0"/>
                  </a:lnTo>
                  <a:lnTo>
                    <a:pt x="73" y="17"/>
                  </a:lnTo>
                  <a:lnTo>
                    <a:pt x="85" y="17"/>
                  </a:lnTo>
                  <a:lnTo>
                    <a:pt x="90" y="33"/>
                  </a:lnTo>
                  <a:lnTo>
                    <a:pt x="90" y="87"/>
                  </a:lnTo>
                  <a:lnTo>
                    <a:pt x="85" y="76"/>
                  </a:lnTo>
                  <a:lnTo>
                    <a:pt x="85" y="121"/>
                  </a:lnTo>
                  <a:lnTo>
                    <a:pt x="52" y="121"/>
                  </a:lnTo>
                  <a:lnTo>
                    <a:pt x="21" y="109"/>
                  </a:lnTo>
                  <a:lnTo>
                    <a:pt x="5" y="76"/>
                  </a:lnTo>
                  <a:lnTo>
                    <a:pt x="5" y="76"/>
                  </a:lnTo>
                  <a:lnTo>
                    <a:pt x="5" y="76"/>
                  </a:lnTo>
                  <a:close/>
                </a:path>
              </a:pathLst>
            </a:custGeom>
            <a:pattFill prst="wd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0" name="Freeform 595">
              <a:extLst>
                <a:ext uri="{FF2B5EF4-FFF2-40B4-BE49-F238E27FC236}">
                  <a16:creationId xmlns:a16="http://schemas.microsoft.com/office/drawing/2014/main" id="{C5D70FDC-E426-4307-9ECC-AE76AD2F4265}"/>
                </a:ext>
              </a:extLst>
            </p:cNvPr>
            <p:cNvSpPr>
              <a:spLocks noEditPoints="1"/>
            </p:cNvSpPr>
            <p:nvPr/>
          </p:nvSpPr>
          <p:spPr bwMode="gray">
            <a:xfrm>
              <a:off x="7256282" y="3917190"/>
              <a:ext cx="407778" cy="253405"/>
            </a:xfrm>
            <a:custGeom>
              <a:avLst/>
              <a:gdLst>
                <a:gd name="T0" fmla="*/ 21 w 824"/>
                <a:gd name="T1" fmla="*/ 184 h 512"/>
                <a:gd name="T2" fmla="*/ 38 w 824"/>
                <a:gd name="T3" fmla="*/ 179 h 512"/>
                <a:gd name="T4" fmla="*/ 38 w 824"/>
                <a:gd name="T5" fmla="*/ 123 h 512"/>
                <a:gd name="T6" fmla="*/ 63 w 824"/>
                <a:gd name="T7" fmla="*/ 111 h 512"/>
                <a:gd name="T8" fmla="*/ 123 w 824"/>
                <a:gd name="T9" fmla="*/ 123 h 512"/>
                <a:gd name="T10" fmla="*/ 252 w 824"/>
                <a:gd name="T11" fmla="*/ 250 h 512"/>
                <a:gd name="T12" fmla="*/ 656 w 824"/>
                <a:gd name="T13" fmla="*/ 0 h 512"/>
                <a:gd name="T14" fmla="*/ 694 w 824"/>
                <a:gd name="T15" fmla="*/ 196 h 512"/>
                <a:gd name="T16" fmla="*/ 661 w 824"/>
                <a:gd name="T17" fmla="*/ 222 h 512"/>
                <a:gd name="T18" fmla="*/ 602 w 824"/>
                <a:gd name="T19" fmla="*/ 278 h 512"/>
                <a:gd name="T20" fmla="*/ 522 w 824"/>
                <a:gd name="T21" fmla="*/ 311 h 512"/>
                <a:gd name="T22" fmla="*/ 446 w 824"/>
                <a:gd name="T23" fmla="*/ 333 h 512"/>
                <a:gd name="T24" fmla="*/ 425 w 824"/>
                <a:gd name="T25" fmla="*/ 366 h 512"/>
                <a:gd name="T26" fmla="*/ 371 w 824"/>
                <a:gd name="T27" fmla="*/ 366 h 512"/>
                <a:gd name="T28" fmla="*/ 281 w 824"/>
                <a:gd name="T29" fmla="*/ 418 h 512"/>
                <a:gd name="T30" fmla="*/ 193 w 824"/>
                <a:gd name="T31" fmla="*/ 439 h 512"/>
                <a:gd name="T32" fmla="*/ 172 w 824"/>
                <a:gd name="T33" fmla="*/ 460 h 512"/>
                <a:gd name="T34" fmla="*/ 160 w 824"/>
                <a:gd name="T35" fmla="*/ 456 h 512"/>
                <a:gd name="T36" fmla="*/ 156 w 824"/>
                <a:gd name="T37" fmla="*/ 460 h 512"/>
                <a:gd name="T38" fmla="*/ 118 w 824"/>
                <a:gd name="T39" fmla="*/ 472 h 512"/>
                <a:gd name="T40" fmla="*/ 63 w 824"/>
                <a:gd name="T41" fmla="*/ 460 h 512"/>
                <a:gd name="T42" fmla="*/ 54 w 824"/>
                <a:gd name="T43" fmla="*/ 456 h 512"/>
                <a:gd name="T44" fmla="*/ 38 w 824"/>
                <a:gd name="T45" fmla="*/ 389 h 512"/>
                <a:gd name="T46" fmla="*/ 16 w 824"/>
                <a:gd name="T47" fmla="*/ 307 h 512"/>
                <a:gd name="T48" fmla="*/ 0 w 824"/>
                <a:gd name="T49" fmla="*/ 278 h 512"/>
                <a:gd name="T50" fmla="*/ 12 w 824"/>
                <a:gd name="T51" fmla="*/ 278 h 512"/>
                <a:gd name="T52" fmla="*/ 12 w 824"/>
                <a:gd name="T53" fmla="*/ 234 h 512"/>
                <a:gd name="T54" fmla="*/ 12 w 824"/>
                <a:gd name="T55" fmla="*/ 196 h 512"/>
                <a:gd name="T56" fmla="*/ 12 w 824"/>
                <a:gd name="T57" fmla="*/ 378 h 512"/>
                <a:gd name="T58" fmla="*/ 12 w 824"/>
                <a:gd name="T59" fmla="*/ 366 h 512"/>
                <a:gd name="T60" fmla="*/ 12 w 824"/>
                <a:gd name="T61" fmla="*/ 378 h 512"/>
                <a:gd name="T62" fmla="*/ 808 w 824"/>
                <a:gd name="T63" fmla="*/ 472 h 512"/>
                <a:gd name="T64" fmla="*/ 803 w 824"/>
                <a:gd name="T65" fmla="*/ 493 h 512"/>
                <a:gd name="T66" fmla="*/ 749 w 824"/>
                <a:gd name="T67" fmla="*/ 477 h 512"/>
                <a:gd name="T68" fmla="*/ 775 w 824"/>
                <a:gd name="T69" fmla="*/ 472 h 512"/>
                <a:gd name="T70" fmla="*/ 808 w 824"/>
                <a:gd name="T71" fmla="*/ 472 h 512"/>
                <a:gd name="T72" fmla="*/ 808 w 824"/>
                <a:gd name="T73" fmla="*/ 472 h 512"/>
                <a:gd name="T74" fmla="*/ 656 w 824"/>
                <a:gd name="T75" fmla="*/ 500 h 512"/>
                <a:gd name="T76" fmla="*/ 678 w 824"/>
                <a:gd name="T77" fmla="*/ 512 h 512"/>
                <a:gd name="T78" fmla="*/ 678 w 824"/>
                <a:gd name="T79" fmla="*/ 5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24" h="512">
                  <a:moveTo>
                    <a:pt x="12" y="196"/>
                  </a:moveTo>
                  <a:lnTo>
                    <a:pt x="21" y="184"/>
                  </a:lnTo>
                  <a:lnTo>
                    <a:pt x="33" y="179"/>
                  </a:lnTo>
                  <a:lnTo>
                    <a:pt x="38" y="179"/>
                  </a:lnTo>
                  <a:lnTo>
                    <a:pt x="33" y="156"/>
                  </a:lnTo>
                  <a:lnTo>
                    <a:pt x="38" y="123"/>
                  </a:lnTo>
                  <a:lnTo>
                    <a:pt x="49" y="111"/>
                  </a:lnTo>
                  <a:lnTo>
                    <a:pt x="63" y="111"/>
                  </a:lnTo>
                  <a:lnTo>
                    <a:pt x="87" y="127"/>
                  </a:lnTo>
                  <a:lnTo>
                    <a:pt x="123" y="123"/>
                  </a:lnTo>
                  <a:lnTo>
                    <a:pt x="252" y="179"/>
                  </a:lnTo>
                  <a:lnTo>
                    <a:pt x="252" y="250"/>
                  </a:lnTo>
                  <a:lnTo>
                    <a:pt x="425" y="56"/>
                  </a:lnTo>
                  <a:lnTo>
                    <a:pt x="656" y="0"/>
                  </a:lnTo>
                  <a:lnTo>
                    <a:pt x="732" y="179"/>
                  </a:lnTo>
                  <a:lnTo>
                    <a:pt x="694" y="196"/>
                  </a:lnTo>
                  <a:lnTo>
                    <a:pt x="668" y="200"/>
                  </a:lnTo>
                  <a:lnTo>
                    <a:pt x="661" y="222"/>
                  </a:lnTo>
                  <a:lnTo>
                    <a:pt x="661" y="255"/>
                  </a:lnTo>
                  <a:lnTo>
                    <a:pt x="602" y="278"/>
                  </a:lnTo>
                  <a:lnTo>
                    <a:pt x="550" y="295"/>
                  </a:lnTo>
                  <a:lnTo>
                    <a:pt x="522" y="311"/>
                  </a:lnTo>
                  <a:lnTo>
                    <a:pt x="505" y="311"/>
                  </a:lnTo>
                  <a:lnTo>
                    <a:pt x="446" y="333"/>
                  </a:lnTo>
                  <a:lnTo>
                    <a:pt x="441" y="349"/>
                  </a:lnTo>
                  <a:lnTo>
                    <a:pt x="425" y="366"/>
                  </a:lnTo>
                  <a:lnTo>
                    <a:pt x="392" y="378"/>
                  </a:lnTo>
                  <a:lnTo>
                    <a:pt x="371" y="366"/>
                  </a:lnTo>
                  <a:lnTo>
                    <a:pt x="333" y="401"/>
                  </a:lnTo>
                  <a:lnTo>
                    <a:pt x="281" y="418"/>
                  </a:lnTo>
                  <a:lnTo>
                    <a:pt x="210" y="423"/>
                  </a:lnTo>
                  <a:lnTo>
                    <a:pt x="193" y="439"/>
                  </a:lnTo>
                  <a:lnTo>
                    <a:pt x="172" y="444"/>
                  </a:lnTo>
                  <a:lnTo>
                    <a:pt x="172" y="460"/>
                  </a:lnTo>
                  <a:lnTo>
                    <a:pt x="160" y="460"/>
                  </a:lnTo>
                  <a:lnTo>
                    <a:pt x="160" y="456"/>
                  </a:lnTo>
                  <a:lnTo>
                    <a:pt x="156" y="460"/>
                  </a:lnTo>
                  <a:lnTo>
                    <a:pt x="156" y="460"/>
                  </a:lnTo>
                  <a:lnTo>
                    <a:pt x="130" y="456"/>
                  </a:lnTo>
                  <a:lnTo>
                    <a:pt x="118" y="472"/>
                  </a:lnTo>
                  <a:lnTo>
                    <a:pt x="92" y="477"/>
                  </a:lnTo>
                  <a:lnTo>
                    <a:pt x="63" y="460"/>
                  </a:lnTo>
                  <a:lnTo>
                    <a:pt x="54" y="472"/>
                  </a:lnTo>
                  <a:lnTo>
                    <a:pt x="54" y="456"/>
                  </a:lnTo>
                  <a:lnTo>
                    <a:pt x="38" y="434"/>
                  </a:lnTo>
                  <a:lnTo>
                    <a:pt x="38" y="389"/>
                  </a:lnTo>
                  <a:lnTo>
                    <a:pt x="33" y="378"/>
                  </a:lnTo>
                  <a:lnTo>
                    <a:pt x="16" y="307"/>
                  </a:lnTo>
                  <a:lnTo>
                    <a:pt x="16" y="290"/>
                  </a:lnTo>
                  <a:lnTo>
                    <a:pt x="0" y="278"/>
                  </a:lnTo>
                  <a:lnTo>
                    <a:pt x="0" y="271"/>
                  </a:lnTo>
                  <a:lnTo>
                    <a:pt x="12" y="278"/>
                  </a:lnTo>
                  <a:lnTo>
                    <a:pt x="0" y="250"/>
                  </a:lnTo>
                  <a:lnTo>
                    <a:pt x="12" y="234"/>
                  </a:lnTo>
                  <a:lnTo>
                    <a:pt x="12" y="196"/>
                  </a:lnTo>
                  <a:lnTo>
                    <a:pt x="12" y="196"/>
                  </a:lnTo>
                  <a:lnTo>
                    <a:pt x="12" y="196"/>
                  </a:lnTo>
                  <a:close/>
                  <a:moveTo>
                    <a:pt x="12" y="378"/>
                  </a:moveTo>
                  <a:lnTo>
                    <a:pt x="0" y="366"/>
                  </a:lnTo>
                  <a:lnTo>
                    <a:pt x="12" y="366"/>
                  </a:lnTo>
                  <a:lnTo>
                    <a:pt x="12" y="378"/>
                  </a:lnTo>
                  <a:lnTo>
                    <a:pt x="12" y="378"/>
                  </a:lnTo>
                  <a:lnTo>
                    <a:pt x="12" y="378"/>
                  </a:lnTo>
                  <a:close/>
                  <a:moveTo>
                    <a:pt x="808" y="472"/>
                  </a:moveTo>
                  <a:lnTo>
                    <a:pt x="824" y="477"/>
                  </a:lnTo>
                  <a:lnTo>
                    <a:pt x="803" y="493"/>
                  </a:lnTo>
                  <a:lnTo>
                    <a:pt x="770" y="493"/>
                  </a:lnTo>
                  <a:lnTo>
                    <a:pt x="749" y="477"/>
                  </a:lnTo>
                  <a:lnTo>
                    <a:pt x="753" y="460"/>
                  </a:lnTo>
                  <a:lnTo>
                    <a:pt x="775" y="472"/>
                  </a:lnTo>
                  <a:lnTo>
                    <a:pt x="803" y="472"/>
                  </a:lnTo>
                  <a:lnTo>
                    <a:pt x="808" y="472"/>
                  </a:lnTo>
                  <a:lnTo>
                    <a:pt x="808" y="472"/>
                  </a:lnTo>
                  <a:lnTo>
                    <a:pt x="808" y="472"/>
                  </a:lnTo>
                  <a:close/>
                  <a:moveTo>
                    <a:pt x="678" y="512"/>
                  </a:moveTo>
                  <a:lnTo>
                    <a:pt x="656" y="500"/>
                  </a:lnTo>
                  <a:lnTo>
                    <a:pt x="678" y="500"/>
                  </a:lnTo>
                  <a:lnTo>
                    <a:pt x="678" y="512"/>
                  </a:lnTo>
                  <a:lnTo>
                    <a:pt x="678" y="512"/>
                  </a:lnTo>
                  <a:lnTo>
                    <a:pt x="678" y="512"/>
                  </a:lnTo>
                  <a:close/>
                </a:path>
              </a:pathLst>
            </a:custGeom>
            <a:pattFill prst="dk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1" name="Freeform 596">
              <a:extLst>
                <a:ext uri="{FF2B5EF4-FFF2-40B4-BE49-F238E27FC236}">
                  <a16:creationId xmlns:a16="http://schemas.microsoft.com/office/drawing/2014/main" id="{D2EA2EB9-C1C4-4853-A14A-46C67B6398E6}"/>
                </a:ext>
              </a:extLst>
            </p:cNvPr>
            <p:cNvSpPr>
              <a:spLocks/>
            </p:cNvSpPr>
            <p:nvPr/>
          </p:nvSpPr>
          <p:spPr bwMode="gray">
            <a:xfrm>
              <a:off x="6540690" y="4894185"/>
              <a:ext cx="403325" cy="361301"/>
            </a:xfrm>
            <a:custGeom>
              <a:avLst/>
              <a:gdLst>
                <a:gd name="T0" fmla="*/ 593 w 815"/>
                <a:gd name="T1" fmla="*/ 548 h 730"/>
                <a:gd name="T2" fmla="*/ 487 w 815"/>
                <a:gd name="T3" fmla="*/ 570 h 730"/>
                <a:gd name="T4" fmla="*/ 404 w 815"/>
                <a:gd name="T5" fmla="*/ 641 h 730"/>
                <a:gd name="T6" fmla="*/ 350 w 815"/>
                <a:gd name="T7" fmla="*/ 719 h 730"/>
                <a:gd name="T8" fmla="*/ 291 w 815"/>
                <a:gd name="T9" fmla="*/ 714 h 730"/>
                <a:gd name="T10" fmla="*/ 260 w 815"/>
                <a:gd name="T11" fmla="*/ 702 h 730"/>
                <a:gd name="T12" fmla="*/ 227 w 815"/>
                <a:gd name="T13" fmla="*/ 702 h 730"/>
                <a:gd name="T14" fmla="*/ 184 w 815"/>
                <a:gd name="T15" fmla="*/ 681 h 730"/>
                <a:gd name="T16" fmla="*/ 97 w 815"/>
                <a:gd name="T17" fmla="*/ 697 h 730"/>
                <a:gd name="T18" fmla="*/ 5 w 815"/>
                <a:gd name="T19" fmla="*/ 608 h 730"/>
                <a:gd name="T20" fmla="*/ 0 w 815"/>
                <a:gd name="T21" fmla="*/ 348 h 730"/>
                <a:gd name="T22" fmla="*/ 130 w 815"/>
                <a:gd name="T23" fmla="*/ 331 h 730"/>
                <a:gd name="T24" fmla="*/ 135 w 815"/>
                <a:gd name="T25" fmla="*/ 293 h 730"/>
                <a:gd name="T26" fmla="*/ 147 w 815"/>
                <a:gd name="T27" fmla="*/ 239 h 730"/>
                <a:gd name="T28" fmla="*/ 168 w 815"/>
                <a:gd name="T29" fmla="*/ 215 h 730"/>
                <a:gd name="T30" fmla="*/ 168 w 815"/>
                <a:gd name="T31" fmla="*/ 239 h 730"/>
                <a:gd name="T32" fmla="*/ 227 w 815"/>
                <a:gd name="T33" fmla="*/ 222 h 730"/>
                <a:gd name="T34" fmla="*/ 236 w 815"/>
                <a:gd name="T35" fmla="*/ 256 h 730"/>
                <a:gd name="T36" fmla="*/ 335 w 815"/>
                <a:gd name="T37" fmla="*/ 277 h 730"/>
                <a:gd name="T38" fmla="*/ 350 w 815"/>
                <a:gd name="T39" fmla="*/ 256 h 730"/>
                <a:gd name="T40" fmla="*/ 366 w 815"/>
                <a:gd name="T41" fmla="*/ 260 h 730"/>
                <a:gd name="T42" fmla="*/ 387 w 815"/>
                <a:gd name="T43" fmla="*/ 305 h 730"/>
                <a:gd name="T44" fmla="*/ 454 w 815"/>
                <a:gd name="T45" fmla="*/ 315 h 730"/>
                <a:gd name="T46" fmla="*/ 470 w 815"/>
                <a:gd name="T47" fmla="*/ 348 h 730"/>
                <a:gd name="T48" fmla="*/ 496 w 815"/>
                <a:gd name="T49" fmla="*/ 381 h 730"/>
                <a:gd name="T50" fmla="*/ 539 w 815"/>
                <a:gd name="T51" fmla="*/ 371 h 730"/>
                <a:gd name="T52" fmla="*/ 546 w 815"/>
                <a:gd name="T53" fmla="*/ 388 h 730"/>
                <a:gd name="T54" fmla="*/ 524 w 815"/>
                <a:gd name="T55" fmla="*/ 293 h 730"/>
                <a:gd name="T56" fmla="*/ 508 w 815"/>
                <a:gd name="T57" fmla="*/ 310 h 730"/>
                <a:gd name="T58" fmla="*/ 475 w 815"/>
                <a:gd name="T59" fmla="*/ 289 h 730"/>
                <a:gd name="T60" fmla="*/ 442 w 815"/>
                <a:gd name="T61" fmla="*/ 248 h 730"/>
                <a:gd name="T62" fmla="*/ 470 w 815"/>
                <a:gd name="T63" fmla="*/ 182 h 730"/>
                <a:gd name="T64" fmla="*/ 470 w 815"/>
                <a:gd name="T65" fmla="*/ 121 h 730"/>
                <a:gd name="T66" fmla="*/ 442 w 815"/>
                <a:gd name="T67" fmla="*/ 83 h 730"/>
                <a:gd name="T68" fmla="*/ 487 w 815"/>
                <a:gd name="T69" fmla="*/ 38 h 730"/>
                <a:gd name="T70" fmla="*/ 614 w 815"/>
                <a:gd name="T71" fmla="*/ 0 h 730"/>
                <a:gd name="T72" fmla="*/ 659 w 815"/>
                <a:gd name="T73" fmla="*/ 34 h 730"/>
                <a:gd name="T74" fmla="*/ 702 w 815"/>
                <a:gd name="T75" fmla="*/ 55 h 730"/>
                <a:gd name="T76" fmla="*/ 728 w 815"/>
                <a:gd name="T77" fmla="*/ 71 h 730"/>
                <a:gd name="T78" fmla="*/ 761 w 815"/>
                <a:gd name="T79" fmla="*/ 88 h 730"/>
                <a:gd name="T80" fmla="*/ 782 w 815"/>
                <a:gd name="T81" fmla="*/ 104 h 730"/>
                <a:gd name="T82" fmla="*/ 794 w 815"/>
                <a:gd name="T83" fmla="*/ 140 h 730"/>
                <a:gd name="T84" fmla="*/ 810 w 815"/>
                <a:gd name="T85" fmla="*/ 161 h 730"/>
                <a:gd name="T86" fmla="*/ 810 w 815"/>
                <a:gd name="T87" fmla="*/ 194 h 730"/>
                <a:gd name="T88" fmla="*/ 798 w 815"/>
                <a:gd name="T89" fmla="*/ 215 h 730"/>
                <a:gd name="T90" fmla="*/ 794 w 815"/>
                <a:gd name="T91" fmla="*/ 260 h 730"/>
                <a:gd name="T92" fmla="*/ 794 w 815"/>
                <a:gd name="T93" fmla="*/ 305 h 730"/>
                <a:gd name="T94" fmla="*/ 794 w 815"/>
                <a:gd name="T95" fmla="*/ 315 h 730"/>
                <a:gd name="T96" fmla="*/ 765 w 815"/>
                <a:gd name="T97" fmla="*/ 331 h 730"/>
                <a:gd name="T98" fmla="*/ 761 w 815"/>
                <a:gd name="T99" fmla="*/ 381 h 730"/>
                <a:gd name="T100" fmla="*/ 765 w 815"/>
                <a:gd name="T101" fmla="*/ 421 h 730"/>
                <a:gd name="T102" fmla="*/ 777 w 815"/>
                <a:gd name="T103" fmla="*/ 421 h 730"/>
                <a:gd name="T104" fmla="*/ 576 w 815"/>
                <a:gd name="T105" fmla="*/ 499 h 730"/>
                <a:gd name="T106" fmla="*/ 576 w 815"/>
                <a:gd name="T107" fmla="*/ 499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5" h="730">
                  <a:moveTo>
                    <a:pt x="576" y="499"/>
                  </a:moveTo>
                  <a:lnTo>
                    <a:pt x="593" y="548"/>
                  </a:lnTo>
                  <a:lnTo>
                    <a:pt x="529" y="548"/>
                  </a:lnTo>
                  <a:lnTo>
                    <a:pt x="487" y="570"/>
                  </a:lnTo>
                  <a:lnTo>
                    <a:pt x="470" y="608"/>
                  </a:lnTo>
                  <a:lnTo>
                    <a:pt x="404" y="641"/>
                  </a:lnTo>
                  <a:lnTo>
                    <a:pt x="387" y="674"/>
                  </a:lnTo>
                  <a:lnTo>
                    <a:pt x="350" y="719"/>
                  </a:lnTo>
                  <a:lnTo>
                    <a:pt x="328" y="730"/>
                  </a:lnTo>
                  <a:lnTo>
                    <a:pt x="291" y="714"/>
                  </a:lnTo>
                  <a:lnTo>
                    <a:pt x="274" y="719"/>
                  </a:lnTo>
                  <a:lnTo>
                    <a:pt x="260" y="702"/>
                  </a:lnTo>
                  <a:lnTo>
                    <a:pt x="243" y="714"/>
                  </a:lnTo>
                  <a:lnTo>
                    <a:pt x="227" y="702"/>
                  </a:lnTo>
                  <a:lnTo>
                    <a:pt x="206" y="690"/>
                  </a:lnTo>
                  <a:lnTo>
                    <a:pt x="184" y="681"/>
                  </a:lnTo>
                  <a:lnTo>
                    <a:pt x="151" y="681"/>
                  </a:lnTo>
                  <a:lnTo>
                    <a:pt x="97" y="697"/>
                  </a:lnTo>
                  <a:lnTo>
                    <a:pt x="80" y="681"/>
                  </a:lnTo>
                  <a:lnTo>
                    <a:pt x="5" y="608"/>
                  </a:lnTo>
                  <a:lnTo>
                    <a:pt x="0" y="586"/>
                  </a:lnTo>
                  <a:lnTo>
                    <a:pt x="0" y="348"/>
                  </a:lnTo>
                  <a:lnTo>
                    <a:pt x="135" y="359"/>
                  </a:lnTo>
                  <a:lnTo>
                    <a:pt x="130" y="331"/>
                  </a:lnTo>
                  <a:lnTo>
                    <a:pt x="147" y="310"/>
                  </a:lnTo>
                  <a:lnTo>
                    <a:pt x="135" y="293"/>
                  </a:lnTo>
                  <a:lnTo>
                    <a:pt x="135" y="256"/>
                  </a:lnTo>
                  <a:lnTo>
                    <a:pt x="147" y="239"/>
                  </a:lnTo>
                  <a:lnTo>
                    <a:pt x="135" y="199"/>
                  </a:lnTo>
                  <a:lnTo>
                    <a:pt x="168" y="215"/>
                  </a:lnTo>
                  <a:lnTo>
                    <a:pt x="161" y="232"/>
                  </a:lnTo>
                  <a:lnTo>
                    <a:pt x="168" y="239"/>
                  </a:lnTo>
                  <a:lnTo>
                    <a:pt x="189" y="232"/>
                  </a:lnTo>
                  <a:lnTo>
                    <a:pt x="227" y="222"/>
                  </a:lnTo>
                  <a:lnTo>
                    <a:pt x="227" y="232"/>
                  </a:lnTo>
                  <a:lnTo>
                    <a:pt x="236" y="256"/>
                  </a:lnTo>
                  <a:lnTo>
                    <a:pt x="274" y="272"/>
                  </a:lnTo>
                  <a:lnTo>
                    <a:pt x="335" y="277"/>
                  </a:lnTo>
                  <a:lnTo>
                    <a:pt x="345" y="272"/>
                  </a:lnTo>
                  <a:lnTo>
                    <a:pt x="350" y="256"/>
                  </a:lnTo>
                  <a:lnTo>
                    <a:pt x="361" y="248"/>
                  </a:lnTo>
                  <a:lnTo>
                    <a:pt x="366" y="260"/>
                  </a:lnTo>
                  <a:lnTo>
                    <a:pt x="383" y="277"/>
                  </a:lnTo>
                  <a:lnTo>
                    <a:pt x="387" y="305"/>
                  </a:lnTo>
                  <a:lnTo>
                    <a:pt x="404" y="305"/>
                  </a:lnTo>
                  <a:lnTo>
                    <a:pt x="454" y="315"/>
                  </a:lnTo>
                  <a:lnTo>
                    <a:pt x="458" y="343"/>
                  </a:lnTo>
                  <a:lnTo>
                    <a:pt x="470" y="348"/>
                  </a:lnTo>
                  <a:lnTo>
                    <a:pt x="491" y="381"/>
                  </a:lnTo>
                  <a:lnTo>
                    <a:pt x="496" y="381"/>
                  </a:lnTo>
                  <a:lnTo>
                    <a:pt x="529" y="371"/>
                  </a:lnTo>
                  <a:lnTo>
                    <a:pt x="539" y="371"/>
                  </a:lnTo>
                  <a:lnTo>
                    <a:pt x="529" y="381"/>
                  </a:lnTo>
                  <a:lnTo>
                    <a:pt x="546" y="388"/>
                  </a:lnTo>
                  <a:lnTo>
                    <a:pt x="546" y="293"/>
                  </a:lnTo>
                  <a:lnTo>
                    <a:pt x="524" y="293"/>
                  </a:lnTo>
                  <a:lnTo>
                    <a:pt x="524" y="310"/>
                  </a:lnTo>
                  <a:lnTo>
                    <a:pt x="508" y="310"/>
                  </a:lnTo>
                  <a:lnTo>
                    <a:pt x="491" y="310"/>
                  </a:lnTo>
                  <a:lnTo>
                    <a:pt x="475" y="289"/>
                  </a:lnTo>
                  <a:lnTo>
                    <a:pt x="454" y="272"/>
                  </a:lnTo>
                  <a:lnTo>
                    <a:pt x="442" y="248"/>
                  </a:lnTo>
                  <a:lnTo>
                    <a:pt x="458" y="199"/>
                  </a:lnTo>
                  <a:lnTo>
                    <a:pt x="470" y="182"/>
                  </a:lnTo>
                  <a:lnTo>
                    <a:pt x="458" y="149"/>
                  </a:lnTo>
                  <a:lnTo>
                    <a:pt x="470" y="121"/>
                  </a:lnTo>
                  <a:lnTo>
                    <a:pt x="454" y="88"/>
                  </a:lnTo>
                  <a:lnTo>
                    <a:pt x="442" y="83"/>
                  </a:lnTo>
                  <a:lnTo>
                    <a:pt x="475" y="50"/>
                  </a:lnTo>
                  <a:lnTo>
                    <a:pt x="487" y="38"/>
                  </a:lnTo>
                  <a:lnTo>
                    <a:pt x="487" y="29"/>
                  </a:lnTo>
                  <a:lnTo>
                    <a:pt x="614" y="0"/>
                  </a:lnTo>
                  <a:lnTo>
                    <a:pt x="631" y="34"/>
                  </a:lnTo>
                  <a:lnTo>
                    <a:pt x="659" y="34"/>
                  </a:lnTo>
                  <a:lnTo>
                    <a:pt x="676" y="55"/>
                  </a:lnTo>
                  <a:lnTo>
                    <a:pt x="702" y="55"/>
                  </a:lnTo>
                  <a:lnTo>
                    <a:pt x="702" y="67"/>
                  </a:lnTo>
                  <a:lnTo>
                    <a:pt x="728" y="71"/>
                  </a:lnTo>
                  <a:lnTo>
                    <a:pt x="739" y="83"/>
                  </a:lnTo>
                  <a:lnTo>
                    <a:pt x="761" y="88"/>
                  </a:lnTo>
                  <a:lnTo>
                    <a:pt x="765" y="104"/>
                  </a:lnTo>
                  <a:lnTo>
                    <a:pt x="782" y="104"/>
                  </a:lnTo>
                  <a:lnTo>
                    <a:pt x="794" y="128"/>
                  </a:lnTo>
                  <a:lnTo>
                    <a:pt x="794" y="140"/>
                  </a:lnTo>
                  <a:lnTo>
                    <a:pt x="810" y="149"/>
                  </a:lnTo>
                  <a:lnTo>
                    <a:pt x="810" y="161"/>
                  </a:lnTo>
                  <a:lnTo>
                    <a:pt x="815" y="178"/>
                  </a:lnTo>
                  <a:lnTo>
                    <a:pt x="810" y="194"/>
                  </a:lnTo>
                  <a:lnTo>
                    <a:pt x="782" y="199"/>
                  </a:lnTo>
                  <a:lnTo>
                    <a:pt x="798" y="215"/>
                  </a:lnTo>
                  <a:lnTo>
                    <a:pt x="782" y="239"/>
                  </a:lnTo>
                  <a:lnTo>
                    <a:pt x="794" y="260"/>
                  </a:lnTo>
                  <a:lnTo>
                    <a:pt x="782" y="293"/>
                  </a:lnTo>
                  <a:lnTo>
                    <a:pt x="794" y="305"/>
                  </a:lnTo>
                  <a:lnTo>
                    <a:pt x="810" y="310"/>
                  </a:lnTo>
                  <a:lnTo>
                    <a:pt x="794" y="315"/>
                  </a:lnTo>
                  <a:lnTo>
                    <a:pt x="765" y="326"/>
                  </a:lnTo>
                  <a:lnTo>
                    <a:pt x="765" y="331"/>
                  </a:lnTo>
                  <a:lnTo>
                    <a:pt x="765" y="348"/>
                  </a:lnTo>
                  <a:lnTo>
                    <a:pt x="761" y="381"/>
                  </a:lnTo>
                  <a:lnTo>
                    <a:pt x="744" y="397"/>
                  </a:lnTo>
                  <a:lnTo>
                    <a:pt x="765" y="421"/>
                  </a:lnTo>
                  <a:lnTo>
                    <a:pt x="777" y="426"/>
                  </a:lnTo>
                  <a:lnTo>
                    <a:pt x="777" y="421"/>
                  </a:lnTo>
                  <a:lnTo>
                    <a:pt x="782" y="426"/>
                  </a:lnTo>
                  <a:lnTo>
                    <a:pt x="576" y="499"/>
                  </a:lnTo>
                  <a:lnTo>
                    <a:pt x="576" y="499"/>
                  </a:lnTo>
                  <a:lnTo>
                    <a:pt x="576" y="499"/>
                  </a:lnTo>
                  <a:close/>
                </a:path>
              </a:pathLst>
            </a:custGeom>
            <a:pattFill prst="nar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2" name="Freeform 597">
              <a:extLst>
                <a:ext uri="{FF2B5EF4-FFF2-40B4-BE49-F238E27FC236}">
                  <a16:creationId xmlns:a16="http://schemas.microsoft.com/office/drawing/2014/main" id="{1CE5375D-5D3B-4CF7-8713-85F1A1E6A018}"/>
                </a:ext>
              </a:extLst>
            </p:cNvPr>
            <p:cNvSpPr>
              <a:spLocks/>
            </p:cNvSpPr>
            <p:nvPr/>
          </p:nvSpPr>
          <p:spPr bwMode="gray">
            <a:xfrm>
              <a:off x="6650551" y="5166893"/>
              <a:ext cx="274657" cy="247962"/>
            </a:xfrm>
            <a:custGeom>
              <a:avLst/>
              <a:gdLst>
                <a:gd name="T0" fmla="*/ 506 w 555"/>
                <a:gd name="T1" fmla="*/ 418 h 501"/>
                <a:gd name="T2" fmla="*/ 397 w 555"/>
                <a:gd name="T3" fmla="*/ 496 h 501"/>
                <a:gd name="T4" fmla="*/ 317 w 555"/>
                <a:gd name="T5" fmla="*/ 479 h 501"/>
                <a:gd name="T6" fmla="*/ 284 w 555"/>
                <a:gd name="T7" fmla="*/ 472 h 501"/>
                <a:gd name="T8" fmla="*/ 267 w 555"/>
                <a:gd name="T9" fmla="*/ 456 h 501"/>
                <a:gd name="T10" fmla="*/ 196 w 555"/>
                <a:gd name="T11" fmla="*/ 439 h 501"/>
                <a:gd name="T12" fmla="*/ 175 w 555"/>
                <a:gd name="T13" fmla="*/ 364 h 501"/>
                <a:gd name="T14" fmla="*/ 137 w 555"/>
                <a:gd name="T15" fmla="*/ 331 h 501"/>
                <a:gd name="T16" fmla="*/ 66 w 555"/>
                <a:gd name="T17" fmla="*/ 281 h 501"/>
                <a:gd name="T18" fmla="*/ 50 w 555"/>
                <a:gd name="T19" fmla="*/ 241 h 501"/>
                <a:gd name="T20" fmla="*/ 0 w 555"/>
                <a:gd name="T21" fmla="*/ 153 h 501"/>
                <a:gd name="T22" fmla="*/ 33 w 555"/>
                <a:gd name="T23" fmla="*/ 153 h 501"/>
                <a:gd name="T24" fmla="*/ 66 w 555"/>
                <a:gd name="T25" fmla="*/ 165 h 501"/>
                <a:gd name="T26" fmla="*/ 125 w 555"/>
                <a:gd name="T27" fmla="*/ 170 h 501"/>
                <a:gd name="T28" fmla="*/ 180 w 555"/>
                <a:gd name="T29" fmla="*/ 92 h 501"/>
                <a:gd name="T30" fmla="*/ 262 w 555"/>
                <a:gd name="T31" fmla="*/ 21 h 501"/>
                <a:gd name="T32" fmla="*/ 371 w 555"/>
                <a:gd name="T33" fmla="*/ 0 h 501"/>
                <a:gd name="T34" fmla="*/ 423 w 555"/>
                <a:gd name="T35" fmla="*/ 21 h 501"/>
                <a:gd name="T36" fmla="*/ 451 w 555"/>
                <a:gd name="T37" fmla="*/ 38 h 501"/>
                <a:gd name="T38" fmla="*/ 501 w 555"/>
                <a:gd name="T39" fmla="*/ 59 h 501"/>
                <a:gd name="T40" fmla="*/ 532 w 555"/>
                <a:gd name="T41" fmla="*/ 75 h 501"/>
                <a:gd name="T42" fmla="*/ 539 w 555"/>
                <a:gd name="T43" fmla="*/ 92 h 501"/>
                <a:gd name="T44" fmla="*/ 543 w 555"/>
                <a:gd name="T45" fmla="*/ 132 h 501"/>
                <a:gd name="T46" fmla="*/ 539 w 555"/>
                <a:gd name="T47" fmla="*/ 170 h 501"/>
                <a:gd name="T48" fmla="*/ 555 w 555"/>
                <a:gd name="T49" fmla="*/ 198 h 501"/>
                <a:gd name="T50" fmla="*/ 539 w 555"/>
                <a:gd name="T51" fmla="*/ 224 h 501"/>
                <a:gd name="T52" fmla="*/ 522 w 555"/>
                <a:gd name="T53" fmla="*/ 241 h 501"/>
                <a:gd name="T54" fmla="*/ 532 w 555"/>
                <a:gd name="T55" fmla="*/ 281 h 501"/>
                <a:gd name="T56" fmla="*/ 539 w 555"/>
                <a:gd name="T57" fmla="*/ 347 h 501"/>
                <a:gd name="T58" fmla="*/ 506 w 555"/>
                <a:gd name="T59" fmla="*/ 368 h 501"/>
                <a:gd name="T60" fmla="*/ 501 w 555"/>
                <a:gd name="T61" fmla="*/ 406 h 501"/>
                <a:gd name="T62" fmla="*/ 506 w 555"/>
                <a:gd name="T63" fmla="*/ 423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5" h="501">
                  <a:moveTo>
                    <a:pt x="506" y="423"/>
                  </a:moveTo>
                  <a:lnTo>
                    <a:pt x="506" y="418"/>
                  </a:lnTo>
                  <a:lnTo>
                    <a:pt x="430" y="501"/>
                  </a:lnTo>
                  <a:lnTo>
                    <a:pt x="397" y="496"/>
                  </a:lnTo>
                  <a:lnTo>
                    <a:pt x="359" y="496"/>
                  </a:lnTo>
                  <a:lnTo>
                    <a:pt x="317" y="479"/>
                  </a:lnTo>
                  <a:lnTo>
                    <a:pt x="288" y="489"/>
                  </a:lnTo>
                  <a:lnTo>
                    <a:pt x="284" y="472"/>
                  </a:lnTo>
                  <a:lnTo>
                    <a:pt x="267" y="472"/>
                  </a:lnTo>
                  <a:lnTo>
                    <a:pt x="267" y="456"/>
                  </a:lnTo>
                  <a:lnTo>
                    <a:pt x="234" y="439"/>
                  </a:lnTo>
                  <a:lnTo>
                    <a:pt x="196" y="439"/>
                  </a:lnTo>
                  <a:lnTo>
                    <a:pt x="175" y="401"/>
                  </a:lnTo>
                  <a:lnTo>
                    <a:pt x="175" y="364"/>
                  </a:lnTo>
                  <a:lnTo>
                    <a:pt x="142" y="364"/>
                  </a:lnTo>
                  <a:lnTo>
                    <a:pt x="137" y="331"/>
                  </a:lnTo>
                  <a:lnTo>
                    <a:pt x="104" y="314"/>
                  </a:lnTo>
                  <a:lnTo>
                    <a:pt x="66" y="281"/>
                  </a:lnTo>
                  <a:lnTo>
                    <a:pt x="50" y="253"/>
                  </a:lnTo>
                  <a:lnTo>
                    <a:pt x="50" y="241"/>
                  </a:lnTo>
                  <a:lnTo>
                    <a:pt x="0" y="182"/>
                  </a:lnTo>
                  <a:lnTo>
                    <a:pt x="0" y="153"/>
                  </a:lnTo>
                  <a:lnTo>
                    <a:pt x="17" y="165"/>
                  </a:lnTo>
                  <a:lnTo>
                    <a:pt x="33" y="153"/>
                  </a:lnTo>
                  <a:lnTo>
                    <a:pt x="50" y="170"/>
                  </a:lnTo>
                  <a:lnTo>
                    <a:pt x="66" y="165"/>
                  </a:lnTo>
                  <a:lnTo>
                    <a:pt x="104" y="182"/>
                  </a:lnTo>
                  <a:lnTo>
                    <a:pt x="125" y="170"/>
                  </a:lnTo>
                  <a:lnTo>
                    <a:pt x="163" y="125"/>
                  </a:lnTo>
                  <a:lnTo>
                    <a:pt x="180" y="92"/>
                  </a:lnTo>
                  <a:lnTo>
                    <a:pt x="246" y="59"/>
                  </a:lnTo>
                  <a:lnTo>
                    <a:pt x="262" y="21"/>
                  </a:lnTo>
                  <a:lnTo>
                    <a:pt x="305" y="0"/>
                  </a:lnTo>
                  <a:lnTo>
                    <a:pt x="371" y="0"/>
                  </a:lnTo>
                  <a:lnTo>
                    <a:pt x="371" y="21"/>
                  </a:lnTo>
                  <a:lnTo>
                    <a:pt x="423" y="21"/>
                  </a:lnTo>
                  <a:lnTo>
                    <a:pt x="435" y="38"/>
                  </a:lnTo>
                  <a:lnTo>
                    <a:pt x="451" y="38"/>
                  </a:lnTo>
                  <a:lnTo>
                    <a:pt x="468" y="54"/>
                  </a:lnTo>
                  <a:lnTo>
                    <a:pt x="501" y="59"/>
                  </a:lnTo>
                  <a:lnTo>
                    <a:pt x="522" y="71"/>
                  </a:lnTo>
                  <a:lnTo>
                    <a:pt x="532" y="75"/>
                  </a:lnTo>
                  <a:lnTo>
                    <a:pt x="543" y="75"/>
                  </a:lnTo>
                  <a:lnTo>
                    <a:pt x="539" y="92"/>
                  </a:lnTo>
                  <a:lnTo>
                    <a:pt x="543" y="125"/>
                  </a:lnTo>
                  <a:lnTo>
                    <a:pt x="543" y="132"/>
                  </a:lnTo>
                  <a:lnTo>
                    <a:pt x="543" y="142"/>
                  </a:lnTo>
                  <a:lnTo>
                    <a:pt x="539" y="170"/>
                  </a:lnTo>
                  <a:lnTo>
                    <a:pt x="543" y="186"/>
                  </a:lnTo>
                  <a:lnTo>
                    <a:pt x="555" y="198"/>
                  </a:lnTo>
                  <a:lnTo>
                    <a:pt x="539" y="208"/>
                  </a:lnTo>
                  <a:lnTo>
                    <a:pt x="539" y="224"/>
                  </a:lnTo>
                  <a:lnTo>
                    <a:pt x="522" y="236"/>
                  </a:lnTo>
                  <a:lnTo>
                    <a:pt x="522" y="241"/>
                  </a:lnTo>
                  <a:lnTo>
                    <a:pt x="539" y="253"/>
                  </a:lnTo>
                  <a:lnTo>
                    <a:pt x="532" y="281"/>
                  </a:lnTo>
                  <a:lnTo>
                    <a:pt x="555" y="307"/>
                  </a:lnTo>
                  <a:lnTo>
                    <a:pt x="539" y="347"/>
                  </a:lnTo>
                  <a:lnTo>
                    <a:pt x="522" y="364"/>
                  </a:lnTo>
                  <a:lnTo>
                    <a:pt x="506" y="368"/>
                  </a:lnTo>
                  <a:lnTo>
                    <a:pt x="517" y="385"/>
                  </a:lnTo>
                  <a:lnTo>
                    <a:pt x="501" y="406"/>
                  </a:lnTo>
                  <a:lnTo>
                    <a:pt x="506" y="423"/>
                  </a:lnTo>
                  <a:lnTo>
                    <a:pt x="506" y="423"/>
                  </a:lnTo>
                  <a:lnTo>
                    <a:pt x="506" y="423"/>
                  </a:lnTo>
                  <a:close/>
                </a:path>
              </a:pathLst>
            </a:custGeom>
            <a:pattFill prst="wdUp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3" name="Freeform 598">
              <a:extLst>
                <a:ext uri="{FF2B5EF4-FFF2-40B4-BE49-F238E27FC236}">
                  <a16:creationId xmlns:a16="http://schemas.microsoft.com/office/drawing/2014/main" id="{2BDB382E-D928-40D6-8267-49CA36FB1602}"/>
                </a:ext>
              </a:extLst>
            </p:cNvPr>
            <p:cNvSpPr>
              <a:spLocks/>
            </p:cNvSpPr>
            <p:nvPr/>
          </p:nvSpPr>
          <p:spPr bwMode="gray">
            <a:xfrm>
              <a:off x="6532771" y="3796425"/>
              <a:ext cx="580985" cy="494933"/>
            </a:xfrm>
            <a:custGeom>
              <a:avLst/>
              <a:gdLst>
                <a:gd name="T0" fmla="*/ 67 w 497"/>
                <a:gd name="T1" fmla="*/ 423 h 423"/>
                <a:gd name="T2" fmla="*/ 119 w 497"/>
                <a:gd name="T3" fmla="*/ 370 h 423"/>
                <a:gd name="T4" fmla="*/ 186 w 497"/>
                <a:gd name="T5" fmla="*/ 384 h 423"/>
                <a:gd name="T6" fmla="*/ 210 w 497"/>
                <a:gd name="T7" fmla="*/ 395 h 423"/>
                <a:gd name="T8" fmla="*/ 238 w 497"/>
                <a:gd name="T9" fmla="*/ 384 h 423"/>
                <a:gd name="T10" fmla="*/ 257 w 497"/>
                <a:gd name="T11" fmla="*/ 363 h 423"/>
                <a:gd name="T12" fmla="*/ 289 w 497"/>
                <a:gd name="T13" fmla="*/ 384 h 423"/>
                <a:gd name="T14" fmla="*/ 325 w 497"/>
                <a:gd name="T15" fmla="*/ 314 h 423"/>
                <a:gd name="T16" fmla="*/ 337 w 497"/>
                <a:gd name="T17" fmla="*/ 311 h 423"/>
                <a:gd name="T18" fmla="*/ 352 w 497"/>
                <a:gd name="T19" fmla="*/ 297 h 423"/>
                <a:gd name="T20" fmla="*/ 372 w 497"/>
                <a:gd name="T21" fmla="*/ 363 h 423"/>
                <a:gd name="T22" fmla="*/ 375 w 497"/>
                <a:gd name="T23" fmla="*/ 363 h 423"/>
                <a:gd name="T24" fmla="*/ 388 w 497"/>
                <a:gd name="T25" fmla="*/ 362 h 423"/>
                <a:gd name="T26" fmla="*/ 390 w 497"/>
                <a:gd name="T27" fmla="*/ 345 h 423"/>
                <a:gd name="T28" fmla="*/ 395 w 497"/>
                <a:gd name="T29" fmla="*/ 329 h 423"/>
                <a:gd name="T30" fmla="*/ 413 w 497"/>
                <a:gd name="T31" fmla="*/ 303 h 423"/>
                <a:gd name="T32" fmla="*/ 427 w 497"/>
                <a:gd name="T33" fmla="*/ 289 h 423"/>
                <a:gd name="T34" fmla="*/ 433 w 497"/>
                <a:gd name="T35" fmla="*/ 263 h 423"/>
                <a:gd name="T36" fmla="*/ 433 w 497"/>
                <a:gd name="T37" fmla="*/ 225 h 423"/>
                <a:gd name="T38" fmla="*/ 445 w 497"/>
                <a:gd name="T39" fmla="*/ 181 h 423"/>
                <a:gd name="T40" fmla="*/ 449 w 497"/>
                <a:gd name="T41" fmla="*/ 164 h 423"/>
                <a:gd name="T42" fmla="*/ 465 w 497"/>
                <a:gd name="T43" fmla="*/ 157 h 423"/>
                <a:gd name="T44" fmla="*/ 488 w 497"/>
                <a:gd name="T45" fmla="*/ 150 h 423"/>
                <a:gd name="T46" fmla="*/ 495 w 497"/>
                <a:gd name="T47" fmla="*/ 131 h 423"/>
                <a:gd name="T48" fmla="*/ 472 w 497"/>
                <a:gd name="T49" fmla="*/ 115 h 423"/>
                <a:gd name="T50" fmla="*/ 463 w 497"/>
                <a:gd name="T51" fmla="*/ 108 h 423"/>
                <a:gd name="T52" fmla="*/ 456 w 497"/>
                <a:gd name="T53" fmla="*/ 63 h 423"/>
                <a:gd name="T54" fmla="*/ 452 w 497"/>
                <a:gd name="T55" fmla="*/ 33 h 423"/>
                <a:gd name="T56" fmla="*/ 458 w 497"/>
                <a:gd name="T57" fmla="*/ 40 h 423"/>
                <a:gd name="T58" fmla="*/ 449 w 497"/>
                <a:gd name="T59" fmla="*/ 21 h 423"/>
                <a:gd name="T60" fmla="*/ 285 w 497"/>
                <a:gd name="T61" fmla="*/ 7 h 423"/>
                <a:gd name="T62" fmla="*/ 285 w 497"/>
                <a:gd name="T63" fmla="*/ 0 h 423"/>
                <a:gd name="T64" fmla="*/ 93 w 497"/>
                <a:gd name="T65" fmla="*/ 7 h 423"/>
                <a:gd name="T66" fmla="*/ 63 w 497"/>
                <a:gd name="T67" fmla="*/ 70 h 423"/>
                <a:gd name="T68" fmla="*/ 63 w 497"/>
                <a:gd name="T69" fmla="*/ 209 h 423"/>
                <a:gd name="T70" fmla="*/ 34 w 497"/>
                <a:gd name="T71" fmla="*/ 211 h 423"/>
                <a:gd name="T72" fmla="*/ 34 w 497"/>
                <a:gd name="T73" fmla="*/ 225 h 423"/>
                <a:gd name="T74" fmla="*/ 25 w 497"/>
                <a:gd name="T75" fmla="*/ 239 h 423"/>
                <a:gd name="T76" fmla="*/ 22 w 497"/>
                <a:gd name="T77" fmla="*/ 256 h 423"/>
                <a:gd name="T78" fmla="*/ 9 w 497"/>
                <a:gd name="T79" fmla="*/ 268 h 423"/>
                <a:gd name="T80" fmla="*/ 6 w 497"/>
                <a:gd name="T81" fmla="*/ 289 h 423"/>
                <a:gd name="T82" fmla="*/ 6 w 497"/>
                <a:gd name="T83" fmla="*/ 303 h 423"/>
                <a:gd name="T84" fmla="*/ 11 w 497"/>
                <a:gd name="T85" fmla="*/ 298 h 423"/>
                <a:gd name="T86" fmla="*/ 18 w 497"/>
                <a:gd name="T87" fmla="*/ 310 h 423"/>
                <a:gd name="T88" fmla="*/ 22 w 497"/>
                <a:gd name="T89" fmla="*/ 336 h 423"/>
                <a:gd name="T90" fmla="*/ 32 w 497"/>
                <a:gd name="T91" fmla="*/ 338 h 423"/>
                <a:gd name="T92" fmla="*/ 32 w 497"/>
                <a:gd name="T93" fmla="*/ 357 h 423"/>
                <a:gd name="T94" fmla="*/ 54 w 497"/>
                <a:gd name="T95" fmla="*/ 390 h 423"/>
                <a:gd name="T96" fmla="*/ 52 w 497"/>
                <a:gd name="T97" fmla="*/ 409 h 423"/>
                <a:gd name="T98" fmla="*/ 52 w 497"/>
                <a:gd name="T99" fmla="*/ 416 h 423"/>
                <a:gd name="T100" fmla="*/ 67 w 497"/>
                <a:gd name="T101"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7" h="423">
                  <a:moveTo>
                    <a:pt x="67" y="423"/>
                  </a:moveTo>
                  <a:cubicBezTo>
                    <a:pt x="67" y="423"/>
                    <a:pt x="67" y="423"/>
                    <a:pt x="67" y="423"/>
                  </a:cubicBezTo>
                  <a:cubicBezTo>
                    <a:pt x="67" y="423"/>
                    <a:pt x="67" y="423"/>
                    <a:pt x="95" y="367"/>
                  </a:cubicBezTo>
                  <a:cubicBezTo>
                    <a:pt x="95" y="367"/>
                    <a:pt x="95" y="367"/>
                    <a:pt x="119" y="370"/>
                  </a:cubicBezTo>
                  <a:cubicBezTo>
                    <a:pt x="119" y="370"/>
                    <a:pt x="119" y="370"/>
                    <a:pt x="135" y="391"/>
                  </a:cubicBezTo>
                  <a:cubicBezTo>
                    <a:pt x="135" y="391"/>
                    <a:pt x="135" y="391"/>
                    <a:pt x="186" y="384"/>
                  </a:cubicBezTo>
                  <a:cubicBezTo>
                    <a:pt x="186" y="384"/>
                    <a:pt x="186" y="384"/>
                    <a:pt x="186" y="395"/>
                  </a:cubicBezTo>
                  <a:cubicBezTo>
                    <a:pt x="186" y="395"/>
                    <a:pt x="186" y="395"/>
                    <a:pt x="210" y="395"/>
                  </a:cubicBezTo>
                  <a:cubicBezTo>
                    <a:pt x="210" y="395"/>
                    <a:pt x="210" y="395"/>
                    <a:pt x="222" y="384"/>
                  </a:cubicBezTo>
                  <a:cubicBezTo>
                    <a:pt x="222" y="384"/>
                    <a:pt x="222" y="384"/>
                    <a:pt x="238" y="384"/>
                  </a:cubicBezTo>
                  <a:cubicBezTo>
                    <a:pt x="238" y="384"/>
                    <a:pt x="238" y="384"/>
                    <a:pt x="238" y="370"/>
                  </a:cubicBezTo>
                  <a:cubicBezTo>
                    <a:pt x="238" y="370"/>
                    <a:pt x="238" y="370"/>
                    <a:pt x="257" y="363"/>
                  </a:cubicBezTo>
                  <a:cubicBezTo>
                    <a:pt x="257" y="363"/>
                    <a:pt x="257" y="363"/>
                    <a:pt x="281" y="384"/>
                  </a:cubicBezTo>
                  <a:cubicBezTo>
                    <a:pt x="281" y="384"/>
                    <a:pt x="281" y="384"/>
                    <a:pt x="289" y="384"/>
                  </a:cubicBezTo>
                  <a:cubicBezTo>
                    <a:pt x="289" y="384"/>
                    <a:pt x="289" y="384"/>
                    <a:pt x="325" y="342"/>
                  </a:cubicBezTo>
                  <a:cubicBezTo>
                    <a:pt x="325" y="342"/>
                    <a:pt x="325" y="342"/>
                    <a:pt x="325" y="314"/>
                  </a:cubicBezTo>
                  <a:cubicBezTo>
                    <a:pt x="325" y="314"/>
                    <a:pt x="325" y="314"/>
                    <a:pt x="321" y="314"/>
                  </a:cubicBezTo>
                  <a:cubicBezTo>
                    <a:pt x="321" y="314"/>
                    <a:pt x="321" y="314"/>
                    <a:pt x="337" y="311"/>
                  </a:cubicBezTo>
                  <a:cubicBezTo>
                    <a:pt x="337" y="311"/>
                    <a:pt x="337" y="311"/>
                    <a:pt x="337" y="297"/>
                  </a:cubicBezTo>
                  <a:cubicBezTo>
                    <a:pt x="337" y="297"/>
                    <a:pt x="337" y="297"/>
                    <a:pt x="352" y="297"/>
                  </a:cubicBezTo>
                  <a:cubicBezTo>
                    <a:pt x="352" y="297"/>
                    <a:pt x="352" y="297"/>
                    <a:pt x="352" y="360"/>
                  </a:cubicBezTo>
                  <a:cubicBezTo>
                    <a:pt x="372" y="363"/>
                    <a:pt x="372" y="363"/>
                    <a:pt x="372" y="363"/>
                  </a:cubicBezTo>
                  <a:cubicBezTo>
                    <a:pt x="372" y="363"/>
                    <a:pt x="372" y="363"/>
                    <a:pt x="372" y="364"/>
                  </a:cubicBezTo>
                  <a:cubicBezTo>
                    <a:pt x="375" y="363"/>
                    <a:pt x="375" y="363"/>
                    <a:pt x="375" y="363"/>
                  </a:cubicBezTo>
                  <a:cubicBezTo>
                    <a:pt x="381" y="357"/>
                    <a:pt x="381" y="357"/>
                    <a:pt x="381" y="357"/>
                  </a:cubicBezTo>
                  <a:cubicBezTo>
                    <a:pt x="388" y="362"/>
                    <a:pt x="388" y="362"/>
                    <a:pt x="388" y="362"/>
                  </a:cubicBezTo>
                  <a:cubicBezTo>
                    <a:pt x="390" y="357"/>
                    <a:pt x="390" y="357"/>
                    <a:pt x="390" y="357"/>
                  </a:cubicBezTo>
                  <a:cubicBezTo>
                    <a:pt x="390" y="345"/>
                    <a:pt x="390" y="345"/>
                    <a:pt x="390" y="345"/>
                  </a:cubicBezTo>
                  <a:cubicBezTo>
                    <a:pt x="395" y="336"/>
                    <a:pt x="395" y="336"/>
                    <a:pt x="395" y="336"/>
                  </a:cubicBezTo>
                  <a:cubicBezTo>
                    <a:pt x="395" y="329"/>
                    <a:pt x="395" y="329"/>
                    <a:pt x="395" y="329"/>
                  </a:cubicBezTo>
                  <a:cubicBezTo>
                    <a:pt x="399" y="326"/>
                    <a:pt x="399" y="326"/>
                    <a:pt x="399" y="326"/>
                  </a:cubicBezTo>
                  <a:cubicBezTo>
                    <a:pt x="413" y="303"/>
                    <a:pt x="413" y="303"/>
                    <a:pt x="413" y="303"/>
                  </a:cubicBezTo>
                  <a:cubicBezTo>
                    <a:pt x="427" y="298"/>
                    <a:pt x="427" y="298"/>
                    <a:pt x="427" y="298"/>
                  </a:cubicBezTo>
                  <a:cubicBezTo>
                    <a:pt x="427" y="289"/>
                    <a:pt x="427" y="289"/>
                    <a:pt x="427" y="289"/>
                  </a:cubicBezTo>
                  <a:cubicBezTo>
                    <a:pt x="436" y="265"/>
                    <a:pt x="436" y="265"/>
                    <a:pt x="436" y="265"/>
                  </a:cubicBezTo>
                  <a:cubicBezTo>
                    <a:pt x="433" y="263"/>
                    <a:pt x="433" y="263"/>
                    <a:pt x="433" y="263"/>
                  </a:cubicBezTo>
                  <a:cubicBezTo>
                    <a:pt x="436" y="251"/>
                    <a:pt x="436" y="251"/>
                    <a:pt x="436" y="251"/>
                  </a:cubicBezTo>
                  <a:cubicBezTo>
                    <a:pt x="433" y="225"/>
                    <a:pt x="433" y="225"/>
                    <a:pt x="433" y="225"/>
                  </a:cubicBezTo>
                  <a:cubicBezTo>
                    <a:pt x="449" y="188"/>
                    <a:pt x="449" y="188"/>
                    <a:pt x="449" y="188"/>
                  </a:cubicBezTo>
                  <a:cubicBezTo>
                    <a:pt x="445" y="181"/>
                    <a:pt x="445" y="181"/>
                    <a:pt x="445" y="181"/>
                  </a:cubicBezTo>
                  <a:cubicBezTo>
                    <a:pt x="449" y="174"/>
                    <a:pt x="449" y="174"/>
                    <a:pt x="449" y="174"/>
                  </a:cubicBezTo>
                  <a:cubicBezTo>
                    <a:pt x="449" y="164"/>
                    <a:pt x="449" y="164"/>
                    <a:pt x="449" y="164"/>
                  </a:cubicBezTo>
                  <a:cubicBezTo>
                    <a:pt x="463" y="164"/>
                    <a:pt x="463" y="164"/>
                    <a:pt x="463" y="164"/>
                  </a:cubicBezTo>
                  <a:cubicBezTo>
                    <a:pt x="465" y="157"/>
                    <a:pt x="465" y="157"/>
                    <a:pt x="465" y="157"/>
                  </a:cubicBezTo>
                  <a:cubicBezTo>
                    <a:pt x="481" y="148"/>
                    <a:pt x="481" y="148"/>
                    <a:pt x="481" y="148"/>
                  </a:cubicBezTo>
                  <a:cubicBezTo>
                    <a:pt x="488" y="150"/>
                    <a:pt x="488" y="150"/>
                    <a:pt x="488" y="150"/>
                  </a:cubicBezTo>
                  <a:cubicBezTo>
                    <a:pt x="497" y="134"/>
                    <a:pt x="497" y="134"/>
                    <a:pt x="497" y="134"/>
                  </a:cubicBezTo>
                  <a:cubicBezTo>
                    <a:pt x="495" y="131"/>
                    <a:pt x="495" y="131"/>
                    <a:pt x="495" y="131"/>
                  </a:cubicBezTo>
                  <a:cubicBezTo>
                    <a:pt x="481" y="124"/>
                    <a:pt x="481" y="124"/>
                    <a:pt x="481" y="124"/>
                  </a:cubicBezTo>
                  <a:cubicBezTo>
                    <a:pt x="472" y="115"/>
                    <a:pt x="472" y="115"/>
                    <a:pt x="472" y="115"/>
                  </a:cubicBezTo>
                  <a:cubicBezTo>
                    <a:pt x="465" y="110"/>
                    <a:pt x="465" y="110"/>
                    <a:pt x="465" y="110"/>
                  </a:cubicBezTo>
                  <a:cubicBezTo>
                    <a:pt x="463" y="108"/>
                    <a:pt x="463" y="108"/>
                    <a:pt x="463" y="108"/>
                  </a:cubicBezTo>
                  <a:cubicBezTo>
                    <a:pt x="458" y="84"/>
                    <a:pt x="458" y="84"/>
                    <a:pt x="458" y="84"/>
                  </a:cubicBezTo>
                  <a:cubicBezTo>
                    <a:pt x="456" y="63"/>
                    <a:pt x="456" y="63"/>
                    <a:pt x="456" y="63"/>
                  </a:cubicBezTo>
                  <a:cubicBezTo>
                    <a:pt x="456" y="54"/>
                    <a:pt x="456" y="54"/>
                    <a:pt x="456" y="54"/>
                  </a:cubicBezTo>
                  <a:cubicBezTo>
                    <a:pt x="452" y="33"/>
                    <a:pt x="452" y="33"/>
                    <a:pt x="452" y="33"/>
                  </a:cubicBezTo>
                  <a:cubicBezTo>
                    <a:pt x="456" y="37"/>
                    <a:pt x="456" y="37"/>
                    <a:pt x="456" y="37"/>
                  </a:cubicBezTo>
                  <a:cubicBezTo>
                    <a:pt x="458" y="40"/>
                    <a:pt x="458" y="40"/>
                    <a:pt x="458" y="40"/>
                  </a:cubicBezTo>
                  <a:cubicBezTo>
                    <a:pt x="458" y="37"/>
                    <a:pt x="458" y="37"/>
                    <a:pt x="458" y="37"/>
                  </a:cubicBezTo>
                  <a:cubicBezTo>
                    <a:pt x="449" y="21"/>
                    <a:pt x="449" y="21"/>
                    <a:pt x="449" y="21"/>
                  </a:cubicBezTo>
                  <a:cubicBezTo>
                    <a:pt x="445" y="7"/>
                    <a:pt x="445" y="7"/>
                    <a:pt x="445" y="7"/>
                  </a:cubicBezTo>
                  <a:cubicBezTo>
                    <a:pt x="285" y="7"/>
                    <a:pt x="285" y="7"/>
                    <a:pt x="285" y="7"/>
                  </a:cubicBezTo>
                  <a:cubicBezTo>
                    <a:pt x="290" y="4"/>
                    <a:pt x="290" y="4"/>
                    <a:pt x="290" y="4"/>
                  </a:cubicBezTo>
                  <a:cubicBezTo>
                    <a:pt x="285" y="0"/>
                    <a:pt x="285" y="0"/>
                    <a:pt x="285" y="0"/>
                  </a:cubicBezTo>
                  <a:cubicBezTo>
                    <a:pt x="280" y="7"/>
                    <a:pt x="280" y="7"/>
                    <a:pt x="280" y="7"/>
                  </a:cubicBezTo>
                  <a:cubicBezTo>
                    <a:pt x="93" y="7"/>
                    <a:pt x="93" y="7"/>
                    <a:pt x="93" y="7"/>
                  </a:cubicBezTo>
                  <a:cubicBezTo>
                    <a:pt x="93" y="70"/>
                    <a:pt x="93" y="70"/>
                    <a:pt x="93" y="70"/>
                  </a:cubicBezTo>
                  <a:cubicBezTo>
                    <a:pt x="63" y="70"/>
                    <a:pt x="63" y="70"/>
                    <a:pt x="63" y="70"/>
                  </a:cubicBezTo>
                  <a:cubicBezTo>
                    <a:pt x="63" y="87"/>
                    <a:pt x="63" y="87"/>
                    <a:pt x="63" y="87"/>
                  </a:cubicBezTo>
                  <a:cubicBezTo>
                    <a:pt x="63" y="209"/>
                    <a:pt x="63" y="209"/>
                    <a:pt x="63" y="209"/>
                  </a:cubicBezTo>
                  <a:cubicBezTo>
                    <a:pt x="38" y="209"/>
                    <a:pt x="38" y="209"/>
                    <a:pt x="38" y="209"/>
                  </a:cubicBezTo>
                  <a:cubicBezTo>
                    <a:pt x="34" y="211"/>
                    <a:pt x="34" y="211"/>
                    <a:pt x="34" y="211"/>
                  </a:cubicBezTo>
                  <a:cubicBezTo>
                    <a:pt x="34" y="218"/>
                    <a:pt x="34" y="218"/>
                    <a:pt x="34" y="218"/>
                  </a:cubicBezTo>
                  <a:cubicBezTo>
                    <a:pt x="34" y="225"/>
                    <a:pt x="34" y="225"/>
                    <a:pt x="34" y="225"/>
                  </a:cubicBezTo>
                  <a:cubicBezTo>
                    <a:pt x="25" y="235"/>
                    <a:pt x="25" y="235"/>
                    <a:pt x="25" y="235"/>
                  </a:cubicBezTo>
                  <a:cubicBezTo>
                    <a:pt x="25" y="239"/>
                    <a:pt x="25" y="239"/>
                    <a:pt x="25" y="239"/>
                  </a:cubicBezTo>
                  <a:cubicBezTo>
                    <a:pt x="18" y="242"/>
                    <a:pt x="18" y="242"/>
                    <a:pt x="18" y="242"/>
                  </a:cubicBezTo>
                  <a:cubicBezTo>
                    <a:pt x="22" y="256"/>
                    <a:pt x="22" y="256"/>
                    <a:pt x="22" y="256"/>
                  </a:cubicBezTo>
                  <a:cubicBezTo>
                    <a:pt x="11" y="263"/>
                    <a:pt x="11" y="263"/>
                    <a:pt x="11" y="263"/>
                  </a:cubicBezTo>
                  <a:cubicBezTo>
                    <a:pt x="9" y="268"/>
                    <a:pt x="9" y="268"/>
                    <a:pt x="9" y="268"/>
                  </a:cubicBezTo>
                  <a:cubicBezTo>
                    <a:pt x="16" y="279"/>
                    <a:pt x="16" y="279"/>
                    <a:pt x="16" y="279"/>
                  </a:cubicBezTo>
                  <a:cubicBezTo>
                    <a:pt x="6" y="289"/>
                    <a:pt x="6" y="289"/>
                    <a:pt x="6" y="289"/>
                  </a:cubicBezTo>
                  <a:cubicBezTo>
                    <a:pt x="0" y="298"/>
                    <a:pt x="0" y="298"/>
                    <a:pt x="0" y="298"/>
                  </a:cubicBezTo>
                  <a:cubicBezTo>
                    <a:pt x="6" y="303"/>
                    <a:pt x="6" y="303"/>
                    <a:pt x="6" y="303"/>
                  </a:cubicBezTo>
                  <a:cubicBezTo>
                    <a:pt x="9" y="303"/>
                    <a:pt x="9" y="303"/>
                    <a:pt x="9" y="303"/>
                  </a:cubicBezTo>
                  <a:cubicBezTo>
                    <a:pt x="11" y="298"/>
                    <a:pt x="11" y="298"/>
                    <a:pt x="11" y="298"/>
                  </a:cubicBezTo>
                  <a:cubicBezTo>
                    <a:pt x="18" y="303"/>
                    <a:pt x="18" y="303"/>
                    <a:pt x="18" y="303"/>
                  </a:cubicBezTo>
                  <a:cubicBezTo>
                    <a:pt x="18" y="310"/>
                    <a:pt x="18" y="310"/>
                    <a:pt x="18" y="310"/>
                  </a:cubicBezTo>
                  <a:cubicBezTo>
                    <a:pt x="25" y="322"/>
                    <a:pt x="25" y="322"/>
                    <a:pt x="25" y="322"/>
                  </a:cubicBezTo>
                  <a:cubicBezTo>
                    <a:pt x="22" y="336"/>
                    <a:pt x="22" y="336"/>
                    <a:pt x="22" y="336"/>
                  </a:cubicBezTo>
                  <a:cubicBezTo>
                    <a:pt x="29" y="338"/>
                    <a:pt x="29" y="338"/>
                    <a:pt x="29" y="338"/>
                  </a:cubicBezTo>
                  <a:cubicBezTo>
                    <a:pt x="32" y="338"/>
                    <a:pt x="32" y="338"/>
                    <a:pt x="32" y="338"/>
                  </a:cubicBezTo>
                  <a:cubicBezTo>
                    <a:pt x="34" y="345"/>
                    <a:pt x="34" y="345"/>
                    <a:pt x="34" y="345"/>
                  </a:cubicBezTo>
                  <a:cubicBezTo>
                    <a:pt x="32" y="357"/>
                    <a:pt x="32" y="357"/>
                    <a:pt x="32" y="357"/>
                  </a:cubicBezTo>
                  <a:cubicBezTo>
                    <a:pt x="45" y="369"/>
                    <a:pt x="45" y="369"/>
                    <a:pt x="45" y="369"/>
                  </a:cubicBezTo>
                  <a:cubicBezTo>
                    <a:pt x="54" y="390"/>
                    <a:pt x="54" y="390"/>
                    <a:pt x="54" y="390"/>
                  </a:cubicBezTo>
                  <a:cubicBezTo>
                    <a:pt x="54" y="406"/>
                    <a:pt x="54" y="406"/>
                    <a:pt x="54" y="406"/>
                  </a:cubicBezTo>
                  <a:cubicBezTo>
                    <a:pt x="52" y="409"/>
                    <a:pt x="52" y="409"/>
                    <a:pt x="52" y="409"/>
                  </a:cubicBezTo>
                  <a:cubicBezTo>
                    <a:pt x="47" y="413"/>
                    <a:pt x="47" y="413"/>
                    <a:pt x="47" y="413"/>
                  </a:cubicBezTo>
                  <a:cubicBezTo>
                    <a:pt x="52" y="416"/>
                    <a:pt x="52" y="416"/>
                    <a:pt x="52" y="416"/>
                  </a:cubicBezTo>
                  <a:cubicBezTo>
                    <a:pt x="52" y="423"/>
                    <a:pt x="52" y="423"/>
                    <a:pt x="52" y="423"/>
                  </a:cubicBezTo>
                  <a:lnTo>
                    <a:pt x="67" y="423"/>
                  </a:lnTo>
                  <a:close/>
                </a:path>
              </a:pathLst>
            </a:custGeom>
            <a:pattFill prst="nar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4" name="Freeform 599">
              <a:extLst>
                <a:ext uri="{FF2B5EF4-FFF2-40B4-BE49-F238E27FC236}">
                  <a16:creationId xmlns:a16="http://schemas.microsoft.com/office/drawing/2014/main" id="{79810AB2-9D7F-4F54-8EE0-DECE55789BC1}"/>
                </a:ext>
              </a:extLst>
            </p:cNvPr>
            <p:cNvSpPr>
              <a:spLocks/>
            </p:cNvSpPr>
            <p:nvPr/>
          </p:nvSpPr>
          <p:spPr bwMode="gray">
            <a:xfrm>
              <a:off x="6610962" y="4143869"/>
              <a:ext cx="412727" cy="336554"/>
            </a:xfrm>
            <a:custGeom>
              <a:avLst/>
              <a:gdLst>
                <a:gd name="T0" fmla="*/ 339 w 353"/>
                <a:gd name="T1" fmla="*/ 227 h 288"/>
                <a:gd name="T2" fmla="*/ 332 w 353"/>
                <a:gd name="T3" fmla="*/ 227 h 288"/>
                <a:gd name="T4" fmla="*/ 323 w 353"/>
                <a:gd name="T5" fmla="*/ 210 h 288"/>
                <a:gd name="T6" fmla="*/ 309 w 353"/>
                <a:gd name="T7" fmla="*/ 187 h 288"/>
                <a:gd name="T8" fmla="*/ 300 w 353"/>
                <a:gd name="T9" fmla="*/ 180 h 288"/>
                <a:gd name="T10" fmla="*/ 277 w 353"/>
                <a:gd name="T11" fmla="*/ 156 h 288"/>
                <a:gd name="T12" fmla="*/ 264 w 353"/>
                <a:gd name="T13" fmla="*/ 149 h 288"/>
                <a:gd name="T14" fmla="*/ 270 w 353"/>
                <a:gd name="T15" fmla="*/ 135 h 288"/>
                <a:gd name="T16" fmla="*/ 286 w 353"/>
                <a:gd name="T17" fmla="*/ 135 h 288"/>
                <a:gd name="T18" fmla="*/ 298 w 353"/>
                <a:gd name="T19" fmla="*/ 102 h 288"/>
                <a:gd name="T20" fmla="*/ 305 w 353"/>
                <a:gd name="T21" fmla="*/ 69 h 288"/>
                <a:gd name="T22" fmla="*/ 305 w 353"/>
                <a:gd name="T23" fmla="*/ 67 h 288"/>
                <a:gd name="T24" fmla="*/ 285 w 353"/>
                <a:gd name="T25" fmla="*/ 63 h 288"/>
                <a:gd name="T26" fmla="*/ 270 w 353"/>
                <a:gd name="T27" fmla="*/ 0 h 288"/>
                <a:gd name="T28" fmla="*/ 254 w 353"/>
                <a:gd name="T29" fmla="*/ 17 h 288"/>
                <a:gd name="T30" fmla="*/ 258 w 353"/>
                <a:gd name="T31" fmla="*/ 45 h 288"/>
                <a:gd name="T32" fmla="*/ 214 w 353"/>
                <a:gd name="T33" fmla="*/ 87 h 288"/>
                <a:gd name="T34" fmla="*/ 171 w 353"/>
                <a:gd name="T35" fmla="*/ 73 h 288"/>
                <a:gd name="T36" fmla="*/ 155 w 353"/>
                <a:gd name="T37" fmla="*/ 87 h 288"/>
                <a:gd name="T38" fmla="*/ 119 w 353"/>
                <a:gd name="T39" fmla="*/ 98 h 288"/>
                <a:gd name="T40" fmla="*/ 68 w 353"/>
                <a:gd name="T41" fmla="*/ 94 h 288"/>
                <a:gd name="T42" fmla="*/ 28 w 353"/>
                <a:gd name="T43" fmla="*/ 70 h 288"/>
                <a:gd name="T44" fmla="*/ 0 w 353"/>
                <a:gd name="T45" fmla="*/ 126 h 288"/>
                <a:gd name="T46" fmla="*/ 8 w 353"/>
                <a:gd name="T47" fmla="*/ 130 h 288"/>
                <a:gd name="T48" fmla="*/ 3 w 353"/>
                <a:gd name="T49" fmla="*/ 140 h 288"/>
                <a:gd name="T50" fmla="*/ 31 w 353"/>
                <a:gd name="T51" fmla="*/ 154 h 288"/>
                <a:gd name="T52" fmla="*/ 35 w 353"/>
                <a:gd name="T53" fmla="*/ 159 h 288"/>
                <a:gd name="T54" fmla="*/ 56 w 353"/>
                <a:gd name="T55" fmla="*/ 180 h 288"/>
                <a:gd name="T56" fmla="*/ 70 w 353"/>
                <a:gd name="T57" fmla="*/ 189 h 288"/>
                <a:gd name="T58" fmla="*/ 72 w 353"/>
                <a:gd name="T59" fmla="*/ 203 h 288"/>
                <a:gd name="T60" fmla="*/ 81 w 353"/>
                <a:gd name="T61" fmla="*/ 210 h 288"/>
                <a:gd name="T62" fmla="*/ 95 w 353"/>
                <a:gd name="T63" fmla="*/ 224 h 288"/>
                <a:gd name="T64" fmla="*/ 102 w 353"/>
                <a:gd name="T65" fmla="*/ 241 h 288"/>
                <a:gd name="T66" fmla="*/ 111 w 353"/>
                <a:gd name="T67" fmla="*/ 253 h 288"/>
                <a:gd name="T68" fmla="*/ 140 w 353"/>
                <a:gd name="T69" fmla="*/ 253 h 288"/>
                <a:gd name="T70" fmla="*/ 161 w 353"/>
                <a:gd name="T71" fmla="*/ 250 h 288"/>
                <a:gd name="T72" fmla="*/ 170 w 353"/>
                <a:gd name="T73" fmla="*/ 253 h 288"/>
                <a:gd name="T74" fmla="*/ 179 w 353"/>
                <a:gd name="T75" fmla="*/ 267 h 288"/>
                <a:gd name="T76" fmla="*/ 193 w 353"/>
                <a:gd name="T77" fmla="*/ 274 h 288"/>
                <a:gd name="T78" fmla="*/ 200 w 353"/>
                <a:gd name="T79" fmla="*/ 281 h 288"/>
                <a:gd name="T80" fmla="*/ 207 w 353"/>
                <a:gd name="T81" fmla="*/ 281 h 288"/>
                <a:gd name="T82" fmla="*/ 223 w 353"/>
                <a:gd name="T83" fmla="*/ 281 h 288"/>
                <a:gd name="T84" fmla="*/ 232 w 353"/>
                <a:gd name="T85" fmla="*/ 283 h 288"/>
                <a:gd name="T86" fmla="*/ 241 w 353"/>
                <a:gd name="T87" fmla="*/ 283 h 288"/>
                <a:gd name="T88" fmla="*/ 254 w 353"/>
                <a:gd name="T89" fmla="*/ 276 h 288"/>
                <a:gd name="T90" fmla="*/ 270 w 353"/>
                <a:gd name="T91" fmla="*/ 276 h 288"/>
                <a:gd name="T92" fmla="*/ 293 w 353"/>
                <a:gd name="T93" fmla="*/ 264 h 288"/>
                <a:gd name="T94" fmla="*/ 353 w 353"/>
                <a:gd name="T95" fmla="*/ 253 h 288"/>
                <a:gd name="T96" fmla="*/ 350 w 353"/>
                <a:gd name="T97" fmla="*/ 22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3" h="288">
                  <a:moveTo>
                    <a:pt x="350" y="229"/>
                  </a:moveTo>
                  <a:cubicBezTo>
                    <a:pt x="339" y="227"/>
                    <a:pt x="339" y="227"/>
                    <a:pt x="339" y="227"/>
                  </a:cubicBezTo>
                  <a:cubicBezTo>
                    <a:pt x="332" y="229"/>
                    <a:pt x="332" y="229"/>
                    <a:pt x="332" y="229"/>
                  </a:cubicBezTo>
                  <a:cubicBezTo>
                    <a:pt x="332" y="227"/>
                    <a:pt x="332" y="227"/>
                    <a:pt x="332" y="227"/>
                  </a:cubicBezTo>
                  <a:cubicBezTo>
                    <a:pt x="328" y="220"/>
                    <a:pt x="328" y="220"/>
                    <a:pt x="328" y="220"/>
                  </a:cubicBezTo>
                  <a:cubicBezTo>
                    <a:pt x="323" y="210"/>
                    <a:pt x="323" y="210"/>
                    <a:pt x="323" y="210"/>
                  </a:cubicBezTo>
                  <a:cubicBezTo>
                    <a:pt x="316" y="189"/>
                    <a:pt x="316" y="189"/>
                    <a:pt x="316" y="189"/>
                  </a:cubicBezTo>
                  <a:cubicBezTo>
                    <a:pt x="309" y="187"/>
                    <a:pt x="309" y="187"/>
                    <a:pt x="309" y="187"/>
                  </a:cubicBezTo>
                  <a:cubicBezTo>
                    <a:pt x="307" y="182"/>
                    <a:pt x="307" y="182"/>
                    <a:pt x="307" y="182"/>
                  </a:cubicBezTo>
                  <a:cubicBezTo>
                    <a:pt x="300" y="180"/>
                    <a:pt x="300" y="180"/>
                    <a:pt x="300" y="180"/>
                  </a:cubicBezTo>
                  <a:cubicBezTo>
                    <a:pt x="291" y="163"/>
                    <a:pt x="291" y="163"/>
                    <a:pt x="291" y="163"/>
                  </a:cubicBezTo>
                  <a:cubicBezTo>
                    <a:pt x="277" y="156"/>
                    <a:pt x="277" y="156"/>
                    <a:pt x="277" y="156"/>
                  </a:cubicBezTo>
                  <a:cubicBezTo>
                    <a:pt x="264" y="156"/>
                    <a:pt x="264" y="156"/>
                    <a:pt x="264" y="156"/>
                  </a:cubicBezTo>
                  <a:cubicBezTo>
                    <a:pt x="264" y="149"/>
                    <a:pt x="264" y="149"/>
                    <a:pt x="264" y="149"/>
                  </a:cubicBezTo>
                  <a:cubicBezTo>
                    <a:pt x="270" y="142"/>
                    <a:pt x="270" y="142"/>
                    <a:pt x="270" y="142"/>
                  </a:cubicBezTo>
                  <a:cubicBezTo>
                    <a:pt x="270" y="135"/>
                    <a:pt x="270" y="135"/>
                    <a:pt x="270" y="135"/>
                  </a:cubicBezTo>
                  <a:cubicBezTo>
                    <a:pt x="284" y="133"/>
                    <a:pt x="284" y="133"/>
                    <a:pt x="284" y="133"/>
                  </a:cubicBezTo>
                  <a:cubicBezTo>
                    <a:pt x="286" y="135"/>
                    <a:pt x="286" y="135"/>
                    <a:pt x="286" y="135"/>
                  </a:cubicBezTo>
                  <a:cubicBezTo>
                    <a:pt x="298" y="130"/>
                    <a:pt x="298" y="130"/>
                    <a:pt x="298" y="130"/>
                  </a:cubicBezTo>
                  <a:cubicBezTo>
                    <a:pt x="298" y="102"/>
                    <a:pt x="298" y="102"/>
                    <a:pt x="298" y="102"/>
                  </a:cubicBezTo>
                  <a:cubicBezTo>
                    <a:pt x="305" y="79"/>
                    <a:pt x="305" y="79"/>
                    <a:pt x="305" y="79"/>
                  </a:cubicBezTo>
                  <a:cubicBezTo>
                    <a:pt x="305" y="69"/>
                    <a:pt x="305" y="69"/>
                    <a:pt x="305" y="69"/>
                  </a:cubicBezTo>
                  <a:cubicBezTo>
                    <a:pt x="308" y="66"/>
                    <a:pt x="308" y="66"/>
                    <a:pt x="308" y="66"/>
                  </a:cubicBezTo>
                  <a:cubicBezTo>
                    <a:pt x="305" y="67"/>
                    <a:pt x="305" y="67"/>
                    <a:pt x="305" y="67"/>
                  </a:cubicBezTo>
                  <a:cubicBezTo>
                    <a:pt x="305" y="66"/>
                    <a:pt x="305" y="66"/>
                    <a:pt x="305" y="66"/>
                  </a:cubicBezTo>
                  <a:cubicBezTo>
                    <a:pt x="285" y="63"/>
                    <a:pt x="285" y="63"/>
                    <a:pt x="285" y="63"/>
                  </a:cubicBezTo>
                  <a:cubicBezTo>
                    <a:pt x="285" y="0"/>
                    <a:pt x="285" y="0"/>
                    <a:pt x="285" y="0"/>
                  </a:cubicBezTo>
                  <a:cubicBezTo>
                    <a:pt x="270" y="0"/>
                    <a:pt x="270" y="0"/>
                    <a:pt x="270" y="0"/>
                  </a:cubicBezTo>
                  <a:cubicBezTo>
                    <a:pt x="270" y="14"/>
                    <a:pt x="270" y="14"/>
                    <a:pt x="270" y="14"/>
                  </a:cubicBezTo>
                  <a:cubicBezTo>
                    <a:pt x="254" y="17"/>
                    <a:pt x="254" y="17"/>
                    <a:pt x="254" y="17"/>
                  </a:cubicBezTo>
                  <a:cubicBezTo>
                    <a:pt x="258" y="17"/>
                    <a:pt x="258" y="17"/>
                    <a:pt x="258" y="17"/>
                  </a:cubicBezTo>
                  <a:cubicBezTo>
                    <a:pt x="258" y="45"/>
                    <a:pt x="258" y="45"/>
                    <a:pt x="258" y="45"/>
                  </a:cubicBezTo>
                  <a:cubicBezTo>
                    <a:pt x="222" y="87"/>
                    <a:pt x="222" y="87"/>
                    <a:pt x="222" y="87"/>
                  </a:cubicBezTo>
                  <a:cubicBezTo>
                    <a:pt x="214" y="87"/>
                    <a:pt x="214" y="87"/>
                    <a:pt x="214" y="87"/>
                  </a:cubicBezTo>
                  <a:cubicBezTo>
                    <a:pt x="190" y="66"/>
                    <a:pt x="190" y="66"/>
                    <a:pt x="190" y="66"/>
                  </a:cubicBezTo>
                  <a:cubicBezTo>
                    <a:pt x="171" y="73"/>
                    <a:pt x="171" y="73"/>
                    <a:pt x="171" y="73"/>
                  </a:cubicBezTo>
                  <a:cubicBezTo>
                    <a:pt x="171" y="87"/>
                    <a:pt x="171" y="87"/>
                    <a:pt x="171" y="87"/>
                  </a:cubicBezTo>
                  <a:cubicBezTo>
                    <a:pt x="155" y="87"/>
                    <a:pt x="155" y="87"/>
                    <a:pt x="155" y="87"/>
                  </a:cubicBezTo>
                  <a:cubicBezTo>
                    <a:pt x="143" y="98"/>
                    <a:pt x="143" y="98"/>
                    <a:pt x="143" y="98"/>
                  </a:cubicBezTo>
                  <a:cubicBezTo>
                    <a:pt x="119" y="98"/>
                    <a:pt x="119" y="98"/>
                    <a:pt x="119" y="98"/>
                  </a:cubicBezTo>
                  <a:cubicBezTo>
                    <a:pt x="119" y="87"/>
                    <a:pt x="119" y="87"/>
                    <a:pt x="119" y="87"/>
                  </a:cubicBezTo>
                  <a:cubicBezTo>
                    <a:pt x="68" y="94"/>
                    <a:pt x="68" y="94"/>
                    <a:pt x="68" y="94"/>
                  </a:cubicBezTo>
                  <a:cubicBezTo>
                    <a:pt x="52" y="73"/>
                    <a:pt x="52" y="73"/>
                    <a:pt x="52" y="73"/>
                  </a:cubicBezTo>
                  <a:cubicBezTo>
                    <a:pt x="28" y="70"/>
                    <a:pt x="28" y="70"/>
                    <a:pt x="28" y="70"/>
                  </a:cubicBezTo>
                  <a:cubicBezTo>
                    <a:pt x="0" y="126"/>
                    <a:pt x="0" y="126"/>
                    <a:pt x="0" y="126"/>
                  </a:cubicBezTo>
                  <a:cubicBezTo>
                    <a:pt x="0" y="126"/>
                    <a:pt x="0" y="126"/>
                    <a:pt x="0" y="126"/>
                  </a:cubicBezTo>
                  <a:cubicBezTo>
                    <a:pt x="3" y="126"/>
                    <a:pt x="3" y="126"/>
                    <a:pt x="3" y="126"/>
                  </a:cubicBezTo>
                  <a:cubicBezTo>
                    <a:pt x="8" y="130"/>
                    <a:pt x="8" y="130"/>
                    <a:pt x="8" y="130"/>
                  </a:cubicBezTo>
                  <a:cubicBezTo>
                    <a:pt x="3" y="133"/>
                    <a:pt x="3" y="133"/>
                    <a:pt x="3" y="133"/>
                  </a:cubicBezTo>
                  <a:cubicBezTo>
                    <a:pt x="3" y="140"/>
                    <a:pt x="3" y="140"/>
                    <a:pt x="3" y="140"/>
                  </a:cubicBezTo>
                  <a:cubicBezTo>
                    <a:pt x="19" y="142"/>
                    <a:pt x="19" y="142"/>
                    <a:pt x="19" y="142"/>
                  </a:cubicBezTo>
                  <a:cubicBezTo>
                    <a:pt x="31" y="154"/>
                    <a:pt x="31" y="154"/>
                    <a:pt x="31" y="154"/>
                  </a:cubicBezTo>
                  <a:cubicBezTo>
                    <a:pt x="35" y="154"/>
                    <a:pt x="35" y="154"/>
                    <a:pt x="35" y="154"/>
                  </a:cubicBezTo>
                  <a:cubicBezTo>
                    <a:pt x="35" y="159"/>
                    <a:pt x="35" y="159"/>
                    <a:pt x="35" y="159"/>
                  </a:cubicBezTo>
                  <a:cubicBezTo>
                    <a:pt x="33" y="163"/>
                    <a:pt x="33" y="163"/>
                    <a:pt x="33" y="163"/>
                  </a:cubicBezTo>
                  <a:cubicBezTo>
                    <a:pt x="56" y="180"/>
                    <a:pt x="56" y="180"/>
                    <a:pt x="56" y="180"/>
                  </a:cubicBezTo>
                  <a:cubicBezTo>
                    <a:pt x="58" y="182"/>
                    <a:pt x="58" y="182"/>
                    <a:pt x="58" y="182"/>
                  </a:cubicBezTo>
                  <a:cubicBezTo>
                    <a:pt x="70" y="189"/>
                    <a:pt x="70" y="189"/>
                    <a:pt x="70" y="189"/>
                  </a:cubicBezTo>
                  <a:cubicBezTo>
                    <a:pt x="65" y="196"/>
                    <a:pt x="65" y="196"/>
                    <a:pt x="65" y="196"/>
                  </a:cubicBezTo>
                  <a:cubicBezTo>
                    <a:pt x="72" y="203"/>
                    <a:pt x="72" y="203"/>
                    <a:pt x="72" y="203"/>
                  </a:cubicBezTo>
                  <a:cubicBezTo>
                    <a:pt x="70" y="206"/>
                    <a:pt x="70" y="206"/>
                    <a:pt x="70" y="206"/>
                  </a:cubicBezTo>
                  <a:cubicBezTo>
                    <a:pt x="81" y="210"/>
                    <a:pt x="81" y="210"/>
                    <a:pt x="81" y="210"/>
                  </a:cubicBezTo>
                  <a:cubicBezTo>
                    <a:pt x="92" y="217"/>
                    <a:pt x="92" y="217"/>
                    <a:pt x="92" y="217"/>
                  </a:cubicBezTo>
                  <a:cubicBezTo>
                    <a:pt x="95" y="224"/>
                    <a:pt x="95" y="224"/>
                    <a:pt x="95" y="224"/>
                  </a:cubicBezTo>
                  <a:cubicBezTo>
                    <a:pt x="95" y="229"/>
                    <a:pt x="95" y="229"/>
                    <a:pt x="95" y="229"/>
                  </a:cubicBezTo>
                  <a:cubicBezTo>
                    <a:pt x="102" y="241"/>
                    <a:pt x="102" y="241"/>
                    <a:pt x="102" y="241"/>
                  </a:cubicBezTo>
                  <a:cubicBezTo>
                    <a:pt x="108" y="248"/>
                    <a:pt x="108" y="248"/>
                    <a:pt x="108" y="248"/>
                  </a:cubicBezTo>
                  <a:cubicBezTo>
                    <a:pt x="111" y="253"/>
                    <a:pt x="111" y="253"/>
                    <a:pt x="111" y="253"/>
                  </a:cubicBezTo>
                  <a:cubicBezTo>
                    <a:pt x="127" y="264"/>
                    <a:pt x="127" y="264"/>
                    <a:pt x="127" y="264"/>
                  </a:cubicBezTo>
                  <a:cubicBezTo>
                    <a:pt x="140" y="253"/>
                    <a:pt x="140" y="253"/>
                    <a:pt x="140" y="253"/>
                  </a:cubicBezTo>
                  <a:cubicBezTo>
                    <a:pt x="154" y="260"/>
                    <a:pt x="154" y="260"/>
                    <a:pt x="154" y="260"/>
                  </a:cubicBezTo>
                  <a:cubicBezTo>
                    <a:pt x="161" y="250"/>
                    <a:pt x="161" y="250"/>
                    <a:pt x="161" y="250"/>
                  </a:cubicBezTo>
                  <a:cubicBezTo>
                    <a:pt x="163" y="250"/>
                    <a:pt x="163" y="250"/>
                    <a:pt x="163" y="250"/>
                  </a:cubicBezTo>
                  <a:cubicBezTo>
                    <a:pt x="170" y="253"/>
                    <a:pt x="170" y="253"/>
                    <a:pt x="170" y="253"/>
                  </a:cubicBezTo>
                  <a:cubicBezTo>
                    <a:pt x="170" y="260"/>
                    <a:pt x="170" y="260"/>
                    <a:pt x="170" y="260"/>
                  </a:cubicBezTo>
                  <a:cubicBezTo>
                    <a:pt x="179" y="267"/>
                    <a:pt x="179" y="267"/>
                    <a:pt x="179" y="267"/>
                  </a:cubicBezTo>
                  <a:cubicBezTo>
                    <a:pt x="184" y="274"/>
                    <a:pt x="184" y="274"/>
                    <a:pt x="184" y="274"/>
                  </a:cubicBezTo>
                  <a:cubicBezTo>
                    <a:pt x="193" y="274"/>
                    <a:pt x="193" y="274"/>
                    <a:pt x="193" y="274"/>
                  </a:cubicBezTo>
                  <a:cubicBezTo>
                    <a:pt x="193" y="283"/>
                    <a:pt x="193" y="283"/>
                    <a:pt x="193" y="283"/>
                  </a:cubicBezTo>
                  <a:cubicBezTo>
                    <a:pt x="200" y="281"/>
                    <a:pt x="200" y="281"/>
                    <a:pt x="200" y="281"/>
                  </a:cubicBezTo>
                  <a:cubicBezTo>
                    <a:pt x="202" y="288"/>
                    <a:pt x="202" y="288"/>
                    <a:pt x="202" y="288"/>
                  </a:cubicBezTo>
                  <a:cubicBezTo>
                    <a:pt x="207" y="281"/>
                    <a:pt x="207" y="281"/>
                    <a:pt x="207" y="281"/>
                  </a:cubicBezTo>
                  <a:cubicBezTo>
                    <a:pt x="209" y="276"/>
                    <a:pt x="209" y="276"/>
                    <a:pt x="209" y="276"/>
                  </a:cubicBezTo>
                  <a:cubicBezTo>
                    <a:pt x="223" y="281"/>
                    <a:pt x="223" y="281"/>
                    <a:pt x="223" y="281"/>
                  </a:cubicBezTo>
                  <a:cubicBezTo>
                    <a:pt x="229" y="276"/>
                    <a:pt x="229" y="276"/>
                    <a:pt x="229" y="276"/>
                  </a:cubicBezTo>
                  <a:cubicBezTo>
                    <a:pt x="232" y="283"/>
                    <a:pt x="232" y="283"/>
                    <a:pt x="232" y="283"/>
                  </a:cubicBezTo>
                  <a:cubicBezTo>
                    <a:pt x="241" y="288"/>
                    <a:pt x="241" y="288"/>
                    <a:pt x="241" y="288"/>
                  </a:cubicBezTo>
                  <a:cubicBezTo>
                    <a:pt x="241" y="283"/>
                    <a:pt x="241" y="283"/>
                    <a:pt x="241" y="283"/>
                  </a:cubicBezTo>
                  <a:cubicBezTo>
                    <a:pt x="248" y="281"/>
                    <a:pt x="248" y="281"/>
                    <a:pt x="248" y="281"/>
                  </a:cubicBezTo>
                  <a:cubicBezTo>
                    <a:pt x="254" y="276"/>
                    <a:pt x="254" y="276"/>
                    <a:pt x="254" y="276"/>
                  </a:cubicBezTo>
                  <a:cubicBezTo>
                    <a:pt x="264" y="274"/>
                    <a:pt x="264" y="274"/>
                    <a:pt x="264" y="274"/>
                  </a:cubicBezTo>
                  <a:cubicBezTo>
                    <a:pt x="270" y="276"/>
                    <a:pt x="270" y="276"/>
                    <a:pt x="270" y="276"/>
                  </a:cubicBezTo>
                  <a:cubicBezTo>
                    <a:pt x="282" y="276"/>
                    <a:pt x="282" y="276"/>
                    <a:pt x="282" y="276"/>
                  </a:cubicBezTo>
                  <a:cubicBezTo>
                    <a:pt x="293" y="264"/>
                    <a:pt x="293" y="264"/>
                    <a:pt x="293" y="264"/>
                  </a:cubicBezTo>
                  <a:cubicBezTo>
                    <a:pt x="307" y="253"/>
                    <a:pt x="307" y="253"/>
                    <a:pt x="307" y="253"/>
                  </a:cubicBezTo>
                  <a:cubicBezTo>
                    <a:pt x="353" y="253"/>
                    <a:pt x="353" y="253"/>
                    <a:pt x="353" y="253"/>
                  </a:cubicBezTo>
                  <a:cubicBezTo>
                    <a:pt x="346" y="248"/>
                    <a:pt x="346" y="248"/>
                    <a:pt x="346" y="248"/>
                  </a:cubicBezTo>
                  <a:lnTo>
                    <a:pt x="350" y="229"/>
                  </a:lnTo>
                  <a:close/>
                </a:path>
              </a:pathLst>
            </a:custGeom>
            <a:pattFill prst="dkDnDiag">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4256" name="Gruppieren 14255">
            <a:extLst>
              <a:ext uri="{FF2B5EF4-FFF2-40B4-BE49-F238E27FC236}">
                <a16:creationId xmlns:a16="http://schemas.microsoft.com/office/drawing/2014/main" id="{0DEF6F79-40AB-4080-B3F0-231A506EB1A8}"/>
              </a:ext>
            </a:extLst>
          </p:cNvPr>
          <p:cNvGrpSpPr/>
          <p:nvPr/>
        </p:nvGrpSpPr>
        <p:grpSpPr bwMode="gray">
          <a:xfrm>
            <a:off x="4617726" y="1880232"/>
            <a:ext cx="1944000" cy="1548112"/>
            <a:chOff x="4007768" y="1016792"/>
            <a:chExt cx="1944000" cy="1548112"/>
          </a:xfrm>
        </p:grpSpPr>
        <p:sp>
          <p:nvSpPr>
            <p:cNvPr id="14261" name="Textplatzhalter 4">
              <a:extLst>
                <a:ext uri="{FF2B5EF4-FFF2-40B4-BE49-F238E27FC236}">
                  <a16:creationId xmlns:a16="http://schemas.microsoft.com/office/drawing/2014/main" id="{AFD958BB-50DD-4E0F-A8F1-E1F36FB46B13}"/>
                </a:ext>
              </a:extLst>
            </p:cNvPr>
            <p:cNvSpPr txBox="1">
              <a:spLocks/>
            </p:cNvSpPr>
            <p:nvPr/>
          </p:nvSpPr>
          <p:spPr bwMode="gray">
            <a:xfrm>
              <a:off x="4007768" y="1736835"/>
              <a:ext cx="1944000" cy="828069"/>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CO</a:t>
              </a:r>
              <a:r>
                <a:rPr lang="en-US" baseline="-25000" dirty="0"/>
                <a:t>2</a:t>
              </a:r>
              <a:r>
                <a:rPr lang="en-US" dirty="0"/>
                <a:t> we can save with our combined heating and power plant in Lübeck</a:t>
              </a:r>
            </a:p>
          </p:txBody>
        </p:sp>
        <p:sp>
          <p:nvSpPr>
            <p:cNvPr id="14262" name="Textplatzhalter 3">
              <a:extLst>
                <a:ext uri="{FF2B5EF4-FFF2-40B4-BE49-F238E27FC236}">
                  <a16:creationId xmlns:a16="http://schemas.microsoft.com/office/drawing/2014/main" id="{EB07D802-8109-4A67-9033-7301AE0150E9}"/>
                </a:ext>
              </a:extLst>
            </p:cNvPr>
            <p:cNvSpPr txBox="1">
              <a:spLocks/>
            </p:cNvSpPr>
            <p:nvPr/>
          </p:nvSpPr>
          <p:spPr bwMode="gray">
            <a:xfrm>
              <a:off x="4007768" y="1016792"/>
              <a:ext cx="194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dirty="0">
                  <a:solidFill>
                    <a:schemeClr val="accent5"/>
                  </a:solidFill>
                </a:rPr>
                <a:t>25%</a:t>
              </a:r>
            </a:p>
          </p:txBody>
        </p:sp>
        <p:cxnSp>
          <p:nvCxnSpPr>
            <p:cNvPr id="14263" name="Gerader Verbinder 14262">
              <a:extLst>
                <a:ext uri="{FF2B5EF4-FFF2-40B4-BE49-F238E27FC236}">
                  <a16:creationId xmlns:a16="http://schemas.microsoft.com/office/drawing/2014/main" id="{656A35CE-7F3A-403E-823B-AF78035BDC3D}"/>
                </a:ext>
              </a:extLst>
            </p:cNvPr>
            <p:cNvCxnSpPr/>
            <p:nvPr/>
          </p:nvCxnSpPr>
          <p:spPr bwMode="gray">
            <a:xfrm>
              <a:off x="5519936" y="1556792"/>
              <a:ext cx="4316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265" name="Gruppieren 14264">
            <a:extLst>
              <a:ext uri="{FF2B5EF4-FFF2-40B4-BE49-F238E27FC236}">
                <a16:creationId xmlns:a16="http://schemas.microsoft.com/office/drawing/2014/main" id="{B051EF62-1E3C-4815-A9A0-2C3D22B9D1BA}"/>
              </a:ext>
            </a:extLst>
          </p:cNvPr>
          <p:cNvGrpSpPr/>
          <p:nvPr/>
        </p:nvGrpSpPr>
        <p:grpSpPr bwMode="gray">
          <a:xfrm>
            <a:off x="9408368" y="332656"/>
            <a:ext cx="3240360" cy="3240360"/>
            <a:chOff x="4295800" y="4005064"/>
            <a:chExt cx="3240360" cy="3240360"/>
          </a:xfrm>
        </p:grpSpPr>
        <p:sp>
          <p:nvSpPr>
            <p:cNvPr id="14266" name="Ellipse 14265">
              <a:extLst>
                <a:ext uri="{FF2B5EF4-FFF2-40B4-BE49-F238E27FC236}">
                  <a16:creationId xmlns:a16="http://schemas.microsoft.com/office/drawing/2014/main" id="{D75D14A6-7EC5-4386-9821-BF3447806859}"/>
                </a:ext>
              </a:extLst>
            </p:cNvPr>
            <p:cNvSpPr/>
            <p:nvPr/>
          </p:nvSpPr>
          <p:spPr bwMode="gray">
            <a:xfrm>
              <a:off x="4295800" y="4005064"/>
              <a:ext cx="3240360" cy="3240360"/>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267" name="Textplatzhalter 4">
              <a:extLst>
                <a:ext uri="{FF2B5EF4-FFF2-40B4-BE49-F238E27FC236}">
                  <a16:creationId xmlns:a16="http://schemas.microsoft.com/office/drawing/2014/main" id="{7C97A131-D003-4807-BBAD-A7F0407E7B17}"/>
                </a:ext>
              </a:extLst>
            </p:cNvPr>
            <p:cNvSpPr txBox="1">
              <a:spLocks/>
            </p:cNvSpPr>
            <p:nvPr/>
          </p:nvSpPr>
          <p:spPr bwMode="gray">
            <a:xfrm>
              <a:off x="5015880" y="5491063"/>
              <a:ext cx="1944000" cy="828069"/>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solidFill>
                    <a:schemeClr val="bg1"/>
                  </a:solidFill>
                </a:rPr>
                <a:t>CO</a:t>
              </a:r>
              <a:r>
                <a:rPr lang="en-US" baseline="-25000" dirty="0">
                  <a:solidFill>
                    <a:schemeClr val="bg1"/>
                  </a:solidFill>
                </a:rPr>
                <a:t>2</a:t>
              </a:r>
              <a:r>
                <a:rPr lang="en-US" dirty="0">
                  <a:solidFill>
                    <a:schemeClr val="bg1"/>
                  </a:solidFill>
                </a:rPr>
                <a:t> we can save with our combined heating and power plant in Lübeck</a:t>
              </a:r>
            </a:p>
          </p:txBody>
        </p:sp>
        <p:sp>
          <p:nvSpPr>
            <p:cNvPr id="14268" name="Textplatzhalter 3">
              <a:extLst>
                <a:ext uri="{FF2B5EF4-FFF2-40B4-BE49-F238E27FC236}">
                  <a16:creationId xmlns:a16="http://schemas.microsoft.com/office/drawing/2014/main" id="{9C10DC5A-01DE-4D88-AC42-7416F909D100}"/>
                </a:ext>
              </a:extLst>
            </p:cNvPr>
            <p:cNvSpPr txBox="1">
              <a:spLocks/>
            </p:cNvSpPr>
            <p:nvPr/>
          </p:nvSpPr>
          <p:spPr bwMode="gray">
            <a:xfrm>
              <a:off x="5015880" y="4771020"/>
              <a:ext cx="194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dirty="0">
                  <a:solidFill>
                    <a:schemeClr val="bg1"/>
                  </a:solidFill>
                </a:rPr>
                <a:t>25%</a:t>
              </a:r>
            </a:p>
          </p:txBody>
        </p:sp>
      </p:grpSp>
      <p:grpSp>
        <p:nvGrpSpPr>
          <p:cNvPr id="14269" name="Gruppieren 14268">
            <a:extLst>
              <a:ext uri="{FF2B5EF4-FFF2-40B4-BE49-F238E27FC236}">
                <a16:creationId xmlns:a16="http://schemas.microsoft.com/office/drawing/2014/main" id="{D4699F6C-044D-475A-81DB-F5F20348F20A}"/>
              </a:ext>
            </a:extLst>
          </p:cNvPr>
          <p:cNvGrpSpPr/>
          <p:nvPr/>
        </p:nvGrpSpPr>
        <p:grpSpPr bwMode="gray">
          <a:xfrm>
            <a:off x="7966139" y="4567356"/>
            <a:ext cx="1944000" cy="1548112"/>
            <a:chOff x="4007768" y="1016792"/>
            <a:chExt cx="1944000" cy="1548112"/>
          </a:xfrm>
        </p:grpSpPr>
        <p:sp>
          <p:nvSpPr>
            <p:cNvPr id="14270" name="Textplatzhalter 4">
              <a:extLst>
                <a:ext uri="{FF2B5EF4-FFF2-40B4-BE49-F238E27FC236}">
                  <a16:creationId xmlns:a16="http://schemas.microsoft.com/office/drawing/2014/main" id="{0E5D1E1C-86F6-413E-9835-DCB141F65C50}"/>
                </a:ext>
              </a:extLst>
            </p:cNvPr>
            <p:cNvSpPr txBox="1">
              <a:spLocks/>
            </p:cNvSpPr>
            <p:nvPr/>
          </p:nvSpPr>
          <p:spPr bwMode="gray">
            <a:xfrm>
              <a:off x="4007768" y="1736835"/>
              <a:ext cx="1944000" cy="828069"/>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CO</a:t>
              </a:r>
              <a:r>
                <a:rPr lang="en-US" baseline="-25000" dirty="0"/>
                <a:t>2</a:t>
              </a:r>
              <a:r>
                <a:rPr lang="en-US" dirty="0"/>
                <a:t> we can save with our combined heating and power plant in Lübeck</a:t>
              </a:r>
            </a:p>
          </p:txBody>
        </p:sp>
        <p:sp>
          <p:nvSpPr>
            <p:cNvPr id="14271" name="Textplatzhalter 3">
              <a:extLst>
                <a:ext uri="{FF2B5EF4-FFF2-40B4-BE49-F238E27FC236}">
                  <a16:creationId xmlns:a16="http://schemas.microsoft.com/office/drawing/2014/main" id="{53E04BDA-E21E-4028-90D7-C616925945CB}"/>
                </a:ext>
              </a:extLst>
            </p:cNvPr>
            <p:cNvSpPr txBox="1">
              <a:spLocks/>
            </p:cNvSpPr>
            <p:nvPr/>
          </p:nvSpPr>
          <p:spPr bwMode="gray">
            <a:xfrm>
              <a:off x="4007768" y="1016792"/>
              <a:ext cx="194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dirty="0">
                  <a:solidFill>
                    <a:schemeClr val="accent5"/>
                  </a:solidFill>
                </a:rPr>
                <a:t>25%</a:t>
              </a:r>
            </a:p>
          </p:txBody>
        </p:sp>
        <p:cxnSp>
          <p:nvCxnSpPr>
            <p:cNvPr id="27630" name="Gerader Verbinder 27629">
              <a:extLst>
                <a:ext uri="{FF2B5EF4-FFF2-40B4-BE49-F238E27FC236}">
                  <a16:creationId xmlns:a16="http://schemas.microsoft.com/office/drawing/2014/main" id="{EB4B09FF-949E-4DDD-8026-08A8DDF8E2EC}"/>
                </a:ext>
              </a:extLst>
            </p:cNvPr>
            <p:cNvCxnSpPr/>
            <p:nvPr/>
          </p:nvCxnSpPr>
          <p:spPr bwMode="gray">
            <a:xfrm>
              <a:off x="5519936" y="1556792"/>
              <a:ext cx="4316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4" name="Titel 3">
            <a:extLst>
              <a:ext uri="{FF2B5EF4-FFF2-40B4-BE49-F238E27FC236}">
                <a16:creationId xmlns:a16="http://schemas.microsoft.com/office/drawing/2014/main" id="{60EC8D8A-C876-4EC5-A94B-31EA320D0A60}"/>
              </a:ext>
            </a:extLst>
          </p:cNvPr>
          <p:cNvSpPr>
            <a:spLocks noGrp="1"/>
          </p:cNvSpPr>
          <p:nvPr>
            <p:ph type="title"/>
          </p:nvPr>
        </p:nvSpPr>
        <p:spPr bwMode="gray"/>
        <p:txBody>
          <a:bodyPr/>
          <a:lstStyle/>
          <a:p>
            <a:r>
              <a:rPr lang="en-US" dirty="0"/>
              <a:t>Map:</a:t>
            </a:r>
            <a:br>
              <a:rPr lang="en-US" dirty="0"/>
            </a:br>
            <a:r>
              <a:rPr lang="en-US" dirty="0"/>
              <a:t>World Map</a:t>
            </a:r>
          </a:p>
        </p:txBody>
      </p:sp>
      <p:sp>
        <p:nvSpPr>
          <p:cNvPr id="5" name="Textplatzhalter 4">
            <a:extLst>
              <a:ext uri="{FF2B5EF4-FFF2-40B4-BE49-F238E27FC236}">
                <a16:creationId xmlns:a16="http://schemas.microsoft.com/office/drawing/2014/main" id="{701C482D-C885-4CA3-930D-F81A8465950A}"/>
              </a:ext>
            </a:extLst>
          </p:cNvPr>
          <p:cNvSpPr>
            <a:spLocks noGrp="1"/>
          </p:cNvSpPr>
          <p:nvPr>
            <p:ph type="body" sz="quarter" idx="15"/>
          </p:nvPr>
        </p:nvSpPr>
        <p:spPr bwMode="gray"/>
        <p:txBody>
          <a:bodyPr/>
          <a:lstStyle/>
          <a:p>
            <a:r>
              <a:rPr lang="en-US" dirty="0"/>
              <a:t>Lorem ipsum dolor sit amet, consectetuer adipiscing elit.</a:t>
            </a:r>
          </a:p>
          <a:p>
            <a:pPr lvl="1"/>
            <a:r>
              <a:rPr lang="en-US" dirty="0"/>
              <a:t>Maecenas porttitor congue massa. Fusce posuere, magna sed pulvinar ultricies, purus lectus malesuada libero, sit amet commodo magna eros quis urna.</a:t>
            </a:r>
          </a:p>
          <a:p>
            <a:pPr lvl="1"/>
            <a:endParaRPr lang="en-US" dirty="0"/>
          </a:p>
          <a:p>
            <a:pPr lvl="1"/>
            <a:r>
              <a:rPr lang="en-US" dirty="0"/>
              <a:t>Nunc viverra imperdiet enim.</a:t>
            </a:r>
            <a:br>
              <a:rPr lang="en-US" dirty="0"/>
            </a:br>
            <a:r>
              <a:rPr lang="en-US" dirty="0"/>
              <a:t>Fusce est. Vivamus a tellus.</a:t>
            </a:r>
          </a:p>
        </p:txBody>
      </p:sp>
      <p:sp>
        <p:nvSpPr>
          <p:cNvPr id="2" name="Fußzeilenplatzhalter 1">
            <a:extLst>
              <a:ext uri="{FF2B5EF4-FFF2-40B4-BE49-F238E27FC236}">
                <a16:creationId xmlns:a16="http://schemas.microsoft.com/office/drawing/2014/main" id="{39D00E5D-8AC3-4259-A52E-0B79CF21E581}"/>
              </a:ext>
            </a:extLst>
          </p:cNvPr>
          <p:cNvSpPr>
            <a:spLocks noGrp="1"/>
          </p:cNvSpPr>
          <p:nvPr>
            <p:ph type="ftr" sz="quarter" idx="16"/>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C7BC78AE-9E78-46CC-BBD4-14FD18EDC482}"/>
              </a:ext>
            </a:extLst>
          </p:cNvPr>
          <p:cNvSpPr>
            <a:spLocks noGrp="1"/>
          </p:cNvSpPr>
          <p:nvPr>
            <p:ph type="sldNum" sz="quarter" idx="12"/>
          </p:nvPr>
        </p:nvSpPr>
        <p:spPr/>
        <p:txBody>
          <a:bodyPr/>
          <a:lstStyle/>
          <a:p>
            <a:fld id="{CE82B8A1-0CCE-4815-9668-383D7DE7D8B4}" type="slidenum">
              <a:rPr lang="en-US" noProof="0" smtClean="0"/>
              <a:pPr/>
              <a:t>68</a:t>
            </a:fld>
            <a:endParaRPr lang="en-US" noProof="0" dirty="0"/>
          </a:p>
        </p:txBody>
      </p:sp>
    </p:spTree>
    <p:extLst>
      <p:ext uri="{BB962C8B-B14F-4D97-AF65-F5344CB8AC3E}">
        <p14:creationId xmlns:p14="http://schemas.microsoft.com/office/powerpoint/2010/main" val="199188024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75" name="Freeform 444">
            <a:extLst>
              <a:ext uri="{FF2B5EF4-FFF2-40B4-BE49-F238E27FC236}">
                <a16:creationId xmlns:a16="http://schemas.microsoft.com/office/drawing/2014/main" id="{EE1E432B-CD70-4082-8451-E1D1FDBD3C67}"/>
              </a:ext>
            </a:extLst>
          </p:cNvPr>
          <p:cNvSpPr>
            <a:spLocks noEditPoints="1"/>
          </p:cNvSpPr>
          <p:nvPr/>
        </p:nvSpPr>
        <p:spPr bwMode="gray">
          <a:xfrm>
            <a:off x="2047587" y="4615358"/>
            <a:ext cx="374209" cy="411304"/>
          </a:xfrm>
          <a:custGeom>
            <a:avLst/>
            <a:gdLst>
              <a:gd name="T0" fmla="*/ 796 w 909"/>
              <a:gd name="T1" fmla="*/ 0 h 999"/>
              <a:gd name="T2" fmla="*/ 800 w 909"/>
              <a:gd name="T3" fmla="*/ 4 h 999"/>
              <a:gd name="T4" fmla="*/ 800 w 909"/>
              <a:gd name="T5" fmla="*/ 4 h 999"/>
              <a:gd name="T6" fmla="*/ 838 w 909"/>
              <a:gd name="T7" fmla="*/ 0 h 999"/>
              <a:gd name="T8" fmla="*/ 838 w 909"/>
              <a:gd name="T9" fmla="*/ 4 h 999"/>
              <a:gd name="T10" fmla="*/ 838 w 909"/>
              <a:gd name="T11" fmla="*/ 4 h 999"/>
              <a:gd name="T12" fmla="*/ 800 w 909"/>
              <a:gd name="T13" fmla="*/ 37 h 999"/>
              <a:gd name="T14" fmla="*/ 800 w 909"/>
              <a:gd name="T15" fmla="*/ 45 h 999"/>
              <a:gd name="T16" fmla="*/ 800 w 909"/>
              <a:gd name="T17" fmla="*/ 45 h 999"/>
              <a:gd name="T18" fmla="*/ 871 w 909"/>
              <a:gd name="T19" fmla="*/ 73 h 999"/>
              <a:gd name="T20" fmla="*/ 893 w 909"/>
              <a:gd name="T21" fmla="*/ 61 h 999"/>
              <a:gd name="T22" fmla="*/ 883 w 909"/>
              <a:gd name="T23" fmla="*/ 78 h 999"/>
              <a:gd name="T24" fmla="*/ 871 w 909"/>
              <a:gd name="T25" fmla="*/ 89 h 999"/>
              <a:gd name="T26" fmla="*/ 883 w 909"/>
              <a:gd name="T27" fmla="*/ 78 h 999"/>
              <a:gd name="T28" fmla="*/ 871 w 909"/>
              <a:gd name="T29" fmla="*/ 89 h 999"/>
              <a:gd name="T30" fmla="*/ 904 w 909"/>
              <a:gd name="T31" fmla="*/ 127 h 999"/>
              <a:gd name="T32" fmla="*/ 909 w 909"/>
              <a:gd name="T33" fmla="*/ 115 h 999"/>
              <a:gd name="T34" fmla="*/ 904 w 909"/>
              <a:gd name="T35" fmla="*/ 127 h 999"/>
              <a:gd name="T36" fmla="*/ 4 w 909"/>
              <a:gd name="T37" fmla="*/ 578 h 999"/>
              <a:gd name="T38" fmla="*/ 4 w 909"/>
              <a:gd name="T39" fmla="*/ 571 h 999"/>
              <a:gd name="T40" fmla="*/ 4 w 909"/>
              <a:gd name="T41" fmla="*/ 578 h 999"/>
              <a:gd name="T42" fmla="*/ 4 w 909"/>
              <a:gd name="T43" fmla="*/ 595 h 999"/>
              <a:gd name="T44" fmla="*/ 16 w 909"/>
              <a:gd name="T45" fmla="*/ 588 h 999"/>
              <a:gd name="T46" fmla="*/ 4 w 909"/>
              <a:gd name="T47" fmla="*/ 595 h 999"/>
              <a:gd name="T48" fmla="*/ 125 w 909"/>
              <a:gd name="T49" fmla="*/ 645 h 999"/>
              <a:gd name="T50" fmla="*/ 125 w 909"/>
              <a:gd name="T51" fmla="*/ 633 h 999"/>
              <a:gd name="T52" fmla="*/ 125 w 909"/>
              <a:gd name="T53" fmla="*/ 645 h 999"/>
              <a:gd name="T54" fmla="*/ 167 w 909"/>
              <a:gd name="T55" fmla="*/ 666 h 999"/>
              <a:gd name="T56" fmla="*/ 134 w 909"/>
              <a:gd name="T57" fmla="*/ 645 h 999"/>
              <a:gd name="T58" fmla="*/ 163 w 909"/>
              <a:gd name="T59" fmla="*/ 649 h 999"/>
              <a:gd name="T60" fmla="*/ 167 w 909"/>
              <a:gd name="T61" fmla="*/ 666 h 999"/>
              <a:gd name="T62" fmla="*/ 167 w 909"/>
              <a:gd name="T63" fmla="*/ 666 h 999"/>
              <a:gd name="T64" fmla="*/ 904 w 909"/>
              <a:gd name="T65" fmla="*/ 994 h 999"/>
              <a:gd name="T66" fmla="*/ 904 w 909"/>
              <a:gd name="T67" fmla="*/ 999 h 999"/>
              <a:gd name="T68" fmla="*/ 904 w 909"/>
              <a:gd name="T69" fmla="*/ 999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9" h="999">
                <a:moveTo>
                  <a:pt x="800" y="4"/>
                </a:moveTo>
                <a:lnTo>
                  <a:pt x="796" y="0"/>
                </a:lnTo>
                <a:lnTo>
                  <a:pt x="812" y="0"/>
                </a:lnTo>
                <a:lnTo>
                  <a:pt x="800" y="4"/>
                </a:lnTo>
                <a:lnTo>
                  <a:pt x="800" y="4"/>
                </a:lnTo>
                <a:lnTo>
                  <a:pt x="800" y="4"/>
                </a:lnTo>
                <a:close/>
                <a:moveTo>
                  <a:pt x="838" y="4"/>
                </a:moveTo>
                <a:lnTo>
                  <a:pt x="838" y="0"/>
                </a:lnTo>
                <a:lnTo>
                  <a:pt x="850" y="4"/>
                </a:lnTo>
                <a:lnTo>
                  <a:pt x="838" y="4"/>
                </a:lnTo>
                <a:lnTo>
                  <a:pt x="838" y="4"/>
                </a:lnTo>
                <a:lnTo>
                  <a:pt x="838" y="4"/>
                </a:lnTo>
                <a:close/>
                <a:moveTo>
                  <a:pt x="800" y="45"/>
                </a:moveTo>
                <a:lnTo>
                  <a:pt x="800" y="37"/>
                </a:lnTo>
                <a:lnTo>
                  <a:pt x="812" y="37"/>
                </a:lnTo>
                <a:lnTo>
                  <a:pt x="800" y="45"/>
                </a:lnTo>
                <a:lnTo>
                  <a:pt x="800" y="45"/>
                </a:lnTo>
                <a:lnTo>
                  <a:pt x="800" y="45"/>
                </a:lnTo>
                <a:close/>
                <a:moveTo>
                  <a:pt x="883" y="78"/>
                </a:moveTo>
                <a:lnTo>
                  <a:pt x="871" y="73"/>
                </a:lnTo>
                <a:lnTo>
                  <a:pt x="883" y="61"/>
                </a:lnTo>
                <a:lnTo>
                  <a:pt x="893" y="61"/>
                </a:lnTo>
                <a:lnTo>
                  <a:pt x="883" y="78"/>
                </a:lnTo>
                <a:lnTo>
                  <a:pt x="883" y="78"/>
                </a:lnTo>
                <a:lnTo>
                  <a:pt x="883" y="78"/>
                </a:lnTo>
                <a:close/>
                <a:moveTo>
                  <a:pt x="871" y="89"/>
                </a:moveTo>
                <a:lnTo>
                  <a:pt x="871" y="78"/>
                </a:lnTo>
                <a:lnTo>
                  <a:pt x="883" y="78"/>
                </a:lnTo>
                <a:lnTo>
                  <a:pt x="871" y="89"/>
                </a:lnTo>
                <a:lnTo>
                  <a:pt x="871" y="89"/>
                </a:lnTo>
                <a:lnTo>
                  <a:pt x="871" y="89"/>
                </a:lnTo>
                <a:close/>
                <a:moveTo>
                  <a:pt x="904" y="127"/>
                </a:moveTo>
                <a:lnTo>
                  <a:pt x="904" y="115"/>
                </a:lnTo>
                <a:lnTo>
                  <a:pt x="909" y="115"/>
                </a:lnTo>
                <a:lnTo>
                  <a:pt x="904" y="127"/>
                </a:lnTo>
                <a:lnTo>
                  <a:pt x="904" y="127"/>
                </a:lnTo>
                <a:lnTo>
                  <a:pt x="904" y="127"/>
                </a:lnTo>
                <a:close/>
                <a:moveTo>
                  <a:pt x="4" y="578"/>
                </a:moveTo>
                <a:lnTo>
                  <a:pt x="0" y="571"/>
                </a:lnTo>
                <a:lnTo>
                  <a:pt x="4" y="571"/>
                </a:lnTo>
                <a:lnTo>
                  <a:pt x="4" y="578"/>
                </a:lnTo>
                <a:lnTo>
                  <a:pt x="4" y="578"/>
                </a:lnTo>
                <a:lnTo>
                  <a:pt x="4" y="578"/>
                </a:lnTo>
                <a:close/>
                <a:moveTo>
                  <a:pt x="4" y="595"/>
                </a:moveTo>
                <a:lnTo>
                  <a:pt x="4" y="578"/>
                </a:lnTo>
                <a:lnTo>
                  <a:pt x="16" y="588"/>
                </a:lnTo>
                <a:lnTo>
                  <a:pt x="4" y="595"/>
                </a:lnTo>
                <a:lnTo>
                  <a:pt x="4" y="595"/>
                </a:lnTo>
                <a:lnTo>
                  <a:pt x="4" y="595"/>
                </a:lnTo>
                <a:close/>
                <a:moveTo>
                  <a:pt x="125" y="645"/>
                </a:moveTo>
                <a:lnTo>
                  <a:pt x="113" y="633"/>
                </a:lnTo>
                <a:lnTo>
                  <a:pt x="125" y="633"/>
                </a:lnTo>
                <a:lnTo>
                  <a:pt x="125" y="645"/>
                </a:lnTo>
                <a:lnTo>
                  <a:pt x="125" y="645"/>
                </a:lnTo>
                <a:lnTo>
                  <a:pt x="125" y="645"/>
                </a:lnTo>
                <a:close/>
                <a:moveTo>
                  <a:pt x="167" y="666"/>
                </a:moveTo>
                <a:lnTo>
                  <a:pt x="134" y="649"/>
                </a:lnTo>
                <a:lnTo>
                  <a:pt x="134" y="645"/>
                </a:lnTo>
                <a:lnTo>
                  <a:pt x="151" y="645"/>
                </a:lnTo>
                <a:lnTo>
                  <a:pt x="163" y="649"/>
                </a:lnTo>
                <a:lnTo>
                  <a:pt x="167" y="654"/>
                </a:lnTo>
                <a:lnTo>
                  <a:pt x="167" y="666"/>
                </a:lnTo>
                <a:lnTo>
                  <a:pt x="167" y="666"/>
                </a:lnTo>
                <a:lnTo>
                  <a:pt x="167" y="666"/>
                </a:lnTo>
                <a:close/>
                <a:moveTo>
                  <a:pt x="904" y="999"/>
                </a:moveTo>
                <a:lnTo>
                  <a:pt x="904" y="994"/>
                </a:lnTo>
                <a:lnTo>
                  <a:pt x="904" y="994"/>
                </a:lnTo>
                <a:lnTo>
                  <a:pt x="904" y="999"/>
                </a:lnTo>
                <a:lnTo>
                  <a:pt x="904" y="999"/>
                </a:lnTo>
                <a:lnTo>
                  <a:pt x="904" y="999"/>
                </a:lnTo>
                <a:close/>
              </a:path>
            </a:pathLst>
          </a:custGeom>
          <a:solidFill>
            <a:schemeClr val="accent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1" name="Freeform 528">
            <a:extLst>
              <a:ext uri="{FF2B5EF4-FFF2-40B4-BE49-F238E27FC236}">
                <a16:creationId xmlns:a16="http://schemas.microsoft.com/office/drawing/2014/main" id="{10E343C9-D484-47BA-A3C3-3588B100DD2F}"/>
              </a:ext>
            </a:extLst>
          </p:cNvPr>
          <p:cNvSpPr>
            <a:spLocks noEditPoints="1"/>
          </p:cNvSpPr>
          <p:nvPr/>
        </p:nvSpPr>
        <p:spPr bwMode="gray">
          <a:xfrm>
            <a:off x="1285997" y="5246518"/>
            <a:ext cx="10302868" cy="828373"/>
          </a:xfrm>
          <a:custGeom>
            <a:avLst/>
            <a:gdLst>
              <a:gd name="T0" fmla="*/ 5 w 25027"/>
              <a:gd name="T1" fmla="*/ 4 h 2012"/>
              <a:gd name="T2" fmla="*/ 24914 w 25027"/>
              <a:gd name="T3" fmla="*/ 708 h 2012"/>
              <a:gd name="T4" fmla="*/ 24990 w 25027"/>
              <a:gd name="T5" fmla="*/ 708 h 2012"/>
              <a:gd name="T6" fmla="*/ 24956 w 25027"/>
              <a:gd name="T7" fmla="*/ 815 h 2012"/>
              <a:gd name="T8" fmla="*/ 24897 w 25027"/>
              <a:gd name="T9" fmla="*/ 848 h 2012"/>
              <a:gd name="T10" fmla="*/ 24772 w 25027"/>
              <a:gd name="T11" fmla="*/ 997 h 2012"/>
              <a:gd name="T12" fmla="*/ 24772 w 25027"/>
              <a:gd name="T13" fmla="*/ 902 h 2012"/>
              <a:gd name="T14" fmla="*/ 24671 w 25027"/>
              <a:gd name="T15" fmla="*/ 815 h 2012"/>
              <a:gd name="T16" fmla="*/ 24751 w 25027"/>
              <a:gd name="T17" fmla="*/ 704 h 2012"/>
              <a:gd name="T18" fmla="*/ 24742 w 25027"/>
              <a:gd name="T19" fmla="*/ 647 h 2012"/>
              <a:gd name="T20" fmla="*/ 24742 w 25027"/>
              <a:gd name="T21" fmla="*/ 614 h 2012"/>
              <a:gd name="T22" fmla="*/ 24704 w 25027"/>
              <a:gd name="T23" fmla="*/ 569 h 2012"/>
              <a:gd name="T24" fmla="*/ 24704 w 25027"/>
              <a:gd name="T25" fmla="*/ 552 h 2012"/>
              <a:gd name="T26" fmla="*/ 24704 w 25027"/>
              <a:gd name="T27" fmla="*/ 569 h 2012"/>
              <a:gd name="T28" fmla="*/ 24659 w 25027"/>
              <a:gd name="T29" fmla="*/ 486 h 2012"/>
              <a:gd name="T30" fmla="*/ 24595 w 25027"/>
              <a:gd name="T31" fmla="*/ 408 h 2012"/>
              <a:gd name="T32" fmla="*/ 24633 w 25027"/>
              <a:gd name="T33" fmla="*/ 458 h 2012"/>
              <a:gd name="T34" fmla="*/ 24697 w 25027"/>
              <a:gd name="T35" fmla="*/ 470 h 2012"/>
              <a:gd name="T36" fmla="*/ 24725 w 25027"/>
              <a:gd name="T37" fmla="*/ 526 h 2012"/>
              <a:gd name="T38" fmla="*/ 24734 w 25027"/>
              <a:gd name="T39" fmla="*/ 581 h 2012"/>
              <a:gd name="T40" fmla="*/ 24789 w 25027"/>
              <a:gd name="T41" fmla="*/ 614 h 2012"/>
              <a:gd name="T42" fmla="*/ 24805 w 25027"/>
              <a:gd name="T43" fmla="*/ 609 h 2012"/>
              <a:gd name="T44" fmla="*/ 24779 w 25027"/>
              <a:gd name="T45" fmla="*/ 560 h 2012"/>
              <a:gd name="T46" fmla="*/ 24768 w 25027"/>
              <a:gd name="T47" fmla="*/ 609 h 2012"/>
              <a:gd name="T48" fmla="*/ 24486 w 25027"/>
              <a:gd name="T49" fmla="*/ 1306 h 2012"/>
              <a:gd name="T50" fmla="*/ 24432 w 25027"/>
              <a:gd name="T51" fmla="*/ 1400 h 2012"/>
              <a:gd name="T52" fmla="*/ 24326 w 25027"/>
              <a:gd name="T53" fmla="*/ 1462 h 2012"/>
              <a:gd name="T54" fmla="*/ 24293 w 25027"/>
              <a:gd name="T55" fmla="*/ 1457 h 2012"/>
              <a:gd name="T56" fmla="*/ 24250 w 25027"/>
              <a:gd name="T57" fmla="*/ 1417 h 2012"/>
              <a:gd name="T58" fmla="*/ 24175 w 25027"/>
              <a:gd name="T59" fmla="*/ 1408 h 2012"/>
              <a:gd name="T60" fmla="*/ 24201 w 25027"/>
              <a:gd name="T61" fmla="*/ 1351 h 2012"/>
              <a:gd name="T62" fmla="*/ 24217 w 25027"/>
              <a:gd name="T63" fmla="*/ 1334 h 2012"/>
              <a:gd name="T64" fmla="*/ 24281 w 25027"/>
              <a:gd name="T65" fmla="*/ 1252 h 2012"/>
              <a:gd name="T66" fmla="*/ 24465 w 25027"/>
              <a:gd name="T67" fmla="*/ 1124 h 2012"/>
              <a:gd name="T68" fmla="*/ 24590 w 25027"/>
              <a:gd name="T69" fmla="*/ 926 h 2012"/>
              <a:gd name="T70" fmla="*/ 24616 w 25027"/>
              <a:gd name="T71" fmla="*/ 942 h 2012"/>
              <a:gd name="T72" fmla="*/ 24682 w 25027"/>
              <a:gd name="T73" fmla="*/ 963 h 2012"/>
              <a:gd name="T74" fmla="*/ 24704 w 25027"/>
              <a:gd name="T75" fmla="*/ 980 h 2012"/>
              <a:gd name="T76" fmla="*/ 24659 w 25027"/>
              <a:gd name="T77" fmla="*/ 1091 h 2012"/>
              <a:gd name="T78" fmla="*/ 24616 w 25027"/>
              <a:gd name="T79" fmla="*/ 1207 h 2012"/>
              <a:gd name="T80" fmla="*/ 24508 w 25027"/>
              <a:gd name="T81" fmla="*/ 1235 h 2012"/>
              <a:gd name="T82" fmla="*/ 24671 w 25027"/>
              <a:gd name="T83" fmla="*/ 942 h 2012"/>
              <a:gd name="T84" fmla="*/ 24704 w 25027"/>
              <a:gd name="T85" fmla="*/ 980 h 2012"/>
              <a:gd name="T86" fmla="*/ 92 w 25027"/>
              <a:gd name="T87" fmla="*/ 1223 h 2012"/>
              <a:gd name="T88" fmla="*/ 97 w 25027"/>
              <a:gd name="T89" fmla="*/ 1202 h 2012"/>
              <a:gd name="T90" fmla="*/ 125 w 25027"/>
              <a:gd name="T91" fmla="*/ 1252 h 2012"/>
              <a:gd name="T92" fmla="*/ 24196 w 25027"/>
              <a:gd name="T93" fmla="*/ 1318 h 2012"/>
              <a:gd name="T94" fmla="*/ 24179 w 25027"/>
              <a:gd name="T95" fmla="*/ 1367 h 2012"/>
              <a:gd name="T96" fmla="*/ 24179 w 25027"/>
              <a:gd name="T97" fmla="*/ 1367 h 2012"/>
              <a:gd name="T98" fmla="*/ 24255 w 25027"/>
              <a:gd name="T99" fmla="*/ 1511 h 2012"/>
              <a:gd name="T100" fmla="*/ 24250 w 25027"/>
              <a:gd name="T101" fmla="*/ 1462 h 2012"/>
              <a:gd name="T102" fmla="*/ 25027 w 25027"/>
              <a:gd name="T103" fmla="*/ 1734 h 2012"/>
              <a:gd name="T104" fmla="*/ 24142 w 25027"/>
              <a:gd name="T105" fmla="*/ 1849 h 2012"/>
              <a:gd name="T106" fmla="*/ 24146 w 25027"/>
              <a:gd name="T107" fmla="*/ 1816 h 2012"/>
              <a:gd name="T108" fmla="*/ 24142 w 25027"/>
              <a:gd name="T109" fmla="*/ 1849 h 2012"/>
              <a:gd name="T110" fmla="*/ 24347 w 25027"/>
              <a:gd name="T111" fmla="*/ 2000 h 2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027" h="2012">
                <a:moveTo>
                  <a:pt x="5" y="4"/>
                </a:moveTo>
                <a:lnTo>
                  <a:pt x="0" y="0"/>
                </a:lnTo>
                <a:lnTo>
                  <a:pt x="5" y="4"/>
                </a:lnTo>
                <a:lnTo>
                  <a:pt x="5" y="4"/>
                </a:lnTo>
                <a:lnTo>
                  <a:pt x="5" y="4"/>
                </a:lnTo>
                <a:lnTo>
                  <a:pt x="5" y="4"/>
                </a:lnTo>
                <a:close/>
                <a:moveTo>
                  <a:pt x="24822" y="647"/>
                </a:moveTo>
                <a:lnTo>
                  <a:pt x="24827" y="663"/>
                </a:lnTo>
                <a:lnTo>
                  <a:pt x="24843" y="680"/>
                </a:lnTo>
                <a:lnTo>
                  <a:pt x="24827" y="671"/>
                </a:lnTo>
                <a:lnTo>
                  <a:pt x="24827" y="680"/>
                </a:lnTo>
                <a:lnTo>
                  <a:pt x="24914" y="708"/>
                </a:lnTo>
                <a:lnTo>
                  <a:pt x="24930" y="704"/>
                </a:lnTo>
                <a:lnTo>
                  <a:pt x="24952" y="680"/>
                </a:lnTo>
                <a:lnTo>
                  <a:pt x="24968" y="671"/>
                </a:lnTo>
                <a:lnTo>
                  <a:pt x="24990" y="671"/>
                </a:lnTo>
                <a:lnTo>
                  <a:pt x="25006" y="680"/>
                </a:lnTo>
                <a:lnTo>
                  <a:pt x="24990" y="708"/>
                </a:lnTo>
                <a:lnTo>
                  <a:pt x="24990" y="746"/>
                </a:lnTo>
                <a:lnTo>
                  <a:pt x="24973" y="763"/>
                </a:lnTo>
                <a:lnTo>
                  <a:pt x="24968" y="763"/>
                </a:lnTo>
                <a:lnTo>
                  <a:pt x="24956" y="798"/>
                </a:lnTo>
                <a:lnTo>
                  <a:pt x="24968" y="798"/>
                </a:lnTo>
                <a:lnTo>
                  <a:pt x="24956" y="815"/>
                </a:lnTo>
                <a:lnTo>
                  <a:pt x="24956" y="815"/>
                </a:lnTo>
                <a:lnTo>
                  <a:pt x="24956" y="798"/>
                </a:lnTo>
                <a:lnTo>
                  <a:pt x="24940" y="798"/>
                </a:lnTo>
                <a:lnTo>
                  <a:pt x="24902" y="803"/>
                </a:lnTo>
                <a:lnTo>
                  <a:pt x="24886" y="831"/>
                </a:lnTo>
                <a:lnTo>
                  <a:pt x="24897" y="848"/>
                </a:lnTo>
                <a:lnTo>
                  <a:pt x="24902" y="848"/>
                </a:lnTo>
                <a:lnTo>
                  <a:pt x="24881" y="890"/>
                </a:lnTo>
                <a:lnTo>
                  <a:pt x="24848" y="930"/>
                </a:lnTo>
                <a:lnTo>
                  <a:pt x="24827" y="980"/>
                </a:lnTo>
                <a:lnTo>
                  <a:pt x="24772" y="1013"/>
                </a:lnTo>
                <a:lnTo>
                  <a:pt x="24772" y="997"/>
                </a:lnTo>
                <a:lnTo>
                  <a:pt x="24751" y="997"/>
                </a:lnTo>
                <a:lnTo>
                  <a:pt x="24751" y="980"/>
                </a:lnTo>
                <a:lnTo>
                  <a:pt x="24742" y="985"/>
                </a:lnTo>
                <a:lnTo>
                  <a:pt x="24725" y="985"/>
                </a:lnTo>
                <a:lnTo>
                  <a:pt x="24768" y="930"/>
                </a:lnTo>
                <a:lnTo>
                  <a:pt x="24772" y="902"/>
                </a:lnTo>
                <a:lnTo>
                  <a:pt x="24768" y="886"/>
                </a:lnTo>
                <a:lnTo>
                  <a:pt x="24751" y="869"/>
                </a:lnTo>
                <a:lnTo>
                  <a:pt x="24725" y="857"/>
                </a:lnTo>
                <a:lnTo>
                  <a:pt x="24713" y="848"/>
                </a:lnTo>
                <a:lnTo>
                  <a:pt x="24687" y="836"/>
                </a:lnTo>
                <a:lnTo>
                  <a:pt x="24671" y="815"/>
                </a:lnTo>
                <a:lnTo>
                  <a:pt x="24671" y="803"/>
                </a:lnTo>
                <a:lnTo>
                  <a:pt x="24713" y="791"/>
                </a:lnTo>
                <a:lnTo>
                  <a:pt x="24725" y="775"/>
                </a:lnTo>
                <a:lnTo>
                  <a:pt x="24734" y="720"/>
                </a:lnTo>
                <a:lnTo>
                  <a:pt x="24751" y="720"/>
                </a:lnTo>
                <a:lnTo>
                  <a:pt x="24751" y="704"/>
                </a:lnTo>
                <a:lnTo>
                  <a:pt x="24742" y="704"/>
                </a:lnTo>
                <a:lnTo>
                  <a:pt x="24742" y="692"/>
                </a:lnTo>
                <a:lnTo>
                  <a:pt x="24758" y="687"/>
                </a:lnTo>
                <a:lnTo>
                  <a:pt x="24751" y="687"/>
                </a:lnTo>
                <a:lnTo>
                  <a:pt x="24734" y="654"/>
                </a:lnTo>
                <a:lnTo>
                  <a:pt x="24742" y="647"/>
                </a:lnTo>
                <a:lnTo>
                  <a:pt x="24734" y="654"/>
                </a:lnTo>
                <a:lnTo>
                  <a:pt x="24725" y="630"/>
                </a:lnTo>
                <a:lnTo>
                  <a:pt x="24734" y="630"/>
                </a:lnTo>
                <a:lnTo>
                  <a:pt x="24734" y="635"/>
                </a:lnTo>
                <a:lnTo>
                  <a:pt x="24751" y="630"/>
                </a:lnTo>
                <a:lnTo>
                  <a:pt x="24742" y="614"/>
                </a:lnTo>
                <a:lnTo>
                  <a:pt x="24720" y="626"/>
                </a:lnTo>
                <a:lnTo>
                  <a:pt x="24697" y="576"/>
                </a:lnTo>
                <a:lnTo>
                  <a:pt x="24704" y="576"/>
                </a:lnTo>
                <a:lnTo>
                  <a:pt x="24720" y="597"/>
                </a:lnTo>
                <a:lnTo>
                  <a:pt x="24720" y="569"/>
                </a:lnTo>
                <a:lnTo>
                  <a:pt x="24704" y="569"/>
                </a:lnTo>
                <a:lnTo>
                  <a:pt x="24725" y="560"/>
                </a:lnTo>
                <a:lnTo>
                  <a:pt x="24713" y="569"/>
                </a:lnTo>
                <a:lnTo>
                  <a:pt x="24720" y="552"/>
                </a:lnTo>
                <a:lnTo>
                  <a:pt x="24713" y="560"/>
                </a:lnTo>
                <a:lnTo>
                  <a:pt x="24704" y="552"/>
                </a:lnTo>
                <a:lnTo>
                  <a:pt x="24704" y="552"/>
                </a:lnTo>
                <a:lnTo>
                  <a:pt x="24713" y="560"/>
                </a:lnTo>
                <a:lnTo>
                  <a:pt x="24704" y="560"/>
                </a:lnTo>
                <a:lnTo>
                  <a:pt x="24687" y="552"/>
                </a:lnTo>
                <a:lnTo>
                  <a:pt x="24682" y="526"/>
                </a:lnTo>
                <a:lnTo>
                  <a:pt x="24687" y="552"/>
                </a:lnTo>
                <a:lnTo>
                  <a:pt x="24704" y="569"/>
                </a:lnTo>
                <a:lnTo>
                  <a:pt x="24687" y="576"/>
                </a:lnTo>
                <a:lnTo>
                  <a:pt x="24645" y="503"/>
                </a:lnTo>
                <a:lnTo>
                  <a:pt x="24649" y="498"/>
                </a:lnTo>
                <a:lnTo>
                  <a:pt x="24666" y="486"/>
                </a:lnTo>
                <a:lnTo>
                  <a:pt x="24659" y="482"/>
                </a:lnTo>
                <a:lnTo>
                  <a:pt x="24659" y="486"/>
                </a:lnTo>
                <a:lnTo>
                  <a:pt x="24649" y="486"/>
                </a:lnTo>
                <a:lnTo>
                  <a:pt x="24645" y="503"/>
                </a:lnTo>
                <a:lnTo>
                  <a:pt x="24628" y="470"/>
                </a:lnTo>
                <a:lnTo>
                  <a:pt x="24633" y="470"/>
                </a:lnTo>
                <a:lnTo>
                  <a:pt x="24628" y="458"/>
                </a:lnTo>
                <a:lnTo>
                  <a:pt x="24595" y="408"/>
                </a:lnTo>
                <a:lnTo>
                  <a:pt x="24616" y="408"/>
                </a:lnTo>
                <a:lnTo>
                  <a:pt x="24616" y="415"/>
                </a:lnTo>
                <a:lnTo>
                  <a:pt x="24612" y="415"/>
                </a:lnTo>
                <a:lnTo>
                  <a:pt x="24612" y="425"/>
                </a:lnTo>
                <a:lnTo>
                  <a:pt x="24633" y="449"/>
                </a:lnTo>
                <a:lnTo>
                  <a:pt x="24633" y="458"/>
                </a:lnTo>
                <a:lnTo>
                  <a:pt x="24649" y="441"/>
                </a:lnTo>
                <a:lnTo>
                  <a:pt x="24649" y="449"/>
                </a:lnTo>
                <a:lnTo>
                  <a:pt x="24645" y="449"/>
                </a:lnTo>
                <a:lnTo>
                  <a:pt x="24649" y="458"/>
                </a:lnTo>
                <a:lnTo>
                  <a:pt x="24659" y="458"/>
                </a:lnTo>
                <a:lnTo>
                  <a:pt x="24697" y="470"/>
                </a:lnTo>
                <a:lnTo>
                  <a:pt x="24687" y="482"/>
                </a:lnTo>
                <a:lnTo>
                  <a:pt x="24697" y="486"/>
                </a:lnTo>
                <a:lnTo>
                  <a:pt x="24713" y="482"/>
                </a:lnTo>
                <a:lnTo>
                  <a:pt x="24725" y="503"/>
                </a:lnTo>
                <a:lnTo>
                  <a:pt x="24720" y="515"/>
                </a:lnTo>
                <a:lnTo>
                  <a:pt x="24725" y="526"/>
                </a:lnTo>
                <a:lnTo>
                  <a:pt x="24713" y="519"/>
                </a:lnTo>
                <a:lnTo>
                  <a:pt x="24713" y="526"/>
                </a:lnTo>
                <a:lnTo>
                  <a:pt x="24725" y="526"/>
                </a:lnTo>
                <a:lnTo>
                  <a:pt x="24720" y="543"/>
                </a:lnTo>
                <a:lnTo>
                  <a:pt x="24742" y="560"/>
                </a:lnTo>
                <a:lnTo>
                  <a:pt x="24734" y="581"/>
                </a:lnTo>
                <a:lnTo>
                  <a:pt x="24742" y="609"/>
                </a:lnTo>
                <a:lnTo>
                  <a:pt x="24772" y="626"/>
                </a:lnTo>
                <a:lnTo>
                  <a:pt x="24779" y="635"/>
                </a:lnTo>
                <a:lnTo>
                  <a:pt x="24796" y="647"/>
                </a:lnTo>
                <a:lnTo>
                  <a:pt x="24796" y="626"/>
                </a:lnTo>
                <a:lnTo>
                  <a:pt x="24789" y="614"/>
                </a:lnTo>
                <a:lnTo>
                  <a:pt x="24789" y="597"/>
                </a:lnTo>
                <a:lnTo>
                  <a:pt x="24779" y="581"/>
                </a:lnTo>
                <a:lnTo>
                  <a:pt x="24796" y="581"/>
                </a:lnTo>
                <a:lnTo>
                  <a:pt x="24805" y="597"/>
                </a:lnTo>
                <a:lnTo>
                  <a:pt x="24822" y="597"/>
                </a:lnTo>
                <a:lnTo>
                  <a:pt x="24805" y="609"/>
                </a:lnTo>
                <a:lnTo>
                  <a:pt x="24822" y="609"/>
                </a:lnTo>
                <a:lnTo>
                  <a:pt x="24822" y="647"/>
                </a:lnTo>
                <a:lnTo>
                  <a:pt x="24822" y="647"/>
                </a:lnTo>
                <a:lnTo>
                  <a:pt x="24822" y="647"/>
                </a:lnTo>
                <a:close/>
                <a:moveTo>
                  <a:pt x="24796" y="569"/>
                </a:moveTo>
                <a:lnTo>
                  <a:pt x="24779" y="560"/>
                </a:lnTo>
                <a:lnTo>
                  <a:pt x="24779" y="543"/>
                </a:lnTo>
                <a:lnTo>
                  <a:pt x="24796" y="552"/>
                </a:lnTo>
                <a:lnTo>
                  <a:pt x="24796" y="569"/>
                </a:lnTo>
                <a:lnTo>
                  <a:pt x="24796" y="569"/>
                </a:lnTo>
                <a:lnTo>
                  <a:pt x="24796" y="569"/>
                </a:lnTo>
                <a:close/>
                <a:moveTo>
                  <a:pt x="24768" y="609"/>
                </a:moveTo>
                <a:lnTo>
                  <a:pt x="24758" y="609"/>
                </a:lnTo>
                <a:lnTo>
                  <a:pt x="24772" y="597"/>
                </a:lnTo>
                <a:lnTo>
                  <a:pt x="24768" y="609"/>
                </a:lnTo>
                <a:lnTo>
                  <a:pt x="24768" y="609"/>
                </a:lnTo>
                <a:lnTo>
                  <a:pt x="24768" y="609"/>
                </a:lnTo>
                <a:close/>
                <a:moveTo>
                  <a:pt x="24486" y="1306"/>
                </a:moveTo>
                <a:lnTo>
                  <a:pt x="24470" y="1330"/>
                </a:lnTo>
                <a:lnTo>
                  <a:pt x="24465" y="1351"/>
                </a:lnTo>
                <a:lnTo>
                  <a:pt x="24449" y="1391"/>
                </a:lnTo>
                <a:lnTo>
                  <a:pt x="24456" y="1374"/>
                </a:lnTo>
                <a:lnTo>
                  <a:pt x="24465" y="1391"/>
                </a:lnTo>
                <a:lnTo>
                  <a:pt x="24432" y="1400"/>
                </a:lnTo>
                <a:lnTo>
                  <a:pt x="24427" y="1417"/>
                </a:lnTo>
                <a:lnTo>
                  <a:pt x="24394" y="1429"/>
                </a:lnTo>
                <a:lnTo>
                  <a:pt x="24394" y="1441"/>
                </a:lnTo>
                <a:lnTo>
                  <a:pt x="24373" y="1457"/>
                </a:lnTo>
                <a:lnTo>
                  <a:pt x="24335" y="1462"/>
                </a:lnTo>
                <a:lnTo>
                  <a:pt x="24326" y="1462"/>
                </a:lnTo>
                <a:lnTo>
                  <a:pt x="24326" y="1445"/>
                </a:lnTo>
                <a:lnTo>
                  <a:pt x="24305" y="1457"/>
                </a:lnTo>
                <a:lnTo>
                  <a:pt x="24293" y="1457"/>
                </a:lnTo>
                <a:lnTo>
                  <a:pt x="24305" y="1457"/>
                </a:lnTo>
                <a:lnTo>
                  <a:pt x="24293" y="1445"/>
                </a:lnTo>
                <a:lnTo>
                  <a:pt x="24293" y="1457"/>
                </a:lnTo>
                <a:lnTo>
                  <a:pt x="24288" y="1445"/>
                </a:lnTo>
                <a:lnTo>
                  <a:pt x="24293" y="1445"/>
                </a:lnTo>
                <a:lnTo>
                  <a:pt x="24293" y="1441"/>
                </a:lnTo>
                <a:lnTo>
                  <a:pt x="24281" y="1429"/>
                </a:lnTo>
                <a:lnTo>
                  <a:pt x="24255" y="1441"/>
                </a:lnTo>
                <a:lnTo>
                  <a:pt x="24250" y="1417"/>
                </a:lnTo>
                <a:lnTo>
                  <a:pt x="24234" y="1417"/>
                </a:lnTo>
                <a:lnTo>
                  <a:pt x="24217" y="1424"/>
                </a:lnTo>
                <a:lnTo>
                  <a:pt x="24179" y="1417"/>
                </a:lnTo>
                <a:lnTo>
                  <a:pt x="24175" y="1417"/>
                </a:lnTo>
                <a:lnTo>
                  <a:pt x="24196" y="1391"/>
                </a:lnTo>
                <a:lnTo>
                  <a:pt x="24175" y="1408"/>
                </a:lnTo>
                <a:lnTo>
                  <a:pt x="24175" y="1400"/>
                </a:lnTo>
                <a:lnTo>
                  <a:pt x="24158" y="1400"/>
                </a:lnTo>
                <a:lnTo>
                  <a:pt x="24158" y="1384"/>
                </a:lnTo>
                <a:lnTo>
                  <a:pt x="24196" y="1374"/>
                </a:lnTo>
                <a:lnTo>
                  <a:pt x="24179" y="1367"/>
                </a:lnTo>
                <a:lnTo>
                  <a:pt x="24201" y="1351"/>
                </a:lnTo>
                <a:lnTo>
                  <a:pt x="24179" y="1363"/>
                </a:lnTo>
                <a:lnTo>
                  <a:pt x="24184" y="1334"/>
                </a:lnTo>
                <a:lnTo>
                  <a:pt x="24184" y="1334"/>
                </a:lnTo>
                <a:lnTo>
                  <a:pt x="24212" y="1351"/>
                </a:lnTo>
                <a:lnTo>
                  <a:pt x="24201" y="1334"/>
                </a:lnTo>
                <a:lnTo>
                  <a:pt x="24217" y="1334"/>
                </a:lnTo>
                <a:lnTo>
                  <a:pt x="24201" y="1334"/>
                </a:lnTo>
                <a:lnTo>
                  <a:pt x="24196" y="1318"/>
                </a:lnTo>
                <a:lnTo>
                  <a:pt x="24217" y="1297"/>
                </a:lnTo>
                <a:lnTo>
                  <a:pt x="24234" y="1313"/>
                </a:lnTo>
                <a:lnTo>
                  <a:pt x="24229" y="1289"/>
                </a:lnTo>
                <a:lnTo>
                  <a:pt x="24281" y="1252"/>
                </a:lnTo>
                <a:lnTo>
                  <a:pt x="24293" y="1223"/>
                </a:lnTo>
                <a:lnTo>
                  <a:pt x="24326" y="1219"/>
                </a:lnTo>
                <a:lnTo>
                  <a:pt x="24347" y="1202"/>
                </a:lnTo>
                <a:lnTo>
                  <a:pt x="24390" y="1186"/>
                </a:lnTo>
                <a:lnTo>
                  <a:pt x="24427" y="1145"/>
                </a:lnTo>
                <a:lnTo>
                  <a:pt x="24465" y="1124"/>
                </a:lnTo>
                <a:lnTo>
                  <a:pt x="24486" y="1096"/>
                </a:lnTo>
                <a:lnTo>
                  <a:pt x="24508" y="1030"/>
                </a:lnTo>
                <a:lnTo>
                  <a:pt x="24536" y="1018"/>
                </a:lnTo>
                <a:lnTo>
                  <a:pt x="24553" y="997"/>
                </a:lnTo>
                <a:lnTo>
                  <a:pt x="24557" y="947"/>
                </a:lnTo>
                <a:lnTo>
                  <a:pt x="24590" y="926"/>
                </a:lnTo>
                <a:lnTo>
                  <a:pt x="24590" y="919"/>
                </a:lnTo>
                <a:lnTo>
                  <a:pt x="24616" y="919"/>
                </a:lnTo>
                <a:lnTo>
                  <a:pt x="24595" y="919"/>
                </a:lnTo>
                <a:lnTo>
                  <a:pt x="24595" y="930"/>
                </a:lnTo>
                <a:lnTo>
                  <a:pt x="24607" y="947"/>
                </a:lnTo>
                <a:lnTo>
                  <a:pt x="24616" y="942"/>
                </a:lnTo>
                <a:lnTo>
                  <a:pt x="24628" y="985"/>
                </a:lnTo>
                <a:lnTo>
                  <a:pt x="24687" y="947"/>
                </a:lnTo>
                <a:lnTo>
                  <a:pt x="24687" y="959"/>
                </a:lnTo>
                <a:lnTo>
                  <a:pt x="24671" y="963"/>
                </a:lnTo>
                <a:lnTo>
                  <a:pt x="24671" y="975"/>
                </a:lnTo>
                <a:lnTo>
                  <a:pt x="24682" y="963"/>
                </a:lnTo>
                <a:lnTo>
                  <a:pt x="24671" y="985"/>
                </a:lnTo>
                <a:lnTo>
                  <a:pt x="24697" y="980"/>
                </a:lnTo>
                <a:lnTo>
                  <a:pt x="24682" y="980"/>
                </a:lnTo>
                <a:lnTo>
                  <a:pt x="24687" y="963"/>
                </a:lnTo>
                <a:lnTo>
                  <a:pt x="24713" y="963"/>
                </a:lnTo>
                <a:lnTo>
                  <a:pt x="24704" y="980"/>
                </a:lnTo>
                <a:lnTo>
                  <a:pt x="24687" y="980"/>
                </a:lnTo>
                <a:lnTo>
                  <a:pt x="24713" y="980"/>
                </a:lnTo>
                <a:lnTo>
                  <a:pt x="24687" y="997"/>
                </a:lnTo>
                <a:lnTo>
                  <a:pt x="24713" y="1030"/>
                </a:lnTo>
                <a:lnTo>
                  <a:pt x="24704" y="1034"/>
                </a:lnTo>
                <a:lnTo>
                  <a:pt x="24659" y="1091"/>
                </a:lnTo>
                <a:lnTo>
                  <a:pt x="24633" y="1129"/>
                </a:lnTo>
                <a:lnTo>
                  <a:pt x="24607" y="1152"/>
                </a:lnTo>
                <a:lnTo>
                  <a:pt x="24607" y="1186"/>
                </a:lnTo>
                <a:lnTo>
                  <a:pt x="24616" y="1197"/>
                </a:lnTo>
                <a:lnTo>
                  <a:pt x="24628" y="1207"/>
                </a:lnTo>
                <a:lnTo>
                  <a:pt x="24616" y="1207"/>
                </a:lnTo>
                <a:lnTo>
                  <a:pt x="24612" y="1202"/>
                </a:lnTo>
                <a:lnTo>
                  <a:pt x="24612" y="1207"/>
                </a:lnTo>
                <a:lnTo>
                  <a:pt x="24612" y="1207"/>
                </a:lnTo>
                <a:lnTo>
                  <a:pt x="24579" y="1197"/>
                </a:lnTo>
                <a:lnTo>
                  <a:pt x="24574" y="1207"/>
                </a:lnTo>
                <a:lnTo>
                  <a:pt x="24508" y="1235"/>
                </a:lnTo>
                <a:lnTo>
                  <a:pt x="24498" y="1256"/>
                </a:lnTo>
                <a:lnTo>
                  <a:pt x="24486" y="1306"/>
                </a:lnTo>
                <a:lnTo>
                  <a:pt x="24486" y="1306"/>
                </a:lnTo>
                <a:lnTo>
                  <a:pt x="24486" y="1306"/>
                </a:lnTo>
                <a:close/>
                <a:moveTo>
                  <a:pt x="24671" y="959"/>
                </a:moveTo>
                <a:lnTo>
                  <a:pt x="24671" y="942"/>
                </a:lnTo>
                <a:lnTo>
                  <a:pt x="24687" y="930"/>
                </a:lnTo>
                <a:lnTo>
                  <a:pt x="24682" y="947"/>
                </a:lnTo>
                <a:lnTo>
                  <a:pt x="24671" y="959"/>
                </a:lnTo>
                <a:lnTo>
                  <a:pt x="24671" y="959"/>
                </a:lnTo>
                <a:lnTo>
                  <a:pt x="24671" y="959"/>
                </a:lnTo>
                <a:close/>
                <a:moveTo>
                  <a:pt x="24704" y="980"/>
                </a:moveTo>
                <a:lnTo>
                  <a:pt x="24713" y="975"/>
                </a:lnTo>
                <a:lnTo>
                  <a:pt x="24713" y="980"/>
                </a:lnTo>
                <a:lnTo>
                  <a:pt x="24704" y="980"/>
                </a:lnTo>
                <a:lnTo>
                  <a:pt x="24704" y="980"/>
                </a:lnTo>
                <a:lnTo>
                  <a:pt x="24704" y="980"/>
                </a:lnTo>
                <a:close/>
                <a:moveTo>
                  <a:pt x="92" y="1223"/>
                </a:moveTo>
                <a:lnTo>
                  <a:pt x="97" y="1219"/>
                </a:lnTo>
                <a:lnTo>
                  <a:pt x="97" y="1207"/>
                </a:lnTo>
                <a:lnTo>
                  <a:pt x="76" y="1202"/>
                </a:lnTo>
                <a:lnTo>
                  <a:pt x="97" y="1197"/>
                </a:lnTo>
                <a:lnTo>
                  <a:pt x="125" y="1202"/>
                </a:lnTo>
                <a:lnTo>
                  <a:pt x="97" y="1202"/>
                </a:lnTo>
                <a:lnTo>
                  <a:pt x="114" y="1223"/>
                </a:lnTo>
                <a:lnTo>
                  <a:pt x="97" y="1235"/>
                </a:lnTo>
                <a:lnTo>
                  <a:pt x="92" y="1223"/>
                </a:lnTo>
                <a:lnTo>
                  <a:pt x="92" y="1223"/>
                </a:lnTo>
                <a:lnTo>
                  <a:pt x="92" y="1223"/>
                </a:lnTo>
                <a:close/>
                <a:moveTo>
                  <a:pt x="125" y="1252"/>
                </a:moveTo>
                <a:lnTo>
                  <a:pt x="125" y="1240"/>
                </a:lnTo>
                <a:lnTo>
                  <a:pt x="130" y="1240"/>
                </a:lnTo>
                <a:lnTo>
                  <a:pt x="125" y="1252"/>
                </a:lnTo>
                <a:lnTo>
                  <a:pt x="125" y="1252"/>
                </a:lnTo>
                <a:lnTo>
                  <a:pt x="125" y="1252"/>
                </a:lnTo>
                <a:close/>
                <a:moveTo>
                  <a:pt x="24196" y="1318"/>
                </a:moveTo>
                <a:lnTo>
                  <a:pt x="24196" y="1334"/>
                </a:lnTo>
                <a:lnTo>
                  <a:pt x="24184" y="1330"/>
                </a:lnTo>
                <a:lnTo>
                  <a:pt x="24196" y="1318"/>
                </a:lnTo>
                <a:lnTo>
                  <a:pt x="24196" y="1318"/>
                </a:lnTo>
                <a:lnTo>
                  <a:pt x="24196" y="1318"/>
                </a:lnTo>
                <a:close/>
                <a:moveTo>
                  <a:pt x="24179" y="1367"/>
                </a:moveTo>
                <a:lnTo>
                  <a:pt x="24179" y="1374"/>
                </a:lnTo>
                <a:lnTo>
                  <a:pt x="24163" y="1374"/>
                </a:lnTo>
                <a:lnTo>
                  <a:pt x="24163" y="1367"/>
                </a:lnTo>
                <a:lnTo>
                  <a:pt x="24179" y="1367"/>
                </a:lnTo>
                <a:lnTo>
                  <a:pt x="24179" y="1367"/>
                </a:lnTo>
                <a:lnTo>
                  <a:pt x="24179" y="1367"/>
                </a:lnTo>
                <a:close/>
                <a:moveTo>
                  <a:pt x="24267" y="1462"/>
                </a:moveTo>
                <a:lnTo>
                  <a:pt x="24281" y="1478"/>
                </a:lnTo>
                <a:lnTo>
                  <a:pt x="24271" y="1486"/>
                </a:lnTo>
                <a:lnTo>
                  <a:pt x="24281" y="1486"/>
                </a:lnTo>
                <a:lnTo>
                  <a:pt x="24281" y="1495"/>
                </a:lnTo>
                <a:lnTo>
                  <a:pt x="24255" y="1511"/>
                </a:lnTo>
                <a:lnTo>
                  <a:pt x="24250" y="1502"/>
                </a:lnTo>
                <a:lnTo>
                  <a:pt x="24238" y="1511"/>
                </a:lnTo>
                <a:lnTo>
                  <a:pt x="24250" y="1511"/>
                </a:lnTo>
                <a:lnTo>
                  <a:pt x="24234" y="1519"/>
                </a:lnTo>
                <a:lnTo>
                  <a:pt x="24255" y="1478"/>
                </a:lnTo>
                <a:lnTo>
                  <a:pt x="24250" y="1462"/>
                </a:lnTo>
                <a:lnTo>
                  <a:pt x="24267" y="1462"/>
                </a:lnTo>
                <a:lnTo>
                  <a:pt x="24267" y="1462"/>
                </a:lnTo>
                <a:lnTo>
                  <a:pt x="24267" y="1462"/>
                </a:lnTo>
                <a:close/>
                <a:moveTo>
                  <a:pt x="25027" y="1734"/>
                </a:moveTo>
                <a:lnTo>
                  <a:pt x="25023" y="1741"/>
                </a:lnTo>
                <a:lnTo>
                  <a:pt x="25027" y="1734"/>
                </a:lnTo>
                <a:lnTo>
                  <a:pt x="25027" y="1734"/>
                </a:lnTo>
                <a:lnTo>
                  <a:pt x="25027" y="1734"/>
                </a:lnTo>
                <a:lnTo>
                  <a:pt x="25027" y="1734"/>
                </a:lnTo>
                <a:close/>
                <a:moveTo>
                  <a:pt x="24146" y="1816"/>
                </a:moveTo>
                <a:lnTo>
                  <a:pt x="24130" y="1833"/>
                </a:lnTo>
                <a:lnTo>
                  <a:pt x="24142" y="1849"/>
                </a:lnTo>
                <a:lnTo>
                  <a:pt x="24120" y="1845"/>
                </a:lnTo>
                <a:lnTo>
                  <a:pt x="24130" y="1828"/>
                </a:lnTo>
                <a:lnTo>
                  <a:pt x="24130" y="1816"/>
                </a:lnTo>
                <a:lnTo>
                  <a:pt x="24146" y="1816"/>
                </a:lnTo>
                <a:lnTo>
                  <a:pt x="24146" y="1816"/>
                </a:lnTo>
                <a:lnTo>
                  <a:pt x="24146" y="1816"/>
                </a:lnTo>
                <a:close/>
                <a:moveTo>
                  <a:pt x="24142" y="1849"/>
                </a:moveTo>
                <a:lnTo>
                  <a:pt x="24120" y="1849"/>
                </a:lnTo>
                <a:lnTo>
                  <a:pt x="24142" y="1849"/>
                </a:lnTo>
                <a:lnTo>
                  <a:pt x="24142" y="1849"/>
                </a:lnTo>
                <a:lnTo>
                  <a:pt x="24142" y="1849"/>
                </a:lnTo>
                <a:lnTo>
                  <a:pt x="24142" y="1849"/>
                </a:lnTo>
                <a:close/>
                <a:moveTo>
                  <a:pt x="24347" y="2000"/>
                </a:moveTo>
                <a:lnTo>
                  <a:pt x="24347" y="2012"/>
                </a:lnTo>
                <a:lnTo>
                  <a:pt x="24335" y="2012"/>
                </a:lnTo>
                <a:lnTo>
                  <a:pt x="24347" y="2000"/>
                </a:lnTo>
                <a:lnTo>
                  <a:pt x="24347" y="2000"/>
                </a:lnTo>
                <a:lnTo>
                  <a:pt x="24347" y="2000"/>
                </a:lnTo>
                <a:close/>
              </a:path>
            </a:pathLst>
          </a:custGeom>
          <a:pattFill prst="nar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6" name="Gruppieren 5">
            <a:extLst>
              <a:ext uri="{FF2B5EF4-FFF2-40B4-BE49-F238E27FC236}">
                <a16:creationId xmlns:a16="http://schemas.microsoft.com/office/drawing/2014/main" id="{9C3E3497-F2FE-47ED-9640-456A2EDDFA18}"/>
              </a:ext>
            </a:extLst>
          </p:cNvPr>
          <p:cNvGrpSpPr/>
          <p:nvPr/>
        </p:nvGrpSpPr>
        <p:grpSpPr bwMode="gray">
          <a:xfrm>
            <a:off x="6591601" y="2532075"/>
            <a:ext cx="327690" cy="359015"/>
            <a:chOff x="6893373" y="2244043"/>
            <a:chExt cx="327690" cy="359015"/>
          </a:xfrm>
          <a:solidFill>
            <a:schemeClr val="accent2"/>
          </a:solidFill>
        </p:grpSpPr>
        <p:sp>
          <p:nvSpPr>
            <p:cNvPr id="8009" name="Freeform 389">
              <a:extLst>
                <a:ext uri="{FF2B5EF4-FFF2-40B4-BE49-F238E27FC236}">
                  <a16:creationId xmlns:a16="http://schemas.microsoft.com/office/drawing/2014/main" id="{8A9D008A-6AB9-4AF8-87DA-B5EA0EC3DD94}"/>
                </a:ext>
              </a:extLst>
            </p:cNvPr>
            <p:cNvSpPr>
              <a:spLocks/>
            </p:cNvSpPr>
            <p:nvPr/>
          </p:nvSpPr>
          <p:spPr bwMode="gray">
            <a:xfrm>
              <a:off x="7002467" y="2481191"/>
              <a:ext cx="218596" cy="100458"/>
            </a:xfrm>
            <a:custGeom>
              <a:avLst/>
              <a:gdLst>
                <a:gd name="T0" fmla="*/ 54 w 531"/>
                <a:gd name="T1" fmla="*/ 189 h 244"/>
                <a:gd name="T2" fmla="*/ 21 w 531"/>
                <a:gd name="T3" fmla="*/ 199 h 244"/>
                <a:gd name="T4" fmla="*/ 0 w 531"/>
                <a:gd name="T5" fmla="*/ 182 h 244"/>
                <a:gd name="T6" fmla="*/ 4 w 531"/>
                <a:gd name="T7" fmla="*/ 149 h 244"/>
                <a:gd name="T8" fmla="*/ 16 w 531"/>
                <a:gd name="T9" fmla="*/ 133 h 244"/>
                <a:gd name="T10" fmla="*/ 49 w 531"/>
                <a:gd name="T11" fmla="*/ 154 h 244"/>
                <a:gd name="T12" fmla="*/ 59 w 531"/>
                <a:gd name="T13" fmla="*/ 149 h 244"/>
                <a:gd name="T14" fmla="*/ 92 w 531"/>
                <a:gd name="T15" fmla="*/ 144 h 244"/>
                <a:gd name="T16" fmla="*/ 108 w 531"/>
                <a:gd name="T17" fmla="*/ 149 h 244"/>
                <a:gd name="T18" fmla="*/ 222 w 531"/>
                <a:gd name="T19" fmla="*/ 128 h 244"/>
                <a:gd name="T20" fmla="*/ 236 w 531"/>
                <a:gd name="T21" fmla="*/ 144 h 244"/>
                <a:gd name="T22" fmla="*/ 231 w 531"/>
                <a:gd name="T23" fmla="*/ 128 h 244"/>
                <a:gd name="T24" fmla="*/ 222 w 531"/>
                <a:gd name="T25" fmla="*/ 88 h 244"/>
                <a:gd name="T26" fmla="*/ 269 w 531"/>
                <a:gd name="T27" fmla="*/ 43 h 244"/>
                <a:gd name="T28" fmla="*/ 302 w 531"/>
                <a:gd name="T29" fmla="*/ 22 h 244"/>
                <a:gd name="T30" fmla="*/ 361 w 531"/>
                <a:gd name="T31" fmla="*/ 43 h 244"/>
                <a:gd name="T32" fmla="*/ 375 w 531"/>
                <a:gd name="T33" fmla="*/ 22 h 244"/>
                <a:gd name="T34" fmla="*/ 451 w 531"/>
                <a:gd name="T35" fmla="*/ 33 h 244"/>
                <a:gd name="T36" fmla="*/ 517 w 531"/>
                <a:gd name="T37" fmla="*/ 33 h 244"/>
                <a:gd name="T38" fmla="*/ 505 w 531"/>
                <a:gd name="T39" fmla="*/ 59 h 244"/>
                <a:gd name="T40" fmla="*/ 522 w 531"/>
                <a:gd name="T41" fmla="*/ 128 h 244"/>
                <a:gd name="T42" fmla="*/ 489 w 531"/>
                <a:gd name="T43" fmla="*/ 116 h 244"/>
                <a:gd name="T44" fmla="*/ 500 w 531"/>
                <a:gd name="T45" fmla="*/ 144 h 244"/>
                <a:gd name="T46" fmla="*/ 484 w 531"/>
                <a:gd name="T47" fmla="*/ 166 h 244"/>
                <a:gd name="T48" fmla="*/ 484 w 531"/>
                <a:gd name="T49" fmla="*/ 189 h 244"/>
                <a:gd name="T50" fmla="*/ 451 w 531"/>
                <a:gd name="T51" fmla="*/ 199 h 244"/>
                <a:gd name="T52" fmla="*/ 371 w 531"/>
                <a:gd name="T53" fmla="*/ 222 h 244"/>
                <a:gd name="T54" fmla="*/ 345 w 531"/>
                <a:gd name="T55" fmla="*/ 244 h 244"/>
                <a:gd name="T56" fmla="*/ 198 w 531"/>
                <a:gd name="T57" fmla="*/ 211 h 244"/>
                <a:gd name="T58" fmla="*/ 184 w 531"/>
                <a:gd name="T59" fmla="*/ 182 h 244"/>
                <a:gd name="T60" fmla="*/ 113 w 531"/>
                <a:gd name="T61" fmla="*/ 189 h 244"/>
                <a:gd name="T62" fmla="*/ 59 w 531"/>
                <a:gd name="T63" fmla="*/ 199 h 244"/>
                <a:gd name="T64" fmla="*/ 59 w 531"/>
                <a:gd name="T65" fmla="*/ 19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1" h="244">
                  <a:moveTo>
                    <a:pt x="59" y="199"/>
                  </a:moveTo>
                  <a:lnTo>
                    <a:pt x="54" y="189"/>
                  </a:lnTo>
                  <a:lnTo>
                    <a:pt x="37" y="206"/>
                  </a:lnTo>
                  <a:lnTo>
                    <a:pt x="21" y="199"/>
                  </a:lnTo>
                  <a:lnTo>
                    <a:pt x="21" y="189"/>
                  </a:lnTo>
                  <a:lnTo>
                    <a:pt x="0" y="182"/>
                  </a:lnTo>
                  <a:lnTo>
                    <a:pt x="0" y="166"/>
                  </a:lnTo>
                  <a:lnTo>
                    <a:pt x="4" y="149"/>
                  </a:lnTo>
                  <a:lnTo>
                    <a:pt x="0" y="144"/>
                  </a:lnTo>
                  <a:lnTo>
                    <a:pt x="16" y="133"/>
                  </a:lnTo>
                  <a:lnTo>
                    <a:pt x="21" y="144"/>
                  </a:lnTo>
                  <a:lnTo>
                    <a:pt x="49" y="154"/>
                  </a:lnTo>
                  <a:lnTo>
                    <a:pt x="37" y="166"/>
                  </a:lnTo>
                  <a:lnTo>
                    <a:pt x="59" y="149"/>
                  </a:lnTo>
                  <a:lnTo>
                    <a:pt x="59" y="133"/>
                  </a:lnTo>
                  <a:lnTo>
                    <a:pt x="92" y="144"/>
                  </a:lnTo>
                  <a:lnTo>
                    <a:pt x="101" y="149"/>
                  </a:lnTo>
                  <a:lnTo>
                    <a:pt x="108" y="149"/>
                  </a:lnTo>
                  <a:lnTo>
                    <a:pt x="146" y="133"/>
                  </a:lnTo>
                  <a:lnTo>
                    <a:pt x="222" y="128"/>
                  </a:lnTo>
                  <a:lnTo>
                    <a:pt x="222" y="144"/>
                  </a:lnTo>
                  <a:lnTo>
                    <a:pt x="236" y="144"/>
                  </a:lnTo>
                  <a:lnTo>
                    <a:pt x="248" y="128"/>
                  </a:lnTo>
                  <a:lnTo>
                    <a:pt x="231" y="128"/>
                  </a:lnTo>
                  <a:lnTo>
                    <a:pt x="236" y="111"/>
                  </a:lnTo>
                  <a:lnTo>
                    <a:pt x="222" y="88"/>
                  </a:lnTo>
                  <a:lnTo>
                    <a:pt x="269" y="59"/>
                  </a:lnTo>
                  <a:lnTo>
                    <a:pt x="269" y="43"/>
                  </a:lnTo>
                  <a:lnTo>
                    <a:pt x="290" y="43"/>
                  </a:lnTo>
                  <a:lnTo>
                    <a:pt x="302" y="22"/>
                  </a:lnTo>
                  <a:lnTo>
                    <a:pt x="323" y="38"/>
                  </a:lnTo>
                  <a:lnTo>
                    <a:pt x="361" y="43"/>
                  </a:lnTo>
                  <a:lnTo>
                    <a:pt x="371" y="22"/>
                  </a:lnTo>
                  <a:lnTo>
                    <a:pt x="375" y="22"/>
                  </a:lnTo>
                  <a:lnTo>
                    <a:pt x="382" y="0"/>
                  </a:lnTo>
                  <a:lnTo>
                    <a:pt x="451" y="33"/>
                  </a:lnTo>
                  <a:lnTo>
                    <a:pt x="484" y="22"/>
                  </a:lnTo>
                  <a:lnTo>
                    <a:pt x="517" y="33"/>
                  </a:lnTo>
                  <a:lnTo>
                    <a:pt x="517" y="38"/>
                  </a:lnTo>
                  <a:lnTo>
                    <a:pt x="505" y="59"/>
                  </a:lnTo>
                  <a:lnTo>
                    <a:pt x="531" y="95"/>
                  </a:lnTo>
                  <a:lnTo>
                    <a:pt x="522" y="128"/>
                  </a:lnTo>
                  <a:lnTo>
                    <a:pt x="500" y="128"/>
                  </a:lnTo>
                  <a:lnTo>
                    <a:pt x="489" y="116"/>
                  </a:lnTo>
                  <a:lnTo>
                    <a:pt x="484" y="128"/>
                  </a:lnTo>
                  <a:lnTo>
                    <a:pt x="500" y="144"/>
                  </a:lnTo>
                  <a:lnTo>
                    <a:pt x="484" y="149"/>
                  </a:lnTo>
                  <a:lnTo>
                    <a:pt x="484" y="166"/>
                  </a:lnTo>
                  <a:lnTo>
                    <a:pt x="479" y="166"/>
                  </a:lnTo>
                  <a:lnTo>
                    <a:pt x="484" y="189"/>
                  </a:lnTo>
                  <a:lnTo>
                    <a:pt x="467" y="189"/>
                  </a:lnTo>
                  <a:lnTo>
                    <a:pt x="451" y="199"/>
                  </a:lnTo>
                  <a:lnTo>
                    <a:pt x="437" y="211"/>
                  </a:lnTo>
                  <a:lnTo>
                    <a:pt x="371" y="222"/>
                  </a:lnTo>
                  <a:lnTo>
                    <a:pt x="371" y="239"/>
                  </a:lnTo>
                  <a:lnTo>
                    <a:pt x="345" y="244"/>
                  </a:lnTo>
                  <a:lnTo>
                    <a:pt x="290" y="227"/>
                  </a:lnTo>
                  <a:lnTo>
                    <a:pt x="198" y="211"/>
                  </a:lnTo>
                  <a:lnTo>
                    <a:pt x="184" y="199"/>
                  </a:lnTo>
                  <a:lnTo>
                    <a:pt x="184" y="182"/>
                  </a:lnTo>
                  <a:lnTo>
                    <a:pt x="156" y="189"/>
                  </a:lnTo>
                  <a:lnTo>
                    <a:pt x="113" y="189"/>
                  </a:lnTo>
                  <a:lnTo>
                    <a:pt x="101" y="211"/>
                  </a:lnTo>
                  <a:lnTo>
                    <a:pt x="59" y="199"/>
                  </a:lnTo>
                  <a:lnTo>
                    <a:pt x="59" y="199"/>
                  </a:lnTo>
                  <a:lnTo>
                    <a:pt x="59" y="19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4" name="Freeform 453">
              <a:extLst>
                <a:ext uri="{FF2B5EF4-FFF2-40B4-BE49-F238E27FC236}">
                  <a16:creationId xmlns:a16="http://schemas.microsoft.com/office/drawing/2014/main" id="{83EFE331-DF95-40F4-A0FA-C6B84FFA48D4}"/>
                </a:ext>
              </a:extLst>
            </p:cNvPr>
            <p:cNvSpPr>
              <a:spLocks noEditPoints="1"/>
            </p:cNvSpPr>
            <p:nvPr/>
          </p:nvSpPr>
          <p:spPr bwMode="gray">
            <a:xfrm>
              <a:off x="6893373" y="2244043"/>
              <a:ext cx="266350" cy="305494"/>
            </a:xfrm>
            <a:custGeom>
              <a:avLst/>
              <a:gdLst>
                <a:gd name="T0" fmla="*/ 442 w 647"/>
                <a:gd name="T1" fmla="*/ 454 h 742"/>
                <a:gd name="T2" fmla="*/ 480 w 647"/>
                <a:gd name="T3" fmla="*/ 543 h 742"/>
                <a:gd name="T4" fmla="*/ 534 w 647"/>
                <a:gd name="T5" fmla="*/ 621 h 742"/>
                <a:gd name="T6" fmla="*/ 496 w 647"/>
                <a:gd name="T7" fmla="*/ 704 h 742"/>
                <a:gd name="T8" fmla="*/ 484 w 647"/>
                <a:gd name="T9" fmla="*/ 704 h 742"/>
                <a:gd name="T10" fmla="*/ 354 w 647"/>
                <a:gd name="T11" fmla="*/ 720 h 742"/>
                <a:gd name="T12" fmla="*/ 312 w 647"/>
                <a:gd name="T13" fmla="*/ 732 h 742"/>
                <a:gd name="T14" fmla="*/ 241 w 647"/>
                <a:gd name="T15" fmla="*/ 704 h 742"/>
                <a:gd name="T16" fmla="*/ 177 w 647"/>
                <a:gd name="T17" fmla="*/ 704 h 742"/>
                <a:gd name="T18" fmla="*/ 118 w 647"/>
                <a:gd name="T19" fmla="*/ 704 h 742"/>
                <a:gd name="T20" fmla="*/ 140 w 647"/>
                <a:gd name="T21" fmla="*/ 621 h 742"/>
                <a:gd name="T22" fmla="*/ 102 w 647"/>
                <a:gd name="T23" fmla="*/ 565 h 742"/>
                <a:gd name="T24" fmla="*/ 43 w 647"/>
                <a:gd name="T25" fmla="*/ 539 h 742"/>
                <a:gd name="T26" fmla="*/ 26 w 647"/>
                <a:gd name="T27" fmla="*/ 472 h 742"/>
                <a:gd name="T28" fmla="*/ 14 w 647"/>
                <a:gd name="T29" fmla="*/ 416 h 742"/>
                <a:gd name="T30" fmla="*/ 14 w 647"/>
                <a:gd name="T31" fmla="*/ 371 h 742"/>
                <a:gd name="T32" fmla="*/ 69 w 647"/>
                <a:gd name="T33" fmla="*/ 300 h 742"/>
                <a:gd name="T34" fmla="*/ 64 w 647"/>
                <a:gd name="T35" fmla="*/ 243 h 742"/>
                <a:gd name="T36" fmla="*/ 102 w 647"/>
                <a:gd name="T37" fmla="*/ 177 h 742"/>
                <a:gd name="T38" fmla="*/ 85 w 647"/>
                <a:gd name="T39" fmla="*/ 168 h 742"/>
                <a:gd name="T40" fmla="*/ 161 w 647"/>
                <a:gd name="T41" fmla="*/ 149 h 742"/>
                <a:gd name="T42" fmla="*/ 177 w 647"/>
                <a:gd name="T43" fmla="*/ 149 h 742"/>
                <a:gd name="T44" fmla="*/ 189 w 647"/>
                <a:gd name="T45" fmla="*/ 149 h 742"/>
                <a:gd name="T46" fmla="*/ 203 w 647"/>
                <a:gd name="T47" fmla="*/ 116 h 742"/>
                <a:gd name="T48" fmla="*/ 265 w 647"/>
                <a:gd name="T49" fmla="*/ 139 h 742"/>
                <a:gd name="T50" fmla="*/ 227 w 647"/>
                <a:gd name="T51" fmla="*/ 94 h 742"/>
                <a:gd name="T52" fmla="*/ 194 w 647"/>
                <a:gd name="T53" fmla="*/ 66 h 742"/>
                <a:gd name="T54" fmla="*/ 173 w 647"/>
                <a:gd name="T55" fmla="*/ 28 h 742"/>
                <a:gd name="T56" fmla="*/ 189 w 647"/>
                <a:gd name="T57" fmla="*/ 12 h 742"/>
                <a:gd name="T58" fmla="*/ 295 w 647"/>
                <a:gd name="T59" fmla="*/ 45 h 742"/>
                <a:gd name="T60" fmla="*/ 371 w 647"/>
                <a:gd name="T61" fmla="*/ 66 h 742"/>
                <a:gd name="T62" fmla="*/ 350 w 647"/>
                <a:gd name="T63" fmla="*/ 116 h 742"/>
                <a:gd name="T64" fmla="*/ 442 w 647"/>
                <a:gd name="T65" fmla="*/ 83 h 742"/>
                <a:gd name="T66" fmla="*/ 458 w 647"/>
                <a:gd name="T67" fmla="*/ 78 h 742"/>
                <a:gd name="T68" fmla="*/ 555 w 647"/>
                <a:gd name="T69" fmla="*/ 83 h 742"/>
                <a:gd name="T70" fmla="*/ 605 w 647"/>
                <a:gd name="T71" fmla="*/ 168 h 742"/>
                <a:gd name="T72" fmla="*/ 619 w 647"/>
                <a:gd name="T73" fmla="*/ 243 h 742"/>
                <a:gd name="T74" fmla="*/ 619 w 647"/>
                <a:gd name="T75" fmla="*/ 317 h 742"/>
                <a:gd name="T76" fmla="*/ 647 w 647"/>
                <a:gd name="T77" fmla="*/ 371 h 742"/>
                <a:gd name="T78" fmla="*/ 593 w 647"/>
                <a:gd name="T79" fmla="*/ 387 h 742"/>
                <a:gd name="T80" fmla="*/ 539 w 647"/>
                <a:gd name="T81" fmla="*/ 416 h 742"/>
                <a:gd name="T82" fmla="*/ 194 w 647"/>
                <a:gd name="T83" fmla="*/ 40 h 742"/>
                <a:gd name="T84" fmla="*/ 194 w 647"/>
                <a:gd name="T85" fmla="*/ 40 h 742"/>
                <a:gd name="T86" fmla="*/ 177 w 647"/>
                <a:gd name="T87" fmla="*/ 28 h 742"/>
                <a:gd name="T88" fmla="*/ 529 w 647"/>
                <a:gd name="T89" fmla="*/ 78 h 742"/>
                <a:gd name="T90" fmla="*/ 517 w 647"/>
                <a:gd name="T91" fmla="*/ 45 h 742"/>
                <a:gd name="T92" fmla="*/ 517 w 647"/>
                <a:gd name="T93" fmla="*/ 40 h 742"/>
                <a:gd name="T94" fmla="*/ 539 w 647"/>
                <a:gd name="T95" fmla="*/ 61 h 742"/>
                <a:gd name="T96" fmla="*/ 529 w 647"/>
                <a:gd name="T97" fmla="*/ 78 h 742"/>
                <a:gd name="T98" fmla="*/ 194 w 647"/>
                <a:gd name="T99" fmla="*/ 57 h 742"/>
                <a:gd name="T100" fmla="*/ 203 w 647"/>
                <a:gd name="T101" fmla="*/ 57 h 742"/>
                <a:gd name="T102" fmla="*/ 371 w 647"/>
                <a:gd name="T103" fmla="*/ 57 h 742"/>
                <a:gd name="T104" fmla="*/ 588 w 647"/>
                <a:gd name="T105" fmla="*/ 111 h 742"/>
                <a:gd name="T106" fmla="*/ 572 w 647"/>
                <a:gd name="T107" fmla="*/ 94 h 742"/>
                <a:gd name="T108" fmla="*/ 588 w 647"/>
                <a:gd name="T109" fmla="*/ 111 h 742"/>
                <a:gd name="T110" fmla="*/ 392 w 647"/>
                <a:gd name="T111" fmla="*/ 99 h 742"/>
                <a:gd name="T112" fmla="*/ 64 w 647"/>
                <a:gd name="T113" fmla="*/ 149 h 742"/>
                <a:gd name="T114" fmla="*/ 64 w 647"/>
                <a:gd name="T115" fmla="*/ 149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7" h="742">
                  <a:moveTo>
                    <a:pt x="501" y="449"/>
                  </a:moveTo>
                  <a:lnTo>
                    <a:pt x="475" y="449"/>
                  </a:lnTo>
                  <a:lnTo>
                    <a:pt x="458" y="465"/>
                  </a:lnTo>
                  <a:lnTo>
                    <a:pt x="442" y="454"/>
                  </a:lnTo>
                  <a:lnTo>
                    <a:pt x="447" y="482"/>
                  </a:lnTo>
                  <a:lnTo>
                    <a:pt x="475" y="498"/>
                  </a:lnTo>
                  <a:lnTo>
                    <a:pt x="463" y="522"/>
                  </a:lnTo>
                  <a:lnTo>
                    <a:pt x="480" y="543"/>
                  </a:lnTo>
                  <a:lnTo>
                    <a:pt x="501" y="555"/>
                  </a:lnTo>
                  <a:lnTo>
                    <a:pt x="567" y="598"/>
                  </a:lnTo>
                  <a:lnTo>
                    <a:pt x="555" y="621"/>
                  </a:lnTo>
                  <a:lnTo>
                    <a:pt x="534" y="621"/>
                  </a:lnTo>
                  <a:lnTo>
                    <a:pt x="534" y="638"/>
                  </a:lnTo>
                  <a:lnTo>
                    <a:pt x="484" y="666"/>
                  </a:lnTo>
                  <a:lnTo>
                    <a:pt x="501" y="687"/>
                  </a:lnTo>
                  <a:lnTo>
                    <a:pt x="496" y="704"/>
                  </a:lnTo>
                  <a:lnTo>
                    <a:pt x="513" y="704"/>
                  </a:lnTo>
                  <a:lnTo>
                    <a:pt x="501" y="720"/>
                  </a:lnTo>
                  <a:lnTo>
                    <a:pt x="484" y="720"/>
                  </a:lnTo>
                  <a:lnTo>
                    <a:pt x="484" y="704"/>
                  </a:lnTo>
                  <a:lnTo>
                    <a:pt x="409" y="709"/>
                  </a:lnTo>
                  <a:lnTo>
                    <a:pt x="371" y="725"/>
                  </a:lnTo>
                  <a:lnTo>
                    <a:pt x="366" y="725"/>
                  </a:lnTo>
                  <a:lnTo>
                    <a:pt x="354" y="720"/>
                  </a:lnTo>
                  <a:lnTo>
                    <a:pt x="324" y="709"/>
                  </a:lnTo>
                  <a:lnTo>
                    <a:pt x="324" y="725"/>
                  </a:lnTo>
                  <a:lnTo>
                    <a:pt x="302" y="742"/>
                  </a:lnTo>
                  <a:lnTo>
                    <a:pt x="312" y="732"/>
                  </a:lnTo>
                  <a:lnTo>
                    <a:pt x="286" y="720"/>
                  </a:lnTo>
                  <a:lnTo>
                    <a:pt x="279" y="709"/>
                  </a:lnTo>
                  <a:lnTo>
                    <a:pt x="265" y="720"/>
                  </a:lnTo>
                  <a:lnTo>
                    <a:pt x="241" y="704"/>
                  </a:lnTo>
                  <a:lnTo>
                    <a:pt x="203" y="704"/>
                  </a:lnTo>
                  <a:lnTo>
                    <a:pt x="203" y="692"/>
                  </a:lnTo>
                  <a:lnTo>
                    <a:pt x="194" y="692"/>
                  </a:lnTo>
                  <a:lnTo>
                    <a:pt x="177" y="704"/>
                  </a:lnTo>
                  <a:lnTo>
                    <a:pt x="194" y="704"/>
                  </a:lnTo>
                  <a:lnTo>
                    <a:pt x="194" y="709"/>
                  </a:lnTo>
                  <a:lnTo>
                    <a:pt x="123" y="709"/>
                  </a:lnTo>
                  <a:lnTo>
                    <a:pt x="118" y="704"/>
                  </a:lnTo>
                  <a:lnTo>
                    <a:pt x="123" y="676"/>
                  </a:lnTo>
                  <a:lnTo>
                    <a:pt x="123" y="666"/>
                  </a:lnTo>
                  <a:lnTo>
                    <a:pt x="135" y="638"/>
                  </a:lnTo>
                  <a:lnTo>
                    <a:pt x="140" y="621"/>
                  </a:lnTo>
                  <a:lnTo>
                    <a:pt x="173" y="581"/>
                  </a:lnTo>
                  <a:lnTo>
                    <a:pt x="135" y="576"/>
                  </a:lnTo>
                  <a:lnTo>
                    <a:pt x="106" y="565"/>
                  </a:lnTo>
                  <a:lnTo>
                    <a:pt x="102" y="565"/>
                  </a:lnTo>
                  <a:lnTo>
                    <a:pt x="80" y="560"/>
                  </a:lnTo>
                  <a:lnTo>
                    <a:pt x="64" y="565"/>
                  </a:lnTo>
                  <a:lnTo>
                    <a:pt x="47" y="543"/>
                  </a:lnTo>
                  <a:lnTo>
                    <a:pt x="43" y="539"/>
                  </a:lnTo>
                  <a:lnTo>
                    <a:pt x="43" y="539"/>
                  </a:lnTo>
                  <a:lnTo>
                    <a:pt x="47" y="505"/>
                  </a:lnTo>
                  <a:lnTo>
                    <a:pt x="31" y="498"/>
                  </a:lnTo>
                  <a:lnTo>
                    <a:pt x="26" y="472"/>
                  </a:lnTo>
                  <a:lnTo>
                    <a:pt x="26" y="465"/>
                  </a:lnTo>
                  <a:lnTo>
                    <a:pt x="43" y="454"/>
                  </a:lnTo>
                  <a:lnTo>
                    <a:pt x="31" y="428"/>
                  </a:lnTo>
                  <a:lnTo>
                    <a:pt x="14" y="416"/>
                  </a:lnTo>
                  <a:lnTo>
                    <a:pt x="14" y="399"/>
                  </a:lnTo>
                  <a:lnTo>
                    <a:pt x="0" y="387"/>
                  </a:lnTo>
                  <a:lnTo>
                    <a:pt x="14" y="378"/>
                  </a:lnTo>
                  <a:lnTo>
                    <a:pt x="14" y="371"/>
                  </a:lnTo>
                  <a:lnTo>
                    <a:pt x="31" y="361"/>
                  </a:lnTo>
                  <a:lnTo>
                    <a:pt x="31" y="345"/>
                  </a:lnTo>
                  <a:lnTo>
                    <a:pt x="10" y="317"/>
                  </a:lnTo>
                  <a:lnTo>
                    <a:pt x="69" y="300"/>
                  </a:lnTo>
                  <a:lnTo>
                    <a:pt x="64" y="288"/>
                  </a:lnTo>
                  <a:lnTo>
                    <a:pt x="85" y="276"/>
                  </a:lnTo>
                  <a:lnTo>
                    <a:pt x="85" y="260"/>
                  </a:lnTo>
                  <a:lnTo>
                    <a:pt x="64" y="243"/>
                  </a:lnTo>
                  <a:lnTo>
                    <a:pt x="69" y="234"/>
                  </a:lnTo>
                  <a:lnTo>
                    <a:pt x="85" y="234"/>
                  </a:lnTo>
                  <a:lnTo>
                    <a:pt x="102" y="205"/>
                  </a:lnTo>
                  <a:lnTo>
                    <a:pt x="102" y="177"/>
                  </a:lnTo>
                  <a:lnTo>
                    <a:pt x="102" y="172"/>
                  </a:lnTo>
                  <a:lnTo>
                    <a:pt x="106" y="172"/>
                  </a:lnTo>
                  <a:lnTo>
                    <a:pt x="85" y="168"/>
                  </a:lnTo>
                  <a:lnTo>
                    <a:pt x="85" y="168"/>
                  </a:lnTo>
                  <a:lnTo>
                    <a:pt x="97" y="139"/>
                  </a:lnTo>
                  <a:lnTo>
                    <a:pt x="102" y="132"/>
                  </a:lnTo>
                  <a:lnTo>
                    <a:pt x="156" y="132"/>
                  </a:lnTo>
                  <a:lnTo>
                    <a:pt x="161" y="149"/>
                  </a:lnTo>
                  <a:lnTo>
                    <a:pt x="156" y="149"/>
                  </a:lnTo>
                  <a:lnTo>
                    <a:pt x="161" y="156"/>
                  </a:lnTo>
                  <a:lnTo>
                    <a:pt x="173" y="156"/>
                  </a:lnTo>
                  <a:lnTo>
                    <a:pt x="177" y="149"/>
                  </a:lnTo>
                  <a:lnTo>
                    <a:pt x="173" y="149"/>
                  </a:lnTo>
                  <a:lnTo>
                    <a:pt x="173" y="139"/>
                  </a:lnTo>
                  <a:lnTo>
                    <a:pt x="177" y="139"/>
                  </a:lnTo>
                  <a:lnTo>
                    <a:pt x="189" y="149"/>
                  </a:lnTo>
                  <a:lnTo>
                    <a:pt x="189" y="168"/>
                  </a:lnTo>
                  <a:lnTo>
                    <a:pt x="194" y="149"/>
                  </a:lnTo>
                  <a:lnTo>
                    <a:pt x="189" y="132"/>
                  </a:lnTo>
                  <a:lnTo>
                    <a:pt x="203" y="116"/>
                  </a:lnTo>
                  <a:lnTo>
                    <a:pt x="241" y="116"/>
                  </a:lnTo>
                  <a:lnTo>
                    <a:pt x="265" y="139"/>
                  </a:lnTo>
                  <a:lnTo>
                    <a:pt x="279" y="149"/>
                  </a:lnTo>
                  <a:lnTo>
                    <a:pt x="265" y="139"/>
                  </a:lnTo>
                  <a:lnTo>
                    <a:pt x="248" y="116"/>
                  </a:lnTo>
                  <a:lnTo>
                    <a:pt x="215" y="111"/>
                  </a:lnTo>
                  <a:lnTo>
                    <a:pt x="210" y="99"/>
                  </a:lnTo>
                  <a:lnTo>
                    <a:pt x="227" y="94"/>
                  </a:lnTo>
                  <a:lnTo>
                    <a:pt x="210" y="83"/>
                  </a:lnTo>
                  <a:lnTo>
                    <a:pt x="215" y="78"/>
                  </a:lnTo>
                  <a:lnTo>
                    <a:pt x="203" y="78"/>
                  </a:lnTo>
                  <a:lnTo>
                    <a:pt x="194" y="66"/>
                  </a:lnTo>
                  <a:lnTo>
                    <a:pt x="227" y="57"/>
                  </a:lnTo>
                  <a:lnTo>
                    <a:pt x="194" y="12"/>
                  </a:lnTo>
                  <a:lnTo>
                    <a:pt x="173" y="12"/>
                  </a:lnTo>
                  <a:lnTo>
                    <a:pt x="173" y="28"/>
                  </a:lnTo>
                  <a:lnTo>
                    <a:pt x="177" y="0"/>
                  </a:lnTo>
                  <a:lnTo>
                    <a:pt x="189" y="0"/>
                  </a:lnTo>
                  <a:lnTo>
                    <a:pt x="177" y="5"/>
                  </a:lnTo>
                  <a:lnTo>
                    <a:pt x="189" y="12"/>
                  </a:lnTo>
                  <a:lnTo>
                    <a:pt x="203" y="12"/>
                  </a:lnTo>
                  <a:lnTo>
                    <a:pt x="258" y="24"/>
                  </a:lnTo>
                  <a:lnTo>
                    <a:pt x="295" y="28"/>
                  </a:lnTo>
                  <a:lnTo>
                    <a:pt x="295" y="45"/>
                  </a:lnTo>
                  <a:lnTo>
                    <a:pt x="286" y="61"/>
                  </a:lnTo>
                  <a:lnTo>
                    <a:pt x="302" y="57"/>
                  </a:lnTo>
                  <a:lnTo>
                    <a:pt x="340" y="66"/>
                  </a:lnTo>
                  <a:lnTo>
                    <a:pt x="371" y="66"/>
                  </a:lnTo>
                  <a:lnTo>
                    <a:pt x="371" y="83"/>
                  </a:lnTo>
                  <a:lnTo>
                    <a:pt x="350" y="99"/>
                  </a:lnTo>
                  <a:lnTo>
                    <a:pt x="354" y="99"/>
                  </a:lnTo>
                  <a:lnTo>
                    <a:pt x="350" y="116"/>
                  </a:lnTo>
                  <a:lnTo>
                    <a:pt x="371" y="99"/>
                  </a:lnTo>
                  <a:lnTo>
                    <a:pt x="392" y="111"/>
                  </a:lnTo>
                  <a:lnTo>
                    <a:pt x="409" y="83"/>
                  </a:lnTo>
                  <a:lnTo>
                    <a:pt x="442" y="83"/>
                  </a:lnTo>
                  <a:lnTo>
                    <a:pt x="475" y="57"/>
                  </a:lnTo>
                  <a:lnTo>
                    <a:pt x="501" y="61"/>
                  </a:lnTo>
                  <a:lnTo>
                    <a:pt x="463" y="61"/>
                  </a:lnTo>
                  <a:lnTo>
                    <a:pt x="458" y="78"/>
                  </a:lnTo>
                  <a:lnTo>
                    <a:pt x="475" y="66"/>
                  </a:lnTo>
                  <a:lnTo>
                    <a:pt x="501" y="61"/>
                  </a:lnTo>
                  <a:lnTo>
                    <a:pt x="534" y="94"/>
                  </a:lnTo>
                  <a:lnTo>
                    <a:pt x="555" y="83"/>
                  </a:lnTo>
                  <a:lnTo>
                    <a:pt x="567" y="111"/>
                  </a:lnTo>
                  <a:lnTo>
                    <a:pt x="567" y="116"/>
                  </a:lnTo>
                  <a:lnTo>
                    <a:pt x="593" y="132"/>
                  </a:lnTo>
                  <a:lnTo>
                    <a:pt x="605" y="168"/>
                  </a:lnTo>
                  <a:lnTo>
                    <a:pt x="605" y="189"/>
                  </a:lnTo>
                  <a:lnTo>
                    <a:pt x="588" y="205"/>
                  </a:lnTo>
                  <a:lnTo>
                    <a:pt x="588" y="210"/>
                  </a:lnTo>
                  <a:lnTo>
                    <a:pt x="619" y="243"/>
                  </a:lnTo>
                  <a:lnTo>
                    <a:pt x="610" y="260"/>
                  </a:lnTo>
                  <a:lnTo>
                    <a:pt x="626" y="276"/>
                  </a:lnTo>
                  <a:lnTo>
                    <a:pt x="626" y="288"/>
                  </a:lnTo>
                  <a:lnTo>
                    <a:pt x="619" y="317"/>
                  </a:lnTo>
                  <a:lnTo>
                    <a:pt x="626" y="333"/>
                  </a:lnTo>
                  <a:lnTo>
                    <a:pt x="626" y="345"/>
                  </a:lnTo>
                  <a:lnTo>
                    <a:pt x="643" y="345"/>
                  </a:lnTo>
                  <a:lnTo>
                    <a:pt x="647" y="371"/>
                  </a:lnTo>
                  <a:lnTo>
                    <a:pt x="636" y="411"/>
                  </a:lnTo>
                  <a:lnTo>
                    <a:pt x="619" y="411"/>
                  </a:lnTo>
                  <a:lnTo>
                    <a:pt x="610" y="394"/>
                  </a:lnTo>
                  <a:lnTo>
                    <a:pt x="593" y="387"/>
                  </a:lnTo>
                  <a:lnTo>
                    <a:pt x="593" y="394"/>
                  </a:lnTo>
                  <a:lnTo>
                    <a:pt x="605" y="399"/>
                  </a:lnTo>
                  <a:lnTo>
                    <a:pt x="593" y="399"/>
                  </a:lnTo>
                  <a:lnTo>
                    <a:pt x="539" y="416"/>
                  </a:lnTo>
                  <a:lnTo>
                    <a:pt x="501" y="449"/>
                  </a:lnTo>
                  <a:lnTo>
                    <a:pt x="501" y="449"/>
                  </a:lnTo>
                  <a:lnTo>
                    <a:pt x="501" y="449"/>
                  </a:lnTo>
                  <a:close/>
                  <a:moveTo>
                    <a:pt x="194" y="40"/>
                  </a:moveTo>
                  <a:lnTo>
                    <a:pt x="177" y="28"/>
                  </a:lnTo>
                  <a:lnTo>
                    <a:pt x="194" y="28"/>
                  </a:lnTo>
                  <a:lnTo>
                    <a:pt x="194" y="40"/>
                  </a:lnTo>
                  <a:lnTo>
                    <a:pt x="194" y="40"/>
                  </a:lnTo>
                  <a:lnTo>
                    <a:pt x="194" y="40"/>
                  </a:lnTo>
                  <a:close/>
                  <a:moveTo>
                    <a:pt x="177" y="45"/>
                  </a:moveTo>
                  <a:lnTo>
                    <a:pt x="173" y="40"/>
                  </a:lnTo>
                  <a:lnTo>
                    <a:pt x="177" y="28"/>
                  </a:lnTo>
                  <a:lnTo>
                    <a:pt x="177" y="45"/>
                  </a:lnTo>
                  <a:lnTo>
                    <a:pt x="177" y="45"/>
                  </a:lnTo>
                  <a:lnTo>
                    <a:pt x="177" y="45"/>
                  </a:lnTo>
                  <a:close/>
                  <a:moveTo>
                    <a:pt x="529" y="78"/>
                  </a:moveTo>
                  <a:lnTo>
                    <a:pt x="534" y="78"/>
                  </a:lnTo>
                  <a:lnTo>
                    <a:pt x="513" y="66"/>
                  </a:lnTo>
                  <a:lnTo>
                    <a:pt x="529" y="61"/>
                  </a:lnTo>
                  <a:lnTo>
                    <a:pt x="517" y="45"/>
                  </a:lnTo>
                  <a:lnTo>
                    <a:pt x="539" y="57"/>
                  </a:lnTo>
                  <a:lnTo>
                    <a:pt x="534" y="45"/>
                  </a:lnTo>
                  <a:lnTo>
                    <a:pt x="517" y="45"/>
                  </a:lnTo>
                  <a:lnTo>
                    <a:pt x="517" y="40"/>
                  </a:lnTo>
                  <a:lnTo>
                    <a:pt x="534" y="40"/>
                  </a:lnTo>
                  <a:lnTo>
                    <a:pt x="534" y="45"/>
                  </a:lnTo>
                  <a:lnTo>
                    <a:pt x="551" y="45"/>
                  </a:lnTo>
                  <a:lnTo>
                    <a:pt x="539" y="61"/>
                  </a:lnTo>
                  <a:lnTo>
                    <a:pt x="555" y="78"/>
                  </a:lnTo>
                  <a:lnTo>
                    <a:pt x="551" y="66"/>
                  </a:lnTo>
                  <a:lnTo>
                    <a:pt x="539" y="66"/>
                  </a:lnTo>
                  <a:lnTo>
                    <a:pt x="529" y="78"/>
                  </a:lnTo>
                  <a:lnTo>
                    <a:pt x="529" y="78"/>
                  </a:lnTo>
                  <a:lnTo>
                    <a:pt x="529" y="78"/>
                  </a:lnTo>
                  <a:close/>
                  <a:moveTo>
                    <a:pt x="203" y="57"/>
                  </a:moveTo>
                  <a:lnTo>
                    <a:pt x="194" y="57"/>
                  </a:lnTo>
                  <a:lnTo>
                    <a:pt x="203" y="45"/>
                  </a:lnTo>
                  <a:lnTo>
                    <a:pt x="203" y="57"/>
                  </a:lnTo>
                  <a:lnTo>
                    <a:pt x="203" y="57"/>
                  </a:lnTo>
                  <a:lnTo>
                    <a:pt x="203" y="57"/>
                  </a:lnTo>
                  <a:close/>
                  <a:moveTo>
                    <a:pt x="378" y="61"/>
                  </a:moveTo>
                  <a:lnTo>
                    <a:pt x="388" y="61"/>
                  </a:lnTo>
                  <a:lnTo>
                    <a:pt x="366" y="61"/>
                  </a:lnTo>
                  <a:lnTo>
                    <a:pt x="371" y="57"/>
                  </a:lnTo>
                  <a:lnTo>
                    <a:pt x="378" y="61"/>
                  </a:lnTo>
                  <a:lnTo>
                    <a:pt x="378" y="61"/>
                  </a:lnTo>
                  <a:lnTo>
                    <a:pt x="378" y="61"/>
                  </a:lnTo>
                  <a:close/>
                  <a:moveTo>
                    <a:pt x="588" y="111"/>
                  </a:moveTo>
                  <a:lnTo>
                    <a:pt x="588" y="116"/>
                  </a:lnTo>
                  <a:lnTo>
                    <a:pt x="567" y="116"/>
                  </a:lnTo>
                  <a:lnTo>
                    <a:pt x="581" y="99"/>
                  </a:lnTo>
                  <a:lnTo>
                    <a:pt x="572" y="94"/>
                  </a:lnTo>
                  <a:lnTo>
                    <a:pt x="567" y="99"/>
                  </a:lnTo>
                  <a:lnTo>
                    <a:pt x="555" y="83"/>
                  </a:lnTo>
                  <a:lnTo>
                    <a:pt x="588" y="111"/>
                  </a:lnTo>
                  <a:lnTo>
                    <a:pt x="588" y="111"/>
                  </a:lnTo>
                  <a:lnTo>
                    <a:pt x="588" y="111"/>
                  </a:lnTo>
                  <a:close/>
                  <a:moveTo>
                    <a:pt x="392" y="111"/>
                  </a:moveTo>
                  <a:lnTo>
                    <a:pt x="388" y="99"/>
                  </a:lnTo>
                  <a:lnTo>
                    <a:pt x="392" y="99"/>
                  </a:lnTo>
                  <a:lnTo>
                    <a:pt x="392" y="111"/>
                  </a:lnTo>
                  <a:lnTo>
                    <a:pt x="392" y="111"/>
                  </a:lnTo>
                  <a:lnTo>
                    <a:pt x="392" y="111"/>
                  </a:lnTo>
                  <a:close/>
                  <a:moveTo>
                    <a:pt x="64" y="149"/>
                  </a:moveTo>
                  <a:lnTo>
                    <a:pt x="64" y="139"/>
                  </a:lnTo>
                  <a:lnTo>
                    <a:pt x="69" y="139"/>
                  </a:lnTo>
                  <a:lnTo>
                    <a:pt x="64" y="149"/>
                  </a:lnTo>
                  <a:lnTo>
                    <a:pt x="64" y="149"/>
                  </a:lnTo>
                  <a:lnTo>
                    <a:pt x="64" y="14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1" name="Freeform 564">
              <a:extLst>
                <a:ext uri="{FF2B5EF4-FFF2-40B4-BE49-F238E27FC236}">
                  <a16:creationId xmlns:a16="http://schemas.microsoft.com/office/drawing/2014/main" id="{E200408D-19E0-4EAD-BBB8-95DC294FD7B1}"/>
                </a:ext>
              </a:extLst>
            </p:cNvPr>
            <p:cNvSpPr>
              <a:spLocks/>
            </p:cNvSpPr>
            <p:nvPr/>
          </p:nvSpPr>
          <p:spPr bwMode="gray">
            <a:xfrm>
              <a:off x="6898314" y="2528950"/>
              <a:ext cx="129264" cy="74108"/>
            </a:xfrm>
            <a:custGeom>
              <a:avLst/>
              <a:gdLst>
                <a:gd name="T0" fmla="*/ 38 w 314"/>
                <a:gd name="T1" fmla="*/ 90 h 180"/>
                <a:gd name="T2" fmla="*/ 71 w 314"/>
                <a:gd name="T3" fmla="*/ 50 h 180"/>
                <a:gd name="T4" fmla="*/ 76 w 314"/>
                <a:gd name="T5" fmla="*/ 38 h 180"/>
                <a:gd name="T6" fmla="*/ 71 w 314"/>
                <a:gd name="T7" fmla="*/ 38 h 180"/>
                <a:gd name="T8" fmla="*/ 76 w 314"/>
                <a:gd name="T9" fmla="*/ 28 h 180"/>
                <a:gd name="T10" fmla="*/ 97 w 314"/>
                <a:gd name="T11" fmla="*/ 33 h 180"/>
                <a:gd name="T12" fmla="*/ 113 w 314"/>
                <a:gd name="T13" fmla="*/ 17 h 180"/>
                <a:gd name="T14" fmla="*/ 184 w 314"/>
                <a:gd name="T15" fmla="*/ 17 h 180"/>
                <a:gd name="T16" fmla="*/ 184 w 314"/>
                <a:gd name="T17" fmla="*/ 10 h 180"/>
                <a:gd name="T18" fmla="*/ 168 w 314"/>
                <a:gd name="T19" fmla="*/ 10 h 180"/>
                <a:gd name="T20" fmla="*/ 184 w 314"/>
                <a:gd name="T21" fmla="*/ 0 h 180"/>
                <a:gd name="T22" fmla="*/ 194 w 314"/>
                <a:gd name="T23" fmla="*/ 0 h 180"/>
                <a:gd name="T24" fmla="*/ 194 w 314"/>
                <a:gd name="T25" fmla="*/ 10 h 180"/>
                <a:gd name="T26" fmla="*/ 231 w 314"/>
                <a:gd name="T27" fmla="*/ 10 h 180"/>
                <a:gd name="T28" fmla="*/ 253 w 314"/>
                <a:gd name="T29" fmla="*/ 28 h 180"/>
                <a:gd name="T30" fmla="*/ 260 w 314"/>
                <a:gd name="T31" fmla="*/ 33 h 180"/>
                <a:gd name="T32" fmla="*/ 253 w 314"/>
                <a:gd name="T33" fmla="*/ 50 h 180"/>
                <a:gd name="T34" fmla="*/ 248 w 314"/>
                <a:gd name="T35" fmla="*/ 66 h 180"/>
                <a:gd name="T36" fmla="*/ 253 w 314"/>
                <a:gd name="T37" fmla="*/ 66 h 180"/>
                <a:gd name="T38" fmla="*/ 276 w 314"/>
                <a:gd name="T39" fmla="*/ 73 h 180"/>
                <a:gd name="T40" fmla="*/ 276 w 314"/>
                <a:gd name="T41" fmla="*/ 83 h 180"/>
                <a:gd name="T42" fmla="*/ 293 w 314"/>
                <a:gd name="T43" fmla="*/ 90 h 180"/>
                <a:gd name="T44" fmla="*/ 307 w 314"/>
                <a:gd name="T45" fmla="*/ 73 h 180"/>
                <a:gd name="T46" fmla="*/ 314 w 314"/>
                <a:gd name="T47" fmla="*/ 83 h 180"/>
                <a:gd name="T48" fmla="*/ 314 w 314"/>
                <a:gd name="T49" fmla="*/ 111 h 180"/>
                <a:gd name="T50" fmla="*/ 302 w 314"/>
                <a:gd name="T51" fmla="*/ 106 h 180"/>
                <a:gd name="T52" fmla="*/ 286 w 314"/>
                <a:gd name="T53" fmla="*/ 111 h 180"/>
                <a:gd name="T54" fmla="*/ 286 w 314"/>
                <a:gd name="T55" fmla="*/ 123 h 180"/>
                <a:gd name="T56" fmla="*/ 293 w 314"/>
                <a:gd name="T57" fmla="*/ 128 h 180"/>
                <a:gd name="T58" fmla="*/ 293 w 314"/>
                <a:gd name="T59" fmla="*/ 147 h 180"/>
                <a:gd name="T60" fmla="*/ 276 w 314"/>
                <a:gd name="T61" fmla="*/ 128 h 180"/>
                <a:gd name="T62" fmla="*/ 253 w 314"/>
                <a:gd name="T63" fmla="*/ 139 h 180"/>
                <a:gd name="T64" fmla="*/ 248 w 314"/>
                <a:gd name="T65" fmla="*/ 123 h 180"/>
                <a:gd name="T66" fmla="*/ 231 w 314"/>
                <a:gd name="T67" fmla="*/ 123 h 180"/>
                <a:gd name="T68" fmla="*/ 231 w 314"/>
                <a:gd name="T69" fmla="*/ 139 h 180"/>
                <a:gd name="T70" fmla="*/ 215 w 314"/>
                <a:gd name="T71" fmla="*/ 168 h 180"/>
                <a:gd name="T72" fmla="*/ 222 w 314"/>
                <a:gd name="T73" fmla="*/ 168 h 180"/>
                <a:gd name="T74" fmla="*/ 215 w 314"/>
                <a:gd name="T75" fmla="*/ 180 h 180"/>
                <a:gd name="T76" fmla="*/ 201 w 314"/>
                <a:gd name="T77" fmla="*/ 163 h 180"/>
                <a:gd name="T78" fmla="*/ 201 w 314"/>
                <a:gd name="T79" fmla="*/ 151 h 180"/>
                <a:gd name="T80" fmla="*/ 177 w 314"/>
                <a:gd name="T81" fmla="*/ 147 h 180"/>
                <a:gd name="T82" fmla="*/ 177 w 314"/>
                <a:gd name="T83" fmla="*/ 123 h 180"/>
                <a:gd name="T84" fmla="*/ 163 w 314"/>
                <a:gd name="T85" fmla="*/ 123 h 180"/>
                <a:gd name="T86" fmla="*/ 151 w 314"/>
                <a:gd name="T87" fmla="*/ 151 h 180"/>
                <a:gd name="T88" fmla="*/ 130 w 314"/>
                <a:gd name="T89" fmla="*/ 168 h 180"/>
                <a:gd name="T90" fmla="*/ 125 w 314"/>
                <a:gd name="T91" fmla="*/ 168 h 180"/>
                <a:gd name="T92" fmla="*/ 87 w 314"/>
                <a:gd name="T93" fmla="*/ 180 h 180"/>
                <a:gd name="T94" fmla="*/ 76 w 314"/>
                <a:gd name="T95" fmla="*/ 168 h 180"/>
                <a:gd name="T96" fmla="*/ 59 w 314"/>
                <a:gd name="T97" fmla="*/ 151 h 180"/>
                <a:gd name="T98" fmla="*/ 59 w 314"/>
                <a:gd name="T99" fmla="*/ 128 h 180"/>
                <a:gd name="T100" fmla="*/ 54 w 314"/>
                <a:gd name="T101" fmla="*/ 123 h 180"/>
                <a:gd name="T102" fmla="*/ 21 w 314"/>
                <a:gd name="T103" fmla="*/ 128 h 180"/>
                <a:gd name="T104" fmla="*/ 21 w 314"/>
                <a:gd name="T105" fmla="*/ 147 h 180"/>
                <a:gd name="T106" fmla="*/ 5 w 314"/>
                <a:gd name="T107" fmla="*/ 151 h 180"/>
                <a:gd name="T108" fmla="*/ 0 w 314"/>
                <a:gd name="T109" fmla="*/ 147 h 180"/>
                <a:gd name="T110" fmla="*/ 16 w 314"/>
                <a:gd name="T111" fmla="*/ 139 h 180"/>
                <a:gd name="T112" fmla="*/ 16 w 314"/>
                <a:gd name="T113" fmla="*/ 128 h 180"/>
                <a:gd name="T114" fmla="*/ 5 w 314"/>
                <a:gd name="T115" fmla="*/ 123 h 180"/>
                <a:gd name="T116" fmla="*/ 16 w 314"/>
                <a:gd name="T117" fmla="*/ 111 h 180"/>
                <a:gd name="T118" fmla="*/ 33 w 314"/>
                <a:gd name="T119" fmla="*/ 95 h 180"/>
                <a:gd name="T120" fmla="*/ 38 w 314"/>
                <a:gd name="T121" fmla="*/ 90 h 180"/>
                <a:gd name="T122" fmla="*/ 38 w 314"/>
                <a:gd name="T123" fmla="*/ 90 h 180"/>
                <a:gd name="T124" fmla="*/ 38 w 314"/>
                <a:gd name="T125"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4" h="180">
                  <a:moveTo>
                    <a:pt x="38" y="90"/>
                  </a:moveTo>
                  <a:lnTo>
                    <a:pt x="71" y="50"/>
                  </a:lnTo>
                  <a:lnTo>
                    <a:pt x="76" y="38"/>
                  </a:lnTo>
                  <a:lnTo>
                    <a:pt x="71" y="38"/>
                  </a:lnTo>
                  <a:lnTo>
                    <a:pt x="76" y="28"/>
                  </a:lnTo>
                  <a:lnTo>
                    <a:pt x="97" y="33"/>
                  </a:lnTo>
                  <a:lnTo>
                    <a:pt x="113" y="17"/>
                  </a:lnTo>
                  <a:lnTo>
                    <a:pt x="184" y="17"/>
                  </a:lnTo>
                  <a:lnTo>
                    <a:pt x="184" y="10"/>
                  </a:lnTo>
                  <a:lnTo>
                    <a:pt x="168" y="10"/>
                  </a:lnTo>
                  <a:lnTo>
                    <a:pt x="184" y="0"/>
                  </a:lnTo>
                  <a:lnTo>
                    <a:pt x="194" y="0"/>
                  </a:lnTo>
                  <a:lnTo>
                    <a:pt x="194" y="10"/>
                  </a:lnTo>
                  <a:lnTo>
                    <a:pt x="231" y="10"/>
                  </a:lnTo>
                  <a:lnTo>
                    <a:pt x="253" y="28"/>
                  </a:lnTo>
                  <a:lnTo>
                    <a:pt x="260" y="33"/>
                  </a:lnTo>
                  <a:lnTo>
                    <a:pt x="253" y="50"/>
                  </a:lnTo>
                  <a:lnTo>
                    <a:pt x="248" y="66"/>
                  </a:lnTo>
                  <a:lnTo>
                    <a:pt x="253" y="66"/>
                  </a:lnTo>
                  <a:lnTo>
                    <a:pt x="276" y="73"/>
                  </a:lnTo>
                  <a:lnTo>
                    <a:pt x="276" y="83"/>
                  </a:lnTo>
                  <a:lnTo>
                    <a:pt x="293" y="90"/>
                  </a:lnTo>
                  <a:lnTo>
                    <a:pt x="307" y="73"/>
                  </a:lnTo>
                  <a:lnTo>
                    <a:pt x="314" y="83"/>
                  </a:lnTo>
                  <a:lnTo>
                    <a:pt x="314" y="111"/>
                  </a:lnTo>
                  <a:lnTo>
                    <a:pt x="302" y="106"/>
                  </a:lnTo>
                  <a:lnTo>
                    <a:pt x="286" y="111"/>
                  </a:lnTo>
                  <a:lnTo>
                    <a:pt x="286" y="123"/>
                  </a:lnTo>
                  <a:lnTo>
                    <a:pt x="293" y="128"/>
                  </a:lnTo>
                  <a:lnTo>
                    <a:pt x="293" y="147"/>
                  </a:lnTo>
                  <a:lnTo>
                    <a:pt x="276" y="128"/>
                  </a:lnTo>
                  <a:lnTo>
                    <a:pt x="253" y="139"/>
                  </a:lnTo>
                  <a:lnTo>
                    <a:pt x="248" y="123"/>
                  </a:lnTo>
                  <a:lnTo>
                    <a:pt x="231" y="123"/>
                  </a:lnTo>
                  <a:lnTo>
                    <a:pt x="231" y="139"/>
                  </a:lnTo>
                  <a:lnTo>
                    <a:pt x="215" y="168"/>
                  </a:lnTo>
                  <a:lnTo>
                    <a:pt x="222" y="168"/>
                  </a:lnTo>
                  <a:lnTo>
                    <a:pt x="215" y="180"/>
                  </a:lnTo>
                  <a:lnTo>
                    <a:pt x="201" y="163"/>
                  </a:lnTo>
                  <a:lnTo>
                    <a:pt x="201" y="151"/>
                  </a:lnTo>
                  <a:lnTo>
                    <a:pt x="177" y="147"/>
                  </a:lnTo>
                  <a:lnTo>
                    <a:pt x="177" y="123"/>
                  </a:lnTo>
                  <a:lnTo>
                    <a:pt x="163" y="123"/>
                  </a:lnTo>
                  <a:lnTo>
                    <a:pt x="151" y="151"/>
                  </a:lnTo>
                  <a:lnTo>
                    <a:pt x="130" y="168"/>
                  </a:lnTo>
                  <a:lnTo>
                    <a:pt x="125" y="168"/>
                  </a:lnTo>
                  <a:lnTo>
                    <a:pt x="87" y="180"/>
                  </a:lnTo>
                  <a:lnTo>
                    <a:pt x="76" y="168"/>
                  </a:lnTo>
                  <a:lnTo>
                    <a:pt x="59" y="151"/>
                  </a:lnTo>
                  <a:lnTo>
                    <a:pt x="59" y="128"/>
                  </a:lnTo>
                  <a:lnTo>
                    <a:pt x="54" y="123"/>
                  </a:lnTo>
                  <a:lnTo>
                    <a:pt x="21" y="128"/>
                  </a:lnTo>
                  <a:lnTo>
                    <a:pt x="21" y="147"/>
                  </a:lnTo>
                  <a:lnTo>
                    <a:pt x="5" y="151"/>
                  </a:lnTo>
                  <a:lnTo>
                    <a:pt x="0" y="147"/>
                  </a:lnTo>
                  <a:lnTo>
                    <a:pt x="16" y="139"/>
                  </a:lnTo>
                  <a:lnTo>
                    <a:pt x="16" y="128"/>
                  </a:lnTo>
                  <a:lnTo>
                    <a:pt x="5" y="123"/>
                  </a:lnTo>
                  <a:lnTo>
                    <a:pt x="16" y="111"/>
                  </a:lnTo>
                  <a:lnTo>
                    <a:pt x="33" y="95"/>
                  </a:lnTo>
                  <a:lnTo>
                    <a:pt x="38" y="90"/>
                  </a:lnTo>
                  <a:lnTo>
                    <a:pt x="38" y="90"/>
                  </a:lnTo>
                  <a:lnTo>
                    <a:pt x="38" y="9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 name="Gruppieren 1">
            <a:extLst>
              <a:ext uri="{FF2B5EF4-FFF2-40B4-BE49-F238E27FC236}">
                <a16:creationId xmlns:a16="http://schemas.microsoft.com/office/drawing/2014/main" id="{C0436110-26CF-4B74-8A88-267A21EA0D84}"/>
              </a:ext>
            </a:extLst>
          </p:cNvPr>
          <p:cNvGrpSpPr/>
          <p:nvPr/>
        </p:nvGrpSpPr>
        <p:grpSpPr bwMode="gray">
          <a:xfrm>
            <a:off x="1255945" y="1015724"/>
            <a:ext cx="10359267" cy="2770849"/>
            <a:chOff x="1557717" y="727692"/>
            <a:chExt cx="10359267" cy="2770849"/>
          </a:xfrm>
          <a:pattFill prst="ltUpDiag">
            <a:fgClr>
              <a:schemeClr val="accent2"/>
            </a:fgClr>
            <a:bgClr>
              <a:schemeClr val="bg1"/>
            </a:bgClr>
          </a:pattFill>
        </p:grpSpPr>
        <p:sp>
          <p:nvSpPr>
            <p:cNvPr id="8043" name="Freeform 408">
              <a:extLst>
                <a:ext uri="{FF2B5EF4-FFF2-40B4-BE49-F238E27FC236}">
                  <a16:creationId xmlns:a16="http://schemas.microsoft.com/office/drawing/2014/main" id="{7B291DB7-2DBC-4238-9A89-F5B434BC09CE}"/>
                </a:ext>
              </a:extLst>
            </p:cNvPr>
            <p:cNvSpPr>
              <a:spLocks noEditPoints="1"/>
            </p:cNvSpPr>
            <p:nvPr/>
          </p:nvSpPr>
          <p:spPr bwMode="gray">
            <a:xfrm>
              <a:off x="2654407" y="727692"/>
              <a:ext cx="2552766" cy="2024820"/>
            </a:xfrm>
            <a:custGeom>
              <a:avLst/>
              <a:gdLst>
                <a:gd name="T0" fmla="*/ 3990 w 6201"/>
                <a:gd name="T1" fmla="*/ 834 h 4918"/>
                <a:gd name="T2" fmla="*/ 4108 w 6201"/>
                <a:gd name="T3" fmla="*/ 345 h 4918"/>
                <a:gd name="T4" fmla="*/ 4805 w 6201"/>
                <a:gd name="T5" fmla="*/ 74 h 4918"/>
                <a:gd name="T6" fmla="*/ 4465 w 6201"/>
                <a:gd name="T7" fmla="*/ 629 h 4918"/>
                <a:gd name="T8" fmla="*/ 3418 w 6201"/>
                <a:gd name="T9" fmla="*/ 638 h 4918"/>
                <a:gd name="T10" fmla="*/ 3721 w 6201"/>
                <a:gd name="T11" fmla="*/ 711 h 4918"/>
                <a:gd name="T12" fmla="*/ 3239 w 6201"/>
                <a:gd name="T13" fmla="*/ 806 h 4918"/>
                <a:gd name="T14" fmla="*/ 3352 w 6201"/>
                <a:gd name="T15" fmla="*/ 905 h 4918"/>
                <a:gd name="T16" fmla="*/ 3504 w 6201"/>
                <a:gd name="T17" fmla="*/ 978 h 4918"/>
                <a:gd name="T18" fmla="*/ 3440 w 6201"/>
                <a:gd name="T19" fmla="*/ 1292 h 4918"/>
                <a:gd name="T20" fmla="*/ 3078 w 6201"/>
                <a:gd name="T21" fmla="*/ 1044 h 4918"/>
                <a:gd name="T22" fmla="*/ 2327 w 6201"/>
                <a:gd name="T23" fmla="*/ 1292 h 4918"/>
                <a:gd name="T24" fmla="*/ 2899 w 6201"/>
                <a:gd name="T25" fmla="*/ 1222 h 4918"/>
                <a:gd name="T26" fmla="*/ 1276 w 6201"/>
                <a:gd name="T27" fmla="*/ 1160 h 4918"/>
                <a:gd name="T28" fmla="*/ 3062 w 6201"/>
                <a:gd name="T29" fmla="*/ 1366 h 4918"/>
                <a:gd name="T30" fmla="*/ 2948 w 6201"/>
                <a:gd name="T31" fmla="*/ 1486 h 4918"/>
                <a:gd name="T32" fmla="*/ 3910 w 6201"/>
                <a:gd name="T33" fmla="*/ 1992 h 4918"/>
                <a:gd name="T34" fmla="*/ 3990 w 6201"/>
                <a:gd name="T35" fmla="*/ 1526 h 4918"/>
                <a:gd name="T36" fmla="*/ 4729 w 6201"/>
                <a:gd name="T37" fmla="*/ 1826 h 4918"/>
                <a:gd name="T38" fmla="*/ 5138 w 6201"/>
                <a:gd name="T39" fmla="*/ 2119 h 4918"/>
                <a:gd name="T40" fmla="*/ 5490 w 6201"/>
                <a:gd name="T41" fmla="*/ 2374 h 4918"/>
                <a:gd name="T42" fmla="*/ 5183 w 6201"/>
                <a:gd name="T43" fmla="*/ 2452 h 4918"/>
                <a:gd name="T44" fmla="*/ 5145 w 6201"/>
                <a:gd name="T45" fmla="*/ 2847 h 4918"/>
                <a:gd name="T46" fmla="*/ 4611 w 6201"/>
                <a:gd name="T47" fmla="*/ 2613 h 4918"/>
                <a:gd name="T48" fmla="*/ 4460 w 6201"/>
                <a:gd name="T49" fmla="*/ 1515 h 4918"/>
                <a:gd name="T50" fmla="*/ 1928 w 6201"/>
                <a:gd name="T51" fmla="*/ 2115 h 4918"/>
                <a:gd name="T52" fmla="*/ 2301 w 6201"/>
                <a:gd name="T53" fmla="*/ 1737 h 4918"/>
                <a:gd name="T54" fmla="*/ 4318 w 6201"/>
                <a:gd name="T55" fmla="*/ 1682 h 4918"/>
                <a:gd name="T56" fmla="*/ 1226 w 6201"/>
                <a:gd name="T57" fmla="*/ 4222 h 4918"/>
                <a:gd name="T58" fmla="*/ 898 w 6201"/>
                <a:gd name="T59" fmla="*/ 3933 h 4918"/>
                <a:gd name="T60" fmla="*/ 600 w 6201"/>
                <a:gd name="T61" fmla="*/ 2025 h 4918"/>
                <a:gd name="T62" fmla="*/ 1167 w 6201"/>
                <a:gd name="T63" fmla="*/ 2070 h 4918"/>
                <a:gd name="T64" fmla="*/ 2500 w 6201"/>
                <a:gd name="T65" fmla="*/ 2181 h 4918"/>
                <a:gd name="T66" fmla="*/ 3310 w 6201"/>
                <a:gd name="T67" fmla="*/ 2103 h 4918"/>
                <a:gd name="T68" fmla="*/ 3693 w 6201"/>
                <a:gd name="T69" fmla="*/ 2252 h 4918"/>
                <a:gd name="T70" fmla="*/ 3801 w 6201"/>
                <a:gd name="T71" fmla="*/ 2429 h 4918"/>
                <a:gd name="T72" fmla="*/ 3239 w 6201"/>
                <a:gd name="T73" fmla="*/ 3263 h 4918"/>
                <a:gd name="T74" fmla="*/ 4378 w 6201"/>
                <a:gd name="T75" fmla="*/ 3279 h 4918"/>
                <a:gd name="T76" fmla="*/ 5124 w 6201"/>
                <a:gd name="T77" fmla="*/ 3317 h 4918"/>
                <a:gd name="T78" fmla="*/ 5544 w 6201"/>
                <a:gd name="T79" fmla="*/ 3506 h 4918"/>
                <a:gd name="T80" fmla="*/ 5939 w 6201"/>
                <a:gd name="T81" fmla="*/ 3832 h 4918"/>
                <a:gd name="T82" fmla="*/ 5544 w 6201"/>
                <a:gd name="T83" fmla="*/ 4552 h 4918"/>
                <a:gd name="T84" fmla="*/ 4772 w 6201"/>
                <a:gd name="T85" fmla="*/ 1781 h 4918"/>
                <a:gd name="T86" fmla="*/ 3019 w 6201"/>
                <a:gd name="T87" fmla="*/ 2065 h 4918"/>
                <a:gd name="T88" fmla="*/ 378 w 6201"/>
                <a:gd name="T89" fmla="*/ 2119 h 4918"/>
                <a:gd name="T90" fmla="*/ 3563 w 6201"/>
                <a:gd name="T91" fmla="*/ 2115 h 4918"/>
                <a:gd name="T92" fmla="*/ 2861 w 6201"/>
                <a:gd name="T93" fmla="*/ 2209 h 4918"/>
                <a:gd name="T94" fmla="*/ 2306 w 6201"/>
                <a:gd name="T95" fmla="*/ 2308 h 4918"/>
                <a:gd name="T96" fmla="*/ 4016 w 6201"/>
                <a:gd name="T97" fmla="*/ 2502 h 4918"/>
                <a:gd name="T98" fmla="*/ 5523 w 6201"/>
                <a:gd name="T99" fmla="*/ 2523 h 4918"/>
                <a:gd name="T100" fmla="*/ 4422 w 6201"/>
                <a:gd name="T101" fmla="*/ 2724 h 4918"/>
                <a:gd name="T102" fmla="*/ 4125 w 6201"/>
                <a:gd name="T103" fmla="*/ 2840 h 4918"/>
                <a:gd name="T104" fmla="*/ 5365 w 6201"/>
                <a:gd name="T105" fmla="*/ 3135 h 4918"/>
                <a:gd name="T106" fmla="*/ 4285 w 6201"/>
                <a:gd name="T107" fmla="*/ 3499 h 4918"/>
                <a:gd name="T108" fmla="*/ 763 w 6201"/>
                <a:gd name="T109" fmla="*/ 3683 h 4918"/>
                <a:gd name="T110" fmla="*/ 832 w 6201"/>
                <a:gd name="T111" fmla="*/ 3848 h 4918"/>
                <a:gd name="T112" fmla="*/ 811 w 6201"/>
                <a:gd name="T113" fmla="*/ 3860 h 4918"/>
                <a:gd name="T114" fmla="*/ 903 w 6201"/>
                <a:gd name="T115" fmla="*/ 3966 h 4918"/>
                <a:gd name="T116" fmla="*/ 5970 w 6201"/>
                <a:gd name="T117" fmla="*/ 4387 h 4918"/>
                <a:gd name="T118" fmla="*/ 6116 w 6201"/>
                <a:gd name="T119" fmla="*/ 4316 h 4918"/>
                <a:gd name="T120" fmla="*/ 1016 w 6201"/>
                <a:gd name="T121" fmla="*/ 4111 h 4918"/>
                <a:gd name="T122" fmla="*/ 6041 w 6201"/>
                <a:gd name="T123" fmla="*/ 4210 h 4918"/>
                <a:gd name="T124" fmla="*/ 5377 w 6201"/>
                <a:gd name="T125" fmla="*/ 4481 h 4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01" h="4918">
                  <a:moveTo>
                    <a:pt x="4389" y="1099"/>
                  </a:moveTo>
                  <a:lnTo>
                    <a:pt x="4368" y="1082"/>
                  </a:lnTo>
                  <a:lnTo>
                    <a:pt x="4323" y="1122"/>
                  </a:lnTo>
                  <a:lnTo>
                    <a:pt x="4205" y="1144"/>
                  </a:lnTo>
                  <a:lnTo>
                    <a:pt x="4205" y="1139"/>
                  </a:lnTo>
                  <a:lnTo>
                    <a:pt x="4226" y="1106"/>
                  </a:lnTo>
                  <a:lnTo>
                    <a:pt x="4189" y="1087"/>
                  </a:lnTo>
                  <a:lnTo>
                    <a:pt x="4172" y="1099"/>
                  </a:lnTo>
                  <a:lnTo>
                    <a:pt x="4134" y="1087"/>
                  </a:lnTo>
                  <a:lnTo>
                    <a:pt x="4141" y="1082"/>
                  </a:lnTo>
                  <a:lnTo>
                    <a:pt x="4134" y="1070"/>
                  </a:lnTo>
                  <a:lnTo>
                    <a:pt x="4158" y="1066"/>
                  </a:lnTo>
                  <a:lnTo>
                    <a:pt x="4120" y="1070"/>
                  </a:lnTo>
                  <a:lnTo>
                    <a:pt x="4087" y="1044"/>
                  </a:lnTo>
                  <a:lnTo>
                    <a:pt x="4104" y="1070"/>
                  </a:lnTo>
                  <a:lnTo>
                    <a:pt x="4134" y="1082"/>
                  </a:lnTo>
                  <a:lnTo>
                    <a:pt x="4120" y="1087"/>
                  </a:lnTo>
                  <a:lnTo>
                    <a:pt x="4125" y="1099"/>
                  </a:lnTo>
                  <a:lnTo>
                    <a:pt x="4066" y="1106"/>
                  </a:lnTo>
                  <a:lnTo>
                    <a:pt x="4044" y="1049"/>
                  </a:lnTo>
                  <a:lnTo>
                    <a:pt x="4033" y="1066"/>
                  </a:lnTo>
                  <a:lnTo>
                    <a:pt x="4049" y="1082"/>
                  </a:lnTo>
                  <a:lnTo>
                    <a:pt x="4054" y="1106"/>
                  </a:lnTo>
                  <a:lnTo>
                    <a:pt x="4016" y="1106"/>
                  </a:lnTo>
                  <a:lnTo>
                    <a:pt x="3978" y="1066"/>
                  </a:lnTo>
                  <a:lnTo>
                    <a:pt x="3990" y="1070"/>
                  </a:lnTo>
                  <a:lnTo>
                    <a:pt x="3978" y="1087"/>
                  </a:lnTo>
                  <a:lnTo>
                    <a:pt x="3990" y="1099"/>
                  </a:lnTo>
                  <a:lnTo>
                    <a:pt x="3957" y="1106"/>
                  </a:lnTo>
                  <a:lnTo>
                    <a:pt x="3924" y="1082"/>
                  </a:lnTo>
                  <a:lnTo>
                    <a:pt x="3936" y="1106"/>
                  </a:lnTo>
                  <a:lnTo>
                    <a:pt x="3974" y="1122"/>
                  </a:lnTo>
                  <a:lnTo>
                    <a:pt x="3936" y="1122"/>
                  </a:lnTo>
                  <a:lnTo>
                    <a:pt x="3834" y="1111"/>
                  </a:lnTo>
                  <a:lnTo>
                    <a:pt x="3827" y="1099"/>
                  </a:lnTo>
                  <a:lnTo>
                    <a:pt x="3839" y="1087"/>
                  </a:lnTo>
                  <a:lnTo>
                    <a:pt x="3818" y="1070"/>
                  </a:lnTo>
                  <a:lnTo>
                    <a:pt x="3834" y="1087"/>
                  </a:lnTo>
                  <a:lnTo>
                    <a:pt x="3811" y="1099"/>
                  </a:lnTo>
                  <a:lnTo>
                    <a:pt x="3811" y="1111"/>
                  </a:lnTo>
                  <a:lnTo>
                    <a:pt x="3759" y="1099"/>
                  </a:lnTo>
                  <a:lnTo>
                    <a:pt x="3747" y="1070"/>
                  </a:lnTo>
                  <a:lnTo>
                    <a:pt x="3747" y="1099"/>
                  </a:lnTo>
                  <a:lnTo>
                    <a:pt x="3759" y="1111"/>
                  </a:lnTo>
                  <a:lnTo>
                    <a:pt x="3688" y="1106"/>
                  </a:lnTo>
                  <a:lnTo>
                    <a:pt x="3693" y="1087"/>
                  </a:lnTo>
                  <a:lnTo>
                    <a:pt x="3676" y="1070"/>
                  </a:lnTo>
                  <a:lnTo>
                    <a:pt x="3688" y="1044"/>
                  </a:lnTo>
                  <a:lnTo>
                    <a:pt x="3671" y="1054"/>
                  </a:lnTo>
                  <a:lnTo>
                    <a:pt x="3676" y="1082"/>
                  </a:lnTo>
                  <a:lnTo>
                    <a:pt x="3671" y="1106"/>
                  </a:lnTo>
                  <a:lnTo>
                    <a:pt x="3671" y="1082"/>
                  </a:lnTo>
                  <a:lnTo>
                    <a:pt x="3655" y="1106"/>
                  </a:lnTo>
                  <a:lnTo>
                    <a:pt x="3600" y="1082"/>
                  </a:lnTo>
                  <a:lnTo>
                    <a:pt x="3617" y="1066"/>
                  </a:lnTo>
                  <a:lnTo>
                    <a:pt x="3612" y="1044"/>
                  </a:lnTo>
                  <a:lnTo>
                    <a:pt x="3688" y="1000"/>
                  </a:lnTo>
                  <a:lnTo>
                    <a:pt x="3676" y="1000"/>
                  </a:lnTo>
                  <a:lnTo>
                    <a:pt x="3801" y="988"/>
                  </a:lnTo>
                  <a:lnTo>
                    <a:pt x="3773" y="988"/>
                  </a:lnTo>
                  <a:lnTo>
                    <a:pt x="3796" y="978"/>
                  </a:lnTo>
                  <a:lnTo>
                    <a:pt x="3773" y="971"/>
                  </a:lnTo>
                  <a:lnTo>
                    <a:pt x="3796" y="962"/>
                  </a:lnTo>
                  <a:lnTo>
                    <a:pt x="3742" y="962"/>
                  </a:lnTo>
                  <a:lnTo>
                    <a:pt x="3730" y="955"/>
                  </a:lnTo>
                  <a:lnTo>
                    <a:pt x="3742" y="943"/>
                  </a:lnTo>
                  <a:lnTo>
                    <a:pt x="3742" y="933"/>
                  </a:lnTo>
                  <a:lnTo>
                    <a:pt x="3704" y="917"/>
                  </a:lnTo>
                  <a:lnTo>
                    <a:pt x="3709" y="889"/>
                  </a:lnTo>
                  <a:lnTo>
                    <a:pt x="3773" y="884"/>
                  </a:lnTo>
                  <a:lnTo>
                    <a:pt x="3827" y="889"/>
                  </a:lnTo>
                  <a:lnTo>
                    <a:pt x="3855" y="905"/>
                  </a:lnTo>
                  <a:lnTo>
                    <a:pt x="3881" y="943"/>
                  </a:lnTo>
                  <a:lnTo>
                    <a:pt x="3872" y="955"/>
                  </a:lnTo>
                  <a:lnTo>
                    <a:pt x="3886" y="943"/>
                  </a:lnTo>
                  <a:lnTo>
                    <a:pt x="3962" y="971"/>
                  </a:lnTo>
                  <a:lnTo>
                    <a:pt x="3957" y="955"/>
                  </a:lnTo>
                  <a:lnTo>
                    <a:pt x="4033" y="962"/>
                  </a:lnTo>
                  <a:lnTo>
                    <a:pt x="4011" y="943"/>
                  </a:lnTo>
                  <a:lnTo>
                    <a:pt x="4049" y="933"/>
                  </a:lnTo>
                  <a:lnTo>
                    <a:pt x="4104" y="877"/>
                  </a:lnTo>
                  <a:lnTo>
                    <a:pt x="4096" y="860"/>
                  </a:lnTo>
                  <a:lnTo>
                    <a:pt x="4120" y="851"/>
                  </a:lnTo>
                  <a:lnTo>
                    <a:pt x="4082" y="860"/>
                  </a:lnTo>
                  <a:lnTo>
                    <a:pt x="4087" y="877"/>
                  </a:lnTo>
                  <a:lnTo>
                    <a:pt x="4044" y="922"/>
                  </a:lnTo>
                  <a:lnTo>
                    <a:pt x="4000" y="938"/>
                  </a:lnTo>
                  <a:lnTo>
                    <a:pt x="3941" y="938"/>
                  </a:lnTo>
                  <a:lnTo>
                    <a:pt x="3936" y="933"/>
                  </a:lnTo>
                  <a:lnTo>
                    <a:pt x="3962" y="905"/>
                  </a:lnTo>
                  <a:lnTo>
                    <a:pt x="3936" y="922"/>
                  </a:lnTo>
                  <a:lnTo>
                    <a:pt x="3903" y="905"/>
                  </a:lnTo>
                  <a:lnTo>
                    <a:pt x="3924" y="889"/>
                  </a:lnTo>
                  <a:lnTo>
                    <a:pt x="3903" y="889"/>
                  </a:lnTo>
                  <a:lnTo>
                    <a:pt x="3974" y="884"/>
                  </a:lnTo>
                  <a:lnTo>
                    <a:pt x="3893" y="884"/>
                  </a:lnTo>
                  <a:lnTo>
                    <a:pt x="3881" y="877"/>
                  </a:lnTo>
                  <a:lnTo>
                    <a:pt x="3924" y="851"/>
                  </a:lnTo>
                  <a:lnTo>
                    <a:pt x="3978" y="851"/>
                  </a:lnTo>
                  <a:lnTo>
                    <a:pt x="3919" y="851"/>
                  </a:lnTo>
                  <a:lnTo>
                    <a:pt x="3924" y="834"/>
                  </a:lnTo>
                  <a:lnTo>
                    <a:pt x="3990" y="834"/>
                  </a:lnTo>
                  <a:lnTo>
                    <a:pt x="3936" y="827"/>
                  </a:lnTo>
                  <a:lnTo>
                    <a:pt x="3941" y="811"/>
                  </a:lnTo>
                  <a:lnTo>
                    <a:pt x="3957" y="811"/>
                  </a:lnTo>
                  <a:lnTo>
                    <a:pt x="3936" y="806"/>
                  </a:lnTo>
                  <a:lnTo>
                    <a:pt x="3957" y="773"/>
                  </a:lnTo>
                  <a:lnTo>
                    <a:pt x="3924" y="794"/>
                  </a:lnTo>
                  <a:lnTo>
                    <a:pt x="3936" y="811"/>
                  </a:lnTo>
                  <a:lnTo>
                    <a:pt x="3893" y="844"/>
                  </a:lnTo>
                  <a:lnTo>
                    <a:pt x="3839" y="851"/>
                  </a:lnTo>
                  <a:lnTo>
                    <a:pt x="3839" y="834"/>
                  </a:lnTo>
                  <a:lnTo>
                    <a:pt x="3865" y="827"/>
                  </a:lnTo>
                  <a:lnTo>
                    <a:pt x="3872" y="806"/>
                  </a:lnTo>
                  <a:lnTo>
                    <a:pt x="3848" y="827"/>
                  </a:lnTo>
                  <a:lnTo>
                    <a:pt x="3801" y="844"/>
                  </a:lnTo>
                  <a:lnTo>
                    <a:pt x="3747" y="844"/>
                  </a:lnTo>
                  <a:lnTo>
                    <a:pt x="3780" y="827"/>
                  </a:lnTo>
                  <a:lnTo>
                    <a:pt x="3747" y="827"/>
                  </a:lnTo>
                  <a:lnTo>
                    <a:pt x="3747" y="794"/>
                  </a:lnTo>
                  <a:lnTo>
                    <a:pt x="3780" y="778"/>
                  </a:lnTo>
                  <a:lnTo>
                    <a:pt x="3796" y="778"/>
                  </a:lnTo>
                  <a:lnTo>
                    <a:pt x="3780" y="773"/>
                  </a:lnTo>
                  <a:lnTo>
                    <a:pt x="3796" y="749"/>
                  </a:lnTo>
                  <a:lnTo>
                    <a:pt x="3924" y="716"/>
                  </a:lnTo>
                  <a:lnTo>
                    <a:pt x="4016" y="733"/>
                  </a:lnTo>
                  <a:lnTo>
                    <a:pt x="4108" y="773"/>
                  </a:lnTo>
                  <a:lnTo>
                    <a:pt x="4120" y="773"/>
                  </a:lnTo>
                  <a:lnTo>
                    <a:pt x="4096" y="756"/>
                  </a:lnTo>
                  <a:lnTo>
                    <a:pt x="4125" y="749"/>
                  </a:lnTo>
                  <a:lnTo>
                    <a:pt x="4082" y="749"/>
                  </a:lnTo>
                  <a:lnTo>
                    <a:pt x="4049" y="733"/>
                  </a:lnTo>
                  <a:lnTo>
                    <a:pt x="4158" y="733"/>
                  </a:lnTo>
                  <a:lnTo>
                    <a:pt x="4158" y="711"/>
                  </a:lnTo>
                  <a:lnTo>
                    <a:pt x="4172" y="700"/>
                  </a:lnTo>
                  <a:lnTo>
                    <a:pt x="4104" y="723"/>
                  </a:lnTo>
                  <a:lnTo>
                    <a:pt x="3945" y="700"/>
                  </a:lnTo>
                  <a:lnTo>
                    <a:pt x="3941" y="695"/>
                  </a:lnTo>
                  <a:lnTo>
                    <a:pt x="3962" y="683"/>
                  </a:lnTo>
                  <a:lnTo>
                    <a:pt x="4000" y="700"/>
                  </a:lnTo>
                  <a:lnTo>
                    <a:pt x="4044" y="700"/>
                  </a:lnTo>
                  <a:lnTo>
                    <a:pt x="3995" y="678"/>
                  </a:lnTo>
                  <a:lnTo>
                    <a:pt x="4000" y="667"/>
                  </a:lnTo>
                  <a:lnTo>
                    <a:pt x="3974" y="678"/>
                  </a:lnTo>
                  <a:lnTo>
                    <a:pt x="3962" y="638"/>
                  </a:lnTo>
                  <a:lnTo>
                    <a:pt x="3936" y="629"/>
                  </a:lnTo>
                  <a:lnTo>
                    <a:pt x="3924" y="605"/>
                  </a:lnTo>
                  <a:lnTo>
                    <a:pt x="3827" y="584"/>
                  </a:lnTo>
                  <a:lnTo>
                    <a:pt x="3827" y="556"/>
                  </a:lnTo>
                  <a:lnTo>
                    <a:pt x="3834" y="551"/>
                  </a:lnTo>
                  <a:lnTo>
                    <a:pt x="3910" y="556"/>
                  </a:lnTo>
                  <a:lnTo>
                    <a:pt x="3827" y="544"/>
                  </a:lnTo>
                  <a:lnTo>
                    <a:pt x="3811" y="527"/>
                  </a:lnTo>
                  <a:lnTo>
                    <a:pt x="3818" y="494"/>
                  </a:lnTo>
                  <a:lnTo>
                    <a:pt x="4011" y="501"/>
                  </a:lnTo>
                  <a:lnTo>
                    <a:pt x="4125" y="567"/>
                  </a:lnTo>
                  <a:lnTo>
                    <a:pt x="4141" y="589"/>
                  </a:lnTo>
                  <a:lnTo>
                    <a:pt x="4163" y="605"/>
                  </a:lnTo>
                  <a:lnTo>
                    <a:pt x="4151" y="605"/>
                  </a:lnTo>
                  <a:lnTo>
                    <a:pt x="4158" y="612"/>
                  </a:lnTo>
                  <a:lnTo>
                    <a:pt x="4179" y="605"/>
                  </a:lnTo>
                  <a:lnTo>
                    <a:pt x="4233" y="612"/>
                  </a:lnTo>
                  <a:lnTo>
                    <a:pt x="4285" y="600"/>
                  </a:lnTo>
                  <a:lnTo>
                    <a:pt x="4297" y="589"/>
                  </a:lnTo>
                  <a:lnTo>
                    <a:pt x="4217" y="600"/>
                  </a:lnTo>
                  <a:lnTo>
                    <a:pt x="4172" y="589"/>
                  </a:lnTo>
                  <a:lnTo>
                    <a:pt x="4163" y="556"/>
                  </a:lnTo>
                  <a:lnTo>
                    <a:pt x="4179" y="551"/>
                  </a:lnTo>
                  <a:lnTo>
                    <a:pt x="4125" y="544"/>
                  </a:lnTo>
                  <a:lnTo>
                    <a:pt x="4054" y="494"/>
                  </a:lnTo>
                  <a:lnTo>
                    <a:pt x="4264" y="456"/>
                  </a:lnTo>
                  <a:lnTo>
                    <a:pt x="4422" y="444"/>
                  </a:lnTo>
                  <a:lnTo>
                    <a:pt x="4281" y="440"/>
                  </a:lnTo>
                  <a:lnTo>
                    <a:pt x="4378" y="416"/>
                  </a:lnTo>
                  <a:lnTo>
                    <a:pt x="4529" y="400"/>
                  </a:lnTo>
                  <a:lnTo>
                    <a:pt x="4352" y="400"/>
                  </a:lnTo>
                  <a:lnTo>
                    <a:pt x="4352" y="378"/>
                  </a:lnTo>
                  <a:lnTo>
                    <a:pt x="4389" y="350"/>
                  </a:lnTo>
                  <a:lnTo>
                    <a:pt x="4503" y="307"/>
                  </a:lnTo>
                  <a:lnTo>
                    <a:pt x="4406" y="329"/>
                  </a:lnTo>
                  <a:lnTo>
                    <a:pt x="4356" y="362"/>
                  </a:lnTo>
                  <a:lnTo>
                    <a:pt x="4314" y="345"/>
                  </a:lnTo>
                  <a:lnTo>
                    <a:pt x="4340" y="362"/>
                  </a:lnTo>
                  <a:lnTo>
                    <a:pt x="4323" y="378"/>
                  </a:lnTo>
                  <a:lnTo>
                    <a:pt x="4335" y="383"/>
                  </a:lnTo>
                  <a:lnTo>
                    <a:pt x="4302" y="407"/>
                  </a:lnTo>
                  <a:lnTo>
                    <a:pt x="4210" y="435"/>
                  </a:lnTo>
                  <a:lnTo>
                    <a:pt x="4066" y="456"/>
                  </a:lnTo>
                  <a:lnTo>
                    <a:pt x="4054" y="444"/>
                  </a:lnTo>
                  <a:lnTo>
                    <a:pt x="4158" y="407"/>
                  </a:lnTo>
                  <a:lnTo>
                    <a:pt x="4044" y="435"/>
                  </a:lnTo>
                  <a:lnTo>
                    <a:pt x="4028" y="423"/>
                  </a:lnTo>
                  <a:lnTo>
                    <a:pt x="4054" y="407"/>
                  </a:lnTo>
                  <a:lnTo>
                    <a:pt x="4049" y="407"/>
                  </a:lnTo>
                  <a:lnTo>
                    <a:pt x="4011" y="416"/>
                  </a:lnTo>
                  <a:lnTo>
                    <a:pt x="4016" y="440"/>
                  </a:lnTo>
                  <a:lnTo>
                    <a:pt x="4011" y="456"/>
                  </a:lnTo>
                  <a:lnTo>
                    <a:pt x="3924" y="461"/>
                  </a:lnTo>
                  <a:lnTo>
                    <a:pt x="3865" y="456"/>
                  </a:lnTo>
                  <a:lnTo>
                    <a:pt x="3886" y="440"/>
                  </a:lnTo>
                  <a:lnTo>
                    <a:pt x="3848" y="456"/>
                  </a:lnTo>
                  <a:lnTo>
                    <a:pt x="3801" y="444"/>
                  </a:lnTo>
                  <a:lnTo>
                    <a:pt x="3886" y="383"/>
                  </a:lnTo>
                  <a:lnTo>
                    <a:pt x="4108" y="345"/>
                  </a:lnTo>
                  <a:lnTo>
                    <a:pt x="3881" y="367"/>
                  </a:lnTo>
                  <a:lnTo>
                    <a:pt x="3834" y="390"/>
                  </a:lnTo>
                  <a:lnTo>
                    <a:pt x="3773" y="440"/>
                  </a:lnTo>
                  <a:lnTo>
                    <a:pt x="3747" y="440"/>
                  </a:lnTo>
                  <a:lnTo>
                    <a:pt x="3617" y="390"/>
                  </a:lnTo>
                  <a:lnTo>
                    <a:pt x="3811" y="378"/>
                  </a:lnTo>
                  <a:lnTo>
                    <a:pt x="3945" y="329"/>
                  </a:lnTo>
                  <a:lnTo>
                    <a:pt x="3763" y="362"/>
                  </a:lnTo>
                  <a:lnTo>
                    <a:pt x="3584" y="378"/>
                  </a:lnTo>
                  <a:lnTo>
                    <a:pt x="3558" y="350"/>
                  </a:lnTo>
                  <a:lnTo>
                    <a:pt x="3579" y="333"/>
                  </a:lnTo>
                  <a:lnTo>
                    <a:pt x="3650" y="333"/>
                  </a:lnTo>
                  <a:lnTo>
                    <a:pt x="3579" y="324"/>
                  </a:lnTo>
                  <a:lnTo>
                    <a:pt x="3655" y="291"/>
                  </a:lnTo>
                  <a:lnTo>
                    <a:pt x="3773" y="296"/>
                  </a:lnTo>
                  <a:lnTo>
                    <a:pt x="3693" y="279"/>
                  </a:lnTo>
                  <a:lnTo>
                    <a:pt x="3546" y="312"/>
                  </a:lnTo>
                  <a:lnTo>
                    <a:pt x="3515" y="307"/>
                  </a:lnTo>
                  <a:lnTo>
                    <a:pt x="3612" y="272"/>
                  </a:lnTo>
                  <a:lnTo>
                    <a:pt x="3558" y="256"/>
                  </a:lnTo>
                  <a:lnTo>
                    <a:pt x="3478" y="291"/>
                  </a:lnTo>
                  <a:lnTo>
                    <a:pt x="3478" y="279"/>
                  </a:lnTo>
                  <a:lnTo>
                    <a:pt x="3440" y="267"/>
                  </a:lnTo>
                  <a:lnTo>
                    <a:pt x="3546" y="222"/>
                  </a:lnTo>
                  <a:lnTo>
                    <a:pt x="3600" y="218"/>
                  </a:lnTo>
                  <a:lnTo>
                    <a:pt x="3622" y="239"/>
                  </a:lnTo>
                  <a:lnTo>
                    <a:pt x="3633" y="222"/>
                  </a:lnTo>
                  <a:lnTo>
                    <a:pt x="3617" y="218"/>
                  </a:lnTo>
                  <a:lnTo>
                    <a:pt x="3650" y="218"/>
                  </a:lnTo>
                  <a:lnTo>
                    <a:pt x="3638" y="213"/>
                  </a:lnTo>
                  <a:lnTo>
                    <a:pt x="3709" y="185"/>
                  </a:lnTo>
                  <a:lnTo>
                    <a:pt x="3763" y="196"/>
                  </a:lnTo>
                  <a:lnTo>
                    <a:pt x="3773" y="201"/>
                  </a:lnTo>
                  <a:lnTo>
                    <a:pt x="3763" y="213"/>
                  </a:lnTo>
                  <a:lnTo>
                    <a:pt x="3801" y="222"/>
                  </a:lnTo>
                  <a:lnTo>
                    <a:pt x="3780" y="213"/>
                  </a:lnTo>
                  <a:lnTo>
                    <a:pt x="3796" y="196"/>
                  </a:lnTo>
                  <a:lnTo>
                    <a:pt x="3834" y="196"/>
                  </a:lnTo>
                  <a:lnTo>
                    <a:pt x="3893" y="234"/>
                  </a:lnTo>
                  <a:lnTo>
                    <a:pt x="3881" y="213"/>
                  </a:lnTo>
                  <a:lnTo>
                    <a:pt x="3919" y="213"/>
                  </a:lnTo>
                  <a:lnTo>
                    <a:pt x="3941" y="222"/>
                  </a:lnTo>
                  <a:lnTo>
                    <a:pt x="3924" y="213"/>
                  </a:lnTo>
                  <a:lnTo>
                    <a:pt x="3936" y="213"/>
                  </a:lnTo>
                  <a:lnTo>
                    <a:pt x="3957" y="222"/>
                  </a:lnTo>
                  <a:lnTo>
                    <a:pt x="3936" y="201"/>
                  </a:lnTo>
                  <a:lnTo>
                    <a:pt x="3811" y="185"/>
                  </a:lnTo>
                  <a:lnTo>
                    <a:pt x="3796" y="168"/>
                  </a:lnTo>
                  <a:lnTo>
                    <a:pt x="3903" y="156"/>
                  </a:lnTo>
                  <a:lnTo>
                    <a:pt x="3893" y="140"/>
                  </a:lnTo>
                  <a:lnTo>
                    <a:pt x="3865" y="128"/>
                  </a:lnTo>
                  <a:lnTo>
                    <a:pt x="3924" y="123"/>
                  </a:lnTo>
                  <a:lnTo>
                    <a:pt x="4033" y="144"/>
                  </a:lnTo>
                  <a:lnTo>
                    <a:pt x="4070" y="185"/>
                  </a:lnTo>
                  <a:lnTo>
                    <a:pt x="4054" y="196"/>
                  </a:lnTo>
                  <a:lnTo>
                    <a:pt x="4151" y="201"/>
                  </a:lnTo>
                  <a:lnTo>
                    <a:pt x="4096" y="185"/>
                  </a:lnTo>
                  <a:lnTo>
                    <a:pt x="4066" y="163"/>
                  </a:lnTo>
                  <a:lnTo>
                    <a:pt x="4096" y="156"/>
                  </a:lnTo>
                  <a:lnTo>
                    <a:pt x="4335" y="234"/>
                  </a:lnTo>
                  <a:lnTo>
                    <a:pt x="4285" y="201"/>
                  </a:lnTo>
                  <a:lnTo>
                    <a:pt x="4226" y="196"/>
                  </a:lnTo>
                  <a:lnTo>
                    <a:pt x="4210" y="185"/>
                  </a:lnTo>
                  <a:lnTo>
                    <a:pt x="4217" y="180"/>
                  </a:lnTo>
                  <a:lnTo>
                    <a:pt x="4151" y="163"/>
                  </a:lnTo>
                  <a:lnTo>
                    <a:pt x="4087" y="140"/>
                  </a:lnTo>
                  <a:lnTo>
                    <a:pt x="4104" y="111"/>
                  </a:lnTo>
                  <a:lnTo>
                    <a:pt x="4172" y="111"/>
                  </a:lnTo>
                  <a:lnTo>
                    <a:pt x="4108" y="95"/>
                  </a:lnTo>
                  <a:lnTo>
                    <a:pt x="4125" y="90"/>
                  </a:lnTo>
                  <a:lnTo>
                    <a:pt x="4233" y="107"/>
                  </a:lnTo>
                  <a:lnTo>
                    <a:pt x="4163" y="69"/>
                  </a:lnTo>
                  <a:lnTo>
                    <a:pt x="4172" y="57"/>
                  </a:lnTo>
                  <a:lnTo>
                    <a:pt x="4248" y="69"/>
                  </a:lnTo>
                  <a:lnTo>
                    <a:pt x="4285" y="90"/>
                  </a:lnTo>
                  <a:lnTo>
                    <a:pt x="4297" y="90"/>
                  </a:lnTo>
                  <a:lnTo>
                    <a:pt x="4281" y="85"/>
                  </a:lnTo>
                  <a:lnTo>
                    <a:pt x="4378" y="85"/>
                  </a:lnTo>
                  <a:lnTo>
                    <a:pt x="4285" y="74"/>
                  </a:lnTo>
                  <a:lnTo>
                    <a:pt x="4281" y="69"/>
                  </a:lnTo>
                  <a:lnTo>
                    <a:pt x="4302" y="57"/>
                  </a:lnTo>
                  <a:lnTo>
                    <a:pt x="4248" y="52"/>
                  </a:lnTo>
                  <a:lnTo>
                    <a:pt x="4285" y="36"/>
                  </a:lnTo>
                  <a:lnTo>
                    <a:pt x="4318" y="36"/>
                  </a:lnTo>
                  <a:lnTo>
                    <a:pt x="4340" y="52"/>
                  </a:lnTo>
                  <a:lnTo>
                    <a:pt x="4373" y="36"/>
                  </a:lnTo>
                  <a:lnTo>
                    <a:pt x="4378" y="41"/>
                  </a:lnTo>
                  <a:lnTo>
                    <a:pt x="4378" y="57"/>
                  </a:lnTo>
                  <a:lnTo>
                    <a:pt x="4411" y="57"/>
                  </a:lnTo>
                  <a:lnTo>
                    <a:pt x="4406" y="52"/>
                  </a:lnTo>
                  <a:lnTo>
                    <a:pt x="4432" y="41"/>
                  </a:lnTo>
                  <a:lnTo>
                    <a:pt x="4567" y="95"/>
                  </a:lnTo>
                  <a:lnTo>
                    <a:pt x="4541" y="128"/>
                  </a:lnTo>
                  <a:lnTo>
                    <a:pt x="4604" y="95"/>
                  </a:lnTo>
                  <a:lnTo>
                    <a:pt x="4536" y="74"/>
                  </a:lnTo>
                  <a:lnTo>
                    <a:pt x="4557" y="69"/>
                  </a:lnTo>
                  <a:lnTo>
                    <a:pt x="4460" y="29"/>
                  </a:lnTo>
                  <a:lnTo>
                    <a:pt x="4474" y="17"/>
                  </a:lnTo>
                  <a:lnTo>
                    <a:pt x="4663" y="17"/>
                  </a:lnTo>
                  <a:lnTo>
                    <a:pt x="4713" y="52"/>
                  </a:lnTo>
                  <a:lnTo>
                    <a:pt x="4798" y="85"/>
                  </a:lnTo>
                  <a:lnTo>
                    <a:pt x="4805" y="74"/>
                  </a:lnTo>
                  <a:lnTo>
                    <a:pt x="4718" y="41"/>
                  </a:lnTo>
                  <a:lnTo>
                    <a:pt x="4798" y="12"/>
                  </a:lnTo>
                  <a:lnTo>
                    <a:pt x="4859" y="12"/>
                  </a:lnTo>
                  <a:lnTo>
                    <a:pt x="4864" y="12"/>
                  </a:lnTo>
                  <a:lnTo>
                    <a:pt x="4852" y="29"/>
                  </a:lnTo>
                  <a:lnTo>
                    <a:pt x="4918" y="52"/>
                  </a:lnTo>
                  <a:lnTo>
                    <a:pt x="4874" y="29"/>
                  </a:lnTo>
                  <a:lnTo>
                    <a:pt x="4961" y="0"/>
                  </a:lnTo>
                  <a:lnTo>
                    <a:pt x="5020" y="17"/>
                  </a:lnTo>
                  <a:lnTo>
                    <a:pt x="5015" y="29"/>
                  </a:lnTo>
                  <a:lnTo>
                    <a:pt x="5053" y="17"/>
                  </a:lnTo>
                  <a:lnTo>
                    <a:pt x="5107" y="29"/>
                  </a:lnTo>
                  <a:lnTo>
                    <a:pt x="5107" y="41"/>
                  </a:lnTo>
                  <a:lnTo>
                    <a:pt x="5237" y="41"/>
                  </a:lnTo>
                  <a:lnTo>
                    <a:pt x="5074" y="95"/>
                  </a:lnTo>
                  <a:lnTo>
                    <a:pt x="5162" y="90"/>
                  </a:lnTo>
                  <a:lnTo>
                    <a:pt x="5275" y="57"/>
                  </a:lnTo>
                  <a:lnTo>
                    <a:pt x="5322" y="69"/>
                  </a:lnTo>
                  <a:lnTo>
                    <a:pt x="5306" y="69"/>
                  </a:lnTo>
                  <a:lnTo>
                    <a:pt x="5322" y="57"/>
                  </a:lnTo>
                  <a:lnTo>
                    <a:pt x="5306" y="52"/>
                  </a:lnTo>
                  <a:lnTo>
                    <a:pt x="5355" y="41"/>
                  </a:lnTo>
                  <a:lnTo>
                    <a:pt x="5339" y="52"/>
                  </a:lnTo>
                  <a:lnTo>
                    <a:pt x="5365" y="69"/>
                  </a:lnTo>
                  <a:lnTo>
                    <a:pt x="5436" y="57"/>
                  </a:lnTo>
                  <a:lnTo>
                    <a:pt x="5448" y="69"/>
                  </a:lnTo>
                  <a:lnTo>
                    <a:pt x="5415" y="85"/>
                  </a:lnTo>
                  <a:lnTo>
                    <a:pt x="5474" y="107"/>
                  </a:lnTo>
                  <a:lnTo>
                    <a:pt x="5462" y="123"/>
                  </a:lnTo>
                  <a:lnTo>
                    <a:pt x="5448" y="128"/>
                  </a:lnTo>
                  <a:lnTo>
                    <a:pt x="5528" y="111"/>
                  </a:lnTo>
                  <a:lnTo>
                    <a:pt x="5516" y="123"/>
                  </a:lnTo>
                  <a:lnTo>
                    <a:pt x="5575" y="123"/>
                  </a:lnTo>
                  <a:lnTo>
                    <a:pt x="5608" y="144"/>
                  </a:lnTo>
                  <a:lnTo>
                    <a:pt x="5599" y="163"/>
                  </a:lnTo>
                  <a:lnTo>
                    <a:pt x="5523" y="201"/>
                  </a:lnTo>
                  <a:lnTo>
                    <a:pt x="5415" y="239"/>
                  </a:lnTo>
                  <a:lnTo>
                    <a:pt x="5377" y="234"/>
                  </a:lnTo>
                  <a:lnTo>
                    <a:pt x="5393" y="251"/>
                  </a:lnTo>
                  <a:lnTo>
                    <a:pt x="5377" y="251"/>
                  </a:lnTo>
                  <a:lnTo>
                    <a:pt x="5313" y="251"/>
                  </a:lnTo>
                  <a:lnTo>
                    <a:pt x="5259" y="256"/>
                  </a:lnTo>
                  <a:lnTo>
                    <a:pt x="5306" y="256"/>
                  </a:lnTo>
                  <a:lnTo>
                    <a:pt x="5275" y="272"/>
                  </a:lnTo>
                  <a:lnTo>
                    <a:pt x="5107" y="279"/>
                  </a:lnTo>
                  <a:lnTo>
                    <a:pt x="5025" y="256"/>
                  </a:lnTo>
                  <a:lnTo>
                    <a:pt x="5096" y="279"/>
                  </a:lnTo>
                  <a:lnTo>
                    <a:pt x="5058" y="279"/>
                  </a:lnTo>
                  <a:lnTo>
                    <a:pt x="5079" y="291"/>
                  </a:lnTo>
                  <a:lnTo>
                    <a:pt x="5214" y="291"/>
                  </a:lnTo>
                  <a:lnTo>
                    <a:pt x="4966" y="345"/>
                  </a:lnTo>
                  <a:lnTo>
                    <a:pt x="5004" y="345"/>
                  </a:lnTo>
                  <a:lnTo>
                    <a:pt x="4973" y="362"/>
                  </a:lnTo>
                  <a:lnTo>
                    <a:pt x="4982" y="362"/>
                  </a:lnTo>
                  <a:lnTo>
                    <a:pt x="5285" y="291"/>
                  </a:lnTo>
                  <a:lnTo>
                    <a:pt x="5360" y="279"/>
                  </a:lnTo>
                  <a:lnTo>
                    <a:pt x="5365" y="296"/>
                  </a:lnTo>
                  <a:lnTo>
                    <a:pt x="5176" y="383"/>
                  </a:lnTo>
                  <a:lnTo>
                    <a:pt x="5145" y="390"/>
                  </a:lnTo>
                  <a:lnTo>
                    <a:pt x="5150" y="390"/>
                  </a:lnTo>
                  <a:lnTo>
                    <a:pt x="5053" y="444"/>
                  </a:lnTo>
                  <a:lnTo>
                    <a:pt x="5020" y="478"/>
                  </a:lnTo>
                  <a:lnTo>
                    <a:pt x="4961" y="489"/>
                  </a:lnTo>
                  <a:lnTo>
                    <a:pt x="4966" y="473"/>
                  </a:lnTo>
                  <a:lnTo>
                    <a:pt x="4961" y="473"/>
                  </a:lnTo>
                  <a:lnTo>
                    <a:pt x="4918" y="444"/>
                  </a:lnTo>
                  <a:lnTo>
                    <a:pt x="4944" y="473"/>
                  </a:lnTo>
                  <a:lnTo>
                    <a:pt x="4949" y="489"/>
                  </a:lnTo>
                  <a:lnTo>
                    <a:pt x="4982" y="501"/>
                  </a:lnTo>
                  <a:lnTo>
                    <a:pt x="4966" y="511"/>
                  </a:lnTo>
                  <a:lnTo>
                    <a:pt x="4859" y="527"/>
                  </a:lnTo>
                  <a:lnTo>
                    <a:pt x="4810" y="511"/>
                  </a:lnTo>
                  <a:lnTo>
                    <a:pt x="4843" y="527"/>
                  </a:lnTo>
                  <a:lnTo>
                    <a:pt x="4810" y="527"/>
                  </a:lnTo>
                  <a:lnTo>
                    <a:pt x="4810" y="534"/>
                  </a:lnTo>
                  <a:lnTo>
                    <a:pt x="4944" y="527"/>
                  </a:lnTo>
                  <a:lnTo>
                    <a:pt x="4874" y="556"/>
                  </a:lnTo>
                  <a:lnTo>
                    <a:pt x="4911" y="567"/>
                  </a:lnTo>
                  <a:lnTo>
                    <a:pt x="4897" y="584"/>
                  </a:lnTo>
                  <a:lnTo>
                    <a:pt x="4822" y="600"/>
                  </a:lnTo>
                  <a:lnTo>
                    <a:pt x="4772" y="589"/>
                  </a:lnTo>
                  <a:lnTo>
                    <a:pt x="4767" y="572"/>
                  </a:lnTo>
                  <a:lnTo>
                    <a:pt x="4772" y="572"/>
                  </a:lnTo>
                  <a:lnTo>
                    <a:pt x="4680" y="567"/>
                  </a:lnTo>
                  <a:lnTo>
                    <a:pt x="4642" y="567"/>
                  </a:lnTo>
                  <a:lnTo>
                    <a:pt x="4746" y="584"/>
                  </a:lnTo>
                  <a:lnTo>
                    <a:pt x="4755" y="612"/>
                  </a:lnTo>
                  <a:lnTo>
                    <a:pt x="4718" y="629"/>
                  </a:lnTo>
                  <a:lnTo>
                    <a:pt x="4696" y="612"/>
                  </a:lnTo>
                  <a:lnTo>
                    <a:pt x="4701" y="629"/>
                  </a:lnTo>
                  <a:lnTo>
                    <a:pt x="4692" y="638"/>
                  </a:lnTo>
                  <a:lnTo>
                    <a:pt x="4637" y="622"/>
                  </a:lnTo>
                  <a:lnTo>
                    <a:pt x="4626" y="629"/>
                  </a:lnTo>
                  <a:lnTo>
                    <a:pt x="4637" y="638"/>
                  </a:lnTo>
                  <a:lnTo>
                    <a:pt x="4626" y="645"/>
                  </a:lnTo>
                  <a:lnTo>
                    <a:pt x="4481" y="612"/>
                  </a:lnTo>
                  <a:lnTo>
                    <a:pt x="4474" y="622"/>
                  </a:lnTo>
                  <a:lnTo>
                    <a:pt x="4541" y="629"/>
                  </a:lnTo>
                  <a:lnTo>
                    <a:pt x="4550" y="645"/>
                  </a:lnTo>
                  <a:lnTo>
                    <a:pt x="4567" y="645"/>
                  </a:lnTo>
                  <a:lnTo>
                    <a:pt x="4498" y="645"/>
                  </a:lnTo>
                  <a:lnTo>
                    <a:pt x="4465" y="629"/>
                  </a:lnTo>
                  <a:lnTo>
                    <a:pt x="4481" y="655"/>
                  </a:lnTo>
                  <a:lnTo>
                    <a:pt x="4411" y="645"/>
                  </a:lnTo>
                  <a:lnTo>
                    <a:pt x="4465" y="662"/>
                  </a:lnTo>
                  <a:lnTo>
                    <a:pt x="4460" y="667"/>
                  </a:lnTo>
                  <a:lnTo>
                    <a:pt x="4663" y="667"/>
                  </a:lnTo>
                  <a:lnTo>
                    <a:pt x="4642" y="678"/>
                  </a:lnTo>
                  <a:lnTo>
                    <a:pt x="4663" y="695"/>
                  </a:lnTo>
                  <a:lnTo>
                    <a:pt x="4583" y="695"/>
                  </a:lnTo>
                  <a:lnTo>
                    <a:pt x="4550" y="678"/>
                  </a:lnTo>
                  <a:lnTo>
                    <a:pt x="4432" y="667"/>
                  </a:lnTo>
                  <a:lnTo>
                    <a:pt x="4406" y="678"/>
                  </a:lnTo>
                  <a:lnTo>
                    <a:pt x="4550" y="695"/>
                  </a:lnTo>
                  <a:lnTo>
                    <a:pt x="4448" y="700"/>
                  </a:lnTo>
                  <a:lnTo>
                    <a:pt x="4356" y="695"/>
                  </a:lnTo>
                  <a:lnTo>
                    <a:pt x="4444" y="700"/>
                  </a:lnTo>
                  <a:lnTo>
                    <a:pt x="4406" y="740"/>
                  </a:lnTo>
                  <a:lnTo>
                    <a:pt x="4432" y="711"/>
                  </a:lnTo>
                  <a:lnTo>
                    <a:pt x="4512" y="700"/>
                  </a:lnTo>
                  <a:lnTo>
                    <a:pt x="4583" y="711"/>
                  </a:lnTo>
                  <a:lnTo>
                    <a:pt x="4529" y="733"/>
                  </a:lnTo>
                  <a:lnTo>
                    <a:pt x="4604" y="723"/>
                  </a:lnTo>
                  <a:lnTo>
                    <a:pt x="4642" y="733"/>
                  </a:lnTo>
                  <a:lnTo>
                    <a:pt x="4649" y="749"/>
                  </a:lnTo>
                  <a:lnTo>
                    <a:pt x="4637" y="756"/>
                  </a:lnTo>
                  <a:lnTo>
                    <a:pt x="4642" y="773"/>
                  </a:lnTo>
                  <a:lnTo>
                    <a:pt x="4626" y="778"/>
                  </a:lnTo>
                  <a:lnTo>
                    <a:pt x="4512" y="778"/>
                  </a:lnTo>
                  <a:lnTo>
                    <a:pt x="4595" y="794"/>
                  </a:lnTo>
                  <a:lnTo>
                    <a:pt x="4626" y="811"/>
                  </a:lnTo>
                  <a:lnTo>
                    <a:pt x="4588" y="834"/>
                  </a:lnTo>
                  <a:lnTo>
                    <a:pt x="4498" y="834"/>
                  </a:lnTo>
                  <a:lnTo>
                    <a:pt x="4588" y="844"/>
                  </a:lnTo>
                  <a:lnTo>
                    <a:pt x="4567" y="867"/>
                  </a:lnTo>
                  <a:lnTo>
                    <a:pt x="4541" y="860"/>
                  </a:lnTo>
                  <a:lnTo>
                    <a:pt x="4498" y="877"/>
                  </a:lnTo>
                  <a:lnTo>
                    <a:pt x="4406" y="867"/>
                  </a:lnTo>
                  <a:lnTo>
                    <a:pt x="4389" y="877"/>
                  </a:lnTo>
                  <a:lnTo>
                    <a:pt x="4422" y="889"/>
                  </a:lnTo>
                  <a:lnTo>
                    <a:pt x="4422" y="905"/>
                  </a:lnTo>
                  <a:lnTo>
                    <a:pt x="4432" y="922"/>
                  </a:lnTo>
                  <a:lnTo>
                    <a:pt x="4406" y="962"/>
                  </a:lnTo>
                  <a:lnTo>
                    <a:pt x="4335" y="971"/>
                  </a:lnTo>
                  <a:lnTo>
                    <a:pt x="4248" y="971"/>
                  </a:lnTo>
                  <a:lnTo>
                    <a:pt x="4189" y="955"/>
                  </a:lnTo>
                  <a:lnTo>
                    <a:pt x="4141" y="917"/>
                  </a:lnTo>
                  <a:lnTo>
                    <a:pt x="4141" y="922"/>
                  </a:lnTo>
                  <a:lnTo>
                    <a:pt x="4163" y="938"/>
                  </a:lnTo>
                  <a:lnTo>
                    <a:pt x="4158" y="955"/>
                  </a:lnTo>
                  <a:lnTo>
                    <a:pt x="4196" y="971"/>
                  </a:lnTo>
                  <a:lnTo>
                    <a:pt x="4125" y="971"/>
                  </a:lnTo>
                  <a:lnTo>
                    <a:pt x="4151" y="995"/>
                  </a:lnTo>
                  <a:lnTo>
                    <a:pt x="4196" y="978"/>
                  </a:lnTo>
                  <a:lnTo>
                    <a:pt x="4271" y="988"/>
                  </a:lnTo>
                  <a:lnTo>
                    <a:pt x="4248" y="1000"/>
                  </a:lnTo>
                  <a:lnTo>
                    <a:pt x="4297" y="978"/>
                  </a:lnTo>
                  <a:lnTo>
                    <a:pt x="4335" y="988"/>
                  </a:lnTo>
                  <a:lnTo>
                    <a:pt x="4352" y="1000"/>
                  </a:lnTo>
                  <a:lnTo>
                    <a:pt x="4318" y="1028"/>
                  </a:lnTo>
                  <a:lnTo>
                    <a:pt x="4356" y="1028"/>
                  </a:lnTo>
                  <a:lnTo>
                    <a:pt x="4356" y="1044"/>
                  </a:lnTo>
                  <a:lnTo>
                    <a:pt x="4368" y="1044"/>
                  </a:lnTo>
                  <a:lnTo>
                    <a:pt x="4394" y="1016"/>
                  </a:lnTo>
                  <a:lnTo>
                    <a:pt x="4427" y="1028"/>
                  </a:lnTo>
                  <a:lnTo>
                    <a:pt x="4432" y="1066"/>
                  </a:lnTo>
                  <a:lnTo>
                    <a:pt x="4389" y="1099"/>
                  </a:lnTo>
                  <a:lnTo>
                    <a:pt x="4389" y="1099"/>
                  </a:lnTo>
                  <a:lnTo>
                    <a:pt x="4389" y="1099"/>
                  </a:lnTo>
                  <a:close/>
                  <a:moveTo>
                    <a:pt x="3456" y="279"/>
                  </a:moveTo>
                  <a:lnTo>
                    <a:pt x="3440" y="272"/>
                  </a:lnTo>
                  <a:lnTo>
                    <a:pt x="3461" y="279"/>
                  </a:lnTo>
                  <a:lnTo>
                    <a:pt x="3456" y="279"/>
                  </a:lnTo>
                  <a:lnTo>
                    <a:pt x="3456" y="279"/>
                  </a:lnTo>
                  <a:lnTo>
                    <a:pt x="3456" y="279"/>
                  </a:lnTo>
                  <a:close/>
                  <a:moveTo>
                    <a:pt x="3655" y="844"/>
                  </a:moveTo>
                  <a:lnTo>
                    <a:pt x="3633" y="827"/>
                  </a:lnTo>
                  <a:lnTo>
                    <a:pt x="3579" y="766"/>
                  </a:lnTo>
                  <a:lnTo>
                    <a:pt x="3570" y="778"/>
                  </a:lnTo>
                  <a:lnTo>
                    <a:pt x="3579" y="794"/>
                  </a:lnTo>
                  <a:lnTo>
                    <a:pt x="3596" y="806"/>
                  </a:lnTo>
                  <a:lnTo>
                    <a:pt x="3617" y="834"/>
                  </a:lnTo>
                  <a:lnTo>
                    <a:pt x="3563" y="811"/>
                  </a:lnTo>
                  <a:lnTo>
                    <a:pt x="3525" y="811"/>
                  </a:lnTo>
                  <a:lnTo>
                    <a:pt x="3558" y="834"/>
                  </a:lnTo>
                  <a:lnTo>
                    <a:pt x="3546" y="844"/>
                  </a:lnTo>
                  <a:lnTo>
                    <a:pt x="3433" y="827"/>
                  </a:lnTo>
                  <a:lnTo>
                    <a:pt x="3402" y="811"/>
                  </a:lnTo>
                  <a:lnTo>
                    <a:pt x="3369" y="789"/>
                  </a:lnTo>
                  <a:lnTo>
                    <a:pt x="3461" y="778"/>
                  </a:lnTo>
                  <a:lnTo>
                    <a:pt x="3381" y="766"/>
                  </a:lnTo>
                  <a:lnTo>
                    <a:pt x="3348" y="773"/>
                  </a:lnTo>
                  <a:lnTo>
                    <a:pt x="3310" y="740"/>
                  </a:lnTo>
                  <a:lnTo>
                    <a:pt x="3364" y="740"/>
                  </a:lnTo>
                  <a:lnTo>
                    <a:pt x="3310" y="733"/>
                  </a:lnTo>
                  <a:lnTo>
                    <a:pt x="3277" y="711"/>
                  </a:lnTo>
                  <a:lnTo>
                    <a:pt x="3348" y="678"/>
                  </a:lnTo>
                  <a:lnTo>
                    <a:pt x="3546" y="667"/>
                  </a:lnTo>
                  <a:lnTo>
                    <a:pt x="3418" y="667"/>
                  </a:lnTo>
                  <a:lnTo>
                    <a:pt x="3385" y="662"/>
                  </a:lnTo>
                  <a:lnTo>
                    <a:pt x="3504" y="645"/>
                  </a:lnTo>
                  <a:lnTo>
                    <a:pt x="3423" y="655"/>
                  </a:lnTo>
                  <a:lnTo>
                    <a:pt x="3395" y="645"/>
                  </a:lnTo>
                  <a:lnTo>
                    <a:pt x="3418" y="638"/>
                  </a:lnTo>
                  <a:lnTo>
                    <a:pt x="3381" y="638"/>
                  </a:lnTo>
                  <a:lnTo>
                    <a:pt x="3364" y="629"/>
                  </a:lnTo>
                  <a:lnTo>
                    <a:pt x="3352" y="629"/>
                  </a:lnTo>
                  <a:lnTo>
                    <a:pt x="3364" y="645"/>
                  </a:lnTo>
                  <a:lnTo>
                    <a:pt x="3348" y="645"/>
                  </a:lnTo>
                  <a:lnTo>
                    <a:pt x="3348" y="638"/>
                  </a:lnTo>
                  <a:lnTo>
                    <a:pt x="3343" y="638"/>
                  </a:lnTo>
                  <a:lnTo>
                    <a:pt x="3310" y="662"/>
                  </a:lnTo>
                  <a:lnTo>
                    <a:pt x="3289" y="662"/>
                  </a:lnTo>
                  <a:lnTo>
                    <a:pt x="3293" y="645"/>
                  </a:lnTo>
                  <a:lnTo>
                    <a:pt x="3272" y="638"/>
                  </a:lnTo>
                  <a:lnTo>
                    <a:pt x="3260" y="638"/>
                  </a:lnTo>
                  <a:lnTo>
                    <a:pt x="3272" y="645"/>
                  </a:lnTo>
                  <a:lnTo>
                    <a:pt x="3260" y="655"/>
                  </a:lnTo>
                  <a:lnTo>
                    <a:pt x="3222" y="662"/>
                  </a:lnTo>
                  <a:lnTo>
                    <a:pt x="3208" y="645"/>
                  </a:lnTo>
                  <a:lnTo>
                    <a:pt x="3170" y="638"/>
                  </a:lnTo>
                  <a:lnTo>
                    <a:pt x="3180" y="622"/>
                  </a:lnTo>
                  <a:lnTo>
                    <a:pt x="3244" y="605"/>
                  </a:lnTo>
                  <a:lnTo>
                    <a:pt x="3277" y="584"/>
                  </a:lnTo>
                  <a:lnTo>
                    <a:pt x="3170" y="600"/>
                  </a:lnTo>
                  <a:lnTo>
                    <a:pt x="3116" y="567"/>
                  </a:lnTo>
                  <a:lnTo>
                    <a:pt x="3147" y="556"/>
                  </a:lnTo>
                  <a:lnTo>
                    <a:pt x="3109" y="544"/>
                  </a:lnTo>
                  <a:lnTo>
                    <a:pt x="3133" y="534"/>
                  </a:lnTo>
                  <a:lnTo>
                    <a:pt x="3100" y="527"/>
                  </a:lnTo>
                  <a:lnTo>
                    <a:pt x="3133" y="518"/>
                  </a:lnTo>
                  <a:lnTo>
                    <a:pt x="3272" y="551"/>
                  </a:lnTo>
                  <a:lnTo>
                    <a:pt x="3244" y="527"/>
                  </a:lnTo>
                  <a:lnTo>
                    <a:pt x="3293" y="518"/>
                  </a:lnTo>
                  <a:lnTo>
                    <a:pt x="3201" y="527"/>
                  </a:lnTo>
                  <a:lnTo>
                    <a:pt x="3180" y="518"/>
                  </a:lnTo>
                  <a:lnTo>
                    <a:pt x="3208" y="501"/>
                  </a:lnTo>
                  <a:lnTo>
                    <a:pt x="3163" y="511"/>
                  </a:lnTo>
                  <a:lnTo>
                    <a:pt x="3109" y="489"/>
                  </a:lnTo>
                  <a:lnTo>
                    <a:pt x="3192" y="489"/>
                  </a:lnTo>
                  <a:lnTo>
                    <a:pt x="3170" y="473"/>
                  </a:lnTo>
                  <a:lnTo>
                    <a:pt x="3154" y="444"/>
                  </a:lnTo>
                  <a:lnTo>
                    <a:pt x="3310" y="456"/>
                  </a:lnTo>
                  <a:lnTo>
                    <a:pt x="3244" y="435"/>
                  </a:lnTo>
                  <a:lnTo>
                    <a:pt x="3289" y="423"/>
                  </a:lnTo>
                  <a:lnTo>
                    <a:pt x="3185" y="407"/>
                  </a:lnTo>
                  <a:lnTo>
                    <a:pt x="3218" y="400"/>
                  </a:lnTo>
                  <a:lnTo>
                    <a:pt x="3192" y="390"/>
                  </a:lnTo>
                  <a:lnTo>
                    <a:pt x="3218" y="378"/>
                  </a:lnTo>
                  <a:lnTo>
                    <a:pt x="3244" y="367"/>
                  </a:lnTo>
                  <a:lnTo>
                    <a:pt x="3272" y="383"/>
                  </a:lnTo>
                  <a:lnTo>
                    <a:pt x="3298" y="367"/>
                  </a:lnTo>
                  <a:lnTo>
                    <a:pt x="3277" y="362"/>
                  </a:lnTo>
                  <a:lnTo>
                    <a:pt x="3348" y="362"/>
                  </a:lnTo>
                  <a:lnTo>
                    <a:pt x="3364" y="350"/>
                  </a:lnTo>
                  <a:lnTo>
                    <a:pt x="3272" y="329"/>
                  </a:lnTo>
                  <a:lnTo>
                    <a:pt x="3289" y="312"/>
                  </a:lnTo>
                  <a:lnTo>
                    <a:pt x="3331" y="324"/>
                  </a:lnTo>
                  <a:lnTo>
                    <a:pt x="3331" y="312"/>
                  </a:lnTo>
                  <a:lnTo>
                    <a:pt x="3449" y="345"/>
                  </a:lnTo>
                  <a:lnTo>
                    <a:pt x="3456" y="362"/>
                  </a:lnTo>
                  <a:lnTo>
                    <a:pt x="3440" y="367"/>
                  </a:lnTo>
                  <a:lnTo>
                    <a:pt x="3470" y="378"/>
                  </a:lnTo>
                  <a:lnTo>
                    <a:pt x="3504" y="416"/>
                  </a:lnTo>
                  <a:lnTo>
                    <a:pt x="3532" y="440"/>
                  </a:lnTo>
                  <a:lnTo>
                    <a:pt x="3525" y="444"/>
                  </a:lnTo>
                  <a:lnTo>
                    <a:pt x="3596" y="473"/>
                  </a:lnTo>
                  <a:lnTo>
                    <a:pt x="3596" y="456"/>
                  </a:lnTo>
                  <a:lnTo>
                    <a:pt x="3633" y="456"/>
                  </a:lnTo>
                  <a:lnTo>
                    <a:pt x="3638" y="473"/>
                  </a:lnTo>
                  <a:lnTo>
                    <a:pt x="3633" y="478"/>
                  </a:lnTo>
                  <a:lnTo>
                    <a:pt x="3638" y="478"/>
                  </a:lnTo>
                  <a:lnTo>
                    <a:pt x="3633" y="494"/>
                  </a:lnTo>
                  <a:lnTo>
                    <a:pt x="3667" y="527"/>
                  </a:lnTo>
                  <a:lnTo>
                    <a:pt x="3709" y="527"/>
                  </a:lnTo>
                  <a:lnTo>
                    <a:pt x="3704" y="511"/>
                  </a:lnTo>
                  <a:lnTo>
                    <a:pt x="3671" y="501"/>
                  </a:lnTo>
                  <a:lnTo>
                    <a:pt x="3671" y="478"/>
                  </a:lnTo>
                  <a:lnTo>
                    <a:pt x="3742" y="478"/>
                  </a:lnTo>
                  <a:lnTo>
                    <a:pt x="3747" y="511"/>
                  </a:lnTo>
                  <a:lnTo>
                    <a:pt x="3709" y="527"/>
                  </a:lnTo>
                  <a:lnTo>
                    <a:pt x="3773" y="534"/>
                  </a:lnTo>
                  <a:lnTo>
                    <a:pt x="3785" y="551"/>
                  </a:lnTo>
                  <a:lnTo>
                    <a:pt x="3759" y="572"/>
                  </a:lnTo>
                  <a:lnTo>
                    <a:pt x="3785" y="556"/>
                  </a:lnTo>
                  <a:lnTo>
                    <a:pt x="3780" y="605"/>
                  </a:lnTo>
                  <a:lnTo>
                    <a:pt x="3759" y="622"/>
                  </a:lnTo>
                  <a:lnTo>
                    <a:pt x="3785" y="605"/>
                  </a:lnTo>
                  <a:lnTo>
                    <a:pt x="3801" y="622"/>
                  </a:lnTo>
                  <a:lnTo>
                    <a:pt x="3811" y="612"/>
                  </a:lnTo>
                  <a:lnTo>
                    <a:pt x="3801" y="605"/>
                  </a:lnTo>
                  <a:lnTo>
                    <a:pt x="3834" y="605"/>
                  </a:lnTo>
                  <a:lnTo>
                    <a:pt x="3855" y="612"/>
                  </a:lnTo>
                  <a:lnTo>
                    <a:pt x="3855" y="629"/>
                  </a:lnTo>
                  <a:lnTo>
                    <a:pt x="3848" y="629"/>
                  </a:lnTo>
                  <a:lnTo>
                    <a:pt x="3855" y="638"/>
                  </a:lnTo>
                  <a:lnTo>
                    <a:pt x="3872" y="605"/>
                  </a:lnTo>
                  <a:lnTo>
                    <a:pt x="3881" y="605"/>
                  </a:lnTo>
                  <a:lnTo>
                    <a:pt x="3936" y="662"/>
                  </a:lnTo>
                  <a:lnTo>
                    <a:pt x="3827" y="695"/>
                  </a:lnTo>
                  <a:lnTo>
                    <a:pt x="3811" y="711"/>
                  </a:lnTo>
                  <a:lnTo>
                    <a:pt x="3785" y="695"/>
                  </a:lnTo>
                  <a:lnTo>
                    <a:pt x="3785" y="716"/>
                  </a:lnTo>
                  <a:lnTo>
                    <a:pt x="3747" y="766"/>
                  </a:lnTo>
                  <a:lnTo>
                    <a:pt x="3721" y="733"/>
                  </a:lnTo>
                  <a:lnTo>
                    <a:pt x="3721" y="711"/>
                  </a:lnTo>
                  <a:lnTo>
                    <a:pt x="3742" y="695"/>
                  </a:lnTo>
                  <a:lnTo>
                    <a:pt x="3709" y="711"/>
                  </a:lnTo>
                  <a:lnTo>
                    <a:pt x="3704" y="740"/>
                  </a:lnTo>
                  <a:lnTo>
                    <a:pt x="3726" y="778"/>
                  </a:lnTo>
                  <a:lnTo>
                    <a:pt x="3704" y="794"/>
                  </a:lnTo>
                  <a:lnTo>
                    <a:pt x="3676" y="773"/>
                  </a:lnTo>
                  <a:lnTo>
                    <a:pt x="3667" y="766"/>
                  </a:lnTo>
                  <a:lnTo>
                    <a:pt x="3676" y="794"/>
                  </a:lnTo>
                  <a:lnTo>
                    <a:pt x="3655" y="844"/>
                  </a:lnTo>
                  <a:lnTo>
                    <a:pt x="3655" y="844"/>
                  </a:lnTo>
                  <a:lnTo>
                    <a:pt x="3655" y="844"/>
                  </a:lnTo>
                  <a:close/>
                  <a:moveTo>
                    <a:pt x="3222" y="435"/>
                  </a:moveTo>
                  <a:lnTo>
                    <a:pt x="3234" y="440"/>
                  </a:lnTo>
                  <a:lnTo>
                    <a:pt x="3147" y="435"/>
                  </a:lnTo>
                  <a:lnTo>
                    <a:pt x="3222" y="435"/>
                  </a:lnTo>
                  <a:lnTo>
                    <a:pt x="3222" y="435"/>
                  </a:lnTo>
                  <a:lnTo>
                    <a:pt x="3222" y="435"/>
                  </a:lnTo>
                  <a:close/>
                  <a:moveTo>
                    <a:pt x="2965" y="600"/>
                  </a:moveTo>
                  <a:lnTo>
                    <a:pt x="2920" y="584"/>
                  </a:lnTo>
                  <a:lnTo>
                    <a:pt x="2920" y="567"/>
                  </a:lnTo>
                  <a:lnTo>
                    <a:pt x="2868" y="567"/>
                  </a:lnTo>
                  <a:lnTo>
                    <a:pt x="2861" y="534"/>
                  </a:lnTo>
                  <a:lnTo>
                    <a:pt x="2894" y="518"/>
                  </a:lnTo>
                  <a:lnTo>
                    <a:pt x="2953" y="534"/>
                  </a:lnTo>
                  <a:lnTo>
                    <a:pt x="2970" y="551"/>
                  </a:lnTo>
                  <a:lnTo>
                    <a:pt x="2970" y="572"/>
                  </a:lnTo>
                  <a:lnTo>
                    <a:pt x="2965" y="600"/>
                  </a:lnTo>
                  <a:lnTo>
                    <a:pt x="2965" y="600"/>
                  </a:lnTo>
                  <a:lnTo>
                    <a:pt x="2965" y="600"/>
                  </a:lnTo>
                  <a:close/>
                  <a:moveTo>
                    <a:pt x="2608" y="749"/>
                  </a:moveTo>
                  <a:lnTo>
                    <a:pt x="2613" y="740"/>
                  </a:lnTo>
                  <a:lnTo>
                    <a:pt x="2587" y="740"/>
                  </a:lnTo>
                  <a:lnTo>
                    <a:pt x="2608" y="723"/>
                  </a:lnTo>
                  <a:lnTo>
                    <a:pt x="2587" y="711"/>
                  </a:lnTo>
                  <a:lnTo>
                    <a:pt x="2521" y="740"/>
                  </a:lnTo>
                  <a:lnTo>
                    <a:pt x="2542" y="700"/>
                  </a:lnTo>
                  <a:lnTo>
                    <a:pt x="2483" y="700"/>
                  </a:lnTo>
                  <a:lnTo>
                    <a:pt x="2483" y="678"/>
                  </a:lnTo>
                  <a:lnTo>
                    <a:pt x="2490" y="655"/>
                  </a:lnTo>
                  <a:lnTo>
                    <a:pt x="2596" y="645"/>
                  </a:lnTo>
                  <a:lnTo>
                    <a:pt x="2663" y="662"/>
                  </a:lnTo>
                  <a:lnTo>
                    <a:pt x="2693" y="695"/>
                  </a:lnTo>
                  <a:lnTo>
                    <a:pt x="2684" y="716"/>
                  </a:lnTo>
                  <a:lnTo>
                    <a:pt x="2700" y="723"/>
                  </a:lnTo>
                  <a:lnTo>
                    <a:pt x="2705" y="700"/>
                  </a:lnTo>
                  <a:lnTo>
                    <a:pt x="2759" y="695"/>
                  </a:lnTo>
                  <a:lnTo>
                    <a:pt x="2807" y="716"/>
                  </a:lnTo>
                  <a:lnTo>
                    <a:pt x="2793" y="740"/>
                  </a:lnTo>
                  <a:lnTo>
                    <a:pt x="2856" y="733"/>
                  </a:lnTo>
                  <a:lnTo>
                    <a:pt x="2882" y="756"/>
                  </a:lnTo>
                  <a:lnTo>
                    <a:pt x="2878" y="766"/>
                  </a:lnTo>
                  <a:lnTo>
                    <a:pt x="2911" y="773"/>
                  </a:lnTo>
                  <a:lnTo>
                    <a:pt x="2882" y="794"/>
                  </a:lnTo>
                  <a:lnTo>
                    <a:pt x="2894" y="806"/>
                  </a:lnTo>
                  <a:lnTo>
                    <a:pt x="2894" y="822"/>
                  </a:lnTo>
                  <a:lnTo>
                    <a:pt x="2911" y="822"/>
                  </a:lnTo>
                  <a:lnTo>
                    <a:pt x="2948" y="851"/>
                  </a:lnTo>
                  <a:lnTo>
                    <a:pt x="2937" y="867"/>
                  </a:lnTo>
                  <a:lnTo>
                    <a:pt x="2948" y="884"/>
                  </a:lnTo>
                  <a:lnTo>
                    <a:pt x="2882" y="900"/>
                  </a:lnTo>
                  <a:lnTo>
                    <a:pt x="2830" y="884"/>
                  </a:lnTo>
                  <a:lnTo>
                    <a:pt x="2807" y="834"/>
                  </a:lnTo>
                  <a:lnTo>
                    <a:pt x="2731" y="822"/>
                  </a:lnTo>
                  <a:lnTo>
                    <a:pt x="2693" y="827"/>
                  </a:lnTo>
                  <a:lnTo>
                    <a:pt x="2679" y="822"/>
                  </a:lnTo>
                  <a:lnTo>
                    <a:pt x="2693" y="806"/>
                  </a:lnTo>
                  <a:lnTo>
                    <a:pt x="2679" y="806"/>
                  </a:lnTo>
                  <a:lnTo>
                    <a:pt x="2596" y="827"/>
                  </a:lnTo>
                  <a:lnTo>
                    <a:pt x="2570" y="822"/>
                  </a:lnTo>
                  <a:lnTo>
                    <a:pt x="2521" y="789"/>
                  </a:lnTo>
                  <a:lnTo>
                    <a:pt x="2542" y="773"/>
                  </a:lnTo>
                  <a:lnTo>
                    <a:pt x="2630" y="789"/>
                  </a:lnTo>
                  <a:lnTo>
                    <a:pt x="2641" y="766"/>
                  </a:lnTo>
                  <a:lnTo>
                    <a:pt x="2592" y="766"/>
                  </a:lnTo>
                  <a:lnTo>
                    <a:pt x="2646" y="749"/>
                  </a:lnTo>
                  <a:lnTo>
                    <a:pt x="2608" y="749"/>
                  </a:lnTo>
                  <a:lnTo>
                    <a:pt x="2608" y="749"/>
                  </a:lnTo>
                  <a:lnTo>
                    <a:pt x="2608" y="749"/>
                  </a:lnTo>
                  <a:close/>
                  <a:moveTo>
                    <a:pt x="3865" y="695"/>
                  </a:moveTo>
                  <a:lnTo>
                    <a:pt x="3919" y="700"/>
                  </a:lnTo>
                  <a:lnTo>
                    <a:pt x="3827" y="723"/>
                  </a:lnTo>
                  <a:lnTo>
                    <a:pt x="3865" y="695"/>
                  </a:lnTo>
                  <a:lnTo>
                    <a:pt x="3865" y="695"/>
                  </a:lnTo>
                  <a:lnTo>
                    <a:pt x="3865" y="695"/>
                  </a:lnTo>
                  <a:close/>
                  <a:moveTo>
                    <a:pt x="3100" y="900"/>
                  </a:moveTo>
                  <a:lnTo>
                    <a:pt x="3078" y="889"/>
                  </a:lnTo>
                  <a:lnTo>
                    <a:pt x="3078" y="884"/>
                  </a:lnTo>
                  <a:lnTo>
                    <a:pt x="3083" y="877"/>
                  </a:lnTo>
                  <a:lnTo>
                    <a:pt x="3029" y="860"/>
                  </a:lnTo>
                  <a:lnTo>
                    <a:pt x="3100" y="844"/>
                  </a:lnTo>
                  <a:lnTo>
                    <a:pt x="3019" y="822"/>
                  </a:lnTo>
                  <a:lnTo>
                    <a:pt x="3019" y="806"/>
                  </a:lnTo>
                  <a:lnTo>
                    <a:pt x="2986" y="789"/>
                  </a:lnTo>
                  <a:lnTo>
                    <a:pt x="3019" y="778"/>
                  </a:lnTo>
                  <a:lnTo>
                    <a:pt x="2991" y="766"/>
                  </a:lnTo>
                  <a:lnTo>
                    <a:pt x="2991" y="740"/>
                  </a:lnTo>
                  <a:lnTo>
                    <a:pt x="3029" y="733"/>
                  </a:lnTo>
                  <a:lnTo>
                    <a:pt x="3078" y="749"/>
                  </a:lnTo>
                  <a:lnTo>
                    <a:pt x="3147" y="766"/>
                  </a:lnTo>
                  <a:lnTo>
                    <a:pt x="3147" y="778"/>
                  </a:lnTo>
                  <a:lnTo>
                    <a:pt x="3192" y="778"/>
                  </a:lnTo>
                  <a:lnTo>
                    <a:pt x="3239" y="806"/>
                  </a:lnTo>
                  <a:lnTo>
                    <a:pt x="3201" y="827"/>
                  </a:lnTo>
                  <a:lnTo>
                    <a:pt x="3234" y="844"/>
                  </a:lnTo>
                  <a:lnTo>
                    <a:pt x="3218" y="867"/>
                  </a:lnTo>
                  <a:lnTo>
                    <a:pt x="3116" y="884"/>
                  </a:lnTo>
                  <a:lnTo>
                    <a:pt x="3109" y="884"/>
                  </a:lnTo>
                  <a:lnTo>
                    <a:pt x="3126" y="889"/>
                  </a:lnTo>
                  <a:lnTo>
                    <a:pt x="3100" y="900"/>
                  </a:lnTo>
                  <a:lnTo>
                    <a:pt x="3100" y="900"/>
                  </a:lnTo>
                  <a:lnTo>
                    <a:pt x="3100" y="900"/>
                  </a:lnTo>
                  <a:close/>
                  <a:moveTo>
                    <a:pt x="4675" y="756"/>
                  </a:moveTo>
                  <a:lnTo>
                    <a:pt x="4649" y="749"/>
                  </a:lnTo>
                  <a:lnTo>
                    <a:pt x="4692" y="749"/>
                  </a:lnTo>
                  <a:lnTo>
                    <a:pt x="4675" y="756"/>
                  </a:lnTo>
                  <a:lnTo>
                    <a:pt x="4675" y="756"/>
                  </a:lnTo>
                  <a:lnTo>
                    <a:pt x="4675" y="756"/>
                  </a:lnTo>
                  <a:close/>
                  <a:moveTo>
                    <a:pt x="2067" y="822"/>
                  </a:moveTo>
                  <a:lnTo>
                    <a:pt x="2030" y="806"/>
                  </a:lnTo>
                  <a:lnTo>
                    <a:pt x="1949" y="822"/>
                  </a:lnTo>
                  <a:lnTo>
                    <a:pt x="1944" y="811"/>
                  </a:lnTo>
                  <a:lnTo>
                    <a:pt x="1961" y="794"/>
                  </a:lnTo>
                  <a:lnTo>
                    <a:pt x="2143" y="740"/>
                  </a:lnTo>
                  <a:lnTo>
                    <a:pt x="2230" y="789"/>
                  </a:lnTo>
                  <a:lnTo>
                    <a:pt x="2214" y="822"/>
                  </a:lnTo>
                  <a:lnTo>
                    <a:pt x="2143" y="822"/>
                  </a:lnTo>
                  <a:lnTo>
                    <a:pt x="2100" y="806"/>
                  </a:lnTo>
                  <a:lnTo>
                    <a:pt x="2067" y="822"/>
                  </a:lnTo>
                  <a:lnTo>
                    <a:pt x="2067" y="822"/>
                  </a:lnTo>
                  <a:lnTo>
                    <a:pt x="2067" y="822"/>
                  </a:lnTo>
                  <a:close/>
                  <a:moveTo>
                    <a:pt x="3721" y="794"/>
                  </a:moveTo>
                  <a:lnTo>
                    <a:pt x="3704" y="827"/>
                  </a:lnTo>
                  <a:lnTo>
                    <a:pt x="3688" y="822"/>
                  </a:lnTo>
                  <a:lnTo>
                    <a:pt x="3704" y="794"/>
                  </a:lnTo>
                  <a:lnTo>
                    <a:pt x="3721" y="794"/>
                  </a:lnTo>
                  <a:lnTo>
                    <a:pt x="3721" y="794"/>
                  </a:lnTo>
                  <a:lnTo>
                    <a:pt x="3721" y="794"/>
                  </a:lnTo>
                  <a:close/>
                  <a:moveTo>
                    <a:pt x="3260" y="822"/>
                  </a:moveTo>
                  <a:lnTo>
                    <a:pt x="3277" y="834"/>
                  </a:lnTo>
                  <a:lnTo>
                    <a:pt x="3244" y="822"/>
                  </a:lnTo>
                  <a:lnTo>
                    <a:pt x="3260" y="822"/>
                  </a:lnTo>
                  <a:lnTo>
                    <a:pt x="3260" y="822"/>
                  </a:lnTo>
                  <a:lnTo>
                    <a:pt x="3260" y="822"/>
                  </a:lnTo>
                  <a:close/>
                  <a:moveTo>
                    <a:pt x="2679" y="822"/>
                  </a:moveTo>
                  <a:lnTo>
                    <a:pt x="2684" y="827"/>
                  </a:lnTo>
                  <a:lnTo>
                    <a:pt x="2663" y="844"/>
                  </a:lnTo>
                  <a:lnTo>
                    <a:pt x="2646" y="834"/>
                  </a:lnTo>
                  <a:lnTo>
                    <a:pt x="2679" y="822"/>
                  </a:lnTo>
                  <a:lnTo>
                    <a:pt x="2679" y="822"/>
                  </a:lnTo>
                  <a:lnTo>
                    <a:pt x="2679" y="822"/>
                  </a:lnTo>
                  <a:close/>
                  <a:moveTo>
                    <a:pt x="2759" y="827"/>
                  </a:moveTo>
                  <a:lnTo>
                    <a:pt x="2759" y="834"/>
                  </a:lnTo>
                  <a:lnTo>
                    <a:pt x="2748" y="834"/>
                  </a:lnTo>
                  <a:lnTo>
                    <a:pt x="2759" y="827"/>
                  </a:lnTo>
                  <a:lnTo>
                    <a:pt x="2759" y="827"/>
                  </a:lnTo>
                  <a:lnTo>
                    <a:pt x="2759" y="827"/>
                  </a:lnTo>
                  <a:close/>
                  <a:moveTo>
                    <a:pt x="2030" y="971"/>
                  </a:moveTo>
                  <a:lnTo>
                    <a:pt x="1949" y="938"/>
                  </a:lnTo>
                  <a:lnTo>
                    <a:pt x="1949" y="905"/>
                  </a:lnTo>
                  <a:lnTo>
                    <a:pt x="1944" y="889"/>
                  </a:lnTo>
                  <a:lnTo>
                    <a:pt x="1949" y="877"/>
                  </a:lnTo>
                  <a:lnTo>
                    <a:pt x="2084" y="851"/>
                  </a:lnTo>
                  <a:lnTo>
                    <a:pt x="2209" y="851"/>
                  </a:lnTo>
                  <a:lnTo>
                    <a:pt x="2193" y="867"/>
                  </a:lnTo>
                  <a:lnTo>
                    <a:pt x="2112" y="889"/>
                  </a:lnTo>
                  <a:lnTo>
                    <a:pt x="2129" y="900"/>
                  </a:lnTo>
                  <a:lnTo>
                    <a:pt x="2167" y="900"/>
                  </a:lnTo>
                  <a:lnTo>
                    <a:pt x="2176" y="922"/>
                  </a:lnTo>
                  <a:lnTo>
                    <a:pt x="2159" y="938"/>
                  </a:lnTo>
                  <a:lnTo>
                    <a:pt x="2030" y="971"/>
                  </a:lnTo>
                  <a:lnTo>
                    <a:pt x="2030" y="971"/>
                  </a:lnTo>
                  <a:lnTo>
                    <a:pt x="2030" y="971"/>
                  </a:lnTo>
                  <a:close/>
                  <a:moveTo>
                    <a:pt x="1878" y="905"/>
                  </a:moveTo>
                  <a:lnTo>
                    <a:pt x="1815" y="867"/>
                  </a:lnTo>
                  <a:lnTo>
                    <a:pt x="1874" y="851"/>
                  </a:lnTo>
                  <a:lnTo>
                    <a:pt x="1923" y="889"/>
                  </a:lnTo>
                  <a:lnTo>
                    <a:pt x="1878" y="905"/>
                  </a:lnTo>
                  <a:lnTo>
                    <a:pt x="1878" y="905"/>
                  </a:lnTo>
                  <a:lnTo>
                    <a:pt x="1878" y="905"/>
                  </a:lnTo>
                  <a:close/>
                  <a:moveTo>
                    <a:pt x="2759" y="884"/>
                  </a:moveTo>
                  <a:lnTo>
                    <a:pt x="2807" y="905"/>
                  </a:lnTo>
                  <a:lnTo>
                    <a:pt x="2731" y="917"/>
                  </a:lnTo>
                  <a:lnTo>
                    <a:pt x="2705" y="905"/>
                  </a:lnTo>
                  <a:lnTo>
                    <a:pt x="2700" y="889"/>
                  </a:lnTo>
                  <a:lnTo>
                    <a:pt x="2759" y="884"/>
                  </a:lnTo>
                  <a:lnTo>
                    <a:pt x="2759" y="884"/>
                  </a:lnTo>
                  <a:lnTo>
                    <a:pt x="2759" y="884"/>
                  </a:lnTo>
                  <a:close/>
                  <a:moveTo>
                    <a:pt x="4444" y="884"/>
                  </a:moveTo>
                  <a:lnTo>
                    <a:pt x="4448" y="889"/>
                  </a:lnTo>
                  <a:lnTo>
                    <a:pt x="4422" y="889"/>
                  </a:lnTo>
                  <a:lnTo>
                    <a:pt x="4444" y="884"/>
                  </a:lnTo>
                  <a:lnTo>
                    <a:pt x="4444" y="884"/>
                  </a:lnTo>
                  <a:lnTo>
                    <a:pt x="4444" y="884"/>
                  </a:lnTo>
                  <a:close/>
                  <a:moveTo>
                    <a:pt x="3352" y="905"/>
                  </a:moveTo>
                  <a:lnTo>
                    <a:pt x="3364" y="917"/>
                  </a:lnTo>
                  <a:lnTo>
                    <a:pt x="3343" y="922"/>
                  </a:lnTo>
                  <a:lnTo>
                    <a:pt x="3326" y="943"/>
                  </a:lnTo>
                  <a:lnTo>
                    <a:pt x="3163" y="943"/>
                  </a:lnTo>
                  <a:lnTo>
                    <a:pt x="3133" y="922"/>
                  </a:lnTo>
                  <a:lnTo>
                    <a:pt x="3137" y="917"/>
                  </a:lnTo>
                  <a:lnTo>
                    <a:pt x="3192" y="889"/>
                  </a:lnTo>
                  <a:lnTo>
                    <a:pt x="3201" y="905"/>
                  </a:lnTo>
                  <a:lnTo>
                    <a:pt x="3326" y="900"/>
                  </a:lnTo>
                  <a:lnTo>
                    <a:pt x="3352" y="905"/>
                  </a:lnTo>
                  <a:lnTo>
                    <a:pt x="3352" y="905"/>
                  </a:lnTo>
                  <a:lnTo>
                    <a:pt x="3352" y="905"/>
                  </a:lnTo>
                  <a:close/>
                  <a:moveTo>
                    <a:pt x="2483" y="900"/>
                  </a:moveTo>
                  <a:lnTo>
                    <a:pt x="2521" y="933"/>
                  </a:lnTo>
                  <a:lnTo>
                    <a:pt x="2533" y="943"/>
                  </a:lnTo>
                  <a:lnTo>
                    <a:pt x="2521" y="955"/>
                  </a:lnTo>
                  <a:lnTo>
                    <a:pt x="2542" y="955"/>
                  </a:lnTo>
                  <a:lnTo>
                    <a:pt x="2570" y="988"/>
                  </a:lnTo>
                  <a:lnTo>
                    <a:pt x="2542" y="1000"/>
                  </a:lnTo>
                  <a:lnTo>
                    <a:pt x="2504" y="988"/>
                  </a:lnTo>
                  <a:lnTo>
                    <a:pt x="2483" y="971"/>
                  </a:lnTo>
                  <a:lnTo>
                    <a:pt x="2469" y="922"/>
                  </a:lnTo>
                  <a:lnTo>
                    <a:pt x="2452" y="905"/>
                  </a:lnTo>
                  <a:lnTo>
                    <a:pt x="2483" y="900"/>
                  </a:lnTo>
                  <a:lnTo>
                    <a:pt x="2483" y="900"/>
                  </a:lnTo>
                  <a:lnTo>
                    <a:pt x="2483" y="900"/>
                  </a:lnTo>
                  <a:close/>
                  <a:moveTo>
                    <a:pt x="3546" y="988"/>
                  </a:moveTo>
                  <a:lnTo>
                    <a:pt x="3494" y="962"/>
                  </a:lnTo>
                  <a:lnTo>
                    <a:pt x="3494" y="933"/>
                  </a:lnTo>
                  <a:lnTo>
                    <a:pt x="3515" y="917"/>
                  </a:lnTo>
                  <a:lnTo>
                    <a:pt x="3563" y="922"/>
                  </a:lnTo>
                  <a:lnTo>
                    <a:pt x="3596" y="943"/>
                  </a:lnTo>
                  <a:lnTo>
                    <a:pt x="3600" y="962"/>
                  </a:lnTo>
                  <a:lnTo>
                    <a:pt x="3546" y="988"/>
                  </a:lnTo>
                  <a:lnTo>
                    <a:pt x="3546" y="988"/>
                  </a:lnTo>
                  <a:lnTo>
                    <a:pt x="3546" y="988"/>
                  </a:lnTo>
                  <a:close/>
                  <a:moveTo>
                    <a:pt x="3910" y="933"/>
                  </a:moveTo>
                  <a:lnTo>
                    <a:pt x="3941" y="938"/>
                  </a:lnTo>
                  <a:lnTo>
                    <a:pt x="3919" y="943"/>
                  </a:lnTo>
                  <a:lnTo>
                    <a:pt x="3886" y="933"/>
                  </a:lnTo>
                  <a:lnTo>
                    <a:pt x="3910" y="933"/>
                  </a:lnTo>
                  <a:lnTo>
                    <a:pt x="3910" y="933"/>
                  </a:lnTo>
                  <a:lnTo>
                    <a:pt x="3910" y="933"/>
                  </a:lnTo>
                  <a:close/>
                  <a:moveTo>
                    <a:pt x="1734" y="1082"/>
                  </a:moveTo>
                  <a:lnTo>
                    <a:pt x="1680" y="1087"/>
                  </a:lnTo>
                  <a:lnTo>
                    <a:pt x="1692" y="1111"/>
                  </a:lnTo>
                  <a:lnTo>
                    <a:pt x="1654" y="1127"/>
                  </a:lnTo>
                  <a:lnTo>
                    <a:pt x="1609" y="1106"/>
                  </a:lnTo>
                  <a:lnTo>
                    <a:pt x="1621" y="1066"/>
                  </a:lnTo>
                  <a:lnTo>
                    <a:pt x="1637" y="1049"/>
                  </a:lnTo>
                  <a:lnTo>
                    <a:pt x="1588" y="1049"/>
                  </a:lnTo>
                  <a:lnTo>
                    <a:pt x="1583" y="1054"/>
                  </a:lnTo>
                  <a:lnTo>
                    <a:pt x="1588" y="1082"/>
                  </a:lnTo>
                  <a:lnTo>
                    <a:pt x="1545" y="1087"/>
                  </a:lnTo>
                  <a:lnTo>
                    <a:pt x="1571" y="1111"/>
                  </a:lnTo>
                  <a:lnTo>
                    <a:pt x="1550" y="1127"/>
                  </a:lnTo>
                  <a:lnTo>
                    <a:pt x="1545" y="1144"/>
                  </a:lnTo>
                  <a:lnTo>
                    <a:pt x="1529" y="1155"/>
                  </a:lnTo>
                  <a:lnTo>
                    <a:pt x="1503" y="1122"/>
                  </a:lnTo>
                  <a:lnTo>
                    <a:pt x="1496" y="1122"/>
                  </a:lnTo>
                  <a:lnTo>
                    <a:pt x="1503" y="1144"/>
                  </a:lnTo>
                  <a:lnTo>
                    <a:pt x="1491" y="1155"/>
                  </a:lnTo>
                  <a:lnTo>
                    <a:pt x="1512" y="1160"/>
                  </a:lnTo>
                  <a:lnTo>
                    <a:pt x="1512" y="1165"/>
                  </a:lnTo>
                  <a:lnTo>
                    <a:pt x="1448" y="1193"/>
                  </a:lnTo>
                  <a:lnTo>
                    <a:pt x="1441" y="1193"/>
                  </a:lnTo>
                  <a:lnTo>
                    <a:pt x="1441" y="1165"/>
                  </a:lnTo>
                  <a:lnTo>
                    <a:pt x="1427" y="1165"/>
                  </a:lnTo>
                  <a:lnTo>
                    <a:pt x="1420" y="1144"/>
                  </a:lnTo>
                  <a:lnTo>
                    <a:pt x="1411" y="1139"/>
                  </a:lnTo>
                  <a:lnTo>
                    <a:pt x="1404" y="1144"/>
                  </a:lnTo>
                  <a:lnTo>
                    <a:pt x="1411" y="1165"/>
                  </a:lnTo>
                  <a:lnTo>
                    <a:pt x="1404" y="1177"/>
                  </a:lnTo>
                  <a:lnTo>
                    <a:pt x="1328" y="1160"/>
                  </a:lnTo>
                  <a:lnTo>
                    <a:pt x="1297" y="1177"/>
                  </a:lnTo>
                  <a:lnTo>
                    <a:pt x="1281" y="1165"/>
                  </a:lnTo>
                  <a:lnTo>
                    <a:pt x="1302" y="1155"/>
                  </a:lnTo>
                  <a:lnTo>
                    <a:pt x="1281" y="1155"/>
                  </a:lnTo>
                  <a:lnTo>
                    <a:pt x="1297" y="1144"/>
                  </a:lnTo>
                  <a:lnTo>
                    <a:pt x="1285" y="1139"/>
                  </a:lnTo>
                  <a:lnTo>
                    <a:pt x="1259" y="1155"/>
                  </a:lnTo>
                  <a:lnTo>
                    <a:pt x="1285" y="1111"/>
                  </a:lnTo>
                  <a:lnTo>
                    <a:pt x="1366" y="1106"/>
                  </a:lnTo>
                  <a:lnTo>
                    <a:pt x="1389" y="1070"/>
                  </a:lnTo>
                  <a:lnTo>
                    <a:pt x="1441" y="1049"/>
                  </a:lnTo>
                  <a:lnTo>
                    <a:pt x="1465" y="1016"/>
                  </a:lnTo>
                  <a:lnTo>
                    <a:pt x="1517" y="988"/>
                  </a:lnTo>
                  <a:lnTo>
                    <a:pt x="1533" y="971"/>
                  </a:lnTo>
                  <a:lnTo>
                    <a:pt x="1621" y="955"/>
                  </a:lnTo>
                  <a:lnTo>
                    <a:pt x="1680" y="971"/>
                  </a:lnTo>
                  <a:lnTo>
                    <a:pt x="1675" y="962"/>
                  </a:lnTo>
                  <a:lnTo>
                    <a:pt x="1696" y="971"/>
                  </a:lnTo>
                  <a:lnTo>
                    <a:pt x="1713" y="955"/>
                  </a:lnTo>
                  <a:lnTo>
                    <a:pt x="1675" y="943"/>
                  </a:lnTo>
                  <a:lnTo>
                    <a:pt x="1718" y="933"/>
                  </a:lnTo>
                  <a:lnTo>
                    <a:pt x="1798" y="971"/>
                  </a:lnTo>
                  <a:lnTo>
                    <a:pt x="1734" y="988"/>
                  </a:lnTo>
                  <a:lnTo>
                    <a:pt x="1734" y="1000"/>
                  </a:lnTo>
                  <a:lnTo>
                    <a:pt x="1734" y="1011"/>
                  </a:lnTo>
                  <a:lnTo>
                    <a:pt x="1772" y="1028"/>
                  </a:lnTo>
                  <a:lnTo>
                    <a:pt x="1730" y="1028"/>
                  </a:lnTo>
                  <a:lnTo>
                    <a:pt x="1751" y="1049"/>
                  </a:lnTo>
                  <a:lnTo>
                    <a:pt x="1760" y="1066"/>
                  </a:lnTo>
                  <a:lnTo>
                    <a:pt x="1734" y="1082"/>
                  </a:lnTo>
                  <a:lnTo>
                    <a:pt x="1734" y="1082"/>
                  </a:lnTo>
                  <a:lnTo>
                    <a:pt x="1734" y="1082"/>
                  </a:lnTo>
                  <a:close/>
                  <a:moveTo>
                    <a:pt x="3504" y="978"/>
                  </a:moveTo>
                  <a:lnTo>
                    <a:pt x="3525" y="988"/>
                  </a:lnTo>
                  <a:lnTo>
                    <a:pt x="3508" y="995"/>
                  </a:lnTo>
                  <a:lnTo>
                    <a:pt x="3487" y="988"/>
                  </a:lnTo>
                  <a:lnTo>
                    <a:pt x="3504" y="978"/>
                  </a:lnTo>
                  <a:lnTo>
                    <a:pt x="3504" y="978"/>
                  </a:lnTo>
                  <a:lnTo>
                    <a:pt x="3504" y="978"/>
                  </a:lnTo>
                  <a:close/>
                  <a:moveTo>
                    <a:pt x="3201" y="978"/>
                  </a:moveTo>
                  <a:lnTo>
                    <a:pt x="3208" y="988"/>
                  </a:lnTo>
                  <a:lnTo>
                    <a:pt x="3185" y="978"/>
                  </a:lnTo>
                  <a:lnTo>
                    <a:pt x="3201" y="978"/>
                  </a:lnTo>
                  <a:lnTo>
                    <a:pt x="3201" y="978"/>
                  </a:lnTo>
                  <a:lnTo>
                    <a:pt x="3201" y="978"/>
                  </a:lnTo>
                  <a:close/>
                  <a:moveTo>
                    <a:pt x="2592" y="995"/>
                  </a:moveTo>
                  <a:lnTo>
                    <a:pt x="2596" y="1000"/>
                  </a:lnTo>
                  <a:lnTo>
                    <a:pt x="2570" y="1000"/>
                  </a:lnTo>
                  <a:lnTo>
                    <a:pt x="2592" y="995"/>
                  </a:lnTo>
                  <a:lnTo>
                    <a:pt x="2592" y="995"/>
                  </a:lnTo>
                  <a:lnTo>
                    <a:pt x="2592" y="995"/>
                  </a:lnTo>
                  <a:close/>
                  <a:moveTo>
                    <a:pt x="1911" y="1000"/>
                  </a:moveTo>
                  <a:lnTo>
                    <a:pt x="1895" y="995"/>
                  </a:lnTo>
                  <a:lnTo>
                    <a:pt x="1923" y="995"/>
                  </a:lnTo>
                  <a:lnTo>
                    <a:pt x="1911" y="1000"/>
                  </a:lnTo>
                  <a:lnTo>
                    <a:pt x="1911" y="1000"/>
                  </a:lnTo>
                  <a:lnTo>
                    <a:pt x="1911" y="1000"/>
                  </a:lnTo>
                  <a:close/>
                  <a:moveTo>
                    <a:pt x="3818" y="1267"/>
                  </a:moveTo>
                  <a:lnTo>
                    <a:pt x="3881" y="1255"/>
                  </a:lnTo>
                  <a:lnTo>
                    <a:pt x="3848" y="1238"/>
                  </a:lnTo>
                  <a:lnTo>
                    <a:pt x="3903" y="1233"/>
                  </a:lnTo>
                  <a:lnTo>
                    <a:pt x="3924" y="1215"/>
                  </a:lnTo>
                  <a:lnTo>
                    <a:pt x="3962" y="1222"/>
                  </a:lnTo>
                  <a:lnTo>
                    <a:pt x="3945" y="1215"/>
                  </a:lnTo>
                  <a:lnTo>
                    <a:pt x="4000" y="1193"/>
                  </a:lnTo>
                  <a:lnTo>
                    <a:pt x="4054" y="1210"/>
                  </a:lnTo>
                  <a:lnTo>
                    <a:pt x="4120" y="1193"/>
                  </a:lnTo>
                  <a:lnTo>
                    <a:pt x="4172" y="1193"/>
                  </a:lnTo>
                  <a:lnTo>
                    <a:pt x="4196" y="1198"/>
                  </a:lnTo>
                  <a:lnTo>
                    <a:pt x="4189" y="1215"/>
                  </a:lnTo>
                  <a:lnTo>
                    <a:pt x="4243" y="1215"/>
                  </a:lnTo>
                  <a:lnTo>
                    <a:pt x="4281" y="1233"/>
                  </a:lnTo>
                  <a:lnTo>
                    <a:pt x="4248" y="1250"/>
                  </a:lnTo>
                  <a:lnTo>
                    <a:pt x="4314" y="1250"/>
                  </a:lnTo>
                  <a:lnTo>
                    <a:pt x="4302" y="1250"/>
                  </a:lnTo>
                  <a:lnTo>
                    <a:pt x="4314" y="1267"/>
                  </a:lnTo>
                  <a:lnTo>
                    <a:pt x="4302" y="1271"/>
                  </a:lnTo>
                  <a:lnTo>
                    <a:pt x="4318" y="1271"/>
                  </a:lnTo>
                  <a:lnTo>
                    <a:pt x="4314" y="1288"/>
                  </a:lnTo>
                  <a:lnTo>
                    <a:pt x="4248" y="1304"/>
                  </a:lnTo>
                  <a:lnTo>
                    <a:pt x="4264" y="1309"/>
                  </a:lnTo>
                  <a:lnTo>
                    <a:pt x="4259" y="1321"/>
                  </a:lnTo>
                  <a:lnTo>
                    <a:pt x="4302" y="1309"/>
                  </a:lnTo>
                  <a:lnTo>
                    <a:pt x="4323" y="1326"/>
                  </a:lnTo>
                  <a:lnTo>
                    <a:pt x="4281" y="1342"/>
                  </a:lnTo>
                  <a:lnTo>
                    <a:pt x="4259" y="1321"/>
                  </a:lnTo>
                  <a:lnTo>
                    <a:pt x="4248" y="1326"/>
                  </a:lnTo>
                  <a:lnTo>
                    <a:pt x="4271" y="1333"/>
                  </a:lnTo>
                  <a:lnTo>
                    <a:pt x="4264" y="1378"/>
                  </a:lnTo>
                  <a:lnTo>
                    <a:pt x="4196" y="1378"/>
                  </a:lnTo>
                  <a:lnTo>
                    <a:pt x="4151" y="1387"/>
                  </a:lnTo>
                  <a:lnTo>
                    <a:pt x="4070" y="1378"/>
                  </a:lnTo>
                  <a:lnTo>
                    <a:pt x="4054" y="1359"/>
                  </a:lnTo>
                  <a:lnTo>
                    <a:pt x="4066" y="1342"/>
                  </a:lnTo>
                  <a:lnTo>
                    <a:pt x="4066" y="1333"/>
                  </a:lnTo>
                  <a:lnTo>
                    <a:pt x="4033" y="1326"/>
                  </a:lnTo>
                  <a:lnTo>
                    <a:pt x="4033" y="1333"/>
                  </a:lnTo>
                  <a:lnTo>
                    <a:pt x="4049" y="1342"/>
                  </a:lnTo>
                  <a:lnTo>
                    <a:pt x="4033" y="1378"/>
                  </a:lnTo>
                  <a:lnTo>
                    <a:pt x="3978" y="1382"/>
                  </a:lnTo>
                  <a:lnTo>
                    <a:pt x="3936" y="1382"/>
                  </a:lnTo>
                  <a:lnTo>
                    <a:pt x="3924" y="1359"/>
                  </a:lnTo>
                  <a:lnTo>
                    <a:pt x="3924" y="1366"/>
                  </a:lnTo>
                  <a:lnTo>
                    <a:pt x="3924" y="1382"/>
                  </a:lnTo>
                  <a:lnTo>
                    <a:pt x="3910" y="1382"/>
                  </a:lnTo>
                  <a:lnTo>
                    <a:pt x="3903" y="1382"/>
                  </a:lnTo>
                  <a:lnTo>
                    <a:pt x="3886" y="1359"/>
                  </a:lnTo>
                  <a:lnTo>
                    <a:pt x="3893" y="1378"/>
                  </a:lnTo>
                  <a:lnTo>
                    <a:pt x="3886" y="1382"/>
                  </a:lnTo>
                  <a:lnTo>
                    <a:pt x="3848" y="1387"/>
                  </a:lnTo>
                  <a:lnTo>
                    <a:pt x="3848" y="1378"/>
                  </a:lnTo>
                  <a:lnTo>
                    <a:pt x="3839" y="1366"/>
                  </a:lnTo>
                  <a:lnTo>
                    <a:pt x="3827" y="1387"/>
                  </a:lnTo>
                  <a:lnTo>
                    <a:pt x="3801" y="1366"/>
                  </a:lnTo>
                  <a:lnTo>
                    <a:pt x="3811" y="1387"/>
                  </a:lnTo>
                  <a:lnTo>
                    <a:pt x="3676" y="1382"/>
                  </a:lnTo>
                  <a:lnTo>
                    <a:pt x="3676" y="1366"/>
                  </a:lnTo>
                  <a:lnTo>
                    <a:pt x="3693" y="1342"/>
                  </a:lnTo>
                  <a:lnTo>
                    <a:pt x="3676" y="1326"/>
                  </a:lnTo>
                  <a:lnTo>
                    <a:pt x="3655" y="1359"/>
                  </a:lnTo>
                  <a:lnTo>
                    <a:pt x="3655" y="1342"/>
                  </a:lnTo>
                  <a:lnTo>
                    <a:pt x="3638" y="1333"/>
                  </a:lnTo>
                  <a:lnTo>
                    <a:pt x="3650" y="1342"/>
                  </a:lnTo>
                  <a:lnTo>
                    <a:pt x="3638" y="1349"/>
                  </a:lnTo>
                  <a:lnTo>
                    <a:pt x="3622" y="1349"/>
                  </a:lnTo>
                  <a:lnTo>
                    <a:pt x="3638" y="1359"/>
                  </a:lnTo>
                  <a:lnTo>
                    <a:pt x="3638" y="1366"/>
                  </a:lnTo>
                  <a:lnTo>
                    <a:pt x="3612" y="1378"/>
                  </a:lnTo>
                  <a:lnTo>
                    <a:pt x="3579" y="1382"/>
                  </a:lnTo>
                  <a:lnTo>
                    <a:pt x="3532" y="1366"/>
                  </a:lnTo>
                  <a:lnTo>
                    <a:pt x="3525" y="1349"/>
                  </a:lnTo>
                  <a:lnTo>
                    <a:pt x="3504" y="1359"/>
                  </a:lnTo>
                  <a:lnTo>
                    <a:pt x="3525" y="1326"/>
                  </a:lnTo>
                  <a:lnTo>
                    <a:pt x="3494" y="1349"/>
                  </a:lnTo>
                  <a:lnTo>
                    <a:pt x="3504" y="1366"/>
                  </a:lnTo>
                  <a:lnTo>
                    <a:pt x="3470" y="1366"/>
                  </a:lnTo>
                  <a:lnTo>
                    <a:pt x="3433" y="1342"/>
                  </a:lnTo>
                  <a:lnTo>
                    <a:pt x="3440" y="1326"/>
                  </a:lnTo>
                  <a:lnTo>
                    <a:pt x="3423" y="1304"/>
                  </a:lnTo>
                  <a:lnTo>
                    <a:pt x="3440" y="1292"/>
                  </a:lnTo>
                  <a:lnTo>
                    <a:pt x="3433" y="1288"/>
                  </a:lnTo>
                  <a:lnTo>
                    <a:pt x="3402" y="1276"/>
                  </a:lnTo>
                  <a:lnTo>
                    <a:pt x="3407" y="1250"/>
                  </a:lnTo>
                  <a:lnTo>
                    <a:pt x="3440" y="1222"/>
                  </a:lnTo>
                  <a:lnTo>
                    <a:pt x="3423" y="1210"/>
                  </a:lnTo>
                  <a:lnTo>
                    <a:pt x="3433" y="1181"/>
                  </a:lnTo>
                  <a:lnTo>
                    <a:pt x="3395" y="1165"/>
                  </a:lnTo>
                  <a:lnTo>
                    <a:pt x="3395" y="1155"/>
                  </a:lnTo>
                  <a:lnTo>
                    <a:pt x="3364" y="1111"/>
                  </a:lnTo>
                  <a:lnTo>
                    <a:pt x="3310" y="1127"/>
                  </a:lnTo>
                  <a:lnTo>
                    <a:pt x="3201" y="1127"/>
                  </a:lnTo>
                  <a:lnTo>
                    <a:pt x="3201" y="1122"/>
                  </a:lnTo>
                  <a:lnTo>
                    <a:pt x="3239" y="1122"/>
                  </a:lnTo>
                  <a:lnTo>
                    <a:pt x="3170" y="1106"/>
                  </a:lnTo>
                  <a:lnTo>
                    <a:pt x="3147" y="1087"/>
                  </a:lnTo>
                  <a:lnTo>
                    <a:pt x="3185" y="1070"/>
                  </a:lnTo>
                  <a:lnTo>
                    <a:pt x="3154" y="1082"/>
                  </a:lnTo>
                  <a:lnTo>
                    <a:pt x="3095" y="1054"/>
                  </a:lnTo>
                  <a:lnTo>
                    <a:pt x="3100" y="1044"/>
                  </a:lnTo>
                  <a:lnTo>
                    <a:pt x="3133" y="1054"/>
                  </a:lnTo>
                  <a:lnTo>
                    <a:pt x="3100" y="1033"/>
                  </a:lnTo>
                  <a:lnTo>
                    <a:pt x="3095" y="1028"/>
                  </a:lnTo>
                  <a:lnTo>
                    <a:pt x="3109" y="1028"/>
                  </a:lnTo>
                  <a:lnTo>
                    <a:pt x="3100" y="1016"/>
                  </a:lnTo>
                  <a:lnTo>
                    <a:pt x="3180" y="1011"/>
                  </a:lnTo>
                  <a:lnTo>
                    <a:pt x="3277" y="1033"/>
                  </a:lnTo>
                  <a:lnTo>
                    <a:pt x="3315" y="1028"/>
                  </a:lnTo>
                  <a:lnTo>
                    <a:pt x="3352" y="1054"/>
                  </a:lnTo>
                  <a:lnTo>
                    <a:pt x="3348" y="1087"/>
                  </a:lnTo>
                  <a:lnTo>
                    <a:pt x="3326" y="1099"/>
                  </a:lnTo>
                  <a:lnTo>
                    <a:pt x="3331" y="1111"/>
                  </a:lnTo>
                  <a:lnTo>
                    <a:pt x="3364" y="1070"/>
                  </a:lnTo>
                  <a:lnTo>
                    <a:pt x="3508" y="1070"/>
                  </a:lnTo>
                  <a:lnTo>
                    <a:pt x="3546" y="1099"/>
                  </a:lnTo>
                  <a:lnTo>
                    <a:pt x="3470" y="1087"/>
                  </a:lnTo>
                  <a:lnTo>
                    <a:pt x="3633" y="1127"/>
                  </a:lnTo>
                  <a:lnTo>
                    <a:pt x="3546" y="1144"/>
                  </a:lnTo>
                  <a:lnTo>
                    <a:pt x="3570" y="1144"/>
                  </a:lnTo>
                  <a:lnTo>
                    <a:pt x="3461" y="1127"/>
                  </a:lnTo>
                  <a:lnTo>
                    <a:pt x="3532" y="1155"/>
                  </a:lnTo>
                  <a:lnTo>
                    <a:pt x="3515" y="1160"/>
                  </a:lnTo>
                  <a:lnTo>
                    <a:pt x="3563" y="1160"/>
                  </a:lnTo>
                  <a:lnTo>
                    <a:pt x="3494" y="1160"/>
                  </a:lnTo>
                  <a:lnTo>
                    <a:pt x="3508" y="1177"/>
                  </a:lnTo>
                  <a:lnTo>
                    <a:pt x="3504" y="1177"/>
                  </a:lnTo>
                  <a:lnTo>
                    <a:pt x="3504" y="1193"/>
                  </a:lnTo>
                  <a:lnTo>
                    <a:pt x="3525" y="1165"/>
                  </a:lnTo>
                  <a:lnTo>
                    <a:pt x="3546" y="1165"/>
                  </a:lnTo>
                  <a:lnTo>
                    <a:pt x="3541" y="1181"/>
                  </a:lnTo>
                  <a:lnTo>
                    <a:pt x="3579" y="1165"/>
                  </a:lnTo>
                  <a:lnTo>
                    <a:pt x="3600" y="1181"/>
                  </a:lnTo>
                  <a:lnTo>
                    <a:pt x="3596" y="1198"/>
                  </a:lnTo>
                  <a:lnTo>
                    <a:pt x="3612" y="1181"/>
                  </a:lnTo>
                  <a:lnTo>
                    <a:pt x="3633" y="1198"/>
                  </a:lnTo>
                  <a:lnTo>
                    <a:pt x="3633" y="1222"/>
                  </a:lnTo>
                  <a:lnTo>
                    <a:pt x="3596" y="1233"/>
                  </a:lnTo>
                  <a:lnTo>
                    <a:pt x="3612" y="1233"/>
                  </a:lnTo>
                  <a:lnTo>
                    <a:pt x="3600" y="1233"/>
                  </a:lnTo>
                  <a:lnTo>
                    <a:pt x="3633" y="1222"/>
                  </a:lnTo>
                  <a:lnTo>
                    <a:pt x="3650" y="1250"/>
                  </a:lnTo>
                  <a:lnTo>
                    <a:pt x="3667" y="1250"/>
                  </a:lnTo>
                  <a:lnTo>
                    <a:pt x="3655" y="1222"/>
                  </a:lnTo>
                  <a:lnTo>
                    <a:pt x="3667" y="1215"/>
                  </a:lnTo>
                  <a:lnTo>
                    <a:pt x="3704" y="1233"/>
                  </a:lnTo>
                  <a:lnTo>
                    <a:pt x="3704" y="1238"/>
                  </a:lnTo>
                  <a:lnTo>
                    <a:pt x="3742" y="1233"/>
                  </a:lnTo>
                  <a:lnTo>
                    <a:pt x="3759" y="1238"/>
                  </a:lnTo>
                  <a:lnTo>
                    <a:pt x="3747" y="1250"/>
                  </a:lnTo>
                  <a:lnTo>
                    <a:pt x="3759" y="1238"/>
                  </a:lnTo>
                  <a:lnTo>
                    <a:pt x="3759" y="1233"/>
                  </a:lnTo>
                  <a:lnTo>
                    <a:pt x="3763" y="1222"/>
                  </a:lnTo>
                  <a:lnTo>
                    <a:pt x="3773" y="1222"/>
                  </a:lnTo>
                  <a:lnTo>
                    <a:pt x="3834" y="1250"/>
                  </a:lnTo>
                  <a:lnTo>
                    <a:pt x="3818" y="1267"/>
                  </a:lnTo>
                  <a:lnTo>
                    <a:pt x="3818" y="1267"/>
                  </a:lnTo>
                  <a:lnTo>
                    <a:pt x="3818" y="1267"/>
                  </a:lnTo>
                  <a:close/>
                  <a:moveTo>
                    <a:pt x="3071" y="1011"/>
                  </a:moveTo>
                  <a:lnTo>
                    <a:pt x="3078" y="1016"/>
                  </a:lnTo>
                  <a:lnTo>
                    <a:pt x="3057" y="1016"/>
                  </a:lnTo>
                  <a:lnTo>
                    <a:pt x="3071" y="1011"/>
                  </a:lnTo>
                  <a:lnTo>
                    <a:pt x="3071" y="1011"/>
                  </a:lnTo>
                  <a:lnTo>
                    <a:pt x="3071" y="1011"/>
                  </a:lnTo>
                  <a:close/>
                  <a:moveTo>
                    <a:pt x="2230" y="1028"/>
                  </a:moveTo>
                  <a:lnTo>
                    <a:pt x="2235" y="1033"/>
                  </a:lnTo>
                  <a:lnTo>
                    <a:pt x="2219" y="1028"/>
                  </a:lnTo>
                  <a:lnTo>
                    <a:pt x="2230" y="1028"/>
                  </a:lnTo>
                  <a:lnTo>
                    <a:pt x="2230" y="1028"/>
                  </a:lnTo>
                  <a:lnTo>
                    <a:pt x="2230" y="1028"/>
                  </a:lnTo>
                  <a:close/>
                  <a:moveTo>
                    <a:pt x="1890" y="1066"/>
                  </a:moveTo>
                  <a:lnTo>
                    <a:pt x="1836" y="1049"/>
                  </a:lnTo>
                  <a:lnTo>
                    <a:pt x="1852" y="1033"/>
                  </a:lnTo>
                  <a:lnTo>
                    <a:pt x="1907" y="1033"/>
                  </a:lnTo>
                  <a:lnTo>
                    <a:pt x="1933" y="1049"/>
                  </a:lnTo>
                  <a:lnTo>
                    <a:pt x="1890" y="1066"/>
                  </a:lnTo>
                  <a:lnTo>
                    <a:pt x="1890" y="1066"/>
                  </a:lnTo>
                  <a:lnTo>
                    <a:pt x="1890" y="1066"/>
                  </a:lnTo>
                  <a:close/>
                  <a:moveTo>
                    <a:pt x="3078" y="1044"/>
                  </a:moveTo>
                  <a:lnTo>
                    <a:pt x="3083" y="1044"/>
                  </a:lnTo>
                  <a:lnTo>
                    <a:pt x="3071" y="1044"/>
                  </a:lnTo>
                  <a:lnTo>
                    <a:pt x="3078" y="1044"/>
                  </a:lnTo>
                  <a:lnTo>
                    <a:pt x="3078" y="1044"/>
                  </a:lnTo>
                  <a:lnTo>
                    <a:pt x="3078" y="1044"/>
                  </a:lnTo>
                  <a:close/>
                  <a:moveTo>
                    <a:pt x="2058" y="1309"/>
                  </a:moveTo>
                  <a:lnTo>
                    <a:pt x="2112" y="1276"/>
                  </a:lnTo>
                  <a:lnTo>
                    <a:pt x="2004" y="1292"/>
                  </a:lnTo>
                  <a:lnTo>
                    <a:pt x="2015" y="1276"/>
                  </a:lnTo>
                  <a:lnTo>
                    <a:pt x="1987" y="1288"/>
                  </a:lnTo>
                  <a:lnTo>
                    <a:pt x="1987" y="1271"/>
                  </a:lnTo>
                  <a:lnTo>
                    <a:pt x="1982" y="1292"/>
                  </a:lnTo>
                  <a:lnTo>
                    <a:pt x="1978" y="1292"/>
                  </a:lnTo>
                  <a:lnTo>
                    <a:pt x="1895" y="1304"/>
                  </a:lnTo>
                  <a:lnTo>
                    <a:pt x="1895" y="1292"/>
                  </a:lnTo>
                  <a:lnTo>
                    <a:pt x="1907" y="1267"/>
                  </a:lnTo>
                  <a:lnTo>
                    <a:pt x="1944" y="1255"/>
                  </a:lnTo>
                  <a:lnTo>
                    <a:pt x="1895" y="1255"/>
                  </a:lnTo>
                  <a:lnTo>
                    <a:pt x="1890" y="1250"/>
                  </a:lnTo>
                  <a:lnTo>
                    <a:pt x="1890" y="1267"/>
                  </a:lnTo>
                  <a:lnTo>
                    <a:pt x="1878" y="1276"/>
                  </a:lnTo>
                  <a:lnTo>
                    <a:pt x="1852" y="1271"/>
                  </a:lnTo>
                  <a:lnTo>
                    <a:pt x="1874" y="1288"/>
                  </a:lnTo>
                  <a:lnTo>
                    <a:pt x="1869" y="1304"/>
                  </a:lnTo>
                  <a:lnTo>
                    <a:pt x="1819" y="1321"/>
                  </a:lnTo>
                  <a:lnTo>
                    <a:pt x="1815" y="1309"/>
                  </a:lnTo>
                  <a:lnTo>
                    <a:pt x="1815" y="1292"/>
                  </a:lnTo>
                  <a:lnTo>
                    <a:pt x="1803" y="1288"/>
                  </a:lnTo>
                  <a:lnTo>
                    <a:pt x="1798" y="1292"/>
                  </a:lnTo>
                  <a:lnTo>
                    <a:pt x="1782" y="1292"/>
                  </a:lnTo>
                  <a:lnTo>
                    <a:pt x="1789" y="1309"/>
                  </a:lnTo>
                  <a:lnTo>
                    <a:pt x="1772" y="1321"/>
                  </a:lnTo>
                  <a:lnTo>
                    <a:pt x="1744" y="1304"/>
                  </a:lnTo>
                  <a:lnTo>
                    <a:pt x="1734" y="1292"/>
                  </a:lnTo>
                  <a:lnTo>
                    <a:pt x="1734" y="1276"/>
                  </a:lnTo>
                  <a:lnTo>
                    <a:pt x="1706" y="1292"/>
                  </a:lnTo>
                  <a:lnTo>
                    <a:pt x="1637" y="1276"/>
                  </a:lnTo>
                  <a:lnTo>
                    <a:pt x="1663" y="1238"/>
                  </a:lnTo>
                  <a:lnTo>
                    <a:pt x="1751" y="1238"/>
                  </a:lnTo>
                  <a:lnTo>
                    <a:pt x="1826" y="1210"/>
                  </a:lnTo>
                  <a:lnTo>
                    <a:pt x="1730" y="1233"/>
                  </a:lnTo>
                  <a:lnTo>
                    <a:pt x="1663" y="1222"/>
                  </a:lnTo>
                  <a:lnTo>
                    <a:pt x="1696" y="1198"/>
                  </a:lnTo>
                  <a:lnTo>
                    <a:pt x="1836" y="1181"/>
                  </a:lnTo>
                  <a:lnTo>
                    <a:pt x="1706" y="1177"/>
                  </a:lnTo>
                  <a:lnTo>
                    <a:pt x="1718" y="1165"/>
                  </a:lnTo>
                  <a:lnTo>
                    <a:pt x="1706" y="1160"/>
                  </a:lnTo>
                  <a:lnTo>
                    <a:pt x="1713" y="1155"/>
                  </a:lnTo>
                  <a:lnTo>
                    <a:pt x="1734" y="1139"/>
                  </a:lnTo>
                  <a:lnTo>
                    <a:pt x="1852" y="1144"/>
                  </a:lnTo>
                  <a:lnTo>
                    <a:pt x="1760" y="1122"/>
                  </a:lnTo>
                  <a:lnTo>
                    <a:pt x="1789" y="1099"/>
                  </a:lnTo>
                  <a:lnTo>
                    <a:pt x="1826" y="1087"/>
                  </a:lnTo>
                  <a:lnTo>
                    <a:pt x="1878" y="1099"/>
                  </a:lnTo>
                  <a:lnTo>
                    <a:pt x="1878" y="1122"/>
                  </a:lnTo>
                  <a:lnTo>
                    <a:pt x="1895" y="1139"/>
                  </a:lnTo>
                  <a:lnTo>
                    <a:pt x="1966" y="1127"/>
                  </a:lnTo>
                  <a:lnTo>
                    <a:pt x="2004" y="1139"/>
                  </a:lnTo>
                  <a:lnTo>
                    <a:pt x="1999" y="1155"/>
                  </a:lnTo>
                  <a:lnTo>
                    <a:pt x="2004" y="1160"/>
                  </a:lnTo>
                  <a:lnTo>
                    <a:pt x="2053" y="1177"/>
                  </a:lnTo>
                  <a:lnTo>
                    <a:pt x="2020" y="1193"/>
                  </a:lnTo>
                  <a:lnTo>
                    <a:pt x="2074" y="1193"/>
                  </a:lnTo>
                  <a:lnTo>
                    <a:pt x="2084" y="1210"/>
                  </a:lnTo>
                  <a:lnTo>
                    <a:pt x="2074" y="1222"/>
                  </a:lnTo>
                  <a:lnTo>
                    <a:pt x="2091" y="1238"/>
                  </a:lnTo>
                  <a:lnTo>
                    <a:pt x="2143" y="1233"/>
                  </a:lnTo>
                  <a:lnTo>
                    <a:pt x="2252" y="1238"/>
                  </a:lnTo>
                  <a:lnTo>
                    <a:pt x="2263" y="1215"/>
                  </a:lnTo>
                  <a:lnTo>
                    <a:pt x="2167" y="1181"/>
                  </a:lnTo>
                  <a:lnTo>
                    <a:pt x="2197" y="1177"/>
                  </a:lnTo>
                  <a:lnTo>
                    <a:pt x="2219" y="1155"/>
                  </a:lnTo>
                  <a:lnTo>
                    <a:pt x="2155" y="1122"/>
                  </a:lnTo>
                  <a:lnTo>
                    <a:pt x="2143" y="1106"/>
                  </a:lnTo>
                  <a:lnTo>
                    <a:pt x="2197" y="1087"/>
                  </a:lnTo>
                  <a:lnTo>
                    <a:pt x="2181" y="1087"/>
                  </a:lnTo>
                  <a:lnTo>
                    <a:pt x="2219" y="1049"/>
                  </a:lnTo>
                  <a:lnTo>
                    <a:pt x="2263" y="1044"/>
                  </a:lnTo>
                  <a:lnTo>
                    <a:pt x="2285" y="1054"/>
                  </a:lnTo>
                  <a:lnTo>
                    <a:pt x="2268" y="1070"/>
                  </a:lnTo>
                  <a:lnTo>
                    <a:pt x="2273" y="1106"/>
                  </a:lnTo>
                  <a:lnTo>
                    <a:pt x="2306" y="1122"/>
                  </a:lnTo>
                  <a:lnTo>
                    <a:pt x="2285" y="1144"/>
                  </a:lnTo>
                  <a:lnTo>
                    <a:pt x="2289" y="1160"/>
                  </a:lnTo>
                  <a:lnTo>
                    <a:pt x="2327" y="1160"/>
                  </a:lnTo>
                  <a:lnTo>
                    <a:pt x="2344" y="1165"/>
                  </a:lnTo>
                  <a:lnTo>
                    <a:pt x="2318" y="1198"/>
                  </a:lnTo>
                  <a:lnTo>
                    <a:pt x="2339" y="1181"/>
                  </a:lnTo>
                  <a:lnTo>
                    <a:pt x="2377" y="1181"/>
                  </a:lnTo>
                  <a:lnTo>
                    <a:pt x="2393" y="1210"/>
                  </a:lnTo>
                  <a:lnTo>
                    <a:pt x="2415" y="1198"/>
                  </a:lnTo>
                  <a:lnTo>
                    <a:pt x="2393" y="1193"/>
                  </a:lnTo>
                  <a:lnTo>
                    <a:pt x="2393" y="1165"/>
                  </a:lnTo>
                  <a:lnTo>
                    <a:pt x="2431" y="1160"/>
                  </a:lnTo>
                  <a:lnTo>
                    <a:pt x="2483" y="1177"/>
                  </a:lnTo>
                  <a:lnTo>
                    <a:pt x="2490" y="1193"/>
                  </a:lnTo>
                  <a:lnTo>
                    <a:pt x="2500" y="1215"/>
                  </a:lnTo>
                  <a:lnTo>
                    <a:pt x="2478" y="1238"/>
                  </a:lnTo>
                  <a:lnTo>
                    <a:pt x="2483" y="1250"/>
                  </a:lnTo>
                  <a:lnTo>
                    <a:pt x="2478" y="1267"/>
                  </a:lnTo>
                  <a:lnTo>
                    <a:pt x="2462" y="1276"/>
                  </a:lnTo>
                  <a:lnTo>
                    <a:pt x="2462" y="1292"/>
                  </a:lnTo>
                  <a:lnTo>
                    <a:pt x="2452" y="1292"/>
                  </a:lnTo>
                  <a:lnTo>
                    <a:pt x="2452" y="1304"/>
                  </a:lnTo>
                  <a:lnTo>
                    <a:pt x="2393" y="1326"/>
                  </a:lnTo>
                  <a:lnTo>
                    <a:pt x="2339" y="1321"/>
                  </a:lnTo>
                  <a:lnTo>
                    <a:pt x="2327" y="1292"/>
                  </a:lnTo>
                  <a:lnTo>
                    <a:pt x="2322" y="1321"/>
                  </a:lnTo>
                  <a:lnTo>
                    <a:pt x="2289" y="1326"/>
                  </a:lnTo>
                  <a:lnTo>
                    <a:pt x="2263" y="1309"/>
                  </a:lnTo>
                  <a:lnTo>
                    <a:pt x="2285" y="1321"/>
                  </a:lnTo>
                  <a:lnTo>
                    <a:pt x="2263" y="1304"/>
                  </a:lnTo>
                  <a:lnTo>
                    <a:pt x="2209" y="1333"/>
                  </a:lnTo>
                  <a:lnTo>
                    <a:pt x="2155" y="1333"/>
                  </a:lnTo>
                  <a:lnTo>
                    <a:pt x="2122" y="1359"/>
                  </a:lnTo>
                  <a:lnTo>
                    <a:pt x="2058" y="1382"/>
                  </a:lnTo>
                  <a:lnTo>
                    <a:pt x="1982" y="1399"/>
                  </a:lnTo>
                  <a:lnTo>
                    <a:pt x="1911" y="1387"/>
                  </a:lnTo>
                  <a:lnTo>
                    <a:pt x="1869" y="1359"/>
                  </a:lnTo>
                  <a:lnTo>
                    <a:pt x="1978" y="1321"/>
                  </a:lnTo>
                  <a:lnTo>
                    <a:pt x="2058" y="1309"/>
                  </a:lnTo>
                  <a:lnTo>
                    <a:pt x="2058" y="1309"/>
                  </a:lnTo>
                  <a:lnTo>
                    <a:pt x="2058" y="1309"/>
                  </a:lnTo>
                  <a:close/>
                  <a:moveTo>
                    <a:pt x="3579" y="1099"/>
                  </a:moveTo>
                  <a:lnTo>
                    <a:pt x="3532" y="1054"/>
                  </a:lnTo>
                  <a:lnTo>
                    <a:pt x="3579" y="1044"/>
                  </a:lnTo>
                  <a:lnTo>
                    <a:pt x="3600" y="1054"/>
                  </a:lnTo>
                  <a:lnTo>
                    <a:pt x="3584" y="1070"/>
                  </a:lnTo>
                  <a:lnTo>
                    <a:pt x="3600" y="1087"/>
                  </a:lnTo>
                  <a:lnTo>
                    <a:pt x="3579" y="1099"/>
                  </a:lnTo>
                  <a:lnTo>
                    <a:pt x="3579" y="1099"/>
                  </a:lnTo>
                  <a:lnTo>
                    <a:pt x="3579" y="1099"/>
                  </a:lnTo>
                  <a:close/>
                  <a:moveTo>
                    <a:pt x="2856" y="1054"/>
                  </a:moveTo>
                  <a:lnTo>
                    <a:pt x="2785" y="1082"/>
                  </a:lnTo>
                  <a:lnTo>
                    <a:pt x="2759" y="1082"/>
                  </a:lnTo>
                  <a:lnTo>
                    <a:pt x="2823" y="1054"/>
                  </a:lnTo>
                  <a:lnTo>
                    <a:pt x="2856" y="1054"/>
                  </a:lnTo>
                  <a:lnTo>
                    <a:pt x="2856" y="1054"/>
                  </a:lnTo>
                  <a:lnTo>
                    <a:pt x="2856" y="1054"/>
                  </a:lnTo>
                  <a:close/>
                  <a:moveTo>
                    <a:pt x="1404" y="1054"/>
                  </a:moveTo>
                  <a:lnTo>
                    <a:pt x="1411" y="1054"/>
                  </a:lnTo>
                  <a:lnTo>
                    <a:pt x="1389" y="1054"/>
                  </a:lnTo>
                  <a:lnTo>
                    <a:pt x="1404" y="1054"/>
                  </a:lnTo>
                  <a:lnTo>
                    <a:pt x="1404" y="1054"/>
                  </a:lnTo>
                  <a:lnTo>
                    <a:pt x="1404" y="1054"/>
                  </a:lnTo>
                  <a:close/>
                  <a:moveTo>
                    <a:pt x="2911" y="1054"/>
                  </a:moveTo>
                  <a:lnTo>
                    <a:pt x="2915" y="1066"/>
                  </a:lnTo>
                  <a:lnTo>
                    <a:pt x="2868" y="1054"/>
                  </a:lnTo>
                  <a:lnTo>
                    <a:pt x="2911" y="1054"/>
                  </a:lnTo>
                  <a:lnTo>
                    <a:pt x="2911" y="1054"/>
                  </a:lnTo>
                  <a:lnTo>
                    <a:pt x="2911" y="1054"/>
                  </a:lnTo>
                  <a:close/>
                  <a:moveTo>
                    <a:pt x="2899" y="1155"/>
                  </a:moveTo>
                  <a:lnTo>
                    <a:pt x="2915" y="1144"/>
                  </a:lnTo>
                  <a:lnTo>
                    <a:pt x="2844" y="1139"/>
                  </a:lnTo>
                  <a:lnTo>
                    <a:pt x="2840" y="1127"/>
                  </a:lnTo>
                  <a:lnTo>
                    <a:pt x="2882" y="1122"/>
                  </a:lnTo>
                  <a:lnTo>
                    <a:pt x="2830" y="1111"/>
                  </a:lnTo>
                  <a:lnTo>
                    <a:pt x="2807" y="1087"/>
                  </a:lnTo>
                  <a:lnTo>
                    <a:pt x="2856" y="1070"/>
                  </a:lnTo>
                  <a:lnTo>
                    <a:pt x="2899" y="1070"/>
                  </a:lnTo>
                  <a:lnTo>
                    <a:pt x="2937" y="1106"/>
                  </a:lnTo>
                  <a:lnTo>
                    <a:pt x="2937" y="1099"/>
                  </a:lnTo>
                  <a:lnTo>
                    <a:pt x="2953" y="1106"/>
                  </a:lnTo>
                  <a:lnTo>
                    <a:pt x="2948" y="1087"/>
                  </a:lnTo>
                  <a:lnTo>
                    <a:pt x="2948" y="1070"/>
                  </a:lnTo>
                  <a:lnTo>
                    <a:pt x="2986" y="1070"/>
                  </a:lnTo>
                  <a:lnTo>
                    <a:pt x="2953" y="1066"/>
                  </a:lnTo>
                  <a:lnTo>
                    <a:pt x="2970" y="1066"/>
                  </a:lnTo>
                  <a:lnTo>
                    <a:pt x="3029" y="1087"/>
                  </a:lnTo>
                  <a:lnTo>
                    <a:pt x="3041" y="1106"/>
                  </a:lnTo>
                  <a:lnTo>
                    <a:pt x="3029" y="1111"/>
                  </a:lnTo>
                  <a:lnTo>
                    <a:pt x="3041" y="1127"/>
                  </a:lnTo>
                  <a:lnTo>
                    <a:pt x="3057" y="1144"/>
                  </a:lnTo>
                  <a:lnTo>
                    <a:pt x="3041" y="1165"/>
                  </a:lnTo>
                  <a:lnTo>
                    <a:pt x="3045" y="1193"/>
                  </a:lnTo>
                  <a:lnTo>
                    <a:pt x="3024" y="1210"/>
                  </a:lnTo>
                  <a:lnTo>
                    <a:pt x="3062" y="1215"/>
                  </a:lnTo>
                  <a:lnTo>
                    <a:pt x="3057" y="1238"/>
                  </a:lnTo>
                  <a:lnTo>
                    <a:pt x="3071" y="1255"/>
                  </a:lnTo>
                  <a:lnTo>
                    <a:pt x="3041" y="1233"/>
                  </a:lnTo>
                  <a:lnTo>
                    <a:pt x="3029" y="1233"/>
                  </a:lnTo>
                  <a:lnTo>
                    <a:pt x="3029" y="1250"/>
                  </a:lnTo>
                  <a:lnTo>
                    <a:pt x="3019" y="1238"/>
                  </a:lnTo>
                  <a:lnTo>
                    <a:pt x="3029" y="1250"/>
                  </a:lnTo>
                  <a:lnTo>
                    <a:pt x="3019" y="1255"/>
                  </a:lnTo>
                  <a:lnTo>
                    <a:pt x="3024" y="1255"/>
                  </a:lnTo>
                  <a:lnTo>
                    <a:pt x="3007" y="1255"/>
                  </a:lnTo>
                  <a:lnTo>
                    <a:pt x="3007" y="1271"/>
                  </a:lnTo>
                  <a:lnTo>
                    <a:pt x="3045" y="1288"/>
                  </a:lnTo>
                  <a:lnTo>
                    <a:pt x="3024" y="1292"/>
                  </a:lnTo>
                  <a:lnTo>
                    <a:pt x="3019" y="1276"/>
                  </a:lnTo>
                  <a:lnTo>
                    <a:pt x="3007" y="1288"/>
                  </a:lnTo>
                  <a:lnTo>
                    <a:pt x="3019" y="1292"/>
                  </a:lnTo>
                  <a:lnTo>
                    <a:pt x="3019" y="1309"/>
                  </a:lnTo>
                  <a:lnTo>
                    <a:pt x="2915" y="1309"/>
                  </a:lnTo>
                  <a:lnTo>
                    <a:pt x="2920" y="1292"/>
                  </a:lnTo>
                  <a:lnTo>
                    <a:pt x="2911" y="1309"/>
                  </a:lnTo>
                  <a:lnTo>
                    <a:pt x="2915" y="1309"/>
                  </a:lnTo>
                  <a:lnTo>
                    <a:pt x="2868" y="1309"/>
                  </a:lnTo>
                  <a:lnTo>
                    <a:pt x="2844" y="1309"/>
                  </a:lnTo>
                  <a:lnTo>
                    <a:pt x="2844" y="1288"/>
                  </a:lnTo>
                  <a:lnTo>
                    <a:pt x="2840" y="1288"/>
                  </a:lnTo>
                  <a:lnTo>
                    <a:pt x="2878" y="1276"/>
                  </a:lnTo>
                  <a:lnTo>
                    <a:pt x="2823" y="1267"/>
                  </a:lnTo>
                  <a:lnTo>
                    <a:pt x="2844" y="1255"/>
                  </a:lnTo>
                  <a:lnTo>
                    <a:pt x="2830" y="1250"/>
                  </a:lnTo>
                  <a:lnTo>
                    <a:pt x="2878" y="1250"/>
                  </a:lnTo>
                  <a:lnTo>
                    <a:pt x="2856" y="1238"/>
                  </a:lnTo>
                  <a:lnTo>
                    <a:pt x="2899" y="1222"/>
                  </a:lnTo>
                  <a:lnTo>
                    <a:pt x="2882" y="1222"/>
                  </a:lnTo>
                  <a:lnTo>
                    <a:pt x="2894" y="1215"/>
                  </a:lnTo>
                  <a:lnTo>
                    <a:pt x="2953" y="1210"/>
                  </a:lnTo>
                  <a:lnTo>
                    <a:pt x="2700" y="1238"/>
                  </a:lnTo>
                  <a:lnTo>
                    <a:pt x="2679" y="1222"/>
                  </a:lnTo>
                  <a:lnTo>
                    <a:pt x="2700" y="1210"/>
                  </a:lnTo>
                  <a:lnTo>
                    <a:pt x="2738" y="1210"/>
                  </a:lnTo>
                  <a:lnTo>
                    <a:pt x="2731" y="1198"/>
                  </a:lnTo>
                  <a:lnTo>
                    <a:pt x="2705" y="1198"/>
                  </a:lnTo>
                  <a:lnTo>
                    <a:pt x="2722" y="1181"/>
                  </a:lnTo>
                  <a:lnTo>
                    <a:pt x="2793" y="1198"/>
                  </a:lnTo>
                  <a:lnTo>
                    <a:pt x="2785" y="1198"/>
                  </a:lnTo>
                  <a:lnTo>
                    <a:pt x="2785" y="1193"/>
                  </a:lnTo>
                  <a:lnTo>
                    <a:pt x="2769" y="1177"/>
                  </a:lnTo>
                  <a:lnTo>
                    <a:pt x="2785" y="1160"/>
                  </a:lnTo>
                  <a:lnTo>
                    <a:pt x="2759" y="1165"/>
                  </a:lnTo>
                  <a:lnTo>
                    <a:pt x="2748" y="1155"/>
                  </a:lnTo>
                  <a:lnTo>
                    <a:pt x="2776" y="1127"/>
                  </a:lnTo>
                  <a:lnTo>
                    <a:pt x="2722" y="1127"/>
                  </a:lnTo>
                  <a:lnTo>
                    <a:pt x="2731" y="1127"/>
                  </a:lnTo>
                  <a:lnTo>
                    <a:pt x="2731" y="1106"/>
                  </a:lnTo>
                  <a:lnTo>
                    <a:pt x="2748" y="1099"/>
                  </a:lnTo>
                  <a:lnTo>
                    <a:pt x="2785" y="1106"/>
                  </a:lnTo>
                  <a:lnTo>
                    <a:pt x="2878" y="1181"/>
                  </a:lnTo>
                  <a:lnTo>
                    <a:pt x="2915" y="1165"/>
                  </a:lnTo>
                  <a:lnTo>
                    <a:pt x="2882" y="1177"/>
                  </a:lnTo>
                  <a:lnTo>
                    <a:pt x="2861" y="1144"/>
                  </a:lnTo>
                  <a:lnTo>
                    <a:pt x="2899" y="1155"/>
                  </a:lnTo>
                  <a:lnTo>
                    <a:pt x="2899" y="1155"/>
                  </a:lnTo>
                  <a:lnTo>
                    <a:pt x="2899" y="1155"/>
                  </a:lnTo>
                  <a:close/>
                  <a:moveTo>
                    <a:pt x="2587" y="1066"/>
                  </a:moveTo>
                  <a:lnTo>
                    <a:pt x="2596" y="1070"/>
                  </a:lnTo>
                  <a:lnTo>
                    <a:pt x="2592" y="1082"/>
                  </a:lnTo>
                  <a:lnTo>
                    <a:pt x="2608" y="1070"/>
                  </a:lnTo>
                  <a:lnTo>
                    <a:pt x="2667" y="1106"/>
                  </a:lnTo>
                  <a:lnTo>
                    <a:pt x="2630" y="1122"/>
                  </a:lnTo>
                  <a:lnTo>
                    <a:pt x="2570" y="1122"/>
                  </a:lnTo>
                  <a:lnTo>
                    <a:pt x="2575" y="1111"/>
                  </a:lnTo>
                  <a:lnTo>
                    <a:pt x="2570" y="1099"/>
                  </a:lnTo>
                  <a:lnTo>
                    <a:pt x="2542" y="1082"/>
                  </a:lnTo>
                  <a:lnTo>
                    <a:pt x="2587" y="1066"/>
                  </a:lnTo>
                  <a:lnTo>
                    <a:pt x="2587" y="1066"/>
                  </a:lnTo>
                  <a:lnTo>
                    <a:pt x="2587" y="1066"/>
                  </a:lnTo>
                  <a:close/>
                  <a:moveTo>
                    <a:pt x="3990" y="1087"/>
                  </a:moveTo>
                  <a:lnTo>
                    <a:pt x="4000" y="1099"/>
                  </a:lnTo>
                  <a:lnTo>
                    <a:pt x="3990" y="1099"/>
                  </a:lnTo>
                  <a:lnTo>
                    <a:pt x="3990" y="1087"/>
                  </a:lnTo>
                  <a:lnTo>
                    <a:pt x="3990" y="1087"/>
                  </a:lnTo>
                  <a:lnTo>
                    <a:pt x="3990" y="1087"/>
                  </a:lnTo>
                  <a:close/>
                  <a:moveTo>
                    <a:pt x="3612" y="1099"/>
                  </a:moveTo>
                  <a:lnTo>
                    <a:pt x="3617" y="1099"/>
                  </a:lnTo>
                  <a:lnTo>
                    <a:pt x="3600" y="1099"/>
                  </a:lnTo>
                  <a:lnTo>
                    <a:pt x="3612" y="1099"/>
                  </a:lnTo>
                  <a:lnTo>
                    <a:pt x="3612" y="1099"/>
                  </a:lnTo>
                  <a:lnTo>
                    <a:pt x="3612" y="1099"/>
                  </a:lnTo>
                  <a:close/>
                  <a:moveTo>
                    <a:pt x="2693" y="1122"/>
                  </a:moveTo>
                  <a:lnTo>
                    <a:pt x="2700" y="1139"/>
                  </a:lnTo>
                  <a:lnTo>
                    <a:pt x="2693" y="1144"/>
                  </a:lnTo>
                  <a:lnTo>
                    <a:pt x="2646" y="1160"/>
                  </a:lnTo>
                  <a:lnTo>
                    <a:pt x="2596" y="1160"/>
                  </a:lnTo>
                  <a:lnTo>
                    <a:pt x="2608" y="1160"/>
                  </a:lnTo>
                  <a:lnTo>
                    <a:pt x="2559" y="1144"/>
                  </a:lnTo>
                  <a:lnTo>
                    <a:pt x="2575" y="1139"/>
                  </a:lnTo>
                  <a:lnTo>
                    <a:pt x="2693" y="1122"/>
                  </a:lnTo>
                  <a:lnTo>
                    <a:pt x="2693" y="1122"/>
                  </a:lnTo>
                  <a:lnTo>
                    <a:pt x="2693" y="1122"/>
                  </a:lnTo>
                  <a:close/>
                  <a:moveTo>
                    <a:pt x="3239" y="1144"/>
                  </a:moveTo>
                  <a:lnTo>
                    <a:pt x="3234" y="1160"/>
                  </a:lnTo>
                  <a:lnTo>
                    <a:pt x="3218" y="1155"/>
                  </a:lnTo>
                  <a:lnTo>
                    <a:pt x="3239" y="1144"/>
                  </a:lnTo>
                  <a:lnTo>
                    <a:pt x="3239" y="1144"/>
                  </a:lnTo>
                  <a:lnTo>
                    <a:pt x="3239" y="1144"/>
                  </a:lnTo>
                  <a:close/>
                  <a:moveTo>
                    <a:pt x="4356" y="1155"/>
                  </a:moveTo>
                  <a:lnTo>
                    <a:pt x="4368" y="1155"/>
                  </a:lnTo>
                  <a:lnTo>
                    <a:pt x="4335" y="1177"/>
                  </a:lnTo>
                  <a:lnTo>
                    <a:pt x="4356" y="1193"/>
                  </a:lnTo>
                  <a:lnTo>
                    <a:pt x="4323" y="1181"/>
                  </a:lnTo>
                  <a:lnTo>
                    <a:pt x="4318" y="1193"/>
                  </a:lnTo>
                  <a:lnTo>
                    <a:pt x="4297" y="1181"/>
                  </a:lnTo>
                  <a:lnTo>
                    <a:pt x="4356" y="1155"/>
                  </a:lnTo>
                  <a:lnTo>
                    <a:pt x="4356" y="1155"/>
                  </a:lnTo>
                  <a:lnTo>
                    <a:pt x="4356" y="1155"/>
                  </a:lnTo>
                  <a:close/>
                  <a:moveTo>
                    <a:pt x="1642" y="1155"/>
                  </a:moveTo>
                  <a:lnTo>
                    <a:pt x="1654" y="1155"/>
                  </a:lnTo>
                  <a:lnTo>
                    <a:pt x="1588" y="1233"/>
                  </a:lnTo>
                  <a:lnTo>
                    <a:pt x="1571" y="1238"/>
                  </a:lnTo>
                  <a:lnTo>
                    <a:pt x="1512" y="1222"/>
                  </a:lnTo>
                  <a:lnTo>
                    <a:pt x="1571" y="1177"/>
                  </a:lnTo>
                  <a:lnTo>
                    <a:pt x="1642" y="1155"/>
                  </a:lnTo>
                  <a:lnTo>
                    <a:pt x="1642" y="1155"/>
                  </a:lnTo>
                  <a:lnTo>
                    <a:pt x="1642" y="1155"/>
                  </a:lnTo>
                  <a:close/>
                  <a:moveTo>
                    <a:pt x="2717" y="1155"/>
                  </a:moveTo>
                  <a:lnTo>
                    <a:pt x="2705" y="1165"/>
                  </a:lnTo>
                  <a:lnTo>
                    <a:pt x="2646" y="1177"/>
                  </a:lnTo>
                  <a:lnTo>
                    <a:pt x="2596" y="1177"/>
                  </a:lnTo>
                  <a:lnTo>
                    <a:pt x="2717" y="1155"/>
                  </a:lnTo>
                  <a:lnTo>
                    <a:pt x="2717" y="1155"/>
                  </a:lnTo>
                  <a:lnTo>
                    <a:pt x="2717" y="1155"/>
                  </a:lnTo>
                  <a:close/>
                  <a:moveTo>
                    <a:pt x="1276" y="1160"/>
                  </a:moveTo>
                  <a:lnTo>
                    <a:pt x="1285" y="1160"/>
                  </a:lnTo>
                  <a:lnTo>
                    <a:pt x="1276" y="1165"/>
                  </a:lnTo>
                  <a:lnTo>
                    <a:pt x="1276" y="1160"/>
                  </a:lnTo>
                  <a:lnTo>
                    <a:pt x="1276" y="1160"/>
                  </a:lnTo>
                  <a:lnTo>
                    <a:pt x="1276" y="1160"/>
                  </a:lnTo>
                  <a:close/>
                  <a:moveTo>
                    <a:pt x="2738" y="1177"/>
                  </a:moveTo>
                  <a:lnTo>
                    <a:pt x="2693" y="1198"/>
                  </a:lnTo>
                  <a:lnTo>
                    <a:pt x="2641" y="1198"/>
                  </a:lnTo>
                  <a:lnTo>
                    <a:pt x="2684" y="1177"/>
                  </a:lnTo>
                  <a:lnTo>
                    <a:pt x="2738" y="1177"/>
                  </a:lnTo>
                  <a:lnTo>
                    <a:pt x="2738" y="1177"/>
                  </a:lnTo>
                  <a:lnTo>
                    <a:pt x="2738" y="1177"/>
                  </a:lnTo>
                  <a:close/>
                  <a:moveTo>
                    <a:pt x="3260" y="1165"/>
                  </a:moveTo>
                  <a:lnTo>
                    <a:pt x="3277" y="1198"/>
                  </a:lnTo>
                  <a:lnTo>
                    <a:pt x="3244" y="1198"/>
                  </a:lnTo>
                  <a:lnTo>
                    <a:pt x="3234" y="1177"/>
                  </a:lnTo>
                  <a:lnTo>
                    <a:pt x="3260" y="1165"/>
                  </a:lnTo>
                  <a:lnTo>
                    <a:pt x="3260" y="1165"/>
                  </a:lnTo>
                  <a:lnTo>
                    <a:pt x="3260" y="1165"/>
                  </a:lnTo>
                  <a:close/>
                  <a:moveTo>
                    <a:pt x="3170" y="1181"/>
                  </a:moveTo>
                  <a:lnTo>
                    <a:pt x="3163" y="1177"/>
                  </a:lnTo>
                  <a:lnTo>
                    <a:pt x="3180" y="1165"/>
                  </a:lnTo>
                  <a:lnTo>
                    <a:pt x="3170" y="1181"/>
                  </a:lnTo>
                  <a:lnTo>
                    <a:pt x="3170" y="1181"/>
                  </a:lnTo>
                  <a:lnTo>
                    <a:pt x="3170" y="1181"/>
                  </a:lnTo>
                  <a:close/>
                  <a:moveTo>
                    <a:pt x="1411" y="1177"/>
                  </a:moveTo>
                  <a:lnTo>
                    <a:pt x="1404" y="1210"/>
                  </a:lnTo>
                  <a:lnTo>
                    <a:pt x="1382" y="1198"/>
                  </a:lnTo>
                  <a:lnTo>
                    <a:pt x="1404" y="1193"/>
                  </a:lnTo>
                  <a:lnTo>
                    <a:pt x="1404" y="1177"/>
                  </a:lnTo>
                  <a:lnTo>
                    <a:pt x="1411" y="1177"/>
                  </a:lnTo>
                  <a:lnTo>
                    <a:pt x="1411" y="1177"/>
                  </a:lnTo>
                  <a:lnTo>
                    <a:pt x="1411" y="1177"/>
                  </a:lnTo>
                  <a:close/>
                  <a:moveTo>
                    <a:pt x="1285" y="1177"/>
                  </a:moveTo>
                  <a:lnTo>
                    <a:pt x="1314" y="1181"/>
                  </a:lnTo>
                  <a:lnTo>
                    <a:pt x="1285" y="1177"/>
                  </a:lnTo>
                  <a:lnTo>
                    <a:pt x="1285" y="1177"/>
                  </a:lnTo>
                  <a:lnTo>
                    <a:pt x="1285" y="1177"/>
                  </a:lnTo>
                  <a:close/>
                  <a:moveTo>
                    <a:pt x="3154" y="1222"/>
                  </a:moveTo>
                  <a:lnTo>
                    <a:pt x="3163" y="1233"/>
                  </a:lnTo>
                  <a:lnTo>
                    <a:pt x="3137" y="1250"/>
                  </a:lnTo>
                  <a:lnTo>
                    <a:pt x="3126" y="1233"/>
                  </a:lnTo>
                  <a:lnTo>
                    <a:pt x="3116" y="1238"/>
                  </a:lnTo>
                  <a:lnTo>
                    <a:pt x="3126" y="1250"/>
                  </a:lnTo>
                  <a:lnTo>
                    <a:pt x="3100" y="1267"/>
                  </a:lnTo>
                  <a:lnTo>
                    <a:pt x="3083" y="1238"/>
                  </a:lnTo>
                  <a:lnTo>
                    <a:pt x="3133" y="1215"/>
                  </a:lnTo>
                  <a:lnTo>
                    <a:pt x="3154" y="1222"/>
                  </a:lnTo>
                  <a:lnTo>
                    <a:pt x="3154" y="1222"/>
                  </a:lnTo>
                  <a:lnTo>
                    <a:pt x="3154" y="1222"/>
                  </a:lnTo>
                  <a:close/>
                  <a:moveTo>
                    <a:pt x="3154" y="1326"/>
                  </a:moveTo>
                  <a:lnTo>
                    <a:pt x="3147" y="1321"/>
                  </a:lnTo>
                  <a:lnTo>
                    <a:pt x="3154" y="1309"/>
                  </a:lnTo>
                  <a:lnTo>
                    <a:pt x="3133" y="1326"/>
                  </a:lnTo>
                  <a:lnTo>
                    <a:pt x="3133" y="1309"/>
                  </a:lnTo>
                  <a:lnTo>
                    <a:pt x="3116" y="1309"/>
                  </a:lnTo>
                  <a:lnTo>
                    <a:pt x="3116" y="1304"/>
                  </a:lnTo>
                  <a:lnTo>
                    <a:pt x="3126" y="1288"/>
                  </a:lnTo>
                  <a:lnTo>
                    <a:pt x="3163" y="1271"/>
                  </a:lnTo>
                  <a:lnTo>
                    <a:pt x="3154" y="1267"/>
                  </a:lnTo>
                  <a:lnTo>
                    <a:pt x="3170" y="1255"/>
                  </a:lnTo>
                  <a:lnTo>
                    <a:pt x="3147" y="1255"/>
                  </a:lnTo>
                  <a:lnTo>
                    <a:pt x="3180" y="1255"/>
                  </a:lnTo>
                  <a:lnTo>
                    <a:pt x="3170" y="1250"/>
                  </a:lnTo>
                  <a:lnTo>
                    <a:pt x="3234" y="1215"/>
                  </a:lnTo>
                  <a:lnTo>
                    <a:pt x="3272" y="1222"/>
                  </a:lnTo>
                  <a:lnTo>
                    <a:pt x="3331" y="1271"/>
                  </a:lnTo>
                  <a:lnTo>
                    <a:pt x="3343" y="1326"/>
                  </a:lnTo>
                  <a:lnTo>
                    <a:pt x="3326" y="1359"/>
                  </a:lnTo>
                  <a:lnTo>
                    <a:pt x="3256" y="1366"/>
                  </a:lnTo>
                  <a:lnTo>
                    <a:pt x="3154" y="1326"/>
                  </a:lnTo>
                  <a:lnTo>
                    <a:pt x="3154" y="1326"/>
                  </a:lnTo>
                  <a:lnTo>
                    <a:pt x="3154" y="1326"/>
                  </a:lnTo>
                  <a:close/>
                  <a:moveTo>
                    <a:pt x="2844" y="1233"/>
                  </a:moveTo>
                  <a:lnTo>
                    <a:pt x="2856" y="1222"/>
                  </a:lnTo>
                  <a:lnTo>
                    <a:pt x="2802" y="1233"/>
                  </a:lnTo>
                  <a:lnTo>
                    <a:pt x="2861" y="1222"/>
                  </a:lnTo>
                  <a:lnTo>
                    <a:pt x="2844" y="1233"/>
                  </a:lnTo>
                  <a:lnTo>
                    <a:pt x="2844" y="1233"/>
                  </a:lnTo>
                  <a:lnTo>
                    <a:pt x="2844" y="1233"/>
                  </a:lnTo>
                  <a:close/>
                  <a:moveTo>
                    <a:pt x="2587" y="1250"/>
                  </a:moveTo>
                  <a:lnTo>
                    <a:pt x="2608" y="1267"/>
                  </a:lnTo>
                  <a:lnTo>
                    <a:pt x="2625" y="1288"/>
                  </a:lnTo>
                  <a:lnTo>
                    <a:pt x="2575" y="1309"/>
                  </a:lnTo>
                  <a:lnTo>
                    <a:pt x="2537" y="1292"/>
                  </a:lnTo>
                  <a:lnTo>
                    <a:pt x="2542" y="1267"/>
                  </a:lnTo>
                  <a:lnTo>
                    <a:pt x="2587" y="1250"/>
                  </a:lnTo>
                  <a:lnTo>
                    <a:pt x="2587" y="1250"/>
                  </a:lnTo>
                  <a:lnTo>
                    <a:pt x="2587" y="1250"/>
                  </a:lnTo>
                  <a:close/>
                  <a:moveTo>
                    <a:pt x="3071" y="1267"/>
                  </a:moveTo>
                  <a:lnTo>
                    <a:pt x="3078" y="1276"/>
                  </a:lnTo>
                  <a:lnTo>
                    <a:pt x="3071" y="1267"/>
                  </a:lnTo>
                  <a:lnTo>
                    <a:pt x="3071" y="1267"/>
                  </a:lnTo>
                  <a:lnTo>
                    <a:pt x="3071" y="1267"/>
                  </a:lnTo>
                  <a:close/>
                  <a:moveTo>
                    <a:pt x="3185" y="1366"/>
                  </a:moveTo>
                  <a:lnTo>
                    <a:pt x="3208" y="1382"/>
                  </a:lnTo>
                  <a:lnTo>
                    <a:pt x="3163" y="1378"/>
                  </a:lnTo>
                  <a:lnTo>
                    <a:pt x="3185" y="1366"/>
                  </a:lnTo>
                  <a:lnTo>
                    <a:pt x="3185" y="1366"/>
                  </a:lnTo>
                  <a:lnTo>
                    <a:pt x="3185" y="1366"/>
                  </a:lnTo>
                  <a:close/>
                  <a:moveTo>
                    <a:pt x="3062" y="1366"/>
                  </a:moveTo>
                  <a:lnTo>
                    <a:pt x="3071" y="1378"/>
                  </a:lnTo>
                  <a:lnTo>
                    <a:pt x="3045" y="1387"/>
                  </a:lnTo>
                  <a:lnTo>
                    <a:pt x="3029" y="1382"/>
                  </a:lnTo>
                  <a:lnTo>
                    <a:pt x="3062" y="1366"/>
                  </a:lnTo>
                  <a:lnTo>
                    <a:pt x="3062" y="1366"/>
                  </a:lnTo>
                  <a:lnTo>
                    <a:pt x="3062" y="1366"/>
                  </a:lnTo>
                  <a:close/>
                  <a:moveTo>
                    <a:pt x="1205" y="1493"/>
                  </a:moveTo>
                  <a:lnTo>
                    <a:pt x="1210" y="1486"/>
                  </a:lnTo>
                  <a:lnTo>
                    <a:pt x="1205" y="1477"/>
                  </a:lnTo>
                  <a:lnTo>
                    <a:pt x="1177" y="1470"/>
                  </a:lnTo>
                  <a:lnTo>
                    <a:pt x="1167" y="1437"/>
                  </a:lnTo>
                  <a:lnTo>
                    <a:pt x="1139" y="1404"/>
                  </a:lnTo>
                  <a:lnTo>
                    <a:pt x="1366" y="1378"/>
                  </a:lnTo>
                  <a:lnTo>
                    <a:pt x="1503" y="1420"/>
                  </a:lnTo>
                  <a:lnTo>
                    <a:pt x="1491" y="1444"/>
                  </a:lnTo>
                  <a:lnTo>
                    <a:pt x="1491" y="1453"/>
                  </a:lnTo>
                  <a:lnTo>
                    <a:pt x="1512" y="1420"/>
                  </a:lnTo>
                  <a:lnTo>
                    <a:pt x="1533" y="1420"/>
                  </a:lnTo>
                  <a:lnTo>
                    <a:pt x="1545" y="1437"/>
                  </a:lnTo>
                  <a:lnTo>
                    <a:pt x="1533" y="1453"/>
                  </a:lnTo>
                  <a:lnTo>
                    <a:pt x="1545" y="1453"/>
                  </a:lnTo>
                  <a:lnTo>
                    <a:pt x="1555" y="1437"/>
                  </a:lnTo>
                  <a:lnTo>
                    <a:pt x="1550" y="1432"/>
                  </a:lnTo>
                  <a:lnTo>
                    <a:pt x="1567" y="1420"/>
                  </a:lnTo>
                  <a:lnTo>
                    <a:pt x="1654" y="1420"/>
                  </a:lnTo>
                  <a:lnTo>
                    <a:pt x="1782" y="1498"/>
                  </a:lnTo>
                  <a:lnTo>
                    <a:pt x="1803" y="1526"/>
                  </a:lnTo>
                  <a:lnTo>
                    <a:pt x="1533" y="1642"/>
                  </a:lnTo>
                  <a:lnTo>
                    <a:pt x="1517" y="1682"/>
                  </a:lnTo>
                  <a:lnTo>
                    <a:pt x="1491" y="1699"/>
                  </a:lnTo>
                  <a:lnTo>
                    <a:pt x="1458" y="1692"/>
                  </a:lnTo>
                  <a:lnTo>
                    <a:pt x="1465" y="1708"/>
                  </a:lnTo>
                  <a:lnTo>
                    <a:pt x="1441" y="1737"/>
                  </a:lnTo>
                  <a:lnTo>
                    <a:pt x="1448" y="1770"/>
                  </a:lnTo>
                  <a:lnTo>
                    <a:pt x="1437" y="1793"/>
                  </a:lnTo>
                  <a:lnTo>
                    <a:pt x="1373" y="1810"/>
                  </a:lnTo>
                  <a:lnTo>
                    <a:pt x="1352" y="1803"/>
                  </a:lnTo>
                  <a:lnTo>
                    <a:pt x="1281" y="1848"/>
                  </a:lnTo>
                  <a:lnTo>
                    <a:pt x="1243" y="1843"/>
                  </a:lnTo>
                  <a:lnTo>
                    <a:pt x="1193" y="1770"/>
                  </a:lnTo>
                  <a:lnTo>
                    <a:pt x="1101" y="1737"/>
                  </a:lnTo>
                  <a:lnTo>
                    <a:pt x="1125" y="1732"/>
                  </a:lnTo>
                  <a:lnTo>
                    <a:pt x="1059" y="1732"/>
                  </a:lnTo>
                  <a:lnTo>
                    <a:pt x="1070" y="1732"/>
                  </a:lnTo>
                  <a:lnTo>
                    <a:pt x="1070" y="1708"/>
                  </a:lnTo>
                  <a:lnTo>
                    <a:pt x="1096" y="1675"/>
                  </a:lnTo>
                  <a:lnTo>
                    <a:pt x="1118" y="1654"/>
                  </a:lnTo>
                  <a:lnTo>
                    <a:pt x="1125" y="1637"/>
                  </a:lnTo>
                  <a:lnTo>
                    <a:pt x="1118" y="1621"/>
                  </a:lnTo>
                  <a:lnTo>
                    <a:pt x="1156" y="1604"/>
                  </a:lnTo>
                  <a:lnTo>
                    <a:pt x="1134" y="1581"/>
                  </a:lnTo>
                  <a:lnTo>
                    <a:pt x="1167" y="1531"/>
                  </a:lnTo>
                  <a:lnTo>
                    <a:pt x="1189" y="1515"/>
                  </a:lnTo>
                  <a:lnTo>
                    <a:pt x="1189" y="1498"/>
                  </a:lnTo>
                  <a:lnTo>
                    <a:pt x="1205" y="1493"/>
                  </a:lnTo>
                  <a:lnTo>
                    <a:pt x="1205" y="1493"/>
                  </a:lnTo>
                  <a:lnTo>
                    <a:pt x="1205" y="1493"/>
                  </a:lnTo>
                  <a:close/>
                  <a:moveTo>
                    <a:pt x="2974" y="1404"/>
                  </a:moveTo>
                  <a:lnTo>
                    <a:pt x="2953" y="1415"/>
                  </a:lnTo>
                  <a:lnTo>
                    <a:pt x="2974" y="1404"/>
                  </a:lnTo>
                  <a:lnTo>
                    <a:pt x="2974" y="1404"/>
                  </a:lnTo>
                  <a:lnTo>
                    <a:pt x="2974" y="1404"/>
                  </a:lnTo>
                  <a:close/>
                  <a:moveTo>
                    <a:pt x="3494" y="1548"/>
                  </a:moveTo>
                  <a:lnTo>
                    <a:pt x="3449" y="1609"/>
                  </a:lnTo>
                  <a:lnTo>
                    <a:pt x="3423" y="1637"/>
                  </a:lnTo>
                  <a:lnTo>
                    <a:pt x="3343" y="1621"/>
                  </a:lnTo>
                  <a:lnTo>
                    <a:pt x="3277" y="1626"/>
                  </a:lnTo>
                  <a:lnTo>
                    <a:pt x="3277" y="1637"/>
                  </a:lnTo>
                  <a:lnTo>
                    <a:pt x="3310" y="1637"/>
                  </a:lnTo>
                  <a:lnTo>
                    <a:pt x="3310" y="1642"/>
                  </a:lnTo>
                  <a:lnTo>
                    <a:pt x="3326" y="1654"/>
                  </a:lnTo>
                  <a:lnTo>
                    <a:pt x="3331" y="1666"/>
                  </a:lnTo>
                  <a:lnTo>
                    <a:pt x="3289" y="1725"/>
                  </a:lnTo>
                  <a:lnTo>
                    <a:pt x="3293" y="1732"/>
                  </a:lnTo>
                  <a:lnTo>
                    <a:pt x="3218" y="1732"/>
                  </a:lnTo>
                  <a:lnTo>
                    <a:pt x="3218" y="1715"/>
                  </a:lnTo>
                  <a:lnTo>
                    <a:pt x="3244" y="1708"/>
                  </a:lnTo>
                  <a:lnTo>
                    <a:pt x="3218" y="1708"/>
                  </a:lnTo>
                  <a:lnTo>
                    <a:pt x="3218" y="1666"/>
                  </a:lnTo>
                  <a:lnTo>
                    <a:pt x="3201" y="1642"/>
                  </a:lnTo>
                  <a:lnTo>
                    <a:pt x="3185" y="1637"/>
                  </a:lnTo>
                  <a:lnTo>
                    <a:pt x="3180" y="1581"/>
                  </a:lnTo>
                  <a:lnTo>
                    <a:pt x="3185" y="1571"/>
                  </a:lnTo>
                  <a:lnTo>
                    <a:pt x="3180" y="1515"/>
                  </a:lnTo>
                  <a:lnTo>
                    <a:pt x="3185" y="1510"/>
                  </a:lnTo>
                  <a:lnTo>
                    <a:pt x="3180" y="1493"/>
                  </a:lnTo>
                  <a:lnTo>
                    <a:pt x="3192" y="1486"/>
                  </a:lnTo>
                  <a:lnTo>
                    <a:pt x="3256" y="1498"/>
                  </a:lnTo>
                  <a:lnTo>
                    <a:pt x="3222" y="1486"/>
                  </a:lnTo>
                  <a:lnTo>
                    <a:pt x="3234" y="1477"/>
                  </a:lnTo>
                  <a:lnTo>
                    <a:pt x="3218" y="1477"/>
                  </a:lnTo>
                  <a:lnTo>
                    <a:pt x="3201" y="1460"/>
                  </a:lnTo>
                  <a:lnTo>
                    <a:pt x="3272" y="1437"/>
                  </a:lnTo>
                  <a:lnTo>
                    <a:pt x="3348" y="1432"/>
                  </a:lnTo>
                  <a:lnTo>
                    <a:pt x="3395" y="1437"/>
                  </a:lnTo>
                  <a:lnTo>
                    <a:pt x="3418" y="1453"/>
                  </a:lnTo>
                  <a:lnTo>
                    <a:pt x="3418" y="1460"/>
                  </a:lnTo>
                  <a:lnTo>
                    <a:pt x="3470" y="1453"/>
                  </a:lnTo>
                  <a:lnTo>
                    <a:pt x="3563" y="1470"/>
                  </a:lnTo>
                  <a:lnTo>
                    <a:pt x="3494" y="1548"/>
                  </a:lnTo>
                  <a:lnTo>
                    <a:pt x="3494" y="1548"/>
                  </a:lnTo>
                  <a:lnTo>
                    <a:pt x="3494" y="1548"/>
                  </a:lnTo>
                  <a:close/>
                  <a:moveTo>
                    <a:pt x="3041" y="1437"/>
                  </a:moveTo>
                  <a:lnTo>
                    <a:pt x="3029" y="1453"/>
                  </a:lnTo>
                  <a:lnTo>
                    <a:pt x="2991" y="1477"/>
                  </a:lnTo>
                  <a:lnTo>
                    <a:pt x="2948" y="1486"/>
                  </a:lnTo>
                  <a:lnTo>
                    <a:pt x="2915" y="1470"/>
                  </a:lnTo>
                  <a:lnTo>
                    <a:pt x="3041" y="1437"/>
                  </a:lnTo>
                  <a:lnTo>
                    <a:pt x="3041" y="1437"/>
                  </a:lnTo>
                  <a:lnTo>
                    <a:pt x="3041" y="1437"/>
                  </a:lnTo>
                  <a:close/>
                  <a:moveTo>
                    <a:pt x="3579" y="1453"/>
                  </a:moveTo>
                  <a:lnTo>
                    <a:pt x="3558" y="1453"/>
                  </a:lnTo>
                  <a:lnTo>
                    <a:pt x="3584" y="1444"/>
                  </a:lnTo>
                  <a:lnTo>
                    <a:pt x="3579" y="1453"/>
                  </a:lnTo>
                  <a:lnTo>
                    <a:pt x="3579" y="1453"/>
                  </a:lnTo>
                  <a:lnTo>
                    <a:pt x="3579" y="1453"/>
                  </a:lnTo>
                  <a:close/>
                  <a:moveTo>
                    <a:pt x="2807" y="1708"/>
                  </a:moveTo>
                  <a:lnTo>
                    <a:pt x="2793" y="1682"/>
                  </a:lnTo>
                  <a:lnTo>
                    <a:pt x="2755" y="1692"/>
                  </a:lnTo>
                  <a:lnTo>
                    <a:pt x="2738" y="1666"/>
                  </a:lnTo>
                  <a:lnTo>
                    <a:pt x="2693" y="1637"/>
                  </a:lnTo>
                  <a:lnTo>
                    <a:pt x="2684" y="1621"/>
                  </a:lnTo>
                  <a:lnTo>
                    <a:pt x="2700" y="1588"/>
                  </a:lnTo>
                  <a:lnTo>
                    <a:pt x="2722" y="1581"/>
                  </a:lnTo>
                  <a:lnTo>
                    <a:pt x="2769" y="1609"/>
                  </a:lnTo>
                  <a:lnTo>
                    <a:pt x="2785" y="1637"/>
                  </a:lnTo>
                  <a:lnTo>
                    <a:pt x="2844" y="1626"/>
                  </a:lnTo>
                  <a:lnTo>
                    <a:pt x="2856" y="1621"/>
                  </a:lnTo>
                  <a:lnTo>
                    <a:pt x="2840" y="1597"/>
                  </a:lnTo>
                  <a:lnTo>
                    <a:pt x="2844" y="1588"/>
                  </a:lnTo>
                  <a:lnTo>
                    <a:pt x="2856" y="1588"/>
                  </a:lnTo>
                  <a:lnTo>
                    <a:pt x="2844" y="1604"/>
                  </a:lnTo>
                  <a:lnTo>
                    <a:pt x="2856" y="1609"/>
                  </a:lnTo>
                  <a:lnTo>
                    <a:pt x="2878" y="1604"/>
                  </a:lnTo>
                  <a:lnTo>
                    <a:pt x="2861" y="1571"/>
                  </a:lnTo>
                  <a:lnTo>
                    <a:pt x="2844" y="1581"/>
                  </a:lnTo>
                  <a:lnTo>
                    <a:pt x="2840" y="1571"/>
                  </a:lnTo>
                  <a:lnTo>
                    <a:pt x="2844" y="1555"/>
                  </a:lnTo>
                  <a:lnTo>
                    <a:pt x="2878" y="1564"/>
                  </a:lnTo>
                  <a:lnTo>
                    <a:pt x="2894" y="1564"/>
                  </a:lnTo>
                  <a:lnTo>
                    <a:pt x="2844" y="1543"/>
                  </a:lnTo>
                  <a:lnTo>
                    <a:pt x="2840" y="1555"/>
                  </a:lnTo>
                  <a:lnTo>
                    <a:pt x="2814" y="1555"/>
                  </a:lnTo>
                  <a:lnTo>
                    <a:pt x="2759" y="1526"/>
                  </a:lnTo>
                  <a:lnTo>
                    <a:pt x="2814" y="1510"/>
                  </a:lnTo>
                  <a:lnTo>
                    <a:pt x="2844" y="1531"/>
                  </a:lnTo>
                  <a:lnTo>
                    <a:pt x="2830" y="1526"/>
                  </a:lnTo>
                  <a:lnTo>
                    <a:pt x="2840" y="1510"/>
                  </a:lnTo>
                  <a:lnTo>
                    <a:pt x="2802" y="1493"/>
                  </a:lnTo>
                  <a:lnTo>
                    <a:pt x="2807" y="1486"/>
                  </a:lnTo>
                  <a:lnTo>
                    <a:pt x="2840" y="1477"/>
                  </a:lnTo>
                  <a:lnTo>
                    <a:pt x="2868" y="1486"/>
                  </a:lnTo>
                  <a:lnTo>
                    <a:pt x="2882" y="1470"/>
                  </a:lnTo>
                  <a:lnTo>
                    <a:pt x="2856" y="1477"/>
                  </a:lnTo>
                  <a:lnTo>
                    <a:pt x="2878" y="1460"/>
                  </a:lnTo>
                  <a:lnTo>
                    <a:pt x="2932" y="1493"/>
                  </a:lnTo>
                  <a:lnTo>
                    <a:pt x="3003" y="1486"/>
                  </a:lnTo>
                  <a:lnTo>
                    <a:pt x="3029" y="1470"/>
                  </a:lnTo>
                  <a:lnTo>
                    <a:pt x="3071" y="1477"/>
                  </a:lnTo>
                  <a:lnTo>
                    <a:pt x="3095" y="1498"/>
                  </a:lnTo>
                  <a:lnTo>
                    <a:pt x="3071" y="1515"/>
                  </a:lnTo>
                  <a:lnTo>
                    <a:pt x="3041" y="1515"/>
                  </a:lnTo>
                  <a:lnTo>
                    <a:pt x="3041" y="1531"/>
                  </a:lnTo>
                  <a:lnTo>
                    <a:pt x="3071" y="1526"/>
                  </a:lnTo>
                  <a:lnTo>
                    <a:pt x="3078" y="1543"/>
                  </a:lnTo>
                  <a:lnTo>
                    <a:pt x="3029" y="1555"/>
                  </a:lnTo>
                  <a:lnTo>
                    <a:pt x="2986" y="1588"/>
                  </a:lnTo>
                  <a:lnTo>
                    <a:pt x="2986" y="1609"/>
                  </a:lnTo>
                  <a:lnTo>
                    <a:pt x="3019" y="1588"/>
                  </a:lnTo>
                  <a:lnTo>
                    <a:pt x="3062" y="1597"/>
                  </a:lnTo>
                  <a:lnTo>
                    <a:pt x="3071" y="1604"/>
                  </a:lnTo>
                  <a:lnTo>
                    <a:pt x="3071" y="1609"/>
                  </a:lnTo>
                  <a:lnTo>
                    <a:pt x="3083" y="1626"/>
                  </a:lnTo>
                  <a:lnTo>
                    <a:pt x="3071" y="1642"/>
                  </a:lnTo>
                  <a:lnTo>
                    <a:pt x="3116" y="1626"/>
                  </a:lnTo>
                  <a:lnTo>
                    <a:pt x="3137" y="1675"/>
                  </a:lnTo>
                  <a:lnTo>
                    <a:pt x="3095" y="1682"/>
                  </a:lnTo>
                  <a:lnTo>
                    <a:pt x="3116" y="1692"/>
                  </a:lnTo>
                  <a:lnTo>
                    <a:pt x="3126" y="1715"/>
                  </a:lnTo>
                  <a:lnTo>
                    <a:pt x="3095" y="1725"/>
                  </a:lnTo>
                  <a:lnTo>
                    <a:pt x="3126" y="1725"/>
                  </a:lnTo>
                  <a:lnTo>
                    <a:pt x="3126" y="1737"/>
                  </a:lnTo>
                  <a:lnTo>
                    <a:pt x="3100" y="1737"/>
                  </a:lnTo>
                  <a:lnTo>
                    <a:pt x="3126" y="1737"/>
                  </a:lnTo>
                  <a:lnTo>
                    <a:pt x="3116" y="1753"/>
                  </a:lnTo>
                  <a:lnTo>
                    <a:pt x="3100" y="1753"/>
                  </a:lnTo>
                  <a:lnTo>
                    <a:pt x="3057" y="1781"/>
                  </a:lnTo>
                  <a:lnTo>
                    <a:pt x="3007" y="1781"/>
                  </a:lnTo>
                  <a:lnTo>
                    <a:pt x="2991" y="1765"/>
                  </a:lnTo>
                  <a:lnTo>
                    <a:pt x="3003" y="1748"/>
                  </a:lnTo>
                  <a:lnTo>
                    <a:pt x="3003" y="1737"/>
                  </a:lnTo>
                  <a:lnTo>
                    <a:pt x="2986" y="1770"/>
                  </a:lnTo>
                  <a:lnTo>
                    <a:pt x="3019" y="1793"/>
                  </a:lnTo>
                  <a:lnTo>
                    <a:pt x="2970" y="1826"/>
                  </a:lnTo>
                  <a:lnTo>
                    <a:pt x="2948" y="1810"/>
                  </a:lnTo>
                  <a:lnTo>
                    <a:pt x="2932" y="1819"/>
                  </a:lnTo>
                  <a:lnTo>
                    <a:pt x="2899" y="1765"/>
                  </a:lnTo>
                  <a:lnTo>
                    <a:pt x="2868" y="1748"/>
                  </a:lnTo>
                  <a:lnTo>
                    <a:pt x="2830" y="1708"/>
                  </a:lnTo>
                  <a:lnTo>
                    <a:pt x="2807" y="1708"/>
                  </a:lnTo>
                  <a:lnTo>
                    <a:pt x="2807" y="1708"/>
                  </a:lnTo>
                  <a:lnTo>
                    <a:pt x="2807" y="1708"/>
                  </a:lnTo>
                  <a:close/>
                  <a:moveTo>
                    <a:pt x="4096" y="2008"/>
                  </a:moveTo>
                  <a:lnTo>
                    <a:pt x="4066" y="1992"/>
                  </a:lnTo>
                  <a:lnTo>
                    <a:pt x="4016" y="2003"/>
                  </a:lnTo>
                  <a:lnTo>
                    <a:pt x="3903" y="1975"/>
                  </a:lnTo>
                  <a:lnTo>
                    <a:pt x="3865" y="1987"/>
                  </a:lnTo>
                  <a:lnTo>
                    <a:pt x="3910" y="1992"/>
                  </a:lnTo>
                  <a:lnTo>
                    <a:pt x="3872" y="1992"/>
                  </a:lnTo>
                  <a:lnTo>
                    <a:pt x="3818" y="1959"/>
                  </a:lnTo>
                  <a:lnTo>
                    <a:pt x="3818" y="1947"/>
                  </a:lnTo>
                  <a:lnTo>
                    <a:pt x="3839" y="1930"/>
                  </a:lnTo>
                  <a:lnTo>
                    <a:pt x="3834" y="1921"/>
                  </a:lnTo>
                  <a:lnTo>
                    <a:pt x="3811" y="1954"/>
                  </a:lnTo>
                  <a:lnTo>
                    <a:pt x="3796" y="1954"/>
                  </a:lnTo>
                  <a:lnTo>
                    <a:pt x="3785" y="1930"/>
                  </a:lnTo>
                  <a:lnTo>
                    <a:pt x="3773" y="1947"/>
                  </a:lnTo>
                  <a:lnTo>
                    <a:pt x="3785" y="1947"/>
                  </a:lnTo>
                  <a:lnTo>
                    <a:pt x="3785" y="1954"/>
                  </a:lnTo>
                  <a:lnTo>
                    <a:pt x="3742" y="1954"/>
                  </a:lnTo>
                  <a:lnTo>
                    <a:pt x="3747" y="1954"/>
                  </a:lnTo>
                  <a:lnTo>
                    <a:pt x="3730" y="1959"/>
                  </a:lnTo>
                  <a:lnTo>
                    <a:pt x="3704" y="1954"/>
                  </a:lnTo>
                  <a:lnTo>
                    <a:pt x="3726" y="1954"/>
                  </a:lnTo>
                  <a:lnTo>
                    <a:pt x="3709" y="1947"/>
                  </a:lnTo>
                  <a:lnTo>
                    <a:pt x="3667" y="1930"/>
                  </a:lnTo>
                  <a:lnTo>
                    <a:pt x="3617" y="1876"/>
                  </a:lnTo>
                  <a:lnTo>
                    <a:pt x="3633" y="1864"/>
                  </a:lnTo>
                  <a:lnTo>
                    <a:pt x="3612" y="1848"/>
                  </a:lnTo>
                  <a:lnTo>
                    <a:pt x="3721" y="1876"/>
                  </a:lnTo>
                  <a:lnTo>
                    <a:pt x="3785" y="1864"/>
                  </a:lnTo>
                  <a:lnTo>
                    <a:pt x="3742" y="1843"/>
                  </a:lnTo>
                  <a:lnTo>
                    <a:pt x="3726" y="1843"/>
                  </a:lnTo>
                  <a:lnTo>
                    <a:pt x="3726" y="1826"/>
                  </a:lnTo>
                  <a:lnTo>
                    <a:pt x="3676" y="1836"/>
                  </a:lnTo>
                  <a:lnTo>
                    <a:pt x="3584" y="1819"/>
                  </a:lnTo>
                  <a:lnTo>
                    <a:pt x="3579" y="1786"/>
                  </a:lnTo>
                  <a:lnTo>
                    <a:pt x="3596" y="1765"/>
                  </a:lnTo>
                  <a:lnTo>
                    <a:pt x="3570" y="1737"/>
                  </a:lnTo>
                  <a:lnTo>
                    <a:pt x="3579" y="1725"/>
                  </a:lnTo>
                  <a:lnTo>
                    <a:pt x="3612" y="1708"/>
                  </a:lnTo>
                  <a:lnTo>
                    <a:pt x="3584" y="1708"/>
                  </a:lnTo>
                  <a:lnTo>
                    <a:pt x="3579" y="1682"/>
                  </a:lnTo>
                  <a:lnTo>
                    <a:pt x="3596" y="1642"/>
                  </a:lnTo>
                  <a:lnTo>
                    <a:pt x="3617" y="1637"/>
                  </a:lnTo>
                  <a:lnTo>
                    <a:pt x="3612" y="1637"/>
                  </a:lnTo>
                  <a:lnTo>
                    <a:pt x="3612" y="1621"/>
                  </a:lnTo>
                  <a:lnTo>
                    <a:pt x="3622" y="1626"/>
                  </a:lnTo>
                  <a:lnTo>
                    <a:pt x="3622" y="1597"/>
                  </a:lnTo>
                  <a:lnTo>
                    <a:pt x="3633" y="1571"/>
                  </a:lnTo>
                  <a:lnTo>
                    <a:pt x="3671" y="1531"/>
                  </a:lnTo>
                  <a:lnTo>
                    <a:pt x="3747" y="1493"/>
                  </a:lnTo>
                  <a:lnTo>
                    <a:pt x="3839" y="1477"/>
                  </a:lnTo>
                  <a:lnTo>
                    <a:pt x="3941" y="1493"/>
                  </a:lnTo>
                  <a:lnTo>
                    <a:pt x="3865" y="1548"/>
                  </a:lnTo>
                  <a:lnTo>
                    <a:pt x="3811" y="1609"/>
                  </a:lnTo>
                  <a:lnTo>
                    <a:pt x="3801" y="1637"/>
                  </a:lnTo>
                  <a:lnTo>
                    <a:pt x="3839" y="1675"/>
                  </a:lnTo>
                  <a:lnTo>
                    <a:pt x="3827" y="1692"/>
                  </a:lnTo>
                  <a:lnTo>
                    <a:pt x="3827" y="1732"/>
                  </a:lnTo>
                  <a:lnTo>
                    <a:pt x="3893" y="1793"/>
                  </a:lnTo>
                  <a:lnTo>
                    <a:pt x="3936" y="1810"/>
                  </a:lnTo>
                  <a:lnTo>
                    <a:pt x="3941" y="1826"/>
                  </a:lnTo>
                  <a:lnTo>
                    <a:pt x="3865" y="1843"/>
                  </a:lnTo>
                  <a:lnTo>
                    <a:pt x="3801" y="1864"/>
                  </a:lnTo>
                  <a:lnTo>
                    <a:pt x="3936" y="1836"/>
                  </a:lnTo>
                  <a:lnTo>
                    <a:pt x="3941" y="1843"/>
                  </a:lnTo>
                  <a:lnTo>
                    <a:pt x="3936" y="1848"/>
                  </a:lnTo>
                  <a:lnTo>
                    <a:pt x="3919" y="1848"/>
                  </a:lnTo>
                  <a:lnTo>
                    <a:pt x="3936" y="1848"/>
                  </a:lnTo>
                  <a:lnTo>
                    <a:pt x="3936" y="1876"/>
                  </a:lnTo>
                  <a:lnTo>
                    <a:pt x="3941" y="1876"/>
                  </a:lnTo>
                  <a:lnTo>
                    <a:pt x="3941" y="1810"/>
                  </a:lnTo>
                  <a:lnTo>
                    <a:pt x="3962" y="1803"/>
                  </a:lnTo>
                  <a:lnTo>
                    <a:pt x="3945" y="1786"/>
                  </a:lnTo>
                  <a:lnTo>
                    <a:pt x="3957" y="1770"/>
                  </a:lnTo>
                  <a:lnTo>
                    <a:pt x="3910" y="1770"/>
                  </a:lnTo>
                  <a:lnTo>
                    <a:pt x="3886" y="1765"/>
                  </a:lnTo>
                  <a:lnTo>
                    <a:pt x="3893" y="1753"/>
                  </a:lnTo>
                  <a:lnTo>
                    <a:pt x="3886" y="1737"/>
                  </a:lnTo>
                  <a:lnTo>
                    <a:pt x="3855" y="1732"/>
                  </a:lnTo>
                  <a:lnTo>
                    <a:pt x="3893" y="1725"/>
                  </a:lnTo>
                  <a:lnTo>
                    <a:pt x="3893" y="1715"/>
                  </a:lnTo>
                  <a:lnTo>
                    <a:pt x="3893" y="1692"/>
                  </a:lnTo>
                  <a:lnTo>
                    <a:pt x="3936" y="1699"/>
                  </a:lnTo>
                  <a:lnTo>
                    <a:pt x="3990" y="1737"/>
                  </a:lnTo>
                  <a:lnTo>
                    <a:pt x="3990" y="1732"/>
                  </a:lnTo>
                  <a:lnTo>
                    <a:pt x="3936" y="1692"/>
                  </a:lnTo>
                  <a:lnTo>
                    <a:pt x="3962" y="1675"/>
                  </a:lnTo>
                  <a:lnTo>
                    <a:pt x="3936" y="1682"/>
                  </a:lnTo>
                  <a:lnTo>
                    <a:pt x="3941" y="1666"/>
                  </a:lnTo>
                  <a:lnTo>
                    <a:pt x="3919" y="1682"/>
                  </a:lnTo>
                  <a:lnTo>
                    <a:pt x="3886" y="1666"/>
                  </a:lnTo>
                  <a:lnTo>
                    <a:pt x="3886" y="1659"/>
                  </a:lnTo>
                  <a:lnTo>
                    <a:pt x="3893" y="1654"/>
                  </a:lnTo>
                  <a:lnTo>
                    <a:pt x="3881" y="1642"/>
                  </a:lnTo>
                  <a:lnTo>
                    <a:pt x="3881" y="1609"/>
                  </a:lnTo>
                  <a:lnTo>
                    <a:pt x="3910" y="1597"/>
                  </a:lnTo>
                  <a:lnTo>
                    <a:pt x="4000" y="1626"/>
                  </a:lnTo>
                  <a:lnTo>
                    <a:pt x="3886" y="1588"/>
                  </a:lnTo>
                  <a:lnTo>
                    <a:pt x="3903" y="1571"/>
                  </a:lnTo>
                  <a:lnTo>
                    <a:pt x="3919" y="1588"/>
                  </a:lnTo>
                  <a:lnTo>
                    <a:pt x="3910" y="1581"/>
                  </a:lnTo>
                  <a:lnTo>
                    <a:pt x="3919" y="1571"/>
                  </a:lnTo>
                  <a:lnTo>
                    <a:pt x="4028" y="1597"/>
                  </a:lnTo>
                  <a:lnTo>
                    <a:pt x="3919" y="1564"/>
                  </a:lnTo>
                  <a:lnTo>
                    <a:pt x="3941" y="1543"/>
                  </a:lnTo>
                  <a:lnTo>
                    <a:pt x="3974" y="1564"/>
                  </a:lnTo>
                  <a:lnTo>
                    <a:pt x="3945" y="1543"/>
                  </a:lnTo>
                  <a:lnTo>
                    <a:pt x="3990" y="1526"/>
                  </a:lnTo>
                  <a:lnTo>
                    <a:pt x="4016" y="1531"/>
                  </a:lnTo>
                  <a:lnTo>
                    <a:pt x="4028" y="1548"/>
                  </a:lnTo>
                  <a:lnTo>
                    <a:pt x="4028" y="1531"/>
                  </a:lnTo>
                  <a:lnTo>
                    <a:pt x="3995" y="1526"/>
                  </a:lnTo>
                  <a:lnTo>
                    <a:pt x="4082" y="1493"/>
                  </a:lnTo>
                  <a:lnTo>
                    <a:pt x="4172" y="1493"/>
                  </a:lnTo>
                  <a:lnTo>
                    <a:pt x="4196" y="1526"/>
                  </a:lnTo>
                  <a:lnTo>
                    <a:pt x="4196" y="1555"/>
                  </a:lnTo>
                  <a:lnTo>
                    <a:pt x="4243" y="1581"/>
                  </a:lnTo>
                  <a:lnTo>
                    <a:pt x="4233" y="1604"/>
                  </a:lnTo>
                  <a:lnTo>
                    <a:pt x="4259" y="1626"/>
                  </a:lnTo>
                  <a:lnTo>
                    <a:pt x="4179" y="1699"/>
                  </a:lnTo>
                  <a:lnTo>
                    <a:pt x="4243" y="1659"/>
                  </a:lnTo>
                  <a:lnTo>
                    <a:pt x="4243" y="1675"/>
                  </a:lnTo>
                  <a:lnTo>
                    <a:pt x="4210" y="1708"/>
                  </a:lnTo>
                  <a:lnTo>
                    <a:pt x="4243" y="1725"/>
                  </a:lnTo>
                  <a:lnTo>
                    <a:pt x="4205" y="1725"/>
                  </a:lnTo>
                  <a:lnTo>
                    <a:pt x="4226" y="1725"/>
                  </a:lnTo>
                  <a:lnTo>
                    <a:pt x="4210" y="1748"/>
                  </a:lnTo>
                  <a:lnTo>
                    <a:pt x="4248" y="1725"/>
                  </a:lnTo>
                  <a:lnTo>
                    <a:pt x="4243" y="1708"/>
                  </a:lnTo>
                  <a:lnTo>
                    <a:pt x="4264" y="1699"/>
                  </a:lnTo>
                  <a:lnTo>
                    <a:pt x="4259" y="1692"/>
                  </a:lnTo>
                  <a:lnTo>
                    <a:pt x="4302" y="1715"/>
                  </a:lnTo>
                  <a:lnTo>
                    <a:pt x="4264" y="1682"/>
                  </a:lnTo>
                  <a:lnTo>
                    <a:pt x="4297" y="1659"/>
                  </a:lnTo>
                  <a:lnTo>
                    <a:pt x="4302" y="1682"/>
                  </a:lnTo>
                  <a:lnTo>
                    <a:pt x="4297" y="1699"/>
                  </a:lnTo>
                  <a:lnTo>
                    <a:pt x="4323" y="1675"/>
                  </a:lnTo>
                  <a:lnTo>
                    <a:pt x="4352" y="1692"/>
                  </a:lnTo>
                  <a:lnTo>
                    <a:pt x="4352" y="1708"/>
                  </a:lnTo>
                  <a:lnTo>
                    <a:pt x="4335" y="1732"/>
                  </a:lnTo>
                  <a:lnTo>
                    <a:pt x="4378" y="1748"/>
                  </a:lnTo>
                  <a:lnTo>
                    <a:pt x="4356" y="1732"/>
                  </a:lnTo>
                  <a:lnTo>
                    <a:pt x="4356" y="1708"/>
                  </a:lnTo>
                  <a:lnTo>
                    <a:pt x="4389" y="1715"/>
                  </a:lnTo>
                  <a:lnTo>
                    <a:pt x="4406" y="1753"/>
                  </a:lnTo>
                  <a:lnTo>
                    <a:pt x="4427" y="1765"/>
                  </a:lnTo>
                  <a:lnTo>
                    <a:pt x="4394" y="1737"/>
                  </a:lnTo>
                  <a:lnTo>
                    <a:pt x="4411" y="1732"/>
                  </a:lnTo>
                  <a:lnTo>
                    <a:pt x="4432" y="1753"/>
                  </a:lnTo>
                  <a:lnTo>
                    <a:pt x="4411" y="1732"/>
                  </a:lnTo>
                  <a:lnTo>
                    <a:pt x="4394" y="1732"/>
                  </a:lnTo>
                  <a:lnTo>
                    <a:pt x="4389" y="1715"/>
                  </a:lnTo>
                  <a:lnTo>
                    <a:pt x="4356" y="1699"/>
                  </a:lnTo>
                  <a:lnTo>
                    <a:pt x="4373" y="1682"/>
                  </a:lnTo>
                  <a:lnTo>
                    <a:pt x="4389" y="1708"/>
                  </a:lnTo>
                  <a:lnTo>
                    <a:pt x="4389" y="1682"/>
                  </a:lnTo>
                  <a:lnTo>
                    <a:pt x="4486" y="1715"/>
                  </a:lnTo>
                  <a:lnTo>
                    <a:pt x="4378" y="1666"/>
                  </a:lnTo>
                  <a:lnTo>
                    <a:pt x="4389" y="1654"/>
                  </a:lnTo>
                  <a:lnTo>
                    <a:pt x="4444" y="1626"/>
                  </a:lnTo>
                  <a:lnTo>
                    <a:pt x="4503" y="1626"/>
                  </a:lnTo>
                  <a:lnTo>
                    <a:pt x="4512" y="1642"/>
                  </a:lnTo>
                  <a:lnTo>
                    <a:pt x="4550" y="1654"/>
                  </a:lnTo>
                  <a:lnTo>
                    <a:pt x="4550" y="1666"/>
                  </a:lnTo>
                  <a:lnTo>
                    <a:pt x="4567" y="1654"/>
                  </a:lnTo>
                  <a:lnTo>
                    <a:pt x="4611" y="1659"/>
                  </a:lnTo>
                  <a:lnTo>
                    <a:pt x="4637" y="1699"/>
                  </a:lnTo>
                  <a:lnTo>
                    <a:pt x="4611" y="1715"/>
                  </a:lnTo>
                  <a:lnTo>
                    <a:pt x="4557" y="1715"/>
                  </a:lnTo>
                  <a:lnTo>
                    <a:pt x="4536" y="1748"/>
                  </a:lnTo>
                  <a:lnTo>
                    <a:pt x="4574" y="1715"/>
                  </a:lnTo>
                  <a:lnTo>
                    <a:pt x="4611" y="1725"/>
                  </a:lnTo>
                  <a:lnTo>
                    <a:pt x="4588" y="1732"/>
                  </a:lnTo>
                  <a:lnTo>
                    <a:pt x="4574" y="1765"/>
                  </a:lnTo>
                  <a:lnTo>
                    <a:pt x="4550" y="1770"/>
                  </a:lnTo>
                  <a:lnTo>
                    <a:pt x="4574" y="1765"/>
                  </a:lnTo>
                  <a:lnTo>
                    <a:pt x="4588" y="1732"/>
                  </a:lnTo>
                  <a:lnTo>
                    <a:pt x="4626" y="1715"/>
                  </a:lnTo>
                  <a:lnTo>
                    <a:pt x="4680" y="1725"/>
                  </a:lnTo>
                  <a:lnTo>
                    <a:pt x="4692" y="1732"/>
                  </a:lnTo>
                  <a:lnTo>
                    <a:pt x="4680" y="1753"/>
                  </a:lnTo>
                  <a:lnTo>
                    <a:pt x="4604" y="1770"/>
                  </a:lnTo>
                  <a:lnTo>
                    <a:pt x="4637" y="1781"/>
                  </a:lnTo>
                  <a:lnTo>
                    <a:pt x="4595" y="1793"/>
                  </a:lnTo>
                  <a:lnTo>
                    <a:pt x="4659" y="1781"/>
                  </a:lnTo>
                  <a:lnTo>
                    <a:pt x="4621" y="1803"/>
                  </a:lnTo>
                  <a:lnTo>
                    <a:pt x="4642" y="1793"/>
                  </a:lnTo>
                  <a:lnTo>
                    <a:pt x="4649" y="1810"/>
                  </a:lnTo>
                  <a:lnTo>
                    <a:pt x="4621" y="1843"/>
                  </a:lnTo>
                  <a:lnTo>
                    <a:pt x="4649" y="1810"/>
                  </a:lnTo>
                  <a:lnTo>
                    <a:pt x="4649" y="1793"/>
                  </a:lnTo>
                  <a:lnTo>
                    <a:pt x="4659" y="1781"/>
                  </a:lnTo>
                  <a:lnTo>
                    <a:pt x="4692" y="1765"/>
                  </a:lnTo>
                  <a:lnTo>
                    <a:pt x="4680" y="1781"/>
                  </a:lnTo>
                  <a:lnTo>
                    <a:pt x="4692" y="1793"/>
                  </a:lnTo>
                  <a:lnTo>
                    <a:pt x="4696" y="1765"/>
                  </a:lnTo>
                  <a:lnTo>
                    <a:pt x="4718" y="1765"/>
                  </a:lnTo>
                  <a:lnTo>
                    <a:pt x="4729" y="1765"/>
                  </a:lnTo>
                  <a:lnTo>
                    <a:pt x="4696" y="1793"/>
                  </a:lnTo>
                  <a:lnTo>
                    <a:pt x="4675" y="1810"/>
                  </a:lnTo>
                  <a:lnTo>
                    <a:pt x="4696" y="1803"/>
                  </a:lnTo>
                  <a:lnTo>
                    <a:pt x="4692" y="1826"/>
                  </a:lnTo>
                  <a:lnTo>
                    <a:pt x="4680" y="1836"/>
                  </a:lnTo>
                  <a:lnTo>
                    <a:pt x="4696" y="1826"/>
                  </a:lnTo>
                  <a:lnTo>
                    <a:pt x="4713" y="1793"/>
                  </a:lnTo>
                  <a:lnTo>
                    <a:pt x="4729" y="1786"/>
                  </a:lnTo>
                  <a:lnTo>
                    <a:pt x="4729" y="1819"/>
                  </a:lnTo>
                  <a:lnTo>
                    <a:pt x="4734" y="1803"/>
                  </a:lnTo>
                  <a:lnTo>
                    <a:pt x="4746" y="1810"/>
                  </a:lnTo>
                  <a:lnTo>
                    <a:pt x="4729" y="1826"/>
                  </a:lnTo>
                  <a:lnTo>
                    <a:pt x="4718" y="1848"/>
                  </a:lnTo>
                  <a:lnTo>
                    <a:pt x="4701" y="1859"/>
                  </a:lnTo>
                  <a:lnTo>
                    <a:pt x="4718" y="1848"/>
                  </a:lnTo>
                  <a:lnTo>
                    <a:pt x="4729" y="1836"/>
                  </a:lnTo>
                  <a:lnTo>
                    <a:pt x="4734" y="1819"/>
                  </a:lnTo>
                  <a:lnTo>
                    <a:pt x="4767" y="1826"/>
                  </a:lnTo>
                  <a:lnTo>
                    <a:pt x="4751" y="1836"/>
                  </a:lnTo>
                  <a:lnTo>
                    <a:pt x="4751" y="1848"/>
                  </a:lnTo>
                  <a:lnTo>
                    <a:pt x="4734" y="1859"/>
                  </a:lnTo>
                  <a:lnTo>
                    <a:pt x="4746" y="1864"/>
                  </a:lnTo>
                  <a:lnTo>
                    <a:pt x="4755" y="1836"/>
                  </a:lnTo>
                  <a:lnTo>
                    <a:pt x="4767" y="1826"/>
                  </a:lnTo>
                  <a:lnTo>
                    <a:pt x="4767" y="1810"/>
                  </a:lnTo>
                  <a:lnTo>
                    <a:pt x="4789" y="1810"/>
                  </a:lnTo>
                  <a:lnTo>
                    <a:pt x="4805" y="1781"/>
                  </a:lnTo>
                  <a:lnTo>
                    <a:pt x="4864" y="1793"/>
                  </a:lnTo>
                  <a:lnTo>
                    <a:pt x="4897" y="1826"/>
                  </a:lnTo>
                  <a:lnTo>
                    <a:pt x="4874" y="1859"/>
                  </a:lnTo>
                  <a:lnTo>
                    <a:pt x="4843" y="1848"/>
                  </a:lnTo>
                  <a:lnTo>
                    <a:pt x="4810" y="1881"/>
                  </a:lnTo>
                  <a:lnTo>
                    <a:pt x="4789" y="1881"/>
                  </a:lnTo>
                  <a:lnTo>
                    <a:pt x="4826" y="1881"/>
                  </a:lnTo>
                  <a:lnTo>
                    <a:pt x="4810" y="1904"/>
                  </a:lnTo>
                  <a:lnTo>
                    <a:pt x="4798" y="1914"/>
                  </a:lnTo>
                  <a:lnTo>
                    <a:pt x="4826" y="1892"/>
                  </a:lnTo>
                  <a:lnTo>
                    <a:pt x="4881" y="1881"/>
                  </a:lnTo>
                  <a:lnTo>
                    <a:pt x="4897" y="1859"/>
                  </a:lnTo>
                  <a:lnTo>
                    <a:pt x="4918" y="1848"/>
                  </a:lnTo>
                  <a:lnTo>
                    <a:pt x="4935" y="1859"/>
                  </a:lnTo>
                  <a:lnTo>
                    <a:pt x="4944" y="1876"/>
                  </a:lnTo>
                  <a:lnTo>
                    <a:pt x="4928" y="1897"/>
                  </a:lnTo>
                  <a:lnTo>
                    <a:pt x="4897" y="1914"/>
                  </a:lnTo>
                  <a:lnTo>
                    <a:pt x="4864" y="1914"/>
                  </a:lnTo>
                  <a:lnTo>
                    <a:pt x="4852" y="1937"/>
                  </a:lnTo>
                  <a:lnTo>
                    <a:pt x="4859" y="1937"/>
                  </a:lnTo>
                  <a:lnTo>
                    <a:pt x="4859" y="1947"/>
                  </a:lnTo>
                  <a:lnTo>
                    <a:pt x="4852" y="1954"/>
                  </a:lnTo>
                  <a:lnTo>
                    <a:pt x="4859" y="1954"/>
                  </a:lnTo>
                  <a:lnTo>
                    <a:pt x="4874" y="1921"/>
                  </a:lnTo>
                  <a:lnTo>
                    <a:pt x="4897" y="1921"/>
                  </a:lnTo>
                  <a:lnTo>
                    <a:pt x="4890" y="1954"/>
                  </a:lnTo>
                  <a:lnTo>
                    <a:pt x="4890" y="1959"/>
                  </a:lnTo>
                  <a:lnTo>
                    <a:pt x="4874" y="1992"/>
                  </a:lnTo>
                  <a:lnTo>
                    <a:pt x="4897" y="1959"/>
                  </a:lnTo>
                  <a:lnTo>
                    <a:pt x="4911" y="1914"/>
                  </a:lnTo>
                  <a:lnTo>
                    <a:pt x="4987" y="1881"/>
                  </a:lnTo>
                  <a:lnTo>
                    <a:pt x="4999" y="1881"/>
                  </a:lnTo>
                  <a:lnTo>
                    <a:pt x="4973" y="1904"/>
                  </a:lnTo>
                  <a:lnTo>
                    <a:pt x="4944" y="1914"/>
                  </a:lnTo>
                  <a:lnTo>
                    <a:pt x="4949" y="1921"/>
                  </a:lnTo>
                  <a:lnTo>
                    <a:pt x="4944" y="1930"/>
                  </a:lnTo>
                  <a:lnTo>
                    <a:pt x="4961" y="1930"/>
                  </a:lnTo>
                  <a:lnTo>
                    <a:pt x="4961" y="1914"/>
                  </a:lnTo>
                  <a:lnTo>
                    <a:pt x="4973" y="1914"/>
                  </a:lnTo>
                  <a:lnTo>
                    <a:pt x="5020" y="1892"/>
                  </a:lnTo>
                  <a:lnTo>
                    <a:pt x="5096" y="1921"/>
                  </a:lnTo>
                  <a:lnTo>
                    <a:pt x="5096" y="1930"/>
                  </a:lnTo>
                  <a:lnTo>
                    <a:pt x="5091" y="1947"/>
                  </a:lnTo>
                  <a:lnTo>
                    <a:pt x="5074" y="1930"/>
                  </a:lnTo>
                  <a:lnTo>
                    <a:pt x="5074" y="1954"/>
                  </a:lnTo>
                  <a:lnTo>
                    <a:pt x="5004" y="1970"/>
                  </a:lnTo>
                  <a:lnTo>
                    <a:pt x="4966" y="1992"/>
                  </a:lnTo>
                  <a:lnTo>
                    <a:pt x="4987" y="1992"/>
                  </a:lnTo>
                  <a:lnTo>
                    <a:pt x="4944" y="2013"/>
                  </a:lnTo>
                  <a:lnTo>
                    <a:pt x="4999" y="1992"/>
                  </a:lnTo>
                  <a:lnTo>
                    <a:pt x="4999" y="1987"/>
                  </a:lnTo>
                  <a:lnTo>
                    <a:pt x="5004" y="1975"/>
                  </a:lnTo>
                  <a:lnTo>
                    <a:pt x="5058" y="1970"/>
                  </a:lnTo>
                  <a:lnTo>
                    <a:pt x="5074" y="1975"/>
                  </a:lnTo>
                  <a:lnTo>
                    <a:pt x="5020" y="2013"/>
                  </a:lnTo>
                  <a:lnTo>
                    <a:pt x="4987" y="2013"/>
                  </a:lnTo>
                  <a:lnTo>
                    <a:pt x="4982" y="2041"/>
                  </a:lnTo>
                  <a:lnTo>
                    <a:pt x="4999" y="2013"/>
                  </a:lnTo>
                  <a:lnTo>
                    <a:pt x="5020" y="2025"/>
                  </a:lnTo>
                  <a:lnTo>
                    <a:pt x="5041" y="2003"/>
                  </a:lnTo>
                  <a:lnTo>
                    <a:pt x="5107" y="1975"/>
                  </a:lnTo>
                  <a:lnTo>
                    <a:pt x="5096" y="1970"/>
                  </a:lnTo>
                  <a:lnTo>
                    <a:pt x="5107" y="1954"/>
                  </a:lnTo>
                  <a:lnTo>
                    <a:pt x="5138" y="1959"/>
                  </a:lnTo>
                  <a:lnTo>
                    <a:pt x="5176" y="2003"/>
                  </a:lnTo>
                  <a:lnTo>
                    <a:pt x="5183" y="2025"/>
                  </a:lnTo>
                  <a:lnTo>
                    <a:pt x="5124" y="2025"/>
                  </a:lnTo>
                  <a:lnTo>
                    <a:pt x="5096" y="2041"/>
                  </a:lnTo>
                  <a:lnTo>
                    <a:pt x="4973" y="2058"/>
                  </a:lnTo>
                  <a:lnTo>
                    <a:pt x="5025" y="2058"/>
                  </a:lnTo>
                  <a:lnTo>
                    <a:pt x="5074" y="2048"/>
                  </a:lnTo>
                  <a:lnTo>
                    <a:pt x="5124" y="2065"/>
                  </a:lnTo>
                  <a:lnTo>
                    <a:pt x="5176" y="2065"/>
                  </a:lnTo>
                  <a:lnTo>
                    <a:pt x="5204" y="2081"/>
                  </a:lnTo>
                  <a:lnTo>
                    <a:pt x="5214" y="2098"/>
                  </a:lnTo>
                  <a:lnTo>
                    <a:pt x="5204" y="2103"/>
                  </a:lnTo>
                  <a:lnTo>
                    <a:pt x="5053" y="2070"/>
                  </a:lnTo>
                  <a:lnTo>
                    <a:pt x="5025" y="2086"/>
                  </a:lnTo>
                  <a:lnTo>
                    <a:pt x="5053" y="2081"/>
                  </a:lnTo>
                  <a:lnTo>
                    <a:pt x="5112" y="2098"/>
                  </a:lnTo>
                  <a:lnTo>
                    <a:pt x="5053" y="2098"/>
                  </a:lnTo>
                  <a:lnTo>
                    <a:pt x="5079" y="2098"/>
                  </a:lnTo>
                  <a:lnTo>
                    <a:pt x="5053" y="2115"/>
                  </a:lnTo>
                  <a:lnTo>
                    <a:pt x="5053" y="2124"/>
                  </a:lnTo>
                  <a:lnTo>
                    <a:pt x="5058" y="2115"/>
                  </a:lnTo>
                  <a:lnTo>
                    <a:pt x="5107" y="2103"/>
                  </a:lnTo>
                  <a:lnTo>
                    <a:pt x="5138" y="2119"/>
                  </a:lnTo>
                  <a:lnTo>
                    <a:pt x="5079" y="2124"/>
                  </a:lnTo>
                  <a:lnTo>
                    <a:pt x="5112" y="2124"/>
                  </a:lnTo>
                  <a:lnTo>
                    <a:pt x="5124" y="2136"/>
                  </a:lnTo>
                  <a:lnTo>
                    <a:pt x="5079" y="2136"/>
                  </a:lnTo>
                  <a:lnTo>
                    <a:pt x="5138" y="2152"/>
                  </a:lnTo>
                  <a:lnTo>
                    <a:pt x="5020" y="2136"/>
                  </a:lnTo>
                  <a:lnTo>
                    <a:pt x="5112" y="2157"/>
                  </a:lnTo>
                  <a:lnTo>
                    <a:pt x="5058" y="2169"/>
                  </a:lnTo>
                  <a:lnTo>
                    <a:pt x="5091" y="2169"/>
                  </a:lnTo>
                  <a:lnTo>
                    <a:pt x="5070" y="2176"/>
                  </a:lnTo>
                  <a:lnTo>
                    <a:pt x="5150" y="2176"/>
                  </a:lnTo>
                  <a:lnTo>
                    <a:pt x="5145" y="2181"/>
                  </a:lnTo>
                  <a:lnTo>
                    <a:pt x="5145" y="2197"/>
                  </a:lnTo>
                  <a:lnTo>
                    <a:pt x="5162" y="2181"/>
                  </a:lnTo>
                  <a:lnTo>
                    <a:pt x="5176" y="2192"/>
                  </a:lnTo>
                  <a:lnTo>
                    <a:pt x="5167" y="2192"/>
                  </a:lnTo>
                  <a:lnTo>
                    <a:pt x="5183" y="2192"/>
                  </a:lnTo>
                  <a:lnTo>
                    <a:pt x="5183" y="2181"/>
                  </a:lnTo>
                  <a:lnTo>
                    <a:pt x="5214" y="2192"/>
                  </a:lnTo>
                  <a:lnTo>
                    <a:pt x="5192" y="2197"/>
                  </a:lnTo>
                  <a:lnTo>
                    <a:pt x="5138" y="2209"/>
                  </a:lnTo>
                  <a:lnTo>
                    <a:pt x="5129" y="2214"/>
                  </a:lnTo>
                  <a:lnTo>
                    <a:pt x="5145" y="2209"/>
                  </a:lnTo>
                  <a:lnTo>
                    <a:pt x="5150" y="2214"/>
                  </a:lnTo>
                  <a:lnTo>
                    <a:pt x="5145" y="2214"/>
                  </a:lnTo>
                  <a:lnTo>
                    <a:pt x="5150" y="2214"/>
                  </a:lnTo>
                  <a:lnTo>
                    <a:pt x="5176" y="2197"/>
                  </a:lnTo>
                  <a:lnTo>
                    <a:pt x="5192" y="2209"/>
                  </a:lnTo>
                  <a:lnTo>
                    <a:pt x="5176" y="2209"/>
                  </a:lnTo>
                  <a:lnTo>
                    <a:pt x="5162" y="2230"/>
                  </a:lnTo>
                  <a:lnTo>
                    <a:pt x="5145" y="2226"/>
                  </a:lnTo>
                  <a:lnTo>
                    <a:pt x="5162" y="2230"/>
                  </a:lnTo>
                  <a:lnTo>
                    <a:pt x="5167" y="2214"/>
                  </a:lnTo>
                  <a:lnTo>
                    <a:pt x="5192" y="2209"/>
                  </a:lnTo>
                  <a:lnTo>
                    <a:pt x="5204" y="2214"/>
                  </a:lnTo>
                  <a:lnTo>
                    <a:pt x="5192" y="2247"/>
                  </a:lnTo>
                  <a:lnTo>
                    <a:pt x="5214" y="2230"/>
                  </a:lnTo>
                  <a:lnTo>
                    <a:pt x="5214" y="2247"/>
                  </a:lnTo>
                  <a:lnTo>
                    <a:pt x="5221" y="2230"/>
                  </a:lnTo>
                  <a:lnTo>
                    <a:pt x="5237" y="2230"/>
                  </a:lnTo>
                  <a:lnTo>
                    <a:pt x="5230" y="2235"/>
                  </a:lnTo>
                  <a:lnTo>
                    <a:pt x="5247" y="2247"/>
                  </a:lnTo>
                  <a:lnTo>
                    <a:pt x="5230" y="2263"/>
                  </a:lnTo>
                  <a:lnTo>
                    <a:pt x="5204" y="2263"/>
                  </a:lnTo>
                  <a:lnTo>
                    <a:pt x="5237" y="2268"/>
                  </a:lnTo>
                  <a:lnTo>
                    <a:pt x="5237" y="2252"/>
                  </a:lnTo>
                  <a:lnTo>
                    <a:pt x="5268" y="2235"/>
                  </a:lnTo>
                  <a:lnTo>
                    <a:pt x="5268" y="2226"/>
                  </a:lnTo>
                  <a:lnTo>
                    <a:pt x="5268" y="2235"/>
                  </a:lnTo>
                  <a:lnTo>
                    <a:pt x="5259" y="2252"/>
                  </a:lnTo>
                  <a:lnTo>
                    <a:pt x="5259" y="2263"/>
                  </a:lnTo>
                  <a:lnTo>
                    <a:pt x="5259" y="2292"/>
                  </a:lnTo>
                  <a:lnTo>
                    <a:pt x="5259" y="2268"/>
                  </a:lnTo>
                  <a:lnTo>
                    <a:pt x="5275" y="2252"/>
                  </a:lnTo>
                  <a:lnTo>
                    <a:pt x="5275" y="2247"/>
                  </a:lnTo>
                  <a:lnTo>
                    <a:pt x="5301" y="2247"/>
                  </a:lnTo>
                  <a:lnTo>
                    <a:pt x="5285" y="2268"/>
                  </a:lnTo>
                  <a:lnTo>
                    <a:pt x="5306" y="2292"/>
                  </a:lnTo>
                  <a:lnTo>
                    <a:pt x="5306" y="2285"/>
                  </a:lnTo>
                  <a:lnTo>
                    <a:pt x="5289" y="2268"/>
                  </a:lnTo>
                  <a:lnTo>
                    <a:pt x="5301" y="2252"/>
                  </a:lnTo>
                  <a:lnTo>
                    <a:pt x="5327" y="2235"/>
                  </a:lnTo>
                  <a:lnTo>
                    <a:pt x="5355" y="2247"/>
                  </a:lnTo>
                  <a:lnTo>
                    <a:pt x="5327" y="2263"/>
                  </a:lnTo>
                  <a:lnTo>
                    <a:pt x="5327" y="2268"/>
                  </a:lnTo>
                  <a:lnTo>
                    <a:pt x="5313" y="2285"/>
                  </a:lnTo>
                  <a:lnTo>
                    <a:pt x="5339" y="2268"/>
                  </a:lnTo>
                  <a:lnTo>
                    <a:pt x="5344" y="2268"/>
                  </a:lnTo>
                  <a:lnTo>
                    <a:pt x="5344" y="2285"/>
                  </a:lnTo>
                  <a:lnTo>
                    <a:pt x="5344" y="2268"/>
                  </a:lnTo>
                  <a:lnTo>
                    <a:pt x="5365" y="2268"/>
                  </a:lnTo>
                  <a:lnTo>
                    <a:pt x="5377" y="2280"/>
                  </a:lnTo>
                  <a:lnTo>
                    <a:pt x="5355" y="2285"/>
                  </a:lnTo>
                  <a:lnTo>
                    <a:pt x="5377" y="2280"/>
                  </a:lnTo>
                  <a:lnTo>
                    <a:pt x="5398" y="2303"/>
                  </a:lnTo>
                  <a:lnTo>
                    <a:pt x="5365" y="2308"/>
                  </a:lnTo>
                  <a:lnTo>
                    <a:pt x="5398" y="2308"/>
                  </a:lnTo>
                  <a:lnTo>
                    <a:pt x="5410" y="2337"/>
                  </a:lnTo>
                  <a:lnTo>
                    <a:pt x="5344" y="2325"/>
                  </a:lnTo>
                  <a:lnTo>
                    <a:pt x="5381" y="2337"/>
                  </a:lnTo>
                  <a:lnTo>
                    <a:pt x="5344" y="2341"/>
                  </a:lnTo>
                  <a:lnTo>
                    <a:pt x="5398" y="2337"/>
                  </a:lnTo>
                  <a:lnTo>
                    <a:pt x="5360" y="2346"/>
                  </a:lnTo>
                  <a:lnTo>
                    <a:pt x="5355" y="2363"/>
                  </a:lnTo>
                  <a:lnTo>
                    <a:pt x="5365" y="2346"/>
                  </a:lnTo>
                  <a:lnTo>
                    <a:pt x="5436" y="2341"/>
                  </a:lnTo>
                  <a:lnTo>
                    <a:pt x="5415" y="2374"/>
                  </a:lnTo>
                  <a:lnTo>
                    <a:pt x="5448" y="2346"/>
                  </a:lnTo>
                  <a:lnTo>
                    <a:pt x="5448" y="2337"/>
                  </a:lnTo>
                  <a:lnTo>
                    <a:pt x="5462" y="2325"/>
                  </a:lnTo>
                  <a:lnTo>
                    <a:pt x="5474" y="2341"/>
                  </a:lnTo>
                  <a:lnTo>
                    <a:pt x="5452" y="2358"/>
                  </a:lnTo>
                  <a:lnTo>
                    <a:pt x="5452" y="2374"/>
                  </a:lnTo>
                  <a:lnTo>
                    <a:pt x="5415" y="2391"/>
                  </a:lnTo>
                  <a:lnTo>
                    <a:pt x="5436" y="2391"/>
                  </a:lnTo>
                  <a:lnTo>
                    <a:pt x="5436" y="2379"/>
                  </a:lnTo>
                  <a:lnTo>
                    <a:pt x="5436" y="2403"/>
                  </a:lnTo>
                  <a:lnTo>
                    <a:pt x="5452" y="2379"/>
                  </a:lnTo>
                  <a:lnTo>
                    <a:pt x="5485" y="2374"/>
                  </a:lnTo>
                  <a:lnTo>
                    <a:pt x="5474" y="2412"/>
                  </a:lnTo>
                  <a:lnTo>
                    <a:pt x="5490" y="2396"/>
                  </a:lnTo>
                  <a:lnTo>
                    <a:pt x="5490" y="2374"/>
                  </a:lnTo>
                  <a:lnTo>
                    <a:pt x="5500" y="2374"/>
                  </a:lnTo>
                  <a:lnTo>
                    <a:pt x="5523" y="2403"/>
                  </a:lnTo>
                  <a:lnTo>
                    <a:pt x="5507" y="2379"/>
                  </a:lnTo>
                  <a:lnTo>
                    <a:pt x="5528" y="2363"/>
                  </a:lnTo>
                  <a:lnTo>
                    <a:pt x="5537" y="2363"/>
                  </a:lnTo>
                  <a:lnTo>
                    <a:pt x="5528" y="2379"/>
                  </a:lnTo>
                  <a:lnTo>
                    <a:pt x="5561" y="2374"/>
                  </a:lnTo>
                  <a:lnTo>
                    <a:pt x="5592" y="2412"/>
                  </a:lnTo>
                  <a:lnTo>
                    <a:pt x="5575" y="2419"/>
                  </a:lnTo>
                  <a:lnTo>
                    <a:pt x="5544" y="2403"/>
                  </a:lnTo>
                  <a:lnTo>
                    <a:pt x="5528" y="2412"/>
                  </a:lnTo>
                  <a:lnTo>
                    <a:pt x="5554" y="2412"/>
                  </a:lnTo>
                  <a:lnTo>
                    <a:pt x="5570" y="2429"/>
                  </a:lnTo>
                  <a:lnTo>
                    <a:pt x="5544" y="2436"/>
                  </a:lnTo>
                  <a:lnTo>
                    <a:pt x="5575" y="2448"/>
                  </a:lnTo>
                  <a:lnTo>
                    <a:pt x="5544" y="2452"/>
                  </a:lnTo>
                  <a:lnTo>
                    <a:pt x="5507" y="2436"/>
                  </a:lnTo>
                  <a:lnTo>
                    <a:pt x="5490" y="2436"/>
                  </a:lnTo>
                  <a:lnTo>
                    <a:pt x="5516" y="2452"/>
                  </a:lnTo>
                  <a:lnTo>
                    <a:pt x="5490" y="2457"/>
                  </a:lnTo>
                  <a:lnTo>
                    <a:pt x="5474" y="2452"/>
                  </a:lnTo>
                  <a:lnTo>
                    <a:pt x="5490" y="2469"/>
                  </a:lnTo>
                  <a:lnTo>
                    <a:pt x="5528" y="2469"/>
                  </a:lnTo>
                  <a:lnTo>
                    <a:pt x="5544" y="2485"/>
                  </a:lnTo>
                  <a:lnTo>
                    <a:pt x="5485" y="2485"/>
                  </a:lnTo>
                  <a:lnTo>
                    <a:pt x="5474" y="2469"/>
                  </a:lnTo>
                  <a:lnTo>
                    <a:pt x="5469" y="2474"/>
                  </a:lnTo>
                  <a:lnTo>
                    <a:pt x="5516" y="2490"/>
                  </a:lnTo>
                  <a:lnTo>
                    <a:pt x="5516" y="2507"/>
                  </a:lnTo>
                  <a:lnTo>
                    <a:pt x="5500" y="2507"/>
                  </a:lnTo>
                  <a:lnTo>
                    <a:pt x="5474" y="2502"/>
                  </a:lnTo>
                  <a:lnTo>
                    <a:pt x="5500" y="2514"/>
                  </a:lnTo>
                  <a:lnTo>
                    <a:pt x="5485" y="2514"/>
                  </a:lnTo>
                  <a:lnTo>
                    <a:pt x="5500" y="2523"/>
                  </a:lnTo>
                  <a:lnTo>
                    <a:pt x="5490" y="2540"/>
                  </a:lnTo>
                  <a:lnTo>
                    <a:pt x="5485" y="2540"/>
                  </a:lnTo>
                  <a:lnTo>
                    <a:pt x="5474" y="2514"/>
                  </a:lnTo>
                  <a:lnTo>
                    <a:pt x="5474" y="2530"/>
                  </a:lnTo>
                  <a:lnTo>
                    <a:pt x="5474" y="2540"/>
                  </a:lnTo>
                  <a:lnTo>
                    <a:pt x="5452" y="2530"/>
                  </a:lnTo>
                  <a:lnTo>
                    <a:pt x="5436" y="2507"/>
                  </a:lnTo>
                  <a:lnTo>
                    <a:pt x="5448" y="2530"/>
                  </a:lnTo>
                  <a:lnTo>
                    <a:pt x="5419" y="2523"/>
                  </a:lnTo>
                  <a:lnTo>
                    <a:pt x="5448" y="2540"/>
                  </a:lnTo>
                  <a:lnTo>
                    <a:pt x="5431" y="2540"/>
                  </a:lnTo>
                  <a:lnTo>
                    <a:pt x="5452" y="2556"/>
                  </a:lnTo>
                  <a:lnTo>
                    <a:pt x="5419" y="2547"/>
                  </a:lnTo>
                  <a:lnTo>
                    <a:pt x="5448" y="2568"/>
                  </a:lnTo>
                  <a:lnTo>
                    <a:pt x="5436" y="2585"/>
                  </a:lnTo>
                  <a:lnTo>
                    <a:pt x="5448" y="2596"/>
                  </a:lnTo>
                  <a:lnTo>
                    <a:pt x="5431" y="2618"/>
                  </a:lnTo>
                  <a:lnTo>
                    <a:pt x="5415" y="2613"/>
                  </a:lnTo>
                  <a:lnTo>
                    <a:pt x="5419" y="2601"/>
                  </a:lnTo>
                  <a:lnTo>
                    <a:pt x="5410" y="2596"/>
                  </a:lnTo>
                  <a:lnTo>
                    <a:pt x="5393" y="2601"/>
                  </a:lnTo>
                  <a:lnTo>
                    <a:pt x="5381" y="2596"/>
                  </a:lnTo>
                  <a:lnTo>
                    <a:pt x="5393" y="2585"/>
                  </a:lnTo>
                  <a:lnTo>
                    <a:pt x="5377" y="2585"/>
                  </a:lnTo>
                  <a:lnTo>
                    <a:pt x="5377" y="2568"/>
                  </a:lnTo>
                  <a:lnTo>
                    <a:pt x="5381" y="2556"/>
                  </a:lnTo>
                  <a:lnTo>
                    <a:pt x="5365" y="2568"/>
                  </a:lnTo>
                  <a:lnTo>
                    <a:pt x="5360" y="2596"/>
                  </a:lnTo>
                  <a:lnTo>
                    <a:pt x="5339" y="2568"/>
                  </a:lnTo>
                  <a:lnTo>
                    <a:pt x="5355" y="2563"/>
                  </a:lnTo>
                  <a:lnTo>
                    <a:pt x="5339" y="2563"/>
                  </a:lnTo>
                  <a:lnTo>
                    <a:pt x="5365" y="2547"/>
                  </a:lnTo>
                  <a:lnTo>
                    <a:pt x="5327" y="2563"/>
                  </a:lnTo>
                  <a:lnTo>
                    <a:pt x="5322" y="2556"/>
                  </a:lnTo>
                  <a:lnTo>
                    <a:pt x="5355" y="2530"/>
                  </a:lnTo>
                  <a:lnTo>
                    <a:pt x="5327" y="2540"/>
                  </a:lnTo>
                  <a:lnTo>
                    <a:pt x="5306" y="2540"/>
                  </a:lnTo>
                  <a:lnTo>
                    <a:pt x="5344" y="2523"/>
                  </a:lnTo>
                  <a:lnTo>
                    <a:pt x="5322" y="2530"/>
                  </a:lnTo>
                  <a:lnTo>
                    <a:pt x="5289" y="2514"/>
                  </a:lnTo>
                  <a:lnTo>
                    <a:pt x="5306" y="2502"/>
                  </a:lnTo>
                  <a:lnTo>
                    <a:pt x="5355" y="2490"/>
                  </a:lnTo>
                  <a:lnTo>
                    <a:pt x="5344" y="2485"/>
                  </a:lnTo>
                  <a:lnTo>
                    <a:pt x="5355" y="2457"/>
                  </a:lnTo>
                  <a:lnTo>
                    <a:pt x="5377" y="2448"/>
                  </a:lnTo>
                  <a:lnTo>
                    <a:pt x="5355" y="2452"/>
                  </a:lnTo>
                  <a:lnTo>
                    <a:pt x="5339" y="2474"/>
                  </a:lnTo>
                  <a:lnTo>
                    <a:pt x="5268" y="2490"/>
                  </a:lnTo>
                  <a:lnTo>
                    <a:pt x="5259" y="2485"/>
                  </a:lnTo>
                  <a:lnTo>
                    <a:pt x="5285" y="2469"/>
                  </a:lnTo>
                  <a:lnTo>
                    <a:pt x="5301" y="2448"/>
                  </a:lnTo>
                  <a:lnTo>
                    <a:pt x="5285" y="2469"/>
                  </a:lnTo>
                  <a:lnTo>
                    <a:pt x="5252" y="2474"/>
                  </a:lnTo>
                  <a:lnTo>
                    <a:pt x="5247" y="2457"/>
                  </a:lnTo>
                  <a:lnTo>
                    <a:pt x="5221" y="2457"/>
                  </a:lnTo>
                  <a:lnTo>
                    <a:pt x="5221" y="2448"/>
                  </a:lnTo>
                  <a:lnTo>
                    <a:pt x="5230" y="2436"/>
                  </a:lnTo>
                  <a:lnTo>
                    <a:pt x="5204" y="2448"/>
                  </a:lnTo>
                  <a:lnTo>
                    <a:pt x="5200" y="2419"/>
                  </a:lnTo>
                  <a:lnTo>
                    <a:pt x="5183" y="2412"/>
                  </a:lnTo>
                  <a:lnTo>
                    <a:pt x="5200" y="2419"/>
                  </a:lnTo>
                  <a:lnTo>
                    <a:pt x="5183" y="2429"/>
                  </a:lnTo>
                  <a:lnTo>
                    <a:pt x="5167" y="2419"/>
                  </a:lnTo>
                  <a:lnTo>
                    <a:pt x="5138" y="2419"/>
                  </a:lnTo>
                  <a:lnTo>
                    <a:pt x="5183" y="2436"/>
                  </a:lnTo>
                  <a:lnTo>
                    <a:pt x="5176" y="2448"/>
                  </a:lnTo>
                  <a:lnTo>
                    <a:pt x="5162" y="2436"/>
                  </a:lnTo>
                  <a:lnTo>
                    <a:pt x="5183" y="2452"/>
                  </a:lnTo>
                  <a:lnTo>
                    <a:pt x="5167" y="2452"/>
                  </a:lnTo>
                  <a:lnTo>
                    <a:pt x="5124" y="2429"/>
                  </a:lnTo>
                  <a:lnTo>
                    <a:pt x="5145" y="2457"/>
                  </a:lnTo>
                  <a:lnTo>
                    <a:pt x="5176" y="2485"/>
                  </a:lnTo>
                  <a:lnTo>
                    <a:pt x="5176" y="2490"/>
                  </a:lnTo>
                  <a:lnTo>
                    <a:pt x="5176" y="2502"/>
                  </a:lnTo>
                  <a:lnTo>
                    <a:pt x="5129" y="2502"/>
                  </a:lnTo>
                  <a:lnTo>
                    <a:pt x="5107" y="2469"/>
                  </a:lnTo>
                  <a:lnTo>
                    <a:pt x="5058" y="2469"/>
                  </a:lnTo>
                  <a:lnTo>
                    <a:pt x="5112" y="2485"/>
                  </a:lnTo>
                  <a:lnTo>
                    <a:pt x="5112" y="2490"/>
                  </a:lnTo>
                  <a:lnTo>
                    <a:pt x="5096" y="2485"/>
                  </a:lnTo>
                  <a:lnTo>
                    <a:pt x="5096" y="2502"/>
                  </a:lnTo>
                  <a:lnTo>
                    <a:pt x="5112" y="2502"/>
                  </a:lnTo>
                  <a:lnTo>
                    <a:pt x="5107" y="2514"/>
                  </a:lnTo>
                  <a:lnTo>
                    <a:pt x="5129" y="2514"/>
                  </a:lnTo>
                  <a:lnTo>
                    <a:pt x="5112" y="2540"/>
                  </a:lnTo>
                  <a:lnTo>
                    <a:pt x="5124" y="2540"/>
                  </a:lnTo>
                  <a:lnTo>
                    <a:pt x="5124" y="2547"/>
                  </a:lnTo>
                  <a:lnTo>
                    <a:pt x="5138" y="2530"/>
                  </a:lnTo>
                  <a:lnTo>
                    <a:pt x="5167" y="2530"/>
                  </a:lnTo>
                  <a:lnTo>
                    <a:pt x="5162" y="2547"/>
                  </a:lnTo>
                  <a:lnTo>
                    <a:pt x="5183" y="2556"/>
                  </a:lnTo>
                  <a:lnTo>
                    <a:pt x="5162" y="2563"/>
                  </a:lnTo>
                  <a:lnTo>
                    <a:pt x="5200" y="2580"/>
                  </a:lnTo>
                  <a:lnTo>
                    <a:pt x="5192" y="2596"/>
                  </a:lnTo>
                  <a:lnTo>
                    <a:pt x="5183" y="2601"/>
                  </a:lnTo>
                  <a:lnTo>
                    <a:pt x="5204" y="2585"/>
                  </a:lnTo>
                  <a:lnTo>
                    <a:pt x="5204" y="2601"/>
                  </a:lnTo>
                  <a:lnTo>
                    <a:pt x="5214" y="2634"/>
                  </a:lnTo>
                  <a:lnTo>
                    <a:pt x="5214" y="2601"/>
                  </a:lnTo>
                  <a:lnTo>
                    <a:pt x="5252" y="2618"/>
                  </a:lnTo>
                  <a:lnTo>
                    <a:pt x="5247" y="2641"/>
                  </a:lnTo>
                  <a:lnTo>
                    <a:pt x="5259" y="2625"/>
                  </a:lnTo>
                  <a:lnTo>
                    <a:pt x="5259" y="2641"/>
                  </a:lnTo>
                  <a:lnTo>
                    <a:pt x="5268" y="2641"/>
                  </a:lnTo>
                  <a:lnTo>
                    <a:pt x="5259" y="2618"/>
                  </a:lnTo>
                  <a:lnTo>
                    <a:pt x="5285" y="2625"/>
                  </a:lnTo>
                  <a:lnTo>
                    <a:pt x="5285" y="2641"/>
                  </a:lnTo>
                  <a:lnTo>
                    <a:pt x="5285" y="2634"/>
                  </a:lnTo>
                  <a:lnTo>
                    <a:pt x="5289" y="2641"/>
                  </a:lnTo>
                  <a:lnTo>
                    <a:pt x="5285" y="2667"/>
                  </a:lnTo>
                  <a:lnTo>
                    <a:pt x="5313" y="2658"/>
                  </a:lnTo>
                  <a:lnTo>
                    <a:pt x="5322" y="2674"/>
                  </a:lnTo>
                  <a:lnTo>
                    <a:pt x="5313" y="2691"/>
                  </a:lnTo>
                  <a:lnTo>
                    <a:pt x="5285" y="2691"/>
                  </a:lnTo>
                  <a:lnTo>
                    <a:pt x="5301" y="2691"/>
                  </a:lnTo>
                  <a:lnTo>
                    <a:pt x="5327" y="2712"/>
                  </a:lnTo>
                  <a:lnTo>
                    <a:pt x="5313" y="2724"/>
                  </a:lnTo>
                  <a:lnTo>
                    <a:pt x="5355" y="2724"/>
                  </a:lnTo>
                  <a:lnTo>
                    <a:pt x="5327" y="2745"/>
                  </a:lnTo>
                  <a:lnTo>
                    <a:pt x="5360" y="2762"/>
                  </a:lnTo>
                  <a:lnTo>
                    <a:pt x="5365" y="2802"/>
                  </a:lnTo>
                  <a:lnTo>
                    <a:pt x="5360" y="2802"/>
                  </a:lnTo>
                  <a:lnTo>
                    <a:pt x="5365" y="2802"/>
                  </a:lnTo>
                  <a:lnTo>
                    <a:pt x="5360" y="2807"/>
                  </a:lnTo>
                  <a:lnTo>
                    <a:pt x="5344" y="2802"/>
                  </a:lnTo>
                  <a:lnTo>
                    <a:pt x="5339" y="2762"/>
                  </a:lnTo>
                  <a:lnTo>
                    <a:pt x="5306" y="2745"/>
                  </a:lnTo>
                  <a:lnTo>
                    <a:pt x="5327" y="2762"/>
                  </a:lnTo>
                  <a:lnTo>
                    <a:pt x="5322" y="2778"/>
                  </a:lnTo>
                  <a:lnTo>
                    <a:pt x="5339" y="2807"/>
                  </a:lnTo>
                  <a:lnTo>
                    <a:pt x="5322" y="2802"/>
                  </a:lnTo>
                  <a:lnTo>
                    <a:pt x="5327" y="2818"/>
                  </a:lnTo>
                  <a:lnTo>
                    <a:pt x="5344" y="2823"/>
                  </a:lnTo>
                  <a:lnTo>
                    <a:pt x="5344" y="2840"/>
                  </a:lnTo>
                  <a:lnTo>
                    <a:pt x="5355" y="2847"/>
                  </a:lnTo>
                  <a:lnTo>
                    <a:pt x="5339" y="2847"/>
                  </a:lnTo>
                  <a:lnTo>
                    <a:pt x="5313" y="2840"/>
                  </a:lnTo>
                  <a:lnTo>
                    <a:pt x="5339" y="2873"/>
                  </a:lnTo>
                  <a:lnTo>
                    <a:pt x="5313" y="2889"/>
                  </a:lnTo>
                  <a:lnTo>
                    <a:pt x="5313" y="2873"/>
                  </a:lnTo>
                  <a:lnTo>
                    <a:pt x="5306" y="2873"/>
                  </a:lnTo>
                  <a:lnTo>
                    <a:pt x="5306" y="2856"/>
                  </a:lnTo>
                  <a:lnTo>
                    <a:pt x="5289" y="2856"/>
                  </a:lnTo>
                  <a:lnTo>
                    <a:pt x="5268" y="2847"/>
                  </a:lnTo>
                  <a:lnTo>
                    <a:pt x="5268" y="2835"/>
                  </a:lnTo>
                  <a:lnTo>
                    <a:pt x="5259" y="2840"/>
                  </a:lnTo>
                  <a:lnTo>
                    <a:pt x="5237" y="2823"/>
                  </a:lnTo>
                  <a:lnTo>
                    <a:pt x="5252" y="2840"/>
                  </a:lnTo>
                  <a:lnTo>
                    <a:pt x="5230" y="2835"/>
                  </a:lnTo>
                  <a:lnTo>
                    <a:pt x="5214" y="2790"/>
                  </a:lnTo>
                  <a:lnTo>
                    <a:pt x="5204" y="2802"/>
                  </a:lnTo>
                  <a:lnTo>
                    <a:pt x="5221" y="2818"/>
                  </a:lnTo>
                  <a:lnTo>
                    <a:pt x="5221" y="2840"/>
                  </a:lnTo>
                  <a:lnTo>
                    <a:pt x="5204" y="2823"/>
                  </a:lnTo>
                  <a:lnTo>
                    <a:pt x="5204" y="2807"/>
                  </a:lnTo>
                  <a:lnTo>
                    <a:pt x="5200" y="2818"/>
                  </a:lnTo>
                  <a:lnTo>
                    <a:pt x="5192" y="2807"/>
                  </a:lnTo>
                  <a:lnTo>
                    <a:pt x="5192" y="2790"/>
                  </a:lnTo>
                  <a:lnTo>
                    <a:pt x="5192" y="2802"/>
                  </a:lnTo>
                  <a:lnTo>
                    <a:pt x="5176" y="2807"/>
                  </a:lnTo>
                  <a:lnTo>
                    <a:pt x="5129" y="2752"/>
                  </a:lnTo>
                  <a:lnTo>
                    <a:pt x="5145" y="2790"/>
                  </a:lnTo>
                  <a:lnTo>
                    <a:pt x="5079" y="2752"/>
                  </a:lnTo>
                  <a:lnTo>
                    <a:pt x="5053" y="2752"/>
                  </a:lnTo>
                  <a:lnTo>
                    <a:pt x="5107" y="2818"/>
                  </a:lnTo>
                  <a:lnTo>
                    <a:pt x="5145" y="2823"/>
                  </a:lnTo>
                  <a:lnTo>
                    <a:pt x="5138" y="2835"/>
                  </a:lnTo>
                  <a:lnTo>
                    <a:pt x="5138" y="2840"/>
                  </a:lnTo>
                  <a:lnTo>
                    <a:pt x="5150" y="2835"/>
                  </a:lnTo>
                  <a:lnTo>
                    <a:pt x="5145" y="2847"/>
                  </a:lnTo>
                  <a:lnTo>
                    <a:pt x="5162" y="2840"/>
                  </a:lnTo>
                  <a:lnTo>
                    <a:pt x="5192" y="2873"/>
                  </a:lnTo>
                  <a:lnTo>
                    <a:pt x="5204" y="2873"/>
                  </a:lnTo>
                  <a:lnTo>
                    <a:pt x="5204" y="2880"/>
                  </a:lnTo>
                  <a:lnTo>
                    <a:pt x="5237" y="2896"/>
                  </a:lnTo>
                  <a:lnTo>
                    <a:pt x="5237" y="2901"/>
                  </a:lnTo>
                  <a:lnTo>
                    <a:pt x="5230" y="2913"/>
                  </a:lnTo>
                  <a:lnTo>
                    <a:pt x="5237" y="2918"/>
                  </a:lnTo>
                  <a:lnTo>
                    <a:pt x="5237" y="2913"/>
                  </a:lnTo>
                  <a:lnTo>
                    <a:pt x="5247" y="2913"/>
                  </a:lnTo>
                  <a:lnTo>
                    <a:pt x="5247" y="2918"/>
                  </a:lnTo>
                  <a:lnTo>
                    <a:pt x="5268" y="2929"/>
                  </a:lnTo>
                  <a:lnTo>
                    <a:pt x="5252" y="2934"/>
                  </a:lnTo>
                  <a:lnTo>
                    <a:pt x="5259" y="2955"/>
                  </a:lnTo>
                  <a:lnTo>
                    <a:pt x="5230" y="2955"/>
                  </a:lnTo>
                  <a:lnTo>
                    <a:pt x="5204" y="2946"/>
                  </a:lnTo>
                  <a:lnTo>
                    <a:pt x="5041" y="2901"/>
                  </a:lnTo>
                  <a:lnTo>
                    <a:pt x="5004" y="2873"/>
                  </a:lnTo>
                  <a:lnTo>
                    <a:pt x="5015" y="2863"/>
                  </a:lnTo>
                  <a:lnTo>
                    <a:pt x="4966" y="2863"/>
                  </a:lnTo>
                  <a:lnTo>
                    <a:pt x="4897" y="2840"/>
                  </a:lnTo>
                  <a:lnTo>
                    <a:pt x="4918" y="2823"/>
                  </a:lnTo>
                  <a:lnTo>
                    <a:pt x="4911" y="2818"/>
                  </a:lnTo>
                  <a:lnTo>
                    <a:pt x="4890" y="2835"/>
                  </a:lnTo>
                  <a:lnTo>
                    <a:pt x="4864" y="2818"/>
                  </a:lnTo>
                  <a:lnTo>
                    <a:pt x="4852" y="2790"/>
                  </a:lnTo>
                  <a:lnTo>
                    <a:pt x="4826" y="2785"/>
                  </a:lnTo>
                  <a:lnTo>
                    <a:pt x="4864" y="2785"/>
                  </a:lnTo>
                  <a:lnTo>
                    <a:pt x="4890" y="2769"/>
                  </a:lnTo>
                  <a:lnTo>
                    <a:pt x="4864" y="2769"/>
                  </a:lnTo>
                  <a:lnTo>
                    <a:pt x="4864" y="2752"/>
                  </a:lnTo>
                  <a:lnTo>
                    <a:pt x="4843" y="2745"/>
                  </a:lnTo>
                  <a:lnTo>
                    <a:pt x="4836" y="2752"/>
                  </a:lnTo>
                  <a:lnTo>
                    <a:pt x="4852" y="2752"/>
                  </a:lnTo>
                  <a:lnTo>
                    <a:pt x="4843" y="2762"/>
                  </a:lnTo>
                  <a:lnTo>
                    <a:pt x="4826" y="2752"/>
                  </a:lnTo>
                  <a:lnTo>
                    <a:pt x="4810" y="2762"/>
                  </a:lnTo>
                  <a:lnTo>
                    <a:pt x="4810" y="2752"/>
                  </a:lnTo>
                  <a:lnTo>
                    <a:pt x="4822" y="2736"/>
                  </a:lnTo>
                  <a:lnTo>
                    <a:pt x="4822" y="2729"/>
                  </a:lnTo>
                  <a:lnTo>
                    <a:pt x="4810" y="2745"/>
                  </a:lnTo>
                  <a:lnTo>
                    <a:pt x="4805" y="2745"/>
                  </a:lnTo>
                  <a:lnTo>
                    <a:pt x="4798" y="2736"/>
                  </a:lnTo>
                  <a:lnTo>
                    <a:pt x="4798" y="2724"/>
                  </a:lnTo>
                  <a:lnTo>
                    <a:pt x="4789" y="2712"/>
                  </a:lnTo>
                  <a:lnTo>
                    <a:pt x="4789" y="2729"/>
                  </a:lnTo>
                  <a:lnTo>
                    <a:pt x="4772" y="2712"/>
                  </a:lnTo>
                  <a:lnTo>
                    <a:pt x="4784" y="2712"/>
                  </a:lnTo>
                  <a:lnTo>
                    <a:pt x="4772" y="2707"/>
                  </a:lnTo>
                  <a:lnTo>
                    <a:pt x="4751" y="2691"/>
                  </a:lnTo>
                  <a:lnTo>
                    <a:pt x="4746" y="2691"/>
                  </a:lnTo>
                  <a:lnTo>
                    <a:pt x="4746" y="2674"/>
                  </a:lnTo>
                  <a:lnTo>
                    <a:pt x="4755" y="2658"/>
                  </a:lnTo>
                  <a:lnTo>
                    <a:pt x="4751" y="2641"/>
                  </a:lnTo>
                  <a:lnTo>
                    <a:pt x="4751" y="2658"/>
                  </a:lnTo>
                  <a:lnTo>
                    <a:pt x="4734" y="2667"/>
                  </a:lnTo>
                  <a:lnTo>
                    <a:pt x="4734" y="2651"/>
                  </a:lnTo>
                  <a:lnTo>
                    <a:pt x="4718" y="2651"/>
                  </a:lnTo>
                  <a:lnTo>
                    <a:pt x="4718" y="2658"/>
                  </a:lnTo>
                  <a:lnTo>
                    <a:pt x="4701" y="2651"/>
                  </a:lnTo>
                  <a:lnTo>
                    <a:pt x="4713" y="2667"/>
                  </a:lnTo>
                  <a:lnTo>
                    <a:pt x="4696" y="2679"/>
                  </a:lnTo>
                  <a:lnTo>
                    <a:pt x="4692" y="2658"/>
                  </a:lnTo>
                  <a:lnTo>
                    <a:pt x="4696" y="2658"/>
                  </a:lnTo>
                  <a:lnTo>
                    <a:pt x="4696" y="2634"/>
                  </a:lnTo>
                  <a:lnTo>
                    <a:pt x="4680" y="2658"/>
                  </a:lnTo>
                  <a:lnTo>
                    <a:pt x="4675" y="2658"/>
                  </a:lnTo>
                  <a:lnTo>
                    <a:pt x="4649" y="2634"/>
                  </a:lnTo>
                  <a:lnTo>
                    <a:pt x="4663" y="2625"/>
                  </a:lnTo>
                  <a:lnTo>
                    <a:pt x="4649" y="2618"/>
                  </a:lnTo>
                  <a:lnTo>
                    <a:pt x="4649" y="2634"/>
                  </a:lnTo>
                  <a:lnTo>
                    <a:pt x="4626" y="2625"/>
                  </a:lnTo>
                  <a:lnTo>
                    <a:pt x="4663" y="2658"/>
                  </a:lnTo>
                  <a:lnTo>
                    <a:pt x="4649" y="2679"/>
                  </a:lnTo>
                  <a:lnTo>
                    <a:pt x="4574" y="2651"/>
                  </a:lnTo>
                  <a:lnTo>
                    <a:pt x="4574" y="2658"/>
                  </a:lnTo>
                  <a:lnTo>
                    <a:pt x="4583" y="2667"/>
                  </a:lnTo>
                  <a:lnTo>
                    <a:pt x="4567" y="2667"/>
                  </a:lnTo>
                  <a:lnTo>
                    <a:pt x="4583" y="2679"/>
                  </a:lnTo>
                  <a:lnTo>
                    <a:pt x="4503" y="2691"/>
                  </a:lnTo>
                  <a:lnTo>
                    <a:pt x="4512" y="2696"/>
                  </a:lnTo>
                  <a:lnTo>
                    <a:pt x="4481" y="2691"/>
                  </a:lnTo>
                  <a:lnTo>
                    <a:pt x="4465" y="2696"/>
                  </a:lnTo>
                  <a:lnTo>
                    <a:pt x="4444" y="2674"/>
                  </a:lnTo>
                  <a:lnTo>
                    <a:pt x="4432" y="2679"/>
                  </a:lnTo>
                  <a:lnTo>
                    <a:pt x="4406" y="2658"/>
                  </a:lnTo>
                  <a:lnTo>
                    <a:pt x="4406" y="2634"/>
                  </a:lnTo>
                  <a:lnTo>
                    <a:pt x="4411" y="2625"/>
                  </a:lnTo>
                  <a:lnTo>
                    <a:pt x="4411" y="2613"/>
                  </a:lnTo>
                  <a:lnTo>
                    <a:pt x="4465" y="2585"/>
                  </a:lnTo>
                  <a:lnTo>
                    <a:pt x="4448" y="2568"/>
                  </a:lnTo>
                  <a:lnTo>
                    <a:pt x="4465" y="2563"/>
                  </a:lnTo>
                  <a:lnTo>
                    <a:pt x="4460" y="2556"/>
                  </a:lnTo>
                  <a:lnTo>
                    <a:pt x="4574" y="2580"/>
                  </a:lnTo>
                  <a:lnTo>
                    <a:pt x="4595" y="2601"/>
                  </a:lnTo>
                  <a:lnTo>
                    <a:pt x="4595" y="2613"/>
                  </a:lnTo>
                  <a:lnTo>
                    <a:pt x="4583" y="2613"/>
                  </a:lnTo>
                  <a:lnTo>
                    <a:pt x="4604" y="2641"/>
                  </a:lnTo>
                  <a:lnTo>
                    <a:pt x="4611" y="2634"/>
                  </a:lnTo>
                  <a:lnTo>
                    <a:pt x="4604" y="2618"/>
                  </a:lnTo>
                  <a:lnTo>
                    <a:pt x="4588" y="2618"/>
                  </a:lnTo>
                  <a:lnTo>
                    <a:pt x="4611" y="2613"/>
                  </a:lnTo>
                  <a:lnTo>
                    <a:pt x="4611" y="2596"/>
                  </a:lnTo>
                  <a:lnTo>
                    <a:pt x="4604" y="2601"/>
                  </a:lnTo>
                  <a:lnTo>
                    <a:pt x="4567" y="2568"/>
                  </a:lnTo>
                  <a:lnTo>
                    <a:pt x="4611" y="2580"/>
                  </a:lnTo>
                  <a:lnTo>
                    <a:pt x="4621" y="2568"/>
                  </a:lnTo>
                  <a:lnTo>
                    <a:pt x="4621" y="2563"/>
                  </a:lnTo>
                  <a:lnTo>
                    <a:pt x="4663" y="2568"/>
                  </a:lnTo>
                  <a:lnTo>
                    <a:pt x="4692" y="2547"/>
                  </a:lnTo>
                  <a:lnTo>
                    <a:pt x="4734" y="2547"/>
                  </a:lnTo>
                  <a:lnTo>
                    <a:pt x="4718" y="2514"/>
                  </a:lnTo>
                  <a:lnTo>
                    <a:pt x="4696" y="2502"/>
                  </a:lnTo>
                  <a:lnTo>
                    <a:pt x="4663" y="2469"/>
                  </a:lnTo>
                  <a:lnTo>
                    <a:pt x="4734" y="2419"/>
                  </a:lnTo>
                  <a:lnTo>
                    <a:pt x="4755" y="2403"/>
                  </a:lnTo>
                  <a:lnTo>
                    <a:pt x="4784" y="2363"/>
                  </a:lnTo>
                  <a:lnTo>
                    <a:pt x="4810" y="2358"/>
                  </a:lnTo>
                  <a:lnTo>
                    <a:pt x="4822" y="2341"/>
                  </a:lnTo>
                  <a:lnTo>
                    <a:pt x="4805" y="2292"/>
                  </a:lnTo>
                  <a:lnTo>
                    <a:pt x="4789" y="2285"/>
                  </a:lnTo>
                  <a:lnTo>
                    <a:pt x="4798" y="2268"/>
                  </a:lnTo>
                  <a:lnTo>
                    <a:pt x="4772" y="2252"/>
                  </a:lnTo>
                  <a:lnTo>
                    <a:pt x="4772" y="2247"/>
                  </a:lnTo>
                  <a:lnTo>
                    <a:pt x="4767" y="2226"/>
                  </a:lnTo>
                  <a:lnTo>
                    <a:pt x="4734" y="2214"/>
                  </a:lnTo>
                  <a:lnTo>
                    <a:pt x="4751" y="2197"/>
                  </a:lnTo>
                  <a:lnTo>
                    <a:pt x="4729" y="2214"/>
                  </a:lnTo>
                  <a:lnTo>
                    <a:pt x="4713" y="2209"/>
                  </a:lnTo>
                  <a:lnTo>
                    <a:pt x="4701" y="2181"/>
                  </a:lnTo>
                  <a:lnTo>
                    <a:pt x="4718" y="2181"/>
                  </a:lnTo>
                  <a:lnTo>
                    <a:pt x="4718" y="2157"/>
                  </a:lnTo>
                  <a:lnTo>
                    <a:pt x="4692" y="2157"/>
                  </a:lnTo>
                  <a:lnTo>
                    <a:pt x="4701" y="2176"/>
                  </a:lnTo>
                  <a:lnTo>
                    <a:pt x="4696" y="2181"/>
                  </a:lnTo>
                  <a:lnTo>
                    <a:pt x="4675" y="2176"/>
                  </a:lnTo>
                  <a:lnTo>
                    <a:pt x="4649" y="2152"/>
                  </a:lnTo>
                  <a:lnTo>
                    <a:pt x="4659" y="2140"/>
                  </a:lnTo>
                  <a:lnTo>
                    <a:pt x="4637" y="2140"/>
                  </a:lnTo>
                  <a:lnTo>
                    <a:pt x="4649" y="2124"/>
                  </a:lnTo>
                  <a:lnTo>
                    <a:pt x="4626" y="2124"/>
                  </a:lnTo>
                  <a:lnTo>
                    <a:pt x="4649" y="2119"/>
                  </a:lnTo>
                  <a:lnTo>
                    <a:pt x="4642" y="2115"/>
                  </a:lnTo>
                  <a:lnTo>
                    <a:pt x="4626" y="2119"/>
                  </a:lnTo>
                  <a:lnTo>
                    <a:pt x="4621" y="2136"/>
                  </a:lnTo>
                  <a:lnTo>
                    <a:pt x="4595" y="2119"/>
                  </a:lnTo>
                  <a:lnTo>
                    <a:pt x="4588" y="2136"/>
                  </a:lnTo>
                  <a:lnTo>
                    <a:pt x="4512" y="2157"/>
                  </a:lnTo>
                  <a:lnTo>
                    <a:pt x="4512" y="2152"/>
                  </a:lnTo>
                  <a:lnTo>
                    <a:pt x="4519" y="2136"/>
                  </a:lnTo>
                  <a:lnTo>
                    <a:pt x="4512" y="2124"/>
                  </a:lnTo>
                  <a:lnTo>
                    <a:pt x="4512" y="2119"/>
                  </a:lnTo>
                  <a:lnTo>
                    <a:pt x="4557" y="2119"/>
                  </a:lnTo>
                  <a:lnTo>
                    <a:pt x="4588" y="2115"/>
                  </a:lnTo>
                  <a:lnTo>
                    <a:pt x="4588" y="2098"/>
                  </a:lnTo>
                  <a:lnTo>
                    <a:pt x="4512" y="2048"/>
                  </a:lnTo>
                  <a:lnTo>
                    <a:pt x="4529" y="2041"/>
                  </a:lnTo>
                  <a:lnTo>
                    <a:pt x="4541" y="2029"/>
                  </a:lnTo>
                  <a:lnTo>
                    <a:pt x="4512" y="2029"/>
                  </a:lnTo>
                  <a:lnTo>
                    <a:pt x="4519" y="2041"/>
                  </a:lnTo>
                  <a:lnTo>
                    <a:pt x="4512" y="2048"/>
                  </a:lnTo>
                  <a:lnTo>
                    <a:pt x="4474" y="2041"/>
                  </a:lnTo>
                  <a:lnTo>
                    <a:pt x="4503" y="2029"/>
                  </a:lnTo>
                  <a:lnTo>
                    <a:pt x="4498" y="2013"/>
                  </a:lnTo>
                  <a:lnTo>
                    <a:pt x="4465" y="2013"/>
                  </a:lnTo>
                  <a:lnTo>
                    <a:pt x="4486" y="2003"/>
                  </a:lnTo>
                  <a:lnTo>
                    <a:pt x="4444" y="2025"/>
                  </a:lnTo>
                  <a:lnTo>
                    <a:pt x="4444" y="1970"/>
                  </a:lnTo>
                  <a:lnTo>
                    <a:pt x="4427" y="1959"/>
                  </a:lnTo>
                  <a:lnTo>
                    <a:pt x="4389" y="1970"/>
                  </a:lnTo>
                  <a:lnTo>
                    <a:pt x="4389" y="1954"/>
                  </a:lnTo>
                  <a:lnTo>
                    <a:pt x="4389" y="1947"/>
                  </a:lnTo>
                  <a:lnTo>
                    <a:pt x="4378" y="1954"/>
                  </a:lnTo>
                  <a:lnTo>
                    <a:pt x="4368" y="1937"/>
                  </a:lnTo>
                  <a:lnTo>
                    <a:pt x="4340" y="1930"/>
                  </a:lnTo>
                  <a:lnTo>
                    <a:pt x="4340" y="1921"/>
                  </a:lnTo>
                  <a:lnTo>
                    <a:pt x="4356" y="1914"/>
                  </a:lnTo>
                  <a:lnTo>
                    <a:pt x="4368" y="1921"/>
                  </a:lnTo>
                  <a:lnTo>
                    <a:pt x="4352" y="1904"/>
                  </a:lnTo>
                  <a:lnTo>
                    <a:pt x="4335" y="1914"/>
                  </a:lnTo>
                  <a:lnTo>
                    <a:pt x="4340" y="1914"/>
                  </a:lnTo>
                  <a:lnTo>
                    <a:pt x="4335" y="1937"/>
                  </a:lnTo>
                  <a:lnTo>
                    <a:pt x="4318" y="1930"/>
                  </a:lnTo>
                  <a:lnTo>
                    <a:pt x="4302" y="1947"/>
                  </a:lnTo>
                  <a:lnTo>
                    <a:pt x="4356" y="1954"/>
                  </a:lnTo>
                  <a:lnTo>
                    <a:pt x="4373" y="1992"/>
                  </a:lnTo>
                  <a:lnTo>
                    <a:pt x="4368" y="2008"/>
                  </a:lnTo>
                  <a:lnTo>
                    <a:pt x="4302" y="2008"/>
                  </a:lnTo>
                  <a:lnTo>
                    <a:pt x="4271" y="1992"/>
                  </a:lnTo>
                  <a:lnTo>
                    <a:pt x="4158" y="1975"/>
                  </a:lnTo>
                  <a:lnTo>
                    <a:pt x="4196" y="1992"/>
                  </a:lnTo>
                  <a:lnTo>
                    <a:pt x="4226" y="2025"/>
                  </a:lnTo>
                  <a:lnTo>
                    <a:pt x="4210" y="2029"/>
                  </a:lnTo>
                  <a:lnTo>
                    <a:pt x="4134" y="1975"/>
                  </a:lnTo>
                  <a:lnTo>
                    <a:pt x="4066" y="1954"/>
                  </a:lnTo>
                  <a:lnTo>
                    <a:pt x="4158" y="2003"/>
                  </a:lnTo>
                  <a:lnTo>
                    <a:pt x="4125" y="2025"/>
                  </a:lnTo>
                  <a:lnTo>
                    <a:pt x="4096" y="2008"/>
                  </a:lnTo>
                  <a:lnTo>
                    <a:pt x="4096" y="2008"/>
                  </a:lnTo>
                  <a:lnTo>
                    <a:pt x="4096" y="2008"/>
                  </a:lnTo>
                  <a:close/>
                  <a:moveTo>
                    <a:pt x="4226" y="1493"/>
                  </a:moveTo>
                  <a:lnTo>
                    <a:pt x="4318" y="1510"/>
                  </a:lnTo>
                  <a:lnTo>
                    <a:pt x="4406" y="1498"/>
                  </a:lnTo>
                  <a:lnTo>
                    <a:pt x="4460" y="1515"/>
                  </a:lnTo>
                  <a:lnTo>
                    <a:pt x="4474" y="1526"/>
                  </a:lnTo>
                  <a:lnTo>
                    <a:pt x="4486" y="1543"/>
                  </a:lnTo>
                  <a:lnTo>
                    <a:pt x="4512" y="1548"/>
                  </a:lnTo>
                  <a:lnTo>
                    <a:pt x="4519" y="1571"/>
                  </a:lnTo>
                  <a:lnTo>
                    <a:pt x="4536" y="1581"/>
                  </a:lnTo>
                  <a:lnTo>
                    <a:pt x="4536" y="1597"/>
                  </a:lnTo>
                  <a:lnTo>
                    <a:pt x="4557" y="1604"/>
                  </a:lnTo>
                  <a:lnTo>
                    <a:pt x="4519" y="1621"/>
                  </a:lnTo>
                  <a:lnTo>
                    <a:pt x="4406" y="1609"/>
                  </a:lnTo>
                  <a:lnTo>
                    <a:pt x="4314" y="1626"/>
                  </a:lnTo>
                  <a:lnTo>
                    <a:pt x="4281" y="1609"/>
                  </a:lnTo>
                  <a:lnTo>
                    <a:pt x="4264" y="1588"/>
                  </a:lnTo>
                  <a:lnTo>
                    <a:pt x="4264" y="1564"/>
                  </a:lnTo>
                  <a:lnTo>
                    <a:pt x="4217" y="1548"/>
                  </a:lnTo>
                  <a:lnTo>
                    <a:pt x="4217" y="1493"/>
                  </a:lnTo>
                  <a:lnTo>
                    <a:pt x="4226" y="1493"/>
                  </a:lnTo>
                  <a:lnTo>
                    <a:pt x="4226" y="1493"/>
                  </a:lnTo>
                  <a:lnTo>
                    <a:pt x="4226" y="1493"/>
                  </a:lnTo>
                  <a:close/>
                  <a:moveTo>
                    <a:pt x="2504" y="1604"/>
                  </a:moveTo>
                  <a:lnTo>
                    <a:pt x="2500" y="1604"/>
                  </a:lnTo>
                  <a:lnTo>
                    <a:pt x="2516" y="1609"/>
                  </a:lnTo>
                  <a:lnTo>
                    <a:pt x="2500" y="1609"/>
                  </a:lnTo>
                  <a:lnTo>
                    <a:pt x="2424" y="1543"/>
                  </a:lnTo>
                  <a:lnTo>
                    <a:pt x="2381" y="1526"/>
                  </a:lnTo>
                  <a:lnTo>
                    <a:pt x="2415" y="1493"/>
                  </a:lnTo>
                  <a:lnTo>
                    <a:pt x="2490" y="1486"/>
                  </a:lnTo>
                  <a:lnTo>
                    <a:pt x="2516" y="1486"/>
                  </a:lnTo>
                  <a:lnTo>
                    <a:pt x="2559" y="1515"/>
                  </a:lnTo>
                  <a:lnTo>
                    <a:pt x="2554" y="1548"/>
                  </a:lnTo>
                  <a:lnTo>
                    <a:pt x="2504" y="1604"/>
                  </a:lnTo>
                  <a:lnTo>
                    <a:pt x="2504" y="1604"/>
                  </a:lnTo>
                  <a:lnTo>
                    <a:pt x="2504" y="1604"/>
                  </a:lnTo>
                  <a:close/>
                  <a:moveTo>
                    <a:pt x="1151" y="1493"/>
                  </a:moveTo>
                  <a:lnTo>
                    <a:pt x="1156" y="1498"/>
                  </a:lnTo>
                  <a:lnTo>
                    <a:pt x="1139" y="1493"/>
                  </a:lnTo>
                  <a:lnTo>
                    <a:pt x="1151" y="1493"/>
                  </a:lnTo>
                  <a:lnTo>
                    <a:pt x="1151" y="1493"/>
                  </a:lnTo>
                  <a:lnTo>
                    <a:pt x="1151" y="1493"/>
                  </a:lnTo>
                  <a:close/>
                  <a:moveTo>
                    <a:pt x="1172" y="1510"/>
                  </a:moveTo>
                  <a:lnTo>
                    <a:pt x="1189" y="1515"/>
                  </a:lnTo>
                  <a:lnTo>
                    <a:pt x="1172" y="1515"/>
                  </a:lnTo>
                  <a:lnTo>
                    <a:pt x="1172" y="1510"/>
                  </a:lnTo>
                  <a:lnTo>
                    <a:pt x="1172" y="1510"/>
                  </a:lnTo>
                  <a:lnTo>
                    <a:pt x="1172" y="1510"/>
                  </a:lnTo>
                  <a:close/>
                  <a:moveTo>
                    <a:pt x="2339" y="1515"/>
                  </a:moveTo>
                  <a:lnTo>
                    <a:pt x="2306" y="1510"/>
                  </a:lnTo>
                  <a:lnTo>
                    <a:pt x="2344" y="1510"/>
                  </a:lnTo>
                  <a:lnTo>
                    <a:pt x="2339" y="1515"/>
                  </a:lnTo>
                  <a:lnTo>
                    <a:pt x="2339" y="1515"/>
                  </a:lnTo>
                  <a:lnTo>
                    <a:pt x="2339" y="1515"/>
                  </a:lnTo>
                  <a:close/>
                  <a:moveTo>
                    <a:pt x="2814" y="2025"/>
                  </a:moveTo>
                  <a:lnTo>
                    <a:pt x="2807" y="2041"/>
                  </a:lnTo>
                  <a:lnTo>
                    <a:pt x="2785" y="2029"/>
                  </a:lnTo>
                  <a:lnTo>
                    <a:pt x="2776" y="2013"/>
                  </a:lnTo>
                  <a:lnTo>
                    <a:pt x="2776" y="2008"/>
                  </a:lnTo>
                  <a:lnTo>
                    <a:pt x="2759" y="2029"/>
                  </a:lnTo>
                  <a:lnTo>
                    <a:pt x="2722" y="2003"/>
                  </a:lnTo>
                  <a:lnTo>
                    <a:pt x="2700" y="2025"/>
                  </a:lnTo>
                  <a:lnTo>
                    <a:pt x="2693" y="2025"/>
                  </a:lnTo>
                  <a:lnTo>
                    <a:pt x="2700" y="2029"/>
                  </a:lnTo>
                  <a:lnTo>
                    <a:pt x="2700" y="2048"/>
                  </a:lnTo>
                  <a:lnTo>
                    <a:pt x="2693" y="2048"/>
                  </a:lnTo>
                  <a:lnTo>
                    <a:pt x="2630" y="2029"/>
                  </a:lnTo>
                  <a:lnTo>
                    <a:pt x="2630" y="2041"/>
                  </a:lnTo>
                  <a:lnTo>
                    <a:pt x="2663" y="2058"/>
                  </a:lnTo>
                  <a:lnTo>
                    <a:pt x="2663" y="2086"/>
                  </a:lnTo>
                  <a:lnTo>
                    <a:pt x="2651" y="2098"/>
                  </a:lnTo>
                  <a:lnTo>
                    <a:pt x="2651" y="2103"/>
                  </a:lnTo>
                  <a:lnTo>
                    <a:pt x="2679" y="2070"/>
                  </a:lnTo>
                  <a:lnTo>
                    <a:pt x="2717" y="2058"/>
                  </a:lnTo>
                  <a:lnTo>
                    <a:pt x="2738" y="2065"/>
                  </a:lnTo>
                  <a:lnTo>
                    <a:pt x="2722" y="2086"/>
                  </a:lnTo>
                  <a:lnTo>
                    <a:pt x="2731" y="2098"/>
                  </a:lnTo>
                  <a:lnTo>
                    <a:pt x="2738" y="2086"/>
                  </a:lnTo>
                  <a:lnTo>
                    <a:pt x="2755" y="2098"/>
                  </a:lnTo>
                  <a:lnTo>
                    <a:pt x="2748" y="2119"/>
                  </a:lnTo>
                  <a:lnTo>
                    <a:pt x="2679" y="2140"/>
                  </a:lnTo>
                  <a:lnTo>
                    <a:pt x="2651" y="2140"/>
                  </a:lnTo>
                  <a:lnTo>
                    <a:pt x="2641" y="2152"/>
                  </a:lnTo>
                  <a:lnTo>
                    <a:pt x="2559" y="2124"/>
                  </a:lnTo>
                  <a:lnTo>
                    <a:pt x="2554" y="2136"/>
                  </a:lnTo>
                  <a:lnTo>
                    <a:pt x="2516" y="2136"/>
                  </a:lnTo>
                  <a:lnTo>
                    <a:pt x="2504" y="2124"/>
                  </a:lnTo>
                  <a:lnTo>
                    <a:pt x="2533" y="2115"/>
                  </a:lnTo>
                  <a:lnTo>
                    <a:pt x="2431" y="2098"/>
                  </a:lnTo>
                  <a:lnTo>
                    <a:pt x="2436" y="2081"/>
                  </a:lnTo>
                  <a:lnTo>
                    <a:pt x="2431" y="2070"/>
                  </a:lnTo>
                  <a:lnTo>
                    <a:pt x="2415" y="2058"/>
                  </a:lnTo>
                  <a:lnTo>
                    <a:pt x="2381" y="2081"/>
                  </a:lnTo>
                  <a:lnTo>
                    <a:pt x="2393" y="2098"/>
                  </a:lnTo>
                  <a:lnTo>
                    <a:pt x="2360" y="2119"/>
                  </a:lnTo>
                  <a:lnTo>
                    <a:pt x="2273" y="2124"/>
                  </a:lnTo>
                  <a:lnTo>
                    <a:pt x="2273" y="2136"/>
                  </a:lnTo>
                  <a:lnTo>
                    <a:pt x="2235" y="2157"/>
                  </a:lnTo>
                  <a:lnTo>
                    <a:pt x="2155" y="2176"/>
                  </a:lnTo>
                  <a:lnTo>
                    <a:pt x="2074" y="2176"/>
                  </a:lnTo>
                  <a:lnTo>
                    <a:pt x="2091" y="2181"/>
                  </a:lnTo>
                  <a:lnTo>
                    <a:pt x="1944" y="2192"/>
                  </a:lnTo>
                  <a:lnTo>
                    <a:pt x="1961" y="2181"/>
                  </a:lnTo>
                  <a:lnTo>
                    <a:pt x="1933" y="2176"/>
                  </a:lnTo>
                  <a:lnTo>
                    <a:pt x="1923" y="2140"/>
                  </a:lnTo>
                  <a:lnTo>
                    <a:pt x="1928" y="2115"/>
                  </a:lnTo>
                  <a:lnTo>
                    <a:pt x="1911" y="2098"/>
                  </a:lnTo>
                  <a:lnTo>
                    <a:pt x="1928" y="2098"/>
                  </a:lnTo>
                  <a:lnTo>
                    <a:pt x="1874" y="2086"/>
                  </a:lnTo>
                  <a:lnTo>
                    <a:pt x="1760" y="2081"/>
                  </a:lnTo>
                  <a:lnTo>
                    <a:pt x="1718" y="2070"/>
                  </a:lnTo>
                  <a:lnTo>
                    <a:pt x="1713" y="2065"/>
                  </a:lnTo>
                  <a:lnTo>
                    <a:pt x="1713" y="2048"/>
                  </a:lnTo>
                  <a:lnTo>
                    <a:pt x="1692" y="2048"/>
                  </a:lnTo>
                  <a:lnTo>
                    <a:pt x="1696" y="2041"/>
                  </a:lnTo>
                  <a:lnTo>
                    <a:pt x="1663" y="2025"/>
                  </a:lnTo>
                  <a:lnTo>
                    <a:pt x="1654" y="1992"/>
                  </a:lnTo>
                  <a:lnTo>
                    <a:pt x="1680" y="1975"/>
                  </a:lnTo>
                  <a:lnTo>
                    <a:pt x="1815" y="1959"/>
                  </a:lnTo>
                  <a:lnTo>
                    <a:pt x="1874" y="1954"/>
                  </a:lnTo>
                  <a:lnTo>
                    <a:pt x="1999" y="1970"/>
                  </a:lnTo>
                  <a:lnTo>
                    <a:pt x="2030" y="1959"/>
                  </a:lnTo>
                  <a:lnTo>
                    <a:pt x="2015" y="1954"/>
                  </a:lnTo>
                  <a:lnTo>
                    <a:pt x="2074" y="1954"/>
                  </a:lnTo>
                  <a:lnTo>
                    <a:pt x="2067" y="1954"/>
                  </a:lnTo>
                  <a:lnTo>
                    <a:pt x="2037" y="1947"/>
                  </a:lnTo>
                  <a:lnTo>
                    <a:pt x="2020" y="1930"/>
                  </a:lnTo>
                  <a:lnTo>
                    <a:pt x="1895" y="1897"/>
                  </a:lnTo>
                  <a:lnTo>
                    <a:pt x="1815" y="1914"/>
                  </a:lnTo>
                  <a:lnTo>
                    <a:pt x="1642" y="1914"/>
                  </a:lnTo>
                  <a:lnTo>
                    <a:pt x="1583" y="1864"/>
                  </a:lnTo>
                  <a:lnTo>
                    <a:pt x="1626" y="1843"/>
                  </a:lnTo>
                  <a:lnTo>
                    <a:pt x="1772" y="1810"/>
                  </a:lnTo>
                  <a:lnTo>
                    <a:pt x="1751" y="1803"/>
                  </a:lnTo>
                  <a:lnTo>
                    <a:pt x="1765" y="1803"/>
                  </a:lnTo>
                  <a:lnTo>
                    <a:pt x="1798" y="1803"/>
                  </a:lnTo>
                  <a:lnTo>
                    <a:pt x="1819" y="1793"/>
                  </a:lnTo>
                  <a:lnTo>
                    <a:pt x="1772" y="1786"/>
                  </a:lnTo>
                  <a:lnTo>
                    <a:pt x="1659" y="1810"/>
                  </a:lnTo>
                  <a:lnTo>
                    <a:pt x="1659" y="1803"/>
                  </a:lnTo>
                  <a:lnTo>
                    <a:pt x="1642" y="1793"/>
                  </a:lnTo>
                  <a:lnTo>
                    <a:pt x="1642" y="1803"/>
                  </a:lnTo>
                  <a:lnTo>
                    <a:pt x="1654" y="1803"/>
                  </a:lnTo>
                  <a:lnTo>
                    <a:pt x="1642" y="1810"/>
                  </a:lnTo>
                  <a:lnTo>
                    <a:pt x="1604" y="1810"/>
                  </a:lnTo>
                  <a:lnTo>
                    <a:pt x="1588" y="1803"/>
                  </a:lnTo>
                  <a:lnTo>
                    <a:pt x="1637" y="1786"/>
                  </a:lnTo>
                  <a:lnTo>
                    <a:pt x="1621" y="1781"/>
                  </a:lnTo>
                  <a:lnTo>
                    <a:pt x="1637" y="1770"/>
                  </a:lnTo>
                  <a:lnTo>
                    <a:pt x="1588" y="1786"/>
                  </a:lnTo>
                  <a:lnTo>
                    <a:pt x="1555" y="1770"/>
                  </a:lnTo>
                  <a:lnTo>
                    <a:pt x="1550" y="1786"/>
                  </a:lnTo>
                  <a:lnTo>
                    <a:pt x="1533" y="1781"/>
                  </a:lnTo>
                  <a:lnTo>
                    <a:pt x="1533" y="1765"/>
                  </a:lnTo>
                  <a:lnTo>
                    <a:pt x="1533" y="1737"/>
                  </a:lnTo>
                  <a:lnTo>
                    <a:pt x="1567" y="1715"/>
                  </a:lnTo>
                  <a:lnTo>
                    <a:pt x="1604" y="1699"/>
                  </a:lnTo>
                  <a:lnTo>
                    <a:pt x="1604" y="1682"/>
                  </a:lnTo>
                  <a:lnTo>
                    <a:pt x="1571" y="1675"/>
                  </a:lnTo>
                  <a:lnTo>
                    <a:pt x="1571" y="1659"/>
                  </a:lnTo>
                  <a:lnTo>
                    <a:pt x="1659" y="1604"/>
                  </a:lnTo>
                  <a:lnTo>
                    <a:pt x="1852" y="1543"/>
                  </a:lnTo>
                  <a:lnTo>
                    <a:pt x="1878" y="1548"/>
                  </a:lnTo>
                  <a:lnTo>
                    <a:pt x="1895" y="1571"/>
                  </a:lnTo>
                  <a:lnTo>
                    <a:pt x="1890" y="1609"/>
                  </a:lnTo>
                  <a:lnTo>
                    <a:pt x="1895" y="1621"/>
                  </a:lnTo>
                  <a:lnTo>
                    <a:pt x="1869" y="1626"/>
                  </a:lnTo>
                  <a:lnTo>
                    <a:pt x="1869" y="1642"/>
                  </a:lnTo>
                  <a:lnTo>
                    <a:pt x="1852" y="1654"/>
                  </a:lnTo>
                  <a:lnTo>
                    <a:pt x="1857" y="1654"/>
                  </a:lnTo>
                  <a:lnTo>
                    <a:pt x="1928" y="1637"/>
                  </a:lnTo>
                  <a:lnTo>
                    <a:pt x="1933" y="1626"/>
                  </a:lnTo>
                  <a:lnTo>
                    <a:pt x="1923" y="1621"/>
                  </a:lnTo>
                  <a:lnTo>
                    <a:pt x="1961" y="1597"/>
                  </a:lnTo>
                  <a:lnTo>
                    <a:pt x="2091" y="1637"/>
                  </a:lnTo>
                  <a:lnTo>
                    <a:pt x="2084" y="1654"/>
                  </a:lnTo>
                  <a:lnTo>
                    <a:pt x="2046" y="1682"/>
                  </a:lnTo>
                  <a:lnTo>
                    <a:pt x="2058" y="1692"/>
                  </a:lnTo>
                  <a:lnTo>
                    <a:pt x="2074" y="1682"/>
                  </a:lnTo>
                  <a:lnTo>
                    <a:pt x="2058" y="1682"/>
                  </a:lnTo>
                  <a:lnTo>
                    <a:pt x="2084" y="1666"/>
                  </a:lnTo>
                  <a:lnTo>
                    <a:pt x="2091" y="1666"/>
                  </a:lnTo>
                  <a:lnTo>
                    <a:pt x="2084" y="1682"/>
                  </a:lnTo>
                  <a:lnTo>
                    <a:pt x="2100" y="1682"/>
                  </a:lnTo>
                  <a:lnTo>
                    <a:pt x="2105" y="1666"/>
                  </a:lnTo>
                  <a:lnTo>
                    <a:pt x="2129" y="1654"/>
                  </a:lnTo>
                  <a:lnTo>
                    <a:pt x="2155" y="1666"/>
                  </a:lnTo>
                  <a:lnTo>
                    <a:pt x="2138" y="1659"/>
                  </a:lnTo>
                  <a:lnTo>
                    <a:pt x="2155" y="1654"/>
                  </a:lnTo>
                  <a:lnTo>
                    <a:pt x="2193" y="1666"/>
                  </a:lnTo>
                  <a:lnTo>
                    <a:pt x="2159" y="1654"/>
                  </a:lnTo>
                  <a:lnTo>
                    <a:pt x="2193" y="1659"/>
                  </a:lnTo>
                  <a:lnTo>
                    <a:pt x="2176" y="1642"/>
                  </a:lnTo>
                  <a:lnTo>
                    <a:pt x="2155" y="1637"/>
                  </a:lnTo>
                  <a:lnTo>
                    <a:pt x="2193" y="1626"/>
                  </a:lnTo>
                  <a:lnTo>
                    <a:pt x="2138" y="1609"/>
                  </a:lnTo>
                  <a:lnTo>
                    <a:pt x="2122" y="1597"/>
                  </a:lnTo>
                  <a:lnTo>
                    <a:pt x="2143" y="1588"/>
                  </a:lnTo>
                  <a:lnTo>
                    <a:pt x="2197" y="1604"/>
                  </a:lnTo>
                  <a:lnTo>
                    <a:pt x="2193" y="1609"/>
                  </a:lnTo>
                  <a:lnTo>
                    <a:pt x="2230" y="1626"/>
                  </a:lnTo>
                  <a:lnTo>
                    <a:pt x="2247" y="1637"/>
                  </a:lnTo>
                  <a:lnTo>
                    <a:pt x="2247" y="1654"/>
                  </a:lnTo>
                  <a:lnTo>
                    <a:pt x="2273" y="1654"/>
                  </a:lnTo>
                  <a:lnTo>
                    <a:pt x="2268" y="1682"/>
                  </a:lnTo>
                  <a:lnTo>
                    <a:pt x="2285" y="1708"/>
                  </a:lnTo>
                  <a:lnTo>
                    <a:pt x="2289" y="1725"/>
                  </a:lnTo>
                  <a:lnTo>
                    <a:pt x="2301" y="1737"/>
                  </a:lnTo>
                  <a:lnTo>
                    <a:pt x="2301" y="1748"/>
                  </a:lnTo>
                  <a:lnTo>
                    <a:pt x="2301" y="1770"/>
                  </a:lnTo>
                  <a:lnTo>
                    <a:pt x="2327" y="1781"/>
                  </a:lnTo>
                  <a:lnTo>
                    <a:pt x="2327" y="1770"/>
                  </a:lnTo>
                  <a:lnTo>
                    <a:pt x="2370" y="1748"/>
                  </a:lnTo>
                  <a:lnTo>
                    <a:pt x="2327" y="1708"/>
                  </a:lnTo>
                  <a:lnTo>
                    <a:pt x="2322" y="1654"/>
                  </a:lnTo>
                  <a:lnTo>
                    <a:pt x="2318" y="1642"/>
                  </a:lnTo>
                  <a:lnTo>
                    <a:pt x="2289" y="1571"/>
                  </a:lnTo>
                  <a:lnTo>
                    <a:pt x="2322" y="1564"/>
                  </a:lnTo>
                  <a:lnTo>
                    <a:pt x="2306" y="1555"/>
                  </a:lnTo>
                  <a:lnTo>
                    <a:pt x="2318" y="1548"/>
                  </a:lnTo>
                  <a:lnTo>
                    <a:pt x="2381" y="1571"/>
                  </a:lnTo>
                  <a:lnTo>
                    <a:pt x="2381" y="1564"/>
                  </a:lnTo>
                  <a:lnTo>
                    <a:pt x="2377" y="1555"/>
                  </a:lnTo>
                  <a:lnTo>
                    <a:pt x="2398" y="1548"/>
                  </a:lnTo>
                  <a:lnTo>
                    <a:pt x="2436" y="1581"/>
                  </a:lnTo>
                  <a:lnTo>
                    <a:pt x="2469" y="1588"/>
                  </a:lnTo>
                  <a:lnTo>
                    <a:pt x="2500" y="1626"/>
                  </a:lnTo>
                  <a:lnTo>
                    <a:pt x="2490" y="1626"/>
                  </a:lnTo>
                  <a:lnTo>
                    <a:pt x="2516" y="1666"/>
                  </a:lnTo>
                  <a:lnTo>
                    <a:pt x="2504" y="1666"/>
                  </a:lnTo>
                  <a:lnTo>
                    <a:pt x="2533" y="1708"/>
                  </a:lnTo>
                  <a:lnTo>
                    <a:pt x="2521" y="1725"/>
                  </a:lnTo>
                  <a:lnTo>
                    <a:pt x="2570" y="1786"/>
                  </a:lnTo>
                  <a:lnTo>
                    <a:pt x="2570" y="1793"/>
                  </a:lnTo>
                  <a:lnTo>
                    <a:pt x="2570" y="1810"/>
                  </a:lnTo>
                  <a:lnTo>
                    <a:pt x="2559" y="1819"/>
                  </a:lnTo>
                  <a:lnTo>
                    <a:pt x="2570" y="1836"/>
                  </a:lnTo>
                  <a:lnTo>
                    <a:pt x="2554" y="1848"/>
                  </a:lnTo>
                  <a:lnTo>
                    <a:pt x="2630" y="1914"/>
                  </a:lnTo>
                  <a:lnTo>
                    <a:pt x="2667" y="1930"/>
                  </a:lnTo>
                  <a:lnTo>
                    <a:pt x="2651" y="1921"/>
                  </a:lnTo>
                  <a:lnTo>
                    <a:pt x="2651" y="1904"/>
                  </a:lnTo>
                  <a:lnTo>
                    <a:pt x="2663" y="1904"/>
                  </a:lnTo>
                  <a:lnTo>
                    <a:pt x="2684" y="1930"/>
                  </a:lnTo>
                  <a:lnTo>
                    <a:pt x="2738" y="1959"/>
                  </a:lnTo>
                  <a:lnTo>
                    <a:pt x="2759" y="1959"/>
                  </a:lnTo>
                  <a:lnTo>
                    <a:pt x="2759" y="1970"/>
                  </a:lnTo>
                  <a:lnTo>
                    <a:pt x="2769" y="1975"/>
                  </a:lnTo>
                  <a:lnTo>
                    <a:pt x="2807" y="1970"/>
                  </a:lnTo>
                  <a:lnTo>
                    <a:pt x="2814" y="2025"/>
                  </a:lnTo>
                  <a:lnTo>
                    <a:pt x="2814" y="2025"/>
                  </a:lnTo>
                  <a:lnTo>
                    <a:pt x="2814" y="2025"/>
                  </a:lnTo>
                  <a:close/>
                  <a:moveTo>
                    <a:pt x="3083" y="1555"/>
                  </a:moveTo>
                  <a:lnTo>
                    <a:pt x="3095" y="1564"/>
                  </a:lnTo>
                  <a:lnTo>
                    <a:pt x="3078" y="1555"/>
                  </a:lnTo>
                  <a:lnTo>
                    <a:pt x="3083" y="1555"/>
                  </a:lnTo>
                  <a:lnTo>
                    <a:pt x="3083" y="1555"/>
                  </a:lnTo>
                  <a:lnTo>
                    <a:pt x="3083" y="1555"/>
                  </a:lnTo>
                  <a:close/>
                  <a:moveTo>
                    <a:pt x="3100" y="1564"/>
                  </a:moveTo>
                  <a:lnTo>
                    <a:pt x="3116" y="1581"/>
                  </a:lnTo>
                  <a:lnTo>
                    <a:pt x="3109" y="1597"/>
                  </a:lnTo>
                  <a:lnTo>
                    <a:pt x="3095" y="1604"/>
                  </a:lnTo>
                  <a:lnTo>
                    <a:pt x="3078" y="1588"/>
                  </a:lnTo>
                  <a:lnTo>
                    <a:pt x="3083" y="1571"/>
                  </a:lnTo>
                  <a:lnTo>
                    <a:pt x="3100" y="1564"/>
                  </a:lnTo>
                  <a:lnTo>
                    <a:pt x="3100" y="1564"/>
                  </a:lnTo>
                  <a:lnTo>
                    <a:pt x="3100" y="1564"/>
                  </a:lnTo>
                  <a:close/>
                  <a:moveTo>
                    <a:pt x="3180" y="1571"/>
                  </a:moveTo>
                  <a:lnTo>
                    <a:pt x="3180" y="1588"/>
                  </a:lnTo>
                  <a:lnTo>
                    <a:pt x="3163" y="1581"/>
                  </a:lnTo>
                  <a:lnTo>
                    <a:pt x="3180" y="1571"/>
                  </a:lnTo>
                  <a:lnTo>
                    <a:pt x="3180" y="1571"/>
                  </a:lnTo>
                  <a:lnTo>
                    <a:pt x="3180" y="1571"/>
                  </a:lnTo>
                  <a:close/>
                  <a:moveTo>
                    <a:pt x="3170" y="1597"/>
                  </a:moveTo>
                  <a:lnTo>
                    <a:pt x="3180" y="1604"/>
                  </a:lnTo>
                  <a:lnTo>
                    <a:pt x="3170" y="1604"/>
                  </a:lnTo>
                  <a:lnTo>
                    <a:pt x="3170" y="1597"/>
                  </a:lnTo>
                  <a:lnTo>
                    <a:pt x="3170" y="1597"/>
                  </a:lnTo>
                  <a:lnTo>
                    <a:pt x="3170" y="1597"/>
                  </a:lnTo>
                  <a:close/>
                  <a:moveTo>
                    <a:pt x="3109" y="1609"/>
                  </a:moveTo>
                  <a:lnTo>
                    <a:pt x="3109" y="1621"/>
                  </a:lnTo>
                  <a:lnTo>
                    <a:pt x="3109" y="1626"/>
                  </a:lnTo>
                  <a:lnTo>
                    <a:pt x="3083" y="1626"/>
                  </a:lnTo>
                  <a:lnTo>
                    <a:pt x="3109" y="1609"/>
                  </a:lnTo>
                  <a:lnTo>
                    <a:pt x="3109" y="1609"/>
                  </a:lnTo>
                  <a:lnTo>
                    <a:pt x="3109" y="1609"/>
                  </a:lnTo>
                  <a:close/>
                  <a:moveTo>
                    <a:pt x="3170" y="1609"/>
                  </a:moveTo>
                  <a:lnTo>
                    <a:pt x="3180" y="1621"/>
                  </a:lnTo>
                  <a:lnTo>
                    <a:pt x="3170" y="1609"/>
                  </a:lnTo>
                  <a:lnTo>
                    <a:pt x="3170" y="1609"/>
                  </a:lnTo>
                  <a:lnTo>
                    <a:pt x="3170" y="1609"/>
                  </a:lnTo>
                  <a:close/>
                  <a:moveTo>
                    <a:pt x="2219" y="1621"/>
                  </a:moveTo>
                  <a:lnTo>
                    <a:pt x="2230" y="1621"/>
                  </a:lnTo>
                  <a:lnTo>
                    <a:pt x="2214" y="1621"/>
                  </a:lnTo>
                  <a:lnTo>
                    <a:pt x="2219" y="1621"/>
                  </a:lnTo>
                  <a:lnTo>
                    <a:pt x="2219" y="1621"/>
                  </a:lnTo>
                  <a:lnTo>
                    <a:pt x="2219" y="1621"/>
                  </a:lnTo>
                  <a:close/>
                  <a:moveTo>
                    <a:pt x="2143" y="1642"/>
                  </a:moveTo>
                  <a:lnTo>
                    <a:pt x="2155" y="1642"/>
                  </a:lnTo>
                  <a:lnTo>
                    <a:pt x="2143" y="1642"/>
                  </a:lnTo>
                  <a:lnTo>
                    <a:pt x="2143" y="1642"/>
                  </a:lnTo>
                  <a:lnTo>
                    <a:pt x="2143" y="1642"/>
                  </a:lnTo>
                  <a:close/>
                  <a:moveTo>
                    <a:pt x="4271" y="1659"/>
                  </a:moveTo>
                  <a:lnTo>
                    <a:pt x="4281" y="1666"/>
                  </a:lnTo>
                  <a:lnTo>
                    <a:pt x="4281" y="1675"/>
                  </a:lnTo>
                  <a:lnTo>
                    <a:pt x="4271" y="1659"/>
                  </a:lnTo>
                  <a:lnTo>
                    <a:pt x="4271" y="1659"/>
                  </a:lnTo>
                  <a:lnTo>
                    <a:pt x="4271" y="1659"/>
                  </a:lnTo>
                  <a:close/>
                  <a:moveTo>
                    <a:pt x="4314" y="1666"/>
                  </a:moveTo>
                  <a:lnTo>
                    <a:pt x="4318" y="1682"/>
                  </a:lnTo>
                  <a:lnTo>
                    <a:pt x="4302" y="1666"/>
                  </a:lnTo>
                  <a:lnTo>
                    <a:pt x="4314" y="1666"/>
                  </a:lnTo>
                  <a:lnTo>
                    <a:pt x="4314" y="1666"/>
                  </a:lnTo>
                  <a:lnTo>
                    <a:pt x="4314" y="1666"/>
                  </a:lnTo>
                  <a:close/>
                  <a:moveTo>
                    <a:pt x="4352" y="1666"/>
                  </a:moveTo>
                  <a:lnTo>
                    <a:pt x="4368" y="1682"/>
                  </a:lnTo>
                  <a:lnTo>
                    <a:pt x="4352" y="1682"/>
                  </a:lnTo>
                  <a:lnTo>
                    <a:pt x="4340" y="1675"/>
                  </a:lnTo>
                  <a:lnTo>
                    <a:pt x="4352" y="1666"/>
                  </a:lnTo>
                  <a:lnTo>
                    <a:pt x="4352" y="1666"/>
                  </a:lnTo>
                  <a:lnTo>
                    <a:pt x="4352" y="1666"/>
                  </a:lnTo>
                  <a:close/>
                  <a:moveTo>
                    <a:pt x="2306" y="1725"/>
                  </a:moveTo>
                  <a:lnTo>
                    <a:pt x="2318" y="1732"/>
                  </a:lnTo>
                  <a:lnTo>
                    <a:pt x="2301" y="1732"/>
                  </a:lnTo>
                  <a:lnTo>
                    <a:pt x="2306" y="1725"/>
                  </a:lnTo>
                  <a:lnTo>
                    <a:pt x="2306" y="1725"/>
                  </a:lnTo>
                  <a:lnTo>
                    <a:pt x="2306" y="1725"/>
                  </a:lnTo>
                  <a:close/>
                  <a:moveTo>
                    <a:pt x="5176" y="4614"/>
                  </a:moveTo>
                  <a:lnTo>
                    <a:pt x="5167" y="4614"/>
                  </a:lnTo>
                  <a:lnTo>
                    <a:pt x="5162" y="4597"/>
                  </a:lnTo>
                  <a:lnTo>
                    <a:pt x="5150" y="4581"/>
                  </a:lnTo>
                  <a:lnTo>
                    <a:pt x="5162" y="4576"/>
                  </a:lnTo>
                  <a:lnTo>
                    <a:pt x="5138" y="4569"/>
                  </a:lnTo>
                  <a:lnTo>
                    <a:pt x="5138" y="4441"/>
                  </a:lnTo>
                  <a:lnTo>
                    <a:pt x="5096" y="4415"/>
                  </a:lnTo>
                  <a:lnTo>
                    <a:pt x="5058" y="4432"/>
                  </a:lnTo>
                  <a:lnTo>
                    <a:pt x="5041" y="4425"/>
                  </a:lnTo>
                  <a:lnTo>
                    <a:pt x="5041" y="4408"/>
                  </a:lnTo>
                  <a:lnTo>
                    <a:pt x="5037" y="4403"/>
                  </a:lnTo>
                  <a:lnTo>
                    <a:pt x="4982" y="4470"/>
                  </a:lnTo>
                  <a:lnTo>
                    <a:pt x="4973" y="4498"/>
                  </a:lnTo>
                  <a:lnTo>
                    <a:pt x="4961" y="4519"/>
                  </a:lnTo>
                  <a:lnTo>
                    <a:pt x="4961" y="4543"/>
                  </a:lnTo>
                  <a:lnTo>
                    <a:pt x="4928" y="4576"/>
                  </a:lnTo>
                  <a:lnTo>
                    <a:pt x="4928" y="4581"/>
                  </a:lnTo>
                  <a:lnTo>
                    <a:pt x="4918" y="4609"/>
                  </a:lnTo>
                  <a:lnTo>
                    <a:pt x="4907" y="4597"/>
                  </a:lnTo>
                  <a:lnTo>
                    <a:pt x="4897" y="4609"/>
                  </a:lnTo>
                  <a:lnTo>
                    <a:pt x="4890" y="4597"/>
                  </a:lnTo>
                  <a:lnTo>
                    <a:pt x="4881" y="4609"/>
                  </a:lnTo>
                  <a:lnTo>
                    <a:pt x="4874" y="4625"/>
                  </a:lnTo>
                  <a:lnTo>
                    <a:pt x="4626" y="4630"/>
                  </a:lnTo>
                  <a:lnTo>
                    <a:pt x="4529" y="4708"/>
                  </a:lnTo>
                  <a:lnTo>
                    <a:pt x="4503" y="4748"/>
                  </a:lnTo>
                  <a:lnTo>
                    <a:pt x="4368" y="4748"/>
                  </a:lnTo>
                  <a:lnTo>
                    <a:pt x="4335" y="4765"/>
                  </a:lnTo>
                  <a:lnTo>
                    <a:pt x="4340" y="4781"/>
                  </a:lnTo>
                  <a:lnTo>
                    <a:pt x="4340" y="4798"/>
                  </a:lnTo>
                  <a:lnTo>
                    <a:pt x="4356" y="4814"/>
                  </a:lnTo>
                  <a:lnTo>
                    <a:pt x="4352" y="4819"/>
                  </a:lnTo>
                  <a:lnTo>
                    <a:pt x="4271" y="4852"/>
                  </a:lnTo>
                  <a:lnTo>
                    <a:pt x="4189" y="4869"/>
                  </a:lnTo>
                  <a:lnTo>
                    <a:pt x="4108" y="4918"/>
                  </a:lnTo>
                  <a:lnTo>
                    <a:pt x="4087" y="4918"/>
                  </a:lnTo>
                  <a:lnTo>
                    <a:pt x="4066" y="4902"/>
                  </a:lnTo>
                  <a:lnTo>
                    <a:pt x="4054" y="4885"/>
                  </a:lnTo>
                  <a:lnTo>
                    <a:pt x="4066" y="4869"/>
                  </a:lnTo>
                  <a:lnTo>
                    <a:pt x="4104" y="4836"/>
                  </a:lnTo>
                  <a:lnTo>
                    <a:pt x="4108" y="4803"/>
                  </a:lnTo>
                  <a:lnTo>
                    <a:pt x="4125" y="4748"/>
                  </a:lnTo>
                  <a:lnTo>
                    <a:pt x="4104" y="4597"/>
                  </a:lnTo>
                  <a:lnTo>
                    <a:pt x="4028" y="4552"/>
                  </a:lnTo>
                  <a:lnTo>
                    <a:pt x="4033" y="4536"/>
                  </a:lnTo>
                  <a:lnTo>
                    <a:pt x="4028" y="4526"/>
                  </a:lnTo>
                  <a:lnTo>
                    <a:pt x="4000" y="4526"/>
                  </a:lnTo>
                  <a:lnTo>
                    <a:pt x="3990" y="4514"/>
                  </a:lnTo>
                  <a:lnTo>
                    <a:pt x="3990" y="4486"/>
                  </a:lnTo>
                  <a:lnTo>
                    <a:pt x="3957" y="4498"/>
                  </a:lnTo>
                  <a:lnTo>
                    <a:pt x="3941" y="4481"/>
                  </a:lnTo>
                  <a:lnTo>
                    <a:pt x="3941" y="4460"/>
                  </a:lnTo>
                  <a:lnTo>
                    <a:pt x="3693" y="4333"/>
                  </a:lnTo>
                  <a:lnTo>
                    <a:pt x="3622" y="4359"/>
                  </a:lnTo>
                  <a:lnTo>
                    <a:pt x="3584" y="4354"/>
                  </a:lnTo>
                  <a:lnTo>
                    <a:pt x="3563" y="4349"/>
                  </a:lnTo>
                  <a:lnTo>
                    <a:pt x="3525" y="4349"/>
                  </a:lnTo>
                  <a:lnTo>
                    <a:pt x="3515" y="4337"/>
                  </a:lnTo>
                  <a:lnTo>
                    <a:pt x="3478" y="4354"/>
                  </a:lnTo>
                  <a:lnTo>
                    <a:pt x="3440" y="4337"/>
                  </a:lnTo>
                  <a:lnTo>
                    <a:pt x="3433" y="4321"/>
                  </a:lnTo>
                  <a:lnTo>
                    <a:pt x="3418" y="4321"/>
                  </a:lnTo>
                  <a:lnTo>
                    <a:pt x="3407" y="4337"/>
                  </a:lnTo>
                  <a:lnTo>
                    <a:pt x="3407" y="4321"/>
                  </a:lnTo>
                  <a:lnTo>
                    <a:pt x="3369" y="4297"/>
                  </a:lnTo>
                  <a:lnTo>
                    <a:pt x="3348" y="4297"/>
                  </a:lnTo>
                  <a:lnTo>
                    <a:pt x="3310" y="4304"/>
                  </a:lnTo>
                  <a:lnTo>
                    <a:pt x="3310" y="4297"/>
                  </a:lnTo>
                  <a:lnTo>
                    <a:pt x="3256" y="4292"/>
                  </a:lnTo>
                  <a:lnTo>
                    <a:pt x="3244" y="4281"/>
                  </a:lnTo>
                  <a:lnTo>
                    <a:pt x="3239" y="4238"/>
                  </a:lnTo>
                  <a:lnTo>
                    <a:pt x="3218" y="4226"/>
                  </a:lnTo>
                  <a:lnTo>
                    <a:pt x="3218" y="4264"/>
                  </a:lnTo>
                  <a:lnTo>
                    <a:pt x="1281" y="4264"/>
                  </a:lnTo>
                  <a:lnTo>
                    <a:pt x="1276" y="4259"/>
                  </a:lnTo>
                  <a:lnTo>
                    <a:pt x="1259" y="4264"/>
                  </a:lnTo>
                  <a:lnTo>
                    <a:pt x="1248" y="4238"/>
                  </a:lnTo>
                  <a:lnTo>
                    <a:pt x="1264" y="4238"/>
                  </a:lnTo>
                  <a:lnTo>
                    <a:pt x="1276" y="4226"/>
                  </a:lnTo>
                  <a:lnTo>
                    <a:pt x="1264" y="4238"/>
                  </a:lnTo>
                  <a:lnTo>
                    <a:pt x="1248" y="4238"/>
                  </a:lnTo>
                  <a:lnTo>
                    <a:pt x="1243" y="4222"/>
                  </a:lnTo>
                  <a:lnTo>
                    <a:pt x="1248" y="4193"/>
                  </a:lnTo>
                  <a:lnTo>
                    <a:pt x="1226" y="4222"/>
                  </a:lnTo>
                  <a:lnTo>
                    <a:pt x="1226" y="4226"/>
                  </a:lnTo>
                  <a:lnTo>
                    <a:pt x="1205" y="4222"/>
                  </a:lnTo>
                  <a:lnTo>
                    <a:pt x="1189" y="4205"/>
                  </a:lnTo>
                  <a:lnTo>
                    <a:pt x="1193" y="4193"/>
                  </a:lnTo>
                  <a:lnTo>
                    <a:pt x="1210" y="4222"/>
                  </a:lnTo>
                  <a:lnTo>
                    <a:pt x="1210" y="4210"/>
                  </a:lnTo>
                  <a:lnTo>
                    <a:pt x="1226" y="4205"/>
                  </a:lnTo>
                  <a:lnTo>
                    <a:pt x="1210" y="4205"/>
                  </a:lnTo>
                  <a:lnTo>
                    <a:pt x="1193" y="4193"/>
                  </a:lnTo>
                  <a:lnTo>
                    <a:pt x="1205" y="4181"/>
                  </a:lnTo>
                  <a:lnTo>
                    <a:pt x="1193" y="4170"/>
                  </a:lnTo>
                  <a:lnTo>
                    <a:pt x="1210" y="4165"/>
                  </a:lnTo>
                  <a:lnTo>
                    <a:pt x="1205" y="4153"/>
                  </a:lnTo>
                  <a:lnTo>
                    <a:pt x="1193" y="4148"/>
                  </a:lnTo>
                  <a:lnTo>
                    <a:pt x="1205" y="4165"/>
                  </a:lnTo>
                  <a:lnTo>
                    <a:pt x="1193" y="4170"/>
                  </a:lnTo>
                  <a:lnTo>
                    <a:pt x="1193" y="4188"/>
                  </a:lnTo>
                  <a:lnTo>
                    <a:pt x="1189" y="4181"/>
                  </a:lnTo>
                  <a:lnTo>
                    <a:pt x="1189" y="4188"/>
                  </a:lnTo>
                  <a:lnTo>
                    <a:pt x="1167" y="4193"/>
                  </a:lnTo>
                  <a:lnTo>
                    <a:pt x="1134" y="4165"/>
                  </a:lnTo>
                  <a:lnTo>
                    <a:pt x="1139" y="4170"/>
                  </a:lnTo>
                  <a:lnTo>
                    <a:pt x="1151" y="4148"/>
                  </a:lnTo>
                  <a:lnTo>
                    <a:pt x="1139" y="4137"/>
                  </a:lnTo>
                  <a:lnTo>
                    <a:pt x="1172" y="4127"/>
                  </a:lnTo>
                  <a:lnTo>
                    <a:pt x="1134" y="4137"/>
                  </a:lnTo>
                  <a:lnTo>
                    <a:pt x="1118" y="4137"/>
                  </a:lnTo>
                  <a:lnTo>
                    <a:pt x="1118" y="4127"/>
                  </a:lnTo>
                  <a:lnTo>
                    <a:pt x="1134" y="4115"/>
                  </a:lnTo>
                  <a:lnTo>
                    <a:pt x="1134" y="4082"/>
                  </a:lnTo>
                  <a:lnTo>
                    <a:pt x="1125" y="4099"/>
                  </a:lnTo>
                  <a:lnTo>
                    <a:pt x="1134" y="4111"/>
                  </a:lnTo>
                  <a:lnTo>
                    <a:pt x="1118" y="4132"/>
                  </a:lnTo>
                  <a:lnTo>
                    <a:pt x="1087" y="4127"/>
                  </a:lnTo>
                  <a:lnTo>
                    <a:pt x="1096" y="4099"/>
                  </a:lnTo>
                  <a:lnTo>
                    <a:pt x="1070" y="4132"/>
                  </a:lnTo>
                  <a:lnTo>
                    <a:pt x="1063" y="4127"/>
                  </a:lnTo>
                  <a:lnTo>
                    <a:pt x="1033" y="4127"/>
                  </a:lnTo>
                  <a:lnTo>
                    <a:pt x="1042" y="4115"/>
                  </a:lnTo>
                  <a:lnTo>
                    <a:pt x="1033" y="4111"/>
                  </a:lnTo>
                  <a:lnTo>
                    <a:pt x="1080" y="4099"/>
                  </a:lnTo>
                  <a:lnTo>
                    <a:pt x="1087" y="4082"/>
                  </a:lnTo>
                  <a:lnTo>
                    <a:pt x="1080" y="4070"/>
                  </a:lnTo>
                  <a:lnTo>
                    <a:pt x="1080" y="4077"/>
                  </a:lnTo>
                  <a:lnTo>
                    <a:pt x="1070" y="4099"/>
                  </a:lnTo>
                  <a:lnTo>
                    <a:pt x="1042" y="4111"/>
                  </a:lnTo>
                  <a:lnTo>
                    <a:pt x="1049" y="4099"/>
                  </a:lnTo>
                  <a:lnTo>
                    <a:pt x="1042" y="4094"/>
                  </a:lnTo>
                  <a:lnTo>
                    <a:pt x="1011" y="4094"/>
                  </a:lnTo>
                  <a:lnTo>
                    <a:pt x="1042" y="4082"/>
                  </a:lnTo>
                  <a:lnTo>
                    <a:pt x="1004" y="4094"/>
                  </a:lnTo>
                  <a:lnTo>
                    <a:pt x="974" y="4082"/>
                  </a:lnTo>
                  <a:lnTo>
                    <a:pt x="990" y="4094"/>
                  </a:lnTo>
                  <a:lnTo>
                    <a:pt x="978" y="4094"/>
                  </a:lnTo>
                  <a:lnTo>
                    <a:pt x="952" y="4077"/>
                  </a:lnTo>
                  <a:lnTo>
                    <a:pt x="952" y="4070"/>
                  </a:lnTo>
                  <a:lnTo>
                    <a:pt x="995" y="4070"/>
                  </a:lnTo>
                  <a:lnTo>
                    <a:pt x="1004" y="4061"/>
                  </a:lnTo>
                  <a:lnTo>
                    <a:pt x="974" y="4070"/>
                  </a:lnTo>
                  <a:lnTo>
                    <a:pt x="924" y="4061"/>
                  </a:lnTo>
                  <a:lnTo>
                    <a:pt x="924" y="4054"/>
                  </a:lnTo>
                  <a:lnTo>
                    <a:pt x="941" y="4044"/>
                  </a:lnTo>
                  <a:lnTo>
                    <a:pt x="974" y="4044"/>
                  </a:lnTo>
                  <a:lnTo>
                    <a:pt x="974" y="4037"/>
                  </a:lnTo>
                  <a:lnTo>
                    <a:pt x="962" y="4044"/>
                  </a:lnTo>
                  <a:lnTo>
                    <a:pt x="924" y="4044"/>
                  </a:lnTo>
                  <a:lnTo>
                    <a:pt x="941" y="4025"/>
                  </a:lnTo>
                  <a:lnTo>
                    <a:pt x="952" y="4016"/>
                  </a:lnTo>
                  <a:lnTo>
                    <a:pt x="1011" y="4016"/>
                  </a:lnTo>
                  <a:lnTo>
                    <a:pt x="1011" y="4000"/>
                  </a:lnTo>
                  <a:lnTo>
                    <a:pt x="1004" y="4016"/>
                  </a:lnTo>
                  <a:lnTo>
                    <a:pt x="952" y="4016"/>
                  </a:lnTo>
                  <a:lnTo>
                    <a:pt x="957" y="4000"/>
                  </a:lnTo>
                  <a:lnTo>
                    <a:pt x="941" y="4004"/>
                  </a:lnTo>
                  <a:lnTo>
                    <a:pt x="941" y="4021"/>
                  </a:lnTo>
                  <a:lnTo>
                    <a:pt x="936" y="4025"/>
                  </a:lnTo>
                  <a:lnTo>
                    <a:pt x="919" y="4016"/>
                  </a:lnTo>
                  <a:lnTo>
                    <a:pt x="924" y="3988"/>
                  </a:lnTo>
                  <a:lnTo>
                    <a:pt x="936" y="3983"/>
                  </a:lnTo>
                  <a:lnTo>
                    <a:pt x="941" y="3966"/>
                  </a:lnTo>
                  <a:lnTo>
                    <a:pt x="952" y="3971"/>
                  </a:lnTo>
                  <a:lnTo>
                    <a:pt x="941" y="3971"/>
                  </a:lnTo>
                  <a:lnTo>
                    <a:pt x="974" y="3950"/>
                  </a:lnTo>
                  <a:lnTo>
                    <a:pt x="978" y="3950"/>
                  </a:lnTo>
                  <a:lnTo>
                    <a:pt x="1004" y="3983"/>
                  </a:lnTo>
                  <a:lnTo>
                    <a:pt x="990" y="3950"/>
                  </a:lnTo>
                  <a:lnTo>
                    <a:pt x="1004" y="3943"/>
                  </a:lnTo>
                  <a:lnTo>
                    <a:pt x="974" y="3943"/>
                  </a:lnTo>
                  <a:lnTo>
                    <a:pt x="962" y="3933"/>
                  </a:lnTo>
                  <a:lnTo>
                    <a:pt x="990" y="3910"/>
                  </a:lnTo>
                  <a:lnTo>
                    <a:pt x="978" y="3905"/>
                  </a:lnTo>
                  <a:lnTo>
                    <a:pt x="978" y="3917"/>
                  </a:lnTo>
                  <a:lnTo>
                    <a:pt x="941" y="3950"/>
                  </a:lnTo>
                  <a:lnTo>
                    <a:pt x="924" y="3959"/>
                  </a:lnTo>
                  <a:lnTo>
                    <a:pt x="919" y="3933"/>
                  </a:lnTo>
                  <a:lnTo>
                    <a:pt x="908" y="3950"/>
                  </a:lnTo>
                  <a:lnTo>
                    <a:pt x="908" y="3933"/>
                  </a:lnTo>
                  <a:lnTo>
                    <a:pt x="919" y="3926"/>
                  </a:lnTo>
                  <a:lnTo>
                    <a:pt x="903" y="3933"/>
                  </a:lnTo>
                  <a:lnTo>
                    <a:pt x="898" y="3959"/>
                  </a:lnTo>
                  <a:lnTo>
                    <a:pt x="886" y="3950"/>
                  </a:lnTo>
                  <a:lnTo>
                    <a:pt x="898" y="3933"/>
                  </a:lnTo>
                  <a:lnTo>
                    <a:pt x="903" y="3893"/>
                  </a:lnTo>
                  <a:lnTo>
                    <a:pt x="882" y="3905"/>
                  </a:lnTo>
                  <a:lnTo>
                    <a:pt x="870" y="3872"/>
                  </a:lnTo>
                  <a:lnTo>
                    <a:pt x="853" y="3855"/>
                  </a:lnTo>
                  <a:lnTo>
                    <a:pt x="848" y="3832"/>
                  </a:lnTo>
                  <a:lnTo>
                    <a:pt x="853" y="3832"/>
                  </a:lnTo>
                  <a:lnTo>
                    <a:pt x="882" y="3848"/>
                  </a:lnTo>
                  <a:lnTo>
                    <a:pt x="903" y="3839"/>
                  </a:lnTo>
                  <a:lnTo>
                    <a:pt x="924" y="3860"/>
                  </a:lnTo>
                  <a:lnTo>
                    <a:pt x="903" y="3839"/>
                  </a:lnTo>
                  <a:lnTo>
                    <a:pt x="870" y="3839"/>
                  </a:lnTo>
                  <a:lnTo>
                    <a:pt x="853" y="3822"/>
                  </a:lnTo>
                  <a:lnTo>
                    <a:pt x="853" y="3806"/>
                  </a:lnTo>
                  <a:lnTo>
                    <a:pt x="882" y="3799"/>
                  </a:lnTo>
                  <a:lnTo>
                    <a:pt x="865" y="3794"/>
                  </a:lnTo>
                  <a:lnTo>
                    <a:pt x="870" y="3782"/>
                  </a:lnTo>
                  <a:lnTo>
                    <a:pt x="827" y="3822"/>
                  </a:lnTo>
                  <a:lnTo>
                    <a:pt x="827" y="3848"/>
                  </a:lnTo>
                  <a:lnTo>
                    <a:pt x="773" y="3799"/>
                  </a:lnTo>
                  <a:lnTo>
                    <a:pt x="773" y="3766"/>
                  </a:lnTo>
                  <a:lnTo>
                    <a:pt x="811" y="3761"/>
                  </a:lnTo>
                  <a:lnTo>
                    <a:pt x="763" y="3766"/>
                  </a:lnTo>
                  <a:lnTo>
                    <a:pt x="756" y="3749"/>
                  </a:lnTo>
                  <a:lnTo>
                    <a:pt x="740" y="3749"/>
                  </a:lnTo>
                  <a:lnTo>
                    <a:pt x="740" y="3721"/>
                  </a:lnTo>
                  <a:lnTo>
                    <a:pt x="778" y="3749"/>
                  </a:lnTo>
                  <a:lnTo>
                    <a:pt x="747" y="3721"/>
                  </a:lnTo>
                  <a:lnTo>
                    <a:pt x="763" y="3711"/>
                  </a:lnTo>
                  <a:lnTo>
                    <a:pt x="778" y="3728"/>
                  </a:lnTo>
                  <a:lnTo>
                    <a:pt x="756" y="3711"/>
                  </a:lnTo>
                  <a:lnTo>
                    <a:pt x="763" y="3704"/>
                  </a:lnTo>
                  <a:lnTo>
                    <a:pt x="773" y="3688"/>
                  </a:lnTo>
                  <a:lnTo>
                    <a:pt x="801" y="3688"/>
                  </a:lnTo>
                  <a:lnTo>
                    <a:pt x="773" y="3683"/>
                  </a:lnTo>
                  <a:lnTo>
                    <a:pt x="794" y="3638"/>
                  </a:lnTo>
                  <a:lnTo>
                    <a:pt x="811" y="3638"/>
                  </a:lnTo>
                  <a:lnTo>
                    <a:pt x="794" y="3638"/>
                  </a:lnTo>
                  <a:lnTo>
                    <a:pt x="789" y="3633"/>
                  </a:lnTo>
                  <a:lnTo>
                    <a:pt x="789" y="3655"/>
                  </a:lnTo>
                  <a:lnTo>
                    <a:pt x="763" y="3688"/>
                  </a:lnTo>
                  <a:lnTo>
                    <a:pt x="763" y="3683"/>
                  </a:lnTo>
                  <a:lnTo>
                    <a:pt x="778" y="3655"/>
                  </a:lnTo>
                  <a:lnTo>
                    <a:pt x="763" y="3617"/>
                  </a:lnTo>
                  <a:lnTo>
                    <a:pt x="773" y="3593"/>
                  </a:lnTo>
                  <a:lnTo>
                    <a:pt x="763" y="3572"/>
                  </a:lnTo>
                  <a:lnTo>
                    <a:pt x="747" y="3572"/>
                  </a:lnTo>
                  <a:lnTo>
                    <a:pt x="719" y="3544"/>
                  </a:lnTo>
                  <a:lnTo>
                    <a:pt x="664" y="3522"/>
                  </a:lnTo>
                  <a:lnTo>
                    <a:pt x="650" y="3522"/>
                  </a:lnTo>
                  <a:lnTo>
                    <a:pt x="638" y="3506"/>
                  </a:lnTo>
                  <a:lnTo>
                    <a:pt x="626" y="3499"/>
                  </a:lnTo>
                  <a:lnTo>
                    <a:pt x="633" y="3482"/>
                  </a:lnTo>
                  <a:lnTo>
                    <a:pt x="612" y="3473"/>
                  </a:lnTo>
                  <a:lnTo>
                    <a:pt x="617" y="3461"/>
                  </a:lnTo>
                  <a:lnTo>
                    <a:pt x="541" y="3350"/>
                  </a:lnTo>
                  <a:lnTo>
                    <a:pt x="530" y="3333"/>
                  </a:lnTo>
                  <a:lnTo>
                    <a:pt x="504" y="3300"/>
                  </a:lnTo>
                  <a:lnTo>
                    <a:pt x="475" y="3296"/>
                  </a:lnTo>
                  <a:lnTo>
                    <a:pt x="466" y="3263"/>
                  </a:lnTo>
                  <a:lnTo>
                    <a:pt x="423" y="3246"/>
                  </a:lnTo>
                  <a:lnTo>
                    <a:pt x="416" y="3227"/>
                  </a:lnTo>
                  <a:lnTo>
                    <a:pt x="423" y="3211"/>
                  </a:lnTo>
                  <a:lnTo>
                    <a:pt x="385" y="3189"/>
                  </a:lnTo>
                  <a:lnTo>
                    <a:pt x="324" y="3211"/>
                  </a:lnTo>
                  <a:lnTo>
                    <a:pt x="331" y="3222"/>
                  </a:lnTo>
                  <a:lnTo>
                    <a:pt x="315" y="3222"/>
                  </a:lnTo>
                  <a:lnTo>
                    <a:pt x="315" y="3246"/>
                  </a:lnTo>
                  <a:lnTo>
                    <a:pt x="310" y="3251"/>
                  </a:lnTo>
                  <a:lnTo>
                    <a:pt x="293" y="3251"/>
                  </a:lnTo>
                  <a:lnTo>
                    <a:pt x="251" y="3284"/>
                  </a:lnTo>
                  <a:lnTo>
                    <a:pt x="239" y="3246"/>
                  </a:lnTo>
                  <a:lnTo>
                    <a:pt x="168" y="3189"/>
                  </a:lnTo>
                  <a:lnTo>
                    <a:pt x="163" y="3173"/>
                  </a:lnTo>
                  <a:lnTo>
                    <a:pt x="130" y="3156"/>
                  </a:lnTo>
                  <a:lnTo>
                    <a:pt x="142" y="3123"/>
                  </a:lnTo>
                  <a:lnTo>
                    <a:pt x="93" y="3135"/>
                  </a:lnTo>
                  <a:lnTo>
                    <a:pt x="71" y="3151"/>
                  </a:lnTo>
                  <a:lnTo>
                    <a:pt x="38" y="3135"/>
                  </a:lnTo>
                  <a:lnTo>
                    <a:pt x="38" y="3140"/>
                  </a:lnTo>
                  <a:lnTo>
                    <a:pt x="0" y="3135"/>
                  </a:lnTo>
                  <a:lnTo>
                    <a:pt x="0" y="2041"/>
                  </a:lnTo>
                  <a:lnTo>
                    <a:pt x="130" y="2058"/>
                  </a:lnTo>
                  <a:lnTo>
                    <a:pt x="168" y="2086"/>
                  </a:lnTo>
                  <a:lnTo>
                    <a:pt x="260" y="2124"/>
                  </a:lnTo>
                  <a:lnTo>
                    <a:pt x="348" y="2136"/>
                  </a:lnTo>
                  <a:lnTo>
                    <a:pt x="395" y="2157"/>
                  </a:lnTo>
                  <a:lnTo>
                    <a:pt x="411" y="2157"/>
                  </a:lnTo>
                  <a:lnTo>
                    <a:pt x="385" y="2140"/>
                  </a:lnTo>
                  <a:lnTo>
                    <a:pt x="400" y="2140"/>
                  </a:lnTo>
                  <a:lnTo>
                    <a:pt x="378" y="2136"/>
                  </a:lnTo>
                  <a:lnTo>
                    <a:pt x="433" y="2124"/>
                  </a:lnTo>
                  <a:lnTo>
                    <a:pt x="471" y="2157"/>
                  </a:lnTo>
                  <a:lnTo>
                    <a:pt x="475" y="2157"/>
                  </a:lnTo>
                  <a:lnTo>
                    <a:pt x="449" y="2119"/>
                  </a:lnTo>
                  <a:lnTo>
                    <a:pt x="454" y="2115"/>
                  </a:lnTo>
                  <a:lnTo>
                    <a:pt x="520" y="2070"/>
                  </a:lnTo>
                  <a:lnTo>
                    <a:pt x="558" y="2065"/>
                  </a:lnTo>
                  <a:lnTo>
                    <a:pt x="574" y="2041"/>
                  </a:lnTo>
                  <a:lnTo>
                    <a:pt x="600" y="2041"/>
                  </a:lnTo>
                  <a:lnTo>
                    <a:pt x="612" y="2029"/>
                  </a:lnTo>
                  <a:lnTo>
                    <a:pt x="596" y="2029"/>
                  </a:lnTo>
                  <a:lnTo>
                    <a:pt x="600" y="2025"/>
                  </a:lnTo>
                  <a:lnTo>
                    <a:pt x="626" y="2029"/>
                  </a:lnTo>
                  <a:lnTo>
                    <a:pt x="671" y="2003"/>
                  </a:lnTo>
                  <a:lnTo>
                    <a:pt x="688" y="2003"/>
                  </a:lnTo>
                  <a:lnTo>
                    <a:pt x="688" y="2013"/>
                  </a:lnTo>
                  <a:lnTo>
                    <a:pt x="709" y="1987"/>
                  </a:lnTo>
                  <a:lnTo>
                    <a:pt x="735" y="1970"/>
                  </a:lnTo>
                  <a:lnTo>
                    <a:pt x="740" y="1970"/>
                  </a:lnTo>
                  <a:lnTo>
                    <a:pt x="740" y="1975"/>
                  </a:lnTo>
                  <a:lnTo>
                    <a:pt x="773" y="1987"/>
                  </a:lnTo>
                  <a:lnTo>
                    <a:pt x="794" y="1959"/>
                  </a:lnTo>
                  <a:lnTo>
                    <a:pt x="815" y="1975"/>
                  </a:lnTo>
                  <a:lnTo>
                    <a:pt x="811" y="1992"/>
                  </a:lnTo>
                  <a:lnTo>
                    <a:pt x="740" y="2025"/>
                  </a:lnTo>
                  <a:lnTo>
                    <a:pt x="709" y="2048"/>
                  </a:lnTo>
                  <a:lnTo>
                    <a:pt x="702" y="2041"/>
                  </a:lnTo>
                  <a:lnTo>
                    <a:pt x="633" y="2058"/>
                  </a:lnTo>
                  <a:lnTo>
                    <a:pt x="626" y="2065"/>
                  </a:lnTo>
                  <a:lnTo>
                    <a:pt x="626" y="2070"/>
                  </a:lnTo>
                  <a:lnTo>
                    <a:pt x="579" y="2086"/>
                  </a:lnTo>
                  <a:lnTo>
                    <a:pt x="574" y="2115"/>
                  </a:lnTo>
                  <a:lnTo>
                    <a:pt x="546" y="2119"/>
                  </a:lnTo>
                  <a:lnTo>
                    <a:pt x="546" y="2124"/>
                  </a:lnTo>
                  <a:lnTo>
                    <a:pt x="525" y="2140"/>
                  </a:lnTo>
                  <a:lnTo>
                    <a:pt x="574" y="2157"/>
                  </a:lnTo>
                  <a:lnTo>
                    <a:pt x="541" y="2140"/>
                  </a:lnTo>
                  <a:lnTo>
                    <a:pt x="600" y="2140"/>
                  </a:lnTo>
                  <a:lnTo>
                    <a:pt x="600" y="2136"/>
                  </a:lnTo>
                  <a:lnTo>
                    <a:pt x="596" y="2136"/>
                  </a:lnTo>
                  <a:lnTo>
                    <a:pt x="579" y="2136"/>
                  </a:lnTo>
                  <a:lnTo>
                    <a:pt x="574" y="2115"/>
                  </a:lnTo>
                  <a:lnTo>
                    <a:pt x="600" y="2103"/>
                  </a:lnTo>
                  <a:lnTo>
                    <a:pt x="612" y="2086"/>
                  </a:lnTo>
                  <a:lnTo>
                    <a:pt x="617" y="2103"/>
                  </a:lnTo>
                  <a:lnTo>
                    <a:pt x="655" y="2070"/>
                  </a:lnTo>
                  <a:lnTo>
                    <a:pt x="633" y="2070"/>
                  </a:lnTo>
                  <a:lnTo>
                    <a:pt x="655" y="2065"/>
                  </a:lnTo>
                  <a:lnTo>
                    <a:pt x="671" y="2065"/>
                  </a:lnTo>
                  <a:lnTo>
                    <a:pt x="664" y="2081"/>
                  </a:lnTo>
                  <a:lnTo>
                    <a:pt x="688" y="2058"/>
                  </a:lnTo>
                  <a:lnTo>
                    <a:pt x="688" y="2070"/>
                  </a:lnTo>
                  <a:lnTo>
                    <a:pt x="671" y="2081"/>
                  </a:lnTo>
                  <a:lnTo>
                    <a:pt x="681" y="2081"/>
                  </a:lnTo>
                  <a:lnTo>
                    <a:pt x="693" y="2070"/>
                  </a:lnTo>
                  <a:lnTo>
                    <a:pt x="688" y="2048"/>
                  </a:lnTo>
                  <a:lnTo>
                    <a:pt x="693" y="2058"/>
                  </a:lnTo>
                  <a:lnTo>
                    <a:pt x="693" y="2070"/>
                  </a:lnTo>
                  <a:lnTo>
                    <a:pt x="702" y="2065"/>
                  </a:lnTo>
                  <a:lnTo>
                    <a:pt x="688" y="2048"/>
                  </a:lnTo>
                  <a:lnTo>
                    <a:pt x="693" y="2041"/>
                  </a:lnTo>
                  <a:lnTo>
                    <a:pt x="702" y="2065"/>
                  </a:lnTo>
                  <a:lnTo>
                    <a:pt x="693" y="2081"/>
                  </a:lnTo>
                  <a:lnTo>
                    <a:pt x="709" y="2058"/>
                  </a:lnTo>
                  <a:lnTo>
                    <a:pt x="702" y="2081"/>
                  </a:lnTo>
                  <a:lnTo>
                    <a:pt x="709" y="2070"/>
                  </a:lnTo>
                  <a:lnTo>
                    <a:pt x="702" y="2098"/>
                  </a:lnTo>
                  <a:lnTo>
                    <a:pt x="709" y="2103"/>
                  </a:lnTo>
                  <a:lnTo>
                    <a:pt x="709" y="2086"/>
                  </a:lnTo>
                  <a:lnTo>
                    <a:pt x="747" y="2029"/>
                  </a:lnTo>
                  <a:lnTo>
                    <a:pt x="832" y="2008"/>
                  </a:lnTo>
                  <a:lnTo>
                    <a:pt x="848" y="2003"/>
                  </a:lnTo>
                  <a:lnTo>
                    <a:pt x="848" y="2013"/>
                  </a:lnTo>
                  <a:lnTo>
                    <a:pt x="832" y="2013"/>
                  </a:lnTo>
                  <a:lnTo>
                    <a:pt x="832" y="2029"/>
                  </a:lnTo>
                  <a:lnTo>
                    <a:pt x="848" y="2029"/>
                  </a:lnTo>
                  <a:lnTo>
                    <a:pt x="886" y="2003"/>
                  </a:lnTo>
                  <a:lnTo>
                    <a:pt x="886" y="1975"/>
                  </a:lnTo>
                  <a:lnTo>
                    <a:pt x="952" y="1959"/>
                  </a:lnTo>
                  <a:lnTo>
                    <a:pt x="908" y="1954"/>
                  </a:lnTo>
                  <a:lnTo>
                    <a:pt x="919" y="1947"/>
                  </a:lnTo>
                  <a:lnTo>
                    <a:pt x="903" y="1947"/>
                  </a:lnTo>
                  <a:lnTo>
                    <a:pt x="908" y="1914"/>
                  </a:lnTo>
                  <a:lnTo>
                    <a:pt x="974" y="1959"/>
                  </a:lnTo>
                  <a:lnTo>
                    <a:pt x="1004" y="2025"/>
                  </a:lnTo>
                  <a:lnTo>
                    <a:pt x="1033" y="2058"/>
                  </a:lnTo>
                  <a:lnTo>
                    <a:pt x="1096" y="2081"/>
                  </a:lnTo>
                  <a:lnTo>
                    <a:pt x="1096" y="2070"/>
                  </a:lnTo>
                  <a:lnTo>
                    <a:pt x="1118" y="2065"/>
                  </a:lnTo>
                  <a:lnTo>
                    <a:pt x="1080" y="2065"/>
                  </a:lnTo>
                  <a:lnTo>
                    <a:pt x="1087" y="2058"/>
                  </a:lnTo>
                  <a:lnTo>
                    <a:pt x="1118" y="2058"/>
                  </a:lnTo>
                  <a:lnTo>
                    <a:pt x="1096" y="2041"/>
                  </a:lnTo>
                  <a:lnTo>
                    <a:pt x="1096" y="2029"/>
                  </a:lnTo>
                  <a:lnTo>
                    <a:pt x="1118" y="2025"/>
                  </a:lnTo>
                  <a:lnTo>
                    <a:pt x="1125" y="2041"/>
                  </a:lnTo>
                  <a:lnTo>
                    <a:pt x="1134" y="2029"/>
                  </a:lnTo>
                  <a:lnTo>
                    <a:pt x="1101" y="2013"/>
                  </a:lnTo>
                  <a:lnTo>
                    <a:pt x="1118" y="2013"/>
                  </a:lnTo>
                  <a:lnTo>
                    <a:pt x="1134" y="1992"/>
                  </a:lnTo>
                  <a:lnTo>
                    <a:pt x="1113" y="2003"/>
                  </a:lnTo>
                  <a:lnTo>
                    <a:pt x="1113" y="1992"/>
                  </a:lnTo>
                  <a:lnTo>
                    <a:pt x="1125" y="1987"/>
                  </a:lnTo>
                  <a:lnTo>
                    <a:pt x="1118" y="1992"/>
                  </a:lnTo>
                  <a:lnTo>
                    <a:pt x="1151" y="1987"/>
                  </a:lnTo>
                  <a:lnTo>
                    <a:pt x="1156" y="1992"/>
                  </a:lnTo>
                  <a:lnTo>
                    <a:pt x="1167" y="1987"/>
                  </a:lnTo>
                  <a:lnTo>
                    <a:pt x="1139" y="1975"/>
                  </a:lnTo>
                  <a:lnTo>
                    <a:pt x="1167" y="1975"/>
                  </a:lnTo>
                  <a:lnTo>
                    <a:pt x="1167" y="1987"/>
                  </a:lnTo>
                  <a:lnTo>
                    <a:pt x="1156" y="2025"/>
                  </a:lnTo>
                  <a:lnTo>
                    <a:pt x="1189" y="2029"/>
                  </a:lnTo>
                  <a:lnTo>
                    <a:pt x="1156" y="2070"/>
                  </a:lnTo>
                  <a:lnTo>
                    <a:pt x="1167" y="2070"/>
                  </a:lnTo>
                  <a:lnTo>
                    <a:pt x="1231" y="2070"/>
                  </a:lnTo>
                  <a:lnTo>
                    <a:pt x="1231" y="2058"/>
                  </a:lnTo>
                  <a:lnTo>
                    <a:pt x="1248" y="2058"/>
                  </a:lnTo>
                  <a:lnTo>
                    <a:pt x="1259" y="2025"/>
                  </a:lnTo>
                  <a:lnTo>
                    <a:pt x="1264" y="2013"/>
                  </a:lnTo>
                  <a:lnTo>
                    <a:pt x="1356" y="2013"/>
                  </a:lnTo>
                  <a:lnTo>
                    <a:pt x="1420" y="2041"/>
                  </a:lnTo>
                  <a:lnTo>
                    <a:pt x="1458" y="2070"/>
                  </a:lnTo>
                  <a:lnTo>
                    <a:pt x="1555" y="2086"/>
                  </a:lnTo>
                  <a:lnTo>
                    <a:pt x="1609" y="2119"/>
                  </a:lnTo>
                  <a:lnTo>
                    <a:pt x="1675" y="2136"/>
                  </a:lnTo>
                  <a:lnTo>
                    <a:pt x="1760" y="2140"/>
                  </a:lnTo>
                  <a:lnTo>
                    <a:pt x="1730" y="2124"/>
                  </a:lnTo>
                  <a:lnTo>
                    <a:pt x="1782" y="2124"/>
                  </a:lnTo>
                  <a:lnTo>
                    <a:pt x="1869" y="2157"/>
                  </a:lnTo>
                  <a:lnTo>
                    <a:pt x="1890" y="2181"/>
                  </a:lnTo>
                  <a:lnTo>
                    <a:pt x="1890" y="2214"/>
                  </a:lnTo>
                  <a:lnTo>
                    <a:pt x="1803" y="2226"/>
                  </a:lnTo>
                  <a:lnTo>
                    <a:pt x="1803" y="2235"/>
                  </a:lnTo>
                  <a:lnTo>
                    <a:pt x="1819" y="2247"/>
                  </a:lnTo>
                  <a:lnTo>
                    <a:pt x="1789" y="2252"/>
                  </a:lnTo>
                  <a:lnTo>
                    <a:pt x="1819" y="2268"/>
                  </a:lnTo>
                  <a:lnTo>
                    <a:pt x="2004" y="2285"/>
                  </a:lnTo>
                  <a:lnTo>
                    <a:pt x="2091" y="2263"/>
                  </a:lnTo>
                  <a:lnTo>
                    <a:pt x="2105" y="2280"/>
                  </a:lnTo>
                  <a:lnTo>
                    <a:pt x="2167" y="2247"/>
                  </a:lnTo>
                  <a:lnTo>
                    <a:pt x="2176" y="2252"/>
                  </a:lnTo>
                  <a:lnTo>
                    <a:pt x="2176" y="2263"/>
                  </a:lnTo>
                  <a:lnTo>
                    <a:pt x="2193" y="2263"/>
                  </a:lnTo>
                  <a:lnTo>
                    <a:pt x="2193" y="2280"/>
                  </a:lnTo>
                  <a:lnTo>
                    <a:pt x="2235" y="2280"/>
                  </a:lnTo>
                  <a:lnTo>
                    <a:pt x="2252" y="2303"/>
                  </a:lnTo>
                  <a:lnTo>
                    <a:pt x="2247" y="2308"/>
                  </a:lnTo>
                  <a:lnTo>
                    <a:pt x="2263" y="2325"/>
                  </a:lnTo>
                  <a:lnTo>
                    <a:pt x="2263" y="2292"/>
                  </a:lnTo>
                  <a:lnTo>
                    <a:pt x="2268" y="2292"/>
                  </a:lnTo>
                  <a:lnTo>
                    <a:pt x="2285" y="2325"/>
                  </a:lnTo>
                  <a:lnTo>
                    <a:pt x="2289" y="2320"/>
                  </a:lnTo>
                  <a:lnTo>
                    <a:pt x="2318" y="2337"/>
                  </a:lnTo>
                  <a:lnTo>
                    <a:pt x="2322" y="2363"/>
                  </a:lnTo>
                  <a:lnTo>
                    <a:pt x="2301" y="2363"/>
                  </a:lnTo>
                  <a:lnTo>
                    <a:pt x="2268" y="2346"/>
                  </a:lnTo>
                  <a:lnTo>
                    <a:pt x="2273" y="2363"/>
                  </a:lnTo>
                  <a:lnTo>
                    <a:pt x="2306" y="2374"/>
                  </a:lnTo>
                  <a:lnTo>
                    <a:pt x="2322" y="2412"/>
                  </a:lnTo>
                  <a:lnTo>
                    <a:pt x="2322" y="2396"/>
                  </a:lnTo>
                  <a:lnTo>
                    <a:pt x="2370" y="2448"/>
                  </a:lnTo>
                  <a:lnTo>
                    <a:pt x="2344" y="2412"/>
                  </a:lnTo>
                  <a:lnTo>
                    <a:pt x="2327" y="2379"/>
                  </a:lnTo>
                  <a:lnTo>
                    <a:pt x="2339" y="2358"/>
                  </a:lnTo>
                  <a:lnTo>
                    <a:pt x="2356" y="2374"/>
                  </a:lnTo>
                  <a:lnTo>
                    <a:pt x="2339" y="2374"/>
                  </a:lnTo>
                  <a:lnTo>
                    <a:pt x="2344" y="2391"/>
                  </a:lnTo>
                  <a:lnTo>
                    <a:pt x="2360" y="2391"/>
                  </a:lnTo>
                  <a:lnTo>
                    <a:pt x="2356" y="2374"/>
                  </a:lnTo>
                  <a:lnTo>
                    <a:pt x="2381" y="2391"/>
                  </a:lnTo>
                  <a:lnTo>
                    <a:pt x="2360" y="2363"/>
                  </a:lnTo>
                  <a:lnTo>
                    <a:pt x="2360" y="2346"/>
                  </a:lnTo>
                  <a:lnTo>
                    <a:pt x="2356" y="2341"/>
                  </a:lnTo>
                  <a:lnTo>
                    <a:pt x="2339" y="2325"/>
                  </a:lnTo>
                  <a:lnTo>
                    <a:pt x="2344" y="2308"/>
                  </a:lnTo>
                  <a:lnTo>
                    <a:pt x="2318" y="2280"/>
                  </a:lnTo>
                  <a:lnTo>
                    <a:pt x="2322" y="2263"/>
                  </a:lnTo>
                  <a:lnTo>
                    <a:pt x="2339" y="2252"/>
                  </a:lnTo>
                  <a:lnTo>
                    <a:pt x="2322" y="2247"/>
                  </a:lnTo>
                  <a:lnTo>
                    <a:pt x="2322" y="2235"/>
                  </a:lnTo>
                  <a:lnTo>
                    <a:pt x="2339" y="2235"/>
                  </a:lnTo>
                  <a:lnTo>
                    <a:pt x="2327" y="2235"/>
                  </a:lnTo>
                  <a:lnTo>
                    <a:pt x="2327" y="2247"/>
                  </a:lnTo>
                  <a:lnTo>
                    <a:pt x="2360" y="2235"/>
                  </a:lnTo>
                  <a:lnTo>
                    <a:pt x="2398" y="2230"/>
                  </a:lnTo>
                  <a:lnTo>
                    <a:pt x="2398" y="2226"/>
                  </a:lnTo>
                  <a:lnTo>
                    <a:pt x="2415" y="2214"/>
                  </a:lnTo>
                  <a:lnTo>
                    <a:pt x="2424" y="2230"/>
                  </a:lnTo>
                  <a:lnTo>
                    <a:pt x="2431" y="2226"/>
                  </a:lnTo>
                  <a:lnTo>
                    <a:pt x="2424" y="2214"/>
                  </a:lnTo>
                  <a:lnTo>
                    <a:pt x="2424" y="2209"/>
                  </a:lnTo>
                  <a:lnTo>
                    <a:pt x="2478" y="2192"/>
                  </a:lnTo>
                  <a:lnTo>
                    <a:pt x="2478" y="2176"/>
                  </a:lnTo>
                  <a:lnTo>
                    <a:pt x="2483" y="2169"/>
                  </a:lnTo>
                  <a:lnTo>
                    <a:pt x="2415" y="2181"/>
                  </a:lnTo>
                  <a:lnTo>
                    <a:pt x="2415" y="2192"/>
                  </a:lnTo>
                  <a:lnTo>
                    <a:pt x="2424" y="2197"/>
                  </a:lnTo>
                  <a:lnTo>
                    <a:pt x="2415" y="2209"/>
                  </a:lnTo>
                  <a:lnTo>
                    <a:pt x="2398" y="2192"/>
                  </a:lnTo>
                  <a:lnTo>
                    <a:pt x="2370" y="2214"/>
                  </a:lnTo>
                  <a:lnTo>
                    <a:pt x="2344" y="2197"/>
                  </a:lnTo>
                  <a:lnTo>
                    <a:pt x="2327" y="2209"/>
                  </a:lnTo>
                  <a:lnTo>
                    <a:pt x="2322" y="2214"/>
                  </a:lnTo>
                  <a:lnTo>
                    <a:pt x="2344" y="2226"/>
                  </a:lnTo>
                  <a:lnTo>
                    <a:pt x="2289" y="2230"/>
                  </a:lnTo>
                  <a:lnTo>
                    <a:pt x="2285" y="2226"/>
                  </a:lnTo>
                  <a:lnTo>
                    <a:pt x="2289" y="2226"/>
                  </a:lnTo>
                  <a:lnTo>
                    <a:pt x="2289" y="2209"/>
                  </a:lnTo>
                  <a:lnTo>
                    <a:pt x="2263" y="2214"/>
                  </a:lnTo>
                  <a:lnTo>
                    <a:pt x="2289" y="2169"/>
                  </a:lnTo>
                  <a:lnTo>
                    <a:pt x="2370" y="2157"/>
                  </a:lnTo>
                  <a:lnTo>
                    <a:pt x="2436" y="2124"/>
                  </a:lnTo>
                  <a:lnTo>
                    <a:pt x="2469" y="2136"/>
                  </a:lnTo>
                  <a:lnTo>
                    <a:pt x="2490" y="2152"/>
                  </a:lnTo>
                  <a:lnTo>
                    <a:pt x="2490" y="2169"/>
                  </a:lnTo>
                  <a:lnTo>
                    <a:pt x="2500" y="2181"/>
                  </a:lnTo>
                  <a:lnTo>
                    <a:pt x="2483" y="2192"/>
                  </a:lnTo>
                  <a:lnTo>
                    <a:pt x="2521" y="2214"/>
                  </a:lnTo>
                  <a:lnTo>
                    <a:pt x="2537" y="2209"/>
                  </a:lnTo>
                  <a:lnTo>
                    <a:pt x="2533" y="2214"/>
                  </a:lnTo>
                  <a:lnTo>
                    <a:pt x="2554" y="2214"/>
                  </a:lnTo>
                  <a:lnTo>
                    <a:pt x="2542" y="2230"/>
                  </a:lnTo>
                  <a:lnTo>
                    <a:pt x="2559" y="2235"/>
                  </a:lnTo>
                  <a:lnTo>
                    <a:pt x="2613" y="2235"/>
                  </a:lnTo>
                  <a:lnTo>
                    <a:pt x="2641" y="2226"/>
                  </a:lnTo>
                  <a:lnTo>
                    <a:pt x="2646" y="2230"/>
                  </a:lnTo>
                  <a:lnTo>
                    <a:pt x="2641" y="2247"/>
                  </a:lnTo>
                  <a:lnTo>
                    <a:pt x="2717" y="2280"/>
                  </a:lnTo>
                  <a:lnTo>
                    <a:pt x="2738" y="2280"/>
                  </a:lnTo>
                  <a:lnTo>
                    <a:pt x="2769" y="2285"/>
                  </a:lnTo>
                  <a:lnTo>
                    <a:pt x="2844" y="2263"/>
                  </a:lnTo>
                  <a:lnTo>
                    <a:pt x="2911" y="2268"/>
                  </a:lnTo>
                  <a:lnTo>
                    <a:pt x="2932" y="2280"/>
                  </a:lnTo>
                  <a:lnTo>
                    <a:pt x="2991" y="2268"/>
                  </a:lnTo>
                  <a:lnTo>
                    <a:pt x="2965" y="2252"/>
                  </a:lnTo>
                  <a:lnTo>
                    <a:pt x="2965" y="2235"/>
                  </a:lnTo>
                  <a:lnTo>
                    <a:pt x="2970" y="2235"/>
                  </a:lnTo>
                  <a:lnTo>
                    <a:pt x="3007" y="2280"/>
                  </a:lnTo>
                  <a:lnTo>
                    <a:pt x="3057" y="2292"/>
                  </a:lnTo>
                  <a:lnTo>
                    <a:pt x="3078" y="2285"/>
                  </a:lnTo>
                  <a:lnTo>
                    <a:pt x="3078" y="2268"/>
                  </a:lnTo>
                  <a:lnTo>
                    <a:pt x="3071" y="2252"/>
                  </a:lnTo>
                  <a:lnTo>
                    <a:pt x="3062" y="2263"/>
                  </a:lnTo>
                  <a:lnTo>
                    <a:pt x="3041" y="2247"/>
                  </a:lnTo>
                  <a:lnTo>
                    <a:pt x="3019" y="2252"/>
                  </a:lnTo>
                  <a:lnTo>
                    <a:pt x="3007" y="2263"/>
                  </a:lnTo>
                  <a:lnTo>
                    <a:pt x="2974" y="2230"/>
                  </a:lnTo>
                  <a:lnTo>
                    <a:pt x="2986" y="2226"/>
                  </a:lnTo>
                  <a:lnTo>
                    <a:pt x="2991" y="2235"/>
                  </a:lnTo>
                  <a:lnTo>
                    <a:pt x="2991" y="2226"/>
                  </a:lnTo>
                  <a:lnTo>
                    <a:pt x="2970" y="2197"/>
                  </a:lnTo>
                  <a:lnTo>
                    <a:pt x="2974" y="2209"/>
                  </a:lnTo>
                  <a:lnTo>
                    <a:pt x="2986" y="2192"/>
                  </a:lnTo>
                  <a:lnTo>
                    <a:pt x="3003" y="2209"/>
                  </a:lnTo>
                  <a:lnTo>
                    <a:pt x="3029" y="2197"/>
                  </a:lnTo>
                  <a:lnTo>
                    <a:pt x="3019" y="2181"/>
                  </a:lnTo>
                  <a:lnTo>
                    <a:pt x="3024" y="2176"/>
                  </a:lnTo>
                  <a:lnTo>
                    <a:pt x="3045" y="2192"/>
                  </a:lnTo>
                  <a:lnTo>
                    <a:pt x="3071" y="2192"/>
                  </a:lnTo>
                  <a:lnTo>
                    <a:pt x="3083" y="2197"/>
                  </a:lnTo>
                  <a:lnTo>
                    <a:pt x="3078" y="2214"/>
                  </a:lnTo>
                  <a:lnTo>
                    <a:pt x="3133" y="2209"/>
                  </a:lnTo>
                  <a:lnTo>
                    <a:pt x="3100" y="2235"/>
                  </a:lnTo>
                  <a:lnTo>
                    <a:pt x="3109" y="2247"/>
                  </a:lnTo>
                  <a:lnTo>
                    <a:pt x="3154" y="2214"/>
                  </a:lnTo>
                  <a:lnTo>
                    <a:pt x="3137" y="2268"/>
                  </a:lnTo>
                  <a:lnTo>
                    <a:pt x="3147" y="2285"/>
                  </a:lnTo>
                  <a:lnTo>
                    <a:pt x="3126" y="2308"/>
                  </a:lnTo>
                  <a:lnTo>
                    <a:pt x="3147" y="2308"/>
                  </a:lnTo>
                  <a:lnTo>
                    <a:pt x="3137" y="2341"/>
                  </a:lnTo>
                  <a:lnTo>
                    <a:pt x="3147" y="2341"/>
                  </a:lnTo>
                  <a:lnTo>
                    <a:pt x="3185" y="2325"/>
                  </a:lnTo>
                  <a:lnTo>
                    <a:pt x="3185" y="2337"/>
                  </a:lnTo>
                  <a:lnTo>
                    <a:pt x="3170" y="2346"/>
                  </a:lnTo>
                  <a:lnTo>
                    <a:pt x="3192" y="2341"/>
                  </a:lnTo>
                  <a:lnTo>
                    <a:pt x="3201" y="2374"/>
                  </a:lnTo>
                  <a:lnTo>
                    <a:pt x="3163" y="2374"/>
                  </a:lnTo>
                  <a:lnTo>
                    <a:pt x="3154" y="2363"/>
                  </a:lnTo>
                  <a:lnTo>
                    <a:pt x="3163" y="2358"/>
                  </a:lnTo>
                  <a:lnTo>
                    <a:pt x="3147" y="2374"/>
                  </a:lnTo>
                  <a:lnTo>
                    <a:pt x="3137" y="2358"/>
                  </a:lnTo>
                  <a:lnTo>
                    <a:pt x="3126" y="2358"/>
                  </a:lnTo>
                  <a:lnTo>
                    <a:pt x="3170" y="2396"/>
                  </a:lnTo>
                  <a:lnTo>
                    <a:pt x="3170" y="2412"/>
                  </a:lnTo>
                  <a:lnTo>
                    <a:pt x="3180" y="2412"/>
                  </a:lnTo>
                  <a:lnTo>
                    <a:pt x="3147" y="2379"/>
                  </a:lnTo>
                  <a:lnTo>
                    <a:pt x="3208" y="2379"/>
                  </a:lnTo>
                  <a:lnTo>
                    <a:pt x="3208" y="2374"/>
                  </a:lnTo>
                  <a:lnTo>
                    <a:pt x="3201" y="2346"/>
                  </a:lnTo>
                  <a:lnTo>
                    <a:pt x="3218" y="2337"/>
                  </a:lnTo>
                  <a:lnTo>
                    <a:pt x="3201" y="2325"/>
                  </a:lnTo>
                  <a:lnTo>
                    <a:pt x="3201" y="2303"/>
                  </a:lnTo>
                  <a:lnTo>
                    <a:pt x="3180" y="2280"/>
                  </a:lnTo>
                  <a:lnTo>
                    <a:pt x="3185" y="2268"/>
                  </a:lnTo>
                  <a:lnTo>
                    <a:pt x="3201" y="2235"/>
                  </a:lnTo>
                  <a:lnTo>
                    <a:pt x="3192" y="2235"/>
                  </a:lnTo>
                  <a:lnTo>
                    <a:pt x="3244" y="2235"/>
                  </a:lnTo>
                  <a:lnTo>
                    <a:pt x="3289" y="2214"/>
                  </a:lnTo>
                  <a:lnTo>
                    <a:pt x="3289" y="2192"/>
                  </a:lnTo>
                  <a:lnTo>
                    <a:pt x="3326" y="2176"/>
                  </a:lnTo>
                  <a:lnTo>
                    <a:pt x="3326" y="2169"/>
                  </a:lnTo>
                  <a:lnTo>
                    <a:pt x="3315" y="2169"/>
                  </a:lnTo>
                  <a:lnTo>
                    <a:pt x="3326" y="2140"/>
                  </a:lnTo>
                  <a:lnTo>
                    <a:pt x="3326" y="2124"/>
                  </a:lnTo>
                  <a:lnTo>
                    <a:pt x="3298" y="2124"/>
                  </a:lnTo>
                  <a:lnTo>
                    <a:pt x="3293" y="2140"/>
                  </a:lnTo>
                  <a:lnTo>
                    <a:pt x="3310" y="2136"/>
                  </a:lnTo>
                  <a:lnTo>
                    <a:pt x="3293" y="2152"/>
                  </a:lnTo>
                  <a:lnTo>
                    <a:pt x="3260" y="2152"/>
                  </a:lnTo>
                  <a:lnTo>
                    <a:pt x="3256" y="2152"/>
                  </a:lnTo>
                  <a:lnTo>
                    <a:pt x="3256" y="2136"/>
                  </a:lnTo>
                  <a:lnTo>
                    <a:pt x="3256" y="2124"/>
                  </a:lnTo>
                  <a:lnTo>
                    <a:pt x="3293" y="2103"/>
                  </a:lnTo>
                  <a:lnTo>
                    <a:pt x="3277" y="2103"/>
                  </a:lnTo>
                  <a:lnTo>
                    <a:pt x="3277" y="2081"/>
                  </a:lnTo>
                  <a:lnTo>
                    <a:pt x="3331" y="2065"/>
                  </a:lnTo>
                  <a:lnTo>
                    <a:pt x="3310" y="2086"/>
                  </a:lnTo>
                  <a:lnTo>
                    <a:pt x="3310" y="2103"/>
                  </a:lnTo>
                  <a:lnTo>
                    <a:pt x="3343" y="2070"/>
                  </a:lnTo>
                  <a:lnTo>
                    <a:pt x="3326" y="2070"/>
                  </a:lnTo>
                  <a:lnTo>
                    <a:pt x="3343" y="2065"/>
                  </a:lnTo>
                  <a:lnTo>
                    <a:pt x="3331" y="2058"/>
                  </a:lnTo>
                  <a:lnTo>
                    <a:pt x="3277" y="2065"/>
                  </a:lnTo>
                  <a:lnTo>
                    <a:pt x="3256" y="2029"/>
                  </a:lnTo>
                  <a:lnTo>
                    <a:pt x="3239" y="2048"/>
                  </a:lnTo>
                  <a:lnTo>
                    <a:pt x="3180" y="2025"/>
                  </a:lnTo>
                  <a:lnTo>
                    <a:pt x="3163" y="2025"/>
                  </a:lnTo>
                  <a:lnTo>
                    <a:pt x="3147" y="2003"/>
                  </a:lnTo>
                  <a:lnTo>
                    <a:pt x="3116" y="1975"/>
                  </a:lnTo>
                  <a:lnTo>
                    <a:pt x="3116" y="1954"/>
                  </a:lnTo>
                  <a:lnTo>
                    <a:pt x="3137" y="1921"/>
                  </a:lnTo>
                  <a:lnTo>
                    <a:pt x="3170" y="1921"/>
                  </a:lnTo>
                  <a:lnTo>
                    <a:pt x="3154" y="1914"/>
                  </a:lnTo>
                  <a:lnTo>
                    <a:pt x="3170" y="1897"/>
                  </a:lnTo>
                  <a:lnTo>
                    <a:pt x="3147" y="1914"/>
                  </a:lnTo>
                  <a:lnTo>
                    <a:pt x="3116" y="1892"/>
                  </a:lnTo>
                  <a:lnTo>
                    <a:pt x="3126" y="1859"/>
                  </a:lnTo>
                  <a:lnTo>
                    <a:pt x="3133" y="1848"/>
                  </a:lnTo>
                  <a:lnTo>
                    <a:pt x="3116" y="1843"/>
                  </a:lnTo>
                  <a:lnTo>
                    <a:pt x="3126" y="1843"/>
                  </a:lnTo>
                  <a:lnTo>
                    <a:pt x="3126" y="1826"/>
                  </a:lnTo>
                  <a:lnTo>
                    <a:pt x="3154" y="1810"/>
                  </a:lnTo>
                  <a:lnTo>
                    <a:pt x="3185" y="1826"/>
                  </a:lnTo>
                  <a:lnTo>
                    <a:pt x="3192" y="1810"/>
                  </a:lnTo>
                  <a:lnTo>
                    <a:pt x="3185" y="1803"/>
                  </a:lnTo>
                  <a:lnTo>
                    <a:pt x="3163" y="1786"/>
                  </a:lnTo>
                  <a:lnTo>
                    <a:pt x="3208" y="1770"/>
                  </a:lnTo>
                  <a:lnTo>
                    <a:pt x="3208" y="1753"/>
                  </a:lnTo>
                  <a:lnTo>
                    <a:pt x="3256" y="1748"/>
                  </a:lnTo>
                  <a:lnTo>
                    <a:pt x="3208" y="1748"/>
                  </a:lnTo>
                  <a:lnTo>
                    <a:pt x="3218" y="1737"/>
                  </a:lnTo>
                  <a:lnTo>
                    <a:pt x="3260" y="1732"/>
                  </a:lnTo>
                  <a:lnTo>
                    <a:pt x="3272" y="1737"/>
                  </a:lnTo>
                  <a:lnTo>
                    <a:pt x="3256" y="1753"/>
                  </a:lnTo>
                  <a:lnTo>
                    <a:pt x="3256" y="1765"/>
                  </a:lnTo>
                  <a:lnTo>
                    <a:pt x="3260" y="1753"/>
                  </a:lnTo>
                  <a:lnTo>
                    <a:pt x="3272" y="1753"/>
                  </a:lnTo>
                  <a:lnTo>
                    <a:pt x="3272" y="1781"/>
                  </a:lnTo>
                  <a:lnTo>
                    <a:pt x="3289" y="1753"/>
                  </a:lnTo>
                  <a:lnTo>
                    <a:pt x="3315" y="1765"/>
                  </a:lnTo>
                  <a:lnTo>
                    <a:pt x="3310" y="1781"/>
                  </a:lnTo>
                  <a:lnTo>
                    <a:pt x="3369" y="1819"/>
                  </a:lnTo>
                  <a:lnTo>
                    <a:pt x="3381" y="1843"/>
                  </a:lnTo>
                  <a:lnTo>
                    <a:pt x="3369" y="1876"/>
                  </a:lnTo>
                  <a:lnTo>
                    <a:pt x="3364" y="1881"/>
                  </a:lnTo>
                  <a:lnTo>
                    <a:pt x="3423" y="1914"/>
                  </a:lnTo>
                  <a:lnTo>
                    <a:pt x="3418" y="1930"/>
                  </a:lnTo>
                  <a:lnTo>
                    <a:pt x="3440" y="1947"/>
                  </a:lnTo>
                  <a:lnTo>
                    <a:pt x="3440" y="1959"/>
                  </a:lnTo>
                  <a:lnTo>
                    <a:pt x="3449" y="1947"/>
                  </a:lnTo>
                  <a:lnTo>
                    <a:pt x="3456" y="1947"/>
                  </a:lnTo>
                  <a:lnTo>
                    <a:pt x="3470" y="1970"/>
                  </a:lnTo>
                  <a:lnTo>
                    <a:pt x="3440" y="1975"/>
                  </a:lnTo>
                  <a:lnTo>
                    <a:pt x="3418" y="1970"/>
                  </a:lnTo>
                  <a:lnTo>
                    <a:pt x="3407" y="1987"/>
                  </a:lnTo>
                  <a:lnTo>
                    <a:pt x="3440" y="1992"/>
                  </a:lnTo>
                  <a:lnTo>
                    <a:pt x="3385" y="2029"/>
                  </a:lnTo>
                  <a:lnTo>
                    <a:pt x="3402" y="2029"/>
                  </a:lnTo>
                  <a:lnTo>
                    <a:pt x="3369" y="2029"/>
                  </a:lnTo>
                  <a:lnTo>
                    <a:pt x="3418" y="2029"/>
                  </a:lnTo>
                  <a:lnTo>
                    <a:pt x="3433" y="2041"/>
                  </a:lnTo>
                  <a:lnTo>
                    <a:pt x="3418" y="2041"/>
                  </a:lnTo>
                  <a:lnTo>
                    <a:pt x="3433" y="2048"/>
                  </a:lnTo>
                  <a:lnTo>
                    <a:pt x="3449" y="2058"/>
                  </a:lnTo>
                  <a:lnTo>
                    <a:pt x="3470" y="2041"/>
                  </a:lnTo>
                  <a:lnTo>
                    <a:pt x="3494" y="2041"/>
                  </a:lnTo>
                  <a:lnTo>
                    <a:pt x="3504" y="2041"/>
                  </a:lnTo>
                  <a:lnTo>
                    <a:pt x="3470" y="2058"/>
                  </a:lnTo>
                  <a:lnTo>
                    <a:pt x="3494" y="2048"/>
                  </a:lnTo>
                  <a:lnTo>
                    <a:pt x="3525" y="2058"/>
                  </a:lnTo>
                  <a:lnTo>
                    <a:pt x="3525" y="2048"/>
                  </a:lnTo>
                  <a:lnTo>
                    <a:pt x="3558" y="2065"/>
                  </a:lnTo>
                  <a:lnTo>
                    <a:pt x="3525" y="2065"/>
                  </a:lnTo>
                  <a:lnTo>
                    <a:pt x="3541" y="2065"/>
                  </a:lnTo>
                  <a:lnTo>
                    <a:pt x="3525" y="2070"/>
                  </a:lnTo>
                  <a:lnTo>
                    <a:pt x="3515" y="2086"/>
                  </a:lnTo>
                  <a:lnTo>
                    <a:pt x="3478" y="2070"/>
                  </a:lnTo>
                  <a:lnTo>
                    <a:pt x="3532" y="2115"/>
                  </a:lnTo>
                  <a:lnTo>
                    <a:pt x="3532" y="2124"/>
                  </a:lnTo>
                  <a:lnTo>
                    <a:pt x="3546" y="2136"/>
                  </a:lnTo>
                  <a:lnTo>
                    <a:pt x="3541" y="2152"/>
                  </a:lnTo>
                  <a:lnTo>
                    <a:pt x="3541" y="2181"/>
                  </a:lnTo>
                  <a:lnTo>
                    <a:pt x="3532" y="2192"/>
                  </a:lnTo>
                  <a:lnTo>
                    <a:pt x="3558" y="2197"/>
                  </a:lnTo>
                  <a:lnTo>
                    <a:pt x="3546" y="2209"/>
                  </a:lnTo>
                  <a:lnTo>
                    <a:pt x="3558" y="2214"/>
                  </a:lnTo>
                  <a:lnTo>
                    <a:pt x="3570" y="2214"/>
                  </a:lnTo>
                  <a:lnTo>
                    <a:pt x="3584" y="2192"/>
                  </a:lnTo>
                  <a:lnTo>
                    <a:pt x="3579" y="2169"/>
                  </a:lnTo>
                  <a:lnTo>
                    <a:pt x="3596" y="2157"/>
                  </a:lnTo>
                  <a:lnTo>
                    <a:pt x="3596" y="2119"/>
                  </a:lnTo>
                  <a:lnTo>
                    <a:pt x="3622" y="2086"/>
                  </a:lnTo>
                  <a:lnTo>
                    <a:pt x="3650" y="2086"/>
                  </a:lnTo>
                  <a:lnTo>
                    <a:pt x="3721" y="2140"/>
                  </a:lnTo>
                  <a:lnTo>
                    <a:pt x="3730" y="2209"/>
                  </a:lnTo>
                  <a:lnTo>
                    <a:pt x="3726" y="2226"/>
                  </a:lnTo>
                  <a:lnTo>
                    <a:pt x="3704" y="2197"/>
                  </a:lnTo>
                  <a:lnTo>
                    <a:pt x="3688" y="2209"/>
                  </a:lnTo>
                  <a:lnTo>
                    <a:pt x="3693" y="2230"/>
                  </a:lnTo>
                  <a:lnTo>
                    <a:pt x="3693" y="2252"/>
                  </a:lnTo>
                  <a:lnTo>
                    <a:pt x="3709" y="2285"/>
                  </a:lnTo>
                  <a:lnTo>
                    <a:pt x="3763" y="2337"/>
                  </a:lnTo>
                  <a:lnTo>
                    <a:pt x="3747" y="2358"/>
                  </a:lnTo>
                  <a:lnTo>
                    <a:pt x="3785" y="2341"/>
                  </a:lnTo>
                  <a:lnTo>
                    <a:pt x="3780" y="2325"/>
                  </a:lnTo>
                  <a:lnTo>
                    <a:pt x="3796" y="2320"/>
                  </a:lnTo>
                  <a:lnTo>
                    <a:pt x="3818" y="2325"/>
                  </a:lnTo>
                  <a:lnTo>
                    <a:pt x="3827" y="2292"/>
                  </a:lnTo>
                  <a:lnTo>
                    <a:pt x="3818" y="2285"/>
                  </a:lnTo>
                  <a:lnTo>
                    <a:pt x="3865" y="2235"/>
                  </a:lnTo>
                  <a:lnTo>
                    <a:pt x="3872" y="2209"/>
                  </a:lnTo>
                  <a:lnTo>
                    <a:pt x="3881" y="2192"/>
                  </a:lnTo>
                  <a:lnTo>
                    <a:pt x="3881" y="2152"/>
                  </a:lnTo>
                  <a:lnTo>
                    <a:pt x="3893" y="2152"/>
                  </a:lnTo>
                  <a:lnTo>
                    <a:pt x="3941" y="2152"/>
                  </a:lnTo>
                  <a:lnTo>
                    <a:pt x="3941" y="2140"/>
                  </a:lnTo>
                  <a:lnTo>
                    <a:pt x="3910" y="2136"/>
                  </a:lnTo>
                  <a:lnTo>
                    <a:pt x="3924" y="2136"/>
                  </a:lnTo>
                  <a:lnTo>
                    <a:pt x="3919" y="2124"/>
                  </a:lnTo>
                  <a:lnTo>
                    <a:pt x="3941" y="2124"/>
                  </a:lnTo>
                  <a:lnTo>
                    <a:pt x="3936" y="2119"/>
                  </a:lnTo>
                  <a:lnTo>
                    <a:pt x="3962" y="2119"/>
                  </a:lnTo>
                  <a:lnTo>
                    <a:pt x="3919" y="2103"/>
                  </a:lnTo>
                  <a:lnTo>
                    <a:pt x="3924" y="2098"/>
                  </a:lnTo>
                  <a:lnTo>
                    <a:pt x="3903" y="2103"/>
                  </a:lnTo>
                  <a:lnTo>
                    <a:pt x="3910" y="2098"/>
                  </a:lnTo>
                  <a:lnTo>
                    <a:pt x="3893" y="2086"/>
                  </a:lnTo>
                  <a:lnTo>
                    <a:pt x="3893" y="2070"/>
                  </a:lnTo>
                  <a:lnTo>
                    <a:pt x="3903" y="2065"/>
                  </a:lnTo>
                  <a:lnTo>
                    <a:pt x="3886" y="2065"/>
                  </a:lnTo>
                  <a:lnTo>
                    <a:pt x="3893" y="2025"/>
                  </a:lnTo>
                  <a:lnTo>
                    <a:pt x="3903" y="2025"/>
                  </a:lnTo>
                  <a:lnTo>
                    <a:pt x="3886" y="2008"/>
                  </a:lnTo>
                  <a:lnTo>
                    <a:pt x="3924" y="2025"/>
                  </a:lnTo>
                  <a:lnTo>
                    <a:pt x="3974" y="2008"/>
                  </a:lnTo>
                  <a:lnTo>
                    <a:pt x="4016" y="2029"/>
                  </a:lnTo>
                  <a:lnTo>
                    <a:pt x="4120" y="2041"/>
                  </a:lnTo>
                  <a:lnTo>
                    <a:pt x="4096" y="2041"/>
                  </a:lnTo>
                  <a:lnTo>
                    <a:pt x="4104" y="2058"/>
                  </a:lnTo>
                  <a:lnTo>
                    <a:pt x="4049" y="2048"/>
                  </a:lnTo>
                  <a:lnTo>
                    <a:pt x="4120" y="2070"/>
                  </a:lnTo>
                  <a:lnTo>
                    <a:pt x="4120" y="2086"/>
                  </a:lnTo>
                  <a:lnTo>
                    <a:pt x="4158" y="2086"/>
                  </a:lnTo>
                  <a:lnTo>
                    <a:pt x="4189" y="2098"/>
                  </a:lnTo>
                  <a:lnTo>
                    <a:pt x="4189" y="2103"/>
                  </a:lnTo>
                  <a:lnTo>
                    <a:pt x="4163" y="2119"/>
                  </a:lnTo>
                  <a:lnTo>
                    <a:pt x="4134" y="2136"/>
                  </a:lnTo>
                  <a:lnTo>
                    <a:pt x="4179" y="2136"/>
                  </a:lnTo>
                  <a:lnTo>
                    <a:pt x="4189" y="2152"/>
                  </a:lnTo>
                  <a:lnTo>
                    <a:pt x="4189" y="2169"/>
                  </a:lnTo>
                  <a:lnTo>
                    <a:pt x="4141" y="2192"/>
                  </a:lnTo>
                  <a:lnTo>
                    <a:pt x="4120" y="2181"/>
                  </a:lnTo>
                  <a:lnTo>
                    <a:pt x="4125" y="2181"/>
                  </a:lnTo>
                  <a:lnTo>
                    <a:pt x="4120" y="2192"/>
                  </a:lnTo>
                  <a:lnTo>
                    <a:pt x="4096" y="2181"/>
                  </a:lnTo>
                  <a:lnTo>
                    <a:pt x="4108" y="2209"/>
                  </a:lnTo>
                  <a:lnTo>
                    <a:pt x="4104" y="2209"/>
                  </a:lnTo>
                  <a:lnTo>
                    <a:pt x="4120" y="2209"/>
                  </a:lnTo>
                  <a:lnTo>
                    <a:pt x="4108" y="2226"/>
                  </a:lnTo>
                  <a:lnTo>
                    <a:pt x="4125" y="2230"/>
                  </a:lnTo>
                  <a:lnTo>
                    <a:pt x="4141" y="2226"/>
                  </a:lnTo>
                  <a:lnTo>
                    <a:pt x="4125" y="2247"/>
                  </a:lnTo>
                  <a:lnTo>
                    <a:pt x="4134" y="2252"/>
                  </a:lnTo>
                  <a:lnTo>
                    <a:pt x="4189" y="2308"/>
                  </a:lnTo>
                  <a:lnTo>
                    <a:pt x="4172" y="2363"/>
                  </a:lnTo>
                  <a:lnTo>
                    <a:pt x="4141" y="2374"/>
                  </a:lnTo>
                  <a:lnTo>
                    <a:pt x="4096" y="2419"/>
                  </a:lnTo>
                  <a:lnTo>
                    <a:pt x="4066" y="2419"/>
                  </a:lnTo>
                  <a:lnTo>
                    <a:pt x="4033" y="2448"/>
                  </a:lnTo>
                  <a:lnTo>
                    <a:pt x="4028" y="2436"/>
                  </a:lnTo>
                  <a:lnTo>
                    <a:pt x="4033" y="2448"/>
                  </a:lnTo>
                  <a:lnTo>
                    <a:pt x="4016" y="2429"/>
                  </a:lnTo>
                  <a:lnTo>
                    <a:pt x="4000" y="2419"/>
                  </a:lnTo>
                  <a:lnTo>
                    <a:pt x="3995" y="2403"/>
                  </a:lnTo>
                  <a:lnTo>
                    <a:pt x="4000" y="2391"/>
                  </a:lnTo>
                  <a:lnTo>
                    <a:pt x="4000" y="2379"/>
                  </a:lnTo>
                  <a:lnTo>
                    <a:pt x="3990" y="2403"/>
                  </a:lnTo>
                  <a:lnTo>
                    <a:pt x="3978" y="2403"/>
                  </a:lnTo>
                  <a:lnTo>
                    <a:pt x="3962" y="2391"/>
                  </a:lnTo>
                  <a:lnTo>
                    <a:pt x="3974" y="2374"/>
                  </a:lnTo>
                  <a:lnTo>
                    <a:pt x="3936" y="2358"/>
                  </a:lnTo>
                  <a:lnTo>
                    <a:pt x="3936" y="2374"/>
                  </a:lnTo>
                  <a:lnTo>
                    <a:pt x="3957" y="2374"/>
                  </a:lnTo>
                  <a:lnTo>
                    <a:pt x="3924" y="2374"/>
                  </a:lnTo>
                  <a:lnTo>
                    <a:pt x="3910" y="2379"/>
                  </a:lnTo>
                  <a:lnTo>
                    <a:pt x="3957" y="2374"/>
                  </a:lnTo>
                  <a:lnTo>
                    <a:pt x="3945" y="2379"/>
                  </a:lnTo>
                  <a:lnTo>
                    <a:pt x="3962" y="2391"/>
                  </a:lnTo>
                  <a:lnTo>
                    <a:pt x="3945" y="2391"/>
                  </a:lnTo>
                  <a:lnTo>
                    <a:pt x="3962" y="2396"/>
                  </a:lnTo>
                  <a:lnTo>
                    <a:pt x="3962" y="2403"/>
                  </a:lnTo>
                  <a:lnTo>
                    <a:pt x="3990" y="2403"/>
                  </a:lnTo>
                  <a:lnTo>
                    <a:pt x="3990" y="2412"/>
                  </a:lnTo>
                  <a:lnTo>
                    <a:pt x="4016" y="2469"/>
                  </a:lnTo>
                  <a:lnTo>
                    <a:pt x="4011" y="2469"/>
                  </a:lnTo>
                  <a:lnTo>
                    <a:pt x="3962" y="2436"/>
                  </a:lnTo>
                  <a:lnTo>
                    <a:pt x="3957" y="2452"/>
                  </a:lnTo>
                  <a:lnTo>
                    <a:pt x="3974" y="2469"/>
                  </a:lnTo>
                  <a:lnTo>
                    <a:pt x="3910" y="2457"/>
                  </a:lnTo>
                  <a:lnTo>
                    <a:pt x="3893" y="2419"/>
                  </a:lnTo>
                  <a:lnTo>
                    <a:pt x="3872" y="2429"/>
                  </a:lnTo>
                  <a:lnTo>
                    <a:pt x="3801" y="2429"/>
                  </a:lnTo>
                  <a:lnTo>
                    <a:pt x="3811" y="2436"/>
                  </a:lnTo>
                  <a:lnTo>
                    <a:pt x="3801" y="2436"/>
                  </a:lnTo>
                  <a:lnTo>
                    <a:pt x="3811" y="2452"/>
                  </a:lnTo>
                  <a:lnTo>
                    <a:pt x="3865" y="2469"/>
                  </a:lnTo>
                  <a:lnTo>
                    <a:pt x="3855" y="2485"/>
                  </a:lnTo>
                  <a:lnTo>
                    <a:pt x="3827" y="2502"/>
                  </a:lnTo>
                  <a:lnTo>
                    <a:pt x="3818" y="2523"/>
                  </a:lnTo>
                  <a:lnTo>
                    <a:pt x="3763" y="2568"/>
                  </a:lnTo>
                  <a:lnTo>
                    <a:pt x="3721" y="2563"/>
                  </a:lnTo>
                  <a:lnTo>
                    <a:pt x="3655" y="2530"/>
                  </a:lnTo>
                  <a:lnTo>
                    <a:pt x="3676" y="2530"/>
                  </a:lnTo>
                  <a:lnTo>
                    <a:pt x="3650" y="2523"/>
                  </a:lnTo>
                  <a:lnTo>
                    <a:pt x="3600" y="2490"/>
                  </a:lnTo>
                  <a:lnTo>
                    <a:pt x="3579" y="2490"/>
                  </a:lnTo>
                  <a:lnTo>
                    <a:pt x="3596" y="2502"/>
                  </a:lnTo>
                  <a:lnTo>
                    <a:pt x="3596" y="2507"/>
                  </a:lnTo>
                  <a:lnTo>
                    <a:pt x="3546" y="2502"/>
                  </a:lnTo>
                  <a:lnTo>
                    <a:pt x="3563" y="2502"/>
                  </a:lnTo>
                  <a:lnTo>
                    <a:pt x="3478" y="2490"/>
                  </a:lnTo>
                  <a:lnTo>
                    <a:pt x="3508" y="2507"/>
                  </a:lnTo>
                  <a:lnTo>
                    <a:pt x="3504" y="2502"/>
                  </a:lnTo>
                  <a:lnTo>
                    <a:pt x="3579" y="2514"/>
                  </a:lnTo>
                  <a:lnTo>
                    <a:pt x="3638" y="2568"/>
                  </a:lnTo>
                  <a:lnTo>
                    <a:pt x="3763" y="2568"/>
                  </a:lnTo>
                  <a:lnTo>
                    <a:pt x="3796" y="2585"/>
                  </a:lnTo>
                  <a:lnTo>
                    <a:pt x="3747" y="2658"/>
                  </a:lnTo>
                  <a:lnTo>
                    <a:pt x="3730" y="2667"/>
                  </a:lnTo>
                  <a:lnTo>
                    <a:pt x="3721" y="2696"/>
                  </a:lnTo>
                  <a:lnTo>
                    <a:pt x="3709" y="2707"/>
                  </a:lnTo>
                  <a:lnTo>
                    <a:pt x="3667" y="2729"/>
                  </a:lnTo>
                  <a:lnTo>
                    <a:pt x="3638" y="2724"/>
                  </a:lnTo>
                  <a:lnTo>
                    <a:pt x="3633" y="2707"/>
                  </a:lnTo>
                  <a:lnTo>
                    <a:pt x="3650" y="2729"/>
                  </a:lnTo>
                  <a:lnTo>
                    <a:pt x="3612" y="2712"/>
                  </a:lnTo>
                  <a:lnTo>
                    <a:pt x="3612" y="2729"/>
                  </a:lnTo>
                  <a:lnTo>
                    <a:pt x="3584" y="2712"/>
                  </a:lnTo>
                  <a:lnTo>
                    <a:pt x="3596" y="2707"/>
                  </a:lnTo>
                  <a:lnTo>
                    <a:pt x="3596" y="2696"/>
                  </a:lnTo>
                  <a:lnTo>
                    <a:pt x="3584" y="2707"/>
                  </a:lnTo>
                  <a:lnTo>
                    <a:pt x="3570" y="2707"/>
                  </a:lnTo>
                  <a:lnTo>
                    <a:pt x="3579" y="2712"/>
                  </a:lnTo>
                  <a:lnTo>
                    <a:pt x="3584" y="2729"/>
                  </a:lnTo>
                  <a:lnTo>
                    <a:pt x="3558" y="2724"/>
                  </a:lnTo>
                  <a:lnTo>
                    <a:pt x="3579" y="2745"/>
                  </a:lnTo>
                  <a:lnTo>
                    <a:pt x="3563" y="2769"/>
                  </a:lnTo>
                  <a:lnTo>
                    <a:pt x="3532" y="2752"/>
                  </a:lnTo>
                  <a:lnTo>
                    <a:pt x="3525" y="2762"/>
                  </a:lnTo>
                  <a:lnTo>
                    <a:pt x="3532" y="2762"/>
                  </a:lnTo>
                  <a:lnTo>
                    <a:pt x="3541" y="2769"/>
                  </a:lnTo>
                  <a:lnTo>
                    <a:pt x="3508" y="2769"/>
                  </a:lnTo>
                  <a:lnTo>
                    <a:pt x="3470" y="2752"/>
                  </a:lnTo>
                  <a:lnTo>
                    <a:pt x="3423" y="2752"/>
                  </a:lnTo>
                  <a:lnTo>
                    <a:pt x="3343" y="2724"/>
                  </a:lnTo>
                  <a:lnTo>
                    <a:pt x="3310" y="2696"/>
                  </a:lnTo>
                  <a:lnTo>
                    <a:pt x="3326" y="2712"/>
                  </a:lnTo>
                  <a:lnTo>
                    <a:pt x="3315" y="2729"/>
                  </a:lnTo>
                  <a:lnTo>
                    <a:pt x="3331" y="2736"/>
                  </a:lnTo>
                  <a:lnTo>
                    <a:pt x="3352" y="2736"/>
                  </a:lnTo>
                  <a:lnTo>
                    <a:pt x="3331" y="2729"/>
                  </a:lnTo>
                  <a:lnTo>
                    <a:pt x="3343" y="2729"/>
                  </a:lnTo>
                  <a:lnTo>
                    <a:pt x="3433" y="2752"/>
                  </a:lnTo>
                  <a:lnTo>
                    <a:pt x="3402" y="2778"/>
                  </a:lnTo>
                  <a:lnTo>
                    <a:pt x="3456" y="2752"/>
                  </a:lnTo>
                  <a:lnTo>
                    <a:pt x="3461" y="2769"/>
                  </a:lnTo>
                  <a:lnTo>
                    <a:pt x="3515" y="2790"/>
                  </a:lnTo>
                  <a:lnTo>
                    <a:pt x="3508" y="2785"/>
                  </a:lnTo>
                  <a:lnTo>
                    <a:pt x="3525" y="2790"/>
                  </a:lnTo>
                  <a:lnTo>
                    <a:pt x="3532" y="2835"/>
                  </a:lnTo>
                  <a:lnTo>
                    <a:pt x="3525" y="2840"/>
                  </a:lnTo>
                  <a:lnTo>
                    <a:pt x="3504" y="2840"/>
                  </a:lnTo>
                  <a:lnTo>
                    <a:pt x="3478" y="2856"/>
                  </a:lnTo>
                  <a:lnTo>
                    <a:pt x="3407" y="2856"/>
                  </a:lnTo>
                  <a:lnTo>
                    <a:pt x="3418" y="2873"/>
                  </a:lnTo>
                  <a:lnTo>
                    <a:pt x="3449" y="2880"/>
                  </a:lnTo>
                  <a:lnTo>
                    <a:pt x="3433" y="2889"/>
                  </a:lnTo>
                  <a:lnTo>
                    <a:pt x="3418" y="2880"/>
                  </a:lnTo>
                  <a:lnTo>
                    <a:pt x="3385" y="2896"/>
                  </a:lnTo>
                  <a:lnTo>
                    <a:pt x="3385" y="2913"/>
                  </a:lnTo>
                  <a:lnTo>
                    <a:pt x="3402" y="2934"/>
                  </a:lnTo>
                  <a:lnTo>
                    <a:pt x="3385" y="2918"/>
                  </a:lnTo>
                  <a:lnTo>
                    <a:pt x="3352" y="2913"/>
                  </a:lnTo>
                  <a:lnTo>
                    <a:pt x="3385" y="2929"/>
                  </a:lnTo>
                  <a:lnTo>
                    <a:pt x="3364" y="2929"/>
                  </a:lnTo>
                  <a:lnTo>
                    <a:pt x="3369" y="2934"/>
                  </a:lnTo>
                  <a:lnTo>
                    <a:pt x="3352" y="2946"/>
                  </a:lnTo>
                  <a:lnTo>
                    <a:pt x="3343" y="2946"/>
                  </a:lnTo>
                  <a:lnTo>
                    <a:pt x="3352" y="2951"/>
                  </a:lnTo>
                  <a:lnTo>
                    <a:pt x="3348" y="2955"/>
                  </a:lnTo>
                  <a:lnTo>
                    <a:pt x="3326" y="2951"/>
                  </a:lnTo>
                  <a:lnTo>
                    <a:pt x="3326" y="2967"/>
                  </a:lnTo>
                  <a:lnTo>
                    <a:pt x="3348" y="2974"/>
                  </a:lnTo>
                  <a:lnTo>
                    <a:pt x="3298" y="3007"/>
                  </a:lnTo>
                  <a:lnTo>
                    <a:pt x="3310" y="3024"/>
                  </a:lnTo>
                  <a:lnTo>
                    <a:pt x="3272" y="3078"/>
                  </a:lnTo>
                  <a:lnTo>
                    <a:pt x="3260" y="3111"/>
                  </a:lnTo>
                  <a:lnTo>
                    <a:pt x="3244" y="3111"/>
                  </a:lnTo>
                  <a:lnTo>
                    <a:pt x="3256" y="3123"/>
                  </a:lnTo>
                  <a:lnTo>
                    <a:pt x="3239" y="3173"/>
                  </a:lnTo>
                  <a:lnTo>
                    <a:pt x="3239" y="3206"/>
                  </a:lnTo>
                  <a:lnTo>
                    <a:pt x="3244" y="3234"/>
                  </a:lnTo>
                  <a:lnTo>
                    <a:pt x="3239" y="3246"/>
                  </a:lnTo>
                  <a:lnTo>
                    <a:pt x="3239" y="3263"/>
                  </a:lnTo>
                  <a:lnTo>
                    <a:pt x="3260" y="3300"/>
                  </a:lnTo>
                  <a:lnTo>
                    <a:pt x="3277" y="3300"/>
                  </a:lnTo>
                  <a:lnTo>
                    <a:pt x="3272" y="3355"/>
                  </a:lnTo>
                  <a:lnTo>
                    <a:pt x="3277" y="3338"/>
                  </a:lnTo>
                  <a:lnTo>
                    <a:pt x="3277" y="3317"/>
                  </a:lnTo>
                  <a:lnTo>
                    <a:pt x="3289" y="3300"/>
                  </a:lnTo>
                  <a:lnTo>
                    <a:pt x="3352" y="3300"/>
                  </a:lnTo>
                  <a:lnTo>
                    <a:pt x="3407" y="3449"/>
                  </a:lnTo>
                  <a:lnTo>
                    <a:pt x="3395" y="3473"/>
                  </a:lnTo>
                  <a:lnTo>
                    <a:pt x="3381" y="3489"/>
                  </a:lnTo>
                  <a:lnTo>
                    <a:pt x="3407" y="3473"/>
                  </a:lnTo>
                  <a:lnTo>
                    <a:pt x="3423" y="3473"/>
                  </a:lnTo>
                  <a:lnTo>
                    <a:pt x="3402" y="3489"/>
                  </a:lnTo>
                  <a:lnTo>
                    <a:pt x="3508" y="3461"/>
                  </a:lnTo>
                  <a:lnTo>
                    <a:pt x="3667" y="3499"/>
                  </a:lnTo>
                  <a:lnTo>
                    <a:pt x="3721" y="3539"/>
                  </a:lnTo>
                  <a:lnTo>
                    <a:pt x="3742" y="3572"/>
                  </a:lnTo>
                  <a:lnTo>
                    <a:pt x="3763" y="3584"/>
                  </a:lnTo>
                  <a:lnTo>
                    <a:pt x="3881" y="3626"/>
                  </a:lnTo>
                  <a:lnTo>
                    <a:pt x="3903" y="3650"/>
                  </a:lnTo>
                  <a:lnTo>
                    <a:pt x="3919" y="3650"/>
                  </a:lnTo>
                  <a:lnTo>
                    <a:pt x="3893" y="3688"/>
                  </a:lnTo>
                  <a:lnTo>
                    <a:pt x="3910" y="3666"/>
                  </a:lnTo>
                  <a:lnTo>
                    <a:pt x="3924" y="3655"/>
                  </a:lnTo>
                  <a:lnTo>
                    <a:pt x="3957" y="3666"/>
                  </a:lnTo>
                  <a:lnTo>
                    <a:pt x="4000" y="3655"/>
                  </a:lnTo>
                  <a:lnTo>
                    <a:pt x="4028" y="3671"/>
                  </a:lnTo>
                  <a:lnTo>
                    <a:pt x="4016" y="3655"/>
                  </a:lnTo>
                  <a:lnTo>
                    <a:pt x="4070" y="3666"/>
                  </a:lnTo>
                  <a:lnTo>
                    <a:pt x="4108" y="3683"/>
                  </a:lnTo>
                  <a:lnTo>
                    <a:pt x="4120" y="3671"/>
                  </a:lnTo>
                  <a:lnTo>
                    <a:pt x="4125" y="3704"/>
                  </a:lnTo>
                  <a:lnTo>
                    <a:pt x="4108" y="3749"/>
                  </a:lnTo>
                  <a:lnTo>
                    <a:pt x="4108" y="3766"/>
                  </a:lnTo>
                  <a:lnTo>
                    <a:pt x="4120" y="3777"/>
                  </a:lnTo>
                  <a:lnTo>
                    <a:pt x="4125" y="3806"/>
                  </a:lnTo>
                  <a:lnTo>
                    <a:pt x="4125" y="3822"/>
                  </a:lnTo>
                  <a:lnTo>
                    <a:pt x="4125" y="3855"/>
                  </a:lnTo>
                  <a:lnTo>
                    <a:pt x="4120" y="3872"/>
                  </a:lnTo>
                  <a:lnTo>
                    <a:pt x="4120" y="3877"/>
                  </a:lnTo>
                  <a:lnTo>
                    <a:pt x="4172" y="3943"/>
                  </a:lnTo>
                  <a:lnTo>
                    <a:pt x="4172" y="3950"/>
                  </a:lnTo>
                  <a:lnTo>
                    <a:pt x="4151" y="3966"/>
                  </a:lnTo>
                  <a:lnTo>
                    <a:pt x="4172" y="3959"/>
                  </a:lnTo>
                  <a:lnTo>
                    <a:pt x="4179" y="3971"/>
                  </a:lnTo>
                  <a:lnTo>
                    <a:pt x="4210" y="3983"/>
                  </a:lnTo>
                  <a:lnTo>
                    <a:pt x="4233" y="4016"/>
                  </a:lnTo>
                  <a:lnTo>
                    <a:pt x="4248" y="4044"/>
                  </a:lnTo>
                  <a:lnTo>
                    <a:pt x="4205" y="4077"/>
                  </a:lnTo>
                  <a:lnTo>
                    <a:pt x="4248" y="4044"/>
                  </a:lnTo>
                  <a:lnTo>
                    <a:pt x="4271" y="4044"/>
                  </a:lnTo>
                  <a:lnTo>
                    <a:pt x="4297" y="4061"/>
                  </a:lnTo>
                  <a:lnTo>
                    <a:pt x="4323" y="4099"/>
                  </a:lnTo>
                  <a:lnTo>
                    <a:pt x="4297" y="4061"/>
                  </a:lnTo>
                  <a:lnTo>
                    <a:pt x="4302" y="4037"/>
                  </a:lnTo>
                  <a:lnTo>
                    <a:pt x="4323" y="4016"/>
                  </a:lnTo>
                  <a:lnTo>
                    <a:pt x="4335" y="4016"/>
                  </a:lnTo>
                  <a:lnTo>
                    <a:pt x="4323" y="4025"/>
                  </a:lnTo>
                  <a:lnTo>
                    <a:pt x="4352" y="4025"/>
                  </a:lnTo>
                  <a:lnTo>
                    <a:pt x="4352" y="4054"/>
                  </a:lnTo>
                  <a:lnTo>
                    <a:pt x="4356" y="4061"/>
                  </a:lnTo>
                  <a:lnTo>
                    <a:pt x="4356" y="4054"/>
                  </a:lnTo>
                  <a:lnTo>
                    <a:pt x="4368" y="4025"/>
                  </a:lnTo>
                  <a:lnTo>
                    <a:pt x="4368" y="4021"/>
                  </a:lnTo>
                  <a:lnTo>
                    <a:pt x="4340" y="4004"/>
                  </a:lnTo>
                  <a:lnTo>
                    <a:pt x="4356" y="4000"/>
                  </a:lnTo>
                  <a:lnTo>
                    <a:pt x="4356" y="3988"/>
                  </a:lnTo>
                  <a:lnTo>
                    <a:pt x="4378" y="3971"/>
                  </a:lnTo>
                  <a:lnTo>
                    <a:pt x="4378" y="3933"/>
                  </a:lnTo>
                  <a:lnTo>
                    <a:pt x="4368" y="3926"/>
                  </a:lnTo>
                  <a:lnTo>
                    <a:pt x="4373" y="3926"/>
                  </a:lnTo>
                  <a:lnTo>
                    <a:pt x="4368" y="3905"/>
                  </a:lnTo>
                  <a:lnTo>
                    <a:pt x="4368" y="3893"/>
                  </a:lnTo>
                  <a:lnTo>
                    <a:pt x="4356" y="3893"/>
                  </a:lnTo>
                  <a:lnTo>
                    <a:pt x="4356" y="3855"/>
                  </a:lnTo>
                  <a:lnTo>
                    <a:pt x="4340" y="3832"/>
                  </a:lnTo>
                  <a:lnTo>
                    <a:pt x="4356" y="3832"/>
                  </a:lnTo>
                  <a:lnTo>
                    <a:pt x="4335" y="3815"/>
                  </a:lnTo>
                  <a:lnTo>
                    <a:pt x="4340" y="3799"/>
                  </a:lnTo>
                  <a:lnTo>
                    <a:pt x="4356" y="3806"/>
                  </a:lnTo>
                  <a:lnTo>
                    <a:pt x="4340" y="3794"/>
                  </a:lnTo>
                  <a:lnTo>
                    <a:pt x="4340" y="3782"/>
                  </a:lnTo>
                  <a:lnTo>
                    <a:pt x="4352" y="3782"/>
                  </a:lnTo>
                  <a:lnTo>
                    <a:pt x="4340" y="3777"/>
                  </a:lnTo>
                  <a:lnTo>
                    <a:pt x="4340" y="3766"/>
                  </a:lnTo>
                  <a:lnTo>
                    <a:pt x="4323" y="3766"/>
                  </a:lnTo>
                  <a:lnTo>
                    <a:pt x="4314" y="3728"/>
                  </a:lnTo>
                  <a:lnTo>
                    <a:pt x="4297" y="3721"/>
                  </a:lnTo>
                  <a:lnTo>
                    <a:pt x="4394" y="3683"/>
                  </a:lnTo>
                  <a:lnTo>
                    <a:pt x="4432" y="3655"/>
                  </a:lnTo>
                  <a:lnTo>
                    <a:pt x="4474" y="3626"/>
                  </a:lnTo>
                  <a:lnTo>
                    <a:pt x="4512" y="3584"/>
                  </a:lnTo>
                  <a:lnTo>
                    <a:pt x="4519" y="3544"/>
                  </a:lnTo>
                  <a:lnTo>
                    <a:pt x="4519" y="3473"/>
                  </a:lnTo>
                  <a:lnTo>
                    <a:pt x="4498" y="3407"/>
                  </a:lnTo>
                  <a:lnTo>
                    <a:pt x="4460" y="3355"/>
                  </a:lnTo>
                  <a:lnTo>
                    <a:pt x="4422" y="3338"/>
                  </a:lnTo>
                  <a:lnTo>
                    <a:pt x="4389" y="3317"/>
                  </a:lnTo>
                  <a:lnTo>
                    <a:pt x="4394" y="3322"/>
                  </a:lnTo>
                  <a:lnTo>
                    <a:pt x="4378" y="3317"/>
                  </a:lnTo>
                  <a:lnTo>
                    <a:pt x="4389" y="3305"/>
                  </a:lnTo>
                  <a:lnTo>
                    <a:pt x="4378" y="3279"/>
                  </a:lnTo>
                  <a:lnTo>
                    <a:pt x="4394" y="3284"/>
                  </a:lnTo>
                  <a:lnTo>
                    <a:pt x="4411" y="3251"/>
                  </a:lnTo>
                  <a:lnTo>
                    <a:pt x="4444" y="3227"/>
                  </a:lnTo>
                  <a:lnTo>
                    <a:pt x="4427" y="3227"/>
                  </a:lnTo>
                  <a:lnTo>
                    <a:pt x="4432" y="3211"/>
                  </a:lnTo>
                  <a:lnTo>
                    <a:pt x="4432" y="3194"/>
                  </a:lnTo>
                  <a:lnTo>
                    <a:pt x="4465" y="3211"/>
                  </a:lnTo>
                  <a:lnTo>
                    <a:pt x="4448" y="3194"/>
                  </a:lnTo>
                  <a:lnTo>
                    <a:pt x="4465" y="3189"/>
                  </a:lnTo>
                  <a:lnTo>
                    <a:pt x="4460" y="3173"/>
                  </a:lnTo>
                  <a:lnTo>
                    <a:pt x="4503" y="3151"/>
                  </a:lnTo>
                  <a:lnTo>
                    <a:pt x="4474" y="3151"/>
                  </a:lnTo>
                  <a:lnTo>
                    <a:pt x="4465" y="3168"/>
                  </a:lnTo>
                  <a:lnTo>
                    <a:pt x="4448" y="3156"/>
                  </a:lnTo>
                  <a:lnTo>
                    <a:pt x="4460" y="3140"/>
                  </a:lnTo>
                  <a:lnTo>
                    <a:pt x="4432" y="3123"/>
                  </a:lnTo>
                  <a:lnTo>
                    <a:pt x="4460" y="3111"/>
                  </a:lnTo>
                  <a:lnTo>
                    <a:pt x="4427" y="3095"/>
                  </a:lnTo>
                  <a:lnTo>
                    <a:pt x="4448" y="3078"/>
                  </a:lnTo>
                  <a:lnTo>
                    <a:pt x="4406" y="3078"/>
                  </a:lnTo>
                  <a:lnTo>
                    <a:pt x="4444" y="3029"/>
                  </a:lnTo>
                  <a:lnTo>
                    <a:pt x="4432" y="3012"/>
                  </a:lnTo>
                  <a:lnTo>
                    <a:pt x="4448" y="3007"/>
                  </a:lnTo>
                  <a:lnTo>
                    <a:pt x="4448" y="3000"/>
                  </a:lnTo>
                  <a:lnTo>
                    <a:pt x="4460" y="3000"/>
                  </a:lnTo>
                  <a:lnTo>
                    <a:pt x="4422" y="2974"/>
                  </a:lnTo>
                  <a:lnTo>
                    <a:pt x="4406" y="2929"/>
                  </a:lnTo>
                  <a:lnTo>
                    <a:pt x="4422" y="2901"/>
                  </a:lnTo>
                  <a:lnTo>
                    <a:pt x="4448" y="2889"/>
                  </a:lnTo>
                  <a:lnTo>
                    <a:pt x="4498" y="2889"/>
                  </a:lnTo>
                  <a:lnTo>
                    <a:pt x="4583" y="2913"/>
                  </a:lnTo>
                  <a:lnTo>
                    <a:pt x="4567" y="2929"/>
                  </a:lnTo>
                  <a:lnTo>
                    <a:pt x="4604" y="2913"/>
                  </a:lnTo>
                  <a:lnTo>
                    <a:pt x="4659" y="2934"/>
                  </a:lnTo>
                  <a:lnTo>
                    <a:pt x="4642" y="2929"/>
                  </a:lnTo>
                  <a:lnTo>
                    <a:pt x="4718" y="2896"/>
                  </a:lnTo>
                  <a:lnTo>
                    <a:pt x="4772" y="2934"/>
                  </a:lnTo>
                  <a:lnTo>
                    <a:pt x="4798" y="2934"/>
                  </a:lnTo>
                  <a:lnTo>
                    <a:pt x="4798" y="2951"/>
                  </a:lnTo>
                  <a:lnTo>
                    <a:pt x="4789" y="2967"/>
                  </a:lnTo>
                  <a:lnTo>
                    <a:pt x="4798" y="2967"/>
                  </a:lnTo>
                  <a:lnTo>
                    <a:pt x="4798" y="2955"/>
                  </a:lnTo>
                  <a:lnTo>
                    <a:pt x="4822" y="2955"/>
                  </a:lnTo>
                  <a:lnTo>
                    <a:pt x="4836" y="2984"/>
                  </a:lnTo>
                  <a:lnTo>
                    <a:pt x="4822" y="3000"/>
                  </a:lnTo>
                  <a:lnTo>
                    <a:pt x="4843" y="2991"/>
                  </a:lnTo>
                  <a:lnTo>
                    <a:pt x="4843" y="2984"/>
                  </a:lnTo>
                  <a:lnTo>
                    <a:pt x="4864" y="2991"/>
                  </a:lnTo>
                  <a:lnTo>
                    <a:pt x="4874" y="3000"/>
                  </a:lnTo>
                  <a:lnTo>
                    <a:pt x="4843" y="3012"/>
                  </a:lnTo>
                  <a:lnTo>
                    <a:pt x="4859" y="3012"/>
                  </a:lnTo>
                  <a:lnTo>
                    <a:pt x="4881" y="3045"/>
                  </a:lnTo>
                  <a:lnTo>
                    <a:pt x="4944" y="3057"/>
                  </a:lnTo>
                  <a:lnTo>
                    <a:pt x="4966" y="3045"/>
                  </a:lnTo>
                  <a:lnTo>
                    <a:pt x="4973" y="3066"/>
                  </a:lnTo>
                  <a:lnTo>
                    <a:pt x="4982" y="3078"/>
                  </a:lnTo>
                  <a:lnTo>
                    <a:pt x="4999" y="3066"/>
                  </a:lnTo>
                  <a:lnTo>
                    <a:pt x="5004" y="3066"/>
                  </a:lnTo>
                  <a:lnTo>
                    <a:pt x="5004" y="3057"/>
                  </a:lnTo>
                  <a:lnTo>
                    <a:pt x="5015" y="3045"/>
                  </a:lnTo>
                  <a:lnTo>
                    <a:pt x="5020" y="3078"/>
                  </a:lnTo>
                  <a:lnTo>
                    <a:pt x="4999" y="3095"/>
                  </a:lnTo>
                  <a:lnTo>
                    <a:pt x="5004" y="3100"/>
                  </a:lnTo>
                  <a:lnTo>
                    <a:pt x="4987" y="3111"/>
                  </a:lnTo>
                  <a:lnTo>
                    <a:pt x="4999" y="3123"/>
                  </a:lnTo>
                  <a:lnTo>
                    <a:pt x="4999" y="3135"/>
                  </a:lnTo>
                  <a:lnTo>
                    <a:pt x="5004" y="3140"/>
                  </a:lnTo>
                  <a:lnTo>
                    <a:pt x="5004" y="3156"/>
                  </a:lnTo>
                  <a:lnTo>
                    <a:pt x="4944" y="3168"/>
                  </a:lnTo>
                  <a:lnTo>
                    <a:pt x="4911" y="3156"/>
                  </a:lnTo>
                  <a:lnTo>
                    <a:pt x="4935" y="3173"/>
                  </a:lnTo>
                  <a:lnTo>
                    <a:pt x="4999" y="3173"/>
                  </a:lnTo>
                  <a:lnTo>
                    <a:pt x="5004" y="3177"/>
                  </a:lnTo>
                  <a:lnTo>
                    <a:pt x="5015" y="3206"/>
                  </a:lnTo>
                  <a:lnTo>
                    <a:pt x="4999" y="3222"/>
                  </a:lnTo>
                  <a:lnTo>
                    <a:pt x="5004" y="3234"/>
                  </a:lnTo>
                  <a:lnTo>
                    <a:pt x="4999" y="3234"/>
                  </a:lnTo>
                  <a:lnTo>
                    <a:pt x="5020" y="3234"/>
                  </a:lnTo>
                  <a:lnTo>
                    <a:pt x="5025" y="3234"/>
                  </a:lnTo>
                  <a:lnTo>
                    <a:pt x="5037" y="3251"/>
                  </a:lnTo>
                  <a:lnTo>
                    <a:pt x="5015" y="3251"/>
                  </a:lnTo>
                  <a:lnTo>
                    <a:pt x="5015" y="3263"/>
                  </a:lnTo>
                  <a:lnTo>
                    <a:pt x="5025" y="3263"/>
                  </a:lnTo>
                  <a:lnTo>
                    <a:pt x="5015" y="3267"/>
                  </a:lnTo>
                  <a:lnTo>
                    <a:pt x="5020" y="3284"/>
                  </a:lnTo>
                  <a:lnTo>
                    <a:pt x="5015" y="3296"/>
                  </a:lnTo>
                  <a:lnTo>
                    <a:pt x="5004" y="3296"/>
                  </a:lnTo>
                  <a:lnTo>
                    <a:pt x="5004" y="3284"/>
                  </a:lnTo>
                  <a:lnTo>
                    <a:pt x="4987" y="3267"/>
                  </a:lnTo>
                  <a:lnTo>
                    <a:pt x="4987" y="3296"/>
                  </a:lnTo>
                  <a:lnTo>
                    <a:pt x="4966" y="3300"/>
                  </a:lnTo>
                  <a:lnTo>
                    <a:pt x="4982" y="3300"/>
                  </a:lnTo>
                  <a:lnTo>
                    <a:pt x="4987" y="3317"/>
                  </a:lnTo>
                  <a:lnTo>
                    <a:pt x="5025" y="3284"/>
                  </a:lnTo>
                  <a:lnTo>
                    <a:pt x="5070" y="3284"/>
                  </a:lnTo>
                  <a:lnTo>
                    <a:pt x="5096" y="3300"/>
                  </a:lnTo>
                  <a:lnTo>
                    <a:pt x="5107" y="3333"/>
                  </a:lnTo>
                  <a:lnTo>
                    <a:pt x="5096" y="3362"/>
                  </a:lnTo>
                  <a:lnTo>
                    <a:pt x="5020" y="3407"/>
                  </a:lnTo>
                  <a:lnTo>
                    <a:pt x="5091" y="3374"/>
                  </a:lnTo>
                  <a:lnTo>
                    <a:pt x="5107" y="3333"/>
                  </a:lnTo>
                  <a:lnTo>
                    <a:pt x="5124" y="3317"/>
                  </a:lnTo>
                  <a:lnTo>
                    <a:pt x="5129" y="3322"/>
                  </a:lnTo>
                  <a:lnTo>
                    <a:pt x="5129" y="3350"/>
                  </a:lnTo>
                  <a:lnTo>
                    <a:pt x="5112" y="3374"/>
                  </a:lnTo>
                  <a:lnTo>
                    <a:pt x="5138" y="3350"/>
                  </a:lnTo>
                  <a:lnTo>
                    <a:pt x="5129" y="3333"/>
                  </a:lnTo>
                  <a:lnTo>
                    <a:pt x="5138" y="3333"/>
                  </a:lnTo>
                  <a:lnTo>
                    <a:pt x="5145" y="3333"/>
                  </a:lnTo>
                  <a:lnTo>
                    <a:pt x="5138" y="3350"/>
                  </a:lnTo>
                  <a:lnTo>
                    <a:pt x="5145" y="3355"/>
                  </a:lnTo>
                  <a:lnTo>
                    <a:pt x="5138" y="3390"/>
                  </a:lnTo>
                  <a:lnTo>
                    <a:pt x="5150" y="3355"/>
                  </a:lnTo>
                  <a:lnTo>
                    <a:pt x="5183" y="3338"/>
                  </a:lnTo>
                  <a:lnTo>
                    <a:pt x="5192" y="3322"/>
                  </a:lnTo>
                  <a:lnTo>
                    <a:pt x="5214" y="3322"/>
                  </a:lnTo>
                  <a:lnTo>
                    <a:pt x="5221" y="3305"/>
                  </a:lnTo>
                  <a:lnTo>
                    <a:pt x="5230" y="3296"/>
                  </a:lnTo>
                  <a:lnTo>
                    <a:pt x="5268" y="3317"/>
                  </a:lnTo>
                  <a:lnTo>
                    <a:pt x="5252" y="3350"/>
                  </a:lnTo>
                  <a:lnTo>
                    <a:pt x="5268" y="3333"/>
                  </a:lnTo>
                  <a:lnTo>
                    <a:pt x="5259" y="3333"/>
                  </a:lnTo>
                  <a:lnTo>
                    <a:pt x="5268" y="3317"/>
                  </a:lnTo>
                  <a:lnTo>
                    <a:pt x="5252" y="3300"/>
                  </a:lnTo>
                  <a:lnTo>
                    <a:pt x="5259" y="3296"/>
                  </a:lnTo>
                  <a:lnTo>
                    <a:pt x="5275" y="3296"/>
                  </a:lnTo>
                  <a:lnTo>
                    <a:pt x="5259" y="3284"/>
                  </a:lnTo>
                  <a:lnTo>
                    <a:pt x="5275" y="3267"/>
                  </a:lnTo>
                  <a:lnTo>
                    <a:pt x="5306" y="3267"/>
                  </a:lnTo>
                  <a:lnTo>
                    <a:pt x="5285" y="3263"/>
                  </a:lnTo>
                  <a:lnTo>
                    <a:pt x="5275" y="3246"/>
                  </a:lnTo>
                  <a:lnTo>
                    <a:pt x="5289" y="3251"/>
                  </a:lnTo>
                  <a:lnTo>
                    <a:pt x="5289" y="3234"/>
                  </a:lnTo>
                  <a:lnTo>
                    <a:pt x="5306" y="3246"/>
                  </a:lnTo>
                  <a:lnTo>
                    <a:pt x="5289" y="3222"/>
                  </a:lnTo>
                  <a:lnTo>
                    <a:pt x="5327" y="3234"/>
                  </a:lnTo>
                  <a:lnTo>
                    <a:pt x="5301" y="3222"/>
                  </a:lnTo>
                  <a:lnTo>
                    <a:pt x="5289" y="3194"/>
                  </a:lnTo>
                  <a:lnTo>
                    <a:pt x="5306" y="3177"/>
                  </a:lnTo>
                  <a:lnTo>
                    <a:pt x="5327" y="3189"/>
                  </a:lnTo>
                  <a:lnTo>
                    <a:pt x="5313" y="3177"/>
                  </a:lnTo>
                  <a:lnTo>
                    <a:pt x="5339" y="3123"/>
                  </a:lnTo>
                  <a:lnTo>
                    <a:pt x="5365" y="3135"/>
                  </a:lnTo>
                  <a:lnTo>
                    <a:pt x="5344" y="3140"/>
                  </a:lnTo>
                  <a:lnTo>
                    <a:pt x="5365" y="3140"/>
                  </a:lnTo>
                  <a:lnTo>
                    <a:pt x="5377" y="3151"/>
                  </a:lnTo>
                  <a:lnTo>
                    <a:pt x="5365" y="3156"/>
                  </a:lnTo>
                  <a:lnTo>
                    <a:pt x="5344" y="3168"/>
                  </a:lnTo>
                  <a:lnTo>
                    <a:pt x="5377" y="3156"/>
                  </a:lnTo>
                  <a:lnTo>
                    <a:pt x="5377" y="3173"/>
                  </a:lnTo>
                  <a:lnTo>
                    <a:pt x="5365" y="3177"/>
                  </a:lnTo>
                  <a:lnTo>
                    <a:pt x="5377" y="3173"/>
                  </a:lnTo>
                  <a:lnTo>
                    <a:pt x="5377" y="3168"/>
                  </a:lnTo>
                  <a:lnTo>
                    <a:pt x="5393" y="3168"/>
                  </a:lnTo>
                  <a:lnTo>
                    <a:pt x="5393" y="3189"/>
                  </a:lnTo>
                  <a:lnTo>
                    <a:pt x="5381" y="3189"/>
                  </a:lnTo>
                  <a:lnTo>
                    <a:pt x="5398" y="3206"/>
                  </a:lnTo>
                  <a:lnTo>
                    <a:pt x="5393" y="3222"/>
                  </a:lnTo>
                  <a:lnTo>
                    <a:pt x="5398" y="3206"/>
                  </a:lnTo>
                  <a:lnTo>
                    <a:pt x="5419" y="3222"/>
                  </a:lnTo>
                  <a:lnTo>
                    <a:pt x="5415" y="3227"/>
                  </a:lnTo>
                  <a:lnTo>
                    <a:pt x="5398" y="3234"/>
                  </a:lnTo>
                  <a:lnTo>
                    <a:pt x="5415" y="3234"/>
                  </a:lnTo>
                  <a:lnTo>
                    <a:pt x="5415" y="3246"/>
                  </a:lnTo>
                  <a:lnTo>
                    <a:pt x="5431" y="3234"/>
                  </a:lnTo>
                  <a:lnTo>
                    <a:pt x="5448" y="3251"/>
                  </a:lnTo>
                  <a:lnTo>
                    <a:pt x="5431" y="3267"/>
                  </a:lnTo>
                  <a:lnTo>
                    <a:pt x="5398" y="3267"/>
                  </a:lnTo>
                  <a:lnTo>
                    <a:pt x="5462" y="3267"/>
                  </a:lnTo>
                  <a:lnTo>
                    <a:pt x="5448" y="3267"/>
                  </a:lnTo>
                  <a:lnTo>
                    <a:pt x="5462" y="3284"/>
                  </a:lnTo>
                  <a:lnTo>
                    <a:pt x="5448" y="3296"/>
                  </a:lnTo>
                  <a:lnTo>
                    <a:pt x="5469" y="3284"/>
                  </a:lnTo>
                  <a:lnTo>
                    <a:pt x="5485" y="3305"/>
                  </a:lnTo>
                  <a:lnTo>
                    <a:pt x="5431" y="3350"/>
                  </a:lnTo>
                  <a:lnTo>
                    <a:pt x="5452" y="3333"/>
                  </a:lnTo>
                  <a:lnTo>
                    <a:pt x="5500" y="3333"/>
                  </a:lnTo>
                  <a:lnTo>
                    <a:pt x="5500" y="3350"/>
                  </a:lnTo>
                  <a:lnTo>
                    <a:pt x="5485" y="3355"/>
                  </a:lnTo>
                  <a:lnTo>
                    <a:pt x="5500" y="3355"/>
                  </a:lnTo>
                  <a:lnTo>
                    <a:pt x="5474" y="3362"/>
                  </a:lnTo>
                  <a:lnTo>
                    <a:pt x="5448" y="3378"/>
                  </a:lnTo>
                  <a:lnTo>
                    <a:pt x="5462" y="3378"/>
                  </a:lnTo>
                  <a:lnTo>
                    <a:pt x="5474" y="3362"/>
                  </a:lnTo>
                  <a:lnTo>
                    <a:pt x="5507" y="3362"/>
                  </a:lnTo>
                  <a:lnTo>
                    <a:pt x="5507" y="3374"/>
                  </a:lnTo>
                  <a:lnTo>
                    <a:pt x="5516" y="3362"/>
                  </a:lnTo>
                  <a:lnTo>
                    <a:pt x="5523" y="3378"/>
                  </a:lnTo>
                  <a:lnTo>
                    <a:pt x="5490" y="3390"/>
                  </a:lnTo>
                  <a:lnTo>
                    <a:pt x="5528" y="3378"/>
                  </a:lnTo>
                  <a:lnTo>
                    <a:pt x="5537" y="3390"/>
                  </a:lnTo>
                  <a:lnTo>
                    <a:pt x="5528" y="3407"/>
                  </a:lnTo>
                  <a:lnTo>
                    <a:pt x="5544" y="3416"/>
                  </a:lnTo>
                  <a:lnTo>
                    <a:pt x="5523" y="3433"/>
                  </a:lnTo>
                  <a:lnTo>
                    <a:pt x="5500" y="3433"/>
                  </a:lnTo>
                  <a:lnTo>
                    <a:pt x="5516" y="3444"/>
                  </a:lnTo>
                  <a:lnTo>
                    <a:pt x="5544" y="3444"/>
                  </a:lnTo>
                  <a:lnTo>
                    <a:pt x="5554" y="3444"/>
                  </a:lnTo>
                  <a:lnTo>
                    <a:pt x="5537" y="3461"/>
                  </a:lnTo>
                  <a:lnTo>
                    <a:pt x="5582" y="3473"/>
                  </a:lnTo>
                  <a:lnTo>
                    <a:pt x="5582" y="3482"/>
                  </a:lnTo>
                  <a:lnTo>
                    <a:pt x="5575" y="3489"/>
                  </a:lnTo>
                  <a:lnTo>
                    <a:pt x="5561" y="3506"/>
                  </a:lnTo>
                  <a:lnTo>
                    <a:pt x="5544" y="3506"/>
                  </a:lnTo>
                  <a:lnTo>
                    <a:pt x="5544" y="3518"/>
                  </a:lnTo>
                  <a:lnTo>
                    <a:pt x="5561" y="3518"/>
                  </a:lnTo>
                  <a:lnTo>
                    <a:pt x="5554" y="3518"/>
                  </a:lnTo>
                  <a:lnTo>
                    <a:pt x="5561" y="3522"/>
                  </a:lnTo>
                  <a:lnTo>
                    <a:pt x="5507" y="3506"/>
                  </a:lnTo>
                  <a:lnTo>
                    <a:pt x="5537" y="3499"/>
                  </a:lnTo>
                  <a:lnTo>
                    <a:pt x="5500" y="3506"/>
                  </a:lnTo>
                  <a:lnTo>
                    <a:pt x="5537" y="3522"/>
                  </a:lnTo>
                  <a:lnTo>
                    <a:pt x="5523" y="3522"/>
                  </a:lnTo>
                  <a:lnTo>
                    <a:pt x="5561" y="3527"/>
                  </a:lnTo>
                  <a:lnTo>
                    <a:pt x="5528" y="3539"/>
                  </a:lnTo>
                  <a:lnTo>
                    <a:pt x="5554" y="3544"/>
                  </a:lnTo>
                  <a:lnTo>
                    <a:pt x="5561" y="3560"/>
                  </a:lnTo>
                  <a:lnTo>
                    <a:pt x="5537" y="3555"/>
                  </a:lnTo>
                  <a:lnTo>
                    <a:pt x="5537" y="3560"/>
                  </a:lnTo>
                  <a:lnTo>
                    <a:pt x="5582" y="3560"/>
                  </a:lnTo>
                  <a:lnTo>
                    <a:pt x="5575" y="3577"/>
                  </a:lnTo>
                  <a:lnTo>
                    <a:pt x="5592" y="3577"/>
                  </a:lnTo>
                  <a:lnTo>
                    <a:pt x="5575" y="3584"/>
                  </a:lnTo>
                  <a:lnTo>
                    <a:pt x="5599" y="3584"/>
                  </a:lnTo>
                  <a:lnTo>
                    <a:pt x="5608" y="3593"/>
                  </a:lnTo>
                  <a:lnTo>
                    <a:pt x="5599" y="3593"/>
                  </a:lnTo>
                  <a:lnTo>
                    <a:pt x="5608" y="3600"/>
                  </a:lnTo>
                  <a:lnTo>
                    <a:pt x="5629" y="3600"/>
                  </a:lnTo>
                  <a:lnTo>
                    <a:pt x="5625" y="3610"/>
                  </a:lnTo>
                  <a:lnTo>
                    <a:pt x="5637" y="3600"/>
                  </a:lnTo>
                  <a:lnTo>
                    <a:pt x="5629" y="3626"/>
                  </a:lnTo>
                  <a:lnTo>
                    <a:pt x="5646" y="3600"/>
                  </a:lnTo>
                  <a:lnTo>
                    <a:pt x="5663" y="3610"/>
                  </a:lnTo>
                  <a:lnTo>
                    <a:pt x="5646" y="3626"/>
                  </a:lnTo>
                  <a:lnTo>
                    <a:pt x="5663" y="3626"/>
                  </a:lnTo>
                  <a:lnTo>
                    <a:pt x="5646" y="3650"/>
                  </a:lnTo>
                  <a:lnTo>
                    <a:pt x="5663" y="3633"/>
                  </a:lnTo>
                  <a:lnTo>
                    <a:pt x="5667" y="3638"/>
                  </a:lnTo>
                  <a:lnTo>
                    <a:pt x="5651" y="3650"/>
                  </a:lnTo>
                  <a:lnTo>
                    <a:pt x="5646" y="3666"/>
                  </a:lnTo>
                  <a:lnTo>
                    <a:pt x="5651" y="3655"/>
                  </a:lnTo>
                  <a:lnTo>
                    <a:pt x="5629" y="3688"/>
                  </a:lnTo>
                  <a:lnTo>
                    <a:pt x="5663" y="3666"/>
                  </a:lnTo>
                  <a:lnTo>
                    <a:pt x="5679" y="3666"/>
                  </a:lnTo>
                  <a:lnTo>
                    <a:pt x="5663" y="3683"/>
                  </a:lnTo>
                  <a:lnTo>
                    <a:pt x="5700" y="3655"/>
                  </a:lnTo>
                  <a:lnTo>
                    <a:pt x="5700" y="3666"/>
                  </a:lnTo>
                  <a:lnTo>
                    <a:pt x="5684" y="3671"/>
                  </a:lnTo>
                  <a:lnTo>
                    <a:pt x="5722" y="3671"/>
                  </a:lnTo>
                  <a:lnTo>
                    <a:pt x="5684" y="3711"/>
                  </a:lnTo>
                  <a:lnTo>
                    <a:pt x="5738" y="3666"/>
                  </a:lnTo>
                  <a:lnTo>
                    <a:pt x="5722" y="3688"/>
                  </a:lnTo>
                  <a:lnTo>
                    <a:pt x="5743" y="3671"/>
                  </a:lnTo>
                  <a:lnTo>
                    <a:pt x="5755" y="3671"/>
                  </a:lnTo>
                  <a:lnTo>
                    <a:pt x="5755" y="3683"/>
                  </a:lnTo>
                  <a:lnTo>
                    <a:pt x="5759" y="3688"/>
                  </a:lnTo>
                  <a:lnTo>
                    <a:pt x="5743" y="3695"/>
                  </a:lnTo>
                  <a:lnTo>
                    <a:pt x="5755" y="3704"/>
                  </a:lnTo>
                  <a:lnTo>
                    <a:pt x="5830" y="3711"/>
                  </a:lnTo>
                  <a:lnTo>
                    <a:pt x="5868" y="3728"/>
                  </a:lnTo>
                  <a:lnTo>
                    <a:pt x="5863" y="3737"/>
                  </a:lnTo>
                  <a:lnTo>
                    <a:pt x="5840" y="3737"/>
                  </a:lnTo>
                  <a:lnTo>
                    <a:pt x="5863" y="3744"/>
                  </a:lnTo>
                  <a:lnTo>
                    <a:pt x="5847" y="3749"/>
                  </a:lnTo>
                  <a:lnTo>
                    <a:pt x="5809" y="3749"/>
                  </a:lnTo>
                  <a:lnTo>
                    <a:pt x="5797" y="3749"/>
                  </a:lnTo>
                  <a:lnTo>
                    <a:pt x="5814" y="3749"/>
                  </a:lnTo>
                  <a:lnTo>
                    <a:pt x="5809" y="3761"/>
                  </a:lnTo>
                  <a:lnTo>
                    <a:pt x="5771" y="3766"/>
                  </a:lnTo>
                  <a:lnTo>
                    <a:pt x="5705" y="3782"/>
                  </a:lnTo>
                  <a:lnTo>
                    <a:pt x="5733" y="3782"/>
                  </a:lnTo>
                  <a:lnTo>
                    <a:pt x="5792" y="3761"/>
                  </a:lnTo>
                  <a:lnTo>
                    <a:pt x="5776" y="3782"/>
                  </a:lnTo>
                  <a:lnTo>
                    <a:pt x="5743" y="3782"/>
                  </a:lnTo>
                  <a:lnTo>
                    <a:pt x="5755" y="3782"/>
                  </a:lnTo>
                  <a:lnTo>
                    <a:pt x="5717" y="3799"/>
                  </a:lnTo>
                  <a:lnTo>
                    <a:pt x="5679" y="3806"/>
                  </a:lnTo>
                  <a:lnTo>
                    <a:pt x="5679" y="3832"/>
                  </a:lnTo>
                  <a:lnTo>
                    <a:pt x="5667" y="3832"/>
                  </a:lnTo>
                  <a:lnTo>
                    <a:pt x="5625" y="3806"/>
                  </a:lnTo>
                  <a:lnTo>
                    <a:pt x="5625" y="3815"/>
                  </a:lnTo>
                  <a:lnTo>
                    <a:pt x="5646" y="3815"/>
                  </a:lnTo>
                  <a:lnTo>
                    <a:pt x="5679" y="3832"/>
                  </a:lnTo>
                  <a:lnTo>
                    <a:pt x="5651" y="3848"/>
                  </a:lnTo>
                  <a:lnTo>
                    <a:pt x="5667" y="3855"/>
                  </a:lnTo>
                  <a:lnTo>
                    <a:pt x="5651" y="3855"/>
                  </a:lnTo>
                  <a:lnTo>
                    <a:pt x="5667" y="3855"/>
                  </a:lnTo>
                  <a:lnTo>
                    <a:pt x="5700" y="3839"/>
                  </a:lnTo>
                  <a:lnTo>
                    <a:pt x="5689" y="3832"/>
                  </a:lnTo>
                  <a:lnTo>
                    <a:pt x="5743" y="3815"/>
                  </a:lnTo>
                  <a:lnTo>
                    <a:pt x="5743" y="3806"/>
                  </a:lnTo>
                  <a:lnTo>
                    <a:pt x="5788" y="3782"/>
                  </a:lnTo>
                  <a:lnTo>
                    <a:pt x="5840" y="3777"/>
                  </a:lnTo>
                  <a:lnTo>
                    <a:pt x="5792" y="3777"/>
                  </a:lnTo>
                  <a:lnTo>
                    <a:pt x="5792" y="3766"/>
                  </a:lnTo>
                  <a:lnTo>
                    <a:pt x="5863" y="3766"/>
                  </a:lnTo>
                  <a:lnTo>
                    <a:pt x="5885" y="3799"/>
                  </a:lnTo>
                  <a:lnTo>
                    <a:pt x="5852" y="3822"/>
                  </a:lnTo>
                  <a:lnTo>
                    <a:pt x="5868" y="3832"/>
                  </a:lnTo>
                  <a:lnTo>
                    <a:pt x="5868" y="3839"/>
                  </a:lnTo>
                  <a:lnTo>
                    <a:pt x="5894" y="3815"/>
                  </a:lnTo>
                  <a:lnTo>
                    <a:pt x="5932" y="3806"/>
                  </a:lnTo>
                  <a:lnTo>
                    <a:pt x="5932" y="3815"/>
                  </a:lnTo>
                  <a:lnTo>
                    <a:pt x="5915" y="3815"/>
                  </a:lnTo>
                  <a:lnTo>
                    <a:pt x="5960" y="3832"/>
                  </a:lnTo>
                  <a:lnTo>
                    <a:pt x="5939" y="3832"/>
                  </a:lnTo>
                  <a:lnTo>
                    <a:pt x="5960" y="3848"/>
                  </a:lnTo>
                  <a:lnTo>
                    <a:pt x="5977" y="3848"/>
                  </a:lnTo>
                  <a:lnTo>
                    <a:pt x="5977" y="3872"/>
                  </a:lnTo>
                  <a:lnTo>
                    <a:pt x="5970" y="3877"/>
                  </a:lnTo>
                  <a:lnTo>
                    <a:pt x="5948" y="3877"/>
                  </a:lnTo>
                  <a:lnTo>
                    <a:pt x="5970" y="3893"/>
                  </a:lnTo>
                  <a:lnTo>
                    <a:pt x="5977" y="3905"/>
                  </a:lnTo>
                  <a:lnTo>
                    <a:pt x="5953" y="3910"/>
                  </a:lnTo>
                  <a:lnTo>
                    <a:pt x="5977" y="3917"/>
                  </a:lnTo>
                  <a:lnTo>
                    <a:pt x="5953" y="3917"/>
                  </a:lnTo>
                  <a:lnTo>
                    <a:pt x="5960" y="3917"/>
                  </a:lnTo>
                  <a:lnTo>
                    <a:pt x="5948" y="3926"/>
                  </a:lnTo>
                  <a:lnTo>
                    <a:pt x="5922" y="3926"/>
                  </a:lnTo>
                  <a:lnTo>
                    <a:pt x="5986" y="3943"/>
                  </a:lnTo>
                  <a:lnTo>
                    <a:pt x="5986" y="3950"/>
                  </a:lnTo>
                  <a:lnTo>
                    <a:pt x="5977" y="3950"/>
                  </a:lnTo>
                  <a:lnTo>
                    <a:pt x="5948" y="3943"/>
                  </a:lnTo>
                  <a:lnTo>
                    <a:pt x="5986" y="3959"/>
                  </a:lnTo>
                  <a:lnTo>
                    <a:pt x="5986" y="3971"/>
                  </a:lnTo>
                  <a:lnTo>
                    <a:pt x="5894" y="4037"/>
                  </a:lnTo>
                  <a:lnTo>
                    <a:pt x="5878" y="4025"/>
                  </a:lnTo>
                  <a:lnTo>
                    <a:pt x="5840" y="4025"/>
                  </a:lnTo>
                  <a:lnTo>
                    <a:pt x="5826" y="4044"/>
                  </a:lnTo>
                  <a:lnTo>
                    <a:pt x="5776" y="4054"/>
                  </a:lnTo>
                  <a:lnTo>
                    <a:pt x="5776" y="4061"/>
                  </a:lnTo>
                  <a:lnTo>
                    <a:pt x="5755" y="4077"/>
                  </a:lnTo>
                  <a:lnTo>
                    <a:pt x="5755" y="4094"/>
                  </a:lnTo>
                  <a:lnTo>
                    <a:pt x="5743" y="4099"/>
                  </a:lnTo>
                  <a:lnTo>
                    <a:pt x="5743" y="4094"/>
                  </a:lnTo>
                  <a:lnTo>
                    <a:pt x="5705" y="4127"/>
                  </a:lnTo>
                  <a:lnTo>
                    <a:pt x="5689" y="4132"/>
                  </a:lnTo>
                  <a:lnTo>
                    <a:pt x="5689" y="4137"/>
                  </a:lnTo>
                  <a:lnTo>
                    <a:pt x="5684" y="4148"/>
                  </a:lnTo>
                  <a:lnTo>
                    <a:pt x="5592" y="4153"/>
                  </a:lnTo>
                  <a:lnTo>
                    <a:pt x="5561" y="4165"/>
                  </a:lnTo>
                  <a:lnTo>
                    <a:pt x="5570" y="4153"/>
                  </a:lnTo>
                  <a:lnTo>
                    <a:pt x="5561" y="4153"/>
                  </a:lnTo>
                  <a:lnTo>
                    <a:pt x="5554" y="4148"/>
                  </a:lnTo>
                  <a:lnTo>
                    <a:pt x="5516" y="4137"/>
                  </a:lnTo>
                  <a:lnTo>
                    <a:pt x="5452" y="4148"/>
                  </a:lnTo>
                  <a:lnTo>
                    <a:pt x="5415" y="4137"/>
                  </a:lnTo>
                  <a:lnTo>
                    <a:pt x="5313" y="4137"/>
                  </a:lnTo>
                  <a:lnTo>
                    <a:pt x="5259" y="4137"/>
                  </a:lnTo>
                  <a:lnTo>
                    <a:pt x="5252" y="4153"/>
                  </a:lnTo>
                  <a:lnTo>
                    <a:pt x="5230" y="4148"/>
                  </a:lnTo>
                  <a:lnTo>
                    <a:pt x="5183" y="4188"/>
                  </a:lnTo>
                  <a:lnTo>
                    <a:pt x="5176" y="4222"/>
                  </a:lnTo>
                  <a:lnTo>
                    <a:pt x="5162" y="4238"/>
                  </a:lnTo>
                  <a:lnTo>
                    <a:pt x="5112" y="4243"/>
                  </a:lnTo>
                  <a:lnTo>
                    <a:pt x="5107" y="4248"/>
                  </a:lnTo>
                  <a:lnTo>
                    <a:pt x="5074" y="4259"/>
                  </a:lnTo>
                  <a:lnTo>
                    <a:pt x="5041" y="4281"/>
                  </a:lnTo>
                  <a:lnTo>
                    <a:pt x="5037" y="4297"/>
                  </a:lnTo>
                  <a:lnTo>
                    <a:pt x="5004" y="4349"/>
                  </a:lnTo>
                  <a:lnTo>
                    <a:pt x="4982" y="4333"/>
                  </a:lnTo>
                  <a:lnTo>
                    <a:pt x="4907" y="4316"/>
                  </a:lnTo>
                  <a:lnTo>
                    <a:pt x="4982" y="4337"/>
                  </a:lnTo>
                  <a:lnTo>
                    <a:pt x="4999" y="4349"/>
                  </a:lnTo>
                  <a:lnTo>
                    <a:pt x="4982" y="4375"/>
                  </a:lnTo>
                  <a:lnTo>
                    <a:pt x="4966" y="4403"/>
                  </a:lnTo>
                  <a:lnTo>
                    <a:pt x="4944" y="4408"/>
                  </a:lnTo>
                  <a:lnTo>
                    <a:pt x="4928" y="4441"/>
                  </a:lnTo>
                  <a:lnTo>
                    <a:pt x="4890" y="4470"/>
                  </a:lnTo>
                  <a:lnTo>
                    <a:pt x="4944" y="4448"/>
                  </a:lnTo>
                  <a:lnTo>
                    <a:pt x="5020" y="4354"/>
                  </a:lnTo>
                  <a:lnTo>
                    <a:pt x="5107" y="4297"/>
                  </a:lnTo>
                  <a:lnTo>
                    <a:pt x="5247" y="4243"/>
                  </a:lnTo>
                  <a:lnTo>
                    <a:pt x="5301" y="4243"/>
                  </a:lnTo>
                  <a:lnTo>
                    <a:pt x="5344" y="4248"/>
                  </a:lnTo>
                  <a:lnTo>
                    <a:pt x="5381" y="4276"/>
                  </a:lnTo>
                  <a:lnTo>
                    <a:pt x="5393" y="4292"/>
                  </a:lnTo>
                  <a:lnTo>
                    <a:pt x="5360" y="4276"/>
                  </a:lnTo>
                  <a:lnTo>
                    <a:pt x="5393" y="4297"/>
                  </a:lnTo>
                  <a:lnTo>
                    <a:pt x="5381" y="4297"/>
                  </a:lnTo>
                  <a:lnTo>
                    <a:pt x="5381" y="4316"/>
                  </a:lnTo>
                  <a:lnTo>
                    <a:pt x="5306" y="4354"/>
                  </a:lnTo>
                  <a:lnTo>
                    <a:pt x="5268" y="4337"/>
                  </a:lnTo>
                  <a:lnTo>
                    <a:pt x="5200" y="4354"/>
                  </a:lnTo>
                  <a:lnTo>
                    <a:pt x="5237" y="4354"/>
                  </a:lnTo>
                  <a:lnTo>
                    <a:pt x="5275" y="4370"/>
                  </a:lnTo>
                  <a:lnTo>
                    <a:pt x="5285" y="4392"/>
                  </a:lnTo>
                  <a:lnTo>
                    <a:pt x="5313" y="4370"/>
                  </a:lnTo>
                  <a:lnTo>
                    <a:pt x="5344" y="4375"/>
                  </a:lnTo>
                  <a:lnTo>
                    <a:pt x="5355" y="4387"/>
                  </a:lnTo>
                  <a:lnTo>
                    <a:pt x="5339" y="4392"/>
                  </a:lnTo>
                  <a:lnTo>
                    <a:pt x="5339" y="4415"/>
                  </a:lnTo>
                  <a:lnTo>
                    <a:pt x="5306" y="4441"/>
                  </a:lnTo>
                  <a:lnTo>
                    <a:pt x="5344" y="4441"/>
                  </a:lnTo>
                  <a:lnTo>
                    <a:pt x="5339" y="4465"/>
                  </a:lnTo>
                  <a:lnTo>
                    <a:pt x="5355" y="4481"/>
                  </a:lnTo>
                  <a:lnTo>
                    <a:pt x="5365" y="4519"/>
                  </a:lnTo>
                  <a:lnTo>
                    <a:pt x="5415" y="4526"/>
                  </a:lnTo>
                  <a:lnTo>
                    <a:pt x="5393" y="4536"/>
                  </a:lnTo>
                  <a:lnTo>
                    <a:pt x="5419" y="4552"/>
                  </a:lnTo>
                  <a:lnTo>
                    <a:pt x="5436" y="4552"/>
                  </a:lnTo>
                  <a:lnTo>
                    <a:pt x="5448" y="4552"/>
                  </a:lnTo>
                  <a:lnTo>
                    <a:pt x="5431" y="4552"/>
                  </a:lnTo>
                  <a:lnTo>
                    <a:pt x="5452" y="4559"/>
                  </a:lnTo>
                  <a:lnTo>
                    <a:pt x="5448" y="4559"/>
                  </a:lnTo>
                  <a:lnTo>
                    <a:pt x="5490" y="4559"/>
                  </a:lnTo>
                  <a:lnTo>
                    <a:pt x="5507" y="4576"/>
                  </a:lnTo>
                  <a:lnTo>
                    <a:pt x="5544" y="4552"/>
                  </a:lnTo>
                  <a:lnTo>
                    <a:pt x="5544" y="4569"/>
                  </a:lnTo>
                  <a:lnTo>
                    <a:pt x="5570" y="4576"/>
                  </a:lnTo>
                  <a:lnTo>
                    <a:pt x="5575" y="4569"/>
                  </a:lnTo>
                  <a:lnTo>
                    <a:pt x="5592" y="4581"/>
                  </a:lnTo>
                  <a:lnTo>
                    <a:pt x="5575" y="4597"/>
                  </a:lnTo>
                  <a:lnTo>
                    <a:pt x="5613" y="4597"/>
                  </a:lnTo>
                  <a:lnTo>
                    <a:pt x="5608" y="4609"/>
                  </a:lnTo>
                  <a:lnTo>
                    <a:pt x="5592" y="4609"/>
                  </a:lnTo>
                  <a:lnTo>
                    <a:pt x="5582" y="4614"/>
                  </a:lnTo>
                  <a:lnTo>
                    <a:pt x="5507" y="4637"/>
                  </a:lnTo>
                  <a:lnTo>
                    <a:pt x="5485" y="4654"/>
                  </a:lnTo>
                  <a:lnTo>
                    <a:pt x="5469" y="4647"/>
                  </a:lnTo>
                  <a:lnTo>
                    <a:pt x="5469" y="4654"/>
                  </a:lnTo>
                  <a:lnTo>
                    <a:pt x="5462" y="4647"/>
                  </a:lnTo>
                  <a:lnTo>
                    <a:pt x="5436" y="4663"/>
                  </a:lnTo>
                  <a:lnTo>
                    <a:pt x="5419" y="4654"/>
                  </a:lnTo>
                  <a:lnTo>
                    <a:pt x="5436" y="4670"/>
                  </a:lnTo>
                  <a:lnTo>
                    <a:pt x="5431" y="4680"/>
                  </a:lnTo>
                  <a:lnTo>
                    <a:pt x="5410" y="4670"/>
                  </a:lnTo>
                  <a:lnTo>
                    <a:pt x="5410" y="4654"/>
                  </a:lnTo>
                  <a:lnTo>
                    <a:pt x="5398" y="4663"/>
                  </a:lnTo>
                  <a:lnTo>
                    <a:pt x="5398" y="4670"/>
                  </a:lnTo>
                  <a:lnTo>
                    <a:pt x="5393" y="4680"/>
                  </a:lnTo>
                  <a:lnTo>
                    <a:pt x="5381" y="4663"/>
                  </a:lnTo>
                  <a:lnTo>
                    <a:pt x="5377" y="4680"/>
                  </a:lnTo>
                  <a:lnTo>
                    <a:pt x="5381" y="4692"/>
                  </a:lnTo>
                  <a:lnTo>
                    <a:pt x="5360" y="4703"/>
                  </a:lnTo>
                  <a:lnTo>
                    <a:pt x="5355" y="4720"/>
                  </a:lnTo>
                  <a:lnTo>
                    <a:pt x="5344" y="4720"/>
                  </a:lnTo>
                  <a:lnTo>
                    <a:pt x="5327" y="4741"/>
                  </a:lnTo>
                  <a:lnTo>
                    <a:pt x="5306" y="4741"/>
                  </a:lnTo>
                  <a:lnTo>
                    <a:pt x="5301" y="4765"/>
                  </a:lnTo>
                  <a:lnTo>
                    <a:pt x="5289" y="4758"/>
                  </a:lnTo>
                  <a:lnTo>
                    <a:pt x="5275" y="4758"/>
                  </a:lnTo>
                  <a:lnTo>
                    <a:pt x="5268" y="4736"/>
                  </a:lnTo>
                  <a:lnTo>
                    <a:pt x="5259" y="4741"/>
                  </a:lnTo>
                  <a:lnTo>
                    <a:pt x="5247" y="4725"/>
                  </a:lnTo>
                  <a:lnTo>
                    <a:pt x="5247" y="4708"/>
                  </a:lnTo>
                  <a:lnTo>
                    <a:pt x="5252" y="4687"/>
                  </a:lnTo>
                  <a:lnTo>
                    <a:pt x="5268" y="4663"/>
                  </a:lnTo>
                  <a:lnTo>
                    <a:pt x="5247" y="4680"/>
                  </a:lnTo>
                  <a:lnTo>
                    <a:pt x="5259" y="4663"/>
                  </a:lnTo>
                  <a:lnTo>
                    <a:pt x="5285" y="4663"/>
                  </a:lnTo>
                  <a:lnTo>
                    <a:pt x="5289" y="4654"/>
                  </a:lnTo>
                  <a:lnTo>
                    <a:pt x="5285" y="4654"/>
                  </a:lnTo>
                  <a:lnTo>
                    <a:pt x="5285" y="4647"/>
                  </a:lnTo>
                  <a:lnTo>
                    <a:pt x="5377" y="4597"/>
                  </a:lnTo>
                  <a:lnTo>
                    <a:pt x="5365" y="4597"/>
                  </a:lnTo>
                  <a:lnTo>
                    <a:pt x="5377" y="4597"/>
                  </a:lnTo>
                  <a:lnTo>
                    <a:pt x="5377" y="4614"/>
                  </a:lnTo>
                  <a:lnTo>
                    <a:pt x="5381" y="4614"/>
                  </a:lnTo>
                  <a:lnTo>
                    <a:pt x="5393" y="4630"/>
                  </a:lnTo>
                  <a:lnTo>
                    <a:pt x="5393" y="4609"/>
                  </a:lnTo>
                  <a:lnTo>
                    <a:pt x="5448" y="4597"/>
                  </a:lnTo>
                  <a:lnTo>
                    <a:pt x="5360" y="4592"/>
                  </a:lnTo>
                  <a:lnTo>
                    <a:pt x="5339" y="4597"/>
                  </a:lnTo>
                  <a:lnTo>
                    <a:pt x="5344" y="4581"/>
                  </a:lnTo>
                  <a:lnTo>
                    <a:pt x="5381" y="4559"/>
                  </a:lnTo>
                  <a:lnTo>
                    <a:pt x="5377" y="4552"/>
                  </a:lnTo>
                  <a:lnTo>
                    <a:pt x="5365" y="4559"/>
                  </a:lnTo>
                  <a:lnTo>
                    <a:pt x="5344" y="4526"/>
                  </a:lnTo>
                  <a:lnTo>
                    <a:pt x="5360" y="4552"/>
                  </a:lnTo>
                  <a:lnTo>
                    <a:pt x="5344" y="4576"/>
                  </a:lnTo>
                  <a:lnTo>
                    <a:pt x="5339" y="4576"/>
                  </a:lnTo>
                  <a:lnTo>
                    <a:pt x="5268" y="4609"/>
                  </a:lnTo>
                  <a:lnTo>
                    <a:pt x="5252" y="4597"/>
                  </a:lnTo>
                  <a:lnTo>
                    <a:pt x="5259" y="4581"/>
                  </a:lnTo>
                  <a:lnTo>
                    <a:pt x="5247" y="4597"/>
                  </a:lnTo>
                  <a:lnTo>
                    <a:pt x="5252" y="4609"/>
                  </a:lnTo>
                  <a:lnTo>
                    <a:pt x="5230" y="4625"/>
                  </a:lnTo>
                  <a:lnTo>
                    <a:pt x="5221" y="4614"/>
                  </a:lnTo>
                  <a:lnTo>
                    <a:pt x="5204" y="4625"/>
                  </a:lnTo>
                  <a:lnTo>
                    <a:pt x="5192" y="4614"/>
                  </a:lnTo>
                  <a:lnTo>
                    <a:pt x="5176" y="4614"/>
                  </a:lnTo>
                  <a:lnTo>
                    <a:pt x="5176" y="4614"/>
                  </a:lnTo>
                  <a:lnTo>
                    <a:pt x="5176" y="4614"/>
                  </a:lnTo>
                  <a:close/>
                  <a:moveTo>
                    <a:pt x="3201" y="1748"/>
                  </a:moveTo>
                  <a:lnTo>
                    <a:pt x="3208" y="1753"/>
                  </a:lnTo>
                  <a:lnTo>
                    <a:pt x="3208" y="1765"/>
                  </a:lnTo>
                  <a:lnTo>
                    <a:pt x="3192" y="1765"/>
                  </a:lnTo>
                  <a:lnTo>
                    <a:pt x="3201" y="1748"/>
                  </a:lnTo>
                  <a:lnTo>
                    <a:pt x="3201" y="1748"/>
                  </a:lnTo>
                  <a:lnTo>
                    <a:pt x="3201" y="1748"/>
                  </a:lnTo>
                  <a:close/>
                  <a:moveTo>
                    <a:pt x="3095" y="1765"/>
                  </a:moveTo>
                  <a:lnTo>
                    <a:pt x="3100" y="1765"/>
                  </a:lnTo>
                  <a:lnTo>
                    <a:pt x="3083" y="1770"/>
                  </a:lnTo>
                  <a:lnTo>
                    <a:pt x="3095" y="1765"/>
                  </a:lnTo>
                  <a:lnTo>
                    <a:pt x="3095" y="1765"/>
                  </a:lnTo>
                  <a:lnTo>
                    <a:pt x="3095" y="1765"/>
                  </a:lnTo>
                  <a:close/>
                  <a:moveTo>
                    <a:pt x="4751" y="1770"/>
                  </a:moveTo>
                  <a:lnTo>
                    <a:pt x="4755" y="1770"/>
                  </a:lnTo>
                  <a:lnTo>
                    <a:pt x="4734" y="1786"/>
                  </a:lnTo>
                  <a:lnTo>
                    <a:pt x="4751" y="1770"/>
                  </a:lnTo>
                  <a:lnTo>
                    <a:pt x="4751" y="1770"/>
                  </a:lnTo>
                  <a:lnTo>
                    <a:pt x="4751" y="1770"/>
                  </a:lnTo>
                  <a:close/>
                  <a:moveTo>
                    <a:pt x="4772" y="1781"/>
                  </a:moveTo>
                  <a:lnTo>
                    <a:pt x="4789" y="1786"/>
                  </a:lnTo>
                  <a:lnTo>
                    <a:pt x="4784" y="1793"/>
                  </a:lnTo>
                  <a:lnTo>
                    <a:pt x="4767" y="1786"/>
                  </a:lnTo>
                  <a:lnTo>
                    <a:pt x="4772" y="1781"/>
                  </a:lnTo>
                  <a:lnTo>
                    <a:pt x="4772" y="1781"/>
                  </a:lnTo>
                  <a:lnTo>
                    <a:pt x="4772" y="1781"/>
                  </a:lnTo>
                  <a:close/>
                  <a:moveTo>
                    <a:pt x="4767" y="1826"/>
                  </a:moveTo>
                  <a:lnTo>
                    <a:pt x="4751" y="1819"/>
                  </a:lnTo>
                  <a:lnTo>
                    <a:pt x="4746" y="1793"/>
                  </a:lnTo>
                  <a:lnTo>
                    <a:pt x="4755" y="1786"/>
                  </a:lnTo>
                  <a:lnTo>
                    <a:pt x="4767" y="1793"/>
                  </a:lnTo>
                  <a:lnTo>
                    <a:pt x="4755" y="1803"/>
                  </a:lnTo>
                  <a:lnTo>
                    <a:pt x="4772" y="1793"/>
                  </a:lnTo>
                  <a:lnTo>
                    <a:pt x="4784" y="1803"/>
                  </a:lnTo>
                  <a:lnTo>
                    <a:pt x="4767" y="1810"/>
                  </a:lnTo>
                  <a:lnTo>
                    <a:pt x="4772" y="1819"/>
                  </a:lnTo>
                  <a:lnTo>
                    <a:pt x="4767" y="1826"/>
                  </a:lnTo>
                  <a:lnTo>
                    <a:pt x="4767" y="1826"/>
                  </a:lnTo>
                  <a:lnTo>
                    <a:pt x="4767" y="1826"/>
                  </a:lnTo>
                  <a:close/>
                  <a:moveTo>
                    <a:pt x="2953" y="1826"/>
                  </a:moveTo>
                  <a:lnTo>
                    <a:pt x="2948" y="1819"/>
                  </a:lnTo>
                  <a:lnTo>
                    <a:pt x="2953" y="1819"/>
                  </a:lnTo>
                  <a:lnTo>
                    <a:pt x="2953" y="1826"/>
                  </a:lnTo>
                  <a:lnTo>
                    <a:pt x="2953" y="1826"/>
                  </a:lnTo>
                  <a:lnTo>
                    <a:pt x="2953" y="1826"/>
                  </a:lnTo>
                  <a:close/>
                  <a:moveTo>
                    <a:pt x="3116" y="1826"/>
                  </a:moveTo>
                  <a:lnTo>
                    <a:pt x="3126" y="1836"/>
                  </a:lnTo>
                  <a:lnTo>
                    <a:pt x="3116" y="1836"/>
                  </a:lnTo>
                  <a:lnTo>
                    <a:pt x="3116" y="1826"/>
                  </a:lnTo>
                  <a:lnTo>
                    <a:pt x="3116" y="1826"/>
                  </a:lnTo>
                  <a:lnTo>
                    <a:pt x="3116" y="1826"/>
                  </a:lnTo>
                  <a:close/>
                  <a:moveTo>
                    <a:pt x="4852" y="1859"/>
                  </a:moveTo>
                  <a:lnTo>
                    <a:pt x="4881" y="1864"/>
                  </a:lnTo>
                  <a:lnTo>
                    <a:pt x="4881" y="1876"/>
                  </a:lnTo>
                  <a:lnTo>
                    <a:pt x="4843" y="1892"/>
                  </a:lnTo>
                  <a:lnTo>
                    <a:pt x="4822" y="1876"/>
                  </a:lnTo>
                  <a:lnTo>
                    <a:pt x="4836" y="1876"/>
                  </a:lnTo>
                  <a:lnTo>
                    <a:pt x="4836" y="1859"/>
                  </a:lnTo>
                  <a:lnTo>
                    <a:pt x="4852" y="1859"/>
                  </a:lnTo>
                  <a:lnTo>
                    <a:pt x="4852" y="1859"/>
                  </a:lnTo>
                  <a:lnTo>
                    <a:pt x="4852" y="1859"/>
                  </a:lnTo>
                  <a:close/>
                  <a:moveTo>
                    <a:pt x="2844" y="1904"/>
                  </a:moveTo>
                  <a:lnTo>
                    <a:pt x="2861" y="1921"/>
                  </a:lnTo>
                  <a:lnTo>
                    <a:pt x="2861" y="1937"/>
                  </a:lnTo>
                  <a:lnTo>
                    <a:pt x="2830" y="1921"/>
                  </a:lnTo>
                  <a:lnTo>
                    <a:pt x="2830" y="1904"/>
                  </a:lnTo>
                  <a:lnTo>
                    <a:pt x="2844" y="1904"/>
                  </a:lnTo>
                  <a:lnTo>
                    <a:pt x="2844" y="1904"/>
                  </a:lnTo>
                  <a:lnTo>
                    <a:pt x="2844" y="1904"/>
                  </a:lnTo>
                  <a:close/>
                  <a:moveTo>
                    <a:pt x="903" y="1914"/>
                  </a:moveTo>
                  <a:lnTo>
                    <a:pt x="886" y="1921"/>
                  </a:lnTo>
                  <a:lnTo>
                    <a:pt x="898" y="1904"/>
                  </a:lnTo>
                  <a:lnTo>
                    <a:pt x="903" y="1914"/>
                  </a:lnTo>
                  <a:lnTo>
                    <a:pt x="903" y="1914"/>
                  </a:lnTo>
                  <a:lnTo>
                    <a:pt x="903" y="1914"/>
                  </a:lnTo>
                  <a:close/>
                  <a:moveTo>
                    <a:pt x="1675" y="1921"/>
                  </a:moveTo>
                  <a:lnTo>
                    <a:pt x="1663" y="1921"/>
                  </a:lnTo>
                  <a:lnTo>
                    <a:pt x="1692" y="1921"/>
                  </a:lnTo>
                  <a:lnTo>
                    <a:pt x="1675" y="1921"/>
                  </a:lnTo>
                  <a:lnTo>
                    <a:pt x="1675" y="1921"/>
                  </a:lnTo>
                  <a:lnTo>
                    <a:pt x="1675" y="1921"/>
                  </a:lnTo>
                  <a:close/>
                  <a:moveTo>
                    <a:pt x="1760" y="1921"/>
                  </a:moveTo>
                  <a:lnTo>
                    <a:pt x="1765" y="1921"/>
                  </a:lnTo>
                  <a:lnTo>
                    <a:pt x="1751" y="1921"/>
                  </a:lnTo>
                  <a:lnTo>
                    <a:pt x="1760" y="1921"/>
                  </a:lnTo>
                  <a:lnTo>
                    <a:pt x="1760" y="1921"/>
                  </a:lnTo>
                  <a:lnTo>
                    <a:pt x="1760" y="1921"/>
                  </a:lnTo>
                  <a:close/>
                  <a:moveTo>
                    <a:pt x="1734" y="1921"/>
                  </a:moveTo>
                  <a:lnTo>
                    <a:pt x="1744" y="1921"/>
                  </a:lnTo>
                  <a:lnTo>
                    <a:pt x="1718" y="1921"/>
                  </a:lnTo>
                  <a:lnTo>
                    <a:pt x="1734" y="1921"/>
                  </a:lnTo>
                  <a:lnTo>
                    <a:pt x="1734" y="1921"/>
                  </a:lnTo>
                  <a:lnTo>
                    <a:pt x="1734" y="1921"/>
                  </a:lnTo>
                  <a:close/>
                  <a:moveTo>
                    <a:pt x="2823" y="1954"/>
                  </a:moveTo>
                  <a:lnTo>
                    <a:pt x="2823" y="1959"/>
                  </a:lnTo>
                  <a:lnTo>
                    <a:pt x="2814" y="1954"/>
                  </a:lnTo>
                  <a:lnTo>
                    <a:pt x="2823" y="1954"/>
                  </a:lnTo>
                  <a:lnTo>
                    <a:pt x="2823" y="1954"/>
                  </a:lnTo>
                  <a:lnTo>
                    <a:pt x="2823" y="1954"/>
                  </a:lnTo>
                  <a:close/>
                  <a:moveTo>
                    <a:pt x="1966" y="1954"/>
                  </a:moveTo>
                  <a:lnTo>
                    <a:pt x="1949" y="1954"/>
                  </a:lnTo>
                  <a:lnTo>
                    <a:pt x="1966" y="1954"/>
                  </a:lnTo>
                  <a:lnTo>
                    <a:pt x="1966" y="1954"/>
                  </a:lnTo>
                  <a:lnTo>
                    <a:pt x="1966" y="1954"/>
                  </a:lnTo>
                  <a:close/>
                  <a:moveTo>
                    <a:pt x="3773" y="1975"/>
                  </a:moveTo>
                  <a:lnTo>
                    <a:pt x="3811" y="1975"/>
                  </a:lnTo>
                  <a:lnTo>
                    <a:pt x="3827" y="1992"/>
                  </a:lnTo>
                  <a:lnTo>
                    <a:pt x="3780" y="1992"/>
                  </a:lnTo>
                  <a:lnTo>
                    <a:pt x="3763" y="1975"/>
                  </a:lnTo>
                  <a:lnTo>
                    <a:pt x="3773" y="1975"/>
                  </a:lnTo>
                  <a:lnTo>
                    <a:pt x="3773" y="1975"/>
                  </a:lnTo>
                  <a:lnTo>
                    <a:pt x="3773" y="1975"/>
                  </a:lnTo>
                  <a:close/>
                  <a:moveTo>
                    <a:pt x="3062" y="2003"/>
                  </a:moveTo>
                  <a:lnTo>
                    <a:pt x="3071" y="2008"/>
                  </a:lnTo>
                  <a:lnTo>
                    <a:pt x="3057" y="2003"/>
                  </a:lnTo>
                  <a:lnTo>
                    <a:pt x="3062" y="2003"/>
                  </a:lnTo>
                  <a:lnTo>
                    <a:pt x="3062" y="2003"/>
                  </a:lnTo>
                  <a:lnTo>
                    <a:pt x="3062" y="2003"/>
                  </a:lnTo>
                  <a:close/>
                  <a:moveTo>
                    <a:pt x="2932" y="2140"/>
                  </a:moveTo>
                  <a:lnTo>
                    <a:pt x="2911" y="2119"/>
                  </a:lnTo>
                  <a:lnTo>
                    <a:pt x="2915" y="2103"/>
                  </a:lnTo>
                  <a:lnTo>
                    <a:pt x="2948" y="2103"/>
                  </a:lnTo>
                  <a:lnTo>
                    <a:pt x="2991" y="2081"/>
                  </a:lnTo>
                  <a:lnTo>
                    <a:pt x="2974" y="2065"/>
                  </a:lnTo>
                  <a:lnTo>
                    <a:pt x="2986" y="2065"/>
                  </a:lnTo>
                  <a:lnTo>
                    <a:pt x="2974" y="2058"/>
                  </a:lnTo>
                  <a:lnTo>
                    <a:pt x="2974" y="2048"/>
                  </a:lnTo>
                  <a:lnTo>
                    <a:pt x="3019" y="2065"/>
                  </a:lnTo>
                  <a:lnTo>
                    <a:pt x="2991" y="2041"/>
                  </a:lnTo>
                  <a:lnTo>
                    <a:pt x="3003" y="2013"/>
                  </a:lnTo>
                  <a:lnTo>
                    <a:pt x="3024" y="2008"/>
                  </a:lnTo>
                  <a:lnTo>
                    <a:pt x="3062" y="2029"/>
                  </a:lnTo>
                  <a:lnTo>
                    <a:pt x="3057" y="2029"/>
                  </a:lnTo>
                  <a:lnTo>
                    <a:pt x="3062" y="2048"/>
                  </a:lnTo>
                  <a:lnTo>
                    <a:pt x="3071" y="2029"/>
                  </a:lnTo>
                  <a:lnTo>
                    <a:pt x="3095" y="2058"/>
                  </a:lnTo>
                  <a:lnTo>
                    <a:pt x="3137" y="2081"/>
                  </a:lnTo>
                  <a:lnTo>
                    <a:pt x="3137" y="2115"/>
                  </a:lnTo>
                  <a:lnTo>
                    <a:pt x="3147" y="2119"/>
                  </a:lnTo>
                  <a:lnTo>
                    <a:pt x="3147" y="2098"/>
                  </a:lnTo>
                  <a:lnTo>
                    <a:pt x="3154" y="2086"/>
                  </a:lnTo>
                  <a:lnTo>
                    <a:pt x="3170" y="2136"/>
                  </a:lnTo>
                  <a:lnTo>
                    <a:pt x="3208" y="2140"/>
                  </a:lnTo>
                  <a:lnTo>
                    <a:pt x="3192" y="2157"/>
                  </a:lnTo>
                  <a:lnTo>
                    <a:pt x="3170" y="2152"/>
                  </a:lnTo>
                  <a:lnTo>
                    <a:pt x="3137" y="2181"/>
                  </a:lnTo>
                  <a:lnTo>
                    <a:pt x="3116" y="2192"/>
                  </a:lnTo>
                  <a:lnTo>
                    <a:pt x="3007" y="2157"/>
                  </a:lnTo>
                  <a:lnTo>
                    <a:pt x="2991" y="2136"/>
                  </a:lnTo>
                  <a:lnTo>
                    <a:pt x="2986" y="2152"/>
                  </a:lnTo>
                  <a:lnTo>
                    <a:pt x="2974" y="2152"/>
                  </a:lnTo>
                  <a:lnTo>
                    <a:pt x="2953" y="2140"/>
                  </a:lnTo>
                  <a:lnTo>
                    <a:pt x="2953" y="2124"/>
                  </a:lnTo>
                  <a:lnTo>
                    <a:pt x="2932" y="2140"/>
                  </a:lnTo>
                  <a:lnTo>
                    <a:pt x="2932" y="2140"/>
                  </a:lnTo>
                  <a:lnTo>
                    <a:pt x="2932" y="2140"/>
                  </a:lnTo>
                  <a:close/>
                  <a:moveTo>
                    <a:pt x="3470" y="2025"/>
                  </a:moveTo>
                  <a:lnTo>
                    <a:pt x="3456" y="2013"/>
                  </a:lnTo>
                  <a:lnTo>
                    <a:pt x="3478" y="2008"/>
                  </a:lnTo>
                  <a:lnTo>
                    <a:pt x="3470" y="2025"/>
                  </a:lnTo>
                  <a:lnTo>
                    <a:pt x="3470" y="2025"/>
                  </a:lnTo>
                  <a:lnTo>
                    <a:pt x="3470" y="2025"/>
                  </a:lnTo>
                  <a:close/>
                  <a:moveTo>
                    <a:pt x="4096" y="2008"/>
                  </a:moveTo>
                  <a:lnTo>
                    <a:pt x="4108" y="2013"/>
                  </a:lnTo>
                  <a:lnTo>
                    <a:pt x="4087" y="2008"/>
                  </a:lnTo>
                  <a:lnTo>
                    <a:pt x="4096" y="2008"/>
                  </a:lnTo>
                  <a:lnTo>
                    <a:pt x="4096" y="2008"/>
                  </a:lnTo>
                  <a:lnTo>
                    <a:pt x="4096" y="2008"/>
                  </a:lnTo>
                  <a:close/>
                  <a:moveTo>
                    <a:pt x="4028" y="2025"/>
                  </a:moveTo>
                  <a:lnTo>
                    <a:pt x="4016" y="2029"/>
                  </a:lnTo>
                  <a:lnTo>
                    <a:pt x="4000" y="2025"/>
                  </a:lnTo>
                  <a:lnTo>
                    <a:pt x="4028" y="2025"/>
                  </a:lnTo>
                  <a:lnTo>
                    <a:pt x="4028" y="2025"/>
                  </a:lnTo>
                  <a:lnTo>
                    <a:pt x="4028" y="2025"/>
                  </a:lnTo>
                  <a:close/>
                  <a:moveTo>
                    <a:pt x="4297" y="2025"/>
                  </a:moveTo>
                  <a:lnTo>
                    <a:pt x="4314" y="2013"/>
                  </a:lnTo>
                  <a:lnTo>
                    <a:pt x="4323" y="2029"/>
                  </a:lnTo>
                  <a:lnTo>
                    <a:pt x="4302" y="2041"/>
                  </a:lnTo>
                  <a:lnTo>
                    <a:pt x="4271" y="2041"/>
                  </a:lnTo>
                  <a:lnTo>
                    <a:pt x="4281" y="2058"/>
                  </a:lnTo>
                  <a:lnTo>
                    <a:pt x="4243" y="2029"/>
                  </a:lnTo>
                  <a:lnTo>
                    <a:pt x="4217" y="2029"/>
                  </a:lnTo>
                  <a:lnTo>
                    <a:pt x="4248" y="2013"/>
                  </a:lnTo>
                  <a:lnTo>
                    <a:pt x="4297" y="2025"/>
                  </a:lnTo>
                  <a:lnTo>
                    <a:pt x="4297" y="2025"/>
                  </a:lnTo>
                  <a:lnTo>
                    <a:pt x="4297" y="2025"/>
                  </a:lnTo>
                  <a:close/>
                  <a:moveTo>
                    <a:pt x="4082" y="2013"/>
                  </a:moveTo>
                  <a:lnTo>
                    <a:pt x="4104" y="2029"/>
                  </a:lnTo>
                  <a:lnTo>
                    <a:pt x="4082" y="2025"/>
                  </a:lnTo>
                  <a:lnTo>
                    <a:pt x="4082" y="2013"/>
                  </a:lnTo>
                  <a:lnTo>
                    <a:pt x="4082" y="2013"/>
                  </a:lnTo>
                  <a:lnTo>
                    <a:pt x="4082" y="2013"/>
                  </a:lnTo>
                  <a:close/>
                  <a:moveTo>
                    <a:pt x="4411" y="2025"/>
                  </a:moveTo>
                  <a:lnTo>
                    <a:pt x="4422" y="2041"/>
                  </a:lnTo>
                  <a:lnTo>
                    <a:pt x="4356" y="2065"/>
                  </a:lnTo>
                  <a:lnTo>
                    <a:pt x="4411" y="2025"/>
                  </a:lnTo>
                  <a:lnTo>
                    <a:pt x="4411" y="2025"/>
                  </a:lnTo>
                  <a:lnTo>
                    <a:pt x="4411" y="2025"/>
                  </a:lnTo>
                  <a:close/>
                  <a:moveTo>
                    <a:pt x="2731" y="2029"/>
                  </a:moveTo>
                  <a:lnTo>
                    <a:pt x="2731" y="2041"/>
                  </a:lnTo>
                  <a:lnTo>
                    <a:pt x="2722" y="2029"/>
                  </a:lnTo>
                  <a:lnTo>
                    <a:pt x="2731" y="2029"/>
                  </a:lnTo>
                  <a:lnTo>
                    <a:pt x="2731" y="2029"/>
                  </a:lnTo>
                  <a:lnTo>
                    <a:pt x="2731" y="2029"/>
                  </a:lnTo>
                  <a:close/>
                  <a:moveTo>
                    <a:pt x="378" y="2119"/>
                  </a:moveTo>
                  <a:lnTo>
                    <a:pt x="385" y="2119"/>
                  </a:lnTo>
                  <a:lnTo>
                    <a:pt x="357" y="2115"/>
                  </a:lnTo>
                  <a:lnTo>
                    <a:pt x="357" y="2086"/>
                  </a:lnTo>
                  <a:lnTo>
                    <a:pt x="385" y="2103"/>
                  </a:lnTo>
                  <a:lnTo>
                    <a:pt x="362" y="2086"/>
                  </a:lnTo>
                  <a:lnTo>
                    <a:pt x="385" y="2081"/>
                  </a:lnTo>
                  <a:lnTo>
                    <a:pt x="411" y="2086"/>
                  </a:lnTo>
                  <a:lnTo>
                    <a:pt x="400" y="2065"/>
                  </a:lnTo>
                  <a:lnTo>
                    <a:pt x="411" y="2065"/>
                  </a:lnTo>
                  <a:lnTo>
                    <a:pt x="466" y="2065"/>
                  </a:lnTo>
                  <a:lnTo>
                    <a:pt x="466" y="2041"/>
                  </a:lnTo>
                  <a:lnTo>
                    <a:pt x="454" y="2029"/>
                  </a:lnTo>
                  <a:lnTo>
                    <a:pt x="475" y="2029"/>
                  </a:lnTo>
                  <a:lnTo>
                    <a:pt x="475" y="2048"/>
                  </a:lnTo>
                  <a:lnTo>
                    <a:pt x="508" y="2048"/>
                  </a:lnTo>
                  <a:lnTo>
                    <a:pt x="466" y="2103"/>
                  </a:lnTo>
                  <a:lnTo>
                    <a:pt x="449" y="2119"/>
                  </a:lnTo>
                  <a:lnTo>
                    <a:pt x="475" y="2157"/>
                  </a:lnTo>
                  <a:lnTo>
                    <a:pt x="466" y="2157"/>
                  </a:lnTo>
                  <a:lnTo>
                    <a:pt x="433" y="2119"/>
                  </a:lnTo>
                  <a:lnTo>
                    <a:pt x="423" y="2136"/>
                  </a:lnTo>
                  <a:lnTo>
                    <a:pt x="357" y="2124"/>
                  </a:lnTo>
                  <a:lnTo>
                    <a:pt x="357" y="2115"/>
                  </a:lnTo>
                  <a:lnTo>
                    <a:pt x="378" y="2119"/>
                  </a:lnTo>
                  <a:lnTo>
                    <a:pt x="378" y="2119"/>
                  </a:lnTo>
                  <a:lnTo>
                    <a:pt x="378" y="2119"/>
                  </a:lnTo>
                  <a:close/>
                  <a:moveTo>
                    <a:pt x="5129" y="2029"/>
                  </a:moveTo>
                  <a:lnTo>
                    <a:pt x="5129" y="2041"/>
                  </a:lnTo>
                  <a:lnTo>
                    <a:pt x="5129" y="2058"/>
                  </a:lnTo>
                  <a:lnTo>
                    <a:pt x="5107" y="2048"/>
                  </a:lnTo>
                  <a:lnTo>
                    <a:pt x="5129" y="2029"/>
                  </a:lnTo>
                  <a:lnTo>
                    <a:pt x="5129" y="2029"/>
                  </a:lnTo>
                  <a:lnTo>
                    <a:pt x="5129" y="2029"/>
                  </a:lnTo>
                  <a:close/>
                  <a:moveTo>
                    <a:pt x="130" y="2058"/>
                  </a:moveTo>
                  <a:lnTo>
                    <a:pt x="114" y="2048"/>
                  </a:lnTo>
                  <a:lnTo>
                    <a:pt x="130" y="2041"/>
                  </a:lnTo>
                  <a:lnTo>
                    <a:pt x="152" y="2048"/>
                  </a:lnTo>
                  <a:lnTo>
                    <a:pt x="130" y="2058"/>
                  </a:lnTo>
                  <a:lnTo>
                    <a:pt x="130" y="2058"/>
                  </a:lnTo>
                  <a:lnTo>
                    <a:pt x="130" y="2058"/>
                  </a:lnTo>
                  <a:close/>
                  <a:moveTo>
                    <a:pt x="3192" y="2048"/>
                  </a:moveTo>
                  <a:lnTo>
                    <a:pt x="3201" y="2058"/>
                  </a:lnTo>
                  <a:lnTo>
                    <a:pt x="3192" y="2081"/>
                  </a:lnTo>
                  <a:lnTo>
                    <a:pt x="3180" y="2081"/>
                  </a:lnTo>
                  <a:lnTo>
                    <a:pt x="3180" y="2070"/>
                  </a:lnTo>
                  <a:lnTo>
                    <a:pt x="3180" y="2058"/>
                  </a:lnTo>
                  <a:lnTo>
                    <a:pt x="3170" y="2048"/>
                  </a:lnTo>
                  <a:lnTo>
                    <a:pt x="3163" y="2081"/>
                  </a:lnTo>
                  <a:lnTo>
                    <a:pt x="3154" y="2070"/>
                  </a:lnTo>
                  <a:lnTo>
                    <a:pt x="3154" y="2058"/>
                  </a:lnTo>
                  <a:lnTo>
                    <a:pt x="3163" y="2048"/>
                  </a:lnTo>
                  <a:lnTo>
                    <a:pt x="3192" y="2048"/>
                  </a:lnTo>
                  <a:lnTo>
                    <a:pt x="3192" y="2048"/>
                  </a:lnTo>
                  <a:lnTo>
                    <a:pt x="3192" y="2048"/>
                  </a:lnTo>
                  <a:close/>
                  <a:moveTo>
                    <a:pt x="5150" y="2058"/>
                  </a:moveTo>
                  <a:lnTo>
                    <a:pt x="5138" y="2058"/>
                  </a:lnTo>
                  <a:lnTo>
                    <a:pt x="5167" y="2048"/>
                  </a:lnTo>
                  <a:lnTo>
                    <a:pt x="5150" y="2058"/>
                  </a:lnTo>
                  <a:lnTo>
                    <a:pt x="5150" y="2058"/>
                  </a:lnTo>
                  <a:lnTo>
                    <a:pt x="5150" y="2058"/>
                  </a:lnTo>
                  <a:close/>
                  <a:moveTo>
                    <a:pt x="3147" y="2048"/>
                  </a:moveTo>
                  <a:lnTo>
                    <a:pt x="3147" y="2081"/>
                  </a:lnTo>
                  <a:lnTo>
                    <a:pt x="3109" y="2048"/>
                  </a:lnTo>
                  <a:lnTo>
                    <a:pt x="3147" y="2048"/>
                  </a:lnTo>
                  <a:lnTo>
                    <a:pt x="3147" y="2048"/>
                  </a:lnTo>
                  <a:lnTo>
                    <a:pt x="3147" y="2048"/>
                  </a:lnTo>
                  <a:close/>
                  <a:moveTo>
                    <a:pt x="2802" y="2058"/>
                  </a:moveTo>
                  <a:lnTo>
                    <a:pt x="2807" y="2065"/>
                  </a:lnTo>
                  <a:lnTo>
                    <a:pt x="2793" y="2070"/>
                  </a:lnTo>
                  <a:lnTo>
                    <a:pt x="2793" y="2065"/>
                  </a:lnTo>
                  <a:lnTo>
                    <a:pt x="2776" y="2058"/>
                  </a:lnTo>
                  <a:lnTo>
                    <a:pt x="2785" y="2048"/>
                  </a:lnTo>
                  <a:lnTo>
                    <a:pt x="2802" y="2058"/>
                  </a:lnTo>
                  <a:lnTo>
                    <a:pt x="2802" y="2058"/>
                  </a:lnTo>
                  <a:lnTo>
                    <a:pt x="2802" y="2058"/>
                  </a:lnTo>
                  <a:close/>
                  <a:moveTo>
                    <a:pt x="3563" y="2065"/>
                  </a:moveTo>
                  <a:lnTo>
                    <a:pt x="3563" y="2081"/>
                  </a:lnTo>
                  <a:lnTo>
                    <a:pt x="3558" y="2086"/>
                  </a:lnTo>
                  <a:lnTo>
                    <a:pt x="3541" y="2081"/>
                  </a:lnTo>
                  <a:lnTo>
                    <a:pt x="3563" y="2065"/>
                  </a:lnTo>
                  <a:lnTo>
                    <a:pt x="3563" y="2065"/>
                  </a:lnTo>
                  <a:lnTo>
                    <a:pt x="3563" y="2065"/>
                  </a:lnTo>
                  <a:close/>
                  <a:moveTo>
                    <a:pt x="4481" y="2065"/>
                  </a:moveTo>
                  <a:lnTo>
                    <a:pt x="4512" y="2065"/>
                  </a:lnTo>
                  <a:lnTo>
                    <a:pt x="4512" y="2081"/>
                  </a:lnTo>
                  <a:lnTo>
                    <a:pt x="4486" y="2103"/>
                  </a:lnTo>
                  <a:lnTo>
                    <a:pt x="4465" y="2103"/>
                  </a:lnTo>
                  <a:lnTo>
                    <a:pt x="4460" y="2086"/>
                  </a:lnTo>
                  <a:lnTo>
                    <a:pt x="4465" y="2070"/>
                  </a:lnTo>
                  <a:lnTo>
                    <a:pt x="4481" y="2065"/>
                  </a:lnTo>
                  <a:lnTo>
                    <a:pt x="4481" y="2065"/>
                  </a:lnTo>
                  <a:lnTo>
                    <a:pt x="4481" y="2065"/>
                  </a:lnTo>
                  <a:close/>
                  <a:moveTo>
                    <a:pt x="400" y="2081"/>
                  </a:moveTo>
                  <a:lnTo>
                    <a:pt x="385" y="2070"/>
                  </a:lnTo>
                  <a:lnTo>
                    <a:pt x="400" y="2070"/>
                  </a:lnTo>
                  <a:lnTo>
                    <a:pt x="400" y="2081"/>
                  </a:lnTo>
                  <a:lnTo>
                    <a:pt x="400" y="2081"/>
                  </a:lnTo>
                  <a:lnTo>
                    <a:pt x="400" y="2081"/>
                  </a:lnTo>
                  <a:close/>
                  <a:moveTo>
                    <a:pt x="4389" y="2070"/>
                  </a:moveTo>
                  <a:lnTo>
                    <a:pt x="4406" y="2081"/>
                  </a:lnTo>
                  <a:lnTo>
                    <a:pt x="4356" y="2136"/>
                  </a:lnTo>
                  <a:lnTo>
                    <a:pt x="4335" y="2140"/>
                  </a:lnTo>
                  <a:lnTo>
                    <a:pt x="4318" y="2136"/>
                  </a:lnTo>
                  <a:lnTo>
                    <a:pt x="4335" y="2115"/>
                  </a:lnTo>
                  <a:lnTo>
                    <a:pt x="4356" y="2103"/>
                  </a:lnTo>
                  <a:lnTo>
                    <a:pt x="4368" y="2081"/>
                  </a:lnTo>
                  <a:lnTo>
                    <a:pt x="4389" y="2070"/>
                  </a:lnTo>
                  <a:lnTo>
                    <a:pt x="4389" y="2070"/>
                  </a:lnTo>
                  <a:lnTo>
                    <a:pt x="4389" y="2070"/>
                  </a:lnTo>
                  <a:close/>
                  <a:moveTo>
                    <a:pt x="3541" y="2098"/>
                  </a:moveTo>
                  <a:lnTo>
                    <a:pt x="3525" y="2081"/>
                  </a:lnTo>
                  <a:lnTo>
                    <a:pt x="3532" y="2070"/>
                  </a:lnTo>
                  <a:lnTo>
                    <a:pt x="3546" y="2086"/>
                  </a:lnTo>
                  <a:lnTo>
                    <a:pt x="3541" y="2098"/>
                  </a:lnTo>
                  <a:lnTo>
                    <a:pt x="3541" y="2098"/>
                  </a:lnTo>
                  <a:lnTo>
                    <a:pt x="3541" y="2098"/>
                  </a:lnTo>
                  <a:close/>
                  <a:moveTo>
                    <a:pt x="2769" y="2098"/>
                  </a:moveTo>
                  <a:lnTo>
                    <a:pt x="2769" y="2115"/>
                  </a:lnTo>
                  <a:lnTo>
                    <a:pt x="2755" y="2115"/>
                  </a:lnTo>
                  <a:lnTo>
                    <a:pt x="2759" y="2098"/>
                  </a:lnTo>
                  <a:lnTo>
                    <a:pt x="2769" y="2098"/>
                  </a:lnTo>
                  <a:lnTo>
                    <a:pt x="2769" y="2098"/>
                  </a:lnTo>
                  <a:lnTo>
                    <a:pt x="2769" y="2098"/>
                  </a:lnTo>
                  <a:close/>
                  <a:moveTo>
                    <a:pt x="3563" y="2115"/>
                  </a:moveTo>
                  <a:lnTo>
                    <a:pt x="3570" y="2115"/>
                  </a:lnTo>
                  <a:lnTo>
                    <a:pt x="3558" y="2115"/>
                  </a:lnTo>
                  <a:lnTo>
                    <a:pt x="3563" y="2115"/>
                  </a:lnTo>
                  <a:lnTo>
                    <a:pt x="3563" y="2115"/>
                  </a:lnTo>
                  <a:lnTo>
                    <a:pt x="3563" y="2115"/>
                  </a:lnTo>
                  <a:close/>
                  <a:moveTo>
                    <a:pt x="2868" y="2103"/>
                  </a:moveTo>
                  <a:lnTo>
                    <a:pt x="2878" y="2119"/>
                  </a:lnTo>
                  <a:lnTo>
                    <a:pt x="2878" y="2124"/>
                  </a:lnTo>
                  <a:lnTo>
                    <a:pt x="2861" y="2119"/>
                  </a:lnTo>
                  <a:lnTo>
                    <a:pt x="2868" y="2103"/>
                  </a:lnTo>
                  <a:lnTo>
                    <a:pt x="2868" y="2103"/>
                  </a:lnTo>
                  <a:lnTo>
                    <a:pt x="2868" y="2103"/>
                  </a:lnTo>
                  <a:close/>
                  <a:moveTo>
                    <a:pt x="2856" y="2119"/>
                  </a:moveTo>
                  <a:lnTo>
                    <a:pt x="2868" y="2136"/>
                  </a:lnTo>
                  <a:lnTo>
                    <a:pt x="2861" y="2140"/>
                  </a:lnTo>
                  <a:lnTo>
                    <a:pt x="2856" y="2157"/>
                  </a:lnTo>
                  <a:lnTo>
                    <a:pt x="2830" y="2152"/>
                  </a:lnTo>
                  <a:lnTo>
                    <a:pt x="2830" y="2119"/>
                  </a:lnTo>
                  <a:lnTo>
                    <a:pt x="2856" y="2119"/>
                  </a:lnTo>
                  <a:lnTo>
                    <a:pt x="2856" y="2119"/>
                  </a:lnTo>
                  <a:lnTo>
                    <a:pt x="2856" y="2119"/>
                  </a:lnTo>
                  <a:close/>
                  <a:moveTo>
                    <a:pt x="3584" y="2124"/>
                  </a:moveTo>
                  <a:lnTo>
                    <a:pt x="3570" y="2119"/>
                  </a:lnTo>
                  <a:lnTo>
                    <a:pt x="3584" y="2119"/>
                  </a:lnTo>
                  <a:lnTo>
                    <a:pt x="3584" y="2124"/>
                  </a:lnTo>
                  <a:lnTo>
                    <a:pt x="3584" y="2124"/>
                  </a:lnTo>
                  <a:lnTo>
                    <a:pt x="3584" y="2124"/>
                  </a:lnTo>
                  <a:close/>
                  <a:moveTo>
                    <a:pt x="5129" y="2124"/>
                  </a:moveTo>
                  <a:lnTo>
                    <a:pt x="5129" y="2136"/>
                  </a:lnTo>
                  <a:lnTo>
                    <a:pt x="5124" y="2124"/>
                  </a:lnTo>
                  <a:lnTo>
                    <a:pt x="5129" y="2124"/>
                  </a:lnTo>
                  <a:lnTo>
                    <a:pt x="5129" y="2124"/>
                  </a:lnTo>
                  <a:lnTo>
                    <a:pt x="5129" y="2124"/>
                  </a:lnTo>
                  <a:close/>
                  <a:moveTo>
                    <a:pt x="3579" y="2157"/>
                  </a:moveTo>
                  <a:lnTo>
                    <a:pt x="3579" y="2152"/>
                  </a:lnTo>
                  <a:lnTo>
                    <a:pt x="3579" y="2140"/>
                  </a:lnTo>
                  <a:lnTo>
                    <a:pt x="3596" y="2152"/>
                  </a:lnTo>
                  <a:lnTo>
                    <a:pt x="3579" y="2157"/>
                  </a:lnTo>
                  <a:lnTo>
                    <a:pt x="3579" y="2157"/>
                  </a:lnTo>
                  <a:lnTo>
                    <a:pt x="3579" y="2157"/>
                  </a:lnTo>
                  <a:close/>
                  <a:moveTo>
                    <a:pt x="2759" y="2152"/>
                  </a:moveTo>
                  <a:lnTo>
                    <a:pt x="2759" y="2157"/>
                  </a:lnTo>
                  <a:lnTo>
                    <a:pt x="2748" y="2176"/>
                  </a:lnTo>
                  <a:lnTo>
                    <a:pt x="2717" y="2157"/>
                  </a:lnTo>
                  <a:lnTo>
                    <a:pt x="2738" y="2140"/>
                  </a:lnTo>
                  <a:lnTo>
                    <a:pt x="2759" y="2152"/>
                  </a:lnTo>
                  <a:lnTo>
                    <a:pt x="2759" y="2152"/>
                  </a:lnTo>
                  <a:lnTo>
                    <a:pt x="2759" y="2152"/>
                  </a:lnTo>
                  <a:close/>
                  <a:moveTo>
                    <a:pt x="4626" y="2157"/>
                  </a:moveTo>
                  <a:lnTo>
                    <a:pt x="4642" y="2181"/>
                  </a:lnTo>
                  <a:lnTo>
                    <a:pt x="4642" y="2209"/>
                  </a:lnTo>
                  <a:lnTo>
                    <a:pt x="4595" y="2181"/>
                  </a:lnTo>
                  <a:lnTo>
                    <a:pt x="4611" y="2157"/>
                  </a:lnTo>
                  <a:lnTo>
                    <a:pt x="4626" y="2157"/>
                  </a:lnTo>
                  <a:lnTo>
                    <a:pt x="4626" y="2157"/>
                  </a:lnTo>
                  <a:lnTo>
                    <a:pt x="4626" y="2157"/>
                  </a:lnTo>
                  <a:close/>
                  <a:moveTo>
                    <a:pt x="4642" y="2157"/>
                  </a:moveTo>
                  <a:lnTo>
                    <a:pt x="4663" y="2176"/>
                  </a:lnTo>
                  <a:lnTo>
                    <a:pt x="4637" y="2169"/>
                  </a:lnTo>
                  <a:lnTo>
                    <a:pt x="4642" y="2157"/>
                  </a:lnTo>
                  <a:lnTo>
                    <a:pt x="4642" y="2157"/>
                  </a:lnTo>
                  <a:lnTo>
                    <a:pt x="4642" y="2157"/>
                  </a:lnTo>
                  <a:close/>
                  <a:moveTo>
                    <a:pt x="4368" y="2192"/>
                  </a:moveTo>
                  <a:lnTo>
                    <a:pt x="4352" y="2181"/>
                  </a:lnTo>
                  <a:lnTo>
                    <a:pt x="4373" y="2176"/>
                  </a:lnTo>
                  <a:lnTo>
                    <a:pt x="4356" y="2169"/>
                  </a:lnTo>
                  <a:lnTo>
                    <a:pt x="4389" y="2169"/>
                  </a:lnTo>
                  <a:lnTo>
                    <a:pt x="4368" y="2192"/>
                  </a:lnTo>
                  <a:lnTo>
                    <a:pt x="4368" y="2192"/>
                  </a:lnTo>
                  <a:lnTo>
                    <a:pt x="4368" y="2192"/>
                  </a:lnTo>
                  <a:close/>
                  <a:moveTo>
                    <a:pt x="2516" y="2176"/>
                  </a:moveTo>
                  <a:lnTo>
                    <a:pt x="2521" y="2181"/>
                  </a:lnTo>
                  <a:lnTo>
                    <a:pt x="2504" y="2176"/>
                  </a:lnTo>
                  <a:lnTo>
                    <a:pt x="2516" y="2176"/>
                  </a:lnTo>
                  <a:lnTo>
                    <a:pt x="2516" y="2176"/>
                  </a:lnTo>
                  <a:lnTo>
                    <a:pt x="2516" y="2176"/>
                  </a:lnTo>
                  <a:close/>
                  <a:moveTo>
                    <a:pt x="2542" y="2176"/>
                  </a:moveTo>
                  <a:lnTo>
                    <a:pt x="2570" y="2192"/>
                  </a:lnTo>
                  <a:lnTo>
                    <a:pt x="2542" y="2197"/>
                  </a:lnTo>
                  <a:lnTo>
                    <a:pt x="2521" y="2176"/>
                  </a:lnTo>
                  <a:lnTo>
                    <a:pt x="2542" y="2176"/>
                  </a:lnTo>
                  <a:lnTo>
                    <a:pt x="2542" y="2176"/>
                  </a:lnTo>
                  <a:lnTo>
                    <a:pt x="2542" y="2176"/>
                  </a:lnTo>
                  <a:close/>
                  <a:moveTo>
                    <a:pt x="2129" y="2176"/>
                  </a:moveTo>
                  <a:lnTo>
                    <a:pt x="2138" y="2176"/>
                  </a:lnTo>
                  <a:lnTo>
                    <a:pt x="2122" y="2176"/>
                  </a:lnTo>
                  <a:lnTo>
                    <a:pt x="2129" y="2176"/>
                  </a:lnTo>
                  <a:lnTo>
                    <a:pt x="2129" y="2176"/>
                  </a:lnTo>
                  <a:lnTo>
                    <a:pt x="2129" y="2176"/>
                  </a:lnTo>
                  <a:close/>
                  <a:moveTo>
                    <a:pt x="2122" y="2181"/>
                  </a:moveTo>
                  <a:lnTo>
                    <a:pt x="2100" y="2181"/>
                  </a:lnTo>
                  <a:lnTo>
                    <a:pt x="2122" y="2176"/>
                  </a:lnTo>
                  <a:lnTo>
                    <a:pt x="2122" y="2181"/>
                  </a:lnTo>
                  <a:lnTo>
                    <a:pt x="2122" y="2181"/>
                  </a:lnTo>
                  <a:lnTo>
                    <a:pt x="2122" y="2181"/>
                  </a:lnTo>
                  <a:close/>
                  <a:moveTo>
                    <a:pt x="4675" y="2192"/>
                  </a:moveTo>
                  <a:lnTo>
                    <a:pt x="4696" y="2209"/>
                  </a:lnTo>
                  <a:lnTo>
                    <a:pt x="4680" y="2214"/>
                  </a:lnTo>
                  <a:lnTo>
                    <a:pt x="4675" y="2197"/>
                  </a:lnTo>
                  <a:lnTo>
                    <a:pt x="4675" y="2192"/>
                  </a:lnTo>
                  <a:lnTo>
                    <a:pt x="4675" y="2192"/>
                  </a:lnTo>
                  <a:lnTo>
                    <a:pt x="4675" y="2192"/>
                  </a:lnTo>
                  <a:close/>
                  <a:moveTo>
                    <a:pt x="2868" y="2197"/>
                  </a:moveTo>
                  <a:lnTo>
                    <a:pt x="2868" y="2214"/>
                  </a:lnTo>
                  <a:lnTo>
                    <a:pt x="2861" y="2209"/>
                  </a:lnTo>
                  <a:lnTo>
                    <a:pt x="2868" y="2197"/>
                  </a:lnTo>
                  <a:lnTo>
                    <a:pt x="2868" y="2197"/>
                  </a:lnTo>
                  <a:lnTo>
                    <a:pt x="2868" y="2197"/>
                  </a:lnTo>
                  <a:close/>
                  <a:moveTo>
                    <a:pt x="4340" y="2197"/>
                  </a:moveTo>
                  <a:lnTo>
                    <a:pt x="4368" y="2214"/>
                  </a:lnTo>
                  <a:lnTo>
                    <a:pt x="4340" y="2226"/>
                  </a:lnTo>
                  <a:lnTo>
                    <a:pt x="4335" y="2214"/>
                  </a:lnTo>
                  <a:lnTo>
                    <a:pt x="4340" y="2197"/>
                  </a:lnTo>
                  <a:lnTo>
                    <a:pt x="4340" y="2197"/>
                  </a:lnTo>
                  <a:lnTo>
                    <a:pt x="4340" y="2197"/>
                  </a:lnTo>
                  <a:close/>
                  <a:moveTo>
                    <a:pt x="4512" y="2341"/>
                  </a:moveTo>
                  <a:lnTo>
                    <a:pt x="4481" y="2337"/>
                  </a:lnTo>
                  <a:lnTo>
                    <a:pt x="4474" y="2308"/>
                  </a:lnTo>
                  <a:lnTo>
                    <a:pt x="4465" y="2285"/>
                  </a:lnTo>
                  <a:lnTo>
                    <a:pt x="4503" y="2214"/>
                  </a:lnTo>
                  <a:lnTo>
                    <a:pt x="4574" y="2209"/>
                  </a:lnTo>
                  <a:lnTo>
                    <a:pt x="4621" y="2214"/>
                  </a:lnTo>
                  <a:lnTo>
                    <a:pt x="4626" y="2230"/>
                  </a:lnTo>
                  <a:lnTo>
                    <a:pt x="4621" y="2252"/>
                  </a:lnTo>
                  <a:lnTo>
                    <a:pt x="4626" y="2292"/>
                  </a:lnTo>
                  <a:lnTo>
                    <a:pt x="4621" y="2308"/>
                  </a:lnTo>
                  <a:lnTo>
                    <a:pt x="4567" y="2337"/>
                  </a:lnTo>
                  <a:lnTo>
                    <a:pt x="4512" y="2341"/>
                  </a:lnTo>
                  <a:lnTo>
                    <a:pt x="4512" y="2341"/>
                  </a:lnTo>
                  <a:lnTo>
                    <a:pt x="4512" y="2341"/>
                  </a:lnTo>
                  <a:close/>
                  <a:moveTo>
                    <a:pt x="3827" y="2226"/>
                  </a:moveTo>
                  <a:lnTo>
                    <a:pt x="3834" y="2263"/>
                  </a:lnTo>
                  <a:lnTo>
                    <a:pt x="3818" y="2280"/>
                  </a:lnTo>
                  <a:lnTo>
                    <a:pt x="3796" y="2268"/>
                  </a:lnTo>
                  <a:lnTo>
                    <a:pt x="3796" y="2252"/>
                  </a:lnTo>
                  <a:lnTo>
                    <a:pt x="3801" y="2247"/>
                  </a:lnTo>
                  <a:lnTo>
                    <a:pt x="3785" y="2235"/>
                  </a:lnTo>
                  <a:lnTo>
                    <a:pt x="3811" y="2209"/>
                  </a:lnTo>
                  <a:lnTo>
                    <a:pt x="3827" y="2214"/>
                  </a:lnTo>
                  <a:lnTo>
                    <a:pt x="3827" y="2226"/>
                  </a:lnTo>
                  <a:lnTo>
                    <a:pt x="3827" y="2226"/>
                  </a:lnTo>
                  <a:lnTo>
                    <a:pt x="3827" y="2226"/>
                  </a:lnTo>
                  <a:close/>
                  <a:moveTo>
                    <a:pt x="5237" y="2230"/>
                  </a:moveTo>
                  <a:lnTo>
                    <a:pt x="5214" y="2226"/>
                  </a:lnTo>
                  <a:lnTo>
                    <a:pt x="5247" y="2214"/>
                  </a:lnTo>
                  <a:lnTo>
                    <a:pt x="5237" y="2230"/>
                  </a:lnTo>
                  <a:lnTo>
                    <a:pt x="5237" y="2230"/>
                  </a:lnTo>
                  <a:lnTo>
                    <a:pt x="5237" y="2230"/>
                  </a:lnTo>
                  <a:close/>
                  <a:moveTo>
                    <a:pt x="4696" y="2214"/>
                  </a:moveTo>
                  <a:lnTo>
                    <a:pt x="4696" y="2230"/>
                  </a:lnTo>
                  <a:lnTo>
                    <a:pt x="4692" y="2226"/>
                  </a:lnTo>
                  <a:lnTo>
                    <a:pt x="4696" y="2214"/>
                  </a:lnTo>
                  <a:lnTo>
                    <a:pt x="4696" y="2214"/>
                  </a:lnTo>
                  <a:lnTo>
                    <a:pt x="4696" y="2214"/>
                  </a:lnTo>
                  <a:close/>
                  <a:moveTo>
                    <a:pt x="2570" y="2226"/>
                  </a:moveTo>
                  <a:lnTo>
                    <a:pt x="2559" y="2235"/>
                  </a:lnTo>
                  <a:lnTo>
                    <a:pt x="2554" y="2230"/>
                  </a:lnTo>
                  <a:lnTo>
                    <a:pt x="2570" y="2226"/>
                  </a:lnTo>
                  <a:lnTo>
                    <a:pt x="2570" y="2226"/>
                  </a:lnTo>
                  <a:lnTo>
                    <a:pt x="2570" y="2226"/>
                  </a:lnTo>
                  <a:close/>
                  <a:moveTo>
                    <a:pt x="5285" y="2226"/>
                  </a:moveTo>
                  <a:lnTo>
                    <a:pt x="5301" y="2230"/>
                  </a:lnTo>
                  <a:lnTo>
                    <a:pt x="5285" y="2230"/>
                  </a:lnTo>
                  <a:lnTo>
                    <a:pt x="5285" y="2226"/>
                  </a:lnTo>
                  <a:lnTo>
                    <a:pt x="5285" y="2226"/>
                  </a:lnTo>
                  <a:lnTo>
                    <a:pt x="5285" y="2226"/>
                  </a:lnTo>
                  <a:close/>
                  <a:moveTo>
                    <a:pt x="4718" y="2247"/>
                  </a:moveTo>
                  <a:lnTo>
                    <a:pt x="4746" y="2247"/>
                  </a:lnTo>
                  <a:lnTo>
                    <a:pt x="4746" y="2268"/>
                  </a:lnTo>
                  <a:lnTo>
                    <a:pt x="4734" y="2280"/>
                  </a:lnTo>
                  <a:lnTo>
                    <a:pt x="4675" y="2268"/>
                  </a:lnTo>
                  <a:lnTo>
                    <a:pt x="4649" y="2263"/>
                  </a:lnTo>
                  <a:lnTo>
                    <a:pt x="4642" y="2247"/>
                  </a:lnTo>
                  <a:lnTo>
                    <a:pt x="4675" y="2226"/>
                  </a:lnTo>
                  <a:lnTo>
                    <a:pt x="4692" y="2235"/>
                  </a:lnTo>
                  <a:lnTo>
                    <a:pt x="4718" y="2247"/>
                  </a:lnTo>
                  <a:lnTo>
                    <a:pt x="4718" y="2247"/>
                  </a:lnTo>
                  <a:lnTo>
                    <a:pt x="4718" y="2247"/>
                  </a:lnTo>
                  <a:close/>
                  <a:moveTo>
                    <a:pt x="2214" y="2230"/>
                  </a:moveTo>
                  <a:lnTo>
                    <a:pt x="2219" y="2247"/>
                  </a:lnTo>
                  <a:lnTo>
                    <a:pt x="2209" y="2235"/>
                  </a:lnTo>
                  <a:lnTo>
                    <a:pt x="2214" y="2230"/>
                  </a:lnTo>
                  <a:lnTo>
                    <a:pt x="2214" y="2230"/>
                  </a:lnTo>
                  <a:lnTo>
                    <a:pt x="2214" y="2230"/>
                  </a:lnTo>
                  <a:close/>
                  <a:moveTo>
                    <a:pt x="2948" y="2235"/>
                  </a:moveTo>
                  <a:lnTo>
                    <a:pt x="2948" y="2247"/>
                  </a:lnTo>
                  <a:lnTo>
                    <a:pt x="2937" y="2235"/>
                  </a:lnTo>
                  <a:lnTo>
                    <a:pt x="2948" y="2235"/>
                  </a:lnTo>
                  <a:lnTo>
                    <a:pt x="2948" y="2235"/>
                  </a:lnTo>
                  <a:lnTo>
                    <a:pt x="2948" y="2235"/>
                  </a:lnTo>
                  <a:close/>
                  <a:moveTo>
                    <a:pt x="2252" y="2247"/>
                  </a:moveTo>
                  <a:lnTo>
                    <a:pt x="2252" y="2263"/>
                  </a:lnTo>
                  <a:lnTo>
                    <a:pt x="2230" y="2247"/>
                  </a:lnTo>
                  <a:lnTo>
                    <a:pt x="2252" y="2247"/>
                  </a:lnTo>
                  <a:lnTo>
                    <a:pt x="2252" y="2247"/>
                  </a:lnTo>
                  <a:lnTo>
                    <a:pt x="2252" y="2247"/>
                  </a:lnTo>
                  <a:close/>
                  <a:moveTo>
                    <a:pt x="3024" y="2263"/>
                  </a:moveTo>
                  <a:lnTo>
                    <a:pt x="3019" y="2263"/>
                  </a:lnTo>
                  <a:lnTo>
                    <a:pt x="3024" y="2263"/>
                  </a:lnTo>
                  <a:lnTo>
                    <a:pt x="3024" y="2263"/>
                  </a:lnTo>
                  <a:lnTo>
                    <a:pt x="3024" y="2263"/>
                  </a:lnTo>
                  <a:close/>
                  <a:moveTo>
                    <a:pt x="1895" y="2263"/>
                  </a:moveTo>
                  <a:lnTo>
                    <a:pt x="1874" y="2263"/>
                  </a:lnTo>
                  <a:lnTo>
                    <a:pt x="1895" y="2263"/>
                  </a:lnTo>
                  <a:lnTo>
                    <a:pt x="1895" y="2263"/>
                  </a:lnTo>
                  <a:lnTo>
                    <a:pt x="1895" y="2263"/>
                  </a:lnTo>
                  <a:close/>
                  <a:moveTo>
                    <a:pt x="2306" y="2308"/>
                  </a:moveTo>
                  <a:lnTo>
                    <a:pt x="2306" y="2285"/>
                  </a:lnTo>
                  <a:lnTo>
                    <a:pt x="2318" y="2285"/>
                  </a:lnTo>
                  <a:lnTo>
                    <a:pt x="2322" y="2303"/>
                  </a:lnTo>
                  <a:lnTo>
                    <a:pt x="2306" y="2308"/>
                  </a:lnTo>
                  <a:lnTo>
                    <a:pt x="2306" y="2308"/>
                  </a:lnTo>
                  <a:lnTo>
                    <a:pt x="2306" y="2308"/>
                  </a:lnTo>
                  <a:close/>
                  <a:moveTo>
                    <a:pt x="5410" y="2292"/>
                  </a:moveTo>
                  <a:lnTo>
                    <a:pt x="5415" y="2303"/>
                  </a:lnTo>
                  <a:lnTo>
                    <a:pt x="5398" y="2303"/>
                  </a:lnTo>
                  <a:lnTo>
                    <a:pt x="5410" y="2292"/>
                  </a:lnTo>
                  <a:lnTo>
                    <a:pt x="5410" y="2292"/>
                  </a:lnTo>
                  <a:lnTo>
                    <a:pt x="5410" y="2292"/>
                  </a:lnTo>
                  <a:close/>
                  <a:moveTo>
                    <a:pt x="2285" y="2292"/>
                  </a:moveTo>
                  <a:lnTo>
                    <a:pt x="2289" y="2292"/>
                  </a:lnTo>
                  <a:lnTo>
                    <a:pt x="2285" y="2292"/>
                  </a:lnTo>
                  <a:lnTo>
                    <a:pt x="2285" y="2292"/>
                  </a:lnTo>
                  <a:lnTo>
                    <a:pt x="2285" y="2292"/>
                  </a:lnTo>
                  <a:close/>
                  <a:moveTo>
                    <a:pt x="2306" y="2308"/>
                  </a:moveTo>
                  <a:lnTo>
                    <a:pt x="2301" y="2308"/>
                  </a:lnTo>
                  <a:lnTo>
                    <a:pt x="2301" y="2303"/>
                  </a:lnTo>
                  <a:lnTo>
                    <a:pt x="2306" y="2308"/>
                  </a:lnTo>
                  <a:lnTo>
                    <a:pt x="2306" y="2308"/>
                  </a:lnTo>
                  <a:lnTo>
                    <a:pt x="2306" y="2308"/>
                  </a:lnTo>
                  <a:close/>
                  <a:moveTo>
                    <a:pt x="2289" y="2308"/>
                  </a:moveTo>
                  <a:lnTo>
                    <a:pt x="2285" y="2303"/>
                  </a:lnTo>
                  <a:lnTo>
                    <a:pt x="2289" y="2303"/>
                  </a:lnTo>
                  <a:lnTo>
                    <a:pt x="2289" y="2308"/>
                  </a:lnTo>
                  <a:lnTo>
                    <a:pt x="2289" y="2308"/>
                  </a:lnTo>
                  <a:lnTo>
                    <a:pt x="2289" y="2308"/>
                  </a:lnTo>
                  <a:close/>
                  <a:moveTo>
                    <a:pt x="2322" y="2308"/>
                  </a:moveTo>
                  <a:lnTo>
                    <a:pt x="2322" y="2337"/>
                  </a:lnTo>
                  <a:lnTo>
                    <a:pt x="2306" y="2320"/>
                  </a:lnTo>
                  <a:lnTo>
                    <a:pt x="2322" y="2308"/>
                  </a:lnTo>
                  <a:lnTo>
                    <a:pt x="2322" y="2308"/>
                  </a:lnTo>
                  <a:lnTo>
                    <a:pt x="2322" y="2308"/>
                  </a:lnTo>
                  <a:close/>
                  <a:moveTo>
                    <a:pt x="5436" y="2337"/>
                  </a:moveTo>
                  <a:lnTo>
                    <a:pt x="5415" y="2337"/>
                  </a:lnTo>
                  <a:lnTo>
                    <a:pt x="5431" y="2325"/>
                  </a:lnTo>
                  <a:lnTo>
                    <a:pt x="5448" y="2337"/>
                  </a:lnTo>
                  <a:lnTo>
                    <a:pt x="5436" y="2337"/>
                  </a:lnTo>
                  <a:lnTo>
                    <a:pt x="5436" y="2337"/>
                  </a:lnTo>
                  <a:lnTo>
                    <a:pt x="5436" y="2337"/>
                  </a:lnTo>
                  <a:close/>
                  <a:moveTo>
                    <a:pt x="2339" y="2337"/>
                  </a:moveTo>
                  <a:lnTo>
                    <a:pt x="2339" y="2341"/>
                  </a:lnTo>
                  <a:lnTo>
                    <a:pt x="2339" y="2337"/>
                  </a:lnTo>
                  <a:lnTo>
                    <a:pt x="2339" y="2337"/>
                  </a:lnTo>
                  <a:lnTo>
                    <a:pt x="2339" y="2337"/>
                  </a:lnTo>
                  <a:close/>
                  <a:moveTo>
                    <a:pt x="2344" y="2341"/>
                  </a:moveTo>
                  <a:lnTo>
                    <a:pt x="2360" y="2358"/>
                  </a:lnTo>
                  <a:lnTo>
                    <a:pt x="2344" y="2358"/>
                  </a:lnTo>
                  <a:lnTo>
                    <a:pt x="2344" y="2341"/>
                  </a:lnTo>
                  <a:lnTo>
                    <a:pt x="2344" y="2341"/>
                  </a:lnTo>
                  <a:lnTo>
                    <a:pt x="2344" y="2341"/>
                  </a:lnTo>
                  <a:close/>
                  <a:moveTo>
                    <a:pt x="5474" y="2358"/>
                  </a:moveTo>
                  <a:lnTo>
                    <a:pt x="5500" y="2346"/>
                  </a:lnTo>
                  <a:lnTo>
                    <a:pt x="5516" y="2346"/>
                  </a:lnTo>
                  <a:lnTo>
                    <a:pt x="5490" y="2363"/>
                  </a:lnTo>
                  <a:lnTo>
                    <a:pt x="5474" y="2358"/>
                  </a:lnTo>
                  <a:lnTo>
                    <a:pt x="5474" y="2358"/>
                  </a:lnTo>
                  <a:lnTo>
                    <a:pt x="5474" y="2358"/>
                  </a:lnTo>
                  <a:close/>
                  <a:moveTo>
                    <a:pt x="5474" y="2363"/>
                  </a:moveTo>
                  <a:lnTo>
                    <a:pt x="5462" y="2358"/>
                  </a:lnTo>
                  <a:lnTo>
                    <a:pt x="5474" y="2363"/>
                  </a:lnTo>
                  <a:lnTo>
                    <a:pt x="5474" y="2363"/>
                  </a:lnTo>
                  <a:lnTo>
                    <a:pt x="5474" y="2363"/>
                  </a:lnTo>
                  <a:close/>
                  <a:moveTo>
                    <a:pt x="5462" y="2363"/>
                  </a:moveTo>
                  <a:lnTo>
                    <a:pt x="5469" y="2374"/>
                  </a:lnTo>
                  <a:lnTo>
                    <a:pt x="5462" y="2363"/>
                  </a:lnTo>
                  <a:lnTo>
                    <a:pt x="5462" y="2363"/>
                  </a:lnTo>
                  <a:lnTo>
                    <a:pt x="5462" y="2363"/>
                  </a:lnTo>
                  <a:close/>
                  <a:moveTo>
                    <a:pt x="2306" y="2363"/>
                  </a:moveTo>
                  <a:lnTo>
                    <a:pt x="2322" y="2374"/>
                  </a:lnTo>
                  <a:lnTo>
                    <a:pt x="2318" y="2379"/>
                  </a:lnTo>
                  <a:lnTo>
                    <a:pt x="2306" y="2363"/>
                  </a:lnTo>
                  <a:lnTo>
                    <a:pt x="2306" y="2363"/>
                  </a:lnTo>
                  <a:lnTo>
                    <a:pt x="2306" y="2363"/>
                  </a:lnTo>
                  <a:close/>
                  <a:moveTo>
                    <a:pt x="5192" y="2429"/>
                  </a:moveTo>
                  <a:lnTo>
                    <a:pt x="5200" y="2436"/>
                  </a:lnTo>
                  <a:lnTo>
                    <a:pt x="5192" y="2436"/>
                  </a:lnTo>
                  <a:lnTo>
                    <a:pt x="5192" y="2429"/>
                  </a:lnTo>
                  <a:lnTo>
                    <a:pt x="5192" y="2429"/>
                  </a:lnTo>
                  <a:lnTo>
                    <a:pt x="5192" y="2429"/>
                  </a:lnTo>
                  <a:close/>
                  <a:moveTo>
                    <a:pt x="5204" y="2448"/>
                  </a:moveTo>
                  <a:lnTo>
                    <a:pt x="5221" y="2452"/>
                  </a:lnTo>
                  <a:lnTo>
                    <a:pt x="5192" y="2436"/>
                  </a:lnTo>
                  <a:lnTo>
                    <a:pt x="5204" y="2448"/>
                  </a:lnTo>
                  <a:lnTo>
                    <a:pt x="5204" y="2448"/>
                  </a:lnTo>
                  <a:lnTo>
                    <a:pt x="5204" y="2448"/>
                  </a:lnTo>
                  <a:close/>
                  <a:moveTo>
                    <a:pt x="4070" y="2457"/>
                  </a:moveTo>
                  <a:lnTo>
                    <a:pt x="4066" y="2469"/>
                  </a:lnTo>
                  <a:lnTo>
                    <a:pt x="4049" y="2452"/>
                  </a:lnTo>
                  <a:lnTo>
                    <a:pt x="4070" y="2457"/>
                  </a:lnTo>
                  <a:lnTo>
                    <a:pt x="4070" y="2457"/>
                  </a:lnTo>
                  <a:lnTo>
                    <a:pt x="4070" y="2457"/>
                  </a:lnTo>
                  <a:close/>
                  <a:moveTo>
                    <a:pt x="5523" y="2457"/>
                  </a:moveTo>
                  <a:lnTo>
                    <a:pt x="5528" y="2457"/>
                  </a:lnTo>
                  <a:lnTo>
                    <a:pt x="5507" y="2457"/>
                  </a:lnTo>
                  <a:lnTo>
                    <a:pt x="5523" y="2457"/>
                  </a:lnTo>
                  <a:lnTo>
                    <a:pt x="5523" y="2457"/>
                  </a:lnTo>
                  <a:lnTo>
                    <a:pt x="5523" y="2457"/>
                  </a:lnTo>
                  <a:close/>
                  <a:moveTo>
                    <a:pt x="4000" y="2485"/>
                  </a:moveTo>
                  <a:lnTo>
                    <a:pt x="4016" y="2502"/>
                  </a:lnTo>
                  <a:lnTo>
                    <a:pt x="4016" y="2514"/>
                  </a:lnTo>
                  <a:lnTo>
                    <a:pt x="4054" y="2523"/>
                  </a:lnTo>
                  <a:lnTo>
                    <a:pt x="4044" y="2530"/>
                  </a:lnTo>
                  <a:lnTo>
                    <a:pt x="4011" y="2530"/>
                  </a:lnTo>
                  <a:lnTo>
                    <a:pt x="4016" y="2514"/>
                  </a:lnTo>
                  <a:lnTo>
                    <a:pt x="3990" y="2514"/>
                  </a:lnTo>
                  <a:lnTo>
                    <a:pt x="3990" y="2502"/>
                  </a:lnTo>
                  <a:lnTo>
                    <a:pt x="3974" y="2485"/>
                  </a:lnTo>
                  <a:lnTo>
                    <a:pt x="3962" y="2474"/>
                  </a:lnTo>
                  <a:lnTo>
                    <a:pt x="4000" y="2485"/>
                  </a:lnTo>
                  <a:lnTo>
                    <a:pt x="4000" y="2485"/>
                  </a:lnTo>
                  <a:lnTo>
                    <a:pt x="4000" y="2485"/>
                  </a:lnTo>
                  <a:close/>
                  <a:moveTo>
                    <a:pt x="3936" y="2490"/>
                  </a:moveTo>
                  <a:lnTo>
                    <a:pt x="3957" y="2523"/>
                  </a:lnTo>
                  <a:lnTo>
                    <a:pt x="3945" y="2540"/>
                  </a:lnTo>
                  <a:lnTo>
                    <a:pt x="3919" y="2514"/>
                  </a:lnTo>
                  <a:lnTo>
                    <a:pt x="3919" y="2490"/>
                  </a:lnTo>
                  <a:lnTo>
                    <a:pt x="3936" y="2490"/>
                  </a:lnTo>
                  <a:lnTo>
                    <a:pt x="3936" y="2490"/>
                  </a:lnTo>
                  <a:lnTo>
                    <a:pt x="3936" y="2490"/>
                  </a:lnTo>
                  <a:close/>
                  <a:moveTo>
                    <a:pt x="5528" y="2502"/>
                  </a:moveTo>
                  <a:lnTo>
                    <a:pt x="5528" y="2507"/>
                  </a:lnTo>
                  <a:lnTo>
                    <a:pt x="5523" y="2490"/>
                  </a:lnTo>
                  <a:lnTo>
                    <a:pt x="5528" y="2502"/>
                  </a:lnTo>
                  <a:lnTo>
                    <a:pt x="5528" y="2502"/>
                  </a:lnTo>
                  <a:lnTo>
                    <a:pt x="5528" y="2502"/>
                  </a:lnTo>
                  <a:close/>
                  <a:moveTo>
                    <a:pt x="4264" y="2745"/>
                  </a:moveTo>
                  <a:lnTo>
                    <a:pt x="4205" y="2785"/>
                  </a:lnTo>
                  <a:lnTo>
                    <a:pt x="4134" y="2762"/>
                  </a:lnTo>
                  <a:lnTo>
                    <a:pt x="4104" y="2762"/>
                  </a:lnTo>
                  <a:lnTo>
                    <a:pt x="4104" y="2752"/>
                  </a:lnTo>
                  <a:lnTo>
                    <a:pt x="4108" y="2745"/>
                  </a:lnTo>
                  <a:lnTo>
                    <a:pt x="4108" y="2729"/>
                  </a:lnTo>
                  <a:lnTo>
                    <a:pt x="4066" y="2729"/>
                  </a:lnTo>
                  <a:lnTo>
                    <a:pt x="4054" y="2724"/>
                  </a:lnTo>
                  <a:lnTo>
                    <a:pt x="4070" y="2707"/>
                  </a:lnTo>
                  <a:lnTo>
                    <a:pt x="4066" y="2696"/>
                  </a:lnTo>
                  <a:lnTo>
                    <a:pt x="4028" y="2712"/>
                  </a:lnTo>
                  <a:lnTo>
                    <a:pt x="4016" y="2724"/>
                  </a:lnTo>
                  <a:lnTo>
                    <a:pt x="4028" y="2729"/>
                  </a:lnTo>
                  <a:lnTo>
                    <a:pt x="4028" y="2745"/>
                  </a:lnTo>
                  <a:lnTo>
                    <a:pt x="3978" y="2769"/>
                  </a:lnTo>
                  <a:lnTo>
                    <a:pt x="3957" y="2802"/>
                  </a:lnTo>
                  <a:lnTo>
                    <a:pt x="3910" y="2823"/>
                  </a:lnTo>
                  <a:lnTo>
                    <a:pt x="3886" y="2818"/>
                  </a:lnTo>
                  <a:lnTo>
                    <a:pt x="3881" y="2790"/>
                  </a:lnTo>
                  <a:lnTo>
                    <a:pt x="3886" y="2762"/>
                  </a:lnTo>
                  <a:lnTo>
                    <a:pt x="3881" y="2752"/>
                  </a:lnTo>
                  <a:lnTo>
                    <a:pt x="3818" y="2762"/>
                  </a:lnTo>
                  <a:lnTo>
                    <a:pt x="3796" y="2778"/>
                  </a:lnTo>
                  <a:lnTo>
                    <a:pt x="3773" y="2762"/>
                  </a:lnTo>
                  <a:lnTo>
                    <a:pt x="3796" y="2729"/>
                  </a:lnTo>
                  <a:lnTo>
                    <a:pt x="3839" y="2712"/>
                  </a:lnTo>
                  <a:lnTo>
                    <a:pt x="3834" y="2674"/>
                  </a:lnTo>
                  <a:lnTo>
                    <a:pt x="3834" y="2651"/>
                  </a:lnTo>
                  <a:lnTo>
                    <a:pt x="3848" y="2625"/>
                  </a:lnTo>
                  <a:lnTo>
                    <a:pt x="3839" y="2613"/>
                  </a:lnTo>
                  <a:lnTo>
                    <a:pt x="3848" y="2596"/>
                  </a:lnTo>
                  <a:lnTo>
                    <a:pt x="3848" y="2563"/>
                  </a:lnTo>
                  <a:lnTo>
                    <a:pt x="3855" y="2514"/>
                  </a:lnTo>
                  <a:lnTo>
                    <a:pt x="3893" y="2502"/>
                  </a:lnTo>
                  <a:lnTo>
                    <a:pt x="3893" y="2514"/>
                  </a:lnTo>
                  <a:lnTo>
                    <a:pt x="3919" y="2514"/>
                  </a:lnTo>
                  <a:lnTo>
                    <a:pt x="3924" y="2530"/>
                  </a:lnTo>
                  <a:lnTo>
                    <a:pt x="3903" y="2540"/>
                  </a:lnTo>
                  <a:lnTo>
                    <a:pt x="3924" y="2556"/>
                  </a:lnTo>
                  <a:lnTo>
                    <a:pt x="3936" y="2580"/>
                  </a:lnTo>
                  <a:lnTo>
                    <a:pt x="3941" y="2580"/>
                  </a:lnTo>
                  <a:lnTo>
                    <a:pt x="3957" y="2547"/>
                  </a:lnTo>
                  <a:lnTo>
                    <a:pt x="3962" y="2556"/>
                  </a:lnTo>
                  <a:lnTo>
                    <a:pt x="3990" y="2563"/>
                  </a:lnTo>
                  <a:lnTo>
                    <a:pt x="3978" y="2568"/>
                  </a:lnTo>
                  <a:lnTo>
                    <a:pt x="3990" y="2580"/>
                  </a:lnTo>
                  <a:lnTo>
                    <a:pt x="4044" y="2585"/>
                  </a:lnTo>
                  <a:lnTo>
                    <a:pt x="4054" y="2613"/>
                  </a:lnTo>
                  <a:lnTo>
                    <a:pt x="4125" y="2641"/>
                  </a:lnTo>
                  <a:lnTo>
                    <a:pt x="4158" y="2667"/>
                  </a:lnTo>
                  <a:lnTo>
                    <a:pt x="4158" y="2691"/>
                  </a:lnTo>
                  <a:lnTo>
                    <a:pt x="4163" y="2707"/>
                  </a:lnTo>
                  <a:lnTo>
                    <a:pt x="4141" y="2724"/>
                  </a:lnTo>
                  <a:lnTo>
                    <a:pt x="4179" y="2712"/>
                  </a:lnTo>
                  <a:lnTo>
                    <a:pt x="4210" y="2724"/>
                  </a:lnTo>
                  <a:lnTo>
                    <a:pt x="4210" y="2712"/>
                  </a:lnTo>
                  <a:lnTo>
                    <a:pt x="4217" y="2707"/>
                  </a:lnTo>
                  <a:lnTo>
                    <a:pt x="4243" y="2724"/>
                  </a:lnTo>
                  <a:lnTo>
                    <a:pt x="4243" y="2729"/>
                  </a:lnTo>
                  <a:lnTo>
                    <a:pt x="4243" y="2736"/>
                  </a:lnTo>
                  <a:lnTo>
                    <a:pt x="4264" y="2745"/>
                  </a:lnTo>
                  <a:lnTo>
                    <a:pt x="4264" y="2745"/>
                  </a:lnTo>
                  <a:lnTo>
                    <a:pt x="4264" y="2745"/>
                  </a:lnTo>
                  <a:close/>
                  <a:moveTo>
                    <a:pt x="4044" y="2507"/>
                  </a:moveTo>
                  <a:lnTo>
                    <a:pt x="4028" y="2507"/>
                  </a:lnTo>
                  <a:lnTo>
                    <a:pt x="4049" y="2507"/>
                  </a:lnTo>
                  <a:lnTo>
                    <a:pt x="4044" y="2507"/>
                  </a:lnTo>
                  <a:lnTo>
                    <a:pt x="4044" y="2507"/>
                  </a:lnTo>
                  <a:lnTo>
                    <a:pt x="4044" y="2507"/>
                  </a:lnTo>
                  <a:close/>
                  <a:moveTo>
                    <a:pt x="5523" y="2523"/>
                  </a:moveTo>
                  <a:lnTo>
                    <a:pt x="5528" y="2530"/>
                  </a:lnTo>
                  <a:lnTo>
                    <a:pt x="5523" y="2530"/>
                  </a:lnTo>
                  <a:lnTo>
                    <a:pt x="5507" y="2523"/>
                  </a:lnTo>
                  <a:lnTo>
                    <a:pt x="5523" y="2523"/>
                  </a:lnTo>
                  <a:lnTo>
                    <a:pt x="5523" y="2523"/>
                  </a:lnTo>
                  <a:lnTo>
                    <a:pt x="5523" y="2523"/>
                  </a:lnTo>
                  <a:close/>
                  <a:moveTo>
                    <a:pt x="5485" y="2530"/>
                  </a:moveTo>
                  <a:lnTo>
                    <a:pt x="5490" y="2540"/>
                  </a:lnTo>
                  <a:lnTo>
                    <a:pt x="5474" y="2540"/>
                  </a:lnTo>
                  <a:lnTo>
                    <a:pt x="5485" y="2530"/>
                  </a:lnTo>
                  <a:lnTo>
                    <a:pt x="5485" y="2530"/>
                  </a:lnTo>
                  <a:lnTo>
                    <a:pt x="5485" y="2530"/>
                  </a:lnTo>
                  <a:close/>
                  <a:moveTo>
                    <a:pt x="5452" y="2568"/>
                  </a:moveTo>
                  <a:lnTo>
                    <a:pt x="5462" y="2568"/>
                  </a:lnTo>
                  <a:lnTo>
                    <a:pt x="5448" y="2568"/>
                  </a:lnTo>
                  <a:lnTo>
                    <a:pt x="5452" y="2568"/>
                  </a:lnTo>
                  <a:lnTo>
                    <a:pt x="5452" y="2568"/>
                  </a:lnTo>
                  <a:lnTo>
                    <a:pt x="5452" y="2568"/>
                  </a:lnTo>
                  <a:close/>
                  <a:moveTo>
                    <a:pt x="5448" y="2613"/>
                  </a:moveTo>
                  <a:lnTo>
                    <a:pt x="5452" y="2618"/>
                  </a:lnTo>
                  <a:lnTo>
                    <a:pt x="5436" y="2613"/>
                  </a:lnTo>
                  <a:lnTo>
                    <a:pt x="5448" y="2613"/>
                  </a:lnTo>
                  <a:lnTo>
                    <a:pt x="5448" y="2613"/>
                  </a:lnTo>
                  <a:lnTo>
                    <a:pt x="5448" y="2613"/>
                  </a:lnTo>
                  <a:close/>
                  <a:moveTo>
                    <a:pt x="5313" y="2641"/>
                  </a:moveTo>
                  <a:lnTo>
                    <a:pt x="5313" y="2651"/>
                  </a:lnTo>
                  <a:lnTo>
                    <a:pt x="5301" y="2667"/>
                  </a:lnTo>
                  <a:lnTo>
                    <a:pt x="5285" y="2667"/>
                  </a:lnTo>
                  <a:lnTo>
                    <a:pt x="5301" y="2641"/>
                  </a:lnTo>
                  <a:lnTo>
                    <a:pt x="5313" y="2641"/>
                  </a:lnTo>
                  <a:lnTo>
                    <a:pt x="5313" y="2641"/>
                  </a:lnTo>
                  <a:lnTo>
                    <a:pt x="5313" y="2641"/>
                  </a:lnTo>
                  <a:close/>
                  <a:moveTo>
                    <a:pt x="4734" y="2658"/>
                  </a:moveTo>
                  <a:lnTo>
                    <a:pt x="4729" y="2679"/>
                  </a:lnTo>
                  <a:lnTo>
                    <a:pt x="4718" y="2679"/>
                  </a:lnTo>
                  <a:lnTo>
                    <a:pt x="4729" y="2667"/>
                  </a:lnTo>
                  <a:lnTo>
                    <a:pt x="4718" y="2658"/>
                  </a:lnTo>
                  <a:lnTo>
                    <a:pt x="4734" y="2658"/>
                  </a:lnTo>
                  <a:lnTo>
                    <a:pt x="4734" y="2658"/>
                  </a:lnTo>
                  <a:lnTo>
                    <a:pt x="4734" y="2658"/>
                  </a:lnTo>
                  <a:close/>
                  <a:moveTo>
                    <a:pt x="4680" y="2658"/>
                  </a:moveTo>
                  <a:lnTo>
                    <a:pt x="4692" y="2667"/>
                  </a:lnTo>
                  <a:lnTo>
                    <a:pt x="4675" y="2658"/>
                  </a:lnTo>
                  <a:lnTo>
                    <a:pt x="4680" y="2658"/>
                  </a:lnTo>
                  <a:lnTo>
                    <a:pt x="4680" y="2658"/>
                  </a:lnTo>
                  <a:lnTo>
                    <a:pt x="4680" y="2658"/>
                  </a:lnTo>
                  <a:close/>
                  <a:moveTo>
                    <a:pt x="4718" y="2667"/>
                  </a:moveTo>
                  <a:lnTo>
                    <a:pt x="4713" y="2674"/>
                  </a:lnTo>
                  <a:lnTo>
                    <a:pt x="4718" y="2667"/>
                  </a:lnTo>
                  <a:lnTo>
                    <a:pt x="4718" y="2667"/>
                  </a:lnTo>
                  <a:lnTo>
                    <a:pt x="4718" y="2667"/>
                  </a:lnTo>
                  <a:close/>
                  <a:moveTo>
                    <a:pt x="4675" y="2667"/>
                  </a:moveTo>
                  <a:lnTo>
                    <a:pt x="4692" y="2674"/>
                  </a:lnTo>
                  <a:lnTo>
                    <a:pt x="4663" y="2667"/>
                  </a:lnTo>
                  <a:lnTo>
                    <a:pt x="4675" y="2667"/>
                  </a:lnTo>
                  <a:lnTo>
                    <a:pt x="4675" y="2667"/>
                  </a:lnTo>
                  <a:lnTo>
                    <a:pt x="4675" y="2667"/>
                  </a:lnTo>
                  <a:close/>
                  <a:moveTo>
                    <a:pt x="5339" y="2674"/>
                  </a:moveTo>
                  <a:lnTo>
                    <a:pt x="5344" y="2679"/>
                  </a:lnTo>
                  <a:lnTo>
                    <a:pt x="5339" y="2691"/>
                  </a:lnTo>
                  <a:lnTo>
                    <a:pt x="5327" y="2674"/>
                  </a:lnTo>
                  <a:lnTo>
                    <a:pt x="5339" y="2674"/>
                  </a:lnTo>
                  <a:lnTo>
                    <a:pt x="5339" y="2674"/>
                  </a:lnTo>
                  <a:lnTo>
                    <a:pt x="5339" y="2674"/>
                  </a:lnTo>
                  <a:close/>
                  <a:moveTo>
                    <a:pt x="4718" y="2674"/>
                  </a:moveTo>
                  <a:lnTo>
                    <a:pt x="4718" y="2691"/>
                  </a:lnTo>
                  <a:lnTo>
                    <a:pt x="4713" y="2679"/>
                  </a:lnTo>
                  <a:lnTo>
                    <a:pt x="4718" y="2674"/>
                  </a:lnTo>
                  <a:lnTo>
                    <a:pt x="4718" y="2674"/>
                  </a:lnTo>
                  <a:lnTo>
                    <a:pt x="4718" y="2674"/>
                  </a:lnTo>
                  <a:close/>
                  <a:moveTo>
                    <a:pt x="4701" y="2679"/>
                  </a:moveTo>
                  <a:lnTo>
                    <a:pt x="4701" y="2691"/>
                  </a:lnTo>
                  <a:lnTo>
                    <a:pt x="4701" y="2679"/>
                  </a:lnTo>
                  <a:lnTo>
                    <a:pt x="4701" y="2679"/>
                  </a:lnTo>
                  <a:lnTo>
                    <a:pt x="4701" y="2679"/>
                  </a:lnTo>
                  <a:close/>
                  <a:moveTo>
                    <a:pt x="5327" y="2679"/>
                  </a:moveTo>
                  <a:lnTo>
                    <a:pt x="5339" y="2691"/>
                  </a:lnTo>
                  <a:lnTo>
                    <a:pt x="5327" y="2696"/>
                  </a:lnTo>
                  <a:lnTo>
                    <a:pt x="5322" y="2679"/>
                  </a:lnTo>
                  <a:lnTo>
                    <a:pt x="5327" y="2679"/>
                  </a:lnTo>
                  <a:lnTo>
                    <a:pt x="5327" y="2679"/>
                  </a:lnTo>
                  <a:lnTo>
                    <a:pt x="5327" y="2679"/>
                  </a:lnTo>
                  <a:close/>
                  <a:moveTo>
                    <a:pt x="4583" y="2679"/>
                  </a:moveTo>
                  <a:lnTo>
                    <a:pt x="4595" y="2679"/>
                  </a:lnTo>
                  <a:lnTo>
                    <a:pt x="4583" y="2691"/>
                  </a:lnTo>
                  <a:lnTo>
                    <a:pt x="4583" y="2679"/>
                  </a:lnTo>
                  <a:lnTo>
                    <a:pt x="4583" y="2679"/>
                  </a:lnTo>
                  <a:lnTo>
                    <a:pt x="4583" y="2679"/>
                  </a:lnTo>
                  <a:close/>
                  <a:moveTo>
                    <a:pt x="5360" y="2691"/>
                  </a:moveTo>
                  <a:lnTo>
                    <a:pt x="5365" y="2696"/>
                  </a:lnTo>
                  <a:lnTo>
                    <a:pt x="5355" y="2691"/>
                  </a:lnTo>
                  <a:lnTo>
                    <a:pt x="5360" y="2691"/>
                  </a:lnTo>
                  <a:lnTo>
                    <a:pt x="5360" y="2691"/>
                  </a:lnTo>
                  <a:lnTo>
                    <a:pt x="5360" y="2691"/>
                  </a:lnTo>
                  <a:close/>
                  <a:moveTo>
                    <a:pt x="5365" y="2707"/>
                  </a:moveTo>
                  <a:lnTo>
                    <a:pt x="5360" y="2707"/>
                  </a:lnTo>
                  <a:lnTo>
                    <a:pt x="5365" y="2707"/>
                  </a:lnTo>
                  <a:lnTo>
                    <a:pt x="5365" y="2707"/>
                  </a:lnTo>
                  <a:lnTo>
                    <a:pt x="5365" y="2707"/>
                  </a:lnTo>
                  <a:close/>
                  <a:moveTo>
                    <a:pt x="5327" y="2707"/>
                  </a:moveTo>
                  <a:lnTo>
                    <a:pt x="5339" y="2712"/>
                  </a:lnTo>
                  <a:lnTo>
                    <a:pt x="5327" y="2707"/>
                  </a:lnTo>
                  <a:lnTo>
                    <a:pt x="5327" y="2707"/>
                  </a:lnTo>
                  <a:lnTo>
                    <a:pt x="5327" y="2707"/>
                  </a:lnTo>
                  <a:close/>
                  <a:moveTo>
                    <a:pt x="4444" y="2724"/>
                  </a:moveTo>
                  <a:lnTo>
                    <a:pt x="4432" y="2729"/>
                  </a:lnTo>
                  <a:lnTo>
                    <a:pt x="4422" y="2724"/>
                  </a:lnTo>
                  <a:lnTo>
                    <a:pt x="4448" y="2724"/>
                  </a:lnTo>
                  <a:lnTo>
                    <a:pt x="4444" y="2724"/>
                  </a:lnTo>
                  <a:lnTo>
                    <a:pt x="4444" y="2724"/>
                  </a:lnTo>
                  <a:lnTo>
                    <a:pt x="4444" y="2724"/>
                  </a:lnTo>
                  <a:close/>
                  <a:moveTo>
                    <a:pt x="5360" y="2736"/>
                  </a:moveTo>
                  <a:lnTo>
                    <a:pt x="5360" y="2745"/>
                  </a:lnTo>
                  <a:lnTo>
                    <a:pt x="5365" y="2745"/>
                  </a:lnTo>
                  <a:lnTo>
                    <a:pt x="5377" y="2752"/>
                  </a:lnTo>
                  <a:lnTo>
                    <a:pt x="5339" y="2745"/>
                  </a:lnTo>
                  <a:lnTo>
                    <a:pt x="5360" y="2736"/>
                  </a:lnTo>
                  <a:lnTo>
                    <a:pt x="5360" y="2736"/>
                  </a:lnTo>
                  <a:lnTo>
                    <a:pt x="5360" y="2736"/>
                  </a:lnTo>
                  <a:close/>
                  <a:moveTo>
                    <a:pt x="5377" y="2736"/>
                  </a:moveTo>
                  <a:lnTo>
                    <a:pt x="5393" y="2736"/>
                  </a:lnTo>
                  <a:lnTo>
                    <a:pt x="5393" y="2745"/>
                  </a:lnTo>
                  <a:lnTo>
                    <a:pt x="5377" y="2736"/>
                  </a:lnTo>
                  <a:lnTo>
                    <a:pt x="5377" y="2736"/>
                  </a:lnTo>
                  <a:lnTo>
                    <a:pt x="5377" y="2736"/>
                  </a:lnTo>
                  <a:close/>
                  <a:moveTo>
                    <a:pt x="5377" y="2745"/>
                  </a:moveTo>
                  <a:lnTo>
                    <a:pt x="5381" y="2752"/>
                  </a:lnTo>
                  <a:lnTo>
                    <a:pt x="5377" y="2752"/>
                  </a:lnTo>
                  <a:lnTo>
                    <a:pt x="5377" y="2745"/>
                  </a:lnTo>
                  <a:lnTo>
                    <a:pt x="5377" y="2745"/>
                  </a:lnTo>
                  <a:lnTo>
                    <a:pt x="5377" y="2745"/>
                  </a:lnTo>
                  <a:close/>
                  <a:moveTo>
                    <a:pt x="4789" y="2752"/>
                  </a:moveTo>
                  <a:lnTo>
                    <a:pt x="4798" y="2752"/>
                  </a:lnTo>
                  <a:lnTo>
                    <a:pt x="4789" y="2752"/>
                  </a:lnTo>
                  <a:lnTo>
                    <a:pt x="4789" y="2752"/>
                  </a:lnTo>
                  <a:lnTo>
                    <a:pt x="4789" y="2752"/>
                  </a:lnTo>
                  <a:close/>
                  <a:moveTo>
                    <a:pt x="4512" y="2785"/>
                  </a:moveTo>
                  <a:lnTo>
                    <a:pt x="4519" y="2785"/>
                  </a:lnTo>
                  <a:lnTo>
                    <a:pt x="4512" y="2790"/>
                  </a:lnTo>
                  <a:lnTo>
                    <a:pt x="4486" y="2790"/>
                  </a:lnTo>
                  <a:lnTo>
                    <a:pt x="4460" y="2762"/>
                  </a:lnTo>
                  <a:lnTo>
                    <a:pt x="4481" y="2762"/>
                  </a:lnTo>
                  <a:lnTo>
                    <a:pt x="4512" y="2769"/>
                  </a:lnTo>
                  <a:lnTo>
                    <a:pt x="4512" y="2785"/>
                  </a:lnTo>
                  <a:lnTo>
                    <a:pt x="4512" y="2785"/>
                  </a:lnTo>
                  <a:lnTo>
                    <a:pt x="4512" y="2785"/>
                  </a:lnTo>
                  <a:close/>
                  <a:moveTo>
                    <a:pt x="5377" y="2762"/>
                  </a:moveTo>
                  <a:lnTo>
                    <a:pt x="5381" y="2785"/>
                  </a:lnTo>
                  <a:lnTo>
                    <a:pt x="5398" y="2807"/>
                  </a:lnTo>
                  <a:lnTo>
                    <a:pt x="5365" y="2785"/>
                  </a:lnTo>
                  <a:lnTo>
                    <a:pt x="5365" y="2769"/>
                  </a:lnTo>
                  <a:lnTo>
                    <a:pt x="5377" y="2762"/>
                  </a:lnTo>
                  <a:lnTo>
                    <a:pt x="5377" y="2762"/>
                  </a:lnTo>
                  <a:lnTo>
                    <a:pt x="5377" y="2762"/>
                  </a:lnTo>
                  <a:close/>
                  <a:moveTo>
                    <a:pt x="5393" y="2762"/>
                  </a:moveTo>
                  <a:lnTo>
                    <a:pt x="5393" y="2785"/>
                  </a:lnTo>
                  <a:lnTo>
                    <a:pt x="5381" y="2769"/>
                  </a:lnTo>
                  <a:lnTo>
                    <a:pt x="5393" y="2762"/>
                  </a:lnTo>
                  <a:lnTo>
                    <a:pt x="5393" y="2762"/>
                  </a:lnTo>
                  <a:lnTo>
                    <a:pt x="5393" y="2762"/>
                  </a:lnTo>
                  <a:close/>
                  <a:moveTo>
                    <a:pt x="3470" y="2769"/>
                  </a:moveTo>
                  <a:lnTo>
                    <a:pt x="3487" y="2769"/>
                  </a:lnTo>
                  <a:lnTo>
                    <a:pt x="3470" y="2769"/>
                  </a:lnTo>
                  <a:lnTo>
                    <a:pt x="3470" y="2769"/>
                  </a:lnTo>
                  <a:lnTo>
                    <a:pt x="3470" y="2769"/>
                  </a:lnTo>
                  <a:close/>
                  <a:moveTo>
                    <a:pt x="4822" y="2769"/>
                  </a:moveTo>
                  <a:lnTo>
                    <a:pt x="4826" y="2778"/>
                  </a:lnTo>
                  <a:lnTo>
                    <a:pt x="4822" y="2778"/>
                  </a:lnTo>
                  <a:lnTo>
                    <a:pt x="4822" y="2769"/>
                  </a:lnTo>
                  <a:lnTo>
                    <a:pt x="4822" y="2769"/>
                  </a:lnTo>
                  <a:lnTo>
                    <a:pt x="4822" y="2769"/>
                  </a:lnTo>
                  <a:close/>
                  <a:moveTo>
                    <a:pt x="5339" y="2778"/>
                  </a:moveTo>
                  <a:lnTo>
                    <a:pt x="5339" y="2790"/>
                  </a:lnTo>
                  <a:lnTo>
                    <a:pt x="5327" y="2778"/>
                  </a:lnTo>
                  <a:lnTo>
                    <a:pt x="5339" y="2778"/>
                  </a:lnTo>
                  <a:lnTo>
                    <a:pt x="5339" y="2778"/>
                  </a:lnTo>
                  <a:lnTo>
                    <a:pt x="5339" y="2778"/>
                  </a:lnTo>
                  <a:close/>
                  <a:moveTo>
                    <a:pt x="4406" y="2778"/>
                  </a:moveTo>
                  <a:lnTo>
                    <a:pt x="4444" y="2785"/>
                  </a:lnTo>
                  <a:lnTo>
                    <a:pt x="4448" y="2807"/>
                  </a:lnTo>
                  <a:lnTo>
                    <a:pt x="4422" y="2823"/>
                  </a:lnTo>
                  <a:lnTo>
                    <a:pt x="4378" y="2785"/>
                  </a:lnTo>
                  <a:lnTo>
                    <a:pt x="4406" y="2778"/>
                  </a:lnTo>
                  <a:lnTo>
                    <a:pt x="4406" y="2778"/>
                  </a:lnTo>
                  <a:lnTo>
                    <a:pt x="4406" y="2778"/>
                  </a:lnTo>
                  <a:close/>
                  <a:moveTo>
                    <a:pt x="5129" y="2807"/>
                  </a:moveTo>
                  <a:lnTo>
                    <a:pt x="5138" y="2818"/>
                  </a:lnTo>
                  <a:lnTo>
                    <a:pt x="5129" y="2807"/>
                  </a:lnTo>
                  <a:lnTo>
                    <a:pt x="5129" y="2807"/>
                  </a:lnTo>
                  <a:lnTo>
                    <a:pt x="5129" y="2807"/>
                  </a:lnTo>
                  <a:close/>
                  <a:moveTo>
                    <a:pt x="5192" y="2823"/>
                  </a:moveTo>
                  <a:lnTo>
                    <a:pt x="5200" y="2840"/>
                  </a:lnTo>
                  <a:lnTo>
                    <a:pt x="5183" y="2823"/>
                  </a:lnTo>
                  <a:lnTo>
                    <a:pt x="5192" y="2823"/>
                  </a:lnTo>
                  <a:lnTo>
                    <a:pt x="5192" y="2823"/>
                  </a:lnTo>
                  <a:lnTo>
                    <a:pt x="5192" y="2823"/>
                  </a:lnTo>
                  <a:close/>
                  <a:moveTo>
                    <a:pt x="4125" y="2840"/>
                  </a:moveTo>
                  <a:lnTo>
                    <a:pt x="4151" y="2847"/>
                  </a:lnTo>
                  <a:lnTo>
                    <a:pt x="4141" y="2873"/>
                  </a:lnTo>
                  <a:lnTo>
                    <a:pt x="4066" y="2929"/>
                  </a:lnTo>
                  <a:lnTo>
                    <a:pt x="4044" y="2918"/>
                  </a:lnTo>
                  <a:lnTo>
                    <a:pt x="4016" y="2934"/>
                  </a:lnTo>
                  <a:lnTo>
                    <a:pt x="4016" y="2913"/>
                  </a:lnTo>
                  <a:lnTo>
                    <a:pt x="4000" y="2901"/>
                  </a:lnTo>
                  <a:lnTo>
                    <a:pt x="4044" y="2847"/>
                  </a:lnTo>
                  <a:lnTo>
                    <a:pt x="4066" y="2856"/>
                  </a:lnTo>
                  <a:lnTo>
                    <a:pt x="4125" y="2840"/>
                  </a:lnTo>
                  <a:lnTo>
                    <a:pt x="4125" y="2840"/>
                  </a:lnTo>
                  <a:lnTo>
                    <a:pt x="4125" y="2840"/>
                  </a:lnTo>
                  <a:close/>
                  <a:moveTo>
                    <a:pt x="5221" y="2847"/>
                  </a:moveTo>
                  <a:lnTo>
                    <a:pt x="5237" y="2856"/>
                  </a:lnTo>
                  <a:lnTo>
                    <a:pt x="5221" y="2847"/>
                  </a:lnTo>
                  <a:lnTo>
                    <a:pt x="5221" y="2847"/>
                  </a:lnTo>
                  <a:lnTo>
                    <a:pt x="5221" y="2847"/>
                  </a:lnTo>
                  <a:close/>
                  <a:moveTo>
                    <a:pt x="4935" y="2863"/>
                  </a:moveTo>
                  <a:lnTo>
                    <a:pt x="4966" y="2880"/>
                  </a:lnTo>
                  <a:lnTo>
                    <a:pt x="4928" y="2889"/>
                  </a:lnTo>
                  <a:lnTo>
                    <a:pt x="4918" y="2863"/>
                  </a:lnTo>
                  <a:lnTo>
                    <a:pt x="4897" y="2856"/>
                  </a:lnTo>
                  <a:lnTo>
                    <a:pt x="4890" y="2847"/>
                  </a:lnTo>
                  <a:lnTo>
                    <a:pt x="4935" y="2863"/>
                  </a:lnTo>
                  <a:lnTo>
                    <a:pt x="4935" y="2863"/>
                  </a:lnTo>
                  <a:lnTo>
                    <a:pt x="4935" y="2863"/>
                  </a:lnTo>
                  <a:close/>
                  <a:moveTo>
                    <a:pt x="4663" y="2863"/>
                  </a:moveTo>
                  <a:lnTo>
                    <a:pt x="4701" y="2880"/>
                  </a:lnTo>
                  <a:lnTo>
                    <a:pt x="4649" y="2863"/>
                  </a:lnTo>
                  <a:lnTo>
                    <a:pt x="4663" y="2863"/>
                  </a:lnTo>
                  <a:lnTo>
                    <a:pt x="4663" y="2863"/>
                  </a:lnTo>
                  <a:lnTo>
                    <a:pt x="4663" y="2863"/>
                  </a:lnTo>
                  <a:close/>
                  <a:moveTo>
                    <a:pt x="4432" y="2880"/>
                  </a:moveTo>
                  <a:lnTo>
                    <a:pt x="4444" y="2880"/>
                  </a:lnTo>
                  <a:lnTo>
                    <a:pt x="4432" y="2889"/>
                  </a:lnTo>
                  <a:lnTo>
                    <a:pt x="4432" y="2880"/>
                  </a:lnTo>
                  <a:lnTo>
                    <a:pt x="4432" y="2880"/>
                  </a:lnTo>
                  <a:lnTo>
                    <a:pt x="4432" y="2880"/>
                  </a:lnTo>
                  <a:close/>
                  <a:moveTo>
                    <a:pt x="4422" y="2880"/>
                  </a:moveTo>
                  <a:lnTo>
                    <a:pt x="4427" y="2889"/>
                  </a:lnTo>
                  <a:lnTo>
                    <a:pt x="4411" y="2889"/>
                  </a:lnTo>
                  <a:lnTo>
                    <a:pt x="4422" y="2880"/>
                  </a:lnTo>
                  <a:lnTo>
                    <a:pt x="4422" y="2880"/>
                  </a:lnTo>
                  <a:lnTo>
                    <a:pt x="4422" y="2880"/>
                  </a:lnTo>
                  <a:close/>
                  <a:moveTo>
                    <a:pt x="5377" y="2889"/>
                  </a:moveTo>
                  <a:lnTo>
                    <a:pt x="5360" y="2901"/>
                  </a:lnTo>
                  <a:lnTo>
                    <a:pt x="5327" y="2896"/>
                  </a:lnTo>
                  <a:lnTo>
                    <a:pt x="5344" y="2889"/>
                  </a:lnTo>
                  <a:lnTo>
                    <a:pt x="5377" y="2889"/>
                  </a:lnTo>
                  <a:lnTo>
                    <a:pt x="5377" y="2889"/>
                  </a:lnTo>
                  <a:lnTo>
                    <a:pt x="5377" y="2889"/>
                  </a:lnTo>
                  <a:close/>
                  <a:moveTo>
                    <a:pt x="4314" y="2967"/>
                  </a:moveTo>
                  <a:lnTo>
                    <a:pt x="4302" y="2991"/>
                  </a:lnTo>
                  <a:lnTo>
                    <a:pt x="4285" y="3000"/>
                  </a:lnTo>
                  <a:lnTo>
                    <a:pt x="4259" y="2967"/>
                  </a:lnTo>
                  <a:lnTo>
                    <a:pt x="4259" y="2934"/>
                  </a:lnTo>
                  <a:lnTo>
                    <a:pt x="4281" y="2901"/>
                  </a:lnTo>
                  <a:lnTo>
                    <a:pt x="4318" y="2901"/>
                  </a:lnTo>
                  <a:lnTo>
                    <a:pt x="4323" y="2918"/>
                  </a:lnTo>
                  <a:lnTo>
                    <a:pt x="4323" y="2929"/>
                  </a:lnTo>
                  <a:lnTo>
                    <a:pt x="4314" y="2967"/>
                  </a:lnTo>
                  <a:lnTo>
                    <a:pt x="4314" y="2967"/>
                  </a:lnTo>
                  <a:lnTo>
                    <a:pt x="4314" y="2967"/>
                  </a:lnTo>
                  <a:close/>
                  <a:moveTo>
                    <a:pt x="5268" y="2934"/>
                  </a:moveTo>
                  <a:lnTo>
                    <a:pt x="5259" y="2934"/>
                  </a:lnTo>
                  <a:lnTo>
                    <a:pt x="5268" y="2929"/>
                  </a:lnTo>
                  <a:lnTo>
                    <a:pt x="5268" y="2934"/>
                  </a:lnTo>
                  <a:lnTo>
                    <a:pt x="5268" y="2934"/>
                  </a:lnTo>
                  <a:lnTo>
                    <a:pt x="5268" y="2934"/>
                  </a:lnTo>
                  <a:close/>
                  <a:moveTo>
                    <a:pt x="5322" y="2955"/>
                  </a:moveTo>
                  <a:lnTo>
                    <a:pt x="5344" y="2974"/>
                  </a:lnTo>
                  <a:lnTo>
                    <a:pt x="5339" y="2974"/>
                  </a:lnTo>
                  <a:lnTo>
                    <a:pt x="5313" y="2955"/>
                  </a:lnTo>
                  <a:lnTo>
                    <a:pt x="5313" y="2951"/>
                  </a:lnTo>
                  <a:lnTo>
                    <a:pt x="5322" y="2955"/>
                  </a:lnTo>
                  <a:lnTo>
                    <a:pt x="5322" y="2955"/>
                  </a:lnTo>
                  <a:lnTo>
                    <a:pt x="5322" y="2955"/>
                  </a:lnTo>
                  <a:close/>
                  <a:moveTo>
                    <a:pt x="3364" y="2967"/>
                  </a:moveTo>
                  <a:lnTo>
                    <a:pt x="3352" y="2955"/>
                  </a:lnTo>
                  <a:lnTo>
                    <a:pt x="3369" y="2955"/>
                  </a:lnTo>
                  <a:lnTo>
                    <a:pt x="3364" y="2967"/>
                  </a:lnTo>
                  <a:lnTo>
                    <a:pt x="3364" y="2967"/>
                  </a:lnTo>
                  <a:lnTo>
                    <a:pt x="3364" y="2967"/>
                  </a:lnTo>
                  <a:close/>
                  <a:moveTo>
                    <a:pt x="5285" y="2967"/>
                  </a:moveTo>
                  <a:lnTo>
                    <a:pt x="5285" y="2974"/>
                  </a:lnTo>
                  <a:lnTo>
                    <a:pt x="5259" y="2974"/>
                  </a:lnTo>
                  <a:lnTo>
                    <a:pt x="5285" y="2967"/>
                  </a:lnTo>
                  <a:lnTo>
                    <a:pt x="5285" y="2967"/>
                  </a:lnTo>
                  <a:lnTo>
                    <a:pt x="5285" y="2967"/>
                  </a:lnTo>
                  <a:close/>
                  <a:moveTo>
                    <a:pt x="5355" y="2991"/>
                  </a:moveTo>
                  <a:lnTo>
                    <a:pt x="5355" y="3000"/>
                  </a:lnTo>
                  <a:lnTo>
                    <a:pt x="5355" y="3007"/>
                  </a:lnTo>
                  <a:lnTo>
                    <a:pt x="5339" y="3024"/>
                  </a:lnTo>
                  <a:lnTo>
                    <a:pt x="5301" y="2991"/>
                  </a:lnTo>
                  <a:lnTo>
                    <a:pt x="5327" y="2984"/>
                  </a:lnTo>
                  <a:lnTo>
                    <a:pt x="5355" y="2991"/>
                  </a:lnTo>
                  <a:lnTo>
                    <a:pt x="5355" y="2991"/>
                  </a:lnTo>
                  <a:lnTo>
                    <a:pt x="5355" y="2991"/>
                  </a:lnTo>
                  <a:close/>
                  <a:moveTo>
                    <a:pt x="4982" y="3057"/>
                  </a:moveTo>
                  <a:lnTo>
                    <a:pt x="4982" y="3062"/>
                  </a:lnTo>
                  <a:lnTo>
                    <a:pt x="4973" y="3057"/>
                  </a:lnTo>
                  <a:lnTo>
                    <a:pt x="4982" y="3057"/>
                  </a:lnTo>
                  <a:lnTo>
                    <a:pt x="4982" y="3057"/>
                  </a:lnTo>
                  <a:lnTo>
                    <a:pt x="4982" y="3057"/>
                  </a:lnTo>
                  <a:close/>
                  <a:moveTo>
                    <a:pt x="5124" y="3111"/>
                  </a:moveTo>
                  <a:lnTo>
                    <a:pt x="5138" y="3118"/>
                  </a:lnTo>
                  <a:lnTo>
                    <a:pt x="5129" y="3123"/>
                  </a:lnTo>
                  <a:lnTo>
                    <a:pt x="5091" y="3140"/>
                  </a:lnTo>
                  <a:lnTo>
                    <a:pt x="5112" y="3100"/>
                  </a:lnTo>
                  <a:lnTo>
                    <a:pt x="5124" y="3111"/>
                  </a:lnTo>
                  <a:lnTo>
                    <a:pt x="5124" y="3111"/>
                  </a:lnTo>
                  <a:lnTo>
                    <a:pt x="5124" y="3111"/>
                  </a:lnTo>
                  <a:close/>
                  <a:moveTo>
                    <a:pt x="5365" y="3123"/>
                  </a:moveTo>
                  <a:lnTo>
                    <a:pt x="5365" y="3135"/>
                  </a:lnTo>
                  <a:lnTo>
                    <a:pt x="5339" y="3118"/>
                  </a:lnTo>
                  <a:lnTo>
                    <a:pt x="5355" y="3118"/>
                  </a:lnTo>
                  <a:lnTo>
                    <a:pt x="5365" y="3123"/>
                  </a:lnTo>
                  <a:lnTo>
                    <a:pt x="5365" y="3123"/>
                  </a:lnTo>
                  <a:lnTo>
                    <a:pt x="5365" y="3123"/>
                  </a:lnTo>
                  <a:close/>
                  <a:moveTo>
                    <a:pt x="4281" y="3177"/>
                  </a:moveTo>
                  <a:lnTo>
                    <a:pt x="4281" y="3189"/>
                  </a:lnTo>
                  <a:lnTo>
                    <a:pt x="4264" y="3194"/>
                  </a:lnTo>
                  <a:lnTo>
                    <a:pt x="4281" y="3177"/>
                  </a:lnTo>
                  <a:lnTo>
                    <a:pt x="4281" y="3177"/>
                  </a:lnTo>
                  <a:lnTo>
                    <a:pt x="4281" y="3177"/>
                  </a:lnTo>
                  <a:close/>
                  <a:moveTo>
                    <a:pt x="5398" y="3177"/>
                  </a:moveTo>
                  <a:lnTo>
                    <a:pt x="5398" y="3194"/>
                  </a:lnTo>
                  <a:lnTo>
                    <a:pt x="5381" y="3194"/>
                  </a:lnTo>
                  <a:lnTo>
                    <a:pt x="5398" y="3177"/>
                  </a:lnTo>
                  <a:lnTo>
                    <a:pt x="5398" y="3177"/>
                  </a:lnTo>
                  <a:lnTo>
                    <a:pt x="5398" y="3177"/>
                  </a:lnTo>
                  <a:close/>
                  <a:moveTo>
                    <a:pt x="4264" y="3206"/>
                  </a:moveTo>
                  <a:lnTo>
                    <a:pt x="4259" y="3206"/>
                  </a:lnTo>
                  <a:lnTo>
                    <a:pt x="4264" y="3194"/>
                  </a:lnTo>
                  <a:lnTo>
                    <a:pt x="4264" y="3206"/>
                  </a:lnTo>
                  <a:lnTo>
                    <a:pt x="4264" y="3206"/>
                  </a:lnTo>
                  <a:lnTo>
                    <a:pt x="4264" y="3206"/>
                  </a:lnTo>
                  <a:close/>
                  <a:moveTo>
                    <a:pt x="5037" y="3263"/>
                  </a:moveTo>
                  <a:lnTo>
                    <a:pt x="5037" y="3279"/>
                  </a:lnTo>
                  <a:lnTo>
                    <a:pt x="5025" y="3279"/>
                  </a:lnTo>
                  <a:lnTo>
                    <a:pt x="5020" y="3263"/>
                  </a:lnTo>
                  <a:lnTo>
                    <a:pt x="5037" y="3263"/>
                  </a:lnTo>
                  <a:lnTo>
                    <a:pt x="5037" y="3263"/>
                  </a:lnTo>
                  <a:lnTo>
                    <a:pt x="5037" y="3263"/>
                  </a:lnTo>
                  <a:close/>
                  <a:moveTo>
                    <a:pt x="4373" y="3305"/>
                  </a:moveTo>
                  <a:lnTo>
                    <a:pt x="4389" y="3322"/>
                  </a:lnTo>
                  <a:lnTo>
                    <a:pt x="4373" y="3317"/>
                  </a:lnTo>
                  <a:lnTo>
                    <a:pt x="4373" y="3305"/>
                  </a:lnTo>
                  <a:lnTo>
                    <a:pt x="4373" y="3305"/>
                  </a:lnTo>
                  <a:lnTo>
                    <a:pt x="4373" y="3305"/>
                  </a:lnTo>
                  <a:close/>
                  <a:moveTo>
                    <a:pt x="5150" y="3338"/>
                  </a:moveTo>
                  <a:lnTo>
                    <a:pt x="5150" y="3350"/>
                  </a:lnTo>
                  <a:lnTo>
                    <a:pt x="5145" y="3350"/>
                  </a:lnTo>
                  <a:lnTo>
                    <a:pt x="5150" y="3338"/>
                  </a:lnTo>
                  <a:lnTo>
                    <a:pt x="5150" y="3338"/>
                  </a:lnTo>
                  <a:lnTo>
                    <a:pt x="5150" y="3338"/>
                  </a:lnTo>
                  <a:close/>
                  <a:moveTo>
                    <a:pt x="5544" y="3395"/>
                  </a:moveTo>
                  <a:lnTo>
                    <a:pt x="5544" y="3407"/>
                  </a:lnTo>
                  <a:lnTo>
                    <a:pt x="5528" y="3395"/>
                  </a:lnTo>
                  <a:lnTo>
                    <a:pt x="5537" y="3390"/>
                  </a:lnTo>
                  <a:lnTo>
                    <a:pt x="5544" y="3395"/>
                  </a:lnTo>
                  <a:lnTo>
                    <a:pt x="5544" y="3395"/>
                  </a:lnTo>
                  <a:lnTo>
                    <a:pt x="5544" y="3395"/>
                  </a:lnTo>
                  <a:close/>
                  <a:moveTo>
                    <a:pt x="5570" y="3407"/>
                  </a:moveTo>
                  <a:lnTo>
                    <a:pt x="5561" y="3411"/>
                  </a:lnTo>
                  <a:lnTo>
                    <a:pt x="5544" y="3407"/>
                  </a:lnTo>
                  <a:lnTo>
                    <a:pt x="5554" y="3395"/>
                  </a:lnTo>
                  <a:lnTo>
                    <a:pt x="5570" y="3407"/>
                  </a:lnTo>
                  <a:lnTo>
                    <a:pt x="5570" y="3407"/>
                  </a:lnTo>
                  <a:lnTo>
                    <a:pt x="5570" y="3407"/>
                  </a:lnTo>
                  <a:close/>
                  <a:moveTo>
                    <a:pt x="4297" y="3416"/>
                  </a:moveTo>
                  <a:lnTo>
                    <a:pt x="4285" y="3444"/>
                  </a:lnTo>
                  <a:lnTo>
                    <a:pt x="4285" y="3428"/>
                  </a:lnTo>
                  <a:lnTo>
                    <a:pt x="4297" y="3416"/>
                  </a:lnTo>
                  <a:lnTo>
                    <a:pt x="4297" y="3416"/>
                  </a:lnTo>
                  <a:lnTo>
                    <a:pt x="4297" y="3416"/>
                  </a:lnTo>
                  <a:close/>
                  <a:moveTo>
                    <a:pt x="5544" y="3433"/>
                  </a:moveTo>
                  <a:lnTo>
                    <a:pt x="5537" y="3428"/>
                  </a:lnTo>
                  <a:lnTo>
                    <a:pt x="5544" y="3416"/>
                  </a:lnTo>
                  <a:lnTo>
                    <a:pt x="5554" y="3428"/>
                  </a:lnTo>
                  <a:lnTo>
                    <a:pt x="5544" y="3433"/>
                  </a:lnTo>
                  <a:lnTo>
                    <a:pt x="5544" y="3433"/>
                  </a:lnTo>
                  <a:lnTo>
                    <a:pt x="5544" y="3433"/>
                  </a:lnTo>
                  <a:close/>
                  <a:moveTo>
                    <a:pt x="5570" y="3428"/>
                  </a:moveTo>
                  <a:lnTo>
                    <a:pt x="5570" y="3444"/>
                  </a:lnTo>
                  <a:lnTo>
                    <a:pt x="5544" y="3433"/>
                  </a:lnTo>
                  <a:lnTo>
                    <a:pt x="5570" y="3428"/>
                  </a:lnTo>
                  <a:lnTo>
                    <a:pt x="5570" y="3428"/>
                  </a:lnTo>
                  <a:lnTo>
                    <a:pt x="5570" y="3428"/>
                  </a:lnTo>
                  <a:close/>
                  <a:moveTo>
                    <a:pt x="4503" y="3444"/>
                  </a:moveTo>
                  <a:lnTo>
                    <a:pt x="4512" y="3449"/>
                  </a:lnTo>
                  <a:lnTo>
                    <a:pt x="4503" y="3444"/>
                  </a:lnTo>
                  <a:lnTo>
                    <a:pt x="4503" y="3444"/>
                  </a:lnTo>
                  <a:lnTo>
                    <a:pt x="4503" y="3444"/>
                  </a:lnTo>
                  <a:close/>
                  <a:moveTo>
                    <a:pt x="5561" y="3444"/>
                  </a:moveTo>
                  <a:lnTo>
                    <a:pt x="5570" y="3449"/>
                  </a:lnTo>
                  <a:lnTo>
                    <a:pt x="5554" y="3449"/>
                  </a:lnTo>
                  <a:lnTo>
                    <a:pt x="5561" y="3444"/>
                  </a:lnTo>
                  <a:lnTo>
                    <a:pt x="5561" y="3444"/>
                  </a:lnTo>
                  <a:lnTo>
                    <a:pt x="5561" y="3444"/>
                  </a:lnTo>
                  <a:close/>
                  <a:moveTo>
                    <a:pt x="5582" y="3489"/>
                  </a:moveTo>
                  <a:lnTo>
                    <a:pt x="5570" y="3506"/>
                  </a:lnTo>
                  <a:lnTo>
                    <a:pt x="5582" y="3506"/>
                  </a:lnTo>
                  <a:lnTo>
                    <a:pt x="5582" y="3522"/>
                  </a:lnTo>
                  <a:lnTo>
                    <a:pt x="5570" y="3506"/>
                  </a:lnTo>
                  <a:lnTo>
                    <a:pt x="5575" y="3489"/>
                  </a:lnTo>
                  <a:lnTo>
                    <a:pt x="5582" y="3489"/>
                  </a:lnTo>
                  <a:lnTo>
                    <a:pt x="5582" y="3489"/>
                  </a:lnTo>
                  <a:lnTo>
                    <a:pt x="5582" y="3489"/>
                  </a:lnTo>
                  <a:close/>
                  <a:moveTo>
                    <a:pt x="4297" y="3489"/>
                  </a:moveTo>
                  <a:lnTo>
                    <a:pt x="4297" y="3506"/>
                  </a:lnTo>
                  <a:lnTo>
                    <a:pt x="4285" y="3499"/>
                  </a:lnTo>
                  <a:lnTo>
                    <a:pt x="4297" y="3489"/>
                  </a:lnTo>
                  <a:lnTo>
                    <a:pt x="4297" y="3489"/>
                  </a:lnTo>
                  <a:lnTo>
                    <a:pt x="4297" y="3489"/>
                  </a:lnTo>
                  <a:close/>
                  <a:moveTo>
                    <a:pt x="4285" y="3499"/>
                  </a:moveTo>
                  <a:lnTo>
                    <a:pt x="4285" y="3506"/>
                  </a:lnTo>
                  <a:lnTo>
                    <a:pt x="4281" y="3506"/>
                  </a:lnTo>
                  <a:lnTo>
                    <a:pt x="4285" y="3499"/>
                  </a:lnTo>
                  <a:lnTo>
                    <a:pt x="4285" y="3499"/>
                  </a:lnTo>
                  <a:lnTo>
                    <a:pt x="4285" y="3499"/>
                  </a:lnTo>
                  <a:close/>
                  <a:moveTo>
                    <a:pt x="4314" y="3506"/>
                  </a:moveTo>
                  <a:lnTo>
                    <a:pt x="4314" y="3518"/>
                  </a:lnTo>
                  <a:lnTo>
                    <a:pt x="4314" y="3522"/>
                  </a:lnTo>
                  <a:lnTo>
                    <a:pt x="4314" y="3506"/>
                  </a:lnTo>
                  <a:lnTo>
                    <a:pt x="4314" y="3506"/>
                  </a:lnTo>
                  <a:lnTo>
                    <a:pt x="4314" y="3506"/>
                  </a:lnTo>
                  <a:close/>
                  <a:moveTo>
                    <a:pt x="5599" y="3522"/>
                  </a:moveTo>
                  <a:lnTo>
                    <a:pt x="5599" y="3518"/>
                  </a:lnTo>
                  <a:lnTo>
                    <a:pt x="5608" y="3518"/>
                  </a:lnTo>
                  <a:lnTo>
                    <a:pt x="5599" y="3522"/>
                  </a:lnTo>
                  <a:lnTo>
                    <a:pt x="5599" y="3522"/>
                  </a:lnTo>
                  <a:lnTo>
                    <a:pt x="5599" y="3522"/>
                  </a:lnTo>
                  <a:close/>
                  <a:moveTo>
                    <a:pt x="4335" y="3518"/>
                  </a:moveTo>
                  <a:lnTo>
                    <a:pt x="4340" y="3522"/>
                  </a:lnTo>
                  <a:lnTo>
                    <a:pt x="4323" y="3522"/>
                  </a:lnTo>
                  <a:lnTo>
                    <a:pt x="4335" y="3518"/>
                  </a:lnTo>
                  <a:lnTo>
                    <a:pt x="4335" y="3518"/>
                  </a:lnTo>
                  <a:lnTo>
                    <a:pt x="4335" y="3518"/>
                  </a:lnTo>
                  <a:close/>
                  <a:moveTo>
                    <a:pt x="4297" y="3610"/>
                  </a:moveTo>
                  <a:lnTo>
                    <a:pt x="4314" y="3572"/>
                  </a:lnTo>
                  <a:lnTo>
                    <a:pt x="4285" y="3600"/>
                  </a:lnTo>
                  <a:lnTo>
                    <a:pt x="4281" y="3593"/>
                  </a:lnTo>
                  <a:lnTo>
                    <a:pt x="4281" y="3584"/>
                  </a:lnTo>
                  <a:lnTo>
                    <a:pt x="4302" y="3560"/>
                  </a:lnTo>
                  <a:lnTo>
                    <a:pt x="4318" y="3527"/>
                  </a:lnTo>
                  <a:lnTo>
                    <a:pt x="4318" y="3539"/>
                  </a:lnTo>
                  <a:lnTo>
                    <a:pt x="4314" y="3572"/>
                  </a:lnTo>
                  <a:lnTo>
                    <a:pt x="4318" y="3560"/>
                  </a:lnTo>
                  <a:lnTo>
                    <a:pt x="4323" y="3527"/>
                  </a:lnTo>
                  <a:lnTo>
                    <a:pt x="4352" y="3539"/>
                  </a:lnTo>
                  <a:lnTo>
                    <a:pt x="4335" y="3593"/>
                  </a:lnTo>
                  <a:lnTo>
                    <a:pt x="4352" y="3544"/>
                  </a:lnTo>
                  <a:lnTo>
                    <a:pt x="4323" y="3600"/>
                  </a:lnTo>
                  <a:lnTo>
                    <a:pt x="4335" y="3560"/>
                  </a:lnTo>
                  <a:lnTo>
                    <a:pt x="4318" y="3600"/>
                  </a:lnTo>
                  <a:lnTo>
                    <a:pt x="4297" y="3610"/>
                  </a:lnTo>
                  <a:lnTo>
                    <a:pt x="4297" y="3610"/>
                  </a:lnTo>
                  <a:lnTo>
                    <a:pt x="4297" y="3610"/>
                  </a:lnTo>
                  <a:close/>
                  <a:moveTo>
                    <a:pt x="5570" y="3527"/>
                  </a:moveTo>
                  <a:lnTo>
                    <a:pt x="5599" y="3539"/>
                  </a:lnTo>
                  <a:lnTo>
                    <a:pt x="5570" y="3539"/>
                  </a:lnTo>
                  <a:lnTo>
                    <a:pt x="5582" y="3539"/>
                  </a:lnTo>
                  <a:lnTo>
                    <a:pt x="5570" y="3527"/>
                  </a:lnTo>
                  <a:lnTo>
                    <a:pt x="5570" y="3527"/>
                  </a:lnTo>
                  <a:lnTo>
                    <a:pt x="5570" y="3527"/>
                  </a:lnTo>
                  <a:close/>
                  <a:moveTo>
                    <a:pt x="4271" y="3572"/>
                  </a:moveTo>
                  <a:lnTo>
                    <a:pt x="4271" y="3555"/>
                  </a:lnTo>
                  <a:lnTo>
                    <a:pt x="4297" y="3544"/>
                  </a:lnTo>
                  <a:lnTo>
                    <a:pt x="4314" y="3527"/>
                  </a:lnTo>
                  <a:lnTo>
                    <a:pt x="4302" y="3555"/>
                  </a:lnTo>
                  <a:lnTo>
                    <a:pt x="4271" y="3572"/>
                  </a:lnTo>
                  <a:lnTo>
                    <a:pt x="4271" y="3572"/>
                  </a:lnTo>
                  <a:lnTo>
                    <a:pt x="4271" y="3572"/>
                  </a:lnTo>
                  <a:close/>
                  <a:moveTo>
                    <a:pt x="4352" y="3572"/>
                  </a:moveTo>
                  <a:lnTo>
                    <a:pt x="4356" y="3544"/>
                  </a:lnTo>
                  <a:lnTo>
                    <a:pt x="4373" y="3539"/>
                  </a:lnTo>
                  <a:lnTo>
                    <a:pt x="4373" y="3572"/>
                  </a:lnTo>
                  <a:lnTo>
                    <a:pt x="4352" y="3572"/>
                  </a:lnTo>
                  <a:lnTo>
                    <a:pt x="4352" y="3572"/>
                  </a:lnTo>
                  <a:lnTo>
                    <a:pt x="4352" y="3572"/>
                  </a:lnTo>
                  <a:close/>
                  <a:moveTo>
                    <a:pt x="5570" y="3544"/>
                  </a:moveTo>
                  <a:lnTo>
                    <a:pt x="5582" y="3555"/>
                  </a:lnTo>
                  <a:lnTo>
                    <a:pt x="5554" y="3544"/>
                  </a:lnTo>
                  <a:lnTo>
                    <a:pt x="5570" y="3544"/>
                  </a:lnTo>
                  <a:lnTo>
                    <a:pt x="5570" y="3544"/>
                  </a:lnTo>
                  <a:lnTo>
                    <a:pt x="5570" y="3544"/>
                  </a:lnTo>
                  <a:close/>
                  <a:moveTo>
                    <a:pt x="5608" y="3572"/>
                  </a:moveTo>
                  <a:lnTo>
                    <a:pt x="5613" y="3584"/>
                  </a:lnTo>
                  <a:lnTo>
                    <a:pt x="5592" y="3577"/>
                  </a:lnTo>
                  <a:lnTo>
                    <a:pt x="5608" y="3572"/>
                  </a:lnTo>
                  <a:lnTo>
                    <a:pt x="5608" y="3572"/>
                  </a:lnTo>
                  <a:lnTo>
                    <a:pt x="5608" y="3572"/>
                  </a:lnTo>
                  <a:close/>
                  <a:moveTo>
                    <a:pt x="4352" y="3577"/>
                  </a:moveTo>
                  <a:lnTo>
                    <a:pt x="4352" y="3584"/>
                  </a:lnTo>
                  <a:lnTo>
                    <a:pt x="4340" y="3610"/>
                  </a:lnTo>
                  <a:lnTo>
                    <a:pt x="4352" y="3577"/>
                  </a:lnTo>
                  <a:lnTo>
                    <a:pt x="4352" y="3577"/>
                  </a:lnTo>
                  <a:lnTo>
                    <a:pt x="4352" y="3577"/>
                  </a:lnTo>
                  <a:close/>
                  <a:moveTo>
                    <a:pt x="5629" y="3593"/>
                  </a:moveTo>
                  <a:lnTo>
                    <a:pt x="5613" y="3600"/>
                  </a:lnTo>
                  <a:lnTo>
                    <a:pt x="5625" y="3593"/>
                  </a:lnTo>
                  <a:lnTo>
                    <a:pt x="5629" y="3593"/>
                  </a:lnTo>
                  <a:lnTo>
                    <a:pt x="5629" y="3593"/>
                  </a:lnTo>
                  <a:lnTo>
                    <a:pt x="5629" y="3593"/>
                  </a:lnTo>
                  <a:close/>
                  <a:moveTo>
                    <a:pt x="5613" y="3593"/>
                  </a:moveTo>
                  <a:lnTo>
                    <a:pt x="5608" y="3600"/>
                  </a:lnTo>
                  <a:lnTo>
                    <a:pt x="5608" y="3593"/>
                  </a:lnTo>
                  <a:lnTo>
                    <a:pt x="5613" y="3593"/>
                  </a:lnTo>
                  <a:lnTo>
                    <a:pt x="5613" y="3593"/>
                  </a:lnTo>
                  <a:lnTo>
                    <a:pt x="5613" y="3593"/>
                  </a:lnTo>
                  <a:close/>
                  <a:moveTo>
                    <a:pt x="763" y="3683"/>
                  </a:moveTo>
                  <a:lnTo>
                    <a:pt x="756" y="3704"/>
                  </a:lnTo>
                  <a:lnTo>
                    <a:pt x="747" y="3711"/>
                  </a:lnTo>
                  <a:lnTo>
                    <a:pt x="740" y="3704"/>
                  </a:lnTo>
                  <a:lnTo>
                    <a:pt x="763" y="3683"/>
                  </a:lnTo>
                  <a:lnTo>
                    <a:pt x="763" y="3683"/>
                  </a:lnTo>
                  <a:lnTo>
                    <a:pt x="763" y="3683"/>
                  </a:lnTo>
                  <a:close/>
                  <a:moveTo>
                    <a:pt x="5826" y="3695"/>
                  </a:moveTo>
                  <a:lnTo>
                    <a:pt x="5826" y="3704"/>
                  </a:lnTo>
                  <a:lnTo>
                    <a:pt x="5830" y="3704"/>
                  </a:lnTo>
                  <a:lnTo>
                    <a:pt x="5814" y="3711"/>
                  </a:lnTo>
                  <a:lnTo>
                    <a:pt x="5809" y="3704"/>
                  </a:lnTo>
                  <a:lnTo>
                    <a:pt x="5826" y="3695"/>
                  </a:lnTo>
                  <a:lnTo>
                    <a:pt x="5826" y="3695"/>
                  </a:lnTo>
                  <a:lnTo>
                    <a:pt x="5826" y="3695"/>
                  </a:lnTo>
                  <a:close/>
                  <a:moveTo>
                    <a:pt x="740" y="3704"/>
                  </a:moveTo>
                  <a:lnTo>
                    <a:pt x="740" y="3711"/>
                  </a:lnTo>
                  <a:lnTo>
                    <a:pt x="735" y="3711"/>
                  </a:lnTo>
                  <a:lnTo>
                    <a:pt x="740" y="3704"/>
                  </a:lnTo>
                  <a:lnTo>
                    <a:pt x="740" y="3704"/>
                  </a:lnTo>
                  <a:lnTo>
                    <a:pt x="740" y="3704"/>
                  </a:lnTo>
                  <a:close/>
                  <a:moveTo>
                    <a:pt x="719" y="3728"/>
                  </a:moveTo>
                  <a:lnTo>
                    <a:pt x="702" y="3744"/>
                  </a:lnTo>
                  <a:lnTo>
                    <a:pt x="709" y="3721"/>
                  </a:lnTo>
                  <a:lnTo>
                    <a:pt x="719" y="3728"/>
                  </a:lnTo>
                  <a:lnTo>
                    <a:pt x="719" y="3728"/>
                  </a:lnTo>
                  <a:lnTo>
                    <a:pt x="719" y="3728"/>
                  </a:lnTo>
                  <a:close/>
                  <a:moveTo>
                    <a:pt x="5868" y="3728"/>
                  </a:moveTo>
                  <a:lnTo>
                    <a:pt x="5878" y="3737"/>
                  </a:lnTo>
                  <a:lnTo>
                    <a:pt x="5868" y="3737"/>
                  </a:lnTo>
                  <a:lnTo>
                    <a:pt x="5868" y="3728"/>
                  </a:lnTo>
                  <a:lnTo>
                    <a:pt x="5868" y="3728"/>
                  </a:lnTo>
                  <a:lnTo>
                    <a:pt x="5868" y="3728"/>
                  </a:lnTo>
                  <a:close/>
                  <a:moveTo>
                    <a:pt x="719" y="3766"/>
                  </a:moveTo>
                  <a:lnTo>
                    <a:pt x="726" y="3777"/>
                  </a:lnTo>
                  <a:lnTo>
                    <a:pt x="719" y="3766"/>
                  </a:lnTo>
                  <a:lnTo>
                    <a:pt x="719" y="3766"/>
                  </a:lnTo>
                  <a:lnTo>
                    <a:pt x="719" y="3766"/>
                  </a:lnTo>
                  <a:close/>
                  <a:moveTo>
                    <a:pt x="756" y="3766"/>
                  </a:moveTo>
                  <a:lnTo>
                    <a:pt x="763" y="3766"/>
                  </a:lnTo>
                  <a:lnTo>
                    <a:pt x="756" y="3777"/>
                  </a:lnTo>
                  <a:lnTo>
                    <a:pt x="756" y="3766"/>
                  </a:lnTo>
                  <a:lnTo>
                    <a:pt x="756" y="3766"/>
                  </a:lnTo>
                  <a:lnTo>
                    <a:pt x="756" y="3766"/>
                  </a:lnTo>
                  <a:close/>
                  <a:moveTo>
                    <a:pt x="563" y="3815"/>
                  </a:moveTo>
                  <a:lnTo>
                    <a:pt x="558" y="3799"/>
                  </a:lnTo>
                  <a:lnTo>
                    <a:pt x="558" y="3782"/>
                  </a:lnTo>
                  <a:lnTo>
                    <a:pt x="558" y="3766"/>
                  </a:lnTo>
                  <a:lnTo>
                    <a:pt x="596" y="3777"/>
                  </a:lnTo>
                  <a:lnTo>
                    <a:pt x="584" y="3794"/>
                  </a:lnTo>
                  <a:lnTo>
                    <a:pt x="600" y="3777"/>
                  </a:lnTo>
                  <a:lnTo>
                    <a:pt x="617" y="3777"/>
                  </a:lnTo>
                  <a:lnTo>
                    <a:pt x="626" y="3799"/>
                  </a:lnTo>
                  <a:lnTo>
                    <a:pt x="584" y="3815"/>
                  </a:lnTo>
                  <a:lnTo>
                    <a:pt x="600" y="3822"/>
                  </a:lnTo>
                  <a:lnTo>
                    <a:pt x="626" y="3815"/>
                  </a:lnTo>
                  <a:lnTo>
                    <a:pt x="626" y="3782"/>
                  </a:lnTo>
                  <a:lnTo>
                    <a:pt x="655" y="3766"/>
                  </a:lnTo>
                  <a:lnTo>
                    <a:pt x="638" y="3822"/>
                  </a:lnTo>
                  <a:lnTo>
                    <a:pt x="638" y="3848"/>
                  </a:lnTo>
                  <a:lnTo>
                    <a:pt x="633" y="3860"/>
                  </a:lnTo>
                  <a:lnTo>
                    <a:pt x="612" y="3860"/>
                  </a:lnTo>
                  <a:lnTo>
                    <a:pt x="626" y="3872"/>
                  </a:lnTo>
                  <a:lnTo>
                    <a:pt x="600" y="3872"/>
                  </a:lnTo>
                  <a:lnTo>
                    <a:pt x="584" y="3855"/>
                  </a:lnTo>
                  <a:lnTo>
                    <a:pt x="596" y="3855"/>
                  </a:lnTo>
                  <a:lnTo>
                    <a:pt x="579" y="3855"/>
                  </a:lnTo>
                  <a:lnTo>
                    <a:pt x="584" y="3848"/>
                  </a:lnTo>
                  <a:lnTo>
                    <a:pt x="600" y="3855"/>
                  </a:lnTo>
                  <a:lnTo>
                    <a:pt x="574" y="3839"/>
                  </a:lnTo>
                  <a:lnTo>
                    <a:pt x="563" y="3822"/>
                  </a:lnTo>
                  <a:lnTo>
                    <a:pt x="574" y="3822"/>
                  </a:lnTo>
                  <a:lnTo>
                    <a:pt x="563" y="3815"/>
                  </a:lnTo>
                  <a:lnTo>
                    <a:pt x="563" y="3815"/>
                  </a:lnTo>
                  <a:lnTo>
                    <a:pt x="563" y="3815"/>
                  </a:lnTo>
                  <a:close/>
                  <a:moveTo>
                    <a:pt x="747" y="3777"/>
                  </a:moveTo>
                  <a:lnTo>
                    <a:pt x="756" y="3794"/>
                  </a:lnTo>
                  <a:lnTo>
                    <a:pt x="747" y="3799"/>
                  </a:lnTo>
                  <a:lnTo>
                    <a:pt x="740" y="3799"/>
                  </a:lnTo>
                  <a:lnTo>
                    <a:pt x="747" y="3782"/>
                  </a:lnTo>
                  <a:lnTo>
                    <a:pt x="735" y="3794"/>
                  </a:lnTo>
                  <a:lnTo>
                    <a:pt x="726" y="3794"/>
                  </a:lnTo>
                  <a:lnTo>
                    <a:pt x="735" y="3799"/>
                  </a:lnTo>
                  <a:lnTo>
                    <a:pt x="726" y="3799"/>
                  </a:lnTo>
                  <a:lnTo>
                    <a:pt x="726" y="3782"/>
                  </a:lnTo>
                  <a:lnTo>
                    <a:pt x="747" y="3777"/>
                  </a:lnTo>
                  <a:lnTo>
                    <a:pt x="747" y="3777"/>
                  </a:lnTo>
                  <a:lnTo>
                    <a:pt x="747" y="3777"/>
                  </a:lnTo>
                  <a:close/>
                  <a:moveTo>
                    <a:pt x="801" y="3860"/>
                  </a:moveTo>
                  <a:lnTo>
                    <a:pt x="789" y="3848"/>
                  </a:lnTo>
                  <a:lnTo>
                    <a:pt x="778" y="3832"/>
                  </a:lnTo>
                  <a:lnTo>
                    <a:pt x="773" y="3822"/>
                  </a:lnTo>
                  <a:lnTo>
                    <a:pt x="778" y="3822"/>
                  </a:lnTo>
                  <a:lnTo>
                    <a:pt x="763" y="3815"/>
                  </a:lnTo>
                  <a:lnTo>
                    <a:pt x="756" y="3799"/>
                  </a:lnTo>
                  <a:lnTo>
                    <a:pt x="773" y="3806"/>
                  </a:lnTo>
                  <a:lnTo>
                    <a:pt x="811" y="3848"/>
                  </a:lnTo>
                  <a:lnTo>
                    <a:pt x="811" y="3860"/>
                  </a:lnTo>
                  <a:lnTo>
                    <a:pt x="801" y="3860"/>
                  </a:lnTo>
                  <a:lnTo>
                    <a:pt x="801" y="3860"/>
                  </a:lnTo>
                  <a:lnTo>
                    <a:pt x="801" y="3860"/>
                  </a:lnTo>
                  <a:close/>
                  <a:moveTo>
                    <a:pt x="756" y="3806"/>
                  </a:moveTo>
                  <a:lnTo>
                    <a:pt x="763" y="3832"/>
                  </a:lnTo>
                  <a:lnTo>
                    <a:pt x="747" y="3815"/>
                  </a:lnTo>
                  <a:lnTo>
                    <a:pt x="756" y="3806"/>
                  </a:lnTo>
                  <a:lnTo>
                    <a:pt x="756" y="3806"/>
                  </a:lnTo>
                  <a:lnTo>
                    <a:pt x="756" y="3806"/>
                  </a:lnTo>
                  <a:close/>
                  <a:moveTo>
                    <a:pt x="853" y="3815"/>
                  </a:moveTo>
                  <a:lnTo>
                    <a:pt x="832" y="3848"/>
                  </a:lnTo>
                  <a:lnTo>
                    <a:pt x="832" y="3822"/>
                  </a:lnTo>
                  <a:lnTo>
                    <a:pt x="853" y="3815"/>
                  </a:lnTo>
                  <a:lnTo>
                    <a:pt x="853" y="3815"/>
                  </a:lnTo>
                  <a:lnTo>
                    <a:pt x="853" y="3815"/>
                  </a:lnTo>
                  <a:close/>
                  <a:moveTo>
                    <a:pt x="747" y="3822"/>
                  </a:moveTo>
                  <a:lnTo>
                    <a:pt x="778" y="3839"/>
                  </a:lnTo>
                  <a:lnTo>
                    <a:pt x="794" y="3860"/>
                  </a:lnTo>
                  <a:lnTo>
                    <a:pt x="778" y="3872"/>
                  </a:lnTo>
                  <a:lnTo>
                    <a:pt x="735" y="3832"/>
                  </a:lnTo>
                  <a:lnTo>
                    <a:pt x="740" y="3822"/>
                  </a:lnTo>
                  <a:lnTo>
                    <a:pt x="747" y="3822"/>
                  </a:lnTo>
                  <a:lnTo>
                    <a:pt x="747" y="3822"/>
                  </a:lnTo>
                  <a:lnTo>
                    <a:pt x="747" y="3822"/>
                  </a:lnTo>
                  <a:close/>
                  <a:moveTo>
                    <a:pt x="844" y="3832"/>
                  </a:moveTo>
                  <a:lnTo>
                    <a:pt x="848" y="3855"/>
                  </a:lnTo>
                  <a:lnTo>
                    <a:pt x="832" y="3855"/>
                  </a:lnTo>
                  <a:lnTo>
                    <a:pt x="844" y="3832"/>
                  </a:lnTo>
                  <a:lnTo>
                    <a:pt x="844" y="3832"/>
                  </a:lnTo>
                  <a:lnTo>
                    <a:pt x="844" y="3832"/>
                  </a:lnTo>
                  <a:close/>
                  <a:moveTo>
                    <a:pt x="5970" y="3839"/>
                  </a:moveTo>
                  <a:lnTo>
                    <a:pt x="5977" y="3839"/>
                  </a:lnTo>
                  <a:lnTo>
                    <a:pt x="5977" y="3848"/>
                  </a:lnTo>
                  <a:lnTo>
                    <a:pt x="5960" y="3839"/>
                  </a:lnTo>
                  <a:lnTo>
                    <a:pt x="5970" y="3839"/>
                  </a:lnTo>
                  <a:lnTo>
                    <a:pt x="5970" y="3839"/>
                  </a:lnTo>
                  <a:lnTo>
                    <a:pt x="5970" y="3839"/>
                  </a:lnTo>
                  <a:close/>
                  <a:moveTo>
                    <a:pt x="815" y="3848"/>
                  </a:moveTo>
                  <a:lnTo>
                    <a:pt x="815" y="3855"/>
                  </a:lnTo>
                  <a:lnTo>
                    <a:pt x="811" y="3848"/>
                  </a:lnTo>
                  <a:lnTo>
                    <a:pt x="815" y="3848"/>
                  </a:lnTo>
                  <a:lnTo>
                    <a:pt x="815" y="3848"/>
                  </a:lnTo>
                  <a:lnTo>
                    <a:pt x="815" y="3848"/>
                  </a:lnTo>
                  <a:close/>
                  <a:moveTo>
                    <a:pt x="4281" y="3848"/>
                  </a:moveTo>
                  <a:lnTo>
                    <a:pt x="4281" y="3855"/>
                  </a:lnTo>
                  <a:lnTo>
                    <a:pt x="4271" y="3855"/>
                  </a:lnTo>
                  <a:lnTo>
                    <a:pt x="4281" y="3848"/>
                  </a:lnTo>
                  <a:lnTo>
                    <a:pt x="4281" y="3848"/>
                  </a:lnTo>
                  <a:lnTo>
                    <a:pt x="4281" y="3848"/>
                  </a:lnTo>
                  <a:close/>
                  <a:moveTo>
                    <a:pt x="827" y="3855"/>
                  </a:moveTo>
                  <a:lnTo>
                    <a:pt x="832" y="3872"/>
                  </a:lnTo>
                  <a:lnTo>
                    <a:pt x="815" y="3872"/>
                  </a:lnTo>
                  <a:lnTo>
                    <a:pt x="827" y="3855"/>
                  </a:lnTo>
                  <a:lnTo>
                    <a:pt x="827" y="3855"/>
                  </a:lnTo>
                  <a:lnTo>
                    <a:pt x="827" y="3855"/>
                  </a:lnTo>
                  <a:close/>
                  <a:moveTo>
                    <a:pt x="832" y="3905"/>
                  </a:moveTo>
                  <a:lnTo>
                    <a:pt x="853" y="3877"/>
                  </a:lnTo>
                  <a:lnTo>
                    <a:pt x="844" y="3872"/>
                  </a:lnTo>
                  <a:lnTo>
                    <a:pt x="853" y="3877"/>
                  </a:lnTo>
                  <a:lnTo>
                    <a:pt x="832" y="3893"/>
                  </a:lnTo>
                  <a:lnTo>
                    <a:pt x="844" y="3855"/>
                  </a:lnTo>
                  <a:lnTo>
                    <a:pt x="870" y="3872"/>
                  </a:lnTo>
                  <a:lnTo>
                    <a:pt x="870" y="3877"/>
                  </a:lnTo>
                  <a:lnTo>
                    <a:pt x="870" y="3917"/>
                  </a:lnTo>
                  <a:lnTo>
                    <a:pt x="865" y="3926"/>
                  </a:lnTo>
                  <a:lnTo>
                    <a:pt x="865" y="3888"/>
                  </a:lnTo>
                  <a:lnTo>
                    <a:pt x="853" y="3917"/>
                  </a:lnTo>
                  <a:lnTo>
                    <a:pt x="844" y="3910"/>
                  </a:lnTo>
                  <a:lnTo>
                    <a:pt x="832" y="3905"/>
                  </a:lnTo>
                  <a:lnTo>
                    <a:pt x="832" y="3905"/>
                  </a:lnTo>
                  <a:lnTo>
                    <a:pt x="832" y="3905"/>
                  </a:lnTo>
                  <a:close/>
                  <a:moveTo>
                    <a:pt x="617" y="3893"/>
                  </a:moveTo>
                  <a:lnTo>
                    <a:pt x="626" y="3888"/>
                  </a:lnTo>
                  <a:lnTo>
                    <a:pt x="600" y="3877"/>
                  </a:lnTo>
                  <a:lnTo>
                    <a:pt x="596" y="3872"/>
                  </a:lnTo>
                  <a:lnTo>
                    <a:pt x="626" y="3872"/>
                  </a:lnTo>
                  <a:lnTo>
                    <a:pt x="650" y="3860"/>
                  </a:lnTo>
                  <a:lnTo>
                    <a:pt x="664" y="3877"/>
                  </a:lnTo>
                  <a:lnTo>
                    <a:pt x="633" y="3877"/>
                  </a:lnTo>
                  <a:lnTo>
                    <a:pt x="655" y="3888"/>
                  </a:lnTo>
                  <a:lnTo>
                    <a:pt x="655" y="3893"/>
                  </a:lnTo>
                  <a:lnTo>
                    <a:pt x="633" y="3893"/>
                  </a:lnTo>
                  <a:lnTo>
                    <a:pt x="638" y="3893"/>
                  </a:lnTo>
                  <a:lnTo>
                    <a:pt x="671" y="3943"/>
                  </a:lnTo>
                  <a:lnTo>
                    <a:pt x="688" y="3943"/>
                  </a:lnTo>
                  <a:lnTo>
                    <a:pt x="681" y="3950"/>
                  </a:lnTo>
                  <a:lnTo>
                    <a:pt x="693" y="3950"/>
                  </a:lnTo>
                  <a:lnTo>
                    <a:pt x="702" y="3966"/>
                  </a:lnTo>
                  <a:lnTo>
                    <a:pt x="688" y="3966"/>
                  </a:lnTo>
                  <a:lnTo>
                    <a:pt x="664" y="3950"/>
                  </a:lnTo>
                  <a:lnTo>
                    <a:pt x="664" y="3943"/>
                  </a:lnTo>
                  <a:lnTo>
                    <a:pt x="626" y="3910"/>
                  </a:lnTo>
                  <a:lnTo>
                    <a:pt x="638" y="3910"/>
                  </a:lnTo>
                  <a:lnTo>
                    <a:pt x="633" y="3905"/>
                  </a:lnTo>
                  <a:lnTo>
                    <a:pt x="626" y="3910"/>
                  </a:lnTo>
                  <a:lnTo>
                    <a:pt x="612" y="3888"/>
                  </a:lnTo>
                  <a:lnTo>
                    <a:pt x="617" y="3893"/>
                  </a:lnTo>
                  <a:lnTo>
                    <a:pt x="617" y="3893"/>
                  </a:lnTo>
                  <a:lnTo>
                    <a:pt x="617" y="3893"/>
                  </a:lnTo>
                  <a:close/>
                  <a:moveTo>
                    <a:pt x="4205" y="3860"/>
                  </a:moveTo>
                  <a:lnTo>
                    <a:pt x="4226" y="3893"/>
                  </a:lnTo>
                  <a:lnTo>
                    <a:pt x="4226" y="3910"/>
                  </a:lnTo>
                  <a:lnTo>
                    <a:pt x="4134" y="3877"/>
                  </a:lnTo>
                  <a:lnTo>
                    <a:pt x="4151" y="3860"/>
                  </a:lnTo>
                  <a:lnTo>
                    <a:pt x="4205" y="3860"/>
                  </a:lnTo>
                  <a:lnTo>
                    <a:pt x="4205" y="3860"/>
                  </a:lnTo>
                  <a:lnTo>
                    <a:pt x="4205" y="3860"/>
                  </a:lnTo>
                  <a:close/>
                  <a:moveTo>
                    <a:pt x="811" y="3860"/>
                  </a:moveTo>
                  <a:lnTo>
                    <a:pt x="827" y="3888"/>
                  </a:lnTo>
                  <a:lnTo>
                    <a:pt x="801" y="3872"/>
                  </a:lnTo>
                  <a:lnTo>
                    <a:pt x="811" y="3860"/>
                  </a:lnTo>
                  <a:lnTo>
                    <a:pt x="811" y="3860"/>
                  </a:lnTo>
                  <a:lnTo>
                    <a:pt x="811" y="3860"/>
                  </a:lnTo>
                  <a:close/>
                  <a:moveTo>
                    <a:pt x="4285" y="3872"/>
                  </a:moveTo>
                  <a:lnTo>
                    <a:pt x="4297" y="3872"/>
                  </a:lnTo>
                  <a:lnTo>
                    <a:pt x="4281" y="3877"/>
                  </a:lnTo>
                  <a:lnTo>
                    <a:pt x="4285" y="3872"/>
                  </a:lnTo>
                  <a:lnTo>
                    <a:pt x="4285" y="3872"/>
                  </a:lnTo>
                  <a:lnTo>
                    <a:pt x="4285" y="3872"/>
                  </a:lnTo>
                  <a:close/>
                  <a:moveTo>
                    <a:pt x="794" y="3872"/>
                  </a:moveTo>
                  <a:lnTo>
                    <a:pt x="801" y="3877"/>
                  </a:lnTo>
                  <a:lnTo>
                    <a:pt x="794" y="3872"/>
                  </a:lnTo>
                  <a:lnTo>
                    <a:pt x="794" y="3872"/>
                  </a:lnTo>
                  <a:lnTo>
                    <a:pt x="794" y="3872"/>
                  </a:lnTo>
                  <a:close/>
                  <a:moveTo>
                    <a:pt x="5977" y="3877"/>
                  </a:moveTo>
                  <a:lnTo>
                    <a:pt x="5970" y="3877"/>
                  </a:lnTo>
                  <a:lnTo>
                    <a:pt x="5977" y="3877"/>
                  </a:lnTo>
                  <a:lnTo>
                    <a:pt x="5977" y="3877"/>
                  </a:lnTo>
                  <a:lnTo>
                    <a:pt x="5977" y="3877"/>
                  </a:lnTo>
                  <a:close/>
                  <a:moveTo>
                    <a:pt x="801" y="3877"/>
                  </a:moveTo>
                  <a:lnTo>
                    <a:pt x="811" y="3877"/>
                  </a:lnTo>
                  <a:lnTo>
                    <a:pt x="794" y="3877"/>
                  </a:lnTo>
                  <a:lnTo>
                    <a:pt x="801" y="3877"/>
                  </a:lnTo>
                  <a:lnTo>
                    <a:pt x="801" y="3877"/>
                  </a:lnTo>
                  <a:lnTo>
                    <a:pt x="801" y="3877"/>
                  </a:lnTo>
                  <a:close/>
                  <a:moveTo>
                    <a:pt x="801" y="3888"/>
                  </a:moveTo>
                  <a:lnTo>
                    <a:pt x="794" y="3877"/>
                  </a:lnTo>
                  <a:lnTo>
                    <a:pt x="801" y="3888"/>
                  </a:lnTo>
                  <a:lnTo>
                    <a:pt x="801" y="3888"/>
                  </a:lnTo>
                  <a:lnTo>
                    <a:pt x="801" y="3888"/>
                  </a:lnTo>
                  <a:close/>
                  <a:moveTo>
                    <a:pt x="903" y="3905"/>
                  </a:moveTo>
                  <a:lnTo>
                    <a:pt x="898" y="3926"/>
                  </a:lnTo>
                  <a:lnTo>
                    <a:pt x="886" y="3905"/>
                  </a:lnTo>
                  <a:lnTo>
                    <a:pt x="903" y="3905"/>
                  </a:lnTo>
                  <a:lnTo>
                    <a:pt x="903" y="3905"/>
                  </a:lnTo>
                  <a:lnTo>
                    <a:pt x="903" y="3905"/>
                  </a:lnTo>
                  <a:close/>
                  <a:moveTo>
                    <a:pt x="827" y="3905"/>
                  </a:moveTo>
                  <a:lnTo>
                    <a:pt x="848" y="3917"/>
                  </a:lnTo>
                  <a:lnTo>
                    <a:pt x="848" y="3933"/>
                  </a:lnTo>
                  <a:lnTo>
                    <a:pt x="827" y="3910"/>
                  </a:lnTo>
                  <a:lnTo>
                    <a:pt x="827" y="3905"/>
                  </a:lnTo>
                  <a:lnTo>
                    <a:pt x="827" y="3905"/>
                  </a:lnTo>
                  <a:lnTo>
                    <a:pt x="827" y="3905"/>
                  </a:lnTo>
                  <a:close/>
                  <a:moveTo>
                    <a:pt x="886" y="3905"/>
                  </a:moveTo>
                  <a:lnTo>
                    <a:pt x="898" y="3933"/>
                  </a:lnTo>
                  <a:lnTo>
                    <a:pt x="882" y="3943"/>
                  </a:lnTo>
                  <a:lnTo>
                    <a:pt x="882" y="3910"/>
                  </a:lnTo>
                  <a:lnTo>
                    <a:pt x="886" y="3905"/>
                  </a:lnTo>
                  <a:lnTo>
                    <a:pt x="886" y="3905"/>
                  </a:lnTo>
                  <a:lnTo>
                    <a:pt x="886" y="3905"/>
                  </a:lnTo>
                  <a:close/>
                  <a:moveTo>
                    <a:pt x="671" y="3910"/>
                  </a:moveTo>
                  <a:lnTo>
                    <a:pt x="671" y="3917"/>
                  </a:lnTo>
                  <a:lnTo>
                    <a:pt x="664" y="3926"/>
                  </a:lnTo>
                  <a:lnTo>
                    <a:pt x="655" y="3910"/>
                  </a:lnTo>
                  <a:lnTo>
                    <a:pt x="671" y="3910"/>
                  </a:lnTo>
                  <a:lnTo>
                    <a:pt x="671" y="3910"/>
                  </a:lnTo>
                  <a:lnTo>
                    <a:pt x="671" y="3910"/>
                  </a:lnTo>
                  <a:close/>
                  <a:moveTo>
                    <a:pt x="870" y="3917"/>
                  </a:moveTo>
                  <a:lnTo>
                    <a:pt x="882" y="3943"/>
                  </a:lnTo>
                  <a:lnTo>
                    <a:pt x="853" y="3926"/>
                  </a:lnTo>
                  <a:lnTo>
                    <a:pt x="870" y="3917"/>
                  </a:lnTo>
                  <a:lnTo>
                    <a:pt x="870" y="3917"/>
                  </a:lnTo>
                  <a:lnTo>
                    <a:pt x="870" y="3917"/>
                  </a:lnTo>
                  <a:close/>
                  <a:moveTo>
                    <a:pt x="870" y="3933"/>
                  </a:moveTo>
                  <a:lnTo>
                    <a:pt x="865" y="3959"/>
                  </a:lnTo>
                  <a:lnTo>
                    <a:pt x="853" y="3933"/>
                  </a:lnTo>
                  <a:lnTo>
                    <a:pt x="870" y="3933"/>
                  </a:lnTo>
                  <a:lnTo>
                    <a:pt x="870" y="3933"/>
                  </a:lnTo>
                  <a:lnTo>
                    <a:pt x="870" y="3933"/>
                  </a:lnTo>
                  <a:close/>
                  <a:moveTo>
                    <a:pt x="941" y="3966"/>
                  </a:moveTo>
                  <a:lnTo>
                    <a:pt x="936" y="3983"/>
                  </a:lnTo>
                  <a:lnTo>
                    <a:pt x="919" y="3983"/>
                  </a:lnTo>
                  <a:lnTo>
                    <a:pt x="924" y="3959"/>
                  </a:lnTo>
                  <a:lnTo>
                    <a:pt x="962" y="3943"/>
                  </a:lnTo>
                  <a:lnTo>
                    <a:pt x="962" y="3950"/>
                  </a:lnTo>
                  <a:lnTo>
                    <a:pt x="941" y="3966"/>
                  </a:lnTo>
                  <a:lnTo>
                    <a:pt x="941" y="3966"/>
                  </a:lnTo>
                  <a:lnTo>
                    <a:pt x="941" y="3966"/>
                  </a:lnTo>
                  <a:close/>
                  <a:moveTo>
                    <a:pt x="903" y="3943"/>
                  </a:moveTo>
                  <a:lnTo>
                    <a:pt x="908" y="3950"/>
                  </a:lnTo>
                  <a:lnTo>
                    <a:pt x="898" y="3950"/>
                  </a:lnTo>
                  <a:lnTo>
                    <a:pt x="903" y="3943"/>
                  </a:lnTo>
                  <a:lnTo>
                    <a:pt x="903" y="3943"/>
                  </a:lnTo>
                  <a:lnTo>
                    <a:pt x="903" y="3943"/>
                  </a:lnTo>
                  <a:close/>
                  <a:moveTo>
                    <a:pt x="919" y="3950"/>
                  </a:moveTo>
                  <a:lnTo>
                    <a:pt x="919" y="3966"/>
                  </a:lnTo>
                  <a:lnTo>
                    <a:pt x="903" y="3959"/>
                  </a:lnTo>
                  <a:lnTo>
                    <a:pt x="919" y="3950"/>
                  </a:lnTo>
                  <a:lnTo>
                    <a:pt x="919" y="3950"/>
                  </a:lnTo>
                  <a:lnTo>
                    <a:pt x="919" y="3950"/>
                  </a:lnTo>
                  <a:close/>
                  <a:moveTo>
                    <a:pt x="898" y="3966"/>
                  </a:moveTo>
                  <a:lnTo>
                    <a:pt x="886" y="3959"/>
                  </a:lnTo>
                  <a:lnTo>
                    <a:pt x="898" y="3959"/>
                  </a:lnTo>
                  <a:lnTo>
                    <a:pt x="898" y="3966"/>
                  </a:lnTo>
                  <a:lnTo>
                    <a:pt x="898" y="3966"/>
                  </a:lnTo>
                  <a:lnTo>
                    <a:pt x="898" y="3966"/>
                  </a:lnTo>
                  <a:close/>
                  <a:moveTo>
                    <a:pt x="886" y="3959"/>
                  </a:moveTo>
                  <a:lnTo>
                    <a:pt x="882" y="3966"/>
                  </a:lnTo>
                  <a:lnTo>
                    <a:pt x="886" y="3959"/>
                  </a:lnTo>
                  <a:lnTo>
                    <a:pt x="886" y="3959"/>
                  </a:lnTo>
                  <a:lnTo>
                    <a:pt x="886" y="3959"/>
                  </a:lnTo>
                  <a:close/>
                  <a:moveTo>
                    <a:pt x="903" y="3966"/>
                  </a:moveTo>
                  <a:lnTo>
                    <a:pt x="898" y="3983"/>
                  </a:lnTo>
                  <a:lnTo>
                    <a:pt x="898" y="3966"/>
                  </a:lnTo>
                  <a:lnTo>
                    <a:pt x="903" y="3966"/>
                  </a:lnTo>
                  <a:lnTo>
                    <a:pt x="903" y="3966"/>
                  </a:lnTo>
                  <a:lnTo>
                    <a:pt x="903" y="3966"/>
                  </a:lnTo>
                  <a:close/>
                  <a:moveTo>
                    <a:pt x="908" y="3966"/>
                  </a:moveTo>
                  <a:lnTo>
                    <a:pt x="919" y="3966"/>
                  </a:lnTo>
                  <a:lnTo>
                    <a:pt x="919" y="3971"/>
                  </a:lnTo>
                  <a:lnTo>
                    <a:pt x="903" y="3971"/>
                  </a:lnTo>
                  <a:lnTo>
                    <a:pt x="908" y="3966"/>
                  </a:lnTo>
                  <a:lnTo>
                    <a:pt x="908" y="3966"/>
                  </a:lnTo>
                  <a:lnTo>
                    <a:pt x="908" y="3966"/>
                  </a:lnTo>
                  <a:close/>
                  <a:moveTo>
                    <a:pt x="693" y="3966"/>
                  </a:moveTo>
                  <a:lnTo>
                    <a:pt x="702" y="3971"/>
                  </a:lnTo>
                  <a:lnTo>
                    <a:pt x="702" y="3988"/>
                  </a:lnTo>
                  <a:lnTo>
                    <a:pt x="693" y="3971"/>
                  </a:lnTo>
                  <a:lnTo>
                    <a:pt x="693" y="3966"/>
                  </a:lnTo>
                  <a:lnTo>
                    <a:pt x="693" y="3966"/>
                  </a:lnTo>
                  <a:lnTo>
                    <a:pt x="693" y="3966"/>
                  </a:lnTo>
                  <a:close/>
                  <a:moveTo>
                    <a:pt x="4323" y="3971"/>
                  </a:moveTo>
                  <a:lnTo>
                    <a:pt x="4318" y="3988"/>
                  </a:lnTo>
                  <a:lnTo>
                    <a:pt x="4302" y="3988"/>
                  </a:lnTo>
                  <a:lnTo>
                    <a:pt x="4302" y="3983"/>
                  </a:lnTo>
                  <a:lnTo>
                    <a:pt x="4323" y="3971"/>
                  </a:lnTo>
                  <a:lnTo>
                    <a:pt x="4323" y="3971"/>
                  </a:lnTo>
                  <a:lnTo>
                    <a:pt x="4323" y="3971"/>
                  </a:lnTo>
                  <a:close/>
                  <a:moveTo>
                    <a:pt x="919" y="3971"/>
                  </a:moveTo>
                  <a:lnTo>
                    <a:pt x="908" y="4004"/>
                  </a:lnTo>
                  <a:lnTo>
                    <a:pt x="903" y="4004"/>
                  </a:lnTo>
                  <a:lnTo>
                    <a:pt x="898" y="4000"/>
                  </a:lnTo>
                  <a:lnTo>
                    <a:pt x="903" y="3971"/>
                  </a:lnTo>
                  <a:lnTo>
                    <a:pt x="919" y="3971"/>
                  </a:lnTo>
                  <a:lnTo>
                    <a:pt x="919" y="3971"/>
                  </a:lnTo>
                  <a:lnTo>
                    <a:pt x="919" y="3971"/>
                  </a:lnTo>
                  <a:close/>
                  <a:moveTo>
                    <a:pt x="908" y="4004"/>
                  </a:moveTo>
                  <a:lnTo>
                    <a:pt x="919" y="4037"/>
                  </a:lnTo>
                  <a:lnTo>
                    <a:pt x="903" y="4021"/>
                  </a:lnTo>
                  <a:lnTo>
                    <a:pt x="908" y="4004"/>
                  </a:lnTo>
                  <a:lnTo>
                    <a:pt x="908" y="4004"/>
                  </a:lnTo>
                  <a:lnTo>
                    <a:pt x="908" y="4004"/>
                  </a:lnTo>
                  <a:close/>
                  <a:moveTo>
                    <a:pt x="6116" y="4316"/>
                  </a:moveTo>
                  <a:lnTo>
                    <a:pt x="6133" y="4304"/>
                  </a:lnTo>
                  <a:lnTo>
                    <a:pt x="6133" y="4316"/>
                  </a:lnTo>
                  <a:lnTo>
                    <a:pt x="6137" y="4297"/>
                  </a:lnTo>
                  <a:lnTo>
                    <a:pt x="6154" y="4304"/>
                  </a:lnTo>
                  <a:lnTo>
                    <a:pt x="6170" y="4292"/>
                  </a:lnTo>
                  <a:lnTo>
                    <a:pt x="6170" y="4297"/>
                  </a:lnTo>
                  <a:lnTo>
                    <a:pt x="6154" y="4321"/>
                  </a:lnTo>
                  <a:lnTo>
                    <a:pt x="6149" y="4321"/>
                  </a:lnTo>
                  <a:lnTo>
                    <a:pt x="6121" y="4337"/>
                  </a:lnTo>
                  <a:lnTo>
                    <a:pt x="6111" y="4337"/>
                  </a:lnTo>
                  <a:lnTo>
                    <a:pt x="6111" y="4349"/>
                  </a:lnTo>
                  <a:lnTo>
                    <a:pt x="6121" y="4354"/>
                  </a:lnTo>
                  <a:lnTo>
                    <a:pt x="6111" y="4354"/>
                  </a:lnTo>
                  <a:lnTo>
                    <a:pt x="6133" y="4354"/>
                  </a:lnTo>
                  <a:lnTo>
                    <a:pt x="6111" y="4375"/>
                  </a:lnTo>
                  <a:lnTo>
                    <a:pt x="6116" y="4392"/>
                  </a:lnTo>
                  <a:lnTo>
                    <a:pt x="6133" y="4403"/>
                  </a:lnTo>
                  <a:lnTo>
                    <a:pt x="6137" y="4375"/>
                  </a:lnTo>
                  <a:lnTo>
                    <a:pt x="6154" y="4354"/>
                  </a:lnTo>
                  <a:lnTo>
                    <a:pt x="6170" y="4354"/>
                  </a:lnTo>
                  <a:lnTo>
                    <a:pt x="6175" y="4337"/>
                  </a:lnTo>
                  <a:lnTo>
                    <a:pt x="6187" y="4349"/>
                  </a:lnTo>
                  <a:lnTo>
                    <a:pt x="6175" y="4354"/>
                  </a:lnTo>
                  <a:lnTo>
                    <a:pt x="6154" y="4392"/>
                  </a:lnTo>
                  <a:lnTo>
                    <a:pt x="6163" y="4408"/>
                  </a:lnTo>
                  <a:lnTo>
                    <a:pt x="6175" y="4392"/>
                  </a:lnTo>
                  <a:lnTo>
                    <a:pt x="6187" y="4375"/>
                  </a:lnTo>
                  <a:lnTo>
                    <a:pt x="6201" y="4403"/>
                  </a:lnTo>
                  <a:lnTo>
                    <a:pt x="6187" y="4415"/>
                  </a:lnTo>
                  <a:lnTo>
                    <a:pt x="6175" y="4465"/>
                  </a:lnTo>
                  <a:lnTo>
                    <a:pt x="6163" y="4481"/>
                  </a:lnTo>
                  <a:lnTo>
                    <a:pt x="6149" y="4470"/>
                  </a:lnTo>
                  <a:lnTo>
                    <a:pt x="6133" y="4481"/>
                  </a:lnTo>
                  <a:lnTo>
                    <a:pt x="6133" y="4432"/>
                  </a:lnTo>
                  <a:lnTo>
                    <a:pt x="6100" y="4465"/>
                  </a:lnTo>
                  <a:lnTo>
                    <a:pt x="6083" y="4465"/>
                  </a:lnTo>
                  <a:lnTo>
                    <a:pt x="6095" y="4448"/>
                  </a:lnTo>
                  <a:lnTo>
                    <a:pt x="6111" y="4408"/>
                  </a:lnTo>
                  <a:lnTo>
                    <a:pt x="6100" y="4375"/>
                  </a:lnTo>
                  <a:lnTo>
                    <a:pt x="6083" y="4370"/>
                  </a:lnTo>
                  <a:lnTo>
                    <a:pt x="6066" y="4408"/>
                  </a:lnTo>
                  <a:lnTo>
                    <a:pt x="6057" y="4415"/>
                  </a:lnTo>
                  <a:lnTo>
                    <a:pt x="6066" y="4392"/>
                  </a:lnTo>
                  <a:lnTo>
                    <a:pt x="6057" y="4408"/>
                  </a:lnTo>
                  <a:lnTo>
                    <a:pt x="6041" y="4408"/>
                  </a:lnTo>
                  <a:lnTo>
                    <a:pt x="6015" y="4460"/>
                  </a:lnTo>
                  <a:lnTo>
                    <a:pt x="5986" y="4465"/>
                  </a:lnTo>
                  <a:lnTo>
                    <a:pt x="5960" y="4448"/>
                  </a:lnTo>
                  <a:lnTo>
                    <a:pt x="5970" y="4441"/>
                  </a:lnTo>
                  <a:lnTo>
                    <a:pt x="6003" y="4432"/>
                  </a:lnTo>
                  <a:lnTo>
                    <a:pt x="6015" y="4408"/>
                  </a:lnTo>
                  <a:lnTo>
                    <a:pt x="6041" y="4392"/>
                  </a:lnTo>
                  <a:lnTo>
                    <a:pt x="6029" y="4392"/>
                  </a:lnTo>
                  <a:lnTo>
                    <a:pt x="6041" y="4375"/>
                  </a:lnTo>
                  <a:lnTo>
                    <a:pt x="6024" y="4392"/>
                  </a:lnTo>
                  <a:lnTo>
                    <a:pt x="6003" y="4387"/>
                  </a:lnTo>
                  <a:lnTo>
                    <a:pt x="6003" y="4403"/>
                  </a:lnTo>
                  <a:lnTo>
                    <a:pt x="5991" y="4408"/>
                  </a:lnTo>
                  <a:lnTo>
                    <a:pt x="5986" y="4403"/>
                  </a:lnTo>
                  <a:lnTo>
                    <a:pt x="5970" y="4408"/>
                  </a:lnTo>
                  <a:lnTo>
                    <a:pt x="5977" y="4392"/>
                  </a:lnTo>
                  <a:lnTo>
                    <a:pt x="5948" y="4403"/>
                  </a:lnTo>
                  <a:lnTo>
                    <a:pt x="5986" y="4387"/>
                  </a:lnTo>
                  <a:lnTo>
                    <a:pt x="5970" y="4387"/>
                  </a:lnTo>
                  <a:lnTo>
                    <a:pt x="5977" y="4359"/>
                  </a:lnTo>
                  <a:lnTo>
                    <a:pt x="5970" y="4375"/>
                  </a:lnTo>
                  <a:lnTo>
                    <a:pt x="5953" y="4387"/>
                  </a:lnTo>
                  <a:lnTo>
                    <a:pt x="5953" y="4375"/>
                  </a:lnTo>
                  <a:lnTo>
                    <a:pt x="5948" y="4392"/>
                  </a:lnTo>
                  <a:lnTo>
                    <a:pt x="5901" y="4403"/>
                  </a:lnTo>
                  <a:lnTo>
                    <a:pt x="5814" y="4387"/>
                  </a:lnTo>
                  <a:lnTo>
                    <a:pt x="5738" y="4392"/>
                  </a:lnTo>
                  <a:lnTo>
                    <a:pt x="5733" y="4392"/>
                  </a:lnTo>
                  <a:lnTo>
                    <a:pt x="5722" y="4370"/>
                  </a:lnTo>
                  <a:lnTo>
                    <a:pt x="5792" y="4316"/>
                  </a:lnTo>
                  <a:lnTo>
                    <a:pt x="5776" y="4304"/>
                  </a:lnTo>
                  <a:lnTo>
                    <a:pt x="5733" y="4316"/>
                  </a:lnTo>
                  <a:lnTo>
                    <a:pt x="5771" y="4281"/>
                  </a:lnTo>
                  <a:lnTo>
                    <a:pt x="5755" y="4297"/>
                  </a:lnTo>
                  <a:lnTo>
                    <a:pt x="5771" y="4304"/>
                  </a:lnTo>
                  <a:lnTo>
                    <a:pt x="5792" y="4248"/>
                  </a:lnTo>
                  <a:lnTo>
                    <a:pt x="5792" y="4259"/>
                  </a:lnTo>
                  <a:lnTo>
                    <a:pt x="5830" y="4264"/>
                  </a:lnTo>
                  <a:lnTo>
                    <a:pt x="5814" y="4264"/>
                  </a:lnTo>
                  <a:lnTo>
                    <a:pt x="5809" y="4248"/>
                  </a:lnTo>
                  <a:lnTo>
                    <a:pt x="5826" y="4248"/>
                  </a:lnTo>
                  <a:lnTo>
                    <a:pt x="5830" y="4248"/>
                  </a:lnTo>
                  <a:lnTo>
                    <a:pt x="5814" y="4248"/>
                  </a:lnTo>
                  <a:lnTo>
                    <a:pt x="5826" y="4243"/>
                  </a:lnTo>
                  <a:lnTo>
                    <a:pt x="5809" y="4243"/>
                  </a:lnTo>
                  <a:lnTo>
                    <a:pt x="5809" y="4226"/>
                  </a:lnTo>
                  <a:lnTo>
                    <a:pt x="5826" y="4210"/>
                  </a:lnTo>
                  <a:lnTo>
                    <a:pt x="5840" y="4222"/>
                  </a:lnTo>
                  <a:lnTo>
                    <a:pt x="5830" y="4210"/>
                  </a:lnTo>
                  <a:lnTo>
                    <a:pt x="5826" y="4205"/>
                  </a:lnTo>
                  <a:lnTo>
                    <a:pt x="5863" y="4115"/>
                  </a:lnTo>
                  <a:lnTo>
                    <a:pt x="5878" y="4111"/>
                  </a:lnTo>
                  <a:lnTo>
                    <a:pt x="5863" y="4111"/>
                  </a:lnTo>
                  <a:lnTo>
                    <a:pt x="5894" y="4082"/>
                  </a:lnTo>
                  <a:lnTo>
                    <a:pt x="5901" y="4077"/>
                  </a:lnTo>
                  <a:lnTo>
                    <a:pt x="5894" y="4070"/>
                  </a:lnTo>
                  <a:lnTo>
                    <a:pt x="5906" y="4061"/>
                  </a:lnTo>
                  <a:lnTo>
                    <a:pt x="5906" y="4054"/>
                  </a:lnTo>
                  <a:lnTo>
                    <a:pt x="5915" y="4044"/>
                  </a:lnTo>
                  <a:lnTo>
                    <a:pt x="5970" y="4016"/>
                  </a:lnTo>
                  <a:lnTo>
                    <a:pt x="5970" y="4025"/>
                  </a:lnTo>
                  <a:lnTo>
                    <a:pt x="5986" y="4025"/>
                  </a:lnTo>
                  <a:lnTo>
                    <a:pt x="5977" y="4021"/>
                  </a:lnTo>
                  <a:lnTo>
                    <a:pt x="6003" y="4021"/>
                  </a:lnTo>
                  <a:lnTo>
                    <a:pt x="5991" y="4044"/>
                  </a:lnTo>
                  <a:lnTo>
                    <a:pt x="5953" y="4044"/>
                  </a:lnTo>
                  <a:lnTo>
                    <a:pt x="5960" y="4061"/>
                  </a:lnTo>
                  <a:lnTo>
                    <a:pt x="5977" y="4054"/>
                  </a:lnTo>
                  <a:lnTo>
                    <a:pt x="5977" y="4070"/>
                  </a:lnTo>
                  <a:lnTo>
                    <a:pt x="5953" y="4099"/>
                  </a:lnTo>
                  <a:lnTo>
                    <a:pt x="5953" y="4082"/>
                  </a:lnTo>
                  <a:lnTo>
                    <a:pt x="5948" y="4115"/>
                  </a:lnTo>
                  <a:lnTo>
                    <a:pt x="5906" y="4170"/>
                  </a:lnTo>
                  <a:lnTo>
                    <a:pt x="5906" y="4188"/>
                  </a:lnTo>
                  <a:lnTo>
                    <a:pt x="5901" y="4193"/>
                  </a:lnTo>
                  <a:lnTo>
                    <a:pt x="5906" y="4193"/>
                  </a:lnTo>
                  <a:lnTo>
                    <a:pt x="5901" y="4210"/>
                  </a:lnTo>
                  <a:lnTo>
                    <a:pt x="5953" y="4153"/>
                  </a:lnTo>
                  <a:lnTo>
                    <a:pt x="5977" y="4181"/>
                  </a:lnTo>
                  <a:lnTo>
                    <a:pt x="6003" y="4170"/>
                  </a:lnTo>
                  <a:lnTo>
                    <a:pt x="6003" y="4181"/>
                  </a:lnTo>
                  <a:lnTo>
                    <a:pt x="5953" y="4205"/>
                  </a:lnTo>
                  <a:lnTo>
                    <a:pt x="5970" y="4205"/>
                  </a:lnTo>
                  <a:lnTo>
                    <a:pt x="5953" y="4226"/>
                  </a:lnTo>
                  <a:lnTo>
                    <a:pt x="5970" y="4222"/>
                  </a:lnTo>
                  <a:lnTo>
                    <a:pt x="5986" y="4226"/>
                  </a:lnTo>
                  <a:lnTo>
                    <a:pt x="5991" y="4222"/>
                  </a:lnTo>
                  <a:lnTo>
                    <a:pt x="5991" y="4226"/>
                  </a:lnTo>
                  <a:lnTo>
                    <a:pt x="6007" y="4222"/>
                  </a:lnTo>
                  <a:lnTo>
                    <a:pt x="6007" y="4238"/>
                  </a:lnTo>
                  <a:lnTo>
                    <a:pt x="6007" y="4210"/>
                  </a:lnTo>
                  <a:lnTo>
                    <a:pt x="6024" y="4210"/>
                  </a:lnTo>
                  <a:lnTo>
                    <a:pt x="6007" y="4259"/>
                  </a:lnTo>
                  <a:lnTo>
                    <a:pt x="6024" y="4226"/>
                  </a:lnTo>
                  <a:lnTo>
                    <a:pt x="6045" y="4243"/>
                  </a:lnTo>
                  <a:lnTo>
                    <a:pt x="6062" y="4210"/>
                  </a:lnTo>
                  <a:lnTo>
                    <a:pt x="6066" y="4222"/>
                  </a:lnTo>
                  <a:lnTo>
                    <a:pt x="6066" y="4243"/>
                  </a:lnTo>
                  <a:lnTo>
                    <a:pt x="6078" y="4226"/>
                  </a:lnTo>
                  <a:lnTo>
                    <a:pt x="6083" y="4226"/>
                  </a:lnTo>
                  <a:lnTo>
                    <a:pt x="6100" y="4222"/>
                  </a:lnTo>
                  <a:lnTo>
                    <a:pt x="6116" y="4226"/>
                  </a:lnTo>
                  <a:lnTo>
                    <a:pt x="6137" y="4243"/>
                  </a:lnTo>
                  <a:lnTo>
                    <a:pt x="6133" y="4259"/>
                  </a:lnTo>
                  <a:lnTo>
                    <a:pt x="6116" y="4259"/>
                  </a:lnTo>
                  <a:lnTo>
                    <a:pt x="6121" y="4264"/>
                  </a:lnTo>
                  <a:lnTo>
                    <a:pt x="6095" y="4281"/>
                  </a:lnTo>
                  <a:lnTo>
                    <a:pt x="6116" y="4281"/>
                  </a:lnTo>
                  <a:lnTo>
                    <a:pt x="6111" y="4297"/>
                  </a:lnTo>
                  <a:lnTo>
                    <a:pt x="6116" y="4292"/>
                  </a:lnTo>
                  <a:lnTo>
                    <a:pt x="6111" y="4297"/>
                  </a:lnTo>
                  <a:lnTo>
                    <a:pt x="6111" y="4292"/>
                  </a:lnTo>
                  <a:lnTo>
                    <a:pt x="6133" y="4292"/>
                  </a:lnTo>
                  <a:lnTo>
                    <a:pt x="6100" y="4304"/>
                  </a:lnTo>
                  <a:lnTo>
                    <a:pt x="6116" y="4304"/>
                  </a:lnTo>
                  <a:lnTo>
                    <a:pt x="6116" y="4316"/>
                  </a:lnTo>
                  <a:lnTo>
                    <a:pt x="6116" y="4316"/>
                  </a:lnTo>
                  <a:lnTo>
                    <a:pt x="6116" y="4316"/>
                  </a:lnTo>
                  <a:close/>
                  <a:moveTo>
                    <a:pt x="6100" y="4316"/>
                  </a:moveTo>
                  <a:lnTo>
                    <a:pt x="6095" y="4321"/>
                  </a:lnTo>
                  <a:lnTo>
                    <a:pt x="6116" y="4316"/>
                  </a:lnTo>
                  <a:lnTo>
                    <a:pt x="6100" y="4316"/>
                  </a:lnTo>
                  <a:lnTo>
                    <a:pt x="6100" y="4316"/>
                  </a:lnTo>
                  <a:lnTo>
                    <a:pt x="6100" y="4316"/>
                  </a:lnTo>
                  <a:close/>
                  <a:moveTo>
                    <a:pt x="5991" y="4077"/>
                  </a:moveTo>
                  <a:lnTo>
                    <a:pt x="5991" y="4082"/>
                  </a:lnTo>
                  <a:lnTo>
                    <a:pt x="5986" y="4082"/>
                  </a:lnTo>
                  <a:lnTo>
                    <a:pt x="5991" y="4077"/>
                  </a:lnTo>
                  <a:lnTo>
                    <a:pt x="5991" y="4077"/>
                  </a:lnTo>
                  <a:lnTo>
                    <a:pt x="5991" y="4077"/>
                  </a:lnTo>
                  <a:close/>
                  <a:moveTo>
                    <a:pt x="936" y="4082"/>
                  </a:moveTo>
                  <a:lnTo>
                    <a:pt x="936" y="4094"/>
                  </a:lnTo>
                  <a:lnTo>
                    <a:pt x="924" y="4082"/>
                  </a:lnTo>
                  <a:lnTo>
                    <a:pt x="936" y="4082"/>
                  </a:lnTo>
                  <a:lnTo>
                    <a:pt x="936" y="4082"/>
                  </a:lnTo>
                  <a:lnTo>
                    <a:pt x="936" y="4082"/>
                  </a:lnTo>
                  <a:close/>
                  <a:moveTo>
                    <a:pt x="1096" y="4137"/>
                  </a:moveTo>
                  <a:lnTo>
                    <a:pt x="1113" y="4181"/>
                  </a:lnTo>
                  <a:lnTo>
                    <a:pt x="1134" y="4193"/>
                  </a:lnTo>
                  <a:lnTo>
                    <a:pt x="1125" y="4205"/>
                  </a:lnTo>
                  <a:lnTo>
                    <a:pt x="1139" y="4222"/>
                  </a:lnTo>
                  <a:lnTo>
                    <a:pt x="1193" y="4243"/>
                  </a:lnTo>
                  <a:lnTo>
                    <a:pt x="1222" y="4281"/>
                  </a:lnTo>
                  <a:lnTo>
                    <a:pt x="1226" y="4297"/>
                  </a:lnTo>
                  <a:lnTo>
                    <a:pt x="1231" y="4292"/>
                  </a:lnTo>
                  <a:lnTo>
                    <a:pt x="1243" y="4321"/>
                  </a:lnTo>
                  <a:lnTo>
                    <a:pt x="1231" y="4316"/>
                  </a:lnTo>
                  <a:lnTo>
                    <a:pt x="1222" y="4333"/>
                  </a:lnTo>
                  <a:lnTo>
                    <a:pt x="1118" y="4292"/>
                  </a:lnTo>
                  <a:lnTo>
                    <a:pt x="1113" y="4281"/>
                  </a:lnTo>
                  <a:lnTo>
                    <a:pt x="1134" y="4259"/>
                  </a:lnTo>
                  <a:lnTo>
                    <a:pt x="1134" y="4243"/>
                  </a:lnTo>
                  <a:lnTo>
                    <a:pt x="1125" y="4264"/>
                  </a:lnTo>
                  <a:lnTo>
                    <a:pt x="1087" y="4276"/>
                  </a:lnTo>
                  <a:lnTo>
                    <a:pt x="1070" y="4259"/>
                  </a:lnTo>
                  <a:lnTo>
                    <a:pt x="1080" y="4243"/>
                  </a:lnTo>
                  <a:lnTo>
                    <a:pt x="1070" y="4248"/>
                  </a:lnTo>
                  <a:lnTo>
                    <a:pt x="1063" y="4238"/>
                  </a:lnTo>
                  <a:lnTo>
                    <a:pt x="1049" y="4243"/>
                  </a:lnTo>
                  <a:lnTo>
                    <a:pt x="1059" y="4226"/>
                  </a:lnTo>
                  <a:lnTo>
                    <a:pt x="1059" y="4238"/>
                  </a:lnTo>
                  <a:lnTo>
                    <a:pt x="1042" y="4226"/>
                  </a:lnTo>
                  <a:lnTo>
                    <a:pt x="1016" y="4226"/>
                  </a:lnTo>
                  <a:lnTo>
                    <a:pt x="1011" y="4210"/>
                  </a:lnTo>
                  <a:lnTo>
                    <a:pt x="1049" y="4205"/>
                  </a:lnTo>
                  <a:lnTo>
                    <a:pt x="1011" y="4193"/>
                  </a:lnTo>
                  <a:lnTo>
                    <a:pt x="1004" y="4181"/>
                  </a:lnTo>
                  <a:lnTo>
                    <a:pt x="995" y="4181"/>
                  </a:lnTo>
                  <a:lnTo>
                    <a:pt x="974" y="4188"/>
                  </a:lnTo>
                  <a:lnTo>
                    <a:pt x="962" y="4170"/>
                  </a:lnTo>
                  <a:lnTo>
                    <a:pt x="974" y="4165"/>
                  </a:lnTo>
                  <a:lnTo>
                    <a:pt x="957" y="4170"/>
                  </a:lnTo>
                  <a:lnTo>
                    <a:pt x="941" y="4153"/>
                  </a:lnTo>
                  <a:lnTo>
                    <a:pt x="919" y="4165"/>
                  </a:lnTo>
                  <a:lnTo>
                    <a:pt x="924" y="4148"/>
                  </a:lnTo>
                  <a:lnTo>
                    <a:pt x="924" y="4137"/>
                  </a:lnTo>
                  <a:lnTo>
                    <a:pt x="919" y="4137"/>
                  </a:lnTo>
                  <a:lnTo>
                    <a:pt x="919" y="4127"/>
                  </a:lnTo>
                  <a:lnTo>
                    <a:pt x="941" y="4127"/>
                  </a:lnTo>
                  <a:lnTo>
                    <a:pt x="952" y="4132"/>
                  </a:lnTo>
                  <a:lnTo>
                    <a:pt x="941" y="4127"/>
                  </a:lnTo>
                  <a:lnTo>
                    <a:pt x="957" y="4115"/>
                  </a:lnTo>
                  <a:lnTo>
                    <a:pt x="919" y="4111"/>
                  </a:lnTo>
                  <a:lnTo>
                    <a:pt x="941" y="4115"/>
                  </a:lnTo>
                  <a:lnTo>
                    <a:pt x="908" y="4132"/>
                  </a:lnTo>
                  <a:lnTo>
                    <a:pt x="886" y="4115"/>
                  </a:lnTo>
                  <a:lnTo>
                    <a:pt x="886" y="4099"/>
                  </a:lnTo>
                  <a:lnTo>
                    <a:pt x="919" y="4094"/>
                  </a:lnTo>
                  <a:lnTo>
                    <a:pt x="962" y="4111"/>
                  </a:lnTo>
                  <a:lnTo>
                    <a:pt x="1096" y="4137"/>
                  </a:lnTo>
                  <a:lnTo>
                    <a:pt x="1096" y="4137"/>
                  </a:lnTo>
                  <a:lnTo>
                    <a:pt x="1096" y="4137"/>
                  </a:lnTo>
                  <a:close/>
                  <a:moveTo>
                    <a:pt x="995" y="4099"/>
                  </a:moveTo>
                  <a:lnTo>
                    <a:pt x="990" y="4094"/>
                  </a:lnTo>
                  <a:lnTo>
                    <a:pt x="1011" y="4094"/>
                  </a:lnTo>
                  <a:lnTo>
                    <a:pt x="995" y="4099"/>
                  </a:lnTo>
                  <a:lnTo>
                    <a:pt x="995" y="4099"/>
                  </a:lnTo>
                  <a:lnTo>
                    <a:pt x="995" y="4099"/>
                  </a:lnTo>
                  <a:close/>
                  <a:moveTo>
                    <a:pt x="1033" y="4094"/>
                  </a:moveTo>
                  <a:lnTo>
                    <a:pt x="1042" y="4099"/>
                  </a:lnTo>
                  <a:lnTo>
                    <a:pt x="1033" y="4111"/>
                  </a:lnTo>
                  <a:lnTo>
                    <a:pt x="1011" y="4111"/>
                  </a:lnTo>
                  <a:lnTo>
                    <a:pt x="1033" y="4094"/>
                  </a:lnTo>
                  <a:lnTo>
                    <a:pt x="1033" y="4094"/>
                  </a:lnTo>
                  <a:lnTo>
                    <a:pt x="1033" y="4094"/>
                  </a:lnTo>
                  <a:close/>
                  <a:moveTo>
                    <a:pt x="1004" y="4099"/>
                  </a:moveTo>
                  <a:lnTo>
                    <a:pt x="1016" y="4099"/>
                  </a:lnTo>
                  <a:lnTo>
                    <a:pt x="1011" y="4111"/>
                  </a:lnTo>
                  <a:lnTo>
                    <a:pt x="1004" y="4099"/>
                  </a:lnTo>
                  <a:lnTo>
                    <a:pt x="1004" y="4099"/>
                  </a:lnTo>
                  <a:lnTo>
                    <a:pt x="1004" y="4099"/>
                  </a:lnTo>
                  <a:close/>
                  <a:moveTo>
                    <a:pt x="990" y="4115"/>
                  </a:moveTo>
                  <a:lnTo>
                    <a:pt x="974" y="4111"/>
                  </a:lnTo>
                  <a:lnTo>
                    <a:pt x="995" y="4111"/>
                  </a:lnTo>
                  <a:lnTo>
                    <a:pt x="990" y="4115"/>
                  </a:lnTo>
                  <a:lnTo>
                    <a:pt x="990" y="4115"/>
                  </a:lnTo>
                  <a:lnTo>
                    <a:pt x="990" y="4115"/>
                  </a:lnTo>
                  <a:close/>
                  <a:moveTo>
                    <a:pt x="1016" y="4111"/>
                  </a:moveTo>
                  <a:lnTo>
                    <a:pt x="1026" y="4115"/>
                  </a:lnTo>
                  <a:lnTo>
                    <a:pt x="1011" y="4115"/>
                  </a:lnTo>
                  <a:lnTo>
                    <a:pt x="1016" y="4111"/>
                  </a:lnTo>
                  <a:lnTo>
                    <a:pt x="1016" y="4111"/>
                  </a:lnTo>
                  <a:lnTo>
                    <a:pt x="1016" y="4111"/>
                  </a:lnTo>
                  <a:close/>
                  <a:moveTo>
                    <a:pt x="1033" y="4115"/>
                  </a:moveTo>
                  <a:lnTo>
                    <a:pt x="1011" y="4127"/>
                  </a:lnTo>
                  <a:lnTo>
                    <a:pt x="1033" y="4115"/>
                  </a:lnTo>
                  <a:lnTo>
                    <a:pt x="1033" y="4115"/>
                  </a:lnTo>
                  <a:lnTo>
                    <a:pt x="1033" y="4115"/>
                  </a:lnTo>
                  <a:close/>
                  <a:moveTo>
                    <a:pt x="1063" y="4127"/>
                  </a:moveTo>
                  <a:lnTo>
                    <a:pt x="1070" y="4132"/>
                  </a:lnTo>
                  <a:lnTo>
                    <a:pt x="1059" y="4132"/>
                  </a:lnTo>
                  <a:lnTo>
                    <a:pt x="1063" y="4127"/>
                  </a:lnTo>
                  <a:lnTo>
                    <a:pt x="1063" y="4127"/>
                  </a:lnTo>
                  <a:lnTo>
                    <a:pt x="1063" y="4127"/>
                  </a:lnTo>
                  <a:close/>
                  <a:moveTo>
                    <a:pt x="1096" y="4127"/>
                  </a:moveTo>
                  <a:lnTo>
                    <a:pt x="1096" y="4132"/>
                  </a:lnTo>
                  <a:lnTo>
                    <a:pt x="1087" y="4132"/>
                  </a:lnTo>
                  <a:lnTo>
                    <a:pt x="1096" y="4127"/>
                  </a:lnTo>
                  <a:lnTo>
                    <a:pt x="1096" y="4127"/>
                  </a:lnTo>
                  <a:lnTo>
                    <a:pt x="1096" y="4127"/>
                  </a:lnTo>
                  <a:close/>
                  <a:moveTo>
                    <a:pt x="1101" y="4132"/>
                  </a:moveTo>
                  <a:lnTo>
                    <a:pt x="1118" y="4148"/>
                  </a:lnTo>
                  <a:lnTo>
                    <a:pt x="1113" y="4153"/>
                  </a:lnTo>
                  <a:lnTo>
                    <a:pt x="1113" y="4137"/>
                  </a:lnTo>
                  <a:lnTo>
                    <a:pt x="1096" y="4137"/>
                  </a:lnTo>
                  <a:lnTo>
                    <a:pt x="1101" y="4132"/>
                  </a:lnTo>
                  <a:lnTo>
                    <a:pt x="1101" y="4132"/>
                  </a:lnTo>
                  <a:lnTo>
                    <a:pt x="1101" y="4132"/>
                  </a:lnTo>
                  <a:close/>
                  <a:moveTo>
                    <a:pt x="1080" y="4132"/>
                  </a:moveTo>
                  <a:lnTo>
                    <a:pt x="1070" y="4132"/>
                  </a:lnTo>
                  <a:lnTo>
                    <a:pt x="1087" y="4132"/>
                  </a:lnTo>
                  <a:lnTo>
                    <a:pt x="1080" y="4132"/>
                  </a:lnTo>
                  <a:lnTo>
                    <a:pt x="1080" y="4132"/>
                  </a:lnTo>
                  <a:lnTo>
                    <a:pt x="1080" y="4132"/>
                  </a:lnTo>
                  <a:close/>
                  <a:moveTo>
                    <a:pt x="1139" y="4137"/>
                  </a:moveTo>
                  <a:lnTo>
                    <a:pt x="1151" y="4148"/>
                  </a:lnTo>
                  <a:lnTo>
                    <a:pt x="1139" y="4153"/>
                  </a:lnTo>
                  <a:lnTo>
                    <a:pt x="1134" y="4148"/>
                  </a:lnTo>
                  <a:lnTo>
                    <a:pt x="1139" y="4137"/>
                  </a:lnTo>
                  <a:lnTo>
                    <a:pt x="1139" y="4137"/>
                  </a:lnTo>
                  <a:lnTo>
                    <a:pt x="1139" y="4137"/>
                  </a:lnTo>
                  <a:close/>
                  <a:moveTo>
                    <a:pt x="1134" y="4137"/>
                  </a:moveTo>
                  <a:lnTo>
                    <a:pt x="1139" y="4153"/>
                  </a:lnTo>
                  <a:lnTo>
                    <a:pt x="1134" y="4165"/>
                  </a:lnTo>
                  <a:lnTo>
                    <a:pt x="1125" y="4148"/>
                  </a:lnTo>
                  <a:lnTo>
                    <a:pt x="1134" y="4137"/>
                  </a:lnTo>
                  <a:lnTo>
                    <a:pt x="1134" y="4137"/>
                  </a:lnTo>
                  <a:lnTo>
                    <a:pt x="1134" y="4137"/>
                  </a:lnTo>
                  <a:close/>
                  <a:moveTo>
                    <a:pt x="1096" y="4148"/>
                  </a:moveTo>
                  <a:lnTo>
                    <a:pt x="1113" y="4148"/>
                  </a:lnTo>
                  <a:lnTo>
                    <a:pt x="1113" y="4170"/>
                  </a:lnTo>
                  <a:lnTo>
                    <a:pt x="1096" y="4148"/>
                  </a:lnTo>
                  <a:lnTo>
                    <a:pt x="1096" y="4148"/>
                  </a:lnTo>
                  <a:lnTo>
                    <a:pt x="1096" y="4148"/>
                  </a:lnTo>
                  <a:close/>
                  <a:moveTo>
                    <a:pt x="1125" y="4148"/>
                  </a:moveTo>
                  <a:lnTo>
                    <a:pt x="1134" y="4165"/>
                  </a:lnTo>
                  <a:lnTo>
                    <a:pt x="1125" y="4165"/>
                  </a:lnTo>
                  <a:lnTo>
                    <a:pt x="1118" y="4165"/>
                  </a:lnTo>
                  <a:lnTo>
                    <a:pt x="1125" y="4148"/>
                  </a:lnTo>
                  <a:lnTo>
                    <a:pt x="1125" y="4148"/>
                  </a:lnTo>
                  <a:lnTo>
                    <a:pt x="1125" y="4148"/>
                  </a:lnTo>
                  <a:close/>
                  <a:moveTo>
                    <a:pt x="5436" y="4188"/>
                  </a:moveTo>
                  <a:lnTo>
                    <a:pt x="5500" y="4210"/>
                  </a:lnTo>
                  <a:lnTo>
                    <a:pt x="5523" y="4226"/>
                  </a:lnTo>
                  <a:lnTo>
                    <a:pt x="5544" y="4238"/>
                  </a:lnTo>
                  <a:lnTo>
                    <a:pt x="5561" y="4248"/>
                  </a:lnTo>
                  <a:lnTo>
                    <a:pt x="5528" y="4259"/>
                  </a:lnTo>
                  <a:lnTo>
                    <a:pt x="5462" y="4243"/>
                  </a:lnTo>
                  <a:lnTo>
                    <a:pt x="5431" y="4226"/>
                  </a:lnTo>
                  <a:lnTo>
                    <a:pt x="5410" y="4205"/>
                  </a:lnTo>
                  <a:lnTo>
                    <a:pt x="5365" y="4188"/>
                  </a:lnTo>
                  <a:lnTo>
                    <a:pt x="5381" y="4170"/>
                  </a:lnTo>
                  <a:lnTo>
                    <a:pt x="5436" y="4188"/>
                  </a:lnTo>
                  <a:lnTo>
                    <a:pt x="5436" y="4188"/>
                  </a:lnTo>
                  <a:lnTo>
                    <a:pt x="5436" y="4188"/>
                  </a:lnTo>
                  <a:close/>
                  <a:moveTo>
                    <a:pt x="1004" y="4181"/>
                  </a:moveTo>
                  <a:lnTo>
                    <a:pt x="1011" y="4193"/>
                  </a:lnTo>
                  <a:lnTo>
                    <a:pt x="1011" y="4210"/>
                  </a:lnTo>
                  <a:lnTo>
                    <a:pt x="990" y="4193"/>
                  </a:lnTo>
                  <a:lnTo>
                    <a:pt x="990" y="4188"/>
                  </a:lnTo>
                  <a:lnTo>
                    <a:pt x="1004" y="4181"/>
                  </a:lnTo>
                  <a:lnTo>
                    <a:pt x="1004" y="4181"/>
                  </a:lnTo>
                  <a:lnTo>
                    <a:pt x="1004" y="4181"/>
                  </a:lnTo>
                  <a:close/>
                  <a:moveTo>
                    <a:pt x="1189" y="4222"/>
                  </a:moveTo>
                  <a:lnTo>
                    <a:pt x="1151" y="4188"/>
                  </a:lnTo>
                  <a:lnTo>
                    <a:pt x="1172" y="4193"/>
                  </a:lnTo>
                  <a:lnTo>
                    <a:pt x="1189" y="4222"/>
                  </a:lnTo>
                  <a:lnTo>
                    <a:pt x="1189" y="4222"/>
                  </a:lnTo>
                  <a:lnTo>
                    <a:pt x="1189" y="4222"/>
                  </a:lnTo>
                  <a:close/>
                  <a:moveTo>
                    <a:pt x="1193" y="4193"/>
                  </a:moveTo>
                  <a:lnTo>
                    <a:pt x="1189" y="4205"/>
                  </a:lnTo>
                  <a:lnTo>
                    <a:pt x="1177" y="4205"/>
                  </a:lnTo>
                  <a:lnTo>
                    <a:pt x="1193" y="4193"/>
                  </a:lnTo>
                  <a:lnTo>
                    <a:pt x="1193" y="4193"/>
                  </a:lnTo>
                  <a:lnTo>
                    <a:pt x="1193" y="4193"/>
                  </a:lnTo>
                  <a:close/>
                  <a:moveTo>
                    <a:pt x="6095" y="4193"/>
                  </a:moveTo>
                  <a:lnTo>
                    <a:pt x="6100" y="4205"/>
                  </a:lnTo>
                  <a:lnTo>
                    <a:pt x="6078" y="4210"/>
                  </a:lnTo>
                  <a:lnTo>
                    <a:pt x="6078" y="4193"/>
                  </a:lnTo>
                  <a:lnTo>
                    <a:pt x="6095" y="4193"/>
                  </a:lnTo>
                  <a:lnTo>
                    <a:pt x="6095" y="4193"/>
                  </a:lnTo>
                  <a:lnTo>
                    <a:pt x="6095" y="4193"/>
                  </a:lnTo>
                  <a:close/>
                  <a:moveTo>
                    <a:pt x="6062" y="4205"/>
                  </a:moveTo>
                  <a:lnTo>
                    <a:pt x="6041" y="4222"/>
                  </a:lnTo>
                  <a:lnTo>
                    <a:pt x="6041" y="4210"/>
                  </a:lnTo>
                  <a:lnTo>
                    <a:pt x="6045" y="4210"/>
                  </a:lnTo>
                  <a:lnTo>
                    <a:pt x="6062" y="4205"/>
                  </a:lnTo>
                  <a:lnTo>
                    <a:pt x="6062" y="4205"/>
                  </a:lnTo>
                  <a:lnTo>
                    <a:pt x="6062" y="4205"/>
                  </a:lnTo>
                  <a:close/>
                  <a:moveTo>
                    <a:pt x="5986" y="4205"/>
                  </a:moveTo>
                  <a:lnTo>
                    <a:pt x="5991" y="4210"/>
                  </a:lnTo>
                  <a:lnTo>
                    <a:pt x="5977" y="4210"/>
                  </a:lnTo>
                  <a:lnTo>
                    <a:pt x="5986" y="4205"/>
                  </a:lnTo>
                  <a:lnTo>
                    <a:pt x="5986" y="4205"/>
                  </a:lnTo>
                  <a:lnTo>
                    <a:pt x="5986" y="4205"/>
                  </a:lnTo>
                  <a:close/>
                  <a:moveTo>
                    <a:pt x="1243" y="4222"/>
                  </a:moveTo>
                  <a:lnTo>
                    <a:pt x="1231" y="4226"/>
                  </a:lnTo>
                  <a:lnTo>
                    <a:pt x="1231" y="4222"/>
                  </a:lnTo>
                  <a:lnTo>
                    <a:pt x="1243" y="4222"/>
                  </a:lnTo>
                  <a:lnTo>
                    <a:pt x="1243" y="4222"/>
                  </a:lnTo>
                  <a:lnTo>
                    <a:pt x="1243" y="4222"/>
                  </a:lnTo>
                  <a:close/>
                  <a:moveTo>
                    <a:pt x="1042" y="4226"/>
                  </a:moveTo>
                  <a:lnTo>
                    <a:pt x="1049" y="4243"/>
                  </a:lnTo>
                  <a:lnTo>
                    <a:pt x="1033" y="4238"/>
                  </a:lnTo>
                  <a:lnTo>
                    <a:pt x="1033" y="4226"/>
                  </a:lnTo>
                  <a:lnTo>
                    <a:pt x="1042" y="4226"/>
                  </a:lnTo>
                  <a:lnTo>
                    <a:pt x="1042" y="4226"/>
                  </a:lnTo>
                  <a:lnTo>
                    <a:pt x="1042" y="4226"/>
                  </a:lnTo>
                  <a:close/>
                  <a:moveTo>
                    <a:pt x="1063" y="4243"/>
                  </a:moveTo>
                  <a:lnTo>
                    <a:pt x="1063" y="4248"/>
                  </a:lnTo>
                  <a:lnTo>
                    <a:pt x="1059" y="4243"/>
                  </a:lnTo>
                  <a:lnTo>
                    <a:pt x="1063" y="4243"/>
                  </a:lnTo>
                  <a:lnTo>
                    <a:pt x="1063" y="4243"/>
                  </a:lnTo>
                  <a:lnTo>
                    <a:pt x="1063" y="4243"/>
                  </a:lnTo>
                  <a:close/>
                  <a:moveTo>
                    <a:pt x="1205" y="4248"/>
                  </a:moveTo>
                  <a:lnTo>
                    <a:pt x="1210" y="4248"/>
                  </a:lnTo>
                  <a:lnTo>
                    <a:pt x="1205" y="4248"/>
                  </a:lnTo>
                  <a:lnTo>
                    <a:pt x="1205" y="4248"/>
                  </a:lnTo>
                  <a:lnTo>
                    <a:pt x="1205" y="4248"/>
                  </a:lnTo>
                  <a:close/>
                  <a:moveTo>
                    <a:pt x="1222" y="4259"/>
                  </a:moveTo>
                  <a:lnTo>
                    <a:pt x="1243" y="4276"/>
                  </a:lnTo>
                  <a:lnTo>
                    <a:pt x="1226" y="4264"/>
                  </a:lnTo>
                  <a:lnTo>
                    <a:pt x="1222" y="4259"/>
                  </a:lnTo>
                  <a:lnTo>
                    <a:pt x="1222" y="4259"/>
                  </a:lnTo>
                  <a:lnTo>
                    <a:pt x="1222" y="4259"/>
                  </a:lnTo>
                  <a:close/>
                  <a:moveTo>
                    <a:pt x="1226" y="4276"/>
                  </a:moveTo>
                  <a:lnTo>
                    <a:pt x="1231" y="4292"/>
                  </a:lnTo>
                  <a:lnTo>
                    <a:pt x="1226" y="4292"/>
                  </a:lnTo>
                  <a:lnTo>
                    <a:pt x="1226" y="4276"/>
                  </a:lnTo>
                  <a:lnTo>
                    <a:pt x="1226" y="4276"/>
                  </a:lnTo>
                  <a:lnTo>
                    <a:pt x="1226" y="4276"/>
                  </a:lnTo>
                  <a:close/>
                  <a:moveTo>
                    <a:pt x="6133" y="4337"/>
                  </a:moveTo>
                  <a:lnTo>
                    <a:pt x="6133" y="4349"/>
                  </a:lnTo>
                  <a:lnTo>
                    <a:pt x="6121" y="4354"/>
                  </a:lnTo>
                  <a:lnTo>
                    <a:pt x="6111" y="4337"/>
                  </a:lnTo>
                  <a:lnTo>
                    <a:pt x="6133" y="4337"/>
                  </a:lnTo>
                  <a:lnTo>
                    <a:pt x="6133" y="4337"/>
                  </a:lnTo>
                  <a:lnTo>
                    <a:pt x="6133" y="4337"/>
                  </a:lnTo>
                  <a:close/>
                  <a:moveTo>
                    <a:pt x="5365" y="4354"/>
                  </a:moveTo>
                  <a:lnTo>
                    <a:pt x="5365" y="4359"/>
                  </a:lnTo>
                  <a:lnTo>
                    <a:pt x="5360" y="4359"/>
                  </a:lnTo>
                  <a:lnTo>
                    <a:pt x="5365" y="4354"/>
                  </a:lnTo>
                  <a:lnTo>
                    <a:pt x="5365" y="4354"/>
                  </a:lnTo>
                  <a:lnTo>
                    <a:pt x="5365" y="4354"/>
                  </a:lnTo>
                  <a:close/>
                  <a:moveTo>
                    <a:pt x="5365" y="4359"/>
                  </a:moveTo>
                  <a:lnTo>
                    <a:pt x="5360" y="4375"/>
                  </a:lnTo>
                  <a:lnTo>
                    <a:pt x="5355" y="4375"/>
                  </a:lnTo>
                  <a:lnTo>
                    <a:pt x="5355" y="4370"/>
                  </a:lnTo>
                  <a:lnTo>
                    <a:pt x="5365" y="4359"/>
                  </a:lnTo>
                  <a:lnTo>
                    <a:pt x="5365" y="4359"/>
                  </a:lnTo>
                  <a:lnTo>
                    <a:pt x="5365" y="4359"/>
                  </a:lnTo>
                  <a:close/>
                  <a:moveTo>
                    <a:pt x="5970" y="4387"/>
                  </a:moveTo>
                  <a:lnTo>
                    <a:pt x="5970" y="4392"/>
                  </a:lnTo>
                  <a:lnTo>
                    <a:pt x="5953" y="4387"/>
                  </a:lnTo>
                  <a:lnTo>
                    <a:pt x="5970" y="4387"/>
                  </a:lnTo>
                  <a:lnTo>
                    <a:pt x="5970" y="4387"/>
                  </a:lnTo>
                  <a:lnTo>
                    <a:pt x="5970" y="4387"/>
                  </a:lnTo>
                  <a:close/>
                  <a:moveTo>
                    <a:pt x="6095" y="4392"/>
                  </a:moveTo>
                  <a:lnTo>
                    <a:pt x="6083" y="4408"/>
                  </a:lnTo>
                  <a:lnTo>
                    <a:pt x="6078" y="4408"/>
                  </a:lnTo>
                  <a:lnTo>
                    <a:pt x="6095" y="4392"/>
                  </a:lnTo>
                  <a:lnTo>
                    <a:pt x="6095" y="4392"/>
                  </a:lnTo>
                  <a:lnTo>
                    <a:pt x="6095" y="4392"/>
                  </a:lnTo>
                  <a:close/>
                  <a:moveTo>
                    <a:pt x="5582" y="4392"/>
                  </a:moveTo>
                  <a:lnTo>
                    <a:pt x="5570" y="4403"/>
                  </a:lnTo>
                  <a:lnTo>
                    <a:pt x="5544" y="4425"/>
                  </a:lnTo>
                  <a:lnTo>
                    <a:pt x="5554" y="4425"/>
                  </a:lnTo>
                  <a:lnTo>
                    <a:pt x="5537" y="4425"/>
                  </a:lnTo>
                  <a:lnTo>
                    <a:pt x="5544" y="4408"/>
                  </a:lnTo>
                  <a:lnTo>
                    <a:pt x="5582" y="4392"/>
                  </a:lnTo>
                  <a:lnTo>
                    <a:pt x="5582" y="4392"/>
                  </a:lnTo>
                  <a:lnTo>
                    <a:pt x="5582" y="4392"/>
                  </a:lnTo>
                  <a:close/>
                  <a:moveTo>
                    <a:pt x="5523" y="4503"/>
                  </a:moveTo>
                  <a:lnTo>
                    <a:pt x="5500" y="4519"/>
                  </a:lnTo>
                  <a:lnTo>
                    <a:pt x="5507" y="4526"/>
                  </a:lnTo>
                  <a:lnTo>
                    <a:pt x="5507" y="4536"/>
                  </a:lnTo>
                  <a:lnTo>
                    <a:pt x="5485" y="4543"/>
                  </a:lnTo>
                  <a:lnTo>
                    <a:pt x="5474" y="4526"/>
                  </a:lnTo>
                  <a:lnTo>
                    <a:pt x="5462" y="4519"/>
                  </a:lnTo>
                  <a:lnTo>
                    <a:pt x="5474" y="4514"/>
                  </a:lnTo>
                  <a:lnTo>
                    <a:pt x="5452" y="4526"/>
                  </a:lnTo>
                  <a:lnTo>
                    <a:pt x="5419" y="4519"/>
                  </a:lnTo>
                  <a:lnTo>
                    <a:pt x="5415" y="4514"/>
                  </a:lnTo>
                  <a:lnTo>
                    <a:pt x="5415" y="4503"/>
                  </a:lnTo>
                  <a:lnTo>
                    <a:pt x="5393" y="4503"/>
                  </a:lnTo>
                  <a:lnTo>
                    <a:pt x="5393" y="4481"/>
                  </a:lnTo>
                  <a:lnTo>
                    <a:pt x="5377" y="4481"/>
                  </a:lnTo>
                  <a:lnTo>
                    <a:pt x="5365" y="4470"/>
                  </a:lnTo>
                  <a:lnTo>
                    <a:pt x="5398" y="4441"/>
                  </a:lnTo>
                  <a:lnTo>
                    <a:pt x="5398" y="4460"/>
                  </a:lnTo>
                  <a:lnTo>
                    <a:pt x="5393" y="4465"/>
                  </a:lnTo>
                  <a:lnTo>
                    <a:pt x="5415" y="4481"/>
                  </a:lnTo>
                  <a:lnTo>
                    <a:pt x="5415" y="4498"/>
                  </a:lnTo>
                  <a:lnTo>
                    <a:pt x="5419" y="4498"/>
                  </a:lnTo>
                  <a:lnTo>
                    <a:pt x="5419" y="4486"/>
                  </a:lnTo>
                  <a:lnTo>
                    <a:pt x="5452" y="4503"/>
                  </a:lnTo>
                  <a:lnTo>
                    <a:pt x="5544" y="4498"/>
                  </a:lnTo>
                  <a:lnTo>
                    <a:pt x="5523" y="4503"/>
                  </a:lnTo>
                  <a:lnTo>
                    <a:pt x="5523" y="4503"/>
                  </a:lnTo>
                  <a:lnTo>
                    <a:pt x="5523" y="4503"/>
                  </a:lnTo>
                  <a:close/>
                  <a:moveTo>
                    <a:pt x="5608" y="4552"/>
                  </a:moveTo>
                  <a:lnTo>
                    <a:pt x="5599" y="4569"/>
                  </a:lnTo>
                  <a:lnTo>
                    <a:pt x="5625" y="4569"/>
                  </a:lnTo>
                  <a:lnTo>
                    <a:pt x="5646" y="4543"/>
                  </a:lnTo>
                  <a:lnTo>
                    <a:pt x="5651" y="4536"/>
                  </a:lnTo>
                  <a:lnTo>
                    <a:pt x="5629" y="4552"/>
                  </a:lnTo>
                  <a:lnTo>
                    <a:pt x="5625" y="4543"/>
                  </a:lnTo>
                  <a:lnTo>
                    <a:pt x="5663" y="4519"/>
                  </a:lnTo>
                  <a:lnTo>
                    <a:pt x="5637" y="4536"/>
                  </a:lnTo>
                  <a:lnTo>
                    <a:pt x="5663" y="4514"/>
                  </a:lnTo>
                  <a:lnTo>
                    <a:pt x="5689" y="4519"/>
                  </a:lnTo>
                  <a:lnTo>
                    <a:pt x="5689" y="4526"/>
                  </a:lnTo>
                  <a:lnTo>
                    <a:pt x="5689" y="4543"/>
                  </a:lnTo>
                  <a:lnTo>
                    <a:pt x="5667" y="4552"/>
                  </a:lnTo>
                  <a:lnTo>
                    <a:pt x="5663" y="4569"/>
                  </a:lnTo>
                  <a:lnTo>
                    <a:pt x="5646" y="4576"/>
                  </a:lnTo>
                  <a:lnTo>
                    <a:pt x="5599" y="4576"/>
                  </a:lnTo>
                  <a:lnTo>
                    <a:pt x="5582" y="4576"/>
                  </a:lnTo>
                  <a:lnTo>
                    <a:pt x="5575" y="4569"/>
                  </a:lnTo>
                  <a:lnTo>
                    <a:pt x="5575" y="4536"/>
                  </a:lnTo>
                  <a:lnTo>
                    <a:pt x="5575" y="4526"/>
                  </a:lnTo>
                  <a:lnTo>
                    <a:pt x="5592" y="4519"/>
                  </a:lnTo>
                  <a:lnTo>
                    <a:pt x="5637" y="4448"/>
                  </a:lnTo>
                  <a:lnTo>
                    <a:pt x="5646" y="4448"/>
                  </a:lnTo>
                  <a:lnTo>
                    <a:pt x="5646" y="4460"/>
                  </a:lnTo>
                  <a:lnTo>
                    <a:pt x="5663" y="4465"/>
                  </a:lnTo>
                  <a:lnTo>
                    <a:pt x="5637" y="4519"/>
                  </a:lnTo>
                  <a:lnTo>
                    <a:pt x="5651" y="4514"/>
                  </a:lnTo>
                  <a:lnTo>
                    <a:pt x="5637" y="4526"/>
                  </a:lnTo>
                  <a:lnTo>
                    <a:pt x="5599" y="4543"/>
                  </a:lnTo>
                  <a:lnTo>
                    <a:pt x="5629" y="4536"/>
                  </a:lnTo>
                  <a:lnTo>
                    <a:pt x="5625" y="4543"/>
                  </a:lnTo>
                  <a:lnTo>
                    <a:pt x="5608" y="4552"/>
                  </a:lnTo>
                  <a:lnTo>
                    <a:pt x="5613" y="4552"/>
                  </a:lnTo>
                  <a:lnTo>
                    <a:pt x="5608" y="4552"/>
                  </a:lnTo>
                  <a:lnTo>
                    <a:pt x="5608" y="4552"/>
                  </a:lnTo>
                  <a:lnTo>
                    <a:pt x="5608" y="4552"/>
                  </a:lnTo>
                  <a:close/>
                  <a:moveTo>
                    <a:pt x="5613" y="4576"/>
                  </a:moveTo>
                  <a:lnTo>
                    <a:pt x="5608" y="4581"/>
                  </a:lnTo>
                  <a:lnTo>
                    <a:pt x="5599" y="4581"/>
                  </a:lnTo>
                  <a:lnTo>
                    <a:pt x="5613" y="4576"/>
                  </a:lnTo>
                  <a:lnTo>
                    <a:pt x="5613" y="4576"/>
                  </a:lnTo>
                  <a:lnTo>
                    <a:pt x="5613" y="4576"/>
                  </a:lnTo>
                  <a:close/>
                  <a:moveTo>
                    <a:pt x="5204" y="4647"/>
                  </a:moveTo>
                  <a:lnTo>
                    <a:pt x="5204" y="4654"/>
                  </a:lnTo>
                  <a:lnTo>
                    <a:pt x="5200" y="4663"/>
                  </a:lnTo>
                  <a:lnTo>
                    <a:pt x="5204" y="4647"/>
                  </a:lnTo>
                  <a:lnTo>
                    <a:pt x="5204" y="4647"/>
                  </a:lnTo>
                  <a:lnTo>
                    <a:pt x="5204" y="4647"/>
                  </a:lnTo>
                  <a:close/>
                  <a:moveTo>
                    <a:pt x="5679" y="4720"/>
                  </a:moveTo>
                  <a:lnTo>
                    <a:pt x="5700" y="4720"/>
                  </a:lnTo>
                  <a:lnTo>
                    <a:pt x="5689" y="4725"/>
                  </a:lnTo>
                  <a:lnTo>
                    <a:pt x="5679" y="4720"/>
                  </a:lnTo>
                  <a:lnTo>
                    <a:pt x="5679" y="4720"/>
                  </a:lnTo>
                  <a:lnTo>
                    <a:pt x="5679" y="472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6" name="Freeform 582">
              <a:extLst>
                <a:ext uri="{FF2B5EF4-FFF2-40B4-BE49-F238E27FC236}">
                  <a16:creationId xmlns:a16="http://schemas.microsoft.com/office/drawing/2014/main" id="{FB56EFB8-F03D-4413-B659-DB1A1B89A1C3}"/>
                </a:ext>
              </a:extLst>
            </p:cNvPr>
            <p:cNvSpPr>
              <a:spLocks noEditPoints="1"/>
            </p:cNvSpPr>
            <p:nvPr/>
          </p:nvSpPr>
          <p:spPr bwMode="gray">
            <a:xfrm>
              <a:off x="1557717" y="1477839"/>
              <a:ext cx="10359267" cy="2020702"/>
            </a:xfrm>
            <a:custGeom>
              <a:avLst/>
              <a:gdLst>
                <a:gd name="T0" fmla="*/ 3387 w 25164"/>
                <a:gd name="T1" fmla="*/ 1889 h 4908"/>
                <a:gd name="T2" fmla="*/ 3186 w 25164"/>
                <a:gd name="T3" fmla="*/ 1606 h 4908"/>
                <a:gd name="T4" fmla="*/ 2948 w 25164"/>
                <a:gd name="T5" fmla="*/ 1462 h 4908"/>
                <a:gd name="T6" fmla="*/ 2615 w 25164"/>
                <a:gd name="T7" fmla="*/ 1351 h 4908"/>
                <a:gd name="T8" fmla="*/ 2154 w 25164"/>
                <a:gd name="T9" fmla="*/ 1263 h 4908"/>
                <a:gd name="T10" fmla="*/ 1939 w 25164"/>
                <a:gd name="T11" fmla="*/ 1301 h 4908"/>
                <a:gd name="T12" fmla="*/ 1734 w 25164"/>
                <a:gd name="T13" fmla="*/ 1445 h 4908"/>
                <a:gd name="T14" fmla="*/ 1427 w 25164"/>
                <a:gd name="T15" fmla="*/ 1755 h 4908"/>
                <a:gd name="T16" fmla="*/ 1103 w 25164"/>
                <a:gd name="T17" fmla="*/ 1866 h 4908"/>
                <a:gd name="T18" fmla="*/ 1420 w 25164"/>
                <a:gd name="T19" fmla="*/ 1462 h 4908"/>
                <a:gd name="T20" fmla="*/ 978 w 25164"/>
                <a:gd name="T21" fmla="*/ 1289 h 4908"/>
                <a:gd name="T22" fmla="*/ 935 w 25164"/>
                <a:gd name="T23" fmla="*/ 1145 h 4908"/>
                <a:gd name="T24" fmla="*/ 1117 w 25164"/>
                <a:gd name="T25" fmla="*/ 848 h 4908"/>
                <a:gd name="T26" fmla="*/ 1205 w 25164"/>
                <a:gd name="T27" fmla="*/ 670 h 4908"/>
                <a:gd name="T28" fmla="*/ 1103 w 25164"/>
                <a:gd name="T29" fmla="*/ 243 h 4908"/>
                <a:gd name="T30" fmla="*/ 1696 w 25164"/>
                <a:gd name="T31" fmla="*/ 26 h 4908"/>
                <a:gd name="T32" fmla="*/ 520 w 25164"/>
                <a:gd name="T33" fmla="*/ 980 h 4908"/>
                <a:gd name="T34" fmla="*/ 2183 w 25164"/>
                <a:gd name="T35" fmla="*/ 1263 h 4908"/>
                <a:gd name="T36" fmla="*/ 2268 w 25164"/>
                <a:gd name="T37" fmla="*/ 1296 h 4908"/>
                <a:gd name="T38" fmla="*/ 2154 w 25164"/>
                <a:gd name="T39" fmla="*/ 1346 h 4908"/>
                <a:gd name="T40" fmla="*/ 1868 w 25164"/>
                <a:gd name="T41" fmla="*/ 1533 h 4908"/>
                <a:gd name="T42" fmla="*/ 3061 w 25164"/>
                <a:gd name="T43" fmla="*/ 1589 h 4908"/>
                <a:gd name="T44" fmla="*/ 2993 w 25164"/>
                <a:gd name="T45" fmla="*/ 1556 h 4908"/>
                <a:gd name="T46" fmla="*/ 1724 w 25164"/>
                <a:gd name="T47" fmla="*/ 1651 h 4908"/>
                <a:gd name="T48" fmla="*/ 3085 w 25164"/>
                <a:gd name="T49" fmla="*/ 1622 h 4908"/>
                <a:gd name="T50" fmla="*/ 3182 w 25164"/>
                <a:gd name="T51" fmla="*/ 1677 h 4908"/>
                <a:gd name="T52" fmla="*/ 3241 w 25164"/>
                <a:gd name="T53" fmla="*/ 1684 h 4908"/>
                <a:gd name="T54" fmla="*/ 3262 w 25164"/>
                <a:gd name="T55" fmla="*/ 1722 h 4908"/>
                <a:gd name="T56" fmla="*/ 3203 w 25164"/>
                <a:gd name="T57" fmla="*/ 1804 h 4908"/>
                <a:gd name="T58" fmla="*/ 3342 w 25164"/>
                <a:gd name="T59" fmla="*/ 1833 h 4908"/>
                <a:gd name="T60" fmla="*/ 3203 w 25164"/>
                <a:gd name="T61" fmla="*/ 1811 h 4908"/>
                <a:gd name="T62" fmla="*/ 1301 w 25164"/>
                <a:gd name="T63" fmla="*/ 1828 h 4908"/>
                <a:gd name="T64" fmla="*/ 3246 w 25164"/>
                <a:gd name="T65" fmla="*/ 1861 h 4908"/>
                <a:gd name="T66" fmla="*/ 3349 w 25164"/>
                <a:gd name="T67" fmla="*/ 1866 h 4908"/>
                <a:gd name="T68" fmla="*/ 957 w 25164"/>
                <a:gd name="T69" fmla="*/ 1960 h 4908"/>
                <a:gd name="T70" fmla="*/ 789 w 25164"/>
                <a:gd name="T71" fmla="*/ 2017 h 4908"/>
                <a:gd name="T72" fmla="*/ 324 w 25164"/>
                <a:gd name="T73" fmla="*/ 2149 h 4908"/>
                <a:gd name="T74" fmla="*/ 201 w 25164"/>
                <a:gd name="T75" fmla="*/ 2161 h 4908"/>
                <a:gd name="T76" fmla="*/ 75 w 25164"/>
                <a:gd name="T77" fmla="*/ 2199 h 4908"/>
                <a:gd name="T78" fmla="*/ 5882 w 25164"/>
                <a:gd name="T79" fmla="*/ 2404 h 4908"/>
                <a:gd name="T80" fmla="*/ 7004 w 25164"/>
                <a:gd name="T81" fmla="*/ 2974 h 4908"/>
                <a:gd name="T82" fmla="*/ 7743 w 25164"/>
                <a:gd name="T83" fmla="*/ 2863 h 4908"/>
                <a:gd name="T84" fmla="*/ 7561 w 25164"/>
                <a:gd name="T85" fmla="*/ 3118 h 4908"/>
                <a:gd name="T86" fmla="*/ 7231 w 25164"/>
                <a:gd name="T87" fmla="*/ 3413 h 4908"/>
                <a:gd name="T88" fmla="*/ 7150 w 25164"/>
                <a:gd name="T89" fmla="*/ 3373 h 4908"/>
                <a:gd name="T90" fmla="*/ 7200 w 25164"/>
                <a:gd name="T91" fmla="*/ 3562 h 4908"/>
                <a:gd name="T92" fmla="*/ 7086 w 25164"/>
                <a:gd name="T93" fmla="*/ 3727 h 4908"/>
                <a:gd name="T94" fmla="*/ 6890 w 25164"/>
                <a:gd name="T95" fmla="*/ 4155 h 4908"/>
                <a:gd name="T96" fmla="*/ 6638 w 25164"/>
                <a:gd name="T97" fmla="*/ 4065 h 4908"/>
                <a:gd name="T98" fmla="*/ 6281 w 25164"/>
                <a:gd name="T99" fmla="*/ 4077 h 4908"/>
                <a:gd name="T100" fmla="*/ 5908 w 25164"/>
                <a:gd name="T101" fmla="*/ 4077 h 4908"/>
                <a:gd name="T102" fmla="*/ 5530 w 25164"/>
                <a:gd name="T103" fmla="*/ 4204 h 4908"/>
                <a:gd name="T104" fmla="*/ 4013 w 25164"/>
                <a:gd name="T105" fmla="*/ 3496 h 4908"/>
                <a:gd name="T106" fmla="*/ 3841 w 25164"/>
                <a:gd name="T107" fmla="*/ 2940 h 4908"/>
                <a:gd name="T108" fmla="*/ 3947 w 25164"/>
                <a:gd name="T109" fmla="*/ 2581 h 4908"/>
                <a:gd name="T110" fmla="*/ 3938 w 25164"/>
                <a:gd name="T111" fmla="*/ 2492 h 4908"/>
                <a:gd name="T112" fmla="*/ 7738 w 25164"/>
                <a:gd name="T113" fmla="*/ 2870 h 4908"/>
                <a:gd name="T114" fmla="*/ 7344 w 25164"/>
                <a:gd name="T115" fmla="*/ 3196 h 4908"/>
                <a:gd name="T116" fmla="*/ 4245 w 25164"/>
                <a:gd name="T117" fmla="*/ 3784 h 4908"/>
                <a:gd name="T118" fmla="*/ 5903 w 25164"/>
                <a:gd name="T119" fmla="*/ 4117 h 4908"/>
                <a:gd name="T120" fmla="*/ 1356 w 25164"/>
                <a:gd name="T121" fmla="*/ 4653 h 4908"/>
                <a:gd name="T122" fmla="*/ 1549 w 25164"/>
                <a:gd name="T123" fmla="*/ 4764 h 4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164" h="4908">
                  <a:moveTo>
                    <a:pt x="2662" y="222"/>
                  </a:moveTo>
                  <a:lnTo>
                    <a:pt x="2662" y="1313"/>
                  </a:lnTo>
                  <a:lnTo>
                    <a:pt x="2700" y="1318"/>
                  </a:lnTo>
                  <a:lnTo>
                    <a:pt x="2700" y="1313"/>
                  </a:lnTo>
                  <a:lnTo>
                    <a:pt x="2733" y="1329"/>
                  </a:lnTo>
                  <a:lnTo>
                    <a:pt x="2754" y="1313"/>
                  </a:lnTo>
                  <a:lnTo>
                    <a:pt x="2804" y="1301"/>
                  </a:lnTo>
                  <a:lnTo>
                    <a:pt x="2792" y="1334"/>
                  </a:lnTo>
                  <a:lnTo>
                    <a:pt x="2825" y="1351"/>
                  </a:lnTo>
                  <a:lnTo>
                    <a:pt x="2830" y="1367"/>
                  </a:lnTo>
                  <a:lnTo>
                    <a:pt x="2901" y="1424"/>
                  </a:lnTo>
                  <a:lnTo>
                    <a:pt x="2910" y="1462"/>
                  </a:lnTo>
                  <a:lnTo>
                    <a:pt x="2955" y="1429"/>
                  </a:lnTo>
                  <a:lnTo>
                    <a:pt x="2972" y="1429"/>
                  </a:lnTo>
                  <a:lnTo>
                    <a:pt x="2976" y="1424"/>
                  </a:lnTo>
                  <a:lnTo>
                    <a:pt x="2976" y="1400"/>
                  </a:lnTo>
                  <a:lnTo>
                    <a:pt x="2993" y="1400"/>
                  </a:lnTo>
                  <a:lnTo>
                    <a:pt x="2986" y="1389"/>
                  </a:lnTo>
                  <a:lnTo>
                    <a:pt x="3047" y="1367"/>
                  </a:lnTo>
                  <a:lnTo>
                    <a:pt x="3085" y="1389"/>
                  </a:lnTo>
                  <a:lnTo>
                    <a:pt x="3078" y="1407"/>
                  </a:lnTo>
                  <a:lnTo>
                    <a:pt x="3085" y="1424"/>
                  </a:lnTo>
                  <a:lnTo>
                    <a:pt x="3127" y="1441"/>
                  </a:lnTo>
                  <a:lnTo>
                    <a:pt x="3137" y="1474"/>
                  </a:lnTo>
                  <a:lnTo>
                    <a:pt x="3165" y="1478"/>
                  </a:lnTo>
                  <a:lnTo>
                    <a:pt x="3191" y="1511"/>
                  </a:lnTo>
                  <a:lnTo>
                    <a:pt x="3203" y="1528"/>
                  </a:lnTo>
                  <a:lnTo>
                    <a:pt x="3279" y="1639"/>
                  </a:lnTo>
                  <a:lnTo>
                    <a:pt x="3274" y="1651"/>
                  </a:lnTo>
                  <a:lnTo>
                    <a:pt x="3295" y="1660"/>
                  </a:lnTo>
                  <a:lnTo>
                    <a:pt x="3288" y="1677"/>
                  </a:lnTo>
                  <a:lnTo>
                    <a:pt x="3300" y="1684"/>
                  </a:lnTo>
                  <a:lnTo>
                    <a:pt x="3312" y="1700"/>
                  </a:lnTo>
                  <a:lnTo>
                    <a:pt x="3326" y="1700"/>
                  </a:lnTo>
                  <a:lnTo>
                    <a:pt x="3380" y="1722"/>
                  </a:lnTo>
                  <a:lnTo>
                    <a:pt x="3409" y="1750"/>
                  </a:lnTo>
                  <a:lnTo>
                    <a:pt x="3425" y="1750"/>
                  </a:lnTo>
                  <a:lnTo>
                    <a:pt x="3434" y="1771"/>
                  </a:lnTo>
                  <a:lnTo>
                    <a:pt x="3425" y="1788"/>
                  </a:lnTo>
                  <a:lnTo>
                    <a:pt x="3434" y="1833"/>
                  </a:lnTo>
                  <a:lnTo>
                    <a:pt x="3409" y="1873"/>
                  </a:lnTo>
                  <a:lnTo>
                    <a:pt x="3387" y="1889"/>
                  </a:lnTo>
                  <a:lnTo>
                    <a:pt x="3380" y="1866"/>
                  </a:lnTo>
                  <a:lnTo>
                    <a:pt x="3380" y="1882"/>
                  </a:lnTo>
                  <a:lnTo>
                    <a:pt x="3371" y="1889"/>
                  </a:lnTo>
                  <a:lnTo>
                    <a:pt x="3364" y="1866"/>
                  </a:lnTo>
                  <a:lnTo>
                    <a:pt x="3387" y="1849"/>
                  </a:lnTo>
                  <a:lnTo>
                    <a:pt x="3401" y="1833"/>
                  </a:lnTo>
                  <a:lnTo>
                    <a:pt x="3387" y="1849"/>
                  </a:lnTo>
                  <a:lnTo>
                    <a:pt x="3364" y="1849"/>
                  </a:lnTo>
                  <a:lnTo>
                    <a:pt x="3371" y="1833"/>
                  </a:lnTo>
                  <a:lnTo>
                    <a:pt x="3397" y="1833"/>
                  </a:lnTo>
                  <a:lnTo>
                    <a:pt x="3371" y="1833"/>
                  </a:lnTo>
                  <a:lnTo>
                    <a:pt x="3371" y="1795"/>
                  </a:lnTo>
                  <a:lnTo>
                    <a:pt x="3354" y="1771"/>
                  </a:lnTo>
                  <a:lnTo>
                    <a:pt x="3364" y="1755"/>
                  </a:lnTo>
                  <a:lnTo>
                    <a:pt x="3300" y="1778"/>
                  </a:lnTo>
                  <a:lnTo>
                    <a:pt x="3312" y="1778"/>
                  </a:lnTo>
                  <a:lnTo>
                    <a:pt x="3295" y="1811"/>
                  </a:lnTo>
                  <a:lnTo>
                    <a:pt x="3288" y="1804"/>
                  </a:lnTo>
                  <a:lnTo>
                    <a:pt x="3279" y="1788"/>
                  </a:lnTo>
                  <a:lnTo>
                    <a:pt x="3295" y="1762"/>
                  </a:lnTo>
                  <a:lnTo>
                    <a:pt x="3295" y="1750"/>
                  </a:lnTo>
                  <a:lnTo>
                    <a:pt x="3312" y="1738"/>
                  </a:lnTo>
                  <a:lnTo>
                    <a:pt x="3274" y="1705"/>
                  </a:lnTo>
                  <a:lnTo>
                    <a:pt x="3274" y="1700"/>
                  </a:lnTo>
                  <a:lnTo>
                    <a:pt x="3257" y="1700"/>
                  </a:lnTo>
                  <a:lnTo>
                    <a:pt x="3274" y="1677"/>
                  </a:lnTo>
                  <a:lnTo>
                    <a:pt x="3257" y="1684"/>
                  </a:lnTo>
                  <a:lnTo>
                    <a:pt x="3241" y="1677"/>
                  </a:lnTo>
                  <a:lnTo>
                    <a:pt x="3236" y="1667"/>
                  </a:lnTo>
                  <a:lnTo>
                    <a:pt x="3241" y="1660"/>
                  </a:lnTo>
                  <a:lnTo>
                    <a:pt x="3241" y="1651"/>
                  </a:lnTo>
                  <a:lnTo>
                    <a:pt x="3236" y="1660"/>
                  </a:lnTo>
                  <a:lnTo>
                    <a:pt x="3220" y="1651"/>
                  </a:lnTo>
                  <a:lnTo>
                    <a:pt x="3208" y="1644"/>
                  </a:lnTo>
                  <a:lnTo>
                    <a:pt x="3203" y="1651"/>
                  </a:lnTo>
                  <a:lnTo>
                    <a:pt x="3186" y="1644"/>
                  </a:lnTo>
                  <a:lnTo>
                    <a:pt x="3191" y="1627"/>
                  </a:lnTo>
                  <a:lnTo>
                    <a:pt x="3220" y="1622"/>
                  </a:lnTo>
                  <a:lnTo>
                    <a:pt x="3191" y="1627"/>
                  </a:lnTo>
                  <a:lnTo>
                    <a:pt x="3186" y="1611"/>
                  </a:lnTo>
                  <a:lnTo>
                    <a:pt x="3203" y="1594"/>
                  </a:lnTo>
                  <a:lnTo>
                    <a:pt x="3186" y="1606"/>
                  </a:lnTo>
                  <a:lnTo>
                    <a:pt x="3182" y="1589"/>
                  </a:lnTo>
                  <a:lnTo>
                    <a:pt x="3224" y="1606"/>
                  </a:lnTo>
                  <a:lnTo>
                    <a:pt x="3186" y="1585"/>
                  </a:lnTo>
                  <a:lnTo>
                    <a:pt x="3186" y="1568"/>
                  </a:lnTo>
                  <a:lnTo>
                    <a:pt x="3220" y="1573"/>
                  </a:lnTo>
                  <a:lnTo>
                    <a:pt x="3186" y="1568"/>
                  </a:lnTo>
                  <a:lnTo>
                    <a:pt x="3182" y="1585"/>
                  </a:lnTo>
                  <a:lnTo>
                    <a:pt x="3170" y="1556"/>
                  </a:lnTo>
                  <a:lnTo>
                    <a:pt x="3182" y="1540"/>
                  </a:lnTo>
                  <a:lnTo>
                    <a:pt x="3165" y="1556"/>
                  </a:lnTo>
                  <a:lnTo>
                    <a:pt x="3149" y="1552"/>
                  </a:lnTo>
                  <a:lnTo>
                    <a:pt x="3153" y="1516"/>
                  </a:lnTo>
                  <a:lnTo>
                    <a:pt x="3170" y="1500"/>
                  </a:lnTo>
                  <a:lnTo>
                    <a:pt x="3153" y="1500"/>
                  </a:lnTo>
                  <a:lnTo>
                    <a:pt x="3137" y="1533"/>
                  </a:lnTo>
                  <a:lnTo>
                    <a:pt x="3099" y="1516"/>
                  </a:lnTo>
                  <a:lnTo>
                    <a:pt x="3085" y="1483"/>
                  </a:lnTo>
                  <a:lnTo>
                    <a:pt x="3085" y="1474"/>
                  </a:lnTo>
                  <a:lnTo>
                    <a:pt x="3078" y="1478"/>
                  </a:lnTo>
                  <a:lnTo>
                    <a:pt x="3073" y="1474"/>
                  </a:lnTo>
                  <a:lnTo>
                    <a:pt x="3057" y="1424"/>
                  </a:lnTo>
                  <a:lnTo>
                    <a:pt x="3061" y="1400"/>
                  </a:lnTo>
                  <a:lnTo>
                    <a:pt x="3057" y="1424"/>
                  </a:lnTo>
                  <a:lnTo>
                    <a:pt x="3061" y="1445"/>
                  </a:lnTo>
                  <a:lnTo>
                    <a:pt x="3047" y="1429"/>
                  </a:lnTo>
                  <a:lnTo>
                    <a:pt x="3073" y="1483"/>
                  </a:lnTo>
                  <a:lnTo>
                    <a:pt x="3078" y="1516"/>
                  </a:lnTo>
                  <a:lnTo>
                    <a:pt x="3078" y="1533"/>
                  </a:lnTo>
                  <a:lnTo>
                    <a:pt x="3061" y="1533"/>
                  </a:lnTo>
                  <a:lnTo>
                    <a:pt x="3047" y="1511"/>
                  </a:lnTo>
                  <a:lnTo>
                    <a:pt x="3019" y="1516"/>
                  </a:lnTo>
                  <a:lnTo>
                    <a:pt x="3023" y="1500"/>
                  </a:lnTo>
                  <a:lnTo>
                    <a:pt x="3009" y="1474"/>
                  </a:lnTo>
                  <a:lnTo>
                    <a:pt x="3031" y="1462"/>
                  </a:lnTo>
                  <a:lnTo>
                    <a:pt x="3009" y="1462"/>
                  </a:lnTo>
                  <a:lnTo>
                    <a:pt x="3002" y="1445"/>
                  </a:lnTo>
                  <a:lnTo>
                    <a:pt x="3009" y="1474"/>
                  </a:lnTo>
                  <a:lnTo>
                    <a:pt x="2993" y="1478"/>
                  </a:lnTo>
                  <a:lnTo>
                    <a:pt x="2972" y="1457"/>
                  </a:lnTo>
                  <a:lnTo>
                    <a:pt x="2964" y="1462"/>
                  </a:lnTo>
                  <a:lnTo>
                    <a:pt x="2938" y="1445"/>
                  </a:lnTo>
                  <a:lnTo>
                    <a:pt x="2948" y="1462"/>
                  </a:lnTo>
                  <a:lnTo>
                    <a:pt x="2934" y="1474"/>
                  </a:lnTo>
                  <a:lnTo>
                    <a:pt x="2948" y="1462"/>
                  </a:lnTo>
                  <a:lnTo>
                    <a:pt x="2972" y="1474"/>
                  </a:lnTo>
                  <a:lnTo>
                    <a:pt x="2976" y="1474"/>
                  </a:lnTo>
                  <a:lnTo>
                    <a:pt x="2972" y="1474"/>
                  </a:lnTo>
                  <a:lnTo>
                    <a:pt x="2993" y="1483"/>
                  </a:lnTo>
                  <a:lnTo>
                    <a:pt x="2976" y="1495"/>
                  </a:lnTo>
                  <a:lnTo>
                    <a:pt x="2993" y="1483"/>
                  </a:lnTo>
                  <a:lnTo>
                    <a:pt x="3009" y="1516"/>
                  </a:lnTo>
                  <a:lnTo>
                    <a:pt x="2993" y="1528"/>
                  </a:lnTo>
                  <a:lnTo>
                    <a:pt x="2976" y="1511"/>
                  </a:lnTo>
                  <a:lnTo>
                    <a:pt x="2976" y="1516"/>
                  </a:lnTo>
                  <a:lnTo>
                    <a:pt x="2986" y="1528"/>
                  </a:lnTo>
                  <a:lnTo>
                    <a:pt x="2972" y="1516"/>
                  </a:lnTo>
                  <a:lnTo>
                    <a:pt x="2976" y="1528"/>
                  </a:lnTo>
                  <a:lnTo>
                    <a:pt x="2972" y="1533"/>
                  </a:lnTo>
                  <a:lnTo>
                    <a:pt x="2955" y="1516"/>
                  </a:lnTo>
                  <a:lnTo>
                    <a:pt x="2901" y="1495"/>
                  </a:lnTo>
                  <a:lnTo>
                    <a:pt x="2910" y="1483"/>
                  </a:lnTo>
                  <a:lnTo>
                    <a:pt x="2896" y="1483"/>
                  </a:lnTo>
                  <a:lnTo>
                    <a:pt x="2863" y="1445"/>
                  </a:lnTo>
                  <a:lnTo>
                    <a:pt x="2830" y="1441"/>
                  </a:lnTo>
                  <a:lnTo>
                    <a:pt x="2842" y="1429"/>
                  </a:lnTo>
                  <a:lnTo>
                    <a:pt x="2830" y="1441"/>
                  </a:lnTo>
                  <a:lnTo>
                    <a:pt x="2754" y="1400"/>
                  </a:lnTo>
                  <a:lnTo>
                    <a:pt x="2771" y="1384"/>
                  </a:lnTo>
                  <a:lnTo>
                    <a:pt x="2759" y="1355"/>
                  </a:lnTo>
                  <a:lnTo>
                    <a:pt x="2771" y="1346"/>
                  </a:lnTo>
                  <a:lnTo>
                    <a:pt x="2775" y="1355"/>
                  </a:lnTo>
                  <a:lnTo>
                    <a:pt x="2787" y="1389"/>
                  </a:lnTo>
                  <a:lnTo>
                    <a:pt x="2787" y="1384"/>
                  </a:lnTo>
                  <a:lnTo>
                    <a:pt x="2787" y="1367"/>
                  </a:lnTo>
                  <a:lnTo>
                    <a:pt x="2809" y="1367"/>
                  </a:lnTo>
                  <a:lnTo>
                    <a:pt x="2771" y="1346"/>
                  </a:lnTo>
                  <a:lnTo>
                    <a:pt x="2738" y="1367"/>
                  </a:lnTo>
                  <a:lnTo>
                    <a:pt x="2707" y="1372"/>
                  </a:lnTo>
                  <a:lnTo>
                    <a:pt x="2641" y="1355"/>
                  </a:lnTo>
                  <a:lnTo>
                    <a:pt x="2646" y="1346"/>
                  </a:lnTo>
                  <a:lnTo>
                    <a:pt x="2641" y="1329"/>
                  </a:lnTo>
                  <a:lnTo>
                    <a:pt x="2631" y="1334"/>
                  </a:lnTo>
                  <a:lnTo>
                    <a:pt x="2641" y="1346"/>
                  </a:lnTo>
                  <a:lnTo>
                    <a:pt x="2615" y="1351"/>
                  </a:lnTo>
                  <a:lnTo>
                    <a:pt x="2544" y="1334"/>
                  </a:lnTo>
                  <a:lnTo>
                    <a:pt x="2464" y="1346"/>
                  </a:lnTo>
                  <a:lnTo>
                    <a:pt x="2435" y="1329"/>
                  </a:lnTo>
                  <a:lnTo>
                    <a:pt x="2414" y="1329"/>
                  </a:lnTo>
                  <a:lnTo>
                    <a:pt x="2381" y="1313"/>
                  </a:lnTo>
                  <a:lnTo>
                    <a:pt x="2398" y="1280"/>
                  </a:lnTo>
                  <a:lnTo>
                    <a:pt x="2409" y="1263"/>
                  </a:lnTo>
                  <a:lnTo>
                    <a:pt x="2360" y="1301"/>
                  </a:lnTo>
                  <a:lnTo>
                    <a:pt x="2322" y="1289"/>
                  </a:lnTo>
                  <a:lnTo>
                    <a:pt x="2338" y="1273"/>
                  </a:lnTo>
                  <a:lnTo>
                    <a:pt x="2291" y="1273"/>
                  </a:lnTo>
                  <a:lnTo>
                    <a:pt x="2317" y="1263"/>
                  </a:lnTo>
                  <a:lnTo>
                    <a:pt x="2305" y="1256"/>
                  </a:lnTo>
                  <a:lnTo>
                    <a:pt x="2268" y="1273"/>
                  </a:lnTo>
                  <a:lnTo>
                    <a:pt x="2263" y="1263"/>
                  </a:lnTo>
                  <a:lnTo>
                    <a:pt x="2305" y="1256"/>
                  </a:lnTo>
                  <a:lnTo>
                    <a:pt x="2301" y="1244"/>
                  </a:lnTo>
                  <a:lnTo>
                    <a:pt x="2275" y="1256"/>
                  </a:lnTo>
                  <a:lnTo>
                    <a:pt x="2263" y="1240"/>
                  </a:lnTo>
                  <a:lnTo>
                    <a:pt x="2268" y="1223"/>
                  </a:lnTo>
                  <a:lnTo>
                    <a:pt x="2301" y="1223"/>
                  </a:lnTo>
                  <a:lnTo>
                    <a:pt x="2291" y="1223"/>
                  </a:lnTo>
                  <a:lnTo>
                    <a:pt x="2268" y="1223"/>
                  </a:lnTo>
                  <a:lnTo>
                    <a:pt x="2246" y="1240"/>
                  </a:lnTo>
                  <a:lnTo>
                    <a:pt x="2237" y="1235"/>
                  </a:lnTo>
                  <a:lnTo>
                    <a:pt x="2216" y="1244"/>
                  </a:lnTo>
                  <a:lnTo>
                    <a:pt x="2209" y="1244"/>
                  </a:lnTo>
                  <a:lnTo>
                    <a:pt x="2209" y="1218"/>
                  </a:lnTo>
                  <a:lnTo>
                    <a:pt x="2199" y="1244"/>
                  </a:lnTo>
                  <a:lnTo>
                    <a:pt x="2183" y="1256"/>
                  </a:lnTo>
                  <a:lnTo>
                    <a:pt x="2166" y="1240"/>
                  </a:lnTo>
                  <a:lnTo>
                    <a:pt x="2192" y="1207"/>
                  </a:lnTo>
                  <a:lnTo>
                    <a:pt x="2166" y="1235"/>
                  </a:lnTo>
                  <a:lnTo>
                    <a:pt x="2161" y="1223"/>
                  </a:lnTo>
                  <a:lnTo>
                    <a:pt x="2145" y="1235"/>
                  </a:lnTo>
                  <a:lnTo>
                    <a:pt x="2140" y="1240"/>
                  </a:lnTo>
                  <a:lnTo>
                    <a:pt x="2161" y="1235"/>
                  </a:lnTo>
                  <a:lnTo>
                    <a:pt x="2145" y="1256"/>
                  </a:lnTo>
                  <a:lnTo>
                    <a:pt x="2123" y="1256"/>
                  </a:lnTo>
                  <a:lnTo>
                    <a:pt x="2140" y="1256"/>
                  </a:lnTo>
                  <a:lnTo>
                    <a:pt x="2123" y="1273"/>
                  </a:lnTo>
                  <a:lnTo>
                    <a:pt x="2154" y="1263"/>
                  </a:lnTo>
                  <a:lnTo>
                    <a:pt x="2161" y="1280"/>
                  </a:lnTo>
                  <a:lnTo>
                    <a:pt x="2123" y="1296"/>
                  </a:lnTo>
                  <a:lnTo>
                    <a:pt x="2140" y="1289"/>
                  </a:lnTo>
                  <a:lnTo>
                    <a:pt x="2154" y="1296"/>
                  </a:lnTo>
                  <a:lnTo>
                    <a:pt x="2166" y="1280"/>
                  </a:lnTo>
                  <a:lnTo>
                    <a:pt x="2178" y="1296"/>
                  </a:lnTo>
                  <a:lnTo>
                    <a:pt x="2145" y="1329"/>
                  </a:lnTo>
                  <a:lnTo>
                    <a:pt x="2166" y="1318"/>
                  </a:lnTo>
                  <a:lnTo>
                    <a:pt x="2154" y="1334"/>
                  </a:lnTo>
                  <a:lnTo>
                    <a:pt x="2154" y="1329"/>
                  </a:lnTo>
                  <a:lnTo>
                    <a:pt x="2145" y="1351"/>
                  </a:lnTo>
                  <a:lnTo>
                    <a:pt x="2102" y="1351"/>
                  </a:lnTo>
                  <a:lnTo>
                    <a:pt x="2102" y="1334"/>
                  </a:lnTo>
                  <a:lnTo>
                    <a:pt x="2086" y="1355"/>
                  </a:lnTo>
                  <a:lnTo>
                    <a:pt x="2086" y="1346"/>
                  </a:lnTo>
                  <a:lnTo>
                    <a:pt x="2074" y="1334"/>
                  </a:lnTo>
                  <a:lnTo>
                    <a:pt x="2057" y="1367"/>
                  </a:lnTo>
                  <a:lnTo>
                    <a:pt x="2069" y="1372"/>
                  </a:lnTo>
                  <a:lnTo>
                    <a:pt x="2053" y="1351"/>
                  </a:lnTo>
                  <a:lnTo>
                    <a:pt x="2053" y="1384"/>
                  </a:lnTo>
                  <a:lnTo>
                    <a:pt x="2031" y="1367"/>
                  </a:lnTo>
                  <a:lnTo>
                    <a:pt x="2036" y="1372"/>
                  </a:lnTo>
                  <a:lnTo>
                    <a:pt x="2031" y="1384"/>
                  </a:lnTo>
                  <a:lnTo>
                    <a:pt x="2003" y="1400"/>
                  </a:lnTo>
                  <a:lnTo>
                    <a:pt x="2015" y="1372"/>
                  </a:lnTo>
                  <a:lnTo>
                    <a:pt x="1998" y="1400"/>
                  </a:lnTo>
                  <a:lnTo>
                    <a:pt x="1994" y="1389"/>
                  </a:lnTo>
                  <a:lnTo>
                    <a:pt x="1994" y="1400"/>
                  </a:lnTo>
                  <a:lnTo>
                    <a:pt x="1994" y="1407"/>
                  </a:lnTo>
                  <a:lnTo>
                    <a:pt x="1965" y="1424"/>
                  </a:lnTo>
                  <a:lnTo>
                    <a:pt x="1951" y="1424"/>
                  </a:lnTo>
                  <a:lnTo>
                    <a:pt x="1951" y="1429"/>
                  </a:lnTo>
                  <a:lnTo>
                    <a:pt x="1927" y="1424"/>
                  </a:lnTo>
                  <a:lnTo>
                    <a:pt x="1913" y="1441"/>
                  </a:lnTo>
                  <a:lnTo>
                    <a:pt x="1890" y="1424"/>
                  </a:lnTo>
                  <a:lnTo>
                    <a:pt x="1897" y="1407"/>
                  </a:lnTo>
                  <a:lnTo>
                    <a:pt x="1927" y="1400"/>
                  </a:lnTo>
                  <a:lnTo>
                    <a:pt x="1961" y="1367"/>
                  </a:lnTo>
                  <a:lnTo>
                    <a:pt x="1927" y="1384"/>
                  </a:lnTo>
                  <a:lnTo>
                    <a:pt x="1897" y="1372"/>
                  </a:lnTo>
                  <a:lnTo>
                    <a:pt x="1913" y="1346"/>
                  </a:lnTo>
                  <a:lnTo>
                    <a:pt x="1939" y="1301"/>
                  </a:lnTo>
                  <a:lnTo>
                    <a:pt x="1944" y="1289"/>
                  </a:lnTo>
                  <a:lnTo>
                    <a:pt x="1939" y="1263"/>
                  </a:lnTo>
                  <a:lnTo>
                    <a:pt x="2003" y="1235"/>
                  </a:lnTo>
                  <a:lnTo>
                    <a:pt x="2015" y="1240"/>
                  </a:lnTo>
                  <a:lnTo>
                    <a:pt x="2048" y="1240"/>
                  </a:lnTo>
                  <a:lnTo>
                    <a:pt x="2102" y="1256"/>
                  </a:lnTo>
                  <a:lnTo>
                    <a:pt x="2090" y="1240"/>
                  </a:lnTo>
                  <a:lnTo>
                    <a:pt x="2057" y="1240"/>
                  </a:lnTo>
                  <a:lnTo>
                    <a:pt x="2031" y="1218"/>
                  </a:lnTo>
                  <a:lnTo>
                    <a:pt x="2053" y="1190"/>
                  </a:lnTo>
                  <a:lnTo>
                    <a:pt x="2086" y="1185"/>
                  </a:lnTo>
                  <a:lnTo>
                    <a:pt x="2074" y="1178"/>
                  </a:lnTo>
                  <a:lnTo>
                    <a:pt x="2053" y="1185"/>
                  </a:lnTo>
                  <a:lnTo>
                    <a:pt x="2031" y="1207"/>
                  </a:lnTo>
                  <a:lnTo>
                    <a:pt x="1994" y="1207"/>
                  </a:lnTo>
                  <a:lnTo>
                    <a:pt x="1961" y="1218"/>
                  </a:lnTo>
                  <a:lnTo>
                    <a:pt x="1951" y="1235"/>
                  </a:lnTo>
                  <a:lnTo>
                    <a:pt x="1923" y="1240"/>
                  </a:lnTo>
                  <a:lnTo>
                    <a:pt x="1906" y="1256"/>
                  </a:lnTo>
                  <a:lnTo>
                    <a:pt x="1913" y="1263"/>
                  </a:lnTo>
                  <a:lnTo>
                    <a:pt x="1897" y="1263"/>
                  </a:lnTo>
                  <a:lnTo>
                    <a:pt x="1875" y="1289"/>
                  </a:lnTo>
                  <a:lnTo>
                    <a:pt x="1859" y="1313"/>
                  </a:lnTo>
                  <a:lnTo>
                    <a:pt x="1842" y="1318"/>
                  </a:lnTo>
                  <a:lnTo>
                    <a:pt x="1814" y="1313"/>
                  </a:lnTo>
                  <a:lnTo>
                    <a:pt x="1831" y="1313"/>
                  </a:lnTo>
                  <a:lnTo>
                    <a:pt x="1852" y="1334"/>
                  </a:lnTo>
                  <a:lnTo>
                    <a:pt x="1842" y="1351"/>
                  </a:lnTo>
                  <a:lnTo>
                    <a:pt x="1805" y="1367"/>
                  </a:lnTo>
                  <a:lnTo>
                    <a:pt x="1821" y="1367"/>
                  </a:lnTo>
                  <a:lnTo>
                    <a:pt x="1821" y="1372"/>
                  </a:lnTo>
                  <a:lnTo>
                    <a:pt x="1800" y="1384"/>
                  </a:lnTo>
                  <a:lnTo>
                    <a:pt x="1788" y="1384"/>
                  </a:lnTo>
                  <a:lnTo>
                    <a:pt x="1800" y="1372"/>
                  </a:lnTo>
                  <a:lnTo>
                    <a:pt x="1788" y="1367"/>
                  </a:lnTo>
                  <a:lnTo>
                    <a:pt x="1783" y="1389"/>
                  </a:lnTo>
                  <a:lnTo>
                    <a:pt x="1767" y="1400"/>
                  </a:lnTo>
                  <a:lnTo>
                    <a:pt x="1767" y="1407"/>
                  </a:lnTo>
                  <a:lnTo>
                    <a:pt x="1746" y="1412"/>
                  </a:lnTo>
                  <a:lnTo>
                    <a:pt x="1750" y="1412"/>
                  </a:lnTo>
                  <a:lnTo>
                    <a:pt x="1734" y="1441"/>
                  </a:lnTo>
                  <a:lnTo>
                    <a:pt x="1734" y="1445"/>
                  </a:lnTo>
                  <a:lnTo>
                    <a:pt x="1776" y="1445"/>
                  </a:lnTo>
                  <a:lnTo>
                    <a:pt x="1805" y="1474"/>
                  </a:lnTo>
                  <a:lnTo>
                    <a:pt x="1783" y="1495"/>
                  </a:lnTo>
                  <a:lnTo>
                    <a:pt x="1746" y="1511"/>
                  </a:lnTo>
                  <a:lnTo>
                    <a:pt x="1750" y="1516"/>
                  </a:lnTo>
                  <a:lnTo>
                    <a:pt x="1729" y="1528"/>
                  </a:lnTo>
                  <a:lnTo>
                    <a:pt x="1746" y="1528"/>
                  </a:lnTo>
                  <a:lnTo>
                    <a:pt x="1734" y="1540"/>
                  </a:lnTo>
                  <a:lnTo>
                    <a:pt x="1724" y="1540"/>
                  </a:lnTo>
                  <a:lnTo>
                    <a:pt x="1712" y="1556"/>
                  </a:lnTo>
                  <a:lnTo>
                    <a:pt x="1679" y="1556"/>
                  </a:lnTo>
                  <a:lnTo>
                    <a:pt x="1675" y="1568"/>
                  </a:lnTo>
                  <a:lnTo>
                    <a:pt x="1658" y="1585"/>
                  </a:lnTo>
                  <a:lnTo>
                    <a:pt x="1637" y="1585"/>
                  </a:lnTo>
                  <a:lnTo>
                    <a:pt x="1625" y="1606"/>
                  </a:lnTo>
                  <a:lnTo>
                    <a:pt x="1604" y="1606"/>
                  </a:lnTo>
                  <a:lnTo>
                    <a:pt x="1604" y="1611"/>
                  </a:lnTo>
                  <a:lnTo>
                    <a:pt x="1599" y="1611"/>
                  </a:lnTo>
                  <a:lnTo>
                    <a:pt x="1571" y="1627"/>
                  </a:lnTo>
                  <a:lnTo>
                    <a:pt x="1587" y="1627"/>
                  </a:lnTo>
                  <a:lnTo>
                    <a:pt x="1587" y="1644"/>
                  </a:lnTo>
                  <a:lnTo>
                    <a:pt x="1571" y="1660"/>
                  </a:lnTo>
                  <a:lnTo>
                    <a:pt x="1545" y="1660"/>
                  </a:lnTo>
                  <a:lnTo>
                    <a:pt x="1528" y="1684"/>
                  </a:lnTo>
                  <a:lnTo>
                    <a:pt x="1512" y="1677"/>
                  </a:lnTo>
                  <a:lnTo>
                    <a:pt x="1495" y="1693"/>
                  </a:lnTo>
                  <a:lnTo>
                    <a:pt x="1502" y="1700"/>
                  </a:lnTo>
                  <a:lnTo>
                    <a:pt x="1490" y="1693"/>
                  </a:lnTo>
                  <a:lnTo>
                    <a:pt x="1457" y="1705"/>
                  </a:lnTo>
                  <a:lnTo>
                    <a:pt x="1481" y="1705"/>
                  </a:lnTo>
                  <a:lnTo>
                    <a:pt x="1481" y="1717"/>
                  </a:lnTo>
                  <a:lnTo>
                    <a:pt x="1457" y="1705"/>
                  </a:lnTo>
                  <a:lnTo>
                    <a:pt x="1443" y="1717"/>
                  </a:lnTo>
                  <a:lnTo>
                    <a:pt x="1427" y="1738"/>
                  </a:lnTo>
                  <a:lnTo>
                    <a:pt x="1436" y="1738"/>
                  </a:lnTo>
                  <a:lnTo>
                    <a:pt x="1443" y="1733"/>
                  </a:lnTo>
                  <a:lnTo>
                    <a:pt x="1457" y="1733"/>
                  </a:lnTo>
                  <a:lnTo>
                    <a:pt x="1448" y="1750"/>
                  </a:lnTo>
                  <a:lnTo>
                    <a:pt x="1464" y="1738"/>
                  </a:lnTo>
                  <a:lnTo>
                    <a:pt x="1443" y="1750"/>
                  </a:lnTo>
                  <a:lnTo>
                    <a:pt x="1436" y="1762"/>
                  </a:lnTo>
                  <a:lnTo>
                    <a:pt x="1427" y="1755"/>
                  </a:lnTo>
                  <a:lnTo>
                    <a:pt x="1436" y="1750"/>
                  </a:lnTo>
                  <a:lnTo>
                    <a:pt x="1427" y="1750"/>
                  </a:lnTo>
                  <a:lnTo>
                    <a:pt x="1427" y="1771"/>
                  </a:lnTo>
                  <a:lnTo>
                    <a:pt x="1410" y="1762"/>
                  </a:lnTo>
                  <a:lnTo>
                    <a:pt x="1405" y="1771"/>
                  </a:lnTo>
                  <a:lnTo>
                    <a:pt x="1372" y="1778"/>
                  </a:lnTo>
                  <a:lnTo>
                    <a:pt x="1351" y="1804"/>
                  </a:lnTo>
                  <a:lnTo>
                    <a:pt x="1356" y="1778"/>
                  </a:lnTo>
                  <a:lnTo>
                    <a:pt x="1339" y="1778"/>
                  </a:lnTo>
                  <a:lnTo>
                    <a:pt x="1318" y="1795"/>
                  </a:lnTo>
                  <a:lnTo>
                    <a:pt x="1301" y="1804"/>
                  </a:lnTo>
                  <a:lnTo>
                    <a:pt x="1297" y="1816"/>
                  </a:lnTo>
                  <a:lnTo>
                    <a:pt x="1285" y="1811"/>
                  </a:lnTo>
                  <a:lnTo>
                    <a:pt x="1280" y="1811"/>
                  </a:lnTo>
                  <a:lnTo>
                    <a:pt x="1280" y="1816"/>
                  </a:lnTo>
                  <a:lnTo>
                    <a:pt x="1264" y="1811"/>
                  </a:lnTo>
                  <a:lnTo>
                    <a:pt x="1242" y="1828"/>
                  </a:lnTo>
                  <a:lnTo>
                    <a:pt x="1226" y="1828"/>
                  </a:lnTo>
                  <a:lnTo>
                    <a:pt x="1226" y="1816"/>
                  </a:lnTo>
                  <a:lnTo>
                    <a:pt x="1231" y="1804"/>
                  </a:lnTo>
                  <a:lnTo>
                    <a:pt x="1247" y="1811"/>
                  </a:lnTo>
                  <a:lnTo>
                    <a:pt x="1221" y="1804"/>
                  </a:lnTo>
                  <a:lnTo>
                    <a:pt x="1205" y="1833"/>
                  </a:lnTo>
                  <a:lnTo>
                    <a:pt x="1188" y="1844"/>
                  </a:lnTo>
                  <a:lnTo>
                    <a:pt x="1193" y="1849"/>
                  </a:lnTo>
                  <a:lnTo>
                    <a:pt x="1179" y="1861"/>
                  </a:lnTo>
                  <a:lnTo>
                    <a:pt x="1179" y="1849"/>
                  </a:lnTo>
                  <a:lnTo>
                    <a:pt x="1172" y="1849"/>
                  </a:lnTo>
                  <a:lnTo>
                    <a:pt x="1172" y="1861"/>
                  </a:lnTo>
                  <a:lnTo>
                    <a:pt x="1155" y="1861"/>
                  </a:lnTo>
                  <a:lnTo>
                    <a:pt x="1150" y="1833"/>
                  </a:lnTo>
                  <a:lnTo>
                    <a:pt x="1141" y="1844"/>
                  </a:lnTo>
                  <a:lnTo>
                    <a:pt x="1150" y="1849"/>
                  </a:lnTo>
                  <a:lnTo>
                    <a:pt x="1150" y="1866"/>
                  </a:lnTo>
                  <a:lnTo>
                    <a:pt x="1141" y="1866"/>
                  </a:lnTo>
                  <a:lnTo>
                    <a:pt x="1124" y="1873"/>
                  </a:lnTo>
                  <a:lnTo>
                    <a:pt x="1103" y="1849"/>
                  </a:lnTo>
                  <a:lnTo>
                    <a:pt x="1103" y="1861"/>
                  </a:lnTo>
                  <a:lnTo>
                    <a:pt x="1117" y="1866"/>
                  </a:lnTo>
                  <a:lnTo>
                    <a:pt x="1096" y="1882"/>
                  </a:lnTo>
                  <a:lnTo>
                    <a:pt x="1096" y="1873"/>
                  </a:lnTo>
                  <a:lnTo>
                    <a:pt x="1103" y="1866"/>
                  </a:lnTo>
                  <a:lnTo>
                    <a:pt x="1096" y="1849"/>
                  </a:lnTo>
                  <a:lnTo>
                    <a:pt x="1117" y="1849"/>
                  </a:lnTo>
                  <a:lnTo>
                    <a:pt x="1124" y="1833"/>
                  </a:lnTo>
                  <a:lnTo>
                    <a:pt x="1150" y="1828"/>
                  </a:lnTo>
                  <a:lnTo>
                    <a:pt x="1155" y="1828"/>
                  </a:lnTo>
                  <a:lnTo>
                    <a:pt x="1150" y="1816"/>
                  </a:lnTo>
                  <a:lnTo>
                    <a:pt x="1172" y="1795"/>
                  </a:lnTo>
                  <a:lnTo>
                    <a:pt x="1205" y="1771"/>
                  </a:lnTo>
                  <a:lnTo>
                    <a:pt x="1259" y="1771"/>
                  </a:lnTo>
                  <a:lnTo>
                    <a:pt x="1280" y="1795"/>
                  </a:lnTo>
                  <a:lnTo>
                    <a:pt x="1275" y="1778"/>
                  </a:lnTo>
                  <a:lnTo>
                    <a:pt x="1313" y="1788"/>
                  </a:lnTo>
                  <a:lnTo>
                    <a:pt x="1313" y="1778"/>
                  </a:lnTo>
                  <a:lnTo>
                    <a:pt x="1285" y="1762"/>
                  </a:lnTo>
                  <a:lnTo>
                    <a:pt x="1301" y="1733"/>
                  </a:lnTo>
                  <a:lnTo>
                    <a:pt x="1394" y="1684"/>
                  </a:lnTo>
                  <a:lnTo>
                    <a:pt x="1427" y="1684"/>
                  </a:lnTo>
                  <a:lnTo>
                    <a:pt x="1427" y="1651"/>
                  </a:lnTo>
                  <a:lnTo>
                    <a:pt x="1474" y="1611"/>
                  </a:lnTo>
                  <a:lnTo>
                    <a:pt x="1490" y="1606"/>
                  </a:lnTo>
                  <a:lnTo>
                    <a:pt x="1495" y="1611"/>
                  </a:lnTo>
                  <a:lnTo>
                    <a:pt x="1512" y="1611"/>
                  </a:lnTo>
                  <a:lnTo>
                    <a:pt x="1512" y="1606"/>
                  </a:lnTo>
                  <a:lnTo>
                    <a:pt x="1502" y="1611"/>
                  </a:lnTo>
                  <a:lnTo>
                    <a:pt x="1490" y="1594"/>
                  </a:lnTo>
                  <a:lnTo>
                    <a:pt x="1495" y="1552"/>
                  </a:lnTo>
                  <a:lnTo>
                    <a:pt x="1512" y="1533"/>
                  </a:lnTo>
                  <a:lnTo>
                    <a:pt x="1528" y="1540"/>
                  </a:lnTo>
                  <a:lnTo>
                    <a:pt x="1502" y="1533"/>
                  </a:lnTo>
                  <a:lnTo>
                    <a:pt x="1502" y="1516"/>
                  </a:lnTo>
                  <a:lnTo>
                    <a:pt x="1533" y="1478"/>
                  </a:lnTo>
                  <a:lnTo>
                    <a:pt x="1557" y="1441"/>
                  </a:lnTo>
                  <a:lnTo>
                    <a:pt x="1533" y="1462"/>
                  </a:lnTo>
                  <a:lnTo>
                    <a:pt x="1457" y="1495"/>
                  </a:lnTo>
                  <a:lnTo>
                    <a:pt x="1427" y="1474"/>
                  </a:lnTo>
                  <a:lnTo>
                    <a:pt x="1436" y="1457"/>
                  </a:lnTo>
                  <a:lnTo>
                    <a:pt x="1457" y="1457"/>
                  </a:lnTo>
                  <a:lnTo>
                    <a:pt x="1474" y="1462"/>
                  </a:lnTo>
                  <a:lnTo>
                    <a:pt x="1436" y="1429"/>
                  </a:lnTo>
                  <a:lnTo>
                    <a:pt x="1436" y="1445"/>
                  </a:lnTo>
                  <a:lnTo>
                    <a:pt x="1427" y="1462"/>
                  </a:lnTo>
                  <a:lnTo>
                    <a:pt x="1420" y="1462"/>
                  </a:lnTo>
                  <a:lnTo>
                    <a:pt x="1420" y="1457"/>
                  </a:lnTo>
                  <a:lnTo>
                    <a:pt x="1410" y="1457"/>
                  </a:lnTo>
                  <a:lnTo>
                    <a:pt x="1420" y="1478"/>
                  </a:lnTo>
                  <a:lnTo>
                    <a:pt x="1410" y="1478"/>
                  </a:lnTo>
                  <a:lnTo>
                    <a:pt x="1410" y="1474"/>
                  </a:lnTo>
                  <a:lnTo>
                    <a:pt x="1405" y="1478"/>
                  </a:lnTo>
                  <a:lnTo>
                    <a:pt x="1420" y="1500"/>
                  </a:lnTo>
                  <a:lnTo>
                    <a:pt x="1405" y="1516"/>
                  </a:lnTo>
                  <a:lnTo>
                    <a:pt x="1394" y="1511"/>
                  </a:lnTo>
                  <a:lnTo>
                    <a:pt x="1356" y="1457"/>
                  </a:lnTo>
                  <a:lnTo>
                    <a:pt x="1335" y="1478"/>
                  </a:lnTo>
                  <a:lnTo>
                    <a:pt x="1313" y="1457"/>
                  </a:lnTo>
                  <a:lnTo>
                    <a:pt x="1301" y="1445"/>
                  </a:lnTo>
                  <a:lnTo>
                    <a:pt x="1221" y="1495"/>
                  </a:lnTo>
                  <a:lnTo>
                    <a:pt x="1179" y="1483"/>
                  </a:lnTo>
                  <a:lnTo>
                    <a:pt x="1193" y="1483"/>
                  </a:lnTo>
                  <a:lnTo>
                    <a:pt x="1209" y="1478"/>
                  </a:lnTo>
                  <a:lnTo>
                    <a:pt x="1205" y="1462"/>
                  </a:lnTo>
                  <a:lnTo>
                    <a:pt x="1205" y="1445"/>
                  </a:lnTo>
                  <a:lnTo>
                    <a:pt x="1221" y="1441"/>
                  </a:lnTo>
                  <a:lnTo>
                    <a:pt x="1193" y="1445"/>
                  </a:lnTo>
                  <a:lnTo>
                    <a:pt x="1188" y="1441"/>
                  </a:lnTo>
                  <a:lnTo>
                    <a:pt x="1193" y="1412"/>
                  </a:lnTo>
                  <a:lnTo>
                    <a:pt x="1209" y="1400"/>
                  </a:lnTo>
                  <a:lnTo>
                    <a:pt x="1172" y="1334"/>
                  </a:lnTo>
                  <a:lnTo>
                    <a:pt x="1179" y="1318"/>
                  </a:lnTo>
                  <a:lnTo>
                    <a:pt x="1167" y="1329"/>
                  </a:lnTo>
                  <a:lnTo>
                    <a:pt x="1167" y="1313"/>
                  </a:lnTo>
                  <a:lnTo>
                    <a:pt x="1172" y="1280"/>
                  </a:lnTo>
                  <a:lnTo>
                    <a:pt x="1193" y="1273"/>
                  </a:lnTo>
                  <a:lnTo>
                    <a:pt x="1172" y="1280"/>
                  </a:lnTo>
                  <a:lnTo>
                    <a:pt x="1150" y="1313"/>
                  </a:lnTo>
                  <a:lnTo>
                    <a:pt x="1155" y="1329"/>
                  </a:lnTo>
                  <a:lnTo>
                    <a:pt x="1155" y="1346"/>
                  </a:lnTo>
                  <a:lnTo>
                    <a:pt x="1096" y="1367"/>
                  </a:lnTo>
                  <a:lnTo>
                    <a:pt x="1042" y="1367"/>
                  </a:lnTo>
                  <a:lnTo>
                    <a:pt x="1032" y="1351"/>
                  </a:lnTo>
                  <a:lnTo>
                    <a:pt x="1042" y="1346"/>
                  </a:lnTo>
                  <a:lnTo>
                    <a:pt x="1016" y="1334"/>
                  </a:lnTo>
                  <a:lnTo>
                    <a:pt x="1004" y="1313"/>
                  </a:lnTo>
                  <a:lnTo>
                    <a:pt x="973" y="1296"/>
                  </a:lnTo>
                  <a:lnTo>
                    <a:pt x="978" y="1289"/>
                  </a:lnTo>
                  <a:lnTo>
                    <a:pt x="952" y="1289"/>
                  </a:lnTo>
                  <a:lnTo>
                    <a:pt x="1004" y="1244"/>
                  </a:lnTo>
                  <a:lnTo>
                    <a:pt x="1004" y="1256"/>
                  </a:lnTo>
                  <a:lnTo>
                    <a:pt x="1032" y="1263"/>
                  </a:lnTo>
                  <a:lnTo>
                    <a:pt x="1032" y="1273"/>
                  </a:lnTo>
                  <a:lnTo>
                    <a:pt x="1016" y="1289"/>
                  </a:lnTo>
                  <a:lnTo>
                    <a:pt x="1049" y="1263"/>
                  </a:lnTo>
                  <a:lnTo>
                    <a:pt x="1065" y="1263"/>
                  </a:lnTo>
                  <a:lnTo>
                    <a:pt x="1065" y="1280"/>
                  </a:lnTo>
                  <a:lnTo>
                    <a:pt x="1070" y="1280"/>
                  </a:lnTo>
                  <a:lnTo>
                    <a:pt x="1086" y="1263"/>
                  </a:lnTo>
                  <a:lnTo>
                    <a:pt x="1058" y="1256"/>
                  </a:lnTo>
                  <a:lnTo>
                    <a:pt x="1079" y="1244"/>
                  </a:lnTo>
                  <a:lnTo>
                    <a:pt x="1065" y="1240"/>
                  </a:lnTo>
                  <a:lnTo>
                    <a:pt x="1049" y="1256"/>
                  </a:lnTo>
                  <a:lnTo>
                    <a:pt x="973" y="1244"/>
                  </a:lnTo>
                  <a:lnTo>
                    <a:pt x="961" y="1240"/>
                  </a:lnTo>
                  <a:lnTo>
                    <a:pt x="994" y="1223"/>
                  </a:lnTo>
                  <a:lnTo>
                    <a:pt x="973" y="1223"/>
                  </a:lnTo>
                  <a:lnTo>
                    <a:pt x="973" y="1207"/>
                  </a:lnTo>
                  <a:lnTo>
                    <a:pt x="961" y="1218"/>
                  </a:lnTo>
                  <a:lnTo>
                    <a:pt x="957" y="1218"/>
                  </a:lnTo>
                  <a:lnTo>
                    <a:pt x="973" y="1190"/>
                  </a:lnTo>
                  <a:lnTo>
                    <a:pt x="990" y="1185"/>
                  </a:lnTo>
                  <a:lnTo>
                    <a:pt x="1004" y="1169"/>
                  </a:lnTo>
                  <a:lnTo>
                    <a:pt x="957" y="1202"/>
                  </a:lnTo>
                  <a:lnTo>
                    <a:pt x="952" y="1218"/>
                  </a:lnTo>
                  <a:lnTo>
                    <a:pt x="957" y="1218"/>
                  </a:lnTo>
                  <a:lnTo>
                    <a:pt x="952" y="1235"/>
                  </a:lnTo>
                  <a:lnTo>
                    <a:pt x="935" y="1223"/>
                  </a:lnTo>
                  <a:lnTo>
                    <a:pt x="935" y="1207"/>
                  </a:lnTo>
                  <a:lnTo>
                    <a:pt x="919" y="1202"/>
                  </a:lnTo>
                  <a:lnTo>
                    <a:pt x="919" y="1190"/>
                  </a:lnTo>
                  <a:lnTo>
                    <a:pt x="924" y="1185"/>
                  </a:lnTo>
                  <a:lnTo>
                    <a:pt x="924" y="1178"/>
                  </a:lnTo>
                  <a:lnTo>
                    <a:pt x="902" y="1185"/>
                  </a:lnTo>
                  <a:lnTo>
                    <a:pt x="898" y="1169"/>
                  </a:lnTo>
                  <a:lnTo>
                    <a:pt x="898" y="1162"/>
                  </a:lnTo>
                  <a:lnTo>
                    <a:pt x="902" y="1169"/>
                  </a:lnTo>
                  <a:lnTo>
                    <a:pt x="924" y="1162"/>
                  </a:lnTo>
                  <a:lnTo>
                    <a:pt x="902" y="1145"/>
                  </a:lnTo>
                  <a:lnTo>
                    <a:pt x="935" y="1145"/>
                  </a:lnTo>
                  <a:lnTo>
                    <a:pt x="924" y="1129"/>
                  </a:lnTo>
                  <a:lnTo>
                    <a:pt x="935" y="1112"/>
                  </a:lnTo>
                  <a:lnTo>
                    <a:pt x="961" y="1074"/>
                  </a:lnTo>
                  <a:lnTo>
                    <a:pt x="978" y="1067"/>
                  </a:lnTo>
                  <a:lnTo>
                    <a:pt x="1004" y="1079"/>
                  </a:lnTo>
                  <a:lnTo>
                    <a:pt x="990" y="1067"/>
                  </a:lnTo>
                  <a:lnTo>
                    <a:pt x="1016" y="1041"/>
                  </a:lnTo>
                  <a:lnTo>
                    <a:pt x="994" y="1051"/>
                  </a:lnTo>
                  <a:lnTo>
                    <a:pt x="990" y="1034"/>
                  </a:lnTo>
                  <a:lnTo>
                    <a:pt x="1004" y="1013"/>
                  </a:lnTo>
                  <a:lnTo>
                    <a:pt x="1027" y="1013"/>
                  </a:lnTo>
                  <a:lnTo>
                    <a:pt x="1011" y="1001"/>
                  </a:lnTo>
                  <a:lnTo>
                    <a:pt x="1016" y="985"/>
                  </a:lnTo>
                  <a:lnTo>
                    <a:pt x="1049" y="985"/>
                  </a:lnTo>
                  <a:lnTo>
                    <a:pt x="1096" y="1013"/>
                  </a:lnTo>
                  <a:lnTo>
                    <a:pt x="1112" y="1013"/>
                  </a:lnTo>
                  <a:lnTo>
                    <a:pt x="1150" y="985"/>
                  </a:lnTo>
                  <a:lnTo>
                    <a:pt x="1167" y="959"/>
                  </a:lnTo>
                  <a:lnTo>
                    <a:pt x="1188" y="959"/>
                  </a:lnTo>
                  <a:lnTo>
                    <a:pt x="1179" y="963"/>
                  </a:lnTo>
                  <a:lnTo>
                    <a:pt x="1247" y="959"/>
                  </a:lnTo>
                  <a:lnTo>
                    <a:pt x="1275" y="930"/>
                  </a:lnTo>
                  <a:lnTo>
                    <a:pt x="1275" y="914"/>
                  </a:lnTo>
                  <a:lnTo>
                    <a:pt x="1264" y="874"/>
                  </a:lnTo>
                  <a:lnTo>
                    <a:pt x="1247" y="852"/>
                  </a:lnTo>
                  <a:lnTo>
                    <a:pt x="1226" y="852"/>
                  </a:lnTo>
                  <a:lnTo>
                    <a:pt x="1231" y="836"/>
                  </a:lnTo>
                  <a:lnTo>
                    <a:pt x="1259" y="848"/>
                  </a:lnTo>
                  <a:lnTo>
                    <a:pt x="1275" y="831"/>
                  </a:lnTo>
                  <a:lnTo>
                    <a:pt x="1275" y="819"/>
                  </a:lnTo>
                  <a:lnTo>
                    <a:pt x="1247" y="796"/>
                  </a:lnTo>
                  <a:lnTo>
                    <a:pt x="1259" y="791"/>
                  </a:lnTo>
                  <a:lnTo>
                    <a:pt x="1247" y="791"/>
                  </a:lnTo>
                  <a:lnTo>
                    <a:pt x="1226" y="815"/>
                  </a:lnTo>
                  <a:lnTo>
                    <a:pt x="1179" y="819"/>
                  </a:lnTo>
                  <a:lnTo>
                    <a:pt x="1150" y="848"/>
                  </a:lnTo>
                  <a:lnTo>
                    <a:pt x="1150" y="852"/>
                  </a:lnTo>
                  <a:lnTo>
                    <a:pt x="1134" y="857"/>
                  </a:lnTo>
                  <a:lnTo>
                    <a:pt x="1124" y="848"/>
                  </a:lnTo>
                  <a:lnTo>
                    <a:pt x="1112" y="819"/>
                  </a:lnTo>
                  <a:lnTo>
                    <a:pt x="1096" y="836"/>
                  </a:lnTo>
                  <a:lnTo>
                    <a:pt x="1117" y="848"/>
                  </a:lnTo>
                  <a:lnTo>
                    <a:pt x="1112" y="852"/>
                  </a:lnTo>
                  <a:lnTo>
                    <a:pt x="1086" y="836"/>
                  </a:lnTo>
                  <a:lnTo>
                    <a:pt x="1065" y="831"/>
                  </a:lnTo>
                  <a:lnTo>
                    <a:pt x="990" y="836"/>
                  </a:lnTo>
                  <a:lnTo>
                    <a:pt x="990" y="848"/>
                  </a:lnTo>
                  <a:lnTo>
                    <a:pt x="994" y="848"/>
                  </a:lnTo>
                  <a:lnTo>
                    <a:pt x="978" y="852"/>
                  </a:lnTo>
                  <a:lnTo>
                    <a:pt x="902" y="836"/>
                  </a:lnTo>
                  <a:lnTo>
                    <a:pt x="881" y="819"/>
                  </a:lnTo>
                  <a:lnTo>
                    <a:pt x="869" y="815"/>
                  </a:lnTo>
                  <a:lnTo>
                    <a:pt x="881" y="796"/>
                  </a:lnTo>
                  <a:lnTo>
                    <a:pt x="843" y="763"/>
                  </a:lnTo>
                  <a:lnTo>
                    <a:pt x="848" y="746"/>
                  </a:lnTo>
                  <a:lnTo>
                    <a:pt x="843" y="763"/>
                  </a:lnTo>
                  <a:lnTo>
                    <a:pt x="864" y="774"/>
                  </a:lnTo>
                  <a:lnTo>
                    <a:pt x="881" y="746"/>
                  </a:lnTo>
                  <a:lnTo>
                    <a:pt x="902" y="758"/>
                  </a:lnTo>
                  <a:lnTo>
                    <a:pt x="810" y="737"/>
                  </a:lnTo>
                  <a:lnTo>
                    <a:pt x="756" y="708"/>
                  </a:lnTo>
                  <a:lnTo>
                    <a:pt x="777" y="692"/>
                  </a:lnTo>
                  <a:lnTo>
                    <a:pt x="763" y="708"/>
                  </a:lnTo>
                  <a:lnTo>
                    <a:pt x="801" y="704"/>
                  </a:lnTo>
                  <a:lnTo>
                    <a:pt x="801" y="692"/>
                  </a:lnTo>
                  <a:lnTo>
                    <a:pt x="801" y="687"/>
                  </a:lnTo>
                  <a:lnTo>
                    <a:pt x="831" y="680"/>
                  </a:lnTo>
                  <a:lnTo>
                    <a:pt x="848" y="680"/>
                  </a:lnTo>
                  <a:lnTo>
                    <a:pt x="843" y="670"/>
                  </a:lnTo>
                  <a:lnTo>
                    <a:pt x="886" y="647"/>
                  </a:lnTo>
                  <a:lnTo>
                    <a:pt x="924" y="654"/>
                  </a:lnTo>
                  <a:lnTo>
                    <a:pt x="940" y="647"/>
                  </a:lnTo>
                  <a:lnTo>
                    <a:pt x="919" y="635"/>
                  </a:lnTo>
                  <a:lnTo>
                    <a:pt x="935" y="626"/>
                  </a:lnTo>
                  <a:lnTo>
                    <a:pt x="1027" y="597"/>
                  </a:lnTo>
                  <a:lnTo>
                    <a:pt x="1070" y="597"/>
                  </a:lnTo>
                  <a:lnTo>
                    <a:pt x="1058" y="597"/>
                  </a:lnTo>
                  <a:lnTo>
                    <a:pt x="1065" y="609"/>
                  </a:lnTo>
                  <a:lnTo>
                    <a:pt x="1058" y="626"/>
                  </a:lnTo>
                  <a:lnTo>
                    <a:pt x="1058" y="630"/>
                  </a:lnTo>
                  <a:lnTo>
                    <a:pt x="1032" y="647"/>
                  </a:lnTo>
                  <a:lnTo>
                    <a:pt x="1070" y="663"/>
                  </a:lnTo>
                  <a:lnTo>
                    <a:pt x="1188" y="663"/>
                  </a:lnTo>
                  <a:lnTo>
                    <a:pt x="1205" y="670"/>
                  </a:lnTo>
                  <a:lnTo>
                    <a:pt x="1226" y="635"/>
                  </a:lnTo>
                  <a:lnTo>
                    <a:pt x="1259" y="635"/>
                  </a:lnTo>
                  <a:lnTo>
                    <a:pt x="1247" y="654"/>
                  </a:lnTo>
                  <a:lnTo>
                    <a:pt x="1259" y="635"/>
                  </a:lnTo>
                  <a:lnTo>
                    <a:pt x="1247" y="626"/>
                  </a:lnTo>
                  <a:lnTo>
                    <a:pt x="1226" y="614"/>
                  </a:lnTo>
                  <a:lnTo>
                    <a:pt x="1193" y="626"/>
                  </a:lnTo>
                  <a:lnTo>
                    <a:pt x="1193" y="630"/>
                  </a:lnTo>
                  <a:lnTo>
                    <a:pt x="1193" y="597"/>
                  </a:lnTo>
                  <a:lnTo>
                    <a:pt x="1172" y="581"/>
                  </a:lnTo>
                  <a:lnTo>
                    <a:pt x="1155" y="576"/>
                  </a:lnTo>
                  <a:lnTo>
                    <a:pt x="1141" y="559"/>
                  </a:lnTo>
                  <a:lnTo>
                    <a:pt x="1167" y="552"/>
                  </a:lnTo>
                  <a:lnTo>
                    <a:pt x="1179" y="569"/>
                  </a:lnTo>
                  <a:lnTo>
                    <a:pt x="1188" y="593"/>
                  </a:lnTo>
                  <a:lnTo>
                    <a:pt x="1221" y="614"/>
                  </a:lnTo>
                  <a:lnTo>
                    <a:pt x="1247" y="597"/>
                  </a:lnTo>
                  <a:lnTo>
                    <a:pt x="1275" y="626"/>
                  </a:lnTo>
                  <a:lnTo>
                    <a:pt x="1313" y="626"/>
                  </a:lnTo>
                  <a:lnTo>
                    <a:pt x="1313" y="593"/>
                  </a:lnTo>
                  <a:lnTo>
                    <a:pt x="1285" y="597"/>
                  </a:lnTo>
                  <a:lnTo>
                    <a:pt x="1247" y="593"/>
                  </a:lnTo>
                  <a:lnTo>
                    <a:pt x="1242" y="597"/>
                  </a:lnTo>
                  <a:lnTo>
                    <a:pt x="1226" y="597"/>
                  </a:lnTo>
                  <a:lnTo>
                    <a:pt x="1193" y="581"/>
                  </a:lnTo>
                  <a:lnTo>
                    <a:pt x="1209" y="552"/>
                  </a:lnTo>
                  <a:lnTo>
                    <a:pt x="1226" y="552"/>
                  </a:lnTo>
                  <a:lnTo>
                    <a:pt x="1193" y="543"/>
                  </a:lnTo>
                  <a:lnTo>
                    <a:pt x="1155" y="543"/>
                  </a:lnTo>
                  <a:lnTo>
                    <a:pt x="1167" y="526"/>
                  </a:lnTo>
                  <a:lnTo>
                    <a:pt x="1150" y="543"/>
                  </a:lnTo>
                  <a:lnTo>
                    <a:pt x="1065" y="536"/>
                  </a:lnTo>
                  <a:lnTo>
                    <a:pt x="1065" y="503"/>
                  </a:lnTo>
                  <a:lnTo>
                    <a:pt x="1042" y="470"/>
                  </a:lnTo>
                  <a:lnTo>
                    <a:pt x="952" y="415"/>
                  </a:lnTo>
                  <a:lnTo>
                    <a:pt x="848" y="375"/>
                  </a:lnTo>
                  <a:lnTo>
                    <a:pt x="886" y="370"/>
                  </a:lnTo>
                  <a:lnTo>
                    <a:pt x="898" y="354"/>
                  </a:lnTo>
                  <a:lnTo>
                    <a:pt x="898" y="314"/>
                  </a:lnTo>
                  <a:lnTo>
                    <a:pt x="1027" y="304"/>
                  </a:lnTo>
                  <a:lnTo>
                    <a:pt x="1070" y="281"/>
                  </a:lnTo>
                  <a:lnTo>
                    <a:pt x="1103" y="243"/>
                  </a:lnTo>
                  <a:lnTo>
                    <a:pt x="1103" y="259"/>
                  </a:lnTo>
                  <a:lnTo>
                    <a:pt x="1112" y="248"/>
                  </a:lnTo>
                  <a:lnTo>
                    <a:pt x="1124" y="210"/>
                  </a:lnTo>
                  <a:lnTo>
                    <a:pt x="1117" y="205"/>
                  </a:lnTo>
                  <a:lnTo>
                    <a:pt x="1193" y="132"/>
                  </a:lnTo>
                  <a:lnTo>
                    <a:pt x="1205" y="137"/>
                  </a:lnTo>
                  <a:lnTo>
                    <a:pt x="1179" y="153"/>
                  </a:lnTo>
                  <a:lnTo>
                    <a:pt x="1247" y="137"/>
                  </a:lnTo>
                  <a:lnTo>
                    <a:pt x="1335" y="94"/>
                  </a:lnTo>
                  <a:lnTo>
                    <a:pt x="1335" y="111"/>
                  </a:lnTo>
                  <a:lnTo>
                    <a:pt x="1318" y="111"/>
                  </a:lnTo>
                  <a:lnTo>
                    <a:pt x="1330" y="111"/>
                  </a:lnTo>
                  <a:lnTo>
                    <a:pt x="1339" y="137"/>
                  </a:lnTo>
                  <a:lnTo>
                    <a:pt x="1335" y="127"/>
                  </a:lnTo>
                  <a:lnTo>
                    <a:pt x="1339" y="111"/>
                  </a:lnTo>
                  <a:lnTo>
                    <a:pt x="1382" y="99"/>
                  </a:lnTo>
                  <a:lnTo>
                    <a:pt x="1351" y="111"/>
                  </a:lnTo>
                  <a:lnTo>
                    <a:pt x="1335" y="94"/>
                  </a:lnTo>
                  <a:lnTo>
                    <a:pt x="1318" y="94"/>
                  </a:lnTo>
                  <a:lnTo>
                    <a:pt x="1389" y="61"/>
                  </a:lnTo>
                  <a:lnTo>
                    <a:pt x="1372" y="61"/>
                  </a:lnTo>
                  <a:lnTo>
                    <a:pt x="1389" y="61"/>
                  </a:lnTo>
                  <a:lnTo>
                    <a:pt x="1368" y="70"/>
                  </a:lnTo>
                  <a:lnTo>
                    <a:pt x="1382" y="78"/>
                  </a:lnTo>
                  <a:lnTo>
                    <a:pt x="1405" y="70"/>
                  </a:lnTo>
                  <a:lnTo>
                    <a:pt x="1481" y="61"/>
                  </a:lnTo>
                  <a:lnTo>
                    <a:pt x="1566" y="0"/>
                  </a:lnTo>
                  <a:lnTo>
                    <a:pt x="1583" y="4"/>
                  </a:lnTo>
                  <a:lnTo>
                    <a:pt x="1637" y="21"/>
                  </a:lnTo>
                  <a:lnTo>
                    <a:pt x="1642" y="26"/>
                  </a:lnTo>
                  <a:lnTo>
                    <a:pt x="1625" y="42"/>
                  </a:lnTo>
                  <a:lnTo>
                    <a:pt x="1599" y="54"/>
                  </a:lnTo>
                  <a:lnTo>
                    <a:pt x="1611" y="54"/>
                  </a:lnTo>
                  <a:lnTo>
                    <a:pt x="1611" y="78"/>
                  </a:lnTo>
                  <a:lnTo>
                    <a:pt x="1637" y="61"/>
                  </a:lnTo>
                  <a:lnTo>
                    <a:pt x="1653" y="42"/>
                  </a:lnTo>
                  <a:lnTo>
                    <a:pt x="1670" y="42"/>
                  </a:lnTo>
                  <a:lnTo>
                    <a:pt x="1658" y="26"/>
                  </a:lnTo>
                  <a:lnTo>
                    <a:pt x="1675" y="21"/>
                  </a:lnTo>
                  <a:lnTo>
                    <a:pt x="1675" y="37"/>
                  </a:lnTo>
                  <a:lnTo>
                    <a:pt x="1679" y="26"/>
                  </a:lnTo>
                  <a:lnTo>
                    <a:pt x="1696" y="26"/>
                  </a:lnTo>
                  <a:lnTo>
                    <a:pt x="1712" y="42"/>
                  </a:lnTo>
                  <a:lnTo>
                    <a:pt x="1708" y="54"/>
                  </a:lnTo>
                  <a:lnTo>
                    <a:pt x="1708" y="61"/>
                  </a:lnTo>
                  <a:lnTo>
                    <a:pt x="1734" y="70"/>
                  </a:lnTo>
                  <a:lnTo>
                    <a:pt x="1762" y="54"/>
                  </a:lnTo>
                  <a:lnTo>
                    <a:pt x="1805" y="54"/>
                  </a:lnTo>
                  <a:lnTo>
                    <a:pt x="1875" y="61"/>
                  </a:lnTo>
                  <a:lnTo>
                    <a:pt x="1859" y="82"/>
                  </a:lnTo>
                  <a:lnTo>
                    <a:pt x="1885" y="99"/>
                  </a:lnTo>
                  <a:lnTo>
                    <a:pt x="1842" y="99"/>
                  </a:lnTo>
                  <a:lnTo>
                    <a:pt x="1913" y="99"/>
                  </a:lnTo>
                  <a:lnTo>
                    <a:pt x="1890" y="115"/>
                  </a:lnTo>
                  <a:lnTo>
                    <a:pt x="1944" y="127"/>
                  </a:lnTo>
                  <a:lnTo>
                    <a:pt x="1951" y="115"/>
                  </a:lnTo>
                  <a:lnTo>
                    <a:pt x="1977" y="111"/>
                  </a:lnTo>
                  <a:lnTo>
                    <a:pt x="2003" y="111"/>
                  </a:lnTo>
                  <a:lnTo>
                    <a:pt x="2003" y="115"/>
                  </a:lnTo>
                  <a:lnTo>
                    <a:pt x="2036" y="111"/>
                  </a:lnTo>
                  <a:lnTo>
                    <a:pt x="2090" y="111"/>
                  </a:lnTo>
                  <a:lnTo>
                    <a:pt x="2140" y="132"/>
                  </a:lnTo>
                  <a:lnTo>
                    <a:pt x="2161" y="127"/>
                  </a:lnTo>
                  <a:lnTo>
                    <a:pt x="2192" y="148"/>
                  </a:lnTo>
                  <a:lnTo>
                    <a:pt x="2322" y="153"/>
                  </a:lnTo>
                  <a:lnTo>
                    <a:pt x="2381" y="181"/>
                  </a:lnTo>
                  <a:lnTo>
                    <a:pt x="2501" y="153"/>
                  </a:lnTo>
                  <a:lnTo>
                    <a:pt x="2544" y="170"/>
                  </a:lnTo>
                  <a:lnTo>
                    <a:pt x="2641" y="222"/>
                  </a:lnTo>
                  <a:lnTo>
                    <a:pt x="2662" y="222"/>
                  </a:lnTo>
                  <a:lnTo>
                    <a:pt x="2662" y="222"/>
                  </a:lnTo>
                  <a:lnTo>
                    <a:pt x="2662" y="222"/>
                  </a:lnTo>
                  <a:close/>
                  <a:moveTo>
                    <a:pt x="709" y="996"/>
                  </a:moveTo>
                  <a:lnTo>
                    <a:pt x="680" y="996"/>
                  </a:lnTo>
                  <a:lnTo>
                    <a:pt x="654" y="1018"/>
                  </a:lnTo>
                  <a:lnTo>
                    <a:pt x="649" y="1018"/>
                  </a:lnTo>
                  <a:lnTo>
                    <a:pt x="638" y="1001"/>
                  </a:lnTo>
                  <a:lnTo>
                    <a:pt x="612" y="996"/>
                  </a:lnTo>
                  <a:lnTo>
                    <a:pt x="612" y="980"/>
                  </a:lnTo>
                  <a:lnTo>
                    <a:pt x="595" y="968"/>
                  </a:lnTo>
                  <a:lnTo>
                    <a:pt x="557" y="963"/>
                  </a:lnTo>
                  <a:lnTo>
                    <a:pt x="612" y="985"/>
                  </a:lnTo>
                  <a:lnTo>
                    <a:pt x="562" y="963"/>
                  </a:lnTo>
                  <a:lnTo>
                    <a:pt x="520" y="980"/>
                  </a:lnTo>
                  <a:lnTo>
                    <a:pt x="503" y="968"/>
                  </a:lnTo>
                  <a:lnTo>
                    <a:pt x="503" y="959"/>
                  </a:lnTo>
                  <a:lnTo>
                    <a:pt x="508" y="923"/>
                  </a:lnTo>
                  <a:lnTo>
                    <a:pt x="524" y="947"/>
                  </a:lnTo>
                  <a:lnTo>
                    <a:pt x="562" y="947"/>
                  </a:lnTo>
                  <a:lnTo>
                    <a:pt x="612" y="930"/>
                  </a:lnTo>
                  <a:lnTo>
                    <a:pt x="664" y="968"/>
                  </a:lnTo>
                  <a:lnTo>
                    <a:pt x="718" y="980"/>
                  </a:lnTo>
                  <a:lnTo>
                    <a:pt x="709" y="996"/>
                  </a:lnTo>
                  <a:lnTo>
                    <a:pt x="709" y="996"/>
                  </a:lnTo>
                  <a:lnTo>
                    <a:pt x="709" y="996"/>
                  </a:lnTo>
                  <a:close/>
                  <a:moveTo>
                    <a:pt x="1167" y="947"/>
                  </a:moveTo>
                  <a:lnTo>
                    <a:pt x="1141" y="947"/>
                  </a:lnTo>
                  <a:lnTo>
                    <a:pt x="1150" y="940"/>
                  </a:lnTo>
                  <a:lnTo>
                    <a:pt x="1167" y="947"/>
                  </a:lnTo>
                  <a:lnTo>
                    <a:pt x="1167" y="947"/>
                  </a:lnTo>
                  <a:lnTo>
                    <a:pt x="1167" y="947"/>
                  </a:lnTo>
                  <a:close/>
                  <a:moveTo>
                    <a:pt x="2166" y="1244"/>
                  </a:moveTo>
                  <a:lnTo>
                    <a:pt x="2178" y="1256"/>
                  </a:lnTo>
                  <a:lnTo>
                    <a:pt x="2161" y="1256"/>
                  </a:lnTo>
                  <a:lnTo>
                    <a:pt x="2166" y="1244"/>
                  </a:lnTo>
                  <a:lnTo>
                    <a:pt x="2166" y="1244"/>
                  </a:lnTo>
                  <a:lnTo>
                    <a:pt x="2166" y="1244"/>
                  </a:lnTo>
                  <a:close/>
                  <a:moveTo>
                    <a:pt x="2263" y="1244"/>
                  </a:moveTo>
                  <a:lnTo>
                    <a:pt x="2263" y="1256"/>
                  </a:lnTo>
                  <a:lnTo>
                    <a:pt x="2253" y="1256"/>
                  </a:lnTo>
                  <a:lnTo>
                    <a:pt x="2263" y="1244"/>
                  </a:lnTo>
                  <a:lnTo>
                    <a:pt x="2263" y="1244"/>
                  </a:lnTo>
                  <a:lnTo>
                    <a:pt x="2263" y="1244"/>
                  </a:lnTo>
                  <a:close/>
                  <a:moveTo>
                    <a:pt x="978" y="1244"/>
                  </a:moveTo>
                  <a:lnTo>
                    <a:pt x="990" y="1256"/>
                  </a:lnTo>
                  <a:lnTo>
                    <a:pt x="978" y="1256"/>
                  </a:lnTo>
                  <a:lnTo>
                    <a:pt x="978" y="1244"/>
                  </a:lnTo>
                  <a:lnTo>
                    <a:pt x="978" y="1244"/>
                  </a:lnTo>
                  <a:lnTo>
                    <a:pt x="978" y="1244"/>
                  </a:lnTo>
                  <a:close/>
                  <a:moveTo>
                    <a:pt x="2161" y="1263"/>
                  </a:moveTo>
                  <a:lnTo>
                    <a:pt x="2161" y="1273"/>
                  </a:lnTo>
                  <a:lnTo>
                    <a:pt x="2154" y="1263"/>
                  </a:lnTo>
                  <a:lnTo>
                    <a:pt x="2161" y="1263"/>
                  </a:lnTo>
                  <a:lnTo>
                    <a:pt x="2161" y="1263"/>
                  </a:lnTo>
                  <a:lnTo>
                    <a:pt x="2161" y="1263"/>
                  </a:lnTo>
                  <a:close/>
                  <a:moveTo>
                    <a:pt x="2183" y="1263"/>
                  </a:moveTo>
                  <a:lnTo>
                    <a:pt x="2183" y="1273"/>
                  </a:lnTo>
                  <a:lnTo>
                    <a:pt x="2178" y="1273"/>
                  </a:lnTo>
                  <a:lnTo>
                    <a:pt x="2166" y="1263"/>
                  </a:lnTo>
                  <a:lnTo>
                    <a:pt x="2183" y="1263"/>
                  </a:lnTo>
                  <a:lnTo>
                    <a:pt x="2183" y="1263"/>
                  </a:lnTo>
                  <a:lnTo>
                    <a:pt x="2183" y="1263"/>
                  </a:lnTo>
                  <a:close/>
                  <a:moveTo>
                    <a:pt x="2216" y="1273"/>
                  </a:moveTo>
                  <a:lnTo>
                    <a:pt x="2220" y="1273"/>
                  </a:lnTo>
                  <a:lnTo>
                    <a:pt x="2209" y="1280"/>
                  </a:lnTo>
                  <a:lnTo>
                    <a:pt x="2216" y="1273"/>
                  </a:lnTo>
                  <a:lnTo>
                    <a:pt x="2216" y="1273"/>
                  </a:lnTo>
                  <a:lnTo>
                    <a:pt x="2216" y="1273"/>
                  </a:lnTo>
                  <a:close/>
                  <a:moveTo>
                    <a:pt x="470" y="1313"/>
                  </a:moveTo>
                  <a:lnTo>
                    <a:pt x="449" y="1313"/>
                  </a:lnTo>
                  <a:lnTo>
                    <a:pt x="416" y="1289"/>
                  </a:lnTo>
                  <a:lnTo>
                    <a:pt x="423" y="1280"/>
                  </a:lnTo>
                  <a:lnTo>
                    <a:pt x="432" y="1296"/>
                  </a:lnTo>
                  <a:lnTo>
                    <a:pt x="470" y="1313"/>
                  </a:lnTo>
                  <a:lnTo>
                    <a:pt x="470" y="1313"/>
                  </a:lnTo>
                  <a:lnTo>
                    <a:pt x="470" y="1313"/>
                  </a:lnTo>
                  <a:close/>
                  <a:moveTo>
                    <a:pt x="1897" y="1296"/>
                  </a:moveTo>
                  <a:lnTo>
                    <a:pt x="1890" y="1301"/>
                  </a:lnTo>
                  <a:lnTo>
                    <a:pt x="1897" y="1289"/>
                  </a:lnTo>
                  <a:lnTo>
                    <a:pt x="1897" y="1296"/>
                  </a:lnTo>
                  <a:lnTo>
                    <a:pt x="1897" y="1296"/>
                  </a:lnTo>
                  <a:lnTo>
                    <a:pt x="1897" y="1296"/>
                  </a:lnTo>
                  <a:close/>
                  <a:moveTo>
                    <a:pt x="2199" y="1296"/>
                  </a:moveTo>
                  <a:lnTo>
                    <a:pt x="2192" y="1301"/>
                  </a:lnTo>
                  <a:lnTo>
                    <a:pt x="2199" y="1301"/>
                  </a:lnTo>
                  <a:lnTo>
                    <a:pt x="2192" y="1329"/>
                  </a:lnTo>
                  <a:lnTo>
                    <a:pt x="2178" y="1318"/>
                  </a:lnTo>
                  <a:lnTo>
                    <a:pt x="2192" y="1296"/>
                  </a:lnTo>
                  <a:lnTo>
                    <a:pt x="2192" y="1289"/>
                  </a:lnTo>
                  <a:lnTo>
                    <a:pt x="2199" y="1296"/>
                  </a:lnTo>
                  <a:lnTo>
                    <a:pt x="2199" y="1296"/>
                  </a:lnTo>
                  <a:lnTo>
                    <a:pt x="2199" y="1296"/>
                  </a:lnTo>
                  <a:close/>
                  <a:moveTo>
                    <a:pt x="2305" y="1301"/>
                  </a:moveTo>
                  <a:lnTo>
                    <a:pt x="2268" y="1318"/>
                  </a:lnTo>
                  <a:lnTo>
                    <a:pt x="2268" y="1313"/>
                  </a:lnTo>
                  <a:lnTo>
                    <a:pt x="2275" y="1301"/>
                  </a:lnTo>
                  <a:lnTo>
                    <a:pt x="2263" y="1301"/>
                  </a:lnTo>
                  <a:lnTo>
                    <a:pt x="2268" y="1296"/>
                  </a:lnTo>
                  <a:lnTo>
                    <a:pt x="2305" y="1301"/>
                  </a:lnTo>
                  <a:lnTo>
                    <a:pt x="2305" y="1301"/>
                  </a:lnTo>
                  <a:lnTo>
                    <a:pt x="2305" y="1301"/>
                  </a:lnTo>
                  <a:close/>
                  <a:moveTo>
                    <a:pt x="902" y="1301"/>
                  </a:moveTo>
                  <a:lnTo>
                    <a:pt x="902" y="1313"/>
                  </a:lnTo>
                  <a:lnTo>
                    <a:pt x="935" y="1313"/>
                  </a:lnTo>
                  <a:lnTo>
                    <a:pt x="935" y="1334"/>
                  </a:lnTo>
                  <a:lnTo>
                    <a:pt x="940" y="1351"/>
                  </a:lnTo>
                  <a:lnTo>
                    <a:pt x="898" y="1355"/>
                  </a:lnTo>
                  <a:lnTo>
                    <a:pt x="902" y="1367"/>
                  </a:lnTo>
                  <a:lnTo>
                    <a:pt x="898" y="1372"/>
                  </a:lnTo>
                  <a:lnTo>
                    <a:pt x="831" y="1346"/>
                  </a:lnTo>
                  <a:lnTo>
                    <a:pt x="810" y="1329"/>
                  </a:lnTo>
                  <a:lnTo>
                    <a:pt x="848" y="1318"/>
                  </a:lnTo>
                  <a:lnTo>
                    <a:pt x="869" y="1301"/>
                  </a:lnTo>
                  <a:lnTo>
                    <a:pt x="902" y="1301"/>
                  </a:lnTo>
                  <a:lnTo>
                    <a:pt x="902" y="1301"/>
                  </a:lnTo>
                  <a:lnTo>
                    <a:pt x="902" y="1301"/>
                  </a:lnTo>
                  <a:close/>
                  <a:moveTo>
                    <a:pt x="2376" y="1301"/>
                  </a:moveTo>
                  <a:lnTo>
                    <a:pt x="2376" y="1313"/>
                  </a:lnTo>
                  <a:lnTo>
                    <a:pt x="2360" y="1313"/>
                  </a:lnTo>
                  <a:lnTo>
                    <a:pt x="2376" y="1301"/>
                  </a:lnTo>
                  <a:lnTo>
                    <a:pt x="2376" y="1301"/>
                  </a:lnTo>
                  <a:lnTo>
                    <a:pt x="2376" y="1301"/>
                  </a:lnTo>
                  <a:close/>
                  <a:moveTo>
                    <a:pt x="2178" y="1301"/>
                  </a:moveTo>
                  <a:lnTo>
                    <a:pt x="2166" y="1313"/>
                  </a:lnTo>
                  <a:lnTo>
                    <a:pt x="2161" y="1313"/>
                  </a:lnTo>
                  <a:lnTo>
                    <a:pt x="2178" y="1301"/>
                  </a:lnTo>
                  <a:lnTo>
                    <a:pt x="2178" y="1301"/>
                  </a:lnTo>
                  <a:lnTo>
                    <a:pt x="2178" y="1301"/>
                  </a:lnTo>
                  <a:close/>
                  <a:moveTo>
                    <a:pt x="2246" y="1313"/>
                  </a:moveTo>
                  <a:lnTo>
                    <a:pt x="2209" y="1355"/>
                  </a:lnTo>
                  <a:lnTo>
                    <a:pt x="2178" y="1367"/>
                  </a:lnTo>
                  <a:lnTo>
                    <a:pt x="2183" y="1351"/>
                  </a:lnTo>
                  <a:lnTo>
                    <a:pt x="2216" y="1334"/>
                  </a:lnTo>
                  <a:lnTo>
                    <a:pt x="2230" y="1301"/>
                  </a:lnTo>
                  <a:lnTo>
                    <a:pt x="2246" y="1313"/>
                  </a:lnTo>
                  <a:lnTo>
                    <a:pt x="2246" y="1313"/>
                  </a:lnTo>
                  <a:lnTo>
                    <a:pt x="2246" y="1313"/>
                  </a:lnTo>
                  <a:close/>
                  <a:moveTo>
                    <a:pt x="2166" y="1329"/>
                  </a:moveTo>
                  <a:lnTo>
                    <a:pt x="2161" y="1346"/>
                  </a:lnTo>
                  <a:lnTo>
                    <a:pt x="2154" y="1346"/>
                  </a:lnTo>
                  <a:lnTo>
                    <a:pt x="2166" y="1329"/>
                  </a:lnTo>
                  <a:lnTo>
                    <a:pt x="2166" y="1329"/>
                  </a:lnTo>
                  <a:lnTo>
                    <a:pt x="2166" y="1329"/>
                  </a:lnTo>
                  <a:close/>
                  <a:moveTo>
                    <a:pt x="2183" y="1334"/>
                  </a:moveTo>
                  <a:lnTo>
                    <a:pt x="2161" y="1346"/>
                  </a:lnTo>
                  <a:lnTo>
                    <a:pt x="2178" y="1329"/>
                  </a:lnTo>
                  <a:lnTo>
                    <a:pt x="2183" y="1334"/>
                  </a:lnTo>
                  <a:lnTo>
                    <a:pt x="2183" y="1334"/>
                  </a:lnTo>
                  <a:lnTo>
                    <a:pt x="2183" y="1334"/>
                  </a:lnTo>
                  <a:close/>
                  <a:moveTo>
                    <a:pt x="1788" y="1407"/>
                  </a:moveTo>
                  <a:lnTo>
                    <a:pt x="1800" y="1412"/>
                  </a:lnTo>
                  <a:lnTo>
                    <a:pt x="1783" y="1412"/>
                  </a:lnTo>
                  <a:lnTo>
                    <a:pt x="1788" y="1407"/>
                  </a:lnTo>
                  <a:lnTo>
                    <a:pt x="1788" y="1407"/>
                  </a:lnTo>
                  <a:lnTo>
                    <a:pt x="1788" y="1407"/>
                  </a:lnTo>
                  <a:close/>
                  <a:moveTo>
                    <a:pt x="1247" y="1483"/>
                  </a:moveTo>
                  <a:lnTo>
                    <a:pt x="1280" y="1474"/>
                  </a:lnTo>
                  <a:lnTo>
                    <a:pt x="1264" y="1495"/>
                  </a:lnTo>
                  <a:lnTo>
                    <a:pt x="1259" y="1500"/>
                  </a:lnTo>
                  <a:lnTo>
                    <a:pt x="1247" y="1483"/>
                  </a:lnTo>
                  <a:lnTo>
                    <a:pt x="1247" y="1483"/>
                  </a:lnTo>
                  <a:lnTo>
                    <a:pt x="1247" y="1483"/>
                  </a:lnTo>
                  <a:close/>
                  <a:moveTo>
                    <a:pt x="1868" y="1495"/>
                  </a:moveTo>
                  <a:lnTo>
                    <a:pt x="1859" y="1511"/>
                  </a:lnTo>
                  <a:lnTo>
                    <a:pt x="1842" y="1500"/>
                  </a:lnTo>
                  <a:lnTo>
                    <a:pt x="1868" y="1495"/>
                  </a:lnTo>
                  <a:lnTo>
                    <a:pt x="1868" y="1495"/>
                  </a:lnTo>
                  <a:lnTo>
                    <a:pt x="1868" y="1495"/>
                  </a:lnTo>
                  <a:close/>
                  <a:moveTo>
                    <a:pt x="1842" y="1552"/>
                  </a:moveTo>
                  <a:lnTo>
                    <a:pt x="1831" y="1556"/>
                  </a:lnTo>
                  <a:lnTo>
                    <a:pt x="1805" y="1540"/>
                  </a:lnTo>
                  <a:lnTo>
                    <a:pt x="1831" y="1540"/>
                  </a:lnTo>
                  <a:lnTo>
                    <a:pt x="1814" y="1533"/>
                  </a:lnTo>
                  <a:lnTo>
                    <a:pt x="1838" y="1528"/>
                  </a:lnTo>
                  <a:lnTo>
                    <a:pt x="1838" y="1516"/>
                  </a:lnTo>
                  <a:lnTo>
                    <a:pt x="1842" y="1511"/>
                  </a:lnTo>
                  <a:lnTo>
                    <a:pt x="1859" y="1516"/>
                  </a:lnTo>
                  <a:lnTo>
                    <a:pt x="1868" y="1511"/>
                  </a:lnTo>
                  <a:lnTo>
                    <a:pt x="1890" y="1528"/>
                  </a:lnTo>
                  <a:lnTo>
                    <a:pt x="1885" y="1540"/>
                  </a:lnTo>
                  <a:lnTo>
                    <a:pt x="1875" y="1528"/>
                  </a:lnTo>
                  <a:lnTo>
                    <a:pt x="1868" y="1533"/>
                  </a:lnTo>
                  <a:lnTo>
                    <a:pt x="1875" y="1540"/>
                  </a:lnTo>
                  <a:lnTo>
                    <a:pt x="1852" y="1540"/>
                  </a:lnTo>
                  <a:lnTo>
                    <a:pt x="1842" y="1552"/>
                  </a:lnTo>
                  <a:lnTo>
                    <a:pt x="1842" y="1552"/>
                  </a:lnTo>
                  <a:lnTo>
                    <a:pt x="1842" y="1552"/>
                  </a:lnTo>
                  <a:close/>
                  <a:moveTo>
                    <a:pt x="3116" y="1606"/>
                  </a:moveTo>
                  <a:lnTo>
                    <a:pt x="3085" y="1516"/>
                  </a:lnTo>
                  <a:lnTo>
                    <a:pt x="3111" y="1540"/>
                  </a:lnTo>
                  <a:lnTo>
                    <a:pt x="3137" y="1540"/>
                  </a:lnTo>
                  <a:lnTo>
                    <a:pt x="3165" y="1589"/>
                  </a:lnTo>
                  <a:lnTo>
                    <a:pt x="3132" y="1552"/>
                  </a:lnTo>
                  <a:lnTo>
                    <a:pt x="3132" y="1573"/>
                  </a:lnTo>
                  <a:lnTo>
                    <a:pt x="3165" y="1611"/>
                  </a:lnTo>
                  <a:lnTo>
                    <a:pt x="3149" y="1611"/>
                  </a:lnTo>
                  <a:lnTo>
                    <a:pt x="3165" y="1622"/>
                  </a:lnTo>
                  <a:lnTo>
                    <a:pt x="3153" y="1627"/>
                  </a:lnTo>
                  <a:lnTo>
                    <a:pt x="3137" y="1622"/>
                  </a:lnTo>
                  <a:lnTo>
                    <a:pt x="3149" y="1639"/>
                  </a:lnTo>
                  <a:lnTo>
                    <a:pt x="3116" y="1660"/>
                  </a:lnTo>
                  <a:lnTo>
                    <a:pt x="3111" y="1639"/>
                  </a:lnTo>
                  <a:lnTo>
                    <a:pt x="3116" y="1622"/>
                  </a:lnTo>
                  <a:lnTo>
                    <a:pt x="3132" y="1627"/>
                  </a:lnTo>
                  <a:lnTo>
                    <a:pt x="3116" y="1611"/>
                  </a:lnTo>
                  <a:lnTo>
                    <a:pt x="3132" y="1606"/>
                  </a:lnTo>
                  <a:lnTo>
                    <a:pt x="3116" y="1606"/>
                  </a:lnTo>
                  <a:lnTo>
                    <a:pt x="3116" y="1606"/>
                  </a:lnTo>
                  <a:lnTo>
                    <a:pt x="3116" y="1606"/>
                  </a:lnTo>
                  <a:close/>
                  <a:moveTo>
                    <a:pt x="3040" y="1516"/>
                  </a:moveTo>
                  <a:lnTo>
                    <a:pt x="3047" y="1516"/>
                  </a:lnTo>
                  <a:lnTo>
                    <a:pt x="3031" y="1516"/>
                  </a:lnTo>
                  <a:lnTo>
                    <a:pt x="3040" y="1516"/>
                  </a:lnTo>
                  <a:lnTo>
                    <a:pt x="3040" y="1516"/>
                  </a:lnTo>
                  <a:lnTo>
                    <a:pt x="3040" y="1516"/>
                  </a:lnTo>
                  <a:close/>
                  <a:moveTo>
                    <a:pt x="3116" y="1516"/>
                  </a:moveTo>
                  <a:lnTo>
                    <a:pt x="3132" y="1533"/>
                  </a:lnTo>
                  <a:lnTo>
                    <a:pt x="3111" y="1528"/>
                  </a:lnTo>
                  <a:lnTo>
                    <a:pt x="3116" y="1516"/>
                  </a:lnTo>
                  <a:lnTo>
                    <a:pt x="3116" y="1516"/>
                  </a:lnTo>
                  <a:lnTo>
                    <a:pt x="3116" y="1516"/>
                  </a:lnTo>
                  <a:close/>
                  <a:moveTo>
                    <a:pt x="3078" y="1585"/>
                  </a:moveTo>
                  <a:lnTo>
                    <a:pt x="3023" y="1556"/>
                  </a:lnTo>
                  <a:lnTo>
                    <a:pt x="3061" y="1589"/>
                  </a:lnTo>
                  <a:lnTo>
                    <a:pt x="3085" y="1585"/>
                  </a:lnTo>
                  <a:lnTo>
                    <a:pt x="3094" y="1594"/>
                  </a:lnTo>
                  <a:lnTo>
                    <a:pt x="3094" y="1611"/>
                  </a:lnTo>
                  <a:lnTo>
                    <a:pt x="3078" y="1611"/>
                  </a:lnTo>
                  <a:lnTo>
                    <a:pt x="3023" y="1585"/>
                  </a:lnTo>
                  <a:lnTo>
                    <a:pt x="3047" y="1594"/>
                  </a:lnTo>
                  <a:lnTo>
                    <a:pt x="3047" y="1611"/>
                  </a:lnTo>
                  <a:lnTo>
                    <a:pt x="3031" y="1622"/>
                  </a:lnTo>
                  <a:lnTo>
                    <a:pt x="3023" y="1622"/>
                  </a:lnTo>
                  <a:lnTo>
                    <a:pt x="3019" y="1606"/>
                  </a:lnTo>
                  <a:lnTo>
                    <a:pt x="3031" y="1611"/>
                  </a:lnTo>
                  <a:lnTo>
                    <a:pt x="3009" y="1594"/>
                  </a:lnTo>
                  <a:lnTo>
                    <a:pt x="3019" y="1594"/>
                  </a:lnTo>
                  <a:lnTo>
                    <a:pt x="2986" y="1573"/>
                  </a:lnTo>
                  <a:lnTo>
                    <a:pt x="2993" y="1556"/>
                  </a:lnTo>
                  <a:lnTo>
                    <a:pt x="3009" y="1573"/>
                  </a:lnTo>
                  <a:lnTo>
                    <a:pt x="2986" y="1540"/>
                  </a:lnTo>
                  <a:lnTo>
                    <a:pt x="2986" y="1533"/>
                  </a:lnTo>
                  <a:lnTo>
                    <a:pt x="3002" y="1552"/>
                  </a:lnTo>
                  <a:lnTo>
                    <a:pt x="3002" y="1533"/>
                  </a:lnTo>
                  <a:lnTo>
                    <a:pt x="3031" y="1528"/>
                  </a:lnTo>
                  <a:lnTo>
                    <a:pt x="3047" y="1540"/>
                  </a:lnTo>
                  <a:lnTo>
                    <a:pt x="3040" y="1552"/>
                  </a:lnTo>
                  <a:lnTo>
                    <a:pt x="3031" y="1552"/>
                  </a:lnTo>
                  <a:lnTo>
                    <a:pt x="3031" y="1556"/>
                  </a:lnTo>
                  <a:lnTo>
                    <a:pt x="3040" y="1556"/>
                  </a:lnTo>
                  <a:lnTo>
                    <a:pt x="3057" y="1540"/>
                  </a:lnTo>
                  <a:lnTo>
                    <a:pt x="3085" y="1556"/>
                  </a:lnTo>
                  <a:lnTo>
                    <a:pt x="3085" y="1573"/>
                  </a:lnTo>
                  <a:lnTo>
                    <a:pt x="3073" y="1568"/>
                  </a:lnTo>
                  <a:lnTo>
                    <a:pt x="3085" y="1573"/>
                  </a:lnTo>
                  <a:lnTo>
                    <a:pt x="3078" y="1585"/>
                  </a:lnTo>
                  <a:lnTo>
                    <a:pt x="3078" y="1585"/>
                  </a:lnTo>
                  <a:lnTo>
                    <a:pt x="3078" y="1585"/>
                  </a:lnTo>
                  <a:close/>
                  <a:moveTo>
                    <a:pt x="1805" y="1540"/>
                  </a:moveTo>
                  <a:lnTo>
                    <a:pt x="1831" y="1556"/>
                  </a:lnTo>
                  <a:lnTo>
                    <a:pt x="1788" y="1552"/>
                  </a:lnTo>
                  <a:lnTo>
                    <a:pt x="1805" y="1540"/>
                  </a:lnTo>
                  <a:lnTo>
                    <a:pt x="1805" y="1540"/>
                  </a:lnTo>
                  <a:lnTo>
                    <a:pt x="1805" y="1540"/>
                  </a:lnTo>
                  <a:close/>
                  <a:moveTo>
                    <a:pt x="2976" y="1552"/>
                  </a:moveTo>
                  <a:lnTo>
                    <a:pt x="2993" y="1556"/>
                  </a:lnTo>
                  <a:lnTo>
                    <a:pt x="2986" y="1573"/>
                  </a:lnTo>
                  <a:lnTo>
                    <a:pt x="2976" y="1556"/>
                  </a:lnTo>
                  <a:lnTo>
                    <a:pt x="2976" y="1552"/>
                  </a:lnTo>
                  <a:lnTo>
                    <a:pt x="2976" y="1552"/>
                  </a:lnTo>
                  <a:lnTo>
                    <a:pt x="2976" y="1552"/>
                  </a:lnTo>
                  <a:close/>
                  <a:moveTo>
                    <a:pt x="1783" y="1594"/>
                  </a:moveTo>
                  <a:lnTo>
                    <a:pt x="1762" y="1589"/>
                  </a:lnTo>
                  <a:lnTo>
                    <a:pt x="1762" y="1573"/>
                  </a:lnTo>
                  <a:lnTo>
                    <a:pt x="1767" y="1568"/>
                  </a:lnTo>
                  <a:lnTo>
                    <a:pt x="1783" y="1573"/>
                  </a:lnTo>
                  <a:lnTo>
                    <a:pt x="1788" y="1594"/>
                  </a:lnTo>
                  <a:lnTo>
                    <a:pt x="1800" y="1589"/>
                  </a:lnTo>
                  <a:lnTo>
                    <a:pt x="1788" y="1573"/>
                  </a:lnTo>
                  <a:lnTo>
                    <a:pt x="1821" y="1573"/>
                  </a:lnTo>
                  <a:lnTo>
                    <a:pt x="1805" y="1556"/>
                  </a:lnTo>
                  <a:lnTo>
                    <a:pt x="1838" y="1568"/>
                  </a:lnTo>
                  <a:lnTo>
                    <a:pt x="1831" y="1573"/>
                  </a:lnTo>
                  <a:lnTo>
                    <a:pt x="1831" y="1589"/>
                  </a:lnTo>
                  <a:lnTo>
                    <a:pt x="1838" y="1573"/>
                  </a:lnTo>
                  <a:lnTo>
                    <a:pt x="1859" y="1568"/>
                  </a:lnTo>
                  <a:lnTo>
                    <a:pt x="1868" y="1573"/>
                  </a:lnTo>
                  <a:lnTo>
                    <a:pt x="1852" y="1589"/>
                  </a:lnTo>
                  <a:lnTo>
                    <a:pt x="1859" y="1594"/>
                  </a:lnTo>
                  <a:lnTo>
                    <a:pt x="1885" y="1594"/>
                  </a:lnTo>
                  <a:lnTo>
                    <a:pt x="1868" y="1622"/>
                  </a:lnTo>
                  <a:lnTo>
                    <a:pt x="1838" y="1606"/>
                  </a:lnTo>
                  <a:lnTo>
                    <a:pt x="1821" y="1611"/>
                  </a:lnTo>
                  <a:lnTo>
                    <a:pt x="1852" y="1622"/>
                  </a:lnTo>
                  <a:lnTo>
                    <a:pt x="1842" y="1627"/>
                  </a:lnTo>
                  <a:lnTo>
                    <a:pt x="1814" y="1627"/>
                  </a:lnTo>
                  <a:lnTo>
                    <a:pt x="1821" y="1639"/>
                  </a:lnTo>
                  <a:lnTo>
                    <a:pt x="1767" y="1651"/>
                  </a:lnTo>
                  <a:lnTo>
                    <a:pt x="1783" y="1660"/>
                  </a:lnTo>
                  <a:lnTo>
                    <a:pt x="1750" y="1684"/>
                  </a:lnTo>
                  <a:lnTo>
                    <a:pt x="1746" y="1684"/>
                  </a:lnTo>
                  <a:lnTo>
                    <a:pt x="1767" y="1660"/>
                  </a:lnTo>
                  <a:lnTo>
                    <a:pt x="1750" y="1667"/>
                  </a:lnTo>
                  <a:lnTo>
                    <a:pt x="1767" y="1644"/>
                  </a:lnTo>
                  <a:lnTo>
                    <a:pt x="1746" y="1667"/>
                  </a:lnTo>
                  <a:lnTo>
                    <a:pt x="1750" y="1651"/>
                  </a:lnTo>
                  <a:lnTo>
                    <a:pt x="1724" y="1644"/>
                  </a:lnTo>
                  <a:lnTo>
                    <a:pt x="1724" y="1651"/>
                  </a:lnTo>
                  <a:lnTo>
                    <a:pt x="1746" y="1651"/>
                  </a:lnTo>
                  <a:lnTo>
                    <a:pt x="1729" y="1677"/>
                  </a:lnTo>
                  <a:lnTo>
                    <a:pt x="1712" y="1660"/>
                  </a:lnTo>
                  <a:lnTo>
                    <a:pt x="1708" y="1639"/>
                  </a:lnTo>
                  <a:lnTo>
                    <a:pt x="1696" y="1627"/>
                  </a:lnTo>
                  <a:lnTo>
                    <a:pt x="1708" y="1606"/>
                  </a:lnTo>
                  <a:lnTo>
                    <a:pt x="1734" y="1589"/>
                  </a:lnTo>
                  <a:lnTo>
                    <a:pt x="1750" y="1594"/>
                  </a:lnTo>
                  <a:lnTo>
                    <a:pt x="1762" y="1622"/>
                  </a:lnTo>
                  <a:lnTo>
                    <a:pt x="1776" y="1639"/>
                  </a:lnTo>
                  <a:lnTo>
                    <a:pt x="1767" y="1622"/>
                  </a:lnTo>
                  <a:lnTo>
                    <a:pt x="1762" y="1594"/>
                  </a:lnTo>
                  <a:lnTo>
                    <a:pt x="1783" y="1594"/>
                  </a:lnTo>
                  <a:lnTo>
                    <a:pt x="1783" y="1594"/>
                  </a:lnTo>
                  <a:lnTo>
                    <a:pt x="1783" y="1594"/>
                  </a:lnTo>
                  <a:close/>
                  <a:moveTo>
                    <a:pt x="1868" y="1568"/>
                  </a:moveTo>
                  <a:lnTo>
                    <a:pt x="1859" y="1568"/>
                  </a:lnTo>
                  <a:lnTo>
                    <a:pt x="1868" y="1568"/>
                  </a:lnTo>
                  <a:lnTo>
                    <a:pt x="1868" y="1568"/>
                  </a:lnTo>
                  <a:lnTo>
                    <a:pt x="1868" y="1568"/>
                  </a:lnTo>
                  <a:close/>
                  <a:moveTo>
                    <a:pt x="1788" y="1556"/>
                  </a:moveTo>
                  <a:lnTo>
                    <a:pt x="1805" y="1573"/>
                  </a:lnTo>
                  <a:lnTo>
                    <a:pt x="1783" y="1568"/>
                  </a:lnTo>
                  <a:lnTo>
                    <a:pt x="1788" y="1556"/>
                  </a:lnTo>
                  <a:lnTo>
                    <a:pt x="1788" y="1556"/>
                  </a:lnTo>
                  <a:lnTo>
                    <a:pt x="1788" y="1556"/>
                  </a:lnTo>
                  <a:close/>
                  <a:moveTo>
                    <a:pt x="3111" y="1705"/>
                  </a:moveTo>
                  <a:lnTo>
                    <a:pt x="3111" y="1750"/>
                  </a:lnTo>
                  <a:lnTo>
                    <a:pt x="3078" y="1705"/>
                  </a:lnTo>
                  <a:lnTo>
                    <a:pt x="3094" y="1693"/>
                  </a:lnTo>
                  <a:lnTo>
                    <a:pt x="3078" y="1700"/>
                  </a:lnTo>
                  <a:lnTo>
                    <a:pt x="3073" y="1693"/>
                  </a:lnTo>
                  <a:lnTo>
                    <a:pt x="3078" y="1677"/>
                  </a:lnTo>
                  <a:lnTo>
                    <a:pt x="3057" y="1677"/>
                  </a:lnTo>
                  <a:lnTo>
                    <a:pt x="3057" y="1644"/>
                  </a:lnTo>
                  <a:lnTo>
                    <a:pt x="3061" y="1639"/>
                  </a:lnTo>
                  <a:lnTo>
                    <a:pt x="3047" y="1639"/>
                  </a:lnTo>
                  <a:lnTo>
                    <a:pt x="3040" y="1622"/>
                  </a:lnTo>
                  <a:lnTo>
                    <a:pt x="3047" y="1622"/>
                  </a:lnTo>
                  <a:lnTo>
                    <a:pt x="3047" y="1606"/>
                  </a:lnTo>
                  <a:lnTo>
                    <a:pt x="3057" y="1606"/>
                  </a:lnTo>
                  <a:lnTo>
                    <a:pt x="3085" y="1622"/>
                  </a:lnTo>
                  <a:lnTo>
                    <a:pt x="3099" y="1644"/>
                  </a:lnTo>
                  <a:lnTo>
                    <a:pt x="3111" y="1705"/>
                  </a:lnTo>
                  <a:lnTo>
                    <a:pt x="3111" y="1705"/>
                  </a:lnTo>
                  <a:lnTo>
                    <a:pt x="3111" y="1705"/>
                  </a:lnTo>
                  <a:close/>
                  <a:moveTo>
                    <a:pt x="3094" y="1622"/>
                  </a:moveTo>
                  <a:lnTo>
                    <a:pt x="3099" y="1627"/>
                  </a:lnTo>
                  <a:lnTo>
                    <a:pt x="3085" y="1622"/>
                  </a:lnTo>
                  <a:lnTo>
                    <a:pt x="3094" y="1622"/>
                  </a:lnTo>
                  <a:lnTo>
                    <a:pt x="3094" y="1622"/>
                  </a:lnTo>
                  <a:lnTo>
                    <a:pt x="3094" y="1622"/>
                  </a:lnTo>
                  <a:close/>
                  <a:moveTo>
                    <a:pt x="3031" y="1627"/>
                  </a:moveTo>
                  <a:lnTo>
                    <a:pt x="3047" y="1639"/>
                  </a:lnTo>
                  <a:lnTo>
                    <a:pt x="3047" y="1644"/>
                  </a:lnTo>
                  <a:lnTo>
                    <a:pt x="3040" y="1660"/>
                  </a:lnTo>
                  <a:lnTo>
                    <a:pt x="3023" y="1660"/>
                  </a:lnTo>
                  <a:lnTo>
                    <a:pt x="3031" y="1644"/>
                  </a:lnTo>
                  <a:lnTo>
                    <a:pt x="3023" y="1644"/>
                  </a:lnTo>
                  <a:lnTo>
                    <a:pt x="3023" y="1627"/>
                  </a:lnTo>
                  <a:lnTo>
                    <a:pt x="3031" y="1627"/>
                  </a:lnTo>
                  <a:lnTo>
                    <a:pt x="3031" y="1627"/>
                  </a:lnTo>
                  <a:lnTo>
                    <a:pt x="3031" y="1627"/>
                  </a:lnTo>
                  <a:close/>
                  <a:moveTo>
                    <a:pt x="612" y="1651"/>
                  </a:moveTo>
                  <a:lnTo>
                    <a:pt x="600" y="1644"/>
                  </a:lnTo>
                  <a:lnTo>
                    <a:pt x="616" y="1639"/>
                  </a:lnTo>
                  <a:lnTo>
                    <a:pt x="612" y="1651"/>
                  </a:lnTo>
                  <a:lnTo>
                    <a:pt x="612" y="1651"/>
                  </a:lnTo>
                  <a:lnTo>
                    <a:pt x="612" y="1651"/>
                  </a:lnTo>
                  <a:close/>
                  <a:moveTo>
                    <a:pt x="1831" y="1644"/>
                  </a:moveTo>
                  <a:lnTo>
                    <a:pt x="1800" y="1660"/>
                  </a:lnTo>
                  <a:lnTo>
                    <a:pt x="1788" y="1651"/>
                  </a:lnTo>
                  <a:lnTo>
                    <a:pt x="1805" y="1639"/>
                  </a:lnTo>
                  <a:lnTo>
                    <a:pt x="1831" y="1644"/>
                  </a:lnTo>
                  <a:lnTo>
                    <a:pt x="1831" y="1644"/>
                  </a:lnTo>
                  <a:lnTo>
                    <a:pt x="1831" y="1644"/>
                  </a:lnTo>
                  <a:close/>
                  <a:moveTo>
                    <a:pt x="3220" y="1660"/>
                  </a:moveTo>
                  <a:lnTo>
                    <a:pt x="3236" y="1677"/>
                  </a:lnTo>
                  <a:lnTo>
                    <a:pt x="3224" y="1700"/>
                  </a:lnTo>
                  <a:lnTo>
                    <a:pt x="3203" y="1677"/>
                  </a:lnTo>
                  <a:lnTo>
                    <a:pt x="3220" y="1705"/>
                  </a:lnTo>
                  <a:lnTo>
                    <a:pt x="3186" y="1717"/>
                  </a:lnTo>
                  <a:lnTo>
                    <a:pt x="3182" y="1717"/>
                  </a:lnTo>
                  <a:lnTo>
                    <a:pt x="3182" y="1677"/>
                  </a:lnTo>
                  <a:lnTo>
                    <a:pt x="3165" y="1667"/>
                  </a:lnTo>
                  <a:lnTo>
                    <a:pt x="3170" y="1667"/>
                  </a:lnTo>
                  <a:lnTo>
                    <a:pt x="3153" y="1660"/>
                  </a:lnTo>
                  <a:lnTo>
                    <a:pt x="3165" y="1651"/>
                  </a:lnTo>
                  <a:lnTo>
                    <a:pt x="3220" y="1660"/>
                  </a:lnTo>
                  <a:lnTo>
                    <a:pt x="3220" y="1660"/>
                  </a:lnTo>
                  <a:lnTo>
                    <a:pt x="3220" y="1660"/>
                  </a:lnTo>
                  <a:close/>
                  <a:moveTo>
                    <a:pt x="3137" y="1733"/>
                  </a:moveTo>
                  <a:lnTo>
                    <a:pt x="3132" y="1722"/>
                  </a:lnTo>
                  <a:lnTo>
                    <a:pt x="3137" y="1722"/>
                  </a:lnTo>
                  <a:lnTo>
                    <a:pt x="3149" y="1722"/>
                  </a:lnTo>
                  <a:lnTo>
                    <a:pt x="3149" y="1705"/>
                  </a:lnTo>
                  <a:lnTo>
                    <a:pt x="3132" y="1705"/>
                  </a:lnTo>
                  <a:lnTo>
                    <a:pt x="3127" y="1677"/>
                  </a:lnTo>
                  <a:lnTo>
                    <a:pt x="3149" y="1677"/>
                  </a:lnTo>
                  <a:lnTo>
                    <a:pt x="3132" y="1667"/>
                  </a:lnTo>
                  <a:lnTo>
                    <a:pt x="3153" y="1677"/>
                  </a:lnTo>
                  <a:lnTo>
                    <a:pt x="3165" y="1684"/>
                  </a:lnTo>
                  <a:lnTo>
                    <a:pt x="3153" y="1700"/>
                  </a:lnTo>
                  <a:lnTo>
                    <a:pt x="3165" y="1684"/>
                  </a:lnTo>
                  <a:lnTo>
                    <a:pt x="3170" y="1684"/>
                  </a:lnTo>
                  <a:lnTo>
                    <a:pt x="3182" y="1700"/>
                  </a:lnTo>
                  <a:lnTo>
                    <a:pt x="3165" y="1700"/>
                  </a:lnTo>
                  <a:lnTo>
                    <a:pt x="3165" y="1733"/>
                  </a:lnTo>
                  <a:lnTo>
                    <a:pt x="3153" y="1722"/>
                  </a:lnTo>
                  <a:lnTo>
                    <a:pt x="3153" y="1738"/>
                  </a:lnTo>
                  <a:lnTo>
                    <a:pt x="3165" y="1738"/>
                  </a:lnTo>
                  <a:lnTo>
                    <a:pt x="3153" y="1755"/>
                  </a:lnTo>
                  <a:lnTo>
                    <a:pt x="3149" y="1755"/>
                  </a:lnTo>
                  <a:lnTo>
                    <a:pt x="3149" y="1733"/>
                  </a:lnTo>
                  <a:lnTo>
                    <a:pt x="3149" y="1762"/>
                  </a:lnTo>
                  <a:lnTo>
                    <a:pt x="3137" y="1762"/>
                  </a:lnTo>
                  <a:lnTo>
                    <a:pt x="3137" y="1733"/>
                  </a:lnTo>
                  <a:lnTo>
                    <a:pt x="3137" y="1733"/>
                  </a:lnTo>
                  <a:lnTo>
                    <a:pt x="3137" y="1733"/>
                  </a:lnTo>
                  <a:close/>
                  <a:moveTo>
                    <a:pt x="3241" y="1684"/>
                  </a:moveTo>
                  <a:lnTo>
                    <a:pt x="3257" y="1705"/>
                  </a:lnTo>
                  <a:lnTo>
                    <a:pt x="3224" y="1705"/>
                  </a:lnTo>
                  <a:lnTo>
                    <a:pt x="3236" y="1684"/>
                  </a:lnTo>
                  <a:lnTo>
                    <a:pt x="3241" y="1684"/>
                  </a:lnTo>
                  <a:lnTo>
                    <a:pt x="3241" y="1684"/>
                  </a:lnTo>
                  <a:lnTo>
                    <a:pt x="3241" y="1684"/>
                  </a:lnTo>
                  <a:close/>
                  <a:moveTo>
                    <a:pt x="654" y="1705"/>
                  </a:moveTo>
                  <a:lnTo>
                    <a:pt x="638" y="1700"/>
                  </a:lnTo>
                  <a:lnTo>
                    <a:pt x="664" y="1700"/>
                  </a:lnTo>
                  <a:lnTo>
                    <a:pt x="654" y="1705"/>
                  </a:lnTo>
                  <a:lnTo>
                    <a:pt x="654" y="1705"/>
                  </a:lnTo>
                  <a:lnTo>
                    <a:pt x="654" y="1705"/>
                  </a:lnTo>
                  <a:close/>
                  <a:moveTo>
                    <a:pt x="1746" y="1700"/>
                  </a:moveTo>
                  <a:lnTo>
                    <a:pt x="1734" y="1717"/>
                  </a:lnTo>
                  <a:lnTo>
                    <a:pt x="1729" y="1705"/>
                  </a:lnTo>
                  <a:lnTo>
                    <a:pt x="1746" y="1700"/>
                  </a:lnTo>
                  <a:lnTo>
                    <a:pt x="1746" y="1700"/>
                  </a:lnTo>
                  <a:lnTo>
                    <a:pt x="1746" y="1700"/>
                  </a:lnTo>
                  <a:close/>
                  <a:moveTo>
                    <a:pt x="1724" y="1700"/>
                  </a:moveTo>
                  <a:lnTo>
                    <a:pt x="1696" y="1722"/>
                  </a:lnTo>
                  <a:lnTo>
                    <a:pt x="1696" y="1705"/>
                  </a:lnTo>
                  <a:lnTo>
                    <a:pt x="1724" y="1700"/>
                  </a:lnTo>
                  <a:lnTo>
                    <a:pt x="1724" y="1700"/>
                  </a:lnTo>
                  <a:lnTo>
                    <a:pt x="1724" y="1700"/>
                  </a:lnTo>
                  <a:close/>
                  <a:moveTo>
                    <a:pt x="1528" y="1700"/>
                  </a:moveTo>
                  <a:lnTo>
                    <a:pt x="1545" y="1705"/>
                  </a:lnTo>
                  <a:lnTo>
                    <a:pt x="1519" y="1705"/>
                  </a:lnTo>
                  <a:lnTo>
                    <a:pt x="1528" y="1700"/>
                  </a:lnTo>
                  <a:lnTo>
                    <a:pt x="1528" y="1700"/>
                  </a:lnTo>
                  <a:lnTo>
                    <a:pt x="1528" y="1700"/>
                  </a:lnTo>
                  <a:close/>
                  <a:moveTo>
                    <a:pt x="3288" y="1755"/>
                  </a:moveTo>
                  <a:lnTo>
                    <a:pt x="3274" y="1733"/>
                  </a:lnTo>
                  <a:lnTo>
                    <a:pt x="3274" y="1717"/>
                  </a:lnTo>
                  <a:lnTo>
                    <a:pt x="3295" y="1733"/>
                  </a:lnTo>
                  <a:lnTo>
                    <a:pt x="3295" y="1738"/>
                  </a:lnTo>
                  <a:lnTo>
                    <a:pt x="3288" y="1755"/>
                  </a:lnTo>
                  <a:lnTo>
                    <a:pt x="3288" y="1755"/>
                  </a:lnTo>
                  <a:lnTo>
                    <a:pt x="3288" y="1755"/>
                  </a:lnTo>
                  <a:close/>
                  <a:moveTo>
                    <a:pt x="3236" y="1738"/>
                  </a:moveTo>
                  <a:lnTo>
                    <a:pt x="3220" y="1733"/>
                  </a:lnTo>
                  <a:lnTo>
                    <a:pt x="3236" y="1717"/>
                  </a:lnTo>
                  <a:lnTo>
                    <a:pt x="3246" y="1717"/>
                  </a:lnTo>
                  <a:lnTo>
                    <a:pt x="3246" y="1733"/>
                  </a:lnTo>
                  <a:lnTo>
                    <a:pt x="3236" y="1738"/>
                  </a:lnTo>
                  <a:lnTo>
                    <a:pt x="3236" y="1738"/>
                  </a:lnTo>
                  <a:lnTo>
                    <a:pt x="3236" y="1738"/>
                  </a:lnTo>
                  <a:close/>
                  <a:moveTo>
                    <a:pt x="3262" y="1717"/>
                  </a:moveTo>
                  <a:lnTo>
                    <a:pt x="3262" y="1722"/>
                  </a:lnTo>
                  <a:lnTo>
                    <a:pt x="3257" y="1722"/>
                  </a:lnTo>
                  <a:lnTo>
                    <a:pt x="3262" y="1717"/>
                  </a:lnTo>
                  <a:lnTo>
                    <a:pt x="3262" y="1717"/>
                  </a:lnTo>
                  <a:lnTo>
                    <a:pt x="3262" y="1717"/>
                  </a:lnTo>
                  <a:close/>
                  <a:moveTo>
                    <a:pt x="3274" y="1771"/>
                  </a:moveTo>
                  <a:lnTo>
                    <a:pt x="3262" y="1755"/>
                  </a:lnTo>
                  <a:lnTo>
                    <a:pt x="3246" y="1755"/>
                  </a:lnTo>
                  <a:lnTo>
                    <a:pt x="3246" y="1738"/>
                  </a:lnTo>
                  <a:lnTo>
                    <a:pt x="3262" y="1722"/>
                  </a:lnTo>
                  <a:lnTo>
                    <a:pt x="3262" y="1738"/>
                  </a:lnTo>
                  <a:lnTo>
                    <a:pt x="3288" y="1755"/>
                  </a:lnTo>
                  <a:lnTo>
                    <a:pt x="3288" y="1771"/>
                  </a:lnTo>
                  <a:lnTo>
                    <a:pt x="3274" y="1771"/>
                  </a:lnTo>
                  <a:lnTo>
                    <a:pt x="3274" y="1771"/>
                  </a:lnTo>
                  <a:lnTo>
                    <a:pt x="3274" y="1771"/>
                  </a:lnTo>
                  <a:close/>
                  <a:moveTo>
                    <a:pt x="3288" y="1816"/>
                  </a:moveTo>
                  <a:lnTo>
                    <a:pt x="3257" y="1804"/>
                  </a:lnTo>
                  <a:lnTo>
                    <a:pt x="3257" y="1811"/>
                  </a:lnTo>
                  <a:lnTo>
                    <a:pt x="3279" y="1816"/>
                  </a:lnTo>
                  <a:lnTo>
                    <a:pt x="3288" y="1833"/>
                  </a:lnTo>
                  <a:lnTo>
                    <a:pt x="3279" y="1844"/>
                  </a:lnTo>
                  <a:lnTo>
                    <a:pt x="3295" y="1833"/>
                  </a:lnTo>
                  <a:lnTo>
                    <a:pt x="3295" y="1849"/>
                  </a:lnTo>
                  <a:lnTo>
                    <a:pt x="3279" y="1866"/>
                  </a:lnTo>
                  <a:lnTo>
                    <a:pt x="3295" y="1861"/>
                  </a:lnTo>
                  <a:lnTo>
                    <a:pt x="3295" y="1899"/>
                  </a:lnTo>
                  <a:lnTo>
                    <a:pt x="3274" y="1889"/>
                  </a:lnTo>
                  <a:lnTo>
                    <a:pt x="3279" y="1882"/>
                  </a:lnTo>
                  <a:lnTo>
                    <a:pt x="3262" y="1866"/>
                  </a:lnTo>
                  <a:lnTo>
                    <a:pt x="3257" y="1866"/>
                  </a:lnTo>
                  <a:lnTo>
                    <a:pt x="3257" y="1849"/>
                  </a:lnTo>
                  <a:lnTo>
                    <a:pt x="3246" y="1833"/>
                  </a:lnTo>
                  <a:lnTo>
                    <a:pt x="3246" y="1849"/>
                  </a:lnTo>
                  <a:lnTo>
                    <a:pt x="3241" y="1844"/>
                  </a:lnTo>
                  <a:lnTo>
                    <a:pt x="3224" y="1844"/>
                  </a:lnTo>
                  <a:lnTo>
                    <a:pt x="3236" y="1833"/>
                  </a:lnTo>
                  <a:lnTo>
                    <a:pt x="3208" y="1833"/>
                  </a:lnTo>
                  <a:lnTo>
                    <a:pt x="3208" y="1828"/>
                  </a:lnTo>
                  <a:lnTo>
                    <a:pt x="3236" y="1828"/>
                  </a:lnTo>
                  <a:lnTo>
                    <a:pt x="3220" y="1811"/>
                  </a:lnTo>
                  <a:lnTo>
                    <a:pt x="3236" y="1804"/>
                  </a:lnTo>
                  <a:lnTo>
                    <a:pt x="3203" y="1804"/>
                  </a:lnTo>
                  <a:lnTo>
                    <a:pt x="3203" y="1788"/>
                  </a:lnTo>
                  <a:lnTo>
                    <a:pt x="3208" y="1788"/>
                  </a:lnTo>
                  <a:lnTo>
                    <a:pt x="3220" y="1771"/>
                  </a:lnTo>
                  <a:lnTo>
                    <a:pt x="3208" y="1771"/>
                  </a:lnTo>
                  <a:lnTo>
                    <a:pt x="3208" y="1750"/>
                  </a:lnTo>
                  <a:lnTo>
                    <a:pt x="3182" y="1738"/>
                  </a:lnTo>
                  <a:lnTo>
                    <a:pt x="3182" y="1733"/>
                  </a:lnTo>
                  <a:lnTo>
                    <a:pt x="3208" y="1733"/>
                  </a:lnTo>
                  <a:lnTo>
                    <a:pt x="3224" y="1750"/>
                  </a:lnTo>
                  <a:lnTo>
                    <a:pt x="3220" y="1750"/>
                  </a:lnTo>
                  <a:lnTo>
                    <a:pt x="3220" y="1755"/>
                  </a:lnTo>
                  <a:lnTo>
                    <a:pt x="3246" y="1771"/>
                  </a:lnTo>
                  <a:lnTo>
                    <a:pt x="3288" y="1816"/>
                  </a:lnTo>
                  <a:lnTo>
                    <a:pt x="3288" y="1816"/>
                  </a:lnTo>
                  <a:lnTo>
                    <a:pt x="3288" y="1816"/>
                  </a:lnTo>
                  <a:close/>
                  <a:moveTo>
                    <a:pt x="3203" y="1750"/>
                  </a:moveTo>
                  <a:lnTo>
                    <a:pt x="3203" y="1762"/>
                  </a:lnTo>
                  <a:lnTo>
                    <a:pt x="3170" y="1771"/>
                  </a:lnTo>
                  <a:lnTo>
                    <a:pt x="3186" y="1750"/>
                  </a:lnTo>
                  <a:lnTo>
                    <a:pt x="3203" y="1750"/>
                  </a:lnTo>
                  <a:lnTo>
                    <a:pt x="3203" y="1750"/>
                  </a:lnTo>
                  <a:lnTo>
                    <a:pt x="3203" y="1750"/>
                  </a:lnTo>
                  <a:close/>
                  <a:moveTo>
                    <a:pt x="3342" y="1833"/>
                  </a:moveTo>
                  <a:lnTo>
                    <a:pt x="3333" y="1833"/>
                  </a:lnTo>
                  <a:lnTo>
                    <a:pt x="3349" y="1816"/>
                  </a:lnTo>
                  <a:lnTo>
                    <a:pt x="3342" y="1804"/>
                  </a:lnTo>
                  <a:lnTo>
                    <a:pt x="3342" y="1816"/>
                  </a:lnTo>
                  <a:lnTo>
                    <a:pt x="3333" y="1833"/>
                  </a:lnTo>
                  <a:lnTo>
                    <a:pt x="3333" y="1811"/>
                  </a:lnTo>
                  <a:lnTo>
                    <a:pt x="3326" y="1833"/>
                  </a:lnTo>
                  <a:lnTo>
                    <a:pt x="3312" y="1816"/>
                  </a:lnTo>
                  <a:lnTo>
                    <a:pt x="3316" y="1811"/>
                  </a:lnTo>
                  <a:lnTo>
                    <a:pt x="3316" y="1788"/>
                  </a:lnTo>
                  <a:lnTo>
                    <a:pt x="3316" y="1778"/>
                  </a:lnTo>
                  <a:lnTo>
                    <a:pt x="3349" y="1762"/>
                  </a:lnTo>
                  <a:lnTo>
                    <a:pt x="3371" y="1804"/>
                  </a:lnTo>
                  <a:lnTo>
                    <a:pt x="3364" y="1828"/>
                  </a:lnTo>
                  <a:lnTo>
                    <a:pt x="3354" y="1844"/>
                  </a:lnTo>
                  <a:lnTo>
                    <a:pt x="3349" y="1844"/>
                  </a:lnTo>
                  <a:lnTo>
                    <a:pt x="3349" y="1828"/>
                  </a:lnTo>
                  <a:lnTo>
                    <a:pt x="3342" y="1833"/>
                  </a:lnTo>
                  <a:lnTo>
                    <a:pt x="3342" y="1833"/>
                  </a:lnTo>
                  <a:lnTo>
                    <a:pt x="3342" y="1833"/>
                  </a:lnTo>
                  <a:close/>
                  <a:moveTo>
                    <a:pt x="3165" y="1771"/>
                  </a:moveTo>
                  <a:lnTo>
                    <a:pt x="3165" y="1778"/>
                  </a:lnTo>
                  <a:lnTo>
                    <a:pt x="3153" y="1778"/>
                  </a:lnTo>
                  <a:lnTo>
                    <a:pt x="3165" y="1771"/>
                  </a:lnTo>
                  <a:lnTo>
                    <a:pt x="3165" y="1771"/>
                  </a:lnTo>
                  <a:lnTo>
                    <a:pt x="3165" y="1771"/>
                  </a:lnTo>
                  <a:close/>
                  <a:moveTo>
                    <a:pt x="3149" y="1771"/>
                  </a:moveTo>
                  <a:lnTo>
                    <a:pt x="3132" y="1778"/>
                  </a:lnTo>
                  <a:lnTo>
                    <a:pt x="3132" y="1771"/>
                  </a:lnTo>
                  <a:lnTo>
                    <a:pt x="3149" y="1771"/>
                  </a:lnTo>
                  <a:lnTo>
                    <a:pt x="3149" y="1771"/>
                  </a:lnTo>
                  <a:lnTo>
                    <a:pt x="3149" y="1771"/>
                  </a:lnTo>
                  <a:close/>
                  <a:moveTo>
                    <a:pt x="1642" y="1771"/>
                  </a:moveTo>
                  <a:lnTo>
                    <a:pt x="1642" y="1788"/>
                  </a:lnTo>
                  <a:lnTo>
                    <a:pt x="1625" y="1788"/>
                  </a:lnTo>
                  <a:lnTo>
                    <a:pt x="1642" y="1771"/>
                  </a:lnTo>
                  <a:lnTo>
                    <a:pt x="1642" y="1771"/>
                  </a:lnTo>
                  <a:lnTo>
                    <a:pt x="1642" y="1771"/>
                  </a:lnTo>
                  <a:close/>
                  <a:moveTo>
                    <a:pt x="3208" y="1778"/>
                  </a:moveTo>
                  <a:lnTo>
                    <a:pt x="3208" y="1788"/>
                  </a:lnTo>
                  <a:lnTo>
                    <a:pt x="3203" y="1778"/>
                  </a:lnTo>
                  <a:lnTo>
                    <a:pt x="3208" y="1778"/>
                  </a:lnTo>
                  <a:lnTo>
                    <a:pt x="3208" y="1778"/>
                  </a:lnTo>
                  <a:lnTo>
                    <a:pt x="3208" y="1778"/>
                  </a:lnTo>
                  <a:close/>
                  <a:moveTo>
                    <a:pt x="1410" y="1771"/>
                  </a:moveTo>
                  <a:lnTo>
                    <a:pt x="1420" y="1778"/>
                  </a:lnTo>
                  <a:lnTo>
                    <a:pt x="1405" y="1778"/>
                  </a:lnTo>
                  <a:lnTo>
                    <a:pt x="1410" y="1771"/>
                  </a:lnTo>
                  <a:lnTo>
                    <a:pt x="1410" y="1771"/>
                  </a:lnTo>
                  <a:lnTo>
                    <a:pt x="1410" y="1771"/>
                  </a:lnTo>
                  <a:close/>
                  <a:moveTo>
                    <a:pt x="3203" y="1788"/>
                  </a:moveTo>
                  <a:lnTo>
                    <a:pt x="3186" y="1795"/>
                  </a:lnTo>
                  <a:lnTo>
                    <a:pt x="3182" y="1788"/>
                  </a:lnTo>
                  <a:lnTo>
                    <a:pt x="3203" y="1788"/>
                  </a:lnTo>
                  <a:lnTo>
                    <a:pt x="3203" y="1788"/>
                  </a:lnTo>
                  <a:lnTo>
                    <a:pt x="3203" y="1788"/>
                  </a:lnTo>
                  <a:close/>
                  <a:moveTo>
                    <a:pt x="3203" y="1811"/>
                  </a:moveTo>
                  <a:lnTo>
                    <a:pt x="3203" y="1816"/>
                  </a:lnTo>
                  <a:lnTo>
                    <a:pt x="3191" y="1811"/>
                  </a:lnTo>
                  <a:lnTo>
                    <a:pt x="3203" y="1811"/>
                  </a:lnTo>
                  <a:lnTo>
                    <a:pt x="3203" y="1811"/>
                  </a:lnTo>
                  <a:lnTo>
                    <a:pt x="3203" y="1811"/>
                  </a:lnTo>
                  <a:close/>
                  <a:moveTo>
                    <a:pt x="3182" y="1816"/>
                  </a:moveTo>
                  <a:lnTo>
                    <a:pt x="3170" y="1816"/>
                  </a:lnTo>
                  <a:lnTo>
                    <a:pt x="3170" y="1811"/>
                  </a:lnTo>
                  <a:lnTo>
                    <a:pt x="3186" y="1811"/>
                  </a:lnTo>
                  <a:lnTo>
                    <a:pt x="3182" y="1816"/>
                  </a:lnTo>
                  <a:lnTo>
                    <a:pt x="3182" y="1816"/>
                  </a:lnTo>
                  <a:lnTo>
                    <a:pt x="3182" y="1816"/>
                  </a:lnTo>
                  <a:close/>
                  <a:moveTo>
                    <a:pt x="3191" y="1811"/>
                  </a:moveTo>
                  <a:lnTo>
                    <a:pt x="3191" y="1816"/>
                  </a:lnTo>
                  <a:lnTo>
                    <a:pt x="3182" y="1816"/>
                  </a:lnTo>
                  <a:lnTo>
                    <a:pt x="3191" y="1811"/>
                  </a:lnTo>
                  <a:lnTo>
                    <a:pt x="3191" y="1811"/>
                  </a:lnTo>
                  <a:lnTo>
                    <a:pt x="3191" y="1811"/>
                  </a:lnTo>
                  <a:close/>
                  <a:moveTo>
                    <a:pt x="3312" y="1816"/>
                  </a:moveTo>
                  <a:lnTo>
                    <a:pt x="3316" y="1833"/>
                  </a:lnTo>
                  <a:lnTo>
                    <a:pt x="3312" y="1849"/>
                  </a:lnTo>
                  <a:lnTo>
                    <a:pt x="3312" y="1844"/>
                  </a:lnTo>
                  <a:lnTo>
                    <a:pt x="3312" y="1816"/>
                  </a:lnTo>
                  <a:lnTo>
                    <a:pt x="3312" y="1816"/>
                  </a:lnTo>
                  <a:lnTo>
                    <a:pt x="3312" y="1816"/>
                  </a:lnTo>
                  <a:close/>
                  <a:moveTo>
                    <a:pt x="3191" y="1828"/>
                  </a:moveTo>
                  <a:lnTo>
                    <a:pt x="3182" y="1844"/>
                  </a:lnTo>
                  <a:lnTo>
                    <a:pt x="3182" y="1833"/>
                  </a:lnTo>
                  <a:lnTo>
                    <a:pt x="3186" y="1816"/>
                  </a:lnTo>
                  <a:lnTo>
                    <a:pt x="3191" y="1828"/>
                  </a:lnTo>
                  <a:lnTo>
                    <a:pt x="3191" y="1828"/>
                  </a:lnTo>
                  <a:lnTo>
                    <a:pt x="3191" y="1828"/>
                  </a:lnTo>
                  <a:close/>
                  <a:moveTo>
                    <a:pt x="1280" y="1828"/>
                  </a:moveTo>
                  <a:lnTo>
                    <a:pt x="1285" y="1828"/>
                  </a:lnTo>
                  <a:lnTo>
                    <a:pt x="1285" y="1844"/>
                  </a:lnTo>
                  <a:lnTo>
                    <a:pt x="1297" y="1844"/>
                  </a:lnTo>
                  <a:lnTo>
                    <a:pt x="1275" y="1849"/>
                  </a:lnTo>
                  <a:lnTo>
                    <a:pt x="1275" y="1833"/>
                  </a:lnTo>
                  <a:lnTo>
                    <a:pt x="1280" y="1828"/>
                  </a:lnTo>
                  <a:lnTo>
                    <a:pt x="1280" y="1828"/>
                  </a:lnTo>
                  <a:lnTo>
                    <a:pt x="1280" y="1828"/>
                  </a:lnTo>
                  <a:close/>
                  <a:moveTo>
                    <a:pt x="1301" y="1828"/>
                  </a:moveTo>
                  <a:lnTo>
                    <a:pt x="1301" y="1844"/>
                  </a:lnTo>
                  <a:lnTo>
                    <a:pt x="1297" y="1833"/>
                  </a:lnTo>
                  <a:lnTo>
                    <a:pt x="1301" y="1828"/>
                  </a:lnTo>
                  <a:lnTo>
                    <a:pt x="1301" y="1828"/>
                  </a:lnTo>
                  <a:lnTo>
                    <a:pt x="1301" y="1828"/>
                  </a:lnTo>
                  <a:close/>
                  <a:moveTo>
                    <a:pt x="3203" y="1833"/>
                  </a:moveTo>
                  <a:lnTo>
                    <a:pt x="3208" y="1844"/>
                  </a:lnTo>
                  <a:lnTo>
                    <a:pt x="3191" y="1844"/>
                  </a:lnTo>
                  <a:lnTo>
                    <a:pt x="3191" y="1833"/>
                  </a:lnTo>
                  <a:lnTo>
                    <a:pt x="3203" y="1833"/>
                  </a:lnTo>
                  <a:lnTo>
                    <a:pt x="3203" y="1833"/>
                  </a:lnTo>
                  <a:lnTo>
                    <a:pt x="3203" y="1833"/>
                  </a:lnTo>
                  <a:close/>
                  <a:moveTo>
                    <a:pt x="1339" y="1833"/>
                  </a:moveTo>
                  <a:lnTo>
                    <a:pt x="1339" y="1849"/>
                  </a:lnTo>
                  <a:lnTo>
                    <a:pt x="1313" y="1873"/>
                  </a:lnTo>
                  <a:lnTo>
                    <a:pt x="1318" y="1861"/>
                  </a:lnTo>
                  <a:lnTo>
                    <a:pt x="1318" y="1849"/>
                  </a:lnTo>
                  <a:lnTo>
                    <a:pt x="1330" y="1849"/>
                  </a:lnTo>
                  <a:lnTo>
                    <a:pt x="1339" y="1833"/>
                  </a:lnTo>
                  <a:lnTo>
                    <a:pt x="1339" y="1833"/>
                  </a:lnTo>
                  <a:lnTo>
                    <a:pt x="1339" y="1833"/>
                  </a:lnTo>
                  <a:close/>
                  <a:moveTo>
                    <a:pt x="3333" y="1844"/>
                  </a:moveTo>
                  <a:lnTo>
                    <a:pt x="3342" y="1844"/>
                  </a:lnTo>
                  <a:lnTo>
                    <a:pt x="3342" y="1861"/>
                  </a:lnTo>
                  <a:lnTo>
                    <a:pt x="3326" y="1866"/>
                  </a:lnTo>
                  <a:lnTo>
                    <a:pt x="3326" y="1833"/>
                  </a:lnTo>
                  <a:lnTo>
                    <a:pt x="3333" y="1844"/>
                  </a:lnTo>
                  <a:lnTo>
                    <a:pt x="3333" y="1844"/>
                  </a:lnTo>
                  <a:lnTo>
                    <a:pt x="3333" y="1844"/>
                  </a:lnTo>
                  <a:close/>
                  <a:moveTo>
                    <a:pt x="3220" y="1844"/>
                  </a:moveTo>
                  <a:lnTo>
                    <a:pt x="3246" y="1899"/>
                  </a:lnTo>
                  <a:lnTo>
                    <a:pt x="3236" y="1899"/>
                  </a:lnTo>
                  <a:lnTo>
                    <a:pt x="3220" y="1866"/>
                  </a:lnTo>
                  <a:lnTo>
                    <a:pt x="3208" y="1861"/>
                  </a:lnTo>
                  <a:lnTo>
                    <a:pt x="3208" y="1844"/>
                  </a:lnTo>
                  <a:lnTo>
                    <a:pt x="3220" y="1844"/>
                  </a:lnTo>
                  <a:lnTo>
                    <a:pt x="3220" y="1844"/>
                  </a:lnTo>
                  <a:lnTo>
                    <a:pt x="3220" y="1844"/>
                  </a:lnTo>
                  <a:close/>
                  <a:moveTo>
                    <a:pt x="1368" y="1844"/>
                  </a:moveTo>
                  <a:lnTo>
                    <a:pt x="1368" y="1861"/>
                  </a:lnTo>
                  <a:lnTo>
                    <a:pt x="1356" y="1861"/>
                  </a:lnTo>
                  <a:lnTo>
                    <a:pt x="1368" y="1844"/>
                  </a:lnTo>
                  <a:lnTo>
                    <a:pt x="1368" y="1844"/>
                  </a:lnTo>
                  <a:lnTo>
                    <a:pt x="1368" y="1844"/>
                  </a:lnTo>
                  <a:close/>
                  <a:moveTo>
                    <a:pt x="3241" y="1844"/>
                  </a:moveTo>
                  <a:lnTo>
                    <a:pt x="3246" y="1861"/>
                  </a:lnTo>
                  <a:lnTo>
                    <a:pt x="3236" y="1861"/>
                  </a:lnTo>
                  <a:lnTo>
                    <a:pt x="3241" y="1844"/>
                  </a:lnTo>
                  <a:lnTo>
                    <a:pt x="3241" y="1844"/>
                  </a:lnTo>
                  <a:lnTo>
                    <a:pt x="3241" y="1844"/>
                  </a:lnTo>
                  <a:close/>
                  <a:moveTo>
                    <a:pt x="1209" y="1849"/>
                  </a:moveTo>
                  <a:lnTo>
                    <a:pt x="1221" y="1849"/>
                  </a:lnTo>
                  <a:lnTo>
                    <a:pt x="1205" y="1861"/>
                  </a:lnTo>
                  <a:lnTo>
                    <a:pt x="1193" y="1849"/>
                  </a:lnTo>
                  <a:lnTo>
                    <a:pt x="1209" y="1849"/>
                  </a:lnTo>
                  <a:lnTo>
                    <a:pt x="1209" y="1849"/>
                  </a:lnTo>
                  <a:lnTo>
                    <a:pt x="1209" y="1849"/>
                  </a:lnTo>
                  <a:close/>
                  <a:moveTo>
                    <a:pt x="1032" y="1906"/>
                  </a:moveTo>
                  <a:lnTo>
                    <a:pt x="1027" y="1922"/>
                  </a:lnTo>
                  <a:lnTo>
                    <a:pt x="1004" y="1922"/>
                  </a:lnTo>
                  <a:lnTo>
                    <a:pt x="990" y="1922"/>
                  </a:lnTo>
                  <a:lnTo>
                    <a:pt x="978" y="1906"/>
                  </a:lnTo>
                  <a:lnTo>
                    <a:pt x="1004" y="1899"/>
                  </a:lnTo>
                  <a:lnTo>
                    <a:pt x="1016" y="1873"/>
                  </a:lnTo>
                  <a:lnTo>
                    <a:pt x="1032" y="1873"/>
                  </a:lnTo>
                  <a:lnTo>
                    <a:pt x="1065" y="1861"/>
                  </a:lnTo>
                  <a:lnTo>
                    <a:pt x="1079" y="1861"/>
                  </a:lnTo>
                  <a:lnTo>
                    <a:pt x="1096" y="1882"/>
                  </a:lnTo>
                  <a:lnTo>
                    <a:pt x="1112" y="1889"/>
                  </a:lnTo>
                  <a:lnTo>
                    <a:pt x="1117" y="1899"/>
                  </a:lnTo>
                  <a:lnTo>
                    <a:pt x="1096" y="1889"/>
                  </a:lnTo>
                  <a:lnTo>
                    <a:pt x="1079" y="1906"/>
                  </a:lnTo>
                  <a:lnTo>
                    <a:pt x="1032" y="1906"/>
                  </a:lnTo>
                  <a:lnTo>
                    <a:pt x="1032" y="1906"/>
                  </a:lnTo>
                  <a:lnTo>
                    <a:pt x="1032" y="1906"/>
                  </a:lnTo>
                  <a:close/>
                  <a:moveTo>
                    <a:pt x="1372" y="1861"/>
                  </a:moveTo>
                  <a:lnTo>
                    <a:pt x="1372" y="1866"/>
                  </a:lnTo>
                  <a:lnTo>
                    <a:pt x="1368" y="1866"/>
                  </a:lnTo>
                  <a:lnTo>
                    <a:pt x="1368" y="1861"/>
                  </a:lnTo>
                  <a:lnTo>
                    <a:pt x="1372" y="1861"/>
                  </a:lnTo>
                  <a:lnTo>
                    <a:pt x="1372" y="1861"/>
                  </a:lnTo>
                  <a:lnTo>
                    <a:pt x="1372" y="1861"/>
                  </a:lnTo>
                  <a:close/>
                  <a:moveTo>
                    <a:pt x="3349" y="1866"/>
                  </a:moveTo>
                  <a:lnTo>
                    <a:pt x="3349" y="1873"/>
                  </a:lnTo>
                  <a:lnTo>
                    <a:pt x="3333" y="1873"/>
                  </a:lnTo>
                  <a:lnTo>
                    <a:pt x="3349" y="1866"/>
                  </a:lnTo>
                  <a:lnTo>
                    <a:pt x="3349" y="1866"/>
                  </a:lnTo>
                  <a:lnTo>
                    <a:pt x="3349" y="1866"/>
                  </a:lnTo>
                  <a:close/>
                  <a:moveTo>
                    <a:pt x="1172" y="1866"/>
                  </a:moveTo>
                  <a:lnTo>
                    <a:pt x="1167" y="1882"/>
                  </a:lnTo>
                  <a:lnTo>
                    <a:pt x="1155" y="1873"/>
                  </a:lnTo>
                  <a:lnTo>
                    <a:pt x="1172" y="1866"/>
                  </a:lnTo>
                  <a:lnTo>
                    <a:pt x="1172" y="1866"/>
                  </a:lnTo>
                  <a:lnTo>
                    <a:pt x="1172" y="1866"/>
                  </a:lnTo>
                  <a:close/>
                  <a:moveTo>
                    <a:pt x="1382" y="1866"/>
                  </a:moveTo>
                  <a:lnTo>
                    <a:pt x="1389" y="1873"/>
                  </a:lnTo>
                  <a:lnTo>
                    <a:pt x="1382" y="1873"/>
                  </a:lnTo>
                  <a:lnTo>
                    <a:pt x="1382" y="1866"/>
                  </a:lnTo>
                  <a:lnTo>
                    <a:pt x="1382" y="1866"/>
                  </a:lnTo>
                  <a:lnTo>
                    <a:pt x="1382" y="1866"/>
                  </a:lnTo>
                  <a:close/>
                  <a:moveTo>
                    <a:pt x="3246" y="1873"/>
                  </a:moveTo>
                  <a:lnTo>
                    <a:pt x="3246" y="1889"/>
                  </a:lnTo>
                  <a:lnTo>
                    <a:pt x="3241" y="1873"/>
                  </a:lnTo>
                  <a:lnTo>
                    <a:pt x="3246" y="1873"/>
                  </a:lnTo>
                  <a:lnTo>
                    <a:pt x="3246" y="1873"/>
                  </a:lnTo>
                  <a:lnTo>
                    <a:pt x="3246" y="1873"/>
                  </a:lnTo>
                  <a:close/>
                  <a:moveTo>
                    <a:pt x="1134" y="1915"/>
                  </a:moveTo>
                  <a:lnTo>
                    <a:pt x="1150" y="1927"/>
                  </a:lnTo>
                  <a:lnTo>
                    <a:pt x="1134" y="1922"/>
                  </a:lnTo>
                  <a:lnTo>
                    <a:pt x="1134" y="1915"/>
                  </a:lnTo>
                  <a:lnTo>
                    <a:pt x="1134" y="1915"/>
                  </a:lnTo>
                  <a:lnTo>
                    <a:pt x="1134" y="1915"/>
                  </a:lnTo>
                  <a:close/>
                  <a:moveTo>
                    <a:pt x="940" y="1955"/>
                  </a:moveTo>
                  <a:lnTo>
                    <a:pt x="935" y="1939"/>
                  </a:lnTo>
                  <a:lnTo>
                    <a:pt x="952" y="1939"/>
                  </a:lnTo>
                  <a:lnTo>
                    <a:pt x="940" y="1955"/>
                  </a:lnTo>
                  <a:lnTo>
                    <a:pt x="940" y="1955"/>
                  </a:lnTo>
                  <a:lnTo>
                    <a:pt x="940" y="1955"/>
                  </a:lnTo>
                  <a:close/>
                  <a:moveTo>
                    <a:pt x="919" y="1960"/>
                  </a:moveTo>
                  <a:lnTo>
                    <a:pt x="902" y="1955"/>
                  </a:lnTo>
                  <a:lnTo>
                    <a:pt x="907" y="1939"/>
                  </a:lnTo>
                  <a:lnTo>
                    <a:pt x="935" y="1955"/>
                  </a:lnTo>
                  <a:lnTo>
                    <a:pt x="919" y="1960"/>
                  </a:lnTo>
                  <a:lnTo>
                    <a:pt x="919" y="1960"/>
                  </a:lnTo>
                  <a:lnTo>
                    <a:pt x="919" y="1960"/>
                  </a:lnTo>
                  <a:close/>
                  <a:moveTo>
                    <a:pt x="957" y="1960"/>
                  </a:moveTo>
                  <a:lnTo>
                    <a:pt x="952" y="1955"/>
                  </a:lnTo>
                  <a:lnTo>
                    <a:pt x="961" y="1955"/>
                  </a:lnTo>
                  <a:lnTo>
                    <a:pt x="957" y="1960"/>
                  </a:lnTo>
                  <a:lnTo>
                    <a:pt x="957" y="1960"/>
                  </a:lnTo>
                  <a:lnTo>
                    <a:pt x="957" y="1960"/>
                  </a:lnTo>
                  <a:close/>
                  <a:moveTo>
                    <a:pt x="831" y="2000"/>
                  </a:moveTo>
                  <a:lnTo>
                    <a:pt x="843" y="1993"/>
                  </a:lnTo>
                  <a:lnTo>
                    <a:pt x="853" y="1993"/>
                  </a:lnTo>
                  <a:lnTo>
                    <a:pt x="827" y="1981"/>
                  </a:lnTo>
                  <a:lnTo>
                    <a:pt x="843" y="1972"/>
                  </a:lnTo>
                  <a:lnTo>
                    <a:pt x="864" y="1960"/>
                  </a:lnTo>
                  <a:lnTo>
                    <a:pt x="864" y="1977"/>
                  </a:lnTo>
                  <a:lnTo>
                    <a:pt x="886" y="1960"/>
                  </a:lnTo>
                  <a:lnTo>
                    <a:pt x="898" y="1972"/>
                  </a:lnTo>
                  <a:lnTo>
                    <a:pt x="869" y="1993"/>
                  </a:lnTo>
                  <a:lnTo>
                    <a:pt x="886" y="1981"/>
                  </a:lnTo>
                  <a:lnTo>
                    <a:pt x="886" y="1993"/>
                  </a:lnTo>
                  <a:lnTo>
                    <a:pt x="869" y="2000"/>
                  </a:lnTo>
                  <a:lnTo>
                    <a:pt x="853" y="2017"/>
                  </a:lnTo>
                  <a:lnTo>
                    <a:pt x="794" y="2038"/>
                  </a:lnTo>
                  <a:lnTo>
                    <a:pt x="777" y="2033"/>
                  </a:lnTo>
                  <a:lnTo>
                    <a:pt x="827" y="2017"/>
                  </a:lnTo>
                  <a:lnTo>
                    <a:pt x="831" y="2010"/>
                  </a:lnTo>
                  <a:lnTo>
                    <a:pt x="827" y="2000"/>
                  </a:lnTo>
                  <a:lnTo>
                    <a:pt x="831" y="2000"/>
                  </a:lnTo>
                  <a:lnTo>
                    <a:pt x="831" y="2000"/>
                  </a:lnTo>
                  <a:lnTo>
                    <a:pt x="831" y="2000"/>
                  </a:lnTo>
                  <a:close/>
                  <a:moveTo>
                    <a:pt x="898" y="1993"/>
                  </a:moveTo>
                  <a:lnTo>
                    <a:pt x="886" y="1981"/>
                  </a:lnTo>
                  <a:lnTo>
                    <a:pt x="902" y="1977"/>
                  </a:lnTo>
                  <a:lnTo>
                    <a:pt x="898" y="1993"/>
                  </a:lnTo>
                  <a:lnTo>
                    <a:pt x="898" y="1993"/>
                  </a:lnTo>
                  <a:lnTo>
                    <a:pt x="898" y="1993"/>
                  </a:lnTo>
                  <a:close/>
                  <a:moveTo>
                    <a:pt x="789" y="2017"/>
                  </a:moveTo>
                  <a:lnTo>
                    <a:pt x="777" y="2026"/>
                  </a:lnTo>
                  <a:lnTo>
                    <a:pt x="746" y="2038"/>
                  </a:lnTo>
                  <a:lnTo>
                    <a:pt x="735" y="2055"/>
                  </a:lnTo>
                  <a:lnTo>
                    <a:pt x="692" y="2083"/>
                  </a:lnTo>
                  <a:lnTo>
                    <a:pt x="709" y="2066"/>
                  </a:lnTo>
                  <a:lnTo>
                    <a:pt x="709" y="2050"/>
                  </a:lnTo>
                  <a:lnTo>
                    <a:pt x="725" y="2033"/>
                  </a:lnTo>
                  <a:lnTo>
                    <a:pt x="739" y="2033"/>
                  </a:lnTo>
                  <a:lnTo>
                    <a:pt x="739" y="2026"/>
                  </a:lnTo>
                  <a:lnTo>
                    <a:pt x="739" y="2017"/>
                  </a:lnTo>
                  <a:lnTo>
                    <a:pt x="772" y="2010"/>
                  </a:lnTo>
                  <a:lnTo>
                    <a:pt x="789" y="2017"/>
                  </a:lnTo>
                  <a:lnTo>
                    <a:pt x="789" y="2017"/>
                  </a:lnTo>
                  <a:lnTo>
                    <a:pt x="789" y="2017"/>
                  </a:lnTo>
                  <a:close/>
                  <a:moveTo>
                    <a:pt x="649" y="2066"/>
                  </a:moveTo>
                  <a:lnTo>
                    <a:pt x="649" y="2055"/>
                  </a:lnTo>
                  <a:lnTo>
                    <a:pt x="649" y="2066"/>
                  </a:lnTo>
                  <a:lnTo>
                    <a:pt x="649" y="2066"/>
                  </a:lnTo>
                  <a:lnTo>
                    <a:pt x="649" y="2066"/>
                  </a:lnTo>
                  <a:close/>
                  <a:moveTo>
                    <a:pt x="24685" y="2088"/>
                  </a:moveTo>
                  <a:lnTo>
                    <a:pt x="24678" y="2071"/>
                  </a:lnTo>
                  <a:lnTo>
                    <a:pt x="24652" y="2071"/>
                  </a:lnTo>
                  <a:lnTo>
                    <a:pt x="24668" y="2066"/>
                  </a:lnTo>
                  <a:lnTo>
                    <a:pt x="24701" y="2066"/>
                  </a:lnTo>
                  <a:lnTo>
                    <a:pt x="24722" y="2071"/>
                  </a:lnTo>
                  <a:lnTo>
                    <a:pt x="24685" y="2088"/>
                  </a:lnTo>
                  <a:lnTo>
                    <a:pt x="24685" y="2088"/>
                  </a:lnTo>
                  <a:lnTo>
                    <a:pt x="24685" y="2088"/>
                  </a:lnTo>
                  <a:close/>
                  <a:moveTo>
                    <a:pt x="633" y="2083"/>
                  </a:moveTo>
                  <a:lnTo>
                    <a:pt x="649" y="2071"/>
                  </a:lnTo>
                  <a:lnTo>
                    <a:pt x="649" y="2083"/>
                  </a:lnTo>
                  <a:lnTo>
                    <a:pt x="633" y="2083"/>
                  </a:lnTo>
                  <a:lnTo>
                    <a:pt x="633" y="2083"/>
                  </a:lnTo>
                  <a:lnTo>
                    <a:pt x="633" y="2083"/>
                  </a:lnTo>
                  <a:close/>
                  <a:moveTo>
                    <a:pt x="616" y="2088"/>
                  </a:moveTo>
                  <a:lnTo>
                    <a:pt x="616" y="2083"/>
                  </a:lnTo>
                  <a:lnTo>
                    <a:pt x="626" y="2088"/>
                  </a:lnTo>
                  <a:lnTo>
                    <a:pt x="616" y="2088"/>
                  </a:lnTo>
                  <a:lnTo>
                    <a:pt x="616" y="2088"/>
                  </a:lnTo>
                  <a:lnTo>
                    <a:pt x="616" y="2088"/>
                  </a:lnTo>
                  <a:close/>
                  <a:moveTo>
                    <a:pt x="574" y="2104"/>
                  </a:moveTo>
                  <a:lnTo>
                    <a:pt x="579" y="2092"/>
                  </a:lnTo>
                  <a:lnTo>
                    <a:pt x="583" y="2092"/>
                  </a:lnTo>
                  <a:lnTo>
                    <a:pt x="574" y="2104"/>
                  </a:lnTo>
                  <a:lnTo>
                    <a:pt x="574" y="2104"/>
                  </a:lnTo>
                  <a:lnTo>
                    <a:pt x="574" y="2104"/>
                  </a:lnTo>
                  <a:close/>
                  <a:moveTo>
                    <a:pt x="24739" y="2126"/>
                  </a:moveTo>
                  <a:lnTo>
                    <a:pt x="24715" y="2121"/>
                  </a:lnTo>
                  <a:lnTo>
                    <a:pt x="24744" y="2109"/>
                  </a:lnTo>
                  <a:lnTo>
                    <a:pt x="24744" y="2126"/>
                  </a:lnTo>
                  <a:lnTo>
                    <a:pt x="24739" y="2126"/>
                  </a:lnTo>
                  <a:lnTo>
                    <a:pt x="24739" y="2126"/>
                  </a:lnTo>
                  <a:lnTo>
                    <a:pt x="24739" y="2126"/>
                  </a:lnTo>
                  <a:close/>
                  <a:moveTo>
                    <a:pt x="324" y="2149"/>
                  </a:moveTo>
                  <a:lnTo>
                    <a:pt x="255" y="2161"/>
                  </a:lnTo>
                  <a:lnTo>
                    <a:pt x="331" y="2137"/>
                  </a:lnTo>
                  <a:lnTo>
                    <a:pt x="314" y="2126"/>
                  </a:lnTo>
                  <a:lnTo>
                    <a:pt x="331" y="2121"/>
                  </a:lnTo>
                  <a:lnTo>
                    <a:pt x="347" y="2126"/>
                  </a:lnTo>
                  <a:lnTo>
                    <a:pt x="340" y="2142"/>
                  </a:lnTo>
                  <a:lnTo>
                    <a:pt x="324" y="2149"/>
                  </a:lnTo>
                  <a:lnTo>
                    <a:pt x="324" y="2149"/>
                  </a:lnTo>
                  <a:lnTo>
                    <a:pt x="324" y="2149"/>
                  </a:lnTo>
                  <a:close/>
                  <a:moveTo>
                    <a:pt x="453" y="2137"/>
                  </a:moveTo>
                  <a:lnTo>
                    <a:pt x="449" y="2137"/>
                  </a:lnTo>
                  <a:lnTo>
                    <a:pt x="453" y="2121"/>
                  </a:lnTo>
                  <a:lnTo>
                    <a:pt x="470" y="2126"/>
                  </a:lnTo>
                  <a:lnTo>
                    <a:pt x="453" y="2137"/>
                  </a:lnTo>
                  <a:lnTo>
                    <a:pt x="453" y="2137"/>
                  </a:lnTo>
                  <a:lnTo>
                    <a:pt x="453" y="2137"/>
                  </a:lnTo>
                  <a:close/>
                  <a:moveTo>
                    <a:pt x="24895" y="2126"/>
                  </a:moveTo>
                  <a:lnTo>
                    <a:pt x="24895" y="2121"/>
                  </a:lnTo>
                  <a:lnTo>
                    <a:pt x="24900" y="2126"/>
                  </a:lnTo>
                  <a:lnTo>
                    <a:pt x="24895" y="2126"/>
                  </a:lnTo>
                  <a:lnTo>
                    <a:pt x="24895" y="2126"/>
                  </a:lnTo>
                  <a:lnTo>
                    <a:pt x="24895" y="2126"/>
                  </a:lnTo>
                  <a:close/>
                  <a:moveTo>
                    <a:pt x="385" y="2161"/>
                  </a:moveTo>
                  <a:lnTo>
                    <a:pt x="347" y="2142"/>
                  </a:lnTo>
                  <a:lnTo>
                    <a:pt x="423" y="2149"/>
                  </a:lnTo>
                  <a:lnTo>
                    <a:pt x="385" y="2161"/>
                  </a:lnTo>
                  <a:lnTo>
                    <a:pt x="385" y="2161"/>
                  </a:lnTo>
                  <a:lnTo>
                    <a:pt x="385" y="2161"/>
                  </a:lnTo>
                  <a:close/>
                  <a:moveTo>
                    <a:pt x="24992" y="2178"/>
                  </a:moveTo>
                  <a:lnTo>
                    <a:pt x="24987" y="2166"/>
                  </a:lnTo>
                  <a:lnTo>
                    <a:pt x="25008" y="2149"/>
                  </a:lnTo>
                  <a:lnTo>
                    <a:pt x="25013" y="2149"/>
                  </a:lnTo>
                  <a:lnTo>
                    <a:pt x="25013" y="2166"/>
                  </a:lnTo>
                  <a:lnTo>
                    <a:pt x="25003" y="2166"/>
                  </a:lnTo>
                  <a:lnTo>
                    <a:pt x="24992" y="2178"/>
                  </a:lnTo>
                  <a:lnTo>
                    <a:pt x="24992" y="2178"/>
                  </a:lnTo>
                  <a:lnTo>
                    <a:pt x="24992" y="2178"/>
                  </a:lnTo>
                  <a:close/>
                  <a:moveTo>
                    <a:pt x="201" y="2161"/>
                  </a:moveTo>
                  <a:lnTo>
                    <a:pt x="196" y="2161"/>
                  </a:lnTo>
                  <a:lnTo>
                    <a:pt x="201" y="2149"/>
                  </a:lnTo>
                  <a:lnTo>
                    <a:pt x="205" y="2149"/>
                  </a:lnTo>
                  <a:lnTo>
                    <a:pt x="201" y="2161"/>
                  </a:lnTo>
                  <a:lnTo>
                    <a:pt x="201" y="2161"/>
                  </a:lnTo>
                  <a:lnTo>
                    <a:pt x="201" y="2161"/>
                  </a:lnTo>
                  <a:close/>
                  <a:moveTo>
                    <a:pt x="25155" y="2166"/>
                  </a:moveTo>
                  <a:lnTo>
                    <a:pt x="25148" y="2161"/>
                  </a:lnTo>
                  <a:lnTo>
                    <a:pt x="25155" y="2161"/>
                  </a:lnTo>
                  <a:lnTo>
                    <a:pt x="25164" y="2161"/>
                  </a:lnTo>
                  <a:lnTo>
                    <a:pt x="25155" y="2166"/>
                  </a:lnTo>
                  <a:lnTo>
                    <a:pt x="25155" y="2166"/>
                  </a:lnTo>
                  <a:lnTo>
                    <a:pt x="25155" y="2166"/>
                  </a:lnTo>
                  <a:close/>
                  <a:moveTo>
                    <a:pt x="217" y="2161"/>
                  </a:moveTo>
                  <a:lnTo>
                    <a:pt x="205" y="2161"/>
                  </a:lnTo>
                  <a:lnTo>
                    <a:pt x="222" y="2161"/>
                  </a:lnTo>
                  <a:lnTo>
                    <a:pt x="217" y="2161"/>
                  </a:lnTo>
                  <a:lnTo>
                    <a:pt x="217" y="2161"/>
                  </a:lnTo>
                  <a:lnTo>
                    <a:pt x="217" y="2161"/>
                  </a:lnTo>
                  <a:close/>
                  <a:moveTo>
                    <a:pt x="25079" y="2166"/>
                  </a:moveTo>
                  <a:lnTo>
                    <a:pt x="25067" y="2161"/>
                  </a:lnTo>
                  <a:lnTo>
                    <a:pt x="25084" y="2166"/>
                  </a:lnTo>
                  <a:lnTo>
                    <a:pt x="25079" y="2166"/>
                  </a:lnTo>
                  <a:lnTo>
                    <a:pt x="25079" y="2166"/>
                  </a:lnTo>
                  <a:lnTo>
                    <a:pt x="25079" y="2166"/>
                  </a:lnTo>
                  <a:close/>
                  <a:moveTo>
                    <a:pt x="142" y="2199"/>
                  </a:moveTo>
                  <a:lnTo>
                    <a:pt x="142" y="2194"/>
                  </a:lnTo>
                  <a:lnTo>
                    <a:pt x="151" y="2178"/>
                  </a:lnTo>
                  <a:lnTo>
                    <a:pt x="151" y="2166"/>
                  </a:lnTo>
                  <a:lnTo>
                    <a:pt x="168" y="2161"/>
                  </a:lnTo>
                  <a:lnTo>
                    <a:pt x="163" y="2178"/>
                  </a:lnTo>
                  <a:lnTo>
                    <a:pt x="179" y="2178"/>
                  </a:lnTo>
                  <a:lnTo>
                    <a:pt x="179" y="2182"/>
                  </a:lnTo>
                  <a:lnTo>
                    <a:pt x="142" y="2199"/>
                  </a:lnTo>
                  <a:lnTo>
                    <a:pt x="142" y="2199"/>
                  </a:lnTo>
                  <a:lnTo>
                    <a:pt x="142" y="2199"/>
                  </a:lnTo>
                  <a:close/>
                  <a:moveTo>
                    <a:pt x="92" y="2194"/>
                  </a:moveTo>
                  <a:lnTo>
                    <a:pt x="87" y="2194"/>
                  </a:lnTo>
                  <a:lnTo>
                    <a:pt x="125" y="2178"/>
                  </a:lnTo>
                  <a:lnTo>
                    <a:pt x="125" y="2166"/>
                  </a:lnTo>
                  <a:lnTo>
                    <a:pt x="130" y="2166"/>
                  </a:lnTo>
                  <a:lnTo>
                    <a:pt x="125" y="2194"/>
                  </a:lnTo>
                  <a:lnTo>
                    <a:pt x="92" y="2194"/>
                  </a:lnTo>
                  <a:lnTo>
                    <a:pt x="92" y="2194"/>
                  </a:lnTo>
                  <a:lnTo>
                    <a:pt x="92" y="2194"/>
                  </a:lnTo>
                  <a:close/>
                  <a:moveTo>
                    <a:pt x="75" y="2199"/>
                  </a:moveTo>
                  <a:lnTo>
                    <a:pt x="59" y="2194"/>
                  </a:lnTo>
                  <a:lnTo>
                    <a:pt x="71" y="2182"/>
                  </a:lnTo>
                  <a:lnTo>
                    <a:pt x="54" y="2166"/>
                  </a:lnTo>
                  <a:lnTo>
                    <a:pt x="71" y="2166"/>
                  </a:lnTo>
                  <a:lnTo>
                    <a:pt x="75" y="2178"/>
                  </a:lnTo>
                  <a:lnTo>
                    <a:pt x="75" y="2199"/>
                  </a:lnTo>
                  <a:lnTo>
                    <a:pt x="75" y="2199"/>
                  </a:lnTo>
                  <a:lnTo>
                    <a:pt x="75" y="2199"/>
                  </a:lnTo>
                  <a:close/>
                  <a:moveTo>
                    <a:pt x="201" y="2182"/>
                  </a:moveTo>
                  <a:lnTo>
                    <a:pt x="196" y="2166"/>
                  </a:lnTo>
                  <a:lnTo>
                    <a:pt x="205" y="2178"/>
                  </a:lnTo>
                  <a:lnTo>
                    <a:pt x="201" y="2182"/>
                  </a:lnTo>
                  <a:lnTo>
                    <a:pt x="201" y="2182"/>
                  </a:lnTo>
                  <a:lnTo>
                    <a:pt x="201" y="2182"/>
                  </a:lnTo>
                  <a:close/>
                  <a:moveTo>
                    <a:pt x="184" y="2182"/>
                  </a:moveTo>
                  <a:lnTo>
                    <a:pt x="179" y="2178"/>
                  </a:lnTo>
                  <a:lnTo>
                    <a:pt x="184" y="2178"/>
                  </a:lnTo>
                  <a:lnTo>
                    <a:pt x="184" y="2182"/>
                  </a:lnTo>
                  <a:lnTo>
                    <a:pt x="184" y="2182"/>
                  </a:lnTo>
                  <a:lnTo>
                    <a:pt x="184" y="2182"/>
                  </a:lnTo>
                  <a:close/>
                  <a:moveTo>
                    <a:pt x="16" y="2182"/>
                  </a:moveTo>
                  <a:lnTo>
                    <a:pt x="7" y="2178"/>
                  </a:lnTo>
                  <a:lnTo>
                    <a:pt x="16" y="2182"/>
                  </a:lnTo>
                  <a:lnTo>
                    <a:pt x="16" y="2182"/>
                  </a:lnTo>
                  <a:lnTo>
                    <a:pt x="16" y="2182"/>
                  </a:lnTo>
                  <a:close/>
                  <a:moveTo>
                    <a:pt x="25131" y="2220"/>
                  </a:moveTo>
                  <a:lnTo>
                    <a:pt x="25084" y="2194"/>
                  </a:lnTo>
                  <a:lnTo>
                    <a:pt x="25100" y="2199"/>
                  </a:lnTo>
                  <a:lnTo>
                    <a:pt x="25131" y="2215"/>
                  </a:lnTo>
                  <a:lnTo>
                    <a:pt x="25148" y="2215"/>
                  </a:lnTo>
                  <a:lnTo>
                    <a:pt x="25131" y="2220"/>
                  </a:lnTo>
                  <a:lnTo>
                    <a:pt x="25131" y="2220"/>
                  </a:lnTo>
                  <a:lnTo>
                    <a:pt x="25131" y="2220"/>
                  </a:lnTo>
                  <a:close/>
                  <a:moveTo>
                    <a:pt x="0" y="2220"/>
                  </a:moveTo>
                  <a:lnTo>
                    <a:pt x="0" y="2215"/>
                  </a:lnTo>
                  <a:lnTo>
                    <a:pt x="7" y="2220"/>
                  </a:lnTo>
                  <a:lnTo>
                    <a:pt x="0" y="2220"/>
                  </a:lnTo>
                  <a:lnTo>
                    <a:pt x="0" y="2220"/>
                  </a:lnTo>
                  <a:lnTo>
                    <a:pt x="0" y="2220"/>
                  </a:lnTo>
                  <a:close/>
                  <a:moveTo>
                    <a:pt x="3942" y="2442"/>
                  </a:moveTo>
                  <a:lnTo>
                    <a:pt x="5882" y="2442"/>
                  </a:lnTo>
                  <a:lnTo>
                    <a:pt x="5882" y="2404"/>
                  </a:lnTo>
                  <a:lnTo>
                    <a:pt x="5903" y="2414"/>
                  </a:lnTo>
                  <a:lnTo>
                    <a:pt x="5908" y="2459"/>
                  </a:lnTo>
                  <a:lnTo>
                    <a:pt x="5920" y="2470"/>
                  </a:lnTo>
                  <a:lnTo>
                    <a:pt x="5974" y="2475"/>
                  </a:lnTo>
                  <a:lnTo>
                    <a:pt x="5974" y="2482"/>
                  </a:lnTo>
                  <a:lnTo>
                    <a:pt x="6012" y="2475"/>
                  </a:lnTo>
                  <a:lnTo>
                    <a:pt x="6033" y="2475"/>
                  </a:lnTo>
                  <a:lnTo>
                    <a:pt x="6071" y="2499"/>
                  </a:lnTo>
                  <a:lnTo>
                    <a:pt x="6071" y="2515"/>
                  </a:lnTo>
                  <a:lnTo>
                    <a:pt x="6080" y="2499"/>
                  </a:lnTo>
                  <a:lnTo>
                    <a:pt x="6097" y="2499"/>
                  </a:lnTo>
                  <a:lnTo>
                    <a:pt x="6101" y="2515"/>
                  </a:lnTo>
                  <a:lnTo>
                    <a:pt x="6139" y="2532"/>
                  </a:lnTo>
                  <a:lnTo>
                    <a:pt x="6177" y="2515"/>
                  </a:lnTo>
                  <a:lnTo>
                    <a:pt x="6189" y="2525"/>
                  </a:lnTo>
                  <a:lnTo>
                    <a:pt x="6227" y="2525"/>
                  </a:lnTo>
                  <a:lnTo>
                    <a:pt x="6248" y="2532"/>
                  </a:lnTo>
                  <a:lnTo>
                    <a:pt x="6286" y="2537"/>
                  </a:lnTo>
                  <a:lnTo>
                    <a:pt x="6357" y="2508"/>
                  </a:lnTo>
                  <a:lnTo>
                    <a:pt x="6605" y="2636"/>
                  </a:lnTo>
                  <a:lnTo>
                    <a:pt x="6605" y="2659"/>
                  </a:lnTo>
                  <a:lnTo>
                    <a:pt x="6621" y="2676"/>
                  </a:lnTo>
                  <a:lnTo>
                    <a:pt x="6654" y="2664"/>
                  </a:lnTo>
                  <a:lnTo>
                    <a:pt x="6654" y="2692"/>
                  </a:lnTo>
                  <a:lnTo>
                    <a:pt x="6664" y="2702"/>
                  </a:lnTo>
                  <a:lnTo>
                    <a:pt x="6692" y="2702"/>
                  </a:lnTo>
                  <a:lnTo>
                    <a:pt x="6697" y="2714"/>
                  </a:lnTo>
                  <a:lnTo>
                    <a:pt x="6692" y="2730"/>
                  </a:lnTo>
                  <a:lnTo>
                    <a:pt x="6768" y="2775"/>
                  </a:lnTo>
                  <a:lnTo>
                    <a:pt x="6789" y="2924"/>
                  </a:lnTo>
                  <a:lnTo>
                    <a:pt x="6772" y="2981"/>
                  </a:lnTo>
                  <a:lnTo>
                    <a:pt x="6768" y="3014"/>
                  </a:lnTo>
                  <a:lnTo>
                    <a:pt x="6730" y="3047"/>
                  </a:lnTo>
                  <a:lnTo>
                    <a:pt x="6718" y="3063"/>
                  </a:lnTo>
                  <a:lnTo>
                    <a:pt x="6730" y="3080"/>
                  </a:lnTo>
                  <a:lnTo>
                    <a:pt x="6751" y="3096"/>
                  </a:lnTo>
                  <a:lnTo>
                    <a:pt x="6772" y="3096"/>
                  </a:lnTo>
                  <a:lnTo>
                    <a:pt x="6853" y="3047"/>
                  </a:lnTo>
                  <a:lnTo>
                    <a:pt x="6935" y="3030"/>
                  </a:lnTo>
                  <a:lnTo>
                    <a:pt x="7016" y="2997"/>
                  </a:lnTo>
                  <a:lnTo>
                    <a:pt x="7020" y="2990"/>
                  </a:lnTo>
                  <a:lnTo>
                    <a:pt x="7004" y="2974"/>
                  </a:lnTo>
                  <a:lnTo>
                    <a:pt x="7004" y="2957"/>
                  </a:lnTo>
                  <a:lnTo>
                    <a:pt x="6999" y="2940"/>
                  </a:lnTo>
                  <a:lnTo>
                    <a:pt x="7032" y="2924"/>
                  </a:lnTo>
                  <a:lnTo>
                    <a:pt x="7167" y="2924"/>
                  </a:lnTo>
                  <a:lnTo>
                    <a:pt x="7193" y="2886"/>
                  </a:lnTo>
                  <a:lnTo>
                    <a:pt x="7290" y="2808"/>
                  </a:lnTo>
                  <a:lnTo>
                    <a:pt x="7540" y="2803"/>
                  </a:lnTo>
                  <a:lnTo>
                    <a:pt x="7545" y="2787"/>
                  </a:lnTo>
                  <a:lnTo>
                    <a:pt x="7554" y="2775"/>
                  </a:lnTo>
                  <a:lnTo>
                    <a:pt x="7561" y="2787"/>
                  </a:lnTo>
                  <a:lnTo>
                    <a:pt x="7571" y="2775"/>
                  </a:lnTo>
                  <a:lnTo>
                    <a:pt x="7582" y="2787"/>
                  </a:lnTo>
                  <a:lnTo>
                    <a:pt x="7592" y="2759"/>
                  </a:lnTo>
                  <a:lnTo>
                    <a:pt x="7592" y="2754"/>
                  </a:lnTo>
                  <a:lnTo>
                    <a:pt x="7625" y="2718"/>
                  </a:lnTo>
                  <a:lnTo>
                    <a:pt x="7625" y="2697"/>
                  </a:lnTo>
                  <a:lnTo>
                    <a:pt x="7637" y="2676"/>
                  </a:lnTo>
                  <a:lnTo>
                    <a:pt x="7646" y="2648"/>
                  </a:lnTo>
                  <a:lnTo>
                    <a:pt x="7701" y="2581"/>
                  </a:lnTo>
                  <a:lnTo>
                    <a:pt x="7705" y="2586"/>
                  </a:lnTo>
                  <a:lnTo>
                    <a:pt x="7705" y="2603"/>
                  </a:lnTo>
                  <a:lnTo>
                    <a:pt x="7722" y="2610"/>
                  </a:lnTo>
                  <a:lnTo>
                    <a:pt x="7760" y="2591"/>
                  </a:lnTo>
                  <a:lnTo>
                    <a:pt x="7805" y="2619"/>
                  </a:lnTo>
                  <a:lnTo>
                    <a:pt x="7805" y="2747"/>
                  </a:lnTo>
                  <a:lnTo>
                    <a:pt x="7826" y="2754"/>
                  </a:lnTo>
                  <a:lnTo>
                    <a:pt x="7814" y="2759"/>
                  </a:lnTo>
                  <a:lnTo>
                    <a:pt x="7826" y="2775"/>
                  </a:lnTo>
                  <a:lnTo>
                    <a:pt x="7831" y="2792"/>
                  </a:lnTo>
                  <a:lnTo>
                    <a:pt x="7842" y="2792"/>
                  </a:lnTo>
                  <a:lnTo>
                    <a:pt x="7856" y="2808"/>
                  </a:lnTo>
                  <a:lnTo>
                    <a:pt x="7842" y="2813"/>
                  </a:lnTo>
                  <a:lnTo>
                    <a:pt x="7856" y="2813"/>
                  </a:lnTo>
                  <a:lnTo>
                    <a:pt x="7842" y="2829"/>
                  </a:lnTo>
                  <a:lnTo>
                    <a:pt x="7814" y="2829"/>
                  </a:lnTo>
                  <a:lnTo>
                    <a:pt x="7814" y="2846"/>
                  </a:lnTo>
                  <a:lnTo>
                    <a:pt x="7805" y="2846"/>
                  </a:lnTo>
                  <a:lnTo>
                    <a:pt x="7776" y="2863"/>
                  </a:lnTo>
                  <a:lnTo>
                    <a:pt x="7776" y="2858"/>
                  </a:lnTo>
                  <a:lnTo>
                    <a:pt x="7760" y="2858"/>
                  </a:lnTo>
                  <a:lnTo>
                    <a:pt x="7743" y="2858"/>
                  </a:lnTo>
                  <a:lnTo>
                    <a:pt x="7743" y="2863"/>
                  </a:lnTo>
                  <a:lnTo>
                    <a:pt x="7738" y="2863"/>
                  </a:lnTo>
                  <a:lnTo>
                    <a:pt x="7722" y="2863"/>
                  </a:lnTo>
                  <a:lnTo>
                    <a:pt x="7734" y="2841"/>
                  </a:lnTo>
                  <a:lnTo>
                    <a:pt x="7717" y="2858"/>
                  </a:lnTo>
                  <a:lnTo>
                    <a:pt x="7705" y="2886"/>
                  </a:lnTo>
                  <a:lnTo>
                    <a:pt x="7691" y="2898"/>
                  </a:lnTo>
                  <a:lnTo>
                    <a:pt x="7684" y="2886"/>
                  </a:lnTo>
                  <a:lnTo>
                    <a:pt x="7679" y="2903"/>
                  </a:lnTo>
                  <a:lnTo>
                    <a:pt x="7679" y="2886"/>
                  </a:lnTo>
                  <a:lnTo>
                    <a:pt x="7668" y="2903"/>
                  </a:lnTo>
                  <a:lnTo>
                    <a:pt x="7668" y="2886"/>
                  </a:lnTo>
                  <a:lnTo>
                    <a:pt x="7663" y="2914"/>
                  </a:lnTo>
                  <a:lnTo>
                    <a:pt x="7663" y="2886"/>
                  </a:lnTo>
                  <a:lnTo>
                    <a:pt x="7653" y="2898"/>
                  </a:lnTo>
                  <a:lnTo>
                    <a:pt x="7653" y="2919"/>
                  </a:lnTo>
                  <a:lnTo>
                    <a:pt x="7646" y="2903"/>
                  </a:lnTo>
                  <a:lnTo>
                    <a:pt x="7630" y="2914"/>
                  </a:lnTo>
                  <a:lnTo>
                    <a:pt x="7625" y="2924"/>
                  </a:lnTo>
                  <a:lnTo>
                    <a:pt x="7630" y="2936"/>
                  </a:lnTo>
                  <a:lnTo>
                    <a:pt x="7608" y="2952"/>
                  </a:lnTo>
                  <a:lnTo>
                    <a:pt x="7599" y="2974"/>
                  </a:lnTo>
                  <a:lnTo>
                    <a:pt x="7592" y="2969"/>
                  </a:lnTo>
                  <a:lnTo>
                    <a:pt x="7582" y="3007"/>
                  </a:lnTo>
                  <a:lnTo>
                    <a:pt x="7599" y="3014"/>
                  </a:lnTo>
                  <a:lnTo>
                    <a:pt x="7582" y="3023"/>
                  </a:lnTo>
                  <a:lnTo>
                    <a:pt x="7571" y="3035"/>
                  </a:lnTo>
                  <a:lnTo>
                    <a:pt x="7592" y="3047"/>
                  </a:lnTo>
                  <a:lnTo>
                    <a:pt x="7592" y="3068"/>
                  </a:lnTo>
                  <a:lnTo>
                    <a:pt x="7608" y="3080"/>
                  </a:lnTo>
                  <a:lnTo>
                    <a:pt x="7608" y="3085"/>
                  </a:lnTo>
                  <a:lnTo>
                    <a:pt x="7625" y="3096"/>
                  </a:lnTo>
                  <a:lnTo>
                    <a:pt x="7646" y="3085"/>
                  </a:lnTo>
                  <a:lnTo>
                    <a:pt x="7646" y="3080"/>
                  </a:lnTo>
                  <a:lnTo>
                    <a:pt x="7625" y="3063"/>
                  </a:lnTo>
                  <a:lnTo>
                    <a:pt x="7637" y="3063"/>
                  </a:lnTo>
                  <a:lnTo>
                    <a:pt x="7646" y="3080"/>
                  </a:lnTo>
                  <a:lnTo>
                    <a:pt x="7646" y="3096"/>
                  </a:lnTo>
                  <a:lnTo>
                    <a:pt x="7616" y="3101"/>
                  </a:lnTo>
                  <a:lnTo>
                    <a:pt x="7599" y="3108"/>
                  </a:lnTo>
                  <a:lnTo>
                    <a:pt x="7599" y="3096"/>
                  </a:lnTo>
                  <a:lnTo>
                    <a:pt x="7592" y="3096"/>
                  </a:lnTo>
                  <a:lnTo>
                    <a:pt x="7561" y="3118"/>
                  </a:lnTo>
                  <a:lnTo>
                    <a:pt x="7561" y="3101"/>
                  </a:lnTo>
                  <a:lnTo>
                    <a:pt x="7571" y="3085"/>
                  </a:lnTo>
                  <a:lnTo>
                    <a:pt x="7554" y="3101"/>
                  </a:lnTo>
                  <a:lnTo>
                    <a:pt x="7545" y="3085"/>
                  </a:lnTo>
                  <a:lnTo>
                    <a:pt x="7540" y="3125"/>
                  </a:lnTo>
                  <a:lnTo>
                    <a:pt x="7436" y="3134"/>
                  </a:lnTo>
                  <a:lnTo>
                    <a:pt x="7393" y="3158"/>
                  </a:lnTo>
                  <a:lnTo>
                    <a:pt x="7360" y="3179"/>
                  </a:lnTo>
                  <a:lnTo>
                    <a:pt x="7377" y="3151"/>
                  </a:lnTo>
                  <a:lnTo>
                    <a:pt x="7365" y="3125"/>
                  </a:lnTo>
                  <a:lnTo>
                    <a:pt x="7365" y="3158"/>
                  </a:lnTo>
                  <a:lnTo>
                    <a:pt x="7344" y="3196"/>
                  </a:lnTo>
                  <a:lnTo>
                    <a:pt x="7360" y="3196"/>
                  </a:lnTo>
                  <a:lnTo>
                    <a:pt x="7365" y="3212"/>
                  </a:lnTo>
                  <a:lnTo>
                    <a:pt x="7360" y="3262"/>
                  </a:lnTo>
                  <a:lnTo>
                    <a:pt x="7360" y="3236"/>
                  </a:lnTo>
                  <a:lnTo>
                    <a:pt x="7356" y="3269"/>
                  </a:lnTo>
                  <a:lnTo>
                    <a:pt x="7339" y="3285"/>
                  </a:lnTo>
                  <a:lnTo>
                    <a:pt x="7327" y="3290"/>
                  </a:lnTo>
                  <a:lnTo>
                    <a:pt x="7313" y="3302"/>
                  </a:lnTo>
                  <a:lnTo>
                    <a:pt x="7323" y="3302"/>
                  </a:lnTo>
                  <a:lnTo>
                    <a:pt x="7313" y="3318"/>
                  </a:lnTo>
                  <a:lnTo>
                    <a:pt x="7301" y="3328"/>
                  </a:lnTo>
                  <a:lnTo>
                    <a:pt x="7301" y="3307"/>
                  </a:lnTo>
                  <a:lnTo>
                    <a:pt x="7259" y="3290"/>
                  </a:lnTo>
                  <a:lnTo>
                    <a:pt x="7252" y="3274"/>
                  </a:lnTo>
                  <a:lnTo>
                    <a:pt x="7290" y="3236"/>
                  </a:lnTo>
                  <a:lnTo>
                    <a:pt x="7252" y="3269"/>
                  </a:lnTo>
                  <a:lnTo>
                    <a:pt x="7252" y="3285"/>
                  </a:lnTo>
                  <a:lnTo>
                    <a:pt x="7285" y="3347"/>
                  </a:lnTo>
                  <a:lnTo>
                    <a:pt x="7275" y="3356"/>
                  </a:lnTo>
                  <a:lnTo>
                    <a:pt x="7290" y="3363"/>
                  </a:lnTo>
                  <a:lnTo>
                    <a:pt x="7290" y="3373"/>
                  </a:lnTo>
                  <a:lnTo>
                    <a:pt x="7268" y="3401"/>
                  </a:lnTo>
                  <a:lnTo>
                    <a:pt x="7252" y="3439"/>
                  </a:lnTo>
                  <a:lnTo>
                    <a:pt x="7247" y="3451"/>
                  </a:lnTo>
                  <a:lnTo>
                    <a:pt x="7221" y="3484"/>
                  </a:lnTo>
                  <a:lnTo>
                    <a:pt x="7221" y="3467"/>
                  </a:lnTo>
                  <a:lnTo>
                    <a:pt x="7231" y="3439"/>
                  </a:lnTo>
                  <a:lnTo>
                    <a:pt x="7247" y="3418"/>
                  </a:lnTo>
                  <a:lnTo>
                    <a:pt x="7247" y="3413"/>
                  </a:lnTo>
                  <a:lnTo>
                    <a:pt x="7231" y="3413"/>
                  </a:lnTo>
                  <a:lnTo>
                    <a:pt x="7238" y="3373"/>
                  </a:lnTo>
                  <a:lnTo>
                    <a:pt x="7221" y="3385"/>
                  </a:lnTo>
                  <a:lnTo>
                    <a:pt x="7205" y="3380"/>
                  </a:lnTo>
                  <a:lnTo>
                    <a:pt x="7200" y="3373"/>
                  </a:lnTo>
                  <a:lnTo>
                    <a:pt x="7214" y="3363"/>
                  </a:lnTo>
                  <a:lnTo>
                    <a:pt x="7205" y="3363"/>
                  </a:lnTo>
                  <a:lnTo>
                    <a:pt x="7205" y="3356"/>
                  </a:lnTo>
                  <a:lnTo>
                    <a:pt x="7221" y="3363"/>
                  </a:lnTo>
                  <a:lnTo>
                    <a:pt x="7221" y="3356"/>
                  </a:lnTo>
                  <a:lnTo>
                    <a:pt x="7205" y="3347"/>
                  </a:lnTo>
                  <a:lnTo>
                    <a:pt x="7200" y="3347"/>
                  </a:lnTo>
                  <a:lnTo>
                    <a:pt x="7205" y="3340"/>
                  </a:lnTo>
                  <a:lnTo>
                    <a:pt x="7214" y="3340"/>
                  </a:lnTo>
                  <a:lnTo>
                    <a:pt x="7205" y="3323"/>
                  </a:lnTo>
                  <a:lnTo>
                    <a:pt x="7200" y="3340"/>
                  </a:lnTo>
                  <a:lnTo>
                    <a:pt x="7200" y="3323"/>
                  </a:lnTo>
                  <a:lnTo>
                    <a:pt x="7205" y="3323"/>
                  </a:lnTo>
                  <a:lnTo>
                    <a:pt x="7221" y="3318"/>
                  </a:lnTo>
                  <a:lnTo>
                    <a:pt x="7205" y="3323"/>
                  </a:lnTo>
                  <a:lnTo>
                    <a:pt x="7205" y="3307"/>
                  </a:lnTo>
                  <a:lnTo>
                    <a:pt x="7214" y="3302"/>
                  </a:lnTo>
                  <a:lnTo>
                    <a:pt x="7221" y="3290"/>
                  </a:lnTo>
                  <a:lnTo>
                    <a:pt x="7238" y="3274"/>
                  </a:lnTo>
                  <a:lnTo>
                    <a:pt x="7214" y="3274"/>
                  </a:lnTo>
                  <a:lnTo>
                    <a:pt x="7221" y="3285"/>
                  </a:lnTo>
                  <a:lnTo>
                    <a:pt x="7205" y="3290"/>
                  </a:lnTo>
                  <a:lnTo>
                    <a:pt x="7205" y="3285"/>
                  </a:lnTo>
                  <a:lnTo>
                    <a:pt x="7200" y="3290"/>
                  </a:lnTo>
                  <a:lnTo>
                    <a:pt x="7193" y="3302"/>
                  </a:lnTo>
                  <a:lnTo>
                    <a:pt x="7193" y="3307"/>
                  </a:lnTo>
                  <a:lnTo>
                    <a:pt x="7176" y="3302"/>
                  </a:lnTo>
                  <a:lnTo>
                    <a:pt x="7193" y="3323"/>
                  </a:lnTo>
                  <a:lnTo>
                    <a:pt x="7183" y="3347"/>
                  </a:lnTo>
                  <a:lnTo>
                    <a:pt x="7200" y="3380"/>
                  </a:lnTo>
                  <a:lnTo>
                    <a:pt x="7176" y="3373"/>
                  </a:lnTo>
                  <a:lnTo>
                    <a:pt x="7176" y="3356"/>
                  </a:lnTo>
                  <a:lnTo>
                    <a:pt x="7176" y="3373"/>
                  </a:lnTo>
                  <a:lnTo>
                    <a:pt x="7200" y="3385"/>
                  </a:lnTo>
                  <a:lnTo>
                    <a:pt x="7200" y="3401"/>
                  </a:lnTo>
                  <a:lnTo>
                    <a:pt x="7183" y="3385"/>
                  </a:lnTo>
                  <a:lnTo>
                    <a:pt x="7162" y="3385"/>
                  </a:lnTo>
                  <a:lnTo>
                    <a:pt x="7150" y="3373"/>
                  </a:lnTo>
                  <a:lnTo>
                    <a:pt x="7138" y="3373"/>
                  </a:lnTo>
                  <a:lnTo>
                    <a:pt x="7138" y="3363"/>
                  </a:lnTo>
                  <a:lnTo>
                    <a:pt x="7150" y="3347"/>
                  </a:lnTo>
                  <a:lnTo>
                    <a:pt x="7145" y="3328"/>
                  </a:lnTo>
                  <a:lnTo>
                    <a:pt x="7150" y="3347"/>
                  </a:lnTo>
                  <a:lnTo>
                    <a:pt x="7138" y="3356"/>
                  </a:lnTo>
                  <a:lnTo>
                    <a:pt x="7129" y="3380"/>
                  </a:lnTo>
                  <a:lnTo>
                    <a:pt x="7145" y="3380"/>
                  </a:lnTo>
                  <a:lnTo>
                    <a:pt x="7162" y="3396"/>
                  </a:lnTo>
                  <a:lnTo>
                    <a:pt x="7183" y="3396"/>
                  </a:lnTo>
                  <a:lnTo>
                    <a:pt x="7205" y="3418"/>
                  </a:lnTo>
                  <a:lnTo>
                    <a:pt x="7200" y="3439"/>
                  </a:lnTo>
                  <a:lnTo>
                    <a:pt x="7145" y="3396"/>
                  </a:lnTo>
                  <a:lnTo>
                    <a:pt x="7162" y="3401"/>
                  </a:lnTo>
                  <a:lnTo>
                    <a:pt x="7183" y="3439"/>
                  </a:lnTo>
                  <a:lnTo>
                    <a:pt x="7200" y="3439"/>
                  </a:lnTo>
                  <a:lnTo>
                    <a:pt x="7205" y="3455"/>
                  </a:lnTo>
                  <a:lnTo>
                    <a:pt x="7200" y="3455"/>
                  </a:lnTo>
                  <a:lnTo>
                    <a:pt x="7200" y="3467"/>
                  </a:lnTo>
                  <a:lnTo>
                    <a:pt x="7176" y="3455"/>
                  </a:lnTo>
                  <a:lnTo>
                    <a:pt x="7205" y="3484"/>
                  </a:lnTo>
                  <a:lnTo>
                    <a:pt x="7200" y="3496"/>
                  </a:lnTo>
                  <a:lnTo>
                    <a:pt x="7176" y="3472"/>
                  </a:lnTo>
                  <a:lnTo>
                    <a:pt x="7138" y="3467"/>
                  </a:lnTo>
                  <a:lnTo>
                    <a:pt x="7176" y="3484"/>
                  </a:lnTo>
                  <a:lnTo>
                    <a:pt x="7193" y="3496"/>
                  </a:lnTo>
                  <a:lnTo>
                    <a:pt x="7200" y="3507"/>
                  </a:lnTo>
                  <a:lnTo>
                    <a:pt x="7200" y="3496"/>
                  </a:lnTo>
                  <a:lnTo>
                    <a:pt x="7221" y="3496"/>
                  </a:lnTo>
                  <a:lnTo>
                    <a:pt x="7252" y="3595"/>
                  </a:lnTo>
                  <a:lnTo>
                    <a:pt x="7247" y="3566"/>
                  </a:lnTo>
                  <a:lnTo>
                    <a:pt x="7231" y="3512"/>
                  </a:lnTo>
                  <a:lnTo>
                    <a:pt x="7221" y="3529"/>
                  </a:lnTo>
                  <a:lnTo>
                    <a:pt x="7231" y="3540"/>
                  </a:lnTo>
                  <a:lnTo>
                    <a:pt x="7221" y="3529"/>
                  </a:lnTo>
                  <a:lnTo>
                    <a:pt x="7238" y="3566"/>
                  </a:lnTo>
                  <a:lnTo>
                    <a:pt x="7221" y="3545"/>
                  </a:lnTo>
                  <a:lnTo>
                    <a:pt x="7231" y="3562"/>
                  </a:lnTo>
                  <a:lnTo>
                    <a:pt x="7205" y="3545"/>
                  </a:lnTo>
                  <a:lnTo>
                    <a:pt x="7221" y="3562"/>
                  </a:lnTo>
                  <a:lnTo>
                    <a:pt x="7205" y="3566"/>
                  </a:lnTo>
                  <a:lnTo>
                    <a:pt x="7200" y="3562"/>
                  </a:lnTo>
                  <a:lnTo>
                    <a:pt x="7193" y="3578"/>
                  </a:lnTo>
                  <a:lnTo>
                    <a:pt x="7176" y="3566"/>
                  </a:lnTo>
                  <a:lnTo>
                    <a:pt x="7176" y="3550"/>
                  </a:lnTo>
                  <a:lnTo>
                    <a:pt x="7167" y="3578"/>
                  </a:lnTo>
                  <a:lnTo>
                    <a:pt x="7193" y="3578"/>
                  </a:lnTo>
                  <a:lnTo>
                    <a:pt x="7205" y="3578"/>
                  </a:lnTo>
                  <a:lnTo>
                    <a:pt x="7214" y="3578"/>
                  </a:lnTo>
                  <a:lnTo>
                    <a:pt x="7221" y="3600"/>
                  </a:lnTo>
                  <a:lnTo>
                    <a:pt x="7214" y="3600"/>
                  </a:lnTo>
                  <a:lnTo>
                    <a:pt x="7221" y="3600"/>
                  </a:lnTo>
                  <a:lnTo>
                    <a:pt x="7221" y="3583"/>
                  </a:lnTo>
                  <a:lnTo>
                    <a:pt x="7231" y="3578"/>
                  </a:lnTo>
                  <a:lnTo>
                    <a:pt x="7247" y="3595"/>
                  </a:lnTo>
                  <a:lnTo>
                    <a:pt x="7238" y="3607"/>
                  </a:lnTo>
                  <a:lnTo>
                    <a:pt x="7221" y="3616"/>
                  </a:lnTo>
                  <a:lnTo>
                    <a:pt x="7214" y="3623"/>
                  </a:lnTo>
                  <a:lnTo>
                    <a:pt x="7193" y="3623"/>
                  </a:lnTo>
                  <a:lnTo>
                    <a:pt x="7183" y="3607"/>
                  </a:lnTo>
                  <a:lnTo>
                    <a:pt x="7176" y="3623"/>
                  </a:lnTo>
                  <a:lnTo>
                    <a:pt x="7150" y="3607"/>
                  </a:lnTo>
                  <a:lnTo>
                    <a:pt x="7193" y="3633"/>
                  </a:lnTo>
                  <a:lnTo>
                    <a:pt x="7176" y="3640"/>
                  </a:lnTo>
                  <a:lnTo>
                    <a:pt x="7183" y="3651"/>
                  </a:lnTo>
                  <a:lnTo>
                    <a:pt x="7167" y="3656"/>
                  </a:lnTo>
                  <a:lnTo>
                    <a:pt x="7145" y="3640"/>
                  </a:lnTo>
                  <a:lnTo>
                    <a:pt x="7150" y="3656"/>
                  </a:lnTo>
                  <a:lnTo>
                    <a:pt x="7167" y="3661"/>
                  </a:lnTo>
                  <a:lnTo>
                    <a:pt x="7193" y="3651"/>
                  </a:lnTo>
                  <a:lnTo>
                    <a:pt x="7193" y="3661"/>
                  </a:lnTo>
                  <a:lnTo>
                    <a:pt x="7200" y="3656"/>
                  </a:lnTo>
                  <a:lnTo>
                    <a:pt x="7205" y="3656"/>
                  </a:lnTo>
                  <a:lnTo>
                    <a:pt x="7200" y="3661"/>
                  </a:lnTo>
                  <a:lnTo>
                    <a:pt x="7183" y="3677"/>
                  </a:lnTo>
                  <a:lnTo>
                    <a:pt x="7176" y="3677"/>
                  </a:lnTo>
                  <a:lnTo>
                    <a:pt x="7176" y="3673"/>
                  </a:lnTo>
                  <a:lnTo>
                    <a:pt x="7145" y="3677"/>
                  </a:lnTo>
                  <a:lnTo>
                    <a:pt x="7129" y="3689"/>
                  </a:lnTo>
                  <a:lnTo>
                    <a:pt x="7124" y="3677"/>
                  </a:lnTo>
                  <a:lnTo>
                    <a:pt x="7129" y="3694"/>
                  </a:lnTo>
                  <a:lnTo>
                    <a:pt x="7108" y="3711"/>
                  </a:lnTo>
                  <a:lnTo>
                    <a:pt x="7091" y="3744"/>
                  </a:lnTo>
                  <a:lnTo>
                    <a:pt x="7086" y="3727"/>
                  </a:lnTo>
                  <a:lnTo>
                    <a:pt x="7086" y="3744"/>
                  </a:lnTo>
                  <a:lnTo>
                    <a:pt x="7042" y="3744"/>
                  </a:lnTo>
                  <a:lnTo>
                    <a:pt x="7020" y="3760"/>
                  </a:lnTo>
                  <a:lnTo>
                    <a:pt x="6999" y="3800"/>
                  </a:lnTo>
                  <a:lnTo>
                    <a:pt x="6987" y="3788"/>
                  </a:lnTo>
                  <a:lnTo>
                    <a:pt x="6999" y="3784"/>
                  </a:lnTo>
                  <a:lnTo>
                    <a:pt x="6987" y="3788"/>
                  </a:lnTo>
                  <a:lnTo>
                    <a:pt x="6999" y="3805"/>
                  </a:lnTo>
                  <a:lnTo>
                    <a:pt x="6982" y="3817"/>
                  </a:lnTo>
                  <a:lnTo>
                    <a:pt x="6978" y="3817"/>
                  </a:lnTo>
                  <a:lnTo>
                    <a:pt x="6949" y="3838"/>
                  </a:lnTo>
                  <a:lnTo>
                    <a:pt x="6945" y="3829"/>
                  </a:lnTo>
                  <a:lnTo>
                    <a:pt x="6949" y="3845"/>
                  </a:lnTo>
                  <a:lnTo>
                    <a:pt x="6923" y="3862"/>
                  </a:lnTo>
                  <a:lnTo>
                    <a:pt x="6897" y="3855"/>
                  </a:lnTo>
                  <a:lnTo>
                    <a:pt x="6907" y="3862"/>
                  </a:lnTo>
                  <a:lnTo>
                    <a:pt x="6907" y="3871"/>
                  </a:lnTo>
                  <a:lnTo>
                    <a:pt x="6897" y="3878"/>
                  </a:lnTo>
                  <a:lnTo>
                    <a:pt x="6897" y="3862"/>
                  </a:lnTo>
                  <a:lnTo>
                    <a:pt x="6890" y="3871"/>
                  </a:lnTo>
                  <a:lnTo>
                    <a:pt x="6881" y="3855"/>
                  </a:lnTo>
                  <a:lnTo>
                    <a:pt x="6897" y="3878"/>
                  </a:lnTo>
                  <a:lnTo>
                    <a:pt x="6881" y="3883"/>
                  </a:lnTo>
                  <a:lnTo>
                    <a:pt x="6881" y="3895"/>
                  </a:lnTo>
                  <a:lnTo>
                    <a:pt x="6881" y="3900"/>
                  </a:lnTo>
                  <a:lnTo>
                    <a:pt x="6869" y="3916"/>
                  </a:lnTo>
                  <a:lnTo>
                    <a:pt x="6860" y="3933"/>
                  </a:lnTo>
                  <a:lnTo>
                    <a:pt x="6853" y="3933"/>
                  </a:lnTo>
                  <a:lnTo>
                    <a:pt x="6860" y="3937"/>
                  </a:lnTo>
                  <a:lnTo>
                    <a:pt x="6853" y="3956"/>
                  </a:lnTo>
                  <a:lnTo>
                    <a:pt x="6836" y="3966"/>
                  </a:lnTo>
                  <a:lnTo>
                    <a:pt x="6843" y="3973"/>
                  </a:lnTo>
                  <a:lnTo>
                    <a:pt x="6836" y="3989"/>
                  </a:lnTo>
                  <a:lnTo>
                    <a:pt x="6853" y="4077"/>
                  </a:lnTo>
                  <a:lnTo>
                    <a:pt x="6874" y="4122"/>
                  </a:lnTo>
                  <a:lnTo>
                    <a:pt x="6907" y="4171"/>
                  </a:lnTo>
                  <a:lnTo>
                    <a:pt x="6897" y="4192"/>
                  </a:lnTo>
                  <a:lnTo>
                    <a:pt x="6912" y="4225"/>
                  </a:lnTo>
                  <a:lnTo>
                    <a:pt x="6897" y="4192"/>
                  </a:lnTo>
                  <a:lnTo>
                    <a:pt x="6897" y="4159"/>
                  </a:lnTo>
                  <a:lnTo>
                    <a:pt x="6890" y="4159"/>
                  </a:lnTo>
                  <a:lnTo>
                    <a:pt x="6890" y="4155"/>
                  </a:lnTo>
                  <a:lnTo>
                    <a:pt x="6881" y="4155"/>
                  </a:lnTo>
                  <a:lnTo>
                    <a:pt x="6890" y="4176"/>
                  </a:lnTo>
                  <a:lnTo>
                    <a:pt x="6935" y="4303"/>
                  </a:lnTo>
                  <a:lnTo>
                    <a:pt x="6928" y="4377"/>
                  </a:lnTo>
                  <a:lnTo>
                    <a:pt x="6923" y="4398"/>
                  </a:lnTo>
                  <a:lnTo>
                    <a:pt x="6912" y="4431"/>
                  </a:lnTo>
                  <a:lnTo>
                    <a:pt x="6907" y="4426"/>
                  </a:lnTo>
                  <a:lnTo>
                    <a:pt x="6869" y="4431"/>
                  </a:lnTo>
                  <a:lnTo>
                    <a:pt x="6860" y="4426"/>
                  </a:lnTo>
                  <a:lnTo>
                    <a:pt x="6874" y="4431"/>
                  </a:lnTo>
                  <a:lnTo>
                    <a:pt x="6874" y="4426"/>
                  </a:lnTo>
                  <a:lnTo>
                    <a:pt x="6860" y="4414"/>
                  </a:lnTo>
                  <a:lnTo>
                    <a:pt x="6853" y="4381"/>
                  </a:lnTo>
                  <a:lnTo>
                    <a:pt x="6822" y="4370"/>
                  </a:lnTo>
                  <a:lnTo>
                    <a:pt x="6815" y="4327"/>
                  </a:lnTo>
                  <a:lnTo>
                    <a:pt x="6805" y="4327"/>
                  </a:lnTo>
                  <a:lnTo>
                    <a:pt x="6822" y="4315"/>
                  </a:lnTo>
                  <a:lnTo>
                    <a:pt x="6805" y="4327"/>
                  </a:lnTo>
                  <a:lnTo>
                    <a:pt x="6798" y="4327"/>
                  </a:lnTo>
                  <a:lnTo>
                    <a:pt x="6798" y="4299"/>
                  </a:lnTo>
                  <a:lnTo>
                    <a:pt x="6789" y="4299"/>
                  </a:lnTo>
                  <a:lnTo>
                    <a:pt x="6789" y="4303"/>
                  </a:lnTo>
                  <a:lnTo>
                    <a:pt x="6784" y="4303"/>
                  </a:lnTo>
                  <a:lnTo>
                    <a:pt x="6760" y="4261"/>
                  </a:lnTo>
                  <a:lnTo>
                    <a:pt x="6772" y="4225"/>
                  </a:lnTo>
                  <a:lnTo>
                    <a:pt x="6772" y="4216"/>
                  </a:lnTo>
                  <a:lnTo>
                    <a:pt x="6751" y="4209"/>
                  </a:lnTo>
                  <a:lnTo>
                    <a:pt x="6751" y="4216"/>
                  </a:lnTo>
                  <a:lnTo>
                    <a:pt x="6760" y="4225"/>
                  </a:lnTo>
                  <a:lnTo>
                    <a:pt x="6751" y="4244"/>
                  </a:lnTo>
                  <a:lnTo>
                    <a:pt x="6746" y="4225"/>
                  </a:lnTo>
                  <a:lnTo>
                    <a:pt x="6760" y="4176"/>
                  </a:lnTo>
                  <a:lnTo>
                    <a:pt x="6760" y="4150"/>
                  </a:lnTo>
                  <a:lnTo>
                    <a:pt x="6746" y="4122"/>
                  </a:lnTo>
                  <a:lnTo>
                    <a:pt x="6730" y="4117"/>
                  </a:lnTo>
                  <a:lnTo>
                    <a:pt x="6708" y="4093"/>
                  </a:lnTo>
                  <a:lnTo>
                    <a:pt x="6708" y="4081"/>
                  </a:lnTo>
                  <a:lnTo>
                    <a:pt x="6680" y="4060"/>
                  </a:lnTo>
                  <a:lnTo>
                    <a:pt x="6659" y="4048"/>
                  </a:lnTo>
                  <a:lnTo>
                    <a:pt x="6642" y="4048"/>
                  </a:lnTo>
                  <a:lnTo>
                    <a:pt x="6626" y="4060"/>
                  </a:lnTo>
                  <a:lnTo>
                    <a:pt x="6638" y="4065"/>
                  </a:lnTo>
                  <a:lnTo>
                    <a:pt x="6626" y="4060"/>
                  </a:lnTo>
                  <a:lnTo>
                    <a:pt x="6600" y="4077"/>
                  </a:lnTo>
                  <a:lnTo>
                    <a:pt x="6567" y="4081"/>
                  </a:lnTo>
                  <a:lnTo>
                    <a:pt x="6567" y="4065"/>
                  </a:lnTo>
                  <a:lnTo>
                    <a:pt x="6567" y="4081"/>
                  </a:lnTo>
                  <a:lnTo>
                    <a:pt x="6567" y="4065"/>
                  </a:lnTo>
                  <a:lnTo>
                    <a:pt x="6545" y="4048"/>
                  </a:lnTo>
                  <a:lnTo>
                    <a:pt x="6567" y="4048"/>
                  </a:lnTo>
                  <a:lnTo>
                    <a:pt x="6545" y="4044"/>
                  </a:lnTo>
                  <a:lnTo>
                    <a:pt x="6534" y="4039"/>
                  </a:lnTo>
                  <a:lnTo>
                    <a:pt x="6545" y="4044"/>
                  </a:lnTo>
                  <a:lnTo>
                    <a:pt x="6496" y="4027"/>
                  </a:lnTo>
                  <a:lnTo>
                    <a:pt x="6512" y="4027"/>
                  </a:lnTo>
                  <a:lnTo>
                    <a:pt x="6503" y="4022"/>
                  </a:lnTo>
                  <a:lnTo>
                    <a:pt x="6437" y="4027"/>
                  </a:lnTo>
                  <a:lnTo>
                    <a:pt x="6458" y="4022"/>
                  </a:lnTo>
                  <a:lnTo>
                    <a:pt x="6442" y="4011"/>
                  </a:lnTo>
                  <a:lnTo>
                    <a:pt x="6427" y="4027"/>
                  </a:lnTo>
                  <a:lnTo>
                    <a:pt x="6411" y="4039"/>
                  </a:lnTo>
                  <a:lnTo>
                    <a:pt x="6427" y="4022"/>
                  </a:lnTo>
                  <a:lnTo>
                    <a:pt x="6420" y="4022"/>
                  </a:lnTo>
                  <a:lnTo>
                    <a:pt x="6411" y="4039"/>
                  </a:lnTo>
                  <a:lnTo>
                    <a:pt x="6382" y="4039"/>
                  </a:lnTo>
                  <a:lnTo>
                    <a:pt x="6394" y="4039"/>
                  </a:lnTo>
                  <a:lnTo>
                    <a:pt x="6390" y="4022"/>
                  </a:lnTo>
                  <a:lnTo>
                    <a:pt x="6390" y="4006"/>
                  </a:lnTo>
                  <a:lnTo>
                    <a:pt x="6382" y="4006"/>
                  </a:lnTo>
                  <a:lnTo>
                    <a:pt x="6373" y="4027"/>
                  </a:lnTo>
                  <a:lnTo>
                    <a:pt x="6357" y="4027"/>
                  </a:lnTo>
                  <a:lnTo>
                    <a:pt x="6352" y="4027"/>
                  </a:lnTo>
                  <a:lnTo>
                    <a:pt x="6314" y="4022"/>
                  </a:lnTo>
                  <a:lnTo>
                    <a:pt x="6276" y="4044"/>
                  </a:lnTo>
                  <a:lnTo>
                    <a:pt x="6227" y="4027"/>
                  </a:lnTo>
                  <a:lnTo>
                    <a:pt x="6210" y="4044"/>
                  </a:lnTo>
                  <a:lnTo>
                    <a:pt x="6210" y="4048"/>
                  </a:lnTo>
                  <a:lnTo>
                    <a:pt x="6227" y="4048"/>
                  </a:lnTo>
                  <a:lnTo>
                    <a:pt x="6264" y="4044"/>
                  </a:lnTo>
                  <a:lnTo>
                    <a:pt x="6248" y="4048"/>
                  </a:lnTo>
                  <a:lnTo>
                    <a:pt x="6264" y="4065"/>
                  </a:lnTo>
                  <a:lnTo>
                    <a:pt x="6281" y="4048"/>
                  </a:lnTo>
                  <a:lnTo>
                    <a:pt x="6286" y="4065"/>
                  </a:lnTo>
                  <a:lnTo>
                    <a:pt x="6281" y="4077"/>
                  </a:lnTo>
                  <a:lnTo>
                    <a:pt x="6281" y="4065"/>
                  </a:lnTo>
                  <a:lnTo>
                    <a:pt x="6260" y="4081"/>
                  </a:lnTo>
                  <a:lnTo>
                    <a:pt x="6314" y="4122"/>
                  </a:lnTo>
                  <a:lnTo>
                    <a:pt x="6302" y="4133"/>
                  </a:lnTo>
                  <a:lnTo>
                    <a:pt x="6297" y="4133"/>
                  </a:lnTo>
                  <a:lnTo>
                    <a:pt x="6281" y="4138"/>
                  </a:lnTo>
                  <a:lnTo>
                    <a:pt x="6286" y="4122"/>
                  </a:lnTo>
                  <a:lnTo>
                    <a:pt x="6281" y="4133"/>
                  </a:lnTo>
                  <a:lnTo>
                    <a:pt x="6281" y="4117"/>
                  </a:lnTo>
                  <a:lnTo>
                    <a:pt x="6260" y="4105"/>
                  </a:lnTo>
                  <a:lnTo>
                    <a:pt x="6260" y="4100"/>
                  </a:lnTo>
                  <a:lnTo>
                    <a:pt x="6227" y="4093"/>
                  </a:lnTo>
                  <a:lnTo>
                    <a:pt x="6227" y="4100"/>
                  </a:lnTo>
                  <a:lnTo>
                    <a:pt x="6243" y="4100"/>
                  </a:lnTo>
                  <a:lnTo>
                    <a:pt x="6231" y="4122"/>
                  </a:lnTo>
                  <a:lnTo>
                    <a:pt x="6227" y="4133"/>
                  </a:lnTo>
                  <a:lnTo>
                    <a:pt x="6222" y="4117"/>
                  </a:lnTo>
                  <a:lnTo>
                    <a:pt x="6210" y="4105"/>
                  </a:lnTo>
                  <a:lnTo>
                    <a:pt x="6189" y="4122"/>
                  </a:lnTo>
                  <a:lnTo>
                    <a:pt x="6151" y="4117"/>
                  </a:lnTo>
                  <a:lnTo>
                    <a:pt x="6151" y="4105"/>
                  </a:lnTo>
                  <a:lnTo>
                    <a:pt x="6156" y="4105"/>
                  </a:lnTo>
                  <a:lnTo>
                    <a:pt x="6156" y="4117"/>
                  </a:lnTo>
                  <a:lnTo>
                    <a:pt x="6168" y="4105"/>
                  </a:lnTo>
                  <a:lnTo>
                    <a:pt x="6134" y="4093"/>
                  </a:lnTo>
                  <a:lnTo>
                    <a:pt x="6125" y="4077"/>
                  </a:lnTo>
                  <a:lnTo>
                    <a:pt x="6113" y="4065"/>
                  </a:lnTo>
                  <a:lnTo>
                    <a:pt x="6087" y="4077"/>
                  </a:lnTo>
                  <a:lnTo>
                    <a:pt x="6097" y="4081"/>
                  </a:lnTo>
                  <a:lnTo>
                    <a:pt x="6080" y="4093"/>
                  </a:lnTo>
                  <a:lnTo>
                    <a:pt x="6012" y="4077"/>
                  </a:lnTo>
                  <a:lnTo>
                    <a:pt x="5974" y="4077"/>
                  </a:lnTo>
                  <a:lnTo>
                    <a:pt x="5962" y="4065"/>
                  </a:lnTo>
                  <a:lnTo>
                    <a:pt x="5979" y="4060"/>
                  </a:lnTo>
                  <a:lnTo>
                    <a:pt x="5974" y="4060"/>
                  </a:lnTo>
                  <a:lnTo>
                    <a:pt x="5962" y="4065"/>
                  </a:lnTo>
                  <a:lnTo>
                    <a:pt x="5974" y="4081"/>
                  </a:lnTo>
                  <a:lnTo>
                    <a:pt x="5950" y="4081"/>
                  </a:lnTo>
                  <a:lnTo>
                    <a:pt x="5903" y="4105"/>
                  </a:lnTo>
                  <a:lnTo>
                    <a:pt x="5924" y="4093"/>
                  </a:lnTo>
                  <a:lnTo>
                    <a:pt x="5903" y="4093"/>
                  </a:lnTo>
                  <a:lnTo>
                    <a:pt x="5908" y="4077"/>
                  </a:lnTo>
                  <a:lnTo>
                    <a:pt x="5886" y="4077"/>
                  </a:lnTo>
                  <a:lnTo>
                    <a:pt x="5898" y="4105"/>
                  </a:lnTo>
                  <a:lnTo>
                    <a:pt x="5882" y="4133"/>
                  </a:lnTo>
                  <a:lnTo>
                    <a:pt x="5799" y="4176"/>
                  </a:lnTo>
                  <a:lnTo>
                    <a:pt x="5816" y="4159"/>
                  </a:lnTo>
                  <a:lnTo>
                    <a:pt x="5799" y="4171"/>
                  </a:lnTo>
                  <a:lnTo>
                    <a:pt x="5811" y="4159"/>
                  </a:lnTo>
                  <a:lnTo>
                    <a:pt x="5790" y="4155"/>
                  </a:lnTo>
                  <a:lnTo>
                    <a:pt x="5794" y="4159"/>
                  </a:lnTo>
                  <a:lnTo>
                    <a:pt x="5790" y="4159"/>
                  </a:lnTo>
                  <a:lnTo>
                    <a:pt x="5773" y="4155"/>
                  </a:lnTo>
                  <a:lnTo>
                    <a:pt x="5778" y="4171"/>
                  </a:lnTo>
                  <a:lnTo>
                    <a:pt x="5794" y="4176"/>
                  </a:lnTo>
                  <a:lnTo>
                    <a:pt x="5773" y="4188"/>
                  </a:lnTo>
                  <a:lnTo>
                    <a:pt x="5761" y="4176"/>
                  </a:lnTo>
                  <a:lnTo>
                    <a:pt x="5761" y="4192"/>
                  </a:lnTo>
                  <a:lnTo>
                    <a:pt x="5757" y="4204"/>
                  </a:lnTo>
                  <a:lnTo>
                    <a:pt x="5740" y="4204"/>
                  </a:lnTo>
                  <a:lnTo>
                    <a:pt x="5735" y="4209"/>
                  </a:lnTo>
                  <a:lnTo>
                    <a:pt x="5747" y="4209"/>
                  </a:lnTo>
                  <a:lnTo>
                    <a:pt x="5740" y="4225"/>
                  </a:lnTo>
                  <a:lnTo>
                    <a:pt x="5709" y="4225"/>
                  </a:lnTo>
                  <a:lnTo>
                    <a:pt x="5735" y="4244"/>
                  </a:lnTo>
                  <a:lnTo>
                    <a:pt x="5719" y="4266"/>
                  </a:lnTo>
                  <a:lnTo>
                    <a:pt x="5709" y="4266"/>
                  </a:lnTo>
                  <a:lnTo>
                    <a:pt x="5693" y="4261"/>
                  </a:lnTo>
                  <a:lnTo>
                    <a:pt x="5702" y="4270"/>
                  </a:lnTo>
                  <a:lnTo>
                    <a:pt x="5719" y="4266"/>
                  </a:lnTo>
                  <a:lnTo>
                    <a:pt x="5709" y="4303"/>
                  </a:lnTo>
                  <a:lnTo>
                    <a:pt x="5735" y="4370"/>
                  </a:lnTo>
                  <a:lnTo>
                    <a:pt x="5740" y="4360"/>
                  </a:lnTo>
                  <a:lnTo>
                    <a:pt x="5740" y="4370"/>
                  </a:lnTo>
                  <a:lnTo>
                    <a:pt x="5719" y="4377"/>
                  </a:lnTo>
                  <a:lnTo>
                    <a:pt x="5702" y="4370"/>
                  </a:lnTo>
                  <a:lnTo>
                    <a:pt x="5664" y="4360"/>
                  </a:lnTo>
                  <a:lnTo>
                    <a:pt x="5648" y="4353"/>
                  </a:lnTo>
                  <a:lnTo>
                    <a:pt x="5601" y="4337"/>
                  </a:lnTo>
                  <a:lnTo>
                    <a:pt x="5596" y="4303"/>
                  </a:lnTo>
                  <a:lnTo>
                    <a:pt x="5579" y="4287"/>
                  </a:lnTo>
                  <a:lnTo>
                    <a:pt x="5572" y="4249"/>
                  </a:lnTo>
                  <a:lnTo>
                    <a:pt x="5546" y="4233"/>
                  </a:lnTo>
                  <a:lnTo>
                    <a:pt x="5530" y="4204"/>
                  </a:lnTo>
                  <a:lnTo>
                    <a:pt x="5520" y="4192"/>
                  </a:lnTo>
                  <a:lnTo>
                    <a:pt x="5492" y="4122"/>
                  </a:lnTo>
                  <a:lnTo>
                    <a:pt x="5449" y="4081"/>
                  </a:lnTo>
                  <a:lnTo>
                    <a:pt x="5438" y="4077"/>
                  </a:lnTo>
                  <a:lnTo>
                    <a:pt x="5395" y="4077"/>
                  </a:lnTo>
                  <a:lnTo>
                    <a:pt x="5379" y="4065"/>
                  </a:lnTo>
                  <a:lnTo>
                    <a:pt x="5357" y="4077"/>
                  </a:lnTo>
                  <a:lnTo>
                    <a:pt x="5341" y="4117"/>
                  </a:lnTo>
                  <a:lnTo>
                    <a:pt x="5315" y="4138"/>
                  </a:lnTo>
                  <a:lnTo>
                    <a:pt x="5303" y="4133"/>
                  </a:lnTo>
                  <a:lnTo>
                    <a:pt x="5256" y="4105"/>
                  </a:lnTo>
                  <a:lnTo>
                    <a:pt x="5223" y="4081"/>
                  </a:lnTo>
                  <a:lnTo>
                    <a:pt x="5206" y="4060"/>
                  </a:lnTo>
                  <a:lnTo>
                    <a:pt x="5206" y="4044"/>
                  </a:lnTo>
                  <a:lnTo>
                    <a:pt x="5194" y="4011"/>
                  </a:lnTo>
                  <a:lnTo>
                    <a:pt x="5097" y="3937"/>
                  </a:lnTo>
                  <a:lnTo>
                    <a:pt x="5093" y="3916"/>
                  </a:lnTo>
                  <a:lnTo>
                    <a:pt x="4963" y="3916"/>
                  </a:lnTo>
                  <a:lnTo>
                    <a:pt x="4963" y="3949"/>
                  </a:lnTo>
                  <a:lnTo>
                    <a:pt x="4764" y="3949"/>
                  </a:lnTo>
                  <a:lnTo>
                    <a:pt x="4500" y="3855"/>
                  </a:lnTo>
                  <a:lnTo>
                    <a:pt x="4505" y="3838"/>
                  </a:lnTo>
                  <a:lnTo>
                    <a:pt x="4337" y="3855"/>
                  </a:lnTo>
                  <a:lnTo>
                    <a:pt x="4325" y="3838"/>
                  </a:lnTo>
                  <a:lnTo>
                    <a:pt x="4337" y="3845"/>
                  </a:lnTo>
                  <a:lnTo>
                    <a:pt x="4325" y="3845"/>
                  </a:lnTo>
                  <a:lnTo>
                    <a:pt x="4325" y="3822"/>
                  </a:lnTo>
                  <a:lnTo>
                    <a:pt x="4316" y="3788"/>
                  </a:lnTo>
                  <a:lnTo>
                    <a:pt x="4266" y="3760"/>
                  </a:lnTo>
                  <a:lnTo>
                    <a:pt x="4249" y="3760"/>
                  </a:lnTo>
                  <a:lnTo>
                    <a:pt x="4235" y="3734"/>
                  </a:lnTo>
                  <a:lnTo>
                    <a:pt x="4197" y="3727"/>
                  </a:lnTo>
                  <a:lnTo>
                    <a:pt x="4164" y="3706"/>
                  </a:lnTo>
                  <a:lnTo>
                    <a:pt x="4105" y="3706"/>
                  </a:lnTo>
                  <a:lnTo>
                    <a:pt x="4089" y="3689"/>
                  </a:lnTo>
                  <a:lnTo>
                    <a:pt x="4098" y="3651"/>
                  </a:lnTo>
                  <a:lnTo>
                    <a:pt x="4072" y="3640"/>
                  </a:lnTo>
                  <a:lnTo>
                    <a:pt x="4072" y="3616"/>
                  </a:lnTo>
                  <a:lnTo>
                    <a:pt x="4001" y="3545"/>
                  </a:lnTo>
                  <a:lnTo>
                    <a:pt x="3997" y="3524"/>
                  </a:lnTo>
                  <a:lnTo>
                    <a:pt x="4013" y="3524"/>
                  </a:lnTo>
                  <a:lnTo>
                    <a:pt x="4013" y="3496"/>
                  </a:lnTo>
                  <a:lnTo>
                    <a:pt x="4001" y="3488"/>
                  </a:lnTo>
                  <a:lnTo>
                    <a:pt x="3980" y="3488"/>
                  </a:lnTo>
                  <a:lnTo>
                    <a:pt x="3964" y="3472"/>
                  </a:lnTo>
                  <a:lnTo>
                    <a:pt x="3964" y="3455"/>
                  </a:lnTo>
                  <a:lnTo>
                    <a:pt x="3959" y="3451"/>
                  </a:lnTo>
                  <a:lnTo>
                    <a:pt x="3959" y="3429"/>
                  </a:lnTo>
                  <a:lnTo>
                    <a:pt x="3964" y="3429"/>
                  </a:lnTo>
                  <a:lnTo>
                    <a:pt x="3975" y="3439"/>
                  </a:lnTo>
                  <a:lnTo>
                    <a:pt x="3997" y="3451"/>
                  </a:lnTo>
                  <a:lnTo>
                    <a:pt x="3964" y="3413"/>
                  </a:lnTo>
                  <a:lnTo>
                    <a:pt x="3980" y="3401"/>
                  </a:lnTo>
                  <a:lnTo>
                    <a:pt x="4018" y="3413"/>
                  </a:lnTo>
                  <a:lnTo>
                    <a:pt x="4030" y="3401"/>
                  </a:lnTo>
                  <a:lnTo>
                    <a:pt x="4034" y="3413"/>
                  </a:lnTo>
                  <a:lnTo>
                    <a:pt x="4030" y="3401"/>
                  </a:lnTo>
                  <a:lnTo>
                    <a:pt x="4013" y="3401"/>
                  </a:lnTo>
                  <a:lnTo>
                    <a:pt x="3997" y="3396"/>
                  </a:lnTo>
                  <a:lnTo>
                    <a:pt x="3992" y="3401"/>
                  </a:lnTo>
                  <a:lnTo>
                    <a:pt x="3975" y="3396"/>
                  </a:lnTo>
                  <a:lnTo>
                    <a:pt x="3964" y="3396"/>
                  </a:lnTo>
                  <a:lnTo>
                    <a:pt x="3964" y="3418"/>
                  </a:lnTo>
                  <a:lnTo>
                    <a:pt x="3959" y="3429"/>
                  </a:lnTo>
                  <a:lnTo>
                    <a:pt x="3938" y="3401"/>
                  </a:lnTo>
                  <a:lnTo>
                    <a:pt x="3926" y="3413"/>
                  </a:lnTo>
                  <a:lnTo>
                    <a:pt x="3926" y="3385"/>
                  </a:lnTo>
                  <a:lnTo>
                    <a:pt x="3942" y="3401"/>
                  </a:lnTo>
                  <a:lnTo>
                    <a:pt x="3921" y="3373"/>
                  </a:lnTo>
                  <a:lnTo>
                    <a:pt x="3871" y="3328"/>
                  </a:lnTo>
                  <a:lnTo>
                    <a:pt x="3871" y="3262"/>
                  </a:lnTo>
                  <a:lnTo>
                    <a:pt x="3850" y="3229"/>
                  </a:lnTo>
                  <a:lnTo>
                    <a:pt x="3834" y="3219"/>
                  </a:lnTo>
                  <a:lnTo>
                    <a:pt x="3829" y="3207"/>
                  </a:lnTo>
                  <a:lnTo>
                    <a:pt x="3841" y="3174"/>
                  </a:lnTo>
                  <a:lnTo>
                    <a:pt x="3850" y="3118"/>
                  </a:lnTo>
                  <a:lnTo>
                    <a:pt x="3841" y="3085"/>
                  </a:lnTo>
                  <a:lnTo>
                    <a:pt x="3841" y="3068"/>
                  </a:lnTo>
                  <a:lnTo>
                    <a:pt x="3829" y="3047"/>
                  </a:lnTo>
                  <a:lnTo>
                    <a:pt x="3829" y="3014"/>
                  </a:lnTo>
                  <a:lnTo>
                    <a:pt x="3817" y="2990"/>
                  </a:lnTo>
                  <a:lnTo>
                    <a:pt x="3829" y="2952"/>
                  </a:lnTo>
                  <a:lnTo>
                    <a:pt x="3841" y="2952"/>
                  </a:lnTo>
                  <a:lnTo>
                    <a:pt x="3841" y="2940"/>
                  </a:lnTo>
                  <a:lnTo>
                    <a:pt x="3834" y="2940"/>
                  </a:lnTo>
                  <a:lnTo>
                    <a:pt x="3850" y="2919"/>
                  </a:lnTo>
                  <a:lnTo>
                    <a:pt x="3850" y="2813"/>
                  </a:lnTo>
                  <a:lnTo>
                    <a:pt x="3855" y="2792"/>
                  </a:lnTo>
                  <a:lnTo>
                    <a:pt x="3855" y="2759"/>
                  </a:lnTo>
                  <a:lnTo>
                    <a:pt x="3867" y="2759"/>
                  </a:lnTo>
                  <a:lnTo>
                    <a:pt x="3855" y="2697"/>
                  </a:lnTo>
                  <a:lnTo>
                    <a:pt x="3888" y="2692"/>
                  </a:lnTo>
                  <a:lnTo>
                    <a:pt x="3905" y="2702"/>
                  </a:lnTo>
                  <a:lnTo>
                    <a:pt x="3909" y="2697"/>
                  </a:lnTo>
                  <a:lnTo>
                    <a:pt x="3855" y="2692"/>
                  </a:lnTo>
                  <a:lnTo>
                    <a:pt x="3850" y="2659"/>
                  </a:lnTo>
                  <a:lnTo>
                    <a:pt x="3855" y="2681"/>
                  </a:lnTo>
                  <a:lnTo>
                    <a:pt x="3867" y="2664"/>
                  </a:lnTo>
                  <a:lnTo>
                    <a:pt x="3855" y="2659"/>
                  </a:lnTo>
                  <a:lnTo>
                    <a:pt x="3871" y="2648"/>
                  </a:lnTo>
                  <a:lnTo>
                    <a:pt x="3850" y="2648"/>
                  </a:lnTo>
                  <a:lnTo>
                    <a:pt x="3850" y="2643"/>
                  </a:lnTo>
                  <a:lnTo>
                    <a:pt x="3871" y="2626"/>
                  </a:lnTo>
                  <a:lnTo>
                    <a:pt x="3850" y="2619"/>
                  </a:lnTo>
                  <a:lnTo>
                    <a:pt x="3841" y="2636"/>
                  </a:lnTo>
                  <a:lnTo>
                    <a:pt x="3829" y="2565"/>
                  </a:lnTo>
                  <a:lnTo>
                    <a:pt x="3812" y="2532"/>
                  </a:lnTo>
                  <a:lnTo>
                    <a:pt x="3803" y="2499"/>
                  </a:lnTo>
                  <a:lnTo>
                    <a:pt x="3855" y="2515"/>
                  </a:lnTo>
                  <a:lnTo>
                    <a:pt x="3905" y="2525"/>
                  </a:lnTo>
                  <a:lnTo>
                    <a:pt x="3921" y="2515"/>
                  </a:lnTo>
                  <a:lnTo>
                    <a:pt x="3938" y="2525"/>
                  </a:lnTo>
                  <a:lnTo>
                    <a:pt x="3942" y="2515"/>
                  </a:lnTo>
                  <a:lnTo>
                    <a:pt x="3942" y="2525"/>
                  </a:lnTo>
                  <a:lnTo>
                    <a:pt x="3947" y="2537"/>
                  </a:lnTo>
                  <a:lnTo>
                    <a:pt x="3942" y="2553"/>
                  </a:lnTo>
                  <a:lnTo>
                    <a:pt x="3938" y="2548"/>
                  </a:lnTo>
                  <a:lnTo>
                    <a:pt x="3909" y="2591"/>
                  </a:lnTo>
                  <a:lnTo>
                    <a:pt x="3938" y="2586"/>
                  </a:lnTo>
                  <a:lnTo>
                    <a:pt x="3921" y="2586"/>
                  </a:lnTo>
                  <a:lnTo>
                    <a:pt x="3959" y="2537"/>
                  </a:lnTo>
                  <a:lnTo>
                    <a:pt x="3964" y="2553"/>
                  </a:lnTo>
                  <a:lnTo>
                    <a:pt x="3947" y="2565"/>
                  </a:lnTo>
                  <a:lnTo>
                    <a:pt x="3947" y="2570"/>
                  </a:lnTo>
                  <a:lnTo>
                    <a:pt x="3947" y="2565"/>
                  </a:lnTo>
                  <a:lnTo>
                    <a:pt x="3947" y="2581"/>
                  </a:lnTo>
                  <a:lnTo>
                    <a:pt x="3959" y="2570"/>
                  </a:lnTo>
                  <a:lnTo>
                    <a:pt x="3959" y="2603"/>
                  </a:lnTo>
                  <a:lnTo>
                    <a:pt x="3947" y="2591"/>
                  </a:lnTo>
                  <a:lnTo>
                    <a:pt x="3947" y="2586"/>
                  </a:lnTo>
                  <a:lnTo>
                    <a:pt x="3942" y="2610"/>
                  </a:lnTo>
                  <a:lnTo>
                    <a:pt x="3942" y="2586"/>
                  </a:lnTo>
                  <a:lnTo>
                    <a:pt x="3921" y="2610"/>
                  </a:lnTo>
                  <a:lnTo>
                    <a:pt x="3938" y="2619"/>
                  </a:lnTo>
                  <a:lnTo>
                    <a:pt x="3938" y="2610"/>
                  </a:lnTo>
                  <a:lnTo>
                    <a:pt x="3942" y="2619"/>
                  </a:lnTo>
                  <a:lnTo>
                    <a:pt x="3975" y="2586"/>
                  </a:lnTo>
                  <a:lnTo>
                    <a:pt x="3964" y="2565"/>
                  </a:lnTo>
                  <a:lnTo>
                    <a:pt x="3975" y="2537"/>
                  </a:lnTo>
                  <a:lnTo>
                    <a:pt x="3975" y="2532"/>
                  </a:lnTo>
                  <a:lnTo>
                    <a:pt x="3964" y="2515"/>
                  </a:lnTo>
                  <a:lnTo>
                    <a:pt x="3964" y="2525"/>
                  </a:lnTo>
                  <a:lnTo>
                    <a:pt x="3959" y="2515"/>
                  </a:lnTo>
                  <a:lnTo>
                    <a:pt x="3964" y="2508"/>
                  </a:lnTo>
                  <a:lnTo>
                    <a:pt x="3942" y="2492"/>
                  </a:lnTo>
                  <a:lnTo>
                    <a:pt x="3959" y="2492"/>
                  </a:lnTo>
                  <a:lnTo>
                    <a:pt x="3964" y="2475"/>
                  </a:lnTo>
                  <a:lnTo>
                    <a:pt x="3959" y="2470"/>
                  </a:lnTo>
                  <a:lnTo>
                    <a:pt x="3947" y="2459"/>
                  </a:lnTo>
                  <a:lnTo>
                    <a:pt x="3942" y="2454"/>
                  </a:lnTo>
                  <a:lnTo>
                    <a:pt x="3942" y="2442"/>
                  </a:lnTo>
                  <a:lnTo>
                    <a:pt x="3942" y="2442"/>
                  </a:lnTo>
                  <a:lnTo>
                    <a:pt x="3942" y="2442"/>
                  </a:lnTo>
                  <a:close/>
                  <a:moveTo>
                    <a:pt x="3938" y="2470"/>
                  </a:moveTo>
                  <a:lnTo>
                    <a:pt x="3942" y="2475"/>
                  </a:lnTo>
                  <a:lnTo>
                    <a:pt x="3926" y="2475"/>
                  </a:lnTo>
                  <a:lnTo>
                    <a:pt x="3938" y="2470"/>
                  </a:lnTo>
                  <a:lnTo>
                    <a:pt x="3938" y="2470"/>
                  </a:lnTo>
                  <a:lnTo>
                    <a:pt x="3938" y="2470"/>
                  </a:lnTo>
                  <a:close/>
                  <a:moveTo>
                    <a:pt x="3921" y="2475"/>
                  </a:moveTo>
                  <a:lnTo>
                    <a:pt x="3926" y="2492"/>
                  </a:lnTo>
                  <a:lnTo>
                    <a:pt x="3909" y="2492"/>
                  </a:lnTo>
                  <a:lnTo>
                    <a:pt x="3909" y="2475"/>
                  </a:lnTo>
                  <a:lnTo>
                    <a:pt x="3921" y="2475"/>
                  </a:lnTo>
                  <a:lnTo>
                    <a:pt x="3921" y="2475"/>
                  </a:lnTo>
                  <a:lnTo>
                    <a:pt x="3921" y="2475"/>
                  </a:lnTo>
                  <a:close/>
                  <a:moveTo>
                    <a:pt x="3938" y="2482"/>
                  </a:moveTo>
                  <a:lnTo>
                    <a:pt x="3938" y="2492"/>
                  </a:lnTo>
                  <a:lnTo>
                    <a:pt x="3926" y="2492"/>
                  </a:lnTo>
                  <a:lnTo>
                    <a:pt x="3938" y="2482"/>
                  </a:lnTo>
                  <a:lnTo>
                    <a:pt x="3938" y="2482"/>
                  </a:lnTo>
                  <a:lnTo>
                    <a:pt x="3938" y="2482"/>
                  </a:lnTo>
                  <a:close/>
                  <a:moveTo>
                    <a:pt x="3959" y="2499"/>
                  </a:moveTo>
                  <a:lnTo>
                    <a:pt x="3959" y="2508"/>
                  </a:lnTo>
                  <a:lnTo>
                    <a:pt x="3947" y="2515"/>
                  </a:lnTo>
                  <a:lnTo>
                    <a:pt x="3975" y="2532"/>
                  </a:lnTo>
                  <a:lnTo>
                    <a:pt x="3964" y="2537"/>
                  </a:lnTo>
                  <a:lnTo>
                    <a:pt x="3942" y="2515"/>
                  </a:lnTo>
                  <a:lnTo>
                    <a:pt x="3959" y="2499"/>
                  </a:lnTo>
                  <a:lnTo>
                    <a:pt x="3959" y="2499"/>
                  </a:lnTo>
                  <a:lnTo>
                    <a:pt x="3959" y="2499"/>
                  </a:lnTo>
                  <a:close/>
                  <a:moveTo>
                    <a:pt x="3959" y="2565"/>
                  </a:moveTo>
                  <a:lnTo>
                    <a:pt x="3959" y="2570"/>
                  </a:lnTo>
                  <a:lnTo>
                    <a:pt x="3959" y="2565"/>
                  </a:lnTo>
                  <a:lnTo>
                    <a:pt x="3959" y="2565"/>
                  </a:lnTo>
                  <a:lnTo>
                    <a:pt x="3959" y="2565"/>
                  </a:lnTo>
                  <a:close/>
                  <a:moveTo>
                    <a:pt x="3964" y="2586"/>
                  </a:moveTo>
                  <a:lnTo>
                    <a:pt x="3959" y="2591"/>
                  </a:lnTo>
                  <a:lnTo>
                    <a:pt x="3964" y="2581"/>
                  </a:lnTo>
                  <a:lnTo>
                    <a:pt x="3964" y="2586"/>
                  </a:lnTo>
                  <a:lnTo>
                    <a:pt x="3964" y="2586"/>
                  </a:lnTo>
                  <a:lnTo>
                    <a:pt x="3964" y="2586"/>
                  </a:lnTo>
                  <a:close/>
                  <a:moveTo>
                    <a:pt x="3938" y="2603"/>
                  </a:moveTo>
                  <a:lnTo>
                    <a:pt x="3938" y="2610"/>
                  </a:lnTo>
                  <a:lnTo>
                    <a:pt x="3938" y="2603"/>
                  </a:lnTo>
                  <a:lnTo>
                    <a:pt x="3938" y="2603"/>
                  </a:lnTo>
                  <a:lnTo>
                    <a:pt x="3938" y="2603"/>
                  </a:lnTo>
                  <a:close/>
                  <a:moveTo>
                    <a:pt x="7771" y="2858"/>
                  </a:moveTo>
                  <a:lnTo>
                    <a:pt x="7771" y="2863"/>
                  </a:lnTo>
                  <a:lnTo>
                    <a:pt x="7760" y="2870"/>
                  </a:lnTo>
                  <a:lnTo>
                    <a:pt x="7755" y="2870"/>
                  </a:lnTo>
                  <a:lnTo>
                    <a:pt x="7755" y="2858"/>
                  </a:lnTo>
                  <a:lnTo>
                    <a:pt x="7771" y="2858"/>
                  </a:lnTo>
                  <a:lnTo>
                    <a:pt x="7771" y="2858"/>
                  </a:lnTo>
                  <a:lnTo>
                    <a:pt x="7771" y="2858"/>
                  </a:lnTo>
                  <a:close/>
                  <a:moveTo>
                    <a:pt x="7738" y="2870"/>
                  </a:moveTo>
                  <a:lnTo>
                    <a:pt x="7738" y="2879"/>
                  </a:lnTo>
                  <a:lnTo>
                    <a:pt x="7734" y="2879"/>
                  </a:lnTo>
                  <a:lnTo>
                    <a:pt x="7738" y="2870"/>
                  </a:lnTo>
                  <a:lnTo>
                    <a:pt x="7738" y="2870"/>
                  </a:lnTo>
                  <a:lnTo>
                    <a:pt x="7738" y="2870"/>
                  </a:lnTo>
                  <a:close/>
                  <a:moveTo>
                    <a:pt x="7734" y="2886"/>
                  </a:moveTo>
                  <a:lnTo>
                    <a:pt x="7722" y="2886"/>
                  </a:lnTo>
                  <a:lnTo>
                    <a:pt x="7722" y="2879"/>
                  </a:lnTo>
                  <a:lnTo>
                    <a:pt x="7734" y="2886"/>
                  </a:lnTo>
                  <a:lnTo>
                    <a:pt x="7734" y="2886"/>
                  </a:lnTo>
                  <a:lnTo>
                    <a:pt x="7734" y="2886"/>
                  </a:lnTo>
                  <a:close/>
                  <a:moveTo>
                    <a:pt x="7561" y="3101"/>
                  </a:moveTo>
                  <a:lnTo>
                    <a:pt x="7554" y="3108"/>
                  </a:lnTo>
                  <a:lnTo>
                    <a:pt x="7545" y="3118"/>
                  </a:lnTo>
                  <a:lnTo>
                    <a:pt x="7561" y="3101"/>
                  </a:lnTo>
                  <a:lnTo>
                    <a:pt x="7561" y="3101"/>
                  </a:lnTo>
                  <a:lnTo>
                    <a:pt x="7561" y="3101"/>
                  </a:lnTo>
                  <a:close/>
                  <a:moveTo>
                    <a:pt x="7608" y="3118"/>
                  </a:moveTo>
                  <a:lnTo>
                    <a:pt x="7608" y="3125"/>
                  </a:lnTo>
                  <a:lnTo>
                    <a:pt x="7582" y="3125"/>
                  </a:lnTo>
                  <a:lnTo>
                    <a:pt x="7608" y="3118"/>
                  </a:lnTo>
                  <a:lnTo>
                    <a:pt x="7608" y="3118"/>
                  </a:lnTo>
                  <a:lnTo>
                    <a:pt x="7608" y="3118"/>
                  </a:lnTo>
                  <a:close/>
                  <a:moveTo>
                    <a:pt x="7637" y="3125"/>
                  </a:moveTo>
                  <a:lnTo>
                    <a:pt x="7646" y="3134"/>
                  </a:lnTo>
                  <a:lnTo>
                    <a:pt x="7630" y="3134"/>
                  </a:lnTo>
                  <a:lnTo>
                    <a:pt x="7637" y="3125"/>
                  </a:lnTo>
                  <a:lnTo>
                    <a:pt x="7637" y="3125"/>
                  </a:lnTo>
                  <a:lnTo>
                    <a:pt x="7637" y="3125"/>
                  </a:lnTo>
                  <a:close/>
                  <a:moveTo>
                    <a:pt x="7448" y="3174"/>
                  </a:moveTo>
                  <a:lnTo>
                    <a:pt x="7382" y="3191"/>
                  </a:lnTo>
                  <a:lnTo>
                    <a:pt x="7393" y="3191"/>
                  </a:lnTo>
                  <a:lnTo>
                    <a:pt x="7365" y="3191"/>
                  </a:lnTo>
                  <a:lnTo>
                    <a:pt x="7377" y="3191"/>
                  </a:lnTo>
                  <a:lnTo>
                    <a:pt x="7360" y="3191"/>
                  </a:lnTo>
                  <a:lnTo>
                    <a:pt x="7365" y="3174"/>
                  </a:lnTo>
                  <a:lnTo>
                    <a:pt x="7393" y="3163"/>
                  </a:lnTo>
                  <a:lnTo>
                    <a:pt x="7464" y="3158"/>
                  </a:lnTo>
                  <a:lnTo>
                    <a:pt x="7486" y="3141"/>
                  </a:lnTo>
                  <a:lnTo>
                    <a:pt x="7464" y="3163"/>
                  </a:lnTo>
                  <a:lnTo>
                    <a:pt x="7516" y="3151"/>
                  </a:lnTo>
                  <a:lnTo>
                    <a:pt x="7448" y="3174"/>
                  </a:lnTo>
                  <a:lnTo>
                    <a:pt x="7448" y="3174"/>
                  </a:lnTo>
                  <a:lnTo>
                    <a:pt x="7448" y="3174"/>
                  </a:lnTo>
                  <a:close/>
                  <a:moveTo>
                    <a:pt x="7360" y="3191"/>
                  </a:moveTo>
                  <a:lnTo>
                    <a:pt x="7344" y="3196"/>
                  </a:lnTo>
                  <a:lnTo>
                    <a:pt x="7356" y="3191"/>
                  </a:lnTo>
                  <a:lnTo>
                    <a:pt x="7360" y="3191"/>
                  </a:lnTo>
                  <a:lnTo>
                    <a:pt x="7360" y="3191"/>
                  </a:lnTo>
                  <a:lnTo>
                    <a:pt x="7360" y="3191"/>
                  </a:lnTo>
                  <a:close/>
                  <a:moveTo>
                    <a:pt x="7339" y="3290"/>
                  </a:moveTo>
                  <a:lnTo>
                    <a:pt x="7327" y="3290"/>
                  </a:lnTo>
                  <a:lnTo>
                    <a:pt x="7344" y="3285"/>
                  </a:lnTo>
                  <a:lnTo>
                    <a:pt x="7339" y="3290"/>
                  </a:lnTo>
                  <a:lnTo>
                    <a:pt x="7339" y="3290"/>
                  </a:lnTo>
                  <a:lnTo>
                    <a:pt x="7339" y="3290"/>
                  </a:lnTo>
                  <a:close/>
                  <a:moveTo>
                    <a:pt x="7275" y="3401"/>
                  </a:moveTo>
                  <a:lnTo>
                    <a:pt x="7268" y="3418"/>
                  </a:lnTo>
                  <a:lnTo>
                    <a:pt x="7285" y="3385"/>
                  </a:lnTo>
                  <a:lnTo>
                    <a:pt x="7275" y="3401"/>
                  </a:lnTo>
                  <a:lnTo>
                    <a:pt x="7275" y="3401"/>
                  </a:lnTo>
                  <a:lnTo>
                    <a:pt x="7275" y="3401"/>
                  </a:lnTo>
                  <a:close/>
                  <a:moveTo>
                    <a:pt x="7252" y="3640"/>
                  </a:moveTo>
                  <a:lnTo>
                    <a:pt x="7247" y="3640"/>
                  </a:lnTo>
                  <a:lnTo>
                    <a:pt x="7259" y="3633"/>
                  </a:lnTo>
                  <a:lnTo>
                    <a:pt x="7259" y="3595"/>
                  </a:lnTo>
                  <a:lnTo>
                    <a:pt x="7259" y="3607"/>
                  </a:lnTo>
                  <a:lnTo>
                    <a:pt x="7252" y="3640"/>
                  </a:lnTo>
                  <a:lnTo>
                    <a:pt x="7252" y="3640"/>
                  </a:lnTo>
                  <a:lnTo>
                    <a:pt x="7252" y="3640"/>
                  </a:lnTo>
                  <a:close/>
                  <a:moveTo>
                    <a:pt x="4143" y="3727"/>
                  </a:moveTo>
                  <a:lnTo>
                    <a:pt x="4174" y="3734"/>
                  </a:lnTo>
                  <a:lnTo>
                    <a:pt x="4153" y="3744"/>
                  </a:lnTo>
                  <a:lnTo>
                    <a:pt x="4143" y="3734"/>
                  </a:lnTo>
                  <a:lnTo>
                    <a:pt x="4143" y="3727"/>
                  </a:lnTo>
                  <a:lnTo>
                    <a:pt x="4143" y="3727"/>
                  </a:lnTo>
                  <a:lnTo>
                    <a:pt x="4143" y="3727"/>
                  </a:lnTo>
                  <a:close/>
                  <a:moveTo>
                    <a:pt x="4136" y="3734"/>
                  </a:moveTo>
                  <a:lnTo>
                    <a:pt x="4127" y="3744"/>
                  </a:lnTo>
                  <a:lnTo>
                    <a:pt x="4122" y="3734"/>
                  </a:lnTo>
                  <a:lnTo>
                    <a:pt x="4136" y="3734"/>
                  </a:lnTo>
                  <a:lnTo>
                    <a:pt x="4136" y="3734"/>
                  </a:lnTo>
                  <a:lnTo>
                    <a:pt x="4136" y="3734"/>
                  </a:lnTo>
                  <a:close/>
                  <a:moveTo>
                    <a:pt x="4245" y="3784"/>
                  </a:moveTo>
                  <a:lnTo>
                    <a:pt x="4261" y="3788"/>
                  </a:lnTo>
                  <a:lnTo>
                    <a:pt x="4245" y="3788"/>
                  </a:lnTo>
                  <a:lnTo>
                    <a:pt x="4235" y="3772"/>
                  </a:lnTo>
                  <a:lnTo>
                    <a:pt x="4245" y="3784"/>
                  </a:lnTo>
                  <a:lnTo>
                    <a:pt x="4245" y="3784"/>
                  </a:lnTo>
                  <a:lnTo>
                    <a:pt x="4245" y="3784"/>
                  </a:lnTo>
                  <a:close/>
                  <a:moveTo>
                    <a:pt x="4174" y="3800"/>
                  </a:moveTo>
                  <a:lnTo>
                    <a:pt x="4164" y="3800"/>
                  </a:lnTo>
                  <a:lnTo>
                    <a:pt x="4174" y="3800"/>
                  </a:lnTo>
                  <a:lnTo>
                    <a:pt x="4174" y="3800"/>
                  </a:lnTo>
                  <a:lnTo>
                    <a:pt x="4174" y="3800"/>
                  </a:lnTo>
                  <a:close/>
                  <a:moveTo>
                    <a:pt x="4235" y="3817"/>
                  </a:moveTo>
                  <a:lnTo>
                    <a:pt x="4249" y="3829"/>
                  </a:lnTo>
                  <a:lnTo>
                    <a:pt x="4245" y="3829"/>
                  </a:lnTo>
                  <a:lnTo>
                    <a:pt x="4235" y="3817"/>
                  </a:lnTo>
                  <a:lnTo>
                    <a:pt x="4235" y="3817"/>
                  </a:lnTo>
                  <a:lnTo>
                    <a:pt x="4235" y="3817"/>
                  </a:lnTo>
                  <a:close/>
                  <a:moveTo>
                    <a:pt x="6843" y="3982"/>
                  </a:moveTo>
                  <a:lnTo>
                    <a:pt x="6836" y="3994"/>
                  </a:lnTo>
                  <a:lnTo>
                    <a:pt x="6836" y="3989"/>
                  </a:lnTo>
                  <a:lnTo>
                    <a:pt x="6843" y="3982"/>
                  </a:lnTo>
                  <a:lnTo>
                    <a:pt x="6843" y="3982"/>
                  </a:lnTo>
                  <a:lnTo>
                    <a:pt x="6843" y="3982"/>
                  </a:lnTo>
                  <a:close/>
                  <a:moveTo>
                    <a:pt x="6297" y="4044"/>
                  </a:moveTo>
                  <a:lnTo>
                    <a:pt x="6286" y="4048"/>
                  </a:lnTo>
                  <a:lnTo>
                    <a:pt x="6297" y="4044"/>
                  </a:lnTo>
                  <a:lnTo>
                    <a:pt x="6297" y="4044"/>
                  </a:lnTo>
                  <a:lnTo>
                    <a:pt x="6297" y="4044"/>
                  </a:lnTo>
                  <a:close/>
                  <a:moveTo>
                    <a:pt x="6319" y="4077"/>
                  </a:moveTo>
                  <a:lnTo>
                    <a:pt x="6319" y="4048"/>
                  </a:lnTo>
                  <a:lnTo>
                    <a:pt x="6328" y="4060"/>
                  </a:lnTo>
                  <a:lnTo>
                    <a:pt x="6319" y="4077"/>
                  </a:lnTo>
                  <a:lnTo>
                    <a:pt x="6319" y="4077"/>
                  </a:lnTo>
                  <a:lnTo>
                    <a:pt x="6319" y="4077"/>
                  </a:lnTo>
                  <a:close/>
                  <a:moveTo>
                    <a:pt x="6118" y="4093"/>
                  </a:moveTo>
                  <a:lnTo>
                    <a:pt x="6113" y="4100"/>
                  </a:lnTo>
                  <a:lnTo>
                    <a:pt x="6097" y="4093"/>
                  </a:lnTo>
                  <a:lnTo>
                    <a:pt x="6101" y="4081"/>
                  </a:lnTo>
                  <a:lnTo>
                    <a:pt x="6118" y="4093"/>
                  </a:lnTo>
                  <a:lnTo>
                    <a:pt x="6118" y="4093"/>
                  </a:lnTo>
                  <a:lnTo>
                    <a:pt x="6118" y="4093"/>
                  </a:lnTo>
                  <a:close/>
                  <a:moveTo>
                    <a:pt x="5903" y="4117"/>
                  </a:moveTo>
                  <a:lnTo>
                    <a:pt x="5882" y="4122"/>
                  </a:lnTo>
                  <a:lnTo>
                    <a:pt x="5903" y="4105"/>
                  </a:lnTo>
                  <a:lnTo>
                    <a:pt x="5903" y="4117"/>
                  </a:lnTo>
                  <a:lnTo>
                    <a:pt x="5903" y="4117"/>
                  </a:lnTo>
                  <a:lnTo>
                    <a:pt x="5903" y="4117"/>
                  </a:lnTo>
                  <a:close/>
                  <a:moveTo>
                    <a:pt x="6897" y="4188"/>
                  </a:moveTo>
                  <a:lnTo>
                    <a:pt x="6897" y="4192"/>
                  </a:lnTo>
                  <a:lnTo>
                    <a:pt x="6890" y="4176"/>
                  </a:lnTo>
                  <a:lnTo>
                    <a:pt x="6897" y="4159"/>
                  </a:lnTo>
                  <a:lnTo>
                    <a:pt x="6897" y="4188"/>
                  </a:lnTo>
                  <a:lnTo>
                    <a:pt x="6897" y="4188"/>
                  </a:lnTo>
                  <a:lnTo>
                    <a:pt x="6897" y="4188"/>
                  </a:lnTo>
                  <a:close/>
                  <a:moveTo>
                    <a:pt x="5761" y="4192"/>
                  </a:moveTo>
                  <a:lnTo>
                    <a:pt x="5794" y="4176"/>
                  </a:lnTo>
                  <a:lnTo>
                    <a:pt x="5761" y="4204"/>
                  </a:lnTo>
                  <a:lnTo>
                    <a:pt x="5761" y="4192"/>
                  </a:lnTo>
                  <a:lnTo>
                    <a:pt x="5761" y="4192"/>
                  </a:lnTo>
                  <a:lnTo>
                    <a:pt x="5761" y="4192"/>
                  </a:lnTo>
                  <a:close/>
                  <a:moveTo>
                    <a:pt x="5735" y="4249"/>
                  </a:moveTo>
                  <a:lnTo>
                    <a:pt x="5723" y="4270"/>
                  </a:lnTo>
                  <a:lnTo>
                    <a:pt x="5723" y="4249"/>
                  </a:lnTo>
                  <a:lnTo>
                    <a:pt x="5747" y="4225"/>
                  </a:lnTo>
                  <a:lnTo>
                    <a:pt x="5735" y="4249"/>
                  </a:lnTo>
                  <a:lnTo>
                    <a:pt x="5735" y="4249"/>
                  </a:lnTo>
                  <a:lnTo>
                    <a:pt x="5735" y="4249"/>
                  </a:lnTo>
                  <a:close/>
                  <a:moveTo>
                    <a:pt x="5723" y="4315"/>
                  </a:moveTo>
                  <a:lnTo>
                    <a:pt x="5723" y="4270"/>
                  </a:lnTo>
                  <a:lnTo>
                    <a:pt x="5740" y="4360"/>
                  </a:lnTo>
                  <a:lnTo>
                    <a:pt x="5723" y="4315"/>
                  </a:lnTo>
                  <a:lnTo>
                    <a:pt x="5723" y="4315"/>
                  </a:lnTo>
                  <a:lnTo>
                    <a:pt x="5723" y="4315"/>
                  </a:lnTo>
                  <a:close/>
                  <a:moveTo>
                    <a:pt x="6912" y="4431"/>
                  </a:moveTo>
                  <a:lnTo>
                    <a:pt x="6923" y="4414"/>
                  </a:lnTo>
                  <a:lnTo>
                    <a:pt x="6897" y="4448"/>
                  </a:lnTo>
                  <a:lnTo>
                    <a:pt x="6912" y="4431"/>
                  </a:lnTo>
                  <a:lnTo>
                    <a:pt x="6912" y="4431"/>
                  </a:lnTo>
                  <a:lnTo>
                    <a:pt x="6912" y="4431"/>
                  </a:lnTo>
                  <a:close/>
                  <a:moveTo>
                    <a:pt x="6836" y="4471"/>
                  </a:moveTo>
                  <a:lnTo>
                    <a:pt x="6827" y="4481"/>
                  </a:lnTo>
                  <a:lnTo>
                    <a:pt x="6836" y="4471"/>
                  </a:lnTo>
                  <a:lnTo>
                    <a:pt x="6836" y="4471"/>
                  </a:lnTo>
                  <a:lnTo>
                    <a:pt x="6836" y="4471"/>
                  </a:lnTo>
                  <a:close/>
                  <a:moveTo>
                    <a:pt x="1368" y="4686"/>
                  </a:moveTo>
                  <a:lnTo>
                    <a:pt x="1351" y="4674"/>
                  </a:lnTo>
                  <a:lnTo>
                    <a:pt x="1351" y="4665"/>
                  </a:lnTo>
                  <a:lnTo>
                    <a:pt x="1356" y="4653"/>
                  </a:lnTo>
                  <a:lnTo>
                    <a:pt x="1382" y="4653"/>
                  </a:lnTo>
                  <a:lnTo>
                    <a:pt x="1372" y="4674"/>
                  </a:lnTo>
                  <a:lnTo>
                    <a:pt x="1368" y="4686"/>
                  </a:lnTo>
                  <a:lnTo>
                    <a:pt x="1368" y="4686"/>
                  </a:lnTo>
                  <a:lnTo>
                    <a:pt x="1368" y="4686"/>
                  </a:lnTo>
                  <a:close/>
                  <a:moveTo>
                    <a:pt x="1318" y="4686"/>
                  </a:moveTo>
                  <a:lnTo>
                    <a:pt x="1313" y="4674"/>
                  </a:lnTo>
                  <a:lnTo>
                    <a:pt x="1330" y="4670"/>
                  </a:lnTo>
                  <a:lnTo>
                    <a:pt x="1318" y="4686"/>
                  </a:lnTo>
                  <a:lnTo>
                    <a:pt x="1318" y="4686"/>
                  </a:lnTo>
                  <a:lnTo>
                    <a:pt x="1318" y="4686"/>
                  </a:lnTo>
                  <a:close/>
                  <a:moveTo>
                    <a:pt x="1481" y="4726"/>
                  </a:moveTo>
                  <a:lnTo>
                    <a:pt x="1464" y="4726"/>
                  </a:lnTo>
                  <a:lnTo>
                    <a:pt x="1448" y="4703"/>
                  </a:lnTo>
                  <a:lnTo>
                    <a:pt x="1474" y="4693"/>
                  </a:lnTo>
                  <a:lnTo>
                    <a:pt x="1495" y="4726"/>
                  </a:lnTo>
                  <a:lnTo>
                    <a:pt x="1481" y="4726"/>
                  </a:lnTo>
                  <a:lnTo>
                    <a:pt x="1481" y="4726"/>
                  </a:lnTo>
                  <a:lnTo>
                    <a:pt x="1481" y="4726"/>
                  </a:lnTo>
                  <a:close/>
                  <a:moveTo>
                    <a:pt x="1549" y="4743"/>
                  </a:moveTo>
                  <a:lnTo>
                    <a:pt x="1519" y="4743"/>
                  </a:lnTo>
                  <a:lnTo>
                    <a:pt x="1528" y="4731"/>
                  </a:lnTo>
                  <a:lnTo>
                    <a:pt x="1557" y="4731"/>
                  </a:lnTo>
                  <a:lnTo>
                    <a:pt x="1549" y="4743"/>
                  </a:lnTo>
                  <a:lnTo>
                    <a:pt x="1549" y="4743"/>
                  </a:lnTo>
                  <a:lnTo>
                    <a:pt x="1549" y="4743"/>
                  </a:lnTo>
                  <a:close/>
                  <a:moveTo>
                    <a:pt x="1583" y="4781"/>
                  </a:moveTo>
                  <a:lnTo>
                    <a:pt x="1571" y="4764"/>
                  </a:lnTo>
                  <a:lnTo>
                    <a:pt x="1566" y="4759"/>
                  </a:lnTo>
                  <a:lnTo>
                    <a:pt x="1566" y="4743"/>
                  </a:lnTo>
                  <a:lnTo>
                    <a:pt x="1583" y="4759"/>
                  </a:lnTo>
                  <a:lnTo>
                    <a:pt x="1599" y="4748"/>
                  </a:lnTo>
                  <a:lnTo>
                    <a:pt x="1611" y="4764"/>
                  </a:lnTo>
                  <a:lnTo>
                    <a:pt x="1604" y="4776"/>
                  </a:lnTo>
                  <a:lnTo>
                    <a:pt x="1583" y="4781"/>
                  </a:lnTo>
                  <a:lnTo>
                    <a:pt x="1583" y="4781"/>
                  </a:lnTo>
                  <a:lnTo>
                    <a:pt x="1583" y="4781"/>
                  </a:lnTo>
                  <a:close/>
                  <a:moveTo>
                    <a:pt x="1549" y="4764"/>
                  </a:moveTo>
                  <a:lnTo>
                    <a:pt x="1533" y="4759"/>
                  </a:lnTo>
                  <a:lnTo>
                    <a:pt x="1549" y="4759"/>
                  </a:lnTo>
                  <a:lnTo>
                    <a:pt x="1549" y="4764"/>
                  </a:lnTo>
                  <a:lnTo>
                    <a:pt x="1549" y="4764"/>
                  </a:lnTo>
                  <a:lnTo>
                    <a:pt x="1549" y="4764"/>
                  </a:lnTo>
                  <a:close/>
                  <a:moveTo>
                    <a:pt x="1566" y="4785"/>
                  </a:moveTo>
                  <a:lnTo>
                    <a:pt x="1571" y="4781"/>
                  </a:lnTo>
                  <a:lnTo>
                    <a:pt x="1566" y="4785"/>
                  </a:lnTo>
                  <a:lnTo>
                    <a:pt x="1566" y="4785"/>
                  </a:lnTo>
                  <a:lnTo>
                    <a:pt x="1566" y="4785"/>
                  </a:lnTo>
                  <a:close/>
                  <a:moveTo>
                    <a:pt x="1620" y="4802"/>
                  </a:moveTo>
                  <a:lnTo>
                    <a:pt x="1670" y="4818"/>
                  </a:lnTo>
                  <a:lnTo>
                    <a:pt x="1679" y="4854"/>
                  </a:lnTo>
                  <a:lnTo>
                    <a:pt x="1696" y="4859"/>
                  </a:lnTo>
                  <a:lnTo>
                    <a:pt x="1679" y="4875"/>
                  </a:lnTo>
                  <a:lnTo>
                    <a:pt x="1658" y="4875"/>
                  </a:lnTo>
                  <a:lnTo>
                    <a:pt x="1642" y="4892"/>
                  </a:lnTo>
                  <a:lnTo>
                    <a:pt x="1637" y="4908"/>
                  </a:lnTo>
                  <a:lnTo>
                    <a:pt x="1620" y="4892"/>
                  </a:lnTo>
                  <a:lnTo>
                    <a:pt x="1620" y="4870"/>
                  </a:lnTo>
                  <a:lnTo>
                    <a:pt x="1604" y="4842"/>
                  </a:lnTo>
                  <a:lnTo>
                    <a:pt x="1620" y="4818"/>
                  </a:lnTo>
                  <a:lnTo>
                    <a:pt x="1620" y="4814"/>
                  </a:lnTo>
                  <a:lnTo>
                    <a:pt x="1620" y="4802"/>
                  </a:lnTo>
                  <a:lnTo>
                    <a:pt x="1620" y="4802"/>
                  </a:lnTo>
                  <a:lnTo>
                    <a:pt x="1620" y="480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5" name="Gruppieren 24">
            <a:extLst>
              <a:ext uri="{FF2B5EF4-FFF2-40B4-BE49-F238E27FC236}">
                <a16:creationId xmlns:a16="http://schemas.microsoft.com/office/drawing/2014/main" id="{71CCE88D-5BBA-449A-84EF-0B29E7C2F2E8}"/>
              </a:ext>
            </a:extLst>
          </p:cNvPr>
          <p:cNvGrpSpPr/>
          <p:nvPr/>
        </p:nvGrpSpPr>
        <p:grpSpPr bwMode="gray">
          <a:xfrm>
            <a:off x="1436669" y="980728"/>
            <a:ext cx="10478239" cy="2531642"/>
            <a:chOff x="1738441" y="692696"/>
            <a:chExt cx="10478239" cy="2531642"/>
          </a:xfrm>
          <a:pattFill prst="wdDnDiag">
            <a:fgClr>
              <a:schemeClr val="accent2"/>
            </a:fgClr>
            <a:bgClr>
              <a:schemeClr val="bg1"/>
            </a:bgClr>
          </a:pattFill>
        </p:grpSpPr>
        <p:sp>
          <p:nvSpPr>
            <p:cNvPr id="8217" name="Freeform 534">
              <a:extLst>
                <a:ext uri="{FF2B5EF4-FFF2-40B4-BE49-F238E27FC236}">
                  <a16:creationId xmlns:a16="http://schemas.microsoft.com/office/drawing/2014/main" id="{9FD33B0D-6F30-4F3B-A9FB-F24747AA1728}"/>
                </a:ext>
              </a:extLst>
            </p:cNvPr>
            <p:cNvSpPr>
              <a:spLocks noEditPoints="1"/>
            </p:cNvSpPr>
            <p:nvPr/>
          </p:nvSpPr>
          <p:spPr bwMode="gray">
            <a:xfrm>
              <a:off x="5824678" y="2735219"/>
              <a:ext cx="723716" cy="324844"/>
            </a:xfrm>
            <a:custGeom>
              <a:avLst/>
              <a:gdLst>
                <a:gd name="T0" fmla="*/ 1613 w 1758"/>
                <a:gd name="T1" fmla="*/ 0 h 789"/>
                <a:gd name="T2" fmla="*/ 1613 w 1758"/>
                <a:gd name="T3" fmla="*/ 28 h 789"/>
                <a:gd name="T4" fmla="*/ 1651 w 1758"/>
                <a:gd name="T5" fmla="*/ 28 h 789"/>
                <a:gd name="T6" fmla="*/ 1689 w 1758"/>
                <a:gd name="T7" fmla="*/ 28 h 789"/>
                <a:gd name="T8" fmla="*/ 1727 w 1758"/>
                <a:gd name="T9" fmla="*/ 16 h 789"/>
                <a:gd name="T10" fmla="*/ 1758 w 1758"/>
                <a:gd name="T11" fmla="*/ 49 h 789"/>
                <a:gd name="T12" fmla="*/ 1703 w 1758"/>
                <a:gd name="T13" fmla="*/ 99 h 789"/>
                <a:gd name="T14" fmla="*/ 1710 w 1758"/>
                <a:gd name="T15" fmla="*/ 144 h 789"/>
                <a:gd name="T16" fmla="*/ 1703 w 1758"/>
                <a:gd name="T17" fmla="*/ 165 h 789"/>
                <a:gd name="T18" fmla="*/ 1710 w 1758"/>
                <a:gd name="T19" fmla="*/ 182 h 789"/>
                <a:gd name="T20" fmla="*/ 1665 w 1758"/>
                <a:gd name="T21" fmla="*/ 215 h 789"/>
                <a:gd name="T22" fmla="*/ 1703 w 1758"/>
                <a:gd name="T23" fmla="*/ 272 h 789"/>
                <a:gd name="T24" fmla="*/ 1673 w 1758"/>
                <a:gd name="T25" fmla="*/ 321 h 789"/>
                <a:gd name="T26" fmla="*/ 1703 w 1758"/>
                <a:gd name="T27" fmla="*/ 342 h 789"/>
                <a:gd name="T28" fmla="*/ 1677 w 1758"/>
                <a:gd name="T29" fmla="*/ 359 h 789"/>
                <a:gd name="T30" fmla="*/ 1665 w 1758"/>
                <a:gd name="T31" fmla="*/ 387 h 789"/>
                <a:gd name="T32" fmla="*/ 1673 w 1758"/>
                <a:gd name="T33" fmla="*/ 420 h 789"/>
                <a:gd name="T34" fmla="*/ 1580 w 1758"/>
                <a:gd name="T35" fmla="*/ 432 h 789"/>
                <a:gd name="T36" fmla="*/ 1569 w 1758"/>
                <a:gd name="T37" fmla="*/ 404 h 789"/>
                <a:gd name="T38" fmla="*/ 1580 w 1758"/>
                <a:gd name="T39" fmla="*/ 321 h 789"/>
                <a:gd name="T40" fmla="*/ 1547 w 1758"/>
                <a:gd name="T41" fmla="*/ 321 h 789"/>
                <a:gd name="T42" fmla="*/ 1547 w 1758"/>
                <a:gd name="T43" fmla="*/ 305 h 789"/>
                <a:gd name="T44" fmla="*/ 1559 w 1758"/>
                <a:gd name="T45" fmla="*/ 276 h 789"/>
                <a:gd name="T46" fmla="*/ 1526 w 1758"/>
                <a:gd name="T47" fmla="*/ 293 h 789"/>
                <a:gd name="T48" fmla="*/ 1547 w 1758"/>
                <a:gd name="T49" fmla="*/ 222 h 789"/>
                <a:gd name="T50" fmla="*/ 1580 w 1758"/>
                <a:gd name="T51" fmla="*/ 127 h 789"/>
                <a:gd name="T52" fmla="*/ 1580 w 1758"/>
                <a:gd name="T53" fmla="*/ 127 h 789"/>
                <a:gd name="T54" fmla="*/ 1564 w 1758"/>
                <a:gd name="T55" fmla="*/ 33 h 789"/>
                <a:gd name="T56" fmla="*/ 1569 w 1758"/>
                <a:gd name="T57" fmla="*/ 16 h 789"/>
                <a:gd name="T58" fmla="*/ 0 w 1758"/>
                <a:gd name="T59" fmla="*/ 238 h 789"/>
                <a:gd name="T60" fmla="*/ 0 w 1758"/>
                <a:gd name="T61" fmla="*/ 231 h 789"/>
                <a:gd name="T62" fmla="*/ 0 w 1758"/>
                <a:gd name="T63" fmla="*/ 238 h 789"/>
                <a:gd name="T64" fmla="*/ 0 w 1758"/>
                <a:gd name="T65" fmla="*/ 238 h 789"/>
                <a:gd name="T66" fmla="*/ 269 w 1758"/>
                <a:gd name="T67" fmla="*/ 305 h 789"/>
                <a:gd name="T68" fmla="*/ 291 w 1758"/>
                <a:gd name="T69" fmla="*/ 293 h 789"/>
                <a:gd name="T70" fmla="*/ 286 w 1758"/>
                <a:gd name="T71" fmla="*/ 305 h 789"/>
                <a:gd name="T72" fmla="*/ 286 w 1758"/>
                <a:gd name="T73" fmla="*/ 305 h 789"/>
                <a:gd name="T74" fmla="*/ 194 w 1758"/>
                <a:gd name="T75" fmla="*/ 321 h 789"/>
                <a:gd name="T76" fmla="*/ 199 w 1758"/>
                <a:gd name="T77" fmla="*/ 309 h 789"/>
                <a:gd name="T78" fmla="*/ 203 w 1758"/>
                <a:gd name="T79" fmla="*/ 326 h 789"/>
                <a:gd name="T80" fmla="*/ 203 w 1758"/>
                <a:gd name="T81" fmla="*/ 326 h 789"/>
                <a:gd name="T82" fmla="*/ 383 w 1758"/>
                <a:gd name="T83" fmla="*/ 375 h 789"/>
                <a:gd name="T84" fmla="*/ 421 w 1758"/>
                <a:gd name="T85" fmla="*/ 364 h 789"/>
                <a:gd name="T86" fmla="*/ 409 w 1758"/>
                <a:gd name="T87" fmla="*/ 380 h 789"/>
                <a:gd name="T88" fmla="*/ 409 w 1758"/>
                <a:gd name="T89" fmla="*/ 380 h 789"/>
                <a:gd name="T90" fmla="*/ 421 w 1758"/>
                <a:gd name="T91" fmla="*/ 437 h 789"/>
                <a:gd name="T92" fmla="*/ 437 w 1758"/>
                <a:gd name="T93" fmla="*/ 442 h 789"/>
                <a:gd name="T94" fmla="*/ 437 w 1758"/>
                <a:gd name="T95" fmla="*/ 442 h 789"/>
                <a:gd name="T96" fmla="*/ 976 w 1758"/>
                <a:gd name="T97" fmla="*/ 772 h 789"/>
                <a:gd name="T98" fmla="*/ 1018 w 1758"/>
                <a:gd name="T99" fmla="*/ 784 h 789"/>
                <a:gd name="T100" fmla="*/ 1002 w 1758"/>
                <a:gd name="T101" fmla="*/ 789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58" h="789">
                  <a:moveTo>
                    <a:pt x="1569" y="16"/>
                  </a:moveTo>
                  <a:lnTo>
                    <a:pt x="1613" y="0"/>
                  </a:lnTo>
                  <a:lnTo>
                    <a:pt x="1623" y="12"/>
                  </a:lnTo>
                  <a:lnTo>
                    <a:pt x="1613" y="28"/>
                  </a:lnTo>
                  <a:lnTo>
                    <a:pt x="1618" y="33"/>
                  </a:lnTo>
                  <a:lnTo>
                    <a:pt x="1651" y="28"/>
                  </a:lnTo>
                  <a:lnTo>
                    <a:pt x="1673" y="33"/>
                  </a:lnTo>
                  <a:lnTo>
                    <a:pt x="1689" y="28"/>
                  </a:lnTo>
                  <a:lnTo>
                    <a:pt x="1689" y="16"/>
                  </a:lnTo>
                  <a:lnTo>
                    <a:pt x="1727" y="16"/>
                  </a:lnTo>
                  <a:lnTo>
                    <a:pt x="1732" y="45"/>
                  </a:lnTo>
                  <a:lnTo>
                    <a:pt x="1758" y="49"/>
                  </a:lnTo>
                  <a:lnTo>
                    <a:pt x="1741" y="73"/>
                  </a:lnTo>
                  <a:lnTo>
                    <a:pt x="1703" y="99"/>
                  </a:lnTo>
                  <a:lnTo>
                    <a:pt x="1710" y="111"/>
                  </a:lnTo>
                  <a:lnTo>
                    <a:pt x="1710" y="144"/>
                  </a:lnTo>
                  <a:lnTo>
                    <a:pt x="1710" y="160"/>
                  </a:lnTo>
                  <a:lnTo>
                    <a:pt x="1703" y="165"/>
                  </a:lnTo>
                  <a:lnTo>
                    <a:pt x="1694" y="177"/>
                  </a:lnTo>
                  <a:lnTo>
                    <a:pt x="1710" y="182"/>
                  </a:lnTo>
                  <a:lnTo>
                    <a:pt x="1694" y="215"/>
                  </a:lnTo>
                  <a:lnTo>
                    <a:pt x="1665" y="215"/>
                  </a:lnTo>
                  <a:lnTo>
                    <a:pt x="1677" y="255"/>
                  </a:lnTo>
                  <a:lnTo>
                    <a:pt x="1703" y="272"/>
                  </a:lnTo>
                  <a:lnTo>
                    <a:pt x="1677" y="293"/>
                  </a:lnTo>
                  <a:lnTo>
                    <a:pt x="1673" y="321"/>
                  </a:lnTo>
                  <a:lnTo>
                    <a:pt x="1694" y="342"/>
                  </a:lnTo>
                  <a:lnTo>
                    <a:pt x="1703" y="342"/>
                  </a:lnTo>
                  <a:lnTo>
                    <a:pt x="1694" y="347"/>
                  </a:lnTo>
                  <a:lnTo>
                    <a:pt x="1677" y="359"/>
                  </a:lnTo>
                  <a:lnTo>
                    <a:pt x="1665" y="380"/>
                  </a:lnTo>
                  <a:lnTo>
                    <a:pt x="1665" y="387"/>
                  </a:lnTo>
                  <a:lnTo>
                    <a:pt x="1665" y="420"/>
                  </a:lnTo>
                  <a:lnTo>
                    <a:pt x="1673" y="420"/>
                  </a:lnTo>
                  <a:lnTo>
                    <a:pt x="1635" y="437"/>
                  </a:lnTo>
                  <a:lnTo>
                    <a:pt x="1580" y="432"/>
                  </a:lnTo>
                  <a:lnTo>
                    <a:pt x="1559" y="437"/>
                  </a:lnTo>
                  <a:lnTo>
                    <a:pt x="1569" y="404"/>
                  </a:lnTo>
                  <a:lnTo>
                    <a:pt x="1569" y="326"/>
                  </a:lnTo>
                  <a:lnTo>
                    <a:pt x="1580" y="321"/>
                  </a:lnTo>
                  <a:lnTo>
                    <a:pt x="1569" y="309"/>
                  </a:lnTo>
                  <a:lnTo>
                    <a:pt x="1547" y="321"/>
                  </a:lnTo>
                  <a:lnTo>
                    <a:pt x="1543" y="305"/>
                  </a:lnTo>
                  <a:lnTo>
                    <a:pt x="1547" y="305"/>
                  </a:lnTo>
                  <a:lnTo>
                    <a:pt x="1564" y="293"/>
                  </a:lnTo>
                  <a:lnTo>
                    <a:pt x="1559" y="276"/>
                  </a:lnTo>
                  <a:lnTo>
                    <a:pt x="1547" y="293"/>
                  </a:lnTo>
                  <a:lnTo>
                    <a:pt x="1526" y="293"/>
                  </a:lnTo>
                  <a:lnTo>
                    <a:pt x="1531" y="238"/>
                  </a:lnTo>
                  <a:lnTo>
                    <a:pt x="1547" y="222"/>
                  </a:lnTo>
                  <a:lnTo>
                    <a:pt x="1569" y="139"/>
                  </a:lnTo>
                  <a:lnTo>
                    <a:pt x="1580" y="127"/>
                  </a:lnTo>
                  <a:lnTo>
                    <a:pt x="1580" y="123"/>
                  </a:lnTo>
                  <a:lnTo>
                    <a:pt x="1580" y="127"/>
                  </a:lnTo>
                  <a:lnTo>
                    <a:pt x="1580" y="99"/>
                  </a:lnTo>
                  <a:lnTo>
                    <a:pt x="1564" y="33"/>
                  </a:lnTo>
                  <a:lnTo>
                    <a:pt x="1569" y="16"/>
                  </a:lnTo>
                  <a:lnTo>
                    <a:pt x="1569" y="16"/>
                  </a:lnTo>
                  <a:lnTo>
                    <a:pt x="1569" y="16"/>
                  </a:lnTo>
                  <a:close/>
                  <a:moveTo>
                    <a:pt x="0" y="238"/>
                  </a:moveTo>
                  <a:lnTo>
                    <a:pt x="0" y="238"/>
                  </a:lnTo>
                  <a:lnTo>
                    <a:pt x="0" y="231"/>
                  </a:lnTo>
                  <a:lnTo>
                    <a:pt x="5" y="231"/>
                  </a:lnTo>
                  <a:lnTo>
                    <a:pt x="0" y="238"/>
                  </a:lnTo>
                  <a:lnTo>
                    <a:pt x="0" y="238"/>
                  </a:lnTo>
                  <a:lnTo>
                    <a:pt x="0" y="238"/>
                  </a:lnTo>
                  <a:close/>
                  <a:moveTo>
                    <a:pt x="286" y="305"/>
                  </a:moveTo>
                  <a:lnTo>
                    <a:pt x="269" y="305"/>
                  </a:lnTo>
                  <a:lnTo>
                    <a:pt x="269" y="293"/>
                  </a:lnTo>
                  <a:lnTo>
                    <a:pt x="291" y="293"/>
                  </a:lnTo>
                  <a:lnTo>
                    <a:pt x="291" y="293"/>
                  </a:lnTo>
                  <a:lnTo>
                    <a:pt x="286" y="305"/>
                  </a:lnTo>
                  <a:lnTo>
                    <a:pt x="286" y="305"/>
                  </a:lnTo>
                  <a:lnTo>
                    <a:pt x="286" y="305"/>
                  </a:lnTo>
                  <a:close/>
                  <a:moveTo>
                    <a:pt x="203" y="326"/>
                  </a:moveTo>
                  <a:lnTo>
                    <a:pt x="194" y="321"/>
                  </a:lnTo>
                  <a:lnTo>
                    <a:pt x="182" y="309"/>
                  </a:lnTo>
                  <a:lnTo>
                    <a:pt x="199" y="309"/>
                  </a:lnTo>
                  <a:lnTo>
                    <a:pt x="220" y="321"/>
                  </a:lnTo>
                  <a:lnTo>
                    <a:pt x="203" y="326"/>
                  </a:lnTo>
                  <a:lnTo>
                    <a:pt x="203" y="326"/>
                  </a:lnTo>
                  <a:lnTo>
                    <a:pt x="203" y="326"/>
                  </a:lnTo>
                  <a:close/>
                  <a:moveTo>
                    <a:pt x="409" y="380"/>
                  </a:moveTo>
                  <a:lnTo>
                    <a:pt x="383" y="375"/>
                  </a:lnTo>
                  <a:lnTo>
                    <a:pt x="376" y="364"/>
                  </a:lnTo>
                  <a:lnTo>
                    <a:pt x="421" y="364"/>
                  </a:lnTo>
                  <a:lnTo>
                    <a:pt x="421" y="375"/>
                  </a:lnTo>
                  <a:lnTo>
                    <a:pt x="409" y="380"/>
                  </a:lnTo>
                  <a:lnTo>
                    <a:pt x="409" y="380"/>
                  </a:lnTo>
                  <a:lnTo>
                    <a:pt x="409" y="380"/>
                  </a:lnTo>
                  <a:close/>
                  <a:moveTo>
                    <a:pt x="437" y="442"/>
                  </a:moveTo>
                  <a:lnTo>
                    <a:pt x="421" y="437"/>
                  </a:lnTo>
                  <a:lnTo>
                    <a:pt x="430" y="437"/>
                  </a:lnTo>
                  <a:lnTo>
                    <a:pt x="437" y="442"/>
                  </a:lnTo>
                  <a:lnTo>
                    <a:pt x="437" y="442"/>
                  </a:lnTo>
                  <a:lnTo>
                    <a:pt x="437" y="442"/>
                  </a:lnTo>
                  <a:close/>
                  <a:moveTo>
                    <a:pt x="1002" y="789"/>
                  </a:moveTo>
                  <a:lnTo>
                    <a:pt x="976" y="772"/>
                  </a:lnTo>
                  <a:lnTo>
                    <a:pt x="987" y="772"/>
                  </a:lnTo>
                  <a:lnTo>
                    <a:pt x="1018" y="784"/>
                  </a:lnTo>
                  <a:lnTo>
                    <a:pt x="1002" y="789"/>
                  </a:lnTo>
                  <a:lnTo>
                    <a:pt x="1002" y="789"/>
                  </a:lnTo>
                  <a:lnTo>
                    <a:pt x="1002" y="78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24" name="Gruppieren 23">
              <a:extLst>
                <a:ext uri="{FF2B5EF4-FFF2-40B4-BE49-F238E27FC236}">
                  <a16:creationId xmlns:a16="http://schemas.microsoft.com/office/drawing/2014/main" id="{18F0595C-1991-47F7-93F4-9799B1FA9655}"/>
                </a:ext>
              </a:extLst>
            </p:cNvPr>
            <p:cNvGrpSpPr/>
            <p:nvPr/>
          </p:nvGrpSpPr>
          <p:grpSpPr bwMode="gray">
            <a:xfrm>
              <a:off x="1738441" y="692696"/>
              <a:ext cx="10478239" cy="2531642"/>
              <a:chOff x="1738441" y="692696"/>
              <a:chExt cx="10478239" cy="2531642"/>
            </a:xfrm>
            <a:grpFill/>
          </p:grpSpPr>
          <p:sp>
            <p:nvSpPr>
              <p:cNvPr id="8264" name="Freeform 557">
                <a:extLst>
                  <a:ext uri="{FF2B5EF4-FFF2-40B4-BE49-F238E27FC236}">
                    <a16:creationId xmlns:a16="http://schemas.microsoft.com/office/drawing/2014/main" id="{14827878-A6DC-427B-827C-D9F867EEBC3D}"/>
                  </a:ext>
                </a:extLst>
              </p:cNvPr>
              <p:cNvSpPr>
                <a:spLocks noEditPoints="1"/>
              </p:cNvSpPr>
              <p:nvPr/>
            </p:nvSpPr>
            <p:spPr bwMode="gray">
              <a:xfrm>
                <a:off x="6202180" y="2676755"/>
                <a:ext cx="646322" cy="547583"/>
              </a:xfrm>
              <a:custGeom>
                <a:avLst/>
                <a:gdLst>
                  <a:gd name="T0" fmla="*/ 793 w 1570"/>
                  <a:gd name="T1" fmla="*/ 251 h 1330"/>
                  <a:gd name="T2" fmla="*/ 815 w 1570"/>
                  <a:gd name="T3" fmla="*/ 184 h 1330"/>
                  <a:gd name="T4" fmla="*/ 756 w 1570"/>
                  <a:gd name="T5" fmla="*/ 173 h 1330"/>
                  <a:gd name="T6" fmla="*/ 708 w 1570"/>
                  <a:gd name="T7" fmla="*/ 151 h 1330"/>
                  <a:gd name="T8" fmla="*/ 647 w 1570"/>
                  <a:gd name="T9" fmla="*/ 151 h 1330"/>
                  <a:gd name="T10" fmla="*/ 654 w 1570"/>
                  <a:gd name="T11" fmla="*/ 123 h 1330"/>
                  <a:gd name="T12" fmla="*/ 642 w 1570"/>
                  <a:gd name="T13" fmla="*/ 111 h 1330"/>
                  <a:gd name="T14" fmla="*/ 633 w 1570"/>
                  <a:gd name="T15" fmla="*/ 66 h 1330"/>
                  <a:gd name="T16" fmla="*/ 663 w 1570"/>
                  <a:gd name="T17" fmla="*/ 45 h 1330"/>
                  <a:gd name="T18" fmla="*/ 722 w 1570"/>
                  <a:gd name="T19" fmla="*/ 7 h 1330"/>
                  <a:gd name="T20" fmla="*/ 777 w 1570"/>
                  <a:gd name="T21" fmla="*/ 24 h 1330"/>
                  <a:gd name="T22" fmla="*/ 869 w 1570"/>
                  <a:gd name="T23" fmla="*/ 24 h 1330"/>
                  <a:gd name="T24" fmla="*/ 1063 w 1570"/>
                  <a:gd name="T25" fmla="*/ 28 h 1330"/>
                  <a:gd name="T26" fmla="*/ 1171 w 1570"/>
                  <a:gd name="T27" fmla="*/ 62 h 1330"/>
                  <a:gd name="T28" fmla="*/ 1273 w 1570"/>
                  <a:gd name="T29" fmla="*/ 95 h 1330"/>
                  <a:gd name="T30" fmla="*/ 1372 w 1570"/>
                  <a:gd name="T31" fmla="*/ 99 h 1330"/>
                  <a:gd name="T32" fmla="*/ 1436 w 1570"/>
                  <a:gd name="T33" fmla="*/ 118 h 1330"/>
                  <a:gd name="T34" fmla="*/ 1495 w 1570"/>
                  <a:gd name="T35" fmla="*/ 123 h 1330"/>
                  <a:gd name="T36" fmla="*/ 1495 w 1570"/>
                  <a:gd name="T37" fmla="*/ 168 h 1330"/>
                  <a:gd name="T38" fmla="*/ 1318 w 1570"/>
                  <a:gd name="T39" fmla="*/ 262 h 1330"/>
                  <a:gd name="T40" fmla="*/ 1327 w 1570"/>
                  <a:gd name="T41" fmla="*/ 279 h 1330"/>
                  <a:gd name="T42" fmla="*/ 1263 w 1570"/>
                  <a:gd name="T43" fmla="*/ 411 h 1330"/>
                  <a:gd name="T44" fmla="*/ 1226 w 1570"/>
                  <a:gd name="T45" fmla="*/ 527 h 1330"/>
                  <a:gd name="T46" fmla="*/ 1112 w 1570"/>
                  <a:gd name="T47" fmla="*/ 593 h 1330"/>
                  <a:gd name="T48" fmla="*/ 949 w 1570"/>
                  <a:gd name="T49" fmla="*/ 617 h 1330"/>
                  <a:gd name="T50" fmla="*/ 881 w 1570"/>
                  <a:gd name="T51" fmla="*/ 666 h 1330"/>
                  <a:gd name="T52" fmla="*/ 826 w 1570"/>
                  <a:gd name="T53" fmla="*/ 600 h 1330"/>
                  <a:gd name="T54" fmla="*/ 751 w 1570"/>
                  <a:gd name="T55" fmla="*/ 560 h 1330"/>
                  <a:gd name="T56" fmla="*/ 777 w 1570"/>
                  <a:gd name="T57" fmla="*/ 489 h 1330"/>
                  <a:gd name="T58" fmla="*/ 760 w 1570"/>
                  <a:gd name="T59" fmla="*/ 432 h 1330"/>
                  <a:gd name="T60" fmla="*/ 777 w 1570"/>
                  <a:gd name="T61" fmla="*/ 354 h 1330"/>
                  <a:gd name="T62" fmla="*/ 789 w 1570"/>
                  <a:gd name="T63" fmla="*/ 305 h 1330"/>
                  <a:gd name="T64" fmla="*/ 1544 w 1570"/>
                  <a:gd name="T65" fmla="*/ 321 h 1330"/>
                  <a:gd name="T66" fmla="*/ 1570 w 1570"/>
                  <a:gd name="T67" fmla="*/ 350 h 1330"/>
                  <a:gd name="T68" fmla="*/ 1478 w 1570"/>
                  <a:gd name="T69" fmla="*/ 333 h 1330"/>
                  <a:gd name="T70" fmla="*/ 1495 w 1570"/>
                  <a:gd name="T71" fmla="*/ 378 h 1330"/>
                  <a:gd name="T72" fmla="*/ 1441 w 1570"/>
                  <a:gd name="T73" fmla="*/ 371 h 1330"/>
                  <a:gd name="T74" fmla="*/ 1356 w 1570"/>
                  <a:gd name="T75" fmla="*/ 416 h 1330"/>
                  <a:gd name="T76" fmla="*/ 1365 w 1570"/>
                  <a:gd name="T77" fmla="*/ 428 h 1330"/>
                  <a:gd name="T78" fmla="*/ 1372 w 1570"/>
                  <a:gd name="T79" fmla="*/ 432 h 1330"/>
                  <a:gd name="T80" fmla="*/ 1372 w 1570"/>
                  <a:gd name="T81" fmla="*/ 444 h 1330"/>
                  <a:gd name="T82" fmla="*/ 330 w 1570"/>
                  <a:gd name="T83" fmla="*/ 1202 h 1330"/>
                  <a:gd name="T84" fmla="*/ 309 w 1570"/>
                  <a:gd name="T85" fmla="*/ 1238 h 1330"/>
                  <a:gd name="T86" fmla="*/ 16 w 1570"/>
                  <a:gd name="T87" fmla="*/ 1238 h 1330"/>
                  <a:gd name="T88" fmla="*/ 21 w 1570"/>
                  <a:gd name="T89" fmla="*/ 1259 h 1330"/>
                  <a:gd name="T90" fmla="*/ 293 w 1570"/>
                  <a:gd name="T91" fmla="*/ 1243 h 1330"/>
                  <a:gd name="T92" fmla="*/ 271 w 1570"/>
                  <a:gd name="T93" fmla="*/ 1297 h 1330"/>
                  <a:gd name="T94" fmla="*/ 87 w 1570"/>
                  <a:gd name="T95" fmla="*/ 1276 h 1330"/>
                  <a:gd name="T96" fmla="*/ 125 w 1570"/>
                  <a:gd name="T97" fmla="*/ 1292 h 1330"/>
                  <a:gd name="T98" fmla="*/ 59 w 1570"/>
                  <a:gd name="T99" fmla="*/ 1297 h 1330"/>
                  <a:gd name="T100" fmla="*/ 59 w 1570"/>
                  <a:gd name="T101" fmla="*/ 1297 h 1330"/>
                  <a:gd name="T102" fmla="*/ 163 w 1570"/>
                  <a:gd name="T103" fmla="*/ 1304 h 1330"/>
                  <a:gd name="T104" fmla="*/ 196 w 1570"/>
                  <a:gd name="T105" fmla="*/ 1313 h 1330"/>
                  <a:gd name="T106" fmla="*/ 7 w 1570"/>
                  <a:gd name="T107" fmla="*/ 1330 h 1330"/>
                  <a:gd name="T108" fmla="*/ 7 w 1570"/>
                  <a:gd name="T109" fmla="*/ 133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70" h="1330">
                    <a:moveTo>
                      <a:pt x="789" y="305"/>
                    </a:moveTo>
                    <a:lnTo>
                      <a:pt x="793" y="300"/>
                    </a:lnTo>
                    <a:lnTo>
                      <a:pt x="793" y="284"/>
                    </a:lnTo>
                    <a:lnTo>
                      <a:pt x="793" y="251"/>
                    </a:lnTo>
                    <a:lnTo>
                      <a:pt x="789" y="239"/>
                    </a:lnTo>
                    <a:lnTo>
                      <a:pt x="826" y="210"/>
                    </a:lnTo>
                    <a:lnTo>
                      <a:pt x="843" y="189"/>
                    </a:lnTo>
                    <a:lnTo>
                      <a:pt x="815" y="184"/>
                    </a:lnTo>
                    <a:lnTo>
                      <a:pt x="810" y="156"/>
                    </a:lnTo>
                    <a:lnTo>
                      <a:pt x="772" y="156"/>
                    </a:lnTo>
                    <a:lnTo>
                      <a:pt x="772" y="168"/>
                    </a:lnTo>
                    <a:lnTo>
                      <a:pt x="756" y="173"/>
                    </a:lnTo>
                    <a:lnTo>
                      <a:pt x="734" y="168"/>
                    </a:lnTo>
                    <a:lnTo>
                      <a:pt x="701" y="173"/>
                    </a:lnTo>
                    <a:lnTo>
                      <a:pt x="696" y="168"/>
                    </a:lnTo>
                    <a:lnTo>
                      <a:pt x="708" y="151"/>
                    </a:lnTo>
                    <a:lnTo>
                      <a:pt x="696" y="139"/>
                    </a:lnTo>
                    <a:lnTo>
                      <a:pt x="654" y="156"/>
                    </a:lnTo>
                    <a:lnTo>
                      <a:pt x="647" y="168"/>
                    </a:lnTo>
                    <a:lnTo>
                      <a:pt x="647" y="151"/>
                    </a:lnTo>
                    <a:lnTo>
                      <a:pt x="670" y="123"/>
                    </a:lnTo>
                    <a:lnTo>
                      <a:pt x="647" y="135"/>
                    </a:lnTo>
                    <a:lnTo>
                      <a:pt x="663" y="118"/>
                    </a:lnTo>
                    <a:lnTo>
                      <a:pt x="654" y="123"/>
                    </a:lnTo>
                    <a:lnTo>
                      <a:pt x="647" y="118"/>
                    </a:lnTo>
                    <a:lnTo>
                      <a:pt x="654" y="118"/>
                    </a:lnTo>
                    <a:lnTo>
                      <a:pt x="663" y="95"/>
                    </a:lnTo>
                    <a:lnTo>
                      <a:pt x="642" y="111"/>
                    </a:lnTo>
                    <a:lnTo>
                      <a:pt x="642" y="95"/>
                    </a:lnTo>
                    <a:lnTo>
                      <a:pt x="647" y="83"/>
                    </a:lnTo>
                    <a:lnTo>
                      <a:pt x="633" y="95"/>
                    </a:lnTo>
                    <a:lnTo>
                      <a:pt x="633" y="66"/>
                    </a:lnTo>
                    <a:lnTo>
                      <a:pt x="626" y="78"/>
                    </a:lnTo>
                    <a:lnTo>
                      <a:pt x="626" y="57"/>
                    </a:lnTo>
                    <a:lnTo>
                      <a:pt x="647" y="40"/>
                    </a:lnTo>
                    <a:lnTo>
                      <a:pt x="663" y="45"/>
                    </a:lnTo>
                    <a:lnTo>
                      <a:pt x="685" y="28"/>
                    </a:lnTo>
                    <a:lnTo>
                      <a:pt x="696" y="24"/>
                    </a:lnTo>
                    <a:lnTo>
                      <a:pt x="718" y="0"/>
                    </a:lnTo>
                    <a:lnTo>
                      <a:pt x="722" y="7"/>
                    </a:lnTo>
                    <a:lnTo>
                      <a:pt x="751" y="7"/>
                    </a:lnTo>
                    <a:lnTo>
                      <a:pt x="760" y="24"/>
                    </a:lnTo>
                    <a:lnTo>
                      <a:pt x="777" y="24"/>
                    </a:lnTo>
                    <a:lnTo>
                      <a:pt x="777" y="24"/>
                    </a:lnTo>
                    <a:lnTo>
                      <a:pt x="789" y="12"/>
                    </a:lnTo>
                    <a:lnTo>
                      <a:pt x="848" y="24"/>
                    </a:lnTo>
                    <a:lnTo>
                      <a:pt x="864" y="12"/>
                    </a:lnTo>
                    <a:lnTo>
                      <a:pt x="869" y="24"/>
                    </a:lnTo>
                    <a:lnTo>
                      <a:pt x="956" y="28"/>
                    </a:lnTo>
                    <a:lnTo>
                      <a:pt x="1020" y="24"/>
                    </a:lnTo>
                    <a:lnTo>
                      <a:pt x="1048" y="40"/>
                    </a:lnTo>
                    <a:lnTo>
                      <a:pt x="1063" y="28"/>
                    </a:lnTo>
                    <a:lnTo>
                      <a:pt x="1112" y="45"/>
                    </a:lnTo>
                    <a:lnTo>
                      <a:pt x="1150" y="40"/>
                    </a:lnTo>
                    <a:lnTo>
                      <a:pt x="1171" y="45"/>
                    </a:lnTo>
                    <a:lnTo>
                      <a:pt x="1171" y="62"/>
                    </a:lnTo>
                    <a:lnTo>
                      <a:pt x="1221" y="66"/>
                    </a:lnTo>
                    <a:lnTo>
                      <a:pt x="1237" y="83"/>
                    </a:lnTo>
                    <a:lnTo>
                      <a:pt x="1247" y="83"/>
                    </a:lnTo>
                    <a:lnTo>
                      <a:pt x="1273" y="95"/>
                    </a:lnTo>
                    <a:lnTo>
                      <a:pt x="1318" y="95"/>
                    </a:lnTo>
                    <a:lnTo>
                      <a:pt x="1327" y="78"/>
                    </a:lnTo>
                    <a:lnTo>
                      <a:pt x="1365" y="95"/>
                    </a:lnTo>
                    <a:lnTo>
                      <a:pt x="1372" y="99"/>
                    </a:lnTo>
                    <a:lnTo>
                      <a:pt x="1372" y="118"/>
                    </a:lnTo>
                    <a:lnTo>
                      <a:pt x="1398" y="111"/>
                    </a:lnTo>
                    <a:lnTo>
                      <a:pt x="1410" y="123"/>
                    </a:lnTo>
                    <a:lnTo>
                      <a:pt x="1436" y="118"/>
                    </a:lnTo>
                    <a:lnTo>
                      <a:pt x="1452" y="123"/>
                    </a:lnTo>
                    <a:lnTo>
                      <a:pt x="1478" y="118"/>
                    </a:lnTo>
                    <a:lnTo>
                      <a:pt x="1495" y="118"/>
                    </a:lnTo>
                    <a:lnTo>
                      <a:pt x="1495" y="123"/>
                    </a:lnTo>
                    <a:lnTo>
                      <a:pt x="1507" y="123"/>
                    </a:lnTo>
                    <a:lnTo>
                      <a:pt x="1490" y="135"/>
                    </a:lnTo>
                    <a:lnTo>
                      <a:pt x="1495" y="151"/>
                    </a:lnTo>
                    <a:lnTo>
                      <a:pt x="1495" y="168"/>
                    </a:lnTo>
                    <a:lnTo>
                      <a:pt x="1436" y="206"/>
                    </a:lnTo>
                    <a:lnTo>
                      <a:pt x="1419" y="222"/>
                    </a:lnTo>
                    <a:lnTo>
                      <a:pt x="1344" y="239"/>
                    </a:lnTo>
                    <a:lnTo>
                      <a:pt x="1318" y="262"/>
                    </a:lnTo>
                    <a:lnTo>
                      <a:pt x="1334" y="267"/>
                    </a:lnTo>
                    <a:lnTo>
                      <a:pt x="1318" y="279"/>
                    </a:lnTo>
                    <a:lnTo>
                      <a:pt x="1318" y="279"/>
                    </a:lnTo>
                    <a:lnTo>
                      <a:pt x="1327" y="279"/>
                    </a:lnTo>
                    <a:lnTo>
                      <a:pt x="1311" y="279"/>
                    </a:lnTo>
                    <a:lnTo>
                      <a:pt x="1273" y="321"/>
                    </a:lnTo>
                    <a:lnTo>
                      <a:pt x="1247" y="371"/>
                    </a:lnTo>
                    <a:lnTo>
                      <a:pt x="1263" y="411"/>
                    </a:lnTo>
                    <a:lnTo>
                      <a:pt x="1289" y="432"/>
                    </a:lnTo>
                    <a:lnTo>
                      <a:pt x="1237" y="465"/>
                    </a:lnTo>
                    <a:lnTo>
                      <a:pt x="1209" y="522"/>
                    </a:lnTo>
                    <a:lnTo>
                      <a:pt x="1226" y="527"/>
                    </a:lnTo>
                    <a:lnTo>
                      <a:pt x="1183" y="527"/>
                    </a:lnTo>
                    <a:lnTo>
                      <a:pt x="1155" y="543"/>
                    </a:lnTo>
                    <a:lnTo>
                      <a:pt x="1129" y="600"/>
                    </a:lnTo>
                    <a:lnTo>
                      <a:pt x="1112" y="593"/>
                    </a:lnTo>
                    <a:lnTo>
                      <a:pt x="1079" y="610"/>
                    </a:lnTo>
                    <a:lnTo>
                      <a:pt x="1063" y="600"/>
                    </a:lnTo>
                    <a:lnTo>
                      <a:pt x="966" y="600"/>
                    </a:lnTo>
                    <a:lnTo>
                      <a:pt x="949" y="617"/>
                    </a:lnTo>
                    <a:lnTo>
                      <a:pt x="911" y="626"/>
                    </a:lnTo>
                    <a:lnTo>
                      <a:pt x="902" y="650"/>
                    </a:lnTo>
                    <a:lnTo>
                      <a:pt x="897" y="650"/>
                    </a:lnTo>
                    <a:lnTo>
                      <a:pt x="881" y="666"/>
                    </a:lnTo>
                    <a:lnTo>
                      <a:pt x="848" y="650"/>
                    </a:lnTo>
                    <a:lnTo>
                      <a:pt x="831" y="626"/>
                    </a:lnTo>
                    <a:lnTo>
                      <a:pt x="843" y="617"/>
                    </a:lnTo>
                    <a:lnTo>
                      <a:pt x="826" y="600"/>
                    </a:lnTo>
                    <a:lnTo>
                      <a:pt x="826" y="593"/>
                    </a:lnTo>
                    <a:lnTo>
                      <a:pt x="789" y="560"/>
                    </a:lnTo>
                    <a:lnTo>
                      <a:pt x="756" y="560"/>
                    </a:lnTo>
                    <a:lnTo>
                      <a:pt x="751" y="560"/>
                    </a:lnTo>
                    <a:lnTo>
                      <a:pt x="751" y="527"/>
                    </a:lnTo>
                    <a:lnTo>
                      <a:pt x="751" y="522"/>
                    </a:lnTo>
                    <a:lnTo>
                      <a:pt x="760" y="499"/>
                    </a:lnTo>
                    <a:lnTo>
                      <a:pt x="777" y="489"/>
                    </a:lnTo>
                    <a:lnTo>
                      <a:pt x="789" y="482"/>
                    </a:lnTo>
                    <a:lnTo>
                      <a:pt x="777" y="482"/>
                    </a:lnTo>
                    <a:lnTo>
                      <a:pt x="756" y="461"/>
                    </a:lnTo>
                    <a:lnTo>
                      <a:pt x="760" y="432"/>
                    </a:lnTo>
                    <a:lnTo>
                      <a:pt x="789" y="411"/>
                    </a:lnTo>
                    <a:lnTo>
                      <a:pt x="760" y="395"/>
                    </a:lnTo>
                    <a:lnTo>
                      <a:pt x="751" y="354"/>
                    </a:lnTo>
                    <a:lnTo>
                      <a:pt x="777" y="354"/>
                    </a:lnTo>
                    <a:lnTo>
                      <a:pt x="793" y="321"/>
                    </a:lnTo>
                    <a:lnTo>
                      <a:pt x="777" y="317"/>
                    </a:lnTo>
                    <a:lnTo>
                      <a:pt x="789" y="305"/>
                    </a:lnTo>
                    <a:lnTo>
                      <a:pt x="789" y="305"/>
                    </a:lnTo>
                    <a:lnTo>
                      <a:pt x="789" y="305"/>
                    </a:lnTo>
                    <a:close/>
                    <a:moveTo>
                      <a:pt x="1570" y="350"/>
                    </a:moveTo>
                    <a:lnTo>
                      <a:pt x="1544" y="333"/>
                    </a:lnTo>
                    <a:lnTo>
                      <a:pt x="1544" y="321"/>
                    </a:lnTo>
                    <a:lnTo>
                      <a:pt x="1566" y="321"/>
                    </a:lnTo>
                    <a:lnTo>
                      <a:pt x="1570" y="338"/>
                    </a:lnTo>
                    <a:lnTo>
                      <a:pt x="1570" y="350"/>
                    </a:lnTo>
                    <a:lnTo>
                      <a:pt x="1570" y="350"/>
                    </a:lnTo>
                    <a:lnTo>
                      <a:pt x="1570" y="350"/>
                    </a:lnTo>
                    <a:close/>
                    <a:moveTo>
                      <a:pt x="1441" y="371"/>
                    </a:moveTo>
                    <a:lnTo>
                      <a:pt x="1441" y="362"/>
                    </a:lnTo>
                    <a:lnTo>
                      <a:pt x="1478" y="333"/>
                    </a:lnTo>
                    <a:lnTo>
                      <a:pt x="1490" y="333"/>
                    </a:lnTo>
                    <a:lnTo>
                      <a:pt x="1495" y="350"/>
                    </a:lnTo>
                    <a:lnTo>
                      <a:pt x="1516" y="350"/>
                    </a:lnTo>
                    <a:lnTo>
                      <a:pt x="1495" y="378"/>
                    </a:lnTo>
                    <a:lnTo>
                      <a:pt x="1490" y="388"/>
                    </a:lnTo>
                    <a:lnTo>
                      <a:pt x="1462" y="378"/>
                    </a:lnTo>
                    <a:lnTo>
                      <a:pt x="1457" y="362"/>
                    </a:lnTo>
                    <a:lnTo>
                      <a:pt x="1441" y="371"/>
                    </a:lnTo>
                    <a:lnTo>
                      <a:pt x="1441" y="371"/>
                    </a:lnTo>
                    <a:lnTo>
                      <a:pt x="1441" y="371"/>
                    </a:lnTo>
                    <a:close/>
                    <a:moveTo>
                      <a:pt x="1365" y="428"/>
                    </a:moveTo>
                    <a:lnTo>
                      <a:pt x="1356" y="416"/>
                    </a:lnTo>
                    <a:lnTo>
                      <a:pt x="1365" y="411"/>
                    </a:lnTo>
                    <a:lnTo>
                      <a:pt x="1386" y="406"/>
                    </a:lnTo>
                    <a:lnTo>
                      <a:pt x="1386" y="411"/>
                    </a:lnTo>
                    <a:lnTo>
                      <a:pt x="1365" y="428"/>
                    </a:lnTo>
                    <a:lnTo>
                      <a:pt x="1365" y="428"/>
                    </a:lnTo>
                    <a:lnTo>
                      <a:pt x="1365" y="428"/>
                    </a:lnTo>
                    <a:close/>
                    <a:moveTo>
                      <a:pt x="1372" y="444"/>
                    </a:moveTo>
                    <a:lnTo>
                      <a:pt x="1372" y="432"/>
                    </a:lnTo>
                    <a:lnTo>
                      <a:pt x="1382" y="444"/>
                    </a:lnTo>
                    <a:lnTo>
                      <a:pt x="1372" y="444"/>
                    </a:lnTo>
                    <a:lnTo>
                      <a:pt x="1372" y="444"/>
                    </a:lnTo>
                    <a:lnTo>
                      <a:pt x="1372" y="444"/>
                    </a:lnTo>
                    <a:close/>
                    <a:moveTo>
                      <a:pt x="309" y="1238"/>
                    </a:moveTo>
                    <a:lnTo>
                      <a:pt x="302" y="1226"/>
                    </a:lnTo>
                    <a:lnTo>
                      <a:pt x="309" y="1219"/>
                    </a:lnTo>
                    <a:lnTo>
                      <a:pt x="330" y="1202"/>
                    </a:lnTo>
                    <a:lnTo>
                      <a:pt x="323" y="1226"/>
                    </a:lnTo>
                    <a:lnTo>
                      <a:pt x="309" y="1238"/>
                    </a:lnTo>
                    <a:lnTo>
                      <a:pt x="309" y="1238"/>
                    </a:lnTo>
                    <a:lnTo>
                      <a:pt x="309" y="1238"/>
                    </a:lnTo>
                    <a:close/>
                    <a:moveTo>
                      <a:pt x="21" y="1259"/>
                    </a:moveTo>
                    <a:lnTo>
                      <a:pt x="21" y="1264"/>
                    </a:lnTo>
                    <a:lnTo>
                      <a:pt x="7" y="1243"/>
                    </a:lnTo>
                    <a:lnTo>
                      <a:pt x="16" y="1238"/>
                    </a:lnTo>
                    <a:lnTo>
                      <a:pt x="33" y="1243"/>
                    </a:lnTo>
                    <a:lnTo>
                      <a:pt x="21" y="1259"/>
                    </a:lnTo>
                    <a:lnTo>
                      <a:pt x="21" y="1259"/>
                    </a:lnTo>
                    <a:lnTo>
                      <a:pt x="21" y="1259"/>
                    </a:lnTo>
                    <a:close/>
                    <a:moveTo>
                      <a:pt x="271" y="1297"/>
                    </a:moveTo>
                    <a:lnTo>
                      <a:pt x="264" y="1297"/>
                    </a:lnTo>
                    <a:lnTo>
                      <a:pt x="276" y="1280"/>
                    </a:lnTo>
                    <a:lnTo>
                      <a:pt x="293" y="1243"/>
                    </a:lnTo>
                    <a:lnTo>
                      <a:pt x="302" y="1243"/>
                    </a:lnTo>
                    <a:lnTo>
                      <a:pt x="302" y="1259"/>
                    </a:lnTo>
                    <a:lnTo>
                      <a:pt x="293" y="1280"/>
                    </a:lnTo>
                    <a:lnTo>
                      <a:pt x="271" y="1297"/>
                    </a:lnTo>
                    <a:lnTo>
                      <a:pt x="271" y="1297"/>
                    </a:lnTo>
                    <a:lnTo>
                      <a:pt x="271" y="1297"/>
                    </a:lnTo>
                    <a:close/>
                    <a:moveTo>
                      <a:pt x="104" y="1297"/>
                    </a:moveTo>
                    <a:lnTo>
                      <a:pt x="87" y="1276"/>
                    </a:lnTo>
                    <a:lnTo>
                      <a:pt x="108" y="1264"/>
                    </a:lnTo>
                    <a:lnTo>
                      <a:pt x="125" y="1259"/>
                    </a:lnTo>
                    <a:lnTo>
                      <a:pt x="141" y="1259"/>
                    </a:lnTo>
                    <a:lnTo>
                      <a:pt x="125" y="1292"/>
                    </a:lnTo>
                    <a:lnTo>
                      <a:pt x="104" y="1297"/>
                    </a:lnTo>
                    <a:lnTo>
                      <a:pt x="104" y="1297"/>
                    </a:lnTo>
                    <a:lnTo>
                      <a:pt x="104" y="1297"/>
                    </a:lnTo>
                    <a:close/>
                    <a:moveTo>
                      <a:pt x="59" y="1297"/>
                    </a:moveTo>
                    <a:lnTo>
                      <a:pt x="54" y="1292"/>
                    </a:lnTo>
                    <a:lnTo>
                      <a:pt x="59" y="1280"/>
                    </a:lnTo>
                    <a:lnTo>
                      <a:pt x="75" y="1292"/>
                    </a:lnTo>
                    <a:lnTo>
                      <a:pt x="59" y="1297"/>
                    </a:lnTo>
                    <a:lnTo>
                      <a:pt x="59" y="1297"/>
                    </a:lnTo>
                    <a:lnTo>
                      <a:pt x="59" y="1297"/>
                    </a:lnTo>
                    <a:close/>
                    <a:moveTo>
                      <a:pt x="179" y="1321"/>
                    </a:moveTo>
                    <a:lnTo>
                      <a:pt x="163" y="1304"/>
                    </a:lnTo>
                    <a:lnTo>
                      <a:pt x="167" y="1292"/>
                    </a:lnTo>
                    <a:lnTo>
                      <a:pt x="196" y="1292"/>
                    </a:lnTo>
                    <a:lnTo>
                      <a:pt x="196" y="1297"/>
                    </a:lnTo>
                    <a:lnTo>
                      <a:pt x="196" y="1313"/>
                    </a:lnTo>
                    <a:lnTo>
                      <a:pt x="179" y="1321"/>
                    </a:lnTo>
                    <a:lnTo>
                      <a:pt x="179" y="1321"/>
                    </a:lnTo>
                    <a:lnTo>
                      <a:pt x="179" y="1321"/>
                    </a:lnTo>
                    <a:close/>
                    <a:moveTo>
                      <a:pt x="7" y="1330"/>
                    </a:moveTo>
                    <a:lnTo>
                      <a:pt x="0" y="1321"/>
                    </a:lnTo>
                    <a:lnTo>
                      <a:pt x="16" y="1313"/>
                    </a:lnTo>
                    <a:lnTo>
                      <a:pt x="7" y="1330"/>
                    </a:lnTo>
                    <a:lnTo>
                      <a:pt x="7" y="1330"/>
                    </a:lnTo>
                    <a:lnTo>
                      <a:pt x="7" y="133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7" name="Gruppieren 6">
                <a:extLst>
                  <a:ext uri="{FF2B5EF4-FFF2-40B4-BE49-F238E27FC236}">
                    <a16:creationId xmlns:a16="http://schemas.microsoft.com/office/drawing/2014/main" id="{6D4B2DE7-0E98-4C07-9E45-5943B56D21F4}"/>
                  </a:ext>
                </a:extLst>
              </p:cNvPr>
              <p:cNvGrpSpPr/>
              <p:nvPr/>
            </p:nvGrpSpPr>
            <p:grpSpPr bwMode="gray">
              <a:xfrm>
                <a:off x="1738441" y="692696"/>
                <a:ext cx="10478239" cy="2293259"/>
                <a:chOff x="1738441" y="692696"/>
                <a:chExt cx="10478239" cy="2293259"/>
              </a:xfrm>
              <a:grpFill/>
            </p:grpSpPr>
            <p:sp>
              <p:nvSpPr>
                <p:cNvPr id="7997" name="Freeform 473">
                  <a:extLst>
                    <a:ext uri="{FF2B5EF4-FFF2-40B4-BE49-F238E27FC236}">
                      <a16:creationId xmlns:a16="http://schemas.microsoft.com/office/drawing/2014/main" id="{487D9FAC-78BA-423E-B510-68E77AC90B4D}"/>
                    </a:ext>
                  </a:extLst>
                </p:cNvPr>
                <p:cNvSpPr>
                  <a:spLocks noEditPoints="1"/>
                </p:cNvSpPr>
                <p:nvPr/>
              </p:nvSpPr>
              <p:spPr bwMode="gray">
                <a:xfrm>
                  <a:off x="6915603" y="2557357"/>
                  <a:ext cx="344568" cy="370544"/>
                </a:xfrm>
                <a:custGeom>
                  <a:avLst/>
                  <a:gdLst>
                    <a:gd name="T0" fmla="*/ 81 w 837"/>
                    <a:gd name="T1" fmla="*/ 259 h 900"/>
                    <a:gd name="T2" fmla="*/ 34 w 837"/>
                    <a:gd name="T3" fmla="*/ 193 h 900"/>
                    <a:gd name="T4" fmla="*/ 43 w 837"/>
                    <a:gd name="T5" fmla="*/ 148 h 900"/>
                    <a:gd name="T6" fmla="*/ 81 w 837"/>
                    <a:gd name="T7" fmla="*/ 99 h 900"/>
                    <a:gd name="T8" fmla="*/ 135 w 837"/>
                    <a:gd name="T9" fmla="*/ 54 h 900"/>
                    <a:gd name="T10" fmla="*/ 173 w 837"/>
                    <a:gd name="T11" fmla="*/ 111 h 900"/>
                    <a:gd name="T12" fmla="*/ 189 w 837"/>
                    <a:gd name="T13" fmla="*/ 54 h 900"/>
                    <a:gd name="T14" fmla="*/ 248 w 837"/>
                    <a:gd name="T15" fmla="*/ 75 h 900"/>
                    <a:gd name="T16" fmla="*/ 260 w 837"/>
                    <a:gd name="T17" fmla="*/ 37 h 900"/>
                    <a:gd name="T18" fmla="*/ 324 w 837"/>
                    <a:gd name="T19" fmla="*/ 4 h 900"/>
                    <a:gd name="T20" fmla="*/ 411 w 837"/>
                    <a:gd name="T21" fmla="*/ 26 h 900"/>
                    <a:gd name="T22" fmla="*/ 497 w 837"/>
                    <a:gd name="T23" fmla="*/ 75 h 900"/>
                    <a:gd name="T24" fmla="*/ 520 w 837"/>
                    <a:gd name="T25" fmla="*/ 127 h 900"/>
                    <a:gd name="T26" fmla="*/ 482 w 837"/>
                    <a:gd name="T27" fmla="*/ 127 h 900"/>
                    <a:gd name="T28" fmla="*/ 459 w 837"/>
                    <a:gd name="T29" fmla="*/ 127 h 900"/>
                    <a:gd name="T30" fmla="*/ 395 w 837"/>
                    <a:gd name="T31" fmla="*/ 165 h 900"/>
                    <a:gd name="T32" fmla="*/ 411 w 837"/>
                    <a:gd name="T33" fmla="*/ 203 h 900"/>
                    <a:gd name="T34" fmla="*/ 428 w 837"/>
                    <a:gd name="T35" fmla="*/ 276 h 900"/>
                    <a:gd name="T36" fmla="*/ 605 w 837"/>
                    <a:gd name="T37" fmla="*/ 458 h 900"/>
                    <a:gd name="T38" fmla="*/ 660 w 837"/>
                    <a:gd name="T39" fmla="*/ 496 h 900"/>
                    <a:gd name="T40" fmla="*/ 806 w 837"/>
                    <a:gd name="T41" fmla="*/ 623 h 900"/>
                    <a:gd name="T42" fmla="*/ 730 w 837"/>
                    <a:gd name="T43" fmla="*/ 585 h 900"/>
                    <a:gd name="T44" fmla="*/ 747 w 837"/>
                    <a:gd name="T45" fmla="*/ 668 h 900"/>
                    <a:gd name="T46" fmla="*/ 702 w 837"/>
                    <a:gd name="T47" fmla="*/ 751 h 900"/>
                    <a:gd name="T48" fmla="*/ 638 w 837"/>
                    <a:gd name="T49" fmla="*/ 789 h 900"/>
                    <a:gd name="T50" fmla="*/ 648 w 837"/>
                    <a:gd name="T51" fmla="*/ 734 h 900"/>
                    <a:gd name="T52" fmla="*/ 664 w 837"/>
                    <a:gd name="T53" fmla="*/ 668 h 900"/>
                    <a:gd name="T54" fmla="*/ 589 w 837"/>
                    <a:gd name="T55" fmla="*/ 595 h 900"/>
                    <a:gd name="T56" fmla="*/ 551 w 837"/>
                    <a:gd name="T57" fmla="*/ 552 h 900"/>
                    <a:gd name="T58" fmla="*/ 449 w 837"/>
                    <a:gd name="T59" fmla="*/ 512 h 900"/>
                    <a:gd name="T60" fmla="*/ 374 w 837"/>
                    <a:gd name="T61" fmla="*/ 441 h 900"/>
                    <a:gd name="T62" fmla="*/ 319 w 837"/>
                    <a:gd name="T63" fmla="*/ 404 h 900"/>
                    <a:gd name="T64" fmla="*/ 260 w 837"/>
                    <a:gd name="T65" fmla="*/ 292 h 900"/>
                    <a:gd name="T66" fmla="*/ 135 w 837"/>
                    <a:gd name="T67" fmla="*/ 248 h 900"/>
                    <a:gd name="T68" fmla="*/ 67 w 837"/>
                    <a:gd name="T69" fmla="*/ 292 h 900"/>
                    <a:gd name="T70" fmla="*/ 411 w 837"/>
                    <a:gd name="T71" fmla="*/ 276 h 900"/>
                    <a:gd name="T72" fmla="*/ 248 w 837"/>
                    <a:gd name="T73" fmla="*/ 375 h 900"/>
                    <a:gd name="T74" fmla="*/ 270 w 837"/>
                    <a:gd name="T75" fmla="*/ 387 h 900"/>
                    <a:gd name="T76" fmla="*/ 142 w 837"/>
                    <a:gd name="T77" fmla="*/ 541 h 900"/>
                    <a:gd name="T78" fmla="*/ 206 w 837"/>
                    <a:gd name="T79" fmla="*/ 541 h 900"/>
                    <a:gd name="T80" fmla="*/ 218 w 837"/>
                    <a:gd name="T81" fmla="*/ 611 h 900"/>
                    <a:gd name="T82" fmla="*/ 163 w 837"/>
                    <a:gd name="T83" fmla="*/ 706 h 900"/>
                    <a:gd name="T84" fmla="*/ 126 w 837"/>
                    <a:gd name="T85" fmla="*/ 696 h 900"/>
                    <a:gd name="T86" fmla="*/ 135 w 837"/>
                    <a:gd name="T87" fmla="*/ 640 h 900"/>
                    <a:gd name="T88" fmla="*/ 119 w 837"/>
                    <a:gd name="T89" fmla="*/ 569 h 900"/>
                    <a:gd name="T90" fmla="*/ 109 w 837"/>
                    <a:gd name="T91" fmla="*/ 569 h 900"/>
                    <a:gd name="T92" fmla="*/ 513 w 837"/>
                    <a:gd name="T93" fmla="*/ 557 h 900"/>
                    <a:gd name="T94" fmla="*/ 119 w 837"/>
                    <a:gd name="T95" fmla="*/ 685 h 900"/>
                    <a:gd name="T96" fmla="*/ 119 w 837"/>
                    <a:gd name="T97" fmla="*/ 696 h 900"/>
                    <a:gd name="T98" fmla="*/ 445 w 837"/>
                    <a:gd name="T99" fmla="*/ 779 h 900"/>
                    <a:gd name="T100" fmla="*/ 482 w 837"/>
                    <a:gd name="T101" fmla="*/ 779 h 900"/>
                    <a:gd name="T102" fmla="*/ 596 w 837"/>
                    <a:gd name="T103" fmla="*/ 772 h 900"/>
                    <a:gd name="T104" fmla="*/ 596 w 837"/>
                    <a:gd name="T105" fmla="*/ 829 h 900"/>
                    <a:gd name="T106" fmla="*/ 558 w 837"/>
                    <a:gd name="T107" fmla="*/ 890 h 900"/>
                    <a:gd name="T108" fmla="*/ 428 w 837"/>
                    <a:gd name="T109" fmla="*/ 817 h 900"/>
                    <a:gd name="T110" fmla="*/ 378 w 837"/>
                    <a:gd name="T111" fmla="*/ 890 h 900"/>
                    <a:gd name="T112" fmla="*/ 378 w 837"/>
                    <a:gd name="T113" fmla="*/ 89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7" h="900">
                      <a:moveTo>
                        <a:pt x="67" y="292"/>
                      </a:moveTo>
                      <a:lnTo>
                        <a:pt x="67" y="281"/>
                      </a:lnTo>
                      <a:lnTo>
                        <a:pt x="81" y="264"/>
                      </a:lnTo>
                      <a:lnTo>
                        <a:pt x="81" y="259"/>
                      </a:lnTo>
                      <a:lnTo>
                        <a:pt x="55" y="259"/>
                      </a:lnTo>
                      <a:lnTo>
                        <a:pt x="29" y="248"/>
                      </a:lnTo>
                      <a:lnTo>
                        <a:pt x="17" y="226"/>
                      </a:lnTo>
                      <a:lnTo>
                        <a:pt x="34" y="193"/>
                      </a:lnTo>
                      <a:lnTo>
                        <a:pt x="12" y="193"/>
                      </a:lnTo>
                      <a:lnTo>
                        <a:pt x="0" y="170"/>
                      </a:lnTo>
                      <a:lnTo>
                        <a:pt x="43" y="165"/>
                      </a:lnTo>
                      <a:lnTo>
                        <a:pt x="43" y="148"/>
                      </a:lnTo>
                      <a:lnTo>
                        <a:pt x="17" y="115"/>
                      </a:lnTo>
                      <a:lnTo>
                        <a:pt x="34" y="99"/>
                      </a:lnTo>
                      <a:lnTo>
                        <a:pt x="43" y="111"/>
                      </a:lnTo>
                      <a:lnTo>
                        <a:pt x="81" y="99"/>
                      </a:lnTo>
                      <a:lnTo>
                        <a:pt x="88" y="99"/>
                      </a:lnTo>
                      <a:lnTo>
                        <a:pt x="109" y="82"/>
                      </a:lnTo>
                      <a:lnTo>
                        <a:pt x="119" y="54"/>
                      </a:lnTo>
                      <a:lnTo>
                        <a:pt x="135" y="54"/>
                      </a:lnTo>
                      <a:lnTo>
                        <a:pt x="135" y="75"/>
                      </a:lnTo>
                      <a:lnTo>
                        <a:pt x="156" y="82"/>
                      </a:lnTo>
                      <a:lnTo>
                        <a:pt x="156" y="92"/>
                      </a:lnTo>
                      <a:lnTo>
                        <a:pt x="173" y="111"/>
                      </a:lnTo>
                      <a:lnTo>
                        <a:pt x="180" y="99"/>
                      </a:lnTo>
                      <a:lnTo>
                        <a:pt x="173" y="99"/>
                      </a:lnTo>
                      <a:lnTo>
                        <a:pt x="189" y="70"/>
                      </a:lnTo>
                      <a:lnTo>
                        <a:pt x="189" y="54"/>
                      </a:lnTo>
                      <a:lnTo>
                        <a:pt x="206" y="54"/>
                      </a:lnTo>
                      <a:lnTo>
                        <a:pt x="211" y="70"/>
                      </a:lnTo>
                      <a:lnTo>
                        <a:pt x="232" y="59"/>
                      </a:lnTo>
                      <a:lnTo>
                        <a:pt x="248" y="75"/>
                      </a:lnTo>
                      <a:lnTo>
                        <a:pt x="248" y="59"/>
                      </a:lnTo>
                      <a:lnTo>
                        <a:pt x="244" y="54"/>
                      </a:lnTo>
                      <a:lnTo>
                        <a:pt x="244" y="42"/>
                      </a:lnTo>
                      <a:lnTo>
                        <a:pt x="260" y="37"/>
                      </a:lnTo>
                      <a:lnTo>
                        <a:pt x="270" y="42"/>
                      </a:lnTo>
                      <a:lnTo>
                        <a:pt x="270" y="16"/>
                      </a:lnTo>
                      <a:lnTo>
                        <a:pt x="315" y="26"/>
                      </a:lnTo>
                      <a:lnTo>
                        <a:pt x="324" y="4"/>
                      </a:lnTo>
                      <a:lnTo>
                        <a:pt x="369" y="4"/>
                      </a:lnTo>
                      <a:lnTo>
                        <a:pt x="395" y="0"/>
                      </a:lnTo>
                      <a:lnTo>
                        <a:pt x="395" y="16"/>
                      </a:lnTo>
                      <a:lnTo>
                        <a:pt x="411" y="26"/>
                      </a:lnTo>
                      <a:lnTo>
                        <a:pt x="504" y="42"/>
                      </a:lnTo>
                      <a:lnTo>
                        <a:pt x="482" y="70"/>
                      </a:lnTo>
                      <a:lnTo>
                        <a:pt x="482" y="75"/>
                      </a:lnTo>
                      <a:lnTo>
                        <a:pt x="497" y="75"/>
                      </a:lnTo>
                      <a:lnTo>
                        <a:pt x="487" y="92"/>
                      </a:lnTo>
                      <a:lnTo>
                        <a:pt x="497" y="92"/>
                      </a:lnTo>
                      <a:lnTo>
                        <a:pt x="497" y="111"/>
                      </a:lnTo>
                      <a:lnTo>
                        <a:pt x="520" y="127"/>
                      </a:lnTo>
                      <a:lnTo>
                        <a:pt x="504" y="132"/>
                      </a:lnTo>
                      <a:lnTo>
                        <a:pt x="504" y="132"/>
                      </a:lnTo>
                      <a:lnTo>
                        <a:pt x="497" y="115"/>
                      </a:lnTo>
                      <a:lnTo>
                        <a:pt x="482" y="127"/>
                      </a:lnTo>
                      <a:lnTo>
                        <a:pt x="482" y="115"/>
                      </a:lnTo>
                      <a:lnTo>
                        <a:pt x="466" y="115"/>
                      </a:lnTo>
                      <a:lnTo>
                        <a:pt x="459" y="127"/>
                      </a:lnTo>
                      <a:lnTo>
                        <a:pt x="459" y="127"/>
                      </a:lnTo>
                      <a:lnTo>
                        <a:pt x="411" y="148"/>
                      </a:lnTo>
                      <a:lnTo>
                        <a:pt x="421" y="132"/>
                      </a:lnTo>
                      <a:lnTo>
                        <a:pt x="407" y="137"/>
                      </a:lnTo>
                      <a:lnTo>
                        <a:pt x="395" y="165"/>
                      </a:lnTo>
                      <a:lnTo>
                        <a:pt x="421" y="186"/>
                      </a:lnTo>
                      <a:lnTo>
                        <a:pt x="411" y="203"/>
                      </a:lnTo>
                      <a:lnTo>
                        <a:pt x="411" y="193"/>
                      </a:lnTo>
                      <a:lnTo>
                        <a:pt x="411" y="203"/>
                      </a:lnTo>
                      <a:lnTo>
                        <a:pt x="407" y="193"/>
                      </a:lnTo>
                      <a:lnTo>
                        <a:pt x="395" y="210"/>
                      </a:lnTo>
                      <a:lnTo>
                        <a:pt x="407" y="248"/>
                      </a:lnTo>
                      <a:lnTo>
                        <a:pt x="428" y="276"/>
                      </a:lnTo>
                      <a:lnTo>
                        <a:pt x="497" y="314"/>
                      </a:lnTo>
                      <a:lnTo>
                        <a:pt x="520" y="392"/>
                      </a:lnTo>
                      <a:lnTo>
                        <a:pt x="572" y="441"/>
                      </a:lnTo>
                      <a:lnTo>
                        <a:pt x="605" y="458"/>
                      </a:lnTo>
                      <a:lnTo>
                        <a:pt x="676" y="458"/>
                      </a:lnTo>
                      <a:lnTo>
                        <a:pt x="676" y="463"/>
                      </a:lnTo>
                      <a:lnTo>
                        <a:pt x="660" y="479"/>
                      </a:lnTo>
                      <a:lnTo>
                        <a:pt x="660" y="496"/>
                      </a:lnTo>
                      <a:lnTo>
                        <a:pt x="806" y="569"/>
                      </a:lnTo>
                      <a:lnTo>
                        <a:pt x="837" y="607"/>
                      </a:lnTo>
                      <a:lnTo>
                        <a:pt x="827" y="640"/>
                      </a:lnTo>
                      <a:lnTo>
                        <a:pt x="806" y="623"/>
                      </a:lnTo>
                      <a:lnTo>
                        <a:pt x="789" y="590"/>
                      </a:lnTo>
                      <a:lnTo>
                        <a:pt x="747" y="585"/>
                      </a:lnTo>
                      <a:lnTo>
                        <a:pt x="752" y="574"/>
                      </a:lnTo>
                      <a:lnTo>
                        <a:pt x="730" y="585"/>
                      </a:lnTo>
                      <a:lnTo>
                        <a:pt x="702" y="611"/>
                      </a:lnTo>
                      <a:lnTo>
                        <a:pt x="697" y="640"/>
                      </a:lnTo>
                      <a:lnTo>
                        <a:pt x="697" y="647"/>
                      </a:lnTo>
                      <a:lnTo>
                        <a:pt x="747" y="668"/>
                      </a:lnTo>
                      <a:lnTo>
                        <a:pt x="747" y="701"/>
                      </a:lnTo>
                      <a:lnTo>
                        <a:pt x="702" y="718"/>
                      </a:lnTo>
                      <a:lnTo>
                        <a:pt x="697" y="722"/>
                      </a:lnTo>
                      <a:lnTo>
                        <a:pt x="702" y="751"/>
                      </a:lnTo>
                      <a:lnTo>
                        <a:pt x="676" y="772"/>
                      </a:lnTo>
                      <a:lnTo>
                        <a:pt x="664" y="789"/>
                      </a:lnTo>
                      <a:lnTo>
                        <a:pt x="643" y="796"/>
                      </a:lnTo>
                      <a:lnTo>
                        <a:pt x="638" y="789"/>
                      </a:lnTo>
                      <a:lnTo>
                        <a:pt x="638" y="763"/>
                      </a:lnTo>
                      <a:lnTo>
                        <a:pt x="648" y="763"/>
                      </a:lnTo>
                      <a:lnTo>
                        <a:pt x="660" y="739"/>
                      </a:lnTo>
                      <a:lnTo>
                        <a:pt x="648" y="734"/>
                      </a:lnTo>
                      <a:lnTo>
                        <a:pt x="676" y="722"/>
                      </a:lnTo>
                      <a:lnTo>
                        <a:pt x="676" y="706"/>
                      </a:lnTo>
                      <a:lnTo>
                        <a:pt x="664" y="701"/>
                      </a:lnTo>
                      <a:lnTo>
                        <a:pt x="664" y="668"/>
                      </a:lnTo>
                      <a:lnTo>
                        <a:pt x="638" y="611"/>
                      </a:lnTo>
                      <a:lnTo>
                        <a:pt x="626" y="611"/>
                      </a:lnTo>
                      <a:lnTo>
                        <a:pt x="622" y="611"/>
                      </a:lnTo>
                      <a:lnTo>
                        <a:pt x="589" y="595"/>
                      </a:lnTo>
                      <a:lnTo>
                        <a:pt x="589" y="585"/>
                      </a:lnTo>
                      <a:lnTo>
                        <a:pt x="572" y="557"/>
                      </a:lnTo>
                      <a:lnTo>
                        <a:pt x="541" y="569"/>
                      </a:lnTo>
                      <a:lnTo>
                        <a:pt x="551" y="552"/>
                      </a:lnTo>
                      <a:lnTo>
                        <a:pt x="541" y="541"/>
                      </a:lnTo>
                      <a:lnTo>
                        <a:pt x="530" y="552"/>
                      </a:lnTo>
                      <a:lnTo>
                        <a:pt x="504" y="512"/>
                      </a:lnTo>
                      <a:lnTo>
                        <a:pt x="449" y="512"/>
                      </a:lnTo>
                      <a:lnTo>
                        <a:pt x="445" y="496"/>
                      </a:lnTo>
                      <a:lnTo>
                        <a:pt x="421" y="486"/>
                      </a:lnTo>
                      <a:lnTo>
                        <a:pt x="390" y="458"/>
                      </a:lnTo>
                      <a:lnTo>
                        <a:pt x="374" y="441"/>
                      </a:lnTo>
                      <a:lnTo>
                        <a:pt x="357" y="425"/>
                      </a:lnTo>
                      <a:lnTo>
                        <a:pt x="336" y="408"/>
                      </a:lnTo>
                      <a:lnTo>
                        <a:pt x="319" y="413"/>
                      </a:lnTo>
                      <a:lnTo>
                        <a:pt x="319" y="404"/>
                      </a:lnTo>
                      <a:lnTo>
                        <a:pt x="282" y="352"/>
                      </a:lnTo>
                      <a:lnTo>
                        <a:pt x="282" y="335"/>
                      </a:lnTo>
                      <a:lnTo>
                        <a:pt x="265" y="318"/>
                      </a:lnTo>
                      <a:lnTo>
                        <a:pt x="260" y="292"/>
                      </a:lnTo>
                      <a:lnTo>
                        <a:pt x="248" y="276"/>
                      </a:lnTo>
                      <a:lnTo>
                        <a:pt x="189" y="243"/>
                      </a:lnTo>
                      <a:lnTo>
                        <a:pt x="156" y="236"/>
                      </a:lnTo>
                      <a:lnTo>
                        <a:pt x="135" y="248"/>
                      </a:lnTo>
                      <a:lnTo>
                        <a:pt x="104" y="281"/>
                      </a:lnTo>
                      <a:lnTo>
                        <a:pt x="67" y="292"/>
                      </a:lnTo>
                      <a:lnTo>
                        <a:pt x="67" y="292"/>
                      </a:lnTo>
                      <a:lnTo>
                        <a:pt x="67" y="292"/>
                      </a:lnTo>
                      <a:close/>
                      <a:moveTo>
                        <a:pt x="411" y="276"/>
                      </a:moveTo>
                      <a:lnTo>
                        <a:pt x="411" y="281"/>
                      </a:lnTo>
                      <a:lnTo>
                        <a:pt x="421" y="276"/>
                      </a:lnTo>
                      <a:lnTo>
                        <a:pt x="411" y="276"/>
                      </a:lnTo>
                      <a:lnTo>
                        <a:pt x="411" y="276"/>
                      </a:lnTo>
                      <a:lnTo>
                        <a:pt x="411" y="276"/>
                      </a:lnTo>
                      <a:close/>
                      <a:moveTo>
                        <a:pt x="270" y="387"/>
                      </a:moveTo>
                      <a:lnTo>
                        <a:pt x="248" y="375"/>
                      </a:lnTo>
                      <a:lnTo>
                        <a:pt x="270" y="370"/>
                      </a:lnTo>
                      <a:lnTo>
                        <a:pt x="270" y="387"/>
                      </a:lnTo>
                      <a:lnTo>
                        <a:pt x="270" y="387"/>
                      </a:lnTo>
                      <a:lnTo>
                        <a:pt x="270" y="387"/>
                      </a:lnTo>
                      <a:close/>
                      <a:moveTo>
                        <a:pt x="109" y="569"/>
                      </a:moveTo>
                      <a:lnTo>
                        <a:pt x="119" y="536"/>
                      </a:lnTo>
                      <a:lnTo>
                        <a:pt x="126" y="541"/>
                      </a:lnTo>
                      <a:lnTo>
                        <a:pt x="142" y="541"/>
                      </a:lnTo>
                      <a:lnTo>
                        <a:pt x="189" y="512"/>
                      </a:lnTo>
                      <a:lnTo>
                        <a:pt x="211" y="519"/>
                      </a:lnTo>
                      <a:lnTo>
                        <a:pt x="218" y="536"/>
                      </a:lnTo>
                      <a:lnTo>
                        <a:pt x="206" y="541"/>
                      </a:lnTo>
                      <a:lnTo>
                        <a:pt x="211" y="541"/>
                      </a:lnTo>
                      <a:lnTo>
                        <a:pt x="227" y="574"/>
                      </a:lnTo>
                      <a:lnTo>
                        <a:pt x="211" y="595"/>
                      </a:lnTo>
                      <a:lnTo>
                        <a:pt x="218" y="611"/>
                      </a:lnTo>
                      <a:lnTo>
                        <a:pt x="211" y="696"/>
                      </a:lnTo>
                      <a:lnTo>
                        <a:pt x="173" y="680"/>
                      </a:lnTo>
                      <a:lnTo>
                        <a:pt x="173" y="701"/>
                      </a:lnTo>
                      <a:lnTo>
                        <a:pt x="163" y="706"/>
                      </a:lnTo>
                      <a:lnTo>
                        <a:pt x="152" y="706"/>
                      </a:lnTo>
                      <a:lnTo>
                        <a:pt x="135" y="696"/>
                      </a:lnTo>
                      <a:lnTo>
                        <a:pt x="126" y="706"/>
                      </a:lnTo>
                      <a:lnTo>
                        <a:pt x="126" y="696"/>
                      </a:lnTo>
                      <a:lnTo>
                        <a:pt x="135" y="696"/>
                      </a:lnTo>
                      <a:lnTo>
                        <a:pt x="126" y="668"/>
                      </a:lnTo>
                      <a:lnTo>
                        <a:pt x="135" y="640"/>
                      </a:lnTo>
                      <a:lnTo>
                        <a:pt x="135" y="640"/>
                      </a:lnTo>
                      <a:lnTo>
                        <a:pt x="142" y="630"/>
                      </a:lnTo>
                      <a:lnTo>
                        <a:pt x="126" y="630"/>
                      </a:lnTo>
                      <a:lnTo>
                        <a:pt x="135" y="590"/>
                      </a:lnTo>
                      <a:lnTo>
                        <a:pt x="119" y="569"/>
                      </a:lnTo>
                      <a:lnTo>
                        <a:pt x="109" y="569"/>
                      </a:lnTo>
                      <a:lnTo>
                        <a:pt x="109" y="569"/>
                      </a:lnTo>
                      <a:lnTo>
                        <a:pt x="109" y="569"/>
                      </a:lnTo>
                      <a:lnTo>
                        <a:pt x="109" y="569"/>
                      </a:lnTo>
                      <a:close/>
                      <a:moveTo>
                        <a:pt x="513" y="557"/>
                      </a:moveTo>
                      <a:lnTo>
                        <a:pt x="513" y="552"/>
                      </a:lnTo>
                      <a:lnTo>
                        <a:pt x="520" y="557"/>
                      </a:lnTo>
                      <a:lnTo>
                        <a:pt x="513" y="557"/>
                      </a:lnTo>
                      <a:lnTo>
                        <a:pt x="513" y="557"/>
                      </a:lnTo>
                      <a:lnTo>
                        <a:pt x="513" y="557"/>
                      </a:lnTo>
                      <a:close/>
                      <a:moveTo>
                        <a:pt x="119" y="696"/>
                      </a:moveTo>
                      <a:lnTo>
                        <a:pt x="119" y="685"/>
                      </a:lnTo>
                      <a:lnTo>
                        <a:pt x="119" y="685"/>
                      </a:lnTo>
                      <a:lnTo>
                        <a:pt x="119" y="696"/>
                      </a:lnTo>
                      <a:lnTo>
                        <a:pt x="119" y="696"/>
                      </a:lnTo>
                      <a:lnTo>
                        <a:pt x="119" y="696"/>
                      </a:lnTo>
                      <a:close/>
                      <a:moveTo>
                        <a:pt x="411" y="805"/>
                      </a:moveTo>
                      <a:lnTo>
                        <a:pt x="421" y="789"/>
                      </a:lnTo>
                      <a:lnTo>
                        <a:pt x="433" y="772"/>
                      </a:lnTo>
                      <a:lnTo>
                        <a:pt x="445" y="779"/>
                      </a:lnTo>
                      <a:lnTo>
                        <a:pt x="459" y="779"/>
                      </a:lnTo>
                      <a:lnTo>
                        <a:pt x="459" y="772"/>
                      </a:lnTo>
                      <a:lnTo>
                        <a:pt x="475" y="763"/>
                      </a:lnTo>
                      <a:lnTo>
                        <a:pt x="482" y="779"/>
                      </a:lnTo>
                      <a:lnTo>
                        <a:pt x="504" y="789"/>
                      </a:lnTo>
                      <a:lnTo>
                        <a:pt x="558" y="779"/>
                      </a:lnTo>
                      <a:lnTo>
                        <a:pt x="584" y="772"/>
                      </a:lnTo>
                      <a:lnTo>
                        <a:pt x="596" y="772"/>
                      </a:lnTo>
                      <a:lnTo>
                        <a:pt x="626" y="763"/>
                      </a:lnTo>
                      <a:lnTo>
                        <a:pt x="638" y="763"/>
                      </a:lnTo>
                      <a:lnTo>
                        <a:pt x="605" y="805"/>
                      </a:lnTo>
                      <a:lnTo>
                        <a:pt x="596" y="829"/>
                      </a:lnTo>
                      <a:lnTo>
                        <a:pt x="610" y="866"/>
                      </a:lnTo>
                      <a:lnTo>
                        <a:pt x="605" y="871"/>
                      </a:lnTo>
                      <a:lnTo>
                        <a:pt x="596" y="900"/>
                      </a:lnTo>
                      <a:lnTo>
                        <a:pt x="558" y="890"/>
                      </a:lnTo>
                      <a:lnTo>
                        <a:pt x="534" y="866"/>
                      </a:lnTo>
                      <a:lnTo>
                        <a:pt x="513" y="862"/>
                      </a:lnTo>
                      <a:lnTo>
                        <a:pt x="466" y="829"/>
                      </a:lnTo>
                      <a:lnTo>
                        <a:pt x="428" y="817"/>
                      </a:lnTo>
                      <a:lnTo>
                        <a:pt x="411" y="805"/>
                      </a:lnTo>
                      <a:lnTo>
                        <a:pt x="411" y="805"/>
                      </a:lnTo>
                      <a:lnTo>
                        <a:pt x="411" y="805"/>
                      </a:lnTo>
                      <a:close/>
                      <a:moveTo>
                        <a:pt x="378" y="890"/>
                      </a:moveTo>
                      <a:lnTo>
                        <a:pt x="378" y="883"/>
                      </a:lnTo>
                      <a:lnTo>
                        <a:pt x="390" y="883"/>
                      </a:lnTo>
                      <a:lnTo>
                        <a:pt x="378" y="890"/>
                      </a:lnTo>
                      <a:lnTo>
                        <a:pt x="378" y="890"/>
                      </a:lnTo>
                      <a:lnTo>
                        <a:pt x="378" y="89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02" name="Freeform 381">
                  <a:extLst>
                    <a:ext uri="{FF2B5EF4-FFF2-40B4-BE49-F238E27FC236}">
                      <a16:creationId xmlns:a16="http://schemas.microsoft.com/office/drawing/2014/main" id="{82427A35-F7E0-4290-AE23-9897CAB77C85}"/>
                    </a:ext>
                  </a:extLst>
                </p:cNvPr>
                <p:cNvSpPr>
                  <a:spLocks noEditPoints="1"/>
                </p:cNvSpPr>
                <p:nvPr/>
              </p:nvSpPr>
              <p:spPr bwMode="gray">
                <a:xfrm>
                  <a:off x="8018468" y="2745923"/>
                  <a:ext cx="162609" cy="123515"/>
                </a:xfrm>
                <a:custGeom>
                  <a:avLst/>
                  <a:gdLst>
                    <a:gd name="T0" fmla="*/ 118 w 395"/>
                    <a:gd name="T1" fmla="*/ 229 h 300"/>
                    <a:gd name="T2" fmla="*/ 118 w 395"/>
                    <a:gd name="T3" fmla="*/ 212 h 300"/>
                    <a:gd name="T4" fmla="*/ 102 w 395"/>
                    <a:gd name="T5" fmla="*/ 196 h 300"/>
                    <a:gd name="T6" fmla="*/ 64 w 395"/>
                    <a:gd name="T7" fmla="*/ 168 h 300"/>
                    <a:gd name="T8" fmla="*/ 85 w 395"/>
                    <a:gd name="T9" fmla="*/ 139 h 300"/>
                    <a:gd name="T10" fmla="*/ 47 w 395"/>
                    <a:gd name="T11" fmla="*/ 99 h 300"/>
                    <a:gd name="T12" fmla="*/ 26 w 395"/>
                    <a:gd name="T13" fmla="*/ 73 h 300"/>
                    <a:gd name="T14" fmla="*/ 17 w 395"/>
                    <a:gd name="T15" fmla="*/ 45 h 300"/>
                    <a:gd name="T16" fmla="*/ 71 w 395"/>
                    <a:gd name="T17" fmla="*/ 45 h 300"/>
                    <a:gd name="T18" fmla="*/ 102 w 395"/>
                    <a:gd name="T19" fmla="*/ 57 h 300"/>
                    <a:gd name="T20" fmla="*/ 135 w 395"/>
                    <a:gd name="T21" fmla="*/ 61 h 300"/>
                    <a:gd name="T22" fmla="*/ 109 w 395"/>
                    <a:gd name="T23" fmla="*/ 28 h 300"/>
                    <a:gd name="T24" fmla="*/ 118 w 395"/>
                    <a:gd name="T25" fmla="*/ 0 h 300"/>
                    <a:gd name="T26" fmla="*/ 140 w 395"/>
                    <a:gd name="T27" fmla="*/ 0 h 300"/>
                    <a:gd name="T28" fmla="*/ 177 w 395"/>
                    <a:gd name="T29" fmla="*/ 45 h 300"/>
                    <a:gd name="T30" fmla="*/ 227 w 395"/>
                    <a:gd name="T31" fmla="*/ 57 h 300"/>
                    <a:gd name="T32" fmla="*/ 253 w 395"/>
                    <a:gd name="T33" fmla="*/ 23 h 300"/>
                    <a:gd name="T34" fmla="*/ 303 w 395"/>
                    <a:gd name="T35" fmla="*/ 40 h 300"/>
                    <a:gd name="T36" fmla="*/ 336 w 395"/>
                    <a:gd name="T37" fmla="*/ 94 h 300"/>
                    <a:gd name="T38" fmla="*/ 390 w 395"/>
                    <a:gd name="T39" fmla="*/ 118 h 300"/>
                    <a:gd name="T40" fmla="*/ 362 w 395"/>
                    <a:gd name="T41" fmla="*/ 134 h 300"/>
                    <a:gd name="T42" fmla="*/ 319 w 395"/>
                    <a:gd name="T43" fmla="*/ 205 h 300"/>
                    <a:gd name="T44" fmla="*/ 319 w 395"/>
                    <a:gd name="T45" fmla="*/ 222 h 300"/>
                    <a:gd name="T46" fmla="*/ 303 w 395"/>
                    <a:gd name="T47" fmla="*/ 246 h 300"/>
                    <a:gd name="T48" fmla="*/ 298 w 395"/>
                    <a:gd name="T49" fmla="*/ 229 h 300"/>
                    <a:gd name="T50" fmla="*/ 269 w 395"/>
                    <a:gd name="T51" fmla="*/ 300 h 300"/>
                    <a:gd name="T52" fmla="*/ 248 w 395"/>
                    <a:gd name="T53" fmla="*/ 279 h 300"/>
                    <a:gd name="T54" fmla="*/ 232 w 395"/>
                    <a:gd name="T55" fmla="*/ 250 h 300"/>
                    <a:gd name="T56" fmla="*/ 232 w 395"/>
                    <a:gd name="T57" fmla="*/ 222 h 300"/>
                    <a:gd name="T58" fmla="*/ 227 w 395"/>
                    <a:gd name="T59" fmla="*/ 184 h 300"/>
                    <a:gd name="T60" fmla="*/ 123 w 395"/>
                    <a:gd name="T61" fmla="*/ 250 h 300"/>
                    <a:gd name="T62" fmla="*/ 123 w 395"/>
                    <a:gd name="T63" fmla="*/ 250 h 300"/>
                    <a:gd name="T64" fmla="*/ 55 w 395"/>
                    <a:gd name="T65" fmla="*/ 99 h 300"/>
                    <a:gd name="T66" fmla="*/ 55 w 395"/>
                    <a:gd name="T67" fmla="*/ 111 h 300"/>
                    <a:gd name="T68" fmla="*/ 55 w 395"/>
                    <a:gd name="T69" fmla="*/ 111 h 300"/>
                    <a:gd name="T70" fmla="*/ 0 w 395"/>
                    <a:gd name="T71" fmla="*/ 189 h 300"/>
                    <a:gd name="T72" fmla="*/ 47 w 395"/>
                    <a:gd name="T73" fmla="*/ 205 h 300"/>
                    <a:gd name="T74" fmla="*/ 80 w 395"/>
                    <a:gd name="T75" fmla="*/ 212 h 300"/>
                    <a:gd name="T76" fmla="*/ 85 w 395"/>
                    <a:gd name="T77" fmla="*/ 229 h 300"/>
                    <a:gd name="T78" fmla="*/ 47 w 395"/>
                    <a:gd name="T79" fmla="*/ 246 h 300"/>
                    <a:gd name="T80" fmla="*/ 26 w 395"/>
                    <a:gd name="T81" fmla="*/ 229 h 300"/>
                    <a:gd name="T82" fmla="*/ 0 w 395"/>
                    <a:gd name="T83" fmla="*/ 18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5" h="300">
                      <a:moveTo>
                        <a:pt x="123" y="250"/>
                      </a:moveTo>
                      <a:lnTo>
                        <a:pt x="118" y="229"/>
                      </a:lnTo>
                      <a:lnTo>
                        <a:pt x="135" y="229"/>
                      </a:lnTo>
                      <a:lnTo>
                        <a:pt x="118" y="212"/>
                      </a:lnTo>
                      <a:lnTo>
                        <a:pt x="123" y="196"/>
                      </a:lnTo>
                      <a:lnTo>
                        <a:pt x="102" y="196"/>
                      </a:lnTo>
                      <a:lnTo>
                        <a:pt x="71" y="168"/>
                      </a:lnTo>
                      <a:lnTo>
                        <a:pt x="64" y="168"/>
                      </a:lnTo>
                      <a:lnTo>
                        <a:pt x="80" y="156"/>
                      </a:lnTo>
                      <a:lnTo>
                        <a:pt x="85" y="139"/>
                      </a:lnTo>
                      <a:lnTo>
                        <a:pt x="55" y="127"/>
                      </a:lnTo>
                      <a:lnTo>
                        <a:pt x="47" y="99"/>
                      </a:lnTo>
                      <a:lnTo>
                        <a:pt x="64" y="83"/>
                      </a:lnTo>
                      <a:lnTo>
                        <a:pt x="26" y="73"/>
                      </a:lnTo>
                      <a:lnTo>
                        <a:pt x="33" y="61"/>
                      </a:lnTo>
                      <a:lnTo>
                        <a:pt x="17" y="45"/>
                      </a:lnTo>
                      <a:lnTo>
                        <a:pt x="38" y="40"/>
                      </a:lnTo>
                      <a:lnTo>
                        <a:pt x="71" y="45"/>
                      </a:lnTo>
                      <a:lnTo>
                        <a:pt x="80" y="57"/>
                      </a:lnTo>
                      <a:lnTo>
                        <a:pt x="102" y="57"/>
                      </a:lnTo>
                      <a:lnTo>
                        <a:pt x="123" y="73"/>
                      </a:lnTo>
                      <a:lnTo>
                        <a:pt x="135" y="61"/>
                      </a:lnTo>
                      <a:lnTo>
                        <a:pt x="135" y="45"/>
                      </a:lnTo>
                      <a:lnTo>
                        <a:pt x="109" y="28"/>
                      </a:lnTo>
                      <a:lnTo>
                        <a:pt x="102" y="16"/>
                      </a:lnTo>
                      <a:lnTo>
                        <a:pt x="118" y="0"/>
                      </a:lnTo>
                      <a:lnTo>
                        <a:pt x="135" y="5"/>
                      </a:lnTo>
                      <a:lnTo>
                        <a:pt x="140" y="0"/>
                      </a:lnTo>
                      <a:lnTo>
                        <a:pt x="173" y="28"/>
                      </a:lnTo>
                      <a:lnTo>
                        <a:pt x="177" y="45"/>
                      </a:lnTo>
                      <a:lnTo>
                        <a:pt x="210" y="61"/>
                      </a:lnTo>
                      <a:lnTo>
                        <a:pt x="227" y="57"/>
                      </a:lnTo>
                      <a:lnTo>
                        <a:pt x="232" y="40"/>
                      </a:lnTo>
                      <a:lnTo>
                        <a:pt x="253" y="23"/>
                      </a:lnTo>
                      <a:lnTo>
                        <a:pt x="269" y="5"/>
                      </a:lnTo>
                      <a:lnTo>
                        <a:pt x="303" y="40"/>
                      </a:lnTo>
                      <a:lnTo>
                        <a:pt x="307" y="73"/>
                      </a:lnTo>
                      <a:lnTo>
                        <a:pt x="336" y="94"/>
                      </a:lnTo>
                      <a:lnTo>
                        <a:pt x="336" y="99"/>
                      </a:lnTo>
                      <a:lnTo>
                        <a:pt x="390" y="118"/>
                      </a:lnTo>
                      <a:lnTo>
                        <a:pt x="395" y="139"/>
                      </a:lnTo>
                      <a:lnTo>
                        <a:pt x="362" y="134"/>
                      </a:lnTo>
                      <a:lnTo>
                        <a:pt x="336" y="151"/>
                      </a:lnTo>
                      <a:lnTo>
                        <a:pt x="319" y="205"/>
                      </a:lnTo>
                      <a:lnTo>
                        <a:pt x="324" y="212"/>
                      </a:lnTo>
                      <a:lnTo>
                        <a:pt x="319" y="222"/>
                      </a:lnTo>
                      <a:lnTo>
                        <a:pt x="307" y="246"/>
                      </a:lnTo>
                      <a:lnTo>
                        <a:pt x="303" y="246"/>
                      </a:lnTo>
                      <a:lnTo>
                        <a:pt x="307" y="238"/>
                      </a:lnTo>
                      <a:lnTo>
                        <a:pt x="298" y="229"/>
                      </a:lnTo>
                      <a:lnTo>
                        <a:pt x="286" y="295"/>
                      </a:lnTo>
                      <a:lnTo>
                        <a:pt x="269" y="300"/>
                      </a:lnTo>
                      <a:lnTo>
                        <a:pt x="253" y="279"/>
                      </a:lnTo>
                      <a:lnTo>
                        <a:pt x="248" y="279"/>
                      </a:lnTo>
                      <a:lnTo>
                        <a:pt x="232" y="262"/>
                      </a:lnTo>
                      <a:lnTo>
                        <a:pt x="232" y="250"/>
                      </a:lnTo>
                      <a:lnTo>
                        <a:pt x="248" y="246"/>
                      </a:lnTo>
                      <a:lnTo>
                        <a:pt x="232" y="222"/>
                      </a:lnTo>
                      <a:lnTo>
                        <a:pt x="253" y="212"/>
                      </a:lnTo>
                      <a:lnTo>
                        <a:pt x="227" y="184"/>
                      </a:lnTo>
                      <a:lnTo>
                        <a:pt x="147" y="229"/>
                      </a:lnTo>
                      <a:lnTo>
                        <a:pt x="123" y="250"/>
                      </a:lnTo>
                      <a:lnTo>
                        <a:pt x="123" y="250"/>
                      </a:lnTo>
                      <a:lnTo>
                        <a:pt x="123" y="250"/>
                      </a:lnTo>
                      <a:close/>
                      <a:moveTo>
                        <a:pt x="55" y="111"/>
                      </a:moveTo>
                      <a:lnTo>
                        <a:pt x="55" y="99"/>
                      </a:lnTo>
                      <a:lnTo>
                        <a:pt x="55" y="99"/>
                      </a:lnTo>
                      <a:lnTo>
                        <a:pt x="55" y="111"/>
                      </a:lnTo>
                      <a:lnTo>
                        <a:pt x="55" y="111"/>
                      </a:lnTo>
                      <a:lnTo>
                        <a:pt x="55" y="111"/>
                      </a:lnTo>
                      <a:close/>
                      <a:moveTo>
                        <a:pt x="0" y="189"/>
                      </a:moveTo>
                      <a:lnTo>
                        <a:pt x="0" y="189"/>
                      </a:lnTo>
                      <a:lnTo>
                        <a:pt x="26" y="184"/>
                      </a:lnTo>
                      <a:lnTo>
                        <a:pt x="47" y="205"/>
                      </a:lnTo>
                      <a:lnTo>
                        <a:pt x="71" y="196"/>
                      </a:lnTo>
                      <a:lnTo>
                        <a:pt x="80" y="212"/>
                      </a:lnTo>
                      <a:lnTo>
                        <a:pt x="85" y="222"/>
                      </a:lnTo>
                      <a:lnTo>
                        <a:pt x="85" y="229"/>
                      </a:lnTo>
                      <a:lnTo>
                        <a:pt x="102" y="262"/>
                      </a:lnTo>
                      <a:lnTo>
                        <a:pt x="47" y="246"/>
                      </a:lnTo>
                      <a:lnTo>
                        <a:pt x="38" y="229"/>
                      </a:lnTo>
                      <a:lnTo>
                        <a:pt x="26" y="229"/>
                      </a:lnTo>
                      <a:lnTo>
                        <a:pt x="0" y="189"/>
                      </a:lnTo>
                      <a:lnTo>
                        <a:pt x="0" y="189"/>
                      </a:lnTo>
                      <a:lnTo>
                        <a:pt x="0" y="18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03" name="Freeform 382">
                  <a:extLst>
                    <a:ext uri="{FF2B5EF4-FFF2-40B4-BE49-F238E27FC236}">
                      <a16:creationId xmlns:a16="http://schemas.microsoft.com/office/drawing/2014/main" id="{97362FCE-1D95-4929-97E5-5B40274A3245}"/>
                    </a:ext>
                  </a:extLst>
                </p:cNvPr>
                <p:cNvSpPr>
                  <a:spLocks/>
                </p:cNvSpPr>
                <p:nvPr/>
              </p:nvSpPr>
              <p:spPr bwMode="gray">
                <a:xfrm>
                  <a:off x="7281578" y="2717516"/>
                  <a:ext cx="51458" cy="106223"/>
                </a:xfrm>
                <a:custGeom>
                  <a:avLst/>
                  <a:gdLst>
                    <a:gd name="T0" fmla="*/ 7 w 125"/>
                    <a:gd name="T1" fmla="*/ 66 h 258"/>
                    <a:gd name="T2" fmla="*/ 7 w 125"/>
                    <a:gd name="T3" fmla="*/ 50 h 258"/>
                    <a:gd name="T4" fmla="*/ 0 w 125"/>
                    <a:gd name="T5" fmla="*/ 40 h 258"/>
                    <a:gd name="T6" fmla="*/ 33 w 125"/>
                    <a:gd name="T7" fmla="*/ 0 h 258"/>
                    <a:gd name="T8" fmla="*/ 37 w 125"/>
                    <a:gd name="T9" fmla="*/ 0 h 258"/>
                    <a:gd name="T10" fmla="*/ 37 w 125"/>
                    <a:gd name="T11" fmla="*/ 17 h 258"/>
                    <a:gd name="T12" fmla="*/ 54 w 125"/>
                    <a:gd name="T13" fmla="*/ 12 h 258"/>
                    <a:gd name="T14" fmla="*/ 71 w 125"/>
                    <a:gd name="T15" fmla="*/ 22 h 258"/>
                    <a:gd name="T16" fmla="*/ 92 w 125"/>
                    <a:gd name="T17" fmla="*/ 33 h 258"/>
                    <a:gd name="T18" fmla="*/ 92 w 125"/>
                    <a:gd name="T19" fmla="*/ 66 h 258"/>
                    <a:gd name="T20" fmla="*/ 87 w 125"/>
                    <a:gd name="T21" fmla="*/ 95 h 258"/>
                    <a:gd name="T22" fmla="*/ 92 w 125"/>
                    <a:gd name="T23" fmla="*/ 107 h 258"/>
                    <a:gd name="T24" fmla="*/ 87 w 125"/>
                    <a:gd name="T25" fmla="*/ 111 h 258"/>
                    <a:gd name="T26" fmla="*/ 96 w 125"/>
                    <a:gd name="T27" fmla="*/ 152 h 258"/>
                    <a:gd name="T28" fmla="*/ 108 w 125"/>
                    <a:gd name="T29" fmla="*/ 152 h 258"/>
                    <a:gd name="T30" fmla="*/ 125 w 125"/>
                    <a:gd name="T31" fmla="*/ 152 h 258"/>
                    <a:gd name="T32" fmla="*/ 125 w 125"/>
                    <a:gd name="T33" fmla="*/ 180 h 258"/>
                    <a:gd name="T34" fmla="*/ 108 w 125"/>
                    <a:gd name="T35" fmla="*/ 196 h 258"/>
                    <a:gd name="T36" fmla="*/ 96 w 125"/>
                    <a:gd name="T37" fmla="*/ 218 h 258"/>
                    <a:gd name="T38" fmla="*/ 75 w 125"/>
                    <a:gd name="T39" fmla="*/ 237 h 258"/>
                    <a:gd name="T40" fmla="*/ 87 w 125"/>
                    <a:gd name="T41" fmla="*/ 241 h 258"/>
                    <a:gd name="T42" fmla="*/ 71 w 125"/>
                    <a:gd name="T43" fmla="*/ 253 h 258"/>
                    <a:gd name="T44" fmla="*/ 75 w 125"/>
                    <a:gd name="T45" fmla="*/ 253 h 258"/>
                    <a:gd name="T46" fmla="*/ 71 w 125"/>
                    <a:gd name="T47" fmla="*/ 258 h 258"/>
                    <a:gd name="T48" fmla="*/ 54 w 125"/>
                    <a:gd name="T49" fmla="*/ 258 h 258"/>
                    <a:gd name="T50" fmla="*/ 45 w 125"/>
                    <a:gd name="T51" fmla="*/ 225 h 258"/>
                    <a:gd name="T52" fmla="*/ 16 w 125"/>
                    <a:gd name="T53" fmla="*/ 208 h 258"/>
                    <a:gd name="T54" fmla="*/ 0 w 125"/>
                    <a:gd name="T55" fmla="*/ 196 h 258"/>
                    <a:gd name="T56" fmla="*/ 16 w 125"/>
                    <a:gd name="T57" fmla="*/ 201 h 258"/>
                    <a:gd name="T58" fmla="*/ 16 w 125"/>
                    <a:gd name="T59" fmla="*/ 180 h 258"/>
                    <a:gd name="T60" fmla="*/ 7 w 125"/>
                    <a:gd name="T61" fmla="*/ 180 h 258"/>
                    <a:gd name="T62" fmla="*/ 7 w 125"/>
                    <a:gd name="T63" fmla="*/ 152 h 258"/>
                    <a:gd name="T64" fmla="*/ 16 w 125"/>
                    <a:gd name="T65" fmla="*/ 152 h 258"/>
                    <a:gd name="T66" fmla="*/ 16 w 125"/>
                    <a:gd name="T67" fmla="*/ 140 h 258"/>
                    <a:gd name="T68" fmla="*/ 16 w 125"/>
                    <a:gd name="T69" fmla="*/ 123 h 258"/>
                    <a:gd name="T70" fmla="*/ 16 w 125"/>
                    <a:gd name="T71" fmla="*/ 107 h 258"/>
                    <a:gd name="T72" fmla="*/ 21 w 125"/>
                    <a:gd name="T73" fmla="*/ 90 h 258"/>
                    <a:gd name="T74" fmla="*/ 21 w 125"/>
                    <a:gd name="T75" fmla="*/ 74 h 258"/>
                    <a:gd name="T76" fmla="*/ 7 w 125"/>
                    <a:gd name="T77" fmla="*/ 66 h 258"/>
                    <a:gd name="T78" fmla="*/ 7 w 125"/>
                    <a:gd name="T79" fmla="*/ 66 h 258"/>
                    <a:gd name="T80" fmla="*/ 7 w 125"/>
                    <a:gd name="T81" fmla="*/ 6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5" h="258">
                      <a:moveTo>
                        <a:pt x="7" y="66"/>
                      </a:moveTo>
                      <a:lnTo>
                        <a:pt x="7" y="50"/>
                      </a:lnTo>
                      <a:lnTo>
                        <a:pt x="0" y="40"/>
                      </a:lnTo>
                      <a:lnTo>
                        <a:pt x="33" y="0"/>
                      </a:lnTo>
                      <a:lnTo>
                        <a:pt x="37" y="0"/>
                      </a:lnTo>
                      <a:lnTo>
                        <a:pt x="37" y="17"/>
                      </a:lnTo>
                      <a:lnTo>
                        <a:pt x="54" y="12"/>
                      </a:lnTo>
                      <a:lnTo>
                        <a:pt x="71" y="22"/>
                      </a:lnTo>
                      <a:lnTo>
                        <a:pt x="92" y="33"/>
                      </a:lnTo>
                      <a:lnTo>
                        <a:pt x="92" y="66"/>
                      </a:lnTo>
                      <a:lnTo>
                        <a:pt x="87" y="95"/>
                      </a:lnTo>
                      <a:lnTo>
                        <a:pt x="92" y="107"/>
                      </a:lnTo>
                      <a:lnTo>
                        <a:pt x="87" y="111"/>
                      </a:lnTo>
                      <a:lnTo>
                        <a:pt x="96" y="152"/>
                      </a:lnTo>
                      <a:lnTo>
                        <a:pt x="108" y="152"/>
                      </a:lnTo>
                      <a:lnTo>
                        <a:pt x="125" y="152"/>
                      </a:lnTo>
                      <a:lnTo>
                        <a:pt x="125" y="180"/>
                      </a:lnTo>
                      <a:lnTo>
                        <a:pt x="108" y="196"/>
                      </a:lnTo>
                      <a:lnTo>
                        <a:pt x="96" y="218"/>
                      </a:lnTo>
                      <a:lnTo>
                        <a:pt x="75" y="237"/>
                      </a:lnTo>
                      <a:lnTo>
                        <a:pt x="87" y="241"/>
                      </a:lnTo>
                      <a:lnTo>
                        <a:pt x="71" y="253"/>
                      </a:lnTo>
                      <a:lnTo>
                        <a:pt x="75" y="253"/>
                      </a:lnTo>
                      <a:lnTo>
                        <a:pt x="71" y="258"/>
                      </a:lnTo>
                      <a:lnTo>
                        <a:pt x="54" y="258"/>
                      </a:lnTo>
                      <a:lnTo>
                        <a:pt x="45" y="225"/>
                      </a:lnTo>
                      <a:lnTo>
                        <a:pt x="16" y="208"/>
                      </a:lnTo>
                      <a:lnTo>
                        <a:pt x="0" y="196"/>
                      </a:lnTo>
                      <a:lnTo>
                        <a:pt x="16" y="201"/>
                      </a:lnTo>
                      <a:lnTo>
                        <a:pt x="16" y="180"/>
                      </a:lnTo>
                      <a:lnTo>
                        <a:pt x="7" y="180"/>
                      </a:lnTo>
                      <a:lnTo>
                        <a:pt x="7" y="152"/>
                      </a:lnTo>
                      <a:lnTo>
                        <a:pt x="16" y="152"/>
                      </a:lnTo>
                      <a:lnTo>
                        <a:pt x="16" y="140"/>
                      </a:lnTo>
                      <a:lnTo>
                        <a:pt x="16" y="123"/>
                      </a:lnTo>
                      <a:lnTo>
                        <a:pt x="16" y="107"/>
                      </a:lnTo>
                      <a:lnTo>
                        <a:pt x="21" y="90"/>
                      </a:lnTo>
                      <a:lnTo>
                        <a:pt x="21" y="74"/>
                      </a:lnTo>
                      <a:lnTo>
                        <a:pt x="7" y="66"/>
                      </a:lnTo>
                      <a:lnTo>
                        <a:pt x="7" y="66"/>
                      </a:lnTo>
                      <a:lnTo>
                        <a:pt x="7" y="6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04" name="Freeform 383">
                  <a:extLst>
                    <a:ext uri="{FF2B5EF4-FFF2-40B4-BE49-F238E27FC236}">
                      <a16:creationId xmlns:a16="http://schemas.microsoft.com/office/drawing/2014/main" id="{D7119484-56A5-466B-8440-47E7C02009FB}"/>
                    </a:ext>
                  </a:extLst>
                </p:cNvPr>
                <p:cNvSpPr>
                  <a:spLocks noEditPoints="1"/>
                </p:cNvSpPr>
                <p:nvPr/>
              </p:nvSpPr>
              <p:spPr bwMode="gray">
                <a:xfrm>
                  <a:off x="7979772" y="2763216"/>
                  <a:ext cx="93037" cy="90577"/>
                </a:xfrm>
                <a:custGeom>
                  <a:avLst/>
                  <a:gdLst>
                    <a:gd name="T0" fmla="*/ 217 w 226"/>
                    <a:gd name="T1" fmla="*/ 208 h 220"/>
                    <a:gd name="T2" fmla="*/ 193 w 226"/>
                    <a:gd name="T3" fmla="*/ 220 h 220"/>
                    <a:gd name="T4" fmla="*/ 177 w 226"/>
                    <a:gd name="T5" fmla="*/ 187 h 220"/>
                    <a:gd name="T6" fmla="*/ 177 w 226"/>
                    <a:gd name="T7" fmla="*/ 180 h 220"/>
                    <a:gd name="T8" fmla="*/ 172 w 226"/>
                    <a:gd name="T9" fmla="*/ 170 h 220"/>
                    <a:gd name="T10" fmla="*/ 163 w 226"/>
                    <a:gd name="T11" fmla="*/ 152 h 220"/>
                    <a:gd name="T12" fmla="*/ 139 w 226"/>
                    <a:gd name="T13" fmla="*/ 163 h 220"/>
                    <a:gd name="T14" fmla="*/ 118 w 226"/>
                    <a:gd name="T15" fmla="*/ 142 h 220"/>
                    <a:gd name="T16" fmla="*/ 92 w 226"/>
                    <a:gd name="T17" fmla="*/ 147 h 220"/>
                    <a:gd name="T18" fmla="*/ 63 w 226"/>
                    <a:gd name="T19" fmla="*/ 114 h 220"/>
                    <a:gd name="T20" fmla="*/ 33 w 226"/>
                    <a:gd name="T21" fmla="*/ 114 h 220"/>
                    <a:gd name="T22" fmla="*/ 16 w 226"/>
                    <a:gd name="T23" fmla="*/ 107 h 220"/>
                    <a:gd name="T24" fmla="*/ 16 w 226"/>
                    <a:gd name="T25" fmla="*/ 107 h 220"/>
                    <a:gd name="T26" fmla="*/ 9 w 226"/>
                    <a:gd name="T27" fmla="*/ 85 h 220"/>
                    <a:gd name="T28" fmla="*/ 21 w 226"/>
                    <a:gd name="T29" fmla="*/ 52 h 220"/>
                    <a:gd name="T30" fmla="*/ 0 w 226"/>
                    <a:gd name="T31" fmla="*/ 17 h 220"/>
                    <a:gd name="T32" fmla="*/ 101 w 226"/>
                    <a:gd name="T33" fmla="*/ 12 h 220"/>
                    <a:gd name="T34" fmla="*/ 108 w 226"/>
                    <a:gd name="T35" fmla="*/ 0 h 220"/>
                    <a:gd name="T36" fmla="*/ 125 w 226"/>
                    <a:gd name="T37" fmla="*/ 17 h 220"/>
                    <a:gd name="T38" fmla="*/ 118 w 226"/>
                    <a:gd name="T39" fmla="*/ 29 h 220"/>
                    <a:gd name="T40" fmla="*/ 156 w 226"/>
                    <a:gd name="T41" fmla="*/ 41 h 220"/>
                    <a:gd name="T42" fmla="*/ 139 w 226"/>
                    <a:gd name="T43" fmla="*/ 57 h 220"/>
                    <a:gd name="T44" fmla="*/ 146 w 226"/>
                    <a:gd name="T45" fmla="*/ 85 h 220"/>
                    <a:gd name="T46" fmla="*/ 177 w 226"/>
                    <a:gd name="T47" fmla="*/ 97 h 220"/>
                    <a:gd name="T48" fmla="*/ 172 w 226"/>
                    <a:gd name="T49" fmla="*/ 114 h 220"/>
                    <a:gd name="T50" fmla="*/ 156 w 226"/>
                    <a:gd name="T51" fmla="*/ 126 h 220"/>
                    <a:gd name="T52" fmla="*/ 163 w 226"/>
                    <a:gd name="T53" fmla="*/ 126 h 220"/>
                    <a:gd name="T54" fmla="*/ 193 w 226"/>
                    <a:gd name="T55" fmla="*/ 152 h 220"/>
                    <a:gd name="T56" fmla="*/ 217 w 226"/>
                    <a:gd name="T57" fmla="*/ 152 h 220"/>
                    <a:gd name="T58" fmla="*/ 210 w 226"/>
                    <a:gd name="T59" fmla="*/ 170 h 220"/>
                    <a:gd name="T60" fmla="*/ 226 w 226"/>
                    <a:gd name="T61" fmla="*/ 187 h 220"/>
                    <a:gd name="T62" fmla="*/ 210 w 226"/>
                    <a:gd name="T63" fmla="*/ 187 h 220"/>
                    <a:gd name="T64" fmla="*/ 217 w 226"/>
                    <a:gd name="T65" fmla="*/ 208 h 220"/>
                    <a:gd name="T66" fmla="*/ 217 w 226"/>
                    <a:gd name="T67" fmla="*/ 208 h 220"/>
                    <a:gd name="T68" fmla="*/ 217 w 226"/>
                    <a:gd name="T69" fmla="*/ 208 h 220"/>
                    <a:gd name="T70" fmla="*/ 146 w 226"/>
                    <a:gd name="T71" fmla="*/ 69 h 220"/>
                    <a:gd name="T72" fmla="*/ 146 w 226"/>
                    <a:gd name="T73" fmla="*/ 57 h 220"/>
                    <a:gd name="T74" fmla="*/ 146 w 226"/>
                    <a:gd name="T75" fmla="*/ 57 h 220"/>
                    <a:gd name="T76" fmla="*/ 146 w 226"/>
                    <a:gd name="T77" fmla="*/ 69 h 220"/>
                    <a:gd name="T78" fmla="*/ 146 w 226"/>
                    <a:gd name="T79" fmla="*/ 69 h 220"/>
                    <a:gd name="T80" fmla="*/ 146 w 226"/>
                    <a:gd name="T81" fmla="*/ 6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6" h="220">
                      <a:moveTo>
                        <a:pt x="217" y="208"/>
                      </a:moveTo>
                      <a:lnTo>
                        <a:pt x="193" y="220"/>
                      </a:lnTo>
                      <a:lnTo>
                        <a:pt x="177" y="187"/>
                      </a:lnTo>
                      <a:lnTo>
                        <a:pt x="177" y="180"/>
                      </a:lnTo>
                      <a:lnTo>
                        <a:pt x="172" y="170"/>
                      </a:lnTo>
                      <a:lnTo>
                        <a:pt x="163" y="152"/>
                      </a:lnTo>
                      <a:lnTo>
                        <a:pt x="139" y="163"/>
                      </a:lnTo>
                      <a:lnTo>
                        <a:pt x="118" y="142"/>
                      </a:lnTo>
                      <a:lnTo>
                        <a:pt x="92" y="147"/>
                      </a:lnTo>
                      <a:lnTo>
                        <a:pt x="63" y="114"/>
                      </a:lnTo>
                      <a:lnTo>
                        <a:pt x="33" y="114"/>
                      </a:lnTo>
                      <a:lnTo>
                        <a:pt x="16" y="107"/>
                      </a:lnTo>
                      <a:lnTo>
                        <a:pt x="16" y="107"/>
                      </a:lnTo>
                      <a:lnTo>
                        <a:pt x="9" y="85"/>
                      </a:lnTo>
                      <a:lnTo>
                        <a:pt x="21" y="52"/>
                      </a:lnTo>
                      <a:lnTo>
                        <a:pt x="0" y="17"/>
                      </a:lnTo>
                      <a:lnTo>
                        <a:pt x="101" y="12"/>
                      </a:lnTo>
                      <a:lnTo>
                        <a:pt x="108" y="0"/>
                      </a:lnTo>
                      <a:lnTo>
                        <a:pt x="125" y="17"/>
                      </a:lnTo>
                      <a:lnTo>
                        <a:pt x="118" y="29"/>
                      </a:lnTo>
                      <a:lnTo>
                        <a:pt x="156" y="41"/>
                      </a:lnTo>
                      <a:lnTo>
                        <a:pt x="139" y="57"/>
                      </a:lnTo>
                      <a:lnTo>
                        <a:pt x="146" y="85"/>
                      </a:lnTo>
                      <a:lnTo>
                        <a:pt x="177" y="97"/>
                      </a:lnTo>
                      <a:lnTo>
                        <a:pt x="172" y="114"/>
                      </a:lnTo>
                      <a:lnTo>
                        <a:pt x="156" y="126"/>
                      </a:lnTo>
                      <a:lnTo>
                        <a:pt x="163" y="126"/>
                      </a:lnTo>
                      <a:lnTo>
                        <a:pt x="193" y="152"/>
                      </a:lnTo>
                      <a:lnTo>
                        <a:pt x="217" y="152"/>
                      </a:lnTo>
                      <a:lnTo>
                        <a:pt x="210" y="170"/>
                      </a:lnTo>
                      <a:lnTo>
                        <a:pt x="226" y="187"/>
                      </a:lnTo>
                      <a:lnTo>
                        <a:pt x="210" y="187"/>
                      </a:lnTo>
                      <a:lnTo>
                        <a:pt x="217" y="208"/>
                      </a:lnTo>
                      <a:lnTo>
                        <a:pt x="217" y="208"/>
                      </a:lnTo>
                      <a:lnTo>
                        <a:pt x="217" y="208"/>
                      </a:lnTo>
                      <a:close/>
                      <a:moveTo>
                        <a:pt x="146" y="69"/>
                      </a:moveTo>
                      <a:lnTo>
                        <a:pt x="146" y="57"/>
                      </a:lnTo>
                      <a:lnTo>
                        <a:pt x="146" y="57"/>
                      </a:lnTo>
                      <a:lnTo>
                        <a:pt x="146" y="69"/>
                      </a:lnTo>
                      <a:lnTo>
                        <a:pt x="146" y="69"/>
                      </a:lnTo>
                      <a:lnTo>
                        <a:pt x="146" y="6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05" name="Freeform 384">
                  <a:extLst>
                    <a:ext uri="{FF2B5EF4-FFF2-40B4-BE49-F238E27FC236}">
                      <a16:creationId xmlns:a16="http://schemas.microsoft.com/office/drawing/2014/main" id="{DDFE6910-08AE-4FA1-BE92-3D902F61916B}"/>
                    </a:ext>
                  </a:extLst>
                </p:cNvPr>
                <p:cNvSpPr>
                  <a:spLocks/>
                </p:cNvSpPr>
                <p:nvPr/>
              </p:nvSpPr>
              <p:spPr bwMode="gray">
                <a:xfrm>
                  <a:off x="6766167" y="2717516"/>
                  <a:ext cx="12350" cy="6999"/>
                </a:xfrm>
                <a:custGeom>
                  <a:avLst/>
                  <a:gdLst>
                    <a:gd name="T0" fmla="*/ 0 w 30"/>
                    <a:gd name="T1" fmla="*/ 0 h 17"/>
                    <a:gd name="T2" fmla="*/ 30 w 30"/>
                    <a:gd name="T3" fmla="*/ 0 h 17"/>
                    <a:gd name="T4" fmla="*/ 30 w 30"/>
                    <a:gd name="T5" fmla="*/ 12 h 17"/>
                    <a:gd name="T6" fmla="*/ 0 w 30"/>
                    <a:gd name="T7" fmla="*/ 17 h 17"/>
                    <a:gd name="T8" fmla="*/ 0 w 30"/>
                    <a:gd name="T9" fmla="*/ 0 h 17"/>
                    <a:gd name="T10" fmla="*/ 0 w 30"/>
                    <a:gd name="T11" fmla="*/ 0 h 17"/>
                    <a:gd name="T12" fmla="*/ 0 w 30"/>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30" h="17">
                      <a:moveTo>
                        <a:pt x="0" y="0"/>
                      </a:moveTo>
                      <a:lnTo>
                        <a:pt x="30" y="0"/>
                      </a:lnTo>
                      <a:lnTo>
                        <a:pt x="30" y="12"/>
                      </a:lnTo>
                      <a:lnTo>
                        <a:pt x="0" y="17"/>
                      </a:lnTo>
                      <a:lnTo>
                        <a:pt x="0" y="0"/>
                      </a:lnTo>
                      <a:lnTo>
                        <a:pt x="0" y="0"/>
                      </a:lnTo>
                      <a:lnTo>
                        <a:pt x="0"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15" name="Freeform 393">
                  <a:extLst>
                    <a:ext uri="{FF2B5EF4-FFF2-40B4-BE49-F238E27FC236}">
                      <a16:creationId xmlns:a16="http://schemas.microsoft.com/office/drawing/2014/main" id="{14A7943B-8244-4F06-9406-C2CC9B8ACBD1}"/>
                    </a:ext>
                  </a:extLst>
                </p:cNvPr>
                <p:cNvSpPr>
                  <a:spLocks/>
                </p:cNvSpPr>
                <p:nvPr/>
              </p:nvSpPr>
              <p:spPr bwMode="gray">
                <a:xfrm>
                  <a:off x="6799101" y="2384849"/>
                  <a:ext cx="111975" cy="79874"/>
                </a:xfrm>
                <a:custGeom>
                  <a:avLst/>
                  <a:gdLst>
                    <a:gd name="T0" fmla="*/ 255 w 272"/>
                    <a:gd name="T1" fmla="*/ 128 h 194"/>
                    <a:gd name="T2" fmla="*/ 239 w 272"/>
                    <a:gd name="T3" fmla="*/ 128 h 194"/>
                    <a:gd name="T4" fmla="*/ 222 w 272"/>
                    <a:gd name="T5" fmla="*/ 145 h 194"/>
                    <a:gd name="T6" fmla="*/ 222 w 272"/>
                    <a:gd name="T7" fmla="*/ 161 h 194"/>
                    <a:gd name="T8" fmla="*/ 239 w 272"/>
                    <a:gd name="T9" fmla="*/ 178 h 194"/>
                    <a:gd name="T10" fmla="*/ 227 w 272"/>
                    <a:gd name="T11" fmla="*/ 185 h 194"/>
                    <a:gd name="T12" fmla="*/ 206 w 272"/>
                    <a:gd name="T13" fmla="*/ 194 h 194"/>
                    <a:gd name="T14" fmla="*/ 189 w 272"/>
                    <a:gd name="T15" fmla="*/ 178 h 194"/>
                    <a:gd name="T16" fmla="*/ 163 w 272"/>
                    <a:gd name="T17" fmla="*/ 161 h 194"/>
                    <a:gd name="T18" fmla="*/ 163 w 272"/>
                    <a:gd name="T19" fmla="*/ 145 h 194"/>
                    <a:gd name="T20" fmla="*/ 163 w 272"/>
                    <a:gd name="T21" fmla="*/ 128 h 194"/>
                    <a:gd name="T22" fmla="*/ 163 w 272"/>
                    <a:gd name="T23" fmla="*/ 128 h 194"/>
                    <a:gd name="T24" fmla="*/ 137 w 272"/>
                    <a:gd name="T25" fmla="*/ 156 h 194"/>
                    <a:gd name="T26" fmla="*/ 113 w 272"/>
                    <a:gd name="T27" fmla="*/ 145 h 194"/>
                    <a:gd name="T28" fmla="*/ 113 w 272"/>
                    <a:gd name="T29" fmla="*/ 123 h 194"/>
                    <a:gd name="T30" fmla="*/ 83 w 272"/>
                    <a:gd name="T31" fmla="*/ 112 h 194"/>
                    <a:gd name="T32" fmla="*/ 76 w 272"/>
                    <a:gd name="T33" fmla="*/ 102 h 194"/>
                    <a:gd name="T34" fmla="*/ 54 w 272"/>
                    <a:gd name="T35" fmla="*/ 102 h 194"/>
                    <a:gd name="T36" fmla="*/ 45 w 272"/>
                    <a:gd name="T37" fmla="*/ 69 h 194"/>
                    <a:gd name="T38" fmla="*/ 21 w 272"/>
                    <a:gd name="T39" fmla="*/ 74 h 194"/>
                    <a:gd name="T40" fmla="*/ 7 w 272"/>
                    <a:gd name="T41" fmla="*/ 69 h 194"/>
                    <a:gd name="T42" fmla="*/ 0 w 272"/>
                    <a:gd name="T43" fmla="*/ 45 h 194"/>
                    <a:gd name="T44" fmla="*/ 59 w 272"/>
                    <a:gd name="T45" fmla="*/ 12 h 194"/>
                    <a:gd name="T46" fmla="*/ 59 w 272"/>
                    <a:gd name="T47" fmla="*/ 29 h 194"/>
                    <a:gd name="T48" fmla="*/ 76 w 272"/>
                    <a:gd name="T49" fmla="*/ 17 h 194"/>
                    <a:gd name="T50" fmla="*/ 92 w 272"/>
                    <a:gd name="T51" fmla="*/ 29 h 194"/>
                    <a:gd name="T52" fmla="*/ 120 w 272"/>
                    <a:gd name="T53" fmla="*/ 17 h 194"/>
                    <a:gd name="T54" fmla="*/ 120 w 272"/>
                    <a:gd name="T55" fmla="*/ 29 h 194"/>
                    <a:gd name="T56" fmla="*/ 120 w 272"/>
                    <a:gd name="T57" fmla="*/ 12 h 194"/>
                    <a:gd name="T58" fmla="*/ 130 w 272"/>
                    <a:gd name="T59" fmla="*/ 17 h 194"/>
                    <a:gd name="T60" fmla="*/ 130 w 272"/>
                    <a:gd name="T61" fmla="*/ 12 h 194"/>
                    <a:gd name="T62" fmla="*/ 137 w 272"/>
                    <a:gd name="T63" fmla="*/ 0 h 194"/>
                    <a:gd name="T64" fmla="*/ 146 w 272"/>
                    <a:gd name="T65" fmla="*/ 12 h 194"/>
                    <a:gd name="T66" fmla="*/ 163 w 272"/>
                    <a:gd name="T67" fmla="*/ 0 h 194"/>
                    <a:gd name="T68" fmla="*/ 168 w 272"/>
                    <a:gd name="T69" fmla="*/ 12 h 194"/>
                    <a:gd name="T70" fmla="*/ 175 w 272"/>
                    <a:gd name="T71" fmla="*/ 0 h 194"/>
                    <a:gd name="T72" fmla="*/ 189 w 272"/>
                    <a:gd name="T73" fmla="*/ 29 h 194"/>
                    <a:gd name="T74" fmla="*/ 206 w 272"/>
                    <a:gd name="T75" fmla="*/ 17 h 194"/>
                    <a:gd name="T76" fmla="*/ 227 w 272"/>
                    <a:gd name="T77" fmla="*/ 34 h 194"/>
                    <a:gd name="T78" fmla="*/ 217 w 272"/>
                    <a:gd name="T79" fmla="*/ 69 h 194"/>
                    <a:gd name="T80" fmla="*/ 222 w 272"/>
                    <a:gd name="T81" fmla="*/ 74 h 194"/>
                    <a:gd name="T82" fmla="*/ 243 w 272"/>
                    <a:gd name="T83" fmla="*/ 74 h 194"/>
                    <a:gd name="T84" fmla="*/ 260 w 272"/>
                    <a:gd name="T85" fmla="*/ 86 h 194"/>
                    <a:gd name="T86" fmla="*/ 272 w 272"/>
                    <a:gd name="T87" fmla="*/ 112 h 194"/>
                    <a:gd name="T88" fmla="*/ 255 w 272"/>
                    <a:gd name="T89" fmla="*/ 123 h 194"/>
                    <a:gd name="T90" fmla="*/ 255 w 272"/>
                    <a:gd name="T91" fmla="*/ 128 h 194"/>
                    <a:gd name="T92" fmla="*/ 255 w 272"/>
                    <a:gd name="T93" fmla="*/ 128 h 194"/>
                    <a:gd name="T94" fmla="*/ 255 w 272"/>
                    <a:gd name="T95" fmla="*/ 12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194">
                      <a:moveTo>
                        <a:pt x="255" y="128"/>
                      </a:moveTo>
                      <a:lnTo>
                        <a:pt x="239" y="128"/>
                      </a:lnTo>
                      <a:lnTo>
                        <a:pt x="222" y="145"/>
                      </a:lnTo>
                      <a:lnTo>
                        <a:pt x="222" y="161"/>
                      </a:lnTo>
                      <a:lnTo>
                        <a:pt x="239" y="178"/>
                      </a:lnTo>
                      <a:lnTo>
                        <a:pt x="227" y="185"/>
                      </a:lnTo>
                      <a:lnTo>
                        <a:pt x="206" y="194"/>
                      </a:lnTo>
                      <a:lnTo>
                        <a:pt x="189" y="178"/>
                      </a:lnTo>
                      <a:lnTo>
                        <a:pt x="163" y="161"/>
                      </a:lnTo>
                      <a:lnTo>
                        <a:pt x="163" y="145"/>
                      </a:lnTo>
                      <a:lnTo>
                        <a:pt x="163" y="128"/>
                      </a:lnTo>
                      <a:lnTo>
                        <a:pt x="163" y="128"/>
                      </a:lnTo>
                      <a:lnTo>
                        <a:pt x="137" y="156"/>
                      </a:lnTo>
                      <a:lnTo>
                        <a:pt x="113" y="145"/>
                      </a:lnTo>
                      <a:lnTo>
                        <a:pt x="113" y="123"/>
                      </a:lnTo>
                      <a:lnTo>
                        <a:pt x="83" y="112"/>
                      </a:lnTo>
                      <a:lnTo>
                        <a:pt x="76" y="102"/>
                      </a:lnTo>
                      <a:lnTo>
                        <a:pt x="54" y="102"/>
                      </a:lnTo>
                      <a:lnTo>
                        <a:pt x="45" y="69"/>
                      </a:lnTo>
                      <a:lnTo>
                        <a:pt x="21" y="74"/>
                      </a:lnTo>
                      <a:lnTo>
                        <a:pt x="7" y="69"/>
                      </a:lnTo>
                      <a:lnTo>
                        <a:pt x="0" y="45"/>
                      </a:lnTo>
                      <a:lnTo>
                        <a:pt x="59" y="12"/>
                      </a:lnTo>
                      <a:lnTo>
                        <a:pt x="59" y="29"/>
                      </a:lnTo>
                      <a:lnTo>
                        <a:pt x="76" y="17"/>
                      </a:lnTo>
                      <a:lnTo>
                        <a:pt x="92" y="29"/>
                      </a:lnTo>
                      <a:lnTo>
                        <a:pt x="120" y="17"/>
                      </a:lnTo>
                      <a:lnTo>
                        <a:pt x="120" y="29"/>
                      </a:lnTo>
                      <a:lnTo>
                        <a:pt x="120" y="12"/>
                      </a:lnTo>
                      <a:lnTo>
                        <a:pt x="130" y="17"/>
                      </a:lnTo>
                      <a:lnTo>
                        <a:pt x="130" y="12"/>
                      </a:lnTo>
                      <a:lnTo>
                        <a:pt x="137" y="0"/>
                      </a:lnTo>
                      <a:lnTo>
                        <a:pt x="146" y="12"/>
                      </a:lnTo>
                      <a:lnTo>
                        <a:pt x="163" y="0"/>
                      </a:lnTo>
                      <a:lnTo>
                        <a:pt x="168" y="12"/>
                      </a:lnTo>
                      <a:lnTo>
                        <a:pt x="175" y="0"/>
                      </a:lnTo>
                      <a:lnTo>
                        <a:pt x="189" y="29"/>
                      </a:lnTo>
                      <a:lnTo>
                        <a:pt x="206" y="17"/>
                      </a:lnTo>
                      <a:lnTo>
                        <a:pt x="227" y="34"/>
                      </a:lnTo>
                      <a:lnTo>
                        <a:pt x="217" y="69"/>
                      </a:lnTo>
                      <a:lnTo>
                        <a:pt x="222" y="74"/>
                      </a:lnTo>
                      <a:lnTo>
                        <a:pt x="243" y="74"/>
                      </a:lnTo>
                      <a:lnTo>
                        <a:pt x="260" y="86"/>
                      </a:lnTo>
                      <a:lnTo>
                        <a:pt x="272" y="112"/>
                      </a:lnTo>
                      <a:lnTo>
                        <a:pt x="255" y="123"/>
                      </a:lnTo>
                      <a:lnTo>
                        <a:pt x="255" y="128"/>
                      </a:lnTo>
                      <a:lnTo>
                        <a:pt x="255" y="128"/>
                      </a:lnTo>
                      <a:lnTo>
                        <a:pt x="255" y="12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30" name="Freeform 397">
                  <a:extLst>
                    <a:ext uri="{FF2B5EF4-FFF2-40B4-BE49-F238E27FC236}">
                      <a16:creationId xmlns:a16="http://schemas.microsoft.com/office/drawing/2014/main" id="{7C3BA6A2-788E-413B-AFC3-775FBA795E2D}"/>
                    </a:ext>
                  </a:extLst>
                </p:cNvPr>
                <p:cNvSpPr>
                  <a:spLocks/>
                </p:cNvSpPr>
                <p:nvPr/>
              </p:nvSpPr>
              <p:spPr bwMode="gray">
                <a:xfrm>
                  <a:off x="7179484" y="2626114"/>
                  <a:ext cx="110739" cy="96341"/>
                </a:xfrm>
                <a:custGeom>
                  <a:avLst/>
                  <a:gdLst>
                    <a:gd name="T0" fmla="*/ 130 w 269"/>
                    <a:gd name="T1" fmla="*/ 192 h 234"/>
                    <a:gd name="T2" fmla="*/ 139 w 269"/>
                    <a:gd name="T3" fmla="*/ 192 h 234"/>
                    <a:gd name="T4" fmla="*/ 130 w 269"/>
                    <a:gd name="T5" fmla="*/ 187 h 234"/>
                    <a:gd name="T6" fmla="*/ 108 w 269"/>
                    <a:gd name="T7" fmla="*/ 170 h 234"/>
                    <a:gd name="T8" fmla="*/ 108 w 269"/>
                    <a:gd name="T9" fmla="*/ 154 h 234"/>
                    <a:gd name="T10" fmla="*/ 87 w 269"/>
                    <a:gd name="T11" fmla="*/ 137 h 234"/>
                    <a:gd name="T12" fmla="*/ 54 w 269"/>
                    <a:gd name="T13" fmla="*/ 109 h 234"/>
                    <a:gd name="T14" fmla="*/ 33 w 269"/>
                    <a:gd name="T15" fmla="*/ 92 h 234"/>
                    <a:gd name="T16" fmla="*/ 33 w 269"/>
                    <a:gd name="T17" fmla="*/ 76 h 234"/>
                    <a:gd name="T18" fmla="*/ 33 w 269"/>
                    <a:gd name="T19" fmla="*/ 59 h 234"/>
                    <a:gd name="T20" fmla="*/ 0 w 269"/>
                    <a:gd name="T21" fmla="*/ 38 h 234"/>
                    <a:gd name="T22" fmla="*/ 4 w 269"/>
                    <a:gd name="T23" fmla="*/ 5 h 234"/>
                    <a:gd name="T24" fmla="*/ 21 w 269"/>
                    <a:gd name="T25" fmla="*/ 0 h 234"/>
                    <a:gd name="T26" fmla="*/ 37 w 269"/>
                    <a:gd name="T27" fmla="*/ 22 h 234"/>
                    <a:gd name="T28" fmla="*/ 54 w 269"/>
                    <a:gd name="T29" fmla="*/ 0 h 234"/>
                    <a:gd name="T30" fmla="*/ 75 w 269"/>
                    <a:gd name="T31" fmla="*/ 0 h 234"/>
                    <a:gd name="T32" fmla="*/ 87 w 269"/>
                    <a:gd name="T33" fmla="*/ 0 h 234"/>
                    <a:gd name="T34" fmla="*/ 101 w 269"/>
                    <a:gd name="T35" fmla="*/ 5 h 234"/>
                    <a:gd name="T36" fmla="*/ 146 w 269"/>
                    <a:gd name="T37" fmla="*/ 17 h 234"/>
                    <a:gd name="T38" fmla="*/ 177 w 269"/>
                    <a:gd name="T39" fmla="*/ 5 h 234"/>
                    <a:gd name="T40" fmla="*/ 200 w 269"/>
                    <a:gd name="T41" fmla="*/ 17 h 234"/>
                    <a:gd name="T42" fmla="*/ 215 w 269"/>
                    <a:gd name="T43" fmla="*/ 22 h 234"/>
                    <a:gd name="T44" fmla="*/ 215 w 269"/>
                    <a:gd name="T45" fmla="*/ 26 h 234"/>
                    <a:gd name="T46" fmla="*/ 231 w 269"/>
                    <a:gd name="T47" fmla="*/ 26 h 234"/>
                    <a:gd name="T48" fmla="*/ 252 w 269"/>
                    <a:gd name="T49" fmla="*/ 26 h 234"/>
                    <a:gd name="T50" fmla="*/ 238 w 269"/>
                    <a:gd name="T51" fmla="*/ 76 h 234"/>
                    <a:gd name="T52" fmla="*/ 269 w 269"/>
                    <a:gd name="T53" fmla="*/ 97 h 234"/>
                    <a:gd name="T54" fmla="*/ 264 w 269"/>
                    <a:gd name="T55" fmla="*/ 109 h 234"/>
                    <a:gd name="T56" fmla="*/ 248 w 269"/>
                    <a:gd name="T57" fmla="*/ 109 h 234"/>
                    <a:gd name="T58" fmla="*/ 264 w 269"/>
                    <a:gd name="T59" fmla="*/ 130 h 234"/>
                    <a:gd name="T60" fmla="*/ 264 w 269"/>
                    <a:gd name="T61" fmla="*/ 147 h 234"/>
                    <a:gd name="T62" fmla="*/ 248 w 269"/>
                    <a:gd name="T63" fmla="*/ 147 h 234"/>
                    <a:gd name="T64" fmla="*/ 222 w 269"/>
                    <a:gd name="T65" fmla="*/ 147 h 234"/>
                    <a:gd name="T66" fmla="*/ 238 w 269"/>
                    <a:gd name="T67" fmla="*/ 163 h 234"/>
                    <a:gd name="T68" fmla="*/ 231 w 269"/>
                    <a:gd name="T69" fmla="*/ 170 h 234"/>
                    <a:gd name="T70" fmla="*/ 222 w 269"/>
                    <a:gd name="T71" fmla="*/ 163 h 234"/>
                    <a:gd name="T72" fmla="*/ 210 w 269"/>
                    <a:gd name="T73" fmla="*/ 170 h 234"/>
                    <a:gd name="T74" fmla="*/ 210 w 269"/>
                    <a:gd name="T75" fmla="*/ 187 h 234"/>
                    <a:gd name="T76" fmla="*/ 193 w 269"/>
                    <a:gd name="T77" fmla="*/ 192 h 234"/>
                    <a:gd name="T78" fmla="*/ 193 w 269"/>
                    <a:gd name="T79" fmla="*/ 208 h 234"/>
                    <a:gd name="T80" fmla="*/ 200 w 269"/>
                    <a:gd name="T81" fmla="*/ 225 h 234"/>
                    <a:gd name="T82" fmla="*/ 193 w 269"/>
                    <a:gd name="T83" fmla="*/ 234 h 234"/>
                    <a:gd name="T84" fmla="*/ 146 w 269"/>
                    <a:gd name="T85" fmla="*/ 203 h 234"/>
                    <a:gd name="T86" fmla="*/ 130 w 269"/>
                    <a:gd name="T87" fmla="*/ 203 h 234"/>
                    <a:gd name="T88" fmla="*/ 130 w 269"/>
                    <a:gd name="T89" fmla="*/ 192 h 234"/>
                    <a:gd name="T90" fmla="*/ 130 w 269"/>
                    <a:gd name="T91" fmla="*/ 192 h 234"/>
                    <a:gd name="T92" fmla="*/ 130 w 269"/>
                    <a:gd name="T93" fmla="*/ 19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9" h="234">
                      <a:moveTo>
                        <a:pt x="130" y="192"/>
                      </a:moveTo>
                      <a:lnTo>
                        <a:pt x="139" y="192"/>
                      </a:lnTo>
                      <a:lnTo>
                        <a:pt x="130" y="187"/>
                      </a:lnTo>
                      <a:lnTo>
                        <a:pt x="108" y="170"/>
                      </a:lnTo>
                      <a:lnTo>
                        <a:pt x="108" y="154"/>
                      </a:lnTo>
                      <a:lnTo>
                        <a:pt x="87" y="137"/>
                      </a:lnTo>
                      <a:lnTo>
                        <a:pt x="54" y="109"/>
                      </a:lnTo>
                      <a:lnTo>
                        <a:pt x="33" y="92"/>
                      </a:lnTo>
                      <a:lnTo>
                        <a:pt x="33" y="76"/>
                      </a:lnTo>
                      <a:lnTo>
                        <a:pt x="33" y="59"/>
                      </a:lnTo>
                      <a:lnTo>
                        <a:pt x="0" y="38"/>
                      </a:lnTo>
                      <a:lnTo>
                        <a:pt x="4" y="5"/>
                      </a:lnTo>
                      <a:lnTo>
                        <a:pt x="21" y="0"/>
                      </a:lnTo>
                      <a:lnTo>
                        <a:pt x="37" y="22"/>
                      </a:lnTo>
                      <a:lnTo>
                        <a:pt x="54" y="0"/>
                      </a:lnTo>
                      <a:lnTo>
                        <a:pt x="75" y="0"/>
                      </a:lnTo>
                      <a:lnTo>
                        <a:pt x="87" y="0"/>
                      </a:lnTo>
                      <a:lnTo>
                        <a:pt x="101" y="5"/>
                      </a:lnTo>
                      <a:lnTo>
                        <a:pt x="146" y="17"/>
                      </a:lnTo>
                      <a:lnTo>
                        <a:pt x="177" y="5"/>
                      </a:lnTo>
                      <a:lnTo>
                        <a:pt x="200" y="17"/>
                      </a:lnTo>
                      <a:lnTo>
                        <a:pt x="215" y="22"/>
                      </a:lnTo>
                      <a:lnTo>
                        <a:pt x="215" y="26"/>
                      </a:lnTo>
                      <a:lnTo>
                        <a:pt x="231" y="26"/>
                      </a:lnTo>
                      <a:lnTo>
                        <a:pt x="252" y="26"/>
                      </a:lnTo>
                      <a:lnTo>
                        <a:pt x="238" y="76"/>
                      </a:lnTo>
                      <a:lnTo>
                        <a:pt x="269" y="97"/>
                      </a:lnTo>
                      <a:lnTo>
                        <a:pt x="264" y="109"/>
                      </a:lnTo>
                      <a:lnTo>
                        <a:pt x="248" y="109"/>
                      </a:lnTo>
                      <a:lnTo>
                        <a:pt x="264" y="130"/>
                      </a:lnTo>
                      <a:lnTo>
                        <a:pt x="264" y="147"/>
                      </a:lnTo>
                      <a:lnTo>
                        <a:pt x="248" y="147"/>
                      </a:lnTo>
                      <a:lnTo>
                        <a:pt x="222" y="147"/>
                      </a:lnTo>
                      <a:lnTo>
                        <a:pt x="238" y="163"/>
                      </a:lnTo>
                      <a:lnTo>
                        <a:pt x="231" y="170"/>
                      </a:lnTo>
                      <a:lnTo>
                        <a:pt x="222" y="163"/>
                      </a:lnTo>
                      <a:lnTo>
                        <a:pt x="210" y="170"/>
                      </a:lnTo>
                      <a:lnTo>
                        <a:pt x="210" y="187"/>
                      </a:lnTo>
                      <a:lnTo>
                        <a:pt x="193" y="192"/>
                      </a:lnTo>
                      <a:lnTo>
                        <a:pt x="193" y="208"/>
                      </a:lnTo>
                      <a:lnTo>
                        <a:pt x="200" y="225"/>
                      </a:lnTo>
                      <a:lnTo>
                        <a:pt x="193" y="234"/>
                      </a:lnTo>
                      <a:lnTo>
                        <a:pt x="146" y="203"/>
                      </a:lnTo>
                      <a:lnTo>
                        <a:pt x="130" y="203"/>
                      </a:lnTo>
                      <a:lnTo>
                        <a:pt x="130" y="192"/>
                      </a:lnTo>
                      <a:lnTo>
                        <a:pt x="130" y="192"/>
                      </a:lnTo>
                      <a:lnTo>
                        <a:pt x="130" y="19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37" name="Freeform 401">
                  <a:extLst>
                    <a:ext uri="{FF2B5EF4-FFF2-40B4-BE49-F238E27FC236}">
                      <a16:creationId xmlns:a16="http://schemas.microsoft.com/office/drawing/2014/main" id="{E2459C36-FCAB-4236-9AFF-CC20D1BCC227}"/>
                    </a:ext>
                  </a:extLst>
                </p:cNvPr>
                <p:cNvSpPr>
                  <a:spLocks/>
                </p:cNvSpPr>
                <p:nvPr/>
              </p:nvSpPr>
              <p:spPr bwMode="gray">
                <a:xfrm>
                  <a:off x="7395200" y="2198342"/>
                  <a:ext cx="279112" cy="197212"/>
                </a:xfrm>
                <a:custGeom>
                  <a:avLst/>
                  <a:gdLst>
                    <a:gd name="T0" fmla="*/ 26 w 678"/>
                    <a:gd name="T1" fmla="*/ 442 h 479"/>
                    <a:gd name="T2" fmla="*/ 0 w 678"/>
                    <a:gd name="T3" fmla="*/ 376 h 479"/>
                    <a:gd name="T4" fmla="*/ 52 w 678"/>
                    <a:gd name="T5" fmla="*/ 338 h 479"/>
                    <a:gd name="T6" fmla="*/ 26 w 678"/>
                    <a:gd name="T7" fmla="*/ 220 h 479"/>
                    <a:gd name="T8" fmla="*/ 85 w 678"/>
                    <a:gd name="T9" fmla="*/ 227 h 479"/>
                    <a:gd name="T10" fmla="*/ 118 w 678"/>
                    <a:gd name="T11" fmla="*/ 220 h 479"/>
                    <a:gd name="T12" fmla="*/ 135 w 678"/>
                    <a:gd name="T13" fmla="*/ 203 h 479"/>
                    <a:gd name="T14" fmla="*/ 172 w 678"/>
                    <a:gd name="T15" fmla="*/ 187 h 479"/>
                    <a:gd name="T16" fmla="*/ 177 w 678"/>
                    <a:gd name="T17" fmla="*/ 194 h 479"/>
                    <a:gd name="T18" fmla="*/ 161 w 678"/>
                    <a:gd name="T19" fmla="*/ 177 h 479"/>
                    <a:gd name="T20" fmla="*/ 177 w 678"/>
                    <a:gd name="T21" fmla="*/ 120 h 479"/>
                    <a:gd name="T22" fmla="*/ 215 w 678"/>
                    <a:gd name="T23" fmla="*/ 99 h 479"/>
                    <a:gd name="T24" fmla="*/ 253 w 678"/>
                    <a:gd name="T25" fmla="*/ 83 h 479"/>
                    <a:gd name="T26" fmla="*/ 243 w 678"/>
                    <a:gd name="T27" fmla="*/ 45 h 479"/>
                    <a:gd name="T28" fmla="*/ 265 w 678"/>
                    <a:gd name="T29" fmla="*/ 28 h 479"/>
                    <a:gd name="T30" fmla="*/ 307 w 678"/>
                    <a:gd name="T31" fmla="*/ 21 h 479"/>
                    <a:gd name="T32" fmla="*/ 352 w 678"/>
                    <a:gd name="T33" fmla="*/ 0 h 479"/>
                    <a:gd name="T34" fmla="*/ 378 w 678"/>
                    <a:gd name="T35" fmla="*/ 5 h 479"/>
                    <a:gd name="T36" fmla="*/ 411 w 678"/>
                    <a:gd name="T37" fmla="*/ 12 h 479"/>
                    <a:gd name="T38" fmla="*/ 444 w 678"/>
                    <a:gd name="T39" fmla="*/ 21 h 479"/>
                    <a:gd name="T40" fmla="*/ 444 w 678"/>
                    <a:gd name="T41" fmla="*/ 45 h 479"/>
                    <a:gd name="T42" fmla="*/ 498 w 678"/>
                    <a:gd name="T43" fmla="*/ 28 h 479"/>
                    <a:gd name="T44" fmla="*/ 536 w 678"/>
                    <a:gd name="T45" fmla="*/ 54 h 479"/>
                    <a:gd name="T46" fmla="*/ 541 w 678"/>
                    <a:gd name="T47" fmla="*/ 78 h 479"/>
                    <a:gd name="T48" fmla="*/ 553 w 678"/>
                    <a:gd name="T49" fmla="*/ 111 h 479"/>
                    <a:gd name="T50" fmla="*/ 557 w 678"/>
                    <a:gd name="T51" fmla="*/ 149 h 479"/>
                    <a:gd name="T52" fmla="*/ 569 w 678"/>
                    <a:gd name="T53" fmla="*/ 170 h 479"/>
                    <a:gd name="T54" fmla="*/ 612 w 678"/>
                    <a:gd name="T55" fmla="*/ 203 h 479"/>
                    <a:gd name="T56" fmla="*/ 628 w 678"/>
                    <a:gd name="T57" fmla="*/ 231 h 479"/>
                    <a:gd name="T58" fmla="*/ 661 w 678"/>
                    <a:gd name="T59" fmla="*/ 243 h 479"/>
                    <a:gd name="T60" fmla="*/ 650 w 678"/>
                    <a:gd name="T61" fmla="*/ 260 h 479"/>
                    <a:gd name="T62" fmla="*/ 666 w 678"/>
                    <a:gd name="T63" fmla="*/ 276 h 479"/>
                    <a:gd name="T64" fmla="*/ 579 w 678"/>
                    <a:gd name="T65" fmla="*/ 288 h 479"/>
                    <a:gd name="T66" fmla="*/ 591 w 678"/>
                    <a:gd name="T67" fmla="*/ 331 h 479"/>
                    <a:gd name="T68" fmla="*/ 591 w 678"/>
                    <a:gd name="T69" fmla="*/ 354 h 479"/>
                    <a:gd name="T70" fmla="*/ 607 w 678"/>
                    <a:gd name="T71" fmla="*/ 397 h 479"/>
                    <a:gd name="T72" fmla="*/ 541 w 678"/>
                    <a:gd name="T73" fmla="*/ 409 h 479"/>
                    <a:gd name="T74" fmla="*/ 520 w 678"/>
                    <a:gd name="T75" fmla="*/ 442 h 479"/>
                    <a:gd name="T76" fmla="*/ 520 w 678"/>
                    <a:gd name="T77" fmla="*/ 479 h 479"/>
                    <a:gd name="T78" fmla="*/ 465 w 678"/>
                    <a:gd name="T79" fmla="*/ 463 h 479"/>
                    <a:gd name="T80" fmla="*/ 432 w 678"/>
                    <a:gd name="T81" fmla="*/ 463 h 479"/>
                    <a:gd name="T82" fmla="*/ 395 w 678"/>
                    <a:gd name="T83" fmla="*/ 446 h 479"/>
                    <a:gd name="T84" fmla="*/ 378 w 678"/>
                    <a:gd name="T85" fmla="*/ 446 h 479"/>
                    <a:gd name="T86" fmla="*/ 357 w 678"/>
                    <a:gd name="T87" fmla="*/ 442 h 479"/>
                    <a:gd name="T88" fmla="*/ 324 w 678"/>
                    <a:gd name="T89" fmla="*/ 442 h 479"/>
                    <a:gd name="T90" fmla="*/ 319 w 678"/>
                    <a:gd name="T91" fmla="*/ 453 h 479"/>
                    <a:gd name="T92" fmla="*/ 286 w 678"/>
                    <a:gd name="T93" fmla="*/ 446 h 479"/>
                    <a:gd name="T94" fmla="*/ 177 w 678"/>
                    <a:gd name="T95" fmla="*/ 413 h 479"/>
                    <a:gd name="T96" fmla="*/ 64 w 678"/>
                    <a:gd name="T97" fmla="*/ 446 h 479"/>
                    <a:gd name="T98" fmla="*/ 31 w 678"/>
                    <a:gd name="T99" fmla="*/ 453 h 479"/>
                    <a:gd name="T100" fmla="*/ 31 w 678"/>
                    <a:gd name="T101" fmla="*/ 45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8" h="479">
                      <a:moveTo>
                        <a:pt x="31" y="453"/>
                      </a:moveTo>
                      <a:lnTo>
                        <a:pt x="26" y="442"/>
                      </a:lnTo>
                      <a:lnTo>
                        <a:pt x="31" y="397"/>
                      </a:lnTo>
                      <a:lnTo>
                        <a:pt x="0" y="376"/>
                      </a:lnTo>
                      <a:lnTo>
                        <a:pt x="14" y="359"/>
                      </a:lnTo>
                      <a:lnTo>
                        <a:pt x="52" y="338"/>
                      </a:lnTo>
                      <a:lnTo>
                        <a:pt x="52" y="305"/>
                      </a:lnTo>
                      <a:lnTo>
                        <a:pt x="26" y="220"/>
                      </a:lnTo>
                      <a:lnTo>
                        <a:pt x="69" y="220"/>
                      </a:lnTo>
                      <a:lnTo>
                        <a:pt x="85" y="227"/>
                      </a:lnTo>
                      <a:lnTo>
                        <a:pt x="102" y="210"/>
                      </a:lnTo>
                      <a:lnTo>
                        <a:pt x="118" y="220"/>
                      </a:lnTo>
                      <a:lnTo>
                        <a:pt x="118" y="194"/>
                      </a:lnTo>
                      <a:lnTo>
                        <a:pt x="135" y="203"/>
                      </a:lnTo>
                      <a:lnTo>
                        <a:pt x="161" y="177"/>
                      </a:lnTo>
                      <a:lnTo>
                        <a:pt x="172" y="187"/>
                      </a:lnTo>
                      <a:lnTo>
                        <a:pt x="161" y="194"/>
                      </a:lnTo>
                      <a:lnTo>
                        <a:pt x="177" y="194"/>
                      </a:lnTo>
                      <a:lnTo>
                        <a:pt x="177" y="177"/>
                      </a:lnTo>
                      <a:lnTo>
                        <a:pt x="161" y="177"/>
                      </a:lnTo>
                      <a:lnTo>
                        <a:pt x="177" y="153"/>
                      </a:lnTo>
                      <a:lnTo>
                        <a:pt x="177" y="120"/>
                      </a:lnTo>
                      <a:lnTo>
                        <a:pt x="210" y="116"/>
                      </a:lnTo>
                      <a:lnTo>
                        <a:pt x="215" y="99"/>
                      </a:lnTo>
                      <a:lnTo>
                        <a:pt x="232" y="99"/>
                      </a:lnTo>
                      <a:lnTo>
                        <a:pt x="253" y="83"/>
                      </a:lnTo>
                      <a:lnTo>
                        <a:pt x="232" y="78"/>
                      </a:lnTo>
                      <a:lnTo>
                        <a:pt x="243" y="45"/>
                      </a:lnTo>
                      <a:lnTo>
                        <a:pt x="253" y="45"/>
                      </a:lnTo>
                      <a:lnTo>
                        <a:pt x="265" y="28"/>
                      </a:lnTo>
                      <a:lnTo>
                        <a:pt x="307" y="38"/>
                      </a:lnTo>
                      <a:lnTo>
                        <a:pt x="307" y="21"/>
                      </a:lnTo>
                      <a:lnTo>
                        <a:pt x="335" y="0"/>
                      </a:lnTo>
                      <a:lnTo>
                        <a:pt x="352" y="0"/>
                      </a:lnTo>
                      <a:lnTo>
                        <a:pt x="357" y="5"/>
                      </a:lnTo>
                      <a:lnTo>
                        <a:pt x="378" y="5"/>
                      </a:lnTo>
                      <a:lnTo>
                        <a:pt x="390" y="21"/>
                      </a:lnTo>
                      <a:lnTo>
                        <a:pt x="411" y="12"/>
                      </a:lnTo>
                      <a:lnTo>
                        <a:pt x="432" y="21"/>
                      </a:lnTo>
                      <a:lnTo>
                        <a:pt x="444" y="21"/>
                      </a:lnTo>
                      <a:lnTo>
                        <a:pt x="432" y="38"/>
                      </a:lnTo>
                      <a:lnTo>
                        <a:pt x="444" y="45"/>
                      </a:lnTo>
                      <a:lnTo>
                        <a:pt x="470" y="28"/>
                      </a:lnTo>
                      <a:lnTo>
                        <a:pt x="498" y="28"/>
                      </a:lnTo>
                      <a:lnTo>
                        <a:pt x="515" y="28"/>
                      </a:lnTo>
                      <a:lnTo>
                        <a:pt x="536" y="54"/>
                      </a:lnTo>
                      <a:lnTo>
                        <a:pt x="541" y="54"/>
                      </a:lnTo>
                      <a:lnTo>
                        <a:pt x="541" y="78"/>
                      </a:lnTo>
                      <a:lnTo>
                        <a:pt x="536" y="83"/>
                      </a:lnTo>
                      <a:lnTo>
                        <a:pt x="553" y="111"/>
                      </a:lnTo>
                      <a:lnTo>
                        <a:pt x="536" y="132"/>
                      </a:lnTo>
                      <a:lnTo>
                        <a:pt x="557" y="149"/>
                      </a:lnTo>
                      <a:lnTo>
                        <a:pt x="557" y="165"/>
                      </a:lnTo>
                      <a:lnTo>
                        <a:pt x="569" y="170"/>
                      </a:lnTo>
                      <a:lnTo>
                        <a:pt x="574" y="187"/>
                      </a:lnTo>
                      <a:lnTo>
                        <a:pt x="612" y="203"/>
                      </a:lnTo>
                      <a:lnTo>
                        <a:pt x="607" y="231"/>
                      </a:lnTo>
                      <a:lnTo>
                        <a:pt x="628" y="231"/>
                      </a:lnTo>
                      <a:lnTo>
                        <a:pt x="650" y="243"/>
                      </a:lnTo>
                      <a:lnTo>
                        <a:pt x="661" y="243"/>
                      </a:lnTo>
                      <a:lnTo>
                        <a:pt x="650" y="248"/>
                      </a:lnTo>
                      <a:lnTo>
                        <a:pt x="650" y="260"/>
                      </a:lnTo>
                      <a:lnTo>
                        <a:pt x="678" y="265"/>
                      </a:lnTo>
                      <a:lnTo>
                        <a:pt x="666" y="276"/>
                      </a:lnTo>
                      <a:lnTo>
                        <a:pt x="633" y="298"/>
                      </a:lnTo>
                      <a:lnTo>
                        <a:pt x="579" y="288"/>
                      </a:lnTo>
                      <a:lnTo>
                        <a:pt x="569" y="305"/>
                      </a:lnTo>
                      <a:lnTo>
                        <a:pt x="591" y="331"/>
                      </a:lnTo>
                      <a:lnTo>
                        <a:pt x="579" y="338"/>
                      </a:lnTo>
                      <a:lnTo>
                        <a:pt x="591" y="354"/>
                      </a:lnTo>
                      <a:lnTo>
                        <a:pt x="591" y="376"/>
                      </a:lnTo>
                      <a:lnTo>
                        <a:pt x="607" y="397"/>
                      </a:lnTo>
                      <a:lnTo>
                        <a:pt x="541" y="397"/>
                      </a:lnTo>
                      <a:lnTo>
                        <a:pt x="541" y="409"/>
                      </a:lnTo>
                      <a:lnTo>
                        <a:pt x="524" y="425"/>
                      </a:lnTo>
                      <a:lnTo>
                        <a:pt x="520" y="442"/>
                      </a:lnTo>
                      <a:lnTo>
                        <a:pt x="524" y="470"/>
                      </a:lnTo>
                      <a:lnTo>
                        <a:pt x="520" y="479"/>
                      </a:lnTo>
                      <a:lnTo>
                        <a:pt x="487" y="453"/>
                      </a:lnTo>
                      <a:lnTo>
                        <a:pt x="465" y="463"/>
                      </a:lnTo>
                      <a:lnTo>
                        <a:pt x="461" y="453"/>
                      </a:lnTo>
                      <a:lnTo>
                        <a:pt x="432" y="463"/>
                      </a:lnTo>
                      <a:lnTo>
                        <a:pt x="416" y="442"/>
                      </a:lnTo>
                      <a:lnTo>
                        <a:pt x="395" y="446"/>
                      </a:lnTo>
                      <a:lnTo>
                        <a:pt x="390" y="463"/>
                      </a:lnTo>
                      <a:lnTo>
                        <a:pt x="378" y="446"/>
                      </a:lnTo>
                      <a:lnTo>
                        <a:pt x="357" y="446"/>
                      </a:lnTo>
                      <a:lnTo>
                        <a:pt x="357" y="442"/>
                      </a:lnTo>
                      <a:lnTo>
                        <a:pt x="340" y="446"/>
                      </a:lnTo>
                      <a:lnTo>
                        <a:pt x="324" y="442"/>
                      </a:lnTo>
                      <a:lnTo>
                        <a:pt x="319" y="453"/>
                      </a:lnTo>
                      <a:lnTo>
                        <a:pt x="319" y="453"/>
                      </a:lnTo>
                      <a:lnTo>
                        <a:pt x="319" y="446"/>
                      </a:lnTo>
                      <a:lnTo>
                        <a:pt x="286" y="446"/>
                      </a:lnTo>
                      <a:lnTo>
                        <a:pt x="281" y="430"/>
                      </a:lnTo>
                      <a:lnTo>
                        <a:pt x="177" y="413"/>
                      </a:lnTo>
                      <a:lnTo>
                        <a:pt x="85" y="413"/>
                      </a:lnTo>
                      <a:lnTo>
                        <a:pt x="64" y="446"/>
                      </a:lnTo>
                      <a:lnTo>
                        <a:pt x="31" y="442"/>
                      </a:lnTo>
                      <a:lnTo>
                        <a:pt x="31" y="453"/>
                      </a:lnTo>
                      <a:lnTo>
                        <a:pt x="31" y="453"/>
                      </a:lnTo>
                      <a:lnTo>
                        <a:pt x="31" y="45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0" name="Freeform 405">
                  <a:extLst>
                    <a:ext uri="{FF2B5EF4-FFF2-40B4-BE49-F238E27FC236}">
                      <a16:creationId xmlns:a16="http://schemas.microsoft.com/office/drawing/2014/main" id="{DB6C9280-22B9-46CA-81A8-CA3BACEDE105}"/>
                    </a:ext>
                  </a:extLst>
                </p:cNvPr>
                <p:cNvSpPr>
                  <a:spLocks/>
                </p:cNvSpPr>
                <p:nvPr/>
              </p:nvSpPr>
              <p:spPr bwMode="gray">
                <a:xfrm>
                  <a:off x="7371735" y="2659464"/>
                  <a:ext cx="179900" cy="109928"/>
                </a:xfrm>
                <a:custGeom>
                  <a:avLst/>
                  <a:gdLst>
                    <a:gd name="T0" fmla="*/ 400 w 437"/>
                    <a:gd name="T1" fmla="*/ 200 h 267"/>
                    <a:gd name="T2" fmla="*/ 366 w 437"/>
                    <a:gd name="T3" fmla="*/ 210 h 267"/>
                    <a:gd name="T4" fmla="*/ 345 w 437"/>
                    <a:gd name="T5" fmla="*/ 193 h 267"/>
                    <a:gd name="T6" fmla="*/ 329 w 437"/>
                    <a:gd name="T7" fmla="*/ 193 h 267"/>
                    <a:gd name="T8" fmla="*/ 324 w 437"/>
                    <a:gd name="T9" fmla="*/ 200 h 267"/>
                    <a:gd name="T10" fmla="*/ 303 w 437"/>
                    <a:gd name="T11" fmla="*/ 200 h 267"/>
                    <a:gd name="T12" fmla="*/ 291 w 437"/>
                    <a:gd name="T13" fmla="*/ 217 h 267"/>
                    <a:gd name="T14" fmla="*/ 286 w 437"/>
                    <a:gd name="T15" fmla="*/ 217 h 267"/>
                    <a:gd name="T16" fmla="*/ 286 w 437"/>
                    <a:gd name="T17" fmla="*/ 226 h 267"/>
                    <a:gd name="T18" fmla="*/ 260 w 437"/>
                    <a:gd name="T19" fmla="*/ 226 h 267"/>
                    <a:gd name="T20" fmla="*/ 270 w 437"/>
                    <a:gd name="T21" fmla="*/ 238 h 267"/>
                    <a:gd name="T22" fmla="*/ 270 w 437"/>
                    <a:gd name="T23" fmla="*/ 255 h 267"/>
                    <a:gd name="T24" fmla="*/ 206 w 437"/>
                    <a:gd name="T25" fmla="*/ 267 h 267"/>
                    <a:gd name="T26" fmla="*/ 140 w 437"/>
                    <a:gd name="T27" fmla="*/ 238 h 267"/>
                    <a:gd name="T28" fmla="*/ 92 w 437"/>
                    <a:gd name="T29" fmla="*/ 255 h 267"/>
                    <a:gd name="T30" fmla="*/ 43 w 437"/>
                    <a:gd name="T31" fmla="*/ 255 h 267"/>
                    <a:gd name="T32" fmla="*/ 43 w 437"/>
                    <a:gd name="T33" fmla="*/ 217 h 267"/>
                    <a:gd name="T34" fmla="*/ 38 w 437"/>
                    <a:gd name="T35" fmla="*/ 200 h 267"/>
                    <a:gd name="T36" fmla="*/ 17 w 437"/>
                    <a:gd name="T37" fmla="*/ 184 h 267"/>
                    <a:gd name="T38" fmla="*/ 0 w 437"/>
                    <a:gd name="T39" fmla="*/ 165 h 267"/>
                    <a:gd name="T40" fmla="*/ 17 w 437"/>
                    <a:gd name="T41" fmla="*/ 160 h 267"/>
                    <a:gd name="T42" fmla="*/ 5 w 437"/>
                    <a:gd name="T43" fmla="*/ 144 h 267"/>
                    <a:gd name="T44" fmla="*/ 5 w 437"/>
                    <a:gd name="T45" fmla="*/ 127 h 267"/>
                    <a:gd name="T46" fmla="*/ 33 w 437"/>
                    <a:gd name="T47" fmla="*/ 122 h 267"/>
                    <a:gd name="T48" fmla="*/ 43 w 437"/>
                    <a:gd name="T49" fmla="*/ 99 h 267"/>
                    <a:gd name="T50" fmla="*/ 17 w 437"/>
                    <a:gd name="T51" fmla="*/ 73 h 267"/>
                    <a:gd name="T52" fmla="*/ 0 w 437"/>
                    <a:gd name="T53" fmla="*/ 44 h 267"/>
                    <a:gd name="T54" fmla="*/ 5 w 437"/>
                    <a:gd name="T55" fmla="*/ 28 h 267"/>
                    <a:gd name="T56" fmla="*/ 22 w 437"/>
                    <a:gd name="T57" fmla="*/ 0 h 267"/>
                    <a:gd name="T58" fmla="*/ 43 w 437"/>
                    <a:gd name="T59" fmla="*/ 16 h 267"/>
                    <a:gd name="T60" fmla="*/ 38 w 437"/>
                    <a:gd name="T61" fmla="*/ 28 h 267"/>
                    <a:gd name="T62" fmla="*/ 38 w 437"/>
                    <a:gd name="T63" fmla="*/ 44 h 267"/>
                    <a:gd name="T64" fmla="*/ 76 w 437"/>
                    <a:gd name="T65" fmla="*/ 33 h 267"/>
                    <a:gd name="T66" fmla="*/ 130 w 437"/>
                    <a:gd name="T67" fmla="*/ 49 h 267"/>
                    <a:gd name="T68" fmla="*/ 152 w 437"/>
                    <a:gd name="T69" fmla="*/ 44 h 267"/>
                    <a:gd name="T70" fmla="*/ 215 w 437"/>
                    <a:gd name="T71" fmla="*/ 56 h 267"/>
                    <a:gd name="T72" fmla="*/ 239 w 437"/>
                    <a:gd name="T73" fmla="*/ 49 h 267"/>
                    <a:gd name="T74" fmla="*/ 270 w 437"/>
                    <a:gd name="T75" fmla="*/ 28 h 267"/>
                    <a:gd name="T76" fmla="*/ 329 w 437"/>
                    <a:gd name="T77" fmla="*/ 11 h 267"/>
                    <a:gd name="T78" fmla="*/ 345 w 437"/>
                    <a:gd name="T79" fmla="*/ 11 h 267"/>
                    <a:gd name="T80" fmla="*/ 357 w 437"/>
                    <a:gd name="T81" fmla="*/ 28 h 267"/>
                    <a:gd name="T82" fmla="*/ 366 w 437"/>
                    <a:gd name="T83" fmla="*/ 16 h 267"/>
                    <a:gd name="T84" fmla="*/ 378 w 437"/>
                    <a:gd name="T85" fmla="*/ 28 h 267"/>
                    <a:gd name="T86" fmla="*/ 395 w 437"/>
                    <a:gd name="T87" fmla="*/ 28 h 267"/>
                    <a:gd name="T88" fmla="*/ 400 w 437"/>
                    <a:gd name="T89" fmla="*/ 44 h 267"/>
                    <a:gd name="T90" fmla="*/ 437 w 437"/>
                    <a:gd name="T91" fmla="*/ 49 h 267"/>
                    <a:gd name="T92" fmla="*/ 437 w 437"/>
                    <a:gd name="T93" fmla="*/ 73 h 267"/>
                    <a:gd name="T94" fmla="*/ 411 w 437"/>
                    <a:gd name="T95" fmla="*/ 73 h 267"/>
                    <a:gd name="T96" fmla="*/ 395 w 437"/>
                    <a:gd name="T97" fmla="*/ 99 h 267"/>
                    <a:gd name="T98" fmla="*/ 395 w 437"/>
                    <a:gd name="T99" fmla="*/ 139 h 267"/>
                    <a:gd name="T100" fmla="*/ 378 w 437"/>
                    <a:gd name="T101" fmla="*/ 139 h 267"/>
                    <a:gd name="T102" fmla="*/ 362 w 437"/>
                    <a:gd name="T103" fmla="*/ 160 h 267"/>
                    <a:gd name="T104" fmla="*/ 378 w 437"/>
                    <a:gd name="T105" fmla="*/ 160 h 267"/>
                    <a:gd name="T106" fmla="*/ 400 w 437"/>
                    <a:gd name="T107" fmla="*/ 200 h 267"/>
                    <a:gd name="T108" fmla="*/ 400 w 437"/>
                    <a:gd name="T109" fmla="*/ 200 h 267"/>
                    <a:gd name="T110" fmla="*/ 400 w 437"/>
                    <a:gd name="T111" fmla="*/ 20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7" h="267">
                      <a:moveTo>
                        <a:pt x="400" y="200"/>
                      </a:moveTo>
                      <a:lnTo>
                        <a:pt x="366" y="210"/>
                      </a:lnTo>
                      <a:lnTo>
                        <a:pt x="345" y="193"/>
                      </a:lnTo>
                      <a:lnTo>
                        <a:pt x="329" y="193"/>
                      </a:lnTo>
                      <a:lnTo>
                        <a:pt x="324" y="200"/>
                      </a:lnTo>
                      <a:lnTo>
                        <a:pt x="303" y="200"/>
                      </a:lnTo>
                      <a:lnTo>
                        <a:pt x="291" y="217"/>
                      </a:lnTo>
                      <a:lnTo>
                        <a:pt x="286" y="217"/>
                      </a:lnTo>
                      <a:lnTo>
                        <a:pt x="286" y="226"/>
                      </a:lnTo>
                      <a:lnTo>
                        <a:pt x="260" y="226"/>
                      </a:lnTo>
                      <a:lnTo>
                        <a:pt x="270" y="238"/>
                      </a:lnTo>
                      <a:lnTo>
                        <a:pt x="270" y="255"/>
                      </a:lnTo>
                      <a:lnTo>
                        <a:pt x="206" y="267"/>
                      </a:lnTo>
                      <a:lnTo>
                        <a:pt x="140" y="238"/>
                      </a:lnTo>
                      <a:lnTo>
                        <a:pt x="92" y="255"/>
                      </a:lnTo>
                      <a:lnTo>
                        <a:pt x="43" y="255"/>
                      </a:lnTo>
                      <a:lnTo>
                        <a:pt x="43" y="217"/>
                      </a:lnTo>
                      <a:lnTo>
                        <a:pt x="38" y="200"/>
                      </a:lnTo>
                      <a:lnTo>
                        <a:pt x="17" y="184"/>
                      </a:lnTo>
                      <a:lnTo>
                        <a:pt x="0" y="165"/>
                      </a:lnTo>
                      <a:lnTo>
                        <a:pt x="17" y="160"/>
                      </a:lnTo>
                      <a:lnTo>
                        <a:pt x="5" y="144"/>
                      </a:lnTo>
                      <a:lnTo>
                        <a:pt x="5" y="127"/>
                      </a:lnTo>
                      <a:lnTo>
                        <a:pt x="33" y="122"/>
                      </a:lnTo>
                      <a:lnTo>
                        <a:pt x="43" y="99"/>
                      </a:lnTo>
                      <a:lnTo>
                        <a:pt x="17" y="73"/>
                      </a:lnTo>
                      <a:lnTo>
                        <a:pt x="0" y="44"/>
                      </a:lnTo>
                      <a:lnTo>
                        <a:pt x="5" y="28"/>
                      </a:lnTo>
                      <a:lnTo>
                        <a:pt x="22" y="0"/>
                      </a:lnTo>
                      <a:lnTo>
                        <a:pt x="43" y="16"/>
                      </a:lnTo>
                      <a:lnTo>
                        <a:pt x="38" y="28"/>
                      </a:lnTo>
                      <a:lnTo>
                        <a:pt x="38" y="44"/>
                      </a:lnTo>
                      <a:lnTo>
                        <a:pt x="76" y="33"/>
                      </a:lnTo>
                      <a:lnTo>
                        <a:pt x="130" y="49"/>
                      </a:lnTo>
                      <a:lnTo>
                        <a:pt x="152" y="44"/>
                      </a:lnTo>
                      <a:lnTo>
                        <a:pt x="215" y="56"/>
                      </a:lnTo>
                      <a:lnTo>
                        <a:pt x="239" y="49"/>
                      </a:lnTo>
                      <a:lnTo>
                        <a:pt x="270" y="28"/>
                      </a:lnTo>
                      <a:lnTo>
                        <a:pt x="329" y="11"/>
                      </a:lnTo>
                      <a:lnTo>
                        <a:pt x="345" y="11"/>
                      </a:lnTo>
                      <a:lnTo>
                        <a:pt x="357" y="28"/>
                      </a:lnTo>
                      <a:lnTo>
                        <a:pt x="366" y="16"/>
                      </a:lnTo>
                      <a:lnTo>
                        <a:pt x="378" y="28"/>
                      </a:lnTo>
                      <a:lnTo>
                        <a:pt x="395" y="28"/>
                      </a:lnTo>
                      <a:lnTo>
                        <a:pt x="400" y="44"/>
                      </a:lnTo>
                      <a:lnTo>
                        <a:pt x="437" y="49"/>
                      </a:lnTo>
                      <a:lnTo>
                        <a:pt x="437" y="73"/>
                      </a:lnTo>
                      <a:lnTo>
                        <a:pt x="411" y="73"/>
                      </a:lnTo>
                      <a:lnTo>
                        <a:pt x="395" y="99"/>
                      </a:lnTo>
                      <a:lnTo>
                        <a:pt x="395" y="139"/>
                      </a:lnTo>
                      <a:lnTo>
                        <a:pt x="378" y="139"/>
                      </a:lnTo>
                      <a:lnTo>
                        <a:pt x="362" y="160"/>
                      </a:lnTo>
                      <a:lnTo>
                        <a:pt x="378" y="160"/>
                      </a:lnTo>
                      <a:lnTo>
                        <a:pt x="400" y="200"/>
                      </a:lnTo>
                      <a:lnTo>
                        <a:pt x="400" y="200"/>
                      </a:lnTo>
                      <a:lnTo>
                        <a:pt x="400" y="20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9" name="Freeform 425">
                  <a:extLst>
                    <a:ext uri="{FF2B5EF4-FFF2-40B4-BE49-F238E27FC236}">
                      <a16:creationId xmlns:a16="http://schemas.microsoft.com/office/drawing/2014/main" id="{C00C1339-668D-4540-B982-E70E0A09CDC2}"/>
                    </a:ext>
                  </a:extLst>
                </p:cNvPr>
                <p:cNvSpPr>
                  <a:spLocks noEditPoints="1"/>
                </p:cNvSpPr>
                <p:nvPr/>
              </p:nvSpPr>
              <p:spPr bwMode="gray">
                <a:xfrm>
                  <a:off x="6960476" y="2129173"/>
                  <a:ext cx="204188" cy="132161"/>
                </a:xfrm>
                <a:custGeom>
                  <a:avLst/>
                  <a:gdLst>
                    <a:gd name="T0" fmla="*/ 10 w 496"/>
                    <a:gd name="T1" fmla="*/ 111 h 321"/>
                    <a:gd name="T2" fmla="*/ 123 w 496"/>
                    <a:gd name="T3" fmla="*/ 12 h 321"/>
                    <a:gd name="T4" fmla="*/ 156 w 496"/>
                    <a:gd name="T5" fmla="*/ 78 h 321"/>
                    <a:gd name="T6" fmla="*/ 43 w 496"/>
                    <a:gd name="T7" fmla="*/ 83 h 321"/>
                    <a:gd name="T8" fmla="*/ 206 w 496"/>
                    <a:gd name="T9" fmla="*/ 57 h 321"/>
                    <a:gd name="T10" fmla="*/ 206 w 496"/>
                    <a:gd name="T11" fmla="*/ 57 h 321"/>
                    <a:gd name="T12" fmla="*/ 43 w 496"/>
                    <a:gd name="T13" fmla="*/ 267 h 321"/>
                    <a:gd name="T14" fmla="*/ 43 w 496"/>
                    <a:gd name="T15" fmla="*/ 267 h 321"/>
                    <a:gd name="T16" fmla="*/ 0 w 496"/>
                    <a:gd name="T17" fmla="*/ 177 h 321"/>
                    <a:gd name="T18" fmla="*/ 0 w 496"/>
                    <a:gd name="T19" fmla="*/ 173 h 321"/>
                    <a:gd name="T20" fmla="*/ 47 w 496"/>
                    <a:gd name="T21" fmla="*/ 123 h 321"/>
                    <a:gd name="T22" fmla="*/ 64 w 496"/>
                    <a:gd name="T23" fmla="*/ 123 h 321"/>
                    <a:gd name="T24" fmla="*/ 85 w 496"/>
                    <a:gd name="T25" fmla="*/ 111 h 321"/>
                    <a:gd name="T26" fmla="*/ 135 w 496"/>
                    <a:gd name="T27" fmla="*/ 66 h 321"/>
                    <a:gd name="T28" fmla="*/ 156 w 496"/>
                    <a:gd name="T29" fmla="*/ 111 h 321"/>
                    <a:gd name="T30" fmla="*/ 206 w 496"/>
                    <a:gd name="T31" fmla="*/ 133 h 321"/>
                    <a:gd name="T32" fmla="*/ 156 w 496"/>
                    <a:gd name="T33" fmla="*/ 156 h 321"/>
                    <a:gd name="T34" fmla="*/ 151 w 496"/>
                    <a:gd name="T35" fmla="*/ 177 h 321"/>
                    <a:gd name="T36" fmla="*/ 135 w 496"/>
                    <a:gd name="T37" fmla="*/ 210 h 321"/>
                    <a:gd name="T38" fmla="*/ 106 w 496"/>
                    <a:gd name="T39" fmla="*/ 260 h 321"/>
                    <a:gd name="T40" fmla="*/ 102 w 496"/>
                    <a:gd name="T41" fmla="*/ 288 h 321"/>
                    <a:gd name="T42" fmla="*/ 43 w 496"/>
                    <a:gd name="T43" fmla="*/ 111 h 321"/>
                    <a:gd name="T44" fmla="*/ 47 w 496"/>
                    <a:gd name="T45" fmla="*/ 99 h 321"/>
                    <a:gd name="T46" fmla="*/ 243 w 496"/>
                    <a:gd name="T47" fmla="*/ 111 h 321"/>
                    <a:gd name="T48" fmla="*/ 243 w 496"/>
                    <a:gd name="T49" fmla="*/ 111 h 321"/>
                    <a:gd name="T50" fmla="*/ 210 w 496"/>
                    <a:gd name="T51" fmla="*/ 210 h 321"/>
                    <a:gd name="T52" fmla="*/ 215 w 496"/>
                    <a:gd name="T53" fmla="*/ 177 h 321"/>
                    <a:gd name="T54" fmla="*/ 265 w 496"/>
                    <a:gd name="T55" fmla="*/ 189 h 321"/>
                    <a:gd name="T56" fmla="*/ 269 w 496"/>
                    <a:gd name="T57" fmla="*/ 189 h 321"/>
                    <a:gd name="T58" fmla="*/ 312 w 496"/>
                    <a:gd name="T59" fmla="*/ 189 h 321"/>
                    <a:gd name="T60" fmla="*/ 269 w 496"/>
                    <a:gd name="T61" fmla="*/ 267 h 321"/>
                    <a:gd name="T62" fmla="*/ 260 w 496"/>
                    <a:gd name="T63" fmla="*/ 279 h 321"/>
                    <a:gd name="T64" fmla="*/ 243 w 496"/>
                    <a:gd name="T65" fmla="*/ 260 h 321"/>
                    <a:gd name="T66" fmla="*/ 173 w 496"/>
                    <a:gd name="T67" fmla="*/ 206 h 321"/>
                    <a:gd name="T68" fmla="*/ 177 w 496"/>
                    <a:gd name="T69" fmla="*/ 189 h 321"/>
                    <a:gd name="T70" fmla="*/ 319 w 496"/>
                    <a:gd name="T71" fmla="*/ 210 h 321"/>
                    <a:gd name="T72" fmla="*/ 173 w 496"/>
                    <a:gd name="T73" fmla="*/ 279 h 321"/>
                    <a:gd name="T74" fmla="*/ 161 w 496"/>
                    <a:gd name="T75" fmla="*/ 227 h 321"/>
                    <a:gd name="T76" fmla="*/ 177 w 496"/>
                    <a:gd name="T77" fmla="*/ 222 h 321"/>
                    <a:gd name="T78" fmla="*/ 173 w 496"/>
                    <a:gd name="T79" fmla="*/ 279 h 321"/>
                    <a:gd name="T80" fmla="*/ 26 w 496"/>
                    <a:gd name="T81" fmla="*/ 234 h 321"/>
                    <a:gd name="T82" fmla="*/ 487 w 496"/>
                    <a:gd name="T83" fmla="*/ 284 h 321"/>
                    <a:gd name="T84" fmla="*/ 487 w 496"/>
                    <a:gd name="T85" fmla="*/ 284 h 321"/>
                    <a:gd name="T86" fmla="*/ 177 w 496"/>
                    <a:gd name="T87" fmla="*/ 288 h 321"/>
                    <a:gd name="T88" fmla="*/ 177 w 496"/>
                    <a:gd name="T89" fmla="*/ 305 h 321"/>
                    <a:gd name="T90" fmla="*/ 118 w 496"/>
                    <a:gd name="T91" fmla="*/ 288 h 321"/>
                    <a:gd name="T92" fmla="*/ 106 w 496"/>
                    <a:gd name="T93" fmla="*/ 279 h 321"/>
                    <a:gd name="T94" fmla="*/ 173 w 496"/>
                    <a:gd name="T95" fmla="*/ 284 h 321"/>
                    <a:gd name="T96" fmla="*/ 173 w 496"/>
                    <a:gd name="T97" fmla="*/ 284 h 321"/>
                    <a:gd name="T98" fmla="*/ 298 w 496"/>
                    <a:gd name="T99" fmla="*/ 279 h 321"/>
                    <a:gd name="T100" fmla="*/ 286 w 496"/>
                    <a:gd name="T101" fmla="*/ 288 h 321"/>
                    <a:gd name="T102" fmla="*/ 269 w 496"/>
                    <a:gd name="T103" fmla="*/ 321 h 321"/>
                    <a:gd name="T104" fmla="*/ 265 w 496"/>
                    <a:gd name="T105" fmla="*/ 284 h 321"/>
                    <a:gd name="T106" fmla="*/ 243 w 496"/>
                    <a:gd name="T107" fmla="*/ 300 h 321"/>
                    <a:gd name="T108" fmla="*/ 206 w 496"/>
                    <a:gd name="T109" fmla="*/ 30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6" h="321">
                      <a:moveTo>
                        <a:pt x="26" y="111"/>
                      </a:moveTo>
                      <a:lnTo>
                        <a:pt x="31" y="116"/>
                      </a:lnTo>
                      <a:lnTo>
                        <a:pt x="31" y="116"/>
                      </a:lnTo>
                      <a:lnTo>
                        <a:pt x="10" y="111"/>
                      </a:lnTo>
                      <a:lnTo>
                        <a:pt x="10" y="99"/>
                      </a:lnTo>
                      <a:lnTo>
                        <a:pt x="31" y="62"/>
                      </a:lnTo>
                      <a:lnTo>
                        <a:pt x="85" y="62"/>
                      </a:lnTo>
                      <a:lnTo>
                        <a:pt x="123" y="12"/>
                      </a:lnTo>
                      <a:lnTo>
                        <a:pt x="177" y="0"/>
                      </a:lnTo>
                      <a:lnTo>
                        <a:pt x="161" y="12"/>
                      </a:lnTo>
                      <a:lnTo>
                        <a:pt x="173" y="57"/>
                      </a:lnTo>
                      <a:lnTo>
                        <a:pt x="156" y="78"/>
                      </a:lnTo>
                      <a:lnTo>
                        <a:pt x="135" y="66"/>
                      </a:lnTo>
                      <a:lnTo>
                        <a:pt x="80" y="78"/>
                      </a:lnTo>
                      <a:lnTo>
                        <a:pt x="69" y="66"/>
                      </a:lnTo>
                      <a:lnTo>
                        <a:pt x="43" y="83"/>
                      </a:lnTo>
                      <a:lnTo>
                        <a:pt x="26" y="111"/>
                      </a:lnTo>
                      <a:lnTo>
                        <a:pt x="26" y="111"/>
                      </a:lnTo>
                      <a:lnTo>
                        <a:pt x="26" y="111"/>
                      </a:lnTo>
                      <a:close/>
                      <a:moveTo>
                        <a:pt x="206" y="57"/>
                      </a:moveTo>
                      <a:lnTo>
                        <a:pt x="194" y="57"/>
                      </a:lnTo>
                      <a:lnTo>
                        <a:pt x="215" y="45"/>
                      </a:lnTo>
                      <a:lnTo>
                        <a:pt x="206" y="57"/>
                      </a:lnTo>
                      <a:lnTo>
                        <a:pt x="206" y="57"/>
                      </a:lnTo>
                      <a:lnTo>
                        <a:pt x="206" y="57"/>
                      </a:lnTo>
                      <a:close/>
                      <a:moveTo>
                        <a:pt x="97" y="300"/>
                      </a:moveTo>
                      <a:lnTo>
                        <a:pt x="43" y="288"/>
                      </a:lnTo>
                      <a:lnTo>
                        <a:pt x="43" y="267"/>
                      </a:lnTo>
                      <a:lnTo>
                        <a:pt x="26" y="279"/>
                      </a:lnTo>
                      <a:lnTo>
                        <a:pt x="26" y="267"/>
                      </a:lnTo>
                      <a:lnTo>
                        <a:pt x="26" y="260"/>
                      </a:lnTo>
                      <a:lnTo>
                        <a:pt x="43" y="267"/>
                      </a:lnTo>
                      <a:lnTo>
                        <a:pt x="31" y="234"/>
                      </a:lnTo>
                      <a:lnTo>
                        <a:pt x="0" y="227"/>
                      </a:lnTo>
                      <a:lnTo>
                        <a:pt x="0" y="206"/>
                      </a:lnTo>
                      <a:lnTo>
                        <a:pt x="0" y="177"/>
                      </a:lnTo>
                      <a:lnTo>
                        <a:pt x="0" y="194"/>
                      </a:lnTo>
                      <a:lnTo>
                        <a:pt x="14" y="189"/>
                      </a:lnTo>
                      <a:lnTo>
                        <a:pt x="10" y="173"/>
                      </a:lnTo>
                      <a:lnTo>
                        <a:pt x="0" y="173"/>
                      </a:lnTo>
                      <a:lnTo>
                        <a:pt x="0" y="177"/>
                      </a:lnTo>
                      <a:lnTo>
                        <a:pt x="0" y="111"/>
                      </a:lnTo>
                      <a:lnTo>
                        <a:pt x="43" y="133"/>
                      </a:lnTo>
                      <a:lnTo>
                        <a:pt x="47" y="123"/>
                      </a:lnTo>
                      <a:lnTo>
                        <a:pt x="43" y="116"/>
                      </a:lnTo>
                      <a:lnTo>
                        <a:pt x="69" y="99"/>
                      </a:lnTo>
                      <a:lnTo>
                        <a:pt x="69" y="111"/>
                      </a:lnTo>
                      <a:lnTo>
                        <a:pt x="64" y="123"/>
                      </a:lnTo>
                      <a:lnTo>
                        <a:pt x="80" y="116"/>
                      </a:lnTo>
                      <a:lnTo>
                        <a:pt x="85" y="123"/>
                      </a:lnTo>
                      <a:lnTo>
                        <a:pt x="85" y="123"/>
                      </a:lnTo>
                      <a:lnTo>
                        <a:pt x="85" y="111"/>
                      </a:lnTo>
                      <a:lnTo>
                        <a:pt x="69" y="111"/>
                      </a:lnTo>
                      <a:lnTo>
                        <a:pt x="69" y="83"/>
                      </a:lnTo>
                      <a:lnTo>
                        <a:pt x="80" y="78"/>
                      </a:lnTo>
                      <a:lnTo>
                        <a:pt x="135" y="66"/>
                      </a:lnTo>
                      <a:lnTo>
                        <a:pt x="156" y="78"/>
                      </a:lnTo>
                      <a:lnTo>
                        <a:pt x="156" y="99"/>
                      </a:lnTo>
                      <a:lnTo>
                        <a:pt x="123" y="116"/>
                      </a:lnTo>
                      <a:lnTo>
                        <a:pt x="156" y="111"/>
                      </a:lnTo>
                      <a:lnTo>
                        <a:pt x="151" y="133"/>
                      </a:lnTo>
                      <a:lnTo>
                        <a:pt x="156" y="123"/>
                      </a:lnTo>
                      <a:lnTo>
                        <a:pt x="194" y="123"/>
                      </a:lnTo>
                      <a:lnTo>
                        <a:pt x="206" y="133"/>
                      </a:lnTo>
                      <a:lnTo>
                        <a:pt x="189" y="168"/>
                      </a:lnTo>
                      <a:lnTo>
                        <a:pt x="177" y="156"/>
                      </a:lnTo>
                      <a:lnTo>
                        <a:pt x="173" y="173"/>
                      </a:lnTo>
                      <a:lnTo>
                        <a:pt x="156" y="156"/>
                      </a:lnTo>
                      <a:lnTo>
                        <a:pt x="161" y="156"/>
                      </a:lnTo>
                      <a:lnTo>
                        <a:pt x="161" y="149"/>
                      </a:lnTo>
                      <a:lnTo>
                        <a:pt x="151" y="168"/>
                      </a:lnTo>
                      <a:lnTo>
                        <a:pt x="151" y="177"/>
                      </a:lnTo>
                      <a:lnTo>
                        <a:pt x="151" y="194"/>
                      </a:lnTo>
                      <a:lnTo>
                        <a:pt x="123" y="194"/>
                      </a:lnTo>
                      <a:lnTo>
                        <a:pt x="135" y="194"/>
                      </a:lnTo>
                      <a:lnTo>
                        <a:pt x="135" y="210"/>
                      </a:lnTo>
                      <a:lnTo>
                        <a:pt x="102" y="210"/>
                      </a:lnTo>
                      <a:lnTo>
                        <a:pt x="118" y="222"/>
                      </a:lnTo>
                      <a:lnTo>
                        <a:pt x="102" y="234"/>
                      </a:lnTo>
                      <a:lnTo>
                        <a:pt x="106" y="260"/>
                      </a:lnTo>
                      <a:lnTo>
                        <a:pt x="97" y="267"/>
                      </a:lnTo>
                      <a:lnTo>
                        <a:pt x="118" y="288"/>
                      </a:lnTo>
                      <a:lnTo>
                        <a:pt x="106" y="300"/>
                      </a:lnTo>
                      <a:lnTo>
                        <a:pt x="102" y="288"/>
                      </a:lnTo>
                      <a:lnTo>
                        <a:pt x="97" y="300"/>
                      </a:lnTo>
                      <a:lnTo>
                        <a:pt x="97" y="300"/>
                      </a:lnTo>
                      <a:lnTo>
                        <a:pt x="97" y="300"/>
                      </a:lnTo>
                      <a:close/>
                      <a:moveTo>
                        <a:pt x="43" y="111"/>
                      </a:moveTo>
                      <a:lnTo>
                        <a:pt x="26" y="99"/>
                      </a:lnTo>
                      <a:lnTo>
                        <a:pt x="31" y="99"/>
                      </a:lnTo>
                      <a:lnTo>
                        <a:pt x="54" y="83"/>
                      </a:lnTo>
                      <a:lnTo>
                        <a:pt x="47" y="99"/>
                      </a:lnTo>
                      <a:lnTo>
                        <a:pt x="43" y="111"/>
                      </a:lnTo>
                      <a:lnTo>
                        <a:pt x="43" y="111"/>
                      </a:lnTo>
                      <a:lnTo>
                        <a:pt x="43" y="111"/>
                      </a:lnTo>
                      <a:close/>
                      <a:moveTo>
                        <a:pt x="243" y="111"/>
                      </a:moveTo>
                      <a:lnTo>
                        <a:pt x="243" y="111"/>
                      </a:lnTo>
                      <a:lnTo>
                        <a:pt x="248" y="111"/>
                      </a:lnTo>
                      <a:lnTo>
                        <a:pt x="243" y="111"/>
                      </a:lnTo>
                      <a:lnTo>
                        <a:pt x="243" y="111"/>
                      </a:lnTo>
                      <a:lnTo>
                        <a:pt x="243" y="111"/>
                      </a:lnTo>
                      <a:close/>
                      <a:moveTo>
                        <a:pt x="243" y="260"/>
                      </a:moveTo>
                      <a:lnTo>
                        <a:pt x="215" y="260"/>
                      </a:lnTo>
                      <a:lnTo>
                        <a:pt x="210" y="210"/>
                      </a:lnTo>
                      <a:lnTo>
                        <a:pt x="194" y="206"/>
                      </a:lnTo>
                      <a:lnTo>
                        <a:pt x="215" y="210"/>
                      </a:lnTo>
                      <a:lnTo>
                        <a:pt x="243" y="194"/>
                      </a:lnTo>
                      <a:lnTo>
                        <a:pt x="215" y="177"/>
                      </a:lnTo>
                      <a:lnTo>
                        <a:pt x="260" y="177"/>
                      </a:lnTo>
                      <a:lnTo>
                        <a:pt x="248" y="194"/>
                      </a:lnTo>
                      <a:lnTo>
                        <a:pt x="260" y="210"/>
                      </a:lnTo>
                      <a:lnTo>
                        <a:pt x="265" y="189"/>
                      </a:lnTo>
                      <a:lnTo>
                        <a:pt x="281" y="206"/>
                      </a:lnTo>
                      <a:lnTo>
                        <a:pt x="269" y="210"/>
                      </a:lnTo>
                      <a:lnTo>
                        <a:pt x="281" y="210"/>
                      </a:lnTo>
                      <a:lnTo>
                        <a:pt x="269" y="189"/>
                      </a:lnTo>
                      <a:lnTo>
                        <a:pt x="265" y="177"/>
                      </a:lnTo>
                      <a:lnTo>
                        <a:pt x="298" y="168"/>
                      </a:lnTo>
                      <a:lnTo>
                        <a:pt x="319" y="173"/>
                      </a:lnTo>
                      <a:lnTo>
                        <a:pt x="312" y="189"/>
                      </a:lnTo>
                      <a:lnTo>
                        <a:pt x="319" y="210"/>
                      </a:lnTo>
                      <a:lnTo>
                        <a:pt x="286" y="234"/>
                      </a:lnTo>
                      <a:lnTo>
                        <a:pt x="302" y="251"/>
                      </a:lnTo>
                      <a:lnTo>
                        <a:pt x="269" y="267"/>
                      </a:lnTo>
                      <a:lnTo>
                        <a:pt x="286" y="267"/>
                      </a:lnTo>
                      <a:lnTo>
                        <a:pt x="286" y="284"/>
                      </a:lnTo>
                      <a:lnTo>
                        <a:pt x="265" y="284"/>
                      </a:lnTo>
                      <a:lnTo>
                        <a:pt x="260" y="279"/>
                      </a:lnTo>
                      <a:lnTo>
                        <a:pt x="260" y="267"/>
                      </a:lnTo>
                      <a:lnTo>
                        <a:pt x="260" y="260"/>
                      </a:lnTo>
                      <a:lnTo>
                        <a:pt x="243" y="260"/>
                      </a:lnTo>
                      <a:lnTo>
                        <a:pt x="243" y="260"/>
                      </a:lnTo>
                      <a:lnTo>
                        <a:pt x="243" y="260"/>
                      </a:lnTo>
                      <a:close/>
                      <a:moveTo>
                        <a:pt x="177" y="189"/>
                      </a:moveTo>
                      <a:lnTo>
                        <a:pt x="173" y="206"/>
                      </a:lnTo>
                      <a:lnTo>
                        <a:pt x="173" y="206"/>
                      </a:lnTo>
                      <a:lnTo>
                        <a:pt x="173" y="177"/>
                      </a:lnTo>
                      <a:lnTo>
                        <a:pt x="177" y="189"/>
                      </a:lnTo>
                      <a:lnTo>
                        <a:pt x="177" y="189"/>
                      </a:lnTo>
                      <a:lnTo>
                        <a:pt x="177" y="189"/>
                      </a:lnTo>
                      <a:close/>
                      <a:moveTo>
                        <a:pt x="319" y="222"/>
                      </a:moveTo>
                      <a:lnTo>
                        <a:pt x="319" y="222"/>
                      </a:lnTo>
                      <a:lnTo>
                        <a:pt x="312" y="222"/>
                      </a:lnTo>
                      <a:lnTo>
                        <a:pt x="319" y="210"/>
                      </a:lnTo>
                      <a:lnTo>
                        <a:pt x="319" y="222"/>
                      </a:lnTo>
                      <a:lnTo>
                        <a:pt x="319" y="222"/>
                      </a:lnTo>
                      <a:lnTo>
                        <a:pt x="319" y="222"/>
                      </a:lnTo>
                      <a:close/>
                      <a:moveTo>
                        <a:pt x="173" y="279"/>
                      </a:moveTo>
                      <a:lnTo>
                        <a:pt x="139" y="279"/>
                      </a:lnTo>
                      <a:lnTo>
                        <a:pt x="106" y="227"/>
                      </a:lnTo>
                      <a:lnTo>
                        <a:pt x="156" y="222"/>
                      </a:lnTo>
                      <a:lnTo>
                        <a:pt x="161" y="227"/>
                      </a:lnTo>
                      <a:lnTo>
                        <a:pt x="161" y="234"/>
                      </a:lnTo>
                      <a:lnTo>
                        <a:pt x="161" y="234"/>
                      </a:lnTo>
                      <a:lnTo>
                        <a:pt x="173" y="227"/>
                      </a:lnTo>
                      <a:lnTo>
                        <a:pt x="177" y="222"/>
                      </a:lnTo>
                      <a:lnTo>
                        <a:pt x="189" y="251"/>
                      </a:lnTo>
                      <a:lnTo>
                        <a:pt x="189" y="279"/>
                      </a:lnTo>
                      <a:lnTo>
                        <a:pt x="173" y="279"/>
                      </a:lnTo>
                      <a:lnTo>
                        <a:pt x="173" y="279"/>
                      </a:lnTo>
                      <a:lnTo>
                        <a:pt x="173" y="279"/>
                      </a:lnTo>
                      <a:close/>
                      <a:moveTo>
                        <a:pt x="26" y="244"/>
                      </a:moveTo>
                      <a:lnTo>
                        <a:pt x="14" y="234"/>
                      </a:lnTo>
                      <a:lnTo>
                        <a:pt x="26" y="234"/>
                      </a:lnTo>
                      <a:lnTo>
                        <a:pt x="26" y="244"/>
                      </a:lnTo>
                      <a:lnTo>
                        <a:pt x="26" y="244"/>
                      </a:lnTo>
                      <a:lnTo>
                        <a:pt x="26" y="244"/>
                      </a:lnTo>
                      <a:close/>
                      <a:moveTo>
                        <a:pt x="487" y="284"/>
                      </a:moveTo>
                      <a:lnTo>
                        <a:pt x="458" y="267"/>
                      </a:lnTo>
                      <a:lnTo>
                        <a:pt x="465" y="251"/>
                      </a:lnTo>
                      <a:lnTo>
                        <a:pt x="496" y="267"/>
                      </a:lnTo>
                      <a:lnTo>
                        <a:pt x="487" y="284"/>
                      </a:lnTo>
                      <a:lnTo>
                        <a:pt x="487" y="284"/>
                      </a:lnTo>
                      <a:lnTo>
                        <a:pt x="487" y="284"/>
                      </a:lnTo>
                      <a:close/>
                      <a:moveTo>
                        <a:pt x="177" y="305"/>
                      </a:moveTo>
                      <a:lnTo>
                        <a:pt x="177" y="288"/>
                      </a:lnTo>
                      <a:lnTo>
                        <a:pt x="206" y="267"/>
                      </a:lnTo>
                      <a:lnTo>
                        <a:pt x="177" y="305"/>
                      </a:lnTo>
                      <a:lnTo>
                        <a:pt x="177" y="305"/>
                      </a:lnTo>
                      <a:lnTo>
                        <a:pt x="177" y="305"/>
                      </a:lnTo>
                      <a:close/>
                      <a:moveTo>
                        <a:pt x="135" y="284"/>
                      </a:moveTo>
                      <a:lnTo>
                        <a:pt x="139" y="288"/>
                      </a:lnTo>
                      <a:lnTo>
                        <a:pt x="123" y="288"/>
                      </a:lnTo>
                      <a:lnTo>
                        <a:pt x="118" y="288"/>
                      </a:lnTo>
                      <a:lnTo>
                        <a:pt x="118" y="284"/>
                      </a:lnTo>
                      <a:lnTo>
                        <a:pt x="118" y="284"/>
                      </a:lnTo>
                      <a:lnTo>
                        <a:pt x="118" y="279"/>
                      </a:lnTo>
                      <a:lnTo>
                        <a:pt x="106" y="279"/>
                      </a:lnTo>
                      <a:lnTo>
                        <a:pt x="135" y="284"/>
                      </a:lnTo>
                      <a:lnTo>
                        <a:pt x="135" y="284"/>
                      </a:lnTo>
                      <a:lnTo>
                        <a:pt x="135" y="284"/>
                      </a:lnTo>
                      <a:close/>
                      <a:moveTo>
                        <a:pt x="173" y="284"/>
                      </a:moveTo>
                      <a:lnTo>
                        <a:pt x="161" y="284"/>
                      </a:lnTo>
                      <a:lnTo>
                        <a:pt x="177" y="284"/>
                      </a:lnTo>
                      <a:lnTo>
                        <a:pt x="173" y="284"/>
                      </a:lnTo>
                      <a:lnTo>
                        <a:pt x="173" y="284"/>
                      </a:lnTo>
                      <a:lnTo>
                        <a:pt x="173" y="284"/>
                      </a:lnTo>
                      <a:close/>
                      <a:moveTo>
                        <a:pt x="286" y="288"/>
                      </a:moveTo>
                      <a:lnTo>
                        <a:pt x="281" y="284"/>
                      </a:lnTo>
                      <a:lnTo>
                        <a:pt x="298" y="279"/>
                      </a:lnTo>
                      <a:lnTo>
                        <a:pt x="312" y="284"/>
                      </a:lnTo>
                      <a:lnTo>
                        <a:pt x="286" y="288"/>
                      </a:lnTo>
                      <a:lnTo>
                        <a:pt x="286" y="288"/>
                      </a:lnTo>
                      <a:lnTo>
                        <a:pt x="286" y="288"/>
                      </a:lnTo>
                      <a:close/>
                      <a:moveTo>
                        <a:pt x="265" y="284"/>
                      </a:moveTo>
                      <a:lnTo>
                        <a:pt x="286" y="300"/>
                      </a:lnTo>
                      <a:lnTo>
                        <a:pt x="269" y="317"/>
                      </a:lnTo>
                      <a:lnTo>
                        <a:pt x="269" y="321"/>
                      </a:lnTo>
                      <a:lnTo>
                        <a:pt x="248" y="288"/>
                      </a:lnTo>
                      <a:lnTo>
                        <a:pt x="265" y="284"/>
                      </a:lnTo>
                      <a:lnTo>
                        <a:pt x="265" y="284"/>
                      </a:lnTo>
                      <a:lnTo>
                        <a:pt x="265" y="284"/>
                      </a:lnTo>
                      <a:close/>
                      <a:moveTo>
                        <a:pt x="206" y="300"/>
                      </a:moveTo>
                      <a:lnTo>
                        <a:pt x="210" y="288"/>
                      </a:lnTo>
                      <a:lnTo>
                        <a:pt x="215" y="284"/>
                      </a:lnTo>
                      <a:lnTo>
                        <a:pt x="243" y="300"/>
                      </a:lnTo>
                      <a:lnTo>
                        <a:pt x="248" y="288"/>
                      </a:lnTo>
                      <a:lnTo>
                        <a:pt x="265" y="317"/>
                      </a:lnTo>
                      <a:lnTo>
                        <a:pt x="232" y="317"/>
                      </a:lnTo>
                      <a:lnTo>
                        <a:pt x="206" y="300"/>
                      </a:lnTo>
                      <a:lnTo>
                        <a:pt x="206" y="300"/>
                      </a:lnTo>
                      <a:lnTo>
                        <a:pt x="206" y="30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5" name="Freeform 431">
                  <a:extLst>
                    <a:ext uri="{FF2B5EF4-FFF2-40B4-BE49-F238E27FC236}">
                      <a16:creationId xmlns:a16="http://schemas.microsoft.com/office/drawing/2014/main" id="{AB51FFF9-4086-4BE0-B85C-84BFC02BE186}"/>
                    </a:ext>
                  </a:extLst>
                </p:cNvPr>
                <p:cNvSpPr>
                  <a:spLocks noEditPoints="1"/>
                </p:cNvSpPr>
                <p:nvPr/>
              </p:nvSpPr>
              <p:spPr bwMode="gray">
                <a:xfrm>
                  <a:off x="6424894" y="2230456"/>
                  <a:ext cx="125147" cy="158511"/>
                </a:xfrm>
                <a:custGeom>
                  <a:avLst/>
                  <a:gdLst>
                    <a:gd name="T0" fmla="*/ 198 w 304"/>
                    <a:gd name="T1" fmla="*/ 59 h 385"/>
                    <a:gd name="T2" fmla="*/ 193 w 304"/>
                    <a:gd name="T3" fmla="*/ 75 h 385"/>
                    <a:gd name="T4" fmla="*/ 181 w 304"/>
                    <a:gd name="T5" fmla="*/ 116 h 385"/>
                    <a:gd name="T6" fmla="*/ 236 w 304"/>
                    <a:gd name="T7" fmla="*/ 92 h 385"/>
                    <a:gd name="T8" fmla="*/ 288 w 304"/>
                    <a:gd name="T9" fmla="*/ 125 h 385"/>
                    <a:gd name="T10" fmla="*/ 283 w 304"/>
                    <a:gd name="T11" fmla="*/ 132 h 385"/>
                    <a:gd name="T12" fmla="*/ 304 w 304"/>
                    <a:gd name="T13" fmla="*/ 182 h 385"/>
                    <a:gd name="T14" fmla="*/ 304 w 304"/>
                    <a:gd name="T15" fmla="*/ 220 h 385"/>
                    <a:gd name="T16" fmla="*/ 288 w 304"/>
                    <a:gd name="T17" fmla="*/ 264 h 385"/>
                    <a:gd name="T18" fmla="*/ 274 w 304"/>
                    <a:gd name="T19" fmla="*/ 298 h 385"/>
                    <a:gd name="T20" fmla="*/ 283 w 304"/>
                    <a:gd name="T21" fmla="*/ 314 h 385"/>
                    <a:gd name="T22" fmla="*/ 236 w 304"/>
                    <a:gd name="T23" fmla="*/ 298 h 385"/>
                    <a:gd name="T24" fmla="*/ 198 w 304"/>
                    <a:gd name="T25" fmla="*/ 319 h 385"/>
                    <a:gd name="T26" fmla="*/ 181 w 304"/>
                    <a:gd name="T27" fmla="*/ 331 h 385"/>
                    <a:gd name="T28" fmla="*/ 160 w 304"/>
                    <a:gd name="T29" fmla="*/ 347 h 385"/>
                    <a:gd name="T30" fmla="*/ 155 w 304"/>
                    <a:gd name="T31" fmla="*/ 335 h 385"/>
                    <a:gd name="T32" fmla="*/ 144 w 304"/>
                    <a:gd name="T33" fmla="*/ 335 h 385"/>
                    <a:gd name="T34" fmla="*/ 122 w 304"/>
                    <a:gd name="T35" fmla="*/ 368 h 385"/>
                    <a:gd name="T36" fmla="*/ 70 w 304"/>
                    <a:gd name="T37" fmla="*/ 373 h 385"/>
                    <a:gd name="T38" fmla="*/ 59 w 304"/>
                    <a:gd name="T39" fmla="*/ 368 h 385"/>
                    <a:gd name="T40" fmla="*/ 70 w 304"/>
                    <a:gd name="T41" fmla="*/ 364 h 385"/>
                    <a:gd name="T42" fmla="*/ 21 w 304"/>
                    <a:gd name="T43" fmla="*/ 368 h 385"/>
                    <a:gd name="T44" fmla="*/ 21 w 304"/>
                    <a:gd name="T45" fmla="*/ 352 h 385"/>
                    <a:gd name="T46" fmla="*/ 4 w 304"/>
                    <a:gd name="T47" fmla="*/ 352 h 385"/>
                    <a:gd name="T48" fmla="*/ 16 w 304"/>
                    <a:gd name="T49" fmla="*/ 331 h 385"/>
                    <a:gd name="T50" fmla="*/ 0 w 304"/>
                    <a:gd name="T51" fmla="*/ 319 h 385"/>
                    <a:gd name="T52" fmla="*/ 21 w 304"/>
                    <a:gd name="T53" fmla="*/ 298 h 385"/>
                    <a:gd name="T54" fmla="*/ 49 w 304"/>
                    <a:gd name="T55" fmla="*/ 290 h 385"/>
                    <a:gd name="T56" fmla="*/ 113 w 304"/>
                    <a:gd name="T57" fmla="*/ 264 h 385"/>
                    <a:gd name="T58" fmla="*/ 92 w 304"/>
                    <a:gd name="T59" fmla="*/ 264 h 385"/>
                    <a:gd name="T60" fmla="*/ 70 w 304"/>
                    <a:gd name="T61" fmla="*/ 253 h 385"/>
                    <a:gd name="T62" fmla="*/ 70 w 304"/>
                    <a:gd name="T63" fmla="*/ 236 h 385"/>
                    <a:gd name="T64" fmla="*/ 106 w 304"/>
                    <a:gd name="T65" fmla="*/ 220 h 385"/>
                    <a:gd name="T66" fmla="*/ 59 w 304"/>
                    <a:gd name="T67" fmla="*/ 208 h 385"/>
                    <a:gd name="T68" fmla="*/ 49 w 304"/>
                    <a:gd name="T69" fmla="*/ 203 h 385"/>
                    <a:gd name="T70" fmla="*/ 49 w 304"/>
                    <a:gd name="T71" fmla="*/ 187 h 385"/>
                    <a:gd name="T72" fmla="*/ 16 w 304"/>
                    <a:gd name="T73" fmla="*/ 182 h 385"/>
                    <a:gd name="T74" fmla="*/ 37 w 304"/>
                    <a:gd name="T75" fmla="*/ 170 h 385"/>
                    <a:gd name="T76" fmla="*/ 59 w 304"/>
                    <a:gd name="T77" fmla="*/ 153 h 385"/>
                    <a:gd name="T78" fmla="*/ 37 w 304"/>
                    <a:gd name="T79" fmla="*/ 149 h 385"/>
                    <a:gd name="T80" fmla="*/ 49 w 304"/>
                    <a:gd name="T81" fmla="*/ 142 h 385"/>
                    <a:gd name="T82" fmla="*/ 21 w 304"/>
                    <a:gd name="T83" fmla="*/ 125 h 385"/>
                    <a:gd name="T84" fmla="*/ 33 w 304"/>
                    <a:gd name="T85" fmla="*/ 99 h 385"/>
                    <a:gd name="T86" fmla="*/ 49 w 304"/>
                    <a:gd name="T87" fmla="*/ 99 h 385"/>
                    <a:gd name="T88" fmla="*/ 92 w 304"/>
                    <a:gd name="T89" fmla="*/ 116 h 385"/>
                    <a:gd name="T90" fmla="*/ 139 w 304"/>
                    <a:gd name="T91" fmla="*/ 109 h 385"/>
                    <a:gd name="T92" fmla="*/ 155 w 304"/>
                    <a:gd name="T93" fmla="*/ 87 h 385"/>
                    <a:gd name="T94" fmla="*/ 127 w 304"/>
                    <a:gd name="T95" fmla="*/ 75 h 385"/>
                    <a:gd name="T96" fmla="*/ 144 w 304"/>
                    <a:gd name="T97" fmla="*/ 42 h 385"/>
                    <a:gd name="T98" fmla="*/ 144 w 304"/>
                    <a:gd name="T99" fmla="*/ 38 h 385"/>
                    <a:gd name="T100" fmla="*/ 144 w 304"/>
                    <a:gd name="T101" fmla="*/ 21 h 385"/>
                    <a:gd name="T102" fmla="*/ 193 w 304"/>
                    <a:gd name="T103" fmla="*/ 33 h 385"/>
                    <a:gd name="T104" fmla="*/ 181 w 304"/>
                    <a:gd name="T105" fmla="*/ 16 h 385"/>
                    <a:gd name="T106" fmla="*/ 207 w 304"/>
                    <a:gd name="T107" fmla="*/ 21 h 385"/>
                    <a:gd name="T108" fmla="*/ 207 w 304"/>
                    <a:gd name="T109" fmla="*/ 33 h 385"/>
                    <a:gd name="T110" fmla="*/ 215 w 304"/>
                    <a:gd name="T111" fmla="*/ 5 h 385"/>
                    <a:gd name="T112" fmla="*/ 245 w 304"/>
                    <a:gd name="T113" fmla="*/ 16 h 385"/>
                    <a:gd name="T114" fmla="*/ 219 w 304"/>
                    <a:gd name="T115" fmla="*/ 33 h 385"/>
                    <a:gd name="T116" fmla="*/ 21 w 304"/>
                    <a:gd name="T117" fmla="*/ 132 h 385"/>
                    <a:gd name="T118" fmla="*/ 37 w 304"/>
                    <a:gd name="T119" fmla="*/ 149 h 385"/>
                    <a:gd name="T120" fmla="*/ 21 w 304"/>
                    <a:gd name="T121" fmla="*/ 132 h 385"/>
                    <a:gd name="T122" fmla="*/ 21 w 304"/>
                    <a:gd name="T123" fmla="*/ 132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4" h="385">
                      <a:moveTo>
                        <a:pt x="219" y="33"/>
                      </a:moveTo>
                      <a:lnTo>
                        <a:pt x="198" y="59"/>
                      </a:lnTo>
                      <a:lnTo>
                        <a:pt x="177" y="71"/>
                      </a:lnTo>
                      <a:lnTo>
                        <a:pt x="193" y="75"/>
                      </a:lnTo>
                      <a:lnTo>
                        <a:pt x="160" y="92"/>
                      </a:lnTo>
                      <a:lnTo>
                        <a:pt x="181" y="116"/>
                      </a:lnTo>
                      <a:lnTo>
                        <a:pt x="219" y="125"/>
                      </a:lnTo>
                      <a:lnTo>
                        <a:pt x="236" y="92"/>
                      </a:lnTo>
                      <a:lnTo>
                        <a:pt x="266" y="132"/>
                      </a:lnTo>
                      <a:lnTo>
                        <a:pt x="288" y="125"/>
                      </a:lnTo>
                      <a:lnTo>
                        <a:pt x="304" y="132"/>
                      </a:lnTo>
                      <a:lnTo>
                        <a:pt x="283" y="132"/>
                      </a:lnTo>
                      <a:lnTo>
                        <a:pt x="283" y="142"/>
                      </a:lnTo>
                      <a:lnTo>
                        <a:pt x="304" y="182"/>
                      </a:lnTo>
                      <a:lnTo>
                        <a:pt x="288" y="198"/>
                      </a:lnTo>
                      <a:lnTo>
                        <a:pt x="304" y="220"/>
                      </a:lnTo>
                      <a:lnTo>
                        <a:pt x="304" y="236"/>
                      </a:lnTo>
                      <a:lnTo>
                        <a:pt x="288" y="264"/>
                      </a:lnTo>
                      <a:lnTo>
                        <a:pt x="300" y="274"/>
                      </a:lnTo>
                      <a:lnTo>
                        <a:pt x="274" y="298"/>
                      </a:lnTo>
                      <a:lnTo>
                        <a:pt x="288" y="307"/>
                      </a:lnTo>
                      <a:lnTo>
                        <a:pt x="283" y="314"/>
                      </a:lnTo>
                      <a:lnTo>
                        <a:pt x="245" y="314"/>
                      </a:lnTo>
                      <a:lnTo>
                        <a:pt x="236" y="298"/>
                      </a:lnTo>
                      <a:lnTo>
                        <a:pt x="236" y="314"/>
                      </a:lnTo>
                      <a:lnTo>
                        <a:pt x="198" y="319"/>
                      </a:lnTo>
                      <a:lnTo>
                        <a:pt x="198" y="331"/>
                      </a:lnTo>
                      <a:lnTo>
                        <a:pt x="181" y="331"/>
                      </a:lnTo>
                      <a:lnTo>
                        <a:pt x="177" y="335"/>
                      </a:lnTo>
                      <a:lnTo>
                        <a:pt x="160" y="347"/>
                      </a:lnTo>
                      <a:lnTo>
                        <a:pt x="155" y="347"/>
                      </a:lnTo>
                      <a:lnTo>
                        <a:pt x="155" y="335"/>
                      </a:lnTo>
                      <a:lnTo>
                        <a:pt x="139" y="335"/>
                      </a:lnTo>
                      <a:lnTo>
                        <a:pt x="144" y="335"/>
                      </a:lnTo>
                      <a:lnTo>
                        <a:pt x="144" y="352"/>
                      </a:lnTo>
                      <a:lnTo>
                        <a:pt x="122" y="368"/>
                      </a:lnTo>
                      <a:lnTo>
                        <a:pt x="85" y="373"/>
                      </a:lnTo>
                      <a:lnTo>
                        <a:pt x="70" y="373"/>
                      </a:lnTo>
                      <a:lnTo>
                        <a:pt x="49" y="385"/>
                      </a:lnTo>
                      <a:lnTo>
                        <a:pt x="59" y="368"/>
                      </a:lnTo>
                      <a:lnTo>
                        <a:pt x="49" y="368"/>
                      </a:lnTo>
                      <a:lnTo>
                        <a:pt x="70" y="364"/>
                      </a:lnTo>
                      <a:lnTo>
                        <a:pt x="59" y="352"/>
                      </a:lnTo>
                      <a:lnTo>
                        <a:pt x="21" y="368"/>
                      </a:lnTo>
                      <a:lnTo>
                        <a:pt x="59" y="335"/>
                      </a:lnTo>
                      <a:lnTo>
                        <a:pt x="21" y="352"/>
                      </a:lnTo>
                      <a:lnTo>
                        <a:pt x="16" y="347"/>
                      </a:lnTo>
                      <a:lnTo>
                        <a:pt x="4" y="352"/>
                      </a:lnTo>
                      <a:lnTo>
                        <a:pt x="4" y="335"/>
                      </a:lnTo>
                      <a:lnTo>
                        <a:pt x="16" y="331"/>
                      </a:lnTo>
                      <a:lnTo>
                        <a:pt x="49" y="314"/>
                      </a:lnTo>
                      <a:lnTo>
                        <a:pt x="0" y="319"/>
                      </a:lnTo>
                      <a:lnTo>
                        <a:pt x="0" y="314"/>
                      </a:lnTo>
                      <a:lnTo>
                        <a:pt x="21" y="298"/>
                      </a:lnTo>
                      <a:lnTo>
                        <a:pt x="49" y="307"/>
                      </a:lnTo>
                      <a:lnTo>
                        <a:pt x="49" y="290"/>
                      </a:lnTo>
                      <a:lnTo>
                        <a:pt x="54" y="274"/>
                      </a:lnTo>
                      <a:lnTo>
                        <a:pt x="113" y="264"/>
                      </a:lnTo>
                      <a:lnTo>
                        <a:pt x="101" y="257"/>
                      </a:lnTo>
                      <a:lnTo>
                        <a:pt x="92" y="264"/>
                      </a:lnTo>
                      <a:lnTo>
                        <a:pt x="37" y="274"/>
                      </a:lnTo>
                      <a:lnTo>
                        <a:pt x="70" y="253"/>
                      </a:lnTo>
                      <a:lnTo>
                        <a:pt x="75" y="241"/>
                      </a:lnTo>
                      <a:lnTo>
                        <a:pt x="70" y="236"/>
                      </a:lnTo>
                      <a:lnTo>
                        <a:pt x="85" y="220"/>
                      </a:lnTo>
                      <a:lnTo>
                        <a:pt x="106" y="220"/>
                      </a:lnTo>
                      <a:lnTo>
                        <a:pt x="106" y="203"/>
                      </a:lnTo>
                      <a:lnTo>
                        <a:pt x="59" y="208"/>
                      </a:lnTo>
                      <a:lnTo>
                        <a:pt x="59" y="198"/>
                      </a:lnTo>
                      <a:lnTo>
                        <a:pt x="49" y="203"/>
                      </a:lnTo>
                      <a:lnTo>
                        <a:pt x="37" y="203"/>
                      </a:lnTo>
                      <a:lnTo>
                        <a:pt x="49" y="187"/>
                      </a:lnTo>
                      <a:lnTo>
                        <a:pt x="21" y="198"/>
                      </a:lnTo>
                      <a:lnTo>
                        <a:pt x="16" y="182"/>
                      </a:lnTo>
                      <a:lnTo>
                        <a:pt x="54" y="170"/>
                      </a:lnTo>
                      <a:lnTo>
                        <a:pt x="37" y="170"/>
                      </a:lnTo>
                      <a:lnTo>
                        <a:pt x="37" y="153"/>
                      </a:lnTo>
                      <a:lnTo>
                        <a:pt x="59" y="153"/>
                      </a:lnTo>
                      <a:lnTo>
                        <a:pt x="59" y="149"/>
                      </a:lnTo>
                      <a:lnTo>
                        <a:pt x="37" y="149"/>
                      </a:lnTo>
                      <a:lnTo>
                        <a:pt x="37" y="142"/>
                      </a:lnTo>
                      <a:lnTo>
                        <a:pt x="49" y="142"/>
                      </a:lnTo>
                      <a:lnTo>
                        <a:pt x="33" y="109"/>
                      </a:lnTo>
                      <a:lnTo>
                        <a:pt x="21" y="125"/>
                      </a:lnTo>
                      <a:lnTo>
                        <a:pt x="21" y="109"/>
                      </a:lnTo>
                      <a:lnTo>
                        <a:pt x="33" y="99"/>
                      </a:lnTo>
                      <a:lnTo>
                        <a:pt x="37" y="116"/>
                      </a:lnTo>
                      <a:lnTo>
                        <a:pt x="49" y="99"/>
                      </a:lnTo>
                      <a:lnTo>
                        <a:pt x="75" y="99"/>
                      </a:lnTo>
                      <a:lnTo>
                        <a:pt x="92" y="116"/>
                      </a:lnTo>
                      <a:lnTo>
                        <a:pt x="101" y="109"/>
                      </a:lnTo>
                      <a:lnTo>
                        <a:pt x="139" y="109"/>
                      </a:lnTo>
                      <a:lnTo>
                        <a:pt x="122" y="99"/>
                      </a:lnTo>
                      <a:lnTo>
                        <a:pt x="155" y="87"/>
                      </a:lnTo>
                      <a:lnTo>
                        <a:pt x="160" y="71"/>
                      </a:lnTo>
                      <a:lnTo>
                        <a:pt x="127" y="75"/>
                      </a:lnTo>
                      <a:lnTo>
                        <a:pt x="113" y="71"/>
                      </a:lnTo>
                      <a:lnTo>
                        <a:pt x="144" y="42"/>
                      </a:lnTo>
                      <a:lnTo>
                        <a:pt x="139" y="38"/>
                      </a:lnTo>
                      <a:lnTo>
                        <a:pt x="144" y="38"/>
                      </a:lnTo>
                      <a:lnTo>
                        <a:pt x="139" y="38"/>
                      </a:lnTo>
                      <a:lnTo>
                        <a:pt x="144" y="21"/>
                      </a:lnTo>
                      <a:lnTo>
                        <a:pt x="181" y="16"/>
                      </a:lnTo>
                      <a:lnTo>
                        <a:pt x="193" y="33"/>
                      </a:lnTo>
                      <a:lnTo>
                        <a:pt x="193" y="16"/>
                      </a:lnTo>
                      <a:lnTo>
                        <a:pt x="181" y="16"/>
                      </a:lnTo>
                      <a:lnTo>
                        <a:pt x="193" y="5"/>
                      </a:lnTo>
                      <a:lnTo>
                        <a:pt x="207" y="21"/>
                      </a:lnTo>
                      <a:lnTo>
                        <a:pt x="193" y="38"/>
                      </a:lnTo>
                      <a:lnTo>
                        <a:pt x="207" y="33"/>
                      </a:lnTo>
                      <a:lnTo>
                        <a:pt x="198" y="16"/>
                      </a:lnTo>
                      <a:lnTo>
                        <a:pt x="215" y="5"/>
                      </a:lnTo>
                      <a:lnTo>
                        <a:pt x="215" y="0"/>
                      </a:lnTo>
                      <a:lnTo>
                        <a:pt x="245" y="16"/>
                      </a:lnTo>
                      <a:lnTo>
                        <a:pt x="219" y="33"/>
                      </a:lnTo>
                      <a:lnTo>
                        <a:pt x="219" y="33"/>
                      </a:lnTo>
                      <a:lnTo>
                        <a:pt x="219" y="33"/>
                      </a:lnTo>
                      <a:close/>
                      <a:moveTo>
                        <a:pt x="21" y="132"/>
                      </a:moveTo>
                      <a:lnTo>
                        <a:pt x="33" y="132"/>
                      </a:lnTo>
                      <a:lnTo>
                        <a:pt x="37" y="149"/>
                      </a:lnTo>
                      <a:lnTo>
                        <a:pt x="16" y="142"/>
                      </a:lnTo>
                      <a:lnTo>
                        <a:pt x="21" y="132"/>
                      </a:lnTo>
                      <a:lnTo>
                        <a:pt x="21" y="132"/>
                      </a:lnTo>
                      <a:lnTo>
                        <a:pt x="21" y="13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7" name="Freeform 433">
                  <a:extLst>
                    <a:ext uri="{FF2B5EF4-FFF2-40B4-BE49-F238E27FC236}">
                      <a16:creationId xmlns:a16="http://schemas.microsoft.com/office/drawing/2014/main" id="{1F8AA62D-99B6-44C0-8009-3A1774EF6BD6}"/>
                    </a:ext>
                  </a:extLst>
                </p:cNvPr>
                <p:cNvSpPr>
                  <a:spLocks noEditPoints="1"/>
                </p:cNvSpPr>
                <p:nvPr/>
              </p:nvSpPr>
              <p:spPr bwMode="gray">
                <a:xfrm>
                  <a:off x="7356503" y="2048477"/>
                  <a:ext cx="182782" cy="89755"/>
                </a:xfrm>
                <a:custGeom>
                  <a:avLst/>
                  <a:gdLst>
                    <a:gd name="T0" fmla="*/ 359 w 444"/>
                    <a:gd name="T1" fmla="*/ 208 h 218"/>
                    <a:gd name="T2" fmla="*/ 295 w 444"/>
                    <a:gd name="T3" fmla="*/ 184 h 218"/>
                    <a:gd name="T4" fmla="*/ 240 w 444"/>
                    <a:gd name="T5" fmla="*/ 168 h 218"/>
                    <a:gd name="T6" fmla="*/ 177 w 444"/>
                    <a:gd name="T7" fmla="*/ 184 h 218"/>
                    <a:gd name="T8" fmla="*/ 177 w 444"/>
                    <a:gd name="T9" fmla="*/ 130 h 218"/>
                    <a:gd name="T10" fmla="*/ 132 w 444"/>
                    <a:gd name="T11" fmla="*/ 130 h 218"/>
                    <a:gd name="T12" fmla="*/ 122 w 444"/>
                    <a:gd name="T13" fmla="*/ 97 h 218"/>
                    <a:gd name="T14" fmla="*/ 111 w 444"/>
                    <a:gd name="T15" fmla="*/ 88 h 218"/>
                    <a:gd name="T16" fmla="*/ 127 w 444"/>
                    <a:gd name="T17" fmla="*/ 71 h 218"/>
                    <a:gd name="T18" fmla="*/ 127 w 444"/>
                    <a:gd name="T19" fmla="*/ 71 h 218"/>
                    <a:gd name="T20" fmla="*/ 111 w 444"/>
                    <a:gd name="T21" fmla="*/ 43 h 218"/>
                    <a:gd name="T22" fmla="*/ 160 w 444"/>
                    <a:gd name="T23" fmla="*/ 21 h 218"/>
                    <a:gd name="T24" fmla="*/ 177 w 444"/>
                    <a:gd name="T25" fmla="*/ 14 h 218"/>
                    <a:gd name="T26" fmla="*/ 203 w 444"/>
                    <a:gd name="T27" fmla="*/ 5 h 218"/>
                    <a:gd name="T28" fmla="*/ 257 w 444"/>
                    <a:gd name="T29" fmla="*/ 0 h 218"/>
                    <a:gd name="T30" fmla="*/ 274 w 444"/>
                    <a:gd name="T31" fmla="*/ 0 h 218"/>
                    <a:gd name="T32" fmla="*/ 418 w 444"/>
                    <a:gd name="T33" fmla="*/ 21 h 218"/>
                    <a:gd name="T34" fmla="*/ 444 w 444"/>
                    <a:gd name="T35" fmla="*/ 26 h 218"/>
                    <a:gd name="T36" fmla="*/ 429 w 444"/>
                    <a:gd name="T37" fmla="*/ 38 h 218"/>
                    <a:gd name="T38" fmla="*/ 392 w 444"/>
                    <a:gd name="T39" fmla="*/ 88 h 218"/>
                    <a:gd name="T40" fmla="*/ 396 w 444"/>
                    <a:gd name="T41" fmla="*/ 147 h 218"/>
                    <a:gd name="T42" fmla="*/ 396 w 444"/>
                    <a:gd name="T43" fmla="*/ 184 h 218"/>
                    <a:gd name="T44" fmla="*/ 392 w 444"/>
                    <a:gd name="T45" fmla="*/ 218 h 218"/>
                    <a:gd name="T46" fmla="*/ 52 w 444"/>
                    <a:gd name="T47" fmla="*/ 97 h 218"/>
                    <a:gd name="T48" fmla="*/ 35 w 444"/>
                    <a:gd name="T49" fmla="*/ 76 h 218"/>
                    <a:gd name="T50" fmla="*/ 35 w 444"/>
                    <a:gd name="T51" fmla="*/ 71 h 218"/>
                    <a:gd name="T52" fmla="*/ 73 w 444"/>
                    <a:gd name="T53" fmla="*/ 71 h 218"/>
                    <a:gd name="T54" fmla="*/ 68 w 444"/>
                    <a:gd name="T55" fmla="*/ 88 h 218"/>
                    <a:gd name="T56" fmla="*/ 52 w 444"/>
                    <a:gd name="T57" fmla="*/ 97 h 218"/>
                    <a:gd name="T58" fmla="*/ 96 w 444"/>
                    <a:gd name="T59" fmla="*/ 59 h 218"/>
                    <a:gd name="T60" fmla="*/ 89 w 444"/>
                    <a:gd name="T61" fmla="*/ 71 h 218"/>
                    <a:gd name="T62" fmla="*/ 96 w 444"/>
                    <a:gd name="T63" fmla="*/ 59 h 218"/>
                    <a:gd name="T64" fmla="*/ 96 w 444"/>
                    <a:gd name="T65" fmla="*/ 59 h 218"/>
                    <a:gd name="T66" fmla="*/ 111 w 444"/>
                    <a:gd name="T67" fmla="*/ 114 h 218"/>
                    <a:gd name="T68" fmla="*/ 96 w 444"/>
                    <a:gd name="T69" fmla="*/ 97 h 218"/>
                    <a:gd name="T70" fmla="*/ 96 w 444"/>
                    <a:gd name="T71" fmla="*/ 97 h 218"/>
                    <a:gd name="T72" fmla="*/ 14 w 444"/>
                    <a:gd name="T73" fmla="*/ 168 h 218"/>
                    <a:gd name="T74" fmla="*/ 4 w 444"/>
                    <a:gd name="T75" fmla="*/ 142 h 218"/>
                    <a:gd name="T76" fmla="*/ 0 w 444"/>
                    <a:gd name="T77" fmla="*/ 114 h 218"/>
                    <a:gd name="T78" fmla="*/ 106 w 444"/>
                    <a:gd name="T79" fmla="*/ 125 h 218"/>
                    <a:gd name="T80" fmla="*/ 68 w 444"/>
                    <a:gd name="T81" fmla="*/ 147 h 218"/>
                    <a:gd name="T82" fmla="*/ 26 w 444"/>
                    <a:gd name="T83" fmla="*/ 168 h 218"/>
                    <a:gd name="T84" fmla="*/ 14 w 444"/>
                    <a:gd name="T85" fmla="*/ 18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4" h="218">
                      <a:moveTo>
                        <a:pt x="392" y="218"/>
                      </a:moveTo>
                      <a:lnTo>
                        <a:pt x="359" y="208"/>
                      </a:lnTo>
                      <a:lnTo>
                        <a:pt x="326" y="218"/>
                      </a:lnTo>
                      <a:lnTo>
                        <a:pt x="295" y="184"/>
                      </a:lnTo>
                      <a:lnTo>
                        <a:pt x="240" y="163"/>
                      </a:lnTo>
                      <a:lnTo>
                        <a:pt x="240" y="168"/>
                      </a:lnTo>
                      <a:lnTo>
                        <a:pt x="229" y="163"/>
                      </a:lnTo>
                      <a:lnTo>
                        <a:pt x="177" y="184"/>
                      </a:lnTo>
                      <a:lnTo>
                        <a:pt x="186" y="142"/>
                      </a:lnTo>
                      <a:lnTo>
                        <a:pt x="177" y="130"/>
                      </a:lnTo>
                      <a:lnTo>
                        <a:pt x="160" y="147"/>
                      </a:lnTo>
                      <a:lnTo>
                        <a:pt x="132" y="130"/>
                      </a:lnTo>
                      <a:lnTo>
                        <a:pt x="122" y="109"/>
                      </a:lnTo>
                      <a:lnTo>
                        <a:pt x="122" y="97"/>
                      </a:lnTo>
                      <a:lnTo>
                        <a:pt x="144" y="92"/>
                      </a:lnTo>
                      <a:lnTo>
                        <a:pt x="111" y="88"/>
                      </a:lnTo>
                      <a:lnTo>
                        <a:pt x="111" y="76"/>
                      </a:lnTo>
                      <a:lnTo>
                        <a:pt x="127" y="71"/>
                      </a:lnTo>
                      <a:lnTo>
                        <a:pt x="122" y="59"/>
                      </a:lnTo>
                      <a:lnTo>
                        <a:pt x="127" y="71"/>
                      </a:lnTo>
                      <a:lnTo>
                        <a:pt x="111" y="59"/>
                      </a:lnTo>
                      <a:lnTo>
                        <a:pt x="111" y="43"/>
                      </a:lnTo>
                      <a:lnTo>
                        <a:pt x="148" y="38"/>
                      </a:lnTo>
                      <a:lnTo>
                        <a:pt x="160" y="21"/>
                      </a:lnTo>
                      <a:lnTo>
                        <a:pt x="165" y="26"/>
                      </a:lnTo>
                      <a:lnTo>
                        <a:pt x="177" y="14"/>
                      </a:lnTo>
                      <a:lnTo>
                        <a:pt x="203" y="21"/>
                      </a:lnTo>
                      <a:lnTo>
                        <a:pt x="203" y="5"/>
                      </a:lnTo>
                      <a:lnTo>
                        <a:pt x="252" y="14"/>
                      </a:lnTo>
                      <a:lnTo>
                        <a:pt x="257" y="0"/>
                      </a:lnTo>
                      <a:lnTo>
                        <a:pt x="266" y="5"/>
                      </a:lnTo>
                      <a:lnTo>
                        <a:pt x="274" y="0"/>
                      </a:lnTo>
                      <a:lnTo>
                        <a:pt x="359" y="21"/>
                      </a:lnTo>
                      <a:lnTo>
                        <a:pt x="418" y="21"/>
                      </a:lnTo>
                      <a:lnTo>
                        <a:pt x="434" y="14"/>
                      </a:lnTo>
                      <a:lnTo>
                        <a:pt x="444" y="26"/>
                      </a:lnTo>
                      <a:lnTo>
                        <a:pt x="444" y="38"/>
                      </a:lnTo>
                      <a:lnTo>
                        <a:pt x="429" y="38"/>
                      </a:lnTo>
                      <a:lnTo>
                        <a:pt x="418" y="59"/>
                      </a:lnTo>
                      <a:lnTo>
                        <a:pt x="392" y="88"/>
                      </a:lnTo>
                      <a:lnTo>
                        <a:pt x="396" y="130"/>
                      </a:lnTo>
                      <a:lnTo>
                        <a:pt x="396" y="147"/>
                      </a:lnTo>
                      <a:lnTo>
                        <a:pt x="418" y="184"/>
                      </a:lnTo>
                      <a:lnTo>
                        <a:pt x="396" y="184"/>
                      </a:lnTo>
                      <a:lnTo>
                        <a:pt x="392" y="218"/>
                      </a:lnTo>
                      <a:lnTo>
                        <a:pt x="392" y="218"/>
                      </a:lnTo>
                      <a:lnTo>
                        <a:pt x="392" y="218"/>
                      </a:lnTo>
                      <a:close/>
                      <a:moveTo>
                        <a:pt x="52" y="97"/>
                      </a:moveTo>
                      <a:lnTo>
                        <a:pt x="42" y="97"/>
                      </a:lnTo>
                      <a:lnTo>
                        <a:pt x="35" y="76"/>
                      </a:lnTo>
                      <a:lnTo>
                        <a:pt x="14" y="76"/>
                      </a:lnTo>
                      <a:lnTo>
                        <a:pt x="35" y="71"/>
                      </a:lnTo>
                      <a:lnTo>
                        <a:pt x="52" y="59"/>
                      </a:lnTo>
                      <a:lnTo>
                        <a:pt x="73" y="71"/>
                      </a:lnTo>
                      <a:lnTo>
                        <a:pt x="89" y="88"/>
                      </a:lnTo>
                      <a:lnTo>
                        <a:pt x="68" y="88"/>
                      </a:lnTo>
                      <a:lnTo>
                        <a:pt x="52" y="97"/>
                      </a:lnTo>
                      <a:lnTo>
                        <a:pt x="52" y="97"/>
                      </a:lnTo>
                      <a:lnTo>
                        <a:pt x="52" y="97"/>
                      </a:lnTo>
                      <a:close/>
                      <a:moveTo>
                        <a:pt x="96" y="59"/>
                      </a:moveTo>
                      <a:lnTo>
                        <a:pt x="111" y="71"/>
                      </a:lnTo>
                      <a:lnTo>
                        <a:pt x="89" y="71"/>
                      </a:lnTo>
                      <a:lnTo>
                        <a:pt x="89" y="59"/>
                      </a:lnTo>
                      <a:lnTo>
                        <a:pt x="96" y="59"/>
                      </a:lnTo>
                      <a:lnTo>
                        <a:pt x="96" y="59"/>
                      </a:lnTo>
                      <a:lnTo>
                        <a:pt x="96" y="59"/>
                      </a:lnTo>
                      <a:close/>
                      <a:moveTo>
                        <a:pt x="96" y="97"/>
                      </a:moveTo>
                      <a:lnTo>
                        <a:pt x="111" y="114"/>
                      </a:lnTo>
                      <a:lnTo>
                        <a:pt x="89" y="109"/>
                      </a:lnTo>
                      <a:lnTo>
                        <a:pt x="96" y="97"/>
                      </a:lnTo>
                      <a:lnTo>
                        <a:pt x="96" y="97"/>
                      </a:lnTo>
                      <a:lnTo>
                        <a:pt x="96" y="97"/>
                      </a:lnTo>
                      <a:close/>
                      <a:moveTo>
                        <a:pt x="14" y="180"/>
                      </a:moveTo>
                      <a:lnTo>
                        <a:pt x="14" y="168"/>
                      </a:lnTo>
                      <a:lnTo>
                        <a:pt x="26" y="151"/>
                      </a:lnTo>
                      <a:lnTo>
                        <a:pt x="4" y="142"/>
                      </a:lnTo>
                      <a:lnTo>
                        <a:pt x="14" y="130"/>
                      </a:lnTo>
                      <a:lnTo>
                        <a:pt x="0" y="114"/>
                      </a:lnTo>
                      <a:lnTo>
                        <a:pt x="73" y="109"/>
                      </a:lnTo>
                      <a:lnTo>
                        <a:pt x="106" y="125"/>
                      </a:lnTo>
                      <a:lnTo>
                        <a:pt x="89" y="125"/>
                      </a:lnTo>
                      <a:lnTo>
                        <a:pt x="68" y="147"/>
                      </a:lnTo>
                      <a:lnTo>
                        <a:pt x="35" y="151"/>
                      </a:lnTo>
                      <a:lnTo>
                        <a:pt x="26" y="168"/>
                      </a:lnTo>
                      <a:lnTo>
                        <a:pt x="14" y="180"/>
                      </a:lnTo>
                      <a:lnTo>
                        <a:pt x="14" y="180"/>
                      </a:lnTo>
                      <a:lnTo>
                        <a:pt x="14" y="18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1" name="Freeform 437">
                  <a:extLst>
                    <a:ext uri="{FF2B5EF4-FFF2-40B4-BE49-F238E27FC236}">
                      <a16:creationId xmlns:a16="http://schemas.microsoft.com/office/drawing/2014/main" id="{E1EF95E4-B0F2-4655-BEF3-C16405E45103}"/>
                    </a:ext>
                  </a:extLst>
                </p:cNvPr>
                <p:cNvSpPr>
                  <a:spLocks/>
                </p:cNvSpPr>
                <p:nvPr/>
              </p:nvSpPr>
              <p:spPr bwMode="gray">
                <a:xfrm>
                  <a:off x="7075332" y="2403375"/>
                  <a:ext cx="194308" cy="95519"/>
                </a:xfrm>
                <a:custGeom>
                  <a:avLst/>
                  <a:gdLst>
                    <a:gd name="T0" fmla="*/ 340 w 472"/>
                    <a:gd name="T1" fmla="*/ 225 h 232"/>
                    <a:gd name="T2" fmla="*/ 340 w 472"/>
                    <a:gd name="T3" fmla="*/ 220 h 232"/>
                    <a:gd name="T4" fmla="*/ 309 w 472"/>
                    <a:gd name="T5" fmla="*/ 208 h 232"/>
                    <a:gd name="T6" fmla="*/ 276 w 472"/>
                    <a:gd name="T7" fmla="*/ 220 h 232"/>
                    <a:gd name="T8" fmla="*/ 205 w 472"/>
                    <a:gd name="T9" fmla="*/ 187 h 232"/>
                    <a:gd name="T10" fmla="*/ 201 w 472"/>
                    <a:gd name="T11" fmla="*/ 208 h 232"/>
                    <a:gd name="T12" fmla="*/ 194 w 472"/>
                    <a:gd name="T13" fmla="*/ 208 h 232"/>
                    <a:gd name="T14" fmla="*/ 184 w 472"/>
                    <a:gd name="T15" fmla="*/ 232 h 232"/>
                    <a:gd name="T16" fmla="*/ 146 w 472"/>
                    <a:gd name="T17" fmla="*/ 225 h 232"/>
                    <a:gd name="T18" fmla="*/ 125 w 472"/>
                    <a:gd name="T19" fmla="*/ 208 h 232"/>
                    <a:gd name="T20" fmla="*/ 59 w 472"/>
                    <a:gd name="T21" fmla="*/ 166 h 232"/>
                    <a:gd name="T22" fmla="*/ 38 w 472"/>
                    <a:gd name="T23" fmla="*/ 154 h 232"/>
                    <a:gd name="T24" fmla="*/ 21 w 472"/>
                    <a:gd name="T25" fmla="*/ 133 h 232"/>
                    <a:gd name="T26" fmla="*/ 31 w 472"/>
                    <a:gd name="T27" fmla="*/ 109 h 232"/>
                    <a:gd name="T28" fmla="*/ 5 w 472"/>
                    <a:gd name="T29" fmla="*/ 92 h 232"/>
                    <a:gd name="T30" fmla="*/ 0 w 472"/>
                    <a:gd name="T31" fmla="*/ 67 h 232"/>
                    <a:gd name="T32" fmla="*/ 16 w 472"/>
                    <a:gd name="T33" fmla="*/ 76 h 232"/>
                    <a:gd name="T34" fmla="*/ 31 w 472"/>
                    <a:gd name="T35" fmla="*/ 59 h 232"/>
                    <a:gd name="T36" fmla="*/ 59 w 472"/>
                    <a:gd name="T37" fmla="*/ 59 h 232"/>
                    <a:gd name="T38" fmla="*/ 97 w 472"/>
                    <a:gd name="T39" fmla="*/ 26 h 232"/>
                    <a:gd name="T40" fmla="*/ 151 w 472"/>
                    <a:gd name="T41" fmla="*/ 10 h 232"/>
                    <a:gd name="T42" fmla="*/ 163 w 472"/>
                    <a:gd name="T43" fmla="*/ 10 h 232"/>
                    <a:gd name="T44" fmla="*/ 151 w 472"/>
                    <a:gd name="T45" fmla="*/ 5 h 232"/>
                    <a:gd name="T46" fmla="*/ 151 w 472"/>
                    <a:gd name="T47" fmla="*/ 0 h 232"/>
                    <a:gd name="T48" fmla="*/ 168 w 472"/>
                    <a:gd name="T49" fmla="*/ 5 h 232"/>
                    <a:gd name="T50" fmla="*/ 177 w 472"/>
                    <a:gd name="T51" fmla="*/ 22 h 232"/>
                    <a:gd name="T52" fmla="*/ 194 w 472"/>
                    <a:gd name="T53" fmla="*/ 22 h 232"/>
                    <a:gd name="T54" fmla="*/ 201 w 472"/>
                    <a:gd name="T55" fmla="*/ 22 h 232"/>
                    <a:gd name="T56" fmla="*/ 201 w 472"/>
                    <a:gd name="T57" fmla="*/ 5 h 232"/>
                    <a:gd name="T58" fmla="*/ 217 w 472"/>
                    <a:gd name="T59" fmla="*/ 5 h 232"/>
                    <a:gd name="T60" fmla="*/ 231 w 472"/>
                    <a:gd name="T61" fmla="*/ 26 h 232"/>
                    <a:gd name="T62" fmla="*/ 286 w 472"/>
                    <a:gd name="T63" fmla="*/ 38 h 232"/>
                    <a:gd name="T64" fmla="*/ 302 w 472"/>
                    <a:gd name="T65" fmla="*/ 43 h 232"/>
                    <a:gd name="T66" fmla="*/ 286 w 472"/>
                    <a:gd name="T67" fmla="*/ 59 h 232"/>
                    <a:gd name="T68" fmla="*/ 314 w 472"/>
                    <a:gd name="T69" fmla="*/ 92 h 232"/>
                    <a:gd name="T70" fmla="*/ 347 w 472"/>
                    <a:gd name="T71" fmla="*/ 76 h 232"/>
                    <a:gd name="T72" fmla="*/ 340 w 472"/>
                    <a:gd name="T73" fmla="*/ 59 h 232"/>
                    <a:gd name="T74" fmla="*/ 368 w 472"/>
                    <a:gd name="T75" fmla="*/ 76 h 232"/>
                    <a:gd name="T76" fmla="*/ 394 w 472"/>
                    <a:gd name="T77" fmla="*/ 67 h 232"/>
                    <a:gd name="T78" fmla="*/ 394 w 472"/>
                    <a:gd name="T79" fmla="*/ 76 h 232"/>
                    <a:gd name="T80" fmla="*/ 385 w 472"/>
                    <a:gd name="T81" fmla="*/ 83 h 232"/>
                    <a:gd name="T82" fmla="*/ 394 w 472"/>
                    <a:gd name="T83" fmla="*/ 92 h 232"/>
                    <a:gd name="T84" fmla="*/ 411 w 472"/>
                    <a:gd name="T85" fmla="*/ 100 h 232"/>
                    <a:gd name="T86" fmla="*/ 418 w 472"/>
                    <a:gd name="T87" fmla="*/ 92 h 232"/>
                    <a:gd name="T88" fmla="*/ 456 w 472"/>
                    <a:gd name="T89" fmla="*/ 109 h 232"/>
                    <a:gd name="T90" fmla="*/ 456 w 472"/>
                    <a:gd name="T91" fmla="*/ 121 h 232"/>
                    <a:gd name="T92" fmla="*/ 472 w 472"/>
                    <a:gd name="T93" fmla="*/ 133 h 232"/>
                    <a:gd name="T94" fmla="*/ 472 w 472"/>
                    <a:gd name="T95" fmla="*/ 149 h 232"/>
                    <a:gd name="T96" fmla="*/ 456 w 472"/>
                    <a:gd name="T97" fmla="*/ 149 h 232"/>
                    <a:gd name="T98" fmla="*/ 432 w 472"/>
                    <a:gd name="T99" fmla="*/ 166 h 232"/>
                    <a:gd name="T100" fmla="*/ 418 w 472"/>
                    <a:gd name="T101" fmla="*/ 187 h 232"/>
                    <a:gd name="T102" fmla="*/ 394 w 472"/>
                    <a:gd name="T103" fmla="*/ 204 h 232"/>
                    <a:gd name="T104" fmla="*/ 357 w 472"/>
                    <a:gd name="T105" fmla="*/ 204 h 232"/>
                    <a:gd name="T106" fmla="*/ 340 w 472"/>
                    <a:gd name="T107" fmla="*/ 225 h 232"/>
                    <a:gd name="T108" fmla="*/ 340 w 472"/>
                    <a:gd name="T109" fmla="*/ 225 h 232"/>
                    <a:gd name="T110" fmla="*/ 340 w 472"/>
                    <a:gd name="T111" fmla="*/ 22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2" h="232">
                      <a:moveTo>
                        <a:pt x="340" y="225"/>
                      </a:moveTo>
                      <a:lnTo>
                        <a:pt x="340" y="220"/>
                      </a:lnTo>
                      <a:lnTo>
                        <a:pt x="309" y="208"/>
                      </a:lnTo>
                      <a:lnTo>
                        <a:pt x="276" y="220"/>
                      </a:lnTo>
                      <a:lnTo>
                        <a:pt x="205" y="187"/>
                      </a:lnTo>
                      <a:lnTo>
                        <a:pt x="201" y="208"/>
                      </a:lnTo>
                      <a:lnTo>
                        <a:pt x="194" y="208"/>
                      </a:lnTo>
                      <a:lnTo>
                        <a:pt x="184" y="232"/>
                      </a:lnTo>
                      <a:lnTo>
                        <a:pt x="146" y="225"/>
                      </a:lnTo>
                      <a:lnTo>
                        <a:pt x="125" y="208"/>
                      </a:lnTo>
                      <a:lnTo>
                        <a:pt x="59" y="166"/>
                      </a:lnTo>
                      <a:lnTo>
                        <a:pt x="38" y="154"/>
                      </a:lnTo>
                      <a:lnTo>
                        <a:pt x="21" y="133"/>
                      </a:lnTo>
                      <a:lnTo>
                        <a:pt x="31" y="109"/>
                      </a:lnTo>
                      <a:lnTo>
                        <a:pt x="5" y="92"/>
                      </a:lnTo>
                      <a:lnTo>
                        <a:pt x="0" y="67"/>
                      </a:lnTo>
                      <a:lnTo>
                        <a:pt x="16" y="76"/>
                      </a:lnTo>
                      <a:lnTo>
                        <a:pt x="31" y="59"/>
                      </a:lnTo>
                      <a:lnTo>
                        <a:pt x="59" y="59"/>
                      </a:lnTo>
                      <a:lnTo>
                        <a:pt x="97" y="26"/>
                      </a:lnTo>
                      <a:lnTo>
                        <a:pt x="151" y="10"/>
                      </a:lnTo>
                      <a:lnTo>
                        <a:pt x="163" y="10"/>
                      </a:lnTo>
                      <a:lnTo>
                        <a:pt x="151" y="5"/>
                      </a:lnTo>
                      <a:lnTo>
                        <a:pt x="151" y="0"/>
                      </a:lnTo>
                      <a:lnTo>
                        <a:pt x="168" y="5"/>
                      </a:lnTo>
                      <a:lnTo>
                        <a:pt x="177" y="22"/>
                      </a:lnTo>
                      <a:lnTo>
                        <a:pt x="194" y="22"/>
                      </a:lnTo>
                      <a:lnTo>
                        <a:pt x="201" y="22"/>
                      </a:lnTo>
                      <a:lnTo>
                        <a:pt x="201" y="5"/>
                      </a:lnTo>
                      <a:lnTo>
                        <a:pt x="217" y="5"/>
                      </a:lnTo>
                      <a:lnTo>
                        <a:pt x="231" y="26"/>
                      </a:lnTo>
                      <a:lnTo>
                        <a:pt x="286" y="38"/>
                      </a:lnTo>
                      <a:lnTo>
                        <a:pt x="302" y="43"/>
                      </a:lnTo>
                      <a:lnTo>
                        <a:pt x="286" y="59"/>
                      </a:lnTo>
                      <a:lnTo>
                        <a:pt x="314" y="92"/>
                      </a:lnTo>
                      <a:lnTo>
                        <a:pt x="347" y="76"/>
                      </a:lnTo>
                      <a:lnTo>
                        <a:pt x="340" y="59"/>
                      </a:lnTo>
                      <a:lnTo>
                        <a:pt x="368" y="76"/>
                      </a:lnTo>
                      <a:lnTo>
                        <a:pt x="394" y="67"/>
                      </a:lnTo>
                      <a:lnTo>
                        <a:pt x="394" y="76"/>
                      </a:lnTo>
                      <a:lnTo>
                        <a:pt x="385" y="83"/>
                      </a:lnTo>
                      <a:lnTo>
                        <a:pt x="394" y="92"/>
                      </a:lnTo>
                      <a:lnTo>
                        <a:pt x="411" y="100"/>
                      </a:lnTo>
                      <a:lnTo>
                        <a:pt x="418" y="92"/>
                      </a:lnTo>
                      <a:lnTo>
                        <a:pt x="456" y="109"/>
                      </a:lnTo>
                      <a:lnTo>
                        <a:pt x="456" y="121"/>
                      </a:lnTo>
                      <a:lnTo>
                        <a:pt x="472" y="133"/>
                      </a:lnTo>
                      <a:lnTo>
                        <a:pt x="472" y="149"/>
                      </a:lnTo>
                      <a:lnTo>
                        <a:pt x="456" y="149"/>
                      </a:lnTo>
                      <a:lnTo>
                        <a:pt x="432" y="166"/>
                      </a:lnTo>
                      <a:lnTo>
                        <a:pt x="418" y="187"/>
                      </a:lnTo>
                      <a:lnTo>
                        <a:pt x="394" y="204"/>
                      </a:lnTo>
                      <a:lnTo>
                        <a:pt x="357" y="204"/>
                      </a:lnTo>
                      <a:lnTo>
                        <a:pt x="340" y="225"/>
                      </a:lnTo>
                      <a:lnTo>
                        <a:pt x="340" y="225"/>
                      </a:lnTo>
                      <a:lnTo>
                        <a:pt x="340" y="22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3" name="Freeform 439">
                  <a:extLst>
                    <a:ext uri="{FF2B5EF4-FFF2-40B4-BE49-F238E27FC236}">
                      <a16:creationId xmlns:a16="http://schemas.microsoft.com/office/drawing/2014/main" id="{7B88273C-551C-4B8F-AB45-E267BF9114EA}"/>
                    </a:ext>
                  </a:extLst>
                </p:cNvPr>
                <p:cNvSpPr>
                  <a:spLocks noEditPoints="1"/>
                </p:cNvSpPr>
                <p:nvPr/>
              </p:nvSpPr>
              <p:spPr bwMode="gray">
                <a:xfrm>
                  <a:off x="7289401" y="1544949"/>
                  <a:ext cx="349097" cy="495706"/>
                </a:xfrm>
                <a:custGeom>
                  <a:avLst/>
                  <a:gdLst>
                    <a:gd name="T0" fmla="*/ 290 w 848"/>
                    <a:gd name="T1" fmla="*/ 448 h 1204"/>
                    <a:gd name="T2" fmla="*/ 290 w 848"/>
                    <a:gd name="T3" fmla="*/ 349 h 1204"/>
                    <a:gd name="T4" fmla="*/ 290 w 848"/>
                    <a:gd name="T5" fmla="*/ 267 h 1204"/>
                    <a:gd name="T6" fmla="*/ 113 w 848"/>
                    <a:gd name="T7" fmla="*/ 115 h 1204"/>
                    <a:gd name="T8" fmla="*/ 205 w 848"/>
                    <a:gd name="T9" fmla="*/ 172 h 1204"/>
                    <a:gd name="T10" fmla="*/ 399 w 848"/>
                    <a:gd name="T11" fmla="*/ 155 h 1204"/>
                    <a:gd name="T12" fmla="*/ 491 w 848"/>
                    <a:gd name="T13" fmla="*/ 16 h 1204"/>
                    <a:gd name="T14" fmla="*/ 685 w 848"/>
                    <a:gd name="T15" fmla="*/ 70 h 1204"/>
                    <a:gd name="T16" fmla="*/ 654 w 848"/>
                    <a:gd name="T17" fmla="*/ 155 h 1204"/>
                    <a:gd name="T18" fmla="*/ 739 w 848"/>
                    <a:gd name="T19" fmla="*/ 300 h 1204"/>
                    <a:gd name="T20" fmla="*/ 746 w 848"/>
                    <a:gd name="T21" fmla="*/ 538 h 1204"/>
                    <a:gd name="T22" fmla="*/ 729 w 848"/>
                    <a:gd name="T23" fmla="*/ 611 h 1204"/>
                    <a:gd name="T24" fmla="*/ 755 w 848"/>
                    <a:gd name="T25" fmla="*/ 666 h 1204"/>
                    <a:gd name="T26" fmla="*/ 777 w 848"/>
                    <a:gd name="T27" fmla="*/ 727 h 1204"/>
                    <a:gd name="T28" fmla="*/ 685 w 848"/>
                    <a:gd name="T29" fmla="*/ 1044 h 1204"/>
                    <a:gd name="T30" fmla="*/ 491 w 848"/>
                    <a:gd name="T31" fmla="*/ 1133 h 1204"/>
                    <a:gd name="T32" fmla="*/ 458 w 848"/>
                    <a:gd name="T33" fmla="*/ 1133 h 1204"/>
                    <a:gd name="T34" fmla="*/ 437 w 848"/>
                    <a:gd name="T35" fmla="*/ 1150 h 1204"/>
                    <a:gd name="T36" fmla="*/ 361 w 848"/>
                    <a:gd name="T37" fmla="*/ 1171 h 1204"/>
                    <a:gd name="T38" fmla="*/ 257 w 848"/>
                    <a:gd name="T39" fmla="*/ 1195 h 1204"/>
                    <a:gd name="T40" fmla="*/ 252 w 848"/>
                    <a:gd name="T41" fmla="*/ 1183 h 1204"/>
                    <a:gd name="T42" fmla="*/ 215 w 848"/>
                    <a:gd name="T43" fmla="*/ 1155 h 1204"/>
                    <a:gd name="T44" fmla="*/ 144 w 848"/>
                    <a:gd name="T45" fmla="*/ 1126 h 1204"/>
                    <a:gd name="T46" fmla="*/ 151 w 848"/>
                    <a:gd name="T47" fmla="*/ 1015 h 1204"/>
                    <a:gd name="T48" fmla="*/ 113 w 848"/>
                    <a:gd name="T49" fmla="*/ 892 h 1204"/>
                    <a:gd name="T50" fmla="*/ 134 w 848"/>
                    <a:gd name="T51" fmla="*/ 822 h 1204"/>
                    <a:gd name="T52" fmla="*/ 189 w 848"/>
                    <a:gd name="T53" fmla="*/ 800 h 1204"/>
                    <a:gd name="T54" fmla="*/ 236 w 848"/>
                    <a:gd name="T55" fmla="*/ 760 h 1204"/>
                    <a:gd name="T56" fmla="*/ 340 w 848"/>
                    <a:gd name="T57" fmla="*/ 670 h 1204"/>
                    <a:gd name="T58" fmla="*/ 399 w 848"/>
                    <a:gd name="T59" fmla="*/ 628 h 1204"/>
                    <a:gd name="T60" fmla="*/ 361 w 848"/>
                    <a:gd name="T61" fmla="*/ 543 h 1204"/>
                    <a:gd name="T62" fmla="*/ 328 w 848"/>
                    <a:gd name="T63" fmla="*/ 522 h 1204"/>
                    <a:gd name="T64" fmla="*/ 382 w 848"/>
                    <a:gd name="T65" fmla="*/ 616 h 1204"/>
                    <a:gd name="T66" fmla="*/ 236 w 848"/>
                    <a:gd name="T67" fmla="*/ 748 h 1204"/>
                    <a:gd name="T68" fmla="*/ 122 w 848"/>
                    <a:gd name="T69" fmla="*/ 817 h 1204"/>
                    <a:gd name="T70" fmla="*/ 189 w 848"/>
                    <a:gd name="T71" fmla="*/ 822 h 1204"/>
                    <a:gd name="T72" fmla="*/ 189 w 848"/>
                    <a:gd name="T73" fmla="*/ 822 h 1204"/>
                    <a:gd name="T74" fmla="*/ 122 w 848"/>
                    <a:gd name="T75" fmla="*/ 833 h 1204"/>
                    <a:gd name="T76" fmla="*/ 129 w 848"/>
                    <a:gd name="T77" fmla="*/ 1081 h 1204"/>
                    <a:gd name="T78" fmla="*/ 134 w 848"/>
                    <a:gd name="T79" fmla="*/ 1126 h 1204"/>
                    <a:gd name="T80" fmla="*/ 160 w 848"/>
                    <a:gd name="T81" fmla="*/ 1138 h 1204"/>
                    <a:gd name="T82" fmla="*/ 26 w 848"/>
                    <a:gd name="T83" fmla="*/ 1183 h 1204"/>
                    <a:gd name="T84" fmla="*/ 26 w 848"/>
                    <a:gd name="T85" fmla="*/ 1150 h 1204"/>
                    <a:gd name="T86" fmla="*/ 42 w 848"/>
                    <a:gd name="T87" fmla="*/ 1155 h 1204"/>
                    <a:gd name="T88" fmla="*/ 26 w 848"/>
                    <a:gd name="T89" fmla="*/ 1183 h 1204"/>
                    <a:gd name="T90" fmla="*/ 198 w 848"/>
                    <a:gd name="T91" fmla="*/ 1150 h 1204"/>
                    <a:gd name="T92" fmla="*/ 198 w 848"/>
                    <a:gd name="T93" fmla="*/ 1150 h 1204"/>
                    <a:gd name="T94" fmla="*/ 432 w 848"/>
                    <a:gd name="T95" fmla="*/ 1150 h 1204"/>
                    <a:gd name="T96" fmla="*/ 59 w 848"/>
                    <a:gd name="T97" fmla="*/ 1166 h 1204"/>
                    <a:gd name="T98" fmla="*/ 59 w 848"/>
                    <a:gd name="T99" fmla="*/ 1166 h 1204"/>
                    <a:gd name="T100" fmla="*/ 4 w 848"/>
                    <a:gd name="T101" fmla="*/ 1171 h 1204"/>
                    <a:gd name="T102" fmla="*/ 205 w 848"/>
                    <a:gd name="T103" fmla="*/ 1155 h 1204"/>
                    <a:gd name="T104" fmla="*/ 215 w 848"/>
                    <a:gd name="T105" fmla="*/ 1183 h 1204"/>
                    <a:gd name="T106" fmla="*/ 177 w 848"/>
                    <a:gd name="T107" fmla="*/ 1166 h 1204"/>
                    <a:gd name="T108" fmla="*/ 160 w 848"/>
                    <a:gd name="T109" fmla="*/ 1171 h 1204"/>
                    <a:gd name="T110" fmla="*/ 59 w 848"/>
                    <a:gd name="T111" fmla="*/ 1171 h 1204"/>
                    <a:gd name="T112" fmla="*/ 52 w 848"/>
                    <a:gd name="T113" fmla="*/ 1171 h 1204"/>
                    <a:gd name="T114" fmla="*/ 42 w 848"/>
                    <a:gd name="T115" fmla="*/ 1171 h 1204"/>
                    <a:gd name="T116" fmla="*/ 205 w 848"/>
                    <a:gd name="T117" fmla="*/ 1171 h 1204"/>
                    <a:gd name="T118" fmla="*/ 243 w 848"/>
                    <a:gd name="T119" fmla="*/ 1195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8" h="1204">
                      <a:moveTo>
                        <a:pt x="328" y="522"/>
                      </a:moveTo>
                      <a:lnTo>
                        <a:pt x="311" y="489"/>
                      </a:lnTo>
                      <a:lnTo>
                        <a:pt x="297" y="481"/>
                      </a:lnTo>
                      <a:lnTo>
                        <a:pt x="290" y="465"/>
                      </a:lnTo>
                      <a:lnTo>
                        <a:pt x="290" y="448"/>
                      </a:lnTo>
                      <a:lnTo>
                        <a:pt x="307" y="432"/>
                      </a:lnTo>
                      <a:lnTo>
                        <a:pt x="307" y="411"/>
                      </a:lnTo>
                      <a:lnTo>
                        <a:pt x="311" y="404"/>
                      </a:lnTo>
                      <a:lnTo>
                        <a:pt x="285" y="361"/>
                      </a:lnTo>
                      <a:lnTo>
                        <a:pt x="290" y="349"/>
                      </a:lnTo>
                      <a:lnTo>
                        <a:pt x="297" y="349"/>
                      </a:lnTo>
                      <a:lnTo>
                        <a:pt x="297" y="333"/>
                      </a:lnTo>
                      <a:lnTo>
                        <a:pt x="274" y="321"/>
                      </a:lnTo>
                      <a:lnTo>
                        <a:pt x="274" y="276"/>
                      </a:lnTo>
                      <a:lnTo>
                        <a:pt x="290" y="267"/>
                      </a:lnTo>
                      <a:lnTo>
                        <a:pt x="236" y="210"/>
                      </a:lnTo>
                      <a:lnTo>
                        <a:pt x="177" y="193"/>
                      </a:lnTo>
                      <a:lnTo>
                        <a:pt x="75" y="127"/>
                      </a:lnTo>
                      <a:lnTo>
                        <a:pt x="106" y="132"/>
                      </a:lnTo>
                      <a:lnTo>
                        <a:pt x="113" y="115"/>
                      </a:lnTo>
                      <a:lnTo>
                        <a:pt x="106" y="111"/>
                      </a:lnTo>
                      <a:lnTo>
                        <a:pt x="129" y="94"/>
                      </a:lnTo>
                      <a:lnTo>
                        <a:pt x="151" y="99"/>
                      </a:lnTo>
                      <a:lnTo>
                        <a:pt x="198" y="155"/>
                      </a:lnTo>
                      <a:lnTo>
                        <a:pt x="205" y="172"/>
                      </a:lnTo>
                      <a:lnTo>
                        <a:pt x="257" y="181"/>
                      </a:lnTo>
                      <a:lnTo>
                        <a:pt x="311" y="155"/>
                      </a:lnTo>
                      <a:lnTo>
                        <a:pt x="382" y="189"/>
                      </a:lnTo>
                      <a:lnTo>
                        <a:pt x="394" y="181"/>
                      </a:lnTo>
                      <a:lnTo>
                        <a:pt x="399" y="155"/>
                      </a:lnTo>
                      <a:lnTo>
                        <a:pt x="432" y="148"/>
                      </a:lnTo>
                      <a:lnTo>
                        <a:pt x="437" y="132"/>
                      </a:lnTo>
                      <a:lnTo>
                        <a:pt x="437" y="99"/>
                      </a:lnTo>
                      <a:lnTo>
                        <a:pt x="453" y="44"/>
                      </a:lnTo>
                      <a:lnTo>
                        <a:pt x="491" y="16"/>
                      </a:lnTo>
                      <a:lnTo>
                        <a:pt x="529" y="21"/>
                      </a:lnTo>
                      <a:lnTo>
                        <a:pt x="595" y="0"/>
                      </a:lnTo>
                      <a:lnTo>
                        <a:pt x="621" y="28"/>
                      </a:lnTo>
                      <a:lnTo>
                        <a:pt x="675" y="44"/>
                      </a:lnTo>
                      <a:lnTo>
                        <a:pt x="685" y="70"/>
                      </a:lnTo>
                      <a:lnTo>
                        <a:pt x="654" y="99"/>
                      </a:lnTo>
                      <a:lnTo>
                        <a:pt x="654" y="115"/>
                      </a:lnTo>
                      <a:lnTo>
                        <a:pt x="663" y="127"/>
                      </a:lnTo>
                      <a:lnTo>
                        <a:pt x="621" y="148"/>
                      </a:lnTo>
                      <a:lnTo>
                        <a:pt x="654" y="155"/>
                      </a:lnTo>
                      <a:lnTo>
                        <a:pt x="633" y="193"/>
                      </a:lnTo>
                      <a:lnTo>
                        <a:pt x="647" y="238"/>
                      </a:lnTo>
                      <a:lnTo>
                        <a:pt x="692" y="250"/>
                      </a:lnTo>
                      <a:lnTo>
                        <a:pt x="718" y="283"/>
                      </a:lnTo>
                      <a:lnTo>
                        <a:pt x="739" y="300"/>
                      </a:lnTo>
                      <a:lnTo>
                        <a:pt x="729" y="316"/>
                      </a:lnTo>
                      <a:lnTo>
                        <a:pt x="675" y="378"/>
                      </a:lnTo>
                      <a:lnTo>
                        <a:pt x="670" y="394"/>
                      </a:lnTo>
                      <a:lnTo>
                        <a:pt x="729" y="489"/>
                      </a:lnTo>
                      <a:lnTo>
                        <a:pt x="746" y="538"/>
                      </a:lnTo>
                      <a:lnTo>
                        <a:pt x="725" y="543"/>
                      </a:lnTo>
                      <a:lnTo>
                        <a:pt x="718" y="576"/>
                      </a:lnTo>
                      <a:lnTo>
                        <a:pt x="708" y="592"/>
                      </a:lnTo>
                      <a:lnTo>
                        <a:pt x="725" y="592"/>
                      </a:lnTo>
                      <a:lnTo>
                        <a:pt x="729" y="611"/>
                      </a:lnTo>
                      <a:lnTo>
                        <a:pt x="708" y="611"/>
                      </a:lnTo>
                      <a:lnTo>
                        <a:pt x="708" y="633"/>
                      </a:lnTo>
                      <a:lnTo>
                        <a:pt x="725" y="637"/>
                      </a:lnTo>
                      <a:lnTo>
                        <a:pt x="746" y="649"/>
                      </a:lnTo>
                      <a:lnTo>
                        <a:pt x="755" y="666"/>
                      </a:lnTo>
                      <a:lnTo>
                        <a:pt x="739" y="670"/>
                      </a:lnTo>
                      <a:lnTo>
                        <a:pt x="746" y="682"/>
                      </a:lnTo>
                      <a:lnTo>
                        <a:pt x="739" y="687"/>
                      </a:lnTo>
                      <a:lnTo>
                        <a:pt x="777" y="711"/>
                      </a:lnTo>
                      <a:lnTo>
                        <a:pt x="777" y="727"/>
                      </a:lnTo>
                      <a:lnTo>
                        <a:pt x="739" y="765"/>
                      </a:lnTo>
                      <a:lnTo>
                        <a:pt x="826" y="822"/>
                      </a:lnTo>
                      <a:lnTo>
                        <a:pt x="848" y="859"/>
                      </a:lnTo>
                      <a:lnTo>
                        <a:pt x="826" y="904"/>
                      </a:lnTo>
                      <a:lnTo>
                        <a:pt x="685" y="1044"/>
                      </a:lnTo>
                      <a:lnTo>
                        <a:pt x="583" y="1126"/>
                      </a:lnTo>
                      <a:lnTo>
                        <a:pt x="562" y="1133"/>
                      </a:lnTo>
                      <a:lnTo>
                        <a:pt x="540" y="1117"/>
                      </a:lnTo>
                      <a:lnTo>
                        <a:pt x="524" y="1133"/>
                      </a:lnTo>
                      <a:lnTo>
                        <a:pt x="491" y="1133"/>
                      </a:lnTo>
                      <a:lnTo>
                        <a:pt x="503" y="1117"/>
                      </a:lnTo>
                      <a:lnTo>
                        <a:pt x="507" y="1117"/>
                      </a:lnTo>
                      <a:lnTo>
                        <a:pt x="503" y="1110"/>
                      </a:lnTo>
                      <a:lnTo>
                        <a:pt x="486" y="1138"/>
                      </a:lnTo>
                      <a:lnTo>
                        <a:pt x="458" y="1133"/>
                      </a:lnTo>
                      <a:lnTo>
                        <a:pt x="458" y="1150"/>
                      </a:lnTo>
                      <a:lnTo>
                        <a:pt x="458" y="1150"/>
                      </a:lnTo>
                      <a:lnTo>
                        <a:pt x="448" y="1138"/>
                      </a:lnTo>
                      <a:lnTo>
                        <a:pt x="453" y="1155"/>
                      </a:lnTo>
                      <a:lnTo>
                        <a:pt x="437" y="1150"/>
                      </a:lnTo>
                      <a:lnTo>
                        <a:pt x="448" y="1155"/>
                      </a:lnTo>
                      <a:lnTo>
                        <a:pt x="437" y="1155"/>
                      </a:lnTo>
                      <a:lnTo>
                        <a:pt x="432" y="1138"/>
                      </a:lnTo>
                      <a:lnTo>
                        <a:pt x="420" y="1155"/>
                      </a:lnTo>
                      <a:lnTo>
                        <a:pt x="361" y="1171"/>
                      </a:lnTo>
                      <a:lnTo>
                        <a:pt x="349" y="1183"/>
                      </a:lnTo>
                      <a:lnTo>
                        <a:pt x="340" y="1171"/>
                      </a:lnTo>
                      <a:lnTo>
                        <a:pt x="274" y="1188"/>
                      </a:lnTo>
                      <a:lnTo>
                        <a:pt x="285" y="1171"/>
                      </a:lnTo>
                      <a:lnTo>
                        <a:pt x="257" y="1195"/>
                      </a:lnTo>
                      <a:lnTo>
                        <a:pt x="236" y="1204"/>
                      </a:lnTo>
                      <a:lnTo>
                        <a:pt x="269" y="1183"/>
                      </a:lnTo>
                      <a:lnTo>
                        <a:pt x="252" y="1188"/>
                      </a:lnTo>
                      <a:lnTo>
                        <a:pt x="257" y="1183"/>
                      </a:lnTo>
                      <a:lnTo>
                        <a:pt x="252" y="1183"/>
                      </a:lnTo>
                      <a:lnTo>
                        <a:pt x="243" y="1171"/>
                      </a:lnTo>
                      <a:lnTo>
                        <a:pt x="243" y="1171"/>
                      </a:lnTo>
                      <a:lnTo>
                        <a:pt x="236" y="1166"/>
                      </a:lnTo>
                      <a:lnTo>
                        <a:pt x="252" y="1150"/>
                      </a:lnTo>
                      <a:lnTo>
                        <a:pt x="215" y="1155"/>
                      </a:lnTo>
                      <a:lnTo>
                        <a:pt x="205" y="1155"/>
                      </a:lnTo>
                      <a:lnTo>
                        <a:pt x="219" y="1138"/>
                      </a:lnTo>
                      <a:lnTo>
                        <a:pt x="160" y="1133"/>
                      </a:lnTo>
                      <a:lnTo>
                        <a:pt x="160" y="1117"/>
                      </a:lnTo>
                      <a:lnTo>
                        <a:pt x="144" y="1126"/>
                      </a:lnTo>
                      <a:lnTo>
                        <a:pt x="129" y="1110"/>
                      </a:lnTo>
                      <a:lnTo>
                        <a:pt x="129" y="1081"/>
                      </a:lnTo>
                      <a:lnTo>
                        <a:pt x="144" y="1039"/>
                      </a:lnTo>
                      <a:lnTo>
                        <a:pt x="134" y="1015"/>
                      </a:lnTo>
                      <a:lnTo>
                        <a:pt x="151" y="1015"/>
                      </a:lnTo>
                      <a:lnTo>
                        <a:pt x="122" y="966"/>
                      </a:lnTo>
                      <a:lnTo>
                        <a:pt x="129" y="944"/>
                      </a:lnTo>
                      <a:lnTo>
                        <a:pt x="129" y="928"/>
                      </a:lnTo>
                      <a:lnTo>
                        <a:pt x="113" y="911"/>
                      </a:lnTo>
                      <a:lnTo>
                        <a:pt x="113" y="892"/>
                      </a:lnTo>
                      <a:lnTo>
                        <a:pt x="113" y="876"/>
                      </a:lnTo>
                      <a:lnTo>
                        <a:pt x="129" y="859"/>
                      </a:lnTo>
                      <a:lnTo>
                        <a:pt x="134" y="850"/>
                      </a:lnTo>
                      <a:lnTo>
                        <a:pt x="151" y="850"/>
                      </a:lnTo>
                      <a:lnTo>
                        <a:pt x="134" y="822"/>
                      </a:lnTo>
                      <a:lnTo>
                        <a:pt x="167" y="822"/>
                      </a:lnTo>
                      <a:lnTo>
                        <a:pt x="177" y="833"/>
                      </a:lnTo>
                      <a:lnTo>
                        <a:pt x="198" y="822"/>
                      </a:lnTo>
                      <a:lnTo>
                        <a:pt x="198" y="817"/>
                      </a:lnTo>
                      <a:lnTo>
                        <a:pt x="189" y="800"/>
                      </a:lnTo>
                      <a:lnTo>
                        <a:pt x="198" y="793"/>
                      </a:lnTo>
                      <a:lnTo>
                        <a:pt x="205" y="800"/>
                      </a:lnTo>
                      <a:lnTo>
                        <a:pt x="215" y="765"/>
                      </a:lnTo>
                      <a:lnTo>
                        <a:pt x="231" y="781"/>
                      </a:lnTo>
                      <a:lnTo>
                        <a:pt x="236" y="760"/>
                      </a:lnTo>
                      <a:lnTo>
                        <a:pt x="269" y="748"/>
                      </a:lnTo>
                      <a:lnTo>
                        <a:pt x="274" y="727"/>
                      </a:lnTo>
                      <a:lnTo>
                        <a:pt x="290" y="727"/>
                      </a:lnTo>
                      <a:lnTo>
                        <a:pt x="311" y="687"/>
                      </a:lnTo>
                      <a:lnTo>
                        <a:pt x="340" y="670"/>
                      </a:lnTo>
                      <a:lnTo>
                        <a:pt x="349" y="637"/>
                      </a:lnTo>
                      <a:lnTo>
                        <a:pt x="394" y="633"/>
                      </a:lnTo>
                      <a:lnTo>
                        <a:pt x="403" y="637"/>
                      </a:lnTo>
                      <a:lnTo>
                        <a:pt x="415" y="633"/>
                      </a:lnTo>
                      <a:lnTo>
                        <a:pt x="399" y="628"/>
                      </a:lnTo>
                      <a:lnTo>
                        <a:pt x="415" y="628"/>
                      </a:lnTo>
                      <a:lnTo>
                        <a:pt x="403" y="600"/>
                      </a:lnTo>
                      <a:lnTo>
                        <a:pt x="415" y="571"/>
                      </a:lnTo>
                      <a:lnTo>
                        <a:pt x="403" y="559"/>
                      </a:lnTo>
                      <a:lnTo>
                        <a:pt x="361" y="543"/>
                      </a:lnTo>
                      <a:lnTo>
                        <a:pt x="349" y="526"/>
                      </a:lnTo>
                      <a:lnTo>
                        <a:pt x="361" y="517"/>
                      </a:lnTo>
                      <a:lnTo>
                        <a:pt x="344" y="526"/>
                      </a:lnTo>
                      <a:lnTo>
                        <a:pt x="328" y="522"/>
                      </a:lnTo>
                      <a:lnTo>
                        <a:pt x="328" y="522"/>
                      </a:lnTo>
                      <a:lnTo>
                        <a:pt x="328" y="522"/>
                      </a:lnTo>
                      <a:close/>
                      <a:moveTo>
                        <a:pt x="382" y="616"/>
                      </a:moveTo>
                      <a:lnTo>
                        <a:pt x="366" y="628"/>
                      </a:lnTo>
                      <a:lnTo>
                        <a:pt x="349" y="616"/>
                      </a:lnTo>
                      <a:lnTo>
                        <a:pt x="382" y="616"/>
                      </a:lnTo>
                      <a:lnTo>
                        <a:pt x="382" y="616"/>
                      </a:lnTo>
                      <a:lnTo>
                        <a:pt x="382" y="616"/>
                      </a:lnTo>
                      <a:close/>
                      <a:moveTo>
                        <a:pt x="236" y="760"/>
                      </a:moveTo>
                      <a:lnTo>
                        <a:pt x="219" y="760"/>
                      </a:lnTo>
                      <a:lnTo>
                        <a:pt x="236" y="748"/>
                      </a:lnTo>
                      <a:lnTo>
                        <a:pt x="236" y="760"/>
                      </a:lnTo>
                      <a:lnTo>
                        <a:pt x="236" y="760"/>
                      </a:lnTo>
                      <a:lnTo>
                        <a:pt x="236" y="760"/>
                      </a:lnTo>
                      <a:close/>
                      <a:moveTo>
                        <a:pt x="129" y="817"/>
                      </a:moveTo>
                      <a:lnTo>
                        <a:pt x="122" y="817"/>
                      </a:lnTo>
                      <a:lnTo>
                        <a:pt x="129" y="817"/>
                      </a:lnTo>
                      <a:lnTo>
                        <a:pt x="129" y="817"/>
                      </a:lnTo>
                      <a:lnTo>
                        <a:pt x="129" y="817"/>
                      </a:lnTo>
                      <a:lnTo>
                        <a:pt x="129" y="817"/>
                      </a:lnTo>
                      <a:close/>
                      <a:moveTo>
                        <a:pt x="189" y="822"/>
                      </a:moveTo>
                      <a:lnTo>
                        <a:pt x="177" y="817"/>
                      </a:lnTo>
                      <a:lnTo>
                        <a:pt x="189" y="817"/>
                      </a:lnTo>
                      <a:lnTo>
                        <a:pt x="189" y="822"/>
                      </a:lnTo>
                      <a:lnTo>
                        <a:pt x="189" y="822"/>
                      </a:lnTo>
                      <a:lnTo>
                        <a:pt x="189" y="822"/>
                      </a:lnTo>
                      <a:close/>
                      <a:moveTo>
                        <a:pt x="122" y="833"/>
                      </a:moveTo>
                      <a:lnTo>
                        <a:pt x="113" y="817"/>
                      </a:lnTo>
                      <a:lnTo>
                        <a:pt x="134" y="822"/>
                      </a:lnTo>
                      <a:lnTo>
                        <a:pt x="122" y="833"/>
                      </a:lnTo>
                      <a:lnTo>
                        <a:pt x="122" y="833"/>
                      </a:lnTo>
                      <a:lnTo>
                        <a:pt x="122" y="833"/>
                      </a:lnTo>
                      <a:close/>
                      <a:moveTo>
                        <a:pt x="129" y="1081"/>
                      </a:moveTo>
                      <a:lnTo>
                        <a:pt x="122" y="1077"/>
                      </a:lnTo>
                      <a:lnTo>
                        <a:pt x="129" y="1081"/>
                      </a:lnTo>
                      <a:lnTo>
                        <a:pt x="129" y="1081"/>
                      </a:lnTo>
                      <a:lnTo>
                        <a:pt x="129" y="1081"/>
                      </a:lnTo>
                      <a:lnTo>
                        <a:pt x="129" y="1081"/>
                      </a:lnTo>
                      <a:close/>
                      <a:moveTo>
                        <a:pt x="134" y="1133"/>
                      </a:moveTo>
                      <a:lnTo>
                        <a:pt x="129" y="1126"/>
                      </a:lnTo>
                      <a:lnTo>
                        <a:pt x="134" y="1126"/>
                      </a:lnTo>
                      <a:lnTo>
                        <a:pt x="134" y="1133"/>
                      </a:lnTo>
                      <a:lnTo>
                        <a:pt x="134" y="1133"/>
                      </a:lnTo>
                      <a:lnTo>
                        <a:pt x="134" y="1133"/>
                      </a:lnTo>
                      <a:close/>
                      <a:moveTo>
                        <a:pt x="177" y="1150"/>
                      </a:moveTo>
                      <a:lnTo>
                        <a:pt x="160" y="1138"/>
                      </a:lnTo>
                      <a:lnTo>
                        <a:pt x="160" y="1133"/>
                      </a:lnTo>
                      <a:lnTo>
                        <a:pt x="177" y="1150"/>
                      </a:lnTo>
                      <a:lnTo>
                        <a:pt x="177" y="1150"/>
                      </a:lnTo>
                      <a:lnTo>
                        <a:pt x="177" y="1150"/>
                      </a:lnTo>
                      <a:close/>
                      <a:moveTo>
                        <a:pt x="26" y="1183"/>
                      </a:moveTo>
                      <a:lnTo>
                        <a:pt x="21" y="1171"/>
                      </a:lnTo>
                      <a:lnTo>
                        <a:pt x="14" y="1155"/>
                      </a:lnTo>
                      <a:lnTo>
                        <a:pt x="21" y="1150"/>
                      </a:lnTo>
                      <a:lnTo>
                        <a:pt x="21" y="1166"/>
                      </a:lnTo>
                      <a:lnTo>
                        <a:pt x="26" y="1150"/>
                      </a:lnTo>
                      <a:lnTo>
                        <a:pt x="21" y="1138"/>
                      </a:lnTo>
                      <a:lnTo>
                        <a:pt x="26" y="1138"/>
                      </a:lnTo>
                      <a:lnTo>
                        <a:pt x="52" y="1150"/>
                      </a:lnTo>
                      <a:lnTo>
                        <a:pt x="42" y="1166"/>
                      </a:lnTo>
                      <a:lnTo>
                        <a:pt x="42" y="1155"/>
                      </a:lnTo>
                      <a:lnTo>
                        <a:pt x="37" y="1150"/>
                      </a:lnTo>
                      <a:lnTo>
                        <a:pt x="26" y="1155"/>
                      </a:lnTo>
                      <a:lnTo>
                        <a:pt x="37" y="1171"/>
                      </a:lnTo>
                      <a:lnTo>
                        <a:pt x="26" y="1183"/>
                      </a:lnTo>
                      <a:lnTo>
                        <a:pt x="26" y="1183"/>
                      </a:lnTo>
                      <a:lnTo>
                        <a:pt x="26" y="1183"/>
                      </a:lnTo>
                      <a:close/>
                      <a:moveTo>
                        <a:pt x="198" y="1150"/>
                      </a:moveTo>
                      <a:lnTo>
                        <a:pt x="198" y="1150"/>
                      </a:lnTo>
                      <a:lnTo>
                        <a:pt x="205" y="1150"/>
                      </a:lnTo>
                      <a:lnTo>
                        <a:pt x="198" y="1150"/>
                      </a:lnTo>
                      <a:lnTo>
                        <a:pt x="198" y="1150"/>
                      </a:lnTo>
                      <a:lnTo>
                        <a:pt x="198" y="1150"/>
                      </a:lnTo>
                      <a:close/>
                      <a:moveTo>
                        <a:pt x="189" y="1155"/>
                      </a:moveTo>
                      <a:lnTo>
                        <a:pt x="181" y="1150"/>
                      </a:lnTo>
                      <a:lnTo>
                        <a:pt x="198" y="1150"/>
                      </a:lnTo>
                      <a:lnTo>
                        <a:pt x="189" y="1155"/>
                      </a:lnTo>
                      <a:lnTo>
                        <a:pt x="189" y="1155"/>
                      </a:lnTo>
                      <a:lnTo>
                        <a:pt x="189" y="1155"/>
                      </a:lnTo>
                      <a:close/>
                      <a:moveTo>
                        <a:pt x="432" y="1166"/>
                      </a:moveTo>
                      <a:lnTo>
                        <a:pt x="432" y="1150"/>
                      </a:lnTo>
                      <a:lnTo>
                        <a:pt x="432" y="1155"/>
                      </a:lnTo>
                      <a:lnTo>
                        <a:pt x="432" y="1166"/>
                      </a:lnTo>
                      <a:lnTo>
                        <a:pt x="432" y="1166"/>
                      </a:lnTo>
                      <a:lnTo>
                        <a:pt x="432" y="1166"/>
                      </a:lnTo>
                      <a:close/>
                      <a:moveTo>
                        <a:pt x="59" y="1166"/>
                      </a:moveTo>
                      <a:lnTo>
                        <a:pt x="59" y="1155"/>
                      </a:lnTo>
                      <a:lnTo>
                        <a:pt x="68" y="1155"/>
                      </a:lnTo>
                      <a:lnTo>
                        <a:pt x="59" y="1166"/>
                      </a:lnTo>
                      <a:lnTo>
                        <a:pt x="59" y="1166"/>
                      </a:lnTo>
                      <a:lnTo>
                        <a:pt x="59" y="1166"/>
                      </a:lnTo>
                      <a:close/>
                      <a:moveTo>
                        <a:pt x="4" y="1171"/>
                      </a:moveTo>
                      <a:lnTo>
                        <a:pt x="0" y="1166"/>
                      </a:lnTo>
                      <a:lnTo>
                        <a:pt x="4" y="1155"/>
                      </a:lnTo>
                      <a:lnTo>
                        <a:pt x="14" y="1166"/>
                      </a:lnTo>
                      <a:lnTo>
                        <a:pt x="4" y="1171"/>
                      </a:lnTo>
                      <a:lnTo>
                        <a:pt x="4" y="1171"/>
                      </a:lnTo>
                      <a:lnTo>
                        <a:pt x="4" y="1171"/>
                      </a:lnTo>
                      <a:close/>
                      <a:moveTo>
                        <a:pt x="215" y="1183"/>
                      </a:moveTo>
                      <a:lnTo>
                        <a:pt x="205" y="1183"/>
                      </a:lnTo>
                      <a:lnTo>
                        <a:pt x="205" y="1155"/>
                      </a:lnTo>
                      <a:lnTo>
                        <a:pt x="236" y="1155"/>
                      </a:lnTo>
                      <a:lnTo>
                        <a:pt x="236" y="1171"/>
                      </a:lnTo>
                      <a:lnTo>
                        <a:pt x="215" y="1183"/>
                      </a:lnTo>
                      <a:lnTo>
                        <a:pt x="215" y="1183"/>
                      </a:lnTo>
                      <a:lnTo>
                        <a:pt x="215" y="1183"/>
                      </a:lnTo>
                      <a:close/>
                      <a:moveTo>
                        <a:pt x="177" y="1166"/>
                      </a:moveTo>
                      <a:lnTo>
                        <a:pt x="167" y="1166"/>
                      </a:lnTo>
                      <a:lnTo>
                        <a:pt x="181" y="1166"/>
                      </a:lnTo>
                      <a:lnTo>
                        <a:pt x="177" y="1166"/>
                      </a:lnTo>
                      <a:lnTo>
                        <a:pt x="177" y="1166"/>
                      </a:lnTo>
                      <a:lnTo>
                        <a:pt x="177" y="1166"/>
                      </a:lnTo>
                      <a:close/>
                      <a:moveTo>
                        <a:pt x="160" y="1171"/>
                      </a:moveTo>
                      <a:lnTo>
                        <a:pt x="151" y="1166"/>
                      </a:lnTo>
                      <a:lnTo>
                        <a:pt x="167" y="1166"/>
                      </a:lnTo>
                      <a:lnTo>
                        <a:pt x="160" y="1171"/>
                      </a:lnTo>
                      <a:lnTo>
                        <a:pt x="160" y="1171"/>
                      </a:lnTo>
                      <a:lnTo>
                        <a:pt x="160" y="1171"/>
                      </a:lnTo>
                      <a:close/>
                      <a:moveTo>
                        <a:pt x="52" y="1171"/>
                      </a:moveTo>
                      <a:lnTo>
                        <a:pt x="52" y="1166"/>
                      </a:lnTo>
                      <a:lnTo>
                        <a:pt x="59" y="1171"/>
                      </a:lnTo>
                      <a:lnTo>
                        <a:pt x="52" y="1171"/>
                      </a:lnTo>
                      <a:lnTo>
                        <a:pt x="52" y="1171"/>
                      </a:lnTo>
                      <a:lnTo>
                        <a:pt x="52" y="1171"/>
                      </a:lnTo>
                      <a:close/>
                      <a:moveTo>
                        <a:pt x="42" y="1171"/>
                      </a:moveTo>
                      <a:lnTo>
                        <a:pt x="52" y="1171"/>
                      </a:lnTo>
                      <a:lnTo>
                        <a:pt x="52" y="1183"/>
                      </a:lnTo>
                      <a:lnTo>
                        <a:pt x="37" y="1171"/>
                      </a:lnTo>
                      <a:lnTo>
                        <a:pt x="42" y="1171"/>
                      </a:lnTo>
                      <a:lnTo>
                        <a:pt x="42" y="1171"/>
                      </a:lnTo>
                      <a:lnTo>
                        <a:pt x="42" y="1171"/>
                      </a:lnTo>
                      <a:close/>
                      <a:moveTo>
                        <a:pt x="205" y="1171"/>
                      </a:moveTo>
                      <a:lnTo>
                        <a:pt x="198" y="1183"/>
                      </a:lnTo>
                      <a:lnTo>
                        <a:pt x="198" y="1171"/>
                      </a:lnTo>
                      <a:lnTo>
                        <a:pt x="205" y="1171"/>
                      </a:lnTo>
                      <a:lnTo>
                        <a:pt x="205" y="1171"/>
                      </a:lnTo>
                      <a:lnTo>
                        <a:pt x="205" y="1171"/>
                      </a:lnTo>
                      <a:close/>
                      <a:moveTo>
                        <a:pt x="243" y="1195"/>
                      </a:moveTo>
                      <a:lnTo>
                        <a:pt x="231" y="1188"/>
                      </a:lnTo>
                      <a:lnTo>
                        <a:pt x="252" y="1188"/>
                      </a:lnTo>
                      <a:lnTo>
                        <a:pt x="243" y="1195"/>
                      </a:lnTo>
                      <a:lnTo>
                        <a:pt x="243" y="1195"/>
                      </a:lnTo>
                      <a:lnTo>
                        <a:pt x="243" y="119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4" name="Freeform 443">
                  <a:extLst>
                    <a:ext uri="{FF2B5EF4-FFF2-40B4-BE49-F238E27FC236}">
                      <a16:creationId xmlns:a16="http://schemas.microsoft.com/office/drawing/2014/main" id="{DB13EE8B-DD56-43F8-939E-B429F0B4AAE9}"/>
                    </a:ext>
                  </a:extLst>
                </p:cNvPr>
                <p:cNvSpPr>
                  <a:spLocks noEditPoints="1"/>
                </p:cNvSpPr>
                <p:nvPr/>
              </p:nvSpPr>
              <p:spPr bwMode="gray">
                <a:xfrm>
                  <a:off x="6511344" y="1926197"/>
                  <a:ext cx="30053" cy="40760"/>
                </a:xfrm>
                <a:custGeom>
                  <a:avLst/>
                  <a:gdLst>
                    <a:gd name="T0" fmla="*/ 64 w 73"/>
                    <a:gd name="T1" fmla="*/ 16 h 99"/>
                    <a:gd name="T2" fmla="*/ 56 w 73"/>
                    <a:gd name="T3" fmla="*/ 4 h 99"/>
                    <a:gd name="T4" fmla="*/ 64 w 73"/>
                    <a:gd name="T5" fmla="*/ 0 h 99"/>
                    <a:gd name="T6" fmla="*/ 73 w 73"/>
                    <a:gd name="T7" fmla="*/ 4 h 99"/>
                    <a:gd name="T8" fmla="*/ 64 w 73"/>
                    <a:gd name="T9" fmla="*/ 16 h 99"/>
                    <a:gd name="T10" fmla="*/ 64 w 73"/>
                    <a:gd name="T11" fmla="*/ 16 h 99"/>
                    <a:gd name="T12" fmla="*/ 64 w 73"/>
                    <a:gd name="T13" fmla="*/ 16 h 99"/>
                    <a:gd name="T14" fmla="*/ 52 w 73"/>
                    <a:gd name="T15" fmla="*/ 33 h 99"/>
                    <a:gd name="T16" fmla="*/ 26 w 73"/>
                    <a:gd name="T17" fmla="*/ 0 h 99"/>
                    <a:gd name="T18" fmla="*/ 56 w 73"/>
                    <a:gd name="T19" fmla="*/ 16 h 99"/>
                    <a:gd name="T20" fmla="*/ 52 w 73"/>
                    <a:gd name="T21" fmla="*/ 33 h 99"/>
                    <a:gd name="T22" fmla="*/ 52 w 73"/>
                    <a:gd name="T23" fmla="*/ 33 h 99"/>
                    <a:gd name="T24" fmla="*/ 52 w 73"/>
                    <a:gd name="T25" fmla="*/ 33 h 99"/>
                    <a:gd name="T26" fmla="*/ 52 w 73"/>
                    <a:gd name="T27" fmla="*/ 44 h 99"/>
                    <a:gd name="T28" fmla="*/ 12 w 73"/>
                    <a:gd name="T29" fmla="*/ 16 h 99"/>
                    <a:gd name="T30" fmla="*/ 12 w 73"/>
                    <a:gd name="T31" fmla="*/ 4 h 99"/>
                    <a:gd name="T32" fmla="*/ 26 w 73"/>
                    <a:gd name="T33" fmla="*/ 4 h 99"/>
                    <a:gd name="T34" fmla="*/ 42 w 73"/>
                    <a:gd name="T35" fmla="*/ 21 h 99"/>
                    <a:gd name="T36" fmla="*/ 52 w 73"/>
                    <a:gd name="T37" fmla="*/ 44 h 99"/>
                    <a:gd name="T38" fmla="*/ 52 w 73"/>
                    <a:gd name="T39" fmla="*/ 44 h 99"/>
                    <a:gd name="T40" fmla="*/ 52 w 73"/>
                    <a:gd name="T41" fmla="*/ 44 h 99"/>
                    <a:gd name="T42" fmla="*/ 21 w 73"/>
                    <a:gd name="T43" fmla="*/ 33 h 99"/>
                    <a:gd name="T44" fmla="*/ 0 w 73"/>
                    <a:gd name="T45" fmla="*/ 21 h 99"/>
                    <a:gd name="T46" fmla="*/ 26 w 73"/>
                    <a:gd name="T47" fmla="*/ 21 h 99"/>
                    <a:gd name="T48" fmla="*/ 21 w 73"/>
                    <a:gd name="T49" fmla="*/ 33 h 99"/>
                    <a:gd name="T50" fmla="*/ 21 w 73"/>
                    <a:gd name="T51" fmla="*/ 33 h 99"/>
                    <a:gd name="T52" fmla="*/ 21 w 73"/>
                    <a:gd name="T53" fmla="*/ 33 h 99"/>
                    <a:gd name="T54" fmla="*/ 56 w 73"/>
                    <a:gd name="T55" fmla="*/ 61 h 99"/>
                    <a:gd name="T56" fmla="*/ 38 w 73"/>
                    <a:gd name="T57" fmla="*/ 44 h 99"/>
                    <a:gd name="T58" fmla="*/ 56 w 73"/>
                    <a:gd name="T59" fmla="*/ 54 h 99"/>
                    <a:gd name="T60" fmla="*/ 56 w 73"/>
                    <a:gd name="T61" fmla="*/ 61 h 99"/>
                    <a:gd name="T62" fmla="*/ 56 w 73"/>
                    <a:gd name="T63" fmla="*/ 61 h 99"/>
                    <a:gd name="T64" fmla="*/ 56 w 73"/>
                    <a:gd name="T65" fmla="*/ 61 h 99"/>
                    <a:gd name="T66" fmla="*/ 52 w 73"/>
                    <a:gd name="T67" fmla="*/ 99 h 99"/>
                    <a:gd name="T68" fmla="*/ 38 w 73"/>
                    <a:gd name="T69" fmla="*/ 78 h 99"/>
                    <a:gd name="T70" fmla="*/ 52 w 73"/>
                    <a:gd name="T71" fmla="*/ 87 h 99"/>
                    <a:gd name="T72" fmla="*/ 52 w 73"/>
                    <a:gd name="T73" fmla="*/ 99 h 99"/>
                    <a:gd name="T74" fmla="*/ 52 w 73"/>
                    <a:gd name="T75" fmla="*/ 99 h 99"/>
                    <a:gd name="T76" fmla="*/ 52 w 73"/>
                    <a:gd name="T77"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99">
                      <a:moveTo>
                        <a:pt x="64" y="16"/>
                      </a:moveTo>
                      <a:lnTo>
                        <a:pt x="56" y="4"/>
                      </a:lnTo>
                      <a:lnTo>
                        <a:pt x="64" y="0"/>
                      </a:lnTo>
                      <a:lnTo>
                        <a:pt x="73" y="4"/>
                      </a:lnTo>
                      <a:lnTo>
                        <a:pt x="64" y="16"/>
                      </a:lnTo>
                      <a:lnTo>
                        <a:pt x="64" y="16"/>
                      </a:lnTo>
                      <a:lnTo>
                        <a:pt x="64" y="16"/>
                      </a:lnTo>
                      <a:close/>
                      <a:moveTo>
                        <a:pt x="52" y="33"/>
                      </a:moveTo>
                      <a:lnTo>
                        <a:pt x="26" y="0"/>
                      </a:lnTo>
                      <a:lnTo>
                        <a:pt x="56" y="16"/>
                      </a:lnTo>
                      <a:lnTo>
                        <a:pt x="52" y="33"/>
                      </a:lnTo>
                      <a:lnTo>
                        <a:pt x="52" y="33"/>
                      </a:lnTo>
                      <a:lnTo>
                        <a:pt x="52" y="33"/>
                      </a:lnTo>
                      <a:close/>
                      <a:moveTo>
                        <a:pt x="52" y="44"/>
                      </a:moveTo>
                      <a:lnTo>
                        <a:pt x="12" y="16"/>
                      </a:lnTo>
                      <a:lnTo>
                        <a:pt x="12" y="4"/>
                      </a:lnTo>
                      <a:lnTo>
                        <a:pt x="26" y="4"/>
                      </a:lnTo>
                      <a:lnTo>
                        <a:pt x="42" y="21"/>
                      </a:lnTo>
                      <a:lnTo>
                        <a:pt x="52" y="44"/>
                      </a:lnTo>
                      <a:lnTo>
                        <a:pt x="52" y="44"/>
                      </a:lnTo>
                      <a:lnTo>
                        <a:pt x="52" y="44"/>
                      </a:lnTo>
                      <a:close/>
                      <a:moveTo>
                        <a:pt x="21" y="33"/>
                      </a:moveTo>
                      <a:lnTo>
                        <a:pt x="0" y="21"/>
                      </a:lnTo>
                      <a:lnTo>
                        <a:pt x="26" y="21"/>
                      </a:lnTo>
                      <a:lnTo>
                        <a:pt x="21" y="33"/>
                      </a:lnTo>
                      <a:lnTo>
                        <a:pt x="21" y="33"/>
                      </a:lnTo>
                      <a:lnTo>
                        <a:pt x="21" y="33"/>
                      </a:lnTo>
                      <a:close/>
                      <a:moveTo>
                        <a:pt x="56" y="61"/>
                      </a:moveTo>
                      <a:lnTo>
                        <a:pt x="38" y="44"/>
                      </a:lnTo>
                      <a:lnTo>
                        <a:pt x="56" y="54"/>
                      </a:lnTo>
                      <a:lnTo>
                        <a:pt x="56" y="61"/>
                      </a:lnTo>
                      <a:lnTo>
                        <a:pt x="56" y="61"/>
                      </a:lnTo>
                      <a:lnTo>
                        <a:pt x="56" y="61"/>
                      </a:lnTo>
                      <a:close/>
                      <a:moveTo>
                        <a:pt x="52" y="99"/>
                      </a:moveTo>
                      <a:lnTo>
                        <a:pt x="38" y="78"/>
                      </a:lnTo>
                      <a:lnTo>
                        <a:pt x="52" y="87"/>
                      </a:lnTo>
                      <a:lnTo>
                        <a:pt x="52" y="99"/>
                      </a:lnTo>
                      <a:lnTo>
                        <a:pt x="52" y="99"/>
                      </a:lnTo>
                      <a:lnTo>
                        <a:pt x="52" y="9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6" name="Freeform 445">
                  <a:extLst>
                    <a:ext uri="{FF2B5EF4-FFF2-40B4-BE49-F238E27FC236}">
                      <a16:creationId xmlns:a16="http://schemas.microsoft.com/office/drawing/2014/main" id="{C7C7F289-CA64-47EB-B41D-C49FBDCAEDBA}"/>
                    </a:ext>
                  </a:extLst>
                </p:cNvPr>
                <p:cNvSpPr>
                  <a:spLocks noEditPoints="1"/>
                </p:cNvSpPr>
                <p:nvPr/>
              </p:nvSpPr>
              <p:spPr bwMode="gray">
                <a:xfrm>
                  <a:off x="6589149" y="2403375"/>
                  <a:ext cx="413317" cy="359839"/>
                </a:xfrm>
                <a:custGeom>
                  <a:avLst/>
                  <a:gdLst>
                    <a:gd name="T0" fmla="*/ 557 w 1004"/>
                    <a:gd name="T1" fmla="*/ 22 h 874"/>
                    <a:gd name="T2" fmla="*/ 626 w 1004"/>
                    <a:gd name="T3" fmla="*/ 76 h 874"/>
                    <a:gd name="T4" fmla="*/ 675 w 1004"/>
                    <a:gd name="T5" fmla="*/ 83 h 874"/>
                    <a:gd name="T6" fmla="*/ 718 w 1004"/>
                    <a:gd name="T7" fmla="*/ 149 h 874"/>
                    <a:gd name="T8" fmla="*/ 789 w 1004"/>
                    <a:gd name="T9" fmla="*/ 154 h 874"/>
                    <a:gd name="T10" fmla="*/ 848 w 1004"/>
                    <a:gd name="T11" fmla="*/ 178 h 874"/>
                    <a:gd name="T12" fmla="*/ 874 w 1004"/>
                    <a:gd name="T13" fmla="*/ 248 h 874"/>
                    <a:gd name="T14" fmla="*/ 864 w 1004"/>
                    <a:gd name="T15" fmla="*/ 322 h 874"/>
                    <a:gd name="T16" fmla="*/ 827 w 1004"/>
                    <a:gd name="T17" fmla="*/ 343 h 874"/>
                    <a:gd name="T18" fmla="*/ 767 w 1004"/>
                    <a:gd name="T19" fmla="*/ 416 h 874"/>
                    <a:gd name="T20" fmla="*/ 751 w 1004"/>
                    <a:gd name="T21" fmla="*/ 449 h 874"/>
                    <a:gd name="T22" fmla="*/ 805 w 1004"/>
                    <a:gd name="T23" fmla="*/ 426 h 874"/>
                    <a:gd name="T24" fmla="*/ 810 w 1004"/>
                    <a:gd name="T25" fmla="*/ 487 h 874"/>
                    <a:gd name="T26" fmla="*/ 805 w 1004"/>
                    <a:gd name="T27" fmla="*/ 565 h 874"/>
                    <a:gd name="T28" fmla="*/ 848 w 1004"/>
                    <a:gd name="T29" fmla="*/ 631 h 874"/>
                    <a:gd name="T30" fmla="*/ 860 w 1004"/>
                    <a:gd name="T31" fmla="*/ 664 h 874"/>
                    <a:gd name="T32" fmla="*/ 793 w 1004"/>
                    <a:gd name="T33" fmla="*/ 704 h 874"/>
                    <a:gd name="T34" fmla="*/ 767 w 1004"/>
                    <a:gd name="T35" fmla="*/ 726 h 874"/>
                    <a:gd name="T36" fmla="*/ 713 w 1004"/>
                    <a:gd name="T37" fmla="*/ 709 h 874"/>
                    <a:gd name="T38" fmla="*/ 685 w 1004"/>
                    <a:gd name="T39" fmla="*/ 685 h 874"/>
                    <a:gd name="T40" fmla="*/ 664 w 1004"/>
                    <a:gd name="T41" fmla="*/ 704 h 874"/>
                    <a:gd name="T42" fmla="*/ 567 w 1004"/>
                    <a:gd name="T43" fmla="*/ 709 h 874"/>
                    <a:gd name="T44" fmla="*/ 557 w 1004"/>
                    <a:gd name="T45" fmla="*/ 780 h 874"/>
                    <a:gd name="T46" fmla="*/ 470 w 1004"/>
                    <a:gd name="T47" fmla="*/ 787 h 874"/>
                    <a:gd name="T48" fmla="*/ 427 w 1004"/>
                    <a:gd name="T49" fmla="*/ 759 h 874"/>
                    <a:gd name="T50" fmla="*/ 307 w 1004"/>
                    <a:gd name="T51" fmla="*/ 747 h 874"/>
                    <a:gd name="T52" fmla="*/ 231 w 1004"/>
                    <a:gd name="T53" fmla="*/ 709 h 874"/>
                    <a:gd name="T54" fmla="*/ 248 w 1004"/>
                    <a:gd name="T55" fmla="*/ 593 h 874"/>
                    <a:gd name="T56" fmla="*/ 255 w 1004"/>
                    <a:gd name="T57" fmla="*/ 504 h 874"/>
                    <a:gd name="T58" fmla="*/ 248 w 1004"/>
                    <a:gd name="T59" fmla="*/ 499 h 874"/>
                    <a:gd name="T60" fmla="*/ 189 w 1004"/>
                    <a:gd name="T61" fmla="*/ 392 h 874"/>
                    <a:gd name="T62" fmla="*/ 210 w 1004"/>
                    <a:gd name="T63" fmla="*/ 355 h 874"/>
                    <a:gd name="T64" fmla="*/ 156 w 1004"/>
                    <a:gd name="T65" fmla="*/ 338 h 874"/>
                    <a:gd name="T66" fmla="*/ 134 w 1004"/>
                    <a:gd name="T67" fmla="*/ 331 h 874"/>
                    <a:gd name="T68" fmla="*/ 118 w 1004"/>
                    <a:gd name="T69" fmla="*/ 331 h 874"/>
                    <a:gd name="T70" fmla="*/ 28 w 1004"/>
                    <a:gd name="T71" fmla="*/ 289 h 874"/>
                    <a:gd name="T72" fmla="*/ 16 w 1004"/>
                    <a:gd name="T73" fmla="*/ 265 h 874"/>
                    <a:gd name="T74" fmla="*/ 0 w 1004"/>
                    <a:gd name="T75" fmla="*/ 248 h 874"/>
                    <a:gd name="T76" fmla="*/ 87 w 1004"/>
                    <a:gd name="T77" fmla="*/ 211 h 874"/>
                    <a:gd name="T78" fmla="*/ 193 w 1004"/>
                    <a:gd name="T79" fmla="*/ 232 h 874"/>
                    <a:gd name="T80" fmla="*/ 243 w 1004"/>
                    <a:gd name="T81" fmla="*/ 227 h 874"/>
                    <a:gd name="T82" fmla="*/ 201 w 1004"/>
                    <a:gd name="T83" fmla="*/ 133 h 874"/>
                    <a:gd name="T84" fmla="*/ 255 w 1004"/>
                    <a:gd name="T85" fmla="*/ 154 h 874"/>
                    <a:gd name="T86" fmla="*/ 340 w 1004"/>
                    <a:gd name="T87" fmla="*/ 137 h 874"/>
                    <a:gd name="T88" fmla="*/ 449 w 1004"/>
                    <a:gd name="T89" fmla="*/ 59 h 874"/>
                    <a:gd name="T90" fmla="*/ 512 w 1004"/>
                    <a:gd name="T91" fmla="*/ 0 h 874"/>
                    <a:gd name="T92" fmla="*/ 118 w 1004"/>
                    <a:gd name="T93" fmla="*/ 355 h 874"/>
                    <a:gd name="T94" fmla="*/ 231 w 1004"/>
                    <a:gd name="T95" fmla="*/ 466 h 874"/>
                    <a:gd name="T96" fmla="*/ 248 w 1004"/>
                    <a:gd name="T97" fmla="*/ 487 h 874"/>
                    <a:gd name="T98" fmla="*/ 945 w 1004"/>
                    <a:gd name="T99" fmla="*/ 796 h 874"/>
                    <a:gd name="T100" fmla="*/ 982 w 1004"/>
                    <a:gd name="T101" fmla="*/ 759 h 874"/>
                    <a:gd name="T102" fmla="*/ 999 w 1004"/>
                    <a:gd name="T103" fmla="*/ 820 h 874"/>
                    <a:gd name="T104" fmla="*/ 956 w 1004"/>
                    <a:gd name="T105" fmla="*/ 848 h 874"/>
                    <a:gd name="T106" fmla="*/ 945 w 1004"/>
                    <a:gd name="T107" fmla="*/ 820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4" h="874">
                      <a:moveTo>
                        <a:pt x="512" y="0"/>
                      </a:moveTo>
                      <a:lnTo>
                        <a:pt x="519" y="22"/>
                      </a:lnTo>
                      <a:lnTo>
                        <a:pt x="534" y="26"/>
                      </a:lnTo>
                      <a:lnTo>
                        <a:pt x="557" y="22"/>
                      </a:lnTo>
                      <a:lnTo>
                        <a:pt x="567" y="55"/>
                      </a:lnTo>
                      <a:lnTo>
                        <a:pt x="588" y="55"/>
                      </a:lnTo>
                      <a:lnTo>
                        <a:pt x="595" y="67"/>
                      </a:lnTo>
                      <a:lnTo>
                        <a:pt x="626" y="76"/>
                      </a:lnTo>
                      <a:lnTo>
                        <a:pt x="626" y="100"/>
                      </a:lnTo>
                      <a:lnTo>
                        <a:pt x="647" y="111"/>
                      </a:lnTo>
                      <a:lnTo>
                        <a:pt x="675" y="83"/>
                      </a:lnTo>
                      <a:lnTo>
                        <a:pt x="675" y="83"/>
                      </a:lnTo>
                      <a:lnTo>
                        <a:pt x="675" y="100"/>
                      </a:lnTo>
                      <a:lnTo>
                        <a:pt x="675" y="116"/>
                      </a:lnTo>
                      <a:lnTo>
                        <a:pt x="701" y="133"/>
                      </a:lnTo>
                      <a:lnTo>
                        <a:pt x="718" y="149"/>
                      </a:lnTo>
                      <a:lnTo>
                        <a:pt x="739" y="137"/>
                      </a:lnTo>
                      <a:lnTo>
                        <a:pt x="751" y="149"/>
                      </a:lnTo>
                      <a:lnTo>
                        <a:pt x="784" y="149"/>
                      </a:lnTo>
                      <a:lnTo>
                        <a:pt x="789" y="154"/>
                      </a:lnTo>
                      <a:lnTo>
                        <a:pt x="805" y="178"/>
                      </a:lnTo>
                      <a:lnTo>
                        <a:pt x="822" y="170"/>
                      </a:lnTo>
                      <a:lnTo>
                        <a:pt x="843" y="178"/>
                      </a:lnTo>
                      <a:lnTo>
                        <a:pt x="848" y="178"/>
                      </a:lnTo>
                      <a:lnTo>
                        <a:pt x="874" y="187"/>
                      </a:lnTo>
                      <a:lnTo>
                        <a:pt x="912" y="194"/>
                      </a:lnTo>
                      <a:lnTo>
                        <a:pt x="881" y="232"/>
                      </a:lnTo>
                      <a:lnTo>
                        <a:pt x="874" y="248"/>
                      </a:lnTo>
                      <a:lnTo>
                        <a:pt x="864" y="277"/>
                      </a:lnTo>
                      <a:lnTo>
                        <a:pt x="864" y="289"/>
                      </a:lnTo>
                      <a:lnTo>
                        <a:pt x="860" y="315"/>
                      </a:lnTo>
                      <a:lnTo>
                        <a:pt x="864" y="322"/>
                      </a:lnTo>
                      <a:lnTo>
                        <a:pt x="848" y="338"/>
                      </a:lnTo>
                      <a:lnTo>
                        <a:pt x="827" y="331"/>
                      </a:lnTo>
                      <a:lnTo>
                        <a:pt x="822" y="343"/>
                      </a:lnTo>
                      <a:lnTo>
                        <a:pt x="827" y="343"/>
                      </a:lnTo>
                      <a:lnTo>
                        <a:pt x="822" y="355"/>
                      </a:lnTo>
                      <a:lnTo>
                        <a:pt x="789" y="392"/>
                      </a:lnTo>
                      <a:lnTo>
                        <a:pt x="784" y="400"/>
                      </a:lnTo>
                      <a:lnTo>
                        <a:pt x="767" y="416"/>
                      </a:lnTo>
                      <a:lnTo>
                        <a:pt x="756" y="426"/>
                      </a:lnTo>
                      <a:lnTo>
                        <a:pt x="767" y="433"/>
                      </a:lnTo>
                      <a:lnTo>
                        <a:pt x="767" y="442"/>
                      </a:lnTo>
                      <a:lnTo>
                        <a:pt x="751" y="449"/>
                      </a:lnTo>
                      <a:lnTo>
                        <a:pt x="756" y="454"/>
                      </a:lnTo>
                      <a:lnTo>
                        <a:pt x="772" y="449"/>
                      </a:lnTo>
                      <a:lnTo>
                        <a:pt x="772" y="433"/>
                      </a:lnTo>
                      <a:lnTo>
                        <a:pt x="805" y="426"/>
                      </a:lnTo>
                      <a:lnTo>
                        <a:pt x="810" y="433"/>
                      </a:lnTo>
                      <a:lnTo>
                        <a:pt x="810" y="454"/>
                      </a:lnTo>
                      <a:lnTo>
                        <a:pt x="827" y="470"/>
                      </a:lnTo>
                      <a:lnTo>
                        <a:pt x="810" y="487"/>
                      </a:lnTo>
                      <a:lnTo>
                        <a:pt x="836" y="520"/>
                      </a:lnTo>
                      <a:lnTo>
                        <a:pt x="836" y="537"/>
                      </a:lnTo>
                      <a:lnTo>
                        <a:pt x="793" y="544"/>
                      </a:lnTo>
                      <a:lnTo>
                        <a:pt x="805" y="565"/>
                      </a:lnTo>
                      <a:lnTo>
                        <a:pt x="827" y="565"/>
                      </a:lnTo>
                      <a:lnTo>
                        <a:pt x="810" y="598"/>
                      </a:lnTo>
                      <a:lnTo>
                        <a:pt x="822" y="619"/>
                      </a:lnTo>
                      <a:lnTo>
                        <a:pt x="848" y="631"/>
                      </a:lnTo>
                      <a:lnTo>
                        <a:pt x="874" y="631"/>
                      </a:lnTo>
                      <a:lnTo>
                        <a:pt x="874" y="636"/>
                      </a:lnTo>
                      <a:lnTo>
                        <a:pt x="860" y="652"/>
                      </a:lnTo>
                      <a:lnTo>
                        <a:pt x="860" y="664"/>
                      </a:lnTo>
                      <a:lnTo>
                        <a:pt x="860" y="669"/>
                      </a:lnTo>
                      <a:lnTo>
                        <a:pt x="848" y="669"/>
                      </a:lnTo>
                      <a:lnTo>
                        <a:pt x="836" y="676"/>
                      </a:lnTo>
                      <a:lnTo>
                        <a:pt x="793" y="704"/>
                      </a:lnTo>
                      <a:lnTo>
                        <a:pt x="805" y="709"/>
                      </a:lnTo>
                      <a:lnTo>
                        <a:pt x="793" y="721"/>
                      </a:lnTo>
                      <a:lnTo>
                        <a:pt x="767" y="721"/>
                      </a:lnTo>
                      <a:lnTo>
                        <a:pt x="767" y="726"/>
                      </a:lnTo>
                      <a:lnTo>
                        <a:pt x="751" y="726"/>
                      </a:lnTo>
                      <a:lnTo>
                        <a:pt x="739" y="726"/>
                      </a:lnTo>
                      <a:lnTo>
                        <a:pt x="734" y="721"/>
                      </a:lnTo>
                      <a:lnTo>
                        <a:pt x="713" y="709"/>
                      </a:lnTo>
                      <a:lnTo>
                        <a:pt x="701" y="704"/>
                      </a:lnTo>
                      <a:lnTo>
                        <a:pt x="685" y="704"/>
                      </a:lnTo>
                      <a:lnTo>
                        <a:pt x="701" y="692"/>
                      </a:lnTo>
                      <a:lnTo>
                        <a:pt x="685" y="685"/>
                      </a:lnTo>
                      <a:lnTo>
                        <a:pt x="685" y="692"/>
                      </a:lnTo>
                      <a:lnTo>
                        <a:pt x="675" y="704"/>
                      </a:lnTo>
                      <a:lnTo>
                        <a:pt x="664" y="676"/>
                      </a:lnTo>
                      <a:lnTo>
                        <a:pt x="664" y="704"/>
                      </a:lnTo>
                      <a:lnTo>
                        <a:pt x="659" y="704"/>
                      </a:lnTo>
                      <a:lnTo>
                        <a:pt x="647" y="692"/>
                      </a:lnTo>
                      <a:lnTo>
                        <a:pt x="609" y="685"/>
                      </a:lnTo>
                      <a:lnTo>
                        <a:pt x="567" y="709"/>
                      </a:lnTo>
                      <a:lnTo>
                        <a:pt x="550" y="726"/>
                      </a:lnTo>
                      <a:lnTo>
                        <a:pt x="541" y="747"/>
                      </a:lnTo>
                      <a:lnTo>
                        <a:pt x="550" y="775"/>
                      </a:lnTo>
                      <a:lnTo>
                        <a:pt x="557" y="780"/>
                      </a:lnTo>
                      <a:lnTo>
                        <a:pt x="541" y="780"/>
                      </a:lnTo>
                      <a:lnTo>
                        <a:pt x="512" y="787"/>
                      </a:lnTo>
                      <a:lnTo>
                        <a:pt x="496" y="780"/>
                      </a:lnTo>
                      <a:lnTo>
                        <a:pt x="470" y="787"/>
                      </a:lnTo>
                      <a:lnTo>
                        <a:pt x="458" y="775"/>
                      </a:lnTo>
                      <a:lnTo>
                        <a:pt x="458" y="763"/>
                      </a:lnTo>
                      <a:lnTo>
                        <a:pt x="432" y="763"/>
                      </a:lnTo>
                      <a:lnTo>
                        <a:pt x="427" y="759"/>
                      </a:lnTo>
                      <a:lnTo>
                        <a:pt x="390" y="742"/>
                      </a:lnTo>
                      <a:lnTo>
                        <a:pt x="378" y="759"/>
                      </a:lnTo>
                      <a:lnTo>
                        <a:pt x="335" y="759"/>
                      </a:lnTo>
                      <a:lnTo>
                        <a:pt x="307" y="747"/>
                      </a:lnTo>
                      <a:lnTo>
                        <a:pt x="297" y="747"/>
                      </a:lnTo>
                      <a:lnTo>
                        <a:pt x="281" y="730"/>
                      </a:lnTo>
                      <a:lnTo>
                        <a:pt x="231" y="726"/>
                      </a:lnTo>
                      <a:lnTo>
                        <a:pt x="231" y="709"/>
                      </a:lnTo>
                      <a:lnTo>
                        <a:pt x="210" y="704"/>
                      </a:lnTo>
                      <a:lnTo>
                        <a:pt x="227" y="692"/>
                      </a:lnTo>
                      <a:lnTo>
                        <a:pt x="231" y="676"/>
                      </a:lnTo>
                      <a:lnTo>
                        <a:pt x="248" y="593"/>
                      </a:lnTo>
                      <a:lnTo>
                        <a:pt x="264" y="581"/>
                      </a:lnTo>
                      <a:lnTo>
                        <a:pt x="248" y="577"/>
                      </a:lnTo>
                      <a:lnTo>
                        <a:pt x="248" y="581"/>
                      </a:lnTo>
                      <a:lnTo>
                        <a:pt x="255" y="504"/>
                      </a:lnTo>
                      <a:lnTo>
                        <a:pt x="281" y="525"/>
                      </a:lnTo>
                      <a:lnTo>
                        <a:pt x="297" y="565"/>
                      </a:lnTo>
                      <a:lnTo>
                        <a:pt x="281" y="508"/>
                      </a:lnTo>
                      <a:lnTo>
                        <a:pt x="248" y="499"/>
                      </a:lnTo>
                      <a:lnTo>
                        <a:pt x="255" y="470"/>
                      </a:lnTo>
                      <a:lnTo>
                        <a:pt x="255" y="442"/>
                      </a:lnTo>
                      <a:lnTo>
                        <a:pt x="210" y="426"/>
                      </a:lnTo>
                      <a:lnTo>
                        <a:pt x="189" y="392"/>
                      </a:lnTo>
                      <a:lnTo>
                        <a:pt x="193" y="371"/>
                      </a:lnTo>
                      <a:lnTo>
                        <a:pt x="179" y="359"/>
                      </a:lnTo>
                      <a:lnTo>
                        <a:pt x="189" y="355"/>
                      </a:lnTo>
                      <a:lnTo>
                        <a:pt x="210" y="355"/>
                      </a:lnTo>
                      <a:lnTo>
                        <a:pt x="193" y="343"/>
                      </a:lnTo>
                      <a:lnTo>
                        <a:pt x="172" y="355"/>
                      </a:lnTo>
                      <a:lnTo>
                        <a:pt x="156" y="343"/>
                      </a:lnTo>
                      <a:lnTo>
                        <a:pt x="156" y="338"/>
                      </a:lnTo>
                      <a:lnTo>
                        <a:pt x="163" y="338"/>
                      </a:lnTo>
                      <a:lnTo>
                        <a:pt x="156" y="331"/>
                      </a:lnTo>
                      <a:lnTo>
                        <a:pt x="172" y="331"/>
                      </a:lnTo>
                      <a:lnTo>
                        <a:pt x="134" y="331"/>
                      </a:lnTo>
                      <a:lnTo>
                        <a:pt x="142" y="331"/>
                      </a:lnTo>
                      <a:lnTo>
                        <a:pt x="142" y="322"/>
                      </a:lnTo>
                      <a:lnTo>
                        <a:pt x="118" y="322"/>
                      </a:lnTo>
                      <a:lnTo>
                        <a:pt x="118" y="331"/>
                      </a:lnTo>
                      <a:lnTo>
                        <a:pt x="108" y="315"/>
                      </a:lnTo>
                      <a:lnTo>
                        <a:pt x="54" y="298"/>
                      </a:lnTo>
                      <a:lnTo>
                        <a:pt x="28" y="305"/>
                      </a:lnTo>
                      <a:lnTo>
                        <a:pt x="28" y="289"/>
                      </a:lnTo>
                      <a:lnTo>
                        <a:pt x="0" y="281"/>
                      </a:lnTo>
                      <a:lnTo>
                        <a:pt x="33" y="277"/>
                      </a:lnTo>
                      <a:lnTo>
                        <a:pt x="28" y="265"/>
                      </a:lnTo>
                      <a:lnTo>
                        <a:pt x="16" y="265"/>
                      </a:lnTo>
                      <a:lnTo>
                        <a:pt x="12" y="260"/>
                      </a:lnTo>
                      <a:lnTo>
                        <a:pt x="16" y="248"/>
                      </a:lnTo>
                      <a:lnTo>
                        <a:pt x="38" y="260"/>
                      </a:lnTo>
                      <a:lnTo>
                        <a:pt x="0" y="248"/>
                      </a:lnTo>
                      <a:lnTo>
                        <a:pt x="0" y="232"/>
                      </a:lnTo>
                      <a:lnTo>
                        <a:pt x="28" y="227"/>
                      </a:lnTo>
                      <a:lnTo>
                        <a:pt x="80" y="220"/>
                      </a:lnTo>
                      <a:lnTo>
                        <a:pt x="87" y="211"/>
                      </a:lnTo>
                      <a:lnTo>
                        <a:pt x="108" y="204"/>
                      </a:lnTo>
                      <a:lnTo>
                        <a:pt x="146" y="244"/>
                      </a:lnTo>
                      <a:lnTo>
                        <a:pt x="172" y="220"/>
                      </a:lnTo>
                      <a:lnTo>
                        <a:pt x="193" y="232"/>
                      </a:lnTo>
                      <a:lnTo>
                        <a:pt x="193" y="220"/>
                      </a:lnTo>
                      <a:lnTo>
                        <a:pt x="201" y="220"/>
                      </a:lnTo>
                      <a:lnTo>
                        <a:pt x="201" y="227"/>
                      </a:lnTo>
                      <a:lnTo>
                        <a:pt x="243" y="227"/>
                      </a:lnTo>
                      <a:lnTo>
                        <a:pt x="227" y="220"/>
                      </a:lnTo>
                      <a:lnTo>
                        <a:pt x="217" y="170"/>
                      </a:lnTo>
                      <a:lnTo>
                        <a:pt x="210" y="154"/>
                      </a:lnTo>
                      <a:lnTo>
                        <a:pt x="201" y="133"/>
                      </a:lnTo>
                      <a:lnTo>
                        <a:pt x="193" y="121"/>
                      </a:lnTo>
                      <a:lnTo>
                        <a:pt x="248" y="133"/>
                      </a:lnTo>
                      <a:lnTo>
                        <a:pt x="243" y="137"/>
                      </a:lnTo>
                      <a:lnTo>
                        <a:pt x="255" y="154"/>
                      </a:lnTo>
                      <a:lnTo>
                        <a:pt x="319" y="166"/>
                      </a:lnTo>
                      <a:lnTo>
                        <a:pt x="361" y="149"/>
                      </a:lnTo>
                      <a:lnTo>
                        <a:pt x="361" y="149"/>
                      </a:lnTo>
                      <a:lnTo>
                        <a:pt x="340" y="137"/>
                      </a:lnTo>
                      <a:lnTo>
                        <a:pt x="352" y="121"/>
                      </a:lnTo>
                      <a:lnTo>
                        <a:pt x="411" y="111"/>
                      </a:lnTo>
                      <a:lnTo>
                        <a:pt x="432" y="83"/>
                      </a:lnTo>
                      <a:lnTo>
                        <a:pt x="449" y="59"/>
                      </a:lnTo>
                      <a:lnTo>
                        <a:pt x="449" y="10"/>
                      </a:lnTo>
                      <a:lnTo>
                        <a:pt x="512" y="0"/>
                      </a:lnTo>
                      <a:lnTo>
                        <a:pt x="512" y="0"/>
                      </a:lnTo>
                      <a:lnTo>
                        <a:pt x="512" y="0"/>
                      </a:lnTo>
                      <a:close/>
                      <a:moveTo>
                        <a:pt x="118" y="355"/>
                      </a:moveTo>
                      <a:lnTo>
                        <a:pt x="108" y="343"/>
                      </a:lnTo>
                      <a:lnTo>
                        <a:pt x="104" y="338"/>
                      </a:lnTo>
                      <a:lnTo>
                        <a:pt x="118" y="355"/>
                      </a:lnTo>
                      <a:lnTo>
                        <a:pt x="118" y="355"/>
                      </a:lnTo>
                      <a:lnTo>
                        <a:pt x="118" y="355"/>
                      </a:lnTo>
                      <a:close/>
                      <a:moveTo>
                        <a:pt x="248" y="487"/>
                      </a:moveTo>
                      <a:lnTo>
                        <a:pt x="231" y="466"/>
                      </a:lnTo>
                      <a:lnTo>
                        <a:pt x="248" y="470"/>
                      </a:lnTo>
                      <a:lnTo>
                        <a:pt x="248" y="487"/>
                      </a:lnTo>
                      <a:lnTo>
                        <a:pt x="248" y="487"/>
                      </a:lnTo>
                      <a:lnTo>
                        <a:pt x="248" y="487"/>
                      </a:lnTo>
                      <a:close/>
                      <a:moveTo>
                        <a:pt x="945" y="820"/>
                      </a:moveTo>
                      <a:lnTo>
                        <a:pt x="945" y="813"/>
                      </a:lnTo>
                      <a:lnTo>
                        <a:pt x="935" y="796"/>
                      </a:lnTo>
                      <a:lnTo>
                        <a:pt x="945" y="796"/>
                      </a:lnTo>
                      <a:lnTo>
                        <a:pt x="935" y="787"/>
                      </a:lnTo>
                      <a:lnTo>
                        <a:pt x="945" y="775"/>
                      </a:lnTo>
                      <a:lnTo>
                        <a:pt x="973" y="759"/>
                      </a:lnTo>
                      <a:lnTo>
                        <a:pt x="982" y="759"/>
                      </a:lnTo>
                      <a:lnTo>
                        <a:pt x="987" y="730"/>
                      </a:lnTo>
                      <a:lnTo>
                        <a:pt x="999" y="730"/>
                      </a:lnTo>
                      <a:lnTo>
                        <a:pt x="1004" y="803"/>
                      </a:lnTo>
                      <a:lnTo>
                        <a:pt x="999" y="820"/>
                      </a:lnTo>
                      <a:lnTo>
                        <a:pt x="987" y="848"/>
                      </a:lnTo>
                      <a:lnTo>
                        <a:pt x="982" y="874"/>
                      </a:lnTo>
                      <a:lnTo>
                        <a:pt x="949" y="858"/>
                      </a:lnTo>
                      <a:lnTo>
                        <a:pt x="956" y="848"/>
                      </a:lnTo>
                      <a:lnTo>
                        <a:pt x="945" y="848"/>
                      </a:lnTo>
                      <a:lnTo>
                        <a:pt x="949" y="829"/>
                      </a:lnTo>
                      <a:lnTo>
                        <a:pt x="935" y="829"/>
                      </a:lnTo>
                      <a:lnTo>
                        <a:pt x="945" y="820"/>
                      </a:lnTo>
                      <a:lnTo>
                        <a:pt x="945" y="820"/>
                      </a:lnTo>
                      <a:lnTo>
                        <a:pt x="945" y="82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0" name="Freeform 449">
                  <a:extLst>
                    <a:ext uri="{FF2B5EF4-FFF2-40B4-BE49-F238E27FC236}">
                      <a16:creationId xmlns:a16="http://schemas.microsoft.com/office/drawing/2014/main" id="{3AA90447-4C01-4F67-977A-67ABBD646834}"/>
                    </a:ext>
                  </a:extLst>
                </p:cNvPr>
                <p:cNvSpPr>
                  <a:spLocks/>
                </p:cNvSpPr>
                <p:nvPr/>
              </p:nvSpPr>
              <p:spPr bwMode="gray">
                <a:xfrm>
                  <a:off x="7882206" y="2682519"/>
                  <a:ext cx="190603" cy="93459"/>
                </a:xfrm>
                <a:custGeom>
                  <a:avLst/>
                  <a:gdLst>
                    <a:gd name="T0" fmla="*/ 0 w 463"/>
                    <a:gd name="T1" fmla="*/ 26 h 227"/>
                    <a:gd name="T2" fmla="*/ 0 w 463"/>
                    <a:gd name="T3" fmla="*/ 10 h 227"/>
                    <a:gd name="T4" fmla="*/ 17 w 463"/>
                    <a:gd name="T5" fmla="*/ 0 h 227"/>
                    <a:gd name="T6" fmla="*/ 43 w 463"/>
                    <a:gd name="T7" fmla="*/ 10 h 227"/>
                    <a:gd name="T8" fmla="*/ 109 w 463"/>
                    <a:gd name="T9" fmla="*/ 33 h 227"/>
                    <a:gd name="T10" fmla="*/ 199 w 463"/>
                    <a:gd name="T11" fmla="*/ 43 h 227"/>
                    <a:gd name="T12" fmla="*/ 220 w 463"/>
                    <a:gd name="T13" fmla="*/ 66 h 227"/>
                    <a:gd name="T14" fmla="*/ 258 w 463"/>
                    <a:gd name="T15" fmla="*/ 83 h 227"/>
                    <a:gd name="T16" fmla="*/ 258 w 463"/>
                    <a:gd name="T17" fmla="*/ 88 h 227"/>
                    <a:gd name="T18" fmla="*/ 270 w 463"/>
                    <a:gd name="T19" fmla="*/ 88 h 227"/>
                    <a:gd name="T20" fmla="*/ 312 w 463"/>
                    <a:gd name="T21" fmla="*/ 71 h 227"/>
                    <a:gd name="T22" fmla="*/ 329 w 463"/>
                    <a:gd name="T23" fmla="*/ 88 h 227"/>
                    <a:gd name="T24" fmla="*/ 345 w 463"/>
                    <a:gd name="T25" fmla="*/ 71 h 227"/>
                    <a:gd name="T26" fmla="*/ 362 w 463"/>
                    <a:gd name="T27" fmla="*/ 83 h 227"/>
                    <a:gd name="T28" fmla="*/ 367 w 463"/>
                    <a:gd name="T29" fmla="*/ 100 h 227"/>
                    <a:gd name="T30" fmla="*/ 400 w 463"/>
                    <a:gd name="T31" fmla="*/ 100 h 227"/>
                    <a:gd name="T32" fmla="*/ 393 w 463"/>
                    <a:gd name="T33" fmla="*/ 128 h 227"/>
                    <a:gd name="T34" fmla="*/ 447 w 463"/>
                    <a:gd name="T35" fmla="*/ 154 h 227"/>
                    <a:gd name="T36" fmla="*/ 430 w 463"/>
                    <a:gd name="T37" fmla="*/ 170 h 227"/>
                    <a:gd name="T38" fmla="*/ 437 w 463"/>
                    <a:gd name="T39" fmla="*/ 182 h 227"/>
                    <a:gd name="T40" fmla="*/ 463 w 463"/>
                    <a:gd name="T41" fmla="*/ 199 h 227"/>
                    <a:gd name="T42" fmla="*/ 463 w 463"/>
                    <a:gd name="T43" fmla="*/ 215 h 227"/>
                    <a:gd name="T44" fmla="*/ 454 w 463"/>
                    <a:gd name="T45" fmla="*/ 227 h 227"/>
                    <a:gd name="T46" fmla="*/ 430 w 463"/>
                    <a:gd name="T47" fmla="*/ 211 h 227"/>
                    <a:gd name="T48" fmla="*/ 409 w 463"/>
                    <a:gd name="T49" fmla="*/ 211 h 227"/>
                    <a:gd name="T50" fmla="*/ 400 w 463"/>
                    <a:gd name="T51" fmla="*/ 199 h 227"/>
                    <a:gd name="T52" fmla="*/ 367 w 463"/>
                    <a:gd name="T53" fmla="*/ 194 h 227"/>
                    <a:gd name="T54" fmla="*/ 345 w 463"/>
                    <a:gd name="T55" fmla="*/ 199 h 227"/>
                    <a:gd name="T56" fmla="*/ 341 w 463"/>
                    <a:gd name="T57" fmla="*/ 211 h 227"/>
                    <a:gd name="T58" fmla="*/ 237 w 463"/>
                    <a:gd name="T59" fmla="*/ 215 h 227"/>
                    <a:gd name="T60" fmla="*/ 232 w 463"/>
                    <a:gd name="T61" fmla="*/ 215 h 227"/>
                    <a:gd name="T62" fmla="*/ 220 w 463"/>
                    <a:gd name="T63" fmla="*/ 215 h 227"/>
                    <a:gd name="T64" fmla="*/ 194 w 463"/>
                    <a:gd name="T65" fmla="*/ 177 h 227"/>
                    <a:gd name="T66" fmla="*/ 178 w 463"/>
                    <a:gd name="T67" fmla="*/ 177 h 227"/>
                    <a:gd name="T68" fmla="*/ 168 w 463"/>
                    <a:gd name="T69" fmla="*/ 194 h 227"/>
                    <a:gd name="T70" fmla="*/ 140 w 463"/>
                    <a:gd name="T71" fmla="*/ 182 h 227"/>
                    <a:gd name="T72" fmla="*/ 123 w 463"/>
                    <a:gd name="T73" fmla="*/ 194 h 227"/>
                    <a:gd name="T74" fmla="*/ 109 w 463"/>
                    <a:gd name="T75" fmla="*/ 182 h 227"/>
                    <a:gd name="T76" fmla="*/ 123 w 463"/>
                    <a:gd name="T77" fmla="*/ 154 h 227"/>
                    <a:gd name="T78" fmla="*/ 97 w 463"/>
                    <a:gd name="T79" fmla="*/ 83 h 227"/>
                    <a:gd name="T80" fmla="*/ 76 w 463"/>
                    <a:gd name="T81" fmla="*/ 71 h 227"/>
                    <a:gd name="T82" fmla="*/ 71 w 463"/>
                    <a:gd name="T83" fmla="*/ 55 h 227"/>
                    <a:gd name="T84" fmla="*/ 55 w 463"/>
                    <a:gd name="T85" fmla="*/ 50 h 227"/>
                    <a:gd name="T86" fmla="*/ 22 w 463"/>
                    <a:gd name="T87" fmla="*/ 43 h 227"/>
                    <a:gd name="T88" fmla="*/ 17 w 463"/>
                    <a:gd name="T89" fmla="*/ 26 h 227"/>
                    <a:gd name="T90" fmla="*/ 0 w 463"/>
                    <a:gd name="T91" fmla="*/ 26 h 227"/>
                    <a:gd name="T92" fmla="*/ 0 w 463"/>
                    <a:gd name="T93" fmla="*/ 26 h 227"/>
                    <a:gd name="T94" fmla="*/ 0 w 463"/>
                    <a:gd name="T95" fmla="*/ 2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63" h="227">
                      <a:moveTo>
                        <a:pt x="0" y="26"/>
                      </a:moveTo>
                      <a:lnTo>
                        <a:pt x="0" y="10"/>
                      </a:lnTo>
                      <a:lnTo>
                        <a:pt x="17" y="0"/>
                      </a:lnTo>
                      <a:lnTo>
                        <a:pt x="43" y="10"/>
                      </a:lnTo>
                      <a:lnTo>
                        <a:pt x="109" y="33"/>
                      </a:lnTo>
                      <a:lnTo>
                        <a:pt x="199" y="43"/>
                      </a:lnTo>
                      <a:lnTo>
                        <a:pt x="220" y="66"/>
                      </a:lnTo>
                      <a:lnTo>
                        <a:pt x="258" y="83"/>
                      </a:lnTo>
                      <a:lnTo>
                        <a:pt x="258" y="88"/>
                      </a:lnTo>
                      <a:lnTo>
                        <a:pt x="270" y="88"/>
                      </a:lnTo>
                      <a:lnTo>
                        <a:pt x="312" y="71"/>
                      </a:lnTo>
                      <a:lnTo>
                        <a:pt x="329" y="88"/>
                      </a:lnTo>
                      <a:lnTo>
                        <a:pt x="345" y="71"/>
                      </a:lnTo>
                      <a:lnTo>
                        <a:pt x="362" y="83"/>
                      </a:lnTo>
                      <a:lnTo>
                        <a:pt x="367" y="100"/>
                      </a:lnTo>
                      <a:lnTo>
                        <a:pt x="400" y="100"/>
                      </a:lnTo>
                      <a:lnTo>
                        <a:pt x="393" y="128"/>
                      </a:lnTo>
                      <a:lnTo>
                        <a:pt x="447" y="154"/>
                      </a:lnTo>
                      <a:lnTo>
                        <a:pt x="430" y="170"/>
                      </a:lnTo>
                      <a:lnTo>
                        <a:pt x="437" y="182"/>
                      </a:lnTo>
                      <a:lnTo>
                        <a:pt x="463" y="199"/>
                      </a:lnTo>
                      <a:lnTo>
                        <a:pt x="463" y="215"/>
                      </a:lnTo>
                      <a:lnTo>
                        <a:pt x="454" y="227"/>
                      </a:lnTo>
                      <a:lnTo>
                        <a:pt x="430" y="211"/>
                      </a:lnTo>
                      <a:lnTo>
                        <a:pt x="409" y="211"/>
                      </a:lnTo>
                      <a:lnTo>
                        <a:pt x="400" y="199"/>
                      </a:lnTo>
                      <a:lnTo>
                        <a:pt x="367" y="194"/>
                      </a:lnTo>
                      <a:lnTo>
                        <a:pt x="345" y="199"/>
                      </a:lnTo>
                      <a:lnTo>
                        <a:pt x="341" y="211"/>
                      </a:lnTo>
                      <a:lnTo>
                        <a:pt x="237" y="215"/>
                      </a:lnTo>
                      <a:lnTo>
                        <a:pt x="232" y="215"/>
                      </a:lnTo>
                      <a:lnTo>
                        <a:pt x="220" y="215"/>
                      </a:lnTo>
                      <a:lnTo>
                        <a:pt x="194" y="177"/>
                      </a:lnTo>
                      <a:lnTo>
                        <a:pt x="178" y="177"/>
                      </a:lnTo>
                      <a:lnTo>
                        <a:pt x="168" y="194"/>
                      </a:lnTo>
                      <a:lnTo>
                        <a:pt x="140" y="182"/>
                      </a:lnTo>
                      <a:lnTo>
                        <a:pt x="123" y="194"/>
                      </a:lnTo>
                      <a:lnTo>
                        <a:pt x="109" y="182"/>
                      </a:lnTo>
                      <a:lnTo>
                        <a:pt x="123" y="154"/>
                      </a:lnTo>
                      <a:lnTo>
                        <a:pt x="97" y="83"/>
                      </a:lnTo>
                      <a:lnTo>
                        <a:pt x="76" y="71"/>
                      </a:lnTo>
                      <a:lnTo>
                        <a:pt x="71" y="55"/>
                      </a:lnTo>
                      <a:lnTo>
                        <a:pt x="55" y="50"/>
                      </a:lnTo>
                      <a:lnTo>
                        <a:pt x="22" y="43"/>
                      </a:lnTo>
                      <a:lnTo>
                        <a:pt x="17" y="26"/>
                      </a:lnTo>
                      <a:lnTo>
                        <a:pt x="0" y="26"/>
                      </a:lnTo>
                      <a:lnTo>
                        <a:pt x="0" y="26"/>
                      </a:lnTo>
                      <a:lnTo>
                        <a:pt x="0" y="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3" name="Freeform 452">
                  <a:extLst>
                    <a:ext uri="{FF2B5EF4-FFF2-40B4-BE49-F238E27FC236}">
                      <a16:creationId xmlns:a16="http://schemas.microsoft.com/office/drawing/2014/main" id="{D8C45654-0A00-4A11-B684-233B114DCA54}"/>
                    </a:ext>
                  </a:extLst>
                </p:cNvPr>
                <p:cNvSpPr>
                  <a:spLocks noEditPoints="1"/>
                </p:cNvSpPr>
                <p:nvPr/>
              </p:nvSpPr>
              <p:spPr bwMode="gray">
                <a:xfrm>
                  <a:off x="4618073" y="692696"/>
                  <a:ext cx="1754949" cy="1347958"/>
                </a:xfrm>
                <a:custGeom>
                  <a:avLst/>
                  <a:gdLst>
                    <a:gd name="T0" fmla="*/ 1604 w 4263"/>
                    <a:gd name="T1" fmla="*/ 2143 h 3274"/>
                    <a:gd name="T2" fmla="*/ 1549 w 4263"/>
                    <a:gd name="T3" fmla="*/ 1949 h 3274"/>
                    <a:gd name="T4" fmla="*/ 1240 w 4263"/>
                    <a:gd name="T5" fmla="*/ 1892 h 3274"/>
                    <a:gd name="T6" fmla="*/ 1219 w 4263"/>
                    <a:gd name="T7" fmla="*/ 1555 h 3274"/>
                    <a:gd name="T8" fmla="*/ 756 w 4263"/>
                    <a:gd name="T9" fmla="*/ 1205 h 3274"/>
                    <a:gd name="T10" fmla="*/ 236 w 4263"/>
                    <a:gd name="T11" fmla="*/ 1099 h 3274"/>
                    <a:gd name="T12" fmla="*/ 16 w 4263"/>
                    <a:gd name="T13" fmla="*/ 893 h 3274"/>
                    <a:gd name="T14" fmla="*/ 718 w 4263"/>
                    <a:gd name="T15" fmla="*/ 501 h 3274"/>
                    <a:gd name="T16" fmla="*/ 1516 w 4263"/>
                    <a:gd name="T17" fmla="*/ 305 h 3274"/>
                    <a:gd name="T18" fmla="*/ 2315 w 4263"/>
                    <a:gd name="T19" fmla="*/ 189 h 3274"/>
                    <a:gd name="T20" fmla="*/ 2482 w 4263"/>
                    <a:gd name="T21" fmla="*/ 24 h 3274"/>
                    <a:gd name="T22" fmla="*/ 3439 w 4263"/>
                    <a:gd name="T23" fmla="*/ 123 h 3274"/>
                    <a:gd name="T24" fmla="*/ 3439 w 4263"/>
                    <a:gd name="T25" fmla="*/ 506 h 3274"/>
                    <a:gd name="T26" fmla="*/ 3633 w 4263"/>
                    <a:gd name="T27" fmla="*/ 527 h 3274"/>
                    <a:gd name="T28" fmla="*/ 3746 w 4263"/>
                    <a:gd name="T29" fmla="*/ 749 h 3274"/>
                    <a:gd name="T30" fmla="*/ 3789 w 4263"/>
                    <a:gd name="T31" fmla="*/ 1054 h 3274"/>
                    <a:gd name="T32" fmla="*/ 3734 w 4263"/>
                    <a:gd name="T33" fmla="*/ 1259 h 3274"/>
                    <a:gd name="T34" fmla="*/ 3578 w 4263"/>
                    <a:gd name="T35" fmla="*/ 1489 h 3274"/>
                    <a:gd name="T36" fmla="*/ 3297 w 4263"/>
                    <a:gd name="T37" fmla="*/ 1637 h 3274"/>
                    <a:gd name="T38" fmla="*/ 3493 w 4263"/>
                    <a:gd name="T39" fmla="*/ 1814 h 3274"/>
                    <a:gd name="T40" fmla="*/ 3531 w 4263"/>
                    <a:gd name="T41" fmla="*/ 1982 h 3274"/>
                    <a:gd name="T42" fmla="*/ 3137 w 4263"/>
                    <a:gd name="T43" fmla="*/ 2015 h 3274"/>
                    <a:gd name="T44" fmla="*/ 3326 w 4263"/>
                    <a:gd name="T45" fmla="*/ 2197 h 3274"/>
                    <a:gd name="T46" fmla="*/ 2839 w 4263"/>
                    <a:gd name="T47" fmla="*/ 2275 h 3274"/>
                    <a:gd name="T48" fmla="*/ 2532 w 4263"/>
                    <a:gd name="T49" fmla="*/ 2592 h 3274"/>
                    <a:gd name="T50" fmla="*/ 2272 w 4263"/>
                    <a:gd name="T51" fmla="*/ 2670 h 3274"/>
                    <a:gd name="T52" fmla="*/ 2154 w 4263"/>
                    <a:gd name="T53" fmla="*/ 2941 h 3274"/>
                    <a:gd name="T54" fmla="*/ 2067 w 4263"/>
                    <a:gd name="T55" fmla="*/ 3163 h 3274"/>
                    <a:gd name="T56" fmla="*/ 1927 w 4263"/>
                    <a:gd name="T57" fmla="*/ 3203 h 3274"/>
                    <a:gd name="T58" fmla="*/ 1743 w 4263"/>
                    <a:gd name="T59" fmla="*/ 3163 h 3274"/>
                    <a:gd name="T60" fmla="*/ 1672 w 4263"/>
                    <a:gd name="T61" fmla="*/ 3031 h 3274"/>
                    <a:gd name="T62" fmla="*/ 1511 w 4263"/>
                    <a:gd name="T63" fmla="*/ 2821 h 3274"/>
                    <a:gd name="T64" fmla="*/ 1533 w 4263"/>
                    <a:gd name="T65" fmla="*/ 2736 h 3274"/>
                    <a:gd name="T66" fmla="*/ 1424 w 4263"/>
                    <a:gd name="T67" fmla="*/ 2632 h 3274"/>
                    <a:gd name="T68" fmla="*/ 1353 w 4263"/>
                    <a:gd name="T69" fmla="*/ 2514 h 3274"/>
                    <a:gd name="T70" fmla="*/ 1566 w 4263"/>
                    <a:gd name="T71" fmla="*/ 2393 h 3274"/>
                    <a:gd name="T72" fmla="*/ 1386 w 4263"/>
                    <a:gd name="T73" fmla="*/ 2320 h 3274"/>
                    <a:gd name="T74" fmla="*/ 2272 w 4263"/>
                    <a:gd name="T75" fmla="*/ 67 h 3274"/>
                    <a:gd name="T76" fmla="*/ 2298 w 4263"/>
                    <a:gd name="T77" fmla="*/ 173 h 3274"/>
                    <a:gd name="T78" fmla="*/ 3666 w 4263"/>
                    <a:gd name="T79" fmla="*/ 267 h 3274"/>
                    <a:gd name="T80" fmla="*/ 3881 w 4263"/>
                    <a:gd name="T81" fmla="*/ 749 h 3274"/>
                    <a:gd name="T82" fmla="*/ 3649 w 4263"/>
                    <a:gd name="T83" fmla="*/ 917 h 3274"/>
                    <a:gd name="T84" fmla="*/ 3881 w 4263"/>
                    <a:gd name="T85" fmla="*/ 962 h 3274"/>
                    <a:gd name="T86" fmla="*/ 3741 w 4263"/>
                    <a:gd name="T87" fmla="*/ 1127 h 3274"/>
                    <a:gd name="T88" fmla="*/ 215 w 4263"/>
                    <a:gd name="T89" fmla="*/ 1184 h 3274"/>
                    <a:gd name="T90" fmla="*/ 3864 w 4263"/>
                    <a:gd name="T91" fmla="*/ 1337 h 3274"/>
                    <a:gd name="T92" fmla="*/ 1133 w 4263"/>
                    <a:gd name="T93" fmla="*/ 1460 h 3274"/>
                    <a:gd name="T94" fmla="*/ 1164 w 4263"/>
                    <a:gd name="T95" fmla="*/ 1600 h 3274"/>
                    <a:gd name="T96" fmla="*/ 1202 w 4263"/>
                    <a:gd name="T97" fmla="*/ 1633 h 3274"/>
                    <a:gd name="T98" fmla="*/ 1240 w 4263"/>
                    <a:gd name="T99" fmla="*/ 1687 h 3274"/>
                    <a:gd name="T100" fmla="*/ 1209 w 4263"/>
                    <a:gd name="T101" fmla="*/ 1703 h 3274"/>
                    <a:gd name="T102" fmla="*/ 1226 w 4263"/>
                    <a:gd name="T103" fmla="*/ 1838 h 3274"/>
                    <a:gd name="T104" fmla="*/ 3342 w 4263"/>
                    <a:gd name="T105" fmla="*/ 1933 h 3274"/>
                    <a:gd name="T106" fmla="*/ 1353 w 4263"/>
                    <a:gd name="T107" fmla="*/ 2143 h 3274"/>
                    <a:gd name="T108" fmla="*/ 3486 w 4263"/>
                    <a:gd name="T109" fmla="*/ 2126 h 3274"/>
                    <a:gd name="T110" fmla="*/ 1457 w 4263"/>
                    <a:gd name="T111" fmla="*/ 2308 h 3274"/>
                    <a:gd name="T112" fmla="*/ 1370 w 4263"/>
                    <a:gd name="T113" fmla="*/ 2476 h 3274"/>
                    <a:gd name="T114" fmla="*/ 2504 w 4263"/>
                    <a:gd name="T115" fmla="*/ 2599 h 3274"/>
                    <a:gd name="T116" fmla="*/ 1408 w 4263"/>
                    <a:gd name="T117" fmla="*/ 2641 h 3274"/>
                    <a:gd name="T118" fmla="*/ 1511 w 4263"/>
                    <a:gd name="T119" fmla="*/ 2764 h 3274"/>
                    <a:gd name="T120" fmla="*/ 1566 w 4263"/>
                    <a:gd name="T121" fmla="*/ 2903 h 3274"/>
                    <a:gd name="T122" fmla="*/ 1776 w 4263"/>
                    <a:gd name="T123" fmla="*/ 3163 h 3274"/>
                    <a:gd name="T124" fmla="*/ 2071 w 4263"/>
                    <a:gd name="T125" fmla="*/ 3258 h 3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63" h="3274">
                      <a:moveTo>
                        <a:pt x="1441" y="2308"/>
                      </a:moveTo>
                      <a:lnTo>
                        <a:pt x="1436" y="2299"/>
                      </a:lnTo>
                      <a:lnTo>
                        <a:pt x="1408" y="2299"/>
                      </a:lnTo>
                      <a:lnTo>
                        <a:pt x="1424" y="2292"/>
                      </a:lnTo>
                      <a:lnTo>
                        <a:pt x="1382" y="2299"/>
                      </a:lnTo>
                      <a:lnTo>
                        <a:pt x="1382" y="2292"/>
                      </a:lnTo>
                      <a:lnTo>
                        <a:pt x="1398" y="2292"/>
                      </a:lnTo>
                      <a:lnTo>
                        <a:pt x="1441" y="2259"/>
                      </a:lnTo>
                      <a:lnTo>
                        <a:pt x="1478" y="2259"/>
                      </a:lnTo>
                      <a:lnTo>
                        <a:pt x="1490" y="2259"/>
                      </a:lnTo>
                      <a:lnTo>
                        <a:pt x="1478" y="2259"/>
                      </a:lnTo>
                      <a:lnTo>
                        <a:pt x="1504" y="2266"/>
                      </a:lnTo>
                      <a:lnTo>
                        <a:pt x="1559" y="2254"/>
                      </a:lnTo>
                      <a:lnTo>
                        <a:pt x="1559" y="2242"/>
                      </a:lnTo>
                      <a:lnTo>
                        <a:pt x="1542" y="2237"/>
                      </a:lnTo>
                      <a:lnTo>
                        <a:pt x="1570" y="2225"/>
                      </a:lnTo>
                      <a:lnTo>
                        <a:pt x="1528" y="2237"/>
                      </a:lnTo>
                      <a:lnTo>
                        <a:pt x="1549" y="2209"/>
                      </a:lnTo>
                      <a:lnTo>
                        <a:pt x="1533" y="2209"/>
                      </a:lnTo>
                      <a:lnTo>
                        <a:pt x="1542" y="2188"/>
                      </a:lnTo>
                      <a:lnTo>
                        <a:pt x="1559" y="2188"/>
                      </a:lnTo>
                      <a:lnTo>
                        <a:pt x="1542" y="2204"/>
                      </a:lnTo>
                      <a:lnTo>
                        <a:pt x="1566" y="2197"/>
                      </a:lnTo>
                      <a:lnTo>
                        <a:pt x="1587" y="2221"/>
                      </a:lnTo>
                      <a:lnTo>
                        <a:pt x="1596" y="2209"/>
                      </a:lnTo>
                      <a:lnTo>
                        <a:pt x="1580" y="2204"/>
                      </a:lnTo>
                      <a:lnTo>
                        <a:pt x="1596" y="2197"/>
                      </a:lnTo>
                      <a:lnTo>
                        <a:pt x="1596" y="2204"/>
                      </a:lnTo>
                      <a:lnTo>
                        <a:pt x="1604" y="2209"/>
                      </a:lnTo>
                      <a:lnTo>
                        <a:pt x="1596" y="2197"/>
                      </a:lnTo>
                      <a:lnTo>
                        <a:pt x="1566" y="2188"/>
                      </a:lnTo>
                      <a:lnTo>
                        <a:pt x="1604" y="2181"/>
                      </a:lnTo>
                      <a:lnTo>
                        <a:pt x="1580" y="2181"/>
                      </a:lnTo>
                      <a:lnTo>
                        <a:pt x="1580" y="2164"/>
                      </a:lnTo>
                      <a:lnTo>
                        <a:pt x="1587" y="2164"/>
                      </a:lnTo>
                      <a:lnTo>
                        <a:pt x="1549" y="2181"/>
                      </a:lnTo>
                      <a:lnTo>
                        <a:pt x="1533" y="2181"/>
                      </a:lnTo>
                      <a:lnTo>
                        <a:pt x="1559" y="2148"/>
                      </a:lnTo>
                      <a:lnTo>
                        <a:pt x="1604" y="2143"/>
                      </a:lnTo>
                      <a:lnTo>
                        <a:pt x="1549" y="2143"/>
                      </a:lnTo>
                      <a:lnTo>
                        <a:pt x="1559" y="2126"/>
                      </a:lnTo>
                      <a:lnTo>
                        <a:pt x="1587" y="2131"/>
                      </a:lnTo>
                      <a:lnTo>
                        <a:pt x="1559" y="2114"/>
                      </a:lnTo>
                      <a:lnTo>
                        <a:pt x="1570" y="2110"/>
                      </a:lnTo>
                      <a:lnTo>
                        <a:pt x="1604" y="2110"/>
                      </a:lnTo>
                      <a:lnTo>
                        <a:pt x="1596" y="2093"/>
                      </a:lnTo>
                      <a:lnTo>
                        <a:pt x="1570" y="2086"/>
                      </a:lnTo>
                      <a:lnTo>
                        <a:pt x="1596" y="2077"/>
                      </a:lnTo>
                      <a:lnTo>
                        <a:pt x="1528" y="2086"/>
                      </a:lnTo>
                      <a:lnTo>
                        <a:pt x="1559" y="2077"/>
                      </a:lnTo>
                      <a:lnTo>
                        <a:pt x="1528" y="2070"/>
                      </a:lnTo>
                      <a:lnTo>
                        <a:pt x="1511" y="2086"/>
                      </a:lnTo>
                      <a:lnTo>
                        <a:pt x="1452" y="2070"/>
                      </a:lnTo>
                      <a:lnTo>
                        <a:pt x="1424" y="2044"/>
                      </a:lnTo>
                      <a:lnTo>
                        <a:pt x="1344" y="2032"/>
                      </a:lnTo>
                      <a:lnTo>
                        <a:pt x="1289" y="1987"/>
                      </a:lnTo>
                      <a:lnTo>
                        <a:pt x="1327" y="1966"/>
                      </a:lnTo>
                      <a:lnTo>
                        <a:pt x="1424" y="1982"/>
                      </a:lnTo>
                      <a:lnTo>
                        <a:pt x="1504" y="2020"/>
                      </a:lnTo>
                      <a:lnTo>
                        <a:pt x="1570" y="2037"/>
                      </a:lnTo>
                      <a:lnTo>
                        <a:pt x="1580" y="2032"/>
                      </a:lnTo>
                      <a:lnTo>
                        <a:pt x="1566" y="2020"/>
                      </a:lnTo>
                      <a:lnTo>
                        <a:pt x="1580" y="2015"/>
                      </a:lnTo>
                      <a:lnTo>
                        <a:pt x="1549" y="2020"/>
                      </a:lnTo>
                      <a:lnTo>
                        <a:pt x="1516" y="2003"/>
                      </a:lnTo>
                      <a:lnTo>
                        <a:pt x="1528" y="1999"/>
                      </a:lnTo>
                      <a:lnTo>
                        <a:pt x="1549" y="2015"/>
                      </a:lnTo>
                      <a:lnTo>
                        <a:pt x="1566" y="2003"/>
                      </a:lnTo>
                      <a:lnTo>
                        <a:pt x="1542" y="1999"/>
                      </a:lnTo>
                      <a:lnTo>
                        <a:pt x="1570" y="1999"/>
                      </a:lnTo>
                      <a:lnTo>
                        <a:pt x="1511" y="1982"/>
                      </a:lnTo>
                      <a:lnTo>
                        <a:pt x="1528" y="1975"/>
                      </a:lnTo>
                      <a:lnTo>
                        <a:pt x="1570" y="1982"/>
                      </a:lnTo>
                      <a:lnTo>
                        <a:pt x="1549" y="1975"/>
                      </a:lnTo>
                      <a:lnTo>
                        <a:pt x="1559" y="1966"/>
                      </a:lnTo>
                      <a:lnTo>
                        <a:pt x="1533" y="1966"/>
                      </a:lnTo>
                      <a:lnTo>
                        <a:pt x="1478" y="1942"/>
                      </a:lnTo>
                      <a:lnTo>
                        <a:pt x="1549" y="1949"/>
                      </a:lnTo>
                      <a:lnTo>
                        <a:pt x="1511" y="1942"/>
                      </a:lnTo>
                      <a:lnTo>
                        <a:pt x="1528" y="1926"/>
                      </a:lnTo>
                      <a:lnTo>
                        <a:pt x="1457" y="1933"/>
                      </a:lnTo>
                      <a:lnTo>
                        <a:pt x="1511" y="1909"/>
                      </a:lnTo>
                      <a:lnTo>
                        <a:pt x="1504" y="1904"/>
                      </a:lnTo>
                      <a:lnTo>
                        <a:pt x="1436" y="1926"/>
                      </a:lnTo>
                      <a:lnTo>
                        <a:pt x="1457" y="1909"/>
                      </a:lnTo>
                      <a:lnTo>
                        <a:pt x="1457" y="1904"/>
                      </a:lnTo>
                      <a:lnTo>
                        <a:pt x="1516" y="1888"/>
                      </a:lnTo>
                      <a:lnTo>
                        <a:pt x="1495" y="1876"/>
                      </a:lnTo>
                      <a:lnTo>
                        <a:pt x="1441" y="1892"/>
                      </a:lnTo>
                      <a:lnTo>
                        <a:pt x="1403" y="1892"/>
                      </a:lnTo>
                      <a:lnTo>
                        <a:pt x="1441" y="1871"/>
                      </a:lnTo>
                      <a:lnTo>
                        <a:pt x="1490" y="1871"/>
                      </a:lnTo>
                      <a:lnTo>
                        <a:pt x="1504" y="1855"/>
                      </a:lnTo>
                      <a:lnTo>
                        <a:pt x="1462" y="1864"/>
                      </a:lnTo>
                      <a:lnTo>
                        <a:pt x="1386" y="1855"/>
                      </a:lnTo>
                      <a:lnTo>
                        <a:pt x="1424" y="1814"/>
                      </a:lnTo>
                      <a:lnTo>
                        <a:pt x="1408" y="1822"/>
                      </a:lnTo>
                      <a:lnTo>
                        <a:pt x="1403" y="1831"/>
                      </a:lnTo>
                      <a:lnTo>
                        <a:pt x="1382" y="1838"/>
                      </a:lnTo>
                      <a:lnTo>
                        <a:pt x="1382" y="1810"/>
                      </a:lnTo>
                      <a:lnTo>
                        <a:pt x="1353" y="1798"/>
                      </a:lnTo>
                      <a:lnTo>
                        <a:pt x="1344" y="1765"/>
                      </a:lnTo>
                      <a:lnTo>
                        <a:pt x="1365" y="1765"/>
                      </a:lnTo>
                      <a:lnTo>
                        <a:pt x="1332" y="1765"/>
                      </a:lnTo>
                      <a:lnTo>
                        <a:pt x="1382" y="1831"/>
                      </a:lnTo>
                      <a:lnTo>
                        <a:pt x="1353" y="1848"/>
                      </a:lnTo>
                      <a:lnTo>
                        <a:pt x="1344" y="1848"/>
                      </a:lnTo>
                      <a:lnTo>
                        <a:pt x="1348" y="1855"/>
                      </a:lnTo>
                      <a:lnTo>
                        <a:pt x="1348" y="1864"/>
                      </a:lnTo>
                      <a:lnTo>
                        <a:pt x="1327" y="1855"/>
                      </a:lnTo>
                      <a:lnTo>
                        <a:pt x="1327" y="1864"/>
                      </a:lnTo>
                      <a:lnTo>
                        <a:pt x="1344" y="1871"/>
                      </a:lnTo>
                      <a:lnTo>
                        <a:pt x="1344" y="1888"/>
                      </a:lnTo>
                      <a:lnTo>
                        <a:pt x="1278" y="1904"/>
                      </a:lnTo>
                      <a:lnTo>
                        <a:pt x="1247" y="1876"/>
                      </a:lnTo>
                      <a:lnTo>
                        <a:pt x="1256" y="1892"/>
                      </a:lnTo>
                      <a:lnTo>
                        <a:pt x="1240" y="1892"/>
                      </a:lnTo>
                      <a:lnTo>
                        <a:pt x="1219" y="1864"/>
                      </a:lnTo>
                      <a:lnTo>
                        <a:pt x="1226" y="1864"/>
                      </a:lnTo>
                      <a:lnTo>
                        <a:pt x="1202" y="1855"/>
                      </a:lnTo>
                      <a:lnTo>
                        <a:pt x="1240" y="1831"/>
                      </a:lnTo>
                      <a:lnTo>
                        <a:pt x="1278" y="1822"/>
                      </a:lnTo>
                      <a:lnTo>
                        <a:pt x="1294" y="1810"/>
                      </a:lnTo>
                      <a:lnTo>
                        <a:pt x="1311" y="1781"/>
                      </a:lnTo>
                      <a:lnTo>
                        <a:pt x="1273" y="1822"/>
                      </a:lnTo>
                      <a:lnTo>
                        <a:pt x="1240" y="1822"/>
                      </a:lnTo>
                      <a:lnTo>
                        <a:pt x="1226" y="1814"/>
                      </a:lnTo>
                      <a:lnTo>
                        <a:pt x="1273" y="1781"/>
                      </a:lnTo>
                      <a:lnTo>
                        <a:pt x="1263" y="1765"/>
                      </a:lnTo>
                      <a:lnTo>
                        <a:pt x="1289" y="1765"/>
                      </a:lnTo>
                      <a:lnTo>
                        <a:pt x="1263" y="1760"/>
                      </a:lnTo>
                      <a:lnTo>
                        <a:pt x="1273" y="1760"/>
                      </a:lnTo>
                      <a:lnTo>
                        <a:pt x="1247" y="1765"/>
                      </a:lnTo>
                      <a:lnTo>
                        <a:pt x="1219" y="1748"/>
                      </a:lnTo>
                      <a:lnTo>
                        <a:pt x="1235" y="1744"/>
                      </a:lnTo>
                      <a:lnTo>
                        <a:pt x="1311" y="1748"/>
                      </a:lnTo>
                      <a:lnTo>
                        <a:pt x="1263" y="1744"/>
                      </a:lnTo>
                      <a:lnTo>
                        <a:pt x="1273" y="1727"/>
                      </a:lnTo>
                      <a:lnTo>
                        <a:pt x="1289" y="1727"/>
                      </a:lnTo>
                      <a:lnTo>
                        <a:pt x="1273" y="1727"/>
                      </a:lnTo>
                      <a:lnTo>
                        <a:pt x="1289" y="1711"/>
                      </a:lnTo>
                      <a:lnTo>
                        <a:pt x="1273" y="1711"/>
                      </a:lnTo>
                      <a:lnTo>
                        <a:pt x="1294" y="1703"/>
                      </a:lnTo>
                      <a:lnTo>
                        <a:pt x="1273" y="1670"/>
                      </a:lnTo>
                      <a:lnTo>
                        <a:pt x="1219" y="1666"/>
                      </a:lnTo>
                      <a:lnTo>
                        <a:pt x="1256" y="1649"/>
                      </a:lnTo>
                      <a:lnTo>
                        <a:pt x="1235" y="1637"/>
                      </a:lnTo>
                      <a:lnTo>
                        <a:pt x="1247" y="1626"/>
                      </a:lnTo>
                      <a:lnTo>
                        <a:pt x="1256" y="1626"/>
                      </a:lnTo>
                      <a:lnTo>
                        <a:pt x="1188" y="1583"/>
                      </a:lnTo>
                      <a:lnTo>
                        <a:pt x="1202" y="1583"/>
                      </a:lnTo>
                      <a:lnTo>
                        <a:pt x="1193" y="1583"/>
                      </a:lnTo>
                      <a:lnTo>
                        <a:pt x="1193" y="1571"/>
                      </a:lnTo>
                      <a:lnTo>
                        <a:pt x="1219" y="1576"/>
                      </a:lnTo>
                      <a:lnTo>
                        <a:pt x="1193" y="1559"/>
                      </a:lnTo>
                      <a:lnTo>
                        <a:pt x="1219" y="1555"/>
                      </a:lnTo>
                      <a:lnTo>
                        <a:pt x="1188" y="1538"/>
                      </a:lnTo>
                      <a:lnTo>
                        <a:pt x="1193" y="1538"/>
                      </a:lnTo>
                      <a:lnTo>
                        <a:pt x="1164" y="1526"/>
                      </a:lnTo>
                      <a:lnTo>
                        <a:pt x="1188" y="1498"/>
                      </a:lnTo>
                      <a:lnTo>
                        <a:pt x="1100" y="1522"/>
                      </a:lnTo>
                      <a:lnTo>
                        <a:pt x="1171" y="1498"/>
                      </a:lnTo>
                      <a:lnTo>
                        <a:pt x="1138" y="1489"/>
                      </a:lnTo>
                      <a:lnTo>
                        <a:pt x="1188" y="1481"/>
                      </a:lnTo>
                      <a:lnTo>
                        <a:pt x="1138" y="1472"/>
                      </a:lnTo>
                      <a:lnTo>
                        <a:pt x="1181" y="1472"/>
                      </a:lnTo>
                      <a:lnTo>
                        <a:pt x="1181" y="1460"/>
                      </a:lnTo>
                      <a:lnTo>
                        <a:pt x="1155" y="1460"/>
                      </a:lnTo>
                      <a:lnTo>
                        <a:pt x="1133" y="1444"/>
                      </a:lnTo>
                      <a:lnTo>
                        <a:pt x="1126" y="1444"/>
                      </a:lnTo>
                      <a:lnTo>
                        <a:pt x="1112" y="1427"/>
                      </a:lnTo>
                      <a:lnTo>
                        <a:pt x="1133" y="1427"/>
                      </a:lnTo>
                      <a:lnTo>
                        <a:pt x="1126" y="1411"/>
                      </a:lnTo>
                      <a:lnTo>
                        <a:pt x="1041" y="1387"/>
                      </a:lnTo>
                      <a:lnTo>
                        <a:pt x="1058" y="1370"/>
                      </a:lnTo>
                      <a:lnTo>
                        <a:pt x="1030" y="1354"/>
                      </a:lnTo>
                      <a:lnTo>
                        <a:pt x="1030" y="1337"/>
                      </a:lnTo>
                      <a:lnTo>
                        <a:pt x="1004" y="1349"/>
                      </a:lnTo>
                      <a:lnTo>
                        <a:pt x="1041" y="1333"/>
                      </a:lnTo>
                      <a:lnTo>
                        <a:pt x="1041" y="1321"/>
                      </a:lnTo>
                      <a:lnTo>
                        <a:pt x="1025" y="1316"/>
                      </a:lnTo>
                      <a:lnTo>
                        <a:pt x="1030" y="1300"/>
                      </a:lnTo>
                      <a:lnTo>
                        <a:pt x="1008" y="1300"/>
                      </a:lnTo>
                      <a:lnTo>
                        <a:pt x="1025" y="1295"/>
                      </a:lnTo>
                      <a:lnTo>
                        <a:pt x="975" y="1295"/>
                      </a:lnTo>
                      <a:lnTo>
                        <a:pt x="971" y="1283"/>
                      </a:lnTo>
                      <a:lnTo>
                        <a:pt x="971" y="1276"/>
                      </a:lnTo>
                      <a:lnTo>
                        <a:pt x="971" y="1266"/>
                      </a:lnTo>
                      <a:lnTo>
                        <a:pt x="933" y="1283"/>
                      </a:lnTo>
                      <a:lnTo>
                        <a:pt x="937" y="1259"/>
                      </a:lnTo>
                      <a:lnTo>
                        <a:pt x="878" y="1238"/>
                      </a:lnTo>
                      <a:lnTo>
                        <a:pt x="862" y="1250"/>
                      </a:lnTo>
                      <a:lnTo>
                        <a:pt x="857" y="1226"/>
                      </a:lnTo>
                      <a:lnTo>
                        <a:pt x="760" y="1222"/>
                      </a:lnTo>
                      <a:lnTo>
                        <a:pt x="756" y="1205"/>
                      </a:lnTo>
                      <a:lnTo>
                        <a:pt x="722" y="1210"/>
                      </a:lnTo>
                      <a:lnTo>
                        <a:pt x="718" y="1222"/>
                      </a:lnTo>
                      <a:lnTo>
                        <a:pt x="706" y="1205"/>
                      </a:lnTo>
                      <a:lnTo>
                        <a:pt x="680" y="1193"/>
                      </a:lnTo>
                      <a:lnTo>
                        <a:pt x="652" y="1222"/>
                      </a:lnTo>
                      <a:lnTo>
                        <a:pt x="630" y="1226"/>
                      </a:lnTo>
                      <a:lnTo>
                        <a:pt x="614" y="1222"/>
                      </a:lnTo>
                      <a:lnTo>
                        <a:pt x="626" y="1205"/>
                      </a:lnTo>
                      <a:lnTo>
                        <a:pt x="597" y="1193"/>
                      </a:lnTo>
                      <a:lnTo>
                        <a:pt x="609" y="1205"/>
                      </a:lnTo>
                      <a:lnTo>
                        <a:pt x="597" y="1222"/>
                      </a:lnTo>
                      <a:lnTo>
                        <a:pt x="588" y="1210"/>
                      </a:lnTo>
                      <a:lnTo>
                        <a:pt x="588" y="1226"/>
                      </a:lnTo>
                      <a:lnTo>
                        <a:pt x="593" y="1226"/>
                      </a:lnTo>
                      <a:lnTo>
                        <a:pt x="538" y="1226"/>
                      </a:lnTo>
                      <a:lnTo>
                        <a:pt x="538" y="1238"/>
                      </a:lnTo>
                      <a:lnTo>
                        <a:pt x="534" y="1243"/>
                      </a:lnTo>
                      <a:lnTo>
                        <a:pt x="500" y="1238"/>
                      </a:lnTo>
                      <a:lnTo>
                        <a:pt x="517" y="1222"/>
                      </a:lnTo>
                      <a:lnTo>
                        <a:pt x="508" y="1222"/>
                      </a:lnTo>
                      <a:lnTo>
                        <a:pt x="522" y="1210"/>
                      </a:lnTo>
                      <a:lnTo>
                        <a:pt x="508" y="1210"/>
                      </a:lnTo>
                      <a:lnTo>
                        <a:pt x="479" y="1205"/>
                      </a:lnTo>
                      <a:lnTo>
                        <a:pt x="463" y="1238"/>
                      </a:lnTo>
                      <a:lnTo>
                        <a:pt x="425" y="1210"/>
                      </a:lnTo>
                      <a:lnTo>
                        <a:pt x="399" y="1226"/>
                      </a:lnTo>
                      <a:lnTo>
                        <a:pt x="463" y="1259"/>
                      </a:lnTo>
                      <a:lnTo>
                        <a:pt x="311" y="1238"/>
                      </a:lnTo>
                      <a:lnTo>
                        <a:pt x="323" y="1226"/>
                      </a:lnTo>
                      <a:lnTo>
                        <a:pt x="290" y="1226"/>
                      </a:lnTo>
                      <a:lnTo>
                        <a:pt x="302" y="1222"/>
                      </a:lnTo>
                      <a:lnTo>
                        <a:pt x="236" y="1193"/>
                      </a:lnTo>
                      <a:lnTo>
                        <a:pt x="302" y="1165"/>
                      </a:lnTo>
                      <a:lnTo>
                        <a:pt x="356" y="1165"/>
                      </a:lnTo>
                      <a:lnTo>
                        <a:pt x="356" y="1148"/>
                      </a:lnTo>
                      <a:lnTo>
                        <a:pt x="269" y="1148"/>
                      </a:lnTo>
                      <a:lnTo>
                        <a:pt x="205" y="1132"/>
                      </a:lnTo>
                      <a:lnTo>
                        <a:pt x="248" y="1099"/>
                      </a:lnTo>
                      <a:lnTo>
                        <a:pt x="236" y="1099"/>
                      </a:lnTo>
                      <a:lnTo>
                        <a:pt x="177" y="1132"/>
                      </a:lnTo>
                      <a:lnTo>
                        <a:pt x="144" y="1115"/>
                      </a:lnTo>
                      <a:lnTo>
                        <a:pt x="160" y="1111"/>
                      </a:lnTo>
                      <a:lnTo>
                        <a:pt x="130" y="1111"/>
                      </a:lnTo>
                      <a:lnTo>
                        <a:pt x="113" y="1094"/>
                      </a:lnTo>
                      <a:lnTo>
                        <a:pt x="151" y="1077"/>
                      </a:lnTo>
                      <a:lnTo>
                        <a:pt x="144" y="1073"/>
                      </a:lnTo>
                      <a:lnTo>
                        <a:pt x="198" y="1061"/>
                      </a:lnTo>
                      <a:lnTo>
                        <a:pt x="463" y="1077"/>
                      </a:lnTo>
                      <a:lnTo>
                        <a:pt x="479" y="1073"/>
                      </a:lnTo>
                      <a:lnTo>
                        <a:pt x="432" y="1077"/>
                      </a:lnTo>
                      <a:lnTo>
                        <a:pt x="274" y="1061"/>
                      </a:lnTo>
                      <a:lnTo>
                        <a:pt x="378" y="1037"/>
                      </a:lnTo>
                      <a:lnTo>
                        <a:pt x="479" y="1061"/>
                      </a:lnTo>
                      <a:lnTo>
                        <a:pt x="446" y="1037"/>
                      </a:lnTo>
                      <a:lnTo>
                        <a:pt x="484" y="1021"/>
                      </a:lnTo>
                      <a:lnTo>
                        <a:pt x="470" y="1004"/>
                      </a:lnTo>
                      <a:lnTo>
                        <a:pt x="437" y="1000"/>
                      </a:lnTo>
                      <a:lnTo>
                        <a:pt x="415" y="1000"/>
                      </a:lnTo>
                      <a:lnTo>
                        <a:pt x="382" y="1021"/>
                      </a:lnTo>
                      <a:lnTo>
                        <a:pt x="328" y="1021"/>
                      </a:lnTo>
                      <a:lnTo>
                        <a:pt x="302" y="1000"/>
                      </a:lnTo>
                      <a:lnTo>
                        <a:pt x="290" y="1000"/>
                      </a:lnTo>
                      <a:lnTo>
                        <a:pt x="307" y="1021"/>
                      </a:lnTo>
                      <a:lnTo>
                        <a:pt x="257" y="1028"/>
                      </a:lnTo>
                      <a:lnTo>
                        <a:pt x="193" y="1016"/>
                      </a:lnTo>
                      <a:lnTo>
                        <a:pt x="248" y="1000"/>
                      </a:lnTo>
                      <a:lnTo>
                        <a:pt x="248" y="983"/>
                      </a:lnTo>
                      <a:lnTo>
                        <a:pt x="167" y="1000"/>
                      </a:lnTo>
                      <a:lnTo>
                        <a:pt x="215" y="971"/>
                      </a:lnTo>
                      <a:lnTo>
                        <a:pt x="122" y="983"/>
                      </a:lnTo>
                      <a:lnTo>
                        <a:pt x="113" y="983"/>
                      </a:lnTo>
                      <a:lnTo>
                        <a:pt x="130" y="966"/>
                      </a:lnTo>
                      <a:lnTo>
                        <a:pt x="75" y="966"/>
                      </a:lnTo>
                      <a:lnTo>
                        <a:pt x="42" y="945"/>
                      </a:lnTo>
                      <a:lnTo>
                        <a:pt x="54" y="945"/>
                      </a:lnTo>
                      <a:lnTo>
                        <a:pt x="0" y="917"/>
                      </a:lnTo>
                      <a:lnTo>
                        <a:pt x="37" y="905"/>
                      </a:lnTo>
                      <a:lnTo>
                        <a:pt x="16" y="893"/>
                      </a:lnTo>
                      <a:lnTo>
                        <a:pt x="30" y="877"/>
                      </a:lnTo>
                      <a:lnTo>
                        <a:pt x="30" y="872"/>
                      </a:lnTo>
                      <a:lnTo>
                        <a:pt x="30" y="860"/>
                      </a:lnTo>
                      <a:lnTo>
                        <a:pt x="97" y="851"/>
                      </a:lnTo>
                      <a:lnTo>
                        <a:pt x="151" y="851"/>
                      </a:lnTo>
                      <a:lnTo>
                        <a:pt x="160" y="839"/>
                      </a:lnTo>
                      <a:lnTo>
                        <a:pt x="269" y="806"/>
                      </a:lnTo>
                      <a:lnTo>
                        <a:pt x="302" y="815"/>
                      </a:lnTo>
                      <a:lnTo>
                        <a:pt x="269" y="799"/>
                      </a:lnTo>
                      <a:lnTo>
                        <a:pt x="328" y="778"/>
                      </a:lnTo>
                      <a:lnTo>
                        <a:pt x="371" y="782"/>
                      </a:lnTo>
                      <a:lnTo>
                        <a:pt x="382" y="766"/>
                      </a:lnTo>
                      <a:lnTo>
                        <a:pt x="491" y="778"/>
                      </a:lnTo>
                      <a:lnTo>
                        <a:pt x="576" y="704"/>
                      </a:lnTo>
                      <a:lnTo>
                        <a:pt x="555" y="655"/>
                      </a:lnTo>
                      <a:lnTo>
                        <a:pt x="559" y="638"/>
                      </a:lnTo>
                      <a:lnTo>
                        <a:pt x="555" y="629"/>
                      </a:lnTo>
                      <a:lnTo>
                        <a:pt x="647" y="600"/>
                      </a:lnTo>
                      <a:lnTo>
                        <a:pt x="626" y="600"/>
                      </a:lnTo>
                      <a:lnTo>
                        <a:pt x="614" y="584"/>
                      </a:lnTo>
                      <a:lnTo>
                        <a:pt x="609" y="600"/>
                      </a:lnTo>
                      <a:lnTo>
                        <a:pt x="571" y="617"/>
                      </a:lnTo>
                      <a:lnTo>
                        <a:pt x="415" y="617"/>
                      </a:lnTo>
                      <a:lnTo>
                        <a:pt x="408" y="600"/>
                      </a:lnTo>
                      <a:lnTo>
                        <a:pt x="382" y="596"/>
                      </a:lnTo>
                      <a:lnTo>
                        <a:pt x="394" y="572"/>
                      </a:lnTo>
                      <a:lnTo>
                        <a:pt x="437" y="555"/>
                      </a:lnTo>
                      <a:lnTo>
                        <a:pt x="437" y="539"/>
                      </a:lnTo>
                      <a:lnTo>
                        <a:pt x="522" y="518"/>
                      </a:lnTo>
                      <a:lnTo>
                        <a:pt x="517" y="506"/>
                      </a:lnTo>
                      <a:lnTo>
                        <a:pt x="555" y="501"/>
                      </a:lnTo>
                      <a:lnTo>
                        <a:pt x="559" y="489"/>
                      </a:lnTo>
                      <a:lnTo>
                        <a:pt x="559" y="485"/>
                      </a:lnTo>
                      <a:lnTo>
                        <a:pt x="588" y="473"/>
                      </a:lnTo>
                      <a:lnTo>
                        <a:pt x="576" y="461"/>
                      </a:lnTo>
                      <a:lnTo>
                        <a:pt x="652" y="433"/>
                      </a:lnTo>
                      <a:lnTo>
                        <a:pt x="668" y="444"/>
                      </a:lnTo>
                      <a:lnTo>
                        <a:pt x="680" y="466"/>
                      </a:lnTo>
                      <a:lnTo>
                        <a:pt x="718" y="501"/>
                      </a:lnTo>
                      <a:lnTo>
                        <a:pt x="722" y="501"/>
                      </a:lnTo>
                      <a:lnTo>
                        <a:pt x="685" y="466"/>
                      </a:lnTo>
                      <a:lnTo>
                        <a:pt x="680" y="433"/>
                      </a:lnTo>
                      <a:lnTo>
                        <a:pt x="718" y="416"/>
                      </a:lnTo>
                      <a:lnTo>
                        <a:pt x="803" y="449"/>
                      </a:lnTo>
                      <a:lnTo>
                        <a:pt x="841" y="444"/>
                      </a:lnTo>
                      <a:lnTo>
                        <a:pt x="848" y="433"/>
                      </a:lnTo>
                      <a:lnTo>
                        <a:pt x="824" y="395"/>
                      </a:lnTo>
                      <a:lnTo>
                        <a:pt x="862" y="374"/>
                      </a:lnTo>
                      <a:lnTo>
                        <a:pt x="810" y="333"/>
                      </a:lnTo>
                      <a:lnTo>
                        <a:pt x="857" y="305"/>
                      </a:lnTo>
                      <a:lnTo>
                        <a:pt x="911" y="300"/>
                      </a:lnTo>
                      <a:lnTo>
                        <a:pt x="992" y="305"/>
                      </a:lnTo>
                      <a:lnTo>
                        <a:pt x="1008" y="350"/>
                      </a:lnTo>
                      <a:lnTo>
                        <a:pt x="1079" y="355"/>
                      </a:lnTo>
                      <a:lnTo>
                        <a:pt x="1112" y="390"/>
                      </a:lnTo>
                      <a:lnTo>
                        <a:pt x="1155" y="407"/>
                      </a:lnTo>
                      <a:lnTo>
                        <a:pt x="1164" y="407"/>
                      </a:lnTo>
                      <a:lnTo>
                        <a:pt x="1046" y="350"/>
                      </a:lnTo>
                      <a:lnTo>
                        <a:pt x="1020" y="305"/>
                      </a:lnTo>
                      <a:lnTo>
                        <a:pt x="949" y="296"/>
                      </a:lnTo>
                      <a:lnTo>
                        <a:pt x="1155" y="244"/>
                      </a:lnTo>
                      <a:lnTo>
                        <a:pt x="1171" y="263"/>
                      </a:lnTo>
                      <a:lnTo>
                        <a:pt x="1202" y="244"/>
                      </a:lnTo>
                      <a:lnTo>
                        <a:pt x="1247" y="244"/>
                      </a:lnTo>
                      <a:lnTo>
                        <a:pt x="1240" y="251"/>
                      </a:lnTo>
                      <a:lnTo>
                        <a:pt x="1256" y="263"/>
                      </a:lnTo>
                      <a:lnTo>
                        <a:pt x="1247" y="239"/>
                      </a:lnTo>
                      <a:lnTo>
                        <a:pt x="1226" y="239"/>
                      </a:lnTo>
                      <a:lnTo>
                        <a:pt x="1301" y="222"/>
                      </a:lnTo>
                      <a:lnTo>
                        <a:pt x="1365" y="267"/>
                      </a:lnTo>
                      <a:lnTo>
                        <a:pt x="1370" y="305"/>
                      </a:lnTo>
                      <a:lnTo>
                        <a:pt x="1348" y="338"/>
                      </a:lnTo>
                      <a:lnTo>
                        <a:pt x="1348" y="362"/>
                      </a:lnTo>
                      <a:lnTo>
                        <a:pt x="1370" y="374"/>
                      </a:lnTo>
                      <a:lnTo>
                        <a:pt x="1365" y="350"/>
                      </a:lnTo>
                      <a:lnTo>
                        <a:pt x="1408" y="317"/>
                      </a:lnTo>
                      <a:lnTo>
                        <a:pt x="1403" y="284"/>
                      </a:lnTo>
                      <a:lnTo>
                        <a:pt x="1516" y="305"/>
                      </a:lnTo>
                      <a:lnTo>
                        <a:pt x="1618" y="355"/>
                      </a:lnTo>
                      <a:lnTo>
                        <a:pt x="1641" y="350"/>
                      </a:lnTo>
                      <a:lnTo>
                        <a:pt x="1542" y="300"/>
                      </a:lnTo>
                      <a:lnTo>
                        <a:pt x="1625" y="305"/>
                      </a:lnTo>
                      <a:lnTo>
                        <a:pt x="1656" y="300"/>
                      </a:lnTo>
                      <a:lnTo>
                        <a:pt x="1566" y="251"/>
                      </a:lnTo>
                      <a:lnTo>
                        <a:pt x="1533" y="194"/>
                      </a:lnTo>
                      <a:lnTo>
                        <a:pt x="1672" y="206"/>
                      </a:lnTo>
                      <a:lnTo>
                        <a:pt x="1785" y="263"/>
                      </a:lnTo>
                      <a:lnTo>
                        <a:pt x="1873" y="279"/>
                      </a:lnTo>
                      <a:lnTo>
                        <a:pt x="1894" y="284"/>
                      </a:lnTo>
                      <a:lnTo>
                        <a:pt x="1889" y="300"/>
                      </a:lnTo>
                      <a:lnTo>
                        <a:pt x="1991" y="333"/>
                      </a:lnTo>
                      <a:lnTo>
                        <a:pt x="2019" y="317"/>
                      </a:lnTo>
                      <a:lnTo>
                        <a:pt x="1982" y="300"/>
                      </a:lnTo>
                      <a:lnTo>
                        <a:pt x="2003" y="296"/>
                      </a:lnTo>
                      <a:lnTo>
                        <a:pt x="1974" y="296"/>
                      </a:lnTo>
                      <a:lnTo>
                        <a:pt x="1996" y="279"/>
                      </a:lnTo>
                      <a:lnTo>
                        <a:pt x="1982" y="251"/>
                      </a:lnTo>
                      <a:lnTo>
                        <a:pt x="1991" y="239"/>
                      </a:lnTo>
                      <a:lnTo>
                        <a:pt x="2154" y="251"/>
                      </a:lnTo>
                      <a:lnTo>
                        <a:pt x="2050" y="227"/>
                      </a:lnTo>
                      <a:lnTo>
                        <a:pt x="2045" y="222"/>
                      </a:lnTo>
                      <a:lnTo>
                        <a:pt x="2050" y="222"/>
                      </a:lnTo>
                      <a:lnTo>
                        <a:pt x="1911" y="152"/>
                      </a:lnTo>
                      <a:lnTo>
                        <a:pt x="2163" y="152"/>
                      </a:lnTo>
                      <a:lnTo>
                        <a:pt x="2175" y="156"/>
                      </a:lnTo>
                      <a:lnTo>
                        <a:pt x="2163" y="168"/>
                      </a:lnTo>
                      <a:lnTo>
                        <a:pt x="2192" y="173"/>
                      </a:lnTo>
                      <a:lnTo>
                        <a:pt x="2192" y="194"/>
                      </a:lnTo>
                      <a:lnTo>
                        <a:pt x="2196" y="206"/>
                      </a:lnTo>
                      <a:lnTo>
                        <a:pt x="2208" y="194"/>
                      </a:lnTo>
                      <a:lnTo>
                        <a:pt x="2208" y="173"/>
                      </a:lnTo>
                      <a:lnTo>
                        <a:pt x="2180" y="156"/>
                      </a:lnTo>
                      <a:lnTo>
                        <a:pt x="2208" y="156"/>
                      </a:lnTo>
                      <a:lnTo>
                        <a:pt x="2298" y="189"/>
                      </a:lnTo>
                      <a:lnTo>
                        <a:pt x="2322" y="222"/>
                      </a:lnTo>
                      <a:lnTo>
                        <a:pt x="2336" y="222"/>
                      </a:lnTo>
                      <a:lnTo>
                        <a:pt x="2315" y="189"/>
                      </a:lnTo>
                      <a:lnTo>
                        <a:pt x="2326" y="178"/>
                      </a:lnTo>
                      <a:lnTo>
                        <a:pt x="2322" y="173"/>
                      </a:lnTo>
                      <a:lnTo>
                        <a:pt x="2305" y="168"/>
                      </a:lnTo>
                      <a:lnTo>
                        <a:pt x="2159" y="135"/>
                      </a:lnTo>
                      <a:lnTo>
                        <a:pt x="1958" y="123"/>
                      </a:lnTo>
                      <a:lnTo>
                        <a:pt x="1974" y="135"/>
                      </a:lnTo>
                      <a:lnTo>
                        <a:pt x="1894" y="140"/>
                      </a:lnTo>
                      <a:lnTo>
                        <a:pt x="1835" y="116"/>
                      </a:lnTo>
                      <a:lnTo>
                        <a:pt x="1894" y="123"/>
                      </a:lnTo>
                      <a:lnTo>
                        <a:pt x="1840" y="111"/>
                      </a:lnTo>
                      <a:lnTo>
                        <a:pt x="1894" y="95"/>
                      </a:lnTo>
                      <a:lnTo>
                        <a:pt x="1958" y="123"/>
                      </a:lnTo>
                      <a:lnTo>
                        <a:pt x="2083" y="123"/>
                      </a:lnTo>
                      <a:lnTo>
                        <a:pt x="1974" y="111"/>
                      </a:lnTo>
                      <a:lnTo>
                        <a:pt x="1927" y="83"/>
                      </a:lnTo>
                      <a:lnTo>
                        <a:pt x="1937" y="83"/>
                      </a:lnTo>
                      <a:lnTo>
                        <a:pt x="2109" y="95"/>
                      </a:lnTo>
                      <a:lnTo>
                        <a:pt x="2033" y="67"/>
                      </a:lnTo>
                      <a:lnTo>
                        <a:pt x="2109" y="67"/>
                      </a:lnTo>
                      <a:lnTo>
                        <a:pt x="2083" y="67"/>
                      </a:lnTo>
                      <a:lnTo>
                        <a:pt x="2126" y="62"/>
                      </a:lnTo>
                      <a:lnTo>
                        <a:pt x="2196" y="78"/>
                      </a:lnTo>
                      <a:lnTo>
                        <a:pt x="2180" y="95"/>
                      </a:lnTo>
                      <a:lnTo>
                        <a:pt x="2208" y="83"/>
                      </a:lnTo>
                      <a:lnTo>
                        <a:pt x="2272" y="116"/>
                      </a:lnTo>
                      <a:lnTo>
                        <a:pt x="2352" y="116"/>
                      </a:lnTo>
                      <a:lnTo>
                        <a:pt x="2411" y="156"/>
                      </a:lnTo>
                      <a:lnTo>
                        <a:pt x="2423" y="140"/>
                      </a:lnTo>
                      <a:lnTo>
                        <a:pt x="2374" y="116"/>
                      </a:lnTo>
                      <a:lnTo>
                        <a:pt x="2504" y="111"/>
                      </a:lnTo>
                      <a:lnTo>
                        <a:pt x="2397" y="100"/>
                      </a:lnTo>
                      <a:lnTo>
                        <a:pt x="2537" y="83"/>
                      </a:lnTo>
                      <a:lnTo>
                        <a:pt x="2407" y="67"/>
                      </a:lnTo>
                      <a:lnTo>
                        <a:pt x="2397" y="62"/>
                      </a:lnTo>
                      <a:lnTo>
                        <a:pt x="2397" y="29"/>
                      </a:lnTo>
                      <a:lnTo>
                        <a:pt x="2466" y="45"/>
                      </a:lnTo>
                      <a:lnTo>
                        <a:pt x="2478" y="45"/>
                      </a:lnTo>
                      <a:lnTo>
                        <a:pt x="2449" y="29"/>
                      </a:lnTo>
                      <a:lnTo>
                        <a:pt x="2482" y="24"/>
                      </a:lnTo>
                      <a:lnTo>
                        <a:pt x="2570" y="45"/>
                      </a:lnTo>
                      <a:lnTo>
                        <a:pt x="2537" y="24"/>
                      </a:lnTo>
                      <a:lnTo>
                        <a:pt x="2714" y="0"/>
                      </a:lnTo>
                      <a:lnTo>
                        <a:pt x="2747" y="29"/>
                      </a:lnTo>
                      <a:lnTo>
                        <a:pt x="2752" y="24"/>
                      </a:lnTo>
                      <a:lnTo>
                        <a:pt x="2730" y="5"/>
                      </a:lnTo>
                      <a:lnTo>
                        <a:pt x="2990" y="0"/>
                      </a:lnTo>
                      <a:lnTo>
                        <a:pt x="3125" y="24"/>
                      </a:lnTo>
                      <a:lnTo>
                        <a:pt x="3092" y="24"/>
                      </a:lnTo>
                      <a:lnTo>
                        <a:pt x="3115" y="41"/>
                      </a:lnTo>
                      <a:lnTo>
                        <a:pt x="3200" y="24"/>
                      </a:lnTo>
                      <a:lnTo>
                        <a:pt x="3326" y="57"/>
                      </a:lnTo>
                      <a:lnTo>
                        <a:pt x="3233" y="83"/>
                      </a:lnTo>
                      <a:lnTo>
                        <a:pt x="3016" y="78"/>
                      </a:lnTo>
                      <a:lnTo>
                        <a:pt x="2882" y="100"/>
                      </a:lnTo>
                      <a:lnTo>
                        <a:pt x="2775" y="83"/>
                      </a:lnTo>
                      <a:lnTo>
                        <a:pt x="2844" y="100"/>
                      </a:lnTo>
                      <a:lnTo>
                        <a:pt x="2624" y="123"/>
                      </a:lnTo>
                      <a:lnTo>
                        <a:pt x="2645" y="135"/>
                      </a:lnTo>
                      <a:lnTo>
                        <a:pt x="2629" y="152"/>
                      </a:lnTo>
                      <a:lnTo>
                        <a:pt x="2638" y="156"/>
                      </a:lnTo>
                      <a:lnTo>
                        <a:pt x="2645" y="140"/>
                      </a:lnTo>
                      <a:lnTo>
                        <a:pt x="2676" y="123"/>
                      </a:lnTo>
                      <a:lnTo>
                        <a:pt x="2747" y="123"/>
                      </a:lnTo>
                      <a:lnTo>
                        <a:pt x="2752" y="140"/>
                      </a:lnTo>
                      <a:lnTo>
                        <a:pt x="2737" y="152"/>
                      </a:lnTo>
                      <a:lnTo>
                        <a:pt x="2747" y="152"/>
                      </a:lnTo>
                      <a:lnTo>
                        <a:pt x="2768" y="116"/>
                      </a:lnTo>
                      <a:lnTo>
                        <a:pt x="2877" y="111"/>
                      </a:lnTo>
                      <a:lnTo>
                        <a:pt x="2898" y="123"/>
                      </a:lnTo>
                      <a:lnTo>
                        <a:pt x="3016" y="83"/>
                      </a:lnTo>
                      <a:lnTo>
                        <a:pt x="3146" y="100"/>
                      </a:lnTo>
                      <a:lnTo>
                        <a:pt x="3352" y="78"/>
                      </a:lnTo>
                      <a:lnTo>
                        <a:pt x="3380" y="95"/>
                      </a:lnTo>
                      <a:lnTo>
                        <a:pt x="3368" y="95"/>
                      </a:lnTo>
                      <a:lnTo>
                        <a:pt x="3385" y="111"/>
                      </a:lnTo>
                      <a:lnTo>
                        <a:pt x="3352" y="140"/>
                      </a:lnTo>
                      <a:lnTo>
                        <a:pt x="3309" y="152"/>
                      </a:lnTo>
                      <a:lnTo>
                        <a:pt x="3439" y="123"/>
                      </a:lnTo>
                      <a:lnTo>
                        <a:pt x="3448" y="135"/>
                      </a:lnTo>
                      <a:lnTo>
                        <a:pt x="3439" y="135"/>
                      </a:lnTo>
                      <a:lnTo>
                        <a:pt x="3439" y="156"/>
                      </a:lnTo>
                      <a:lnTo>
                        <a:pt x="3477" y="135"/>
                      </a:lnTo>
                      <a:lnTo>
                        <a:pt x="3628" y="178"/>
                      </a:lnTo>
                      <a:lnTo>
                        <a:pt x="3545" y="227"/>
                      </a:lnTo>
                      <a:lnTo>
                        <a:pt x="3363" y="263"/>
                      </a:lnTo>
                      <a:lnTo>
                        <a:pt x="3028" y="267"/>
                      </a:lnTo>
                      <a:lnTo>
                        <a:pt x="2910" y="251"/>
                      </a:lnTo>
                      <a:lnTo>
                        <a:pt x="3023" y="267"/>
                      </a:lnTo>
                      <a:lnTo>
                        <a:pt x="2801" y="322"/>
                      </a:lnTo>
                      <a:lnTo>
                        <a:pt x="2806" y="350"/>
                      </a:lnTo>
                      <a:lnTo>
                        <a:pt x="2898" y="317"/>
                      </a:lnTo>
                      <a:lnTo>
                        <a:pt x="3040" y="300"/>
                      </a:lnTo>
                      <a:lnTo>
                        <a:pt x="3028" y="305"/>
                      </a:lnTo>
                      <a:lnTo>
                        <a:pt x="3044" y="305"/>
                      </a:lnTo>
                      <a:lnTo>
                        <a:pt x="3082" y="296"/>
                      </a:lnTo>
                      <a:lnTo>
                        <a:pt x="3352" y="296"/>
                      </a:lnTo>
                      <a:lnTo>
                        <a:pt x="3347" y="317"/>
                      </a:lnTo>
                      <a:lnTo>
                        <a:pt x="3342" y="333"/>
                      </a:lnTo>
                      <a:lnTo>
                        <a:pt x="3184" y="378"/>
                      </a:lnTo>
                      <a:lnTo>
                        <a:pt x="3217" y="390"/>
                      </a:lnTo>
                      <a:lnTo>
                        <a:pt x="3184" y="395"/>
                      </a:lnTo>
                      <a:lnTo>
                        <a:pt x="3205" y="395"/>
                      </a:lnTo>
                      <a:lnTo>
                        <a:pt x="3368" y="338"/>
                      </a:lnTo>
                      <a:lnTo>
                        <a:pt x="3422" y="338"/>
                      </a:lnTo>
                      <a:lnTo>
                        <a:pt x="3432" y="333"/>
                      </a:lnTo>
                      <a:lnTo>
                        <a:pt x="3432" y="300"/>
                      </a:lnTo>
                      <a:lnTo>
                        <a:pt x="3439" y="284"/>
                      </a:lnTo>
                      <a:lnTo>
                        <a:pt x="3557" y="279"/>
                      </a:lnTo>
                      <a:lnTo>
                        <a:pt x="3578" y="300"/>
                      </a:lnTo>
                      <a:lnTo>
                        <a:pt x="3578" y="333"/>
                      </a:lnTo>
                      <a:lnTo>
                        <a:pt x="3562" y="378"/>
                      </a:lnTo>
                      <a:lnTo>
                        <a:pt x="3541" y="407"/>
                      </a:lnTo>
                      <a:lnTo>
                        <a:pt x="3507" y="411"/>
                      </a:lnTo>
                      <a:lnTo>
                        <a:pt x="3524" y="411"/>
                      </a:lnTo>
                      <a:lnTo>
                        <a:pt x="3448" y="473"/>
                      </a:lnTo>
                      <a:lnTo>
                        <a:pt x="3456" y="489"/>
                      </a:lnTo>
                      <a:lnTo>
                        <a:pt x="3439" y="506"/>
                      </a:lnTo>
                      <a:lnTo>
                        <a:pt x="3406" y="518"/>
                      </a:lnTo>
                      <a:lnTo>
                        <a:pt x="3432" y="518"/>
                      </a:lnTo>
                      <a:lnTo>
                        <a:pt x="3401" y="539"/>
                      </a:lnTo>
                      <a:lnTo>
                        <a:pt x="3465" y="506"/>
                      </a:lnTo>
                      <a:lnTo>
                        <a:pt x="3470" y="489"/>
                      </a:lnTo>
                      <a:lnTo>
                        <a:pt x="3470" y="473"/>
                      </a:lnTo>
                      <a:lnTo>
                        <a:pt x="3524" y="461"/>
                      </a:lnTo>
                      <a:lnTo>
                        <a:pt x="3666" y="362"/>
                      </a:lnTo>
                      <a:lnTo>
                        <a:pt x="3725" y="338"/>
                      </a:lnTo>
                      <a:lnTo>
                        <a:pt x="3704" y="355"/>
                      </a:lnTo>
                      <a:lnTo>
                        <a:pt x="3692" y="378"/>
                      </a:lnTo>
                      <a:lnTo>
                        <a:pt x="3772" y="362"/>
                      </a:lnTo>
                      <a:lnTo>
                        <a:pt x="3796" y="378"/>
                      </a:lnTo>
                      <a:lnTo>
                        <a:pt x="3810" y="374"/>
                      </a:lnTo>
                      <a:lnTo>
                        <a:pt x="3855" y="378"/>
                      </a:lnTo>
                      <a:lnTo>
                        <a:pt x="3855" y="362"/>
                      </a:lnTo>
                      <a:lnTo>
                        <a:pt x="3885" y="355"/>
                      </a:lnTo>
                      <a:lnTo>
                        <a:pt x="3864" y="350"/>
                      </a:lnTo>
                      <a:lnTo>
                        <a:pt x="3871" y="333"/>
                      </a:lnTo>
                      <a:lnTo>
                        <a:pt x="3902" y="338"/>
                      </a:lnTo>
                      <a:lnTo>
                        <a:pt x="3897" y="333"/>
                      </a:lnTo>
                      <a:lnTo>
                        <a:pt x="3897" y="317"/>
                      </a:lnTo>
                      <a:lnTo>
                        <a:pt x="3935" y="317"/>
                      </a:lnTo>
                      <a:lnTo>
                        <a:pt x="3952" y="300"/>
                      </a:lnTo>
                      <a:lnTo>
                        <a:pt x="4086" y="300"/>
                      </a:lnTo>
                      <a:lnTo>
                        <a:pt x="4195" y="322"/>
                      </a:lnTo>
                      <a:lnTo>
                        <a:pt x="4263" y="355"/>
                      </a:lnTo>
                      <a:lnTo>
                        <a:pt x="4136" y="433"/>
                      </a:lnTo>
                      <a:lnTo>
                        <a:pt x="4070" y="433"/>
                      </a:lnTo>
                      <a:lnTo>
                        <a:pt x="4060" y="444"/>
                      </a:lnTo>
                      <a:lnTo>
                        <a:pt x="4098" y="466"/>
                      </a:lnTo>
                      <a:lnTo>
                        <a:pt x="4011" y="489"/>
                      </a:lnTo>
                      <a:lnTo>
                        <a:pt x="3994" y="506"/>
                      </a:lnTo>
                      <a:lnTo>
                        <a:pt x="3864" y="489"/>
                      </a:lnTo>
                      <a:lnTo>
                        <a:pt x="3855" y="506"/>
                      </a:lnTo>
                      <a:lnTo>
                        <a:pt x="3817" y="522"/>
                      </a:lnTo>
                      <a:lnTo>
                        <a:pt x="3708" y="518"/>
                      </a:lnTo>
                      <a:lnTo>
                        <a:pt x="3682" y="527"/>
                      </a:lnTo>
                      <a:lnTo>
                        <a:pt x="3633" y="527"/>
                      </a:lnTo>
                      <a:lnTo>
                        <a:pt x="3666" y="544"/>
                      </a:lnTo>
                      <a:lnTo>
                        <a:pt x="3720" y="522"/>
                      </a:lnTo>
                      <a:lnTo>
                        <a:pt x="3826" y="539"/>
                      </a:lnTo>
                      <a:lnTo>
                        <a:pt x="3897" y="522"/>
                      </a:lnTo>
                      <a:lnTo>
                        <a:pt x="3994" y="544"/>
                      </a:lnTo>
                      <a:lnTo>
                        <a:pt x="3961" y="560"/>
                      </a:lnTo>
                      <a:lnTo>
                        <a:pt x="3952" y="560"/>
                      </a:lnTo>
                      <a:lnTo>
                        <a:pt x="3956" y="572"/>
                      </a:lnTo>
                      <a:lnTo>
                        <a:pt x="3918" y="584"/>
                      </a:lnTo>
                      <a:lnTo>
                        <a:pt x="3741" y="577"/>
                      </a:lnTo>
                      <a:lnTo>
                        <a:pt x="3682" y="612"/>
                      </a:lnTo>
                      <a:lnTo>
                        <a:pt x="3692" y="612"/>
                      </a:lnTo>
                      <a:lnTo>
                        <a:pt x="3682" y="629"/>
                      </a:lnTo>
                      <a:lnTo>
                        <a:pt x="3687" y="629"/>
                      </a:lnTo>
                      <a:lnTo>
                        <a:pt x="3666" y="650"/>
                      </a:lnTo>
                      <a:lnTo>
                        <a:pt x="3687" y="650"/>
                      </a:lnTo>
                      <a:lnTo>
                        <a:pt x="3692" y="666"/>
                      </a:lnTo>
                      <a:lnTo>
                        <a:pt x="3725" y="650"/>
                      </a:lnTo>
                      <a:lnTo>
                        <a:pt x="3704" y="655"/>
                      </a:lnTo>
                      <a:lnTo>
                        <a:pt x="3704" y="650"/>
                      </a:lnTo>
                      <a:lnTo>
                        <a:pt x="3720" y="633"/>
                      </a:lnTo>
                      <a:lnTo>
                        <a:pt x="3772" y="612"/>
                      </a:lnTo>
                      <a:lnTo>
                        <a:pt x="3864" y="600"/>
                      </a:lnTo>
                      <a:lnTo>
                        <a:pt x="3897" y="617"/>
                      </a:lnTo>
                      <a:lnTo>
                        <a:pt x="3843" y="666"/>
                      </a:lnTo>
                      <a:lnTo>
                        <a:pt x="3772" y="655"/>
                      </a:lnTo>
                      <a:lnTo>
                        <a:pt x="3746" y="683"/>
                      </a:lnTo>
                      <a:lnTo>
                        <a:pt x="3746" y="695"/>
                      </a:lnTo>
                      <a:lnTo>
                        <a:pt x="3734" y="711"/>
                      </a:lnTo>
                      <a:lnTo>
                        <a:pt x="3741" y="728"/>
                      </a:lnTo>
                      <a:lnTo>
                        <a:pt x="3725" y="761"/>
                      </a:lnTo>
                      <a:lnTo>
                        <a:pt x="3746" y="740"/>
                      </a:lnTo>
                      <a:lnTo>
                        <a:pt x="3779" y="740"/>
                      </a:lnTo>
                      <a:lnTo>
                        <a:pt x="3772" y="749"/>
                      </a:lnTo>
                      <a:lnTo>
                        <a:pt x="3789" y="761"/>
                      </a:lnTo>
                      <a:lnTo>
                        <a:pt x="3763" y="761"/>
                      </a:lnTo>
                      <a:lnTo>
                        <a:pt x="3772" y="744"/>
                      </a:lnTo>
                      <a:lnTo>
                        <a:pt x="3763" y="744"/>
                      </a:lnTo>
                      <a:lnTo>
                        <a:pt x="3746" y="749"/>
                      </a:lnTo>
                      <a:lnTo>
                        <a:pt x="3746" y="766"/>
                      </a:lnTo>
                      <a:lnTo>
                        <a:pt x="3708" y="778"/>
                      </a:lnTo>
                      <a:lnTo>
                        <a:pt x="3725" y="794"/>
                      </a:lnTo>
                      <a:lnTo>
                        <a:pt x="3720" y="806"/>
                      </a:lnTo>
                      <a:lnTo>
                        <a:pt x="3633" y="815"/>
                      </a:lnTo>
                      <a:lnTo>
                        <a:pt x="3654" y="839"/>
                      </a:lnTo>
                      <a:lnTo>
                        <a:pt x="3616" y="851"/>
                      </a:lnTo>
                      <a:lnTo>
                        <a:pt x="3654" y="851"/>
                      </a:lnTo>
                      <a:lnTo>
                        <a:pt x="3628" y="905"/>
                      </a:lnTo>
                      <a:lnTo>
                        <a:pt x="3628" y="910"/>
                      </a:lnTo>
                      <a:lnTo>
                        <a:pt x="3595" y="926"/>
                      </a:lnTo>
                      <a:lnTo>
                        <a:pt x="3616" y="926"/>
                      </a:lnTo>
                      <a:lnTo>
                        <a:pt x="3595" y="945"/>
                      </a:lnTo>
                      <a:lnTo>
                        <a:pt x="3583" y="962"/>
                      </a:lnTo>
                      <a:lnTo>
                        <a:pt x="3611" y="950"/>
                      </a:lnTo>
                      <a:lnTo>
                        <a:pt x="3578" y="1000"/>
                      </a:lnTo>
                      <a:lnTo>
                        <a:pt x="3616" y="1000"/>
                      </a:lnTo>
                      <a:lnTo>
                        <a:pt x="3595" y="1016"/>
                      </a:lnTo>
                      <a:lnTo>
                        <a:pt x="3611" y="1016"/>
                      </a:lnTo>
                      <a:lnTo>
                        <a:pt x="3616" y="1004"/>
                      </a:lnTo>
                      <a:lnTo>
                        <a:pt x="3628" y="971"/>
                      </a:lnTo>
                      <a:lnTo>
                        <a:pt x="3654" y="945"/>
                      </a:lnTo>
                      <a:lnTo>
                        <a:pt x="3692" y="966"/>
                      </a:lnTo>
                      <a:lnTo>
                        <a:pt x="3772" y="983"/>
                      </a:lnTo>
                      <a:lnTo>
                        <a:pt x="3796" y="1004"/>
                      </a:lnTo>
                      <a:lnTo>
                        <a:pt x="3763" y="1016"/>
                      </a:lnTo>
                      <a:lnTo>
                        <a:pt x="3704" y="988"/>
                      </a:lnTo>
                      <a:lnTo>
                        <a:pt x="3654" y="1000"/>
                      </a:lnTo>
                      <a:lnTo>
                        <a:pt x="3704" y="1016"/>
                      </a:lnTo>
                      <a:lnTo>
                        <a:pt x="3670" y="1016"/>
                      </a:lnTo>
                      <a:lnTo>
                        <a:pt x="3692" y="1021"/>
                      </a:lnTo>
                      <a:lnTo>
                        <a:pt x="3649" y="1016"/>
                      </a:lnTo>
                      <a:lnTo>
                        <a:pt x="3720" y="1028"/>
                      </a:lnTo>
                      <a:lnTo>
                        <a:pt x="3666" y="1037"/>
                      </a:lnTo>
                      <a:lnTo>
                        <a:pt x="3741" y="1037"/>
                      </a:lnTo>
                      <a:lnTo>
                        <a:pt x="3763" y="1054"/>
                      </a:lnTo>
                      <a:lnTo>
                        <a:pt x="3758" y="1061"/>
                      </a:lnTo>
                      <a:lnTo>
                        <a:pt x="3789" y="1073"/>
                      </a:lnTo>
                      <a:lnTo>
                        <a:pt x="3789" y="1054"/>
                      </a:lnTo>
                      <a:lnTo>
                        <a:pt x="3796" y="1044"/>
                      </a:lnTo>
                      <a:lnTo>
                        <a:pt x="3833" y="1044"/>
                      </a:lnTo>
                      <a:lnTo>
                        <a:pt x="3843" y="1061"/>
                      </a:lnTo>
                      <a:lnTo>
                        <a:pt x="3848" y="1111"/>
                      </a:lnTo>
                      <a:lnTo>
                        <a:pt x="3843" y="1132"/>
                      </a:lnTo>
                      <a:lnTo>
                        <a:pt x="3826" y="1132"/>
                      </a:lnTo>
                      <a:lnTo>
                        <a:pt x="3826" y="1139"/>
                      </a:lnTo>
                      <a:lnTo>
                        <a:pt x="3796" y="1127"/>
                      </a:lnTo>
                      <a:lnTo>
                        <a:pt x="3670" y="1099"/>
                      </a:lnTo>
                      <a:lnTo>
                        <a:pt x="3649" y="1111"/>
                      </a:lnTo>
                      <a:lnTo>
                        <a:pt x="3682" y="1111"/>
                      </a:lnTo>
                      <a:lnTo>
                        <a:pt x="3595" y="1115"/>
                      </a:lnTo>
                      <a:lnTo>
                        <a:pt x="3654" y="1127"/>
                      </a:lnTo>
                      <a:lnTo>
                        <a:pt x="3628" y="1132"/>
                      </a:lnTo>
                      <a:lnTo>
                        <a:pt x="3611" y="1155"/>
                      </a:lnTo>
                      <a:lnTo>
                        <a:pt x="3562" y="1127"/>
                      </a:lnTo>
                      <a:lnTo>
                        <a:pt x="3545" y="1127"/>
                      </a:lnTo>
                      <a:lnTo>
                        <a:pt x="3545" y="1139"/>
                      </a:lnTo>
                      <a:lnTo>
                        <a:pt x="3524" y="1148"/>
                      </a:lnTo>
                      <a:lnTo>
                        <a:pt x="3557" y="1172"/>
                      </a:lnTo>
                      <a:lnTo>
                        <a:pt x="3557" y="1165"/>
                      </a:lnTo>
                      <a:lnTo>
                        <a:pt x="3562" y="1155"/>
                      </a:lnTo>
                      <a:lnTo>
                        <a:pt x="3595" y="1165"/>
                      </a:lnTo>
                      <a:lnTo>
                        <a:pt x="3600" y="1172"/>
                      </a:lnTo>
                      <a:lnTo>
                        <a:pt x="3578" y="1184"/>
                      </a:lnTo>
                      <a:lnTo>
                        <a:pt x="3600" y="1184"/>
                      </a:lnTo>
                      <a:lnTo>
                        <a:pt x="3541" y="1184"/>
                      </a:lnTo>
                      <a:lnTo>
                        <a:pt x="3611" y="1189"/>
                      </a:lnTo>
                      <a:lnTo>
                        <a:pt x="3600" y="1210"/>
                      </a:lnTo>
                      <a:lnTo>
                        <a:pt x="3637" y="1205"/>
                      </a:lnTo>
                      <a:lnTo>
                        <a:pt x="3682" y="1226"/>
                      </a:lnTo>
                      <a:lnTo>
                        <a:pt x="3687" y="1226"/>
                      </a:lnTo>
                      <a:lnTo>
                        <a:pt x="3637" y="1205"/>
                      </a:lnTo>
                      <a:lnTo>
                        <a:pt x="3734" y="1222"/>
                      </a:lnTo>
                      <a:lnTo>
                        <a:pt x="3741" y="1226"/>
                      </a:lnTo>
                      <a:lnTo>
                        <a:pt x="3741" y="1243"/>
                      </a:lnTo>
                      <a:lnTo>
                        <a:pt x="3692" y="1250"/>
                      </a:lnTo>
                      <a:lnTo>
                        <a:pt x="3578" y="1250"/>
                      </a:lnTo>
                      <a:lnTo>
                        <a:pt x="3734" y="1259"/>
                      </a:lnTo>
                      <a:lnTo>
                        <a:pt x="3746" y="1283"/>
                      </a:lnTo>
                      <a:lnTo>
                        <a:pt x="3746" y="1300"/>
                      </a:lnTo>
                      <a:lnTo>
                        <a:pt x="3763" y="1316"/>
                      </a:lnTo>
                      <a:lnTo>
                        <a:pt x="3763" y="1337"/>
                      </a:lnTo>
                      <a:lnTo>
                        <a:pt x="3758" y="1370"/>
                      </a:lnTo>
                      <a:lnTo>
                        <a:pt x="3725" y="1377"/>
                      </a:lnTo>
                      <a:lnTo>
                        <a:pt x="3720" y="1370"/>
                      </a:lnTo>
                      <a:lnTo>
                        <a:pt x="3725" y="1354"/>
                      </a:lnTo>
                      <a:lnTo>
                        <a:pt x="3708" y="1349"/>
                      </a:lnTo>
                      <a:lnTo>
                        <a:pt x="3670" y="1354"/>
                      </a:lnTo>
                      <a:lnTo>
                        <a:pt x="3616" y="1316"/>
                      </a:lnTo>
                      <a:lnTo>
                        <a:pt x="3562" y="1300"/>
                      </a:lnTo>
                      <a:lnTo>
                        <a:pt x="3616" y="1333"/>
                      </a:lnTo>
                      <a:lnTo>
                        <a:pt x="3541" y="1316"/>
                      </a:lnTo>
                      <a:lnTo>
                        <a:pt x="3616" y="1333"/>
                      </a:lnTo>
                      <a:lnTo>
                        <a:pt x="3682" y="1377"/>
                      </a:lnTo>
                      <a:lnTo>
                        <a:pt x="3633" y="1377"/>
                      </a:lnTo>
                      <a:lnTo>
                        <a:pt x="3595" y="1406"/>
                      </a:lnTo>
                      <a:lnTo>
                        <a:pt x="3545" y="1370"/>
                      </a:lnTo>
                      <a:lnTo>
                        <a:pt x="3595" y="1406"/>
                      </a:lnTo>
                      <a:lnTo>
                        <a:pt x="3637" y="1387"/>
                      </a:lnTo>
                      <a:lnTo>
                        <a:pt x="3670" y="1387"/>
                      </a:lnTo>
                      <a:lnTo>
                        <a:pt x="3666" y="1415"/>
                      </a:lnTo>
                      <a:lnTo>
                        <a:pt x="3682" y="1432"/>
                      </a:lnTo>
                      <a:lnTo>
                        <a:pt x="3637" y="1444"/>
                      </a:lnTo>
                      <a:lnTo>
                        <a:pt x="3704" y="1444"/>
                      </a:lnTo>
                      <a:lnTo>
                        <a:pt x="3734" y="1460"/>
                      </a:lnTo>
                      <a:lnTo>
                        <a:pt x="3763" y="1444"/>
                      </a:lnTo>
                      <a:lnTo>
                        <a:pt x="3772" y="1448"/>
                      </a:lnTo>
                      <a:lnTo>
                        <a:pt x="3772" y="1465"/>
                      </a:lnTo>
                      <a:lnTo>
                        <a:pt x="3789" y="1472"/>
                      </a:lnTo>
                      <a:lnTo>
                        <a:pt x="3763" y="1498"/>
                      </a:lnTo>
                      <a:lnTo>
                        <a:pt x="3741" y="1505"/>
                      </a:lnTo>
                      <a:lnTo>
                        <a:pt x="3708" y="1498"/>
                      </a:lnTo>
                      <a:lnTo>
                        <a:pt x="3692" y="1472"/>
                      </a:lnTo>
                      <a:lnTo>
                        <a:pt x="3600" y="1472"/>
                      </a:lnTo>
                      <a:lnTo>
                        <a:pt x="3574" y="1448"/>
                      </a:lnTo>
                      <a:lnTo>
                        <a:pt x="3595" y="1481"/>
                      </a:lnTo>
                      <a:lnTo>
                        <a:pt x="3578" y="1489"/>
                      </a:lnTo>
                      <a:lnTo>
                        <a:pt x="3545" y="1498"/>
                      </a:lnTo>
                      <a:lnTo>
                        <a:pt x="3574" y="1498"/>
                      </a:lnTo>
                      <a:lnTo>
                        <a:pt x="3562" y="1514"/>
                      </a:lnTo>
                      <a:lnTo>
                        <a:pt x="3562" y="1522"/>
                      </a:lnTo>
                      <a:lnTo>
                        <a:pt x="3541" y="1526"/>
                      </a:lnTo>
                      <a:lnTo>
                        <a:pt x="3578" y="1538"/>
                      </a:lnTo>
                      <a:lnTo>
                        <a:pt x="3595" y="1559"/>
                      </a:lnTo>
                      <a:lnTo>
                        <a:pt x="3595" y="1583"/>
                      </a:lnTo>
                      <a:lnTo>
                        <a:pt x="3600" y="1576"/>
                      </a:lnTo>
                      <a:lnTo>
                        <a:pt x="3583" y="1538"/>
                      </a:lnTo>
                      <a:lnTo>
                        <a:pt x="3595" y="1526"/>
                      </a:lnTo>
                      <a:lnTo>
                        <a:pt x="3704" y="1555"/>
                      </a:lnTo>
                      <a:lnTo>
                        <a:pt x="3704" y="1571"/>
                      </a:lnTo>
                      <a:lnTo>
                        <a:pt x="3682" y="1576"/>
                      </a:lnTo>
                      <a:lnTo>
                        <a:pt x="3687" y="1583"/>
                      </a:lnTo>
                      <a:lnTo>
                        <a:pt x="3682" y="1600"/>
                      </a:lnTo>
                      <a:lnTo>
                        <a:pt x="3692" y="1600"/>
                      </a:lnTo>
                      <a:lnTo>
                        <a:pt x="3687" y="1616"/>
                      </a:lnTo>
                      <a:lnTo>
                        <a:pt x="3611" y="1609"/>
                      </a:lnTo>
                      <a:lnTo>
                        <a:pt x="3600" y="1626"/>
                      </a:lnTo>
                      <a:lnTo>
                        <a:pt x="3557" y="1637"/>
                      </a:lnTo>
                      <a:lnTo>
                        <a:pt x="3470" y="1616"/>
                      </a:lnTo>
                      <a:lnTo>
                        <a:pt x="3439" y="1592"/>
                      </a:lnTo>
                      <a:lnTo>
                        <a:pt x="3439" y="1576"/>
                      </a:lnTo>
                      <a:lnTo>
                        <a:pt x="3470" y="1576"/>
                      </a:lnTo>
                      <a:lnTo>
                        <a:pt x="3531" y="1600"/>
                      </a:lnTo>
                      <a:lnTo>
                        <a:pt x="3562" y="1592"/>
                      </a:lnTo>
                      <a:lnTo>
                        <a:pt x="3524" y="1600"/>
                      </a:lnTo>
                      <a:lnTo>
                        <a:pt x="3432" y="1559"/>
                      </a:lnTo>
                      <a:lnTo>
                        <a:pt x="3406" y="1576"/>
                      </a:lnTo>
                      <a:lnTo>
                        <a:pt x="3406" y="1600"/>
                      </a:lnTo>
                      <a:lnTo>
                        <a:pt x="3368" y="1592"/>
                      </a:lnTo>
                      <a:lnTo>
                        <a:pt x="3368" y="1576"/>
                      </a:lnTo>
                      <a:lnTo>
                        <a:pt x="3314" y="1543"/>
                      </a:lnTo>
                      <a:lnTo>
                        <a:pt x="3330" y="1571"/>
                      </a:lnTo>
                      <a:lnTo>
                        <a:pt x="3394" y="1609"/>
                      </a:lnTo>
                      <a:lnTo>
                        <a:pt x="3347" y="1616"/>
                      </a:lnTo>
                      <a:lnTo>
                        <a:pt x="3314" y="1637"/>
                      </a:lnTo>
                      <a:lnTo>
                        <a:pt x="3297" y="1637"/>
                      </a:lnTo>
                      <a:lnTo>
                        <a:pt x="3238" y="1633"/>
                      </a:lnTo>
                      <a:lnTo>
                        <a:pt x="3200" y="1609"/>
                      </a:lnTo>
                      <a:lnTo>
                        <a:pt x="3191" y="1616"/>
                      </a:lnTo>
                      <a:lnTo>
                        <a:pt x="3271" y="1637"/>
                      </a:lnTo>
                      <a:lnTo>
                        <a:pt x="3243" y="1654"/>
                      </a:lnTo>
                      <a:lnTo>
                        <a:pt x="3222" y="1649"/>
                      </a:lnTo>
                      <a:lnTo>
                        <a:pt x="3179" y="1654"/>
                      </a:lnTo>
                      <a:lnTo>
                        <a:pt x="3200" y="1666"/>
                      </a:lnTo>
                      <a:lnTo>
                        <a:pt x="3200" y="1682"/>
                      </a:lnTo>
                      <a:lnTo>
                        <a:pt x="3191" y="1687"/>
                      </a:lnTo>
                      <a:lnTo>
                        <a:pt x="3205" y="1682"/>
                      </a:lnTo>
                      <a:lnTo>
                        <a:pt x="3205" y="1666"/>
                      </a:lnTo>
                      <a:lnTo>
                        <a:pt x="3255" y="1666"/>
                      </a:lnTo>
                      <a:lnTo>
                        <a:pt x="3271" y="1649"/>
                      </a:lnTo>
                      <a:lnTo>
                        <a:pt x="3363" y="1666"/>
                      </a:lnTo>
                      <a:lnTo>
                        <a:pt x="3368" y="1682"/>
                      </a:lnTo>
                      <a:lnTo>
                        <a:pt x="3352" y="1687"/>
                      </a:lnTo>
                      <a:lnTo>
                        <a:pt x="3314" y="1687"/>
                      </a:lnTo>
                      <a:lnTo>
                        <a:pt x="3293" y="1703"/>
                      </a:lnTo>
                      <a:lnTo>
                        <a:pt x="3243" y="1694"/>
                      </a:lnTo>
                      <a:lnTo>
                        <a:pt x="3200" y="1694"/>
                      </a:lnTo>
                      <a:lnTo>
                        <a:pt x="3271" y="1711"/>
                      </a:lnTo>
                      <a:lnTo>
                        <a:pt x="3243" y="1720"/>
                      </a:lnTo>
                      <a:lnTo>
                        <a:pt x="3276" y="1711"/>
                      </a:lnTo>
                      <a:lnTo>
                        <a:pt x="3259" y="1737"/>
                      </a:lnTo>
                      <a:lnTo>
                        <a:pt x="3330" y="1703"/>
                      </a:lnTo>
                      <a:lnTo>
                        <a:pt x="3380" y="1711"/>
                      </a:lnTo>
                      <a:lnTo>
                        <a:pt x="3385" y="1720"/>
                      </a:lnTo>
                      <a:lnTo>
                        <a:pt x="3385" y="1737"/>
                      </a:lnTo>
                      <a:lnTo>
                        <a:pt x="3394" y="1744"/>
                      </a:lnTo>
                      <a:lnTo>
                        <a:pt x="3297" y="1760"/>
                      </a:lnTo>
                      <a:lnTo>
                        <a:pt x="3347" y="1760"/>
                      </a:lnTo>
                      <a:lnTo>
                        <a:pt x="3330" y="1798"/>
                      </a:lnTo>
                      <a:lnTo>
                        <a:pt x="3342" y="1793"/>
                      </a:lnTo>
                      <a:lnTo>
                        <a:pt x="3342" y="1777"/>
                      </a:lnTo>
                      <a:lnTo>
                        <a:pt x="3352" y="1765"/>
                      </a:lnTo>
                      <a:lnTo>
                        <a:pt x="3394" y="1760"/>
                      </a:lnTo>
                      <a:lnTo>
                        <a:pt x="3503" y="1810"/>
                      </a:lnTo>
                      <a:lnTo>
                        <a:pt x="3493" y="1814"/>
                      </a:lnTo>
                      <a:lnTo>
                        <a:pt x="3541" y="1831"/>
                      </a:lnTo>
                      <a:lnTo>
                        <a:pt x="3503" y="1864"/>
                      </a:lnTo>
                      <a:lnTo>
                        <a:pt x="3545" y="1838"/>
                      </a:lnTo>
                      <a:lnTo>
                        <a:pt x="3531" y="1864"/>
                      </a:lnTo>
                      <a:lnTo>
                        <a:pt x="3531" y="1871"/>
                      </a:lnTo>
                      <a:lnTo>
                        <a:pt x="3562" y="1848"/>
                      </a:lnTo>
                      <a:lnTo>
                        <a:pt x="3583" y="1848"/>
                      </a:lnTo>
                      <a:lnTo>
                        <a:pt x="3562" y="1864"/>
                      </a:lnTo>
                      <a:lnTo>
                        <a:pt x="3574" y="1871"/>
                      </a:lnTo>
                      <a:lnTo>
                        <a:pt x="3541" y="1871"/>
                      </a:lnTo>
                      <a:lnTo>
                        <a:pt x="3545" y="1909"/>
                      </a:lnTo>
                      <a:lnTo>
                        <a:pt x="3557" y="1909"/>
                      </a:lnTo>
                      <a:lnTo>
                        <a:pt x="3557" y="1888"/>
                      </a:lnTo>
                      <a:lnTo>
                        <a:pt x="3595" y="1876"/>
                      </a:lnTo>
                      <a:lnTo>
                        <a:pt x="3600" y="1892"/>
                      </a:lnTo>
                      <a:lnTo>
                        <a:pt x="3595" y="1904"/>
                      </a:lnTo>
                      <a:lnTo>
                        <a:pt x="3611" y="1904"/>
                      </a:lnTo>
                      <a:lnTo>
                        <a:pt x="3578" y="1909"/>
                      </a:lnTo>
                      <a:lnTo>
                        <a:pt x="3595" y="1909"/>
                      </a:lnTo>
                      <a:lnTo>
                        <a:pt x="3600" y="1926"/>
                      </a:lnTo>
                      <a:lnTo>
                        <a:pt x="3557" y="1942"/>
                      </a:lnTo>
                      <a:lnTo>
                        <a:pt x="3600" y="1933"/>
                      </a:lnTo>
                      <a:lnTo>
                        <a:pt x="3611" y="1949"/>
                      </a:lnTo>
                      <a:lnTo>
                        <a:pt x="3600" y="1975"/>
                      </a:lnTo>
                      <a:lnTo>
                        <a:pt x="3583" y="1975"/>
                      </a:lnTo>
                      <a:lnTo>
                        <a:pt x="3600" y="1975"/>
                      </a:lnTo>
                      <a:lnTo>
                        <a:pt x="3611" y="1982"/>
                      </a:lnTo>
                      <a:lnTo>
                        <a:pt x="3595" y="1982"/>
                      </a:lnTo>
                      <a:lnTo>
                        <a:pt x="3600" y="1987"/>
                      </a:lnTo>
                      <a:lnTo>
                        <a:pt x="3595" y="2003"/>
                      </a:lnTo>
                      <a:lnTo>
                        <a:pt x="3616" y="2003"/>
                      </a:lnTo>
                      <a:lnTo>
                        <a:pt x="3578" y="2032"/>
                      </a:lnTo>
                      <a:lnTo>
                        <a:pt x="3583" y="2015"/>
                      </a:lnTo>
                      <a:lnTo>
                        <a:pt x="3578" y="2015"/>
                      </a:lnTo>
                      <a:lnTo>
                        <a:pt x="3557" y="2020"/>
                      </a:lnTo>
                      <a:lnTo>
                        <a:pt x="3545" y="1987"/>
                      </a:lnTo>
                      <a:lnTo>
                        <a:pt x="3545" y="1966"/>
                      </a:lnTo>
                      <a:lnTo>
                        <a:pt x="3541" y="1966"/>
                      </a:lnTo>
                      <a:lnTo>
                        <a:pt x="3531" y="1982"/>
                      </a:lnTo>
                      <a:lnTo>
                        <a:pt x="3541" y="2003"/>
                      </a:lnTo>
                      <a:lnTo>
                        <a:pt x="3531" y="2020"/>
                      </a:lnTo>
                      <a:lnTo>
                        <a:pt x="3486" y="2020"/>
                      </a:lnTo>
                      <a:lnTo>
                        <a:pt x="3439" y="1987"/>
                      </a:lnTo>
                      <a:lnTo>
                        <a:pt x="3422" y="1975"/>
                      </a:lnTo>
                      <a:lnTo>
                        <a:pt x="3422" y="1942"/>
                      </a:lnTo>
                      <a:lnTo>
                        <a:pt x="3385" y="1904"/>
                      </a:lnTo>
                      <a:lnTo>
                        <a:pt x="3363" y="1909"/>
                      </a:lnTo>
                      <a:lnTo>
                        <a:pt x="3326" y="1876"/>
                      </a:lnTo>
                      <a:lnTo>
                        <a:pt x="3233" y="1871"/>
                      </a:lnTo>
                      <a:lnTo>
                        <a:pt x="3179" y="1822"/>
                      </a:lnTo>
                      <a:lnTo>
                        <a:pt x="3115" y="1798"/>
                      </a:lnTo>
                      <a:lnTo>
                        <a:pt x="3108" y="1798"/>
                      </a:lnTo>
                      <a:lnTo>
                        <a:pt x="3130" y="1814"/>
                      </a:lnTo>
                      <a:lnTo>
                        <a:pt x="3125" y="1822"/>
                      </a:lnTo>
                      <a:lnTo>
                        <a:pt x="3167" y="1831"/>
                      </a:lnTo>
                      <a:lnTo>
                        <a:pt x="3205" y="1855"/>
                      </a:lnTo>
                      <a:lnTo>
                        <a:pt x="3200" y="1864"/>
                      </a:lnTo>
                      <a:lnTo>
                        <a:pt x="3125" y="1871"/>
                      </a:lnTo>
                      <a:lnTo>
                        <a:pt x="3200" y="1871"/>
                      </a:lnTo>
                      <a:lnTo>
                        <a:pt x="3217" y="1871"/>
                      </a:lnTo>
                      <a:lnTo>
                        <a:pt x="3205" y="1876"/>
                      </a:lnTo>
                      <a:lnTo>
                        <a:pt x="3205" y="1888"/>
                      </a:lnTo>
                      <a:lnTo>
                        <a:pt x="3309" y="1876"/>
                      </a:lnTo>
                      <a:lnTo>
                        <a:pt x="3342" y="1904"/>
                      </a:lnTo>
                      <a:lnTo>
                        <a:pt x="3330" y="1921"/>
                      </a:lnTo>
                      <a:lnTo>
                        <a:pt x="3314" y="1909"/>
                      </a:lnTo>
                      <a:lnTo>
                        <a:pt x="3326" y="1926"/>
                      </a:lnTo>
                      <a:lnTo>
                        <a:pt x="3259" y="1949"/>
                      </a:lnTo>
                      <a:lnTo>
                        <a:pt x="3191" y="1959"/>
                      </a:lnTo>
                      <a:lnTo>
                        <a:pt x="3167" y="1926"/>
                      </a:lnTo>
                      <a:lnTo>
                        <a:pt x="3163" y="1926"/>
                      </a:lnTo>
                      <a:lnTo>
                        <a:pt x="3184" y="1949"/>
                      </a:lnTo>
                      <a:lnTo>
                        <a:pt x="3130" y="1949"/>
                      </a:lnTo>
                      <a:lnTo>
                        <a:pt x="3163" y="1966"/>
                      </a:lnTo>
                      <a:lnTo>
                        <a:pt x="3137" y="2003"/>
                      </a:lnTo>
                      <a:lnTo>
                        <a:pt x="3070" y="2015"/>
                      </a:lnTo>
                      <a:lnTo>
                        <a:pt x="3070" y="2032"/>
                      </a:lnTo>
                      <a:lnTo>
                        <a:pt x="3137" y="2015"/>
                      </a:lnTo>
                      <a:lnTo>
                        <a:pt x="3130" y="2020"/>
                      </a:lnTo>
                      <a:lnTo>
                        <a:pt x="3137" y="2032"/>
                      </a:lnTo>
                      <a:lnTo>
                        <a:pt x="3243" y="2015"/>
                      </a:lnTo>
                      <a:lnTo>
                        <a:pt x="3276" y="2032"/>
                      </a:lnTo>
                      <a:lnTo>
                        <a:pt x="3243" y="2037"/>
                      </a:lnTo>
                      <a:lnTo>
                        <a:pt x="3233" y="2037"/>
                      </a:lnTo>
                      <a:lnTo>
                        <a:pt x="3167" y="2070"/>
                      </a:lnTo>
                      <a:lnTo>
                        <a:pt x="3115" y="2060"/>
                      </a:lnTo>
                      <a:lnTo>
                        <a:pt x="3125" y="2070"/>
                      </a:lnTo>
                      <a:lnTo>
                        <a:pt x="3191" y="2070"/>
                      </a:lnTo>
                      <a:lnTo>
                        <a:pt x="3191" y="2086"/>
                      </a:lnTo>
                      <a:lnTo>
                        <a:pt x="3200" y="2086"/>
                      </a:lnTo>
                      <a:lnTo>
                        <a:pt x="3217" y="2053"/>
                      </a:lnTo>
                      <a:lnTo>
                        <a:pt x="3233" y="2044"/>
                      </a:lnTo>
                      <a:lnTo>
                        <a:pt x="3276" y="2053"/>
                      </a:lnTo>
                      <a:lnTo>
                        <a:pt x="3352" y="2020"/>
                      </a:lnTo>
                      <a:lnTo>
                        <a:pt x="3347" y="2037"/>
                      </a:lnTo>
                      <a:lnTo>
                        <a:pt x="3363" y="2032"/>
                      </a:lnTo>
                      <a:lnTo>
                        <a:pt x="3470" y="2060"/>
                      </a:lnTo>
                      <a:lnTo>
                        <a:pt x="3574" y="2060"/>
                      </a:lnTo>
                      <a:lnTo>
                        <a:pt x="3557" y="2077"/>
                      </a:lnTo>
                      <a:lnTo>
                        <a:pt x="3486" y="2093"/>
                      </a:lnTo>
                      <a:lnTo>
                        <a:pt x="3519" y="2098"/>
                      </a:lnTo>
                      <a:lnTo>
                        <a:pt x="3507" y="2110"/>
                      </a:lnTo>
                      <a:lnTo>
                        <a:pt x="3486" y="2093"/>
                      </a:lnTo>
                      <a:lnTo>
                        <a:pt x="3493" y="2110"/>
                      </a:lnTo>
                      <a:lnTo>
                        <a:pt x="3439" y="2110"/>
                      </a:lnTo>
                      <a:lnTo>
                        <a:pt x="3470" y="2126"/>
                      </a:lnTo>
                      <a:lnTo>
                        <a:pt x="3448" y="2143"/>
                      </a:lnTo>
                      <a:lnTo>
                        <a:pt x="3418" y="2126"/>
                      </a:lnTo>
                      <a:lnTo>
                        <a:pt x="3432" y="2143"/>
                      </a:lnTo>
                      <a:lnTo>
                        <a:pt x="3406" y="2155"/>
                      </a:lnTo>
                      <a:lnTo>
                        <a:pt x="3394" y="2155"/>
                      </a:lnTo>
                      <a:lnTo>
                        <a:pt x="3394" y="2171"/>
                      </a:lnTo>
                      <a:lnTo>
                        <a:pt x="3352" y="2171"/>
                      </a:lnTo>
                      <a:lnTo>
                        <a:pt x="3347" y="2171"/>
                      </a:lnTo>
                      <a:lnTo>
                        <a:pt x="3368" y="2188"/>
                      </a:lnTo>
                      <a:lnTo>
                        <a:pt x="3347" y="2204"/>
                      </a:lnTo>
                      <a:lnTo>
                        <a:pt x="3326" y="2197"/>
                      </a:lnTo>
                      <a:lnTo>
                        <a:pt x="3342" y="2209"/>
                      </a:lnTo>
                      <a:lnTo>
                        <a:pt x="3314" y="2209"/>
                      </a:lnTo>
                      <a:lnTo>
                        <a:pt x="3326" y="2221"/>
                      </a:lnTo>
                      <a:lnTo>
                        <a:pt x="3271" y="2242"/>
                      </a:lnTo>
                      <a:lnTo>
                        <a:pt x="3200" y="2259"/>
                      </a:lnTo>
                      <a:lnTo>
                        <a:pt x="3205" y="2259"/>
                      </a:lnTo>
                      <a:lnTo>
                        <a:pt x="3184" y="2259"/>
                      </a:lnTo>
                      <a:lnTo>
                        <a:pt x="3179" y="2266"/>
                      </a:lnTo>
                      <a:lnTo>
                        <a:pt x="3184" y="2266"/>
                      </a:lnTo>
                      <a:lnTo>
                        <a:pt x="3153" y="2259"/>
                      </a:lnTo>
                      <a:lnTo>
                        <a:pt x="3153" y="2275"/>
                      </a:lnTo>
                      <a:lnTo>
                        <a:pt x="3125" y="2275"/>
                      </a:lnTo>
                      <a:lnTo>
                        <a:pt x="3099" y="2292"/>
                      </a:lnTo>
                      <a:lnTo>
                        <a:pt x="3078" y="2282"/>
                      </a:lnTo>
                      <a:lnTo>
                        <a:pt x="3078" y="2292"/>
                      </a:lnTo>
                      <a:lnTo>
                        <a:pt x="3061" y="2292"/>
                      </a:lnTo>
                      <a:lnTo>
                        <a:pt x="3061" y="2308"/>
                      </a:lnTo>
                      <a:lnTo>
                        <a:pt x="3028" y="2292"/>
                      </a:lnTo>
                      <a:lnTo>
                        <a:pt x="3028" y="2275"/>
                      </a:lnTo>
                      <a:lnTo>
                        <a:pt x="3002" y="2299"/>
                      </a:lnTo>
                      <a:lnTo>
                        <a:pt x="3016" y="2315"/>
                      </a:lnTo>
                      <a:lnTo>
                        <a:pt x="2990" y="2315"/>
                      </a:lnTo>
                      <a:lnTo>
                        <a:pt x="2990" y="2308"/>
                      </a:lnTo>
                      <a:lnTo>
                        <a:pt x="2969" y="2299"/>
                      </a:lnTo>
                      <a:lnTo>
                        <a:pt x="2964" y="2299"/>
                      </a:lnTo>
                      <a:lnTo>
                        <a:pt x="2985" y="2308"/>
                      </a:lnTo>
                      <a:lnTo>
                        <a:pt x="2985" y="2320"/>
                      </a:lnTo>
                      <a:lnTo>
                        <a:pt x="2948" y="2320"/>
                      </a:lnTo>
                      <a:lnTo>
                        <a:pt x="2915" y="2315"/>
                      </a:lnTo>
                      <a:lnTo>
                        <a:pt x="2919" y="2308"/>
                      </a:lnTo>
                      <a:lnTo>
                        <a:pt x="2910" y="2320"/>
                      </a:lnTo>
                      <a:lnTo>
                        <a:pt x="2898" y="2315"/>
                      </a:lnTo>
                      <a:lnTo>
                        <a:pt x="2893" y="2308"/>
                      </a:lnTo>
                      <a:lnTo>
                        <a:pt x="2910" y="2299"/>
                      </a:lnTo>
                      <a:lnTo>
                        <a:pt x="2877" y="2299"/>
                      </a:lnTo>
                      <a:lnTo>
                        <a:pt x="2844" y="2254"/>
                      </a:lnTo>
                      <a:lnTo>
                        <a:pt x="2844" y="2266"/>
                      </a:lnTo>
                      <a:lnTo>
                        <a:pt x="2839" y="2266"/>
                      </a:lnTo>
                      <a:lnTo>
                        <a:pt x="2839" y="2275"/>
                      </a:lnTo>
                      <a:lnTo>
                        <a:pt x="2860" y="2292"/>
                      </a:lnTo>
                      <a:lnTo>
                        <a:pt x="2865" y="2308"/>
                      </a:lnTo>
                      <a:lnTo>
                        <a:pt x="2844" y="2308"/>
                      </a:lnTo>
                      <a:lnTo>
                        <a:pt x="2877" y="2315"/>
                      </a:lnTo>
                      <a:lnTo>
                        <a:pt x="2865" y="2348"/>
                      </a:lnTo>
                      <a:lnTo>
                        <a:pt x="2839" y="2348"/>
                      </a:lnTo>
                      <a:lnTo>
                        <a:pt x="2822" y="2365"/>
                      </a:lnTo>
                      <a:lnTo>
                        <a:pt x="2789" y="2370"/>
                      </a:lnTo>
                      <a:lnTo>
                        <a:pt x="2806" y="2377"/>
                      </a:lnTo>
                      <a:lnTo>
                        <a:pt x="2789" y="2386"/>
                      </a:lnTo>
                      <a:lnTo>
                        <a:pt x="2789" y="2403"/>
                      </a:lnTo>
                      <a:lnTo>
                        <a:pt x="2768" y="2410"/>
                      </a:lnTo>
                      <a:lnTo>
                        <a:pt x="2785" y="2426"/>
                      </a:lnTo>
                      <a:lnTo>
                        <a:pt x="2752" y="2459"/>
                      </a:lnTo>
                      <a:lnTo>
                        <a:pt x="2737" y="2448"/>
                      </a:lnTo>
                      <a:lnTo>
                        <a:pt x="2730" y="2481"/>
                      </a:lnTo>
                      <a:lnTo>
                        <a:pt x="2714" y="2504"/>
                      </a:lnTo>
                      <a:lnTo>
                        <a:pt x="2704" y="2497"/>
                      </a:lnTo>
                      <a:lnTo>
                        <a:pt x="2704" y="2481"/>
                      </a:lnTo>
                      <a:lnTo>
                        <a:pt x="2704" y="2497"/>
                      </a:lnTo>
                      <a:lnTo>
                        <a:pt x="2704" y="2504"/>
                      </a:lnTo>
                      <a:lnTo>
                        <a:pt x="2683" y="2530"/>
                      </a:lnTo>
                      <a:lnTo>
                        <a:pt x="2667" y="2537"/>
                      </a:lnTo>
                      <a:lnTo>
                        <a:pt x="2662" y="2530"/>
                      </a:lnTo>
                      <a:lnTo>
                        <a:pt x="2662" y="2521"/>
                      </a:lnTo>
                      <a:lnTo>
                        <a:pt x="2650" y="2537"/>
                      </a:lnTo>
                      <a:lnTo>
                        <a:pt x="2662" y="2542"/>
                      </a:lnTo>
                      <a:lnTo>
                        <a:pt x="2650" y="2542"/>
                      </a:lnTo>
                      <a:lnTo>
                        <a:pt x="2607" y="2521"/>
                      </a:lnTo>
                      <a:lnTo>
                        <a:pt x="2629" y="2542"/>
                      </a:lnTo>
                      <a:lnTo>
                        <a:pt x="2624" y="2542"/>
                      </a:lnTo>
                      <a:lnTo>
                        <a:pt x="2624" y="2559"/>
                      </a:lnTo>
                      <a:lnTo>
                        <a:pt x="2574" y="2587"/>
                      </a:lnTo>
                      <a:lnTo>
                        <a:pt x="2570" y="2575"/>
                      </a:lnTo>
                      <a:lnTo>
                        <a:pt x="2574" y="2559"/>
                      </a:lnTo>
                      <a:lnTo>
                        <a:pt x="2558" y="2559"/>
                      </a:lnTo>
                      <a:lnTo>
                        <a:pt x="2558" y="2570"/>
                      </a:lnTo>
                      <a:lnTo>
                        <a:pt x="2558" y="2575"/>
                      </a:lnTo>
                      <a:lnTo>
                        <a:pt x="2532" y="2592"/>
                      </a:lnTo>
                      <a:lnTo>
                        <a:pt x="2520" y="2575"/>
                      </a:lnTo>
                      <a:lnTo>
                        <a:pt x="2520" y="2570"/>
                      </a:lnTo>
                      <a:lnTo>
                        <a:pt x="2515" y="2570"/>
                      </a:lnTo>
                      <a:lnTo>
                        <a:pt x="2520" y="2592"/>
                      </a:lnTo>
                      <a:lnTo>
                        <a:pt x="2515" y="2599"/>
                      </a:lnTo>
                      <a:lnTo>
                        <a:pt x="2478" y="2587"/>
                      </a:lnTo>
                      <a:lnTo>
                        <a:pt x="2466" y="2570"/>
                      </a:lnTo>
                      <a:lnTo>
                        <a:pt x="2515" y="2530"/>
                      </a:lnTo>
                      <a:lnTo>
                        <a:pt x="2449" y="2530"/>
                      </a:lnTo>
                      <a:lnTo>
                        <a:pt x="2445" y="2530"/>
                      </a:lnTo>
                      <a:lnTo>
                        <a:pt x="2478" y="2542"/>
                      </a:lnTo>
                      <a:lnTo>
                        <a:pt x="2461" y="2542"/>
                      </a:lnTo>
                      <a:lnTo>
                        <a:pt x="2466" y="2554"/>
                      </a:lnTo>
                      <a:lnTo>
                        <a:pt x="2449" y="2559"/>
                      </a:lnTo>
                      <a:lnTo>
                        <a:pt x="2461" y="2575"/>
                      </a:lnTo>
                      <a:lnTo>
                        <a:pt x="2449" y="2587"/>
                      </a:lnTo>
                      <a:lnTo>
                        <a:pt x="2445" y="2575"/>
                      </a:lnTo>
                      <a:lnTo>
                        <a:pt x="2445" y="2587"/>
                      </a:lnTo>
                      <a:lnTo>
                        <a:pt x="2435" y="2587"/>
                      </a:lnTo>
                      <a:lnTo>
                        <a:pt x="2423" y="2570"/>
                      </a:lnTo>
                      <a:lnTo>
                        <a:pt x="2423" y="2587"/>
                      </a:lnTo>
                      <a:lnTo>
                        <a:pt x="2449" y="2592"/>
                      </a:lnTo>
                      <a:lnTo>
                        <a:pt x="2435" y="2615"/>
                      </a:lnTo>
                      <a:lnTo>
                        <a:pt x="2407" y="2608"/>
                      </a:lnTo>
                      <a:lnTo>
                        <a:pt x="2411" y="2625"/>
                      </a:lnTo>
                      <a:lnTo>
                        <a:pt x="2381" y="2625"/>
                      </a:lnTo>
                      <a:lnTo>
                        <a:pt x="2359" y="2608"/>
                      </a:lnTo>
                      <a:lnTo>
                        <a:pt x="2374" y="2625"/>
                      </a:lnTo>
                      <a:lnTo>
                        <a:pt x="2359" y="2632"/>
                      </a:lnTo>
                      <a:lnTo>
                        <a:pt x="2336" y="2608"/>
                      </a:lnTo>
                      <a:lnTo>
                        <a:pt x="2326" y="2625"/>
                      </a:lnTo>
                      <a:lnTo>
                        <a:pt x="2326" y="2632"/>
                      </a:lnTo>
                      <a:lnTo>
                        <a:pt x="2305" y="2625"/>
                      </a:lnTo>
                      <a:lnTo>
                        <a:pt x="2298" y="2632"/>
                      </a:lnTo>
                      <a:lnTo>
                        <a:pt x="2326" y="2641"/>
                      </a:lnTo>
                      <a:lnTo>
                        <a:pt x="2322" y="2648"/>
                      </a:lnTo>
                      <a:lnTo>
                        <a:pt x="2336" y="2665"/>
                      </a:lnTo>
                      <a:lnTo>
                        <a:pt x="2298" y="2686"/>
                      </a:lnTo>
                      <a:lnTo>
                        <a:pt x="2272" y="2670"/>
                      </a:lnTo>
                      <a:lnTo>
                        <a:pt x="2267" y="2686"/>
                      </a:lnTo>
                      <a:lnTo>
                        <a:pt x="2246" y="2681"/>
                      </a:lnTo>
                      <a:lnTo>
                        <a:pt x="2234" y="2698"/>
                      </a:lnTo>
                      <a:lnTo>
                        <a:pt x="2272" y="2726"/>
                      </a:lnTo>
                      <a:lnTo>
                        <a:pt x="2272" y="2752"/>
                      </a:lnTo>
                      <a:lnTo>
                        <a:pt x="2289" y="2764"/>
                      </a:lnTo>
                      <a:lnTo>
                        <a:pt x="2260" y="2764"/>
                      </a:lnTo>
                      <a:lnTo>
                        <a:pt x="2208" y="2776"/>
                      </a:lnTo>
                      <a:lnTo>
                        <a:pt x="2218" y="2792"/>
                      </a:lnTo>
                      <a:lnTo>
                        <a:pt x="2272" y="2797"/>
                      </a:lnTo>
                      <a:lnTo>
                        <a:pt x="2260" y="2814"/>
                      </a:lnTo>
                      <a:lnTo>
                        <a:pt x="2272" y="2814"/>
                      </a:lnTo>
                      <a:lnTo>
                        <a:pt x="2284" y="2837"/>
                      </a:lnTo>
                      <a:lnTo>
                        <a:pt x="2251" y="2837"/>
                      </a:lnTo>
                      <a:lnTo>
                        <a:pt x="2213" y="2821"/>
                      </a:lnTo>
                      <a:lnTo>
                        <a:pt x="2208" y="2830"/>
                      </a:lnTo>
                      <a:lnTo>
                        <a:pt x="2251" y="2847"/>
                      </a:lnTo>
                      <a:lnTo>
                        <a:pt x="2267" y="2863"/>
                      </a:lnTo>
                      <a:lnTo>
                        <a:pt x="2246" y="2863"/>
                      </a:lnTo>
                      <a:lnTo>
                        <a:pt x="2246" y="2870"/>
                      </a:lnTo>
                      <a:lnTo>
                        <a:pt x="2234" y="2863"/>
                      </a:lnTo>
                      <a:lnTo>
                        <a:pt x="2246" y="2875"/>
                      </a:lnTo>
                      <a:lnTo>
                        <a:pt x="2234" y="2875"/>
                      </a:lnTo>
                      <a:lnTo>
                        <a:pt x="2218" y="2863"/>
                      </a:lnTo>
                      <a:lnTo>
                        <a:pt x="2230" y="2875"/>
                      </a:lnTo>
                      <a:lnTo>
                        <a:pt x="2208" y="2863"/>
                      </a:lnTo>
                      <a:lnTo>
                        <a:pt x="2234" y="2887"/>
                      </a:lnTo>
                      <a:lnTo>
                        <a:pt x="2196" y="2863"/>
                      </a:lnTo>
                      <a:lnTo>
                        <a:pt x="2180" y="2870"/>
                      </a:lnTo>
                      <a:lnTo>
                        <a:pt x="2213" y="2908"/>
                      </a:lnTo>
                      <a:lnTo>
                        <a:pt x="2208" y="2908"/>
                      </a:lnTo>
                      <a:lnTo>
                        <a:pt x="2175" y="2892"/>
                      </a:lnTo>
                      <a:lnTo>
                        <a:pt x="2208" y="2920"/>
                      </a:lnTo>
                      <a:lnTo>
                        <a:pt x="2196" y="2920"/>
                      </a:lnTo>
                      <a:lnTo>
                        <a:pt x="2163" y="2903"/>
                      </a:lnTo>
                      <a:lnTo>
                        <a:pt x="2175" y="2920"/>
                      </a:lnTo>
                      <a:lnTo>
                        <a:pt x="2208" y="2925"/>
                      </a:lnTo>
                      <a:lnTo>
                        <a:pt x="2192" y="2941"/>
                      </a:lnTo>
                      <a:lnTo>
                        <a:pt x="2154" y="2941"/>
                      </a:lnTo>
                      <a:lnTo>
                        <a:pt x="2154" y="2925"/>
                      </a:lnTo>
                      <a:lnTo>
                        <a:pt x="2142" y="2932"/>
                      </a:lnTo>
                      <a:lnTo>
                        <a:pt x="2142" y="2941"/>
                      </a:lnTo>
                      <a:lnTo>
                        <a:pt x="2137" y="2948"/>
                      </a:lnTo>
                      <a:lnTo>
                        <a:pt x="2100" y="2948"/>
                      </a:lnTo>
                      <a:lnTo>
                        <a:pt x="2100" y="2958"/>
                      </a:lnTo>
                      <a:lnTo>
                        <a:pt x="2154" y="2974"/>
                      </a:lnTo>
                      <a:lnTo>
                        <a:pt x="2154" y="2981"/>
                      </a:lnTo>
                      <a:lnTo>
                        <a:pt x="2137" y="2981"/>
                      </a:lnTo>
                      <a:lnTo>
                        <a:pt x="2163" y="2986"/>
                      </a:lnTo>
                      <a:lnTo>
                        <a:pt x="2104" y="2974"/>
                      </a:lnTo>
                      <a:lnTo>
                        <a:pt x="2159" y="3003"/>
                      </a:lnTo>
                      <a:lnTo>
                        <a:pt x="2154" y="3019"/>
                      </a:lnTo>
                      <a:lnTo>
                        <a:pt x="2137" y="3036"/>
                      </a:lnTo>
                      <a:lnTo>
                        <a:pt x="2163" y="3036"/>
                      </a:lnTo>
                      <a:lnTo>
                        <a:pt x="2159" y="3043"/>
                      </a:lnTo>
                      <a:lnTo>
                        <a:pt x="2142" y="3043"/>
                      </a:lnTo>
                      <a:lnTo>
                        <a:pt x="2159" y="3052"/>
                      </a:lnTo>
                      <a:lnTo>
                        <a:pt x="2154" y="3059"/>
                      </a:lnTo>
                      <a:lnTo>
                        <a:pt x="2109" y="3059"/>
                      </a:lnTo>
                      <a:lnTo>
                        <a:pt x="2154" y="3076"/>
                      </a:lnTo>
                      <a:lnTo>
                        <a:pt x="2142" y="3085"/>
                      </a:lnTo>
                      <a:lnTo>
                        <a:pt x="2100" y="3076"/>
                      </a:lnTo>
                      <a:lnTo>
                        <a:pt x="2137" y="3085"/>
                      </a:lnTo>
                      <a:lnTo>
                        <a:pt x="2142" y="3097"/>
                      </a:lnTo>
                      <a:lnTo>
                        <a:pt x="2142" y="3109"/>
                      </a:lnTo>
                      <a:lnTo>
                        <a:pt x="2126" y="3114"/>
                      </a:lnTo>
                      <a:lnTo>
                        <a:pt x="2088" y="3109"/>
                      </a:lnTo>
                      <a:lnTo>
                        <a:pt x="2126" y="3114"/>
                      </a:lnTo>
                      <a:lnTo>
                        <a:pt x="2137" y="3125"/>
                      </a:lnTo>
                      <a:lnTo>
                        <a:pt x="2100" y="3125"/>
                      </a:lnTo>
                      <a:lnTo>
                        <a:pt x="2126" y="3130"/>
                      </a:lnTo>
                      <a:lnTo>
                        <a:pt x="2067" y="3130"/>
                      </a:lnTo>
                      <a:lnTo>
                        <a:pt x="2126" y="3142"/>
                      </a:lnTo>
                      <a:lnTo>
                        <a:pt x="2126" y="3147"/>
                      </a:lnTo>
                      <a:lnTo>
                        <a:pt x="2104" y="3154"/>
                      </a:lnTo>
                      <a:lnTo>
                        <a:pt x="2071" y="3147"/>
                      </a:lnTo>
                      <a:lnTo>
                        <a:pt x="2121" y="3163"/>
                      </a:lnTo>
                      <a:lnTo>
                        <a:pt x="2067" y="3163"/>
                      </a:lnTo>
                      <a:lnTo>
                        <a:pt x="2121" y="3170"/>
                      </a:lnTo>
                      <a:lnTo>
                        <a:pt x="2100" y="3180"/>
                      </a:lnTo>
                      <a:lnTo>
                        <a:pt x="2121" y="3180"/>
                      </a:lnTo>
                      <a:lnTo>
                        <a:pt x="2109" y="3187"/>
                      </a:lnTo>
                      <a:lnTo>
                        <a:pt x="2121" y="3187"/>
                      </a:lnTo>
                      <a:lnTo>
                        <a:pt x="2100" y="3196"/>
                      </a:lnTo>
                      <a:lnTo>
                        <a:pt x="2083" y="3196"/>
                      </a:lnTo>
                      <a:lnTo>
                        <a:pt x="2100" y="3203"/>
                      </a:lnTo>
                      <a:lnTo>
                        <a:pt x="2088" y="3203"/>
                      </a:lnTo>
                      <a:lnTo>
                        <a:pt x="2067" y="3196"/>
                      </a:lnTo>
                      <a:lnTo>
                        <a:pt x="2057" y="3170"/>
                      </a:lnTo>
                      <a:lnTo>
                        <a:pt x="2057" y="3196"/>
                      </a:lnTo>
                      <a:lnTo>
                        <a:pt x="2019" y="3187"/>
                      </a:lnTo>
                      <a:lnTo>
                        <a:pt x="2083" y="3203"/>
                      </a:lnTo>
                      <a:lnTo>
                        <a:pt x="2067" y="3220"/>
                      </a:lnTo>
                      <a:lnTo>
                        <a:pt x="2100" y="3208"/>
                      </a:lnTo>
                      <a:lnTo>
                        <a:pt x="2100" y="3225"/>
                      </a:lnTo>
                      <a:lnTo>
                        <a:pt x="2083" y="3225"/>
                      </a:lnTo>
                      <a:lnTo>
                        <a:pt x="2100" y="3225"/>
                      </a:lnTo>
                      <a:lnTo>
                        <a:pt x="2100" y="3241"/>
                      </a:lnTo>
                      <a:lnTo>
                        <a:pt x="2029" y="3236"/>
                      </a:lnTo>
                      <a:lnTo>
                        <a:pt x="2033" y="3220"/>
                      </a:lnTo>
                      <a:lnTo>
                        <a:pt x="2029" y="3208"/>
                      </a:lnTo>
                      <a:lnTo>
                        <a:pt x="2029" y="3220"/>
                      </a:lnTo>
                      <a:lnTo>
                        <a:pt x="2003" y="3236"/>
                      </a:lnTo>
                      <a:lnTo>
                        <a:pt x="1991" y="3253"/>
                      </a:lnTo>
                      <a:lnTo>
                        <a:pt x="1948" y="3241"/>
                      </a:lnTo>
                      <a:lnTo>
                        <a:pt x="1958" y="3236"/>
                      </a:lnTo>
                      <a:lnTo>
                        <a:pt x="1974" y="3236"/>
                      </a:lnTo>
                      <a:lnTo>
                        <a:pt x="2003" y="3196"/>
                      </a:lnTo>
                      <a:lnTo>
                        <a:pt x="1974" y="3225"/>
                      </a:lnTo>
                      <a:lnTo>
                        <a:pt x="1948" y="3236"/>
                      </a:lnTo>
                      <a:lnTo>
                        <a:pt x="1991" y="3170"/>
                      </a:lnTo>
                      <a:lnTo>
                        <a:pt x="1948" y="3203"/>
                      </a:lnTo>
                      <a:lnTo>
                        <a:pt x="1944" y="3196"/>
                      </a:lnTo>
                      <a:lnTo>
                        <a:pt x="1958" y="3180"/>
                      </a:lnTo>
                      <a:lnTo>
                        <a:pt x="1927" y="3203"/>
                      </a:lnTo>
                      <a:lnTo>
                        <a:pt x="1944" y="3180"/>
                      </a:lnTo>
                      <a:lnTo>
                        <a:pt x="1927" y="3203"/>
                      </a:lnTo>
                      <a:lnTo>
                        <a:pt x="1911" y="3187"/>
                      </a:lnTo>
                      <a:lnTo>
                        <a:pt x="1920" y="3187"/>
                      </a:lnTo>
                      <a:lnTo>
                        <a:pt x="1894" y="3187"/>
                      </a:lnTo>
                      <a:lnTo>
                        <a:pt x="1920" y="3180"/>
                      </a:lnTo>
                      <a:lnTo>
                        <a:pt x="1906" y="3180"/>
                      </a:lnTo>
                      <a:lnTo>
                        <a:pt x="1948" y="3154"/>
                      </a:lnTo>
                      <a:lnTo>
                        <a:pt x="1937" y="3142"/>
                      </a:lnTo>
                      <a:lnTo>
                        <a:pt x="1920" y="3170"/>
                      </a:lnTo>
                      <a:lnTo>
                        <a:pt x="1906" y="3170"/>
                      </a:lnTo>
                      <a:lnTo>
                        <a:pt x="1911" y="3163"/>
                      </a:lnTo>
                      <a:lnTo>
                        <a:pt x="1906" y="3163"/>
                      </a:lnTo>
                      <a:lnTo>
                        <a:pt x="1889" y="3170"/>
                      </a:lnTo>
                      <a:lnTo>
                        <a:pt x="1882" y="3170"/>
                      </a:lnTo>
                      <a:lnTo>
                        <a:pt x="1894" y="3154"/>
                      </a:lnTo>
                      <a:lnTo>
                        <a:pt x="1927" y="3147"/>
                      </a:lnTo>
                      <a:lnTo>
                        <a:pt x="1948" y="3125"/>
                      </a:lnTo>
                      <a:lnTo>
                        <a:pt x="1937" y="3130"/>
                      </a:lnTo>
                      <a:lnTo>
                        <a:pt x="1927" y="3114"/>
                      </a:lnTo>
                      <a:lnTo>
                        <a:pt x="1927" y="3130"/>
                      </a:lnTo>
                      <a:lnTo>
                        <a:pt x="1920" y="3142"/>
                      </a:lnTo>
                      <a:lnTo>
                        <a:pt x="1889" y="3154"/>
                      </a:lnTo>
                      <a:lnTo>
                        <a:pt x="1889" y="3147"/>
                      </a:lnTo>
                      <a:lnTo>
                        <a:pt x="1920" y="3130"/>
                      </a:lnTo>
                      <a:lnTo>
                        <a:pt x="1906" y="3114"/>
                      </a:lnTo>
                      <a:lnTo>
                        <a:pt x="1911" y="3109"/>
                      </a:lnTo>
                      <a:lnTo>
                        <a:pt x="1894" y="3114"/>
                      </a:lnTo>
                      <a:lnTo>
                        <a:pt x="1906" y="3125"/>
                      </a:lnTo>
                      <a:lnTo>
                        <a:pt x="1906" y="3130"/>
                      </a:lnTo>
                      <a:lnTo>
                        <a:pt x="1882" y="3147"/>
                      </a:lnTo>
                      <a:lnTo>
                        <a:pt x="1868" y="3130"/>
                      </a:lnTo>
                      <a:lnTo>
                        <a:pt x="1856" y="3154"/>
                      </a:lnTo>
                      <a:lnTo>
                        <a:pt x="1835" y="3147"/>
                      </a:lnTo>
                      <a:lnTo>
                        <a:pt x="1840" y="3154"/>
                      </a:lnTo>
                      <a:lnTo>
                        <a:pt x="1835" y="3163"/>
                      </a:lnTo>
                      <a:lnTo>
                        <a:pt x="1830" y="3147"/>
                      </a:lnTo>
                      <a:lnTo>
                        <a:pt x="1764" y="3154"/>
                      </a:lnTo>
                      <a:lnTo>
                        <a:pt x="1802" y="3154"/>
                      </a:lnTo>
                      <a:lnTo>
                        <a:pt x="1797" y="3163"/>
                      </a:lnTo>
                      <a:lnTo>
                        <a:pt x="1743" y="3163"/>
                      </a:lnTo>
                      <a:lnTo>
                        <a:pt x="1731" y="3163"/>
                      </a:lnTo>
                      <a:lnTo>
                        <a:pt x="1776" y="3142"/>
                      </a:lnTo>
                      <a:lnTo>
                        <a:pt x="1726" y="3147"/>
                      </a:lnTo>
                      <a:lnTo>
                        <a:pt x="1764" y="3142"/>
                      </a:lnTo>
                      <a:lnTo>
                        <a:pt x="1764" y="3130"/>
                      </a:lnTo>
                      <a:lnTo>
                        <a:pt x="1748" y="3130"/>
                      </a:lnTo>
                      <a:lnTo>
                        <a:pt x="1743" y="3125"/>
                      </a:lnTo>
                      <a:lnTo>
                        <a:pt x="1759" y="3109"/>
                      </a:lnTo>
                      <a:lnTo>
                        <a:pt x="1748" y="3109"/>
                      </a:lnTo>
                      <a:lnTo>
                        <a:pt x="1731" y="3114"/>
                      </a:lnTo>
                      <a:lnTo>
                        <a:pt x="1743" y="3130"/>
                      </a:lnTo>
                      <a:lnTo>
                        <a:pt x="1726" y="3130"/>
                      </a:lnTo>
                      <a:lnTo>
                        <a:pt x="1726" y="3125"/>
                      </a:lnTo>
                      <a:lnTo>
                        <a:pt x="1731" y="3125"/>
                      </a:lnTo>
                      <a:lnTo>
                        <a:pt x="1710" y="3125"/>
                      </a:lnTo>
                      <a:lnTo>
                        <a:pt x="1726" y="3109"/>
                      </a:lnTo>
                      <a:lnTo>
                        <a:pt x="1679" y="3097"/>
                      </a:lnTo>
                      <a:lnTo>
                        <a:pt x="1743" y="3085"/>
                      </a:lnTo>
                      <a:lnTo>
                        <a:pt x="1726" y="3076"/>
                      </a:lnTo>
                      <a:lnTo>
                        <a:pt x="1689" y="3092"/>
                      </a:lnTo>
                      <a:lnTo>
                        <a:pt x="1667" y="3085"/>
                      </a:lnTo>
                      <a:lnTo>
                        <a:pt x="1710" y="3076"/>
                      </a:lnTo>
                      <a:lnTo>
                        <a:pt x="1689" y="3076"/>
                      </a:lnTo>
                      <a:lnTo>
                        <a:pt x="1679" y="3076"/>
                      </a:lnTo>
                      <a:lnTo>
                        <a:pt x="1679" y="3059"/>
                      </a:lnTo>
                      <a:lnTo>
                        <a:pt x="1672" y="3069"/>
                      </a:lnTo>
                      <a:lnTo>
                        <a:pt x="1679" y="3052"/>
                      </a:lnTo>
                      <a:lnTo>
                        <a:pt x="1705" y="3036"/>
                      </a:lnTo>
                      <a:lnTo>
                        <a:pt x="1689" y="3036"/>
                      </a:lnTo>
                      <a:lnTo>
                        <a:pt x="1672" y="3052"/>
                      </a:lnTo>
                      <a:lnTo>
                        <a:pt x="1667" y="3069"/>
                      </a:lnTo>
                      <a:lnTo>
                        <a:pt x="1656" y="3059"/>
                      </a:lnTo>
                      <a:lnTo>
                        <a:pt x="1672" y="3043"/>
                      </a:lnTo>
                      <a:lnTo>
                        <a:pt x="1656" y="3052"/>
                      </a:lnTo>
                      <a:lnTo>
                        <a:pt x="1656" y="3036"/>
                      </a:lnTo>
                      <a:lnTo>
                        <a:pt x="1693" y="3031"/>
                      </a:lnTo>
                      <a:lnTo>
                        <a:pt x="1679" y="3019"/>
                      </a:lnTo>
                      <a:lnTo>
                        <a:pt x="1679" y="3014"/>
                      </a:lnTo>
                      <a:lnTo>
                        <a:pt x="1672" y="3031"/>
                      </a:lnTo>
                      <a:lnTo>
                        <a:pt x="1634" y="3036"/>
                      </a:lnTo>
                      <a:lnTo>
                        <a:pt x="1634" y="3019"/>
                      </a:lnTo>
                      <a:lnTo>
                        <a:pt x="1656" y="3019"/>
                      </a:lnTo>
                      <a:lnTo>
                        <a:pt x="1667" y="3014"/>
                      </a:lnTo>
                      <a:lnTo>
                        <a:pt x="1641" y="3014"/>
                      </a:lnTo>
                      <a:lnTo>
                        <a:pt x="1656" y="3003"/>
                      </a:lnTo>
                      <a:lnTo>
                        <a:pt x="1625" y="3003"/>
                      </a:lnTo>
                      <a:lnTo>
                        <a:pt x="1596" y="2981"/>
                      </a:lnTo>
                      <a:lnTo>
                        <a:pt x="1596" y="2958"/>
                      </a:lnTo>
                      <a:lnTo>
                        <a:pt x="1618" y="2941"/>
                      </a:lnTo>
                      <a:lnTo>
                        <a:pt x="1596" y="2958"/>
                      </a:lnTo>
                      <a:lnTo>
                        <a:pt x="1604" y="2925"/>
                      </a:lnTo>
                      <a:lnTo>
                        <a:pt x="1634" y="2920"/>
                      </a:lnTo>
                      <a:lnTo>
                        <a:pt x="1604" y="2925"/>
                      </a:lnTo>
                      <a:lnTo>
                        <a:pt x="1587" y="2948"/>
                      </a:lnTo>
                      <a:lnTo>
                        <a:pt x="1587" y="2925"/>
                      </a:lnTo>
                      <a:lnTo>
                        <a:pt x="1604" y="2920"/>
                      </a:lnTo>
                      <a:lnTo>
                        <a:pt x="1570" y="2925"/>
                      </a:lnTo>
                      <a:lnTo>
                        <a:pt x="1570" y="2908"/>
                      </a:lnTo>
                      <a:lnTo>
                        <a:pt x="1613" y="2892"/>
                      </a:lnTo>
                      <a:lnTo>
                        <a:pt x="1549" y="2908"/>
                      </a:lnTo>
                      <a:lnTo>
                        <a:pt x="1559" y="2892"/>
                      </a:lnTo>
                      <a:lnTo>
                        <a:pt x="1542" y="2903"/>
                      </a:lnTo>
                      <a:lnTo>
                        <a:pt x="1533" y="2887"/>
                      </a:lnTo>
                      <a:lnTo>
                        <a:pt x="1596" y="2875"/>
                      </a:lnTo>
                      <a:lnTo>
                        <a:pt x="1542" y="2875"/>
                      </a:lnTo>
                      <a:lnTo>
                        <a:pt x="1528" y="2870"/>
                      </a:lnTo>
                      <a:lnTo>
                        <a:pt x="1566" y="2863"/>
                      </a:lnTo>
                      <a:lnTo>
                        <a:pt x="1542" y="2863"/>
                      </a:lnTo>
                      <a:lnTo>
                        <a:pt x="1533" y="2854"/>
                      </a:lnTo>
                      <a:lnTo>
                        <a:pt x="1570" y="2854"/>
                      </a:lnTo>
                      <a:lnTo>
                        <a:pt x="1580" y="2847"/>
                      </a:lnTo>
                      <a:lnTo>
                        <a:pt x="1542" y="2847"/>
                      </a:lnTo>
                      <a:lnTo>
                        <a:pt x="1533" y="2854"/>
                      </a:lnTo>
                      <a:lnTo>
                        <a:pt x="1533" y="2863"/>
                      </a:lnTo>
                      <a:lnTo>
                        <a:pt x="1504" y="2837"/>
                      </a:lnTo>
                      <a:lnTo>
                        <a:pt x="1549" y="2814"/>
                      </a:lnTo>
                      <a:lnTo>
                        <a:pt x="1511" y="2830"/>
                      </a:lnTo>
                      <a:lnTo>
                        <a:pt x="1511" y="2821"/>
                      </a:lnTo>
                      <a:lnTo>
                        <a:pt x="1516" y="2821"/>
                      </a:lnTo>
                      <a:lnTo>
                        <a:pt x="1516" y="2814"/>
                      </a:lnTo>
                      <a:lnTo>
                        <a:pt x="1495" y="2809"/>
                      </a:lnTo>
                      <a:lnTo>
                        <a:pt x="1613" y="2781"/>
                      </a:lnTo>
                      <a:lnTo>
                        <a:pt x="1570" y="2781"/>
                      </a:lnTo>
                      <a:lnTo>
                        <a:pt x="1580" y="2776"/>
                      </a:lnTo>
                      <a:lnTo>
                        <a:pt x="1511" y="2797"/>
                      </a:lnTo>
                      <a:lnTo>
                        <a:pt x="1495" y="2792"/>
                      </a:lnTo>
                      <a:lnTo>
                        <a:pt x="1516" y="2792"/>
                      </a:lnTo>
                      <a:lnTo>
                        <a:pt x="1490" y="2781"/>
                      </a:lnTo>
                      <a:lnTo>
                        <a:pt x="1549" y="2781"/>
                      </a:lnTo>
                      <a:lnTo>
                        <a:pt x="1559" y="2776"/>
                      </a:lnTo>
                      <a:lnTo>
                        <a:pt x="1542" y="2776"/>
                      </a:lnTo>
                      <a:lnTo>
                        <a:pt x="1559" y="2759"/>
                      </a:lnTo>
                      <a:lnTo>
                        <a:pt x="1587" y="2764"/>
                      </a:lnTo>
                      <a:lnTo>
                        <a:pt x="1604" y="2759"/>
                      </a:lnTo>
                      <a:lnTo>
                        <a:pt x="1570" y="2759"/>
                      </a:lnTo>
                      <a:lnTo>
                        <a:pt x="1570" y="2752"/>
                      </a:lnTo>
                      <a:lnTo>
                        <a:pt x="1580" y="2743"/>
                      </a:lnTo>
                      <a:lnTo>
                        <a:pt x="1549" y="2736"/>
                      </a:lnTo>
                      <a:lnTo>
                        <a:pt x="1580" y="2726"/>
                      </a:lnTo>
                      <a:lnTo>
                        <a:pt x="1566" y="2726"/>
                      </a:lnTo>
                      <a:lnTo>
                        <a:pt x="1580" y="2726"/>
                      </a:lnTo>
                      <a:lnTo>
                        <a:pt x="1596" y="2726"/>
                      </a:lnTo>
                      <a:lnTo>
                        <a:pt x="1604" y="2752"/>
                      </a:lnTo>
                      <a:lnTo>
                        <a:pt x="1641" y="2764"/>
                      </a:lnTo>
                      <a:lnTo>
                        <a:pt x="1613" y="2743"/>
                      </a:lnTo>
                      <a:lnTo>
                        <a:pt x="1604" y="2736"/>
                      </a:lnTo>
                      <a:lnTo>
                        <a:pt x="1618" y="2726"/>
                      </a:lnTo>
                      <a:lnTo>
                        <a:pt x="1596" y="2726"/>
                      </a:lnTo>
                      <a:lnTo>
                        <a:pt x="1613" y="2703"/>
                      </a:lnTo>
                      <a:lnTo>
                        <a:pt x="1596" y="2719"/>
                      </a:lnTo>
                      <a:lnTo>
                        <a:pt x="1570" y="2719"/>
                      </a:lnTo>
                      <a:lnTo>
                        <a:pt x="1566" y="2698"/>
                      </a:lnTo>
                      <a:lnTo>
                        <a:pt x="1549" y="2665"/>
                      </a:lnTo>
                      <a:lnTo>
                        <a:pt x="1549" y="2698"/>
                      </a:lnTo>
                      <a:lnTo>
                        <a:pt x="1566" y="2698"/>
                      </a:lnTo>
                      <a:lnTo>
                        <a:pt x="1570" y="2719"/>
                      </a:lnTo>
                      <a:lnTo>
                        <a:pt x="1533" y="2736"/>
                      </a:lnTo>
                      <a:lnTo>
                        <a:pt x="1528" y="2736"/>
                      </a:lnTo>
                      <a:lnTo>
                        <a:pt x="1542" y="2719"/>
                      </a:lnTo>
                      <a:lnTo>
                        <a:pt x="1528" y="2719"/>
                      </a:lnTo>
                      <a:lnTo>
                        <a:pt x="1495" y="2776"/>
                      </a:lnTo>
                      <a:lnTo>
                        <a:pt x="1474" y="2781"/>
                      </a:lnTo>
                      <a:lnTo>
                        <a:pt x="1474" y="2759"/>
                      </a:lnTo>
                      <a:lnTo>
                        <a:pt x="1462" y="2759"/>
                      </a:lnTo>
                      <a:lnTo>
                        <a:pt x="1474" y="2736"/>
                      </a:lnTo>
                      <a:lnTo>
                        <a:pt x="1462" y="2726"/>
                      </a:lnTo>
                      <a:lnTo>
                        <a:pt x="1504" y="2710"/>
                      </a:lnTo>
                      <a:lnTo>
                        <a:pt x="1528" y="2686"/>
                      </a:lnTo>
                      <a:lnTo>
                        <a:pt x="1495" y="2703"/>
                      </a:lnTo>
                      <a:lnTo>
                        <a:pt x="1504" y="2698"/>
                      </a:lnTo>
                      <a:lnTo>
                        <a:pt x="1495" y="2686"/>
                      </a:lnTo>
                      <a:lnTo>
                        <a:pt x="1478" y="2710"/>
                      </a:lnTo>
                      <a:lnTo>
                        <a:pt x="1462" y="2710"/>
                      </a:lnTo>
                      <a:lnTo>
                        <a:pt x="1478" y="2703"/>
                      </a:lnTo>
                      <a:lnTo>
                        <a:pt x="1474" y="2703"/>
                      </a:lnTo>
                      <a:lnTo>
                        <a:pt x="1457" y="2710"/>
                      </a:lnTo>
                      <a:lnTo>
                        <a:pt x="1457" y="2703"/>
                      </a:lnTo>
                      <a:lnTo>
                        <a:pt x="1474" y="2698"/>
                      </a:lnTo>
                      <a:lnTo>
                        <a:pt x="1457" y="2681"/>
                      </a:lnTo>
                      <a:lnTo>
                        <a:pt x="1462" y="2665"/>
                      </a:lnTo>
                      <a:lnTo>
                        <a:pt x="1452" y="2665"/>
                      </a:lnTo>
                      <a:lnTo>
                        <a:pt x="1457" y="2653"/>
                      </a:lnTo>
                      <a:lnTo>
                        <a:pt x="1441" y="2670"/>
                      </a:lnTo>
                      <a:lnTo>
                        <a:pt x="1436" y="2653"/>
                      </a:lnTo>
                      <a:lnTo>
                        <a:pt x="1495" y="2625"/>
                      </a:lnTo>
                      <a:lnTo>
                        <a:pt x="1478" y="2615"/>
                      </a:lnTo>
                      <a:lnTo>
                        <a:pt x="1495" y="2608"/>
                      </a:lnTo>
                      <a:lnTo>
                        <a:pt x="1528" y="2599"/>
                      </a:lnTo>
                      <a:lnTo>
                        <a:pt x="1580" y="2608"/>
                      </a:lnTo>
                      <a:lnTo>
                        <a:pt x="1511" y="2599"/>
                      </a:lnTo>
                      <a:lnTo>
                        <a:pt x="1478" y="2615"/>
                      </a:lnTo>
                      <a:lnTo>
                        <a:pt x="1478" y="2625"/>
                      </a:lnTo>
                      <a:lnTo>
                        <a:pt x="1441" y="2648"/>
                      </a:lnTo>
                      <a:lnTo>
                        <a:pt x="1436" y="2632"/>
                      </a:lnTo>
                      <a:lnTo>
                        <a:pt x="1441" y="2615"/>
                      </a:lnTo>
                      <a:lnTo>
                        <a:pt x="1424" y="2632"/>
                      </a:lnTo>
                      <a:lnTo>
                        <a:pt x="1419" y="2625"/>
                      </a:lnTo>
                      <a:lnTo>
                        <a:pt x="1436" y="2615"/>
                      </a:lnTo>
                      <a:lnTo>
                        <a:pt x="1419" y="2615"/>
                      </a:lnTo>
                      <a:lnTo>
                        <a:pt x="1424" y="2592"/>
                      </a:lnTo>
                      <a:lnTo>
                        <a:pt x="1419" y="2608"/>
                      </a:lnTo>
                      <a:lnTo>
                        <a:pt x="1386" y="2608"/>
                      </a:lnTo>
                      <a:lnTo>
                        <a:pt x="1408" y="2592"/>
                      </a:lnTo>
                      <a:lnTo>
                        <a:pt x="1386" y="2599"/>
                      </a:lnTo>
                      <a:lnTo>
                        <a:pt x="1424" y="2575"/>
                      </a:lnTo>
                      <a:lnTo>
                        <a:pt x="1452" y="2587"/>
                      </a:lnTo>
                      <a:lnTo>
                        <a:pt x="1478" y="2570"/>
                      </a:lnTo>
                      <a:lnTo>
                        <a:pt x="1490" y="2575"/>
                      </a:lnTo>
                      <a:lnTo>
                        <a:pt x="1490" y="2570"/>
                      </a:lnTo>
                      <a:lnTo>
                        <a:pt x="1452" y="2587"/>
                      </a:lnTo>
                      <a:lnTo>
                        <a:pt x="1436" y="2575"/>
                      </a:lnTo>
                      <a:lnTo>
                        <a:pt x="1398" y="2592"/>
                      </a:lnTo>
                      <a:lnTo>
                        <a:pt x="1386" y="2587"/>
                      </a:lnTo>
                      <a:lnTo>
                        <a:pt x="1408" y="2570"/>
                      </a:lnTo>
                      <a:lnTo>
                        <a:pt x="1386" y="2575"/>
                      </a:lnTo>
                      <a:lnTo>
                        <a:pt x="1370" y="2575"/>
                      </a:lnTo>
                      <a:lnTo>
                        <a:pt x="1398" y="2570"/>
                      </a:lnTo>
                      <a:lnTo>
                        <a:pt x="1370" y="2570"/>
                      </a:lnTo>
                      <a:lnTo>
                        <a:pt x="1474" y="2514"/>
                      </a:lnTo>
                      <a:lnTo>
                        <a:pt x="1478" y="2497"/>
                      </a:lnTo>
                      <a:lnTo>
                        <a:pt x="1528" y="2476"/>
                      </a:lnTo>
                      <a:lnTo>
                        <a:pt x="1587" y="2476"/>
                      </a:lnTo>
                      <a:lnTo>
                        <a:pt x="1542" y="2464"/>
                      </a:lnTo>
                      <a:lnTo>
                        <a:pt x="1566" y="2448"/>
                      </a:lnTo>
                      <a:lnTo>
                        <a:pt x="1613" y="2459"/>
                      </a:lnTo>
                      <a:lnTo>
                        <a:pt x="1570" y="2448"/>
                      </a:lnTo>
                      <a:lnTo>
                        <a:pt x="1587" y="2443"/>
                      </a:lnTo>
                      <a:lnTo>
                        <a:pt x="1533" y="2464"/>
                      </a:lnTo>
                      <a:lnTo>
                        <a:pt x="1403" y="2554"/>
                      </a:lnTo>
                      <a:lnTo>
                        <a:pt x="1370" y="2559"/>
                      </a:lnTo>
                      <a:lnTo>
                        <a:pt x="1353" y="2554"/>
                      </a:lnTo>
                      <a:lnTo>
                        <a:pt x="1398" y="2537"/>
                      </a:lnTo>
                      <a:lnTo>
                        <a:pt x="1365" y="2542"/>
                      </a:lnTo>
                      <a:lnTo>
                        <a:pt x="1353" y="2537"/>
                      </a:lnTo>
                      <a:lnTo>
                        <a:pt x="1353" y="2514"/>
                      </a:lnTo>
                      <a:lnTo>
                        <a:pt x="1441" y="2504"/>
                      </a:lnTo>
                      <a:lnTo>
                        <a:pt x="1386" y="2504"/>
                      </a:lnTo>
                      <a:lnTo>
                        <a:pt x="1370" y="2497"/>
                      </a:lnTo>
                      <a:lnTo>
                        <a:pt x="1436" y="2488"/>
                      </a:lnTo>
                      <a:lnTo>
                        <a:pt x="1386" y="2481"/>
                      </a:lnTo>
                      <a:lnTo>
                        <a:pt x="1419" y="2481"/>
                      </a:lnTo>
                      <a:lnTo>
                        <a:pt x="1398" y="2481"/>
                      </a:lnTo>
                      <a:lnTo>
                        <a:pt x="1403" y="2476"/>
                      </a:lnTo>
                      <a:lnTo>
                        <a:pt x="1457" y="2476"/>
                      </a:lnTo>
                      <a:lnTo>
                        <a:pt x="1441" y="2464"/>
                      </a:lnTo>
                      <a:lnTo>
                        <a:pt x="1353" y="2464"/>
                      </a:lnTo>
                      <a:lnTo>
                        <a:pt x="1348" y="2459"/>
                      </a:lnTo>
                      <a:lnTo>
                        <a:pt x="1386" y="2448"/>
                      </a:lnTo>
                      <a:lnTo>
                        <a:pt x="1348" y="2443"/>
                      </a:lnTo>
                      <a:lnTo>
                        <a:pt x="1382" y="2443"/>
                      </a:lnTo>
                      <a:lnTo>
                        <a:pt x="1332" y="2443"/>
                      </a:lnTo>
                      <a:lnTo>
                        <a:pt x="1348" y="2431"/>
                      </a:lnTo>
                      <a:lnTo>
                        <a:pt x="1382" y="2426"/>
                      </a:lnTo>
                      <a:lnTo>
                        <a:pt x="1365" y="2426"/>
                      </a:lnTo>
                      <a:lnTo>
                        <a:pt x="1462" y="2410"/>
                      </a:lnTo>
                      <a:lnTo>
                        <a:pt x="1511" y="2410"/>
                      </a:lnTo>
                      <a:lnTo>
                        <a:pt x="1533" y="2431"/>
                      </a:lnTo>
                      <a:lnTo>
                        <a:pt x="1587" y="2431"/>
                      </a:lnTo>
                      <a:lnTo>
                        <a:pt x="1533" y="2431"/>
                      </a:lnTo>
                      <a:lnTo>
                        <a:pt x="1511" y="2410"/>
                      </a:lnTo>
                      <a:lnTo>
                        <a:pt x="1533" y="2403"/>
                      </a:lnTo>
                      <a:lnTo>
                        <a:pt x="1386" y="2410"/>
                      </a:lnTo>
                      <a:lnTo>
                        <a:pt x="1348" y="2426"/>
                      </a:lnTo>
                      <a:lnTo>
                        <a:pt x="1344" y="2419"/>
                      </a:lnTo>
                      <a:lnTo>
                        <a:pt x="1353" y="2393"/>
                      </a:lnTo>
                      <a:lnTo>
                        <a:pt x="1408" y="2370"/>
                      </a:lnTo>
                      <a:lnTo>
                        <a:pt x="1398" y="2370"/>
                      </a:lnTo>
                      <a:lnTo>
                        <a:pt x="1403" y="2370"/>
                      </a:lnTo>
                      <a:lnTo>
                        <a:pt x="1436" y="2365"/>
                      </a:lnTo>
                      <a:lnTo>
                        <a:pt x="1419" y="2365"/>
                      </a:lnTo>
                      <a:lnTo>
                        <a:pt x="1441" y="2365"/>
                      </a:lnTo>
                      <a:lnTo>
                        <a:pt x="1490" y="2377"/>
                      </a:lnTo>
                      <a:lnTo>
                        <a:pt x="1516" y="2370"/>
                      </a:lnTo>
                      <a:lnTo>
                        <a:pt x="1566" y="2393"/>
                      </a:lnTo>
                      <a:lnTo>
                        <a:pt x="1604" y="2393"/>
                      </a:lnTo>
                      <a:lnTo>
                        <a:pt x="1613" y="2386"/>
                      </a:lnTo>
                      <a:lnTo>
                        <a:pt x="1570" y="2393"/>
                      </a:lnTo>
                      <a:lnTo>
                        <a:pt x="1559" y="2377"/>
                      </a:lnTo>
                      <a:lnTo>
                        <a:pt x="1596" y="2365"/>
                      </a:lnTo>
                      <a:lnTo>
                        <a:pt x="1618" y="2370"/>
                      </a:lnTo>
                      <a:lnTo>
                        <a:pt x="1596" y="2365"/>
                      </a:lnTo>
                      <a:lnTo>
                        <a:pt x="1542" y="2377"/>
                      </a:lnTo>
                      <a:lnTo>
                        <a:pt x="1528" y="2365"/>
                      </a:lnTo>
                      <a:lnTo>
                        <a:pt x="1587" y="2348"/>
                      </a:lnTo>
                      <a:lnTo>
                        <a:pt x="1559" y="2337"/>
                      </a:lnTo>
                      <a:lnTo>
                        <a:pt x="1559" y="2348"/>
                      </a:lnTo>
                      <a:lnTo>
                        <a:pt x="1566" y="2348"/>
                      </a:lnTo>
                      <a:lnTo>
                        <a:pt x="1533" y="2365"/>
                      </a:lnTo>
                      <a:lnTo>
                        <a:pt x="1516" y="2348"/>
                      </a:lnTo>
                      <a:lnTo>
                        <a:pt x="1549" y="2348"/>
                      </a:lnTo>
                      <a:lnTo>
                        <a:pt x="1542" y="2332"/>
                      </a:lnTo>
                      <a:lnTo>
                        <a:pt x="1504" y="2337"/>
                      </a:lnTo>
                      <a:lnTo>
                        <a:pt x="1516" y="2353"/>
                      </a:lnTo>
                      <a:lnTo>
                        <a:pt x="1495" y="2370"/>
                      </a:lnTo>
                      <a:lnTo>
                        <a:pt x="1490" y="2365"/>
                      </a:lnTo>
                      <a:lnTo>
                        <a:pt x="1504" y="2353"/>
                      </a:lnTo>
                      <a:lnTo>
                        <a:pt x="1452" y="2353"/>
                      </a:lnTo>
                      <a:lnTo>
                        <a:pt x="1504" y="2332"/>
                      </a:lnTo>
                      <a:lnTo>
                        <a:pt x="1403" y="2365"/>
                      </a:lnTo>
                      <a:lnTo>
                        <a:pt x="1365" y="2386"/>
                      </a:lnTo>
                      <a:lnTo>
                        <a:pt x="1353" y="2386"/>
                      </a:lnTo>
                      <a:lnTo>
                        <a:pt x="1348" y="2377"/>
                      </a:lnTo>
                      <a:lnTo>
                        <a:pt x="1365" y="2370"/>
                      </a:lnTo>
                      <a:lnTo>
                        <a:pt x="1353" y="2353"/>
                      </a:lnTo>
                      <a:lnTo>
                        <a:pt x="1382" y="2353"/>
                      </a:lnTo>
                      <a:lnTo>
                        <a:pt x="1370" y="2348"/>
                      </a:lnTo>
                      <a:lnTo>
                        <a:pt x="1386" y="2353"/>
                      </a:lnTo>
                      <a:lnTo>
                        <a:pt x="1403" y="2348"/>
                      </a:lnTo>
                      <a:lnTo>
                        <a:pt x="1386" y="2348"/>
                      </a:lnTo>
                      <a:lnTo>
                        <a:pt x="1386" y="2337"/>
                      </a:lnTo>
                      <a:lnTo>
                        <a:pt x="1408" y="2332"/>
                      </a:lnTo>
                      <a:lnTo>
                        <a:pt x="1386" y="2332"/>
                      </a:lnTo>
                      <a:lnTo>
                        <a:pt x="1386" y="2320"/>
                      </a:lnTo>
                      <a:lnTo>
                        <a:pt x="1457" y="2337"/>
                      </a:lnTo>
                      <a:lnTo>
                        <a:pt x="1474" y="2332"/>
                      </a:lnTo>
                      <a:lnTo>
                        <a:pt x="1424" y="2332"/>
                      </a:lnTo>
                      <a:lnTo>
                        <a:pt x="1398" y="2315"/>
                      </a:lnTo>
                      <a:lnTo>
                        <a:pt x="1370" y="2315"/>
                      </a:lnTo>
                      <a:lnTo>
                        <a:pt x="1382" y="2308"/>
                      </a:lnTo>
                      <a:lnTo>
                        <a:pt x="1452" y="2320"/>
                      </a:lnTo>
                      <a:lnTo>
                        <a:pt x="1419" y="2308"/>
                      </a:lnTo>
                      <a:lnTo>
                        <a:pt x="1490" y="2320"/>
                      </a:lnTo>
                      <a:lnTo>
                        <a:pt x="1533" y="2320"/>
                      </a:lnTo>
                      <a:lnTo>
                        <a:pt x="1570" y="2337"/>
                      </a:lnTo>
                      <a:lnTo>
                        <a:pt x="1604" y="2337"/>
                      </a:lnTo>
                      <a:lnTo>
                        <a:pt x="1511" y="2308"/>
                      </a:lnTo>
                      <a:lnTo>
                        <a:pt x="1549" y="2308"/>
                      </a:lnTo>
                      <a:lnTo>
                        <a:pt x="1528" y="2299"/>
                      </a:lnTo>
                      <a:lnTo>
                        <a:pt x="1533" y="2292"/>
                      </a:lnTo>
                      <a:lnTo>
                        <a:pt x="1533" y="2282"/>
                      </a:lnTo>
                      <a:lnTo>
                        <a:pt x="1559" y="2266"/>
                      </a:lnTo>
                      <a:lnTo>
                        <a:pt x="1504" y="2275"/>
                      </a:lnTo>
                      <a:lnTo>
                        <a:pt x="1528" y="2292"/>
                      </a:lnTo>
                      <a:lnTo>
                        <a:pt x="1441" y="2308"/>
                      </a:lnTo>
                      <a:lnTo>
                        <a:pt x="1441" y="2308"/>
                      </a:lnTo>
                      <a:lnTo>
                        <a:pt x="1441" y="2308"/>
                      </a:lnTo>
                      <a:close/>
                      <a:moveTo>
                        <a:pt x="2343" y="45"/>
                      </a:moveTo>
                      <a:lnTo>
                        <a:pt x="2374" y="41"/>
                      </a:lnTo>
                      <a:lnTo>
                        <a:pt x="2390" y="57"/>
                      </a:lnTo>
                      <a:lnTo>
                        <a:pt x="2343" y="45"/>
                      </a:lnTo>
                      <a:lnTo>
                        <a:pt x="2343" y="45"/>
                      </a:lnTo>
                      <a:lnTo>
                        <a:pt x="2343" y="45"/>
                      </a:lnTo>
                      <a:close/>
                      <a:moveTo>
                        <a:pt x="2390" y="83"/>
                      </a:moveTo>
                      <a:lnTo>
                        <a:pt x="2267" y="62"/>
                      </a:lnTo>
                      <a:lnTo>
                        <a:pt x="2298" y="45"/>
                      </a:lnTo>
                      <a:lnTo>
                        <a:pt x="2411" y="83"/>
                      </a:lnTo>
                      <a:lnTo>
                        <a:pt x="2390" y="83"/>
                      </a:lnTo>
                      <a:lnTo>
                        <a:pt x="2390" y="83"/>
                      </a:lnTo>
                      <a:lnTo>
                        <a:pt x="2390" y="83"/>
                      </a:lnTo>
                      <a:close/>
                      <a:moveTo>
                        <a:pt x="2284" y="67"/>
                      </a:moveTo>
                      <a:lnTo>
                        <a:pt x="2315" y="67"/>
                      </a:lnTo>
                      <a:lnTo>
                        <a:pt x="2272" y="67"/>
                      </a:lnTo>
                      <a:lnTo>
                        <a:pt x="2284" y="67"/>
                      </a:lnTo>
                      <a:lnTo>
                        <a:pt x="2284" y="67"/>
                      </a:lnTo>
                      <a:lnTo>
                        <a:pt x="2284" y="67"/>
                      </a:lnTo>
                      <a:close/>
                      <a:moveTo>
                        <a:pt x="2411" y="83"/>
                      </a:moveTo>
                      <a:lnTo>
                        <a:pt x="2411" y="78"/>
                      </a:lnTo>
                      <a:lnTo>
                        <a:pt x="2449" y="83"/>
                      </a:lnTo>
                      <a:lnTo>
                        <a:pt x="2411" y="83"/>
                      </a:lnTo>
                      <a:lnTo>
                        <a:pt x="2411" y="83"/>
                      </a:lnTo>
                      <a:lnTo>
                        <a:pt x="2411" y="83"/>
                      </a:lnTo>
                      <a:close/>
                      <a:moveTo>
                        <a:pt x="2322" y="116"/>
                      </a:moveTo>
                      <a:lnTo>
                        <a:pt x="2213" y="78"/>
                      </a:lnTo>
                      <a:lnTo>
                        <a:pt x="2260" y="78"/>
                      </a:lnTo>
                      <a:lnTo>
                        <a:pt x="2322" y="116"/>
                      </a:lnTo>
                      <a:lnTo>
                        <a:pt x="2322" y="116"/>
                      </a:lnTo>
                      <a:lnTo>
                        <a:pt x="2322" y="116"/>
                      </a:lnTo>
                      <a:close/>
                      <a:moveTo>
                        <a:pt x="2343" y="111"/>
                      </a:moveTo>
                      <a:lnTo>
                        <a:pt x="2272" y="83"/>
                      </a:lnTo>
                      <a:lnTo>
                        <a:pt x="2369" y="95"/>
                      </a:lnTo>
                      <a:lnTo>
                        <a:pt x="2343" y="111"/>
                      </a:lnTo>
                      <a:lnTo>
                        <a:pt x="2343" y="111"/>
                      </a:lnTo>
                      <a:lnTo>
                        <a:pt x="2343" y="111"/>
                      </a:lnTo>
                      <a:close/>
                      <a:moveTo>
                        <a:pt x="1840" y="140"/>
                      </a:moveTo>
                      <a:lnTo>
                        <a:pt x="1802" y="123"/>
                      </a:lnTo>
                      <a:lnTo>
                        <a:pt x="1868" y="140"/>
                      </a:lnTo>
                      <a:lnTo>
                        <a:pt x="1840" y="140"/>
                      </a:lnTo>
                      <a:lnTo>
                        <a:pt x="1840" y="140"/>
                      </a:lnTo>
                      <a:lnTo>
                        <a:pt x="1840" y="140"/>
                      </a:lnTo>
                      <a:close/>
                      <a:moveTo>
                        <a:pt x="1731" y="152"/>
                      </a:moveTo>
                      <a:lnTo>
                        <a:pt x="1726" y="135"/>
                      </a:lnTo>
                      <a:lnTo>
                        <a:pt x="1797" y="152"/>
                      </a:lnTo>
                      <a:lnTo>
                        <a:pt x="1731" y="152"/>
                      </a:lnTo>
                      <a:lnTo>
                        <a:pt x="1731" y="152"/>
                      </a:lnTo>
                      <a:lnTo>
                        <a:pt x="1731" y="152"/>
                      </a:lnTo>
                      <a:close/>
                      <a:moveTo>
                        <a:pt x="2298" y="173"/>
                      </a:moveTo>
                      <a:lnTo>
                        <a:pt x="2284" y="168"/>
                      </a:lnTo>
                      <a:lnTo>
                        <a:pt x="2305" y="173"/>
                      </a:lnTo>
                      <a:lnTo>
                        <a:pt x="2298" y="173"/>
                      </a:lnTo>
                      <a:lnTo>
                        <a:pt x="2298" y="173"/>
                      </a:lnTo>
                      <a:lnTo>
                        <a:pt x="2298" y="173"/>
                      </a:lnTo>
                      <a:close/>
                      <a:moveTo>
                        <a:pt x="1965" y="279"/>
                      </a:moveTo>
                      <a:lnTo>
                        <a:pt x="1937" y="251"/>
                      </a:lnTo>
                      <a:lnTo>
                        <a:pt x="1830" y="222"/>
                      </a:lnTo>
                      <a:lnTo>
                        <a:pt x="1776" y="178"/>
                      </a:lnTo>
                      <a:lnTo>
                        <a:pt x="1882" y="173"/>
                      </a:lnTo>
                      <a:lnTo>
                        <a:pt x="2003" y="222"/>
                      </a:lnTo>
                      <a:lnTo>
                        <a:pt x="1958" y="251"/>
                      </a:lnTo>
                      <a:lnTo>
                        <a:pt x="1982" y="267"/>
                      </a:lnTo>
                      <a:lnTo>
                        <a:pt x="1965" y="279"/>
                      </a:lnTo>
                      <a:lnTo>
                        <a:pt x="1965" y="279"/>
                      </a:lnTo>
                      <a:lnTo>
                        <a:pt x="1965" y="279"/>
                      </a:lnTo>
                      <a:close/>
                      <a:moveTo>
                        <a:pt x="1731" y="211"/>
                      </a:moveTo>
                      <a:lnTo>
                        <a:pt x="1693" y="194"/>
                      </a:lnTo>
                      <a:lnTo>
                        <a:pt x="1748" y="206"/>
                      </a:lnTo>
                      <a:lnTo>
                        <a:pt x="1731" y="211"/>
                      </a:lnTo>
                      <a:lnTo>
                        <a:pt x="1731" y="211"/>
                      </a:lnTo>
                      <a:lnTo>
                        <a:pt x="1731" y="211"/>
                      </a:lnTo>
                      <a:close/>
                      <a:moveTo>
                        <a:pt x="1528" y="296"/>
                      </a:moveTo>
                      <a:lnTo>
                        <a:pt x="1403" y="267"/>
                      </a:lnTo>
                      <a:lnTo>
                        <a:pt x="1382" y="244"/>
                      </a:lnTo>
                      <a:lnTo>
                        <a:pt x="1398" y="227"/>
                      </a:lnTo>
                      <a:lnTo>
                        <a:pt x="1419" y="239"/>
                      </a:lnTo>
                      <a:lnTo>
                        <a:pt x="1528" y="296"/>
                      </a:lnTo>
                      <a:lnTo>
                        <a:pt x="1528" y="296"/>
                      </a:lnTo>
                      <a:lnTo>
                        <a:pt x="1528" y="296"/>
                      </a:lnTo>
                      <a:close/>
                      <a:moveTo>
                        <a:pt x="1462" y="251"/>
                      </a:moveTo>
                      <a:lnTo>
                        <a:pt x="1457" y="239"/>
                      </a:lnTo>
                      <a:lnTo>
                        <a:pt x="1490" y="251"/>
                      </a:lnTo>
                      <a:lnTo>
                        <a:pt x="1462" y="251"/>
                      </a:lnTo>
                      <a:lnTo>
                        <a:pt x="1462" y="251"/>
                      </a:lnTo>
                      <a:lnTo>
                        <a:pt x="1462" y="251"/>
                      </a:lnTo>
                      <a:close/>
                      <a:moveTo>
                        <a:pt x="3789" y="284"/>
                      </a:moveTo>
                      <a:lnTo>
                        <a:pt x="3763" y="251"/>
                      </a:lnTo>
                      <a:lnTo>
                        <a:pt x="3800" y="296"/>
                      </a:lnTo>
                      <a:lnTo>
                        <a:pt x="3789" y="284"/>
                      </a:lnTo>
                      <a:lnTo>
                        <a:pt x="3789" y="284"/>
                      </a:lnTo>
                      <a:lnTo>
                        <a:pt x="3789" y="284"/>
                      </a:lnTo>
                      <a:close/>
                      <a:moveTo>
                        <a:pt x="3704" y="305"/>
                      </a:moveTo>
                      <a:lnTo>
                        <a:pt x="3666" y="267"/>
                      </a:lnTo>
                      <a:lnTo>
                        <a:pt x="3692" y="267"/>
                      </a:lnTo>
                      <a:lnTo>
                        <a:pt x="3741" y="305"/>
                      </a:lnTo>
                      <a:lnTo>
                        <a:pt x="3704" y="305"/>
                      </a:lnTo>
                      <a:lnTo>
                        <a:pt x="3704" y="305"/>
                      </a:lnTo>
                      <a:lnTo>
                        <a:pt x="3704" y="305"/>
                      </a:lnTo>
                      <a:close/>
                      <a:moveTo>
                        <a:pt x="3817" y="350"/>
                      </a:moveTo>
                      <a:lnTo>
                        <a:pt x="3772" y="322"/>
                      </a:lnTo>
                      <a:lnTo>
                        <a:pt x="3810" y="322"/>
                      </a:lnTo>
                      <a:lnTo>
                        <a:pt x="3843" y="350"/>
                      </a:lnTo>
                      <a:lnTo>
                        <a:pt x="3817" y="350"/>
                      </a:lnTo>
                      <a:lnTo>
                        <a:pt x="3817" y="350"/>
                      </a:lnTo>
                      <a:lnTo>
                        <a:pt x="3817" y="350"/>
                      </a:lnTo>
                      <a:close/>
                      <a:moveTo>
                        <a:pt x="3654" y="355"/>
                      </a:moveTo>
                      <a:lnTo>
                        <a:pt x="3666" y="350"/>
                      </a:lnTo>
                      <a:lnTo>
                        <a:pt x="3649" y="338"/>
                      </a:lnTo>
                      <a:lnTo>
                        <a:pt x="3654" y="333"/>
                      </a:lnTo>
                      <a:lnTo>
                        <a:pt x="3708" y="338"/>
                      </a:lnTo>
                      <a:lnTo>
                        <a:pt x="3654" y="355"/>
                      </a:lnTo>
                      <a:lnTo>
                        <a:pt x="3654" y="355"/>
                      </a:lnTo>
                      <a:lnTo>
                        <a:pt x="3654" y="355"/>
                      </a:lnTo>
                      <a:close/>
                      <a:moveTo>
                        <a:pt x="3789" y="600"/>
                      </a:moveTo>
                      <a:lnTo>
                        <a:pt x="3720" y="612"/>
                      </a:lnTo>
                      <a:lnTo>
                        <a:pt x="3741" y="584"/>
                      </a:lnTo>
                      <a:lnTo>
                        <a:pt x="3789" y="600"/>
                      </a:lnTo>
                      <a:lnTo>
                        <a:pt x="3789" y="600"/>
                      </a:lnTo>
                      <a:lnTo>
                        <a:pt x="3789" y="600"/>
                      </a:lnTo>
                      <a:close/>
                      <a:moveTo>
                        <a:pt x="3763" y="749"/>
                      </a:moveTo>
                      <a:lnTo>
                        <a:pt x="3763" y="766"/>
                      </a:lnTo>
                      <a:lnTo>
                        <a:pt x="3758" y="761"/>
                      </a:lnTo>
                      <a:lnTo>
                        <a:pt x="3763" y="749"/>
                      </a:lnTo>
                      <a:lnTo>
                        <a:pt x="3763" y="749"/>
                      </a:lnTo>
                      <a:lnTo>
                        <a:pt x="3763" y="749"/>
                      </a:lnTo>
                      <a:close/>
                      <a:moveTo>
                        <a:pt x="3881" y="749"/>
                      </a:moveTo>
                      <a:lnTo>
                        <a:pt x="3885" y="761"/>
                      </a:lnTo>
                      <a:lnTo>
                        <a:pt x="3848" y="794"/>
                      </a:lnTo>
                      <a:lnTo>
                        <a:pt x="3855" y="778"/>
                      </a:lnTo>
                      <a:lnTo>
                        <a:pt x="3881" y="749"/>
                      </a:lnTo>
                      <a:lnTo>
                        <a:pt x="3881" y="749"/>
                      </a:lnTo>
                      <a:lnTo>
                        <a:pt x="3881" y="749"/>
                      </a:lnTo>
                      <a:close/>
                      <a:moveTo>
                        <a:pt x="3763" y="834"/>
                      </a:moveTo>
                      <a:lnTo>
                        <a:pt x="3734" y="822"/>
                      </a:lnTo>
                      <a:lnTo>
                        <a:pt x="3779" y="799"/>
                      </a:lnTo>
                      <a:lnTo>
                        <a:pt x="3763" y="815"/>
                      </a:lnTo>
                      <a:lnTo>
                        <a:pt x="3779" y="822"/>
                      </a:lnTo>
                      <a:lnTo>
                        <a:pt x="3758" y="822"/>
                      </a:lnTo>
                      <a:lnTo>
                        <a:pt x="3779" y="822"/>
                      </a:lnTo>
                      <a:lnTo>
                        <a:pt x="3763" y="834"/>
                      </a:lnTo>
                      <a:lnTo>
                        <a:pt x="3763" y="834"/>
                      </a:lnTo>
                      <a:lnTo>
                        <a:pt x="3763" y="834"/>
                      </a:lnTo>
                      <a:close/>
                      <a:moveTo>
                        <a:pt x="3843" y="834"/>
                      </a:moveTo>
                      <a:lnTo>
                        <a:pt x="3843" y="806"/>
                      </a:lnTo>
                      <a:lnTo>
                        <a:pt x="3855" y="815"/>
                      </a:lnTo>
                      <a:lnTo>
                        <a:pt x="3843" y="834"/>
                      </a:lnTo>
                      <a:lnTo>
                        <a:pt x="3843" y="834"/>
                      </a:lnTo>
                      <a:lnTo>
                        <a:pt x="3843" y="834"/>
                      </a:lnTo>
                      <a:close/>
                      <a:moveTo>
                        <a:pt x="3772" y="877"/>
                      </a:moveTo>
                      <a:lnTo>
                        <a:pt x="3789" y="889"/>
                      </a:lnTo>
                      <a:lnTo>
                        <a:pt x="3763" y="893"/>
                      </a:lnTo>
                      <a:lnTo>
                        <a:pt x="3763" y="889"/>
                      </a:lnTo>
                      <a:lnTo>
                        <a:pt x="3772" y="877"/>
                      </a:lnTo>
                      <a:lnTo>
                        <a:pt x="3772" y="877"/>
                      </a:lnTo>
                      <a:lnTo>
                        <a:pt x="3772" y="877"/>
                      </a:lnTo>
                      <a:close/>
                      <a:moveTo>
                        <a:pt x="3746" y="889"/>
                      </a:moveTo>
                      <a:lnTo>
                        <a:pt x="3758" y="893"/>
                      </a:lnTo>
                      <a:lnTo>
                        <a:pt x="3741" y="905"/>
                      </a:lnTo>
                      <a:lnTo>
                        <a:pt x="3741" y="889"/>
                      </a:lnTo>
                      <a:lnTo>
                        <a:pt x="3746" y="889"/>
                      </a:lnTo>
                      <a:lnTo>
                        <a:pt x="3746" y="889"/>
                      </a:lnTo>
                      <a:lnTo>
                        <a:pt x="3746" y="889"/>
                      </a:lnTo>
                      <a:close/>
                      <a:moveTo>
                        <a:pt x="3772" y="910"/>
                      </a:moveTo>
                      <a:lnTo>
                        <a:pt x="3763" y="905"/>
                      </a:lnTo>
                      <a:lnTo>
                        <a:pt x="3796" y="905"/>
                      </a:lnTo>
                      <a:lnTo>
                        <a:pt x="3772" y="910"/>
                      </a:lnTo>
                      <a:lnTo>
                        <a:pt x="3772" y="910"/>
                      </a:lnTo>
                      <a:lnTo>
                        <a:pt x="3772" y="910"/>
                      </a:lnTo>
                      <a:close/>
                      <a:moveTo>
                        <a:pt x="3649" y="917"/>
                      </a:moveTo>
                      <a:lnTo>
                        <a:pt x="3654" y="917"/>
                      </a:lnTo>
                      <a:lnTo>
                        <a:pt x="3649" y="917"/>
                      </a:lnTo>
                      <a:lnTo>
                        <a:pt x="3649" y="917"/>
                      </a:lnTo>
                      <a:lnTo>
                        <a:pt x="3649" y="917"/>
                      </a:lnTo>
                      <a:close/>
                      <a:moveTo>
                        <a:pt x="3796" y="917"/>
                      </a:moveTo>
                      <a:lnTo>
                        <a:pt x="3789" y="933"/>
                      </a:lnTo>
                      <a:lnTo>
                        <a:pt x="3779" y="926"/>
                      </a:lnTo>
                      <a:lnTo>
                        <a:pt x="3796" y="917"/>
                      </a:lnTo>
                      <a:lnTo>
                        <a:pt x="3796" y="917"/>
                      </a:lnTo>
                      <a:lnTo>
                        <a:pt x="3796" y="917"/>
                      </a:lnTo>
                      <a:close/>
                      <a:moveTo>
                        <a:pt x="3772" y="926"/>
                      </a:moveTo>
                      <a:lnTo>
                        <a:pt x="3763" y="926"/>
                      </a:lnTo>
                      <a:lnTo>
                        <a:pt x="3772" y="917"/>
                      </a:lnTo>
                      <a:lnTo>
                        <a:pt x="3772" y="926"/>
                      </a:lnTo>
                      <a:lnTo>
                        <a:pt x="3772" y="926"/>
                      </a:lnTo>
                      <a:lnTo>
                        <a:pt x="3772" y="926"/>
                      </a:lnTo>
                      <a:close/>
                      <a:moveTo>
                        <a:pt x="3637" y="945"/>
                      </a:moveTo>
                      <a:lnTo>
                        <a:pt x="3628" y="966"/>
                      </a:lnTo>
                      <a:lnTo>
                        <a:pt x="3616" y="962"/>
                      </a:lnTo>
                      <a:lnTo>
                        <a:pt x="3637" y="945"/>
                      </a:lnTo>
                      <a:lnTo>
                        <a:pt x="3637" y="945"/>
                      </a:lnTo>
                      <a:lnTo>
                        <a:pt x="3637" y="945"/>
                      </a:lnTo>
                      <a:close/>
                      <a:moveTo>
                        <a:pt x="3734" y="966"/>
                      </a:moveTo>
                      <a:lnTo>
                        <a:pt x="3772" y="971"/>
                      </a:lnTo>
                      <a:lnTo>
                        <a:pt x="3687" y="950"/>
                      </a:lnTo>
                      <a:lnTo>
                        <a:pt x="3725" y="950"/>
                      </a:lnTo>
                      <a:lnTo>
                        <a:pt x="3720" y="950"/>
                      </a:lnTo>
                      <a:lnTo>
                        <a:pt x="3734" y="966"/>
                      </a:lnTo>
                      <a:lnTo>
                        <a:pt x="3734" y="966"/>
                      </a:lnTo>
                      <a:lnTo>
                        <a:pt x="3734" y="966"/>
                      </a:lnTo>
                      <a:close/>
                      <a:moveTo>
                        <a:pt x="3746" y="962"/>
                      </a:moveTo>
                      <a:lnTo>
                        <a:pt x="3741" y="950"/>
                      </a:lnTo>
                      <a:lnTo>
                        <a:pt x="3746" y="962"/>
                      </a:lnTo>
                      <a:lnTo>
                        <a:pt x="3746" y="962"/>
                      </a:lnTo>
                      <a:lnTo>
                        <a:pt x="3746" y="962"/>
                      </a:lnTo>
                      <a:close/>
                      <a:moveTo>
                        <a:pt x="3881" y="962"/>
                      </a:moveTo>
                      <a:lnTo>
                        <a:pt x="3885" y="971"/>
                      </a:lnTo>
                      <a:lnTo>
                        <a:pt x="3881" y="988"/>
                      </a:lnTo>
                      <a:lnTo>
                        <a:pt x="3843" y="1000"/>
                      </a:lnTo>
                      <a:lnTo>
                        <a:pt x="3864" y="966"/>
                      </a:lnTo>
                      <a:lnTo>
                        <a:pt x="3881" y="962"/>
                      </a:lnTo>
                      <a:lnTo>
                        <a:pt x="3881" y="962"/>
                      </a:lnTo>
                      <a:lnTo>
                        <a:pt x="3881" y="962"/>
                      </a:lnTo>
                      <a:close/>
                      <a:moveTo>
                        <a:pt x="3708" y="1000"/>
                      </a:moveTo>
                      <a:lnTo>
                        <a:pt x="3720" y="1004"/>
                      </a:lnTo>
                      <a:lnTo>
                        <a:pt x="3687" y="1004"/>
                      </a:lnTo>
                      <a:lnTo>
                        <a:pt x="3708" y="1000"/>
                      </a:lnTo>
                      <a:lnTo>
                        <a:pt x="3708" y="1000"/>
                      </a:lnTo>
                      <a:lnTo>
                        <a:pt x="3708" y="1000"/>
                      </a:lnTo>
                      <a:close/>
                      <a:moveTo>
                        <a:pt x="432" y="1004"/>
                      </a:moveTo>
                      <a:lnTo>
                        <a:pt x="425" y="1004"/>
                      </a:lnTo>
                      <a:lnTo>
                        <a:pt x="446" y="1004"/>
                      </a:lnTo>
                      <a:lnTo>
                        <a:pt x="432" y="1004"/>
                      </a:lnTo>
                      <a:lnTo>
                        <a:pt x="432" y="1004"/>
                      </a:lnTo>
                      <a:lnTo>
                        <a:pt x="432" y="1004"/>
                      </a:lnTo>
                      <a:close/>
                      <a:moveTo>
                        <a:pt x="479" y="1028"/>
                      </a:moveTo>
                      <a:lnTo>
                        <a:pt x="437" y="1021"/>
                      </a:lnTo>
                      <a:lnTo>
                        <a:pt x="479" y="1021"/>
                      </a:lnTo>
                      <a:lnTo>
                        <a:pt x="479" y="1028"/>
                      </a:lnTo>
                      <a:lnTo>
                        <a:pt x="479" y="1028"/>
                      </a:lnTo>
                      <a:lnTo>
                        <a:pt x="479" y="1028"/>
                      </a:lnTo>
                      <a:close/>
                      <a:moveTo>
                        <a:pt x="122" y="1028"/>
                      </a:moveTo>
                      <a:lnTo>
                        <a:pt x="205" y="1037"/>
                      </a:lnTo>
                      <a:lnTo>
                        <a:pt x="139" y="1044"/>
                      </a:lnTo>
                      <a:lnTo>
                        <a:pt x="122" y="1028"/>
                      </a:lnTo>
                      <a:lnTo>
                        <a:pt x="122" y="1028"/>
                      </a:lnTo>
                      <a:lnTo>
                        <a:pt x="122" y="1028"/>
                      </a:lnTo>
                      <a:close/>
                      <a:moveTo>
                        <a:pt x="54" y="1028"/>
                      </a:moveTo>
                      <a:lnTo>
                        <a:pt x="113" y="1044"/>
                      </a:lnTo>
                      <a:lnTo>
                        <a:pt x="68" y="1054"/>
                      </a:lnTo>
                      <a:lnTo>
                        <a:pt x="30" y="1037"/>
                      </a:lnTo>
                      <a:lnTo>
                        <a:pt x="54" y="1028"/>
                      </a:lnTo>
                      <a:lnTo>
                        <a:pt x="54" y="1028"/>
                      </a:lnTo>
                      <a:lnTo>
                        <a:pt x="54" y="1028"/>
                      </a:lnTo>
                      <a:close/>
                      <a:moveTo>
                        <a:pt x="3741" y="1127"/>
                      </a:moveTo>
                      <a:lnTo>
                        <a:pt x="3746" y="1127"/>
                      </a:lnTo>
                      <a:lnTo>
                        <a:pt x="3734" y="1132"/>
                      </a:lnTo>
                      <a:lnTo>
                        <a:pt x="3741" y="1127"/>
                      </a:lnTo>
                      <a:lnTo>
                        <a:pt x="3741" y="1127"/>
                      </a:lnTo>
                      <a:lnTo>
                        <a:pt x="3741" y="1127"/>
                      </a:lnTo>
                      <a:close/>
                      <a:moveTo>
                        <a:pt x="3810" y="1226"/>
                      </a:moveTo>
                      <a:lnTo>
                        <a:pt x="3817" y="1243"/>
                      </a:lnTo>
                      <a:lnTo>
                        <a:pt x="3817" y="1266"/>
                      </a:lnTo>
                      <a:lnTo>
                        <a:pt x="3817" y="1250"/>
                      </a:lnTo>
                      <a:lnTo>
                        <a:pt x="3779" y="1172"/>
                      </a:lnTo>
                      <a:lnTo>
                        <a:pt x="3800" y="1165"/>
                      </a:lnTo>
                      <a:lnTo>
                        <a:pt x="3789" y="1155"/>
                      </a:lnTo>
                      <a:lnTo>
                        <a:pt x="3789" y="1139"/>
                      </a:lnTo>
                      <a:lnTo>
                        <a:pt x="3810" y="1155"/>
                      </a:lnTo>
                      <a:lnTo>
                        <a:pt x="3810" y="1172"/>
                      </a:lnTo>
                      <a:lnTo>
                        <a:pt x="3817" y="1222"/>
                      </a:lnTo>
                      <a:lnTo>
                        <a:pt x="3810" y="1226"/>
                      </a:lnTo>
                      <a:lnTo>
                        <a:pt x="3810" y="1226"/>
                      </a:lnTo>
                      <a:lnTo>
                        <a:pt x="3810" y="1226"/>
                      </a:lnTo>
                      <a:close/>
                      <a:moveTo>
                        <a:pt x="3741" y="1139"/>
                      </a:moveTo>
                      <a:lnTo>
                        <a:pt x="3746" y="1139"/>
                      </a:lnTo>
                      <a:lnTo>
                        <a:pt x="3725" y="1139"/>
                      </a:lnTo>
                      <a:lnTo>
                        <a:pt x="3741" y="1139"/>
                      </a:lnTo>
                      <a:lnTo>
                        <a:pt x="3741" y="1139"/>
                      </a:lnTo>
                      <a:lnTo>
                        <a:pt x="3741" y="1139"/>
                      </a:lnTo>
                      <a:close/>
                      <a:moveTo>
                        <a:pt x="3633" y="1165"/>
                      </a:moveTo>
                      <a:lnTo>
                        <a:pt x="3611" y="1155"/>
                      </a:lnTo>
                      <a:lnTo>
                        <a:pt x="3649" y="1155"/>
                      </a:lnTo>
                      <a:lnTo>
                        <a:pt x="3633" y="1165"/>
                      </a:lnTo>
                      <a:lnTo>
                        <a:pt x="3633" y="1165"/>
                      </a:lnTo>
                      <a:lnTo>
                        <a:pt x="3633" y="1165"/>
                      </a:lnTo>
                      <a:close/>
                      <a:moveTo>
                        <a:pt x="236" y="1155"/>
                      </a:moveTo>
                      <a:lnTo>
                        <a:pt x="252" y="1165"/>
                      </a:lnTo>
                      <a:lnTo>
                        <a:pt x="205" y="1165"/>
                      </a:lnTo>
                      <a:lnTo>
                        <a:pt x="236" y="1155"/>
                      </a:lnTo>
                      <a:lnTo>
                        <a:pt x="236" y="1155"/>
                      </a:lnTo>
                      <a:lnTo>
                        <a:pt x="236" y="1155"/>
                      </a:lnTo>
                      <a:close/>
                      <a:moveTo>
                        <a:pt x="3670" y="1172"/>
                      </a:moveTo>
                      <a:lnTo>
                        <a:pt x="3666" y="1189"/>
                      </a:lnTo>
                      <a:lnTo>
                        <a:pt x="3637" y="1184"/>
                      </a:lnTo>
                      <a:lnTo>
                        <a:pt x="3670" y="1172"/>
                      </a:lnTo>
                      <a:lnTo>
                        <a:pt x="3670" y="1172"/>
                      </a:lnTo>
                      <a:lnTo>
                        <a:pt x="3670" y="1172"/>
                      </a:lnTo>
                      <a:close/>
                      <a:moveTo>
                        <a:pt x="215" y="1184"/>
                      </a:moveTo>
                      <a:lnTo>
                        <a:pt x="219" y="1189"/>
                      </a:lnTo>
                      <a:lnTo>
                        <a:pt x="198" y="1184"/>
                      </a:lnTo>
                      <a:lnTo>
                        <a:pt x="215" y="1184"/>
                      </a:lnTo>
                      <a:lnTo>
                        <a:pt x="215" y="1184"/>
                      </a:lnTo>
                      <a:lnTo>
                        <a:pt x="215" y="1184"/>
                      </a:lnTo>
                      <a:close/>
                      <a:moveTo>
                        <a:pt x="3708" y="1193"/>
                      </a:moveTo>
                      <a:lnTo>
                        <a:pt x="3692" y="1210"/>
                      </a:lnTo>
                      <a:lnTo>
                        <a:pt x="3670" y="1193"/>
                      </a:lnTo>
                      <a:lnTo>
                        <a:pt x="3708" y="1193"/>
                      </a:lnTo>
                      <a:lnTo>
                        <a:pt x="3708" y="1193"/>
                      </a:lnTo>
                      <a:lnTo>
                        <a:pt x="3708" y="1193"/>
                      </a:lnTo>
                      <a:close/>
                      <a:moveTo>
                        <a:pt x="630" y="1226"/>
                      </a:moveTo>
                      <a:lnTo>
                        <a:pt x="630" y="1243"/>
                      </a:lnTo>
                      <a:lnTo>
                        <a:pt x="626" y="1238"/>
                      </a:lnTo>
                      <a:lnTo>
                        <a:pt x="630" y="1226"/>
                      </a:lnTo>
                      <a:lnTo>
                        <a:pt x="630" y="1226"/>
                      </a:lnTo>
                      <a:lnTo>
                        <a:pt x="630" y="1226"/>
                      </a:lnTo>
                      <a:close/>
                      <a:moveTo>
                        <a:pt x="559" y="1238"/>
                      </a:moveTo>
                      <a:lnTo>
                        <a:pt x="559" y="1243"/>
                      </a:lnTo>
                      <a:lnTo>
                        <a:pt x="545" y="1243"/>
                      </a:lnTo>
                      <a:lnTo>
                        <a:pt x="559" y="1238"/>
                      </a:lnTo>
                      <a:lnTo>
                        <a:pt x="559" y="1238"/>
                      </a:lnTo>
                      <a:lnTo>
                        <a:pt x="559" y="1238"/>
                      </a:lnTo>
                      <a:close/>
                      <a:moveTo>
                        <a:pt x="3864" y="1337"/>
                      </a:moveTo>
                      <a:lnTo>
                        <a:pt x="3871" y="1354"/>
                      </a:lnTo>
                      <a:lnTo>
                        <a:pt x="3843" y="1361"/>
                      </a:lnTo>
                      <a:lnTo>
                        <a:pt x="3881" y="1387"/>
                      </a:lnTo>
                      <a:lnTo>
                        <a:pt x="3909" y="1377"/>
                      </a:lnTo>
                      <a:lnTo>
                        <a:pt x="3902" y="1394"/>
                      </a:lnTo>
                      <a:lnTo>
                        <a:pt x="3885" y="1406"/>
                      </a:lnTo>
                      <a:lnTo>
                        <a:pt x="3885" y="1394"/>
                      </a:lnTo>
                      <a:lnTo>
                        <a:pt x="3871" y="1394"/>
                      </a:lnTo>
                      <a:lnTo>
                        <a:pt x="3796" y="1394"/>
                      </a:lnTo>
                      <a:lnTo>
                        <a:pt x="3800" y="1349"/>
                      </a:lnTo>
                      <a:lnTo>
                        <a:pt x="3817" y="1337"/>
                      </a:lnTo>
                      <a:lnTo>
                        <a:pt x="3843" y="1354"/>
                      </a:lnTo>
                      <a:lnTo>
                        <a:pt x="3848" y="1333"/>
                      </a:lnTo>
                      <a:lnTo>
                        <a:pt x="3864" y="1337"/>
                      </a:lnTo>
                      <a:lnTo>
                        <a:pt x="3864" y="1337"/>
                      </a:lnTo>
                      <a:lnTo>
                        <a:pt x="3864" y="1337"/>
                      </a:lnTo>
                      <a:close/>
                      <a:moveTo>
                        <a:pt x="3704" y="1387"/>
                      </a:moveTo>
                      <a:lnTo>
                        <a:pt x="3725" y="1394"/>
                      </a:lnTo>
                      <a:lnTo>
                        <a:pt x="3708" y="1411"/>
                      </a:lnTo>
                      <a:lnTo>
                        <a:pt x="3741" y="1415"/>
                      </a:lnTo>
                      <a:lnTo>
                        <a:pt x="3708" y="1444"/>
                      </a:lnTo>
                      <a:lnTo>
                        <a:pt x="3670" y="1427"/>
                      </a:lnTo>
                      <a:lnTo>
                        <a:pt x="3682" y="1411"/>
                      </a:lnTo>
                      <a:lnTo>
                        <a:pt x="3682" y="1394"/>
                      </a:lnTo>
                      <a:lnTo>
                        <a:pt x="3704" y="1387"/>
                      </a:lnTo>
                      <a:lnTo>
                        <a:pt x="3704" y="1387"/>
                      </a:lnTo>
                      <a:lnTo>
                        <a:pt x="3704" y="1387"/>
                      </a:lnTo>
                      <a:close/>
                      <a:moveTo>
                        <a:pt x="1084" y="1432"/>
                      </a:moveTo>
                      <a:lnTo>
                        <a:pt x="1096" y="1432"/>
                      </a:lnTo>
                      <a:lnTo>
                        <a:pt x="1074" y="1432"/>
                      </a:lnTo>
                      <a:lnTo>
                        <a:pt x="1084" y="1432"/>
                      </a:lnTo>
                      <a:lnTo>
                        <a:pt x="1084" y="1432"/>
                      </a:lnTo>
                      <a:lnTo>
                        <a:pt x="1084" y="1432"/>
                      </a:lnTo>
                      <a:close/>
                      <a:moveTo>
                        <a:pt x="3833" y="1444"/>
                      </a:moveTo>
                      <a:lnTo>
                        <a:pt x="3833" y="1448"/>
                      </a:lnTo>
                      <a:lnTo>
                        <a:pt x="3826" y="1448"/>
                      </a:lnTo>
                      <a:lnTo>
                        <a:pt x="3817" y="1432"/>
                      </a:lnTo>
                      <a:lnTo>
                        <a:pt x="3833" y="1444"/>
                      </a:lnTo>
                      <a:lnTo>
                        <a:pt x="3833" y="1444"/>
                      </a:lnTo>
                      <a:lnTo>
                        <a:pt x="3833" y="1444"/>
                      </a:lnTo>
                      <a:close/>
                      <a:moveTo>
                        <a:pt x="3810" y="1448"/>
                      </a:moveTo>
                      <a:lnTo>
                        <a:pt x="3800" y="1460"/>
                      </a:lnTo>
                      <a:lnTo>
                        <a:pt x="3772" y="1460"/>
                      </a:lnTo>
                      <a:lnTo>
                        <a:pt x="3800" y="1444"/>
                      </a:lnTo>
                      <a:lnTo>
                        <a:pt x="3810" y="1448"/>
                      </a:lnTo>
                      <a:lnTo>
                        <a:pt x="3810" y="1448"/>
                      </a:lnTo>
                      <a:lnTo>
                        <a:pt x="3810" y="1448"/>
                      </a:lnTo>
                      <a:close/>
                      <a:moveTo>
                        <a:pt x="1117" y="1448"/>
                      </a:moveTo>
                      <a:lnTo>
                        <a:pt x="1100" y="1460"/>
                      </a:lnTo>
                      <a:lnTo>
                        <a:pt x="1117" y="1448"/>
                      </a:lnTo>
                      <a:lnTo>
                        <a:pt x="1117" y="1448"/>
                      </a:lnTo>
                      <a:lnTo>
                        <a:pt x="1117" y="1448"/>
                      </a:lnTo>
                      <a:close/>
                      <a:moveTo>
                        <a:pt x="1126" y="1448"/>
                      </a:moveTo>
                      <a:lnTo>
                        <a:pt x="1133" y="1460"/>
                      </a:lnTo>
                      <a:lnTo>
                        <a:pt x="1117" y="1460"/>
                      </a:lnTo>
                      <a:lnTo>
                        <a:pt x="1126" y="1448"/>
                      </a:lnTo>
                      <a:lnTo>
                        <a:pt x="1126" y="1448"/>
                      </a:lnTo>
                      <a:lnTo>
                        <a:pt x="1126" y="1448"/>
                      </a:lnTo>
                      <a:close/>
                      <a:moveTo>
                        <a:pt x="1100" y="1465"/>
                      </a:moveTo>
                      <a:lnTo>
                        <a:pt x="1164" y="1465"/>
                      </a:lnTo>
                      <a:lnTo>
                        <a:pt x="1084" y="1465"/>
                      </a:lnTo>
                      <a:lnTo>
                        <a:pt x="1100" y="1465"/>
                      </a:lnTo>
                      <a:lnTo>
                        <a:pt x="1100" y="1465"/>
                      </a:lnTo>
                      <a:lnTo>
                        <a:pt x="1100" y="1465"/>
                      </a:lnTo>
                      <a:close/>
                      <a:moveTo>
                        <a:pt x="3649" y="1472"/>
                      </a:moveTo>
                      <a:lnTo>
                        <a:pt x="3682" y="1481"/>
                      </a:lnTo>
                      <a:lnTo>
                        <a:pt x="3687" y="1498"/>
                      </a:lnTo>
                      <a:lnTo>
                        <a:pt x="3708" y="1514"/>
                      </a:lnTo>
                      <a:lnTo>
                        <a:pt x="3633" y="1526"/>
                      </a:lnTo>
                      <a:lnTo>
                        <a:pt x="3578" y="1505"/>
                      </a:lnTo>
                      <a:lnTo>
                        <a:pt x="3611" y="1481"/>
                      </a:lnTo>
                      <a:lnTo>
                        <a:pt x="3649" y="1472"/>
                      </a:lnTo>
                      <a:lnTo>
                        <a:pt x="3649" y="1472"/>
                      </a:lnTo>
                      <a:lnTo>
                        <a:pt x="3649" y="1472"/>
                      </a:lnTo>
                      <a:close/>
                      <a:moveTo>
                        <a:pt x="3708" y="1543"/>
                      </a:moveTo>
                      <a:lnTo>
                        <a:pt x="3720" y="1555"/>
                      </a:lnTo>
                      <a:lnTo>
                        <a:pt x="3704" y="1555"/>
                      </a:lnTo>
                      <a:lnTo>
                        <a:pt x="3708" y="1543"/>
                      </a:lnTo>
                      <a:lnTo>
                        <a:pt x="3708" y="1543"/>
                      </a:lnTo>
                      <a:lnTo>
                        <a:pt x="3708" y="1543"/>
                      </a:lnTo>
                      <a:close/>
                      <a:moveTo>
                        <a:pt x="1171" y="1571"/>
                      </a:moveTo>
                      <a:lnTo>
                        <a:pt x="1138" y="1555"/>
                      </a:lnTo>
                      <a:lnTo>
                        <a:pt x="1193" y="1559"/>
                      </a:lnTo>
                      <a:lnTo>
                        <a:pt x="1171" y="1571"/>
                      </a:lnTo>
                      <a:lnTo>
                        <a:pt x="1171" y="1571"/>
                      </a:lnTo>
                      <a:lnTo>
                        <a:pt x="1171" y="1571"/>
                      </a:lnTo>
                      <a:close/>
                      <a:moveTo>
                        <a:pt x="1155" y="1583"/>
                      </a:moveTo>
                      <a:lnTo>
                        <a:pt x="1171" y="1583"/>
                      </a:lnTo>
                      <a:lnTo>
                        <a:pt x="1126" y="1583"/>
                      </a:lnTo>
                      <a:lnTo>
                        <a:pt x="1155" y="1583"/>
                      </a:lnTo>
                      <a:lnTo>
                        <a:pt x="1155" y="1583"/>
                      </a:lnTo>
                      <a:lnTo>
                        <a:pt x="1155" y="1583"/>
                      </a:lnTo>
                      <a:close/>
                      <a:moveTo>
                        <a:pt x="1164" y="1600"/>
                      </a:moveTo>
                      <a:lnTo>
                        <a:pt x="1155" y="1600"/>
                      </a:lnTo>
                      <a:lnTo>
                        <a:pt x="1171" y="1583"/>
                      </a:lnTo>
                      <a:lnTo>
                        <a:pt x="1181" y="1592"/>
                      </a:lnTo>
                      <a:lnTo>
                        <a:pt x="1164" y="1600"/>
                      </a:lnTo>
                      <a:lnTo>
                        <a:pt x="1164" y="1600"/>
                      </a:lnTo>
                      <a:lnTo>
                        <a:pt x="1164" y="1600"/>
                      </a:lnTo>
                      <a:close/>
                      <a:moveTo>
                        <a:pt x="1193" y="1600"/>
                      </a:moveTo>
                      <a:lnTo>
                        <a:pt x="1235" y="1616"/>
                      </a:lnTo>
                      <a:lnTo>
                        <a:pt x="1209" y="1626"/>
                      </a:lnTo>
                      <a:lnTo>
                        <a:pt x="1219" y="1609"/>
                      </a:lnTo>
                      <a:lnTo>
                        <a:pt x="1188" y="1600"/>
                      </a:lnTo>
                      <a:lnTo>
                        <a:pt x="1193" y="1600"/>
                      </a:lnTo>
                      <a:lnTo>
                        <a:pt x="1193" y="1600"/>
                      </a:lnTo>
                      <a:lnTo>
                        <a:pt x="1193" y="1600"/>
                      </a:lnTo>
                      <a:close/>
                      <a:moveTo>
                        <a:pt x="1193" y="1609"/>
                      </a:moveTo>
                      <a:lnTo>
                        <a:pt x="1209" y="1616"/>
                      </a:lnTo>
                      <a:lnTo>
                        <a:pt x="1188" y="1616"/>
                      </a:lnTo>
                      <a:lnTo>
                        <a:pt x="1193" y="1609"/>
                      </a:lnTo>
                      <a:lnTo>
                        <a:pt x="1193" y="1609"/>
                      </a:lnTo>
                      <a:lnTo>
                        <a:pt x="1193" y="1609"/>
                      </a:lnTo>
                      <a:close/>
                      <a:moveTo>
                        <a:pt x="3406" y="1616"/>
                      </a:moveTo>
                      <a:lnTo>
                        <a:pt x="3493" y="1649"/>
                      </a:lnTo>
                      <a:lnTo>
                        <a:pt x="3368" y="1633"/>
                      </a:lnTo>
                      <a:lnTo>
                        <a:pt x="3507" y="1654"/>
                      </a:lnTo>
                      <a:lnTo>
                        <a:pt x="3406" y="1670"/>
                      </a:lnTo>
                      <a:lnTo>
                        <a:pt x="3314" y="1649"/>
                      </a:lnTo>
                      <a:lnTo>
                        <a:pt x="3352" y="1626"/>
                      </a:lnTo>
                      <a:lnTo>
                        <a:pt x="3406" y="1616"/>
                      </a:lnTo>
                      <a:lnTo>
                        <a:pt x="3406" y="1616"/>
                      </a:lnTo>
                      <a:lnTo>
                        <a:pt x="3406" y="1616"/>
                      </a:lnTo>
                      <a:close/>
                      <a:moveTo>
                        <a:pt x="1193" y="1626"/>
                      </a:moveTo>
                      <a:lnTo>
                        <a:pt x="1202" y="1626"/>
                      </a:lnTo>
                      <a:lnTo>
                        <a:pt x="1188" y="1633"/>
                      </a:lnTo>
                      <a:lnTo>
                        <a:pt x="1193" y="1626"/>
                      </a:lnTo>
                      <a:lnTo>
                        <a:pt x="1193" y="1626"/>
                      </a:lnTo>
                      <a:lnTo>
                        <a:pt x="1193" y="1626"/>
                      </a:lnTo>
                      <a:close/>
                      <a:moveTo>
                        <a:pt x="1209" y="1626"/>
                      </a:moveTo>
                      <a:lnTo>
                        <a:pt x="1219" y="1633"/>
                      </a:lnTo>
                      <a:lnTo>
                        <a:pt x="1202" y="1633"/>
                      </a:lnTo>
                      <a:lnTo>
                        <a:pt x="1209" y="1626"/>
                      </a:lnTo>
                      <a:lnTo>
                        <a:pt x="1209" y="1626"/>
                      </a:lnTo>
                      <a:lnTo>
                        <a:pt x="1209" y="1626"/>
                      </a:lnTo>
                      <a:close/>
                      <a:moveTo>
                        <a:pt x="1202" y="1637"/>
                      </a:moveTo>
                      <a:lnTo>
                        <a:pt x="1188" y="1666"/>
                      </a:lnTo>
                      <a:lnTo>
                        <a:pt x="1193" y="1649"/>
                      </a:lnTo>
                      <a:lnTo>
                        <a:pt x="1202" y="1637"/>
                      </a:lnTo>
                      <a:lnTo>
                        <a:pt x="1202" y="1637"/>
                      </a:lnTo>
                      <a:lnTo>
                        <a:pt x="1202" y="1637"/>
                      </a:lnTo>
                      <a:close/>
                      <a:moveTo>
                        <a:pt x="1181" y="1649"/>
                      </a:moveTo>
                      <a:lnTo>
                        <a:pt x="1181" y="1654"/>
                      </a:lnTo>
                      <a:lnTo>
                        <a:pt x="1171" y="1654"/>
                      </a:lnTo>
                      <a:lnTo>
                        <a:pt x="1181" y="1649"/>
                      </a:lnTo>
                      <a:lnTo>
                        <a:pt x="1181" y="1649"/>
                      </a:lnTo>
                      <a:lnTo>
                        <a:pt x="1181" y="1649"/>
                      </a:lnTo>
                      <a:close/>
                      <a:moveTo>
                        <a:pt x="3583" y="1720"/>
                      </a:moveTo>
                      <a:lnTo>
                        <a:pt x="3541" y="1720"/>
                      </a:lnTo>
                      <a:lnTo>
                        <a:pt x="3503" y="1694"/>
                      </a:lnTo>
                      <a:lnTo>
                        <a:pt x="3401" y="1687"/>
                      </a:lnTo>
                      <a:lnTo>
                        <a:pt x="3394" y="1682"/>
                      </a:lnTo>
                      <a:lnTo>
                        <a:pt x="3493" y="1670"/>
                      </a:lnTo>
                      <a:lnTo>
                        <a:pt x="3545" y="1682"/>
                      </a:lnTo>
                      <a:lnTo>
                        <a:pt x="3583" y="1687"/>
                      </a:lnTo>
                      <a:lnTo>
                        <a:pt x="3562" y="1703"/>
                      </a:lnTo>
                      <a:lnTo>
                        <a:pt x="3578" y="1711"/>
                      </a:lnTo>
                      <a:lnTo>
                        <a:pt x="3583" y="1720"/>
                      </a:lnTo>
                      <a:lnTo>
                        <a:pt x="3583" y="1720"/>
                      </a:lnTo>
                      <a:lnTo>
                        <a:pt x="3583" y="1720"/>
                      </a:lnTo>
                      <a:close/>
                      <a:moveTo>
                        <a:pt x="1209" y="1670"/>
                      </a:moveTo>
                      <a:lnTo>
                        <a:pt x="1219" y="1670"/>
                      </a:lnTo>
                      <a:lnTo>
                        <a:pt x="1202" y="1670"/>
                      </a:lnTo>
                      <a:lnTo>
                        <a:pt x="1209" y="1670"/>
                      </a:lnTo>
                      <a:lnTo>
                        <a:pt x="1209" y="1670"/>
                      </a:lnTo>
                      <a:lnTo>
                        <a:pt x="1209" y="1670"/>
                      </a:lnTo>
                      <a:close/>
                      <a:moveTo>
                        <a:pt x="1240" y="1687"/>
                      </a:moveTo>
                      <a:lnTo>
                        <a:pt x="1219" y="1682"/>
                      </a:lnTo>
                      <a:lnTo>
                        <a:pt x="1226" y="1670"/>
                      </a:lnTo>
                      <a:lnTo>
                        <a:pt x="1256" y="1682"/>
                      </a:lnTo>
                      <a:lnTo>
                        <a:pt x="1240" y="1687"/>
                      </a:lnTo>
                      <a:lnTo>
                        <a:pt x="1240" y="1687"/>
                      </a:lnTo>
                      <a:lnTo>
                        <a:pt x="1240" y="1687"/>
                      </a:lnTo>
                      <a:close/>
                      <a:moveTo>
                        <a:pt x="3385" y="1687"/>
                      </a:moveTo>
                      <a:lnTo>
                        <a:pt x="3380" y="1711"/>
                      </a:lnTo>
                      <a:lnTo>
                        <a:pt x="3352" y="1703"/>
                      </a:lnTo>
                      <a:lnTo>
                        <a:pt x="3385" y="1687"/>
                      </a:lnTo>
                      <a:lnTo>
                        <a:pt x="3385" y="1687"/>
                      </a:lnTo>
                      <a:lnTo>
                        <a:pt x="3385" y="1687"/>
                      </a:lnTo>
                      <a:close/>
                      <a:moveTo>
                        <a:pt x="1226" y="1694"/>
                      </a:moveTo>
                      <a:lnTo>
                        <a:pt x="1240" y="1694"/>
                      </a:lnTo>
                      <a:lnTo>
                        <a:pt x="1226" y="1703"/>
                      </a:lnTo>
                      <a:lnTo>
                        <a:pt x="1226" y="1694"/>
                      </a:lnTo>
                      <a:lnTo>
                        <a:pt x="1226" y="1694"/>
                      </a:lnTo>
                      <a:lnTo>
                        <a:pt x="1226" y="1694"/>
                      </a:lnTo>
                      <a:close/>
                      <a:moveTo>
                        <a:pt x="3557" y="1798"/>
                      </a:moveTo>
                      <a:lnTo>
                        <a:pt x="3439" y="1748"/>
                      </a:lnTo>
                      <a:lnTo>
                        <a:pt x="3406" y="1737"/>
                      </a:lnTo>
                      <a:lnTo>
                        <a:pt x="3401" y="1703"/>
                      </a:lnTo>
                      <a:lnTo>
                        <a:pt x="3503" y="1694"/>
                      </a:lnTo>
                      <a:lnTo>
                        <a:pt x="3531" y="1727"/>
                      </a:lnTo>
                      <a:lnTo>
                        <a:pt x="3583" y="1748"/>
                      </a:lnTo>
                      <a:lnTo>
                        <a:pt x="3578" y="1760"/>
                      </a:lnTo>
                      <a:lnTo>
                        <a:pt x="3524" y="1748"/>
                      </a:lnTo>
                      <a:lnTo>
                        <a:pt x="3574" y="1777"/>
                      </a:lnTo>
                      <a:lnTo>
                        <a:pt x="3574" y="1793"/>
                      </a:lnTo>
                      <a:lnTo>
                        <a:pt x="3557" y="1798"/>
                      </a:lnTo>
                      <a:lnTo>
                        <a:pt x="3557" y="1798"/>
                      </a:lnTo>
                      <a:lnTo>
                        <a:pt x="3557" y="1798"/>
                      </a:lnTo>
                      <a:close/>
                      <a:moveTo>
                        <a:pt x="1247" y="1694"/>
                      </a:moveTo>
                      <a:lnTo>
                        <a:pt x="1263" y="1703"/>
                      </a:lnTo>
                      <a:lnTo>
                        <a:pt x="1226" y="1737"/>
                      </a:lnTo>
                      <a:lnTo>
                        <a:pt x="1235" y="1727"/>
                      </a:lnTo>
                      <a:lnTo>
                        <a:pt x="1202" y="1727"/>
                      </a:lnTo>
                      <a:lnTo>
                        <a:pt x="1219" y="1711"/>
                      </a:lnTo>
                      <a:lnTo>
                        <a:pt x="1247" y="1694"/>
                      </a:lnTo>
                      <a:lnTo>
                        <a:pt x="1247" y="1694"/>
                      </a:lnTo>
                      <a:lnTo>
                        <a:pt x="1247" y="1694"/>
                      </a:lnTo>
                      <a:close/>
                      <a:moveTo>
                        <a:pt x="1202" y="1703"/>
                      </a:moveTo>
                      <a:lnTo>
                        <a:pt x="1209" y="1703"/>
                      </a:lnTo>
                      <a:lnTo>
                        <a:pt x="1193" y="1703"/>
                      </a:lnTo>
                      <a:lnTo>
                        <a:pt x="1202" y="1703"/>
                      </a:lnTo>
                      <a:lnTo>
                        <a:pt x="1202" y="1703"/>
                      </a:lnTo>
                      <a:lnTo>
                        <a:pt x="1202" y="1703"/>
                      </a:lnTo>
                      <a:close/>
                      <a:moveTo>
                        <a:pt x="1219" y="1711"/>
                      </a:moveTo>
                      <a:lnTo>
                        <a:pt x="1193" y="1727"/>
                      </a:lnTo>
                      <a:lnTo>
                        <a:pt x="1181" y="1720"/>
                      </a:lnTo>
                      <a:lnTo>
                        <a:pt x="1219" y="1711"/>
                      </a:lnTo>
                      <a:lnTo>
                        <a:pt x="1219" y="1711"/>
                      </a:lnTo>
                      <a:lnTo>
                        <a:pt x="1219" y="1711"/>
                      </a:lnTo>
                      <a:close/>
                      <a:moveTo>
                        <a:pt x="1263" y="1711"/>
                      </a:moveTo>
                      <a:lnTo>
                        <a:pt x="1278" y="1720"/>
                      </a:lnTo>
                      <a:lnTo>
                        <a:pt x="1256" y="1720"/>
                      </a:lnTo>
                      <a:lnTo>
                        <a:pt x="1263" y="1711"/>
                      </a:lnTo>
                      <a:lnTo>
                        <a:pt x="1263" y="1711"/>
                      </a:lnTo>
                      <a:lnTo>
                        <a:pt x="1263" y="1711"/>
                      </a:lnTo>
                      <a:close/>
                      <a:moveTo>
                        <a:pt x="1263" y="1720"/>
                      </a:moveTo>
                      <a:lnTo>
                        <a:pt x="1263" y="1727"/>
                      </a:lnTo>
                      <a:lnTo>
                        <a:pt x="1247" y="1737"/>
                      </a:lnTo>
                      <a:lnTo>
                        <a:pt x="1247" y="1720"/>
                      </a:lnTo>
                      <a:lnTo>
                        <a:pt x="1263" y="1720"/>
                      </a:lnTo>
                      <a:lnTo>
                        <a:pt x="1263" y="1720"/>
                      </a:lnTo>
                      <a:lnTo>
                        <a:pt x="1263" y="1720"/>
                      </a:lnTo>
                      <a:close/>
                      <a:moveTo>
                        <a:pt x="1202" y="1737"/>
                      </a:moveTo>
                      <a:lnTo>
                        <a:pt x="1193" y="1737"/>
                      </a:lnTo>
                      <a:lnTo>
                        <a:pt x="1219" y="1737"/>
                      </a:lnTo>
                      <a:lnTo>
                        <a:pt x="1202" y="1737"/>
                      </a:lnTo>
                      <a:lnTo>
                        <a:pt x="1202" y="1737"/>
                      </a:lnTo>
                      <a:lnTo>
                        <a:pt x="1202" y="1737"/>
                      </a:lnTo>
                      <a:close/>
                      <a:moveTo>
                        <a:pt x="1263" y="1760"/>
                      </a:moveTo>
                      <a:lnTo>
                        <a:pt x="1263" y="1777"/>
                      </a:lnTo>
                      <a:lnTo>
                        <a:pt x="1240" y="1793"/>
                      </a:lnTo>
                      <a:lnTo>
                        <a:pt x="1219" y="1793"/>
                      </a:lnTo>
                      <a:lnTo>
                        <a:pt x="1263" y="1760"/>
                      </a:lnTo>
                      <a:lnTo>
                        <a:pt x="1263" y="1760"/>
                      </a:lnTo>
                      <a:lnTo>
                        <a:pt x="1263" y="1760"/>
                      </a:lnTo>
                      <a:close/>
                      <a:moveTo>
                        <a:pt x="1226" y="1822"/>
                      </a:moveTo>
                      <a:lnTo>
                        <a:pt x="1235" y="1831"/>
                      </a:lnTo>
                      <a:lnTo>
                        <a:pt x="1226" y="1838"/>
                      </a:lnTo>
                      <a:lnTo>
                        <a:pt x="1209" y="1831"/>
                      </a:lnTo>
                      <a:lnTo>
                        <a:pt x="1226" y="1822"/>
                      </a:lnTo>
                      <a:lnTo>
                        <a:pt x="1226" y="1822"/>
                      </a:lnTo>
                      <a:lnTo>
                        <a:pt x="1226" y="1822"/>
                      </a:lnTo>
                      <a:close/>
                      <a:moveTo>
                        <a:pt x="1386" y="1876"/>
                      </a:moveTo>
                      <a:lnTo>
                        <a:pt x="1370" y="1871"/>
                      </a:lnTo>
                      <a:lnTo>
                        <a:pt x="1370" y="1864"/>
                      </a:lnTo>
                      <a:lnTo>
                        <a:pt x="1419" y="1864"/>
                      </a:lnTo>
                      <a:lnTo>
                        <a:pt x="1386" y="1876"/>
                      </a:lnTo>
                      <a:lnTo>
                        <a:pt x="1386" y="1876"/>
                      </a:lnTo>
                      <a:lnTo>
                        <a:pt x="1386" y="1876"/>
                      </a:lnTo>
                      <a:close/>
                      <a:moveTo>
                        <a:pt x="1398" y="1904"/>
                      </a:moveTo>
                      <a:lnTo>
                        <a:pt x="1441" y="1904"/>
                      </a:lnTo>
                      <a:lnTo>
                        <a:pt x="1452" y="1909"/>
                      </a:lnTo>
                      <a:lnTo>
                        <a:pt x="1408" y="1926"/>
                      </a:lnTo>
                      <a:lnTo>
                        <a:pt x="1398" y="1921"/>
                      </a:lnTo>
                      <a:lnTo>
                        <a:pt x="1398" y="1904"/>
                      </a:lnTo>
                      <a:lnTo>
                        <a:pt x="1398" y="1904"/>
                      </a:lnTo>
                      <a:lnTo>
                        <a:pt x="1398" y="1904"/>
                      </a:lnTo>
                      <a:close/>
                      <a:moveTo>
                        <a:pt x="1365" y="1909"/>
                      </a:moveTo>
                      <a:lnTo>
                        <a:pt x="1382" y="1926"/>
                      </a:lnTo>
                      <a:lnTo>
                        <a:pt x="1370" y="1942"/>
                      </a:lnTo>
                      <a:lnTo>
                        <a:pt x="1353" y="1942"/>
                      </a:lnTo>
                      <a:lnTo>
                        <a:pt x="1332" y="1933"/>
                      </a:lnTo>
                      <a:lnTo>
                        <a:pt x="1365" y="1909"/>
                      </a:lnTo>
                      <a:lnTo>
                        <a:pt x="1365" y="1909"/>
                      </a:lnTo>
                      <a:lnTo>
                        <a:pt x="1365" y="1909"/>
                      </a:lnTo>
                      <a:close/>
                      <a:moveTo>
                        <a:pt x="3347" y="1921"/>
                      </a:moveTo>
                      <a:lnTo>
                        <a:pt x="3347" y="1926"/>
                      </a:lnTo>
                      <a:lnTo>
                        <a:pt x="3330" y="1926"/>
                      </a:lnTo>
                      <a:lnTo>
                        <a:pt x="3347" y="1921"/>
                      </a:lnTo>
                      <a:lnTo>
                        <a:pt x="3347" y="1921"/>
                      </a:lnTo>
                      <a:lnTo>
                        <a:pt x="3347" y="1921"/>
                      </a:lnTo>
                      <a:close/>
                      <a:moveTo>
                        <a:pt x="3342" y="1933"/>
                      </a:moveTo>
                      <a:lnTo>
                        <a:pt x="3347" y="1942"/>
                      </a:lnTo>
                      <a:lnTo>
                        <a:pt x="3326" y="1933"/>
                      </a:lnTo>
                      <a:lnTo>
                        <a:pt x="3342" y="1933"/>
                      </a:lnTo>
                      <a:lnTo>
                        <a:pt x="3342" y="1933"/>
                      </a:lnTo>
                      <a:lnTo>
                        <a:pt x="3342" y="1933"/>
                      </a:lnTo>
                      <a:close/>
                      <a:moveTo>
                        <a:pt x="3288" y="2003"/>
                      </a:moveTo>
                      <a:lnTo>
                        <a:pt x="3146" y="2020"/>
                      </a:lnTo>
                      <a:lnTo>
                        <a:pt x="3153" y="1999"/>
                      </a:lnTo>
                      <a:lnTo>
                        <a:pt x="3179" y="1987"/>
                      </a:lnTo>
                      <a:lnTo>
                        <a:pt x="3217" y="1966"/>
                      </a:lnTo>
                      <a:lnTo>
                        <a:pt x="3276" y="1959"/>
                      </a:lnTo>
                      <a:lnTo>
                        <a:pt x="3314" y="1933"/>
                      </a:lnTo>
                      <a:lnTo>
                        <a:pt x="3314" y="1949"/>
                      </a:lnTo>
                      <a:lnTo>
                        <a:pt x="3342" y="1959"/>
                      </a:lnTo>
                      <a:lnTo>
                        <a:pt x="3347" y="1987"/>
                      </a:lnTo>
                      <a:lnTo>
                        <a:pt x="3288" y="2003"/>
                      </a:lnTo>
                      <a:lnTo>
                        <a:pt x="3288" y="2003"/>
                      </a:lnTo>
                      <a:lnTo>
                        <a:pt x="3288" y="2003"/>
                      </a:lnTo>
                      <a:close/>
                      <a:moveTo>
                        <a:pt x="1478" y="1949"/>
                      </a:moveTo>
                      <a:lnTo>
                        <a:pt x="1504" y="1966"/>
                      </a:lnTo>
                      <a:lnTo>
                        <a:pt x="1462" y="1959"/>
                      </a:lnTo>
                      <a:lnTo>
                        <a:pt x="1478" y="1949"/>
                      </a:lnTo>
                      <a:lnTo>
                        <a:pt x="1478" y="1949"/>
                      </a:lnTo>
                      <a:lnTo>
                        <a:pt x="1478" y="1949"/>
                      </a:lnTo>
                      <a:close/>
                      <a:moveTo>
                        <a:pt x="3205" y="1966"/>
                      </a:moveTo>
                      <a:lnTo>
                        <a:pt x="3179" y="1982"/>
                      </a:lnTo>
                      <a:lnTo>
                        <a:pt x="3179" y="1966"/>
                      </a:lnTo>
                      <a:lnTo>
                        <a:pt x="3205" y="1966"/>
                      </a:lnTo>
                      <a:lnTo>
                        <a:pt x="3205" y="1966"/>
                      </a:lnTo>
                      <a:lnTo>
                        <a:pt x="3205" y="1966"/>
                      </a:lnTo>
                      <a:close/>
                      <a:moveTo>
                        <a:pt x="1263" y="2015"/>
                      </a:moveTo>
                      <a:lnTo>
                        <a:pt x="1289" y="2032"/>
                      </a:lnTo>
                      <a:lnTo>
                        <a:pt x="1273" y="2032"/>
                      </a:lnTo>
                      <a:lnTo>
                        <a:pt x="1263" y="2020"/>
                      </a:lnTo>
                      <a:lnTo>
                        <a:pt x="1263" y="2015"/>
                      </a:lnTo>
                      <a:lnTo>
                        <a:pt x="1263" y="2015"/>
                      </a:lnTo>
                      <a:lnTo>
                        <a:pt x="1263" y="2015"/>
                      </a:lnTo>
                      <a:close/>
                      <a:moveTo>
                        <a:pt x="1315" y="2155"/>
                      </a:moveTo>
                      <a:lnTo>
                        <a:pt x="1382" y="2148"/>
                      </a:lnTo>
                      <a:lnTo>
                        <a:pt x="1365" y="2148"/>
                      </a:lnTo>
                      <a:lnTo>
                        <a:pt x="1382" y="2131"/>
                      </a:lnTo>
                      <a:lnTo>
                        <a:pt x="1348" y="2148"/>
                      </a:lnTo>
                      <a:lnTo>
                        <a:pt x="1344" y="2148"/>
                      </a:lnTo>
                      <a:lnTo>
                        <a:pt x="1353" y="2143"/>
                      </a:lnTo>
                      <a:lnTo>
                        <a:pt x="1332" y="2143"/>
                      </a:lnTo>
                      <a:lnTo>
                        <a:pt x="1344" y="2131"/>
                      </a:lnTo>
                      <a:lnTo>
                        <a:pt x="1344" y="2126"/>
                      </a:lnTo>
                      <a:lnTo>
                        <a:pt x="1327" y="2131"/>
                      </a:lnTo>
                      <a:lnTo>
                        <a:pt x="1278" y="2126"/>
                      </a:lnTo>
                      <a:lnTo>
                        <a:pt x="1263" y="2114"/>
                      </a:lnTo>
                      <a:lnTo>
                        <a:pt x="1289" y="2110"/>
                      </a:lnTo>
                      <a:lnTo>
                        <a:pt x="1311" y="2114"/>
                      </a:lnTo>
                      <a:lnTo>
                        <a:pt x="1273" y="2098"/>
                      </a:lnTo>
                      <a:lnTo>
                        <a:pt x="1273" y="2086"/>
                      </a:lnTo>
                      <a:lnTo>
                        <a:pt x="1315" y="2086"/>
                      </a:lnTo>
                      <a:lnTo>
                        <a:pt x="1278" y="2070"/>
                      </a:lnTo>
                      <a:lnTo>
                        <a:pt x="1278" y="2053"/>
                      </a:lnTo>
                      <a:lnTo>
                        <a:pt x="1311" y="2037"/>
                      </a:lnTo>
                      <a:lnTo>
                        <a:pt x="1370" y="2044"/>
                      </a:lnTo>
                      <a:lnTo>
                        <a:pt x="1424" y="2086"/>
                      </a:lnTo>
                      <a:lnTo>
                        <a:pt x="1478" y="2098"/>
                      </a:lnTo>
                      <a:lnTo>
                        <a:pt x="1478" y="2110"/>
                      </a:lnTo>
                      <a:lnTo>
                        <a:pt x="1474" y="2114"/>
                      </a:lnTo>
                      <a:lnTo>
                        <a:pt x="1490" y="2126"/>
                      </a:lnTo>
                      <a:lnTo>
                        <a:pt x="1457" y="2148"/>
                      </a:lnTo>
                      <a:lnTo>
                        <a:pt x="1365" y="2171"/>
                      </a:lnTo>
                      <a:lnTo>
                        <a:pt x="1315" y="2155"/>
                      </a:lnTo>
                      <a:lnTo>
                        <a:pt x="1315" y="2155"/>
                      </a:lnTo>
                      <a:lnTo>
                        <a:pt x="1315" y="2155"/>
                      </a:lnTo>
                      <a:close/>
                      <a:moveTo>
                        <a:pt x="1542" y="2086"/>
                      </a:moveTo>
                      <a:lnTo>
                        <a:pt x="1570" y="2098"/>
                      </a:lnTo>
                      <a:lnTo>
                        <a:pt x="1549" y="2114"/>
                      </a:lnTo>
                      <a:lnTo>
                        <a:pt x="1549" y="2131"/>
                      </a:lnTo>
                      <a:lnTo>
                        <a:pt x="1528" y="2143"/>
                      </a:lnTo>
                      <a:lnTo>
                        <a:pt x="1516" y="2114"/>
                      </a:lnTo>
                      <a:lnTo>
                        <a:pt x="1542" y="2093"/>
                      </a:lnTo>
                      <a:lnTo>
                        <a:pt x="1516" y="2093"/>
                      </a:lnTo>
                      <a:lnTo>
                        <a:pt x="1542" y="2086"/>
                      </a:lnTo>
                      <a:lnTo>
                        <a:pt x="1542" y="2086"/>
                      </a:lnTo>
                      <a:lnTo>
                        <a:pt x="1542" y="2086"/>
                      </a:lnTo>
                      <a:close/>
                      <a:moveTo>
                        <a:pt x="3493" y="2110"/>
                      </a:moveTo>
                      <a:lnTo>
                        <a:pt x="3493" y="2114"/>
                      </a:lnTo>
                      <a:lnTo>
                        <a:pt x="3486" y="2126"/>
                      </a:lnTo>
                      <a:lnTo>
                        <a:pt x="3470" y="2114"/>
                      </a:lnTo>
                      <a:lnTo>
                        <a:pt x="3493" y="2110"/>
                      </a:lnTo>
                      <a:lnTo>
                        <a:pt x="3493" y="2110"/>
                      </a:lnTo>
                      <a:lnTo>
                        <a:pt x="3493" y="2110"/>
                      </a:lnTo>
                      <a:close/>
                      <a:moveTo>
                        <a:pt x="1462" y="2242"/>
                      </a:moveTo>
                      <a:lnTo>
                        <a:pt x="1398" y="2259"/>
                      </a:lnTo>
                      <a:lnTo>
                        <a:pt x="1436" y="2242"/>
                      </a:lnTo>
                      <a:lnTo>
                        <a:pt x="1462" y="2242"/>
                      </a:lnTo>
                      <a:lnTo>
                        <a:pt x="1462" y="2242"/>
                      </a:lnTo>
                      <a:lnTo>
                        <a:pt x="1462" y="2242"/>
                      </a:lnTo>
                      <a:close/>
                      <a:moveTo>
                        <a:pt x="1533" y="2242"/>
                      </a:moveTo>
                      <a:lnTo>
                        <a:pt x="1542" y="2254"/>
                      </a:lnTo>
                      <a:lnTo>
                        <a:pt x="1528" y="2254"/>
                      </a:lnTo>
                      <a:lnTo>
                        <a:pt x="1533" y="2242"/>
                      </a:lnTo>
                      <a:lnTo>
                        <a:pt x="1533" y="2242"/>
                      </a:lnTo>
                      <a:lnTo>
                        <a:pt x="1533" y="2242"/>
                      </a:lnTo>
                      <a:close/>
                      <a:moveTo>
                        <a:pt x="1436" y="2259"/>
                      </a:moveTo>
                      <a:lnTo>
                        <a:pt x="1441" y="2259"/>
                      </a:lnTo>
                      <a:lnTo>
                        <a:pt x="1424" y="2259"/>
                      </a:lnTo>
                      <a:lnTo>
                        <a:pt x="1436" y="2259"/>
                      </a:lnTo>
                      <a:lnTo>
                        <a:pt x="1436" y="2259"/>
                      </a:lnTo>
                      <a:lnTo>
                        <a:pt x="1436" y="2259"/>
                      </a:lnTo>
                      <a:close/>
                      <a:moveTo>
                        <a:pt x="1419" y="2259"/>
                      </a:moveTo>
                      <a:lnTo>
                        <a:pt x="1419" y="2266"/>
                      </a:lnTo>
                      <a:lnTo>
                        <a:pt x="1408" y="2259"/>
                      </a:lnTo>
                      <a:lnTo>
                        <a:pt x="1419" y="2259"/>
                      </a:lnTo>
                      <a:lnTo>
                        <a:pt x="1419" y="2259"/>
                      </a:lnTo>
                      <a:lnTo>
                        <a:pt x="1419" y="2259"/>
                      </a:lnTo>
                      <a:close/>
                      <a:moveTo>
                        <a:pt x="1403" y="2266"/>
                      </a:moveTo>
                      <a:lnTo>
                        <a:pt x="1408" y="2275"/>
                      </a:lnTo>
                      <a:lnTo>
                        <a:pt x="1386" y="2282"/>
                      </a:lnTo>
                      <a:lnTo>
                        <a:pt x="1403" y="2266"/>
                      </a:lnTo>
                      <a:lnTo>
                        <a:pt x="1403" y="2266"/>
                      </a:lnTo>
                      <a:lnTo>
                        <a:pt x="1403" y="2266"/>
                      </a:lnTo>
                      <a:close/>
                      <a:moveTo>
                        <a:pt x="1457" y="2308"/>
                      </a:moveTo>
                      <a:lnTo>
                        <a:pt x="1511" y="2299"/>
                      </a:lnTo>
                      <a:lnTo>
                        <a:pt x="1474" y="2315"/>
                      </a:lnTo>
                      <a:lnTo>
                        <a:pt x="1457" y="2308"/>
                      </a:lnTo>
                      <a:lnTo>
                        <a:pt x="1457" y="2308"/>
                      </a:lnTo>
                      <a:lnTo>
                        <a:pt x="1457" y="2308"/>
                      </a:lnTo>
                      <a:close/>
                      <a:moveTo>
                        <a:pt x="3040" y="2299"/>
                      </a:moveTo>
                      <a:lnTo>
                        <a:pt x="3028" y="2315"/>
                      </a:lnTo>
                      <a:lnTo>
                        <a:pt x="3016" y="2308"/>
                      </a:lnTo>
                      <a:lnTo>
                        <a:pt x="3040" y="2299"/>
                      </a:lnTo>
                      <a:lnTo>
                        <a:pt x="3040" y="2299"/>
                      </a:lnTo>
                      <a:lnTo>
                        <a:pt x="3040" y="2299"/>
                      </a:lnTo>
                      <a:close/>
                      <a:moveTo>
                        <a:pt x="2893" y="2308"/>
                      </a:moveTo>
                      <a:lnTo>
                        <a:pt x="2898" y="2308"/>
                      </a:lnTo>
                      <a:lnTo>
                        <a:pt x="2877" y="2308"/>
                      </a:lnTo>
                      <a:lnTo>
                        <a:pt x="2893" y="2308"/>
                      </a:lnTo>
                      <a:lnTo>
                        <a:pt x="2893" y="2308"/>
                      </a:lnTo>
                      <a:lnTo>
                        <a:pt x="2893" y="2308"/>
                      </a:lnTo>
                      <a:close/>
                      <a:moveTo>
                        <a:pt x="1478" y="2315"/>
                      </a:moveTo>
                      <a:lnTo>
                        <a:pt x="1533" y="2315"/>
                      </a:lnTo>
                      <a:lnTo>
                        <a:pt x="1474" y="2320"/>
                      </a:lnTo>
                      <a:lnTo>
                        <a:pt x="1478" y="2315"/>
                      </a:lnTo>
                      <a:lnTo>
                        <a:pt x="1478" y="2315"/>
                      </a:lnTo>
                      <a:lnTo>
                        <a:pt x="1478" y="2315"/>
                      </a:lnTo>
                      <a:close/>
                      <a:moveTo>
                        <a:pt x="1370" y="2320"/>
                      </a:moveTo>
                      <a:lnTo>
                        <a:pt x="1386" y="2320"/>
                      </a:lnTo>
                      <a:lnTo>
                        <a:pt x="1382" y="2332"/>
                      </a:lnTo>
                      <a:lnTo>
                        <a:pt x="1370" y="2320"/>
                      </a:lnTo>
                      <a:lnTo>
                        <a:pt x="1370" y="2320"/>
                      </a:lnTo>
                      <a:lnTo>
                        <a:pt x="1370" y="2320"/>
                      </a:lnTo>
                      <a:close/>
                      <a:moveTo>
                        <a:pt x="1353" y="2370"/>
                      </a:moveTo>
                      <a:lnTo>
                        <a:pt x="1348" y="2353"/>
                      </a:lnTo>
                      <a:lnTo>
                        <a:pt x="1365" y="2365"/>
                      </a:lnTo>
                      <a:lnTo>
                        <a:pt x="1353" y="2370"/>
                      </a:lnTo>
                      <a:lnTo>
                        <a:pt x="1353" y="2370"/>
                      </a:lnTo>
                      <a:lnTo>
                        <a:pt x="1353" y="2370"/>
                      </a:lnTo>
                      <a:close/>
                      <a:moveTo>
                        <a:pt x="2789" y="2410"/>
                      </a:moveTo>
                      <a:lnTo>
                        <a:pt x="2789" y="2419"/>
                      </a:lnTo>
                      <a:lnTo>
                        <a:pt x="2785" y="2410"/>
                      </a:lnTo>
                      <a:lnTo>
                        <a:pt x="2789" y="2410"/>
                      </a:lnTo>
                      <a:lnTo>
                        <a:pt x="2789" y="2410"/>
                      </a:lnTo>
                      <a:lnTo>
                        <a:pt x="2789" y="2410"/>
                      </a:lnTo>
                      <a:close/>
                      <a:moveTo>
                        <a:pt x="1408" y="2464"/>
                      </a:moveTo>
                      <a:lnTo>
                        <a:pt x="1370" y="2476"/>
                      </a:lnTo>
                      <a:lnTo>
                        <a:pt x="1382" y="2464"/>
                      </a:lnTo>
                      <a:lnTo>
                        <a:pt x="1408" y="2464"/>
                      </a:lnTo>
                      <a:lnTo>
                        <a:pt x="1408" y="2464"/>
                      </a:lnTo>
                      <a:lnTo>
                        <a:pt x="1408" y="2464"/>
                      </a:lnTo>
                      <a:close/>
                      <a:moveTo>
                        <a:pt x="2747" y="2464"/>
                      </a:moveTo>
                      <a:lnTo>
                        <a:pt x="2747" y="2476"/>
                      </a:lnTo>
                      <a:lnTo>
                        <a:pt x="2737" y="2481"/>
                      </a:lnTo>
                      <a:lnTo>
                        <a:pt x="2747" y="2464"/>
                      </a:lnTo>
                      <a:lnTo>
                        <a:pt x="2747" y="2464"/>
                      </a:lnTo>
                      <a:lnTo>
                        <a:pt x="2747" y="2464"/>
                      </a:lnTo>
                      <a:close/>
                      <a:moveTo>
                        <a:pt x="2629" y="2554"/>
                      </a:moveTo>
                      <a:lnTo>
                        <a:pt x="2629" y="2542"/>
                      </a:lnTo>
                      <a:lnTo>
                        <a:pt x="2638" y="2542"/>
                      </a:lnTo>
                      <a:lnTo>
                        <a:pt x="2629" y="2554"/>
                      </a:lnTo>
                      <a:lnTo>
                        <a:pt x="2629" y="2554"/>
                      </a:lnTo>
                      <a:lnTo>
                        <a:pt x="2629" y="2554"/>
                      </a:lnTo>
                      <a:close/>
                      <a:moveTo>
                        <a:pt x="1353" y="2570"/>
                      </a:moveTo>
                      <a:lnTo>
                        <a:pt x="1353" y="2559"/>
                      </a:lnTo>
                      <a:lnTo>
                        <a:pt x="1370" y="2559"/>
                      </a:lnTo>
                      <a:lnTo>
                        <a:pt x="1353" y="2570"/>
                      </a:lnTo>
                      <a:lnTo>
                        <a:pt x="1353" y="2570"/>
                      </a:lnTo>
                      <a:lnTo>
                        <a:pt x="1353" y="2570"/>
                      </a:lnTo>
                      <a:close/>
                      <a:moveTo>
                        <a:pt x="2541" y="2599"/>
                      </a:moveTo>
                      <a:lnTo>
                        <a:pt x="2541" y="2587"/>
                      </a:lnTo>
                      <a:lnTo>
                        <a:pt x="2558" y="2575"/>
                      </a:lnTo>
                      <a:lnTo>
                        <a:pt x="2541" y="2599"/>
                      </a:lnTo>
                      <a:lnTo>
                        <a:pt x="2541" y="2599"/>
                      </a:lnTo>
                      <a:lnTo>
                        <a:pt x="2541" y="2599"/>
                      </a:lnTo>
                      <a:close/>
                      <a:moveTo>
                        <a:pt x="2570" y="2592"/>
                      </a:moveTo>
                      <a:lnTo>
                        <a:pt x="2574" y="2587"/>
                      </a:lnTo>
                      <a:lnTo>
                        <a:pt x="2586" y="2587"/>
                      </a:lnTo>
                      <a:lnTo>
                        <a:pt x="2570" y="2592"/>
                      </a:lnTo>
                      <a:lnTo>
                        <a:pt x="2570" y="2592"/>
                      </a:lnTo>
                      <a:lnTo>
                        <a:pt x="2570" y="2592"/>
                      </a:lnTo>
                      <a:close/>
                      <a:moveTo>
                        <a:pt x="2478" y="2625"/>
                      </a:moveTo>
                      <a:lnTo>
                        <a:pt x="2461" y="2625"/>
                      </a:lnTo>
                      <a:lnTo>
                        <a:pt x="2461" y="2599"/>
                      </a:lnTo>
                      <a:lnTo>
                        <a:pt x="2482" y="2587"/>
                      </a:lnTo>
                      <a:lnTo>
                        <a:pt x="2504" y="2599"/>
                      </a:lnTo>
                      <a:lnTo>
                        <a:pt x="2487" y="2592"/>
                      </a:lnTo>
                      <a:lnTo>
                        <a:pt x="2504" y="2608"/>
                      </a:lnTo>
                      <a:lnTo>
                        <a:pt x="2482" y="2625"/>
                      </a:lnTo>
                      <a:lnTo>
                        <a:pt x="2478" y="2615"/>
                      </a:lnTo>
                      <a:lnTo>
                        <a:pt x="2482" y="2625"/>
                      </a:lnTo>
                      <a:lnTo>
                        <a:pt x="2478" y="2625"/>
                      </a:lnTo>
                      <a:lnTo>
                        <a:pt x="2478" y="2625"/>
                      </a:lnTo>
                      <a:lnTo>
                        <a:pt x="2478" y="2625"/>
                      </a:lnTo>
                      <a:close/>
                      <a:moveTo>
                        <a:pt x="2537" y="2608"/>
                      </a:moveTo>
                      <a:lnTo>
                        <a:pt x="2532" y="2592"/>
                      </a:lnTo>
                      <a:lnTo>
                        <a:pt x="2541" y="2592"/>
                      </a:lnTo>
                      <a:lnTo>
                        <a:pt x="2537" y="2608"/>
                      </a:lnTo>
                      <a:lnTo>
                        <a:pt x="2537" y="2608"/>
                      </a:lnTo>
                      <a:lnTo>
                        <a:pt x="2537" y="2608"/>
                      </a:lnTo>
                      <a:close/>
                      <a:moveTo>
                        <a:pt x="2520" y="2625"/>
                      </a:moveTo>
                      <a:lnTo>
                        <a:pt x="2515" y="2608"/>
                      </a:lnTo>
                      <a:lnTo>
                        <a:pt x="2520" y="2608"/>
                      </a:lnTo>
                      <a:lnTo>
                        <a:pt x="2532" y="2615"/>
                      </a:lnTo>
                      <a:lnTo>
                        <a:pt x="2520" y="2625"/>
                      </a:lnTo>
                      <a:lnTo>
                        <a:pt x="2520" y="2625"/>
                      </a:lnTo>
                      <a:lnTo>
                        <a:pt x="2520" y="2625"/>
                      </a:lnTo>
                      <a:close/>
                      <a:moveTo>
                        <a:pt x="1386" y="2625"/>
                      </a:moveTo>
                      <a:lnTo>
                        <a:pt x="1419" y="2615"/>
                      </a:lnTo>
                      <a:lnTo>
                        <a:pt x="1403" y="2625"/>
                      </a:lnTo>
                      <a:lnTo>
                        <a:pt x="1386" y="2625"/>
                      </a:lnTo>
                      <a:lnTo>
                        <a:pt x="1386" y="2625"/>
                      </a:lnTo>
                      <a:lnTo>
                        <a:pt x="1386" y="2625"/>
                      </a:lnTo>
                      <a:close/>
                      <a:moveTo>
                        <a:pt x="2390" y="2632"/>
                      </a:moveTo>
                      <a:lnTo>
                        <a:pt x="2397" y="2625"/>
                      </a:lnTo>
                      <a:lnTo>
                        <a:pt x="2407" y="2625"/>
                      </a:lnTo>
                      <a:lnTo>
                        <a:pt x="2390" y="2632"/>
                      </a:lnTo>
                      <a:lnTo>
                        <a:pt x="2390" y="2632"/>
                      </a:lnTo>
                      <a:lnTo>
                        <a:pt x="2390" y="2632"/>
                      </a:lnTo>
                      <a:close/>
                      <a:moveTo>
                        <a:pt x="1408" y="2641"/>
                      </a:moveTo>
                      <a:lnTo>
                        <a:pt x="1398" y="2632"/>
                      </a:lnTo>
                      <a:lnTo>
                        <a:pt x="1408" y="2632"/>
                      </a:lnTo>
                      <a:lnTo>
                        <a:pt x="1408" y="2641"/>
                      </a:lnTo>
                      <a:lnTo>
                        <a:pt x="1408" y="2641"/>
                      </a:lnTo>
                      <a:lnTo>
                        <a:pt x="1408" y="2641"/>
                      </a:lnTo>
                      <a:close/>
                      <a:moveTo>
                        <a:pt x="2369" y="2641"/>
                      </a:moveTo>
                      <a:lnTo>
                        <a:pt x="2359" y="2632"/>
                      </a:lnTo>
                      <a:lnTo>
                        <a:pt x="2369" y="2632"/>
                      </a:lnTo>
                      <a:lnTo>
                        <a:pt x="2369" y="2641"/>
                      </a:lnTo>
                      <a:lnTo>
                        <a:pt x="2369" y="2641"/>
                      </a:lnTo>
                      <a:lnTo>
                        <a:pt x="2369" y="2641"/>
                      </a:lnTo>
                      <a:close/>
                      <a:moveTo>
                        <a:pt x="2343" y="2653"/>
                      </a:moveTo>
                      <a:lnTo>
                        <a:pt x="2326" y="2648"/>
                      </a:lnTo>
                      <a:lnTo>
                        <a:pt x="2352" y="2653"/>
                      </a:lnTo>
                      <a:lnTo>
                        <a:pt x="2343" y="2653"/>
                      </a:lnTo>
                      <a:lnTo>
                        <a:pt x="2343" y="2653"/>
                      </a:lnTo>
                      <a:lnTo>
                        <a:pt x="2343" y="2653"/>
                      </a:lnTo>
                      <a:close/>
                      <a:moveTo>
                        <a:pt x="2305" y="2759"/>
                      </a:moveTo>
                      <a:lnTo>
                        <a:pt x="2284" y="2752"/>
                      </a:lnTo>
                      <a:lnTo>
                        <a:pt x="2272" y="2726"/>
                      </a:lnTo>
                      <a:lnTo>
                        <a:pt x="2251" y="2703"/>
                      </a:lnTo>
                      <a:lnTo>
                        <a:pt x="2272" y="2710"/>
                      </a:lnTo>
                      <a:lnTo>
                        <a:pt x="2289" y="2743"/>
                      </a:lnTo>
                      <a:lnTo>
                        <a:pt x="2305" y="2752"/>
                      </a:lnTo>
                      <a:lnTo>
                        <a:pt x="2305" y="2759"/>
                      </a:lnTo>
                      <a:lnTo>
                        <a:pt x="2305" y="2759"/>
                      </a:lnTo>
                      <a:lnTo>
                        <a:pt x="2305" y="2759"/>
                      </a:lnTo>
                      <a:close/>
                      <a:moveTo>
                        <a:pt x="1533" y="2743"/>
                      </a:moveTo>
                      <a:lnTo>
                        <a:pt x="1528" y="2759"/>
                      </a:lnTo>
                      <a:lnTo>
                        <a:pt x="1516" y="2759"/>
                      </a:lnTo>
                      <a:lnTo>
                        <a:pt x="1528" y="2743"/>
                      </a:lnTo>
                      <a:lnTo>
                        <a:pt x="1533" y="2743"/>
                      </a:lnTo>
                      <a:lnTo>
                        <a:pt x="1533" y="2743"/>
                      </a:lnTo>
                      <a:lnTo>
                        <a:pt x="1533" y="2743"/>
                      </a:lnTo>
                      <a:close/>
                      <a:moveTo>
                        <a:pt x="1559" y="2752"/>
                      </a:moveTo>
                      <a:lnTo>
                        <a:pt x="1533" y="2776"/>
                      </a:lnTo>
                      <a:lnTo>
                        <a:pt x="1516" y="2781"/>
                      </a:lnTo>
                      <a:lnTo>
                        <a:pt x="1542" y="2743"/>
                      </a:lnTo>
                      <a:lnTo>
                        <a:pt x="1559" y="2752"/>
                      </a:lnTo>
                      <a:lnTo>
                        <a:pt x="1559" y="2752"/>
                      </a:lnTo>
                      <a:lnTo>
                        <a:pt x="1559" y="2752"/>
                      </a:lnTo>
                      <a:close/>
                      <a:moveTo>
                        <a:pt x="1516" y="2764"/>
                      </a:moveTo>
                      <a:lnTo>
                        <a:pt x="1504" y="2776"/>
                      </a:lnTo>
                      <a:lnTo>
                        <a:pt x="1511" y="2764"/>
                      </a:lnTo>
                      <a:lnTo>
                        <a:pt x="1516" y="2764"/>
                      </a:lnTo>
                      <a:lnTo>
                        <a:pt x="1516" y="2764"/>
                      </a:lnTo>
                      <a:lnTo>
                        <a:pt x="1516" y="2764"/>
                      </a:lnTo>
                      <a:close/>
                      <a:moveTo>
                        <a:pt x="2234" y="2776"/>
                      </a:moveTo>
                      <a:lnTo>
                        <a:pt x="2218" y="2776"/>
                      </a:lnTo>
                      <a:lnTo>
                        <a:pt x="2234" y="2776"/>
                      </a:lnTo>
                      <a:lnTo>
                        <a:pt x="2234" y="2776"/>
                      </a:lnTo>
                      <a:lnTo>
                        <a:pt x="2234" y="2776"/>
                      </a:lnTo>
                      <a:close/>
                      <a:moveTo>
                        <a:pt x="2246" y="2781"/>
                      </a:moveTo>
                      <a:lnTo>
                        <a:pt x="2251" y="2776"/>
                      </a:lnTo>
                      <a:lnTo>
                        <a:pt x="2267" y="2776"/>
                      </a:lnTo>
                      <a:lnTo>
                        <a:pt x="2267" y="2781"/>
                      </a:lnTo>
                      <a:lnTo>
                        <a:pt x="2246" y="2781"/>
                      </a:lnTo>
                      <a:lnTo>
                        <a:pt x="2246" y="2781"/>
                      </a:lnTo>
                      <a:lnTo>
                        <a:pt x="2246" y="2781"/>
                      </a:lnTo>
                      <a:close/>
                      <a:moveTo>
                        <a:pt x="2234" y="2903"/>
                      </a:moveTo>
                      <a:lnTo>
                        <a:pt x="2213" y="2892"/>
                      </a:lnTo>
                      <a:lnTo>
                        <a:pt x="2180" y="2870"/>
                      </a:lnTo>
                      <a:lnTo>
                        <a:pt x="2196" y="2863"/>
                      </a:lnTo>
                      <a:lnTo>
                        <a:pt x="2230" y="2887"/>
                      </a:lnTo>
                      <a:lnTo>
                        <a:pt x="2234" y="2903"/>
                      </a:lnTo>
                      <a:lnTo>
                        <a:pt x="2234" y="2903"/>
                      </a:lnTo>
                      <a:lnTo>
                        <a:pt x="2234" y="2903"/>
                      </a:lnTo>
                      <a:close/>
                      <a:moveTo>
                        <a:pt x="2230" y="2908"/>
                      </a:moveTo>
                      <a:lnTo>
                        <a:pt x="2213" y="2903"/>
                      </a:lnTo>
                      <a:lnTo>
                        <a:pt x="2230" y="2903"/>
                      </a:lnTo>
                      <a:lnTo>
                        <a:pt x="2230" y="2908"/>
                      </a:lnTo>
                      <a:lnTo>
                        <a:pt x="2230" y="2908"/>
                      </a:lnTo>
                      <a:lnTo>
                        <a:pt x="2230" y="2908"/>
                      </a:lnTo>
                      <a:close/>
                      <a:moveTo>
                        <a:pt x="1580" y="2903"/>
                      </a:moveTo>
                      <a:lnTo>
                        <a:pt x="1566" y="2908"/>
                      </a:lnTo>
                      <a:lnTo>
                        <a:pt x="1580" y="2903"/>
                      </a:lnTo>
                      <a:lnTo>
                        <a:pt x="1580" y="2903"/>
                      </a:lnTo>
                      <a:lnTo>
                        <a:pt x="1580" y="2903"/>
                      </a:lnTo>
                      <a:close/>
                      <a:moveTo>
                        <a:pt x="1566" y="2903"/>
                      </a:moveTo>
                      <a:lnTo>
                        <a:pt x="1566" y="2908"/>
                      </a:lnTo>
                      <a:lnTo>
                        <a:pt x="1549" y="2908"/>
                      </a:lnTo>
                      <a:lnTo>
                        <a:pt x="1566" y="2903"/>
                      </a:lnTo>
                      <a:lnTo>
                        <a:pt x="1566" y="2903"/>
                      </a:lnTo>
                      <a:lnTo>
                        <a:pt x="1566" y="2903"/>
                      </a:lnTo>
                      <a:close/>
                      <a:moveTo>
                        <a:pt x="2208" y="2932"/>
                      </a:moveTo>
                      <a:lnTo>
                        <a:pt x="2208" y="2920"/>
                      </a:lnTo>
                      <a:lnTo>
                        <a:pt x="2213" y="2920"/>
                      </a:lnTo>
                      <a:lnTo>
                        <a:pt x="2208" y="2932"/>
                      </a:lnTo>
                      <a:lnTo>
                        <a:pt x="2208" y="2932"/>
                      </a:lnTo>
                      <a:lnTo>
                        <a:pt x="2208" y="2932"/>
                      </a:lnTo>
                      <a:close/>
                      <a:moveTo>
                        <a:pt x="2154" y="2958"/>
                      </a:moveTo>
                      <a:lnTo>
                        <a:pt x="2142" y="2948"/>
                      </a:lnTo>
                      <a:lnTo>
                        <a:pt x="2154" y="2941"/>
                      </a:lnTo>
                      <a:lnTo>
                        <a:pt x="2180" y="2948"/>
                      </a:lnTo>
                      <a:lnTo>
                        <a:pt x="2154" y="2958"/>
                      </a:lnTo>
                      <a:lnTo>
                        <a:pt x="2154" y="2958"/>
                      </a:lnTo>
                      <a:lnTo>
                        <a:pt x="2154" y="2958"/>
                      </a:lnTo>
                      <a:close/>
                      <a:moveTo>
                        <a:pt x="2163" y="2981"/>
                      </a:moveTo>
                      <a:lnTo>
                        <a:pt x="2154" y="2965"/>
                      </a:lnTo>
                      <a:lnTo>
                        <a:pt x="2163" y="2974"/>
                      </a:lnTo>
                      <a:lnTo>
                        <a:pt x="2163" y="2981"/>
                      </a:lnTo>
                      <a:lnTo>
                        <a:pt x="2163" y="2981"/>
                      </a:lnTo>
                      <a:lnTo>
                        <a:pt x="2163" y="2981"/>
                      </a:lnTo>
                      <a:close/>
                      <a:moveTo>
                        <a:pt x="2159" y="3059"/>
                      </a:moveTo>
                      <a:lnTo>
                        <a:pt x="2163" y="3043"/>
                      </a:lnTo>
                      <a:lnTo>
                        <a:pt x="2163" y="3059"/>
                      </a:lnTo>
                      <a:lnTo>
                        <a:pt x="2159" y="3059"/>
                      </a:lnTo>
                      <a:lnTo>
                        <a:pt x="2159" y="3059"/>
                      </a:lnTo>
                      <a:lnTo>
                        <a:pt x="2159" y="3059"/>
                      </a:lnTo>
                      <a:close/>
                      <a:moveTo>
                        <a:pt x="1743" y="3130"/>
                      </a:moveTo>
                      <a:lnTo>
                        <a:pt x="1748" y="3142"/>
                      </a:lnTo>
                      <a:lnTo>
                        <a:pt x="1726" y="3130"/>
                      </a:lnTo>
                      <a:lnTo>
                        <a:pt x="1743" y="3130"/>
                      </a:lnTo>
                      <a:lnTo>
                        <a:pt x="1743" y="3130"/>
                      </a:lnTo>
                      <a:lnTo>
                        <a:pt x="1743" y="3130"/>
                      </a:lnTo>
                      <a:close/>
                      <a:moveTo>
                        <a:pt x="1882" y="3154"/>
                      </a:moveTo>
                      <a:lnTo>
                        <a:pt x="1835" y="3170"/>
                      </a:lnTo>
                      <a:lnTo>
                        <a:pt x="1882" y="3147"/>
                      </a:lnTo>
                      <a:lnTo>
                        <a:pt x="1882" y="3154"/>
                      </a:lnTo>
                      <a:lnTo>
                        <a:pt x="1882" y="3154"/>
                      </a:lnTo>
                      <a:lnTo>
                        <a:pt x="1882" y="3154"/>
                      </a:lnTo>
                      <a:close/>
                      <a:moveTo>
                        <a:pt x="1776" y="3163"/>
                      </a:moveTo>
                      <a:lnTo>
                        <a:pt x="1764" y="3170"/>
                      </a:lnTo>
                      <a:lnTo>
                        <a:pt x="1781" y="3170"/>
                      </a:lnTo>
                      <a:lnTo>
                        <a:pt x="1764" y="3180"/>
                      </a:lnTo>
                      <a:lnTo>
                        <a:pt x="1731" y="3163"/>
                      </a:lnTo>
                      <a:lnTo>
                        <a:pt x="1776" y="3163"/>
                      </a:lnTo>
                      <a:lnTo>
                        <a:pt x="1776" y="3163"/>
                      </a:lnTo>
                      <a:lnTo>
                        <a:pt x="1776" y="3163"/>
                      </a:lnTo>
                      <a:close/>
                      <a:moveTo>
                        <a:pt x="1873" y="3170"/>
                      </a:moveTo>
                      <a:lnTo>
                        <a:pt x="1873" y="3180"/>
                      </a:lnTo>
                      <a:lnTo>
                        <a:pt x="1856" y="3180"/>
                      </a:lnTo>
                      <a:lnTo>
                        <a:pt x="1873" y="3170"/>
                      </a:lnTo>
                      <a:lnTo>
                        <a:pt x="1873" y="3170"/>
                      </a:lnTo>
                      <a:lnTo>
                        <a:pt x="1873" y="3170"/>
                      </a:lnTo>
                      <a:close/>
                      <a:moveTo>
                        <a:pt x="1958" y="3208"/>
                      </a:moveTo>
                      <a:lnTo>
                        <a:pt x="1948" y="3225"/>
                      </a:lnTo>
                      <a:lnTo>
                        <a:pt x="1937" y="3236"/>
                      </a:lnTo>
                      <a:lnTo>
                        <a:pt x="1944" y="3208"/>
                      </a:lnTo>
                      <a:lnTo>
                        <a:pt x="1958" y="3208"/>
                      </a:lnTo>
                      <a:lnTo>
                        <a:pt x="1958" y="3208"/>
                      </a:lnTo>
                      <a:lnTo>
                        <a:pt x="1958" y="3208"/>
                      </a:lnTo>
                      <a:close/>
                      <a:moveTo>
                        <a:pt x="2067" y="3258"/>
                      </a:moveTo>
                      <a:lnTo>
                        <a:pt x="2045" y="3253"/>
                      </a:lnTo>
                      <a:lnTo>
                        <a:pt x="2029" y="3236"/>
                      </a:lnTo>
                      <a:lnTo>
                        <a:pt x="2100" y="3241"/>
                      </a:lnTo>
                      <a:lnTo>
                        <a:pt x="2088" y="3253"/>
                      </a:lnTo>
                      <a:lnTo>
                        <a:pt x="2067" y="3241"/>
                      </a:lnTo>
                      <a:lnTo>
                        <a:pt x="2071" y="3253"/>
                      </a:lnTo>
                      <a:lnTo>
                        <a:pt x="2067" y="3258"/>
                      </a:lnTo>
                      <a:lnTo>
                        <a:pt x="2067" y="3258"/>
                      </a:lnTo>
                      <a:lnTo>
                        <a:pt x="2067" y="3258"/>
                      </a:lnTo>
                      <a:close/>
                      <a:moveTo>
                        <a:pt x="2019" y="3241"/>
                      </a:moveTo>
                      <a:lnTo>
                        <a:pt x="2019" y="3253"/>
                      </a:lnTo>
                      <a:lnTo>
                        <a:pt x="2012" y="3258"/>
                      </a:lnTo>
                      <a:lnTo>
                        <a:pt x="1996" y="3253"/>
                      </a:lnTo>
                      <a:lnTo>
                        <a:pt x="2003" y="3236"/>
                      </a:lnTo>
                      <a:lnTo>
                        <a:pt x="2019" y="3241"/>
                      </a:lnTo>
                      <a:lnTo>
                        <a:pt x="2019" y="3241"/>
                      </a:lnTo>
                      <a:lnTo>
                        <a:pt x="2019" y="3241"/>
                      </a:lnTo>
                      <a:close/>
                      <a:moveTo>
                        <a:pt x="2071" y="3258"/>
                      </a:moveTo>
                      <a:lnTo>
                        <a:pt x="2071" y="3253"/>
                      </a:lnTo>
                      <a:lnTo>
                        <a:pt x="2083" y="3253"/>
                      </a:lnTo>
                      <a:lnTo>
                        <a:pt x="2071" y="3258"/>
                      </a:lnTo>
                      <a:lnTo>
                        <a:pt x="2071" y="3258"/>
                      </a:lnTo>
                      <a:lnTo>
                        <a:pt x="2071" y="3258"/>
                      </a:lnTo>
                      <a:close/>
                      <a:moveTo>
                        <a:pt x="2029" y="3265"/>
                      </a:moveTo>
                      <a:lnTo>
                        <a:pt x="2012" y="3258"/>
                      </a:lnTo>
                      <a:lnTo>
                        <a:pt x="2019" y="3253"/>
                      </a:lnTo>
                      <a:lnTo>
                        <a:pt x="2033" y="3253"/>
                      </a:lnTo>
                      <a:lnTo>
                        <a:pt x="2029" y="3265"/>
                      </a:lnTo>
                      <a:lnTo>
                        <a:pt x="2029" y="3265"/>
                      </a:lnTo>
                      <a:lnTo>
                        <a:pt x="2029" y="3265"/>
                      </a:lnTo>
                      <a:close/>
                      <a:moveTo>
                        <a:pt x="2083" y="3258"/>
                      </a:moveTo>
                      <a:lnTo>
                        <a:pt x="2083" y="3253"/>
                      </a:lnTo>
                      <a:lnTo>
                        <a:pt x="2088" y="3258"/>
                      </a:lnTo>
                      <a:lnTo>
                        <a:pt x="2083" y="3258"/>
                      </a:lnTo>
                      <a:lnTo>
                        <a:pt x="2083" y="3258"/>
                      </a:lnTo>
                      <a:lnTo>
                        <a:pt x="2083" y="3258"/>
                      </a:lnTo>
                      <a:close/>
                      <a:moveTo>
                        <a:pt x="2045" y="3274"/>
                      </a:moveTo>
                      <a:lnTo>
                        <a:pt x="2029" y="3265"/>
                      </a:lnTo>
                      <a:lnTo>
                        <a:pt x="2033" y="3258"/>
                      </a:lnTo>
                      <a:lnTo>
                        <a:pt x="2057" y="3265"/>
                      </a:lnTo>
                      <a:lnTo>
                        <a:pt x="2045" y="3274"/>
                      </a:lnTo>
                      <a:lnTo>
                        <a:pt x="2045" y="3274"/>
                      </a:lnTo>
                      <a:lnTo>
                        <a:pt x="2045" y="327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6" name="Freeform 456">
                  <a:extLst>
                    <a:ext uri="{FF2B5EF4-FFF2-40B4-BE49-F238E27FC236}">
                      <a16:creationId xmlns:a16="http://schemas.microsoft.com/office/drawing/2014/main" id="{E5D7F3FB-24D0-4D0F-B270-CDB214FF871E}"/>
                    </a:ext>
                  </a:extLst>
                </p:cNvPr>
                <p:cNvSpPr>
                  <a:spLocks noEditPoints="1"/>
                </p:cNvSpPr>
                <p:nvPr/>
              </p:nvSpPr>
              <p:spPr bwMode="gray">
                <a:xfrm>
                  <a:off x="7295987" y="2752512"/>
                  <a:ext cx="243297" cy="233443"/>
                </a:xfrm>
                <a:custGeom>
                  <a:avLst/>
                  <a:gdLst>
                    <a:gd name="T0" fmla="*/ 76 w 591"/>
                    <a:gd name="T1" fmla="*/ 111 h 567"/>
                    <a:gd name="T2" fmla="*/ 227 w 591"/>
                    <a:gd name="T3" fmla="*/ 29 h 567"/>
                    <a:gd name="T4" fmla="*/ 484 w 591"/>
                    <a:gd name="T5" fmla="*/ 7 h 567"/>
                    <a:gd name="T6" fmla="*/ 350 w 591"/>
                    <a:gd name="T7" fmla="*/ 69 h 567"/>
                    <a:gd name="T8" fmla="*/ 324 w 591"/>
                    <a:gd name="T9" fmla="*/ 135 h 567"/>
                    <a:gd name="T10" fmla="*/ 274 w 591"/>
                    <a:gd name="T11" fmla="*/ 123 h 567"/>
                    <a:gd name="T12" fmla="*/ 227 w 591"/>
                    <a:gd name="T13" fmla="*/ 102 h 567"/>
                    <a:gd name="T14" fmla="*/ 220 w 591"/>
                    <a:gd name="T15" fmla="*/ 213 h 567"/>
                    <a:gd name="T16" fmla="*/ 307 w 591"/>
                    <a:gd name="T17" fmla="*/ 300 h 567"/>
                    <a:gd name="T18" fmla="*/ 253 w 591"/>
                    <a:gd name="T19" fmla="*/ 357 h 567"/>
                    <a:gd name="T20" fmla="*/ 215 w 591"/>
                    <a:gd name="T21" fmla="*/ 345 h 567"/>
                    <a:gd name="T22" fmla="*/ 189 w 591"/>
                    <a:gd name="T23" fmla="*/ 452 h 567"/>
                    <a:gd name="T24" fmla="*/ 135 w 591"/>
                    <a:gd name="T25" fmla="*/ 374 h 567"/>
                    <a:gd name="T26" fmla="*/ 227 w 591"/>
                    <a:gd name="T27" fmla="*/ 317 h 567"/>
                    <a:gd name="T28" fmla="*/ 128 w 591"/>
                    <a:gd name="T29" fmla="*/ 284 h 567"/>
                    <a:gd name="T30" fmla="*/ 76 w 591"/>
                    <a:gd name="T31" fmla="*/ 222 h 567"/>
                    <a:gd name="T32" fmla="*/ 21 w 591"/>
                    <a:gd name="T33" fmla="*/ 173 h 567"/>
                    <a:gd name="T34" fmla="*/ 345 w 591"/>
                    <a:gd name="T35" fmla="*/ 95 h 567"/>
                    <a:gd name="T36" fmla="*/ 413 w 591"/>
                    <a:gd name="T37" fmla="*/ 102 h 567"/>
                    <a:gd name="T38" fmla="*/ 397 w 591"/>
                    <a:gd name="T39" fmla="*/ 140 h 567"/>
                    <a:gd name="T40" fmla="*/ 26 w 591"/>
                    <a:gd name="T41" fmla="*/ 196 h 567"/>
                    <a:gd name="T42" fmla="*/ 468 w 591"/>
                    <a:gd name="T43" fmla="*/ 206 h 567"/>
                    <a:gd name="T44" fmla="*/ 468 w 591"/>
                    <a:gd name="T45" fmla="*/ 206 h 567"/>
                    <a:gd name="T46" fmla="*/ 258 w 591"/>
                    <a:gd name="T47" fmla="*/ 222 h 567"/>
                    <a:gd name="T48" fmla="*/ 274 w 591"/>
                    <a:gd name="T49" fmla="*/ 279 h 567"/>
                    <a:gd name="T50" fmla="*/ 333 w 591"/>
                    <a:gd name="T51" fmla="*/ 300 h 567"/>
                    <a:gd name="T52" fmla="*/ 333 w 591"/>
                    <a:gd name="T53" fmla="*/ 230 h 567"/>
                    <a:gd name="T54" fmla="*/ 59 w 591"/>
                    <a:gd name="T55" fmla="*/ 246 h 567"/>
                    <a:gd name="T56" fmla="*/ 404 w 591"/>
                    <a:gd name="T57" fmla="*/ 267 h 567"/>
                    <a:gd name="T58" fmla="*/ 442 w 591"/>
                    <a:gd name="T59" fmla="*/ 300 h 567"/>
                    <a:gd name="T60" fmla="*/ 59 w 591"/>
                    <a:gd name="T61" fmla="*/ 279 h 567"/>
                    <a:gd name="T62" fmla="*/ 350 w 591"/>
                    <a:gd name="T63" fmla="*/ 317 h 567"/>
                    <a:gd name="T64" fmla="*/ 64 w 591"/>
                    <a:gd name="T65" fmla="*/ 324 h 567"/>
                    <a:gd name="T66" fmla="*/ 489 w 591"/>
                    <a:gd name="T67" fmla="*/ 333 h 567"/>
                    <a:gd name="T68" fmla="*/ 258 w 591"/>
                    <a:gd name="T69" fmla="*/ 341 h 567"/>
                    <a:gd name="T70" fmla="*/ 435 w 591"/>
                    <a:gd name="T71" fmla="*/ 357 h 567"/>
                    <a:gd name="T72" fmla="*/ 383 w 591"/>
                    <a:gd name="T73" fmla="*/ 345 h 567"/>
                    <a:gd name="T74" fmla="*/ 366 w 591"/>
                    <a:gd name="T75" fmla="*/ 362 h 567"/>
                    <a:gd name="T76" fmla="*/ 397 w 591"/>
                    <a:gd name="T77" fmla="*/ 362 h 567"/>
                    <a:gd name="T78" fmla="*/ 333 w 591"/>
                    <a:gd name="T79" fmla="*/ 390 h 567"/>
                    <a:gd name="T80" fmla="*/ 387 w 591"/>
                    <a:gd name="T81" fmla="*/ 390 h 567"/>
                    <a:gd name="T82" fmla="*/ 387 w 591"/>
                    <a:gd name="T83" fmla="*/ 390 h 567"/>
                    <a:gd name="T84" fmla="*/ 506 w 591"/>
                    <a:gd name="T85" fmla="*/ 402 h 567"/>
                    <a:gd name="T86" fmla="*/ 376 w 591"/>
                    <a:gd name="T87" fmla="*/ 402 h 567"/>
                    <a:gd name="T88" fmla="*/ 510 w 591"/>
                    <a:gd name="T89" fmla="*/ 411 h 567"/>
                    <a:gd name="T90" fmla="*/ 435 w 591"/>
                    <a:gd name="T91" fmla="*/ 411 h 567"/>
                    <a:gd name="T92" fmla="*/ 397 w 591"/>
                    <a:gd name="T93" fmla="*/ 428 h 567"/>
                    <a:gd name="T94" fmla="*/ 324 w 591"/>
                    <a:gd name="T95" fmla="*/ 428 h 567"/>
                    <a:gd name="T96" fmla="*/ 458 w 591"/>
                    <a:gd name="T97" fmla="*/ 435 h 567"/>
                    <a:gd name="T98" fmla="*/ 404 w 591"/>
                    <a:gd name="T99" fmla="*/ 444 h 567"/>
                    <a:gd name="T100" fmla="*/ 539 w 591"/>
                    <a:gd name="T101" fmla="*/ 452 h 567"/>
                    <a:gd name="T102" fmla="*/ 591 w 591"/>
                    <a:gd name="T103" fmla="*/ 444 h 567"/>
                    <a:gd name="T104" fmla="*/ 421 w 591"/>
                    <a:gd name="T105" fmla="*/ 452 h 567"/>
                    <a:gd name="T106" fmla="*/ 522 w 591"/>
                    <a:gd name="T107" fmla="*/ 529 h 567"/>
                    <a:gd name="T108" fmla="*/ 269 w 591"/>
                    <a:gd name="T109" fmla="*/ 513 h 567"/>
                    <a:gd name="T110" fmla="*/ 397 w 591"/>
                    <a:gd name="T111" fmla="*/ 539 h 567"/>
                    <a:gd name="T112" fmla="*/ 350 w 591"/>
                    <a:gd name="T113" fmla="*/ 567 h 567"/>
                    <a:gd name="T114" fmla="*/ 510 w 591"/>
                    <a:gd name="T115" fmla="*/ 522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91" h="567">
                      <a:moveTo>
                        <a:pt x="21" y="173"/>
                      </a:moveTo>
                      <a:lnTo>
                        <a:pt x="38" y="173"/>
                      </a:lnTo>
                      <a:lnTo>
                        <a:pt x="43" y="168"/>
                      </a:lnTo>
                      <a:lnTo>
                        <a:pt x="38" y="168"/>
                      </a:lnTo>
                      <a:lnTo>
                        <a:pt x="54" y="156"/>
                      </a:lnTo>
                      <a:lnTo>
                        <a:pt x="43" y="152"/>
                      </a:lnTo>
                      <a:lnTo>
                        <a:pt x="64" y="135"/>
                      </a:lnTo>
                      <a:lnTo>
                        <a:pt x="76" y="111"/>
                      </a:lnTo>
                      <a:lnTo>
                        <a:pt x="92" y="95"/>
                      </a:lnTo>
                      <a:lnTo>
                        <a:pt x="92" y="69"/>
                      </a:lnTo>
                      <a:lnTo>
                        <a:pt x="128" y="69"/>
                      </a:lnTo>
                      <a:lnTo>
                        <a:pt x="144" y="62"/>
                      </a:lnTo>
                      <a:lnTo>
                        <a:pt x="161" y="45"/>
                      </a:lnTo>
                      <a:lnTo>
                        <a:pt x="215" y="45"/>
                      </a:lnTo>
                      <a:lnTo>
                        <a:pt x="215" y="29"/>
                      </a:lnTo>
                      <a:lnTo>
                        <a:pt x="227" y="29"/>
                      </a:lnTo>
                      <a:lnTo>
                        <a:pt x="274" y="29"/>
                      </a:lnTo>
                      <a:lnTo>
                        <a:pt x="324" y="12"/>
                      </a:lnTo>
                      <a:lnTo>
                        <a:pt x="387" y="41"/>
                      </a:lnTo>
                      <a:lnTo>
                        <a:pt x="451" y="29"/>
                      </a:lnTo>
                      <a:lnTo>
                        <a:pt x="451" y="12"/>
                      </a:lnTo>
                      <a:lnTo>
                        <a:pt x="442" y="0"/>
                      </a:lnTo>
                      <a:lnTo>
                        <a:pt x="468" y="0"/>
                      </a:lnTo>
                      <a:lnTo>
                        <a:pt x="484" y="7"/>
                      </a:lnTo>
                      <a:lnTo>
                        <a:pt x="484" y="29"/>
                      </a:lnTo>
                      <a:lnTo>
                        <a:pt x="458" y="41"/>
                      </a:lnTo>
                      <a:lnTo>
                        <a:pt x="468" y="62"/>
                      </a:lnTo>
                      <a:lnTo>
                        <a:pt x="442" y="85"/>
                      </a:lnTo>
                      <a:lnTo>
                        <a:pt x="442" y="78"/>
                      </a:lnTo>
                      <a:lnTo>
                        <a:pt x="383" y="62"/>
                      </a:lnTo>
                      <a:lnTo>
                        <a:pt x="383" y="62"/>
                      </a:lnTo>
                      <a:lnTo>
                        <a:pt x="350" y="69"/>
                      </a:lnTo>
                      <a:lnTo>
                        <a:pt x="328" y="62"/>
                      </a:lnTo>
                      <a:lnTo>
                        <a:pt x="307" y="85"/>
                      </a:lnTo>
                      <a:lnTo>
                        <a:pt x="279" y="78"/>
                      </a:lnTo>
                      <a:lnTo>
                        <a:pt x="274" y="85"/>
                      </a:lnTo>
                      <a:lnTo>
                        <a:pt x="291" y="111"/>
                      </a:lnTo>
                      <a:lnTo>
                        <a:pt x="312" y="118"/>
                      </a:lnTo>
                      <a:lnTo>
                        <a:pt x="328" y="135"/>
                      </a:lnTo>
                      <a:lnTo>
                        <a:pt x="324" y="135"/>
                      </a:lnTo>
                      <a:lnTo>
                        <a:pt x="312" y="118"/>
                      </a:lnTo>
                      <a:lnTo>
                        <a:pt x="291" y="118"/>
                      </a:lnTo>
                      <a:lnTo>
                        <a:pt x="279" y="118"/>
                      </a:lnTo>
                      <a:lnTo>
                        <a:pt x="279" y="123"/>
                      </a:lnTo>
                      <a:lnTo>
                        <a:pt x="295" y="135"/>
                      </a:lnTo>
                      <a:lnTo>
                        <a:pt x="295" y="140"/>
                      </a:lnTo>
                      <a:lnTo>
                        <a:pt x="295" y="152"/>
                      </a:lnTo>
                      <a:lnTo>
                        <a:pt x="274" y="123"/>
                      </a:lnTo>
                      <a:lnTo>
                        <a:pt x="253" y="123"/>
                      </a:lnTo>
                      <a:lnTo>
                        <a:pt x="253" y="135"/>
                      </a:lnTo>
                      <a:lnTo>
                        <a:pt x="279" y="152"/>
                      </a:lnTo>
                      <a:lnTo>
                        <a:pt x="258" y="152"/>
                      </a:lnTo>
                      <a:lnTo>
                        <a:pt x="253" y="123"/>
                      </a:lnTo>
                      <a:lnTo>
                        <a:pt x="220" y="111"/>
                      </a:lnTo>
                      <a:lnTo>
                        <a:pt x="220" y="102"/>
                      </a:lnTo>
                      <a:lnTo>
                        <a:pt x="227" y="102"/>
                      </a:lnTo>
                      <a:lnTo>
                        <a:pt x="227" y="95"/>
                      </a:lnTo>
                      <a:lnTo>
                        <a:pt x="199" y="102"/>
                      </a:lnTo>
                      <a:lnTo>
                        <a:pt x="199" y="140"/>
                      </a:lnTo>
                      <a:lnTo>
                        <a:pt x="253" y="213"/>
                      </a:lnTo>
                      <a:lnTo>
                        <a:pt x="236" y="222"/>
                      </a:lnTo>
                      <a:lnTo>
                        <a:pt x="241" y="213"/>
                      </a:lnTo>
                      <a:lnTo>
                        <a:pt x="227" y="196"/>
                      </a:lnTo>
                      <a:lnTo>
                        <a:pt x="220" y="213"/>
                      </a:lnTo>
                      <a:lnTo>
                        <a:pt x="236" y="230"/>
                      </a:lnTo>
                      <a:lnTo>
                        <a:pt x="220" y="234"/>
                      </a:lnTo>
                      <a:lnTo>
                        <a:pt x="199" y="246"/>
                      </a:lnTo>
                      <a:lnTo>
                        <a:pt x="227" y="251"/>
                      </a:lnTo>
                      <a:lnTo>
                        <a:pt x="236" y="263"/>
                      </a:lnTo>
                      <a:lnTo>
                        <a:pt x="253" y="263"/>
                      </a:lnTo>
                      <a:lnTo>
                        <a:pt x="253" y="267"/>
                      </a:lnTo>
                      <a:lnTo>
                        <a:pt x="307" y="300"/>
                      </a:lnTo>
                      <a:lnTo>
                        <a:pt x="295" y="307"/>
                      </a:lnTo>
                      <a:lnTo>
                        <a:pt x="307" y="333"/>
                      </a:lnTo>
                      <a:lnTo>
                        <a:pt x="295" y="341"/>
                      </a:lnTo>
                      <a:lnTo>
                        <a:pt x="269" y="307"/>
                      </a:lnTo>
                      <a:lnTo>
                        <a:pt x="227" y="324"/>
                      </a:lnTo>
                      <a:lnTo>
                        <a:pt x="236" y="324"/>
                      </a:lnTo>
                      <a:lnTo>
                        <a:pt x="241" y="345"/>
                      </a:lnTo>
                      <a:lnTo>
                        <a:pt x="253" y="357"/>
                      </a:lnTo>
                      <a:lnTo>
                        <a:pt x="253" y="345"/>
                      </a:lnTo>
                      <a:lnTo>
                        <a:pt x="258" y="345"/>
                      </a:lnTo>
                      <a:lnTo>
                        <a:pt x="269" y="362"/>
                      </a:lnTo>
                      <a:lnTo>
                        <a:pt x="253" y="362"/>
                      </a:lnTo>
                      <a:lnTo>
                        <a:pt x="241" y="374"/>
                      </a:lnTo>
                      <a:lnTo>
                        <a:pt x="236" y="362"/>
                      </a:lnTo>
                      <a:lnTo>
                        <a:pt x="236" y="362"/>
                      </a:lnTo>
                      <a:lnTo>
                        <a:pt x="215" y="345"/>
                      </a:lnTo>
                      <a:lnTo>
                        <a:pt x="236" y="418"/>
                      </a:lnTo>
                      <a:lnTo>
                        <a:pt x="227" y="428"/>
                      </a:lnTo>
                      <a:lnTo>
                        <a:pt x="241" y="444"/>
                      </a:lnTo>
                      <a:lnTo>
                        <a:pt x="227" y="435"/>
                      </a:lnTo>
                      <a:lnTo>
                        <a:pt x="215" y="411"/>
                      </a:lnTo>
                      <a:lnTo>
                        <a:pt x="203" y="411"/>
                      </a:lnTo>
                      <a:lnTo>
                        <a:pt x="189" y="428"/>
                      </a:lnTo>
                      <a:lnTo>
                        <a:pt x="189" y="452"/>
                      </a:lnTo>
                      <a:lnTo>
                        <a:pt x="165" y="395"/>
                      </a:lnTo>
                      <a:lnTo>
                        <a:pt x="151" y="395"/>
                      </a:lnTo>
                      <a:lnTo>
                        <a:pt x="161" y="411"/>
                      </a:lnTo>
                      <a:lnTo>
                        <a:pt x="151" y="418"/>
                      </a:lnTo>
                      <a:lnTo>
                        <a:pt x="135" y="411"/>
                      </a:lnTo>
                      <a:lnTo>
                        <a:pt x="135" y="402"/>
                      </a:lnTo>
                      <a:lnTo>
                        <a:pt x="128" y="390"/>
                      </a:lnTo>
                      <a:lnTo>
                        <a:pt x="135" y="374"/>
                      </a:lnTo>
                      <a:lnTo>
                        <a:pt x="135" y="362"/>
                      </a:lnTo>
                      <a:lnTo>
                        <a:pt x="97" y="324"/>
                      </a:lnTo>
                      <a:lnTo>
                        <a:pt x="113" y="307"/>
                      </a:lnTo>
                      <a:lnTo>
                        <a:pt x="113" y="291"/>
                      </a:lnTo>
                      <a:lnTo>
                        <a:pt x="135" y="300"/>
                      </a:lnTo>
                      <a:lnTo>
                        <a:pt x="151" y="284"/>
                      </a:lnTo>
                      <a:lnTo>
                        <a:pt x="220" y="317"/>
                      </a:lnTo>
                      <a:lnTo>
                        <a:pt x="227" y="317"/>
                      </a:lnTo>
                      <a:lnTo>
                        <a:pt x="220" y="307"/>
                      </a:lnTo>
                      <a:lnTo>
                        <a:pt x="241" y="307"/>
                      </a:lnTo>
                      <a:lnTo>
                        <a:pt x="241" y="300"/>
                      </a:lnTo>
                      <a:lnTo>
                        <a:pt x="215" y="291"/>
                      </a:lnTo>
                      <a:lnTo>
                        <a:pt x="189" y="279"/>
                      </a:lnTo>
                      <a:lnTo>
                        <a:pt x="182" y="284"/>
                      </a:lnTo>
                      <a:lnTo>
                        <a:pt x="161" y="279"/>
                      </a:lnTo>
                      <a:lnTo>
                        <a:pt x="128" y="284"/>
                      </a:lnTo>
                      <a:lnTo>
                        <a:pt x="113" y="279"/>
                      </a:lnTo>
                      <a:lnTo>
                        <a:pt x="97" y="284"/>
                      </a:lnTo>
                      <a:lnTo>
                        <a:pt x="92" y="263"/>
                      </a:lnTo>
                      <a:lnTo>
                        <a:pt x="64" y="246"/>
                      </a:lnTo>
                      <a:lnTo>
                        <a:pt x="76" y="234"/>
                      </a:lnTo>
                      <a:lnTo>
                        <a:pt x="97" y="246"/>
                      </a:lnTo>
                      <a:lnTo>
                        <a:pt x="97" y="230"/>
                      </a:lnTo>
                      <a:lnTo>
                        <a:pt x="76" y="222"/>
                      </a:lnTo>
                      <a:lnTo>
                        <a:pt x="76" y="230"/>
                      </a:lnTo>
                      <a:lnTo>
                        <a:pt x="76" y="234"/>
                      </a:lnTo>
                      <a:lnTo>
                        <a:pt x="64" y="234"/>
                      </a:lnTo>
                      <a:lnTo>
                        <a:pt x="54" y="206"/>
                      </a:lnTo>
                      <a:lnTo>
                        <a:pt x="38" y="206"/>
                      </a:lnTo>
                      <a:lnTo>
                        <a:pt x="38" y="180"/>
                      </a:lnTo>
                      <a:lnTo>
                        <a:pt x="21" y="173"/>
                      </a:lnTo>
                      <a:lnTo>
                        <a:pt x="21" y="173"/>
                      </a:lnTo>
                      <a:lnTo>
                        <a:pt x="21" y="173"/>
                      </a:lnTo>
                      <a:close/>
                      <a:moveTo>
                        <a:pt x="345" y="95"/>
                      </a:moveTo>
                      <a:lnTo>
                        <a:pt x="333" y="85"/>
                      </a:lnTo>
                      <a:lnTo>
                        <a:pt x="345" y="78"/>
                      </a:lnTo>
                      <a:lnTo>
                        <a:pt x="350" y="78"/>
                      </a:lnTo>
                      <a:lnTo>
                        <a:pt x="350" y="95"/>
                      </a:lnTo>
                      <a:lnTo>
                        <a:pt x="345" y="95"/>
                      </a:lnTo>
                      <a:lnTo>
                        <a:pt x="345" y="95"/>
                      </a:lnTo>
                      <a:lnTo>
                        <a:pt x="345" y="95"/>
                      </a:lnTo>
                      <a:close/>
                      <a:moveTo>
                        <a:pt x="413" y="102"/>
                      </a:moveTo>
                      <a:lnTo>
                        <a:pt x="421" y="111"/>
                      </a:lnTo>
                      <a:lnTo>
                        <a:pt x="413" y="111"/>
                      </a:lnTo>
                      <a:lnTo>
                        <a:pt x="397" y="102"/>
                      </a:lnTo>
                      <a:lnTo>
                        <a:pt x="413" y="102"/>
                      </a:lnTo>
                      <a:lnTo>
                        <a:pt x="413" y="102"/>
                      </a:lnTo>
                      <a:lnTo>
                        <a:pt x="413" y="102"/>
                      </a:lnTo>
                      <a:close/>
                      <a:moveTo>
                        <a:pt x="397" y="140"/>
                      </a:moveTo>
                      <a:lnTo>
                        <a:pt x="397" y="168"/>
                      </a:lnTo>
                      <a:lnTo>
                        <a:pt x="387" y="152"/>
                      </a:lnTo>
                      <a:lnTo>
                        <a:pt x="383" y="156"/>
                      </a:lnTo>
                      <a:lnTo>
                        <a:pt x="383" y="168"/>
                      </a:lnTo>
                      <a:lnTo>
                        <a:pt x="376" y="156"/>
                      </a:lnTo>
                      <a:lnTo>
                        <a:pt x="376" y="152"/>
                      </a:lnTo>
                      <a:lnTo>
                        <a:pt x="397" y="140"/>
                      </a:lnTo>
                      <a:lnTo>
                        <a:pt x="397" y="140"/>
                      </a:lnTo>
                      <a:lnTo>
                        <a:pt x="397" y="140"/>
                      </a:lnTo>
                      <a:close/>
                      <a:moveTo>
                        <a:pt x="5" y="156"/>
                      </a:moveTo>
                      <a:lnTo>
                        <a:pt x="10" y="168"/>
                      </a:lnTo>
                      <a:lnTo>
                        <a:pt x="5" y="173"/>
                      </a:lnTo>
                      <a:lnTo>
                        <a:pt x="10" y="189"/>
                      </a:lnTo>
                      <a:lnTo>
                        <a:pt x="21" y="189"/>
                      </a:lnTo>
                      <a:lnTo>
                        <a:pt x="26" y="196"/>
                      </a:lnTo>
                      <a:lnTo>
                        <a:pt x="10" y="189"/>
                      </a:lnTo>
                      <a:lnTo>
                        <a:pt x="0" y="173"/>
                      </a:lnTo>
                      <a:lnTo>
                        <a:pt x="0" y="168"/>
                      </a:lnTo>
                      <a:lnTo>
                        <a:pt x="5" y="156"/>
                      </a:lnTo>
                      <a:lnTo>
                        <a:pt x="5" y="156"/>
                      </a:lnTo>
                      <a:lnTo>
                        <a:pt x="5" y="156"/>
                      </a:lnTo>
                      <a:close/>
                      <a:moveTo>
                        <a:pt x="468" y="206"/>
                      </a:moveTo>
                      <a:lnTo>
                        <a:pt x="468" y="206"/>
                      </a:lnTo>
                      <a:lnTo>
                        <a:pt x="484" y="230"/>
                      </a:lnTo>
                      <a:lnTo>
                        <a:pt x="458" y="230"/>
                      </a:lnTo>
                      <a:lnTo>
                        <a:pt x="442" y="222"/>
                      </a:lnTo>
                      <a:lnTo>
                        <a:pt x="458" y="213"/>
                      </a:lnTo>
                      <a:lnTo>
                        <a:pt x="442" y="222"/>
                      </a:lnTo>
                      <a:lnTo>
                        <a:pt x="430" y="213"/>
                      </a:lnTo>
                      <a:lnTo>
                        <a:pt x="451" y="196"/>
                      </a:lnTo>
                      <a:lnTo>
                        <a:pt x="468" y="206"/>
                      </a:lnTo>
                      <a:lnTo>
                        <a:pt x="468" y="206"/>
                      </a:lnTo>
                      <a:lnTo>
                        <a:pt x="468" y="206"/>
                      </a:lnTo>
                      <a:close/>
                      <a:moveTo>
                        <a:pt x="258" y="222"/>
                      </a:moveTo>
                      <a:lnTo>
                        <a:pt x="258" y="213"/>
                      </a:lnTo>
                      <a:lnTo>
                        <a:pt x="269" y="213"/>
                      </a:lnTo>
                      <a:lnTo>
                        <a:pt x="258" y="222"/>
                      </a:lnTo>
                      <a:lnTo>
                        <a:pt x="258" y="222"/>
                      </a:lnTo>
                      <a:lnTo>
                        <a:pt x="258" y="222"/>
                      </a:lnTo>
                      <a:close/>
                      <a:moveTo>
                        <a:pt x="279" y="222"/>
                      </a:moveTo>
                      <a:lnTo>
                        <a:pt x="269" y="213"/>
                      </a:lnTo>
                      <a:lnTo>
                        <a:pt x="279" y="222"/>
                      </a:lnTo>
                      <a:lnTo>
                        <a:pt x="279" y="222"/>
                      </a:lnTo>
                      <a:lnTo>
                        <a:pt x="279" y="222"/>
                      </a:lnTo>
                      <a:lnTo>
                        <a:pt x="279" y="222"/>
                      </a:lnTo>
                      <a:close/>
                      <a:moveTo>
                        <a:pt x="307" y="284"/>
                      </a:moveTo>
                      <a:lnTo>
                        <a:pt x="274" y="279"/>
                      </a:lnTo>
                      <a:lnTo>
                        <a:pt x="274" y="267"/>
                      </a:lnTo>
                      <a:lnTo>
                        <a:pt x="241" y="246"/>
                      </a:lnTo>
                      <a:lnTo>
                        <a:pt x="220" y="246"/>
                      </a:lnTo>
                      <a:lnTo>
                        <a:pt x="253" y="230"/>
                      </a:lnTo>
                      <a:lnTo>
                        <a:pt x="269" y="251"/>
                      </a:lnTo>
                      <a:lnTo>
                        <a:pt x="312" y="263"/>
                      </a:lnTo>
                      <a:lnTo>
                        <a:pt x="312" y="291"/>
                      </a:lnTo>
                      <a:lnTo>
                        <a:pt x="333" y="300"/>
                      </a:lnTo>
                      <a:lnTo>
                        <a:pt x="333" y="317"/>
                      </a:lnTo>
                      <a:lnTo>
                        <a:pt x="328" y="317"/>
                      </a:lnTo>
                      <a:lnTo>
                        <a:pt x="307" y="284"/>
                      </a:lnTo>
                      <a:lnTo>
                        <a:pt x="307" y="284"/>
                      </a:lnTo>
                      <a:lnTo>
                        <a:pt x="307" y="284"/>
                      </a:lnTo>
                      <a:close/>
                      <a:moveTo>
                        <a:pt x="333" y="251"/>
                      </a:moveTo>
                      <a:lnTo>
                        <a:pt x="328" y="234"/>
                      </a:lnTo>
                      <a:lnTo>
                        <a:pt x="333" y="230"/>
                      </a:lnTo>
                      <a:lnTo>
                        <a:pt x="345" y="246"/>
                      </a:lnTo>
                      <a:lnTo>
                        <a:pt x="333" y="251"/>
                      </a:lnTo>
                      <a:lnTo>
                        <a:pt x="333" y="251"/>
                      </a:lnTo>
                      <a:lnTo>
                        <a:pt x="333" y="251"/>
                      </a:lnTo>
                      <a:close/>
                      <a:moveTo>
                        <a:pt x="64" y="246"/>
                      </a:moveTo>
                      <a:lnTo>
                        <a:pt x="64" y="263"/>
                      </a:lnTo>
                      <a:lnTo>
                        <a:pt x="59" y="267"/>
                      </a:lnTo>
                      <a:lnTo>
                        <a:pt x="59" y="246"/>
                      </a:lnTo>
                      <a:lnTo>
                        <a:pt x="64" y="246"/>
                      </a:lnTo>
                      <a:lnTo>
                        <a:pt x="64" y="246"/>
                      </a:lnTo>
                      <a:lnTo>
                        <a:pt x="64" y="246"/>
                      </a:lnTo>
                      <a:close/>
                      <a:moveTo>
                        <a:pt x="404" y="267"/>
                      </a:moveTo>
                      <a:lnTo>
                        <a:pt x="404" y="263"/>
                      </a:lnTo>
                      <a:lnTo>
                        <a:pt x="413" y="263"/>
                      </a:lnTo>
                      <a:lnTo>
                        <a:pt x="404" y="267"/>
                      </a:lnTo>
                      <a:lnTo>
                        <a:pt x="404" y="267"/>
                      </a:lnTo>
                      <a:lnTo>
                        <a:pt x="404" y="267"/>
                      </a:lnTo>
                      <a:close/>
                      <a:moveTo>
                        <a:pt x="442" y="300"/>
                      </a:moveTo>
                      <a:lnTo>
                        <a:pt x="430" y="291"/>
                      </a:lnTo>
                      <a:lnTo>
                        <a:pt x="435" y="284"/>
                      </a:lnTo>
                      <a:lnTo>
                        <a:pt x="430" y="267"/>
                      </a:lnTo>
                      <a:lnTo>
                        <a:pt x="451" y="267"/>
                      </a:lnTo>
                      <a:lnTo>
                        <a:pt x="451" y="291"/>
                      </a:lnTo>
                      <a:lnTo>
                        <a:pt x="442" y="300"/>
                      </a:lnTo>
                      <a:lnTo>
                        <a:pt x="442" y="300"/>
                      </a:lnTo>
                      <a:lnTo>
                        <a:pt x="442" y="300"/>
                      </a:lnTo>
                      <a:close/>
                      <a:moveTo>
                        <a:pt x="59" y="279"/>
                      </a:moveTo>
                      <a:lnTo>
                        <a:pt x="76" y="307"/>
                      </a:lnTo>
                      <a:lnTo>
                        <a:pt x="43" y="300"/>
                      </a:lnTo>
                      <a:lnTo>
                        <a:pt x="59" y="279"/>
                      </a:lnTo>
                      <a:lnTo>
                        <a:pt x="59" y="279"/>
                      </a:lnTo>
                      <a:lnTo>
                        <a:pt x="59" y="279"/>
                      </a:lnTo>
                      <a:close/>
                      <a:moveTo>
                        <a:pt x="269" y="317"/>
                      </a:moveTo>
                      <a:lnTo>
                        <a:pt x="269" y="324"/>
                      </a:lnTo>
                      <a:lnTo>
                        <a:pt x="258" y="324"/>
                      </a:lnTo>
                      <a:lnTo>
                        <a:pt x="269" y="317"/>
                      </a:lnTo>
                      <a:lnTo>
                        <a:pt x="269" y="317"/>
                      </a:lnTo>
                      <a:lnTo>
                        <a:pt x="269" y="317"/>
                      </a:lnTo>
                      <a:close/>
                      <a:moveTo>
                        <a:pt x="366" y="341"/>
                      </a:moveTo>
                      <a:lnTo>
                        <a:pt x="350" y="317"/>
                      </a:lnTo>
                      <a:lnTo>
                        <a:pt x="350" y="317"/>
                      </a:lnTo>
                      <a:lnTo>
                        <a:pt x="366" y="324"/>
                      </a:lnTo>
                      <a:lnTo>
                        <a:pt x="366" y="341"/>
                      </a:lnTo>
                      <a:lnTo>
                        <a:pt x="366" y="341"/>
                      </a:lnTo>
                      <a:lnTo>
                        <a:pt x="366" y="341"/>
                      </a:lnTo>
                      <a:close/>
                      <a:moveTo>
                        <a:pt x="76" y="341"/>
                      </a:moveTo>
                      <a:lnTo>
                        <a:pt x="64" y="333"/>
                      </a:lnTo>
                      <a:lnTo>
                        <a:pt x="64" y="324"/>
                      </a:lnTo>
                      <a:lnTo>
                        <a:pt x="92" y="341"/>
                      </a:lnTo>
                      <a:lnTo>
                        <a:pt x="80" y="341"/>
                      </a:lnTo>
                      <a:lnTo>
                        <a:pt x="76" y="341"/>
                      </a:lnTo>
                      <a:lnTo>
                        <a:pt x="76" y="341"/>
                      </a:lnTo>
                      <a:lnTo>
                        <a:pt x="76" y="341"/>
                      </a:lnTo>
                      <a:close/>
                      <a:moveTo>
                        <a:pt x="494" y="345"/>
                      </a:moveTo>
                      <a:lnTo>
                        <a:pt x="484" y="341"/>
                      </a:lnTo>
                      <a:lnTo>
                        <a:pt x="489" y="333"/>
                      </a:lnTo>
                      <a:lnTo>
                        <a:pt x="510" y="341"/>
                      </a:lnTo>
                      <a:lnTo>
                        <a:pt x="494" y="345"/>
                      </a:lnTo>
                      <a:lnTo>
                        <a:pt x="494" y="345"/>
                      </a:lnTo>
                      <a:lnTo>
                        <a:pt x="494" y="345"/>
                      </a:lnTo>
                      <a:close/>
                      <a:moveTo>
                        <a:pt x="258" y="341"/>
                      </a:moveTo>
                      <a:lnTo>
                        <a:pt x="258" y="333"/>
                      </a:lnTo>
                      <a:lnTo>
                        <a:pt x="269" y="333"/>
                      </a:lnTo>
                      <a:lnTo>
                        <a:pt x="258" y="341"/>
                      </a:lnTo>
                      <a:lnTo>
                        <a:pt x="258" y="341"/>
                      </a:lnTo>
                      <a:lnTo>
                        <a:pt x="258" y="341"/>
                      </a:lnTo>
                      <a:close/>
                      <a:moveTo>
                        <a:pt x="435" y="357"/>
                      </a:moveTo>
                      <a:lnTo>
                        <a:pt x="442" y="345"/>
                      </a:lnTo>
                      <a:lnTo>
                        <a:pt x="468" y="341"/>
                      </a:lnTo>
                      <a:lnTo>
                        <a:pt x="435" y="357"/>
                      </a:lnTo>
                      <a:lnTo>
                        <a:pt x="435" y="357"/>
                      </a:lnTo>
                      <a:lnTo>
                        <a:pt x="435" y="357"/>
                      </a:lnTo>
                      <a:close/>
                      <a:moveTo>
                        <a:pt x="324" y="357"/>
                      </a:moveTo>
                      <a:lnTo>
                        <a:pt x="324" y="341"/>
                      </a:lnTo>
                      <a:lnTo>
                        <a:pt x="328" y="341"/>
                      </a:lnTo>
                      <a:lnTo>
                        <a:pt x="324" y="357"/>
                      </a:lnTo>
                      <a:lnTo>
                        <a:pt x="324" y="357"/>
                      </a:lnTo>
                      <a:lnTo>
                        <a:pt x="324" y="357"/>
                      </a:lnTo>
                      <a:close/>
                      <a:moveTo>
                        <a:pt x="376" y="341"/>
                      </a:moveTo>
                      <a:lnTo>
                        <a:pt x="383" y="345"/>
                      </a:lnTo>
                      <a:lnTo>
                        <a:pt x="383" y="357"/>
                      </a:lnTo>
                      <a:lnTo>
                        <a:pt x="366" y="341"/>
                      </a:lnTo>
                      <a:lnTo>
                        <a:pt x="376" y="341"/>
                      </a:lnTo>
                      <a:lnTo>
                        <a:pt x="376" y="341"/>
                      </a:lnTo>
                      <a:lnTo>
                        <a:pt x="376" y="341"/>
                      </a:lnTo>
                      <a:close/>
                      <a:moveTo>
                        <a:pt x="359" y="362"/>
                      </a:moveTo>
                      <a:lnTo>
                        <a:pt x="359" y="357"/>
                      </a:lnTo>
                      <a:lnTo>
                        <a:pt x="366" y="362"/>
                      </a:lnTo>
                      <a:lnTo>
                        <a:pt x="359" y="362"/>
                      </a:lnTo>
                      <a:lnTo>
                        <a:pt x="359" y="362"/>
                      </a:lnTo>
                      <a:lnTo>
                        <a:pt x="359" y="362"/>
                      </a:lnTo>
                      <a:close/>
                      <a:moveTo>
                        <a:pt x="397" y="362"/>
                      </a:moveTo>
                      <a:lnTo>
                        <a:pt x="387" y="357"/>
                      </a:lnTo>
                      <a:lnTo>
                        <a:pt x="397" y="357"/>
                      </a:lnTo>
                      <a:lnTo>
                        <a:pt x="397" y="362"/>
                      </a:lnTo>
                      <a:lnTo>
                        <a:pt x="397" y="362"/>
                      </a:lnTo>
                      <a:lnTo>
                        <a:pt x="397" y="362"/>
                      </a:lnTo>
                      <a:close/>
                      <a:moveTo>
                        <a:pt x="328" y="357"/>
                      </a:moveTo>
                      <a:lnTo>
                        <a:pt x="333" y="362"/>
                      </a:lnTo>
                      <a:lnTo>
                        <a:pt x="328" y="374"/>
                      </a:lnTo>
                      <a:lnTo>
                        <a:pt x="328" y="357"/>
                      </a:lnTo>
                      <a:lnTo>
                        <a:pt x="328" y="357"/>
                      </a:lnTo>
                      <a:lnTo>
                        <a:pt x="328" y="357"/>
                      </a:lnTo>
                      <a:close/>
                      <a:moveTo>
                        <a:pt x="333" y="390"/>
                      </a:moveTo>
                      <a:lnTo>
                        <a:pt x="328" y="390"/>
                      </a:lnTo>
                      <a:lnTo>
                        <a:pt x="328" y="378"/>
                      </a:lnTo>
                      <a:lnTo>
                        <a:pt x="333" y="378"/>
                      </a:lnTo>
                      <a:lnTo>
                        <a:pt x="333" y="390"/>
                      </a:lnTo>
                      <a:lnTo>
                        <a:pt x="333" y="390"/>
                      </a:lnTo>
                      <a:lnTo>
                        <a:pt x="333" y="390"/>
                      </a:lnTo>
                      <a:close/>
                      <a:moveTo>
                        <a:pt x="397" y="402"/>
                      </a:moveTo>
                      <a:lnTo>
                        <a:pt x="387" y="390"/>
                      </a:lnTo>
                      <a:lnTo>
                        <a:pt x="404" y="378"/>
                      </a:lnTo>
                      <a:lnTo>
                        <a:pt x="413" y="395"/>
                      </a:lnTo>
                      <a:lnTo>
                        <a:pt x="397" y="402"/>
                      </a:lnTo>
                      <a:lnTo>
                        <a:pt x="397" y="402"/>
                      </a:lnTo>
                      <a:lnTo>
                        <a:pt x="397" y="402"/>
                      </a:lnTo>
                      <a:close/>
                      <a:moveTo>
                        <a:pt x="383" y="395"/>
                      </a:moveTo>
                      <a:lnTo>
                        <a:pt x="376" y="395"/>
                      </a:lnTo>
                      <a:lnTo>
                        <a:pt x="387" y="390"/>
                      </a:lnTo>
                      <a:lnTo>
                        <a:pt x="383" y="395"/>
                      </a:lnTo>
                      <a:lnTo>
                        <a:pt x="383" y="395"/>
                      </a:lnTo>
                      <a:lnTo>
                        <a:pt x="383" y="395"/>
                      </a:lnTo>
                      <a:close/>
                      <a:moveTo>
                        <a:pt x="506" y="402"/>
                      </a:moveTo>
                      <a:lnTo>
                        <a:pt x="494" y="390"/>
                      </a:lnTo>
                      <a:lnTo>
                        <a:pt x="510" y="395"/>
                      </a:lnTo>
                      <a:lnTo>
                        <a:pt x="506" y="402"/>
                      </a:lnTo>
                      <a:lnTo>
                        <a:pt x="506" y="402"/>
                      </a:lnTo>
                      <a:lnTo>
                        <a:pt x="506" y="402"/>
                      </a:lnTo>
                      <a:close/>
                      <a:moveTo>
                        <a:pt x="350" y="402"/>
                      </a:moveTo>
                      <a:lnTo>
                        <a:pt x="345" y="395"/>
                      </a:lnTo>
                      <a:lnTo>
                        <a:pt x="350" y="402"/>
                      </a:lnTo>
                      <a:lnTo>
                        <a:pt x="350" y="402"/>
                      </a:lnTo>
                      <a:lnTo>
                        <a:pt x="350" y="402"/>
                      </a:lnTo>
                      <a:lnTo>
                        <a:pt x="350" y="402"/>
                      </a:lnTo>
                      <a:close/>
                      <a:moveTo>
                        <a:pt x="376" y="402"/>
                      </a:moveTo>
                      <a:lnTo>
                        <a:pt x="366" y="395"/>
                      </a:lnTo>
                      <a:lnTo>
                        <a:pt x="376" y="395"/>
                      </a:lnTo>
                      <a:lnTo>
                        <a:pt x="376" y="402"/>
                      </a:lnTo>
                      <a:lnTo>
                        <a:pt x="376" y="402"/>
                      </a:lnTo>
                      <a:lnTo>
                        <a:pt x="376" y="402"/>
                      </a:lnTo>
                      <a:close/>
                      <a:moveTo>
                        <a:pt x="506" y="428"/>
                      </a:moveTo>
                      <a:lnTo>
                        <a:pt x="506" y="418"/>
                      </a:lnTo>
                      <a:lnTo>
                        <a:pt x="510" y="411"/>
                      </a:lnTo>
                      <a:lnTo>
                        <a:pt x="539" y="411"/>
                      </a:lnTo>
                      <a:lnTo>
                        <a:pt x="506" y="418"/>
                      </a:lnTo>
                      <a:lnTo>
                        <a:pt x="506" y="428"/>
                      </a:lnTo>
                      <a:lnTo>
                        <a:pt x="506" y="428"/>
                      </a:lnTo>
                      <a:lnTo>
                        <a:pt x="506" y="428"/>
                      </a:lnTo>
                      <a:close/>
                      <a:moveTo>
                        <a:pt x="430" y="418"/>
                      </a:moveTo>
                      <a:lnTo>
                        <a:pt x="421" y="411"/>
                      </a:lnTo>
                      <a:lnTo>
                        <a:pt x="435" y="411"/>
                      </a:lnTo>
                      <a:lnTo>
                        <a:pt x="430" y="418"/>
                      </a:lnTo>
                      <a:lnTo>
                        <a:pt x="430" y="418"/>
                      </a:lnTo>
                      <a:lnTo>
                        <a:pt x="430" y="418"/>
                      </a:lnTo>
                      <a:close/>
                      <a:moveTo>
                        <a:pt x="397" y="428"/>
                      </a:moveTo>
                      <a:lnTo>
                        <a:pt x="387" y="411"/>
                      </a:lnTo>
                      <a:lnTo>
                        <a:pt x="397" y="418"/>
                      </a:lnTo>
                      <a:lnTo>
                        <a:pt x="397" y="428"/>
                      </a:lnTo>
                      <a:lnTo>
                        <a:pt x="397" y="428"/>
                      </a:lnTo>
                      <a:lnTo>
                        <a:pt x="397" y="428"/>
                      </a:lnTo>
                      <a:close/>
                      <a:moveTo>
                        <a:pt x="324" y="428"/>
                      </a:moveTo>
                      <a:lnTo>
                        <a:pt x="324" y="418"/>
                      </a:lnTo>
                      <a:lnTo>
                        <a:pt x="333" y="418"/>
                      </a:lnTo>
                      <a:lnTo>
                        <a:pt x="333" y="428"/>
                      </a:lnTo>
                      <a:lnTo>
                        <a:pt x="324" y="428"/>
                      </a:lnTo>
                      <a:lnTo>
                        <a:pt x="324" y="428"/>
                      </a:lnTo>
                      <a:lnTo>
                        <a:pt x="324" y="428"/>
                      </a:lnTo>
                      <a:close/>
                      <a:moveTo>
                        <a:pt x="565" y="435"/>
                      </a:moveTo>
                      <a:lnTo>
                        <a:pt x="560" y="435"/>
                      </a:lnTo>
                      <a:lnTo>
                        <a:pt x="565" y="428"/>
                      </a:lnTo>
                      <a:lnTo>
                        <a:pt x="565" y="435"/>
                      </a:lnTo>
                      <a:lnTo>
                        <a:pt x="565" y="435"/>
                      </a:lnTo>
                      <a:lnTo>
                        <a:pt x="565" y="435"/>
                      </a:lnTo>
                      <a:close/>
                      <a:moveTo>
                        <a:pt x="473" y="435"/>
                      </a:moveTo>
                      <a:lnTo>
                        <a:pt x="458" y="435"/>
                      </a:lnTo>
                      <a:lnTo>
                        <a:pt x="458" y="435"/>
                      </a:lnTo>
                      <a:lnTo>
                        <a:pt x="468" y="428"/>
                      </a:lnTo>
                      <a:lnTo>
                        <a:pt x="473" y="435"/>
                      </a:lnTo>
                      <a:lnTo>
                        <a:pt x="473" y="435"/>
                      </a:lnTo>
                      <a:lnTo>
                        <a:pt x="473" y="435"/>
                      </a:lnTo>
                      <a:close/>
                      <a:moveTo>
                        <a:pt x="397" y="452"/>
                      </a:moveTo>
                      <a:lnTo>
                        <a:pt x="397" y="444"/>
                      </a:lnTo>
                      <a:lnTo>
                        <a:pt x="404" y="444"/>
                      </a:lnTo>
                      <a:lnTo>
                        <a:pt x="397" y="452"/>
                      </a:lnTo>
                      <a:lnTo>
                        <a:pt x="397" y="452"/>
                      </a:lnTo>
                      <a:lnTo>
                        <a:pt x="397" y="452"/>
                      </a:lnTo>
                      <a:close/>
                      <a:moveTo>
                        <a:pt x="539" y="452"/>
                      </a:moveTo>
                      <a:lnTo>
                        <a:pt x="527" y="444"/>
                      </a:lnTo>
                      <a:lnTo>
                        <a:pt x="543" y="444"/>
                      </a:lnTo>
                      <a:lnTo>
                        <a:pt x="539" y="452"/>
                      </a:lnTo>
                      <a:lnTo>
                        <a:pt x="539" y="452"/>
                      </a:lnTo>
                      <a:lnTo>
                        <a:pt x="539" y="452"/>
                      </a:lnTo>
                      <a:close/>
                      <a:moveTo>
                        <a:pt x="591" y="444"/>
                      </a:moveTo>
                      <a:lnTo>
                        <a:pt x="581" y="468"/>
                      </a:lnTo>
                      <a:lnTo>
                        <a:pt x="565" y="485"/>
                      </a:lnTo>
                      <a:lnTo>
                        <a:pt x="560" y="489"/>
                      </a:lnTo>
                      <a:lnTo>
                        <a:pt x="560" y="468"/>
                      </a:lnTo>
                      <a:lnTo>
                        <a:pt x="565" y="456"/>
                      </a:lnTo>
                      <a:lnTo>
                        <a:pt x="591" y="444"/>
                      </a:lnTo>
                      <a:lnTo>
                        <a:pt x="591" y="444"/>
                      </a:lnTo>
                      <a:lnTo>
                        <a:pt x="591" y="444"/>
                      </a:lnTo>
                      <a:close/>
                      <a:moveTo>
                        <a:pt x="421" y="452"/>
                      </a:moveTo>
                      <a:lnTo>
                        <a:pt x="421" y="444"/>
                      </a:lnTo>
                      <a:lnTo>
                        <a:pt x="430" y="452"/>
                      </a:lnTo>
                      <a:lnTo>
                        <a:pt x="421" y="452"/>
                      </a:lnTo>
                      <a:lnTo>
                        <a:pt x="421" y="452"/>
                      </a:lnTo>
                      <a:lnTo>
                        <a:pt x="421" y="452"/>
                      </a:lnTo>
                      <a:close/>
                      <a:moveTo>
                        <a:pt x="227" y="452"/>
                      </a:moveTo>
                      <a:lnTo>
                        <a:pt x="236" y="456"/>
                      </a:lnTo>
                      <a:lnTo>
                        <a:pt x="236" y="468"/>
                      </a:lnTo>
                      <a:lnTo>
                        <a:pt x="220" y="468"/>
                      </a:lnTo>
                      <a:lnTo>
                        <a:pt x="227" y="452"/>
                      </a:lnTo>
                      <a:lnTo>
                        <a:pt x="227" y="452"/>
                      </a:lnTo>
                      <a:lnTo>
                        <a:pt x="227" y="452"/>
                      </a:lnTo>
                      <a:close/>
                      <a:moveTo>
                        <a:pt x="522" y="529"/>
                      </a:moveTo>
                      <a:lnTo>
                        <a:pt x="510" y="513"/>
                      </a:lnTo>
                      <a:lnTo>
                        <a:pt x="527" y="489"/>
                      </a:lnTo>
                      <a:lnTo>
                        <a:pt x="522" y="529"/>
                      </a:lnTo>
                      <a:lnTo>
                        <a:pt x="522" y="529"/>
                      </a:lnTo>
                      <a:lnTo>
                        <a:pt x="522" y="529"/>
                      </a:lnTo>
                      <a:close/>
                      <a:moveTo>
                        <a:pt x="274" y="546"/>
                      </a:moveTo>
                      <a:lnTo>
                        <a:pt x="269" y="539"/>
                      </a:lnTo>
                      <a:lnTo>
                        <a:pt x="269" y="513"/>
                      </a:lnTo>
                      <a:lnTo>
                        <a:pt x="279" y="522"/>
                      </a:lnTo>
                      <a:lnTo>
                        <a:pt x="279" y="506"/>
                      </a:lnTo>
                      <a:lnTo>
                        <a:pt x="291" y="522"/>
                      </a:lnTo>
                      <a:lnTo>
                        <a:pt x="312" y="513"/>
                      </a:lnTo>
                      <a:lnTo>
                        <a:pt x="307" y="522"/>
                      </a:lnTo>
                      <a:lnTo>
                        <a:pt x="324" y="529"/>
                      </a:lnTo>
                      <a:lnTo>
                        <a:pt x="350" y="529"/>
                      </a:lnTo>
                      <a:lnTo>
                        <a:pt x="397" y="539"/>
                      </a:lnTo>
                      <a:lnTo>
                        <a:pt x="421" y="539"/>
                      </a:lnTo>
                      <a:lnTo>
                        <a:pt x="421" y="546"/>
                      </a:lnTo>
                      <a:lnTo>
                        <a:pt x="430" y="555"/>
                      </a:lnTo>
                      <a:lnTo>
                        <a:pt x="458" y="539"/>
                      </a:lnTo>
                      <a:lnTo>
                        <a:pt x="458" y="555"/>
                      </a:lnTo>
                      <a:lnTo>
                        <a:pt x="442" y="563"/>
                      </a:lnTo>
                      <a:lnTo>
                        <a:pt x="366" y="567"/>
                      </a:lnTo>
                      <a:lnTo>
                        <a:pt x="350" y="567"/>
                      </a:lnTo>
                      <a:lnTo>
                        <a:pt x="350" y="555"/>
                      </a:lnTo>
                      <a:lnTo>
                        <a:pt x="328" y="546"/>
                      </a:lnTo>
                      <a:lnTo>
                        <a:pt x="274" y="546"/>
                      </a:lnTo>
                      <a:lnTo>
                        <a:pt x="274" y="546"/>
                      </a:lnTo>
                      <a:lnTo>
                        <a:pt x="274" y="546"/>
                      </a:lnTo>
                      <a:close/>
                      <a:moveTo>
                        <a:pt x="494" y="529"/>
                      </a:moveTo>
                      <a:lnTo>
                        <a:pt x="506" y="529"/>
                      </a:lnTo>
                      <a:lnTo>
                        <a:pt x="510" y="522"/>
                      </a:lnTo>
                      <a:lnTo>
                        <a:pt x="494" y="529"/>
                      </a:lnTo>
                      <a:lnTo>
                        <a:pt x="494" y="529"/>
                      </a:lnTo>
                      <a:lnTo>
                        <a:pt x="494" y="52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4" name="Freeform 464">
                  <a:extLst>
                    <a:ext uri="{FF2B5EF4-FFF2-40B4-BE49-F238E27FC236}">
                      <a16:creationId xmlns:a16="http://schemas.microsoft.com/office/drawing/2014/main" id="{032C486A-1584-48CA-BED2-90207D49F1E4}"/>
                    </a:ext>
                  </a:extLst>
                </p:cNvPr>
                <p:cNvSpPr>
                  <a:spLocks noEditPoints="1"/>
                </p:cNvSpPr>
                <p:nvPr/>
              </p:nvSpPr>
              <p:spPr bwMode="gray">
                <a:xfrm>
                  <a:off x="7115264" y="2574650"/>
                  <a:ext cx="174136" cy="149864"/>
                </a:xfrm>
                <a:custGeom>
                  <a:avLst/>
                  <a:gdLst>
                    <a:gd name="T0" fmla="*/ 82 w 423"/>
                    <a:gd name="T1" fmla="*/ 83 h 364"/>
                    <a:gd name="T2" fmla="*/ 125 w 423"/>
                    <a:gd name="T3" fmla="*/ 95 h 364"/>
                    <a:gd name="T4" fmla="*/ 125 w 423"/>
                    <a:gd name="T5" fmla="*/ 71 h 364"/>
                    <a:gd name="T6" fmla="*/ 151 w 423"/>
                    <a:gd name="T7" fmla="*/ 38 h 364"/>
                    <a:gd name="T8" fmla="*/ 196 w 423"/>
                    <a:gd name="T9" fmla="*/ 0 h 364"/>
                    <a:gd name="T10" fmla="*/ 264 w 423"/>
                    <a:gd name="T11" fmla="*/ 54 h 364"/>
                    <a:gd name="T12" fmla="*/ 340 w 423"/>
                    <a:gd name="T13" fmla="*/ 71 h 364"/>
                    <a:gd name="T14" fmla="*/ 378 w 423"/>
                    <a:gd name="T15" fmla="*/ 88 h 364"/>
                    <a:gd name="T16" fmla="*/ 389 w 423"/>
                    <a:gd name="T17" fmla="*/ 104 h 364"/>
                    <a:gd name="T18" fmla="*/ 389 w 423"/>
                    <a:gd name="T19" fmla="*/ 149 h 364"/>
                    <a:gd name="T20" fmla="*/ 356 w 423"/>
                    <a:gd name="T21" fmla="*/ 137 h 364"/>
                    <a:gd name="T22" fmla="*/ 260 w 423"/>
                    <a:gd name="T23" fmla="*/ 128 h 364"/>
                    <a:gd name="T24" fmla="*/ 212 w 423"/>
                    <a:gd name="T25" fmla="*/ 121 h 364"/>
                    <a:gd name="T26" fmla="*/ 163 w 423"/>
                    <a:gd name="T27" fmla="*/ 128 h 364"/>
                    <a:gd name="T28" fmla="*/ 189 w 423"/>
                    <a:gd name="T29" fmla="*/ 199 h 364"/>
                    <a:gd name="T30" fmla="*/ 243 w 423"/>
                    <a:gd name="T31" fmla="*/ 260 h 364"/>
                    <a:gd name="T32" fmla="*/ 286 w 423"/>
                    <a:gd name="T33" fmla="*/ 310 h 364"/>
                    <a:gd name="T34" fmla="*/ 243 w 423"/>
                    <a:gd name="T35" fmla="*/ 276 h 364"/>
                    <a:gd name="T36" fmla="*/ 175 w 423"/>
                    <a:gd name="T37" fmla="*/ 253 h 364"/>
                    <a:gd name="T38" fmla="*/ 108 w 423"/>
                    <a:gd name="T39" fmla="*/ 203 h 364"/>
                    <a:gd name="T40" fmla="*/ 141 w 423"/>
                    <a:gd name="T41" fmla="*/ 203 h 364"/>
                    <a:gd name="T42" fmla="*/ 104 w 423"/>
                    <a:gd name="T43" fmla="*/ 144 h 364"/>
                    <a:gd name="T44" fmla="*/ 54 w 423"/>
                    <a:gd name="T45" fmla="*/ 111 h 364"/>
                    <a:gd name="T46" fmla="*/ 12 w 423"/>
                    <a:gd name="T47" fmla="*/ 128 h 364"/>
                    <a:gd name="T48" fmla="*/ 12 w 423"/>
                    <a:gd name="T49" fmla="*/ 95 h 364"/>
                    <a:gd name="T50" fmla="*/ 66 w 423"/>
                    <a:gd name="T51" fmla="*/ 137 h 364"/>
                    <a:gd name="T52" fmla="*/ 87 w 423"/>
                    <a:gd name="T53" fmla="*/ 144 h 364"/>
                    <a:gd name="T54" fmla="*/ 71 w 423"/>
                    <a:gd name="T55" fmla="*/ 177 h 364"/>
                    <a:gd name="T56" fmla="*/ 54 w 423"/>
                    <a:gd name="T57" fmla="*/ 128 h 364"/>
                    <a:gd name="T58" fmla="*/ 71 w 423"/>
                    <a:gd name="T59" fmla="*/ 177 h 364"/>
                    <a:gd name="T60" fmla="*/ 87 w 423"/>
                    <a:gd name="T61" fmla="*/ 165 h 364"/>
                    <a:gd name="T62" fmla="*/ 87 w 423"/>
                    <a:gd name="T63" fmla="*/ 165 h 364"/>
                    <a:gd name="T64" fmla="*/ 120 w 423"/>
                    <a:gd name="T65" fmla="*/ 236 h 364"/>
                    <a:gd name="T66" fmla="*/ 120 w 423"/>
                    <a:gd name="T67" fmla="*/ 236 h 364"/>
                    <a:gd name="T68" fmla="*/ 226 w 423"/>
                    <a:gd name="T69" fmla="*/ 293 h 364"/>
                    <a:gd name="T70" fmla="*/ 243 w 423"/>
                    <a:gd name="T71" fmla="*/ 288 h 364"/>
                    <a:gd name="T72" fmla="*/ 226 w 423"/>
                    <a:gd name="T73" fmla="*/ 293 h 364"/>
                    <a:gd name="T74" fmla="*/ 260 w 423"/>
                    <a:gd name="T75" fmla="*/ 305 h 364"/>
                    <a:gd name="T76" fmla="*/ 248 w 423"/>
                    <a:gd name="T77" fmla="*/ 310 h 364"/>
                    <a:gd name="T78" fmla="*/ 196 w 423"/>
                    <a:gd name="T79" fmla="*/ 310 h 364"/>
                    <a:gd name="T80" fmla="*/ 179 w 423"/>
                    <a:gd name="T81" fmla="*/ 314 h 364"/>
                    <a:gd name="T82" fmla="*/ 352 w 423"/>
                    <a:gd name="T83" fmla="*/ 359 h 364"/>
                    <a:gd name="T84" fmla="*/ 314 w 423"/>
                    <a:gd name="T85" fmla="*/ 331 h 364"/>
                    <a:gd name="T86" fmla="*/ 286 w 423"/>
                    <a:gd name="T87" fmla="*/ 326 h 364"/>
                    <a:gd name="T88" fmla="*/ 217 w 423"/>
                    <a:gd name="T89" fmla="*/ 314 h 364"/>
                    <a:gd name="T90" fmla="*/ 234 w 423"/>
                    <a:gd name="T91" fmla="*/ 326 h 364"/>
                    <a:gd name="T92" fmla="*/ 234 w 423"/>
                    <a:gd name="T93" fmla="*/ 331 h 364"/>
                    <a:gd name="T94" fmla="*/ 243 w 423"/>
                    <a:gd name="T95" fmla="*/ 343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3" h="364">
                      <a:moveTo>
                        <a:pt x="12" y="95"/>
                      </a:moveTo>
                      <a:lnTo>
                        <a:pt x="66" y="95"/>
                      </a:lnTo>
                      <a:lnTo>
                        <a:pt x="82" y="83"/>
                      </a:lnTo>
                      <a:lnTo>
                        <a:pt x="99" y="95"/>
                      </a:lnTo>
                      <a:lnTo>
                        <a:pt x="120" y="104"/>
                      </a:lnTo>
                      <a:lnTo>
                        <a:pt x="125" y="95"/>
                      </a:lnTo>
                      <a:lnTo>
                        <a:pt x="137" y="83"/>
                      </a:lnTo>
                      <a:lnTo>
                        <a:pt x="125" y="83"/>
                      </a:lnTo>
                      <a:lnTo>
                        <a:pt x="125" y="71"/>
                      </a:lnTo>
                      <a:lnTo>
                        <a:pt x="158" y="66"/>
                      </a:lnTo>
                      <a:lnTo>
                        <a:pt x="158" y="50"/>
                      </a:lnTo>
                      <a:lnTo>
                        <a:pt x="151" y="38"/>
                      </a:lnTo>
                      <a:lnTo>
                        <a:pt x="151" y="33"/>
                      </a:lnTo>
                      <a:lnTo>
                        <a:pt x="196" y="17"/>
                      </a:lnTo>
                      <a:lnTo>
                        <a:pt x="196" y="0"/>
                      </a:lnTo>
                      <a:lnTo>
                        <a:pt x="217" y="12"/>
                      </a:lnTo>
                      <a:lnTo>
                        <a:pt x="260" y="33"/>
                      </a:lnTo>
                      <a:lnTo>
                        <a:pt x="264" y="54"/>
                      </a:lnTo>
                      <a:lnTo>
                        <a:pt x="286" y="54"/>
                      </a:lnTo>
                      <a:lnTo>
                        <a:pt x="297" y="66"/>
                      </a:lnTo>
                      <a:lnTo>
                        <a:pt x="340" y="71"/>
                      </a:lnTo>
                      <a:lnTo>
                        <a:pt x="373" y="54"/>
                      </a:lnTo>
                      <a:lnTo>
                        <a:pt x="378" y="71"/>
                      </a:lnTo>
                      <a:lnTo>
                        <a:pt x="378" y="88"/>
                      </a:lnTo>
                      <a:lnTo>
                        <a:pt x="394" y="95"/>
                      </a:lnTo>
                      <a:lnTo>
                        <a:pt x="389" y="95"/>
                      </a:lnTo>
                      <a:lnTo>
                        <a:pt x="389" y="104"/>
                      </a:lnTo>
                      <a:lnTo>
                        <a:pt x="423" y="121"/>
                      </a:lnTo>
                      <a:lnTo>
                        <a:pt x="394" y="121"/>
                      </a:lnTo>
                      <a:lnTo>
                        <a:pt x="389" y="149"/>
                      </a:lnTo>
                      <a:lnTo>
                        <a:pt x="373" y="149"/>
                      </a:lnTo>
                      <a:lnTo>
                        <a:pt x="373" y="144"/>
                      </a:lnTo>
                      <a:lnTo>
                        <a:pt x="356" y="137"/>
                      </a:lnTo>
                      <a:lnTo>
                        <a:pt x="335" y="128"/>
                      </a:lnTo>
                      <a:lnTo>
                        <a:pt x="302" y="137"/>
                      </a:lnTo>
                      <a:lnTo>
                        <a:pt x="260" y="128"/>
                      </a:lnTo>
                      <a:lnTo>
                        <a:pt x="243" y="121"/>
                      </a:lnTo>
                      <a:lnTo>
                        <a:pt x="234" y="121"/>
                      </a:lnTo>
                      <a:lnTo>
                        <a:pt x="212" y="121"/>
                      </a:lnTo>
                      <a:lnTo>
                        <a:pt x="196" y="144"/>
                      </a:lnTo>
                      <a:lnTo>
                        <a:pt x="179" y="121"/>
                      </a:lnTo>
                      <a:lnTo>
                        <a:pt x="163" y="128"/>
                      </a:lnTo>
                      <a:lnTo>
                        <a:pt x="158" y="161"/>
                      </a:lnTo>
                      <a:lnTo>
                        <a:pt x="189" y="182"/>
                      </a:lnTo>
                      <a:lnTo>
                        <a:pt x="189" y="199"/>
                      </a:lnTo>
                      <a:lnTo>
                        <a:pt x="189" y="215"/>
                      </a:lnTo>
                      <a:lnTo>
                        <a:pt x="212" y="232"/>
                      </a:lnTo>
                      <a:lnTo>
                        <a:pt x="243" y="260"/>
                      </a:lnTo>
                      <a:lnTo>
                        <a:pt x="264" y="276"/>
                      </a:lnTo>
                      <a:lnTo>
                        <a:pt x="264" y="293"/>
                      </a:lnTo>
                      <a:lnTo>
                        <a:pt x="286" y="310"/>
                      </a:lnTo>
                      <a:lnTo>
                        <a:pt x="297" y="314"/>
                      </a:lnTo>
                      <a:lnTo>
                        <a:pt x="286" y="314"/>
                      </a:lnTo>
                      <a:lnTo>
                        <a:pt x="243" y="276"/>
                      </a:lnTo>
                      <a:lnTo>
                        <a:pt x="205" y="272"/>
                      </a:lnTo>
                      <a:lnTo>
                        <a:pt x="175" y="272"/>
                      </a:lnTo>
                      <a:lnTo>
                        <a:pt x="175" y="253"/>
                      </a:lnTo>
                      <a:lnTo>
                        <a:pt x="137" y="236"/>
                      </a:lnTo>
                      <a:lnTo>
                        <a:pt x="120" y="215"/>
                      </a:lnTo>
                      <a:lnTo>
                        <a:pt x="108" y="203"/>
                      </a:lnTo>
                      <a:lnTo>
                        <a:pt x="125" y="203"/>
                      </a:lnTo>
                      <a:lnTo>
                        <a:pt x="125" y="199"/>
                      </a:lnTo>
                      <a:lnTo>
                        <a:pt x="141" y="203"/>
                      </a:lnTo>
                      <a:lnTo>
                        <a:pt x="104" y="177"/>
                      </a:lnTo>
                      <a:lnTo>
                        <a:pt x="99" y="165"/>
                      </a:lnTo>
                      <a:lnTo>
                        <a:pt x="104" y="144"/>
                      </a:lnTo>
                      <a:lnTo>
                        <a:pt x="99" y="128"/>
                      </a:lnTo>
                      <a:lnTo>
                        <a:pt x="71" y="111"/>
                      </a:lnTo>
                      <a:lnTo>
                        <a:pt x="54" y="111"/>
                      </a:lnTo>
                      <a:lnTo>
                        <a:pt x="49" y="144"/>
                      </a:lnTo>
                      <a:lnTo>
                        <a:pt x="28" y="161"/>
                      </a:lnTo>
                      <a:lnTo>
                        <a:pt x="12" y="128"/>
                      </a:lnTo>
                      <a:lnTo>
                        <a:pt x="0" y="95"/>
                      </a:lnTo>
                      <a:lnTo>
                        <a:pt x="12" y="95"/>
                      </a:lnTo>
                      <a:lnTo>
                        <a:pt x="12" y="95"/>
                      </a:lnTo>
                      <a:lnTo>
                        <a:pt x="12" y="95"/>
                      </a:lnTo>
                      <a:close/>
                      <a:moveTo>
                        <a:pt x="87" y="144"/>
                      </a:moveTo>
                      <a:lnTo>
                        <a:pt x="66" y="137"/>
                      </a:lnTo>
                      <a:lnTo>
                        <a:pt x="71" y="121"/>
                      </a:lnTo>
                      <a:lnTo>
                        <a:pt x="99" y="144"/>
                      </a:lnTo>
                      <a:lnTo>
                        <a:pt x="87" y="144"/>
                      </a:lnTo>
                      <a:lnTo>
                        <a:pt x="87" y="144"/>
                      </a:lnTo>
                      <a:lnTo>
                        <a:pt x="87" y="144"/>
                      </a:lnTo>
                      <a:close/>
                      <a:moveTo>
                        <a:pt x="71" y="177"/>
                      </a:moveTo>
                      <a:lnTo>
                        <a:pt x="54" y="149"/>
                      </a:lnTo>
                      <a:lnTo>
                        <a:pt x="66" y="149"/>
                      </a:lnTo>
                      <a:lnTo>
                        <a:pt x="54" y="128"/>
                      </a:lnTo>
                      <a:lnTo>
                        <a:pt x="54" y="128"/>
                      </a:lnTo>
                      <a:lnTo>
                        <a:pt x="71" y="144"/>
                      </a:lnTo>
                      <a:lnTo>
                        <a:pt x="71" y="177"/>
                      </a:lnTo>
                      <a:lnTo>
                        <a:pt x="71" y="177"/>
                      </a:lnTo>
                      <a:lnTo>
                        <a:pt x="71" y="177"/>
                      </a:lnTo>
                      <a:close/>
                      <a:moveTo>
                        <a:pt x="87" y="165"/>
                      </a:moveTo>
                      <a:lnTo>
                        <a:pt x="125" y="199"/>
                      </a:lnTo>
                      <a:lnTo>
                        <a:pt x="108" y="199"/>
                      </a:lnTo>
                      <a:lnTo>
                        <a:pt x="87" y="165"/>
                      </a:lnTo>
                      <a:lnTo>
                        <a:pt x="87" y="165"/>
                      </a:lnTo>
                      <a:lnTo>
                        <a:pt x="87" y="165"/>
                      </a:lnTo>
                      <a:close/>
                      <a:moveTo>
                        <a:pt x="120" y="236"/>
                      </a:moveTo>
                      <a:lnTo>
                        <a:pt x="99" y="215"/>
                      </a:lnTo>
                      <a:lnTo>
                        <a:pt x="108" y="220"/>
                      </a:lnTo>
                      <a:lnTo>
                        <a:pt x="120" y="236"/>
                      </a:lnTo>
                      <a:lnTo>
                        <a:pt x="120" y="236"/>
                      </a:lnTo>
                      <a:lnTo>
                        <a:pt x="120" y="236"/>
                      </a:lnTo>
                      <a:close/>
                      <a:moveTo>
                        <a:pt x="226" y="293"/>
                      </a:moveTo>
                      <a:lnTo>
                        <a:pt x="205" y="288"/>
                      </a:lnTo>
                      <a:lnTo>
                        <a:pt x="205" y="288"/>
                      </a:lnTo>
                      <a:lnTo>
                        <a:pt x="243" y="288"/>
                      </a:lnTo>
                      <a:lnTo>
                        <a:pt x="226" y="293"/>
                      </a:lnTo>
                      <a:lnTo>
                        <a:pt x="226" y="293"/>
                      </a:lnTo>
                      <a:lnTo>
                        <a:pt x="226" y="293"/>
                      </a:lnTo>
                      <a:close/>
                      <a:moveTo>
                        <a:pt x="248" y="310"/>
                      </a:moveTo>
                      <a:lnTo>
                        <a:pt x="205" y="305"/>
                      </a:lnTo>
                      <a:lnTo>
                        <a:pt x="260" y="305"/>
                      </a:lnTo>
                      <a:lnTo>
                        <a:pt x="248" y="310"/>
                      </a:lnTo>
                      <a:lnTo>
                        <a:pt x="248" y="310"/>
                      </a:lnTo>
                      <a:lnTo>
                        <a:pt x="248" y="310"/>
                      </a:lnTo>
                      <a:close/>
                      <a:moveTo>
                        <a:pt x="179" y="314"/>
                      </a:moveTo>
                      <a:lnTo>
                        <a:pt x="179" y="310"/>
                      </a:lnTo>
                      <a:lnTo>
                        <a:pt x="196" y="310"/>
                      </a:lnTo>
                      <a:lnTo>
                        <a:pt x="179" y="314"/>
                      </a:lnTo>
                      <a:lnTo>
                        <a:pt x="179" y="314"/>
                      </a:lnTo>
                      <a:lnTo>
                        <a:pt x="179" y="314"/>
                      </a:lnTo>
                      <a:close/>
                      <a:moveTo>
                        <a:pt x="286" y="326"/>
                      </a:moveTo>
                      <a:lnTo>
                        <a:pt x="302" y="326"/>
                      </a:lnTo>
                      <a:lnTo>
                        <a:pt x="352" y="359"/>
                      </a:lnTo>
                      <a:lnTo>
                        <a:pt x="352" y="364"/>
                      </a:lnTo>
                      <a:lnTo>
                        <a:pt x="352" y="364"/>
                      </a:lnTo>
                      <a:lnTo>
                        <a:pt x="314" y="331"/>
                      </a:lnTo>
                      <a:lnTo>
                        <a:pt x="248" y="310"/>
                      </a:lnTo>
                      <a:lnTo>
                        <a:pt x="286" y="326"/>
                      </a:lnTo>
                      <a:lnTo>
                        <a:pt x="286" y="326"/>
                      </a:lnTo>
                      <a:lnTo>
                        <a:pt x="286" y="326"/>
                      </a:lnTo>
                      <a:close/>
                      <a:moveTo>
                        <a:pt x="234" y="326"/>
                      </a:moveTo>
                      <a:lnTo>
                        <a:pt x="217" y="314"/>
                      </a:lnTo>
                      <a:lnTo>
                        <a:pt x="260" y="326"/>
                      </a:lnTo>
                      <a:lnTo>
                        <a:pt x="234" y="326"/>
                      </a:lnTo>
                      <a:lnTo>
                        <a:pt x="234" y="326"/>
                      </a:lnTo>
                      <a:lnTo>
                        <a:pt x="234" y="326"/>
                      </a:lnTo>
                      <a:close/>
                      <a:moveTo>
                        <a:pt x="243" y="343"/>
                      </a:moveTo>
                      <a:lnTo>
                        <a:pt x="234" y="331"/>
                      </a:lnTo>
                      <a:lnTo>
                        <a:pt x="243" y="331"/>
                      </a:lnTo>
                      <a:lnTo>
                        <a:pt x="243" y="343"/>
                      </a:lnTo>
                      <a:lnTo>
                        <a:pt x="243" y="343"/>
                      </a:lnTo>
                      <a:lnTo>
                        <a:pt x="243" y="34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5" name="Freeform 465">
                  <a:extLst>
                    <a:ext uri="{FF2B5EF4-FFF2-40B4-BE49-F238E27FC236}">
                      <a16:creationId xmlns:a16="http://schemas.microsoft.com/office/drawing/2014/main" id="{B274844B-288A-405E-856E-A7642D05B4BC}"/>
                    </a:ext>
                  </a:extLst>
                </p:cNvPr>
                <p:cNvSpPr>
                  <a:spLocks/>
                </p:cNvSpPr>
                <p:nvPr/>
              </p:nvSpPr>
              <p:spPr bwMode="gray">
                <a:xfrm>
                  <a:off x="7188130" y="2498894"/>
                  <a:ext cx="197190" cy="105811"/>
                </a:xfrm>
                <a:custGeom>
                  <a:avLst/>
                  <a:gdLst>
                    <a:gd name="T0" fmla="*/ 298 w 479"/>
                    <a:gd name="T1" fmla="*/ 224 h 257"/>
                    <a:gd name="T2" fmla="*/ 248 w 479"/>
                    <a:gd name="T3" fmla="*/ 217 h 257"/>
                    <a:gd name="T4" fmla="*/ 227 w 479"/>
                    <a:gd name="T5" fmla="*/ 234 h 257"/>
                    <a:gd name="T6" fmla="*/ 215 w 479"/>
                    <a:gd name="T7" fmla="*/ 234 h 257"/>
                    <a:gd name="T8" fmla="*/ 194 w 479"/>
                    <a:gd name="T9" fmla="*/ 241 h 257"/>
                    <a:gd name="T10" fmla="*/ 163 w 479"/>
                    <a:gd name="T11" fmla="*/ 257 h 257"/>
                    <a:gd name="T12" fmla="*/ 118 w 479"/>
                    <a:gd name="T13" fmla="*/ 250 h 257"/>
                    <a:gd name="T14" fmla="*/ 109 w 479"/>
                    <a:gd name="T15" fmla="*/ 241 h 257"/>
                    <a:gd name="T16" fmla="*/ 87 w 479"/>
                    <a:gd name="T17" fmla="*/ 241 h 257"/>
                    <a:gd name="T18" fmla="*/ 80 w 479"/>
                    <a:gd name="T19" fmla="*/ 217 h 257"/>
                    <a:gd name="T20" fmla="*/ 38 w 479"/>
                    <a:gd name="T21" fmla="*/ 196 h 257"/>
                    <a:gd name="T22" fmla="*/ 16 w 479"/>
                    <a:gd name="T23" fmla="*/ 168 h 257"/>
                    <a:gd name="T24" fmla="*/ 26 w 479"/>
                    <a:gd name="T25" fmla="*/ 160 h 257"/>
                    <a:gd name="T26" fmla="*/ 0 w 479"/>
                    <a:gd name="T27" fmla="*/ 156 h 257"/>
                    <a:gd name="T28" fmla="*/ 16 w 479"/>
                    <a:gd name="T29" fmla="*/ 144 h 257"/>
                    <a:gd name="T30" fmla="*/ 33 w 479"/>
                    <a:gd name="T31" fmla="*/ 144 h 257"/>
                    <a:gd name="T32" fmla="*/ 26 w 479"/>
                    <a:gd name="T33" fmla="*/ 123 h 257"/>
                    <a:gd name="T34" fmla="*/ 33 w 479"/>
                    <a:gd name="T35" fmla="*/ 123 h 257"/>
                    <a:gd name="T36" fmla="*/ 33 w 479"/>
                    <a:gd name="T37" fmla="*/ 106 h 257"/>
                    <a:gd name="T38" fmla="*/ 49 w 479"/>
                    <a:gd name="T39" fmla="*/ 99 h 257"/>
                    <a:gd name="T40" fmla="*/ 33 w 479"/>
                    <a:gd name="T41" fmla="*/ 83 h 257"/>
                    <a:gd name="T42" fmla="*/ 38 w 479"/>
                    <a:gd name="T43" fmla="*/ 73 h 257"/>
                    <a:gd name="T44" fmla="*/ 49 w 479"/>
                    <a:gd name="T45" fmla="*/ 83 h 257"/>
                    <a:gd name="T46" fmla="*/ 71 w 479"/>
                    <a:gd name="T47" fmla="*/ 83 h 257"/>
                    <a:gd name="T48" fmla="*/ 80 w 479"/>
                    <a:gd name="T49" fmla="*/ 49 h 257"/>
                    <a:gd name="T50" fmla="*/ 92 w 479"/>
                    <a:gd name="T51" fmla="*/ 49 h 257"/>
                    <a:gd name="T52" fmla="*/ 125 w 479"/>
                    <a:gd name="T53" fmla="*/ 73 h 257"/>
                    <a:gd name="T54" fmla="*/ 156 w 479"/>
                    <a:gd name="T55" fmla="*/ 73 h 257"/>
                    <a:gd name="T56" fmla="*/ 194 w 479"/>
                    <a:gd name="T57" fmla="*/ 66 h 257"/>
                    <a:gd name="T58" fmla="*/ 194 w 479"/>
                    <a:gd name="T59" fmla="*/ 54 h 257"/>
                    <a:gd name="T60" fmla="*/ 210 w 479"/>
                    <a:gd name="T61" fmla="*/ 49 h 257"/>
                    <a:gd name="T62" fmla="*/ 243 w 479"/>
                    <a:gd name="T63" fmla="*/ 45 h 257"/>
                    <a:gd name="T64" fmla="*/ 248 w 479"/>
                    <a:gd name="T65" fmla="*/ 33 h 257"/>
                    <a:gd name="T66" fmla="*/ 269 w 479"/>
                    <a:gd name="T67" fmla="*/ 45 h 257"/>
                    <a:gd name="T68" fmla="*/ 302 w 479"/>
                    <a:gd name="T69" fmla="*/ 28 h 257"/>
                    <a:gd name="T70" fmla="*/ 319 w 479"/>
                    <a:gd name="T71" fmla="*/ 0 h 257"/>
                    <a:gd name="T72" fmla="*/ 323 w 479"/>
                    <a:gd name="T73" fmla="*/ 0 h 257"/>
                    <a:gd name="T74" fmla="*/ 357 w 479"/>
                    <a:gd name="T75" fmla="*/ 0 h 257"/>
                    <a:gd name="T76" fmla="*/ 378 w 479"/>
                    <a:gd name="T77" fmla="*/ 0 h 257"/>
                    <a:gd name="T78" fmla="*/ 404 w 479"/>
                    <a:gd name="T79" fmla="*/ 16 h 257"/>
                    <a:gd name="T80" fmla="*/ 427 w 479"/>
                    <a:gd name="T81" fmla="*/ 16 h 257"/>
                    <a:gd name="T82" fmla="*/ 432 w 479"/>
                    <a:gd name="T83" fmla="*/ 16 h 257"/>
                    <a:gd name="T84" fmla="*/ 465 w 479"/>
                    <a:gd name="T85" fmla="*/ 45 h 257"/>
                    <a:gd name="T86" fmla="*/ 475 w 479"/>
                    <a:gd name="T87" fmla="*/ 45 h 257"/>
                    <a:gd name="T88" fmla="*/ 479 w 479"/>
                    <a:gd name="T89" fmla="*/ 54 h 257"/>
                    <a:gd name="T90" fmla="*/ 465 w 479"/>
                    <a:gd name="T91" fmla="*/ 73 h 257"/>
                    <a:gd name="T92" fmla="*/ 442 w 479"/>
                    <a:gd name="T93" fmla="*/ 83 h 257"/>
                    <a:gd name="T94" fmla="*/ 420 w 479"/>
                    <a:gd name="T95" fmla="*/ 99 h 257"/>
                    <a:gd name="T96" fmla="*/ 420 w 479"/>
                    <a:gd name="T97" fmla="*/ 111 h 257"/>
                    <a:gd name="T98" fmla="*/ 394 w 479"/>
                    <a:gd name="T99" fmla="*/ 144 h 257"/>
                    <a:gd name="T100" fmla="*/ 390 w 479"/>
                    <a:gd name="T101" fmla="*/ 168 h 257"/>
                    <a:gd name="T102" fmla="*/ 373 w 479"/>
                    <a:gd name="T103" fmla="*/ 179 h 257"/>
                    <a:gd name="T104" fmla="*/ 366 w 479"/>
                    <a:gd name="T105" fmla="*/ 212 h 257"/>
                    <a:gd name="T106" fmla="*/ 335 w 479"/>
                    <a:gd name="T107" fmla="*/ 212 h 257"/>
                    <a:gd name="T108" fmla="*/ 323 w 479"/>
                    <a:gd name="T109" fmla="*/ 224 h 257"/>
                    <a:gd name="T110" fmla="*/ 314 w 479"/>
                    <a:gd name="T111" fmla="*/ 217 h 257"/>
                    <a:gd name="T112" fmla="*/ 298 w 479"/>
                    <a:gd name="T113" fmla="*/ 224 h 257"/>
                    <a:gd name="T114" fmla="*/ 298 w 479"/>
                    <a:gd name="T115" fmla="*/ 224 h 257"/>
                    <a:gd name="T116" fmla="*/ 298 w 479"/>
                    <a:gd name="T117" fmla="*/ 224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9" h="257">
                      <a:moveTo>
                        <a:pt x="298" y="224"/>
                      </a:moveTo>
                      <a:lnTo>
                        <a:pt x="248" y="217"/>
                      </a:lnTo>
                      <a:lnTo>
                        <a:pt x="227" y="234"/>
                      </a:lnTo>
                      <a:lnTo>
                        <a:pt x="215" y="234"/>
                      </a:lnTo>
                      <a:lnTo>
                        <a:pt x="194" y="241"/>
                      </a:lnTo>
                      <a:lnTo>
                        <a:pt x="163" y="257"/>
                      </a:lnTo>
                      <a:lnTo>
                        <a:pt x="118" y="250"/>
                      </a:lnTo>
                      <a:lnTo>
                        <a:pt x="109" y="241"/>
                      </a:lnTo>
                      <a:lnTo>
                        <a:pt x="87" y="241"/>
                      </a:lnTo>
                      <a:lnTo>
                        <a:pt x="80" y="217"/>
                      </a:lnTo>
                      <a:lnTo>
                        <a:pt x="38" y="196"/>
                      </a:lnTo>
                      <a:lnTo>
                        <a:pt x="16" y="168"/>
                      </a:lnTo>
                      <a:lnTo>
                        <a:pt x="26" y="160"/>
                      </a:lnTo>
                      <a:lnTo>
                        <a:pt x="0" y="156"/>
                      </a:lnTo>
                      <a:lnTo>
                        <a:pt x="16" y="144"/>
                      </a:lnTo>
                      <a:lnTo>
                        <a:pt x="33" y="144"/>
                      </a:lnTo>
                      <a:lnTo>
                        <a:pt x="26" y="123"/>
                      </a:lnTo>
                      <a:lnTo>
                        <a:pt x="33" y="123"/>
                      </a:lnTo>
                      <a:lnTo>
                        <a:pt x="33" y="106"/>
                      </a:lnTo>
                      <a:lnTo>
                        <a:pt x="49" y="99"/>
                      </a:lnTo>
                      <a:lnTo>
                        <a:pt x="33" y="83"/>
                      </a:lnTo>
                      <a:lnTo>
                        <a:pt x="38" y="73"/>
                      </a:lnTo>
                      <a:lnTo>
                        <a:pt x="49" y="83"/>
                      </a:lnTo>
                      <a:lnTo>
                        <a:pt x="71" y="83"/>
                      </a:lnTo>
                      <a:lnTo>
                        <a:pt x="80" y="49"/>
                      </a:lnTo>
                      <a:lnTo>
                        <a:pt x="92" y="49"/>
                      </a:lnTo>
                      <a:lnTo>
                        <a:pt x="125" y="73"/>
                      </a:lnTo>
                      <a:lnTo>
                        <a:pt x="156" y="73"/>
                      </a:lnTo>
                      <a:lnTo>
                        <a:pt x="194" y="66"/>
                      </a:lnTo>
                      <a:lnTo>
                        <a:pt x="194" y="54"/>
                      </a:lnTo>
                      <a:lnTo>
                        <a:pt x="210" y="49"/>
                      </a:lnTo>
                      <a:lnTo>
                        <a:pt x="243" y="45"/>
                      </a:lnTo>
                      <a:lnTo>
                        <a:pt x="248" y="33"/>
                      </a:lnTo>
                      <a:lnTo>
                        <a:pt x="269" y="45"/>
                      </a:lnTo>
                      <a:lnTo>
                        <a:pt x="302" y="28"/>
                      </a:lnTo>
                      <a:lnTo>
                        <a:pt x="319" y="0"/>
                      </a:lnTo>
                      <a:lnTo>
                        <a:pt x="323" y="0"/>
                      </a:lnTo>
                      <a:lnTo>
                        <a:pt x="357" y="0"/>
                      </a:lnTo>
                      <a:lnTo>
                        <a:pt x="378" y="0"/>
                      </a:lnTo>
                      <a:lnTo>
                        <a:pt x="404" y="16"/>
                      </a:lnTo>
                      <a:lnTo>
                        <a:pt x="427" y="16"/>
                      </a:lnTo>
                      <a:lnTo>
                        <a:pt x="432" y="16"/>
                      </a:lnTo>
                      <a:lnTo>
                        <a:pt x="465" y="45"/>
                      </a:lnTo>
                      <a:lnTo>
                        <a:pt x="475" y="45"/>
                      </a:lnTo>
                      <a:lnTo>
                        <a:pt x="479" y="54"/>
                      </a:lnTo>
                      <a:lnTo>
                        <a:pt x="465" y="73"/>
                      </a:lnTo>
                      <a:lnTo>
                        <a:pt x="442" y="83"/>
                      </a:lnTo>
                      <a:lnTo>
                        <a:pt x="420" y="99"/>
                      </a:lnTo>
                      <a:lnTo>
                        <a:pt x="420" y="111"/>
                      </a:lnTo>
                      <a:lnTo>
                        <a:pt x="394" y="144"/>
                      </a:lnTo>
                      <a:lnTo>
                        <a:pt x="390" y="168"/>
                      </a:lnTo>
                      <a:lnTo>
                        <a:pt x="373" y="179"/>
                      </a:lnTo>
                      <a:lnTo>
                        <a:pt x="366" y="212"/>
                      </a:lnTo>
                      <a:lnTo>
                        <a:pt x="335" y="212"/>
                      </a:lnTo>
                      <a:lnTo>
                        <a:pt x="323" y="224"/>
                      </a:lnTo>
                      <a:lnTo>
                        <a:pt x="314" y="217"/>
                      </a:lnTo>
                      <a:lnTo>
                        <a:pt x="298" y="224"/>
                      </a:lnTo>
                      <a:lnTo>
                        <a:pt x="298" y="224"/>
                      </a:lnTo>
                      <a:lnTo>
                        <a:pt x="298" y="22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6" name="Freeform 466">
                  <a:extLst>
                    <a:ext uri="{FF2B5EF4-FFF2-40B4-BE49-F238E27FC236}">
                      <a16:creationId xmlns:a16="http://schemas.microsoft.com/office/drawing/2014/main" id="{9551875E-A625-45B2-8B4D-00A7DB0FCF24}"/>
                    </a:ext>
                  </a:extLst>
                </p:cNvPr>
                <p:cNvSpPr>
                  <a:spLocks/>
                </p:cNvSpPr>
                <p:nvPr/>
              </p:nvSpPr>
              <p:spPr bwMode="gray">
                <a:xfrm>
                  <a:off x="6017340" y="1722809"/>
                  <a:ext cx="317809" cy="153570"/>
                </a:xfrm>
                <a:custGeom>
                  <a:avLst/>
                  <a:gdLst>
                    <a:gd name="T0" fmla="*/ 215 w 772"/>
                    <a:gd name="T1" fmla="*/ 241 h 373"/>
                    <a:gd name="T2" fmla="*/ 160 w 772"/>
                    <a:gd name="T3" fmla="*/ 250 h 373"/>
                    <a:gd name="T4" fmla="*/ 156 w 772"/>
                    <a:gd name="T5" fmla="*/ 224 h 373"/>
                    <a:gd name="T6" fmla="*/ 47 w 772"/>
                    <a:gd name="T7" fmla="*/ 224 h 373"/>
                    <a:gd name="T8" fmla="*/ 90 w 772"/>
                    <a:gd name="T9" fmla="*/ 184 h 373"/>
                    <a:gd name="T10" fmla="*/ 172 w 772"/>
                    <a:gd name="T11" fmla="*/ 179 h 373"/>
                    <a:gd name="T12" fmla="*/ 156 w 772"/>
                    <a:gd name="T13" fmla="*/ 127 h 373"/>
                    <a:gd name="T14" fmla="*/ 101 w 772"/>
                    <a:gd name="T15" fmla="*/ 123 h 373"/>
                    <a:gd name="T16" fmla="*/ 14 w 772"/>
                    <a:gd name="T17" fmla="*/ 111 h 373"/>
                    <a:gd name="T18" fmla="*/ 52 w 772"/>
                    <a:gd name="T19" fmla="*/ 111 h 373"/>
                    <a:gd name="T20" fmla="*/ 68 w 772"/>
                    <a:gd name="T21" fmla="*/ 111 h 373"/>
                    <a:gd name="T22" fmla="*/ 90 w 772"/>
                    <a:gd name="T23" fmla="*/ 94 h 373"/>
                    <a:gd name="T24" fmla="*/ 52 w 772"/>
                    <a:gd name="T25" fmla="*/ 85 h 373"/>
                    <a:gd name="T26" fmla="*/ 52 w 772"/>
                    <a:gd name="T27" fmla="*/ 68 h 373"/>
                    <a:gd name="T28" fmla="*/ 75 w 772"/>
                    <a:gd name="T29" fmla="*/ 49 h 373"/>
                    <a:gd name="T30" fmla="*/ 139 w 772"/>
                    <a:gd name="T31" fmla="*/ 73 h 373"/>
                    <a:gd name="T32" fmla="*/ 144 w 772"/>
                    <a:gd name="T33" fmla="*/ 90 h 373"/>
                    <a:gd name="T34" fmla="*/ 106 w 772"/>
                    <a:gd name="T35" fmla="*/ 40 h 373"/>
                    <a:gd name="T36" fmla="*/ 106 w 772"/>
                    <a:gd name="T37" fmla="*/ 16 h 373"/>
                    <a:gd name="T38" fmla="*/ 194 w 772"/>
                    <a:gd name="T39" fmla="*/ 49 h 373"/>
                    <a:gd name="T40" fmla="*/ 210 w 772"/>
                    <a:gd name="T41" fmla="*/ 73 h 373"/>
                    <a:gd name="T42" fmla="*/ 210 w 772"/>
                    <a:gd name="T43" fmla="*/ 106 h 373"/>
                    <a:gd name="T44" fmla="*/ 227 w 772"/>
                    <a:gd name="T45" fmla="*/ 123 h 373"/>
                    <a:gd name="T46" fmla="*/ 248 w 772"/>
                    <a:gd name="T47" fmla="*/ 139 h 373"/>
                    <a:gd name="T48" fmla="*/ 269 w 772"/>
                    <a:gd name="T49" fmla="*/ 123 h 373"/>
                    <a:gd name="T50" fmla="*/ 302 w 772"/>
                    <a:gd name="T51" fmla="*/ 94 h 373"/>
                    <a:gd name="T52" fmla="*/ 345 w 772"/>
                    <a:gd name="T53" fmla="*/ 94 h 373"/>
                    <a:gd name="T54" fmla="*/ 354 w 772"/>
                    <a:gd name="T55" fmla="*/ 73 h 373"/>
                    <a:gd name="T56" fmla="*/ 387 w 772"/>
                    <a:gd name="T57" fmla="*/ 49 h 373"/>
                    <a:gd name="T58" fmla="*/ 425 w 772"/>
                    <a:gd name="T59" fmla="*/ 73 h 373"/>
                    <a:gd name="T60" fmla="*/ 453 w 772"/>
                    <a:gd name="T61" fmla="*/ 90 h 373"/>
                    <a:gd name="T62" fmla="*/ 463 w 772"/>
                    <a:gd name="T63" fmla="*/ 49 h 373"/>
                    <a:gd name="T64" fmla="*/ 517 w 772"/>
                    <a:gd name="T65" fmla="*/ 40 h 373"/>
                    <a:gd name="T66" fmla="*/ 571 w 772"/>
                    <a:gd name="T67" fmla="*/ 33 h 373"/>
                    <a:gd name="T68" fmla="*/ 614 w 772"/>
                    <a:gd name="T69" fmla="*/ 28 h 373"/>
                    <a:gd name="T70" fmla="*/ 668 w 772"/>
                    <a:gd name="T71" fmla="*/ 28 h 373"/>
                    <a:gd name="T72" fmla="*/ 668 w 772"/>
                    <a:gd name="T73" fmla="*/ 49 h 373"/>
                    <a:gd name="T74" fmla="*/ 680 w 772"/>
                    <a:gd name="T75" fmla="*/ 106 h 373"/>
                    <a:gd name="T76" fmla="*/ 701 w 772"/>
                    <a:gd name="T77" fmla="*/ 127 h 373"/>
                    <a:gd name="T78" fmla="*/ 765 w 772"/>
                    <a:gd name="T79" fmla="*/ 127 h 373"/>
                    <a:gd name="T80" fmla="*/ 734 w 772"/>
                    <a:gd name="T81" fmla="*/ 168 h 373"/>
                    <a:gd name="T82" fmla="*/ 765 w 772"/>
                    <a:gd name="T83" fmla="*/ 196 h 373"/>
                    <a:gd name="T84" fmla="*/ 734 w 772"/>
                    <a:gd name="T85" fmla="*/ 196 h 373"/>
                    <a:gd name="T86" fmla="*/ 739 w 772"/>
                    <a:gd name="T87" fmla="*/ 224 h 373"/>
                    <a:gd name="T88" fmla="*/ 711 w 772"/>
                    <a:gd name="T89" fmla="*/ 224 h 373"/>
                    <a:gd name="T90" fmla="*/ 701 w 772"/>
                    <a:gd name="T91" fmla="*/ 257 h 373"/>
                    <a:gd name="T92" fmla="*/ 642 w 772"/>
                    <a:gd name="T93" fmla="*/ 262 h 373"/>
                    <a:gd name="T94" fmla="*/ 560 w 772"/>
                    <a:gd name="T95" fmla="*/ 319 h 373"/>
                    <a:gd name="T96" fmla="*/ 522 w 772"/>
                    <a:gd name="T97" fmla="*/ 328 h 373"/>
                    <a:gd name="T98" fmla="*/ 468 w 772"/>
                    <a:gd name="T99" fmla="*/ 352 h 373"/>
                    <a:gd name="T100" fmla="*/ 302 w 772"/>
                    <a:gd name="T101" fmla="*/ 364 h 373"/>
                    <a:gd name="T102" fmla="*/ 290 w 772"/>
                    <a:gd name="T103" fmla="*/ 335 h 373"/>
                    <a:gd name="T104" fmla="*/ 279 w 772"/>
                    <a:gd name="T105" fmla="*/ 328 h 373"/>
                    <a:gd name="T106" fmla="*/ 231 w 772"/>
                    <a:gd name="T107" fmla="*/ 319 h 373"/>
                    <a:gd name="T108" fmla="*/ 123 w 772"/>
                    <a:gd name="T109" fmla="*/ 328 h 373"/>
                    <a:gd name="T110" fmla="*/ 177 w 772"/>
                    <a:gd name="T111" fmla="*/ 295 h 373"/>
                    <a:gd name="T112" fmla="*/ 198 w 772"/>
                    <a:gd name="T113" fmla="*/ 279 h 373"/>
                    <a:gd name="T114" fmla="*/ 227 w 772"/>
                    <a:gd name="T115" fmla="*/ 262 h 373"/>
                    <a:gd name="T116" fmla="*/ 177 w 772"/>
                    <a:gd name="T117" fmla="*/ 257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72" h="373">
                      <a:moveTo>
                        <a:pt x="177" y="257"/>
                      </a:moveTo>
                      <a:lnTo>
                        <a:pt x="198" y="234"/>
                      </a:lnTo>
                      <a:lnTo>
                        <a:pt x="215" y="241"/>
                      </a:lnTo>
                      <a:lnTo>
                        <a:pt x="198" y="234"/>
                      </a:lnTo>
                      <a:lnTo>
                        <a:pt x="210" y="234"/>
                      </a:lnTo>
                      <a:lnTo>
                        <a:pt x="160" y="250"/>
                      </a:lnTo>
                      <a:lnTo>
                        <a:pt x="156" y="241"/>
                      </a:lnTo>
                      <a:lnTo>
                        <a:pt x="144" y="234"/>
                      </a:lnTo>
                      <a:lnTo>
                        <a:pt x="156" y="224"/>
                      </a:lnTo>
                      <a:lnTo>
                        <a:pt x="144" y="208"/>
                      </a:lnTo>
                      <a:lnTo>
                        <a:pt x="75" y="208"/>
                      </a:lnTo>
                      <a:lnTo>
                        <a:pt x="47" y="224"/>
                      </a:lnTo>
                      <a:lnTo>
                        <a:pt x="31" y="201"/>
                      </a:lnTo>
                      <a:lnTo>
                        <a:pt x="64" y="201"/>
                      </a:lnTo>
                      <a:lnTo>
                        <a:pt x="90" y="184"/>
                      </a:lnTo>
                      <a:lnTo>
                        <a:pt x="182" y="184"/>
                      </a:lnTo>
                      <a:lnTo>
                        <a:pt x="194" y="163"/>
                      </a:lnTo>
                      <a:lnTo>
                        <a:pt x="172" y="179"/>
                      </a:lnTo>
                      <a:lnTo>
                        <a:pt x="139" y="168"/>
                      </a:lnTo>
                      <a:lnTo>
                        <a:pt x="198" y="139"/>
                      </a:lnTo>
                      <a:lnTo>
                        <a:pt x="156" y="127"/>
                      </a:lnTo>
                      <a:lnTo>
                        <a:pt x="172" y="123"/>
                      </a:lnTo>
                      <a:lnTo>
                        <a:pt x="144" y="127"/>
                      </a:lnTo>
                      <a:lnTo>
                        <a:pt x="101" y="123"/>
                      </a:lnTo>
                      <a:lnTo>
                        <a:pt x="47" y="139"/>
                      </a:lnTo>
                      <a:lnTo>
                        <a:pt x="0" y="127"/>
                      </a:lnTo>
                      <a:lnTo>
                        <a:pt x="14" y="111"/>
                      </a:lnTo>
                      <a:lnTo>
                        <a:pt x="52" y="127"/>
                      </a:lnTo>
                      <a:lnTo>
                        <a:pt x="31" y="111"/>
                      </a:lnTo>
                      <a:lnTo>
                        <a:pt x="52" y="111"/>
                      </a:lnTo>
                      <a:lnTo>
                        <a:pt x="31" y="106"/>
                      </a:lnTo>
                      <a:lnTo>
                        <a:pt x="31" y="90"/>
                      </a:lnTo>
                      <a:lnTo>
                        <a:pt x="68" y="111"/>
                      </a:lnTo>
                      <a:lnTo>
                        <a:pt x="85" y="111"/>
                      </a:lnTo>
                      <a:lnTo>
                        <a:pt x="68" y="106"/>
                      </a:lnTo>
                      <a:lnTo>
                        <a:pt x="90" y="94"/>
                      </a:lnTo>
                      <a:lnTo>
                        <a:pt x="52" y="94"/>
                      </a:lnTo>
                      <a:lnTo>
                        <a:pt x="47" y="90"/>
                      </a:lnTo>
                      <a:lnTo>
                        <a:pt x="52" y="85"/>
                      </a:lnTo>
                      <a:lnTo>
                        <a:pt x="90" y="90"/>
                      </a:lnTo>
                      <a:lnTo>
                        <a:pt x="47" y="68"/>
                      </a:lnTo>
                      <a:lnTo>
                        <a:pt x="52" y="68"/>
                      </a:lnTo>
                      <a:lnTo>
                        <a:pt x="85" y="73"/>
                      </a:lnTo>
                      <a:lnTo>
                        <a:pt x="64" y="57"/>
                      </a:lnTo>
                      <a:lnTo>
                        <a:pt x="75" y="49"/>
                      </a:lnTo>
                      <a:lnTo>
                        <a:pt x="123" y="73"/>
                      </a:lnTo>
                      <a:lnTo>
                        <a:pt x="127" y="68"/>
                      </a:lnTo>
                      <a:lnTo>
                        <a:pt x="139" y="73"/>
                      </a:lnTo>
                      <a:lnTo>
                        <a:pt x="127" y="90"/>
                      </a:lnTo>
                      <a:lnTo>
                        <a:pt x="139" y="73"/>
                      </a:lnTo>
                      <a:lnTo>
                        <a:pt x="144" y="90"/>
                      </a:lnTo>
                      <a:lnTo>
                        <a:pt x="144" y="73"/>
                      </a:lnTo>
                      <a:lnTo>
                        <a:pt x="139" y="57"/>
                      </a:lnTo>
                      <a:lnTo>
                        <a:pt x="106" y="40"/>
                      </a:lnTo>
                      <a:lnTo>
                        <a:pt x="144" y="40"/>
                      </a:lnTo>
                      <a:lnTo>
                        <a:pt x="90" y="28"/>
                      </a:lnTo>
                      <a:lnTo>
                        <a:pt x="106" y="16"/>
                      </a:lnTo>
                      <a:lnTo>
                        <a:pt x="144" y="16"/>
                      </a:lnTo>
                      <a:lnTo>
                        <a:pt x="160" y="33"/>
                      </a:lnTo>
                      <a:lnTo>
                        <a:pt x="194" y="49"/>
                      </a:lnTo>
                      <a:lnTo>
                        <a:pt x="198" y="68"/>
                      </a:lnTo>
                      <a:lnTo>
                        <a:pt x="215" y="68"/>
                      </a:lnTo>
                      <a:lnTo>
                        <a:pt x="210" y="73"/>
                      </a:lnTo>
                      <a:lnTo>
                        <a:pt x="227" y="85"/>
                      </a:lnTo>
                      <a:lnTo>
                        <a:pt x="227" y="106"/>
                      </a:lnTo>
                      <a:lnTo>
                        <a:pt x="210" y="106"/>
                      </a:lnTo>
                      <a:lnTo>
                        <a:pt x="194" y="94"/>
                      </a:lnTo>
                      <a:lnTo>
                        <a:pt x="198" y="111"/>
                      </a:lnTo>
                      <a:lnTo>
                        <a:pt x="227" y="123"/>
                      </a:lnTo>
                      <a:lnTo>
                        <a:pt x="236" y="168"/>
                      </a:lnTo>
                      <a:lnTo>
                        <a:pt x="236" y="139"/>
                      </a:lnTo>
                      <a:lnTo>
                        <a:pt x="248" y="139"/>
                      </a:lnTo>
                      <a:lnTo>
                        <a:pt x="253" y="123"/>
                      </a:lnTo>
                      <a:lnTo>
                        <a:pt x="269" y="106"/>
                      </a:lnTo>
                      <a:lnTo>
                        <a:pt x="269" y="123"/>
                      </a:lnTo>
                      <a:lnTo>
                        <a:pt x="286" y="127"/>
                      </a:lnTo>
                      <a:lnTo>
                        <a:pt x="290" y="111"/>
                      </a:lnTo>
                      <a:lnTo>
                        <a:pt x="302" y="94"/>
                      </a:lnTo>
                      <a:lnTo>
                        <a:pt x="286" y="57"/>
                      </a:lnTo>
                      <a:lnTo>
                        <a:pt x="307" y="57"/>
                      </a:lnTo>
                      <a:lnTo>
                        <a:pt x="345" y="94"/>
                      </a:lnTo>
                      <a:lnTo>
                        <a:pt x="354" y="106"/>
                      </a:lnTo>
                      <a:lnTo>
                        <a:pt x="361" y="90"/>
                      </a:lnTo>
                      <a:lnTo>
                        <a:pt x="354" y="73"/>
                      </a:lnTo>
                      <a:lnTo>
                        <a:pt x="354" y="68"/>
                      </a:lnTo>
                      <a:lnTo>
                        <a:pt x="387" y="57"/>
                      </a:lnTo>
                      <a:lnTo>
                        <a:pt x="387" y="49"/>
                      </a:lnTo>
                      <a:lnTo>
                        <a:pt x="399" y="49"/>
                      </a:lnTo>
                      <a:lnTo>
                        <a:pt x="416" y="57"/>
                      </a:lnTo>
                      <a:lnTo>
                        <a:pt x="425" y="73"/>
                      </a:lnTo>
                      <a:lnTo>
                        <a:pt x="442" y="85"/>
                      </a:lnTo>
                      <a:lnTo>
                        <a:pt x="453" y="111"/>
                      </a:lnTo>
                      <a:lnTo>
                        <a:pt x="453" y="90"/>
                      </a:lnTo>
                      <a:lnTo>
                        <a:pt x="442" y="68"/>
                      </a:lnTo>
                      <a:lnTo>
                        <a:pt x="442" y="49"/>
                      </a:lnTo>
                      <a:lnTo>
                        <a:pt x="463" y="49"/>
                      </a:lnTo>
                      <a:lnTo>
                        <a:pt x="484" y="73"/>
                      </a:lnTo>
                      <a:lnTo>
                        <a:pt x="501" y="73"/>
                      </a:lnTo>
                      <a:lnTo>
                        <a:pt x="517" y="40"/>
                      </a:lnTo>
                      <a:lnTo>
                        <a:pt x="555" y="57"/>
                      </a:lnTo>
                      <a:lnTo>
                        <a:pt x="550" y="49"/>
                      </a:lnTo>
                      <a:lnTo>
                        <a:pt x="571" y="33"/>
                      </a:lnTo>
                      <a:lnTo>
                        <a:pt x="555" y="12"/>
                      </a:lnTo>
                      <a:lnTo>
                        <a:pt x="593" y="0"/>
                      </a:lnTo>
                      <a:lnTo>
                        <a:pt x="614" y="28"/>
                      </a:lnTo>
                      <a:lnTo>
                        <a:pt x="614" y="40"/>
                      </a:lnTo>
                      <a:lnTo>
                        <a:pt x="642" y="49"/>
                      </a:lnTo>
                      <a:lnTo>
                        <a:pt x="668" y="28"/>
                      </a:lnTo>
                      <a:lnTo>
                        <a:pt x="685" y="28"/>
                      </a:lnTo>
                      <a:lnTo>
                        <a:pt x="668" y="33"/>
                      </a:lnTo>
                      <a:lnTo>
                        <a:pt x="668" y="49"/>
                      </a:lnTo>
                      <a:lnTo>
                        <a:pt x="657" y="57"/>
                      </a:lnTo>
                      <a:lnTo>
                        <a:pt x="697" y="73"/>
                      </a:lnTo>
                      <a:lnTo>
                        <a:pt x="680" y="106"/>
                      </a:lnTo>
                      <a:lnTo>
                        <a:pt x="718" y="94"/>
                      </a:lnTo>
                      <a:lnTo>
                        <a:pt x="718" y="111"/>
                      </a:lnTo>
                      <a:lnTo>
                        <a:pt x="701" y="127"/>
                      </a:lnTo>
                      <a:lnTo>
                        <a:pt x="718" y="111"/>
                      </a:lnTo>
                      <a:lnTo>
                        <a:pt x="765" y="123"/>
                      </a:lnTo>
                      <a:lnTo>
                        <a:pt x="765" y="127"/>
                      </a:lnTo>
                      <a:lnTo>
                        <a:pt x="756" y="151"/>
                      </a:lnTo>
                      <a:lnTo>
                        <a:pt x="772" y="163"/>
                      </a:lnTo>
                      <a:lnTo>
                        <a:pt x="734" y="168"/>
                      </a:lnTo>
                      <a:lnTo>
                        <a:pt x="765" y="168"/>
                      </a:lnTo>
                      <a:lnTo>
                        <a:pt x="772" y="179"/>
                      </a:lnTo>
                      <a:lnTo>
                        <a:pt x="765" y="196"/>
                      </a:lnTo>
                      <a:lnTo>
                        <a:pt x="739" y="179"/>
                      </a:lnTo>
                      <a:lnTo>
                        <a:pt x="756" y="201"/>
                      </a:lnTo>
                      <a:lnTo>
                        <a:pt x="734" y="196"/>
                      </a:lnTo>
                      <a:lnTo>
                        <a:pt x="756" y="201"/>
                      </a:lnTo>
                      <a:lnTo>
                        <a:pt x="734" y="217"/>
                      </a:lnTo>
                      <a:lnTo>
                        <a:pt x="739" y="224"/>
                      </a:lnTo>
                      <a:lnTo>
                        <a:pt x="718" y="224"/>
                      </a:lnTo>
                      <a:lnTo>
                        <a:pt x="701" y="208"/>
                      </a:lnTo>
                      <a:lnTo>
                        <a:pt x="711" y="224"/>
                      </a:lnTo>
                      <a:lnTo>
                        <a:pt x="697" y="241"/>
                      </a:lnTo>
                      <a:lnTo>
                        <a:pt x="711" y="241"/>
                      </a:lnTo>
                      <a:lnTo>
                        <a:pt x="701" y="257"/>
                      </a:lnTo>
                      <a:lnTo>
                        <a:pt x="685" y="257"/>
                      </a:lnTo>
                      <a:lnTo>
                        <a:pt x="668" y="274"/>
                      </a:lnTo>
                      <a:lnTo>
                        <a:pt x="642" y="262"/>
                      </a:lnTo>
                      <a:lnTo>
                        <a:pt x="642" y="274"/>
                      </a:lnTo>
                      <a:lnTo>
                        <a:pt x="593" y="290"/>
                      </a:lnTo>
                      <a:lnTo>
                        <a:pt x="560" y="319"/>
                      </a:lnTo>
                      <a:lnTo>
                        <a:pt x="538" y="328"/>
                      </a:lnTo>
                      <a:lnTo>
                        <a:pt x="534" y="312"/>
                      </a:lnTo>
                      <a:lnTo>
                        <a:pt x="522" y="328"/>
                      </a:lnTo>
                      <a:lnTo>
                        <a:pt x="468" y="335"/>
                      </a:lnTo>
                      <a:lnTo>
                        <a:pt x="463" y="345"/>
                      </a:lnTo>
                      <a:lnTo>
                        <a:pt x="468" y="352"/>
                      </a:lnTo>
                      <a:lnTo>
                        <a:pt x="463" y="364"/>
                      </a:lnTo>
                      <a:lnTo>
                        <a:pt x="408" y="373"/>
                      </a:lnTo>
                      <a:lnTo>
                        <a:pt x="302" y="364"/>
                      </a:lnTo>
                      <a:lnTo>
                        <a:pt x="279" y="335"/>
                      </a:lnTo>
                      <a:lnTo>
                        <a:pt x="290" y="335"/>
                      </a:lnTo>
                      <a:lnTo>
                        <a:pt x="290" y="335"/>
                      </a:lnTo>
                      <a:lnTo>
                        <a:pt x="279" y="335"/>
                      </a:lnTo>
                      <a:lnTo>
                        <a:pt x="269" y="335"/>
                      </a:lnTo>
                      <a:lnTo>
                        <a:pt x="279" y="328"/>
                      </a:lnTo>
                      <a:lnTo>
                        <a:pt x="269" y="319"/>
                      </a:lnTo>
                      <a:lnTo>
                        <a:pt x="253" y="328"/>
                      </a:lnTo>
                      <a:lnTo>
                        <a:pt x="231" y="319"/>
                      </a:lnTo>
                      <a:lnTo>
                        <a:pt x="248" y="312"/>
                      </a:lnTo>
                      <a:lnTo>
                        <a:pt x="198" y="328"/>
                      </a:lnTo>
                      <a:lnTo>
                        <a:pt x="123" y="328"/>
                      </a:lnTo>
                      <a:lnTo>
                        <a:pt x="127" y="295"/>
                      </a:lnTo>
                      <a:lnTo>
                        <a:pt x="139" y="307"/>
                      </a:lnTo>
                      <a:lnTo>
                        <a:pt x="177" y="295"/>
                      </a:lnTo>
                      <a:lnTo>
                        <a:pt x="182" y="295"/>
                      </a:lnTo>
                      <a:lnTo>
                        <a:pt x="177" y="290"/>
                      </a:lnTo>
                      <a:lnTo>
                        <a:pt x="198" y="279"/>
                      </a:lnTo>
                      <a:lnTo>
                        <a:pt x="182" y="279"/>
                      </a:lnTo>
                      <a:lnTo>
                        <a:pt x="194" y="262"/>
                      </a:lnTo>
                      <a:lnTo>
                        <a:pt x="227" y="262"/>
                      </a:lnTo>
                      <a:lnTo>
                        <a:pt x="172" y="274"/>
                      </a:lnTo>
                      <a:lnTo>
                        <a:pt x="177" y="257"/>
                      </a:lnTo>
                      <a:lnTo>
                        <a:pt x="177" y="257"/>
                      </a:lnTo>
                      <a:lnTo>
                        <a:pt x="177" y="25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8" name="Freeform 468">
                  <a:extLst>
                    <a:ext uri="{FF2B5EF4-FFF2-40B4-BE49-F238E27FC236}">
                      <a16:creationId xmlns:a16="http://schemas.microsoft.com/office/drawing/2014/main" id="{B4CD5A26-08B1-422C-909A-F345079DC5D9}"/>
                    </a:ext>
                  </a:extLst>
                </p:cNvPr>
                <p:cNvSpPr>
                  <a:spLocks/>
                </p:cNvSpPr>
                <p:nvPr/>
              </p:nvSpPr>
              <p:spPr bwMode="gray">
                <a:xfrm>
                  <a:off x="6589149" y="2269157"/>
                  <a:ext cx="12350" cy="15645"/>
                </a:xfrm>
                <a:custGeom>
                  <a:avLst/>
                  <a:gdLst>
                    <a:gd name="T0" fmla="*/ 0 w 30"/>
                    <a:gd name="T1" fmla="*/ 38 h 38"/>
                    <a:gd name="T2" fmla="*/ 0 w 30"/>
                    <a:gd name="T3" fmla="*/ 22 h 38"/>
                    <a:gd name="T4" fmla="*/ 26 w 30"/>
                    <a:gd name="T5" fmla="*/ 0 h 38"/>
                    <a:gd name="T6" fmla="*/ 30 w 30"/>
                    <a:gd name="T7" fmla="*/ 17 h 38"/>
                    <a:gd name="T8" fmla="*/ 26 w 30"/>
                    <a:gd name="T9" fmla="*/ 22 h 38"/>
                    <a:gd name="T10" fmla="*/ 0 w 30"/>
                    <a:gd name="T11" fmla="*/ 38 h 38"/>
                    <a:gd name="T12" fmla="*/ 0 w 30"/>
                    <a:gd name="T13" fmla="*/ 38 h 38"/>
                    <a:gd name="T14" fmla="*/ 0 w 30"/>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8">
                      <a:moveTo>
                        <a:pt x="0" y="38"/>
                      </a:moveTo>
                      <a:lnTo>
                        <a:pt x="0" y="22"/>
                      </a:lnTo>
                      <a:lnTo>
                        <a:pt x="26" y="0"/>
                      </a:lnTo>
                      <a:lnTo>
                        <a:pt x="30" y="17"/>
                      </a:lnTo>
                      <a:lnTo>
                        <a:pt x="26" y="22"/>
                      </a:lnTo>
                      <a:lnTo>
                        <a:pt x="0" y="38"/>
                      </a:lnTo>
                      <a:lnTo>
                        <a:pt x="0" y="38"/>
                      </a:lnTo>
                      <a:lnTo>
                        <a:pt x="0" y="3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6" name="Freeform 477">
                  <a:extLst>
                    <a:ext uri="{FF2B5EF4-FFF2-40B4-BE49-F238E27FC236}">
                      <a16:creationId xmlns:a16="http://schemas.microsoft.com/office/drawing/2014/main" id="{040AE830-3B17-4360-82B6-4CED455E0A3F}"/>
                    </a:ext>
                  </a:extLst>
                </p:cNvPr>
                <p:cNvSpPr>
                  <a:spLocks/>
                </p:cNvSpPr>
                <p:nvPr/>
              </p:nvSpPr>
              <p:spPr bwMode="gray">
                <a:xfrm>
                  <a:off x="6662016" y="2473368"/>
                  <a:ext cx="6587" cy="4117"/>
                </a:xfrm>
                <a:custGeom>
                  <a:avLst/>
                  <a:gdLst>
                    <a:gd name="T0" fmla="*/ 9 w 16"/>
                    <a:gd name="T1" fmla="*/ 10 h 10"/>
                    <a:gd name="T2" fmla="*/ 0 w 16"/>
                    <a:gd name="T3" fmla="*/ 0 h 10"/>
                    <a:gd name="T4" fmla="*/ 16 w 16"/>
                    <a:gd name="T5" fmla="*/ 0 h 10"/>
                    <a:gd name="T6" fmla="*/ 9 w 16"/>
                    <a:gd name="T7" fmla="*/ 10 h 10"/>
                    <a:gd name="T8" fmla="*/ 9 w 16"/>
                    <a:gd name="T9" fmla="*/ 10 h 10"/>
                    <a:gd name="T10" fmla="*/ 9 w 16"/>
                    <a:gd name="T11" fmla="*/ 10 h 10"/>
                  </a:gdLst>
                  <a:ahLst/>
                  <a:cxnLst>
                    <a:cxn ang="0">
                      <a:pos x="T0" y="T1"/>
                    </a:cxn>
                    <a:cxn ang="0">
                      <a:pos x="T2" y="T3"/>
                    </a:cxn>
                    <a:cxn ang="0">
                      <a:pos x="T4" y="T5"/>
                    </a:cxn>
                    <a:cxn ang="0">
                      <a:pos x="T6" y="T7"/>
                    </a:cxn>
                    <a:cxn ang="0">
                      <a:pos x="T8" y="T9"/>
                    </a:cxn>
                    <a:cxn ang="0">
                      <a:pos x="T10" y="T11"/>
                    </a:cxn>
                  </a:cxnLst>
                  <a:rect l="0" t="0" r="r" b="b"/>
                  <a:pathLst>
                    <a:path w="16" h="10">
                      <a:moveTo>
                        <a:pt x="9" y="10"/>
                      </a:moveTo>
                      <a:lnTo>
                        <a:pt x="0" y="0"/>
                      </a:lnTo>
                      <a:lnTo>
                        <a:pt x="16" y="0"/>
                      </a:lnTo>
                      <a:lnTo>
                        <a:pt x="9" y="10"/>
                      </a:lnTo>
                      <a:lnTo>
                        <a:pt x="9" y="10"/>
                      </a:lnTo>
                      <a:lnTo>
                        <a:pt x="9" y="1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7" name="Freeform 479">
                  <a:extLst>
                    <a:ext uri="{FF2B5EF4-FFF2-40B4-BE49-F238E27FC236}">
                      <a16:creationId xmlns:a16="http://schemas.microsoft.com/office/drawing/2014/main" id="{D0929939-8885-412A-831B-1B2809AAF6A2}"/>
                    </a:ext>
                  </a:extLst>
                </p:cNvPr>
                <p:cNvSpPr>
                  <a:spLocks/>
                </p:cNvSpPr>
                <p:nvPr/>
              </p:nvSpPr>
              <p:spPr bwMode="gray">
                <a:xfrm>
                  <a:off x="6461531" y="1486484"/>
                  <a:ext cx="36227" cy="19351"/>
                </a:xfrm>
                <a:custGeom>
                  <a:avLst/>
                  <a:gdLst>
                    <a:gd name="T0" fmla="*/ 12 w 88"/>
                    <a:gd name="T1" fmla="*/ 47 h 47"/>
                    <a:gd name="T2" fmla="*/ 0 w 88"/>
                    <a:gd name="T3" fmla="*/ 35 h 47"/>
                    <a:gd name="T4" fmla="*/ 50 w 88"/>
                    <a:gd name="T5" fmla="*/ 14 h 47"/>
                    <a:gd name="T6" fmla="*/ 55 w 88"/>
                    <a:gd name="T7" fmla="*/ 0 h 47"/>
                    <a:gd name="T8" fmla="*/ 88 w 88"/>
                    <a:gd name="T9" fmla="*/ 0 h 47"/>
                    <a:gd name="T10" fmla="*/ 76 w 88"/>
                    <a:gd name="T11" fmla="*/ 14 h 47"/>
                    <a:gd name="T12" fmla="*/ 38 w 88"/>
                    <a:gd name="T13" fmla="*/ 21 h 47"/>
                    <a:gd name="T14" fmla="*/ 12 w 88"/>
                    <a:gd name="T15" fmla="*/ 47 h 47"/>
                    <a:gd name="T16" fmla="*/ 12 w 88"/>
                    <a:gd name="T17" fmla="*/ 47 h 47"/>
                    <a:gd name="T18" fmla="*/ 12 w 88"/>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47">
                      <a:moveTo>
                        <a:pt x="12" y="47"/>
                      </a:moveTo>
                      <a:lnTo>
                        <a:pt x="0" y="35"/>
                      </a:lnTo>
                      <a:lnTo>
                        <a:pt x="50" y="14"/>
                      </a:lnTo>
                      <a:lnTo>
                        <a:pt x="55" y="0"/>
                      </a:lnTo>
                      <a:lnTo>
                        <a:pt x="88" y="0"/>
                      </a:lnTo>
                      <a:lnTo>
                        <a:pt x="76" y="14"/>
                      </a:lnTo>
                      <a:lnTo>
                        <a:pt x="38" y="21"/>
                      </a:lnTo>
                      <a:lnTo>
                        <a:pt x="12" y="47"/>
                      </a:lnTo>
                      <a:lnTo>
                        <a:pt x="12" y="47"/>
                      </a:lnTo>
                      <a:lnTo>
                        <a:pt x="12" y="4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0" name="Freeform 482">
                  <a:extLst>
                    <a:ext uri="{FF2B5EF4-FFF2-40B4-BE49-F238E27FC236}">
                      <a16:creationId xmlns:a16="http://schemas.microsoft.com/office/drawing/2014/main" id="{AA6D965F-3EE3-4D7C-97F9-7CA8867DFFF5}"/>
                    </a:ext>
                  </a:extLst>
                </p:cNvPr>
                <p:cNvSpPr>
                  <a:spLocks/>
                </p:cNvSpPr>
                <p:nvPr/>
              </p:nvSpPr>
              <p:spPr bwMode="gray">
                <a:xfrm>
                  <a:off x="8726540" y="2696106"/>
                  <a:ext cx="314928" cy="143277"/>
                </a:xfrm>
                <a:custGeom>
                  <a:avLst/>
                  <a:gdLst>
                    <a:gd name="T0" fmla="*/ 397 w 765"/>
                    <a:gd name="T1" fmla="*/ 255 h 348"/>
                    <a:gd name="T2" fmla="*/ 359 w 765"/>
                    <a:gd name="T3" fmla="*/ 272 h 348"/>
                    <a:gd name="T4" fmla="*/ 321 w 765"/>
                    <a:gd name="T5" fmla="*/ 305 h 348"/>
                    <a:gd name="T6" fmla="*/ 321 w 765"/>
                    <a:gd name="T7" fmla="*/ 326 h 348"/>
                    <a:gd name="T8" fmla="*/ 271 w 765"/>
                    <a:gd name="T9" fmla="*/ 331 h 348"/>
                    <a:gd name="T10" fmla="*/ 212 w 765"/>
                    <a:gd name="T11" fmla="*/ 348 h 348"/>
                    <a:gd name="T12" fmla="*/ 168 w 765"/>
                    <a:gd name="T13" fmla="*/ 343 h 348"/>
                    <a:gd name="T14" fmla="*/ 158 w 765"/>
                    <a:gd name="T15" fmla="*/ 326 h 348"/>
                    <a:gd name="T16" fmla="*/ 125 w 765"/>
                    <a:gd name="T17" fmla="*/ 326 h 348"/>
                    <a:gd name="T18" fmla="*/ 104 w 765"/>
                    <a:gd name="T19" fmla="*/ 331 h 348"/>
                    <a:gd name="T20" fmla="*/ 87 w 765"/>
                    <a:gd name="T21" fmla="*/ 315 h 348"/>
                    <a:gd name="T22" fmla="*/ 0 w 765"/>
                    <a:gd name="T23" fmla="*/ 293 h 348"/>
                    <a:gd name="T24" fmla="*/ 7 w 765"/>
                    <a:gd name="T25" fmla="*/ 289 h 348"/>
                    <a:gd name="T26" fmla="*/ 16 w 765"/>
                    <a:gd name="T27" fmla="*/ 272 h 348"/>
                    <a:gd name="T28" fmla="*/ 87 w 765"/>
                    <a:gd name="T29" fmla="*/ 277 h 348"/>
                    <a:gd name="T30" fmla="*/ 92 w 765"/>
                    <a:gd name="T31" fmla="*/ 289 h 348"/>
                    <a:gd name="T32" fmla="*/ 113 w 765"/>
                    <a:gd name="T33" fmla="*/ 272 h 348"/>
                    <a:gd name="T34" fmla="*/ 146 w 765"/>
                    <a:gd name="T35" fmla="*/ 255 h 348"/>
                    <a:gd name="T36" fmla="*/ 196 w 765"/>
                    <a:gd name="T37" fmla="*/ 260 h 348"/>
                    <a:gd name="T38" fmla="*/ 201 w 765"/>
                    <a:gd name="T39" fmla="*/ 248 h 348"/>
                    <a:gd name="T40" fmla="*/ 217 w 765"/>
                    <a:gd name="T41" fmla="*/ 232 h 348"/>
                    <a:gd name="T42" fmla="*/ 250 w 765"/>
                    <a:gd name="T43" fmla="*/ 222 h 348"/>
                    <a:gd name="T44" fmla="*/ 234 w 765"/>
                    <a:gd name="T45" fmla="*/ 206 h 348"/>
                    <a:gd name="T46" fmla="*/ 201 w 765"/>
                    <a:gd name="T47" fmla="*/ 199 h 348"/>
                    <a:gd name="T48" fmla="*/ 184 w 765"/>
                    <a:gd name="T49" fmla="*/ 182 h 348"/>
                    <a:gd name="T50" fmla="*/ 168 w 765"/>
                    <a:gd name="T51" fmla="*/ 149 h 348"/>
                    <a:gd name="T52" fmla="*/ 146 w 765"/>
                    <a:gd name="T53" fmla="*/ 166 h 348"/>
                    <a:gd name="T54" fmla="*/ 108 w 765"/>
                    <a:gd name="T55" fmla="*/ 178 h 348"/>
                    <a:gd name="T56" fmla="*/ 87 w 765"/>
                    <a:gd name="T57" fmla="*/ 161 h 348"/>
                    <a:gd name="T58" fmla="*/ 104 w 765"/>
                    <a:gd name="T59" fmla="*/ 123 h 348"/>
                    <a:gd name="T60" fmla="*/ 108 w 765"/>
                    <a:gd name="T61" fmla="*/ 107 h 348"/>
                    <a:gd name="T62" fmla="*/ 125 w 765"/>
                    <a:gd name="T63" fmla="*/ 78 h 348"/>
                    <a:gd name="T64" fmla="*/ 108 w 765"/>
                    <a:gd name="T65" fmla="*/ 78 h 348"/>
                    <a:gd name="T66" fmla="*/ 168 w 765"/>
                    <a:gd name="T67" fmla="*/ 41 h 348"/>
                    <a:gd name="T68" fmla="*/ 293 w 765"/>
                    <a:gd name="T69" fmla="*/ 74 h 348"/>
                    <a:gd name="T70" fmla="*/ 305 w 765"/>
                    <a:gd name="T71" fmla="*/ 17 h 348"/>
                    <a:gd name="T72" fmla="*/ 385 w 765"/>
                    <a:gd name="T73" fmla="*/ 24 h 348"/>
                    <a:gd name="T74" fmla="*/ 456 w 765"/>
                    <a:gd name="T75" fmla="*/ 24 h 348"/>
                    <a:gd name="T76" fmla="*/ 543 w 765"/>
                    <a:gd name="T77" fmla="*/ 24 h 348"/>
                    <a:gd name="T78" fmla="*/ 699 w 765"/>
                    <a:gd name="T79" fmla="*/ 41 h 348"/>
                    <a:gd name="T80" fmla="*/ 711 w 765"/>
                    <a:gd name="T81" fmla="*/ 74 h 348"/>
                    <a:gd name="T82" fmla="*/ 765 w 765"/>
                    <a:gd name="T83" fmla="*/ 95 h 348"/>
                    <a:gd name="T84" fmla="*/ 742 w 765"/>
                    <a:gd name="T85" fmla="*/ 111 h 348"/>
                    <a:gd name="T86" fmla="*/ 704 w 765"/>
                    <a:gd name="T87" fmla="*/ 128 h 348"/>
                    <a:gd name="T88" fmla="*/ 635 w 765"/>
                    <a:gd name="T89" fmla="*/ 178 h 348"/>
                    <a:gd name="T90" fmla="*/ 536 w 765"/>
                    <a:gd name="T91" fmla="*/ 199 h 348"/>
                    <a:gd name="T92" fmla="*/ 520 w 765"/>
                    <a:gd name="T93" fmla="*/ 232 h 348"/>
                    <a:gd name="T94" fmla="*/ 482 w 765"/>
                    <a:gd name="T95" fmla="*/ 248 h 348"/>
                    <a:gd name="T96" fmla="*/ 439 w 765"/>
                    <a:gd name="T97" fmla="*/ 232 h 348"/>
                    <a:gd name="T98" fmla="*/ 385 w 765"/>
                    <a:gd name="T99" fmla="*/ 239 h 348"/>
                    <a:gd name="T100" fmla="*/ 385 w 765"/>
                    <a:gd name="T101" fmla="*/ 23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5" h="348">
                      <a:moveTo>
                        <a:pt x="385" y="239"/>
                      </a:moveTo>
                      <a:lnTo>
                        <a:pt x="397" y="255"/>
                      </a:lnTo>
                      <a:lnTo>
                        <a:pt x="380" y="255"/>
                      </a:lnTo>
                      <a:lnTo>
                        <a:pt x="359" y="272"/>
                      </a:lnTo>
                      <a:lnTo>
                        <a:pt x="331" y="277"/>
                      </a:lnTo>
                      <a:lnTo>
                        <a:pt x="321" y="305"/>
                      </a:lnTo>
                      <a:lnTo>
                        <a:pt x="326" y="315"/>
                      </a:lnTo>
                      <a:lnTo>
                        <a:pt x="321" y="326"/>
                      </a:lnTo>
                      <a:lnTo>
                        <a:pt x="309" y="326"/>
                      </a:lnTo>
                      <a:lnTo>
                        <a:pt x="271" y="331"/>
                      </a:lnTo>
                      <a:lnTo>
                        <a:pt x="217" y="331"/>
                      </a:lnTo>
                      <a:lnTo>
                        <a:pt x="212" y="348"/>
                      </a:lnTo>
                      <a:lnTo>
                        <a:pt x="196" y="331"/>
                      </a:lnTo>
                      <a:lnTo>
                        <a:pt x="168" y="343"/>
                      </a:lnTo>
                      <a:lnTo>
                        <a:pt x="168" y="326"/>
                      </a:lnTo>
                      <a:lnTo>
                        <a:pt x="158" y="326"/>
                      </a:lnTo>
                      <a:lnTo>
                        <a:pt x="158" y="315"/>
                      </a:lnTo>
                      <a:lnTo>
                        <a:pt x="125" y="326"/>
                      </a:lnTo>
                      <a:lnTo>
                        <a:pt x="113" y="331"/>
                      </a:lnTo>
                      <a:lnTo>
                        <a:pt x="104" y="331"/>
                      </a:lnTo>
                      <a:lnTo>
                        <a:pt x="92" y="315"/>
                      </a:lnTo>
                      <a:lnTo>
                        <a:pt x="87" y="315"/>
                      </a:lnTo>
                      <a:lnTo>
                        <a:pt x="0" y="315"/>
                      </a:lnTo>
                      <a:lnTo>
                        <a:pt x="0" y="293"/>
                      </a:lnTo>
                      <a:lnTo>
                        <a:pt x="0" y="277"/>
                      </a:lnTo>
                      <a:lnTo>
                        <a:pt x="7" y="289"/>
                      </a:lnTo>
                      <a:lnTo>
                        <a:pt x="16" y="289"/>
                      </a:lnTo>
                      <a:lnTo>
                        <a:pt x="16" y="272"/>
                      </a:lnTo>
                      <a:lnTo>
                        <a:pt x="54" y="260"/>
                      </a:lnTo>
                      <a:lnTo>
                        <a:pt x="87" y="277"/>
                      </a:lnTo>
                      <a:lnTo>
                        <a:pt x="87" y="289"/>
                      </a:lnTo>
                      <a:lnTo>
                        <a:pt x="92" y="289"/>
                      </a:lnTo>
                      <a:lnTo>
                        <a:pt x="92" y="272"/>
                      </a:lnTo>
                      <a:lnTo>
                        <a:pt x="113" y="272"/>
                      </a:lnTo>
                      <a:lnTo>
                        <a:pt x="113" y="260"/>
                      </a:lnTo>
                      <a:lnTo>
                        <a:pt x="146" y="255"/>
                      </a:lnTo>
                      <a:lnTo>
                        <a:pt x="168" y="272"/>
                      </a:lnTo>
                      <a:lnTo>
                        <a:pt x="196" y="260"/>
                      </a:lnTo>
                      <a:lnTo>
                        <a:pt x="196" y="255"/>
                      </a:lnTo>
                      <a:lnTo>
                        <a:pt x="201" y="248"/>
                      </a:lnTo>
                      <a:lnTo>
                        <a:pt x="217" y="248"/>
                      </a:lnTo>
                      <a:lnTo>
                        <a:pt x="217" y="232"/>
                      </a:lnTo>
                      <a:lnTo>
                        <a:pt x="234" y="239"/>
                      </a:lnTo>
                      <a:lnTo>
                        <a:pt x="250" y="222"/>
                      </a:lnTo>
                      <a:lnTo>
                        <a:pt x="271" y="215"/>
                      </a:lnTo>
                      <a:lnTo>
                        <a:pt x="234" y="206"/>
                      </a:lnTo>
                      <a:lnTo>
                        <a:pt x="217" y="194"/>
                      </a:lnTo>
                      <a:lnTo>
                        <a:pt x="201" y="199"/>
                      </a:lnTo>
                      <a:lnTo>
                        <a:pt x="201" y="182"/>
                      </a:lnTo>
                      <a:lnTo>
                        <a:pt x="184" y="182"/>
                      </a:lnTo>
                      <a:lnTo>
                        <a:pt x="184" y="166"/>
                      </a:lnTo>
                      <a:lnTo>
                        <a:pt x="168" y="149"/>
                      </a:lnTo>
                      <a:lnTo>
                        <a:pt x="163" y="166"/>
                      </a:lnTo>
                      <a:lnTo>
                        <a:pt x="146" y="166"/>
                      </a:lnTo>
                      <a:lnTo>
                        <a:pt x="146" y="182"/>
                      </a:lnTo>
                      <a:lnTo>
                        <a:pt x="108" y="178"/>
                      </a:lnTo>
                      <a:lnTo>
                        <a:pt x="104" y="161"/>
                      </a:lnTo>
                      <a:lnTo>
                        <a:pt x="87" y="161"/>
                      </a:lnTo>
                      <a:lnTo>
                        <a:pt x="61" y="149"/>
                      </a:lnTo>
                      <a:lnTo>
                        <a:pt x="104" y="123"/>
                      </a:lnTo>
                      <a:lnTo>
                        <a:pt x="108" y="123"/>
                      </a:lnTo>
                      <a:lnTo>
                        <a:pt x="108" y="107"/>
                      </a:lnTo>
                      <a:lnTo>
                        <a:pt x="142" y="95"/>
                      </a:lnTo>
                      <a:lnTo>
                        <a:pt x="125" y="78"/>
                      </a:lnTo>
                      <a:lnTo>
                        <a:pt x="113" y="90"/>
                      </a:lnTo>
                      <a:lnTo>
                        <a:pt x="108" y="78"/>
                      </a:lnTo>
                      <a:lnTo>
                        <a:pt x="130" y="50"/>
                      </a:lnTo>
                      <a:lnTo>
                        <a:pt x="168" y="41"/>
                      </a:lnTo>
                      <a:lnTo>
                        <a:pt x="212" y="41"/>
                      </a:lnTo>
                      <a:lnTo>
                        <a:pt x="293" y="74"/>
                      </a:lnTo>
                      <a:lnTo>
                        <a:pt x="293" y="57"/>
                      </a:lnTo>
                      <a:lnTo>
                        <a:pt x="305" y="17"/>
                      </a:lnTo>
                      <a:lnTo>
                        <a:pt x="347" y="0"/>
                      </a:lnTo>
                      <a:lnTo>
                        <a:pt x="385" y="24"/>
                      </a:lnTo>
                      <a:lnTo>
                        <a:pt x="451" y="41"/>
                      </a:lnTo>
                      <a:lnTo>
                        <a:pt x="456" y="24"/>
                      </a:lnTo>
                      <a:lnTo>
                        <a:pt x="520" y="33"/>
                      </a:lnTo>
                      <a:lnTo>
                        <a:pt x="543" y="24"/>
                      </a:lnTo>
                      <a:lnTo>
                        <a:pt x="557" y="33"/>
                      </a:lnTo>
                      <a:lnTo>
                        <a:pt x="699" y="41"/>
                      </a:lnTo>
                      <a:lnTo>
                        <a:pt x="699" y="50"/>
                      </a:lnTo>
                      <a:lnTo>
                        <a:pt x="711" y="74"/>
                      </a:lnTo>
                      <a:lnTo>
                        <a:pt x="753" y="74"/>
                      </a:lnTo>
                      <a:lnTo>
                        <a:pt x="765" y="95"/>
                      </a:lnTo>
                      <a:lnTo>
                        <a:pt x="765" y="107"/>
                      </a:lnTo>
                      <a:lnTo>
                        <a:pt x="742" y="111"/>
                      </a:lnTo>
                      <a:lnTo>
                        <a:pt x="737" y="123"/>
                      </a:lnTo>
                      <a:lnTo>
                        <a:pt x="704" y="128"/>
                      </a:lnTo>
                      <a:lnTo>
                        <a:pt x="645" y="161"/>
                      </a:lnTo>
                      <a:lnTo>
                        <a:pt x="635" y="178"/>
                      </a:lnTo>
                      <a:lnTo>
                        <a:pt x="619" y="194"/>
                      </a:lnTo>
                      <a:lnTo>
                        <a:pt x="536" y="199"/>
                      </a:lnTo>
                      <a:lnTo>
                        <a:pt x="520" y="215"/>
                      </a:lnTo>
                      <a:lnTo>
                        <a:pt x="520" y="232"/>
                      </a:lnTo>
                      <a:lnTo>
                        <a:pt x="494" y="255"/>
                      </a:lnTo>
                      <a:lnTo>
                        <a:pt x="482" y="248"/>
                      </a:lnTo>
                      <a:lnTo>
                        <a:pt x="451" y="255"/>
                      </a:lnTo>
                      <a:lnTo>
                        <a:pt x="439" y="232"/>
                      </a:lnTo>
                      <a:lnTo>
                        <a:pt x="418" y="248"/>
                      </a:lnTo>
                      <a:lnTo>
                        <a:pt x="385" y="239"/>
                      </a:lnTo>
                      <a:lnTo>
                        <a:pt x="385" y="239"/>
                      </a:lnTo>
                      <a:lnTo>
                        <a:pt x="385" y="23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1" name="Freeform 483">
                  <a:extLst>
                    <a:ext uri="{FF2B5EF4-FFF2-40B4-BE49-F238E27FC236}">
                      <a16:creationId xmlns:a16="http://schemas.microsoft.com/office/drawing/2014/main" id="{BFE30613-D3B6-49A1-9C11-658CD7F3E976}"/>
                    </a:ext>
                  </a:extLst>
                </p:cNvPr>
                <p:cNvSpPr>
                  <a:spLocks/>
                </p:cNvSpPr>
                <p:nvPr/>
              </p:nvSpPr>
              <p:spPr bwMode="gray">
                <a:xfrm>
                  <a:off x="10314352" y="2705165"/>
                  <a:ext cx="184016" cy="187742"/>
                </a:xfrm>
                <a:custGeom>
                  <a:avLst/>
                  <a:gdLst>
                    <a:gd name="T0" fmla="*/ 45 w 447"/>
                    <a:gd name="T1" fmla="*/ 217 h 456"/>
                    <a:gd name="T2" fmla="*/ 55 w 447"/>
                    <a:gd name="T3" fmla="*/ 217 h 456"/>
                    <a:gd name="T4" fmla="*/ 104 w 447"/>
                    <a:gd name="T5" fmla="*/ 184 h 456"/>
                    <a:gd name="T6" fmla="*/ 156 w 447"/>
                    <a:gd name="T7" fmla="*/ 144 h 456"/>
                    <a:gd name="T8" fmla="*/ 189 w 447"/>
                    <a:gd name="T9" fmla="*/ 106 h 456"/>
                    <a:gd name="T10" fmla="*/ 270 w 447"/>
                    <a:gd name="T11" fmla="*/ 144 h 456"/>
                    <a:gd name="T12" fmla="*/ 270 w 447"/>
                    <a:gd name="T13" fmla="*/ 106 h 456"/>
                    <a:gd name="T14" fmla="*/ 324 w 447"/>
                    <a:gd name="T15" fmla="*/ 89 h 456"/>
                    <a:gd name="T16" fmla="*/ 357 w 447"/>
                    <a:gd name="T17" fmla="*/ 49 h 456"/>
                    <a:gd name="T18" fmla="*/ 378 w 447"/>
                    <a:gd name="T19" fmla="*/ 49 h 456"/>
                    <a:gd name="T20" fmla="*/ 421 w 447"/>
                    <a:gd name="T21" fmla="*/ 11 h 456"/>
                    <a:gd name="T22" fmla="*/ 442 w 447"/>
                    <a:gd name="T23" fmla="*/ 45 h 456"/>
                    <a:gd name="T24" fmla="*/ 447 w 447"/>
                    <a:gd name="T25" fmla="*/ 66 h 456"/>
                    <a:gd name="T26" fmla="*/ 378 w 447"/>
                    <a:gd name="T27" fmla="*/ 122 h 456"/>
                    <a:gd name="T28" fmla="*/ 388 w 447"/>
                    <a:gd name="T29" fmla="*/ 144 h 456"/>
                    <a:gd name="T30" fmla="*/ 350 w 447"/>
                    <a:gd name="T31" fmla="*/ 200 h 456"/>
                    <a:gd name="T32" fmla="*/ 303 w 447"/>
                    <a:gd name="T33" fmla="*/ 238 h 456"/>
                    <a:gd name="T34" fmla="*/ 286 w 447"/>
                    <a:gd name="T35" fmla="*/ 255 h 456"/>
                    <a:gd name="T36" fmla="*/ 260 w 447"/>
                    <a:gd name="T37" fmla="*/ 271 h 456"/>
                    <a:gd name="T38" fmla="*/ 232 w 447"/>
                    <a:gd name="T39" fmla="*/ 323 h 456"/>
                    <a:gd name="T40" fmla="*/ 218 w 447"/>
                    <a:gd name="T41" fmla="*/ 311 h 456"/>
                    <a:gd name="T42" fmla="*/ 248 w 447"/>
                    <a:gd name="T43" fmla="*/ 340 h 456"/>
                    <a:gd name="T44" fmla="*/ 281 w 447"/>
                    <a:gd name="T45" fmla="*/ 394 h 456"/>
                    <a:gd name="T46" fmla="*/ 206 w 447"/>
                    <a:gd name="T47" fmla="*/ 406 h 456"/>
                    <a:gd name="T48" fmla="*/ 163 w 447"/>
                    <a:gd name="T49" fmla="*/ 451 h 456"/>
                    <a:gd name="T50" fmla="*/ 135 w 447"/>
                    <a:gd name="T51" fmla="*/ 451 h 456"/>
                    <a:gd name="T52" fmla="*/ 121 w 447"/>
                    <a:gd name="T53" fmla="*/ 439 h 456"/>
                    <a:gd name="T54" fmla="*/ 109 w 447"/>
                    <a:gd name="T55" fmla="*/ 432 h 456"/>
                    <a:gd name="T56" fmla="*/ 104 w 447"/>
                    <a:gd name="T57" fmla="*/ 439 h 456"/>
                    <a:gd name="T58" fmla="*/ 88 w 447"/>
                    <a:gd name="T59" fmla="*/ 439 h 456"/>
                    <a:gd name="T60" fmla="*/ 71 w 447"/>
                    <a:gd name="T61" fmla="*/ 422 h 456"/>
                    <a:gd name="T62" fmla="*/ 45 w 447"/>
                    <a:gd name="T63" fmla="*/ 406 h 456"/>
                    <a:gd name="T64" fmla="*/ 83 w 447"/>
                    <a:gd name="T65" fmla="*/ 366 h 456"/>
                    <a:gd name="T66" fmla="*/ 66 w 447"/>
                    <a:gd name="T67" fmla="*/ 361 h 456"/>
                    <a:gd name="T68" fmla="*/ 71 w 447"/>
                    <a:gd name="T69" fmla="*/ 304 h 456"/>
                    <a:gd name="T70" fmla="*/ 55 w 447"/>
                    <a:gd name="T71" fmla="*/ 295 h 456"/>
                    <a:gd name="T72" fmla="*/ 33 w 447"/>
                    <a:gd name="T73" fmla="*/ 288 h 456"/>
                    <a:gd name="T74" fmla="*/ 17 w 447"/>
                    <a:gd name="T75" fmla="*/ 283 h 456"/>
                    <a:gd name="T76" fmla="*/ 12 w 447"/>
                    <a:gd name="T77" fmla="*/ 250 h 456"/>
                    <a:gd name="T78" fmla="*/ 12 w 447"/>
                    <a:gd name="T79" fmla="*/ 25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47" h="456">
                      <a:moveTo>
                        <a:pt x="12" y="250"/>
                      </a:moveTo>
                      <a:lnTo>
                        <a:pt x="45" y="217"/>
                      </a:lnTo>
                      <a:lnTo>
                        <a:pt x="55" y="229"/>
                      </a:lnTo>
                      <a:lnTo>
                        <a:pt x="55" y="217"/>
                      </a:lnTo>
                      <a:lnTo>
                        <a:pt x="83" y="200"/>
                      </a:lnTo>
                      <a:lnTo>
                        <a:pt x="104" y="184"/>
                      </a:lnTo>
                      <a:lnTo>
                        <a:pt x="125" y="184"/>
                      </a:lnTo>
                      <a:lnTo>
                        <a:pt x="156" y="144"/>
                      </a:lnTo>
                      <a:lnTo>
                        <a:pt x="163" y="122"/>
                      </a:lnTo>
                      <a:lnTo>
                        <a:pt x="189" y="106"/>
                      </a:lnTo>
                      <a:lnTo>
                        <a:pt x="210" y="139"/>
                      </a:lnTo>
                      <a:lnTo>
                        <a:pt x="270" y="144"/>
                      </a:lnTo>
                      <a:lnTo>
                        <a:pt x="281" y="122"/>
                      </a:lnTo>
                      <a:lnTo>
                        <a:pt x="270" y="106"/>
                      </a:lnTo>
                      <a:lnTo>
                        <a:pt x="265" y="89"/>
                      </a:lnTo>
                      <a:lnTo>
                        <a:pt x="324" y="89"/>
                      </a:lnTo>
                      <a:lnTo>
                        <a:pt x="350" y="66"/>
                      </a:lnTo>
                      <a:lnTo>
                        <a:pt x="357" y="49"/>
                      </a:lnTo>
                      <a:lnTo>
                        <a:pt x="366" y="56"/>
                      </a:lnTo>
                      <a:lnTo>
                        <a:pt x="378" y="49"/>
                      </a:lnTo>
                      <a:lnTo>
                        <a:pt x="395" y="0"/>
                      </a:lnTo>
                      <a:lnTo>
                        <a:pt x="421" y="11"/>
                      </a:lnTo>
                      <a:lnTo>
                        <a:pt x="421" y="28"/>
                      </a:lnTo>
                      <a:lnTo>
                        <a:pt x="442" y="45"/>
                      </a:lnTo>
                      <a:lnTo>
                        <a:pt x="442" y="49"/>
                      </a:lnTo>
                      <a:lnTo>
                        <a:pt x="447" y="66"/>
                      </a:lnTo>
                      <a:lnTo>
                        <a:pt x="433" y="56"/>
                      </a:lnTo>
                      <a:lnTo>
                        <a:pt x="378" y="122"/>
                      </a:lnTo>
                      <a:lnTo>
                        <a:pt x="378" y="139"/>
                      </a:lnTo>
                      <a:lnTo>
                        <a:pt x="388" y="144"/>
                      </a:lnTo>
                      <a:lnTo>
                        <a:pt x="378" y="193"/>
                      </a:lnTo>
                      <a:lnTo>
                        <a:pt x="350" y="200"/>
                      </a:lnTo>
                      <a:lnTo>
                        <a:pt x="340" y="217"/>
                      </a:lnTo>
                      <a:lnTo>
                        <a:pt x="303" y="238"/>
                      </a:lnTo>
                      <a:lnTo>
                        <a:pt x="303" y="250"/>
                      </a:lnTo>
                      <a:lnTo>
                        <a:pt x="286" y="255"/>
                      </a:lnTo>
                      <a:lnTo>
                        <a:pt x="265" y="255"/>
                      </a:lnTo>
                      <a:lnTo>
                        <a:pt x="260" y="271"/>
                      </a:lnTo>
                      <a:lnTo>
                        <a:pt x="227" y="283"/>
                      </a:lnTo>
                      <a:lnTo>
                        <a:pt x="232" y="323"/>
                      </a:lnTo>
                      <a:lnTo>
                        <a:pt x="227" y="311"/>
                      </a:lnTo>
                      <a:lnTo>
                        <a:pt x="218" y="311"/>
                      </a:lnTo>
                      <a:lnTo>
                        <a:pt x="218" y="328"/>
                      </a:lnTo>
                      <a:lnTo>
                        <a:pt x="248" y="340"/>
                      </a:lnTo>
                      <a:lnTo>
                        <a:pt x="286" y="378"/>
                      </a:lnTo>
                      <a:lnTo>
                        <a:pt x="281" y="394"/>
                      </a:lnTo>
                      <a:lnTo>
                        <a:pt x="265" y="399"/>
                      </a:lnTo>
                      <a:lnTo>
                        <a:pt x="206" y="406"/>
                      </a:lnTo>
                      <a:lnTo>
                        <a:pt x="173" y="439"/>
                      </a:lnTo>
                      <a:lnTo>
                        <a:pt x="163" y="451"/>
                      </a:lnTo>
                      <a:lnTo>
                        <a:pt x="151" y="439"/>
                      </a:lnTo>
                      <a:lnTo>
                        <a:pt x="135" y="451"/>
                      </a:lnTo>
                      <a:lnTo>
                        <a:pt x="135" y="456"/>
                      </a:lnTo>
                      <a:lnTo>
                        <a:pt x="121" y="439"/>
                      </a:lnTo>
                      <a:lnTo>
                        <a:pt x="121" y="451"/>
                      </a:lnTo>
                      <a:lnTo>
                        <a:pt x="109" y="432"/>
                      </a:lnTo>
                      <a:lnTo>
                        <a:pt x="97" y="422"/>
                      </a:lnTo>
                      <a:lnTo>
                        <a:pt x="104" y="439"/>
                      </a:lnTo>
                      <a:lnTo>
                        <a:pt x="71" y="456"/>
                      </a:lnTo>
                      <a:lnTo>
                        <a:pt x="88" y="439"/>
                      </a:lnTo>
                      <a:lnTo>
                        <a:pt x="50" y="432"/>
                      </a:lnTo>
                      <a:lnTo>
                        <a:pt x="71" y="422"/>
                      </a:lnTo>
                      <a:lnTo>
                        <a:pt x="29" y="415"/>
                      </a:lnTo>
                      <a:lnTo>
                        <a:pt x="45" y="406"/>
                      </a:lnTo>
                      <a:lnTo>
                        <a:pt x="50" y="382"/>
                      </a:lnTo>
                      <a:lnTo>
                        <a:pt x="83" y="366"/>
                      </a:lnTo>
                      <a:lnTo>
                        <a:pt x="97" y="378"/>
                      </a:lnTo>
                      <a:lnTo>
                        <a:pt x="66" y="361"/>
                      </a:lnTo>
                      <a:lnTo>
                        <a:pt x="83" y="323"/>
                      </a:lnTo>
                      <a:lnTo>
                        <a:pt x="71" y="304"/>
                      </a:lnTo>
                      <a:lnTo>
                        <a:pt x="83" y="295"/>
                      </a:lnTo>
                      <a:lnTo>
                        <a:pt x="55" y="295"/>
                      </a:lnTo>
                      <a:lnTo>
                        <a:pt x="33" y="283"/>
                      </a:lnTo>
                      <a:lnTo>
                        <a:pt x="33" y="288"/>
                      </a:lnTo>
                      <a:lnTo>
                        <a:pt x="29" y="295"/>
                      </a:lnTo>
                      <a:lnTo>
                        <a:pt x="17" y="283"/>
                      </a:lnTo>
                      <a:lnTo>
                        <a:pt x="0" y="267"/>
                      </a:lnTo>
                      <a:lnTo>
                        <a:pt x="12" y="250"/>
                      </a:lnTo>
                      <a:lnTo>
                        <a:pt x="12" y="250"/>
                      </a:lnTo>
                      <a:lnTo>
                        <a:pt x="12" y="25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5" name="Freeform 488">
                  <a:extLst>
                    <a:ext uri="{FF2B5EF4-FFF2-40B4-BE49-F238E27FC236}">
                      <a16:creationId xmlns:a16="http://schemas.microsoft.com/office/drawing/2014/main" id="{67E2DAB0-74C5-4080-B606-3CF4D33E2D99}"/>
                    </a:ext>
                  </a:extLst>
                </p:cNvPr>
                <p:cNvSpPr>
                  <a:spLocks noEditPoints="1"/>
                </p:cNvSpPr>
                <p:nvPr/>
              </p:nvSpPr>
              <p:spPr bwMode="gray">
                <a:xfrm>
                  <a:off x="8069103" y="2224692"/>
                  <a:ext cx="1178611" cy="566933"/>
                </a:xfrm>
                <a:custGeom>
                  <a:avLst/>
                  <a:gdLst>
                    <a:gd name="T0" fmla="*/ 456 w 2863"/>
                    <a:gd name="T1" fmla="*/ 1240 h 1377"/>
                    <a:gd name="T2" fmla="*/ 364 w 2863"/>
                    <a:gd name="T3" fmla="*/ 1155 h 1377"/>
                    <a:gd name="T4" fmla="*/ 267 w 2863"/>
                    <a:gd name="T5" fmla="*/ 1015 h 1377"/>
                    <a:gd name="T6" fmla="*/ 309 w 2863"/>
                    <a:gd name="T7" fmla="*/ 994 h 1377"/>
                    <a:gd name="T8" fmla="*/ 465 w 2863"/>
                    <a:gd name="T9" fmla="*/ 878 h 1377"/>
                    <a:gd name="T10" fmla="*/ 394 w 2863"/>
                    <a:gd name="T11" fmla="*/ 829 h 1377"/>
                    <a:gd name="T12" fmla="*/ 196 w 2863"/>
                    <a:gd name="T13" fmla="*/ 850 h 1377"/>
                    <a:gd name="T14" fmla="*/ 158 w 2863"/>
                    <a:gd name="T15" fmla="*/ 834 h 1377"/>
                    <a:gd name="T16" fmla="*/ 0 w 2863"/>
                    <a:gd name="T17" fmla="*/ 678 h 1377"/>
                    <a:gd name="T18" fmla="*/ 71 w 2863"/>
                    <a:gd name="T19" fmla="*/ 493 h 1377"/>
                    <a:gd name="T20" fmla="*/ 158 w 2863"/>
                    <a:gd name="T21" fmla="*/ 510 h 1377"/>
                    <a:gd name="T22" fmla="*/ 272 w 2863"/>
                    <a:gd name="T23" fmla="*/ 399 h 1377"/>
                    <a:gd name="T24" fmla="*/ 335 w 2863"/>
                    <a:gd name="T25" fmla="*/ 382 h 1377"/>
                    <a:gd name="T26" fmla="*/ 411 w 2863"/>
                    <a:gd name="T27" fmla="*/ 366 h 1377"/>
                    <a:gd name="T28" fmla="*/ 562 w 2863"/>
                    <a:gd name="T29" fmla="*/ 456 h 1377"/>
                    <a:gd name="T30" fmla="*/ 574 w 2863"/>
                    <a:gd name="T31" fmla="*/ 434 h 1377"/>
                    <a:gd name="T32" fmla="*/ 713 w 2863"/>
                    <a:gd name="T33" fmla="*/ 434 h 1377"/>
                    <a:gd name="T34" fmla="*/ 827 w 2863"/>
                    <a:gd name="T35" fmla="*/ 423 h 1377"/>
                    <a:gd name="T36" fmla="*/ 914 w 2863"/>
                    <a:gd name="T37" fmla="*/ 489 h 1377"/>
                    <a:gd name="T38" fmla="*/ 1061 w 2863"/>
                    <a:gd name="T39" fmla="*/ 418 h 1377"/>
                    <a:gd name="T40" fmla="*/ 952 w 2863"/>
                    <a:gd name="T41" fmla="*/ 349 h 1377"/>
                    <a:gd name="T42" fmla="*/ 1006 w 2863"/>
                    <a:gd name="T43" fmla="*/ 278 h 1377"/>
                    <a:gd name="T44" fmla="*/ 1028 w 2863"/>
                    <a:gd name="T45" fmla="*/ 217 h 1377"/>
                    <a:gd name="T46" fmla="*/ 1037 w 2863"/>
                    <a:gd name="T47" fmla="*/ 167 h 1377"/>
                    <a:gd name="T48" fmla="*/ 1129 w 2863"/>
                    <a:gd name="T49" fmla="*/ 160 h 1377"/>
                    <a:gd name="T50" fmla="*/ 1226 w 2863"/>
                    <a:gd name="T51" fmla="*/ 111 h 1377"/>
                    <a:gd name="T52" fmla="*/ 1368 w 2863"/>
                    <a:gd name="T53" fmla="*/ 89 h 1377"/>
                    <a:gd name="T54" fmla="*/ 1561 w 2863"/>
                    <a:gd name="T55" fmla="*/ 12 h 1377"/>
                    <a:gd name="T56" fmla="*/ 1687 w 2863"/>
                    <a:gd name="T57" fmla="*/ 16 h 1377"/>
                    <a:gd name="T58" fmla="*/ 1729 w 2863"/>
                    <a:gd name="T59" fmla="*/ 111 h 1377"/>
                    <a:gd name="T60" fmla="*/ 1795 w 2863"/>
                    <a:gd name="T61" fmla="*/ 106 h 1377"/>
                    <a:gd name="T62" fmla="*/ 1838 w 2863"/>
                    <a:gd name="T63" fmla="*/ 156 h 1377"/>
                    <a:gd name="T64" fmla="*/ 1918 w 2863"/>
                    <a:gd name="T65" fmla="*/ 139 h 1377"/>
                    <a:gd name="T66" fmla="*/ 1946 w 2863"/>
                    <a:gd name="T67" fmla="*/ 184 h 1377"/>
                    <a:gd name="T68" fmla="*/ 2027 w 2863"/>
                    <a:gd name="T69" fmla="*/ 139 h 1377"/>
                    <a:gd name="T70" fmla="*/ 2119 w 2863"/>
                    <a:gd name="T71" fmla="*/ 127 h 1377"/>
                    <a:gd name="T72" fmla="*/ 2376 w 2863"/>
                    <a:gd name="T73" fmla="*/ 423 h 1377"/>
                    <a:gd name="T74" fmla="*/ 2523 w 2863"/>
                    <a:gd name="T75" fmla="*/ 460 h 1377"/>
                    <a:gd name="T76" fmla="*/ 2702 w 2863"/>
                    <a:gd name="T77" fmla="*/ 534 h 1377"/>
                    <a:gd name="T78" fmla="*/ 2825 w 2863"/>
                    <a:gd name="T79" fmla="*/ 550 h 1377"/>
                    <a:gd name="T80" fmla="*/ 2837 w 2863"/>
                    <a:gd name="T81" fmla="*/ 612 h 1377"/>
                    <a:gd name="T82" fmla="*/ 2750 w 2863"/>
                    <a:gd name="T83" fmla="*/ 777 h 1377"/>
                    <a:gd name="T84" fmla="*/ 2627 w 2863"/>
                    <a:gd name="T85" fmla="*/ 810 h 1377"/>
                    <a:gd name="T86" fmla="*/ 2485 w 2863"/>
                    <a:gd name="T87" fmla="*/ 978 h 1377"/>
                    <a:gd name="T88" fmla="*/ 2376 w 2863"/>
                    <a:gd name="T89" fmla="*/ 1027 h 1377"/>
                    <a:gd name="T90" fmla="*/ 2362 w 2863"/>
                    <a:gd name="T91" fmla="*/ 1200 h 1377"/>
                    <a:gd name="T92" fmla="*/ 2157 w 2863"/>
                    <a:gd name="T93" fmla="*/ 1178 h 1377"/>
                    <a:gd name="T94" fmla="*/ 1902 w 2863"/>
                    <a:gd name="T95" fmla="*/ 1162 h 1377"/>
                    <a:gd name="T96" fmla="*/ 1713 w 2863"/>
                    <a:gd name="T97" fmla="*/ 1233 h 1377"/>
                    <a:gd name="T98" fmla="*/ 1583 w 2863"/>
                    <a:gd name="T99" fmla="*/ 1323 h 1377"/>
                    <a:gd name="T100" fmla="*/ 1422 w 2863"/>
                    <a:gd name="T101" fmla="*/ 1327 h 1377"/>
                    <a:gd name="T102" fmla="*/ 1292 w 2863"/>
                    <a:gd name="T103" fmla="*/ 1105 h 1377"/>
                    <a:gd name="T104" fmla="*/ 666 w 2863"/>
                    <a:gd name="T105" fmla="*/ 1311 h 1377"/>
                    <a:gd name="T106" fmla="*/ 456 w 2863"/>
                    <a:gd name="T107" fmla="*/ 883 h 1377"/>
                    <a:gd name="T108" fmla="*/ 267 w 2863"/>
                    <a:gd name="T109" fmla="*/ 994 h 1377"/>
                    <a:gd name="T110" fmla="*/ 255 w 2863"/>
                    <a:gd name="T111" fmla="*/ 999 h 1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63" h="1377">
                      <a:moveTo>
                        <a:pt x="666" y="1311"/>
                      </a:moveTo>
                      <a:lnTo>
                        <a:pt x="628" y="1323"/>
                      </a:lnTo>
                      <a:lnTo>
                        <a:pt x="595" y="1273"/>
                      </a:lnTo>
                      <a:lnTo>
                        <a:pt x="595" y="1266"/>
                      </a:lnTo>
                      <a:lnTo>
                        <a:pt x="541" y="1221"/>
                      </a:lnTo>
                      <a:lnTo>
                        <a:pt x="487" y="1233"/>
                      </a:lnTo>
                      <a:lnTo>
                        <a:pt x="456" y="1240"/>
                      </a:lnTo>
                      <a:lnTo>
                        <a:pt x="418" y="1282"/>
                      </a:lnTo>
                      <a:lnTo>
                        <a:pt x="418" y="1266"/>
                      </a:lnTo>
                      <a:lnTo>
                        <a:pt x="411" y="1249"/>
                      </a:lnTo>
                      <a:lnTo>
                        <a:pt x="432" y="1195"/>
                      </a:lnTo>
                      <a:lnTo>
                        <a:pt x="394" y="1178"/>
                      </a:lnTo>
                      <a:lnTo>
                        <a:pt x="380" y="1183"/>
                      </a:lnTo>
                      <a:lnTo>
                        <a:pt x="364" y="1155"/>
                      </a:lnTo>
                      <a:lnTo>
                        <a:pt x="335" y="1155"/>
                      </a:lnTo>
                      <a:lnTo>
                        <a:pt x="335" y="1129"/>
                      </a:lnTo>
                      <a:lnTo>
                        <a:pt x="319" y="1100"/>
                      </a:lnTo>
                      <a:lnTo>
                        <a:pt x="305" y="1067"/>
                      </a:lnTo>
                      <a:lnTo>
                        <a:pt x="267" y="1051"/>
                      </a:lnTo>
                      <a:lnTo>
                        <a:pt x="267" y="1027"/>
                      </a:lnTo>
                      <a:lnTo>
                        <a:pt x="267" y="1015"/>
                      </a:lnTo>
                      <a:lnTo>
                        <a:pt x="305" y="1027"/>
                      </a:lnTo>
                      <a:lnTo>
                        <a:pt x="326" y="1034"/>
                      </a:lnTo>
                      <a:lnTo>
                        <a:pt x="357" y="1034"/>
                      </a:lnTo>
                      <a:lnTo>
                        <a:pt x="335" y="1027"/>
                      </a:lnTo>
                      <a:lnTo>
                        <a:pt x="335" y="1015"/>
                      </a:lnTo>
                      <a:lnTo>
                        <a:pt x="309" y="999"/>
                      </a:lnTo>
                      <a:lnTo>
                        <a:pt x="309" y="994"/>
                      </a:lnTo>
                      <a:lnTo>
                        <a:pt x="335" y="978"/>
                      </a:lnTo>
                      <a:lnTo>
                        <a:pt x="343" y="956"/>
                      </a:lnTo>
                      <a:lnTo>
                        <a:pt x="418" y="956"/>
                      </a:lnTo>
                      <a:lnTo>
                        <a:pt x="470" y="961"/>
                      </a:lnTo>
                      <a:lnTo>
                        <a:pt x="432" y="940"/>
                      </a:lnTo>
                      <a:lnTo>
                        <a:pt x="465" y="900"/>
                      </a:lnTo>
                      <a:lnTo>
                        <a:pt x="465" y="878"/>
                      </a:lnTo>
                      <a:lnTo>
                        <a:pt x="456" y="862"/>
                      </a:lnTo>
                      <a:lnTo>
                        <a:pt x="470" y="845"/>
                      </a:lnTo>
                      <a:lnTo>
                        <a:pt x="470" y="834"/>
                      </a:lnTo>
                      <a:lnTo>
                        <a:pt x="456" y="822"/>
                      </a:lnTo>
                      <a:lnTo>
                        <a:pt x="449" y="810"/>
                      </a:lnTo>
                      <a:lnTo>
                        <a:pt x="418" y="810"/>
                      </a:lnTo>
                      <a:lnTo>
                        <a:pt x="394" y="829"/>
                      </a:lnTo>
                      <a:lnTo>
                        <a:pt x="373" y="822"/>
                      </a:lnTo>
                      <a:lnTo>
                        <a:pt x="357" y="805"/>
                      </a:lnTo>
                      <a:lnTo>
                        <a:pt x="326" y="805"/>
                      </a:lnTo>
                      <a:lnTo>
                        <a:pt x="305" y="822"/>
                      </a:lnTo>
                      <a:lnTo>
                        <a:pt x="272" y="822"/>
                      </a:lnTo>
                      <a:lnTo>
                        <a:pt x="234" y="850"/>
                      </a:lnTo>
                      <a:lnTo>
                        <a:pt x="196" y="850"/>
                      </a:lnTo>
                      <a:lnTo>
                        <a:pt x="201" y="867"/>
                      </a:lnTo>
                      <a:lnTo>
                        <a:pt x="196" y="862"/>
                      </a:lnTo>
                      <a:lnTo>
                        <a:pt x="184" y="867"/>
                      </a:lnTo>
                      <a:lnTo>
                        <a:pt x="142" y="850"/>
                      </a:lnTo>
                      <a:lnTo>
                        <a:pt x="142" y="834"/>
                      </a:lnTo>
                      <a:lnTo>
                        <a:pt x="158" y="834"/>
                      </a:lnTo>
                      <a:lnTo>
                        <a:pt x="158" y="834"/>
                      </a:lnTo>
                      <a:lnTo>
                        <a:pt x="180" y="829"/>
                      </a:lnTo>
                      <a:lnTo>
                        <a:pt x="120" y="751"/>
                      </a:lnTo>
                      <a:lnTo>
                        <a:pt x="66" y="734"/>
                      </a:lnTo>
                      <a:lnTo>
                        <a:pt x="66" y="751"/>
                      </a:lnTo>
                      <a:lnTo>
                        <a:pt x="50" y="734"/>
                      </a:lnTo>
                      <a:lnTo>
                        <a:pt x="38" y="694"/>
                      </a:lnTo>
                      <a:lnTo>
                        <a:pt x="0" y="678"/>
                      </a:lnTo>
                      <a:lnTo>
                        <a:pt x="17" y="628"/>
                      </a:lnTo>
                      <a:lnTo>
                        <a:pt x="38" y="612"/>
                      </a:lnTo>
                      <a:lnTo>
                        <a:pt x="17" y="600"/>
                      </a:lnTo>
                      <a:lnTo>
                        <a:pt x="33" y="550"/>
                      </a:lnTo>
                      <a:lnTo>
                        <a:pt x="54" y="529"/>
                      </a:lnTo>
                      <a:lnTo>
                        <a:pt x="54" y="501"/>
                      </a:lnTo>
                      <a:lnTo>
                        <a:pt x="71" y="493"/>
                      </a:lnTo>
                      <a:lnTo>
                        <a:pt x="76" y="489"/>
                      </a:lnTo>
                      <a:lnTo>
                        <a:pt x="104" y="510"/>
                      </a:lnTo>
                      <a:lnTo>
                        <a:pt x="125" y="545"/>
                      </a:lnTo>
                      <a:lnTo>
                        <a:pt x="130" y="550"/>
                      </a:lnTo>
                      <a:lnTo>
                        <a:pt x="163" y="545"/>
                      </a:lnTo>
                      <a:lnTo>
                        <a:pt x="175" y="529"/>
                      </a:lnTo>
                      <a:lnTo>
                        <a:pt x="158" y="510"/>
                      </a:lnTo>
                      <a:lnTo>
                        <a:pt x="158" y="477"/>
                      </a:lnTo>
                      <a:lnTo>
                        <a:pt x="201" y="456"/>
                      </a:lnTo>
                      <a:lnTo>
                        <a:pt x="201" y="439"/>
                      </a:lnTo>
                      <a:lnTo>
                        <a:pt x="213" y="423"/>
                      </a:lnTo>
                      <a:lnTo>
                        <a:pt x="234" y="434"/>
                      </a:lnTo>
                      <a:lnTo>
                        <a:pt x="272" y="406"/>
                      </a:lnTo>
                      <a:lnTo>
                        <a:pt x="272" y="399"/>
                      </a:lnTo>
                      <a:lnTo>
                        <a:pt x="288" y="389"/>
                      </a:lnTo>
                      <a:lnTo>
                        <a:pt x="288" y="378"/>
                      </a:lnTo>
                      <a:lnTo>
                        <a:pt x="305" y="382"/>
                      </a:lnTo>
                      <a:lnTo>
                        <a:pt x="305" y="366"/>
                      </a:lnTo>
                      <a:lnTo>
                        <a:pt x="343" y="378"/>
                      </a:lnTo>
                      <a:lnTo>
                        <a:pt x="343" y="382"/>
                      </a:lnTo>
                      <a:lnTo>
                        <a:pt x="335" y="382"/>
                      </a:lnTo>
                      <a:lnTo>
                        <a:pt x="335" y="389"/>
                      </a:lnTo>
                      <a:lnTo>
                        <a:pt x="364" y="389"/>
                      </a:lnTo>
                      <a:lnTo>
                        <a:pt x="373" y="389"/>
                      </a:lnTo>
                      <a:lnTo>
                        <a:pt x="373" y="382"/>
                      </a:lnTo>
                      <a:lnTo>
                        <a:pt x="380" y="378"/>
                      </a:lnTo>
                      <a:lnTo>
                        <a:pt x="394" y="378"/>
                      </a:lnTo>
                      <a:lnTo>
                        <a:pt x="411" y="366"/>
                      </a:lnTo>
                      <a:lnTo>
                        <a:pt x="428" y="389"/>
                      </a:lnTo>
                      <a:lnTo>
                        <a:pt x="487" y="389"/>
                      </a:lnTo>
                      <a:lnTo>
                        <a:pt x="503" y="399"/>
                      </a:lnTo>
                      <a:lnTo>
                        <a:pt x="503" y="418"/>
                      </a:lnTo>
                      <a:lnTo>
                        <a:pt x="524" y="423"/>
                      </a:lnTo>
                      <a:lnTo>
                        <a:pt x="553" y="444"/>
                      </a:lnTo>
                      <a:lnTo>
                        <a:pt x="562" y="456"/>
                      </a:lnTo>
                      <a:lnTo>
                        <a:pt x="557" y="472"/>
                      </a:lnTo>
                      <a:lnTo>
                        <a:pt x="562" y="489"/>
                      </a:lnTo>
                      <a:lnTo>
                        <a:pt x="574" y="477"/>
                      </a:lnTo>
                      <a:lnTo>
                        <a:pt x="574" y="444"/>
                      </a:lnTo>
                      <a:lnTo>
                        <a:pt x="562" y="444"/>
                      </a:lnTo>
                      <a:lnTo>
                        <a:pt x="562" y="439"/>
                      </a:lnTo>
                      <a:lnTo>
                        <a:pt x="574" y="434"/>
                      </a:lnTo>
                      <a:lnTo>
                        <a:pt x="645" y="489"/>
                      </a:lnTo>
                      <a:lnTo>
                        <a:pt x="671" y="460"/>
                      </a:lnTo>
                      <a:lnTo>
                        <a:pt x="683" y="444"/>
                      </a:lnTo>
                      <a:lnTo>
                        <a:pt x="687" y="444"/>
                      </a:lnTo>
                      <a:lnTo>
                        <a:pt x="704" y="434"/>
                      </a:lnTo>
                      <a:lnTo>
                        <a:pt x="720" y="439"/>
                      </a:lnTo>
                      <a:lnTo>
                        <a:pt x="713" y="434"/>
                      </a:lnTo>
                      <a:lnTo>
                        <a:pt x="720" y="434"/>
                      </a:lnTo>
                      <a:lnTo>
                        <a:pt x="742" y="434"/>
                      </a:lnTo>
                      <a:lnTo>
                        <a:pt x="772" y="456"/>
                      </a:lnTo>
                      <a:lnTo>
                        <a:pt x="789" y="444"/>
                      </a:lnTo>
                      <a:lnTo>
                        <a:pt x="789" y="434"/>
                      </a:lnTo>
                      <a:lnTo>
                        <a:pt x="822" y="434"/>
                      </a:lnTo>
                      <a:lnTo>
                        <a:pt x="827" y="423"/>
                      </a:lnTo>
                      <a:lnTo>
                        <a:pt x="848" y="434"/>
                      </a:lnTo>
                      <a:lnTo>
                        <a:pt x="843" y="444"/>
                      </a:lnTo>
                      <a:lnTo>
                        <a:pt x="848" y="456"/>
                      </a:lnTo>
                      <a:lnTo>
                        <a:pt x="876" y="472"/>
                      </a:lnTo>
                      <a:lnTo>
                        <a:pt x="914" y="472"/>
                      </a:lnTo>
                      <a:lnTo>
                        <a:pt x="919" y="477"/>
                      </a:lnTo>
                      <a:lnTo>
                        <a:pt x="914" y="489"/>
                      </a:lnTo>
                      <a:lnTo>
                        <a:pt x="914" y="489"/>
                      </a:lnTo>
                      <a:lnTo>
                        <a:pt x="935" y="477"/>
                      </a:lnTo>
                      <a:lnTo>
                        <a:pt x="952" y="456"/>
                      </a:lnTo>
                      <a:lnTo>
                        <a:pt x="968" y="472"/>
                      </a:lnTo>
                      <a:lnTo>
                        <a:pt x="994" y="472"/>
                      </a:lnTo>
                      <a:lnTo>
                        <a:pt x="1044" y="460"/>
                      </a:lnTo>
                      <a:lnTo>
                        <a:pt x="1061" y="418"/>
                      </a:lnTo>
                      <a:lnTo>
                        <a:pt x="1065" y="418"/>
                      </a:lnTo>
                      <a:lnTo>
                        <a:pt x="1049" y="399"/>
                      </a:lnTo>
                      <a:lnTo>
                        <a:pt x="1011" y="389"/>
                      </a:lnTo>
                      <a:lnTo>
                        <a:pt x="1011" y="382"/>
                      </a:lnTo>
                      <a:lnTo>
                        <a:pt x="973" y="378"/>
                      </a:lnTo>
                      <a:lnTo>
                        <a:pt x="985" y="361"/>
                      </a:lnTo>
                      <a:lnTo>
                        <a:pt x="952" y="349"/>
                      </a:lnTo>
                      <a:lnTo>
                        <a:pt x="940" y="345"/>
                      </a:lnTo>
                      <a:lnTo>
                        <a:pt x="985" y="328"/>
                      </a:lnTo>
                      <a:lnTo>
                        <a:pt x="994" y="328"/>
                      </a:lnTo>
                      <a:lnTo>
                        <a:pt x="1023" y="312"/>
                      </a:lnTo>
                      <a:lnTo>
                        <a:pt x="1011" y="295"/>
                      </a:lnTo>
                      <a:lnTo>
                        <a:pt x="1006" y="288"/>
                      </a:lnTo>
                      <a:lnTo>
                        <a:pt x="1006" y="278"/>
                      </a:lnTo>
                      <a:lnTo>
                        <a:pt x="994" y="278"/>
                      </a:lnTo>
                      <a:lnTo>
                        <a:pt x="1023" y="250"/>
                      </a:lnTo>
                      <a:lnTo>
                        <a:pt x="1049" y="238"/>
                      </a:lnTo>
                      <a:lnTo>
                        <a:pt x="1082" y="250"/>
                      </a:lnTo>
                      <a:lnTo>
                        <a:pt x="1098" y="250"/>
                      </a:lnTo>
                      <a:lnTo>
                        <a:pt x="1098" y="234"/>
                      </a:lnTo>
                      <a:lnTo>
                        <a:pt x="1028" y="217"/>
                      </a:lnTo>
                      <a:lnTo>
                        <a:pt x="1037" y="193"/>
                      </a:lnTo>
                      <a:lnTo>
                        <a:pt x="1044" y="201"/>
                      </a:lnTo>
                      <a:lnTo>
                        <a:pt x="1061" y="193"/>
                      </a:lnTo>
                      <a:lnTo>
                        <a:pt x="1049" y="184"/>
                      </a:lnTo>
                      <a:lnTo>
                        <a:pt x="1011" y="184"/>
                      </a:lnTo>
                      <a:lnTo>
                        <a:pt x="1023" y="184"/>
                      </a:lnTo>
                      <a:lnTo>
                        <a:pt x="1037" y="167"/>
                      </a:lnTo>
                      <a:lnTo>
                        <a:pt x="1023" y="160"/>
                      </a:lnTo>
                      <a:lnTo>
                        <a:pt x="1023" y="156"/>
                      </a:lnTo>
                      <a:lnTo>
                        <a:pt x="1044" y="139"/>
                      </a:lnTo>
                      <a:lnTo>
                        <a:pt x="1091" y="156"/>
                      </a:lnTo>
                      <a:lnTo>
                        <a:pt x="1091" y="144"/>
                      </a:lnTo>
                      <a:lnTo>
                        <a:pt x="1113" y="144"/>
                      </a:lnTo>
                      <a:lnTo>
                        <a:pt x="1129" y="160"/>
                      </a:lnTo>
                      <a:lnTo>
                        <a:pt x="1129" y="144"/>
                      </a:lnTo>
                      <a:lnTo>
                        <a:pt x="1167" y="139"/>
                      </a:lnTo>
                      <a:lnTo>
                        <a:pt x="1167" y="127"/>
                      </a:lnTo>
                      <a:lnTo>
                        <a:pt x="1205" y="123"/>
                      </a:lnTo>
                      <a:lnTo>
                        <a:pt x="1221" y="127"/>
                      </a:lnTo>
                      <a:lnTo>
                        <a:pt x="1226" y="123"/>
                      </a:lnTo>
                      <a:lnTo>
                        <a:pt x="1226" y="111"/>
                      </a:lnTo>
                      <a:lnTo>
                        <a:pt x="1292" y="106"/>
                      </a:lnTo>
                      <a:lnTo>
                        <a:pt x="1313" y="111"/>
                      </a:lnTo>
                      <a:lnTo>
                        <a:pt x="1313" y="99"/>
                      </a:lnTo>
                      <a:lnTo>
                        <a:pt x="1330" y="82"/>
                      </a:lnTo>
                      <a:lnTo>
                        <a:pt x="1351" y="89"/>
                      </a:lnTo>
                      <a:lnTo>
                        <a:pt x="1368" y="73"/>
                      </a:lnTo>
                      <a:lnTo>
                        <a:pt x="1368" y="89"/>
                      </a:lnTo>
                      <a:lnTo>
                        <a:pt x="1476" y="66"/>
                      </a:lnTo>
                      <a:lnTo>
                        <a:pt x="1507" y="49"/>
                      </a:lnTo>
                      <a:lnTo>
                        <a:pt x="1524" y="49"/>
                      </a:lnTo>
                      <a:lnTo>
                        <a:pt x="1528" y="45"/>
                      </a:lnTo>
                      <a:lnTo>
                        <a:pt x="1524" y="28"/>
                      </a:lnTo>
                      <a:lnTo>
                        <a:pt x="1552" y="28"/>
                      </a:lnTo>
                      <a:lnTo>
                        <a:pt x="1561" y="12"/>
                      </a:lnTo>
                      <a:lnTo>
                        <a:pt x="1578" y="16"/>
                      </a:lnTo>
                      <a:lnTo>
                        <a:pt x="1578" y="0"/>
                      </a:lnTo>
                      <a:lnTo>
                        <a:pt x="1594" y="16"/>
                      </a:lnTo>
                      <a:lnTo>
                        <a:pt x="1599" y="12"/>
                      </a:lnTo>
                      <a:lnTo>
                        <a:pt x="1620" y="12"/>
                      </a:lnTo>
                      <a:lnTo>
                        <a:pt x="1670" y="33"/>
                      </a:lnTo>
                      <a:lnTo>
                        <a:pt x="1687" y="16"/>
                      </a:lnTo>
                      <a:lnTo>
                        <a:pt x="1708" y="16"/>
                      </a:lnTo>
                      <a:lnTo>
                        <a:pt x="1708" y="16"/>
                      </a:lnTo>
                      <a:lnTo>
                        <a:pt x="1713" y="45"/>
                      </a:lnTo>
                      <a:lnTo>
                        <a:pt x="1724" y="66"/>
                      </a:lnTo>
                      <a:lnTo>
                        <a:pt x="1741" y="82"/>
                      </a:lnTo>
                      <a:lnTo>
                        <a:pt x="1729" y="89"/>
                      </a:lnTo>
                      <a:lnTo>
                        <a:pt x="1729" y="111"/>
                      </a:lnTo>
                      <a:lnTo>
                        <a:pt x="1713" y="111"/>
                      </a:lnTo>
                      <a:lnTo>
                        <a:pt x="1729" y="139"/>
                      </a:lnTo>
                      <a:lnTo>
                        <a:pt x="1746" y="127"/>
                      </a:lnTo>
                      <a:lnTo>
                        <a:pt x="1762" y="139"/>
                      </a:lnTo>
                      <a:lnTo>
                        <a:pt x="1767" y="123"/>
                      </a:lnTo>
                      <a:lnTo>
                        <a:pt x="1800" y="139"/>
                      </a:lnTo>
                      <a:lnTo>
                        <a:pt x="1795" y="106"/>
                      </a:lnTo>
                      <a:lnTo>
                        <a:pt x="1800" y="111"/>
                      </a:lnTo>
                      <a:lnTo>
                        <a:pt x="1817" y="123"/>
                      </a:lnTo>
                      <a:lnTo>
                        <a:pt x="1809" y="127"/>
                      </a:lnTo>
                      <a:lnTo>
                        <a:pt x="1821" y="127"/>
                      </a:lnTo>
                      <a:lnTo>
                        <a:pt x="1817" y="156"/>
                      </a:lnTo>
                      <a:lnTo>
                        <a:pt x="1821" y="156"/>
                      </a:lnTo>
                      <a:lnTo>
                        <a:pt x="1838" y="156"/>
                      </a:lnTo>
                      <a:lnTo>
                        <a:pt x="1838" y="139"/>
                      </a:lnTo>
                      <a:lnTo>
                        <a:pt x="1821" y="144"/>
                      </a:lnTo>
                      <a:lnTo>
                        <a:pt x="1833" y="127"/>
                      </a:lnTo>
                      <a:lnTo>
                        <a:pt x="1854" y="139"/>
                      </a:lnTo>
                      <a:lnTo>
                        <a:pt x="1864" y="144"/>
                      </a:lnTo>
                      <a:lnTo>
                        <a:pt x="1876" y="156"/>
                      </a:lnTo>
                      <a:lnTo>
                        <a:pt x="1918" y="139"/>
                      </a:lnTo>
                      <a:lnTo>
                        <a:pt x="1909" y="160"/>
                      </a:lnTo>
                      <a:lnTo>
                        <a:pt x="1892" y="160"/>
                      </a:lnTo>
                      <a:lnTo>
                        <a:pt x="1876" y="184"/>
                      </a:lnTo>
                      <a:lnTo>
                        <a:pt x="1892" y="201"/>
                      </a:lnTo>
                      <a:lnTo>
                        <a:pt x="1909" y="184"/>
                      </a:lnTo>
                      <a:lnTo>
                        <a:pt x="1923" y="184"/>
                      </a:lnTo>
                      <a:lnTo>
                        <a:pt x="1946" y="184"/>
                      </a:lnTo>
                      <a:lnTo>
                        <a:pt x="1961" y="201"/>
                      </a:lnTo>
                      <a:lnTo>
                        <a:pt x="1961" y="177"/>
                      </a:lnTo>
                      <a:lnTo>
                        <a:pt x="1977" y="177"/>
                      </a:lnTo>
                      <a:lnTo>
                        <a:pt x="1984" y="160"/>
                      </a:lnTo>
                      <a:lnTo>
                        <a:pt x="1998" y="167"/>
                      </a:lnTo>
                      <a:lnTo>
                        <a:pt x="2031" y="144"/>
                      </a:lnTo>
                      <a:lnTo>
                        <a:pt x="2027" y="139"/>
                      </a:lnTo>
                      <a:lnTo>
                        <a:pt x="2031" y="139"/>
                      </a:lnTo>
                      <a:lnTo>
                        <a:pt x="2086" y="123"/>
                      </a:lnTo>
                      <a:lnTo>
                        <a:pt x="2086" y="111"/>
                      </a:lnTo>
                      <a:lnTo>
                        <a:pt x="2102" y="111"/>
                      </a:lnTo>
                      <a:lnTo>
                        <a:pt x="2124" y="106"/>
                      </a:lnTo>
                      <a:lnTo>
                        <a:pt x="2135" y="123"/>
                      </a:lnTo>
                      <a:lnTo>
                        <a:pt x="2119" y="127"/>
                      </a:lnTo>
                      <a:lnTo>
                        <a:pt x="2102" y="127"/>
                      </a:lnTo>
                      <a:lnTo>
                        <a:pt x="2107" y="144"/>
                      </a:lnTo>
                      <a:lnTo>
                        <a:pt x="2199" y="217"/>
                      </a:lnTo>
                      <a:lnTo>
                        <a:pt x="2355" y="460"/>
                      </a:lnTo>
                      <a:lnTo>
                        <a:pt x="2355" y="456"/>
                      </a:lnTo>
                      <a:lnTo>
                        <a:pt x="2388" y="439"/>
                      </a:lnTo>
                      <a:lnTo>
                        <a:pt x="2376" y="423"/>
                      </a:lnTo>
                      <a:lnTo>
                        <a:pt x="2393" y="418"/>
                      </a:lnTo>
                      <a:lnTo>
                        <a:pt x="2405" y="406"/>
                      </a:lnTo>
                      <a:lnTo>
                        <a:pt x="2431" y="423"/>
                      </a:lnTo>
                      <a:lnTo>
                        <a:pt x="2426" y="444"/>
                      </a:lnTo>
                      <a:lnTo>
                        <a:pt x="2447" y="439"/>
                      </a:lnTo>
                      <a:lnTo>
                        <a:pt x="2459" y="460"/>
                      </a:lnTo>
                      <a:lnTo>
                        <a:pt x="2523" y="460"/>
                      </a:lnTo>
                      <a:lnTo>
                        <a:pt x="2539" y="456"/>
                      </a:lnTo>
                      <a:lnTo>
                        <a:pt x="2539" y="444"/>
                      </a:lnTo>
                      <a:lnTo>
                        <a:pt x="2594" y="439"/>
                      </a:lnTo>
                      <a:lnTo>
                        <a:pt x="2627" y="456"/>
                      </a:lnTo>
                      <a:lnTo>
                        <a:pt x="2657" y="510"/>
                      </a:lnTo>
                      <a:lnTo>
                        <a:pt x="2702" y="529"/>
                      </a:lnTo>
                      <a:lnTo>
                        <a:pt x="2702" y="534"/>
                      </a:lnTo>
                      <a:lnTo>
                        <a:pt x="2702" y="545"/>
                      </a:lnTo>
                      <a:lnTo>
                        <a:pt x="2712" y="545"/>
                      </a:lnTo>
                      <a:lnTo>
                        <a:pt x="2717" y="571"/>
                      </a:lnTo>
                      <a:lnTo>
                        <a:pt x="2750" y="571"/>
                      </a:lnTo>
                      <a:lnTo>
                        <a:pt x="2787" y="583"/>
                      </a:lnTo>
                      <a:lnTo>
                        <a:pt x="2809" y="550"/>
                      </a:lnTo>
                      <a:lnTo>
                        <a:pt x="2825" y="550"/>
                      </a:lnTo>
                      <a:lnTo>
                        <a:pt x="2825" y="555"/>
                      </a:lnTo>
                      <a:lnTo>
                        <a:pt x="2809" y="571"/>
                      </a:lnTo>
                      <a:lnTo>
                        <a:pt x="2837" y="583"/>
                      </a:lnTo>
                      <a:lnTo>
                        <a:pt x="2837" y="600"/>
                      </a:lnTo>
                      <a:lnTo>
                        <a:pt x="2863" y="604"/>
                      </a:lnTo>
                      <a:lnTo>
                        <a:pt x="2863" y="623"/>
                      </a:lnTo>
                      <a:lnTo>
                        <a:pt x="2837" y="612"/>
                      </a:lnTo>
                      <a:lnTo>
                        <a:pt x="2820" y="628"/>
                      </a:lnTo>
                      <a:lnTo>
                        <a:pt x="2825" y="656"/>
                      </a:lnTo>
                      <a:lnTo>
                        <a:pt x="2809" y="666"/>
                      </a:lnTo>
                      <a:lnTo>
                        <a:pt x="2754" y="682"/>
                      </a:lnTo>
                      <a:lnTo>
                        <a:pt x="2740" y="723"/>
                      </a:lnTo>
                      <a:lnTo>
                        <a:pt x="2740" y="767"/>
                      </a:lnTo>
                      <a:lnTo>
                        <a:pt x="2750" y="777"/>
                      </a:lnTo>
                      <a:lnTo>
                        <a:pt x="2750" y="789"/>
                      </a:lnTo>
                      <a:lnTo>
                        <a:pt x="2740" y="805"/>
                      </a:lnTo>
                      <a:lnTo>
                        <a:pt x="2717" y="805"/>
                      </a:lnTo>
                      <a:lnTo>
                        <a:pt x="2686" y="829"/>
                      </a:lnTo>
                      <a:lnTo>
                        <a:pt x="2686" y="822"/>
                      </a:lnTo>
                      <a:lnTo>
                        <a:pt x="2679" y="810"/>
                      </a:lnTo>
                      <a:lnTo>
                        <a:pt x="2627" y="810"/>
                      </a:lnTo>
                      <a:lnTo>
                        <a:pt x="2565" y="789"/>
                      </a:lnTo>
                      <a:lnTo>
                        <a:pt x="2565" y="810"/>
                      </a:lnTo>
                      <a:lnTo>
                        <a:pt x="2513" y="940"/>
                      </a:lnTo>
                      <a:lnTo>
                        <a:pt x="2535" y="956"/>
                      </a:lnTo>
                      <a:lnTo>
                        <a:pt x="2535" y="978"/>
                      </a:lnTo>
                      <a:lnTo>
                        <a:pt x="2513" y="973"/>
                      </a:lnTo>
                      <a:lnTo>
                        <a:pt x="2485" y="978"/>
                      </a:lnTo>
                      <a:lnTo>
                        <a:pt x="2468" y="961"/>
                      </a:lnTo>
                      <a:lnTo>
                        <a:pt x="2355" y="989"/>
                      </a:lnTo>
                      <a:lnTo>
                        <a:pt x="2339" y="999"/>
                      </a:lnTo>
                      <a:lnTo>
                        <a:pt x="2350" y="1011"/>
                      </a:lnTo>
                      <a:lnTo>
                        <a:pt x="2372" y="1011"/>
                      </a:lnTo>
                      <a:lnTo>
                        <a:pt x="2388" y="1015"/>
                      </a:lnTo>
                      <a:lnTo>
                        <a:pt x="2376" y="1027"/>
                      </a:lnTo>
                      <a:lnTo>
                        <a:pt x="2376" y="1067"/>
                      </a:lnTo>
                      <a:lnTo>
                        <a:pt x="2405" y="1129"/>
                      </a:lnTo>
                      <a:lnTo>
                        <a:pt x="2409" y="1155"/>
                      </a:lnTo>
                      <a:lnTo>
                        <a:pt x="2376" y="1167"/>
                      </a:lnTo>
                      <a:lnTo>
                        <a:pt x="2393" y="1178"/>
                      </a:lnTo>
                      <a:lnTo>
                        <a:pt x="2372" y="1183"/>
                      </a:lnTo>
                      <a:lnTo>
                        <a:pt x="2362" y="1200"/>
                      </a:lnTo>
                      <a:lnTo>
                        <a:pt x="2372" y="1233"/>
                      </a:lnTo>
                      <a:lnTo>
                        <a:pt x="2362" y="1240"/>
                      </a:lnTo>
                      <a:lnTo>
                        <a:pt x="2350" y="1216"/>
                      </a:lnTo>
                      <a:lnTo>
                        <a:pt x="2308" y="1216"/>
                      </a:lnTo>
                      <a:lnTo>
                        <a:pt x="2296" y="1195"/>
                      </a:lnTo>
                      <a:lnTo>
                        <a:pt x="2296" y="1183"/>
                      </a:lnTo>
                      <a:lnTo>
                        <a:pt x="2157" y="1178"/>
                      </a:lnTo>
                      <a:lnTo>
                        <a:pt x="2140" y="1167"/>
                      </a:lnTo>
                      <a:lnTo>
                        <a:pt x="2119" y="1178"/>
                      </a:lnTo>
                      <a:lnTo>
                        <a:pt x="2053" y="1167"/>
                      </a:lnTo>
                      <a:lnTo>
                        <a:pt x="2048" y="1183"/>
                      </a:lnTo>
                      <a:lnTo>
                        <a:pt x="1984" y="1167"/>
                      </a:lnTo>
                      <a:lnTo>
                        <a:pt x="1946" y="1145"/>
                      </a:lnTo>
                      <a:lnTo>
                        <a:pt x="1902" y="1162"/>
                      </a:lnTo>
                      <a:lnTo>
                        <a:pt x="1892" y="1200"/>
                      </a:lnTo>
                      <a:lnTo>
                        <a:pt x="1892" y="1216"/>
                      </a:lnTo>
                      <a:lnTo>
                        <a:pt x="1809" y="1183"/>
                      </a:lnTo>
                      <a:lnTo>
                        <a:pt x="1767" y="1183"/>
                      </a:lnTo>
                      <a:lnTo>
                        <a:pt x="1729" y="1195"/>
                      </a:lnTo>
                      <a:lnTo>
                        <a:pt x="1708" y="1221"/>
                      </a:lnTo>
                      <a:lnTo>
                        <a:pt x="1713" y="1233"/>
                      </a:lnTo>
                      <a:lnTo>
                        <a:pt x="1703" y="1240"/>
                      </a:lnTo>
                      <a:lnTo>
                        <a:pt x="1691" y="1256"/>
                      </a:lnTo>
                      <a:lnTo>
                        <a:pt x="1675" y="1249"/>
                      </a:lnTo>
                      <a:lnTo>
                        <a:pt x="1649" y="1282"/>
                      </a:lnTo>
                      <a:lnTo>
                        <a:pt x="1620" y="1282"/>
                      </a:lnTo>
                      <a:lnTo>
                        <a:pt x="1583" y="1311"/>
                      </a:lnTo>
                      <a:lnTo>
                        <a:pt x="1583" y="1323"/>
                      </a:lnTo>
                      <a:lnTo>
                        <a:pt x="1552" y="1351"/>
                      </a:lnTo>
                      <a:lnTo>
                        <a:pt x="1552" y="1377"/>
                      </a:lnTo>
                      <a:lnTo>
                        <a:pt x="1540" y="1377"/>
                      </a:lnTo>
                      <a:lnTo>
                        <a:pt x="1514" y="1360"/>
                      </a:lnTo>
                      <a:lnTo>
                        <a:pt x="1524" y="1339"/>
                      </a:lnTo>
                      <a:lnTo>
                        <a:pt x="1507" y="1327"/>
                      </a:lnTo>
                      <a:lnTo>
                        <a:pt x="1422" y="1327"/>
                      </a:lnTo>
                      <a:lnTo>
                        <a:pt x="1405" y="1256"/>
                      </a:lnTo>
                      <a:lnTo>
                        <a:pt x="1368" y="1256"/>
                      </a:lnTo>
                      <a:lnTo>
                        <a:pt x="1377" y="1167"/>
                      </a:lnTo>
                      <a:lnTo>
                        <a:pt x="1351" y="1178"/>
                      </a:lnTo>
                      <a:lnTo>
                        <a:pt x="1335" y="1138"/>
                      </a:lnTo>
                      <a:lnTo>
                        <a:pt x="1313" y="1129"/>
                      </a:lnTo>
                      <a:lnTo>
                        <a:pt x="1292" y="1105"/>
                      </a:lnTo>
                      <a:lnTo>
                        <a:pt x="1259" y="1122"/>
                      </a:lnTo>
                      <a:lnTo>
                        <a:pt x="1174" y="1110"/>
                      </a:lnTo>
                      <a:lnTo>
                        <a:pt x="1091" y="1122"/>
                      </a:lnTo>
                      <a:lnTo>
                        <a:pt x="1028" y="1056"/>
                      </a:lnTo>
                      <a:lnTo>
                        <a:pt x="843" y="940"/>
                      </a:lnTo>
                      <a:lnTo>
                        <a:pt x="666" y="994"/>
                      </a:lnTo>
                      <a:lnTo>
                        <a:pt x="666" y="1311"/>
                      </a:lnTo>
                      <a:lnTo>
                        <a:pt x="666" y="1311"/>
                      </a:lnTo>
                      <a:lnTo>
                        <a:pt x="666" y="1311"/>
                      </a:lnTo>
                      <a:close/>
                      <a:moveTo>
                        <a:pt x="456" y="883"/>
                      </a:moveTo>
                      <a:lnTo>
                        <a:pt x="449" y="878"/>
                      </a:lnTo>
                      <a:lnTo>
                        <a:pt x="456" y="867"/>
                      </a:lnTo>
                      <a:lnTo>
                        <a:pt x="465" y="878"/>
                      </a:lnTo>
                      <a:lnTo>
                        <a:pt x="456" y="883"/>
                      </a:lnTo>
                      <a:lnTo>
                        <a:pt x="456" y="883"/>
                      </a:lnTo>
                      <a:lnTo>
                        <a:pt x="456" y="883"/>
                      </a:lnTo>
                      <a:close/>
                      <a:moveTo>
                        <a:pt x="267" y="994"/>
                      </a:moveTo>
                      <a:lnTo>
                        <a:pt x="267" y="989"/>
                      </a:lnTo>
                      <a:lnTo>
                        <a:pt x="272" y="989"/>
                      </a:lnTo>
                      <a:lnTo>
                        <a:pt x="267" y="994"/>
                      </a:lnTo>
                      <a:lnTo>
                        <a:pt x="267" y="994"/>
                      </a:lnTo>
                      <a:lnTo>
                        <a:pt x="267" y="994"/>
                      </a:lnTo>
                      <a:close/>
                      <a:moveTo>
                        <a:pt x="255" y="1011"/>
                      </a:moveTo>
                      <a:lnTo>
                        <a:pt x="239" y="994"/>
                      </a:lnTo>
                      <a:lnTo>
                        <a:pt x="250" y="989"/>
                      </a:lnTo>
                      <a:lnTo>
                        <a:pt x="255" y="989"/>
                      </a:lnTo>
                      <a:lnTo>
                        <a:pt x="250" y="994"/>
                      </a:lnTo>
                      <a:lnTo>
                        <a:pt x="255" y="999"/>
                      </a:lnTo>
                      <a:lnTo>
                        <a:pt x="255" y="1011"/>
                      </a:lnTo>
                      <a:lnTo>
                        <a:pt x="255" y="1011"/>
                      </a:lnTo>
                      <a:lnTo>
                        <a:pt x="255" y="101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8" name="Freeform 491">
                  <a:extLst>
                    <a:ext uri="{FF2B5EF4-FFF2-40B4-BE49-F238E27FC236}">
                      <a16:creationId xmlns:a16="http://schemas.microsoft.com/office/drawing/2014/main" id="{8618E003-9335-457D-963D-F0B590CF0886}"/>
                    </a:ext>
                  </a:extLst>
                </p:cNvPr>
                <p:cNvSpPr>
                  <a:spLocks/>
                </p:cNvSpPr>
                <p:nvPr/>
              </p:nvSpPr>
              <p:spPr bwMode="gray">
                <a:xfrm>
                  <a:off x="7333037" y="2115586"/>
                  <a:ext cx="209952" cy="100047"/>
                </a:xfrm>
                <a:custGeom>
                  <a:avLst/>
                  <a:gdLst>
                    <a:gd name="T0" fmla="*/ 234 w 510"/>
                    <a:gd name="T1" fmla="*/ 21 h 243"/>
                    <a:gd name="T2" fmla="*/ 288 w 510"/>
                    <a:gd name="T3" fmla="*/ 0 h 243"/>
                    <a:gd name="T4" fmla="*/ 297 w 510"/>
                    <a:gd name="T5" fmla="*/ 5 h 243"/>
                    <a:gd name="T6" fmla="*/ 297 w 510"/>
                    <a:gd name="T7" fmla="*/ 0 h 243"/>
                    <a:gd name="T8" fmla="*/ 352 w 510"/>
                    <a:gd name="T9" fmla="*/ 21 h 243"/>
                    <a:gd name="T10" fmla="*/ 385 w 510"/>
                    <a:gd name="T11" fmla="*/ 55 h 243"/>
                    <a:gd name="T12" fmla="*/ 418 w 510"/>
                    <a:gd name="T13" fmla="*/ 43 h 243"/>
                    <a:gd name="T14" fmla="*/ 451 w 510"/>
                    <a:gd name="T15" fmla="*/ 55 h 243"/>
                    <a:gd name="T16" fmla="*/ 456 w 510"/>
                    <a:gd name="T17" fmla="*/ 55 h 243"/>
                    <a:gd name="T18" fmla="*/ 456 w 510"/>
                    <a:gd name="T19" fmla="*/ 59 h 243"/>
                    <a:gd name="T20" fmla="*/ 477 w 510"/>
                    <a:gd name="T21" fmla="*/ 76 h 243"/>
                    <a:gd name="T22" fmla="*/ 472 w 510"/>
                    <a:gd name="T23" fmla="*/ 116 h 243"/>
                    <a:gd name="T24" fmla="*/ 489 w 510"/>
                    <a:gd name="T25" fmla="*/ 128 h 243"/>
                    <a:gd name="T26" fmla="*/ 510 w 510"/>
                    <a:gd name="T27" fmla="*/ 182 h 243"/>
                    <a:gd name="T28" fmla="*/ 505 w 510"/>
                    <a:gd name="T29" fmla="*/ 199 h 243"/>
                    <a:gd name="T30" fmla="*/ 489 w 510"/>
                    <a:gd name="T31" fmla="*/ 199 h 243"/>
                    <a:gd name="T32" fmla="*/ 460 w 510"/>
                    <a:gd name="T33" fmla="*/ 222 h 243"/>
                    <a:gd name="T34" fmla="*/ 460 w 510"/>
                    <a:gd name="T35" fmla="*/ 239 h 243"/>
                    <a:gd name="T36" fmla="*/ 418 w 510"/>
                    <a:gd name="T37" fmla="*/ 227 h 243"/>
                    <a:gd name="T38" fmla="*/ 406 w 510"/>
                    <a:gd name="T39" fmla="*/ 243 h 243"/>
                    <a:gd name="T40" fmla="*/ 397 w 510"/>
                    <a:gd name="T41" fmla="*/ 243 h 243"/>
                    <a:gd name="T42" fmla="*/ 368 w 510"/>
                    <a:gd name="T43" fmla="*/ 239 h 243"/>
                    <a:gd name="T44" fmla="*/ 331 w 510"/>
                    <a:gd name="T45" fmla="*/ 199 h 243"/>
                    <a:gd name="T46" fmla="*/ 288 w 510"/>
                    <a:gd name="T47" fmla="*/ 189 h 243"/>
                    <a:gd name="T48" fmla="*/ 271 w 510"/>
                    <a:gd name="T49" fmla="*/ 166 h 243"/>
                    <a:gd name="T50" fmla="*/ 243 w 510"/>
                    <a:gd name="T51" fmla="*/ 182 h 243"/>
                    <a:gd name="T52" fmla="*/ 222 w 510"/>
                    <a:gd name="T53" fmla="*/ 189 h 243"/>
                    <a:gd name="T54" fmla="*/ 163 w 510"/>
                    <a:gd name="T55" fmla="*/ 170 h 243"/>
                    <a:gd name="T56" fmla="*/ 146 w 510"/>
                    <a:gd name="T57" fmla="*/ 182 h 243"/>
                    <a:gd name="T58" fmla="*/ 134 w 510"/>
                    <a:gd name="T59" fmla="*/ 170 h 243"/>
                    <a:gd name="T60" fmla="*/ 113 w 510"/>
                    <a:gd name="T61" fmla="*/ 170 h 243"/>
                    <a:gd name="T62" fmla="*/ 75 w 510"/>
                    <a:gd name="T63" fmla="*/ 170 h 243"/>
                    <a:gd name="T64" fmla="*/ 21 w 510"/>
                    <a:gd name="T65" fmla="*/ 189 h 243"/>
                    <a:gd name="T66" fmla="*/ 16 w 510"/>
                    <a:gd name="T67" fmla="*/ 206 h 243"/>
                    <a:gd name="T68" fmla="*/ 0 w 510"/>
                    <a:gd name="T69" fmla="*/ 206 h 243"/>
                    <a:gd name="T70" fmla="*/ 0 w 510"/>
                    <a:gd name="T71" fmla="*/ 170 h 243"/>
                    <a:gd name="T72" fmla="*/ 0 w 510"/>
                    <a:gd name="T73" fmla="*/ 154 h 243"/>
                    <a:gd name="T74" fmla="*/ 5 w 510"/>
                    <a:gd name="T75" fmla="*/ 166 h 243"/>
                    <a:gd name="T76" fmla="*/ 0 w 510"/>
                    <a:gd name="T77" fmla="*/ 128 h 243"/>
                    <a:gd name="T78" fmla="*/ 21 w 510"/>
                    <a:gd name="T79" fmla="*/ 111 h 243"/>
                    <a:gd name="T80" fmla="*/ 26 w 510"/>
                    <a:gd name="T81" fmla="*/ 76 h 243"/>
                    <a:gd name="T82" fmla="*/ 54 w 510"/>
                    <a:gd name="T83" fmla="*/ 55 h 243"/>
                    <a:gd name="T84" fmla="*/ 113 w 510"/>
                    <a:gd name="T85" fmla="*/ 33 h 243"/>
                    <a:gd name="T86" fmla="*/ 113 w 510"/>
                    <a:gd name="T87" fmla="*/ 43 h 243"/>
                    <a:gd name="T88" fmla="*/ 146 w 510"/>
                    <a:gd name="T89" fmla="*/ 71 h 243"/>
                    <a:gd name="T90" fmla="*/ 151 w 510"/>
                    <a:gd name="T91" fmla="*/ 99 h 243"/>
                    <a:gd name="T92" fmla="*/ 189 w 510"/>
                    <a:gd name="T93" fmla="*/ 111 h 243"/>
                    <a:gd name="T94" fmla="*/ 238 w 510"/>
                    <a:gd name="T95" fmla="*/ 88 h 243"/>
                    <a:gd name="T96" fmla="*/ 234 w 510"/>
                    <a:gd name="T97" fmla="*/ 21 h 243"/>
                    <a:gd name="T98" fmla="*/ 234 w 510"/>
                    <a:gd name="T99" fmla="*/ 21 h 243"/>
                    <a:gd name="T100" fmla="*/ 234 w 510"/>
                    <a:gd name="T101" fmla="*/ 21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0" h="243">
                      <a:moveTo>
                        <a:pt x="234" y="21"/>
                      </a:moveTo>
                      <a:lnTo>
                        <a:pt x="288" y="0"/>
                      </a:lnTo>
                      <a:lnTo>
                        <a:pt x="297" y="5"/>
                      </a:lnTo>
                      <a:lnTo>
                        <a:pt x="297" y="0"/>
                      </a:lnTo>
                      <a:lnTo>
                        <a:pt x="352" y="21"/>
                      </a:lnTo>
                      <a:lnTo>
                        <a:pt x="385" y="55"/>
                      </a:lnTo>
                      <a:lnTo>
                        <a:pt x="418" y="43"/>
                      </a:lnTo>
                      <a:lnTo>
                        <a:pt x="451" y="55"/>
                      </a:lnTo>
                      <a:lnTo>
                        <a:pt x="456" y="55"/>
                      </a:lnTo>
                      <a:lnTo>
                        <a:pt x="456" y="59"/>
                      </a:lnTo>
                      <a:lnTo>
                        <a:pt x="477" y="76"/>
                      </a:lnTo>
                      <a:lnTo>
                        <a:pt x="472" y="116"/>
                      </a:lnTo>
                      <a:lnTo>
                        <a:pt x="489" y="128"/>
                      </a:lnTo>
                      <a:lnTo>
                        <a:pt x="510" y="182"/>
                      </a:lnTo>
                      <a:lnTo>
                        <a:pt x="505" y="199"/>
                      </a:lnTo>
                      <a:lnTo>
                        <a:pt x="489" y="199"/>
                      </a:lnTo>
                      <a:lnTo>
                        <a:pt x="460" y="222"/>
                      </a:lnTo>
                      <a:lnTo>
                        <a:pt x="460" y="239"/>
                      </a:lnTo>
                      <a:lnTo>
                        <a:pt x="418" y="227"/>
                      </a:lnTo>
                      <a:lnTo>
                        <a:pt x="406" y="243"/>
                      </a:lnTo>
                      <a:lnTo>
                        <a:pt x="397" y="243"/>
                      </a:lnTo>
                      <a:lnTo>
                        <a:pt x="368" y="239"/>
                      </a:lnTo>
                      <a:lnTo>
                        <a:pt x="331" y="199"/>
                      </a:lnTo>
                      <a:lnTo>
                        <a:pt x="288" y="189"/>
                      </a:lnTo>
                      <a:lnTo>
                        <a:pt x="271" y="166"/>
                      </a:lnTo>
                      <a:lnTo>
                        <a:pt x="243" y="182"/>
                      </a:lnTo>
                      <a:lnTo>
                        <a:pt x="222" y="189"/>
                      </a:lnTo>
                      <a:lnTo>
                        <a:pt x="163" y="170"/>
                      </a:lnTo>
                      <a:lnTo>
                        <a:pt x="146" y="182"/>
                      </a:lnTo>
                      <a:lnTo>
                        <a:pt x="134" y="170"/>
                      </a:lnTo>
                      <a:lnTo>
                        <a:pt x="113" y="170"/>
                      </a:lnTo>
                      <a:lnTo>
                        <a:pt x="75" y="170"/>
                      </a:lnTo>
                      <a:lnTo>
                        <a:pt x="21" y="189"/>
                      </a:lnTo>
                      <a:lnTo>
                        <a:pt x="16" y="206"/>
                      </a:lnTo>
                      <a:lnTo>
                        <a:pt x="0" y="206"/>
                      </a:lnTo>
                      <a:lnTo>
                        <a:pt x="0" y="170"/>
                      </a:lnTo>
                      <a:lnTo>
                        <a:pt x="0" y="154"/>
                      </a:lnTo>
                      <a:lnTo>
                        <a:pt x="5" y="166"/>
                      </a:lnTo>
                      <a:lnTo>
                        <a:pt x="0" y="128"/>
                      </a:lnTo>
                      <a:lnTo>
                        <a:pt x="21" y="111"/>
                      </a:lnTo>
                      <a:lnTo>
                        <a:pt x="26" y="76"/>
                      </a:lnTo>
                      <a:lnTo>
                        <a:pt x="54" y="55"/>
                      </a:lnTo>
                      <a:lnTo>
                        <a:pt x="113" y="33"/>
                      </a:lnTo>
                      <a:lnTo>
                        <a:pt x="113" y="43"/>
                      </a:lnTo>
                      <a:lnTo>
                        <a:pt x="146" y="71"/>
                      </a:lnTo>
                      <a:lnTo>
                        <a:pt x="151" y="99"/>
                      </a:lnTo>
                      <a:lnTo>
                        <a:pt x="189" y="111"/>
                      </a:lnTo>
                      <a:lnTo>
                        <a:pt x="238" y="88"/>
                      </a:lnTo>
                      <a:lnTo>
                        <a:pt x="234" y="21"/>
                      </a:lnTo>
                      <a:lnTo>
                        <a:pt x="234" y="21"/>
                      </a:lnTo>
                      <a:lnTo>
                        <a:pt x="234" y="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23" name="Freeform 492">
                  <a:extLst>
                    <a:ext uri="{FF2B5EF4-FFF2-40B4-BE49-F238E27FC236}">
                      <a16:creationId xmlns:a16="http://schemas.microsoft.com/office/drawing/2014/main" id="{9892F4E1-EF27-4F00-B985-3607DEAB1BC9}"/>
                    </a:ext>
                  </a:extLst>
                </p:cNvPr>
                <p:cNvSpPr>
                  <a:spLocks noEditPoints="1"/>
                </p:cNvSpPr>
                <p:nvPr/>
              </p:nvSpPr>
              <p:spPr bwMode="gray">
                <a:xfrm>
                  <a:off x="7328921" y="2183931"/>
                  <a:ext cx="172078" cy="107870"/>
                </a:xfrm>
                <a:custGeom>
                  <a:avLst/>
                  <a:gdLst>
                    <a:gd name="T0" fmla="*/ 137 w 418"/>
                    <a:gd name="T1" fmla="*/ 212 h 262"/>
                    <a:gd name="T2" fmla="*/ 126 w 418"/>
                    <a:gd name="T3" fmla="*/ 200 h 262"/>
                    <a:gd name="T4" fmla="*/ 137 w 418"/>
                    <a:gd name="T5" fmla="*/ 184 h 262"/>
                    <a:gd name="T6" fmla="*/ 142 w 418"/>
                    <a:gd name="T7" fmla="*/ 167 h 262"/>
                    <a:gd name="T8" fmla="*/ 121 w 418"/>
                    <a:gd name="T9" fmla="*/ 146 h 262"/>
                    <a:gd name="T10" fmla="*/ 88 w 418"/>
                    <a:gd name="T11" fmla="*/ 146 h 262"/>
                    <a:gd name="T12" fmla="*/ 33 w 418"/>
                    <a:gd name="T13" fmla="*/ 118 h 262"/>
                    <a:gd name="T14" fmla="*/ 29 w 418"/>
                    <a:gd name="T15" fmla="*/ 129 h 262"/>
                    <a:gd name="T16" fmla="*/ 29 w 418"/>
                    <a:gd name="T17" fmla="*/ 113 h 262"/>
                    <a:gd name="T18" fmla="*/ 29 w 418"/>
                    <a:gd name="T19" fmla="*/ 113 h 262"/>
                    <a:gd name="T20" fmla="*/ 29 w 418"/>
                    <a:gd name="T21" fmla="*/ 101 h 262"/>
                    <a:gd name="T22" fmla="*/ 12 w 418"/>
                    <a:gd name="T23" fmla="*/ 73 h 262"/>
                    <a:gd name="T24" fmla="*/ 12 w 418"/>
                    <a:gd name="T25" fmla="*/ 40 h 262"/>
                    <a:gd name="T26" fmla="*/ 29 w 418"/>
                    <a:gd name="T27" fmla="*/ 40 h 262"/>
                    <a:gd name="T28" fmla="*/ 33 w 418"/>
                    <a:gd name="T29" fmla="*/ 23 h 262"/>
                    <a:gd name="T30" fmla="*/ 88 w 418"/>
                    <a:gd name="T31" fmla="*/ 7 h 262"/>
                    <a:gd name="T32" fmla="*/ 126 w 418"/>
                    <a:gd name="T33" fmla="*/ 7 h 262"/>
                    <a:gd name="T34" fmla="*/ 147 w 418"/>
                    <a:gd name="T35" fmla="*/ 7 h 262"/>
                    <a:gd name="T36" fmla="*/ 159 w 418"/>
                    <a:gd name="T37" fmla="*/ 16 h 262"/>
                    <a:gd name="T38" fmla="*/ 175 w 418"/>
                    <a:gd name="T39" fmla="*/ 7 h 262"/>
                    <a:gd name="T40" fmla="*/ 234 w 418"/>
                    <a:gd name="T41" fmla="*/ 23 h 262"/>
                    <a:gd name="T42" fmla="*/ 256 w 418"/>
                    <a:gd name="T43" fmla="*/ 16 h 262"/>
                    <a:gd name="T44" fmla="*/ 281 w 418"/>
                    <a:gd name="T45" fmla="*/ 0 h 262"/>
                    <a:gd name="T46" fmla="*/ 298 w 418"/>
                    <a:gd name="T47" fmla="*/ 23 h 262"/>
                    <a:gd name="T48" fmla="*/ 341 w 418"/>
                    <a:gd name="T49" fmla="*/ 35 h 262"/>
                    <a:gd name="T50" fmla="*/ 378 w 418"/>
                    <a:gd name="T51" fmla="*/ 73 h 262"/>
                    <a:gd name="T52" fmla="*/ 407 w 418"/>
                    <a:gd name="T53" fmla="*/ 77 h 262"/>
                    <a:gd name="T54" fmla="*/ 395 w 418"/>
                    <a:gd name="T55" fmla="*/ 113 h 262"/>
                    <a:gd name="T56" fmla="*/ 418 w 418"/>
                    <a:gd name="T57" fmla="*/ 118 h 262"/>
                    <a:gd name="T58" fmla="*/ 395 w 418"/>
                    <a:gd name="T59" fmla="*/ 134 h 262"/>
                    <a:gd name="T60" fmla="*/ 378 w 418"/>
                    <a:gd name="T61" fmla="*/ 134 h 262"/>
                    <a:gd name="T62" fmla="*/ 374 w 418"/>
                    <a:gd name="T63" fmla="*/ 151 h 262"/>
                    <a:gd name="T64" fmla="*/ 341 w 418"/>
                    <a:gd name="T65" fmla="*/ 155 h 262"/>
                    <a:gd name="T66" fmla="*/ 341 w 418"/>
                    <a:gd name="T67" fmla="*/ 191 h 262"/>
                    <a:gd name="T68" fmla="*/ 326 w 418"/>
                    <a:gd name="T69" fmla="*/ 212 h 262"/>
                    <a:gd name="T70" fmla="*/ 341 w 418"/>
                    <a:gd name="T71" fmla="*/ 212 h 262"/>
                    <a:gd name="T72" fmla="*/ 341 w 418"/>
                    <a:gd name="T73" fmla="*/ 229 h 262"/>
                    <a:gd name="T74" fmla="*/ 326 w 418"/>
                    <a:gd name="T75" fmla="*/ 229 h 262"/>
                    <a:gd name="T76" fmla="*/ 336 w 418"/>
                    <a:gd name="T77" fmla="*/ 224 h 262"/>
                    <a:gd name="T78" fmla="*/ 326 w 418"/>
                    <a:gd name="T79" fmla="*/ 212 h 262"/>
                    <a:gd name="T80" fmla="*/ 298 w 418"/>
                    <a:gd name="T81" fmla="*/ 240 h 262"/>
                    <a:gd name="T82" fmla="*/ 281 w 418"/>
                    <a:gd name="T83" fmla="*/ 229 h 262"/>
                    <a:gd name="T84" fmla="*/ 281 w 418"/>
                    <a:gd name="T85" fmla="*/ 257 h 262"/>
                    <a:gd name="T86" fmla="*/ 265 w 418"/>
                    <a:gd name="T87" fmla="*/ 245 h 262"/>
                    <a:gd name="T88" fmla="*/ 251 w 418"/>
                    <a:gd name="T89" fmla="*/ 262 h 262"/>
                    <a:gd name="T90" fmla="*/ 234 w 418"/>
                    <a:gd name="T91" fmla="*/ 257 h 262"/>
                    <a:gd name="T92" fmla="*/ 189 w 418"/>
                    <a:gd name="T93" fmla="*/ 257 h 262"/>
                    <a:gd name="T94" fmla="*/ 180 w 418"/>
                    <a:gd name="T95" fmla="*/ 240 h 262"/>
                    <a:gd name="T96" fmla="*/ 175 w 418"/>
                    <a:gd name="T97" fmla="*/ 224 h 262"/>
                    <a:gd name="T98" fmla="*/ 147 w 418"/>
                    <a:gd name="T99" fmla="*/ 207 h 262"/>
                    <a:gd name="T100" fmla="*/ 137 w 418"/>
                    <a:gd name="T101" fmla="*/ 212 h 262"/>
                    <a:gd name="T102" fmla="*/ 137 w 418"/>
                    <a:gd name="T103" fmla="*/ 212 h 262"/>
                    <a:gd name="T104" fmla="*/ 137 w 418"/>
                    <a:gd name="T105" fmla="*/ 212 h 262"/>
                    <a:gd name="T106" fmla="*/ 12 w 418"/>
                    <a:gd name="T107" fmla="*/ 118 h 262"/>
                    <a:gd name="T108" fmla="*/ 0 w 418"/>
                    <a:gd name="T109" fmla="*/ 118 h 262"/>
                    <a:gd name="T110" fmla="*/ 17 w 418"/>
                    <a:gd name="T111" fmla="*/ 94 h 262"/>
                    <a:gd name="T112" fmla="*/ 17 w 418"/>
                    <a:gd name="T113" fmla="*/ 77 h 262"/>
                    <a:gd name="T114" fmla="*/ 17 w 418"/>
                    <a:gd name="T115" fmla="*/ 101 h 262"/>
                    <a:gd name="T116" fmla="*/ 12 w 418"/>
                    <a:gd name="T117" fmla="*/ 118 h 262"/>
                    <a:gd name="T118" fmla="*/ 12 w 418"/>
                    <a:gd name="T119" fmla="*/ 118 h 262"/>
                    <a:gd name="T120" fmla="*/ 12 w 418"/>
                    <a:gd name="T121" fmla="*/ 11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8" h="262">
                      <a:moveTo>
                        <a:pt x="137" y="212"/>
                      </a:moveTo>
                      <a:lnTo>
                        <a:pt x="126" y="200"/>
                      </a:lnTo>
                      <a:lnTo>
                        <a:pt x="137" y="184"/>
                      </a:lnTo>
                      <a:lnTo>
                        <a:pt x="142" y="167"/>
                      </a:lnTo>
                      <a:lnTo>
                        <a:pt x="121" y="146"/>
                      </a:lnTo>
                      <a:lnTo>
                        <a:pt x="88" y="146"/>
                      </a:lnTo>
                      <a:lnTo>
                        <a:pt x="33" y="118"/>
                      </a:lnTo>
                      <a:lnTo>
                        <a:pt x="29" y="129"/>
                      </a:lnTo>
                      <a:lnTo>
                        <a:pt x="29" y="113"/>
                      </a:lnTo>
                      <a:lnTo>
                        <a:pt x="29" y="113"/>
                      </a:lnTo>
                      <a:lnTo>
                        <a:pt x="29" y="101"/>
                      </a:lnTo>
                      <a:lnTo>
                        <a:pt x="12" y="73"/>
                      </a:lnTo>
                      <a:lnTo>
                        <a:pt x="12" y="40"/>
                      </a:lnTo>
                      <a:lnTo>
                        <a:pt x="29" y="40"/>
                      </a:lnTo>
                      <a:lnTo>
                        <a:pt x="33" y="23"/>
                      </a:lnTo>
                      <a:lnTo>
                        <a:pt x="88" y="7"/>
                      </a:lnTo>
                      <a:lnTo>
                        <a:pt x="126" y="7"/>
                      </a:lnTo>
                      <a:lnTo>
                        <a:pt x="147" y="7"/>
                      </a:lnTo>
                      <a:lnTo>
                        <a:pt x="159" y="16"/>
                      </a:lnTo>
                      <a:lnTo>
                        <a:pt x="175" y="7"/>
                      </a:lnTo>
                      <a:lnTo>
                        <a:pt x="234" y="23"/>
                      </a:lnTo>
                      <a:lnTo>
                        <a:pt x="256" y="16"/>
                      </a:lnTo>
                      <a:lnTo>
                        <a:pt x="281" y="0"/>
                      </a:lnTo>
                      <a:lnTo>
                        <a:pt x="298" y="23"/>
                      </a:lnTo>
                      <a:lnTo>
                        <a:pt x="341" y="35"/>
                      </a:lnTo>
                      <a:lnTo>
                        <a:pt x="378" y="73"/>
                      </a:lnTo>
                      <a:lnTo>
                        <a:pt x="407" y="77"/>
                      </a:lnTo>
                      <a:lnTo>
                        <a:pt x="395" y="113"/>
                      </a:lnTo>
                      <a:lnTo>
                        <a:pt x="418" y="118"/>
                      </a:lnTo>
                      <a:lnTo>
                        <a:pt x="395" y="134"/>
                      </a:lnTo>
                      <a:lnTo>
                        <a:pt x="378" y="134"/>
                      </a:lnTo>
                      <a:lnTo>
                        <a:pt x="374" y="151"/>
                      </a:lnTo>
                      <a:lnTo>
                        <a:pt x="341" y="155"/>
                      </a:lnTo>
                      <a:lnTo>
                        <a:pt x="341" y="191"/>
                      </a:lnTo>
                      <a:lnTo>
                        <a:pt x="326" y="212"/>
                      </a:lnTo>
                      <a:lnTo>
                        <a:pt x="341" y="212"/>
                      </a:lnTo>
                      <a:lnTo>
                        <a:pt x="341" y="229"/>
                      </a:lnTo>
                      <a:lnTo>
                        <a:pt x="326" y="229"/>
                      </a:lnTo>
                      <a:lnTo>
                        <a:pt x="336" y="224"/>
                      </a:lnTo>
                      <a:lnTo>
                        <a:pt x="326" y="212"/>
                      </a:lnTo>
                      <a:lnTo>
                        <a:pt x="298" y="240"/>
                      </a:lnTo>
                      <a:lnTo>
                        <a:pt x="281" y="229"/>
                      </a:lnTo>
                      <a:lnTo>
                        <a:pt x="281" y="257"/>
                      </a:lnTo>
                      <a:lnTo>
                        <a:pt x="265" y="245"/>
                      </a:lnTo>
                      <a:lnTo>
                        <a:pt x="251" y="262"/>
                      </a:lnTo>
                      <a:lnTo>
                        <a:pt x="234" y="257"/>
                      </a:lnTo>
                      <a:lnTo>
                        <a:pt x="189" y="257"/>
                      </a:lnTo>
                      <a:lnTo>
                        <a:pt x="180" y="240"/>
                      </a:lnTo>
                      <a:lnTo>
                        <a:pt x="175" y="224"/>
                      </a:lnTo>
                      <a:lnTo>
                        <a:pt x="147" y="207"/>
                      </a:lnTo>
                      <a:lnTo>
                        <a:pt x="137" y="212"/>
                      </a:lnTo>
                      <a:lnTo>
                        <a:pt x="137" y="212"/>
                      </a:lnTo>
                      <a:lnTo>
                        <a:pt x="137" y="212"/>
                      </a:lnTo>
                      <a:close/>
                      <a:moveTo>
                        <a:pt x="12" y="118"/>
                      </a:moveTo>
                      <a:lnTo>
                        <a:pt x="0" y="118"/>
                      </a:lnTo>
                      <a:lnTo>
                        <a:pt x="17" y="94"/>
                      </a:lnTo>
                      <a:lnTo>
                        <a:pt x="17" y="77"/>
                      </a:lnTo>
                      <a:lnTo>
                        <a:pt x="17" y="101"/>
                      </a:lnTo>
                      <a:lnTo>
                        <a:pt x="12" y="118"/>
                      </a:lnTo>
                      <a:lnTo>
                        <a:pt x="12" y="118"/>
                      </a:lnTo>
                      <a:lnTo>
                        <a:pt x="12" y="11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0" name="Freeform 494">
                  <a:extLst>
                    <a:ext uri="{FF2B5EF4-FFF2-40B4-BE49-F238E27FC236}">
                      <a16:creationId xmlns:a16="http://schemas.microsoft.com/office/drawing/2014/main" id="{8C6BC12A-01DA-4FCB-A663-39550DAEECEE}"/>
                    </a:ext>
                  </a:extLst>
                </p:cNvPr>
                <p:cNvSpPr>
                  <a:spLocks/>
                </p:cNvSpPr>
                <p:nvPr/>
              </p:nvSpPr>
              <p:spPr bwMode="gray">
                <a:xfrm>
                  <a:off x="7211595" y="2459781"/>
                  <a:ext cx="165080" cy="69169"/>
                </a:xfrm>
                <a:custGeom>
                  <a:avLst/>
                  <a:gdLst>
                    <a:gd name="T0" fmla="*/ 155 w 401"/>
                    <a:gd name="T1" fmla="*/ 144 h 168"/>
                    <a:gd name="T2" fmla="*/ 139 w 401"/>
                    <a:gd name="T3" fmla="*/ 152 h 168"/>
                    <a:gd name="T4" fmla="*/ 139 w 401"/>
                    <a:gd name="T5" fmla="*/ 161 h 168"/>
                    <a:gd name="T6" fmla="*/ 101 w 401"/>
                    <a:gd name="T7" fmla="*/ 168 h 168"/>
                    <a:gd name="T8" fmla="*/ 68 w 401"/>
                    <a:gd name="T9" fmla="*/ 168 h 168"/>
                    <a:gd name="T10" fmla="*/ 37 w 401"/>
                    <a:gd name="T11" fmla="*/ 144 h 168"/>
                    <a:gd name="T12" fmla="*/ 26 w 401"/>
                    <a:gd name="T13" fmla="*/ 144 h 168"/>
                    <a:gd name="T14" fmla="*/ 0 w 401"/>
                    <a:gd name="T15" fmla="*/ 111 h 168"/>
                    <a:gd name="T16" fmla="*/ 9 w 401"/>
                    <a:gd name="T17" fmla="*/ 90 h 168"/>
                    <a:gd name="T18" fmla="*/ 26 w 401"/>
                    <a:gd name="T19" fmla="*/ 67 h 168"/>
                    <a:gd name="T20" fmla="*/ 63 w 401"/>
                    <a:gd name="T21" fmla="*/ 67 h 168"/>
                    <a:gd name="T22" fmla="*/ 85 w 401"/>
                    <a:gd name="T23" fmla="*/ 50 h 168"/>
                    <a:gd name="T24" fmla="*/ 101 w 401"/>
                    <a:gd name="T25" fmla="*/ 29 h 168"/>
                    <a:gd name="T26" fmla="*/ 122 w 401"/>
                    <a:gd name="T27" fmla="*/ 12 h 168"/>
                    <a:gd name="T28" fmla="*/ 139 w 401"/>
                    <a:gd name="T29" fmla="*/ 12 h 168"/>
                    <a:gd name="T30" fmla="*/ 144 w 401"/>
                    <a:gd name="T31" fmla="*/ 12 h 168"/>
                    <a:gd name="T32" fmla="*/ 155 w 401"/>
                    <a:gd name="T33" fmla="*/ 17 h 168"/>
                    <a:gd name="T34" fmla="*/ 160 w 401"/>
                    <a:gd name="T35" fmla="*/ 17 h 168"/>
                    <a:gd name="T36" fmla="*/ 186 w 401"/>
                    <a:gd name="T37" fmla="*/ 0 h 168"/>
                    <a:gd name="T38" fmla="*/ 203 w 401"/>
                    <a:gd name="T39" fmla="*/ 17 h 168"/>
                    <a:gd name="T40" fmla="*/ 207 w 401"/>
                    <a:gd name="T41" fmla="*/ 17 h 168"/>
                    <a:gd name="T42" fmla="*/ 207 w 401"/>
                    <a:gd name="T43" fmla="*/ 33 h 168"/>
                    <a:gd name="T44" fmla="*/ 224 w 401"/>
                    <a:gd name="T45" fmla="*/ 38 h 168"/>
                    <a:gd name="T46" fmla="*/ 229 w 401"/>
                    <a:gd name="T47" fmla="*/ 29 h 168"/>
                    <a:gd name="T48" fmla="*/ 245 w 401"/>
                    <a:gd name="T49" fmla="*/ 17 h 168"/>
                    <a:gd name="T50" fmla="*/ 278 w 401"/>
                    <a:gd name="T51" fmla="*/ 17 h 168"/>
                    <a:gd name="T52" fmla="*/ 283 w 401"/>
                    <a:gd name="T53" fmla="*/ 29 h 168"/>
                    <a:gd name="T54" fmla="*/ 300 w 401"/>
                    <a:gd name="T55" fmla="*/ 17 h 168"/>
                    <a:gd name="T56" fmla="*/ 337 w 401"/>
                    <a:gd name="T57" fmla="*/ 17 h 168"/>
                    <a:gd name="T58" fmla="*/ 363 w 401"/>
                    <a:gd name="T59" fmla="*/ 29 h 168"/>
                    <a:gd name="T60" fmla="*/ 363 w 401"/>
                    <a:gd name="T61" fmla="*/ 33 h 168"/>
                    <a:gd name="T62" fmla="*/ 401 w 401"/>
                    <a:gd name="T63" fmla="*/ 50 h 168"/>
                    <a:gd name="T64" fmla="*/ 387 w 401"/>
                    <a:gd name="T65" fmla="*/ 83 h 168"/>
                    <a:gd name="T66" fmla="*/ 370 w 401"/>
                    <a:gd name="T67" fmla="*/ 95 h 168"/>
                    <a:gd name="T68" fmla="*/ 370 w 401"/>
                    <a:gd name="T69" fmla="*/ 111 h 168"/>
                    <a:gd name="T70" fmla="*/ 349 w 401"/>
                    <a:gd name="T71" fmla="*/ 111 h 168"/>
                    <a:gd name="T72" fmla="*/ 321 w 401"/>
                    <a:gd name="T73" fmla="*/ 95 h 168"/>
                    <a:gd name="T74" fmla="*/ 300 w 401"/>
                    <a:gd name="T75" fmla="*/ 95 h 168"/>
                    <a:gd name="T76" fmla="*/ 266 w 401"/>
                    <a:gd name="T77" fmla="*/ 95 h 168"/>
                    <a:gd name="T78" fmla="*/ 262 w 401"/>
                    <a:gd name="T79" fmla="*/ 95 h 168"/>
                    <a:gd name="T80" fmla="*/ 245 w 401"/>
                    <a:gd name="T81" fmla="*/ 123 h 168"/>
                    <a:gd name="T82" fmla="*/ 215 w 401"/>
                    <a:gd name="T83" fmla="*/ 140 h 168"/>
                    <a:gd name="T84" fmla="*/ 193 w 401"/>
                    <a:gd name="T85" fmla="*/ 128 h 168"/>
                    <a:gd name="T86" fmla="*/ 186 w 401"/>
                    <a:gd name="T87" fmla="*/ 140 h 168"/>
                    <a:gd name="T88" fmla="*/ 155 w 401"/>
                    <a:gd name="T89" fmla="*/ 144 h 168"/>
                    <a:gd name="T90" fmla="*/ 155 w 401"/>
                    <a:gd name="T91" fmla="*/ 144 h 168"/>
                    <a:gd name="T92" fmla="*/ 155 w 401"/>
                    <a:gd name="T93" fmla="*/ 14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1" h="168">
                      <a:moveTo>
                        <a:pt x="155" y="144"/>
                      </a:moveTo>
                      <a:lnTo>
                        <a:pt x="139" y="152"/>
                      </a:lnTo>
                      <a:lnTo>
                        <a:pt x="139" y="161"/>
                      </a:lnTo>
                      <a:lnTo>
                        <a:pt x="101" y="168"/>
                      </a:lnTo>
                      <a:lnTo>
                        <a:pt x="68" y="168"/>
                      </a:lnTo>
                      <a:lnTo>
                        <a:pt x="37" y="144"/>
                      </a:lnTo>
                      <a:lnTo>
                        <a:pt x="26" y="144"/>
                      </a:lnTo>
                      <a:lnTo>
                        <a:pt x="0" y="111"/>
                      </a:lnTo>
                      <a:lnTo>
                        <a:pt x="9" y="90"/>
                      </a:lnTo>
                      <a:lnTo>
                        <a:pt x="26" y="67"/>
                      </a:lnTo>
                      <a:lnTo>
                        <a:pt x="63" y="67"/>
                      </a:lnTo>
                      <a:lnTo>
                        <a:pt x="85" y="50"/>
                      </a:lnTo>
                      <a:lnTo>
                        <a:pt x="101" y="29"/>
                      </a:lnTo>
                      <a:lnTo>
                        <a:pt x="122" y="12"/>
                      </a:lnTo>
                      <a:lnTo>
                        <a:pt x="139" y="12"/>
                      </a:lnTo>
                      <a:lnTo>
                        <a:pt x="144" y="12"/>
                      </a:lnTo>
                      <a:lnTo>
                        <a:pt x="155" y="17"/>
                      </a:lnTo>
                      <a:lnTo>
                        <a:pt x="160" y="17"/>
                      </a:lnTo>
                      <a:lnTo>
                        <a:pt x="186" y="0"/>
                      </a:lnTo>
                      <a:lnTo>
                        <a:pt x="203" y="17"/>
                      </a:lnTo>
                      <a:lnTo>
                        <a:pt x="207" y="17"/>
                      </a:lnTo>
                      <a:lnTo>
                        <a:pt x="207" y="33"/>
                      </a:lnTo>
                      <a:lnTo>
                        <a:pt x="224" y="38"/>
                      </a:lnTo>
                      <a:lnTo>
                        <a:pt x="229" y="29"/>
                      </a:lnTo>
                      <a:lnTo>
                        <a:pt x="245" y="17"/>
                      </a:lnTo>
                      <a:lnTo>
                        <a:pt x="278" y="17"/>
                      </a:lnTo>
                      <a:lnTo>
                        <a:pt x="283" y="29"/>
                      </a:lnTo>
                      <a:lnTo>
                        <a:pt x="300" y="17"/>
                      </a:lnTo>
                      <a:lnTo>
                        <a:pt x="337" y="17"/>
                      </a:lnTo>
                      <a:lnTo>
                        <a:pt x="363" y="29"/>
                      </a:lnTo>
                      <a:lnTo>
                        <a:pt x="363" y="33"/>
                      </a:lnTo>
                      <a:lnTo>
                        <a:pt x="401" y="50"/>
                      </a:lnTo>
                      <a:lnTo>
                        <a:pt x="387" y="83"/>
                      </a:lnTo>
                      <a:lnTo>
                        <a:pt x="370" y="95"/>
                      </a:lnTo>
                      <a:lnTo>
                        <a:pt x="370" y="111"/>
                      </a:lnTo>
                      <a:lnTo>
                        <a:pt x="349" y="111"/>
                      </a:lnTo>
                      <a:lnTo>
                        <a:pt x="321" y="95"/>
                      </a:lnTo>
                      <a:lnTo>
                        <a:pt x="300" y="95"/>
                      </a:lnTo>
                      <a:lnTo>
                        <a:pt x="266" y="95"/>
                      </a:lnTo>
                      <a:lnTo>
                        <a:pt x="262" y="95"/>
                      </a:lnTo>
                      <a:lnTo>
                        <a:pt x="245" y="123"/>
                      </a:lnTo>
                      <a:lnTo>
                        <a:pt x="215" y="140"/>
                      </a:lnTo>
                      <a:lnTo>
                        <a:pt x="193" y="128"/>
                      </a:lnTo>
                      <a:lnTo>
                        <a:pt x="186" y="140"/>
                      </a:lnTo>
                      <a:lnTo>
                        <a:pt x="155" y="144"/>
                      </a:lnTo>
                      <a:lnTo>
                        <a:pt x="155" y="144"/>
                      </a:lnTo>
                      <a:lnTo>
                        <a:pt x="155" y="14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1" name="Freeform 495">
                  <a:extLst>
                    <a:ext uri="{FF2B5EF4-FFF2-40B4-BE49-F238E27FC236}">
                      <a16:creationId xmlns:a16="http://schemas.microsoft.com/office/drawing/2014/main" id="{57699484-B24A-42E0-987F-C9FEA71AC8EA}"/>
                    </a:ext>
                  </a:extLst>
                </p:cNvPr>
                <p:cNvSpPr>
                  <a:spLocks/>
                </p:cNvSpPr>
                <p:nvPr/>
              </p:nvSpPr>
              <p:spPr bwMode="gray">
                <a:xfrm>
                  <a:off x="6999585" y="2549535"/>
                  <a:ext cx="2882" cy="7823"/>
                </a:xfrm>
                <a:custGeom>
                  <a:avLst/>
                  <a:gdLst>
                    <a:gd name="T0" fmla="*/ 7 w 7"/>
                    <a:gd name="T1" fmla="*/ 0 h 19"/>
                    <a:gd name="T2" fmla="*/ 7 w 7"/>
                    <a:gd name="T3" fmla="*/ 19 h 19"/>
                    <a:gd name="T4" fmla="*/ 0 w 7"/>
                    <a:gd name="T5" fmla="*/ 19 h 19"/>
                    <a:gd name="T6" fmla="*/ 7 w 7"/>
                    <a:gd name="T7" fmla="*/ 0 h 19"/>
                    <a:gd name="T8" fmla="*/ 7 w 7"/>
                    <a:gd name="T9" fmla="*/ 0 h 19"/>
                    <a:gd name="T10" fmla="*/ 7 w 7"/>
                    <a:gd name="T11" fmla="*/ 0 h 19"/>
                  </a:gdLst>
                  <a:ahLst/>
                  <a:cxnLst>
                    <a:cxn ang="0">
                      <a:pos x="T0" y="T1"/>
                    </a:cxn>
                    <a:cxn ang="0">
                      <a:pos x="T2" y="T3"/>
                    </a:cxn>
                    <a:cxn ang="0">
                      <a:pos x="T4" y="T5"/>
                    </a:cxn>
                    <a:cxn ang="0">
                      <a:pos x="T6" y="T7"/>
                    </a:cxn>
                    <a:cxn ang="0">
                      <a:pos x="T8" y="T9"/>
                    </a:cxn>
                    <a:cxn ang="0">
                      <a:pos x="T10" y="T11"/>
                    </a:cxn>
                  </a:cxnLst>
                  <a:rect l="0" t="0" r="r" b="b"/>
                  <a:pathLst>
                    <a:path w="7" h="19">
                      <a:moveTo>
                        <a:pt x="7" y="0"/>
                      </a:moveTo>
                      <a:lnTo>
                        <a:pt x="7" y="19"/>
                      </a:lnTo>
                      <a:lnTo>
                        <a:pt x="0" y="19"/>
                      </a:lnTo>
                      <a:lnTo>
                        <a:pt x="7" y="0"/>
                      </a:lnTo>
                      <a:lnTo>
                        <a:pt x="7" y="0"/>
                      </a:lnTo>
                      <a:lnTo>
                        <a:pt x="7"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3" name="Freeform 497">
                  <a:extLst>
                    <a:ext uri="{FF2B5EF4-FFF2-40B4-BE49-F238E27FC236}">
                      <a16:creationId xmlns:a16="http://schemas.microsoft.com/office/drawing/2014/main" id="{030AFB01-C404-4AA0-BA02-10F2D0E5BB44}"/>
                    </a:ext>
                  </a:extLst>
                </p:cNvPr>
                <p:cNvSpPr>
                  <a:spLocks/>
                </p:cNvSpPr>
                <p:nvPr/>
              </p:nvSpPr>
              <p:spPr bwMode="gray">
                <a:xfrm>
                  <a:off x="6891315" y="2438373"/>
                  <a:ext cx="21406" cy="26350"/>
                </a:xfrm>
                <a:custGeom>
                  <a:avLst/>
                  <a:gdLst>
                    <a:gd name="T0" fmla="*/ 45 w 52"/>
                    <a:gd name="T1" fmla="*/ 64 h 64"/>
                    <a:gd name="T2" fmla="*/ 45 w 52"/>
                    <a:gd name="T3" fmla="*/ 64 h 64"/>
                    <a:gd name="T4" fmla="*/ 15 w 52"/>
                    <a:gd name="T5" fmla="*/ 64 h 64"/>
                    <a:gd name="T6" fmla="*/ 5 w 52"/>
                    <a:gd name="T7" fmla="*/ 55 h 64"/>
                    <a:gd name="T8" fmla="*/ 15 w 52"/>
                    <a:gd name="T9" fmla="*/ 48 h 64"/>
                    <a:gd name="T10" fmla="*/ 0 w 52"/>
                    <a:gd name="T11" fmla="*/ 33 h 64"/>
                    <a:gd name="T12" fmla="*/ 0 w 52"/>
                    <a:gd name="T13" fmla="*/ 17 h 64"/>
                    <a:gd name="T14" fmla="*/ 15 w 52"/>
                    <a:gd name="T15" fmla="*/ 0 h 64"/>
                    <a:gd name="T16" fmla="*/ 31 w 52"/>
                    <a:gd name="T17" fmla="*/ 0 h 64"/>
                    <a:gd name="T18" fmla="*/ 36 w 52"/>
                    <a:gd name="T19" fmla="*/ 26 h 64"/>
                    <a:gd name="T20" fmla="*/ 52 w 52"/>
                    <a:gd name="T21" fmla="*/ 33 h 64"/>
                    <a:gd name="T22" fmla="*/ 45 w 52"/>
                    <a:gd name="T23" fmla="*/ 64 h 64"/>
                    <a:gd name="T24" fmla="*/ 45 w 52"/>
                    <a:gd name="T25" fmla="*/ 64 h 64"/>
                    <a:gd name="T26" fmla="*/ 45 w 52"/>
                    <a:gd name="T2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64">
                      <a:moveTo>
                        <a:pt x="45" y="64"/>
                      </a:moveTo>
                      <a:lnTo>
                        <a:pt x="45" y="64"/>
                      </a:lnTo>
                      <a:lnTo>
                        <a:pt x="15" y="64"/>
                      </a:lnTo>
                      <a:lnTo>
                        <a:pt x="5" y="55"/>
                      </a:lnTo>
                      <a:lnTo>
                        <a:pt x="15" y="48"/>
                      </a:lnTo>
                      <a:lnTo>
                        <a:pt x="0" y="33"/>
                      </a:lnTo>
                      <a:lnTo>
                        <a:pt x="0" y="17"/>
                      </a:lnTo>
                      <a:lnTo>
                        <a:pt x="15" y="0"/>
                      </a:lnTo>
                      <a:lnTo>
                        <a:pt x="31" y="0"/>
                      </a:lnTo>
                      <a:lnTo>
                        <a:pt x="36" y="26"/>
                      </a:lnTo>
                      <a:lnTo>
                        <a:pt x="52" y="33"/>
                      </a:lnTo>
                      <a:lnTo>
                        <a:pt x="45" y="64"/>
                      </a:lnTo>
                      <a:lnTo>
                        <a:pt x="45" y="64"/>
                      </a:lnTo>
                      <a:lnTo>
                        <a:pt x="45" y="6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8" name="Freeform 501">
                  <a:extLst>
                    <a:ext uri="{FF2B5EF4-FFF2-40B4-BE49-F238E27FC236}">
                      <a16:creationId xmlns:a16="http://schemas.microsoft.com/office/drawing/2014/main" id="{39B96B49-AF7E-4CD5-B920-597355D03EE3}"/>
                    </a:ext>
                  </a:extLst>
                </p:cNvPr>
                <p:cNvSpPr>
                  <a:spLocks/>
                </p:cNvSpPr>
                <p:nvPr/>
              </p:nvSpPr>
              <p:spPr bwMode="gray">
                <a:xfrm>
                  <a:off x="7495236" y="2503835"/>
                  <a:ext cx="101271" cy="114456"/>
                </a:xfrm>
                <a:custGeom>
                  <a:avLst/>
                  <a:gdLst>
                    <a:gd name="T0" fmla="*/ 0 w 246"/>
                    <a:gd name="T1" fmla="*/ 16 h 278"/>
                    <a:gd name="T2" fmla="*/ 5 w 246"/>
                    <a:gd name="T3" fmla="*/ 7 h 278"/>
                    <a:gd name="T4" fmla="*/ 76 w 246"/>
                    <a:gd name="T5" fmla="*/ 0 h 278"/>
                    <a:gd name="T6" fmla="*/ 97 w 246"/>
                    <a:gd name="T7" fmla="*/ 16 h 278"/>
                    <a:gd name="T8" fmla="*/ 97 w 246"/>
                    <a:gd name="T9" fmla="*/ 23 h 278"/>
                    <a:gd name="T10" fmla="*/ 152 w 246"/>
                    <a:gd name="T11" fmla="*/ 33 h 278"/>
                    <a:gd name="T12" fmla="*/ 168 w 246"/>
                    <a:gd name="T13" fmla="*/ 45 h 278"/>
                    <a:gd name="T14" fmla="*/ 175 w 246"/>
                    <a:gd name="T15" fmla="*/ 45 h 278"/>
                    <a:gd name="T16" fmla="*/ 185 w 246"/>
                    <a:gd name="T17" fmla="*/ 61 h 278"/>
                    <a:gd name="T18" fmla="*/ 175 w 246"/>
                    <a:gd name="T19" fmla="*/ 89 h 278"/>
                    <a:gd name="T20" fmla="*/ 175 w 246"/>
                    <a:gd name="T21" fmla="*/ 94 h 278"/>
                    <a:gd name="T22" fmla="*/ 192 w 246"/>
                    <a:gd name="T23" fmla="*/ 111 h 278"/>
                    <a:gd name="T24" fmla="*/ 208 w 246"/>
                    <a:gd name="T25" fmla="*/ 101 h 278"/>
                    <a:gd name="T26" fmla="*/ 208 w 246"/>
                    <a:gd name="T27" fmla="*/ 146 h 278"/>
                    <a:gd name="T28" fmla="*/ 229 w 246"/>
                    <a:gd name="T29" fmla="*/ 151 h 278"/>
                    <a:gd name="T30" fmla="*/ 229 w 246"/>
                    <a:gd name="T31" fmla="*/ 172 h 278"/>
                    <a:gd name="T32" fmla="*/ 229 w 246"/>
                    <a:gd name="T33" fmla="*/ 172 h 278"/>
                    <a:gd name="T34" fmla="*/ 246 w 246"/>
                    <a:gd name="T35" fmla="*/ 189 h 278"/>
                    <a:gd name="T36" fmla="*/ 229 w 246"/>
                    <a:gd name="T37" fmla="*/ 189 h 278"/>
                    <a:gd name="T38" fmla="*/ 218 w 246"/>
                    <a:gd name="T39" fmla="*/ 184 h 278"/>
                    <a:gd name="T40" fmla="*/ 208 w 246"/>
                    <a:gd name="T41" fmla="*/ 189 h 278"/>
                    <a:gd name="T42" fmla="*/ 201 w 246"/>
                    <a:gd name="T43" fmla="*/ 184 h 278"/>
                    <a:gd name="T44" fmla="*/ 185 w 246"/>
                    <a:gd name="T45" fmla="*/ 189 h 278"/>
                    <a:gd name="T46" fmla="*/ 175 w 246"/>
                    <a:gd name="T47" fmla="*/ 172 h 278"/>
                    <a:gd name="T48" fmla="*/ 168 w 246"/>
                    <a:gd name="T49" fmla="*/ 184 h 278"/>
                    <a:gd name="T50" fmla="*/ 163 w 246"/>
                    <a:gd name="T51" fmla="*/ 200 h 278"/>
                    <a:gd name="T52" fmla="*/ 168 w 246"/>
                    <a:gd name="T53" fmla="*/ 208 h 278"/>
                    <a:gd name="T54" fmla="*/ 163 w 246"/>
                    <a:gd name="T55" fmla="*/ 224 h 278"/>
                    <a:gd name="T56" fmla="*/ 147 w 246"/>
                    <a:gd name="T57" fmla="*/ 229 h 278"/>
                    <a:gd name="T58" fmla="*/ 147 w 246"/>
                    <a:gd name="T59" fmla="*/ 241 h 278"/>
                    <a:gd name="T60" fmla="*/ 130 w 246"/>
                    <a:gd name="T61" fmla="*/ 257 h 278"/>
                    <a:gd name="T62" fmla="*/ 130 w 246"/>
                    <a:gd name="T63" fmla="*/ 269 h 278"/>
                    <a:gd name="T64" fmla="*/ 114 w 246"/>
                    <a:gd name="T65" fmla="*/ 269 h 278"/>
                    <a:gd name="T66" fmla="*/ 109 w 246"/>
                    <a:gd name="T67" fmla="*/ 278 h 278"/>
                    <a:gd name="T68" fmla="*/ 97 w 246"/>
                    <a:gd name="T69" fmla="*/ 262 h 278"/>
                    <a:gd name="T70" fmla="*/ 109 w 246"/>
                    <a:gd name="T71" fmla="*/ 257 h 278"/>
                    <a:gd name="T72" fmla="*/ 97 w 246"/>
                    <a:gd name="T73" fmla="*/ 212 h 278"/>
                    <a:gd name="T74" fmla="*/ 114 w 246"/>
                    <a:gd name="T75" fmla="*/ 184 h 278"/>
                    <a:gd name="T76" fmla="*/ 97 w 246"/>
                    <a:gd name="T77" fmla="*/ 134 h 278"/>
                    <a:gd name="T78" fmla="*/ 83 w 246"/>
                    <a:gd name="T79" fmla="*/ 118 h 278"/>
                    <a:gd name="T80" fmla="*/ 43 w 246"/>
                    <a:gd name="T81" fmla="*/ 73 h 278"/>
                    <a:gd name="T82" fmla="*/ 22 w 246"/>
                    <a:gd name="T83" fmla="*/ 33 h 278"/>
                    <a:gd name="T84" fmla="*/ 0 w 246"/>
                    <a:gd name="T85" fmla="*/ 16 h 278"/>
                    <a:gd name="T86" fmla="*/ 0 w 246"/>
                    <a:gd name="T87" fmla="*/ 16 h 278"/>
                    <a:gd name="T88" fmla="*/ 0 w 246"/>
                    <a:gd name="T89" fmla="*/ 1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6" h="278">
                      <a:moveTo>
                        <a:pt x="0" y="16"/>
                      </a:moveTo>
                      <a:lnTo>
                        <a:pt x="5" y="7"/>
                      </a:lnTo>
                      <a:lnTo>
                        <a:pt x="76" y="0"/>
                      </a:lnTo>
                      <a:lnTo>
                        <a:pt x="97" y="16"/>
                      </a:lnTo>
                      <a:lnTo>
                        <a:pt x="97" y="23"/>
                      </a:lnTo>
                      <a:lnTo>
                        <a:pt x="152" y="33"/>
                      </a:lnTo>
                      <a:lnTo>
                        <a:pt x="168" y="45"/>
                      </a:lnTo>
                      <a:lnTo>
                        <a:pt x="175" y="45"/>
                      </a:lnTo>
                      <a:lnTo>
                        <a:pt x="185" y="61"/>
                      </a:lnTo>
                      <a:lnTo>
                        <a:pt x="175" y="89"/>
                      </a:lnTo>
                      <a:lnTo>
                        <a:pt x="175" y="94"/>
                      </a:lnTo>
                      <a:lnTo>
                        <a:pt x="192" y="111"/>
                      </a:lnTo>
                      <a:lnTo>
                        <a:pt x="208" y="101"/>
                      </a:lnTo>
                      <a:lnTo>
                        <a:pt x="208" y="146"/>
                      </a:lnTo>
                      <a:lnTo>
                        <a:pt x="229" y="151"/>
                      </a:lnTo>
                      <a:lnTo>
                        <a:pt x="229" y="172"/>
                      </a:lnTo>
                      <a:lnTo>
                        <a:pt x="229" y="172"/>
                      </a:lnTo>
                      <a:lnTo>
                        <a:pt x="246" y="189"/>
                      </a:lnTo>
                      <a:lnTo>
                        <a:pt x="229" y="189"/>
                      </a:lnTo>
                      <a:lnTo>
                        <a:pt x="218" y="184"/>
                      </a:lnTo>
                      <a:lnTo>
                        <a:pt x="208" y="189"/>
                      </a:lnTo>
                      <a:lnTo>
                        <a:pt x="201" y="184"/>
                      </a:lnTo>
                      <a:lnTo>
                        <a:pt x="185" y="189"/>
                      </a:lnTo>
                      <a:lnTo>
                        <a:pt x="175" y="172"/>
                      </a:lnTo>
                      <a:lnTo>
                        <a:pt x="168" y="184"/>
                      </a:lnTo>
                      <a:lnTo>
                        <a:pt x="163" y="200"/>
                      </a:lnTo>
                      <a:lnTo>
                        <a:pt x="168" y="208"/>
                      </a:lnTo>
                      <a:lnTo>
                        <a:pt x="163" y="224"/>
                      </a:lnTo>
                      <a:lnTo>
                        <a:pt x="147" y="229"/>
                      </a:lnTo>
                      <a:lnTo>
                        <a:pt x="147" y="241"/>
                      </a:lnTo>
                      <a:lnTo>
                        <a:pt x="130" y="257"/>
                      </a:lnTo>
                      <a:lnTo>
                        <a:pt x="130" y="269"/>
                      </a:lnTo>
                      <a:lnTo>
                        <a:pt x="114" y="269"/>
                      </a:lnTo>
                      <a:lnTo>
                        <a:pt x="109" y="278"/>
                      </a:lnTo>
                      <a:lnTo>
                        <a:pt x="97" y="262"/>
                      </a:lnTo>
                      <a:lnTo>
                        <a:pt x="109" y="257"/>
                      </a:lnTo>
                      <a:lnTo>
                        <a:pt x="97" y="212"/>
                      </a:lnTo>
                      <a:lnTo>
                        <a:pt x="114" y="184"/>
                      </a:lnTo>
                      <a:lnTo>
                        <a:pt x="97" y="134"/>
                      </a:lnTo>
                      <a:lnTo>
                        <a:pt x="83" y="118"/>
                      </a:lnTo>
                      <a:lnTo>
                        <a:pt x="43" y="73"/>
                      </a:lnTo>
                      <a:lnTo>
                        <a:pt x="22" y="33"/>
                      </a:lnTo>
                      <a:lnTo>
                        <a:pt x="0" y="16"/>
                      </a:lnTo>
                      <a:lnTo>
                        <a:pt x="0" y="16"/>
                      </a:lnTo>
                      <a:lnTo>
                        <a:pt x="0" y="1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69" name="Freeform 503">
                  <a:extLst>
                    <a:ext uri="{FF2B5EF4-FFF2-40B4-BE49-F238E27FC236}">
                      <a16:creationId xmlns:a16="http://schemas.microsoft.com/office/drawing/2014/main" id="{010C1A4E-E111-4A29-B506-B7CB12574521}"/>
                    </a:ext>
                  </a:extLst>
                </p:cNvPr>
                <p:cNvSpPr>
                  <a:spLocks/>
                </p:cNvSpPr>
                <p:nvPr/>
              </p:nvSpPr>
              <p:spPr bwMode="gray">
                <a:xfrm>
                  <a:off x="9260477" y="2360558"/>
                  <a:ext cx="927492" cy="394012"/>
                </a:xfrm>
                <a:custGeom>
                  <a:avLst/>
                  <a:gdLst>
                    <a:gd name="T0" fmla="*/ 1993 w 2253"/>
                    <a:gd name="T1" fmla="*/ 603 h 957"/>
                    <a:gd name="T2" fmla="*/ 1875 w 2253"/>
                    <a:gd name="T3" fmla="*/ 643 h 957"/>
                    <a:gd name="T4" fmla="*/ 1729 w 2253"/>
                    <a:gd name="T5" fmla="*/ 659 h 957"/>
                    <a:gd name="T6" fmla="*/ 1658 w 2253"/>
                    <a:gd name="T7" fmla="*/ 719 h 957"/>
                    <a:gd name="T8" fmla="*/ 1632 w 2253"/>
                    <a:gd name="T9" fmla="*/ 808 h 957"/>
                    <a:gd name="T10" fmla="*/ 1382 w 2253"/>
                    <a:gd name="T11" fmla="*/ 886 h 957"/>
                    <a:gd name="T12" fmla="*/ 1209 w 2253"/>
                    <a:gd name="T13" fmla="*/ 957 h 957"/>
                    <a:gd name="T14" fmla="*/ 1171 w 2253"/>
                    <a:gd name="T15" fmla="*/ 936 h 957"/>
                    <a:gd name="T16" fmla="*/ 1048 w 2253"/>
                    <a:gd name="T17" fmla="*/ 907 h 957"/>
                    <a:gd name="T18" fmla="*/ 919 w 2253"/>
                    <a:gd name="T19" fmla="*/ 863 h 957"/>
                    <a:gd name="T20" fmla="*/ 654 w 2253"/>
                    <a:gd name="T21" fmla="*/ 853 h 957"/>
                    <a:gd name="T22" fmla="*/ 571 w 2253"/>
                    <a:gd name="T23" fmla="*/ 813 h 957"/>
                    <a:gd name="T24" fmla="*/ 534 w 2253"/>
                    <a:gd name="T25" fmla="*/ 726 h 957"/>
                    <a:gd name="T26" fmla="*/ 411 w 2253"/>
                    <a:gd name="T27" fmla="*/ 664 h 957"/>
                    <a:gd name="T28" fmla="*/ 200 w 2253"/>
                    <a:gd name="T29" fmla="*/ 615 h 957"/>
                    <a:gd name="T30" fmla="*/ 222 w 2253"/>
                    <a:gd name="T31" fmla="*/ 548 h 957"/>
                    <a:gd name="T32" fmla="*/ 210 w 2253"/>
                    <a:gd name="T33" fmla="*/ 475 h 957"/>
                    <a:gd name="T34" fmla="*/ 163 w 2253"/>
                    <a:gd name="T35" fmla="*/ 409 h 957"/>
                    <a:gd name="T36" fmla="*/ 125 w 2253"/>
                    <a:gd name="T37" fmla="*/ 388 h 957"/>
                    <a:gd name="T38" fmla="*/ 54 w 2253"/>
                    <a:gd name="T39" fmla="*/ 355 h 957"/>
                    <a:gd name="T40" fmla="*/ 0 w 2253"/>
                    <a:gd name="T41" fmla="*/ 310 h 957"/>
                    <a:gd name="T42" fmla="*/ 21 w 2253"/>
                    <a:gd name="T43" fmla="*/ 277 h 957"/>
                    <a:gd name="T44" fmla="*/ 75 w 2253"/>
                    <a:gd name="T45" fmla="*/ 260 h 957"/>
                    <a:gd name="T46" fmla="*/ 101 w 2253"/>
                    <a:gd name="T47" fmla="*/ 256 h 957"/>
                    <a:gd name="T48" fmla="*/ 139 w 2253"/>
                    <a:gd name="T49" fmla="*/ 227 h 957"/>
                    <a:gd name="T50" fmla="*/ 163 w 2253"/>
                    <a:gd name="T51" fmla="*/ 199 h 957"/>
                    <a:gd name="T52" fmla="*/ 252 w 2253"/>
                    <a:gd name="T53" fmla="*/ 161 h 957"/>
                    <a:gd name="T54" fmla="*/ 319 w 2253"/>
                    <a:gd name="T55" fmla="*/ 128 h 957"/>
                    <a:gd name="T56" fmla="*/ 361 w 2253"/>
                    <a:gd name="T57" fmla="*/ 128 h 957"/>
                    <a:gd name="T58" fmla="*/ 453 w 2253"/>
                    <a:gd name="T59" fmla="*/ 149 h 957"/>
                    <a:gd name="T60" fmla="*/ 503 w 2253"/>
                    <a:gd name="T61" fmla="*/ 199 h 957"/>
                    <a:gd name="T62" fmla="*/ 562 w 2253"/>
                    <a:gd name="T63" fmla="*/ 206 h 957"/>
                    <a:gd name="T64" fmla="*/ 616 w 2253"/>
                    <a:gd name="T65" fmla="*/ 222 h 957"/>
                    <a:gd name="T66" fmla="*/ 697 w 2253"/>
                    <a:gd name="T67" fmla="*/ 206 h 957"/>
                    <a:gd name="T68" fmla="*/ 739 w 2253"/>
                    <a:gd name="T69" fmla="*/ 161 h 957"/>
                    <a:gd name="T70" fmla="*/ 718 w 2253"/>
                    <a:gd name="T71" fmla="*/ 128 h 957"/>
                    <a:gd name="T72" fmla="*/ 734 w 2253"/>
                    <a:gd name="T73" fmla="*/ 62 h 957"/>
                    <a:gd name="T74" fmla="*/ 777 w 2253"/>
                    <a:gd name="T75" fmla="*/ 0 h 957"/>
                    <a:gd name="T76" fmla="*/ 956 w 2253"/>
                    <a:gd name="T77" fmla="*/ 71 h 957"/>
                    <a:gd name="T78" fmla="*/ 1011 w 2253"/>
                    <a:gd name="T79" fmla="*/ 95 h 957"/>
                    <a:gd name="T80" fmla="*/ 1025 w 2253"/>
                    <a:gd name="T81" fmla="*/ 133 h 957"/>
                    <a:gd name="T82" fmla="*/ 1079 w 2253"/>
                    <a:gd name="T83" fmla="*/ 173 h 957"/>
                    <a:gd name="T84" fmla="*/ 1129 w 2253"/>
                    <a:gd name="T85" fmla="*/ 189 h 957"/>
                    <a:gd name="T86" fmla="*/ 1237 w 2253"/>
                    <a:gd name="T87" fmla="*/ 161 h 957"/>
                    <a:gd name="T88" fmla="*/ 1330 w 2253"/>
                    <a:gd name="T89" fmla="*/ 173 h 957"/>
                    <a:gd name="T90" fmla="*/ 1419 w 2253"/>
                    <a:gd name="T91" fmla="*/ 215 h 957"/>
                    <a:gd name="T92" fmla="*/ 1507 w 2253"/>
                    <a:gd name="T93" fmla="*/ 260 h 957"/>
                    <a:gd name="T94" fmla="*/ 1653 w 2253"/>
                    <a:gd name="T95" fmla="*/ 272 h 957"/>
                    <a:gd name="T96" fmla="*/ 1859 w 2253"/>
                    <a:gd name="T97" fmla="*/ 173 h 957"/>
                    <a:gd name="T98" fmla="*/ 1960 w 2253"/>
                    <a:gd name="T99" fmla="*/ 215 h 957"/>
                    <a:gd name="T100" fmla="*/ 2031 w 2253"/>
                    <a:gd name="T101" fmla="*/ 222 h 957"/>
                    <a:gd name="T102" fmla="*/ 1965 w 2253"/>
                    <a:gd name="T103" fmla="*/ 367 h 957"/>
                    <a:gd name="T104" fmla="*/ 1977 w 2253"/>
                    <a:gd name="T105" fmla="*/ 421 h 957"/>
                    <a:gd name="T106" fmla="*/ 2074 w 2253"/>
                    <a:gd name="T107" fmla="*/ 421 h 957"/>
                    <a:gd name="T108" fmla="*/ 2178 w 2253"/>
                    <a:gd name="T109" fmla="*/ 409 h 957"/>
                    <a:gd name="T110" fmla="*/ 2237 w 2253"/>
                    <a:gd name="T111" fmla="*/ 466 h 957"/>
                    <a:gd name="T112" fmla="*/ 2237 w 2253"/>
                    <a:gd name="T113" fmla="*/ 520 h 957"/>
                    <a:gd name="T114" fmla="*/ 2178 w 2253"/>
                    <a:gd name="T115" fmla="*/ 515 h 957"/>
                    <a:gd name="T116" fmla="*/ 2074 w 2253"/>
                    <a:gd name="T117" fmla="*/ 520 h 957"/>
                    <a:gd name="T118" fmla="*/ 2031 w 2253"/>
                    <a:gd name="T119" fmla="*/ 548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3" h="957">
                      <a:moveTo>
                        <a:pt x="2031" y="548"/>
                      </a:moveTo>
                      <a:lnTo>
                        <a:pt x="2010" y="560"/>
                      </a:lnTo>
                      <a:lnTo>
                        <a:pt x="1993" y="603"/>
                      </a:lnTo>
                      <a:lnTo>
                        <a:pt x="1944" y="626"/>
                      </a:lnTo>
                      <a:lnTo>
                        <a:pt x="1875" y="626"/>
                      </a:lnTo>
                      <a:lnTo>
                        <a:pt x="1875" y="643"/>
                      </a:lnTo>
                      <a:lnTo>
                        <a:pt x="1814" y="681"/>
                      </a:lnTo>
                      <a:lnTo>
                        <a:pt x="1762" y="669"/>
                      </a:lnTo>
                      <a:lnTo>
                        <a:pt x="1729" y="659"/>
                      </a:lnTo>
                      <a:lnTo>
                        <a:pt x="1708" y="648"/>
                      </a:lnTo>
                      <a:lnTo>
                        <a:pt x="1686" y="664"/>
                      </a:lnTo>
                      <a:lnTo>
                        <a:pt x="1658" y="719"/>
                      </a:lnTo>
                      <a:lnTo>
                        <a:pt x="1691" y="754"/>
                      </a:lnTo>
                      <a:lnTo>
                        <a:pt x="1696" y="775"/>
                      </a:lnTo>
                      <a:lnTo>
                        <a:pt x="1632" y="808"/>
                      </a:lnTo>
                      <a:lnTo>
                        <a:pt x="1587" y="853"/>
                      </a:lnTo>
                      <a:lnTo>
                        <a:pt x="1511" y="886"/>
                      </a:lnTo>
                      <a:lnTo>
                        <a:pt x="1382" y="886"/>
                      </a:lnTo>
                      <a:lnTo>
                        <a:pt x="1263" y="924"/>
                      </a:lnTo>
                      <a:lnTo>
                        <a:pt x="1226" y="952"/>
                      </a:lnTo>
                      <a:lnTo>
                        <a:pt x="1209" y="957"/>
                      </a:lnTo>
                      <a:lnTo>
                        <a:pt x="1204" y="957"/>
                      </a:lnTo>
                      <a:lnTo>
                        <a:pt x="1171" y="952"/>
                      </a:lnTo>
                      <a:lnTo>
                        <a:pt x="1171" y="936"/>
                      </a:lnTo>
                      <a:lnTo>
                        <a:pt x="1129" y="941"/>
                      </a:lnTo>
                      <a:lnTo>
                        <a:pt x="1096" y="936"/>
                      </a:lnTo>
                      <a:lnTo>
                        <a:pt x="1048" y="907"/>
                      </a:lnTo>
                      <a:lnTo>
                        <a:pt x="1004" y="903"/>
                      </a:lnTo>
                      <a:lnTo>
                        <a:pt x="987" y="879"/>
                      </a:lnTo>
                      <a:lnTo>
                        <a:pt x="919" y="863"/>
                      </a:lnTo>
                      <a:lnTo>
                        <a:pt x="881" y="863"/>
                      </a:lnTo>
                      <a:lnTo>
                        <a:pt x="826" y="879"/>
                      </a:lnTo>
                      <a:lnTo>
                        <a:pt x="654" y="853"/>
                      </a:lnTo>
                      <a:lnTo>
                        <a:pt x="600" y="863"/>
                      </a:lnTo>
                      <a:lnTo>
                        <a:pt x="600" y="846"/>
                      </a:lnTo>
                      <a:lnTo>
                        <a:pt x="571" y="813"/>
                      </a:lnTo>
                      <a:lnTo>
                        <a:pt x="545" y="754"/>
                      </a:lnTo>
                      <a:lnTo>
                        <a:pt x="534" y="754"/>
                      </a:lnTo>
                      <a:lnTo>
                        <a:pt x="534" y="726"/>
                      </a:lnTo>
                      <a:lnTo>
                        <a:pt x="508" y="726"/>
                      </a:lnTo>
                      <a:lnTo>
                        <a:pt x="486" y="719"/>
                      </a:lnTo>
                      <a:lnTo>
                        <a:pt x="411" y="664"/>
                      </a:lnTo>
                      <a:lnTo>
                        <a:pt x="264" y="659"/>
                      </a:lnTo>
                      <a:lnTo>
                        <a:pt x="215" y="643"/>
                      </a:lnTo>
                      <a:lnTo>
                        <a:pt x="200" y="615"/>
                      </a:lnTo>
                      <a:lnTo>
                        <a:pt x="210" y="593"/>
                      </a:lnTo>
                      <a:lnTo>
                        <a:pt x="231" y="570"/>
                      </a:lnTo>
                      <a:lnTo>
                        <a:pt x="222" y="548"/>
                      </a:lnTo>
                      <a:lnTo>
                        <a:pt x="231" y="520"/>
                      </a:lnTo>
                      <a:lnTo>
                        <a:pt x="222" y="492"/>
                      </a:lnTo>
                      <a:lnTo>
                        <a:pt x="210" y="475"/>
                      </a:lnTo>
                      <a:lnTo>
                        <a:pt x="193" y="449"/>
                      </a:lnTo>
                      <a:lnTo>
                        <a:pt x="184" y="437"/>
                      </a:lnTo>
                      <a:lnTo>
                        <a:pt x="163" y="409"/>
                      </a:lnTo>
                      <a:lnTo>
                        <a:pt x="163" y="404"/>
                      </a:lnTo>
                      <a:lnTo>
                        <a:pt x="139" y="404"/>
                      </a:lnTo>
                      <a:lnTo>
                        <a:pt x="125" y="388"/>
                      </a:lnTo>
                      <a:lnTo>
                        <a:pt x="92" y="388"/>
                      </a:lnTo>
                      <a:lnTo>
                        <a:pt x="59" y="371"/>
                      </a:lnTo>
                      <a:lnTo>
                        <a:pt x="54" y="355"/>
                      </a:lnTo>
                      <a:lnTo>
                        <a:pt x="16" y="338"/>
                      </a:lnTo>
                      <a:lnTo>
                        <a:pt x="21" y="326"/>
                      </a:lnTo>
                      <a:lnTo>
                        <a:pt x="0" y="310"/>
                      </a:lnTo>
                      <a:lnTo>
                        <a:pt x="4" y="300"/>
                      </a:lnTo>
                      <a:lnTo>
                        <a:pt x="4" y="282"/>
                      </a:lnTo>
                      <a:lnTo>
                        <a:pt x="21" y="277"/>
                      </a:lnTo>
                      <a:lnTo>
                        <a:pt x="21" y="260"/>
                      </a:lnTo>
                      <a:lnTo>
                        <a:pt x="33" y="256"/>
                      </a:lnTo>
                      <a:lnTo>
                        <a:pt x="75" y="260"/>
                      </a:lnTo>
                      <a:lnTo>
                        <a:pt x="75" y="244"/>
                      </a:lnTo>
                      <a:lnTo>
                        <a:pt x="87" y="256"/>
                      </a:lnTo>
                      <a:lnTo>
                        <a:pt x="101" y="256"/>
                      </a:lnTo>
                      <a:lnTo>
                        <a:pt x="101" y="239"/>
                      </a:lnTo>
                      <a:lnTo>
                        <a:pt x="108" y="244"/>
                      </a:lnTo>
                      <a:lnTo>
                        <a:pt x="139" y="227"/>
                      </a:lnTo>
                      <a:lnTo>
                        <a:pt x="130" y="215"/>
                      </a:lnTo>
                      <a:lnTo>
                        <a:pt x="156" y="206"/>
                      </a:lnTo>
                      <a:lnTo>
                        <a:pt x="163" y="199"/>
                      </a:lnTo>
                      <a:lnTo>
                        <a:pt x="210" y="182"/>
                      </a:lnTo>
                      <a:lnTo>
                        <a:pt x="222" y="166"/>
                      </a:lnTo>
                      <a:lnTo>
                        <a:pt x="252" y="161"/>
                      </a:lnTo>
                      <a:lnTo>
                        <a:pt x="276" y="145"/>
                      </a:lnTo>
                      <a:lnTo>
                        <a:pt x="307" y="133"/>
                      </a:lnTo>
                      <a:lnTo>
                        <a:pt x="319" y="128"/>
                      </a:lnTo>
                      <a:lnTo>
                        <a:pt x="340" y="145"/>
                      </a:lnTo>
                      <a:lnTo>
                        <a:pt x="356" y="128"/>
                      </a:lnTo>
                      <a:lnTo>
                        <a:pt x="361" y="128"/>
                      </a:lnTo>
                      <a:lnTo>
                        <a:pt x="361" y="145"/>
                      </a:lnTo>
                      <a:lnTo>
                        <a:pt x="373" y="149"/>
                      </a:lnTo>
                      <a:lnTo>
                        <a:pt x="453" y="149"/>
                      </a:lnTo>
                      <a:lnTo>
                        <a:pt x="465" y="182"/>
                      </a:lnTo>
                      <a:lnTo>
                        <a:pt x="479" y="206"/>
                      </a:lnTo>
                      <a:lnTo>
                        <a:pt x="503" y="199"/>
                      </a:lnTo>
                      <a:lnTo>
                        <a:pt x="508" y="206"/>
                      </a:lnTo>
                      <a:lnTo>
                        <a:pt x="541" y="215"/>
                      </a:lnTo>
                      <a:lnTo>
                        <a:pt x="562" y="206"/>
                      </a:lnTo>
                      <a:lnTo>
                        <a:pt x="571" y="215"/>
                      </a:lnTo>
                      <a:lnTo>
                        <a:pt x="578" y="206"/>
                      </a:lnTo>
                      <a:lnTo>
                        <a:pt x="616" y="222"/>
                      </a:lnTo>
                      <a:lnTo>
                        <a:pt x="647" y="215"/>
                      </a:lnTo>
                      <a:lnTo>
                        <a:pt x="671" y="227"/>
                      </a:lnTo>
                      <a:lnTo>
                        <a:pt x="697" y="206"/>
                      </a:lnTo>
                      <a:lnTo>
                        <a:pt x="722" y="199"/>
                      </a:lnTo>
                      <a:lnTo>
                        <a:pt x="739" y="173"/>
                      </a:lnTo>
                      <a:lnTo>
                        <a:pt x="739" y="161"/>
                      </a:lnTo>
                      <a:lnTo>
                        <a:pt x="718" y="145"/>
                      </a:lnTo>
                      <a:lnTo>
                        <a:pt x="718" y="133"/>
                      </a:lnTo>
                      <a:lnTo>
                        <a:pt x="718" y="128"/>
                      </a:lnTo>
                      <a:lnTo>
                        <a:pt x="701" y="111"/>
                      </a:lnTo>
                      <a:lnTo>
                        <a:pt x="718" y="62"/>
                      </a:lnTo>
                      <a:lnTo>
                        <a:pt x="734" y="62"/>
                      </a:lnTo>
                      <a:lnTo>
                        <a:pt x="739" y="38"/>
                      </a:lnTo>
                      <a:lnTo>
                        <a:pt x="760" y="34"/>
                      </a:lnTo>
                      <a:lnTo>
                        <a:pt x="777" y="0"/>
                      </a:lnTo>
                      <a:lnTo>
                        <a:pt x="859" y="38"/>
                      </a:lnTo>
                      <a:lnTo>
                        <a:pt x="897" y="38"/>
                      </a:lnTo>
                      <a:lnTo>
                        <a:pt x="956" y="71"/>
                      </a:lnTo>
                      <a:lnTo>
                        <a:pt x="973" y="62"/>
                      </a:lnTo>
                      <a:lnTo>
                        <a:pt x="1011" y="78"/>
                      </a:lnTo>
                      <a:lnTo>
                        <a:pt x="1011" y="95"/>
                      </a:lnTo>
                      <a:lnTo>
                        <a:pt x="1020" y="111"/>
                      </a:lnTo>
                      <a:lnTo>
                        <a:pt x="1011" y="128"/>
                      </a:lnTo>
                      <a:lnTo>
                        <a:pt x="1025" y="133"/>
                      </a:lnTo>
                      <a:lnTo>
                        <a:pt x="1020" y="149"/>
                      </a:lnTo>
                      <a:lnTo>
                        <a:pt x="1063" y="173"/>
                      </a:lnTo>
                      <a:lnTo>
                        <a:pt x="1079" y="173"/>
                      </a:lnTo>
                      <a:lnTo>
                        <a:pt x="1086" y="189"/>
                      </a:lnTo>
                      <a:lnTo>
                        <a:pt x="1117" y="189"/>
                      </a:lnTo>
                      <a:lnTo>
                        <a:pt x="1129" y="189"/>
                      </a:lnTo>
                      <a:lnTo>
                        <a:pt x="1141" y="189"/>
                      </a:lnTo>
                      <a:lnTo>
                        <a:pt x="1167" y="173"/>
                      </a:lnTo>
                      <a:lnTo>
                        <a:pt x="1237" y="161"/>
                      </a:lnTo>
                      <a:lnTo>
                        <a:pt x="1280" y="166"/>
                      </a:lnTo>
                      <a:lnTo>
                        <a:pt x="1297" y="173"/>
                      </a:lnTo>
                      <a:lnTo>
                        <a:pt x="1330" y="173"/>
                      </a:lnTo>
                      <a:lnTo>
                        <a:pt x="1351" y="189"/>
                      </a:lnTo>
                      <a:lnTo>
                        <a:pt x="1356" y="206"/>
                      </a:lnTo>
                      <a:lnTo>
                        <a:pt x="1419" y="215"/>
                      </a:lnTo>
                      <a:lnTo>
                        <a:pt x="1415" y="239"/>
                      </a:lnTo>
                      <a:lnTo>
                        <a:pt x="1457" y="272"/>
                      </a:lnTo>
                      <a:lnTo>
                        <a:pt x="1507" y="260"/>
                      </a:lnTo>
                      <a:lnTo>
                        <a:pt x="1528" y="277"/>
                      </a:lnTo>
                      <a:lnTo>
                        <a:pt x="1615" y="282"/>
                      </a:lnTo>
                      <a:lnTo>
                        <a:pt x="1653" y="272"/>
                      </a:lnTo>
                      <a:lnTo>
                        <a:pt x="1776" y="244"/>
                      </a:lnTo>
                      <a:lnTo>
                        <a:pt x="1783" y="222"/>
                      </a:lnTo>
                      <a:lnTo>
                        <a:pt x="1859" y="173"/>
                      </a:lnTo>
                      <a:lnTo>
                        <a:pt x="1901" y="182"/>
                      </a:lnTo>
                      <a:lnTo>
                        <a:pt x="1939" y="215"/>
                      </a:lnTo>
                      <a:lnTo>
                        <a:pt x="1960" y="215"/>
                      </a:lnTo>
                      <a:lnTo>
                        <a:pt x="1998" y="206"/>
                      </a:lnTo>
                      <a:lnTo>
                        <a:pt x="2019" y="215"/>
                      </a:lnTo>
                      <a:lnTo>
                        <a:pt x="2031" y="222"/>
                      </a:lnTo>
                      <a:lnTo>
                        <a:pt x="1982" y="317"/>
                      </a:lnTo>
                      <a:lnTo>
                        <a:pt x="1965" y="338"/>
                      </a:lnTo>
                      <a:lnTo>
                        <a:pt x="1965" y="367"/>
                      </a:lnTo>
                      <a:lnTo>
                        <a:pt x="1944" y="383"/>
                      </a:lnTo>
                      <a:lnTo>
                        <a:pt x="1956" y="393"/>
                      </a:lnTo>
                      <a:lnTo>
                        <a:pt x="1977" y="421"/>
                      </a:lnTo>
                      <a:lnTo>
                        <a:pt x="1998" y="404"/>
                      </a:lnTo>
                      <a:lnTo>
                        <a:pt x="2048" y="404"/>
                      </a:lnTo>
                      <a:lnTo>
                        <a:pt x="2074" y="421"/>
                      </a:lnTo>
                      <a:lnTo>
                        <a:pt x="2107" y="388"/>
                      </a:lnTo>
                      <a:lnTo>
                        <a:pt x="2161" y="388"/>
                      </a:lnTo>
                      <a:lnTo>
                        <a:pt x="2178" y="409"/>
                      </a:lnTo>
                      <a:lnTo>
                        <a:pt x="2199" y="421"/>
                      </a:lnTo>
                      <a:lnTo>
                        <a:pt x="2199" y="437"/>
                      </a:lnTo>
                      <a:lnTo>
                        <a:pt x="2237" y="466"/>
                      </a:lnTo>
                      <a:lnTo>
                        <a:pt x="2253" y="492"/>
                      </a:lnTo>
                      <a:lnTo>
                        <a:pt x="2253" y="504"/>
                      </a:lnTo>
                      <a:lnTo>
                        <a:pt x="2237" y="520"/>
                      </a:lnTo>
                      <a:lnTo>
                        <a:pt x="2215" y="515"/>
                      </a:lnTo>
                      <a:lnTo>
                        <a:pt x="2182" y="504"/>
                      </a:lnTo>
                      <a:lnTo>
                        <a:pt x="2178" y="515"/>
                      </a:lnTo>
                      <a:lnTo>
                        <a:pt x="2145" y="504"/>
                      </a:lnTo>
                      <a:lnTo>
                        <a:pt x="2107" y="520"/>
                      </a:lnTo>
                      <a:lnTo>
                        <a:pt x="2074" y="520"/>
                      </a:lnTo>
                      <a:lnTo>
                        <a:pt x="2074" y="537"/>
                      </a:lnTo>
                      <a:lnTo>
                        <a:pt x="2036" y="537"/>
                      </a:lnTo>
                      <a:lnTo>
                        <a:pt x="2031" y="548"/>
                      </a:lnTo>
                      <a:lnTo>
                        <a:pt x="2031" y="548"/>
                      </a:lnTo>
                      <a:lnTo>
                        <a:pt x="2031" y="54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2" name="Freeform 506">
                  <a:extLst>
                    <a:ext uri="{FF2B5EF4-FFF2-40B4-BE49-F238E27FC236}">
                      <a16:creationId xmlns:a16="http://schemas.microsoft.com/office/drawing/2014/main" id="{ECFBD971-788B-4920-8793-607981FB3B4A}"/>
                    </a:ext>
                  </a:extLst>
                </p:cNvPr>
                <p:cNvSpPr>
                  <a:spLocks/>
                </p:cNvSpPr>
                <p:nvPr/>
              </p:nvSpPr>
              <p:spPr bwMode="gray">
                <a:xfrm>
                  <a:off x="7317394" y="2728220"/>
                  <a:ext cx="72043" cy="51876"/>
                </a:xfrm>
                <a:custGeom>
                  <a:avLst/>
                  <a:gdLst>
                    <a:gd name="T0" fmla="*/ 21 w 175"/>
                    <a:gd name="T1" fmla="*/ 126 h 126"/>
                    <a:gd name="T2" fmla="*/ 9 w 175"/>
                    <a:gd name="T3" fmla="*/ 126 h 126"/>
                    <a:gd name="T4" fmla="*/ 0 w 175"/>
                    <a:gd name="T5" fmla="*/ 88 h 126"/>
                    <a:gd name="T6" fmla="*/ 5 w 175"/>
                    <a:gd name="T7" fmla="*/ 81 h 126"/>
                    <a:gd name="T8" fmla="*/ 0 w 175"/>
                    <a:gd name="T9" fmla="*/ 71 h 126"/>
                    <a:gd name="T10" fmla="*/ 5 w 175"/>
                    <a:gd name="T11" fmla="*/ 43 h 126"/>
                    <a:gd name="T12" fmla="*/ 9 w 175"/>
                    <a:gd name="T13" fmla="*/ 43 h 126"/>
                    <a:gd name="T14" fmla="*/ 21 w 175"/>
                    <a:gd name="T15" fmla="*/ 26 h 126"/>
                    <a:gd name="T16" fmla="*/ 43 w 175"/>
                    <a:gd name="T17" fmla="*/ 17 h 126"/>
                    <a:gd name="T18" fmla="*/ 59 w 175"/>
                    <a:gd name="T19" fmla="*/ 17 h 126"/>
                    <a:gd name="T20" fmla="*/ 66 w 175"/>
                    <a:gd name="T21" fmla="*/ 10 h 126"/>
                    <a:gd name="T22" fmla="*/ 80 w 175"/>
                    <a:gd name="T23" fmla="*/ 10 h 126"/>
                    <a:gd name="T24" fmla="*/ 97 w 175"/>
                    <a:gd name="T25" fmla="*/ 0 h 126"/>
                    <a:gd name="T26" fmla="*/ 130 w 175"/>
                    <a:gd name="T27" fmla="*/ 0 h 126"/>
                    <a:gd name="T28" fmla="*/ 147 w 175"/>
                    <a:gd name="T29" fmla="*/ 17 h 126"/>
                    <a:gd name="T30" fmla="*/ 170 w 175"/>
                    <a:gd name="T31" fmla="*/ 33 h 126"/>
                    <a:gd name="T32" fmla="*/ 175 w 175"/>
                    <a:gd name="T33" fmla="*/ 50 h 126"/>
                    <a:gd name="T34" fmla="*/ 175 w 175"/>
                    <a:gd name="T35" fmla="*/ 88 h 126"/>
                    <a:gd name="T36" fmla="*/ 163 w 175"/>
                    <a:gd name="T37" fmla="*/ 88 h 126"/>
                    <a:gd name="T38" fmla="*/ 163 w 175"/>
                    <a:gd name="T39" fmla="*/ 102 h 126"/>
                    <a:gd name="T40" fmla="*/ 109 w 175"/>
                    <a:gd name="T41" fmla="*/ 102 h 126"/>
                    <a:gd name="T42" fmla="*/ 92 w 175"/>
                    <a:gd name="T43" fmla="*/ 118 h 126"/>
                    <a:gd name="T44" fmla="*/ 76 w 175"/>
                    <a:gd name="T45" fmla="*/ 126 h 126"/>
                    <a:gd name="T46" fmla="*/ 38 w 175"/>
                    <a:gd name="T47" fmla="*/ 126 h 126"/>
                    <a:gd name="T48" fmla="*/ 21 w 175"/>
                    <a:gd name="T49" fmla="*/ 126 h 126"/>
                    <a:gd name="T50" fmla="*/ 21 w 175"/>
                    <a:gd name="T51" fmla="*/ 126 h 126"/>
                    <a:gd name="T52" fmla="*/ 21 w 175"/>
                    <a:gd name="T53"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26">
                      <a:moveTo>
                        <a:pt x="21" y="126"/>
                      </a:moveTo>
                      <a:lnTo>
                        <a:pt x="9" y="126"/>
                      </a:lnTo>
                      <a:lnTo>
                        <a:pt x="0" y="88"/>
                      </a:lnTo>
                      <a:lnTo>
                        <a:pt x="5" y="81"/>
                      </a:lnTo>
                      <a:lnTo>
                        <a:pt x="0" y="71"/>
                      </a:lnTo>
                      <a:lnTo>
                        <a:pt x="5" y="43"/>
                      </a:lnTo>
                      <a:lnTo>
                        <a:pt x="9" y="43"/>
                      </a:lnTo>
                      <a:lnTo>
                        <a:pt x="21" y="26"/>
                      </a:lnTo>
                      <a:lnTo>
                        <a:pt x="43" y="17"/>
                      </a:lnTo>
                      <a:lnTo>
                        <a:pt x="59" y="17"/>
                      </a:lnTo>
                      <a:lnTo>
                        <a:pt x="66" y="10"/>
                      </a:lnTo>
                      <a:lnTo>
                        <a:pt x="80" y="10"/>
                      </a:lnTo>
                      <a:lnTo>
                        <a:pt x="97" y="0"/>
                      </a:lnTo>
                      <a:lnTo>
                        <a:pt x="130" y="0"/>
                      </a:lnTo>
                      <a:lnTo>
                        <a:pt x="147" y="17"/>
                      </a:lnTo>
                      <a:lnTo>
                        <a:pt x="170" y="33"/>
                      </a:lnTo>
                      <a:lnTo>
                        <a:pt x="175" y="50"/>
                      </a:lnTo>
                      <a:lnTo>
                        <a:pt x="175" y="88"/>
                      </a:lnTo>
                      <a:lnTo>
                        <a:pt x="163" y="88"/>
                      </a:lnTo>
                      <a:lnTo>
                        <a:pt x="163" y="102"/>
                      </a:lnTo>
                      <a:lnTo>
                        <a:pt x="109" y="102"/>
                      </a:lnTo>
                      <a:lnTo>
                        <a:pt x="92" y="118"/>
                      </a:lnTo>
                      <a:lnTo>
                        <a:pt x="76" y="126"/>
                      </a:lnTo>
                      <a:lnTo>
                        <a:pt x="38" y="126"/>
                      </a:lnTo>
                      <a:lnTo>
                        <a:pt x="21" y="126"/>
                      </a:lnTo>
                      <a:lnTo>
                        <a:pt x="21" y="126"/>
                      </a:lnTo>
                      <a:lnTo>
                        <a:pt x="21" y="1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7" name="Freeform 511">
                  <a:extLst>
                    <a:ext uri="{FF2B5EF4-FFF2-40B4-BE49-F238E27FC236}">
                      <a16:creationId xmlns:a16="http://schemas.microsoft.com/office/drawing/2014/main" id="{76456601-3D93-4A29-A87D-B2DC40919971}"/>
                    </a:ext>
                  </a:extLst>
                </p:cNvPr>
                <p:cNvSpPr>
                  <a:spLocks noEditPoints="1"/>
                </p:cNvSpPr>
                <p:nvPr/>
              </p:nvSpPr>
              <p:spPr bwMode="gray">
                <a:xfrm>
                  <a:off x="7134612" y="2947253"/>
                  <a:ext cx="9880" cy="10705"/>
                </a:xfrm>
                <a:custGeom>
                  <a:avLst/>
                  <a:gdLst>
                    <a:gd name="T0" fmla="*/ 7 w 24"/>
                    <a:gd name="T1" fmla="*/ 12 h 26"/>
                    <a:gd name="T2" fmla="*/ 0 w 24"/>
                    <a:gd name="T3" fmla="*/ 0 h 26"/>
                    <a:gd name="T4" fmla="*/ 7 w 24"/>
                    <a:gd name="T5" fmla="*/ 0 h 26"/>
                    <a:gd name="T6" fmla="*/ 7 w 24"/>
                    <a:gd name="T7" fmla="*/ 12 h 26"/>
                    <a:gd name="T8" fmla="*/ 7 w 24"/>
                    <a:gd name="T9" fmla="*/ 12 h 26"/>
                    <a:gd name="T10" fmla="*/ 7 w 24"/>
                    <a:gd name="T11" fmla="*/ 12 h 26"/>
                    <a:gd name="T12" fmla="*/ 24 w 24"/>
                    <a:gd name="T13" fmla="*/ 26 h 26"/>
                    <a:gd name="T14" fmla="*/ 7 w 24"/>
                    <a:gd name="T15" fmla="*/ 16 h 26"/>
                    <a:gd name="T16" fmla="*/ 7 w 24"/>
                    <a:gd name="T17" fmla="*/ 12 h 26"/>
                    <a:gd name="T18" fmla="*/ 24 w 24"/>
                    <a:gd name="T19" fmla="*/ 16 h 26"/>
                    <a:gd name="T20" fmla="*/ 24 w 24"/>
                    <a:gd name="T21" fmla="*/ 26 h 26"/>
                    <a:gd name="T22" fmla="*/ 24 w 24"/>
                    <a:gd name="T23" fmla="*/ 26 h 26"/>
                    <a:gd name="T24" fmla="*/ 24 w 24"/>
                    <a:gd name="T2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6">
                      <a:moveTo>
                        <a:pt x="7" y="12"/>
                      </a:moveTo>
                      <a:lnTo>
                        <a:pt x="0" y="0"/>
                      </a:lnTo>
                      <a:lnTo>
                        <a:pt x="7" y="0"/>
                      </a:lnTo>
                      <a:lnTo>
                        <a:pt x="7" y="12"/>
                      </a:lnTo>
                      <a:lnTo>
                        <a:pt x="7" y="12"/>
                      </a:lnTo>
                      <a:lnTo>
                        <a:pt x="7" y="12"/>
                      </a:lnTo>
                      <a:close/>
                      <a:moveTo>
                        <a:pt x="24" y="26"/>
                      </a:moveTo>
                      <a:lnTo>
                        <a:pt x="7" y="16"/>
                      </a:lnTo>
                      <a:lnTo>
                        <a:pt x="7" y="12"/>
                      </a:lnTo>
                      <a:lnTo>
                        <a:pt x="24" y="16"/>
                      </a:lnTo>
                      <a:lnTo>
                        <a:pt x="24" y="26"/>
                      </a:lnTo>
                      <a:lnTo>
                        <a:pt x="24" y="26"/>
                      </a:lnTo>
                      <a:lnTo>
                        <a:pt x="24" y="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9" name="Freeform 513">
                  <a:extLst>
                    <a:ext uri="{FF2B5EF4-FFF2-40B4-BE49-F238E27FC236}">
                      <a16:creationId xmlns:a16="http://schemas.microsoft.com/office/drawing/2014/main" id="{E20907F6-E55F-4870-911A-E9AD3BFA850B}"/>
                    </a:ext>
                  </a:extLst>
                </p:cNvPr>
                <p:cNvSpPr>
                  <a:spLocks/>
                </p:cNvSpPr>
                <p:nvPr/>
              </p:nvSpPr>
              <p:spPr bwMode="gray">
                <a:xfrm>
                  <a:off x="7260171" y="2685402"/>
                  <a:ext cx="53518" cy="60523"/>
                </a:xfrm>
                <a:custGeom>
                  <a:avLst/>
                  <a:gdLst>
                    <a:gd name="T0" fmla="*/ 0 w 130"/>
                    <a:gd name="T1" fmla="*/ 90 h 147"/>
                    <a:gd name="T2" fmla="*/ 7 w 130"/>
                    <a:gd name="T3" fmla="*/ 81 h 147"/>
                    <a:gd name="T4" fmla="*/ 0 w 130"/>
                    <a:gd name="T5" fmla="*/ 62 h 147"/>
                    <a:gd name="T6" fmla="*/ 0 w 130"/>
                    <a:gd name="T7" fmla="*/ 45 h 147"/>
                    <a:gd name="T8" fmla="*/ 16 w 130"/>
                    <a:gd name="T9" fmla="*/ 41 h 147"/>
                    <a:gd name="T10" fmla="*/ 16 w 130"/>
                    <a:gd name="T11" fmla="*/ 24 h 147"/>
                    <a:gd name="T12" fmla="*/ 28 w 130"/>
                    <a:gd name="T13" fmla="*/ 17 h 147"/>
                    <a:gd name="T14" fmla="*/ 37 w 130"/>
                    <a:gd name="T15" fmla="*/ 24 h 147"/>
                    <a:gd name="T16" fmla="*/ 45 w 130"/>
                    <a:gd name="T17" fmla="*/ 17 h 147"/>
                    <a:gd name="T18" fmla="*/ 28 w 130"/>
                    <a:gd name="T19" fmla="*/ 0 h 147"/>
                    <a:gd name="T20" fmla="*/ 54 w 130"/>
                    <a:gd name="T21" fmla="*/ 0 h 147"/>
                    <a:gd name="T22" fmla="*/ 87 w 130"/>
                    <a:gd name="T23" fmla="*/ 36 h 147"/>
                    <a:gd name="T24" fmla="*/ 130 w 130"/>
                    <a:gd name="T25" fmla="*/ 57 h 147"/>
                    <a:gd name="T26" fmla="*/ 130 w 130"/>
                    <a:gd name="T27" fmla="*/ 62 h 147"/>
                    <a:gd name="T28" fmla="*/ 125 w 130"/>
                    <a:gd name="T29" fmla="*/ 62 h 147"/>
                    <a:gd name="T30" fmla="*/ 108 w 130"/>
                    <a:gd name="T31" fmla="*/ 74 h 147"/>
                    <a:gd name="T32" fmla="*/ 113 w 130"/>
                    <a:gd name="T33" fmla="*/ 81 h 147"/>
                    <a:gd name="T34" fmla="*/ 108 w 130"/>
                    <a:gd name="T35" fmla="*/ 90 h 147"/>
                    <a:gd name="T36" fmla="*/ 92 w 130"/>
                    <a:gd name="T37" fmla="*/ 97 h 147"/>
                    <a:gd name="T38" fmla="*/ 92 w 130"/>
                    <a:gd name="T39" fmla="*/ 81 h 147"/>
                    <a:gd name="T40" fmla="*/ 87 w 130"/>
                    <a:gd name="T41" fmla="*/ 81 h 147"/>
                    <a:gd name="T42" fmla="*/ 54 w 130"/>
                    <a:gd name="T43" fmla="*/ 118 h 147"/>
                    <a:gd name="T44" fmla="*/ 59 w 130"/>
                    <a:gd name="T45" fmla="*/ 130 h 147"/>
                    <a:gd name="T46" fmla="*/ 59 w 130"/>
                    <a:gd name="T47" fmla="*/ 147 h 147"/>
                    <a:gd name="T48" fmla="*/ 45 w 130"/>
                    <a:gd name="T49" fmla="*/ 135 h 147"/>
                    <a:gd name="T50" fmla="*/ 28 w 130"/>
                    <a:gd name="T51" fmla="*/ 114 h 147"/>
                    <a:gd name="T52" fmla="*/ 7 w 130"/>
                    <a:gd name="T53" fmla="*/ 97 h 147"/>
                    <a:gd name="T54" fmla="*/ 16 w 130"/>
                    <a:gd name="T55" fmla="*/ 102 h 147"/>
                    <a:gd name="T56" fmla="*/ 16 w 130"/>
                    <a:gd name="T57" fmla="*/ 97 h 147"/>
                    <a:gd name="T58" fmla="*/ 0 w 130"/>
                    <a:gd name="T59" fmla="*/ 97 h 147"/>
                    <a:gd name="T60" fmla="*/ 0 w 130"/>
                    <a:gd name="T61" fmla="*/ 90 h 147"/>
                    <a:gd name="T62" fmla="*/ 0 w 130"/>
                    <a:gd name="T63" fmla="*/ 90 h 147"/>
                    <a:gd name="T64" fmla="*/ 0 w 130"/>
                    <a:gd name="T65" fmla="*/ 9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0" h="147">
                      <a:moveTo>
                        <a:pt x="0" y="90"/>
                      </a:moveTo>
                      <a:lnTo>
                        <a:pt x="7" y="81"/>
                      </a:lnTo>
                      <a:lnTo>
                        <a:pt x="0" y="62"/>
                      </a:lnTo>
                      <a:lnTo>
                        <a:pt x="0" y="45"/>
                      </a:lnTo>
                      <a:lnTo>
                        <a:pt x="16" y="41"/>
                      </a:lnTo>
                      <a:lnTo>
                        <a:pt x="16" y="24"/>
                      </a:lnTo>
                      <a:lnTo>
                        <a:pt x="28" y="17"/>
                      </a:lnTo>
                      <a:lnTo>
                        <a:pt x="37" y="24"/>
                      </a:lnTo>
                      <a:lnTo>
                        <a:pt x="45" y="17"/>
                      </a:lnTo>
                      <a:lnTo>
                        <a:pt x="28" y="0"/>
                      </a:lnTo>
                      <a:lnTo>
                        <a:pt x="54" y="0"/>
                      </a:lnTo>
                      <a:lnTo>
                        <a:pt x="87" y="36"/>
                      </a:lnTo>
                      <a:lnTo>
                        <a:pt x="130" y="57"/>
                      </a:lnTo>
                      <a:lnTo>
                        <a:pt x="130" y="62"/>
                      </a:lnTo>
                      <a:lnTo>
                        <a:pt x="125" y="62"/>
                      </a:lnTo>
                      <a:lnTo>
                        <a:pt x="108" y="74"/>
                      </a:lnTo>
                      <a:lnTo>
                        <a:pt x="113" y="81"/>
                      </a:lnTo>
                      <a:lnTo>
                        <a:pt x="108" y="90"/>
                      </a:lnTo>
                      <a:lnTo>
                        <a:pt x="92" y="97"/>
                      </a:lnTo>
                      <a:lnTo>
                        <a:pt x="92" y="81"/>
                      </a:lnTo>
                      <a:lnTo>
                        <a:pt x="87" y="81"/>
                      </a:lnTo>
                      <a:lnTo>
                        <a:pt x="54" y="118"/>
                      </a:lnTo>
                      <a:lnTo>
                        <a:pt x="59" y="130"/>
                      </a:lnTo>
                      <a:lnTo>
                        <a:pt x="59" y="147"/>
                      </a:lnTo>
                      <a:lnTo>
                        <a:pt x="45" y="135"/>
                      </a:lnTo>
                      <a:lnTo>
                        <a:pt x="28" y="114"/>
                      </a:lnTo>
                      <a:lnTo>
                        <a:pt x="7" y="97"/>
                      </a:lnTo>
                      <a:lnTo>
                        <a:pt x="16" y="102"/>
                      </a:lnTo>
                      <a:lnTo>
                        <a:pt x="16" y="97"/>
                      </a:lnTo>
                      <a:lnTo>
                        <a:pt x="0" y="97"/>
                      </a:lnTo>
                      <a:lnTo>
                        <a:pt x="0" y="90"/>
                      </a:lnTo>
                      <a:lnTo>
                        <a:pt x="0" y="90"/>
                      </a:lnTo>
                      <a:lnTo>
                        <a:pt x="0" y="9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5" name="Freeform 522">
                  <a:extLst>
                    <a:ext uri="{FF2B5EF4-FFF2-40B4-BE49-F238E27FC236}">
                      <a16:creationId xmlns:a16="http://schemas.microsoft.com/office/drawing/2014/main" id="{9FE0FC34-957A-43B0-911D-F334EB4DA4CE}"/>
                    </a:ext>
                  </a:extLst>
                </p:cNvPr>
                <p:cNvSpPr>
                  <a:spLocks noEditPoints="1"/>
                </p:cNvSpPr>
                <p:nvPr/>
              </p:nvSpPr>
              <p:spPr bwMode="gray">
                <a:xfrm>
                  <a:off x="6824213" y="2308270"/>
                  <a:ext cx="111151" cy="107046"/>
                </a:xfrm>
                <a:custGeom>
                  <a:avLst/>
                  <a:gdLst>
                    <a:gd name="T0" fmla="*/ 156 w 270"/>
                    <a:gd name="T1" fmla="*/ 0 h 260"/>
                    <a:gd name="T2" fmla="*/ 161 w 270"/>
                    <a:gd name="T3" fmla="*/ 0 h 260"/>
                    <a:gd name="T4" fmla="*/ 161 w 270"/>
                    <a:gd name="T5" fmla="*/ 0 h 260"/>
                    <a:gd name="T6" fmla="*/ 270 w 270"/>
                    <a:gd name="T7" fmla="*/ 49 h 260"/>
                    <a:gd name="T8" fmla="*/ 237 w 270"/>
                    <a:gd name="T9" fmla="*/ 78 h 260"/>
                    <a:gd name="T10" fmla="*/ 253 w 270"/>
                    <a:gd name="T11" fmla="*/ 104 h 260"/>
                    <a:gd name="T12" fmla="*/ 232 w 270"/>
                    <a:gd name="T13" fmla="*/ 132 h 260"/>
                    <a:gd name="T14" fmla="*/ 178 w 270"/>
                    <a:gd name="T15" fmla="*/ 161 h 260"/>
                    <a:gd name="T16" fmla="*/ 199 w 270"/>
                    <a:gd name="T17" fmla="*/ 205 h 260"/>
                    <a:gd name="T18" fmla="*/ 185 w 270"/>
                    <a:gd name="T19" fmla="*/ 222 h 260"/>
                    <a:gd name="T20" fmla="*/ 185 w 270"/>
                    <a:gd name="T21" fmla="*/ 243 h 260"/>
                    <a:gd name="T22" fmla="*/ 161 w 270"/>
                    <a:gd name="T23" fmla="*/ 260 h 260"/>
                    <a:gd name="T24" fmla="*/ 168 w 270"/>
                    <a:gd name="T25" fmla="*/ 222 h 260"/>
                    <a:gd name="T26" fmla="*/ 130 w 270"/>
                    <a:gd name="T27" fmla="*/ 217 h 260"/>
                    <a:gd name="T28" fmla="*/ 109 w 270"/>
                    <a:gd name="T29" fmla="*/ 198 h 260"/>
                    <a:gd name="T30" fmla="*/ 85 w 270"/>
                    <a:gd name="T31" fmla="*/ 198 h 260"/>
                    <a:gd name="T32" fmla="*/ 69 w 270"/>
                    <a:gd name="T33" fmla="*/ 198 h 260"/>
                    <a:gd name="T34" fmla="*/ 59 w 270"/>
                    <a:gd name="T35" fmla="*/ 198 h 260"/>
                    <a:gd name="T36" fmla="*/ 0 w 270"/>
                    <a:gd name="T37" fmla="*/ 189 h 260"/>
                    <a:gd name="T38" fmla="*/ 31 w 270"/>
                    <a:gd name="T39" fmla="*/ 182 h 260"/>
                    <a:gd name="T40" fmla="*/ 55 w 270"/>
                    <a:gd name="T41" fmla="*/ 198 h 260"/>
                    <a:gd name="T42" fmla="*/ 38 w 270"/>
                    <a:gd name="T43" fmla="*/ 182 h 260"/>
                    <a:gd name="T44" fmla="*/ 22 w 270"/>
                    <a:gd name="T45" fmla="*/ 165 h 260"/>
                    <a:gd name="T46" fmla="*/ 31 w 270"/>
                    <a:gd name="T47" fmla="*/ 161 h 260"/>
                    <a:gd name="T48" fmla="*/ 38 w 270"/>
                    <a:gd name="T49" fmla="*/ 144 h 260"/>
                    <a:gd name="T50" fmla="*/ 85 w 270"/>
                    <a:gd name="T51" fmla="*/ 94 h 260"/>
                    <a:gd name="T52" fmla="*/ 168 w 270"/>
                    <a:gd name="T53" fmla="*/ 94 h 260"/>
                    <a:gd name="T54" fmla="*/ 156 w 270"/>
                    <a:gd name="T55" fmla="*/ 78 h 260"/>
                    <a:gd name="T56" fmla="*/ 161 w 270"/>
                    <a:gd name="T57" fmla="*/ 66 h 260"/>
                    <a:gd name="T58" fmla="*/ 140 w 270"/>
                    <a:gd name="T59" fmla="*/ 38 h 260"/>
                    <a:gd name="T60" fmla="*/ 123 w 270"/>
                    <a:gd name="T61" fmla="*/ 66 h 260"/>
                    <a:gd name="T62" fmla="*/ 114 w 270"/>
                    <a:gd name="T63" fmla="*/ 78 h 260"/>
                    <a:gd name="T64" fmla="*/ 114 w 270"/>
                    <a:gd name="T65" fmla="*/ 104 h 260"/>
                    <a:gd name="T66" fmla="*/ 93 w 270"/>
                    <a:gd name="T67" fmla="*/ 49 h 260"/>
                    <a:gd name="T68" fmla="*/ 114 w 270"/>
                    <a:gd name="T69" fmla="*/ 49 h 260"/>
                    <a:gd name="T70" fmla="*/ 178 w 270"/>
                    <a:gd name="T71" fmla="*/ 9 h 260"/>
                    <a:gd name="T72" fmla="*/ 270 w 270"/>
                    <a:gd name="T73" fmla="*/ 21 h 260"/>
                    <a:gd name="T74" fmla="*/ 270 w 270"/>
                    <a:gd name="T75" fmla="*/ 21 h 260"/>
                    <a:gd name="T76" fmla="*/ 93 w 270"/>
                    <a:gd name="T77" fmla="*/ 38 h 260"/>
                    <a:gd name="T78" fmla="*/ 109 w 270"/>
                    <a:gd name="T79" fmla="*/ 38 h 260"/>
                    <a:gd name="T80" fmla="*/ 93 w 270"/>
                    <a:gd name="T81" fmla="*/ 49 h 260"/>
                    <a:gd name="T82" fmla="*/ 114 w 270"/>
                    <a:gd name="T83" fmla="*/ 104 h 260"/>
                    <a:gd name="T84" fmla="*/ 130 w 270"/>
                    <a:gd name="T85" fmla="*/ 71 h 260"/>
                    <a:gd name="T86" fmla="*/ 123 w 270"/>
                    <a:gd name="T87" fmla="*/ 104 h 260"/>
                    <a:gd name="T88" fmla="*/ 114 w 270"/>
                    <a:gd name="T89" fmla="*/ 104 h 260"/>
                    <a:gd name="T90" fmla="*/ 114 w 270"/>
                    <a:gd name="T91" fmla="*/ 104 h 260"/>
                    <a:gd name="T92" fmla="*/ 140 w 270"/>
                    <a:gd name="T93" fmla="*/ 120 h 260"/>
                    <a:gd name="T94" fmla="*/ 156 w 270"/>
                    <a:gd name="T95" fmla="*/ 87 h 260"/>
                    <a:gd name="T96" fmla="*/ 168 w 270"/>
                    <a:gd name="T97" fmla="*/ 104 h 260"/>
                    <a:gd name="T98" fmla="*/ 156 w 270"/>
                    <a:gd name="T99" fmla="*/ 104 h 260"/>
                    <a:gd name="T100" fmla="*/ 59 w 270"/>
                    <a:gd name="T101" fmla="*/ 205 h 260"/>
                    <a:gd name="T102" fmla="*/ 17 w 270"/>
                    <a:gd name="T103" fmla="*/ 205 h 260"/>
                    <a:gd name="T104" fmla="*/ 0 w 270"/>
                    <a:gd name="T105" fmla="*/ 198 h 260"/>
                    <a:gd name="T106" fmla="*/ 59 w 270"/>
                    <a:gd name="T107" fmla="*/ 20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0" h="260">
                      <a:moveTo>
                        <a:pt x="161" y="0"/>
                      </a:moveTo>
                      <a:lnTo>
                        <a:pt x="156" y="0"/>
                      </a:lnTo>
                      <a:lnTo>
                        <a:pt x="178" y="0"/>
                      </a:lnTo>
                      <a:lnTo>
                        <a:pt x="161" y="0"/>
                      </a:lnTo>
                      <a:lnTo>
                        <a:pt x="161" y="0"/>
                      </a:lnTo>
                      <a:lnTo>
                        <a:pt x="161" y="0"/>
                      </a:lnTo>
                      <a:close/>
                      <a:moveTo>
                        <a:pt x="270" y="21"/>
                      </a:moveTo>
                      <a:lnTo>
                        <a:pt x="270" y="49"/>
                      </a:lnTo>
                      <a:lnTo>
                        <a:pt x="253" y="78"/>
                      </a:lnTo>
                      <a:lnTo>
                        <a:pt x="237" y="78"/>
                      </a:lnTo>
                      <a:lnTo>
                        <a:pt x="232" y="87"/>
                      </a:lnTo>
                      <a:lnTo>
                        <a:pt x="253" y="104"/>
                      </a:lnTo>
                      <a:lnTo>
                        <a:pt x="253" y="120"/>
                      </a:lnTo>
                      <a:lnTo>
                        <a:pt x="232" y="132"/>
                      </a:lnTo>
                      <a:lnTo>
                        <a:pt x="237" y="144"/>
                      </a:lnTo>
                      <a:lnTo>
                        <a:pt x="178" y="161"/>
                      </a:lnTo>
                      <a:lnTo>
                        <a:pt x="199" y="189"/>
                      </a:lnTo>
                      <a:lnTo>
                        <a:pt x="199" y="205"/>
                      </a:lnTo>
                      <a:lnTo>
                        <a:pt x="185" y="217"/>
                      </a:lnTo>
                      <a:lnTo>
                        <a:pt x="185" y="222"/>
                      </a:lnTo>
                      <a:lnTo>
                        <a:pt x="168" y="234"/>
                      </a:lnTo>
                      <a:lnTo>
                        <a:pt x="185" y="243"/>
                      </a:lnTo>
                      <a:lnTo>
                        <a:pt x="185" y="260"/>
                      </a:lnTo>
                      <a:lnTo>
                        <a:pt x="161" y="260"/>
                      </a:lnTo>
                      <a:lnTo>
                        <a:pt x="156" y="255"/>
                      </a:lnTo>
                      <a:lnTo>
                        <a:pt x="168" y="222"/>
                      </a:lnTo>
                      <a:lnTo>
                        <a:pt x="147" y="205"/>
                      </a:lnTo>
                      <a:lnTo>
                        <a:pt x="130" y="217"/>
                      </a:lnTo>
                      <a:lnTo>
                        <a:pt x="114" y="189"/>
                      </a:lnTo>
                      <a:lnTo>
                        <a:pt x="109" y="198"/>
                      </a:lnTo>
                      <a:lnTo>
                        <a:pt x="102" y="189"/>
                      </a:lnTo>
                      <a:lnTo>
                        <a:pt x="85" y="198"/>
                      </a:lnTo>
                      <a:lnTo>
                        <a:pt x="76" y="189"/>
                      </a:lnTo>
                      <a:lnTo>
                        <a:pt x="69" y="198"/>
                      </a:lnTo>
                      <a:lnTo>
                        <a:pt x="69" y="205"/>
                      </a:lnTo>
                      <a:lnTo>
                        <a:pt x="59" y="198"/>
                      </a:lnTo>
                      <a:lnTo>
                        <a:pt x="31" y="198"/>
                      </a:lnTo>
                      <a:lnTo>
                        <a:pt x="0" y="189"/>
                      </a:lnTo>
                      <a:lnTo>
                        <a:pt x="31" y="182"/>
                      </a:lnTo>
                      <a:lnTo>
                        <a:pt x="31" y="182"/>
                      </a:lnTo>
                      <a:lnTo>
                        <a:pt x="31" y="182"/>
                      </a:lnTo>
                      <a:lnTo>
                        <a:pt x="55" y="198"/>
                      </a:lnTo>
                      <a:lnTo>
                        <a:pt x="59" y="198"/>
                      </a:lnTo>
                      <a:lnTo>
                        <a:pt x="38" y="182"/>
                      </a:lnTo>
                      <a:lnTo>
                        <a:pt x="55" y="182"/>
                      </a:lnTo>
                      <a:lnTo>
                        <a:pt x="22" y="165"/>
                      </a:lnTo>
                      <a:lnTo>
                        <a:pt x="55" y="177"/>
                      </a:lnTo>
                      <a:lnTo>
                        <a:pt x="31" y="161"/>
                      </a:lnTo>
                      <a:lnTo>
                        <a:pt x="48" y="161"/>
                      </a:lnTo>
                      <a:lnTo>
                        <a:pt x="38" y="144"/>
                      </a:lnTo>
                      <a:lnTo>
                        <a:pt x="69" y="127"/>
                      </a:lnTo>
                      <a:lnTo>
                        <a:pt x="85" y="94"/>
                      </a:lnTo>
                      <a:lnTo>
                        <a:pt x="140" y="120"/>
                      </a:lnTo>
                      <a:lnTo>
                        <a:pt x="168" y="94"/>
                      </a:lnTo>
                      <a:lnTo>
                        <a:pt x="168" y="78"/>
                      </a:lnTo>
                      <a:lnTo>
                        <a:pt x="156" y="78"/>
                      </a:lnTo>
                      <a:lnTo>
                        <a:pt x="156" y="71"/>
                      </a:lnTo>
                      <a:lnTo>
                        <a:pt x="161" y="66"/>
                      </a:lnTo>
                      <a:lnTo>
                        <a:pt x="140" y="54"/>
                      </a:lnTo>
                      <a:lnTo>
                        <a:pt x="140" y="38"/>
                      </a:lnTo>
                      <a:lnTo>
                        <a:pt x="114" y="49"/>
                      </a:lnTo>
                      <a:lnTo>
                        <a:pt x="123" y="66"/>
                      </a:lnTo>
                      <a:lnTo>
                        <a:pt x="130" y="71"/>
                      </a:lnTo>
                      <a:lnTo>
                        <a:pt x="114" y="78"/>
                      </a:lnTo>
                      <a:lnTo>
                        <a:pt x="114" y="94"/>
                      </a:lnTo>
                      <a:lnTo>
                        <a:pt x="114" y="104"/>
                      </a:lnTo>
                      <a:lnTo>
                        <a:pt x="85" y="94"/>
                      </a:lnTo>
                      <a:lnTo>
                        <a:pt x="93" y="49"/>
                      </a:lnTo>
                      <a:lnTo>
                        <a:pt x="102" y="54"/>
                      </a:lnTo>
                      <a:lnTo>
                        <a:pt x="114" y="49"/>
                      </a:lnTo>
                      <a:lnTo>
                        <a:pt x="156" y="16"/>
                      </a:lnTo>
                      <a:lnTo>
                        <a:pt x="178" y="9"/>
                      </a:lnTo>
                      <a:lnTo>
                        <a:pt x="232" y="0"/>
                      </a:lnTo>
                      <a:lnTo>
                        <a:pt x="270" y="21"/>
                      </a:lnTo>
                      <a:lnTo>
                        <a:pt x="270" y="21"/>
                      </a:lnTo>
                      <a:lnTo>
                        <a:pt x="270" y="21"/>
                      </a:lnTo>
                      <a:close/>
                      <a:moveTo>
                        <a:pt x="93" y="49"/>
                      </a:moveTo>
                      <a:lnTo>
                        <a:pt x="93" y="38"/>
                      </a:lnTo>
                      <a:lnTo>
                        <a:pt x="102" y="21"/>
                      </a:lnTo>
                      <a:lnTo>
                        <a:pt x="109" y="38"/>
                      </a:lnTo>
                      <a:lnTo>
                        <a:pt x="93" y="49"/>
                      </a:lnTo>
                      <a:lnTo>
                        <a:pt x="93" y="49"/>
                      </a:lnTo>
                      <a:lnTo>
                        <a:pt x="93" y="49"/>
                      </a:lnTo>
                      <a:close/>
                      <a:moveTo>
                        <a:pt x="114" y="104"/>
                      </a:moveTo>
                      <a:lnTo>
                        <a:pt x="114" y="78"/>
                      </a:lnTo>
                      <a:lnTo>
                        <a:pt x="130" y="71"/>
                      </a:lnTo>
                      <a:lnTo>
                        <a:pt x="147" y="87"/>
                      </a:lnTo>
                      <a:lnTo>
                        <a:pt x="123" y="104"/>
                      </a:lnTo>
                      <a:lnTo>
                        <a:pt x="114" y="104"/>
                      </a:lnTo>
                      <a:lnTo>
                        <a:pt x="114" y="104"/>
                      </a:lnTo>
                      <a:lnTo>
                        <a:pt x="114" y="104"/>
                      </a:lnTo>
                      <a:lnTo>
                        <a:pt x="114" y="104"/>
                      </a:lnTo>
                      <a:close/>
                      <a:moveTo>
                        <a:pt x="156" y="104"/>
                      </a:moveTo>
                      <a:lnTo>
                        <a:pt x="140" y="120"/>
                      </a:lnTo>
                      <a:lnTo>
                        <a:pt x="123" y="104"/>
                      </a:lnTo>
                      <a:lnTo>
                        <a:pt x="156" y="87"/>
                      </a:lnTo>
                      <a:lnTo>
                        <a:pt x="168" y="87"/>
                      </a:lnTo>
                      <a:lnTo>
                        <a:pt x="168" y="104"/>
                      </a:lnTo>
                      <a:lnTo>
                        <a:pt x="156" y="104"/>
                      </a:lnTo>
                      <a:lnTo>
                        <a:pt x="156" y="104"/>
                      </a:lnTo>
                      <a:lnTo>
                        <a:pt x="156" y="104"/>
                      </a:lnTo>
                      <a:close/>
                      <a:moveTo>
                        <a:pt x="59" y="205"/>
                      </a:moveTo>
                      <a:lnTo>
                        <a:pt x="31" y="217"/>
                      </a:lnTo>
                      <a:lnTo>
                        <a:pt x="17" y="205"/>
                      </a:lnTo>
                      <a:lnTo>
                        <a:pt x="0" y="217"/>
                      </a:lnTo>
                      <a:lnTo>
                        <a:pt x="0" y="198"/>
                      </a:lnTo>
                      <a:lnTo>
                        <a:pt x="59" y="205"/>
                      </a:lnTo>
                      <a:lnTo>
                        <a:pt x="59" y="205"/>
                      </a:lnTo>
                      <a:lnTo>
                        <a:pt x="59" y="20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6" name="Freeform 523">
                  <a:extLst>
                    <a:ext uri="{FF2B5EF4-FFF2-40B4-BE49-F238E27FC236}">
                      <a16:creationId xmlns:a16="http://schemas.microsoft.com/office/drawing/2014/main" id="{F0C11B18-080E-403B-AE93-02347CB8007B}"/>
                    </a:ext>
                  </a:extLst>
                </p:cNvPr>
                <p:cNvSpPr>
                  <a:spLocks noEditPoints="1"/>
                </p:cNvSpPr>
                <p:nvPr/>
              </p:nvSpPr>
              <p:spPr bwMode="gray">
                <a:xfrm>
                  <a:off x="6866204" y="1486484"/>
                  <a:ext cx="758296" cy="631983"/>
                </a:xfrm>
                <a:custGeom>
                  <a:avLst/>
                  <a:gdLst>
                    <a:gd name="T0" fmla="*/ 1713 w 1842"/>
                    <a:gd name="T1" fmla="*/ 238 h 1535"/>
                    <a:gd name="T2" fmla="*/ 1285 w 1842"/>
                    <a:gd name="T3" fmla="*/ 326 h 1535"/>
                    <a:gd name="T4" fmla="*/ 919 w 1842"/>
                    <a:gd name="T5" fmla="*/ 411 h 1535"/>
                    <a:gd name="T6" fmla="*/ 546 w 1842"/>
                    <a:gd name="T7" fmla="*/ 886 h 1535"/>
                    <a:gd name="T8" fmla="*/ 470 w 1842"/>
                    <a:gd name="T9" fmla="*/ 1441 h 1535"/>
                    <a:gd name="T10" fmla="*/ 399 w 1842"/>
                    <a:gd name="T11" fmla="*/ 1403 h 1535"/>
                    <a:gd name="T12" fmla="*/ 92 w 1842"/>
                    <a:gd name="T13" fmla="*/ 1453 h 1535"/>
                    <a:gd name="T14" fmla="*/ 54 w 1842"/>
                    <a:gd name="T15" fmla="*/ 1386 h 1535"/>
                    <a:gd name="T16" fmla="*/ 163 w 1842"/>
                    <a:gd name="T17" fmla="*/ 1268 h 1535"/>
                    <a:gd name="T18" fmla="*/ 54 w 1842"/>
                    <a:gd name="T19" fmla="*/ 1242 h 1535"/>
                    <a:gd name="T20" fmla="*/ 189 w 1842"/>
                    <a:gd name="T21" fmla="*/ 1164 h 1535"/>
                    <a:gd name="T22" fmla="*/ 21 w 1842"/>
                    <a:gd name="T23" fmla="*/ 1148 h 1535"/>
                    <a:gd name="T24" fmla="*/ 97 w 1842"/>
                    <a:gd name="T25" fmla="*/ 1058 h 1535"/>
                    <a:gd name="T26" fmla="*/ 206 w 1842"/>
                    <a:gd name="T27" fmla="*/ 1049 h 1535"/>
                    <a:gd name="T28" fmla="*/ 227 w 1842"/>
                    <a:gd name="T29" fmla="*/ 980 h 1535"/>
                    <a:gd name="T30" fmla="*/ 361 w 1842"/>
                    <a:gd name="T31" fmla="*/ 947 h 1535"/>
                    <a:gd name="T32" fmla="*/ 352 w 1842"/>
                    <a:gd name="T33" fmla="*/ 938 h 1535"/>
                    <a:gd name="T34" fmla="*/ 470 w 1842"/>
                    <a:gd name="T35" fmla="*/ 815 h 1535"/>
                    <a:gd name="T36" fmla="*/ 541 w 1842"/>
                    <a:gd name="T37" fmla="*/ 720 h 1535"/>
                    <a:gd name="T38" fmla="*/ 567 w 1842"/>
                    <a:gd name="T39" fmla="*/ 626 h 1535"/>
                    <a:gd name="T40" fmla="*/ 659 w 1842"/>
                    <a:gd name="T41" fmla="*/ 503 h 1535"/>
                    <a:gd name="T42" fmla="*/ 692 w 1842"/>
                    <a:gd name="T43" fmla="*/ 465 h 1535"/>
                    <a:gd name="T44" fmla="*/ 702 w 1842"/>
                    <a:gd name="T45" fmla="*/ 420 h 1535"/>
                    <a:gd name="T46" fmla="*/ 801 w 1842"/>
                    <a:gd name="T47" fmla="*/ 387 h 1535"/>
                    <a:gd name="T48" fmla="*/ 848 w 1842"/>
                    <a:gd name="T49" fmla="*/ 338 h 1535"/>
                    <a:gd name="T50" fmla="*/ 994 w 1842"/>
                    <a:gd name="T51" fmla="*/ 243 h 1535"/>
                    <a:gd name="T52" fmla="*/ 1049 w 1842"/>
                    <a:gd name="T53" fmla="*/ 189 h 1535"/>
                    <a:gd name="T54" fmla="*/ 1172 w 1842"/>
                    <a:gd name="T55" fmla="*/ 111 h 1535"/>
                    <a:gd name="T56" fmla="*/ 1318 w 1842"/>
                    <a:gd name="T57" fmla="*/ 94 h 1535"/>
                    <a:gd name="T58" fmla="*/ 1431 w 1842"/>
                    <a:gd name="T59" fmla="*/ 104 h 1535"/>
                    <a:gd name="T60" fmla="*/ 1557 w 1842"/>
                    <a:gd name="T61" fmla="*/ 71 h 1535"/>
                    <a:gd name="T62" fmla="*/ 1625 w 1842"/>
                    <a:gd name="T63" fmla="*/ 94 h 1535"/>
                    <a:gd name="T64" fmla="*/ 1826 w 1842"/>
                    <a:gd name="T65" fmla="*/ 94 h 1535"/>
                    <a:gd name="T66" fmla="*/ 1798 w 1842"/>
                    <a:gd name="T67" fmla="*/ 189 h 1535"/>
                    <a:gd name="T68" fmla="*/ 1205 w 1842"/>
                    <a:gd name="T69" fmla="*/ 61 h 1535"/>
                    <a:gd name="T70" fmla="*/ 1351 w 1842"/>
                    <a:gd name="T71" fmla="*/ 71 h 1535"/>
                    <a:gd name="T72" fmla="*/ 1188 w 1842"/>
                    <a:gd name="T73" fmla="*/ 116 h 1535"/>
                    <a:gd name="T74" fmla="*/ 999 w 1842"/>
                    <a:gd name="T75" fmla="*/ 132 h 1535"/>
                    <a:gd name="T76" fmla="*/ 1124 w 1842"/>
                    <a:gd name="T77" fmla="*/ 132 h 1535"/>
                    <a:gd name="T78" fmla="*/ 1124 w 1842"/>
                    <a:gd name="T79" fmla="*/ 160 h 1535"/>
                    <a:gd name="T80" fmla="*/ 1750 w 1842"/>
                    <a:gd name="T81" fmla="*/ 182 h 1535"/>
                    <a:gd name="T82" fmla="*/ 940 w 1842"/>
                    <a:gd name="T83" fmla="*/ 198 h 1535"/>
                    <a:gd name="T84" fmla="*/ 919 w 1842"/>
                    <a:gd name="T85" fmla="*/ 238 h 1535"/>
                    <a:gd name="T86" fmla="*/ 876 w 1842"/>
                    <a:gd name="T87" fmla="*/ 276 h 1535"/>
                    <a:gd name="T88" fmla="*/ 676 w 1842"/>
                    <a:gd name="T89" fmla="*/ 326 h 1535"/>
                    <a:gd name="T90" fmla="*/ 768 w 1842"/>
                    <a:gd name="T91" fmla="*/ 349 h 1535"/>
                    <a:gd name="T92" fmla="*/ 709 w 1842"/>
                    <a:gd name="T93" fmla="*/ 293 h 1535"/>
                    <a:gd name="T94" fmla="*/ 794 w 1842"/>
                    <a:gd name="T95" fmla="*/ 354 h 1535"/>
                    <a:gd name="T96" fmla="*/ 654 w 1842"/>
                    <a:gd name="T97" fmla="*/ 371 h 1535"/>
                    <a:gd name="T98" fmla="*/ 583 w 1842"/>
                    <a:gd name="T99" fmla="*/ 404 h 1535"/>
                    <a:gd name="T100" fmla="*/ 725 w 1842"/>
                    <a:gd name="T101" fmla="*/ 411 h 1535"/>
                    <a:gd name="T102" fmla="*/ 529 w 1842"/>
                    <a:gd name="T103" fmla="*/ 666 h 1535"/>
                    <a:gd name="T104" fmla="*/ 498 w 1842"/>
                    <a:gd name="T105" fmla="*/ 753 h 1535"/>
                    <a:gd name="T106" fmla="*/ 454 w 1842"/>
                    <a:gd name="T107" fmla="*/ 810 h 1535"/>
                    <a:gd name="T108" fmla="*/ 255 w 1842"/>
                    <a:gd name="T109" fmla="*/ 942 h 1535"/>
                    <a:gd name="T110" fmla="*/ 260 w 1842"/>
                    <a:gd name="T111" fmla="*/ 959 h 1535"/>
                    <a:gd name="T112" fmla="*/ 239 w 1842"/>
                    <a:gd name="T113" fmla="*/ 975 h 1535"/>
                    <a:gd name="T114" fmla="*/ 135 w 1842"/>
                    <a:gd name="T115" fmla="*/ 1020 h 1535"/>
                    <a:gd name="T116" fmla="*/ 66 w 1842"/>
                    <a:gd name="T117" fmla="*/ 1075 h 1535"/>
                    <a:gd name="T118" fmla="*/ 7 w 1842"/>
                    <a:gd name="T119" fmla="*/ 1131 h 1535"/>
                    <a:gd name="T120" fmla="*/ 21 w 1842"/>
                    <a:gd name="T121" fmla="*/ 1280 h 1535"/>
                    <a:gd name="T122" fmla="*/ 28 w 1842"/>
                    <a:gd name="T123" fmla="*/ 1325 h 1535"/>
                    <a:gd name="T124" fmla="*/ 38 w 1842"/>
                    <a:gd name="T125" fmla="*/ 1353 h 1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42" h="1535">
                      <a:moveTo>
                        <a:pt x="1457" y="33"/>
                      </a:moveTo>
                      <a:lnTo>
                        <a:pt x="1443" y="21"/>
                      </a:lnTo>
                      <a:lnTo>
                        <a:pt x="1448" y="16"/>
                      </a:lnTo>
                      <a:lnTo>
                        <a:pt x="1431" y="16"/>
                      </a:lnTo>
                      <a:lnTo>
                        <a:pt x="1465" y="0"/>
                      </a:lnTo>
                      <a:lnTo>
                        <a:pt x="1486" y="5"/>
                      </a:lnTo>
                      <a:lnTo>
                        <a:pt x="1481" y="21"/>
                      </a:lnTo>
                      <a:lnTo>
                        <a:pt x="1495" y="16"/>
                      </a:lnTo>
                      <a:lnTo>
                        <a:pt x="1457" y="33"/>
                      </a:lnTo>
                      <a:lnTo>
                        <a:pt x="1457" y="33"/>
                      </a:lnTo>
                      <a:lnTo>
                        <a:pt x="1457" y="33"/>
                      </a:lnTo>
                      <a:close/>
                      <a:moveTo>
                        <a:pt x="1826" y="172"/>
                      </a:moveTo>
                      <a:lnTo>
                        <a:pt x="1826" y="189"/>
                      </a:lnTo>
                      <a:lnTo>
                        <a:pt x="1826" y="205"/>
                      </a:lnTo>
                      <a:lnTo>
                        <a:pt x="1805" y="205"/>
                      </a:lnTo>
                      <a:lnTo>
                        <a:pt x="1772" y="198"/>
                      </a:lnTo>
                      <a:lnTo>
                        <a:pt x="1772" y="205"/>
                      </a:lnTo>
                      <a:lnTo>
                        <a:pt x="1772" y="215"/>
                      </a:lnTo>
                      <a:lnTo>
                        <a:pt x="1713" y="238"/>
                      </a:lnTo>
                      <a:lnTo>
                        <a:pt x="1713" y="260"/>
                      </a:lnTo>
                      <a:lnTo>
                        <a:pt x="1691" y="272"/>
                      </a:lnTo>
                      <a:lnTo>
                        <a:pt x="1680" y="260"/>
                      </a:lnTo>
                      <a:lnTo>
                        <a:pt x="1680" y="243"/>
                      </a:lnTo>
                      <a:lnTo>
                        <a:pt x="1713" y="215"/>
                      </a:lnTo>
                      <a:lnTo>
                        <a:pt x="1701" y="189"/>
                      </a:lnTo>
                      <a:lnTo>
                        <a:pt x="1646" y="172"/>
                      </a:lnTo>
                      <a:lnTo>
                        <a:pt x="1620" y="144"/>
                      </a:lnTo>
                      <a:lnTo>
                        <a:pt x="1557" y="165"/>
                      </a:lnTo>
                      <a:lnTo>
                        <a:pt x="1519" y="160"/>
                      </a:lnTo>
                      <a:lnTo>
                        <a:pt x="1481" y="189"/>
                      </a:lnTo>
                      <a:lnTo>
                        <a:pt x="1465" y="243"/>
                      </a:lnTo>
                      <a:lnTo>
                        <a:pt x="1465" y="276"/>
                      </a:lnTo>
                      <a:lnTo>
                        <a:pt x="1457" y="293"/>
                      </a:lnTo>
                      <a:lnTo>
                        <a:pt x="1427" y="300"/>
                      </a:lnTo>
                      <a:lnTo>
                        <a:pt x="1420" y="326"/>
                      </a:lnTo>
                      <a:lnTo>
                        <a:pt x="1410" y="333"/>
                      </a:lnTo>
                      <a:lnTo>
                        <a:pt x="1339" y="300"/>
                      </a:lnTo>
                      <a:lnTo>
                        <a:pt x="1285" y="326"/>
                      </a:lnTo>
                      <a:lnTo>
                        <a:pt x="1231" y="316"/>
                      </a:lnTo>
                      <a:lnTo>
                        <a:pt x="1226" y="300"/>
                      </a:lnTo>
                      <a:lnTo>
                        <a:pt x="1179" y="243"/>
                      </a:lnTo>
                      <a:lnTo>
                        <a:pt x="1155" y="238"/>
                      </a:lnTo>
                      <a:lnTo>
                        <a:pt x="1134" y="255"/>
                      </a:lnTo>
                      <a:lnTo>
                        <a:pt x="1141" y="260"/>
                      </a:lnTo>
                      <a:lnTo>
                        <a:pt x="1134" y="276"/>
                      </a:lnTo>
                      <a:lnTo>
                        <a:pt x="1103" y="272"/>
                      </a:lnTo>
                      <a:lnTo>
                        <a:pt x="1070" y="272"/>
                      </a:lnTo>
                      <a:lnTo>
                        <a:pt x="1087" y="283"/>
                      </a:lnTo>
                      <a:lnTo>
                        <a:pt x="1087" y="300"/>
                      </a:lnTo>
                      <a:lnTo>
                        <a:pt x="1054" y="333"/>
                      </a:lnTo>
                      <a:lnTo>
                        <a:pt x="1080" y="338"/>
                      </a:lnTo>
                      <a:lnTo>
                        <a:pt x="1054" y="366"/>
                      </a:lnTo>
                      <a:lnTo>
                        <a:pt x="983" y="338"/>
                      </a:lnTo>
                      <a:lnTo>
                        <a:pt x="924" y="338"/>
                      </a:lnTo>
                      <a:lnTo>
                        <a:pt x="924" y="349"/>
                      </a:lnTo>
                      <a:lnTo>
                        <a:pt x="928" y="383"/>
                      </a:lnTo>
                      <a:lnTo>
                        <a:pt x="919" y="411"/>
                      </a:lnTo>
                      <a:lnTo>
                        <a:pt x="869" y="387"/>
                      </a:lnTo>
                      <a:lnTo>
                        <a:pt x="831" y="411"/>
                      </a:lnTo>
                      <a:lnTo>
                        <a:pt x="815" y="449"/>
                      </a:lnTo>
                      <a:lnTo>
                        <a:pt x="784" y="477"/>
                      </a:lnTo>
                      <a:lnTo>
                        <a:pt x="810" y="498"/>
                      </a:lnTo>
                      <a:lnTo>
                        <a:pt x="810" y="522"/>
                      </a:lnTo>
                      <a:lnTo>
                        <a:pt x="739" y="588"/>
                      </a:lnTo>
                      <a:lnTo>
                        <a:pt x="746" y="609"/>
                      </a:lnTo>
                      <a:lnTo>
                        <a:pt x="713" y="626"/>
                      </a:lnTo>
                      <a:lnTo>
                        <a:pt x="676" y="631"/>
                      </a:lnTo>
                      <a:lnTo>
                        <a:pt x="687" y="666"/>
                      </a:lnTo>
                      <a:lnTo>
                        <a:pt x="676" y="699"/>
                      </a:lnTo>
                      <a:lnTo>
                        <a:pt x="676" y="725"/>
                      </a:lnTo>
                      <a:lnTo>
                        <a:pt x="617" y="815"/>
                      </a:lnTo>
                      <a:lnTo>
                        <a:pt x="650" y="827"/>
                      </a:lnTo>
                      <a:lnTo>
                        <a:pt x="654" y="853"/>
                      </a:lnTo>
                      <a:lnTo>
                        <a:pt x="638" y="881"/>
                      </a:lnTo>
                      <a:lnTo>
                        <a:pt x="567" y="869"/>
                      </a:lnTo>
                      <a:lnTo>
                        <a:pt x="546" y="886"/>
                      </a:lnTo>
                      <a:lnTo>
                        <a:pt x="508" y="926"/>
                      </a:lnTo>
                      <a:lnTo>
                        <a:pt x="513" y="938"/>
                      </a:lnTo>
                      <a:lnTo>
                        <a:pt x="498" y="964"/>
                      </a:lnTo>
                      <a:lnTo>
                        <a:pt x="513" y="992"/>
                      </a:lnTo>
                      <a:lnTo>
                        <a:pt x="498" y="1004"/>
                      </a:lnTo>
                      <a:lnTo>
                        <a:pt x="508" y="1037"/>
                      </a:lnTo>
                      <a:lnTo>
                        <a:pt x="524" y="1075"/>
                      </a:lnTo>
                      <a:lnTo>
                        <a:pt x="508" y="1131"/>
                      </a:lnTo>
                      <a:lnTo>
                        <a:pt x="562" y="1181"/>
                      </a:lnTo>
                      <a:lnTo>
                        <a:pt x="546" y="1214"/>
                      </a:lnTo>
                      <a:lnTo>
                        <a:pt x="513" y="1214"/>
                      </a:lnTo>
                      <a:lnTo>
                        <a:pt x="546" y="1275"/>
                      </a:lnTo>
                      <a:lnTo>
                        <a:pt x="529" y="1313"/>
                      </a:lnTo>
                      <a:lnTo>
                        <a:pt x="508" y="1337"/>
                      </a:lnTo>
                      <a:lnTo>
                        <a:pt x="487" y="1337"/>
                      </a:lnTo>
                      <a:lnTo>
                        <a:pt x="491" y="1353"/>
                      </a:lnTo>
                      <a:lnTo>
                        <a:pt x="475" y="1370"/>
                      </a:lnTo>
                      <a:lnTo>
                        <a:pt x="487" y="1403"/>
                      </a:lnTo>
                      <a:lnTo>
                        <a:pt x="470" y="1441"/>
                      </a:lnTo>
                      <a:lnTo>
                        <a:pt x="461" y="1441"/>
                      </a:lnTo>
                      <a:lnTo>
                        <a:pt x="461" y="1436"/>
                      </a:lnTo>
                      <a:lnTo>
                        <a:pt x="454" y="1420"/>
                      </a:lnTo>
                      <a:lnTo>
                        <a:pt x="416" y="1408"/>
                      </a:lnTo>
                      <a:lnTo>
                        <a:pt x="399" y="1353"/>
                      </a:lnTo>
                      <a:lnTo>
                        <a:pt x="406" y="1337"/>
                      </a:lnTo>
                      <a:lnTo>
                        <a:pt x="416" y="1346"/>
                      </a:lnTo>
                      <a:lnTo>
                        <a:pt x="406" y="1330"/>
                      </a:lnTo>
                      <a:lnTo>
                        <a:pt x="390" y="1337"/>
                      </a:lnTo>
                      <a:lnTo>
                        <a:pt x="399" y="1370"/>
                      </a:lnTo>
                      <a:lnTo>
                        <a:pt x="399" y="1379"/>
                      </a:lnTo>
                      <a:lnTo>
                        <a:pt x="390" y="1379"/>
                      </a:lnTo>
                      <a:lnTo>
                        <a:pt x="385" y="1353"/>
                      </a:lnTo>
                      <a:lnTo>
                        <a:pt x="378" y="1353"/>
                      </a:lnTo>
                      <a:lnTo>
                        <a:pt x="390" y="1370"/>
                      </a:lnTo>
                      <a:lnTo>
                        <a:pt x="385" y="1379"/>
                      </a:lnTo>
                      <a:lnTo>
                        <a:pt x="378" y="1370"/>
                      </a:lnTo>
                      <a:lnTo>
                        <a:pt x="390" y="1386"/>
                      </a:lnTo>
                      <a:lnTo>
                        <a:pt x="399" y="1403"/>
                      </a:lnTo>
                      <a:lnTo>
                        <a:pt x="385" y="1403"/>
                      </a:lnTo>
                      <a:lnTo>
                        <a:pt x="378" y="1424"/>
                      </a:lnTo>
                      <a:lnTo>
                        <a:pt x="352" y="1436"/>
                      </a:lnTo>
                      <a:lnTo>
                        <a:pt x="331" y="1420"/>
                      </a:lnTo>
                      <a:lnTo>
                        <a:pt x="335" y="1436"/>
                      </a:lnTo>
                      <a:lnTo>
                        <a:pt x="255" y="1507"/>
                      </a:lnTo>
                      <a:lnTo>
                        <a:pt x="239" y="1514"/>
                      </a:lnTo>
                      <a:lnTo>
                        <a:pt x="239" y="1519"/>
                      </a:lnTo>
                      <a:lnTo>
                        <a:pt x="151" y="1535"/>
                      </a:lnTo>
                      <a:lnTo>
                        <a:pt x="135" y="1531"/>
                      </a:lnTo>
                      <a:lnTo>
                        <a:pt x="120" y="1531"/>
                      </a:lnTo>
                      <a:lnTo>
                        <a:pt x="130" y="1514"/>
                      </a:lnTo>
                      <a:lnTo>
                        <a:pt x="109" y="1507"/>
                      </a:lnTo>
                      <a:lnTo>
                        <a:pt x="83" y="1497"/>
                      </a:lnTo>
                      <a:lnTo>
                        <a:pt x="76" y="1490"/>
                      </a:lnTo>
                      <a:lnTo>
                        <a:pt x="59" y="1490"/>
                      </a:lnTo>
                      <a:lnTo>
                        <a:pt x="45" y="1457"/>
                      </a:lnTo>
                      <a:lnTo>
                        <a:pt x="45" y="1424"/>
                      </a:lnTo>
                      <a:lnTo>
                        <a:pt x="92" y="1453"/>
                      </a:lnTo>
                      <a:lnTo>
                        <a:pt x="97" y="1453"/>
                      </a:lnTo>
                      <a:lnTo>
                        <a:pt x="83" y="1441"/>
                      </a:lnTo>
                      <a:lnTo>
                        <a:pt x="92" y="1436"/>
                      </a:lnTo>
                      <a:lnTo>
                        <a:pt x="120" y="1424"/>
                      </a:lnTo>
                      <a:lnTo>
                        <a:pt x="92" y="1436"/>
                      </a:lnTo>
                      <a:lnTo>
                        <a:pt x="83" y="1441"/>
                      </a:lnTo>
                      <a:lnTo>
                        <a:pt x="66" y="1424"/>
                      </a:lnTo>
                      <a:lnTo>
                        <a:pt x="92" y="1403"/>
                      </a:lnTo>
                      <a:lnTo>
                        <a:pt x="113" y="1391"/>
                      </a:lnTo>
                      <a:lnTo>
                        <a:pt x="92" y="1403"/>
                      </a:lnTo>
                      <a:lnTo>
                        <a:pt x="76" y="1391"/>
                      </a:lnTo>
                      <a:lnTo>
                        <a:pt x="97" y="1379"/>
                      </a:lnTo>
                      <a:lnTo>
                        <a:pt x="113" y="1370"/>
                      </a:lnTo>
                      <a:lnTo>
                        <a:pt x="97" y="1370"/>
                      </a:lnTo>
                      <a:lnTo>
                        <a:pt x="76" y="1391"/>
                      </a:lnTo>
                      <a:lnTo>
                        <a:pt x="76" y="1386"/>
                      </a:lnTo>
                      <a:lnTo>
                        <a:pt x="92" y="1379"/>
                      </a:lnTo>
                      <a:lnTo>
                        <a:pt x="66" y="1379"/>
                      </a:lnTo>
                      <a:lnTo>
                        <a:pt x="54" y="1386"/>
                      </a:lnTo>
                      <a:lnTo>
                        <a:pt x="66" y="1386"/>
                      </a:lnTo>
                      <a:lnTo>
                        <a:pt x="66" y="1391"/>
                      </a:lnTo>
                      <a:lnTo>
                        <a:pt x="59" y="1403"/>
                      </a:lnTo>
                      <a:lnTo>
                        <a:pt x="54" y="1391"/>
                      </a:lnTo>
                      <a:lnTo>
                        <a:pt x="45" y="1403"/>
                      </a:lnTo>
                      <a:lnTo>
                        <a:pt x="28" y="1391"/>
                      </a:lnTo>
                      <a:lnTo>
                        <a:pt x="21" y="1379"/>
                      </a:lnTo>
                      <a:lnTo>
                        <a:pt x="45" y="1353"/>
                      </a:lnTo>
                      <a:lnTo>
                        <a:pt x="45" y="1379"/>
                      </a:lnTo>
                      <a:lnTo>
                        <a:pt x="54" y="1363"/>
                      </a:lnTo>
                      <a:lnTo>
                        <a:pt x="97" y="1337"/>
                      </a:lnTo>
                      <a:lnTo>
                        <a:pt x="76" y="1353"/>
                      </a:lnTo>
                      <a:lnTo>
                        <a:pt x="59" y="1337"/>
                      </a:lnTo>
                      <a:lnTo>
                        <a:pt x="76" y="1330"/>
                      </a:lnTo>
                      <a:lnTo>
                        <a:pt x="92" y="1292"/>
                      </a:lnTo>
                      <a:lnTo>
                        <a:pt x="120" y="1280"/>
                      </a:lnTo>
                      <a:lnTo>
                        <a:pt x="113" y="1313"/>
                      </a:lnTo>
                      <a:lnTo>
                        <a:pt x="120" y="1280"/>
                      </a:lnTo>
                      <a:lnTo>
                        <a:pt x="163" y="1268"/>
                      </a:lnTo>
                      <a:lnTo>
                        <a:pt x="146" y="1268"/>
                      </a:lnTo>
                      <a:lnTo>
                        <a:pt x="151" y="1259"/>
                      </a:lnTo>
                      <a:lnTo>
                        <a:pt x="130" y="1275"/>
                      </a:lnTo>
                      <a:lnTo>
                        <a:pt x="97" y="1280"/>
                      </a:lnTo>
                      <a:lnTo>
                        <a:pt x="92" y="1297"/>
                      </a:lnTo>
                      <a:lnTo>
                        <a:pt x="76" y="1297"/>
                      </a:lnTo>
                      <a:lnTo>
                        <a:pt x="66" y="1325"/>
                      </a:lnTo>
                      <a:lnTo>
                        <a:pt x="59" y="1325"/>
                      </a:lnTo>
                      <a:lnTo>
                        <a:pt x="54" y="1308"/>
                      </a:lnTo>
                      <a:lnTo>
                        <a:pt x="45" y="1308"/>
                      </a:lnTo>
                      <a:lnTo>
                        <a:pt x="59" y="1280"/>
                      </a:lnTo>
                      <a:lnTo>
                        <a:pt x="38" y="1308"/>
                      </a:lnTo>
                      <a:lnTo>
                        <a:pt x="21" y="1297"/>
                      </a:lnTo>
                      <a:lnTo>
                        <a:pt x="28" y="1297"/>
                      </a:lnTo>
                      <a:lnTo>
                        <a:pt x="21" y="1292"/>
                      </a:lnTo>
                      <a:lnTo>
                        <a:pt x="28" y="1268"/>
                      </a:lnTo>
                      <a:lnTo>
                        <a:pt x="54" y="1280"/>
                      </a:lnTo>
                      <a:lnTo>
                        <a:pt x="59" y="1252"/>
                      </a:lnTo>
                      <a:lnTo>
                        <a:pt x="54" y="1242"/>
                      </a:lnTo>
                      <a:lnTo>
                        <a:pt x="28" y="1268"/>
                      </a:lnTo>
                      <a:lnTo>
                        <a:pt x="12" y="1252"/>
                      </a:lnTo>
                      <a:lnTo>
                        <a:pt x="28" y="1259"/>
                      </a:lnTo>
                      <a:lnTo>
                        <a:pt x="21" y="1242"/>
                      </a:lnTo>
                      <a:lnTo>
                        <a:pt x="7" y="1235"/>
                      </a:lnTo>
                      <a:lnTo>
                        <a:pt x="38" y="1259"/>
                      </a:lnTo>
                      <a:lnTo>
                        <a:pt x="28" y="1242"/>
                      </a:lnTo>
                      <a:lnTo>
                        <a:pt x="45" y="1226"/>
                      </a:lnTo>
                      <a:lnTo>
                        <a:pt x="12" y="1235"/>
                      </a:lnTo>
                      <a:lnTo>
                        <a:pt x="12" y="1214"/>
                      </a:lnTo>
                      <a:lnTo>
                        <a:pt x="76" y="1202"/>
                      </a:lnTo>
                      <a:lnTo>
                        <a:pt x="109" y="1214"/>
                      </a:lnTo>
                      <a:lnTo>
                        <a:pt x="135" y="1202"/>
                      </a:lnTo>
                      <a:lnTo>
                        <a:pt x="163" y="1226"/>
                      </a:lnTo>
                      <a:lnTo>
                        <a:pt x="163" y="1219"/>
                      </a:lnTo>
                      <a:lnTo>
                        <a:pt x="151" y="1202"/>
                      </a:lnTo>
                      <a:lnTo>
                        <a:pt x="184" y="1197"/>
                      </a:lnTo>
                      <a:lnTo>
                        <a:pt x="168" y="1181"/>
                      </a:lnTo>
                      <a:lnTo>
                        <a:pt x="189" y="1164"/>
                      </a:lnTo>
                      <a:lnTo>
                        <a:pt x="168" y="1181"/>
                      </a:lnTo>
                      <a:lnTo>
                        <a:pt x="172" y="1197"/>
                      </a:lnTo>
                      <a:lnTo>
                        <a:pt x="146" y="1202"/>
                      </a:lnTo>
                      <a:lnTo>
                        <a:pt x="120" y="1186"/>
                      </a:lnTo>
                      <a:lnTo>
                        <a:pt x="130" y="1169"/>
                      </a:lnTo>
                      <a:lnTo>
                        <a:pt x="109" y="1202"/>
                      </a:lnTo>
                      <a:lnTo>
                        <a:pt x="59" y="1197"/>
                      </a:lnTo>
                      <a:lnTo>
                        <a:pt x="38" y="1214"/>
                      </a:lnTo>
                      <a:lnTo>
                        <a:pt x="12" y="1197"/>
                      </a:lnTo>
                      <a:lnTo>
                        <a:pt x="28" y="1197"/>
                      </a:lnTo>
                      <a:lnTo>
                        <a:pt x="7" y="1186"/>
                      </a:lnTo>
                      <a:lnTo>
                        <a:pt x="54" y="1181"/>
                      </a:lnTo>
                      <a:lnTo>
                        <a:pt x="12" y="1181"/>
                      </a:lnTo>
                      <a:lnTo>
                        <a:pt x="7" y="1169"/>
                      </a:lnTo>
                      <a:lnTo>
                        <a:pt x="66" y="1164"/>
                      </a:lnTo>
                      <a:lnTo>
                        <a:pt x="21" y="1164"/>
                      </a:lnTo>
                      <a:lnTo>
                        <a:pt x="21" y="1160"/>
                      </a:lnTo>
                      <a:lnTo>
                        <a:pt x="28" y="1160"/>
                      </a:lnTo>
                      <a:lnTo>
                        <a:pt x="21" y="1148"/>
                      </a:lnTo>
                      <a:lnTo>
                        <a:pt x="38" y="1148"/>
                      </a:lnTo>
                      <a:lnTo>
                        <a:pt x="7" y="1141"/>
                      </a:lnTo>
                      <a:lnTo>
                        <a:pt x="38" y="1115"/>
                      </a:lnTo>
                      <a:lnTo>
                        <a:pt x="113" y="1124"/>
                      </a:lnTo>
                      <a:lnTo>
                        <a:pt x="130" y="1115"/>
                      </a:lnTo>
                      <a:lnTo>
                        <a:pt x="21" y="1115"/>
                      </a:lnTo>
                      <a:lnTo>
                        <a:pt x="21" y="1108"/>
                      </a:lnTo>
                      <a:lnTo>
                        <a:pt x="38" y="1103"/>
                      </a:lnTo>
                      <a:lnTo>
                        <a:pt x="12" y="1086"/>
                      </a:lnTo>
                      <a:lnTo>
                        <a:pt x="21" y="1086"/>
                      </a:lnTo>
                      <a:lnTo>
                        <a:pt x="45" y="1108"/>
                      </a:lnTo>
                      <a:lnTo>
                        <a:pt x="45" y="1091"/>
                      </a:lnTo>
                      <a:lnTo>
                        <a:pt x="38" y="1091"/>
                      </a:lnTo>
                      <a:lnTo>
                        <a:pt x="38" y="1086"/>
                      </a:lnTo>
                      <a:lnTo>
                        <a:pt x="66" y="1086"/>
                      </a:lnTo>
                      <a:lnTo>
                        <a:pt x="76" y="1091"/>
                      </a:lnTo>
                      <a:lnTo>
                        <a:pt x="109" y="1103"/>
                      </a:lnTo>
                      <a:lnTo>
                        <a:pt x="76" y="1086"/>
                      </a:lnTo>
                      <a:lnTo>
                        <a:pt x="97" y="1058"/>
                      </a:lnTo>
                      <a:lnTo>
                        <a:pt x="113" y="1091"/>
                      </a:lnTo>
                      <a:lnTo>
                        <a:pt x="120" y="1091"/>
                      </a:lnTo>
                      <a:lnTo>
                        <a:pt x="109" y="1058"/>
                      </a:lnTo>
                      <a:lnTo>
                        <a:pt x="130" y="1053"/>
                      </a:lnTo>
                      <a:lnTo>
                        <a:pt x="146" y="1058"/>
                      </a:lnTo>
                      <a:lnTo>
                        <a:pt x="151" y="1075"/>
                      </a:lnTo>
                      <a:lnTo>
                        <a:pt x="146" y="1091"/>
                      </a:lnTo>
                      <a:lnTo>
                        <a:pt x="151" y="1091"/>
                      </a:lnTo>
                      <a:lnTo>
                        <a:pt x="146" y="1091"/>
                      </a:lnTo>
                      <a:lnTo>
                        <a:pt x="151" y="1075"/>
                      </a:lnTo>
                      <a:lnTo>
                        <a:pt x="172" y="1075"/>
                      </a:lnTo>
                      <a:lnTo>
                        <a:pt x="146" y="1070"/>
                      </a:lnTo>
                      <a:lnTo>
                        <a:pt x="135" y="1053"/>
                      </a:lnTo>
                      <a:lnTo>
                        <a:pt x="97" y="1053"/>
                      </a:lnTo>
                      <a:lnTo>
                        <a:pt x="120" y="1053"/>
                      </a:lnTo>
                      <a:lnTo>
                        <a:pt x="97" y="1037"/>
                      </a:lnTo>
                      <a:lnTo>
                        <a:pt x="151" y="1032"/>
                      </a:lnTo>
                      <a:lnTo>
                        <a:pt x="189" y="1053"/>
                      </a:lnTo>
                      <a:lnTo>
                        <a:pt x="206" y="1049"/>
                      </a:lnTo>
                      <a:lnTo>
                        <a:pt x="172" y="1037"/>
                      </a:lnTo>
                      <a:lnTo>
                        <a:pt x="206" y="1020"/>
                      </a:lnTo>
                      <a:lnTo>
                        <a:pt x="227" y="1032"/>
                      </a:lnTo>
                      <a:lnTo>
                        <a:pt x="222" y="1020"/>
                      </a:lnTo>
                      <a:lnTo>
                        <a:pt x="172" y="1020"/>
                      </a:lnTo>
                      <a:lnTo>
                        <a:pt x="201" y="1013"/>
                      </a:lnTo>
                      <a:lnTo>
                        <a:pt x="189" y="1013"/>
                      </a:lnTo>
                      <a:lnTo>
                        <a:pt x="146" y="1020"/>
                      </a:lnTo>
                      <a:lnTo>
                        <a:pt x="146" y="997"/>
                      </a:lnTo>
                      <a:lnTo>
                        <a:pt x="168" y="992"/>
                      </a:lnTo>
                      <a:lnTo>
                        <a:pt x="184" y="1004"/>
                      </a:lnTo>
                      <a:lnTo>
                        <a:pt x="222" y="997"/>
                      </a:lnTo>
                      <a:lnTo>
                        <a:pt x="227" y="1013"/>
                      </a:lnTo>
                      <a:lnTo>
                        <a:pt x="260" y="1032"/>
                      </a:lnTo>
                      <a:lnTo>
                        <a:pt x="260" y="1020"/>
                      </a:lnTo>
                      <a:lnTo>
                        <a:pt x="227" y="1013"/>
                      </a:lnTo>
                      <a:lnTo>
                        <a:pt x="227" y="997"/>
                      </a:lnTo>
                      <a:lnTo>
                        <a:pt x="217" y="992"/>
                      </a:lnTo>
                      <a:lnTo>
                        <a:pt x="227" y="980"/>
                      </a:lnTo>
                      <a:lnTo>
                        <a:pt x="243" y="1004"/>
                      </a:lnTo>
                      <a:lnTo>
                        <a:pt x="260" y="1013"/>
                      </a:lnTo>
                      <a:lnTo>
                        <a:pt x="255" y="997"/>
                      </a:lnTo>
                      <a:lnTo>
                        <a:pt x="272" y="997"/>
                      </a:lnTo>
                      <a:lnTo>
                        <a:pt x="243" y="997"/>
                      </a:lnTo>
                      <a:lnTo>
                        <a:pt x="227" y="980"/>
                      </a:lnTo>
                      <a:lnTo>
                        <a:pt x="281" y="975"/>
                      </a:lnTo>
                      <a:lnTo>
                        <a:pt x="260" y="975"/>
                      </a:lnTo>
                      <a:lnTo>
                        <a:pt x="255" y="959"/>
                      </a:lnTo>
                      <a:lnTo>
                        <a:pt x="276" y="959"/>
                      </a:lnTo>
                      <a:lnTo>
                        <a:pt x="272" y="947"/>
                      </a:lnTo>
                      <a:lnTo>
                        <a:pt x="293" y="942"/>
                      </a:lnTo>
                      <a:lnTo>
                        <a:pt x="309" y="947"/>
                      </a:lnTo>
                      <a:lnTo>
                        <a:pt x="324" y="947"/>
                      </a:lnTo>
                      <a:lnTo>
                        <a:pt x="309" y="947"/>
                      </a:lnTo>
                      <a:lnTo>
                        <a:pt x="298" y="942"/>
                      </a:lnTo>
                      <a:lnTo>
                        <a:pt x="331" y="926"/>
                      </a:lnTo>
                      <a:lnTo>
                        <a:pt x="335" y="921"/>
                      </a:lnTo>
                      <a:lnTo>
                        <a:pt x="361" y="947"/>
                      </a:lnTo>
                      <a:lnTo>
                        <a:pt x="378" y="964"/>
                      </a:lnTo>
                      <a:lnTo>
                        <a:pt x="378" y="959"/>
                      </a:lnTo>
                      <a:lnTo>
                        <a:pt x="361" y="947"/>
                      </a:lnTo>
                      <a:lnTo>
                        <a:pt x="423" y="942"/>
                      </a:lnTo>
                      <a:lnTo>
                        <a:pt x="416" y="938"/>
                      </a:lnTo>
                      <a:lnTo>
                        <a:pt x="423" y="926"/>
                      </a:lnTo>
                      <a:lnTo>
                        <a:pt x="406" y="938"/>
                      </a:lnTo>
                      <a:lnTo>
                        <a:pt x="432" y="909"/>
                      </a:lnTo>
                      <a:lnTo>
                        <a:pt x="461" y="905"/>
                      </a:lnTo>
                      <a:lnTo>
                        <a:pt x="437" y="893"/>
                      </a:lnTo>
                      <a:lnTo>
                        <a:pt x="461" y="881"/>
                      </a:lnTo>
                      <a:lnTo>
                        <a:pt x="454" y="881"/>
                      </a:lnTo>
                      <a:lnTo>
                        <a:pt x="454" y="864"/>
                      </a:lnTo>
                      <a:lnTo>
                        <a:pt x="399" y="905"/>
                      </a:lnTo>
                      <a:lnTo>
                        <a:pt x="423" y="893"/>
                      </a:lnTo>
                      <a:lnTo>
                        <a:pt x="437" y="893"/>
                      </a:lnTo>
                      <a:lnTo>
                        <a:pt x="423" y="909"/>
                      </a:lnTo>
                      <a:lnTo>
                        <a:pt x="361" y="938"/>
                      </a:lnTo>
                      <a:lnTo>
                        <a:pt x="352" y="938"/>
                      </a:lnTo>
                      <a:lnTo>
                        <a:pt x="347" y="921"/>
                      </a:lnTo>
                      <a:lnTo>
                        <a:pt x="368" y="909"/>
                      </a:lnTo>
                      <a:lnTo>
                        <a:pt x="331" y="921"/>
                      </a:lnTo>
                      <a:lnTo>
                        <a:pt x="331" y="909"/>
                      </a:lnTo>
                      <a:lnTo>
                        <a:pt x="378" y="886"/>
                      </a:lnTo>
                      <a:lnTo>
                        <a:pt x="361" y="881"/>
                      </a:lnTo>
                      <a:lnTo>
                        <a:pt x="368" y="853"/>
                      </a:lnTo>
                      <a:lnTo>
                        <a:pt x="390" y="836"/>
                      </a:lnTo>
                      <a:lnTo>
                        <a:pt x="406" y="836"/>
                      </a:lnTo>
                      <a:lnTo>
                        <a:pt x="390" y="831"/>
                      </a:lnTo>
                      <a:lnTo>
                        <a:pt x="423" y="836"/>
                      </a:lnTo>
                      <a:lnTo>
                        <a:pt x="406" y="831"/>
                      </a:lnTo>
                      <a:lnTo>
                        <a:pt x="423" y="827"/>
                      </a:lnTo>
                      <a:lnTo>
                        <a:pt x="432" y="810"/>
                      </a:lnTo>
                      <a:lnTo>
                        <a:pt x="444" y="827"/>
                      </a:lnTo>
                      <a:lnTo>
                        <a:pt x="444" y="836"/>
                      </a:lnTo>
                      <a:lnTo>
                        <a:pt x="470" y="815"/>
                      </a:lnTo>
                      <a:lnTo>
                        <a:pt x="487" y="815"/>
                      </a:lnTo>
                      <a:lnTo>
                        <a:pt x="470" y="815"/>
                      </a:lnTo>
                      <a:lnTo>
                        <a:pt x="461" y="798"/>
                      </a:lnTo>
                      <a:lnTo>
                        <a:pt x="491" y="782"/>
                      </a:lnTo>
                      <a:lnTo>
                        <a:pt x="475" y="782"/>
                      </a:lnTo>
                      <a:lnTo>
                        <a:pt x="487" y="777"/>
                      </a:lnTo>
                      <a:lnTo>
                        <a:pt x="513" y="770"/>
                      </a:lnTo>
                      <a:lnTo>
                        <a:pt x="498" y="770"/>
                      </a:lnTo>
                      <a:lnTo>
                        <a:pt x="444" y="794"/>
                      </a:lnTo>
                      <a:lnTo>
                        <a:pt x="454" y="782"/>
                      </a:lnTo>
                      <a:lnTo>
                        <a:pt x="444" y="782"/>
                      </a:lnTo>
                      <a:lnTo>
                        <a:pt x="475" y="777"/>
                      </a:lnTo>
                      <a:lnTo>
                        <a:pt x="444" y="782"/>
                      </a:lnTo>
                      <a:lnTo>
                        <a:pt x="454" y="777"/>
                      </a:lnTo>
                      <a:lnTo>
                        <a:pt x="546" y="742"/>
                      </a:lnTo>
                      <a:lnTo>
                        <a:pt x="567" y="725"/>
                      </a:lnTo>
                      <a:lnTo>
                        <a:pt x="529" y="742"/>
                      </a:lnTo>
                      <a:lnTo>
                        <a:pt x="524" y="742"/>
                      </a:lnTo>
                      <a:lnTo>
                        <a:pt x="546" y="737"/>
                      </a:lnTo>
                      <a:lnTo>
                        <a:pt x="513" y="737"/>
                      </a:lnTo>
                      <a:lnTo>
                        <a:pt x="541" y="720"/>
                      </a:lnTo>
                      <a:lnTo>
                        <a:pt x="529" y="716"/>
                      </a:lnTo>
                      <a:lnTo>
                        <a:pt x="546" y="716"/>
                      </a:lnTo>
                      <a:lnTo>
                        <a:pt x="529" y="699"/>
                      </a:lnTo>
                      <a:lnTo>
                        <a:pt x="524" y="687"/>
                      </a:lnTo>
                      <a:lnTo>
                        <a:pt x="541" y="683"/>
                      </a:lnTo>
                      <a:lnTo>
                        <a:pt x="550" y="687"/>
                      </a:lnTo>
                      <a:lnTo>
                        <a:pt x="541" y="671"/>
                      </a:lnTo>
                      <a:lnTo>
                        <a:pt x="546" y="659"/>
                      </a:lnTo>
                      <a:lnTo>
                        <a:pt x="562" y="649"/>
                      </a:lnTo>
                      <a:lnTo>
                        <a:pt x="583" y="666"/>
                      </a:lnTo>
                      <a:lnTo>
                        <a:pt x="579" y="649"/>
                      </a:lnTo>
                      <a:lnTo>
                        <a:pt x="567" y="649"/>
                      </a:lnTo>
                      <a:lnTo>
                        <a:pt x="567" y="642"/>
                      </a:lnTo>
                      <a:lnTo>
                        <a:pt x="546" y="642"/>
                      </a:lnTo>
                      <a:lnTo>
                        <a:pt x="605" y="614"/>
                      </a:lnTo>
                      <a:lnTo>
                        <a:pt x="605" y="631"/>
                      </a:lnTo>
                      <a:lnTo>
                        <a:pt x="617" y="614"/>
                      </a:lnTo>
                      <a:lnTo>
                        <a:pt x="654" y="609"/>
                      </a:lnTo>
                      <a:lnTo>
                        <a:pt x="567" y="626"/>
                      </a:lnTo>
                      <a:lnTo>
                        <a:pt x="605" y="609"/>
                      </a:lnTo>
                      <a:lnTo>
                        <a:pt x="567" y="609"/>
                      </a:lnTo>
                      <a:lnTo>
                        <a:pt x="583" y="593"/>
                      </a:lnTo>
                      <a:lnTo>
                        <a:pt x="567" y="588"/>
                      </a:lnTo>
                      <a:lnTo>
                        <a:pt x="621" y="572"/>
                      </a:lnTo>
                      <a:lnTo>
                        <a:pt x="583" y="576"/>
                      </a:lnTo>
                      <a:lnTo>
                        <a:pt x="583" y="572"/>
                      </a:lnTo>
                      <a:lnTo>
                        <a:pt x="605" y="572"/>
                      </a:lnTo>
                      <a:lnTo>
                        <a:pt x="583" y="560"/>
                      </a:lnTo>
                      <a:lnTo>
                        <a:pt x="621" y="560"/>
                      </a:lnTo>
                      <a:lnTo>
                        <a:pt x="633" y="560"/>
                      </a:lnTo>
                      <a:lnTo>
                        <a:pt x="605" y="560"/>
                      </a:lnTo>
                      <a:lnTo>
                        <a:pt x="621" y="555"/>
                      </a:lnTo>
                      <a:lnTo>
                        <a:pt x="605" y="555"/>
                      </a:lnTo>
                      <a:lnTo>
                        <a:pt x="638" y="555"/>
                      </a:lnTo>
                      <a:lnTo>
                        <a:pt x="605" y="531"/>
                      </a:lnTo>
                      <a:lnTo>
                        <a:pt x="687" y="522"/>
                      </a:lnTo>
                      <a:lnTo>
                        <a:pt x="659" y="515"/>
                      </a:lnTo>
                      <a:lnTo>
                        <a:pt x="659" y="503"/>
                      </a:lnTo>
                      <a:lnTo>
                        <a:pt x="692" y="503"/>
                      </a:lnTo>
                      <a:lnTo>
                        <a:pt x="676" y="503"/>
                      </a:lnTo>
                      <a:lnTo>
                        <a:pt x="676" y="498"/>
                      </a:lnTo>
                      <a:lnTo>
                        <a:pt x="709" y="498"/>
                      </a:lnTo>
                      <a:lnTo>
                        <a:pt x="702" y="503"/>
                      </a:lnTo>
                      <a:lnTo>
                        <a:pt x="709" y="515"/>
                      </a:lnTo>
                      <a:lnTo>
                        <a:pt x="709" y="503"/>
                      </a:lnTo>
                      <a:lnTo>
                        <a:pt x="709" y="498"/>
                      </a:lnTo>
                      <a:lnTo>
                        <a:pt x="730" y="503"/>
                      </a:lnTo>
                      <a:lnTo>
                        <a:pt x="746" y="515"/>
                      </a:lnTo>
                      <a:lnTo>
                        <a:pt x="739" y="498"/>
                      </a:lnTo>
                      <a:lnTo>
                        <a:pt x="763" y="503"/>
                      </a:lnTo>
                      <a:lnTo>
                        <a:pt x="713" y="498"/>
                      </a:lnTo>
                      <a:lnTo>
                        <a:pt x="725" y="494"/>
                      </a:lnTo>
                      <a:lnTo>
                        <a:pt x="687" y="498"/>
                      </a:lnTo>
                      <a:lnTo>
                        <a:pt x="671" y="498"/>
                      </a:lnTo>
                      <a:lnTo>
                        <a:pt x="687" y="477"/>
                      </a:lnTo>
                      <a:lnTo>
                        <a:pt x="709" y="477"/>
                      </a:lnTo>
                      <a:lnTo>
                        <a:pt x="692" y="465"/>
                      </a:lnTo>
                      <a:lnTo>
                        <a:pt x="713" y="460"/>
                      </a:lnTo>
                      <a:lnTo>
                        <a:pt x="725" y="460"/>
                      </a:lnTo>
                      <a:lnTo>
                        <a:pt x="709" y="465"/>
                      </a:lnTo>
                      <a:lnTo>
                        <a:pt x="739" y="465"/>
                      </a:lnTo>
                      <a:lnTo>
                        <a:pt x="756" y="494"/>
                      </a:lnTo>
                      <a:lnTo>
                        <a:pt x="763" y="494"/>
                      </a:lnTo>
                      <a:lnTo>
                        <a:pt x="746" y="465"/>
                      </a:lnTo>
                      <a:lnTo>
                        <a:pt x="777" y="460"/>
                      </a:lnTo>
                      <a:lnTo>
                        <a:pt x="730" y="460"/>
                      </a:lnTo>
                      <a:lnTo>
                        <a:pt x="725" y="449"/>
                      </a:lnTo>
                      <a:lnTo>
                        <a:pt x="730" y="437"/>
                      </a:lnTo>
                      <a:lnTo>
                        <a:pt x="768" y="444"/>
                      </a:lnTo>
                      <a:lnTo>
                        <a:pt x="739" y="427"/>
                      </a:lnTo>
                      <a:lnTo>
                        <a:pt x="692" y="444"/>
                      </a:lnTo>
                      <a:lnTo>
                        <a:pt x="692" y="437"/>
                      </a:lnTo>
                      <a:lnTo>
                        <a:pt x="713" y="437"/>
                      </a:lnTo>
                      <a:lnTo>
                        <a:pt x="692" y="427"/>
                      </a:lnTo>
                      <a:lnTo>
                        <a:pt x="713" y="420"/>
                      </a:lnTo>
                      <a:lnTo>
                        <a:pt x="702" y="420"/>
                      </a:lnTo>
                      <a:lnTo>
                        <a:pt x="709" y="420"/>
                      </a:lnTo>
                      <a:lnTo>
                        <a:pt x="768" y="411"/>
                      </a:lnTo>
                      <a:lnTo>
                        <a:pt x="777" y="404"/>
                      </a:lnTo>
                      <a:lnTo>
                        <a:pt x="730" y="394"/>
                      </a:lnTo>
                      <a:lnTo>
                        <a:pt x="746" y="387"/>
                      </a:lnTo>
                      <a:lnTo>
                        <a:pt x="763" y="387"/>
                      </a:lnTo>
                      <a:lnTo>
                        <a:pt x="756" y="394"/>
                      </a:lnTo>
                      <a:lnTo>
                        <a:pt x="768" y="387"/>
                      </a:lnTo>
                      <a:lnTo>
                        <a:pt x="777" y="371"/>
                      </a:lnTo>
                      <a:lnTo>
                        <a:pt x="784" y="383"/>
                      </a:lnTo>
                      <a:lnTo>
                        <a:pt x="794" y="420"/>
                      </a:lnTo>
                      <a:lnTo>
                        <a:pt x="815" y="427"/>
                      </a:lnTo>
                      <a:lnTo>
                        <a:pt x="801" y="420"/>
                      </a:lnTo>
                      <a:lnTo>
                        <a:pt x="794" y="404"/>
                      </a:lnTo>
                      <a:lnTo>
                        <a:pt x="815" y="411"/>
                      </a:lnTo>
                      <a:lnTo>
                        <a:pt x="810" y="394"/>
                      </a:lnTo>
                      <a:lnTo>
                        <a:pt x="831" y="394"/>
                      </a:lnTo>
                      <a:lnTo>
                        <a:pt x="810" y="394"/>
                      </a:lnTo>
                      <a:lnTo>
                        <a:pt x="801" y="387"/>
                      </a:lnTo>
                      <a:lnTo>
                        <a:pt x="815" y="383"/>
                      </a:lnTo>
                      <a:lnTo>
                        <a:pt x="794" y="383"/>
                      </a:lnTo>
                      <a:lnTo>
                        <a:pt x="801" y="371"/>
                      </a:lnTo>
                      <a:lnTo>
                        <a:pt x="784" y="371"/>
                      </a:lnTo>
                      <a:lnTo>
                        <a:pt x="815" y="371"/>
                      </a:lnTo>
                      <a:lnTo>
                        <a:pt x="839" y="387"/>
                      </a:lnTo>
                      <a:lnTo>
                        <a:pt x="794" y="366"/>
                      </a:lnTo>
                      <a:lnTo>
                        <a:pt x="801" y="354"/>
                      </a:lnTo>
                      <a:lnTo>
                        <a:pt x="865" y="354"/>
                      </a:lnTo>
                      <a:lnTo>
                        <a:pt x="876" y="383"/>
                      </a:lnTo>
                      <a:lnTo>
                        <a:pt x="876" y="371"/>
                      </a:lnTo>
                      <a:lnTo>
                        <a:pt x="865" y="354"/>
                      </a:lnTo>
                      <a:lnTo>
                        <a:pt x="891" y="354"/>
                      </a:lnTo>
                      <a:lnTo>
                        <a:pt x="876" y="349"/>
                      </a:lnTo>
                      <a:lnTo>
                        <a:pt x="891" y="349"/>
                      </a:lnTo>
                      <a:lnTo>
                        <a:pt x="891" y="338"/>
                      </a:lnTo>
                      <a:lnTo>
                        <a:pt x="853" y="349"/>
                      </a:lnTo>
                      <a:lnTo>
                        <a:pt x="853" y="338"/>
                      </a:lnTo>
                      <a:lnTo>
                        <a:pt x="848" y="338"/>
                      </a:lnTo>
                      <a:lnTo>
                        <a:pt x="815" y="349"/>
                      </a:lnTo>
                      <a:lnTo>
                        <a:pt x="815" y="338"/>
                      </a:lnTo>
                      <a:lnTo>
                        <a:pt x="822" y="333"/>
                      </a:lnTo>
                      <a:lnTo>
                        <a:pt x="822" y="326"/>
                      </a:lnTo>
                      <a:lnTo>
                        <a:pt x="848" y="316"/>
                      </a:lnTo>
                      <a:lnTo>
                        <a:pt x="902" y="326"/>
                      </a:lnTo>
                      <a:lnTo>
                        <a:pt x="869" y="309"/>
                      </a:lnTo>
                      <a:lnTo>
                        <a:pt x="886" y="300"/>
                      </a:lnTo>
                      <a:lnTo>
                        <a:pt x="907" y="309"/>
                      </a:lnTo>
                      <a:lnTo>
                        <a:pt x="886" y="300"/>
                      </a:lnTo>
                      <a:lnTo>
                        <a:pt x="907" y="293"/>
                      </a:lnTo>
                      <a:lnTo>
                        <a:pt x="876" y="293"/>
                      </a:lnTo>
                      <a:lnTo>
                        <a:pt x="891" y="260"/>
                      </a:lnTo>
                      <a:lnTo>
                        <a:pt x="928" y="260"/>
                      </a:lnTo>
                      <a:lnTo>
                        <a:pt x="924" y="243"/>
                      </a:lnTo>
                      <a:lnTo>
                        <a:pt x="940" y="215"/>
                      </a:lnTo>
                      <a:lnTo>
                        <a:pt x="973" y="243"/>
                      </a:lnTo>
                      <a:lnTo>
                        <a:pt x="978" y="238"/>
                      </a:lnTo>
                      <a:lnTo>
                        <a:pt x="994" y="243"/>
                      </a:lnTo>
                      <a:lnTo>
                        <a:pt x="957" y="222"/>
                      </a:lnTo>
                      <a:lnTo>
                        <a:pt x="957" y="215"/>
                      </a:lnTo>
                      <a:lnTo>
                        <a:pt x="978" y="205"/>
                      </a:lnTo>
                      <a:lnTo>
                        <a:pt x="994" y="227"/>
                      </a:lnTo>
                      <a:lnTo>
                        <a:pt x="1016" y="238"/>
                      </a:lnTo>
                      <a:lnTo>
                        <a:pt x="999" y="243"/>
                      </a:lnTo>
                      <a:lnTo>
                        <a:pt x="1028" y="243"/>
                      </a:lnTo>
                      <a:lnTo>
                        <a:pt x="1028" y="238"/>
                      </a:lnTo>
                      <a:lnTo>
                        <a:pt x="994" y="222"/>
                      </a:lnTo>
                      <a:lnTo>
                        <a:pt x="1011" y="215"/>
                      </a:lnTo>
                      <a:lnTo>
                        <a:pt x="1011" y="205"/>
                      </a:lnTo>
                      <a:lnTo>
                        <a:pt x="994" y="215"/>
                      </a:lnTo>
                      <a:lnTo>
                        <a:pt x="983" y="198"/>
                      </a:lnTo>
                      <a:lnTo>
                        <a:pt x="1011" y="182"/>
                      </a:lnTo>
                      <a:lnTo>
                        <a:pt x="1049" y="172"/>
                      </a:lnTo>
                      <a:lnTo>
                        <a:pt x="1042" y="198"/>
                      </a:lnTo>
                      <a:lnTo>
                        <a:pt x="1032" y="227"/>
                      </a:lnTo>
                      <a:lnTo>
                        <a:pt x="1042" y="222"/>
                      </a:lnTo>
                      <a:lnTo>
                        <a:pt x="1049" y="189"/>
                      </a:lnTo>
                      <a:lnTo>
                        <a:pt x="1087" y="160"/>
                      </a:lnTo>
                      <a:lnTo>
                        <a:pt x="1096" y="165"/>
                      </a:lnTo>
                      <a:lnTo>
                        <a:pt x="1080" y="222"/>
                      </a:lnTo>
                      <a:lnTo>
                        <a:pt x="1054" y="243"/>
                      </a:lnTo>
                      <a:lnTo>
                        <a:pt x="1096" y="205"/>
                      </a:lnTo>
                      <a:lnTo>
                        <a:pt x="1124" y="215"/>
                      </a:lnTo>
                      <a:lnTo>
                        <a:pt x="1096" y="198"/>
                      </a:lnTo>
                      <a:lnTo>
                        <a:pt x="1103" y="182"/>
                      </a:lnTo>
                      <a:lnTo>
                        <a:pt x="1141" y="160"/>
                      </a:lnTo>
                      <a:lnTo>
                        <a:pt x="1124" y="165"/>
                      </a:lnTo>
                      <a:lnTo>
                        <a:pt x="1134" y="172"/>
                      </a:lnTo>
                      <a:lnTo>
                        <a:pt x="1155" y="149"/>
                      </a:lnTo>
                      <a:lnTo>
                        <a:pt x="1209" y="182"/>
                      </a:lnTo>
                      <a:lnTo>
                        <a:pt x="1188" y="144"/>
                      </a:lnTo>
                      <a:lnTo>
                        <a:pt x="1209" y="132"/>
                      </a:lnTo>
                      <a:lnTo>
                        <a:pt x="1162" y="132"/>
                      </a:lnTo>
                      <a:lnTo>
                        <a:pt x="1150" y="127"/>
                      </a:lnTo>
                      <a:lnTo>
                        <a:pt x="1155" y="116"/>
                      </a:lnTo>
                      <a:lnTo>
                        <a:pt x="1172" y="111"/>
                      </a:lnTo>
                      <a:lnTo>
                        <a:pt x="1188" y="116"/>
                      </a:lnTo>
                      <a:lnTo>
                        <a:pt x="1205" y="111"/>
                      </a:lnTo>
                      <a:lnTo>
                        <a:pt x="1226" y="111"/>
                      </a:lnTo>
                      <a:lnTo>
                        <a:pt x="1226" y="127"/>
                      </a:lnTo>
                      <a:lnTo>
                        <a:pt x="1243" y="132"/>
                      </a:lnTo>
                      <a:lnTo>
                        <a:pt x="1226" y="127"/>
                      </a:lnTo>
                      <a:lnTo>
                        <a:pt x="1231" y="116"/>
                      </a:lnTo>
                      <a:lnTo>
                        <a:pt x="1268" y="127"/>
                      </a:lnTo>
                      <a:lnTo>
                        <a:pt x="1259" y="132"/>
                      </a:lnTo>
                      <a:lnTo>
                        <a:pt x="1226" y="144"/>
                      </a:lnTo>
                      <a:lnTo>
                        <a:pt x="1264" y="132"/>
                      </a:lnTo>
                      <a:lnTo>
                        <a:pt x="1297" y="160"/>
                      </a:lnTo>
                      <a:lnTo>
                        <a:pt x="1313" y="149"/>
                      </a:lnTo>
                      <a:lnTo>
                        <a:pt x="1285" y="144"/>
                      </a:lnTo>
                      <a:lnTo>
                        <a:pt x="1297" y="132"/>
                      </a:lnTo>
                      <a:lnTo>
                        <a:pt x="1297" y="116"/>
                      </a:lnTo>
                      <a:lnTo>
                        <a:pt x="1313" y="116"/>
                      </a:lnTo>
                      <a:lnTo>
                        <a:pt x="1302" y="116"/>
                      </a:lnTo>
                      <a:lnTo>
                        <a:pt x="1318" y="94"/>
                      </a:lnTo>
                      <a:lnTo>
                        <a:pt x="1339" y="87"/>
                      </a:lnTo>
                      <a:lnTo>
                        <a:pt x="1368" y="94"/>
                      </a:lnTo>
                      <a:lnTo>
                        <a:pt x="1356" y="78"/>
                      </a:lnTo>
                      <a:lnTo>
                        <a:pt x="1368" y="61"/>
                      </a:lnTo>
                      <a:lnTo>
                        <a:pt x="1394" y="71"/>
                      </a:lnTo>
                      <a:lnTo>
                        <a:pt x="1377" y="54"/>
                      </a:lnTo>
                      <a:lnTo>
                        <a:pt x="1356" y="49"/>
                      </a:lnTo>
                      <a:lnTo>
                        <a:pt x="1372" y="38"/>
                      </a:lnTo>
                      <a:lnTo>
                        <a:pt x="1389" y="49"/>
                      </a:lnTo>
                      <a:lnTo>
                        <a:pt x="1389" y="21"/>
                      </a:lnTo>
                      <a:lnTo>
                        <a:pt x="1405" y="33"/>
                      </a:lnTo>
                      <a:lnTo>
                        <a:pt x="1410" y="21"/>
                      </a:lnTo>
                      <a:lnTo>
                        <a:pt x="1431" y="49"/>
                      </a:lnTo>
                      <a:lnTo>
                        <a:pt x="1443" y="38"/>
                      </a:lnTo>
                      <a:lnTo>
                        <a:pt x="1443" y="21"/>
                      </a:lnTo>
                      <a:lnTo>
                        <a:pt x="1481" y="33"/>
                      </a:lnTo>
                      <a:lnTo>
                        <a:pt x="1420" y="87"/>
                      </a:lnTo>
                      <a:lnTo>
                        <a:pt x="1431" y="87"/>
                      </a:lnTo>
                      <a:lnTo>
                        <a:pt x="1431" y="104"/>
                      </a:lnTo>
                      <a:lnTo>
                        <a:pt x="1420" y="104"/>
                      </a:lnTo>
                      <a:lnTo>
                        <a:pt x="1420" y="116"/>
                      </a:lnTo>
                      <a:lnTo>
                        <a:pt x="1410" y="116"/>
                      </a:lnTo>
                      <a:lnTo>
                        <a:pt x="1410" y="144"/>
                      </a:lnTo>
                      <a:lnTo>
                        <a:pt x="1420" y="144"/>
                      </a:lnTo>
                      <a:lnTo>
                        <a:pt x="1420" y="132"/>
                      </a:lnTo>
                      <a:lnTo>
                        <a:pt x="1420" y="144"/>
                      </a:lnTo>
                      <a:lnTo>
                        <a:pt x="1427" y="144"/>
                      </a:lnTo>
                      <a:lnTo>
                        <a:pt x="1448" y="116"/>
                      </a:lnTo>
                      <a:lnTo>
                        <a:pt x="1443" y="104"/>
                      </a:lnTo>
                      <a:lnTo>
                        <a:pt x="1528" y="33"/>
                      </a:lnTo>
                      <a:lnTo>
                        <a:pt x="1533" y="33"/>
                      </a:lnTo>
                      <a:lnTo>
                        <a:pt x="1533" y="54"/>
                      </a:lnTo>
                      <a:lnTo>
                        <a:pt x="1502" y="71"/>
                      </a:lnTo>
                      <a:lnTo>
                        <a:pt x="1528" y="71"/>
                      </a:lnTo>
                      <a:lnTo>
                        <a:pt x="1519" y="104"/>
                      </a:lnTo>
                      <a:lnTo>
                        <a:pt x="1557" y="87"/>
                      </a:lnTo>
                      <a:lnTo>
                        <a:pt x="1550" y="78"/>
                      </a:lnTo>
                      <a:lnTo>
                        <a:pt x="1557" y="71"/>
                      </a:lnTo>
                      <a:lnTo>
                        <a:pt x="1571" y="78"/>
                      </a:lnTo>
                      <a:lnTo>
                        <a:pt x="1566" y="71"/>
                      </a:lnTo>
                      <a:lnTo>
                        <a:pt x="1566" y="54"/>
                      </a:lnTo>
                      <a:lnTo>
                        <a:pt x="1571" y="38"/>
                      </a:lnTo>
                      <a:lnTo>
                        <a:pt x="1594" y="49"/>
                      </a:lnTo>
                      <a:lnTo>
                        <a:pt x="1566" y="21"/>
                      </a:lnTo>
                      <a:lnTo>
                        <a:pt x="1594" y="5"/>
                      </a:lnTo>
                      <a:lnTo>
                        <a:pt x="1609" y="16"/>
                      </a:lnTo>
                      <a:lnTo>
                        <a:pt x="1637" y="5"/>
                      </a:lnTo>
                      <a:lnTo>
                        <a:pt x="1663" y="21"/>
                      </a:lnTo>
                      <a:lnTo>
                        <a:pt x="1642" y="49"/>
                      </a:lnTo>
                      <a:lnTo>
                        <a:pt x="1604" y="49"/>
                      </a:lnTo>
                      <a:lnTo>
                        <a:pt x="1637" y="54"/>
                      </a:lnTo>
                      <a:lnTo>
                        <a:pt x="1594" y="71"/>
                      </a:lnTo>
                      <a:lnTo>
                        <a:pt x="1642" y="54"/>
                      </a:lnTo>
                      <a:lnTo>
                        <a:pt x="1642" y="71"/>
                      </a:lnTo>
                      <a:lnTo>
                        <a:pt x="1609" y="87"/>
                      </a:lnTo>
                      <a:lnTo>
                        <a:pt x="1637" y="87"/>
                      </a:lnTo>
                      <a:lnTo>
                        <a:pt x="1625" y="94"/>
                      </a:lnTo>
                      <a:lnTo>
                        <a:pt x="1637" y="94"/>
                      </a:lnTo>
                      <a:lnTo>
                        <a:pt x="1646" y="87"/>
                      </a:lnTo>
                      <a:lnTo>
                        <a:pt x="1637" y="104"/>
                      </a:lnTo>
                      <a:lnTo>
                        <a:pt x="1637" y="127"/>
                      </a:lnTo>
                      <a:lnTo>
                        <a:pt x="1625" y="144"/>
                      </a:lnTo>
                      <a:lnTo>
                        <a:pt x="1642" y="127"/>
                      </a:lnTo>
                      <a:lnTo>
                        <a:pt x="1642" y="104"/>
                      </a:lnTo>
                      <a:lnTo>
                        <a:pt x="1658" y="54"/>
                      </a:lnTo>
                      <a:lnTo>
                        <a:pt x="1675" y="38"/>
                      </a:lnTo>
                      <a:lnTo>
                        <a:pt x="1696" y="38"/>
                      </a:lnTo>
                      <a:lnTo>
                        <a:pt x="1713" y="38"/>
                      </a:lnTo>
                      <a:lnTo>
                        <a:pt x="1717" y="61"/>
                      </a:lnTo>
                      <a:lnTo>
                        <a:pt x="1750" y="54"/>
                      </a:lnTo>
                      <a:lnTo>
                        <a:pt x="1746" y="71"/>
                      </a:lnTo>
                      <a:lnTo>
                        <a:pt x="1772" y="54"/>
                      </a:lnTo>
                      <a:lnTo>
                        <a:pt x="1788" y="71"/>
                      </a:lnTo>
                      <a:lnTo>
                        <a:pt x="1767" y="78"/>
                      </a:lnTo>
                      <a:lnTo>
                        <a:pt x="1805" y="78"/>
                      </a:lnTo>
                      <a:lnTo>
                        <a:pt x="1826" y="94"/>
                      </a:lnTo>
                      <a:lnTo>
                        <a:pt x="1842" y="111"/>
                      </a:lnTo>
                      <a:lnTo>
                        <a:pt x="1798" y="116"/>
                      </a:lnTo>
                      <a:lnTo>
                        <a:pt x="1772" y="144"/>
                      </a:lnTo>
                      <a:lnTo>
                        <a:pt x="1675" y="127"/>
                      </a:lnTo>
                      <a:lnTo>
                        <a:pt x="1663" y="127"/>
                      </a:lnTo>
                      <a:lnTo>
                        <a:pt x="1675" y="127"/>
                      </a:lnTo>
                      <a:lnTo>
                        <a:pt x="1663" y="132"/>
                      </a:lnTo>
                      <a:lnTo>
                        <a:pt x="1746" y="160"/>
                      </a:lnTo>
                      <a:lnTo>
                        <a:pt x="1717" y="165"/>
                      </a:lnTo>
                      <a:lnTo>
                        <a:pt x="1746" y="165"/>
                      </a:lnTo>
                      <a:lnTo>
                        <a:pt x="1750" y="172"/>
                      </a:lnTo>
                      <a:lnTo>
                        <a:pt x="1729" y="198"/>
                      </a:lnTo>
                      <a:lnTo>
                        <a:pt x="1755" y="182"/>
                      </a:lnTo>
                      <a:lnTo>
                        <a:pt x="1772" y="189"/>
                      </a:lnTo>
                      <a:lnTo>
                        <a:pt x="1772" y="182"/>
                      </a:lnTo>
                      <a:lnTo>
                        <a:pt x="1772" y="165"/>
                      </a:lnTo>
                      <a:lnTo>
                        <a:pt x="1788" y="172"/>
                      </a:lnTo>
                      <a:lnTo>
                        <a:pt x="1788" y="189"/>
                      </a:lnTo>
                      <a:lnTo>
                        <a:pt x="1798" y="189"/>
                      </a:lnTo>
                      <a:lnTo>
                        <a:pt x="1798" y="172"/>
                      </a:lnTo>
                      <a:lnTo>
                        <a:pt x="1826" y="172"/>
                      </a:lnTo>
                      <a:lnTo>
                        <a:pt x="1826" y="172"/>
                      </a:lnTo>
                      <a:lnTo>
                        <a:pt x="1826" y="172"/>
                      </a:lnTo>
                      <a:close/>
                      <a:moveTo>
                        <a:pt x="1394" y="16"/>
                      </a:moveTo>
                      <a:lnTo>
                        <a:pt x="1389" y="5"/>
                      </a:lnTo>
                      <a:lnTo>
                        <a:pt x="1405" y="5"/>
                      </a:lnTo>
                      <a:lnTo>
                        <a:pt x="1394" y="16"/>
                      </a:lnTo>
                      <a:lnTo>
                        <a:pt x="1394" y="16"/>
                      </a:lnTo>
                      <a:lnTo>
                        <a:pt x="1394" y="16"/>
                      </a:lnTo>
                      <a:close/>
                      <a:moveTo>
                        <a:pt x="1351" y="33"/>
                      </a:moveTo>
                      <a:lnTo>
                        <a:pt x="1335" y="21"/>
                      </a:lnTo>
                      <a:lnTo>
                        <a:pt x="1356" y="21"/>
                      </a:lnTo>
                      <a:lnTo>
                        <a:pt x="1351" y="33"/>
                      </a:lnTo>
                      <a:lnTo>
                        <a:pt x="1351" y="33"/>
                      </a:lnTo>
                      <a:lnTo>
                        <a:pt x="1351" y="33"/>
                      </a:lnTo>
                      <a:close/>
                      <a:moveTo>
                        <a:pt x="1217" y="87"/>
                      </a:moveTo>
                      <a:lnTo>
                        <a:pt x="1217" y="71"/>
                      </a:lnTo>
                      <a:lnTo>
                        <a:pt x="1205" y="61"/>
                      </a:lnTo>
                      <a:lnTo>
                        <a:pt x="1243" y="54"/>
                      </a:lnTo>
                      <a:lnTo>
                        <a:pt x="1247" y="61"/>
                      </a:lnTo>
                      <a:lnTo>
                        <a:pt x="1247" y="71"/>
                      </a:lnTo>
                      <a:lnTo>
                        <a:pt x="1259" y="71"/>
                      </a:lnTo>
                      <a:lnTo>
                        <a:pt x="1259" y="54"/>
                      </a:lnTo>
                      <a:lnTo>
                        <a:pt x="1268" y="61"/>
                      </a:lnTo>
                      <a:lnTo>
                        <a:pt x="1285" y="49"/>
                      </a:lnTo>
                      <a:lnTo>
                        <a:pt x="1297" y="49"/>
                      </a:lnTo>
                      <a:lnTo>
                        <a:pt x="1297" y="38"/>
                      </a:lnTo>
                      <a:lnTo>
                        <a:pt x="1302" y="49"/>
                      </a:lnTo>
                      <a:lnTo>
                        <a:pt x="1280" y="78"/>
                      </a:lnTo>
                      <a:lnTo>
                        <a:pt x="1217" y="87"/>
                      </a:lnTo>
                      <a:lnTo>
                        <a:pt x="1217" y="87"/>
                      </a:lnTo>
                      <a:lnTo>
                        <a:pt x="1217" y="87"/>
                      </a:lnTo>
                      <a:close/>
                      <a:moveTo>
                        <a:pt x="1335" y="87"/>
                      </a:moveTo>
                      <a:lnTo>
                        <a:pt x="1323" y="78"/>
                      </a:lnTo>
                      <a:lnTo>
                        <a:pt x="1318" y="61"/>
                      </a:lnTo>
                      <a:lnTo>
                        <a:pt x="1335" y="54"/>
                      </a:lnTo>
                      <a:lnTo>
                        <a:pt x="1351" y="71"/>
                      </a:lnTo>
                      <a:lnTo>
                        <a:pt x="1335" y="87"/>
                      </a:lnTo>
                      <a:lnTo>
                        <a:pt x="1335" y="87"/>
                      </a:lnTo>
                      <a:lnTo>
                        <a:pt x="1335" y="87"/>
                      </a:lnTo>
                      <a:close/>
                      <a:moveTo>
                        <a:pt x="1280" y="116"/>
                      </a:moveTo>
                      <a:lnTo>
                        <a:pt x="1264" y="94"/>
                      </a:lnTo>
                      <a:lnTo>
                        <a:pt x="1302" y="78"/>
                      </a:lnTo>
                      <a:lnTo>
                        <a:pt x="1302" y="71"/>
                      </a:lnTo>
                      <a:lnTo>
                        <a:pt x="1318" y="87"/>
                      </a:lnTo>
                      <a:lnTo>
                        <a:pt x="1313" y="104"/>
                      </a:lnTo>
                      <a:lnTo>
                        <a:pt x="1280" y="116"/>
                      </a:lnTo>
                      <a:lnTo>
                        <a:pt x="1280" y="116"/>
                      </a:lnTo>
                      <a:lnTo>
                        <a:pt x="1280" y="116"/>
                      </a:lnTo>
                      <a:close/>
                      <a:moveTo>
                        <a:pt x="1268" y="116"/>
                      </a:moveTo>
                      <a:lnTo>
                        <a:pt x="1226" y="111"/>
                      </a:lnTo>
                      <a:lnTo>
                        <a:pt x="1247" y="104"/>
                      </a:lnTo>
                      <a:lnTo>
                        <a:pt x="1268" y="116"/>
                      </a:lnTo>
                      <a:lnTo>
                        <a:pt x="1268" y="116"/>
                      </a:lnTo>
                      <a:lnTo>
                        <a:pt x="1268" y="116"/>
                      </a:lnTo>
                      <a:close/>
                      <a:moveTo>
                        <a:pt x="1188" y="116"/>
                      </a:moveTo>
                      <a:lnTo>
                        <a:pt x="1179" y="104"/>
                      </a:lnTo>
                      <a:lnTo>
                        <a:pt x="1193" y="104"/>
                      </a:lnTo>
                      <a:lnTo>
                        <a:pt x="1188" y="116"/>
                      </a:lnTo>
                      <a:lnTo>
                        <a:pt x="1188" y="116"/>
                      </a:lnTo>
                      <a:lnTo>
                        <a:pt x="1188" y="116"/>
                      </a:lnTo>
                      <a:close/>
                      <a:moveTo>
                        <a:pt x="1054" y="144"/>
                      </a:moveTo>
                      <a:lnTo>
                        <a:pt x="1049" y="144"/>
                      </a:lnTo>
                      <a:lnTo>
                        <a:pt x="1032" y="116"/>
                      </a:lnTo>
                      <a:lnTo>
                        <a:pt x="1042" y="111"/>
                      </a:lnTo>
                      <a:lnTo>
                        <a:pt x="1070" y="132"/>
                      </a:lnTo>
                      <a:lnTo>
                        <a:pt x="1054" y="144"/>
                      </a:lnTo>
                      <a:lnTo>
                        <a:pt x="1054" y="144"/>
                      </a:lnTo>
                      <a:lnTo>
                        <a:pt x="1054" y="144"/>
                      </a:lnTo>
                      <a:close/>
                      <a:moveTo>
                        <a:pt x="999" y="132"/>
                      </a:moveTo>
                      <a:lnTo>
                        <a:pt x="994" y="127"/>
                      </a:lnTo>
                      <a:lnTo>
                        <a:pt x="1011" y="116"/>
                      </a:lnTo>
                      <a:lnTo>
                        <a:pt x="1011" y="132"/>
                      </a:lnTo>
                      <a:lnTo>
                        <a:pt x="999" y="132"/>
                      </a:lnTo>
                      <a:lnTo>
                        <a:pt x="999" y="132"/>
                      </a:lnTo>
                      <a:lnTo>
                        <a:pt x="999" y="132"/>
                      </a:lnTo>
                      <a:close/>
                      <a:moveTo>
                        <a:pt x="1103" y="144"/>
                      </a:moveTo>
                      <a:lnTo>
                        <a:pt x="1087" y="144"/>
                      </a:lnTo>
                      <a:lnTo>
                        <a:pt x="1096" y="127"/>
                      </a:lnTo>
                      <a:lnTo>
                        <a:pt x="1103" y="116"/>
                      </a:lnTo>
                      <a:lnTo>
                        <a:pt x="1117" y="127"/>
                      </a:lnTo>
                      <a:lnTo>
                        <a:pt x="1117" y="144"/>
                      </a:lnTo>
                      <a:lnTo>
                        <a:pt x="1103" y="144"/>
                      </a:lnTo>
                      <a:lnTo>
                        <a:pt x="1103" y="144"/>
                      </a:lnTo>
                      <a:lnTo>
                        <a:pt x="1103" y="144"/>
                      </a:lnTo>
                      <a:close/>
                      <a:moveTo>
                        <a:pt x="1032" y="132"/>
                      </a:moveTo>
                      <a:lnTo>
                        <a:pt x="1016" y="132"/>
                      </a:lnTo>
                      <a:lnTo>
                        <a:pt x="1028" y="127"/>
                      </a:lnTo>
                      <a:lnTo>
                        <a:pt x="1032" y="132"/>
                      </a:lnTo>
                      <a:lnTo>
                        <a:pt x="1032" y="132"/>
                      </a:lnTo>
                      <a:lnTo>
                        <a:pt x="1032" y="132"/>
                      </a:lnTo>
                      <a:close/>
                      <a:moveTo>
                        <a:pt x="1124" y="144"/>
                      </a:moveTo>
                      <a:lnTo>
                        <a:pt x="1117" y="132"/>
                      </a:lnTo>
                      <a:lnTo>
                        <a:pt x="1124" y="132"/>
                      </a:lnTo>
                      <a:lnTo>
                        <a:pt x="1124" y="144"/>
                      </a:lnTo>
                      <a:lnTo>
                        <a:pt x="1124" y="144"/>
                      </a:lnTo>
                      <a:lnTo>
                        <a:pt x="1124" y="144"/>
                      </a:lnTo>
                      <a:close/>
                      <a:moveTo>
                        <a:pt x="973" y="149"/>
                      </a:moveTo>
                      <a:lnTo>
                        <a:pt x="973" y="132"/>
                      </a:lnTo>
                      <a:lnTo>
                        <a:pt x="994" y="144"/>
                      </a:lnTo>
                      <a:lnTo>
                        <a:pt x="973" y="149"/>
                      </a:lnTo>
                      <a:lnTo>
                        <a:pt x="973" y="149"/>
                      </a:lnTo>
                      <a:lnTo>
                        <a:pt x="973" y="149"/>
                      </a:lnTo>
                      <a:close/>
                      <a:moveTo>
                        <a:pt x="999" y="172"/>
                      </a:moveTo>
                      <a:lnTo>
                        <a:pt x="973" y="160"/>
                      </a:lnTo>
                      <a:lnTo>
                        <a:pt x="1011" y="132"/>
                      </a:lnTo>
                      <a:lnTo>
                        <a:pt x="1016" y="149"/>
                      </a:lnTo>
                      <a:lnTo>
                        <a:pt x="1032" y="144"/>
                      </a:lnTo>
                      <a:lnTo>
                        <a:pt x="1042" y="149"/>
                      </a:lnTo>
                      <a:lnTo>
                        <a:pt x="999" y="172"/>
                      </a:lnTo>
                      <a:lnTo>
                        <a:pt x="999" y="172"/>
                      </a:lnTo>
                      <a:lnTo>
                        <a:pt x="999" y="172"/>
                      </a:lnTo>
                      <a:close/>
                      <a:moveTo>
                        <a:pt x="1124" y="160"/>
                      </a:moveTo>
                      <a:lnTo>
                        <a:pt x="1117" y="149"/>
                      </a:lnTo>
                      <a:lnTo>
                        <a:pt x="1141" y="149"/>
                      </a:lnTo>
                      <a:lnTo>
                        <a:pt x="1124" y="160"/>
                      </a:lnTo>
                      <a:lnTo>
                        <a:pt x="1124" y="160"/>
                      </a:lnTo>
                      <a:lnTo>
                        <a:pt x="1124" y="160"/>
                      </a:lnTo>
                      <a:close/>
                      <a:moveTo>
                        <a:pt x="1028" y="172"/>
                      </a:moveTo>
                      <a:lnTo>
                        <a:pt x="1049" y="149"/>
                      </a:lnTo>
                      <a:lnTo>
                        <a:pt x="1054" y="160"/>
                      </a:lnTo>
                      <a:lnTo>
                        <a:pt x="1049" y="165"/>
                      </a:lnTo>
                      <a:lnTo>
                        <a:pt x="1028" y="172"/>
                      </a:lnTo>
                      <a:lnTo>
                        <a:pt x="1028" y="172"/>
                      </a:lnTo>
                      <a:lnTo>
                        <a:pt x="1028" y="172"/>
                      </a:lnTo>
                      <a:close/>
                      <a:moveTo>
                        <a:pt x="1750" y="182"/>
                      </a:moveTo>
                      <a:lnTo>
                        <a:pt x="1746" y="182"/>
                      </a:lnTo>
                      <a:lnTo>
                        <a:pt x="1750" y="165"/>
                      </a:lnTo>
                      <a:lnTo>
                        <a:pt x="1767" y="172"/>
                      </a:lnTo>
                      <a:lnTo>
                        <a:pt x="1750" y="182"/>
                      </a:lnTo>
                      <a:lnTo>
                        <a:pt x="1750" y="182"/>
                      </a:lnTo>
                      <a:lnTo>
                        <a:pt x="1750" y="182"/>
                      </a:lnTo>
                      <a:close/>
                      <a:moveTo>
                        <a:pt x="1103" y="172"/>
                      </a:moveTo>
                      <a:lnTo>
                        <a:pt x="1103" y="165"/>
                      </a:lnTo>
                      <a:lnTo>
                        <a:pt x="1117" y="165"/>
                      </a:lnTo>
                      <a:lnTo>
                        <a:pt x="1117" y="172"/>
                      </a:lnTo>
                      <a:lnTo>
                        <a:pt x="1103" y="172"/>
                      </a:lnTo>
                      <a:lnTo>
                        <a:pt x="1103" y="172"/>
                      </a:lnTo>
                      <a:lnTo>
                        <a:pt x="1103" y="172"/>
                      </a:lnTo>
                      <a:close/>
                      <a:moveTo>
                        <a:pt x="945" y="189"/>
                      </a:moveTo>
                      <a:lnTo>
                        <a:pt x="961" y="189"/>
                      </a:lnTo>
                      <a:lnTo>
                        <a:pt x="945" y="189"/>
                      </a:lnTo>
                      <a:lnTo>
                        <a:pt x="945" y="172"/>
                      </a:lnTo>
                      <a:lnTo>
                        <a:pt x="978" y="189"/>
                      </a:lnTo>
                      <a:lnTo>
                        <a:pt x="973" y="165"/>
                      </a:lnTo>
                      <a:lnTo>
                        <a:pt x="994" y="182"/>
                      </a:lnTo>
                      <a:lnTo>
                        <a:pt x="978" y="189"/>
                      </a:lnTo>
                      <a:lnTo>
                        <a:pt x="978" y="205"/>
                      </a:lnTo>
                      <a:lnTo>
                        <a:pt x="973" y="205"/>
                      </a:lnTo>
                      <a:lnTo>
                        <a:pt x="924" y="205"/>
                      </a:lnTo>
                      <a:lnTo>
                        <a:pt x="940" y="198"/>
                      </a:lnTo>
                      <a:lnTo>
                        <a:pt x="928" y="189"/>
                      </a:lnTo>
                      <a:lnTo>
                        <a:pt x="945" y="189"/>
                      </a:lnTo>
                      <a:lnTo>
                        <a:pt x="945" y="189"/>
                      </a:lnTo>
                      <a:lnTo>
                        <a:pt x="945" y="189"/>
                      </a:lnTo>
                      <a:close/>
                      <a:moveTo>
                        <a:pt x="839" y="255"/>
                      </a:moveTo>
                      <a:lnTo>
                        <a:pt x="865" y="243"/>
                      </a:lnTo>
                      <a:lnTo>
                        <a:pt x="848" y="238"/>
                      </a:lnTo>
                      <a:lnTo>
                        <a:pt x="853" y="238"/>
                      </a:lnTo>
                      <a:lnTo>
                        <a:pt x="839" y="227"/>
                      </a:lnTo>
                      <a:lnTo>
                        <a:pt x="848" y="227"/>
                      </a:lnTo>
                      <a:lnTo>
                        <a:pt x="886" y="222"/>
                      </a:lnTo>
                      <a:lnTo>
                        <a:pt x="865" y="215"/>
                      </a:lnTo>
                      <a:lnTo>
                        <a:pt x="891" y="222"/>
                      </a:lnTo>
                      <a:lnTo>
                        <a:pt x="886" y="205"/>
                      </a:lnTo>
                      <a:lnTo>
                        <a:pt x="902" y="215"/>
                      </a:lnTo>
                      <a:lnTo>
                        <a:pt x="891" y="205"/>
                      </a:lnTo>
                      <a:lnTo>
                        <a:pt x="907" y="205"/>
                      </a:lnTo>
                      <a:lnTo>
                        <a:pt x="928" y="227"/>
                      </a:lnTo>
                      <a:lnTo>
                        <a:pt x="919" y="238"/>
                      </a:lnTo>
                      <a:lnTo>
                        <a:pt x="919" y="243"/>
                      </a:lnTo>
                      <a:lnTo>
                        <a:pt x="924" y="255"/>
                      </a:lnTo>
                      <a:lnTo>
                        <a:pt x="886" y="255"/>
                      </a:lnTo>
                      <a:lnTo>
                        <a:pt x="853" y="276"/>
                      </a:lnTo>
                      <a:lnTo>
                        <a:pt x="865" y="272"/>
                      </a:lnTo>
                      <a:lnTo>
                        <a:pt x="831" y="272"/>
                      </a:lnTo>
                      <a:lnTo>
                        <a:pt x="865" y="255"/>
                      </a:lnTo>
                      <a:lnTo>
                        <a:pt x="839" y="255"/>
                      </a:lnTo>
                      <a:lnTo>
                        <a:pt x="839" y="255"/>
                      </a:lnTo>
                      <a:lnTo>
                        <a:pt x="839" y="255"/>
                      </a:lnTo>
                      <a:close/>
                      <a:moveTo>
                        <a:pt x="746" y="293"/>
                      </a:moveTo>
                      <a:lnTo>
                        <a:pt x="739" y="276"/>
                      </a:lnTo>
                      <a:lnTo>
                        <a:pt x="746" y="272"/>
                      </a:lnTo>
                      <a:lnTo>
                        <a:pt x="794" y="243"/>
                      </a:lnTo>
                      <a:lnTo>
                        <a:pt x="784" y="260"/>
                      </a:lnTo>
                      <a:lnTo>
                        <a:pt x="746" y="293"/>
                      </a:lnTo>
                      <a:lnTo>
                        <a:pt x="746" y="293"/>
                      </a:lnTo>
                      <a:lnTo>
                        <a:pt x="746" y="293"/>
                      </a:lnTo>
                      <a:close/>
                      <a:moveTo>
                        <a:pt x="876" y="276"/>
                      </a:moveTo>
                      <a:lnTo>
                        <a:pt x="876" y="272"/>
                      </a:lnTo>
                      <a:lnTo>
                        <a:pt x="891" y="272"/>
                      </a:lnTo>
                      <a:lnTo>
                        <a:pt x="876" y="276"/>
                      </a:lnTo>
                      <a:lnTo>
                        <a:pt x="876" y="276"/>
                      </a:lnTo>
                      <a:lnTo>
                        <a:pt x="876" y="276"/>
                      </a:lnTo>
                      <a:close/>
                      <a:moveTo>
                        <a:pt x="676" y="326"/>
                      </a:moveTo>
                      <a:lnTo>
                        <a:pt x="671" y="316"/>
                      </a:lnTo>
                      <a:lnTo>
                        <a:pt x="676" y="300"/>
                      </a:lnTo>
                      <a:lnTo>
                        <a:pt x="702" y="309"/>
                      </a:lnTo>
                      <a:lnTo>
                        <a:pt x="709" y="293"/>
                      </a:lnTo>
                      <a:lnTo>
                        <a:pt x="725" y="300"/>
                      </a:lnTo>
                      <a:lnTo>
                        <a:pt x="709" y="283"/>
                      </a:lnTo>
                      <a:lnTo>
                        <a:pt x="713" y="276"/>
                      </a:lnTo>
                      <a:lnTo>
                        <a:pt x="739" y="300"/>
                      </a:lnTo>
                      <a:lnTo>
                        <a:pt x="739" y="316"/>
                      </a:lnTo>
                      <a:lnTo>
                        <a:pt x="713" y="333"/>
                      </a:lnTo>
                      <a:lnTo>
                        <a:pt x="702" y="326"/>
                      </a:lnTo>
                      <a:lnTo>
                        <a:pt x="725" y="309"/>
                      </a:lnTo>
                      <a:lnTo>
                        <a:pt x="676" y="326"/>
                      </a:lnTo>
                      <a:lnTo>
                        <a:pt x="676" y="326"/>
                      </a:lnTo>
                      <a:lnTo>
                        <a:pt x="676" y="326"/>
                      </a:lnTo>
                      <a:close/>
                      <a:moveTo>
                        <a:pt x="815" y="293"/>
                      </a:moveTo>
                      <a:lnTo>
                        <a:pt x="801" y="283"/>
                      </a:lnTo>
                      <a:lnTo>
                        <a:pt x="822" y="283"/>
                      </a:lnTo>
                      <a:lnTo>
                        <a:pt x="815" y="293"/>
                      </a:lnTo>
                      <a:lnTo>
                        <a:pt x="815" y="293"/>
                      </a:lnTo>
                      <a:lnTo>
                        <a:pt x="815" y="293"/>
                      </a:lnTo>
                      <a:close/>
                      <a:moveTo>
                        <a:pt x="777" y="283"/>
                      </a:moveTo>
                      <a:lnTo>
                        <a:pt x="768" y="300"/>
                      </a:lnTo>
                      <a:lnTo>
                        <a:pt x="777" y="309"/>
                      </a:lnTo>
                      <a:lnTo>
                        <a:pt x="763" y="338"/>
                      </a:lnTo>
                      <a:lnTo>
                        <a:pt x="794" y="293"/>
                      </a:lnTo>
                      <a:lnTo>
                        <a:pt x="815" y="300"/>
                      </a:lnTo>
                      <a:lnTo>
                        <a:pt x="822" y="326"/>
                      </a:lnTo>
                      <a:lnTo>
                        <a:pt x="815" y="333"/>
                      </a:lnTo>
                      <a:lnTo>
                        <a:pt x="794" y="333"/>
                      </a:lnTo>
                      <a:lnTo>
                        <a:pt x="777" y="354"/>
                      </a:lnTo>
                      <a:lnTo>
                        <a:pt x="768" y="349"/>
                      </a:lnTo>
                      <a:lnTo>
                        <a:pt x="756" y="366"/>
                      </a:lnTo>
                      <a:lnTo>
                        <a:pt x="730" y="366"/>
                      </a:lnTo>
                      <a:lnTo>
                        <a:pt x="756" y="338"/>
                      </a:lnTo>
                      <a:lnTo>
                        <a:pt x="746" y="338"/>
                      </a:lnTo>
                      <a:lnTo>
                        <a:pt x="709" y="371"/>
                      </a:lnTo>
                      <a:lnTo>
                        <a:pt x="730" y="338"/>
                      </a:lnTo>
                      <a:lnTo>
                        <a:pt x="725" y="338"/>
                      </a:lnTo>
                      <a:lnTo>
                        <a:pt x="746" y="326"/>
                      </a:lnTo>
                      <a:lnTo>
                        <a:pt x="739" y="309"/>
                      </a:lnTo>
                      <a:lnTo>
                        <a:pt x="763" y="316"/>
                      </a:lnTo>
                      <a:lnTo>
                        <a:pt x="739" y="309"/>
                      </a:lnTo>
                      <a:lnTo>
                        <a:pt x="756" y="283"/>
                      </a:lnTo>
                      <a:lnTo>
                        <a:pt x="777" y="283"/>
                      </a:lnTo>
                      <a:lnTo>
                        <a:pt x="777" y="283"/>
                      </a:lnTo>
                      <a:lnTo>
                        <a:pt x="777" y="283"/>
                      </a:lnTo>
                      <a:close/>
                      <a:moveTo>
                        <a:pt x="709" y="293"/>
                      </a:moveTo>
                      <a:lnTo>
                        <a:pt x="702" y="283"/>
                      </a:lnTo>
                      <a:lnTo>
                        <a:pt x="709" y="283"/>
                      </a:lnTo>
                      <a:lnTo>
                        <a:pt x="709" y="293"/>
                      </a:lnTo>
                      <a:lnTo>
                        <a:pt x="709" y="293"/>
                      </a:lnTo>
                      <a:lnTo>
                        <a:pt x="709" y="293"/>
                      </a:lnTo>
                      <a:close/>
                      <a:moveTo>
                        <a:pt x="869" y="300"/>
                      </a:moveTo>
                      <a:lnTo>
                        <a:pt x="853" y="293"/>
                      </a:lnTo>
                      <a:lnTo>
                        <a:pt x="886" y="293"/>
                      </a:lnTo>
                      <a:lnTo>
                        <a:pt x="869" y="300"/>
                      </a:lnTo>
                      <a:lnTo>
                        <a:pt x="869" y="300"/>
                      </a:lnTo>
                      <a:lnTo>
                        <a:pt x="869" y="300"/>
                      </a:lnTo>
                      <a:close/>
                      <a:moveTo>
                        <a:pt x="839" y="316"/>
                      </a:moveTo>
                      <a:lnTo>
                        <a:pt x="848" y="293"/>
                      </a:lnTo>
                      <a:lnTo>
                        <a:pt x="865" y="309"/>
                      </a:lnTo>
                      <a:lnTo>
                        <a:pt x="839" y="316"/>
                      </a:lnTo>
                      <a:lnTo>
                        <a:pt x="839" y="316"/>
                      </a:lnTo>
                      <a:lnTo>
                        <a:pt x="839" y="316"/>
                      </a:lnTo>
                      <a:close/>
                      <a:moveTo>
                        <a:pt x="794" y="354"/>
                      </a:moveTo>
                      <a:lnTo>
                        <a:pt x="801" y="338"/>
                      </a:lnTo>
                      <a:lnTo>
                        <a:pt x="815" y="349"/>
                      </a:lnTo>
                      <a:lnTo>
                        <a:pt x="794" y="354"/>
                      </a:lnTo>
                      <a:lnTo>
                        <a:pt x="794" y="354"/>
                      </a:lnTo>
                      <a:lnTo>
                        <a:pt x="794" y="354"/>
                      </a:lnTo>
                      <a:close/>
                      <a:moveTo>
                        <a:pt x="654" y="387"/>
                      </a:moveTo>
                      <a:lnTo>
                        <a:pt x="659" y="366"/>
                      </a:lnTo>
                      <a:lnTo>
                        <a:pt x="676" y="366"/>
                      </a:lnTo>
                      <a:lnTo>
                        <a:pt x="671" y="354"/>
                      </a:lnTo>
                      <a:lnTo>
                        <a:pt x="676" y="354"/>
                      </a:lnTo>
                      <a:lnTo>
                        <a:pt x="702" y="349"/>
                      </a:lnTo>
                      <a:lnTo>
                        <a:pt x="692" y="366"/>
                      </a:lnTo>
                      <a:lnTo>
                        <a:pt x="725" y="349"/>
                      </a:lnTo>
                      <a:lnTo>
                        <a:pt x="702" y="371"/>
                      </a:lnTo>
                      <a:lnTo>
                        <a:pt x="654" y="387"/>
                      </a:lnTo>
                      <a:lnTo>
                        <a:pt x="654" y="387"/>
                      </a:lnTo>
                      <a:lnTo>
                        <a:pt x="654" y="387"/>
                      </a:lnTo>
                      <a:close/>
                      <a:moveTo>
                        <a:pt x="654" y="371"/>
                      </a:moveTo>
                      <a:lnTo>
                        <a:pt x="650" y="366"/>
                      </a:lnTo>
                      <a:lnTo>
                        <a:pt x="654" y="366"/>
                      </a:lnTo>
                      <a:lnTo>
                        <a:pt x="654" y="371"/>
                      </a:lnTo>
                      <a:lnTo>
                        <a:pt x="654" y="371"/>
                      </a:lnTo>
                      <a:lnTo>
                        <a:pt x="654" y="371"/>
                      </a:lnTo>
                      <a:close/>
                      <a:moveTo>
                        <a:pt x="638" y="371"/>
                      </a:moveTo>
                      <a:lnTo>
                        <a:pt x="633" y="366"/>
                      </a:lnTo>
                      <a:lnTo>
                        <a:pt x="638" y="366"/>
                      </a:lnTo>
                      <a:lnTo>
                        <a:pt x="638" y="371"/>
                      </a:lnTo>
                      <a:lnTo>
                        <a:pt x="638" y="371"/>
                      </a:lnTo>
                      <a:lnTo>
                        <a:pt x="638" y="371"/>
                      </a:lnTo>
                      <a:close/>
                      <a:moveTo>
                        <a:pt x="605" y="394"/>
                      </a:moveTo>
                      <a:lnTo>
                        <a:pt x="600" y="394"/>
                      </a:lnTo>
                      <a:lnTo>
                        <a:pt x="605" y="371"/>
                      </a:lnTo>
                      <a:lnTo>
                        <a:pt x="650" y="371"/>
                      </a:lnTo>
                      <a:lnTo>
                        <a:pt x="605" y="394"/>
                      </a:lnTo>
                      <a:lnTo>
                        <a:pt x="605" y="394"/>
                      </a:lnTo>
                      <a:lnTo>
                        <a:pt x="605" y="394"/>
                      </a:lnTo>
                      <a:close/>
                      <a:moveTo>
                        <a:pt x="583" y="404"/>
                      </a:moveTo>
                      <a:lnTo>
                        <a:pt x="583" y="394"/>
                      </a:lnTo>
                      <a:lnTo>
                        <a:pt x="595" y="387"/>
                      </a:lnTo>
                      <a:lnTo>
                        <a:pt x="600" y="387"/>
                      </a:lnTo>
                      <a:lnTo>
                        <a:pt x="583" y="404"/>
                      </a:lnTo>
                      <a:lnTo>
                        <a:pt x="583" y="404"/>
                      </a:lnTo>
                      <a:lnTo>
                        <a:pt x="583" y="404"/>
                      </a:lnTo>
                      <a:close/>
                      <a:moveTo>
                        <a:pt x="550" y="427"/>
                      </a:moveTo>
                      <a:lnTo>
                        <a:pt x="579" y="387"/>
                      </a:lnTo>
                      <a:lnTo>
                        <a:pt x="583" y="394"/>
                      </a:lnTo>
                      <a:lnTo>
                        <a:pt x="579" y="411"/>
                      </a:lnTo>
                      <a:lnTo>
                        <a:pt x="550" y="427"/>
                      </a:lnTo>
                      <a:lnTo>
                        <a:pt x="550" y="427"/>
                      </a:lnTo>
                      <a:lnTo>
                        <a:pt x="550" y="427"/>
                      </a:lnTo>
                      <a:close/>
                      <a:moveTo>
                        <a:pt x="756" y="404"/>
                      </a:moveTo>
                      <a:lnTo>
                        <a:pt x="746" y="404"/>
                      </a:lnTo>
                      <a:lnTo>
                        <a:pt x="777" y="404"/>
                      </a:lnTo>
                      <a:lnTo>
                        <a:pt x="756" y="404"/>
                      </a:lnTo>
                      <a:lnTo>
                        <a:pt x="756" y="404"/>
                      </a:lnTo>
                      <a:lnTo>
                        <a:pt x="756" y="404"/>
                      </a:lnTo>
                      <a:close/>
                      <a:moveTo>
                        <a:pt x="725" y="411"/>
                      </a:moveTo>
                      <a:lnTo>
                        <a:pt x="709" y="411"/>
                      </a:lnTo>
                      <a:lnTo>
                        <a:pt x="730" y="411"/>
                      </a:lnTo>
                      <a:lnTo>
                        <a:pt x="725" y="411"/>
                      </a:lnTo>
                      <a:lnTo>
                        <a:pt x="725" y="411"/>
                      </a:lnTo>
                      <a:lnTo>
                        <a:pt x="725" y="411"/>
                      </a:lnTo>
                      <a:close/>
                      <a:moveTo>
                        <a:pt x="654" y="522"/>
                      </a:moveTo>
                      <a:lnTo>
                        <a:pt x="638" y="515"/>
                      </a:lnTo>
                      <a:lnTo>
                        <a:pt x="659" y="503"/>
                      </a:lnTo>
                      <a:lnTo>
                        <a:pt x="654" y="522"/>
                      </a:lnTo>
                      <a:lnTo>
                        <a:pt x="654" y="522"/>
                      </a:lnTo>
                      <a:lnTo>
                        <a:pt x="654" y="522"/>
                      </a:lnTo>
                      <a:close/>
                      <a:moveTo>
                        <a:pt x="550" y="614"/>
                      </a:moveTo>
                      <a:lnTo>
                        <a:pt x="562" y="609"/>
                      </a:lnTo>
                      <a:lnTo>
                        <a:pt x="550" y="614"/>
                      </a:lnTo>
                      <a:lnTo>
                        <a:pt x="550" y="614"/>
                      </a:lnTo>
                      <a:lnTo>
                        <a:pt x="550" y="614"/>
                      </a:lnTo>
                      <a:close/>
                      <a:moveTo>
                        <a:pt x="524" y="642"/>
                      </a:moveTo>
                      <a:lnTo>
                        <a:pt x="541" y="614"/>
                      </a:lnTo>
                      <a:lnTo>
                        <a:pt x="546" y="631"/>
                      </a:lnTo>
                      <a:lnTo>
                        <a:pt x="524" y="642"/>
                      </a:lnTo>
                      <a:lnTo>
                        <a:pt x="524" y="642"/>
                      </a:lnTo>
                      <a:lnTo>
                        <a:pt x="524" y="642"/>
                      </a:lnTo>
                      <a:close/>
                      <a:moveTo>
                        <a:pt x="529" y="666"/>
                      </a:moveTo>
                      <a:lnTo>
                        <a:pt x="541" y="649"/>
                      </a:lnTo>
                      <a:lnTo>
                        <a:pt x="562" y="642"/>
                      </a:lnTo>
                      <a:lnTo>
                        <a:pt x="529" y="666"/>
                      </a:lnTo>
                      <a:lnTo>
                        <a:pt x="529" y="666"/>
                      </a:lnTo>
                      <a:lnTo>
                        <a:pt x="529" y="666"/>
                      </a:lnTo>
                      <a:close/>
                      <a:moveTo>
                        <a:pt x="491" y="699"/>
                      </a:moveTo>
                      <a:lnTo>
                        <a:pt x="487" y="687"/>
                      </a:lnTo>
                      <a:lnTo>
                        <a:pt x="498" y="683"/>
                      </a:lnTo>
                      <a:lnTo>
                        <a:pt x="491" y="699"/>
                      </a:lnTo>
                      <a:lnTo>
                        <a:pt x="491" y="699"/>
                      </a:lnTo>
                      <a:lnTo>
                        <a:pt x="491" y="699"/>
                      </a:lnTo>
                      <a:close/>
                      <a:moveTo>
                        <a:pt x="508" y="737"/>
                      </a:moveTo>
                      <a:lnTo>
                        <a:pt x="513" y="699"/>
                      </a:lnTo>
                      <a:lnTo>
                        <a:pt x="541" y="720"/>
                      </a:lnTo>
                      <a:lnTo>
                        <a:pt x="508" y="737"/>
                      </a:lnTo>
                      <a:lnTo>
                        <a:pt x="508" y="737"/>
                      </a:lnTo>
                      <a:lnTo>
                        <a:pt x="508" y="737"/>
                      </a:lnTo>
                      <a:close/>
                      <a:moveTo>
                        <a:pt x="508" y="758"/>
                      </a:moveTo>
                      <a:lnTo>
                        <a:pt x="498" y="753"/>
                      </a:lnTo>
                      <a:lnTo>
                        <a:pt x="513" y="737"/>
                      </a:lnTo>
                      <a:lnTo>
                        <a:pt x="524" y="753"/>
                      </a:lnTo>
                      <a:lnTo>
                        <a:pt x="508" y="758"/>
                      </a:lnTo>
                      <a:lnTo>
                        <a:pt x="508" y="758"/>
                      </a:lnTo>
                      <a:lnTo>
                        <a:pt x="508" y="758"/>
                      </a:lnTo>
                      <a:close/>
                      <a:moveTo>
                        <a:pt x="470" y="758"/>
                      </a:moveTo>
                      <a:lnTo>
                        <a:pt x="470" y="753"/>
                      </a:lnTo>
                      <a:lnTo>
                        <a:pt x="487" y="753"/>
                      </a:lnTo>
                      <a:lnTo>
                        <a:pt x="470" y="758"/>
                      </a:lnTo>
                      <a:lnTo>
                        <a:pt x="470" y="758"/>
                      </a:lnTo>
                      <a:lnTo>
                        <a:pt x="470" y="758"/>
                      </a:lnTo>
                      <a:close/>
                      <a:moveTo>
                        <a:pt x="437" y="782"/>
                      </a:moveTo>
                      <a:lnTo>
                        <a:pt x="416" y="782"/>
                      </a:lnTo>
                      <a:lnTo>
                        <a:pt x="437" y="770"/>
                      </a:lnTo>
                      <a:lnTo>
                        <a:pt x="444" y="777"/>
                      </a:lnTo>
                      <a:lnTo>
                        <a:pt x="437" y="782"/>
                      </a:lnTo>
                      <a:lnTo>
                        <a:pt x="437" y="782"/>
                      </a:lnTo>
                      <a:lnTo>
                        <a:pt x="437" y="782"/>
                      </a:lnTo>
                      <a:close/>
                      <a:moveTo>
                        <a:pt x="454" y="810"/>
                      </a:moveTo>
                      <a:lnTo>
                        <a:pt x="444" y="810"/>
                      </a:lnTo>
                      <a:lnTo>
                        <a:pt x="454" y="798"/>
                      </a:lnTo>
                      <a:lnTo>
                        <a:pt x="454" y="810"/>
                      </a:lnTo>
                      <a:lnTo>
                        <a:pt x="454" y="810"/>
                      </a:lnTo>
                      <a:lnTo>
                        <a:pt x="454" y="810"/>
                      </a:lnTo>
                      <a:close/>
                      <a:moveTo>
                        <a:pt x="461" y="827"/>
                      </a:moveTo>
                      <a:lnTo>
                        <a:pt x="444" y="827"/>
                      </a:lnTo>
                      <a:lnTo>
                        <a:pt x="432" y="810"/>
                      </a:lnTo>
                      <a:lnTo>
                        <a:pt x="461" y="815"/>
                      </a:lnTo>
                      <a:lnTo>
                        <a:pt x="461" y="827"/>
                      </a:lnTo>
                      <a:lnTo>
                        <a:pt x="461" y="827"/>
                      </a:lnTo>
                      <a:lnTo>
                        <a:pt x="461" y="827"/>
                      </a:lnTo>
                      <a:close/>
                      <a:moveTo>
                        <a:pt x="243" y="921"/>
                      </a:moveTo>
                      <a:lnTo>
                        <a:pt x="276" y="905"/>
                      </a:lnTo>
                      <a:lnTo>
                        <a:pt x="276" y="909"/>
                      </a:lnTo>
                      <a:lnTo>
                        <a:pt x="243" y="921"/>
                      </a:lnTo>
                      <a:lnTo>
                        <a:pt x="243" y="921"/>
                      </a:lnTo>
                      <a:lnTo>
                        <a:pt x="243" y="921"/>
                      </a:lnTo>
                      <a:close/>
                      <a:moveTo>
                        <a:pt x="255" y="942"/>
                      </a:moveTo>
                      <a:lnTo>
                        <a:pt x="239" y="942"/>
                      </a:lnTo>
                      <a:lnTo>
                        <a:pt x="281" y="921"/>
                      </a:lnTo>
                      <a:lnTo>
                        <a:pt x="298" y="926"/>
                      </a:lnTo>
                      <a:lnTo>
                        <a:pt x="255" y="942"/>
                      </a:lnTo>
                      <a:lnTo>
                        <a:pt x="255" y="942"/>
                      </a:lnTo>
                      <a:lnTo>
                        <a:pt x="255" y="942"/>
                      </a:lnTo>
                      <a:close/>
                      <a:moveTo>
                        <a:pt x="222" y="959"/>
                      </a:moveTo>
                      <a:lnTo>
                        <a:pt x="206" y="947"/>
                      </a:lnTo>
                      <a:lnTo>
                        <a:pt x="222" y="942"/>
                      </a:lnTo>
                      <a:lnTo>
                        <a:pt x="227" y="947"/>
                      </a:lnTo>
                      <a:lnTo>
                        <a:pt x="222" y="959"/>
                      </a:lnTo>
                      <a:lnTo>
                        <a:pt x="222" y="959"/>
                      </a:lnTo>
                      <a:lnTo>
                        <a:pt x="222" y="959"/>
                      </a:lnTo>
                      <a:close/>
                      <a:moveTo>
                        <a:pt x="260" y="959"/>
                      </a:moveTo>
                      <a:lnTo>
                        <a:pt x="255" y="959"/>
                      </a:lnTo>
                      <a:lnTo>
                        <a:pt x="272" y="959"/>
                      </a:lnTo>
                      <a:lnTo>
                        <a:pt x="260" y="959"/>
                      </a:lnTo>
                      <a:lnTo>
                        <a:pt x="260" y="959"/>
                      </a:lnTo>
                      <a:lnTo>
                        <a:pt x="260" y="959"/>
                      </a:lnTo>
                      <a:close/>
                      <a:moveTo>
                        <a:pt x="243" y="975"/>
                      </a:moveTo>
                      <a:lnTo>
                        <a:pt x="239" y="964"/>
                      </a:lnTo>
                      <a:lnTo>
                        <a:pt x="255" y="959"/>
                      </a:lnTo>
                      <a:lnTo>
                        <a:pt x="260" y="975"/>
                      </a:lnTo>
                      <a:lnTo>
                        <a:pt x="243" y="975"/>
                      </a:lnTo>
                      <a:lnTo>
                        <a:pt x="243" y="975"/>
                      </a:lnTo>
                      <a:lnTo>
                        <a:pt x="243" y="975"/>
                      </a:lnTo>
                      <a:close/>
                      <a:moveTo>
                        <a:pt x="222" y="975"/>
                      </a:moveTo>
                      <a:lnTo>
                        <a:pt x="217" y="975"/>
                      </a:lnTo>
                      <a:lnTo>
                        <a:pt x="222" y="964"/>
                      </a:lnTo>
                      <a:lnTo>
                        <a:pt x="227" y="975"/>
                      </a:lnTo>
                      <a:lnTo>
                        <a:pt x="222" y="975"/>
                      </a:lnTo>
                      <a:lnTo>
                        <a:pt x="222" y="975"/>
                      </a:lnTo>
                      <a:lnTo>
                        <a:pt x="222" y="975"/>
                      </a:lnTo>
                      <a:close/>
                      <a:moveTo>
                        <a:pt x="239" y="975"/>
                      </a:moveTo>
                      <a:lnTo>
                        <a:pt x="227" y="964"/>
                      </a:lnTo>
                      <a:lnTo>
                        <a:pt x="243" y="975"/>
                      </a:lnTo>
                      <a:lnTo>
                        <a:pt x="239" y="975"/>
                      </a:lnTo>
                      <a:lnTo>
                        <a:pt x="239" y="975"/>
                      </a:lnTo>
                      <a:lnTo>
                        <a:pt x="239" y="975"/>
                      </a:lnTo>
                      <a:close/>
                      <a:moveTo>
                        <a:pt x="206" y="992"/>
                      </a:moveTo>
                      <a:lnTo>
                        <a:pt x="201" y="992"/>
                      </a:lnTo>
                      <a:lnTo>
                        <a:pt x="217" y="980"/>
                      </a:lnTo>
                      <a:lnTo>
                        <a:pt x="206" y="992"/>
                      </a:lnTo>
                      <a:lnTo>
                        <a:pt x="206" y="992"/>
                      </a:lnTo>
                      <a:lnTo>
                        <a:pt x="206" y="992"/>
                      </a:lnTo>
                      <a:close/>
                      <a:moveTo>
                        <a:pt x="184" y="997"/>
                      </a:moveTo>
                      <a:lnTo>
                        <a:pt x="172" y="997"/>
                      </a:lnTo>
                      <a:lnTo>
                        <a:pt x="172" y="992"/>
                      </a:lnTo>
                      <a:lnTo>
                        <a:pt x="189" y="980"/>
                      </a:lnTo>
                      <a:lnTo>
                        <a:pt x="201" y="992"/>
                      </a:lnTo>
                      <a:lnTo>
                        <a:pt x="184" y="997"/>
                      </a:lnTo>
                      <a:lnTo>
                        <a:pt x="184" y="997"/>
                      </a:lnTo>
                      <a:lnTo>
                        <a:pt x="184" y="997"/>
                      </a:lnTo>
                      <a:close/>
                      <a:moveTo>
                        <a:pt x="135" y="1020"/>
                      </a:moveTo>
                      <a:lnTo>
                        <a:pt x="135" y="1013"/>
                      </a:lnTo>
                      <a:lnTo>
                        <a:pt x="146" y="1013"/>
                      </a:lnTo>
                      <a:lnTo>
                        <a:pt x="135" y="1020"/>
                      </a:lnTo>
                      <a:lnTo>
                        <a:pt x="135" y="1020"/>
                      </a:lnTo>
                      <a:lnTo>
                        <a:pt x="135" y="1020"/>
                      </a:lnTo>
                      <a:close/>
                      <a:moveTo>
                        <a:pt x="130" y="1032"/>
                      </a:moveTo>
                      <a:lnTo>
                        <a:pt x="130" y="1020"/>
                      </a:lnTo>
                      <a:lnTo>
                        <a:pt x="146" y="1032"/>
                      </a:lnTo>
                      <a:lnTo>
                        <a:pt x="130" y="1032"/>
                      </a:lnTo>
                      <a:lnTo>
                        <a:pt x="130" y="1032"/>
                      </a:lnTo>
                      <a:lnTo>
                        <a:pt x="130" y="1032"/>
                      </a:lnTo>
                      <a:close/>
                      <a:moveTo>
                        <a:pt x="97" y="1058"/>
                      </a:moveTo>
                      <a:lnTo>
                        <a:pt x="83" y="1053"/>
                      </a:lnTo>
                      <a:lnTo>
                        <a:pt x="109" y="1058"/>
                      </a:lnTo>
                      <a:lnTo>
                        <a:pt x="97" y="1058"/>
                      </a:lnTo>
                      <a:lnTo>
                        <a:pt x="97" y="1058"/>
                      </a:lnTo>
                      <a:lnTo>
                        <a:pt x="97" y="1058"/>
                      </a:lnTo>
                      <a:close/>
                      <a:moveTo>
                        <a:pt x="66" y="1075"/>
                      </a:moveTo>
                      <a:lnTo>
                        <a:pt x="66" y="1058"/>
                      </a:lnTo>
                      <a:lnTo>
                        <a:pt x="83" y="1070"/>
                      </a:lnTo>
                      <a:lnTo>
                        <a:pt x="66" y="1075"/>
                      </a:lnTo>
                      <a:lnTo>
                        <a:pt x="66" y="1075"/>
                      </a:lnTo>
                      <a:lnTo>
                        <a:pt x="66" y="1075"/>
                      </a:lnTo>
                      <a:close/>
                      <a:moveTo>
                        <a:pt x="54" y="1086"/>
                      </a:moveTo>
                      <a:lnTo>
                        <a:pt x="45" y="1086"/>
                      </a:lnTo>
                      <a:lnTo>
                        <a:pt x="45" y="1075"/>
                      </a:lnTo>
                      <a:lnTo>
                        <a:pt x="66" y="1075"/>
                      </a:lnTo>
                      <a:lnTo>
                        <a:pt x="54" y="1086"/>
                      </a:lnTo>
                      <a:lnTo>
                        <a:pt x="54" y="1086"/>
                      </a:lnTo>
                      <a:lnTo>
                        <a:pt x="54" y="1086"/>
                      </a:lnTo>
                      <a:close/>
                      <a:moveTo>
                        <a:pt x="12" y="1115"/>
                      </a:moveTo>
                      <a:lnTo>
                        <a:pt x="12" y="1103"/>
                      </a:lnTo>
                      <a:lnTo>
                        <a:pt x="12" y="1115"/>
                      </a:lnTo>
                      <a:lnTo>
                        <a:pt x="12" y="1115"/>
                      </a:lnTo>
                      <a:lnTo>
                        <a:pt x="12" y="1115"/>
                      </a:lnTo>
                      <a:close/>
                      <a:moveTo>
                        <a:pt x="7" y="1131"/>
                      </a:moveTo>
                      <a:lnTo>
                        <a:pt x="0" y="1124"/>
                      </a:lnTo>
                      <a:lnTo>
                        <a:pt x="7" y="1115"/>
                      </a:lnTo>
                      <a:lnTo>
                        <a:pt x="21" y="1124"/>
                      </a:lnTo>
                      <a:lnTo>
                        <a:pt x="7" y="1131"/>
                      </a:lnTo>
                      <a:lnTo>
                        <a:pt x="7" y="1131"/>
                      </a:lnTo>
                      <a:lnTo>
                        <a:pt x="7" y="1131"/>
                      </a:lnTo>
                      <a:close/>
                      <a:moveTo>
                        <a:pt x="0" y="1214"/>
                      </a:moveTo>
                      <a:lnTo>
                        <a:pt x="0" y="1197"/>
                      </a:lnTo>
                      <a:lnTo>
                        <a:pt x="7" y="1197"/>
                      </a:lnTo>
                      <a:lnTo>
                        <a:pt x="7" y="1202"/>
                      </a:lnTo>
                      <a:lnTo>
                        <a:pt x="0" y="1214"/>
                      </a:lnTo>
                      <a:lnTo>
                        <a:pt x="0" y="1214"/>
                      </a:lnTo>
                      <a:lnTo>
                        <a:pt x="0" y="1214"/>
                      </a:lnTo>
                      <a:close/>
                      <a:moveTo>
                        <a:pt x="45" y="1275"/>
                      </a:moveTo>
                      <a:lnTo>
                        <a:pt x="38" y="1268"/>
                      </a:lnTo>
                      <a:lnTo>
                        <a:pt x="59" y="1252"/>
                      </a:lnTo>
                      <a:lnTo>
                        <a:pt x="59" y="1275"/>
                      </a:lnTo>
                      <a:lnTo>
                        <a:pt x="45" y="1275"/>
                      </a:lnTo>
                      <a:lnTo>
                        <a:pt x="45" y="1275"/>
                      </a:lnTo>
                      <a:lnTo>
                        <a:pt x="45" y="1275"/>
                      </a:lnTo>
                      <a:close/>
                      <a:moveTo>
                        <a:pt x="21" y="1280"/>
                      </a:moveTo>
                      <a:lnTo>
                        <a:pt x="7" y="1268"/>
                      </a:lnTo>
                      <a:lnTo>
                        <a:pt x="21" y="1275"/>
                      </a:lnTo>
                      <a:lnTo>
                        <a:pt x="21" y="1280"/>
                      </a:lnTo>
                      <a:lnTo>
                        <a:pt x="21" y="1280"/>
                      </a:lnTo>
                      <a:lnTo>
                        <a:pt x="21" y="1280"/>
                      </a:lnTo>
                      <a:close/>
                      <a:moveTo>
                        <a:pt x="12" y="1308"/>
                      </a:moveTo>
                      <a:lnTo>
                        <a:pt x="7" y="1297"/>
                      </a:lnTo>
                      <a:lnTo>
                        <a:pt x="7" y="1275"/>
                      </a:lnTo>
                      <a:lnTo>
                        <a:pt x="12" y="1292"/>
                      </a:lnTo>
                      <a:lnTo>
                        <a:pt x="12" y="1308"/>
                      </a:lnTo>
                      <a:lnTo>
                        <a:pt x="12" y="1308"/>
                      </a:lnTo>
                      <a:lnTo>
                        <a:pt x="12" y="1308"/>
                      </a:lnTo>
                      <a:close/>
                      <a:moveTo>
                        <a:pt x="76" y="1313"/>
                      </a:moveTo>
                      <a:lnTo>
                        <a:pt x="76" y="1308"/>
                      </a:lnTo>
                      <a:lnTo>
                        <a:pt x="83" y="1308"/>
                      </a:lnTo>
                      <a:lnTo>
                        <a:pt x="76" y="1313"/>
                      </a:lnTo>
                      <a:lnTo>
                        <a:pt x="76" y="1313"/>
                      </a:lnTo>
                      <a:lnTo>
                        <a:pt x="76" y="1313"/>
                      </a:lnTo>
                      <a:close/>
                      <a:moveTo>
                        <a:pt x="28" y="1325"/>
                      </a:moveTo>
                      <a:lnTo>
                        <a:pt x="21" y="1325"/>
                      </a:lnTo>
                      <a:lnTo>
                        <a:pt x="21" y="1313"/>
                      </a:lnTo>
                      <a:lnTo>
                        <a:pt x="28" y="1325"/>
                      </a:lnTo>
                      <a:lnTo>
                        <a:pt x="28" y="1325"/>
                      </a:lnTo>
                      <a:lnTo>
                        <a:pt x="28" y="1325"/>
                      </a:lnTo>
                      <a:close/>
                      <a:moveTo>
                        <a:pt x="45" y="1337"/>
                      </a:moveTo>
                      <a:lnTo>
                        <a:pt x="38" y="1325"/>
                      </a:lnTo>
                      <a:lnTo>
                        <a:pt x="54" y="1313"/>
                      </a:lnTo>
                      <a:lnTo>
                        <a:pt x="45" y="1337"/>
                      </a:lnTo>
                      <a:lnTo>
                        <a:pt x="45" y="1337"/>
                      </a:lnTo>
                      <a:lnTo>
                        <a:pt x="45" y="1337"/>
                      </a:lnTo>
                      <a:close/>
                      <a:moveTo>
                        <a:pt x="38" y="1353"/>
                      </a:moveTo>
                      <a:lnTo>
                        <a:pt x="28" y="1346"/>
                      </a:lnTo>
                      <a:lnTo>
                        <a:pt x="28" y="1330"/>
                      </a:lnTo>
                      <a:lnTo>
                        <a:pt x="45" y="1337"/>
                      </a:lnTo>
                      <a:lnTo>
                        <a:pt x="38" y="1353"/>
                      </a:lnTo>
                      <a:lnTo>
                        <a:pt x="38" y="1353"/>
                      </a:lnTo>
                      <a:lnTo>
                        <a:pt x="38" y="1353"/>
                      </a:lnTo>
                      <a:close/>
                      <a:moveTo>
                        <a:pt x="21" y="1370"/>
                      </a:moveTo>
                      <a:lnTo>
                        <a:pt x="12" y="1346"/>
                      </a:lnTo>
                      <a:lnTo>
                        <a:pt x="21" y="1337"/>
                      </a:lnTo>
                      <a:lnTo>
                        <a:pt x="38" y="1353"/>
                      </a:lnTo>
                      <a:lnTo>
                        <a:pt x="21" y="1353"/>
                      </a:lnTo>
                      <a:lnTo>
                        <a:pt x="21" y="1370"/>
                      </a:lnTo>
                      <a:lnTo>
                        <a:pt x="21" y="1370"/>
                      </a:lnTo>
                      <a:lnTo>
                        <a:pt x="21" y="1370"/>
                      </a:lnTo>
                      <a:close/>
                      <a:moveTo>
                        <a:pt x="21" y="1420"/>
                      </a:moveTo>
                      <a:lnTo>
                        <a:pt x="21" y="1386"/>
                      </a:lnTo>
                      <a:lnTo>
                        <a:pt x="28" y="1408"/>
                      </a:lnTo>
                      <a:lnTo>
                        <a:pt x="21" y="1420"/>
                      </a:lnTo>
                      <a:lnTo>
                        <a:pt x="21" y="1420"/>
                      </a:lnTo>
                      <a:lnTo>
                        <a:pt x="21" y="142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5" name="Freeform 532">
                  <a:extLst>
                    <a:ext uri="{FF2B5EF4-FFF2-40B4-BE49-F238E27FC236}">
                      <a16:creationId xmlns:a16="http://schemas.microsoft.com/office/drawing/2014/main" id="{7789EBF0-C67F-4C6F-818C-B1856C2E9CF3}"/>
                    </a:ext>
                  </a:extLst>
                </p:cNvPr>
                <p:cNvSpPr>
                  <a:spLocks/>
                </p:cNvSpPr>
                <p:nvPr/>
              </p:nvSpPr>
              <p:spPr bwMode="gray">
                <a:xfrm>
                  <a:off x="7134612" y="2252688"/>
                  <a:ext cx="288992" cy="229738"/>
                </a:xfrm>
                <a:custGeom>
                  <a:avLst/>
                  <a:gdLst>
                    <a:gd name="T0" fmla="*/ 87 w 702"/>
                    <a:gd name="T1" fmla="*/ 392 h 558"/>
                    <a:gd name="T2" fmla="*/ 54 w 702"/>
                    <a:gd name="T3" fmla="*/ 371 h 558"/>
                    <a:gd name="T4" fmla="*/ 50 w 702"/>
                    <a:gd name="T5" fmla="*/ 388 h 558"/>
                    <a:gd name="T6" fmla="*/ 54 w 702"/>
                    <a:gd name="T7" fmla="*/ 321 h 558"/>
                    <a:gd name="T8" fmla="*/ 40 w 702"/>
                    <a:gd name="T9" fmla="*/ 310 h 558"/>
                    <a:gd name="T10" fmla="*/ 40 w 702"/>
                    <a:gd name="T11" fmla="*/ 265 h 558"/>
                    <a:gd name="T12" fmla="*/ 24 w 702"/>
                    <a:gd name="T13" fmla="*/ 239 h 558"/>
                    <a:gd name="T14" fmla="*/ 0 w 702"/>
                    <a:gd name="T15" fmla="*/ 189 h 558"/>
                    <a:gd name="T16" fmla="*/ 16 w 702"/>
                    <a:gd name="T17" fmla="*/ 166 h 558"/>
                    <a:gd name="T18" fmla="*/ 7 w 702"/>
                    <a:gd name="T19" fmla="*/ 111 h 558"/>
                    <a:gd name="T20" fmla="*/ 33 w 702"/>
                    <a:gd name="T21" fmla="*/ 99 h 558"/>
                    <a:gd name="T22" fmla="*/ 0 w 702"/>
                    <a:gd name="T23" fmla="*/ 90 h 558"/>
                    <a:gd name="T24" fmla="*/ 163 w 702"/>
                    <a:gd name="T25" fmla="*/ 24 h 558"/>
                    <a:gd name="T26" fmla="*/ 293 w 702"/>
                    <a:gd name="T27" fmla="*/ 0 h 558"/>
                    <a:gd name="T28" fmla="*/ 326 w 702"/>
                    <a:gd name="T29" fmla="*/ 24 h 558"/>
                    <a:gd name="T30" fmla="*/ 309 w 702"/>
                    <a:gd name="T31" fmla="*/ 40 h 558"/>
                    <a:gd name="T32" fmla="*/ 380 w 702"/>
                    <a:gd name="T33" fmla="*/ 33 h 558"/>
                    <a:gd name="T34" fmla="*/ 359 w 702"/>
                    <a:gd name="T35" fmla="*/ 45 h 558"/>
                    <a:gd name="T36" fmla="*/ 397 w 702"/>
                    <a:gd name="T37" fmla="*/ 40 h 558"/>
                    <a:gd name="T38" fmla="*/ 609 w 702"/>
                    <a:gd name="T39" fmla="*/ 45 h 558"/>
                    <a:gd name="T40" fmla="*/ 647 w 702"/>
                    <a:gd name="T41" fmla="*/ 57 h 558"/>
                    <a:gd name="T42" fmla="*/ 664 w 702"/>
                    <a:gd name="T43" fmla="*/ 90 h 558"/>
                    <a:gd name="T44" fmla="*/ 690 w 702"/>
                    <a:gd name="T45" fmla="*/ 206 h 558"/>
                    <a:gd name="T46" fmla="*/ 635 w 702"/>
                    <a:gd name="T47" fmla="*/ 244 h 558"/>
                    <a:gd name="T48" fmla="*/ 664 w 702"/>
                    <a:gd name="T49" fmla="*/ 310 h 558"/>
                    <a:gd name="T50" fmla="*/ 673 w 702"/>
                    <a:gd name="T51" fmla="*/ 350 h 558"/>
                    <a:gd name="T52" fmla="*/ 690 w 702"/>
                    <a:gd name="T53" fmla="*/ 388 h 558"/>
                    <a:gd name="T54" fmla="*/ 690 w 702"/>
                    <a:gd name="T55" fmla="*/ 425 h 558"/>
                    <a:gd name="T56" fmla="*/ 647 w 702"/>
                    <a:gd name="T57" fmla="*/ 458 h 558"/>
                    <a:gd name="T58" fmla="*/ 609 w 702"/>
                    <a:gd name="T59" fmla="*/ 532 h 558"/>
                    <a:gd name="T60" fmla="*/ 614 w 702"/>
                    <a:gd name="T61" fmla="*/ 553 h 558"/>
                    <a:gd name="T62" fmla="*/ 593 w 702"/>
                    <a:gd name="T63" fmla="*/ 553 h 558"/>
                    <a:gd name="T64" fmla="*/ 555 w 702"/>
                    <a:gd name="T65" fmla="*/ 532 h 558"/>
                    <a:gd name="T66" fmla="*/ 489 w 702"/>
                    <a:gd name="T67" fmla="*/ 520 h 558"/>
                    <a:gd name="T68" fmla="*/ 468 w 702"/>
                    <a:gd name="T69" fmla="*/ 520 h 558"/>
                    <a:gd name="T70" fmla="*/ 418 w 702"/>
                    <a:gd name="T71" fmla="*/ 532 h 558"/>
                    <a:gd name="T72" fmla="*/ 397 w 702"/>
                    <a:gd name="T73" fmla="*/ 536 h 558"/>
                    <a:gd name="T74" fmla="*/ 392 w 702"/>
                    <a:gd name="T75" fmla="*/ 520 h 558"/>
                    <a:gd name="T76" fmla="*/ 347 w 702"/>
                    <a:gd name="T77" fmla="*/ 520 h 558"/>
                    <a:gd name="T78" fmla="*/ 331 w 702"/>
                    <a:gd name="T79" fmla="*/ 515 h 558"/>
                    <a:gd name="T80" fmla="*/ 326 w 702"/>
                    <a:gd name="T81" fmla="*/ 499 h 558"/>
                    <a:gd name="T82" fmla="*/ 309 w 702"/>
                    <a:gd name="T83" fmla="*/ 475 h 558"/>
                    <a:gd name="T84" fmla="*/ 267 w 702"/>
                    <a:gd name="T85" fmla="*/ 466 h 558"/>
                    <a:gd name="T86" fmla="*/ 239 w 702"/>
                    <a:gd name="T87" fmla="*/ 449 h 558"/>
                    <a:gd name="T88" fmla="*/ 250 w 702"/>
                    <a:gd name="T89" fmla="*/ 433 h 558"/>
                    <a:gd name="T90" fmla="*/ 196 w 702"/>
                    <a:gd name="T91" fmla="*/ 425 h 558"/>
                    <a:gd name="T92" fmla="*/ 170 w 702"/>
                    <a:gd name="T93" fmla="*/ 458 h 558"/>
                    <a:gd name="T94" fmla="*/ 158 w 702"/>
                    <a:gd name="T95" fmla="*/ 409 h 558"/>
                    <a:gd name="T96" fmla="*/ 142 w 702"/>
                    <a:gd name="T97" fmla="*/ 40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2" h="558">
                      <a:moveTo>
                        <a:pt x="142" y="404"/>
                      </a:moveTo>
                      <a:lnTo>
                        <a:pt x="87" y="392"/>
                      </a:lnTo>
                      <a:lnTo>
                        <a:pt x="71" y="371"/>
                      </a:lnTo>
                      <a:lnTo>
                        <a:pt x="54" y="371"/>
                      </a:lnTo>
                      <a:lnTo>
                        <a:pt x="54" y="388"/>
                      </a:lnTo>
                      <a:lnTo>
                        <a:pt x="50" y="388"/>
                      </a:lnTo>
                      <a:lnTo>
                        <a:pt x="61" y="350"/>
                      </a:lnTo>
                      <a:lnTo>
                        <a:pt x="54" y="321"/>
                      </a:lnTo>
                      <a:lnTo>
                        <a:pt x="40" y="321"/>
                      </a:lnTo>
                      <a:lnTo>
                        <a:pt x="40" y="310"/>
                      </a:lnTo>
                      <a:lnTo>
                        <a:pt x="33" y="293"/>
                      </a:lnTo>
                      <a:lnTo>
                        <a:pt x="40" y="265"/>
                      </a:lnTo>
                      <a:lnTo>
                        <a:pt x="40" y="255"/>
                      </a:lnTo>
                      <a:lnTo>
                        <a:pt x="24" y="239"/>
                      </a:lnTo>
                      <a:lnTo>
                        <a:pt x="33" y="222"/>
                      </a:lnTo>
                      <a:lnTo>
                        <a:pt x="0" y="189"/>
                      </a:lnTo>
                      <a:lnTo>
                        <a:pt x="0" y="182"/>
                      </a:lnTo>
                      <a:lnTo>
                        <a:pt x="16" y="166"/>
                      </a:lnTo>
                      <a:lnTo>
                        <a:pt x="16" y="144"/>
                      </a:lnTo>
                      <a:lnTo>
                        <a:pt x="7" y="111"/>
                      </a:lnTo>
                      <a:lnTo>
                        <a:pt x="24" y="111"/>
                      </a:lnTo>
                      <a:lnTo>
                        <a:pt x="33" y="99"/>
                      </a:lnTo>
                      <a:lnTo>
                        <a:pt x="0" y="95"/>
                      </a:lnTo>
                      <a:lnTo>
                        <a:pt x="0" y="90"/>
                      </a:lnTo>
                      <a:lnTo>
                        <a:pt x="142" y="57"/>
                      </a:lnTo>
                      <a:lnTo>
                        <a:pt x="163" y="24"/>
                      </a:lnTo>
                      <a:lnTo>
                        <a:pt x="267" y="0"/>
                      </a:lnTo>
                      <a:lnTo>
                        <a:pt x="293" y="0"/>
                      </a:lnTo>
                      <a:lnTo>
                        <a:pt x="321" y="17"/>
                      </a:lnTo>
                      <a:lnTo>
                        <a:pt x="326" y="24"/>
                      </a:lnTo>
                      <a:lnTo>
                        <a:pt x="293" y="7"/>
                      </a:lnTo>
                      <a:lnTo>
                        <a:pt x="309" y="40"/>
                      </a:lnTo>
                      <a:lnTo>
                        <a:pt x="326" y="45"/>
                      </a:lnTo>
                      <a:lnTo>
                        <a:pt x="380" y="33"/>
                      </a:lnTo>
                      <a:lnTo>
                        <a:pt x="392" y="40"/>
                      </a:lnTo>
                      <a:lnTo>
                        <a:pt x="359" y="45"/>
                      </a:lnTo>
                      <a:lnTo>
                        <a:pt x="364" y="57"/>
                      </a:lnTo>
                      <a:lnTo>
                        <a:pt x="397" y="40"/>
                      </a:lnTo>
                      <a:lnTo>
                        <a:pt x="510" y="45"/>
                      </a:lnTo>
                      <a:lnTo>
                        <a:pt x="609" y="45"/>
                      </a:lnTo>
                      <a:lnTo>
                        <a:pt x="619" y="40"/>
                      </a:lnTo>
                      <a:lnTo>
                        <a:pt x="647" y="57"/>
                      </a:lnTo>
                      <a:lnTo>
                        <a:pt x="652" y="73"/>
                      </a:lnTo>
                      <a:lnTo>
                        <a:pt x="664" y="90"/>
                      </a:lnTo>
                      <a:lnTo>
                        <a:pt x="690" y="173"/>
                      </a:lnTo>
                      <a:lnTo>
                        <a:pt x="690" y="206"/>
                      </a:lnTo>
                      <a:lnTo>
                        <a:pt x="652" y="227"/>
                      </a:lnTo>
                      <a:lnTo>
                        <a:pt x="635" y="244"/>
                      </a:lnTo>
                      <a:lnTo>
                        <a:pt x="668" y="265"/>
                      </a:lnTo>
                      <a:lnTo>
                        <a:pt x="664" y="310"/>
                      </a:lnTo>
                      <a:lnTo>
                        <a:pt x="668" y="321"/>
                      </a:lnTo>
                      <a:lnTo>
                        <a:pt x="673" y="350"/>
                      </a:lnTo>
                      <a:lnTo>
                        <a:pt x="702" y="388"/>
                      </a:lnTo>
                      <a:lnTo>
                        <a:pt x="690" y="388"/>
                      </a:lnTo>
                      <a:lnTo>
                        <a:pt x="702" y="409"/>
                      </a:lnTo>
                      <a:lnTo>
                        <a:pt x="690" y="425"/>
                      </a:lnTo>
                      <a:lnTo>
                        <a:pt x="673" y="425"/>
                      </a:lnTo>
                      <a:lnTo>
                        <a:pt x="647" y="458"/>
                      </a:lnTo>
                      <a:lnTo>
                        <a:pt x="598" y="503"/>
                      </a:lnTo>
                      <a:lnTo>
                        <a:pt x="609" y="532"/>
                      </a:lnTo>
                      <a:lnTo>
                        <a:pt x="598" y="541"/>
                      </a:lnTo>
                      <a:lnTo>
                        <a:pt x="614" y="553"/>
                      </a:lnTo>
                      <a:lnTo>
                        <a:pt x="614" y="558"/>
                      </a:lnTo>
                      <a:lnTo>
                        <a:pt x="593" y="553"/>
                      </a:lnTo>
                      <a:lnTo>
                        <a:pt x="555" y="536"/>
                      </a:lnTo>
                      <a:lnTo>
                        <a:pt x="555" y="532"/>
                      </a:lnTo>
                      <a:lnTo>
                        <a:pt x="527" y="520"/>
                      </a:lnTo>
                      <a:lnTo>
                        <a:pt x="489" y="520"/>
                      </a:lnTo>
                      <a:lnTo>
                        <a:pt x="472" y="532"/>
                      </a:lnTo>
                      <a:lnTo>
                        <a:pt x="468" y="520"/>
                      </a:lnTo>
                      <a:lnTo>
                        <a:pt x="435" y="520"/>
                      </a:lnTo>
                      <a:lnTo>
                        <a:pt x="418" y="532"/>
                      </a:lnTo>
                      <a:lnTo>
                        <a:pt x="413" y="541"/>
                      </a:lnTo>
                      <a:lnTo>
                        <a:pt x="397" y="536"/>
                      </a:lnTo>
                      <a:lnTo>
                        <a:pt x="397" y="520"/>
                      </a:lnTo>
                      <a:lnTo>
                        <a:pt x="392" y="520"/>
                      </a:lnTo>
                      <a:lnTo>
                        <a:pt x="376" y="503"/>
                      </a:lnTo>
                      <a:lnTo>
                        <a:pt x="347" y="520"/>
                      </a:lnTo>
                      <a:lnTo>
                        <a:pt x="342" y="520"/>
                      </a:lnTo>
                      <a:lnTo>
                        <a:pt x="331" y="515"/>
                      </a:lnTo>
                      <a:lnTo>
                        <a:pt x="326" y="515"/>
                      </a:lnTo>
                      <a:lnTo>
                        <a:pt x="326" y="499"/>
                      </a:lnTo>
                      <a:lnTo>
                        <a:pt x="309" y="487"/>
                      </a:lnTo>
                      <a:lnTo>
                        <a:pt x="309" y="475"/>
                      </a:lnTo>
                      <a:lnTo>
                        <a:pt x="272" y="458"/>
                      </a:lnTo>
                      <a:lnTo>
                        <a:pt x="267" y="466"/>
                      </a:lnTo>
                      <a:lnTo>
                        <a:pt x="250" y="458"/>
                      </a:lnTo>
                      <a:lnTo>
                        <a:pt x="239" y="449"/>
                      </a:lnTo>
                      <a:lnTo>
                        <a:pt x="250" y="442"/>
                      </a:lnTo>
                      <a:lnTo>
                        <a:pt x="250" y="433"/>
                      </a:lnTo>
                      <a:lnTo>
                        <a:pt x="224" y="442"/>
                      </a:lnTo>
                      <a:lnTo>
                        <a:pt x="196" y="425"/>
                      </a:lnTo>
                      <a:lnTo>
                        <a:pt x="201" y="442"/>
                      </a:lnTo>
                      <a:lnTo>
                        <a:pt x="170" y="458"/>
                      </a:lnTo>
                      <a:lnTo>
                        <a:pt x="142" y="425"/>
                      </a:lnTo>
                      <a:lnTo>
                        <a:pt x="158" y="409"/>
                      </a:lnTo>
                      <a:lnTo>
                        <a:pt x="142" y="404"/>
                      </a:lnTo>
                      <a:lnTo>
                        <a:pt x="142" y="404"/>
                      </a:lnTo>
                      <a:lnTo>
                        <a:pt x="142" y="40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22" name="Freeform 540">
                  <a:extLst>
                    <a:ext uri="{FF2B5EF4-FFF2-40B4-BE49-F238E27FC236}">
                      <a16:creationId xmlns:a16="http://schemas.microsoft.com/office/drawing/2014/main" id="{D192327B-05AC-4A86-8C5E-D70747517471}"/>
                    </a:ext>
                  </a:extLst>
                </p:cNvPr>
                <p:cNvSpPr>
                  <a:spLocks/>
                </p:cNvSpPr>
                <p:nvPr/>
              </p:nvSpPr>
              <p:spPr bwMode="gray">
                <a:xfrm>
                  <a:off x="7311631" y="2510422"/>
                  <a:ext cx="272114" cy="172098"/>
                </a:xfrm>
                <a:custGeom>
                  <a:avLst/>
                  <a:gdLst>
                    <a:gd name="T0" fmla="*/ 151 w 661"/>
                    <a:gd name="T1" fmla="*/ 340 h 418"/>
                    <a:gd name="T2" fmla="*/ 151 w 661"/>
                    <a:gd name="T3" fmla="*/ 324 h 418"/>
                    <a:gd name="T4" fmla="*/ 130 w 661"/>
                    <a:gd name="T5" fmla="*/ 340 h 418"/>
                    <a:gd name="T6" fmla="*/ 97 w 661"/>
                    <a:gd name="T7" fmla="*/ 324 h 418"/>
                    <a:gd name="T8" fmla="*/ 80 w 661"/>
                    <a:gd name="T9" fmla="*/ 317 h 418"/>
                    <a:gd name="T10" fmla="*/ 92 w 661"/>
                    <a:gd name="T11" fmla="*/ 307 h 418"/>
                    <a:gd name="T12" fmla="*/ 92 w 661"/>
                    <a:gd name="T13" fmla="*/ 284 h 418"/>
                    <a:gd name="T14" fmla="*/ 38 w 661"/>
                    <a:gd name="T15" fmla="*/ 229 h 418"/>
                    <a:gd name="T16" fmla="*/ 0 w 661"/>
                    <a:gd name="T17" fmla="*/ 196 h 418"/>
                    <a:gd name="T18" fmla="*/ 28 w 661"/>
                    <a:gd name="T19" fmla="*/ 196 h 418"/>
                    <a:gd name="T20" fmla="*/ 71 w 661"/>
                    <a:gd name="T21" fmla="*/ 184 h 418"/>
                    <a:gd name="T22" fmla="*/ 92 w 661"/>
                    <a:gd name="T23" fmla="*/ 140 h 418"/>
                    <a:gd name="T24" fmla="*/ 123 w 661"/>
                    <a:gd name="T25" fmla="*/ 85 h 418"/>
                    <a:gd name="T26" fmla="*/ 146 w 661"/>
                    <a:gd name="T27" fmla="*/ 57 h 418"/>
                    <a:gd name="T28" fmla="*/ 182 w 661"/>
                    <a:gd name="T29" fmla="*/ 29 h 418"/>
                    <a:gd name="T30" fmla="*/ 220 w 661"/>
                    <a:gd name="T31" fmla="*/ 29 h 418"/>
                    <a:gd name="T32" fmla="*/ 295 w 661"/>
                    <a:gd name="T33" fmla="*/ 29 h 418"/>
                    <a:gd name="T34" fmla="*/ 349 w 661"/>
                    <a:gd name="T35" fmla="*/ 29 h 418"/>
                    <a:gd name="T36" fmla="*/ 420 w 661"/>
                    <a:gd name="T37" fmla="*/ 7 h 418"/>
                    <a:gd name="T38" fmla="*/ 468 w 661"/>
                    <a:gd name="T39" fmla="*/ 19 h 418"/>
                    <a:gd name="T40" fmla="*/ 527 w 661"/>
                    <a:gd name="T41" fmla="*/ 102 h 418"/>
                    <a:gd name="T42" fmla="*/ 560 w 661"/>
                    <a:gd name="T43" fmla="*/ 168 h 418"/>
                    <a:gd name="T44" fmla="*/ 553 w 661"/>
                    <a:gd name="T45" fmla="*/ 239 h 418"/>
                    <a:gd name="T46" fmla="*/ 553 w 661"/>
                    <a:gd name="T47" fmla="*/ 262 h 418"/>
                    <a:gd name="T48" fmla="*/ 590 w 661"/>
                    <a:gd name="T49" fmla="*/ 279 h 418"/>
                    <a:gd name="T50" fmla="*/ 649 w 661"/>
                    <a:gd name="T51" fmla="*/ 267 h 418"/>
                    <a:gd name="T52" fmla="*/ 649 w 661"/>
                    <a:gd name="T53" fmla="*/ 317 h 418"/>
                    <a:gd name="T54" fmla="*/ 612 w 661"/>
                    <a:gd name="T55" fmla="*/ 307 h 418"/>
                    <a:gd name="T56" fmla="*/ 612 w 661"/>
                    <a:gd name="T57" fmla="*/ 300 h 418"/>
                    <a:gd name="T58" fmla="*/ 607 w 661"/>
                    <a:gd name="T59" fmla="*/ 317 h 418"/>
                    <a:gd name="T60" fmla="*/ 612 w 661"/>
                    <a:gd name="T61" fmla="*/ 324 h 418"/>
                    <a:gd name="T62" fmla="*/ 590 w 661"/>
                    <a:gd name="T63" fmla="*/ 340 h 418"/>
                    <a:gd name="T64" fmla="*/ 581 w 661"/>
                    <a:gd name="T65" fmla="*/ 357 h 418"/>
                    <a:gd name="T66" fmla="*/ 581 w 661"/>
                    <a:gd name="T67" fmla="*/ 411 h 418"/>
                    <a:gd name="T68" fmla="*/ 538 w 661"/>
                    <a:gd name="T69" fmla="*/ 390 h 418"/>
                    <a:gd name="T70" fmla="*/ 510 w 661"/>
                    <a:gd name="T71" fmla="*/ 378 h 418"/>
                    <a:gd name="T72" fmla="*/ 489 w 661"/>
                    <a:gd name="T73" fmla="*/ 373 h 418"/>
                    <a:gd name="T74" fmla="*/ 413 w 661"/>
                    <a:gd name="T75" fmla="*/ 390 h 418"/>
                    <a:gd name="T76" fmla="*/ 361 w 661"/>
                    <a:gd name="T77" fmla="*/ 418 h 418"/>
                    <a:gd name="T78" fmla="*/ 274 w 661"/>
                    <a:gd name="T79" fmla="*/ 411 h 418"/>
                    <a:gd name="T80" fmla="*/ 182 w 661"/>
                    <a:gd name="T81" fmla="*/ 406 h 418"/>
                    <a:gd name="T82" fmla="*/ 189 w 661"/>
                    <a:gd name="T83" fmla="*/ 378 h 418"/>
                    <a:gd name="T84" fmla="*/ 168 w 661"/>
                    <a:gd name="T85" fmla="*/ 36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1" h="418">
                      <a:moveTo>
                        <a:pt x="168" y="362"/>
                      </a:moveTo>
                      <a:lnTo>
                        <a:pt x="151" y="340"/>
                      </a:lnTo>
                      <a:lnTo>
                        <a:pt x="177" y="340"/>
                      </a:lnTo>
                      <a:lnTo>
                        <a:pt x="151" y="324"/>
                      </a:lnTo>
                      <a:lnTo>
                        <a:pt x="146" y="324"/>
                      </a:lnTo>
                      <a:lnTo>
                        <a:pt x="130" y="340"/>
                      </a:lnTo>
                      <a:lnTo>
                        <a:pt x="123" y="333"/>
                      </a:lnTo>
                      <a:lnTo>
                        <a:pt x="97" y="324"/>
                      </a:lnTo>
                      <a:lnTo>
                        <a:pt x="92" y="317"/>
                      </a:lnTo>
                      <a:lnTo>
                        <a:pt x="80" y="317"/>
                      </a:lnTo>
                      <a:lnTo>
                        <a:pt x="75" y="307"/>
                      </a:lnTo>
                      <a:lnTo>
                        <a:pt x="92" y="307"/>
                      </a:lnTo>
                      <a:lnTo>
                        <a:pt x="75" y="300"/>
                      </a:lnTo>
                      <a:lnTo>
                        <a:pt x="92" y="284"/>
                      </a:lnTo>
                      <a:lnTo>
                        <a:pt x="38" y="251"/>
                      </a:lnTo>
                      <a:lnTo>
                        <a:pt x="38" y="229"/>
                      </a:lnTo>
                      <a:lnTo>
                        <a:pt x="28" y="229"/>
                      </a:lnTo>
                      <a:lnTo>
                        <a:pt x="0" y="196"/>
                      </a:lnTo>
                      <a:lnTo>
                        <a:pt x="16" y="189"/>
                      </a:lnTo>
                      <a:lnTo>
                        <a:pt x="28" y="196"/>
                      </a:lnTo>
                      <a:lnTo>
                        <a:pt x="38" y="184"/>
                      </a:lnTo>
                      <a:lnTo>
                        <a:pt x="71" y="184"/>
                      </a:lnTo>
                      <a:lnTo>
                        <a:pt x="75" y="151"/>
                      </a:lnTo>
                      <a:lnTo>
                        <a:pt x="92" y="140"/>
                      </a:lnTo>
                      <a:lnTo>
                        <a:pt x="97" y="118"/>
                      </a:lnTo>
                      <a:lnTo>
                        <a:pt x="123" y="85"/>
                      </a:lnTo>
                      <a:lnTo>
                        <a:pt x="123" y="73"/>
                      </a:lnTo>
                      <a:lnTo>
                        <a:pt x="146" y="57"/>
                      </a:lnTo>
                      <a:lnTo>
                        <a:pt x="168" y="45"/>
                      </a:lnTo>
                      <a:lnTo>
                        <a:pt x="182" y="29"/>
                      </a:lnTo>
                      <a:lnTo>
                        <a:pt x="205" y="19"/>
                      </a:lnTo>
                      <a:lnTo>
                        <a:pt x="220" y="29"/>
                      </a:lnTo>
                      <a:lnTo>
                        <a:pt x="274" y="29"/>
                      </a:lnTo>
                      <a:lnTo>
                        <a:pt x="295" y="29"/>
                      </a:lnTo>
                      <a:lnTo>
                        <a:pt x="328" y="57"/>
                      </a:lnTo>
                      <a:lnTo>
                        <a:pt x="349" y="29"/>
                      </a:lnTo>
                      <a:lnTo>
                        <a:pt x="413" y="29"/>
                      </a:lnTo>
                      <a:lnTo>
                        <a:pt x="420" y="7"/>
                      </a:lnTo>
                      <a:lnTo>
                        <a:pt x="446" y="0"/>
                      </a:lnTo>
                      <a:lnTo>
                        <a:pt x="468" y="19"/>
                      </a:lnTo>
                      <a:lnTo>
                        <a:pt x="489" y="57"/>
                      </a:lnTo>
                      <a:lnTo>
                        <a:pt x="527" y="102"/>
                      </a:lnTo>
                      <a:lnTo>
                        <a:pt x="543" y="118"/>
                      </a:lnTo>
                      <a:lnTo>
                        <a:pt x="560" y="168"/>
                      </a:lnTo>
                      <a:lnTo>
                        <a:pt x="543" y="196"/>
                      </a:lnTo>
                      <a:lnTo>
                        <a:pt x="553" y="239"/>
                      </a:lnTo>
                      <a:lnTo>
                        <a:pt x="543" y="246"/>
                      </a:lnTo>
                      <a:lnTo>
                        <a:pt x="553" y="262"/>
                      </a:lnTo>
                      <a:lnTo>
                        <a:pt x="564" y="267"/>
                      </a:lnTo>
                      <a:lnTo>
                        <a:pt x="590" y="279"/>
                      </a:lnTo>
                      <a:lnTo>
                        <a:pt x="635" y="262"/>
                      </a:lnTo>
                      <a:lnTo>
                        <a:pt x="649" y="267"/>
                      </a:lnTo>
                      <a:lnTo>
                        <a:pt x="661" y="279"/>
                      </a:lnTo>
                      <a:lnTo>
                        <a:pt x="649" y="317"/>
                      </a:lnTo>
                      <a:lnTo>
                        <a:pt x="612" y="317"/>
                      </a:lnTo>
                      <a:lnTo>
                        <a:pt x="612" y="307"/>
                      </a:lnTo>
                      <a:lnTo>
                        <a:pt x="619" y="300"/>
                      </a:lnTo>
                      <a:lnTo>
                        <a:pt x="612" y="300"/>
                      </a:lnTo>
                      <a:lnTo>
                        <a:pt x="598" y="300"/>
                      </a:lnTo>
                      <a:lnTo>
                        <a:pt x="607" y="317"/>
                      </a:lnTo>
                      <a:lnTo>
                        <a:pt x="598" y="333"/>
                      </a:lnTo>
                      <a:lnTo>
                        <a:pt x="612" y="324"/>
                      </a:lnTo>
                      <a:lnTo>
                        <a:pt x="590" y="333"/>
                      </a:lnTo>
                      <a:lnTo>
                        <a:pt x="590" y="340"/>
                      </a:lnTo>
                      <a:lnTo>
                        <a:pt x="607" y="333"/>
                      </a:lnTo>
                      <a:lnTo>
                        <a:pt x="581" y="357"/>
                      </a:lnTo>
                      <a:lnTo>
                        <a:pt x="590" y="390"/>
                      </a:lnTo>
                      <a:lnTo>
                        <a:pt x="581" y="411"/>
                      </a:lnTo>
                      <a:lnTo>
                        <a:pt x="543" y="406"/>
                      </a:lnTo>
                      <a:lnTo>
                        <a:pt x="538" y="390"/>
                      </a:lnTo>
                      <a:lnTo>
                        <a:pt x="522" y="390"/>
                      </a:lnTo>
                      <a:lnTo>
                        <a:pt x="510" y="378"/>
                      </a:lnTo>
                      <a:lnTo>
                        <a:pt x="501" y="390"/>
                      </a:lnTo>
                      <a:lnTo>
                        <a:pt x="489" y="373"/>
                      </a:lnTo>
                      <a:lnTo>
                        <a:pt x="472" y="373"/>
                      </a:lnTo>
                      <a:lnTo>
                        <a:pt x="413" y="390"/>
                      </a:lnTo>
                      <a:lnTo>
                        <a:pt x="383" y="411"/>
                      </a:lnTo>
                      <a:lnTo>
                        <a:pt x="361" y="418"/>
                      </a:lnTo>
                      <a:lnTo>
                        <a:pt x="295" y="406"/>
                      </a:lnTo>
                      <a:lnTo>
                        <a:pt x="274" y="411"/>
                      </a:lnTo>
                      <a:lnTo>
                        <a:pt x="220" y="395"/>
                      </a:lnTo>
                      <a:lnTo>
                        <a:pt x="182" y="406"/>
                      </a:lnTo>
                      <a:lnTo>
                        <a:pt x="182" y="390"/>
                      </a:lnTo>
                      <a:lnTo>
                        <a:pt x="189" y="378"/>
                      </a:lnTo>
                      <a:lnTo>
                        <a:pt x="168" y="362"/>
                      </a:lnTo>
                      <a:lnTo>
                        <a:pt x="168" y="362"/>
                      </a:lnTo>
                      <a:lnTo>
                        <a:pt x="168" y="36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48" name="Freeform 543">
                  <a:extLst>
                    <a:ext uri="{FF2B5EF4-FFF2-40B4-BE49-F238E27FC236}">
                      <a16:creationId xmlns:a16="http://schemas.microsoft.com/office/drawing/2014/main" id="{D2F0B821-D9D2-4DB6-9EE9-9F43D9603F61}"/>
                    </a:ext>
                  </a:extLst>
                </p:cNvPr>
                <p:cNvSpPr>
                  <a:spLocks noEditPoints="1"/>
                </p:cNvSpPr>
                <p:nvPr/>
              </p:nvSpPr>
              <p:spPr bwMode="gray">
                <a:xfrm>
                  <a:off x="1738441" y="824034"/>
                  <a:ext cx="10478239" cy="1947006"/>
                </a:xfrm>
                <a:custGeom>
                  <a:avLst/>
                  <a:gdLst>
                    <a:gd name="T0" fmla="*/ 24366 w 25453"/>
                    <a:gd name="T1" fmla="*/ 2721 h 4729"/>
                    <a:gd name="T2" fmla="*/ 23563 w 25453"/>
                    <a:gd name="T3" fmla="*/ 3031 h 4729"/>
                    <a:gd name="T4" fmla="*/ 23076 w 25453"/>
                    <a:gd name="T5" fmla="*/ 3692 h 4729"/>
                    <a:gd name="T6" fmla="*/ 23331 w 25453"/>
                    <a:gd name="T7" fmla="*/ 2809 h 4729"/>
                    <a:gd name="T8" fmla="*/ 22391 w 25453"/>
                    <a:gd name="T9" fmla="*/ 2993 h 4729"/>
                    <a:gd name="T10" fmla="*/ 22018 w 25453"/>
                    <a:gd name="T11" fmla="*/ 3643 h 4729"/>
                    <a:gd name="T12" fmla="*/ 21312 w 25453"/>
                    <a:gd name="T13" fmla="*/ 4578 h 4729"/>
                    <a:gd name="T14" fmla="*/ 20955 w 25453"/>
                    <a:gd name="T15" fmla="*/ 3676 h 4729"/>
                    <a:gd name="T16" fmla="*/ 19167 w 25453"/>
                    <a:gd name="T17" fmla="*/ 3768 h 4729"/>
                    <a:gd name="T18" fmla="*/ 18078 w 25453"/>
                    <a:gd name="T19" fmla="*/ 3936 h 4729"/>
                    <a:gd name="T20" fmla="*/ 17117 w 25453"/>
                    <a:gd name="T21" fmla="*/ 3487 h 4729"/>
                    <a:gd name="T22" fmla="*/ 16424 w 25453"/>
                    <a:gd name="T23" fmla="*/ 3803 h 4729"/>
                    <a:gd name="T24" fmla="*/ 15550 w 25453"/>
                    <a:gd name="T25" fmla="*/ 3931 h 4729"/>
                    <a:gd name="T26" fmla="*/ 15425 w 25453"/>
                    <a:gd name="T27" fmla="*/ 4694 h 4729"/>
                    <a:gd name="T28" fmla="*/ 14821 w 25453"/>
                    <a:gd name="T29" fmla="*/ 4191 h 4729"/>
                    <a:gd name="T30" fmla="*/ 14388 w 25453"/>
                    <a:gd name="T31" fmla="*/ 3581 h 4729"/>
                    <a:gd name="T32" fmla="*/ 14169 w 25453"/>
                    <a:gd name="T33" fmla="*/ 2792 h 4729"/>
                    <a:gd name="T34" fmla="*/ 14471 w 25453"/>
                    <a:gd name="T35" fmla="*/ 1862 h 4729"/>
                    <a:gd name="T36" fmla="*/ 14660 w 25453"/>
                    <a:gd name="T37" fmla="*/ 2488 h 4729"/>
                    <a:gd name="T38" fmla="*/ 15395 w 25453"/>
                    <a:gd name="T39" fmla="*/ 2018 h 4729"/>
                    <a:gd name="T40" fmla="*/ 16278 w 25453"/>
                    <a:gd name="T41" fmla="*/ 1918 h 4729"/>
                    <a:gd name="T42" fmla="*/ 16991 w 25453"/>
                    <a:gd name="T43" fmla="*/ 1368 h 4729"/>
                    <a:gd name="T44" fmla="*/ 17298 w 25453"/>
                    <a:gd name="T45" fmla="*/ 2105 h 4729"/>
                    <a:gd name="T46" fmla="*/ 17407 w 25453"/>
                    <a:gd name="T47" fmla="*/ 1545 h 4729"/>
                    <a:gd name="T48" fmla="*/ 17969 w 25453"/>
                    <a:gd name="T49" fmla="*/ 1718 h 4729"/>
                    <a:gd name="T50" fmla="*/ 18272 w 25453"/>
                    <a:gd name="T51" fmla="*/ 1075 h 4729"/>
                    <a:gd name="T52" fmla="*/ 19103 w 25453"/>
                    <a:gd name="T53" fmla="*/ 891 h 4729"/>
                    <a:gd name="T54" fmla="*/ 20065 w 25453"/>
                    <a:gd name="T55" fmla="*/ 981 h 4729"/>
                    <a:gd name="T56" fmla="*/ 20074 w 25453"/>
                    <a:gd name="T57" fmla="*/ 1290 h 4729"/>
                    <a:gd name="T58" fmla="*/ 21782 w 25453"/>
                    <a:gd name="T59" fmla="*/ 1573 h 4729"/>
                    <a:gd name="T60" fmla="*/ 22644 w 25453"/>
                    <a:gd name="T61" fmla="*/ 1552 h 4729"/>
                    <a:gd name="T62" fmla="*/ 24227 w 25453"/>
                    <a:gd name="T63" fmla="*/ 1767 h 4729"/>
                    <a:gd name="T64" fmla="*/ 25053 w 25453"/>
                    <a:gd name="T65" fmla="*/ 2046 h 4729"/>
                    <a:gd name="T66" fmla="*/ 25205 w 25453"/>
                    <a:gd name="T67" fmla="*/ 2400 h 4729"/>
                    <a:gd name="T68" fmla="*/ 16188 w 25453"/>
                    <a:gd name="T69" fmla="*/ 5 h 4729"/>
                    <a:gd name="T70" fmla="*/ 18557 w 25453"/>
                    <a:gd name="T71" fmla="*/ 236 h 4729"/>
                    <a:gd name="T72" fmla="*/ 16198 w 25453"/>
                    <a:gd name="T73" fmla="*/ 116 h 4729"/>
                    <a:gd name="T74" fmla="*/ 15593 w 25453"/>
                    <a:gd name="T75" fmla="*/ 203 h 4729"/>
                    <a:gd name="T76" fmla="*/ 15345 w 25453"/>
                    <a:gd name="T77" fmla="*/ 236 h 4729"/>
                    <a:gd name="T78" fmla="*/ 15933 w 25453"/>
                    <a:gd name="T79" fmla="*/ 236 h 4729"/>
                    <a:gd name="T80" fmla="*/ 18650 w 25453"/>
                    <a:gd name="T81" fmla="*/ 404 h 4729"/>
                    <a:gd name="T82" fmla="*/ 16252 w 25453"/>
                    <a:gd name="T83" fmla="*/ 322 h 4729"/>
                    <a:gd name="T84" fmla="*/ 19221 w 25453"/>
                    <a:gd name="T85" fmla="*/ 598 h 4729"/>
                    <a:gd name="T86" fmla="*/ 23093 w 25453"/>
                    <a:gd name="T87" fmla="*/ 758 h 4729"/>
                    <a:gd name="T88" fmla="*/ 16727 w 25453"/>
                    <a:gd name="T89" fmla="*/ 832 h 4729"/>
                    <a:gd name="T90" fmla="*/ 18978 w 25453"/>
                    <a:gd name="T91" fmla="*/ 815 h 4729"/>
                    <a:gd name="T92" fmla="*/ 18898 w 25453"/>
                    <a:gd name="T93" fmla="*/ 886 h 4729"/>
                    <a:gd name="T94" fmla="*/ 22046 w 25453"/>
                    <a:gd name="T95" fmla="*/ 931 h 4729"/>
                    <a:gd name="T96" fmla="*/ 16257 w 25453"/>
                    <a:gd name="T97" fmla="*/ 947 h 4729"/>
                    <a:gd name="T98" fmla="*/ 17700 w 25453"/>
                    <a:gd name="T99" fmla="*/ 1129 h 4729"/>
                    <a:gd name="T100" fmla="*/ 18125 w 25453"/>
                    <a:gd name="T101" fmla="*/ 1195 h 4729"/>
                    <a:gd name="T102" fmla="*/ 20700 w 25453"/>
                    <a:gd name="T103" fmla="*/ 1363 h 4729"/>
                    <a:gd name="T104" fmla="*/ 17133 w 25453"/>
                    <a:gd name="T105" fmla="*/ 1314 h 4729"/>
                    <a:gd name="T106" fmla="*/ 15858 w 25453"/>
                    <a:gd name="T107" fmla="*/ 1363 h 4729"/>
                    <a:gd name="T108" fmla="*/ 17693 w 25453"/>
                    <a:gd name="T109" fmla="*/ 1392 h 4729"/>
                    <a:gd name="T110" fmla="*/ 21775 w 25453"/>
                    <a:gd name="T111" fmla="*/ 1552 h 4729"/>
                    <a:gd name="T112" fmla="*/ 16257 w 25453"/>
                    <a:gd name="T113" fmla="*/ 1696 h 4729"/>
                    <a:gd name="T114" fmla="*/ 15534 w 25453"/>
                    <a:gd name="T115" fmla="*/ 1923 h 4729"/>
                    <a:gd name="T116" fmla="*/ 0 w 25453"/>
                    <a:gd name="T117" fmla="*/ 2400 h 4729"/>
                    <a:gd name="T118" fmla="*/ 13590 w 25453"/>
                    <a:gd name="T119" fmla="*/ 3421 h 4729"/>
                    <a:gd name="T120" fmla="*/ 22169 w 25453"/>
                    <a:gd name="T121" fmla="*/ 3659 h 4729"/>
                    <a:gd name="T122" fmla="*/ 23001 w 25453"/>
                    <a:gd name="T123" fmla="*/ 3903 h 4729"/>
                    <a:gd name="T124" fmla="*/ 22483 w 25453"/>
                    <a:gd name="T125" fmla="*/ 4373 h 4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453" h="4729">
                      <a:moveTo>
                        <a:pt x="24735" y="2360"/>
                      </a:moveTo>
                      <a:lnTo>
                        <a:pt x="24706" y="2388"/>
                      </a:lnTo>
                      <a:lnTo>
                        <a:pt x="24638" y="2421"/>
                      </a:lnTo>
                      <a:lnTo>
                        <a:pt x="24654" y="2405"/>
                      </a:lnTo>
                      <a:lnTo>
                        <a:pt x="24572" y="2405"/>
                      </a:lnTo>
                      <a:lnTo>
                        <a:pt x="24562" y="2384"/>
                      </a:lnTo>
                      <a:lnTo>
                        <a:pt x="24517" y="2360"/>
                      </a:lnTo>
                      <a:lnTo>
                        <a:pt x="24479" y="2367"/>
                      </a:lnTo>
                      <a:lnTo>
                        <a:pt x="24529" y="2367"/>
                      </a:lnTo>
                      <a:lnTo>
                        <a:pt x="24550" y="2388"/>
                      </a:lnTo>
                      <a:lnTo>
                        <a:pt x="24529" y="2400"/>
                      </a:lnTo>
                      <a:lnTo>
                        <a:pt x="24508" y="2384"/>
                      </a:lnTo>
                      <a:lnTo>
                        <a:pt x="24491" y="2388"/>
                      </a:lnTo>
                      <a:lnTo>
                        <a:pt x="24465" y="2377"/>
                      </a:lnTo>
                      <a:lnTo>
                        <a:pt x="24442" y="2400"/>
                      </a:lnTo>
                      <a:lnTo>
                        <a:pt x="24352" y="2405"/>
                      </a:lnTo>
                      <a:lnTo>
                        <a:pt x="24437" y="2400"/>
                      </a:lnTo>
                      <a:lnTo>
                        <a:pt x="24465" y="2384"/>
                      </a:lnTo>
                      <a:lnTo>
                        <a:pt x="24491" y="2405"/>
                      </a:lnTo>
                      <a:lnTo>
                        <a:pt x="24465" y="2417"/>
                      </a:lnTo>
                      <a:lnTo>
                        <a:pt x="24465" y="2421"/>
                      </a:lnTo>
                      <a:lnTo>
                        <a:pt x="24491" y="2405"/>
                      </a:lnTo>
                      <a:lnTo>
                        <a:pt x="24513" y="2421"/>
                      </a:lnTo>
                      <a:lnTo>
                        <a:pt x="24529" y="2405"/>
                      </a:lnTo>
                      <a:lnTo>
                        <a:pt x="24567" y="2400"/>
                      </a:lnTo>
                      <a:lnTo>
                        <a:pt x="24550" y="2421"/>
                      </a:lnTo>
                      <a:lnTo>
                        <a:pt x="24572" y="2445"/>
                      </a:lnTo>
                      <a:lnTo>
                        <a:pt x="24605" y="2462"/>
                      </a:lnTo>
                      <a:lnTo>
                        <a:pt x="24621" y="2445"/>
                      </a:lnTo>
                      <a:lnTo>
                        <a:pt x="24626" y="2455"/>
                      </a:lnTo>
                      <a:lnTo>
                        <a:pt x="24638" y="2478"/>
                      </a:lnTo>
                      <a:lnTo>
                        <a:pt x="24626" y="2495"/>
                      </a:lnTo>
                      <a:lnTo>
                        <a:pt x="24642" y="2495"/>
                      </a:lnTo>
                      <a:lnTo>
                        <a:pt x="24654" y="2528"/>
                      </a:lnTo>
                      <a:lnTo>
                        <a:pt x="24642" y="2528"/>
                      </a:lnTo>
                      <a:lnTo>
                        <a:pt x="24621" y="2532"/>
                      </a:lnTo>
                      <a:lnTo>
                        <a:pt x="24654" y="2532"/>
                      </a:lnTo>
                      <a:lnTo>
                        <a:pt x="24654" y="2549"/>
                      </a:lnTo>
                      <a:lnTo>
                        <a:pt x="24642" y="2556"/>
                      </a:lnTo>
                      <a:lnTo>
                        <a:pt x="24659" y="2549"/>
                      </a:lnTo>
                      <a:lnTo>
                        <a:pt x="24654" y="2532"/>
                      </a:lnTo>
                      <a:lnTo>
                        <a:pt x="24668" y="2566"/>
                      </a:lnTo>
                      <a:lnTo>
                        <a:pt x="24659" y="2556"/>
                      </a:lnTo>
                      <a:lnTo>
                        <a:pt x="24659" y="2566"/>
                      </a:lnTo>
                      <a:lnTo>
                        <a:pt x="24697" y="2582"/>
                      </a:lnTo>
                      <a:lnTo>
                        <a:pt x="24697" y="2599"/>
                      </a:lnTo>
                      <a:lnTo>
                        <a:pt x="24680" y="2606"/>
                      </a:lnTo>
                      <a:lnTo>
                        <a:pt x="24706" y="2622"/>
                      </a:lnTo>
                      <a:lnTo>
                        <a:pt x="24706" y="2643"/>
                      </a:lnTo>
                      <a:lnTo>
                        <a:pt x="24676" y="2660"/>
                      </a:lnTo>
                      <a:lnTo>
                        <a:pt x="24680" y="2677"/>
                      </a:lnTo>
                      <a:lnTo>
                        <a:pt x="24676" y="2681"/>
                      </a:lnTo>
                      <a:lnTo>
                        <a:pt x="24600" y="2655"/>
                      </a:lnTo>
                      <a:lnTo>
                        <a:pt x="24550" y="2643"/>
                      </a:lnTo>
                      <a:lnTo>
                        <a:pt x="24550" y="2627"/>
                      </a:lnTo>
                      <a:lnTo>
                        <a:pt x="24562" y="2622"/>
                      </a:lnTo>
                      <a:lnTo>
                        <a:pt x="24546" y="2639"/>
                      </a:lnTo>
                      <a:lnTo>
                        <a:pt x="24529" y="2610"/>
                      </a:lnTo>
                      <a:lnTo>
                        <a:pt x="24529" y="2639"/>
                      </a:lnTo>
                      <a:lnTo>
                        <a:pt x="24550" y="2643"/>
                      </a:lnTo>
                      <a:lnTo>
                        <a:pt x="24508" y="2655"/>
                      </a:lnTo>
                      <a:lnTo>
                        <a:pt x="24479" y="2677"/>
                      </a:lnTo>
                      <a:lnTo>
                        <a:pt x="24373" y="2721"/>
                      </a:lnTo>
                      <a:lnTo>
                        <a:pt x="24357" y="2717"/>
                      </a:lnTo>
                      <a:lnTo>
                        <a:pt x="24366" y="2721"/>
                      </a:lnTo>
                      <a:lnTo>
                        <a:pt x="24357" y="2733"/>
                      </a:lnTo>
                      <a:lnTo>
                        <a:pt x="24328" y="2733"/>
                      </a:lnTo>
                      <a:lnTo>
                        <a:pt x="24319" y="2738"/>
                      </a:lnTo>
                      <a:lnTo>
                        <a:pt x="24302" y="2750"/>
                      </a:lnTo>
                      <a:lnTo>
                        <a:pt x="24290" y="2738"/>
                      </a:lnTo>
                      <a:lnTo>
                        <a:pt x="24281" y="2766"/>
                      </a:lnTo>
                      <a:lnTo>
                        <a:pt x="24276" y="2766"/>
                      </a:lnTo>
                      <a:lnTo>
                        <a:pt x="24260" y="2776"/>
                      </a:lnTo>
                      <a:lnTo>
                        <a:pt x="24243" y="2771"/>
                      </a:lnTo>
                      <a:lnTo>
                        <a:pt x="24227" y="2776"/>
                      </a:lnTo>
                      <a:lnTo>
                        <a:pt x="24243" y="2788"/>
                      </a:lnTo>
                      <a:lnTo>
                        <a:pt x="24227" y="2788"/>
                      </a:lnTo>
                      <a:lnTo>
                        <a:pt x="24239" y="2792"/>
                      </a:lnTo>
                      <a:lnTo>
                        <a:pt x="24222" y="2804"/>
                      </a:lnTo>
                      <a:lnTo>
                        <a:pt x="24205" y="2792"/>
                      </a:lnTo>
                      <a:lnTo>
                        <a:pt x="24205" y="2809"/>
                      </a:lnTo>
                      <a:lnTo>
                        <a:pt x="24210" y="2821"/>
                      </a:lnTo>
                      <a:lnTo>
                        <a:pt x="24194" y="2821"/>
                      </a:lnTo>
                      <a:lnTo>
                        <a:pt x="24184" y="2809"/>
                      </a:lnTo>
                      <a:lnTo>
                        <a:pt x="24189" y="2828"/>
                      </a:lnTo>
                      <a:lnTo>
                        <a:pt x="24184" y="2844"/>
                      </a:lnTo>
                      <a:lnTo>
                        <a:pt x="24172" y="2828"/>
                      </a:lnTo>
                      <a:lnTo>
                        <a:pt x="24172" y="2844"/>
                      </a:lnTo>
                      <a:lnTo>
                        <a:pt x="24151" y="2844"/>
                      </a:lnTo>
                      <a:lnTo>
                        <a:pt x="24151" y="2849"/>
                      </a:lnTo>
                      <a:lnTo>
                        <a:pt x="24135" y="2849"/>
                      </a:lnTo>
                      <a:lnTo>
                        <a:pt x="24135" y="2866"/>
                      </a:lnTo>
                      <a:lnTo>
                        <a:pt x="24080" y="2887"/>
                      </a:lnTo>
                      <a:lnTo>
                        <a:pt x="24080" y="2899"/>
                      </a:lnTo>
                      <a:lnTo>
                        <a:pt x="24076" y="2903"/>
                      </a:lnTo>
                      <a:lnTo>
                        <a:pt x="24064" y="2936"/>
                      </a:lnTo>
                      <a:lnTo>
                        <a:pt x="24059" y="2936"/>
                      </a:lnTo>
                      <a:lnTo>
                        <a:pt x="24033" y="2920"/>
                      </a:lnTo>
                      <a:lnTo>
                        <a:pt x="24021" y="2887"/>
                      </a:lnTo>
                      <a:lnTo>
                        <a:pt x="23979" y="2866"/>
                      </a:lnTo>
                      <a:lnTo>
                        <a:pt x="23979" y="2877"/>
                      </a:lnTo>
                      <a:lnTo>
                        <a:pt x="23913" y="2866"/>
                      </a:lnTo>
                      <a:lnTo>
                        <a:pt x="23832" y="2899"/>
                      </a:lnTo>
                      <a:lnTo>
                        <a:pt x="23761" y="2953"/>
                      </a:lnTo>
                      <a:lnTo>
                        <a:pt x="23773" y="2887"/>
                      </a:lnTo>
                      <a:lnTo>
                        <a:pt x="23778" y="2882"/>
                      </a:lnTo>
                      <a:lnTo>
                        <a:pt x="23757" y="2882"/>
                      </a:lnTo>
                      <a:lnTo>
                        <a:pt x="23702" y="2920"/>
                      </a:lnTo>
                      <a:lnTo>
                        <a:pt x="23686" y="2915"/>
                      </a:lnTo>
                      <a:lnTo>
                        <a:pt x="23702" y="2932"/>
                      </a:lnTo>
                      <a:lnTo>
                        <a:pt x="23681" y="2953"/>
                      </a:lnTo>
                      <a:lnTo>
                        <a:pt x="23665" y="2936"/>
                      </a:lnTo>
                      <a:lnTo>
                        <a:pt x="23648" y="2920"/>
                      </a:lnTo>
                      <a:lnTo>
                        <a:pt x="23643" y="2920"/>
                      </a:lnTo>
                      <a:lnTo>
                        <a:pt x="23643" y="2932"/>
                      </a:lnTo>
                      <a:lnTo>
                        <a:pt x="23627" y="2936"/>
                      </a:lnTo>
                      <a:lnTo>
                        <a:pt x="23627" y="2943"/>
                      </a:lnTo>
                      <a:lnTo>
                        <a:pt x="23617" y="2943"/>
                      </a:lnTo>
                      <a:lnTo>
                        <a:pt x="23627" y="2936"/>
                      </a:lnTo>
                      <a:lnTo>
                        <a:pt x="23617" y="2932"/>
                      </a:lnTo>
                      <a:lnTo>
                        <a:pt x="23596" y="2932"/>
                      </a:lnTo>
                      <a:lnTo>
                        <a:pt x="23601" y="2936"/>
                      </a:lnTo>
                      <a:lnTo>
                        <a:pt x="23596" y="2943"/>
                      </a:lnTo>
                      <a:lnTo>
                        <a:pt x="23572" y="2953"/>
                      </a:lnTo>
                      <a:lnTo>
                        <a:pt x="23572" y="2972"/>
                      </a:lnTo>
                      <a:lnTo>
                        <a:pt x="23558" y="2977"/>
                      </a:lnTo>
                      <a:lnTo>
                        <a:pt x="23572" y="2998"/>
                      </a:lnTo>
                      <a:lnTo>
                        <a:pt x="23563" y="3010"/>
                      </a:lnTo>
                      <a:lnTo>
                        <a:pt x="23546" y="3010"/>
                      </a:lnTo>
                      <a:lnTo>
                        <a:pt x="23563" y="3031"/>
                      </a:lnTo>
                      <a:lnTo>
                        <a:pt x="23546" y="3026"/>
                      </a:lnTo>
                      <a:lnTo>
                        <a:pt x="23542" y="3026"/>
                      </a:lnTo>
                      <a:lnTo>
                        <a:pt x="23546" y="3043"/>
                      </a:lnTo>
                      <a:lnTo>
                        <a:pt x="23504" y="3071"/>
                      </a:lnTo>
                      <a:lnTo>
                        <a:pt x="23487" y="3099"/>
                      </a:lnTo>
                      <a:lnTo>
                        <a:pt x="23471" y="3137"/>
                      </a:lnTo>
                      <a:lnTo>
                        <a:pt x="23487" y="3158"/>
                      </a:lnTo>
                      <a:lnTo>
                        <a:pt x="23504" y="3170"/>
                      </a:lnTo>
                      <a:lnTo>
                        <a:pt x="23504" y="3175"/>
                      </a:lnTo>
                      <a:lnTo>
                        <a:pt x="23520" y="3154"/>
                      </a:lnTo>
                      <a:lnTo>
                        <a:pt x="23563" y="3158"/>
                      </a:lnTo>
                      <a:lnTo>
                        <a:pt x="23563" y="3170"/>
                      </a:lnTo>
                      <a:lnTo>
                        <a:pt x="23558" y="3192"/>
                      </a:lnTo>
                      <a:lnTo>
                        <a:pt x="23525" y="3208"/>
                      </a:lnTo>
                      <a:lnTo>
                        <a:pt x="23535" y="3236"/>
                      </a:lnTo>
                      <a:lnTo>
                        <a:pt x="23535" y="3269"/>
                      </a:lnTo>
                      <a:lnTo>
                        <a:pt x="23542" y="3281"/>
                      </a:lnTo>
                      <a:lnTo>
                        <a:pt x="23563" y="3269"/>
                      </a:lnTo>
                      <a:lnTo>
                        <a:pt x="23572" y="3326"/>
                      </a:lnTo>
                      <a:lnTo>
                        <a:pt x="23546" y="3347"/>
                      </a:lnTo>
                      <a:lnTo>
                        <a:pt x="23525" y="3336"/>
                      </a:lnTo>
                      <a:lnTo>
                        <a:pt x="23525" y="3319"/>
                      </a:lnTo>
                      <a:lnTo>
                        <a:pt x="23558" y="3293"/>
                      </a:lnTo>
                      <a:lnTo>
                        <a:pt x="23546" y="3293"/>
                      </a:lnTo>
                      <a:lnTo>
                        <a:pt x="23542" y="3303"/>
                      </a:lnTo>
                      <a:lnTo>
                        <a:pt x="23525" y="3303"/>
                      </a:lnTo>
                      <a:lnTo>
                        <a:pt x="23504" y="3310"/>
                      </a:lnTo>
                      <a:lnTo>
                        <a:pt x="23520" y="3326"/>
                      </a:lnTo>
                      <a:lnTo>
                        <a:pt x="23483" y="3343"/>
                      </a:lnTo>
                      <a:lnTo>
                        <a:pt x="23454" y="3397"/>
                      </a:lnTo>
                      <a:lnTo>
                        <a:pt x="23466" y="3437"/>
                      </a:lnTo>
                      <a:lnTo>
                        <a:pt x="23487" y="3458"/>
                      </a:lnTo>
                      <a:lnTo>
                        <a:pt x="23487" y="3475"/>
                      </a:lnTo>
                      <a:lnTo>
                        <a:pt x="23454" y="3503"/>
                      </a:lnTo>
                      <a:lnTo>
                        <a:pt x="23428" y="3503"/>
                      </a:lnTo>
                      <a:lnTo>
                        <a:pt x="23416" y="3491"/>
                      </a:lnTo>
                      <a:lnTo>
                        <a:pt x="23383" y="3503"/>
                      </a:lnTo>
                      <a:lnTo>
                        <a:pt x="23341" y="3541"/>
                      </a:lnTo>
                      <a:lnTo>
                        <a:pt x="23324" y="3581"/>
                      </a:lnTo>
                      <a:lnTo>
                        <a:pt x="23331" y="3586"/>
                      </a:lnTo>
                      <a:lnTo>
                        <a:pt x="23331" y="3603"/>
                      </a:lnTo>
                      <a:lnTo>
                        <a:pt x="23324" y="3598"/>
                      </a:lnTo>
                      <a:lnTo>
                        <a:pt x="23341" y="3619"/>
                      </a:lnTo>
                      <a:lnTo>
                        <a:pt x="23341" y="3636"/>
                      </a:lnTo>
                      <a:lnTo>
                        <a:pt x="23308" y="3619"/>
                      </a:lnTo>
                      <a:lnTo>
                        <a:pt x="23270" y="3643"/>
                      </a:lnTo>
                      <a:lnTo>
                        <a:pt x="23249" y="3659"/>
                      </a:lnTo>
                      <a:lnTo>
                        <a:pt x="23239" y="3643"/>
                      </a:lnTo>
                      <a:lnTo>
                        <a:pt x="23223" y="3643"/>
                      </a:lnTo>
                      <a:lnTo>
                        <a:pt x="23223" y="3659"/>
                      </a:lnTo>
                      <a:lnTo>
                        <a:pt x="23239" y="3659"/>
                      </a:lnTo>
                      <a:lnTo>
                        <a:pt x="23232" y="3680"/>
                      </a:lnTo>
                      <a:lnTo>
                        <a:pt x="23223" y="3680"/>
                      </a:lnTo>
                      <a:lnTo>
                        <a:pt x="23232" y="3692"/>
                      </a:lnTo>
                      <a:lnTo>
                        <a:pt x="23232" y="3714"/>
                      </a:lnTo>
                      <a:lnTo>
                        <a:pt x="23218" y="3730"/>
                      </a:lnTo>
                      <a:lnTo>
                        <a:pt x="23218" y="3751"/>
                      </a:lnTo>
                      <a:lnTo>
                        <a:pt x="23105" y="3846"/>
                      </a:lnTo>
                      <a:lnTo>
                        <a:pt x="23109" y="3836"/>
                      </a:lnTo>
                      <a:lnTo>
                        <a:pt x="23093" y="3808"/>
                      </a:lnTo>
                      <a:lnTo>
                        <a:pt x="23093" y="3751"/>
                      </a:lnTo>
                      <a:lnTo>
                        <a:pt x="23076" y="3692"/>
                      </a:lnTo>
                      <a:lnTo>
                        <a:pt x="23088" y="3697"/>
                      </a:lnTo>
                      <a:lnTo>
                        <a:pt x="23088" y="3692"/>
                      </a:lnTo>
                      <a:lnTo>
                        <a:pt x="23076" y="3692"/>
                      </a:lnTo>
                      <a:lnTo>
                        <a:pt x="23060" y="3669"/>
                      </a:lnTo>
                      <a:lnTo>
                        <a:pt x="23022" y="3421"/>
                      </a:lnTo>
                      <a:lnTo>
                        <a:pt x="23034" y="3359"/>
                      </a:lnTo>
                      <a:lnTo>
                        <a:pt x="23055" y="3281"/>
                      </a:lnTo>
                      <a:lnTo>
                        <a:pt x="23088" y="3253"/>
                      </a:lnTo>
                      <a:lnTo>
                        <a:pt x="23093" y="3236"/>
                      </a:lnTo>
                      <a:lnTo>
                        <a:pt x="23105" y="3236"/>
                      </a:lnTo>
                      <a:lnTo>
                        <a:pt x="23126" y="3208"/>
                      </a:lnTo>
                      <a:lnTo>
                        <a:pt x="23126" y="3182"/>
                      </a:lnTo>
                      <a:lnTo>
                        <a:pt x="23109" y="3175"/>
                      </a:lnTo>
                      <a:lnTo>
                        <a:pt x="23126" y="3158"/>
                      </a:lnTo>
                      <a:lnTo>
                        <a:pt x="23142" y="3170"/>
                      </a:lnTo>
                      <a:lnTo>
                        <a:pt x="23157" y="3170"/>
                      </a:lnTo>
                      <a:lnTo>
                        <a:pt x="23168" y="3142"/>
                      </a:lnTo>
                      <a:lnTo>
                        <a:pt x="23218" y="3142"/>
                      </a:lnTo>
                      <a:lnTo>
                        <a:pt x="23320" y="3059"/>
                      </a:lnTo>
                      <a:lnTo>
                        <a:pt x="23324" y="3031"/>
                      </a:lnTo>
                      <a:lnTo>
                        <a:pt x="23362" y="2998"/>
                      </a:lnTo>
                      <a:lnTo>
                        <a:pt x="23374" y="2977"/>
                      </a:lnTo>
                      <a:lnTo>
                        <a:pt x="23395" y="2972"/>
                      </a:lnTo>
                      <a:lnTo>
                        <a:pt x="23438" y="2920"/>
                      </a:lnTo>
                      <a:lnTo>
                        <a:pt x="23466" y="2915"/>
                      </a:lnTo>
                      <a:lnTo>
                        <a:pt x="23471" y="2903"/>
                      </a:lnTo>
                      <a:lnTo>
                        <a:pt x="23471" y="2882"/>
                      </a:lnTo>
                      <a:lnTo>
                        <a:pt x="23535" y="2861"/>
                      </a:lnTo>
                      <a:lnTo>
                        <a:pt x="23542" y="2849"/>
                      </a:lnTo>
                      <a:lnTo>
                        <a:pt x="23596" y="2832"/>
                      </a:lnTo>
                      <a:lnTo>
                        <a:pt x="23596" y="2828"/>
                      </a:lnTo>
                      <a:lnTo>
                        <a:pt x="23579" y="2821"/>
                      </a:lnTo>
                      <a:lnTo>
                        <a:pt x="23617" y="2788"/>
                      </a:lnTo>
                      <a:lnTo>
                        <a:pt x="23617" y="2776"/>
                      </a:lnTo>
                      <a:lnTo>
                        <a:pt x="23601" y="2771"/>
                      </a:lnTo>
                      <a:lnTo>
                        <a:pt x="23610" y="2755"/>
                      </a:lnTo>
                      <a:lnTo>
                        <a:pt x="23617" y="2750"/>
                      </a:lnTo>
                      <a:lnTo>
                        <a:pt x="23627" y="2681"/>
                      </a:lnTo>
                      <a:lnTo>
                        <a:pt x="23655" y="2660"/>
                      </a:lnTo>
                      <a:lnTo>
                        <a:pt x="23698" y="2665"/>
                      </a:lnTo>
                      <a:lnTo>
                        <a:pt x="23709" y="2677"/>
                      </a:lnTo>
                      <a:lnTo>
                        <a:pt x="23698" y="2660"/>
                      </a:lnTo>
                      <a:lnTo>
                        <a:pt x="23735" y="2660"/>
                      </a:lnTo>
                      <a:lnTo>
                        <a:pt x="23686" y="2655"/>
                      </a:lnTo>
                      <a:lnTo>
                        <a:pt x="23643" y="2639"/>
                      </a:lnTo>
                      <a:lnTo>
                        <a:pt x="23563" y="2655"/>
                      </a:lnTo>
                      <a:lnTo>
                        <a:pt x="23558" y="2660"/>
                      </a:lnTo>
                      <a:lnTo>
                        <a:pt x="23572" y="2677"/>
                      </a:lnTo>
                      <a:lnTo>
                        <a:pt x="23558" y="2681"/>
                      </a:lnTo>
                      <a:lnTo>
                        <a:pt x="23558" y="2710"/>
                      </a:lnTo>
                      <a:lnTo>
                        <a:pt x="23542" y="2733"/>
                      </a:lnTo>
                      <a:lnTo>
                        <a:pt x="23572" y="2738"/>
                      </a:lnTo>
                      <a:lnTo>
                        <a:pt x="23563" y="2750"/>
                      </a:lnTo>
                      <a:lnTo>
                        <a:pt x="23546" y="2766"/>
                      </a:lnTo>
                      <a:lnTo>
                        <a:pt x="23535" y="2750"/>
                      </a:lnTo>
                      <a:lnTo>
                        <a:pt x="23525" y="2750"/>
                      </a:lnTo>
                      <a:lnTo>
                        <a:pt x="23535" y="2755"/>
                      </a:lnTo>
                      <a:lnTo>
                        <a:pt x="23504" y="2750"/>
                      </a:lnTo>
                      <a:lnTo>
                        <a:pt x="23400" y="2832"/>
                      </a:lnTo>
                      <a:lnTo>
                        <a:pt x="23395" y="2849"/>
                      </a:lnTo>
                      <a:lnTo>
                        <a:pt x="23362" y="2849"/>
                      </a:lnTo>
                      <a:lnTo>
                        <a:pt x="23346" y="2866"/>
                      </a:lnTo>
                      <a:lnTo>
                        <a:pt x="23357" y="2849"/>
                      </a:lnTo>
                      <a:lnTo>
                        <a:pt x="23346" y="2844"/>
                      </a:lnTo>
                      <a:lnTo>
                        <a:pt x="23362" y="2821"/>
                      </a:lnTo>
                      <a:lnTo>
                        <a:pt x="23346" y="2821"/>
                      </a:lnTo>
                      <a:lnTo>
                        <a:pt x="23324" y="2828"/>
                      </a:lnTo>
                      <a:lnTo>
                        <a:pt x="23331" y="2809"/>
                      </a:lnTo>
                      <a:lnTo>
                        <a:pt x="23331" y="2792"/>
                      </a:lnTo>
                      <a:lnTo>
                        <a:pt x="23324" y="2792"/>
                      </a:lnTo>
                      <a:lnTo>
                        <a:pt x="23362" y="2738"/>
                      </a:lnTo>
                      <a:lnTo>
                        <a:pt x="23362" y="2717"/>
                      </a:lnTo>
                      <a:lnTo>
                        <a:pt x="23303" y="2750"/>
                      </a:lnTo>
                      <a:lnTo>
                        <a:pt x="23294" y="2721"/>
                      </a:lnTo>
                      <a:lnTo>
                        <a:pt x="23287" y="2721"/>
                      </a:lnTo>
                      <a:lnTo>
                        <a:pt x="23202" y="2738"/>
                      </a:lnTo>
                      <a:lnTo>
                        <a:pt x="23164" y="2733"/>
                      </a:lnTo>
                      <a:lnTo>
                        <a:pt x="23109" y="2766"/>
                      </a:lnTo>
                      <a:lnTo>
                        <a:pt x="23105" y="2804"/>
                      </a:lnTo>
                      <a:lnTo>
                        <a:pt x="23060" y="2821"/>
                      </a:lnTo>
                      <a:lnTo>
                        <a:pt x="23055" y="2832"/>
                      </a:lnTo>
                      <a:lnTo>
                        <a:pt x="23050" y="2849"/>
                      </a:lnTo>
                      <a:lnTo>
                        <a:pt x="22984" y="2887"/>
                      </a:lnTo>
                      <a:lnTo>
                        <a:pt x="22963" y="2915"/>
                      </a:lnTo>
                      <a:lnTo>
                        <a:pt x="22946" y="2936"/>
                      </a:lnTo>
                      <a:lnTo>
                        <a:pt x="22930" y="2943"/>
                      </a:lnTo>
                      <a:lnTo>
                        <a:pt x="22942" y="2972"/>
                      </a:lnTo>
                      <a:lnTo>
                        <a:pt x="22925" y="2988"/>
                      </a:lnTo>
                      <a:lnTo>
                        <a:pt x="22925" y="2993"/>
                      </a:lnTo>
                      <a:lnTo>
                        <a:pt x="22953" y="2993"/>
                      </a:lnTo>
                      <a:lnTo>
                        <a:pt x="22946" y="2977"/>
                      </a:lnTo>
                      <a:lnTo>
                        <a:pt x="22984" y="2988"/>
                      </a:lnTo>
                      <a:lnTo>
                        <a:pt x="23001" y="2998"/>
                      </a:lnTo>
                      <a:lnTo>
                        <a:pt x="22996" y="3014"/>
                      </a:lnTo>
                      <a:lnTo>
                        <a:pt x="22968" y="3026"/>
                      </a:lnTo>
                      <a:lnTo>
                        <a:pt x="22946" y="3014"/>
                      </a:lnTo>
                      <a:lnTo>
                        <a:pt x="22942" y="3014"/>
                      </a:lnTo>
                      <a:lnTo>
                        <a:pt x="22930" y="3031"/>
                      </a:lnTo>
                      <a:lnTo>
                        <a:pt x="22916" y="3031"/>
                      </a:lnTo>
                      <a:lnTo>
                        <a:pt x="22899" y="3014"/>
                      </a:lnTo>
                      <a:lnTo>
                        <a:pt x="22871" y="3010"/>
                      </a:lnTo>
                      <a:lnTo>
                        <a:pt x="22861" y="3026"/>
                      </a:lnTo>
                      <a:lnTo>
                        <a:pt x="22845" y="3031"/>
                      </a:lnTo>
                      <a:lnTo>
                        <a:pt x="22840" y="3047"/>
                      </a:lnTo>
                      <a:lnTo>
                        <a:pt x="22802" y="3031"/>
                      </a:lnTo>
                      <a:lnTo>
                        <a:pt x="22786" y="3043"/>
                      </a:lnTo>
                      <a:lnTo>
                        <a:pt x="22779" y="3047"/>
                      </a:lnTo>
                      <a:lnTo>
                        <a:pt x="22731" y="3059"/>
                      </a:lnTo>
                      <a:lnTo>
                        <a:pt x="22710" y="3026"/>
                      </a:lnTo>
                      <a:lnTo>
                        <a:pt x="22791" y="3014"/>
                      </a:lnTo>
                      <a:lnTo>
                        <a:pt x="22765" y="3010"/>
                      </a:lnTo>
                      <a:lnTo>
                        <a:pt x="22748" y="2988"/>
                      </a:lnTo>
                      <a:lnTo>
                        <a:pt x="22731" y="2977"/>
                      </a:lnTo>
                      <a:lnTo>
                        <a:pt x="22698" y="2977"/>
                      </a:lnTo>
                      <a:lnTo>
                        <a:pt x="22698" y="2988"/>
                      </a:lnTo>
                      <a:lnTo>
                        <a:pt x="22682" y="2993"/>
                      </a:lnTo>
                      <a:lnTo>
                        <a:pt x="22682" y="2988"/>
                      </a:lnTo>
                      <a:lnTo>
                        <a:pt x="22665" y="2988"/>
                      </a:lnTo>
                      <a:lnTo>
                        <a:pt x="22682" y="2977"/>
                      </a:lnTo>
                      <a:lnTo>
                        <a:pt x="22606" y="2953"/>
                      </a:lnTo>
                      <a:lnTo>
                        <a:pt x="22568" y="2972"/>
                      </a:lnTo>
                      <a:lnTo>
                        <a:pt x="22576" y="2993"/>
                      </a:lnTo>
                      <a:lnTo>
                        <a:pt x="22559" y="2993"/>
                      </a:lnTo>
                      <a:lnTo>
                        <a:pt x="22552" y="2977"/>
                      </a:lnTo>
                      <a:lnTo>
                        <a:pt x="22547" y="2988"/>
                      </a:lnTo>
                      <a:lnTo>
                        <a:pt x="22547" y="2998"/>
                      </a:lnTo>
                      <a:lnTo>
                        <a:pt x="22559" y="2998"/>
                      </a:lnTo>
                      <a:lnTo>
                        <a:pt x="22559" y="3010"/>
                      </a:lnTo>
                      <a:lnTo>
                        <a:pt x="22521" y="3010"/>
                      </a:lnTo>
                      <a:lnTo>
                        <a:pt x="22521" y="2993"/>
                      </a:lnTo>
                      <a:lnTo>
                        <a:pt x="22505" y="2993"/>
                      </a:lnTo>
                      <a:lnTo>
                        <a:pt x="22462" y="3010"/>
                      </a:lnTo>
                      <a:lnTo>
                        <a:pt x="22391" y="2993"/>
                      </a:lnTo>
                      <a:lnTo>
                        <a:pt x="22375" y="2993"/>
                      </a:lnTo>
                      <a:lnTo>
                        <a:pt x="22375" y="3014"/>
                      </a:lnTo>
                      <a:lnTo>
                        <a:pt x="22354" y="3026"/>
                      </a:lnTo>
                      <a:lnTo>
                        <a:pt x="22337" y="3010"/>
                      </a:lnTo>
                      <a:lnTo>
                        <a:pt x="22342" y="2993"/>
                      </a:lnTo>
                      <a:lnTo>
                        <a:pt x="22207" y="2993"/>
                      </a:lnTo>
                      <a:lnTo>
                        <a:pt x="22160" y="2998"/>
                      </a:lnTo>
                      <a:lnTo>
                        <a:pt x="22084" y="3031"/>
                      </a:lnTo>
                      <a:lnTo>
                        <a:pt x="22051" y="3071"/>
                      </a:lnTo>
                      <a:lnTo>
                        <a:pt x="21980" y="3121"/>
                      </a:lnTo>
                      <a:lnTo>
                        <a:pt x="21964" y="3158"/>
                      </a:lnTo>
                      <a:lnTo>
                        <a:pt x="21938" y="3175"/>
                      </a:lnTo>
                      <a:lnTo>
                        <a:pt x="21900" y="3215"/>
                      </a:lnTo>
                      <a:lnTo>
                        <a:pt x="21872" y="3225"/>
                      </a:lnTo>
                      <a:lnTo>
                        <a:pt x="21857" y="3248"/>
                      </a:lnTo>
                      <a:lnTo>
                        <a:pt x="21834" y="3248"/>
                      </a:lnTo>
                      <a:lnTo>
                        <a:pt x="21803" y="3293"/>
                      </a:lnTo>
                      <a:lnTo>
                        <a:pt x="21803" y="3303"/>
                      </a:lnTo>
                      <a:lnTo>
                        <a:pt x="21775" y="3336"/>
                      </a:lnTo>
                      <a:lnTo>
                        <a:pt x="21683" y="3397"/>
                      </a:lnTo>
                      <a:lnTo>
                        <a:pt x="21668" y="3421"/>
                      </a:lnTo>
                      <a:lnTo>
                        <a:pt x="21619" y="3437"/>
                      </a:lnTo>
                      <a:lnTo>
                        <a:pt x="21598" y="3458"/>
                      </a:lnTo>
                      <a:lnTo>
                        <a:pt x="21602" y="3475"/>
                      </a:lnTo>
                      <a:lnTo>
                        <a:pt x="21635" y="3491"/>
                      </a:lnTo>
                      <a:lnTo>
                        <a:pt x="21711" y="3487"/>
                      </a:lnTo>
                      <a:lnTo>
                        <a:pt x="21711" y="3491"/>
                      </a:lnTo>
                      <a:lnTo>
                        <a:pt x="21706" y="3508"/>
                      </a:lnTo>
                      <a:lnTo>
                        <a:pt x="21711" y="3532"/>
                      </a:lnTo>
                      <a:lnTo>
                        <a:pt x="21694" y="3558"/>
                      </a:lnTo>
                      <a:lnTo>
                        <a:pt x="21706" y="3569"/>
                      </a:lnTo>
                      <a:lnTo>
                        <a:pt x="21737" y="3565"/>
                      </a:lnTo>
                      <a:lnTo>
                        <a:pt x="21744" y="3548"/>
                      </a:lnTo>
                      <a:lnTo>
                        <a:pt x="21728" y="3532"/>
                      </a:lnTo>
                      <a:lnTo>
                        <a:pt x="21737" y="3532"/>
                      </a:lnTo>
                      <a:lnTo>
                        <a:pt x="21775" y="3515"/>
                      </a:lnTo>
                      <a:lnTo>
                        <a:pt x="21744" y="3541"/>
                      </a:lnTo>
                      <a:lnTo>
                        <a:pt x="21744" y="3548"/>
                      </a:lnTo>
                      <a:lnTo>
                        <a:pt x="21765" y="3558"/>
                      </a:lnTo>
                      <a:lnTo>
                        <a:pt x="21782" y="3558"/>
                      </a:lnTo>
                      <a:lnTo>
                        <a:pt x="21765" y="3565"/>
                      </a:lnTo>
                      <a:lnTo>
                        <a:pt x="21758" y="3581"/>
                      </a:lnTo>
                      <a:lnTo>
                        <a:pt x="21737" y="3586"/>
                      </a:lnTo>
                      <a:lnTo>
                        <a:pt x="21744" y="3598"/>
                      </a:lnTo>
                      <a:lnTo>
                        <a:pt x="21791" y="3598"/>
                      </a:lnTo>
                      <a:lnTo>
                        <a:pt x="21813" y="3581"/>
                      </a:lnTo>
                      <a:lnTo>
                        <a:pt x="21820" y="3565"/>
                      </a:lnTo>
                      <a:lnTo>
                        <a:pt x="21834" y="3548"/>
                      </a:lnTo>
                      <a:lnTo>
                        <a:pt x="21834" y="3569"/>
                      </a:lnTo>
                      <a:lnTo>
                        <a:pt x="21813" y="3598"/>
                      </a:lnTo>
                      <a:lnTo>
                        <a:pt x="21829" y="3598"/>
                      </a:lnTo>
                      <a:lnTo>
                        <a:pt x="21834" y="3581"/>
                      </a:lnTo>
                      <a:lnTo>
                        <a:pt x="21850" y="3548"/>
                      </a:lnTo>
                      <a:lnTo>
                        <a:pt x="21846" y="3525"/>
                      </a:lnTo>
                      <a:lnTo>
                        <a:pt x="21834" y="3525"/>
                      </a:lnTo>
                      <a:lnTo>
                        <a:pt x="21888" y="3532"/>
                      </a:lnTo>
                      <a:lnTo>
                        <a:pt x="21909" y="3515"/>
                      </a:lnTo>
                      <a:lnTo>
                        <a:pt x="21954" y="3548"/>
                      </a:lnTo>
                      <a:lnTo>
                        <a:pt x="21954" y="3565"/>
                      </a:lnTo>
                      <a:lnTo>
                        <a:pt x="21976" y="3586"/>
                      </a:lnTo>
                      <a:lnTo>
                        <a:pt x="22009" y="3598"/>
                      </a:lnTo>
                      <a:lnTo>
                        <a:pt x="21997" y="3603"/>
                      </a:lnTo>
                      <a:lnTo>
                        <a:pt x="22035" y="3619"/>
                      </a:lnTo>
                      <a:lnTo>
                        <a:pt x="22035" y="3636"/>
                      </a:lnTo>
                      <a:lnTo>
                        <a:pt x="22018" y="3643"/>
                      </a:lnTo>
                      <a:lnTo>
                        <a:pt x="22018" y="3652"/>
                      </a:lnTo>
                      <a:lnTo>
                        <a:pt x="21980" y="3636"/>
                      </a:lnTo>
                      <a:lnTo>
                        <a:pt x="22018" y="3669"/>
                      </a:lnTo>
                      <a:lnTo>
                        <a:pt x="22030" y="3680"/>
                      </a:lnTo>
                      <a:lnTo>
                        <a:pt x="22013" y="3709"/>
                      </a:lnTo>
                      <a:lnTo>
                        <a:pt x="22046" y="3725"/>
                      </a:lnTo>
                      <a:lnTo>
                        <a:pt x="22030" y="3747"/>
                      </a:lnTo>
                      <a:lnTo>
                        <a:pt x="22035" y="3751"/>
                      </a:lnTo>
                      <a:lnTo>
                        <a:pt x="21997" y="3780"/>
                      </a:lnTo>
                      <a:lnTo>
                        <a:pt x="21997" y="3791"/>
                      </a:lnTo>
                      <a:lnTo>
                        <a:pt x="21992" y="3803"/>
                      </a:lnTo>
                      <a:lnTo>
                        <a:pt x="21997" y="3803"/>
                      </a:lnTo>
                      <a:lnTo>
                        <a:pt x="21997" y="3808"/>
                      </a:lnTo>
                      <a:lnTo>
                        <a:pt x="21980" y="3808"/>
                      </a:lnTo>
                      <a:lnTo>
                        <a:pt x="21980" y="3846"/>
                      </a:lnTo>
                      <a:lnTo>
                        <a:pt x="21976" y="3858"/>
                      </a:lnTo>
                      <a:lnTo>
                        <a:pt x="21964" y="3862"/>
                      </a:lnTo>
                      <a:lnTo>
                        <a:pt x="21964" y="3919"/>
                      </a:lnTo>
                      <a:lnTo>
                        <a:pt x="21976" y="3931"/>
                      </a:lnTo>
                      <a:lnTo>
                        <a:pt x="21980" y="3931"/>
                      </a:lnTo>
                      <a:lnTo>
                        <a:pt x="21959" y="3947"/>
                      </a:lnTo>
                      <a:lnTo>
                        <a:pt x="21976" y="3973"/>
                      </a:lnTo>
                      <a:lnTo>
                        <a:pt x="21959" y="4006"/>
                      </a:lnTo>
                      <a:lnTo>
                        <a:pt x="21959" y="4030"/>
                      </a:lnTo>
                      <a:lnTo>
                        <a:pt x="21954" y="4047"/>
                      </a:lnTo>
                      <a:lnTo>
                        <a:pt x="21942" y="4080"/>
                      </a:lnTo>
                      <a:lnTo>
                        <a:pt x="21883" y="4141"/>
                      </a:lnTo>
                      <a:lnTo>
                        <a:pt x="21867" y="4174"/>
                      </a:lnTo>
                      <a:lnTo>
                        <a:pt x="21834" y="4207"/>
                      </a:lnTo>
                      <a:lnTo>
                        <a:pt x="21820" y="4252"/>
                      </a:lnTo>
                      <a:lnTo>
                        <a:pt x="21796" y="4285"/>
                      </a:lnTo>
                      <a:lnTo>
                        <a:pt x="21683" y="4413"/>
                      </a:lnTo>
                      <a:lnTo>
                        <a:pt x="21668" y="4434"/>
                      </a:lnTo>
                      <a:lnTo>
                        <a:pt x="21640" y="4451"/>
                      </a:lnTo>
                      <a:lnTo>
                        <a:pt x="21631" y="4474"/>
                      </a:lnTo>
                      <a:lnTo>
                        <a:pt x="21614" y="4484"/>
                      </a:lnTo>
                      <a:lnTo>
                        <a:pt x="21619" y="4491"/>
                      </a:lnTo>
                      <a:lnTo>
                        <a:pt x="21619" y="4500"/>
                      </a:lnTo>
                      <a:lnTo>
                        <a:pt x="21586" y="4524"/>
                      </a:lnTo>
                      <a:lnTo>
                        <a:pt x="21527" y="4562"/>
                      </a:lnTo>
                      <a:lnTo>
                        <a:pt x="21505" y="4578"/>
                      </a:lnTo>
                      <a:lnTo>
                        <a:pt x="21456" y="4595"/>
                      </a:lnTo>
                      <a:lnTo>
                        <a:pt x="21442" y="4595"/>
                      </a:lnTo>
                      <a:lnTo>
                        <a:pt x="21442" y="4583"/>
                      </a:lnTo>
                      <a:lnTo>
                        <a:pt x="21435" y="4595"/>
                      </a:lnTo>
                      <a:lnTo>
                        <a:pt x="21425" y="4578"/>
                      </a:lnTo>
                      <a:lnTo>
                        <a:pt x="21413" y="4583"/>
                      </a:lnTo>
                      <a:lnTo>
                        <a:pt x="21404" y="4578"/>
                      </a:lnTo>
                      <a:lnTo>
                        <a:pt x="21397" y="4583"/>
                      </a:lnTo>
                      <a:lnTo>
                        <a:pt x="21397" y="4545"/>
                      </a:lnTo>
                      <a:lnTo>
                        <a:pt x="21371" y="4562"/>
                      </a:lnTo>
                      <a:lnTo>
                        <a:pt x="21366" y="4562"/>
                      </a:lnTo>
                      <a:lnTo>
                        <a:pt x="21380" y="4540"/>
                      </a:lnTo>
                      <a:lnTo>
                        <a:pt x="21359" y="4540"/>
                      </a:lnTo>
                      <a:lnTo>
                        <a:pt x="21333" y="4578"/>
                      </a:lnTo>
                      <a:lnTo>
                        <a:pt x="21317" y="4583"/>
                      </a:lnTo>
                      <a:lnTo>
                        <a:pt x="21317" y="4611"/>
                      </a:lnTo>
                      <a:lnTo>
                        <a:pt x="21312" y="4602"/>
                      </a:lnTo>
                      <a:lnTo>
                        <a:pt x="21279" y="4595"/>
                      </a:lnTo>
                      <a:lnTo>
                        <a:pt x="21295" y="4611"/>
                      </a:lnTo>
                      <a:lnTo>
                        <a:pt x="21279" y="4635"/>
                      </a:lnTo>
                      <a:lnTo>
                        <a:pt x="21274" y="4618"/>
                      </a:lnTo>
                      <a:lnTo>
                        <a:pt x="21274" y="4602"/>
                      </a:lnTo>
                      <a:lnTo>
                        <a:pt x="21262" y="4595"/>
                      </a:lnTo>
                      <a:lnTo>
                        <a:pt x="21312" y="4578"/>
                      </a:lnTo>
                      <a:lnTo>
                        <a:pt x="21312" y="4562"/>
                      </a:lnTo>
                      <a:lnTo>
                        <a:pt x="21328" y="4540"/>
                      </a:lnTo>
                      <a:lnTo>
                        <a:pt x="21317" y="4524"/>
                      </a:lnTo>
                      <a:lnTo>
                        <a:pt x="21328" y="4474"/>
                      </a:lnTo>
                      <a:lnTo>
                        <a:pt x="21312" y="4417"/>
                      </a:lnTo>
                      <a:lnTo>
                        <a:pt x="21295" y="4401"/>
                      </a:lnTo>
                      <a:lnTo>
                        <a:pt x="21333" y="4396"/>
                      </a:lnTo>
                      <a:lnTo>
                        <a:pt x="21366" y="4363"/>
                      </a:lnTo>
                      <a:lnTo>
                        <a:pt x="21371" y="4373"/>
                      </a:lnTo>
                      <a:lnTo>
                        <a:pt x="21435" y="4389"/>
                      </a:lnTo>
                      <a:lnTo>
                        <a:pt x="21451" y="4380"/>
                      </a:lnTo>
                      <a:lnTo>
                        <a:pt x="21451" y="4356"/>
                      </a:lnTo>
                      <a:lnTo>
                        <a:pt x="21472" y="4340"/>
                      </a:lnTo>
                      <a:lnTo>
                        <a:pt x="21472" y="4318"/>
                      </a:lnTo>
                      <a:lnTo>
                        <a:pt x="21505" y="4278"/>
                      </a:lnTo>
                      <a:lnTo>
                        <a:pt x="21510" y="4269"/>
                      </a:lnTo>
                      <a:lnTo>
                        <a:pt x="21505" y="4262"/>
                      </a:lnTo>
                      <a:lnTo>
                        <a:pt x="21510" y="4245"/>
                      </a:lnTo>
                      <a:lnTo>
                        <a:pt x="21522" y="4207"/>
                      </a:lnTo>
                      <a:lnTo>
                        <a:pt x="21527" y="4207"/>
                      </a:lnTo>
                      <a:lnTo>
                        <a:pt x="21527" y="4179"/>
                      </a:lnTo>
                      <a:lnTo>
                        <a:pt x="21548" y="4167"/>
                      </a:lnTo>
                      <a:lnTo>
                        <a:pt x="21565" y="4151"/>
                      </a:lnTo>
                      <a:lnTo>
                        <a:pt x="21548" y="4117"/>
                      </a:lnTo>
                      <a:lnTo>
                        <a:pt x="21565" y="4096"/>
                      </a:lnTo>
                      <a:lnTo>
                        <a:pt x="21543" y="4084"/>
                      </a:lnTo>
                      <a:lnTo>
                        <a:pt x="21494" y="4096"/>
                      </a:lnTo>
                      <a:lnTo>
                        <a:pt x="21479" y="4117"/>
                      </a:lnTo>
                      <a:lnTo>
                        <a:pt x="21451" y="4113"/>
                      </a:lnTo>
                      <a:lnTo>
                        <a:pt x="21418" y="4134"/>
                      </a:lnTo>
                      <a:lnTo>
                        <a:pt x="21413" y="4151"/>
                      </a:lnTo>
                      <a:lnTo>
                        <a:pt x="21305" y="4151"/>
                      </a:lnTo>
                      <a:lnTo>
                        <a:pt x="21295" y="4125"/>
                      </a:lnTo>
                      <a:lnTo>
                        <a:pt x="21279" y="4113"/>
                      </a:lnTo>
                      <a:lnTo>
                        <a:pt x="21291" y="4096"/>
                      </a:lnTo>
                      <a:lnTo>
                        <a:pt x="21274" y="4063"/>
                      </a:lnTo>
                      <a:lnTo>
                        <a:pt x="21279" y="4040"/>
                      </a:lnTo>
                      <a:lnTo>
                        <a:pt x="21253" y="4040"/>
                      </a:lnTo>
                      <a:lnTo>
                        <a:pt x="21224" y="4023"/>
                      </a:lnTo>
                      <a:lnTo>
                        <a:pt x="21208" y="4006"/>
                      </a:lnTo>
                      <a:lnTo>
                        <a:pt x="21203" y="4002"/>
                      </a:lnTo>
                      <a:lnTo>
                        <a:pt x="21198" y="3990"/>
                      </a:lnTo>
                      <a:lnTo>
                        <a:pt x="21170" y="4002"/>
                      </a:lnTo>
                      <a:lnTo>
                        <a:pt x="21149" y="3973"/>
                      </a:lnTo>
                      <a:lnTo>
                        <a:pt x="21078" y="3973"/>
                      </a:lnTo>
                      <a:lnTo>
                        <a:pt x="21057" y="3952"/>
                      </a:lnTo>
                      <a:lnTo>
                        <a:pt x="21057" y="3931"/>
                      </a:lnTo>
                      <a:lnTo>
                        <a:pt x="21064" y="3914"/>
                      </a:lnTo>
                      <a:lnTo>
                        <a:pt x="21047" y="3903"/>
                      </a:lnTo>
                      <a:lnTo>
                        <a:pt x="21040" y="3891"/>
                      </a:lnTo>
                      <a:lnTo>
                        <a:pt x="21047" y="3879"/>
                      </a:lnTo>
                      <a:lnTo>
                        <a:pt x="21040" y="3862"/>
                      </a:lnTo>
                      <a:lnTo>
                        <a:pt x="21019" y="3836"/>
                      </a:lnTo>
                      <a:lnTo>
                        <a:pt x="21019" y="3808"/>
                      </a:lnTo>
                      <a:lnTo>
                        <a:pt x="21009" y="3820"/>
                      </a:lnTo>
                      <a:lnTo>
                        <a:pt x="21019" y="3803"/>
                      </a:lnTo>
                      <a:lnTo>
                        <a:pt x="21009" y="3803"/>
                      </a:lnTo>
                      <a:lnTo>
                        <a:pt x="21002" y="3768"/>
                      </a:lnTo>
                      <a:lnTo>
                        <a:pt x="20981" y="3747"/>
                      </a:lnTo>
                      <a:lnTo>
                        <a:pt x="20993" y="3730"/>
                      </a:lnTo>
                      <a:lnTo>
                        <a:pt x="20972" y="3730"/>
                      </a:lnTo>
                      <a:lnTo>
                        <a:pt x="20981" y="3709"/>
                      </a:lnTo>
                      <a:lnTo>
                        <a:pt x="20965" y="3692"/>
                      </a:lnTo>
                      <a:lnTo>
                        <a:pt x="20950" y="3692"/>
                      </a:lnTo>
                      <a:lnTo>
                        <a:pt x="20955" y="3676"/>
                      </a:lnTo>
                      <a:lnTo>
                        <a:pt x="20927" y="3659"/>
                      </a:lnTo>
                      <a:lnTo>
                        <a:pt x="20934" y="3652"/>
                      </a:lnTo>
                      <a:lnTo>
                        <a:pt x="20927" y="3643"/>
                      </a:lnTo>
                      <a:lnTo>
                        <a:pt x="20896" y="3624"/>
                      </a:lnTo>
                      <a:lnTo>
                        <a:pt x="20875" y="3636"/>
                      </a:lnTo>
                      <a:lnTo>
                        <a:pt x="20846" y="3624"/>
                      </a:lnTo>
                      <a:lnTo>
                        <a:pt x="20830" y="3614"/>
                      </a:lnTo>
                      <a:lnTo>
                        <a:pt x="20820" y="3614"/>
                      </a:lnTo>
                      <a:lnTo>
                        <a:pt x="20787" y="3598"/>
                      </a:lnTo>
                      <a:lnTo>
                        <a:pt x="20587" y="3619"/>
                      </a:lnTo>
                      <a:lnTo>
                        <a:pt x="20535" y="3669"/>
                      </a:lnTo>
                      <a:lnTo>
                        <a:pt x="20539" y="3692"/>
                      </a:lnTo>
                      <a:lnTo>
                        <a:pt x="20561" y="3680"/>
                      </a:lnTo>
                      <a:lnTo>
                        <a:pt x="20577" y="3692"/>
                      </a:lnTo>
                      <a:lnTo>
                        <a:pt x="20577" y="3714"/>
                      </a:lnTo>
                      <a:lnTo>
                        <a:pt x="20587" y="3730"/>
                      </a:lnTo>
                      <a:lnTo>
                        <a:pt x="20577" y="3751"/>
                      </a:lnTo>
                      <a:lnTo>
                        <a:pt x="20539" y="3780"/>
                      </a:lnTo>
                      <a:lnTo>
                        <a:pt x="20518" y="3836"/>
                      </a:lnTo>
                      <a:lnTo>
                        <a:pt x="20502" y="3846"/>
                      </a:lnTo>
                      <a:lnTo>
                        <a:pt x="20497" y="3862"/>
                      </a:lnTo>
                      <a:lnTo>
                        <a:pt x="20468" y="3895"/>
                      </a:lnTo>
                      <a:lnTo>
                        <a:pt x="20485" y="3903"/>
                      </a:lnTo>
                      <a:lnTo>
                        <a:pt x="20485" y="3931"/>
                      </a:lnTo>
                      <a:lnTo>
                        <a:pt x="20468" y="3936"/>
                      </a:lnTo>
                      <a:lnTo>
                        <a:pt x="20431" y="3947"/>
                      </a:lnTo>
                      <a:lnTo>
                        <a:pt x="20388" y="3985"/>
                      </a:lnTo>
                      <a:lnTo>
                        <a:pt x="20301" y="3952"/>
                      </a:lnTo>
                      <a:lnTo>
                        <a:pt x="20291" y="3947"/>
                      </a:lnTo>
                      <a:lnTo>
                        <a:pt x="20270" y="3936"/>
                      </a:lnTo>
                      <a:lnTo>
                        <a:pt x="20232" y="3947"/>
                      </a:lnTo>
                      <a:lnTo>
                        <a:pt x="20209" y="3947"/>
                      </a:lnTo>
                      <a:lnTo>
                        <a:pt x="20171" y="3914"/>
                      </a:lnTo>
                      <a:lnTo>
                        <a:pt x="20128" y="3903"/>
                      </a:lnTo>
                      <a:lnTo>
                        <a:pt x="20053" y="3952"/>
                      </a:lnTo>
                      <a:lnTo>
                        <a:pt x="20048" y="3973"/>
                      </a:lnTo>
                      <a:lnTo>
                        <a:pt x="19923" y="4002"/>
                      </a:lnTo>
                      <a:lnTo>
                        <a:pt x="19885" y="4014"/>
                      </a:lnTo>
                      <a:lnTo>
                        <a:pt x="19800" y="4006"/>
                      </a:lnTo>
                      <a:lnTo>
                        <a:pt x="19779" y="3990"/>
                      </a:lnTo>
                      <a:lnTo>
                        <a:pt x="19729" y="4002"/>
                      </a:lnTo>
                      <a:lnTo>
                        <a:pt x="19687" y="3969"/>
                      </a:lnTo>
                      <a:lnTo>
                        <a:pt x="19691" y="3947"/>
                      </a:lnTo>
                      <a:lnTo>
                        <a:pt x="19628" y="3936"/>
                      </a:lnTo>
                      <a:lnTo>
                        <a:pt x="19620" y="3919"/>
                      </a:lnTo>
                      <a:lnTo>
                        <a:pt x="19599" y="3903"/>
                      </a:lnTo>
                      <a:lnTo>
                        <a:pt x="19566" y="3903"/>
                      </a:lnTo>
                      <a:lnTo>
                        <a:pt x="19552" y="3895"/>
                      </a:lnTo>
                      <a:lnTo>
                        <a:pt x="19507" y="3891"/>
                      </a:lnTo>
                      <a:lnTo>
                        <a:pt x="19439" y="3903"/>
                      </a:lnTo>
                      <a:lnTo>
                        <a:pt x="19410" y="3919"/>
                      </a:lnTo>
                      <a:lnTo>
                        <a:pt x="19401" y="3919"/>
                      </a:lnTo>
                      <a:lnTo>
                        <a:pt x="19389" y="3919"/>
                      </a:lnTo>
                      <a:lnTo>
                        <a:pt x="19356" y="3919"/>
                      </a:lnTo>
                      <a:lnTo>
                        <a:pt x="19351" y="3903"/>
                      </a:lnTo>
                      <a:lnTo>
                        <a:pt x="19335" y="3903"/>
                      </a:lnTo>
                      <a:lnTo>
                        <a:pt x="19292" y="3879"/>
                      </a:lnTo>
                      <a:lnTo>
                        <a:pt x="19297" y="3862"/>
                      </a:lnTo>
                      <a:lnTo>
                        <a:pt x="19280" y="3858"/>
                      </a:lnTo>
                      <a:lnTo>
                        <a:pt x="19292" y="3841"/>
                      </a:lnTo>
                      <a:lnTo>
                        <a:pt x="19280" y="3825"/>
                      </a:lnTo>
                      <a:lnTo>
                        <a:pt x="19280" y="3808"/>
                      </a:lnTo>
                      <a:lnTo>
                        <a:pt x="19243" y="3791"/>
                      </a:lnTo>
                      <a:lnTo>
                        <a:pt x="19226" y="3803"/>
                      </a:lnTo>
                      <a:lnTo>
                        <a:pt x="19167" y="3768"/>
                      </a:lnTo>
                      <a:lnTo>
                        <a:pt x="19129" y="3768"/>
                      </a:lnTo>
                      <a:lnTo>
                        <a:pt x="19049" y="3730"/>
                      </a:lnTo>
                      <a:lnTo>
                        <a:pt x="19032" y="3763"/>
                      </a:lnTo>
                      <a:lnTo>
                        <a:pt x="19011" y="3768"/>
                      </a:lnTo>
                      <a:lnTo>
                        <a:pt x="19006" y="3791"/>
                      </a:lnTo>
                      <a:lnTo>
                        <a:pt x="18990" y="3791"/>
                      </a:lnTo>
                      <a:lnTo>
                        <a:pt x="18973" y="3841"/>
                      </a:lnTo>
                      <a:lnTo>
                        <a:pt x="18990" y="3858"/>
                      </a:lnTo>
                      <a:lnTo>
                        <a:pt x="18990" y="3862"/>
                      </a:lnTo>
                      <a:lnTo>
                        <a:pt x="18990" y="3874"/>
                      </a:lnTo>
                      <a:lnTo>
                        <a:pt x="19011" y="3891"/>
                      </a:lnTo>
                      <a:lnTo>
                        <a:pt x="19011" y="3903"/>
                      </a:lnTo>
                      <a:lnTo>
                        <a:pt x="18994" y="3931"/>
                      </a:lnTo>
                      <a:lnTo>
                        <a:pt x="18969" y="3936"/>
                      </a:lnTo>
                      <a:lnTo>
                        <a:pt x="18940" y="3957"/>
                      </a:lnTo>
                      <a:lnTo>
                        <a:pt x="18919" y="3947"/>
                      </a:lnTo>
                      <a:lnTo>
                        <a:pt x="18886" y="3952"/>
                      </a:lnTo>
                      <a:lnTo>
                        <a:pt x="18848" y="3936"/>
                      </a:lnTo>
                      <a:lnTo>
                        <a:pt x="18843" y="3947"/>
                      </a:lnTo>
                      <a:lnTo>
                        <a:pt x="18834" y="3936"/>
                      </a:lnTo>
                      <a:lnTo>
                        <a:pt x="18810" y="3947"/>
                      </a:lnTo>
                      <a:lnTo>
                        <a:pt x="18780" y="3936"/>
                      </a:lnTo>
                      <a:lnTo>
                        <a:pt x="18772" y="3931"/>
                      </a:lnTo>
                      <a:lnTo>
                        <a:pt x="18751" y="3936"/>
                      </a:lnTo>
                      <a:lnTo>
                        <a:pt x="18735" y="3914"/>
                      </a:lnTo>
                      <a:lnTo>
                        <a:pt x="18725" y="3879"/>
                      </a:lnTo>
                      <a:lnTo>
                        <a:pt x="18645" y="3879"/>
                      </a:lnTo>
                      <a:lnTo>
                        <a:pt x="18633" y="3874"/>
                      </a:lnTo>
                      <a:lnTo>
                        <a:pt x="18633" y="3858"/>
                      </a:lnTo>
                      <a:lnTo>
                        <a:pt x="18628" y="3858"/>
                      </a:lnTo>
                      <a:lnTo>
                        <a:pt x="18612" y="3874"/>
                      </a:lnTo>
                      <a:lnTo>
                        <a:pt x="18591" y="3858"/>
                      </a:lnTo>
                      <a:lnTo>
                        <a:pt x="18579" y="3862"/>
                      </a:lnTo>
                      <a:lnTo>
                        <a:pt x="18546" y="3874"/>
                      </a:lnTo>
                      <a:lnTo>
                        <a:pt x="18524" y="3891"/>
                      </a:lnTo>
                      <a:lnTo>
                        <a:pt x="18494" y="3895"/>
                      </a:lnTo>
                      <a:lnTo>
                        <a:pt x="18482" y="3914"/>
                      </a:lnTo>
                      <a:lnTo>
                        <a:pt x="18432" y="3931"/>
                      </a:lnTo>
                      <a:lnTo>
                        <a:pt x="18428" y="3936"/>
                      </a:lnTo>
                      <a:lnTo>
                        <a:pt x="18402" y="3947"/>
                      </a:lnTo>
                      <a:lnTo>
                        <a:pt x="18411" y="3957"/>
                      </a:lnTo>
                      <a:lnTo>
                        <a:pt x="18380" y="3973"/>
                      </a:lnTo>
                      <a:lnTo>
                        <a:pt x="18373" y="3969"/>
                      </a:lnTo>
                      <a:lnTo>
                        <a:pt x="18373" y="3985"/>
                      </a:lnTo>
                      <a:lnTo>
                        <a:pt x="18357" y="3985"/>
                      </a:lnTo>
                      <a:lnTo>
                        <a:pt x="18347" y="3973"/>
                      </a:lnTo>
                      <a:lnTo>
                        <a:pt x="18347" y="3990"/>
                      </a:lnTo>
                      <a:lnTo>
                        <a:pt x="18305" y="3985"/>
                      </a:lnTo>
                      <a:lnTo>
                        <a:pt x="18293" y="3990"/>
                      </a:lnTo>
                      <a:lnTo>
                        <a:pt x="18293" y="4006"/>
                      </a:lnTo>
                      <a:lnTo>
                        <a:pt x="18276" y="4014"/>
                      </a:lnTo>
                      <a:lnTo>
                        <a:pt x="18239" y="4023"/>
                      </a:lnTo>
                      <a:lnTo>
                        <a:pt x="18239" y="4006"/>
                      </a:lnTo>
                      <a:lnTo>
                        <a:pt x="18213" y="4002"/>
                      </a:lnTo>
                      <a:lnTo>
                        <a:pt x="18213" y="3985"/>
                      </a:lnTo>
                      <a:lnTo>
                        <a:pt x="18184" y="3973"/>
                      </a:lnTo>
                      <a:lnTo>
                        <a:pt x="18201" y="3957"/>
                      </a:lnTo>
                      <a:lnTo>
                        <a:pt x="18201" y="3952"/>
                      </a:lnTo>
                      <a:lnTo>
                        <a:pt x="18184" y="3952"/>
                      </a:lnTo>
                      <a:lnTo>
                        <a:pt x="18163" y="3985"/>
                      </a:lnTo>
                      <a:lnTo>
                        <a:pt x="18125" y="3973"/>
                      </a:lnTo>
                      <a:lnTo>
                        <a:pt x="18092" y="3973"/>
                      </a:lnTo>
                      <a:lnTo>
                        <a:pt x="18087" y="3947"/>
                      </a:lnTo>
                      <a:lnTo>
                        <a:pt x="18078" y="3947"/>
                      </a:lnTo>
                      <a:lnTo>
                        <a:pt x="18078" y="3936"/>
                      </a:lnTo>
                      <a:lnTo>
                        <a:pt x="18078" y="3931"/>
                      </a:lnTo>
                      <a:lnTo>
                        <a:pt x="18033" y="3914"/>
                      </a:lnTo>
                      <a:lnTo>
                        <a:pt x="18002" y="3858"/>
                      </a:lnTo>
                      <a:lnTo>
                        <a:pt x="17969" y="3841"/>
                      </a:lnTo>
                      <a:lnTo>
                        <a:pt x="17915" y="3846"/>
                      </a:lnTo>
                      <a:lnTo>
                        <a:pt x="17915" y="3858"/>
                      </a:lnTo>
                      <a:lnTo>
                        <a:pt x="17898" y="3862"/>
                      </a:lnTo>
                      <a:lnTo>
                        <a:pt x="17835" y="3862"/>
                      </a:lnTo>
                      <a:lnTo>
                        <a:pt x="17823" y="3841"/>
                      </a:lnTo>
                      <a:lnTo>
                        <a:pt x="17802" y="3846"/>
                      </a:lnTo>
                      <a:lnTo>
                        <a:pt x="17806" y="3825"/>
                      </a:lnTo>
                      <a:lnTo>
                        <a:pt x="17780" y="3808"/>
                      </a:lnTo>
                      <a:lnTo>
                        <a:pt x="17769" y="3820"/>
                      </a:lnTo>
                      <a:lnTo>
                        <a:pt x="17752" y="3825"/>
                      </a:lnTo>
                      <a:lnTo>
                        <a:pt x="17764" y="3841"/>
                      </a:lnTo>
                      <a:lnTo>
                        <a:pt x="17731" y="3858"/>
                      </a:lnTo>
                      <a:lnTo>
                        <a:pt x="17731" y="3862"/>
                      </a:lnTo>
                      <a:lnTo>
                        <a:pt x="17575" y="3619"/>
                      </a:lnTo>
                      <a:lnTo>
                        <a:pt x="17483" y="3548"/>
                      </a:lnTo>
                      <a:lnTo>
                        <a:pt x="17478" y="3532"/>
                      </a:lnTo>
                      <a:lnTo>
                        <a:pt x="17495" y="3532"/>
                      </a:lnTo>
                      <a:lnTo>
                        <a:pt x="17511" y="3525"/>
                      </a:lnTo>
                      <a:lnTo>
                        <a:pt x="17499" y="3508"/>
                      </a:lnTo>
                      <a:lnTo>
                        <a:pt x="17478" y="3515"/>
                      </a:lnTo>
                      <a:lnTo>
                        <a:pt x="17461" y="3515"/>
                      </a:lnTo>
                      <a:lnTo>
                        <a:pt x="17461" y="3525"/>
                      </a:lnTo>
                      <a:lnTo>
                        <a:pt x="17407" y="3541"/>
                      </a:lnTo>
                      <a:lnTo>
                        <a:pt x="17402" y="3541"/>
                      </a:lnTo>
                      <a:lnTo>
                        <a:pt x="17407" y="3548"/>
                      </a:lnTo>
                      <a:lnTo>
                        <a:pt x="17374" y="3569"/>
                      </a:lnTo>
                      <a:lnTo>
                        <a:pt x="17360" y="3565"/>
                      </a:lnTo>
                      <a:lnTo>
                        <a:pt x="17353" y="3581"/>
                      </a:lnTo>
                      <a:lnTo>
                        <a:pt x="17336" y="3581"/>
                      </a:lnTo>
                      <a:lnTo>
                        <a:pt x="17336" y="3603"/>
                      </a:lnTo>
                      <a:lnTo>
                        <a:pt x="17322" y="3586"/>
                      </a:lnTo>
                      <a:lnTo>
                        <a:pt x="17298" y="3586"/>
                      </a:lnTo>
                      <a:lnTo>
                        <a:pt x="17284" y="3586"/>
                      </a:lnTo>
                      <a:lnTo>
                        <a:pt x="17268" y="3603"/>
                      </a:lnTo>
                      <a:lnTo>
                        <a:pt x="17251" y="3586"/>
                      </a:lnTo>
                      <a:lnTo>
                        <a:pt x="17268" y="3565"/>
                      </a:lnTo>
                      <a:lnTo>
                        <a:pt x="17284" y="3565"/>
                      </a:lnTo>
                      <a:lnTo>
                        <a:pt x="17294" y="3541"/>
                      </a:lnTo>
                      <a:lnTo>
                        <a:pt x="17251" y="3558"/>
                      </a:lnTo>
                      <a:lnTo>
                        <a:pt x="17239" y="3548"/>
                      </a:lnTo>
                      <a:lnTo>
                        <a:pt x="17230" y="3541"/>
                      </a:lnTo>
                      <a:lnTo>
                        <a:pt x="17209" y="3532"/>
                      </a:lnTo>
                      <a:lnTo>
                        <a:pt x="17197" y="3548"/>
                      </a:lnTo>
                      <a:lnTo>
                        <a:pt x="17213" y="3541"/>
                      </a:lnTo>
                      <a:lnTo>
                        <a:pt x="17213" y="3558"/>
                      </a:lnTo>
                      <a:lnTo>
                        <a:pt x="17197" y="3558"/>
                      </a:lnTo>
                      <a:lnTo>
                        <a:pt x="17192" y="3558"/>
                      </a:lnTo>
                      <a:lnTo>
                        <a:pt x="17197" y="3532"/>
                      </a:lnTo>
                      <a:lnTo>
                        <a:pt x="17185" y="3532"/>
                      </a:lnTo>
                      <a:lnTo>
                        <a:pt x="17192" y="3525"/>
                      </a:lnTo>
                      <a:lnTo>
                        <a:pt x="17176" y="3515"/>
                      </a:lnTo>
                      <a:lnTo>
                        <a:pt x="17171" y="3508"/>
                      </a:lnTo>
                      <a:lnTo>
                        <a:pt x="17176" y="3541"/>
                      </a:lnTo>
                      <a:lnTo>
                        <a:pt x="17143" y="3525"/>
                      </a:lnTo>
                      <a:lnTo>
                        <a:pt x="17138" y="3541"/>
                      </a:lnTo>
                      <a:lnTo>
                        <a:pt x="17121" y="3532"/>
                      </a:lnTo>
                      <a:lnTo>
                        <a:pt x="17105" y="3541"/>
                      </a:lnTo>
                      <a:lnTo>
                        <a:pt x="17088" y="3515"/>
                      </a:lnTo>
                      <a:lnTo>
                        <a:pt x="17105" y="3515"/>
                      </a:lnTo>
                      <a:lnTo>
                        <a:pt x="17105" y="3491"/>
                      </a:lnTo>
                      <a:lnTo>
                        <a:pt x="17117" y="3487"/>
                      </a:lnTo>
                      <a:lnTo>
                        <a:pt x="17100" y="3470"/>
                      </a:lnTo>
                      <a:lnTo>
                        <a:pt x="17088" y="3447"/>
                      </a:lnTo>
                      <a:lnTo>
                        <a:pt x="17083" y="3421"/>
                      </a:lnTo>
                      <a:lnTo>
                        <a:pt x="17062" y="3421"/>
                      </a:lnTo>
                      <a:lnTo>
                        <a:pt x="17046" y="3437"/>
                      </a:lnTo>
                      <a:lnTo>
                        <a:pt x="16996" y="3414"/>
                      </a:lnTo>
                      <a:lnTo>
                        <a:pt x="16975" y="3414"/>
                      </a:lnTo>
                      <a:lnTo>
                        <a:pt x="16970" y="3421"/>
                      </a:lnTo>
                      <a:lnTo>
                        <a:pt x="16954" y="3404"/>
                      </a:lnTo>
                      <a:lnTo>
                        <a:pt x="16954" y="3421"/>
                      </a:lnTo>
                      <a:lnTo>
                        <a:pt x="16937" y="3414"/>
                      </a:lnTo>
                      <a:lnTo>
                        <a:pt x="16928" y="3430"/>
                      </a:lnTo>
                      <a:lnTo>
                        <a:pt x="16899" y="3430"/>
                      </a:lnTo>
                      <a:lnTo>
                        <a:pt x="16906" y="3447"/>
                      </a:lnTo>
                      <a:lnTo>
                        <a:pt x="16899" y="3454"/>
                      </a:lnTo>
                      <a:lnTo>
                        <a:pt x="16883" y="3454"/>
                      </a:lnTo>
                      <a:lnTo>
                        <a:pt x="16852" y="3470"/>
                      </a:lnTo>
                      <a:lnTo>
                        <a:pt x="16743" y="3491"/>
                      </a:lnTo>
                      <a:lnTo>
                        <a:pt x="16743" y="3475"/>
                      </a:lnTo>
                      <a:lnTo>
                        <a:pt x="16727" y="3491"/>
                      </a:lnTo>
                      <a:lnTo>
                        <a:pt x="16706" y="3487"/>
                      </a:lnTo>
                      <a:lnTo>
                        <a:pt x="16689" y="3503"/>
                      </a:lnTo>
                      <a:lnTo>
                        <a:pt x="16689" y="3515"/>
                      </a:lnTo>
                      <a:lnTo>
                        <a:pt x="16668" y="3508"/>
                      </a:lnTo>
                      <a:lnTo>
                        <a:pt x="16604" y="3515"/>
                      </a:lnTo>
                      <a:lnTo>
                        <a:pt x="16604" y="3525"/>
                      </a:lnTo>
                      <a:lnTo>
                        <a:pt x="16597" y="3532"/>
                      </a:lnTo>
                      <a:lnTo>
                        <a:pt x="16580" y="3525"/>
                      </a:lnTo>
                      <a:lnTo>
                        <a:pt x="16543" y="3532"/>
                      </a:lnTo>
                      <a:lnTo>
                        <a:pt x="16543" y="3541"/>
                      </a:lnTo>
                      <a:lnTo>
                        <a:pt x="16505" y="3548"/>
                      </a:lnTo>
                      <a:lnTo>
                        <a:pt x="16505" y="3565"/>
                      </a:lnTo>
                      <a:lnTo>
                        <a:pt x="16491" y="3548"/>
                      </a:lnTo>
                      <a:lnTo>
                        <a:pt x="16467" y="3548"/>
                      </a:lnTo>
                      <a:lnTo>
                        <a:pt x="16467" y="3558"/>
                      </a:lnTo>
                      <a:lnTo>
                        <a:pt x="16420" y="3541"/>
                      </a:lnTo>
                      <a:lnTo>
                        <a:pt x="16398" y="3558"/>
                      </a:lnTo>
                      <a:lnTo>
                        <a:pt x="16398" y="3565"/>
                      </a:lnTo>
                      <a:lnTo>
                        <a:pt x="16415" y="3569"/>
                      </a:lnTo>
                      <a:lnTo>
                        <a:pt x="16398" y="3586"/>
                      </a:lnTo>
                      <a:lnTo>
                        <a:pt x="16387" y="3586"/>
                      </a:lnTo>
                      <a:lnTo>
                        <a:pt x="16424" y="3586"/>
                      </a:lnTo>
                      <a:lnTo>
                        <a:pt x="16436" y="3598"/>
                      </a:lnTo>
                      <a:lnTo>
                        <a:pt x="16420" y="3603"/>
                      </a:lnTo>
                      <a:lnTo>
                        <a:pt x="16415" y="3598"/>
                      </a:lnTo>
                      <a:lnTo>
                        <a:pt x="16403" y="3619"/>
                      </a:lnTo>
                      <a:lnTo>
                        <a:pt x="16474" y="3636"/>
                      </a:lnTo>
                      <a:lnTo>
                        <a:pt x="16474" y="3652"/>
                      </a:lnTo>
                      <a:lnTo>
                        <a:pt x="16458" y="3652"/>
                      </a:lnTo>
                      <a:lnTo>
                        <a:pt x="16424" y="3643"/>
                      </a:lnTo>
                      <a:lnTo>
                        <a:pt x="16398" y="3652"/>
                      </a:lnTo>
                      <a:lnTo>
                        <a:pt x="16370" y="3680"/>
                      </a:lnTo>
                      <a:lnTo>
                        <a:pt x="16382" y="3680"/>
                      </a:lnTo>
                      <a:lnTo>
                        <a:pt x="16382" y="3692"/>
                      </a:lnTo>
                      <a:lnTo>
                        <a:pt x="16387" y="3697"/>
                      </a:lnTo>
                      <a:lnTo>
                        <a:pt x="16398" y="3714"/>
                      </a:lnTo>
                      <a:lnTo>
                        <a:pt x="16370" y="3730"/>
                      </a:lnTo>
                      <a:lnTo>
                        <a:pt x="16361" y="3730"/>
                      </a:lnTo>
                      <a:lnTo>
                        <a:pt x="16316" y="3747"/>
                      </a:lnTo>
                      <a:lnTo>
                        <a:pt x="16328" y="3751"/>
                      </a:lnTo>
                      <a:lnTo>
                        <a:pt x="16361" y="3763"/>
                      </a:lnTo>
                      <a:lnTo>
                        <a:pt x="16349" y="3780"/>
                      </a:lnTo>
                      <a:lnTo>
                        <a:pt x="16387" y="3787"/>
                      </a:lnTo>
                      <a:lnTo>
                        <a:pt x="16387" y="3791"/>
                      </a:lnTo>
                      <a:lnTo>
                        <a:pt x="16424" y="3803"/>
                      </a:lnTo>
                      <a:lnTo>
                        <a:pt x="16441" y="3820"/>
                      </a:lnTo>
                      <a:lnTo>
                        <a:pt x="16436" y="3820"/>
                      </a:lnTo>
                      <a:lnTo>
                        <a:pt x="16420" y="3862"/>
                      </a:lnTo>
                      <a:lnTo>
                        <a:pt x="16370" y="3874"/>
                      </a:lnTo>
                      <a:lnTo>
                        <a:pt x="16344" y="3874"/>
                      </a:lnTo>
                      <a:lnTo>
                        <a:pt x="16328" y="3858"/>
                      </a:lnTo>
                      <a:lnTo>
                        <a:pt x="16311" y="3879"/>
                      </a:lnTo>
                      <a:lnTo>
                        <a:pt x="16290" y="3891"/>
                      </a:lnTo>
                      <a:lnTo>
                        <a:pt x="16295" y="3879"/>
                      </a:lnTo>
                      <a:lnTo>
                        <a:pt x="16290" y="3874"/>
                      </a:lnTo>
                      <a:lnTo>
                        <a:pt x="16252" y="3874"/>
                      </a:lnTo>
                      <a:lnTo>
                        <a:pt x="16226" y="3858"/>
                      </a:lnTo>
                      <a:lnTo>
                        <a:pt x="16219" y="3846"/>
                      </a:lnTo>
                      <a:lnTo>
                        <a:pt x="16226" y="3836"/>
                      </a:lnTo>
                      <a:lnTo>
                        <a:pt x="16202" y="3825"/>
                      </a:lnTo>
                      <a:lnTo>
                        <a:pt x="16198" y="3836"/>
                      </a:lnTo>
                      <a:lnTo>
                        <a:pt x="16165" y="3836"/>
                      </a:lnTo>
                      <a:lnTo>
                        <a:pt x="16165" y="3846"/>
                      </a:lnTo>
                      <a:lnTo>
                        <a:pt x="16150" y="3858"/>
                      </a:lnTo>
                      <a:lnTo>
                        <a:pt x="16117" y="3836"/>
                      </a:lnTo>
                      <a:lnTo>
                        <a:pt x="16096" y="3836"/>
                      </a:lnTo>
                      <a:lnTo>
                        <a:pt x="16089" y="3836"/>
                      </a:lnTo>
                      <a:lnTo>
                        <a:pt x="16096" y="3841"/>
                      </a:lnTo>
                      <a:lnTo>
                        <a:pt x="16080" y="3836"/>
                      </a:lnTo>
                      <a:lnTo>
                        <a:pt x="16063" y="3846"/>
                      </a:lnTo>
                      <a:lnTo>
                        <a:pt x="16058" y="3846"/>
                      </a:lnTo>
                      <a:lnTo>
                        <a:pt x="16047" y="3862"/>
                      </a:lnTo>
                      <a:lnTo>
                        <a:pt x="16021" y="3891"/>
                      </a:lnTo>
                      <a:lnTo>
                        <a:pt x="15950" y="3836"/>
                      </a:lnTo>
                      <a:lnTo>
                        <a:pt x="15938" y="3841"/>
                      </a:lnTo>
                      <a:lnTo>
                        <a:pt x="15938" y="3846"/>
                      </a:lnTo>
                      <a:lnTo>
                        <a:pt x="15950" y="3846"/>
                      </a:lnTo>
                      <a:lnTo>
                        <a:pt x="15950" y="3879"/>
                      </a:lnTo>
                      <a:lnTo>
                        <a:pt x="15938" y="3891"/>
                      </a:lnTo>
                      <a:lnTo>
                        <a:pt x="15933" y="3874"/>
                      </a:lnTo>
                      <a:lnTo>
                        <a:pt x="15938" y="3858"/>
                      </a:lnTo>
                      <a:lnTo>
                        <a:pt x="15928" y="3846"/>
                      </a:lnTo>
                      <a:lnTo>
                        <a:pt x="15900" y="3825"/>
                      </a:lnTo>
                      <a:lnTo>
                        <a:pt x="15879" y="3820"/>
                      </a:lnTo>
                      <a:lnTo>
                        <a:pt x="15879" y="3803"/>
                      </a:lnTo>
                      <a:lnTo>
                        <a:pt x="15862" y="3791"/>
                      </a:lnTo>
                      <a:lnTo>
                        <a:pt x="15803" y="3791"/>
                      </a:lnTo>
                      <a:lnTo>
                        <a:pt x="15787" y="3768"/>
                      </a:lnTo>
                      <a:lnTo>
                        <a:pt x="15772" y="3780"/>
                      </a:lnTo>
                      <a:lnTo>
                        <a:pt x="15756" y="3780"/>
                      </a:lnTo>
                      <a:lnTo>
                        <a:pt x="15749" y="3787"/>
                      </a:lnTo>
                      <a:lnTo>
                        <a:pt x="15749" y="3791"/>
                      </a:lnTo>
                      <a:lnTo>
                        <a:pt x="15739" y="3791"/>
                      </a:lnTo>
                      <a:lnTo>
                        <a:pt x="15711" y="3791"/>
                      </a:lnTo>
                      <a:lnTo>
                        <a:pt x="15711" y="3787"/>
                      </a:lnTo>
                      <a:lnTo>
                        <a:pt x="15718" y="3787"/>
                      </a:lnTo>
                      <a:lnTo>
                        <a:pt x="15718" y="3780"/>
                      </a:lnTo>
                      <a:lnTo>
                        <a:pt x="15680" y="3768"/>
                      </a:lnTo>
                      <a:lnTo>
                        <a:pt x="15680" y="3787"/>
                      </a:lnTo>
                      <a:lnTo>
                        <a:pt x="15664" y="3780"/>
                      </a:lnTo>
                      <a:lnTo>
                        <a:pt x="15664" y="3791"/>
                      </a:lnTo>
                      <a:lnTo>
                        <a:pt x="15647" y="3803"/>
                      </a:lnTo>
                      <a:lnTo>
                        <a:pt x="15647" y="3808"/>
                      </a:lnTo>
                      <a:lnTo>
                        <a:pt x="15609" y="3836"/>
                      </a:lnTo>
                      <a:lnTo>
                        <a:pt x="15588" y="3825"/>
                      </a:lnTo>
                      <a:lnTo>
                        <a:pt x="15576" y="3841"/>
                      </a:lnTo>
                      <a:lnTo>
                        <a:pt x="15576" y="3858"/>
                      </a:lnTo>
                      <a:lnTo>
                        <a:pt x="15534" y="3879"/>
                      </a:lnTo>
                      <a:lnTo>
                        <a:pt x="15534" y="3914"/>
                      </a:lnTo>
                      <a:lnTo>
                        <a:pt x="15550" y="3931"/>
                      </a:lnTo>
                      <a:lnTo>
                        <a:pt x="15539" y="3947"/>
                      </a:lnTo>
                      <a:lnTo>
                        <a:pt x="15508" y="3952"/>
                      </a:lnTo>
                      <a:lnTo>
                        <a:pt x="15501" y="3947"/>
                      </a:lnTo>
                      <a:lnTo>
                        <a:pt x="15480" y="3914"/>
                      </a:lnTo>
                      <a:lnTo>
                        <a:pt x="15454" y="3891"/>
                      </a:lnTo>
                      <a:lnTo>
                        <a:pt x="15447" y="3895"/>
                      </a:lnTo>
                      <a:lnTo>
                        <a:pt x="15432" y="3903"/>
                      </a:lnTo>
                      <a:lnTo>
                        <a:pt x="15432" y="3931"/>
                      </a:lnTo>
                      <a:lnTo>
                        <a:pt x="15409" y="3952"/>
                      </a:lnTo>
                      <a:lnTo>
                        <a:pt x="15395" y="4002"/>
                      </a:lnTo>
                      <a:lnTo>
                        <a:pt x="15416" y="4014"/>
                      </a:lnTo>
                      <a:lnTo>
                        <a:pt x="15395" y="4030"/>
                      </a:lnTo>
                      <a:lnTo>
                        <a:pt x="15378" y="4080"/>
                      </a:lnTo>
                      <a:lnTo>
                        <a:pt x="15416" y="4096"/>
                      </a:lnTo>
                      <a:lnTo>
                        <a:pt x="15425" y="4134"/>
                      </a:lnTo>
                      <a:lnTo>
                        <a:pt x="15442" y="4151"/>
                      </a:lnTo>
                      <a:lnTo>
                        <a:pt x="15442" y="4134"/>
                      </a:lnTo>
                      <a:lnTo>
                        <a:pt x="15496" y="4151"/>
                      </a:lnTo>
                      <a:lnTo>
                        <a:pt x="15555" y="4228"/>
                      </a:lnTo>
                      <a:lnTo>
                        <a:pt x="15534" y="4236"/>
                      </a:lnTo>
                      <a:lnTo>
                        <a:pt x="15517" y="4236"/>
                      </a:lnTo>
                      <a:lnTo>
                        <a:pt x="15517" y="4252"/>
                      </a:lnTo>
                      <a:lnTo>
                        <a:pt x="15560" y="4269"/>
                      </a:lnTo>
                      <a:lnTo>
                        <a:pt x="15572" y="4278"/>
                      </a:lnTo>
                      <a:lnTo>
                        <a:pt x="15560" y="4278"/>
                      </a:lnTo>
                      <a:lnTo>
                        <a:pt x="15550" y="4290"/>
                      </a:lnTo>
                      <a:lnTo>
                        <a:pt x="15522" y="4290"/>
                      </a:lnTo>
                      <a:lnTo>
                        <a:pt x="15534" y="4302"/>
                      </a:lnTo>
                      <a:lnTo>
                        <a:pt x="15534" y="4318"/>
                      </a:lnTo>
                      <a:lnTo>
                        <a:pt x="15522" y="4306"/>
                      </a:lnTo>
                      <a:lnTo>
                        <a:pt x="15496" y="4323"/>
                      </a:lnTo>
                      <a:lnTo>
                        <a:pt x="15470" y="4335"/>
                      </a:lnTo>
                      <a:lnTo>
                        <a:pt x="15447" y="4323"/>
                      </a:lnTo>
                      <a:lnTo>
                        <a:pt x="15454" y="4340"/>
                      </a:lnTo>
                      <a:lnTo>
                        <a:pt x="15442" y="4323"/>
                      </a:lnTo>
                      <a:lnTo>
                        <a:pt x="15447" y="4340"/>
                      </a:lnTo>
                      <a:lnTo>
                        <a:pt x="15447" y="4356"/>
                      </a:lnTo>
                      <a:lnTo>
                        <a:pt x="15416" y="4413"/>
                      </a:lnTo>
                      <a:lnTo>
                        <a:pt x="15416" y="4401"/>
                      </a:lnTo>
                      <a:lnTo>
                        <a:pt x="15395" y="4417"/>
                      </a:lnTo>
                      <a:lnTo>
                        <a:pt x="15387" y="4434"/>
                      </a:lnTo>
                      <a:lnTo>
                        <a:pt x="15395" y="4446"/>
                      </a:lnTo>
                      <a:lnTo>
                        <a:pt x="15416" y="4451"/>
                      </a:lnTo>
                      <a:lnTo>
                        <a:pt x="15432" y="4484"/>
                      </a:lnTo>
                      <a:lnTo>
                        <a:pt x="15447" y="4500"/>
                      </a:lnTo>
                      <a:lnTo>
                        <a:pt x="15442" y="4512"/>
                      </a:lnTo>
                      <a:lnTo>
                        <a:pt x="15442" y="4524"/>
                      </a:lnTo>
                      <a:lnTo>
                        <a:pt x="15447" y="4491"/>
                      </a:lnTo>
                      <a:lnTo>
                        <a:pt x="15463" y="4491"/>
                      </a:lnTo>
                      <a:lnTo>
                        <a:pt x="15447" y="4528"/>
                      </a:lnTo>
                      <a:lnTo>
                        <a:pt x="15447" y="4540"/>
                      </a:lnTo>
                      <a:lnTo>
                        <a:pt x="15454" y="4545"/>
                      </a:lnTo>
                      <a:lnTo>
                        <a:pt x="15447" y="4557"/>
                      </a:lnTo>
                      <a:lnTo>
                        <a:pt x="15442" y="4566"/>
                      </a:lnTo>
                      <a:lnTo>
                        <a:pt x="15463" y="4578"/>
                      </a:lnTo>
                      <a:lnTo>
                        <a:pt x="15463" y="4602"/>
                      </a:lnTo>
                      <a:lnTo>
                        <a:pt x="15484" y="4623"/>
                      </a:lnTo>
                      <a:lnTo>
                        <a:pt x="15508" y="4668"/>
                      </a:lnTo>
                      <a:lnTo>
                        <a:pt x="15522" y="4673"/>
                      </a:lnTo>
                      <a:lnTo>
                        <a:pt x="15508" y="4689"/>
                      </a:lnTo>
                      <a:lnTo>
                        <a:pt x="15484" y="4706"/>
                      </a:lnTo>
                      <a:lnTo>
                        <a:pt x="15480" y="4722"/>
                      </a:lnTo>
                      <a:lnTo>
                        <a:pt x="15463" y="4729"/>
                      </a:lnTo>
                      <a:lnTo>
                        <a:pt x="15432" y="4710"/>
                      </a:lnTo>
                      <a:lnTo>
                        <a:pt x="15425" y="4694"/>
                      </a:lnTo>
                      <a:lnTo>
                        <a:pt x="15395" y="4668"/>
                      </a:lnTo>
                      <a:lnTo>
                        <a:pt x="15387" y="4673"/>
                      </a:lnTo>
                      <a:lnTo>
                        <a:pt x="15371" y="4668"/>
                      </a:lnTo>
                      <a:lnTo>
                        <a:pt x="15319" y="4639"/>
                      </a:lnTo>
                      <a:lnTo>
                        <a:pt x="15324" y="4611"/>
                      </a:lnTo>
                      <a:lnTo>
                        <a:pt x="15291" y="4611"/>
                      </a:lnTo>
                      <a:lnTo>
                        <a:pt x="15286" y="4595"/>
                      </a:lnTo>
                      <a:lnTo>
                        <a:pt x="15269" y="4583"/>
                      </a:lnTo>
                      <a:lnTo>
                        <a:pt x="15253" y="4602"/>
                      </a:lnTo>
                      <a:lnTo>
                        <a:pt x="15236" y="4583"/>
                      </a:lnTo>
                      <a:lnTo>
                        <a:pt x="15194" y="4602"/>
                      </a:lnTo>
                      <a:lnTo>
                        <a:pt x="15182" y="4602"/>
                      </a:lnTo>
                      <a:lnTo>
                        <a:pt x="15182" y="4595"/>
                      </a:lnTo>
                      <a:lnTo>
                        <a:pt x="15144" y="4578"/>
                      </a:lnTo>
                      <a:lnTo>
                        <a:pt x="15123" y="4557"/>
                      </a:lnTo>
                      <a:lnTo>
                        <a:pt x="15031" y="4545"/>
                      </a:lnTo>
                      <a:lnTo>
                        <a:pt x="14967" y="4524"/>
                      </a:lnTo>
                      <a:lnTo>
                        <a:pt x="14941" y="4512"/>
                      </a:lnTo>
                      <a:lnTo>
                        <a:pt x="14924" y="4524"/>
                      </a:lnTo>
                      <a:lnTo>
                        <a:pt x="14924" y="4540"/>
                      </a:lnTo>
                      <a:lnTo>
                        <a:pt x="14832" y="4458"/>
                      </a:lnTo>
                      <a:lnTo>
                        <a:pt x="14795" y="4446"/>
                      </a:lnTo>
                      <a:lnTo>
                        <a:pt x="14766" y="4417"/>
                      </a:lnTo>
                      <a:lnTo>
                        <a:pt x="14766" y="4429"/>
                      </a:lnTo>
                      <a:lnTo>
                        <a:pt x="14745" y="4417"/>
                      </a:lnTo>
                      <a:lnTo>
                        <a:pt x="14724" y="4396"/>
                      </a:lnTo>
                      <a:lnTo>
                        <a:pt x="14686" y="4380"/>
                      </a:lnTo>
                      <a:lnTo>
                        <a:pt x="14707" y="4363"/>
                      </a:lnTo>
                      <a:lnTo>
                        <a:pt x="14691" y="4356"/>
                      </a:lnTo>
                      <a:lnTo>
                        <a:pt x="14686" y="4363"/>
                      </a:lnTo>
                      <a:lnTo>
                        <a:pt x="14698" y="4356"/>
                      </a:lnTo>
                      <a:lnTo>
                        <a:pt x="14714" y="4363"/>
                      </a:lnTo>
                      <a:lnTo>
                        <a:pt x="14714" y="4373"/>
                      </a:lnTo>
                      <a:lnTo>
                        <a:pt x="14745" y="4356"/>
                      </a:lnTo>
                      <a:lnTo>
                        <a:pt x="14761" y="4363"/>
                      </a:lnTo>
                      <a:lnTo>
                        <a:pt x="14761" y="4340"/>
                      </a:lnTo>
                      <a:lnTo>
                        <a:pt x="14752" y="4340"/>
                      </a:lnTo>
                      <a:lnTo>
                        <a:pt x="14752" y="4356"/>
                      </a:lnTo>
                      <a:lnTo>
                        <a:pt x="14752" y="4340"/>
                      </a:lnTo>
                      <a:lnTo>
                        <a:pt x="14761" y="4340"/>
                      </a:lnTo>
                      <a:lnTo>
                        <a:pt x="14752" y="4335"/>
                      </a:lnTo>
                      <a:lnTo>
                        <a:pt x="14766" y="4323"/>
                      </a:lnTo>
                      <a:lnTo>
                        <a:pt x="14778" y="4302"/>
                      </a:lnTo>
                      <a:lnTo>
                        <a:pt x="14783" y="4302"/>
                      </a:lnTo>
                      <a:lnTo>
                        <a:pt x="14783" y="4306"/>
                      </a:lnTo>
                      <a:lnTo>
                        <a:pt x="14795" y="4290"/>
                      </a:lnTo>
                      <a:lnTo>
                        <a:pt x="14816" y="4302"/>
                      </a:lnTo>
                      <a:lnTo>
                        <a:pt x="14821" y="4290"/>
                      </a:lnTo>
                      <a:lnTo>
                        <a:pt x="14783" y="4269"/>
                      </a:lnTo>
                      <a:lnTo>
                        <a:pt x="14778" y="4269"/>
                      </a:lnTo>
                      <a:lnTo>
                        <a:pt x="14761" y="4245"/>
                      </a:lnTo>
                      <a:lnTo>
                        <a:pt x="14783" y="4245"/>
                      </a:lnTo>
                      <a:lnTo>
                        <a:pt x="14799" y="4236"/>
                      </a:lnTo>
                      <a:lnTo>
                        <a:pt x="14821" y="4245"/>
                      </a:lnTo>
                      <a:lnTo>
                        <a:pt x="14816" y="4236"/>
                      </a:lnTo>
                      <a:lnTo>
                        <a:pt x="14804" y="4236"/>
                      </a:lnTo>
                      <a:lnTo>
                        <a:pt x="14804" y="4228"/>
                      </a:lnTo>
                      <a:lnTo>
                        <a:pt x="14854" y="4212"/>
                      </a:lnTo>
                      <a:lnTo>
                        <a:pt x="14870" y="4212"/>
                      </a:lnTo>
                      <a:lnTo>
                        <a:pt x="14870" y="4207"/>
                      </a:lnTo>
                      <a:lnTo>
                        <a:pt x="14870" y="4191"/>
                      </a:lnTo>
                      <a:lnTo>
                        <a:pt x="14854" y="4191"/>
                      </a:lnTo>
                      <a:lnTo>
                        <a:pt x="14821" y="4207"/>
                      </a:lnTo>
                      <a:lnTo>
                        <a:pt x="14816" y="4195"/>
                      </a:lnTo>
                      <a:lnTo>
                        <a:pt x="14821" y="4191"/>
                      </a:lnTo>
                      <a:lnTo>
                        <a:pt x="14832" y="4191"/>
                      </a:lnTo>
                      <a:lnTo>
                        <a:pt x="14799" y="4207"/>
                      </a:lnTo>
                      <a:lnTo>
                        <a:pt x="14799" y="4158"/>
                      </a:lnTo>
                      <a:lnTo>
                        <a:pt x="14832" y="4151"/>
                      </a:lnTo>
                      <a:lnTo>
                        <a:pt x="14837" y="4134"/>
                      </a:lnTo>
                      <a:lnTo>
                        <a:pt x="14908" y="4134"/>
                      </a:lnTo>
                      <a:lnTo>
                        <a:pt x="14908" y="4117"/>
                      </a:lnTo>
                      <a:lnTo>
                        <a:pt x="14924" y="4096"/>
                      </a:lnTo>
                      <a:lnTo>
                        <a:pt x="14908" y="4068"/>
                      </a:lnTo>
                      <a:lnTo>
                        <a:pt x="14903" y="4063"/>
                      </a:lnTo>
                      <a:lnTo>
                        <a:pt x="14908" y="4047"/>
                      </a:lnTo>
                      <a:lnTo>
                        <a:pt x="14924" y="4047"/>
                      </a:lnTo>
                      <a:lnTo>
                        <a:pt x="14924" y="4040"/>
                      </a:lnTo>
                      <a:lnTo>
                        <a:pt x="14908" y="4040"/>
                      </a:lnTo>
                      <a:lnTo>
                        <a:pt x="14903" y="4030"/>
                      </a:lnTo>
                      <a:lnTo>
                        <a:pt x="14913" y="4023"/>
                      </a:lnTo>
                      <a:lnTo>
                        <a:pt x="14929" y="4006"/>
                      </a:lnTo>
                      <a:lnTo>
                        <a:pt x="14924" y="3985"/>
                      </a:lnTo>
                      <a:lnTo>
                        <a:pt x="14929" y="3973"/>
                      </a:lnTo>
                      <a:lnTo>
                        <a:pt x="14908" y="3973"/>
                      </a:lnTo>
                      <a:lnTo>
                        <a:pt x="14891" y="3957"/>
                      </a:lnTo>
                      <a:lnTo>
                        <a:pt x="14870" y="3957"/>
                      </a:lnTo>
                      <a:lnTo>
                        <a:pt x="14858" y="3947"/>
                      </a:lnTo>
                      <a:lnTo>
                        <a:pt x="14849" y="3952"/>
                      </a:lnTo>
                      <a:lnTo>
                        <a:pt x="14799" y="3931"/>
                      </a:lnTo>
                      <a:lnTo>
                        <a:pt x="14795" y="3931"/>
                      </a:lnTo>
                      <a:lnTo>
                        <a:pt x="14783" y="3947"/>
                      </a:lnTo>
                      <a:lnTo>
                        <a:pt x="14761" y="3931"/>
                      </a:lnTo>
                      <a:lnTo>
                        <a:pt x="14745" y="3895"/>
                      </a:lnTo>
                      <a:lnTo>
                        <a:pt x="14686" y="3914"/>
                      </a:lnTo>
                      <a:lnTo>
                        <a:pt x="14660" y="3903"/>
                      </a:lnTo>
                      <a:lnTo>
                        <a:pt x="14653" y="3895"/>
                      </a:lnTo>
                      <a:lnTo>
                        <a:pt x="14615" y="3895"/>
                      </a:lnTo>
                      <a:lnTo>
                        <a:pt x="14601" y="3874"/>
                      </a:lnTo>
                      <a:lnTo>
                        <a:pt x="14606" y="3874"/>
                      </a:lnTo>
                      <a:lnTo>
                        <a:pt x="14589" y="3841"/>
                      </a:lnTo>
                      <a:lnTo>
                        <a:pt x="14601" y="3836"/>
                      </a:lnTo>
                      <a:lnTo>
                        <a:pt x="14584" y="3836"/>
                      </a:lnTo>
                      <a:lnTo>
                        <a:pt x="14577" y="3820"/>
                      </a:lnTo>
                      <a:lnTo>
                        <a:pt x="14551" y="3825"/>
                      </a:lnTo>
                      <a:lnTo>
                        <a:pt x="14530" y="3820"/>
                      </a:lnTo>
                      <a:lnTo>
                        <a:pt x="14509" y="3780"/>
                      </a:lnTo>
                      <a:lnTo>
                        <a:pt x="14530" y="3768"/>
                      </a:lnTo>
                      <a:lnTo>
                        <a:pt x="14530" y="3763"/>
                      </a:lnTo>
                      <a:lnTo>
                        <a:pt x="14509" y="3747"/>
                      </a:lnTo>
                      <a:lnTo>
                        <a:pt x="14509" y="3730"/>
                      </a:lnTo>
                      <a:lnTo>
                        <a:pt x="14492" y="3709"/>
                      </a:lnTo>
                      <a:lnTo>
                        <a:pt x="14443" y="3709"/>
                      </a:lnTo>
                      <a:lnTo>
                        <a:pt x="14421" y="3725"/>
                      </a:lnTo>
                      <a:lnTo>
                        <a:pt x="14384" y="3714"/>
                      </a:lnTo>
                      <a:lnTo>
                        <a:pt x="14374" y="3735"/>
                      </a:lnTo>
                      <a:lnTo>
                        <a:pt x="14346" y="3735"/>
                      </a:lnTo>
                      <a:lnTo>
                        <a:pt x="14329" y="3714"/>
                      </a:lnTo>
                      <a:lnTo>
                        <a:pt x="14329" y="3692"/>
                      </a:lnTo>
                      <a:lnTo>
                        <a:pt x="14320" y="3676"/>
                      </a:lnTo>
                      <a:lnTo>
                        <a:pt x="14329" y="3669"/>
                      </a:lnTo>
                      <a:lnTo>
                        <a:pt x="14308" y="3643"/>
                      </a:lnTo>
                      <a:lnTo>
                        <a:pt x="14320" y="3624"/>
                      </a:lnTo>
                      <a:lnTo>
                        <a:pt x="14374" y="3636"/>
                      </a:lnTo>
                      <a:lnTo>
                        <a:pt x="14405" y="3614"/>
                      </a:lnTo>
                      <a:lnTo>
                        <a:pt x="14417" y="3603"/>
                      </a:lnTo>
                      <a:lnTo>
                        <a:pt x="14388" y="3598"/>
                      </a:lnTo>
                      <a:lnTo>
                        <a:pt x="14388" y="3586"/>
                      </a:lnTo>
                      <a:lnTo>
                        <a:pt x="14400" y="3581"/>
                      </a:lnTo>
                      <a:lnTo>
                        <a:pt x="14388" y="3581"/>
                      </a:lnTo>
                      <a:lnTo>
                        <a:pt x="14367" y="3569"/>
                      </a:lnTo>
                      <a:lnTo>
                        <a:pt x="14346" y="3569"/>
                      </a:lnTo>
                      <a:lnTo>
                        <a:pt x="14350" y="3541"/>
                      </a:lnTo>
                      <a:lnTo>
                        <a:pt x="14313" y="3525"/>
                      </a:lnTo>
                      <a:lnTo>
                        <a:pt x="14308" y="3508"/>
                      </a:lnTo>
                      <a:lnTo>
                        <a:pt x="14298" y="3503"/>
                      </a:lnTo>
                      <a:lnTo>
                        <a:pt x="14298" y="3487"/>
                      </a:lnTo>
                      <a:lnTo>
                        <a:pt x="14275" y="3470"/>
                      </a:lnTo>
                      <a:lnTo>
                        <a:pt x="14291" y="3447"/>
                      </a:lnTo>
                      <a:lnTo>
                        <a:pt x="14275" y="3421"/>
                      </a:lnTo>
                      <a:lnTo>
                        <a:pt x="14282" y="3414"/>
                      </a:lnTo>
                      <a:lnTo>
                        <a:pt x="14282" y="3392"/>
                      </a:lnTo>
                      <a:lnTo>
                        <a:pt x="14275" y="3392"/>
                      </a:lnTo>
                      <a:lnTo>
                        <a:pt x="14254" y="3364"/>
                      </a:lnTo>
                      <a:lnTo>
                        <a:pt x="14237" y="3364"/>
                      </a:lnTo>
                      <a:lnTo>
                        <a:pt x="14211" y="3364"/>
                      </a:lnTo>
                      <a:lnTo>
                        <a:pt x="14185" y="3380"/>
                      </a:lnTo>
                      <a:lnTo>
                        <a:pt x="14173" y="3376"/>
                      </a:lnTo>
                      <a:lnTo>
                        <a:pt x="14185" y="3359"/>
                      </a:lnTo>
                      <a:lnTo>
                        <a:pt x="14173" y="3359"/>
                      </a:lnTo>
                      <a:lnTo>
                        <a:pt x="14152" y="3347"/>
                      </a:lnTo>
                      <a:lnTo>
                        <a:pt x="14131" y="3359"/>
                      </a:lnTo>
                      <a:lnTo>
                        <a:pt x="14119" y="3343"/>
                      </a:lnTo>
                      <a:lnTo>
                        <a:pt x="14098" y="3343"/>
                      </a:lnTo>
                      <a:lnTo>
                        <a:pt x="14093" y="3336"/>
                      </a:lnTo>
                      <a:lnTo>
                        <a:pt x="14098" y="3319"/>
                      </a:lnTo>
                      <a:lnTo>
                        <a:pt x="14076" y="3265"/>
                      </a:lnTo>
                      <a:lnTo>
                        <a:pt x="14060" y="3253"/>
                      </a:lnTo>
                      <a:lnTo>
                        <a:pt x="14065" y="3215"/>
                      </a:lnTo>
                      <a:lnTo>
                        <a:pt x="14043" y="3199"/>
                      </a:lnTo>
                      <a:lnTo>
                        <a:pt x="14043" y="3192"/>
                      </a:lnTo>
                      <a:lnTo>
                        <a:pt x="14039" y="3192"/>
                      </a:lnTo>
                      <a:lnTo>
                        <a:pt x="14043" y="3158"/>
                      </a:lnTo>
                      <a:lnTo>
                        <a:pt x="14065" y="3158"/>
                      </a:lnTo>
                      <a:lnTo>
                        <a:pt x="14043" y="3121"/>
                      </a:lnTo>
                      <a:lnTo>
                        <a:pt x="14043" y="3104"/>
                      </a:lnTo>
                      <a:lnTo>
                        <a:pt x="14039" y="3059"/>
                      </a:lnTo>
                      <a:lnTo>
                        <a:pt x="14065" y="3031"/>
                      </a:lnTo>
                      <a:lnTo>
                        <a:pt x="14076" y="3010"/>
                      </a:lnTo>
                      <a:lnTo>
                        <a:pt x="14093" y="3010"/>
                      </a:lnTo>
                      <a:lnTo>
                        <a:pt x="14093" y="2998"/>
                      </a:lnTo>
                      <a:lnTo>
                        <a:pt x="14081" y="2988"/>
                      </a:lnTo>
                      <a:lnTo>
                        <a:pt x="14081" y="2977"/>
                      </a:lnTo>
                      <a:lnTo>
                        <a:pt x="14076" y="2960"/>
                      </a:lnTo>
                      <a:lnTo>
                        <a:pt x="14081" y="2953"/>
                      </a:lnTo>
                      <a:lnTo>
                        <a:pt x="14102" y="2972"/>
                      </a:lnTo>
                      <a:lnTo>
                        <a:pt x="14114" y="2943"/>
                      </a:lnTo>
                      <a:lnTo>
                        <a:pt x="14136" y="2953"/>
                      </a:lnTo>
                      <a:lnTo>
                        <a:pt x="14157" y="2932"/>
                      </a:lnTo>
                      <a:lnTo>
                        <a:pt x="14228" y="2943"/>
                      </a:lnTo>
                      <a:lnTo>
                        <a:pt x="14237" y="2936"/>
                      </a:lnTo>
                      <a:lnTo>
                        <a:pt x="14211" y="2932"/>
                      </a:lnTo>
                      <a:lnTo>
                        <a:pt x="14211" y="2915"/>
                      </a:lnTo>
                      <a:lnTo>
                        <a:pt x="14199" y="2915"/>
                      </a:lnTo>
                      <a:lnTo>
                        <a:pt x="14152" y="2915"/>
                      </a:lnTo>
                      <a:lnTo>
                        <a:pt x="14119" y="2887"/>
                      </a:lnTo>
                      <a:lnTo>
                        <a:pt x="14114" y="2877"/>
                      </a:lnTo>
                      <a:lnTo>
                        <a:pt x="14131" y="2882"/>
                      </a:lnTo>
                      <a:lnTo>
                        <a:pt x="14131" y="2866"/>
                      </a:lnTo>
                      <a:lnTo>
                        <a:pt x="14119" y="2866"/>
                      </a:lnTo>
                      <a:lnTo>
                        <a:pt x="14131" y="2866"/>
                      </a:lnTo>
                      <a:lnTo>
                        <a:pt x="14131" y="2849"/>
                      </a:lnTo>
                      <a:lnTo>
                        <a:pt x="14093" y="2877"/>
                      </a:lnTo>
                      <a:lnTo>
                        <a:pt x="14065" y="2877"/>
                      </a:lnTo>
                      <a:lnTo>
                        <a:pt x="14169" y="2792"/>
                      </a:lnTo>
                      <a:lnTo>
                        <a:pt x="14308" y="2655"/>
                      </a:lnTo>
                      <a:lnTo>
                        <a:pt x="14329" y="2610"/>
                      </a:lnTo>
                      <a:lnTo>
                        <a:pt x="14308" y="2573"/>
                      </a:lnTo>
                      <a:lnTo>
                        <a:pt x="14223" y="2516"/>
                      </a:lnTo>
                      <a:lnTo>
                        <a:pt x="14261" y="2478"/>
                      </a:lnTo>
                      <a:lnTo>
                        <a:pt x="14261" y="2462"/>
                      </a:lnTo>
                      <a:lnTo>
                        <a:pt x="14223" y="2438"/>
                      </a:lnTo>
                      <a:lnTo>
                        <a:pt x="14228" y="2433"/>
                      </a:lnTo>
                      <a:lnTo>
                        <a:pt x="14223" y="2421"/>
                      </a:lnTo>
                      <a:lnTo>
                        <a:pt x="14237" y="2417"/>
                      </a:lnTo>
                      <a:lnTo>
                        <a:pt x="14228" y="2400"/>
                      </a:lnTo>
                      <a:lnTo>
                        <a:pt x="14206" y="2388"/>
                      </a:lnTo>
                      <a:lnTo>
                        <a:pt x="14190" y="2384"/>
                      </a:lnTo>
                      <a:lnTo>
                        <a:pt x="14190" y="2360"/>
                      </a:lnTo>
                      <a:lnTo>
                        <a:pt x="14211" y="2360"/>
                      </a:lnTo>
                      <a:lnTo>
                        <a:pt x="14206" y="2343"/>
                      </a:lnTo>
                      <a:lnTo>
                        <a:pt x="14190" y="2343"/>
                      </a:lnTo>
                      <a:lnTo>
                        <a:pt x="14199" y="2327"/>
                      </a:lnTo>
                      <a:lnTo>
                        <a:pt x="14206" y="2294"/>
                      </a:lnTo>
                      <a:lnTo>
                        <a:pt x="14228" y="2289"/>
                      </a:lnTo>
                      <a:lnTo>
                        <a:pt x="14211" y="2240"/>
                      </a:lnTo>
                      <a:lnTo>
                        <a:pt x="14152" y="2145"/>
                      </a:lnTo>
                      <a:lnTo>
                        <a:pt x="14157" y="2129"/>
                      </a:lnTo>
                      <a:lnTo>
                        <a:pt x="14211" y="2067"/>
                      </a:lnTo>
                      <a:lnTo>
                        <a:pt x="14223" y="2051"/>
                      </a:lnTo>
                      <a:lnTo>
                        <a:pt x="14199" y="2034"/>
                      </a:lnTo>
                      <a:lnTo>
                        <a:pt x="14173" y="2001"/>
                      </a:lnTo>
                      <a:lnTo>
                        <a:pt x="14131" y="1989"/>
                      </a:lnTo>
                      <a:lnTo>
                        <a:pt x="14114" y="1944"/>
                      </a:lnTo>
                      <a:lnTo>
                        <a:pt x="14136" y="1906"/>
                      </a:lnTo>
                      <a:lnTo>
                        <a:pt x="14102" y="1902"/>
                      </a:lnTo>
                      <a:lnTo>
                        <a:pt x="14147" y="1878"/>
                      </a:lnTo>
                      <a:lnTo>
                        <a:pt x="14169" y="1866"/>
                      </a:lnTo>
                      <a:lnTo>
                        <a:pt x="14169" y="1845"/>
                      </a:lnTo>
                      <a:lnTo>
                        <a:pt x="14228" y="1824"/>
                      </a:lnTo>
                      <a:lnTo>
                        <a:pt x="14228" y="1812"/>
                      </a:lnTo>
                      <a:lnTo>
                        <a:pt x="14228" y="1807"/>
                      </a:lnTo>
                      <a:lnTo>
                        <a:pt x="14261" y="1812"/>
                      </a:lnTo>
                      <a:lnTo>
                        <a:pt x="14282" y="1812"/>
                      </a:lnTo>
                      <a:lnTo>
                        <a:pt x="14282" y="1795"/>
                      </a:lnTo>
                      <a:lnTo>
                        <a:pt x="14282" y="1779"/>
                      </a:lnTo>
                      <a:lnTo>
                        <a:pt x="14346" y="1795"/>
                      </a:lnTo>
                      <a:lnTo>
                        <a:pt x="14336" y="1791"/>
                      </a:lnTo>
                      <a:lnTo>
                        <a:pt x="14336" y="1779"/>
                      </a:lnTo>
                      <a:lnTo>
                        <a:pt x="14367" y="1779"/>
                      </a:lnTo>
                      <a:lnTo>
                        <a:pt x="14350" y="1767"/>
                      </a:lnTo>
                      <a:lnTo>
                        <a:pt x="14400" y="1791"/>
                      </a:lnTo>
                      <a:lnTo>
                        <a:pt x="14438" y="1791"/>
                      </a:lnTo>
                      <a:lnTo>
                        <a:pt x="14438" y="1807"/>
                      </a:lnTo>
                      <a:lnTo>
                        <a:pt x="14421" y="1812"/>
                      </a:lnTo>
                      <a:lnTo>
                        <a:pt x="14362" y="1807"/>
                      </a:lnTo>
                      <a:lnTo>
                        <a:pt x="14388" y="1824"/>
                      </a:lnTo>
                      <a:lnTo>
                        <a:pt x="14374" y="1829"/>
                      </a:lnTo>
                      <a:lnTo>
                        <a:pt x="14426" y="1829"/>
                      </a:lnTo>
                      <a:lnTo>
                        <a:pt x="14417" y="1845"/>
                      </a:lnTo>
                      <a:lnTo>
                        <a:pt x="14426" y="1833"/>
                      </a:lnTo>
                      <a:lnTo>
                        <a:pt x="14471" y="1829"/>
                      </a:lnTo>
                      <a:lnTo>
                        <a:pt x="14443" y="1850"/>
                      </a:lnTo>
                      <a:lnTo>
                        <a:pt x="14459" y="1850"/>
                      </a:lnTo>
                      <a:lnTo>
                        <a:pt x="14471" y="1862"/>
                      </a:lnTo>
                      <a:lnTo>
                        <a:pt x="14426" y="1878"/>
                      </a:lnTo>
                      <a:lnTo>
                        <a:pt x="14426" y="1890"/>
                      </a:lnTo>
                      <a:lnTo>
                        <a:pt x="14426" y="1878"/>
                      </a:lnTo>
                      <a:lnTo>
                        <a:pt x="14459" y="1878"/>
                      </a:lnTo>
                      <a:lnTo>
                        <a:pt x="14471" y="1862"/>
                      </a:lnTo>
                      <a:lnTo>
                        <a:pt x="14471" y="1845"/>
                      </a:lnTo>
                      <a:lnTo>
                        <a:pt x="14480" y="1845"/>
                      </a:lnTo>
                      <a:lnTo>
                        <a:pt x="14639" y="1862"/>
                      </a:lnTo>
                      <a:lnTo>
                        <a:pt x="14761" y="1923"/>
                      </a:lnTo>
                      <a:lnTo>
                        <a:pt x="14804" y="1973"/>
                      </a:lnTo>
                      <a:lnTo>
                        <a:pt x="14821" y="1961"/>
                      </a:lnTo>
                      <a:lnTo>
                        <a:pt x="14887" y="2001"/>
                      </a:lnTo>
                      <a:lnTo>
                        <a:pt x="14908" y="2001"/>
                      </a:lnTo>
                      <a:lnTo>
                        <a:pt x="14903" y="1989"/>
                      </a:lnTo>
                      <a:lnTo>
                        <a:pt x="14908" y="1989"/>
                      </a:lnTo>
                      <a:lnTo>
                        <a:pt x="14946" y="2018"/>
                      </a:lnTo>
                      <a:lnTo>
                        <a:pt x="14946" y="2029"/>
                      </a:lnTo>
                      <a:lnTo>
                        <a:pt x="14955" y="2046"/>
                      </a:lnTo>
                      <a:lnTo>
                        <a:pt x="14993" y="2046"/>
                      </a:lnTo>
                      <a:lnTo>
                        <a:pt x="14993" y="2072"/>
                      </a:lnTo>
                      <a:lnTo>
                        <a:pt x="15000" y="2084"/>
                      </a:lnTo>
                      <a:lnTo>
                        <a:pt x="15000" y="2105"/>
                      </a:lnTo>
                      <a:lnTo>
                        <a:pt x="15017" y="2105"/>
                      </a:lnTo>
                      <a:lnTo>
                        <a:pt x="15017" y="2112"/>
                      </a:lnTo>
                      <a:lnTo>
                        <a:pt x="15010" y="2157"/>
                      </a:lnTo>
                      <a:lnTo>
                        <a:pt x="14962" y="2199"/>
                      </a:lnTo>
                      <a:lnTo>
                        <a:pt x="14924" y="2216"/>
                      </a:lnTo>
                      <a:lnTo>
                        <a:pt x="14821" y="2249"/>
                      </a:lnTo>
                      <a:lnTo>
                        <a:pt x="14606" y="2211"/>
                      </a:lnTo>
                      <a:lnTo>
                        <a:pt x="14563" y="2178"/>
                      </a:lnTo>
                      <a:lnTo>
                        <a:pt x="14530" y="2183"/>
                      </a:lnTo>
                      <a:lnTo>
                        <a:pt x="14525" y="2178"/>
                      </a:lnTo>
                      <a:lnTo>
                        <a:pt x="14530" y="2178"/>
                      </a:lnTo>
                      <a:lnTo>
                        <a:pt x="14492" y="2166"/>
                      </a:lnTo>
                      <a:lnTo>
                        <a:pt x="14471" y="2157"/>
                      </a:lnTo>
                      <a:lnTo>
                        <a:pt x="14476" y="2162"/>
                      </a:lnTo>
                      <a:lnTo>
                        <a:pt x="14471" y="2166"/>
                      </a:lnTo>
                      <a:lnTo>
                        <a:pt x="14443" y="2157"/>
                      </a:lnTo>
                      <a:lnTo>
                        <a:pt x="14405" y="2121"/>
                      </a:lnTo>
                      <a:lnTo>
                        <a:pt x="14350" y="2112"/>
                      </a:lnTo>
                      <a:lnTo>
                        <a:pt x="14374" y="2112"/>
                      </a:lnTo>
                      <a:lnTo>
                        <a:pt x="14400" y="2129"/>
                      </a:lnTo>
                      <a:lnTo>
                        <a:pt x="14400" y="2145"/>
                      </a:lnTo>
                      <a:lnTo>
                        <a:pt x="14421" y="2162"/>
                      </a:lnTo>
                      <a:lnTo>
                        <a:pt x="14417" y="2166"/>
                      </a:lnTo>
                      <a:lnTo>
                        <a:pt x="14454" y="2178"/>
                      </a:lnTo>
                      <a:lnTo>
                        <a:pt x="14421" y="2183"/>
                      </a:lnTo>
                      <a:lnTo>
                        <a:pt x="14443" y="2178"/>
                      </a:lnTo>
                      <a:lnTo>
                        <a:pt x="14471" y="2195"/>
                      </a:lnTo>
                      <a:lnTo>
                        <a:pt x="14421" y="2195"/>
                      </a:lnTo>
                      <a:lnTo>
                        <a:pt x="14480" y="2199"/>
                      </a:lnTo>
                      <a:lnTo>
                        <a:pt x="14454" y="2216"/>
                      </a:lnTo>
                      <a:lnTo>
                        <a:pt x="14509" y="2223"/>
                      </a:lnTo>
                      <a:lnTo>
                        <a:pt x="14563" y="2266"/>
                      </a:lnTo>
                      <a:lnTo>
                        <a:pt x="14568" y="2289"/>
                      </a:lnTo>
                      <a:lnTo>
                        <a:pt x="14547" y="2273"/>
                      </a:lnTo>
                      <a:lnTo>
                        <a:pt x="14551" y="2306"/>
                      </a:lnTo>
                      <a:lnTo>
                        <a:pt x="14547" y="2322"/>
                      </a:lnTo>
                      <a:lnTo>
                        <a:pt x="14530" y="2327"/>
                      </a:lnTo>
                      <a:lnTo>
                        <a:pt x="14547" y="2343"/>
                      </a:lnTo>
                      <a:lnTo>
                        <a:pt x="14568" y="2388"/>
                      </a:lnTo>
                      <a:lnTo>
                        <a:pt x="14568" y="2417"/>
                      </a:lnTo>
                      <a:lnTo>
                        <a:pt x="14551" y="2421"/>
                      </a:lnTo>
                      <a:lnTo>
                        <a:pt x="14589" y="2445"/>
                      </a:lnTo>
                      <a:lnTo>
                        <a:pt x="14606" y="2438"/>
                      </a:lnTo>
                      <a:lnTo>
                        <a:pt x="14622" y="2445"/>
                      </a:lnTo>
                      <a:lnTo>
                        <a:pt x="14639" y="2462"/>
                      </a:lnTo>
                      <a:lnTo>
                        <a:pt x="14643" y="2462"/>
                      </a:lnTo>
                      <a:lnTo>
                        <a:pt x="14660" y="2471"/>
                      </a:lnTo>
                      <a:lnTo>
                        <a:pt x="14660" y="2488"/>
                      </a:lnTo>
                      <a:lnTo>
                        <a:pt x="14740" y="2511"/>
                      </a:lnTo>
                      <a:lnTo>
                        <a:pt x="14783" y="2488"/>
                      </a:lnTo>
                      <a:lnTo>
                        <a:pt x="14783" y="2471"/>
                      </a:lnTo>
                      <a:lnTo>
                        <a:pt x="14778" y="2462"/>
                      </a:lnTo>
                      <a:lnTo>
                        <a:pt x="14778" y="2445"/>
                      </a:lnTo>
                      <a:lnTo>
                        <a:pt x="14766" y="2438"/>
                      </a:lnTo>
                      <a:lnTo>
                        <a:pt x="14728" y="2445"/>
                      </a:lnTo>
                      <a:lnTo>
                        <a:pt x="14724" y="2438"/>
                      </a:lnTo>
                      <a:lnTo>
                        <a:pt x="14691" y="2405"/>
                      </a:lnTo>
                      <a:lnTo>
                        <a:pt x="14676" y="2400"/>
                      </a:lnTo>
                      <a:lnTo>
                        <a:pt x="14669" y="2377"/>
                      </a:lnTo>
                      <a:lnTo>
                        <a:pt x="14698" y="2377"/>
                      </a:lnTo>
                      <a:lnTo>
                        <a:pt x="14698" y="2351"/>
                      </a:lnTo>
                      <a:lnTo>
                        <a:pt x="14714" y="2343"/>
                      </a:lnTo>
                      <a:lnTo>
                        <a:pt x="14761" y="2367"/>
                      </a:lnTo>
                      <a:lnTo>
                        <a:pt x="14778" y="2384"/>
                      </a:lnTo>
                      <a:lnTo>
                        <a:pt x="14804" y="2384"/>
                      </a:lnTo>
                      <a:lnTo>
                        <a:pt x="14783" y="2400"/>
                      </a:lnTo>
                      <a:lnTo>
                        <a:pt x="14783" y="2417"/>
                      </a:lnTo>
                      <a:lnTo>
                        <a:pt x="14816" y="2388"/>
                      </a:lnTo>
                      <a:lnTo>
                        <a:pt x="14891" y="2421"/>
                      </a:lnTo>
                      <a:lnTo>
                        <a:pt x="14913" y="2417"/>
                      </a:lnTo>
                      <a:lnTo>
                        <a:pt x="14908" y="2417"/>
                      </a:lnTo>
                      <a:lnTo>
                        <a:pt x="14908" y="2405"/>
                      </a:lnTo>
                      <a:lnTo>
                        <a:pt x="14955" y="2421"/>
                      </a:lnTo>
                      <a:lnTo>
                        <a:pt x="14946" y="2377"/>
                      </a:lnTo>
                      <a:lnTo>
                        <a:pt x="14903" y="2327"/>
                      </a:lnTo>
                      <a:lnTo>
                        <a:pt x="14903" y="2306"/>
                      </a:lnTo>
                      <a:lnTo>
                        <a:pt x="14946" y="2277"/>
                      </a:lnTo>
                      <a:lnTo>
                        <a:pt x="14967" y="2256"/>
                      </a:lnTo>
                      <a:lnTo>
                        <a:pt x="15021" y="2240"/>
                      </a:lnTo>
                      <a:lnTo>
                        <a:pt x="15069" y="2195"/>
                      </a:lnTo>
                      <a:lnTo>
                        <a:pt x="15106" y="2211"/>
                      </a:lnTo>
                      <a:lnTo>
                        <a:pt x="15156" y="2199"/>
                      </a:lnTo>
                      <a:lnTo>
                        <a:pt x="15177" y="2223"/>
                      </a:lnTo>
                      <a:lnTo>
                        <a:pt x="15156" y="2240"/>
                      </a:lnTo>
                      <a:lnTo>
                        <a:pt x="15156" y="2249"/>
                      </a:lnTo>
                      <a:lnTo>
                        <a:pt x="15172" y="2256"/>
                      </a:lnTo>
                      <a:lnTo>
                        <a:pt x="15172" y="2249"/>
                      </a:lnTo>
                      <a:lnTo>
                        <a:pt x="15156" y="2240"/>
                      </a:lnTo>
                      <a:lnTo>
                        <a:pt x="15194" y="2232"/>
                      </a:lnTo>
                      <a:lnTo>
                        <a:pt x="15198" y="2240"/>
                      </a:lnTo>
                      <a:lnTo>
                        <a:pt x="15198" y="2249"/>
                      </a:lnTo>
                      <a:lnTo>
                        <a:pt x="15215" y="2266"/>
                      </a:lnTo>
                      <a:lnTo>
                        <a:pt x="15210" y="2232"/>
                      </a:lnTo>
                      <a:lnTo>
                        <a:pt x="15232" y="2166"/>
                      </a:lnTo>
                      <a:lnTo>
                        <a:pt x="15227" y="2162"/>
                      </a:lnTo>
                      <a:lnTo>
                        <a:pt x="15236" y="2145"/>
                      </a:lnTo>
                      <a:lnTo>
                        <a:pt x="15210" y="2112"/>
                      </a:lnTo>
                      <a:lnTo>
                        <a:pt x="15182" y="2105"/>
                      </a:lnTo>
                      <a:lnTo>
                        <a:pt x="15182" y="2100"/>
                      </a:lnTo>
                      <a:lnTo>
                        <a:pt x="15210" y="2051"/>
                      </a:lnTo>
                      <a:lnTo>
                        <a:pt x="15210" y="2029"/>
                      </a:lnTo>
                      <a:lnTo>
                        <a:pt x="15215" y="2018"/>
                      </a:lnTo>
                      <a:lnTo>
                        <a:pt x="15210" y="2018"/>
                      </a:lnTo>
                      <a:lnTo>
                        <a:pt x="15215" y="1977"/>
                      </a:lnTo>
                      <a:lnTo>
                        <a:pt x="15156" y="1940"/>
                      </a:lnTo>
                      <a:lnTo>
                        <a:pt x="15156" y="1923"/>
                      </a:lnTo>
                      <a:lnTo>
                        <a:pt x="15210" y="1940"/>
                      </a:lnTo>
                      <a:lnTo>
                        <a:pt x="15291" y="1940"/>
                      </a:lnTo>
                      <a:lnTo>
                        <a:pt x="15333" y="1944"/>
                      </a:lnTo>
                      <a:lnTo>
                        <a:pt x="15340" y="1973"/>
                      </a:lnTo>
                      <a:lnTo>
                        <a:pt x="15378" y="1994"/>
                      </a:lnTo>
                      <a:lnTo>
                        <a:pt x="15378" y="2013"/>
                      </a:lnTo>
                      <a:lnTo>
                        <a:pt x="15395" y="2018"/>
                      </a:lnTo>
                      <a:lnTo>
                        <a:pt x="15395" y="2034"/>
                      </a:lnTo>
                      <a:lnTo>
                        <a:pt x="15302" y="2046"/>
                      </a:lnTo>
                      <a:lnTo>
                        <a:pt x="15291" y="2051"/>
                      </a:lnTo>
                      <a:lnTo>
                        <a:pt x="15291" y="2055"/>
                      </a:lnTo>
                      <a:lnTo>
                        <a:pt x="15269" y="2067"/>
                      </a:lnTo>
                      <a:lnTo>
                        <a:pt x="15265" y="2088"/>
                      </a:lnTo>
                      <a:lnTo>
                        <a:pt x="15319" y="2112"/>
                      </a:lnTo>
                      <a:lnTo>
                        <a:pt x="15324" y="2145"/>
                      </a:lnTo>
                      <a:lnTo>
                        <a:pt x="15340" y="2157"/>
                      </a:lnTo>
                      <a:lnTo>
                        <a:pt x="15387" y="2157"/>
                      </a:lnTo>
                      <a:lnTo>
                        <a:pt x="15371" y="2162"/>
                      </a:lnTo>
                      <a:lnTo>
                        <a:pt x="15463" y="2138"/>
                      </a:lnTo>
                      <a:lnTo>
                        <a:pt x="15463" y="2121"/>
                      </a:lnTo>
                      <a:lnTo>
                        <a:pt x="15454" y="2105"/>
                      </a:lnTo>
                      <a:lnTo>
                        <a:pt x="15480" y="2072"/>
                      </a:lnTo>
                      <a:lnTo>
                        <a:pt x="15470" y="2055"/>
                      </a:lnTo>
                      <a:lnTo>
                        <a:pt x="15480" y="2051"/>
                      </a:lnTo>
                      <a:lnTo>
                        <a:pt x="15534" y="2046"/>
                      </a:lnTo>
                      <a:lnTo>
                        <a:pt x="15555" y="2055"/>
                      </a:lnTo>
                      <a:lnTo>
                        <a:pt x="15522" y="2018"/>
                      </a:lnTo>
                      <a:lnTo>
                        <a:pt x="15572" y="2029"/>
                      </a:lnTo>
                      <a:lnTo>
                        <a:pt x="15626" y="1994"/>
                      </a:lnTo>
                      <a:lnTo>
                        <a:pt x="15609" y="2013"/>
                      </a:lnTo>
                      <a:lnTo>
                        <a:pt x="15614" y="2001"/>
                      </a:lnTo>
                      <a:lnTo>
                        <a:pt x="15680" y="1961"/>
                      </a:lnTo>
                      <a:lnTo>
                        <a:pt x="15697" y="1961"/>
                      </a:lnTo>
                      <a:lnTo>
                        <a:pt x="15765" y="1940"/>
                      </a:lnTo>
                      <a:lnTo>
                        <a:pt x="15787" y="1944"/>
                      </a:lnTo>
                      <a:lnTo>
                        <a:pt x="15772" y="1961"/>
                      </a:lnTo>
                      <a:lnTo>
                        <a:pt x="15777" y="1973"/>
                      </a:lnTo>
                      <a:lnTo>
                        <a:pt x="15810" y="1956"/>
                      </a:lnTo>
                      <a:lnTo>
                        <a:pt x="15794" y="1940"/>
                      </a:lnTo>
                      <a:lnTo>
                        <a:pt x="15810" y="1935"/>
                      </a:lnTo>
                      <a:lnTo>
                        <a:pt x="15777" y="1935"/>
                      </a:lnTo>
                      <a:lnTo>
                        <a:pt x="15886" y="1890"/>
                      </a:lnTo>
                      <a:lnTo>
                        <a:pt x="15938" y="1885"/>
                      </a:lnTo>
                      <a:lnTo>
                        <a:pt x="15874" y="1902"/>
                      </a:lnTo>
                      <a:lnTo>
                        <a:pt x="15900" y="1902"/>
                      </a:lnTo>
                      <a:lnTo>
                        <a:pt x="15879" y="1935"/>
                      </a:lnTo>
                      <a:lnTo>
                        <a:pt x="15895" y="1961"/>
                      </a:lnTo>
                      <a:lnTo>
                        <a:pt x="15886" y="1973"/>
                      </a:lnTo>
                      <a:lnTo>
                        <a:pt x="15874" y="1956"/>
                      </a:lnTo>
                      <a:lnTo>
                        <a:pt x="15879" y="1973"/>
                      </a:lnTo>
                      <a:lnTo>
                        <a:pt x="15862" y="1961"/>
                      </a:lnTo>
                      <a:lnTo>
                        <a:pt x="15848" y="1977"/>
                      </a:lnTo>
                      <a:lnTo>
                        <a:pt x="15917" y="1989"/>
                      </a:lnTo>
                      <a:lnTo>
                        <a:pt x="15933" y="1973"/>
                      </a:lnTo>
                      <a:lnTo>
                        <a:pt x="15954" y="1989"/>
                      </a:lnTo>
                      <a:lnTo>
                        <a:pt x="15966" y="1977"/>
                      </a:lnTo>
                      <a:lnTo>
                        <a:pt x="15966" y="1973"/>
                      </a:lnTo>
                      <a:lnTo>
                        <a:pt x="15966" y="1961"/>
                      </a:lnTo>
                      <a:lnTo>
                        <a:pt x="15992" y="1940"/>
                      </a:lnTo>
                      <a:lnTo>
                        <a:pt x="16042" y="1923"/>
                      </a:lnTo>
                      <a:lnTo>
                        <a:pt x="16134" y="1940"/>
                      </a:lnTo>
                      <a:lnTo>
                        <a:pt x="16155" y="1918"/>
                      </a:lnTo>
                      <a:lnTo>
                        <a:pt x="16181" y="1918"/>
                      </a:lnTo>
                      <a:lnTo>
                        <a:pt x="16181" y="1906"/>
                      </a:lnTo>
                      <a:lnTo>
                        <a:pt x="16198" y="1902"/>
                      </a:lnTo>
                      <a:lnTo>
                        <a:pt x="16209" y="1918"/>
                      </a:lnTo>
                      <a:lnTo>
                        <a:pt x="16202" y="1906"/>
                      </a:lnTo>
                      <a:lnTo>
                        <a:pt x="16202" y="1902"/>
                      </a:lnTo>
                      <a:lnTo>
                        <a:pt x="16240" y="1885"/>
                      </a:lnTo>
                      <a:lnTo>
                        <a:pt x="16273" y="1885"/>
                      </a:lnTo>
                      <a:lnTo>
                        <a:pt x="16240" y="1890"/>
                      </a:lnTo>
                      <a:lnTo>
                        <a:pt x="16278" y="1918"/>
                      </a:lnTo>
                      <a:lnTo>
                        <a:pt x="16257" y="1935"/>
                      </a:lnTo>
                      <a:lnTo>
                        <a:pt x="16257" y="1956"/>
                      </a:lnTo>
                      <a:lnTo>
                        <a:pt x="16311" y="1961"/>
                      </a:lnTo>
                      <a:lnTo>
                        <a:pt x="16316" y="1956"/>
                      </a:lnTo>
                      <a:lnTo>
                        <a:pt x="16306" y="1935"/>
                      </a:lnTo>
                      <a:lnTo>
                        <a:pt x="16311" y="1923"/>
                      </a:lnTo>
                      <a:lnTo>
                        <a:pt x="16361" y="1923"/>
                      </a:lnTo>
                      <a:lnTo>
                        <a:pt x="16387" y="1902"/>
                      </a:lnTo>
                      <a:lnTo>
                        <a:pt x="16387" y="1866"/>
                      </a:lnTo>
                      <a:lnTo>
                        <a:pt x="16365" y="1866"/>
                      </a:lnTo>
                      <a:lnTo>
                        <a:pt x="16361" y="1845"/>
                      </a:lnTo>
                      <a:lnTo>
                        <a:pt x="16332" y="1812"/>
                      </a:lnTo>
                      <a:lnTo>
                        <a:pt x="16344" y="1795"/>
                      </a:lnTo>
                      <a:lnTo>
                        <a:pt x="16365" y="1795"/>
                      </a:lnTo>
                      <a:lnTo>
                        <a:pt x="16370" y="1779"/>
                      </a:lnTo>
                      <a:lnTo>
                        <a:pt x="16382" y="1774"/>
                      </a:lnTo>
                      <a:lnTo>
                        <a:pt x="16543" y="1795"/>
                      </a:lnTo>
                      <a:lnTo>
                        <a:pt x="16613" y="1812"/>
                      </a:lnTo>
                      <a:lnTo>
                        <a:pt x="16672" y="1845"/>
                      </a:lnTo>
                      <a:lnTo>
                        <a:pt x="16656" y="1850"/>
                      </a:lnTo>
                      <a:lnTo>
                        <a:pt x="16656" y="1866"/>
                      </a:lnTo>
                      <a:lnTo>
                        <a:pt x="16684" y="1850"/>
                      </a:lnTo>
                      <a:lnTo>
                        <a:pt x="16739" y="1866"/>
                      </a:lnTo>
                      <a:lnTo>
                        <a:pt x="16722" y="1878"/>
                      </a:lnTo>
                      <a:lnTo>
                        <a:pt x="16819" y="1906"/>
                      </a:lnTo>
                      <a:lnTo>
                        <a:pt x="16814" y="1906"/>
                      </a:lnTo>
                      <a:lnTo>
                        <a:pt x="16831" y="1923"/>
                      </a:lnTo>
                      <a:lnTo>
                        <a:pt x="16899" y="1956"/>
                      </a:lnTo>
                      <a:lnTo>
                        <a:pt x="16906" y="1973"/>
                      </a:lnTo>
                      <a:lnTo>
                        <a:pt x="16899" y="1977"/>
                      </a:lnTo>
                      <a:lnTo>
                        <a:pt x="16906" y="1989"/>
                      </a:lnTo>
                      <a:lnTo>
                        <a:pt x="16916" y="1977"/>
                      </a:lnTo>
                      <a:lnTo>
                        <a:pt x="16958" y="1902"/>
                      </a:lnTo>
                      <a:lnTo>
                        <a:pt x="16954" y="1902"/>
                      </a:lnTo>
                      <a:lnTo>
                        <a:pt x="16970" y="1890"/>
                      </a:lnTo>
                      <a:lnTo>
                        <a:pt x="16937" y="1902"/>
                      </a:lnTo>
                      <a:lnTo>
                        <a:pt x="16916" y="1885"/>
                      </a:lnTo>
                      <a:lnTo>
                        <a:pt x="16890" y="1850"/>
                      </a:lnTo>
                      <a:lnTo>
                        <a:pt x="16890" y="1812"/>
                      </a:lnTo>
                      <a:lnTo>
                        <a:pt x="16883" y="1824"/>
                      </a:lnTo>
                      <a:lnTo>
                        <a:pt x="16814" y="1795"/>
                      </a:lnTo>
                      <a:lnTo>
                        <a:pt x="16814" y="1824"/>
                      </a:lnTo>
                      <a:lnTo>
                        <a:pt x="16798" y="1812"/>
                      </a:lnTo>
                      <a:lnTo>
                        <a:pt x="16798" y="1791"/>
                      </a:lnTo>
                      <a:lnTo>
                        <a:pt x="16807" y="1758"/>
                      </a:lnTo>
                      <a:lnTo>
                        <a:pt x="16814" y="1751"/>
                      </a:lnTo>
                      <a:lnTo>
                        <a:pt x="16814" y="1767"/>
                      </a:lnTo>
                      <a:lnTo>
                        <a:pt x="16831" y="1758"/>
                      </a:lnTo>
                      <a:lnTo>
                        <a:pt x="16835" y="1739"/>
                      </a:lnTo>
                      <a:lnTo>
                        <a:pt x="16819" y="1734"/>
                      </a:lnTo>
                      <a:lnTo>
                        <a:pt x="16835" y="1663"/>
                      </a:lnTo>
                      <a:lnTo>
                        <a:pt x="16819" y="1647"/>
                      </a:lnTo>
                      <a:lnTo>
                        <a:pt x="16793" y="1663"/>
                      </a:lnTo>
                      <a:lnTo>
                        <a:pt x="16793" y="1640"/>
                      </a:lnTo>
                      <a:lnTo>
                        <a:pt x="16807" y="1614"/>
                      </a:lnTo>
                      <a:lnTo>
                        <a:pt x="16798" y="1630"/>
                      </a:lnTo>
                      <a:lnTo>
                        <a:pt x="16793" y="1623"/>
                      </a:lnTo>
                      <a:lnTo>
                        <a:pt x="16807" y="1590"/>
                      </a:lnTo>
                      <a:lnTo>
                        <a:pt x="16883" y="1557"/>
                      </a:lnTo>
                      <a:lnTo>
                        <a:pt x="16916" y="1519"/>
                      </a:lnTo>
                      <a:lnTo>
                        <a:pt x="16954" y="1401"/>
                      </a:lnTo>
                      <a:lnTo>
                        <a:pt x="16970" y="1384"/>
                      </a:lnTo>
                      <a:lnTo>
                        <a:pt x="16975" y="1368"/>
                      </a:lnTo>
                      <a:lnTo>
                        <a:pt x="17013" y="1363"/>
                      </a:lnTo>
                      <a:lnTo>
                        <a:pt x="16991" y="1368"/>
                      </a:lnTo>
                      <a:lnTo>
                        <a:pt x="16996" y="1375"/>
                      </a:lnTo>
                      <a:lnTo>
                        <a:pt x="17138" y="1368"/>
                      </a:lnTo>
                      <a:lnTo>
                        <a:pt x="17171" y="1384"/>
                      </a:lnTo>
                      <a:lnTo>
                        <a:pt x="17154" y="1384"/>
                      </a:lnTo>
                      <a:lnTo>
                        <a:pt x="17223" y="1401"/>
                      </a:lnTo>
                      <a:lnTo>
                        <a:pt x="17213" y="1418"/>
                      </a:lnTo>
                      <a:lnTo>
                        <a:pt x="17230" y="1458"/>
                      </a:lnTo>
                      <a:lnTo>
                        <a:pt x="17197" y="1503"/>
                      </a:lnTo>
                      <a:lnTo>
                        <a:pt x="17192" y="1512"/>
                      </a:lnTo>
                      <a:lnTo>
                        <a:pt x="17192" y="1536"/>
                      </a:lnTo>
                      <a:lnTo>
                        <a:pt x="17154" y="1569"/>
                      </a:lnTo>
                      <a:lnTo>
                        <a:pt x="17171" y="1590"/>
                      </a:lnTo>
                      <a:lnTo>
                        <a:pt x="17209" y="1614"/>
                      </a:lnTo>
                      <a:lnTo>
                        <a:pt x="17209" y="1623"/>
                      </a:lnTo>
                      <a:lnTo>
                        <a:pt x="17223" y="1647"/>
                      </a:lnTo>
                      <a:lnTo>
                        <a:pt x="17213" y="1680"/>
                      </a:lnTo>
                      <a:lnTo>
                        <a:pt x="17223" y="1701"/>
                      </a:lnTo>
                      <a:lnTo>
                        <a:pt x="17192" y="1722"/>
                      </a:lnTo>
                      <a:lnTo>
                        <a:pt x="17209" y="1734"/>
                      </a:lnTo>
                      <a:lnTo>
                        <a:pt x="17197" y="1751"/>
                      </a:lnTo>
                      <a:lnTo>
                        <a:pt x="17213" y="1774"/>
                      </a:lnTo>
                      <a:lnTo>
                        <a:pt x="17197" y="1807"/>
                      </a:lnTo>
                      <a:lnTo>
                        <a:pt x="17209" y="1829"/>
                      </a:lnTo>
                      <a:lnTo>
                        <a:pt x="17197" y="1866"/>
                      </a:lnTo>
                      <a:lnTo>
                        <a:pt x="17209" y="1890"/>
                      </a:lnTo>
                      <a:lnTo>
                        <a:pt x="17213" y="1906"/>
                      </a:lnTo>
                      <a:lnTo>
                        <a:pt x="17268" y="1940"/>
                      </a:lnTo>
                      <a:lnTo>
                        <a:pt x="17284" y="1956"/>
                      </a:lnTo>
                      <a:lnTo>
                        <a:pt x="17268" y="1944"/>
                      </a:lnTo>
                      <a:lnTo>
                        <a:pt x="17246" y="1989"/>
                      </a:lnTo>
                      <a:lnTo>
                        <a:pt x="17239" y="1994"/>
                      </a:lnTo>
                      <a:lnTo>
                        <a:pt x="17251" y="2029"/>
                      </a:lnTo>
                      <a:lnTo>
                        <a:pt x="17239" y="2046"/>
                      </a:lnTo>
                      <a:lnTo>
                        <a:pt x="17209" y="2055"/>
                      </a:lnTo>
                      <a:lnTo>
                        <a:pt x="17209" y="2067"/>
                      </a:lnTo>
                      <a:lnTo>
                        <a:pt x="17192" y="2072"/>
                      </a:lnTo>
                      <a:lnTo>
                        <a:pt x="17197" y="2084"/>
                      </a:lnTo>
                      <a:lnTo>
                        <a:pt x="17192" y="2088"/>
                      </a:lnTo>
                      <a:lnTo>
                        <a:pt x="17171" y="2100"/>
                      </a:lnTo>
                      <a:lnTo>
                        <a:pt x="17185" y="2112"/>
                      </a:lnTo>
                      <a:lnTo>
                        <a:pt x="17176" y="2105"/>
                      </a:lnTo>
                      <a:lnTo>
                        <a:pt x="17154" y="2138"/>
                      </a:lnTo>
                      <a:lnTo>
                        <a:pt x="17121" y="2138"/>
                      </a:lnTo>
                      <a:lnTo>
                        <a:pt x="17138" y="2166"/>
                      </a:lnTo>
                      <a:lnTo>
                        <a:pt x="17138" y="2178"/>
                      </a:lnTo>
                      <a:lnTo>
                        <a:pt x="17100" y="2178"/>
                      </a:lnTo>
                      <a:lnTo>
                        <a:pt x="17088" y="2183"/>
                      </a:lnTo>
                      <a:lnTo>
                        <a:pt x="17079" y="2195"/>
                      </a:lnTo>
                      <a:lnTo>
                        <a:pt x="17046" y="2178"/>
                      </a:lnTo>
                      <a:lnTo>
                        <a:pt x="17079" y="2162"/>
                      </a:lnTo>
                      <a:lnTo>
                        <a:pt x="17046" y="2166"/>
                      </a:lnTo>
                      <a:lnTo>
                        <a:pt x="17013" y="2157"/>
                      </a:lnTo>
                      <a:lnTo>
                        <a:pt x="16954" y="2157"/>
                      </a:lnTo>
                      <a:lnTo>
                        <a:pt x="16958" y="2162"/>
                      </a:lnTo>
                      <a:lnTo>
                        <a:pt x="16958" y="2178"/>
                      </a:lnTo>
                      <a:lnTo>
                        <a:pt x="16982" y="2195"/>
                      </a:lnTo>
                      <a:lnTo>
                        <a:pt x="17050" y="2216"/>
                      </a:lnTo>
                      <a:lnTo>
                        <a:pt x="17133" y="2211"/>
                      </a:lnTo>
                      <a:lnTo>
                        <a:pt x="17171" y="2223"/>
                      </a:lnTo>
                      <a:lnTo>
                        <a:pt x="17192" y="2216"/>
                      </a:lnTo>
                      <a:lnTo>
                        <a:pt x="17192" y="2195"/>
                      </a:lnTo>
                      <a:lnTo>
                        <a:pt x="17197" y="2178"/>
                      </a:lnTo>
                      <a:lnTo>
                        <a:pt x="17230" y="2178"/>
                      </a:lnTo>
                      <a:lnTo>
                        <a:pt x="17294" y="2138"/>
                      </a:lnTo>
                      <a:lnTo>
                        <a:pt x="17298" y="2105"/>
                      </a:lnTo>
                      <a:lnTo>
                        <a:pt x="17298" y="2100"/>
                      </a:lnTo>
                      <a:lnTo>
                        <a:pt x="17353" y="2051"/>
                      </a:lnTo>
                      <a:lnTo>
                        <a:pt x="17360" y="2018"/>
                      </a:lnTo>
                      <a:lnTo>
                        <a:pt x="17353" y="1994"/>
                      </a:lnTo>
                      <a:lnTo>
                        <a:pt x="17332" y="1961"/>
                      </a:lnTo>
                      <a:lnTo>
                        <a:pt x="17336" y="1944"/>
                      </a:lnTo>
                      <a:lnTo>
                        <a:pt x="17336" y="1923"/>
                      </a:lnTo>
                      <a:lnTo>
                        <a:pt x="17353" y="1918"/>
                      </a:lnTo>
                      <a:lnTo>
                        <a:pt x="17483" y="1890"/>
                      </a:lnTo>
                      <a:lnTo>
                        <a:pt x="17495" y="1902"/>
                      </a:lnTo>
                      <a:lnTo>
                        <a:pt x="17495" y="1918"/>
                      </a:lnTo>
                      <a:lnTo>
                        <a:pt x="17537" y="1944"/>
                      </a:lnTo>
                      <a:lnTo>
                        <a:pt x="17537" y="1961"/>
                      </a:lnTo>
                      <a:lnTo>
                        <a:pt x="17532" y="1973"/>
                      </a:lnTo>
                      <a:lnTo>
                        <a:pt x="17537" y="1977"/>
                      </a:lnTo>
                      <a:lnTo>
                        <a:pt x="17532" y="2013"/>
                      </a:lnTo>
                      <a:lnTo>
                        <a:pt x="17537" y="2018"/>
                      </a:lnTo>
                      <a:lnTo>
                        <a:pt x="17520" y="2034"/>
                      </a:lnTo>
                      <a:lnTo>
                        <a:pt x="17570" y="2067"/>
                      </a:lnTo>
                      <a:lnTo>
                        <a:pt x="17662" y="2067"/>
                      </a:lnTo>
                      <a:lnTo>
                        <a:pt x="17646" y="2051"/>
                      </a:lnTo>
                      <a:lnTo>
                        <a:pt x="17624" y="2055"/>
                      </a:lnTo>
                      <a:lnTo>
                        <a:pt x="17617" y="2055"/>
                      </a:lnTo>
                      <a:lnTo>
                        <a:pt x="17629" y="2051"/>
                      </a:lnTo>
                      <a:lnTo>
                        <a:pt x="17549" y="2046"/>
                      </a:lnTo>
                      <a:lnTo>
                        <a:pt x="17554" y="1994"/>
                      </a:lnTo>
                      <a:lnTo>
                        <a:pt x="17601" y="1977"/>
                      </a:lnTo>
                      <a:lnTo>
                        <a:pt x="17587" y="1961"/>
                      </a:lnTo>
                      <a:lnTo>
                        <a:pt x="17587" y="1944"/>
                      </a:lnTo>
                      <a:lnTo>
                        <a:pt x="17570" y="1944"/>
                      </a:lnTo>
                      <a:lnTo>
                        <a:pt x="17563" y="1902"/>
                      </a:lnTo>
                      <a:lnTo>
                        <a:pt x="17445" y="1850"/>
                      </a:lnTo>
                      <a:lnTo>
                        <a:pt x="17407" y="1850"/>
                      </a:lnTo>
                      <a:lnTo>
                        <a:pt x="17360" y="1878"/>
                      </a:lnTo>
                      <a:lnTo>
                        <a:pt x="17332" y="1866"/>
                      </a:lnTo>
                      <a:lnTo>
                        <a:pt x="17298" y="1878"/>
                      </a:lnTo>
                      <a:lnTo>
                        <a:pt x="17284" y="1862"/>
                      </a:lnTo>
                      <a:lnTo>
                        <a:pt x="17298" y="1829"/>
                      </a:lnTo>
                      <a:lnTo>
                        <a:pt x="17268" y="1791"/>
                      </a:lnTo>
                      <a:lnTo>
                        <a:pt x="17294" y="1751"/>
                      </a:lnTo>
                      <a:lnTo>
                        <a:pt x="17284" y="1739"/>
                      </a:lnTo>
                      <a:lnTo>
                        <a:pt x="17332" y="1696"/>
                      </a:lnTo>
                      <a:lnTo>
                        <a:pt x="17332" y="1668"/>
                      </a:lnTo>
                      <a:lnTo>
                        <a:pt x="17298" y="1647"/>
                      </a:lnTo>
                      <a:lnTo>
                        <a:pt x="17298" y="1630"/>
                      </a:lnTo>
                      <a:lnTo>
                        <a:pt x="17268" y="1590"/>
                      </a:lnTo>
                      <a:lnTo>
                        <a:pt x="17239" y="1573"/>
                      </a:lnTo>
                      <a:lnTo>
                        <a:pt x="17268" y="1545"/>
                      </a:lnTo>
                      <a:lnTo>
                        <a:pt x="17268" y="1529"/>
                      </a:lnTo>
                      <a:lnTo>
                        <a:pt x="17268" y="1519"/>
                      </a:lnTo>
                      <a:lnTo>
                        <a:pt x="17369" y="1479"/>
                      </a:lnTo>
                      <a:lnTo>
                        <a:pt x="17386" y="1462"/>
                      </a:lnTo>
                      <a:lnTo>
                        <a:pt x="17386" y="1441"/>
                      </a:lnTo>
                      <a:lnTo>
                        <a:pt x="17374" y="1408"/>
                      </a:lnTo>
                      <a:lnTo>
                        <a:pt x="17360" y="1384"/>
                      </a:lnTo>
                      <a:lnTo>
                        <a:pt x="17374" y="1375"/>
                      </a:lnTo>
                      <a:lnTo>
                        <a:pt x="17402" y="1384"/>
                      </a:lnTo>
                      <a:lnTo>
                        <a:pt x="17412" y="1392"/>
                      </a:lnTo>
                      <a:lnTo>
                        <a:pt x="17402" y="1401"/>
                      </a:lnTo>
                      <a:lnTo>
                        <a:pt x="17424" y="1418"/>
                      </a:lnTo>
                      <a:lnTo>
                        <a:pt x="17412" y="1425"/>
                      </a:lnTo>
                      <a:lnTo>
                        <a:pt x="17428" y="1458"/>
                      </a:lnTo>
                      <a:lnTo>
                        <a:pt x="17391" y="1512"/>
                      </a:lnTo>
                      <a:lnTo>
                        <a:pt x="17391" y="1529"/>
                      </a:lnTo>
                      <a:lnTo>
                        <a:pt x="17407" y="1545"/>
                      </a:lnTo>
                      <a:lnTo>
                        <a:pt x="17407" y="1557"/>
                      </a:lnTo>
                      <a:lnTo>
                        <a:pt x="17391" y="1569"/>
                      </a:lnTo>
                      <a:lnTo>
                        <a:pt x="17391" y="1573"/>
                      </a:lnTo>
                      <a:lnTo>
                        <a:pt x="17428" y="1590"/>
                      </a:lnTo>
                      <a:lnTo>
                        <a:pt x="17511" y="1602"/>
                      </a:lnTo>
                      <a:lnTo>
                        <a:pt x="17511" y="1614"/>
                      </a:lnTo>
                      <a:lnTo>
                        <a:pt x="17516" y="1607"/>
                      </a:lnTo>
                      <a:lnTo>
                        <a:pt x="17563" y="1607"/>
                      </a:lnTo>
                      <a:lnTo>
                        <a:pt x="17575" y="1614"/>
                      </a:lnTo>
                      <a:lnTo>
                        <a:pt x="17587" y="1630"/>
                      </a:lnTo>
                      <a:lnTo>
                        <a:pt x="17617" y="1640"/>
                      </a:lnTo>
                      <a:lnTo>
                        <a:pt x="17662" y="1630"/>
                      </a:lnTo>
                      <a:lnTo>
                        <a:pt x="17624" y="1630"/>
                      </a:lnTo>
                      <a:lnTo>
                        <a:pt x="17617" y="1630"/>
                      </a:lnTo>
                      <a:lnTo>
                        <a:pt x="17624" y="1614"/>
                      </a:lnTo>
                      <a:lnTo>
                        <a:pt x="17608" y="1614"/>
                      </a:lnTo>
                      <a:lnTo>
                        <a:pt x="17624" y="1623"/>
                      </a:lnTo>
                      <a:lnTo>
                        <a:pt x="17617" y="1623"/>
                      </a:lnTo>
                      <a:lnTo>
                        <a:pt x="17601" y="1614"/>
                      </a:lnTo>
                      <a:lnTo>
                        <a:pt x="17608" y="1590"/>
                      </a:lnTo>
                      <a:lnTo>
                        <a:pt x="17575" y="1590"/>
                      </a:lnTo>
                      <a:lnTo>
                        <a:pt x="17587" y="1573"/>
                      </a:lnTo>
                      <a:lnTo>
                        <a:pt x="17570" y="1590"/>
                      </a:lnTo>
                      <a:lnTo>
                        <a:pt x="17549" y="1585"/>
                      </a:lnTo>
                      <a:lnTo>
                        <a:pt x="17554" y="1590"/>
                      </a:lnTo>
                      <a:lnTo>
                        <a:pt x="17461" y="1552"/>
                      </a:lnTo>
                      <a:lnTo>
                        <a:pt x="17445" y="1512"/>
                      </a:lnTo>
                      <a:lnTo>
                        <a:pt x="17457" y="1503"/>
                      </a:lnTo>
                      <a:lnTo>
                        <a:pt x="17511" y="1491"/>
                      </a:lnTo>
                      <a:lnTo>
                        <a:pt x="17554" y="1519"/>
                      </a:lnTo>
                      <a:lnTo>
                        <a:pt x="17591" y="1512"/>
                      </a:lnTo>
                      <a:lnTo>
                        <a:pt x="17601" y="1495"/>
                      </a:lnTo>
                      <a:lnTo>
                        <a:pt x="17587" y="1479"/>
                      </a:lnTo>
                      <a:lnTo>
                        <a:pt x="17537" y="1479"/>
                      </a:lnTo>
                      <a:lnTo>
                        <a:pt x="17549" y="1462"/>
                      </a:lnTo>
                      <a:lnTo>
                        <a:pt x="17563" y="1474"/>
                      </a:lnTo>
                      <a:lnTo>
                        <a:pt x="17575" y="1446"/>
                      </a:lnTo>
                      <a:lnTo>
                        <a:pt x="17624" y="1441"/>
                      </a:lnTo>
                      <a:lnTo>
                        <a:pt x="17693" y="1446"/>
                      </a:lnTo>
                      <a:lnTo>
                        <a:pt x="17785" y="1479"/>
                      </a:lnTo>
                      <a:lnTo>
                        <a:pt x="17785" y="1491"/>
                      </a:lnTo>
                      <a:lnTo>
                        <a:pt x="17769" y="1491"/>
                      </a:lnTo>
                      <a:lnTo>
                        <a:pt x="17839" y="1536"/>
                      </a:lnTo>
                      <a:lnTo>
                        <a:pt x="17927" y="1529"/>
                      </a:lnTo>
                      <a:lnTo>
                        <a:pt x="17953" y="1536"/>
                      </a:lnTo>
                      <a:lnTo>
                        <a:pt x="17941" y="1552"/>
                      </a:lnTo>
                      <a:lnTo>
                        <a:pt x="17932" y="1569"/>
                      </a:lnTo>
                      <a:lnTo>
                        <a:pt x="17889" y="1590"/>
                      </a:lnTo>
                      <a:lnTo>
                        <a:pt x="17894" y="1614"/>
                      </a:lnTo>
                      <a:lnTo>
                        <a:pt x="17877" y="1630"/>
                      </a:lnTo>
                      <a:lnTo>
                        <a:pt x="17894" y="1656"/>
                      </a:lnTo>
                      <a:lnTo>
                        <a:pt x="17872" y="1684"/>
                      </a:lnTo>
                      <a:lnTo>
                        <a:pt x="17894" y="1734"/>
                      </a:lnTo>
                      <a:lnTo>
                        <a:pt x="17877" y="1684"/>
                      </a:lnTo>
                      <a:lnTo>
                        <a:pt x="17898" y="1680"/>
                      </a:lnTo>
                      <a:lnTo>
                        <a:pt x="17898" y="1656"/>
                      </a:lnTo>
                      <a:lnTo>
                        <a:pt x="17910" y="1630"/>
                      </a:lnTo>
                      <a:lnTo>
                        <a:pt x="17948" y="1640"/>
                      </a:lnTo>
                      <a:lnTo>
                        <a:pt x="17941" y="1701"/>
                      </a:lnTo>
                      <a:lnTo>
                        <a:pt x="17910" y="1722"/>
                      </a:lnTo>
                      <a:lnTo>
                        <a:pt x="17910" y="1734"/>
                      </a:lnTo>
                      <a:lnTo>
                        <a:pt x="17948" y="1751"/>
                      </a:lnTo>
                      <a:lnTo>
                        <a:pt x="17948" y="1739"/>
                      </a:lnTo>
                      <a:lnTo>
                        <a:pt x="17932" y="1718"/>
                      </a:lnTo>
                      <a:lnTo>
                        <a:pt x="17969" y="1718"/>
                      </a:lnTo>
                      <a:lnTo>
                        <a:pt x="17986" y="1701"/>
                      </a:lnTo>
                      <a:lnTo>
                        <a:pt x="17969" y="1640"/>
                      </a:lnTo>
                      <a:lnTo>
                        <a:pt x="17948" y="1602"/>
                      </a:lnTo>
                      <a:lnTo>
                        <a:pt x="17979" y="1545"/>
                      </a:lnTo>
                      <a:lnTo>
                        <a:pt x="17965" y="1519"/>
                      </a:lnTo>
                      <a:lnTo>
                        <a:pt x="17915" y="1512"/>
                      </a:lnTo>
                      <a:lnTo>
                        <a:pt x="17877" y="1479"/>
                      </a:lnTo>
                      <a:lnTo>
                        <a:pt x="17889" y="1474"/>
                      </a:lnTo>
                      <a:lnTo>
                        <a:pt x="17877" y="1458"/>
                      </a:lnTo>
                      <a:lnTo>
                        <a:pt x="17806" y="1446"/>
                      </a:lnTo>
                      <a:lnTo>
                        <a:pt x="17780" y="1425"/>
                      </a:lnTo>
                      <a:lnTo>
                        <a:pt x="17785" y="1408"/>
                      </a:lnTo>
                      <a:lnTo>
                        <a:pt x="17769" y="1392"/>
                      </a:lnTo>
                      <a:lnTo>
                        <a:pt x="17785" y="1375"/>
                      </a:lnTo>
                      <a:lnTo>
                        <a:pt x="17785" y="1363"/>
                      </a:lnTo>
                      <a:lnTo>
                        <a:pt x="17752" y="1347"/>
                      </a:lnTo>
                      <a:lnTo>
                        <a:pt x="17764" y="1335"/>
                      </a:lnTo>
                      <a:lnTo>
                        <a:pt x="17738" y="1335"/>
                      </a:lnTo>
                      <a:lnTo>
                        <a:pt x="17764" y="1330"/>
                      </a:lnTo>
                      <a:lnTo>
                        <a:pt x="17747" y="1314"/>
                      </a:lnTo>
                      <a:lnTo>
                        <a:pt x="17769" y="1290"/>
                      </a:lnTo>
                      <a:lnTo>
                        <a:pt x="17764" y="1290"/>
                      </a:lnTo>
                      <a:lnTo>
                        <a:pt x="17764" y="1281"/>
                      </a:lnTo>
                      <a:lnTo>
                        <a:pt x="18054" y="1252"/>
                      </a:lnTo>
                      <a:lnTo>
                        <a:pt x="18092" y="1257"/>
                      </a:lnTo>
                      <a:lnTo>
                        <a:pt x="18146" y="1240"/>
                      </a:lnTo>
                      <a:lnTo>
                        <a:pt x="18222" y="1240"/>
                      </a:lnTo>
                      <a:lnTo>
                        <a:pt x="18217" y="1252"/>
                      </a:lnTo>
                      <a:lnTo>
                        <a:pt x="18130" y="1297"/>
                      </a:lnTo>
                      <a:lnTo>
                        <a:pt x="18130" y="1314"/>
                      </a:lnTo>
                      <a:lnTo>
                        <a:pt x="18196" y="1347"/>
                      </a:lnTo>
                      <a:lnTo>
                        <a:pt x="18201" y="1363"/>
                      </a:lnTo>
                      <a:lnTo>
                        <a:pt x="18196" y="1335"/>
                      </a:lnTo>
                      <a:lnTo>
                        <a:pt x="18142" y="1314"/>
                      </a:lnTo>
                      <a:lnTo>
                        <a:pt x="18130" y="1290"/>
                      </a:lnTo>
                      <a:lnTo>
                        <a:pt x="18234" y="1273"/>
                      </a:lnTo>
                      <a:lnTo>
                        <a:pt x="18267" y="1236"/>
                      </a:lnTo>
                      <a:lnTo>
                        <a:pt x="18239" y="1240"/>
                      </a:lnTo>
                      <a:lnTo>
                        <a:pt x="18217" y="1219"/>
                      </a:lnTo>
                      <a:lnTo>
                        <a:pt x="18250" y="1219"/>
                      </a:lnTo>
                      <a:lnTo>
                        <a:pt x="18239" y="1207"/>
                      </a:lnTo>
                      <a:lnTo>
                        <a:pt x="18213" y="1207"/>
                      </a:lnTo>
                      <a:lnTo>
                        <a:pt x="18201" y="1186"/>
                      </a:lnTo>
                      <a:lnTo>
                        <a:pt x="18184" y="1186"/>
                      </a:lnTo>
                      <a:lnTo>
                        <a:pt x="18142" y="1179"/>
                      </a:lnTo>
                      <a:lnTo>
                        <a:pt x="18142" y="1170"/>
                      </a:lnTo>
                      <a:lnTo>
                        <a:pt x="18168" y="1179"/>
                      </a:lnTo>
                      <a:lnTo>
                        <a:pt x="18146" y="1162"/>
                      </a:lnTo>
                      <a:lnTo>
                        <a:pt x="18180" y="1153"/>
                      </a:lnTo>
                      <a:lnTo>
                        <a:pt x="18213" y="1162"/>
                      </a:lnTo>
                      <a:lnTo>
                        <a:pt x="18196" y="1179"/>
                      </a:lnTo>
                      <a:lnTo>
                        <a:pt x="18222" y="1170"/>
                      </a:lnTo>
                      <a:lnTo>
                        <a:pt x="18184" y="1146"/>
                      </a:lnTo>
                      <a:lnTo>
                        <a:pt x="18196" y="1141"/>
                      </a:lnTo>
                      <a:lnTo>
                        <a:pt x="18184" y="1141"/>
                      </a:lnTo>
                      <a:lnTo>
                        <a:pt x="18130" y="1129"/>
                      </a:lnTo>
                      <a:lnTo>
                        <a:pt x="18158" y="1113"/>
                      </a:lnTo>
                      <a:lnTo>
                        <a:pt x="18146" y="1108"/>
                      </a:lnTo>
                      <a:lnTo>
                        <a:pt x="18213" y="1129"/>
                      </a:lnTo>
                      <a:lnTo>
                        <a:pt x="18213" y="1125"/>
                      </a:lnTo>
                      <a:lnTo>
                        <a:pt x="18201" y="1125"/>
                      </a:lnTo>
                      <a:lnTo>
                        <a:pt x="18239" y="1087"/>
                      </a:lnTo>
                      <a:lnTo>
                        <a:pt x="18234" y="1075"/>
                      </a:lnTo>
                      <a:lnTo>
                        <a:pt x="18255" y="1087"/>
                      </a:lnTo>
                      <a:lnTo>
                        <a:pt x="18272" y="1075"/>
                      </a:lnTo>
                      <a:lnTo>
                        <a:pt x="18213" y="1070"/>
                      </a:lnTo>
                      <a:lnTo>
                        <a:pt x="18217" y="1051"/>
                      </a:lnTo>
                      <a:lnTo>
                        <a:pt x="18288" y="1058"/>
                      </a:lnTo>
                      <a:lnTo>
                        <a:pt x="18373" y="1002"/>
                      </a:lnTo>
                      <a:lnTo>
                        <a:pt x="18395" y="1014"/>
                      </a:lnTo>
                      <a:lnTo>
                        <a:pt x="18428" y="997"/>
                      </a:lnTo>
                      <a:lnTo>
                        <a:pt x="18487" y="981"/>
                      </a:lnTo>
                      <a:lnTo>
                        <a:pt x="18541" y="981"/>
                      </a:lnTo>
                      <a:lnTo>
                        <a:pt x="18546" y="976"/>
                      </a:lnTo>
                      <a:lnTo>
                        <a:pt x="18720" y="943"/>
                      </a:lnTo>
                      <a:lnTo>
                        <a:pt x="18671" y="943"/>
                      </a:lnTo>
                      <a:lnTo>
                        <a:pt x="18666" y="947"/>
                      </a:lnTo>
                      <a:lnTo>
                        <a:pt x="18654" y="931"/>
                      </a:lnTo>
                      <a:lnTo>
                        <a:pt x="18645" y="943"/>
                      </a:lnTo>
                      <a:lnTo>
                        <a:pt x="18645" y="947"/>
                      </a:lnTo>
                      <a:lnTo>
                        <a:pt x="18628" y="943"/>
                      </a:lnTo>
                      <a:lnTo>
                        <a:pt x="18633" y="924"/>
                      </a:lnTo>
                      <a:lnTo>
                        <a:pt x="18654" y="924"/>
                      </a:lnTo>
                      <a:lnTo>
                        <a:pt x="18650" y="919"/>
                      </a:lnTo>
                      <a:lnTo>
                        <a:pt x="18666" y="919"/>
                      </a:lnTo>
                      <a:lnTo>
                        <a:pt x="18654" y="924"/>
                      </a:lnTo>
                      <a:lnTo>
                        <a:pt x="18666" y="931"/>
                      </a:lnTo>
                      <a:lnTo>
                        <a:pt x="18709" y="924"/>
                      </a:lnTo>
                      <a:lnTo>
                        <a:pt x="18683" y="907"/>
                      </a:lnTo>
                      <a:lnTo>
                        <a:pt x="18735" y="907"/>
                      </a:lnTo>
                      <a:lnTo>
                        <a:pt x="18742" y="924"/>
                      </a:lnTo>
                      <a:lnTo>
                        <a:pt x="18758" y="919"/>
                      </a:lnTo>
                      <a:lnTo>
                        <a:pt x="18742" y="907"/>
                      </a:lnTo>
                      <a:lnTo>
                        <a:pt x="18751" y="907"/>
                      </a:lnTo>
                      <a:lnTo>
                        <a:pt x="18865" y="919"/>
                      </a:lnTo>
                      <a:lnTo>
                        <a:pt x="18817" y="947"/>
                      </a:lnTo>
                      <a:lnTo>
                        <a:pt x="18827" y="947"/>
                      </a:lnTo>
                      <a:lnTo>
                        <a:pt x="18843" y="943"/>
                      </a:lnTo>
                      <a:lnTo>
                        <a:pt x="18881" y="931"/>
                      </a:lnTo>
                      <a:lnTo>
                        <a:pt x="18886" y="943"/>
                      </a:lnTo>
                      <a:lnTo>
                        <a:pt x="18881" y="947"/>
                      </a:lnTo>
                      <a:lnTo>
                        <a:pt x="18935" y="924"/>
                      </a:lnTo>
                      <a:lnTo>
                        <a:pt x="18940" y="924"/>
                      </a:lnTo>
                      <a:lnTo>
                        <a:pt x="18924" y="943"/>
                      </a:lnTo>
                      <a:lnTo>
                        <a:pt x="18973" y="931"/>
                      </a:lnTo>
                      <a:lnTo>
                        <a:pt x="18957" y="924"/>
                      </a:lnTo>
                      <a:lnTo>
                        <a:pt x="18994" y="919"/>
                      </a:lnTo>
                      <a:lnTo>
                        <a:pt x="19006" y="919"/>
                      </a:lnTo>
                      <a:lnTo>
                        <a:pt x="18978" y="907"/>
                      </a:lnTo>
                      <a:lnTo>
                        <a:pt x="19044" y="891"/>
                      </a:lnTo>
                      <a:lnTo>
                        <a:pt x="19032" y="903"/>
                      </a:lnTo>
                      <a:lnTo>
                        <a:pt x="19082" y="903"/>
                      </a:lnTo>
                      <a:lnTo>
                        <a:pt x="19065" y="907"/>
                      </a:lnTo>
                      <a:lnTo>
                        <a:pt x="19098" y="907"/>
                      </a:lnTo>
                      <a:lnTo>
                        <a:pt x="19087" y="919"/>
                      </a:lnTo>
                      <a:lnTo>
                        <a:pt x="19113" y="924"/>
                      </a:lnTo>
                      <a:lnTo>
                        <a:pt x="19103" y="959"/>
                      </a:lnTo>
                      <a:lnTo>
                        <a:pt x="19075" y="964"/>
                      </a:lnTo>
                      <a:lnTo>
                        <a:pt x="19065" y="997"/>
                      </a:lnTo>
                      <a:lnTo>
                        <a:pt x="19103" y="1014"/>
                      </a:lnTo>
                      <a:lnTo>
                        <a:pt x="19141" y="1051"/>
                      </a:lnTo>
                      <a:lnTo>
                        <a:pt x="19136" y="1035"/>
                      </a:lnTo>
                      <a:lnTo>
                        <a:pt x="19113" y="1018"/>
                      </a:lnTo>
                      <a:lnTo>
                        <a:pt x="19120" y="1014"/>
                      </a:lnTo>
                      <a:lnTo>
                        <a:pt x="19075" y="997"/>
                      </a:lnTo>
                      <a:lnTo>
                        <a:pt x="19082" y="964"/>
                      </a:lnTo>
                      <a:lnTo>
                        <a:pt x="19103" y="964"/>
                      </a:lnTo>
                      <a:lnTo>
                        <a:pt x="19120" y="947"/>
                      </a:lnTo>
                      <a:lnTo>
                        <a:pt x="19120" y="919"/>
                      </a:lnTo>
                      <a:lnTo>
                        <a:pt x="19103" y="891"/>
                      </a:lnTo>
                      <a:lnTo>
                        <a:pt x="19061" y="874"/>
                      </a:lnTo>
                      <a:lnTo>
                        <a:pt x="19044" y="865"/>
                      </a:lnTo>
                      <a:lnTo>
                        <a:pt x="19188" y="853"/>
                      </a:lnTo>
                      <a:lnTo>
                        <a:pt x="19280" y="874"/>
                      </a:lnTo>
                      <a:lnTo>
                        <a:pt x="19188" y="848"/>
                      </a:lnTo>
                      <a:lnTo>
                        <a:pt x="19205" y="848"/>
                      </a:lnTo>
                      <a:lnTo>
                        <a:pt x="19212" y="820"/>
                      </a:lnTo>
                      <a:lnTo>
                        <a:pt x="19188" y="799"/>
                      </a:lnTo>
                      <a:lnTo>
                        <a:pt x="19195" y="780"/>
                      </a:lnTo>
                      <a:lnTo>
                        <a:pt x="19212" y="780"/>
                      </a:lnTo>
                      <a:lnTo>
                        <a:pt x="19212" y="763"/>
                      </a:lnTo>
                      <a:lnTo>
                        <a:pt x="19276" y="721"/>
                      </a:lnTo>
                      <a:lnTo>
                        <a:pt x="19292" y="725"/>
                      </a:lnTo>
                      <a:lnTo>
                        <a:pt x="19351" y="681"/>
                      </a:lnTo>
                      <a:lnTo>
                        <a:pt x="19427" y="671"/>
                      </a:lnTo>
                      <a:lnTo>
                        <a:pt x="19439" y="671"/>
                      </a:lnTo>
                      <a:lnTo>
                        <a:pt x="19427" y="681"/>
                      </a:lnTo>
                      <a:lnTo>
                        <a:pt x="19460" y="671"/>
                      </a:lnTo>
                      <a:lnTo>
                        <a:pt x="19476" y="697"/>
                      </a:lnTo>
                      <a:lnTo>
                        <a:pt x="19507" y="697"/>
                      </a:lnTo>
                      <a:lnTo>
                        <a:pt x="19535" y="697"/>
                      </a:lnTo>
                      <a:lnTo>
                        <a:pt x="19552" y="721"/>
                      </a:lnTo>
                      <a:lnTo>
                        <a:pt x="19566" y="725"/>
                      </a:lnTo>
                      <a:lnTo>
                        <a:pt x="19528" y="725"/>
                      </a:lnTo>
                      <a:lnTo>
                        <a:pt x="19514" y="742"/>
                      </a:lnTo>
                      <a:lnTo>
                        <a:pt x="19422" y="763"/>
                      </a:lnTo>
                      <a:lnTo>
                        <a:pt x="19545" y="758"/>
                      </a:lnTo>
                      <a:lnTo>
                        <a:pt x="19535" y="775"/>
                      </a:lnTo>
                      <a:lnTo>
                        <a:pt x="19514" y="780"/>
                      </a:lnTo>
                      <a:lnTo>
                        <a:pt x="19604" y="775"/>
                      </a:lnTo>
                      <a:lnTo>
                        <a:pt x="19654" y="792"/>
                      </a:lnTo>
                      <a:lnTo>
                        <a:pt x="19637" y="799"/>
                      </a:lnTo>
                      <a:lnTo>
                        <a:pt x="19642" y="799"/>
                      </a:lnTo>
                      <a:lnTo>
                        <a:pt x="19590" y="848"/>
                      </a:lnTo>
                      <a:lnTo>
                        <a:pt x="19573" y="848"/>
                      </a:lnTo>
                      <a:lnTo>
                        <a:pt x="19573" y="853"/>
                      </a:lnTo>
                      <a:lnTo>
                        <a:pt x="19687" y="853"/>
                      </a:lnTo>
                      <a:lnTo>
                        <a:pt x="19691" y="836"/>
                      </a:lnTo>
                      <a:lnTo>
                        <a:pt x="19687" y="832"/>
                      </a:lnTo>
                      <a:lnTo>
                        <a:pt x="19687" y="820"/>
                      </a:lnTo>
                      <a:lnTo>
                        <a:pt x="19831" y="832"/>
                      </a:lnTo>
                      <a:lnTo>
                        <a:pt x="19906" y="820"/>
                      </a:lnTo>
                      <a:lnTo>
                        <a:pt x="19982" y="865"/>
                      </a:lnTo>
                      <a:lnTo>
                        <a:pt x="19961" y="874"/>
                      </a:lnTo>
                      <a:lnTo>
                        <a:pt x="19994" y="865"/>
                      </a:lnTo>
                      <a:lnTo>
                        <a:pt x="20020" y="886"/>
                      </a:lnTo>
                      <a:lnTo>
                        <a:pt x="20015" y="903"/>
                      </a:lnTo>
                      <a:lnTo>
                        <a:pt x="20010" y="891"/>
                      </a:lnTo>
                      <a:lnTo>
                        <a:pt x="20031" y="907"/>
                      </a:lnTo>
                      <a:lnTo>
                        <a:pt x="20010" y="924"/>
                      </a:lnTo>
                      <a:lnTo>
                        <a:pt x="20065" y="907"/>
                      </a:lnTo>
                      <a:lnTo>
                        <a:pt x="20036" y="891"/>
                      </a:lnTo>
                      <a:lnTo>
                        <a:pt x="20065" y="891"/>
                      </a:lnTo>
                      <a:lnTo>
                        <a:pt x="20074" y="907"/>
                      </a:lnTo>
                      <a:lnTo>
                        <a:pt x="20074" y="947"/>
                      </a:lnTo>
                      <a:lnTo>
                        <a:pt x="20091" y="943"/>
                      </a:lnTo>
                      <a:lnTo>
                        <a:pt x="20102" y="959"/>
                      </a:lnTo>
                      <a:lnTo>
                        <a:pt x="20091" y="985"/>
                      </a:lnTo>
                      <a:lnTo>
                        <a:pt x="20074" y="997"/>
                      </a:lnTo>
                      <a:lnTo>
                        <a:pt x="20069" y="997"/>
                      </a:lnTo>
                      <a:lnTo>
                        <a:pt x="20086" y="981"/>
                      </a:lnTo>
                      <a:lnTo>
                        <a:pt x="19994" y="959"/>
                      </a:lnTo>
                      <a:lnTo>
                        <a:pt x="20031" y="976"/>
                      </a:lnTo>
                      <a:lnTo>
                        <a:pt x="20031" y="997"/>
                      </a:lnTo>
                      <a:lnTo>
                        <a:pt x="20065" y="981"/>
                      </a:lnTo>
                      <a:lnTo>
                        <a:pt x="20065" y="997"/>
                      </a:lnTo>
                      <a:lnTo>
                        <a:pt x="20086" y="1002"/>
                      </a:lnTo>
                      <a:lnTo>
                        <a:pt x="20091" y="1018"/>
                      </a:lnTo>
                      <a:lnTo>
                        <a:pt x="20074" y="1018"/>
                      </a:lnTo>
                      <a:lnTo>
                        <a:pt x="20086" y="1030"/>
                      </a:lnTo>
                      <a:lnTo>
                        <a:pt x="20031" y="1075"/>
                      </a:lnTo>
                      <a:lnTo>
                        <a:pt x="19977" y="1092"/>
                      </a:lnTo>
                      <a:lnTo>
                        <a:pt x="19956" y="1125"/>
                      </a:lnTo>
                      <a:lnTo>
                        <a:pt x="19930" y="1125"/>
                      </a:lnTo>
                      <a:lnTo>
                        <a:pt x="19902" y="1141"/>
                      </a:lnTo>
                      <a:lnTo>
                        <a:pt x="19854" y="1153"/>
                      </a:lnTo>
                      <a:lnTo>
                        <a:pt x="19859" y="1153"/>
                      </a:lnTo>
                      <a:lnTo>
                        <a:pt x="19847" y="1170"/>
                      </a:lnTo>
                      <a:lnTo>
                        <a:pt x="19800" y="1170"/>
                      </a:lnTo>
                      <a:lnTo>
                        <a:pt x="19831" y="1179"/>
                      </a:lnTo>
                      <a:lnTo>
                        <a:pt x="19821" y="1195"/>
                      </a:lnTo>
                      <a:lnTo>
                        <a:pt x="19767" y="1219"/>
                      </a:lnTo>
                      <a:lnTo>
                        <a:pt x="19708" y="1264"/>
                      </a:lnTo>
                      <a:lnTo>
                        <a:pt x="19628" y="1273"/>
                      </a:lnTo>
                      <a:lnTo>
                        <a:pt x="19628" y="1281"/>
                      </a:lnTo>
                      <a:lnTo>
                        <a:pt x="19604" y="1314"/>
                      </a:lnTo>
                      <a:lnTo>
                        <a:pt x="19552" y="1318"/>
                      </a:lnTo>
                      <a:lnTo>
                        <a:pt x="19535" y="1363"/>
                      </a:lnTo>
                      <a:lnTo>
                        <a:pt x="19498" y="1392"/>
                      </a:lnTo>
                      <a:lnTo>
                        <a:pt x="19566" y="1363"/>
                      </a:lnTo>
                      <a:lnTo>
                        <a:pt x="19561" y="1347"/>
                      </a:lnTo>
                      <a:lnTo>
                        <a:pt x="19573" y="1330"/>
                      </a:lnTo>
                      <a:lnTo>
                        <a:pt x="19604" y="1335"/>
                      </a:lnTo>
                      <a:lnTo>
                        <a:pt x="19713" y="1330"/>
                      </a:lnTo>
                      <a:lnTo>
                        <a:pt x="19708" y="1318"/>
                      </a:lnTo>
                      <a:lnTo>
                        <a:pt x="19779" y="1307"/>
                      </a:lnTo>
                      <a:lnTo>
                        <a:pt x="19779" y="1290"/>
                      </a:lnTo>
                      <a:lnTo>
                        <a:pt x="19793" y="1297"/>
                      </a:lnTo>
                      <a:lnTo>
                        <a:pt x="19779" y="1281"/>
                      </a:lnTo>
                      <a:lnTo>
                        <a:pt x="19817" y="1297"/>
                      </a:lnTo>
                      <a:lnTo>
                        <a:pt x="19892" y="1264"/>
                      </a:lnTo>
                      <a:lnTo>
                        <a:pt x="19892" y="1252"/>
                      </a:lnTo>
                      <a:lnTo>
                        <a:pt x="19876" y="1252"/>
                      </a:lnTo>
                      <a:lnTo>
                        <a:pt x="19817" y="1264"/>
                      </a:lnTo>
                      <a:lnTo>
                        <a:pt x="19800" y="1252"/>
                      </a:lnTo>
                      <a:lnTo>
                        <a:pt x="19821" y="1224"/>
                      </a:lnTo>
                      <a:lnTo>
                        <a:pt x="19847" y="1219"/>
                      </a:lnTo>
                      <a:lnTo>
                        <a:pt x="19902" y="1236"/>
                      </a:lnTo>
                      <a:lnTo>
                        <a:pt x="19906" y="1219"/>
                      </a:lnTo>
                      <a:lnTo>
                        <a:pt x="19939" y="1207"/>
                      </a:lnTo>
                      <a:lnTo>
                        <a:pt x="19913" y="1224"/>
                      </a:lnTo>
                      <a:lnTo>
                        <a:pt x="19930" y="1240"/>
                      </a:lnTo>
                      <a:lnTo>
                        <a:pt x="19982" y="1257"/>
                      </a:lnTo>
                      <a:lnTo>
                        <a:pt x="20031" y="1252"/>
                      </a:lnTo>
                      <a:lnTo>
                        <a:pt x="20036" y="1240"/>
                      </a:lnTo>
                      <a:lnTo>
                        <a:pt x="20031" y="1224"/>
                      </a:lnTo>
                      <a:lnTo>
                        <a:pt x="20069" y="1264"/>
                      </a:lnTo>
                      <a:lnTo>
                        <a:pt x="20053" y="1297"/>
                      </a:lnTo>
                      <a:lnTo>
                        <a:pt x="20074" y="1314"/>
                      </a:lnTo>
                      <a:lnTo>
                        <a:pt x="20074" y="1363"/>
                      </a:lnTo>
                      <a:lnTo>
                        <a:pt x="20048" y="1375"/>
                      </a:lnTo>
                      <a:lnTo>
                        <a:pt x="20053" y="1392"/>
                      </a:lnTo>
                      <a:lnTo>
                        <a:pt x="20119" y="1418"/>
                      </a:lnTo>
                      <a:lnTo>
                        <a:pt x="20069" y="1401"/>
                      </a:lnTo>
                      <a:lnTo>
                        <a:pt x="20053" y="1384"/>
                      </a:lnTo>
                      <a:lnTo>
                        <a:pt x="20074" y="1363"/>
                      </a:lnTo>
                      <a:lnTo>
                        <a:pt x="20074" y="1318"/>
                      </a:lnTo>
                      <a:lnTo>
                        <a:pt x="20119" y="1314"/>
                      </a:lnTo>
                      <a:lnTo>
                        <a:pt x="20091" y="1314"/>
                      </a:lnTo>
                      <a:lnTo>
                        <a:pt x="20074" y="1290"/>
                      </a:lnTo>
                      <a:lnTo>
                        <a:pt x="20216" y="1257"/>
                      </a:lnTo>
                      <a:lnTo>
                        <a:pt x="20443" y="1281"/>
                      </a:lnTo>
                      <a:lnTo>
                        <a:pt x="20464" y="1290"/>
                      </a:lnTo>
                      <a:lnTo>
                        <a:pt x="20426" y="1290"/>
                      </a:lnTo>
                      <a:lnTo>
                        <a:pt x="20414" y="1297"/>
                      </a:lnTo>
                      <a:lnTo>
                        <a:pt x="20414" y="1330"/>
                      </a:lnTo>
                      <a:lnTo>
                        <a:pt x="20502" y="1351"/>
                      </a:lnTo>
                      <a:lnTo>
                        <a:pt x="20518" y="1368"/>
                      </a:lnTo>
                      <a:lnTo>
                        <a:pt x="20572" y="1375"/>
                      </a:lnTo>
                      <a:lnTo>
                        <a:pt x="20518" y="1363"/>
                      </a:lnTo>
                      <a:lnTo>
                        <a:pt x="20662" y="1363"/>
                      </a:lnTo>
                      <a:lnTo>
                        <a:pt x="20766" y="1392"/>
                      </a:lnTo>
                      <a:lnTo>
                        <a:pt x="20792" y="1392"/>
                      </a:lnTo>
                      <a:lnTo>
                        <a:pt x="20863" y="1408"/>
                      </a:lnTo>
                      <a:lnTo>
                        <a:pt x="20965" y="1458"/>
                      </a:lnTo>
                      <a:lnTo>
                        <a:pt x="20981" y="1446"/>
                      </a:lnTo>
                      <a:lnTo>
                        <a:pt x="21035" y="1512"/>
                      </a:lnTo>
                      <a:lnTo>
                        <a:pt x="21026" y="1529"/>
                      </a:lnTo>
                      <a:lnTo>
                        <a:pt x="21040" y="1573"/>
                      </a:lnTo>
                      <a:lnTo>
                        <a:pt x="21040" y="1569"/>
                      </a:lnTo>
                      <a:lnTo>
                        <a:pt x="21035" y="1529"/>
                      </a:lnTo>
                      <a:lnTo>
                        <a:pt x="21047" y="1512"/>
                      </a:lnTo>
                      <a:lnTo>
                        <a:pt x="21019" y="1491"/>
                      </a:lnTo>
                      <a:lnTo>
                        <a:pt x="21019" y="1458"/>
                      </a:lnTo>
                      <a:lnTo>
                        <a:pt x="21002" y="1441"/>
                      </a:lnTo>
                      <a:lnTo>
                        <a:pt x="21073" y="1446"/>
                      </a:lnTo>
                      <a:lnTo>
                        <a:pt x="21111" y="1479"/>
                      </a:lnTo>
                      <a:lnTo>
                        <a:pt x="21144" y="1529"/>
                      </a:lnTo>
                      <a:lnTo>
                        <a:pt x="21170" y="1519"/>
                      </a:lnTo>
                      <a:lnTo>
                        <a:pt x="21165" y="1495"/>
                      </a:lnTo>
                      <a:lnTo>
                        <a:pt x="21203" y="1536"/>
                      </a:lnTo>
                      <a:lnTo>
                        <a:pt x="21154" y="1536"/>
                      </a:lnTo>
                      <a:lnTo>
                        <a:pt x="21149" y="1545"/>
                      </a:lnTo>
                      <a:lnTo>
                        <a:pt x="21149" y="1552"/>
                      </a:lnTo>
                      <a:lnTo>
                        <a:pt x="21170" y="1552"/>
                      </a:lnTo>
                      <a:lnTo>
                        <a:pt x="21187" y="1585"/>
                      </a:lnTo>
                      <a:lnTo>
                        <a:pt x="21208" y="1590"/>
                      </a:lnTo>
                      <a:lnTo>
                        <a:pt x="21208" y="1614"/>
                      </a:lnTo>
                      <a:lnTo>
                        <a:pt x="21236" y="1614"/>
                      </a:lnTo>
                      <a:lnTo>
                        <a:pt x="21253" y="1630"/>
                      </a:lnTo>
                      <a:lnTo>
                        <a:pt x="21241" y="1630"/>
                      </a:lnTo>
                      <a:lnTo>
                        <a:pt x="21274" y="1647"/>
                      </a:lnTo>
                      <a:lnTo>
                        <a:pt x="21291" y="1630"/>
                      </a:lnTo>
                      <a:lnTo>
                        <a:pt x="21295" y="1663"/>
                      </a:lnTo>
                      <a:lnTo>
                        <a:pt x="21312" y="1663"/>
                      </a:lnTo>
                      <a:lnTo>
                        <a:pt x="21342" y="1647"/>
                      </a:lnTo>
                      <a:lnTo>
                        <a:pt x="21366" y="1602"/>
                      </a:lnTo>
                      <a:lnTo>
                        <a:pt x="21387" y="1602"/>
                      </a:lnTo>
                      <a:lnTo>
                        <a:pt x="21371" y="1590"/>
                      </a:lnTo>
                      <a:lnTo>
                        <a:pt x="21387" y="1536"/>
                      </a:lnTo>
                      <a:lnTo>
                        <a:pt x="21425" y="1503"/>
                      </a:lnTo>
                      <a:lnTo>
                        <a:pt x="21425" y="1529"/>
                      </a:lnTo>
                      <a:lnTo>
                        <a:pt x="21489" y="1569"/>
                      </a:lnTo>
                      <a:lnTo>
                        <a:pt x="21543" y="1585"/>
                      </a:lnTo>
                      <a:lnTo>
                        <a:pt x="21640" y="1545"/>
                      </a:lnTo>
                      <a:lnTo>
                        <a:pt x="21758" y="1585"/>
                      </a:lnTo>
                      <a:lnTo>
                        <a:pt x="21749" y="1590"/>
                      </a:lnTo>
                      <a:lnTo>
                        <a:pt x="21765" y="1590"/>
                      </a:lnTo>
                      <a:lnTo>
                        <a:pt x="21782" y="1614"/>
                      </a:lnTo>
                      <a:lnTo>
                        <a:pt x="21796" y="1607"/>
                      </a:lnTo>
                      <a:lnTo>
                        <a:pt x="21775" y="1602"/>
                      </a:lnTo>
                      <a:lnTo>
                        <a:pt x="21813" y="1590"/>
                      </a:lnTo>
                      <a:lnTo>
                        <a:pt x="21791" y="1590"/>
                      </a:lnTo>
                      <a:lnTo>
                        <a:pt x="21813" y="1585"/>
                      </a:lnTo>
                      <a:lnTo>
                        <a:pt x="21782" y="1573"/>
                      </a:lnTo>
                      <a:lnTo>
                        <a:pt x="21796" y="1552"/>
                      </a:lnTo>
                      <a:lnTo>
                        <a:pt x="21829" y="1545"/>
                      </a:lnTo>
                      <a:lnTo>
                        <a:pt x="21820" y="1552"/>
                      </a:lnTo>
                      <a:lnTo>
                        <a:pt x="21829" y="1557"/>
                      </a:lnTo>
                      <a:lnTo>
                        <a:pt x="21846" y="1545"/>
                      </a:lnTo>
                      <a:lnTo>
                        <a:pt x="21867" y="1552"/>
                      </a:lnTo>
                      <a:lnTo>
                        <a:pt x="21872" y="1573"/>
                      </a:lnTo>
                      <a:lnTo>
                        <a:pt x="21883" y="1573"/>
                      </a:lnTo>
                      <a:lnTo>
                        <a:pt x="21900" y="1557"/>
                      </a:lnTo>
                      <a:lnTo>
                        <a:pt x="21926" y="1569"/>
                      </a:lnTo>
                      <a:lnTo>
                        <a:pt x="21909" y="1536"/>
                      </a:lnTo>
                      <a:lnTo>
                        <a:pt x="21909" y="1512"/>
                      </a:lnTo>
                      <a:lnTo>
                        <a:pt x="21888" y="1503"/>
                      </a:lnTo>
                      <a:lnTo>
                        <a:pt x="21905" y="1503"/>
                      </a:lnTo>
                      <a:lnTo>
                        <a:pt x="21926" y="1474"/>
                      </a:lnTo>
                      <a:lnTo>
                        <a:pt x="21938" y="1479"/>
                      </a:lnTo>
                      <a:lnTo>
                        <a:pt x="21954" y="1462"/>
                      </a:lnTo>
                      <a:lnTo>
                        <a:pt x="21905" y="1462"/>
                      </a:lnTo>
                      <a:lnTo>
                        <a:pt x="21888" y="1479"/>
                      </a:lnTo>
                      <a:lnTo>
                        <a:pt x="21867" y="1462"/>
                      </a:lnTo>
                      <a:lnTo>
                        <a:pt x="21905" y="1425"/>
                      </a:lnTo>
                      <a:lnTo>
                        <a:pt x="21976" y="1425"/>
                      </a:lnTo>
                      <a:lnTo>
                        <a:pt x="22009" y="1418"/>
                      </a:lnTo>
                      <a:lnTo>
                        <a:pt x="22009" y="1401"/>
                      </a:lnTo>
                      <a:lnTo>
                        <a:pt x="21976" y="1375"/>
                      </a:lnTo>
                      <a:lnTo>
                        <a:pt x="21992" y="1375"/>
                      </a:lnTo>
                      <a:lnTo>
                        <a:pt x="22072" y="1392"/>
                      </a:lnTo>
                      <a:lnTo>
                        <a:pt x="22316" y="1425"/>
                      </a:lnTo>
                      <a:lnTo>
                        <a:pt x="22413" y="1446"/>
                      </a:lnTo>
                      <a:lnTo>
                        <a:pt x="22316" y="1446"/>
                      </a:lnTo>
                      <a:lnTo>
                        <a:pt x="22283" y="1429"/>
                      </a:lnTo>
                      <a:lnTo>
                        <a:pt x="22266" y="1441"/>
                      </a:lnTo>
                      <a:lnTo>
                        <a:pt x="22250" y="1462"/>
                      </a:lnTo>
                      <a:lnTo>
                        <a:pt x="22224" y="1458"/>
                      </a:lnTo>
                      <a:lnTo>
                        <a:pt x="22245" y="1474"/>
                      </a:lnTo>
                      <a:lnTo>
                        <a:pt x="22424" y="1458"/>
                      </a:lnTo>
                      <a:lnTo>
                        <a:pt x="22354" y="1512"/>
                      </a:lnTo>
                      <a:lnTo>
                        <a:pt x="22354" y="1491"/>
                      </a:lnTo>
                      <a:lnTo>
                        <a:pt x="22375" y="1479"/>
                      </a:lnTo>
                      <a:lnTo>
                        <a:pt x="22358" y="1474"/>
                      </a:lnTo>
                      <a:lnTo>
                        <a:pt x="22354" y="1491"/>
                      </a:lnTo>
                      <a:lnTo>
                        <a:pt x="22342" y="1462"/>
                      </a:lnTo>
                      <a:lnTo>
                        <a:pt x="22332" y="1462"/>
                      </a:lnTo>
                      <a:lnTo>
                        <a:pt x="22337" y="1462"/>
                      </a:lnTo>
                      <a:lnTo>
                        <a:pt x="22332" y="1491"/>
                      </a:lnTo>
                      <a:lnTo>
                        <a:pt x="22337" y="1491"/>
                      </a:lnTo>
                      <a:lnTo>
                        <a:pt x="22342" y="1503"/>
                      </a:lnTo>
                      <a:lnTo>
                        <a:pt x="22304" y="1512"/>
                      </a:lnTo>
                      <a:lnTo>
                        <a:pt x="22283" y="1503"/>
                      </a:lnTo>
                      <a:lnTo>
                        <a:pt x="22299" y="1519"/>
                      </a:lnTo>
                      <a:lnTo>
                        <a:pt x="22278" y="1529"/>
                      </a:lnTo>
                      <a:lnTo>
                        <a:pt x="22278" y="1536"/>
                      </a:lnTo>
                      <a:lnTo>
                        <a:pt x="22304" y="1545"/>
                      </a:lnTo>
                      <a:lnTo>
                        <a:pt x="22358" y="1519"/>
                      </a:lnTo>
                      <a:lnTo>
                        <a:pt x="22439" y="1446"/>
                      </a:lnTo>
                      <a:lnTo>
                        <a:pt x="22576" y="1462"/>
                      </a:lnTo>
                      <a:lnTo>
                        <a:pt x="22613" y="1479"/>
                      </a:lnTo>
                      <a:lnTo>
                        <a:pt x="22639" y="1512"/>
                      </a:lnTo>
                      <a:lnTo>
                        <a:pt x="22613" y="1529"/>
                      </a:lnTo>
                      <a:lnTo>
                        <a:pt x="22590" y="1503"/>
                      </a:lnTo>
                      <a:lnTo>
                        <a:pt x="22576" y="1529"/>
                      </a:lnTo>
                      <a:lnTo>
                        <a:pt x="22552" y="1519"/>
                      </a:lnTo>
                      <a:lnTo>
                        <a:pt x="22568" y="1529"/>
                      </a:lnTo>
                      <a:lnTo>
                        <a:pt x="22552" y="1536"/>
                      </a:lnTo>
                      <a:lnTo>
                        <a:pt x="22644" y="1552"/>
                      </a:lnTo>
                      <a:lnTo>
                        <a:pt x="22628" y="1552"/>
                      </a:lnTo>
                      <a:lnTo>
                        <a:pt x="22623" y="1569"/>
                      </a:lnTo>
                      <a:lnTo>
                        <a:pt x="22682" y="1557"/>
                      </a:lnTo>
                      <a:lnTo>
                        <a:pt x="22665" y="1585"/>
                      </a:lnTo>
                      <a:lnTo>
                        <a:pt x="22639" y="1602"/>
                      </a:lnTo>
                      <a:lnTo>
                        <a:pt x="22682" y="1573"/>
                      </a:lnTo>
                      <a:lnTo>
                        <a:pt x="22677" y="1590"/>
                      </a:lnTo>
                      <a:lnTo>
                        <a:pt x="22710" y="1573"/>
                      </a:lnTo>
                      <a:lnTo>
                        <a:pt x="22736" y="1585"/>
                      </a:lnTo>
                      <a:lnTo>
                        <a:pt x="22786" y="1630"/>
                      </a:lnTo>
                      <a:lnTo>
                        <a:pt x="22753" y="1630"/>
                      </a:lnTo>
                      <a:lnTo>
                        <a:pt x="22816" y="1647"/>
                      </a:lnTo>
                      <a:lnTo>
                        <a:pt x="22892" y="1647"/>
                      </a:lnTo>
                      <a:lnTo>
                        <a:pt x="23055" y="1614"/>
                      </a:lnTo>
                      <a:lnTo>
                        <a:pt x="23194" y="1623"/>
                      </a:lnTo>
                      <a:lnTo>
                        <a:pt x="23270" y="1647"/>
                      </a:lnTo>
                      <a:lnTo>
                        <a:pt x="23320" y="1668"/>
                      </a:lnTo>
                      <a:lnTo>
                        <a:pt x="23341" y="1701"/>
                      </a:lnTo>
                      <a:lnTo>
                        <a:pt x="23341" y="1722"/>
                      </a:lnTo>
                      <a:lnTo>
                        <a:pt x="23331" y="1739"/>
                      </a:lnTo>
                      <a:lnTo>
                        <a:pt x="23324" y="1739"/>
                      </a:lnTo>
                      <a:lnTo>
                        <a:pt x="23324" y="1751"/>
                      </a:lnTo>
                      <a:lnTo>
                        <a:pt x="23320" y="1774"/>
                      </a:lnTo>
                      <a:lnTo>
                        <a:pt x="23320" y="1779"/>
                      </a:lnTo>
                      <a:lnTo>
                        <a:pt x="23412" y="1812"/>
                      </a:lnTo>
                      <a:lnTo>
                        <a:pt x="23400" y="1829"/>
                      </a:lnTo>
                      <a:lnTo>
                        <a:pt x="23412" y="1862"/>
                      </a:lnTo>
                      <a:lnTo>
                        <a:pt x="23400" y="1878"/>
                      </a:lnTo>
                      <a:lnTo>
                        <a:pt x="23433" y="1885"/>
                      </a:lnTo>
                      <a:lnTo>
                        <a:pt x="23412" y="1940"/>
                      </a:lnTo>
                      <a:lnTo>
                        <a:pt x="23383" y="1940"/>
                      </a:lnTo>
                      <a:lnTo>
                        <a:pt x="23395" y="1944"/>
                      </a:lnTo>
                      <a:lnTo>
                        <a:pt x="23416" y="1940"/>
                      </a:lnTo>
                      <a:lnTo>
                        <a:pt x="23433" y="1906"/>
                      </a:lnTo>
                      <a:lnTo>
                        <a:pt x="23450" y="1890"/>
                      </a:lnTo>
                      <a:lnTo>
                        <a:pt x="23438" y="1862"/>
                      </a:lnTo>
                      <a:lnTo>
                        <a:pt x="23438" y="1833"/>
                      </a:lnTo>
                      <a:lnTo>
                        <a:pt x="23504" y="1807"/>
                      </a:lnTo>
                      <a:lnTo>
                        <a:pt x="23589" y="1795"/>
                      </a:lnTo>
                      <a:lnTo>
                        <a:pt x="23617" y="1791"/>
                      </a:lnTo>
                      <a:lnTo>
                        <a:pt x="23655" y="1807"/>
                      </a:lnTo>
                      <a:lnTo>
                        <a:pt x="23816" y="1824"/>
                      </a:lnTo>
                      <a:lnTo>
                        <a:pt x="23882" y="1791"/>
                      </a:lnTo>
                      <a:lnTo>
                        <a:pt x="23920" y="1812"/>
                      </a:lnTo>
                      <a:lnTo>
                        <a:pt x="23913" y="1833"/>
                      </a:lnTo>
                      <a:lnTo>
                        <a:pt x="23920" y="1850"/>
                      </a:lnTo>
                      <a:lnTo>
                        <a:pt x="23995" y="1878"/>
                      </a:lnTo>
                      <a:lnTo>
                        <a:pt x="24005" y="1906"/>
                      </a:lnTo>
                      <a:lnTo>
                        <a:pt x="24012" y="1918"/>
                      </a:lnTo>
                      <a:lnTo>
                        <a:pt x="24064" y="1906"/>
                      </a:lnTo>
                      <a:lnTo>
                        <a:pt x="24080" y="1918"/>
                      </a:lnTo>
                      <a:lnTo>
                        <a:pt x="24064" y="1906"/>
                      </a:lnTo>
                      <a:lnTo>
                        <a:pt x="24080" y="1902"/>
                      </a:lnTo>
                      <a:lnTo>
                        <a:pt x="24087" y="1906"/>
                      </a:lnTo>
                      <a:lnTo>
                        <a:pt x="24087" y="1890"/>
                      </a:lnTo>
                      <a:lnTo>
                        <a:pt x="24113" y="1878"/>
                      </a:lnTo>
                      <a:lnTo>
                        <a:pt x="24102" y="1845"/>
                      </a:lnTo>
                      <a:lnTo>
                        <a:pt x="24080" y="1812"/>
                      </a:lnTo>
                      <a:lnTo>
                        <a:pt x="24050" y="1807"/>
                      </a:lnTo>
                      <a:lnTo>
                        <a:pt x="24059" y="1791"/>
                      </a:lnTo>
                      <a:lnTo>
                        <a:pt x="24080" y="1791"/>
                      </a:lnTo>
                      <a:lnTo>
                        <a:pt x="24080" y="1751"/>
                      </a:lnTo>
                      <a:lnTo>
                        <a:pt x="24064" y="1739"/>
                      </a:lnTo>
                      <a:lnTo>
                        <a:pt x="24076" y="1739"/>
                      </a:lnTo>
                      <a:lnTo>
                        <a:pt x="24227" y="1767"/>
                      </a:lnTo>
                      <a:lnTo>
                        <a:pt x="24260" y="1774"/>
                      </a:lnTo>
                      <a:lnTo>
                        <a:pt x="24264" y="1791"/>
                      </a:lnTo>
                      <a:lnTo>
                        <a:pt x="24281" y="1779"/>
                      </a:lnTo>
                      <a:lnTo>
                        <a:pt x="24260" y="1767"/>
                      </a:lnTo>
                      <a:lnTo>
                        <a:pt x="24281" y="1767"/>
                      </a:lnTo>
                      <a:lnTo>
                        <a:pt x="24314" y="1779"/>
                      </a:lnTo>
                      <a:lnTo>
                        <a:pt x="24465" y="1774"/>
                      </a:lnTo>
                      <a:lnTo>
                        <a:pt x="24513" y="1795"/>
                      </a:lnTo>
                      <a:lnTo>
                        <a:pt x="24654" y="1833"/>
                      </a:lnTo>
                      <a:lnTo>
                        <a:pt x="24676" y="1845"/>
                      </a:lnTo>
                      <a:lnTo>
                        <a:pt x="24654" y="1833"/>
                      </a:lnTo>
                      <a:lnTo>
                        <a:pt x="24642" y="1845"/>
                      </a:lnTo>
                      <a:lnTo>
                        <a:pt x="24692" y="1850"/>
                      </a:lnTo>
                      <a:lnTo>
                        <a:pt x="24735" y="1885"/>
                      </a:lnTo>
                      <a:lnTo>
                        <a:pt x="24706" y="1866"/>
                      </a:lnTo>
                      <a:lnTo>
                        <a:pt x="24723" y="1885"/>
                      </a:lnTo>
                      <a:lnTo>
                        <a:pt x="24735" y="1885"/>
                      </a:lnTo>
                      <a:lnTo>
                        <a:pt x="24735" y="1944"/>
                      </a:lnTo>
                      <a:lnTo>
                        <a:pt x="24735" y="2013"/>
                      </a:lnTo>
                      <a:lnTo>
                        <a:pt x="24735" y="2067"/>
                      </a:lnTo>
                      <a:lnTo>
                        <a:pt x="24735" y="2129"/>
                      </a:lnTo>
                      <a:lnTo>
                        <a:pt x="24735" y="2183"/>
                      </a:lnTo>
                      <a:lnTo>
                        <a:pt x="24735" y="2249"/>
                      </a:lnTo>
                      <a:lnTo>
                        <a:pt x="24735" y="2306"/>
                      </a:lnTo>
                      <a:lnTo>
                        <a:pt x="24735" y="2360"/>
                      </a:lnTo>
                      <a:lnTo>
                        <a:pt x="24735" y="2360"/>
                      </a:lnTo>
                      <a:lnTo>
                        <a:pt x="24735" y="2360"/>
                      </a:lnTo>
                      <a:close/>
                      <a:moveTo>
                        <a:pt x="24735" y="1557"/>
                      </a:moveTo>
                      <a:lnTo>
                        <a:pt x="24739" y="1552"/>
                      </a:lnTo>
                      <a:lnTo>
                        <a:pt x="24836" y="1552"/>
                      </a:lnTo>
                      <a:lnTo>
                        <a:pt x="24912" y="1602"/>
                      </a:lnTo>
                      <a:lnTo>
                        <a:pt x="24874" y="1623"/>
                      </a:lnTo>
                      <a:lnTo>
                        <a:pt x="24782" y="1640"/>
                      </a:lnTo>
                      <a:lnTo>
                        <a:pt x="24735" y="1630"/>
                      </a:lnTo>
                      <a:lnTo>
                        <a:pt x="24735" y="1590"/>
                      </a:lnTo>
                      <a:lnTo>
                        <a:pt x="24735" y="1557"/>
                      </a:lnTo>
                      <a:lnTo>
                        <a:pt x="24735" y="1557"/>
                      </a:lnTo>
                      <a:lnTo>
                        <a:pt x="24735" y="1557"/>
                      </a:lnTo>
                      <a:close/>
                      <a:moveTo>
                        <a:pt x="24735" y="1630"/>
                      </a:moveTo>
                      <a:lnTo>
                        <a:pt x="24654" y="1656"/>
                      </a:lnTo>
                      <a:lnTo>
                        <a:pt x="24642" y="1623"/>
                      </a:lnTo>
                      <a:lnTo>
                        <a:pt x="24659" y="1602"/>
                      </a:lnTo>
                      <a:lnTo>
                        <a:pt x="24735" y="1557"/>
                      </a:lnTo>
                      <a:lnTo>
                        <a:pt x="24735" y="1590"/>
                      </a:lnTo>
                      <a:lnTo>
                        <a:pt x="24735" y="1630"/>
                      </a:lnTo>
                      <a:lnTo>
                        <a:pt x="24735" y="1630"/>
                      </a:lnTo>
                      <a:lnTo>
                        <a:pt x="24735" y="1630"/>
                      </a:lnTo>
                      <a:close/>
                      <a:moveTo>
                        <a:pt x="24735" y="1885"/>
                      </a:moveTo>
                      <a:lnTo>
                        <a:pt x="24756" y="1902"/>
                      </a:lnTo>
                      <a:lnTo>
                        <a:pt x="24768" y="1890"/>
                      </a:lnTo>
                      <a:lnTo>
                        <a:pt x="24772" y="1906"/>
                      </a:lnTo>
                      <a:lnTo>
                        <a:pt x="24805" y="1918"/>
                      </a:lnTo>
                      <a:lnTo>
                        <a:pt x="24836" y="1940"/>
                      </a:lnTo>
                      <a:lnTo>
                        <a:pt x="24820" y="1935"/>
                      </a:lnTo>
                      <a:lnTo>
                        <a:pt x="24820" y="1940"/>
                      </a:lnTo>
                      <a:lnTo>
                        <a:pt x="24864" y="1956"/>
                      </a:lnTo>
                      <a:lnTo>
                        <a:pt x="24874" y="1973"/>
                      </a:lnTo>
                      <a:lnTo>
                        <a:pt x="24890" y="1973"/>
                      </a:lnTo>
                      <a:lnTo>
                        <a:pt x="24843" y="1940"/>
                      </a:lnTo>
                      <a:lnTo>
                        <a:pt x="24895" y="1973"/>
                      </a:lnTo>
                      <a:lnTo>
                        <a:pt x="24890" y="1977"/>
                      </a:lnTo>
                      <a:lnTo>
                        <a:pt x="24895" y="1977"/>
                      </a:lnTo>
                      <a:lnTo>
                        <a:pt x="24919" y="1977"/>
                      </a:lnTo>
                      <a:lnTo>
                        <a:pt x="24928" y="1994"/>
                      </a:lnTo>
                      <a:lnTo>
                        <a:pt x="25053" y="2046"/>
                      </a:lnTo>
                      <a:lnTo>
                        <a:pt x="25063" y="2072"/>
                      </a:lnTo>
                      <a:lnTo>
                        <a:pt x="25058" y="2088"/>
                      </a:lnTo>
                      <a:lnTo>
                        <a:pt x="25075" y="2088"/>
                      </a:lnTo>
                      <a:lnTo>
                        <a:pt x="25079" y="2084"/>
                      </a:lnTo>
                      <a:lnTo>
                        <a:pt x="25096" y="2084"/>
                      </a:lnTo>
                      <a:lnTo>
                        <a:pt x="25096" y="2100"/>
                      </a:lnTo>
                      <a:lnTo>
                        <a:pt x="25091" y="2100"/>
                      </a:lnTo>
                      <a:lnTo>
                        <a:pt x="25079" y="2121"/>
                      </a:lnTo>
                      <a:lnTo>
                        <a:pt x="25096" y="2162"/>
                      </a:lnTo>
                      <a:lnTo>
                        <a:pt x="25079" y="2166"/>
                      </a:lnTo>
                      <a:lnTo>
                        <a:pt x="25117" y="2183"/>
                      </a:lnTo>
                      <a:lnTo>
                        <a:pt x="25117" y="2216"/>
                      </a:lnTo>
                      <a:lnTo>
                        <a:pt x="25150" y="2195"/>
                      </a:lnTo>
                      <a:lnTo>
                        <a:pt x="25146" y="2223"/>
                      </a:lnTo>
                      <a:lnTo>
                        <a:pt x="25150" y="2223"/>
                      </a:lnTo>
                      <a:lnTo>
                        <a:pt x="25167" y="2199"/>
                      </a:lnTo>
                      <a:lnTo>
                        <a:pt x="25129" y="2183"/>
                      </a:lnTo>
                      <a:lnTo>
                        <a:pt x="25150" y="2166"/>
                      </a:lnTo>
                      <a:lnTo>
                        <a:pt x="25146" y="2138"/>
                      </a:lnTo>
                      <a:lnTo>
                        <a:pt x="25108" y="2121"/>
                      </a:lnTo>
                      <a:lnTo>
                        <a:pt x="25172" y="2112"/>
                      </a:lnTo>
                      <a:lnTo>
                        <a:pt x="25214" y="2121"/>
                      </a:lnTo>
                      <a:lnTo>
                        <a:pt x="25198" y="2138"/>
                      </a:lnTo>
                      <a:lnTo>
                        <a:pt x="25198" y="2157"/>
                      </a:lnTo>
                      <a:lnTo>
                        <a:pt x="25214" y="2157"/>
                      </a:lnTo>
                      <a:lnTo>
                        <a:pt x="25205" y="2138"/>
                      </a:lnTo>
                      <a:lnTo>
                        <a:pt x="25214" y="2129"/>
                      </a:lnTo>
                      <a:lnTo>
                        <a:pt x="25235" y="2145"/>
                      </a:lnTo>
                      <a:lnTo>
                        <a:pt x="25259" y="2138"/>
                      </a:lnTo>
                      <a:lnTo>
                        <a:pt x="25221" y="2121"/>
                      </a:lnTo>
                      <a:lnTo>
                        <a:pt x="25311" y="2138"/>
                      </a:lnTo>
                      <a:lnTo>
                        <a:pt x="25311" y="2157"/>
                      </a:lnTo>
                      <a:lnTo>
                        <a:pt x="25335" y="2162"/>
                      </a:lnTo>
                      <a:lnTo>
                        <a:pt x="25335" y="2178"/>
                      </a:lnTo>
                      <a:lnTo>
                        <a:pt x="25398" y="2216"/>
                      </a:lnTo>
                      <a:lnTo>
                        <a:pt x="25387" y="2223"/>
                      </a:lnTo>
                      <a:lnTo>
                        <a:pt x="25403" y="2216"/>
                      </a:lnTo>
                      <a:lnTo>
                        <a:pt x="25420" y="2223"/>
                      </a:lnTo>
                      <a:lnTo>
                        <a:pt x="25415" y="2232"/>
                      </a:lnTo>
                      <a:lnTo>
                        <a:pt x="25441" y="2232"/>
                      </a:lnTo>
                      <a:lnTo>
                        <a:pt x="25453" y="2249"/>
                      </a:lnTo>
                      <a:lnTo>
                        <a:pt x="25453" y="2256"/>
                      </a:lnTo>
                      <a:lnTo>
                        <a:pt x="25420" y="2249"/>
                      </a:lnTo>
                      <a:lnTo>
                        <a:pt x="25387" y="2273"/>
                      </a:lnTo>
                      <a:lnTo>
                        <a:pt x="25398" y="2273"/>
                      </a:lnTo>
                      <a:lnTo>
                        <a:pt x="25398" y="2289"/>
                      </a:lnTo>
                      <a:lnTo>
                        <a:pt x="25387" y="2294"/>
                      </a:lnTo>
                      <a:lnTo>
                        <a:pt x="25323" y="2273"/>
                      </a:lnTo>
                      <a:lnTo>
                        <a:pt x="25361" y="2306"/>
                      </a:lnTo>
                      <a:lnTo>
                        <a:pt x="25349" y="2310"/>
                      </a:lnTo>
                      <a:lnTo>
                        <a:pt x="25335" y="2306"/>
                      </a:lnTo>
                      <a:lnTo>
                        <a:pt x="25290" y="2310"/>
                      </a:lnTo>
                      <a:lnTo>
                        <a:pt x="25306" y="2310"/>
                      </a:lnTo>
                      <a:lnTo>
                        <a:pt x="25273" y="2306"/>
                      </a:lnTo>
                      <a:lnTo>
                        <a:pt x="25268" y="2294"/>
                      </a:lnTo>
                      <a:lnTo>
                        <a:pt x="25235" y="2289"/>
                      </a:lnTo>
                      <a:lnTo>
                        <a:pt x="25259" y="2306"/>
                      </a:lnTo>
                      <a:lnTo>
                        <a:pt x="25268" y="2322"/>
                      </a:lnTo>
                      <a:lnTo>
                        <a:pt x="25280" y="2322"/>
                      </a:lnTo>
                      <a:lnTo>
                        <a:pt x="25273" y="2343"/>
                      </a:lnTo>
                      <a:lnTo>
                        <a:pt x="25242" y="2343"/>
                      </a:lnTo>
                      <a:lnTo>
                        <a:pt x="25273" y="2343"/>
                      </a:lnTo>
                      <a:lnTo>
                        <a:pt x="25280" y="2360"/>
                      </a:lnTo>
                      <a:lnTo>
                        <a:pt x="25259" y="2384"/>
                      </a:lnTo>
                      <a:lnTo>
                        <a:pt x="25205" y="2400"/>
                      </a:lnTo>
                      <a:lnTo>
                        <a:pt x="25226" y="2388"/>
                      </a:lnTo>
                      <a:lnTo>
                        <a:pt x="25235" y="2400"/>
                      </a:lnTo>
                      <a:lnTo>
                        <a:pt x="25214" y="2405"/>
                      </a:lnTo>
                      <a:lnTo>
                        <a:pt x="25259" y="2421"/>
                      </a:lnTo>
                      <a:lnTo>
                        <a:pt x="25268" y="2433"/>
                      </a:lnTo>
                      <a:lnTo>
                        <a:pt x="25252" y="2438"/>
                      </a:lnTo>
                      <a:lnTo>
                        <a:pt x="25235" y="2421"/>
                      </a:lnTo>
                      <a:lnTo>
                        <a:pt x="25221" y="2433"/>
                      </a:lnTo>
                      <a:lnTo>
                        <a:pt x="25226" y="2438"/>
                      </a:lnTo>
                      <a:lnTo>
                        <a:pt x="25226" y="2445"/>
                      </a:lnTo>
                      <a:lnTo>
                        <a:pt x="25205" y="2455"/>
                      </a:lnTo>
                      <a:lnTo>
                        <a:pt x="25188" y="2445"/>
                      </a:lnTo>
                      <a:lnTo>
                        <a:pt x="25205" y="2433"/>
                      </a:lnTo>
                      <a:lnTo>
                        <a:pt x="25188" y="2417"/>
                      </a:lnTo>
                      <a:lnTo>
                        <a:pt x="25198" y="2433"/>
                      </a:lnTo>
                      <a:lnTo>
                        <a:pt x="25172" y="2445"/>
                      </a:lnTo>
                      <a:lnTo>
                        <a:pt x="25150" y="2438"/>
                      </a:lnTo>
                      <a:lnTo>
                        <a:pt x="25146" y="2421"/>
                      </a:lnTo>
                      <a:lnTo>
                        <a:pt x="25091" y="2400"/>
                      </a:lnTo>
                      <a:lnTo>
                        <a:pt x="25053" y="2400"/>
                      </a:lnTo>
                      <a:lnTo>
                        <a:pt x="25053" y="2388"/>
                      </a:lnTo>
                      <a:lnTo>
                        <a:pt x="25020" y="2367"/>
                      </a:lnTo>
                      <a:lnTo>
                        <a:pt x="25025" y="2351"/>
                      </a:lnTo>
                      <a:lnTo>
                        <a:pt x="25020" y="2327"/>
                      </a:lnTo>
                      <a:lnTo>
                        <a:pt x="25004" y="2310"/>
                      </a:lnTo>
                      <a:lnTo>
                        <a:pt x="24933" y="2294"/>
                      </a:lnTo>
                      <a:lnTo>
                        <a:pt x="24902" y="2310"/>
                      </a:lnTo>
                      <a:lnTo>
                        <a:pt x="24836" y="2310"/>
                      </a:lnTo>
                      <a:lnTo>
                        <a:pt x="24843" y="2289"/>
                      </a:lnTo>
                      <a:lnTo>
                        <a:pt x="24827" y="2277"/>
                      </a:lnTo>
                      <a:lnTo>
                        <a:pt x="24810" y="2256"/>
                      </a:lnTo>
                      <a:lnTo>
                        <a:pt x="24820" y="2249"/>
                      </a:lnTo>
                      <a:lnTo>
                        <a:pt x="24836" y="2232"/>
                      </a:lnTo>
                      <a:lnTo>
                        <a:pt x="24836" y="2199"/>
                      </a:lnTo>
                      <a:lnTo>
                        <a:pt x="24810" y="2232"/>
                      </a:lnTo>
                      <a:lnTo>
                        <a:pt x="24794" y="2232"/>
                      </a:lnTo>
                      <a:lnTo>
                        <a:pt x="24789" y="2199"/>
                      </a:lnTo>
                      <a:lnTo>
                        <a:pt x="24789" y="2216"/>
                      </a:lnTo>
                      <a:lnTo>
                        <a:pt x="24772" y="2211"/>
                      </a:lnTo>
                      <a:lnTo>
                        <a:pt x="24789" y="2232"/>
                      </a:lnTo>
                      <a:lnTo>
                        <a:pt x="24782" y="2232"/>
                      </a:lnTo>
                      <a:lnTo>
                        <a:pt x="24756" y="2240"/>
                      </a:lnTo>
                      <a:lnTo>
                        <a:pt x="24751" y="2232"/>
                      </a:lnTo>
                      <a:lnTo>
                        <a:pt x="24756" y="2232"/>
                      </a:lnTo>
                      <a:lnTo>
                        <a:pt x="24751" y="2232"/>
                      </a:lnTo>
                      <a:lnTo>
                        <a:pt x="24739" y="2266"/>
                      </a:lnTo>
                      <a:lnTo>
                        <a:pt x="24782" y="2294"/>
                      </a:lnTo>
                      <a:lnTo>
                        <a:pt x="24782" y="2306"/>
                      </a:lnTo>
                      <a:lnTo>
                        <a:pt x="24768" y="2322"/>
                      </a:lnTo>
                      <a:lnTo>
                        <a:pt x="24768" y="2343"/>
                      </a:lnTo>
                      <a:lnTo>
                        <a:pt x="24751" y="2351"/>
                      </a:lnTo>
                      <a:lnTo>
                        <a:pt x="24735" y="2360"/>
                      </a:lnTo>
                      <a:lnTo>
                        <a:pt x="24735" y="2306"/>
                      </a:lnTo>
                      <a:lnTo>
                        <a:pt x="24735" y="2249"/>
                      </a:lnTo>
                      <a:lnTo>
                        <a:pt x="24735" y="2183"/>
                      </a:lnTo>
                      <a:lnTo>
                        <a:pt x="24735" y="2129"/>
                      </a:lnTo>
                      <a:lnTo>
                        <a:pt x="24735" y="2067"/>
                      </a:lnTo>
                      <a:lnTo>
                        <a:pt x="24735" y="2013"/>
                      </a:lnTo>
                      <a:lnTo>
                        <a:pt x="24735" y="1944"/>
                      </a:lnTo>
                      <a:lnTo>
                        <a:pt x="24735" y="1885"/>
                      </a:lnTo>
                      <a:lnTo>
                        <a:pt x="24735" y="1885"/>
                      </a:lnTo>
                      <a:lnTo>
                        <a:pt x="24735" y="1885"/>
                      </a:lnTo>
                      <a:close/>
                      <a:moveTo>
                        <a:pt x="16188" y="22"/>
                      </a:moveTo>
                      <a:lnTo>
                        <a:pt x="16172" y="22"/>
                      </a:lnTo>
                      <a:lnTo>
                        <a:pt x="16188" y="5"/>
                      </a:lnTo>
                      <a:lnTo>
                        <a:pt x="16278" y="0"/>
                      </a:lnTo>
                      <a:lnTo>
                        <a:pt x="16264" y="17"/>
                      </a:lnTo>
                      <a:lnTo>
                        <a:pt x="16188" y="22"/>
                      </a:lnTo>
                      <a:lnTo>
                        <a:pt x="16188" y="22"/>
                      </a:lnTo>
                      <a:lnTo>
                        <a:pt x="16188" y="22"/>
                      </a:lnTo>
                      <a:close/>
                      <a:moveTo>
                        <a:pt x="16474" y="22"/>
                      </a:moveTo>
                      <a:lnTo>
                        <a:pt x="16550" y="22"/>
                      </a:lnTo>
                      <a:lnTo>
                        <a:pt x="16592" y="33"/>
                      </a:lnTo>
                      <a:lnTo>
                        <a:pt x="16566" y="43"/>
                      </a:lnTo>
                      <a:lnTo>
                        <a:pt x="16474" y="33"/>
                      </a:lnTo>
                      <a:lnTo>
                        <a:pt x="16474" y="22"/>
                      </a:lnTo>
                      <a:lnTo>
                        <a:pt x="16474" y="22"/>
                      </a:lnTo>
                      <a:lnTo>
                        <a:pt x="16474" y="22"/>
                      </a:lnTo>
                      <a:close/>
                      <a:moveTo>
                        <a:pt x="16202" y="38"/>
                      </a:moveTo>
                      <a:lnTo>
                        <a:pt x="16235" y="38"/>
                      </a:lnTo>
                      <a:lnTo>
                        <a:pt x="16198" y="43"/>
                      </a:lnTo>
                      <a:lnTo>
                        <a:pt x="16202" y="38"/>
                      </a:lnTo>
                      <a:lnTo>
                        <a:pt x="16202" y="38"/>
                      </a:lnTo>
                      <a:lnTo>
                        <a:pt x="16202" y="38"/>
                      </a:lnTo>
                      <a:close/>
                      <a:moveTo>
                        <a:pt x="16453" y="38"/>
                      </a:moveTo>
                      <a:lnTo>
                        <a:pt x="16474" y="43"/>
                      </a:lnTo>
                      <a:lnTo>
                        <a:pt x="16441" y="38"/>
                      </a:lnTo>
                      <a:lnTo>
                        <a:pt x="16453" y="38"/>
                      </a:lnTo>
                      <a:lnTo>
                        <a:pt x="16453" y="38"/>
                      </a:lnTo>
                      <a:lnTo>
                        <a:pt x="16453" y="38"/>
                      </a:lnTo>
                      <a:close/>
                      <a:moveTo>
                        <a:pt x="16188" y="76"/>
                      </a:moveTo>
                      <a:lnTo>
                        <a:pt x="16096" y="59"/>
                      </a:lnTo>
                      <a:lnTo>
                        <a:pt x="16165" y="43"/>
                      </a:lnTo>
                      <a:lnTo>
                        <a:pt x="16219" y="71"/>
                      </a:lnTo>
                      <a:lnTo>
                        <a:pt x="16188" y="76"/>
                      </a:lnTo>
                      <a:lnTo>
                        <a:pt x="16188" y="76"/>
                      </a:lnTo>
                      <a:lnTo>
                        <a:pt x="16188" y="76"/>
                      </a:lnTo>
                      <a:close/>
                      <a:moveTo>
                        <a:pt x="16209" y="88"/>
                      </a:moveTo>
                      <a:lnTo>
                        <a:pt x="16252" y="71"/>
                      </a:lnTo>
                      <a:lnTo>
                        <a:pt x="16278" y="88"/>
                      </a:lnTo>
                      <a:lnTo>
                        <a:pt x="16209" y="88"/>
                      </a:lnTo>
                      <a:lnTo>
                        <a:pt x="16209" y="88"/>
                      </a:lnTo>
                      <a:lnTo>
                        <a:pt x="16209" y="88"/>
                      </a:lnTo>
                      <a:close/>
                      <a:moveTo>
                        <a:pt x="16009" y="99"/>
                      </a:moveTo>
                      <a:lnTo>
                        <a:pt x="16021" y="92"/>
                      </a:lnTo>
                      <a:lnTo>
                        <a:pt x="16004" y="92"/>
                      </a:lnTo>
                      <a:lnTo>
                        <a:pt x="16089" y="99"/>
                      </a:lnTo>
                      <a:lnTo>
                        <a:pt x="16063" y="76"/>
                      </a:lnTo>
                      <a:lnTo>
                        <a:pt x="16172" y="92"/>
                      </a:lnTo>
                      <a:lnTo>
                        <a:pt x="16075" y="116"/>
                      </a:lnTo>
                      <a:lnTo>
                        <a:pt x="16009" y="99"/>
                      </a:lnTo>
                      <a:lnTo>
                        <a:pt x="16009" y="99"/>
                      </a:lnTo>
                      <a:lnTo>
                        <a:pt x="16009" y="99"/>
                      </a:lnTo>
                      <a:close/>
                      <a:moveTo>
                        <a:pt x="15917" y="92"/>
                      </a:moveTo>
                      <a:lnTo>
                        <a:pt x="15912" y="88"/>
                      </a:lnTo>
                      <a:lnTo>
                        <a:pt x="15933" y="92"/>
                      </a:lnTo>
                      <a:lnTo>
                        <a:pt x="15917" y="92"/>
                      </a:lnTo>
                      <a:lnTo>
                        <a:pt x="15917" y="92"/>
                      </a:lnTo>
                      <a:lnTo>
                        <a:pt x="15917" y="92"/>
                      </a:lnTo>
                      <a:close/>
                      <a:moveTo>
                        <a:pt x="16311" y="92"/>
                      </a:moveTo>
                      <a:lnTo>
                        <a:pt x="16365" y="92"/>
                      </a:lnTo>
                      <a:lnTo>
                        <a:pt x="16306" y="92"/>
                      </a:lnTo>
                      <a:lnTo>
                        <a:pt x="16311" y="92"/>
                      </a:lnTo>
                      <a:lnTo>
                        <a:pt x="16311" y="92"/>
                      </a:lnTo>
                      <a:lnTo>
                        <a:pt x="16311" y="92"/>
                      </a:lnTo>
                      <a:close/>
                      <a:moveTo>
                        <a:pt x="18654" y="265"/>
                      </a:moveTo>
                      <a:lnTo>
                        <a:pt x="18524" y="260"/>
                      </a:lnTo>
                      <a:lnTo>
                        <a:pt x="18546" y="244"/>
                      </a:lnTo>
                      <a:lnTo>
                        <a:pt x="18612" y="244"/>
                      </a:lnTo>
                      <a:lnTo>
                        <a:pt x="18557" y="236"/>
                      </a:lnTo>
                      <a:lnTo>
                        <a:pt x="18617" y="220"/>
                      </a:lnTo>
                      <a:lnTo>
                        <a:pt x="18628" y="203"/>
                      </a:lnTo>
                      <a:lnTo>
                        <a:pt x="18654" y="170"/>
                      </a:lnTo>
                      <a:lnTo>
                        <a:pt x="18600" y="182"/>
                      </a:lnTo>
                      <a:lnTo>
                        <a:pt x="18617" y="166"/>
                      </a:lnTo>
                      <a:lnTo>
                        <a:pt x="18650" y="154"/>
                      </a:lnTo>
                      <a:lnTo>
                        <a:pt x="18645" y="144"/>
                      </a:lnTo>
                      <a:lnTo>
                        <a:pt x="18817" y="99"/>
                      </a:lnTo>
                      <a:lnTo>
                        <a:pt x="18780" y="99"/>
                      </a:lnTo>
                      <a:lnTo>
                        <a:pt x="18789" y="92"/>
                      </a:lnTo>
                      <a:lnTo>
                        <a:pt x="18834" y="92"/>
                      </a:lnTo>
                      <a:lnTo>
                        <a:pt x="18898" y="149"/>
                      </a:lnTo>
                      <a:lnTo>
                        <a:pt x="18990" y="187"/>
                      </a:lnTo>
                      <a:lnTo>
                        <a:pt x="18924" y="199"/>
                      </a:lnTo>
                      <a:lnTo>
                        <a:pt x="18919" y="220"/>
                      </a:lnTo>
                      <a:lnTo>
                        <a:pt x="18924" y="227"/>
                      </a:lnTo>
                      <a:lnTo>
                        <a:pt x="18935" y="255"/>
                      </a:lnTo>
                      <a:lnTo>
                        <a:pt x="18952" y="260"/>
                      </a:lnTo>
                      <a:lnTo>
                        <a:pt x="18924" y="265"/>
                      </a:lnTo>
                      <a:lnTo>
                        <a:pt x="18763" y="281"/>
                      </a:lnTo>
                      <a:lnTo>
                        <a:pt x="18687" y="310"/>
                      </a:lnTo>
                      <a:lnTo>
                        <a:pt x="18574" y="281"/>
                      </a:lnTo>
                      <a:lnTo>
                        <a:pt x="18628" y="281"/>
                      </a:lnTo>
                      <a:lnTo>
                        <a:pt x="18579" y="260"/>
                      </a:lnTo>
                      <a:lnTo>
                        <a:pt x="18654" y="265"/>
                      </a:lnTo>
                      <a:lnTo>
                        <a:pt x="18654" y="265"/>
                      </a:lnTo>
                      <a:lnTo>
                        <a:pt x="18654" y="265"/>
                      </a:lnTo>
                      <a:close/>
                      <a:moveTo>
                        <a:pt x="16117" y="109"/>
                      </a:moveTo>
                      <a:lnTo>
                        <a:pt x="16188" y="109"/>
                      </a:lnTo>
                      <a:lnTo>
                        <a:pt x="16150" y="128"/>
                      </a:lnTo>
                      <a:lnTo>
                        <a:pt x="16113" y="116"/>
                      </a:lnTo>
                      <a:lnTo>
                        <a:pt x="16117" y="109"/>
                      </a:lnTo>
                      <a:lnTo>
                        <a:pt x="16117" y="109"/>
                      </a:lnTo>
                      <a:lnTo>
                        <a:pt x="16117" y="109"/>
                      </a:lnTo>
                      <a:close/>
                      <a:moveTo>
                        <a:pt x="18503" y="133"/>
                      </a:moveTo>
                      <a:lnTo>
                        <a:pt x="18428" y="128"/>
                      </a:lnTo>
                      <a:lnTo>
                        <a:pt x="18418" y="109"/>
                      </a:lnTo>
                      <a:lnTo>
                        <a:pt x="18503" y="99"/>
                      </a:lnTo>
                      <a:lnTo>
                        <a:pt x="18541" y="116"/>
                      </a:lnTo>
                      <a:lnTo>
                        <a:pt x="18503" y="133"/>
                      </a:lnTo>
                      <a:lnTo>
                        <a:pt x="18503" y="133"/>
                      </a:lnTo>
                      <a:lnTo>
                        <a:pt x="18503" y="133"/>
                      </a:lnTo>
                      <a:close/>
                      <a:moveTo>
                        <a:pt x="16505" y="166"/>
                      </a:moveTo>
                      <a:lnTo>
                        <a:pt x="16543" y="149"/>
                      </a:lnTo>
                      <a:lnTo>
                        <a:pt x="16613" y="144"/>
                      </a:lnTo>
                      <a:lnTo>
                        <a:pt x="16618" y="116"/>
                      </a:lnTo>
                      <a:lnTo>
                        <a:pt x="16646" y="109"/>
                      </a:lnTo>
                      <a:lnTo>
                        <a:pt x="16689" y="116"/>
                      </a:lnTo>
                      <a:lnTo>
                        <a:pt x="16706" y="144"/>
                      </a:lnTo>
                      <a:lnTo>
                        <a:pt x="16706" y="154"/>
                      </a:lnTo>
                      <a:lnTo>
                        <a:pt x="16646" y="182"/>
                      </a:lnTo>
                      <a:lnTo>
                        <a:pt x="16550" y="199"/>
                      </a:lnTo>
                      <a:lnTo>
                        <a:pt x="16495" y="170"/>
                      </a:lnTo>
                      <a:lnTo>
                        <a:pt x="16505" y="166"/>
                      </a:lnTo>
                      <a:lnTo>
                        <a:pt x="16505" y="166"/>
                      </a:lnTo>
                      <a:lnTo>
                        <a:pt x="16505" y="166"/>
                      </a:lnTo>
                      <a:close/>
                      <a:moveTo>
                        <a:pt x="15647" y="133"/>
                      </a:moveTo>
                      <a:lnTo>
                        <a:pt x="15659" y="133"/>
                      </a:lnTo>
                      <a:lnTo>
                        <a:pt x="15647" y="128"/>
                      </a:lnTo>
                      <a:lnTo>
                        <a:pt x="15659" y="116"/>
                      </a:lnTo>
                      <a:lnTo>
                        <a:pt x="15685" y="128"/>
                      </a:lnTo>
                      <a:lnTo>
                        <a:pt x="15647" y="133"/>
                      </a:lnTo>
                      <a:lnTo>
                        <a:pt x="15647" y="133"/>
                      </a:lnTo>
                      <a:lnTo>
                        <a:pt x="15647" y="133"/>
                      </a:lnTo>
                      <a:close/>
                      <a:moveTo>
                        <a:pt x="16198" y="116"/>
                      </a:moveTo>
                      <a:lnTo>
                        <a:pt x="16226" y="116"/>
                      </a:lnTo>
                      <a:lnTo>
                        <a:pt x="16198" y="116"/>
                      </a:lnTo>
                      <a:lnTo>
                        <a:pt x="16198" y="116"/>
                      </a:lnTo>
                      <a:lnTo>
                        <a:pt x="16198" y="116"/>
                      </a:lnTo>
                      <a:close/>
                      <a:moveTo>
                        <a:pt x="16328" y="144"/>
                      </a:moveTo>
                      <a:lnTo>
                        <a:pt x="16370" y="128"/>
                      </a:lnTo>
                      <a:lnTo>
                        <a:pt x="16441" y="128"/>
                      </a:lnTo>
                      <a:lnTo>
                        <a:pt x="16398" y="154"/>
                      </a:lnTo>
                      <a:lnTo>
                        <a:pt x="16328" y="144"/>
                      </a:lnTo>
                      <a:lnTo>
                        <a:pt x="16328" y="144"/>
                      </a:lnTo>
                      <a:lnTo>
                        <a:pt x="16328" y="144"/>
                      </a:lnTo>
                      <a:close/>
                      <a:moveTo>
                        <a:pt x="15933" y="144"/>
                      </a:moveTo>
                      <a:lnTo>
                        <a:pt x="15950" y="128"/>
                      </a:lnTo>
                      <a:lnTo>
                        <a:pt x="16009" y="144"/>
                      </a:lnTo>
                      <a:lnTo>
                        <a:pt x="16047" y="133"/>
                      </a:lnTo>
                      <a:lnTo>
                        <a:pt x="16165" y="182"/>
                      </a:lnTo>
                      <a:lnTo>
                        <a:pt x="16113" y="199"/>
                      </a:lnTo>
                      <a:lnTo>
                        <a:pt x="16089" y="170"/>
                      </a:lnTo>
                      <a:lnTo>
                        <a:pt x="15933" y="144"/>
                      </a:lnTo>
                      <a:lnTo>
                        <a:pt x="15933" y="144"/>
                      </a:lnTo>
                      <a:lnTo>
                        <a:pt x="15933" y="144"/>
                      </a:lnTo>
                      <a:close/>
                      <a:moveTo>
                        <a:pt x="16047" y="128"/>
                      </a:moveTo>
                      <a:lnTo>
                        <a:pt x="16150" y="133"/>
                      </a:lnTo>
                      <a:lnTo>
                        <a:pt x="16202" y="154"/>
                      </a:lnTo>
                      <a:lnTo>
                        <a:pt x="16155" y="166"/>
                      </a:lnTo>
                      <a:lnTo>
                        <a:pt x="16047" y="128"/>
                      </a:lnTo>
                      <a:lnTo>
                        <a:pt x="16047" y="128"/>
                      </a:lnTo>
                      <a:lnTo>
                        <a:pt x="16047" y="128"/>
                      </a:lnTo>
                      <a:close/>
                      <a:moveTo>
                        <a:pt x="16172" y="133"/>
                      </a:moveTo>
                      <a:lnTo>
                        <a:pt x="16188" y="128"/>
                      </a:lnTo>
                      <a:lnTo>
                        <a:pt x="16235" y="144"/>
                      </a:lnTo>
                      <a:lnTo>
                        <a:pt x="16209" y="149"/>
                      </a:lnTo>
                      <a:lnTo>
                        <a:pt x="16172" y="133"/>
                      </a:lnTo>
                      <a:lnTo>
                        <a:pt x="16172" y="133"/>
                      </a:lnTo>
                      <a:lnTo>
                        <a:pt x="16172" y="133"/>
                      </a:lnTo>
                      <a:close/>
                      <a:moveTo>
                        <a:pt x="17672" y="149"/>
                      </a:moveTo>
                      <a:lnTo>
                        <a:pt x="17752" y="154"/>
                      </a:lnTo>
                      <a:lnTo>
                        <a:pt x="17714" y="170"/>
                      </a:lnTo>
                      <a:lnTo>
                        <a:pt x="17655" y="170"/>
                      </a:lnTo>
                      <a:lnTo>
                        <a:pt x="17672" y="149"/>
                      </a:lnTo>
                      <a:lnTo>
                        <a:pt x="17672" y="149"/>
                      </a:lnTo>
                      <a:lnTo>
                        <a:pt x="17672" y="149"/>
                      </a:lnTo>
                      <a:close/>
                      <a:moveTo>
                        <a:pt x="15534" y="260"/>
                      </a:moveTo>
                      <a:lnTo>
                        <a:pt x="15555" y="277"/>
                      </a:lnTo>
                      <a:lnTo>
                        <a:pt x="15517" y="277"/>
                      </a:lnTo>
                      <a:lnTo>
                        <a:pt x="15517" y="281"/>
                      </a:lnTo>
                      <a:lnTo>
                        <a:pt x="15508" y="293"/>
                      </a:lnTo>
                      <a:lnTo>
                        <a:pt x="15454" y="298"/>
                      </a:lnTo>
                      <a:lnTo>
                        <a:pt x="15454" y="293"/>
                      </a:lnTo>
                      <a:lnTo>
                        <a:pt x="15463" y="281"/>
                      </a:lnTo>
                      <a:lnTo>
                        <a:pt x="15484" y="277"/>
                      </a:lnTo>
                      <a:lnTo>
                        <a:pt x="15447" y="265"/>
                      </a:lnTo>
                      <a:lnTo>
                        <a:pt x="15416" y="281"/>
                      </a:lnTo>
                      <a:lnTo>
                        <a:pt x="15387" y="260"/>
                      </a:lnTo>
                      <a:lnTo>
                        <a:pt x="15416" y="244"/>
                      </a:lnTo>
                      <a:lnTo>
                        <a:pt x="15496" y="255"/>
                      </a:lnTo>
                      <a:lnTo>
                        <a:pt x="15454" y="244"/>
                      </a:lnTo>
                      <a:lnTo>
                        <a:pt x="15501" y="236"/>
                      </a:lnTo>
                      <a:lnTo>
                        <a:pt x="15484" y="227"/>
                      </a:lnTo>
                      <a:lnTo>
                        <a:pt x="15442" y="236"/>
                      </a:lnTo>
                      <a:lnTo>
                        <a:pt x="15508" y="210"/>
                      </a:lnTo>
                      <a:lnTo>
                        <a:pt x="15560" y="220"/>
                      </a:lnTo>
                      <a:lnTo>
                        <a:pt x="15576" y="210"/>
                      </a:lnTo>
                      <a:lnTo>
                        <a:pt x="15572" y="203"/>
                      </a:lnTo>
                      <a:lnTo>
                        <a:pt x="15593" y="203"/>
                      </a:lnTo>
                      <a:lnTo>
                        <a:pt x="15605" y="187"/>
                      </a:lnTo>
                      <a:lnTo>
                        <a:pt x="15550" y="187"/>
                      </a:lnTo>
                      <a:lnTo>
                        <a:pt x="15631" y="154"/>
                      </a:lnTo>
                      <a:lnTo>
                        <a:pt x="15659" y="154"/>
                      </a:lnTo>
                      <a:lnTo>
                        <a:pt x="15626" y="166"/>
                      </a:lnTo>
                      <a:lnTo>
                        <a:pt x="15680" y="154"/>
                      </a:lnTo>
                      <a:lnTo>
                        <a:pt x="15697" y="166"/>
                      </a:lnTo>
                      <a:lnTo>
                        <a:pt x="15643" y="187"/>
                      </a:lnTo>
                      <a:lnTo>
                        <a:pt x="15711" y="182"/>
                      </a:lnTo>
                      <a:lnTo>
                        <a:pt x="15739" y="187"/>
                      </a:lnTo>
                      <a:lnTo>
                        <a:pt x="15685" y="220"/>
                      </a:lnTo>
                      <a:lnTo>
                        <a:pt x="15605" y="227"/>
                      </a:lnTo>
                      <a:lnTo>
                        <a:pt x="15609" y="244"/>
                      </a:lnTo>
                      <a:lnTo>
                        <a:pt x="15539" y="244"/>
                      </a:lnTo>
                      <a:lnTo>
                        <a:pt x="15522" y="260"/>
                      </a:lnTo>
                      <a:lnTo>
                        <a:pt x="15534" y="260"/>
                      </a:lnTo>
                      <a:lnTo>
                        <a:pt x="15534" y="260"/>
                      </a:lnTo>
                      <a:lnTo>
                        <a:pt x="15534" y="260"/>
                      </a:lnTo>
                      <a:close/>
                      <a:moveTo>
                        <a:pt x="16181" y="170"/>
                      </a:moveTo>
                      <a:lnTo>
                        <a:pt x="16235" y="154"/>
                      </a:lnTo>
                      <a:lnTo>
                        <a:pt x="16257" y="170"/>
                      </a:lnTo>
                      <a:lnTo>
                        <a:pt x="16219" y="187"/>
                      </a:lnTo>
                      <a:lnTo>
                        <a:pt x="16172" y="170"/>
                      </a:lnTo>
                      <a:lnTo>
                        <a:pt x="16181" y="170"/>
                      </a:lnTo>
                      <a:lnTo>
                        <a:pt x="16181" y="170"/>
                      </a:lnTo>
                      <a:lnTo>
                        <a:pt x="16181" y="170"/>
                      </a:lnTo>
                      <a:close/>
                      <a:moveTo>
                        <a:pt x="15900" y="170"/>
                      </a:moveTo>
                      <a:lnTo>
                        <a:pt x="15983" y="154"/>
                      </a:lnTo>
                      <a:lnTo>
                        <a:pt x="16042" y="170"/>
                      </a:lnTo>
                      <a:lnTo>
                        <a:pt x="15966" y="187"/>
                      </a:lnTo>
                      <a:lnTo>
                        <a:pt x="15900" y="170"/>
                      </a:lnTo>
                      <a:lnTo>
                        <a:pt x="15900" y="170"/>
                      </a:lnTo>
                      <a:lnTo>
                        <a:pt x="15900" y="170"/>
                      </a:lnTo>
                      <a:close/>
                      <a:moveTo>
                        <a:pt x="16273" y="220"/>
                      </a:moveTo>
                      <a:lnTo>
                        <a:pt x="16278" y="210"/>
                      </a:lnTo>
                      <a:lnTo>
                        <a:pt x="16264" y="203"/>
                      </a:lnTo>
                      <a:lnTo>
                        <a:pt x="16273" y="199"/>
                      </a:lnTo>
                      <a:lnTo>
                        <a:pt x="16306" y="170"/>
                      </a:lnTo>
                      <a:lnTo>
                        <a:pt x="16453" y="166"/>
                      </a:lnTo>
                      <a:lnTo>
                        <a:pt x="16479" y="182"/>
                      </a:lnTo>
                      <a:lnTo>
                        <a:pt x="16467" y="199"/>
                      </a:lnTo>
                      <a:lnTo>
                        <a:pt x="16474" y="203"/>
                      </a:lnTo>
                      <a:lnTo>
                        <a:pt x="16441" y="210"/>
                      </a:lnTo>
                      <a:lnTo>
                        <a:pt x="16398" y="244"/>
                      </a:lnTo>
                      <a:lnTo>
                        <a:pt x="16344" y="227"/>
                      </a:lnTo>
                      <a:lnTo>
                        <a:pt x="16295" y="236"/>
                      </a:lnTo>
                      <a:lnTo>
                        <a:pt x="16273" y="220"/>
                      </a:lnTo>
                      <a:lnTo>
                        <a:pt x="16273" y="220"/>
                      </a:lnTo>
                      <a:lnTo>
                        <a:pt x="16273" y="220"/>
                      </a:lnTo>
                      <a:close/>
                      <a:moveTo>
                        <a:pt x="15345" y="236"/>
                      </a:moveTo>
                      <a:lnTo>
                        <a:pt x="15340" y="210"/>
                      </a:lnTo>
                      <a:lnTo>
                        <a:pt x="15307" y="220"/>
                      </a:lnTo>
                      <a:lnTo>
                        <a:pt x="15265" y="203"/>
                      </a:lnTo>
                      <a:lnTo>
                        <a:pt x="15409" y="182"/>
                      </a:lnTo>
                      <a:lnTo>
                        <a:pt x="15447" y="166"/>
                      </a:lnTo>
                      <a:lnTo>
                        <a:pt x="15517" y="182"/>
                      </a:lnTo>
                      <a:lnTo>
                        <a:pt x="15522" y="182"/>
                      </a:lnTo>
                      <a:lnTo>
                        <a:pt x="15508" y="187"/>
                      </a:lnTo>
                      <a:lnTo>
                        <a:pt x="15534" y="203"/>
                      </a:lnTo>
                      <a:lnTo>
                        <a:pt x="15484" y="199"/>
                      </a:lnTo>
                      <a:lnTo>
                        <a:pt x="15463" y="182"/>
                      </a:lnTo>
                      <a:lnTo>
                        <a:pt x="15432" y="199"/>
                      </a:lnTo>
                      <a:lnTo>
                        <a:pt x="15442" y="210"/>
                      </a:lnTo>
                      <a:lnTo>
                        <a:pt x="15425" y="203"/>
                      </a:lnTo>
                      <a:lnTo>
                        <a:pt x="15345" y="236"/>
                      </a:lnTo>
                      <a:lnTo>
                        <a:pt x="15345" y="236"/>
                      </a:lnTo>
                      <a:lnTo>
                        <a:pt x="15345" y="236"/>
                      </a:lnTo>
                      <a:close/>
                      <a:moveTo>
                        <a:pt x="16009" y="187"/>
                      </a:moveTo>
                      <a:lnTo>
                        <a:pt x="16080" y="182"/>
                      </a:lnTo>
                      <a:lnTo>
                        <a:pt x="16113" y="199"/>
                      </a:lnTo>
                      <a:lnTo>
                        <a:pt x="16037" y="203"/>
                      </a:lnTo>
                      <a:lnTo>
                        <a:pt x="16004" y="187"/>
                      </a:lnTo>
                      <a:lnTo>
                        <a:pt x="16009" y="187"/>
                      </a:lnTo>
                      <a:lnTo>
                        <a:pt x="16009" y="187"/>
                      </a:lnTo>
                      <a:lnTo>
                        <a:pt x="16009" y="187"/>
                      </a:lnTo>
                      <a:close/>
                      <a:moveTo>
                        <a:pt x="15848" y="220"/>
                      </a:moveTo>
                      <a:lnTo>
                        <a:pt x="15858" y="210"/>
                      </a:lnTo>
                      <a:lnTo>
                        <a:pt x="15841" y="203"/>
                      </a:lnTo>
                      <a:lnTo>
                        <a:pt x="15858" y="203"/>
                      </a:lnTo>
                      <a:lnTo>
                        <a:pt x="15874" y="220"/>
                      </a:lnTo>
                      <a:lnTo>
                        <a:pt x="15848" y="220"/>
                      </a:lnTo>
                      <a:lnTo>
                        <a:pt x="15848" y="220"/>
                      </a:lnTo>
                      <a:lnTo>
                        <a:pt x="15848" y="220"/>
                      </a:lnTo>
                      <a:close/>
                      <a:moveTo>
                        <a:pt x="16134" y="203"/>
                      </a:moveTo>
                      <a:lnTo>
                        <a:pt x="16188" y="203"/>
                      </a:lnTo>
                      <a:lnTo>
                        <a:pt x="16165" y="220"/>
                      </a:lnTo>
                      <a:lnTo>
                        <a:pt x="16127" y="210"/>
                      </a:lnTo>
                      <a:lnTo>
                        <a:pt x="16134" y="203"/>
                      </a:lnTo>
                      <a:lnTo>
                        <a:pt x="16134" y="203"/>
                      </a:lnTo>
                      <a:lnTo>
                        <a:pt x="16134" y="203"/>
                      </a:lnTo>
                      <a:close/>
                      <a:moveTo>
                        <a:pt x="15886" y="227"/>
                      </a:moveTo>
                      <a:lnTo>
                        <a:pt x="15900" y="220"/>
                      </a:lnTo>
                      <a:lnTo>
                        <a:pt x="15895" y="210"/>
                      </a:lnTo>
                      <a:lnTo>
                        <a:pt x="15900" y="203"/>
                      </a:lnTo>
                      <a:lnTo>
                        <a:pt x="15928" y="210"/>
                      </a:lnTo>
                      <a:lnTo>
                        <a:pt x="15912" y="220"/>
                      </a:lnTo>
                      <a:lnTo>
                        <a:pt x="15933" y="227"/>
                      </a:lnTo>
                      <a:lnTo>
                        <a:pt x="15917" y="236"/>
                      </a:lnTo>
                      <a:lnTo>
                        <a:pt x="15886" y="227"/>
                      </a:lnTo>
                      <a:lnTo>
                        <a:pt x="15886" y="227"/>
                      </a:lnTo>
                      <a:lnTo>
                        <a:pt x="15886" y="227"/>
                      </a:lnTo>
                      <a:close/>
                      <a:moveTo>
                        <a:pt x="15950" y="220"/>
                      </a:moveTo>
                      <a:lnTo>
                        <a:pt x="15971" y="210"/>
                      </a:lnTo>
                      <a:lnTo>
                        <a:pt x="15983" y="227"/>
                      </a:lnTo>
                      <a:lnTo>
                        <a:pt x="15950" y="220"/>
                      </a:lnTo>
                      <a:lnTo>
                        <a:pt x="15950" y="220"/>
                      </a:lnTo>
                      <a:lnTo>
                        <a:pt x="15950" y="220"/>
                      </a:lnTo>
                      <a:close/>
                      <a:moveTo>
                        <a:pt x="16155" y="293"/>
                      </a:moveTo>
                      <a:lnTo>
                        <a:pt x="16134" y="281"/>
                      </a:lnTo>
                      <a:lnTo>
                        <a:pt x="16134" y="244"/>
                      </a:lnTo>
                      <a:lnTo>
                        <a:pt x="16113" y="227"/>
                      </a:lnTo>
                      <a:lnTo>
                        <a:pt x="16209" y="227"/>
                      </a:lnTo>
                      <a:lnTo>
                        <a:pt x="16273" y="255"/>
                      </a:lnTo>
                      <a:lnTo>
                        <a:pt x="16209" y="260"/>
                      </a:lnTo>
                      <a:lnTo>
                        <a:pt x="16188" y="265"/>
                      </a:lnTo>
                      <a:lnTo>
                        <a:pt x="16219" y="265"/>
                      </a:lnTo>
                      <a:lnTo>
                        <a:pt x="16209" y="281"/>
                      </a:lnTo>
                      <a:lnTo>
                        <a:pt x="16181" y="277"/>
                      </a:lnTo>
                      <a:lnTo>
                        <a:pt x="16172" y="281"/>
                      </a:lnTo>
                      <a:lnTo>
                        <a:pt x="16181" y="293"/>
                      </a:lnTo>
                      <a:lnTo>
                        <a:pt x="16155" y="293"/>
                      </a:lnTo>
                      <a:lnTo>
                        <a:pt x="16155" y="293"/>
                      </a:lnTo>
                      <a:lnTo>
                        <a:pt x="16155" y="293"/>
                      </a:lnTo>
                      <a:close/>
                      <a:moveTo>
                        <a:pt x="15933" y="236"/>
                      </a:moveTo>
                      <a:lnTo>
                        <a:pt x="15950" y="227"/>
                      </a:lnTo>
                      <a:lnTo>
                        <a:pt x="15966" y="236"/>
                      </a:lnTo>
                      <a:lnTo>
                        <a:pt x="15928" y="244"/>
                      </a:lnTo>
                      <a:lnTo>
                        <a:pt x="15933" y="236"/>
                      </a:lnTo>
                      <a:lnTo>
                        <a:pt x="15933" y="236"/>
                      </a:lnTo>
                      <a:lnTo>
                        <a:pt x="15933" y="236"/>
                      </a:lnTo>
                      <a:close/>
                      <a:moveTo>
                        <a:pt x="15983" y="236"/>
                      </a:moveTo>
                      <a:lnTo>
                        <a:pt x="15992" y="236"/>
                      </a:lnTo>
                      <a:lnTo>
                        <a:pt x="15971" y="236"/>
                      </a:lnTo>
                      <a:lnTo>
                        <a:pt x="15983" y="236"/>
                      </a:lnTo>
                      <a:lnTo>
                        <a:pt x="15983" y="236"/>
                      </a:lnTo>
                      <a:lnTo>
                        <a:pt x="15983" y="236"/>
                      </a:lnTo>
                      <a:close/>
                      <a:moveTo>
                        <a:pt x="15787" y="277"/>
                      </a:moveTo>
                      <a:lnTo>
                        <a:pt x="15772" y="265"/>
                      </a:lnTo>
                      <a:lnTo>
                        <a:pt x="15824" y="244"/>
                      </a:lnTo>
                      <a:lnTo>
                        <a:pt x="15858" y="244"/>
                      </a:lnTo>
                      <a:lnTo>
                        <a:pt x="15895" y="265"/>
                      </a:lnTo>
                      <a:lnTo>
                        <a:pt x="15862" y="281"/>
                      </a:lnTo>
                      <a:lnTo>
                        <a:pt x="15787" y="277"/>
                      </a:lnTo>
                      <a:lnTo>
                        <a:pt x="15787" y="277"/>
                      </a:lnTo>
                      <a:lnTo>
                        <a:pt x="15787" y="277"/>
                      </a:lnTo>
                      <a:close/>
                      <a:moveTo>
                        <a:pt x="16025" y="293"/>
                      </a:moveTo>
                      <a:lnTo>
                        <a:pt x="16042" y="277"/>
                      </a:lnTo>
                      <a:lnTo>
                        <a:pt x="16042" y="265"/>
                      </a:lnTo>
                      <a:lnTo>
                        <a:pt x="16042" y="255"/>
                      </a:lnTo>
                      <a:lnTo>
                        <a:pt x="16117" y="260"/>
                      </a:lnTo>
                      <a:lnTo>
                        <a:pt x="16117" y="293"/>
                      </a:lnTo>
                      <a:lnTo>
                        <a:pt x="16113" y="298"/>
                      </a:lnTo>
                      <a:lnTo>
                        <a:pt x="16021" y="293"/>
                      </a:lnTo>
                      <a:lnTo>
                        <a:pt x="16025" y="293"/>
                      </a:lnTo>
                      <a:lnTo>
                        <a:pt x="16025" y="293"/>
                      </a:lnTo>
                      <a:lnTo>
                        <a:pt x="16025" y="293"/>
                      </a:lnTo>
                      <a:close/>
                      <a:moveTo>
                        <a:pt x="15966" y="265"/>
                      </a:moveTo>
                      <a:lnTo>
                        <a:pt x="15992" y="255"/>
                      </a:lnTo>
                      <a:lnTo>
                        <a:pt x="16009" y="260"/>
                      </a:lnTo>
                      <a:lnTo>
                        <a:pt x="15983" y="277"/>
                      </a:lnTo>
                      <a:lnTo>
                        <a:pt x="15966" y="265"/>
                      </a:lnTo>
                      <a:lnTo>
                        <a:pt x="15966" y="265"/>
                      </a:lnTo>
                      <a:lnTo>
                        <a:pt x="15966" y="265"/>
                      </a:lnTo>
                      <a:close/>
                      <a:moveTo>
                        <a:pt x="15917" y="277"/>
                      </a:moveTo>
                      <a:lnTo>
                        <a:pt x="15912" y="260"/>
                      </a:lnTo>
                      <a:lnTo>
                        <a:pt x="15917" y="255"/>
                      </a:lnTo>
                      <a:lnTo>
                        <a:pt x="15933" y="260"/>
                      </a:lnTo>
                      <a:lnTo>
                        <a:pt x="15917" y="277"/>
                      </a:lnTo>
                      <a:lnTo>
                        <a:pt x="15917" y="277"/>
                      </a:lnTo>
                      <a:lnTo>
                        <a:pt x="15917" y="277"/>
                      </a:lnTo>
                      <a:close/>
                      <a:moveTo>
                        <a:pt x="15609" y="298"/>
                      </a:moveTo>
                      <a:lnTo>
                        <a:pt x="15588" y="281"/>
                      </a:lnTo>
                      <a:lnTo>
                        <a:pt x="15614" y="265"/>
                      </a:lnTo>
                      <a:lnTo>
                        <a:pt x="15647" y="281"/>
                      </a:lnTo>
                      <a:lnTo>
                        <a:pt x="15609" y="298"/>
                      </a:lnTo>
                      <a:lnTo>
                        <a:pt x="15609" y="298"/>
                      </a:lnTo>
                      <a:lnTo>
                        <a:pt x="15609" y="298"/>
                      </a:lnTo>
                      <a:close/>
                      <a:moveTo>
                        <a:pt x="19098" y="425"/>
                      </a:moveTo>
                      <a:lnTo>
                        <a:pt x="19061" y="425"/>
                      </a:lnTo>
                      <a:lnTo>
                        <a:pt x="19120" y="459"/>
                      </a:lnTo>
                      <a:lnTo>
                        <a:pt x="19129" y="482"/>
                      </a:lnTo>
                      <a:lnTo>
                        <a:pt x="19087" y="499"/>
                      </a:lnTo>
                      <a:lnTo>
                        <a:pt x="19011" y="503"/>
                      </a:lnTo>
                      <a:lnTo>
                        <a:pt x="18935" y="499"/>
                      </a:lnTo>
                      <a:lnTo>
                        <a:pt x="18898" y="475"/>
                      </a:lnTo>
                      <a:lnTo>
                        <a:pt x="18827" y="475"/>
                      </a:lnTo>
                      <a:lnTo>
                        <a:pt x="18817" y="449"/>
                      </a:lnTo>
                      <a:lnTo>
                        <a:pt x="18780" y="466"/>
                      </a:lnTo>
                      <a:lnTo>
                        <a:pt x="18735" y="433"/>
                      </a:lnTo>
                      <a:lnTo>
                        <a:pt x="18735" y="392"/>
                      </a:lnTo>
                      <a:lnTo>
                        <a:pt x="18687" y="392"/>
                      </a:lnTo>
                      <a:lnTo>
                        <a:pt x="18704" y="392"/>
                      </a:lnTo>
                      <a:lnTo>
                        <a:pt x="18687" y="388"/>
                      </a:lnTo>
                      <a:lnTo>
                        <a:pt x="18697" y="371"/>
                      </a:lnTo>
                      <a:lnTo>
                        <a:pt x="18650" y="404"/>
                      </a:lnTo>
                      <a:lnTo>
                        <a:pt x="18650" y="392"/>
                      </a:lnTo>
                      <a:lnTo>
                        <a:pt x="18654" y="388"/>
                      </a:lnTo>
                      <a:lnTo>
                        <a:pt x="18628" y="376"/>
                      </a:lnTo>
                      <a:lnTo>
                        <a:pt x="18654" y="388"/>
                      </a:lnTo>
                      <a:lnTo>
                        <a:pt x="18709" y="347"/>
                      </a:lnTo>
                      <a:lnTo>
                        <a:pt x="18751" y="338"/>
                      </a:lnTo>
                      <a:lnTo>
                        <a:pt x="18725" y="322"/>
                      </a:lnTo>
                      <a:lnTo>
                        <a:pt x="18772" y="293"/>
                      </a:lnTo>
                      <a:lnTo>
                        <a:pt x="18796" y="310"/>
                      </a:lnTo>
                      <a:lnTo>
                        <a:pt x="18817" y="293"/>
                      </a:lnTo>
                      <a:lnTo>
                        <a:pt x="18957" y="281"/>
                      </a:lnTo>
                      <a:lnTo>
                        <a:pt x="18990" y="298"/>
                      </a:lnTo>
                      <a:lnTo>
                        <a:pt x="18957" y="347"/>
                      </a:lnTo>
                      <a:lnTo>
                        <a:pt x="18935" y="355"/>
                      </a:lnTo>
                      <a:lnTo>
                        <a:pt x="18969" y="347"/>
                      </a:lnTo>
                      <a:lnTo>
                        <a:pt x="18978" y="322"/>
                      </a:lnTo>
                      <a:lnTo>
                        <a:pt x="19011" y="331"/>
                      </a:lnTo>
                      <a:lnTo>
                        <a:pt x="19028" y="314"/>
                      </a:lnTo>
                      <a:lnTo>
                        <a:pt x="19023" y="310"/>
                      </a:lnTo>
                      <a:lnTo>
                        <a:pt x="19028" y="298"/>
                      </a:lnTo>
                      <a:lnTo>
                        <a:pt x="19075" y="298"/>
                      </a:lnTo>
                      <a:lnTo>
                        <a:pt x="19136" y="347"/>
                      </a:lnTo>
                      <a:lnTo>
                        <a:pt x="19113" y="371"/>
                      </a:lnTo>
                      <a:lnTo>
                        <a:pt x="19103" y="392"/>
                      </a:lnTo>
                      <a:lnTo>
                        <a:pt x="19113" y="409"/>
                      </a:lnTo>
                      <a:lnTo>
                        <a:pt x="19098" y="425"/>
                      </a:lnTo>
                      <a:lnTo>
                        <a:pt x="19098" y="425"/>
                      </a:lnTo>
                      <a:lnTo>
                        <a:pt x="19098" y="425"/>
                      </a:lnTo>
                      <a:close/>
                      <a:moveTo>
                        <a:pt x="16240" y="310"/>
                      </a:moveTo>
                      <a:lnTo>
                        <a:pt x="16278" y="293"/>
                      </a:lnTo>
                      <a:lnTo>
                        <a:pt x="16311" y="293"/>
                      </a:lnTo>
                      <a:lnTo>
                        <a:pt x="16311" y="310"/>
                      </a:lnTo>
                      <a:lnTo>
                        <a:pt x="16278" y="322"/>
                      </a:lnTo>
                      <a:lnTo>
                        <a:pt x="16240" y="310"/>
                      </a:lnTo>
                      <a:lnTo>
                        <a:pt x="16240" y="310"/>
                      </a:lnTo>
                      <a:lnTo>
                        <a:pt x="16240" y="310"/>
                      </a:lnTo>
                      <a:close/>
                      <a:moveTo>
                        <a:pt x="15626" y="314"/>
                      </a:moveTo>
                      <a:lnTo>
                        <a:pt x="15659" y="314"/>
                      </a:lnTo>
                      <a:lnTo>
                        <a:pt x="15697" y="293"/>
                      </a:lnTo>
                      <a:lnTo>
                        <a:pt x="15723" y="322"/>
                      </a:lnTo>
                      <a:lnTo>
                        <a:pt x="15626" y="314"/>
                      </a:lnTo>
                      <a:lnTo>
                        <a:pt x="15626" y="314"/>
                      </a:lnTo>
                      <a:lnTo>
                        <a:pt x="15626" y="314"/>
                      </a:lnTo>
                      <a:close/>
                      <a:moveTo>
                        <a:pt x="18503" y="298"/>
                      </a:moveTo>
                      <a:lnTo>
                        <a:pt x="18487" y="298"/>
                      </a:lnTo>
                      <a:lnTo>
                        <a:pt x="18633" y="310"/>
                      </a:lnTo>
                      <a:lnTo>
                        <a:pt x="18697" y="322"/>
                      </a:lnTo>
                      <a:lnTo>
                        <a:pt x="18645" y="355"/>
                      </a:lnTo>
                      <a:lnTo>
                        <a:pt x="18562" y="364"/>
                      </a:lnTo>
                      <a:lnTo>
                        <a:pt x="18595" y="355"/>
                      </a:lnTo>
                      <a:lnTo>
                        <a:pt x="18574" y="338"/>
                      </a:lnTo>
                      <a:lnTo>
                        <a:pt x="18503" y="331"/>
                      </a:lnTo>
                      <a:lnTo>
                        <a:pt x="18508" y="322"/>
                      </a:lnTo>
                      <a:lnTo>
                        <a:pt x="18503" y="298"/>
                      </a:lnTo>
                      <a:lnTo>
                        <a:pt x="18503" y="298"/>
                      </a:lnTo>
                      <a:lnTo>
                        <a:pt x="18503" y="298"/>
                      </a:lnTo>
                      <a:close/>
                      <a:moveTo>
                        <a:pt x="18704" y="310"/>
                      </a:moveTo>
                      <a:lnTo>
                        <a:pt x="18735" y="310"/>
                      </a:lnTo>
                      <a:lnTo>
                        <a:pt x="18704" y="314"/>
                      </a:lnTo>
                      <a:lnTo>
                        <a:pt x="18704" y="310"/>
                      </a:lnTo>
                      <a:lnTo>
                        <a:pt x="18704" y="310"/>
                      </a:lnTo>
                      <a:lnTo>
                        <a:pt x="18704" y="310"/>
                      </a:lnTo>
                      <a:close/>
                      <a:moveTo>
                        <a:pt x="16209" y="314"/>
                      </a:moveTo>
                      <a:lnTo>
                        <a:pt x="16226" y="314"/>
                      </a:lnTo>
                      <a:lnTo>
                        <a:pt x="16252" y="322"/>
                      </a:lnTo>
                      <a:lnTo>
                        <a:pt x="16202" y="322"/>
                      </a:lnTo>
                      <a:lnTo>
                        <a:pt x="16209" y="314"/>
                      </a:lnTo>
                      <a:lnTo>
                        <a:pt x="16209" y="314"/>
                      </a:lnTo>
                      <a:lnTo>
                        <a:pt x="16209" y="314"/>
                      </a:lnTo>
                      <a:close/>
                      <a:moveTo>
                        <a:pt x="18541" y="364"/>
                      </a:moveTo>
                      <a:lnTo>
                        <a:pt x="18503" y="355"/>
                      </a:lnTo>
                      <a:lnTo>
                        <a:pt x="18557" y="364"/>
                      </a:lnTo>
                      <a:lnTo>
                        <a:pt x="18541" y="364"/>
                      </a:lnTo>
                      <a:lnTo>
                        <a:pt x="18541" y="364"/>
                      </a:lnTo>
                      <a:lnTo>
                        <a:pt x="18541" y="364"/>
                      </a:lnTo>
                      <a:close/>
                      <a:moveTo>
                        <a:pt x="19129" y="376"/>
                      </a:moveTo>
                      <a:lnTo>
                        <a:pt x="19129" y="364"/>
                      </a:lnTo>
                      <a:lnTo>
                        <a:pt x="19150" y="364"/>
                      </a:lnTo>
                      <a:lnTo>
                        <a:pt x="19129" y="376"/>
                      </a:lnTo>
                      <a:lnTo>
                        <a:pt x="19129" y="376"/>
                      </a:lnTo>
                      <a:lnTo>
                        <a:pt x="19129" y="376"/>
                      </a:lnTo>
                      <a:close/>
                      <a:moveTo>
                        <a:pt x="17495" y="388"/>
                      </a:moveTo>
                      <a:lnTo>
                        <a:pt x="17445" y="371"/>
                      </a:lnTo>
                      <a:lnTo>
                        <a:pt x="17563" y="388"/>
                      </a:lnTo>
                      <a:lnTo>
                        <a:pt x="17499" y="392"/>
                      </a:lnTo>
                      <a:lnTo>
                        <a:pt x="17495" y="388"/>
                      </a:lnTo>
                      <a:lnTo>
                        <a:pt x="17495" y="388"/>
                      </a:lnTo>
                      <a:lnTo>
                        <a:pt x="17495" y="388"/>
                      </a:lnTo>
                      <a:close/>
                      <a:moveTo>
                        <a:pt x="18494" y="388"/>
                      </a:moveTo>
                      <a:lnTo>
                        <a:pt x="18536" y="392"/>
                      </a:lnTo>
                      <a:lnTo>
                        <a:pt x="18482" y="376"/>
                      </a:lnTo>
                      <a:lnTo>
                        <a:pt x="18494" y="388"/>
                      </a:lnTo>
                      <a:lnTo>
                        <a:pt x="18494" y="388"/>
                      </a:lnTo>
                      <a:lnTo>
                        <a:pt x="18494" y="388"/>
                      </a:lnTo>
                      <a:close/>
                      <a:moveTo>
                        <a:pt x="19129" y="392"/>
                      </a:moveTo>
                      <a:lnTo>
                        <a:pt x="19129" y="404"/>
                      </a:lnTo>
                      <a:lnTo>
                        <a:pt x="19120" y="404"/>
                      </a:lnTo>
                      <a:lnTo>
                        <a:pt x="19129" y="392"/>
                      </a:lnTo>
                      <a:lnTo>
                        <a:pt x="19129" y="392"/>
                      </a:lnTo>
                      <a:lnTo>
                        <a:pt x="19129" y="392"/>
                      </a:lnTo>
                      <a:close/>
                      <a:moveTo>
                        <a:pt x="19136" y="553"/>
                      </a:moveTo>
                      <a:lnTo>
                        <a:pt x="19157" y="503"/>
                      </a:lnTo>
                      <a:lnTo>
                        <a:pt x="19212" y="515"/>
                      </a:lnTo>
                      <a:lnTo>
                        <a:pt x="19183" y="487"/>
                      </a:lnTo>
                      <a:lnTo>
                        <a:pt x="19195" y="466"/>
                      </a:lnTo>
                      <a:lnTo>
                        <a:pt x="19243" y="475"/>
                      </a:lnTo>
                      <a:lnTo>
                        <a:pt x="19195" y="459"/>
                      </a:lnTo>
                      <a:lnTo>
                        <a:pt x="19212" y="433"/>
                      </a:lnTo>
                      <a:lnTo>
                        <a:pt x="19250" y="409"/>
                      </a:lnTo>
                      <a:lnTo>
                        <a:pt x="19264" y="425"/>
                      </a:lnTo>
                      <a:lnTo>
                        <a:pt x="19280" y="433"/>
                      </a:lnTo>
                      <a:lnTo>
                        <a:pt x="19280" y="409"/>
                      </a:lnTo>
                      <a:lnTo>
                        <a:pt x="19297" y="404"/>
                      </a:lnTo>
                      <a:lnTo>
                        <a:pt x="19351" y="421"/>
                      </a:lnTo>
                      <a:lnTo>
                        <a:pt x="19330" y="433"/>
                      </a:lnTo>
                      <a:lnTo>
                        <a:pt x="19297" y="499"/>
                      </a:lnTo>
                      <a:lnTo>
                        <a:pt x="19335" y="466"/>
                      </a:lnTo>
                      <a:lnTo>
                        <a:pt x="19406" y="449"/>
                      </a:lnTo>
                      <a:lnTo>
                        <a:pt x="19410" y="475"/>
                      </a:lnTo>
                      <a:lnTo>
                        <a:pt x="19439" y="475"/>
                      </a:lnTo>
                      <a:lnTo>
                        <a:pt x="19453" y="499"/>
                      </a:lnTo>
                      <a:lnTo>
                        <a:pt x="19453" y="503"/>
                      </a:lnTo>
                      <a:lnTo>
                        <a:pt x="19460" y="499"/>
                      </a:lnTo>
                      <a:lnTo>
                        <a:pt x="19491" y="499"/>
                      </a:lnTo>
                      <a:lnTo>
                        <a:pt x="19507" y="536"/>
                      </a:lnTo>
                      <a:lnTo>
                        <a:pt x="19460" y="577"/>
                      </a:lnTo>
                      <a:lnTo>
                        <a:pt x="19335" y="593"/>
                      </a:lnTo>
                      <a:lnTo>
                        <a:pt x="19318" y="598"/>
                      </a:lnTo>
                      <a:lnTo>
                        <a:pt x="19302" y="593"/>
                      </a:lnTo>
                      <a:lnTo>
                        <a:pt x="19221" y="598"/>
                      </a:lnTo>
                      <a:lnTo>
                        <a:pt x="19129" y="631"/>
                      </a:lnTo>
                      <a:lnTo>
                        <a:pt x="19087" y="643"/>
                      </a:lnTo>
                      <a:lnTo>
                        <a:pt x="19082" y="626"/>
                      </a:lnTo>
                      <a:lnTo>
                        <a:pt x="19136" y="553"/>
                      </a:lnTo>
                      <a:lnTo>
                        <a:pt x="19136" y="553"/>
                      </a:lnTo>
                      <a:lnTo>
                        <a:pt x="19136" y="553"/>
                      </a:lnTo>
                      <a:close/>
                      <a:moveTo>
                        <a:pt x="19561" y="598"/>
                      </a:moveTo>
                      <a:lnTo>
                        <a:pt x="19552" y="593"/>
                      </a:lnTo>
                      <a:lnTo>
                        <a:pt x="19583" y="577"/>
                      </a:lnTo>
                      <a:lnTo>
                        <a:pt x="19604" y="586"/>
                      </a:lnTo>
                      <a:lnTo>
                        <a:pt x="19561" y="598"/>
                      </a:lnTo>
                      <a:lnTo>
                        <a:pt x="19561" y="598"/>
                      </a:lnTo>
                      <a:lnTo>
                        <a:pt x="19561" y="598"/>
                      </a:lnTo>
                      <a:close/>
                      <a:moveTo>
                        <a:pt x="19654" y="626"/>
                      </a:moveTo>
                      <a:lnTo>
                        <a:pt x="19583" y="598"/>
                      </a:lnTo>
                      <a:lnTo>
                        <a:pt x="19670" y="610"/>
                      </a:lnTo>
                      <a:lnTo>
                        <a:pt x="19654" y="626"/>
                      </a:lnTo>
                      <a:lnTo>
                        <a:pt x="19654" y="626"/>
                      </a:lnTo>
                      <a:lnTo>
                        <a:pt x="19654" y="626"/>
                      </a:lnTo>
                      <a:close/>
                      <a:moveTo>
                        <a:pt x="18562" y="688"/>
                      </a:moveTo>
                      <a:lnTo>
                        <a:pt x="18546" y="681"/>
                      </a:lnTo>
                      <a:lnTo>
                        <a:pt x="18574" y="688"/>
                      </a:lnTo>
                      <a:lnTo>
                        <a:pt x="18562" y="688"/>
                      </a:lnTo>
                      <a:lnTo>
                        <a:pt x="18562" y="688"/>
                      </a:lnTo>
                      <a:lnTo>
                        <a:pt x="18562" y="688"/>
                      </a:lnTo>
                      <a:close/>
                      <a:moveTo>
                        <a:pt x="19642" y="754"/>
                      </a:moveTo>
                      <a:lnTo>
                        <a:pt x="19637" y="742"/>
                      </a:lnTo>
                      <a:lnTo>
                        <a:pt x="19654" y="725"/>
                      </a:lnTo>
                      <a:lnTo>
                        <a:pt x="19670" y="737"/>
                      </a:lnTo>
                      <a:lnTo>
                        <a:pt x="19670" y="742"/>
                      </a:lnTo>
                      <a:lnTo>
                        <a:pt x="19642" y="754"/>
                      </a:lnTo>
                      <a:lnTo>
                        <a:pt x="19642" y="754"/>
                      </a:lnTo>
                      <a:lnTo>
                        <a:pt x="19642" y="754"/>
                      </a:lnTo>
                      <a:close/>
                      <a:moveTo>
                        <a:pt x="18373" y="758"/>
                      </a:moveTo>
                      <a:lnTo>
                        <a:pt x="18364" y="742"/>
                      </a:lnTo>
                      <a:lnTo>
                        <a:pt x="18373" y="737"/>
                      </a:lnTo>
                      <a:lnTo>
                        <a:pt x="18402" y="742"/>
                      </a:lnTo>
                      <a:lnTo>
                        <a:pt x="18373" y="758"/>
                      </a:lnTo>
                      <a:lnTo>
                        <a:pt x="18373" y="758"/>
                      </a:lnTo>
                      <a:lnTo>
                        <a:pt x="18373" y="758"/>
                      </a:lnTo>
                      <a:close/>
                      <a:moveTo>
                        <a:pt x="19535" y="742"/>
                      </a:moveTo>
                      <a:lnTo>
                        <a:pt x="19552" y="737"/>
                      </a:lnTo>
                      <a:lnTo>
                        <a:pt x="19535" y="742"/>
                      </a:lnTo>
                      <a:lnTo>
                        <a:pt x="19535" y="742"/>
                      </a:lnTo>
                      <a:lnTo>
                        <a:pt x="19535" y="742"/>
                      </a:lnTo>
                      <a:close/>
                      <a:moveTo>
                        <a:pt x="18881" y="754"/>
                      </a:moveTo>
                      <a:lnTo>
                        <a:pt x="18886" y="758"/>
                      </a:lnTo>
                      <a:lnTo>
                        <a:pt x="18860" y="780"/>
                      </a:lnTo>
                      <a:lnTo>
                        <a:pt x="18796" y="780"/>
                      </a:lnTo>
                      <a:lnTo>
                        <a:pt x="18881" y="754"/>
                      </a:lnTo>
                      <a:lnTo>
                        <a:pt x="18881" y="754"/>
                      </a:lnTo>
                      <a:lnTo>
                        <a:pt x="18881" y="754"/>
                      </a:lnTo>
                      <a:close/>
                      <a:moveTo>
                        <a:pt x="18357" y="758"/>
                      </a:moveTo>
                      <a:lnTo>
                        <a:pt x="18331" y="763"/>
                      </a:lnTo>
                      <a:lnTo>
                        <a:pt x="18347" y="763"/>
                      </a:lnTo>
                      <a:lnTo>
                        <a:pt x="18343" y="780"/>
                      </a:lnTo>
                      <a:lnTo>
                        <a:pt x="18331" y="763"/>
                      </a:lnTo>
                      <a:lnTo>
                        <a:pt x="18357" y="758"/>
                      </a:lnTo>
                      <a:lnTo>
                        <a:pt x="18357" y="758"/>
                      </a:lnTo>
                      <a:lnTo>
                        <a:pt x="18357" y="758"/>
                      </a:lnTo>
                      <a:close/>
                      <a:moveTo>
                        <a:pt x="23093" y="758"/>
                      </a:moveTo>
                      <a:lnTo>
                        <a:pt x="23109" y="758"/>
                      </a:lnTo>
                      <a:lnTo>
                        <a:pt x="23088" y="758"/>
                      </a:lnTo>
                      <a:lnTo>
                        <a:pt x="23093" y="758"/>
                      </a:lnTo>
                      <a:lnTo>
                        <a:pt x="23093" y="758"/>
                      </a:lnTo>
                      <a:lnTo>
                        <a:pt x="23093" y="758"/>
                      </a:lnTo>
                      <a:close/>
                      <a:moveTo>
                        <a:pt x="16101" y="1314"/>
                      </a:moveTo>
                      <a:lnTo>
                        <a:pt x="16096" y="1307"/>
                      </a:lnTo>
                      <a:lnTo>
                        <a:pt x="16096" y="1318"/>
                      </a:lnTo>
                      <a:lnTo>
                        <a:pt x="16047" y="1318"/>
                      </a:lnTo>
                      <a:lnTo>
                        <a:pt x="16037" y="1297"/>
                      </a:lnTo>
                      <a:lnTo>
                        <a:pt x="16042" y="1314"/>
                      </a:lnTo>
                      <a:lnTo>
                        <a:pt x="15971" y="1297"/>
                      </a:lnTo>
                      <a:lnTo>
                        <a:pt x="15917" y="1314"/>
                      </a:lnTo>
                      <a:lnTo>
                        <a:pt x="15900" y="1307"/>
                      </a:lnTo>
                      <a:lnTo>
                        <a:pt x="15928" y="1297"/>
                      </a:lnTo>
                      <a:lnTo>
                        <a:pt x="15928" y="1290"/>
                      </a:lnTo>
                      <a:lnTo>
                        <a:pt x="15917" y="1290"/>
                      </a:lnTo>
                      <a:lnTo>
                        <a:pt x="15928" y="1281"/>
                      </a:lnTo>
                      <a:lnTo>
                        <a:pt x="15987" y="1257"/>
                      </a:lnTo>
                      <a:lnTo>
                        <a:pt x="15900" y="1273"/>
                      </a:lnTo>
                      <a:lnTo>
                        <a:pt x="15879" y="1252"/>
                      </a:lnTo>
                      <a:lnTo>
                        <a:pt x="15954" y="1224"/>
                      </a:lnTo>
                      <a:lnTo>
                        <a:pt x="15938" y="1219"/>
                      </a:lnTo>
                      <a:lnTo>
                        <a:pt x="15971" y="1195"/>
                      </a:lnTo>
                      <a:lnTo>
                        <a:pt x="16037" y="1203"/>
                      </a:lnTo>
                      <a:lnTo>
                        <a:pt x="15983" y="1179"/>
                      </a:lnTo>
                      <a:lnTo>
                        <a:pt x="16025" y="1179"/>
                      </a:lnTo>
                      <a:lnTo>
                        <a:pt x="15987" y="1170"/>
                      </a:lnTo>
                      <a:lnTo>
                        <a:pt x="15992" y="1153"/>
                      </a:lnTo>
                      <a:lnTo>
                        <a:pt x="16063" y="1146"/>
                      </a:lnTo>
                      <a:lnTo>
                        <a:pt x="16009" y="1141"/>
                      </a:lnTo>
                      <a:lnTo>
                        <a:pt x="16009" y="1125"/>
                      </a:lnTo>
                      <a:lnTo>
                        <a:pt x="16113" y="1125"/>
                      </a:lnTo>
                      <a:lnTo>
                        <a:pt x="16089" y="1125"/>
                      </a:lnTo>
                      <a:lnTo>
                        <a:pt x="16075" y="1108"/>
                      </a:lnTo>
                      <a:lnTo>
                        <a:pt x="16037" y="1108"/>
                      </a:lnTo>
                      <a:lnTo>
                        <a:pt x="16089" y="1087"/>
                      </a:lnTo>
                      <a:lnTo>
                        <a:pt x="16063" y="1087"/>
                      </a:lnTo>
                      <a:lnTo>
                        <a:pt x="16075" y="1075"/>
                      </a:lnTo>
                      <a:lnTo>
                        <a:pt x="16037" y="1075"/>
                      </a:lnTo>
                      <a:lnTo>
                        <a:pt x="16042" y="1070"/>
                      </a:lnTo>
                      <a:lnTo>
                        <a:pt x="16025" y="1070"/>
                      </a:lnTo>
                      <a:lnTo>
                        <a:pt x="16025" y="1058"/>
                      </a:lnTo>
                      <a:lnTo>
                        <a:pt x="16063" y="1051"/>
                      </a:lnTo>
                      <a:lnTo>
                        <a:pt x="16075" y="1070"/>
                      </a:lnTo>
                      <a:lnTo>
                        <a:pt x="16101" y="1042"/>
                      </a:lnTo>
                      <a:lnTo>
                        <a:pt x="16096" y="1035"/>
                      </a:lnTo>
                      <a:lnTo>
                        <a:pt x="16101" y="1030"/>
                      </a:lnTo>
                      <a:lnTo>
                        <a:pt x="16165" y="1030"/>
                      </a:lnTo>
                      <a:lnTo>
                        <a:pt x="16150" y="1002"/>
                      </a:lnTo>
                      <a:lnTo>
                        <a:pt x="16198" y="997"/>
                      </a:lnTo>
                      <a:lnTo>
                        <a:pt x="16181" y="985"/>
                      </a:lnTo>
                      <a:lnTo>
                        <a:pt x="16235" y="959"/>
                      </a:lnTo>
                      <a:lnTo>
                        <a:pt x="16349" y="931"/>
                      </a:lnTo>
                      <a:lnTo>
                        <a:pt x="16328" y="924"/>
                      </a:lnTo>
                      <a:lnTo>
                        <a:pt x="16344" y="919"/>
                      </a:lnTo>
                      <a:lnTo>
                        <a:pt x="16382" y="919"/>
                      </a:lnTo>
                      <a:lnTo>
                        <a:pt x="16361" y="931"/>
                      </a:lnTo>
                      <a:lnTo>
                        <a:pt x="16370" y="931"/>
                      </a:lnTo>
                      <a:lnTo>
                        <a:pt x="16403" y="907"/>
                      </a:lnTo>
                      <a:lnTo>
                        <a:pt x="16387" y="907"/>
                      </a:lnTo>
                      <a:lnTo>
                        <a:pt x="16398" y="891"/>
                      </a:lnTo>
                      <a:lnTo>
                        <a:pt x="16441" y="886"/>
                      </a:lnTo>
                      <a:lnTo>
                        <a:pt x="16495" y="903"/>
                      </a:lnTo>
                      <a:lnTo>
                        <a:pt x="16580" y="874"/>
                      </a:lnTo>
                      <a:lnTo>
                        <a:pt x="16613" y="886"/>
                      </a:lnTo>
                      <a:lnTo>
                        <a:pt x="16710" y="848"/>
                      </a:lnTo>
                      <a:lnTo>
                        <a:pt x="16743" y="853"/>
                      </a:lnTo>
                      <a:lnTo>
                        <a:pt x="16727" y="832"/>
                      </a:lnTo>
                      <a:lnTo>
                        <a:pt x="16852" y="780"/>
                      </a:lnTo>
                      <a:lnTo>
                        <a:pt x="16921" y="792"/>
                      </a:lnTo>
                      <a:lnTo>
                        <a:pt x="16954" y="815"/>
                      </a:lnTo>
                      <a:lnTo>
                        <a:pt x="16937" y="848"/>
                      </a:lnTo>
                      <a:lnTo>
                        <a:pt x="16944" y="853"/>
                      </a:lnTo>
                      <a:lnTo>
                        <a:pt x="16899" y="886"/>
                      </a:lnTo>
                      <a:lnTo>
                        <a:pt x="16906" y="886"/>
                      </a:lnTo>
                      <a:lnTo>
                        <a:pt x="16684" y="959"/>
                      </a:lnTo>
                      <a:lnTo>
                        <a:pt x="16592" y="981"/>
                      </a:lnTo>
                      <a:lnTo>
                        <a:pt x="16576" y="976"/>
                      </a:lnTo>
                      <a:lnTo>
                        <a:pt x="16559" y="985"/>
                      </a:lnTo>
                      <a:lnTo>
                        <a:pt x="16441" y="1018"/>
                      </a:lnTo>
                      <a:lnTo>
                        <a:pt x="16424" y="1042"/>
                      </a:lnTo>
                      <a:lnTo>
                        <a:pt x="16415" y="1030"/>
                      </a:lnTo>
                      <a:lnTo>
                        <a:pt x="16403" y="1042"/>
                      </a:lnTo>
                      <a:lnTo>
                        <a:pt x="16370" y="1058"/>
                      </a:lnTo>
                      <a:lnTo>
                        <a:pt x="16382" y="1070"/>
                      </a:lnTo>
                      <a:lnTo>
                        <a:pt x="16370" y="1075"/>
                      </a:lnTo>
                      <a:lnTo>
                        <a:pt x="16361" y="1058"/>
                      </a:lnTo>
                      <a:lnTo>
                        <a:pt x="16361" y="1075"/>
                      </a:lnTo>
                      <a:lnTo>
                        <a:pt x="16316" y="1075"/>
                      </a:lnTo>
                      <a:lnTo>
                        <a:pt x="16370" y="1087"/>
                      </a:lnTo>
                      <a:lnTo>
                        <a:pt x="16332" y="1096"/>
                      </a:lnTo>
                      <a:lnTo>
                        <a:pt x="16349" y="1108"/>
                      </a:lnTo>
                      <a:lnTo>
                        <a:pt x="16344" y="1113"/>
                      </a:lnTo>
                      <a:lnTo>
                        <a:pt x="16316" y="1113"/>
                      </a:lnTo>
                      <a:lnTo>
                        <a:pt x="16290" y="1108"/>
                      </a:lnTo>
                      <a:lnTo>
                        <a:pt x="16311" y="1125"/>
                      </a:lnTo>
                      <a:lnTo>
                        <a:pt x="16306" y="1141"/>
                      </a:lnTo>
                      <a:lnTo>
                        <a:pt x="16264" y="1113"/>
                      </a:lnTo>
                      <a:lnTo>
                        <a:pt x="16273" y="1129"/>
                      </a:lnTo>
                      <a:lnTo>
                        <a:pt x="16257" y="1141"/>
                      </a:lnTo>
                      <a:lnTo>
                        <a:pt x="16264" y="1153"/>
                      </a:lnTo>
                      <a:lnTo>
                        <a:pt x="16198" y="1141"/>
                      </a:lnTo>
                      <a:lnTo>
                        <a:pt x="16226" y="1153"/>
                      </a:lnTo>
                      <a:lnTo>
                        <a:pt x="16235" y="1179"/>
                      </a:lnTo>
                      <a:lnTo>
                        <a:pt x="16219" y="1195"/>
                      </a:lnTo>
                      <a:lnTo>
                        <a:pt x="16202" y="1186"/>
                      </a:lnTo>
                      <a:lnTo>
                        <a:pt x="16209" y="1203"/>
                      </a:lnTo>
                      <a:lnTo>
                        <a:pt x="16198" y="1203"/>
                      </a:lnTo>
                      <a:lnTo>
                        <a:pt x="16198" y="1219"/>
                      </a:lnTo>
                      <a:lnTo>
                        <a:pt x="16165" y="1207"/>
                      </a:lnTo>
                      <a:lnTo>
                        <a:pt x="16150" y="1195"/>
                      </a:lnTo>
                      <a:lnTo>
                        <a:pt x="16143" y="1195"/>
                      </a:lnTo>
                      <a:lnTo>
                        <a:pt x="16150" y="1207"/>
                      </a:lnTo>
                      <a:lnTo>
                        <a:pt x="16134" y="1207"/>
                      </a:lnTo>
                      <a:lnTo>
                        <a:pt x="16172" y="1236"/>
                      </a:lnTo>
                      <a:lnTo>
                        <a:pt x="16181" y="1252"/>
                      </a:lnTo>
                      <a:lnTo>
                        <a:pt x="16165" y="1257"/>
                      </a:lnTo>
                      <a:lnTo>
                        <a:pt x="16143" y="1240"/>
                      </a:lnTo>
                      <a:lnTo>
                        <a:pt x="16080" y="1236"/>
                      </a:lnTo>
                      <a:lnTo>
                        <a:pt x="16134" y="1240"/>
                      </a:lnTo>
                      <a:lnTo>
                        <a:pt x="16155" y="1264"/>
                      </a:lnTo>
                      <a:lnTo>
                        <a:pt x="16134" y="1281"/>
                      </a:lnTo>
                      <a:lnTo>
                        <a:pt x="16096" y="1264"/>
                      </a:lnTo>
                      <a:lnTo>
                        <a:pt x="16096" y="1273"/>
                      </a:lnTo>
                      <a:lnTo>
                        <a:pt x="16127" y="1290"/>
                      </a:lnTo>
                      <a:lnTo>
                        <a:pt x="16101" y="1314"/>
                      </a:lnTo>
                      <a:lnTo>
                        <a:pt x="16101" y="1314"/>
                      </a:lnTo>
                      <a:lnTo>
                        <a:pt x="16101" y="1314"/>
                      </a:lnTo>
                      <a:close/>
                      <a:moveTo>
                        <a:pt x="18978" y="815"/>
                      </a:moveTo>
                      <a:lnTo>
                        <a:pt x="18969" y="808"/>
                      </a:lnTo>
                      <a:lnTo>
                        <a:pt x="18978" y="808"/>
                      </a:lnTo>
                      <a:lnTo>
                        <a:pt x="18978" y="815"/>
                      </a:lnTo>
                      <a:lnTo>
                        <a:pt x="18978" y="815"/>
                      </a:lnTo>
                      <a:lnTo>
                        <a:pt x="18978" y="815"/>
                      </a:lnTo>
                      <a:close/>
                      <a:moveTo>
                        <a:pt x="22521" y="836"/>
                      </a:moveTo>
                      <a:lnTo>
                        <a:pt x="22547" y="820"/>
                      </a:lnTo>
                      <a:lnTo>
                        <a:pt x="22585" y="820"/>
                      </a:lnTo>
                      <a:lnTo>
                        <a:pt x="22576" y="836"/>
                      </a:lnTo>
                      <a:lnTo>
                        <a:pt x="22521" y="836"/>
                      </a:lnTo>
                      <a:lnTo>
                        <a:pt x="22521" y="836"/>
                      </a:lnTo>
                      <a:lnTo>
                        <a:pt x="22521" y="836"/>
                      </a:lnTo>
                      <a:close/>
                      <a:moveTo>
                        <a:pt x="18957" y="848"/>
                      </a:moveTo>
                      <a:lnTo>
                        <a:pt x="18940" y="836"/>
                      </a:lnTo>
                      <a:lnTo>
                        <a:pt x="18952" y="820"/>
                      </a:lnTo>
                      <a:lnTo>
                        <a:pt x="18957" y="836"/>
                      </a:lnTo>
                      <a:lnTo>
                        <a:pt x="18957" y="848"/>
                      </a:lnTo>
                      <a:lnTo>
                        <a:pt x="18957" y="848"/>
                      </a:lnTo>
                      <a:lnTo>
                        <a:pt x="18957" y="848"/>
                      </a:lnTo>
                      <a:close/>
                      <a:moveTo>
                        <a:pt x="18827" y="832"/>
                      </a:moveTo>
                      <a:lnTo>
                        <a:pt x="18834" y="832"/>
                      </a:lnTo>
                      <a:lnTo>
                        <a:pt x="18806" y="832"/>
                      </a:lnTo>
                      <a:lnTo>
                        <a:pt x="18827" y="832"/>
                      </a:lnTo>
                      <a:lnTo>
                        <a:pt x="18827" y="832"/>
                      </a:lnTo>
                      <a:lnTo>
                        <a:pt x="18827" y="832"/>
                      </a:lnTo>
                      <a:close/>
                      <a:moveTo>
                        <a:pt x="18789" y="820"/>
                      </a:moveTo>
                      <a:lnTo>
                        <a:pt x="18806" y="832"/>
                      </a:lnTo>
                      <a:lnTo>
                        <a:pt x="18763" y="836"/>
                      </a:lnTo>
                      <a:lnTo>
                        <a:pt x="18789" y="820"/>
                      </a:lnTo>
                      <a:lnTo>
                        <a:pt x="18789" y="820"/>
                      </a:lnTo>
                      <a:lnTo>
                        <a:pt x="18789" y="820"/>
                      </a:lnTo>
                      <a:close/>
                      <a:moveTo>
                        <a:pt x="18881" y="832"/>
                      </a:moveTo>
                      <a:lnTo>
                        <a:pt x="18865" y="836"/>
                      </a:lnTo>
                      <a:lnTo>
                        <a:pt x="18843" y="836"/>
                      </a:lnTo>
                      <a:lnTo>
                        <a:pt x="18881" y="832"/>
                      </a:lnTo>
                      <a:lnTo>
                        <a:pt x="18881" y="832"/>
                      </a:lnTo>
                      <a:lnTo>
                        <a:pt x="18881" y="832"/>
                      </a:lnTo>
                      <a:close/>
                      <a:moveTo>
                        <a:pt x="20010" y="865"/>
                      </a:moveTo>
                      <a:lnTo>
                        <a:pt x="19968" y="836"/>
                      </a:lnTo>
                      <a:lnTo>
                        <a:pt x="20010" y="836"/>
                      </a:lnTo>
                      <a:lnTo>
                        <a:pt x="20020" y="853"/>
                      </a:lnTo>
                      <a:lnTo>
                        <a:pt x="20010" y="865"/>
                      </a:lnTo>
                      <a:lnTo>
                        <a:pt x="20010" y="865"/>
                      </a:lnTo>
                      <a:lnTo>
                        <a:pt x="20010" y="865"/>
                      </a:lnTo>
                      <a:close/>
                      <a:moveTo>
                        <a:pt x="18704" y="836"/>
                      </a:moveTo>
                      <a:lnTo>
                        <a:pt x="18735" y="848"/>
                      </a:lnTo>
                      <a:lnTo>
                        <a:pt x="18697" y="848"/>
                      </a:lnTo>
                      <a:lnTo>
                        <a:pt x="18704" y="836"/>
                      </a:lnTo>
                      <a:lnTo>
                        <a:pt x="18704" y="836"/>
                      </a:lnTo>
                      <a:lnTo>
                        <a:pt x="18704" y="836"/>
                      </a:lnTo>
                      <a:close/>
                      <a:moveTo>
                        <a:pt x="20048" y="874"/>
                      </a:moveTo>
                      <a:lnTo>
                        <a:pt x="20065" y="870"/>
                      </a:lnTo>
                      <a:lnTo>
                        <a:pt x="20069" y="874"/>
                      </a:lnTo>
                      <a:lnTo>
                        <a:pt x="20048" y="874"/>
                      </a:lnTo>
                      <a:lnTo>
                        <a:pt x="20048" y="874"/>
                      </a:lnTo>
                      <a:lnTo>
                        <a:pt x="20048" y="874"/>
                      </a:lnTo>
                      <a:close/>
                      <a:moveTo>
                        <a:pt x="18902" y="907"/>
                      </a:moveTo>
                      <a:lnTo>
                        <a:pt x="18898" y="903"/>
                      </a:lnTo>
                      <a:lnTo>
                        <a:pt x="18902" y="874"/>
                      </a:lnTo>
                      <a:lnTo>
                        <a:pt x="18919" y="886"/>
                      </a:lnTo>
                      <a:lnTo>
                        <a:pt x="18902" y="907"/>
                      </a:lnTo>
                      <a:lnTo>
                        <a:pt x="18902" y="907"/>
                      </a:lnTo>
                      <a:lnTo>
                        <a:pt x="18902" y="907"/>
                      </a:lnTo>
                      <a:close/>
                      <a:moveTo>
                        <a:pt x="18898" y="886"/>
                      </a:moveTo>
                      <a:lnTo>
                        <a:pt x="18872" y="886"/>
                      </a:lnTo>
                      <a:lnTo>
                        <a:pt x="18902" y="886"/>
                      </a:lnTo>
                      <a:lnTo>
                        <a:pt x="18898" y="886"/>
                      </a:lnTo>
                      <a:lnTo>
                        <a:pt x="18898" y="886"/>
                      </a:lnTo>
                      <a:lnTo>
                        <a:pt x="18898" y="886"/>
                      </a:lnTo>
                      <a:close/>
                      <a:moveTo>
                        <a:pt x="18872" y="919"/>
                      </a:moveTo>
                      <a:lnTo>
                        <a:pt x="18796" y="903"/>
                      </a:lnTo>
                      <a:lnTo>
                        <a:pt x="18806" y="886"/>
                      </a:lnTo>
                      <a:lnTo>
                        <a:pt x="18898" y="891"/>
                      </a:lnTo>
                      <a:lnTo>
                        <a:pt x="18886" y="907"/>
                      </a:lnTo>
                      <a:lnTo>
                        <a:pt x="18886" y="891"/>
                      </a:lnTo>
                      <a:lnTo>
                        <a:pt x="18872" y="891"/>
                      </a:lnTo>
                      <a:lnTo>
                        <a:pt x="18872" y="903"/>
                      </a:lnTo>
                      <a:lnTo>
                        <a:pt x="18872" y="907"/>
                      </a:lnTo>
                      <a:lnTo>
                        <a:pt x="18872" y="919"/>
                      </a:lnTo>
                      <a:lnTo>
                        <a:pt x="18872" y="919"/>
                      </a:lnTo>
                      <a:lnTo>
                        <a:pt x="18872" y="919"/>
                      </a:lnTo>
                      <a:close/>
                      <a:moveTo>
                        <a:pt x="18758" y="891"/>
                      </a:moveTo>
                      <a:lnTo>
                        <a:pt x="18780" y="891"/>
                      </a:lnTo>
                      <a:lnTo>
                        <a:pt x="18763" y="903"/>
                      </a:lnTo>
                      <a:lnTo>
                        <a:pt x="18735" y="903"/>
                      </a:lnTo>
                      <a:lnTo>
                        <a:pt x="18763" y="903"/>
                      </a:lnTo>
                      <a:lnTo>
                        <a:pt x="18758" y="891"/>
                      </a:lnTo>
                      <a:lnTo>
                        <a:pt x="18758" y="891"/>
                      </a:lnTo>
                      <a:lnTo>
                        <a:pt x="18758" y="891"/>
                      </a:lnTo>
                      <a:close/>
                      <a:moveTo>
                        <a:pt x="18780" y="903"/>
                      </a:moveTo>
                      <a:lnTo>
                        <a:pt x="18789" y="907"/>
                      </a:lnTo>
                      <a:lnTo>
                        <a:pt x="18780" y="907"/>
                      </a:lnTo>
                      <a:lnTo>
                        <a:pt x="18780" y="903"/>
                      </a:lnTo>
                      <a:lnTo>
                        <a:pt x="18780" y="903"/>
                      </a:lnTo>
                      <a:lnTo>
                        <a:pt x="18780" y="903"/>
                      </a:lnTo>
                      <a:close/>
                      <a:moveTo>
                        <a:pt x="22105" y="1108"/>
                      </a:moveTo>
                      <a:lnTo>
                        <a:pt x="22072" y="1087"/>
                      </a:lnTo>
                      <a:lnTo>
                        <a:pt x="22098" y="1087"/>
                      </a:lnTo>
                      <a:lnTo>
                        <a:pt x="22089" y="1075"/>
                      </a:lnTo>
                      <a:lnTo>
                        <a:pt x="21938" y="1096"/>
                      </a:lnTo>
                      <a:lnTo>
                        <a:pt x="21909" y="1087"/>
                      </a:lnTo>
                      <a:lnTo>
                        <a:pt x="21900" y="1087"/>
                      </a:lnTo>
                      <a:lnTo>
                        <a:pt x="21905" y="1096"/>
                      </a:lnTo>
                      <a:lnTo>
                        <a:pt x="21900" y="1113"/>
                      </a:lnTo>
                      <a:lnTo>
                        <a:pt x="21867" y="1125"/>
                      </a:lnTo>
                      <a:lnTo>
                        <a:pt x="21791" y="1096"/>
                      </a:lnTo>
                      <a:lnTo>
                        <a:pt x="21782" y="1087"/>
                      </a:lnTo>
                      <a:lnTo>
                        <a:pt x="21737" y="1058"/>
                      </a:lnTo>
                      <a:lnTo>
                        <a:pt x="21711" y="1030"/>
                      </a:lnTo>
                      <a:lnTo>
                        <a:pt x="21749" y="1030"/>
                      </a:lnTo>
                      <a:lnTo>
                        <a:pt x="21749" y="1018"/>
                      </a:lnTo>
                      <a:lnTo>
                        <a:pt x="21737" y="1018"/>
                      </a:lnTo>
                      <a:lnTo>
                        <a:pt x="21744" y="985"/>
                      </a:lnTo>
                      <a:lnTo>
                        <a:pt x="21720" y="985"/>
                      </a:lnTo>
                      <a:lnTo>
                        <a:pt x="21737" y="981"/>
                      </a:lnTo>
                      <a:lnTo>
                        <a:pt x="21728" y="976"/>
                      </a:lnTo>
                      <a:lnTo>
                        <a:pt x="21737" y="964"/>
                      </a:lnTo>
                      <a:lnTo>
                        <a:pt x="21775" y="964"/>
                      </a:lnTo>
                      <a:lnTo>
                        <a:pt x="21749" y="943"/>
                      </a:lnTo>
                      <a:lnTo>
                        <a:pt x="21820" y="907"/>
                      </a:lnTo>
                      <a:lnTo>
                        <a:pt x="21829" y="924"/>
                      </a:lnTo>
                      <a:lnTo>
                        <a:pt x="21829" y="903"/>
                      </a:lnTo>
                      <a:lnTo>
                        <a:pt x="21850" y="903"/>
                      </a:lnTo>
                      <a:lnTo>
                        <a:pt x="21872" y="919"/>
                      </a:lnTo>
                      <a:lnTo>
                        <a:pt x="21921" y="931"/>
                      </a:lnTo>
                      <a:lnTo>
                        <a:pt x="21926" y="943"/>
                      </a:lnTo>
                      <a:lnTo>
                        <a:pt x="21921" y="947"/>
                      </a:lnTo>
                      <a:lnTo>
                        <a:pt x="21926" y="959"/>
                      </a:lnTo>
                      <a:lnTo>
                        <a:pt x="21964" y="964"/>
                      </a:lnTo>
                      <a:lnTo>
                        <a:pt x="21964" y="981"/>
                      </a:lnTo>
                      <a:lnTo>
                        <a:pt x="22009" y="981"/>
                      </a:lnTo>
                      <a:lnTo>
                        <a:pt x="21997" y="976"/>
                      </a:lnTo>
                      <a:lnTo>
                        <a:pt x="22009" y="924"/>
                      </a:lnTo>
                      <a:lnTo>
                        <a:pt x="22046" y="931"/>
                      </a:lnTo>
                      <a:lnTo>
                        <a:pt x="22030" y="903"/>
                      </a:lnTo>
                      <a:lnTo>
                        <a:pt x="22115" y="947"/>
                      </a:lnTo>
                      <a:lnTo>
                        <a:pt x="22207" y="959"/>
                      </a:lnTo>
                      <a:lnTo>
                        <a:pt x="22316" y="1002"/>
                      </a:lnTo>
                      <a:lnTo>
                        <a:pt x="22266" y="1014"/>
                      </a:lnTo>
                      <a:lnTo>
                        <a:pt x="22261" y="1030"/>
                      </a:lnTo>
                      <a:lnTo>
                        <a:pt x="22283" y="1035"/>
                      </a:lnTo>
                      <a:lnTo>
                        <a:pt x="22245" y="1070"/>
                      </a:lnTo>
                      <a:lnTo>
                        <a:pt x="22212" y="1075"/>
                      </a:lnTo>
                      <a:lnTo>
                        <a:pt x="22136" y="1058"/>
                      </a:lnTo>
                      <a:lnTo>
                        <a:pt x="22105" y="1030"/>
                      </a:lnTo>
                      <a:lnTo>
                        <a:pt x="22115" y="1014"/>
                      </a:lnTo>
                      <a:lnTo>
                        <a:pt x="22143" y="985"/>
                      </a:lnTo>
                      <a:lnTo>
                        <a:pt x="22143" y="981"/>
                      </a:lnTo>
                      <a:lnTo>
                        <a:pt x="22105" y="976"/>
                      </a:lnTo>
                      <a:lnTo>
                        <a:pt x="22084" y="985"/>
                      </a:lnTo>
                      <a:lnTo>
                        <a:pt x="22084" y="1018"/>
                      </a:lnTo>
                      <a:lnTo>
                        <a:pt x="22115" y="1058"/>
                      </a:lnTo>
                      <a:lnTo>
                        <a:pt x="22191" y="1087"/>
                      </a:lnTo>
                      <a:lnTo>
                        <a:pt x="22122" y="1092"/>
                      </a:lnTo>
                      <a:lnTo>
                        <a:pt x="22105" y="1108"/>
                      </a:lnTo>
                      <a:lnTo>
                        <a:pt x="22105" y="1108"/>
                      </a:lnTo>
                      <a:lnTo>
                        <a:pt x="22105" y="1108"/>
                      </a:lnTo>
                      <a:close/>
                      <a:moveTo>
                        <a:pt x="22816" y="907"/>
                      </a:moveTo>
                      <a:lnTo>
                        <a:pt x="22807" y="907"/>
                      </a:lnTo>
                      <a:lnTo>
                        <a:pt x="22833" y="907"/>
                      </a:lnTo>
                      <a:lnTo>
                        <a:pt x="22816" y="907"/>
                      </a:lnTo>
                      <a:lnTo>
                        <a:pt x="22816" y="907"/>
                      </a:lnTo>
                      <a:lnTo>
                        <a:pt x="22816" y="907"/>
                      </a:lnTo>
                      <a:close/>
                      <a:moveTo>
                        <a:pt x="16316" y="907"/>
                      </a:moveTo>
                      <a:lnTo>
                        <a:pt x="16361" y="903"/>
                      </a:lnTo>
                      <a:lnTo>
                        <a:pt x="16311" y="919"/>
                      </a:lnTo>
                      <a:lnTo>
                        <a:pt x="16316" y="907"/>
                      </a:lnTo>
                      <a:lnTo>
                        <a:pt x="16316" y="907"/>
                      </a:lnTo>
                      <a:lnTo>
                        <a:pt x="16316" y="907"/>
                      </a:lnTo>
                      <a:close/>
                      <a:moveTo>
                        <a:pt x="21997" y="924"/>
                      </a:moveTo>
                      <a:lnTo>
                        <a:pt x="21992" y="919"/>
                      </a:lnTo>
                      <a:lnTo>
                        <a:pt x="21997" y="907"/>
                      </a:lnTo>
                      <a:lnTo>
                        <a:pt x="22013" y="919"/>
                      </a:lnTo>
                      <a:lnTo>
                        <a:pt x="21997" y="924"/>
                      </a:lnTo>
                      <a:lnTo>
                        <a:pt x="21997" y="924"/>
                      </a:lnTo>
                      <a:lnTo>
                        <a:pt x="21997" y="924"/>
                      </a:lnTo>
                      <a:close/>
                      <a:moveTo>
                        <a:pt x="17932" y="943"/>
                      </a:moveTo>
                      <a:lnTo>
                        <a:pt x="17889" y="943"/>
                      </a:lnTo>
                      <a:lnTo>
                        <a:pt x="17953" y="943"/>
                      </a:lnTo>
                      <a:lnTo>
                        <a:pt x="17932" y="943"/>
                      </a:lnTo>
                      <a:lnTo>
                        <a:pt x="17932" y="943"/>
                      </a:lnTo>
                      <a:lnTo>
                        <a:pt x="17932" y="943"/>
                      </a:lnTo>
                      <a:close/>
                      <a:moveTo>
                        <a:pt x="16240" y="943"/>
                      </a:moveTo>
                      <a:lnTo>
                        <a:pt x="16273" y="931"/>
                      </a:lnTo>
                      <a:lnTo>
                        <a:pt x="16235" y="947"/>
                      </a:lnTo>
                      <a:lnTo>
                        <a:pt x="16240" y="943"/>
                      </a:lnTo>
                      <a:lnTo>
                        <a:pt x="16240" y="943"/>
                      </a:lnTo>
                      <a:lnTo>
                        <a:pt x="16240" y="943"/>
                      </a:lnTo>
                      <a:close/>
                      <a:moveTo>
                        <a:pt x="17839" y="943"/>
                      </a:moveTo>
                      <a:lnTo>
                        <a:pt x="17889" y="947"/>
                      </a:lnTo>
                      <a:lnTo>
                        <a:pt x="17835" y="943"/>
                      </a:lnTo>
                      <a:lnTo>
                        <a:pt x="17839" y="943"/>
                      </a:lnTo>
                      <a:lnTo>
                        <a:pt x="17839" y="943"/>
                      </a:lnTo>
                      <a:lnTo>
                        <a:pt x="17839" y="943"/>
                      </a:lnTo>
                      <a:close/>
                      <a:moveTo>
                        <a:pt x="16257" y="947"/>
                      </a:moveTo>
                      <a:lnTo>
                        <a:pt x="16273" y="943"/>
                      </a:lnTo>
                      <a:lnTo>
                        <a:pt x="16252" y="947"/>
                      </a:lnTo>
                      <a:lnTo>
                        <a:pt x="16257" y="947"/>
                      </a:lnTo>
                      <a:lnTo>
                        <a:pt x="16257" y="947"/>
                      </a:lnTo>
                      <a:lnTo>
                        <a:pt x="16257" y="947"/>
                      </a:lnTo>
                      <a:close/>
                      <a:moveTo>
                        <a:pt x="21614" y="1018"/>
                      </a:moveTo>
                      <a:lnTo>
                        <a:pt x="21631" y="997"/>
                      </a:lnTo>
                      <a:lnTo>
                        <a:pt x="21619" y="981"/>
                      </a:lnTo>
                      <a:lnTo>
                        <a:pt x="21635" y="959"/>
                      </a:lnTo>
                      <a:lnTo>
                        <a:pt x="21640" y="981"/>
                      </a:lnTo>
                      <a:lnTo>
                        <a:pt x="21668" y="985"/>
                      </a:lnTo>
                      <a:lnTo>
                        <a:pt x="21652" y="1002"/>
                      </a:lnTo>
                      <a:lnTo>
                        <a:pt x="21657" y="1014"/>
                      </a:lnTo>
                      <a:lnTo>
                        <a:pt x="21652" y="1018"/>
                      </a:lnTo>
                      <a:lnTo>
                        <a:pt x="21614" y="1018"/>
                      </a:lnTo>
                      <a:lnTo>
                        <a:pt x="21614" y="1018"/>
                      </a:lnTo>
                      <a:lnTo>
                        <a:pt x="21614" y="1018"/>
                      </a:lnTo>
                      <a:close/>
                      <a:moveTo>
                        <a:pt x="22391" y="985"/>
                      </a:moveTo>
                      <a:lnTo>
                        <a:pt x="22408" y="1002"/>
                      </a:lnTo>
                      <a:lnTo>
                        <a:pt x="22396" y="1014"/>
                      </a:lnTo>
                      <a:lnTo>
                        <a:pt x="22424" y="1030"/>
                      </a:lnTo>
                      <a:lnTo>
                        <a:pt x="22450" y="1030"/>
                      </a:lnTo>
                      <a:lnTo>
                        <a:pt x="22439" y="1030"/>
                      </a:lnTo>
                      <a:lnTo>
                        <a:pt x="22450" y="1014"/>
                      </a:lnTo>
                      <a:lnTo>
                        <a:pt x="22521" y="1018"/>
                      </a:lnTo>
                      <a:lnTo>
                        <a:pt x="22538" y="1018"/>
                      </a:lnTo>
                      <a:lnTo>
                        <a:pt x="22531" y="1035"/>
                      </a:lnTo>
                      <a:lnTo>
                        <a:pt x="22538" y="1042"/>
                      </a:lnTo>
                      <a:lnTo>
                        <a:pt x="22590" y="1035"/>
                      </a:lnTo>
                      <a:lnTo>
                        <a:pt x="22644" y="1042"/>
                      </a:lnTo>
                      <a:lnTo>
                        <a:pt x="22665" y="1070"/>
                      </a:lnTo>
                      <a:lnTo>
                        <a:pt x="22698" y="1058"/>
                      </a:lnTo>
                      <a:lnTo>
                        <a:pt x="22682" y="1075"/>
                      </a:lnTo>
                      <a:lnTo>
                        <a:pt x="22677" y="1092"/>
                      </a:lnTo>
                      <a:lnTo>
                        <a:pt x="22613" y="1113"/>
                      </a:lnTo>
                      <a:lnTo>
                        <a:pt x="22514" y="1108"/>
                      </a:lnTo>
                      <a:lnTo>
                        <a:pt x="22358" y="1042"/>
                      </a:lnTo>
                      <a:lnTo>
                        <a:pt x="22387" y="997"/>
                      </a:lnTo>
                      <a:lnTo>
                        <a:pt x="22391" y="985"/>
                      </a:lnTo>
                      <a:lnTo>
                        <a:pt x="22391" y="985"/>
                      </a:lnTo>
                      <a:lnTo>
                        <a:pt x="22391" y="985"/>
                      </a:lnTo>
                      <a:close/>
                      <a:moveTo>
                        <a:pt x="17877" y="1002"/>
                      </a:moveTo>
                      <a:lnTo>
                        <a:pt x="17872" y="1014"/>
                      </a:lnTo>
                      <a:lnTo>
                        <a:pt x="17889" y="1030"/>
                      </a:lnTo>
                      <a:lnTo>
                        <a:pt x="17872" y="1030"/>
                      </a:lnTo>
                      <a:lnTo>
                        <a:pt x="17872" y="1051"/>
                      </a:lnTo>
                      <a:lnTo>
                        <a:pt x="17856" y="1042"/>
                      </a:lnTo>
                      <a:lnTo>
                        <a:pt x="17856" y="1035"/>
                      </a:lnTo>
                      <a:lnTo>
                        <a:pt x="17844" y="1035"/>
                      </a:lnTo>
                      <a:lnTo>
                        <a:pt x="17835" y="1030"/>
                      </a:lnTo>
                      <a:lnTo>
                        <a:pt x="17877" y="1002"/>
                      </a:lnTo>
                      <a:lnTo>
                        <a:pt x="17877" y="1002"/>
                      </a:lnTo>
                      <a:lnTo>
                        <a:pt x="17877" y="1002"/>
                      </a:lnTo>
                      <a:close/>
                      <a:moveTo>
                        <a:pt x="18217" y="1075"/>
                      </a:moveTo>
                      <a:lnTo>
                        <a:pt x="18222" y="1087"/>
                      </a:lnTo>
                      <a:lnTo>
                        <a:pt x="18196" y="1092"/>
                      </a:lnTo>
                      <a:lnTo>
                        <a:pt x="18201" y="1096"/>
                      </a:lnTo>
                      <a:lnTo>
                        <a:pt x="18163" y="1092"/>
                      </a:lnTo>
                      <a:lnTo>
                        <a:pt x="18217" y="1075"/>
                      </a:lnTo>
                      <a:lnTo>
                        <a:pt x="18217" y="1075"/>
                      </a:lnTo>
                      <a:lnTo>
                        <a:pt x="18217" y="1075"/>
                      </a:lnTo>
                      <a:close/>
                      <a:moveTo>
                        <a:pt x="18109" y="1108"/>
                      </a:moveTo>
                      <a:lnTo>
                        <a:pt x="18125" y="1113"/>
                      </a:lnTo>
                      <a:lnTo>
                        <a:pt x="18087" y="1113"/>
                      </a:lnTo>
                      <a:lnTo>
                        <a:pt x="18109" y="1108"/>
                      </a:lnTo>
                      <a:lnTo>
                        <a:pt x="18109" y="1108"/>
                      </a:lnTo>
                      <a:lnTo>
                        <a:pt x="18109" y="1108"/>
                      </a:lnTo>
                      <a:close/>
                      <a:moveTo>
                        <a:pt x="17672" y="1129"/>
                      </a:moveTo>
                      <a:lnTo>
                        <a:pt x="17700" y="1129"/>
                      </a:lnTo>
                      <a:lnTo>
                        <a:pt x="17693" y="1146"/>
                      </a:lnTo>
                      <a:lnTo>
                        <a:pt x="17672" y="1129"/>
                      </a:lnTo>
                      <a:lnTo>
                        <a:pt x="17672" y="1129"/>
                      </a:lnTo>
                      <a:lnTo>
                        <a:pt x="17672" y="1129"/>
                      </a:lnTo>
                      <a:close/>
                      <a:moveTo>
                        <a:pt x="18125" y="1141"/>
                      </a:moveTo>
                      <a:lnTo>
                        <a:pt x="18104" y="1153"/>
                      </a:lnTo>
                      <a:lnTo>
                        <a:pt x="18087" y="1146"/>
                      </a:lnTo>
                      <a:lnTo>
                        <a:pt x="18125" y="1141"/>
                      </a:lnTo>
                      <a:lnTo>
                        <a:pt x="18125" y="1141"/>
                      </a:lnTo>
                      <a:lnTo>
                        <a:pt x="18125" y="1141"/>
                      </a:lnTo>
                      <a:close/>
                      <a:moveTo>
                        <a:pt x="18142" y="1153"/>
                      </a:moveTo>
                      <a:lnTo>
                        <a:pt x="18125" y="1153"/>
                      </a:lnTo>
                      <a:lnTo>
                        <a:pt x="18130" y="1141"/>
                      </a:lnTo>
                      <a:lnTo>
                        <a:pt x="18163" y="1146"/>
                      </a:lnTo>
                      <a:lnTo>
                        <a:pt x="18142" y="1153"/>
                      </a:lnTo>
                      <a:lnTo>
                        <a:pt x="18142" y="1153"/>
                      </a:lnTo>
                      <a:lnTo>
                        <a:pt x="18142" y="1153"/>
                      </a:lnTo>
                      <a:close/>
                      <a:moveTo>
                        <a:pt x="20020" y="1207"/>
                      </a:moveTo>
                      <a:lnTo>
                        <a:pt x="19982" y="1203"/>
                      </a:lnTo>
                      <a:lnTo>
                        <a:pt x="19930" y="1170"/>
                      </a:lnTo>
                      <a:lnTo>
                        <a:pt x="19961" y="1170"/>
                      </a:lnTo>
                      <a:lnTo>
                        <a:pt x="19977" y="1141"/>
                      </a:lnTo>
                      <a:lnTo>
                        <a:pt x="20069" y="1162"/>
                      </a:lnTo>
                      <a:lnTo>
                        <a:pt x="20053" y="1186"/>
                      </a:lnTo>
                      <a:lnTo>
                        <a:pt x="20020" y="1207"/>
                      </a:lnTo>
                      <a:lnTo>
                        <a:pt x="20020" y="1207"/>
                      </a:lnTo>
                      <a:lnTo>
                        <a:pt x="20020" y="1207"/>
                      </a:lnTo>
                      <a:close/>
                      <a:moveTo>
                        <a:pt x="18054" y="1146"/>
                      </a:moveTo>
                      <a:lnTo>
                        <a:pt x="18071" y="1153"/>
                      </a:lnTo>
                      <a:lnTo>
                        <a:pt x="18050" y="1153"/>
                      </a:lnTo>
                      <a:lnTo>
                        <a:pt x="18054" y="1162"/>
                      </a:lnTo>
                      <a:lnTo>
                        <a:pt x="18033" y="1153"/>
                      </a:lnTo>
                      <a:lnTo>
                        <a:pt x="18054" y="1146"/>
                      </a:lnTo>
                      <a:lnTo>
                        <a:pt x="18054" y="1146"/>
                      </a:lnTo>
                      <a:lnTo>
                        <a:pt x="18054" y="1146"/>
                      </a:lnTo>
                      <a:close/>
                      <a:moveTo>
                        <a:pt x="20246" y="1179"/>
                      </a:moveTo>
                      <a:lnTo>
                        <a:pt x="20246" y="1162"/>
                      </a:lnTo>
                      <a:lnTo>
                        <a:pt x="20263" y="1179"/>
                      </a:lnTo>
                      <a:lnTo>
                        <a:pt x="20246" y="1179"/>
                      </a:lnTo>
                      <a:lnTo>
                        <a:pt x="20246" y="1179"/>
                      </a:lnTo>
                      <a:lnTo>
                        <a:pt x="20246" y="1179"/>
                      </a:lnTo>
                      <a:close/>
                      <a:moveTo>
                        <a:pt x="21964" y="1236"/>
                      </a:moveTo>
                      <a:lnTo>
                        <a:pt x="21942" y="1219"/>
                      </a:lnTo>
                      <a:lnTo>
                        <a:pt x="21942" y="1195"/>
                      </a:lnTo>
                      <a:lnTo>
                        <a:pt x="21980" y="1179"/>
                      </a:lnTo>
                      <a:lnTo>
                        <a:pt x="22013" y="1195"/>
                      </a:lnTo>
                      <a:lnTo>
                        <a:pt x="22009" y="1219"/>
                      </a:lnTo>
                      <a:lnTo>
                        <a:pt x="21964" y="1236"/>
                      </a:lnTo>
                      <a:lnTo>
                        <a:pt x="21964" y="1236"/>
                      </a:lnTo>
                      <a:lnTo>
                        <a:pt x="21964" y="1236"/>
                      </a:lnTo>
                      <a:close/>
                      <a:moveTo>
                        <a:pt x="21614" y="1186"/>
                      </a:moveTo>
                      <a:lnTo>
                        <a:pt x="21657" y="1207"/>
                      </a:lnTo>
                      <a:lnTo>
                        <a:pt x="21673" y="1224"/>
                      </a:lnTo>
                      <a:lnTo>
                        <a:pt x="21657" y="1236"/>
                      </a:lnTo>
                      <a:lnTo>
                        <a:pt x="21614" y="1195"/>
                      </a:lnTo>
                      <a:lnTo>
                        <a:pt x="21614" y="1186"/>
                      </a:lnTo>
                      <a:lnTo>
                        <a:pt x="21614" y="1186"/>
                      </a:lnTo>
                      <a:lnTo>
                        <a:pt x="21614" y="1186"/>
                      </a:lnTo>
                      <a:close/>
                      <a:moveTo>
                        <a:pt x="18125" y="1195"/>
                      </a:moveTo>
                      <a:lnTo>
                        <a:pt x="18109" y="1203"/>
                      </a:lnTo>
                      <a:lnTo>
                        <a:pt x="18116" y="1195"/>
                      </a:lnTo>
                      <a:lnTo>
                        <a:pt x="18104" y="1195"/>
                      </a:lnTo>
                      <a:lnTo>
                        <a:pt x="18125" y="1195"/>
                      </a:lnTo>
                      <a:lnTo>
                        <a:pt x="18125" y="1195"/>
                      </a:lnTo>
                      <a:lnTo>
                        <a:pt x="18125" y="1195"/>
                      </a:lnTo>
                      <a:close/>
                      <a:moveTo>
                        <a:pt x="17910" y="1195"/>
                      </a:moveTo>
                      <a:lnTo>
                        <a:pt x="17915" y="1203"/>
                      </a:lnTo>
                      <a:lnTo>
                        <a:pt x="17889" y="1203"/>
                      </a:lnTo>
                      <a:lnTo>
                        <a:pt x="17910" y="1195"/>
                      </a:lnTo>
                      <a:lnTo>
                        <a:pt x="17910" y="1195"/>
                      </a:lnTo>
                      <a:lnTo>
                        <a:pt x="17910" y="1195"/>
                      </a:lnTo>
                      <a:close/>
                      <a:moveTo>
                        <a:pt x="17927" y="1207"/>
                      </a:moveTo>
                      <a:lnTo>
                        <a:pt x="17948" y="1195"/>
                      </a:lnTo>
                      <a:lnTo>
                        <a:pt x="17979" y="1207"/>
                      </a:lnTo>
                      <a:lnTo>
                        <a:pt x="17927" y="1207"/>
                      </a:lnTo>
                      <a:lnTo>
                        <a:pt x="17927" y="1207"/>
                      </a:lnTo>
                      <a:lnTo>
                        <a:pt x="17927" y="1207"/>
                      </a:lnTo>
                      <a:close/>
                      <a:moveTo>
                        <a:pt x="18002" y="1219"/>
                      </a:moveTo>
                      <a:lnTo>
                        <a:pt x="18033" y="1207"/>
                      </a:lnTo>
                      <a:lnTo>
                        <a:pt x="18033" y="1224"/>
                      </a:lnTo>
                      <a:lnTo>
                        <a:pt x="18002" y="1219"/>
                      </a:lnTo>
                      <a:lnTo>
                        <a:pt x="18002" y="1219"/>
                      </a:lnTo>
                      <a:lnTo>
                        <a:pt x="18002" y="1219"/>
                      </a:lnTo>
                      <a:close/>
                      <a:moveTo>
                        <a:pt x="20846" y="1240"/>
                      </a:moveTo>
                      <a:lnTo>
                        <a:pt x="20830" y="1236"/>
                      </a:lnTo>
                      <a:lnTo>
                        <a:pt x="20858" y="1236"/>
                      </a:lnTo>
                      <a:lnTo>
                        <a:pt x="20846" y="1240"/>
                      </a:lnTo>
                      <a:lnTo>
                        <a:pt x="20846" y="1240"/>
                      </a:lnTo>
                      <a:lnTo>
                        <a:pt x="20846" y="1240"/>
                      </a:lnTo>
                      <a:close/>
                      <a:moveTo>
                        <a:pt x="22013" y="1236"/>
                      </a:moveTo>
                      <a:lnTo>
                        <a:pt x="22072" y="1236"/>
                      </a:lnTo>
                      <a:lnTo>
                        <a:pt x="22115" y="1240"/>
                      </a:lnTo>
                      <a:lnTo>
                        <a:pt x="22174" y="1290"/>
                      </a:lnTo>
                      <a:lnTo>
                        <a:pt x="22181" y="1297"/>
                      </a:lnTo>
                      <a:lnTo>
                        <a:pt x="22174" y="1307"/>
                      </a:lnTo>
                      <a:lnTo>
                        <a:pt x="22181" y="1330"/>
                      </a:lnTo>
                      <a:lnTo>
                        <a:pt x="22098" y="1318"/>
                      </a:lnTo>
                      <a:lnTo>
                        <a:pt x="21992" y="1297"/>
                      </a:lnTo>
                      <a:lnTo>
                        <a:pt x="21926" y="1314"/>
                      </a:lnTo>
                      <a:lnTo>
                        <a:pt x="21909" y="1307"/>
                      </a:lnTo>
                      <a:lnTo>
                        <a:pt x="21964" y="1290"/>
                      </a:lnTo>
                      <a:lnTo>
                        <a:pt x="22013" y="1236"/>
                      </a:lnTo>
                      <a:lnTo>
                        <a:pt x="22013" y="1236"/>
                      </a:lnTo>
                      <a:lnTo>
                        <a:pt x="22013" y="1236"/>
                      </a:lnTo>
                      <a:close/>
                      <a:moveTo>
                        <a:pt x="20776" y="1330"/>
                      </a:moveTo>
                      <a:lnTo>
                        <a:pt x="20754" y="1307"/>
                      </a:lnTo>
                      <a:lnTo>
                        <a:pt x="20754" y="1281"/>
                      </a:lnTo>
                      <a:lnTo>
                        <a:pt x="20771" y="1264"/>
                      </a:lnTo>
                      <a:lnTo>
                        <a:pt x="20809" y="1273"/>
                      </a:lnTo>
                      <a:lnTo>
                        <a:pt x="20804" y="1252"/>
                      </a:lnTo>
                      <a:lnTo>
                        <a:pt x="20820" y="1264"/>
                      </a:lnTo>
                      <a:lnTo>
                        <a:pt x="20842" y="1252"/>
                      </a:lnTo>
                      <a:lnTo>
                        <a:pt x="20880" y="1273"/>
                      </a:lnTo>
                      <a:lnTo>
                        <a:pt x="20896" y="1264"/>
                      </a:lnTo>
                      <a:lnTo>
                        <a:pt x="20901" y="1281"/>
                      </a:lnTo>
                      <a:lnTo>
                        <a:pt x="20927" y="1281"/>
                      </a:lnTo>
                      <a:lnTo>
                        <a:pt x="20917" y="1297"/>
                      </a:lnTo>
                      <a:lnTo>
                        <a:pt x="20917" y="1307"/>
                      </a:lnTo>
                      <a:lnTo>
                        <a:pt x="20972" y="1281"/>
                      </a:lnTo>
                      <a:lnTo>
                        <a:pt x="20981" y="1290"/>
                      </a:lnTo>
                      <a:lnTo>
                        <a:pt x="20965" y="1307"/>
                      </a:lnTo>
                      <a:lnTo>
                        <a:pt x="20988" y="1307"/>
                      </a:lnTo>
                      <a:lnTo>
                        <a:pt x="21002" y="1347"/>
                      </a:lnTo>
                      <a:lnTo>
                        <a:pt x="20972" y="1375"/>
                      </a:lnTo>
                      <a:lnTo>
                        <a:pt x="20981" y="1384"/>
                      </a:lnTo>
                      <a:lnTo>
                        <a:pt x="20972" y="1425"/>
                      </a:lnTo>
                      <a:lnTo>
                        <a:pt x="20981" y="1441"/>
                      </a:lnTo>
                      <a:lnTo>
                        <a:pt x="20965" y="1458"/>
                      </a:lnTo>
                      <a:lnTo>
                        <a:pt x="20863" y="1401"/>
                      </a:lnTo>
                      <a:lnTo>
                        <a:pt x="20700" y="1363"/>
                      </a:lnTo>
                      <a:lnTo>
                        <a:pt x="20717" y="1351"/>
                      </a:lnTo>
                      <a:lnTo>
                        <a:pt x="20754" y="1368"/>
                      </a:lnTo>
                      <a:lnTo>
                        <a:pt x="20766" y="1363"/>
                      </a:lnTo>
                      <a:lnTo>
                        <a:pt x="20771" y="1335"/>
                      </a:lnTo>
                      <a:lnTo>
                        <a:pt x="20787" y="1330"/>
                      </a:lnTo>
                      <a:lnTo>
                        <a:pt x="20776" y="1330"/>
                      </a:lnTo>
                      <a:lnTo>
                        <a:pt x="20776" y="1330"/>
                      </a:lnTo>
                      <a:lnTo>
                        <a:pt x="20776" y="1330"/>
                      </a:lnTo>
                      <a:close/>
                      <a:moveTo>
                        <a:pt x="18213" y="1264"/>
                      </a:moveTo>
                      <a:lnTo>
                        <a:pt x="18201" y="1273"/>
                      </a:lnTo>
                      <a:lnTo>
                        <a:pt x="18168" y="1273"/>
                      </a:lnTo>
                      <a:lnTo>
                        <a:pt x="18213" y="1264"/>
                      </a:lnTo>
                      <a:lnTo>
                        <a:pt x="18213" y="1264"/>
                      </a:lnTo>
                      <a:lnTo>
                        <a:pt x="18213" y="1264"/>
                      </a:lnTo>
                      <a:close/>
                      <a:moveTo>
                        <a:pt x="17747" y="1290"/>
                      </a:moveTo>
                      <a:lnTo>
                        <a:pt x="17731" y="1281"/>
                      </a:lnTo>
                      <a:lnTo>
                        <a:pt x="17752" y="1281"/>
                      </a:lnTo>
                      <a:lnTo>
                        <a:pt x="17747" y="1290"/>
                      </a:lnTo>
                      <a:lnTo>
                        <a:pt x="17747" y="1290"/>
                      </a:lnTo>
                      <a:lnTo>
                        <a:pt x="17747" y="1290"/>
                      </a:lnTo>
                      <a:close/>
                      <a:moveTo>
                        <a:pt x="17402" y="1297"/>
                      </a:moveTo>
                      <a:lnTo>
                        <a:pt x="17412" y="1281"/>
                      </a:lnTo>
                      <a:lnTo>
                        <a:pt x="17457" y="1281"/>
                      </a:lnTo>
                      <a:lnTo>
                        <a:pt x="17440" y="1297"/>
                      </a:lnTo>
                      <a:lnTo>
                        <a:pt x="17407" y="1297"/>
                      </a:lnTo>
                      <a:lnTo>
                        <a:pt x="17412" y="1290"/>
                      </a:lnTo>
                      <a:lnTo>
                        <a:pt x="17402" y="1297"/>
                      </a:lnTo>
                      <a:lnTo>
                        <a:pt x="17402" y="1297"/>
                      </a:lnTo>
                      <a:lnTo>
                        <a:pt x="17402" y="1297"/>
                      </a:lnTo>
                      <a:close/>
                      <a:moveTo>
                        <a:pt x="21002" y="1347"/>
                      </a:moveTo>
                      <a:lnTo>
                        <a:pt x="21002" y="1335"/>
                      </a:lnTo>
                      <a:lnTo>
                        <a:pt x="20993" y="1318"/>
                      </a:lnTo>
                      <a:lnTo>
                        <a:pt x="20993" y="1307"/>
                      </a:lnTo>
                      <a:lnTo>
                        <a:pt x="21002" y="1297"/>
                      </a:lnTo>
                      <a:lnTo>
                        <a:pt x="21009" y="1307"/>
                      </a:lnTo>
                      <a:lnTo>
                        <a:pt x="21019" y="1290"/>
                      </a:lnTo>
                      <a:lnTo>
                        <a:pt x="21009" y="1290"/>
                      </a:lnTo>
                      <a:lnTo>
                        <a:pt x="21026" y="1281"/>
                      </a:lnTo>
                      <a:lnTo>
                        <a:pt x="21090" y="1290"/>
                      </a:lnTo>
                      <a:lnTo>
                        <a:pt x="21094" y="1307"/>
                      </a:lnTo>
                      <a:lnTo>
                        <a:pt x="21116" y="1314"/>
                      </a:lnTo>
                      <a:lnTo>
                        <a:pt x="21111" y="1318"/>
                      </a:lnTo>
                      <a:lnTo>
                        <a:pt x="21154" y="1335"/>
                      </a:lnTo>
                      <a:lnTo>
                        <a:pt x="21149" y="1351"/>
                      </a:lnTo>
                      <a:lnTo>
                        <a:pt x="21170" y="1347"/>
                      </a:lnTo>
                      <a:lnTo>
                        <a:pt x="21154" y="1363"/>
                      </a:lnTo>
                      <a:lnTo>
                        <a:pt x="21111" y="1368"/>
                      </a:lnTo>
                      <a:lnTo>
                        <a:pt x="21111" y="1384"/>
                      </a:lnTo>
                      <a:lnTo>
                        <a:pt x="20993" y="1425"/>
                      </a:lnTo>
                      <a:lnTo>
                        <a:pt x="20988" y="1429"/>
                      </a:lnTo>
                      <a:lnTo>
                        <a:pt x="20993" y="1441"/>
                      </a:lnTo>
                      <a:lnTo>
                        <a:pt x="20972" y="1425"/>
                      </a:lnTo>
                      <a:lnTo>
                        <a:pt x="20981" y="1401"/>
                      </a:lnTo>
                      <a:lnTo>
                        <a:pt x="20988" y="1384"/>
                      </a:lnTo>
                      <a:lnTo>
                        <a:pt x="20981" y="1368"/>
                      </a:lnTo>
                      <a:lnTo>
                        <a:pt x="21002" y="1347"/>
                      </a:lnTo>
                      <a:lnTo>
                        <a:pt x="21002" y="1347"/>
                      </a:lnTo>
                      <a:lnTo>
                        <a:pt x="21002" y="1347"/>
                      </a:lnTo>
                      <a:close/>
                      <a:moveTo>
                        <a:pt x="17013" y="1351"/>
                      </a:moveTo>
                      <a:lnTo>
                        <a:pt x="17029" y="1330"/>
                      </a:lnTo>
                      <a:lnTo>
                        <a:pt x="17024" y="1307"/>
                      </a:lnTo>
                      <a:lnTo>
                        <a:pt x="17062" y="1290"/>
                      </a:lnTo>
                      <a:lnTo>
                        <a:pt x="17117" y="1297"/>
                      </a:lnTo>
                      <a:lnTo>
                        <a:pt x="17088" y="1318"/>
                      </a:lnTo>
                      <a:lnTo>
                        <a:pt x="17133" y="1314"/>
                      </a:lnTo>
                      <a:lnTo>
                        <a:pt x="17143" y="1330"/>
                      </a:lnTo>
                      <a:lnTo>
                        <a:pt x="17050" y="1351"/>
                      </a:lnTo>
                      <a:lnTo>
                        <a:pt x="17013" y="1351"/>
                      </a:lnTo>
                      <a:lnTo>
                        <a:pt x="17013" y="1351"/>
                      </a:lnTo>
                      <a:lnTo>
                        <a:pt x="17013" y="1351"/>
                      </a:lnTo>
                      <a:close/>
                      <a:moveTo>
                        <a:pt x="16134" y="1684"/>
                      </a:moveTo>
                      <a:lnTo>
                        <a:pt x="16089" y="1680"/>
                      </a:lnTo>
                      <a:lnTo>
                        <a:pt x="16080" y="1668"/>
                      </a:lnTo>
                      <a:lnTo>
                        <a:pt x="16080" y="1663"/>
                      </a:lnTo>
                      <a:lnTo>
                        <a:pt x="16058" y="1668"/>
                      </a:lnTo>
                      <a:lnTo>
                        <a:pt x="16075" y="1668"/>
                      </a:lnTo>
                      <a:lnTo>
                        <a:pt x="16089" y="1684"/>
                      </a:lnTo>
                      <a:lnTo>
                        <a:pt x="16075" y="1684"/>
                      </a:lnTo>
                      <a:lnTo>
                        <a:pt x="16063" y="1684"/>
                      </a:lnTo>
                      <a:lnTo>
                        <a:pt x="16080" y="1684"/>
                      </a:lnTo>
                      <a:lnTo>
                        <a:pt x="16037" y="1668"/>
                      </a:lnTo>
                      <a:lnTo>
                        <a:pt x="16047" y="1684"/>
                      </a:lnTo>
                      <a:lnTo>
                        <a:pt x="16037" y="1684"/>
                      </a:lnTo>
                      <a:lnTo>
                        <a:pt x="16021" y="1680"/>
                      </a:lnTo>
                      <a:lnTo>
                        <a:pt x="16025" y="1668"/>
                      </a:lnTo>
                      <a:lnTo>
                        <a:pt x="16004" y="1663"/>
                      </a:lnTo>
                      <a:lnTo>
                        <a:pt x="15983" y="1684"/>
                      </a:lnTo>
                      <a:lnTo>
                        <a:pt x="15938" y="1656"/>
                      </a:lnTo>
                      <a:lnTo>
                        <a:pt x="15933" y="1663"/>
                      </a:lnTo>
                      <a:lnTo>
                        <a:pt x="15954" y="1668"/>
                      </a:lnTo>
                      <a:lnTo>
                        <a:pt x="15928" y="1656"/>
                      </a:lnTo>
                      <a:lnTo>
                        <a:pt x="15862" y="1656"/>
                      </a:lnTo>
                      <a:lnTo>
                        <a:pt x="15858" y="1647"/>
                      </a:lnTo>
                      <a:lnTo>
                        <a:pt x="15879" y="1647"/>
                      </a:lnTo>
                      <a:lnTo>
                        <a:pt x="15886" y="1640"/>
                      </a:lnTo>
                      <a:lnTo>
                        <a:pt x="15862" y="1614"/>
                      </a:lnTo>
                      <a:lnTo>
                        <a:pt x="15917" y="1607"/>
                      </a:lnTo>
                      <a:lnTo>
                        <a:pt x="15862" y="1602"/>
                      </a:lnTo>
                      <a:lnTo>
                        <a:pt x="15862" y="1590"/>
                      </a:lnTo>
                      <a:lnTo>
                        <a:pt x="15879" y="1573"/>
                      </a:lnTo>
                      <a:lnTo>
                        <a:pt x="15895" y="1569"/>
                      </a:lnTo>
                      <a:lnTo>
                        <a:pt x="15862" y="1590"/>
                      </a:lnTo>
                      <a:lnTo>
                        <a:pt x="15848" y="1569"/>
                      </a:lnTo>
                      <a:lnTo>
                        <a:pt x="15862" y="1557"/>
                      </a:lnTo>
                      <a:lnTo>
                        <a:pt x="15858" y="1552"/>
                      </a:lnTo>
                      <a:lnTo>
                        <a:pt x="15824" y="1573"/>
                      </a:lnTo>
                      <a:lnTo>
                        <a:pt x="15803" y="1557"/>
                      </a:lnTo>
                      <a:lnTo>
                        <a:pt x="15803" y="1552"/>
                      </a:lnTo>
                      <a:lnTo>
                        <a:pt x="15787" y="1569"/>
                      </a:lnTo>
                      <a:lnTo>
                        <a:pt x="15777" y="1552"/>
                      </a:lnTo>
                      <a:lnTo>
                        <a:pt x="15772" y="1557"/>
                      </a:lnTo>
                      <a:lnTo>
                        <a:pt x="15777" y="1557"/>
                      </a:lnTo>
                      <a:lnTo>
                        <a:pt x="15749" y="1569"/>
                      </a:lnTo>
                      <a:lnTo>
                        <a:pt x="15735" y="1552"/>
                      </a:lnTo>
                      <a:lnTo>
                        <a:pt x="15718" y="1512"/>
                      </a:lnTo>
                      <a:lnTo>
                        <a:pt x="15735" y="1491"/>
                      </a:lnTo>
                      <a:lnTo>
                        <a:pt x="15749" y="1474"/>
                      </a:lnTo>
                      <a:lnTo>
                        <a:pt x="15787" y="1491"/>
                      </a:lnTo>
                      <a:lnTo>
                        <a:pt x="15787" y="1462"/>
                      </a:lnTo>
                      <a:lnTo>
                        <a:pt x="15820" y="1446"/>
                      </a:lnTo>
                      <a:lnTo>
                        <a:pt x="15810" y="1429"/>
                      </a:lnTo>
                      <a:lnTo>
                        <a:pt x="15841" y="1418"/>
                      </a:lnTo>
                      <a:lnTo>
                        <a:pt x="15810" y="1418"/>
                      </a:lnTo>
                      <a:lnTo>
                        <a:pt x="15820" y="1408"/>
                      </a:lnTo>
                      <a:lnTo>
                        <a:pt x="15848" y="1408"/>
                      </a:lnTo>
                      <a:lnTo>
                        <a:pt x="15787" y="1392"/>
                      </a:lnTo>
                      <a:lnTo>
                        <a:pt x="15832" y="1368"/>
                      </a:lnTo>
                      <a:lnTo>
                        <a:pt x="15858" y="1375"/>
                      </a:lnTo>
                      <a:lnTo>
                        <a:pt x="15841" y="1363"/>
                      </a:lnTo>
                      <a:lnTo>
                        <a:pt x="15858" y="1363"/>
                      </a:lnTo>
                      <a:lnTo>
                        <a:pt x="15841" y="1347"/>
                      </a:lnTo>
                      <a:lnTo>
                        <a:pt x="15858" y="1330"/>
                      </a:lnTo>
                      <a:lnTo>
                        <a:pt x="15886" y="1314"/>
                      </a:lnTo>
                      <a:lnTo>
                        <a:pt x="15917" y="1318"/>
                      </a:lnTo>
                      <a:lnTo>
                        <a:pt x="15966" y="1297"/>
                      </a:lnTo>
                      <a:lnTo>
                        <a:pt x="16075" y="1330"/>
                      </a:lnTo>
                      <a:lnTo>
                        <a:pt x="16080" y="1335"/>
                      </a:lnTo>
                      <a:lnTo>
                        <a:pt x="16025" y="1351"/>
                      </a:lnTo>
                      <a:lnTo>
                        <a:pt x="16075" y="1351"/>
                      </a:lnTo>
                      <a:lnTo>
                        <a:pt x="16063" y="1363"/>
                      </a:lnTo>
                      <a:lnTo>
                        <a:pt x="16021" y="1363"/>
                      </a:lnTo>
                      <a:lnTo>
                        <a:pt x="16058" y="1363"/>
                      </a:lnTo>
                      <a:lnTo>
                        <a:pt x="16047" y="1384"/>
                      </a:lnTo>
                      <a:lnTo>
                        <a:pt x="16004" y="1384"/>
                      </a:lnTo>
                      <a:lnTo>
                        <a:pt x="16042" y="1401"/>
                      </a:lnTo>
                      <a:lnTo>
                        <a:pt x="16025" y="1408"/>
                      </a:lnTo>
                      <a:lnTo>
                        <a:pt x="16021" y="1425"/>
                      </a:lnTo>
                      <a:lnTo>
                        <a:pt x="15987" y="1418"/>
                      </a:lnTo>
                      <a:lnTo>
                        <a:pt x="16009" y="1425"/>
                      </a:lnTo>
                      <a:lnTo>
                        <a:pt x="15983" y="1429"/>
                      </a:lnTo>
                      <a:lnTo>
                        <a:pt x="16004" y="1429"/>
                      </a:lnTo>
                      <a:lnTo>
                        <a:pt x="16004" y="1458"/>
                      </a:lnTo>
                      <a:lnTo>
                        <a:pt x="16009" y="1474"/>
                      </a:lnTo>
                      <a:lnTo>
                        <a:pt x="15987" y="1503"/>
                      </a:lnTo>
                      <a:lnTo>
                        <a:pt x="16009" y="1512"/>
                      </a:lnTo>
                      <a:lnTo>
                        <a:pt x="16021" y="1545"/>
                      </a:lnTo>
                      <a:lnTo>
                        <a:pt x="16058" y="1602"/>
                      </a:lnTo>
                      <a:lnTo>
                        <a:pt x="16117" y="1647"/>
                      </a:lnTo>
                      <a:lnTo>
                        <a:pt x="16155" y="1663"/>
                      </a:lnTo>
                      <a:lnTo>
                        <a:pt x="16143" y="1680"/>
                      </a:lnTo>
                      <a:lnTo>
                        <a:pt x="16096" y="1668"/>
                      </a:lnTo>
                      <a:lnTo>
                        <a:pt x="16134" y="1684"/>
                      </a:lnTo>
                      <a:lnTo>
                        <a:pt x="16134" y="1684"/>
                      </a:lnTo>
                      <a:lnTo>
                        <a:pt x="16134" y="1684"/>
                      </a:lnTo>
                      <a:close/>
                      <a:moveTo>
                        <a:pt x="17105" y="1314"/>
                      </a:moveTo>
                      <a:lnTo>
                        <a:pt x="17121" y="1307"/>
                      </a:lnTo>
                      <a:lnTo>
                        <a:pt x="17105" y="1318"/>
                      </a:lnTo>
                      <a:lnTo>
                        <a:pt x="17105" y="1314"/>
                      </a:lnTo>
                      <a:lnTo>
                        <a:pt x="17105" y="1314"/>
                      </a:lnTo>
                      <a:lnTo>
                        <a:pt x="17105" y="1314"/>
                      </a:lnTo>
                      <a:close/>
                      <a:moveTo>
                        <a:pt x="17461" y="1335"/>
                      </a:moveTo>
                      <a:lnTo>
                        <a:pt x="17457" y="1330"/>
                      </a:lnTo>
                      <a:lnTo>
                        <a:pt x="17499" y="1335"/>
                      </a:lnTo>
                      <a:lnTo>
                        <a:pt x="17461" y="1335"/>
                      </a:lnTo>
                      <a:lnTo>
                        <a:pt x="17461" y="1335"/>
                      </a:lnTo>
                      <a:lnTo>
                        <a:pt x="17461" y="1335"/>
                      </a:lnTo>
                      <a:close/>
                      <a:moveTo>
                        <a:pt x="20535" y="1351"/>
                      </a:moveTo>
                      <a:lnTo>
                        <a:pt x="20506" y="1347"/>
                      </a:lnTo>
                      <a:lnTo>
                        <a:pt x="20523" y="1335"/>
                      </a:lnTo>
                      <a:lnTo>
                        <a:pt x="20549" y="1347"/>
                      </a:lnTo>
                      <a:lnTo>
                        <a:pt x="20535" y="1351"/>
                      </a:lnTo>
                      <a:lnTo>
                        <a:pt x="20535" y="1351"/>
                      </a:lnTo>
                      <a:lnTo>
                        <a:pt x="20535" y="1351"/>
                      </a:lnTo>
                      <a:close/>
                      <a:moveTo>
                        <a:pt x="17315" y="1351"/>
                      </a:moveTo>
                      <a:lnTo>
                        <a:pt x="17336" y="1335"/>
                      </a:lnTo>
                      <a:lnTo>
                        <a:pt x="17369" y="1351"/>
                      </a:lnTo>
                      <a:lnTo>
                        <a:pt x="17353" y="1347"/>
                      </a:lnTo>
                      <a:lnTo>
                        <a:pt x="17353" y="1375"/>
                      </a:lnTo>
                      <a:lnTo>
                        <a:pt x="17315" y="1351"/>
                      </a:lnTo>
                      <a:lnTo>
                        <a:pt x="17315" y="1351"/>
                      </a:lnTo>
                      <a:lnTo>
                        <a:pt x="17315" y="1351"/>
                      </a:lnTo>
                      <a:close/>
                      <a:moveTo>
                        <a:pt x="17629" y="1368"/>
                      </a:moveTo>
                      <a:lnTo>
                        <a:pt x="17672" y="1347"/>
                      </a:lnTo>
                      <a:lnTo>
                        <a:pt x="17693" y="1368"/>
                      </a:lnTo>
                      <a:lnTo>
                        <a:pt x="17693" y="1392"/>
                      </a:lnTo>
                      <a:lnTo>
                        <a:pt x="17683" y="1401"/>
                      </a:lnTo>
                      <a:lnTo>
                        <a:pt x="17629" y="1384"/>
                      </a:lnTo>
                      <a:lnTo>
                        <a:pt x="17629" y="1368"/>
                      </a:lnTo>
                      <a:lnTo>
                        <a:pt x="17629" y="1368"/>
                      </a:lnTo>
                      <a:lnTo>
                        <a:pt x="17629" y="1368"/>
                      </a:lnTo>
                      <a:close/>
                      <a:moveTo>
                        <a:pt x="20695" y="1368"/>
                      </a:moveTo>
                      <a:lnTo>
                        <a:pt x="20787" y="1392"/>
                      </a:lnTo>
                      <a:lnTo>
                        <a:pt x="20724" y="1384"/>
                      </a:lnTo>
                      <a:lnTo>
                        <a:pt x="20695" y="1368"/>
                      </a:lnTo>
                      <a:lnTo>
                        <a:pt x="20695" y="1368"/>
                      </a:lnTo>
                      <a:lnTo>
                        <a:pt x="20695" y="1368"/>
                      </a:lnTo>
                      <a:close/>
                      <a:moveTo>
                        <a:pt x="21170" y="1384"/>
                      </a:moveTo>
                      <a:lnTo>
                        <a:pt x="21111" y="1375"/>
                      </a:lnTo>
                      <a:lnTo>
                        <a:pt x="21149" y="1375"/>
                      </a:lnTo>
                      <a:lnTo>
                        <a:pt x="21182" y="1384"/>
                      </a:lnTo>
                      <a:lnTo>
                        <a:pt x="21170" y="1384"/>
                      </a:lnTo>
                      <a:lnTo>
                        <a:pt x="21170" y="1384"/>
                      </a:lnTo>
                      <a:lnTo>
                        <a:pt x="21170" y="1384"/>
                      </a:lnTo>
                      <a:close/>
                      <a:moveTo>
                        <a:pt x="21040" y="1408"/>
                      </a:moveTo>
                      <a:lnTo>
                        <a:pt x="21111" y="1384"/>
                      </a:lnTo>
                      <a:lnTo>
                        <a:pt x="21187" y="1401"/>
                      </a:lnTo>
                      <a:lnTo>
                        <a:pt x="21040" y="1408"/>
                      </a:lnTo>
                      <a:lnTo>
                        <a:pt x="21040" y="1408"/>
                      </a:lnTo>
                      <a:lnTo>
                        <a:pt x="21040" y="1408"/>
                      </a:lnTo>
                      <a:close/>
                      <a:moveTo>
                        <a:pt x="17223" y="1401"/>
                      </a:moveTo>
                      <a:lnTo>
                        <a:pt x="17239" y="1401"/>
                      </a:lnTo>
                      <a:lnTo>
                        <a:pt x="17239" y="1408"/>
                      </a:lnTo>
                      <a:lnTo>
                        <a:pt x="17223" y="1401"/>
                      </a:lnTo>
                      <a:lnTo>
                        <a:pt x="17223" y="1401"/>
                      </a:lnTo>
                      <a:lnTo>
                        <a:pt x="17223" y="1401"/>
                      </a:lnTo>
                      <a:close/>
                      <a:moveTo>
                        <a:pt x="21102" y="1408"/>
                      </a:moveTo>
                      <a:lnTo>
                        <a:pt x="21144" y="1401"/>
                      </a:lnTo>
                      <a:lnTo>
                        <a:pt x="21154" y="1418"/>
                      </a:lnTo>
                      <a:lnTo>
                        <a:pt x="21144" y="1425"/>
                      </a:lnTo>
                      <a:lnTo>
                        <a:pt x="21102" y="1408"/>
                      </a:lnTo>
                      <a:lnTo>
                        <a:pt x="21102" y="1408"/>
                      </a:lnTo>
                      <a:lnTo>
                        <a:pt x="21102" y="1408"/>
                      </a:lnTo>
                      <a:close/>
                      <a:moveTo>
                        <a:pt x="21002" y="1429"/>
                      </a:moveTo>
                      <a:lnTo>
                        <a:pt x="21002" y="1425"/>
                      </a:lnTo>
                      <a:lnTo>
                        <a:pt x="21078" y="1408"/>
                      </a:lnTo>
                      <a:lnTo>
                        <a:pt x="21144" y="1429"/>
                      </a:lnTo>
                      <a:lnTo>
                        <a:pt x="21182" y="1429"/>
                      </a:lnTo>
                      <a:lnTo>
                        <a:pt x="21198" y="1446"/>
                      </a:lnTo>
                      <a:lnTo>
                        <a:pt x="21187" y="1458"/>
                      </a:lnTo>
                      <a:lnTo>
                        <a:pt x="21203" y="1462"/>
                      </a:lnTo>
                      <a:lnTo>
                        <a:pt x="21182" y="1474"/>
                      </a:lnTo>
                      <a:lnTo>
                        <a:pt x="21198" y="1479"/>
                      </a:lnTo>
                      <a:lnTo>
                        <a:pt x="21187" y="1479"/>
                      </a:lnTo>
                      <a:lnTo>
                        <a:pt x="21149" y="1491"/>
                      </a:lnTo>
                      <a:lnTo>
                        <a:pt x="21064" y="1429"/>
                      </a:lnTo>
                      <a:lnTo>
                        <a:pt x="21002" y="1429"/>
                      </a:lnTo>
                      <a:lnTo>
                        <a:pt x="21002" y="1429"/>
                      </a:lnTo>
                      <a:lnTo>
                        <a:pt x="21002" y="1429"/>
                      </a:lnTo>
                      <a:close/>
                      <a:moveTo>
                        <a:pt x="17511" y="1446"/>
                      </a:moveTo>
                      <a:lnTo>
                        <a:pt x="17563" y="1408"/>
                      </a:lnTo>
                      <a:lnTo>
                        <a:pt x="17617" y="1425"/>
                      </a:lnTo>
                      <a:lnTo>
                        <a:pt x="17570" y="1458"/>
                      </a:lnTo>
                      <a:lnTo>
                        <a:pt x="17520" y="1458"/>
                      </a:lnTo>
                      <a:lnTo>
                        <a:pt x="17511" y="1446"/>
                      </a:lnTo>
                      <a:lnTo>
                        <a:pt x="17511" y="1446"/>
                      </a:lnTo>
                      <a:lnTo>
                        <a:pt x="17511" y="1446"/>
                      </a:lnTo>
                      <a:close/>
                      <a:moveTo>
                        <a:pt x="21791" y="1557"/>
                      </a:moveTo>
                      <a:lnTo>
                        <a:pt x="21775" y="1573"/>
                      </a:lnTo>
                      <a:lnTo>
                        <a:pt x="21720" y="1557"/>
                      </a:lnTo>
                      <a:lnTo>
                        <a:pt x="21775" y="1552"/>
                      </a:lnTo>
                      <a:lnTo>
                        <a:pt x="21791" y="1557"/>
                      </a:lnTo>
                      <a:lnTo>
                        <a:pt x="21791" y="1557"/>
                      </a:lnTo>
                      <a:lnTo>
                        <a:pt x="21791" y="1557"/>
                      </a:lnTo>
                      <a:close/>
                      <a:moveTo>
                        <a:pt x="15832" y="1630"/>
                      </a:moveTo>
                      <a:lnTo>
                        <a:pt x="15810" y="1602"/>
                      </a:lnTo>
                      <a:lnTo>
                        <a:pt x="15777" y="1585"/>
                      </a:lnTo>
                      <a:lnTo>
                        <a:pt x="15810" y="1573"/>
                      </a:lnTo>
                      <a:lnTo>
                        <a:pt x="15832" y="1590"/>
                      </a:lnTo>
                      <a:lnTo>
                        <a:pt x="15810" y="1573"/>
                      </a:lnTo>
                      <a:lnTo>
                        <a:pt x="15820" y="1590"/>
                      </a:lnTo>
                      <a:lnTo>
                        <a:pt x="15848" y="1590"/>
                      </a:lnTo>
                      <a:lnTo>
                        <a:pt x="15848" y="1607"/>
                      </a:lnTo>
                      <a:lnTo>
                        <a:pt x="15832" y="1614"/>
                      </a:lnTo>
                      <a:lnTo>
                        <a:pt x="15841" y="1630"/>
                      </a:lnTo>
                      <a:lnTo>
                        <a:pt x="15832" y="1630"/>
                      </a:lnTo>
                      <a:lnTo>
                        <a:pt x="15832" y="1630"/>
                      </a:lnTo>
                      <a:lnTo>
                        <a:pt x="15832" y="1630"/>
                      </a:lnTo>
                      <a:close/>
                      <a:moveTo>
                        <a:pt x="15848" y="1585"/>
                      </a:moveTo>
                      <a:lnTo>
                        <a:pt x="15841" y="1585"/>
                      </a:lnTo>
                      <a:lnTo>
                        <a:pt x="15858" y="1590"/>
                      </a:lnTo>
                      <a:lnTo>
                        <a:pt x="15848" y="1585"/>
                      </a:lnTo>
                      <a:lnTo>
                        <a:pt x="15848" y="1585"/>
                      </a:lnTo>
                      <a:lnTo>
                        <a:pt x="15848" y="1585"/>
                      </a:lnTo>
                      <a:close/>
                      <a:moveTo>
                        <a:pt x="23383" y="1656"/>
                      </a:moveTo>
                      <a:lnTo>
                        <a:pt x="23374" y="1647"/>
                      </a:lnTo>
                      <a:lnTo>
                        <a:pt x="23362" y="1640"/>
                      </a:lnTo>
                      <a:lnTo>
                        <a:pt x="23383" y="1656"/>
                      </a:lnTo>
                      <a:lnTo>
                        <a:pt x="23383" y="1656"/>
                      </a:lnTo>
                      <a:lnTo>
                        <a:pt x="23383" y="1656"/>
                      </a:lnTo>
                      <a:close/>
                      <a:moveTo>
                        <a:pt x="17941" y="1701"/>
                      </a:moveTo>
                      <a:lnTo>
                        <a:pt x="17948" y="1656"/>
                      </a:lnTo>
                      <a:lnTo>
                        <a:pt x="17953" y="1647"/>
                      </a:lnTo>
                      <a:lnTo>
                        <a:pt x="17969" y="1663"/>
                      </a:lnTo>
                      <a:lnTo>
                        <a:pt x="17953" y="1668"/>
                      </a:lnTo>
                      <a:lnTo>
                        <a:pt x="17953" y="1696"/>
                      </a:lnTo>
                      <a:lnTo>
                        <a:pt x="17941" y="1701"/>
                      </a:lnTo>
                      <a:lnTo>
                        <a:pt x="17941" y="1701"/>
                      </a:lnTo>
                      <a:lnTo>
                        <a:pt x="17941" y="1701"/>
                      </a:lnTo>
                      <a:close/>
                      <a:moveTo>
                        <a:pt x="16117" y="1696"/>
                      </a:moveTo>
                      <a:lnTo>
                        <a:pt x="16101" y="1680"/>
                      </a:lnTo>
                      <a:lnTo>
                        <a:pt x="16127" y="1684"/>
                      </a:lnTo>
                      <a:lnTo>
                        <a:pt x="16117" y="1696"/>
                      </a:lnTo>
                      <a:lnTo>
                        <a:pt x="16117" y="1696"/>
                      </a:lnTo>
                      <a:lnTo>
                        <a:pt x="16117" y="1696"/>
                      </a:lnTo>
                      <a:close/>
                      <a:moveTo>
                        <a:pt x="17979" y="1701"/>
                      </a:moveTo>
                      <a:lnTo>
                        <a:pt x="17965" y="1713"/>
                      </a:lnTo>
                      <a:lnTo>
                        <a:pt x="17979" y="1684"/>
                      </a:lnTo>
                      <a:lnTo>
                        <a:pt x="17979" y="1696"/>
                      </a:lnTo>
                      <a:lnTo>
                        <a:pt x="17979" y="1701"/>
                      </a:lnTo>
                      <a:lnTo>
                        <a:pt x="17979" y="1701"/>
                      </a:lnTo>
                      <a:lnTo>
                        <a:pt x="17979" y="1701"/>
                      </a:lnTo>
                      <a:close/>
                      <a:moveTo>
                        <a:pt x="16316" y="1795"/>
                      </a:moveTo>
                      <a:lnTo>
                        <a:pt x="16295" y="1795"/>
                      </a:lnTo>
                      <a:lnTo>
                        <a:pt x="16290" y="1791"/>
                      </a:lnTo>
                      <a:lnTo>
                        <a:pt x="16295" y="1779"/>
                      </a:lnTo>
                      <a:lnTo>
                        <a:pt x="16278" y="1774"/>
                      </a:lnTo>
                      <a:lnTo>
                        <a:pt x="16252" y="1767"/>
                      </a:lnTo>
                      <a:lnTo>
                        <a:pt x="16264" y="1774"/>
                      </a:lnTo>
                      <a:lnTo>
                        <a:pt x="16257" y="1774"/>
                      </a:lnTo>
                      <a:lnTo>
                        <a:pt x="16226" y="1751"/>
                      </a:lnTo>
                      <a:lnTo>
                        <a:pt x="16226" y="1734"/>
                      </a:lnTo>
                      <a:lnTo>
                        <a:pt x="16209" y="1722"/>
                      </a:lnTo>
                      <a:lnTo>
                        <a:pt x="16240" y="1734"/>
                      </a:lnTo>
                      <a:lnTo>
                        <a:pt x="16226" y="1718"/>
                      </a:lnTo>
                      <a:lnTo>
                        <a:pt x="16257" y="1696"/>
                      </a:lnTo>
                      <a:lnTo>
                        <a:pt x="16349" y="1767"/>
                      </a:lnTo>
                      <a:lnTo>
                        <a:pt x="16361" y="1779"/>
                      </a:lnTo>
                      <a:lnTo>
                        <a:pt x="16316" y="1795"/>
                      </a:lnTo>
                      <a:lnTo>
                        <a:pt x="16316" y="1795"/>
                      </a:lnTo>
                      <a:lnTo>
                        <a:pt x="16316" y="1795"/>
                      </a:lnTo>
                      <a:close/>
                      <a:moveTo>
                        <a:pt x="17927" y="1734"/>
                      </a:moveTo>
                      <a:lnTo>
                        <a:pt x="17932" y="1722"/>
                      </a:lnTo>
                      <a:lnTo>
                        <a:pt x="17948" y="1739"/>
                      </a:lnTo>
                      <a:lnTo>
                        <a:pt x="17927" y="1734"/>
                      </a:lnTo>
                      <a:lnTo>
                        <a:pt x="17927" y="1734"/>
                      </a:lnTo>
                      <a:lnTo>
                        <a:pt x="17927" y="1734"/>
                      </a:lnTo>
                      <a:close/>
                      <a:moveTo>
                        <a:pt x="23995" y="1791"/>
                      </a:moveTo>
                      <a:lnTo>
                        <a:pt x="23988" y="1791"/>
                      </a:lnTo>
                      <a:lnTo>
                        <a:pt x="23988" y="1807"/>
                      </a:lnTo>
                      <a:lnTo>
                        <a:pt x="23979" y="1812"/>
                      </a:lnTo>
                      <a:lnTo>
                        <a:pt x="23957" y="1812"/>
                      </a:lnTo>
                      <a:lnTo>
                        <a:pt x="23882" y="1779"/>
                      </a:lnTo>
                      <a:lnTo>
                        <a:pt x="23920" y="1758"/>
                      </a:lnTo>
                      <a:lnTo>
                        <a:pt x="23995" y="1774"/>
                      </a:lnTo>
                      <a:lnTo>
                        <a:pt x="23995" y="1791"/>
                      </a:lnTo>
                      <a:lnTo>
                        <a:pt x="23995" y="1791"/>
                      </a:lnTo>
                      <a:lnTo>
                        <a:pt x="23995" y="1791"/>
                      </a:lnTo>
                      <a:close/>
                      <a:moveTo>
                        <a:pt x="24050" y="1795"/>
                      </a:moveTo>
                      <a:lnTo>
                        <a:pt x="24033" y="1791"/>
                      </a:lnTo>
                      <a:lnTo>
                        <a:pt x="24050" y="1779"/>
                      </a:lnTo>
                      <a:lnTo>
                        <a:pt x="24050" y="1795"/>
                      </a:lnTo>
                      <a:lnTo>
                        <a:pt x="24050" y="1795"/>
                      </a:lnTo>
                      <a:lnTo>
                        <a:pt x="24050" y="1795"/>
                      </a:lnTo>
                      <a:close/>
                      <a:moveTo>
                        <a:pt x="23433" y="1833"/>
                      </a:moveTo>
                      <a:lnTo>
                        <a:pt x="23433" y="1812"/>
                      </a:lnTo>
                      <a:lnTo>
                        <a:pt x="23450" y="1812"/>
                      </a:lnTo>
                      <a:lnTo>
                        <a:pt x="23450" y="1829"/>
                      </a:lnTo>
                      <a:lnTo>
                        <a:pt x="23433" y="1833"/>
                      </a:lnTo>
                      <a:lnTo>
                        <a:pt x="23433" y="1833"/>
                      </a:lnTo>
                      <a:lnTo>
                        <a:pt x="23433" y="1833"/>
                      </a:lnTo>
                      <a:close/>
                      <a:moveTo>
                        <a:pt x="16814" y="1824"/>
                      </a:moveTo>
                      <a:lnTo>
                        <a:pt x="16835" y="1812"/>
                      </a:lnTo>
                      <a:lnTo>
                        <a:pt x="16831" y="1829"/>
                      </a:lnTo>
                      <a:lnTo>
                        <a:pt x="16814" y="1824"/>
                      </a:lnTo>
                      <a:lnTo>
                        <a:pt x="16814" y="1824"/>
                      </a:lnTo>
                      <a:lnTo>
                        <a:pt x="16814" y="1824"/>
                      </a:lnTo>
                      <a:close/>
                      <a:moveTo>
                        <a:pt x="23433" y="1902"/>
                      </a:moveTo>
                      <a:lnTo>
                        <a:pt x="23438" y="1885"/>
                      </a:lnTo>
                      <a:lnTo>
                        <a:pt x="23416" y="1878"/>
                      </a:lnTo>
                      <a:lnTo>
                        <a:pt x="23416" y="1845"/>
                      </a:lnTo>
                      <a:lnTo>
                        <a:pt x="23412" y="1833"/>
                      </a:lnTo>
                      <a:lnTo>
                        <a:pt x="23416" y="1829"/>
                      </a:lnTo>
                      <a:lnTo>
                        <a:pt x="23433" y="1824"/>
                      </a:lnTo>
                      <a:lnTo>
                        <a:pt x="23428" y="1829"/>
                      </a:lnTo>
                      <a:lnTo>
                        <a:pt x="23433" y="1833"/>
                      </a:lnTo>
                      <a:lnTo>
                        <a:pt x="23433" y="1850"/>
                      </a:lnTo>
                      <a:lnTo>
                        <a:pt x="23438" y="1890"/>
                      </a:lnTo>
                      <a:lnTo>
                        <a:pt x="23433" y="1902"/>
                      </a:lnTo>
                      <a:lnTo>
                        <a:pt x="23433" y="1902"/>
                      </a:lnTo>
                      <a:lnTo>
                        <a:pt x="23433" y="1902"/>
                      </a:lnTo>
                      <a:close/>
                      <a:moveTo>
                        <a:pt x="15496" y="1878"/>
                      </a:moveTo>
                      <a:lnTo>
                        <a:pt x="15508" y="1845"/>
                      </a:lnTo>
                      <a:lnTo>
                        <a:pt x="15555" y="1824"/>
                      </a:lnTo>
                      <a:lnTo>
                        <a:pt x="15631" y="1850"/>
                      </a:lnTo>
                      <a:lnTo>
                        <a:pt x="15647" y="1866"/>
                      </a:lnTo>
                      <a:lnTo>
                        <a:pt x="15631" y="1885"/>
                      </a:lnTo>
                      <a:lnTo>
                        <a:pt x="15643" y="1866"/>
                      </a:lnTo>
                      <a:lnTo>
                        <a:pt x="15631" y="1866"/>
                      </a:lnTo>
                      <a:lnTo>
                        <a:pt x="15588" y="1906"/>
                      </a:lnTo>
                      <a:lnTo>
                        <a:pt x="15534" y="1923"/>
                      </a:lnTo>
                      <a:lnTo>
                        <a:pt x="15496" y="1902"/>
                      </a:lnTo>
                      <a:lnTo>
                        <a:pt x="15496" y="1878"/>
                      </a:lnTo>
                      <a:lnTo>
                        <a:pt x="15496" y="1878"/>
                      </a:lnTo>
                      <a:lnTo>
                        <a:pt x="15496" y="1878"/>
                      </a:lnTo>
                      <a:close/>
                      <a:moveTo>
                        <a:pt x="16814" y="1833"/>
                      </a:moveTo>
                      <a:lnTo>
                        <a:pt x="16814" y="1829"/>
                      </a:lnTo>
                      <a:lnTo>
                        <a:pt x="16831" y="1833"/>
                      </a:lnTo>
                      <a:lnTo>
                        <a:pt x="16814" y="1833"/>
                      </a:lnTo>
                      <a:lnTo>
                        <a:pt x="16814" y="1833"/>
                      </a:lnTo>
                      <a:lnTo>
                        <a:pt x="16814" y="1833"/>
                      </a:lnTo>
                      <a:close/>
                      <a:moveTo>
                        <a:pt x="14513" y="1833"/>
                      </a:moveTo>
                      <a:lnTo>
                        <a:pt x="14530" y="1845"/>
                      </a:lnTo>
                      <a:lnTo>
                        <a:pt x="14497" y="1833"/>
                      </a:lnTo>
                      <a:lnTo>
                        <a:pt x="14513" y="1833"/>
                      </a:lnTo>
                      <a:lnTo>
                        <a:pt x="14513" y="1833"/>
                      </a:lnTo>
                      <a:lnTo>
                        <a:pt x="14513" y="1833"/>
                      </a:lnTo>
                      <a:close/>
                      <a:moveTo>
                        <a:pt x="16273" y="1866"/>
                      </a:moveTo>
                      <a:lnTo>
                        <a:pt x="16235" y="1845"/>
                      </a:lnTo>
                      <a:lnTo>
                        <a:pt x="16264" y="1850"/>
                      </a:lnTo>
                      <a:lnTo>
                        <a:pt x="16273" y="1866"/>
                      </a:lnTo>
                      <a:lnTo>
                        <a:pt x="16273" y="1866"/>
                      </a:lnTo>
                      <a:lnTo>
                        <a:pt x="16273" y="1866"/>
                      </a:lnTo>
                      <a:close/>
                      <a:moveTo>
                        <a:pt x="16134" y="1918"/>
                      </a:moveTo>
                      <a:lnTo>
                        <a:pt x="16181" y="1906"/>
                      </a:lnTo>
                      <a:lnTo>
                        <a:pt x="16127" y="1923"/>
                      </a:lnTo>
                      <a:lnTo>
                        <a:pt x="16134" y="1918"/>
                      </a:lnTo>
                      <a:lnTo>
                        <a:pt x="16134" y="1918"/>
                      </a:lnTo>
                      <a:lnTo>
                        <a:pt x="16134" y="1918"/>
                      </a:lnTo>
                      <a:close/>
                      <a:moveTo>
                        <a:pt x="17013" y="2195"/>
                      </a:moveTo>
                      <a:lnTo>
                        <a:pt x="16982" y="2162"/>
                      </a:lnTo>
                      <a:lnTo>
                        <a:pt x="16958" y="2162"/>
                      </a:lnTo>
                      <a:lnTo>
                        <a:pt x="17029" y="2166"/>
                      </a:lnTo>
                      <a:lnTo>
                        <a:pt x="17029" y="2195"/>
                      </a:lnTo>
                      <a:lnTo>
                        <a:pt x="17013" y="2195"/>
                      </a:lnTo>
                      <a:lnTo>
                        <a:pt x="17013" y="2195"/>
                      </a:lnTo>
                      <a:lnTo>
                        <a:pt x="17013" y="2195"/>
                      </a:lnTo>
                      <a:close/>
                      <a:moveTo>
                        <a:pt x="15102" y="2162"/>
                      </a:moveTo>
                      <a:lnTo>
                        <a:pt x="15106" y="2166"/>
                      </a:lnTo>
                      <a:lnTo>
                        <a:pt x="15092" y="2162"/>
                      </a:lnTo>
                      <a:lnTo>
                        <a:pt x="15102" y="2162"/>
                      </a:lnTo>
                      <a:lnTo>
                        <a:pt x="15102" y="2162"/>
                      </a:lnTo>
                      <a:lnTo>
                        <a:pt x="15102" y="2162"/>
                      </a:lnTo>
                      <a:close/>
                      <a:moveTo>
                        <a:pt x="16975" y="2166"/>
                      </a:moveTo>
                      <a:lnTo>
                        <a:pt x="16975" y="2178"/>
                      </a:lnTo>
                      <a:lnTo>
                        <a:pt x="16975" y="2166"/>
                      </a:lnTo>
                      <a:lnTo>
                        <a:pt x="16975" y="2166"/>
                      </a:lnTo>
                      <a:lnTo>
                        <a:pt x="16975" y="2166"/>
                      </a:lnTo>
                      <a:close/>
                      <a:moveTo>
                        <a:pt x="253" y="2277"/>
                      </a:moveTo>
                      <a:lnTo>
                        <a:pt x="253" y="2273"/>
                      </a:lnTo>
                      <a:lnTo>
                        <a:pt x="265" y="2273"/>
                      </a:lnTo>
                      <a:lnTo>
                        <a:pt x="253" y="2277"/>
                      </a:lnTo>
                      <a:lnTo>
                        <a:pt x="253" y="2277"/>
                      </a:lnTo>
                      <a:lnTo>
                        <a:pt x="253" y="2277"/>
                      </a:lnTo>
                      <a:close/>
                      <a:moveTo>
                        <a:pt x="14632" y="2351"/>
                      </a:moveTo>
                      <a:lnTo>
                        <a:pt x="14632" y="2367"/>
                      </a:lnTo>
                      <a:lnTo>
                        <a:pt x="14622" y="2377"/>
                      </a:lnTo>
                      <a:lnTo>
                        <a:pt x="14606" y="2351"/>
                      </a:lnTo>
                      <a:lnTo>
                        <a:pt x="14632" y="2351"/>
                      </a:lnTo>
                      <a:lnTo>
                        <a:pt x="14632" y="2351"/>
                      </a:lnTo>
                      <a:lnTo>
                        <a:pt x="14632" y="2351"/>
                      </a:lnTo>
                      <a:close/>
                      <a:moveTo>
                        <a:pt x="0" y="2400"/>
                      </a:moveTo>
                      <a:lnTo>
                        <a:pt x="17" y="2384"/>
                      </a:lnTo>
                      <a:lnTo>
                        <a:pt x="38" y="2400"/>
                      </a:lnTo>
                      <a:lnTo>
                        <a:pt x="0" y="2400"/>
                      </a:lnTo>
                      <a:lnTo>
                        <a:pt x="0" y="2400"/>
                      </a:lnTo>
                      <a:lnTo>
                        <a:pt x="0" y="2400"/>
                      </a:lnTo>
                      <a:close/>
                      <a:moveTo>
                        <a:pt x="14946" y="2400"/>
                      </a:moveTo>
                      <a:lnTo>
                        <a:pt x="14955" y="2421"/>
                      </a:lnTo>
                      <a:lnTo>
                        <a:pt x="14913" y="2405"/>
                      </a:lnTo>
                      <a:lnTo>
                        <a:pt x="14941" y="2417"/>
                      </a:lnTo>
                      <a:lnTo>
                        <a:pt x="14929" y="2400"/>
                      </a:lnTo>
                      <a:lnTo>
                        <a:pt x="14946" y="2400"/>
                      </a:lnTo>
                      <a:lnTo>
                        <a:pt x="14946" y="2400"/>
                      </a:lnTo>
                      <a:lnTo>
                        <a:pt x="14946" y="2400"/>
                      </a:lnTo>
                      <a:close/>
                      <a:moveTo>
                        <a:pt x="14639" y="2438"/>
                      </a:moveTo>
                      <a:lnTo>
                        <a:pt x="14643" y="2445"/>
                      </a:lnTo>
                      <a:lnTo>
                        <a:pt x="14632" y="2438"/>
                      </a:lnTo>
                      <a:lnTo>
                        <a:pt x="14639" y="2438"/>
                      </a:lnTo>
                      <a:lnTo>
                        <a:pt x="14639" y="2438"/>
                      </a:lnTo>
                      <a:lnTo>
                        <a:pt x="14639" y="2438"/>
                      </a:lnTo>
                      <a:close/>
                      <a:moveTo>
                        <a:pt x="14119" y="2899"/>
                      </a:moveTo>
                      <a:lnTo>
                        <a:pt x="14131" y="2899"/>
                      </a:lnTo>
                      <a:lnTo>
                        <a:pt x="14119" y="2887"/>
                      </a:lnTo>
                      <a:lnTo>
                        <a:pt x="14119" y="2899"/>
                      </a:lnTo>
                      <a:lnTo>
                        <a:pt x="14119" y="2899"/>
                      </a:lnTo>
                      <a:lnTo>
                        <a:pt x="14119" y="2899"/>
                      </a:lnTo>
                      <a:close/>
                      <a:moveTo>
                        <a:pt x="23572" y="3088"/>
                      </a:moveTo>
                      <a:lnTo>
                        <a:pt x="23596" y="3064"/>
                      </a:lnTo>
                      <a:lnTo>
                        <a:pt x="23610" y="3043"/>
                      </a:lnTo>
                      <a:lnTo>
                        <a:pt x="23596" y="3031"/>
                      </a:lnTo>
                      <a:lnTo>
                        <a:pt x="23655" y="3014"/>
                      </a:lnTo>
                      <a:lnTo>
                        <a:pt x="23665" y="3031"/>
                      </a:lnTo>
                      <a:lnTo>
                        <a:pt x="23665" y="3047"/>
                      </a:lnTo>
                      <a:lnTo>
                        <a:pt x="23627" y="3059"/>
                      </a:lnTo>
                      <a:lnTo>
                        <a:pt x="23579" y="3099"/>
                      </a:lnTo>
                      <a:lnTo>
                        <a:pt x="23572" y="3088"/>
                      </a:lnTo>
                      <a:lnTo>
                        <a:pt x="23572" y="3088"/>
                      </a:lnTo>
                      <a:lnTo>
                        <a:pt x="23572" y="3088"/>
                      </a:lnTo>
                      <a:close/>
                      <a:moveTo>
                        <a:pt x="22665" y="3031"/>
                      </a:moveTo>
                      <a:lnTo>
                        <a:pt x="22682" y="3026"/>
                      </a:lnTo>
                      <a:lnTo>
                        <a:pt x="22665" y="3031"/>
                      </a:lnTo>
                      <a:lnTo>
                        <a:pt x="22665" y="3031"/>
                      </a:lnTo>
                      <a:lnTo>
                        <a:pt x="22665" y="3031"/>
                      </a:lnTo>
                      <a:close/>
                      <a:moveTo>
                        <a:pt x="23773" y="3421"/>
                      </a:moveTo>
                      <a:lnTo>
                        <a:pt x="23773" y="3437"/>
                      </a:lnTo>
                      <a:lnTo>
                        <a:pt x="23806" y="3470"/>
                      </a:lnTo>
                      <a:lnTo>
                        <a:pt x="23806" y="3487"/>
                      </a:lnTo>
                      <a:lnTo>
                        <a:pt x="23778" y="3470"/>
                      </a:lnTo>
                      <a:lnTo>
                        <a:pt x="23752" y="3421"/>
                      </a:lnTo>
                      <a:lnTo>
                        <a:pt x="23773" y="3421"/>
                      </a:lnTo>
                      <a:lnTo>
                        <a:pt x="23773" y="3421"/>
                      </a:lnTo>
                      <a:lnTo>
                        <a:pt x="23773" y="3421"/>
                      </a:lnTo>
                      <a:close/>
                      <a:moveTo>
                        <a:pt x="13606" y="3430"/>
                      </a:moveTo>
                      <a:lnTo>
                        <a:pt x="13611" y="3421"/>
                      </a:lnTo>
                      <a:lnTo>
                        <a:pt x="13665" y="3447"/>
                      </a:lnTo>
                      <a:lnTo>
                        <a:pt x="13699" y="3447"/>
                      </a:lnTo>
                      <a:lnTo>
                        <a:pt x="13720" y="3470"/>
                      </a:lnTo>
                      <a:lnTo>
                        <a:pt x="13715" y="3487"/>
                      </a:lnTo>
                      <a:lnTo>
                        <a:pt x="13703" y="3503"/>
                      </a:lnTo>
                      <a:lnTo>
                        <a:pt x="13715" y="3515"/>
                      </a:lnTo>
                      <a:lnTo>
                        <a:pt x="13618" y="3515"/>
                      </a:lnTo>
                      <a:lnTo>
                        <a:pt x="13505" y="3508"/>
                      </a:lnTo>
                      <a:lnTo>
                        <a:pt x="13552" y="3487"/>
                      </a:lnTo>
                      <a:lnTo>
                        <a:pt x="13526" y="3487"/>
                      </a:lnTo>
                      <a:lnTo>
                        <a:pt x="13519" y="3475"/>
                      </a:lnTo>
                      <a:lnTo>
                        <a:pt x="13510" y="3487"/>
                      </a:lnTo>
                      <a:lnTo>
                        <a:pt x="13519" y="3454"/>
                      </a:lnTo>
                      <a:lnTo>
                        <a:pt x="13552" y="3454"/>
                      </a:lnTo>
                      <a:lnTo>
                        <a:pt x="13580" y="3421"/>
                      </a:lnTo>
                      <a:lnTo>
                        <a:pt x="13590" y="3421"/>
                      </a:lnTo>
                      <a:lnTo>
                        <a:pt x="13557" y="3454"/>
                      </a:lnTo>
                      <a:lnTo>
                        <a:pt x="13606" y="3458"/>
                      </a:lnTo>
                      <a:lnTo>
                        <a:pt x="13606" y="3437"/>
                      </a:lnTo>
                      <a:lnTo>
                        <a:pt x="13606" y="3430"/>
                      </a:lnTo>
                      <a:lnTo>
                        <a:pt x="13606" y="3430"/>
                      </a:lnTo>
                      <a:lnTo>
                        <a:pt x="13606" y="3430"/>
                      </a:lnTo>
                      <a:close/>
                      <a:moveTo>
                        <a:pt x="21744" y="3475"/>
                      </a:moveTo>
                      <a:lnTo>
                        <a:pt x="21765" y="3430"/>
                      </a:lnTo>
                      <a:lnTo>
                        <a:pt x="21803" y="3447"/>
                      </a:lnTo>
                      <a:lnTo>
                        <a:pt x="21775" y="3491"/>
                      </a:lnTo>
                      <a:lnTo>
                        <a:pt x="21758" y="3458"/>
                      </a:lnTo>
                      <a:lnTo>
                        <a:pt x="21744" y="3475"/>
                      </a:lnTo>
                      <a:lnTo>
                        <a:pt x="21744" y="3475"/>
                      </a:lnTo>
                      <a:lnTo>
                        <a:pt x="21744" y="3475"/>
                      </a:lnTo>
                      <a:close/>
                      <a:moveTo>
                        <a:pt x="21694" y="3458"/>
                      </a:moveTo>
                      <a:lnTo>
                        <a:pt x="21737" y="3437"/>
                      </a:lnTo>
                      <a:lnTo>
                        <a:pt x="21728" y="3458"/>
                      </a:lnTo>
                      <a:lnTo>
                        <a:pt x="21694" y="3458"/>
                      </a:lnTo>
                      <a:lnTo>
                        <a:pt x="21694" y="3458"/>
                      </a:lnTo>
                      <a:lnTo>
                        <a:pt x="21694" y="3458"/>
                      </a:lnTo>
                      <a:close/>
                      <a:moveTo>
                        <a:pt x="13498" y="3508"/>
                      </a:moveTo>
                      <a:lnTo>
                        <a:pt x="13488" y="3503"/>
                      </a:lnTo>
                      <a:lnTo>
                        <a:pt x="13510" y="3487"/>
                      </a:lnTo>
                      <a:lnTo>
                        <a:pt x="13498" y="3508"/>
                      </a:lnTo>
                      <a:lnTo>
                        <a:pt x="13498" y="3508"/>
                      </a:lnTo>
                      <a:lnTo>
                        <a:pt x="13498" y="3508"/>
                      </a:lnTo>
                      <a:close/>
                      <a:moveTo>
                        <a:pt x="21765" y="3508"/>
                      </a:moveTo>
                      <a:lnTo>
                        <a:pt x="21758" y="3503"/>
                      </a:lnTo>
                      <a:lnTo>
                        <a:pt x="21765" y="3491"/>
                      </a:lnTo>
                      <a:lnTo>
                        <a:pt x="21765" y="3508"/>
                      </a:lnTo>
                      <a:lnTo>
                        <a:pt x="21765" y="3508"/>
                      </a:lnTo>
                      <a:lnTo>
                        <a:pt x="21765" y="3508"/>
                      </a:lnTo>
                      <a:close/>
                      <a:moveTo>
                        <a:pt x="22072" y="4080"/>
                      </a:moveTo>
                      <a:lnTo>
                        <a:pt x="22068" y="4058"/>
                      </a:lnTo>
                      <a:lnTo>
                        <a:pt x="22072" y="4030"/>
                      </a:lnTo>
                      <a:lnTo>
                        <a:pt x="22084" y="3973"/>
                      </a:lnTo>
                      <a:lnTo>
                        <a:pt x="22084" y="3903"/>
                      </a:lnTo>
                      <a:lnTo>
                        <a:pt x="22072" y="3891"/>
                      </a:lnTo>
                      <a:lnTo>
                        <a:pt x="22089" y="3825"/>
                      </a:lnTo>
                      <a:lnTo>
                        <a:pt x="22084" y="3791"/>
                      </a:lnTo>
                      <a:lnTo>
                        <a:pt x="22051" y="3751"/>
                      </a:lnTo>
                      <a:lnTo>
                        <a:pt x="22051" y="3714"/>
                      </a:lnTo>
                      <a:lnTo>
                        <a:pt x="22061" y="3692"/>
                      </a:lnTo>
                      <a:lnTo>
                        <a:pt x="22068" y="3643"/>
                      </a:lnTo>
                      <a:lnTo>
                        <a:pt x="22061" y="3614"/>
                      </a:lnTo>
                      <a:lnTo>
                        <a:pt x="22089" y="3598"/>
                      </a:lnTo>
                      <a:lnTo>
                        <a:pt x="22089" y="3614"/>
                      </a:lnTo>
                      <a:lnTo>
                        <a:pt x="22105" y="3614"/>
                      </a:lnTo>
                      <a:lnTo>
                        <a:pt x="22122" y="3598"/>
                      </a:lnTo>
                      <a:lnTo>
                        <a:pt x="22115" y="3598"/>
                      </a:lnTo>
                      <a:lnTo>
                        <a:pt x="22105" y="3581"/>
                      </a:lnTo>
                      <a:lnTo>
                        <a:pt x="22122" y="3586"/>
                      </a:lnTo>
                      <a:lnTo>
                        <a:pt x="22127" y="3581"/>
                      </a:lnTo>
                      <a:lnTo>
                        <a:pt x="22127" y="3565"/>
                      </a:lnTo>
                      <a:lnTo>
                        <a:pt x="22115" y="3581"/>
                      </a:lnTo>
                      <a:lnTo>
                        <a:pt x="22122" y="3558"/>
                      </a:lnTo>
                      <a:lnTo>
                        <a:pt x="22098" y="3525"/>
                      </a:lnTo>
                      <a:lnTo>
                        <a:pt x="22122" y="3525"/>
                      </a:lnTo>
                      <a:lnTo>
                        <a:pt x="22122" y="3508"/>
                      </a:lnTo>
                      <a:lnTo>
                        <a:pt x="22143" y="3541"/>
                      </a:lnTo>
                      <a:lnTo>
                        <a:pt x="22136" y="3569"/>
                      </a:lnTo>
                      <a:lnTo>
                        <a:pt x="22153" y="3598"/>
                      </a:lnTo>
                      <a:lnTo>
                        <a:pt x="22153" y="3614"/>
                      </a:lnTo>
                      <a:lnTo>
                        <a:pt x="22160" y="3619"/>
                      </a:lnTo>
                      <a:lnTo>
                        <a:pt x="22169" y="3659"/>
                      </a:lnTo>
                      <a:lnTo>
                        <a:pt x="22169" y="3697"/>
                      </a:lnTo>
                      <a:lnTo>
                        <a:pt x="22160" y="3714"/>
                      </a:lnTo>
                      <a:lnTo>
                        <a:pt x="22160" y="3692"/>
                      </a:lnTo>
                      <a:lnTo>
                        <a:pt x="22153" y="3709"/>
                      </a:lnTo>
                      <a:lnTo>
                        <a:pt x="22153" y="3747"/>
                      </a:lnTo>
                      <a:lnTo>
                        <a:pt x="22169" y="3768"/>
                      </a:lnTo>
                      <a:lnTo>
                        <a:pt x="22160" y="3791"/>
                      </a:lnTo>
                      <a:lnTo>
                        <a:pt x="22169" y="3791"/>
                      </a:lnTo>
                      <a:lnTo>
                        <a:pt x="22169" y="3780"/>
                      </a:lnTo>
                      <a:lnTo>
                        <a:pt x="22174" y="3808"/>
                      </a:lnTo>
                      <a:lnTo>
                        <a:pt x="22169" y="3808"/>
                      </a:lnTo>
                      <a:lnTo>
                        <a:pt x="22181" y="3820"/>
                      </a:lnTo>
                      <a:lnTo>
                        <a:pt x="22198" y="3903"/>
                      </a:lnTo>
                      <a:lnTo>
                        <a:pt x="22212" y="3936"/>
                      </a:lnTo>
                      <a:lnTo>
                        <a:pt x="22245" y="4023"/>
                      </a:lnTo>
                      <a:lnTo>
                        <a:pt x="22261" y="4040"/>
                      </a:lnTo>
                      <a:lnTo>
                        <a:pt x="22266" y="4063"/>
                      </a:lnTo>
                      <a:lnTo>
                        <a:pt x="22245" y="4030"/>
                      </a:lnTo>
                      <a:lnTo>
                        <a:pt x="22212" y="4006"/>
                      </a:lnTo>
                      <a:lnTo>
                        <a:pt x="22169" y="3990"/>
                      </a:lnTo>
                      <a:lnTo>
                        <a:pt x="22169" y="4002"/>
                      </a:lnTo>
                      <a:lnTo>
                        <a:pt x="22191" y="4002"/>
                      </a:lnTo>
                      <a:lnTo>
                        <a:pt x="22160" y="4006"/>
                      </a:lnTo>
                      <a:lnTo>
                        <a:pt x="22143" y="4023"/>
                      </a:lnTo>
                      <a:lnTo>
                        <a:pt x="22143" y="4040"/>
                      </a:lnTo>
                      <a:lnTo>
                        <a:pt x="22115" y="4117"/>
                      </a:lnTo>
                      <a:lnTo>
                        <a:pt x="22115" y="4141"/>
                      </a:lnTo>
                      <a:lnTo>
                        <a:pt x="22122" y="4158"/>
                      </a:lnTo>
                      <a:lnTo>
                        <a:pt x="22143" y="4191"/>
                      </a:lnTo>
                      <a:lnTo>
                        <a:pt x="22160" y="4236"/>
                      </a:lnTo>
                      <a:lnTo>
                        <a:pt x="22169" y="4245"/>
                      </a:lnTo>
                      <a:lnTo>
                        <a:pt x="22169" y="4228"/>
                      </a:lnTo>
                      <a:lnTo>
                        <a:pt x="22174" y="4228"/>
                      </a:lnTo>
                      <a:lnTo>
                        <a:pt x="22181" y="4269"/>
                      </a:lnTo>
                      <a:lnTo>
                        <a:pt x="22174" y="4302"/>
                      </a:lnTo>
                      <a:lnTo>
                        <a:pt x="22169" y="4252"/>
                      </a:lnTo>
                      <a:lnTo>
                        <a:pt x="22127" y="4252"/>
                      </a:lnTo>
                      <a:lnTo>
                        <a:pt x="22122" y="4236"/>
                      </a:lnTo>
                      <a:lnTo>
                        <a:pt x="22105" y="4252"/>
                      </a:lnTo>
                      <a:lnTo>
                        <a:pt x="22084" y="4306"/>
                      </a:lnTo>
                      <a:lnTo>
                        <a:pt x="22068" y="4302"/>
                      </a:lnTo>
                      <a:lnTo>
                        <a:pt x="22061" y="4252"/>
                      </a:lnTo>
                      <a:lnTo>
                        <a:pt x="22072" y="4207"/>
                      </a:lnTo>
                      <a:lnTo>
                        <a:pt x="22072" y="4158"/>
                      </a:lnTo>
                      <a:lnTo>
                        <a:pt x="22089" y="4125"/>
                      </a:lnTo>
                      <a:lnTo>
                        <a:pt x="22084" y="4096"/>
                      </a:lnTo>
                      <a:lnTo>
                        <a:pt x="22072" y="4080"/>
                      </a:lnTo>
                      <a:lnTo>
                        <a:pt x="22072" y="4080"/>
                      </a:lnTo>
                      <a:lnTo>
                        <a:pt x="22072" y="4080"/>
                      </a:lnTo>
                      <a:close/>
                      <a:moveTo>
                        <a:pt x="23017" y="3846"/>
                      </a:moveTo>
                      <a:lnTo>
                        <a:pt x="23022" y="3846"/>
                      </a:lnTo>
                      <a:lnTo>
                        <a:pt x="23034" y="3858"/>
                      </a:lnTo>
                      <a:lnTo>
                        <a:pt x="23022" y="3858"/>
                      </a:lnTo>
                      <a:lnTo>
                        <a:pt x="23017" y="3846"/>
                      </a:lnTo>
                      <a:lnTo>
                        <a:pt x="23017" y="3846"/>
                      </a:lnTo>
                      <a:lnTo>
                        <a:pt x="23017" y="3846"/>
                      </a:lnTo>
                      <a:close/>
                      <a:moveTo>
                        <a:pt x="23088" y="3874"/>
                      </a:moveTo>
                      <a:lnTo>
                        <a:pt x="23072" y="3874"/>
                      </a:lnTo>
                      <a:lnTo>
                        <a:pt x="23072" y="3862"/>
                      </a:lnTo>
                      <a:lnTo>
                        <a:pt x="23088" y="3858"/>
                      </a:lnTo>
                      <a:lnTo>
                        <a:pt x="23088" y="3874"/>
                      </a:lnTo>
                      <a:lnTo>
                        <a:pt x="23088" y="3874"/>
                      </a:lnTo>
                      <a:lnTo>
                        <a:pt x="23088" y="3874"/>
                      </a:lnTo>
                      <a:close/>
                      <a:moveTo>
                        <a:pt x="23001" y="3931"/>
                      </a:moveTo>
                      <a:lnTo>
                        <a:pt x="23001" y="3903"/>
                      </a:lnTo>
                      <a:lnTo>
                        <a:pt x="23034" y="3895"/>
                      </a:lnTo>
                      <a:lnTo>
                        <a:pt x="23050" y="3874"/>
                      </a:lnTo>
                      <a:lnTo>
                        <a:pt x="23060" y="3862"/>
                      </a:lnTo>
                      <a:lnTo>
                        <a:pt x="23072" y="3891"/>
                      </a:lnTo>
                      <a:lnTo>
                        <a:pt x="23050" y="3914"/>
                      </a:lnTo>
                      <a:lnTo>
                        <a:pt x="23001" y="3931"/>
                      </a:lnTo>
                      <a:lnTo>
                        <a:pt x="23001" y="3931"/>
                      </a:lnTo>
                      <a:lnTo>
                        <a:pt x="23001" y="3931"/>
                      </a:lnTo>
                      <a:close/>
                      <a:moveTo>
                        <a:pt x="22946" y="3957"/>
                      </a:moveTo>
                      <a:lnTo>
                        <a:pt x="22946" y="3952"/>
                      </a:lnTo>
                      <a:lnTo>
                        <a:pt x="22946" y="3957"/>
                      </a:lnTo>
                      <a:lnTo>
                        <a:pt x="22946" y="3957"/>
                      </a:lnTo>
                      <a:lnTo>
                        <a:pt x="22946" y="3957"/>
                      </a:lnTo>
                      <a:close/>
                      <a:moveTo>
                        <a:pt x="22953" y="4002"/>
                      </a:moveTo>
                      <a:lnTo>
                        <a:pt x="22968" y="3973"/>
                      </a:lnTo>
                      <a:lnTo>
                        <a:pt x="22979" y="3969"/>
                      </a:lnTo>
                      <a:lnTo>
                        <a:pt x="22968" y="3990"/>
                      </a:lnTo>
                      <a:lnTo>
                        <a:pt x="22968" y="4002"/>
                      </a:lnTo>
                      <a:lnTo>
                        <a:pt x="22953" y="4002"/>
                      </a:lnTo>
                      <a:lnTo>
                        <a:pt x="22953" y="4002"/>
                      </a:lnTo>
                      <a:lnTo>
                        <a:pt x="22953" y="4002"/>
                      </a:lnTo>
                      <a:close/>
                      <a:moveTo>
                        <a:pt x="22946" y="4014"/>
                      </a:moveTo>
                      <a:lnTo>
                        <a:pt x="22953" y="4014"/>
                      </a:lnTo>
                      <a:lnTo>
                        <a:pt x="22953" y="4023"/>
                      </a:lnTo>
                      <a:lnTo>
                        <a:pt x="22946" y="4014"/>
                      </a:lnTo>
                      <a:lnTo>
                        <a:pt x="22946" y="4014"/>
                      </a:lnTo>
                      <a:lnTo>
                        <a:pt x="22946" y="4014"/>
                      </a:lnTo>
                      <a:close/>
                      <a:moveTo>
                        <a:pt x="22916" y="4058"/>
                      </a:moveTo>
                      <a:lnTo>
                        <a:pt x="22925" y="4040"/>
                      </a:lnTo>
                      <a:lnTo>
                        <a:pt x="22930" y="4040"/>
                      </a:lnTo>
                      <a:lnTo>
                        <a:pt x="22916" y="4058"/>
                      </a:lnTo>
                      <a:lnTo>
                        <a:pt x="22916" y="4058"/>
                      </a:lnTo>
                      <a:lnTo>
                        <a:pt x="22916" y="4058"/>
                      </a:lnTo>
                      <a:close/>
                      <a:moveTo>
                        <a:pt x="22861" y="4117"/>
                      </a:moveTo>
                      <a:lnTo>
                        <a:pt x="22854" y="4113"/>
                      </a:lnTo>
                      <a:lnTo>
                        <a:pt x="22861" y="4113"/>
                      </a:lnTo>
                      <a:lnTo>
                        <a:pt x="22861" y="4117"/>
                      </a:lnTo>
                      <a:lnTo>
                        <a:pt x="22861" y="4117"/>
                      </a:lnTo>
                      <a:lnTo>
                        <a:pt x="22861" y="4117"/>
                      </a:lnTo>
                      <a:close/>
                      <a:moveTo>
                        <a:pt x="22807" y="4179"/>
                      </a:moveTo>
                      <a:lnTo>
                        <a:pt x="22816" y="4179"/>
                      </a:lnTo>
                      <a:lnTo>
                        <a:pt x="22807" y="4179"/>
                      </a:lnTo>
                      <a:lnTo>
                        <a:pt x="22807" y="4179"/>
                      </a:lnTo>
                      <a:lnTo>
                        <a:pt x="22807" y="4179"/>
                      </a:lnTo>
                      <a:close/>
                      <a:moveTo>
                        <a:pt x="22791" y="4195"/>
                      </a:moveTo>
                      <a:lnTo>
                        <a:pt x="22779" y="4224"/>
                      </a:lnTo>
                      <a:lnTo>
                        <a:pt x="22753" y="4228"/>
                      </a:lnTo>
                      <a:lnTo>
                        <a:pt x="22791" y="4195"/>
                      </a:lnTo>
                      <a:lnTo>
                        <a:pt x="22791" y="4195"/>
                      </a:lnTo>
                      <a:lnTo>
                        <a:pt x="22791" y="4195"/>
                      </a:lnTo>
                      <a:close/>
                      <a:moveTo>
                        <a:pt x="22602" y="4340"/>
                      </a:moveTo>
                      <a:lnTo>
                        <a:pt x="22613" y="4318"/>
                      </a:lnTo>
                      <a:lnTo>
                        <a:pt x="22628" y="4302"/>
                      </a:lnTo>
                      <a:lnTo>
                        <a:pt x="22661" y="4285"/>
                      </a:lnTo>
                      <a:lnTo>
                        <a:pt x="22665" y="4285"/>
                      </a:lnTo>
                      <a:lnTo>
                        <a:pt x="22644" y="4306"/>
                      </a:lnTo>
                      <a:lnTo>
                        <a:pt x="22613" y="4335"/>
                      </a:lnTo>
                      <a:lnTo>
                        <a:pt x="22602" y="4340"/>
                      </a:lnTo>
                      <a:lnTo>
                        <a:pt x="22602" y="4340"/>
                      </a:lnTo>
                      <a:lnTo>
                        <a:pt x="22602" y="4340"/>
                      </a:lnTo>
                      <a:close/>
                      <a:moveTo>
                        <a:pt x="22413" y="4446"/>
                      </a:moveTo>
                      <a:lnTo>
                        <a:pt x="22413" y="4434"/>
                      </a:lnTo>
                      <a:lnTo>
                        <a:pt x="22439" y="4417"/>
                      </a:lnTo>
                      <a:lnTo>
                        <a:pt x="22429" y="4413"/>
                      </a:lnTo>
                      <a:lnTo>
                        <a:pt x="22483" y="4373"/>
                      </a:lnTo>
                      <a:lnTo>
                        <a:pt x="22483" y="4363"/>
                      </a:lnTo>
                      <a:lnTo>
                        <a:pt x="22493" y="4356"/>
                      </a:lnTo>
                      <a:lnTo>
                        <a:pt x="22500" y="4373"/>
                      </a:lnTo>
                      <a:lnTo>
                        <a:pt x="22514" y="4373"/>
                      </a:lnTo>
                      <a:lnTo>
                        <a:pt x="22547" y="4347"/>
                      </a:lnTo>
                      <a:lnTo>
                        <a:pt x="22552" y="4347"/>
                      </a:lnTo>
                      <a:lnTo>
                        <a:pt x="22552" y="4363"/>
                      </a:lnTo>
                      <a:lnTo>
                        <a:pt x="22514" y="4373"/>
                      </a:lnTo>
                      <a:lnTo>
                        <a:pt x="22476" y="4396"/>
                      </a:lnTo>
                      <a:lnTo>
                        <a:pt x="22467" y="4396"/>
                      </a:lnTo>
                      <a:lnTo>
                        <a:pt x="22462" y="4413"/>
                      </a:lnTo>
                      <a:lnTo>
                        <a:pt x="22413" y="4446"/>
                      </a:lnTo>
                      <a:lnTo>
                        <a:pt x="22413" y="4446"/>
                      </a:lnTo>
                      <a:lnTo>
                        <a:pt x="22413" y="4446"/>
                      </a:lnTo>
                      <a:close/>
                      <a:moveTo>
                        <a:pt x="22370" y="4434"/>
                      </a:moveTo>
                      <a:lnTo>
                        <a:pt x="22391" y="4446"/>
                      </a:lnTo>
                      <a:lnTo>
                        <a:pt x="22354" y="4467"/>
                      </a:lnTo>
                      <a:lnTo>
                        <a:pt x="22337" y="4491"/>
                      </a:lnTo>
                      <a:lnTo>
                        <a:pt x="22332" y="4491"/>
                      </a:lnTo>
                      <a:lnTo>
                        <a:pt x="22320" y="4512"/>
                      </a:lnTo>
                      <a:lnTo>
                        <a:pt x="22316" y="4507"/>
                      </a:lnTo>
                      <a:lnTo>
                        <a:pt x="22316" y="4500"/>
                      </a:lnTo>
                      <a:lnTo>
                        <a:pt x="22337" y="4474"/>
                      </a:lnTo>
                      <a:lnTo>
                        <a:pt x="22370" y="4434"/>
                      </a:lnTo>
                      <a:lnTo>
                        <a:pt x="22370" y="4434"/>
                      </a:lnTo>
                      <a:lnTo>
                        <a:pt x="22370" y="4434"/>
                      </a:lnTo>
                      <a:close/>
                      <a:moveTo>
                        <a:pt x="15463" y="4484"/>
                      </a:moveTo>
                      <a:lnTo>
                        <a:pt x="15454" y="4484"/>
                      </a:lnTo>
                      <a:lnTo>
                        <a:pt x="15463" y="4484"/>
                      </a:lnTo>
                      <a:lnTo>
                        <a:pt x="15463" y="4484"/>
                      </a:lnTo>
                      <a:lnTo>
                        <a:pt x="15463" y="4484"/>
                      </a:lnTo>
                      <a:close/>
                      <a:moveTo>
                        <a:pt x="22413" y="4491"/>
                      </a:moveTo>
                      <a:lnTo>
                        <a:pt x="22408" y="4507"/>
                      </a:lnTo>
                      <a:lnTo>
                        <a:pt x="22396" y="4507"/>
                      </a:lnTo>
                      <a:lnTo>
                        <a:pt x="22396" y="4500"/>
                      </a:lnTo>
                      <a:lnTo>
                        <a:pt x="22413" y="4491"/>
                      </a:lnTo>
                      <a:lnTo>
                        <a:pt x="22413" y="4491"/>
                      </a:lnTo>
                      <a:lnTo>
                        <a:pt x="22413" y="4491"/>
                      </a:lnTo>
                      <a:close/>
                      <a:moveTo>
                        <a:pt x="22370" y="4524"/>
                      </a:moveTo>
                      <a:lnTo>
                        <a:pt x="22370" y="4528"/>
                      </a:lnTo>
                      <a:lnTo>
                        <a:pt x="22358" y="4524"/>
                      </a:lnTo>
                      <a:lnTo>
                        <a:pt x="22370" y="4524"/>
                      </a:lnTo>
                      <a:lnTo>
                        <a:pt x="22370" y="4524"/>
                      </a:lnTo>
                      <a:lnTo>
                        <a:pt x="22370" y="4524"/>
                      </a:lnTo>
                      <a:close/>
                      <a:moveTo>
                        <a:pt x="21366" y="4566"/>
                      </a:moveTo>
                      <a:lnTo>
                        <a:pt x="21359" y="4566"/>
                      </a:lnTo>
                      <a:lnTo>
                        <a:pt x="21366" y="4562"/>
                      </a:lnTo>
                      <a:lnTo>
                        <a:pt x="21366" y="4566"/>
                      </a:lnTo>
                      <a:lnTo>
                        <a:pt x="21366" y="4566"/>
                      </a:lnTo>
                      <a:lnTo>
                        <a:pt x="21366" y="456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1" name="Freeform 546">
                  <a:extLst>
                    <a:ext uri="{FF2B5EF4-FFF2-40B4-BE49-F238E27FC236}">
                      <a16:creationId xmlns:a16="http://schemas.microsoft.com/office/drawing/2014/main" id="{3AD7D55A-7380-4030-8991-B345692F6B86}"/>
                    </a:ext>
                  </a:extLst>
                </p:cNvPr>
                <p:cNvSpPr>
                  <a:spLocks/>
                </p:cNvSpPr>
                <p:nvPr/>
              </p:nvSpPr>
              <p:spPr bwMode="gray">
                <a:xfrm>
                  <a:off x="5096433" y="2557357"/>
                  <a:ext cx="6587" cy="8646"/>
                </a:xfrm>
                <a:custGeom>
                  <a:avLst/>
                  <a:gdLst>
                    <a:gd name="T0" fmla="*/ 5 w 16"/>
                    <a:gd name="T1" fmla="*/ 0 h 21"/>
                    <a:gd name="T2" fmla="*/ 5 w 16"/>
                    <a:gd name="T3" fmla="*/ 4 h 21"/>
                    <a:gd name="T4" fmla="*/ 5 w 16"/>
                    <a:gd name="T5" fmla="*/ 4 h 21"/>
                    <a:gd name="T6" fmla="*/ 16 w 16"/>
                    <a:gd name="T7" fmla="*/ 21 h 21"/>
                    <a:gd name="T8" fmla="*/ 5 w 16"/>
                    <a:gd name="T9" fmla="*/ 21 h 21"/>
                    <a:gd name="T10" fmla="*/ 0 w 16"/>
                    <a:gd name="T11" fmla="*/ 0 h 21"/>
                    <a:gd name="T12" fmla="*/ 5 w 16"/>
                    <a:gd name="T13" fmla="*/ 0 h 21"/>
                    <a:gd name="T14" fmla="*/ 5 w 16"/>
                    <a:gd name="T15" fmla="*/ 0 h 21"/>
                    <a:gd name="T16" fmla="*/ 5 w 16"/>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1">
                      <a:moveTo>
                        <a:pt x="5" y="0"/>
                      </a:moveTo>
                      <a:lnTo>
                        <a:pt x="5" y="4"/>
                      </a:lnTo>
                      <a:lnTo>
                        <a:pt x="5" y="4"/>
                      </a:lnTo>
                      <a:lnTo>
                        <a:pt x="16" y="21"/>
                      </a:lnTo>
                      <a:lnTo>
                        <a:pt x="5" y="21"/>
                      </a:lnTo>
                      <a:lnTo>
                        <a:pt x="0" y="0"/>
                      </a:lnTo>
                      <a:lnTo>
                        <a:pt x="5" y="0"/>
                      </a:lnTo>
                      <a:lnTo>
                        <a:pt x="5" y="0"/>
                      </a:lnTo>
                      <a:lnTo>
                        <a:pt x="5"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9" name="Freeform 552">
                  <a:extLst>
                    <a:ext uri="{FF2B5EF4-FFF2-40B4-BE49-F238E27FC236}">
                      <a16:creationId xmlns:a16="http://schemas.microsoft.com/office/drawing/2014/main" id="{0439A3F6-7D55-4429-B910-409B7E9618FA}"/>
                    </a:ext>
                  </a:extLst>
                </p:cNvPr>
                <p:cNvSpPr>
                  <a:spLocks/>
                </p:cNvSpPr>
                <p:nvPr/>
              </p:nvSpPr>
              <p:spPr bwMode="gray">
                <a:xfrm>
                  <a:off x="7114029" y="2563945"/>
                  <a:ext cx="89745" cy="54346"/>
                </a:xfrm>
                <a:custGeom>
                  <a:avLst/>
                  <a:gdLst>
                    <a:gd name="T0" fmla="*/ 22 w 218"/>
                    <a:gd name="T1" fmla="*/ 28 h 132"/>
                    <a:gd name="T2" fmla="*/ 74 w 218"/>
                    <a:gd name="T3" fmla="*/ 45 h 132"/>
                    <a:gd name="T4" fmla="*/ 102 w 218"/>
                    <a:gd name="T5" fmla="*/ 38 h 132"/>
                    <a:gd name="T6" fmla="*/ 102 w 218"/>
                    <a:gd name="T7" fmla="*/ 21 h 132"/>
                    <a:gd name="T8" fmla="*/ 166 w 218"/>
                    <a:gd name="T9" fmla="*/ 12 h 132"/>
                    <a:gd name="T10" fmla="*/ 180 w 218"/>
                    <a:gd name="T11" fmla="*/ 0 h 132"/>
                    <a:gd name="T12" fmla="*/ 208 w 218"/>
                    <a:gd name="T13" fmla="*/ 5 h 132"/>
                    <a:gd name="T14" fmla="*/ 196 w 218"/>
                    <a:gd name="T15" fmla="*/ 12 h 132"/>
                    <a:gd name="T16" fmla="*/ 218 w 218"/>
                    <a:gd name="T17" fmla="*/ 38 h 132"/>
                    <a:gd name="T18" fmla="*/ 196 w 218"/>
                    <a:gd name="T19" fmla="*/ 28 h 132"/>
                    <a:gd name="T20" fmla="*/ 196 w 218"/>
                    <a:gd name="T21" fmla="*/ 45 h 132"/>
                    <a:gd name="T22" fmla="*/ 154 w 218"/>
                    <a:gd name="T23" fmla="*/ 62 h 132"/>
                    <a:gd name="T24" fmla="*/ 154 w 218"/>
                    <a:gd name="T25" fmla="*/ 66 h 132"/>
                    <a:gd name="T26" fmla="*/ 159 w 218"/>
                    <a:gd name="T27" fmla="*/ 78 h 132"/>
                    <a:gd name="T28" fmla="*/ 159 w 218"/>
                    <a:gd name="T29" fmla="*/ 95 h 132"/>
                    <a:gd name="T30" fmla="*/ 128 w 218"/>
                    <a:gd name="T31" fmla="*/ 99 h 132"/>
                    <a:gd name="T32" fmla="*/ 128 w 218"/>
                    <a:gd name="T33" fmla="*/ 111 h 132"/>
                    <a:gd name="T34" fmla="*/ 137 w 218"/>
                    <a:gd name="T35" fmla="*/ 111 h 132"/>
                    <a:gd name="T36" fmla="*/ 128 w 218"/>
                    <a:gd name="T37" fmla="*/ 123 h 132"/>
                    <a:gd name="T38" fmla="*/ 123 w 218"/>
                    <a:gd name="T39" fmla="*/ 132 h 132"/>
                    <a:gd name="T40" fmla="*/ 102 w 218"/>
                    <a:gd name="T41" fmla="*/ 123 h 132"/>
                    <a:gd name="T42" fmla="*/ 85 w 218"/>
                    <a:gd name="T43" fmla="*/ 111 h 132"/>
                    <a:gd name="T44" fmla="*/ 69 w 218"/>
                    <a:gd name="T45" fmla="*/ 123 h 132"/>
                    <a:gd name="T46" fmla="*/ 15 w 218"/>
                    <a:gd name="T47" fmla="*/ 123 h 132"/>
                    <a:gd name="T48" fmla="*/ 22 w 218"/>
                    <a:gd name="T49" fmla="*/ 116 h 132"/>
                    <a:gd name="T50" fmla="*/ 22 w 218"/>
                    <a:gd name="T51" fmla="*/ 116 h 132"/>
                    <a:gd name="T52" fmla="*/ 36 w 218"/>
                    <a:gd name="T53" fmla="*/ 111 h 132"/>
                    <a:gd name="T54" fmla="*/ 15 w 218"/>
                    <a:gd name="T55" fmla="*/ 95 h 132"/>
                    <a:gd name="T56" fmla="*/ 15 w 218"/>
                    <a:gd name="T57" fmla="*/ 78 h 132"/>
                    <a:gd name="T58" fmla="*/ 5 w 218"/>
                    <a:gd name="T59" fmla="*/ 78 h 132"/>
                    <a:gd name="T60" fmla="*/ 15 w 218"/>
                    <a:gd name="T61" fmla="*/ 62 h 132"/>
                    <a:gd name="T62" fmla="*/ 0 w 218"/>
                    <a:gd name="T63" fmla="*/ 62 h 132"/>
                    <a:gd name="T64" fmla="*/ 0 w 218"/>
                    <a:gd name="T65" fmla="*/ 54 h 132"/>
                    <a:gd name="T66" fmla="*/ 22 w 218"/>
                    <a:gd name="T67" fmla="*/ 28 h 132"/>
                    <a:gd name="T68" fmla="*/ 22 w 218"/>
                    <a:gd name="T69" fmla="*/ 28 h 132"/>
                    <a:gd name="T70" fmla="*/ 22 w 218"/>
                    <a:gd name="T71" fmla="*/ 2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8" h="132">
                      <a:moveTo>
                        <a:pt x="22" y="28"/>
                      </a:moveTo>
                      <a:lnTo>
                        <a:pt x="74" y="45"/>
                      </a:lnTo>
                      <a:lnTo>
                        <a:pt x="102" y="38"/>
                      </a:lnTo>
                      <a:lnTo>
                        <a:pt x="102" y="21"/>
                      </a:lnTo>
                      <a:lnTo>
                        <a:pt x="166" y="12"/>
                      </a:lnTo>
                      <a:lnTo>
                        <a:pt x="180" y="0"/>
                      </a:lnTo>
                      <a:lnTo>
                        <a:pt x="208" y="5"/>
                      </a:lnTo>
                      <a:lnTo>
                        <a:pt x="196" y="12"/>
                      </a:lnTo>
                      <a:lnTo>
                        <a:pt x="218" y="38"/>
                      </a:lnTo>
                      <a:lnTo>
                        <a:pt x="196" y="28"/>
                      </a:lnTo>
                      <a:lnTo>
                        <a:pt x="196" y="45"/>
                      </a:lnTo>
                      <a:lnTo>
                        <a:pt x="154" y="62"/>
                      </a:lnTo>
                      <a:lnTo>
                        <a:pt x="154" y="66"/>
                      </a:lnTo>
                      <a:lnTo>
                        <a:pt x="159" y="78"/>
                      </a:lnTo>
                      <a:lnTo>
                        <a:pt x="159" y="95"/>
                      </a:lnTo>
                      <a:lnTo>
                        <a:pt x="128" y="99"/>
                      </a:lnTo>
                      <a:lnTo>
                        <a:pt x="128" y="111"/>
                      </a:lnTo>
                      <a:lnTo>
                        <a:pt x="137" y="111"/>
                      </a:lnTo>
                      <a:lnTo>
                        <a:pt x="128" y="123"/>
                      </a:lnTo>
                      <a:lnTo>
                        <a:pt x="123" y="132"/>
                      </a:lnTo>
                      <a:lnTo>
                        <a:pt x="102" y="123"/>
                      </a:lnTo>
                      <a:lnTo>
                        <a:pt x="85" y="111"/>
                      </a:lnTo>
                      <a:lnTo>
                        <a:pt x="69" y="123"/>
                      </a:lnTo>
                      <a:lnTo>
                        <a:pt x="15" y="123"/>
                      </a:lnTo>
                      <a:lnTo>
                        <a:pt x="22" y="116"/>
                      </a:lnTo>
                      <a:lnTo>
                        <a:pt x="22" y="116"/>
                      </a:lnTo>
                      <a:lnTo>
                        <a:pt x="36" y="111"/>
                      </a:lnTo>
                      <a:lnTo>
                        <a:pt x="15" y="95"/>
                      </a:lnTo>
                      <a:lnTo>
                        <a:pt x="15" y="78"/>
                      </a:lnTo>
                      <a:lnTo>
                        <a:pt x="5" y="78"/>
                      </a:lnTo>
                      <a:lnTo>
                        <a:pt x="15" y="62"/>
                      </a:lnTo>
                      <a:lnTo>
                        <a:pt x="0" y="62"/>
                      </a:lnTo>
                      <a:lnTo>
                        <a:pt x="0" y="54"/>
                      </a:lnTo>
                      <a:lnTo>
                        <a:pt x="22" y="28"/>
                      </a:lnTo>
                      <a:lnTo>
                        <a:pt x="22" y="28"/>
                      </a:lnTo>
                      <a:lnTo>
                        <a:pt x="22" y="2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1" name="Freeform 554">
                  <a:extLst>
                    <a:ext uri="{FF2B5EF4-FFF2-40B4-BE49-F238E27FC236}">
                      <a16:creationId xmlns:a16="http://schemas.microsoft.com/office/drawing/2014/main" id="{535E55FF-E885-4F3F-9ACB-C876D2377ECA}"/>
                    </a:ext>
                  </a:extLst>
                </p:cNvPr>
                <p:cNvSpPr>
                  <a:spLocks/>
                </p:cNvSpPr>
                <p:nvPr/>
              </p:nvSpPr>
              <p:spPr bwMode="gray">
                <a:xfrm>
                  <a:off x="7083977" y="2670169"/>
                  <a:ext cx="4940" cy="3706"/>
                </a:xfrm>
                <a:custGeom>
                  <a:avLst/>
                  <a:gdLst>
                    <a:gd name="T0" fmla="*/ 0 w 12"/>
                    <a:gd name="T1" fmla="*/ 0 h 9"/>
                    <a:gd name="T2" fmla="*/ 12 w 12"/>
                    <a:gd name="T3" fmla="*/ 0 h 9"/>
                    <a:gd name="T4" fmla="*/ 0 w 12"/>
                    <a:gd name="T5" fmla="*/ 9 h 9"/>
                    <a:gd name="T6" fmla="*/ 0 w 12"/>
                    <a:gd name="T7" fmla="*/ 0 h 9"/>
                    <a:gd name="T8" fmla="*/ 0 w 12"/>
                    <a:gd name="T9" fmla="*/ 0 h 9"/>
                    <a:gd name="T10" fmla="*/ 0 w 12"/>
                    <a:gd name="T11" fmla="*/ 0 h 9"/>
                  </a:gdLst>
                  <a:ahLst/>
                  <a:cxnLst>
                    <a:cxn ang="0">
                      <a:pos x="T0" y="T1"/>
                    </a:cxn>
                    <a:cxn ang="0">
                      <a:pos x="T2" y="T3"/>
                    </a:cxn>
                    <a:cxn ang="0">
                      <a:pos x="T4" y="T5"/>
                    </a:cxn>
                    <a:cxn ang="0">
                      <a:pos x="T6" y="T7"/>
                    </a:cxn>
                    <a:cxn ang="0">
                      <a:pos x="T8" y="T9"/>
                    </a:cxn>
                    <a:cxn ang="0">
                      <a:pos x="T10" y="T11"/>
                    </a:cxn>
                  </a:cxnLst>
                  <a:rect l="0" t="0" r="r" b="b"/>
                  <a:pathLst>
                    <a:path w="12" h="9">
                      <a:moveTo>
                        <a:pt x="0" y="0"/>
                      </a:moveTo>
                      <a:lnTo>
                        <a:pt x="12" y="0"/>
                      </a:lnTo>
                      <a:lnTo>
                        <a:pt x="0" y="9"/>
                      </a:lnTo>
                      <a:lnTo>
                        <a:pt x="0" y="0"/>
                      </a:lnTo>
                      <a:lnTo>
                        <a:pt x="0" y="0"/>
                      </a:lnTo>
                      <a:lnTo>
                        <a:pt x="0"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5" name="Freeform 558">
                  <a:extLst>
                    <a:ext uri="{FF2B5EF4-FFF2-40B4-BE49-F238E27FC236}">
                      <a16:creationId xmlns:a16="http://schemas.microsoft.com/office/drawing/2014/main" id="{15C0A377-D1B6-4A24-92A0-8446EC4C42C3}"/>
                    </a:ext>
                  </a:extLst>
                </p:cNvPr>
                <p:cNvSpPr>
                  <a:spLocks/>
                </p:cNvSpPr>
                <p:nvPr/>
              </p:nvSpPr>
              <p:spPr bwMode="gray">
                <a:xfrm>
                  <a:off x="7269639" y="2588237"/>
                  <a:ext cx="119796" cy="157688"/>
                </a:xfrm>
                <a:custGeom>
                  <a:avLst/>
                  <a:gdLst>
                    <a:gd name="T0" fmla="*/ 90 w 291"/>
                    <a:gd name="T1" fmla="*/ 317 h 383"/>
                    <a:gd name="T2" fmla="*/ 102 w 291"/>
                    <a:gd name="T3" fmla="*/ 300 h 383"/>
                    <a:gd name="T4" fmla="*/ 107 w 291"/>
                    <a:gd name="T5" fmla="*/ 295 h 383"/>
                    <a:gd name="T6" fmla="*/ 31 w 291"/>
                    <a:gd name="T7" fmla="*/ 239 h 383"/>
                    <a:gd name="T8" fmla="*/ 48 w 291"/>
                    <a:gd name="T9" fmla="*/ 222 h 383"/>
                    <a:gd name="T10" fmla="*/ 48 w 291"/>
                    <a:gd name="T11" fmla="*/ 201 h 383"/>
                    <a:gd name="T12" fmla="*/ 22 w 291"/>
                    <a:gd name="T13" fmla="*/ 168 h 383"/>
                    <a:gd name="T14" fmla="*/ 14 w 291"/>
                    <a:gd name="T15" fmla="*/ 118 h 383"/>
                    <a:gd name="T16" fmla="*/ 48 w 291"/>
                    <a:gd name="T17" fmla="*/ 90 h 383"/>
                    <a:gd name="T18" fmla="*/ 14 w 291"/>
                    <a:gd name="T19" fmla="*/ 62 h 383"/>
                    <a:gd name="T20" fmla="*/ 5 w 291"/>
                    <a:gd name="T21" fmla="*/ 57 h 383"/>
                    <a:gd name="T22" fmla="*/ 0 w 291"/>
                    <a:gd name="T23" fmla="*/ 24 h 383"/>
                    <a:gd name="T24" fmla="*/ 31 w 291"/>
                    <a:gd name="T25" fmla="*/ 17 h 383"/>
                    <a:gd name="T26" fmla="*/ 102 w 291"/>
                    <a:gd name="T27" fmla="*/ 7 h 383"/>
                    <a:gd name="T28" fmla="*/ 140 w 291"/>
                    <a:gd name="T29" fmla="*/ 40 h 383"/>
                    <a:gd name="T30" fmla="*/ 194 w 291"/>
                    <a:gd name="T31" fmla="*/ 95 h 383"/>
                    <a:gd name="T32" fmla="*/ 194 w 291"/>
                    <a:gd name="T33" fmla="*/ 118 h 383"/>
                    <a:gd name="T34" fmla="*/ 182 w 291"/>
                    <a:gd name="T35" fmla="*/ 128 h 383"/>
                    <a:gd name="T36" fmla="*/ 199 w 291"/>
                    <a:gd name="T37" fmla="*/ 135 h 383"/>
                    <a:gd name="T38" fmla="*/ 232 w 291"/>
                    <a:gd name="T39" fmla="*/ 151 h 383"/>
                    <a:gd name="T40" fmla="*/ 253 w 291"/>
                    <a:gd name="T41" fmla="*/ 135 h 383"/>
                    <a:gd name="T42" fmla="*/ 253 w 291"/>
                    <a:gd name="T43" fmla="*/ 151 h 383"/>
                    <a:gd name="T44" fmla="*/ 253 w 291"/>
                    <a:gd name="T45" fmla="*/ 201 h 383"/>
                    <a:gd name="T46" fmla="*/ 265 w 291"/>
                    <a:gd name="T47" fmla="*/ 246 h 383"/>
                    <a:gd name="T48" fmla="*/ 279 w 291"/>
                    <a:gd name="T49" fmla="*/ 295 h 383"/>
                    <a:gd name="T50" fmla="*/ 253 w 291"/>
                    <a:gd name="T51" fmla="*/ 317 h 383"/>
                    <a:gd name="T52" fmla="*/ 248 w 291"/>
                    <a:gd name="T53" fmla="*/ 338 h 383"/>
                    <a:gd name="T54" fmla="*/ 199 w 291"/>
                    <a:gd name="T55" fmla="*/ 350 h 383"/>
                    <a:gd name="T56" fmla="*/ 177 w 291"/>
                    <a:gd name="T57" fmla="*/ 354 h 383"/>
                    <a:gd name="T58" fmla="*/ 140 w 291"/>
                    <a:gd name="T59" fmla="*/ 366 h 383"/>
                    <a:gd name="T60" fmla="*/ 123 w 291"/>
                    <a:gd name="T61" fmla="*/ 383 h 383"/>
                    <a:gd name="T62" fmla="*/ 102 w 291"/>
                    <a:gd name="T63" fmla="*/ 338 h 383"/>
                    <a:gd name="T64" fmla="*/ 85 w 291"/>
                    <a:gd name="T65" fmla="*/ 32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1" h="383">
                      <a:moveTo>
                        <a:pt x="85" y="329"/>
                      </a:moveTo>
                      <a:lnTo>
                        <a:pt x="90" y="317"/>
                      </a:lnTo>
                      <a:lnTo>
                        <a:pt x="85" y="312"/>
                      </a:lnTo>
                      <a:lnTo>
                        <a:pt x="102" y="300"/>
                      </a:lnTo>
                      <a:lnTo>
                        <a:pt x="107" y="300"/>
                      </a:lnTo>
                      <a:lnTo>
                        <a:pt x="107" y="295"/>
                      </a:lnTo>
                      <a:lnTo>
                        <a:pt x="64" y="272"/>
                      </a:lnTo>
                      <a:lnTo>
                        <a:pt x="31" y="239"/>
                      </a:lnTo>
                      <a:lnTo>
                        <a:pt x="48" y="239"/>
                      </a:lnTo>
                      <a:lnTo>
                        <a:pt x="48" y="222"/>
                      </a:lnTo>
                      <a:lnTo>
                        <a:pt x="31" y="201"/>
                      </a:lnTo>
                      <a:lnTo>
                        <a:pt x="48" y="201"/>
                      </a:lnTo>
                      <a:lnTo>
                        <a:pt x="52" y="189"/>
                      </a:lnTo>
                      <a:lnTo>
                        <a:pt x="22" y="168"/>
                      </a:lnTo>
                      <a:lnTo>
                        <a:pt x="38" y="118"/>
                      </a:lnTo>
                      <a:lnTo>
                        <a:pt x="14" y="118"/>
                      </a:lnTo>
                      <a:lnTo>
                        <a:pt x="22" y="90"/>
                      </a:lnTo>
                      <a:lnTo>
                        <a:pt x="48" y="90"/>
                      </a:lnTo>
                      <a:lnTo>
                        <a:pt x="14" y="73"/>
                      </a:lnTo>
                      <a:lnTo>
                        <a:pt x="14" y="62"/>
                      </a:lnTo>
                      <a:lnTo>
                        <a:pt x="22" y="62"/>
                      </a:lnTo>
                      <a:lnTo>
                        <a:pt x="5" y="57"/>
                      </a:lnTo>
                      <a:lnTo>
                        <a:pt x="5" y="40"/>
                      </a:lnTo>
                      <a:lnTo>
                        <a:pt x="0" y="24"/>
                      </a:lnTo>
                      <a:lnTo>
                        <a:pt x="22" y="17"/>
                      </a:lnTo>
                      <a:lnTo>
                        <a:pt x="31" y="17"/>
                      </a:lnTo>
                      <a:lnTo>
                        <a:pt x="52" y="0"/>
                      </a:lnTo>
                      <a:lnTo>
                        <a:pt x="102" y="7"/>
                      </a:lnTo>
                      <a:lnTo>
                        <a:pt x="128" y="40"/>
                      </a:lnTo>
                      <a:lnTo>
                        <a:pt x="140" y="40"/>
                      </a:lnTo>
                      <a:lnTo>
                        <a:pt x="140" y="62"/>
                      </a:lnTo>
                      <a:lnTo>
                        <a:pt x="194" y="95"/>
                      </a:lnTo>
                      <a:lnTo>
                        <a:pt x="177" y="111"/>
                      </a:lnTo>
                      <a:lnTo>
                        <a:pt x="194" y="118"/>
                      </a:lnTo>
                      <a:lnTo>
                        <a:pt x="177" y="118"/>
                      </a:lnTo>
                      <a:lnTo>
                        <a:pt x="182" y="128"/>
                      </a:lnTo>
                      <a:lnTo>
                        <a:pt x="194" y="128"/>
                      </a:lnTo>
                      <a:lnTo>
                        <a:pt x="199" y="135"/>
                      </a:lnTo>
                      <a:lnTo>
                        <a:pt x="227" y="144"/>
                      </a:lnTo>
                      <a:lnTo>
                        <a:pt x="232" y="151"/>
                      </a:lnTo>
                      <a:lnTo>
                        <a:pt x="248" y="135"/>
                      </a:lnTo>
                      <a:lnTo>
                        <a:pt x="253" y="135"/>
                      </a:lnTo>
                      <a:lnTo>
                        <a:pt x="279" y="151"/>
                      </a:lnTo>
                      <a:lnTo>
                        <a:pt x="253" y="151"/>
                      </a:lnTo>
                      <a:lnTo>
                        <a:pt x="270" y="173"/>
                      </a:lnTo>
                      <a:lnTo>
                        <a:pt x="253" y="201"/>
                      </a:lnTo>
                      <a:lnTo>
                        <a:pt x="248" y="217"/>
                      </a:lnTo>
                      <a:lnTo>
                        <a:pt x="265" y="246"/>
                      </a:lnTo>
                      <a:lnTo>
                        <a:pt x="291" y="272"/>
                      </a:lnTo>
                      <a:lnTo>
                        <a:pt x="279" y="295"/>
                      </a:lnTo>
                      <a:lnTo>
                        <a:pt x="253" y="300"/>
                      </a:lnTo>
                      <a:lnTo>
                        <a:pt x="253" y="317"/>
                      </a:lnTo>
                      <a:lnTo>
                        <a:pt x="265" y="333"/>
                      </a:lnTo>
                      <a:lnTo>
                        <a:pt x="248" y="338"/>
                      </a:lnTo>
                      <a:lnTo>
                        <a:pt x="215" y="338"/>
                      </a:lnTo>
                      <a:lnTo>
                        <a:pt x="199" y="350"/>
                      </a:lnTo>
                      <a:lnTo>
                        <a:pt x="182" y="350"/>
                      </a:lnTo>
                      <a:lnTo>
                        <a:pt x="177" y="354"/>
                      </a:lnTo>
                      <a:lnTo>
                        <a:pt x="161" y="354"/>
                      </a:lnTo>
                      <a:lnTo>
                        <a:pt x="140" y="366"/>
                      </a:lnTo>
                      <a:lnTo>
                        <a:pt x="128" y="383"/>
                      </a:lnTo>
                      <a:lnTo>
                        <a:pt x="123" y="383"/>
                      </a:lnTo>
                      <a:lnTo>
                        <a:pt x="123" y="350"/>
                      </a:lnTo>
                      <a:lnTo>
                        <a:pt x="102" y="338"/>
                      </a:lnTo>
                      <a:lnTo>
                        <a:pt x="85" y="329"/>
                      </a:lnTo>
                      <a:lnTo>
                        <a:pt x="85" y="329"/>
                      </a:lnTo>
                      <a:lnTo>
                        <a:pt x="85" y="32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7" name="Freeform 560">
                  <a:extLst>
                    <a:ext uri="{FF2B5EF4-FFF2-40B4-BE49-F238E27FC236}">
                      <a16:creationId xmlns:a16="http://schemas.microsoft.com/office/drawing/2014/main" id="{8CDA54BF-053F-495B-BB79-138EC8E93DA7}"/>
                    </a:ext>
                  </a:extLst>
                </p:cNvPr>
                <p:cNvSpPr>
                  <a:spLocks noEditPoints="1"/>
                </p:cNvSpPr>
                <p:nvPr/>
              </p:nvSpPr>
              <p:spPr bwMode="gray">
                <a:xfrm>
                  <a:off x="7027578" y="899789"/>
                  <a:ext cx="761590" cy="406775"/>
                </a:xfrm>
                <a:custGeom>
                  <a:avLst/>
                  <a:gdLst>
                    <a:gd name="T0" fmla="*/ 749 w 1850"/>
                    <a:gd name="T1" fmla="*/ 22 h 988"/>
                    <a:gd name="T2" fmla="*/ 706 w 1850"/>
                    <a:gd name="T3" fmla="*/ 17 h 988"/>
                    <a:gd name="T4" fmla="*/ 678 w 1850"/>
                    <a:gd name="T5" fmla="*/ 38 h 988"/>
                    <a:gd name="T6" fmla="*/ 959 w 1850"/>
                    <a:gd name="T7" fmla="*/ 43 h 988"/>
                    <a:gd name="T8" fmla="*/ 834 w 1850"/>
                    <a:gd name="T9" fmla="*/ 60 h 988"/>
                    <a:gd name="T10" fmla="*/ 905 w 1850"/>
                    <a:gd name="T11" fmla="*/ 71 h 988"/>
                    <a:gd name="T12" fmla="*/ 933 w 1850"/>
                    <a:gd name="T13" fmla="*/ 78 h 988"/>
                    <a:gd name="T14" fmla="*/ 1013 w 1850"/>
                    <a:gd name="T15" fmla="*/ 78 h 988"/>
                    <a:gd name="T16" fmla="*/ 1082 w 1850"/>
                    <a:gd name="T17" fmla="*/ 187 h 988"/>
                    <a:gd name="T18" fmla="*/ 921 w 1850"/>
                    <a:gd name="T19" fmla="*/ 260 h 988"/>
                    <a:gd name="T20" fmla="*/ 690 w 1850"/>
                    <a:gd name="T21" fmla="*/ 187 h 988"/>
                    <a:gd name="T22" fmla="*/ 586 w 1850"/>
                    <a:gd name="T23" fmla="*/ 128 h 988"/>
                    <a:gd name="T24" fmla="*/ 657 w 1850"/>
                    <a:gd name="T25" fmla="*/ 95 h 988"/>
                    <a:gd name="T26" fmla="*/ 728 w 1850"/>
                    <a:gd name="T27" fmla="*/ 78 h 988"/>
                    <a:gd name="T28" fmla="*/ 825 w 1850"/>
                    <a:gd name="T29" fmla="*/ 133 h 988"/>
                    <a:gd name="T30" fmla="*/ 980 w 1850"/>
                    <a:gd name="T31" fmla="*/ 60 h 988"/>
                    <a:gd name="T32" fmla="*/ 586 w 1850"/>
                    <a:gd name="T33" fmla="*/ 78 h 988"/>
                    <a:gd name="T34" fmla="*/ 1481 w 1850"/>
                    <a:gd name="T35" fmla="*/ 116 h 988"/>
                    <a:gd name="T36" fmla="*/ 1219 w 1850"/>
                    <a:gd name="T37" fmla="*/ 100 h 988"/>
                    <a:gd name="T38" fmla="*/ 1843 w 1850"/>
                    <a:gd name="T39" fmla="*/ 100 h 988"/>
                    <a:gd name="T40" fmla="*/ 85 w 1850"/>
                    <a:gd name="T41" fmla="*/ 334 h 988"/>
                    <a:gd name="T42" fmla="*/ 118 w 1850"/>
                    <a:gd name="T43" fmla="*/ 244 h 988"/>
                    <a:gd name="T44" fmla="*/ 31 w 1850"/>
                    <a:gd name="T45" fmla="*/ 227 h 988"/>
                    <a:gd name="T46" fmla="*/ 85 w 1850"/>
                    <a:gd name="T47" fmla="*/ 154 h 988"/>
                    <a:gd name="T48" fmla="*/ 139 w 1850"/>
                    <a:gd name="T49" fmla="*/ 194 h 988"/>
                    <a:gd name="T50" fmla="*/ 295 w 1850"/>
                    <a:gd name="T51" fmla="*/ 154 h 988"/>
                    <a:gd name="T52" fmla="*/ 388 w 1850"/>
                    <a:gd name="T53" fmla="*/ 239 h 988"/>
                    <a:gd name="T54" fmla="*/ 458 w 1850"/>
                    <a:gd name="T55" fmla="*/ 133 h 988"/>
                    <a:gd name="T56" fmla="*/ 555 w 1850"/>
                    <a:gd name="T57" fmla="*/ 187 h 988"/>
                    <a:gd name="T58" fmla="*/ 652 w 1850"/>
                    <a:gd name="T59" fmla="*/ 350 h 988"/>
                    <a:gd name="T60" fmla="*/ 555 w 1850"/>
                    <a:gd name="T61" fmla="*/ 442 h 988"/>
                    <a:gd name="T62" fmla="*/ 480 w 1850"/>
                    <a:gd name="T63" fmla="*/ 598 h 988"/>
                    <a:gd name="T64" fmla="*/ 350 w 1850"/>
                    <a:gd name="T65" fmla="*/ 598 h 988"/>
                    <a:gd name="T66" fmla="*/ 286 w 1850"/>
                    <a:gd name="T67" fmla="*/ 520 h 988"/>
                    <a:gd name="T68" fmla="*/ 248 w 1850"/>
                    <a:gd name="T69" fmla="*/ 487 h 988"/>
                    <a:gd name="T70" fmla="*/ 265 w 1850"/>
                    <a:gd name="T71" fmla="*/ 433 h 988"/>
                    <a:gd name="T72" fmla="*/ 480 w 1850"/>
                    <a:gd name="T73" fmla="*/ 376 h 988"/>
                    <a:gd name="T74" fmla="*/ 350 w 1850"/>
                    <a:gd name="T75" fmla="*/ 350 h 988"/>
                    <a:gd name="T76" fmla="*/ 286 w 1850"/>
                    <a:gd name="T77" fmla="*/ 355 h 988"/>
                    <a:gd name="T78" fmla="*/ 227 w 1850"/>
                    <a:gd name="T79" fmla="*/ 416 h 988"/>
                    <a:gd name="T80" fmla="*/ 662 w 1850"/>
                    <a:gd name="T81" fmla="*/ 249 h 988"/>
                    <a:gd name="T82" fmla="*/ 673 w 1850"/>
                    <a:gd name="T83" fmla="*/ 282 h 988"/>
                    <a:gd name="T84" fmla="*/ 732 w 1850"/>
                    <a:gd name="T85" fmla="*/ 282 h 988"/>
                    <a:gd name="T86" fmla="*/ 1396 w 1850"/>
                    <a:gd name="T87" fmla="*/ 293 h 988"/>
                    <a:gd name="T88" fmla="*/ 1354 w 1850"/>
                    <a:gd name="T89" fmla="*/ 305 h 988"/>
                    <a:gd name="T90" fmla="*/ 47 w 1850"/>
                    <a:gd name="T91" fmla="*/ 371 h 988"/>
                    <a:gd name="T92" fmla="*/ 97 w 1850"/>
                    <a:gd name="T93" fmla="*/ 376 h 988"/>
                    <a:gd name="T94" fmla="*/ 1136 w 1850"/>
                    <a:gd name="T95" fmla="*/ 315 h 988"/>
                    <a:gd name="T96" fmla="*/ 813 w 1850"/>
                    <a:gd name="T97" fmla="*/ 355 h 988"/>
                    <a:gd name="T98" fmla="*/ 678 w 1850"/>
                    <a:gd name="T99" fmla="*/ 371 h 988"/>
                    <a:gd name="T100" fmla="*/ 841 w 1850"/>
                    <a:gd name="T101" fmla="*/ 537 h 988"/>
                    <a:gd name="T102" fmla="*/ 732 w 1850"/>
                    <a:gd name="T103" fmla="*/ 433 h 988"/>
                    <a:gd name="T104" fmla="*/ 1013 w 1850"/>
                    <a:gd name="T105" fmla="*/ 482 h 988"/>
                    <a:gd name="T106" fmla="*/ 879 w 1850"/>
                    <a:gd name="T107" fmla="*/ 560 h 988"/>
                    <a:gd name="T108" fmla="*/ 1068 w 1850"/>
                    <a:gd name="T109" fmla="*/ 648 h 988"/>
                    <a:gd name="T110" fmla="*/ 602 w 1850"/>
                    <a:gd name="T111" fmla="*/ 988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50" h="988">
                      <a:moveTo>
                        <a:pt x="728" y="17"/>
                      </a:moveTo>
                      <a:lnTo>
                        <a:pt x="711" y="0"/>
                      </a:lnTo>
                      <a:lnTo>
                        <a:pt x="744" y="5"/>
                      </a:lnTo>
                      <a:lnTo>
                        <a:pt x="728" y="17"/>
                      </a:lnTo>
                      <a:lnTo>
                        <a:pt x="728" y="17"/>
                      </a:lnTo>
                      <a:lnTo>
                        <a:pt x="728" y="17"/>
                      </a:lnTo>
                      <a:close/>
                      <a:moveTo>
                        <a:pt x="749" y="22"/>
                      </a:moveTo>
                      <a:lnTo>
                        <a:pt x="744" y="17"/>
                      </a:lnTo>
                      <a:lnTo>
                        <a:pt x="765" y="17"/>
                      </a:lnTo>
                      <a:lnTo>
                        <a:pt x="749" y="22"/>
                      </a:lnTo>
                      <a:lnTo>
                        <a:pt x="749" y="22"/>
                      </a:lnTo>
                      <a:lnTo>
                        <a:pt x="749" y="22"/>
                      </a:lnTo>
                      <a:close/>
                      <a:moveTo>
                        <a:pt x="716" y="22"/>
                      </a:moveTo>
                      <a:lnTo>
                        <a:pt x="706" y="17"/>
                      </a:lnTo>
                      <a:lnTo>
                        <a:pt x="728" y="22"/>
                      </a:lnTo>
                      <a:lnTo>
                        <a:pt x="716" y="22"/>
                      </a:lnTo>
                      <a:lnTo>
                        <a:pt x="716" y="22"/>
                      </a:lnTo>
                      <a:lnTo>
                        <a:pt x="716" y="22"/>
                      </a:lnTo>
                      <a:close/>
                      <a:moveTo>
                        <a:pt x="673" y="43"/>
                      </a:moveTo>
                      <a:lnTo>
                        <a:pt x="657" y="43"/>
                      </a:lnTo>
                      <a:lnTo>
                        <a:pt x="678" y="38"/>
                      </a:lnTo>
                      <a:lnTo>
                        <a:pt x="673" y="43"/>
                      </a:lnTo>
                      <a:lnTo>
                        <a:pt x="673" y="43"/>
                      </a:lnTo>
                      <a:lnTo>
                        <a:pt x="673" y="43"/>
                      </a:lnTo>
                      <a:close/>
                      <a:moveTo>
                        <a:pt x="959" y="43"/>
                      </a:moveTo>
                      <a:lnTo>
                        <a:pt x="976" y="43"/>
                      </a:lnTo>
                      <a:lnTo>
                        <a:pt x="947" y="43"/>
                      </a:lnTo>
                      <a:lnTo>
                        <a:pt x="959" y="43"/>
                      </a:lnTo>
                      <a:lnTo>
                        <a:pt x="959" y="43"/>
                      </a:lnTo>
                      <a:lnTo>
                        <a:pt x="959" y="43"/>
                      </a:lnTo>
                      <a:close/>
                      <a:moveTo>
                        <a:pt x="834" y="128"/>
                      </a:moveTo>
                      <a:lnTo>
                        <a:pt x="841" y="83"/>
                      </a:lnTo>
                      <a:lnTo>
                        <a:pt x="851" y="78"/>
                      </a:lnTo>
                      <a:lnTo>
                        <a:pt x="834" y="71"/>
                      </a:lnTo>
                      <a:lnTo>
                        <a:pt x="834" y="60"/>
                      </a:lnTo>
                      <a:lnTo>
                        <a:pt x="858" y="55"/>
                      </a:lnTo>
                      <a:lnTo>
                        <a:pt x="858" y="71"/>
                      </a:lnTo>
                      <a:lnTo>
                        <a:pt x="867" y="71"/>
                      </a:lnTo>
                      <a:lnTo>
                        <a:pt x="872" y="43"/>
                      </a:lnTo>
                      <a:lnTo>
                        <a:pt x="905" y="55"/>
                      </a:lnTo>
                      <a:lnTo>
                        <a:pt x="888" y="60"/>
                      </a:lnTo>
                      <a:lnTo>
                        <a:pt x="905" y="71"/>
                      </a:lnTo>
                      <a:lnTo>
                        <a:pt x="888" y="83"/>
                      </a:lnTo>
                      <a:lnTo>
                        <a:pt x="879" y="100"/>
                      </a:lnTo>
                      <a:lnTo>
                        <a:pt x="888" y="112"/>
                      </a:lnTo>
                      <a:lnTo>
                        <a:pt x="910" y="95"/>
                      </a:lnTo>
                      <a:lnTo>
                        <a:pt x="926" y="100"/>
                      </a:lnTo>
                      <a:lnTo>
                        <a:pt x="933" y="95"/>
                      </a:lnTo>
                      <a:lnTo>
                        <a:pt x="933" y="78"/>
                      </a:lnTo>
                      <a:lnTo>
                        <a:pt x="980" y="78"/>
                      </a:lnTo>
                      <a:lnTo>
                        <a:pt x="964" y="71"/>
                      </a:lnTo>
                      <a:lnTo>
                        <a:pt x="997" y="78"/>
                      </a:lnTo>
                      <a:lnTo>
                        <a:pt x="980" y="83"/>
                      </a:lnTo>
                      <a:lnTo>
                        <a:pt x="985" y="83"/>
                      </a:lnTo>
                      <a:lnTo>
                        <a:pt x="1013" y="71"/>
                      </a:lnTo>
                      <a:lnTo>
                        <a:pt x="1013" y="78"/>
                      </a:lnTo>
                      <a:lnTo>
                        <a:pt x="1002" y="83"/>
                      </a:lnTo>
                      <a:lnTo>
                        <a:pt x="1039" y="78"/>
                      </a:lnTo>
                      <a:lnTo>
                        <a:pt x="1035" y="83"/>
                      </a:lnTo>
                      <a:lnTo>
                        <a:pt x="1174" y="112"/>
                      </a:lnTo>
                      <a:lnTo>
                        <a:pt x="1165" y="133"/>
                      </a:lnTo>
                      <a:lnTo>
                        <a:pt x="1181" y="138"/>
                      </a:lnTo>
                      <a:lnTo>
                        <a:pt x="1082" y="187"/>
                      </a:lnTo>
                      <a:lnTo>
                        <a:pt x="1089" y="206"/>
                      </a:lnTo>
                      <a:lnTo>
                        <a:pt x="1073" y="223"/>
                      </a:lnTo>
                      <a:lnTo>
                        <a:pt x="1035" y="239"/>
                      </a:lnTo>
                      <a:lnTo>
                        <a:pt x="1002" y="227"/>
                      </a:lnTo>
                      <a:lnTo>
                        <a:pt x="976" y="239"/>
                      </a:lnTo>
                      <a:lnTo>
                        <a:pt x="959" y="260"/>
                      </a:lnTo>
                      <a:lnTo>
                        <a:pt x="921" y="260"/>
                      </a:lnTo>
                      <a:lnTo>
                        <a:pt x="858" y="239"/>
                      </a:lnTo>
                      <a:lnTo>
                        <a:pt x="872" y="223"/>
                      </a:lnTo>
                      <a:lnTo>
                        <a:pt x="728" y="227"/>
                      </a:lnTo>
                      <a:lnTo>
                        <a:pt x="728" y="211"/>
                      </a:lnTo>
                      <a:lnTo>
                        <a:pt x="690" y="211"/>
                      </a:lnTo>
                      <a:lnTo>
                        <a:pt x="640" y="187"/>
                      </a:lnTo>
                      <a:lnTo>
                        <a:pt x="690" y="187"/>
                      </a:lnTo>
                      <a:lnTo>
                        <a:pt x="749" y="194"/>
                      </a:lnTo>
                      <a:lnTo>
                        <a:pt x="706" y="182"/>
                      </a:lnTo>
                      <a:lnTo>
                        <a:pt x="803" y="171"/>
                      </a:lnTo>
                      <a:lnTo>
                        <a:pt x="834" y="154"/>
                      </a:lnTo>
                      <a:lnTo>
                        <a:pt x="586" y="171"/>
                      </a:lnTo>
                      <a:lnTo>
                        <a:pt x="539" y="138"/>
                      </a:lnTo>
                      <a:lnTo>
                        <a:pt x="586" y="128"/>
                      </a:lnTo>
                      <a:lnTo>
                        <a:pt x="517" y="112"/>
                      </a:lnTo>
                      <a:lnTo>
                        <a:pt x="581" y="95"/>
                      </a:lnTo>
                      <a:lnTo>
                        <a:pt x="624" y="112"/>
                      </a:lnTo>
                      <a:lnTo>
                        <a:pt x="640" y="100"/>
                      </a:lnTo>
                      <a:lnTo>
                        <a:pt x="619" y="95"/>
                      </a:lnTo>
                      <a:lnTo>
                        <a:pt x="602" y="71"/>
                      </a:lnTo>
                      <a:lnTo>
                        <a:pt x="657" y="95"/>
                      </a:lnTo>
                      <a:lnTo>
                        <a:pt x="657" y="78"/>
                      </a:lnTo>
                      <a:lnTo>
                        <a:pt x="662" y="60"/>
                      </a:lnTo>
                      <a:lnTo>
                        <a:pt x="636" y="55"/>
                      </a:lnTo>
                      <a:lnTo>
                        <a:pt x="652" y="43"/>
                      </a:lnTo>
                      <a:lnTo>
                        <a:pt x="706" y="60"/>
                      </a:lnTo>
                      <a:lnTo>
                        <a:pt x="711" y="78"/>
                      </a:lnTo>
                      <a:lnTo>
                        <a:pt x="728" y="78"/>
                      </a:lnTo>
                      <a:lnTo>
                        <a:pt x="728" y="83"/>
                      </a:lnTo>
                      <a:lnTo>
                        <a:pt x="728" y="95"/>
                      </a:lnTo>
                      <a:lnTo>
                        <a:pt x="803" y="83"/>
                      </a:lnTo>
                      <a:lnTo>
                        <a:pt x="803" y="95"/>
                      </a:lnTo>
                      <a:lnTo>
                        <a:pt x="782" y="112"/>
                      </a:lnTo>
                      <a:lnTo>
                        <a:pt x="803" y="100"/>
                      </a:lnTo>
                      <a:lnTo>
                        <a:pt x="825" y="133"/>
                      </a:lnTo>
                      <a:lnTo>
                        <a:pt x="834" y="128"/>
                      </a:lnTo>
                      <a:lnTo>
                        <a:pt x="834" y="128"/>
                      </a:lnTo>
                      <a:lnTo>
                        <a:pt x="834" y="128"/>
                      </a:lnTo>
                      <a:close/>
                      <a:moveTo>
                        <a:pt x="976" y="60"/>
                      </a:moveTo>
                      <a:lnTo>
                        <a:pt x="959" y="60"/>
                      </a:lnTo>
                      <a:lnTo>
                        <a:pt x="964" y="55"/>
                      </a:lnTo>
                      <a:lnTo>
                        <a:pt x="980" y="60"/>
                      </a:lnTo>
                      <a:lnTo>
                        <a:pt x="976" y="60"/>
                      </a:lnTo>
                      <a:lnTo>
                        <a:pt x="976" y="60"/>
                      </a:lnTo>
                      <a:lnTo>
                        <a:pt x="976" y="60"/>
                      </a:lnTo>
                      <a:close/>
                      <a:moveTo>
                        <a:pt x="565" y="83"/>
                      </a:moveTo>
                      <a:lnTo>
                        <a:pt x="539" y="78"/>
                      </a:lnTo>
                      <a:lnTo>
                        <a:pt x="555" y="71"/>
                      </a:lnTo>
                      <a:lnTo>
                        <a:pt x="586" y="78"/>
                      </a:lnTo>
                      <a:lnTo>
                        <a:pt x="565" y="83"/>
                      </a:lnTo>
                      <a:lnTo>
                        <a:pt x="565" y="83"/>
                      </a:lnTo>
                      <a:lnTo>
                        <a:pt x="565" y="83"/>
                      </a:lnTo>
                      <a:close/>
                      <a:moveTo>
                        <a:pt x="1481" y="116"/>
                      </a:moveTo>
                      <a:lnTo>
                        <a:pt x="1472" y="112"/>
                      </a:lnTo>
                      <a:lnTo>
                        <a:pt x="1628" y="95"/>
                      </a:lnTo>
                      <a:lnTo>
                        <a:pt x="1481" y="116"/>
                      </a:lnTo>
                      <a:lnTo>
                        <a:pt x="1481" y="116"/>
                      </a:lnTo>
                      <a:lnTo>
                        <a:pt x="1481" y="116"/>
                      </a:lnTo>
                      <a:close/>
                      <a:moveTo>
                        <a:pt x="1219" y="100"/>
                      </a:moveTo>
                      <a:lnTo>
                        <a:pt x="1233" y="100"/>
                      </a:lnTo>
                      <a:lnTo>
                        <a:pt x="1212" y="112"/>
                      </a:lnTo>
                      <a:lnTo>
                        <a:pt x="1219" y="100"/>
                      </a:lnTo>
                      <a:lnTo>
                        <a:pt x="1219" y="100"/>
                      </a:lnTo>
                      <a:lnTo>
                        <a:pt x="1219" y="100"/>
                      </a:lnTo>
                      <a:close/>
                      <a:moveTo>
                        <a:pt x="1843" y="100"/>
                      </a:moveTo>
                      <a:lnTo>
                        <a:pt x="1838" y="100"/>
                      </a:lnTo>
                      <a:lnTo>
                        <a:pt x="1850" y="100"/>
                      </a:lnTo>
                      <a:lnTo>
                        <a:pt x="1843" y="100"/>
                      </a:lnTo>
                      <a:lnTo>
                        <a:pt x="1843" y="100"/>
                      </a:lnTo>
                      <a:lnTo>
                        <a:pt x="1843" y="100"/>
                      </a:lnTo>
                      <a:close/>
                      <a:moveTo>
                        <a:pt x="227" y="416"/>
                      </a:moveTo>
                      <a:lnTo>
                        <a:pt x="177" y="409"/>
                      </a:lnTo>
                      <a:lnTo>
                        <a:pt x="173" y="393"/>
                      </a:lnTo>
                      <a:lnTo>
                        <a:pt x="135" y="371"/>
                      </a:lnTo>
                      <a:lnTo>
                        <a:pt x="194" y="360"/>
                      </a:lnTo>
                      <a:lnTo>
                        <a:pt x="102" y="350"/>
                      </a:lnTo>
                      <a:lnTo>
                        <a:pt x="85" y="334"/>
                      </a:lnTo>
                      <a:lnTo>
                        <a:pt x="102" y="315"/>
                      </a:lnTo>
                      <a:lnTo>
                        <a:pt x="64" y="293"/>
                      </a:lnTo>
                      <a:lnTo>
                        <a:pt x="151" y="298"/>
                      </a:lnTo>
                      <a:lnTo>
                        <a:pt x="139" y="293"/>
                      </a:lnTo>
                      <a:lnTo>
                        <a:pt x="106" y="293"/>
                      </a:lnTo>
                      <a:lnTo>
                        <a:pt x="97" y="277"/>
                      </a:lnTo>
                      <a:lnTo>
                        <a:pt x="118" y="244"/>
                      </a:lnTo>
                      <a:lnTo>
                        <a:pt x="102" y="249"/>
                      </a:lnTo>
                      <a:lnTo>
                        <a:pt x="85" y="239"/>
                      </a:lnTo>
                      <a:lnTo>
                        <a:pt x="80" y="244"/>
                      </a:lnTo>
                      <a:lnTo>
                        <a:pt x="97" y="260"/>
                      </a:lnTo>
                      <a:lnTo>
                        <a:pt x="52" y="277"/>
                      </a:lnTo>
                      <a:lnTo>
                        <a:pt x="47" y="249"/>
                      </a:lnTo>
                      <a:lnTo>
                        <a:pt x="31" y="227"/>
                      </a:lnTo>
                      <a:lnTo>
                        <a:pt x="31" y="211"/>
                      </a:lnTo>
                      <a:lnTo>
                        <a:pt x="14" y="194"/>
                      </a:lnTo>
                      <a:lnTo>
                        <a:pt x="52" y="194"/>
                      </a:lnTo>
                      <a:lnTo>
                        <a:pt x="31" y="194"/>
                      </a:lnTo>
                      <a:lnTo>
                        <a:pt x="64" y="187"/>
                      </a:lnTo>
                      <a:lnTo>
                        <a:pt x="52" y="166"/>
                      </a:lnTo>
                      <a:lnTo>
                        <a:pt x="85" y="154"/>
                      </a:lnTo>
                      <a:lnTo>
                        <a:pt x="135" y="182"/>
                      </a:lnTo>
                      <a:lnTo>
                        <a:pt x="135" y="171"/>
                      </a:lnTo>
                      <a:lnTo>
                        <a:pt x="123" y="154"/>
                      </a:lnTo>
                      <a:lnTo>
                        <a:pt x="156" y="166"/>
                      </a:lnTo>
                      <a:lnTo>
                        <a:pt x="241" y="149"/>
                      </a:lnTo>
                      <a:lnTo>
                        <a:pt x="248" y="166"/>
                      </a:lnTo>
                      <a:lnTo>
                        <a:pt x="139" y="194"/>
                      </a:lnTo>
                      <a:lnTo>
                        <a:pt x="215" y="194"/>
                      </a:lnTo>
                      <a:lnTo>
                        <a:pt x="203" y="211"/>
                      </a:lnTo>
                      <a:lnTo>
                        <a:pt x="227" y="211"/>
                      </a:lnTo>
                      <a:lnTo>
                        <a:pt x="258" y="244"/>
                      </a:lnTo>
                      <a:lnTo>
                        <a:pt x="265" y="239"/>
                      </a:lnTo>
                      <a:lnTo>
                        <a:pt x="241" y="206"/>
                      </a:lnTo>
                      <a:lnTo>
                        <a:pt x="295" y="154"/>
                      </a:lnTo>
                      <a:lnTo>
                        <a:pt x="338" y="187"/>
                      </a:lnTo>
                      <a:lnTo>
                        <a:pt x="354" y="239"/>
                      </a:lnTo>
                      <a:lnTo>
                        <a:pt x="376" y="249"/>
                      </a:lnTo>
                      <a:lnTo>
                        <a:pt x="371" y="265"/>
                      </a:lnTo>
                      <a:lnTo>
                        <a:pt x="376" y="260"/>
                      </a:lnTo>
                      <a:lnTo>
                        <a:pt x="425" y="305"/>
                      </a:lnTo>
                      <a:lnTo>
                        <a:pt x="388" y="239"/>
                      </a:lnTo>
                      <a:lnTo>
                        <a:pt x="366" y="154"/>
                      </a:lnTo>
                      <a:lnTo>
                        <a:pt x="404" y="149"/>
                      </a:lnTo>
                      <a:lnTo>
                        <a:pt x="388" y="133"/>
                      </a:lnTo>
                      <a:lnTo>
                        <a:pt x="409" y="116"/>
                      </a:lnTo>
                      <a:lnTo>
                        <a:pt x="430" y="116"/>
                      </a:lnTo>
                      <a:lnTo>
                        <a:pt x="447" y="149"/>
                      </a:lnTo>
                      <a:lnTo>
                        <a:pt x="458" y="133"/>
                      </a:lnTo>
                      <a:lnTo>
                        <a:pt x="480" y="138"/>
                      </a:lnTo>
                      <a:lnTo>
                        <a:pt x="539" y="171"/>
                      </a:lnTo>
                      <a:lnTo>
                        <a:pt x="517" y="187"/>
                      </a:lnTo>
                      <a:lnTo>
                        <a:pt x="513" y="206"/>
                      </a:lnTo>
                      <a:lnTo>
                        <a:pt x="517" y="223"/>
                      </a:lnTo>
                      <a:lnTo>
                        <a:pt x="501" y="227"/>
                      </a:lnTo>
                      <a:lnTo>
                        <a:pt x="555" y="187"/>
                      </a:lnTo>
                      <a:lnTo>
                        <a:pt x="586" y="211"/>
                      </a:lnTo>
                      <a:lnTo>
                        <a:pt x="593" y="260"/>
                      </a:lnTo>
                      <a:lnTo>
                        <a:pt x="652" y="265"/>
                      </a:lnTo>
                      <a:lnTo>
                        <a:pt x="662" y="282"/>
                      </a:lnTo>
                      <a:lnTo>
                        <a:pt x="782" y="315"/>
                      </a:lnTo>
                      <a:lnTo>
                        <a:pt x="765" y="350"/>
                      </a:lnTo>
                      <a:lnTo>
                        <a:pt x="652" y="350"/>
                      </a:lnTo>
                      <a:lnTo>
                        <a:pt x="640" y="355"/>
                      </a:lnTo>
                      <a:lnTo>
                        <a:pt x="652" y="371"/>
                      </a:lnTo>
                      <a:lnTo>
                        <a:pt x="593" y="371"/>
                      </a:lnTo>
                      <a:lnTo>
                        <a:pt x="602" y="388"/>
                      </a:lnTo>
                      <a:lnTo>
                        <a:pt x="602" y="404"/>
                      </a:lnTo>
                      <a:lnTo>
                        <a:pt x="610" y="433"/>
                      </a:lnTo>
                      <a:lnTo>
                        <a:pt x="555" y="442"/>
                      </a:lnTo>
                      <a:lnTo>
                        <a:pt x="555" y="466"/>
                      </a:lnTo>
                      <a:lnTo>
                        <a:pt x="565" y="482"/>
                      </a:lnTo>
                      <a:lnTo>
                        <a:pt x="548" y="520"/>
                      </a:lnTo>
                      <a:lnTo>
                        <a:pt x="513" y="537"/>
                      </a:lnTo>
                      <a:lnTo>
                        <a:pt x="484" y="593"/>
                      </a:lnTo>
                      <a:lnTo>
                        <a:pt x="463" y="593"/>
                      </a:lnTo>
                      <a:lnTo>
                        <a:pt x="480" y="598"/>
                      </a:lnTo>
                      <a:lnTo>
                        <a:pt x="458" y="631"/>
                      </a:lnTo>
                      <a:lnTo>
                        <a:pt x="475" y="648"/>
                      </a:lnTo>
                      <a:lnTo>
                        <a:pt x="447" y="664"/>
                      </a:lnTo>
                      <a:lnTo>
                        <a:pt x="354" y="615"/>
                      </a:lnTo>
                      <a:lnTo>
                        <a:pt x="425" y="598"/>
                      </a:lnTo>
                      <a:lnTo>
                        <a:pt x="392" y="582"/>
                      </a:lnTo>
                      <a:lnTo>
                        <a:pt x="350" y="598"/>
                      </a:lnTo>
                      <a:lnTo>
                        <a:pt x="324" y="577"/>
                      </a:lnTo>
                      <a:lnTo>
                        <a:pt x="286" y="577"/>
                      </a:lnTo>
                      <a:lnTo>
                        <a:pt x="265" y="553"/>
                      </a:lnTo>
                      <a:lnTo>
                        <a:pt x="241" y="520"/>
                      </a:lnTo>
                      <a:lnTo>
                        <a:pt x="269" y="515"/>
                      </a:lnTo>
                      <a:lnTo>
                        <a:pt x="286" y="515"/>
                      </a:lnTo>
                      <a:lnTo>
                        <a:pt x="286" y="520"/>
                      </a:lnTo>
                      <a:lnTo>
                        <a:pt x="371" y="520"/>
                      </a:lnTo>
                      <a:lnTo>
                        <a:pt x="404" y="537"/>
                      </a:lnTo>
                      <a:lnTo>
                        <a:pt x="409" y="527"/>
                      </a:lnTo>
                      <a:lnTo>
                        <a:pt x="300" y="499"/>
                      </a:lnTo>
                      <a:lnTo>
                        <a:pt x="447" y="471"/>
                      </a:lnTo>
                      <a:lnTo>
                        <a:pt x="463" y="461"/>
                      </a:lnTo>
                      <a:lnTo>
                        <a:pt x="248" y="487"/>
                      </a:lnTo>
                      <a:lnTo>
                        <a:pt x="232" y="482"/>
                      </a:lnTo>
                      <a:lnTo>
                        <a:pt x="241" y="471"/>
                      </a:lnTo>
                      <a:lnTo>
                        <a:pt x="227" y="466"/>
                      </a:lnTo>
                      <a:lnTo>
                        <a:pt x="227" y="442"/>
                      </a:lnTo>
                      <a:lnTo>
                        <a:pt x="248" y="433"/>
                      </a:lnTo>
                      <a:lnTo>
                        <a:pt x="269" y="449"/>
                      </a:lnTo>
                      <a:lnTo>
                        <a:pt x="265" y="433"/>
                      </a:lnTo>
                      <a:lnTo>
                        <a:pt x="317" y="426"/>
                      </a:lnTo>
                      <a:lnTo>
                        <a:pt x="338" y="409"/>
                      </a:lnTo>
                      <a:lnTo>
                        <a:pt x="371" y="409"/>
                      </a:lnTo>
                      <a:lnTo>
                        <a:pt x="366" y="404"/>
                      </a:lnTo>
                      <a:lnTo>
                        <a:pt x="371" y="393"/>
                      </a:lnTo>
                      <a:lnTo>
                        <a:pt x="442" y="393"/>
                      </a:lnTo>
                      <a:lnTo>
                        <a:pt x="480" y="376"/>
                      </a:lnTo>
                      <a:lnTo>
                        <a:pt x="409" y="376"/>
                      </a:lnTo>
                      <a:lnTo>
                        <a:pt x="447" y="338"/>
                      </a:lnTo>
                      <a:lnTo>
                        <a:pt x="425" y="334"/>
                      </a:lnTo>
                      <a:lnTo>
                        <a:pt x="392" y="371"/>
                      </a:lnTo>
                      <a:lnTo>
                        <a:pt x="354" y="376"/>
                      </a:lnTo>
                      <a:lnTo>
                        <a:pt x="333" y="355"/>
                      </a:lnTo>
                      <a:lnTo>
                        <a:pt x="350" y="350"/>
                      </a:lnTo>
                      <a:lnTo>
                        <a:pt x="354" y="322"/>
                      </a:lnTo>
                      <a:lnTo>
                        <a:pt x="350" y="315"/>
                      </a:lnTo>
                      <a:lnTo>
                        <a:pt x="324" y="355"/>
                      </a:lnTo>
                      <a:lnTo>
                        <a:pt x="312" y="350"/>
                      </a:lnTo>
                      <a:lnTo>
                        <a:pt x="312" y="334"/>
                      </a:lnTo>
                      <a:lnTo>
                        <a:pt x="286" y="338"/>
                      </a:lnTo>
                      <a:lnTo>
                        <a:pt x="286" y="355"/>
                      </a:lnTo>
                      <a:lnTo>
                        <a:pt x="279" y="371"/>
                      </a:lnTo>
                      <a:lnTo>
                        <a:pt x="300" y="388"/>
                      </a:lnTo>
                      <a:lnTo>
                        <a:pt x="279" y="388"/>
                      </a:lnTo>
                      <a:lnTo>
                        <a:pt x="269" y="393"/>
                      </a:lnTo>
                      <a:lnTo>
                        <a:pt x="227" y="416"/>
                      </a:lnTo>
                      <a:lnTo>
                        <a:pt x="227" y="416"/>
                      </a:lnTo>
                      <a:lnTo>
                        <a:pt x="227" y="416"/>
                      </a:lnTo>
                      <a:close/>
                      <a:moveTo>
                        <a:pt x="26" y="182"/>
                      </a:moveTo>
                      <a:lnTo>
                        <a:pt x="14" y="171"/>
                      </a:lnTo>
                      <a:lnTo>
                        <a:pt x="47" y="182"/>
                      </a:lnTo>
                      <a:lnTo>
                        <a:pt x="26" y="182"/>
                      </a:lnTo>
                      <a:lnTo>
                        <a:pt x="26" y="182"/>
                      </a:lnTo>
                      <a:lnTo>
                        <a:pt x="26" y="182"/>
                      </a:lnTo>
                      <a:close/>
                      <a:moveTo>
                        <a:pt x="662" y="249"/>
                      </a:moveTo>
                      <a:lnTo>
                        <a:pt x="673" y="239"/>
                      </a:lnTo>
                      <a:lnTo>
                        <a:pt x="678" y="239"/>
                      </a:lnTo>
                      <a:lnTo>
                        <a:pt x="662" y="249"/>
                      </a:lnTo>
                      <a:lnTo>
                        <a:pt x="662" y="249"/>
                      </a:lnTo>
                      <a:lnTo>
                        <a:pt x="662" y="249"/>
                      </a:lnTo>
                      <a:close/>
                      <a:moveTo>
                        <a:pt x="695" y="293"/>
                      </a:moveTo>
                      <a:lnTo>
                        <a:pt x="673" y="282"/>
                      </a:lnTo>
                      <a:lnTo>
                        <a:pt x="690" y="265"/>
                      </a:lnTo>
                      <a:lnTo>
                        <a:pt x="728" y="277"/>
                      </a:lnTo>
                      <a:lnTo>
                        <a:pt x="695" y="293"/>
                      </a:lnTo>
                      <a:lnTo>
                        <a:pt x="695" y="293"/>
                      </a:lnTo>
                      <a:lnTo>
                        <a:pt x="695" y="293"/>
                      </a:lnTo>
                      <a:close/>
                      <a:moveTo>
                        <a:pt x="744" y="282"/>
                      </a:moveTo>
                      <a:lnTo>
                        <a:pt x="732" y="282"/>
                      </a:lnTo>
                      <a:lnTo>
                        <a:pt x="761" y="282"/>
                      </a:lnTo>
                      <a:lnTo>
                        <a:pt x="744" y="282"/>
                      </a:lnTo>
                      <a:lnTo>
                        <a:pt x="744" y="282"/>
                      </a:lnTo>
                      <a:lnTo>
                        <a:pt x="744" y="282"/>
                      </a:lnTo>
                      <a:close/>
                      <a:moveTo>
                        <a:pt x="1391" y="293"/>
                      </a:moveTo>
                      <a:lnTo>
                        <a:pt x="1375" y="293"/>
                      </a:lnTo>
                      <a:lnTo>
                        <a:pt x="1396" y="293"/>
                      </a:lnTo>
                      <a:lnTo>
                        <a:pt x="1391" y="293"/>
                      </a:lnTo>
                      <a:lnTo>
                        <a:pt x="1391" y="293"/>
                      </a:lnTo>
                      <a:lnTo>
                        <a:pt x="1391" y="293"/>
                      </a:lnTo>
                      <a:close/>
                      <a:moveTo>
                        <a:pt x="1233" y="315"/>
                      </a:moveTo>
                      <a:lnTo>
                        <a:pt x="1233" y="305"/>
                      </a:lnTo>
                      <a:lnTo>
                        <a:pt x="1257" y="298"/>
                      </a:lnTo>
                      <a:lnTo>
                        <a:pt x="1354" y="305"/>
                      </a:lnTo>
                      <a:lnTo>
                        <a:pt x="1321" y="315"/>
                      </a:lnTo>
                      <a:lnTo>
                        <a:pt x="1288" y="298"/>
                      </a:lnTo>
                      <a:lnTo>
                        <a:pt x="1233" y="315"/>
                      </a:lnTo>
                      <a:lnTo>
                        <a:pt x="1233" y="315"/>
                      </a:lnTo>
                      <a:lnTo>
                        <a:pt x="1233" y="315"/>
                      </a:lnTo>
                      <a:close/>
                      <a:moveTo>
                        <a:pt x="118" y="416"/>
                      </a:moveTo>
                      <a:lnTo>
                        <a:pt x="47" y="371"/>
                      </a:lnTo>
                      <a:lnTo>
                        <a:pt x="10" y="322"/>
                      </a:lnTo>
                      <a:lnTo>
                        <a:pt x="0" y="305"/>
                      </a:lnTo>
                      <a:lnTo>
                        <a:pt x="43" y="315"/>
                      </a:lnTo>
                      <a:lnTo>
                        <a:pt x="52" y="334"/>
                      </a:lnTo>
                      <a:lnTo>
                        <a:pt x="47" y="334"/>
                      </a:lnTo>
                      <a:lnTo>
                        <a:pt x="52" y="360"/>
                      </a:lnTo>
                      <a:lnTo>
                        <a:pt x="97" y="376"/>
                      </a:lnTo>
                      <a:lnTo>
                        <a:pt x="118" y="404"/>
                      </a:lnTo>
                      <a:lnTo>
                        <a:pt x="118" y="416"/>
                      </a:lnTo>
                      <a:lnTo>
                        <a:pt x="118" y="416"/>
                      </a:lnTo>
                      <a:lnTo>
                        <a:pt x="118" y="416"/>
                      </a:lnTo>
                      <a:close/>
                      <a:moveTo>
                        <a:pt x="1143" y="350"/>
                      </a:moveTo>
                      <a:lnTo>
                        <a:pt x="1120" y="322"/>
                      </a:lnTo>
                      <a:lnTo>
                        <a:pt x="1136" y="315"/>
                      </a:lnTo>
                      <a:lnTo>
                        <a:pt x="1165" y="338"/>
                      </a:lnTo>
                      <a:lnTo>
                        <a:pt x="1143" y="350"/>
                      </a:lnTo>
                      <a:lnTo>
                        <a:pt x="1143" y="350"/>
                      </a:lnTo>
                      <a:lnTo>
                        <a:pt x="1143" y="350"/>
                      </a:lnTo>
                      <a:close/>
                      <a:moveTo>
                        <a:pt x="678" y="371"/>
                      </a:moveTo>
                      <a:lnTo>
                        <a:pt x="761" y="350"/>
                      </a:lnTo>
                      <a:lnTo>
                        <a:pt x="813" y="355"/>
                      </a:lnTo>
                      <a:lnTo>
                        <a:pt x="825" y="371"/>
                      </a:lnTo>
                      <a:lnTo>
                        <a:pt x="825" y="404"/>
                      </a:lnTo>
                      <a:lnTo>
                        <a:pt x="716" y="416"/>
                      </a:lnTo>
                      <a:lnTo>
                        <a:pt x="728" y="404"/>
                      </a:lnTo>
                      <a:lnTo>
                        <a:pt x="706" y="393"/>
                      </a:lnTo>
                      <a:lnTo>
                        <a:pt x="716" y="388"/>
                      </a:lnTo>
                      <a:lnTo>
                        <a:pt x="678" y="371"/>
                      </a:lnTo>
                      <a:lnTo>
                        <a:pt x="678" y="371"/>
                      </a:lnTo>
                      <a:lnTo>
                        <a:pt x="678" y="371"/>
                      </a:lnTo>
                      <a:close/>
                      <a:moveTo>
                        <a:pt x="858" y="560"/>
                      </a:moveTo>
                      <a:lnTo>
                        <a:pt x="841" y="560"/>
                      </a:lnTo>
                      <a:lnTo>
                        <a:pt x="841" y="553"/>
                      </a:lnTo>
                      <a:lnTo>
                        <a:pt x="851" y="544"/>
                      </a:lnTo>
                      <a:lnTo>
                        <a:pt x="841" y="537"/>
                      </a:lnTo>
                      <a:lnTo>
                        <a:pt x="867" y="515"/>
                      </a:lnTo>
                      <a:lnTo>
                        <a:pt x="732" y="527"/>
                      </a:lnTo>
                      <a:lnTo>
                        <a:pt x="732" y="515"/>
                      </a:lnTo>
                      <a:lnTo>
                        <a:pt x="761" y="504"/>
                      </a:lnTo>
                      <a:lnTo>
                        <a:pt x="761" y="487"/>
                      </a:lnTo>
                      <a:lnTo>
                        <a:pt x="787" y="461"/>
                      </a:lnTo>
                      <a:lnTo>
                        <a:pt x="732" y="433"/>
                      </a:lnTo>
                      <a:lnTo>
                        <a:pt x="879" y="409"/>
                      </a:lnTo>
                      <a:lnTo>
                        <a:pt x="910" y="416"/>
                      </a:lnTo>
                      <a:lnTo>
                        <a:pt x="888" y="433"/>
                      </a:lnTo>
                      <a:lnTo>
                        <a:pt x="888" y="449"/>
                      </a:lnTo>
                      <a:lnTo>
                        <a:pt x="926" y="466"/>
                      </a:lnTo>
                      <a:lnTo>
                        <a:pt x="976" y="466"/>
                      </a:lnTo>
                      <a:lnTo>
                        <a:pt x="1013" y="482"/>
                      </a:lnTo>
                      <a:lnTo>
                        <a:pt x="964" y="499"/>
                      </a:lnTo>
                      <a:lnTo>
                        <a:pt x="933" y="527"/>
                      </a:lnTo>
                      <a:lnTo>
                        <a:pt x="858" y="560"/>
                      </a:lnTo>
                      <a:lnTo>
                        <a:pt x="858" y="560"/>
                      </a:lnTo>
                      <a:lnTo>
                        <a:pt x="858" y="560"/>
                      </a:lnTo>
                      <a:close/>
                      <a:moveTo>
                        <a:pt x="888" y="560"/>
                      </a:moveTo>
                      <a:lnTo>
                        <a:pt x="879" y="560"/>
                      </a:lnTo>
                      <a:lnTo>
                        <a:pt x="905" y="560"/>
                      </a:lnTo>
                      <a:lnTo>
                        <a:pt x="888" y="560"/>
                      </a:lnTo>
                      <a:lnTo>
                        <a:pt x="888" y="560"/>
                      </a:lnTo>
                      <a:lnTo>
                        <a:pt x="888" y="560"/>
                      </a:lnTo>
                      <a:close/>
                      <a:moveTo>
                        <a:pt x="1018" y="688"/>
                      </a:moveTo>
                      <a:lnTo>
                        <a:pt x="1018" y="681"/>
                      </a:lnTo>
                      <a:lnTo>
                        <a:pt x="1068" y="648"/>
                      </a:lnTo>
                      <a:lnTo>
                        <a:pt x="1018" y="688"/>
                      </a:lnTo>
                      <a:lnTo>
                        <a:pt x="1018" y="688"/>
                      </a:lnTo>
                      <a:lnTo>
                        <a:pt x="1018" y="688"/>
                      </a:lnTo>
                      <a:close/>
                      <a:moveTo>
                        <a:pt x="602" y="988"/>
                      </a:moveTo>
                      <a:lnTo>
                        <a:pt x="586" y="969"/>
                      </a:lnTo>
                      <a:lnTo>
                        <a:pt x="619" y="969"/>
                      </a:lnTo>
                      <a:lnTo>
                        <a:pt x="602" y="988"/>
                      </a:lnTo>
                      <a:lnTo>
                        <a:pt x="602" y="988"/>
                      </a:lnTo>
                      <a:lnTo>
                        <a:pt x="602" y="98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8" name="Freeform 561">
                  <a:extLst>
                    <a:ext uri="{FF2B5EF4-FFF2-40B4-BE49-F238E27FC236}">
                      <a16:creationId xmlns:a16="http://schemas.microsoft.com/office/drawing/2014/main" id="{EC982035-13B7-4140-8CA4-E7C1B818FBCA}"/>
                    </a:ext>
                  </a:extLst>
                </p:cNvPr>
                <p:cNvSpPr>
                  <a:spLocks noEditPoints="1"/>
                </p:cNvSpPr>
                <p:nvPr/>
              </p:nvSpPr>
              <p:spPr bwMode="gray">
                <a:xfrm>
                  <a:off x="7046927" y="1597236"/>
                  <a:ext cx="377501" cy="633219"/>
                </a:xfrm>
                <a:custGeom>
                  <a:avLst/>
                  <a:gdLst>
                    <a:gd name="T0" fmla="*/ 69 w 917"/>
                    <a:gd name="T1" fmla="*/ 1065 h 1538"/>
                    <a:gd name="T2" fmla="*/ 69 w 917"/>
                    <a:gd name="T3" fmla="*/ 860 h 1538"/>
                    <a:gd name="T4" fmla="*/ 76 w 917"/>
                    <a:gd name="T5" fmla="*/ 666 h 1538"/>
                    <a:gd name="T6" fmla="*/ 211 w 917"/>
                    <a:gd name="T7" fmla="*/ 555 h 1538"/>
                    <a:gd name="T8" fmla="*/ 274 w 917"/>
                    <a:gd name="T9" fmla="*/ 357 h 1538"/>
                    <a:gd name="T10" fmla="*/ 378 w 917"/>
                    <a:gd name="T11" fmla="*/ 177 h 1538"/>
                    <a:gd name="T12" fmla="*/ 485 w 917"/>
                    <a:gd name="T13" fmla="*/ 66 h 1538"/>
                    <a:gd name="T14" fmla="*/ 648 w 917"/>
                    <a:gd name="T15" fmla="*/ 12 h 1538"/>
                    <a:gd name="T16" fmla="*/ 865 w 917"/>
                    <a:gd name="T17" fmla="*/ 151 h 1538"/>
                    <a:gd name="T18" fmla="*/ 903 w 917"/>
                    <a:gd name="T19" fmla="*/ 279 h 1538"/>
                    <a:gd name="T20" fmla="*/ 903 w 917"/>
                    <a:gd name="T21" fmla="*/ 362 h 1538"/>
                    <a:gd name="T22" fmla="*/ 794 w 917"/>
                    <a:gd name="T23" fmla="*/ 395 h 1538"/>
                    <a:gd name="T24" fmla="*/ 778 w 917"/>
                    <a:gd name="T25" fmla="*/ 428 h 1538"/>
                    <a:gd name="T26" fmla="*/ 740 w 917"/>
                    <a:gd name="T27" fmla="*/ 465 h 1538"/>
                    <a:gd name="T28" fmla="*/ 697 w 917"/>
                    <a:gd name="T29" fmla="*/ 510 h 1538"/>
                    <a:gd name="T30" fmla="*/ 697 w 917"/>
                    <a:gd name="T31" fmla="*/ 593 h 1538"/>
                    <a:gd name="T32" fmla="*/ 589 w 917"/>
                    <a:gd name="T33" fmla="*/ 666 h 1538"/>
                    <a:gd name="T34" fmla="*/ 546 w 917"/>
                    <a:gd name="T35" fmla="*/ 695 h 1538"/>
                    <a:gd name="T36" fmla="*/ 501 w 917"/>
                    <a:gd name="T37" fmla="*/ 749 h 1538"/>
                    <a:gd name="T38" fmla="*/ 480 w 917"/>
                    <a:gd name="T39" fmla="*/ 761 h 1538"/>
                    <a:gd name="T40" fmla="*/ 463 w 917"/>
                    <a:gd name="T41" fmla="*/ 806 h 1538"/>
                    <a:gd name="T42" fmla="*/ 447 w 917"/>
                    <a:gd name="T43" fmla="*/ 877 h 1538"/>
                    <a:gd name="T44" fmla="*/ 433 w 917"/>
                    <a:gd name="T45" fmla="*/ 910 h 1538"/>
                    <a:gd name="T46" fmla="*/ 480 w 917"/>
                    <a:gd name="T47" fmla="*/ 988 h 1538"/>
                    <a:gd name="T48" fmla="*/ 539 w 917"/>
                    <a:gd name="T49" fmla="*/ 1044 h 1538"/>
                    <a:gd name="T50" fmla="*/ 555 w 917"/>
                    <a:gd name="T51" fmla="*/ 1082 h 1538"/>
                    <a:gd name="T52" fmla="*/ 470 w 917"/>
                    <a:gd name="T53" fmla="*/ 1110 h 1538"/>
                    <a:gd name="T54" fmla="*/ 454 w 917"/>
                    <a:gd name="T55" fmla="*/ 1099 h 1538"/>
                    <a:gd name="T56" fmla="*/ 454 w 917"/>
                    <a:gd name="T57" fmla="*/ 1110 h 1538"/>
                    <a:gd name="T58" fmla="*/ 395 w 917"/>
                    <a:gd name="T59" fmla="*/ 1110 h 1538"/>
                    <a:gd name="T60" fmla="*/ 437 w 917"/>
                    <a:gd name="T61" fmla="*/ 1132 h 1538"/>
                    <a:gd name="T62" fmla="*/ 534 w 917"/>
                    <a:gd name="T63" fmla="*/ 1122 h 1538"/>
                    <a:gd name="T64" fmla="*/ 454 w 917"/>
                    <a:gd name="T65" fmla="*/ 1172 h 1538"/>
                    <a:gd name="T66" fmla="*/ 383 w 917"/>
                    <a:gd name="T67" fmla="*/ 1205 h 1538"/>
                    <a:gd name="T68" fmla="*/ 383 w 917"/>
                    <a:gd name="T69" fmla="*/ 1266 h 1538"/>
                    <a:gd name="T70" fmla="*/ 383 w 917"/>
                    <a:gd name="T71" fmla="*/ 1304 h 1538"/>
                    <a:gd name="T72" fmla="*/ 371 w 917"/>
                    <a:gd name="T73" fmla="*/ 1403 h 1538"/>
                    <a:gd name="T74" fmla="*/ 215 w 917"/>
                    <a:gd name="T75" fmla="*/ 1486 h 1538"/>
                    <a:gd name="T76" fmla="*/ 130 w 917"/>
                    <a:gd name="T77" fmla="*/ 1538 h 1538"/>
                    <a:gd name="T78" fmla="*/ 123 w 917"/>
                    <a:gd name="T79" fmla="*/ 1427 h 1538"/>
                    <a:gd name="T80" fmla="*/ 69 w 917"/>
                    <a:gd name="T81" fmla="*/ 1321 h 1538"/>
                    <a:gd name="T82" fmla="*/ 55 w 917"/>
                    <a:gd name="T83" fmla="*/ 1299 h 1538"/>
                    <a:gd name="T84" fmla="*/ 5 w 917"/>
                    <a:gd name="T85" fmla="*/ 1226 h 1538"/>
                    <a:gd name="T86" fmla="*/ 31 w 917"/>
                    <a:gd name="T87" fmla="*/ 1172 h 1538"/>
                    <a:gd name="T88" fmla="*/ 485 w 917"/>
                    <a:gd name="T89" fmla="*/ 761 h 1538"/>
                    <a:gd name="T90" fmla="*/ 447 w 917"/>
                    <a:gd name="T91" fmla="*/ 789 h 1538"/>
                    <a:gd name="T92" fmla="*/ 508 w 917"/>
                    <a:gd name="T93" fmla="*/ 999 h 1538"/>
                    <a:gd name="T94" fmla="*/ 534 w 917"/>
                    <a:gd name="T95" fmla="*/ 1099 h 1538"/>
                    <a:gd name="T96" fmla="*/ 433 w 917"/>
                    <a:gd name="T97" fmla="*/ 1115 h 1538"/>
                    <a:gd name="T98" fmla="*/ 447 w 917"/>
                    <a:gd name="T99" fmla="*/ 1115 h 1538"/>
                    <a:gd name="T100" fmla="*/ 522 w 917"/>
                    <a:gd name="T101" fmla="*/ 1132 h 1538"/>
                    <a:gd name="T102" fmla="*/ 577 w 917"/>
                    <a:gd name="T103" fmla="*/ 1226 h 1538"/>
                    <a:gd name="T104" fmla="*/ 38 w 917"/>
                    <a:gd name="T105" fmla="*/ 1238 h 1538"/>
                    <a:gd name="T106" fmla="*/ 48 w 917"/>
                    <a:gd name="T107" fmla="*/ 1259 h 1538"/>
                    <a:gd name="T108" fmla="*/ 560 w 917"/>
                    <a:gd name="T109" fmla="*/ 1283 h 1538"/>
                    <a:gd name="T110" fmla="*/ 560 w 917"/>
                    <a:gd name="T111" fmla="*/ 1283 h 1538"/>
                    <a:gd name="T112" fmla="*/ 508 w 917"/>
                    <a:gd name="T113" fmla="*/ 1354 h 1538"/>
                    <a:gd name="T114" fmla="*/ 555 w 917"/>
                    <a:gd name="T115" fmla="*/ 1276 h 1538"/>
                    <a:gd name="T116" fmla="*/ 426 w 917"/>
                    <a:gd name="T117" fmla="*/ 1337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7" h="1538">
                      <a:moveTo>
                        <a:pt x="31" y="1172"/>
                      </a:moveTo>
                      <a:lnTo>
                        <a:pt x="48" y="1132"/>
                      </a:lnTo>
                      <a:lnTo>
                        <a:pt x="38" y="1099"/>
                      </a:lnTo>
                      <a:lnTo>
                        <a:pt x="55" y="1082"/>
                      </a:lnTo>
                      <a:lnTo>
                        <a:pt x="48" y="1065"/>
                      </a:lnTo>
                      <a:lnTo>
                        <a:pt x="69" y="1065"/>
                      </a:lnTo>
                      <a:lnTo>
                        <a:pt x="92" y="1044"/>
                      </a:lnTo>
                      <a:lnTo>
                        <a:pt x="107" y="1004"/>
                      </a:lnTo>
                      <a:lnTo>
                        <a:pt x="76" y="943"/>
                      </a:lnTo>
                      <a:lnTo>
                        <a:pt x="107" y="943"/>
                      </a:lnTo>
                      <a:lnTo>
                        <a:pt x="123" y="910"/>
                      </a:lnTo>
                      <a:lnTo>
                        <a:pt x="69" y="860"/>
                      </a:lnTo>
                      <a:lnTo>
                        <a:pt x="85" y="806"/>
                      </a:lnTo>
                      <a:lnTo>
                        <a:pt x="69" y="765"/>
                      </a:lnTo>
                      <a:lnTo>
                        <a:pt x="59" y="732"/>
                      </a:lnTo>
                      <a:lnTo>
                        <a:pt x="76" y="721"/>
                      </a:lnTo>
                      <a:lnTo>
                        <a:pt x="59" y="695"/>
                      </a:lnTo>
                      <a:lnTo>
                        <a:pt x="76" y="666"/>
                      </a:lnTo>
                      <a:lnTo>
                        <a:pt x="69" y="654"/>
                      </a:lnTo>
                      <a:lnTo>
                        <a:pt x="107" y="617"/>
                      </a:lnTo>
                      <a:lnTo>
                        <a:pt x="130" y="600"/>
                      </a:lnTo>
                      <a:lnTo>
                        <a:pt x="199" y="612"/>
                      </a:lnTo>
                      <a:lnTo>
                        <a:pt x="215" y="584"/>
                      </a:lnTo>
                      <a:lnTo>
                        <a:pt x="211" y="555"/>
                      </a:lnTo>
                      <a:lnTo>
                        <a:pt x="178" y="543"/>
                      </a:lnTo>
                      <a:lnTo>
                        <a:pt x="237" y="456"/>
                      </a:lnTo>
                      <a:lnTo>
                        <a:pt x="237" y="428"/>
                      </a:lnTo>
                      <a:lnTo>
                        <a:pt x="248" y="395"/>
                      </a:lnTo>
                      <a:lnTo>
                        <a:pt x="237" y="362"/>
                      </a:lnTo>
                      <a:lnTo>
                        <a:pt x="274" y="357"/>
                      </a:lnTo>
                      <a:lnTo>
                        <a:pt x="307" y="338"/>
                      </a:lnTo>
                      <a:lnTo>
                        <a:pt x="303" y="317"/>
                      </a:lnTo>
                      <a:lnTo>
                        <a:pt x="371" y="251"/>
                      </a:lnTo>
                      <a:lnTo>
                        <a:pt x="371" y="229"/>
                      </a:lnTo>
                      <a:lnTo>
                        <a:pt x="345" y="206"/>
                      </a:lnTo>
                      <a:lnTo>
                        <a:pt x="378" y="177"/>
                      </a:lnTo>
                      <a:lnTo>
                        <a:pt x="395" y="140"/>
                      </a:lnTo>
                      <a:lnTo>
                        <a:pt x="433" y="118"/>
                      </a:lnTo>
                      <a:lnTo>
                        <a:pt x="480" y="140"/>
                      </a:lnTo>
                      <a:lnTo>
                        <a:pt x="492" y="111"/>
                      </a:lnTo>
                      <a:lnTo>
                        <a:pt x="485" y="78"/>
                      </a:lnTo>
                      <a:lnTo>
                        <a:pt x="485" y="66"/>
                      </a:lnTo>
                      <a:lnTo>
                        <a:pt x="546" y="66"/>
                      </a:lnTo>
                      <a:lnTo>
                        <a:pt x="615" y="95"/>
                      </a:lnTo>
                      <a:lnTo>
                        <a:pt x="643" y="66"/>
                      </a:lnTo>
                      <a:lnTo>
                        <a:pt x="615" y="62"/>
                      </a:lnTo>
                      <a:lnTo>
                        <a:pt x="648" y="28"/>
                      </a:lnTo>
                      <a:lnTo>
                        <a:pt x="648" y="12"/>
                      </a:lnTo>
                      <a:lnTo>
                        <a:pt x="631" y="0"/>
                      </a:lnTo>
                      <a:lnTo>
                        <a:pt x="664" y="0"/>
                      </a:lnTo>
                      <a:lnTo>
                        <a:pt x="766" y="66"/>
                      </a:lnTo>
                      <a:lnTo>
                        <a:pt x="827" y="83"/>
                      </a:lnTo>
                      <a:lnTo>
                        <a:pt x="879" y="140"/>
                      </a:lnTo>
                      <a:lnTo>
                        <a:pt x="865" y="151"/>
                      </a:lnTo>
                      <a:lnTo>
                        <a:pt x="865" y="194"/>
                      </a:lnTo>
                      <a:lnTo>
                        <a:pt x="886" y="206"/>
                      </a:lnTo>
                      <a:lnTo>
                        <a:pt x="886" y="222"/>
                      </a:lnTo>
                      <a:lnTo>
                        <a:pt x="879" y="222"/>
                      </a:lnTo>
                      <a:lnTo>
                        <a:pt x="874" y="234"/>
                      </a:lnTo>
                      <a:lnTo>
                        <a:pt x="903" y="279"/>
                      </a:lnTo>
                      <a:lnTo>
                        <a:pt x="896" y="284"/>
                      </a:lnTo>
                      <a:lnTo>
                        <a:pt x="896" y="305"/>
                      </a:lnTo>
                      <a:lnTo>
                        <a:pt x="879" y="321"/>
                      </a:lnTo>
                      <a:lnTo>
                        <a:pt x="879" y="338"/>
                      </a:lnTo>
                      <a:lnTo>
                        <a:pt x="886" y="357"/>
                      </a:lnTo>
                      <a:lnTo>
                        <a:pt x="903" y="362"/>
                      </a:lnTo>
                      <a:lnTo>
                        <a:pt x="917" y="395"/>
                      </a:lnTo>
                      <a:lnTo>
                        <a:pt x="848" y="399"/>
                      </a:lnTo>
                      <a:lnTo>
                        <a:pt x="841" y="411"/>
                      </a:lnTo>
                      <a:lnTo>
                        <a:pt x="811" y="390"/>
                      </a:lnTo>
                      <a:lnTo>
                        <a:pt x="811" y="399"/>
                      </a:lnTo>
                      <a:lnTo>
                        <a:pt x="794" y="395"/>
                      </a:lnTo>
                      <a:lnTo>
                        <a:pt x="789" y="395"/>
                      </a:lnTo>
                      <a:lnTo>
                        <a:pt x="778" y="416"/>
                      </a:lnTo>
                      <a:lnTo>
                        <a:pt x="794" y="416"/>
                      </a:lnTo>
                      <a:lnTo>
                        <a:pt x="794" y="428"/>
                      </a:lnTo>
                      <a:lnTo>
                        <a:pt x="752" y="411"/>
                      </a:lnTo>
                      <a:lnTo>
                        <a:pt x="778" y="428"/>
                      </a:lnTo>
                      <a:lnTo>
                        <a:pt x="756" y="432"/>
                      </a:lnTo>
                      <a:lnTo>
                        <a:pt x="766" y="444"/>
                      </a:lnTo>
                      <a:lnTo>
                        <a:pt x="756" y="449"/>
                      </a:lnTo>
                      <a:lnTo>
                        <a:pt x="723" y="449"/>
                      </a:lnTo>
                      <a:lnTo>
                        <a:pt x="740" y="456"/>
                      </a:lnTo>
                      <a:lnTo>
                        <a:pt x="740" y="465"/>
                      </a:lnTo>
                      <a:lnTo>
                        <a:pt x="711" y="449"/>
                      </a:lnTo>
                      <a:lnTo>
                        <a:pt x="740" y="473"/>
                      </a:lnTo>
                      <a:lnTo>
                        <a:pt x="735" y="489"/>
                      </a:lnTo>
                      <a:lnTo>
                        <a:pt x="711" y="501"/>
                      </a:lnTo>
                      <a:lnTo>
                        <a:pt x="711" y="510"/>
                      </a:lnTo>
                      <a:lnTo>
                        <a:pt x="697" y="510"/>
                      </a:lnTo>
                      <a:lnTo>
                        <a:pt x="718" y="522"/>
                      </a:lnTo>
                      <a:lnTo>
                        <a:pt x="718" y="527"/>
                      </a:lnTo>
                      <a:lnTo>
                        <a:pt x="702" y="527"/>
                      </a:lnTo>
                      <a:lnTo>
                        <a:pt x="735" y="543"/>
                      </a:lnTo>
                      <a:lnTo>
                        <a:pt x="735" y="560"/>
                      </a:lnTo>
                      <a:lnTo>
                        <a:pt x="697" y="593"/>
                      </a:lnTo>
                      <a:lnTo>
                        <a:pt x="681" y="621"/>
                      </a:lnTo>
                      <a:lnTo>
                        <a:pt x="659" y="633"/>
                      </a:lnTo>
                      <a:lnTo>
                        <a:pt x="648" y="650"/>
                      </a:lnTo>
                      <a:lnTo>
                        <a:pt x="615" y="654"/>
                      </a:lnTo>
                      <a:lnTo>
                        <a:pt x="605" y="671"/>
                      </a:lnTo>
                      <a:lnTo>
                        <a:pt x="589" y="666"/>
                      </a:lnTo>
                      <a:lnTo>
                        <a:pt x="589" y="671"/>
                      </a:lnTo>
                      <a:lnTo>
                        <a:pt x="572" y="671"/>
                      </a:lnTo>
                      <a:lnTo>
                        <a:pt x="572" y="688"/>
                      </a:lnTo>
                      <a:lnTo>
                        <a:pt x="555" y="695"/>
                      </a:lnTo>
                      <a:lnTo>
                        <a:pt x="555" y="704"/>
                      </a:lnTo>
                      <a:lnTo>
                        <a:pt x="546" y="695"/>
                      </a:lnTo>
                      <a:lnTo>
                        <a:pt x="539" y="695"/>
                      </a:lnTo>
                      <a:lnTo>
                        <a:pt x="546" y="704"/>
                      </a:lnTo>
                      <a:lnTo>
                        <a:pt x="534" y="704"/>
                      </a:lnTo>
                      <a:lnTo>
                        <a:pt x="501" y="721"/>
                      </a:lnTo>
                      <a:lnTo>
                        <a:pt x="522" y="728"/>
                      </a:lnTo>
                      <a:lnTo>
                        <a:pt x="501" y="749"/>
                      </a:lnTo>
                      <a:lnTo>
                        <a:pt x="480" y="744"/>
                      </a:lnTo>
                      <a:lnTo>
                        <a:pt x="470" y="728"/>
                      </a:lnTo>
                      <a:lnTo>
                        <a:pt x="463" y="728"/>
                      </a:lnTo>
                      <a:lnTo>
                        <a:pt x="485" y="749"/>
                      </a:lnTo>
                      <a:lnTo>
                        <a:pt x="485" y="761"/>
                      </a:lnTo>
                      <a:lnTo>
                        <a:pt x="480" y="761"/>
                      </a:lnTo>
                      <a:lnTo>
                        <a:pt x="485" y="765"/>
                      </a:lnTo>
                      <a:lnTo>
                        <a:pt x="463" y="782"/>
                      </a:lnTo>
                      <a:lnTo>
                        <a:pt x="437" y="777"/>
                      </a:lnTo>
                      <a:lnTo>
                        <a:pt x="437" y="782"/>
                      </a:lnTo>
                      <a:lnTo>
                        <a:pt x="437" y="799"/>
                      </a:lnTo>
                      <a:lnTo>
                        <a:pt x="463" y="806"/>
                      </a:lnTo>
                      <a:lnTo>
                        <a:pt x="447" y="806"/>
                      </a:lnTo>
                      <a:lnTo>
                        <a:pt x="447" y="839"/>
                      </a:lnTo>
                      <a:lnTo>
                        <a:pt x="437" y="839"/>
                      </a:lnTo>
                      <a:lnTo>
                        <a:pt x="437" y="855"/>
                      </a:lnTo>
                      <a:lnTo>
                        <a:pt x="447" y="872"/>
                      </a:lnTo>
                      <a:lnTo>
                        <a:pt x="447" y="877"/>
                      </a:lnTo>
                      <a:lnTo>
                        <a:pt x="426" y="872"/>
                      </a:lnTo>
                      <a:lnTo>
                        <a:pt x="433" y="872"/>
                      </a:lnTo>
                      <a:lnTo>
                        <a:pt x="416" y="877"/>
                      </a:lnTo>
                      <a:lnTo>
                        <a:pt x="433" y="893"/>
                      </a:lnTo>
                      <a:lnTo>
                        <a:pt x="416" y="900"/>
                      </a:lnTo>
                      <a:lnTo>
                        <a:pt x="433" y="910"/>
                      </a:lnTo>
                      <a:lnTo>
                        <a:pt x="426" y="950"/>
                      </a:lnTo>
                      <a:lnTo>
                        <a:pt x="433" y="966"/>
                      </a:lnTo>
                      <a:lnTo>
                        <a:pt x="433" y="983"/>
                      </a:lnTo>
                      <a:lnTo>
                        <a:pt x="454" y="988"/>
                      </a:lnTo>
                      <a:lnTo>
                        <a:pt x="463" y="999"/>
                      </a:lnTo>
                      <a:lnTo>
                        <a:pt x="480" y="988"/>
                      </a:lnTo>
                      <a:lnTo>
                        <a:pt x="501" y="1021"/>
                      </a:lnTo>
                      <a:lnTo>
                        <a:pt x="518" y="1021"/>
                      </a:lnTo>
                      <a:lnTo>
                        <a:pt x="522" y="1028"/>
                      </a:lnTo>
                      <a:lnTo>
                        <a:pt x="508" y="1021"/>
                      </a:lnTo>
                      <a:lnTo>
                        <a:pt x="508" y="1037"/>
                      </a:lnTo>
                      <a:lnTo>
                        <a:pt x="539" y="1044"/>
                      </a:lnTo>
                      <a:lnTo>
                        <a:pt x="546" y="1061"/>
                      </a:lnTo>
                      <a:lnTo>
                        <a:pt x="555" y="1065"/>
                      </a:lnTo>
                      <a:lnTo>
                        <a:pt x="555" y="1077"/>
                      </a:lnTo>
                      <a:lnTo>
                        <a:pt x="546" y="1065"/>
                      </a:lnTo>
                      <a:lnTo>
                        <a:pt x="539" y="1077"/>
                      </a:lnTo>
                      <a:lnTo>
                        <a:pt x="555" y="1082"/>
                      </a:lnTo>
                      <a:lnTo>
                        <a:pt x="501" y="1110"/>
                      </a:lnTo>
                      <a:lnTo>
                        <a:pt x="508" y="1115"/>
                      </a:lnTo>
                      <a:lnTo>
                        <a:pt x="492" y="1115"/>
                      </a:lnTo>
                      <a:lnTo>
                        <a:pt x="485" y="1122"/>
                      </a:lnTo>
                      <a:lnTo>
                        <a:pt x="470" y="1115"/>
                      </a:lnTo>
                      <a:lnTo>
                        <a:pt x="470" y="1110"/>
                      </a:lnTo>
                      <a:lnTo>
                        <a:pt x="463" y="1094"/>
                      </a:lnTo>
                      <a:lnTo>
                        <a:pt x="454" y="1094"/>
                      </a:lnTo>
                      <a:lnTo>
                        <a:pt x="463" y="1082"/>
                      </a:lnTo>
                      <a:lnTo>
                        <a:pt x="454" y="1077"/>
                      </a:lnTo>
                      <a:lnTo>
                        <a:pt x="447" y="1094"/>
                      </a:lnTo>
                      <a:lnTo>
                        <a:pt x="454" y="1099"/>
                      </a:lnTo>
                      <a:lnTo>
                        <a:pt x="447" y="1082"/>
                      </a:lnTo>
                      <a:lnTo>
                        <a:pt x="454" y="1082"/>
                      </a:lnTo>
                      <a:lnTo>
                        <a:pt x="454" y="1094"/>
                      </a:lnTo>
                      <a:lnTo>
                        <a:pt x="470" y="1099"/>
                      </a:lnTo>
                      <a:lnTo>
                        <a:pt x="463" y="1115"/>
                      </a:lnTo>
                      <a:lnTo>
                        <a:pt x="454" y="1110"/>
                      </a:lnTo>
                      <a:lnTo>
                        <a:pt x="437" y="1094"/>
                      </a:lnTo>
                      <a:lnTo>
                        <a:pt x="437" y="1110"/>
                      </a:lnTo>
                      <a:lnTo>
                        <a:pt x="378" y="1099"/>
                      </a:lnTo>
                      <a:lnTo>
                        <a:pt x="378" y="1110"/>
                      </a:lnTo>
                      <a:lnTo>
                        <a:pt x="345" y="1110"/>
                      </a:lnTo>
                      <a:lnTo>
                        <a:pt x="395" y="1110"/>
                      </a:lnTo>
                      <a:lnTo>
                        <a:pt x="409" y="1122"/>
                      </a:lnTo>
                      <a:lnTo>
                        <a:pt x="395" y="1110"/>
                      </a:lnTo>
                      <a:lnTo>
                        <a:pt x="400" y="1110"/>
                      </a:lnTo>
                      <a:lnTo>
                        <a:pt x="433" y="1122"/>
                      </a:lnTo>
                      <a:lnTo>
                        <a:pt x="433" y="1132"/>
                      </a:lnTo>
                      <a:lnTo>
                        <a:pt x="437" y="1132"/>
                      </a:lnTo>
                      <a:lnTo>
                        <a:pt x="437" y="1122"/>
                      </a:lnTo>
                      <a:lnTo>
                        <a:pt x="470" y="1132"/>
                      </a:lnTo>
                      <a:lnTo>
                        <a:pt x="501" y="1122"/>
                      </a:lnTo>
                      <a:lnTo>
                        <a:pt x="518" y="1122"/>
                      </a:lnTo>
                      <a:lnTo>
                        <a:pt x="518" y="1115"/>
                      </a:lnTo>
                      <a:lnTo>
                        <a:pt x="534" y="1122"/>
                      </a:lnTo>
                      <a:lnTo>
                        <a:pt x="501" y="1132"/>
                      </a:lnTo>
                      <a:lnTo>
                        <a:pt x="501" y="1148"/>
                      </a:lnTo>
                      <a:lnTo>
                        <a:pt x="485" y="1155"/>
                      </a:lnTo>
                      <a:lnTo>
                        <a:pt x="480" y="1181"/>
                      </a:lnTo>
                      <a:lnTo>
                        <a:pt x="463" y="1139"/>
                      </a:lnTo>
                      <a:lnTo>
                        <a:pt x="454" y="1172"/>
                      </a:lnTo>
                      <a:lnTo>
                        <a:pt x="437" y="1188"/>
                      </a:lnTo>
                      <a:lnTo>
                        <a:pt x="416" y="1188"/>
                      </a:lnTo>
                      <a:lnTo>
                        <a:pt x="426" y="1193"/>
                      </a:lnTo>
                      <a:lnTo>
                        <a:pt x="409" y="1205"/>
                      </a:lnTo>
                      <a:lnTo>
                        <a:pt x="357" y="1205"/>
                      </a:lnTo>
                      <a:lnTo>
                        <a:pt x="383" y="1205"/>
                      </a:lnTo>
                      <a:lnTo>
                        <a:pt x="409" y="1221"/>
                      </a:lnTo>
                      <a:lnTo>
                        <a:pt x="371" y="1221"/>
                      </a:lnTo>
                      <a:lnTo>
                        <a:pt x="395" y="1226"/>
                      </a:lnTo>
                      <a:lnTo>
                        <a:pt x="400" y="1243"/>
                      </a:lnTo>
                      <a:lnTo>
                        <a:pt x="395" y="1266"/>
                      </a:lnTo>
                      <a:lnTo>
                        <a:pt x="383" y="1266"/>
                      </a:lnTo>
                      <a:lnTo>
                        <a:pt x="395" y="1283"/>
                      </a:lnTo>
                      <a:lnTo>
                        <a:pt x="378" y="1266"/>
                      </a:lnTo>
                      <a:lnTo>
                        <a:pt x="395" y="1292"/>
                      </a:lnTo>
                      <a:lnTo>
                        <a:pt x="371" y="1276"/>
                      </a:lnTo>
                      <a:lnTo>
                        <a:pt x="395" y="1299"/>
                      </a:lnTo>
                      <a:lnTo>
                        <a:pt x="383" y="1304"/>
                      </a:lnTo>
                      <a:lnTo>
                        <a:pt x="395" y="1321"/>
                      </a:lnTo>
                      <a:lnTo>
                        <a:pt x="378" y="1337"/>
                      </a:lnTo>
                      <a:lnTo>
                        <a:pt x="378" y="1354"/>
                      </a:lnTo>
                      <a:lnTo>
                        <a:pt x="383" y="1358"/>
                      </a:lnTo>
                      <a:lnTo>
                        <a:pt x="378" y="1370"/>
                      </a:lnTo>
                      <a:lnTo>
                        <a:pt x="371" y="1403"/>
                      </a:lnTo>
                      <a:lnTo>
                        <a:pt x="329" y="1465"/>
                      </a:lnTo>
                      <a:lnTo>
                        <a:pt x="319" y="1460"/>
                      </a:lnTo>
                      <a:lnTo>
                        <a:pt x="253" y="1460"/>
                      </a:lnTo>
                      <a:lnTo>
                        <a:pt x="253" y="1469"/>
                      </a:lnTo>
                      <a:lnTo>
                        <a:pt x="237" y="1465"/>
                      </a:lnTo>
                      <a:lnTo>
                        <a:pt x="215" y="1486"/>
                      </a:lnTo>
                      <a:lnTo>
                        <a:pt x="215" y="1505"/>
                      </a:lnTo>
                      <a:lnTo>
                        <a:pt x="232" y="1521"/>
                      </a:lnTo>
                      <a:lnTo>
                        <a:pt x="215" y="1538"/>
                      </a:lnTo>
                      <a:lnTo>
                        <a:pt x="182" y="1526"/>
                      </a:lnTo>
                      <a:lnTo>
                        <a:pt x="156" y="1538"/>
                      </a:lnTo>
                      <a:lnTo>
                        <a:pt x="130" y="1538"/>
                      </a:lnTo>
                      <a:lnTo>
                        <a:pt x="123" y="1521"/>
                      </a:lnTo>
                      <a:lnTo>
                        <a:pt x="140" y="1505"/>
                      </a:lnTo>
                      <a:lnTo>
                        <a:pt x="92" y="1443"/>
                      </a:lnTo>
                      <a:lnTo>
                        <a:pt x="123" y="1448"/>
                      </a:lnTo>
                      <a:lnTo>
                        <a:pt x="107" y="1432"/>
                      </a:lnTo>
                      <a:lnTo>
                        <a:pt x="123" y="1427"/>
                      </a:lnTo>
                      <a:lnTo>
                        <a:pt x="123" y="1410"/>
                      </a:lnTo>
                      <a:lnTo>
                        <a:pt x="114" y="1410"/>
                      </a:lnTo>
                      <a:lnTo>
                        <a:pt x="102" y="1387"/>
                      </a:lnTo>
                      <a:lnTo>
                        <a:pt x="85" y="1377"/>
                      </a:lnTo>
                      <a:lnTo>
                        <a:pt x="69" y="1349"/>
                      </a:lnTo>
                      <a:lnTo>
                        <a:pt x="69" y="1321"/>
                      </a:lnTo>
                      <a:lnTo>
                        <a:pt x="59" y="1321"/>
                      </a:lnTo>
                      <a:lnTo>
                        <a:pt x="59" y="1337"/>
                      </a:lnTo>
                      <a:lnTo>
                        <a:pt x="55" y="1332"/>
                      </a:lnTo>
                      <a:lnTo>
                        <a:pt x="55" y="1304"/>
                      </a:lnTo>
                      <a:lnTo>
                        <a:pt x="55" y="1299"/>
                      </a:lnTo>
                      <a:lnTo>
                        <a:pt x="55" y="1299"/>
                      </a:lnTo>
                      <a:lnTo>
                        <a:pt x="38" y="1299"/>
                      </a:lnTo>
                      <a:lnTo>
                        <a:pt x="38" y="1283"/>
                      </a:lnTo>
                      <a:lnTo>
                        <a:pt x="55" y="1243"/>
                      </a:lnTo>
                      <a:lnTo>
                        <a:pt x="48" y="1238"/>
                      </a:lnTo>
                      <a:lnTo>
                        <a:pt x="31" y="1243"/>
                      </a:lnTo>
                      <a:lnTo>
                        <a:pt x="5" y="1226"/>
                      </a:lnTo>
                      <a:lnTo>
                        <a:pt x="5" y="1181"/>
                      </a:lnTo>
                      <a:lnTo>
                        <a:pt x="0" y="1165"/>
                      </a:lnTo>
                      <a:lnTo>
                        <a:pt x="15" y="1148"/>
                      </a:lnTo>
                      <a:lnTo>
                        <a:pt x="22" y="1165"/>
                      </a:lnTo>
                      <a:lnTo>
                        <a:pt x="22" y="1172"/>
                      </a:lnTo>
                      <a:lnTo>
                        <a:pt x="31" y="1172"/>
                      </a:lnTo>
                      <a:lnTo>
                        <a:pt x="31" y="1172"/>
                      </a:lnTo>
                      <a:lnTo>
                        <a:pt x="31" y="1172"/>
                      </a:lnTo>
                      <a:close/>
                      <a:moveTo>
                        <a:pt x="485" y="761"/>
                      </a:moveTo>
                      <a:lnTo>
                        <a:pt x="485" y="749"/>
                      </a:lnTo>
                      <a:lnTo>
                        <a:pt x="492" y="749"/>
                      </a:lnTo>
                      <a:lnTo>
                        <a:pt x="485" y="761"/>
                      </a:lnTo>
                      <a:lnTo>
                        <a:pt x="485" y="761"/>
                      </a:lnTo>
                      <a:lnTo>
                        <a:pt x="485" y="761"/>
                      </a:lnTo>
                      <a:close/>
                      <a:moveTo>
                        <a:pt x="447" y="799"/>
                      </a:moveTo>
                      <a:lnTo>
                        <a:pt x="437" y="782"/>
                      </a:lnTo>
                      <a:lnTo>
                        <a:pt x="447" y="782"/>
                      </a:lnTo>
                      <a:lnTo>
                        <a:pt x="447" y="789"/>
                      </a:lnTo>
                      <a:lnTo>
                        <a:pt x="447" y="799"/>
                      </a:lnTo>
                      <a:lnTo>
                        <a:pt x="447" y="799"/>
                      </a:lnTo>
                      <a:lnTo>
                        <a:pt x="447" y="799"/>
                      </a:lnTo>
                      <a:close/>
                      <a:moveTo>
                        <a:pt x="522" y="1021"/>
                      </a:moveTo>
                      <a:lnTo>
                        <a:pt x="508" y="1011"/>
                      </a:lnTo>
                      <a:lnTo>
                        <a:pt x="508" y="999"/>
                      </a:lnTo>
                      <a:lnTo>
                        <a:pt x="522" y="1021"/>
                      </a:lnTo>
                      <a:lnTo>
                        <a:pt x="522" y="1021"/>
                      </a:lnTo>
                      <a:lnTo>
                        <a:pt x="522" y="1021"/>
                      </a:lnTo>
                      <a:close/>
                      <a:moveTo>
                        <a:pt x="522" y="1115"/>
                      </a:moveTo>
                      <a:lnTo>
                        <a:pt x="522" y="1110"/>
                      </a:lnTo>
                      <a:lnTo>
                        <a:pt x="534" y="1099"/>
                      </a:lnTo>
                      <a:lnTo>
                        <a:pt x="522" y="1115"/>
                      </a:lnTo>
                      <a:lnTo>
                        <a:pt x="522" y="1115"/>
                      </a:lnTo>
                      <a:lnTo>
                        <a:pt x="522" y="1115"/>
                      </a:lnTo>
                      <a:close/>
                      <a:moveTo>
                        <a:pt x="433" y="1122"/>
                      </a:moveTo>
                      <a:lnTo>
                        <a:pt x="416" y="1115"/>
                      </a:lnTo>
                      <a:lnTo>
                        <a:pt x="433" y="1115"/>
                      </a:lnTo>
                      <a:lnTo>
                        <a:pt x="433" y="1122"/>
                      </a:lnTo>
                      <a:lnTo>
                        <a:pt x="433" y="1122"/>
                      </a:lnTo>
                      <a:lnTo>
                        <a:pt x="433" y="1122"/>
                      </a:lnTo>
                      <a:close/>
                      <a:moveTo>
                        <a:pt x="470" y="1132"/>
                      </a:moveTo>
                      <a:lnTo>
                        <a:pt x="454" y="1132"/>
                      </a:lnTo>
                      <a:lnTo>
                        <a:pt x="447" y="1115"/>
                      </a:lnTo>
                      <a:lnTo>
                        <a:pt x="470" y="1132"/>
                      </a:lnTo>
                      <a:lnTo>
                        <a:pt x="470" y="1132"/>
                      </a:lnTo>
                      <a:lnTo>
                        <a:pt x="470" y="1132"/>
                      </a:lnTo>
                      <a:close/>
                      <a:moveTo>
                        <a:pt x="518" y="1139"/>
                      </a:moveTo>
                      <a:lnTo>
                        <a:pt x="508" y="1132"/>
                      </a:lnTo>
                      <a:lnTo>
                        <a:pt x="522" y="1132"/>
                      </a:lnTo>
                      <a:lnTo>
                        <a:pt x="518" y="1139"/>
                      </a:lnTo>
                      <a:lnTo>
                        <a:pt x="518" y="1139"/>
                      </a:lnTo>
                      <a:lnTo>
                        <a:pt x="518" y="1139"/>
                      </a:lnTo>
                      <a:close/>
                      <a:moveTo>
                        <a:pt x="572" y="1238"/>
                      </a:moveTo>
                      <a:lnTo>
                        <a:pt x="560" y="1226"/>
                      </a:lnTo>
                      <a:lnTo>
                        <a:pt x="577" y="1226"/>
                      </a:lnTo>
                      <a:lnTo>
                        <a:pt x="572" y="1238"/>
                      </a:lnTo>
                      <a:lnTo>
                        <a:pt x="572" y="1238"/>
                      </a:lnTo>
                      <a:lnTo>
                        <a:pt x="572" y="1238"/>
                      </a:lnTo>
                      <a:close/>
                      <a:moveTo>
                        <a:pt x="22" y="1259"/>
                      </a:moveTo>
                      <a:lnTo>
                        <a:pt x="22" y="1250"/>
                      </a:lnTo>
                      <a:lnTo>
                        <a:pt x="38" y="1238"/>
                      </a:lnTo>
                      <a:lnTo>
                        <a:pt x="48" y="1243"/>
                      </a:lnTo>
                      <a:lnTo>
                        <a:pt x="48" y="1250"/>
                      </a:lnTo>
                      <a:lnTo>
                        <a:pt x="22" y="1259"/>
                      </a:lnTo>
                      <a:lnTo>
                        <a:pt x="22" y="1259"/>
                      </a:lnTo>
                      <a:lnTo>
                        <a:pt x="22" y="1259"/>
                      </a:lnTo>
                      <a:close/>
                      <a:moveTo>
                        <a:pt x="48" y="1259"/>
                      </a:moveTo>
                      <a:lnTo>
                        <a:pt x="31" y="1276"/>
                      </a:lnTo>
                      <a:lnTo>
                        <a:pt x="31" y="1266"/>
                      </a:lnTo>
                      <a:lnTo>
                        <a:pt x="48" y="1259"/>
                      </a:lnTo>
                      <a:lnTo>
                        <a:pt x="48" y="1259"/>
                      </a:lnTo>
                      <a:lnTo>
                        <a:pt x="48" y="1259"/>
                      </a:lnTo>
                      <a:close/>
                      <a:moveTo>
                        <a:pt x="560" y="1283"/>
                      </a:moveTo>
                      <a:lnTo>
                        <a:pt x="555" y="1276"/>
                      </a:lnTo>
                      <a:lnTo>
                        <a:pt x="560" y="1266"/>
                      </a:lnTo>
                      <a:lnTo>
                        <a:pt x="577" y="1266"/>
                      </a:lnTo>
                      <a:lnTo>
                        <a:pt x="560" y="1276"/>
                      </a:lnTo>
                      <a:lnTo>
                        <a:pt x="560" y="1283"/>
                      </a:lnTo>
                      <a:lnTo>
                        <a:pt x="560" y="1283"/>
                      </a:lnTo>
                      <a:lnTo>
                        <a:pt x="560" y="1283"/>
                      </a:lnTo>
                      <a:close/>
                      <a:moveTo>
                        <a:pt x="555" y="1276"/>
                      </a:moveTo>
                      <a:lnTo>
                        <a:pt x="555" y="1283"/>
                      </a:lnTo>
                      <a:lnTo>
                        <a:pt x="539" y="1299"/>
                      </a:lnTo>
                      <a:lnTo>
                        <a:pt x="534" y="1349"/>
                      </a:lnTo>
                      <a:lnTo>
                        <a:pt x="508" y="1354"/>
                      </a:lnTo>
                      <a:lnTo>
                        <a:pt x="501" y="1377"/>
                      </a:lnTo>
                      <a:lnTo>
                        <a:pt x="492" y="1377"/>
                      </a:lnTo>
                      <a:lnTo>
                        <a:pt x="501" y="1370"/>
                      </a:lnTo>
                      <a:lnTo>
                        <a:pt x="492" y="1316"/>
                      </a:lnTo>
                      <a:lnTo>
                        <a:pt x="534" y="1276"/>
                      </a:lnTo>
                      <a:lnTo>
                        <a:pt x="555" y="1276"/>
                      </a:lnTo>
                      <a:lnTo>
                        <a:pt x="555" y="1276"/>
                      </a:lnTo>
                      <a:lnTo>
                        <a:pt x="555" y="1276"/>
                      </a:lnTo>
                      <a:close/>
                      <a:moveTo>
                        <a:pt x="371" y="1448"/>
                      </a:moveTo>
                      <a:lnTo>
                        <a:pt x="371" y="1410"/>
                      </a:lnTo>
                      <a:lnTo>
                        <a:pt x="409" y="1337"/>
                      </a:lnTo>
                      <a:lnTo>
                        <a:pt x="426" y="1337"/>
                      </a:lnTo>
                      <a:lnTo>
                        <a:pt x="371" y="1448"/>
                      </a:lnTo>
                      <a:lnTo>
                        <a:pt x="371" y="1448"/>
                      </a:lnTo>
                      <a:lnTo>
                        <a:pt x="371" y="144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4" name="Freeform 568">
                  <a:extLst>
                    <a:ext uri="{FF2B5EF4-FFF2-40B4-BE49-F238E27FC236}">
                      <a16:creationId xmlns:a16="http://schemas.microsoft.com/office/drawing/2014/main" id="{9921EB4B-5518-4CD9-B11A-4EE8B7900F6D}"/>
                    </a:ext>
                  </a:extLst>
                </p:cNvPr>
                <p:cNvSpPr>
                  <a:spLocks/>
                </p:cNvSpPr>
                <p:nvPr/>
              </p:nvSpPr>
              <p:spPr bwMode="gray">
                <a:xfrm>
                  <a:off x="8668084" y="2775979"/>
                  <a:ext cx="229712" cy="151924"/>
                </a:xfrm>
                <a:custGeom>
                  <a:avLst/>
                  <a:gdLst>
                    <a:gd name="T0" fmla="*/ 520 w 558"/>
                    <a:gd name="T1" fmla="*/ 302 h 369"/>
                    <a:gd name="T2" fmla="*/ 451 w 558"/>
                    <a:gd name="T3" fmla="*/ 319 h 369"/>
                    <a:gd name="T4" fmla="*/ 461 w 558"/>
                    <a:gd name="T5" fmla="*/ 314 h 369"/>
                    <a:gd name="T6" fmla="*/ 418 w 558"/>
                    <a:gd name="T7" fmla="*/ 298 h 369"/>
                    <a:gd name="T8" fmla="*/ 380 w 558"/>
                    <a:gd name="T9" fmla="*/ 335 h 369"/>
                    <a:gd name="T10" fmla="*/ 321 w 558"/>
                    <a:gd name="T11" fmla="*/ 359 h 369"/>
                    <a:gd name="T12" fmla="*/ 305 w 558"/>
                    <a:gd name="T13" fmla="*/ 359 h 369"/>
                    <a:gd name="T14" fmla="*/ 305 w 558"/>
                    <a:gd name="T15" fmla="*/ 265 h 369"/>
                    <a:gd name="T16" fmla="*/ 288 w 558"/>
                    <a:gd name="T17" fmla="*/ 232 h 369"/>
                    <a:gd name="T18" fmla="*/ 246 w 558"/>
                    <a:gd name="T19" fmla="*/ 220 h 369"/>
                    <a:gd name="T20" fmla="*/ 213 w 558"/>
                    <a:gd name="T21" fmla="*/ 281 h 369"/>
                    <a:gd name="T22" fmla="*/ 180 w 558"/>
                    <a:gd name="T23" fmla="*/ 286 h 369"/>
                    <a:gd name="T24" fmla="*/ 147 w 558"/>
                    <a:gd name="T25" fmla="*/ 302 h 369"/>
                    <a:gd name="T26" fmla="*/ 142 w 558"/>
                    <a:gd name="T27" fmla="*/ 331 h 369"/>
                    <a:gd name="T28" fmla="*/ 54 w 558"/>
                    <a:gd name="T29" fmla="*/ 343 h 369"/>
                    <a:gd name="T30" fmla="*/ 33 w 558"/>
                    <a:gd name="T31" fmla="*/ 319 h 369"/>
                    <a:gd name="T32" fmla="*/ 66 w 558"/>
                    <a:gd name="T33" fmla="*/ 260 h 369"/>
                    <a:gd name="T34" fmla="*/ 83 w 558"/>
                    <a:gd name="T35" fmla="*/ 243 h 369"/>
                    <a:gd name="T36" fmla="*/ 54 w 558"/>
                    <a:gd name="T37" fmla="*/ 187 h 369"/>
                    <a:gd name="T38" fmla="*/ 54 w 558"/>
                    <a:gd name="T39" fmla="*/ 170 h 369"/>
                    <a:gd name="T40" fmla="*/ 28 w 558"/>
                    <a:gd name="T41" fmla="*/ 165 h 369"/>
                    <a:gd name="T42" fmla="*/ 0 w 558"/>
                    <a:gd name="T43" fmla="*/ 149 h 369"/>
                    <a:gd name="T44" fmla="*/ 33 w 558"/>
                    <a:gd name="T45" fmla="*/ 116 h 369"/>
                    <a:gd name="T46" fmla="*/ 92 w 558"/>
                    <a:gd name="T47" fmla="*/ 99 h 369"/>
                    <a:gd name="T48" fmla="*/ 104 w 558"/>
                    <a:gd name="T49" fmla="*/ 83 h 369"/>
                    <a:gd name="T50" fmla="*/ 92 w 558"/>
                    <a:gd name="T51" fmla="*/ 78 h 369"/>
                    <a:gd name="T52" fmla="*/ 142 w 558"/>
                    <a:gd name="T53" fmla="*/ 45 h 369"/>
                    <a:gd name="T54" fmla="*/ 147 w 558"/>
                    <a:gd name="T55" fmla="*/ 21 h 369"/>
                    <a:gd name="T56" fmla="*/ 213 w 558"/>
                    <a:gd name="T57" fmla="*/ 12 h 369"/>
                    <a:gd name="T58" fmla="*/ 250 w 558"/>
                    <a:gd name="T59" fmla="*/ 28 h 369"/>
                    <a:gd name="T60" fmla="*/ 217 w 558"/>
                    <a:gd name="T61" fmla="*/ 54 h 369"/>
                    <a:gd name="T62" fmla="*/ 255 w 558"/>
                    <a:gd name="T63" fmla="*/ 66 h 369"/>
                    <a:gd name="T64" fmla="*/ 234 w 558"/>
                    <a:gd name="T65" fmla="*/ 78 h 369"/>
                    <a:gd name="T66" fmla="*/ 229 w 558"/>
                    <a:gd name="T67" fmla="*/ 95 h 369"/>
                    <a:gd name="T68" fmla="*/ 196 w 558"/>
                    <a:gd name="T69" fmla="*/ 66 h 369"/>
                    <a:gd name="T70" fmla="*/ 158 w 558"/>
                    <a:gd name="T71" fmla="*/ 95 h 369"/>
                    <a:gd name="T72" fmla="*/ 142 w 558"/>
                    <a:gd name="T73" fmla="*/ 83 h 369"/>
                    <a:gd name="T74" fmla="*/ 142 w 558"/>
                    <a:gd name="T75" fmla="*/ 121 h 369"/>
                    <a:gd name="T76" fmla="*/ 234 w 558"/>
                    <a:gd name="T77" fmla="*/ 121 h 369"/>
                    <a:gd name="T78" fmla="*/ 255 w 558"/>
                    <a:gd name="T79" fmla="*/ 137 h 369"/>
                    <a:gd name="T80" fmla="*/ 298 w 558"/>
                    <a:gd name="T81" fmla="*/ 121 h 369"/>
                    <a:gd name="T82" fmla="*/ 310 w 558"/>
                    <a:gd name="T83" fmla="*/ 132 h 369"/>
                    <a:gd name="T84" fmla="*/ 336 w 558"/>
                    <a:gd name="T85" fmla="*/ 137 h 369"/>
                    <a:gd name="T86" fmla="*/ 359 w 558"/>
                    <a:gd name="T87" fmla="*/ 137 h 369"/>
                    <a:gd name="T88" fmla="*/ 451 w 558"/>
                    <a:gd name="T89" fmla="*/ 132 h 369"/>
                    <a:gd name="T90" fmla="*/ 461 w 558"/>
                    <a:gd name="T91" fmla="*/ 170 h 369"/>
                    <a:gd name="T92" fmla="*/ 461 w 558"/>
                    <a:gd name="T93" fmla="*/ 203 h 369"/>
                    <a:gd name="T94" fmla="*/ 482 w 558"/>
                    <a:gd name="T95" fmla="*/ 203 h 369"/>
                    <a:gd name="T96" fmla="*/ 536 w 558"/>
                    <a:gd name="T97" fmla="*/ 220 h 369"/>
                    <a:gd name="T98" fmla="*/ 543 w 558"/>
                    <a:gd name="T99" fmla="*/ 276 h 369"/>
                    <a:gd name="T100" fmla="*/ 558 w 558"/>
                    <a:gd name="T101" fmla="*/ 302 h 369"/>
                    <a:gd name="T102" fmla="*/ 536 w 558"/>
                    <a:gd name="T103" fmla="*/ 31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58" h="369">
                      <a:moveTo>
                        <a:pt x="536" y="319"/>
                      </a:moveTo>
                      <a:lnTo>
                        <a:pt x="520" y="302"/>
                      </a:lnTo>
                      <a:lnTo>
                        <a:pt x="489" y="302"/>
                      </a:lnTo>
                      <a:lnTo>
                        <a:pt x="451" y="319"/>
                      </a:lnTo>
                      <a:lnTo>
                        <a:pt x="444" y="314"/>
                      </a:lnTo>
                      <a:lnTo>
                        <a:pt x="461" y="314"/>
                      </a:lnTo>
                      <a:lnTo>
                        <a:pt x="461" y="302"/>
                      </a:lnTo>
                      <a:lnTo>
                        <a:pt x="418" y="298"/>
                      </a:lnTo>
                      <a:lnTo>
                        <a:pt x="390" y="319"/>
                      </a:lnTo>
                      <a:lnTo>
                        <a:pt x="380" y="335"/>
                      </a:lnTo>
                      <a:lnTo>
                        <a:pt x="352" y="335"/>
                      </a:lnTo>
                      <a:lnTo>
                        <a:pt x="321" y="359"/>
                      </a:lnTo>
                      <a:lnTo>
                        <a:pt x="310" y="369"/>
                      </a:lnTo>
                      <a:lnTo>
                        <a:pt x="305" y="359"/>
                      </a:lnTo>
                      <a:lnTo>
                        <a:pt x="288" y="331"/>
                      </a:lnTo>
                      <a:lnTo>
                        <a:pt x="305" y="265"/>
                      </a:lnTo>
                      <a:lnTo>
                        <a:pt x="284" y="265"/>
                      </a:lnTo>
                      <a:lnTo>
                        <a:pt x="288" y="232"/>
                      </a:lnTo>
                      <a:lnTo>
                        <a:pt x="255" y="220"/>
                      </a:lnTo>
                      <a:lnTo>
                        <a:pt x="246" y="220"/>
                      </a:lnTo>
                      <a:lnTo>
                        <a:pt x="201" y="260"/>
                      </a:lnTo>
                      <a:lnTo>
                        <a:pt x="213" y="281"/>
                      </a:lnTo>
                      <a:lnTo>
                        <a:pt x="201" y="298"/>
                      </a:lnTo>
                      <a:lnTo>
                        <a:pt x="180" y="286"/>
                      </a:lnTo>
                      <a:lnTo>
                        <a:pt x="158" y="286"/>
                      </a:lnTo>
                      <a:lnTo>
                        <a:pt x="147" y="302"/>
                      </a:lnTo>
                      <a:lnTo>
                        <a:pt x="147" y="319"/>
                      </a:lnTo>
                      <a:lnTo>
                        <a:pt x="142" y="331"/>
                      </a:lnTo>
                      <a:lnTo>
                        <a:pt x="109" y="314"/>
                      </a:lnTo>
                      <a:lnTo>
                        <a:pt x="54" y="343"/>
                      </a:lnTo>
                      <a:lnTo>
                        <a:pt x="33" y="331"/>
                      </a:lnTo>
                      <a:lnTo>
                        <a:pt x="33" y="319"/>
                      </a:lnTo>
                      <a:lnTo>
                        <a:pt x="38" y="298"/>
                      </a:lnTo>
                      <a:lnTo>
                        <a:pt x="66" y="260"/>
                      </a:lnTo>
                      <a:lnTo>
                        <a:pt x="71" y="260"/>
                      </a:lnTo>
                      <a:lnTo>
                        <a:pt x="83" y="243"/>
                      </a:lnTo>
                      <a:lnTo>
                        <a:pt x="54" y="210"/>
                      </a:lnTo>
                      <a:lnTo>
                        <a:pt x="54" y="187"/>
                      </a:lnTo>
                      <a:lnTo>
                        <a:pt x="66" y="187"/>
                      </a:lnTo>
                      <a:lnTo>
                        <a:pt x="54" y="170"/>
                      </a:lnTo>
                      <a:lnTo>
                        <a:pt x="33" y="170"/>
                      </a:lnTo>
                      <a:lnTo>
                        <a:pt x="28" y="165"/>
                      </a:lnTo>
                      <a:lnTo>
                        <a:pt x="12" y="154"/>
                      </a:lnTo>
                      <a:lnTo>
                        <a:pt x="0" y="149"/>
                      </a:lnTo>
                      <a:lnTo>
                        <a:pt x="12" y="132"/>
                      </a:lnTo>
                      <a:lnTo>
                        <a:pt x="33" y="116"/>
                      </a:lnTo>
                      <a:lnTo>
                        <a:pt x="88" y="121"/>
                      </a:lnTo>
                      <a:lnTo>
                        <a:pt x="92" y="99"/>
                      </a:lnTo>
                      <a:lnTo>
                        <a:pt x="109" y="99"/>
                      </a:lnTo>
                      <a:lnTo>
                        <a:pt x="104" y="83"/>
                      </a:lnTo>
                      <a:lnTo>
                        <a:pt x="121" y="78"/>
                      </a:lnTo>
                      <a:lnTo>
                        <a:pt x="92" y="78"/>
                      </a:lnTo>
                      <a:lnTo>
                        <a:pt x="142" y="66"/>
                      </a:lnTo>
                      <a:lnTo>
                        <a:pt x="142" y="45"/>
                      </a:lnTo>
                      <a:lnTo>
                        <a:pt x="147" y="21"/>
                      </a:lnTo>
                      <a:lnTo>
                        <a:pt x="147" y="21"/>
                      </a:lnTo>
                      <a:lnTo>
                        <a:pt x="175" y="38"/>
                      </a:lnTo>
                      <a:lnTo>
                        <a:pt x="213" y="12"/>
                      </a:lnTo>
                      <a:lnTo>
                        <a:pt x="217" y="0"/>
                      </a:lnTo>
                      <a:lnTo>
                        <a:pt x="250" y="28"/>
                      </a:lnTo>
                      <a:lnTo>
                        <a:pt x="217" y="54"/>
                      </a:lnTo>
                      <a:lnTo>
                        <a:pt x="217" y="54"/>
                      </a:lnTo>
                      <a:lnTo>
                        <a:pt x="234" y="66"/>
                      </a:lnTo>
                      <a:lnTo>
                        <a:pt x="255" y="66"/>
                      </a:lnTo>
                      <a:lnTo>
                        <a:pt x="255" y="78"/>
                      </a:lnTo>
                      <a:lnTo>
                        <a:pt x="234" y="78"/>
                      </a:lnTo>
                      <a:lnTo>
                        <a:pt x="234" y="95"/>
                      </a:lnTo>
                      <a:lnTo>
                        <a:pt x="229" y="95"/>
                      </a:lnTo>
                      <a:lnTo>
                        <a:pt x="229" y="83"/>
                      </a:lnTo>
                      <a:lnTo>
                        <a:pt x="196" y="66"/>
                      </a:lnTo>
                      <a:lnTo>
                        <a:pt x="158" y="78"/>
                      </a:lnTo>
                      <a:lnTo>
                        <a:pt x="158" y="95"/>
                      </a:lnTo>
                      <a:lnTo>
                        <a:pt x="147" y="95"/>
                      </a:lnTo>
                      <a:lnTo>
                        <a:pt x="142" y="83"/>
                      </a:lnTo>
                      <a:lnTo>
                        <a:pt x="142" y="99"/>
                      </a:lnTo>
                      <a:lnTo>
                        <a:pt x="142" y="121"/>
                      </a:lnTo>
                      <a:lnTo>
                        <a:pt x="229" y="121"/>
                      </a:lnTo>
                      <a:lnTo>
                        <a:pt x="234" y="121"/>
                      </a:lnTo>
                      <a:lnTo>
                        <a:pt x="246" y="137"/>
                      </a:lnTo>
                      <a:lnTo>
                        <a:pt x="255" y="137"/>
                      </a:lnTo>
                      <a:lnTo>
                        <a:pt x="267" y="132"/>
                      </a:lnTo>
                      <a:lnTo>
                        <a:pt x="298" y="121"/>
                      </a:lnTo>
                      <a:lnTo>
                        <a:pt x="298" y="132"/>
                      </a:lnTo>
                      <a:lnTo>
                        <a:pt x="310" y="132"/>
                      </a:lnTo>
                      <a:lnTo>
                        <a:pt x="310" y="149"/>
                      </a:lnTo>
                      <a:lnTo>
                        <a:pt x="336" y="137"/>
                      </a:lnTo>
                      <a:lnTo>
                        <a:pt x="352" y="154"/>
                      </a:lnTo>
                      <a:lnTo>
                        <a:pt x="359" y="137"/>
                      </a:lnTo>
                      <a:lnTo>
                        <a:pt x="413" y="137"/>
                      </a:lnTo>
                      <a:lnTo>
                        <a:pt x="451" y="132"/>
                      </a:lnTo>
                      <a:lnTo>
                        <a:pt x="444" y="154"/>
                      </a:lnTo>
                      <a:lnTo>
                        <a:pt x="461" y="170"/>
                      </a:lnTo>
                      <a:lnTo>
                        <a:pt x="451" y="177"/>
                      </a:lnTo>
                      <a:lnTo>
                        <a:pt x="461" y="203"/>
                      </a:lnTo>
                      <a:lnTo>
                        <a:pt x="473" y="210"/>
                      </a:lnTo>
                      <a:lnTo>
                        <a:pt x="482" y="203"/>
                      </a:lnTo>
                      <a:lnTo>
                        <a:pt x="499" y="203"/>
                      </a:lnTo>
                      <a:lnTo>
                        <a:pt x="536" y="220"/>
                      </a:lnTo>
                      <a:lnTo>
                        <a:pt x="527" y="248"/>
                      </a:lnTo>
                      <a:lnTo>
                        <a:pt x="543" y="276"/>
                      </a:lnTo>
                      <a:lnTo>
                        <a:pt x="536" y="281"/>
                      </a:lnTo>
                      <a:lnTo>
                        <a:pt x="558" y="302"/>
                      </a:lnTo>
                      <a:lnTo>
                        <a:pt x="536" y="319"/>
                      </a:lnTo>
                      <a:lnTo>
                        <a:pt x="536" y="319"/>
                      </a:lnTo>
                      <a:lnTo>
                        <a:pt x="536" y="31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9" name="Freeform 574">
                  <a:extLst>
                    <a:ext uri="{FF2B5EF4-FFF2-40B4-BE49-F238E27FC236}">
                      <a16:creationId xmlns:a16="http://schemas.microsoft.com/office/drawing/2014/main" id="{BC100AA9-FAA5-4755-B187-05D299D51897}"/>
                    </a:ext>
                  </a:extLst>
                </p:cNvPr>
                <p:cNvSpPr>
                  <a:spLocks noEditPoints="1"/>
                </p:cNvSpPr>
                <p:nvPr/>
              </p:nvSpPr>
              <p:spPr bwMode="gray">
                <a:xfrm>
                  <a:off x="7467242" y="2738924"/>
                  <a:ext cx="551226" cy="219033"/>
                </a:xfrm>
                <a:custGeom>
                  <a:avLst/>
                  <a:gdLst>
                    <a:gd name="T0" fmla="*/ 71 w 1339"/>
                    <a:gd name="T1" fmla="*/ 62 h 532"/>
                    <a:gd name="T2" fmla="*/ 59 w 1339"/>
                    <a:gd name="T3" fmla="*/ 22 h 532"/>
                    <a:gd name="T4" fmla="*/ 113 w 1339"/>
                    <a:gd name="T5" fmla="*/ 0 h 532"/>
                    <a:gd name="T6" fmla="*/ 168 w 1339"/>
                    <a:gd name="T7" fmla="*/ 38 h 532"/>
                    <a:gd name="T8" fmla="*/ 222 w 1339"/>
                    <a:gd name="T9" fmla="*/ 95 h 532"/>
                    <a:gd name="T10" fmla="*/ 177 w 1339"/>
                    <a:gd name="T11" fmla="*/ 88 h 532"/>
                    <a:gd name="T12" fmla="*/ 75 w 1339"/>
                    <a:gd name="T13" fmla="*/ 144 h 532"/>
                    <a:gd name="T14" fmla="*/ 80 w 1339"/>
                    <a:gd name="T15" fmla="*/ 128 h 532"/>
                    <a:gd name="T16" fmla="*/ 26 w 1339"/>
                    <a:gd name="T17" fmla="*/ 116 h 532"/>
                    <a:gd name="T18" fmla="*/ 1264 w 1339"/>
                    <a:gd name="T19" fmla="*/ 409 h 532"/>
                    <a:gd name="T20" fmla="*/ 1188 w 1339"/>
                    <a:gd name="T21" fmla="*/ 421 h 532"/>
                    <a:gd name="T22" fmla="*/ 1150 w 1339"/>
                    <a:gd name="T23" fmla="*/ 409 h 532"/>
                    <a:gd name="T24" fmla="*/ 957 w 1339"/>
                    <a:gd name="T25" fmla="*/ 461 h 532"/>
                    <a:gd name="T26" fmla="*/ 827 w 1339"/>
                    <a:gd name="T27" fmla="*/ 461 h 532"/>
                    <a:gd name="T28" fmla="*/ 777 w 1339"/>
                    <a:gd name="T29" fmla="*/ 487 h 532"/>
                    <a:gd name="T30" fmla="*/ 739 w 1339"/>
                    <a:gd name="T31" fmla="*/ 532 h 532"/>
                    <a:gd name="T32" fmla="*/ 739 w 1339"/>
                    <a:gd name="T33" fmla="*/ 461 h 532"/>
                    <a:gd name="T34" fmla="*/ 701 w 1339"/>
                    <a:gd name="T35" fmla="*/ 461 h 532"/>
                    <a:gd name="T36" fmla="*/ 583 w 1339"/>
                    <a:gd name="T37" fmla="*/ 487 h 532"/>
                    <a:gd name="T38" fmla="*/ 470 w 1339"/>
                    <a:gd name="T39" fmla="*/ 499 h 532"/>
                    <a:gd name="T40" fmla="*/ 340 w 1339"/>
                    <a:gd name="T41" fmla="*/ 482 h 532"/>
                    <a:gd name="T42" fmla="*/ 243 w 1339"/>
                    <a:gd name="T43" fmla="*/ 482 h 532"/>
                    <a:gd name="T44" fmla="*/ 231 w 1339"/>
                    <a:gd name="T45" fmla="*/ 449 h 532"/>
                    <a:gd name="T46" fmla="*/ 189 w 1339"/>
                    <a:gd name="T47" fmla="*/ 444 h 532"/>
                    <a:gd name="T48" fmla="*/ 168 w 1339"/>
                    <a:gd name="T49" fmla="*/ 461 h 532"/>
                    <a:gd name="T50" fmla="*/ 125 w 1339"/>
                    <a:gd name="T51" fmla="*/ 461 h 532"/>
                    <a:gd name="T52" fmla="*/ 113 w 1339"/>
                    <a:gd name="T53" fmla="*/ 433 h 532"/>
                    <a:gd name="T54" fmla="*/ 134 w 1339"/>
                    <a:gd name="T55" fmla="*/ 409 h 532"/>
                    <a:gd name="T56" fmla="*/ 113 w 1339"/>
                    <a:gd name="T57" fmla="*/ 350 h 532"/>
                    <a:gd name="T58" fmla="*/ 42 w 1339"/>
                    <a:gd name="T59" fmla="*/ 322 h 532"/>
                    <a:gd name="T60" fmla="*/ 54 w 1339"/>
                    <a:gd name="T61" fmla="*/ 310 h 532"/>
                    <a:gd name="T62" fmla="*/ 108 w 1339"/>
                    <a:gd name="T63" fmla="*/ 310 h 532"/>
                    <a:gd name="T64" fmla="*/ 97 w 1339"/>
                    <a:gd name="T65" fmla="*/ 265 h 532"/>
                    <a:gd name="T66" fmla="*/ 92 w 1339"/>
                    <a:gd name="T67" fmla="*/ 222 h 532"/>
                    <a:gd name="T68" fmla="*/ 75 w 1339"/>
                    <a:gd name="T69" fmla="*/ 144 h 532"/>
                    <a:gd name="T70" fmla="*/ 146 w 1339"/>
                    <a:gd name="T71" fmla="*/ 133 h 532"/>
                    <a:gd name="T72" fmla="*/ 163 w 1339"/>
                    <a:gd name="T73" fmla="*/ 149 h 532"/>
                    <a:gd name="T74" fmla="*/ 269 w 1339"/>
                    <a:gd name="T75" fmla="*/ 116 h 532"/>
                    <a:gd name="T76" fmla="*/ 238 w 1339"/>
                    <a:gd name="T77" fmla="*/ 88 h 532"/>
                    <a:gd name="T78" fmla="*/ 361 w 1339"/>
                    <a:gd name="T79" fmla="*/ 88 h 532"/>
                    <a:gd name="T80" fmla="*/ 541 w 1339"/>
                    <a:gd name="T81" fmla="*/ 5 h 532"/>
                    <a:gd name="T82" fmla="*/ 692 w 1339"/>
                    <a:gd name="T83" fmla="*/ 38 h 532"/>
                    <a:gd name="T84" fmla="*/ 756 w 1339"/>
                    <a:gd name="T85" fmla="*/ 71 h 532"/>
                    <a:gd name="T86" fmla="*/ 831 w 1339"/>
                    <a:gd name="T87" fmla="*/ 88 h 532"/>
                    <a:gd name="T88" fmla="*/ 961 w 1339"/>
                    <a:gd name="T89" fmla="*/ 88 h 532"/>
                    <a:gd name="T90" fmla="*/ 1134 w 1339"/>
                    <a:gd name="T91" fmla="*/ 55 h 532"/>
                    <a:gd name="T92" fmla="*/ 1205 w 1339"/>
                    <a:gd name="T93" fmla="*/ 38 h 532"/>
                    <a:gd name="T94" fmla="*/ 1268 w 1339"/>
                    <a:gd name="T95" fmla="*/ 111 h 532"/>
                    <a:gd name="T96" fmla="*/ 1280 w 1339"/>
                    <a:gd name="T97" fmla="*/ 173 h 532"/>
                    <a:gd name="T98" fmla="*/ 1334 w 1339"/>
                    <a:gd name="T99" fmla="*/ 199 h 532"/>
                    <a:gd name="T100" fmla="*/ 1301 w 1339"/>
                    <a:gd name="T101" fmla="*/ 255 h 532"/>
                    <a:gd name="T102" fmla="*/ 1318 w 1339"/>
                    <a:gd name="T103" fmla="*/ 317 h 532"/>
                    <a:gd name="T104" fmla="*/ 1339 w 1339"/>
                    <a:gd name="T105" fmla="*/ 404 h 532"/>
                    <a:gd name="T106" fmla="*/ 1301 w 1339"/>
                    <a:gd name="T107" fmla="*/ 421 h 532"/>
                    <a:gd name="T108" fmla="*/ 1297 w 1339"/>
                    <a:gd name="T109" fmla="*/ 404 h 532"/>
                    <a:gd name="T110" fmla="*/ 134 w 1339"/>
                    <a:gd name="T111" fmla="*/ 128 h 532"/>
                    <a:gd name="T112" fmla="*/ 0 w 1339"/>
                    <a:gd name="T113" fmla="*/ 166 h 532"/>
                    <a:gd name="T114" fmla="*/ 5 w 1339"/>
                    <a:gd name="T115" fmla="*/ 166 h 532"/>
                    <a:gd name="T116" fmla="*/ 21 w 1339"/>
                    <a:gd name="T117" fmla="*/ 189 h 532"/>
                    <a:gd name="T118" fmla="*/ 26 w 1339"/>
                    <a:gd name="T119" fmla="*/ 199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39" h="532">
                      <a:moveTo>
                        <a:pt x="26" y="116"/>
                      </a:moveTo>
                      <a:lnTo>
                        <a:pt x="54" y="95"/>
                      </a:lnTo>
                      <a:lnTo>
                        <a:pt x="42" y="71"/>
                      </a:lnTo>
                      <a:lnTo>
                        <a:pt x="71" y="62"/>
                      </a:lnTo>
                      <a:lnTo>
                        <a:pt x="71" y="38"/>
                      </a:lnTo>
                      <a:lnTo>
                        <a:pt x="54" y="33"/>
                      </a:lnTo>
                      <a:lnTo>
                        <a:pt x="54" y="22"/>
                      </a:lnTo>
                      <a:lnTo>
                        <a:pt x="59" y="22"/>
                      </a:lnTo>
                      <a:lnTo>
                        <a:pt x="71" y="5"/>
                      </a:lnTo>
                      <a:lnTo>
                        <a:pt x="92" y="5"/>
                      </a:lnTo>
                      <a:lnTo>
                        <a:pt x="97" y="0"/>
                      </a:lnTo>
                      <a:lnTo>
                        <a:pt x="113" y="0"/>
                      </a:lnTo>
                      <a:lnTo>
                        <a:pt x="134" y="17"/>
                      </a:lnTo>
                      <a:lnTo>
                        <a:pt x="168" y="5"/>
                      </a:lnTo>
                      <a:lnTo>
                        <a:pt x="163" y="22"/>
                      </a:lnTo>
                      <a:lnTo>
                        <a:pt x="168" y="38"/>
                      </a:lnTo>
                      <a:lnTo>
                        <a:pt x="201" y="55"/>
                      </a:lnTo>
                      <a:lnTo>
                        <a:pt x="238" y="71"/>
                      </a:lnTo>
                      <a:lnTo>
                        <a:pt x="238" y="88"/>
                      </a:lnTo>
                      <a:lnTo>
                        <a:pt x="222" y="95"/>
                      </a:lnTo>
                      <a:lnTo>
                        <a:pt x="205" y="95"/>
                      </a:lnTo>
                      <a:lnTo>
                        <a:pt x="201" y="88"/>
                      </a:lnTo>
                      <a:lnTo>
                        <a:pt x="201" y="95"/>
                      </a:lnTo>
                      <a:lnTo>
                        <a:pt x="177" y="88"/>
                      </a:lnTo>
                      <a:lnTo>
                        <a:pt x="163" y="95"/>
                      </a:lnTo>
                      <a:lnTo>
                        <a:pt x="130" y="95"/>
                      </a:lnTo>
                      <a:lnTo>
                        <a:pt x="113" y="116"/>
                      </a:lnTo>
                      <a:lnTo>
                        <a:pt x="75" y="144"/>
                      </a:lnTo>
                      <a:lnTo>
                        <a:pt x="38" y="173"/>
                      </a:lnTo>
                      <a:lnTo>
                        <a:pt x="42" y="156"/>
                      </a:lnTo>
                      <a:lnTo>
                        <a:pt x="38" y="149"/>
                      </a:lnTo>
                      <a:lnTo>
                        <a:pt x="80" y="128"/>
                      </a:lnTo>
                      <a:lnTo>
                        <a:pt x="75" y="116"/>
                      </a:lnTo>
                      <a:lnTo>
                        <a:pt x="26" y="128"/>
                      </a:lnTo>
                      <a:lnTo>
                        <a:pt x="26" y="116"/>
                      </a:lnTo>
                      <a:lnTo>
                        <a:pt x="26" y="116"/>
                      </a:lnTo>
                      <a:lnTo>
                        <a:pt x="26" y="116"/>
                      </a:lnTo>
                      <a:close/>
                      <a:moveTo>
                        <a:pt x="1297" y="404"/>
                      </a:moveTo>
                      <a:lnTo>
                        <a:pt x="1280" y="409"/>
                      </a:lnTo>
                      <a:lnTo>
                        <a:pt x="1264" y="409"/>
                      </a:lnTo>
                      <a:lnTo>
                        <a:pt x="1226" y="392"/>
                      </a:lnTo>
                      <a:lnTo>
                        <a:pt x="1214" y="404"/>
                      </a:lnTo>
                      <a:lnTo>
                        <a:pt x="1205" y="392"/>
                      </a:lnTo>
                      <a:lnTo>
                        <a:pt x="1188" y="421"/>
                      </a:lnTo>
                      <a:lnTo>
                        <a:pt x="1171" y="421"/>
                      </a:lnTo>
                      <a:lnTo>
                        <a:pt x="1171" y="409"/>
                      </a:lnTo>
                      <a:lnTo>
                        <a:pt x="1155" y="404"/>
                      </a:lnTo>
                      <a:lnTo>
                        <a:pt x="1150" y="409"/>
                      </a:lnTo>
                      <a:lnTo>
                        <a:pt x="1117" y="421"/>
                      </a:lnTo>
                      <a:lnTo>
                        <a:pt x="1063" y="421"/>
                      </a:lnTo>
                      <a:lnTo>
                        <a:pt x="994" y="449"/>
                      </a:lnTo>
                      <a:lnTo>
                        <a:pt x="957" y="461"/>
                      </a:lnTo>
                      <a:lnTo>
                        <a:pt x="919" y="449"/>
                      </a:lnTo>
                      <a:lnTo>
                        <a:pt x="902" y="444"/>
                      </a:lnTo>
                      <a:lnTo>
                        <a:pt x="886" y="433"/>
                      </a:lnTo>
                      <a:lnTo>
                        <a:pt x="827" y="461"/>
                      </a:lnTo>
                      <a:lnTo>
                        <a:pt x="810" y="461"/>
                      </a:lnTo>
                      <a:lnTo>
                        <a:pt x="772" y="444"/>
                      </a:lnTo>
                      <a:lnTo>
                        <a:pt x="760" y="477"/>
                      </a:lnTo>
                      <a:lnTo>
                        <a:pt x="777" y="487"/>
                      </a:lnTo>
                      <a:lnTo>
                        <a:pt x="756" y="487"/>
                      </a:lnTo>
                      <a:lnTo>
                        <a:pt x="756" y="515"/>
                      </a:lnTo>
                      <a:lnTo>
                        <a:pt x="739" y="515"/>
                      </a:lnTo>
                      <a:lnTo>
                        <a:pt x="739" y="532"/>
                      </a:lnTo>
                      <a:lnTo>
                        <a:pt x="723" y="515"/>
                      </a:lnTo>
                      <a:lnTo>
                        <a:pt x="723" y="515"/>
                      </a:lnTo>
                      <a:lnTo>
                        <a:pt x="706" y="482"/>
                      </a:lnTo>
                      <a:lnTo>
                        <a:pt x="739" y="461"/>
                      </a:lnTo>
                      <a:lnTo>
                        <a:pt x="739" y="444"/>
                      </a:lnTo>
                      <a:lnTo>
                        <a:pt x="723" y="433"/>
                      </a:lnTo>
                      <a:lnTo>
                        <a:pt x="692" y="449"/>
                      </a:lnTo>
                      <a:lnTo>
                        <a:pt x="701" y="461"/>
                      </a:lnTo>
                      <a:lnTo>
                        <a:pt x="675" y="466"/>
                      </a:lnTo>
                      <a:lnTo>
                        <a:pt x="631" y="444"/>
                      </a:lnTo>
                      <a:lnTo>
                        <a:pt x="609" y="466"/>
                      </a:lnTo>
                      <a:lnTo>
                        <a:pt x="583" y="487"/>
                      </a:lnTo>
                      <a:lnTo>
                        <a:pt x="579" y="482"/>
                      </a:lnTo>
                      <a:lnTo>
                        <a:pt x="562" y="499"/>
                      </a:lnTo>
                      <a:lnTo>
                        <a:pt x="503" y="503"/>
                      </a:lnTo>
                      <a:lnTo>
                        <a:pt x="470" y="499"/>
                      </a:lnTo>
                      <a:lnTo>
                        <a:pt x="449" y="466"/>
                      </a:lnTo>
                      <a:lnTo>
                        <a:pt x="378" y="444"/>
                      </a:lnTo>
                      <a:lnTo>
                        <a:pt x="345" y="444"/>
                      </a:lnTo>
                      <a:lnTo>
                        <a:pt x="340" y="482"/>
                      </a:lnTo>
                      <a:lnTo>
                        <a:pt x="328" y="499"/>
                      </a:lnTo>
                      <a:lnTo>
                        <a:pt x="323" y="482"/>
                      </a:lnTo>
                      <a:lnTo>
                        <a:pt x="286" y="499"/>
                      </a:lnTo>
                      <a:lnTo>
                        <a:pt x="243" y="482"/>
                      </a:lnTo>
                      <a:lnTo>
                        <a:pt x="243" y="466"/>
                      </a:lnTo>
                      <a:lnTo>
                        <a:pt x="238" y="466"/>
                      </a:lnTo>
                      <a:lnTo>
                        <a:pt x="238" y="461"/>
                      </a:lnTo>
                      <a:lnTo>
                        <a:pt x="231" y="449"/>
                      </a:lnTo>
                      <a:lnTo>
                        <a:pt x="222" y="461"/>
                      </a:lnTo>
                      <a:lnTo>
                        <a:pt x="215" y="449"/>
                      </a:lnTo>
                      <a:lnTo>
                        <a:pt x="201" y="433"/>
                      </a:lnTo>
                      <a:lnTo>
                        <a:pt x="189" y="444"/>
                      </a:lnTo>
                      <a:lnTo>
                        <a:pt x="184" y="444"/>
                      </a:lnTo>
                      <a:lnTo>
                        <a:pt x="184" y="449"/>
                      </a:lnTo>
                      <a:lnTo>
                        <a:pt x="163" y="466"/>
                      </a:lnTo>
                      <a:lnTo>
                        <a:pt x="168" y="461"/>
                      </a:lnTo>
                      <a:lnTo>
                        <a:pt x="163" y="449"/>
                      </a:lnTo>
                      <a:lnTo>
                        <a:pt x="177" y="449"/>
                      </a:lnTo>
                      <a:lnTo>
                        <a:pt x="177" y="444"/>
                      </a:lnTo>
                      <a:lnTo>
                        <a:pt x="125" y="461"/>
                      </a:lnTo>
                      <a:lnTo>
                        <a:pt x="168" y="444"/>
                      </a:lnTo>
                      <a:lnTo>
                        <a:pt x="168" y="433"/>
                      </a:lnTo>
                      <a:lnTo>
                        <a:pt x="189" y="425"/>
                      </a:lnTo>
                      <a:lnTo>
                        <a:pt x="113" y="433"/>
                      </a:lnTo>
                      <a:lnTo>
                        <a:pt x="113" y="425"/>
                      </a:lnTo>
                      <a:lnTo>
                        <a:pt x="113" y="421"/>
                      </a:lnTo>
                      <a:lnTo>
                        <a:pt x="130" y="421"/>
                      </a:lnTo>
                      <a:lnTo>
                        <a:pt x="134" y="409"/>
                      </a:lnTo>
                      <a:lnTo>
                        <a:pt x="125" y="404"/>
                      </a:lnTo>
                      <a:lnTo>
                        <a:pt x="125" y="392"/>
                      </a:lnTo>
                      <a:lnTo>
                        <a:pt x="108" y="404"/>
                      </a:lnTo>
                      <a:lnTo>
                        <a:pt x="113" y="350"/>
                      </a:lnTo>
                      <a:lnTo>
                        <a:pt x="92" y="338"/>
                      </a:lnTo>
                      <a:lnTo>
                        <a:pt x="75" y="322"/>
                      </a:lnTo>
                      <a:lnTo>
                        <a:pt x="71" y="338"/>
                      </a:lnTo>
                      <a:lnTo>
                        <a:pt x="42" y="322"/>
                      </a:lnTo>
                      <a:lnTo>
                        <a:pt x="42" y="317"/>
                      </a:lnTo>
                      <a:lnTo>
                        <a:pt x="54" y="317"/>
                      </a:lnTo>
                      <a:lnTo>
                        <a:pt x="59" y="310"/>
                      </a:lnTo>
                      <a:lnTo>
                        <a:pt x="54" y="310"/>
                      </a:lnTo>
                      <a:lnTo>
                        <a:pt x="54" y="293"/>
                      </a:lnTo>
                      <a:lnTo>
                        <a:pt x="59" y="293"/>
                      </a:lnTo>
                      <a:lnTo>
                        <a:pt x="75" y="317"/>
                      </a:lnTo>
                      <a:lnTo>
                        <a:pt x="108" y="310"/>
                      </a:lnTo>
                      <a:lnTo>
                        <a:pt x="92" y="310"/>
                      </a:lnTo>
                      <a:lnTo>
                        <a:pt x="75" y="293"/>
                      </a:lnTo>
                      <a:lnTo>
                        <a:pt x="75" y="281"/>
                      </a:lnTo>
                      <a:lnTo>
                        <a:pt x="97" y="265"/>
                      </a:lnTo>
                      <a:lnTo>
                        <a:pt x="80" y="265"/>
                      </a:lnTo>
                      <a:lnTo>
                        <a:pt x="80" y="255"/>
                      </a:lnTo>
                      <a:lnTo>
                        <a:pt x="71" y="239"/>
                      </a:lnTo>
                      <a:lnTo>
                        <a:pt x="92" y="222"/>
                      </a:lnTo>
                      <a:lnTo>
                        <a:pt x="92" y="211"/>
                      </a:lnTo>
                      <a:lnTo>
                        <a:pt x="26" y="222"/>
                      </a:lnTo>
                      <a:lnTo>
                        <a:pt x="38" y="182"/>
                      </a:lnTo>
                      <a:lnTo>
                        <a:pt x="75" y="144"/>
                      </a:lnTo>
                      <a:lnTo>
                        <a:pt x="108" y="144"/>
                      </a:lnTo>
                      <a:lnTo>
                        <a:pt x="130" y="149"/>
                      </a:lnTo>
                      <a:lnTo>
                        <a:pt x="151" y="149"/>
                      </a:lnTo>
                      <a:lnTo>
                        <a:pt x="146" y="133"/>
                      </a:lnTo>
                      <a:lnTo>
                        <a:pt x="146" y="133"/>
                      </a:lnTo>
                      <a:lnTo>
                        <a:pt x="168" y="133"/>
                      </a:lnTo>
                      <a:lnTo>
                        <a:pt x="163" y="144"/>
                      </a:lnTo>
                      <a:lnTo>
                        <a:pt x="163" y="149"/>
                      </a:lnTo>
                      <a:lnTo>
                        <a:pt x="238" y="149"/>
                      </a:lnTo>
                      <a:lnTo>
                        <a:pt x="243" y="144"/>
                      </a:lnTo>
                      <a:lnTo>
                        <a:pt x="222" y="133"/>
                      </a:lnTo>
                      <a:lnTo>
                        <a:pt x="269" y="116"/>
                      </a:lnTo>
                      <a:lnTo>
                        <a:pt x="297" y="116"/>
                      </a:lnTo>
                      <a:lnTo>
                        <a:pt x="260" y="111"/>
                      </a:lnTo>
                      <a:lnTo>
                        <a:pt x="243" y="100"/>
                      </a:lnTo>
                      <a:lnTo>
                        <a:pt x="238" y="88"/>
                      </a:lnTo>
                      <a:lnTo>
                        <a:pt x="243" y="71"/>
                      </a:lnTo>
                      <a:lnTo>
                        <a:pt x="307" y="78"/>
                      </a:lnTo>
                      <a:lnTo>
                        <a:pt x="323" y="71"/>
                      </a:lnTo>
                      <a:lnTo>
                        <a:pt x="361" y="88"/>
                      </a:lnTo>
                      <a:lnTo>
                        <a:pt x="394" y="88"/>
                      </a:lnTo>
                      <a:lnTo>
                        <a:pt x="416" y="62"/>
                      </a:lnTo>
                      <a:lnTo>
                        <a:pt x="458" y="33"/>
                      </a:lnTo>
                      <a:lnTo>
                        <a:pt x="541" y="5"/>
                      </a:lnTo>
                      <a:lnTo>
                        <a:pt x="638" y="5"/>
                      </a:lnTo>
                      <a:lnTo>
                        <a:pt x="654" y="0"/>
                      </a:lnTo>
                      <a:lnTo>
                        <a:pt x="675" y="33"/>
                      </a:lnTo>
                      <a:lnTo>
                        <a:pt x="692" y="38"/>
                      </a:lnTo>
                      <a:lnTo>
                        <a:pt x="723" y="33"/>
                      </a:lnTo>
                      <a:lnTo>
                        <a:pt x="730" y="33"/>
                      </a:lnTo>
                      <a:lnTo>
                        <a:pt x="730" y="55"/>
                      </a:lnTo>
                      <a:lnTo>
                        <a:pt x="756" y="71"/>
                      </a:lnTo>
                      <a:lnTo>
                        <a:pt x="782" y="62"/>
                      </a:lnTo>
                      <a:lnTo>
                        <a:pt x="798" y="71"/>
                      </a:lnTo>
                      <a:lnTo>
                        <a:pt x="798" y="78"/>
                      </a:lnTo>
                      <a:lnTo>
                        <a:pt x="831" y="88"/>
                      </a:lnTo>
                      <a:lnTo>
                        <a:pt x="848" y="78"/>
                      </a:lnTo>
                      <a:lnTo>
                        <a:pt x="853" y="95"/>
                      </a:lnTo>
                      <a:lnTo>
                        <a:pt x="890" y="100"/>
                      </a:lnTo>
                      <a:lnTo>
                        <a:pt x="961" y="88"/>
                      </a:lnTo>
                      <a:lnTo>
                        <a:pt x="1016" y="100"/>
                      </a:lnTo>
                      <a:lnTo>
                        <a:pt x="1101" y="62"/>
                      </a:lnTo>
                      <a:lnTo>
                        <a:pt x="1117" y="45"/>
                      </a:lnTo>
                      <a:lnTo>
                        <a:pt x="1134" y="55"/>
                      </a:lnTo>
                      <a:lnTo>
                        <a:pt x="1150" y="45"/>
                      </a:lnTo>
                      <a:lnTo>
                        <a:pt x="1176" y="55"/>
                      </a:lnTo>
                      <a:lnTo>
                        <a:pt x="1188" y="38"/>
                      </a:lnTo>
                      <a:lnTo>
                        <a:pt x="1205" y="38"/>
                      </a:lnTo>
                      <a:lnTo>
                        <a:pt x="1231" y="78"/>
                      </a:lnTo>
                      <a:lnTo>
                        <a:pt x="1242" y="78"/>
                      </a:lnTo>
                      <a:lnTo>
                        <a:pt x="1247" y="78"/>
                      </a:lnTo>
                      <a:lnTo>
                        <a:pt x="1268" y="111"/>
                      </a:lnTo>
                      <a:lnTo>
                        <a:pt x="1259" y="144"/>
                      </a:lnTo>
                      <a:lnTo>
                        <a:pt x="1264" y="166"/>
                      </a:lnTo>
                      <a:lnTo>
                        <a:pt x="1264" y="166"/>
                      </a:lnTo>
                      <a:lnTo>
                        <a:pt x="1280" y="173"/>
                      </a:lnTo>
                      <a:lnTo>
                        <a:pt x="1311" y="173"/>
                      </a:lnTo>
                      <a:lnTo>
                        <a:pt x="1339" y="206"/>
                      </a:lnTo>
                      <a:lnTo>
                        <a:pt x="1339" y="206"/>
                      </a:lnTo>
                      <a:lnTo>
                        <a:pt x="1334" y="199"/>
                      </a:lnTo>
                      <a:lnTo>
                        <a:pt x="1318" y="206"/>
                      </a:lnTo>
                      <a:lnTo>
                        <a:pt x="1318" y="227"/>
                      </a:lnTo>
                      <a:lnTo>
                        <a:pt x="1285" y="227"/>
                      </a:lnTo>
                      <a:lnTo>
                        <a:pt x="1301" y="255"/>
                      </a:lnTo>
                      <a:lnTo>
                        <a:pt x="1301" y="265"/>
                      </a:lnTo>
                      <a:lnTo>
                        <a:pt x="1311" y="277"/>
                      </a:lnTo>
                      <a:lnTo>
                        <a:pt x="1311" y="317"/>
                      </a:lnTo>
                      <a:lnTo>
                        <a:pt x="1318" y="317"/>
                      </a:lnTo>
                      <a:lnTo>
                        <a:pt x="1301" y="355"/>
                      </a:lnTo>
                      <a:lnTo>
                        <a:pt x="1334" y="371"/>
                      </a:lnTo>
                      <a:lnTo>
                        <a:pt x="1323" y="392"/>
                      </a:lnTo>
                      <a:lnTo>
                        <a:pt x="1339" y="404"/>
                      </a:lnTo>
                      <a:lnTo>
                        <a:pt x="1339" y="421"/>
                      </a:lnTo>
                      <a:lnTo>
                        <a:pt x="1334" y="409"/>
                      </a:lnTo>
                      <a:lnTo>
                        <a:pt x="1311" y="433"/>
                      </a:lnTo>
                      <a:lnTo>
                        <a:pt x="1301" y="421"/>
                      </a:lnTo>
                      <a:lnTo>
                        <a:pt x="1301" y="409"/>
                      </a:lnTo>
                      <a:lnTo>
                        <a:pt x="1297" y="404"/>
                      </a:lnTo>
                      <a:lnTo>
                        <a:pt x="1297" y="404"/>
                      </a:lnTo>
                      <a:lnTo>
                        <a:pt x="1297" y="404"/>
                      </a:lnTo>
                      <a:close/>
                      <a:moveTo>
                        <a:pt x="134" y="128"/>
                      </a:moveTo>
                      <a:lnTo>
                        <a:pt x="130" y="128"/>
                      </a:lnTo>
                      <a:lnTo>
                        <a:pt x="146" y="128"/>
                      </a:lnTo>
                      <a:lnTo>
                        <a:pt x="134" y="128"/>
                      </a:lnTo>
                      <a:lnTo>
                        <a:pt x="134" y="128"/>
                      </a:lnTo>
                      <a:lnTo>
                        <a:pt x="134" y="128"/>
                      </a:lnTo>
                      <a:close/>
                      <a:moveTo>
                        <a:pt x="5" y="166"/>
                      </a:moveTo>
                      <a:lnTo>
                        <a:pt x="0" y="166"/>
                      </a:lnTo>
                      <a:lnTo>
                        <a:pt x="5" y="156"/>
                      </a:lnTo>
                      <a:lnTo>
                        <a:pt x="21" y="156"/>
                      </a:lnTo>
                      <a:lnTo>
                        <a:pt x="21" y="166"/>
                      </a:lnTo>
                      <a:lnTo>
                        <a:pt x="5" y="166"/>
                      </a:lnTo>
                      <a:lnTo>
                        <a:pt x="5" y="166"/>
                      </a:lnTo>
                      <a:lnTo>
                        <a:pt x="5" y="166"/>
                      </a:lnTo>
                      <a:close/>
                      <a:moveTo>
                        <a:pt x="26" y="199"/>
                      </a:moveTo>
                      <a:lnTo>
                        <a:pt x="21" y="189"/>
                      </a:lnTo>
                      <a:lnTo>
                        <a:pt x="26" y="189"/>
                      </a:lnTo>
                      <a:lnTo>
                        <a:pt x="26" y="199"/>
                      </a:lnTo>
                      <a:lnTo>
                        <a:pt x="26" y="199"/>
                      </a:lnTo>
                      <a:lnTo>
                        <a:pt x="26" y="19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1" name="Freeform 577">
                  <a:extLst>
                    <a:ext uri="{FF2B5EF4-FFF2-40B4-BE49-F238E27FC236}">
                      <a16:creationId xmlns:a16="http://schemas.microsoft.com/office/drawing/2014/main" id="{E9B68EA9-A9FB-4441-9ABF-FC3139732441}"/>
                    </a:ext>
                  </a:extLst>
                </p:cNvPr>
                <p:cNvSpPr>
                  <a:spLocks/>
                </p:cNvSpPr>
                <p:nvPr/>
              </p:nvSpPr>
              <p:spPr bwMode="gray">
                <a:xfrm>
                  <a:off x="8241181" y="2712986"/>
                  <a:ext cx="409611" cy="264321"/>
                </a:xfrm>
                <a:custGeom>
                  <a:avLst/>
                  <a:gdLst>
                    <a:gd name="T0" fmla="*/ 926 w 995"/>
                    <a:gd name="T1" fmla="*/ 453 h 642"/>
                    <a:gd name="T2" fmla="*/ 860 w 995"/>
                    <a:gd name="T3" fmla="*/ 486 h 642"/>
                    <a:gd name="T4" fmla="*/ 806 w 995"/>
                    <a:gd name="T5" fmla="*/ 571 h 642"/>
                    <a:gd name="T6" fmla="*/ 747 w 995"/>
                    <a:gd name="T7" fmla="*/ 609 h 642"/>
                    <a:gd name="T8" fmla="*/ 699 w 995"/>
                    <a:gd name="T9" fmla="*/ 637 h 642"/>
                    <a:gd name="T10" fmla="*/ 640 w 995"/>
                    <a:gd name="T11" fmla="*/ 621 h 642"/>
                    <a:gd name="T12" fmla="*/ 607 w 995"/>
                    <a:gd name="T13" fmla="*/ 526 h 642"/>
                    <a:gd name="T14" fmla="*/ 494 w 995"/>
                    <a:gd name="T15" fmla="*/ 477 h 642"/>
                    <a:gd name="T16" fmla="*/ 409 w 995"/>
                    <a:gd name="T17" fmla="*/ 437 h 642"/>
                    <a:gd name="T18" fmla="*/ 333 w 995"/>
                    <a:gd name="T19" fmla="*/ 387 h 642"/>
                    <a:gd name="T20" fmla="*/ 279 w 995"/>
                    <a:gd name="T21" fmla="*/ 387 h 642"/>
                    <a:gd name="T22" fmla="*/ 262 w 995"/>
                    <a:gd name="T23" fmla="*/ 403 h 642"/>
                    <a:gd name="T24" fmla="*/ 161 w 995"/>
                    <a:gd name="T25" fmla="*/ 453 h 642"/>
                    <a:gd name="T26" fmla="*/ 102 w 995"/>
                    <a:gd name="T27" fmla="*/ 470 h 642"/>
                    <a:gd name="T28" fmla="*/ 106 w 995"/>
                    <a:gd name="T29" fmla="*/ 333 h 642"/>
                    <a:gd name="T30" fmla="*/ 47 w 995"/>
                    <a:gd name="T31" fmla="*/ 292 h 642"/>
                    <a:gd name="T32" fmla="*/ 52 w 995"/>
                    <a:gd name="T33" fmla="*/ 271 h 642"/>
                    <a:gd name="T34" fmla="*/ 90 w 995"/>
                    <a:gd name="T35" fmla="*/ 288 h 642"/>
                    <a:gd name="T36" fmla="*/ 31 w 995"/>
                    <a:gd name="T37" fmla="*/ 248 h 642"/>
                    <a:gd name="T38" fmla="*/ 17 w 995"/>
                    <a:gd name="T39" fmla="*/ 210 h 642"/>
                    <a:gd name="T40" fmla="*/ 47 w 995"/>
                    <a:gd name="T41" fmla="*/ 177 h 642"/>
                    <a:gd name="T42" fmla="*/ 90 w 995"/>
                    <a:gd name="T43" fmla="*/ 193 h 642"/>
                    <a:gd name="T44" fmla="*/ 135 w 995"/>
                    <a:gd name="T45" fmla="*/ 160 h 642"/>
                    <a:gd name="T46" fmla="*/ 161 w 995"/>
                    <a:gd name="T47" fmla="*/ 153 h 642"/>
                    <a:gd name="T48" fmla="*/ 90 w 995"/>
                    <a:gd name="T49" fmla="*/ 54 h 642"/>
                    <a:gd name="T50" fmla="*/ 26 w 995"/>
                    <a:gd name="T51" fmla="*/ 99 h 642"/>
                    <a:gd name="T52" fmla="*/ 31 w 995"/>
                    <a:gd name="T53" fmla="*/ 153 h 642"/>
                    <a:gd name="T54" fmla="*/ 10 w 995"/>
                    <a:gd name="T55" fmla="*/ 103 h 642"/>
                    <a:gd name="T56" fmla="*/ 69 w 995"/>
                    <a:gd name="T57" fmla="*/ 49 h 642"/>
                    <a:gd name="T58" fmla="*/ 177 w 995"/>
                    <a:gd name="T59" fmla="*/ 87 h 642"/>
                    <a:gd name="T60" fmla="*/ 321 w 995"/>
                    <a:gd name="T61" fmla="*/ 137 h 642"/>
                    <a:gd name="T62" fmla="*/ 317 w 995"/>
                    <a:gd name="T63" fmla="*/ 82 h 642"/>
                    <a:gd name="T64" fmla="*/ 392 w 995"/>
                    <a:gd name="T65" fmla="*/ 26 h 642"/>
                    <a:gd name="T66" fmla="*/ 425 w 995"/>
                    <a:gd name="T67" fmla="*/ 49 h 642"/>
                    <a:gd name="T68" fmla="*/ 425 w 995"/>
                    <a:gd name="T69" fmla="*/ 16 h 642"/>
                    <a:gd name="T70" fmla="*/ 468 w 995"/>
                    <a:gd name="T71" fmla="*/ 26 h 642"/>
                    <a:gd name="T72" fmla="*/ 532 w 995"/>
                    <a:gd name="T73" fmla="*/ 49 h 642"/>
                    <a:gd name="T74" fmla="*/ 532 w 995"/>
                    <a:gd name="T75" fmla="*/ 87 h 642"/>
                    <a:gd name="T76" fmla="*/ 539 w 995"/>
                    <a:gd name="T77" fmla="*/ 127 h 642"/>
                    <a:gd name="T78" fmla="*/ 619 w 995"/>
                    <a:gd name="T79" fmla="*/ 144 h 642"/>
                    <a:gd name="T80" fmla="*/ 678 w 995"/>
                    <a:gd name="T81" fmla="*/ 193 h 642"/>
                    <a:gd name="T82" fmla="*/ 780 w 995"/>
                    <a:gd name="T83" fmla="*/ 292 h 642"/>
                    <a:gd name="T84" fmla="*/ 834 w 995"/>
                    <a:gd name="T85" fmla="*/ 326 h 642"/>
                    <a:gd name="T86" fmla="*/ 995 w 995"/>
                    <a:gd name="T87" fmla="*/ 415 h 642"/>
                    <a:gd name="T88" fmla="*/ 985 w 995"/>
                    <a:gd name="T89" fmla="*/ 460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5" h="642">
                      <a:moveTo>
                        <a:pt x="985" y="460"/>
                      </a:moveTo>
                      <a:lnTo>
                        <a:pt x="969" y="470"/>
                      </a:lnTo>
                      <a:lnTo>
                        <a:pt x="926" y="453"/>
                      </a:lnTo>
                      <a:lnTo>
                        <a:pt x="914" y="477"/>
                      </a:lnTo>
                      <a:lnTo>
                        <a:pt x="888" y="477"/>
                      </a:lnTo>
                      <a:lnTo>
                        <a:pt x="860" y="486"/>
                      </a:lnTo>
                      <a:lnTo>
                        <a:pt x="860" y="498"/>
                      </a:lnTo>
                      <a:lnTo>
                        <a:pt x="839" y="552"/>
                      </a:lnTo>
                      <a:lnTo>
                        <a:pt x="806" y="571"/>
                      </a:lnTo>
                      <a:lnTo>
                        <a:pt x="747" y="588"/>
                      </a:lnTo>
                      <a:lnTo>
                        <a:pt x="747" y="604"/>
                      </a:lnTo>
                      <a:lnTo>
                        <a:pt x="747" y="609"/>
                      </a:lnTo>
                      <a:lnTo>
                        <a:pt x="747" y="621"/>
                      </a:lnTo>
                      <a:lnTo>
                        <a:pt x="716" y="637"/>
                      </a:lnTo>
                      <a:lnTo>
                        <a:pt x="699" y="637"/>
                      </a:lnTo>
                      <a:lnTo>
                        <a:pt x="683" y="642"/>
                      </a:lnTo>
                      <a:lnTo>
                        <a:pt x="671" y="621"/>
                      </a:lnTo>
                      <a:lnTo>
                        <a:pt x="640" y="621"/>
                      </a:lnTo>
                      <a:lnTo>
                        <a:pt x="624" y="604"/>
                      </a:lnTo>
                      <a:lnTo>
                        <a:pt x="619" y="609"/>
                      </a:lnTo>
                      <a:lnTo>
                        <a:pt x="607" y="526"/>
                      </a:lnTo>
                      <a:lnTo>
                        <a:pt x="548" y="526"/>
                      </a:lnTo>
                      <a:lnTo>
                        <a:pt x="532" y="493"/>
                      </a:lnTo>
                      <a:lnTo>
                        <a:pt x="494" y="477"/>
                      </a:lnTo>
                      <a:lnTo>
                        <a:pt x="477" y="453"/>
                      </a:lnTo>
                      <a:lnTo>
                        <a:pt x="456" y="437"/>
                      </a:lnTo>
                      <a:lnTo>
                        <a:pt x="409" y="437"/>
                      </a:lnTo>
                      <a:lnTo>
                        <a:pt x="404" y="432"/>
                      </a:lnTo>
                      <a:lnTo>
                        <a:pt x="350" y="415"/>
                      </a:lnTo>
                      <a:lnTo>
                        <a:pt x="333" y="387"/>
                      </a:lnTo>
                      <a:lnTo>
                        <a:pt x="321" y="399"/>
                      </a:lnTo>
                      <a:lnTo>
                        <a:pt x="300" y="387"/>
                      </a:lnTo>
                      <a:lnTo>
                        <a:pt x="279" y="387"/>
                      </a:lnTo>
                      <a:lnTo>
                        <a:pt x="269" y="399"/>
                      </a:lnTo>
                      <a:lnTo>
                        <a:pt x="269" y="403"/>
                      </a:lnTo>
                      <a:lnTo>
                        <a:pt x="262" y="403"/>
                      </a:lnTo>
                      <a:lnTo>
                        <a:pt x="210" y="403"/>
                      </a:lnTo>
                      <a:lnTo>
                        <a:pt x="173" y="432"/>
                      </a:lnTo>
                      <a:lnTo>
                        <a:pt x="161" y="453"/>
                      </a:lnTo>
                      <a:lnTo>
                        <a:pt x="156" y="460"/>
                      </a:lnTo>
                      <a:lnTo>
                        <a:pt x="123" y="470"/>
                      </a:lnTo>
                      <a:lnTo>
                        <a:pt x="102" y="470"/>
                      </a:lnTo>
                      <a:lnTo>
                        <a:pt x="90" y="420"/>
                      </a:lnTo>
                      <a:lnTo>
                        <a:pt x="90" y="366"/>
                      </a:lnTo>
                      <a:lnTo>
                        <a:pt x="106" y="333"/>
                      </a:lnTo>
                      <a:lnTo>
                        <a:pt x="85" y="321"/>
                      </a:lnTo>
                      <a:lnTo>
                        <a:pt x="80" y="304"/>
                      </a:lnTo>
                      <a:lnTo>
                        <a:pt x="47" y="292"/>
                      </a:lnTo>
                      <a:lnTo>
                        <a:pt x="47" y="309"/>
                      </a:lnTo>
                      <a:lnTo>
                        <a:pt x="47" y="288"/>
                      </a:lnTo>
                      <a:lnTo>
                        <a:pt x="52" y="271"/>
                      </a:lnTo>
                      <a:lnTo>
                        <a:pt x="52" y="288"/>
                      </a:lnTo>
                      <a:lnTo>
                        <a:pt x="80" y="288"/>
                      </a:lnTo>
                      <a:lnTo>
                        <a:pt x="90" y="288"/>
                      </a:lnTo>
                      <a:lnTo>
                        <a:pt x="69" y="271"/>
                      </a:lnTo>
                      <a:lnTo>
                        <a:pt x="80" y="248"/>
                      </a:lnTo>
                      <a:lnTo>
                        <a:pt x="31" y="248"/>
                      </a:lnTo>
                      <a:lnTo>
                        <a:pt x="38" y="264"/>
                      </a:lnTo>
                      <a:lnTo>
                        <a:pt x="17" y="238"/>
                      </a:lnTo>
                      <a:lnTo>
                        <a:pt x="17" y="210"/>
                      </a:lnTo>
                      <a:lnTo>
                        <a:pt x="31" y="181"/>
                      </a:lnTo>
                      <a:lnTo>
                        <a:pt x="31" y="153"/>
                      </a:lnTo>
                      <a:lnTo>
                        <a:pt x="47" y="177"/>
                      </a:lnTo>
                      <a:lnTo>
                        <a:pt x="69" y="181"/>
                      </a:lnTo>
                      <a:lnTo>
                        <a:pt x="80" y="165"/>
                      </a:lnTo>
                      <a:lnTo>
                        <a:pt x="90" y="193"/>
                      </a:lnTo>
                      <a:lnTo>
                        <a:pt x="139" y="181"/>
                      </a:lnTo>
                      <a:lnTo>
                        <a:pt x="123" y="165"/>
                      </a:lnTo>
                      <a:lnTo>
                        <a:pt x="135" y="160"/>
                      </a:lnTo>
                      <a:lnTo>
                        <a:pt x="139" y="177"/>
                      </a:lnTo>
                      <a:lnTo>
                        <a:pt x="156" y="165"/>
                      </a:lnTo>
                      <a:lnTo>
                        <a:pt x="161" y="153"/>
                      </a:lnTo>
                      <a:lnTo>
                        <a:pt x="118" y="120"/>
                      </a:lnTo>
                      <a:lnTo>
                        <a:pt x="102" y="66"/>
                      </a:lnTo>
                      <a:lnTo>
                        <a:pt x="90" y="54"/>
                      </a:lnTo>
                      <a:lnTo>
                        <a:pt x="47" y="66"/>
                      </a:lnTo>
                      <a:lnTo>
                        <a:pt x="31" y="70"/>
                      </a:lnTo>
                      <a:lnTo>
                        <a:pt x="26" y="99"/>
                      </a:lnTo>
                      <a:lnTo>
                        <a:pt x="31" y="99"/>
                      </a:lnTo>
                      <a:lnTo>
                        <a:pt x="26" y="120"/>
                      </a:lnTo>
                      <a:lnTo>
                        <a:pt x="31" y="153"/>
                      </a:lnTo>
                      <a:lnTo>
                        <a:pt x="26" y="127"/>
                      </a:lnTo>
                      <a:lnTo>
                        <a:pt x="10" y="111"/>
                      </a:lnTo>
                      <a:lnTo>
                        <a:pt x="10" y="103"/>
                      </a:lnTo>
                      <a:lnTo>
                        <a:pt x="0" y="99"/>
                      </a:lnTo>
                      <a:lnTo>
                        <a:pt x="38" y="54"/>
                      </a:lnTo>
                      <a:lnTo>
                        <a:pt x="69" y="49"/>
                      </a:lnTo>
                      <a:lnTo>
                        <a:pt x="123" y="37"/>
                      </a:lnTo>
                      <a:lnTo>
                        <a:pt x="177" y="82"/>
                      </a:lnTo>
                      <a:lnTo>
                        <a:pt x="177" y="87"/>
                      </a:lnTo>
                      <a:lnTo>
                        <a:pt x="210" y="137"/>
                      </a:lnTo>
                      <a:lnTo>
                        <a:pt x="246" y="127"/>
                      </a:lnTo>
                      <a:lnTo>
                        <a:pt x="321" y="137"/>
                      </a:lnTo>
                      <a:lnTo>
                        <a:pt x="321" y="127"/>
                      </a:lnTo>
                      <a:lnTo>
                        <a:pt x="317" y="99"/>
                      </a:lnTo>
                      <a:lnTo>
                        <a:pt x="317" y="82"/>
                      </a:lnTo>
                      <a:lnTo>
                        <a:pt x="350" y="54"/>
                      </a:lnTo>
                      <a:lnTo>
                        <a:pt x="376" y="54"/>
                      </a:lnTo>
                      <a:lnTo>
                        <a:pt x="392" y="26"/>
                      </a:lnTo>
                      <a:lnTo>
                        <a:pt x="409" y="33"/>
                      </a:lnTo>
                      <a:lnTo>
                        <a:pt x="413" y="49"/>
                      </a:lnTo>
                      <a:lnTo>
                        <a:pt x="425" y="49"/>
                      </a:lnTo>
                      <a:lnTo>
                        <a:pt x="404" y="16"/>
                      </a:lnTo>
                      <a:lnTo>
                        <a:pt x="409" y="9"/>
                      </a:lnTo>
                      <a:lnTo>
                        <a:pt x="425" y="16"/>
                      </a:lnTo>
                      <a:lnTo>
                        <a:pt x="430" y="0"/>
                      </a:lnTo>
                      <a:lnTo>
                        <a:pt x="456" y="26"/>
                      </a:lnTo>
                      <a:lnTo>
                        <a:pt x="468" y="26"/>
                      </a:lnTo>
                      <a:lnTo>
                        <a:pt x="477" y="37"/>
                      </a:lnTo>
                      <a:lnTo>
                        <a:pt x="515" y="37"/>
                      </a:lnTo>
                      <a:lnTo>
                        <a:pt x="532" y="49"/>
                      </a:lnTo>
                      <a:lnTo>
                        <a:pt x="532" y="66"/>
                      </a:lnTo>
                      <a:lnTo>
                        <a:pt x="548" y="87"/>
                      </a:lnTo>
                      <a:lnTo>
                        <a:pt x="532" y="87"/>
                      </a:lnTo>
                      <a:lnTo>
                        <a:pt x="539" y="103"/>
                      </a:lnTo>
                      <a:lnTo>
                        <a:pt x="532" y="120"/>
                      </a:lnTo>
                      <a:lnTo>
                        <a:pt x="539" y="127"/>
                      </a:lnTo>
                      <a:lnTo>
                        <a:pt x="565" y="137"/>
                      </a:lnTo>
                      <a:lnTo>
                        <a:pt x="591" y="137"/>
                      </a:lnTo>
                      <a:lnTo>
                        <a:pt x="619" y="144"/>
                      </a:lnTo>
                      <a:lnTo>
                        <a:pt x="628" y="127"/>
                      </a:lnTo>
                      <a:lnTo>
                        <a:pt x="662" y="144"/>
                      </a:lnTo>
                      <a:lnTo>
                        <a:pt x="678" y="193"/>
                      </a:lnTo>
                      <a:lnTo>
                        <a:pt x="695" y="210"/>
                      </a:lnTo>
                      <a:lnTo>
                        <a:pt x="699" y="238"/>
                      </a:lnTo>
                      <a:lnTo>
                        <a:pt x="780" y="292"/>
                      </a:lnTo>
                      <a:lnTo>
                        <a:pt x="784" y="309"/>
                      </a:lnTo>
                      <a:lnTo>
                        <a:pt x="817" y="333"/>
                      </a:lnTo>
                      <a:lnTo>
                        <a:pt x="834" y="326"/>
                      </a:lnTo>
                      <a:lnTo>
                        <a:pt x="914" y="387"/>
                      </a:lnTo>
                      <a:lnTo>
                        <a:pt x="940" y="387"/>
                      </a:lnTo>
                      <a:lnTo>
                        <a:pt x="995" y="415"/>
                      </a:lnTo>
                      <a:lnTo>
                        <a:pt x="985" y="432"/>
                      </a:lnTo>
                      <a:lnTo>
                        <a:pt x="985" y="460"/>
                      </a:lnTo>
                      <a:lnTo>
                        <a:pt x="985" y="460"/>
                      </a:lnTo>
                      <a:lnTo>
                        <a:pt x="985" y="46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4" name="Freeform 580">
                  <a:extLst>
                    <a:ext uri="{FF2B5EF4-FFF2-40B4-BE49-F238E27FC236}">
                      <a16:creationId xmlns:a16="http://schemas.microsoft.com/office/drawing/2014/main" id="{8FA525B8-A99E-433A-B9B5-23361AB32BE5}"/>
                    </a:ext>
                  </a:extLst>
                </p:cNvPr>
                <p:cNvSpPr>
                  <a:spLocks noEditPoints="1"/>
                </p:cNvSpPr>
                <p:nvPr/>
              </p:nvSpPr>
              <p:spPr bwMode="gray">
                <a:xfrm>
                  <a:off x="6489938" y="1994953"/>
                  <a:ext cx="288581" cy="448359"/>
                </a:xfrm>
                <a:custGeom>
                  <a:avLst/>
                  <a:gdLst>
                    <a:gd name="T0" fmla="*/ 494 w 701"/>
                    <a:gd name="T1" fmla="*/ 38 h 1089"/>
                    <a:gd name="T2" fmla="*/ 494 w 701"/>
                    <a:gd name="T3" fmla="*/ 71 h 1089"/>
                    <a:gd name="T4" fmla="*/ 472 w 701"/>
                    <a:gd name="T5" fmla="*/ 71 h 1089"/>
                    <a:gd name="T6" fmla="*/ 489 w 701"/>
                    <a:gd name="T7" fmla="*/ 62 h 1089"/>
                    <a:gd name="T8" fmla="*/ 375 w 701"/>
                    <a:gd name="T9" fmla="*/ 206 h 1089"/>
                    <a:gd name="T10" fmla="*/ 347 w 701"/>
                    <a:gd name="T11" fmla="*/ 222 h 1089"/>
                    <a:gd name="T12" fmla="*/ 375 w 701"/>
                    <a:gd name="T13" fmla="*/ 215 h 1089"/>
                    <a:gd name="T14" fmla="*/ 201 w 701"/>
                    <a:gd name="T15" fmla="*/ 907 h 1089"/>
                    <a:gd name="T16" fmla="*/ 342 w 701"/>
                    <a:gd name="T17" fmla="*/ 770 h 1089"/>
                    <a:gd name="T18" fmla="*/ 375 w 701"/>
                    <a:gd name="T19" fmla="*/ 737 h 1089"/>
                    <a:gd name="T20" fmla="*/ 359 w 701"/>
                    <a:gd name="T21" fmla="*/ 610 h 1089"/>
                    <a:gd name="T22" fmla="*/ 234 w 701"/>
                    <a:gd name="T23" fmla="*/ 643 h 1089"/>
                    <a:gd name="T24" fmla="*/ 234 w 701"/>
                    <a:gd name="T25" fmla="*/ 503 h 1089"/>
                    <a:gd name="T26" fmla="*/ 217 w 701"/>
                    <a:gd name="T27" fmla="*/ 482 h 1089"/>
                    <a:gd name="T28" fmla="*/ 179 w 701"/>
                    <a:gd name="T29" fmla="*/ 499 h 1089"/>
                    <a:gd name="T30" fmla="*/ 196 w 701"/>
                    <a:gd name="T31" fmla="*/ 459 h 1089"/>
                    <a:gd name="T32" fmla="*/ 163 w 701"/>
                    <a:gd name="T33" fmla="*/ 425 h 1089"/>
                    <a:gd name="T34" fmla="*/ 170 w 701"/>
                    <a:gd name="T35" fmla="*/ 392 h 1089"/>
                    <a:gd name="T36" fmla="*/ 163 w 701"/>
                    <a:gd name="T37" fmla="*/ 350 h 1089"/>
                    <a:gd name="T38" fmla="*/ 184 w 701"/>
                    <a:gd name="T39" fmla="*/ 293 h 1089"/>
                    <a:gd name="T40" fmla="*/ 250 w 701"/>
                    <a:gd name="T41" fmla="*/ 239 h 1089"/>
                    <a:gd name="T42" fmla="*/ 288 w 701"/>
                    <a:gd name="T43" fmla="*/ 317 h 1089"/>
                    <a:gd name="T44" fmla="*/ 430 w 701"/>
                    <a:gd name="T45" fmla="*/ 333 h 1089"/>
                    <a:gd name="T46" fmla="*/ 375 w 701"/>
                    <a:gd name="T47" fmla="*/ 459 h 1089"/>
                    <a:gd name="T48" fmla="*/ 456 w 701"/>
                    <a:gd name="T49" fmla="*/ 548 h 1089"/>
                    <a:gd name="T50" fmla="*/ 581 w 701"/>
                    <a:gd name="T51" fmla="*/ 754 h 1089"/>
                    <a:gd name="T52" fmla="*/ 614 w 701"/>
                    <a:gd name="T53" fmla="*/ 808 h 1089"/>
                    <a:gd name="T54" fmla="*/ 668 w 701"/>
                    <a:gd name="T55" fmla="*/ 907 h 1089"/>
                    <a:gd name="T56" fmla="*/ 614 w 701"/>
                    <a:gd name="T57" fmla="*/ 957 h 1089"/>
                    <a:gd name="T58" fmla="*/ 522 w 701"/>
                    <a:gd name="T59" fmla="*/ 1018 h 1089"/>
                    <a:gd name="T60" fmla="*/ 364 w 701"/>
                    <a:gd name="T61" fmla="*/ 1018 h 1089"/>
                    <a:gd name="T62" fmla="*/ 212 w 701"/>
                    <a:gd name="T63" fmla="*/ 1089 h 1089"/>
                    <a:gd name="T64" fmla="*/ 255 w 701"/>
                    <a:gd name="T65" fmla="*/ 1018 h 1089"/>
                    <a:gd name="T66" fmla="*/ 342 w 701"/>
                    <a:gd name="T67" fmla="*/ 957 h 1089"/>
                    <a:gd name="T68" fmla="*/ 217 w 701"/>
                    <a:gd name="T69" fmla="*/ 936 h 1089"/>
                    <a:gd name="T70" fmla="*/ 104 w 701"/>
                    <a:gd name="T71" fmla="*/ 317 h 1089"/>
                    <a:gd name="T72" fmla="*/ 87 w 701"/>
                    <a:gd name="T73" fmla="*/ 277 h 1089"/>
                    <a:gd name="T74" fmla="*/ 142 w 701"/>
                    <a:gd name="T75" fmla="*/ 277 h 1089"/>
                    <a:gd name="T76" fmla="*/ 38 w 701"/>
                    <a:gd name="T77" fmla="*/ 338 h 1089"/>
                    <a:gd name="T78" fmla="*/ 146 w 701"/>
                    <a:gd name="T79" fmla="*/ 388 h 1089"/>
                    <a:gd name="T80" fmla="*/ 108 w 701"/>
                    <a:gd name="T81" fmla="*/ 338 h 1089"/>
                    <a:gd name="T82" fmla="*/ 163 w 701"/>
                    <a:gd name="T83" fmla="*/ 392 h 1089"/>
                    <a:gd name="T84" fmla="*/ 61 w 701"/>
                    <a:gd name="T85" fmla="*/ 392 h 1089"/>
                    <a:gd name="T86" fmla="*/ 49 w 701"/>
                    <a:gd name="T87" fmla="*/ 409 h 1089"/>
                    <a:gd name="T88" fmla="*/ 116 w 701"/>
                    <a:gd name="T89" fmla="*/ 404 h 1089"/>
                    <a:gd name="T90" fmla="*/ 142 w 701"/>
                    <a:gd name="T91" fmla="*/ 421 h 1089"/>
                    <a:gd name="T92" fmla="*/ 146 w 701"/>
                    <a:gd name="T93" fmla="*/ 466 h 1089"/>
                    <a:gd name="T94" fmla="*/ 78 w 701"/>
                    <a:gd name="T95" fmla="*/ 459 h 1089"/>
                    <a:gd name="T96" fmla="*/ 170 w 701"/>
                    <a:gd name="T97" fmla="*/ 492 h 1089"/>
                    <a:gd name="T98" fmla="*/ 142 w 701"/>
                    <a:gd name="T99" fmla="*/ 503 h 1089"/>
                    <a:gd name="T100" fmla="*/ 130 w 701"/>
                    <a:gd name="T101" fmla="*/ 548 h 1089"/>
                    <a:gd name="T102" fmla="*/ 217 w 701"/>
                    <a:gd name="T103" fmla="*/ 536 h 1089"/>
                    <a:gd name="T104" fmla="*/ 212 w 701"/>
                    <a:gd name="T105" fmla="*/ 560 h 1089"/>
                    <a:gd name="T106" fmla="*/ 38 w 701"/>
                    <a:gd name="T107" fmla="*/ 631 h 1089"/>
                    <a:gd name="T108" fmla="*/ 158 w 701"/>
                    <a:gd name="T109" fmla="*/ 647 h 1089"/>
                    <a:gd name="T110" fmla="*/ 158 w 701"/>
                    <a:gd name="T111" fmla="*/ 697 h 1089"/>
                    <a:gd name="T112" fmla="*/ 250 w 701"/>
                    <a:gd name="T113" fmla="*/ 770 h 1089"/>
                    <a:gd name="T114" fmla="*/ 635 w 701"/>
                    <a:gd name="T115" fmla="*/ 957 h 1089"/>
                    <a:gd name="T116" fmla="*/ 484 w 701"/>
                    <a:gd name="T117" fmla="*/ 1035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1" h="1089">
                      <a:moveTo>
                        <a:pt x="510" y="17"/>
                      </a:moveTo>
                      <a:lnTo>
                        <a:pt x="505" y="17"/>
                      </a:lnTo>
                      <a:lnTo>
                        <a:pt x="510" y="0"/>
                      </a:lnTo>
                      <a:lnTo>
                        <a:pt x="522" y="0"/>
                      </a:lnTo>
                      <a:lnTo>
                        <a:pt x="510" y="17"/>
                      </a:lnTo>
                      <a:lnTo>
                        <a:pt x="510" y="17"/>
                      </a:lnTo>
                      <a:lnTo>
                        <a:pt x="510" y="17"/>
                      </a:lnTo>
                      <a:close/>
                      <a:moveTo>
                        <a:pt x="494" y="38"/>
                      </a:moveTo>
                      <a:lnTo>
                        <a:pt x="489" y="22"/>
                      </a:lnTo>
                      <a:lnTo>
                        <a:pt x="505" y="5"/>
                      </a:lnTo>
                      <a:lnTo>
                        <a:pt x="505" y="33"/>
                      </a:lnTo>
                      <a:lnTo>
                        <a:pt x="494" y="38"/>
                      </a:lnTo>
                      <a:lnTo>
                        <a:pt x="494" y="38"/>
                      </a:lnTo>
                      <a:lnTo>
                        <a:pt x="494" y="38"/>
                      </a:lnTo>
                      <a:close/>
                      <a:moveTo>
                        <a:pt x="489" y="62"/>
                      </a:moveTo>
                      <a:lnTo>
                        <a:pt x="494" y="71"/>
                      </a:lnTo>
                      <a:lnTo>
                        <a:pt x="489" y="78"/>
                      </a:lnTo>
                      <a:lnTo>
                        <a:pt x="484" y="99"/>
                      </a:lnTo>
                      <a:lnTo>
                        <a:pt x="472" y="99"/>
                      </a:lnTo>
                      <a:lnTo>
                        <a:pt x="489" y="78"/>
                      </a:lnTo>
                      <a:lnTo>
                        <a:pt x="484" y="62"/>
                      </a:lnTo>
                      <a:lnTo>
                        <a:pt x="472" y="62"/>
                      </a:lnTo>
                      <a:lnTo>
                        <a:pt x="484" y="71"/>
                      </a:lnTo>
                      <a:lnTo>
                        <a:pt x="472" y="71"/>
                      </a:lnTo>
                      <a:lnTo>
                        <a:pt x="456" y="55"/>
                      </a:lnTo>
                      <a:lnTo>
                        <a:pt x="484" y="45"/>
                      </a:lnTo>
                      <a:lnTo>
                        <a:pt x="456" y="38"/>
                      </a:lnTo>
                      <a:lnTo>
                        <a:pt x="484" y="22"/>
                      </a:lnTo>
                      <a:lnTo>
                        <a:pt x="484" y="38"/>
                      </a:lnTo>
                      <a:lnTo>
                        <a:pt x="505" y="38"/>
                      </a:lnTo>
                      <a:lnTo>
                        <a:pt x="489" y="62"/>
                      </a:lnTo>
                      <a:lnTo>
                        <a:pt x="489" y="62"/>
                      </a:lnTo>
                      <a:lnTo>
                        <a:pt x="489" y="62"/>
                      </a:lnTo>
                      <a:close/>
                      <a:moveTo>
                        <a:pt x="385" y="173"/>
                      </a:moveTo>
                      <a:lnTo>
                        <a:pt x="385" y="166"/>
                      </a:lnTo>
                      <a:lnTo>
                        <a:pt x="401" y="166"/>
                      </a:lnTo>
                      <a:lnTo>
                        <a:pt x="385" y="173"/>
                      </a:lnTo>
                      <a:lnTo>
                        <a:pt x="385" y="173"/>
                      </a:lnTo>
                      <a:lnTo>
                        <a:pt x="385" y="173"/>
                      </a:lnTo>
                      <a:close/>
                      <a:moveTo>
                        <a:pt x="375" y="206"/>
                      </a:moveTo>
                      <a:lnTo>
                        <a:pt x="342" y="199"/>
                      </a:lnTo>
                      <a:lnTo>
                        <a:pt x="342" y="182"/>
                      </a:lnTo>
                      <a:lnTo>
                        <a:pt x="359" y="182"/>
                      </a:lnTo>
                      <a:lnTo>
                        <a:pt x="380" y="206"/>
                      </a:lnTo>
                      <a:lnTo>
                        <a:pt x="375" y="206"/>
                      </a:lnTo>
                      <a:lnTo>
                        <a:pt x="375" y="206"/>
                      </a:lnTo>
                      <a:lnTo>
                        <a:pt x="375" y="206"/>
                      </a:lnTo>
                      <a:close/>
                      <a:moveTo>
                        <a:pt x="347" y="222"/>
                      </a:moveTo>
                      <a:lnTo>
                        <a:pt x="331" y="206"/>
                      </a:lnTo>
                      <a:lnTo>
                        <a:pt x="347" y="215"/>
                      </a:lnTo>
                      <a:lnTo>
                        <a:pt x="347" y="222"/>
                      </a:lnTo>
                      <a:lnTo>
                        <a:pt x="347" y="222"/>
                      </a:lnTo>
                      <a:lnTo>
                        <a:pt x="347" y="222"/>
                      </a:lnTo>
                      <a:close/>
                      <a:moveTo>
                        <a:pt x="364" y="222"/>
                      </a:moveTo>
                      <a:lnTo>
                        <a:pt x="359" y="215"/>
                      </a:lnTo>
                      <a:lnTo>
                        <a:pt x="375" y="215"/>
                      </a:lnTo>
                      <a:lnTo>
                        <a:pt x="364" y="222"/>
                      </a:lnTo>
                      <a:lnTo>
                        <a:pt x="364" y="222"/>
                      </a:lnTo>
                      <a:lnTo>
                        <a:pt x="364" y="222"/>
                      </a:lnTo>
                      <a:close/>
                      <a:moveTo>
                        <a:pt x="217" y="936"/>
                      </a:moveTo>
                      <a:lnTo>
                        <a:pt x="234" y="924"/>
                      </a:lnTo>
                      <a:lnTo>
                        <a:pt x="201" y="924"/>
                      </a:lnTo>
                      <a:lnTo>
                        <a:pt x="217" y="924"/>
                      </a:lnTo>
                      <a:lnTo>
                        <a:pt x="201" y="907"/>
                      </a:lnTo>
                      <a:lnTo>
                        <a:pt x="276" y="879"/>
                      </a:lnTo>
                      <a:lnTo>
                        <a:pt x="288" y="853"/>
                      </a:lnTo>
                      <a:lnTo>
                        <a:pt x="276" y="813"/>
                      </a:lnTo>
                      <a:lnTo>
                        <a:pt x="255" y="825"/>
                      </a:lnTo>
                      <a:lnTo>
                        <a:pt x="238" y="825"/>
                      </a:lnTo>
                      <a:lnTo>
                        <a:pt x="238" y="825"/>
                      </a:lnTo>
                      <a:lnTo>
                        <a:pt x="276" y="780"/>
                      </a:lnTo>
                      <a:lnTo>
                        <a:pt x="342" y="770"/>
                      </a:lnTo>
                      <a:lnTo>
                        <a:pt x="359" y="780"/>
                      </a:lnTo>
                      <a:lnTo>
                        <a:pt x="347" y="770"/>
                      </a:lnTo>
                      <a:lnTo>
                        <a:pt x="359" y="770"/>
                      </a:lnTo>
                      <a:lnTo>
                        <a:pt x="375" y="775"/>
                      </a:lnTo>
                      <a:lnTo>
                        <a:pt x="380" y="770"/>
                      </a:lnTo>
                      <a:lnTo>
                        <a:pt x="364" y="770"/>
                      </a:lnTo>
                      <a:lnTo>
                        <a:pt x="359" y="754"/>
                      </a:lnTo>
                      <a:lnTo>
                        <a:pt x="375" y="737"/>
                      </a:lnTo>
                      <a:lnTo>
                        <a:pt x="359" y="725"/>
                      </a:lnTo>
                      <a:lnTo>
                        <a:pt x="359" y="714"/>
                      </a:lnTo>
                      <a:lnTo>
                        <a:pt x="364" y="714"/>
                      </a:lnTo>
                      <a:lnTo>
                        <a:pt x="375" y="681"/>
                      </a:lnTo>
                      <a:lnTo>
                        <a:pt x="347" y="697"/>
                      </a:lnTo>
                      <a:lnTo>
                        <a:pt x="321" y="659"/>
                      </a:lnTo>
                      <a:lnTo>
                        <a:pt x="331" y="614"/>
                      </a:lnTo>
                      <a:lnTo>
                        <a:pt x="359" y="610"/>
                      </a:lnTo>
                      <a:lnTo>
                        <a:pt x="326" y="610"/>
                      </a:lnTo>
                      <a:lnTo>
                        <a:pt x="321" y="614"/>
                      </a:lnTo>
                      <a:lnTo>
                        <a:pt x="293" y="631"/>
                      </a:lnTo>
                      <a:lnTo>
                        <a:pt x="267" y="614"/>
                      </a:lnTo>
                      <a:lnTo>
                        <a:pt x="267" y="643"/>
                      </a:lnTo>
                      <a:lnTo>
                        <a:pt x="234" y="614"/>
                      </a:lnTo>
                      <a:lnTo>
                        <a:pt x="222" y="626"/>
                      </a:lnTo>
                      <a:lnTo>
                        <a:pt x="234" y="643"/>
                      </a:lnTo>
                      <a:lnTo>
                        <a:pt x="222" y="643"/>
                      </a:lnTo>
                      <a:lnTo>
                        <a:pt x="212" y="614"/>
                      </a:lnTo>
                      <a:lnTo>
                        <a:pt x="212" y="610"/>
                      </a:lnTo>
                      <a:lnTo>
                        <a:pt x="250" y="553"/>
                      </a:lnTo>
                      <a:lnTo>
                        <a:pt x="222" y="536"/>
                      </a:lnTo>
                      <a:lnTo>
                        <a:pt x="234" y="515"/>
                      </a:lnTo>
                      <a:lnTo>
                        <a:pt x="255" y="515"/>
                      </a:lnTo>
                      <a:lnTo>
                        <a:pt x="234" y="503"/>
                      </a:lnTo>
                      <a:lnTo>
                        <a:pt x="234" y="492"/>
                      </a:lnTo>
                      <a:lnTo>
                        <a:pt x="222" y="520"/>
                      </a:lnTo>
                      <a:lnTo>
                        <a:pt x="212" y="515"/>
                      </a:lnTo>
                      <a:lnTo>
                        <a:pt x="212" y="520"/>
                      </a:lnTo>
                      <a:lnTo>
                        <a:pt x="201" y="520"/>
                      </a:lnTo>
                      <a:lnTo>
                        <a:pt x="201" y="503"/>
                      </a:lnTo>
                      <a:lnTo>
                        <a:pt x="222" y="482"/>
                      </a:lnTo>
                      <a:lnTo>
                        <a:pt x="217" y="482"/>
                      </a:lnTo>
                      <a:lnTo>
                        <a:pt x="196" y="503"/>
                      </a:lnTo>
                      <a:lnTo>
                        <a:pt x="196" y="532"/>
                      </a:lnTo>
                      <a:lnTo>
                        <a:pt x="184" y="548"/>
                      </a:lnTo>
                      <a:lnTo>
                        <a:pt x="184" y="570"/>
                      </a:lnTo>
                      <a:lnTo>
                        <a:pt x="163" y="577"/>
                      </a:lnTo>
                      <a:lnTo>
                        <a:pt x="179" y="532"/>
                      </a:lnTo>
                      <a:lnTo>
                        <a:pt x="170" y="515"/>
                      </a:lnTo>
                      <a:lnTo>
                        <a:pt x="179" y="499"/>
                      </a:lnTo>
                      <a:lnTo>
                        <a:pt x="170" y="503"/>
                      </a:lnTo>
                      <a:lnTo>
                        <a:pt x="184" y="492"/>
                      </a:lnTo>
                      <a:lnTo>
                        <a:pt x="179" y="492"/>
                      </a:lnTo>
                      <a:lnTo>
                        <a:pt x="179" y="475"/>
                      </a:lnTo>
                      <a:lnTo>
                        <a:pt x="217" y="449"/>
                      </a:lnTo>
                      <a:lnTo>
                        <a:pt x="217" y="449"/>
                      </a:lnTo>
                      <a:lnTo>
                        <a:pt x="212" y="459"/>
                      </a:lnTo>
                      <a:lnTo>
                        <a:pt x="196" y="459"/>
                      </a:lnTo>
                      <a:lnTo>
                        <a:pt x="201" y="449"/>
                      </a:lnTo>
                      <a:lnTo>
                        <a:pt x="196" y="442"/>
                      </a:lnTo>
                      <a:lnTo>
                        <a:pt x="212" y="421"/>
                      </a:lnTo>
                      <a:lnTo>
                        <a:pt x="170" y="459"/>
                      </a:lnTo>
                      <a:lnTo>
                        <a:pt x="146" y="442"/>
                      </a:lnTo>
                      <a:lnTo>
                        <a:pt x="184" y="437"/>
                      </a:lnTo>
                      <a:lnTo>
                        <a:pt x="130" y="437"/>
                      </a:lnTo>
                      <a:lnTo>
                        <a:pt x="163" y="425"/>
                      </a:lnTo>
                      <a:lnTo>
                        <a:pt x="163" y="425"/>
                      </a:lnTo>
                      <a:lnTo>
                        <a:pt x="163" y="421"/>
                      </a:lnTo>
                      <a:lnTo>
                        <a:pt x="179" y="421"/>
                      </a:lnTo>
                      <a:lnTo>
                        <a:pt x="158" y="409"/>
                      </a:lnTo>
                      <a:lnTo>
                        <a:pt x="163" y="404"/>
                      </a:lnTo>
                      <a:lnTo>
                        <a:pt x="184" y="404"/>
                      </a:lnTo>
                      <a:lnTo>
                        <a:pt x="163" y="392"/>
                      </a:lnTo>
                      <a:lnTo>
                        <a:pt x="170" y="392"/>
                      </a:lnTo>
                      <a:lnTo>
                        <a:pt x="196" y="392"/>
                      </a:lnTo>
                      <a:lnTo>
                        <a:pt x="179" y="388"/>
                      </a:lnTo>
                      <a:lnTo>
                        <a:pt x="179" y="383"/>
                      </a:lnTo>
                      <a:lnTo>
                        <a:pt x="196" y="383"/>
                      </a:lnTo>
                      <a:lnTo>
                        <a:pt x="179" y="371"/>
                      </a:lnTo>
                      <a:lnTo>
                        <a:pt x="184" y="366"/>
                      </a:lnTo>
                      <a:lnTo>
                        <a:pt x="163" y="366"/>
                      </a:lnTo>
                      <a:lnTo>
                        <a:pt x="163" y="350"/>
                      </a:lnTo>
                      <a:lnTo>
                        <a:pt x="184" y="350"/>
                      </a:lnTo>
                      <a:lnTo>
                        <a:pt x="163" y="338"/>
                      </a:lnTo>
                      <a:lnTo>
                        <a:pt x="163" y="317"/>
                      </a:lnTo>
                      <a:lnTo>
                        <a:pt x="170" y="317"/>
                      </a:lnTo>
                      <a:lnTo>
                        <a:pt x="179" y="326"/>
                      </a:lnTo>
                      <a:lnTo>
                        <a:pt x="179" y="310"/>
                      </a:lnTo>
                      <a:lnTo>
                        <a:pt x="217" y="317"/>
                      </a:lnTo>
                      <a:lnTo>
                        <a:pt x="184" y="293"/>
                      </a:lnTo>
                      <a:lnTo>
                        <a:pt x="201" y="293"/>
                      </a:lnTo>
                      <a:lnTo>
                        <a:pt x="196" y="277"/>
                      </a:lnTo>
                      <a:lnTo>
                        <a:pt x="217" y="277"/>
                      </a:lnTo>
                      <a:lnTo>
                        <a:pt x="212" y="260"/>
                      </a:lnTo>
                      <a:lnTo>
                        <a:pt x="222" y="239"/>
                      </a:lnTo>
                      <a:lnTo>
                        <a:pt x="238" y="244"/>
                      </a:lnTo>
                      <a:lnTo>
                        <a:pt x="238" y="255"/>
                      </a:lnTo>
                      <a:lnTo>
                        <a:pt x="250" y="239"/>
                      </a:lnTo>
                      <a:lnTo>
                        <a:pt x="271" y="244"/>
                      </a:lnTo>
                      <a:lnTo>
                        <a:pt x="359" y="227"/>
                      </a:lnTo>
                      <a:lnTo>
                        <a:pt x="359" y="255"/>
                      </a:lnTo>
                      <a:lnTo>
                        <a:pt x="347" y="272"/>
                      </a:lnTo>
                      <a:lnTo>
                        <a:pt x="293" y="310"/>
                      </a:lnTo>
                      <a:lnTo>
                        <a:pt x="288" y="317"/>
                      </a:lnTo>
                      <a:lnTo>
                        <a:pt x="267" y="310"/>
                      </a:lnTo>
                      <a:lnTo>
                        <a:pt x="288" y="317"/>
                      </a:lnTo>
                      <a:lnTo>
                        <a:pt x="309" y="317"/>
                      </a:lnTo>
                      <a:lnTo>
                        <a:pt x="293" y="333"/>
                      </a:lnTo>
                      <a:lnTo>
                        <a:pt x="271" y="333"/>
                      </a:lnTo>
                      <a:lnTo>
                        <a:pt x="267" y="350"/>
                      </a:lnTo>
                      <a:lnTo>
                        <a:pt x="288" y="338"/>
                      </a:lnTo>
                      <a:lnTo>
                        <a:pt x="276" y="355"/>
                      </a:lnTo>
                      <a:lnTo>
                        <a:pt x="326" y="333"/>
                      </a:lnTo>
                      <a:lnTo>
                        <a:pt x="430" y="333"/>
                      </a:lnTo>
                      <a:lnTo>
                        <a:pt x="439" y="333"/>
                      </a:lnTo>
                      <a:lnTo>
                        <a:pt x="451" y="355"/>
                      </a:lnTo>
                      <a:lnTo>
                        <a:pt x="434" y="371"/>
                      </a:lnTo>
                      <a:lnTo>
                        <a:pt x="418" y="421"/>
                      </a:lnTo>
                      <a:lnTo>
                        <a:pt x="397" y="437"/>
                      </a:lnTo>
                      <a:lnTo>
                        <a:pt x="397" y="449"/>
                      </a:lnTo>
                      <a:lnTo>
                        <a:pt x="342" y="466"/>
                      </a:lnTo>
                      <a:lnTo>
                        <a:pt x="375" y="459"/>
                      </a:lnTo>
                      <a:lnTo>
                        <a:pt x="397" y="482"/>
                      </a:lnTo>
                      <a:lnTo>
                        <a:pt x="331" y="503"/>
                      </a:lnTo>
                      <a:lnTo>
                        <a:pt x="309" y="503"/>
                      </a:lnTo>
                      <a:lnTo>
                        <a:pt x="359" y="515"/>
                      </a:lnTo>
                      <a:lnTo>
                        <a:pt x="385" y="499"/>
                      </a:lnTo>
                      <a:lnTo>
                        <a:pt x="430" y="520"/>
                      </a:lnTo>
                      <a:lnTo>
                        <a:pt x="439" y="548"/>
                      </a:lnTo>
                      <a:lnTo>
                        <a:pt x="456" y="548"/>
                      </a:lnTo>
                      <a:lnTo>
                        <a:pt x="484" y="631"/>
                      </a:lnTo>
                      <a:lnTo>
                        <a:pt x="489" y="643"/>
                      </a:lnTo>
                      <a:lnTo>
                        <a:pt x="538" y="659"/>
                      </a:lnTo>
                      <a:lnTo>
                        <a:pt x="548" y="681"/>
                      </a:lnTo>
                      <a:lnTo>
                        <a:pt x="564" y="697"/>
                      </a:lnTo>
                      <a:lnTo>
                        <a:pt x="560" y="702"/>
                      </a:lnTo>
                      <a:lnTo>
                        <a:pt x="581" y="742"/>
                      </a:lnTo>
                      <a:lnTo>
                        <a:pt x="581" y="754"/>
                      </a:lnTo>
                      <a:lnTo>
                        <a:pt x="560" y="737"/>
                      </a:lnTo>
                      <a:lnTo>
                        <a:pt x="522" y="737"/>
                      </a:lnTo>
                      <a:lnTo>
                        <a:pt x="548" y="737"/>
                      </a:lnTo>
                      <a:lnTo>
                        <a:pt x="593" y="770"/>
                      </a:lnTo>
                      <a:lnTo>
                        <a:pt x="597" y="792"/>
                      </a:lnTo>
                      <a:lnTo>
                        <a:pt x="576" y="813"/>
                      </a:lnTo>
                      <a:lnTo>
                        <a:pt x="597" y="825"/>
                      </a:lnTo>
                      <a:lnTo>
                        <a:pt x="614" y="808"/>
                      </a:lnTo>
                      <a:lnTo>
                        <a:pt x="635" y="808"/>
                      </a:lnTo>
                      <a:lnTo>
                        <a:pt x="668" y="813"/>
                      </a:lnTo>
                      <a:lnTo>
                        <a:pt x="690" y="829"/>
                      </a:lnTo>
                      <a:lnTo>
                        <a:pt x="701" y="853"/>
                      </a:lnTo>
                      <a:lnTo>
                        <a:pt x="685" y="891"/>
                      </a:lnTo>
                      <a:lnTo>
                        <a:pt x="668" y="907"/>
                      </a:lnTo>
                      <a:lnTo>
                        <a:pt x="657" y="903"/>
                      </a:lnTo>
                      <a:lnTo>
                        <a:pt x="668" y="907"/>
                      </a:lnTo>
                      <a:lnTo>
                        <a:pt x="657" y="919"/>
                      </a:lnTo>
                      <a:lnTo>
                        <a:pt x="647" y="919"/>
                      </a:lnTo>
                      <a:lnTo>
                        <a:pt x="619" y="924"/>
                      </a:lnTo>
                      <a:lnTo>
                        <a:pt x="635" y="924"/>
                      </a:lnTo>
                      <a:lnTo>
                        <a:pt x="647" y="940"/>
                      </a:lnTo>
                      <a:lnTo>
                        <a:pt x="597" y="957"/>
                      </a:lnTo>
                      <a:lnTo>
                        <a:pt x="619" y="947"/>
                      </a:lnTo>
                      <a:lnTo>
                        <a:pt x="614" y="957"/>
                      </a:lnTo>
                      <a:lnTo>
                        <a:pt x="635" y="964"/>
                      </a:lnTo>
                      <a:lnTo>
                        <a:pt x="673" y="957"/>
                      </a:lnTo>
                      <a:lnTo>
                        <a:pt x="673" y="981"/>
                      </a:lnTo>
                      <a:lnTo>
                        <a:pt x="647" y="990"/>
                      </a:lnTo>
                      <a:lnTo>
                        <a:pt x="647" y="1002"/>
                      </a:lnTo>
                      <a:lnTo>
                        <a:pt x="593" y="1018"/>
                      </a:lnTo>
                      <a:lnTo>
                        <a:pt x="560" y="1014"/>
                      </a:lnTo>
                      <a:lnTo>
                        <a:pt x="522" y="1018"/>
                      </a:lnTo>
                      <a:lnTo>
                        <a:pt x="510" y="1014"/>
                      </a:lnTo>
                      <a:lnTo>
                        <a:pt x="494" y="1014"/>
                      </a:lnTo>
                      <a:lnTo>
                        <a:pt x="494" y="1018"/>
                      </a:lnTo>
                      <a:lnTo>
                        <a:pt x="430" y="1018"/>
                      </a:lnTo>
                      <a:lnTo>
                        <a:pt x="434" y="1035"/>
                      </a:lnTo>
                      <a:lnTo>
                        <a:pt x="401" y="1030"/>
                      </a:lnTo>
                      <a:lnTo>
                        <a:pt x="401" y="1035"/>
                      </a:lnTo>
                      <a:lnTo>
                        <a:pt x="364" y="1018"/>
                      </a:lnTo>
                      <a:lnTo>
                        <a:pt x="331" y="1035"/>
                      </a:lnTo>
                      <a:lnTo>
                        <a:pt x="309" y="1068"/>
                      </a:lnTo>
                      <a:lnTo>
                        <a:pt x="276" y="1051"/>
                      </a:lnTo>
                      <a:lnTo>
                        <a:pt x="267" y="1056"/>
                      </a:lnTo>
                      <a:lnTo>
                        <a:pt x="238" y="1056"/>
                      </a:lnTo>
                      <a:lnTo>
                        <a:pt x="217" y="1073"/>
                      </a:lnTo>
                      <a:lnTo>
                        <a:pt x="217" y="1084"/>
                      </a:lnTo>
                      <a:lnTo>
                        <a:pt x="212" y="1089"/>
                      </a:lnTo>
                      <a:lnTo>
                        <a:pt x="184" y="1073"/>
                      </a:lnTo>
                      <a:lnTo>
                        <a:pt x="170" y="1084"/>
                      </a:lnTo>
                      <a:lnTo>
                        <a:pt x="170" y="1073"/>
                      </a:lnTo>
                      <a:lnTo>
                        <a:pt x="196" y="1073"/>
                      </a:lnTo>
                      <a:lnTo>
                        <a:pt x="217" y="1051"/>
                      </a:lnTo>
                      <a:lnTo>
                        <a:pt x="217" y="1035"/>
                      </a:lnTo>
                      <a:lnTo>
                        <a:pt x="238" y="1035"/>
                      </a:lnTo>
                      <a:lnTo>
                        <a:pt x="255" y="1018"/>
                      </a:lnTo>
                      <a:lnTo>
                        <a:pt x="255" y="997"/>
                      </a:lnTo>
                      <a:lnTo>
                        <a:pt x="271" y="997"/>
                      </a:lnTo>
                      <a:lnTo>
                        <a:pt x="276" y="990"/>
                      </a:lnTo>
                      <a:lnTo>
                        <a:pt x="276" y="981"/>
                      </a:lnTo>
                      <a:lnTo>
                        <a:pt x="359" y="973"/>
                      </a:lnTo>
                      <a:lnTo>
                        <a:pt x="364" y="957"/>
                      </a:lnTo>
                      <a:lnTo>
                        <a:pt x="401" y="924"/>
                      </a:lnTo>
                      <a:lnTo>
                        <a:pt x="342" y="957"/>
                      </a:lnTo>
                      <a:lnTo>
                        <a:pt x="326" y="957"/>
                      </a:lnTo>
                      <a:lnTo>
                        <a:pt x="305" y="936"/>
                      </a:lnTo>
                      <a:lnTo>
                        <a:pt x="276" y="947"/>
                      </a:lnTo>
                      <a:lnTo>
                        <a:pt x="271" y="940"/>
                      </a:lnTo>
                      <a:lnTo>
                        <a:pt x="288" y="936"/>
                      </a:lnTo>
                      <a:lnTo>
                        <a:pt x="267" y="924"/>
                      </a:lnTo>
                      <a:lnTo>
                        <a:pt x="217" y="936"/>
                      </a:lnTo>
                      <a:lnTo>
                        <a:pt x="217" y="936"/>
                      </a:lnTo>
                      <a:lnTo>
                        <a:pt x="217" y="936"/>
                      </a:lnTo>
                      <a:close/>
                      <a:moveTo>
                        <a:pt x="116" y="310"/>
                      </a:moveTo>
                      <a:lnTo>
                        <a:pt x="104" y="310"/>
                      </a:lnTo>
                      <a:lnTo>
                        <a:pt x="104" y="298"/>
                      </a:lnTo>
                      <a:lnTo>
                        <a:pt x="108" y="293"/>
                      </a:lnTo>
                      <a:lnTo>
                        <a:pt x="104" y="293"/>
                      </a:lnTo>
                      <a:lnTo>
                        <a:pt x="104" y="298"/>
                      </a:lnTo>
                      <a:lnTo>
                        <a:pt x="104" y="317"/>
                      </a:lnTo>
                      <a:lnTo>
                        <a:pt x="87" y="333"/>
                      </a:lnTo>
                      <a:lnTo>
                        <a:pt x="71" y="317"/>
                      </a:lnTo>
                      <a:lnTo>
                        <a:pt x="92" y="310"/>
                      </a:lnTo>
                      <a:lnTo>
                        <a:pt x="71" y="298"/>
                      </a:lnTo>
                      <a:lnTo>
                        <a:pt x="78" y="298"/>
                      </a:lnTo>
                      <a:lnTo>
                        <a:pt x="71" y="281"/>
                      </a:lnTo>
                      <a:lnTo>
                        <a:pt x="78" y="277"/>
                      </a:lnTo>
                      <a:lnTo>
                        <a:pt x="87" y="277"/>
                      </a:lnTo>
                      <a:lnTo>
                        <a:pt x="92" y="293"/>
                      </a:lnTo>
                      <a:lnTo>
                        <a:pt x="92" y="281"/>
                      </a:lnTo>
                      <a:lnTo>
                        <a:pt x="104" y="277"/>
                      </a:lnTo>
                      <a:lnTo>
                        <a:pt x="92" y="272"/>
                      </a:lnTo>
                      <a:lnTo>
                        <a:pt x="130" y="244"/>
                      </a:lnTo>
                      <a:lnTo>
                        <a:pt x="142" y="255"/>
                      </a:lnTo>
                      <a:lnTo>
                        <a:pt x="125" y="277"/>
                      </a:lnTo>
                      <a:lnTo>
                        <a:pt x="142" y="277"/>
                      </a:lnTo>
                      <a:lnTo>
                        <a:pt x="108" y="293"/>
                      </a:lnTo>
                      <a:lnTo>
                        <a:pt x="125" y="293"/>
                      </a:lnTo>
                      <a:lnTo>
                        <a:pt x="125" y="298"/>
                      </a:lnTo>
                      <a:lnTo>
                        <a:pt x="116" y="310"/>
                      </a:lnTo>
                      <a:lnTo>
                        <a:pt x="116" y="310"/>
                      </a:lnTo>
                      <a:lnTo>
                        <a:pt x="116" y="310"/>
                      </a:lnTo>
                      <a:close/>
                      <a:moveTo>
                        <a:pt x="61" y="350"/>
                      </a:moveTo>
                      <a:lnTo>
                        <a:pt x="38" y="338"/>
                      </a:lnTo>
                      <a:lnTo>
                        <a:pt x="71" y="333"/>
                      </a:lnTo>
                      <a:lnTo>
                        <a:pt x="78" y="338"/>
                      </a:lnTo>
                      <a:lnTo>
                        <a:pt x="61" y="350"/>
                      </a:lnTo>
                      <a:lnTo>
                        <a:pt x="61" y="350"/>
                      </a:lnTo>
                      <a:lnTo>
                        <a:pt x="61" y="350"/>
                      </a:lnTo>
                      <a:close/>
                      <a:moveTo>
                        <a:pt x="163" y="392"/>
                      </a:moveTo>
                      <a:lnTo>
                        <a:pt x="146" y="404"/>
                      </a:lnTo>
                      <a:lnTo>
                        <a:pt x="146" y="388"/>
                      </a:lnTo>
                      <a:lnTo>
                        <a:pt x="130" y="388"/>
                      </a:lnTo>
                      <a:lnTo>
                        <a:pt x="116" y="371"/>
                      </a:lnTo>
                      <a:lnTo>
                        <a:pt x="130" y="371"/>
                      </a:lnTo>
                      <a:lnTo>
                        <a:pt x="116" y="366"/>
                      </a:lnTo>
                      <a:lnTo>
                        <a:pt x="108" y="371"/>
                      </a:lnTo>
                      <a:lnTo>
                        <a:pt x="104" y="366"/>
                      </a:lnTo>
                      <a:lnTo>
                        <a:pt x="92" y="355"/>
                      </a:lnTo>
                      <a:lnTo>
                        <a:pt x="108" y="338"/>
                      </a:lnTo>
                      <a:lnTo>
                        <a:pt x="125" y="350"/>
                      </a:lnTo>
                      <a:lnTo>
                        <a:pt x="125" y="338"/>
                      </a:lnTo>
                      <a:lnTo>
                        <a:pt x="130" y="333"/>
                      </a:lnTo>
                      <a:lnTo>
                        <a:pt x="142" y="350"/>
                      </a:lnTo>
                      <a:lnTo>
                        <a:pt x="142" y="371"/>
                      </a:lnTo>
                      <a:lnTo>
                        <a:pt x="179" y="383"/>
                      </a:lnTo>
                      <a:lnTo>
                        <a:pt x="163" y="392"/>
                      </a:lnTo>
                      <a:lnTo>
                        <a:pt x="163" y="392"/>
                      </a:lnTo>
                      <a:lnTo>
                        <a:pt x="163" y="392"/>
                      </a:lnTo>
                      <a:close/>
                      <a:moveTo>
                        <a:pt x="61" y="366"/>
                      </a:moveTo>
                      <a:lnTo>
                        <a:pt x="54" y="355"/>
                      </a:lnTo>
                      <a:lnTo>
                        <a:pt x="61" y="355"/>
                      </a:lnTo>
                      <a:lnTo>
                        <a:pt x="61" y="366"/>
                      </a:lnTo>
                      <a:lnTo>
                        <a:pt x="61" y="366"/>
                      </a:lnTo>
                      <a:lnTo>
                        <a:pt x="61" y="366"/>
                      </a:lnTo>
                      <a:close/>
                      <a:moveTo>
                        <a:pt x="61" y="392"/>
                      </a:moveTo>
                      <a:lnTo>
                        <a:pt x="54" y="392"/>
                      </a:lnTo>
                      <a:lnTo>
                        <a:pt x="54" y="366"/>
                      </a:lnTo>
                      <a:lnTo>
                        <a:pt x="61" y="371"/>
                      </a:lnTo>
                      <a:lnTo>
                        <a:pt x="61" y="371"/>
                      </a:lnTo>
                      <a:lnTo>
                        <a:pt x="61" y="392"/>
                      </a:lnTo>
                      <a:lnTo>
                        <a:pt x="61" y="392"/>
                      </a:lnTo>
                      <a:lnTo>
                        <a:pt x="61" y="392"/>
                      </a:lnTo>
                      <a:close/>
                      <a:moveTo>
                        <a:pt x="49" y="409"/>
                      </a:moveTo>
                      <a:lnTo>
                        <a:pt x="38" y="409"/>
                      </a:lnTo>
                      <a:lnTo>
                        <a:pt x="49" y="392"/>
                      </a:lnTo>
                      <a:lnTo>
                        <a:pt x="54" y="404"/>
                      </a:lnTo>
                      <a:lnTo>
                        <a:pt x="49" y="409"/>
                      </a:lnTo>
                      <a:lnTo>
                        <a:pt x="49" y="409"/>
                      </a:lnTo>
                      <a:lnTo>
                        <a:pt x="49" y="409"/>
                      </a:lnTo>
                      <a:close/>
                      <a:moveTo>
                        <a:pt x="130" y="409"/>
                      </a:moveTo>
                      <a:lnTo>
                        <a:pt x="116" y="404"/>
                      </a:lnTo>
                      <a:lnTo>
                        <a:pt x="130" y="404"/>
                      </a:lnTo>
                      <a:lnTo>
                        <a:pt x="130" y="409"/>
                      </a:lnTo>
                      <a:lnTo>
                        <a:pt x="130" y="409"/>
                      </a:lnTo>
                      <a:lnTo>
                        <a:pt x="130" y="409"/>
                      </a:lnTo>
                      <a:close/>
                      <a:moveTo>
                        <a:pt x="142" y="421"/>
                      </a:moveTo>
                      <a:lnTo>
                        <a:pt x="142" y="409"/>
                      </a:lnTo>
                      <a:lnTo>
                        <a:pt x="142" y="409"/>
                      </a:lnTo>
                      <a:lnTo>
                        <a:pt x="142" y="421"/>
                      </a:lnTo>
                      <a:lnTo>
                        <a:pt x="142" y="421"/>
                      </a:lnTo>
                      <a:lnTo>
                        <a:pt x="142" y="421"/>
                      </a:lnTo>
                      <a:close/>
                      <a:moveTo>
                        <a:pt x="142" y="442"/>
                      </a:moveTo>
                      <a:lnTo>
                        <a:pt x="179" y="466"/>
                      </a:lnTo>
                      <a:lnTo>
                        <a:pt x="163" y="475"/>
                      </a:lnTo>
                      <a:lnTo>
                        <a:pt x="130" y="482"/>
                      </a:lnTo>
                      <a:lnTo>
                        <a:pt x="125" y="475"/>
                      </a:lnTo>
                      <a:lnTo>
                        <a:pt x="146" y="466"/>
                      </a:lnTo>
                      <a:lnTo>
                        <a:pt x="142" y="466"/>
                      </a:lnTo>
                      <a:lnTo>
                        <a:pt x="146" y="459"/>
                      </a:lnTo>
                      <a:lnTo>
                        <a:pt x="125" y="449"/>
                      </a:lnTo>
                      <a:lnTo>
                        <a:pt x="142" y="442"/>
                      </a:lnTo>
                      <a:lnTo>
                        <a:pt x="142" y="442"/>
                      </a:lnTo>
                      <a:lnTo>
                        <a:pt x="142" y="442"/>
                      </a:lnTo>
                      <a:close/>
                      <a:moveTo>
                        <a:pt x="87" y="459"/>
                      </a:moveTo>
                      <a:lnTo>
                        <a:pt x="78" y="459"/>
                      </a:lnTo>
                      <a:lnTo>
                        <a:pt x="104" y="449"/>
                      </a:lnTo>
                      <a:lnTo>
                        <a:pt x="87" y="459"/>
                      </a:lnTo>
                      <a:lnTo>
                        <a:pt x="87" y="459"/>
                      </a:lnTo>
                      <a:lnTo>
                        <a:pt x="87" y="459"/>
                      </a:lnTo>
                      <a:close/>
                      <a:moveTo>
                        <a:pt x="158" y="532"/>
                      </a:moveTo>
                      <a:lnTo>
                        <a:pt x="146" y="520"/>
                      </a:lnTo>
                      <a:lnTo>
                        <a:pt x="146" y="515"/>
                      </a:lnTo>
                      <a:lnTo>
                        <a:pt x="170" y="492"/>
                      </a:lnTo>
                      <a:lnTo>
                        <a:pt x="158" y="532"/>
                      </a:lnTo>
                      <a:lnTo>
                        <a:pt x="158" y="532"/>
                      </a:lnTo>
                      <a:lnTo>
                        <a:pt x="158" y="532"/>
                      </a:lnTo>
                      <a:close/>
                      <a:moveTo>
                        <a:pt x="142" y="503"/>
                      </a:moveTo>
                      <a:lnTo>
                        <a:pt x="130" y="499"/>
                      </a:lnTo>
                      <a:lnTo>
                        <a:pt x="142" y="492"/>
                      </a:lnTo>
                      <a:lnTo>
                        <a:pt x="142" y="503"/>
                      </a:lnTo>
                      <a:lnTo>
                        <a:pt x="142" y="503"/>
                      </a:lnTo>
                      <a:lnTo>
                        <a:pt x="142" y="503"/>
                      </a:lnTo>
                      <a:close/>
                      <a:moveTo>
                        <a:pt x="130" y="548"/>
                      </a:moveTo>
                      <a:lnTo>
                        <a:pt x="130" y="532"/>
                      </a:lnTo>
                      <a:lnTo>
                        <a:pt x="116" y="536"/>
                      </a:lnTo>
                      <a:lnTo>
                        <a:pt x="116" y="520"/>
                      </a:lnTo>
                      <a:lnTo>
                        <a:pt x="142" y="515"/>
                      </a:lnTo>
                      <a:lnTo>
                        <a:pt x="146" y="536"/>
                      </a:lnTo>
                      <a:lnTo>
                        <a:pt x="130" y="548"/>
                      </a:lnTo>
                      <a:lnTo>
                        <a:pt x="130" y="548"/>
                      </a:lnTo>
                      <a:lnTo>
                        <a:pt x="130" y="548"/>
                      </a:lnTo>
                      <a:close/>
                      <a:moveTo>
                        <a:pt x="217" y="536"/>
                      </a:moveTo>
                      <a:lnTo>
                        <a:pt x="212" y="515"/>
                      </a:lnTo>
                      <a:lnTo>
                        <a:pt x="217" y="520"/>
                      </a:lnTo>
                      <a:lnTo>
                        <a:pt x="217" y="536"/>
                      </a:lnTo>
                      <a:lnTo>
                        <a:pt x="217" y="536"/>
                      </a:lnTo>
                      <a:lnTo>
                        <a:pt x="217" y="536"/>
                      </a:lnTo>
                      <a:close/>
                      <a:moveTo>
                        <a:pt x="212" y="560"/>
                      </a:moveTo>
                      <a:lnTo>
                        <a:pt x="196" y="560"/>
                      </a:lnTo>
                      <a:lnTo>
                        <a:pt x="196" y="536"/>
                      </a:lnTo>
                      <a:lnTo>
                        <a:pt x="212" y="536"/>
                      </a:lnTo>
                      <a:lnTo>
                        <a:pt x="217" y="560"/>
                      </a:lnTo>
                      <a:lnTo>
                        <a:pt x="212" y="560"/>
                      </a:lnTo>
                      <a:lnTo>
                        <a:pt x="212" y="560"/>
                      </a:lnTo>
                      <a:lnTo>
                        <a:pt x="212" y="560"/>
                      </a:lnTo>
                      <a:close/>
                      <a:moveTo>
                        <a:pt x="108" y="702"/>
                      </a:moveTo>
                      <a:lnTo>
                        <a:pt x="78" y="664"/>
                      </a:lnTo>
                      <a:lnTo>
                        <a:pt x="61" y="697"/>
                      </a:lnTo>
                      <a:lnTo>
                        <a:pt x="23" y="685"/>
                      </a:lnTo>
                      <a:lnTo>
                        <a:pt x="0" y="664"/>
                      </a:lnTo>
                      <a:lnTo>
                        <a:pt x="33" y="647"/>
                      </a:lnTo>
                      <a:lnTo>
                        <a:pt x="16" y="643"/>
                      </a:lnTo>
                      <a:lnTo>
                        <a:pt x="38" y="631"/>
                      </a:lnTo>
                      <a:lnTo>
                        <a:pt x="61" y="603"/>
                      </a:lnTo>
                      <a:lnTo>
                        <a:pt x="78" y="603"/>
                      </a:lnTo>
                      <a:lnTo>
                        <a:pt x="87" y="593"/>
                      </a:lnTo>
                      <a:lnTo>
                        <a:pt x="116" y="586"/>
                      </a:lnTo>
                      <a:lnTo>
                        <a:pt x="146" y="586"/>
                      </a:lnTo>
                      <a:lnTo>
                        <a:pt x="146" y="603"/>
                      </a:lnTo>
                      <a:lnTo>
                        <a:pt x="170" y="626"/>
                      </a:lnTo>
                      <a:lnTo>
                        <a:pt x="158" y="647"/>
                      </a:lnTo>
                      <a:lnTo>
                        <a:pt x="179" y="643"/>
                      </a:lnTo>
                      <a:lnTo>
                        <a:pt x="196" y="659"/>
                      </a:lnTo>
                      <a:lnTo>
                        <a:pt x="184" y="669"/>
                      </a:lnTo>
                      <a:lnTo>
                        <a:pt x="179" y="659"/>
                      </a:lnTo>
                      <a:lnTo>
                        <a:pt x="170" y="647"/>
                      </a:lnTo>
                      <a:lnTo>
                        <a:pt x="179" y="681"/>
                      </a:lnTo>
                      <a:lnTo>
                        <a:pt x="163" y="681"/>
                      </a:lnTo>
                      <a:lnTo>
                        <a:pt x="158" y="697"/>
                      </a:lnTo>
                      <a:lnTo>
                        <a:pt x="146" y="702"/>
                      </a:lnTo>
                      <a:lnTo>
                        <a:pt x="130" y="697"/>
                      </a:lnTo>
                      <a:lnTo>
                        <a:pt x="108" y="702"/>
                      </a:lnTo>
                      <a:lnTo>
                        <a:pt x="108" y="702"/>
                      </a:lnTo>
                      <a:lnTo>
                        <a:pt x="108" y="702"/>
                      </a:lnTo>
                      <a:close/>
                      <a:moveTo>
                        <a:pt x="267" y="792"/>
                      </a:moveTo>
                      <a:lnTo>
                        <a:pt x="250" y="775"/>
                      </a:lnTo>
                      <a:lnTo>
                        <a:pt x="250" y="770"/>
                      </a:lnTo>
                      <a:lnTo>
                        <a:pt x="271" y="770"/>
                      </a:lnTo>
                      <a:lnTo>
                        <a:pt x="288" y="775"/>
                      </a:lnTo>
                      <a:lnTo>
                        <a:pt x="267" y="792"/>
                      </a:lnTo>
                      <a:lnTo>
                        <a:pt x="267" y="792"/>
                      </a:lnTo>
                      <a:lnTo>
                        <a:pt x="267" y="792"/>
                      </a:lnTo>
                      <a:close/>
                      <a:moveTo>
                        <a:pt x="635" y="964"/>
                      </a:moveTo>
                      <a:lnTo>
                        <a:pt x="631" y="957"/>
                      </a:lnTo>
                      <a:lnTo>
                        <a:pt x="635" y="957"/>
                      </a:lnTo>
                      <a:lnTo>
                        <a:pt x="635" y="964"/>
                      </a:lnTo>
                      <a:lnTo>
                        <a:pt x="635" y="964"/>
                      </a:lnTo>
                      <a:lnTo>
                        <a:pt x="635" y="964"/>
                      </a:lnTo>
                      <a:close/>
                      <a:moveTo>
                        <a:pt x="484" y="1035"/>
                      </a:moveTo>
                      <a:lnTo>
                        <a:pt x="468" y="1030"/>
                      </a:lnTo>
                      <a:lnTo>
                        <a:pt x="484" y="1018"/>
                      </a:lnTo>
                      <a:lnTo>
                        <a:pt x="494" y="1030"/>
                      </a:lnTo>
                      <a:lnTo>
                        <a:pt x="484" y="1035"/>
                      </a:lnTo>
                      <a:lnTo>
                        <a:pt x="484" y="1035"/>
                      </a:lnTo>
                      <a:lnTo>
                        <a:pt x="484" y="103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5" name="Freeform 581">
                  <a:extLst>
                    <a:ext uri="{FF2B5EF4-FFF2-40B4-BE49-F238E27FC236}">
                      <a16:creationId xmlns:a16="http://schemas.microsoft.com/office/drawing/2014/main" id="{2A2427DA-D17C-46B9-9AC3-B428FF1A6D36}"/>
                    </a:ext>
                  </a:extLst>
                </p:cNvPr>
                <p:cNvSpPr>
                  <a:spLocks noEditPoints="1"/>
                </p:cNvSpPr>
                <p:nvPr/>
              </p:nvSpPr>
              <p:spPr bwMode="gray">
                <a:xfrm>
                  <a:off x="7365147" y="2349853"/>
                  <a:ext cx="519116" cy="307552"/>
                </a:xfrm>
                <a:custGeom>
                  <a:avLst/>
                  <a:gdLst>
                    <a:gd name="T0" fmla="*/ 463 w 1261"/>
                    <a:gd name="T1" fmla="*/ 669 h 747"/>
                    <a:gd name="T2" fmla="*/ 446 w 1261"/>
                    <a:gd name="T3" fmla="*/ 641 h 747"/>
                    <a:gd name="T4" fmla="*/ 479 w 1261"/>
                    <a:gd name="T5" fmla="*/ 598 h 747"/>
                    <a:gd name="T6" fmla="*/ 489 w 1261"/>
                    <a:gd name="T7" fmla="*/ 546 h 747"/>
                    <a:gd name="T8" fmla="*/ 534 w 1261"/>
                    <a:gd name="T9" fmla="*/ 558 h 747"/>
                    <a:gd name="T10" fmla="*/ 543 w 1261"/>
                    <a:gd name="T11" fmla="*/ 546 h 747"/>
                    <a:gd name="T12" fmla="*/ 505 w 1261"/>
                    <a:gd name="T13" fmla="*/ 485 h 747"/>
                    <a:gd name="T14" fmla="*/ 489 w 1261"/>
                    <a:gd name="T15" fmla="*/ 419 h 747"/>
                    <a:gd name="T16" fmla="*/ 413 w 1261"/>
                    <a:gd name="T17" fmla="*/ 390 h 747"/>
                    <a:gd name="T18" fmla="*/ 290 w 1261"/>
                    <a:gd name="T19" fmla="*/ 397 h 747"/>
                    <a:gd name="T20" fmla="*/ 165 w 1261"/>
                    <a:gd name="T21" fmla="*/ 419 h 747"/>
                    <a:gd name="T22" fmla="*/ 52 w 1261"/>
                    <a:gd name="T23" fmla="*/ 419 h 747"/>
                    <a:gd name="T24" fmla="*/ 0 w 1261"/>
                    <a:gd name="T25" fmla="*/ 381 h 747"/>
                    <a:gd name="T26" fmla="*/ 52 w 1261"/>
                    <a:gd name="T27" fmla="*/ 324 h 747"/>
                    <a:gd name="T28" fmla="*/ 38 w 1261"/>
                    <a:gd name="T29" fmla="*/ 267 h 747"/>
                    <a:gd name="T30" fmla="*/ 139 w 1261"/>
                    <a:gd name="T31" fmla="*/ 173 h 747"/>
                    <a:gd name="T32" fmla="*/ 106 w 1261"/>
                    <a:gd name="T33" fmla="*/ 85 h 747"/>
                    <a:gd name="T34" fmla="*/ 253 w 1261"/>
                    <a:gd name="T35" fmla="*/ 45 h 747"/>
                    <a:gd name="T36" fmla="*/ 392 w 1261"/>
                    <a:gd name="T37" fmla="*/ 85 h 747"/>
                    <a:gd name="T38" fmla="*/ 430 w 1261"/>
                    <a:gd name="T39" fmla="*/ 74 h 747"/>
                    <a:gd name="T40" fmla="*/ 468 w 1261"/>
                    <a:gd name="T41" fmla="*/ 78 h 747"/>
                    <a:gd name="T42" fmla="*/ 538 w 1261"/>
                    <a:gd name="T43" fmla="*/ 95 h 747"/>
                    <a:gd name="T44" fmla="*/ 593 w 1261"/>
                    <a:gd name="T45" fmla="*/ 74 h 747"/>
                    <a:gd name="T46" fmla="*/ 678 w 1261"/>
                    <a:gd name="T47" fmla="*/ 29 h 747"/>
                    <a:gd name="T48" fmla="*/ 775 w 1261"/>
                    <a:gd name="T49" fmla="*/ 0 h 747"/>
                    <a:gd name="T50" fmla="*/ 862 w 1261"/>
                    <a:gd name="T51" fmla="*/ 57 h 747"/>
                    <a:gd name="T52" fmla="*/ 883 w 1261"/>
                    <a:gd name="T53" fmla="*/ 119 h 747"/>
                    <a:gd name="T54" fmla="*/ 921 w 1261"/>
                    <a:gd name="T55" fmla="*/ 135 h 747"/>
                    <a:gd name="T56" fmla="*/ 985 w 1261"/>
                    <a:gd name="T57" fmla="*/ 189 h 747"/>
                    <a:gd name="T58" fmla="*/ 1093 w 1261"/>
                    <a:gd name="T59" fmla="*/ 225 h 747"/>
                    <a:gd name="T60" fmla="*/ 1179 w 1261"/>
                    <a:gd name="T61" fmla="*/ 246 h 747"/>
                    <a:gd name="T62" fmla="*/ 1240 w 1261"/>
                    <a:gd name="T63" fmla="*/ 267 h 747"/>
                    <a:gd name="T64" fmla="*/ 1245 w 1261"/>
                    <a:gd name="T65" fmla="*/ 319 h 747"/>
                    <a:gd name="T66" fmla="*/ 1254 w 1261"/>
                    <a:gd name="T67" fmla="*/ 341 h 747"/>
                    <a:gd name="T68" fmla="*/ 1254 w 1261"/>
                    <a:gd name="T69" fmla="*/ 390 h 747"/>
                    <a:gd name="T70" fmla="*/ 1164 w 1261"/>
                    <a:gd name="T71" fmla="*/ 447 h 747"/>
                    <a:gd name="T72" fmla="*/ 1060 w 1261"/>
                    <a:gd name="T73" fmla="*/ 520 h 747"/>
                    <a:gd name="T74" fmla="*/ 900 w 1261"/>
                    <a:gd name="T75" fmla="*/ 586 h 747"/>
                    <a:gd name="T76" fmla="*/ 879 w 1261"/>
                    <a:gd name="T77" fmla="*/ 579 h 747"/>
                    <a:gd name="T78" fmla="*/ 867 w 1261"/>
                    <a:gd name="T79" fmla="*/ 579 h 747"/>
                    <a:gd name="T80" fmla="*/ 829 w 1261"/>
                    <a:gd name="T81" fmla="*/ 579 h 747"/>
                    <a:gd name="T82" fmla="*/ 824 w 1261"/>
                    <a:gd name="T83" fmla="*/ 598 h 747"/>
                    <a:gd name="T84" fmla="*/ 857 w 1261"/>
                    <a:gd name="T85" fmla="*/ 598 h 747"/>
                    <a:gd name="T86" fmla="*/ 862 w 1261"/>
                    <a:gd name="T87" fmla="*/ 619 h 747"/>
                    <a:gd name="T88" fmla="*/ 900 w 1261"/>
                    <a:gd name="T89" fmla="*/ 652 h 747"/>
                    <a:gd name="T90" fmla="*/ 895 w 1261"/>
                    <a:gd name="T91" fmla="*/ 598 h 747"/>
                    <a:gd name="T92" fmla="*/ 968 w 1261"/>
                    <a:gd name="T93" fmla="*/ 659 h 747"/>
                    <a:gd name="T94" fmla="*/ 1001 w 1261"/>
                    <a:gd name="T95" fmla="*/ 685 h 747"/>
                    <a:gd name="T96" fmla="*/ 900 w 1261"/>
                    <a:gd name="T97" fmla="*/ 697 h 747"/>
                    <a:gd name="T98" fmla="*/ 808 w 1261"/>
                    <a:gd name="T99" fmla="*/ 742 h 747"/>
                    <a:gd name="T100" fmla="*/ 808 w 1261"/>
                    <a:gd name="T101" fmla="*/ 697 h 747"/>
                    <a:gd name="T102" fmla="*/ 732 w 1261"/>
                    <a:gd name="T103" fmla="*/ 659 h 747"/>
                    <a:gd name="T104" fmla="*/ 808 w 1261"/>
                    <a:gd name="T105" fmla="*/ 598 h 747"/>
                    <a:gd name="T106" fmla="*/ 732 w 1261"/>
                    <a:gd name="T107" fmla="*/ 586 h 747"/>
                    <a:gd name="T108" fmla="*/ 652 w 1261"/>
                    <a:gd name="T109" fmla="*/ 546 h 747"/>
                    <a:gd name="T110" fmla="*/ 694 w 1261"/>
                    <a:gd name="T111" fmla="*/ 541 h 747"/>
                    <a:gd name="T112" fmla="*/ 685 w 1261"/>
                    <a:gd name="T113" fmla="*/ 501 h 747"/>
                    <a:gd name="T114" fmla="*/ 685 w 1261"/>
                    <a:gd name="T115" fmla="*/ 541 h 747"/>
                    <a:gd name="T116" fmla="*/ 609 w 1261"/>
                    <a:gd name="T117" fmla="*/ 546 h 747"/>
                    <a:gd name="T118" fmla="*/ 534 w 1261"/>
                    <a:gd name="T119" fmla="*/ 636 h 747"/>
                    <a:gd name="T120" fmla="*/ 534 w 1261"/>
                    <a:gd name="T121" fmla="*/ 669 h 747"/>
                    <a:gd name="T122" fmla="*/ 699 w 1261"/>
                    <a:gd name="T123" fmla="*/ 586 h 747"/>
                    <a:gd name="T124" fmla="*/ 699 w 1261"/>
                    <a:gd name="T125" fmla="*/ 586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1" h="747">
                      <a:moveTo>
                        <a:pt x="534" y="669"/>
                      </a:moveTo>
                      <a:lnTo>
                        <a:pt x="522" y="659"/>
                      </a:lnTo>
                      <a:lnTo>
                        <a:pt x="505" y="652"/>
                      </a:lnTo>
                      <a:lnTo>
                        <a:pt x="463" y="669"/>
                      </a:lnTo>
                      <a:lnTo>
                        <a:pt x="437" y="659"/>
                      </a:lnTo>
                      <a:lnTo>
                        <a:pt x="425" y="652"/>
                      </a:lnTo>
                      <a:lnTo>
                        <a:pt x="430" y="641"/>
                      </a:lnTo>
                      <a:lnTo>
                        <a:pt x="446" y="641"/>
                      </a:lnTo>
                      <a:lnTo>
                        <a:pt x="446" y="631"/>
                      </a:lnTo>
                      <a:lnTo>
                        <a:pt x="463" y="615"/>
                      </a:lnTo>
                      <a:lnTo>
                        <a:pt x="463" y="603"/>
                      </a:lnTo>
                      <a:lnTo>
                        <a:pt x="479" y="598"/>
                      </a:lnTo>
                      <a:lnTo>
                        <a:pt x="484" y="579"/>
                      </a:lnTo>
                      <a:lnTo>
                        <a:pt x="479" y="574"/>
                      </a:lnTo>
                      <a:lnTo>
                        <a:pt x="484" y="558"/>
                      </a:lnTo>
                      <a:lnTo>
                        <a:pt x="489" y="546"/>
                      </a:lnTo>
                      <a:lnTo>
                        <a:pt x="501" y="563"/>
                      </a:lnTo>
                      <a:lnTo>
                        <a:pt x="517" y="558"/>
                      </a:lnTo>
                      <a:lnTo>
                        <a:pt x="522" y="563"/>
                      </a:lnTo>
                      <a:lnTo>
                        <a:pt x="534" y="558"/>
                      </a:lnTo>
                      <a:lnTo>
                        <a:pt x="543" y="563"/>
                      </a:lnTo>
                      <a:lnTo>
                        <a:pt x="560" y="563"/>
                      </a:lnTo>
                      <a:lnTo>
                        <a:pt x="543" y="546"/>
                      </a:lnTo>
                      <a:lnTo>
                        <a:pt x="543" y="546"/>
                      </a:lnTo>
                      <a:lnTo>
                        <a:pt x="543" y="525"/>
                      </a:lnTo>
                      <a:lnTo>
                        <a:pt x="522" y="520"/>
                      </a:lnTo>
                      <a:lnTo>
                        <a:pt x="522" y="475"/>
                      </a:lnTo>
                      <a:lnTo>
                        <a:pt x="505" y="485"/>
                      </a:lnTo>
                      <a:lnTo>
                        <a:pt x="489" y="468"/>
                      </a:lnTo>
                      <a:lnTo>
                        <a:pt x="489" y="463"/>
                      </a:lnTo>
                      <a:lnTo>
                        <a:pt x="501" y="435"/>
                      </a:lnTo>
                      <a:lnTo>
                        <a:pt x="489" y="419"/>
                      </a:lnTo>
                      <a:lnTo>
                        <a:pt x="484" y="419"/>
                      </a:lnTo>
                      <a:lnTo>
                        <a:pt x="468" y="407"/>
                      </a:lnTo>
                      <a:lnTo>
                        <a:pt x="413" y="397"/>
                      </a:lnTo>
                      <a:lnTo>
                        <a:pt x="413" y="390"/>
                      </a:lnTo>
                      <a:lnTo>
                        <a:pt x="392" y="374"/>
                      </a:lnTo>
                      <a:lnTo>
                        <a:pt x="323" y="381"/>
                      </a:lnTo>
                      <a:lnTo>
                        <a:pt x="316" y="390"/>
                      </a:lnTo>
                      <a:lnTo>
                        <a:pt x="290" y="397"/>
                      </a:lnTo>
                      <a:lnTo>
                        <a:pt x="286" y="419"/>
                      </a:lnTo>
                      <a:lnTo>
                        <a:pt x="219" y="419"/>
                      </a:lnTo>
                      <a:lnTo>
                        <a:pt x="198" y="447"/>
                      </a:lnTo>
                      <a:lnTo>
                        <a:pt x="165" y="419"/>
                      </a:lnTo>
                      <a:lnTo>
                        <a:pt x="144" y="419"/>
                      </a:lnTo>
                      <a:lnTo>
                        <a:pt x="90" y="419"/>
                      </a:lnTo>
                      <a:lnTo>
                        <a:pt x="75" y="407"/>
                      </a:lnTo>
                      <a:lnTo>
                        <a:pt x="52" y="419"/>
                      </a:lnTo>
                      <a:lnTo>
                        <a:pt x="47" y="407"/>
                      </a:lnTo>
                      <a:lnTo>
                        <a:pt x="38" y="407"/>
                      </a:lnTo>
                      <a:lnTo>
                        <a:pt x="5" y="381"/>
                      </a:lnTo>
                      <a:lnTo>
                        <a:pt x="0" y="381"/>
                      </a:lnTo>
                      <a:lnTo>
                        <a:pt x="0" y="362"/>
                      </a:lnTo>
                      <a:lnTo>
                        <a:pt x="14" y="352"/>
                      </a:lnTo>
                      <a:lnTo>
                        <a:pt x="31" y="319"/>
                      </a:lnTo>
                      <a:lnTo>
                        <a:pt x="52" y="324"/>
                      </a:lnTo>
                      <a:lnTo>
                        <a:pt x="52" y="319"/>
                      </a:lnTo>
                      <a:lnTo>
                        <a:pt x="38" y="308"/>
                      </a:lnTo>
                      <a:lnTo>
                        <a:pt x="47" y="296"/>
                      </a:lnTo>
                      <a:lnTo>
                        <a:pt x="38" y="267"/>
                      </a:lnTo>
                      <a:lnTo>
                        <a:pt x="85" y="225"/>
                      </a:lnTo>
                      <a:lnTo>
                        <a:pt x="113" y="189"/>
                      </a:lnTo>
                      <a:lnTo>
                        <a:pt x="127" y="189"/>
                      </a:lnTo>
                      <a:lnTo>
                        <a:pt x="139" y="173"/>
                      </a:lnTo>
                      <a:lnTo>
                        <a:pt x="127" y="152"/>
                      </a:lnTo>
                      <a:lnTo>
                        <a:pt x="139" y="152"/>
                      </a:lnTo>
                      <a:lnTo>
                        <a:pt x="113" y="111"/>
                      </a:lnTo>
                      <a:lnTo>
                        <a:pt x="106" y="85"/>
                      </a:lnTo>
                      <a:lnTo>
                        <a:pt x="106" y="74"/>
                      </a:lnTo>
                      <a:lnTo>
                        <a:pt x="139" y="78"/>
                      </a:lnTo>
                      <a:lnTo>
                        <a:pt x="160" y="45"/>
                      </a:lnTo>
                      <a:lnTo>
                        <a:pt x="253" y="45"/>
                      </a:lnTo>
                      <a:lnTo>
                        <a:pt x="354" y="62"/>
                      </a:lnTo>
                      <a:lnTo>
                        <a:pt x="361" y="78"/>
                      </a:lnTo>
                      <a:lnTo>
                        <a:pt x="392" y="78"/>
                      </a:lnTo>
                      <a:lnTo>
                        <a:pt x="392" y="85"/>
                      </a:lnTo>
                      <a:lnTo>
                        <a:pt x="392" y="85"/>
                      </a:lnTo>
                      <a:lnTo>
                        <a:pt x="399" y="74"/>
                      </a:lnTo>
                      <a:lnTo>
                        <a:pt x="413" y="78"/>
                      </a:lnTo>
                      <a:lnTo>
                        <a:pt x="430" y="74"/>
                      </a:lnTo>
                      <a:lnTo>
                        <a:pt x="430" y="78"/>
                      </a:lnTo>
                      <a:lnTo>
                        <a:pt x="451" y="78"/>
                      </a:lnTo>
                      <a:lnTo>
                        <a:pt x="463" y="95"/>
                      </a:lnTo>
                      <a:lnTo>
                        <a:pt x="468" y="78"/>
                      </a:lnTo>
                      <a:lnTo>
                        <a:pt x="489" y="74"/>
                      </a:lnTo>
                      <a:lnTo>
                        <a:pt x="505" y="95"/>
                      </a:lnTo>
                      <a:lnTo>
                        <a:pt x="534" y="85"/>
                      </a:lnTo>
                      <a:lnTo>
                        <a:pt x="538" y="95"/>
                      </a:lnTo>
                      <a:lnTo>
                        <a:pt x="560" y="85"/>
                      </a:lnTo>
                      <a:lnTo>
                        <a:pt x="593" y="111"/>
                      </a:lnTo>
                      <a:lnTo>
                        <a:pt x="597" y="102"/>
                      </a:lnTo>
                      <a:lnTo>
                        <a:pt x="593" y="74"/>
                      </a:lnTo>
                      <a:lnTo>
                        <a:pt x="597" y="57"/>
                      </a:lnTo>
                      <a:lnTo>
                        <a:pt x="614" y="41"/>
                      </a:lnTo>
                      <a:lnTo>
                        <a:pt x="614" y="29"/>
                      </a:lnTo>
                      <a:lnTo>
                        <a:pt x="678" y="29"/>
                      </a:lnTo>
                      <a:lnTo>
                        <a:pt x="706" y="29"/>
                      </a:lnTo>
                      <a:lnTo>
                        <a:pt x="716" y="8"/>
                      </a:lnTo>
                      <a:lnTo>
                        <a:pt x="753" y="17"/>
                      </a:lnTo>
                      <a:lnTo>
                        <a:pt x="775" y="0"/>
                      </a:lnTo>
                      <a:lnTo>
                        <a:pt x="824" y="0"/>
                      </a:lnTo>
                      <a:lnTo>
                        <a:pt x="841" y="24"/>
                      </a:lnTo>
                      <a:lnTo>
                        <a:pt x="841" y="41"/>
                      </a:lnTo>
                      <a:lnTo>
                        <a:pt x="862" y="57"/>
                      </a:lnTo>
                      <a:lnTo>
                        <a:pt x="862" y="62"/>
                      </a:lnTo>
                      <a:lnTo>
                        <a:pt x="841" y="74"/>
                      </a:lnTo>
                      <a:lnTo>
                        <a:pt x="862" y="111"/>
                      </a:lnTo>
                      <a:lnTo>
                        <a:pt x="883" y="119"/>
                      </a:lnTo>
                      <a:lnTo>
                        <a:pt x="909" y="111"/>
                      </a:lnTo>
                      <a:lnTo>
                        <a:pt x="916" y="128"/>
                      </a:lnTo>
                      <a:lnTo>
                        <a:pt x="933" y="128"/>
                      </a:lnTo>
                      <a:lnTo>
                        <a:pt x="921" y="135"/>
                      </a:lnTo>
                      <a:lnTo>
                        <a:pt x="938" y="168"/>
                      </a:lnTo>
                      <a:lnTo>
                        <a:pt x="933" y="168"/>
                      </a:lnTo>
                      <a:lnTo>
                        <a:pt x="947" y="189"/>
                      </a:lnTo>
                      <a:lnTo>
                        <a:pt x="985" y="189"/>
                      </a:lnTo>
                      <a:lnTo>
                        <a:pt x="992" y="197"/>
                      </a:lnTo>
                      <a:lnTo>
                        <a:pt x="1018" y="206"/>
                      </a:lnTo>
                      <a:lnTo>
                        <a:pt x="1077" y="189"/>
                      </a:lnTo>
                      <a:lnTo>
                        <a:pt x="1093" y="225"/>
                      </a:lnTo>
                      <a:lnTo>
                        <a:pt x="1115" y="241"/>
                      </a:lnTo>
                      <a:lnTo>
                        <a:pt x="1127" y="225"/>
                      </a:lnTo>
                      <a:lnTo>
                        <a:pt x="1131" y="225"/>
                      </a:lnTo>
                      <a:lnTo>
                        <a:pt x="1179" y="246"/>
                      </a:lnTo>
                      <a:lnTo>
                        <a:pt x="1190" y="241"/>
                      </a:lnTo>
                      <a:lnTo>
                        <a:pt x="1202" y="251"/>
                      </a:lnTo>
                      <a:lnTo>
                        <a:pt x="1223" y="251"/>
                      </a:lnTo>
                      <a:lnTo>
                        <a:pt x="1240" y="267"/>
                      </a:lnTo>
                      <a:lnTo>
                        <a:pt x="1261" y="267"/>
                      </a:lnTo>
                      <a:lnTo>
                        <a:pt x="1254" y="279"/>
                      </a:lnTo>
                      <a:lnTo>
                        <a:pt x="1261" y="303"/>
                      </a:lnTo>
                      <a:lnTo>
                        <a:pt x="1245" y="319"/>
                      </a:lnTo>
                      <a:lnTo>
                        <a:pt x="1233" y="324"/>
                      </a:lnTo>
                      <a:lnTo>
                        <a:pt x="1240" y="336"/>
                      </a:lnTo>
                      <a:lnTo>
                        <a:pt x="1254" y="336"/>
                      </a:lnTo>
                      <a:lnTo>
                        <a:pt x="1254" y="341"/>
                      </a:lnTo>
                      <a:lnTo>
                        <a:pt x="1240" y="341"/>
                      </a:lnTo>
                      <a:lnTo>
                        <a:pt x="1233" y="357"/>
                      </a:lnTo>
                      <a:lnTo>
                        <a:pt x="1240" y="362"/>
                      </a:lnTo>
                      <a:lnTo>
                        <a:pt x="1254" y="390"/>
                      </a:lnTo>
                      <a:lnTo>
                        <a:pt x="1240" y="414"/>
                      </a:lnTo>
                      <a:lnTo>
                        <a:pt x="1240" y="430"/>
                      </a:lnTo>
                      <a:lnTo>
                        <a:pt x="1169" y="430"/>
                      </a:lnTo>
                      <a:lnTo>
                        <a:pt x="1164" y="447"/>
                      </a:lnTo>
                      <a:lnTo>
                        <a:pt x="1131" y="452"/>
                      </a:lnTo>
                      <a:lnTo>
                        <a:pt x="1131" y="501"/>
                      </a:lnTo>
                      <a:lnTo>
                        <a:pt x="1077" y="501"/>
                      </a:lnTo>
                      <a:lnTo>
                        <a:pt x="1060" y="520"/>
                      </a:lnTo>
                      <a:lnTo>
                        <a:pt x="1056" y="520"/>
                      </a:lnTo>
                      <a:lnTo>
                        <a:pt x="985" y="541"/>
                      </a:lnTo>
                      <a:lnTo>
                        <a:pt x="964" y="541"/>
                      </a:lnTo>
                      <a:lnTo>
                        <a:pt x="900" y="586"/>
                      </a:lnTo>
                      <a:lnTo>
                        <a:pt x="921" y="574"/>
                      </a:lnTo>
                      <a:lnTo>
                        <a:pt x="916" y="558"/>
                      </a:lnTo>
                      <a:lnTo>
                        <a:pt x="909" y="574"/>
                      </a:lnTo>
                      <a:lnTo>
                        <a:pt x="879" y="579"/>
                      </a:lnTo>
                      <a:lnTo>
                        <a:pt x="867" y="598"/>
                      </a:lnTo>
                      <a:lnTo>
                        <a:pt x="862" y="598"/>
                      </a:lnTo>
                      <a:lnTo>
                        <a:pt x="867" y="586"/>
                      </a:lnTo>
                      <a:lnTo>
                        <a:pt x="867" y="579"/>
                      </a:lnTo>
                      <a:lnTo>
                        <a:pt x="857" y="579"/>
                      </a:lnTo>
                      <a:lnTo>
                        <a:pt x="845" y="574"/>
                      </a:lnTo>
                      <a:lnTo>
                        <a:pt x="841" y="586"/>
                      </a:lnTo>
                      <a:lnTo>
                        <a:pt x="829" y="579"/>
                      </a:lnTo>
                      <a:lnTo>
                        <a:pt x="808" y="579"/>
                      </a:lnTo>
                      <a:lnTo>
                        <a:pt x="812" y="586"/>
                      </a:lnTo>
                      <a:lnTo>
                        <a:pt x="824" y="579"/>
                      </a:lnTo>
                      <a:lnTo>
                        <a:pt x="824" y="598"/>
                      </a:lnTo>
                      <a:lnTo>
                        <a:pt x="829" y="586"/>
                      </a:lnTo>
                      <a:lnTo>
                        <a:pt x="841" y="603"/>
                      </a:lnTo>
                      <a:lnTo>
                        <a:pt x="845" y="598"/>
                      </a:lnTo>
                      <a:lnTo>
                        <a:pt x="857" y="598"/>
                      </a:lnTo>
                      <a:lnTo>
                        <a:pt x="862" y="603"/>
                      </a:lnTo>
                      <a:lnTo>
                        <a:pt x="857" y="615"/>
                      </a:lnTo>
                      <a:lnTo>
                        <a:pt x="879" y="603"/>
                      </a:lnTo>
                      <a:lnTo>
                        <a:pt x="862" y="619"/>
                      </a:lnTo>
                      <a:lnTo>
                        <a:pt x="879" y="619"/>
                      </a:lnTo>
                      <a:lnTo>
                        <a:pt x="900" y="631"/>
                      </a:lnTo>
                      <a:lnTo>
                        <a:pt x="909" y="641"/>
                      </a:lnTo>
                      <a:lnTo>
                        <a:pt x="900" y="652"/>
                      </a:lnTo>
                      <a:lnTo>
                        <a:pt x="909" y="659"/>
                      </a:lnTo>
                      <a:lnTo>
                        <a:pt x="921" y="659"/>
                      </a:lnTo>
                      <a:lnTo>
                        <a:pt x="879" y="586"/>
                      </a:lnTo>
                      <a:lnTo>
                        <a:pt x="895" y="598"/>
                      </a:lnTo>
                      <a:lnTo>
                        <a:pt x="909" y="631"/>
                      </a:lnTo>
                      <a:lnTo>
                        <a:pt x="938" y="659"/>
                      </a:lnTo>
                      <a:lnTo>
                        <a:pt x="964" y="652"/>
                      </a:lnTo>
                      <a:lnTo>
                        <a:pt x="968" y="659"/>
                      </a:lnTo>
                      <a:lnTo>
                        <a:pt x="985" y="641"/>
                      </a:lnTo>
                      <a:lnTo>
                        <a:pt x="1018" y="652"/>
                      </a:lnTo>
                      <a:lnTo>
                        <a:pt x="1001" y="659"/>
                      </a:lnTo>
                      <a:lnTo>
                        <a:pt x="1001" y="685"/>
                      </a:lnTo>
                      <a:lnTo>
                        <a:pt x="964" y="693"/>
                      </a:lnTo>
                      <a:lnTo>
                        <a:pt x="938" y="676"/>
                      </a:lnTo>
                      <a:lnTo>
                        <a:pt x="909" y="709"/>
                      </a:lnTo>
                      <a:lnTo>
                        <a:pt x="900" y="697"/>
                      </a:lnTo>
                      <a:lnTo>
                        <a:pt x="867" y="709"/>
                      </a:lnTo>
                      <a:lnTo>
                        <a:pt x="857" y="730"/>
                      </a:lnTo>
                      <a:lnTo>
                        <a:pt x="829" y="747"/>
                      </a:lnTo>
                      <a:lnTo>
                        <a:pt x="808" y="742"/>
                      </a:lnTo>
                      <a:lnTo>
                        <a:pt x="786" y="726"/>
                      </a:lnTo>
                      <a:lnTo>
                        <a:pt x="803" y="726"/>
                      </a:lnTo>
                      <a:lnTo>
                        <a:pt x="803" y="709"/>
                      </a:lnTo>
                      <a:lnTo>
                        <a:pt x="808" y="697"/>
                      </a:lnTo>
                      <a:lnTo>
                        <a:pt x="803" y="676"/>
                      </a:lnTo>
                      <a:lnTo>
                        <a:pt x="775" y="676"/>
                      </a:lnTo>
                      <a:lnTo>
                        <a:pt x="753" y="659"/>
                      </a:lnTo>
                      <a:lnTo>
                        <a:pt x="732" y="659"/>
                      </a:lnTo>
                      <a:lnTo>
                        <a:pt x="720" y="652"/>
                      </a:lnTo>
                      <a:lnTo>
                        <a:pt x="753" y="631"/>
                      </a:lnTo>
                      <a:lnTo>
                        <a:pt x="812" y="603"/>
                      </a:lnTo>
                      <a:lnTo>
                        <a:pt x="808" y="598"/>
                      </a:lnTo>
                      <a:lnTo>
                        <a:pt x="808" y="586"/>
                      </a:lnTo>
                      <a:lnTo>
                        <a:pt x="791" y="598"/>
                      </a:lnTo>
                      <a:lnTo>
                        <a:pt x="775" y="579"/>
                      </a:lnTo>
                      <a:lnTo>
                        <a:pt x="732" y="586"/>
                      </a:lnTo>
                      <a:lnTo>
                        <a:pt x="678" y="574"/>
                      </a:lnTo>
                      <a:lnTo>
                        <a:pt x="694" y="563"/>
                      </a:lnTo>
                      <a:lnTo>
                        <a:pt x="668" y="558"/>
                      </a:lnTo>
                      <a:lnTo>
                        <a:pt x="652" y="546"/>
                      </a:lnTo>
                      <a:lnTo>
                        <a:pt x="716" y="558"/>
                      </a:lnTo>
                      <a:lnTo>
                        <a:pt x="737" y="541"/>
                      </a:lnTo>
                      <a:lnTo>
                        <a:pt x="716" y="546"/>
                      </a:lnTo>
                      <a:lnTo>
                        <a:pt x="694" y="541"/>
                      </a:lnTo>
                      <a:lnTo>
                        <a:pt x="685" y="530"/>
                      </a:lnTo>
                      <a:lnTo>
                        <a:pt x="694" y="508"/>
                      </a:lnTo>
                      <a:lnTo>
                        <a:pt x="678" y="485"/>
                      </a:lnTo>
                      <a:lnTo>
                        <a:pt x="685" y="501"/>
                      </a:lnTo>
                      <a:lnTo>
                        <a:pt x="685" y="508"/>
                      </a:lnTo>
                      <a:lnTo>
                        <a:pt x="694" y="520"/>
                      </a:lnTo>
                      <a:lnTo>
                        <a:pt x="685" y="525"/>
                      </a:lnTo>
                      <a:lnTo>
                        <a:pt x="685" y="541"/>
                      </a:lnTo>
                      <a:lnTo>
                        <a:pt x="652" y="541"/>
                      </a:lnTo>
                      <a:lnTo>
                        <a:pt x="661" y="525"/>
                      </a:lnTo>
                      <a:lnTo>
                        <a:pt x="652" y="541"/>
                      </a:lnTo>
                      <a:lnTo>
                        <a:pt x="609" y="546"/>
                      </a:lnTo>
                      <a:lnTo>
                        <a:pt x="609" y="563"/>
                      </a:lnTo>
                      <a:lnTo>
                        <a:pt x="571" y="615"/>
                      </a:lnTo>
                      <a:lnTo>
                        <a:pt x="543" y="615"/>
                      </a:lnTo>
                      <a:lnTo>
                        <a:pt x="534" y="636"/>
                      </a:lnTo>
                      <a:lnTo>
                        <a:pt x="522" y="615"/>
                      </a:lnTo>
                      <a:lnTo>
                        <a:pt x="522" y="636"/>
                      </a:lnTo>
                      <a:lnTo>
                        <a:pt x="538" y="652"/>
                      </a:lnTo>
                      <a:lnTo>
                        <a:pt x="534" y="669"/>
                      </a:lnTo>
                      <a:lnTo>
                        <a:pt x="534" y="669"/>
                      </a:lnTo>
                      <a:lnTo>
                        <a:pt x="534" y="669"/>
                      </a:lnTo>
                      <a:lnTo>
                        <a:pt x="534" y="669"/>
                      </a:lnTo>
                      <a:close/>
                      <a:moveTo>
                        <a:pt x="699" y="586"/>
                      </a:moveTo>
                      <a:lnTo>
                        <a:pt x="661" y="574"/>
                      </a:lnTo>
                      <a:lnTo>
                        <a:pt x="652" y="563"/>
                      </a:lnTo>
                      <a:lnTo>
                        <a:pt x="661" y="574"/>
                      </a:lnTo>
                      <a:lnTo>
                        <a:pt x="699" y="586"/>
                      </a:lnTo>
                      <a:lnTo>
                        <a:pt x="699" y="586"/>
                      </a:lnTo>
                      <a:lnTo>
                        <a:pt x="699" y="58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9" name="Freeform 585">
                  <a:extLst>
                    <a:ext uri="{FF2B5EF4-FFF2-40B4-BE49-F238E27FC236}">
                      <a16:creationId xmlns:a16="http://schemas.microsoft.com/office/drawing/2014/main" id="{DB4C9094-7BBC-4807-BD71-92A597C45EE6}"/>
                    </a:ext>
                  </a:extLst>
                </p:cNvPr>
                <p:cNvSpPr>
                  <a:spLocks/>
                </p:cNvSpPr>
                <p:nvPr/>
              </p:nvSpPr>
              <p:spPr bwMode="gray">
                <a:xfrm>
                  <a:off x="8341217" y="2611704"/>
                  <a:ext cx="496885" cy="296436"/>
                </a:xfrm>
                <a:custGeom>
                  <a:avLst/>
                  <a:gdLst>
                    <a:gd name="T0" fmla="*/ 827 w 1207"/>
                    <a:gd name="T1" fmla="*/ 515 h 720"/>
                    <a:gd name="T2" fmla="*/ 806 w 1207"/>
                    <a:gd name="T3" fmla="*/ 555 h 720"/>
                    <a:gd name="T4" fmla="*/ 851 w 1207"/>
                    <a:gd name="T5" fmla="*/ 572 h 720"/>
                    <a:gd name="T6" fmla="*/ 851 w 1207"/>
                    <a:gd name="T7" fmla="*/ 609 h 720"/>
                    <a:gd name="T8" fmla="*/ 860 w 1207"/>
                    <a:gd name="T9" fmla="*/ 659 h 720"/>
                    <a:gd name="T10" fmla="*/ 813 w 1207"/>
                    <a:gd name="T11" fmla="*/ 716 h 720"/>
                    <a:gd name="T12" fmla="*/ 742 w 1207"/>
                    <a:gd name="T13" fmla="*/ 704 h 720"/>
                    <a:gd name="T14" fmla="*/ 700 w 1207"/>
                    <a:gd name="T15" fmla="*/ 633 h 720"/>
                    <a:gd name="T16" fmla="*/ 574 w 1207"/>
                    <a:gd name="T17" fmla="*/ 576 h 720"/>
                    <a:gd name="T18" fmla="*/ 456 w 1207"/>
                    <a:gd name="T19" fmla="*/ 482 h 720"/>
                    <a:gd name="T20" fmla="*/ 419 w 1207"/>
                    <a:gd name="T21" fmla="*/ 387 h 720"/>
                    <a:gd name="T22" fmla="*/ 348 w 1207"/>
                    <a:gd name="T23" fmla="*/ 383 h 720"/>
                    <a:gd name="T24" fmla="*/ 289 w 1207"/>
                    <a:gd name="T25" fmla="*/ 366 h 720"/>
                    <a:gd name="T26" fmla="*/ 303 w 1207"/>
                    <a:gd name="T27" fmla="*/ 333 h 720"/>
                    <a:gd name="T28" fmla="*/ 272 w 1207"/>
                    <a:gd name="T29" fmla="*/ 283 h 720"/>
                    <a:gd name="T30" fmla="*/ 213 w 1207"/>
                    <a:gd name="T31" fmla="*/ 272 h 720"/>
                    <a:gd name="T32" fmla="*/ 163 w 1207"/>
                    <a:gd name="T33" fmla="*/ 255 h 720"/>
                    <a:gd name="T34" fmla="*/ 168 w 1207"/>
                    <a:gd name="T35" fmla="*/ 293 h 720"/>
                    <a:gd name="T36" fmla="*/ 130 w 1207"/>
                    <a:gd name="T37" fmla="*/ 300 h 720"/>
                    <a:gd name="T38" fmla="*/ 71 w 1207"/>
                    <a:gd name="T39" fmla="*/ 345 h 720"/>
                    <a:gd name="T40" fmla="*/ 0 w 1207"/>
                    <a:gd name="T41" fmla="*/ 371 h 720"/>
                    <a:gd name="T42" fmla="*/ 364 w 1207"/>
                    <a:gd name="T43" fmla="*/ 116 h 720"/>
                    <a:gd name="T44" fmla="*/ 596 w 1207"/>
                    <a:gd name="T45" fmla="*/ 182 h 720"/>
                    <a:gd name="T46" fmla="*/ 671 w 1207"/>
                    <a:gd name="T47" fmla="*/ 201 h 720"/>
                    <a:gd name="T48" fmla="*/ 704 w 1207"/>
                    <a:gd name="T49" fmla="*/ 316 h 720"/>
                    <a:gd name="T50" fmla="*/ 844 w 1207"/>
                    <a:gd name="T51" fmla="*/ 387 h 720"/>
                    <a:gd name="T52" fmla="*/ 877 w 1207"/>
                    <a:gd name="T53" fmla="*/ 437 h 720"/>
                    <a:gd name="T54" fmla="*/ 919 w 1207"/>
                    <a:gd name="T55" fmla="*/ 383 h 720"/>
                    <a:gd name="T56" fmla="*/ 985 w 1207"/>
                    <a:gd name="T57" fmla="*/ 345 h 720"/>
                    <a:gd name="T58" fmla="*/ 1040 w 1207"/>
                    <a:gd name="T59" fmla="*/ 300 h 720"/>
                    <a:gd name="T60" fmla="*/ 1078 w 1207"/>
                    <a:gd name="T61" fmla="*/ 300 h 720"/>
                    <a:gd name="T62" fmla="*/ 1040 w 1207"/>
                    <a:gd name="T63" fmla="*/ 328 h 720"/>
                    <a:gd name="T64" fmla="*/ 1040 w 1207"/>
                    <a:gd name="T65" fmla="*/ 366 h 720"/>
                    <a:gd name="T66" fmla="*/ 1082 w 1207"/>
                    <a:gd name="T67" fmla="*/ 371 h 720"/>
                    <a:gd name="T68" fmla="*/ 1120 w 1207"/>
                    <a:gd name="T69" fmla="*/ 371 h 720"/>
                    <a:gd name="T70" fmla="*/ 1137 w 1207"/>
                    <a:gd name="T71" fmla="*/ 404 h 720"/>
                    <a:gd name="T72" fmla="*/ 1207 w 1207"/>
                    <a:gd name="T73" fmla="*/ 420 h 720"/>
                    <a:gd name="T74" fmla="*/ 1153 w 1207"/>
                    <a:gd name="T75" fmla="*/ 437 h 720"/>
                    <a:gd name="T76" fmla="*/ 1132 w 1207"/>
                    <a:gd name="T77" fmla="*/ 460 h 720"/>
                    <a:gd name="T78" fmla="*/ 1082 w 1207"/>
                    <a:gd name="T79" fmla="*/ 460 h 720"/>
                    <a:gd name="T80" fmla="*/ 1011 w 1207"/>
                    <a:gd name="T81" fmla="*/ 456 h 720"/>
                    <a:gd name="T82" fmla="*/ 1011 w 1207"/>
                    <a:gd name="T83" fmla="*/ 399 h 720"/>
                    <a:gd name="T84" fmla="*/ 943 w 1207"/>
                    <a:gd name="T85" fmla="*/ 420 h 720"/>
                    <a:gd name="T86" fmla="*/ 936 w 1207"/>
                    <a:gd name="T87" fmla="*/ 465 h 720"/>
                    <a:gd name="T88" fmla="*/ 898 w 1207"/>
                    <a:gd name="T89" fmla="*/ 482 h 720"/>
                    <a:gd name="T90" fmla="*/ 889 w 1207"/>
                    <a:gd name="T91" fmla="*/ 49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07" h="720">
                      <a:moveTo>
                        <a:pt x="889" y="498"/>
                      </a:moveTo>
                      <a:lnTo>
                        <a:pt x="882" y="522"/>
                      </a:lnTo>
                      <a:lnTo>
                        <a:pt x="827" y="515"/>
                      </a:lnTo>
                      <a:lnTo>
                        <a:pt x="806" y="531"/>
                      </a:lnTo>
                      <a:lnTo>
                        <a:pt x="796" y="548"/>
                      </a:lnTo>
                      <a:lnTo>
                        <a:pt x="806" y="555"/>
                      </a:lnTo>
                      <a:lnTo>
                        <a:pt x="822" y="564"/>
                      </a:lnTo>
                      <a:lnTo>
                        <a:pt x="827" y="572"/>
                      </a:lnTo>
                      <a:lnTo>
                        <a:pt x="851" y="572"/>
                      </a:lnTo>
                      <a:lnTo>
                        <a:pt x="860" y="588"/>
                      </a:lnTo>
                      <a:lnTo>
                        <a:pt x="851" y="588"/>
                      </a:lnTo>
                      <a:lnTo>
                        <a:pt x="851" y="609"/>
                      </a:lnTo>
                      <a:lnTo>
                        <a:pt x="877" y="642"/>
                      </a:lnTo>
                      <a:lnTo>
                        <a:pt x="867" y="659"/>
                      </a:lnTo>
                      <a:lnTo>
                        <a:pt x="860" y="659"/>
                      </a:lnTo>
                      <a:lnTo>
                        <a:pt x="834" y="699"/>
                      </a:lnTo>
                      <a:lnTo>
                        <a:pt x="827" y="720"/>
                      </a:lnTo>
                      <a:lnTo>
                        <a:pt x="813" y="716"/>
                      </a:lnTo>
                      <a:lnTo>
                        <a:pt x="789" y="720"/>
                      </a:lnTo>
                      <a:lnTo>
                        <a:pt x="775" y="704"/>
                      </a:lnTo>
                      <a:lnTo>
                        <a:pt x="742" y="704"/>
                      </a:lnTo>
                      <a:lnTo>
                        <a:pt x="742" y="675"/>
                      </a:lnTo>
                      <a:lnTo>
                        <a:pt x="752" y="659"/>
                      </a:lnTo>
                      <a:lnTo>
                        <a:pt x="700" y="633"/>
                      </a:lnTo>
                      <a:lnTo>
                        <a:pt x="671" y="633"/>
                      </a:lnTo>
                      <a:lnTo>
                        <a:pt x="591" y="572"/>
                      </a:lnTo>
                      <a:lnTo>
                        <a:pt x="574" y="576"/>
                      </a:lnTo>
                      <a:lnTo>
                        <a:pt x="541" y="555"/>
                      </a:lnTo>
                      <a:lnTo>
                        <a:pt x="537" y="538"/>
                      </a:lnTo>
                      <a:lnTo>
                        <a:pt x="456" y="482"/>
                      </a:lnTo>
                      <a:lnTo>
                        <a:pt x="449" y="456"/>
                      </a:lnTo>
                      <a:lnTo>
                        <a:pt x="433" y="437"/>
                      </a:lnTo>
                      <a:lnTo>
                        <a:pt x="419" y="387"/>
                      </a:lnTo>
                      <a:lnTo>
                        <a:pt x="385" y="371"/>
                      </a:lnTo>
                      <a:lnTo>
                        <a:pt x="374" y="387"/>
                      </a:lnTo>
                      <a:lnTo>
                        <a:pt x="348" y="383"/>
                      </a:lnTo>
                      <a:lnTo>
                        <a:pt x="319" y="383"/>
                      </a:lnTo>
                      <a:lnTo>
                        <a:pt x="293" y="371"/>
                      </a:lnTo>
                      <a:lnTo>
                        <a:pt x="289" y="366"/>
                      </a:lnTo>
                      <a:lnTo>
                        <a:pt x="293" y="349"/>
                      </a:lnTo>
                      <a:lnTo>
                        <a:pt x="289" y="333"/>
                      </a:lnTo>
                      <a:lnTo>
                        <a:pt x="303" y="333"/>
                      </a:lnTo>
                      <a:lnTo>
                        <a:pt x="289" y="309"/>
                      </a:lnTo>
                      <a:lnTo>
                        <a:pt x="289" y="293"/>
                      </a:lnTo>
                      <a:lnTo>
                        <a:pt x="272" y="283"/>
                      </a:lnTo>
                      <a:lnTo>
                        <a:pt x="234" y="283"/>
                      </a:lnTo>
                      <a:lnTo>
                        <a:pt x="222" y="272"/>
                      </a:lnTo>
                      <a:lnTo>
                        <a:pt x="213" y="272"/>
                      </a:lnTo>
                      <a:lnTo>
                        <a:pt x="185" y="243"/>
                      </a:lnTo>
                      <a:lnTo>
                        <a:pt x="180" y="260"/>
                      </a:lnTo>
                      <a:lnTo>
                        <a:pt x="163" y="255"/>
                      </a:lnTo>
                      <a:lnTo>
                        <a:pt x="159" y="260"/>
                      </a:lnTo>
                      <a:lnTo>
                        <a:pt x="180" y="293"/>
                      </a:lnTo>
                      <a:lnTo>
                        <a:pt x="168" y="293"/>
                      </a:lnTo>
                      <a:lnTo>
                        <a:pt x="163" y="276"/>
                      </a:lnTo>
                      <a:lnTo>
                        <a:pt x="147" y="272"/>
                      </a:lnTo>
                      <a:lnTo>
                        <a:pt x="130" y="300"/>
                      </a:lnTo>
                      <a:lnTo>
                        <a:pt x="104" y="300"/>
                      </a:lnTo>
                      <a:lnTo>
                        <a:pt x="71" y="328"/>
                      </a:lnTo>
                      <a:lnTo>
                        <a:pt x="71" y="345"/>
                      </a:lnTo>
                      <a:lnTo>
                        <a:pt x="76" y="371"/>
                      </a:lnTo>
                      <a:lnTo>
                        <a:pt x="76" y="383"/>
                      </a:lnTo>
                      <a:lnTo>
                        <a:pt x="0" y="371"/>
                      </a:lnTo>
                      <a:lnTo>
                        <a:pt x="0" y="54"/>
                      </a:lnTo>
                      <a:lnTo>
                        <a:pt x="180" y="0"/>
                      </a:lnTo>
                      <a:lnTo>
                        <a:pt x="364" y="116"/>
                      </a:lnTo>
                      <a:lnTo>
                        <a:pt x="428" y="182"/>
                      </a:lnTo>
                      <a:lnTo>
                        <a:pt x="508" y="172"/>
                      </a:lnTo>
                      <a:lnTo>
                        <a:pt x="596" y="182"/>
                      </a:lnTo>
                      <a:lnTo>
                        <a:pt x="629" y="165"/>
                      </a:lnTo>
                      <a:lnTo>
                        <a:pt x="650" y="189"/>
                      </a:lnTo>
                      <a:lnTo>
                        <a:pt x="671" y="201"/>
                      </a:lnTo>
                      <a:lnTo>
                        <a:pt x="688" y="238"/>
                      </a:lnTo>
                      <a:lnTo>
                        <a:pt x="714" y="227"/>
                      </a:lnTo>
                      <a:lnTo>
                        <a:pt x="704" y="316"/>
                      </a:lnTo>
                      <a:lnTo>
                        <a:pt x="742" y="316"/>
                      </a:lnTo>
                      <a:lnTo>
                        <a:pt x="759" y="387"/>
                      </a:lnTo>
                      <a:lnTo>
                        <a:pt x="844" y="387"/>
                      </a:lnTo>
                      <a:lnTo>
                        <a:pt x="860" y="399"/>
                      </a:lnTo>
                      <a:lnTo>
                        <a:pt x="851" y="420"/>
                      </a:lnTo>
                      <a:lnTo>
                        <a:pt x="877" y="437"/>
                      </a:lnTo>
                      <a:lnTo>
                        <a:pt x="889" y="437"/>
                      </a:lnTo>
                      <a:lnTo>
                        <a:pt x="889" y="411"/>
                      </a:lnTo>
                      <a:lnTo>
                        <a:pt x="919" y="383"/>
                      </a:lnTo>
                      <a:lnTo>
                        <a:pt x="919" y="371"/>
                      </a:lnTo>
                      <a:lnTo>
                        <a:pt x="957" y="345"/>
                      </a:lnTo>
                      <a:lnTo>
                        <a:pt x="985" y="345"/>
                      </a:lnTo>
                      <a:lnTo>
                        <a:pt x="1011" y="309"/>
                      </a:lnTo>
                      <a:lnTo>
                        <a:pt x="1028" y="316"/>
                      </a:lnTo>
                      <a:lnTo>
                        <a:pt x="1040" y="300"/>
                      </a:lnTo>
                      <a:lnTo>
                        <a:pt x="1049" y="293"/>
                      </a:lnTo>
                      <a:lnTo>
                        <a:pt x="1061" y="283"/>
                      </a:lnTo>
                      <a:lnTo>
                        <a:pt x="1078" y="300"/>
                      </a:lnTo>
                      <a:lnTo>
                        <a:pt x="1044" y="309"/>
                      </a:lnTo>
                      <a:lnTo>
                        <a:pt x="1044" y="328"/>
                      </a:lnTo>
                      <a:lnTo>
                        <a:pt x="1040" y="328"/>
                      </a:lnTo>
                      <a:lnTo>
                        <a:pt x="995" y="354"/>
                      </a:lnTo>
                      <a:lnTo>
                        <a:pt x="1023" y="366"/>
                      </a:lnTo>
                      <a:lnTo>
                        <a:pt x="1040" y="366"/>
                      </a:lnTo>
                      <a:lnTo>
                        <a:pt x="1044" y="383"/>
                      </a:lnTo>
                      <a:lnTo>
                        <a:pt x="1082" y="387"/>
                      </a:lnTo>
                      <a:lnTo>
                        <a:pt x="1082" y="371"/>
                      </a:lnTo>
                      <a:lnTo>
                        <a:pt x="1099" y="371"/>
                      </a:lnTo>
                      <a:lnTo>
                        <a:pt x="1104" y="354"/>
                      </a:lnTo>
                      <a:lnTo>
                        <a:pt x="1120" y="371"/>
                      </a:lnTo>
                      <a:lnTo>
                        <a:pt x="1120" y="387"/>
                      </a:lnTo>
                      <a:lnTo>
                        <a:pt x="1137" y="387"/>
                      </a:lnTo>
                      <a:lnTo>
                        <a:pt x="1137" y="404"/>
                      </a:lnTo>
                      <a:lnTo>
                        <a:pt x="1153" y="399"/>
                      </a:lnTo>
                      <a:lnTo>
                        <a:pt x="1170" y="411"/>
                      </a:lnTo>
                      <a:lnTo>
                        <a:pt x="1207" y="420"/>
                      </a:lnTo>
                      <a:lnTo>
                        <a:pt x="1186" y="427"/>
                      </a:lnTo>
                      <a:lnTo>
                        <a:pt x="1170" y="444"/>
                      </a:lnTo>
                      <a:lnTo>
                        <a:pt x="1153" y="437"/>
                      </a:lnTo>
                      <a:lnTo>
                        <a:pt x="1153" y="456"/>
                      </a:lnTo>
                      <a:lnTo>
                        <a:pt x="1137" y="456"/>
                      </a:lnTo>
                      <a:lnTo>
                        <a:pt x="1132" y="460"/>
                      </a:lnTo>
                      <a:lnTo>
                        <a:pt x="1132" y="465"/>
                      </a:lnTo>
                      <a:lnTo>
                        <a:pt x="1104" y="477"/>
                      </a:lnTo>
                      <a:lnTo>
                        <a:pt x="1082" y="460"/>
                      </a:lnTo>
                      <a:lnTo>
                        <a:pt x="1049" y="465"/>
                      </a:lnTo>
                      <a:lnTo>
                        <a:pt x="1028" y="465"/>
                      </a:lnTo>
                      <a:lnTo>
                        <a:pt x="1011" y="456"/>
                      </a:lnTo>
                      <a:lnTo>
                        <a:pt x="1011" y="456"/>
                      </a:lnTo>
                      <a:lnTo>
                        <a:pt x="1044" y="427"/>
                      </a:lnTo>
                      <a:lnTo>
                        <a:pt x="1011" y="399"/>
                      </a:lnTo>
                      <a:lnTo>
                        <a:pt x="1007" y="411"/>
                      </a:lnTo>
                      <a:lnTo>
                        <a:pt x="969" y="437"/>
                      </a:lnTo>
                      <a:lnTo>
                        <a:pt x="943" y="420"/>
                      </a:lnTo>
                      <a:lnTo>
                        <a:pt x="943" y="420"/>
                      </a:lnTo>
                      <a:lnTo>
                        <a:pt x="936" y="444"/>
                      </a:lnTo>
                      <a:lnTo>
                        <a:pt x="936" y="465"/>
                      </a:lnTo>
                      <a:lnTo>
                        <a:pt x="889" y="477"/>
                      </a:lnTo>
                      <a:lnTo>
                        <a:pt x="915" y="477"/>
                      </a:lnTo>
                      <a:lnTo>
                        <a:pt x="898" y="482"/>
                      </a:lnTo>
                      <a:lnTo>
                        <a:pt x="905" y="498"/>
                      </a:lnTo>
                      <a:lnTo>
                        <a:pt x="889" y="498"/>
                      </a:lnTo>
                      <a:lnTo>
                        <a:pt x="889" y="498"/>
                      </a:lnTo>
                      <a:lnTo>
                        <a:pt x="889" y="49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26" name="Gruppieren 25">
            <a:extLst>
              <a:ext uri="{FF2B5EF4-FFF2-40B4-BE49-F238E27FC236}">
                <a16:creationId xmlns:a16="http://schemas.microsoft.com/office/drawing/2014/main" id="{25438A58-49BD-45BC-9CA6-0EC82C343BA5}"/>
              </a:ext>
            </a:extLst>
          </p:cNvPr>
          <p:cNvGrpSpPr/>
          <p:nvPr/>
        </p:nvGrpSpPr>
        <p:grpSpPr bwMode="gray">
          <a:xfrm>
            <a:off x="8172003" y="2594242"/>
            <a:ext cx="2843406" cy="3567109"/>
            <a:chOff x="8473775" y="2306210"/>
            <a:chExt cx="2843406" cy="3567109"/>
          </a:xfrm>
          <a:pattFill prst="ltHorz">
            <a:fgClr>
              <a:schemeClr val="accent2"/>
            </a:fgClr>
            <a:bgClr>
              <a:schemeClr val="bg1"/>
            </a:bgClr>
          </a:pattFill>
        </p:grpSpPr>
        <p:sp>
          <p:nvSpPr>
            <p:cNvPr id="8000" name="Freeform 379">
              <a:extLst>
                <a:ext uri="{FF2B5EF4-FFF2-40B4-BE49-F238E27FC236}">
                  <a16:creationId xmlns:a16="http://schemas.microsoft.com/office/drawing/2014/main" id="{43FDA1D7-FF82-4841-A61E-5E8EAFC4411F}"/>
                </a:ext>
              </a:extLst>
            </p:cNvPr>
            <p:cNvSpPr>
              <a:spLocks/>
            </p:cNvSpPr>
            <p:nvPr/>
          </p:nvSpPr>
          <p:spPr bwMode="gray">
            <a:xfrm>
              <a:off x="8473775" y="2866557"/>
              <a:ext cx="414964" cy="299318"/>
            </a:xfrm>
            <a:custGeom>
              <a:avLst/>
              <a:gdLst>
                <a:gd name="T0" fmla="*/ 75 w 1008"/>
                <a:gd name="T1" fmla="*/ 243 h 727"/>
                <a:gd name="T2" fmla="*/ 137 w 1008"/>
                <a:gd name="T3" fmla="*/ 260 h 727"/>
                <a:gd name="T4" fmla="*/ 184 w 1008"/>
                <a:gd name="T5" fmla="*/ 234 h 727"/>
                <a:gd name="T6" fmla="*/ 243 w 1008"/>
                <a:gd name="T7" fmla="*/ 193 h 727"/>
                <a:gd name="T8" fmla="*/ 297 w 1008"/>
                <a:gd name="T9" fmla="*/ 111 h 727"/>
                <a:gd name="T10" fmla="*/ 361 w 1008"/>
                <a:gd name="T11" fmla="*/ 78 h 727"/>
                <a:gd name="T12" fmla="*/ 453 w 1008"/>
                <a:gd name="T13" fmla="*/ 82 h 727"/>
                <a:gd name="T14" fmla="*/ 508 w 1008"/>
                <a:gd name="T15" fmla="*/ 99 h 727"/>
                <a:gd name="T16" fmla="*/ 583 w 1008"/>
                <a:gd name="T17" fmla="*/ 94 h 727"/>
                <a:gd name="T18" fmla="*/ 621 w 1008"/>
                <a:gd name="T19" fmla="*/ 82 h 727"/>
                <a:gd name="T20" fmla="*/ 675 w 1008"/>
                <a:gd name="T21" fmla="*/ 78 h 727"/>
                <a:gd name="T22" fmla="*/ 718 w 1008"/>
                <a:gd name="T23" fmla="*/ 0 h 727"/>
                <a:gd name="T24" fmla="*/ 756 w 1008"/>
                <a:gd name="T25" fmla="*/ 42 h 727"/>
                <a:gd name="T26" fmla="*/ 777 w 1008"/>
                <a:gd name="T27" fmla="*/ 139 h 727"/>
                <a:gd name="T28" fmla="*/ 826 w 1008"/>
                <a:gd name="T29" fmla="*/ 115 h 727"/>
                <a:gd name="T30" fmla="*/ 890 w 1008"/>
                <a:gd name="T31" fmla="*/ 78 h 727"/>
                <a:gd name="T32" fmla="*/ 919 w 1008"/>
                <a:gd name="T33" fmla="*/ 94 h 727"/>
                <a:gd name="T34" fmla="*/ 994 w 1008"/>
                <a:gd name="T35" fmla="*/ 82 h 727"/>
                <a:gd name="T36" fmla="*/ 999 w 1008"/>
                <a:gd name="T37" fmla="*/ 94 h 727"/>
                <a:gd name="T38" fmla="*/ 987 w 1008"/>
                <a:gd name="T39" fmla="*/ 120 h 727"/>
                <a:gd name="T40" fmla="*/ 923 w 1008"/>
                <a:gd name="T41" fmla="*/ 120 h 727"/>
                <a:gd name="T42" fmla="*/ 784 w 1008"/>
                <a:gd name="T43" fmla="*/ 165 h 727"/>
                <a:gd name="T44" fmla="*/ 756 w 1008"/>
                <a:gd name="T45" fmla="*/ 189 h 727"/>
                <a:gd name="T46" fmla="*/ 777 w 1008"/>
                <a:gd name="T47" fmla="*/ 250 h 727"/>
                <a:gd name="T48" fmla="*/ 772 w 1008"/>
                <a:gd name="T49" fmla="*/ 283 h 727"/>
                <a:gd name="T50" fmla="*/ 730 w 1008"/>
                <a:gd name="T51" fmla="*/ 321 h 727"/>
                <a:gd name="T52" fmla="*/ 701 w 1008"/>
                <a:gd name="T53" fmla="*/ 373 h 727"/>
                <a:gd name="T54" fmla="*/ 663 w 1008"/>
                <a:gd name="T55" fmla="*/ 390 h 727"/>
                <a:gd name="T56" fmla="*/ 685 w 1008"/>
                <a:gd name="T57" fmla="*/ 415 h 727"/>
                <a:gd name="T58" fmla="*/ 633 w 1008"/>
                <a:gd name="T59" fmla="*/ 456 h 727"/>
                <a:gd name="T60" fmla="*/ 616 w 1008"/>
                <a:gd name="T61" fmla="*/ 489 h 727"/>
                <a:gd name="T62" fmla="*/ 583 w 1008"/>
                <a:gd name="T63" fmla="*/ 562 h 727"/>
                <a:gd name="T64" fmla="*/ 562 w 1008"/>
                <a:gd name="T65" fmla="*/ 545 h 727"/>
                <a:gd name="T66" fmla="*/ 491 w 1008"/>
                <a:gd name="T67" fmla="*/ 562 h 727"/>
                <a:gd name="T68" fmla="*/ 453 w 1008"/>
                <a:gd name="T69" fmla="*/ 578 h 727"/>
                <a:gd name="T70" fmla="*/ 415 w 1008"/>
                <a:gd name="T71" fmla="*/ 612 h 727"/>
                <a:gd name="T72" fmla="*/ 399 w 1008"/>
                <a:gd name="T73" fmla="*/ 678 h 727"/>
                <a:gd name="T74" fmla="*/ 314 w 1008"/>
                <a:gd name="T75" fmla="*/ 723 h 727"/>
                <a:gd name="T76" fmla="*/ 217 w 1008"/>
                <a:gd name="T77" fmla="*/ 723 h 727"/>
                <a:gd name="T78" fmla="*/ 23 w 1008"/>
                <a:gd name="T79" fmla="*/ 694 h 727"/>
                <a:gd name="T80" fmla="*/ 82 w 1008"/>
                <a:gd name="T81" fmla="*/ 578 h 727"/>
                <a:gd name="T82" fmla="*/ 23 w 1008"/>
                <a:gd name="T83" fmla="*/ 505 h 727"/>
                <a:gd name="T84" fmla="*/ 0 w 1008"/>
                <a:gd name="T85" fmla="*/ 394 h 727"/>
                <a:gd name="T86" fmla="*/ 23 w 1008"/>
                <a:gd name="T87" fmla="*/ 338 h 727"/>
                <a:gd name="T88" fmla="*/ 37 w 1008"/>
                <a:gd name="T89" fmla="*/ 300 h 727"/>
                <a:gd name="T90" fmla="*/ 54 w 1008"/>
                <a:gd name="T91" fmla="*/ 23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08" h="727">
                  <a:moveTo>
                    <a:pt x="54" y="234"/>
                  </a:moveTo>
                  <a:lnTo>
                    <a:pt x="61" y="227"/>
                  </a:lnTo>
                  <a:lnTo>
                    <a:pt x="75" y="243"/>
                  </a:lnTo>
                  <a:lnTo>
                    <a:pt x="108" y="243"/>
                  </a:lnTo>
                  <a:lnTo>
                    <a:pt x="120" y="267"/>
                  </a:lnTo>
                  <a:lnTo>
                    <a:pt x="137" y="260"/>
                  </a:lnTo>
                  <a:lnTo>
                    <a:pt x="151" y="260"/>
                  </a:lnTo>
                  <a:lnTo>
                    <a:pt x="184" y="243"/>
                  </a:lnTo>
                  <a:lnTo>
                    <a:pt x="184" y="234"/>
                  </a:lnTo>
                  <a:lnTo>
                    <a:pt x="184" y="227"/>
                  </a:lnTo>
                  <a:lnTo>
                    <a:pt x="184" y="210"/>
                  </a:lnTo>
                  <a:lnTo>
                    <a:pt x="243" y="193"/>
                  </a:lnTo>
                  <a:lnTo>
                    <a:pt x="276" y="177"/>
                  </a:lnTo>
                  <a:lnTo>
                    <a:pt x="297" y="120"/>
                  </a:lnTo>
                  <a:lnTo>
                    <a:pt x="297" y="111"/>
                  </a:lnTo>
                  <a:lnTo>
                    <a:pt x="323" y="99"/>
                  </a:lnTo>
                  <a:lnTo>
                    <a:pt x="352" y="99"/>
                  </a:lnTo>
                  <a:lnTo>
                    <a:pt x="361" y="78"/>
                  </a:lnTo>
                  <a:lnTo>
                    <a:pt x="406" y="94"/>
                  </a:lnTo>
                  <a:lnTo>
                    <a:pt x="422" y="82"/>
                  </a:lnTo>
                  <a:lnTo>
                    <a:pt x="453" y="82"/>
                  </a:lnTo>
                  <a:lnTo>
                    <a:pt x="470" y="99"/>
                  </a:lnTo>
                  <a:lnTo>
                    <a:pt x="491" y="94"/>
                  </a:lnTo>
                  <a:lnTo>
                    <a:pt x="508" y="99"/>
                  </a:lnTo>
                  <a:lnTo>
                    <a:pt x="508" y="111"/>
                  </a:lnTo>
                  <a:lnTo>
                    <a:pt x="529" y="120"/>
                  </a:lnTo>
                  <a:lnTo>
                    <a:pt x="583" y="94"/>
                  </a:lnTo>
                  <a:lnTo>
                    <a:pt x="616" y="111"/>
                  </a:lnTo>
                  <a:lnTo>
                    <a:pt x="621" y="99"/>
                  </a:lnTo>
                  <a:lnTo>
                    <a:pt x="621" y="82"/>
                  </a:lnTo>
                  <a:lnTo>
                    <a:pt x="633" y="66"/>
                  </a:lnTo>
                  <a:lnTo>
                    <a:pt x="654" y="66"/>
                  </a:lnTo>
                  <a:lnTo>
                    <a:pt x="675" y="78"/>
                  </a:lnTo>
                  <a:lnTo>
                    <a:pt x="685" y="61"/>
                  </a:lnTo>
                  <a:lnTo>
                    <a:pt x="675" y="38"/>
                  </a:lnTo>
                  <a:lnTo>
                    <a:pt x="718" y="0"/>
                  </a:lnTo>
                  <a:lnTo>
                    <a:pt x="730" y="0"/>
                  </a:lnTo>
                  <a:lnTo>
                    <a:pt x="760" y="9"/>
                  </a:lnTo>
                  <a:lnTo>
                    <a:pt x="756" y="42"/>
                  </a:lnTo>
                  <a:lnTo>
                    <a:pt x="777" y="42"/>
                  </a:lnTo>
                  <a:lnTo>
                    <a:pt x="760" y="111"/>
                  </a:lnTo>
                  <a:lnTo>
                    <a:pt x="777" y="139"/>
                  </a:lnTo>
                  <a:lnTo>
                    <a:pt x="784" y="149"/>
                  </a:lnTo>
                  <a:lnTo>
                    <a:pt x="793" y="139"/>
                  </a:lnTo>
                  <a:lnTo>
                    <a:pt x="826" y="115"/>
                  </a:lnTo>
                  <a:lnTo>
                    <a:pt x="852" y="115"/>
                  </a:lnTo>
                  <a:lnTo>
                    <a:pt x="864" y="99"/>
                  </a:lnTo>
                  <a:lnTo>
                    <a:pt x="890" y="78"/>
                  </a:lnTo>
                  <a:lnTo>
                    <a:pt x="933" y="82"/>
                  </a:lnTo>
                  <a:lnTo>
                    <a:pt x="933" y="94"/>
                  </a:lnTo>
                  <a:lnTo>
                    <a:pt x="919" y="94"/>
                  </a:lnTo>
                  <a:lnTo>
                    <a:pt x="923" y="99"/>
                  </a:lnTo>
                  <a:lnTo>
                    <a:pt x="961" y="82"/>
                  </a:lnTo>
                  <a:lnTo>
                    <a:pt x="994" y="82"/>
                  </a:lnTo>
                  <a:lnTo>
                    <a:pt x="1008" y="99"/>
                  </a:lnTo>
                  <a:lnTo>
                    <a:pt x="999" y="99"/>
                  </a:lnTo>
                  <a:lnTo>
                    <a:pt x="999" y="94"/>
                  </a:lnTo>
                  <a:lnTo>
                    <a:pt x="971" y="99"/>
                  </a:lnTo>
                  <a:lnTo>
                    <a:pt x="987" y="115"/>
                  </a:lnTo>
                  <a:lnTo>
                    <a:pt x="987" y="120"/>
                  </a:lnTo>
                  <a:lnTo>
                    <a:pt x="978" y="115"/>
                  </a:lnTo>
                  <a:lnTo>
                    <a:pt x="945" y="132"/>
                  </a:lnTo>
                  <a:lnTo>
                    <a:pt x="923" y="120"/>
                  </a:lnTo>
                  <a:lnTo>
                    <a:pt x="848" y="132"/>
                  </a:lnTo>
                  <a:lnTo>
                    <a:pt x="815" y="139"/>
                  </a:lnTo>
                  <a:lnTo>
                    <a:pt x="784" y="165"/>
                  </a:lnTo>
                  <a:lnTo>
                    <a:pt x="777" y="165"/>
                  </a:lnTo>
                  <a:lnTo>
                    <a:pt x="777" y="172"/>
                  </a:lnTo>
                  <a:lnTo>
                    <a:pt x="756" y="189"/>
                  </a:lnTo>
                  <a:lnTo>
                    <a:pt x="746" y="193"/>
                  </a:lnTo>
                  <a:lnTo>
                    <a:pt x="772" y="210"/>
                  </a:lnTo>
                  <a:lnTo>
                    <a:pt x="777" y="250"/>
                  </a:lnTo>
                  <a:lnTo>
                    <a:pt x="772" y="260"/>
                  </a:lnTo>
                  <a:lnTo>
                    <a:pt x="777" y="267"/>
                  </a:lnTo>
                  <a:lnTo>
                    <a:pt x="772" y="283"/>
                  </a:lnTo>
                  <a:lnTo>
                    <a:pt x="739" y="304"/>
                  </a:lnTo>
                  <a:lnTo>
                    <a:pt x="739" y="316"/>
                  </a:lnTo>
                  <a:lnTo>
                    <a:pt x="730" y="321"/>
                  </a:lnTo>
                  <a:lnTo>
                    <a:pt x="746" y="338"/>
                  </a:lnTo>
                  <a:lnTo>
                    <a:pt x="739" y="361"/>
                  </a:lnTo>
                  <a:lnTo>
                    <a:pt x="701" y="373"/>
                  </a:lnTo>
                  <a:lnTo>
                    <a:pt x="654" y="361"/>
                  </a:lnTo>
                  <a:lnTo>
                    <a:pt x="663" y="378"/>
                  </a:lnTo>
                  <a:lnTo>
                    <a:pt x="663" y="390"/>
                  </a:lnTo>
                  <a:lnTo>
                    <a:pt x="675" y="390"/>
                  </a:lnTo>
                  <a:lnTo>
                    <a:pt x="675" y="399"/>
                  </a:lnTo>
                  <a:lnTo>
                    <a:pt x="685" y="415"/>
                  </a:lnTo>
                  <a:lnTo>
                    <a:pt x="671" y="434"/>
                  </a:lnTo>
                  <a:lnTo>
                    <a:pt x="633" y="444"/>
                  </a:lnTo>
                  <a:lnTo>
                    <a:pt x="633" y="456"/>
                  </a:lnTo>
                  <a:lnTo>
                    <a:pt x="621" y="467"/>
                  </a:lnTo>
                  <a:lnTo>
                    <a:pt x="621" y="472"/>
                  </a:lnTo>
                  <a:lnTo>
                    <a:pt x="616" y="489"/>
                  </a:lnTo>
                  <a:lnTo>
                    <a:pt x="616" y="529"/>
                  </a:lnTo>
                  <a:lnTo>
                    <a:pt x="600" y="555"/>
                  </a:lnTo>
                  <a:lnTo>
                    <a:pt x="583" y="562"/>
                  </a:lnTo>
                  <a:lnTo>
                    <a:pt x="562" y="538"/>
                  </a:lnTo>
                  <a:lnTo>
                    <a:pt x="557" y="545"/>
                  </a:lnTo>
                  <a:lnTo>
                    <a:pt x="562" y="545"/>
                  </a:lnTo>
                  <a:lnTo>
                    <a:pt x="541" y="538"/>
                  </a:lnTo>
                  <a:lnTo>
                    <a:pt x="524" y="555"/>
                  </a:lnTo>
                  <a:lnTo>
                    <a:pt x="491" y="562"/>
                  </a:lnTo>
                  <a:lnTo>
                    <a:pt x="508" y="578"/>
                  </a:lnTo>
                  <a:lnTo>
                    <a:pt x="474" y="583"/>
                  </a:lnTo>
                  <a:lnTo>
                    <a:pt x="453" y="578"/>
                  </a:lnTo>
                  <a:lnTo>
                    <a:pt x="437" y="583"/>
                  </a:lnTo>
                  <a:lnTo>
                    <a:pt x="422" y="612"/>
                  </a:lnTo>
                  <a:lnTo>
                    <a:pt x="415" y="612"/>
                  </a:lnTo>
                  <a:lnTo>
                    <a:pt x="406" y="640"/>
                  </a:lnTo>
                  <a:lnTo>
                    <a:pt x="406" y="668"/>
                  </a:lnTo>
                  <a:lnTo>
                    <a:pt x="399" y="678"/>
                  </a:lnTo>
                  <a:lnTo>
                    <a:pt x="406" y="689"/>
                  </a:lnTo>
                  <a:lnTo>
                    <a:pt x="399" y="694"/>
                  </a:lnTo>
                  <a:lnTo>
                    <a:pt x="314" y="723"/>
                  </a:lnTo>
                  <a:lnTo>
                    <a:pt x="271" y="723"/>
                  </a:lnTo>
                  <a:lnTo>
                    <a:pt x="243" y="727"/>
                  </a:lnTo>
                  <a:lnTo>
                    <a:pt x="217" y="723"/>
                  </a:lnTo>
                  <a:lnTo>
                    <a:pt x="189" y="727"/>
                  </a:lnTo>
                  <a:lnTo>
                    <a:pt x="137" y="727"/>
                  </a:lnTo>
                  <a:lnTo>
                    <a:pt x="23" y="694"/>
                  </a:lnTo>
                  <a:lnTo>
                    <a:pt x="82" y="623"/>
                  </a:lnTo>
                  <a:lnTo>
                    <a:pt x="92" y="600"/>
                  </a:lnTo>
                  <a:lnTo>
                    <a:pt x="82" y="578"/>
                  </a:lnTo>
                  <a:lnTo>
                    <a:pt x="23" y="567"/>
                  </a:lnTo>
                  <a:lnTo>
                    <a:pt x="23" y="529"/>
                  </a:lnTo>
                  <a:lnTo>
                    <a:pt x="23" y="505"/>
                  </a:lnTo>
                  <a:lnTo>
                    <a:pt x="7" y="434"/>
                  </a:lnTo>
                  <a:lnTo>
                    <a:pt x="28" y="399"/>
                  </a:lnTo>
                  <a:lnTo>
                    <a:pt x="0" y="394"/>
                  </a:lnTo>
                  <a:lnTo>
                    <a:pt x="0" y="354"/>
                  </a:lnTo>
                  <a:lnTo>
                    <a:pt x="7" y="338"/>
                  </a:lnTo>
                  <a:lnTo>
                    <a:pt x="23" y="338"/>
                  </a:lnTo>
                  <a:lnTo>
                    <a:pt x="11" y="321"/>
                  </a:lnTo>
                  <a:lnTo>
                    <a:pt x="28" y="316"/>
                  </a:lnTo>
                  <a:lnTo>
                    <a:pt x="37" y="300"/>
                  </a:lnTo>
                  <a:lnTo>
                    <a:pt x="37" y="260"/>
                  </a:lnTo>
                  <a:lnTo>
                    <a:pt x="54" y="234"/>
                  </a:lnTo>
                  <a:lnTo>
                    <a:pt x="54" y="234"/>
                  </a:lnTo>
                  <a:lnTo>
                    <a:pt x="54" y="23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08" name="Freeform 388">
              <a:extLst>
                <a:ext uri="{FF2B5EF4-FFF2-40B4-BE49-F238E27FC236}">
                  <a16:creationId xmlns:a16="http://schemas.microsoft.com/office/drawing/2014/main" id="{B0D91B53-412B-4ADC-A8F6-EFBC0717F33A}"/>
                </a:ext>
              </a:extLst>
            </p:cNvPr>
            <p:cNvSpPr>
              <a:spLocks noEditPoints="1"/>
            </p:cNvSpPr>
            <p:nvPr/>
          </p:nvSpPr>
          <p:spPr bwMode="gray">
            <a:xfrm>
              <a:off x="9987898" y="4363968"/>
              <a:ext cx="1329283" cy="1509351"/>
            </a:xfrm>
            <a:custGeom>
              <a:avLst/>
              <a:gdLst>
                <a:gd name="T0" fmla="*/ 2050 w 3229"/>
                <a:gd name="T1" fmla="*/ 41 h 3666"/>
                <a:gd name="T2" fmla="*/ 2239 w 3229"/>
                <a:gd name="T3" fmla="*/ 2190 h 3666"/>
                <a:gd name="T4" fmla="*/ 1939 w 3229"/>
                <a:gd name="T5" fmla="*/ 2152 h 3666"/>
                <a:gd name="T6" fmla="*/ 1835 w 3229"/>
                <a:gd name="T7" fmla="*/ 1930 h 3666"/>
                <a:gd name="T8" fmla="*/ 1712 w 3229"/>
                <a:gd name="T9" fmla="*/ 1902 h 3666"/>
                <a:gd name="T10" fmla="*/ 1603 w 3229"/>
                <a:gd name="T11" fmla="*/ 1885 h 3666"/>
                <a:gd name="T12" fmla="*/ 1495 w 3229"/>
                <a:gd name="T13" fmla="*/ 1746 h 3666"/>
                <a:gd name="T14" fmla="*/ 1204 w 3229"/>
                <a:gd name="T15" fmla="*/ 1630 h 3666"/>
                <a:gd name="T16" fmla="*/ 621 w 3229"/>
                <a:gd name="T17" fmla="*/ 1815 h 3666"/>
                <a:gd name="T18" fmla="*/ 309 w 3229"/>
                <a:gd name="T19" fmla="*/ 1902 h 3666"/>
                <a:gd name="T20" fmla="*/ 196 w 3229"/>
                <a:gd name="T21" fmla="*/ 1647 h 3666"/>
                <a:gd name="T22" fmla="*/ 49 w 3229"/>
                <a:gd name="T23" fmla="*/ 1243 h 3666"/>
                <a:gd name="T24" fmla="*/ 33 w 3229"/>
                <a:gd name="T25" fmla="*/ 1071 h 3666"/>
                <a:gd name="T26" fmla="*/ 285 w 3229"/>
                <a:gd name="T27" fmla="*/ 782 h 3666"/>
                <a:gd name="T28" fmla="*/ 649 w 3229"/>
                <a:gd name="T29" fmla="*/ 527 h 3666"/>
                <a:gd name="T30" fmla="*/ 751 w 3229"/>
                <a:gd name="T31" fmla="*/ 482 h 3666"/>
                <a:gd name="T32" fmla="*/ 836 w 3229"/>
                <a:gd name="T33" fmla="*/ 466 h 3666"/>
                <a:gd name="T34" fmla="*/ 848 w 3229"/>
                <a:gd name="T35" fmla="*/ 388 h 3666"/>
                <a:gd name="T36" fmla="*/ 890 w 3229"/>
                <a:gd name="T37" fmla="*/ 305 h 3666"/>
                <a:gd name="T38" fmla="*/ 956 w 3229"/>
                <a:gd name="T39" fmla="*/ 305 h 3666"/>
                <a:gd name="T40" fmla="*/ 1091 w 3229"/>
                <a:gd name="T41" fmla="*/ 362 h 3666"/>
                <a:gd name="T42" fmla="*/ 1171 w 3229"/>
                <a:gd name="T43" fmla="*/ 345 h 3666"/>
                <a:gd name="T44" fmla="*/ 1226 w 3229"/>
                <a:gd name="T45" fmla="*/ 189 h 3666"/>
                <a:gd name="T46" fmla="*/ 1365 w 3229"/>
                <a:gd name="T47" fmla="*/ 156 h 3666"/>
                <a:gd name="T48" fmla="*/ 1419 w 3229"/>
                <a:gd name="T49" fmla="*/ 123 h 3666"/>
                <a:gd name="T50" fmla="*/ 1613 w 3229"/>
                <a:gd name="T51" fmla="*/ 123 h 3666"/>
                <a:gd name="T52" fmla="*/ 1674 w 3229"/>
                <a:gd name="T53" fmla="*/ 156 h 3666"/>
                <a:gd name="T54" fmla="*/ 1603 w 3229"/>
                <a:gd name="T55" fmla="*/ 305 h 3666"/>
                <a:gd name="T56" fmla="*/ 1953 w 3229"/>
                <a:gd name="T57" fmla="*/ 544 h 3666"/>
                <a:gd name="T58" fmla="*/ 2012 w 3229"/>
                <a:gd name="T59" fmla="*/ 178 h 3666"/>
                <a:gd name="T60" fmla="*/ 2121 w 3229"/>
                <a:gd name="T61" fmla="*/ 140 h 3666"/>
                <a:gd name="T62" fmla="*/ 2267 w 3229"/>
                <a:gd name="T63" fmla="*/ 355 h 3666"/>
                <a:gd name="T64" fmla="*/ 2414 w 3229"/>
                <a:gd name="T65" fmla="*/ 676 h 3666"/>
                <a:gd name="T66" fmla="*/ 2548 w 3229"/>
                <a:gd name="T67" fmla="*/ 832 h 3666"/>
                <a:gd name="T68" fmla="*/ 2671 w 3229"/>
                <a:gd name="T69" fmla="*/ 1004 h 3666"/>
                <a:gd name="T70" fmla="*/ 2822 w 3229"/>
                <a:gd name="T71" fmla="*/ 1304 h 3666"/>
                <a:gd name="T72" fmla="*/ 2700 w 3229"/>
                <a:gd name="T73" fmla="*/ 1774 h 3666"/>
                <a:gd name="T74" fmla="*/ 2603 w 3229"/>
                <a:gd name="T75" fmla="*/ 2079 h 3666"/>
                <a:gd name="T76" fmla="*/ 1667 w 3229"/>
                <a:gd name="T77" fmla="*/ 67 h 3666"/>
                <a:gd name="T78" fmla="*/ 1280 w 3229"/>
                <a:gd name="T79" fmla="*/ 100 h 3666"/>
                <a:gd name="T80" fmla="*/ 1226 w 3229"/>
                <a:gd name="T81" fmla="*/ 133 h 3666"/>
                <a:gd name="T82" fmla="*/ 1684 w 3229"/>
                <a:gd name="T83" fmla="*/ 300 h 3666"/>
                <a:gd name="T84" fmla="*/ 1629 w 3229"/>
                <a:gd name="T85" fmla="*/ 279 h 3666"/>
                <a:gd name="T86" fmla="*/ 810 w 3229"/>
                <a:gd name="T87" fmla="*/ 378 h 3666"/>
                <a:gd name="T88" fmla="*/ 1689 w 3229"/>
                <a:gd name="T89" fmla="*/ 428 h 3666"/>
                <a:gd name="T90" fmla="*/ 1835 w 3229"/>
                <a:gd name="T91" fmla="*/ 489 h 3666"/>
                <a:gd name="T92" fmla="*/ 2338 w 3229"/>
                <a:gd name="T93" fmla="*/ 622 h 3666"/>
                <a:gd name="T94" fmla="*/ 2520 w 3229"/>
                <a:gd name="T95" fmla="*/ 745 h 3666"/>
                <a:gd name="T96" fmla="*/ 2629 w 3229"/>
                <a:gd name="T97" fmla="*/ 910 h 3666"/>
                <a:gd name="T98" fmla="*/ 2834 w 3229"/>
                <a:gd name="T99" fmla="*/ 1115 h 3666"/>
                <a:gd name="T100" fmla="*/ 2839 w 3229"/>
                <a:gd name="T101" fmla="*/ 1297 h 3666"/>
                <a:gd name="T102" fmla="*/ 1651 w 3229"/>
                <a:gd name="T103" fmla="*/ 1980 h 3666"/>
                <a:gd name="T104" fmla="*/ 2267 w 3229"/>
                <a:gd name="T105" fmla="*/ 2202 h 3666"/>
                <a:gd name="T106" fmla="*/ 2187 w 3229"/>
                <a:gd name="T107" fmla="*/ 2313 h 3666"/>
                <a:gd name="T108" fmla="*/ 2461 w 3229"/>
                <a:gd name="T109" fmla="*/ 2363 h 3666"/>
                <a:gd name="T110" fmla="*/ 2466 w 3229"/>
                <a:gd name="T111" fmla="*/ 2363 h 3666"/>
                <a:gd name="T112" fmla="*/ 2305 w 3229"/>
                <a:gd name="T113" fmla="*/ 2606 h 3666"/>
                <a:gd name="T114" fmla="*/ 2385 w 3229"/>
                <a:gd name="T115" fmla="*/ 2417 h 3666"/>
                <a:gd name="T116" fmla="*/ 2456 w 3229"/>
                <a:gd name="T117" fmla="*/ 2596 h 3666"/>
                <a:gd name="T118" fmla="*/ 2390 w 3229"/>
                <a:gd name="T119" fmla="*/ 2606 h 3666"/>
                <a:gd name="T120" fmla="*/ 2414 w 3229"/>
                <a:gd name="T121" fmla="*/ 2596 h 3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29" h="3666">
                  <a:moveTo>
                    <a:pt x="2045" y="12"/>
                  </a:moveTo>
                  <a:lnTo>
                    <a:pt x="2045" y="5"/>
                  </a:lnTo>
                  <a:lnTo>
                    <a:pt x="2045" y="0"/>
                  </a:lnTo>
                  <a:lnTo>
                    <a:pt x="2045" y="12"/>
                  </a:lnTo>
                  <a:lnTo>
                    <a:pt x="2045" y="12"/>
                  </a:lnTo>
                  <a:lnTo>
                    <a:pt x="2045" y="12"/>
                  </a:lnTo>
                  <a:close/>
                  <a:moveTo>
                    <a:pt x="2050" y="12"/>
                  </a:moveTo>
                  <a:lnTo>
                    <a:pt x="2050" y="5"/>
                  </a:lnTo>
                  <a:lnTo>
                    <a:pt x="2062" y="12"/>
                  </a:lnTo>
                  <a:lnTo>
                    <a:pt x="2050" y="12"/>
                  </a:lnTo>
                  <a:lnTo>
                    <a:pt x="2050" y="12"/>
                  </a:lnTo>
                  <a:lnTo>
                    <a:pt x="2050" y="12"/>
                  </a:lnTo>
                  <a:close/>
                  <a:moveTo>
                    <a:pt x="2050" y="57"/>
                  </a:moveTo>
                  <a:lnTo>
                    <a:pt x="2045" y="45"/>
                  </a:lnTo>
                  <a:lnTo>
                    <a:pt x="2050" y="41"/>
                  </a:lnTo>
                  <a:lnTo>
                    <a:pt x="2050" y="45"/>
                  </a:lnTo>
                  <a:lnTo>
                    <a:pt x="2050" y="57"/>
                  </a:lnTo>
                  <a:lnTo>
                    <a:pt x="2050" y="57"/>
                  </a:lnTo>
                  <a:lnTo>
                    <a:pt x="2050" y="57"/>
                  </a:lnTo>
                  <a:close/>
                  <a:moveTo>
                    <a:pt x="2348" y="2247"/>
                  </a:moveTo>
                  <a:lnTo>
                    <a:pt x="2331" y="2219"/>
                  </a:lnTo>
                  <a:lnTo>
                    <a:pt x="2305" y="2223"/>
                  </a:lnTo>
                  <a:lnTo>
                    <a:pt x="2305" y="2202"/>
                  </a:lnTo>
                  <a:lnTo>
                    <a:pt x="2293" y="2207"/>
                  </a:lnTo>
                  <a:lnTo>
                    <a:pt x="2277" y="2190"/>
                  </a:lnTo>
                  <a:lnTo>
                    <a:pt x="2284" y="2181"/>
                  </a:lnTo>
                  <a:lnTo>
                    <a:pt x="2277" y="2169"/>
                  </a:lnTo>
                  <a:lnTo>
                    <a:pt x="2267" y="2169"/>
                  </a:lnTo>
                  <a:lnTo>
                    <a:pt x="2251" y="2190"/>
                  </a:lnTo>
                  <a:lnTo>
                    <a:pt x="2239" y="2190"/>
                  </a:lnTo>
                  <a:lnTo>
                    <a:pt x="2229" y="2181"/>
                  </a:lnTo>
                  <a:lnTo>
                    <a:pt x="2246" y="2181"/>
                  </a:lnTo>
                  <a:lnTo>
                    <a:pt x="2251" y="2164"/>
                  </a:lnTo>
                  <a:lnTo>
                    <a:pt x="2246" y="2136"/>
                  </a:lnTo>
                  <a:lnTo>
                    <a:pt x="2196" y="2164"/>
                  </a:lnTo>
                  <a:lnTo>
                    <a:pt x="2225" y="2164"/>
                  </a:lnTo>
                  <a:lnTo>
                    <a:pt x="2225" y="2181"/>
                  </a:lnTo>
                  <a:lnTo>
                    <a:pt x="2196" y="2181"/>
                  </a:lnTo>
                  <a:lnTo>
                    <a:pt x="2142" y="2223"/>
                  </a:lnTo>
                  <a:lnTo>
                    <a:pt x="2062" y="2181"/>
                  </a:lnTo>
                  <a:lnTo>
                    <a:pt x="2045" y="2185"/>
                  </a:lnTo>
                  <a:lnTo>
                    <a:pt x="2024" y="2169"/>
                  </a:lnTo>
                  <a:lnTo>
                    <a:pt x="2007" y="2185"/>
                  </a:lnTo>
                  <a:lnTo>
                    <a:pt x="1977" y="2164"/>
                  </a:lnTo>
                  <a:lnTo>
                    <a:pt x="1939" y="2152"/>
                  </a:lnTo>
                  <a:lnTo>
                    <a:pt x="1873" y="2079"/>
                  </a:lnTo>
                  <a:lnTo>
                    <a:pt x="1873" y="2058"/>
                  </a:lnTo>
                  <a:lnTo>
                    <a:pt x="1885" y="2053"/>
                  </a:lnTo>
                  <a:lnTo>
                    <a:pt x="1885" y="2025"/>
                  </a:lnTo>
                  <a:lnTo>
                    <a:pt x="1873" y="2001"/>
                  </a:lnTo>
                  <a:lnTo>
                    <a:pt x="1830" y="1959"/>
                  </a:lnTo>
                  <a:lnTo>
                    <a:pt x="1852" y="1968"/>
                  </a:lnTo>
                  <a:lnTo>
                    <a:pt x="1873" y="2001"/>
                  </a:lnTo>
                  <a:lnTo>
                    <a:pt x="1868" y="1985"/>
                  </a:lnTo>
                  <a:lnTo>
                    <a:pt x="1835" y="1959"/>
                  </a:lnTo>
                  <a:lnTo>
                    <a:pt x="1835" y="1942"/>
                  </a:lnTo>
                  <a:lnTo>
                    <a:pt x="1847" y="1959"/>
                  </a:lnTo>
                  <a:lnTo>
                    <a:pt x="1852" y="1959"/>
                  </a:lnTo>
                  <a:lnTo>
                    <a:pt x="1852" y="1930"/>
                  </a:lnTo>
                  <a:lnTo>
                    <a:pt x="1835" y="1930"/>
                  </a:lnTo>
                  <a:lnTo>
                    <a:pt x="1818" y="1942"/>
                  </a:lnTo>
                  <a:lnTo>
                    <a:pt x="1830" y="1947"/>
                  </a:lnTo>
                  <a:lnTo>
                    <a:pt x="1809" y="1947"/>
                  </a:lnTo>
                  <a:lnTo>
                    <a:pt x="1792" y="1959"/>
                  </a:lnTo>
                  <a:lnTo>
                    <a:pt x="1759" y="1959"/>
                  </a:lnTo>
                  <a:lnTo>
                    <a:pt x="1792" y="1930"/>
                  </a:lnTo>
                  <a:lnTo>
                    <a:pt x="1792" y="1909"/>
                  </a:lnTo>
                  <a:lnTo>
                    <a:pt x="1792" y="1874"/>
                  </a:lnTo>
                  <a:lnTo>
                    <a:pt x="1759" y="1831"/>
                  </a:lnTo>
                  <a:lnTo>
                    <a:pt x="1755" y="1857"/>
                  </a:lnTo>
                  <a:lnTo>
                    <a:pt x="1738" y="1914"/>
                  </a:lnTo>
                  <a:lnTo>
                    <a:pt x="1722" y="1909"/>
                  </a:lnTo>
                  <a:lnTo>
                    <a:pt x="1674" y="1926"/>
                  </a:lnTo>
                  <a:lnTo>
                    <a:pt x="1689" y="1893"/>
                  </a:lnTo>
                  <a:lnTo>
                    <a:pt x="1712" y="1902"/>
                  </a:lnTo>
                  <a:lnTo>
                    <a:pt x="1722" y="1874"/>
                  </a:lnTo>
                  <a:lnTo>
                    <a:pt x="1722" y="1836"/>
                  </a:lnTo>
                  <a:lnTo>
                    <a:pt x="1726" y="1815"/>
                  </a:lnTo>
                  <a:lnTo>
                    <a:pt x="1755" y="1791"/>
                  </a:lnTo>
                  <a:lnTo>
                    <a:pt x="1743" y="1765"/>
                  </a:lnTo>
                  <a:lnTo>
                    <a:pt x="1759" y="1746"/>
                  </a:lnTo>
                  <a:lnTo>
                    <a:pt x="1738" y="1704"/>
                  </a:lnTo>
                  <a:lnTo>
                    <a:pt x="1743" y="1741"/>
                  </a:lnTo>
                  <a:lnTo>
                    <a:pt x="1722" y="1746"/>
                  </a:lnTo>
                  <a:lnTo>
                    <a:pt x="1700" y="1798"/>
                  </a:lnTo>
                  <a:lnTo>
                    <a:pt x="1684" y="1798"/>
                  </a:lnTo>
                  <a:lnTo>
                    <a:pt x="1674" y="1803"/>
                  </a:lnTo>
                  <a:lnTo>
                    <a:pt x="1646" y="1819"/>
                  </a:lnTo>
                  <a:lnTo>
                    <a:pt x="1613" y="1869"/>
                  </a:lnTo>
                  <a:lnTo>
                    <a:pt x="1603" y="1885"/>
                  </a:lnTo>
                  <a:lnTo>
                    <a:pt x="1613" y="1885"/>
                  </a:lnTo>
                  <a:lnTo>
                    <a:pt x="1613" y="1902"/>
                  </a:lnTo>
                  <a:lnTo>
                    <a:pt x="1599" y="1893"/>
                  </a:lnTo>
                  <a:lnTo>
                    <a:pt x="1592" y="1902"/>
                  </a:lnTo>
                  <a:lnTo>
                    <a:pt x="1566" y="1869"/>
                  </a:lnTo>
                  <a:lnTo>
                    <a:pt x="1549" y="1869"/>
                  </a:lnTo>
                  <a:lnTo>
                    <a:pt x="1561" y="1852"/>
                  </a:lnTo>
                  <a:lnTo>
                    <a:pt x="1575" y="1874"/>
                  </a:lnTo>
                  <a:lnTo>
                    <a:pt x="1582" y="1869"/>
                  </a:lnTo>
                  <a:lnTo>
                    <a:pt x="1575" y="1869"/>
                  </a:lnTo>
                  <a:lnTo>
                    <a:pt x="1566" y="1819"/>
                  </a:lnTo>
                  <a:lnTo>
                    <a:pt x="1537" y="1791"/>
                  </a:lnTo>
                  <a:lnTo>
                    <a:pt x="1537" y="1782"/>
                  </a:lnTo>
                  <a:lnTo>
                    <a:pt x="1528" y="1758"/>
                  </a:lnTo>
                  <a:lnTo>
                    <a:pt x="1495" y="1746"/>
                  </a:lnTo>
                  <a:lnTo>
                    <a:pt x="1485" y="1720"/>
                  </a:lnTo>
                  <a:lnTo>
                    <a:pt x="1490" y="1725"/>
                  </a:lnTo>
                  <a:lnTo>
                    <a:pt x="1495" y="1720"/>
                  </a:lnTo>
                  <a:lnTo>
                    <a:pt x="1490" y="1704"/>
                  </a:lnTo>
                  <a:lnTo>
                    <a:pt x="1469" y="1704"/>
                  </a:lnTo>
                  <a:lnTo>
                    <a:pt x="1474" y="1692"/>
                  </a:lnTo>
                  <a:lnTo>
                    <a:pt x="1452" y="1670"/>
                  </a:lnTo>
                  <a:lnTo>
                    <a:pt x="1436" y="1680"/>
                  </a:lnTo>
                  <a:lnTo>
                    <a:pt x="1415" y="1680"/>
                  </a:lnTo>
                  <a:lnTo>
                    <a:pt x="1386" y="1654"/>
                  </a:lnTo>
                  <a:lnTo>
                    <a:pt x="1351" y="1663"/>
                  </a:lnTo>
                  <a:lnTo>
                    <a:pt x="1322" y="1637"/>
                  </a:lnTo>
                  <a:lnTo>
                    <a:pt x="1275" y="1614"/>
                  </a:lnTo>
                  <a:lnTo>
                    <a:pt x="1252" y="1630"/>
                  </a:lnTo>
                  <a:lnTo>
                    <a:pt x="1204" y="1630"/>
                  </a:lnTo>
                  <a:lnTo>
                    <a:pt x="1129" y="1637"/>
                  </a:lnTo>
                  <a:lnTo>
                    <a:pt x="1058" y="1670"/>
                  </a:lnTo>
                  <a:lnTo>
                    <a:pt x="1003" y="1687"/>
                  </a:lnTo>
                  <a:lnTo>
                    <a:pt x="911" y="1680"/>
                  </a:lnTo>
                  <a:lnTo>
                    <a:pt x="826" y="1737"/>
                  </a:lnTo>
                  <a:lnTo>
                    <a:pt x="793" y="1741"/>
                  </a:lnTo>
                  <a:lnTo>
                    <a:pt x="784" y="1746"/>
                  </a:lnTo>
                  <a:lnTo>
                    <a:pt x="772" y="1791"/>
                  </a:lnTo>
                  <a:lnTo>
                    <a:pt x="755" y="1803"/>
                  </a:lnTo>
                  <a:lnTo>
                    <a:pt x="718" y="1819"/>
                  </a:lnTo>
                  <a:lnTo>
                    <a:pt x="701" y="1815"/>
                  </a:lnTo>
                  <a:lnTo>
                    <a:pt x="659" y="1815"/>
                  </a:lnTo>
                  <a:lnTo>
                    <a:pt x="642" y="1819"/>
                  </a:lnTo>
                  <a:lnTo>
                    <a:pt x="633" y="1803"/>
                  </a:lnTo>
                  <a:lnTo>
                    <a:pt x="621" y="1815"/>
                  </a:lnTo>
                  <a:lnTo>
                    <a:pt x="595" y="1803"/>
                  </a:lnTo>
                  <a:lnTo>
                    <a:pt x="557" y="1815"/>
                  </a:lnTo>
                  <a:lnTo>
                    <a:pt x="524" y="1819"/>
                  </a:lnTo>
                  <a:lnTo>
                    <a:pt x="498" y="1815"/>
                  </a:lnTo>
                  <a:lnTo>
                    <a:pt x="465" y="1831"/>
                  </a:lnTo>
                  <a:lnTo>
                    <a:pt x="448" y="1857"/>
                  </a:lnTo>
                  <a:lnTo>
                    <a:pt x="444" y="1857"/>
                  </a:lnTo>
                  <a:lnTo>
                    <a:pt x="415" y="1857"/>
                  </a:lnTo>
                  <a:lnTo>
                    <a:pt x="373" y="1893"/>
                  </a:lnTo>
                  <a:lnTo>
                    <a:pt x="340" y="1909"/>
                  </a:lnTo>
                  <a:lnTo>
                    <a:pt x="356" y="1909"/>
                  </a:lnTo>
                  <a:lnTo>
                    <a:pt x="352" y="1914"/>
                  </a:lnTo>
                  <a:lnTo>
                    <a:pt x="335" y="1909"/>
                  </a:lnTo>
                  <a:lnTo>
                    <a:pt x="323" y="1914"/>
                  </a:lnTo>
                  <a:lnTo>
                    <a:pt x="309" y="1902"/>
                  </a:lnTo>
                  <a:lnTo>
                    <a:pt x="255" y="1909"/>
                  </a:lnTo>
                  <a:lnTo>
                    <a:pt x="210" y="1885"/>
                  </a:lnTo>
                  <a:lnTo>
                    <a:pt x="189" y="1857"/>
                  </a:lnTo>
                  <a:lnTo>
                    <a:pt x="163" y="1848"/>
                  </a:lnTo>
                  <a:lnTo>
                    <a:pt x="158" y="1852"/>
                  </a:lnTo>
                  <a:lnTo>
                    <a:pt x="146" y="1848"/>
                  </a:lnTo>
                  <a:lnTo>
                    <a:pt x="141" y="1782"/>
                  </a:lnTo>
                  <a:lnTo>
                    <a:pt x="158" y="1791"/>
                  </a:lnTo>
                  <a:lnTo>
                    <a:pt x="172" y="1791"/>
                  </a:lnTo>
                  <a:lnTo>
                    <a:pt x="196" y="1765"/>
                  </a:lnTo>
                  <a:lnTo>
                    <a:pt x="189" y="1720"/>
                  </a:lnTo>
                  <a:lnTo>
                    <a:pt x="196" y="1704"/>
                  </a:lnTo>
                  <a:lnTo>
                    <a:pt x="189" y="1708"/>
                  </a:lnTo>
                  <a:lnTo>
                    <a:pt x="196" y="1725"/>
                  </a:lnTo>
                  <a:lnTo>
                    <a:pt x="196" y="1647"/>
                  </a:lnTo>
                  <a:lnTo>
                    <a:pt x="146" y="1543"/>
                  </a:lnTo>
                  <a:lnTo>
                    <a:pt x="141" y="1503"/>
                  </a:lnTo>
                  <a:lnTo>
                    <a:pt x="141" y="1465"/>
                  </a:lnTo>
                  <a:lnTo>
                    <a:pt x="134" y="1441"/>
                  </a:lnTo>
                  <a:lnTo>
                    <a:pt x="120" y="1408"/>
                  </a:lnTo>
                  <a:lnTo>
                    <a:pt x="108" y="1387"/>
                  </a:lnTo>
                  <a:lnTo>
                    <a:pt x="87" y="1354"/>
                  </a:lnTo>
                  <a:lnTo>
                    <a:pt x="87" y="1314"/>
                  </a:lnTo>
                  <a:lnTo>
                    <a:pt x="70" y="1281"/>
                  </a:lnTo>
                  <a:lnTo>
                    <a:pt x="16" y="1210"/>
                  </a:lnTo>
                  <a:lnTo>
                    <a:pt x="28" y="1193"/>
                  </a:lnTo>
                  <a:lnTo>
                    <a:pt x="28" y="1210"/>
                  </a:lnTo>
                  <a:lnTo>
                    <a:pt x="33" y="1203"/>
                  </a:lnTo>
                  <a:lnTo>
                    <a:pt x="37" y="1210"/>
                  </a:lnTo>
                  <a:lnTo>
                    <a:pt x="49" y="1243"/>
                  </a:lnTo>
                  <a:lnTo>
                    <a:pt x="66" y="1226"/>
                  </a:lnTo>
                  <a:lnTo>
                    <a:pt x="66" y="1210"/>
                  </a:lnTo>
                  <a:lnTo>
                    <a:pt x="37" y="1193"/>
                  </a:lnTo>
                  <a:lnTo>
                    <a:pt x="33" y="1170"/>
                  </a:lnTo>
                  <a:lnTo>
                    <a:pt x="37" y="1153"/>
                  </a:lnTo>
                  <a:lnTo>
                    <a:pt x="54" y="1182"/>
                  </a:lnTo>
                  <a:lnTo>
                    <a:pt x="54" y="1203"/>
                  </a:lnTo>
                  <a:lnTo>
                    <a:pt x="66" y="1193"/>
                  </a:lnTo>
                  <a:lnTo>
                    <a:pt x="82" y="1226"/>
                  </a:lnTo>
                  <a:lnTo>
                    <a:pt x="87" y="1210"/>
                  </a:lnTo>
                  <a:lnTo>
                    <a:pt x="87" y="1203"/>
                  </a:lnTo>
                  <a:lnTo>
                    <a:pt x="92" y="1182"/>
                  </a:lnTo>
                  <a:lnTo>
                    <a:pt x="54" y="1127"/>
                  </a:lnTo>
                  <a:lnTo>
                    <a:pt x="49" y="1094"/>
                  </a:lnTo>
                  <a:lnTo>
                    <a:pt x="33" y="1071"/>
                  </a:lnTo>
                  <a:lnTo>
                    <a:pt x="37" y="1021"/>
                  </a:lnTo>
                  <a:lnTo>
                    <a:pt x="54" y="1000"/>
                  </a:lnTo>
                  <a:lnTo>
                    <a:pt x="66" y="959"/>
                  </a:lnTo>
                  <a:lnTo>
                    <a:pt x="49" y="931"/>
                  </a:lnTo>
                  <a:lnTo>
                    <a:pt x="70" y="889"/>
                  </a:lnTo>
                  <a:lnTo>
                    <a:pt x="87" y="872"/>
                  </a:lnTo>
                  <a:lnTo>
                    <a:pt x="82" y="893"/>
                  </a:lnTo>
                  <a:lnTo>
                    <a:pt x="87" y="926"/>
                  </a:lnTo>
                  <a:lnTo>
                    <a:pt x="104" y="915"/>
                  </a:lnTo>
                  <a:lnTo>
                    <a:pt x="120" y="872"/>
                  </a:lnTo>
                  <a:lnTo>
                    <a:pt x="179" y="848"/>
                  </a:lnTo>
                  <a:lnTo>
                    <a:pt x="210" y="815"/>
                  </a:lnTo>
                  <a:lnTo>
                    <a:pt x="264" y="782"/>
                  </a:lnTo>
                  <a:lnTo>
                    <a:pt x="271" y="794"/>
                  </a:lnTo>
                  <a:lnTo>
                    <a:pt x="285" y="782"/>
                  </a:lnTo>
                  <a:lnTo>
                    <a:pt x="309" y="794"/>
                  </a:lnTo>
                  <a:lnTo>
                    <a:pt x="335" y="782"/>
                  </a:lnTo>
                  <a:lnTo>
                    <a:pt x="361" y="761"/>
                  </a:lnTo>
                  <a:lnTo>
                    <a:pt x="411" y="761"/>
                  </a:lnTo>
                  <a:lnTo>
                    <a:pt x="432" y="733"/>
                  </a:lnTo>
                  <a:lnTo>
                    <a:pt x="465" y="745"/>
                  </a:lnTo>
                  <a:lnTo>
                    <a:pt x="519" y="728"/>
                  </a:lnTo>
                  <a:lnTo>
                    <a:pt x="566" y="704"/>
                  </a:lnTo>
                  <a:lnTo>
                    <a:pt x="595" y="671"/>
                  </a:lnTo>
                  <a:lnTo>
                    <a:pt x="621" y="617"/>
                  </a:lnTo>
                  <a:lnTo>
                    <a:pt x="633" y="617"/>
                  </a:lnTo>
                  <a:lnTo>
                    <a:pt x="659" y="593"/>
                  </a:lnTo>
                  <a:lnTo>
                    <a:pt x="659" y="584"/>
                  </a:lnTo>
                  <a:lnTo>
                    <a:pt x="649" y="577"/>
                  </a:lnTo>
                  <a:lnTo>
                    <a:pt x="649" y="527"/>
                  </a:lnTo>
                  <a:lnTo>
                    <a:pt x="663" y="511"/>
                  </a:lnTo>
                  <a:lnTo>
                    <a:pt x="675" y="506"/>
                  </a:lnTo>
                  <a:lnTo>
                    <a:pt x="675" y="499"/>
                  </a:lnTo>
                  <a:lnTo>
                    <a:pt x="687" y="489"/>
                  </a:lnTo>
                  <a:lnTo>
                    <a:pt x="687" y="482"/>
                  </a:lnTo>
                  <a:lnTo>
                    <a:pt x="696" y="466"/>
                  </a:lnTo>
                  <a:lnTo>
                    <a:pt x="713" y="466"/>
                  </a:lnTo>
                  <a:lnTo>
                    <a:pt x="701" y="482"/>
                  </a:lnTo>
                  <a:lnTo>
                    <a:pt x="739" y="556"/>
                  </a:lnTo>
                  <a:lnTo>
                    <a:pt x="751" y="511"/>
                  </a:lnTo>
                  <a:lnTo>
                    <a:pt x="772" y="527"/>
                  </a:lnTo>
                  <a:lnTo>
                    <a:pt x="755" y="511"/>
                  </a:lnTo>
                  <a:lnTo>
                    <a:pt x="767" y="506"/>
                  </a:lnTo>
                  <a:lnTo>
                    <a:pt x="755" y="506"/>
                  </a:lnTo>
                  <a:lnTo>
                    <a:pt x="751" y="482"/>
                  </a:lnTo>
                  <a:lnTo>
                    <a:pt x="734" y="473"/>
                  </a:lnTo>
                  <a:lnTo>
                    <a:pt x="751" y="473"/>
                  </a:lnTo>
                  <a:lnTo>
                    <a:pt x="755" y="466"/>
                  </a:lnTo>
                  <a:lnTo>
                    <a:pt x="755" y="456"/>
                  </a:lnTo>
                  <a:lnTo>
                    <a:pt x="739" y="456"/>
                  </a:lnTo>
                  <a:lnTo>
                    <a:pt x="739" y="449"/>
                  </a:lnTo>
                  <a:lnTo>
                    <a:pt x="755" y="449"/>
                  </a:lnTo>
                  <a:lnTo>
                    <a:pt x="767" y="449"/>
                  </a:lnTo>
                  <a:lnTo>
                    <a:pt x="755" y="456"/>
                  </a:lnTo>
                  <a:lnTo>
                    <a:pt x="767" y="466"/>
                  </a:lnTo>
                  <a:lnTo>
                    <a:pt x="772" y="456"/>
                  </a:lnTo>
                  <a:lnTo>
                    <a:pt x="789" y="456"/>
                  </a:lnTo>
                  <a:lnTo>
                    <a:pt x="789" y="466"/>
                  </a:lnTo>
                  <a:lnTo>
                    <a:pt x="805" y="466"/>
                  </a:lnTo>
                  <a:lnTo>
                    <a:pt x="836" y="466"/>
                  </a:lnTo>
                  <a:lnTo>
                    <a:pt x="805" y="456"/>
                  </a:lnTo>
                  <a:lnTo>
                    <a:pt x="805" y="445"/>
                  </a:lnTo>
                  <a:lnTo>
                    <a:pt x="810" y="449"/>
                  </a:lnTo>
                  <a:lnTo>
                    <a:pt x="822" y="445"/>
                  </a:lnTo>
                  <a:lnTo>
                    <a:pt x="822" y="433"/>
                  </a:lnTo>
                  <a:lnTo>
                    <a:pt x="826" y="428"/>
                  </a:lnTo>
                  <a:lnTo>
                    <a:pt x="822" y="416"/>
                  </a:lnTo>
                  <a:lnTo>
                    <a:pt x="810" y="433"/>
                  </a:lnTo>
                  <a:lnTo>
                    <a:pt x="805" y="428"/>
                  </a:lnTo>
                  <a:lnTo>
                    <a:pt x="805" y="400"/>
                  </a:lnTo>
                  <a:lnTo>
                    <a:pt x="822" y="395"/>
                  </a:lnTo>
                  <a:lnTo>
                    <a:pt x="826" y="378"/>
                  </a:lnTo>
                  <a:lnTo>
                    <a:pt x="859" y="400"/>
                  </a:lnTo>
                  <a:lnTo>
                    <a:pt x="848" y="395"/>
                  </a:lnTo>
                  <a:lnTo>
                    <a:pt x="848" y="388"/>
                  </a:lnTo>
                  <a:lnTo>
                    <a:pt x="836" y="388"/>
                  </a:lnTo>
                  <a:lnTo>
                    <a:pt x="848" y="371"/>
                  </a:lnTo>
                  <a:lnTo>
                    <a:pt x="836" y="378"/>
                  </a:lnTo>
                  <a:lnTo>
                    <a:pt x="836" y="371"/>
                  </a:lnTo>
                  <a:lnTo>
                    <a:pt x="848" y="362"/>
                  </a:lnTo>
                  <a:lnTo>
                    <a:pt x="859" y="378"/>
                  </a:lnTo>
                  <a:lnTo>
                    <a:pt x="859" y="362"/>
                  </a:lnTo>
                  <a:lnTo>
                    <a:pt x="864" y="371"/>
                  </a:lnTo>
                  <a:lnTo>
                    <a:pt x="874" y="371"/>
                  </a:lnTo>
                  <a:lnTo>
                    <a:pt x="859" y="362"/>
                  </a:lnTo>
                  <a:lnTo>
                    <a:pt x="864" y="355"/>
                  </a:lnTo>
                  <a:lnTo>
                    <a:pt x="859" y="345"/>
                  </a:lnTo>
                  <a:lnTo>
                    <a:pt x="864" y="334"/>
                  </a:lnTo>
                  <a:lnTo>
                    <a:pt x="890" y="334"/>
                  </a:lnTo>
                  <a:lnTo>
                    <a:pt x="890" y="305"/>
                  </a:lnTo>
                  <a:lnTo>
                    <a:pt x="897" y="305"/>
                  </a:lnTo>
                  <a:lnTo>
                    <a:pt x="890" y="338"/>
                  </a:lnTo>
                  <a:lnTo>
                    <a:pt x="897" y="317"/>
                  </a:lnTo>
                  <a:lnTo>
                    <a:pt x="902" y="322"/>
                  </a:lnTo>
                  <a:lnTo>
                    <a:pt x="911" y="338"/>
                  </a:lnTo>
                  <a:lnTo>
                    <a:pt x="918" y="334"/>
                  </a:lnTo>
                  <a:lnTo>
                    <a:pt x="928" y="300"/>
                  </a:lnTo>
                  <a:lnTo>
                    <a:pt x="918" y="284"/>
                  </a:lnTo>
                  <a:lnTo>
                    <a:pt x="928" y="284"/>
                  </a:lnTo>
                  <a:lnTo>
                    <a:pt x="928" y="289"/>
                  </a:lnTo>
                  <a:lnTo>
                    <a:pt x="935" y="305"/>
                  </a:lnTo>
                  <a:lnTo>
                    <a:pt x="944" y="289"/>
                  </a:lnTo>
                  <a:lnTo>
                    <a:pt x="949" y="284"/>
                  </a:lnTo>
                  <a:lnTo>
                    <a:pt x="949" y="289"/>
                  </a:lnTo>
                  <a:lnTo>
                    <a:pt x="956" y="305"/>
                  </a:lnTo>
                  <a:lnTo>
                    <a:pt x="973" y="284"/>
                  </a:lnTo>
                  <a:lnTo>
                    <a:pt x="966" y="279"/>
                  </a:lnTo>
                  <a:lnTo>
                    <a:pt x="973" y="267"/>
                  </a:lnTo>
                  <a:lnTo>
                    <a:pt x="987" y="279"/>
                  </a:lnTo>
                  <a:lnTo>
                    <a:pt x="999" y="284"/>
                  </a:lnTo>
                  <a:lnTo>
                    <a:pt x="1011" y="284"/>
                  </a:lnTo>
                  <a:lnTo>
                    <a:pt x="1053" y="334"/>
                  </a:lnTo>
                  <a:lnTo>
                    <a:pt x="1063" y="338"/>
                  </a:lnTo>
                  <a:lnTo>
                    <a:pt x="1058" y="400"/>
                  </a:lnTo>
                  <a:lnTo>
                    <a:pt x="1063" y="378"/>
                  </a:lnTo>
                  <a:lnTo>
                    <a:pt x="1074" y="395"/>
                  </a:lnTo>
                  <a:lnTo>
                    <a:pt x="1063" y="371"/>
                  </a:lnTo>
                  <a:lnTo>
                    <a:pt x="1079" y="355"/>
                  </a:lnTo>
                  <a:lnTo>
                    <a:pt x="1079" y="362"/>
                  </a:lnTo>
                  <a:lnTo>
                    <a:pt x="1091" y="362"/>
                  </a:lnTo>
                  <a:lnTo>
                    <a:pt x="1079" y="345"/>
                  </a:lnTo>
                  <a:lnTo>
                    <a:pt x="1096" y="345"/>
                  </a:lnTo>
                  <a:lnTo>
                    <a:pt x="1133" y="355"/>
                  </a:lnTo>
                  <a:lnTo>
                    <a:pt x="1133" y="362"/>
                  </a:lnTo>
                  <a:lnTo>
                    <a:pt x="1133" y="378"/>
                  </a:lnTo>
                  <a:lnTo>
                    <a:pt x="1145" y="371"/>
                  </a:lnTo>
                  <a:lnTo>
                    <a:pt x="1145" y="355"/>
                  </a:lnTo>
                  <a:lnTo>
                    <a:pt x="1150" y="355"/>
                  </a:lnTo>
                  <a:lnTo>
                    <a:pt x="1171" y="378"/>
                  </a:lnTo>
                  <a:lnTo>
                    <a:pt x="1166" y="362"/>
                  </a:lnTo>
                  <a:lnTo>
                    <a:pt x="1171" y="345"/>
                  </a:lnTo>
                  <a:lnTo>
                    <a:pt x="1183" y="355"/>
                  </a:lnTo>
                  <a:lnTo>
                    <a:pt x="1188" y="345"/>
                  </a:lnTo>
                  <a:lnTo>
                    <a:pt x="1183" y="345"/>
                  </a:lnTo>
                  <a:lnTo>
                    <a:pt x="1171" y="345"/>
                  </a:lnTo>
                  <a:lnTo>
                    <a:pt x="1166" y="334"/>
                  </a:lnTo>
                  <a:lnTo>
                    <a:pt x="1183" y="334"/>
                  </a:lnTo>
                  <a:lnTo>
                    <a:pt x="1166" y="334"/>
                  </a:lnTo>
                  <a:lnTo>
                    <a:pt x="1150" y="322"/>
                  </a:lnTo>
                  <a:lnTo>
                    <a:pt x="1150" y="317"/>
                  </a:lnTo>
                  <a:lnTo>
                    <a:pt x="1162" y="300"/>
                  </a:lnTo>
                  <a:lnTo>
                    <a:pt x="1171" y="289"/>
                  </a:lnTo>
                  <a:lnTo>
                    <a:pt x="1188" y="251"/>
                  </a:lnTo>
                  <a:lnTo>
                    <a:pt x="1200" y="251"/>
                  </a:lnTo>
                  <a:lnTo>
                    <a:pt x="1214" y="234"/>
                  </a:lnTo>
                  <a:lnTo>
                    <a:pt x="1204" y="227"/>
                  </a:lnTo>
                  <a:lnTo>
                    <a:pt x="1204" y="211"/>
                  </a:lnTo>
                  <a:lnTo>
                    <a:pt x="1221" y="211"/>
                  </a:lnTo>
                  <a:lnTo>
                    <a:pt x="1221" y="189"/>
                  </a:lnTo>
                  <a:lnTo>
                    <a:pt x="1226" y="189"/>
                  </a:lnTo>
                  <a:lnTo>
                    <a:pt x="1242" y="194"/>
                  </a:lnTo>
                  <a:lnTo>
                    <a:pt x="1237" y="189"/>
                  </a:lnTo>
                  <a:lnTo>
                    <a:pt x="1237" y="173"/>
                  </a:lnTo>
                  <a:lnTo>
                    <a:pt x="1252" y="173"/>
                  </a:lnTo>
                  <a:lnTo>
                    <a:pt x="1259" y="189"/>
                  </a:lnTo>
                  <a:lnTo>
                    <a:pt x="1268" y="178"/>
                  </a:lnTo>
                  <a:lnTo>
                    <a:pt x="1252" y="173"/>
                  </a:lnTo>
                  <a:lnTo>
                    <a:pt x="1259" y="168"/>
                  </a:lnTo>
                  <a:lnTo>
                    <a:pt x="1268" y="173"/>
                  </a:lnTo>
                  <a:lnTo>
                    <a:pt x="1268" y="156"/>
                  </a:lnTo>
                  <a:lnTo>
                    <a:pt x="1296" y="168"/>
                  </a:lnTo>
                  <a:lnTo>
                    <a:pt x="1344" y="168"/>
                  </a:lnTo>
                  <a:lnTo>
                    <a:pt x="1360" y="156"/>
                  </a:lnTo>
                  <a:lnTo>
                    <a:pt x="1365" y="173"/>
                  </a:lnTo>
                  <a:lnTo>
                    <a:pt x="1365" y="156"/>
                  </a:lnTo>
                  <a:lnTo>
                    <a:pt x="1386" y="152"/>
                  </a:lnTo>
                  <a:lnTo>
                    <a:pt x="1381" y="152"/>
                  </a:lnTo>
                  <a:lnTo>
                    <a:pt x="1381" y="116"/>
                  </a:lnTo>
                  <a:lnTo>
                    <a:pt x="1365" y="100"/>
                  </a:lnTo>
                  <a:lnTo>
                    <a:pt x="1344" y="111"/>
                  </a:lnTo>
                  <a:lnTo>
                    <a:pt x="1334" y="95"/>
                  </a:lnTo>
                  <a:lnTo>
                    <a:pt x="1322" y="95"/>
                  </a:lnTo>
                  <a:lnTo>
                    <a:pt x="1334" y="78"/>
                  </a:lnTo>
                  <a:lnTo>
                    <a:pt x="1351" y="100"/>
                  </a:lnTo>
                  <a:lnTo>
                    <a:pt x="1351" y="95"/>
                  </a:lnTo>
                  <a:lnTo>
                    <a:pt x="1344" y="78"/>
                  </a:lnTo>
                  <a:lnTo>
                    <a:pt x="1360" y="78"/>
                  </a:lnTo>
                  <a:lnTo>
                    <a:pt x="1381" y="111"/>
                  </a:lnTo>
                  <a:lnTo>
                    <a:pt x="1398" y="95"/>
                  </a:lnTo>
                  <a:lnTo>
                    <a:pt x="1419" y="123"/>
                  </a:lnTo>
                  <a:lnTo>
                    <a:pt x="1431" y="116"/>
                  </a:lnTo>
                  <a:lnTo>
                    <a:pt x="1452" y="133"/>
                  </a:lnTo>
                  <a:lnTo>
                    <a:pt x="1469" y="123"/>
                  </a:lnTo>
                  <a:lnTo>
                    <a:pt x="1469" y="133"/>
                  </a:lnTo>
                  <a:lnTo>
                    <a:pt x="1474" y="133"/>
                  </a:lnTo>
                  <a:lnTo>
                    <a:pt x="1485" y="133"/>
                  </a:lnTo>
                  <a:lnTo>
                    <a:pt x="1490" y="152"/>
                  </a:lnTo>
                  <a:lnTo>
                    <a:pt x="1528" y="140"/>
                  </a:lnTo>
                  <a:lnTo>
                    <a:pt x="1537" y="152"/>
                  </a:lnTo>
                  <a:lnTo>
                    <a:pt x="1561" y="168"/>
                  </a:lnTo>
                  <a:lnTo>
                    <a:pt x="1566" y="152"/>
                  </a:lnTo>
                  <a:lnTo>
                    <a:pt x="1592" y="152"/>
                  </a:lnTo>
                  <a:lnTo>
                    <a:pt x="1592" y="140"/>
                  </a:lnTo>
                  <a:lnTo>
                    <a:pt x="1599" y="140"/>
                  </a:lnTo>
                  <a:lnTo>
                    <a:pt x="1613" y="123"/>
                  </a:lnTo>
                  <a:lnTo>
                    <a:pt x="1599" y="140"/>
                  </a:lnTo>
                  <a:lnTo>
                    <a:pt x="1599" y="152"/>
                  </a:lnTo>
                  <a:lnTo>
                    <a:pt x="1592" y="156"/>
                  </a:lnTo>
                  <a:lnTo>
                    <a:pt x="1599" y="168"/>
                  </a:lnTo>
                  <a:lnTo>
                    <a:pt x="1620" y="152"/>
                  </a:lnTo>
                  <a:lnTo>
                    <a:pt x="1613" y="156"/>
                  </a:lnTo>
                  <a:lnTo>
                    <a:pt x="1620" y="156"/>
                  </a:lnTo>
                  <a:lnTo>
                    <a:pt x="1613" y="173"/>
                  </a:lnTo>
                  <a:lnTo>
                    <a:pt x="1620" y="178"/>
                  </a:lnTo>
                  <a:lnTo>
                    <a:pt x="1637" y="173"/>
                  </a:lnTo>
                  <a:lnTo>
                    <a:pt x="1646" y="156"/>
                  </a:lnTo>
                  <a:lnTo>
                    <a:pt x="1629" y="156"/>
                  </a:lnTo>
                  <a:lnTo>
                    <a:pt x="1658" y="140"/>
                  </a:lnTo>
                  <a:lnTo>
                    <a:pt x="1658" y="168"/>
                  </a:lnTo>
                  <a:lnTo>
                    <a:pt x="1674" y="156"/>
                  </a:lnTo>
                  <a:lnTo>
                    <a:pt x="1684" y="173"/>
                  </a:lnTo>
                  <a:lnTo>
                    <a:pt x="1667" y="178"/>
                  </a:lnTo>
                  <a:lnTo>
                    <a:pt x="1658" y="206"/>
                  </a:lnTo>
                  <a:lnTo>
                    <a:pt x="1651" y="194"/>
                  </a:lnTo>
                  <a:lnTo>
                    <a:pt x="1651" y="222"/>
                  </a:lnTo>
                  <a:lnTo>
                    <a:pt x="1651" y="234"/>
                  </a:lnTo>
                  <a:lnTo>
                    <a:pt x="1646" y="234"/>
                  </a:lnTo>
                  <a:lnTo>
                    <a:pt x="1646" y="222"/>
                  </a:lnTo>
                  <a:lnTo>
                    <a:pt x="1629" y="234"/>
                  </a:lnTo>
                  <a:lnTo>
                    <a:pt x="1620" y="227"/>
                  </a:lnTo>
                  <a:lnTo>
                    <a:pt x="1613" y="234"/>
                  </a:lnTo>
                  <a:lnTo>
                    <a:pt x="1603" y="260"/>
                  </a:lnTo>
                  <a:lnTo>
                    <a:pt x="1603" y="267"/>
                  </a:lnTo>
                  <a:lnTo>
                    <a:pt x="1620" y="267"/>
                  </a:lnTo>
                  <a:lnTo>
                    <a:pt x="1603" y="305"/>
                  </a:lnTo>
                  <a:lnTo>
                    <a:pt x="1592" y="322"/>
                  </a:lnTo>
                  <a:lnTo>
                    <a:pt x="1582" y="338"/>
                  </a:lnTo>
                  <a:lnTo>
                    <a:pt x="1575" y="338"/>
                  </a:lnTo>
                  <a:lnTo>
                    <a:pt x="1575" y="355"/>
                  </a:lnTo>
                  <a:lnTo>
                    <a:pt x="1629" y="395"/>
                  </a:lnTo>
                  <a:lnTo>
                    <a:pt x="1637" y="400"/>
                  </a:lnTo>
                  <a:lnTo>
                    <a:pt x="1667" y="428"/>
                  </a:lnTo>
                  <a:lnTo>
                    <a:pt x="1689" y="428"/>
                  </a:lnTo>
                  <a:lnTo>
                    <a:pt x="1738" y="456"/>
                  </a:lnTo>
                  <a:lnTo>
                    <a:pt x="1764" y="489"/>
                  </a:lnTo>
                  <a:lnTo>
                    <a:pt x="1830" y="506"/>
                  </a:lnTo>
                  <a:lnTo>
                    <a:pt x="1847" y="539"/>
                  </a:lnTo>
                  <a:lnTo>
                    <a:pt x="1901" y="560"/>
                  </a:lnTo>
                  <a:lnTo>
                    <a:pt x="1927" y="560"/>
                  </a:lnTo>
                  <a:lnTo>
                    <a:pt x="1953" y="544"/>
                  </a:lnTo>
                  <a:lnTo>
                    <a:pt x="1960" y="511"/>
                  </a:lnTo>
                  <a:lnTo>
                    <a:pt x="1981" y="482"/>
                  </a:lnTo>
                  <a:lnTo>
                    <a:pt x="1998" y="445"/>
                  </a:lnTo>
                  <a:lnTo>
                    <a:pt x="1998" y="400"/>
                  </a:lnTo>
                  <a:lnTo>
                    <a:pt x="2012" y="362"/>
                  </a:lnTo>
                  <a:lnTo>
                    <a:pt x="2007" y="322"/>
                  </a:lnTo>
                  <a:lnTo>
                    <a:pt x="2007" y="300"/>
                  </a:lnTo>
                  <a:lnTo>
                    <a:pt x="1998" y="279"/>
                  </a:lnTo>
                  <a:lnTo>
                    <a:pt x="2012" y="234"/>
                  </a:lnTo>
                  <a:lnTo>
                    <a:pt x="2007" y="211"/>
                  </a:lnTo>
                  <a:lnTo>
                    <a:pt x="2024" y="194"/>
                  </a:lnTo>
                  <a:lnTo>
                    <a:pt x="2029" y="206"/>
                  </a:lnTo>
                  <a:lnTo>
                    <a:pt x="2024" y="178"/>
                  </a:lnTo>
                  <a:lnTo>
                    <a:pt x="2012" y="173"/>
                  </a:lnTo>
                  <a:lnTo>
                    <a:pt x="2012" y="178"/>
                  </a:lnTo>
                  <a:lnTo>
                    <a:pt x="2007" y="178"/>
                  </a:lnTo>
                  <a:lnTo>
                    <a:pt x="2029" y="140"/>
                  </a:lnTo>
                  <a:lnTo>
                    <a:pt x="2029" y="152"/>
                  </a:lnTo>
                  <a:lnTo>
                    <a:pt x="2036" y="152"/>
                  </a:lnTo>
                  <a:lnTo>
                    <a:pt x="2029" y="140"/>
                  </a:lnTo>
                  <a:lnTo>
                    <a:pt x="2045" y="95"/>
                  </a:lnTo>
                  <a:lnTo>
                    <a:pt x="2045" y="67"/>
                  </a:lnTo>
                  <a:lnTo>
                    <a:pt x="2062" y="62"/>
                  </a:lnTo>
                  <a:lnTo>
                    <a:pt x="2066" y="45"/>
                  </a:lnTo>
                  <a:lnTo>
                    <a:pt x="2078" y="57"/>
                  </a:lnTo>
                  <a:lnTo>
                    <a:pt x="2066" y="67"/>
                  </a:lnTo>
                  <a:lnTo>
                    <a:pt x="2078" y="62"/>
                  </a:lnTo>
                  <a:lnTo>
                    <a:pt x="2088" y="78"/>
                  </a:lnTo>
                  <a:lnTo>
                    <a:pt x="2100" y="133"/>
                  </a:lnTo>
                  <a:lnTo>
                    <a:pt x="2121" y="140"/>
                  </a:lnTo>
                  <a:lnTo>
                    <a:pt x="2116" y="168"/>
                  </a:lnTo>
                  <a:lnTo>
                    <a:pt x="2133" y="173"/>
                  </a:lnTo>
                  <a:lnTo>
                    <a:pt x="2133" y="178"/>
                  </a:lnTo>
                  <a:lnTo>
                    <a:pt x="2137" y="189"/>
                  </a:lnTo>
                  <a:lnTo>
                    <a:pt x="2133" y="206"/>
                  </a:lnTo>
                  <a:lnTo>
                    <a:pt x="2142" y="206"/>
                  </a:lnTo>
                  <a:lnTo>
                    <a:pt x="2142" y="251"/>
                  </a:lnTo>
                  <a:lnTo>
                    <a:pt x="2142" y="267"/>
                  </a:lnTo>
                  <a:lnTo>
                    <a:pt x="2159" y="322"/>
                  </a:lnTo>
                  <a:lnTo>
                    <a:pt x="2175" y="322"/>
                  </a:lnTo>
                  <a:lnTo>
                    <a:pt x="2213" y="300"/>
                  </a:lnTo>
                  <a:lnTo>
                    <a:pt x="2225" y="334"/>
                  </a:lnTo>
                  <a:lnTo>
                    <a:pt x="2239" y="334"/>
                  </a:lnTo>
                  <a:lnTo>
                    <a:pt x="2246" y="345"/>
                  </a:lnTo>
                  <a:lnTo>
                    <a:pt x="2267" y="355"/>
                  </a:lnTo>
                  <a:lnTo>
                    <a:pt x="2263" y="371"/>
                  </a:lnTo>
                  <a:lnTo>
                    <a:pt x="2263" y="395"/>
                  </a:lnTo>
                  <a:lnTo>
                    <a:pt x="2277" y="445"/>
                  </a:lnTo>
                  <a:lnTo>
                    <a:pt x="2277" y="473"/>
                  </a:lnTo>
                  <a:lnTo>
                    <a:pt x="2305" y="506"/>
                  </a:lnTo>
                  <a:lnTo>
                    <a:pt x="2315" y="506"/>
                  </a:lnTo>
                  <a:lnTo>
                    <a:pt x="2305" y="511"/>
                  </a:lnTo>
                  <a:lnTo>
                    <a:pt x="2322" y="560"/>
                  </a:lnTo>
                  <a:lnTo>
                    <a:pt x="2315" y="600"/>
                  </a:lnTo>
                  <a:lnTo>
                    <a:pt x="2338" y="622"/>
                  </a:lnTo>
                  <a:lnTo>
                    <a:pt x="2338" y="650"/>
                  </a:lnTo>
                  <a:lnTo>
                    <a:pt x="2352" y="671"/>
                  </a:lnTo>
                  <a:lnTo>
                    <a:pt x="2402" y="688"/>
                  </a:lnTo>
                  <a:lnTo>
                    <a:pt x="2414" y="688"/>
                  </a:lnTo>
                  <a:lnTo>
                    <a:pt x="2414" y="676"/>
                  </a:lnTo>
                  <a:lnTo>
                    <a:pt x="2428" y="721"/>
                  </a:lnTo>
                  <a:lnTo>
                    <a:pt x="2440" y="721"/>
                  </a:lnTo>
                  <a:lnTo>
                    <a:pt x="2440" y="711"/>
                  </a:lnTo>
                  <a:lnTo>
                    <a:pt x="2444" y="711"/>
                  </a:lnTo>
                  <a:lnTo>
                    <a:pt x="2444" y="728"/>
                  </a:lnTo>
                  <a:lnTo>
                    <a:pt x="2466" y="728"/>
                  </a:lnTo>
                  <a:lnTo>
                    <a:pt x="2482" y="749"/>
                  </a:lnTo>
                  <a:lnTo>
                    <a:pt x="2494" y="733"/>
                  </a:lnTo>
                  <a:lnTo>
                    <a:pt x="2515" y="749"/>
                  </a:lnTo>
                  <a:lnTo>
                    <a:pt x="2520" y="778"/>
                  </a:lnTo>
                  <a:lnTo>
                    <a:pt x="2515" y="766"/>
                  </a:lnTo>
                  <a:lnTo>
                    <a:pt x="2511" y="782"/>
                  </a:lnTo>
                  <a:lnTo>
                    <a:pt x="2515" y="799"/>
                  </a:lnTo>
                  <a:lnTo>
                    <a:pt x="2548" y="815"/>
                  </a:lnTo>
                  <a:lnTo>
                    <a:pt x="2548" y="832"/>
                  </a:lnTo>
                  <a:lnTo>
                    <a:pt x="2565" y="856"/>
                  </a:lnTo>
                  <a:lnTo>
                    <a:pt x="2565" y="893"/>
                  </a:lnTo>
                  <a:lnTo>
                    <a:pt x="2574" y="910"/>
                  </a:lnTo>
                  <a:lnTo>
                    <a:pt x="2574" y="926"/>
                  </a:lnTo>
                  <a:lnTo>
                    <a:pt x="2586" y="910"/>
                  </a:lnTo>
                  <a:lnTo>
                    <a:pt x="2603" y="931"/>
                  </a:lnTo>
                  <a:lnTo>
                    <a:pt x="2591" y="910"/>
                  </a:lnTo>
                  <a:lnTo>
                    <a:pt x="2603" y="893"/>
                  </a:lnTo>
                  <a:lnTo>
                    <a:pt x="2607" y="915"/>
                  </a:lnTo>
                  <a:lnTo>
                    <a:pt x="2638" y="926"/>
                  </a:lnTo>
                  <a:lnTo>
                    <a:pt x="2638" y="910"/>
                  </a:lnTo>
                  <a:lnTo>
                    <a:pt x="2655" y="943"/>
                  </a:lnTo>
                  <a:lnTo>
                    <a:pt x="2655" y="971"/>
                  </a:lnTo>
                  <a:lnTo>
                    <a:pt x="2662" y="1000"/>
                  </a:lnTo>
                  <a:lnTo>
                    <a:pt x="2671" y="1004"/>
                  </a:lnTo>
                  <a:lnTo>
                    <a:pt x="2676" y="1021"/>
                  </a:lnTo>
                  <a:lnTo>
                    <a:pt x="2709" y="1042"/>
                  </a:lnTo>
                  <a:lnTo>
                    <a:pt x="2714" y="1037"/>
                  </a:lnTo>
                  <a:lnTo>
                    <a:pt x="2730" y="1054"/>
                  </a:lnTo>
                  <a:lnTo>
                    <a:pt x="2747" y="1082"/>
                  </a:lnTo>
                  <a:lnTo>
                    <a:pt x="2768" y="1099"/>
                  </a:lnTo>
                  <a:lnTo>
                    <a:pt x="2785" y="1132"/>
                  </a:lnTo>
                  <a:lnTo>
                    <a:pt x="2801" y="1137"/>
                  </a:lnTo>
                  <a:lnTo>
                    <a:pt x="2801" y="1170"/>
                  </a:lnTo>
                  <a:lnTo>
                    <a:pt x="2822" y="1186"/>
                  </a:lnTo>
                  <a:lnTo>
                    <a:pt x="2818" y="1210"/>
                  </a:lnTo>
                  <a:lnTo>
                    <a:pt x="2818" y="1276"/>
                  </a:lnTo>
                  <a:lnTo>
                    <a:pt x="2806" y="1281"/>
                  </a:lnTo>
                  <a:lnTo>
                    <a:pt x="2806" y="1293"/>
                  </a:lnTo>
                  <a:lnTo>
                    <a:pt x="2822" y="1304"/>
                  </a:lnTo>
                  <a:lnTo>
                    <a:pt x="2851" y="1370"/>
                  </a:lnTo>
                  <a:lnTo>
                    <a:pt x="2851" y="1408"/>
                  </a:lnTo>
                  <a:lnTo>
                    <a:pt x="2834" y="1448"/>
                  </a:lnTo>
                  <a:lnTo>
                    <a:pt x="2822" y="1498"/>
                  </a:lnTo>
                  <a:lnTo>
                    <a:pt x="2806" y="1543"/>
                  </a:lnTo>
                  <a:lnTo>
                    <a:pt x="2818" y="1576"/>
                  </a:lnTo>
                  <a:lnTo>
                    <a:pt x="2801" y="1630"/>
                  </a:lnTo>
                  <a:lnTo>
                    <a:pt x="2780" y="1670"/>
                  </a:lnTo>
                  <a:lnTo>
                    <a:pt x="2780" y="1692"/>
                  </a:lnTo>
                  <a:lnTo>
                    <a:pt x="2747" y="1720"/>
                  </a:lnTo>
                  <a:lnTo>
                    <a:pt x="2747" y="1725"/>
                  </a:lnTo>
                  <a:lnTo>
                    <a:pt x="2726" y="1737"/>
                  </a:lnTo>
                  <a:lnTo>
                    <a:pt x="2709" y="1765"/>
                  </a:lnTo>
                  <a:lnTo>
                    <a:pt x="2700" y="1765"/>
                  </a:lnTo>
                  <a:lnTo>
                    <a:pt x="2700" y="1774"/>
                  </a:lnTo>
                  <a:lnTo>
                    <a:pt x="2692" y="1791"/>
                  </a:lnTo>
                  <a:lnTo>
                    <a:pt x="2688" y="1819"/>
                  </a:lnTo>
                  <a:lnTo>
                    <a:pt x="2676" y="1819"/>
                  </a:lnTo>
                  <a:lnTo>
                    <a:pt x="2688" y="1831"/>
                  </a:lnTo>
                  <a:lnTo>
                    <a:pt x="2662" y="1848"/>
                  </a:lnTo>
                  <a:lnTo>
                    <a:pt x="2655" y="1885"/>
                  </a:lnTo>
                  <a:lnTo>
                    <a:pt x="2645" y="1893"/>
                  </a:lnTo>
                  <a:lnTo>
                    <a:pt x="2655" y="1909"/>
                  </a:lnTo>
                  <a:lnTo>
                    <a:pt x="2645" y="1909"/>
                  </a:lnTo>
                  <a:lnTo>
                    <a:pt x="2645" y="1914"/>
                  </a:lnTo>
                  <a:lnTo>
                    <a:pt x="2638" y="1926"/>
                  </a:lnTo>
                  <a:lnTo>
                    <a:pt x="2607" y="1980"/>
                  </a:lnTo>
                  <a:lnTo>
                    <a:pt x="2607" y="2013"/>
                  </a:lnTo>
                  <a:lnTo>
                    <a:pt x="2591" y="2058"/>
                  </a:lnTo>
                  <a:lnTo>
                    <a:pt x="2603" y="2079"/>
                  </a:lnTo>
                  <a:lnTo>
                    <a:pt x="2591" y="2091"/>
                  </a:lnTo>
                  <a:lnTo>
                    <a:pt x="2591" y="2107"/>
                  </a:lnTo>
                  <a:lnTo>
                    <a:pt x="2565" y="2129"/>
                  </a:lnTo>
                  <a:lnTo>
                    <a:pt x="2477" y="2136"/>
                  </a:lnTo>
                  <a:lnTo>
                    <a:pt x="2440" y="2145"/>
                  </a:lnTo>
                  <a:lnTo>
                    <a:pt x="2376" y="2202"/>
                  </a:lnTo>
                  <a:lnTo>
                    <a:pt x="2331" y="2207"/>
                  </a:lnTo>
                  <a:lnTo>
                    <a:pt x="2338" y="2223"/>
                  </a:lnTo>
                  <a:lnTo>
                    <a:pt x="2352" y="2219"/>
                  </a:lnTo>
                  <a:lnTo>
                    <a:pt x="2352" y="2240"/>
                  </a:lnTo>
                  <a:lnTo>
                    <a:pt x="2348" y="2247"/>
                  </a:lnTo>
                  <a:lnTo>
                    <a:pt x="2348" y="2247"/>
                  </a:lnTo>
                  <a:lnTo>
                    <a:pt x="2348" y="2247"/>
                  </a:lnTo>
                  <a:close/>
                  <a:moveTo>
                    <a:pt x="1651" y="100"/>
                  </a:moveTo>
                  <a:lnTo>
                    <a:pt x="1667" y="67"/>
                  </a:lnTo>
                  <a:lnTo>
                    <a:pt x="1667" y="83"/>
                  </a:lnTo>
                  <a:lnTo>
                    <a:pt x="1651" y="100"/>
                  </a:lnTo>
                  <a:lnTo>
                    <a:pt x="1651" y="100"/>
                  </a:lnTo>
                  <a:lnTo>
                    <a:pt x="1651" y="100"/>
                  </a:lnTo>
                  <a:close/>
                  <a:moveTo>
                    <a:pt x="1377" y="95"/>
                  </a:moveTo>
                  <a:lnTo>
                    <a:pt x="1377" y="67"/>
                  </a:lnTo>
                  <a:lnTo>
                    <a:pt x="1377" y="95"/>
                  </a:lnTo>
                  <a:lnTo>
                    <a:pt x="1377" y="95"/>
                  </a:lnTo>
                  <a:lnTo>
                    <a:pt x="1377" y="95"/>
                  </a:lnTo>
                  <a:close/>
                  <a:moveTo>
                    <a:pt x="1268" y="140"/>
                  </a:moveTo>
                  <a:lnTo>
                    <a:pt x="1226" y="116"/>
                  </a:lnTo>
                  <a:lnTo>
                    <a:pt x="1221" y="83"/>
                  </a:lnTo>
                  <a:lnTo>
                    <a:pt x="1242" y="100"/>
                  </a:lnTo>
                  <a:lnTo>
                    <a:pt x="1275" y="83"/>
                  </a:lnTo>
                  <a:lnTo>
                    <a:pt x="1280" y="100"/>
                  </a:lnTo>
                  <a:lnTo>
                    <a:pt x="1280" y="83"/>
                  </a:lnTo>
                  <a:lnTo>
                    <a:pt x="1306" y="100"/>
                  </a:lnTo>
                  <a:lnTo>
                    <a:pt x="1289" y="123"/>
                  </a:lnTo>
                  <a:lnTo>
                    <a:pt x="1268" y="140"/>
                  </a:lnTo>
                  <a:lnTo>
                    <a:pt x="1268" y="140"/>
                  </a:lnTo>
                  <a:lnTo>
                    <a:pt x="1268" y="140"/>
                  </a:lnTo>
                  <a:close/>
                  <a:moveTo>
                    <a:pt x="1226" y="133"/>
                  </a:moveTo>
                  <a:lnTo>
                    <a:pt x="1200" y="123"/>
                  </a:lnTo>
                  <a:lnTo>
                    <a:pt x="1204" y="116"/>
                  </a:lnTo>
                  <a:lnTo>
                    <a:pt x="1214" y="116"/>
                  </a:lnTo>
                  <a:lnTo>
                    <a:pt x="1214" y="95"/>
                  </a:lnTo>
                  <a:lnTo>
                    <a:pt x="1221" y="95"/>
                  </a:lnTo>
                  <a:lnTo>
                    <a:pt x="1226" y="116"/>
                  </a:lnTo>
                  <a:lnTo>
                    <a:pt x="1242" y="123"/>
                  </a:lnTo>
                  <a:lnTo>
                    <a:pt x="1226" y="133"/>
                  </a:lnTo>
                  <a:lnTo>
                    <a:pt x="1226" y="133"/>
                  </a:lnTo>
                  <a:lnTo>
                    <a:pt x="1226" y="133"/>
                  </a:lnTo>
                  <a:close/>
                  <a:moveTo>
                    <a:pt x="1377" y="123"/>
                  </a:moveTo>
                  <a:lnTo>
                    <a:pt x="1377" y="116"/>
                  </a:lnTo>
                  <a:lnTo>
                    <a:pt x="1381" y="116"/>
                  </a:lnTo>
                  <a:lnTo>
                    <a:pt x="1377" y="123"/>
                  </a:lnTo>
                  <a:lnTo>
                    <a:pt x="1377" y="123"/>
                  </a:lnTo>
                  <a:lnTo>
                    <a:pt x="1377" y="123"/>
                  </a:lnTo>
                  <a:close/>
                  <a:moveTo>
                    <a:pt x="1613" y="123"/>
                  </a:moveTo>
                  <a:lnTo>
                    <a:pt x="1613" y="116"/>
                  </a:lnTo>
                  <a:lnTo>
                    <a:pt x="1620" y="116"/>
                  </a:lnTo>
                  <a:lnTo>
                    <a:pt x="1613" y="123"/>
                  </a:lnTo>
                  <a:lnTo>
                    <a:pt x="1613" y="123"/>
                  </a:lnTo>
                  <a:lnTo>
                    <a:pt x="1613" y="123"/>
                  </a:lnTo>
                  <a:close/>
                  <a:moveTo>
                    <a:pt x="1684" y="300"/>
                  </a:moveTo>
                  <a:lnTo>
                    <a:pt x="1674" y="305"/>
                  </a:lnTo>
                  <a:lnTo>
                    <a:pt x="1646" y="305"/>
                  </a:lnTo>
                  <a:lnTo>
                    <a:pt x="1651" y="279"/>
                  </a:lnTo>
                  <a:lnTo>
                    <a:pt x="1658" y="279"/>
                  </a:lnTo>
                  <a:lnTo>
                    <a:pt x="1667" y="267"/>
                  </a:lnTo>
                  <a:lnTo>
                    <a:pt x="1667" y="279"/>
                  </a:lnTo>
                  <a:lnTo>
                    <a:pt x="1674" y="279"/>
                  </a:lnTo>
                  <a:lnTo>
                    <a:pt x="1674" y="267"/>
                  </a:lnTo>
                  <a:lnTo>
                    <a:pt x="1684" y="279"/>
                  </a:lnTo>
                  <a:lnTo>
                    <a:pt x="1667" y="284"/>
                  </a:lnTo>
                  <a:lnTo>
                    <a:pt x="1667" y="300"/>
                  </a:lnTo>
                  <a:lnTo>
                    <a:pt x="1684" y="300"/>
                  </a:lnTo>
                  <a:lnTo>
                    <a:pt x="1684" y="300"/>
                  </a:lnTo>
                  <a:lnTo>
                    <a:pt x="1684" y="300"/>
                  </a:lnTo>
                  <a:close/>
                  <a:moveTo>
                    <a:pt x="1629" y="279"/>
                  </a:moveTo>
                  <a:lnTo>
                    <a:pt x="1620" y="279"/>
                  </a:lnTo>
                  <a:lnTo>
                    <a:pt x="1629" y="267"/>
                  </a:lnTo>
                  <a:lnTo>
                    <a:pt x="1637" y="267"/>
                  </a:lnTo>
                  <a:lnTo>
                    <a:pt x="1629" y="279"/>
                  </a:lnTo>
                  <a:lnTo>
                    <a:pt x="1629" y="279"/>
                  </a:lnTo>
                  <a:lnTo>
                    <a:pt x="1629" y="279"/>
                  </a:lnTo>
                  <a:close/>
                  <a:moveTo>
                    <a:pt x="859" y="338"/>
                  </a:moveTo>
                  <a:lnTo>
                    <a:pt x="848" y="334"/>
                  </a:lnTo>
                  <a:lnTo>
                    <a:pt x="859" y="322"/>
                  </a:lnTo>
                  <a:lnTo>
                    <a:pt x="859" y="338"/>
                  </a:lnTo>
                  <a:lnTo>
                    <a:pt x="859" y="338"/>
                  </a:lnTo>
                  <a:lnTo>
                    <a:pt x="859" y="338"/>
                  </a:lnTo>
                  <a:close/>
                  <a:moveTo>
                    <a:pt x="810" y="395"/>
                  </a:moveTo>
                  <a:lnTo>
                    <a:pt x="805" y="388"/>
                  </a:lnTo>
                  <a:lnTo>
                    <a:pt x="810" y="378"/>
                  </a:lnTo>
                  <a:lnTo>
                    <a:pt x="822" y="395"/>
                  </a:lnTo>
                  <a:lnTo>
                    <a:pt x="810" y="395"/>
                  </a:lnTo>
                  <a:lnTo>
                    <a:pt x="810" y="395"/>
                  </a:lnTo>
                  <a:lnTo>
                    <a:pt x="810" y="395"/>
                  </a:lnTo>
                  <a:close/>
                  <a:moveTo>
                    <a:pt x="1651" y="411"/>
                  </a:moveTo>
                  <a:lnTo>
                    <a:pt x="1651" y="400"/>
                  </a:lnTo>
                  <a:lnTo>
                    <a:pt x="1658" y="400"/>
                  </a:lnTo>
                  <a:lnTo>
                    <a:pt x="1651" y="411"/>
                  </a:lnTo>
                  <a:lnTo>
                    <a:pt x="1651" y="411"/>
                  </a:lnTo>
                  <a:lnTo>
                    <a:pt x="1651" y="411"/>
                  </a:lnTo>
                  <a:close/>
                  <a:moveTo>
                    <a:pt x="1689" y="428"/>
                  </a:moveTo>
                  <a:lnTo>
                    <a:pt x="1684" y="411"/>
                  </a:lnTo>
                  <a:lnTo>
                    <a:pt x="1689" y="400"/>
                  </a:lnTo>
                  <a:lnTo>
                    <a:pt x="1689" y="428"/>
                  </a:lnTo>
                  <a:lnTo>
                    <a:pt x="1689" y="428"/>
                  </a:lnTo>
                  <a:lnTo>
                    <a:pt x="1689" y="428"/>
                  </a:lnTo>
                  <a:close/>
                  <a:moveTo>
                    <a:pt x="1667" y="416"/>
                  </a:moveTo>
                  <a:lnTo>
                    <a:pt x="1667" y="411"/>
                  </a:lnTo>
                  <a:lnTo>
                    <a:pt x="1674" y="411"/>
                  </a:lnTo>
                  <a:lnTo>
                    <a:pt x="1667" y="416"/>
                  </a:lnTo>
                  <a:lnTo>
                    <a:pt x="1667" y="416"/>
                  </a:lnTo>
                  <a:lnTo>
                    <a:pt x="1667" y="416"/>
                  </a:lnTo>
                  <a:close/>
                  <a:moveTo>
                    <a:pt x="1835" y="489"/>
                  </a:moveTo>
                  <a:lnTo>
                    <a:pt x="1835" y="482"/>
                  </a:lnTo>
                  <a:lnTo>
                    <a:pt x="1847" y="473"/>
                  </a:lnTo>
                  <a:lnTo>
                    <a:pt x="1873" y="466"/>
                  </a:lnTo>
                  <a:lnTo>
                    <a:pt x="1873" y="473"/>
                  </a:lnTo>
                  <a:lnTo>
                    <a:pt x="1863" y="473"/>
                  </a:lnTo>
                  <a:lnTo>
                    <a:pt x="1863" y="489"/>
                  </a:lnTo>
                  <a:lnTo>
                    <a:pt x="1835" y="489"/>
                  </a:lnTo>
                  <a:lnTo>
                    <a:pt x="1835" y="489"/>
                  </a:lnTo>
                  <a:lnTo>
                    <a:pt x="1835" y="489"/>
                  </a:lnTo>
                  <a:close/>
                  <a:moveTo>
                    <a:pt x="1863" y="522"/>
                  </a:moveTo>
                  <a:lnTo>
                    <a:pt x="1852" y="511"/>
                  </a:lnTo>
                  <a:lnTo>
                    <a:pt x="1868" y="511"/>
                  </a:lnTo>
                  <a:lnTo>
                    <a:pt x="1868" y="522"/>
                  </a:lnTo>
                  <a:lnTo>
                    <a:pt x="1863" y="522"/>
                  </a:lnTo>
                  <a:lnTo>
                    <a:pt x="1863" y="522"/>
                  </a:lnTo>
                  <a:lnTo>
                    <a:pt x="1863" y="522"/>
                  </a:lnTo>
                  <a:close/>
                  <a:moveTo>
                    <a:pt x="2338" y="622"/>
                  </a:moveTo>
                  <a:lnTo>
                    <a:pt x="2322" y="600"/>
                  </a:lnTo>
                  <a:lnTo>
                    <a:pt x="2338" y="610"/>
                  </a:lnTo>
                  <a:lnTo>
                    <a:pt x="2348" y="617"/>
                  </a:lnTo>
                  <a:lnTo>
                    <a:pt x="2338" y="622"/>
                  </a:lnTo>
                  <a:lnTo>
                    <a:pt x="2338" y="622"/>
                  </a:lnTo>
                  <a:lnTo>
                    <a:pt x="2338" y="622"/>
                  </a:lnTo>
                  <a:close/>
                  <a:moveTo>
                    <a:pt x="2376" y="671"/>
                  </a:moveTo>
                  <a:lnTo>
                    <a:pt x="2369" y="671"/>
                  </a:lnTo>
                  <a:lnTo>
                    <a:pt x="2376" y="667"/>
                  </a:lnTo>
                  <a:lnTo>
                    <a:pt x="2376" y="671"/>
                  </a:lnTo>
                  <a:lnTo>
                    <a:pt x="2376" y="671"/>
                  </a:lnTo>
                  <a:lnTo>
                    <a:pt x="2376" y="671"/>
                  </a:lnTo>
                  <a:close/>
                  <a:moveTo>
                    <a:pt x="2520" y="749"/>
                  </a:moveTo>
                  <a:lnTo>
                    <a:pt x="2515" y="745"/>
                  </a:lnTo>
                  <a:lnTo>
                    <a:pt x="2520" y="733"/>
                  </a:lnTo>
                  <a:lnTo>
                    <a:pt x="2520" y="749"/>
                  </a:lnTo>
                  <a:lnTo>
                    <a:pt x="2520" y="749"/>
                  </a:lnTo>
                  <a:lnTo>
                    <a:pt x="2520" y="749"/>
                  </a:lnTo>
                  <a:close/>
                  <a:moveTo>
                    <a:pt x="2520" y="761"/>
                  </a:moveTo>
                  <a:lnTo>
                    <a:pt x="2520" y="745"/>
                  </a:lnTo>
                  <a:lnTo>
                    <a:pt x="2532" y="749"/>
                  </a:lnTo>
                  <a:lnTo>
                    <a:pt x="2520" y="761"/>
                  </a:lnTo>
                  <a:lnTo>
                    <a:pt x="2520" y="761"/>
                  </a:lnTo>
                  <a:lnTo>
                    <a:pt x="2520" y="761"/>
                  </a:lnTo>
                  <a:close/>
                  <a:moveTo>
                    <a:pt x="172" y="799"/>
                  </a:moveTo>
                  <a:lnTo>
                    <a:pt x="163" y="799"/>
                  </a:lnTo>
                  <a:lnTo>
                    <a:pt x="179" y="782"/>
                  </a:lnTo>
                  <a:lnTo>
                    <a:pt x="172" y="799"/>
                  </a:lnTo>
                  <a:lnTo>
                    <a:pt x="172" y="799"/>
                  </a:lnTo>
                  <a:lnTo>
                    <a:pt x="172" y="799"/>
                  </a:lnTo>
                  <a:close/>
                  <a:moveTo>
                    <a:pt x="2629" y="910"/>
                  </a:moveTo>
                  <a:lnTo>
                    <a:pt x="2629" y="905"/>
                  </a:lnTo>
                  <a:lnTo>
                    <a:pt x="2638" y="910"/>
                  </a:lnTo>
                  <a:lnTo>
                    <a:pt x="2629" y="910"/>
                  </a:lnTo>
                  <a:lnTo>
                    <a:pt x="2629" y="910"/>
                  </a:lnTo>
                  <a:lnTo>
                    <a:pt x="2629" y="910"/>
                  </a:lnTo>
                  <a:close/>
                  <a:moveTo>
                    <a:pt x="2688" y="1021"/>
                  </a:moveTo>
                  <a:lnTo>
                    <a:pt x="2671" y="1000"/>
                  </a:lnTo>
                  <a:lnTo>
                    <a:pt x="2688" y="1004"/>
                  </a:lnTo>
                  <a:lnTo>
                    <a:pt x="2692" y="1021"/>
                  </a:lnTo>
                  <a:lnTo>
                    <a:pt x="2688" y="1021"/>
                  </a:lnTo>
                  <a:lnTo>
                    <a:pt x="2688" y="1021"/>
                  </a:lnTo>
                  <a:lnTo>
                    <a:pt x="2688" y="1021"/>
                  </a:lnTo>
                  <a:close/>
                  <a:moveTo>
                    <a:pt x="2818" y="1170"/>
                  </a:moveTo>
                  <a:lnTo>
                    <a:pt x="2801" y="1153"/>
                  </a:lnTo>
                  <a:lnTo>
                    <a:pt x="2806" y="1132"/>
                  </a:lnTo>
                  <a:lnTo>
                    <a:pt x="2822" y="1115"/>
                  </a:lnTo>
                  <a:lnTo>
                    <a:pt x="2818" y="1099"/>
                  </a:lnTo>
                  <a:lnTo>
                    <a:pt x="2822" y="1094"/>
                  </a:lnTo>
                  <a:lnTo>
                    <a:pt x="2834" y="1115"/>
                  </a:lnTo>
                  <a:lnTo>
                    <a:pt x="2818" y="1170"/>
                  </a:lnTo>
                  <a:lnTo>
                    <a:pt x="2818" y="1170"/>
                  </a:lnTo>
                  <a:lnTo>
                    <a:pt x="2818" y="1170"/>
                  </a:lnTo>
                  <a:close/>
                  <a:moveTo>
                    <a:pt x="16" y="1203"/>
                  </a:moveTo>
                  <a:lnTo>
                    <a:pt x="0" y="1170"/>
                  </a:lnTo>
                  <a:lnTo>
                    <a:pt x="0" y="1148"/>
                  </a:lnTo>
                  <a:lnTo>
                    <a:pt x="16" y="1203"/>
                  </a:lnTo>
                  <a:lnTo>
                    <a:pt x="16" y="1203"/>
                  </a:lnTo>
                  <a:lnTo>
                    <a:pt x="16" y="1203"/>
                  </a:lnTo>
                  <a:close/>
                  <a:moveTo>
                    <a:pt x="2839" y="1297"/>
                  </a:moveTo>
                  <a:lnTo>
                    <a:pt x="2834" y="1276"/>
                  </a:lnTo>
                  <a:lnTo>
                    <a:pt x="2839" y="1264"/>
                  </a:lnTo>
                  <a:lnTo>
                    <a:pt x="2839" y="1297"/>
                  </a:lnTo>
                  <a:lnTo>
                    <a:pt x="2839" y="1297"/>
                  </a:lnTo>
                  <a:lnTo>
                    <a:pt x="2839" y="1297"/>
                  </a:lnTo>
                  <a:close/>
                  <a:moveTo>
                    <a:pt x="2839" y="1321"/>
                  </a:moveTo>
                  <a:lnTo>
                    <a:pt x="2839" y="1297"/>
                  </a:lnTo>
                  <a:lnTo>
                    <a:pt x="2851" y="1297"/>
                  </a:lnTo>
                  <a:lnTo>
                    <a:pt x="2839" y="1321"/>
                  </a:lnTo>
                  <a:lnTo>
                    <a:pt x="2839" y="1321"/>
                  </a:lnTo>
                  <a:lnTo>
                    <a:pt x="2839" y="1321"/>
                  </a:lnTo>
                  <a:close/>
                  <a:moveTo>
                    <a:pt x="1755" y="1963"/>
                  </a:moveTo>
                  <a:lnTo>
                    <a:pt x="1759" y="1963"/>
                  </a:lnTo>
                  <a:lnTo>
                    <a:pt x="1764" y="1968"/>
                  </a:lnTo>
                  <a:lnTo>
                    <a:pt x="1759" y="1980"/>
                  </a:lnTo>
                  <a:lnTo>
                    <a:pt x="1738" y="1968"/>
                  </a:lnTo>
                  <a:lnTo>
                    <a:pt x="1722" y="1996"/>
                  </a:lnTo>
                  <a:lnTo>
                    <a:pt x="1705" y="1980"/>
                  </a:lnTo>
                  <a:lnTo>
                    <a:pt x="1667" y="1985"/>
                  </a:lnTo>
                  <a:lnTo>
                    <a:pt x="1651" y="1980"/>
                  </a:lnTo>
                  <a:lnTo>
                    <a:pt x="1658" y="1963"/>
                  </a:lnTo>
                  <a:lnTo>
                    <a:pt x="1705" y="1947"/>
                  </a:lnTo>
                  <a:lnTo>
                    <a:pt x="1722" y="1959"/>
                  </a:lnTo>
                  <a:lnTo>
                    <a:pt x="1726" y="1963"/>
                  </a:lnTo>
                  <a:lnTo>
                    <a:pt x="1743" y="1968"/>
                  </a:lnTo>
                  <a:lnTo>
                    <a:pt x="1755" y="1963"/>
                  </a:lnTo>
                  <a:lnTo>
                    <a:pt x="1755" y="1963"/>
                  </a:lnTo>
                  <a:lnTo>
                    <a:pt x="1755" y="1963"/>
                  </a:lnTo>
                  <a:close/>
                  <a:moveTo>
                    <a:pt x="2267" y="2185"/>
                  </a:moveTo>
                  <a:lnTo>
                    <a:pt x="2267" y="2181"/>
                  </a:lnTo>
                  <a:lnTo>
                    <a:pt x="2284" y="2181"/>
                  </a:lnTo>
                  <a:lnTo>
                    <a:pt x="2267" y="2185"/>
                  </a:lnTo>
                  <a:lnTo>
                    <a:pt x="2267" y="2185"/>
                  </a:lnTo>
                  <a:lnTo>
                    <a:pt x="2267" y="2185"/>
                  </a:lnTo>
                  <a:close/>
                  <a:moveTo>
                    <a:pt x="2267" y="2202"/>
                  </a:moveTo>
                  <a:lnTo>
                    <a:pt x="2251" y="2190"/>
                  </a:lnTo>
                  <a:lnTo>
                    <a:pt x="2267" y="2185"/>
                  </a:lnTo>
                  <a:lnTo>
                    <a:pt x="2267" y="2202"/>
                  </a:lnTo>
                  <a:lnTo>
                    <a:pt x="2267" y="2202"/>
                  </a:lnTo>
                  <a:lnTo>
                    <a:pt x="2267" y="2202"/>
                  </a:lnTo>
                  <a:close/>
                  <a:moveTo>
                    <a:pt x="2352" y="2219"/>
                  </a:moveTo>
                  <a:lnTo>
                    <a:pt x="2359" y="2219"/>
                  </a:lnTo>
                  <a:lnTo>
                    <a:pt x="2352" y="2219"/>
                  </a:lnTo>
                  <a:lnTo>
                    <a:pt x="2352" y="2219"/>
                  </a:lnTo>
                  <a:lnTo>
                    <a:pt x="2352" y="2219"/>
                  </a:lnTo>
                  <a:close/>
                  <a:moveTo>
                    <a:pt x="2170" y="2330"/>
                  </a:moveTo>
                  <a:lnTo>
                    <a:pt x="2170" y="2301"/>
                  </a:lnTo>
                  <a:lnTo>
                    <a:pt x="2175" y="2280"/>
                  </a:lnTo>
                  <a:lnTo>
                    <a:pt x="2187" y="2289"/>
                  </a:lnTo>
                  <a:lnTo>
                    <a:pt x="2187" y="2313"/>
                  </a:lnTo>
                  <a:lnTo>
                    <a:pt x="2170" y="2330"/>
                  </a:lnTo>
                  <a:lnTo>
                    <a:pt x="2170" y="2330"/>
                  </a:lnTo>
                  <a:lnTo>
                    <a:pt x="2170" y="2330"/>
                  </a:lnTo>
                  <a:close/>
                  <a:moveTo>
                    <a:pt x="2466" y="2346"/>
                  </a:moveTo>
                  <a:lnTo>
                    <a:pt x="2440" y="2313"/>
                  </a:lnTo>
                  <a:lnTo>
                    <a:pt x="2444" y="2296"/>
                  </a:lnTo>
                  <a:lnTo>
                    <a:pt x="2456" y="2296"/>
                  </a:lnTo>
                  <a:lnTo>
                    <a:pt x="2477" y="2313"/>
                  </a:lnTo>
                  <a:lnTo>
                    <a:pt x="2477" y="2334"/>
                  </a:lnTo>
                  <a:lnTo>
                    <a:pt x="2466" y="2346"/>
                  </a:lnTo>
                  <a:lnTo>
                    <a:pt x="2466" y="2346"/>
                  </a:lnTo>
                  <a:lnTo>
                    <a:pt x="2466" y="2346"/>
                  </a:lnTo>
                  <a:close/>
                  <a:moveTo>
                    <a:pt x="2482" y="2363"/>
                  </a:moveTo>
                  <a:lnTo>
                    <a:pt x="2477" y="2351"/>
                  </a:lnTo>
                  <a:lnTo>
                    <a:pt x="2461" y="2363"/>
                  </a:lnTo>
                  <a:lnTo>
                    <a:pt x="2456" y="2351"/>
                  </a:lnTo>
                  <a:lnTo>
                    <a:pt x="2482" y="2346"/>
                  </a:lnTo>
                  <a:lnTo>
                    <a:pt x="2494" y="2351"/>
                  </a:lnTo>
                  <a:lnTo>
                    <a:pt x="2482" y="2363"/>
                  </a:lnTo>
                  <a:lnTo>
                    <a:pt x="2482" y="2363"/>
                  </a:lnTo>
                  <a:lnTo>
                    <a:pt x="2482" y="2363"/>
                  </a:lnTo>
                  <a:close/>
                  <a:moveTo>
                    <a:pt x="2239" y="2363"/>
                  </a:moveTo>
                  <a:lnTo>
                    <a:pt x="2239" y="2351"/>
                  </a:lnTo>
                  <a:lnTo>
                    <a:pt x="2246" y="2351"/>
                  </a:lnTo>
                  <a:lnTo>
                    <a:pt x="2239" y="2363"/>
                  </a:lnTo>
                  <a:lnTo>
                    <a:pt x="2239" y="2363"/>
                  </a:lnTo>
                  <a:lnTo>
                    <a:pt x="2239" y="2363"/>
                  </a:lnTo>
                  <a:close/>
                  <a:moveTo>
                    <a:pt x="2466" y="2367"/>
                  </a:moveTo>
                  <a:lnTo>
                    <a:pt x="2461" y="2367"/>
                  </a:lnTo>
                  <a:lnTo>
                    <a:pt x="2466" y="2363"/>
                  </a:lnTo>
                  <a:lnTo>
                    <a:pt x="2466" y="2367"/>
                  </a:lnTo>
                  <a:lnTo>
                    <a:pt x="2466" y="2367"/>
                  </a:lnTo>
                  <a:lnTo>
                    <a:pt x="2466" y="2367"/>
                  </a:lnTo>
                  <a:close/>
                  <a:moveTo>
                    <a:pt x="2239" y="2384"/>
                  </a:moveTo>
                  <a:lnTo>
                    <a:pt x="2246" y="2367"/>
                  </a:lnTo>
                  <a:lnTo>
                    <a:pt x="2246" y="2374"/>
                  </a:lnTo>
                  <a:lnTo>
                    <a:pt x="2239" y="2384"/>
                  </a:lnTo>
                  <a:lnTo>
                    <a:pt x="2239" y="2384"/>
                  </a:lnTo>
                  <a:lnTo>
                    <a:pt x="2239" y="2384"/>
                  </a:lnTo>
                  <a:close/>
                  <a:moveTo>
                    <a:pt x="2385" y="2630"/>
                  </a:moveTo>
                  <a:lnTo>
                    <a:pt x="2322" y="2622"/>
                  </a:lnTo>
                  <a:lnTo>
                    <a:pt x="2315" y="2613"/>
                  </a:lnTo>
                  <a:lnTo>
                    <a:pt x="2331" y="2613"/>
                  </a:lnTo>
                  <a:lnTo>
                    <a:pt x="2331" y="2606"/>
                  </a:lnTo>
                  <a:lnTo>
                    <a:pt x="2305" y="2606"/>
                  </a:lnTo>
                  <a:lnTo>
                    <a:pt x="2284" y="2573"/>
                  </a:lnTo>
                  <a:lnTo>
                    <a:pt x="2267" y="2540"/>
                  </a:lnTo>
                  <a:lnTo>
                    <a:pt x="2263" y="2511"/>
                  </a:lnTo>
                  <a:lnTo>
                    <a:pt x="2277" y="2528"/>
                  </a:lnTo>
                  <a:lnTo>
                    <a:pt x="2277" y="2535"/>
                  </a:lnTo>
                  <a:lnTo>
                    <a:pt x="2284" y="2518"/>
                  </a:lnTo>
                  <a:lnTo>
                    <a:pt x="2267" y="2502"/>
                  </a:lnTo>
                  <a:lnTo>
                    <a:pt x="2225" y="2424"/>
                  </a:lnTo>
                  <a:lnTo>
                    <a:pt x="2225" y="2400"/>
                  </a:lnTo>
                  <a:lnTo>
                    <a:pt x="2225" y="2384"/>
                  </a:lnTo>
                  <a:lnTo>
                    <a:pt x="2267" y="2384"/>
                  </a:lnTo>
                  <a:lnTo>
                    <a:pt x="2331" y="2417"/>
                  </a:lnTo>
                  <a:lnTo>
                    <a:pt x="2359" y="2424"/>
                  </a:lnTo>
                  <a:lnTo>
                    <a:pt x="2369" y="2407"/>
                  </a:lnTo>
                  <a:lnTo>
                    <a:pt x="2385" y="2417"/>
                  </a:lnTo>
                  <a:lnTo>
                    <a:pt x="2376" y="2407"/>
                  </a:lnTo>
                  <a:lnTo>
                    <a:pt x="2385" y="2400"/>
                  </a:lnTo>
                  <a:lnTo>
                    <a:pt x="2414" y="2407"/>
                  </a:lnTo>
                  <a:lnTo>
                    <a:pt x="2428" y="2391"/>
                  </a:lnTo>
                  <a:lnTo>
                    <a:pt x="2444" y="2391"/>
                  </a:lnTo>
                  <a:lnTo>
                    <a:pt x="2456" y="2384"/>
                  </a:lnTo>
                  <a:lnTo>
                    <a:pt x="2477" y="2400"/>
                  </a:lnTo>
                  <a:lnTo>
                    <a:pt x="2477" y="2474"/>
                  </a:lnTo>
                  <a:lnTo>
                    <a:pt x="2482" y="2511"/>
                  </a:lnTo>
                  <a:lnTo>
                    <a:pt x="2477" y="2511"/>
                  </a:lnTo>
                  <a:lnTo>
                    <a:pt x="2477" y="2502"/>
                  </a:lnTo>
                  <a:lnTo>
                    <a:pt x="2466" y="2485"/>
                  </a:lnTo>
                  <a:lnTo>
                    <a:pt x="2444" y="2568"/>
                  </a:lnTo>
                  <a:lnTo>
                    <a:pt x="2456" y="2568"/>
                  </a:lnTo>
                  <a:lnTo>
                    <a:pt x="2456" y="2596"/>
                  </a:lnTo>
                  <a:lnTo>
                    <a:pt x="2444" y="2589"/>
                  </a:lnTo>
                  <a:lnTo>
                    <a:pt x="2444" y="2596"/>
                  </a:lnTo>
                  <a:lnTo>
                    <a:pt x="2428" y="2585"/>
                  </a:lnTo>
                  <a:lnTo>
                    <a:pt x="2440" y="2573"/>
                  </a:lnTo>
                  <a:lnTo>
                    <a:pt x="2440" y="2585"/>
                  </a:lnTo>
                  <a:lnTo>
                    <a:pt x="2456" y="2585"/>
                  </a:lnTo>
                  <a:lnTo>
                    <a:pt x="2444" y="2573"/>
                  </a:lnTo>
                  <a:lnTo>
                    <a:pt x="2423" y="2568"/>
                  </a:lnTo>
                  <a:lnTo>
                    <a:pt x="2423" y="2573"/>
                  </a:lnTo>
                  <a:lnTo>
                    <a:pt x="2414" y="2585"/>
                  </a:lnTo>
                  <a:lnTo>
                    <a:pt x="2414" y="2568"/>
                  </a:lnTo>
                  <a:lnTo>
                    <a:pt x="2407" y="2568"/>
                  </a:lnTo>
                  <a:lnTo>
                    <a:pt x="2407" y="2596"/>
                  </a:lnTo>
                  <a:lnTo>
                    <a:pt x="2385" y="2589"/>
                  </a:lnTo>
                  <a:lnTo>
                    <a:pt x="2390" y="2606"/>
                  </a:lnTo>
                  <a:lnTo>
                    <a:pt x="2385" y="2630"/>
                  </a:lnTo>
                  <a:lnTo>
                    <a:pt x="2385" y="2630"/>
                  </a:lnTo>
                  <a:lnTo>
                    <a:pt x="2385" y="2630"/>
                  </a:lnTo>
                  <a:close/>
                  <a:moveTo>
                    <a:pt x="2461" y="2556"/>
                  </a:moveTo>
                  <a:lnTo>
                    <a:pt x="2461" y="2540"/>
                  </a:lnTo>
                  <a:lnTo>
                    <a:pt x="2466" y="2540"/>
                  </a:lnTo>
                  <a:lnTo>
                    <a:pt x="2466" y="2552"/>
                  </a:lnTo>
                  <a:lnTo>
                    <a:pt x="2461" y="2556"/>
                  </a:lnTo>
                  <a:lnTo>
                    <a:pt x="2461" y="2556"/>
                  </a:lnTo>
                  <a:lnTo>
                    <a:pt x="2461" y="2556"/>
                  </a:lnTo>
                  <a:close/>
                  <a:moveTo>
                    <a:pt x="2414" y="2596"/>
                  </a:moveTo>
                  <a:lnTo>
                    <a:pt x="2407" y="2589"/>
                  </a:lnTo>
                  <a:lnTo>
                    <a:pt x="2414" y="2585"/>
                  </a:lnTo>
                  <a:lnTo>
                    <a:pt x="2414" y="2596"/>
                  </a:lnTo>
                  <a:lnTo>
                    <a:pt x="2414" y="2596"/>
                  </a:lnTo>
                  <a:lnTo>
                    <a:pt x="2414" y="2596"/>
                  </a:lnTo>
                  <a:close/>
                  <a:moveTo>
                    <a:pt x="2407" y="2622"/>
                  </a:moveTo>
                  <a:lnTo>
                    <a:pt x="2390" y="2613"/>
                  </a:lnTo>
                  <a:lnTo>
                    <a:pt x="2407" y="2596"/>
                  </a:lnTo>
                  <a:lnTo>
                    <a:pt x="2414" y="2613"/>
                  </a:lnTo>
                  <a:lnTo>
                    <a:pt x="2407" y="2622"/>
                  </a:lnTo>
                  <a:lnTo>
                    <a:pt x="2407" y="2622"/>
                  </a:lnTo>
                  <a:lnTo>
                    <a:pt x="2407" y="2622"/>
                  </a:lnTo>
                  <a:close/>
                  <a:moveTo>
                    <a:pt x="3217" y="3666"/>
                  </a:moveTo>
                  <a:lnTo>
                    <a:pt x="3217" y="3659"/>
                  </a:lnTo>
                  <a:lnTo>
                    <a:pt x="3229" y="3643"/>
                  </a:lnTo>
                  <a:lnTo>
                    <a:pt x="3217" y="3666"/>
                  </a:lnTo>
                  <a:lnTo>
                    <a:pt x="3217" y="3666"/>
                  </a:lnTo>
                  <a:lnTo>
                    <a:pt x="3217" y="366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19" name="Freeform 395">
              <a:extLst>
                <a:ext uri="{FF2B5EF4-FFF2-40B4-BE49-F238E27FC236}">
                  <a16:creationId xmlns:a16="http://schemas.microsoft.com/office/drawing/2014/main" id="{583AF3E2-3244-490D-AF3D-1A3ED14A2C18}"/>
                </a:ext>
              </a:extLst>
            </p:cNvPr>
            <p:cNvSpPr>
              <a:spLocks noEditPoints="1"/>
            </p:cNvSpPr>
            <p:nvPr/>
          </p:nvSpPr>
          <p:spPr bwMode="gray">
            <a:xfrm>
              <a:off x="9267064" y="3256451"/>
              <a:ext cx="132146" cy="183625"/>
            </a:xfrm>
            <a:custGeom>
              <a:avLst/>
              <a:gdLst>
                <a:gd name="T0" fmla="*/ 71 w 321"/>
                <a:gd name="T1" fmla="*/ 262 h 446"/>
                <a:gd name="T2" fmla="*/ 38 w 321"/>
                <a:gd name="T3" fmla="*/ 229 h 446"/>
                <a:gd name="T4" fmla="*/ 55 w 321"/>
                <a:gd name="T5" fmla="*/ 184 h 446"/>
                <a:gd name="T6" fmla="*/ 5 w 321"/>
                <a:gd name="T7" fmla="*/ 163 h 446"/>
                <a:gd name="T8" fmla="*/ 5 w 321"/>
                <a:gd name="T9" fmla="*/ 128 h 446"/>
                <a:gd name="T10" fmla="*/ 71 w 321"/>
                <a:gd name="T11" fmla="*/ 111 h 446"/>
                <a:gd name="T12" fmla="*/ 55 w 321"/>
                <a:gd name="T13" fmla="*/ 90 h 446"/>
                <a:gd name="T14" fmla="*/ 5 w 321"/>
                <a:gd name="T15" fmla="*/ 57 h 446"/>
                <a:gd name="T16" fmla="*/ 33 w 321"/>
                <a:gd name="T17" fmla="*/ 5 h 446"/>
                <a:gd name="T18" fmla="*/ 59 w 321"/>
                <a:gd name="T19" fmla="*/ 33 h 446"/>
                <a:gd name="T20" fmla="*/ 71 w 321"/>
                <a:gd name="T21" fmla="*/ 17 h 446"/>
                <a:gd name="T22" fmla="*/ 92 w 321"/>
                <a:gd name="T23" fmla="*/ 50 h 446"/>
                <a:gd name="T24" fmla="*/ 123 w 321"/>
                <a:gd name="T25" fmla="*/ 33 h 446"/>
                <a:gd name="T26" fmla="*/ 168 w 321"/>
                <a:gd name="T27" fmla="*/ 111 h 446"/>
                <a:gd name="T28" fmla="*/ 312 w 321"/>
                <a:gd name="T29" fmla="*/ 135 h 446"/>
                <a:gd name="T30" fmla="*/ 274 w 321"/>
                <a:gd name="T31" fmla="*/ 172 h 446"/>
                <a:gd name="T32" fmla="*/ 232 w 321"/>
                <a:gd name="T33" fmla="*/ 205 h 446"/>
                <a:gd name="T34" fmla="*/ 236 w 321"/>
                <a:gd name="T35" fmla="*/ 274 h 446"/>
                <a:gd name="T36" fmla="*/ 258 w 321"/>
                <a:gd name="T37" fmla="*/ 279 h 446"/>
                <a:gd name="T38" fmla="*/ 274 w 321"/>
                <a:gd name="T39" fmla="*/ 241 h 446"/>
                <a:gd name="T40" fmla="*/ 300 w 321"/>
                <a:gd name="T41" fmla="*/ 224 h 446"/>
                <a:gd name="T42" fmla="*/ 312 w 321"/>
                <a:gd name="T43" fmla="*/ 302 h 446"/>
                <a:gd name="T44" fmla="*/ 321 w 321"/>
                <a:gd name="T45" fmla="*/ 406 h 446"/>
                <a:gd name="T46" fmla="*/ 291 w 321"/>
                <a:gd name="T47" fmla="*/ 406 h 446"/>
                <a:gd name="T48" fmla="*/ 286 w 321"/>
                <a:gd name="T49" fmla="*/ 413 h 446"/>
                <a:gd name="T50" fmla="*/ 269 w 321"/>
                <a:gd name="T51" fmla="*/ 373 h 446"/>
                <a:gd name="T52" fmla="*/ 220 w 321"/>
                <a:gd name="T53" fmla="*/ 312 h 446"/>
                <a:gd name="T54" fmla="*/ 182 w 321"/>
                <a:gd name="T55" fmla="*/ 274 h 446"/>
                <a:gd name="T56" fmla="*/ 182 w 321"/>
                <a:gd name="T57" fmla="*/ 241 h 446"/>
                <a:gd name="T58" fmla="*/ 177 w 321"/>
                <a:gd name="T59" fmla="*/ 241 h 446"/>
                <a:gd name="T60" fmla="*/ 182 w 321"/>
                <a:gd name="T61" fmla="*/ 262 h 446"/>
                <a:gd name="T62" fmla="*/ 168 w 321"/>
                <a:gd name="T63" fmla="*/ 295 h 446"/>
                <a:gd name="T64" fmla="*/ 168 w 321"/>
                <a:gd name="T65" fmla="*/ 352 h 446"/>
                <a:gd name="T66" fmla="*/ 151 w 321"/>
                <a:gd name="T67" fmla="*/ 368 h 446"/>
                <a:gd name="T68" fmla="*/ 144 w 321"/>
                <a:gd name="T69" fmla="*/ 357 h 446"/>
                <a:gd name="T70" fmla="*/ 140 w 321"/>
                <a:gd name="T71" fmla="*/ 352 h 446"/>
                <a:gd name="T72" fmla="*/ 130 w 321"/>
                <a:gd name="T73" fmla="*/ 335 h 446"/>
                <a:gd name="T74" fmla="*/ 109 w 321"/>
                <a:gd name="T75" fmla="*/ 368 h 446"/>
                <a:gd name="T76" fmla="*/ 97 w 321"/>
                <a:gd name="T77" fmla="*/ 335 h 446"/>
                <a:gd name="T78" fmla="*/ 92 w 321"/>
                <a:gd name="T79" fmla="*/ 373 h 446"/>
                <a:gd name="T80" fmla="*/ 76 w 321"/>
                <a:gd name="T81" fmla="*/ 368 h 446"/>
                <a:gd name="T82" fmla="*/ 76 w 321"/>
                <a:gd name="T83" fmla="*/ 347 h 446"/>
                <a:gd name="T84" fmla="*/ 168 w 321"/>
                <a:gd name="T85" fmla="*/ 246 h 446"/>
                <a:gd name="T86" fmla="*/ 177 w 321"/>
                <a:gd name="T87" fmla="*/ 257 h 446"/>
                <a:gd name="T88" fmla="*/ 177 w 321"/>
                <a:gd name="T89" fmla="*/ 274 h 446"/>
                <a:gd name="T90" fmla="*/ 182 w 321"/>
                <a:gd name="T91" fmla="*/ 279 h 446"/>
                <a:gd name="T92" fmla="*/ 182 w 321"/>
                <a:gd name="T93" fmla="*/ 286 h 446"/>
                <a:gd name="T94" fmla="*/ 177 w 321"/>
                <a:gd name="T95" fmla="*/ 302 h 446"/>
                <a:gd name="T96" fmla="*/ 182 w 321"/>
                <a:gd name="T97" fmla="*/ 352 h 446"/>
                <a:gd name="T98" fmla="*/ 182 w 321"/>
                <a:gd name="T99" fmla="*/ 295 h 446"/>
                <a:gd name="T100" fmla="*/ 199 w 321"/>
                <a:gd name="T101" fmla="*/ 347 h 446"/>
                <a:gd name="T102" fmla="*/ 182 w 321"/>
                <a:gd name="T103" fmla="*/ 357 h 446"/>
                <a:gd name="T104" fmla="*/ 236 w 321"/>
                <a:gd name="T105" fmla="*/ 302 h 446"/>
                <a:gd name="T106" fmla="*/ 248 w 321"/>
                <a:gd name="T107" fmla="*/ 328 h 446"/>
                <a:gd name="T108" fmla="*/ 215 w 321"/>
                <a:gd name="T109" fmla="*/ 312 h 446"/>
                <a:gd name="T110" fmla="*/ 215 w 321"/>
                <a:gd name="T111" fmla="*/ 352 h 446"/>
                <a:gd name="T112" fmla="*/ 177 w 321"/>
                <a:gd name="T113" fmla="*/ 352 h 446"/>
                <a:gd name="T114" fmla="*/ 177 w 321"/>
                <a:gd name="T115" fmla="*/ 352 h 446"/>
                <a:gd name="T116" fmla="*/ 168 w 321"/>
                <a:gd name="T117" fmla="*/ 352 h 446"/>
                <a:gd name="T118" fmla="*/ 168 w 321"/>
                <a:gd name="T119" fmla="*/ 357 h 446"/>
                <a:gd name="T120" fmla="*/ 269 w 321"/>
                <a:gd name="T121" fmla="*/ 373 h 446"/>
                <a:gd name="T122" fmla="*/ 269 w 321"/>
                <a:gd name="T123" fmla="*/ 39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1" h="446">
                  <a:moveTo>
                    <a:pt x="76" y="347"/>
                  </a:moveTo>
                  <a:lnTo>
                    <a:pt x="59" y="279"/>
                  </a:lnTo>
                  <a:lnTo>
                    <a:pt x="71" y="262"/>
                  </a:lnTo>
                  <a:lnTo>
                    <a:pt x="55" y="257"/>
                  </a:lnTo>
                  <a:lnTo>
                    <a:pt x="55" y="241"/>
                  </a:lnTo>
                  <a:lnTo>
                    <a:pt x="38" y="229"/>
                  </a:lnTo>
                  <a:lnTo>
                    <a:pt x="38" y="217"/>
                  </a:lnTo>
                  <a:lnTo>
                    <a:pt x="55" y="205"/>
                  </a:lnTo>
                  <a:lnTo>
                    <a:pt x="55" y="184"/>
                  </a:lnTo>
                  <a:lnTo>
                    <a:pt x="43" y="172"/>
                  </a:lnTo>
                  <a:lnTo>
                    <a:pt x="38" y="172"/>
                  </a:lnTo>
                  <a:lnTo>
                    <a:pt x="5" y="163"/>
                  </a:lnTo>
                  <a:lnTo>
                    <a:pt x="0" y="151"/>
                  </a:lnTo>
                  <a:lnTo>
                    <a:pt x="17" y="135"/>
                  </a:lnTo>
                  <a:lnTo>
                    <a:pt x="5" y="128"/>
                  </a:lnTo>
                  <a:lnTo>
                    <a:pt x="21" y="135"/>
                  </a:lnTo>
                  <a:lnTo>
                    <a:pt x="33" y="111"/>
                  </a:lnTo>
                  <a:lnTo>
                    <a:pt x="71" y="111"/>
                  </a:lnTo>
                  <a:lnTo>
                    <a:pt x="71" y="106"/>
                  </a:lnTo>
                  <a:lnTo>
                    <a:pt x="59" y="94"/>
                  </a:lnTo>
                  <a:lnTo>
                    <a:pt x="55" y="90"/>
                  </a:lnTo>
                  <a:lnTo>
                    <a:pt x="38" y="90"/>
                  </a:lnTo>
                  <a:lnTo>
                    <a:pt x="21" y="61"/>
                  </a:lnTo>
                  <a:lnTo>
                    <a:pt x="5" y="57"/>
                  </a:lnTo>
                  <a:lnTo>
                    <a:pt x="17" y="33"/>
                  </a:lnTo>
                  <a:lnTo>
                    <a:pt x="38" y="17"/>
                  </a:lnTo>
                  <a:lnTo>
                    <a:pt x="33" y="5"/>
                  </a:lnTo>
                  <a:lnTo>
                    <a:pt x="21" y="5"/>
                  </a:lnTo>
                  <a:lnTo>
                    <a:pt x="33" y="0"/>
                  </a:lnTo>
                  <a:lnTo>
                    <a:pt x="59" y="33"/>
                  </a:lnTo>
                  <a:lnTo>
                    <a:pt x="76" y="24"/>
                  </a:lnTo>
                  <a:lnTo>
                    <a:pt x="59" y="17"/>
                  </a:lnTo>
                  <a:lnTo>
                    <a:pt x="71" y="17"/>
                  </a:lnTo>
                  <a:lnTo>
                    <a:pt x="76" y="17"/>
                  </a:lnTo>
                  <a:lnTo>
                    <a:pt x="76" y="33"/>
                  </a:lnTo>
                  <a:lnTo>
                    <a:pt x="92" y="50"/>
                  </a:lnTo>
                  <a:lnTo>
                    <a:pt x="109" y="50"/>
                  </a:lnTo>
                  <a:lnTo>
                    <a:pt x="114" y="33"/>
                  </a:lnTo>
                  <a:lnTo>
                    <a:pt x="123" y="33"/>
                  </a:lnTo>
                  <a:lnTo>
                    <a:pt x="130" y="57"/>
                  </a:lnTo>
                  <a:lnTo>
                    <a:pt x="130" y="106"/>
                  </a:lnTo>
                  <a:lnTo>
                    <a:pt x="168" y="111"/>
                  </a:lnTo>
                  <a:lnTo>
                    <a:pt x="286" y="111"/>
                  </a:lnTo>
                  <a:lnTo>
                    <a:pt x="307" y="118"/>
                  </a:lnTo>
                  <a:lnTo>
                    <a:pt x="312" y="135"/>
                  </a:lnTo>
                  <a:lnTo>
                    <a:pt x="300" y="135"/>
                  </a:lnTo>
                  <a:lnTo>
                    <a:pt x="291" y="168"/>
                  </a:lnTo>
                  <a:lnTo>
                    <a:pt x="274" y="172"/>
                  </a:lnTo>
                  <a:lnTo>
                    <a:pt x="269" y="189"/>
                  </a:lnTo>
                  <a:lnTo>
                    <a:pt x="236" y="189"/>
                  </a:lnTo>
                  <a:lnTo>
                    <a:pt x="232" y="205"/>
                  </a:lnTo>
                  <a:lnTo>
                    <a:pt x="220" y="229"/>
                  </a:lnTo>
                  <a:lnTo>
                    <a:pt x="232" y="274"/>
                  </a:lnTo>
                  <a:lnTo>
                    <a:pt x="236" y="274"/>
                  </a:lnTo>
                  <a:lnTo>
                    <a:pt x="236" y="257"/>
                  </a:lnTo>
                  <a:lnTo>
                    <a:pt x="248" y="279"/>
                  </a:lnTo>
                  <a:lnTo>
                    <a:pt x="258" y="279"/>
                  </a:lnTo>
                  <a:lnTo>
                    <a:pt x="269" y="274"/>
                  </a:lnTo>
                  <a:lnTo>
                    <a:pt x="258" y="257"/>
                  </a:lnTo>
                  <a:lnTo>
                    <a:pt x="274" y="241"/>
                  </a:lnTo>
                  <a:lnTo>
                    <a:pt x="274" y="224"/>
                  </a:lnTo>
                  <a:lnTo>
                    <a:pt x="286" y="229"/>
                  </a:lnTo>
                  <a:lnTo>
                    <a:pt x="300" y="224"/>
                  </a:lnTo>
                  <a:lnTo>
                    <a:pt x="307" y="257"/>
                  </a:lnTo>
                  <a:lnTo>
                    <a:pt x="307" y="279"/>
                  </a:lnTo>
                  <a:lnTo>
                    <a:pt x="312" y="302"/>
                  </a:lnTo>
                  <a:lnTo>
                    <a:pt x="321" y="357"/>
                  </a:lnTo>
                  <a:lnTo>
                    <a:pt x="321" y="406"/>
                  </a:lnTo>
                  <a:lnTo>
                    <a:pt x="321" y="406"/>
                  </a:lnTo>
                  <a:lnTo>
                    <a:pt x="307" y="390"/>
                  </a:lnTo>
                  <a:lnTo>
                    <a:pt x="300" y="402"/>
                  </a:lnTo>
                  <a:lnTo>
                    <a:pt x="291" y="406"/>
                  </a:lnTo>
                  <a:lnTo>
                    <a:pt x="300" y="425"/>
                  </a:lnTo>
                  <a:lnTo>
                    <a:pt x="300" y="446"/>
                  </a:lnTo>
                  <a:lnTo>
                    <a:pt x="286" y="413"/>
                  </a:lnTo>
                  <a:lnTo>
                    <a:pt x="274" y="402"/>
                  </a:lnTo>
                  <a:lnTo>
                    <a:pt x="286" y="385"/>
                  </a:lnTo>
                  <a:lnTo>
                    <a:pt x="269" y="373"/>
                  </a:lnTo>
                  <a:lnTo>
                    <a:pt x="258" y="319"/>
                  </a:lnTo>
                  <a:lnTo>
                    <a:pt x="236" y="295"/>
                  </a:lnTo>
                  <a:lnTo>
                    <a:pt x="220" y="312"/>
                  </a:lnTo>
                  <a:lnTo>
                    <a:pt x="203" y="312"/>
                  </a:lnTo>
                  <a:lnTo>
                    <a:pt x="199" y="302"/>
                  </a:lnTo>
                  <a:lnTo>
                    <a:pt x="182" y="274"/>
                  </a:lnTo>
                  <a:lnTo>
                    <a:pt x="182" y="241"/>
                  </a:lnTo>
                  <a:lnTo>
                    <a:pt x="194" y="241"/>
                  </a:lnTo>
                  <a:lnTo>
                    <a:pt x="182" y="241"/>
                  </a:lnTo>
                  <a:lnTo>
                    <a:pt x="182" y="229"/>
                  </a:lnTo>
                  <a:lnTo>
                    <a:pt x="177" y="229"/>
                  </a:lnTo>
                  <a:lnTo>
                    <a:pt x="177" y="241"/>
                  </a:lnTo>
                  <a:lnTo>
                    <a:pt x="177" y="246"/>
                  </a:lnTo>
                  <a:lnTo>
                    <a:pt x="161" y="246"/>
                  </a:lnTo>
                  <a:lnTo>
                    <a:pt x="182" y="262"/>
                  </a:lnTo>
                  <a:lnTo>
                    <a:pt x="177" y="274"/>
                  </a:lnTo>
                  <a:lnTo>
                    <a:pt x="168" y="274"/>
                  </a:lnTo>
                  <a:lnTo>
                    <a:pt x="168" y="295"/>
                  </a:lnTo>
                  <a:lnTo>
                    <a:pt x="177" y="312"/>
                  </a:lnTo>
                  <a:lnTo>
                    <a:pt x="182" y="328"/>
                  </a:lnTo>
                  <a:lnTo>
                    <a:pt x="168" y="352"/>
                  </a:lnTo>
                  <a:lnTo>
                    <a:pt x="168" y="335"/>
                  </a:lnTo>
                  <a:lnTo>
                    <a:pt x="161" y="368"/>
                  </a:lnTo>
                  <a:lnTo>
                    <a:pt x="151" y="368"/>
                  </a:lnTo>
                  <a:lnTo>
                    <a:pt x="140" y="368"/>
                  </a:lnTo>
                  <a:lnTo>
                    <a:pt x="151" y="347"/>
                  </a:lnTo>
                  <a:lnTo>
                    <a:pt x="144" y="357"/>
                  </a:lnTo>
                  <a:lnTo>
                    <a:pt x="140" y="352"/>
                  </a:lnTo>
                  <a:lnTo>
                    <a:pt x="144" y="347"/>
                  </a:lnTo>
                  <a:lnTo>
                    <a:pt x="140" y="352"/>
                  </a:lnTo>
                  <a:lnTo>
                    <a:pt x="130" y="335"/>
                  </a:lnTo>
                  <a:lnTo>
                    <a:pt x="140" y="319"/>
                  </a:lnTo>
                  <a:lnTo>
                    <a:pt x="130" y="335"/>
                  </a:lnTo>
                  <a:lnTo>
                    <a:pt x="130" y="357"/>
                  </a:lnTo>
                  <a:lnTo>
                    <a:pt x="109" y="373"/>
                  </a:lnTo>
                  <a:lnTo>
                    <a:pt x="109" y="368"/>
                  </a:lnTo>
                  <a:lnTo>
                    <a:pt x="114" y="328"/>
                  </a:lnTo>
                  <a:lnTo>
                    <a:pt x="109" y="357"/>
                  </a:lnTo>
                  <a:lnTo>
                    <a:pt x="97" y="335"/>
                  </a:lnTo>
                  <a:lnTo>
                    <a:pt x="109" y="357"/>
                  </a:lnTo>
                  <a:lnTo>
                    <a:pt x="97" y="373"/>
                  </a:lnTo>
                  <a:lnTo>
                    <a:pt x="92" y="373"/>
                  </a:lnTo>
                  <a:lnTo>
                    <a:pt x="92" y="357"/>
                  </a:lnTo>
                  <a:lnTo>
                    <a:pt x="88" y="385"/>
                  </a:lnTo>
                  <a:lnTo>
                    <a:pt x="76" y="368"/>
                  </a:lnTo>
                  <a:lnTo>
                    <a:pt x="76" y="347"/>
                  </a:lnTo>
                  <a:lnTo>
                    <a:pt x="76" y="347"/>
                  </a:lnTo>
                  <a:lnTo>
                    <a:pt x="76" y="347"/>
                  </a:lnTo>
                  <a:close/>
                  <a:moveTo>
                    <a:pt x="177" y="257"/>
                  </a:moveTo>
                  <a:lnTo>
                    <a:pt x="182" y="257"/>
                  </a:lnTo>
                  <a:lnTo>
                    <a:pt x="168" y="246"/>
                  </a:lnTo>
                  <a:lnTo>
                    <a:pt x="177" y="257"/>
                  </a:lnTo>
                  <a:lnTo>
                    <a:pt x="177" y="257"/>
                  </a:lnTo>
                  <a:lnTo>
                    <a:pt x="177" y="257"/>
                  </a:lnTo>
                  <a:close/>
                  <a:moveTo>
                    <a:pt x="182" y="279"/>
                  </a:moveTo>
                  <a:lnTo>
                    <a:pt x="177" y="279"/>
                  </a:lnTo>
                  <a:lnTo>
                    <a:pt x="177" y="274"/>
                  </a:lnTo>
                  <a:lnTo>
                    <a:pt x="182" y="279"/>
                  </a:lnTo>
                  <a:lnTo>
                    <a:pt x="182" y="279"/>
                  </a:lnTo>
                  <a:lnTo>
                    <a:pt x="182" y="279"/>
                  </a:lnTo>
                  <a:close/>
                  <a:moveTo>
                    <a:pt x="177" y="302"/>
                  </a:moveTo>
                  <a:lnTo>
                    <a:pt x="168" y="286"/>
                  </a:lnTo>
                  <a:lnTo>
                    <a:pt x="182" y="286"/>
                  </a:lnTo>
                  <a:lnTo>
                    <a:pt x="177" y="295"/>
                  </a:lnTo>
                  <a:lnTo>
                    <a:pt x="177" y="302"/>
                  </a:lnTo>
                  <a:lnTo>
                    <a:pt x="177" y="302"/>
                  </a:lnTo>
                  <a:lnTo>
                    <a:pt x="177" y="302"/>
                  </a:lnTo>
                  <a:close/>
                  <a:moveTo>
                    <a:pt x="182" y="357"/>
                  </a:moveTo>
                  <a:lnTo>
                    <a:pt x="182" y="352"/>
                  </a:lnTo>
                  <a:lnTo>
                    <a:pt x="182" y="319"/>
                  </a:lnTo>
                  <a:lnTo>
                    <a:pt x="177" y="302"/>
                  </a:lnTo>
                  <a:lnTo>
                    <a:pt x="182" y="295"/>
                  </a:lnTo>
                  <a:lnTo>
                    <a:pt x="182" y="295"/>
                  </a:lnTo>
                  <a:lnTo>
                    <a:pt x="199" y="319"/>
                  </a:lnTo>
                  <a:lnTo>
                    <a:pt x="199" y="347"/>
                  </a:lnTo>
                  <a:lnTo>
                    <a:pt x="182" y="357"/>
                  </a:lnTo>
                  <a:lnTo>
                    <a:pt x="182" y="357"/>
                  </a:lnTo>
                  <a:lnTo>
                    <a:pt x="182" y="357"/>
                  </a:lnTo>
                  <a:close/>
                  <a:moveTo>
                    <a:pt x="248" y="328"/>
                  </a:moveTo>
                  <a:lnTo>
                    <a:pt x="236" y="319"/>
                  </a:lnTo>
                  <a:lnTo>
                    <a:pt x="236" y="302"/>
                  </a:lnTo>
                  <a:lnTo>
                    <a:pt x="248" y="319"/>
                  </a:lnTo>
                  <a:lnTo>
                    <a:pt x="248" y="328"/>
                  </a:lnTo>
                  <a:lnTo>
                    <a:pt x="248" y="328"/>
                  </a:lnTo>
                  <a:lnTo>
                    <a:pt x="248" y="328"/>
                  </a:lnTo>
                  <a:close/>
                  <a:moveTo>
                    <a:pt x="215" y="352"/>
                  </a:moveTo>
                  <a:lnTo>
                    <a:pt x="215" y="312"/>
                  </a:lnTo>
                  <a:lnTo>
                    <a:pt x="220" y="335"/>
                  </a:lnTo>
                  <a:lnTo>
                    <a:pt x="215" y="352"/>
                  </a:lnTo>
                  <a:lnTo>
                    <a:pt x="215" y="352"/>
                  </a:lnTo>
                  <a:lnTo>
                    <a:pt x="215" y="352"/>
                  </a:lnTo>
                  <a:close/>
                  <a:moveTo>
                    <a:pt x="177" y="352"/>
                  </a:moveTo>
                  <a:lnTo>
                    <a:pt x="177" y="352"/>
                  </a:lnTo>
                  <a:lnTo>
                    <a:pt x="182" y="347"/>
                  </a:lnTo>
                  <a:lnTo>
                    <a:pt x="177" y="352"/>
                  </a:lnTo>
                  <a:lnTo>
                    <a:pt x="177" y="352"/>
                  </a:lnTo>
                  <a:lnTo>
                    <a:pt x="177" y="352"/>
                  </a:lnTo>
                  <a:close/>
                  <a:moveTo>
                    <a:pt x="168" y="357"/>
                  </a:moveTo>
                  <a:lnTo>
                    <a:pt x="168" y="352"/>
                  </a:lnTo>
                  <a:lnTo>
                    <a:pt x="177" y="357"/>
                  </a:lnTo>
                  <a:lnTo>
                    <a:pt x="168" y="357"/>
                  </a:lnTo>
                  <a:lnTo>
                    <a:pt x="168" y="357"/>
                  </a:lnTo>
                  <a:lnTo>
                    <a:pt x="168" y="357"/>
                  </a:lnTo>
                  <a:close/>
                  <a:moveTo>
                    <a:pt x="269" y="390"/>
                  </a:moveTo>
                  <a:lnTo>
                    <a:pt x="269" y="373"/>
                  </a:lnTo>
                  <a:lnTo>
                    <a:pt x="274" y="385"/>
                  </a:lnTo>
                  <a:lnTo>
                    <a:pt x="269" y="390"/>
                  </a:lnTo>
                  <a:lnTo>
                    <a:pt x="269" y="390"/>
                  </a:lnTo>
                  <a:lnTo>
                    <a:pt x="269" y="39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35" name="Freeform 399">
              <a:extLst>
                <a:ext uri="{FF2B5EF4-FFF2-40B4-BE49-F238E27FC236}">
                  <a16:creationId xmlns:a16="http://schemas.microsoft.com/office/drawing/2014/main" id="{3839885A-05C1-4F88-B7D5-C62F935F4EF0}"/>
                </a:ext>
              </a:extLst>
            </p:cNvPr>
            <p:cNvSpPr>
              <a:spLocks noEditPoints="1"/>
            </p:cNvSpPr>
            <p:nvPr/>
          </p:nvSpPr>
          <p:spPr bwMode="gray">
            <a:xfrm>
              <a:off x="9387682" y="3196342"/>
              <a:ext cx="259764" cy="576402"/>
            </a:xfrm>
            <a:custGeom>
              <a:avLst/>
              <a:gdLst>
                <a:gd name="T0" fmla="*/ 31 w 631"/>
                <a:gd name="T1" fmla="*/ 552 h 1400"/>
                <a:gd name="T2" fmla="*/ 64 w 631"/>
                <a:gd name="T3" fmla="*/ 448 h 1400"/>
                <a:gd name="T4" fmla="*/ 92 w 631"/>
                <a:gd name="T5" fmla="*/ 354 h 1400"/>
                <a:gd name="T6" fmla="*/ 173 w 631"/>
                <a:gd name="T7" fmla="*/ 243 h 1400"/>
                <a:gd name="T8" fmla="*/ 286 w 631"/>
                <a:gd name="T9" fmla="*/ 94 h 1400"/>
                <a:gd name="T10" fmla="*/ 362 w 631"/>
                <a:gd name="T11" fmla="*/ 23 h 1400"/>
                <a:gd name="T12" fmla="*/ 442 w 631"/>
                <a:gd name="T13" fmla="*/ 73 h 1400"/>
                <a:gd name="T14" fmla="*/ 447 w 631"/>
                <a:gd name="T15" fmla="*/ 205 h 1400"/>
                <a:gd name="T16" fmla="*/ 392 w 631"/>
                <a:gd name="T17" fmla="*/ 276 h 1400"/>
                <a:gd name="T18" fmla="*/ 388 w 631"/>
                <a:gd name="T19" fmla="*/ 366 h 1400"/>
                <a:gd name="T20" fmla="*/ 463 w 631"/>
                <a:gd name="T21" fmla="*/ 387 h 1400"/>
                <a:gd name="T22" fmla="*/ 501 w 631"/>
                <a:gd name="T23" fmla="*/ 448 h 1400"/>
                <a:gd name="T24" fmla="*/ 555 w 631"/>
                <a:gd name="T25" fmla="*/ 536 h 1400"/>
                <a:gd name="T26" fmla="*/ 614 w 631"/>
                <a:gd name="T27" fmla="*/ 548 h 1400"/>
                <a:gd name="T28" fmla="*/ 555 w 631"/>
                <a:gd name="T29" fmla="*/ 625 h 1400"/>
                <a:gd name="T30" fmla="*/ 484 w 631"/>
                <a:gd name="T31" fmla="*/ 647 h 1400"/>
                <a:gd name="T32" fmla="*/ 399 w 631"/>
                <a:gd name="T33" fmla="*/ 680 h 1400"/>
                <a:gd name="T34" fmla="*/ 362 w 631"/>
                <a:gd name="T35" fmla="*/ 758 h 1400"/>
                <a:gd name="T36" fmla="*/ 451 w 631"/>
                <a:gd name="T37" fmla="*/ 923 h 1400"/>
                <a:gd name="T38" fmla="*/ 442 w 631"/>
                <a:gd name="T39" fmla="*/ 996 h 1400"/>
                <a:gd name="T40" fmla="*/ 496 w 631"/>
                <a:gd name="T41" fmla="*/ 1112 h 1400"/>
                <a:gd name="T42" fmla="*/ 506 w 631"/>
                <a:gd name="T43" fmla="*/ 1216 h 1400"/>
                <a:gd name="T44" fmla="*/ 447 w 631"/>
                <a:gd name="T45" fmla="*/ 1388 h 1400"/>
                <a:gd name="T46" fmla="*/ 463 w 631"/>
                <a:gd name="T47" fmla="*/ 1256 h 1400"/>
                <a:gd name="T48" fmla="*/ 447 w 631"/>
                <a:gd name="T49" fmla="*/ 1223 h 1400"/>
                <a:gd name="T50" fmla="*/ 425 w 631"/>
                <a:gd name="T51" fmla="*/ 1088 h 1400"/>
                <a:gd name="T52" fmla="*/ 388 w 631"/>
                <a:gd name="T53" fmla="*/ 907 h 1400"/>
                <a:gd name="T54" fmla="*/ 333 w 631"/>
                <a:gd name="T55" fmla="*/ 869 h 1400"/>
                <a:gd name="T56" fmla="*/ 286 w 631"/>
                <a:gd name="T57" fmla="*/ 918 h 1400"/>
                <a:gd name="T58" fmla="*/ 227 w 631"/>
                <a:gd name="T59" fmla="*/ 940 h 1400"/>
                <a:gd name="T60" fmla="*/ 199 w 631"/>
                <a:gd name="T61" fmla="*/ 963 h 1400"/>
                <a:gd name="T62" fmla="*/ 182 w 631"/>
                <a:gd name="T63" fmla="*/ 940 h 1400"/>
                <a:gd name="T64" fmla="*/ 144 w 631"/>
                <a:gd name="T65" fmla="*/ 947 h 1400"/>
                <a:gd name="T66" fmla="*/ 139 w 631"/>
                <a:gd name="T67" fmla="*/ 737 h 1400"/>
                <a:gd name="T68" fmla="*/ 102 w 631"/>
                <a:gd name="T69" fmla="*/ 670 h 1400"/>
                <a:gd name="T70" fmla="*/ 69 w 631"/>
                <a:gd name="T71" fmla="*/ 659 h 1400"/>
                <a:gd name="T72" fmla="*/ 47 w 631"/>
                <a:gd name="T73" fmla="*/ 642 h 1400"/>
                <a:gd name="T74" fmla="*/ 17 w 631"/>
                <a:gd name="T75" fmla="*/ 602 h 1400"/>
                <a:gd name="T76" fmla="*/ 102 w 631"/>
                <a:gd name="T77" fmla="*/ 687 h 1400"/>
                <a:gd name="T78" fmla="*/ 123 w 631"/>
                <a:gd name="T79" fmla="*/ 725 h 1400"/>
                <a:gd name="T80" fmla="*/ 118 w 631"/>
                <a:gd name="T81" fmla="*/ 703 h 1400"/>
                <a:gd name="T82" fmla="*/ 92 w 631"/>
                <a:gd name="T83" fmla="*/ 737 h 1400"/>
                <a:gd name="T84" fmla="*/ 376 w 631"/>
                <a:gd name="T85" fmla="*/ 935 h 1400"/>
                <a:gd name="T86" fmla="*/ 173 w 631"/>
                <a:gd name="T87" fmla="*/ 940 h 1400"/>
                <a:gd name="T88" fmla="*/ 430 w 631"/>
                <a:gd name="T89" fmla="*/ 1216 h 1400"/>
                <a:gd name="T90" fmla="*/ 430 w 631"/>
                <a:gd name="T91" fmla="*/ 1216 h 1400"/>
                <a:gd name="T92" fmla="*/ 409 w 631"/>
                <a:gd name="T93" fmla="*/ 1216 h 1400"/>
                <a:gd name="T94" fmla="*/ 413 w 631"/>
                <a:gd name="T95" fmla="*/ 1223 h 1400"/>
                <a:gd name="T96" fmla="*/ 442 w 631"/>
                <a:gd name="T97" fmla="*/ 1233 h 1400"/>
                <a:gd name="T98" fmla="*/ 447 w 631"/>
                <a:gd name="T99" fmla="*/ 1256 h 1400"/>
                <a:gd name="T100" fmla="*/ 430 w 631"/>
                <a:gd name="T101" fmla="*/ 1256 h 1400"/>
                <a:gd name="T102" fmla="*/ 447 w 631"/>
                <a:gd name="T103" fmla="*/ 1306 h 1400"/>
                <a:gd name="T104" fmla="*/ 425 w 631"/>
                <a:gd name="T105" fmla="*/ 1332 h 1400"/>
                <a:gd name="T106" fmla="*/ 425 w 631"/>
                <a:gd name="T107" fmla="*/ 1332 h 1400"/>
                <a:gd name="T108" fmla="*/ 399 w 631"/>
                <a:gd name="T109" fmla="*/ 1348 h 1400"/>
                <a:gd name="T110" fmla="*/ 425 w 631"/>
                <a:gd name="T111" fmla="*/ 1384 h 1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1400">
                  <a:moveTo>
                    <a:pt x="10" y="569"/>
                  </a:moveTo>
                  <a:lnTo>
                    <a:pt x="0" y="552"/>
                  </a:lnTo>
                  <a:lnTo>
                    <a:pt x="10" y="548"/>
                  </a:lnTo>
                  <a:lnTo>
                    <a:pt x="17" y="536"/>
                  </a:lnTo>
                  <a:lnTo>
                    <a:pt x="31" y="552"/>
                  </a:lnTo>
                  <a:lnTo>
                    <a:pt x="31" y="552"/>
                  </a:lnTo>
                  <a:lnTo>
                    <a:pt x="31" y="503"/>
                  </a:lnTo>
                  <a:lnTo>
                    <a:pt x="38" y="493"/>
                  </a:lnTo>
                  <a:lnTo>
                    <a:pt x="54" y="498"/>
                  </a:lnTo>
                  <a:lnTo>
                    <a:pt x="64" y="481"/>
                  </a:lnTo>
                  <a:lnTo>
                    <a:pt x="69" y="481"/>
                  </a:lnTo>
                  <a:lnTo>
                    <a:pt x="64" y="448"/>
                  </a:lnTo>
                  <a:lnTo>
                    <a:pt x="69" y="420"/>
                  </a:lnTo>
                  <a:lnTo>
                    <a:pt x="76" y="427"/>
                  </a:lnTo>
                  <a:lnTo>
                    <a:pt x="85" y="411"/>
                  </a:lnTo>
                  <a:lnTo>
                    <a:pt x="85" y="370"/>
                  </a:lnTo>
                  <a:lnTo>
                    <a:pt x="85" y="337"/>
                  </a:lnTo>
                  <a:lnTo>
                    <a:pt x="92" y="354"/>
                  </a:lnTo>
                  <a:lnTo>
                    <a:pt x="106" y="349"/>
                  </a:lnTo>
                  <a:lnTo>
                    <a:pt x="139" y="366"/>
                  </a:lnTo>
                  <a:lnTo>
                    <a:pt x="177" y="266"/>
                  </a:lnTo>
                  <a:lnTo>
                    <a:pt x="177" y="259"/>
                  </a:lnTo>
                  <a:lnTo>
                    <a:pt x="173" y="255"/>
                  </a:lnTo>
                  <a:lnTo>
                    <a:pt x="173" y="243"/>
                  </a:lnTo>
                  <a:lnTo>
                    <a:pt x="194" y="226"/>
                  </a:lnTo>
                  <a:lnTo>
                    <a:pt x="210" y="188"/>
                  </a:lnTo>
                  <a:lnTo>
                    <a:pt x="199" y="172"/>
                  </a:lnTo>
                  <a:lnTo>
                    <a:pt x="210" y="151"/>
                  </a:lnTo>
                  <a:lnTo>
                    <a:pt x="232" y="144"/>
                  </a:lnTo>
                  <a:lnTo>
                    <a:pt x="286" y="94"/>
                  </a:lnTo>
                  <a:lnTo>
                    <a:pt x="317" y="94"/>
                  </a:lnTo>
                  <a:lnTo>
                    <a:pt x="333" y="99"/>
                  </a:lnTo>
                  <a:lnTo>
                    <a:pt x="345" y="111"/>
                  </a:lnTo>
                  <a:lnTo>
                    <a:pt x="333" y="73"/>
                  </a:lnTo>
                  <a:lnTo>
                    <a:pt x="362" y="44"/>
                  </a:lnTo>
                  <a:lnTo>
                    <a:pt x="362" y="23"/>
                  </a:lnTo>
                  <a:lnTo>
                    <a:pt x="371" y="16"/>
                  </a:lnTo>
                  <a:lnTo>
                    <a:pt x="376" y="0"/>
                  </a:lnTo>
                  <a:lnTo>
                    <a:pt x="409" y="23"/>
                  </a:lnTo>
                  <a:lnTo>
                    <a:pt x="413" y="33"/>
                  </a:lnTo>
                  <a:lnTo>
                    <a:pt x="430" y="77"/>
                  </a:lnTo>
                  <a:lnTo>
                    <a:pt x="442" y="73"/>
                  </a:lnTo>
                  <a:lnTo>
                    <a:pt x="451" y="77"/>
                  </a:lnTo>
                  <a:lnTo>
                    <a:pt x="463" y="134"/>
                  </a:lnTo>
                  <a:lnTo>
                    <a:pt x="463" y="184"/>
                  </a:lnTo>
                  <a:lnTo>
                    <a:pt x="447" y="188"/>
                  </a:lnTo>
                  <a:lnTo>
                    <a:pt x="451" y="205"/>
                  </a:lnTo>
                  <a:lnTo>
                    <a:pt x="447" y="205"/>
                  </a:lnTo>
                  <a:lnTo>
                    <a:pt x="430" y="226"/>
                  </a:lnTo>
                  <a:lnTo>
                    <a:pt x="425" y="226"/>
                  </a:lnTo>
                  <a:lnTo>
                    <a:pt x="409" y="255"/>
                  </a:lnTo>
                  <a:lnTo>
                    <a:pt x="399" y="259"/>
                  </a:lnTo>
                  <a:lnTo>
                    <a:pt x="392" y="255"/>
                  </a:lnTo>
                  <a:lnTo>
                    <a:pt x="392" y="276"/>
                  </a:lnTo>
                  <a:lnTo>
                    <a:pt x="376" y="292"/>
                  </a:lnTo>
                  <a:lnTo>
                    <a:pt x="376" y="316"/>
                  </a:lnTo>
                  <a:lnTo>
                    <a:pt x="388" y="316"/>
                  </a:lnTo>
                  <a:lnTo>
                    <a:pt x="392" y="337"/>
                  </a:lnTo>
                  <a:lnTo>
                    <a:pt x="376" y="354"/>
                  </a:lnTo>
                  <a:lnTo>
                    <a:pt x="388" y="366"/>
                  </a:lnTo>
                  <a:lnTo>
                    <a:pt x="413" y="337"/>
                  </a:lnTo>
                  <a:lnTo>
                    <a:pt x="468" y="337"/>
                  </a:lnTo>
                  <a:lnTo>
                    <a:pt x="451" y="354"/>
                  </a:lnTo>
                  <a:lnTo>
                    <a:pt x="451" y="366"/>
                  </a:lnTo>
                  <a:lnTo>
                    <a:pt x="463" y="370"/>
                  </a:lnTo>
                  <a:lnTo>
                    <a:pt x="463" y="387"/>
                  </a:lnTo>
                  <a:lnTo>
                    <a:pt x="468" y="394"/>
                  </a:lnTo>
                  <a:lnTo>
                    <a:pt x="468" y="411"/>
                  </a:lnTo>
                  <a:lnTo>
                    <a:pt x="484" y="420"/>
                  </a:lnTo>
                  <a:lnTo>
                    <a:pt x="517" y="420"/>
                  </a:lnTo>
                  <a:lnTo>
                    <a:pt x="517" y="427"/>
                  </a:lnTo>
                  <a:lnTo>
                    <a:pt x="501" y="448"/>
                  </a:lnTo>
                  <a:lnTo>
                    <a:pt x="506" y="465"/>
                  </a:lnTo>
                  <a:lnTo>
                    <a:pt x="484" y="493"/>
                  </a:lnTo>
                  <a:lnTo>
                    <a:pt x="550" y="498"/>
                  </a:lnTo>
                  <a:lnTo>
                    <a:pt x="550" y="519"/>
                  </a:lnTo>
                  <a:lnTo>
                    <a:pt x="555" y="531"/>
                  </a:lnTo>
                  <a:lnTo>
                    <a:pt x="555" y="536"/>
                  </a:lnTo>
                  <a:lnTo>
                    <a:pt x="560" y="548"/>
                  </a:lnTo>
                  <a:lnTo>
                    <a:pt x="576" y="536"/>
                  </a:lnTo>
                  <a:lnTo>
                    <a:pt x="588" y="548"/>
                  </a:lnTo>
                  <a:lnTo>
                    <a:pt x="624" y="519"/>
                  </a:lnTo>
                  <a:lnTo>
                    <a:pt x="631" y="531"/>
                  </a:lnTo>
                  <a:lnTo>
                    <a:pt x="614" y="548"/>
                  </a:lnTo>
                  <a:lnTo>
                    <a:pt x="602" y="552"/>
                  </a:lnTo>
                  <a:lnTo>
                    <a:pt x="588" y="576"/>
                  </a:lnTo>
                  <a:lnTo>
                    <a:pt x="588" y="585"/>
                  </a:lnTo>
                  <a:lnTo>
                    <a:pt x="593" y="585"/>
                  </a:lnTo>
                  <a:lnTo>
                    <a:pt x="560" y="592"/>
                  </a:lnTo>
                  <a:lnTo>
                    <a:pt x="555" y="625"/>
                  </a:lnTo>
                  <a:lnTo>
                    <a:pt x="550" y="614"/>
                  </a:lnTo>
                  <a:lnTo>
                    <a:pt x="534" y="625"/>
                  </a:lnTo>
                  <a:lnTo>
                    <a:pt x="517" y="625"/>
                  </a:lnTo>
                  <a:lnTo>
                    <a:pt x="517" y="642"/>
                  </a:lnTo>
                  <a:lnTo>
                    <a:pt x="506" y="642"/>
                  </a:lnTo>
                  <a:lnTo>
                    <a:pt x="484" y="647"/>
                  </a:lnTo>
                  <a:lnTo>
                    <a:pt x="480" y="663"/>
                  </a:lnTo>
                  <a:lnTo>
                    <a:pt x="468" y="663"/>
                  </a:lnTo>
                  <a:lnTo>
                    <a:pt x="425" y="670"/>
                  </a:lnTo>
                  <a:lnTo>
                    <a:pt x="409" y="663"/>
                  </a:lnTo>
                  <a:lnTo>
                    <a:pt x="409" y="680"/>
                  </a:lnTo>
                  <a:lnTo>
                    <a:pt x="399" y="680"/>
                  </a:lnTo>
                  <a:lnTo>
                    <a:pt x="392" y="696"/>
                  </a:lnTo>
                  <a:lnTo>
                    <a:pt x="392" y="720"/>
                  </a:lnTo>
                  <a:lnTo>
                    <a:pt x="388" y="725"/>
                  </a:lnTo>
                  <a:lnTo>
                    <a:pt x="392" y="758"/>
                  </a:lnTo>
                  <a:lnTo>
                    <a:pt x="371" y="770"/>
                  </a:lnTo>
                  <a:lnTo>
                    <a:pt x="362" y="758"/>
                  </a:lnTo>
                  <a:lnTo>
                    <a:pt x="371" y="779"/>
                  </a:lnTo>
                  <a:lnTo>
                    <a:pt x="388" y="779"/>
                  </a:lnTo>
                  <a:lnTo>
                    <a:pt x="392" y="824"/>
                  </a:lnTo>
                  <a:lnTo>
                    <a:pt x="447" y="881"/>
                  </a:lnTo>
                  <a:lnTo>
                    <a:pt x="442" y="890"/>
                  </a:lnTo>
                  <a:lnTo>
                    <a:pt x="451" y="923"/>
                  </a:lnTo>
                  <a:lnTo>
                    <a:pt x="468" y="918"/>
                  </a:lnTo>
                  <a:lnTo>
                    <a:pt x="468" y="918"/>
                  </a:lnTo>
                  <a:lnTo>
                    <a:pt x="468" y="940"/>
                  </a:lnTo>
                  <a:lnTo>
                    <a:pt x="451" y="947"/>
                  </a:lnTo>
                  <a:lnTo>
                    <a:pt x="447" y="996"/>
                  </a:lnTo>
                  <a:lnTo>
                    <a:pt x="442" y="996"/>
                  </a:lnTo>
                  <a:lnTo>
                    <a:pt x="425" y="1001"/>
                  </a:lnTo>
                  <a:lnTo>
                    <a:pt x="425" y="1018"/>
                  </a:lnTo>
                  <a:lnTo>
                    <a:pt x="430" y="1046"/>
                  </a:lnTo>
                  <a:lnTo>
                    <a:pt x="451" y="1072"/>
                  </a:lnTo>
                  <a:lnTo>
                    <a:pt x="480" y="1088"/>
                  </a:lnTo>
                  <a:lnTo>
                    <a:pt x="496" y="1112"/>
                  </a:lnTo>
                  <a:lnTo>
                    <a:pt x="496" y="1157"/>
                  </a:lnTo>
                  <a:lnTo>
                    <a:pt x="484" y="1157"/>
                  </a:lnTo>
                  <a:lnTo>
                    <a:pt x="484" y="1162"/>
                  </a:lnTo>
                  <a:lnTo>
                    <a:pt x="496" y="1183"/>
                  </a:lnTo>
                  <a:lnTo>
                    <a:pt x="506" y="1199"/>
                  </a:lnTo>
                  <a:lnTo>
                    <a:pt x="506" y="1216"/>
                  </a:lnTo>
                  <a:lnTo>
                    <a:pt x="522" y="1256"/>
                  </a:lnTo>
                  <a:lnTo>
                    <a:pt x="496" y="1311"/>
                  </a:lnTo>
                  <a:lnTo>
                    <a:pt x="463" y="1332"/>
                  </a:lnTo>
                  <a:lnTo>
                    <a:pt x="463" y="1348"/>
                  </a:lnTo>
                  <a:lnTo>
                    <a:pt x="463" y="1360"/>
                  </a:lnTo>
                  <a:lnTo>
                    <a:pt x="447" y="1388"/>
                  </a:lnTo>
                  <a:lnTo>
                    <a:pt x="442" y="1332"/>
                  </a:lnTo>
                  <a:lnTo>
                    <a:pt x="447" y="1332"/>
                  </a:lnTo>
                  <a:lnTo>
                    <a:pt x="451" y="1322"/>
                  </a:lnTo>
                  <a:lnTo>
                    <a:pt x="463" y="1266"/>
                  </a:lnTo>
                  <a:lnTo>
                    <a:pt x="468" y="1266"/>
                  </a:lnTo>
                  <a:lnTo>
                    <a:pt x="463" y="1256"/>
                  </a:lnTo>
                  <a:lnTo>
                    <a:pt x="451" y="1266"/>
                  </a:lnTo>
                  <a:lnTo>
                    <a:pt x="447" y="1256"/>
                  </a:lnTo>
                  <a:lnTo>
                    <a:pt x="451" y="1240"/>
                  </a:lnTo>
                  <a:lnTo>
                    <a:pt x="451" y="1223"/>
                  </a:lnTo>
                  <a:lnTo>
                    <a:pt x="451" y="1223"/>
                  </a:lnTo>
                  <a:lnTo>
                    <a:pt x="447" y="1223"/>
                  </a:lnTo>
                  <a:lnTo>
                    <a:pt x="451" y="1216"/>
                  </a:lnTo>
                  <a:lnTo>
                    <a:pt x="447" y="1211"/>
                  </a:lnTo>
                  <a:lnTo>
                    <a:pt x="451" y="1195"/>
                  </a:lnTo>
                  <a:lnTo>
                    <a:pt x="447" y="1157"/>
                  </a:lnTo>
                  <a:lnTo>
                    <a:pt x="430" y="1112"/>
                  </a:lnTo>
                  <a:lnTo>
                    <a:pt x="425" y="1088"/>
                  </a:lnTo>
                  <a:lnTo>
                    <a:pt x="413" y="1129"/>
                  </a:lnTo>
                  <a:lnTo>
                    <a:pt x="413" y="1084"/>
                  </a:lnTo>
                  <a:lnTo>
                    <a:pt x="392" y="1029"/>
                  </a:lnTo>
                  <a:lnTo>
                    <a:pt x="388" y="956"/>
                  </a:lnTo>
                  <a:lnTo>
                    <a:pt x="376" y="940"/>
                  </a:lnTo>
                  <a:lnTo>
                    <a:pt x="388" y="907"/>
                  </a:lnTo>
                  <a:lnTo>
                    <a:pt x="392" y="907"/>
                  </a:lnTo>
                  <a:lnTo>
                    <a:pt x="362" y="907"/>
                  </a:lnTo>
                  <a:lnTo>
                    <a:pt x="345" y="864"/>
                  </a:lnTo>
                  <a:lnTo>
                    <a:pt x="333" y="836"/>
                  </a:lnTo>
                  <a:lnTo>
                    <a:pt x="324" y="864"/>
                  </a:lnTo>
                  <a:lnTo>
                    <a:pt x="333" y="869"/>
                  </a:lnTo>
                  <a:lnTo>
                    <a:pt x="324" y="890"/>
                  </a:lnTo>
                  <a:lnTo>
                    <a:pt x="307" y="907"/>
                  </a:lnTo>
                  <a:lnTo>
                    <a:pt x="291" y="907"/>
                  </a:lnTo>
                  <a:lnTo>
                    <a:pt x="286" y="902"/>
                  </a:lnTo>
                  <a:lnTo>
                    <a:pt x="286" y="885"/>
                  </a:lnTo>
                  <a:lnTo>
                    <a:pt x="286" y="918"/>
                  </a:lnTo>
                  <a:lnTo>
                    <a:pt x="269" y="918"/>
                  </a:lnTo>
                  <a:lnTo>
                    <a:pt x="269" y="923"/>
                  </a:lnTo>
                  <a:lnTo>
                    <a:pt x="253" y="940"/>
                  </a:lnTo>
                  <a:lnTo>
                    <a:pt x="232" y="963"/>
                  </a:lnTo>
                  <a:lnTo>
                    <a:pt x="215" y="963"/>
                  </a:lnTo>
                  <a:lnTo>
                    <a:pt x="227" y="940"/>
                  </a:lnTo>
                  <a:lnTo>
                    <a:pt x="215" y="963"/>
                  </a:lnTo>
                  <a:lnTo>
                    <a:pt x="210" y="963"/>
                  </a:lnTo>
                  <a:lnTo>
                    <a:pt x="210" y="940"/>
                  </a:lnTo>
                  <a:lnTo>
                    <a:pt x="215" y="940"/>
                  </a:lnTo>
                  <a:lnTo>
                    <a:pt x="210" y="940"/>
                  </a:lnTo>
                  <a:lnTo>
                    <a:pt x="199" y="963"/>
                  </a:lnTo>
                  <a:lnTo>
                    <a:pt x="182" y="963"/>
                  </a:lnTo>
                  <a:lnTo>
                    <a:pt x="182" y="940"/>
                  </a:lnTo>
                  <a:lnTo>
                    <a:pt x="199" y="935"/>
                  </a:lnTo>
                  <a:lnTo>
                    <a:pt x="173" y="956"/>
                  </a:lnTo>
                  <a:lnTo>
                    <a:pt x="173" y="956"/>
                  </a:lnTo>
                  <a:lnTo>
                    <a:pt x="182" y="940"/>
                  </a:lnTo>
                  <a:lnTo>
                    <a:pt x="173" y="947"/>
                  </a:lnTo>
                  <a:lnTo>
                    <a:pt x="177" y="940"/>
                  </a:lnTo>
                  <a:lnTo>
                    <a:pt x="173" y="923"/>
                  </a:lnTo>
                  <a:lnTo>
                    <a:pt x="161" y="923"/>
                  </a:lnTo>
                  <a:lnTo>
                    <a:pt x="161" y="940"/>
                  </a:lnTo>
                  <a:lnTo>
                    <a:pt x="144" y="947"/>
                  </a:lnTo>
                  <a:lnTo>
                    <a:pt x="144" y="923"/>
                  </a:lnTo>
                  <a:lnTo>
                    <a:pt x="173" y="829"/>
                  </a:lnTo>
                  <a:lnTo>
                    <a:pt x="156" y="774"/>
                  </a:lnTo>
                  <a:lnTo>
                    <a:pt x="144" y="758"/>
                  </a:lnTo>
                  <a:lnTo>
                    <a:pt x="144" y="741"/>
                  </a:lnTo>
                  <a:lnTo>
                    <a:pt x="139" y="737"/>
                  </a:lnTo>
                  <a:lnTo>
                    <a:pt x="128" y="737"/>
                  </a:lnTo>
                  <a:lnTo>
                    <a:pt x="128" y="713"/>
                  </a:lnTo>
                  <a:lnTo>
                    <a:pt x="123" y="713"/>
                  </a:lnTo>
                  <a:lnTo>
                    <a:pt x="118" y="703"/>
                  </a:lnTo>
                  <a:lnTo>
                    <a:pt x="123" y="696"/>
                  </a:lnTo>
                  <a:lnTo>
                    <a:pt x="102" y="670"/>
                  </a:lnTo>
                  <a:lnTo>
                    <a:pt x="106" y="659"/>
                  </a:lnTo>
                  <a:lnTo>
                    <a:pt x="102" y="663"/>
                  </a:lnTo>
                  <a:lnTo>
                    <a:pt x="85" y="647"/>
                  </a:lnTo>
                  <a:lnTo>
                    <a:pt x="69" y="647"/>
                  </a:lnTo>
                  <a:lnTo>
                    <a:pt x="76" y="663"/>
                  </a:lnTo>
                  <a:lnTo>
                    <a:pt x="69" y="659"/>
                  </a:lnTo>
                  <a:lnTo>
                    <a:pt x="69" y="663"/>
                  </a:lnTo>
                  <a:lnTo>
                    <a:pt x="54" y="642"/>
                  </a:lnTo>
                  <a:lnTo>
                    <a:pt x="69" y="642"/>
                  </a:lnTo>
                  <a:lnTo>
                    <a:pt x="54" y="642"/>
                  </a:lnTo>
                  <a:lnTo>
                    <a:pt x="64" y="609"/>
                  </a:lnTo>
                  <a:lnTo>
                    <a:pt x="47" y="642"/>
                  </a:lnTo>
                  <a:lnTo>
                    <a:pt x="38" y="630"/>
                  </a:lnTo>
                  <a:lnTo>
                    <a:pt x="47" y="625"/>
                  </a:lnTo>
                  <a:lnTo>
                    <a:pt x="47" y="614"/>
                  </a:lnTo>
                  <a:lnTo>
                    <a:pt x="31" y="602"/>
                  </a:lnTo>
                  <a:lnTo>
                    <a:pt x="38" y="630"/>
                  </a:lnTo>
                  <a:lnTo>
                    <a:pt x="17" y="602"/>
                  </a:lnTo>
                  <a:lnTo>
                    <a:pt x="10" y="569"/>
                  </a:lnTo>
                  <a:lnTo>
                    <a:pt x="10" y="569"/>
                  </a:lnTo>
                  <a:lnTo>
                    <a:pt x="10" y="569"/>
                  </a:lnTo>
                  <a:close/>
                  <a:moveTo>
                    <a:pt x="123" y="696"/>
                  </a:moveTo>
                  <a:lnTo>
                    <a:pt x="118" y="703"/>
                  </a:lnTo>
                  <a:lnTo>
                    <a:pt x="102" y="687"/>
                  </a:lnTo>
                  <a:lnTo>
                    <a:pt x="106" y="687"/>
                  </a:lnTo>
                  <a:lnTo>
                    <a:pt x="123" y="696"/>
                  </a:lnTo>
                  <a:lnTo>
                    <a:pt x="123" y="696"/>
                  </a:lnTo>
                  <a:lnTo>
                    <a:pt x="123" y="696"/>
                  </a:lnTo>
                  <a:close/>
                  <a:moveTo>
                    <a:pt x="118" y="703"/>
                  </a:moveTo>
                  <a:lnTo>
                    <a:pt x="123" y="725"/>
                  </a:lnTo>
                  <a:lnTo>
                    <a:pt x="123" y="737"/>
                  </a:lnTo>
                  <a:lnTo>
                    <a:pt x="106" y="725"/>
                  </a:lnTo>
                  <a:lnTo>
                    <a:pt x="92" y="696"/>
                  </a:lnTo>
                  <a:lnTo>
                    <a:pt x="92" y="696"/>
                  </a:lnTo>
                  <a:lnTo>
                    <a:pt x="106" y="703"/>
                  </a:lnTo>
                  <a:lnTo>
                    <a:pt x="118" y="703"/>
                  </a:lnTo>
                  <a:lnTo>
                    <a:pt x="118" y="703"/>
                  </a:lnTo>
                  <a:lnTo>
                    <a:pt x="118" y="703"/>
                  </a:lnTo>
                  <a:close/>
                  <a:moveTo>
                    <a:pt x="102" y="737"/>
                  </a:moveTo>
                  <a:lnTo>
                    <a:pt x="106" y="737"/>
                  </a:lnTo>
                  <a:lnTo>
                    <a:pt x="106" y="753"/>
                  </a:lnTo>
                  <a:lnTo>
                    <a:pt x="92" y="737"/>
                  </a:lnTo>
                  <a:lnTo>
                    <a:pt x="102" y="737"/>
                  </a:lnTo>
                  <a:lnTo>
                    <a:pt x="102" y="737"/>
                  </a:lnTo>
                  <a:lnTo>
                    <a:pt x="102" y="737"/>
                  </a:lnTo>
                  <a:close/>
                  <a:moveTo>
                    <a:pt x="376" y="907"/>
                  </a:moveTo>
                  <a:lnTo>
                    <a:pt x="376" y="918"/>
                  </a:lnTo>
                  <a:lnTo>
                    <a:pt x="376" y="935"/>
                  </a:lnTo>
                  <a:lnTo>
                    <a:pt x="371" y="923"/>
                  </a:lnTo>
                  <a:lnTo>
                    <a:pt x="376" y="907"/>
                  </a:lnTo>
                  <a:lnTo>
                    <a:pt x="376" y="907"/>
                  </a:lnTo>
                  <a:lnTo>
                    <a:pt x="376" y="907"/>
                  </a:lnTo>
                  <a:close/>
                  <a:moveTo>
                    <a:pt x="173" y="935"/>
                  </a:moveTo>
                  <a:lnTo>
                    <a:pt x="173" y="940"/>
                  </a:lnTo>
                  <a:lnTo>
                    <a:pt x="156" y="956"/>
                  </a:lnTo>
                  <a:lnTo>
                    <a:pt x="156" y="947"/>
                  </a:lnTo>
                  <a:lnTo>
                    <a:pt x="173" y="935"/>
                  </a:lnTo>
                  <a:lnTo>
                    <a:pt x="173" y="935"/>
                  </a:lnTo>
                  <a:lnTo>
                    <a:pt x="173" y="935"/>
                  </a:lnTo>
                  <a:close/>
                  <a:moveTo>
                    <a:pt x="430" y="1216"/>
                  </a:moveTo>
                  <a:lnTo>
                    <a:pt x="430" y="1195"/>
                  </a:lnTo>
                  <a:lnTo>
                    <a:pt x="442" y="1195"/>
                  </a:lnTo>
                  <a:lnTo>
                    <a:pt x="442" y="1211"/>
                  </a:lnTo>
                  <a:lnTo>
                    <a:pt x="430" y="1216"/>
                  </a:lnTo>
                  <a:lnTo>
                    <a:pt x="430" y="1216"/>
                  </a:lnTo>
                  <a:lnTo>
                    <a:pt x="430" y="1216"/>
                  </a:lnTo>
                  <a:lnTo>
                    <a:pt x="430" y="1216"/>
                  </a:lnTo>
                  <a:close/>
                  <a:moveTo>
                    <a:pt x="409" y="1216"/>
                  </a:moveTo>
                  <a:lnTo>
                    <a:pt x="399" y="1216"/>
                  </a:lnTo>
                  <a:lnTo>
                    <a:pt x="413" y="1211"/>
                  </a:lnTo>
                  <a:lnTo>
                    <a:pt x="409" y="1216"/>
                  </a:lnTo>
                  <a:lnTo>
                    <a:pt x="409" y="1216"/>
                  </a:lnTo>
                  <a:lnTo>
                    <a:pt x="409" y="1216"/>
                  </a:lnTo>
                  <a:close/>
                  <a:moveTo>
                    <a:pt x="413" y="1223"/>
                  </a:moveTo>
                  <a:lnTo>
                    <a:pt x="409" y="1216"/>
                  </a:lnTo>
                  <a:lnTo>
                    <a:pt x="413" y="1216"/>
                  </a:lnTo>
                  <a:lnTo>
                    <a:pt x="413" y="1233"/>
                  </a:lnTo>
                  <a:lnTo>
                    <a:pt x="413" y="1223"/>
                  </a:lnTo>
                  <a:lnTo>
                    <a:pt x="413" y="1223"/>
                  </a:lnTo>
                  <a:lnTo>
                    <a:pt x="413" y="1223"/>
                  </a:lnTo>
                  <a:close/>
                  <a:moveTo>
                    <a:pt x="447" y="1240"/>
                  </a:moveTo>
                  <a:lnTo>
                    <a:pt x="451" y="1249"/>
                  </a:lnTo>
                  <a:lnTo>
                    <a:pt x="442" y="1249"/>
                  </a:lnTo>
                  <a:lnTo>
                    <a:pt x="442" y="1233"/>
                  </a:lnTo>
                  <a:lnTo>
                    <a:pt x="447" y="1240"/>
                  </a:lnTo>
                  <a:lnTo>
                    <a:pt x="447" y="1240"/>
                  </a:lnTo>
                  <a:lnTo>
                    <a:pt x="447" y="1240"/>
                  </a:lnTo>
                  <a:close/>
                  <a:moveTo>
                    <a:pt x="442" y="1273"/>
                  </a:moveTo>
                  <a:lnTo>
                    <a:pt x="430" y="1256"/>
                  </a:lnTo>
                  <a:lnTo>
                    <a:pt x="447" y="1256"/>
                  </a:lnTo>
                  <a:lnTo>
                    <a:pt x="447" y="1273"/>
                  </a:lnTo>
                  <a:lnTo>
                    <a:pt x="442" y="1273"/>
                  </a:lnTo>
                  <a:lnTo>
                    <a:pt x="442" y="1273"/>
                  </a:lnTo>
                  <a:lnTo>
                    <a:pt x="442" y="1273"/>
                  </a:lnTo>
                  <a:close/>
                  <a:moveTo>
                    <a:pt x="413" y="1277"/>
                  </a:moveTo>
                  <a:lnTo>
                    <a:pt x="430" y="1256"/>
                  </a:lnTo>
                  <a:lnTo>
                    <a:pt x="425" y="1277"/>
                  </a:lnTo>
                  <a:lnTo>
                    <a:pt x="413" y="1277"/>
                  </a:lnTo>
                  <a:lnTo>
                    <a:pt x="413" y="1277"/>
                  </a:lnTo>
                  <a:lnTo>
                    <a:pt x="413" y="1277"/>
                  </a:lnTo>
                  <a:close/>
                  <a:moveTo>
                    <a:pt x="442" y="1311"/>
                  </a:moveTo>
                  <a:lnTo>
                    <a:pt x="447" y="1306"/>
                  </a:lnTo>
                  <a:lnTo>
                    <a:pt x="447" y="1322"/>
                  </a:lnTo>
                  <a:lnTo>
                    <a:pt x="442" y="1311"/>
                  </a:lnTo>
                  <a:lnTo>
                    <a:pt x="442" y="1311"/>
                  </a:lnTo>
                  <a:lnTo>
                    <a:pt x="442" y="1311"/>
                  </a:lnTo>
                  <a:close/>
                  <a:moveTo>
                    <a:pt x="425" y="1332"/>
                  </a:moveTo>
                  <a:lnTo>
                    <a:pt x="425" y="1332"/>
                  </a:lnTo>
                  <a:lnTo>
                    <a:pt x="413" y="1322"/>
                  </a:lnTo>
                  <a:lnTo>
                    <a:pt x="413" y="1322"/>
                  </a:lnTo>
                  <a:lnTo>
                    <a:pt x="413" y="1311"/>
                  </a:lnTo>
                  <a:lnTo>
                    <a:pt x="425" y="1332"/>
                  </a:lnTo>
                  <a:lnTo>
                    <a:pt x="425" y="1332"/>
                  </a:lnTo>
                  <a:lnTo>
                    <a:pt x="425" y="1332"/>
                  </a:lnTo>
                  <a:close/>
                  <a:moveTo>
                    <a:pt x="399" y="1348"/>
                  </a:moveTo>
                  <a:lnTo>
                    <a:pt x="399" y="1360"/>
                  </a:lnTo>
                  <a:lnTo>
                    <a:pt x="399" y="1348"/>
                  </a:lnTo>
                  <a:lnTo>
                    <a:pt x="399" y="1348"/>
                  </a:lnTo>
                  <a:lnTo>
                    <a:pt x="399" y="1348"/>
                  </a:lnTo>
                  <a:lnTo>
                    <a:pt x="399" y="1348"/>
                  </a:lnTo>
                  <a:close/>
                  <a:moveTo>
                    <a:pt x="425" y="1384"/>
                  </a:moveTo>
                  <a:lnTo>
                    <a:pt x="413" y="1400"/>
                  </a:lnTo>
                  <a:lnTo>
                    <a:pt x="425" y="1384"/>
                  </a:lnTo>
                  <a:lnTo>
                    <a:pt x="425" y="1384"/>
                  </a:lnTo>
                  <a:lnTo>
                    <a:pt x="425" y="1384"/>
                  </a:lnTo>
                  <a:lnTo>
                    <a:pt x="425" y="138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39" name="Freeform 404">
              <a:extLst>
                <a:ext uri="{FF2B5EF4-FFF2-40B4-BE49-F238E27FC236}">
                  <a16:creationId xmlns:a16="http://schemas.microsoft.com/office/drawing/2014/main" id="{ACAE22E3-9528-4847-AA47-3E84C7F50D90}"/>
                </a:ext>
              </a:extLst>
            </p:cNvPr>
            <p:cNvSpPr>
              <a:spLocks/>
            </p:cNvSpPr>
            <p:nvPr/>
          </p:nvSpPr>
          <p:spPr bwMode="gray">
            <a:xfrm>
              <a:off x="9288470" y="3202106"/>
              <a:ext cx="97154" cy="52288"/>
            </a:xfrm>
            <a:custGeom>
              <a:avLst/>
              <a:gdLst>
                <a:gd name="T0" fmla="*/ 5 w 236"/>
                <a:gd name="T1" fmla="*/ 78 h 127"/>
                <a:gd name="T2" fmla="*/ 55 w 236"/>
                <a:gd name="T3" fmla="*/ 21 h 127"/>
                <a:gd name="T4" fmla="*/ 88 w 236"/>
                <a:gd name="T5" fmla="*/ 0 h 127"/>
                <a:gd name="T6" fmla="*/ 116 w 236"/>
                <a:gd name="T7" fmla="*/ 4 h 127"/>
                <a:gd name="T8" fmla="*/ 116 w 236"/>
                <a:gd name="T9" fmla="*/ 21 h 127"/>
                <a:gd name="T10" fmla="*/ 166 w 236"/>
                <a:gd name="T11" fmla="*/ 28 h 127"/>
                <a:gd name="T12" fmla="*/ 182 w 236"/>
                <a:gd name="T13" fmla="*/ 21 h 127"/>
                <a:gd name="T14" fmla="*/ 203 w 236"/>
                <a:gd name="T15" fmla="*/ 28 h 127"/>
                <a:gd name="T16" fmla="*/ 203 w 236"/>
                <a:gd name="T17" fmla="*/ 45 h 127"/>
                <a:gd name="T18" fmla="*/ 203 w 236"/>
                <a:gd name="T19" fmla="*/ 54 h 127"/>
                <a:gd name="T20" fmla="*/ 203 w 236"/>
                <a:gd name="T21" fmla="*/ 61 h 127"/>
                <a:gd name="T22" fmla="*/ 225 w 236"/>
                <a:gd name="T23" fmla="*/ 61 h 127"/>
                <a:gd name="T24" fmla="*/ 236 w 236"/>
                <a:gd name="T25" fmla="*/ 78 h 127"/>
                <a:gd name="T26" fmla="*/ 225 w 236"/>
                <a:gd name="T27" fmla="*/ 94 h 127"/>
                <a:gd name="T28" fmla="*/ 236 w 236"/>
                <a:gd name="T29" fmla="*/ 111 h 127"/>
                <a:gd name="T30" fmla="*/ 236 w 236"/>
                <a:gd name="T31" fmla="*/ 111 h 127"/>
                <a:gd name="T32" fmla="*/ 199 w 236"/>
                <a:gd name="T33" fmla="*/ 118 h 127"/>
                <a:gd name="T34" fmla="*/ 187 w 236"/>
                <a:gd name="T35" fmla="*/ 111 h 127"/>
                <a:gd name="T36" fmla="*/ 182 w 236"/>
                <a:gd name="T37" fmla="*/ 118 h 127"/>
                <a:gd name="T38" fmla="*/ 142 w 236"/>
                <a:gd name="T39" fmla="*/ 118 h 127"/>
                <a:gd name="T40" fmla="*/ 116 w 236"/>
                <a:gd name="T41" fmla="*/ 111 h 127"/>
                <a:gd name="T42" fmla="*/ 92 w 236"/>
                <a:gd name="T43" fmla="*/ 127 h 127"/>
                <a:gd name="T44" fmla="*/ 62 w 236"/>
                <a:gd name="T45" fmla="*/ 127 h 127"/>
                <a:gd name="T46" fmla="*/ 38 w 236"/>
                <a:gd name="T47" fmla="*/ 118 h 127"/>
                <a:gd name="T48" fmla="*/ 21 w 236"/>
                <a:gd name="T49" fmla="*/ 118 h 127"/>
                <a:gd name="T50" fmla="*/ 5 w 236"/>
                <a:gd name="T51" fmla="*/ 99 h 127"/>
                <a:gd name="T52" fmla="*/ 0 w 236"/>
                <a:gd name="T53" fmla="*/ 94 h 127"/>
                <a:gd name="T54" fmla="*/ 5 w 236"/>
                <a:gd name="T55" fmla="*/ 78 h 127"/>
                <a:gd name="T56" fmla="*/ 5 w 236"/>
                <a:gd name="T57" fmla="*/ 78 h 127"/>
                <a:gd name="T58" fmla="*/ 5 w 236"/>
                <a:gd name="T59" fmla="*/ 7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6" h="127">
                  <a:moveTo>
                    <a:pt x="5" y="78"/>
                  </a:moveTo>
                  <a:lnTo>
                    <a:pt x="55" y="21"/>
                  </a:lnTo>
                  <a:lnTo>
                    <a:pt x="88" y="0"/>
                  </a:lnTo>
                  <a:lnTo>
                    <a:pt x="116" y="4"/>
                  </a:lnTo>
                  <a:lnTo>
                    <a:pt x="116" y="21"/>
                  </a:lnTo>
                  <a:lnTo>
                    <a:pt x="166" y="28"/>
                  </a:lnTo>
                  <a:lnTo>
                    <a:pt x="182" y="21"/>
                  </a:lnTo>
                  <a:lnTo>
                    <a:pt x="203" y="28"/>
                  </a:lnTo>
                  <a:lnTo>
                    <a:pt x="203" y="45"/>
                  </a:lnTo>
                  <a:lnTo>
                    <a:pt x="203" y="54"/>
                  </a:lnTo>
                  <a:lnTo>
                    <a:pt x="203" y="61"/>
                  </a:lnTo>
                  <a:lnTo>
                    <a:pt x="225" y="61"/>
                  </a:lnTo>
                  <a:lnTo>
                    <a:pt x="236" y="78"/>
                  </a:lnTo>
                  <a:lnTo>
                    <a:pt x="225" y="94"/>
                  </a:lnTo>
                  <a:lnTo>
                    <a:pt x="236" y="111"/>
                  </a:lnTo>
                  <a:lnTo>
                    <a:pt x="236" y="111"/>
                  </a:lnTo>
                  <a:lnTo>
                    <a:pt x="199" y="118"/>
                  </a:lnTo>
                  <a:lnTo>
                    <a:pt x="187" y="111"/>
                  </a:lnTo>
                  <a:lnTo>
                    <a:pt x="182" y="118"/>
                  </a:lnTo>
                  <a:lnTo>
                    <a:pt x="142" y="118"/>
                  </a:lnTo>
                  <a:lnTo>
                    <a:pt x="116" y="111"/>
                  </a:lnTo>
                  <a:lnTo>
                    <a:pt x="92" y="127"/>
                  </a:lnTo>
                  <a:lnTo>
                    <a:pt x="62" y="127"/>
                  </a:lnTo>
                  <a:lnTo>
                    <a:pt x="38" y="118"/>
                  </a:lnTo>
                  <a:lnTo>
                    <a:pt x="21" y="118"/>
                  </a:lnTo>
                  <a:lnTo>
                    <a:pt x="5" y="99"/>
                  </a:lnTo>
                  <a:lnTo>
                    <a:pt x="0" y="94"/>
                  </a:lnTo>
                  <a:lnTo>
                    <a:pt x="5" y="78"/>
                  </a:lnTo>
                  <a:lnTo>
                    <a:pt x="5" y="78"/>
                  </a:lnTo>
                  <a:lnTo>
                    <a:pt x="5" y="7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1" name="Freeform 406">
              <a:extLst>
                <a:ext uri="{FF2B5EF4-FFF2-40B4-BE49-F238E27FC236}">
                  <a16:creationId xmlns:a16="http://schemas.microsoft.com/office/drawing/2014/main" id="{DB57DE77-138F-4B17-A28C-723D18538555}"/>
                </a:ext>
              </a:extLst>
            </p:cNvPr>
            <p:cNvSpPr>
              <a:spLocks noEditPoints="1"/>
            </p:cNvSpPr>
            <p:nvPr/>
          </p:nvSpPr>
          <p:spPr bwMode="gray">
            <a:xfrm>
              <a:off x="10020008" y="3917667"/>
              <a:ext cx="38697" cy="29232"/>
            </a:xfrm>
            <a:custGeom>
              <a:avLst/>
              <a:gdLst>
                <a:gd name="T0" fmla="*/ 66 w 94"/>
                <a:gd name="T1" fmla="*/ 5 h 71"/>
                <a:gd name="T2" fmla="*/ 56 w 94"/>
                <a:gd name="T3" fmla="*/ 21 h 71"/>
                <a:gd name="T4" fmla="*/ 56 w 94"/>
                <a:gd name="T5" fmla="*/ 45 h 71"/>
                <a:gd name="T6" fmla="*/ 56 w 94"/>
                <a:gd name="T7" fmla="*/ 62 h 71"/>
                <a:gd name="T8" fmla="*/ 40 w 94"/>
                <a:gd name="T9" fmla="*/ 71 h 71"/>
                <a:gd name="T10" fmla="*/ 11 w 94"/>
                <a:gd name="T11" fmla="*/ 26 h 71"/>
                <a:gd name="T12" fmla="*/ 0 w 94"/>
                <a:gd name="T13" fmla="*/ 26 h 71"/>
                <a:gd name="T14" fmla="*/ 28 w 94"/>
                <a:gd name="T15" fmla="*/ 21 h 71"/>
                <a:gd name="T16" fmla="*/ 61 w 94"/>
                <a:gd name="T17" fmla="*/ 0 h 71"/>
                <a:gd name="T18" fmla="*/ 66 w 94"/>
                <a:gd name="T19" fmla="*/ 0 h 71"/>
                <a:gd name="T20" fmla="*/ 66 w 94"/>
                <a:gd name="T21" fmla="*/ 5 h 71"/>
                <a:gd name="T22" fmla="*/ 66 w 94"/>
                <a:gd name="T23" fmla="*/ 5 h 71"/>
                <a:gd name="T24" fmla="*/ 66 w 94"/>
                <a:gd name="T25" fmla="*/ 5 h 71"/>
                <a:gd name="T26" fmla="*/ 77 w 94"/>
                <a:gd name="T27" fmla="*/ 5 h 71"/>
                <a:gd name="T28" fmla="*/ 94 w 94"/>
                <a:gd name="T29" fmla="*/ 45 h 71"/>
                <a:gd name="T30" fmla="*/ 66 w 94"/>
                <a:gd name="T31" fmla="*/ 45 h 71"/>
                <a:gd name="T32" fmla="*/ 66 w 94"/>
                <a:gd name="T33" fmla="*/ 17 h 71"/>
                <a:gd name="T34" fmla="*/ 77 w 94"/>
                <a:gd name="T35" fmla="*/ 5 h 71"/>
                <a:gd name="T36" fmla="*/ 77 w 94"/>
                <a:gd name="T37" fmla="*/ 5 h 71"/>
                <a:gd name="T38" fmla="*/ 77 w 94"/>
                <a:gd name="T39" fmla="*/ 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71">
                  <a:moveTo>
                    <a:pt x="66" y="5"/>
                  </a:moveTo>
                  <a:lnTo>
                    <a:pt x="56" y="21"/>
                  </a:lnTo>
                  <a:lnTo>
                    <a:pt x="56" y="45"/>
                  </a:lnTo>
                  <a:lnTo>
                    <a:pt x="56" y="62"/>
                  </a:lnTo>
                  <a:lnTo>
                    <a:pt x="40" y="71"/>
                  </a:lnTo>
                  <a:lnTo>
                    <a:pt x="11" y="26"/>
                  </a:lnTo>
                  <a:lnTo>
                    <a:pt x="0" y="26"/>
                  </a:lnTo>
                  <a:lnTo>
                    <a:pt x="28" y="21"/>
                  </a:lnTo>
                  <a:lnTo>
                    <a:pt x="61" y="0"/>
                  </a:lnTo>
                  <a:lnTo>
                    <a:pt x="66" y="0"/>
                  </a:lnTo>
                  <a:lnTo>
                    <a:pt x="66" y="5"/>
                  </a:lnTo>
                  <a:lnTo>
                    <a:pt x="66" y="5"/>
                  </a:lnTo>
                  <a:lnTo>
                    <a:pt x="66" y="5"/>
                  </a:lnTo>
                  <a:close/>
                  <a:moveTo>
                    <a:pt x="77" y="5"/>
                  </a:moveTo>
                  <a:lnTo>
                    <a:pt x="94" y="45"/>
                  </a:lnTo>
                  <a:lnTo>
                    <a:pt x="66" y="45"/>
                  </a:lnTo>
                  <a:lnTo>
                    <a:pt x="66" y="17"/>
                  </a:lnTo>
                  <a:lnTo>
                    <a:pt x="77" y="5"/>
                  </a:lnTo>
                  <a:lnTo>
                    <a:pt x="77" y="5"/>
                  </a:lnTo>
                  <a:lnTo>
                    <a:pt x="77" y="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4" name="Freeform 409">
              <a:extLst>
                <a:ext uri="{FF2B5EF4-FFF2-40B4-BE49-F238E27FC236}">
                  <a16:creationId xmlns:a16="http://schemas.microsoft.com/office/drawing/2014/main" id="{5AC25411-73D0-4585-979D-C79E8AA8F60C}"/>
                </a:ext>
              </a:extLst>
            </p:cNvPr>
            <p:cNvSpPr>
              <a:spLocks noEditPoints="1"/>
            </p:cNvSpPr>
            <p:nvPr/>
          </p:nvSpPr>
          <p:spPr bwMode="gray">
            <a:xfrm>
              <a:off x="9680380" y="3627820"/>
              <a:ext cx="150672" cy="128456"/>
            </a:xfrm>
            <a:custGeom>
              <a:avLst/>
              <a:gdLst>
                <a:gd name="T0" fmla="*/ 28 w 366"/>
                <a:gd name="T1" fmla="*/ 187 h 312"/>
                <a:gd name="T2" fmla="*/ 12 w 366"/>
                <a:gd name="T3" fmla="*/ 147 h 312"/>
                <a:gd name="T4" fmla="*/ 0 w 366"/>
                <a:gd name="T5" fmla="*/ 97 h 312"/>
                <a:gd name="T6" fmla="*/ 21 w 366"/>
                <a:gd name="T7" fmla="*/ 76 h 312"/>
                <a:gd name="T8" fmla="*/ 28 w 366"/>
                <a:gd name="T9" fmla="*/ 66 h 312"/>
                <a:gd name="T10" fmla="*/ 59 w 366"/>
                <a:gd name="T11" fmla="*/ 22 h 312"/>
                <a:gd name="T12" fmla="*/ 114 w 366"/>
                <a:gd name="T13" fmla="*/ 22 h 312"/>
                <a:gd name="T14" fmla="*/ 189 w 366"/>
                <a:gd name="T15" fmla="*/ 22 h 312"/>
                <a:gd name="T16" fmla="*/ 199 w 366"/>
                <a:gd name="T17" fmla="*/ 22 h 312"/>
                <a:gd name="T18" fmla="*/ 227 w 366"/>
                <a:gd name="T19" fmla="*/ 38 h 312"/>
                <a:gd name="T20" fmla="*/ 258 w 366"/>
                <a:gd name="T21" fmla="*/ 55 h 312"/>
                <a:gd name="T22" fmla="*/ 258 w 366"/>
                <a:gd name="T23" fmla="*/ 22 h 312"/>
                <a:gd name="T24" fmla="*/ 274 w 366"/>
                <a:gd name="T25" fmla="*/ 10 h 312"/>
                <a:gd name="T26" fmla="*/ 295 w 366"/>
                <a:gd name="T27" fmla="*/ 5 h 312"/>
                <a:gd name="T28" fmla="*/ 366 w 366"/>
                <a:gd name="T29" fmla="*/ 0 h 312"/>
                <a:gd name="T30" fmla="*/ 359 w 366"/>
                <a:gd name="T31" fmla="*/ 55 h 312"/>
                <a:gd name="T32" fmla="*/ 366 w 366"/>
                <a:gd name="T33" fmla="*/ 81 h 312"/>
                <a:gd name="T34" fmla="*/ 366 w 366"/>
                <a:gd name="T35" fmla="*/ 147 h 312"/>
                <a:gd name="T36" fmla="*/ 359 w 366"/>
                <a:gd name="T37" fmla="*/ 175 h 312"/>
                <a:gd name="T38" fmla="*/ 333 w 366"/>
                <a:gd name="T39" fmla="*/ 170 h 312"/>
                <a:gd name="T40" fmla="*/ 279 w 366"/>
                <a:gd name="T41" fmla="*/ 192 h 312"/>
                <a:gd name="T42" fmla="*/ 258 w 366"/>
                <a:gd name="T43" fmla="*/ 208 h 312"/>
                <a:gd name="T44" fmla="*/ 241 w 366"/>
                <a:gd name="T45" fmla="*/ 225 h 312"/>
                <a:gd name="T46" fmla="*/ 269 w 366"/>
                <a:gd name="T47" fmla="*/ 263 h 312"/>
                <a:gd name="T48" fmla="*/ 241 w 366"/>
                <a:gd name="T49" fmla="*/ 263 h 312"/>
                <a:gd name="T50" fmla="*/ 215 w 366"/>
                <a:gd name="T51" fmla="*/ 274 h 312"/>
                <a:gd name="T52" fmla="*/ 189 w 366"/>
                <a:gd name="T53" fmla="*/ 274 h 312"/>
                <a:gd name="T54" fmla="*/ 182 w 366"/>
                <a:gd name="T55" fmla="*/ 296 h 312"/>
                <a:gd name="T56" fmla="*/ 151 w 366"/>
                <a:gd name="T57" fmla="*/ 312 h 312"/>
                <a:gd name="T58" fmla="*/ 114 w 366"/>
                <a:gd name="T59" fmla="*/ 296 h 312"/>
                <a:gd name="T60" fmla="*/ 80 w 366"/>
                <a:gd name="T61" fmla="*/ 296 h 312"/>
                <a:gd name="T62" fmla="*/ 97 w 366"/>
                <a:gd name="T63" fmla="*/ 274 h 312"/>
                <a:gd name="T64" fmla="*/ 76 w 366"/>
                <a:gd name="T65" fmla="*/ 274 h 312"/>
                <a:gd name="T66" fmla="*/ 54 w 366"/>
                <a:gd name="T67" fmla="*/ 241 h 312"/>
                <a:gd name="T68" fmla="*/ 43 w 366"/>
                <a:gd name="T69" fmla="*/ 220 h 312"/>
                <a:gd name="T70" fmla="*/ 43 w 366"/>
                <a:gd name="T71" fmla="*/ 220 h 312"/>
                <a:gd name="T72" fmla="*/ 43 w 366"/>
                <a:gd name="T73" fmla="*/ 225 h 312"/>
                <a:gd name="T74" fmla="*/ 43 w 366"/>
                <a:gd name="T75" fmla="*/ 220 h 312"/>
                <a:gd name="T76" fmla="*/ 66 w 366"/>
                <a:gd name="T77" fmla="*/ 286 h 312"/>
                <a:gd name="T78" fmla="*/ 66 w 366"/>
                <a:gd name="T79" fmla="*/ 286 h 312"/>
                <a:gd name="T80" fmla="*/ 66 w 366"/>
                <a:gd name="T81" fmla="*/ 286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6" h="312">
                  <a:moveTo>
                    <a:pt x="43" y="220"/>
                  </a:moveTo>
                  <a:lnTo>
                    <a:pt x="28" y="187"/>
                  </a:lnTo>
                  <a:lnTo>
                    <a:pt x="28" y="163"/>
                  </a:lnTo>
                  <a:lnTo>
                    <a:pt x="12" y="147"/>
                  </a:lnTo>
                  <a:lnTo>
                    <a:pt x="12" y="121"/>
                  </a:lnTo>
                  <a:lnTo>
                    <a:pt x="0" y="97"/>
                  </a:lnTo>
                  <a:lnTo>
                    <a:pt x="7" y="76"/>
                  </a:lnTo>
                  <a:lnTo>
                    <a:pt x="21" y="76"/>
                  </a:lnTo>
                  <a:lnTo>
                    <a:pt x="12" y="66"/>
                  </a:lnTo>
                  <a:lnTo>
                    <a:pt x="28" y="66"/>
                  </a:lnTo>
                  <a:lnTo>
                    <a:pt x="43" y="38"/>
                  </a:lnTo>
                  <a:lnTo>
                    <a:pt x="59" y="22"/>
                  </a:lnTo>
                  <a:lnTo>
                    <a:pt x="92" y="10"/>
                  </a:lnTo>
                  <a:lnTo>
                    <a:pt x="114" y="22"/>
                  </a:lnTo>
                  <a:lnTo>
                    <a:pt x="173" y="10"/>
                  </a:lnTo>
                  <a:lnTo>
                    <a:pt x="189" y="22"/>
                  </a:lnTo>
                  <a:lnTo>
                    <a:pt x="189" y="38"/>
                  </a:lnTo>
                  <a:lnTo>
                    <a:pt x="199" y="22"/>
                  </a:lnTo>
                  <a:lnTo>
                    <a:pt x="215" y="43"/>
                  </a:lnTo>
                  <a:lnTo>
                    <a:pt x="227" y="38"/>
                  </a:lnTo>
                  <a:lnTo>
                    <a:pt x="253" y="55"/>
                  </a:lnTo>
                  <a:lnTo>
                    <a:pt x="258" y="55"/>
                  </a:lnTo>
                  <a:lnTo>
                    <a:pt x="269" y="43"/>
                  </a:lnTo>
                  <a:lnTo>
                    <a:pt x="258" y="22"/>
                  </a:lnTo>
                  <a:lnTo>
                    <a:pt x="274" y="22"/>
                  </a:lnTo>
                  <a:lnTo>
                    <a:pt x="274" y="10"/>
                  </a:lnTo>
                  <a:lnTo>
                    <a:pt x="279" y="10"/>
                  </a:lnTo>
                  <a:lnTo>
                    <a:pt x="295" y="5"/>
                  </a:lnTo>
                  <a:lnTo>
                    <a:pt x="312" y="26"/>
                  </a:lnTo>
                  <a:lnTo>
                    <a:pt x="366" y="0"/>
                  </a:lnTo>
                  <a:lnTo>
                    <a:pt x="350" y="38"/>
                  </a:lnTo>
                  <a:lnTo>
                    <a:pt x="359" y="55"/>
                  </a:lnTo>
                  <a:lnTo>
                    <a:pt x="359" y="59"/>
                  </a:lnTo>
                  <a:lnTo>
                    <a:pt x="366" y="81"/>
                  </a:lnTo>
                  <a:lnTo>
                    <a:pt x="359" y="121"/>
                  </a:lnTo>
                  <a:lnTo>
                    <a:pt x="366" y="147"/>
                  </a:lnTo>
                  <a:lnTo>
                    <a:pt x="366" y="170"/>
                  </a:lnTo>
                  <a:lnTo>
                    <a:pt x="359" y="175"/>
                  </a:lnTo>
                  <a:lnTo>
                    <a:pt x="350" y="170"/>
                  </a:lnTo>
                  <a:lnTo>
                    <a:pt x="333" y="170"/>
                  </a:lnTo>
                  <a:lnTo>
                    <a:pt x="307" y="192"/>
                  </a:lnTo>
                  <a:lnTo>
                    <a:pt x="279" y="192"/>
                  </a:lnTo>
                  <a:lnTo>
                    <a:pt x="291" y="220"/>
                  </a:lnTo>
                  <a:lnTo>
                    <a:pt x="258" y="208"/>
                  </a:lnTo>
                  <a:lnTo>
                    <a:pt x="253" y="220"/>
                  </a:lnTo>
                  <a:lnTo>
                    <a:pt x="241" y="225"/>
                  </a:lnTo>
                  <a:lnTo>
                    <a:pt x="241" y="246"/>
                  </a:lnTo>
                  <a:lnTo>
                    <a:pt x="269" y="263"/>
                  </a:lnTo>
                  <a:lnTo>
                    <a:pt x="269" y="279"/>
                  </a:lnTo>
                  <a:lnTo>
                    <a:pt x="241" y="263"/>
                  </a:lnTo>
                  <a:lnTo>
                    <a:pt x="220" y="274"/>
                  </a:lnTo>
                  <a:lnTo>
                    <a:pt x="215" y="274"/>
                  </a:lnTo>
                  <a:lnTo>
                    <a:pt x="199" y="274"/>
                  </a:lnTo>
                  <a:lnTo>
                    <a:pt x="189" y="274"/>
                  </a:lnTo>
                  <a:lnTo>
                    <a:pt x="189" y="286"/>
                  </a:lnTo>
                  <a:lnTo>
                    <a:pt x="182" y="296"/>
                  </a:lnTo>
                  <a:lnTo>
                    <a:pt x="161" y="303"/>
                  </a:lnTo>
                  <a:lnTo>
                    <a:pt x="151" y="312"/>
                  </a:lnTo>
                  <a:lnTo>
                    <a:pt x="135" y="296"/>
                  </a:lnTo>
                  <a:lnTo>
                    <a:pt x="114" y="296"/>
                  </a:lnTo>
                  <a:lnTo>
                    <a:pt x="92" y="303"/>
                  </a:lnTo>
                  <a:lnTo>
                    <a:pt x="80" y="296"/>
                  </a:lnTo>
                  <a:lnTo>
                    <a:pt x="97" y="286"/>
                  </a:lnTo>
                  <a:lnTo>
                    <a:pt x="97" y="274"/>
                  </a:lnTo>
                  <a:lnTo>
                    <a:pt x="80" y="258"/>
                  </a:lnTo>
                  <a:lnTo>
                    <a:pt x="76" y="274"/>
                  </a:lnTo>
                  <a:lnTo>
                    <a:pt x="59" y="274"/>
                  </a:lnTo>
                  <a:lnTo>
                    <a:pt x="54" y="241"/>
                  </a:lnTo>
                  <a:lnTo>
                    <a:pt x="43" y="225"/>
                  </a:lnTo>
                  <a:lnTo>
                    <a:pt x="43" y="220"/>
                  </a:lnTo>
                  <a:lnTo>
                    <a:pt x="54" y="220"/>
                  </a:lnTo>
                  <a:lnTo>
                    <a:pt x="43" y="220"/>
                  </a:lnTo>
                  <a:lnTo>
                    <a:pt x="38" y="208"/>
                  </a:lnTo>
                  <a:lnTo>
                    <a:pt x="43" y="225"/>
                  </a:lnTo>
                  <a:lnTo>
                    <a:pt x="43" y="220"/>
                  </a:lnTo>
                  <a:lnTo>
                    <a:pt x="43" y="220"/>
                  </a:lnTo>
                  <a:lnTo>
                    <a:pt x="43" y="220"/>
                  </a:lnTo>
                  <a:close/>
                  <a:moveTo>
                    <a:pt x="66" y="286"/>
                  </a:moveTo>
                  <a:lnTo>
                    <a:pt x="59" y="279"/>
                  </a:lnTo>
                  <a:lnTo>
                    <a:pt x="66" y="286"/>
                  </a:lnTo>
                  <a:lnTo>
                    <a:pt x="66" y="286"/>
                  </a:lnTo>
                  <a:lnTo>
                    <a:pt x="66" y="286"/>
                  </a:lnTo>
                  <a:lnTo>
                    <a:pt x="66" y="28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9" name="Freeform 414">
              <a:extLst>
                <a:ext uri="{FF2B5EF4-FFF2-40B4-BE49-F238E27FC236}">
                  <a16:creationId xmlns:a16="http://schemas.microsoft.com/office/drawing/2014/main" id="{EE8D0487-CFCB-40F0-92B3-630AF0D9F58E}"/>
                </a:ext>
              </a:extLst>
            </p:cNvPr>
            <p:cNvSpPr>
              <a:spLocks noEditPoints="1"/>
            </p:cNvSpPr>
            <p:nvPr/>
          </p:nvSpPr>
          <p:spPr bwMode="gray">
            <a:xfrm>
              <a:off x="8852100" y="2306210"/>
              <a:ext cx="1764830" cy="1215798"/>
            </a:xfrm>
            <a:custGeom>
              <a:avLst/>
              <a:gdLst>
                <a:gd name="T0" fmla="*/ 361 w 4287"/>
                <a:gd name="T1" fmla="*/ 1833 h 2953"/>
                <a:gd name="T2" fmla="*/ 314 w 4287"/>
                <a:gd name="T3" fmla="*/ 1606 h 2953"/>
                <a:gd name="T4" fmla="*/ 54 w 4287"/>
                <a:gd name="T5" fmla="*/ 1462 h 2953"/>
                <a:gd name="T6" fmla="*/ 7 w 4287"/>
                <a:gd name="T7" fmla="*/ 1273 h 2953"/>
                <a:gd name="T8" fmla="*/ 233 w 4287"/>
                <a:gd name="T9" fmla="*/ 1146 h 2953"/>
                <a:gd name="T10" fmla="*/ 474 w 4287"/>
                <a:gd name="T11" fmla="*/ 869 h 2953"/>
                <a:gd name="T12" fmla="*/ 777 w 4287"/>
                <a:gd name="T13" fmla="*/ 614 h 2953"/>
                <a:gd name="T14" fmla="*/ 999 w 4287"/>
                <a:gd name="T15" fmla="*/ 432 h 2953"/>
                <a:gd name="T16" fmla="*/ 1216 w 4287"/>
                <a:gd name="T17" fmla="*/ 680 h 2953"/>
                <a:gd name="T18" fmla="*/ 1821 w 4287"/>
                <a:gd name="T19" fmla="*/ 1014 h 2953"/>
                <a:gd name="T20" fmla="*/ 2581 w 4287"/>
                <a:gd name="T21" fmla="*/ 985 h 2953"/>
                <a:gd name="T22" fmla="*/ 3030 w 4287"/>
                <a:gd name="T23" fmla="*/ 669 h 2953"/>
                <a:gd name="T24" fmla="*/ 3099 w 4287"/>
                <a:gd name="T25" fmla="*/ 520 h 2953"/>
                <a:gd name="T26" fmla="*/ 3191 w 4287"/>
                <a:gd name="T27" fmla="*/ 298 h 2953"/>
                <a:gd name="T28" fmla="*/ 3569 w 4287"/>
                <a:gd name="T29" fmla="*/ 26 h 2953"/>
                <a:gd name="T30" fmla="*/ 3732 w 4287"/>
                <a:gd name="T31" fmla="*/ 222 h 2953"/>
                <a:gd name="T32" fmla="*/ 3947 w 4287"/>
                <a:gd name="T33" fmla="*/ 425 h 2953"/>
                <a:gd name="T34" fmla="*/ 4287 w 4287"/>
                <a:gd name="T35" fmla="*/ 553 h 2953"/>
                <a:gd name="T36" fmla="*/ 4055 w 4287"/>
                <a:gd name="T37" fmla="*/ 796 h 2953"/>
                <a:gd name="T38" fmla="*/ 3921 w 4287"/>
                <a:gd name="T39" fmla="*/ 1025 h 2953"/>
                <a:gd name="T40" fmla="*/ 3607 w 4287"/>
                <a:gd name="T41" fmla="*/ 1195 h 2953"/>
                <a:gd name="T42" fmla="*/ 3363 w 4287"/>
                <a:gd name="T43" fmla="*/ 1295 h 2953"/>
                <a:gd name="T44" fmla="*/ 3283 w 4287"/>
                <a:gd name="T45" fmla="*/ 1207 h 2953"/>
                <a:gd name="T46" fmla="*/ 3203 w 4287"/>
                <a:gd name="T47" fmla="*/ 1472 h 2953"/>
                <a:gd name="T48" fmla="*/ 3408 w 4287"/>
                <a:gd name="T49" fmla="*/ 1495 h 2953"/>
                <a:gd name="T50" fmla="*/ 3278 w 4287"/>
                <a:gd name="T51" fmla="*/ 1540 h 2953"/>
                <a:gd name="T52" fmla="*/ 3354 w 4287"/>
                <a:gd name="T53" fmla="*/ 1862 h 2953"/>
                <a:gd name="T54" fmla="*/ 3300 w 4287"/>
                <a:gd name="T55" fmla="*/ 1888 h 2953"/>
                <a:gd name="T56" fmla="*/ 3370 w 4287"/>
                <a:gd name="T57" fmla="*/ 2048 h 2953"/>
                <a:gd name="T58" fmla="*/ 3363 w 4287"/>
                <a:gd name="T59" fmla="*/ 2105 h 2953"/>
                <a:gd name="T60" fmla="*/ 3295 w 4287"/>
                <a:gd name="T61" fmla="*/ 2199 h 2953"/>
                <a:gd name="T62" fmla="*/ 3245 w 4287"/>
                <a:gd name="T63" fmla="*/ 2294 h 2953"/>
                <a:gd name="T64" fmla="*/ 3191 w 4287"/>
                <a:gd name="T65" fmla="*/ 2343 h 2953"/>
                <a:gd name="T66" fmla="*/ 3170 w 4287"/>
                <a:gd name="T67" fmla="*/ 2426 h 2953"/>
                <a:gd name="T68" fmla="*/ 3120 w 4287"/>
                <a:gd name="T69" fmla="*/ 2492 h 2953"/>
                <a:gd name="T70" fmla="*/ 2938 w 4287"/>
                <a:gd name="T71" fmla="*/ 2608 h 2953"/>
                <a:gd name="T72" fmla="*/ 2841 w 4287"/>
                <a:gd name="T73" fmla="*/ 2624 h 2953"/>
                <a:gd name="T74" fmla="*/ 2787 w 4287"/>
                <a:gd name="T75" fmla="*/ 2653 h 2953"/>
                <a:gd name="T76" fmla="*/ 2624 w 4287"/>
                <a:gd name="T77" fmla="*/ 2698 h 2953"/>
                <a:gd name="T78" fmla="*/ 2591 w 4287"/>
                <a:gd name="T79" fmla="*/ 2776 h 2953"/>
                <a:gd name="T80" fmla="*/ 2522 w 4287"/>
                <a:gd name="T81" fmla="*/ 2698 h 2953"/>
                <a:gd name="T82" fmla="*/ 2430 w 4287"/>
                <a:gd name="T83" fmla="*/ 2691 h 2953"/>
                <a:gd name="T84" fmla="*/ 2241 w 4287"/>
                <a:gd name="T85" fmla="*/ 2580 h 2953"/>
                <a:gd name="T86" fmla="*/ 1972 w 4287"/>
                <a:gd name="T87" fmla="*/ 2624 h 2953"/>
                <a:gd name="T88" fmla="*/ 1851 w 4287"/>
                <a:gd name="T89" fmla="*/ 2681 h 2953"/>
                <a:gd name="T90" fmla="*/ 1691 w 4287"/>
                <a:gd name="T91" fmla="*/ 2525 h 2953"/>
                <a:gd name="T92" fmla="*/ 1766 w 4287"/>
                <a:gd name="T93" fmla="*/ 2294 h 2953"/>
                <a:gd name="T94" fmla="*/ 1582 w 4287"/>
                <a:gd name="T95" fmla="*/ 2126 h 2953"/>
                <a:gd name="T96" fmla="*/ 1313 w 4287"/>
                <a:gd name="T97" fmla="*/ 2216 h 2953"/>
                <a:gd name="T98" fmla="*/ 1015 w 4287"/>
                <a:gd name="T99" fmla="*/ 2204 h 2953"/>
                <a:gd name="T100" fmla="*/ 810 w 4287"/>
                <a:gd name="T101" fmla="*/ 2150 h 2953"/>
                <a:gd name="T102" fmla="*/ 529 w 4287"/>
                <a:gd name="T103" fmla="*/ 2039 h 2953"/>
                <a:gd name="T104" fmla="*/ 3229 w 4287"/>
                <a:gd name="T105" fmla="*/ 1866 h 2953"/>
                <a:gd name="T106" fmla="*/ 3401 w 4287"/>
                <a:gd name="T107" fmla="*/ 2032 h 2953"/>
                <a:gd name="T108" fmla="*/ 3418 w 4287"/>
                <a:gd name="T109" fmla="*/ 2048 h 2953"/>
                <a:gd name="T110" fmla="*/ 3337 w 4287"/>
                <a:gd name="T111" fmla="*/ 2192 h 2953"/>
                <a:gd name="T112" fmla="*/ 3115 w 4287"/>
                <a:gd name="T113" fmla="*/ 2476 h 2953"/>
                <a:gd name="T114" fmla="*/ 2851 w 4287"/>
                <a:gd name="T115" fmla="*/ 2641 h 2953"/>
                <a:gd name="T116" fmla="*/ 2683 w 4287"/>
                <a:gd name="T117" fmla="*/ 2691 h 2953"/>
                <a:gd name="T118" fmla="*/ 2570 w 4287"/>
                <a:gd name="T119" fmla="*/ 2731 h 2953"/>
                <a:gd name="T120" fmla="*/ 2560 w 4287"/>
                <a:gd name="T121" fmla="*/ 2809 h 2953"/>
                <a:gd name="T122" fmla="*/ 2527 w 4287"/>
                <a:gd name="T123" fmla="*/ 2941 h 2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87" h="2953">
                  <a:moveTo>
                    <a:pt x="524" y="2032"/>
                  </a:moveTo>
                  <a:lnTo>
                    <a:pt x="491" y="2010"/>
                  </a:lnTo>
                  <a:lnTo>
                    <a:pt x="460" y="1999"/>
                  </a:lnTo>
                  <a:lnTo>
                    <a:pt x="470" y="1982"/>
                  </a:lnTo>
                  <a:lnTo>
                    <a:pt x="437" y="1973"/>
                  </a:lnTo>
                  <a:lnTo>
                    <a:pt x="415" y="1973"/>
                  </a:lnTo>
                  <a:lnTo>
                    <a:pt x="385" y="1928"/>
                  </a:lnTo>
                  <a:lnTo>
                    <a:pt x="368" y="1944"/>
                  </a:lnTo>
                  <a:lnTo>
                    <a:pt x="361" y="1937"/>
                  </a:lnTo>
                  <a:lnTo>
                    <a:pt x="361" y="1921"/>
                  </a:lnTo>
                  <a:lnTo>
                    <a:pt x="368" y="1916"/>
                  </a:lnTo>
                  <a:lnTo>
                    <a:pt x="352" y="1904"/>
                  </a:lnTo>
                  <a:lnTo>
                    <a:pt x="361" y="1888"/>
                  </a:lnTo>
                  <a:lnTo>
                    <a:pt x="340" y="1866"/>
                  </a:lnTo>
                  <a:lnTo>
                    <a:pt x="340" y="1845"/>
                  </a:lnTo>
                  <a:lnTo>
                    <a:pt x="361" y="1833"/>
                  </a:lnTo>
                  <a:lnTo>
                    <a:pt x="361" y="1850"/>
                  </a:lnTo>
                  <a:lnTo>
                    <a:pt x="378" y="1862"/>
                  </a:lnTo>
                  <a:lnTo>
                    <a:pt x="394" y="1850"/>
                  </a:lnTo>
                  <a:lnTo>
                    <a:pt x="399" y="1850"/>
                  </a:lnTo>
                  <a:lnTo>
                    <a:pt x="415" y="1828"/>
                  </a:lnTo>
                  <a:lnTo>
                    <a:pt x="399" y="1812"/>
                  </a:lnTo>
                  <a:lnTo>
                    <a:pt x="406" y="1795"/>
                  </a:lnTo>
                  <a:lnTo>
                    <a:pt x="378" y="1776"/>
                  </a:lnTo>
                  <a:lnTo>
                    <a:pt x="361" y="1760"/>
                  </a:lnTo>
                  <a:lnTo>
                    <a:pt x="361" y="1717"/>
                  </a:lnTo>
                  <a:lnTo>
                    <a:pt x="378" y="1706"/>
                  </a:lnTo>
                  <a:lnTo>
                    <a:pt x="378" y="1701"/>
                  </a:lnTo>
                  <a:lnTo>
                    <a:pt x="352" y="1684"/>
                  </a:lnTo>
                  <a:lnTo>
                    <a:pt x="330" y="1677"/>
                  </a:lnTo>
                  <a:lnTo>
                    <a:pt x="309" y="1623"/>
                  </a:lnTo>
                  <a:lnTo>
                    <a:pt x="314" y="1606"/>
                  </a:lnTo>
                  <a:lnTo>
                    <a:pt x="297" y="1606"/>
                  </a:lnTo>
                  <a:lnTo>
                    <a:pt x="271" y="1606"/>
                  </a:lnTo>
                  <a:lnTo>
                    <a:pt x="233" y="1595"/>
                  </a:lnTo>
                  <a:lnTo>
                    <a:pt x="205" y="1583"/>
                  </a:lnTo>
                  <a:lnTo>
                    <a:pt x="205" y="1573"/>
                  </a:lnTo>
                  <a:lnTo>
                    <a:pt x="184" y="1583"/>
                  </a:lnTo>
                  <a:lnTo>
                    <a:pt x="179" y="1566"/>
                  </a:lnTo>
                  <a:lnTo>
                    <a:pt x="163" y="1557"/>
                  </a:lnTo>
                  <a:lnTo>
                    <a:pt x="167" y="1540"/>
                  </a:lnTo>
                  <a:lnTo>
                    <a:pt x="163" y="1512"/>
                  </a:lnTo>
                  <a:lnTo>
                    <a:pt x="146" y="1500"/>
                  </a:lnTo>
                  <a:lnTo>
                    <a:pt x="129" y="1500"/>
                  </a:lnTo>
                  <a:lnTo>
                    <a:pt x="125" y="1484"/>
                  </a:lnTo>
                  <a:lnTo>
                    <a:pt x="108" y="1479"/>
                  </a:lnTo>
                  <a:lnTo>
                    <a:pt x="70" y="1479"/>
                  </a:lnTo>
                  <a:lnTo>
                    <a:pt x="54" y="1462"/>
                  </a:lnTo>
                  <a:lnTo>
                    <a:pt x="82" y="1455"/>
                  </a:lnTo>
                  <a:lnTo>
                    <a:pt x="82" y="1462"/>
                  </a:lnTo>
                  <a:lnTo>
                    <a:pt x="92" y="1462"/>
                  </a:lnTo>
                  <a:lnTo>
                    <a:pt x="113" y="1446"/>
                  </a:lnTo>
                  <a:lnTo>
                    <a:pt x="92" y="1422"/>
                  </a:lnTo>
                  <a:lnTo>
                    <a:pt x="96" y="1417"/>
                  </a:lnTo>
                  <a:lnTo>
                    <a:pt x="82" y="1389"/>
                  </a:lnTo>
                  <a:lnTo>
                    <a:pt x="92" y="1363"/>
                  </a:lnTo>
                  <a:lnTo>
                    <a:pt x="54" y="1347"/>
                  </a:lnTo>
                  <a:lnTo>
                    <a:pt x="37" y="1347"/>
                  </a:lnTo>
                  <a:lnTo>
                    <a:pt x="28" y="1351"/>
                  </a:lnTo>
                  <a:lnTo>
                    <a:pt x="16" y="1347"/>
                  </a:lnTo>
                  <a:lnTo>
                    <a:pt x="7" y="1318"/>
                  </a:lnTo>
                  <a:lnTo>
                    <a:pt x="16" y="1311"/>
                  </a:lnTo>
                  <a:lnTo>
                    <a:pt x="0" y="1295"/>
                  </a:lnTo>
                  <a:lnTo>
                    <a:pt x="7" y="1273"/>
                  </a:lnTo>
                  <a:lnTo>
                    <a:pt x="16" y="1273"/>
                  </a:lnTo>
                  <a:lnTo>
                    <a:pt x="21" y="1262"/>
                  </a:lnTo>
                  <a:lnTo>
                    <a:pt x="16" y="1252"/>
                  </a:lnTo>
                  <a:lnTo>
                    <a:pt x="28" y="1224"/>
                  </a:lnTo>
                  <a:lnTo>
                    <a:pt x="54" y="1219"/>
                  </a:lnTo>
                  <a:lnTo>
                    <a:pt x="75" y="1202"/>
                  </a:lnTo>
                  <a:lnTo>
                    <a:pt x="92" y="1202"/>
                  </a:lnTo>
                  <a:lnTo>
                    <a:pt x="82" y="1186"/>
                  </a:lnTo>
                  <a:lnTo>
                    <a:pt x="113" y="1195"/>
                  </a:lnTo>
                  <a:lnTo>
                    <a:pt x="134" y="1179"/>
                  </a:lnTo>
                  <a:lnTo>
                    <a:pt x="146" y="1202"/>
                  </a:lnTo>
                  <a:lnTo>
                    <a:pt x="179" y="1195"/>
                  </a:lnTo>
                  <a:lnTo>
                    <a:pt x="189" y="1202"/>
                  </a:lnTo>
                  <a:lnTo>
                    <a:pt x="217" y="1179"/>
                  </a:lnTo>
                  <a:lnTo>
                    <a:pt x="217" y="1162"/>
                  </a:lnTo>
                  <a:lnTo>
                    <a:pt x="233" y="1146"/>
                  </a:lnTo>
                  <a:lnTo>
                    <a:pt x="314" y="1141"/>
                  </a:lnTo>
                  <a:lnTo>
                    <a:pt x="330" y="1125"/>
                  </a:lnTo>
                  <a:lnTo>
                    <a:pt x="340" y="1108"/>
                  </a:lnTo>
                  <a:lnTo>
                    <a:pt x="399" y="1075"/>
                  </a:lnTo>
                  <a:lnTo>
                    <a:pt x="432" y="1068"/>
                  </a:lnTo>
                  <a:lnTo>
                    <a:pt x="437" y="1058"/>
                  </a:lnTo>
                  <a:lnTo>
                    <a:pt x="460" y="1051"/>
                  </a:lnTo>
                  <a:lnTo>
                    <a:pt x="460" y="1042"/>
                  </a:lnTo>
                  <a:lnTo>
                    <a:pt x="470" y="1035"/>
                  </a:lnTo>
                  <a:lnTo>
                    <a:pt x="460" y="1002"/>
                  </a:lnTo>
                  <a:lnTo>
                    <a:pt x="470" y="985"/>
                  </a:lnTo>
                  <a:lnTo>
                    <a:pt x="491" y="980"/>
                  </a:lnTo>
                  <a:lnTo>
                    <a:pt x="474" y="969"/>
                  </a:lnTo>
                  <a:lnTo>
                    <a:pt x="507" y="957"/>
                  </a:lnTo>
                  <a:lnTo>
                    <a:pt x="503" y="931"/>
                  </a:lnTo>
                  <a:lnTo>
                    <a:pt x="474" y="869"/>
                  </a:lnTo>
                  <a:lnTo>
                    <a:pt x="474" y="829"/>
                  </a:lnTo>
                  <a:lnTo>
                    <a:pt x="486" y="820"/>
                  </a:lnTo>
                  <a:lnTo>
                    <a:pt x="470" y="813"/>
                  </a:lnTo>
                  <a:lnTo>
                    <a:pt x="448" y="813"/>
                  </a:lnTo>
                  <a:lnTo>
                    <a:pt x="437" y="803"/>
                  </a:lnTo>
                  <a:lnTo>
                    <a:pt x="453" y="791"/>
                  </a:lnTo>
                  <a:lnTo>
                    <a:pt x="566" y="763"/>
                  </a:lnTo>
                  <a:lnTo>
                    <a:pt x="583" y="780"/>
                  </a:lnTo>
                  <a:lnTo>
                    <a:pt x="611" y="775"/>
                  </a:lnTo>
                  <a:lnTo>
                    <a:pt x="633" y="780"/>
                  </a:lnTo>
                  <a:lnTo>
                    <a:pt x="633" y="758"/>
                  </a:lnTo>
                  <a:lnTo>
                    <a:pt x="611" y="742"/>
                  </a:lnTo>
                  <a:lnTo>
                    <a:pt x="663" y="614"/>
                  </a:lnTo>
                  <a:lnTo>
                    <a:pt x="663" y="593"/>
                  </a:lnTo>
                  <a:lnTo>
                    <a:pt x="725" y="614"/>
                  </a:lnTo>
                  <a:lnTo>
                    <a:pt x="777" y="614"/>
                  </a:lnTo>
                  <a:lnTo>
                    <a:pt x="784" y="626"/>
                  </a:lnTo>
                  <a:lnTo>
                    <a:pt x="784" y="631"/>
                  </a:lnTo>
                  <a:lnTo>
                    <a:pt x="815" y="610"/>
                  </a:lnTo>
                  <a:lnTo>
                    <a:pt x="838" y="610"/>
                  </a:lnTo>
                  <a:lnTo>
                    <a:pt x="848" y="593"/>
                  </a:lnTo>
                  <a:lnTo>
                    <a:pt x="848" y="581"/>
                  </a:lnTo>
                  <a:lnTo>
                    <a:pt x="838" y="569"/>
                  </a:lnTo>
                  <a:lnTo>
                    <a:pt x="838" y="527"/>
                  </a:lnTo>
                  <a:lnTo>
                    <a:pt x="852" y="487"/>
                  </a:lnTo>
                  <a:lnTo>
                    <a:pt x="907" y="470"/>
                  </a:lnTo>
                  <a:lnTo>
                    <a:pt x="923" y="458"/>
                  </a:lnTo>
                  <a:lnTo>
                    <a:pt x="918" y="432"/>
                  </a:lnTo>
                  <a:lnTo>
                    <a:pt x="935" y="416"/>
                  </a:lnTo>
                  <a:lnTo>
                    <a:pt x="961" y="425"/>
                  </a:lnTo>
                  <a:lnTo>
                    <a:pt x="999" y="416"/>
                  </a:lnTo>
                  <a:lnTo>
                    <a:pt x="999" y="432"/>
                  </a:lnTo>
                  <a:lnTo>
                    <a:pt x="994" y="442"/>
                  </a:lnTo>
                  <a:lnTo>
                    <a:pt x="1015" y="458"/>
                  </a:lnTo>
                  <a:lnTo>
                    <a:pt x="1011" y="470"/>
                  </a:lnTo>
                  <a:lnTo>
                    <a:pt x="1048" y="487"/>
                  </a:lnTo>
                  <a:lnTo>
                    <a:pt x="1053" y="503"/>
                  </a:lnTo>
                  <a:lnTo>
                    <a:pt x="1086" y="520"/>
                  </a:lnTo>
                  <a:lnTo>
                    <a:pt x="1117" y="520"/>
                  </a:lnTo>
                  <a:lnTo>
                    <a:pt x="1133" y="536"/>
                  </a:lnTo>
                  <a:lnTo>
                    <a:pt x="1155" y="536"/>
                  </a:lnTo>
                  <a:lnTo>
                    <a:pt x="1155" y="543"/>
                  </a:lnTo>
                  <a:lnTo>
                    <a:pt x="1178" y="569"/>
                  </a:lnTo>
                  <a:lnTo>
                    <a:pt x="1188" y="581"/>
                  </a:lnTo>
                  <a:lnTo>
                    <a:pt x="1204" y="610"/>
                  </a:lnTo>
                  <a:lnTo>
                    <a:pt x="1216" y="626"/>
                  </a:lnTo>
                  <a:lnTo>
                    <a:pt x="1226" y="652"/>
                  </a:lnTo>
                  <a:lnTo>
                    <a:pt x="1216" y="680"/>
                  </a:lnTo>
                  <a:lnTo>
                    <a:pt x="1226" y="704"/>
                  </a:lnTo>
                  <a:lnTo>
                    <a:pt x="1204" y="725"/>
                  </a:lnTo>
                  <a:lnTo>
                    <a:pt x="1192" y="747"/>
                  </a:lnTo>
                  <a:lnTo>
                    <a:pt x="1209" y="775"/>
                  </a:lnTo>
                  <a:lnTo>
                    <a:pt x="1259" y="791"/>
                  </a:lnTo>
                  <a:lnTo>
                    <a:pt x="1405" y="796"/>
                  </a:lnTo>
                  <a:lnTo>
                    <a:pt x="1481" y="853"/>
                  </a:lnTo>
                  <a:lnTo>
                    <a:pt x="1502" y="858"/>
                  </a:lnTo>
                  <a:lnTo>
                    <a:pt x="1528" y="858"/>
                  </a:lnTo>
                  <a:lnTo>
                    <a:pt x="1528" y="886"/>
                  </a:lnTo>
                  <a:lnTo>
                    <a:pt x="1540" y="886"/>
                  </a:lnTo>
                  <a:lnTo>
                    <a:pt x="1566" y="947"/>
                  </a:lnTo>
                  <a:lnTo>
                    <a:pt x="1594" y="980"/>
                  </a:lnTo>
                  <a:lnTo>
                    <a:pt x="1594" y="997"/>
                  </a:lnTo>
                  <a:lnTo>
                    <a:pt x="1646" y="985"/>
                  </a:lnTo>
                  <a:lnTo>
                    <a:pt x="1821" y="1014"/>
                  </a:lnTo>
                  <a:lnTo>
                    <a:pt x="1873" y="997"/>
                  </a:lnTo>
                  <a:lnTo>
                    <a:pt x="1911" y="997"/>
                  </a:lnTo>
                  <a:lnTo>
                    <a:pt x="1981" y="1014"/>
                  </a:lnTo>
                  <a:lnTo>
                    <a:pt x="1998" y="1035"/>
                  </a:lnTo>
                  <a:lnTo>
                    <a:pt x="2040" y="1042"/>
                  </a:lnTo>
                  <a:lnTo>
                    <a:pt x="2090" y="1068"/>
                  </a:lnTo>
                  <a:lnTo>
                    <a:pt x="2123" y="1075"/>
                  </a:lnTo>
                  <a:lnTo>
                    <a:pt x="2166" y="1068"/>
                  </a:lnTo>
                  <a:lnTo>
                    <a:pt x="2166" y="1084"/>
                  </a:lnTo>
                  <a:lnTo>
                    <a:pt x="2199" y="1091"/>
                  </a:lnTo>
                  <a:lnTo>
                    <a:pt x="2203" y="1091"/>
                  </a:lnTo>
                  <a:lnTo>
                    <a:pt x="2220" y="1084"/>
                  </a:lnTo>
                  <a:lnTo>
                    <a:pt x="2258" y="1058"/>
                  </a:lnTo>
                  <a:lnTo>
                    <a:pt x="2376" y="1018"/>
                  </a:lnTo>
                  <a:lnTo>
                    <a:pt x="2506" y="1018"/>
                  </a:lnTo>
                  <a:lnTo>
                    <a:pt x="2581" y="985"/>
                  </a:lnTo>
                  <a:lnTo>
                    <a:pt x="2624" y="940"/>
                  </a:lnTo>
                  <a:lnTo>
                    <a:pt x="2690" y="907"/>
                  </a:lnTo>
                  <a:lnTo>
                    <a:pt x="2683" y="886"/>
                  </a:lnTo>
                  <a:lnTo>
                    <a:pt x="2652" y="853"/>
                  </a:lnTo>
                  <a:lnTo>
                    <a:pt x="2678" y="796"/>
                  </a:lnTo>
                  <a:lnTo>
                    <a:pt x="2700" y="780"/>
                  </a:lnTo>
                  <a:lnTo>
                    <a:pt x="2721" y="791"/>
                  </a:lnTo>
                  <a:lnTo>
                    <a:pt x="2754" y="803"/>
                  </a:lnTo>
                  <a:lnTo>
                    <a:pt x="2808" y="813"/>
                  </a:lnTo>
                  <a:lnTo>
                    <a:pt x="2867" y="775"/>
                  </a:lnTo>
                  <a:lnTo>
                    <a:pt x="2867" y="758"/>
                  </a:lnTo>
                  <a:lnTo>
                    <a:pt x="2938" y="758"/>
                  </a:lnTo>
                  <a:lnTo>
                    <a:pt x="2985" y="737"/>
                  </a:lnTo>
                  <a:lnTo>
                    <a:pt x="3002" y="692"/>
                  </a:lnTo>
                  <a:lnTo>
                    <a:pt x="3023" y="680"/>
                  </a:lnTo>
                  <a:lnTo>
                    <a:pt x="3030" y="669"/>
                  </a:lnTo>
                  <a:lnTo>
                    <a:pt x="3068" y="669"/>
                  </a:lnTo>
                  <a:lnTo>
                    <a:pt x="3068" y="652"/>
                  </a:lnTo>
                  <a:lnTo>
                    <a:pt x="3099" y="652"/>
                  </a:lnTo>
                  <a:lnTo>
                    <a:pt x="3137" y="636"/>
                  </a:lnTo>
                  <a:lnTo>
                    <a:pt x="3170" y="647"/>
                  </a:lnTo>
                  <a:lnTo>
                    <a:pt x="3174" y="636"/>
                  </a:lnTo>
                  <a:lnTo>
                    <a:pt x="3207" y="647"/>
                  </a:lnTo>
                  <a:lnTo>
                    <a:pt x="3229" y="652"/>
                  </a:lnTo>
                  <a:lnTo>
                    <a:pt x="3245" y="636"/>
                  </a:lnTo>
                  <a:lnTo>
                    <a:pt x="3245" y="626"/>
                  </a:lnTo>
                  <a:lnTo>
                    <a:pt x="3229" y="598"/>
                  </a:lnTo>
                  <a:lnTo>
                    <a:pt x="3191" y="569"/>
                  </a:lnTo>
                  <a:lnTo>
                    <a:pt x="3191" y="553"/>
                  </a:lnTo>
                  <a:lnTo>
                    <a:pt x="3170" y="543"/>
                  </a:lnTo>
                  <a:lnTo>
                    <a:pt x="3153" y="520"/>
                  </a:lnTo>
                  <a:lnTo>
                    <a:pt x="3099" y="520"/>
                  </a:lnTo>
                  <a:lnTo>
                    <a:pt x="3068" y="553"/>
                  </a:lnTo>
                  <a:lnTo>
                    <a:pt x="3040" y="536"/>
                  </a:lnTo>
                  <a:lnTo>
                    <a:pt x="2992" y="536"/>
                  </a:lnTo>
                  <a:lnTo>
                    <a:pt x="2969" y="553"/>
                  </a:lnTo>
                  <a:lnTo>
                    <a:pt x="2948" y="527"/>
                  </a:lnTo>
                  <a:lnTo>
                    <a:pt x="2938" y="515"/>
                  </a:lnTo>
                  <a:lnTo>
                    <a:pt x="2959" y="499"/>
                  </a:lnTo>
                  <a:lnTo>
                    <a:pt x="2959" y="470"/>
                  </a:lnTo>
                  <a:lnTo>
                    <a:pt x="2976" y="449"/>
                  </a:lnTo>
                  <a:lnTo>
                    <a:pt x="3023" y="354"/>
                  </a:lnTo>
                  <a:lnTo>
                    <a:pt x="3111" y="388"/>
                  </a:lnTo>
                  <a:lnTo>
                    <a:pt x="3153" y="347"/>
                  </a:lnTo>
                  <a:lnTo>
                    <a:pt x="3191" y="338"/>
                  </a:lnTo>
                  <a:lnTo>
                    <a:pt x="3207" y="331"/>
                  </a:lnTo>
                  <a:lnTo>
                    <a:pt x="3207" y="305"/>
                  </a:lnTo>
                  <a:lnTo>
                    <a:pt x="3191" y="298"/>
                  </a:lnTo>
                  <a:lnTo>
                    <a:pt x="3219" y="265"/>
                  </a:lnTo>
                  <a:lnTo>
                    <a:pt x="3224" y="248"/>
                  </a:lnTo>
                  <a:lnTo>
                    <a:pt x="3240" y="239"/>
                  </a:lnTo>
                  <a:lnTo>
                    <a:pt x="3262" y="182"/>
                  </a:lnTo>
                  <a:lnTo>
                    <a:pt x="3300" y="154"/>
                  </a:lnTo>
                  <a:lnTo>
                    <a:pt x="3309" y="132"/>
                  </a:lnTo>
                  <a:lnTo>
                    <a:pt x="3300" y="116"/>
                  </a:lnTo>
                  <a:lnTo>
                    <a:pt x="3300" y="95"/>
                  </a:lnTo>
                  <a:lnTo>
                    <a:pt x="3283" y="83"/>
                  </a:lnTo>
                  <a:lnTo>
                    <a:pt x="3262" y="95"/>
                  </a:lnTo>
                  <a:lnTo>
                    <a:pt x="3257" y="71"/>
                  </a:lnTo>
                  <a:lnTo>
                    <a:pt x="3309" y="21"/>
                  </a:lnTo>
                  <a:lnTo>
                    <a:pt x="3510" y="0"/>
                  </a:lnTo>
                  <a:lnTo>
                    <a:pt x="3543" y="17"/>
                  </a:lnTo>
                  <a:lnTo>
                    <a:pt x="3552" y="17"/>
                  </a:lnTo>
                  <a:lnTo>
                    <a:pt x="3569" y="26"/>
                  </a:lnTo>
                  <a:lnTo>
                    <a:pt x="3597" y="38"/>
                  </a:lnTo>
                  <a:lnTo>
                    <a:pt x="3618" y="26"/>
                  </a:lnTo>
                  <a:lnTo>
                    <a:pt x="3649" y="43"/>
                  </a:lnTo>
                  <a:lnTo>
                    <a:pt x="3656" y="54"/>
                  </a:lnTo>
                  <a:lnTo>
                    <a:pt x="3649" y="62"/>
                  </a:lnTo>
                  <a:lnTo>
                    <a:pt x="3677" y="78"/>
                  </a:lnTo>
                  <a:lnTo>
                    <a:pt x="3673" y="95"/>
                  </a:lnTo>
                  <a:lnTo>
                    <a:pt x="3687" y="95"/>
                  </a:lnTo>
                  <a:lnTo>
                    <a:pt x="3703" y="111"/>
                  </a:lnTo>
                  <a:lnTo>
                    <a:pt x="3694" y="132"/>
                  </a:lnTo>
                  <a:lnTo>
                    <a:pt x="3715" y="132"/>
                  </a:lnTo>
                  <a:lnTo>
                    <a:pt x="3703" y="149"/>
                  </a:lnTo>
                  <a:lnTo>
                    <a:pt x="3725" y="170"/>
                  </a:lnTo>
                  <a:lnTo>
                    <a:pt x="3732" y="203"/>
                  </a:lnTo>
                  <a:lnTo>
                    <a:pt x="3741" y="203"/>
                  </a:lnTo>
                  <a:lnTo>
                    <a:pt x="3732" y="222"/>
                  </a:lnTo>
                  <a:lnTo>
                    <a:pt x="3741" y="210"/>
                  </a:lnTo>
                  <a:lnTo>
                    <a:pt x="3741" y="239"/>
                  </a:lnTo>
                  <a:lnTo>
                    <a:pt x="3762" y="265"/>
                  </a:lnTo>
                  <a:lnTo>
                    <a:pt x="3770" y="281"/>
                  </a:lnTo>
                  <a:lnTo>
                    <a:pt x="3762" y="293"/>
                  </a:lnTo>
                  <a:lnTo>
                    <a:pt x="3770" y="305"/>
                  </a:lnTo>
                  <a:lnTo>
                    <a:pt x="3786" y="314"/>
                  </a:lnTo>
                  <a:lnTo>
                    <a:pt x="3779" y="331"/>
                  </a:lnTo>
                  <a:lnTo>
                    <a:pt x="3779" y="354"/>
                  </a:lnTo>
                  <a:lnTo>
                    <a:pt x="3800" y="376"/>
                  </a:lnTo>
                  <a:lnTo>
                    <a:pt x="3871" y="376"/>
                  </a:lnTo>
                  <a:lnTo>
                    <a:pt x="3892" y="404"/>
                  </a:lnTo>
                  <a:lnTo>
                    <a:pt x="3921" y="392"/>
                  </a:lnTo>
                  <a:lnTo>
                    <a:pt x="3925" y="404"/>
                  </a:lnTo>
                  <a:lnTo>
                    <a:pt x="3930" y="409"/>
                  </a:lnTo>
                  <a:lnTo>
                    <a:pt x="3947" y="425"/>
                  </a:lnTo>
                  <a:lnTo>
                    <a:pt x="3975" y="442"/>
                  </a:lnTo>
                  <a:lnTo>
                    <a:pt x="4001" y="442"/>
                  </a:lnTo>
                  <a:lnTo>
                    <a:pt x="3996" y="465"/>
                  </a:lnTo>
                  <a:lnTo>
                    <a:pt x="4013" y="499"/>
                  </a:lnTo>
                  <a:lnTo>
                    <a:pt x="4001" y="515"/>
                  </a:lnTo>
                  <a:lnTo>
                    <a:pt x="4018" y="527"/>
                  </a:lnTo>
                  <a:lnTo>
                    <a:pt x="4027" y="553"/>
                  </a:lnTo>
                  <a:lnTo>
                    <a:pt x="4136" y="553"/>
                  </a:lnTo>
                  <a:lnTo>
                    <a:pt x="4140" y="536"/>
                  </a:lnTo>
                  <a:lnTo>
                    <a:pt x="4174" y="515"/>
                  </a:lnTo>
                  <a:lnTo>
                    <a:pt x="4202" y="520"/>
                  </a:lnTo>
                  <a:lnTo>
                    <a:pt x="4216" y="499"/>
                  </a:lnTo>
                  <a:lnTo>
                    <a:pt x="4266" y="487"/>
                  </a:lnTo>
                  <a:lnTo>
                    <a:pt x="4287" y="499"/>
                  </a:lnTo>
                  <a:lnTo>
                    <a:pt x="4270" y="520"/>
                  </a:lnTo>
                  <a:lnTo>
                    <a:pt x="4287" y="553"/>
                  </a:lnTo>
                  <a:lnTo>
                    <a:pt x="4270" y="569"/>
                  </a:lnTo>
                  <a:lnTo>
                    <a:pt x="4249" y="581"/>
                  </a:lnTo>
                  <a:lnTo>
                    <a:pt x="4249" y="610"/>
                  </a:lnTo>
                  <a:lnTo>
                    <a:pt x="4244" y="610"/>
                  </a:lnTo>
                  <a:lnTo>
                    <a:pt x="4233" y="647"/>
                  </a:lnTo>
                  <a:lnTo>
                    <a:pt x="4228" y="664"/>
                  </a:lnTo>
                  <a:lnTo>
                    <a:pt x="4233" y="669"/>
                  </a:lnTo>
                  <a:lnTo>
                    <a:pt x="4228" y="680"/>
                  </a:lnTo>
                  <a:lnTo>
                    <a:pt x="4195" y="721"/>
                  </a:lnTo>
                  <a:lnTo>
                    <a:pt x="4195" y="742"/>
                  </a:lnTo>
                  <a:lnTo>
                    <a:pt x="4174" y="758"/>
                  </a:lnTo>
                  <a:lnTo>
                    <a:pt x="4174" y="780"/>
                  </a:lnTo>
                  <a:lnTo>
                    <a:pt x="4157" y="791"/>
                  </a:lnTo>
                  <a:lnTo>
                    <a:pt x="4093" y="775"/>
                  </a:lnTo>
                  <a:lnTo>
                    <a:pt x="4088" y="763"/>
                  </a:lnTo>
                  <a:lnTo>
                    <a:pt x="4055" y="796"/>
                  </a:lnTo>
                  <a:lnTo>
                    <a:pt x="4018" y="803"/>
                  </a:lnTo>
                  <a:lnTo>
                    <a:pt x="4034" y="820"/>
                  </a:lnTo>
                  <a:lnTo>
                    <a:pt x="4051" y="874"/>
                  </a:lnTo>
                  <a:lnTo>
                    <a:pt x="4039" y="924"/>
                  </a:lnTo>
                  <a:lnTo>
                    <a:pt x="4051" y="940"/>
                  </a:lnTo>
                  <a:lnTo>
                    <a:pt x="4034" y="964"/>
                  </a:lnTo>
                  <a:lnTo>
                    <a:pt x="4034" y="980"/>
                  </a:lnTo>
                  <a:lnTo>
                    <a:pt x="3985" y="997"/>
                  </a:lnTo>
                  <a:lnTo>
                    <a:pt x="3996" y="1002"/>
                  </a:lnTo>
                  <a:lnTo>
                    <a:pt x="3996" y="1018"/>
                  </a:lnTo>
                  <a:lnTo>
                    <a:pt x="3996" y="1014"/>
                  </a:lnTo>
                  <a:lnTo>
                    <a:pt x="3975" y="997"/>
                  </a:lnTo>
                  <a:lnTo>
                    <a:pt x="3975" y="980"/>
                  </a:lnTo>
                  <a:lnTo>
                    <a:pt x="3947" y="969"/>
                  </a:lnTo>
                  <a:lnTo>
                    <a:pt x="3930" y="1018"/>
                  </a:lnTo>
                  <a:lnTo>
                    <a:pt x="3921" y="1025"/>
                  </a:lnTo>
                  <a:lnTo>
                    <a:pt x="3909" y="1018"/>
                  </a:lnTo>
                  <a:lnTo>
                    <a:pt x="3904" y="1035"/>
                  </a:lnTo>
                  <a:lnTo>
                    <a:pt x="3876" y="1058"/>
                  </a:lnTo>
                  <a:lnTo>
                    <a:pt x="3817" y="1058"/>
                  </a:lnTo>
                  <a:lnTo>
                    <a:pt x="3824" y="1075"/>
                  </a:lnTo>
                  <a:lnTo>
                    <a:pt x="3833" y="1091"/>
                  </a:lnTo>
                  <a:lnTo>
                    <a:pt x="3824" y="1113"/>
                  </a:lnTo>
                  <a:lnTo>
                    <a:pt x="3762" y="1108"/>
                  </a:lnTo>
                  <a:lnTo>
                    <a:pt x="3741" y="1075"/>
                  </a:lnTo>
                  <a:lnTo>
                    <a:pt x="3715" y="1091"/>
                  </a:lnTo>
                  <a:lnTo>
                    <a:pt x="3711" y="1113"/>
                  </a:lnTo>
                  <a:lnTo>
                    <a:pt x="3677" y="1151"/>
                  </a:lnTo>
                  <a:lnTo>
                    <a:pt x="3656" y="1151"/>
                  </a:lnTo>
                  <a:lnTo>
                    <a:pt x="3635" y="1169"/>
                  </a:lnTo>
                  <a:lnTo>
                    <a:pt x="3607" y="1186"/>
                  </a:lnTo>
                  <a:lnTo>
                    <a:pt x="3607" y="1195"/>
                  </a:lnTo>
                  <a:lnTo>
                    <a:pt x="3597" y="1186"/>
                  </a:lnTo>
                  <a:lnTo>
                    <a:pt x="3564" y="1219"/>
                  </a:lnTo>
                  <a:lnTo>
                    <a:pt x="3552" y="1236"/>
                  </a:lnTo>
                  <a:lnTo>
                    <a:pt x="3543" y="1240"/>
                  </a:lnTo>
                  <a:lnTo>
                    <a:pt x="3514" y="1240"/>
                  </a:lnTo>
                  <a:lnTo>
                    <a:pt x="3493" y="1252"/>
                  </a:lnTo>
                  <a:lnTo>
                    <a:pt x="3477" y="1240"/>
                  </a:lnTo>
                  <a:lnTo>
                    <a:pt x="3488" y="1257"/>
                  </a:lnTo>
                  <a:lnTo>
                    <a:pt x="3422" y="1278"/>
                  </a:lnTo>
                  <a:lnTo>
                    <a:pt x="3392" y="1311"/>
                  </a:lnTo>
                  <a:lnTo>
                    <a:pt x="3370" y="1311"/>
                  </a:lnTo>
                  <a:lnTo>
                    <a:pt x="3370" y="1330"/>
                  </a:lnTo>
                  <a:lnTo>
                    <a:pt x="3333" y="1335"/>
                  </a:lnTo>
                  <a:lnTo>
                    <a:pt x="3333" y="1318"/>
                  </a:lnTo>
                  <a:lnTo>
                    <a:pt x="3370" y="1306"/>
                  </a:lnTo>
                  <a:lnTo>
                    <a:pt x="3363" y="1295"/>
                  </a:lnTo>
                  <a:lnTo>
                    <a:pt x="3380" y="1278"/>
                  </a:lnTo>
                  <a:lnTo>
                    <a:pt x="3363" y="1278"/>
                  </a:lnTo>
                  <a:lnTo>
                    <a:pt x="3354" y="1273"/>
                  </a:lnTo>
                  <a:lnTo>
                    <a:pt x="3337" y="1262"/>
                  </a:lnTo>
                  <a:lnTo>
                    <a:pt x="3363" y="1257"/>
                  </a:lnTo>
                  <a:lnTo>
                    <a:pt x="3354" y="1240"/>
                  </a:lnTo>
                  <a:lnTo>
                    <a:pt x="3385" y="1236"/>
                  </a:lnTo>
                  <a:lnTo>
                    <a:pt x="3418" y="1186"/>
                  </a:lnTo>
                  <a:lnTo>
                    <a:pt x="3401" y="1162"/>
                  </a:lnTo>
                  <a:lnTo>
                    <a:pt x="3337" y="1151"/>
                  </a:lnTo>
                  <a:lnTo>
                    <a:pt x="3325" y="1162"/>
                  </a:lnTo>
                  <a:lnTo>
                    <a:pt x="3316" y="1162"/>
                  </a:lnTo>
                  <a:lnTo>
                    <a:pt x="3325" y="1169"/>
                  </a:lnTo>
                  <a:lnTo>
                    <a:pt x="3309" y="1169"/>
                  </a:lnTo>
                  <a:lnTo>
                    <a:pt x="3295" y="1195"/>
                  </a:lnTo>
                  <a:lnTo>
                    <a:pt x="3283" y="1207"/>
                  </a:lnTo>
                  <a:lnTo>
                    <a:pt x="3224" y="1240"/>
                  </a:lnTo>
                  <a:lnTo>
                    <a:pt x="3207" y="1252"/>
                  </a:lnTo>
                  <a:lnTo>
                    <a:pt x="3203" y="1278"/>
                  </a:lnTo>
                  <a:lnTo>
                    <a:pt x="3174" y="1306"/>
                  </a:lnTo>
                  <a:lnTo>
                    <a:pt x="3186" y="1295"/>
                  </a:lnTo>
                  <a:lnTo>
                    <a:pt x="3153" y="1295"/>
                  </a:lnTo>
                  <a:lnTo>
                    <a:pt x="3137" y="1311"/>
                  </a:lnTo>
                  <a:lnTo>
                    <a:pt x="3115" y="1295"/>
                  </a:lnTo>
                  <a:lnTo>
                    <a:pt x="3094" y="1306"/>
                  </a:lnTo>
                  <a:lnTo>
                    <a:pt x="3082" y="1347"/>
                  </a:lnTo>
                  <a:lnTo>
                    <a:pt x="3094" y="1368"/>
                  </a:lnTo>
                  <a:lnTo>
                    <a:pt x="3120" y="1384"/>
                  </a:lnTo>
                  <a:lnTo>
                    <a:pt x="3170" y="1384"/>
                  </a:lnTo>
                  <a:lnTo>
                    <a:pt x="3186" y="1406"/>
                  </a:lnTo>
                  <a:lnTo>
                    <a:pt x="3174" y="1455"/>
                  </a:lnTo>
                  <a:lnTo>
                    <a:pt x="3203" y="1472"/>
                  </a:lnTo>
                  <a:lnTo>
                    <a:pt x="3240" y="1472"/>
                  </a:lnTo>
                  <a:lnTo>
                    <a:pt x="3245" y="1462"/>
                  </a:lnTo>
                  <a:lnTo>
                    <a:pt x="3245" y="1446"/>
                  </a:lnTo>
                  <a:lnTo>
                    <a:pt x="3309" y="1406"/>
                  </a:lnTo>
                  <a:lnTo>
                    <a:pt x="3316" y="1417"/>
                  </a:lnTo>
                  <a:lnTo>
                    <a:pt x="3333" y="1429"/>
                  </a:lnTo>
                  <a:lnTo>
                    <a:pt x="3363" y="1446"/>
                  </a:lnTo>
                  <a:lnTo>
                    <a:pt x="3401" y="1429"/>
                  </a:lnTo>
                  <a:lnTo>
                    <a:pt x="3408" y="1446"/>
                  </a:lnTo>
                  <a:lnTo>
                    <a:pt x="3434" y="1446"/>
                  </a:lnTo>
                  <a:lnTo>
                    <a:pt x="3439" y="1462"/>
                  </a:lnTo>
                  <a:lnTo>
                    <a:pt x="3422" y="1472"/>
                  </a:lnTo>
                  <a:lnTo>
                    <a:pt x="3422" y="1479"/>
                  </a:lnTo>
                  <a:lnTo>
                    <a:pt x="3434" y="1479"/>
                  </a:lnTo>
                  <a:lnTo>
                    <a:pt x="3434" y="1484"/>
                  </a:lnTo>
                  <a:lnTo>
                    <a:pt x="3408" y="1495"/>
                  </a:lnTo>
                  <a:lnTo>
                    <a:pt x="3408" y="1484"/>
                  </a:lnTo>
                  <a:lnTo>
                    <a:pt x="3392" y="1479"/>
                  </a:lnTo>
                  <a:lnTo>
                    <a:pt x="3363" y="1500"/>
                  </a:lnTo>
                  <a:lnTo>
                    <a:pt x="3363" y="1495"/>
                  </a:lnTo>
                  <a:lnTo>
                    <a:pt x="3325" y="1517"/>
                  </a:lnTo>
                  <a:lnTo>
                    <a:pt x="3309" y="1512"/>
                  </a:lnTo>
                  <a:lnTo>
                    <a:pt x="3309" y="1517"/>
                  </a:lnTo>
                  <a:lnTo>
                    <a:pt x="3316" y="1512"/>
                  </a:lnTo>
                  <a:lnTo>
                    <a:pt x="3325" y="1517"/>
                  </a:lnTo>
                  <a:lnTo>
                    <a:pt x="3316" y="1533"/>
                  </a:lnTo>
                  <a:lnTo>
                    <a:pt x="3309" y="1528"/>
                  </a:lnTo>
                  <a:lnTo>
                    <a:pt x="3300" y="1528"/>
                  </a:lnTo>
                  <a:lnTo>
                    <a:pt x="3300" y="1550"/>
                  </a:lnTo>
                  <a:lnTo>
                    <a:pt x="3278" y="1557"/>
                  </a:lnTo>
                  <a:lnTo>
                    <a:pt x="3278" y="1550"/>
                  </a:lnTo>
                  <a:lnTo>
                    <a:pt x="3278" y="1540"/>
                  </a:lnTo>
                  <a:lnTo>
                    <a:pt x="3262" y="1550"/>
                  </a:lnTo>
                  <a:lnTo>
                    <a:pt x="3271" y="1566"/>
                  </a:lnTo>
                  <a:lnTo>
                    <a:pt x="3245" y="1583"/>
                  </a:lnTo>
                  <a:lnTo>
                    <a:pt x="3245" y="1590"/>
                  </a:lnTo>
                  <a:lnTo>
                    <a:pt x="3229" y="1595"/>
                  </a:lnTo>
                  <a:lnTo>
                    <a:pt x="3207" y="1639"/>
                  </a:lnTo>
                  <a:lnTo>
                    <a:pt x="3203" y="1639"/>
                  </a:lnTo>
                  <a:lnTo>
                    <a:pt x="3191" y="1651"/>
                  </a:lnTo>
                  <a:lnTo>
                    <a:pt x="3203" y="1661"/>
                  </a:lnTo>
                  <a:lnTo>
                    <a:pt x="3219" y="1668"/>
                  </a:lnTo>
                  <a:lnTo>
                    <a:pt x="3229" y="1684"/>
                  </a:lnTo>
                  <a:lnTo>
                    <a:pt x="3271" y="1701"/>
                  </a:lnTo>
                  <a:lnTo>
                    <a:pt x="3283" y="1755"/>
                  </a:lnTo>
                  <a:lnTo>
                    <a:pt x="3316" y="1812"/>
                  </a:lnTo>
                  <a:lnTo>
                    <a:pt x="3316" y="1833"/>
                  </a:lnTo>
                  <a:lnTo>
                    <a:pt x="3354" y="1862"/>
                  </a:lnTo>
                  <a:lnTo>
                    <a:pt x="3354" y="1871"/>
                  </a:lnTo>
                  <a:lnTo>
                    <a:pt x="3380" y="1888"/>
                  </a:lnTo>
                  <a:lnTo>
                    <a:pt x="3385" y="1904"/>
                  </a:lnTo>
                  <a:lnTo>
                    <a:pt x="3385" y="1916"/>
                  </a:lnTo>
                  <a:lnTo>
                    <a:pt x="3347" y="1899"/>
                  </a:lnTo>
                  <a:lnTo>
                    <a:pt x="3325" y="1899"/>
                  </a:lnTo>
                  <a:lnTo>
                    <a:pt x="3295" y="1883"/>
                  </a:lnTo>
                  <a:lnTo>
                    <a:pt x="3262" y="1888"/>
                  </a:lnTo>
                  <a:lnTo>
                    <a:pt x="3240" y="1862"/>
                  </a:lnTo>
                  <a:lnTo>
                    <a:pt x="3229" y="1866"/>
                  </a:lnTo>
                  <a:lnTo>
                    <a:pt x="3224" y="1871"/>
                  </a:lnTo>
                  <a:lnTo>
                    <a:pt x="3240" y="1871"/>
                  </a:lnTo>
                  <a:lnTo>
                    <a:pt x="3245" y="1888"/>
                  </a:lnTo>
                  <a:lnTo>
                    <a:pt x="3262" y="1888"/>
                  </a:lnTo>
                  <a:lnTo>
                    <a:pt x="3283" y="1883"/>
                  </a:lnTo>
                  <a:lnTo>
                    <a:pt x="3300" y="1888"/>
                  </a:lnTo>
                  <a:lnTo>
                    <a:pt x="3309" y="1899"/>
                  </a:lnTo>
                  <a:lnTo>
                    <a:pt x="3300" y="1899"/>
                  </a:lnTo>
                  <a:lnTo>
                    <a:pt x="3333" y="1904"/>
                  </a:lnTo>
                  <a:lnTo>
                    <a:pt x="3370" y="1937"/>
                  </a:lnTo>
                  <a:lnTo>
                    <a:pt x="3385" y="1973"/>
                  </a:lnTo>
                  <a:lnTo>
                    <a:pt x="3385" y="1977"/>
                  </a:lnTo>
                  <a:lnTo>
                    <a:pt x="3354" y="1977"/>
                  </a:lnTo>
                  <a:lnTo>
                    <a:pt x="3325" y="1999"/>
                  </a:lnTo>
                  <a:lnTo>
                    <a:pt x="3309" y="2015"/>
                  </a:lnTo>
                  <a:lnTo>
                    <a:pt x="3283" y="2015"/>
                  </a:lnTo>
                  <a:lnTo>
                    <a:pt x="3262" y="2032"/>
                  </a:lnTo>
                  <a:lnTo>
                    <a:pt x="3295" y="2015"/>
                  </a:lnTo>
                  <a:lnTo>
                    <a:pt x="3295" y="2032"/>
                  </a:lnTo>
                  <a:lnTo>
                    <a:pt x="3309" y="2039"/>
                  </a:lnTo>
                  <a:lnTo>
                    <a:pt x="3347" y="2027"/>
                  </a:lnTo>
                  <a:lnTo>
                    <a:pt x="3370" y="2048"/>
                  </a:lnTo>
                  <a:lnTo>
                    <a:pt x="3401" y="2055"/>
                  </a:lnTo>
                  <a:lnTo>
                    <a:pt x="3370" y="2081"/>
                  </a:lnTo>
                  <a:lnTo>
                    <a:pt x="3363" y="2081"/>
                  </a:lnTo>
                  <a:lnTo>
                    <a:pt x="3354" y="2088"/>
                  </a:lnTo>
                  <a:lnTo>
                    <a:pt x="3380" y="2081"/>
                  </a:lnTo>
                  <a:lnTo>
                    <a:pt x="3380" y="2088"/>
                  </a:lnTo>
                  <a:lnTo>
                    <a:pt x="3385" y="2081"/>
                  </a:lnTo>
                  <a:lnTo>
                    <a:pt x="3380" y="2081"/>
                  </a:lnTo>
                  <a:lnTo>
                    <a:pt x="3385" y="2072"/>
                  </a:lnTo>
                  <a:lnTo>
                    <a:pt x="3392" y="2081"/>
                  </a:lnTo>
                  <a:lnTo>
                    <a:pt x="3385" y="2105"/>
                  </a:lnTo>
                  <a:lnTo>
                    <a:pt x="3392" y="2105"/>
                  </a:lnTo>
                  <a:lnTo>
                    <a:pt x="3385" y="2110"/>
                  </a:lnTo>
                  <a:lnTo>
                    <a:pt x="3380" y="2093"/>
                  </a:lnTo>
                  <a:lnTo>
                    <a:pt x="3380" y="2110"/>
                  </a:lnTo>
                  <a:lnTo>
                    <a:pt x="3363" y="2105"/>
                  </a:lnTo>
                  <a:lnTo>
                    <a:pt x="3354" y="2110"/>
                  </a:lnTo>
                  <a:lnTo>
                    <a:pt x="3370" y="2121"/>
                  </a:lnTo>
                  <a:lnTo>
                    <a:pt x="3370" y="2126"/>
                  </a:lnTo>
                  <a:lnTo>
                    <a:pt x="3354" y="2126"/>
                  </a:lnTo>
                  <a:lnTo>
                    <a:pt x="3370" y="2138"/>
                  </a:lnTo>
                  <a:lnTo>
                    <a:pt x="3363" y="2143"/>
                  </a:lnTo>
                  <a:lnTo>
                    <a:pt x="3347" y="2143"/>
                  </a:lnTo>
                  <a:lnTo>
                    <a:pt x="3333" y="2138"/>
                  </a:lnTo>
                  <a:lnTo>
                    <a:pt x="3354" y="2150"/>
                  </a:lnTo>
                  <a:lnTo>
                    <a:pt x="3370" y="2176"/>
                  </a:lnTo>
                  <a:lnTo>
                    <a:pt x="3363" y="2183"/>
                  </a:lnTo>
                  <a:lnTo>
                    <a:pt x="3354" y="2176"/>
                  </a:lnTo>
                  <a:lnTo>
                    <a:pt x="3347" y="2192"/>
                  </a:lnTo>
                  <a:lnTo>
                    <a:pt x="3337" y="2176"/>
                  </a:lnTo>
                  <a:lnTo>
                    <a:pt x="3316" y="2199"/>
                  </a:lnTo>
                  <a:lnTo>
                    <a:pt x="3295" y="2199"/>
                  </a:lnTo>
                  <a:lnTo>
                    <a:pt x="3316" y="2204"/>
                  </a:lnTo>
                  <a:lnTo>
                    <a:pt x="3316" y="2216"/>
                  </a:lnTo>
                  <a:lnTo>
                    <a:pt x="3295" y="2232"/>
                  </a:lnTo>
                  <a:lnTo>
                    <a:pt x="3300" y="2249"/>
                  </a:lnTo>
                  <a:lnTo>
                    <a:pt x="3283" y="2258"/>
                  </a:lnTo>
                  <a:lnTo>
                    <a:pt x="3278" y="2254"/>
                  </a:lnTo>
                  <a:lnTo>
                    <a:pt x="3271" y="2254"/>
                  </a:lnTo>
                  <a:lnTo>
                    <a:pt x="3271" y="2258"/>
                  </a:lnTo>
                  <a:lnTo>
                    <a:pt x="3283" y="2270"/>
                  </a:lnTo>
                  <a:lnTo>
                    <a:pt x="3271" y="2270"/>
                  </a:lnTo>
                  <a:lnTo>
                    <a:pt x="3271" y="2287"/>
                  </a:lnTo>
                  <a:lnTo>
                    <a:pt x="3257" y="2287"/>
                  </a:lnTo>
                  <a:lnTo>
                    <a:pt x="3262" y="2310"/>
                  </a:lnTo>
                  <a:lnTo>
                    <a:pt x="3245" y="2315"/>
                  </a:lnTo>
                  <a:lnTo>
                    <a:pt x="3262" y="2294"/>
                  </a:lnTo>
                  <a:lnTo>
                    <a:pt x="3245" y="2294"/>
                  </a:lnTo>
                  <a:lnTo>
                    <a:pt x="3245" y="2310"/>
                  </a:lnTo>
                  <a:lnTo>
                    <a:pt x="3240" y="2294"/>
                  </a:lnTo>
                  <a:lnTo>
                    <a:pt x="3229" y="2294"/>
                  </a:lnTo>
                  <a:lnTo>
                    <a:pt x="3229" y="2303"/>
                  </a:lnTo>
                  <a:lnTo>
                    <a:pt x="3224" y="2294"/>
                  </a:lnTo>
                  <a:lnTo>
                    <a:pt x="3224" y="2310"/>
                  </a:lnTo>
                  <a:lnTo>
                    <a:pt x="3229" y="2310"/>
                  </a:lnTo>
                  <a:lnTo>
                    <a:pt x="3240" y="2327"/>
                  </a:lnTo>
                  <a:lnTo>
                    <a:pt x="3229" y="2315"/>
                  </a:lnTo>
                  <a:lnTo>
                    <a:pt x="3224" y="2327"/>
                  </a:lnTo>
                  <a:lnTo>
                    <a:pt x="3229" y="2332"/>
                  </a:lnTo>
                  <a:lnTo>
                    <a:pt x="3240" y="2327"/>
                  </a:lnTo>
                  <a:lnTo>
                    <a:pt x="3245" y="2327"/>
                  </a:lnTo>
                  <a:lnTo>
                    <a:pt x="3229" y="2332"/>
                  </a:lnTo>
                  <a:lnTo>
                    <a:pt x="3219" y="2360"/>
                  </a:lnTo>
                  <a:lnTo>
                    <a:pt x="3191" y="2343"/>
                  </a:lnTo>
                  <a:lnTo>
                    <a:pt x="3207" y="2360"/>
                  </a:lnTo>
                  <a:lnTo>
                    <a:pt x="3224" y="2348"/>
                  </a:lnTo>
                  <a:lnTo>
                    <a:pt x="3229" y="2360"/>
                  </a:lnTo>
                  <a:lnTo>
                    <a:pt x="3224" y="2365"/>
                  </a:lnTo>
                  <a:lnTo>
                    <a:pt x="3224" y="2381"/>
                  </a:lnTo>
                  <a:lnTo>
                    <a:pt x="3219" y="2381"/>
                  </a:lnTo>
                  <a:lnTo>
                    <a:pt x="3229" y="2402"/>
                  </a:lnTo>
                  <a:lnTo>
                    <a:pt x="3207" y="2386"/>
                  </a:lnTo>
                  <a:lnTo>
                    <a:pt x="3191" y="2402"/>
                  </a:lnTo>
                  <a:lnTo>
                    <a:pt x="3207" y="2414"/>
                  </a:lnTo>
                  <a:lnTo>
                    <a:pt x="3191" y="2426"/>
                  </a:lnTo>
                  <a:lnTo>
                    <a:pt x="3186" y="2419"/>
                  </a:lnTo>
                  <a:lnTo>
                    <a:pt x="3186" y="2414"/>
                  </a:lnTo>
                  <a:lnTo>
                    <a:pt x="3174" y="2414"/>
                  </a:lnTo>
                  <a:lnTo>
                    <a:pt x="3186" y="2419"/>
                  </a:lnTo>
                  <a:lnTo>
                    <a:pt x="3170" y="2426"/>
                  </a:lnTo>
                  <a:lnTo>
                    <a:pt x="3186" y="2438"/>
                  </a:lnTo>
                  <a:lnTo>
                    <a:pt x="3165" y="2443"/>
                  </a:lnTo>
                  <a:lnTo>
                    <a:pt x="3165" y="2438"/>
                  </a:lnTo>
                  <a:lnTo>
                    <a:pt x="3153" y="2443"/>
                  </a:lnTo>
                  <a:lnTo>
                    <a:pt x="3153" y="2454"/>
                  </a:lnTo>
                  <a:lnTo>
                    <a:pt x="3170" y="2454"/>
                  </a:lnTo>
                  <a:lnTo>
                    <a:pt x="3153" y="2471"/>
                  </a:lnTo>
                  <a:lnTo>
                    <a:pt x="3148" y="2459"/>
                  </a:lnTo>
                  <a:lnTo>
                    <a:pt x="3132" y="2471"/>
                  </a:lnTo>
                  <a:lnTo>
                    <a:pt x="3120" y="2459"/>
                  </a:lnTo>
                  <a:lnTo>
                    <a:pt x="3111" y="2471"/>
                  </a:lnTo>
                  <a:lnTo>
                    <a:pt x="3115" y="2471"/>
                  </a:lnTo>
                  <a:lnTo>
                    <a:pt x="3115" y="2476"/>
                  </a:lnTo>
                  <a:lnTo>
                    <a:pt x="3099" y="2476"/>
                  </a:lnTo>
                  <a:lnTo>
                    <a:pt x="3115" y="2476"/>
                  </a:lnTo>
                  <a:lnTo>
                    <a:pt x="3120" y="2492"/>
                  </a:lnTo>
                  <a:lnTo>
                    <a:pt x="3094" y="2513"/>
                  </a:lnTo>
                  <a:lnTo>
                    <a:pt x="3099" y="2509"/>
                  </a:lnTo>
                  <a:lnTo>
                    <a:pt x="3082" y="2525"/>
                  </a:lnTo>
                  <a:lnTo>
                    <a:pt x="3061" y="2530"/>
                  </a:lnTo>
                  <a:lnTo>
                    <a:pt x="3056" y="2537"/>
                  </a:lnTo>
                  <a:lnTo>
                    <a:pt x="3040" y="2530"/>
                  </a:lnTo>
                  <a:lnTo>
                    <a:pt x="3023" y="2563"/>
                  </a:lnTo>
                  <a:lnTo>
                    <a:pt x="3007" y="2554"/>
                  </a:lnTo>
                  <a:lnTo>
                    <a:pt x="3030" y="2570"/>
                  </a:lnTo>
                  <a:lnTo>
                    <a:pt x="3007" y="2570"/>
                  </a:lnTo>
                  <a:lnTo>
                    <a:pt x="3007" y="2587"/>
                  </a:lnTo>
                  <a:lnTo>
                    <a:pt x="2992" y="2591"/>
                  </a:lnTo>
                  <a:lnTo>
                    <a:pt x="2959" y="2603"/>
                  </a:lnTo>
                  <a:lnTo>
                    <a:pt x="2948" y="2591"/>
                  </a:lnTo>
                  <a:lnTo>
                    <a:pt x="2938" y="2591"/>
                  </a:lnTo>
                  <a:lnTo>
                    <a:pt x="2938" y="2608"/>
                  </a:lnTo>
                  <a:lnTo>
                    <a:pt x="2917" y="2603"/>
                  </a:lnTo>
                  <a:lnTo>
                    <a:pt x="2893" y="2608"/>
                  </a:lnTo>
                  <a:lnTo>
                    <a:pt x="2893" y="2620"/>
                  </a:lnTo>
                  <a:lnTo>
                    <a:pt x="2884" y="2620"/>
                  </a:lnTo>
                  <a:lnTo>
                    <a:pt x="2884" y="2603"/>
                  </a:lnTo>
                  <a:lnTo>
                    <a:pt x="2867" y="2608"/>
                  </a:lnTo>
                  <a:lnTo>
                    <a:pt x="2879" y="2624"/>
                  </a:lnTo>
                  <a:lnTo>
                    <a:pt x="2867" y="2624"/>
                  </a:lnTo>
                  <a:lnTo>
                    <a:pt x="2863" y="2620"/>
                  </a:lnTo>
                  <a:lnTo>
                    <a:pt x="2846" y="2620"/>
                  </a:lnTo>
                  <a:lnTo>
                    <a:pt x="2851" y="2624"/>
                  </a:lnTo>
                  <a:lnTo>
                    <a:pt x="2863" y="2624"/>
                  </a:lnTo>
                  <a:lnTo>
                    <a:pt x="2851" y="2636"/>
                  </a:lnTo>
                  <a:lnTo>
                    <a:pt x="2851" y="2641"/>
                  </a:lnTo>
                  <a:lnTo>
                    <a:pt x="2829" y="2636"/>
                  </a:lnTo>
                  <a:lnTo>
                    <a:pt x="2841" y="2624"/>
                  </a:lnTo>
                  <a:lnTo>
                    <a:pt x="2825" y="2624"/>
                  </a:lnTo>
                  <a:lnTo>
                    <a:pt x="2813" y="2603"/>
                  </a:lnTo>
                  <a:lnTo>
                    <a:pt x="2808" y="2591"/>
                  </a:lnTo>
                  <a:lnTo>
                    <a:pt x="2796" y="2580"/>
                  </a:lnTo>
                  <a:lnTo>
                    <a:pt x="2825" y="2580"/>
                  </a:lnTo>
                  <a:lnTo>
                    <a:pt x="2813" y="2570"/>
                  </a:lnTo>
                  <a:lnTo>
                    <a:pt x="2796" y="2580"/>
                  </a:lnTo>
                  <a:lnTo>
                    <a:pt x="2796" y="2591"/>
                  </a:lnTo>
                  <a:lnTo>
                    <a:pt x="2792" y="2591"/>
                  </a:lnTo>
                  <a:lnTo>
                    <a:pt x="2796" y="2620"/>
                  </a:lnTo>
                  <a:lnTo>
                    <a:pt x="2796" y="2641"/>
                  </a:lnTo>
                  <a:lnTo>
                    <a:pt x="2796" y="2653"/>
                  </a:lnTo>
                  <a:lnTo>
                    <a:pt x="2792" y="2653"/>
                  </a:lnTo>
                  <a:lnTo>
                    <a:pt x="2775" y="2620"/>
                  </a:lnTo>
                  <a:lnTo>
                    <a:pt x="2792" y="2653"/>
                  </a:lnTo>
                  <a:lnTo>
                    <a:pt x="2787" y="2653"/>
                  </a:lnTo>
                  <a:lnTo>
                    <a:pt x="2775" y="2658"/>
                  </a:lnTo>
                  <a:lnTo>
                    <a:pt x="2770" y="2658"/>
                  </a:lnTo>
                  <a:lnTo>
                    <a:pt x="2770" y="2641"/>
                  </a:lnTo>
                  <a:lnTo>
                    <a:pt x="2759" y="2674"/>
                  </a:lnTo>
                  <a:lnTo>
                    <a:pt x="2754" y="2665"/>
                  </a:lnTo>
                  <a:lnTo>
                    <a:pt x="2737" y="2681"/>
                  </a:lnTo>
                  <a:lnTo>
                    <a:pt x="2733" y="2674"/>
                  </a:lnTo>
                  <a:lnTo>
                    <a:pt x="2716" y="2681"/>
                  </a:lnTo>
                  <a:lnTo>
                    <a:pt x="2683" y="2665"/>
                  </a:lnTo>
                  <a:lnTo>
                    <a:pt x="2690" y="2681"/>
                  </a:lnTo>
                  <a:lnTo>
                    <a:pt x="2683" y="2691"/>
                  </a:lnTo>
                  <a:lnTo>
                    <a:pt x="2666" y="2674"/>
                  </a:lnTo>
                  <a:lnTo>
                    <a:pt x="2678" y="2691"/>
                  </a:lnTo>
                  <a:lnTo>
                    <a:pt x="2666" y="2698"/>
                  </a:lnTo>
                  <a:lnTo>
                    <a:pt x="2629" y="2707"/>
                  </a:lnTo>
                  <a:lnTo>
                    <a:pt x="2624" y="2698"/>
                  </a:lnTo>
                  <a:lnTo>
                    <a:pt x="2624" y="2707"/>
                  </a:lnTo>
                  <a:lnTo>
                    <a:pt x="2629" y="2698"/>
                  </a:lnTo>
                  <a:lnTo>
                    <a:pt x="2607" y="2707"/>
                  </a:lnTo>
                  <a:lnTo>
                    <a:pt x="2598" y="2714"/>
                  </a:lnTo>
                  <a:lnTo>
                    <a:pt x="2607" y="2707"/>
                  </a:lnTo>
                  <a:lnTo>
                    <a:pt x="2598" y="2707"/>
                  </a:lnTo>
                  <a:lnTo>
                    <a:pt x="2598" y="2719"/>
                  </a:lnTo>
                  <a:lnTo>
                    <a:pt x="2591" y="2719"/>
                  </a:lnTo>
                  <a:lnTo>
                    <a:pt x="2581" y="2719"/>
                  </a:lnTo>
                  <a:lnTo>
                    <a:pt x="2581" y="2707"/>
                  </a:lnTo>
                  <a:lnTo>
                    <a:pt x="2581" y="2719"/>
                  </a:lnTo>
                  <a:lnTo>
                    <a:pt x="2560" y="2736"/>
                  </a:lnTo>
                  <a:lnTo>
                    <a:pt x="2560" y="2747"/>
                  </a:lnTo>
                  <a:lnTo>
                    <a:pt x="2577" y="2747"/>
                  </a:lnTo>
                  <a:lnTo>
                    <a:pt x="2577" y="2764"/>
                  </a:lnTo>
                  <a:lnTo>
                    <a:pt x="2591" y="2776"/>
                  </a:lnTo>
                  <a:lnTo>
                    <a:pt x="2577" y="2792"/>
                  </a:lnTo>
                  <a:lnTo>
                    <a:pt x="2553" y="2792"/>
                  </a:lnTo>
                  <a:lnTo>
                    <a:pt x="2544" y="2792"/>
                  </a:lnTo>
                  <a:lnTo>
                    <a:pt x="2544" y="2785"/>
                  </a:lnTo>
                  <a:lnTo>
                    <a:pt x="2553" y="2776"/>
                  </a:lnTo>
                  <a:lnTo>
                    <a:pt x="2539" y="2764"/>
                  </a:lnTo>
                  <a:lnTo>
                    <a:pt x="2527" y="2747"/>
                  </a:lnTo>
                  <a:lnTo>
                    <a:pt x="2539" y="2714"/>
                  </a:lnTo>
                  <a:lnTo>
                    <a:pt x="2553" y="2707"/>
                  </a:lnTo>
                  <a:lnTo>
                    <a:pt x="2539" y="2707"/>
                  </a:lnTo>
                  <a:lnTo>
                    <a:pt x="2539" y="2691"/>
                  </a:lnTo>
                  <a:lnTo>
                    <a:pt x="2539" y="2698"/>
                  </a:lnTo>
                  <a:lnTo>
                    <a:pt x="2527" y="2698"/>
                  </a:lnTo>
                  <a:lnTo>
                    <a:pt x="2522" y="2681"/>
                  </a:lnTo>
                  <a:lnTo>
                    <a:pt x="2522" y="2691"/>
                  </a:lnTo>
                  <a:lnTo>
                    <a:pt x="2522" y="2698"/>
                  </a:lnTo>
                  <a:lnTo>
                    <a:pt x="2489" y="2707"/>
                  </a:lnTo>
                  <a:lnTo>
                    <a:pt x="2489" y="2691"/>
                  </a:lnTo>
                  <a:lnTo>
                    <a:pt x="2473" y="2681"/>
                  </a:lnTo>
                  <a:lnTo>
                    <a:pt x="2468" y="2674"/>
                  </a:lnTo>
                  <a:lnTo>
                    <a:pt x="2473" y="2691"/>
                  </a:lnTo>
                  <a:lnTo>
                    <a:pt x="2468" y="2691"/>
                  </a:lnTo>
                  <a:lnTo>
                    <a:pt x="2463" y="2665"/>
                  </a:lnTo>
                  <a:lnTo>
                    <a:pt x="2447" y="2665"/>
                  </a:lnTo>
                  <a:lnTo>
                    <a:pt x="2447" y="2674"/>
                  </a:lnTo>
                  <a:lnTo>
                    <a:pt x="2451" y="2681"/>
                  </a:lnTo>
                  <a:lnTo>
                    <a:pt x="2447" y="2691"/>
                  </a:lnTo>
                  <a:lnTo>
                    <a:pt x="2435" y="2698"/>
                  </a:lnTo>
                  <a:lnTo>
                    <a:pt x="2447" y="2691"/>
                  </a:lnTo>
                  <a:lnTo>
                    <a:pt x="2435" y="2681"/>
                  </a:lnTo>
                  <a:lnTo>
                    <a:pt x="2430" y="2698"/>
                  </a:lnTo>
                  <a:lnTo>
                    <a:pt x="2430" y="2691"/>
                  </a:lnTo>
                  <a:lnTo>
                    <a:pt x="2414" y="2698"/>
                  </a:lnTo>
                  <a:lnTo>
                    <a:pt x="2397" y="2691"/>
                  </a:lnTo>
                  <a:lnTo>
                    <a:pt x="2364" y="2691"/>
                  </a:lnTo>
                  <a:lnTo>
                    <a:pt x="2359" y="2681"/>
                  </a:lnTo>
                  <a:lnTo>
                    <a:pt x="2343" y="2674"/>
                  </a:lnTo>
                  <a:lnTo>
                    <a:pt x="2343" y="2665"/>
                  </a:lnTo>
                  <a:lnTo>
                    <a:pt x="2322" y="2658"/>
                  </a:lnTo>
                  <a:lnTo>
                    <a:pt x="2322" y="2641"/>
                  </a:lnTo>
                  <a:lnTo>
                    <a:pt x="2312" y="2624"/>
                  </a:lnTo>
                  <a:lnTo>
                    <a:pt x="2326" y="2603"/>
                  </a:lnTo>
                  <a:lnTo>
                    <a:pt x="2322" y="2591"/>
                  </a:lnTo>
                  <a:lnTo>
                    <a:pt x="2305" y="2587"/>
                  </a:lnTo>
                  <a:lnTo>
                    <a:pt x="2289" y="2591"/>
                  </a:lnTo>
                  <a:lnTo>
                    <a:pt x="2284" y="2587"/>
                  </a:lnTo>
                  <a:lnTo>
                    <a:pt x="2258" y="2591"/>
                  </a:lnTo>
                  <a:lnTo>
                    <a:pt x="2241" y="2580"/>
                  </a:lnTo>
                  <a:lnTo>
                    <a:pt x="2229" y="2563"/>
                  </a:lnTo>
                  <a:lnTo>
                    <a:pt x="2199" y="2570"/>
                  </a:lnTo>
                  <a:lnTo>
                    <a:pt x="2182" y="2603"/>
                  </a:lnTo>
                  <a:lnTo>
                    <a:pt x="2175" y="2591"/>
                  </a:lnTo>
                  <a:lnTo>
                    <a:pt x="2161" y="2608"/>
                  </a:lnTo>
                  <a:lnTo>
                    <a:pt x="2149" y="2603"/>
                  </a:lnTo>
                  <a:lnTo>
                    <a:pt x="2149" y="2591"/>
                  </a:lnTo>
                  <a:lnTo>
                    <a:pt x="2133" y="2603"/>
                  </a:lnTo>
                  <a:lnTo>
                    <a:pt x="2128" y="2624"/>
                  </a:lnTo>
                  <a:lnTo>
                    <a:pt x="2107" y="2603"/>
                  </a:lnTo>
                  <a:lnTo>
                    <a:pt x="2095" y="2620"/>
                  </a:lnTo>
                  <a:lnTo>
                    <a:pt x="2078" y="2603"/>
                  </a:lnTo>
                  <a:lnTo>
                    <a:pt x="2069" y="2624"/>
                  </a:lnTo>
                  <a:lnTo>
                    <a:pt x="2024" y="2603"/>
                  </a:lnTo>
                  <a:lnTo>
                    <a:pt x="2003" y="2636"/>
                  </a:lnTo>
                  <a:lnTo>
                    <a:pt x="1972" y="2624"/>
                  </a:lnTo>
                  <a:lnTo>
                    <a:pt x="1960" y="2641"/>
                  </a:lnTo>
                  <a:lnTo>
                    <a:pt x="1965" y="2665"/>
                  </a:lnTo>
                  <a:lnTo>
                    <a:pt x="1972" y="2674"/>
                  </a:lnTo>
                  <a:lnTo>
                    <a:pt x="1972" y="2714"/>
                  </a:lnTo>
                  <a:lnTo>
                    <a:pt x="1981" y="2719"/>
                  </a:lnTo>
                  <a:lnTo>
                    <a:pt x="1972" y="2731"/>
                  </a:lnTo>
                  <a:lnTo>
                    <a:pt x="1960" y="2719"/>
                  </a:lnTo>
                  <a:lnTo>
                    <a:pt x="1944" y="2719"/>
                  </a:lnTo>
                  <a:lnTo>
                    <a:pt x="1934" y="2691"/>
                  </a:lnTo>
                  <a:lnTo>
                    <a:pt x="1927" y="2681"/>
                  </a:lnTo>
                  <a:lnTo>
                    <a:pt x="1889" y="2707"/>
                  </a:lnTo>
                  <a:lnTo>
                    <a:pt x="1880" y="2698"/>
                  </a:lnTo>
                  <a:lnTo>
                    <a:pt x="1863" y="2707"/>
                  </a:lnTo>
                  <a:lnTo>
                    <a:pt x="1859" y="2698"/>
                  </a:lnTo>
                  <a:lnTo>
                    <a:pt x="1859" y="2691"/>
                  </a:lnTo>
                  <a:lnTo>
                    <a:pt x="1851" y="2681"/>
                  </a:lnTo>
                  <a:lnTo>
                    <a:pt x="1851" y="2658"/>
                  </a:lnTo>
                  <a:lnTo>
                    <a:pt x="1788" y="2653"/>
                  </a:lnTo>
                  <a:lnTo>
                    <a:pt x="1809" y="2624"/>
                  </a:lnTo>
                  <a:lnTo>
                    <a:pt x="1804" y="2608"/>
                  </a:lnTo>
                  <a:lnTo>
                    <a:pt x="1821" y="2587"/>
                  </a:lnTo>
                  <a:lnTo>
                    <a:pt x="1821" y="2580"/>
                  </a:lnTo>
                  <a:lnTo>
                    <a:pt x="1788" y="2580"/>
                  </a:lnTo>
                  <a:lnTo>
                    <a:pt x="1771" y="2570"/>
                  </a:lnTo>
                  <a:lnTo>
                    <a:pt x="1771" y="2554"/>
                  </a:lnTo>
                  <a:lnTo>
                    <a:pt x="1766" y="2547"/>
                  </a:lnTo>
                  <a:lnTo>
                    <a:pt x="1766" y="2530"/>
                  </a:lnTo>
                  <a:lnTo>
                    <a:pt x="1755" y="2525"/>
                  </a:lnTo>
                  <a:lnTo>
                    <a:pt x="1755" y="2513"/>
                  </a:lnTo>
                  <a:lnTo>
                    <a:pt x="1771" y="2497"/>
                  </a:lnTo>
                  <a:lnTo>
                    <a:pt x="1717" y="2497"/>
                  </a:lnTo>
                  <a:lnTo>
                    <a:pt x="1691" y="2525"/>
                  </a:lnTo>
                  <a:lnTo>
                    <a:pt x="1679" y="2513"/>
                  </a:lnTo>
                  <a:lnTo>
                    <a:pt x="1696" y="2497"/>
                  </a:lnTo>
                  <a:lnTo>
                    <a:pt x="1691" y="2476"/>
                  </a:lnTo>
                  <a:lnTo>
                    <a:pt x="1679" y="2476"/>
                  </a:lnTo>
                  <a:lnTo>
                    <a:pt x="1679" y="2454"/>
                  </a:lnTo>
                  <a:lnTo>
                    <a:pt x="1696" y="2438"/>
                  </a:lnTo>
                  <a:lnTo>
                    <a:pt x="1696" y="2414"/>
                  </a:lnTo>
                  <a:lnTo>
                    <a:pt x="1700" y="2419"/>
                  </a:lnTo>
                  <a:lnTo>
                    <a:pt x="1712" y="2414"/>
                  </a:lnTo>
                  <a:lnTo>
                    <a:pt x="1729" y="2386"/>
                  </a:lnTo>
                  <a:lnTo>
                    <a:pt x="1733" y="2386"/>
                  </a:lnTo>
                  <a:lnTo>
                    <a:pt x="1750" y="2365"/>
                  </a:lnTo>
                  <a:lnTo>
                    <a:pt x="1755" y="2365"/>
                  </a:lnTo>
                  <a:lnTo>
                    <a:pt x="1750" y="2348"/>
                  </a:lnTo>
                  <a:lnTo>
                    <a:pt x="1766" y="2343"/>
                  </a:lnTo>
                  <a:lnTo>
                    <a:pt x="1766" y="2294"/>
                  </a:lnTo>
                  <a:lnTo>
                    <a:pt x="1755" y="2237"/>
                  </a:lnTo>
                  <a:lnTo>
                    <a:pt x="1745" y="2232"/>
                  </a:lnTo>
                  <a:lnTo>
                    <a:pt x="1733" y="2237"/>
                  </a:lnTo>
                  <a:lnTo>
                    <a:pt x="1717" y="2192"/>
                  </a:lnTo>
                  <a:lnTo>
                    <a:pt x="1712" y="2183"/>
                  </a:lnTo>
                  <a:lnTo>
                    <a:pt x="1679" y="2159"/>
                  </a:lnTo>
                  <a:lnTo>
                    <a:pt x="1674" y="2176"/>
                  </a:lnTo>
                  <a:lnTo>
                    <a:pt x="1663" y="2183"/>
                  </a:lnTo>
                  <a:lnTo>
                    <a:pt x="1646" y="2176"/>
                  </a:lnTo>
                  <a:lnTo>
                    <a:pt x="1641" y="2176"/>
                  </a:lnTo>
                  <a:lnTo>
                    <a:pt x="1620" y="2166"/>
                  </a:lnTo>
                  <a:lnTo>
                    <a:pt x="1594" y="2176"/>
                  </a:lnTo>
                  <a:lnTo>
                    <a:pt x="1594" y="2159"/>
                  </a:lnTo>
                  <a:lnTo>
                    <a:pt x="1608" y="2143"/>
                  </a:lnTo>
                  <a:lnTo>
                    <a:pt x="1603" y="2121"/>
                  </a:lnTo>
                  <a:lnTo>
                    <a:pt x="1582" y="2126"/>
                  </a:lnTo>
                  <a:lnTo>
                    <a:pt x="1582" y="2121"/>
                  </a:lnTo>
                  <a:lnTo>
                    <a:pt x="1594" y="2105"/>
                  </a:lnTo>
                  <a:lnTo>
                    <a:pt x="1587" y="2105"/>
                  </a:lnTo>
                  <a:lnTo>
                    <a:pt x="1570" y="2088"/>
                  </a:lnTo>
                  <a:lnTo>
                    <a:pt x="1540" y="2105"/>
                  </a:lnTo>
                  <a:lnTo>
                    <a:pt x="1528" y="2121"/>
                  </a:lnTo>
                  <a:lnTo>
                    <a:pt x="1485" y="2110"/>
                  </a:lnTo>
                  <a:lnTo>
                    <a:pt x="1474" y="2093"/>
                  </a:lnTo>
                  <a:lnTo>
                    <a:pt x="1448" y="2121"/>
                  </a:lnTo>
                  <a:lnTo>
                    <a:pt x="1426" y="2150"/>
                  </a:lnTo>
                  <a:lnTo>
                    <a:pt x="1389" y="2150"/>
                  </a:lnTo>
                  <a:lnTo>
                    <a:pt x="1372" y="2176"/>
                  </a:lnTo>
                  <a:lnTo>
                    <a:pt x="1339" y="2192"/>
                  </a:lnTo>
                  <a:lnTo>
                    <a:pt x="1339" y="2204"/>
                  </a:lnTo>
                  <a:lnTo>
                    <a:pt x="1322" y="2216"/>
                  </a:lnTo>
                  <a:lnTo>
                    <a:pt x="1313" y="2216"/>
                  </a:lnTo>
                  <a:lnTo>
                    <a:pt x="1285" y="2221"/>
                  </a:lnTo>
                  <a:lnTo>
                    <a:pt x="1263" y="2221"/>
                  </a:lnTo>
                  <a:lnTo>
                    <a:pt x="1263" y="2204"/>
                  </a:lnTo>
                  <a:lnTo>
                    <a:pt x="1242" y="2199"/>
                  </a:lnTo>
                  <a:lnTo>
                    <a:pt x="1226" y="2204"/>
                  </a:lnTo>
                  <a:lnTo>
                    <a:pt x="1178" y="2199"/>
                  </a:lnTo>
                  <a:lnTo>
                    <a:pt x="1178" y="2183"/>
                  </a:lnTo>
                  <a:lnTo>
                    <a:pt x="1150" y="2176"/>
                  </a:lnTo>
                  <a:lnTo>
                    <a:pt x="1117" y="2199"/>
                  </a:lnTo>
                  <a:lnTo>
                    <a:pt x="1070" y="2254"/>
                  </a:lnTo>
                  <a:lnTo>
                    <a:pt x="1065" y="2237"/>
                  </a:lnTo>
                  <a:lnTo>
                    <a:pt x="1070" y="2216"/>
                  </a:lnTo>
                  <a:lnTo>
                    <a:pt x="1070" y="2199"/>
                  </a:lnTo>
                  <a:lnTo>
                    <a:pt x="1053" y="2192"/>
                  </a:lnTo>
                  <a:lnTo>
                    <a:pt x="1041" y="2199"/>
                  </a:lnTo>
                  <a:lnTo>
                    <a:pt x="1015" y="2204"/>
                  </a:lnTo>
                  <a:lnTo>
                    <a:pt x="1015" y="2216"/>
                  </a:lnTo>
                  <a:lnTo>
                    <a:pt x="999" y="2204"/>
                  </a:lnTo>
                  <a:lnTo>
                    <a:pt x="989" y="2216"/>
                  </a:lnTo>
                  <a:lnTo>
                    <a:pt x="956" y="2216"/>
                  </a:lnTo>
                  <a:lnTo>
                    <a:pt x="918" y="2192"/>
                  </a:lnTo>
                  <a:lnTo>
                    <a:pt x="907" y="2192"/>
                  </a:lnTo>
                  <a:lnTo>
                    <a:pt x="902" y="2204"/>
                  </a:lnTo>
                  <a:lnTo>
                    <a:pt x="885" y="2199"/>
                  </a:lnTo>
                  <a:lnTo>
                    <a:pt x="885" y="2192"/>
                  </a:lnTo>
                  <a:lnTo>
                    <a:pt x="881" y="2192"/>
                  </a:lnTo>
                  <a:lnTo>
                    <a:pt x="881" y="2204"/>
                  </a:lnTo>
                  <a:lnTo>
                    <a:pt x="869" y="2204"/>
                  </a:lnTo>
                  <a:lnTo>
                    <a:pt x="864" y="2192"/>
                  </a:lnTo>
                  <a:lnTo>
                    <a:pt x="848" y="2183"/>
                  </a:lnTo>
                  <a:lnTo>
                    <a:pt x="810" y="2176"/>
                  </a:lnTo>
                  <a:lnTo>
                    <a:pt x="810" y="2150"/>
                  </a:lnTo>
                  <a:lnTo>
                    <a:pt x="800" y="2150"/>
                  </a:lnTo>
                  <a:lnTo>
                    <a:pt x="784" y="2159"/>
                  </a:lnTo>
                  <a:lnTo>
                    <a:pt x="763" y="2143"/>
                  </a:lnTo>
                  <a:lnTo>
                    <a:pt x="746" y="2126"/>
                  </a:lnTo>
                  <a:lnTo>
                    <a:pt x="739" y="2105"/>
                  </a:lnTo>
                  <a:lnTo>
                    <a:pt x="725" y="2105"/>
                  </a:lnTo>
                  <a:lnTo>
                    <a:pt x="708" y="2110"/>
                  </a:lnTo>
                  <a:lnTo>
                    <a:pt x="701" y="2110"/>
                  </a:lnTo>
                  <a:lnTo>
                    <a:pt x="670" y="2072"/>
                  </a:lnTo>
                  <a:lnTo>
                    <a:pt x="649" y="2072"/>
                  </a:lnTo>
                  <a:lnTo>
                    <a:pt x="616" y="2039"/>
                  </a:lnTo>
                  <a:lnTo>
                    <a:pt x="600" y="2039"/>
                  </a:lnTo>
                  <a:lnTo>
                    <a:pt x="595" y="2015"/>
                  </a:lnTo>
                  <a:lnTo>
                    <a:pt x="545" y="2015"/>
                  </a:lnTo>
                  <a:lnTo>
                    <a:pt x="545" y="2032"/>
                  </a:lnTo>
                  <a:lnTo>
                    <a:pt x="529" y="2039"/>
                  </a:lnTo>
                  <a:lnTo>
                    <a:pt x="524" y="2039"/>
                  </a:lnTo>
                  <a:lnTo>
                    <a:pt x="524" y="2032"/>
                  </a:lnTo>
                  <a:lnTo>
                    <a:pt x="524" y="2032"/>
                  </a:lnTo>
                  <a:lnTo>
                    <a:pt x="524" y="2032"/>
                  </a:lnTo>
                  <a:close/>
                  <a:moveTo>
                    <a:pt x="3354" y="1278"/>
                  </a:moveTo>
                  <a:lnTo>
                    <a:pt x="3337" y="1278"/>
                  </a:lnTo>
                  <a:lnTo>
                    <a:pt x="3354" y="1273"/>
                  </a:lnTo>
                  <a:lnTo>
                    <a:pt x="3354" y="1278"/>
                  </a:lnTo>
                  <a:lnTo>
                    <a:pt x="3354" y="1278"/>
                  </a:lnTo>
                  <a:lnTo>
                    <a:pt x="3354" y="1278"/>
                  </a:lnTo>
                  <a:close/>
                  <a:moveTo>
                    <a:pt x="3229" y="1866"/>
                  </a:moveTo>
                  <a:lnTo>
                    <a:pt x="3240" y="1866"/>
                  </a:lnTo>
                  <a:lnTo>
                    <a:pt x="3245" y="1883"/>
                  </a:lnTo>
                  <a:lnTo>
                    <a:pt x="3229" y="1866"/>
                  </a:lnTo>
                  <a:lnTo>
                    <a:pt x="3229" y="1866"/>
                  </a:lnTo>
                  <a:lnTo>
                    <a:pt x="3229" y="1866"/>
                  </a:lnTo>
                  <a:close/>
                  <a:moveTo>
                    <a:pt x="3337" y="1904"/>
                  </a:moveTo>
                  <a:lnTo>
                    <a:pt x="3347" y="1899"/>
                  </a:lnTo>
                  <a:lnTo>
                    <a:pt x="3385" y="1928"/>
                  </a:lnTo>
                  <a:lnTo>
                    <a:pt x="3363" y="1921"/>
                  </a:lnTo>
                  <a:lnTo>
                    <a:pt x="3337" y="1904"/>
                  </a:lnTo>
                  <a:lnTo>
                    <a:pt x="3337" y="1904"/>
                  </a:lnTo>
                  <a:lnTo>
                    <a:pt x="3337" y="1904"/>
                  </a:lnTo>
                  <a:close/>
                  <a:moveTo>
                    <a:pt x="3401" y="2027"/>
                  </a:moveTo>
                  <a:lnTo>
                    <a:pt x="3408" y="2015"/>
                  </a:lnTo>
                  <a:lnTo>
                    <a:pt x="3408" y="2027"/>
                  </a:lnTo>
                  <a:lnTo>
                    <a:pt x="3401" y="2027"/>
                  </a:lnTo>
                  <a:lnTo>
                    <a:pt x="3401" y="2027"/>
                  </a:lnTo>
                  <a:lnTo>
                    <a:pt x="3401" y="2027"/>
                  </a:lnTo>
                  <a:close/>
                  <a:moveTo>
                    <a:pt x="3392" y="2039"/>
                  </a:moveTo>
                  <a:lnTo>
                    <a:pt x="3392" y="2032"/>
                  </a:lnTo>
                  <a:lnTo>
                    <a:pt x="3401" y="2032"/>
                  </a:lnTo>
                  <a:lnTo>
                    <a:pt x="3418" y="2039"/>
                  </a:lnTo>
                  <a:lnTo>
                    <a:pt x="3418" y="2048"/>
                  </a:lnTo>
                  <a:lnTo>
                    <a:pt x="3392" y="2039"/>
                  </a:lnTo>
                  <a:lnTo>
                    <a:pt x="3392" y="2039"/>
                  </a:lnTo>
                  <a:lnTo>
                    <a:pt x="3392" y="2039"/>
                  </a:lnTo>
                  <a:close/>
                  <a:moveTo>
                    <a:pt x="3385" y="2039"/>
                  </a:moveTo>
                  <a:lnTo>
                    <a:pt x="3385" y="2048"/>
                  </a:lnTo>
                  <a:lnTo>
                    <a:pt x="3385" y="2039"/>
                  </a:lnTo>
                  <a:lnTo>
                    <a:pt x="3385" y="2039"/>
                  </a:lnTo>
                  <a:lnTo>
                    <a:pt x="3385" y="2039"/>
                  </a:lnTo>
                  <a:close/>
                  <a:moveTo>
                    <a:pt x="3418" y="2048"/>
                  </a:moveTo>
                  <a:lnTo>
                    <a:pt x="3422" y="2048"/>
                  </a:lnTo>
                  <a:lnTo>
                    <a:pt x="3422" y="2055"/>
                  </a:lnTo>
                  <a:lnTo>
                    <a:pt x="3418" y="2048"/>
                  </a:lnTo>
                  <a:lnTo>
                    <a:pt x="3418" y="2048"/>
                  </a:lnTo>
                  <a:lnTo>
                    <a:pt x="3418" y="2048"/>
                  </a:lnTo>
                  <a:close/>
                  <a:moveTo>
                    <a:pt x="3401" y="2072"/>
                  </a:moveTo>
                  <a:lnTo>
                    <a:pt x="3392" y="2065"/>
                  </a:lnTo>
                  <a:lnTo>
                    <a:pt x="3401" y="2065"/>
                  </a:lnTo>
                  <a:lnTo>
                    <a:pt x="3408" y="2072"/>
                  </a:lnTo>
                  <a:lnTo>
                    <a:pt x="3401" y="2072"/>
                  </a:lnTo>
                  <a:lnTo>
                    <a:pt x="3401" y="2072"/>
                  </a:lnTo>
                  <a:lnTo>
                    <a:pt x="3401" y="2072"/>
                  </a:lnTo>
                  <a:close/>
                  <a:moveTo>
                    <a:pt x="3385" y="2121"/>
                  </a:moveTo>
                  <a:lnTo>
                    <a:pt x="3385" y="2110"/>
                  </a:lnTo>
                  <a:lnTo>
                    <a:pt x="3392" y="2110"/>
                  </a:lnTo>
                  <a:lnTo>
                    <a:pt x="3385" y="2121"/>
                  </a:lnTo>
                  <a:lnTo>
                    <a:pt x="3385" y="2121"/>
                  </a:lnTo>
                  <a:lnTo>
                    <a:pt x="3385" y="2121"/>
                  </a:lnTo>
                  <a:close/>
                  <a:moveTo>
                    <a:pt x="3333" y="2192"/>
                  </a:moveTo>
                  <a:lnTo>
                    <a:pt x="3337" y="2183"/>
                  </a:lnTo>
                  <a:lnTo>
                    <a:pt x="3337" y="2192"/>
                  </a:lnTo>
                  <a:lnTo>
                    <a:pt x="3337" y="2199"/>
                  </a:lnTo>
                  <a:lnTo>
                    <a:pt x="3333" y="2192"/>
                  </a:lnTo>
                  <a:lnTo>
                    <a:pt x="3333" y="2192"/>
                  </a:lnTo>
                  <a:lnTo>
                    <a:pt x="3333" y="2192"/>
                  </a:lnTo>
                  <a:close/>
                  <a:moveTo>
                    <a:pt x="3229" y="2398"/>
                  </a:moveTo>
                  <a:lnTo>
                    <a:pt x="3229" y="2386"/>
                  </a:lnTo>
                  <a:lnTo>
                    <a:pt x="3240" y="2381"/>
                  </a:lnTo>
                  <a:lnTo>
                    <a:pt x="3240" y="2386"/>
                  </a:lnTo>
                  <a:lnTo>
                    <a:pt x="3240" y="2402"/>
                  </a:lnTo>
                  <a:lnTo>
                    <a:pt x="3229" y="2398"/>
                  </a:lnTo>
                  <a:lnTo>
                    <a:pt x="3229" y="2398"/>
                  </a:lnTo>
                  <a:lnTo>
                    <a:pt x="3229" y="2398"/>
                  </a:lnTo>
                  <a:close/>
                  <a:moveTo>
                    <a:pt x="3115" y="2476"/>
                  </a:moveTo>
                  <a:lnTo>
                    <a:pt x="3120" y="2471"/>
                  </a:lnTo>
                  <a:lnTo>
                    <a:pt x="3115" y="2476"/>
                  </a:lnTo>
                  <a:lnTo>
                    <a:pt x="3115" y="2476"/>
                  </a:lnTo>
                  <a:lnTo>
                    <a:pt x="3115" y="2476"/>
                  </a:lnTo>
                  <a:close/>
                  <a:moveTo>
                    <a:pt x="3077" y="2530"/>
                  </a:moveTo>
                  <a:lnTo>
                    <a:pt x="3068" y="2537"/>
                  </a:lnTo>
                  <a:lnTo>
                    <a:pt x="3061" y="2537"/>
                  </a:lnTo>
                  <a:lnTo>
                    <a:pt x="3068" y="2525"/>
                  </a:lnTo>
                  <a:lnTo>
                    <a:pt x="3077" y="2530"/>
                  </a:lnTo>
                  <a:lnTo>
                    <a:pt x="3077" y="2530"/>
                  </a:lnTo>
                  <a:lnTo>
                    <a:pt x="3077" y="2530"/>
                  </a:lnTo>
                  <a:close/>
                  <a:moveTo>
                    <a:pt x="3056" y="2547"/>
                  </a:moveTo>
                  <a:lnTo>
                    <a:pt x="3056" y="2554"/>
                  </a:lnTo>
                  <a:lnTo>
                    <a:pt x="3040" y="2554"/>
                  </a:lnTo>
                  <a:lnTo>
                    <a:pt x="3056" y="2547"/>
                  </a:lnTo>
                  <a:lnTo>
                    <a:pt x="3056" y="2547"/>
                  </a:lnTo>
                  <a:lnTo>
                    <a:pt x="3056" y="2547"/>
                  </a:lnTo>
                  <a:close/>
                  <a:moveTo>
                    <a:pt x="2846" y="2641"/>
                  </a:moveTo>
                  <a:lnTo>
                    <a:pt x="2851" y="2641"/>
                  </a:lnTo>
                  <a:lnTo>
                    <a:pt x="2846" y="2641"/>
                  </a:lnTo>
                  <a:lnTo>
                    <a:pt x="2846" y="2641"/>
                  </a:lnTo>
                  <a:lnTo>
                    <a:pt x="2846" y="2641"/>
                  </a:lnTo>
                  <a:close/>
                  <a:moveTo>
                    <a:pt x="2792" y="2658"/>
                  </a:moveTo>
                  <a:lnTo>
                    <a:pt x="2787" y="2658"/>
                  </a:lnTo>
                  <a:lnTo>
                    <a:pt x="2792" y="2658"/>
                  </a:lnTo>
                  <a:lnTo>
                    <a:pt x="2792" y="2658"/>
                  </a:lnTo>
                  <a:lnTo>
                    <a:pt x="2792" y="2658"/>
                  </a:lnTo>
                  <a:close/>
                  <a:moveTo>
                    <a:pt x="2742" y="2691"/>
                  </a:moveTo>
                  <a:lnTo>
                    <a:pt x="2742" y="2681"/>
                  </a:lnTo>
                  <a:lnTo>
                    <a:pt x="2754" y="2681"/>
                  </a:lnTo>
                  <a:lnTo>
                    <a:pt x="2742" y="2691"/>
                  </a:lnTo>
                  <a:lnTo>
                    <a:pt x="2742" y="2691"/>
                  </a:lnTo>
                  <a:lnTo>
                    <a:pt x="2742" y="2691"/>
                  </a:lnTo>
                  <a:close/>
                  <a:moveTo>
                    <a:pt x="2683" y="2698"/>
                  </a:moveTo>
                  <a:lnTo>
                    <a:pt x="2683" y="2691"/>
                  </a:lnTo>
                  <a:lnTo>
                    <a:pt x="2690" y="2691"/>
                  </a:lnTo>
                  <a:lnTo>
                    <a:pt x="2683" y="2698"/>
                  </a:lnTo>
                  <a:lnTo>
                    <a:pt x="2683" y="2698"/>
                  </a:lnTo>
                  <a:lnTo>
                    <a:pt x="2683" y="2698"/>
                  </a:lnTo>
                  <a:close/>
                  <a:moveTo>
                    <a:pt x="2591" y="2719"/>
                  </a:moveTo>
                  <a:lnTo>
                    <a:pt x="2598" y="2719"/>
                  </a:lnTo>
                  <a:lnTo>
                    <a:pt x="2591" y="2731"/>
                  </a:lnTo>
                  <a:lnTo>
                    <a:pt x="2581" y="2719"/>
                  </a:lnTo>
                  <a:lnTo>
                    <a:pt x="2591" y="2719"/>
                  </a:lnTo>
                  <a:lnTo>
                    <a:pt x="2591" y="2719"/>
                  </a:lnTo>
                  <a:lnTo>
                    <a:pt x="2591" y="2719"/>
                  </a:lnTo>
                  <a:close/>
                  <a:moveTo>
                    <a:pt x="2581" y="2731"/>
                  </a:moveTo>
                  <a:lnTo>
                    <a:pt x="2591" y="2731"/>
                  </a:lnTo>
                  <a:lnTo>
                    <a:pt x="2591" y="2736"/>
                  </a:lnTo>
                  <a:lnTo>
                    <a:pt x="2570" y="2736"/>
                  </a:lnTo>
                  <a:lnTo>
                    <a:pt x="2570" y="2731"/>
                  </a:lnTo>
                  <a:lnTo>
                    <a:pt x="2581" y="2731"/>
                  </a:lnTo>
                  <a:lnTo>
                    <a:pt x="2581" y="2731"/>
                  </a:lnTo>
                  <a:lnTo>
                    <a:pt x="2581" y="2731"/>
                  </a:lnTo>
                  <a:close/>
                  <a:moveTo>
                    <a:pt x="2527" y="2941"/>
                  </a:moveTo>
                  <a:lnTo>
                    <a:pt x="2522" y="2953"/>
                  </a:lnTo>
                  <a:lnTo>
                    <a:pt x="2515" y="2941"/>
                  </a:lnTo>
                  <a:lnTo>
                    <a:pt x="2463" y="2920"/>
                  </a:lnTo>
                  <a:lnTo>
                    <a:pt x="2451" y="2880"/>
                  </a:lnTo>
                  <a:lnTo>
                    <a:pt x="2463" y="2858"/>
                  </a:lnTo>
                  <a:lnTo>
                    <a:pt x="2506" y="2830"/>
                  </a:lnTo>
                  <a:lnTo>
                    <a:pt x="2489" y="2830"/>
                  </a:lnTo>
                  <a:lnTo>
                    <a:pt x="2506" y="2818"/>
                  </a:lnTo>
                  <a:lnTo>
                    <a:pt x="2515" y="2825"/>
                  </a:lnTo>
                  <a:lnTo>
                    <a:pt x="2522" y="2809"/>
                  </a:lnTo>
                  <a:lnTo>
                    <a:pt x="2553" y="2818"/>
                  </a:lnTo>
                  <a:lnTo>
                    <a:pt x="2560" y="2809"/>
                  </a:lnTo>
                  <a:lnTo>
                    <a:pt x="2591" y="2809"/>
                  </a:lnTo>
                  <a:lnTo>
                    <a:pt x="2598" y="2802"/>
                  </a:lnTo>
                  <a:lnTo>
                    <a:pt x="2607" y="2809"/>
                  </a:lnTo>
                  <a:lnTo>
                    <a:pt x="2614" y="2809"/>
                  </a:lnTo>
                  <a:lnTo>
                    <a:pt x="2624" y="2842"/>
                  </a:lnTo>
                  <a:lnTo>
                    <a:pt x="2607" y="2847"/>
                  </a:lnTo>
                  <a:lnTo>
                    <a:pt x="2591" y="2875"/>
                  </a:lnTo>
                  <a:lnTo>
                    <a:pt x="2581" y="2875"/>
                  </a:lnTo>
                  <a:lnTo>
                    <a:pt x="2591" y="2880"/>
                  </a:lnTo>
                  <a:lnTo>
                    <a:pt x="2591" y="2901"/>
                  </a:lnTo>
                  <a:lnTo>
                    <a:pt x="2560" y="2920"/>
                  </a:lnTo>
                  <a:lnTo>
                    <a:pt x="2553" y="2936"/>
                  </a:lnTo>
                  <a:lnTo>
                    <a:pt x="2539" y="2936"/>
                  </a:lnTo>
                  <a:lnTo>
                    <a:pt x="2527" y="2941"/>
                  </a:lnTo>
                  <a:lnTo>
                    <a:pt x="2527" y="2941"/>
                  </a:lnTo>
                  <a:lnTo>
                    <a:pt x="2527" y="294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7" name="Freeform 467">
              <a:extLst>
                <a:ext uri="{FF2B5EF4-FFF2-40B4-BE49-F238E27FC236}">
                  <a16:creationId xmlns:a16="http://schemas.microsoft.com/office/drawing/2014/main" id="{0835AC23-66A6-4CE8-8881-98FF727C366F}"/>
                </a:ext>
              </a:extLst>
            </p:cNvPr>
            <p:cNvSpPr>
              <a:spLocks noEditPoints="1"/>
            </p:cNvSpPr>
            <p:nvPr/>
          </p:nvSpPr>
          <p:spPr bwMode="gray">
            <a:xfrm>
              <a:off x="9476192" y="3888436"/>
              <a:ext cx="1322696" cy="501058"/>
            </a:xfrm>
            <a:custGeom>
              <a:avLst/>
              <a:gdLst>
                <a:gd name="T0" fmla="*/ 647 w 3213"/>
                <a:gd name="T1" fmla="*/ 629 h 1217"/>
                <a:gd name="T2" fmla="*/ 392 w 3213"/>
                <a:gd name="T3" fmla="*/ 600 h 1217"/>
                <a:gd name="T4" fmla="*/ 123 w 3213"/>
                <a:gd name="T5" fmla="*/ 52 h 1217"/>
                <a:gd name="T6" fmla="*/ 2213 w 3213"/>
                <a:gd name="T7" fmla="*/ 123 h 1217"/>
                <a:gd name="T8" fmla="*/ 1403 w 3213"/>
                <a:gd name="T9" fmla="*/ 206 h 1217"/>
                <a:gd name="T10" fmla="*/ 1592 w 3213"/>
                <a:gd name="T11" fmla="*/ 345 h 1217"/>
                <a:gd name="T12" fmla="*/ 1365 w 3213"/>
                <a:gd name="T13" fmla="*/ 733 h 1217"/>
                <a:gd name="T14" fmla="*/ 1042 w 3213"/>
                <a:gd name="T15" fmla="*/ 527 h 1217"/>
                <a:gd name="T16" fmla="*/ 895 w 3213"/>
                <a:gd name="T17" fmla="*/ 152 h 1217"/>
                <a:gd name="T18" fmla="*/ 1545 w 3213"/>
                <a:gd name="T19" fmla="*/ 180 h 1217"/>
                <a:gd name="T20" fmla="*/ 735 w 3213"/>
                <a:gd name="T21" fmla="*/ 222 h 1217"/>
                <a:gd name="T22" fmla="*/ 2332 w 3213"/>
                <a:gd name="T23" fmla="*/ 279 h 1217"/>
                <a:gd name="T24" fmla="*/ 2284 w 3213"/>
                <a:gd name="T25" fmla="*/ 456 h 1217"/>
                <a:gd name="T26" fmla="*/ 1852 w 3213"/>
                <a:gd name="T27" fmla="*/ 723 h 1217"/>
                <a:gd name="T28" fmla="*/ 1651 w 3213"/>
                <a:gd name="T29" fmla="*/ 629 h 1217"/>
                <a:gd name="T30" fmla="*/ 1906 w 3213"/>
                <a:gd name="T31" fmla="*/ 362 h 1217"/>
                <a:gd name="T32" fmla="*/ 1781 w 3213"/>
                <a:gd name="T33" fmla="*/ 527 h 1217"/>
                <a:gd name="T34" fmla="*/ 1890 w 3213"/>
                <a:gd name="T35" fmla="*/ 666 h 1217"/>
                <a:gd name="T36" fmla="*/ 2105 w 3213"/>
                <a:gd name="T37" fmla="*/ 317 h 1217"/>
                <a:gd name="T38" fmla="*/ 610 w 3213"/>
                <a:gd name="T39" fmla="*/ 350 h 1217"/>
                <a:gd name="T40" fmla="*/ 605 w 3213"/>
                <a:gd name="T41" fmla="*/ 350 h 1217"/>
                <a:gd name="T42" fmla="*/ 555 w 3213"/>
                <a:gd name="T43" fmla="*/ 378 h 1217"/>
                <a:gd name="T44" fmla="*/ 232 w 3213"/>
                <a:gd name="T45" fmla="*/ 456 h 1217"/>
                <a:gd name="T46" fmla="*/ 593 w 3213"/>
                <a:gd name="T47" fmla="*/ 444 h 1217"/>
                <a:gd name="T48" fmla="*/ 2284 w 3213"/>
                <a:gd name="T49" fmla="*/ 478 h 1217"/>
                <a:gd name="T50" fmla="*/ 3149 w 3213"/>
                <a:gd name="T51" fmla="*/ 995 h 1217"/>
                <a:gd name="T52" fmla="*/ 2787 w 3213"/>
                <a:gd name="T53" fmla="*/ 711 h 1217"/>
                <a:gd name="T54" fmla="*/ 2575 w 3213"/>
                <a:gd name="T55" fmla="*/ 629 h 1217"/>
                <a:gd name="T56" fmla="*/ 2587 w 3213"/>
                <a:gd name="T57" fmla="*/ 461 h 1217"/>
                <a:gd name="T58" fmla="*/ 3149 w 3213"/>
                <a:gd name="T59" fmla="*/ 600 h 1217"/>
                <a:gd name="T60" fmla="*/ 2872 w 3213"/>
                <a:gd name="T61" fmla="*/ 518 h 1217"/>
                <a:gd name="T62" fmla="*/ 236 w 3213"/>
                <a:gd name="T63" fmla="*/ 494 h 1217"/>
                <a:gd name="T64" fmla="*/ 1954 w 3213"/>
                <a:gd name="T65" fmla="*/ 527 h 1217"/>
                <a:gd name="T66" fmla="*/ 749 w 3213"/>
                <a:gd name="T67" fmla="*/ 629 h 1217"/>
                <a:gd name="T68" fmla="*/ 2894 w 3213"/>
                <a:gd name="T69" fmla="*/ 567 h 1217"/>
                <a:gd name="T70" fmla="*/ 2117 w 3213"/>
                <a:gd name="T71" fmla="*/ 555 h 1217"/>
                <a:gd name="T72" fmla="*/ 345 w 3213"/>
                <a:gd name="T73" fmla="*/ 629 h 1217"/>
                <a:gd name="T74" fmla="*/ 2461 w 3213"/>
                <a:gd name="T75" fmla="*/ 645 h 1217"/>
                <a:gd name="T76" fmla="*/ 810 w 3213"/>
                <a:gd name="T77" fmla="*/ 638 h 1217"/>
                <a:gd name="T78" fmla="*/ 1474 w 3213"/>
                <a:gd name="T79" fmla="*/ 711 h 1217"/>
                <a:gd name="T80" fmla="*/ 2306 w 3213"/>
                <a:gd name="T81" fmla="*/ 695 h 1217"/>
                <a:gd name="T82" fmla="*/ 1970 w 3213"/>
                <a:gd name="T83" fmla="*/ 723 h 1217"/>
                <a:gd name="T84" fmla="*/ 1923 w 3213"/>
                <a:gd name="T85" fmla="*/ 806 h 1217"/>
                <a:gd name="T86" fmla="*/ 2662 w 3213"/>
                <a:gd name="T87" fmla="*/ 811 h 1217"/>
                <a:gd name="T88" fmla="*/ 1765 w 3213"/>
                <a:gd name="T89" fmla="*/ 844 h 1217"/>
                <a:gd name="T90" fmla="*/ 739 w 3213"/>
                <a:gd name="T91" fmla="*/ 889 h 1217"/>
                <a:gd name="T92" fmla="*/ 1214 w 3213"/>
                <a:gd name="T93" fmla="*/ 933 h 1217"/>
                <a:gd name="T94" fmla="*/ 2733 w 3213"/>
                <a:gd name="T95" fmla="*/ 860 h 1217"/>
                <a:gd name="T96" fmla="*/ 697 w 3213"/>
                <a:gd name="T97" fmla="*/ 905 h 1217"/>
                <a:gd name="T98" fmla="*/ 1781 w 3213"/>
                <a:gd name="T99" fmla="*/ 938 h 1217"/>
                <a:gd name="T100" fmla="*/ 2523 w 3213"/>
                <a:gd name="T101" fmla="*/ 971 h 1217"/>
                <a:gd name="T102" fmla="*/ 2511 w 3213"/>
                <a:gd name="T103" fmla="*/ 962 h 1217"/>
                <a:gd name="T104" fmla="*/ 1349 w 3213"/>
                <a:gd name="T105" fmla="*/ 1011 h 1217"/>
                <a:gd name="T106" fmla="*/ 1944 w 3213"/>
                <a:gd name="T107" fmla="*/ 1016 h 1217"/>
                <a:gd name="T108" fmla="*/ 1559 w 3213"/>
                <a:gd name="T109" fmla="*/ 1044 h 1217"/>
                <a:gd name="T110" fmla="*/ 2301 w 3213"/>
                <a:gd name="T111" fmla="*/ 1028 h 1217"/>
                <a:gd name="T112" fmla="*/ 3061 w 3213"/>
                <a:gd name="T113" fmla="*/ 1033 h 1217"/>
                <a:gd name="T114" fmla="*/ 2306 w 3213"/>
                <a:gd name="T115" fmla="*/ 1016 h 1217"/>
                <a:gd name="T116" fmla="*/ 2230 w 3213"/>
                <a:gd name="T117" fmla="*/ 1028 h 1217"/>
                <a:gd name="T118" fmla="*/ 1961 w 3213"/>
                <a:gd name="T119" fmla="*/ 1044 h 1217"/>
                <a:gd name="T120" fmla="*/ 1755 w 3213"/>
                <a:gd name="T121" fmla="*/ 1127 h 1217"/>
                <a:gd name="T122" fmla="*/ 1939 w 3213"/>
                <a:gd name="T123" fmla="*/ 1210 h 1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13" h="1217">
                  <a:moveTo>
                    <a:pt x="10" y="12"/>
                  </a:moveTo>
                  <a:lnTo>
                    <a:pt x="0" y="12"/>
                  </a:lnTo>
                  <a:lnTo>
                    <a:pt x="0" y="0"/>
                  </a:lnTo>
                  <a:lnTo>
                    <a:pt x="10" y="12"/>
                  </a:lnTo>
                  <a:lnTo>
                    <a:pt x="10" y="12"/>
                  </a:lnTo>
                  <a:lnTo>
                    <a:pt x="10" y="12"/>
                  </a:lnTo>
                  <a:close/>
                  <a:moveTo>
                    <a:pt x="539" y="383"/>
                  </a:moveTo>
                  <a:lnTo>
                    <a:pt x="550" y="400"/>
                  </a:lnTo>
                  <a:lnTo>
                    <a:pt x="517" y="418"/>
                  </a:lnTo>
                  <a:lnTo>
                    <a:pt x="501" y="407"/>
                  </a:lnTo>
                  <a:lnTo>
                    <a:pt x="517" y="418"/>
                  </a:lnTo>
                  <a:lnTo>
                    <a:pt x="572" y="390"/>
                  </a:lnTo>
                  <a:lnTo>
                    <a:pt x="593" y="407"/>
                  </a:lnTo>
                  <a:lnTo>
                    <a:pt x="605" y="435"/>
                  </a:lnTo>
                  <a:lnTo>
                    <a:pt x="588" y="435"/>
                  </a:lnTo>
                  <a:lnTo>
                    <a:pt x="560" y="444"/>
                  </a:lnTo>
                  <a:lnTo>
                    <a:pt x="576" y="444"/>
                  </a:lnTo>
                  <a:lnTo>
                    <a:pt x="560" y="456"/>
                  </a:lnTo>
                  <a:lnTo>
                    <a:pt x="588" y="461"/>
                  </a:lnTo>
                  <a:lnTo>
                    <a:pt x="572" y="478"/>
                  </a:lnTo>
                  <a:lnTo>
                    <a:pt x="593" y="501"/>
                  </a:lnTo>
                  <a:lnTo>
                    <a:pt x="643" y="501"/>
                  </a:lnTo>
                  <a:lnTo>
                    <a:pt x="647" y="555"/>
                  </a:lnTo>
                  <a:lnTo>
                    <a:pt x="647" y="567"/>
                  </a:lnTo>
                  <a:lnTo>
                    <a:pt x="659" y="567"/>
                  </a:lnTo>
                  <a:lnTo>
                    <a:pt x="669" y="572"/>
                  </a:lnTo>
                  <a:lnTo>
                    <a:pt x="669" y="584"/>
                  </a:lnTo>
                  <a:lnTo>
                    <a:pt x="664" y="600"/>
                  </a:lnTo>
                  <a:lnTo>
                    <a:pt x="664" y="612"/>
                  </a:lnTo>
                  <a:lnTo>
                    <a:pt x="647" y="629"/>
                  </a:lnTo>
                  <a:lnTo>
                    <a:pt x="664" y="612"/>
                  </a:lnTo>
                  <a:lnTo>
                    <a:pt x="669" y="589"/>
                  </a:lnTo>
                  <a:lnTo>
                    <a:pt x="685" y="600"/>
                  </a:lnTo>
                  <a:lnTo>
                    <a:pt x="723" y="600"/>
                  </a:lnTo>
                  <a:lnTo>
                    <a:pt x="723" y="612"/>
                  </a:lnTo>
                  <a:lnTo>
                    <a:pt x="739" y="622"/>
                  </a:lnTo>
                  <a:lnTo>
                    <a:pt x="739" y="638"/>
                  </a:lnTo>
                  <a:lnTo>
                    <a:pt x="756" y="645"/>
                  </a:lnTo>
                  <a:lnTo>
                    <a:pt x="756" y="662"/>
                  </a:lnTo>
                  <a:lnTo>
                    <a:pt x="749" y="678"/>
                  </a:lnTo>
                  <a:lnTo>
                    <a:pt x="739" y="695"/>
                  </a:lnTo>
                  <a:lnTo>
                    <a:pt x="749" y="711"/>
                  </a:lnTo>
                  <a:lnTo>
                    <a:pt x="739" y="733"/>
                  </a:lnTo>
                  <a:lnTo>
                    <a:pt x="749" y="756"/>
                  </a:lnTo>
                  <a:lnTo>
                    <a:pt x="739" y="834"/>
                  </a:lnTo>
                  <a:lnTo>
                    <a:pt x="735" y="851"/>
                  </a:lnTo>
                  <a:lnTo>
                    <a:pt x="702" y="822"/>
                  </a:lnTo>
                  <a:lnTo>
                    <a:pt x="697" y="834"/>
                  </a:lnTo>
                  <a:lnTo>
                    <a:pt x="702" y="844"/>
                  </a:lnTo>
                  <a:lnTo>
                    <a:pt x="697" y="844"/>
                  </a:lnTo>
                  <a:lnTo>
                    <a:pt x="664" y="827"/>
                  </a:lnTo>
                  <a:lnTo>
                    <a:pt x="647" y="827"/>
                  </a:lnTo>
                  <a:lnTo>
                    <a:pt x="664" y="851"/>
                  </a:lnTo>
                  <a:lnTo>
                    <a:pt x="659" y="860"/>
                  </a:lnTo>
                  <a:lnTo>
                    <a:pt x="605" y="794"/>
                  </a:lnTo>
                  <a:lnTo>
                    <a:pt x="496" y="716"/>
                  </a:lnTo>
                  <a:lnTo>
                    <a:pt x="484" y="695"/>
                  </a:lnTo>
                  <a:lnTo>
                    <a:pt x="447" y="662"/>
                  </a:lnTo>
                  <a:lnTo>
                    <a:pt x="425" y="622"/>
                  </a:lnTo>
                  <a:lnTo>
                    <a:pt x="392" y="600"/>
                  </a:lnTo>
                  <a:lnTo>
                    <a:pt x="392" y="584"/>
                  </a:lnTo>
                  <a:lnTo>
                    <a:pt x="392" y="567"/>
                  </a:lnTo>
                  <a:lnTo>
                    <a:pt x="378" y="546"/>
                  </a:lnTo>
                  <a:lnTo>
                    <a:pt x="371" y="527"/>
                  </a:lnTo>
                  <a:lnTo>
                    <a:pt x="361" y="518"/>
                  </a:lnTo>
                  <a:lnTo>
                    <a:pt x="354" y="489"/>
                  </a:lnTo>
                  <a:lnTo>
                    <a:pt x="317" y="444"/>
                  </a:lnTo>
                  <a:lnTo>
                    <a:pt x="317" y="435"/>
                  </a:lnTo>
                  <a:lnTo>
                    <a:pt x="307" y="423"/>
                  </a:lnTo>
                  <a:lnTo>
                    <a:pt x="269" y="407"/>
                  </a:lnTo>
                  <a:lnTo>
                    <a:pt x="269" y="383"/>
                  </a:lnTo>
                  <a:lnTo>
                    <a:pt x="236" y="312"/>
                  </a:lnTo>
                  <a:lnTo>
                    <a:pt x="248" y="312"/>
                  </a:lnTo>
                  <a:lnTo>
                    <a:pt x="248" y="307"/>
                  </a:lnTo>
                  <a:lnTo>
                    <a:pt x="182" y="263"/>
                  </a:lnTo>
                  <a:lnTo>
                    <a:pt x="177" y="263"/>
                  </a:lnTo>
                  <a:lnTo>
                    <a:pt x="173" y="255"/>
                  </a:lnTo>
                  <a:lnTo>
                    <a:pt x="161" y="222"/>
                  </a:lnTo>
                  <a:lnTo>
                    <a:pt x="144" y="218"/>
                  </a:lnTo>
                  <a:lnTo>
                    <a:pt x="118" y="163"/>
                  </a:lnTo>
                  <a:lnTo>
                    <a:pt x="85" y="152"/>
                  </a:lnTo>
                  <a:lnTo>
                    <a:pt x="14" y="90"/>
                  </a:lnTo>
                  <a:lnTo>
                    <a:pt x="0" y="57"/>
                  </a:lnTo>
                  <a:lnTo>
                    <a:pt x="0" y="29"/>
                  </a:lnTo>
                  <a:lnTo>
                    <a:pt x="10" y="19"/>
                  </a:lnTo>
                  <a:lnTo>
                    <a:pt x="21" y="19"/>
                  </a:lnTo>
                  <a:lnTo>
                    <a:pt x="47" y="36"/>
                  </a:lnTo>
                  <a:lnTo>
                    <a:pt x="52" y="41"/>
                  </a:lnTo>
                  <a:lnTo>
                    <a:pt x="76" y="52"/>
                  </a:lnTo>
                  <a:lnTo>
                    <a:pt x="123" y="52"/>
                  </a:lnTo>
                  <a:lnTo>
                    <a:pt x="139" y="57"/>
                  </a:lnTo>
                  <a:lnTo>
                    <a:pt x="156" y="52"/>
                  </a:lnTo>
                  <a:lnTo>
                    <a:pt x="182" y="74"/>
                  </a:lnTo>
                  <a:lnTo>
                    <a:pt x="194" y="95"/>
                  </a:lnTo>
                  <a:lnTo>
                    <a:pt x="210" y="107"/>
                  </a:lnTo>
                  <a:lnTo>
                    <a:pt x="210" y="128"/>
                  </a:lnTo>
                  <a:lnTo>
                    <a:pt x="333" y="218"/>
                  </a:lnTo>
                  <a:lnTo>
                    <a:pt x="333" y="239"/>
                  </a:lnTo>
                  <a:lnTo>
                    <a:pt x="333" y="234"/>
                  </a:lnTo>
                  <a:lnTo>
                    <a:pt x="340" y="234"/>
                  </a:lnTo>
                  <a:lnTo>
                    <a:pt x="340" y="251"/>
                  </a:lnTo>
                  <a:lnTo>
                    <a:pt x="340" y="234"/>
                  </a:lnTo>
                  <a:lnTo>
                    <a:pt x="345" y="234"/>
                  </a:lnTo>
                  <a:lnTo>
                    <a:pt x="361" y="263"/>
                  </a:lnTo>
                  <a:lnTo>
                    <a:pt x="392" y="279"/>
                  </a:lnTo>
                  <a:lnTo>
                    <a:pt x="399" y="296"/>
                  </a:lnTo>
                  <a:lnTo>
                    <a:pt x="387" y="263"/>
                  </a:lnTo>
                  <a:lnTo>
                    <a:pt x="409" y="263"/>
                  </a:lnTo>
                  <a:lnTo>
                    <a:pt x="425" y="279"/>
                  </a:lnTo>
                  <a:lnTo>
                    <a:pt x="430" y="307"/>
                  </a:lnTo>
                  <a:lnTo>
                    <a:pt x="454" y="312"/>
                  </a:lnTo>
                  <a:lnTo>
                    <a:pt x="484" y="329"/>
                  </a:lnTo>
                  <a:lnTo>
                    <a:pt x="484" y="350"/>
                  </a:lnTo>
                  <a:lnTo>
                    <a:pt x="501" y="366"/>
                  </a:lnTo>
                  <a:lnTo>
                    <a:pt x="534" y="378"/>
                  </a:lnTo>
                  <a:lnTo>
                    <a:pt x="539" y="383"/>
                  </a:lnTo>
                  <a:lnTo>
                    <a:pt x="539" y="383"/>
                  </a:lnTo>
                  <a:lnTo>
                    <a:pt x="539" y="383"/>
                  </a:lnTo>
                  <a:close/>
                  <a:moveTo>
                    <a:pt x="2209" y="140"/>
                  </a:moveTo>
                  <a:lnTo>
                    <a:pt x="2213" y="123"/>
                  </a:lnTo>
                  <a:lnTo>
                    <a:pt x="2209" y="111"/>
                  </a:lnTo>
                  <a:lnTo>
                    <a:pt x="2209" y="95"/>
                  </a:lnTo>
                  <a:lnTo>
                    <a:pt x="2213" y="107"/>
                  </a:lnTo>
                  <a:lnTo>
                    <a:pt x="2225" y="123"/>
                  </a:lnTo>
                  <a:lnTo>
                    <a:pt x="2209" y="140"/>
                  </a:lnTo>
                  <a:lnTo>
                    <a:pt x="2209" y="140"/>
                  </a:lnTo>
                  <a:lnTo>
                    <a:pt x="2209" y="140"/>
                  </a:lnTo>
                  <a:close/>
                  <a:moveTo>
                    <a:pt x="1009" y="279"/>
                  </a:moveTo>
                  <a:lnTo>
                    <a:pt x="1004" y="291"/>
                  </a:lnTo>
                  <a:lnTo>
                    <a:pt x="1009" y="312"/>
                  </a:lnTo>
                  <a:lnTo>
                    <a:pt x="1075" y="366"/>
                  </a:lnTo>
                  <a:lnTo>
                    <a:pt x="1117" y="350"/>
                  </a:lnTo>
                  <a:lnTo>
                    <a:pt x="1167" y="362"/>
                  </a:lnTo>
                  <a:lnTo>
                    <a:pt x="1172" y="345"/>
                  </a:lnTo>
                  <a:lnTo>
                    <a:pt x="1181" y="345"/>
                  </a:lnTo>
                  <a:lnTo>
                    <a:pt x="1188" y="317"/>
                  </a:lnTo>
                  <a:lnTo>
                    <a:pt x="1205" y="312"/>
                  </a:lnTo>
                  <a:lnTo>
                    <a:pt x="1243" y="312"/>
                  </a:lnTo>
                  <a:lnTo>
                    <a:pt x="1252" y="329"/>
                  </a:lnTo>
                  <a:lnTo>
                    <a:pt x="1290" y="333"/>
                  </a:lnTo>
                  <a:lnTo>
                    <a:pt x="1311" y="317"/>
                  </a:lnTo>
                  <a:lnTo>
                    <a:pt x="1344" y="317"/>
                  </a:lnTo>
                  <a:lnTo>
                    <a:pt x="1361" y="329"/>
                  </a:lnTo>
                  <a:lnTo>
                    <a:pt x="1365" y="307"/>
                  </a:lnTo>
                  <a:lnTo>
                    <a:pt x="1377" y="291"/>
                  </a:lnTo>
                  <a:lnTo>
                    <a:pt x="1377" y="263"/>
                  </a:lnTo>
                  <a:lnTo>
                    <a:pt x="1403" y="251"/>
                  </a:lnTo>
                  <a:lnTo>
                    <a:pt x="1387" y="239"/>
                  </a:lnTo>
                  <a:lnTo>
                    <a:pt x="1398" y="218"/>
                  </a:lnTo>
                  <a:lnTo>
                    <a:pt x="1403" y="206"/>
                  </a:lnTo>
                  <a:lnTo>
                    <a:pt x="1420" y="206"/>
                  </a:lnTo>
                  <a:lnTo>
                    <a:pt x="1432" y="180"/>
                  </a:lnTo>
                  <a:lnTo>
                    <a:pt x="1432" y="163"/>
                  </a:lnTo>
                  <a:lnTo>
                    <a:pt x="1432" y="128"/>
                  </a:lnTo>
                  <a:lnTo>
                    <a:pt x="1441" y="111"/>
                  </a:lnTo>
                  <a:lnTo>
                    <a:pt x="1458" y="123"/>
                  </a:lnTo>
                  <a:lnTo>
                    <a:pt x="1469" y="111"/>
                  </a:lnTo>
                  <a:lnTo>
                    <a:pt x="1491" y="123"/>
                  </a:lnTo>
                  <a:lnTo>
                    <a:pt x="1545" y="111"/>
                  </a:lnTo>
                  <a:lnTo>
                    <a:pt x="1566" y="128"/>
                  </a:lnTo>
                  <a:lnTo>
                    <a:pt x="1550" y="128"/>
                  </a:lnTo>
                  <a:lnTo>
                    <a:pt x="1583" y="163"/>
                  </a:lnTo>
                  <a:lnTo>
                    <a:pt x="1576" y="168"/>
                  </a:lnTo>
                  <a:lnTo>
                    <a:pt x="1528" y="168"/>
                  </a:lnTo>
                  <a:lnTo>
                    <a:pt x="1538" y="168"/>
                  </a:lnTo>
                  <a:lnTo>
                    <a:pt x="1545" y="180"/>
                  </a:lnTo>
                  <a:lnTo>
                    <a:pt x="1559" y="180"/>
                  </a:lnTo>
                  <a:lnTo>
                    <a:pt x="1545" y="196"/>
                  </a:lnTo>
                  <a:lnTo>
                    <a:pt x="1566" y="206"/>
                  </a:lnTo>
                  <a:lnTo>
                    <a:pt x="1576" y="222"/>
                  </a:lnTo>
                  <a:lnTo>
                    <a:pt x="1583" y="222"/>
                  </a:lnTo>
                  <a:lnTo>
                    <a:pt x="1604" y="263"/>
                  </a:lnTo>
                  <a:lnTo>
                    <a:pt x="1592" y="279"/>
                  </a:lnTo>
                  <a:lnTo>
                    <a:pt x="1583" y="272"/>
                  </a:lnTo>
                  <a:lnTo>
                    <a:pt x="1592" y="296"/>
                  </a:lnTo>
                  <a:lnTo>
                    <a:pt x="1668" y="362"/>
                  </a:lnTo>
                  <a:lnTo>
                    <a:pt x="1651" y="366"/>
                  </a:lnTo>
                  <a:lnTo>
                    <a:pt x="1621" y="366"/>
                  </a:lnTo>
                  <a:lnTo>
                    <a:pt x="1597" y="362"/>
                  </a:lnTo>
                  <a:lnTo>
                    <a:pt x="1592" y="345"/>
                  </a:lnTo>
                  <a:lnTo>
                    <a:pt x="1597" y="366"/>
                  </a:lnTo>
                  <a:lnTo>
                    <a:pt x="1592" y="366"/>
                  </a:lnTo>
                  <a:lnTo>
                    <a:pt x="1576" y="378"/>
                  </a:lnTo>
                  <a:lnTo>
                    <a:pt x="1559" y="423"/>
                  </a:lnTo>
                  <a:lnTo>
                    <a:pt x="1559" y="435"/>
                  </a:lnTo>
                  <a:lnTo>
                    <a:pt x="1559" y="444"/>
                  </a:lnTo>
                  <a:lnTo>
                    <a:pt x="1559" y="461"/>
                  </a:lnTo>
                  <a:lnTo>
                    <a:pt x="1566" y="456"/>
                  </a:lnTo>
                  <a:lnTo>
                    <a:pt x="1566" y="489"/>
                  </a:lnTo>
                  <a:lnTo>
                    <a:pt x="1559" y="489"/>
                  </a:lnTo>
                  <a:lnTo>
                    <a:pt x="1545" y="489"/>
                  </a:lnTo>
                  <a:lnTo>
                    <a:pt x="1521" y="518"/>
                  </a:lnTo>
                  <a:lnTo>
                    <a:pt x="1512" y="518"/>
                  </a:lnTo>
                  <a:lnTo>
                    <a:pt x="1507" y="501"/>
                  </a:lnTo>
                  <a:lnTo>
                    <a:pt x="1507" y="527"/>
                  </a:lnTo>
                  <a:lnTo>
                    <a:pt x="1491" y="534"/>
                  </a:lnTo>
                  <a:lnTo>
                    <a:pt x="1491" y="546"/>
                  </a:lnTo>
                  <a:lnTo>
                    <a:pt x="1474" y="555"/>
                  </a:lnTo>
                  <a:lnTo>
                    <a:pt x="1491" y="555"/>
                  </a:lnTo>
                  <a:lnTo>
                    <a:pt x="1491" y="572"/>
                  </a:lnTo>
                  <a:lnTo>
                    <a:pt x="1484" y="584"/>
                  </a:lnTo>
                  <a:lnTo>
                    <a:pt x="1495" y="589"/>
                  </a:lnTo>
                  <a:lnTo>
                    <a:pt x="1491" y="612"/>
                  </a:lnTo>
                  <a:lnTo>
                    <a:pt x="1474" y="612"/>
                  </a:lnTo>
                  <a:lnTo>
                    <a:pt x="1484" y="629"/>
                  </a:lnTo>
                  <a:lnTo>
                    <a:pt x="1474" y="645"/>
                  </a:lnTo>
                  <a:lnTo>
                    <a:pt x="1469" y="629"/>
                  </a:lnTo>
                  <a:lnTo>
                    <a:pt x="1474" y="655"/>
                  </a:lnTo>
                  <a:lnTo>
                    <a:pt x="1453" y="683"/>
                  </a:lnTo>
                  <a:lnTo>
                    <a:pt x="1365" y="733"/>
                  </a:lnTo>
                  <a:lnTo>
                    <a:pt x="1361" y="723"/>
                  </a:lnTo>
                  <a:lnTo>
                    <a:pt x="1361" y="695"/>
                  </a:lnTo>
                  <a:lnTo>
                    <a:pt x="1349" y="678"/>
                  </a:lnTo>
                  <a:lnTo>
                    <a:pt x="1323" y="666"/>
                  </a:lnTo>
                  <a:lnTo>
                    <a:pt x="1290" y="678"/>
                  </a:lnTo>
                  <a:lnTo>
                    <a:pt x="1290" y="655"/>
                  </a:lnTo>
                  <a:lnTo>
                    <a:pt x="1273" y="662"/>
                  </a:lnTo>
                  <a:lnTo>
                    <a:pt x="1252" y="645"/>
                  </a:lnTo>
                  <a:lnTo>
                    <a:pt x="1243" y="655"/>
                  </a:lnTo>
                  <a:lnTo>
                    <a:pt x="1243" y="662"/>
                  </a:lnTo>
                  <a:lnTo>
                    <a:pt x="1219" y="678"/>
                  </a:lnTo>
                  <a:lnTo>
                    <a:pt x="1214" y="678"/>
                  </a:lnTo>
                  <a:lnTo>
                    <a:pt x="1188" y="666"/>
                  </a:lnTo>
                  <a:lnTo>
                    <a:pt x="1167" y="683"/>
                  </a:lnTo>
                  <a:lnTo>
                    <a:pt x="1160" y="683"/>
                  </a:lnTo>
                  <a:lnTo>
                    <a:pt x="1167" y="645"/>
                  </a:lnTo>
                  <a:lnTo>
                    <a:pt x="1160" y="629"/>
                  </a:lnTo>
                  <a:lnTo>
                    <a:pt x="1150" y="638"/>
                  </a:lnTo>
                  <a:lnTo>
                    <a:pt x="1143" y="645"/>
                  </a:lnTo>
                  <a:lnTo>
                    <a:pt x="1127" y="638"/>
                  </a:lnTo>
                  <a:lnTo>
                    <a:pt x="1106" y="655"/>
                  </a:lnTo>
                  <a:lnTo>
                    <a:pt x="1089" y="645"/>
                  </a:lnTo>
                  <a:lnTo>
                    <a:pt x="1096" y="638"/>
                  </a:lnTo>
                  <a:lnTo>
                    <a:pt x="1080" y="655"/>
                  </a:lnTo>
                  <a:lnTo>
                    <a:pt x="1075" y="638"/>
                  </a:lnTo>
                  <a:lnTo>
                    <a:pt x="1051" y="645"/>
                  </a:lnTo>
                  <a:lnTo>
                    <a:pt x="1042" y="572"/>
                  </a:lnTo>
                  <a:lnTo>
                    <a:pt x="1025" y="555"/>
                  </a:lnTo>
                  <a:lnTo>
                    <a:pt x="1037" y="551"/>
                  </a:lnTo>
                  <a:lnTo>
                    <a:pt x="1042" y="527"/>
                  </a:lnTo>
                  <a:lnTo>
                    <a:pt x="1021" y="494"/>
                  </a:lnTo>
                  <a:lnTo>
                    <a:pt x="983" y="489"/>
                  </a:lnTo>
                  <a:lnTo>
                    <a:pt x="983" y="478"/>
                  </a:lnTo>
                  <a:lnTo>
                    <a:pt x="1004" y="478"/>
                  </a:lnTo>
                  <a:lnTo>
                    <a:pt x="971" y="461"/>
                  </a:lnTo>
                  <a:lnTo>
                    <a:pt x="966" y="444"/>
                  </a:lnTo>
                  <a:lnTo>
                    <a:pt x="983" y="440"/>
                  </a:lnTo>
                  <a:lnTo>
                    <a:pt x="971" y="423"/>
                  </a:lnTo>
                  <a:lnTo>
                    <a:pt x="966" y="407"/>
                  </a:lnTo>
                  <a:lnTo>
                    <a:pt x="954" y="407"/>
                  </a:lnTo>
                  <a:lnTo>
                    <a:pt x="954" y="383"/>
                  </a:lnTo>
                  <a:lnTo>
                    <a:pt x="954" y="366"/>
                  </a:lnTo>
                  <a:lnTo>
                    <a:pt x="966" y="362"/>
                  </a:lnTo>
                  <a:lnTo>
                    <a:pt x="966" y="345"/>
                  </a:lnTo>
                  <a:lnTo>
                    <a:pt x="983" y="329"/>
                  </a:lnTo>
                  <a:lnTo>
                    <a:pt x="966" y="345"/>
                  </a:lnTo>
                  <a:lnTo>
                    <a:pt x="971" y="317"/>
                  </a:lnTo>
                  <a:lnTo>
                    <a:pt x="983" y="307"/>
                  </a:lnTo>
                  <a:lnTo>
                    <a:pt x="987" y="291"/>
                  </a:lnTo>
                  <a:lnTo>
                    <a:pt x="1009" y="279"/>
                  </a:lnTo>
                  <a:lnTo>
                    <a:pt x="1009" y="279"/>
                  </a:lnTo>
                  <a:lnTo>
                    <a:pt x="1009" y="279"/>
                  </a:lnTo>
                  <a:close/>
                  <a:moveTo>
                    <a:pt x="895" y="152"/>
                  </a:moveTo>
                  <a:lnTo>
                    <a:pt x="895" y="140"/>
                  </a:lnTo>
                  <a:lnTo>
                    <a:pt x="912" y="128"/>
                  </a:lnTo>
                  <a:lnTo>
                    <a:pt x="917" y="140"/>
                  </a:lnTo>
                  <a:lnTo>
                    <a:pt x="917" y="163"/>
                  </a:lnTo>
                  <a:lnTo>
                    <a:pt x="900" y="163"/>
                  </a:lnTo>
                  <a:lnTo>
                    <a:pt x="912" y="152"/>
                  </a:lnTo>
                  <a:lnTo>
                    <a:pt x="895" y="152"/>
                  </a:lnTo>
                  <a:lnTo>
                    <a:pt x="895" y="152"/>
                  </a:lnTo>
                  <a:lnTo>
                    <a:pt x="895" y="152"/>
                  </a:lnTo>
                  <a:close/>
                  <a:moveTo>
                    <a:pt x="1576" y="128"/>
                  </a:moveTo>
                  <a:lnTo>
                    <a:pt x="1592" y="128"/>
                  </a:lnTo>
                  <a:lnTo>
                    <a:pt x="1592" y="140"/>
                  </a:lnTo>
                  <a:lnTo>
                    <a:pt x="1576" y="128"/>
                  </a:lnTo>
                  <a:lnTo>
                    <a:pt x="1576" y="128"/>
                  </a:lnTo>
                  <a:lnTo>
                    <a:pt x="1576" y="128"/>
                  </a:lnTo>
                  <a:close/>
                  <a:moveTo>
                    <a:pt x="1566" y="128"/>
                  </a:moveTo>
                  <a:lnTo>
                    <a:pt x="1576" y="140"/>
                  </a:lnTo>
                  <a:lnTo>
                    <a:pt x="1566" y="140"/>
                  </a:lnTo>
                  <a:lnTo>
                    <a:pt x="1566" y="128"/>
                  </a:lnTo>
                  <a:lnTo>
                    <a:pt x="1566" y="128"/>
                  </a:lnTo>
                  <a:lnTo>
                    <a:pt x="1566" y="128"/>
                  </a:lnTo>
                  <a:close/>
                  <a:moveTo>
                    <a:pt x="2209" y="152"/>
                  </a:moveTo>
                  <a:lnTo>
                    <a:pt x="2197" y="140"/>
                  </a:lnTo>
                  <a:lnTo>
                    <a:pt x="2209" y="147"/>
                  </a:lnTo>
                  <a:lnTo>
                    <a:pt x="2209" y="152"/>
                  </a:lnTo>
                  <a:lnTo>
                    <a:pt x="2209" y="152"/>
                  </a:lnTo>
                  <a:lnTo>
                    <a:pt x="2209" y="152"/>
                  </a:lnTo>
                  <a:close/>
                  <a:moveTo>
                    <a:pt x="2143" y="185"/>
                  </a:moveTo>
                  <a:lnTo>
                    <a:pt x="2133" y="163"/>
                  </a:lnTo>
                  <a:lnTo>
                    <a:pt x="2143" y="163"/>
                  </a:lnTo>
                  <a:lnTo>
                    <a:pt x="2154" y="180"/>
                  </a:lnTo>
                  <a:lnTo>
                    <a:pt x="2143" y="185"/>
                  </a:lnTo>
                  <a:lnTo>
                    <a:pt x="2143" y="185"/>
                  </a:lnTo>
                  <a:lnTo>
                    <a:pt x="2143" y="185"/>
                  </a:lnTo>
                  <a:close/>
                  <a:moveTo>
                    <a:pt x="1545" y="168"/>
                  </a:moveTo>
                  <a:lnTo>
                    <a:pt x="1559" y="180"/>
                  </a:lnTo>
                  <a:lnTo>
                    <a:pt x="1545" y="180"/>
                  </a:lnTo>
                  <a:lnTo>
                    <a:pt x="1545" y="168"/>
                  </a:lnTo>
                  <a:lnTo>
                    <a:pt x="1545" y="168"/>
                  </a:lnTo>
                  <a:lnTo>
                    <a:pt x="1545" y="168"/>
                  </a:lnTo>
                  <a:close/>
                  <a:moveTo>
                    <a:pt x="1566" y="180"/>
                  </a:moveTo>
                  <a:lnTo>
                    <a:pt x="1576" y="185"/>
                  </a:lnTo>
                  <a:lnTo>
                    <a:pt x="1566" y="196"/>
                  </a:lnTo>
                  <a:lnTo>
                    <a:pt x="1566" y="180"/>
                  </a:lnTo>
                  <a:lnTo>
                    <a:pt x="1566" y="180"/>
                  </a:lnTo>
                  <a:lnTo>
                    <a:pt x="1566" y="180"/>
                  </a:lnTo>
                  <a:close/>
                  <a:moveTo>
                    <a:pt x="773" y="196"/>
                  </a:moveTo>
                  <a:lnTo>
                    <a:pt x="773" y="185"/>
                  </a:lnTo>
                  <a:lnTo>
                    <a:pt x="773" y="196"/>
                  </a:lnTo>
                  <a:lnTo>
                    <a:pt x="773" y="196"/>
                  </a:lnTo>
                  <a:lnTo>
                    <a:pt x="773" y="196"/>
                  </a:lnTo>
                  <a:close/>
                  <a:moveTo>
                    <a:pt x="1559" y="185"/>
                  </a:moveTo>
                  <a:lnTo>
                    <a:pt x="1559" y="196"/>
                  </a:lnTo>
                  <a:lnTo>
                    <a:pt x="1559" y="185"/>
                  </a:lnTo>
                  <a:lnTo>
                    <a:pt x="1559" y="185"/>
                  </a:lnTo>
                  <a:lnTo>
                    <a:pt x="1559" y="185"/>
                  </a:lnTo>
                  <a:close/>
                  <a:moveTo>
                    <a:pt x="773" y="201"/>
                  </a:moveTo>
                  <a:lnTo>
                    <a:pt x="773" y="196"/>
                  </a:lnTo>
                  <a:lnTo>
                    <a:pt x="773" y="201"/>
                  </a:lnTo>
                  <a:lnTo>
                    <a:pt x="773" y="201"/>
                  </a:lnTo>
                  <a:lnTo>
                    <a:pt x="773" y="201"/>
                  </a:lnTo>
                  <a:close/>
                  <a:moveTo>
                    <a:pt x="735" y="222"/>
                  </a:moveTo>
                  <a:lnTo>
                    <a:pt x="735" y="206"/>
                  </a:lnTo>
                  <a:lnTo>
                    <a:pt x="739" y="218"/>
                  </a:lnTo>
                  <a:lnTo>
                    <a:pt x="735" y="222"/>
                  </a:lnTo>
                  <a:lnTo>
                    <a:pt x="735" y="222"/>
                  </a:lnTo>
                  <a:lnTo>
                    <a:pt x="735" y="222"/>
                  </a:lnTo>
                  <a:close/>
                  <a:moveTo>
                    <a:pt x="950" y="218"/>
                  </a:moveTo>
                  <a:lnTo>
                    <a:pt x="954" y="206"/>
                  </a:lnTo>
                  <a:lnTo>
                    <a:pt x="954" y="218"/>
                  </a:lnTo>
                  <a:lnTo>
                    <a:pt x="950" y="218"/>
                  </a:lnTo>
                  <a:lnTo>
                    <a:pt x="950" y="218"/>
                  </a:lnTo>
                  <a:lnTo>
                    <a:pt x="950" y="218"/>
                  </a:lnTo>
                  <a:close/>
                  <a:moveTo>
                    <a:pt x="85" y="255"/>
                  </a:moveTo>
                  <a:lnTo>
                    <a:pt x="76" y="255"/>
                  </a:lnTo>
                  <a:lnTo>
                    <a:pt x="52" y="239"/>
                  </a:lnTo>
                  <a:lnTo>
                    <a:pt x="38" y="234"/>
                  </a:lnTo>
                  <a:lnTo>
                    <a:pt x="31" y="222"/>
                  </a:lnTo>
                  <a:lnTo>
                    <a:pt x="38" y="218"/>
                  </a:lnTo>
                  <a:lnTo>
                    <a:pt x="47" y="218"/>
                  </a:lnTo>
                  <a:lnTo>
                    <a:pt x="85" y="251"/>
                  </a:lnTo>
                  <a:lnTo>
                    <a:pt x="85" y="255"/>
                  </a:lnTo>
                  <a:lnTo>
                    <a:pt x="85" y="255"/>
                  </a:lnTo>
                  <a:lnTo>
                    <a:pt x="85" y="255"/>
                  </a:lnTo>
                  <a:close/>
                  <a:moveTo>
                    <a:pt x="2117" y="234"/>
                  </a:moveTo>
                  <a:lnTo>
                    <a:pt x="2117" y="239"/>
                  </a:lnTo>
                  <a:lnTo>
                    <a:pt x="2117" y="222"/>
                  </a:lnTo>
                  <a:lnTo>
                    <a:pt x="2117" y="234"/>
                  </a:lnTo>
                  <a:lnTo>
                    <a:pt x="2117" y="234"/>
                  </a:lnTo>
                  <a:lnTo>
                    <a:pt x="2117" y="234"/>
                  </a:lnTo>
                  <a:close/>
                  <a:moveTo>
                    <a:pt x="2317" y="279"/>
                  </a:moveTo>
                  <a:lnTo>
                    <a:pt x="2317" y="263"/>
                  </a:lnTo>
                  <a:lnTo>
                    <a:pt x="2332" y="239"/>
                  </a:lnTo>
                  <a:lnTo>
                    <a:pt x="2339" y="239"/>
                  </a:lnTo>
                  <a:lnTo>
                    <a:pt x="2348" y="251"/>
                  </a:lnTo>
                  <a:lnTo>
                    <a:pt x="2339" y="263"/>
                  </a:lnTo>
                  <a:lnTo>
                    <a:pt x="2332" y="279"/>
                  </a:lnTo>
                  <a:lnTo>
                    <a:pt x="2317" y="279"/>
                  </a:lnTo>
                  <a:lnTo>
                    <a:pt x="2317" y="279"/>
                  </a:lnTo>
                  <a:lnTo>
                    <a:pt x="2317" y="279"/>
                  </a:lnTo>
                  <a:close/>
                  <a:moveTo>
                    <a:pt x="144" y="279"/>
                  </a:moveTo>
                  <a:lnTo>
                    <a:pt x="128" y="263"/>
                  </a:lnTo>
                  <a:lnTo>
                    <a:pt x="139" y="263"/>
                  </a:lnTo>
                  <a:lnTo>
                    <a:pt x="144" y="279"/>
                  </a:lnTo>
                  <a:lnTo>
                    <a:pt x="144" y="279"/>
                  </a:lnTo>
                  <a:lnTo>
                    <a:pt x="144" y="279"/>
                  </a:lnTo>
                  <a:close/>
                  <a:moveTo>
                    <a:pt x="2284" y="366"/>
                  </a:moveTo>
                  <a:lnTo>
                    <a:pt x="2294" y="366"/>
                  </a:lnTo>
                  <a:lnTo>
                    <a:pt x="2294" y="350"/>
                  </a:lnTo>
                  <a:lnTo>
                    <a:pt x="2306" y="345"/>
                  </a:lnTo>
                  <a:lnTo>
                    <a:pt x="2306" y="329"/>
                  </a:lnTo>
                  <a:lnTo>
                    <a:pt x="2332" y="317"/>
                  </a:lnTo>
                  <a:lnTo>
                    <a:pt x="2348" y="312"/>
                  </a:lnTo>
                  <a:lnTo>
                    <a:pt x="2348" y="350"/>
                  </a:lnTo>
                  <a:lnTo>
                    <a:pt x="2317" y="366"/>
                  </a:lnTo>
                  <a:lnTo>
                    <a:pt x="2322" y="383"/>
                  </a:lnTo>
                  <a:lnTo>
                    <a:pt x="2348" y="390"/>
                  </a:lnTo>
                  <a:lnTo>
                    <a:pt x="2348" y="400"/>
                  </a:lnTo>
                  <a:lnTo>
                    <a:pt x="2360" y="418"/>
                  </a:lnTo>
                  <a:lnTo>
                    <a:pt x="2301" y="390"/>
                  </a:lnTo>
                  <a:lnTo>
                    <a:pt x="2294" y="400"/>
                  </a:lnTo>
                  <a:lnTo>
                    <a:pt x="2294" y="407"/>
                  </a:lnTo>
                  <a:lnTo>
                    <a:pt x="2294" y="435"/>
                  </a:lnTo>
                  <a:lnTo>
                    <a:pt x="2301" y="456"/>
                  </a:lnTo>
                  <a:lnTo>
                    <a:pt x="2322" y="494"/>
                  </a:lnTo>
                  <a:lnTo>
                    <a:pt x="2301" y="478"/>
                  </a:lnTo>
                  <a:lnTo>
                    <a:pt x="2284" y="456"/>
                  </a:lnTo>
                  <a:lnTo>
                    <a:pt x="2280" y="444"/>
                  </a:lnTo>
                  <a:lnTo>
                    <a:pt x="2280" y="418"/>
                  </a:lnTo>
                  <a:lnTo>
                    <a:pt x="2263" y="383"/>
                  </a:lnTo>
                  <a:lnTo>
                    <a:pt x="2268" y="366"/>
                  </a:lnTo>
                  <a:lnTo>
                    <a:pt x="2263" y="366"/>
                  </a:lnTo>
                  <a:lnTo>
                    <a:pt x="2263" y="350"/>
                  </a:lnTo>
                  <a:lnTo>
                    <a:pt x="2251" y="350"/>
                  </a:lnTo>
                  <a:lnTo>
                    <a:pt x="2268" y="307"/>
                  </a:lnTo>
                  <a:lnTo>
                    <a:pt x="2294" y="272"/>
                  </a:lnTo>
                  <a:lnTo>
                    <a:pt x="2301" y="272"/>
                  </a:lnTo>
                  <a:lnTo>
                    <a:pt x="2284" y="291"/>
                  </a:lnTo>
                  <a:lnTo>
                    <a:pt x="2301" y="307"/>
                  </a:lnTo>
                  <a:lnTo>
                    <a:pt x="2301" y="329"/>
                  </a:lnTo>
                  <a:lnTo>
                    <a:pt x="2268" y="362"/>
                  </a:lnTo>
                  <a:lnTo>
                    <a:pt x="2284" y="366"/>
                  </a:lnTo>
                  <a:lnTo>
                    <a:pt x="2284" y="366"/>
                  </a:lnTo>
                  <a:lnTo>
                    <a:pt x="2284" y="366"/>
                  </a:lnTo>
                  <a:close/>
                  <a:moveTo>
                    <a:pt x="454" y="291"/>
                  </a:moveTo>
                  <a:lnTo>
                    <a:pt x="447" y="307"/>
                  </a:lnTo>
                  <a:lnTo>
                    <a:pt x="430" y="307"/>
                  </a:lnTo>
                  <a:lnTo>
                    <a:pt x="430" y="291"/>
                  </a:lnTo>
                  <a:lnTo>
                    <a:pt x="430" y="279"/>
                  </a:lnTo>
                  <a:lnTo>
                    <a:pt x="447" y="272"/>
                  </a:lnTo>
                  <a:lnTo>
                    <a:pt x="454" y="291"/>
                  </a:lnTo>
                  <a:lnTo>
                    <a:pt x="454" y="291"/>
                  </a:lnTo>
                  <a:lnTo>
                    <a:pt x="454" y="291"/>
                  </a:lnTo>
                  <a:close/>
                  <a:moveTo>
                    <a:pt x="1873" y="778"/>
                  </a:moveTo>
                  <a:lnTo>
                    <a:pt x="1852" y="778"/>
                  </a:lnTo>
                  <a:lnTo>
                    <a:pt x="1835" y="766"/>
                  </a:lnTo>
                  <a:lnTo>
                    <a:pt x="1852" y="723"/>
                  </a:lnTo>
                  <a:lnTo>
                    <a:pt x="1831" y="716"/>
                  </a:lnTo>
                  <a:lnTo>
                    <a:pt x="1798" y="683"/>
                  </a:lnTo>
                  <a:lnTo>
                    <a:pt x="1798" y="666"/>
                  </a:lnTo>
                  <a:lnTo>
                    <a:pt x="1814" y="662"/>
                  </a:lnTo>
                  <a:lnTo>
                    <a:pt x="1814" y="629"/>
                  </a:lnTo>
                  <a:lnTo>
                    <a:pt x="1809" y="622"/>
                  </a:lnTo>
                  <a:lnTo>
                    <a:pt x="1793" y="612"/>
                  </a:lnTo>
                  <a:lnTo>
                    <a:pt x="1755" y="645"/>
                  </a:lnTo>
                  <a:lnTo>
                    <a:pt x="1765" y="662"/>
                  </a:lnTo>
                  <a:lnTo>
                    <a:pt x="1765" y="695"/>
                  </a:lnTo>
                  <a:lnTo>
                    <a:pt x="1760" y="723"/>
                  </a:lnTo>
                  <a:lnTo>
                    <a:pt x="1765" y="766"/>
                  </a:lnTo>
                  <a:lnTo>
                    <a:pt x="1755" y="794"/>
                  </a:lnTo>
                  <a:lnTo>
                    <a:pt x="1765" y="834"/>
                  </a:lnTo>
                  <a:lnTo>
                    <a:pt x="1760" y="827"/>
                  </a:lnTo>
                  <a:lnTo>
                    <a:pt x="1743" y="834"/>
                  </a:lnTo>
                  <a:lnTo>
                    <a:pt x="1727" y="827"/>
                  </a:lnTo>
                  <a:lnTo>
                    <a:pt x="1722" y="844"/>
                  </a:lnTo>
                  <a:lnTo>
                    <a:pt x="1710" y="844"/>
                  </a:lnTo>
                  <a:lnTo>
                    <a:pt x="1689" y="822"/>
                  </a:lnTo>
                  <a:lnTo>
                    <a:pt x="1706" y="740"/>
                  </a:lnTo>
                  <a:lnTo>
                    <a:pt x="1706" y="716"/>
                  </a:lnTo>
                  <a:lnTo>
                    <a:pt x="1701" y="695"/>
                  </a:lnTo>
                  <a:lnTo>
                    <a:pt x="1706" y="683"/>
                  </a:lnTo>
                  <a:lnTo>
                    <a:pt x="1689" y="678"/>
                  </a:lnTo>
                  <a:lnTo>
                    <a:pt x="1658" y="683"/>
                  </a:lnTo>
                  <a:lnTo>
                    <a:pt x="1651" y="666"/>
                  </a:lnTo>
                  <a:lnTo>
                    <a:pt x="1658" y="638"/>
                  </a:lnTo>
                  <a:lnTo>
                    <a:pt x="1651" y="638"/>
                  </a:lnTo>
                  <a:lnTo>
                    <a:pt x="1651" y="629"/>
                  </a:lnTo>
                  <a:lnTo>
                    <a:pt x="1651" y="612"/>
                  </a:lnTo>
                  <a:lnTo>
                    <a:pt x="1658" y="622"/>
                  </a:lnTo>
                  <a:lnTo>
                    <a:pt x="1672" y="605"/>
                  </a:lnTo>
                  <a:lnTo>
                    <a:pt x="1684" y="572"/>
                  </a:lnTo>
                  <a:lnTo>
                    <a:pt x="1689" y="567"/>
                  </a:lnTo>
                  <a:lnTo>
                    <a:pt x="1689" y="518"/>
                  </a:lnTo>
                  <a:lnTo>
                    <a:pt x="1706" y="494"/>
                  </a:lnTo>
                  <a:lnTo>
                    <a:pt x="1710" y="478"/>
                  </a:lnTo>
                  <a:lnTo>
                    <a:pt x="1727" y="489"/>
                  </a:lnTo>
                  <a:lnTo>
                    <a:pt x="1722" y="461"/>
                  </a:lnTo>
                  <a:lnTo>
                    <a:pt x="1722" y="440"/>
                  </a:lnTo>
                  <a:lnTo>
                    <a:pt x="1710" y="440"/>
                  </a:lnTo>
                  <a:lnTo>
                    <a:pt x="1706" y="435"/>
                  </a:lnTo>
                  <a:lnTo>
                    <a:pt x="1722" y="440"/>
                  </a:lnTo>
                  <a:lnTo>
                    <a:pt x="1727" y="423"/>
                  </a:lnTo>
                  <a:lnTo>
                    <a:pt x="1722" y="418"/>
                  </a:lnTo>
                  <a:lnTo>
                    <a:pt x="1727" y="390"/>
                  </a:lnTo>
                  <a:lnTo>
                    <a:pt x="1739" y="390"/>
                  </a:lnTo>
                  <a:lnTo>
                    <a:pt x="1739" y="378"/>
                  </a:lnTo>
                  <a:lnTo>
                    <a:pt x="1755" y="366"/>
                  </a:lnTo>
                  <a:lnTo>
                    <a:pt x="1760" y="362"/>
                  </a:lnTo>
                  <a:lnTo>
                    <a:pt x="1760" y="366"/>
                  </a:lnTo>
                  <a:lnTo>
                    <a:pt x="1776" y="378"/>
                  </a:lnTo>
                  <a:lnTo>
                    <a:pt x="1793" y="350"/>
                  </a:lnTo>
                  <a:lnTo>
                    <a:pt x="1793" y="333"/>
                  </a:lnTo>
                  <a:lnTo>
                    <a:pt x="1835" y="333"/>
                  </a:lnTo>
                  <a:lnTo>
                    <a:pt x="1847" y="350"/>
                  </a:lnTo>
                  <a:lnTo>
                    <a:pt x="1869" y="350"/>
                  </a:lnTo>
                  <a:lnTo>
                    <a:pt x="1873" y="350"/>
                  </a:lnTo>
                  <a:lnTo>
                    <a:pt x="1906" y="362"/>
                  </a:lnTo>
                  <a:lnTo>
                    <a:pt x="1939" y="366"/>
                  </a:lnTo>
                  <a:lnTo>
                    <a:pt x="1944" y="362"/>
                  </a:lnTo>
                  <a:lnTo>
                    <a:pt x="1961" y="362"/>
                  </a:lnTo>
                  <a:lnTo>
                    <a:pt x="2015" y="366"/>
                  </a:lnTo>
                  <a:lnTo>
                    <a:pt x="2036" y="350"/>
                  </a:lnTo>
                  <a:lnTo>
                    <a:pt x="2046" y="345"/>
                  </a:lnTo>
                  <a:lnTo>
                    <a:pt x="2062" y="345"/>
                  </a:lnTo>
                  <a:lnTo>
                    <a:pt x="2053" y="329"/>
                  </a:lnTo>
                  <a:lnTo>
                    <a:pt x="2079" y="317"/>
                  </a:lnTo>
                  <a:lnTo>
                    <a:pt x="2079" y="312"/>
                  </a:lnTo>
                  <a:lnTo>
                    <a:pt x="2084" y="307"/>
                  </a:lnTo>
                  <a:lnTo>
                    <a:pt x="2100" y="307"/>
                  </a:lnTo>
                  <a:lnTo>
                    <a:pt x="2105" y="317"/>
                  </a:lnTo>
                  <a:lnTo>
                    <a:pt x="2091" y="329"/>
                  </a:lnTo>
                  <a:lnTo>
                    <a:pt x="2079" y="362"/>
                  </a:lnTo>
                  <a:lnTo>
                    <a:pt x="2036" y="400"/>
                  </a:lnTo>
                  <a:lnTo>
                    <a:pt x="1991" y="407"/>
                  </a:lnTo>
                  <a:lnTo>
                    <a:pt x="1970" y="407"/>
                  </a:lnTo>
                  <a:lnTo>
                    <a:pt x="1954" y="390"/>
                  </a:lnTo>
                  <a:lnTo>
                    <a:pt x="1864" y="400"/>
                  </a:lnTo>
                  <a:lnTo>
                    <a:pt x="1847" y="390"/>
                  </a:lnTo>
                  <a:lnTo>
                    <a:pt x="1814" y="400"/>
                  </a:lnTo>
                  <a:lnTo>
                    <a:pt x="1776" y="390"/>
                  </a:lnTo>
                  <a:lnTo>
                    <a:pt x="1760" y="390"/>
                  </a:lnTo>
                  <a:lnTo>
                    <a:pt x="1743" y="418"/>
                  </a:lnTo>
                  <a:lnTo>
                    <a:pt x="1739" y="440"/>
                  </a:lnTo>
                  <a:lnTo>
                    <a:pt x="1743" y="473"/>
                  </a:lnTo>
                  <a:lnTo>
                    <a:pt x="1755" y="494"/>
                  </a:lnTo>
                  <a:lnTo>
                    <a:pt x="1776" y="501"/>
                  </a:lnTo>
                  <a:lnTo>
                    <a:pt x="1781" y="527"/>
                  </a:lnTo>
                  <a:lnTo>
                    <a:pt x="1793" y="527"/>
                  </a:lnTo>
                  <a:lnTo>
                    <a:pt x="1814" y="534"/>
                  </a:lnTo>
                  <a:lnTo>
                    <a:pt x="1835" y="494"/>
                  </a:lnTo>
                  <a:lnTo>
                    <a:pt x="1852" y="489"/>
                  </a:lnTo>
                  <a:lnTo>
                    <a:pt x="1852" y="494"/>
                  </a:lnTo>
                  <a:lnTo>
                    <a:pt x="1869" y="494"/>
                  </a:lnTo>
                  <a:lnTo>
                    <a:pt x="1885" y="494"/>
                  </a:lnTo>
                  <a:lnTo>
                    <a:pt x="1890" y="489"/>
                  </a:lnTo>
                  <a:lnTo>
                    <a:pt x="1939" y="489"/>
                  </a:lnTo>
                  <a:lnTo>
                    <a:pt x="1944" y="478"/>
                  </a:lnTo>
                  <a:lnTo>
                    <a:pt x="1928" y="478"/>
                  </a:lnTo>
                  <a:lnTo>
                    <a:pt x="1954" y="473"/>
                  </a:lnTo>
                  <a:lnTo>
                    <a:pt x="1970" y="473"/>
                  </a:lnTo>
                  <a:lnTo>
                    <a:pt x="1977" y="489"/>
                  </a:lnTo>
                  <a:lnTo>
                    <a:pt x="1970" y="501"/>
                  </a:lnTo>
                  <a:lnTo>
                    <a:pt x="1961" y="494"/>
                  </a:lnTo>
                  <a:lnTo>
                    <a:pt x="1939" y="494"/>
                  </a:lnTo>
                  <a:lnTo>
                    <a:pt x="1906" y="534"/>
                  </a:lnTo>
                  <a:lnTo>
                    <a:pt x="1869" y="551"/>
                  </a:lnTo>
                  <a:lnTo>
                    <a:pt x="1852" y="567"/>
                  </a:lnTo>
                  <a:lnTo>
                    <a:pt x="1831" y="555"/>
                  </a:lnTo>
                  <a:lnTo>
                    <a:pt x="1831" y="572"/>
                  </a:lnTo>
                  <a:lnTo>
                    <a:pt x="1835" y="572"/>
                  </a:lnTo>
                  <a:lnTo>
                    <a:pt x="1847" y="584"/>
                  </a:lnTo>
                  <a:lnTo>
                    <a:pt x="1869" y="600"/>
                  </a:lnTo>
                  <a:lnTo>
                    <a:pt x="1873" y="622"/>
                  </a:lnTo>
                  <a:lnTo>
                    <a:pt x="1902" y="638"/>
                  </a:lnTo>
                  <a:lnTo>
                    <a:pt x="1902" y="645"/>
                  </a:lnTo>
                  <a:lnTo>
                    <a:pt x="1906" y="655"/>
                  </a:lnTo>
                  <a:lnTo>
                    <a:pt x="1890" y="666"/>
                  </a:lnTo>
                  <a:lnTo>
                    <a:pt x="1890" y="695"/>
                  </a:lnTo>
                  <a:lnTo>
                    <a:pt x="1923" y="711"/>
                  </a:lnTo>
                  <a:lnTo>
                    <a:pt x="1923" y="723"/>
                  </a:lnTo>
                  <a:lnTo>
                    <a:pt x="1939" y="723"/>
                  </a:lnTo>
                  <a:lnTo>
                    <a:pt x="1928" y="716"/>
                  </a:lnTo>
                  <a:lnTo>
                    <a:pt x="1939" y="733"/>
                  </a:lnTo>
                  <a:lnTo>
                    <a:pt x="1939" y="749"/>
                  </a:lnTo>
                  <a:lnTo>
                    <a:pt x="1928" y="749"/>
                  </a:lnTo>
                  <a:lnTo>
                    <a:pt x="1916" y="749"/>
                  </a:lnTo>
                  <a:lnTo>
                    <a:pt x="1885" y="756"/>
                  </a:lnTo>
                  <a:lnTo>
                    <a:pt x="1873" y="766"/>
                  </a:lnTo>
                  <a:lnTo>
                    <a:pt x="1885" y="773"/>
                  </a:lnTo>
                  <a:lnTo>
                    <a:pt x="1873" y="778"/>
                  </a:lnTo>
                  <a:lnTo>
                    <a:pt x="1873" y="778"/>
                  </a:lnTo>
                  <a:lnTo>
                    <a:pt x="1873" y="778"/>
                  </a:lnTo>
                  <a:close/>
                  <a:moveTo>
                    <a:pt x="508" y="329"/>
                  </a:moveTo>
                  <a:lnTo>
                    <a:pt x="508" y="333"/>
                  </a:lnTo>
                  <a:lnTo>
                    <a:pt x="496" y="329"/>
                  </a:lnTo>
                  <a:lnTo>
                    <a:pt x="480" y="317"/>
                  </a:lnTo>
                  <a:lnTo>
                    <a:pt x="470" y="312"/>
                  </a:lnTo>
                  <a:lnTo>
                    <a:pt x="501" y="317"/>
                  </a:lnTo>
                  <a:lnTo>
                    <a:pt x="508" y="329"/>
                  </a:lnTo>
                  <a:lnTo>
                    <a:pt x="508" y="329"/>
                  </a:lnTo>
                  <a:lnTo>
                    <a:pt x="508" y="329"/>
                  </a:lnTo>
                  <a:close/>
                  <a:moveTo>
                    <a:pt x="2105" y="317"/>
                  </a:moveTo>
                  <a:lnTo>
                    <a:pt x="2105" y="329"/>
                  </a:lnTo>
                  <a:lnTo>
                    <a:pt x="2100" y="329"/>
                  </a:lnTo>
                  <a:lnTo>
                    <a:pt x="2105" y="317"/>
                  </a:lnTo>
                  <a:lnTo>
                    <a:pt x="2105" y="317"/>
                  </a:lnTo>
                  <a:lnTo>
                    <a:pt x="2105" y="317"/>
                  </a:lnTo>
                  <a:close/>
                  <a:moveTo>
                    <a:pt x="177" y="390"/>
                  </a:moveTo>
                  <a:lnTo>
                    <a:pt x="173" y="383"/>
                  </a:lnTo>
                  <a:lnTo>
                    <a:pt x="161" y="366"/>
                  </a:lnTo>
                  <a:lnTo>
                    <a:pt x="128" y="329"/>
                  </a:lnTo>
                  <a:lnTo>
                    <a:pt x="144" y="317"/>
                  </a:lnTo>
                  <a:lnTo>
                    <a:pt x="156" y="317"/>
                  </a:lnTo>
                  <a:lnTo>
                    <a:pt x="173" y="345"/>
                  </a:lnTo>
                  <a:lnTo>
                    <a:pt x="182" y="350"/>
                  </a:lnTo>
                  <a:lnTo>
                    <a:pt x="182" y="383"/>
                  </a:lnTo>
                  <a:lnTo>
                    <a:pt x="177" y="390"/>
                  </a:lnTo>
                  <a:lnTo>
                    <a:pt x="177" y="390"/>
                  </a:lnTo>
                  <a:lnTo>
                    <a:pt x="177" y="390"/>
                  </a:lnTo>
                  <a:close/>
                  <a:moveTo>
                    <a:pt x="508" y="345"/>
                  </a:moveTo>
                  <a:lnTo>
                    <a:pt x="508" y="362"/>
                  </a:lnTo>
                  <a:lnTo>
                    <a:pt x="501" y="362"/>
                  </a:lnTo>
                  <a:lnTo>
                    <a:pt x="484" y="350"/>
                  </a:lnTo>
                  <a:lnTo>
                    <a:pt x="484" y="329"/>
                  </a:lnTo>
                  <a:lnTo>
                    <a:pt x="508" y="345"/>
                  </a:lnTo>
                  <a:lnTo>
                    <a:pt x="508" y="345"/>
                  </a:lnTo>
                  <a:lnTo>
                    <a:pt x="508" y="345"/>
                  </a:lnTo>
                  <a:close/>
                  <a:moveTo>
                    <a:pt x="664" y="350"/>
                  </a:moveTo>
                  <a:lnTo>
                    <a:pt x="659" y="366"/>
                  </a:lnTo>
                  <a:lnTo>
                    <a:pt x="631" y="350"/>
                  </a:lnTo>
                  <a:lnTo>
                    <a:pt x="643" y="345"/>
                  </a:lnTo>
                  <a:lnTo>
                    <a:pt x="664" y="350"/>
                  </a:lnTo>
                  <a:lnTo>
                    <a:pt x="664" y="350"/>
                  </a:lnTo>
                  <a:lnTo>
                    <a:pt x="664" y="350"/>
                  </a:lnTo>
                  <a:close/>
                  <a:moveTo>
                    <a:pt x="626" y="345"/>
                  </a:moveTo>
                  <a:lnTo>
                    <a:pt x="614" y="362"/>
                  </a:lnTo>
                  <a:lnTo>
                    <a:pt x="610" y="350"/>
                  </a:lnTo>
                  <a:lnTo>
                    <a:pt x="614" y="345"/>
                  </a:lnTo>
                  <a:lnTo>
                    <a:pt x="626" y="345"/>
                  </a:lnTo>
                  <a:lnTo>
                    <a:pt x="626" y="345"/>
                  </a:lnTo>
                  <a:lnTo>
                    <a:pt x="626" y="345"/>
                  </a:lnTo>
                  <a:close/>
                  <a:moveTo>
                    <a:pt x="550" y="366"/>
                  </a:moveTo>
                  <a:lnTo>
                    <a:pt x="522" y="350"/>
                  </a:lnTo>
                  <a:lnTo>
                    <a:pt x="522" y="345"/>
                  </a:lnTo>
                  <a:lnTo>
                    <a:pt x="550" y="350"/>
                  </a:lnTo>
                  <a:lnTo>
                    <a:pt x="555" y="366"/>
                  </a:lnTo>
                  <a:lnTo>
                    <a:pt x="550" y="366"/>
                  </a:lnTo>
                  <a:lnTo>
                    <a:pt x="550" y="366"/>
                  </a:lnTo>
                  <a:lnTo>
                    <a:pt x="550" y="366"/>
                  </a:lnTo>
                  <a:close/>
                  <a:moveTo>
                    <a:pt x="539" y="378"/>
                  </a:moveTo>
                  <a:lnTo>
                    <a:pt x="534" y="366"/>
                  </a:lnTo>
                  <a:lnTo>
                    <a:pt x="508" y="366"/>
                  </a:lnTo>
                  <a:lnTo>
                    <a:pt x="501" y="366"/>
                  </a:lnTo>
                  <a:lnTo>
                    <a:pt x="508" y="362"/>
                  </a:lnTo>
                  <a:lnTo>
                    <a:pt x="508" y="345"/>
                  </a:lnTo>
                  <a:lnTo>
                    <a:pt x="550" y="366"/>
                  </a:lnTo>
                  <a:lnTo>
                    <a:pt x="539" y="378"/>
                  </a:lnTo>
                  <a:lnTo>
                    <a:pt x="539" y="378"/>
                  </a:lnTo>
                  <a:lnTo>
                    <a:pt x="539" y="378"/>
                  </a:lnTo>
                  <a:close/>
                  <a:moveTo>
                    <a:pt x="572" y="350"/>
                  </a:moveTo>
                  <a:lnTo>
                    <a:pt x="572" y="362"/>
                  </a:lnTo>
                  <a:lnTo>
                    <a:pt x="560" y="345"/>
                  </a:lnTo>
                  <a:lnTo>
                    <a:pt x="572" y="350"/>
                  </a:lnTo>
                  <a:lnTo>
                    <a:pt x="572" y="350"/>
                  </a:lnTo>
                  <a:lnTo>
                    <a:pt x="572" y="350"/>
                  </a:lnTo>
                  <a:close/>
                  <a:moveTo>
                    <a:pt x="610" y="362"/>
                  </a:moveTo>
                  <a:lnTo>
                    <a:pt x="605" y="350"/>
                  </a:lnTo>
                  <a:lnTo>
                    <a:pt x="610" y="362"/>
                  </a:lnTo>
                  <a:lnTo>
                    <a:pt x="610" y="362"/>
                  </a:lnTo>
                  <a:lnTo>
                    <a:pt x="610" y="362"/>
                  </a:lnTo>
                  <a:close/>
                  <a:moveTo>
                    <a:pt x="626" y="366"/>
                  </a:moveTo>
                  <a:lnTo>
                    <a:pt x="614" y="362"/>
                  </a:lnTo>
                  <a:lnTo>
                    <a:pt x="631" y="366"/>
                  </a:lnTo>
                  <a:lnTo>
                    <a:pt x="626" y="366"/>
                  </a:lnTo>
                  <a:lnTo>
                    <a:pt x="626" y="366"/>
                  </a:lnTo>
                  <a:lnTo>
                    <a:pt x="626" y="366"/>
                  </a:lnTo>
                  <a:close/>
                  <a:moveTo>
                    <a:pt x="576" y="378"/>
                  </a:moveTo>
                  <a:lnTo>
                    <a:pt x="572" y="383"/>
                  </a:lnTo>
                  <a:lnTo>
                    <a:pt x="572" y="366"/>
                  </a:lnTo>
                  <a:lnTo>
                    <a:pt x="576" y="378"/>
                  </a:lnTo>
                  <a:lnTo>
                    <a:pt x="576" y="378"/>
                  </a:lnTo>
                  <a:lnTo>
                    <a:pt x="576" y="378"/>
                  </a:lnTo>
                  <a:close/>
                  <a:moveTo>
                    <a:pt x="631" y="378"/>
                  </a:moveTo>
                  <a:lnTo>
                    <a:pt x="626" y="378"/>
                  </a:lnTo>
                  <a:lnTo>
                    <a:pt x="631" y="366"/>
                  </a:lnTo>
                  <a:lnTo>
                    <a:pt x="631" y="378"/>
                  </a:lnTo>
                  <a:lnTo>
                    <a:pt x="631" y="378"/>
                  </a:lnTo>
                  <a:lnTo>
                    <a:pt x="631" y="378"/>
                  </a:lnTo>
                  <a:close/>
                  <a:moveTo>
                    <a:pt x="2263" y="378"/>
                  </a:moveTo>
                  <a:lnTo>
                    <a:pt x="2251" y="383"/>
                  </a:lnTo>
                  <a:lnTo>
                    <a:pt x="2251" y="378"/>
                  </a:lnTo>
                  <a:lnTo>
                    <a:pt x="2263" y="378"/>
                  </a:lnTo>
                  <a:lnTo>
                    <a:pt x="2263" y="378"/>
                  </a:lnTo>
                  <a:lnTo>
                    <a:pt x="2263" y="378"/>
                  </a:lnTo>
                  <a:close/>
                  <a:moveTo>
                    <a:pt x="560" y="383"/>
                  </a:moveTo>
                  <a:lnTo>
                    <a:pt x="555" y="390"/>
                  </a:lnTo>
                  <a:lnTo>
                    <a:pt x="555" y="378"/>
                  </a:lnTo>
                  <a:lnTo>
                    <a:pt x="560" y="383"/>
                  </a:lnTo>
                  <a:lnTo>
                    <a:pt x="560" y="383"/>
                  </a:lnTo>
                  <a:lnTo>
                    <a:pt x="560" y="383"/>
                  </a:lnTo>
                  <a:close/>
                  <a:moveTo>
                    <a:pt x="2251" y="400"/>
                  </a:moveTo>
                  <a:lnTo>
                    <a:pt x="2251" y="407"/>
                  </a:lnTo>
                  <a:lnTo>
                    <a:pt x="2251" y="400"/>
                  </a:lnTo>
                  <a:lnTo>
                    <a:pt x="2251" y="400"/>
                  </a:lnTo>
                  <a:lnTo>
                    <a:pt x="2251" y="400"/>
                  </a:lnTo>
                  <a:close/>
                  <a:moveTo>
                    <a:pt x="248" y="423"/>
                  </a:moveTo>
                  <a:lnTo>
                    <a:pt x="232" y="418"/>
                  </a:lnTo>
                  <a:lnTo>
                    <a:pt x="248" y="418"/>
                  </a:lnTo>
                  <a:lnTo>
                    <a:pt x="248" y="423"/>
                  </a:lnTo>
                  <a:lnTo>
                    <a:pt x="248" y="423"/>
                  </a:lnTo>
                  <a:lnTo>
                    <a:pt x="248" y="423"/>
                  </a:lnTo>
                  <a:close/>
                  <a:moveTo>
                    <a:pt x="2407" y="444"/>
                  </a:moveTo>
                  <a:lnTo>
                    <a:pt x="2386" y="423"/>
                  </a:lnTo>
                  <a:lnTo>
                    <a:pt x="2407" y="440"/>
                  </a:lnTo>
                  <a:lnTo>
                    <a:pt x="2407" y="444"/>
                  </a:lnTo>
                  <a:lnTo>
                    <a:pt x="2407" y="444"/>
                  </a:lnTo>
                  <a:lnTo>
                    <a:pt x="2407" y="444"/>
                  </a:lnTo>
                  <a:close/>
                  <a:moveTo>
                    <a:pt x="680" y="456"/>
                  </a:moveTo>
                  <a:lnTo>
                    <a:pt x="664" y="444"/>
                  </a:lnTo>
                  <a:lnTo>
                    <a:pt x="647" y="444"/>
                  </a:lnTo>
                  <a:lnTo>
                    <a:pt x="643" y="444"/>
                  </a:lnTo>
                  <a:lnTo>
                    <a:pt x="647" y="435"/>
                  </a:lnTo>
                  <a:lnTo>
                    <a:pt x="680" y="440"/>
                  </a:lnTo>
                  <a:lnTo>
                    <a:pt x="680" y="456"/>
                  </a:lnTo>
                  <a:lnTo>
                    <a:pt x="680" y="456"/>
                  </a:lnTo>
                  <a:lnTo>
                    <a:pt x="680" y="456"/>
                  </a:lnTo>
                  <a:close/>
                  <a:moveTo>
                    <a:pt x="232" y="456"/>
                  </a:moveTo>
                  <a:lnTo>
                    <a:pt x="215" y="435"/>
                  </a:lnTo>
                  <a:lnTo>
                    <a:pt x="227" y="435"/>
                  </a:lnTo>
                  <a:lnTo>
                    <a:pt x="232" y="456"/>
                  </a:lnTo>
                  <a:lnTo>
                    <a:pt x="232" y="456"/>
                  </a:lnTo>
                  <a:lnTo>
                    <a:pt x="232" y="456"/>
                  </a:lnTo>
                  <a:close/>
                  <a:moveTo>
                    <a:pt x="2485" y="435"/>
                  </a:moveTo>
                  <a:lnTo>
                    <a:pt x="2516" y="435"/>
                  </a:lnTo>
                  <a:lnTo>
                    <a:pt x="2532" y="440"/>
                  </a:lnTo>
                  <a:lnTo>
                    <a:pt x="2532" y="444"/>
                  </a:lnTo>
                  <a:lnTo>
                    <a:pt x="2523" y="456"/>
                  </a:lnTo>
                  <a:lnTo>
                    <a:pt x="2511" y="456"/>
                  </a:lnTo>
                  <a:lnTo>
                    <a:pt x="2478" y="435"/>
                  </a:lnTo>
                  <a:lnTo>
                    <a:pt x="2499" y="456"/>
                  </a:lnTo>
                  <a:lnTo>
                    <a:pt x="2495" y="461"/>
                  </a:lnTo>
                  <a:lnTo>
                    <a:pt x="2485" y="444"/>
                  </a:lnTo>
                  <a:lnTo>
                    <a:pt x="2478" y="456"/>
                  </a:lnTo>
                  <a:lnTo>
                    <a:pt x="2478" y="444"/>
                  </a:lnTo>
                  <a:lnTo>
                    <a:pt x="2457" y="444"/>
                  </a:lnTo>
                  <a:lnTo>
                    <a:pt x="2469" y="440"/>
                  </a:lnTo>
                  <a:lnTo>
                    <a:pt x="2461" y="440"/>
                  </a:lnTo>
                  <a:lnTo>
                    <a:pt x="2457" y="440"/>
                  </a:lnTo>
                  <a:lnTo>
                    <a:pt x="2485" y="435"/>
                  </a:lnTo>
                  <a:lnTo>
                    <a:pt x="2485" y="435"/>
                  </a:lnTo>
                  <a:lnTo>
                    <a:pt x="2485" y="435"/>
                  </a:lnTo>
                  <a:close/>
                  <a:moveTo>
                    <a:pt x="1890" y="444"/>
                  </a:moveTo>
                  <a:lnTo>
                    <a:pt x="1885" y="444"/>
                  </a:lnTo>
                  <a:lnTo>
                    <a:pt x="1890" y="444"/>
                  </a:lnTo>
                  <a:lnTo>
                    <a:pt x="1890" y="444"/>
                  </a:lnTo>
                  <a:lnTo>
                    <a:pt x="1890" y="444"/>
                  </a:lnTo>
                  <a:close/>
                  <a:moveTo>
                    <a:pt x="593" y="444"/>
                  </a:moveTo>
                  <a:lnTo>
                    <a:pt x="593" y="456"/>
                  </a:lnTo>
                  <a:lnTo>
                    <a:pt x="572" y="456"/>
                  </a:lnTo>
                  <a:lnTo>
                    <a:pt x="576" y="444"/>
                  </a:lnTo>
                  <a:lnTo>
                    <a:pt x="593" y="444"/>
                  </a:lnTo>
                  <a:lnTo>
                    <a:pt x="593" y="444"/>
                  </a:lnTo>
                  <a:lnTo>
                    <a:pt x="593" y="444"/>
                  </a:lnTo>
                  <a:close/>
                  <a:moveTo>
                    <a:pt x="227" y="461"/>
                  </a:moveTo>
                  <a:lnTo>
                    <a:pt x="227" y="473"/>
                  </a:lnTo>
                  <a:lnTo>
                    <a:pt x="215" y="473"/>
                  </a:lnTo>
                  <a:lnTo>
                    <a:pt x="227" y="444"/>
                  </a:lnTo>
                  <a:lnTo>
                    <a:pt x="227" y="461"/>
                  </a:lnTo>
                  <a:lnTo>
                    <a:pt x="227" y="461"/>
                  </a:lnTo>
                  <a:lnTo>
                    <a:pt x="227" y="461"/>
                  </a:lnTo>
                  <a:close/>
                  <a:moveTo>
                    <a:pt x="2246" y="444"/>
                  </a:moveTo>
                  <a:lnTo>
                    <a:pt x="2246" y="461"/>
                  </a:lnTo>
                  <a:lnTo>
                    <a:pt x="2242" y="461"/>
                  </a:lnTo>
                  <a:lnTo>
                    <a:pt x="2242" y="444"/>
                  </a:lnTo>
                  <a:lnTo>
                    <a:pt x="2246" y="444"/>
                  </a:lnTo>
                  <a:lnTo>
                    <a:pt x="2246" y="444"/>
                  </a:lnTo>
                  <a:lnTo>
                    <a:pt x="2246" y="444"/>
                  </a:lnTo>
                  <a:close/>
                  <a:moveTo>
                    <a:pt x="1885" y="456"/>
                  </a:moveTo>
                  <a:lnTo>
                    <a:pt x="1885" y="444"/>
                  </a:lnTo>
                  <a:lnTo>
                    <a:pt x="1885" y="456"/>
                  </a:lnTo>
                  <a:lnTo>
                    <a:pt x="1885" y="456"/>
                  </a:lnTo>
                  <a:lnTo>
                    <a:pt x="1885" y="456"/>
                  </a:lnTo>
                  <a:close/>
                  <a:moveTo>
                    <a:pt x="2263" y="444"/>
                  </a:moveTo>
                  <a:lnTo>
                    <a:pt x="2280" y="461"/>
                  </a:lnTo>
                  <a:lnTo>
                    <a:pt x="2268" y="473"/>
                  </a:lnTo>
                  <a:lnTo>
                    <a:pt x="2280" y="478"/>
                  </a:lnTo>
                  <a:lnTo>
                    <a:pt x="2284" y="478"/>
                  </a:lnTo>
                  <a:lnTo>
                    <a:pt x="2294" y="489"/>
                  </a:lnTo>
                  <a:lnTo>
                    <a:pt x="2284" y="494"/>
                  </a:lnTo>
                  <a:lnTo>
                    <a:pt x="2268" y="489"/>
                  </a:lnTo>
                  <a:lnTo>
                    <a:pt x="2263" y="489"/>
                  </a:lnTo>
                  <a:lnTo>
                    <a:pt x="2246" y="461"/>
                  </a:lnTo>
                  <a:lnTo>
                    <a:pt x="2246" y="456"/>
                  </a:lnTo>
                  <a:lnTo>
                    <a:pt x="2263" y="444"/>
                  </a:lnTo>
                  <a:lnTo>
                    <a:pt x="2263" y="444"/>
                  </a:lnTo>
                  <a:lnTo>
                    <a:pt x="2263" y="444"/>
                  </a:lnTo>
                  <a:close/>
                  <a:moveTo>
                    <a:pt x="1885" y="456"/>
                  </a:moveTo>
                  <a:lnTo>
                    <a:pt x="1869" y="456"/>
                  </a:lnTo>
                  <a:lnTo>
                    <a:pt x="1873" y="444"/>
                  </a:lnTo>
                  <a:lnTo>
                    <a:pt x="1885" y="456"/>
                  </a:lnTo>
                  <a:lnTo>
                    <a:pt x="1885" y="456"/>
                  </a:lnTo>
                  <a:lnTo>
                    <a:pt x="1885" y="456"/>
                  </a:lnTo>
                  <a:close/>
                  <a:moveTo>
                    <a:pt x="647" y="456"/>
                  </a:moveTo>
                  <a:lnTo>
                    <a:pt x="659" y="461"/>
                  </a:lnTo>
                  <a:lnTo>
                    <a:pt x="647" y="473"/>
                  </a:lnTo>
                  <a:lnTo>
                    <a:pt x="631" y="461"/>
                  </a:lnTo>
                  <a:lnTo>
                    <a:pt x="647" y="456"/>
                  </a:lnTo>
                  <a:lnTo>
                    <a:pt x="647" y="456"/>
                  </a:lnTo>
                  <a:lnTo>
                    <a:pt x="647" y="456"/>
                  </a:lnTo>
                  <a:close/>
                  <a:moveTo>
                    <a:pt x="3213" y="612"/>
                  </a:moveTo>
                  <a:lnTo>
                    <a:pt x="3213" y="884"/>
                  </a:lnTo>
                  <a:lnTo>
                    <a:pt x="3203" y="905"/>
                  </a:lnTo>
                  <a:lnTo>
                    <a:pt x="3203" y="922"/>
                  </a:lnTo>
                  <a:lnTo>
                    <a:pt x="3213" y="922"/>
                  </a:lnTo>
                  <a:lnTo>
                    <a:pt x="3213" y="1089"/>
                  </a:lnTo>
                  <a:lnTo>
                    <a:pt x="3142" y="1016"/>
                  </a:lnTo>
                  <a:lnTo>
                    <a:pt x="3149" y="995"/>
                  </a:lnTo>
                  <a:lnTo>
                    <a:pt x="3132" y="1016"/>
                  </a:lnTo>
                  <a:lnTo>
                    <a:pt x="3095" y="1016"/>
                  </a:lnTo>
                  <a:lnTo>
                    <a:pt x="3090" y="1011"/>
                  </a:lnTo>
                  <a:lnTo>
                    <a:pt x="3061" y="1028"/>
                  </a:lnTo>
                  <a:lnTo>
                    <a:pt x="3057" y="1016"/>
                  </a:lnTo>
                  <a:lnTo>
                    <a:pt x="3078" y="978"/>
                  </a:lnTo>
                  <a:lnTo>
                    <a:pt x="3052" y="945"/>
                  </a:lnTo>
                  <a:lnTo>
                    <a:pt x="3073" y="955"/>
                  </a:lnTo>
                  <a:lnTo>
                    <a:pt x="3090" y="945"/>
                  </a:lnTo>
                  <a:lnTo>
                    <a:pt x="3073" y="945"/>
                  </a:lnTo>
                  <a:lnTo>
                    <a:pt x="3057" y="945"/>
                  </a:lnTo>
                  <a:lnTo>
                    <a:pt x="3040" y="933"/>
                  </a:lnTo>
                  <a:lnTo>
                    <a:pt x="3061" y="922"/>
                  </a:lnTo>
                  <a:lnTo>
                    <a:pt x="3078" y="933"/>
                  </a:lnTo>
                  <a:lnTo>
                    <a:pt x="3052" y="917"/>
                  </a:lnTo>
                  <a:lnTo>
                    <a:pt x="3052" y="905"/>
                  </a:lnTo>
                  <a:lnTo>
                    <a:pt x="3024" y="884"/>
                  </a:lnTo>
                  <a:lnTo>
                    <a:pt x="3019" y="851"/>
                  </a:lnTo>
                  <a:lnTo>
                    <a:pt x="3007" y="844"/>
                  </a:lnTo>
                  <a:lnTo>
                    <a:pt x="3024" y="834"/>
                  </a:lnTo>
                  <a:lnTo>
                    <a:pt x="3002" y="844"/>
                  </a:lnTo>
                  <a:lnTo>
                    <a:pt x="3002" y="822"/>
                  </a:lnTo>
                  <a:lnTo>
                    <a:pt x="2998" y="822"/>
                  </a:lnTo>
                  <a:lnTo>
                    <a:pt x="2948" y="789"/>
                  </a:lnTo>
                  <a:lnTo>
                    <a:pt x="2915" y="778"/>
                  </a:lnTo>
                  <a:lnTo>
                    <a:pt x="2856" y="756"/>
                  </a:lnTo>
                  <a:lnTo>
                    <a:pt x="2802" y="749"/>
                  </a:lnTo>
                  <a:lnTo>
                    <a:pt x="2764" y="723"/>
                  </a:lnTo>
                  <a:lnTo>
                    <a:pt x="2771" y="711"/>
                  </a:lnTo>
                  <a:lnTo>
                    <a:pt x="2787" y="711"/>
                  </a:lnTo>
                  <a:lnTo>
                    <a:pt x="2764" y="711"/>
                  </a:lnTo>
                  <a:lnTo>
                    <a:pt x="2754" y="716"/>
                  </a:lnTo>
                  <a:lnTo>
                    <a:pt x="2750" y="711"/>
                  </a:lnTo>
                  <a:lnTo>
                    <a:pt x="2738" y="716"/>
                  </a:lnTo>
                  <a:lnTo>
                    <a:pt x="2733" y="716"/>
                  </a:lnTo>
                  <a:lnTo>
                    <a:pt x="2733" y="700"/>
                  </a:lnTo>
                  <a:lnTo>
                    <a:pt x="2717" y="700"/>
                  </a:lnTo>
                  <a:lnTo>
                    <a:pt x="2712" y="683"/>
                  </a:lnTo>
                  <a:lnTo>
                    <a:pt x="2700" y="695"/>
                  </a:lnTo>
                  <a:lnTo>
                    <a:pt x="2695" y="678"/>
                  </a:lnTo>
                  <a:lnTo>
                    <a:pt x="2700" y="662"/>
                  </a:lnTo>
                  <a:lnTo>
                    <a:pt x="2712" y="655"/>
                  </a:lnTo>
                  <a:lnTo>
                    <a:pt x="2712" y="645"/>
                  </a:lnTo>
                  <a:lnTo>
                    <a:pt x="2695" y="655"/>
                  </a:lnTo>
                  <a:lnTo>
                    <a:pt x="2695" y="678"/>
                  </a:lnTo>
                  <a:lnTo>
                    <a:pt x="2683" y="678"/>
                  </a:lnTo>
                  <a:lnTo>
                    <a:pt x="2683" y="683"/>
                  </a:lnTo>
                  <a:lnTo>
                    <a:pt x="2679" y="700"/>
                  </a:lnTo>
                  <a:lnTo>
                    <a:pt x="2679" y="711"/>
                  </a:lnTo>
                  <a:lnTo>
                    <a:pt x="2662" y="723"/>
                  </a:lnTo>
                  <a:lnTo>
                    <a:pt x="2641" y="723"/>
                  </a:lnTo>
                  <a:lnTo>
                    <a:pt x="2629" y="695"/>
                  </a:lnTo>
                  <a:lnTo>
                    <a:pt x="2641" y="683"/>
                  </a:lnTo>
                  <a:lnTo>
                    <a:pt x="2641" y="678"/>
                  </a:lnTo>
                  <a:lnTo>
                    <a:pt x="2629" y="666"/>
                  </a:lnTo>
                  <a:lnTo>
                    <a:pt x="2624" y="666"/>
                  </a:lnTo>
                  <a:lnTo>
                    <a:pt x="2620" y="655"/>
                  </a:lnTo>
                  <a:lnTo>
                    <a:pt x="2603" y="638"/>
                  </a:lnTo>
                  <a:lnTo>
                    <a:pt x="2587" y="645"/>
                  </a:lnTo>
                  <a:lnTo>
                    <a:pt x="2575" y="629"/>
                  </a:lnTo>
                  <a:lnTo>
                    <a:pt x="2603" y="622"/>
                  </a:lnTo>
                  <a:lnTo>
                    <a:pt x="2629" y="629"/>
                  </a:lnTo>
                  <a:lnTo>
                    <a:pt x="2646" y="605"/>
                  </a:lnTo>
                  <a:lnTo>
                    <a:pt x="2662" y="605"/>
                  </a:lnTo>
                  <a:lnTo>
                    <a:pt x="2683" y="612"/>
                  </a:lnTo>
                  <a:lnTo>
                    <a:pt x="2695" y="612"/>
                  </a:lnTo>
                  <a:lnTo>
                    <a:pt x="2695" y="622"/>
                  </a:lnTo>
                  <a:lnTo>
                    <a:pt x="2700" y="605"/>
                  </a:lnTo>
                  <a:lnTo>
                    <a:pt x="2712" y="622"/>
                  </a:lnTo>
                  <a:lnTo>
                    <a:pt x="2700" y="605"/>
                  </a:lnTo>
                  <a:lnTo>
                    <a:pt x="2717" y="600"/>
                  </a:lnTo>
                  <a:lnTo>
                    <a:pt x="2717" y="589"/>
                  </a:lnTo>
                  <a:lnTo>
                    <a:pt x="2712" y="600"/>
                  </a:lnTo>
                  <a:lnTo>
                    <a:pt x="2700" y="589"/>
                  </a:lnTo>
                  <a:lnTo>
                    <a:pt x="2717" y="584"/>
                  </a:lnTo>
                  <a:lnTo>
                    <a:pt x="2695" y="589"/>
                  </a:lnTo>
                  <a:lnTo>
                    <a:pt x="2674" y="589"/>
                  </a:lnTo>
                  <a:lnTo>
                    <a:pt x="2624" y="600"/>
                  </a:lnTo>
                  <a:lnTo>
                    <a:pt x="2620" y="589"/>
                  </a:lnTo>
                  <a:lnTo>
                    <a:pt x="2603" y="589"/>
                  </a:lnTo>
                  <a:lnTo>
                    <a:pt x="2575" y="584"/>
                  </a:lnTo>
                  <a:lnTo>
                    <a:pt x="2570" y="551"/>
                  </a:lnTo>
                  <a:lnTo>
                    <a:pt x="2523" y="527"/>
                  </a:lnTo>
                  <a:lnTo>
                    <a:pt x="2532" y="534"/>
                  </a:lnTo>
                  <a:lnTo>
                    <a:pt x="2523" y="534"/>
                  </a:lnTo>
                  <a:lnTo>
                    <a:pt x="2511" y="527"/>
                  </a:lnTo>
                  <a:lnTo>
                    <a:pt x="2523" y="511"/>
                  </a:lnTo>
                  <a:lnTo>
                    <a:pt x="2523" y="489"/>
                  </a:lnTo>
                  <a:lnTo>
                    <a:pt x="2570" y="478"/>
                  </a:lnTo>
                  <a:lnTo>
                    <a:pt x="2587" y="461"/>
                  </a:lnTo>
                  <a:lnTo>
                    <a:pt x="2608" y="456"/>
                  </a:lnTo>
                  <a:lnTo>
                    <a:pt x="2662" y="473"/>
                  </a:lnTo>
                  <a:lnTo>
                    <a:pt x="2679" y="478"/>
                  </a:lnTo>
                  <a:lnTo>
                    <a:pt x="2717" y="478"/>
                  </a:lnTo>
                  <a:lnTo>
                    <a:pt x="2726" y="489"/>
                  </a:lnTo>
                  <a:lnTo>
                    <a:pt x="2717" y="494"/>
                  </a:lnTo>
                  <a:lnTo>
                    <a:pt x="2738" y="527"/>
                  </a:lnTo>
                  <a:lnTo>
                    <a:pt x="2726" y="551"/>
                  </a:lnTo>
                  <a:lnTo>
                    <a:pt x="2733" y="600"/>
                  </a:lnTo>
                  <a:lnTo>
                    <a:pt x="2750" y="638"/>
                  </a:lnTo>
                  <a:lnTo>
                    <a:pt x="2754" y="629"/>
                  </a:lnTo>
                  <a:lnTo>
                    <a:pt x="2754" y="612"/>
                  </a:lnTo>
                  <a:lnTo>
                    <a:pt x="2754" y="605"/>
                  </a:lnTo>
                  <a:lnTo>
                    <a:pt x="2764" y="605"/>
                  </a:lnTo>
                  <a:lnTo>
                    <a:pt x="2771" y="645"/>
                  </a:lnTo>
                  <a:lnTo>
                    <a:pt x="2780" y="638"/>
                  </a:lnTo>
                  <a:lnTo>
                    <a:pt x="2780" y="655"/>
                  </a:lnTo>
                  <a:lnTo>
                    <a:pt x="2780" y="662"/>
                  </a:lnTo>
                  <a:lnTo>
                    <a:pt x="2792" y="666"/>
                  </a:lnTo>
                  <a:lnTo>
                    <a:pt x="2825" y="666"/>
                  </a:lnTo>
                  <a:lnTo>
                    <a:pt x="2856" y="645"/>
                  </a:lnTo>
                  <a:lnTo>
                    <a:pt x="2863" y="622"/>
                  </a:lnTo>
                  <a:lnTo>
                    <a:pt x="2877" y="612"/>
                  </a:lnTo>
                  <a:lnTo>
                    <a:pt x="2889" y="589"/>
                  </a:lnTo>
                  <a:lnTo>
                    <a:pt x="2910" y="589"/>
                  </a:lnTo>
                  <a:lnTo>
                    <a:pt x="2943" y="584"/>
                  </a:lnTo>
                  <a:lnTo>
                    <a:pt x="2943" y="555"/>
                  </a:lnTo>
                  <a:lnTo>
                    <a:pt x="2986" y="534"/>
                  </a:lnTo>
                  <a:lnTo>
                    <a:pt x="3128" y="600"/>
                  </a:lnTo>
                  <a:lnTo>
                    <a:pt x="3149" y="600"/>
                  </a:lnTo>
                  <a:lnTo>
                    <a:pt x="3165" y="605"/>
                  </a:lnTo>
                  <a:lnTo>
                    <a:pt x="3187" y="605"/>
                  </a:lnTo>
                  <a:lnTo>
                    <a:pt x="3187" y="622"/>
                  </a:lnTo>
                  <a:lnTo>
                    <a:pt x="3213" y="612"/>
                  </a:lnTo>
                  <a:lnTo>
                    <a:pt x="3213" y="612"/>
                  </a:lnTo>
                  <a:lnTo>
                    <a:pt x="3213" y="612"/>
                  </a:lnTo>
                  <a:close/>
                  <a:moveTo>
                    <a:pt x="1869" y="461"/>
                  </a:moveTo>
                  <a:lnTo>
                    <a:pt x="1852" y="473"/>
                  </a:lnTo>
                  <a:lnTo>
                    <a:pt x="1864" y="456"/>
                  </a:lnTo>
                  <a:lnTo>
                    <a:pt x="1869" y="461"/>
                  </a:lnTo>
                  <a:lnTo>
                    <a:pt x="1869" y="461"/>
                  </a:lnTo>
                  <a:lnTo>
                    <a:pt x="1869" y="461"/>
                  </a:lnTo>
                  <a:close/>
                  <a:moveTo>
                    <a:pt x="2485" y="456"/>
                  </a:moveTo>
                  <a:lnTo>
                    <a:pt x="2485" y="461"/>
                  </a:lnTo>
                  <a:lnTo>
                    <a:pt x="2469" y="461"/>
                  </a:lnTo>
                  <a:lnTo>
                    <a:pt x="2485" y="456"/>
                  </a:lnTo>
                  <a:lnTo>
                    <a:pt x="2485" y="456"/>
                  </a:lnTo>
                  <a:lnTo>
                    <a:pt x="2485" y="456"/>
                  </a:lnTo>
                  <a:close/>
                  <a:moveTo>
                    <a:pt x="2246" y="473"/>
                  </a:moveTo>
                  <a:lnTo>
                    <a:pt x="2246" y="489"/>
                  </a:lnTo>
                  <a:lnTo>
                    <a:pt x="2242" y="489"/>
                  </a:lnTo>
                  <a:lnTo>
                    <a:pt x="2246" y="473"/>
                  </a:lnTo>
                  <a:lnTo>
                    <a:pt x="2246" y="473"/>
                  </a:lnTo>
                  <a:lnTo>
                    <a:pt x="2246" y="473"/>
                  </a:lnTo>
                  <a:close/>
                  <a:moveTo>
                    <a:pt x="2818" y="478"/>
                  </a:moveTo>
                  <a:lnTo>
                    <a:pt x="2839" y="478"/>
                  </a:lnTo>
                  <a:lnTo>
                    <a:pt x="2846" y="478"/>
                  </a:lnTo>
                  <a:lnTo>
                    <a:pt x="2872" y="501"/>
                  </a:lnTo>
                  <a:lnTo>
                    <a:pt x="2889" y="511"/>
                  </a:lnTo>
                  <a:lnTo>
                    <a:pt x="2872" y="518"/>
                  </a:lnTo>
                  <a:lnTo>
                    <a:pt x="2846" y="511"/>
                  </a:lnTo>
                  <a:lnTo>
                    <a:pt x="2839" y="489"/>
                  </a:lnTo>
                  <a:lnTo>
                    <a:pt x="2835" y="494"/>
                  </a:lnTo>
                  <a:lnTo>
                    <a:pt x="2825" y="489"/>
                  </a:lnTo>
                  <a:lnTo>
                    <a:pt x="2818" y="478"/>
                  </a:lnTo>
                  <a:lnTo>
                    <a:pt x="2818" y="478"/>
                  </a:lnTo>
                  <a:lnTo>
                    <a:pt x="2818" y="478"/>
                  </a:lnTo>
                  <a:close/>
                  <a:moveTo>
                    <a:pt x="2495" y="489"/>
                  </a:moveTo>
                  <a:lnTo>
                    <a:pt x="2499" y="489"/>
                  </a:lnTo>
                  <a:lnTo>
                    <a:pt x="2495" y="489"/>
                  </a:lnTo>
                  <a:lnTo>
                    <a:pt x="2461" y="494"/>
                  </a:lnTo>
                  <a:lnTo>
                    <a:pt x="2469" y="489"/>
                  </a:lnTo>
                  <a:lnTo>
                    <a:pt x="2495" y="489"/>
                  </a:lnTo>
                  <a:lnTo>
                    <a:pt x="2495" y="489"/>
                  </a:lnTo>
                  <a:lnTo>
                    <a:pt x="2495" y="489"/>
                  </a:lnTo>
                  <a:close/>
                  <a:moveTo>
                    <a:pt x="2499" y="494"/>
                  </a:moveTo>
                  <a:lnTo>
                    <a:pt x="2516" y="494"/>
                  </a:lnTo>
                  <a:lnTo>
                    <a:pt x="2511" y="527"/>
                  </a:lnTo>
                  <a:lnTo>
                    <a:pt x="2495" y="518"/>
                  </a:lnTo>
                  <a:lnTo>
                    <a:pt x="2485" y="501"/>
                  </a:lnTo>
                  <a:lnTo>
                    <a:pt x="2499" y="494"/>
                  </a:lnTo>
                  <a:lnTo>
                    <a:pt x="2499" y="494"/>
                  </a:lnTo>
                  <a:lnTo>
                    <a:pt x="2499" y="494"/>
                  </a:lnTo>
                  <a:close/>
                  <a:moveTo>
                    <a:pt x="286" y="551"/>
                  </a:moveTo>
                  <a:lnTo>
                    <a:pt x="279" y="546"/>
                  </a:lnTo>
                  <a:lnTo>
                    <a:pt x="279" y="555"/>
                  </a:lnTo>
                  <a:lnTo>
                    <a:pt x="269" y="555"/>
                  </a:lnTo>
                  <a:lnTo>
                    <a:pt x="248" y="546"/>
                  </a:lnTo>
                  <a:lnTo>
                    <a:pt x="232" y="511"/>
                  </a:lnTo>
                  <a:lnTo>
                    <a:pt x="236" y="494"/>
                  </a:lnTo>
                  <a:lnTo>
                    <a:pt x="253" y="494"/>
                  </a:lnTo>
                  <a:lnTo>
                    <a:pt x="286" y="551"/>
                  </a:lnTo>
                  <a:lnTo>
                    <a:pt x="286" y="551"/>
                  </a:lnTo>
                  <a:lnTo>
                    <a:pt x="286" y="551"/>
                  </a:lnTo>
                  <a:close/>
                  <a:moveTo>
                    <a:pt x="2780" y="494"/>
                  </a:moveTo>
                  <a:lnTo>
                    <a:pt x="2787" y="501"/>
                  </a:lnTo>
                  <a:lnTo>
                    <a:pt x="2780" y="511"/>
                  </a:lnTo>
                  <a:lnTo>
                    <a:pt x="2771" y="501"/>
                  </a:lnTo>
                  <a:lnTo>
                    <a:pt x="2780" y="494"/>
                  </a:lnTo>
                  <a:lnTo>
                    <a:pt x="2780" y="494"/>
                  </a:lnTo>
                  <a:lnTo>
                    <a:pt x="2780" y="494"/>
                  </a:lnTo>
                  <a:close/>
                  <a:moveTo>
                    <a:pt x="1021" y="501"/>
                  </a:moveTo>
                  <a:lnTo>
                    <a:pt x="1021" y="511"/>
                  </a:lnTo>
                  <a:lnTo>
                    <a:pt x="999" y="518"/>
                  </a:lnTo>
                  <a:lnTo>
                    <a:pt x="999" y="501"/>
                  </a:lnTo>
                  <a:lnTo>
                    <a:pt x="1021" y="501"/>
                  </a:lnTo>
                  <a:lnTo>
                    <a:pt x="1021" y="501"/>
                  </a:lnTo>
                  <a:lnTo>
                    <a:pt x="1021" y="501"/>
                  </a:lnTo>
                  <a:close/>
                  <a:moveTo>
                    <a:pt x="2431" y="511"/>
                  </a:moveTo>
                  <a:lnTo>
                    <a:pt x="2414" y="518"/>
                  </a:lnTo>
                  <a:lnTo>
                    <a:pt x="2431" y="511"/>
                  </a:lnTo>
                  <a:lnTo>
                    <a:pt x="2431" y="511"/>
                  </a:lnTo>
                  <a:lnTo>
                    <a:pt x="2431" y="511"/>
                  </a:lnTo>
                  <a:close/>
                  <a:moveTo>
                    <a:pt x="1982" y="518"/>
                  </a:moveTo>
                  <a:lnTo>
                    <a:pt x="1977" y="534"/>
                  </a:lnTo>
                  <a:lnTo>
                    <a:pt x="1970" y="534"/>
                  </a:lnTo>
                  <a:lnTo>
                    <a:pt x="1961" y="546"/>
                  </a:lnTo>
                  <a:lnTo>
                    <a:pt x="1954" y="546"/>
                  </a:lnTo>
                  <a:lnTo>
                    <a:pt x="1961" y="534"/>
                  </a:lnTo>
                  <a:lnTo>
                    <a:pt x="1954" y="527"/>
                  </a:lnTo>
                  <a:lnTo>
                    <a:pt x="1939" y="546"/>
                  </a:lnTo>
                  <a:lnTo>
                    <a:pt x="1928" y="534"/>
                  </a:lnTo>
                  <a:lnTo>
                    <a:pt x="1939" y="511"/>
                  </a:lnTo>
                  <a:lnTo>
                    <a:pt x="1961" y="511"/>
                  </a:lnTo>
                  <a:lnTo>
                    <a:pt x="1961" y="527"/>
                  </a:lnTo>
                  <a:lnTo>
                    <a:pt x="1977" y="518"/>
                  </a:lnTo>
                  <a:lnTo>
                    <a:pt x="1982" y="518"/>
                  </a:lnTo>
                  <a:lnTo>
                    <a:pt x="1982" y="518"/>
                  </a:lnTo>
                  <a:lnTo>
                    <a:pt x="1982" y="518"/>
                  </a:lnTo>
                  <a:close/>
                  <a:moveTo>
                    <a:pt x="2268" y="511"/>
                  </a:moveTo>
                  <a:lnTo>
                    <a:pt x="2268" y="518"/>
                  </a:lnTo>
                  <a:lnTo>
                    <a:pt x="2263" y="518"/>
                  </a:lnTo>
                  <a:lnTo>
                    <a:pt x="2268" y="511"/>
                  </a:lnTo>
                  <a:lnTo>
                    <a:pt x="2268" y="511"/>
                  </a:lnTo>
                  <a:lnTo>
                    <a:pt x="2268" y="511"/>
                  </a:lnTo>
                  <a:close/>
                  <a:moveTo>
                    <a:pt x="2251" y="546"/>
                  </a:moveTo>
                  <a:lnTo>
                    <a:pt x="2263" y="534"/>
                  </a:lnTo>
                  <a:lnTo>
                    <a:pt x="2268" y="527"/>
                  </a:lnTo>
                  <a:lnTo>
                    <a:pt x="2306" y="551"/>
                  </a:lnTo>
                  <a:lnTo>
                    <a:pt x="2301" y="551"/>
                  </a:lnTo>
                  <a:lnTo>
                    <a:pt x="2268" y="551"/>
                  </a:lnTo>
                  <a:lnTo>
                    <a:pt x="2251" y="551"/>
                  </a:lnTo>
                  <a:lnTo>
                    <a:pt x="2251" y="546"/>
                  </a:lnTo>
                  <a:lnTo>
                    <a:pt x="2251" y="546"/>
                  </a:lnTo>
                  <a:lnTo>
                    <a:pt x="2251" y="546"/>
                  </a:lnTo>
                  <a:close/>
                  <a:moveTo>
                    <a:pt x="803" y="645"/>
                  </a:moveTo>
                  <a:lnTo>
                    <a:pt x="803" y="655"/>
                  </a:lnTo>
                  <a:lnTo>
                    <a:pt x="787" y="655"/>
                  </a:lnTo>
                  <a:lnTo>
                    <a:pt x="787" y="645"/>
                  </a:lnTo>
                  <a:lnTo>
                    <a:pt x="749" y="629"/>
                  </a:lnTo>
                  <a:lnTo>
                    <a:pt x="749" y="622"/>
                  </a:lnTo>
                  <a:lnTo>
                    <a:pt x="749" y="605"/>
                  </a:lnTo>
                  <a:lnTo>
                    <a:pt x="739" y="600"/>
                  </a:lnTo>
                  <a:lnTo>
                    <a:pt x="735" y="584"/>
                  </a:lnTo>
                  <a:lnTo>
                    <a:pt x="697" y="572"/>
                  </a:lnTo>
                  <a:lnTo>
                    <a:pt x="697" y="567"/>
                  </a:lnTo>
                  <a:lnTo>
                    <a:pt x="711" y="555"/>
                  </a:lnTo>
                  <a:lnTo>
                    <a:pt x="711" y="551"/>
                  </a:lnTo>
                  <a:lnTo>
                    <a:pt x="711" y="546"/>
                  </a:lnTo>
                  <a:lnTo>
                    <a:pt x="723" y="546"/>
                  </a:lnTo>
                  <a:lnTo>
                    <a:pt x="735" y="551"/>
                  </a:lnTo>
                  <a:lnTo>
                    <a:pt x="739" y="555"/>
                  </a:lnTo>
                  <a:lnTo>
                    <a:pt x="735" y="546"/>
                  </a:lnTo>
                  <a:lnTo>
                    <a:pt x="749" y="534"/>
                  </a:lnTo>
                  <a:lnTo>
                    <a:pt x="756" y="546"/>
                  </a:lnTo>
                  <a:lnTo>
                    <a:pt x="773" y="600"/>
                  </a:lnTo>
                  <a:lnTo>
                    <a:pt x="810" y="612"/>
                  </a:lnTo>
                  <a:lnTo>
                    <a:pt x="794" y="638"/>
                  </a:lnTo>
                  <a:lnTo>
                    <a:pt x="803" y="645"/>
                  </a:lnTo>
                  <a:lnTo>
                    <a:pt x="803" y="645"/>
                  </a:lnTo>
                  <a:lnTo>
                    <a:pt x="803" y="645"/>
                  </a:lnTo>
                  <a:close/>
                  <a:moveTo>
                    <a:pt x="966" y="546"/>
                  </a:moveTo>
                  <a:lnTo>
                    <a:pt x="954" y="551"/>
                  </a:lnTo>
                  <a:lnTo>
                    <a:pt x="950" y="546"/>
                  </a:lnTo>
                  <a:lnTo>
                    <a:pt x="966" y="546"/>
                  </a:lnTo>
                  <a:lnTo>
                    <a:pt x="966" y="546"/>
                  </a:lnTo>
                  <a:lnTo>
                    <a:pt x="966" y="546"/>
                  </a:lnTo>
                  <a:close/>
                  <a:moveTo>
                    <a:pt x="2825" y="546"/>
                  </a:moveTo>
                  <a:lnTo>
                    <a:pt x="2927" y="555"/>
                  </a:lnTo>
                  <a:lnTo>
                    <a:pt x="2894" y="567"/>
                  </a:lnTo>
                  <a:lnTo>
                    <a:pt x="2872" y="567"/>
                  </a:lnTo>
                  <a:lnTo>
                    <a:pt x="2818" y="546"/>
                  </a:lnTo>
                  <a:lnTo>
                    <a:pt x="2825" y="546"/>
                  </a:lnTo>
                  <a:lnTo>
                    <a:pt x="2825" y="546"/>
                  </a:lnTo>
                  <a:lnTo>
                    <a:pt x="2825" y="546"/>
                  </a:lnTo>
                  <a:close/>
                  <a:moveTo>
                    <a:pt x="2046" y="551"/>
                  </a:moveTo>
                  <a:lnTo>
                    <a:pt x="2100" y="551"/>
                  </a:lnTo>
                  <a:lnTo>
                    <a:pt x="2105" y="551"/>
                  </a:lnTo>
                  <a:lnTo>
                    <a:pt x="2105" y="567"/>
                  </a:lnTo>
                  <a:lnTo>
                    <a:pt x="2079" y="567"/>
                  </a:lnTo>
                  <a:lnTo>
                    <a:pt x="2046" y="572"/>
                  </a:lnTo>
                  <a:lnTo>
                    <a:pt x="2036" y="555"/>
                  </a:lnTo>
                  <a:lnTo>
                    <a:pt x="2046" y="551"/>
                  </a:lnTo>
                  <a:lnTo>
                    <a:pt x="2046" y="551"/>
                  </a:lnTo>
                  <a:lnTo>
                    <a:pt x="2046" y="551"/>
                  </a:lnTo>
                  <a:close/>
                  <a:moveTo>
                    <a:pt x="2461" y="551"/>
                  </a:moveTo>
                  <a:lnTo>
                    <a:pt x="2469" y="555"/>
                  </a:lnTo>
                  <a:lnTo>
                    <a:pt x="2461" y="572"/>
                  </a:lnTo>
                  <a:lnTo>
                    <a:pt x="2445" y="572"/>
                  </a:lnTo>
                  <a:lnTo>
                    <a:pt x="2414" y="567"/>
                  </a:lnTo>
                  <a:lnTo>
                    <a:pt x="2461" y="551"/>
                  </a:lnTo>
                  <a:lnTo>
                    <a:pt x="2461" y="551"/>
                  </a:lnTo>
                  <a:lnTo>
                    <a:pt x="2461" y="551"/>
                  </a:lnTo>
                  <a:close/>
                  <a:moveTo>
                    <a:pt x="1961" y="555"/>
                  </a:moveTo>
                  <a:lnTo>
                    <a:pt x="1954" y="567"/>
                  </a:lnTo>
                  <a:lnTo>
                    <a:pt x="1954" y="555"/>
                  </a:lnTo>
                  <a:lnTo>
                    <a:pt x="1961" y="555"/>
                  </a:lnTo>
                  <a:lnTo>
                    <a:pt x="1961" y="555"/>
                  </a:lnTo>
                  <a:lnTo>
                    <a:pt x="1961" y="555"/>
                  </a:lnTo>
                  <a:close/>
                  <a:moveTo>
                    <a:pt x="2117" y="555"/>
                  </a:moveTo>
                  <a:lnTo>
                    <a:pt x="2187" y="555"/>
                  </a:lnTo>
                  <a:lnTo>
                    <a:pt x="2121" y="567"/>
                  </a:lnTo>
                  <a:lnTo>
                    <a:pt x="2105" y="567"/>
                  </a:lnTo>
                  <a:lnTo>
                    <a:pt x="2117" y="555"/>
                  </a:lnTo>
                  <a:lnTo>
                    <a:pt x="2117" y="555"/>
                  </a:lnTo>
                  <a:lnTo>
                    <a:pt x="2117" y="555"/>
                  </a:lnTo>
                  <a:close/>
                  <a:moveTo>
                    <a:pt x="2008" y="567"/>
                  </a:moveTo>
                  <a:lnTo>
                    <a:pt x="2008" y="572"/>
                  </a:lnTo>
                  <a:lnTo>
                    <a:pt x="1998" y="567"/>
                  </a:lnTo>
                  <a:lnTo>
                    <a:pt x="2008" y="567"/>
                  </a:lnTo>
                  <a:lnTo>
                    <a:pt x="2008" y="567"/>
                  </a:lnTo>
                  <a:lnTo>
                    <a:pt x="2008" y="567"/>
                  </a:lnTo>
                  <a:close/>
                  <a:moveTo>
                    <a:pt x="2154" y="572"/>
                  </a:moveTo>
                  <a:lnTo>
                    <a:pt x="2159" y="605"/>
                  </a:lnTo>
                  <a:lnTo>
                    <a:pt x="2143" y="584"/>
                  </a:lnTo>
                  <a:lnTo>
                    <a:pt x="2154" y="572"/>
                  </a:lnTo>
                  <a:lnTo>
                    <a:pt x="2154" y="572"/>
                  </a:lnTo>
                  <a:lnTo>
                    <a:pt x="2154" y="572"/>
                  </a:lnTo>
                  <a:close/>
                  <a:moveTo>
                    <a:pt x="324" y="600"/>
                  </a:moveTo>
                  <a:lnTo>
                    <a:pt x="302" y="589"/>
                  </a:lnTo>
                  <a:lnTo>
                    <a:pt x="302" y="572"/>
                  </a:lnTo>
                  <a:lnTo>
                    <a:pt x="307" y="572"/>
                  </a:lnTo>
                  <a:lnTo>
                    <a:pt x="324" y="600"/>
                  </a:lnTo>
                  <a:lnTo>
                    <a:pt x="324" y="600"/>
                  </a:lnTo>
                  <a:lnTo>
                    <a:pt x="324" y="600"/>
                  </a:lnTo>
                  <a:close/>
                  <a:moveTo>
                    <a:pt x="345" y="629"/>
                  </a:moveTo>
                  <a:lnTo>
                    <a:pt x="333" y="629"/>
                  </a:lnTo>
                  <a:lnTo>
                    <a:pt x="333" y="605"/>
                  </a:lnTo>
                  <a:lnTo>
                    <a:pt x="345" y="629"/>
                  </a:lnTo>
                  <a:lnTo>
                    <a:pt x="345" y="629"/>
                  </a:lnTo>
                  <a:lnTo>
                    <a:pt x="345" y="629"/>
                  </a:lnTo>
                  <a:close/>
                  <a:moveTo>
                    <a:pt x="862" y="629"/>
                  </a:moveTo>
                  <a:lnTo>
                    <a:pt x="874" y="612"/>
                  </a:lnTo>
                  <a:lnTo>
                    <a:pt x="879" y="612"/>
                  </a:lnTo>
                  <a:lnTo>
                    <a:pt x="900" y="612"/>
                  </a:lnTo>
                  <a:lnTo>
                    <a:pt x="917" y="638"/>
                  </a:lnTo>
                  <a:lnTo>
                    <a:pt x="900" y="662"/>
                  </a:lnTo>
                  <a:lnTo>
                    <a:pt x="895" y="662"/>
                  </a:lnTo>
                  <a:lnTo>
                    <a:pt x="891" y="645"/>
                  </a:lnTo>
                  <a:lnTo>
                    <a:pt x="879" y="655"/>
                  </a:lnTo>
                  <a:lnTo>
                    <a:pt x="862" y="662"/>
                  </a:lnTo>
                  <a:lnTo>
                    <a:pt x="862" y="629"/>
                  </a:lnTo>
                  <a:lnTo>
                    <a:pt x="862" y="629"/>
                  </a:lnTo>
                  <a:lnTo>
                    <a:pt x="862" y="629"/>
                  </a:lnTo>
                  <a:close/>
                  <a:moveTo>
                    <a:pt x="361" y="666"/>
                  </a:moveTo>
                  <a:lnTo>
                    <a:pt x="345" y="645"/>
                  </a:lnTo>
                  <a:lnTo>
                    <a:pt x="345" y="629"/>
                  </a:lnTo>
                  <a:lnTo>
                    <a:pt x="361" y="645"/>
                  </a:lnTo>
                  <a:lnTo>
                    <a:pt x="361" y="655"/>
                  </a:lnTo>
                  <a:lnTo>
                    <a:pt x="361" y="666"/>
                  </a:lnTo>
                  <a:lnTo>
                    <a:pt x="361" y="666"/>
                  </a:lnTo>
                  <a:lnTo>
                    <a:pt x="361" y="666"/>
                  </a:lnTo>
                  <a:close/>
                  <a:moveTo>
                    <a:pt x="2294" y="683"/>
                  </a:moveTo>
                  <a:lnTo>
                    <a:pt x="2284" y="662"/>
                  </a:lnTo>
                  <a:lnTo>
                    <a:pt x="2306" y="638"/>
                  </a:lnTo>
                  <a:lnTo>
                    <a:pt x="2360" y="638"/>
                  </a:lnTo>
                  <a:lnTo>
                    <a:pt x="2376" y="645"/>
                  </a:lnTo>
                  <a:lnTo>
                    <a:pt x="2407" y="629"/>
                  </a:lnTo>
                  <a:lnTo>
                    <a:pt x="2440" y="645"/>
                  </a:lnTo>
                  <a:lnTo>
                    <a:pt x="2461" y="645"/>
                  </a:lnTo>
                  <a:lnTo>
                    <a:pt x="2478" y="655"/>
                  </a:lnTo>
                  <a:lnTo>
                    <a:pt x="2485" y="666"/>
                  </a:lnTo>
                  <a:lnTo>
                    <a:pt x="2495" y="678"/>
                  </a:lnTo>
                  <a:lnTo>
                    <a:pt x="2499" y="683"/>
                  </a:lnTo>
                  <a:lnTo>
                    <a:pt x="2495" y="711"/>
                  </a:lnTo>
                  <a:lnTo>
                    <a:pt x="2440" y="678"/>
                  </a:lnTo>
                  <a:lnTo>
                    <a:pt x="2431" y="666"/>
                  </a:lnTo>
                  <a:lnTo>
                    <a:pt x="2402" y="666"/>
                  </a:lnTo>
                  <a:lnTo>
                    <a:pt x="2402" y="678"/>
                  </a:lnTo>
                  <a:lnTo>
                    <a:pt x="2360" y="666"/>
                  </a:lnTo>
                  <a:lnTo>
                    <a:pt x="2369" y="662"/>
                  </a:lnTo>
                  <a:lnTo>
                    <a:pt x="2360" y="662"/>
                  </a:lnTo>
                  <a:lnTo>
                    <a:pt x="2332" y="678"/>
                  </a:lnTo>
                  <a:lnTo>
                    <a:pt x="2306" y="655"/>
                  </a:lnTo>
                  <a:lnTo>
                    <a:pt x="2294" y="683"/>
                  </a:lnTo>
                  <a:lnTo>
                    <a:pt x="2294" y="683"/>
                  </a:lnTo>
                  <a:lnTo>
                    <a:pt x="2294" y="683"/>
                  </a:lnTo>
                  <a:close/>
                  <a:moveTo>
                    <a:pt x="858" y="629"/>
                  </a:moveTo>
                  <a:lnTo>
                    <a:pt x="858" y="638"/>
                  </a:lnTo>
                  <a:lnTo>
                    <a:pt x="848" y="638"/>
                  </a:lnTo>
                  <a:lnTo>
                    <a:pt x="858" y="629"/>
                  </a:lnTo>
                  <a:lnTo>
                    <a:pt x="858" y="629"/>
                  </a:lnTo>
                  <a:lnTo>
                    <a:pt x="858" y="629"/>
                  </a:lnTo>
                  <a:close/>
                  <a:moveTo>
                    <a:pt x="810" y="638"/>
                  </a:moveTo>
                  <a:lnTo>
                    <a:pt x="820" y="638"/>
                  </a:lnTo>
                  <a:lnTo>
                    <a:pt x="820" y="645"/>
                  </a:lnTo>
                  <a:lnTo>
                    <a:pt x="803" y="645"/>
                  </a:lnTo>
                  <a:lnTo>
                    <a:pt x="810" y="638"/>
                  </a:lnTo>
                  <a:lnTo>
                    <a:pt x="810" y="638"/>
                  </a:lnTo>
                  <a:lnTo>
                    <a:pt x="810" y="638"/>
                  </a:lnTo>
                  <a:close/>
                  <a:moveTo>
                    <a:pt x="2294" y="638"/>
                  </a:moveTo>
                  <a:lnTo>
                    <a:pt x="2294" y="645"/>
                  </a:lnTo>
                  <a:lnTo>
                    <a:pt x="2284" y="645"/>
                  </a:lnTo>
                  <a:lnTo>
                    <a:pt x="2294" y="638"/>
                  </a:lnTo>
                  <a:lnTo>
                    <a:pt x="2294" y="638"/>
                  </a:lnTo>
                  <a:lnTo>
                    <a:pt x="2294" y="638"/>
                  </a:lnTo>
                  <a:close/>
                  <a:moveTo>
                    <a:pt x="2171" y="655"/>
                  </a:moveTo>
                  <a:lnTo>
                    <a:pt x="2171" y="662"/>
                  </a:lnTo>
                  <a:lnTo>
                    <a:pt x="2187" y="655"/>
                  </a:lnTo>
                  <a:lnTo>
                    <a:pt x="2209" y="645"/>
                  </a:lnTo>
                  <a:lnTo>
                    <a:pt x="2230" y="655"/>
                  </a:lnTo>
                  <a:lnTo>
                    <a:pt x="2242" y="662"/>
                  </a:lnTo>
                  <a:lnTo>
                    <a:pt x="2230" y="666"/>
                  </a:lnTo>
                  <a:lnTo>
                    <a:pt x="2246" y="666"/>
                  </a:lnTo>
                  <a:lnTo>
                    <a:pt x="2246" y="695"/>
                  </a:lnTo>
                  <a:lnTo>
                    <a:pt x="2209" y="700"/>
                  </a:lnTo>
                  <a:lnTo>
                    <a:pt x="2192" y="700"/>
                  </a:lnTo>
                  <a:lnTo>
                    <a:pt x="2159" y="678"/>
                  </a:lnTo>
                  <a:lnTo>
                    <a:pt x="2159" y="662"/>
                  </a:lnTo>
                  <a:lnTo>
                    <a:pt x="2171" y="655"/>
                  </a:lnTo>
                  <a:lnTo>
                    <a:pt x="2171" y="655"/>
                  </a:lnTo>
                  <a:lnTo>
                    <a:pt x="2171" y="655"/>
                  </a:lnTo>
                  <a:close/>
                  <a:moveTo>
                    <a:pt x="2280" y="655"/>
                  </a:moveTo>
                  <a:lnTo>
                    <a:pt x="2284" y="662"/>
                  </a:lnTo>
                  <a:lnTo>
                    <a:pt x="2268" y="662"/>
                  </a:lnTo>
                  <a:lnTo>
                    <a:pt x="2280" y="655"/>
                  </a:lnTo>
                  <a:lnTo>
                    <a:pt x="2280" y="655"/>
                  </a:lnTo>
                  <a:lnTo>
                    <a:pt x="2280" y="655"/>
                  </a:lnTo>
                  <a:close/>
                  <a:moveTo>
                    <a:pt x="1474" y="662"/>
                  </a:moveTo>
                  <a:lnTo>
                    <a:pt x="1474" y="711"/>
                  </a:lnTo>
                  <a:lnTo>
                    <a:pt x="1458" y="716"/>
                  </a:lnTo>
                  <a:lnTo>
                    <a:pt x="1458" y="695"/>
                  </a:lnTo>
                  <a:lnTo>
                    <a:pt x="1469" y="666"/>
                  </a:lnTo>
                  <a:lnTo>
                    <a:pt x="1474" y="662"/>
                  </a:lnTo>
                  <a:lnTo>
                    <a:pt x="1474" y="662"/>
                  </a:lnTo>
                  <a:lnTo>
                    <a:pt x="1474" y="662"/>
                  </a:lnTo>
                  <a:close/>
                  <a:moveTo>
                    <a:pt x="2268" y="662"/>
                  </a:moveTo>
                  <a:lnTo>
                    <a:pt x="2268" y="666"/>
                  </a:lnTo>
                  <a:lnTo>
                    <a:pt x="2263" y="666"/>
                  </a:lnTo>
                  <a:lnTo>
                    <a:pt x="2268" y="662"/>
                  </a:lnTo>
                  <a:lnTo>
                    <a:pt x="2268" y="662"/>
                  </a:lnTo>
                  <a:lnTo>
                    <a:pt x="2268" y="662"/>
                  </a:lnTo>
                  <a:close/>
                  <a:moveTo>
                    <a:pt x="1484" y="678"/>
                  </a:moveTo>
                  <a:lnTo>
                    <a:pt x="1484" y="695"/>
                  </a:lnTo>
                  <a:lnTo>
                    <a:pt x="1474" y="683"/>
                  </a:lnTo>
                  <a:lnTo>
                    <a:pt x="1484" y="678"/>
                  </a:lnTo>
                  <a:lnTo>
                    <a:pt x="1484" y="678"/>
                  </a:lnTo>
                  <a:lnTo>
                    <a:pt x="1484" y="678"/>
                  </a:lnTo>
                  <a:close/>
                  <a:moveTo>
                    <a:pt x="2339" y="678"/>
                  </a:moveTo>
                  <a:lnTo>
                    <a:pt x="2348" y="678"/>
                  </a:lnTo>
                  <a:lnTo>
                    <a:pt x="2348" y="683"/>
                  </a:lnTo>
                  <a:lnTo>
                    <a:pt x="2339" y="695"/>
                  </a:lnTo>
                  <a:lnTo>
                    <a:pt x="2339" y="678"/>
                  </a:lnTo>
                  <a:lnTo>
                    <a:pt x="2339" y="678"/>
                  </a:lnTo>
                  <a:lnTo>
                    <a:pt x="2339" y="678"/>
                  </a:lnTo>
                  <a:close/>
                  <a:moveTo>
                    <a:pt x="2301" y="683"/>
                  </a:moveTo>
                  <a:lnTo>
                    <a:pt x="2322" y="683"/>
                  </a:lnTo>
                  <a:lnTo>
                    <a:pt x="2317" y="700"/>
                  </a:lnTo>
                  <a:lnTo>
                    <a:pt x="2306" y="700"/>
                  </a:lnTo>
                  <a:lnTo>
                    <a:pt x="2306" y="695"/>
                  </a:lnTo>
                  <a:lnTo>
                    <a:pt x="2294" y="700"/>
                  </a:lnTo>
                  <a:lnTo>
                    <a:pt x="2294" y="695"/>
                  </a:lnTo>
                  <a:lnTo>
                    <a:pt x="2301" y="683"/>
                  </a:lnTo>
                  <a:lnTo>
                    <a:pt x="2301" y="683"/>
                  </a:lnTo>
                  <a:lnTo>
                    <a:pt x="2301" y="683"/>
                  </a:lnTo>
                  <a:close/>
                  <a:moveTo>
                    <a:pt x="2332" y="683"/>
                  </a:moveTo>
                  <a:lnTo>
                    <a:pt x="2339" y="683"/>
                  </a:lnTo>
                  <a:lnTo>
                    <a:pt x="2322" y="695"/>
                  </a:lnTo>
                  <a:lnTo>
                    <a:pt x="2332" y="683"/>
                  </a:lnTo>
                  <a:lnTo>
                    <a:pt x="2332" y="683"/>
                  </a:lnTo>
                  <a:lnTo>
                    <a:pt x="2332" y="683"/>
                  </a:lnTo>
                  <a:close/>
                  <a:moveTo>
                    <a:pt x="1954" y="683"/>
                  </a:moveTo>
                  <a:lnTo>
                    <a:pt x="1961" y="683"/>
                  </a:lnTo>
                  <a:lnTo>
                    <a:pt x="1954" y="695"/>
                  </a:lnTo>
                  <a:lnTo>
                    <a:pt x="1954" y="683"/>
                  </a:lnTo>
                  <a:lnTo>
                    <a:pt x="1954" y="683"/>
                  </a:lnTo>
                  <a:lnTo>
                    <a:pt x="1954" y="683"/>
                  </a:lnTo>
                  <a:close/>
                  <a:moveTo>
                    <a:pt x="2246" y="700"/>
                  </a:moveTo>
                  <a:lnTo>
                    <a:pt x="2246" y="711"/>
                  </a:lnTo>
                  <a:lnTo>
                    <a:pt x="2242" y="711"/>
                  </a:lnTo>
                  <a:lnTo>
                    <a:pt x="2246" y="700"/>
                  </a:lnTo>
                  <a:lnTo>
                    <a:pt x="2246" y="700"/>
                  </a:lnTo>
                  <a:lnTo>
                    <a:pt x="2246" y="700"/>
                  </a:lnTo>
                  <a:close/>
                  <a:moveTo>
                    <a:pt x="2726" y="711"/>
                  </a:moveTo>
                  <a:lnTo>
                    <a:pt x="2733" y="716"/>
                  </a:lnTo>
                  <a:lnTo>
                    <a:pt x="2726" y="711"/>
                  </a:lnTo>
                  <a:lnTo>
                    <a:pt x="2726" y="711"/>
                  </a:lnTo>
                  <a:lnTo>
                    <a:pt x="2726" y="711"/>
                  </a:lnTo>
                  <a:close/>
                  <a:moveTo>
                    <a:pt x="1954" y="716"/>
                  </a:moveTo>
                  <a:lnTo>
                    <a:pt x="1970" y="723"/>
                  </a:lnTo>
                  <a:lnTo>
                    <a:pt x="1961" y="733"/>
                  </a:lnTo>
                  <a:lnTo>
                    <a:pt x="1944" y="723"/>
                  </a:lnTo>
                  <a:lnTo>
                    <a:pt x="1954" y="716"/>
                  </a:lnTo>
                  <a:lnTo>
                    <a:pt x="1954" y="716"/>
                  </a:lnTo>
                  <a:lnTo>
                    <a:pt x="1954" y="716"/>
                  </a:lnTo>
                  <a:close/>
                  <a:moveTo>
                    <a:pt x="2674" y="723"/>
                  </a:moveTo>
                  <a:lnTo>
                    <a:pt x="2695" y="740"/>
                  </a:lnTo>
                  <a:lnTo>
                    <a:pt x="2674" y="733"/>
                  </a:lnTo>
                  <a:lnTo>
                    <a:pt x="2674" y="723"/>
                  </a:lnTo>
                  <a:lnTo>
                    <a:pt x="2674" y="723"/>
                  </a:lnTo>
                  <a:lnTo>
                    <a:pt x="2674" y="723"/>
                  </a:lnTo>
                  <a:close/>
                  <a:moveTo>
                    <a:pt x="1954" y="749"/>
                  </a:moveTo>
                  <a:lnTo>
                    <a:pt x="1961" y="756"/>
                  </a:lnTo>
                  <a:lnTo>
                    <a:pt x="1961" y="778"/>
                  </a:lnTo>
                  <a:lnTo>
                    <a:pt x="1954" y="766"/>
                  </a:lnTo>
                  <a:lnTo>
                    <a:pt x="1954" y="773"/>
                  </a:lnTo>
                  <a:lnTo>
                    <a:pt x="1944" y="794"/>
                  </a:lnTo>
                  <a:lnTo>
                    <a:pt x="1961" y="811"/>
                  </a:lnTo>
                  <a:lnTo>
                    <a:pt x="1939" y="822"/>
                  </a:lnTo>
                  <a:lnTo>
                    <a:pt x="1939" y="834"/>
                  </a:lnTo>
                  <a:lnTo>
                    <a:pt x="1923" y="834"/>
                  </a:lnTo>
                  <a:lnTo>
                    <a:pt x="1916" y="827"/>
                  </a:lnTo>
                  <a:lnTo>
                    <a:pt x="1928" y="794"/>
                  </a:lnTo>
                  <a:lnTo>
                    <a:pt x="1939" y="756"/>
                  </a:lnTo>
                  <a:lnTo>
                    <a:pt x="1954" y="749"/>
                  </a:lnTo>
                  <a:lnTo>
                    <a:pt x="1954" y="749"/>
                  </a:lnTo>
                  <a:lnTo>
                    <a:pt x="1954" y="749"/>
                  </a:lnTo>
                  <a:close/>
                  <a:moveTo>
                    <a:pt x="1928" y="766"/>
                  </a:moveTo>
                  <a:lnTo>
                    <a:pt x="1928" y="789"/>
                  </a:lnTo>
                  <a:lnTo>
                    <a:pt x="1923" y="806"/>
                  </a:lnTo>
                  <a:lnTo>
                    <a:pt x="1923" y="811"/>
                  </a:lnTo>
                  <a:lnTo>
                    <a:pt x="1916" y="822"/>
                  </a:lnTo>
                  <a:lnTo>
                    <a:pt x="1902" y="822"/>
                  </a:lnTo>
                  <a:lnTo>
                    <a:pt x="1906" y="794"/>
                  </a:lnTo>
                  <a:lnTo>
                    <a:pt x="1902" y="778"/>
                  </a:lnTo>
                  <a:lnTo>
                    <a:pt x="1928" y="766"/>
                  </a:lnTo>
                  <a:lnTo>
                    <a:pt x="1928" y="766"/>
                  </a:lnTo>
                  <a:lnTo>
                    <a:pt x="1928" y="766"/>
                  </a:lnTo>
                  <a:close/>
                  <a:moveTo>
                    <a:pt x="1873" y="794"/>
                  </a:moveTo>
                  <a:lnTo>
                    <a:pt x="1885" y="822"/>
                  </a:lnTo>
                  <a:lnTo>
                    <a:pt x="1873" y="822"/>
                  </a:lnTo>
                  <a:lnTo>
                    <a:pt x="1864" y="811"/>
                  </a:lnTo>
                  <a:lnTo>
                    <a:pt x="1869" y="794"/>
                  </a:lnTo>
                  <a:lnTo>
                    <a:pt x="1873" y="794"/>
                  </a:lnTo>
                  <a:lnTo>
                    <a:pt x="1873" y="794"/>
                  </a:lnTo>
                  <a:lnTo>
                    <a:pt x="1873" y="794"/>
                  </a:lnTo>
                  <a:close/>
                  <a:moveTo>
                    <a:pt x="501" y="827"/>
                  </a:moveTo>
                  <a:lnTo>
                    <a:pt x="480" y="811"/>
                  </a:lnTo>
                  <a:lnTo>
                    <a:pt x="484" y="811"/>
                  </a:lnTo>
                  <a:lnTo>
                    <a:pt x="501" y="822"/>
                  </a:lnTo>
                  <a:lnTo>
                    <a:pt x="501" y="827"/>
                  </a:lnTo>
                  <a:lnTo>
                    <a:pt x="501" y="827"/>
                  </a:lnTo>
                  <a:lnTo>
                    <a:pt x="501" y="827"/>
                  </a:lnTo>
                  <a:close/>
                  <a:moveTo>
                    <a:pt x="2662" y="811"/>
                  </a:moveTo>
                  <a:lnTo>
                    <a:pt x="2658" y="834"/>
                  </a:lnTo>
                  <a:lnTo>
                    <a:pt x="2641" y="860"/>
                  </a:lnTo>
                  <a:lnTo>
                    <a:pt x="2658" y="811"/>
                  </a:lnTo>
                  <a:lnTo>
                    <a:pt x="2662" y="811"/>
                  </a:lnTo>
                  <a:lnTo>
                    <a:pt x="2662" y="811"/>
                  </a:lnTo>
                  <a:lnTo>
                    <a:pt x="2662" y="811"/>
                  </a:lnTo>
                  <a:close/>
                  <a:moveTo>
                    <a:pt x="2754" y="822"/>
                  </a:moveTo>
                  <a:lnTo>
                    <a:pt x="2764" y="827"/>
                  </a:lnTo>
                  <a:lnTo>
                    <a:pt x="2771" y="851"/>
                  </a:lnTo>
                  <a:lnTo>
                    <a:pt x="2771" y="860"/>
                  </a:lnTo>
                  <a:lnTo>
                    <a:pt x="2764" y="860"/>
                  </a:lnTo>
                  <a:lnTo>
                    <a:pt x="2738" y="860"/>
                  </a:lnTo>
                  <a:lnTo>
                    <a:pt x="2750" y="844"/>
                  </a:lnTo>
                  <a:lnTo>
                    <a:pt x="2733" y="844"/>
                  </a:lnTo>
                  <a:lnTo>
                    <a:pt x="2738" y="844"/>
                  </a:lnTo>
                  <a:lnTo>
                    <a:pt x="2754" y="822"/>
                  </a:lnTo>
                  <a:lnTo>
                    <a:pt x="2754" y="822"/>
                  </a:lnTo>
                  <a:lnTo>
                    <a:pt x="2754" y="822"/>
                  </a:lnTo>
                  <a:close/>
                  <a:moveTo>
                    <a:pt x="2629" y="834"/>
                  </a:moveTo>
                  <a:lnTo>
                    <a:pt x="2629" y="851"/>
                  </a:lnTo>
                  <a:lnTo>
                    <a:pt x="2629" y="860"/>
                  </a:lnTo>
                  <a:lnTo>
                    <a:pt x="2624" y="834"/>
                  </a:lnTo>
                  <a:lnTo>
                    <a:pt x="2629" y="834"/>
                  </a:lnTo>
                  <a:lnTo>
                    <a:pt x="2629" y="834"/>
                  </a:lnTo>
                  <a:lnTo>
                    <a:pt x="2629" y="834"/>
                  </a:lnTo>
                  <a:close/>
                  <a:moveTo>
                    <a:pt x="1226" y="844"/>
                  </a:moveTo>
                  <a:lnTo>
                    <a:pt x="1226" y="851"/>
                  </a:lnTo>
                  <a:lnTo>
                    <a:pt x="1219" y="851"/>
                  </a:lnTo>
                  <a:lnTo>
                    <a:pt x="1226" y="844"/>
                  </a:lnTo>
                  <a:lnTo>
                    <a:pt x="1226" y="844"/>
                  </a:lnTo>
                  <a:lnTo>
                    <a:pt x="1226" y="844"/>
                  </a:lnTo>
                  <a:close/>
                  <a:moveTo>
                    <a:pt x="1765" y="844"/>
                  </a:moveTo>
                  <a:lnTo>
                    <a:pt x="1776" y="867"/>
                  </a:lnTo>
                  <a:lnTo>
                    <a:pt x="1765" y="900"/>
                  </a:lnTo>
                  <a:lnTo>
                    <a:pt x="1765" y="844"/>
                  </a:lnTo>
                  <a:lnTo>
                    <a:pt x="1765" y="844"/>
                  </a:lnTo>
                  <a:lnTo>
                    <a:pt x="1765" y="844"/>
                  </a:lnTo>
                  <a:close/>
                  <a:moveTo>
                    <a:pt x="1361" y="1066"/>
                  </a:moveTo>
                  <a:lnTo>
                    <a:pt x="1332" y="1049"/>
                  </a:lnTo>
                  <a:lnTo>
                    <a:pt x="1323" y="1049"/>
                  </a:lnTo>
                  <a:lnTo>
                    <a:pt x="1295" y="1044"/>
                  </a:lnTo>
                  <a:lnTo>
                    <a:pt x="1257" y="1028"/>
                  </a:lnTo>
                  <a:lnTo>
                    <a:pt x="1219" y="1033"/>
                  </a:lnTo>
                  <a:lnTo>
                    <a:pt x="1160" y="1028"/>
                  </a:lnTo>
                  <a:lnTo>
                    <a:pt x="1150" y="1033"/>
                  </a:lnTo>
                  <a:lnTo>
                    <a:pt x="1080" y="1016"/>
                  </a:lnTo>
                  <a:lnTo>
                    <a:pt x="1037" y="995"/>
                  </a:lnTo>
                  <a:lnTo>
                    <a:pt x="987" y="988"/>
                  </a:lnTo>
                  <a:lnTo>
                    <a:pt x="966" y="988"/>
                  </a:lnTo>
                  <a:lnTo>
                    <a:pt x="954" y="978"/>
                  </a:lnTo>
                  <a:lnTo>
                    <a:pt x="933" y="988"/>
                  </a:lnTo>
                  <a:lnTo>
                    <a:pt x="928" y="995"/>
                  </a:lnTo>
                  <a:lnTo>
                    <a:pt x="900" y="995"/>
                  </a:lnTo>
                  <a:lnTo>
                    <a:pt x="858" y="971"/>
                  </a:lnTo>
                  <a:lnTo>
                    <a:pt x="777" y="962"/>
                  </a:lnTo>
                  <a:lnTo>
                    <a:pt x="777" y="955"/>
                  </a:lnTo>
                  <a:lnTo>
                    <a:pt x="794" y="938"/>
                  </a:lnTo>
                  <a:lnTo>
                    <a:pt x="787" y="933"/>
                  </a:lnTo>
                  <a:lnTo>
                    <a:pt x="777" y="933"/>
                  </a:lnTo>
                  <a:lnTo>
                    <a:pt x="756" y="922"/>
                  </a:lnTo>
                  <a:lnTo>
                    <a:pt x="718" y="922"/>
                  </a:lnTo>
                  <a:lnTo>
                    <a:pt x="702" y="917"/>
                  </a:lnTo>
                  <a:lnTo>
                    <a:pt x="718" y="922"/>
                  </a:lnTo>
                  <a:lnTo>
                    <a:pt x="723" y="905"/>
                  </a:lnTo>
                  <a:lnTo>
                    <a:pt x="723" y="900"/>
                  </a:lnTo>
                  <a:lnTo>
                    <a:pt x="739" y="889"/>
                  </a:lnTo>
                  <a:lnTo>
                    <a:pt x="739" y="867"/>
                  </a:lnTo>
                  <a:lnTo>
                    <a:pt x="756" y="851"/>
                  </a:lnTo>
                  <a:lnTo>
                    <a:pt x="765" y="860"/>
                  </a:lnTo>
                  <a:lnTo>
                    <a:pt x="773" y="860"/>
                  </a:lnTo>
                  <a:lnTo>
                    <a:pt x="787" y="867"/>
                  </a:lnTo>
                  <a:lnTo>
                    <a:pt x="803" y="860"/>
                  </a:lnTo>
                  <a:lnTo>
                    <a:pt x="810" y="867"/>
                  </a:lnTo>
                  <a:lnTo>
                    <a:pt x="824" y="867"/>
                  </a:lnTo>
                  <a:lnTo>
                    <a:pt x="824" y="851"/>
                  </a:lnTo>
                  <a:lnTo>
                    <a:pt x="848" y="860"/>
                  </a:lnTo>
                  <a:lnTo>
                    <a:pt x="874" y="884"/>
                  </a:lnTo>
                  <a:lnTo>
                    <a:pt x="891" y="877"/>
                  </a:lnTo>
                  <a:lnTo>
                    <a:pt x="900" y="884"/>
                  </a:lnTo>
                  <a:lnTo>
                    <a:pt x="917" y="884"/>
                  </a:lnTo>
                  <a:lnTo>
                    <a:pt x="933" y="900"/>
                  </a:lnTo>
                  <a:lnTo>
                    <a:pt x="933" y="917"/>
                  </a:lnTo>
                  <a:lnTo>
                    <a:pt x="983" y="922"/>
                  </a:lnTo>
                  <a:lnTo>
                    <a:pt x="1004" y="922"/>
                  </a:lnTo>
                  <a:lnTo>
                    <a:pt x="1063" y="933"/>
                  </a:lnTo>
                  <a:lnTo>
                    <a:pt x="1075" y="922"/>
                  </a:lnTo>
                  <a:lnTo>
                    <a:pt x="1089" y="889"/>
                  </a:lnTo>
                  <a:lnTo>
                    <a:pt x="1096" y="889"/>
                  </a:lnTo>
                  <a:lnTo>
                    <a:pt x="1113" y="889"/>
                  </a:lnTo>
                  <a:lnTo>
                    <a:pt x="1113" y="917"/>
                  </a:lnTo>
                  <a:lnTo>
                    <a:pt x="1134" y="917"/>
                  </a:lnTo>
                  <a:lnTo>
                    <a:pt x="1143" y="905"/>
                  </a:lnTo>
                  <a:lnTo>
                    <a:pt x="1160" y="917"/>
                  </a:lnTo>
                  <a:lnTo>
                    <a:pt x="1172" y="917"/>
                  </a:lnTo>
                  <a:lnTo>
                    <a:pt x="1181" y="933"/>
                  </a:lnTo>
                  <a:lnTo>
                    <a:pt x="1214" y="933"/>
                  </a:lnTo>
                  <a:lnTo>
                    <a:pt x="1219" y="945"/>
                  </a:lnTo>
                  <a:lnTo>
                    <a:pt x="1226" y="945"/>
                  </a:lnTo>
                  <a:lnTo>
                    <a:pt x="1235" y="955"/>
                  </a:lnTo>
                  <a:lnTo>
                    <a:pt x="1226" y="971"/>
                  </a:lnTo>
                  <a:lnTo>
                    <a:pt x="1257" y="988"/>
                  </a:lnTo>
                  <a:lnTo>
                    <a:pt x="1295" y="988"/>
                  </a:lnTo>
                  <a:lnTo>
                    <a:pt x="1323" y="978"/>
                  </a:lnTo>
                  <a:lnTo>
                    <a:pt x="1344" y="995"/>
                  </a:lnTo>
                  <a:lnTo>
                    <a:pt x="1344" y="1033"/>
                  </a:lnTo>
                  <a:lnTo>
                    <a:pt x="1349" y="1049"/>
                  </a:lnTo>
                  <a:lnTo>
                    <a:pt x="1361" y="1056"/>
                  </a:lnTo>
                  <a:lnTo>
                    <a:pt x="1361" y="1066"/>
                  </a:lnTo>
                  <a:lnTo>
                    <a:pt x="1361" y="1066"/>
                  </a:lnTo>
                  <a:lnTo>
                    <a:pt x="1361" y="1066"/>
                  </a:lnTo>
                  <a:close/>
                  <a:moveTo>
                    <a:pt x="2754" y="860"/>
                  </a:moveTo>
                  <a:lnTo>
                    <a:pt x="2764" y="860"/>
                  </a:lnTo>
                  <a:lnTo>
                    <a:pt x="2771" y="867"/>
                  </a:lnTo>
                  <a:lnTo>
                    <a:pt x="2771" y="884"/>
                  </a:lnTo>
                  <a:lnTo>
                    <a:pt x="2764" y="889"/>
                  </a:lnTo>
                  <a:lnTo>
                    <a:pt x="2738" y="867"/>
                  </a:lnTo>
                  <a:lnTo>
                    <a:pt x="2754" y="860"/>
                  </a:lnTo>
                  <a:lnTo>
                    <a:pt x="2754" y="860"/>
                  </a:lnTo>
                  <a:lnTo>
                    <a:pt x="2754" y="860"/>
                  </a:lnTo>
                  <a:close/>
                  <a:moveTo>
                    <a:pt x="2733" y="860"/>
                  </a:moveTo>
                  <a:lnTo>
                    <a:pt x="2733" y="867"/>
                  </a:lnTo>
                  <a:lnTo>
                    <a:pt x="2750" y="884"/>
                  </a:lnTo>
                  <a:lnTo>
                    <a:pt x="2738" y="884"/>
                  </a:lnTo>
                  <a:lnTo>
                    <a:pt x="2726" y="867"/>
                  </a:lnTo>
                  <a:lnTo>
                    <a:pt x="2726" y="860"/>
                  </a:lnTo>
                  <a:lnTo>
                    <a:pt x="2733" y="860"/>
                  </a:lnTo>
                  <a:lnTo>
                    <a:pt x="2733" y="860"/>
                  </a:lnTo>
                  <a:lnTo>
                    <a:pt x="2733" y="860"/>
                  </a:lnTo>
                  <a:close/>
                  <a:moveTo>
                    <a:pt x="2726" y="877"/>
                  </a:moveTo>
                  <a:lnTo>
                    <a:pt x="2754" y="905"/>
                  </a:lnTo>
                  <a:lnTo>
                    <a:pt x="2733" y="933"/>
                  </a:lnTo>
                  <a:lnTo>
                    <a:pt x="2726" y="917"/>
                  </a:lnTo>
                  <a:lnTo>
                    <a:pt x="2726" y="877"/>
                  </a:lnTo>
                  <a:lnTo>
                    <a:pt x="2726" y="877"/>
                  </a:lnTo>
                  <a:lnTo>
                    <a:pt x="2726" y="877"/>
                  </a:lnTo>
                  <a:close/>
                  <a:moveTo>
                    <a:pt x="2750" y="884"/>
                  </a:moveTo>
                  <a:lnTo>
                    <a:pt x="2764" y="889"/>
                  </a:lnTo>
                  <a:lnTo>
                    <a:pt x="2754" y="900"/>
                  </a:lnTo>
                  <a:lnTo>
                    <a:pt x="2738" y="889"/>
                  </a:lnTo>
                  <a:lnTo>
                    <a:pt x="2750" y="884"/>
                  </a:lnTo>
                  <a:lnTo>
                    <a:pt x="2750" y="884"/>
                  </a:lnTo>
                  <a:lnTo>
                    <a:pt x="2750" y="884"/>
                  </a:lnTo>
                  <a:close/>
                  <a:moveTo>
                    <a:pt x="2780" y="884"/>
                  </a:moveTo>
                  <a:lnTo>
                    <a:pt x="2780" y="900"/>
                  </a:lnTo>
                  <a:lnTo>
                    <a:pt x="2771" y="889"/>
                  </a:lnTo>
                  <a:lnTo>
                    <a:pt x="2780" y="884"/>
                  </a:lnTo>
                  <a:lnTo>
                    <a:pt x="2780" y="884"/>
                  </a:lnTo>
                  <a:lnTo>
                    <a:pt x="2780" y="884"/>
                  </a:lnTo>
                  <a:close/>
                  <a:moveTo>
                    <a:pt x="2764" y="889"/>
                  </a:moveTo>
                  <a:lnTo>
                    <a:pt x="2771" y="900"/>
                  </a:lnTo>
                  <a:lnTo>
                    <a:pt x="2764" y="900"/>
                  </a:lnTo>
                  <a:lnTo>
                    <a:pt x="2764" y="889"/>
                  </a:lnTo>
                  <a:lnTo>
                    <a:pt x="2764" y="889"/>
                  </a:lnTo>
                  <a:lnTo>
                    <a:pt x="2764" y="889"/>
                  </a:lnTo>
                  <a:close/>
                  <a:moveTo>
                    <a:pt x="702" y="900"/>
                  </a:moveTo>
                  <a:lnTo>
                    <a:pt x="697" y="905"/>
                  </a:lnTo>
                  <a:lnTo>
                    <a:pt x="702" y="900"/>
                  </a:lnTo>
                  <a:lnTo>
                    <a:pt x="702" y="900"/>
                  </a:lnTo>
                  <a:lnTo>
                    <a:pt x="702" y="900"/>
                  </a:lnTo>
                  <a:close/>
                  <a:moveTo>
                    <a:pt x="3040" y="917"/>
                  </a:moveTo>
                  <a:lnTo>
                    <a:pt x="3057" y="922"/>
                  </a:lnTo>
                  <a:lnTo>
                    <a:pt x="3052" y="922"/>
                  </a:lnTo>
                  <a:lnTo>
                    <a:pt x="3040" y="917"/>
                  </a:lnTo>
                  <a:lnTo>
                    <a:pt x="3040" y="917"/>
                  </a:lnTo>
                  <a:lnTo>
                    <a:pt x="3040" y="917"/>
                  </a:lnTo>
                  <a:close/>
                  <a:moveTo>
                    <a:pt x="1403" y="922"/>
                  </a:moveTo>
                  <a:lnTo>
                    <a:pt x="1432" y="933"/>
                  </a:lnTo>
                  <a:lnTo>
                    <a:pt x="1415" y="933"/>
                  </a:lnTo>
                  <a:lnTo>
                    <a:pt x="1403" y="933"/>
                  </a:lnTo>
                  <a:lnTo>
                    <a:pt x="1398" y="933"/>
                  </a:lnTo>
                  <a:lnTo>
                    <a:pt x="1403" y="922"/>
                  </a:lnTo>
                  <a:lnTo>
                    <a:pt x="1403" y="922"/>
                  </a:lnTo>
                  <a:lnTo>
                    <a:pt x="1403" y="922"/>
                  </a:lnTo>
                  <a:close/>
                  <a:moveTo>
                    <a:pt x="1243" y="922"/>
                  </a:moveTo>
                  <a:lnTo>
                    <a:pt x="1311" y="922"/>
                  </a:lnTo>
                  <a:lnTo>
                    <a:pt x="1328" y="933"/>
                  </a:lnTo>
                  <a:lnTo>
                    <a:pt x="1280" y="945"/>
                  </a:lnTo>
                  <a:lnTo>
                    <a:pt x="1226" y="945"/>
                  </a:lnTo>
                  <a:lnTo>
                    <a:pt x="1219" y="938"/>
                  </a:lnTo>
                  <a:lnTo>
                    <a:pt x="1243" y="922"/>
                  </a:lnTo>
                  <a:lnTo>
                    <a:pt x="1243" y="922"/>
                  </a:lnTo>
                  <a:lnTo>
                    <a:pt x="1243" y="922"/>
                  </a:lnTo>
                  <a:close/>
                  <a:moveTo>
                    <a:pt x="1781" y="938"/>
                  </a:moveTo>
                  <a:lnTo>
                    <a:pt x="1793" y="938"/>
                  </a:lnTo>
                  <a:lnTo>
                    <a:pt x="1793" y="945"/>
                  </a:lnTo>
                  <a:lnTo>
                    <a:pt x="1781" y="938"/>
                  </a:lnTo>
                  <a:lnTo>
                    <a:pt x="1781" y="938"/>
                  </a:lnTo>
                  <a:lnTo>
                    <a:pt x="1781" y="938"/>
                  </a:lnTo>
                  <a:close/>
                  <a:moveTo>
                    <a:pt x="1332" y="938"/>
                  </a:moveTo>
                  <a:lnTo>
                    <a:pt x="1344" y="945"/>
                  </a:lnTo>
                  <a:lnTo>
                    <a:pt x="1332" y="945"/>
                  </a:lnTo>
                  <a:lnTo>
                    <a:pt x="1332" y="938"/>
                  </a:lnTo>
                  <a:lnTo>
                    <a:pt x="1332" y="938"/>
                  </a:lnTo>
                  <a:lnTo>
                    <a:pt x="1332" y="938"/>
                  </a:lnTo>
                  <a:close/>
                  <a:moveTo>
                    <a:pt x="2339" y="938"/>
                  </a:moveTo>
                  <a:lnTo>
                    <a:pt x="2348" y="938"/>
                  </a:lnTo>
                  <a:lnTo>
                    <a:pt x="2339" y="945"/>
                  </a:lnTo>
                  <a:lnTo>
                    <a:pt x="2332" y="945"/>
                  </a:lnTo>
                  <a:lnTo>
                    <a:pt x="2339" y="938"/>
                  </a:lnTo>
                  <a:lnTo>
                    <a:pt x="2339" y="938"/>
                  </a:lnTo>
                  <a:lnTo>
                    <a:pt x="2339" y="938"/>
                  </a:lnTo>
                  <a:close/>
                  <a:moveTo>
                    <a:pt x="2565" y="938"/>
                  </a:moveTo>
                  <a:lnTo>
                    <a:pt x="2570" y="938"/>
                  </a:lnTo>
                  <a:lnTo>
                    <a:pt x="2575" y="955"/>
                  </a:lnTo>
                  <a:lnTo>
                    <a:pt x="2565" y="938"/>
                  </a:lnTo>
                  <a:lnTo>
                    <a:pt x="2565" y="938"/>
                  </a:lnTo>
                  <a:lnTo>
                    <a:pt x="2565" y="938"/>
                  </a:lnTo>
                  <a:close/>
                  <a:moveTo>
                    <a:pt x="2554" y="938"/>
                  </a:moveTo>
                  <a:lnTo>
                    <a:pt x="2565" y="945"/>
                  </a:lnTo>
                  <a:lnTo>
                    <a:pt x="2554" y="955"/>
                  </a:lnTo>
                  <a:lnTo>
                    <a:pt x="2554" y="978"/>
                  </a:lnTo>
                  <a:lnTo>
                    <a:pt x="2537" y="995"/>
                  </a:lnTo>
                  <a:lnTo>
                    <a:pt x="2532" y="1011"/>
                  </a:lnTo>
                  <a:lnTo>
                    <a:pt x="2516" y="1011"/>
                  </a:lnTo>
                  <a:lnTo>
                    <a:pt x="2516" y="995"/>
                  </a:lnTo>
                  <a:lnTo>
                    <a:pt x="2523" y="971"/>
                  </a:lnTo>
                  <a:lnTo>
                    <a:pt x="2554" y="938"/>
                  </a:lnTo>
                  <a:lnTo>
                    <a:pt x="2554" y="938"/>
                  </a:lnTo>
                  <a:lnTo>
                    <a:pt x="2554" y="938"/>
                  </a:lnTo>
                  <a:close/>
                  <a:moveTo>
                    <a:pt x="1814" y="955"/>
                  </a:moveTo>
                  <a:lnTo>
                    <a:pt x="1819" y="962"/>
                  </a:lnTo>
                  <a:lnTo>
                    <a:pt x="1814" y="962"/>
                  </a:lnTo>
                  <a:lnTo>
                    <a:pt x="1814" y="955"/>
                  </a:lnTo>
                  <a:lnTo>
                    <a:pt x="1814" y="955"/>
                  </a:lnTo>
                  <a:lnTo>
                    <a:pt x="1814" y="955"/>
                  </a:lnTo>
                  <a:close/>
                  <a:moveTo>
                    <a:pt x="1864" y="962"/>
                  </a:moveTo>
                  <a:lnTo>
                    <a:pt x="1869" y="962"/>
                  </a:lnTo>
                  <a:lnTo>
                    <a:pt x="1864" y="962"/>
                  </a:lnTo>
                  <a:lnTo>
                    <a:pt x="1864" y="962"/>
                  </a:lnTo>
                  <a:lnTo>
                    <a:pt x="1864" y="962"/>
                  </a:lnTo>
                  <a:close/>
                  <a:moveTo>
                    <a:pt x="3040" y="962"/>
                  </a:moveTo>
                  <a:lnTo>
                    <a:pt x="3057" y="962"/>
                  </a:lnTo>
                  <a:lnTo>
                    <a:pt x="3073" y="978"/>
                  </a:lnTo>
                  <a:lnTo>
                    <a:pt x="3057" y="1011"/>
                  </a:lnTo>
                  <a:lnTo>
                    <a:pt x="3024" y="1033"/>
                  </a:lnTo>
                  <a:lnTo>
                    <a:pt x="2986" y="1033"/>
                  </a:lnTo>
                  <a:lnTo>
                    <a:pt x="2969" y="1033"/>
                  </a:lnTo>
                  <a:lnTo>
                    <a:pt x="3002" y="978"/>
                  </a:lnTo>
                  <a:lnTo>
                    <a:pt x="3040" y="962"/>
                  </a:lnTo>
                  <a:lnTo>
                    <a:pt x="3040" y="962"/>
                  </a:lnTo>
                  <a:lnTo>
                    <a:pt x="3040" y="962"/>
                  </a:lnTo>
                  <a:close/>
                  <a:moveTo>
                    <a:pt x="2511" y="962"/>
                  </a:moveTo>
                  <a:lnTo>
                    <a:pt x="2523" y="962"/>
                  </a:lnTo>
                  <a:lnTo>
                    <a:pt x="2511" y="971"/>
                  </a:lnTo>
                  <a:lnTo>
                    <a:pt x="2511" y="962"/>
                  </a:lnTo>
                  <a:lnTo>
                    <a:pt x="2511" y="962"/>
                  </a:lnTo>
                  <a:lnTo>
                    <a:pt x="2511" y="962"/>
                  </a:lnTo>
                  <a:close/>
                  <a:moveTo>
                    <a:pt x="2251" y="971"/>
                  </a:moveTo>
                  <a:lnTo>
                    <a:pt x="2263" y="978"/>
                  </a:lnTo>
                  <a:lnTo>
                    <a:pt x="2251" y="978"/>
                  </a:lnTo>
                  <a:lnTo>
                    <a:pt x="2251" y="971"/>
                  </a:lnTo>
                  <a:lnTo>
                    <a:pt x="2251" y="971"/>
                  </a:lnTo>
                  <a:lnTo>
                    <a:pt x="2251" y="971"/>
                  </a:lnTo>
                  <a:close/>
                  <a:moveTo>
                    <a:pt x="2154" y="978"/>
                  </a:moveTo>
                  <a:lnTo>
                    <a:pt x="2171" y="988"/>
                  </a:lnTo>
                  <a:lnTo>
                    <a:pt x="2197" y="978"/>
                  </a:lnTo>
                  <a:lnTo>
                    <a:pt x="2213" y="988"/>
                  </a:lnTo>
                  <a:lnTo>
                    <a:pt x="2187" y="1000"/>
                  </a:lnTo>
                  <a:lnTo>
                    <a:pt x="2159" y="995"/>
                  </a:lnTo>
                  <a:lnTo>
                    <a:pt x="2138" y="1011"/>
                  </a:lnTo>
                  <a:lnTo>
                    <a:pt x="2154" y="978"/>
                  </a:lnTo>
                  <a:lnTo>
                    <a:pt x="2154" y="978"/>
                  </a:lnTo>
                  <a:lnTo>
                    <a:pt x="2154" y="978"/>
                  </a:lnTo>
                  <a:close/>
                  <a:moveTo>
                    <a:pt x="2407" y="995"/>
                  </a:moveTo>
                  <a:lnTo>
                    <a:pt x="2424" y="995"/>
                  </a:lnTo>
                  <a:lnTo>
                    <a:pt x="2424" y="1011"/>
                  </a:lnTo>
                  <a:lnTo>
                    <a:pt x="2407" y="1000"/>
                  </a:lnTo>
                  <a:lnTo>
                    <a:pt x="2407" y="995"/>
                  </a:lnTo>
                  <a:lnTo>
                    <a:pt x="2407" y="995"/>
                  </a:lnTo>
                  <a:lnTo>
                    <a:pt x="2407" y="995"/>
                  </a:lnTo>
                  <a:close/>
                  <a:moveTo>
                    <a:pt x="2242" y="1011"/>
                  </a:moveTo>
                  <a:lnTo>
                    <a:pt x="2246" y="1011"/>
                  </a:lnTo>
                  <a:lnTo>
                    <a:pt x="2242" y="1011"/>
                  </a:lnTo>
                  <a:lnTo>
                    <a:pt x="2242" y="1011"/>
                  </a:lnTo>
                  <a:lnTo>
                    <a:pt x="2242" y="1011"/>
                  </a:lnTo>
                  <a:close/>
                  <a:moveTo>
                    <a:pt x="1349" y="1011"/>
                  </a:moveTo>
                  <a:lnTo>
                    <a:pt x="1382" y="1016"/>
                  </a:lnTo>
                  <a:lnTo>
                    <a:pt x="1398" y="1011"/>
                  </a:lnTo>
                  <a:lnTo>
                    <a:pt x="1420" y="1016"/>
                  </a:lnTo>
                  <a:lnTo>
                    <a:pt x="1436" y="1033"/>
                  </a:lnTo>
                  <a:lnTo>
                    <a:pt x="1403" y="1049"/>
                  </a:lnTo>
                  <a:lnTo>
                    <a:pt x="1398" y="1056"/>
                  </a:lnTo>
                  <a:lnTo>
                    <a:pt x="1403" y="1066"/>
                  </a:lnTo>
                  <a:lnTo>
                    <a:pt x="1398" y="1066"/>
                  </a:lnTo>
                  <a:lnTo>
                    <a:pt x="1398" y="1056"/>
                  </a:lnTo>
                  <a:lnTo>
                    <a:pt x="1377" y="1044"/>
                  </a:lnTo>
                  <a:lnTo>
                    <a:pt x="1361" y="1033"/>
                  </a:lnTo>
                  <a:lnTo>
                    <a:pt x="1349" y="1016"/>
                  </a:lnTo>
                  <a:lnTo>
                    <a:pt x="1349" y="1011"/>
                  </a:lnTo>
                  <a:lnTo>
                    <a:pt x="1349" y="1011"/>
                  </a:lnTo>
                  <a:lnTo>
                    <a:pt x="1349" y="1011"/>
                  </a:lnTo>
                  <a:close/>
                  <a:moveTo>
                    <a:pt x="1722" y="1056"/>
                  </a:moveTo>
                  <a:lnTo>
                    <a:pt x="1722" y="1049"/>
                  </a:lnTo>
                  <a:lnTo>
                    <a:pt x="1755" y="1028"/>
                  </a:lnTo>
                  <a:lnTo>
                    <a:pt x="1798" y="1033"/>
                  </a:lnTo>
                  <a:lnTo>
                    <a:pt x="1847" y="1049"/>
                  </a:lnTo>
                  <a:lnTo>
                    <a:pt x="1852" y="1044"/>
                  </a:lnTo>
                  <a:lnTo>
                    <a:pt x="1873" y="1044"/>
                  </a:lnTo>
                  <a:lnTo>
                    <a:pt x="1902" y="1049"/>
                  </a:lnTo>
                  <a:lnTo>
                    <a:pt x="1906" y="1049"/>
                  </a:lnTo>
                  <a:lnTo>
                    <a:pt x="1923" y="1033"/>
                  </a:lnTo>
                  <a:lnTo>
                    <a:pt x="1939" y="1028"/>
                  </a:lnTo>
                  <a:lnTo>
                    <a:pt x="1944" y="1016"/>
                  </a:lnTo>
                  <a:lnTo>
                    <a:pt x="1928" y="1028"/>
                  </a:lnTo>
                  <a:lnTo>
                    <a:pt x="1939" y="1011"/>
                  </a:lnTo>
                  <a:lnTo>
                    <a:pt x="1944" y="1016"/>
                  </a:lnTo>
                  <a:lnTo>
                    <a:pt x="1944" y="1028"/>
                  </a:lnTo>
                  <a:lnTo>
                    <a:pt x="1928" y="1033"/>
                  </a:lnTo>
                  <a:lnTo>
                    <a:pt x="1939" y="1049"/>
                  </a:lnTo>
                  <a:lnTo>
                    <a:pt x="1864" y="1073"/>
                  </a:lnTo>
                  <a:lnTo>
                    <a:pt x="1835" y="1066"/>
                  </a:lnTo>
                  <a:lnTo>
                    <a:pt x="1831" y="1073"/>
                  </a:lnTo>
                  <a:lnTo>
                    <a:pt x="1809" y="1073"/>
                  </a:lnTo>
                  <a:lnTo>
                    <a:pt x="1776" y="1066"/>
                  </a:lnTo>
                  <a:lnTo>
                    <a:pt x="1727" y="1066"/>
                  </a:lnTo>
                  <a:lnTo>
                    <a:pt x="1722" y="1056"/>
                  </a:lnTo>
                  <a:lnTo>
                    <a:pt x="1722" y="1056"/>
                  </a:lnTo>
                  <a:lnTo>
                    <a:pt x="1722" y="1056"/>
                  </a:lnTo>
                  <a:close/>
                  <a:moveTo>
                    <a:pt x="1684" y="1056"/>
                  </a:moveTo>
                  <a:lnTo>
                    <a:pt x="1668" y="1066"/>
                  </a:lnTo>
                  <a:lnTo>
                    <a:pt x="1658" y="1056"/>
                  </a:lnTo>
                  <a:lnTo>
                    <a:pt x="1651" y="1056"/>
                  </a:lnTo>
                  <a:lnTo>
                    <a:pt x="1647" y="1056"/>
                  </a:lnTo>
                  <a:lnTo>
                    <a:pt x="1658" y="1066"/>
                  </a:lnTo>
                  <a:lnTo>
                    <a:pt x="1630" y="1066"/>
                  </a:lnTo>
                  <a:lnTo>
                    <a:pt x="1621" y="1066"/>
                  </a:lnTo>
                  <a:lnTo>
                    <a:pt x="1621" y="1049"/>
                  </a:lnTo>
                  <a:lnTo>
                    <a:pt x="1604" y="1066"/>
                  </a:lnTo>
                  <a:lnTo>
                    <a:pt x="1576" y="1073"/>
                  </a:lnTo>
                  <a:lnTo>
                    <a:pt x="1550" y="1082"/>
                  </a:lnTo>
                  <a:lnTo>
                    <a:pt x="1545" y="1082"/>
                  </a:lnTo>
                  <a:lnTo>
                    <a:pt x="1528" y="1089"/>
                  </a:lnTo>
                  <a:lnTo>
                    <a:pt x="1507" y="1073"/>
                  </a:lnTo>
                  <a:lnTo>
                    <a:pt x="1512" y="1049"/>
                  </a:lnTo>
                  <a:lnTo>
                    <a:pt x="1538" y="1033"/>
                  </a:lnTo>
                  <a:lnTo>
                    <a:pt x="1559" y="1044"/>
                  </a:lnTo>
                  <a:lnTo>
                    <a:pt x="1566" y="1033"/>
                  </a:lnTo>
                  <a:lnTo>
                    <a:pt x="1566" y="1044"/>
                  </a:lnTo>
                  <a:lnTo>
                    <a:pt x="1592" y="1056"/>
                  </a:lnTo>
                  <a:lnTo>
                    <a:pt x="1597" y="1056"/>
                  </a:lnTo>
                  <a:lnTo>
                    <a:pt x="1613" y="1056"/>
                  </a:lnTo>
                  <a:lnTo>
                    <a:pt x="1613" y="1049"/>
                  </a:lnTo>
                  <a:lnTo>
                    <a:pt x="1597" y="1044"/>
                  </a:lnTo>
                  <a:lnTo>
                    <a:pt x="1576" y="1028"/>
                  </a:lnTo>
                  <a:lnTo>
                    <a:pt x="1576" y="1016"/>
                  </a:lnTo>
                  <a:lnTo>
                    <a:pt x="1592" y="1011"/>
                  </a:lnTo>
                  <a:lnTo>
                    <a:pt x="1604" y="1016"/>
                  </a:lnTo>
                  <a:lnTo>
                    <a:pt x="1621" y="1033"/>
                  </a:lnTo>
                  <a:lnTo>
                    <a:pt x="1630" y="1028"/>
                  </a:lnTo>
                  <a:lnTo>
                    <a:pt x="1647" y="1028"/>
                  </a:lnTo>
                  <a:lnTo>
                    <a:pt x="1647" y="1049"/>
                  </a:lnTo>
                  <a:lnTo>
                    <a:pt x="1651" y="1028"/>
                  </a:lnTo>
                  <a:lnTo>
                    <a:pt x="1668" y="1028"/>
                  </a:lnTo>
                  <a:lnTo>
                    <a:pt x="1668" y="1049"/>
                  </a:lnTo>
                  <a:lnTo>
                    <a:pt x="1684" y="1056"/>
                  </a:lnTo>
                  <a:lnTo>
                    <a:pt x="1684" y="1056"/>
                  </a:lnTo>
                  <a:lnTo>
                    <a:pt x="1684" y="1056"/>
                  </a:lnTo>
                  <a:close/>
                  <a:moveTo>
                    <a:pt x="2495" y="1033"/>
                  </a:moveTo>
                  <a:lnTo>
                    <a:pt x="2511" y="1011"/>
                  </a:lnTo>
                  <a:lnTo>
                    <a:pt x="2523" y="1016"/>
                  </a:lnTo>
                  <a:lnTo>
                    <a:pt x="2495" y="1033"/>
                  </a:lnTo>
                  <a:lnTo>
                    <a:pt x="2495" y="1033"/>
                  </a:lnTo>
                  <a:lnTo>
                    <a:pt x="2495" y="1033"/>
                  </a:lnTo>
                  <a:close/>
                  <a:moveTo>
                    <a:pt x="2284" y="1011"/>
                  </a:moveTo>
                  <a:lnTo>
                    <a:pt x="2306" y="1016"/>
                  </a:lnTo>
                  <a:lnTo>
                    <a:pt x="2301" y="1028"/>
                  </a:lnTo>
                  <a:lnTo>
                    <a:pt x="2284" y="1016"/>
                  </a:lnTo>
                  <a:lnTo>
                    <a:pt x="2284" y="1011"/>
                  </a:lnTo>
                  <a:lnTo>
                    <a:pt x="2284" y="1011"/>
                  </a:lnTo>
                  <a:lnTo>
                    <a:pt x="2284" y="1011"/>
                  </a:lnTo>
                  <a:close/>
                  <a:moveTo>
                    <a:pt x="2053" y="1016"/>
                  </a:moveTo>
                  <a:lnTo>
                    <a:pt x="2091" y="1016"/>
                  </a:lnTo>
                  <a:lnTo>
                    <a:pt x="2100" y="1028"/>
                  </a:lnTo>
                  <a:lnTo>
                    <a:pt x="2046" y="1044"/>
                  </a:lnTo>
                  <a:lnTo>
                    <a:pt x="2053" y="1016"/>
                  </a:lnTo>
                  <a:lnTo>
                    <a:pt x="2053" y="1016"/>
                  </a:lnTo>
                  <a:lnTo>
                    <a:pt x="2053" y="1016"/>
                  </a:lnTo>
                  <a:close/>
                  <a:moveTo>
                    <a:pt x="1672" y="1016"/>
                  </a:moveTo>
                  <a:lnTo>
                    <a:pt x="1668" y="1028"/>
                  </a:lnTo>
                  <a:lnTo>
                    <a:pt x="1672" y="1016"/>
                  </a:lnTo>
                  <a:lnTo>
                    <a:pt x="1672" y="1016"/>
                  </a:lnTo>
                  <a:lnTo>
                    <a:pt x="1672" y="1016"/>
                  </a:lnTo>
                  <a:close/>
                  <a:moveTo>
                    <a:pt x="1566" y="1033"/>
                  </a:moveTo>
                  <a:lnTo>
                    <a:pt x="1559" y="1016"/>
                  </a:lnTo>
                  <a:lnTo>
                    <a:pt x="1576" y="1016"/>
                  </a:lnTo>
                  <a:lnTo>
                    <a:pt x="1566" y="1033"/>
                  </a:lnTo>
                  <a:lnTo>
                    <a:pt x="1566" y="1033"/>
                  </a:lnTo>
                  <a:lnTo>
                    <a:pt x="1566" y="1033"/>
                  </a:lnTo>
                  <a:close/>
                  <a:moveTo>
                    <a:pt x="2280" y="1016"/>
                  </a:moveTo>
                  <a:lnTo>
                    <a:pt x="2284" y="1016"/>
                  </a:lnTo>
                  <a:lnTo>
                    <a:pt x="2268" y="1028"/>
                  </a:lnTo>
                  <a:lnTo>
                    <a:pt x="2280" y="1016"/>
                  </a:lnTo>
                  <a:lnTo>
                    <a:pt x="2280" y="1016"/>
                  </a:lnTo>
                  <a:lnTo>
                    <a:pt x="2280" y="1016"/>
                  </a:lnTo>
                  <a:close/>
                  <a:moveTo>
                    <a:pt x="3057" y="1016"/>
                  </a:moveTo>
                  <a:lnTo>
                    <a:pt x="3061" y="1033"/>
                  </a:lnTo>
                  <a:lnTo>
                    <a:pt x="3040" y="1033"/>
                  </a:lnTo>
                  <a:lnTo>
                    <a:pt x="3052" y="1016"/>
                  </a:lnTo>
                  <a:lnTo>
                    <a:pt x="3057" y="1016"/>
                  </a:lnTo>
                  <a:lnTo>
                    <a:pt x="3057" y="1016"/>
                  </a:lnTo>
                  <a:lnTo>
                    <a:pt x="3057" y="1016"/>
                  </a:lnTo>
                  <a:close/>
                  <a:moveTo>
                    <a:pt x="2015" y="1033"/>
                  </a:moveTo>
                  <a:lnTo>
                    <a:pt x="2024" y="1033"/>
                  </a:lnTo>
                  <a:lnTo>
                    <a:pt x="2036" y="1016"/>
                  </a:lnTo>
                  <a:lnTo>
                    <a:pt x="2024" y="1049"/>
                  </a:lnTo>
                  <a:lnTo>
                    <a:pt x="2015" y="1033"/>
                  </a:lnTo>
                  <a:lnTo>
                    <a:pt x="2008" y="1044"/>
                  </a:lnTo>
                  <a:lnTo>
                    <a:pt x="2015" y="1033"/>
                  </a:lnTo>
                  <a:lnTo>
                    <a:pt x="2015" y="1033"/>
                  </a:lnTo>
                  <a:lnTo>
                    <a:pt x="2015" y="1033"/>
                  </a:lnTo>
                  <a:close/>
                  <a:moveTo>
                    <a:pt x="1977" y="1049"/>
                  </a:moveTo>
                  <a:lnTo>
                    <a:pt x="1961" y="1044"/>
                  </a:lnTo>
                  <a:lnTo>
                    <a:pt x="1982" y="1033"/>
                  </a:lnTo>
                  <a:lnTo>
                    <a:pt x="1970" y="1028"/>
                  </a:lnTo>
                  <a:lnTo>
                    <a:pt x="1977" y="1028"/>
                  </a:lnTo>
                  <a:lnTo>
                    <a:pt x="1982" y="1028"/>
                  </a:lnTo>
                  <a:lnTo>
                    <a:pt x="1991" y="1033"/>
                  </a:lnTo>
                  <a:lnTo>
                    <a:pt x="1998" y="1016"/>
                  </a:lnTo>
                  <a:lnTo>
                    <a:pt x="2015" y="1028"/>
                  </a:lnTo>
                  <a:lnTo>
                    <a:pt x="1977" y="1049"/>
                  </a:lnTo>
                  <a:lnTo>
                    <a:pt x="1977" y="1049"/>
                  </a:lnTo>
                  <a:lnTo>
                    <a:pt x="1977" y="1049"/>
                  </a:lnTo>
                  <a:close/>
                  <a:moveTo>
                    <a:pt x="2306" y="1016"/>
                  </a:moveTo>
                  <a:lnTo>
                    <a:pt x="2317" y="1028"/>
                  </a:lnTo>
                  <a:lnTo>
                    <a:pt x="2306" y="1028"/>
                  </a:lnTo>
                  <a:lnTo>
                    <a:pt x="2306" y="1016"/>
                  </a:lnTo>
                  <a:lnTo>
                    <a:pt x="2306" y="1016"/>
                  </a:lnTo>
                  <a:lnTo>
                    <a:pt x="2306" y="1016"/>
                  </a:lnTo>
                  <a:close/>
                  <a:moveTo>
                    <a:pt x="1484" y="1016"/>
                  </a:moveTo>
                  <a:lnTo>
                    <a:pt x="1507" y="1033"/>
                  </a:lnTo>
                  <a:lnTo>
                    <a:pt x="1495" y="1066"/>
                  </a:lnTo>
                  <a:lnTo>
                    <a:pt x="1495" y="1073"/>
                  </a:lnTo>
                  <a:lnTo>
                    <a:pt x="1491" y="1073"/>
                  </a:lnTo>
                  <a:lnTo>
                    <a:pt x="1491" y="1066"/>
                  </a:lnTo>
                  <a:lnTo>
                    <a:pt x="1469" y="1073"/>
                  </a:lnTo>
                  <a:lnTo>
                    <a:pt x="1441" y="1066"/>
                  </a:lnTo>
                  <a:lnTo>
                    <a:pt x="1441" y="1056"/>
                  </a:lnTo>
                  <a:lnTo>
                    <a:pt x="1458" y="1056"/>
                  </a:lnTo>
                  <a:lnTo>
                    <a:pt x="1458" y="1033"/>
                  </a:lnTo>
                  <a:lnTo>
                    <a:pt x="1484" y="1016"/>
                  </a:lnTo>
                  <a:lnTo>
                    <a:pt x="1484" y="1016"/>
                  </a:lnTo>
                  <a:lnTo>
                    <a:pt x="1484" y="1016"/>
                  </a:lnTo>
                  <a:close/>
                  <a:moveTo>
                    <a:pt x="1954" y="1028"/>
                  </a:moveTo>
                  <a:lnTo>
                    <a:pt x="1970" y="1028"/>
                  </a:lnTo>
                  <a:lnTo>
                    <a:pt x="1970" y="1033"/>
                  </a:lnTo>
                  <a:lnTo>
                    <a:pt x="1944" y="1033"/>
                  </a:lnTo>
                  <a:lnTo>
                    <a:pt x="1954" y="1028"/>
                  </a:lnTo>
                  <a:lnTo>
                    <a:pt x="1954" y="1028"/>
                  </a:lnTo>
                  <a:lnTo>
                    <a:pt x="1954" y="1028"/>
                  </a:lnTo>
                  <a:close/>
                  <a:moveTo>
                    <a:pt x="2024" y="1106"/>
                  </a:moveTo>
                  <a:lnTo>
                    <a:pt x="2062" y="1089"/>
                  </a:lnTo>
                  <a:lnTo>
                    <a:pt x="2084" y="1073"/>
                  </a:lnTo>
                  <a:lnTo>
                    <a:pt x="2100" y="1049"/>
                  </a:lnTo>
                  <a:lnTo>
                    <a:pt x="2187" y="1033"/>
                  </a:lnTo>
                  <a:lnTo>
                    <a:pt x="2197" y="1044"/>
                  </a:lnTo>
                  <a:lnTo>
                    <a:pt x="2230" y="1028"/>
                  </a:lnTo>
                  <a:lnTo>
                    <a:pt x="2246" y="1033"/>
                  </a:lnTo>
                  <a:lnTo>
                    <a:pt x="2230" y="1056"/>
                  </a:lnTo>
                  <a:lnTo>
                    <a:pt x="2197" y="1066"/>
                  </a:lnTo>
                  <a:lnTo>
                    <a:pt x="2192" y="1073"/>
                  </a:lnTo>
                  <a:lnTo>
                    <a:pt x="2171" y="1082"/>
                  </a:lnTo>
                  <a:lnTo>
                    <a:pt x="2117" y="1099"/>
                  </a:lnTo>
                  <a:lnTo>
                    <a:pt x="2091" y="1111"/>
                  </a:lnTo>
                  <a:lnTo>
                    <a:pt x="2084" y="1127"/>
                  </a:lnTo>
                  <a:lnTo>
                    <a:pt x="2046" y="1160"/>
                  </a:lnTo>
                  <a:lnTo>
                    <a:pt x="2024" y="1160"/>
                  </a:lnTo>
                  <a:lnTo>
                    <a:pt x="2008" y="1177"/>
                  </a:lnTo>
                  <a:lnTo>
                    <a:pt x="1982" y="1177"/>
                  </a:lnTo>
                  <a:lnTo>
                    <a:pt x="1982" y="1165"/>
                  </a:lnTo>
                  <a:lnTo>
                    <a:pt x="1998" y="1160"/>
                  </a:lnTo>
                  <a:lnTo>
                    <a:pt x="1982" y="1155"/>
                  </a:lnTo>
                  <a:lnTo>
                    <a:pt x="1991" y="1127"/>
                  </a:lnTo>
                  <a:lnTo>
                    <a:pt x="2024" y="1106"/>
                  </a:lnTo>
                  <a:lnTo>
                    <a:pt x="2024" y="1106"/>
                  </a:lnTo>
                  <a:lnTo>
                    <a:pt x="2024" y="1106"/>
                  </a:lnTo>
                  <a:close/>
                  <a:moveTo>
                    <a:pt x="1701" y="1033"/>
                  </a:moveTo>
                  <a:lnTo>
                    <a:pt x="1706" y="1049"/>
                  </a:lnTo>
                  <a:lnTo>
                    <a:pt x="1701" y="1049"/>
                  </a:lnTo>
                  <a:lnTo>
                    <a:pt x="1701" y="1056"/>
                  </a:lnTo>
                  <a:lnTo>
                    <a:pt x="1689" y="1056"/>
                  </a:lnTo>
                  <a:lnTo>
                    <a:pt x="1701" y="1033"/>
                  </a:lnTo>
                  <a:lnTo>
                    <a:pt x="1701" y="1033"/>
                  </a:lnTo>
                  <a:lnTo>
                    <a:pt x="1701" y="1033"/>
                  </a:lnTo>
                  <a:close/>
                  <a:moveTo>
                    <a:pt x="1944" y="1049"/>
                  </a:moveTo>
                  <a:lnTo>
                    <a:pt x="1944" y="1044"/>
                  </a:lnTo>
                  <a:lnTo>
                    <a:pt x="1961" y="1044"/>
                  </a:lnTo>
                  <a:lnTo>
                    <a:pt x="1944" y="1049"/>
                  </a:lnTo>
                  <a:lnTo>
                    <a:pt x="1944" y="1049"/>
                  </a:lnTo>
                  <a:lnTo>
                    <a:pt x="1944" y="1049"/>
                  </a:lnTo>
                  <a:close/>
                  <a:moveTo>
                    <a:pt x="1269" y="1044"/>
                  </a:moveTo>
                  <a:lnTo>
                    <a:pt x="1269" y="1033"/>
                  </a:lnTo>
                  <a:lnTo>
                    <a:pt x="1273" y="1044"/>
                  </a:lnTo>
                  <a:lnTo>
                    <a:pt x="1269" y="1044"/>
                  </a:lnTo>
                  <a:lnTo>
                    <a:pt x="1269" y="1044"/>
                  </a:lnTo>
                  <a:lnTo>
                    <a:pt x="1269" y="1044"/>
                  </a:lnTo>
                  <a:close/>
                  <a:moveTo>
                    <a:pt x="1710" y="1056"/>
                  </a:moveTo>
                  <a:lnTo>
                    <a:pt x="1710" y="1066"/>
                  </a:lnTo>
                  <a:lnTo>
                    <a:pt x="1706" y="1066"/>
                  </a:lnTo>
                  <a:lnTo>
                    <a:pt x="1710" y="1049"/>
                  </a:lnTo>
                  <a:lnTo>
                    <a:pt x="1710" y="1056"/>
                  </a:lnTo>
                  <a:lnTo>
                    <a:pt x="1710" y="1056"/>
                  </a:lnTo>
                  <a:lnTo>
                    <a:pt x="1710" y="1056"/>
                  </a:lnTo>
                  <a:close/>
                  <a:moveTo>
                    <a:pt x="1432" y="1066"/>
                  </a:moveTo>
                  <a:lnTo>
                    <a:pt x="1420" y="1056"/>
                  </a:lnTo>
                  <a:lnTo>
                    <a:pt x="1432" y="1056"/>
                  </a:lnTo>
                  <a:lnTo>
                    <a:pt x="1432" y="1066"/>
                  </a:lnTo>
                  <a:lnTo>
                    <a:pt x="1432" y="1066"/>
                  </a:lnTo>
                  <a:lnTo>
                    <a:pt x="1432" y="1066"/>
                  </a:lnTo>
                  <a:close/>
                  <a:moveTo>
                    <a:pt x="1684" y="1139"/>
                  </a:moveTo>
                  <a:lnTo>
                    <a:pt x="1658" y="1122"/>
                  </a:lnTo>
                  <a:lnTo>
                    <a:pt x="1668" y="1111"/>
                  </a:lnTo>
                  <a:lnTo>
                    <a:pt x="1684" y="1106"/>
                  </a:lnTo>
                  <a:lnTo>
                    <a:pt x="1722" y="1106"/>
                  </a:lnTo>
                  <a:lnTo>
                    <a:pt x="1727" y="1099"/>
                  </a:lnTo>
                  <a:lnTo>
                    <a:pt x="1755" y="1111"/>
                  </a:lnTo>
                  <a:lnTo>
                    <a:pt x="1755" y="1127"/>
                  </a:lnTo>
                  <a:lnTo>
                    <a:pt x="1765" y="1122"/>
                  </a:lnTo>
                  <a:lnTo>
                    <a:pt x="1776" y="1127"/>
                  </a:lnTo>
                  <a:lnTo>
                    <a:pt x="1798" y="1160"/>
                  </a:lnTo>
                  <a:lnTo>
                    <a:pt x="1781" y="1165"/>
                  </a:lnTo>
                  <a:lnTo>
                    <a:pt x="1755" y="1165"/>
                  </a:lnTo>
                  <a:lnTo>
                    <a:pt x="1710" y="1139"/>
                  </a:lnTo>
                  <a:lnTo>
                    <a:pt x="1684" y="1139"/>
                  </a:lnTo>
                  <a:lnTo>
                    <a:pt x="1684" y="1139"/>
                  </a:lnTo>
                  <a:lnTo>
                    <a:pt x="1684" y="1139"/>
                  </a:lnTo>
                  <a:close/>
                  <a:moveTo>
                    <a:pt x="1977" y="1160"/>
                  </a:moveTo>
                  <a:lnTo>
                    <a:pt x="1982" y="1165"/>
                  </a:lnTo>
                  <a:lnTo>
                    <a:pt x="1970" y="1177"/>
                  </a:lnTo>
                  <a:lnTo>
                    <a:pt x="1977" y="1160"/>
                  </a:lnTo>
                  <a:lnTo>
                    <a:pt x="1977" y="1160"/>
                  </a:lnTo>
                  <a:lnTo>
                    <a:pt x="1977" y="1160"/>
                  </a:lnTo>
                  <a:close/>
                  <a:moveTo>
                    <a:pt x="1864" y="1193"/>
                  </a:moveTo>
                  <a:lnTo>
                    <a:pt x="1869" y="1181"/>
                  </a:lnTo>
                  <a:lnTo>
                    <a:pt x="1873" y="1181"/>
                  </a:lnTo>
                  <a:lnTo>
                    <a:pt x="1869" y="1193"/>
                  </a:lnTo>
                  <a:lnTo>
                    <a:pt x="1864" y="1193"/>
                  </a:lnTo>
                  <a:lnTo>
                    <a:pt x="1864" y="1193"/>
                  </a:lnTo>
                  <a:lnTo>
                    <a:pt x="1864" y="1193"/>
                  </a:lnTo>
                  <a:close/>
                  <a:moveTo>
                    <a:pt x="1939" y="1210"/>
                  </a:moveTo>
                  <a:lnTo>
                    <a:pt x="1977" y="1181"/>
                  </a:lnTo>
                  <a:lnTo>
                    <a:pt x="1977" y="1200"/>
                  </a:lnTo>
                  <a:lnTo>
                    <a:pt x="1961" y="1210"/>
                  </a:lnTo>
                  <a:lnTo>
                    <a:pt x="1939" y="1217"/>
                  </a:lnTo>
                  <a:lnTo>
                    <a:pt x="1939" y="1210"/>
                  </a:lnTo>
                  <a:lnTo>
                    <a:pt x="1939" y="1210"/>
                  </a:lnTo>
                  <a:lnTo>
                    <a:pt x="1939" y="121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9" name="Freeform 469">
              <a:extLst>
                <a:ext uri="{FF2B5EF4-FFF2-40B4-BE49-F238E27FC236}">
                  <a16:creationId xmlns:a16="http://schemas.microsoft.com/office/drawing/2014/main" id="{335732C3-7F8E-43C1-A78F-491834944335}"/>
                </a:ext>
              </a:extLst>
            </p:cNvPr>
            <p:cNvSpPr>
              <a:spLocks noEditPoints="1"/>
            </p:cNvSpPr>
            <p:nvPr/>
          </p:nvSpPr>
          <p:spPr bwMode="gray">
            <a:xfrm>
              <a:off x="8691549" y="2966603"/>
              <a:ext cx="843924" cy="897542"/>
            </a:xfrm>
            <a:custGeom>
              <a:avLst/>
              <a:gdLst>
                <a:gd name="T0" fmla="*/ 1634 w 2050"/>
                <a:gd name="T1" fmla="*/ 959 h 2180"/>
                <a:gd name="T2" fmla="*/ 1701 w 2050"/>
                <a:gd name="T3" fmla="*/ 839 h 2180"/>
                <a:gd name="T4" fmla="*/ 1507 w 2050"/>
                <a:gd name="T5" fmla="*/ 756 h 2180"/>
                <a:gd name="T6" fmla="*/ 1419 w 2050"/>
                <a:gd name="T7" fmla="*/ 711 h 2180"/>
                <a:gd name="T8" fmla="*/ 1469 w 2050"/>
                <a:gd name="T9" fmla="*/ 810 h 2180"/>
                <a:gd name="T10" fmla="*/ 1441 w 2050"/>
                <a:gd name="T11" fmla="*/ 876 h 2180"/>
                <a:gd name="T12" fmla="*/ 1474 w 2050"/>
                <a:gd name="T13" fmla="*/ 1049 h 2180"/>
                <a:gd name="T14" fmla="*/ 1431 w 2050"/>
                <a:gd name="T15" fmla="*/ 1094 h 2180"/>
                <a:gd name="T16" fmla="*/ 1386 w 2050"/>
                <a:gd name="T17" fmla="*/ 1020 h 2180"/>
                <a:gd name="T18" fmla="*/ 1327 w 2050"/>
                <a:gd name="T19" fmla="*/ 1160 h 2180"/>
                <a:gd name="T20" fmla="*/ 1219 w 2050"/>
                <a:gd name="T21" fmla="*/ 1238 h 2180"/>
                <a:gd name="T22" fmla="*/ 1171 w 2050"/>
                <a:gd name="T23" fmla="*/ 1276 h 2180"/>
                <a:gd name="T24" fmla="*/ 954 w 2050"/>
                <a:gd name="T25" fmla="*/ 1481 h 2180"/>
                <a:gd name="T26" fmla="*/ 848 w 2050"/>
                <a:gd name="T27" fmla="*/ 1609 h 2180"/>
                <a:gd name="T28" fmla="*/ 827 w 2050"/>
                <a:gd name="T29" fmla="*/ 1864 h 2180"/>
                <a:gd name="T30" fmla="*/ 765 w 2050"/>
                <a:gd name="T31" fmla="*/ 1998 h 2180"/>
                <a:gd name="T32" fmla="*/ 593 w 2050"/>
                <a:gd name="T33" fmla="*/ 2020 h 2180"/>
                <a:gd name="T34" fmla="*/ 534 w 2050"/>
                <a:gd name="T35" fmla="*/ 1835 h 2180"/>
                <a:gd name="T36" fmla="*/ 404 w 2050"/>
                <a:gd name="T37" fmla="*/ 1547 h 2180"/>
                <a:gd name="T38" fmla="*/ 340 w 2050"/>
                <a:gd name="T39" fmla="*/ 1292 h 2180"/>
                <a:gd name="T40" fmla="*/ 340 w 2050"/>
                <a:gd name="T41" fmla="*/ 1148 h 2180"/>
                <a:gd name="T42" fmla="*/ 356 w 2050"/>
                <a:gd name="T43" fmla="*/ 1077 h 2180"/>
                <a:gd name="T44" fmla="*/ 286 w 2050"/>
                <a:gd name="T45" fmla="*/ 1037 h 2180"/>
                <a:gd name="T46" fmla="*/ 297 w 2050"/>
                <a:gd name="T47" fmla="*/ 1087 h 2180"/>
                <a:gd name="T48" fmla="*/ 172 w 2050"/>
                <a:gd name="T49" fmla="*/ 983 h 2180"/>
                <a:gd name="T50" fmla="*/ 26 w 2050"/>
                <a:gd name="T51" fmla="*/ 933 h 2180"/>
                <a:gd name="T52" fmla="*/ 64 w 2050"/>
                <a:gd name="T53" fmla="*/ 888 h 2180"/>
                <a:gd name="T54" fmla="*/ 198 w 2050"/>
                <a:gd name="T55" fmla="*/ 872 h 2180"/>
                <a:gd name="T56" fmla="*/ 125 w 2050"/>
                <a:gd name="T57" fmla="*/ 704 h 2180"/>
                <a:gd name="T58" fmla="*/ 286 w 2050"/>
                <a:gd name="T59" fmla="*/ 560 h 2180"/>
                <a:gd name="T60" fmla="*/ 458 w 2050"/>
                <a:gd name="T61" fmla="*/ 354 h 2180"/>
                <a:gd name="T62" fmla="*/ 486 w 2050"/>
                <a:gd name="T63" fmla="*/ 243 h 2180"/>
                <a:gd name="T64" fmla="*/ 411 w 2050"/>
                <a:gd name="T65" fmla="*/ 111 h 2180"/>
                <a:gd name="T66" fmla="*/ 621 w 2050"/>
                <a:gd name="T67" fmla="*/ 61 h 2180"/>
                <a:gd name="T68" fmla="*/ 751 w 2050"/>
                <a:gd name="T69" fmla="*/ 111 h 2180"/>
                <a:gd name="T70" fmla="*/ 751 w 2050"/>
                <a:gd name="T71" fmla="*/ 243 h 2180"/>
                <a:gd name="T72" fmla="*/ 756 w 2050"/>
                <a:gd name="T73" fmla="*/ 338 h 2180"/>
                <a:gd name="T74" fmla="*/ 864 w 2050"/>
                <a:gd name="T75" fmla="*/ 477 h 2180"/>
                <a:gd name="T76" fmla="*/ 982 w 2050"/>
                <a:gd name="T77" fmla="*/ 600 h 2180"/>
                <a:gd name="T78" fmla="*/ 1129 w 2050"/>
                <a:gd name="T79" fmla="*/ 633 h 2180"/>
                <a:gd name="T80" fmla="*/ 1327 w 2050"/>
                <a:gd name="T81" fmla="*/ 711 h 2180"/>
                <a:gd name="T82" fmla="*/ 1403 w 2050"/>
                <a:gd name="T83" fmla="*/ 600 h 2180"/>
                <a:gd name="T84" fmla="*/ 1474 w 2050"/>
                <a:gd name="T85" fmla="*/ 687 h 2180"/>
                <a:gd name="T86" fmla="*/ 1684 w 2050"/>
                <a:gd name="T87" fmla="*/ 683 h 2180"/>
                <a:gd name="T88" fmla="*/ 1710 w 2050"/>
                <a:gd name="T89" fmla="*/ 609 h 2180"/>
                <a:gd name="T90" fmla="*/ 1916 w 2050"/>
                <a:gd name="T91" fmla="*/ 517 h 2180"/>
                <a:gd name="T92" fmla="*/ 1982 w 2050"/>
                <a:gd name="T93" fmla="*/ 555 h 2180"/>
                <a:gd name="T94" fmla="*/ 2024 w 2050"/>
                <a:gd name="T95" fmla="*/ 654 h 2180"/>
                <a:gd name="T96" fmla="*/ 1861 w 2050"/>
                <a:gd name="T97" fmla="*/ 810 h 2180"/>
                <a:gd name="T98" fmla="*/ 1764 w 2050"/>
                <a:gd name="T99" fmla="*/ 983 h 2180"/>
                <a:gd name="T100" fmla="*/ 1705 w 2050"/>
                <a:gd name="T101" fmla="*/ 983 h 2180"/>
                <a:gd name="T102" fmla="*/ 1441 w 2050"/>
                <a:gd name="T103" fmla="*/ 1070 h 2180"/>
                <a:gd name="T104" fmla="*/ 1743 w 2050"/>
                <a:gd name="T105" fmla="*/ 1687 h 2180"/>
                <a:gd name="T106" fmla="*/ 1727 w 2050"/>
                <a:gd name="T107" fmla="*/ 1743 h 2180"/>
                <a:gd name="T108" fmla="*/ 1727 w 2050"/>
                <a:gd name="T109" fmla="*/ 1776 h 2180"/>
                <a:gd name="T110" fmla="*/ 1727 w 2050"/>
                <a:gd name="T111" fmla="*/ 1793 h 2180"/>
                <a:gd name="T112" fmla="*/ 1701 w 2050"/>
                <a:gd name="T113" fmla="*/ 1831 h 2180"/>
                <a:gd name="T114" fmla="*/ 1722 w 2050"/>
                <a:gd name="T115" fmla="*/ 1847 h 2180"/>
                <a:gd name="T116" fmla="*/ 1710 w 2050"/>
                <a:gd name="T117" fmla="*/ 1887 h 2180"/>
                <a:gd name="T118" fmla="*/ 1755 w 2050"/>
                <a:gd name="T119" fmla="*/ 2069 h 2180"/>
                <a:gd name="T120" fmla="*/ 1776 w 2050"/>
                <a:gd name="T121" fmla="*/ 2091 h 2180"/>
                <a:gd name="T122" fmla="*/ 1793 w 2050"/>
                <a:gd name="T123" fmla="*/ 2091 h 2180"/>
                <a:gd name="T124" fmla="*/ 1814 w 2050"/>
                <a:gd name="T125" fmla="*/ 2164 h 2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50" h="2180">
                  <a:moveTo>
                    <a:pt x="1701" y="926"/>
                  </a:moveTo>
                  <a:lnTo>
                    <a:pt x="1684" y="933"/>
                  </a:lnTo>
                  <a:lnTo>
                    <a:pt x="1672" y="926"/>
                  </a:lnTo>
                  <a:lnTo>
                    <a:pt x="1672" y="943"/>
                  </a:lnTo>
                  <a:lnTo>
                    <a:pt x="1656" y="959"/>
                  </a:lnTo>
                  <a:lnTo>
                    <a:pt x="1667" y="976"/>
                  </a:lnTo>
                  <a:lnTo>
                    <a:pt x="1656" y="983"/>
                  </a:lnTo>
                  <a:lnTo>
                    <a:pt x="1646" y="983"/>
                  </a:lnTo>
                  <a:lnTo>
                    <a:pt x="1634" y="959"/>
                  </a:lnTo>
                  <a:lnTo>
                    <a:pt x="1634" y="976"/>
                  </a:lnTo>
                  <a:lnTo>
                    <a:pt x="1630" y="976"/>
                  </a:lnTo>
                  <a:lnTo>
                    <a:pt x="1618" y="933"/>
                  </a:lnTo>
                  <a:lnTo>
                    <a:pt x="1630" y="909"/>
                  </a:lnTo>
                  <a:lnTo>
                    <a:pt x="1634" y="893"/>
                  </a:lnTo>
                  <a:lnTo>
                    <a:pt x="1667" y="893"/>
                  </a:lnTo>
                  <a:lnTo>
                    <a:pt x="1672" y="876"/>
                  </a:lnTo>
                  <a:lnTo>
                    <a:pt x="1689" y="872"/>
                  </a:lnTo>
                  <a:lnTo>
                    <a:pt x="1701" y="839"/>
                  </a:lnTo>
                  <a:lnTo>
                    <a:pt x="1710" y="839"/>
                  </a:lnTo>
                  <a:lnTo>
                    <a:pt x="1705" y="822"/>
                  </a:lnTo>
                  <a:lnTo>
                    <a:pt x="1684" y="815"/>
                  </a:lnTo>
                  <a:lnTo>
                    <a:pt x="1566" y="815"/>
                  </a:lnTo>
                  <a:lnTo>
                    <a:pt x="1528" y="810"/>
                  </a:lnTo>
                  <a:lnTo>
                    <a:pt x="1528" y="761"/>
                  </a:lnTo>
                  <a:lnTo>
                    <a:pt x="1521" y="737"/>
                  </a:lnTo>
                  <a:lnTo>
                    <a:pt x="1512" y="737"/>
                  </a:lnTo>
                  <a:lnTo>
                    <a:pt x="1507" y="756"/>
                  </a:lnTo>
                  <a:lnTo>
                    <a:pt x="1490" y="756"/>
                  </a:lnTo>
                  <a:lnTo>
                    <a:pt x="1474" y="737"/>
                  </a:lnTo>
                  <a:lnTo>
                    <a:pt x="1474" y="721"/>
                  </a:lnTo>
                  <a:lnTo>
                    <a:pt x="1469" y="721"/>
                  </a:lnTo>
                  <a:lnTo>
                    <a:pt x="1457" y="721"/>
                  </a:lnTo>
                  <a:lnTo>
                    <a:pt x="1474" y="728"/>
                  </a:lnTo>
                  <a:lnTo>
                    <a:pt x="1457" y="737"/>
                  </a:lnTo>
                  <a:lnTo>
                    <a:pt x="1431" y="704"/>
                  </a:lnTo>
                  <a:lnTo>
                    <a:pt x="1419" y="711"/>
                  </a:lnTo>
                  <a:lnTo>
                    <a:pt x="1431" y="711"/>
                  </a:lnTo>
                  <a:lnTo>
                    <a:pt x="1436" y="721"/>
                  </a:lnTo>
                  <a:lnTo>
                    <a:pt x="1415" y="737"/>
                  </a:lnTo>
                  <a:lnTo>
                    <a:pt x="1403" y="761"/>
                  </a:lnTo>
                  <a:lnTo>
                    <a:pt x="1419" y="765"/>
                  </a:lnTo>
                  <a:lnTo>
                    <a:pt x="1436" y="794"/>
                  </a:lnTo>
                  <a:lnTo>
                    <a:pt x="1453" y="794"/>
                  </a:lnTo>
                  <a:lnTo>
                    <a:pt x="1457" y="798"/>
                  </a:lnTo>
                  <a:lnTo>
                    <a:pt x="1469" y="810"/>
                  </a:lnTo>
                  <a:lnTo>
                    <a:pt x="1469" y="815"/>
                  </a:lnTo>
                  <a:lnTo>
                    <a:pt x="1431" y="815"/>
                  </a:lnTo>
                  <a:lnTo>
                    <a:pt x="1419" y="839"/>
                  </a:lnTo>
                  <a:lnTo>
                    <a:pt x="1403" y="832"/>
                  </a:lnTo>
                  <a:lnTo>
                    <a:pt x="1415" y="839"/>
                  </a:lnTo>
                  <a:lnTo>
                    <a:pt x="1398" y="855"/>
                  </a:lnTo>
                  <a:lnTo>
                    <a:pt x="1403" y="865"/>
                  </a:lnTo>
                  <a:lnTo>
                    <a:pt x="1436" y="876"/>
                  </a:lnTo>
                  <a:lnTo>
                    <a:pt x="1441" y="876"/>
                  </a:lnTo>
                  <a:lnTo>
                    <a:pt x="1453" y="888"/>
                  </a:lnTo>
                  <a:lnTo>
                    <a:pt x="1453" y="909"/>
                  </a:lnTo>
                  <a:lnTo>
                    <a:pt x="1436" y="921"/>
                  </a:lnTo>
                  <a:lnTo>
                    <a:pt x="1436" y="933"/>
                  </a:lnTo>
                  <a:lnTo>
                    <a:pt x="1453" y="943"/>
                  </a:lnTo>
                  <a:lnTo>
                    <a:pt x="1453" y="959"/>
                  </a:lnTo>
                  <a:lnTo>
                    <a:pt x="1469" y="966"/>
                  </a:lnTo>
                  <a:lnTo>
                    <a:pt x="1457" y="983"/>
                  </a:lnTo>
                  <a:lnTo>
                    <a:pt x="1474" y="1049"/>
                  </a:lnTo>
                  <a:lnTo>
                    <a:pt x="1469" y="1061"/>
                  </a:lnTo>
                  <a:lnTo>
                    <a:pt x="1474" y="1087"/>
                  </a:lnTo>
                  <a:lnTo>
                    <a:pt x="1441" y="1094"/>
                  </a:lnTo>
                  <a:lnTo>
                    <a:pt x="1453" y="1054"/>
                  </a:lnTo>
                  <a:lnTo>
                    <a:pt x="1441" y="1054"/>
                  </a:lnTo>
                  <a:lnTo>
                    <a:pt x="1441" y="1061"/>
                  </a:lnTo>
                  <a:lnTo>
                    <a:pt x="1441" y="1037"/>
                  </a:lnTo>
                  <a:lnTo>
                    <a:pt x="1436" y="1094"/>
                  </a:lnTo>
                  <a:lnTo>
                    <a:pt x="1431" y="1094"/>
                  </a:lnTo>
                  <a:lnTo>
                    <a:pt x="1436" y="1061"/>
                  </a:lnTo>
                  <a:lnTo>
                    <a:pt x="1431" y="1087"/>
                  </a:lnTo>
                  <a:lnTo>
                    <a:pt x="1419" y="1087"/>
                  </a:lnTo>
                  <a:lnTo>
                    <a:pt x="1415" y="1070"/>
                  </a:lnTo>
                  <a:lnTo>
                    <a:pt x="1415" y="1094"/>
                  </a:lnTo>
                  <a:lnTo>
                    <a:pt x="1403" y="1061"/>
                  </a:lnTo>
                  <a:lnTo>
                    <a:pt x="1415" y="1049"/>
                  </a:lnTo>
                  <a:lnTo>
                    <a:pt x="1398" y="1037"/>
                  </a:lnTo>
                  <a:lnTo>
                    <a:pt x="1386" y="1020"/>
                  </a:lnTo>
                  <a:lnTo>
                    <a:pt x="1398" y="1037"/>
                  </a:lnTo>
                  <a:lnTo>
                    <a:pt x="1415" y="1054"/>
                  </a:lnTo>
                  <a:lnTo>
                    <a:pt x="1382" y="1077"/>
                  </a:lnTo>
                  <a:lnTo>
                    <a:pt x="1344" y="1094"/>
                  </a:lnTo>
                  <a:lnTo>
                    <a:pt x="1327" y="1103"/>
                  </a:lnTo>
                  <a:lnTo>
                    <a:pt x="1311" y="1115"/>
                  </a:lnTo>
                  <a:lnTo>
                    <a:pt x="1327" y="1148"/>
                  </a:lnTo>
                  <a:lnTo>
                    <a:pt x="1323" y="1148"/>
                  </a:lnTo>
                  <a:lnTo>
                    <a:pt x="1327" y="1160"/>
                  </a:lnTo>
                  <a:lnTo>
                    <a:pt x="1311" y="1172"/>
                  </a:lnTo>
                  <a:lnTo>
                    <a:pt x="1306" y="1181"/>
                  </a:lnTo>
                  <a:lnTo>
                    <a:pt x="1311" y="1172"/>
                  </a:lnTo>
                  <a:lnTo>
                    <a:pt x="1311" y="1181"/>
                  </a:lnTo>
                  <a:lnTo>
                    <a:pt x="1290" y="1198"/>
                  </a:lnTo>
                  <a:lnTo>
                    <a:pt x="1290" y="1214"/>
                  </a:lnTo>
                  <a:lnTo>
                    <a:pt x="1273" y="1205"/>
                  </a:lnTo>
                  <a:lnTo>
                    <a:pt x="1280" y="1214"/>
                  </a:lnTo>
                  <a:lnTo>
                    <a:pt x="1219" y="1238"/>
                  </a:lnTo>
                  <a:lnTo>
                    <a:pt x="1226" y="1221"/>
                  </a:lnTo>
                  <a:lnTo>
                    <a:pt x="1219" y="1214"/>
                  </a:lnTo>
                  <a:lnTo>
                    <a:pt x="1205" y="1226"/>
                  </a:lnTo>
                  <a:lnTo>
                    <a:pt x="1197" y="1243"/>
                  </a:lnTo>
                  <a:lnTo>
                    <a:pt x="1205" y="1238"/>
                  </a:lnTo>
                  <a:lnTo>
                    <a:pt x="1214" y="1226"/>
                  </a:lnTo>
                  <a:lnTo>
                    <a:pt x="1214" y="1238"/>
                  </a:lnTo>
                  <a:lnTo>
                    <a:pt x="1167" y="1276"/>
                  </a:lnTo>
                  <a:lnTo>
                    <a:pt x="1171" y="1276"/>
                  </a:lnTo>
                  <a:lnTo>
                    <a:pt x="1167" y="1283"/>
                  </a:lnTo>
                  <a:lnTo>
                    <a:pt x="1129" y="1332"/>
                  </a:lnTo>
                  <a:lnTo>
                    <a:pt x="1091" y="1354"/>
                  </a:lnTo>
                  <a:lnTo>
                    <a:pt x="1063" y="1387"/>
                  </a:lnTo>
                  <a:lnTo>
                    <a:pt x="1004" y="1427"/>
                  </a:lnTo>
                  <a:lnTo>
                    <a:pt x="999" y="1436"/>
                  </a:lnTo>
                  <a:lnTo>
                    <a:pt x="1004" y="1443"/>
                  </a:lnTo>
                  <a:lnTo>
                    <a:pt x="999" y="1460"/>
                  </a:lnTo>
                  <a:lnTo>
                    <a:pt x="954" y="1481"/>
                  </a:lnTo>
                  <a:lnTo>
                    <a:pt x="928" y="1481"/>
                  </a:lnTo>
                  <a:lnTo>
                    <a:pt x="912" y="1521"/>
                  </a:lnTo>
                  <a:lnTo>
                    <a:pt x="895" y="1514"/>
                  </a:lnTo>
                  <a:lnTo>
                    <a:pt x="895" y="1505"/>
                  </a:lnTo>
                  <a:lnTo>
                    <a:pt x="895" y="1521"/>
                  </a:lnTo>
                  <a:lnTo>
                    <a:pt x="890" y="1514"/>
                  </a:lnTo>
                  <a:lnTo>
                    <a:pt x="857" y="1531"/>
                  </a:lnTo>
                  <a:lnTo>
                    <a:pt x="841" y="1576"/>
                  </a:lnTo>
                  <a:lnTo>
                    <a:pt x="848" y="1609"/>
                  </a:lnTo>
                  <a:lnTo>
                    <a:pt x="841" y="1642"/>
                  </a:lnTo>
                  <a:lnTo>
                    <a:pt x="857" y="1698"/>
                  </a:lnTo>
                  <a:lnTo>
                    <a:pt x="848" y="1670"/>
                  </a:lnTo>
                  <a:lnTo>
                    <a:pt x="841" y="1682"/>
                  </a:lnTo>
                  <a:lnTo>
                    <a:pt x="857" y="1703"/>
                  </a:lnTo>
                  <a:lnTo>
                    <a:pt x="848" y="1769"/>
                  </a:lnTo>
                  <a:lnTo>
                    <a:pt x="827" y="1798"/>
                  </a:lnTo>
                  <a:lnTo>
                    <a:pt x="819" y="1826"/>
                  </a:lnTo>
                  <a:lnTo>
                    <a:pt x="827" y="1864"/>
                  </a:lnTo>
                  <a:lnTo>
                    <a:pt x="827" y="1925"/>
                  </a:lnTo>
                  <a:lnTo>
                    <a:pt x="789" y="1925"/>
                  </a:lnTo>
                  <a:lnTo>
                    <a:pt x="782" y="1942"/>
                  </a:lnTo>
                  <a:lnTo>
                    <a:pt x="756" y="1980"/>
                  </a:lnTo>
                  <a:lnTo>
                    <a:pt x="765" y="1998"/>
                  </a:lnTo>
                  <a:lnTo>
                    <a:pt x="789" y="1998"/>
                  </a:lnTo>
                  <a:lnTo>
                    <a:pt x="793" y="2003"/>
                  </a:lnTo>
                  <a:lnTo>
                    <a:pt x="789" y="1998"/>
                  </a:lnTo>
                  <a:lnTo>
                    <a:pt x="765" y="1998"/>
                  </a:lnTo>
                  <a:lnTo>
                    <a:pt x="727" y="2015"/>
                  </a:lnTo>
                  <a:lnTo>
                    <a:pt x="713" y="2020"/>
                  </a:lnTo>
                  <a:lnTo>
                    <a:pt x="701" y="2057"/>
                  </a:lnTo>
                  <a:lnTo>
                    <a:pt x="664" y="2086"/>
                  </a:lnTo>
                  <a:lnTo>
                    <a:pt x="647" y="2086"/>
                  </a:lnTo>
                  <a:lnTo>
                    <a:pt x="626" y="2057"/>
                  </a:lnTo>
                  <a:lnTo>
                    <a:pt x="593" y="2031"/>
                  </a:lnTo>
                  <a:lnTo>
                    <a:pt x="605" y="2020"/>
                  </a:lnTo>
                  <a:lnTo>
                    <a:pt x="593" y="2020"/>
                  </a:lnTo>
                  <a:lnTo>
                    <a:pt x="576" y="1998"/>
                  </a:lnTo>
                  <a:lnTo>
                    <a:pt x="571" y="1946"/>
                  </a:lnTo>
                  <a:lnTo>
                    <a:pt x="576" y="1958"/>
                  </a:lnTo>
                  <a:lnTo>
                    <a:pt x="576" y="1980"/>
                  </a:lnTo>
                  <a:lnTo>
                    <a:pt x="588" y="1980"/>
                  </a:lnTo>
                  <a:lnTo>
                    <a:pt x="571" y="1937"/>
                  </a:lnTo>
                  <a:lnTo>
                    <a:pt x="571" y="1946"/>
                  </a:lnTo>
                  <a:lnTo>
                    <a:pt x="571" y="1942"/>
                  </a:lnTo>
                  <a:lnTo>
                    <a:pt x="534" y="1835"/>
                  </a:lnTo>
                  <a:lnTo>
                    <a:pt x="501" y="1798"/>
                  </a:lnTo>
                  <a:lnTo>
                    <a:pt x="470" y="1736"/>
                  </a:lnTo>
                  <a:lnTo>
                    <a:pt x="442" y="1616"/>
                  </a:lnTo>
                  <a:lnTo>
                    <a:pt x="442" y="1609"/>
                  </a:lnTo>
                  <a:lnTo>
                    <a:pt x="432" y="1616"/>
                  </a:lnTo>
                  <a:lnTo>
                    <a:pt x="432" y="1604"/>
                  </a:lnTo>
                  <a:lnTo>
                    <a:pt x="425" y="1592"/>
                  </a:lnTo>
                  <a:lnTo>
                    <a:pt x="411" y="1554"/>
                  </a:lnTo>
                  <a:lnTo>
                    <a:pt x="404" y="1547"/>
                  </a:lnTo>
                  <a:lnTo>
                    <a:pt x="411" y="1554"/>
                  </a:lnTo>
                  <a:lnTo>
                    <a:pt x="404" y="1547"/>
                  </a:lnTo>
                  <a:lnTo>
                    <a:pt x="378" y="1498"/>
                  </a:lnTo>
                  <a:lnTo>
                    <a:pt x="361" y="1427"/>
                  </a:lnTo>
                  <a:lnTo>
                    <a:pt x="335" y="1309"/>
                  </a:lnTo>
                  <a:lnTo>
                    <a:pt x="335" y="1299"/>
                  </a:lnTo>
                  <a:lnTo>
                    <a:pt x="340" y="1299"/>
                  </a:lnTo>
                  <a:lnTo>
                    <a:pt x="349" y="1299"/>
                  </a:lnTo>
                  <a:lnTo>
                    <a:pt x="340" y="1292"/>
                  </a:lnTo>
                  <a:lnTo>
                    <a:pt x="349" y="1283"/>
                  </a:lnTo>
                  <a:lnTo>
                    <a:pt x="340" y="1276"/>
                  </a:lnTo>
                  <a:lnTo>
                    <a:pt x="335" y="1292"/>
                  </a:lnTo>
                  <a:lnTo>
                    <a:pt x="335" y="1283"/>
                  </a:lnTo>
                  <a:lnTo>
                    <a:pt x="335" y="1259"/>
                  </a:lnTo>
                  <a:lnTo>
                    <a:pt x="349" y="1271"/>
                  </a:lnTo>
                  <a:lnTo>
                    <a:pt x="323" y="1254"/>
                  </a:lnTo>
                  <a:lnTo>
                    <a:pt x="323" y="1221"/>
                  </a:lnTo>
                  <a:lnTo>
                    <a:pt x="340" y="1148"/>
                  </a:lnTo>
                  <a:lnTo>
                    <a:pt x="335" y="1143"/>
                  </a:lnTo>
                  <a:lnTo>
                    <a:pt x="335" y="1127"/>
                  </a:lnTo>
                  <a:lnTo>
                    <a:pt x="319" y="1127"/>
                  </a:lnTo>
                  <a:lnTo>
                    <a:pt x="323" y="1115"/>
                  </a:lnTo>
                  <a:lnTo>
                    <a:pt x="319" y="1103"/>
                  </a:lnTo>
                  <a:lnTo>
                    <a:pt x="323" y="1103"/>
                  </a:lnTo>
                  <a:lnTo>
                    <a:pt x="319" y="1103"/>
                  </a:lnTo>
                  <a:lnTo>
                    <a:pt x="335" y="1087"/>
                  </a:lnTo>
                  <a:lnTo>
                    <a:pt x="356" y="1077"/>
                  </a:lnTo>
                  <a:lnTo>
                    <a:pt x="307" y="1087"/>
                  </a:lnTo>
                  <a:lnTo>
                    <a:pt x="319" y="1070"/>
                  </a:lnTo>
                  <a:lnTo>
                    <a:pt x="323" y="1061"/>
                  </a:lnTo>
                  <a:lnTo>
                    <a:pt x="319" y="1061"/>
                  </a:lnTo>
                  <a:lnTo>
                    <a:pt x="307" y="1061"/>
                  </a:lnTo>
                  <a:lnTo>
                    <a:pt x="319" y="1049"/>
                  </a:lnTo>
                  <a:lnTo>
                    <a:pt x="323" y="1049"/>
                  </a:lnTo>
                  <a:lnTo>
                    <a:pt x="340" y="1037"/>
                  </a:lnTo>
                  <a:lnTo>
                    <a:pt x="286" y="1037"/>
                  </a:lnTo>
                  <a:lnTo>
                    <a:pt x="302" y="1049"/>
                  </a:lnTo>
                  <a:lnTo>
                    <a:pt x="297" y="1054"/>
                  </a:lnTo>
                  <a:lnTo>
                    <a:pt x="281" y="1061"/>
                  </a:lnTo>
                  <a:lnTo>
                    <a:pt x="286" y="1061"/>
                  </a:lnTo>
                  <a:lnTo>
                    <a:pt x="286" y="1070"/>
                  </a:lnTo>
                  <a:lnTo>
                    <a:pt x="281" y="1070"/>
                  </a:lnTo>
                  <a:lnTo>
                    <a:pt x="281" y="1077"/>
                  </a:lnTo>
                  <a:lnTo>
                    <a:pt x="286" y="1070"/>
                  </a:lnTo>
                  <a:lnTo>
                    <a:pt x="297" y="1087"/>
                  </a:lnTo>
                  <a:lnTo>
                    <a:pt x="286" y="1115"/>
                  </a:lnTo>
                  <a:lnTo>
                    <a:pt x="243" y="1143"/>
                  </a:lnTo>
                  <a:lnTo>
                    <a:pt x="193" y="1160"/>
                  </a:lnTo>
                  <a:lnTo>
                    <a:pt x="139" y="1127"/>
                  </a:lnTo>
                  <a:lnTo>
                    <a:pt x="64" y="1037"/>
                  </a:lnTo>
                  <a:lnTo>
                    <a:pt x="71" y="1020"/>
                  </a:lnTo>
                  <a:lnTo>
                    <a:pt x="80" y="1037"/>
                  </a:lnTo>
                  <a:lnTo>
                    <a:pt x="146" y="1016"/>
                  </a:lnTo>
                  <a:lnTo>
                    <a:pt x="172" y="983"/>
                  </a:lnTo>
                  <a:lnTo>
                    <a:pt x="172" y="976"/>
                  </a:lnTo>
                  <a:lnTo>
                    <a:pt x="163" y="976"/>
                  </a:lnTo>
                  <a:lnTo>
                    <a:pt x="163" y="983"/>
                  </a:lnTo>
                  <a:lnTo>
                    <a:pt x="125" y="987"/>
                  </a:lnTo>
                  <a:lnTo>
                    <a:pt x="118" y="999"/>
                  </a:lnTo>
                  <a:lnTo>
                    <a:pt x="80" y="987"/>
                  </a:lnTo>
                  <a:lnTo>
                    <a:pt x="38" y="966"/>
                  </a:lnTo>
                  <a:lnTo>
                    <a:pt x="26" y="950"/>
                  </a:lnTo>
                  <a:lnTo>
                    <a:pt x="26" y="933"/>
                  </a:lnTo>
                  <a:lnTo>
                    <a:pt x="49" y="921"/>
                  </a:lnTo>
                  <a:lnTo>
                    <a:pt x="26" y="926"/>
                  </a:lnTo>
                  <a:lnTo>
                    <a:pt x="16" y="933"/>
                  </a:lnTo>
                  <a:lnTo>
                    <a:pt x="0" y="933"/>
                  </a:lnTo>
                  <a:lnTo>
                    <a:pt x="12" y="921"/>
                  </a:lnTo>
                  <a:lnTo>
                    <a:pt x="16" y="909"/>
                  </a:lnTo>
                  <a:lnTo>
                    <a:pt x="49" y="909"/>
                  </a:lnTo>
                  <a:lnTo>
                    <a:pt x="49" y="876"/>
                  </a:lnTo>
                  <a:lnTo>
                    <a:pt x="64" y="888"/>
                  </a:lnTo>
                  <a:lnTo>
                    <a:pt x="108" y="888"/>
                  </a:lnTo>
                  <a:lnTo>
                    <a:pt x="118" y="893"/>
                  </a:lnTo>
                  <a:lnTo>
                    <a:pt x="134" y="893"/>
                  </a:lnTo>
                  <a:lnTo>
                    <a:pt x="139" y="876"/>
                  </a:lnTo>
                  <a:lnTo>
                    <a:pt x="172" y="872"/>
                  </a:lnTo>
                  <a:lnTo>
                    <a:pt x="177" y="888"/>
                  </a:lnTo>
                  <a:lnTo>
                    <a:pt x="189" y="888"/>
                  </a:lnTo>
                  <a:lnTo>
                    <a:pt x="210" y="872"/>
                  </a:lnTo>
                  <a:lnTo>
                    <a:pt x="198" y="872"/>
                  </a:lnTo>
                  <a:lnTo>
                    <a:pt x="198" y="855"/>
                  </a:lnTo>
                  <a:lnTo>
                    <a:pt x="210" y="855"/>
                  </a:lnTo>
                  <a:lnTo>
                    <a:pt x="193" y="815"/>
                  </a:lnTo>
                  <a:lnTo>
                    <a:pt x="189" y="798"/>
                  </a:lnTo>
                  <a:lnTo>
                    <a:pt x="177" y="777"/>
                  </a:lnTo>
                  <a:lnTo>
                    <a:pt x="156" y="777"/>
                  </a:lnTo>
                  <a:lnTo>
                    <a:pt x="139" y="756"/>
                  </a:lnTo>
                  <a:lnTo>
                    <a:pt x="146" y="711"/>
                  </a:lnTo>
                  <a:lnTo>
                    <a:pt x="125" y="704"/>
                  </a:lnTo>
                  <a:lnTo>
                    <a:pt x="101" y="699"/>
                  </a:lnTo>
                  <a:lnTo>
                    <a:pt x="108" y="654"/>
                  </a:lnTo>
                  <a:lnTo>
                    <a:pt x="163" y="593"/>
                  </a:lnTo>
                  <a:lnTo>
                    <a:pt x="177" y="593"/>
                  </a:lnTo>
                  <a:lnTo>
                    <a:pt x="189" y="617"/>
                  </a:lnTo>
                  <a:lnTo>
                    <a:pt x="193" y="617"/>
                  </a:lnTo>
                  <a:lnTo>
                    <a:pt x="269" y="600"/>
                  </a:lnTo>
                  <a:lnTo>
                    <a:pt x="269" y="588"/>
                  </a:lnTo>
                  <a:lnTo>
                    <a:pt x="286" y="560"/>
                  </a:lnTo>
                  <a:lnTo>
                    <a:pt x="302" y="539"/>
                  </a:lnTo>
                  <a:lnTo>
                    <a:pt x="340" y="517"/>
                  </a:lnTo>
                  <a:lnTo>
                    <a:pt x="373" y="444"/>
                  </a:lnTo>
                  <a:lnTo>
                    <a:pt x="411" y="428"/>
                  </a:lnTo>
                  <a:lnTo>
                    <a:pt x="411" y="411"/>
                  </a:lnTo>
                  <a:lnTo>
                    <a:pt x="442" y="371"/>
                  </a:lnTo>
                  <a:lnTo>
                    <a:pt x="463" y="354"/>
                  </a:lnTo>
                  <a:lnTo>
                    <a:pt x="458" y="350"/>
                  </a:lnTo>
                  <a:lnTo>
                    <a:pt x="458" y="354"/>
                  </a:lnTo>
                  <a:lnTo>
                    <a:pt x="449" y="350"/>
                  </a:lnTo>
                  <a:lnTo>
                    <a:pt x="458" y="321"/>
                  </a:lnTo>
                  <a:lnTo>
                    <a:pt x="449" y="300"/>
                  </a:lnTo>
                  <a:lnTo>
                    <a:pt x="458" y="295"/>
                  </a:lnTo>
                  <a:lnTo>
                    <a:pt x="479" y="279"/>
                  </a:lnTo>
                  <a:lnTo>
                    <a:pt x="501" y="279"/>
                  </a:lnTo>
                  <a:lnTo>
                    <a:pt x="512" y="262"/>
                  </a:lnTo>
                  <a:lnTo>
                    <a:pt x="512" y="255"/>
                  </a:lnTo>
                  <a:lnTo>
                    <a:pt x="486" y="243"/>
                  </a:lnTo>
                  <a:lnTo>
                    <a:pt x="463" y="243"/>
                  </a:lnTo>
                  <a:lnTo>
                    <a:pt x="463" y="222"/>
                  </a:lnTo>
                  <a:lnTo>
                    <a:pt x="442" y="222"/>
                  </a:lnTo>
                  <a:lnTo>
                    <a:pt x="442" y="201"/>
                  </a:lnTo>
                  <a:lnTo>
                    <a:pt x="416" y="189"/>
                  </a:lnTo>
                  <a:lnTo>
                    <a:pt x="425" y="156"/>
                  </a:lnTo>
                  <a:lnTo>
                    <a:pt x="416" y="144"/>
                  </a:lnTo>
                  <a:lnTo>
                    <a:pt x="432" y="116"/>
                  </a:lnTo>
                  <a:lnTo>
                    <a:pt x="411" y="111"/>
                  </a:lnTo>
                  <a:lnTo>
                    <a:pt x="416" y="99"/>
                  </a:lnTo>
                  <a:lnTo>
                    <a:pt x="404" y="90"/>
                  </a:lnTo>
                  <a:lnTo>
                    <a:pt x="411" y="73"/>
                  </a:lnTo>
                  <a:lnTo>
                    <a:pt x="442" y="57"/>
                  </a:lnTo>
                  <a:lnTo>
                    <a:pt x="534" y="78"/>
                  </a:lnTo>
                  <a:lnTo>
                    <a:pt x="555" y="73"/>
                  </a:lnTo>
                  <a:lnTo>
                    <a:pt x="567" y="73"/>
                  </a:lnTo>
                  <a:lnTo>
                    <a:pt x="588" y="57"/>
                  </a:lnTo>
                  <a:lnTo>
                    <a:pt x="621" y="61"/>
                  </a:lnTo>
                  <a:lnTo>
                    <a:pt x="626" y="33"/>
                  </a:lnTo>
                  <a:lnTo>
                    <a:pt x="685" y="0"/>
                  </a:lnTo>
                  <a:lnTo>
                    <a:pt x="701" y="0"/>
                  </a:lnTo>
                  <a:lnTo>
                    <a:pt x="697" y="17"/>
                  </a:lnTo>
                  <a:lnTo>
                    <a:pt x="718" y="73"/>
                  </a:lnTo>
                  <a:lnTo>
                    <a:pt x="739" y="78"/>
                  </a:lnTo>
                  <a:lnTo>
                    <a:pt x="765" y="95"/>
                  </a:lnTo>
                  <a:lnTo>
                    <a:pt x="765" y="99"/>
                  </a:lnTo>
                  <a:lnTo>
                    <a:pt x="751" y="111"/>
                  </a:lnTo>
                  <a:lnTo>
                    <a:pt x="751" y="156"/>
                  </a:lnTo>
                  <a:lnTo>
                    <a:pt x="765" y="172"/>
                  </a:lnTo>
                  <a:lnTo>
                    <a:pt x="793" y="189"/>
                  </a:lnTo>
                  <a:lnTo>
                    <a:pt x="789" y="206"/>
                  </a:lnTo>
                  <a:lnTo>
                    <a:pt x="803" y="222"/>
                  </a:lnTo>
                  <a:lnTo>
                    <a:pt x="789" y="243"/>
                  </a:lnTo>
                  <a:lnTo>
                    <a:pt x="782" y="243"/>
                  </a:lnTo>
                  <a:lnTo>
                    <a:pt x="765" y="255"/>
                  </a:lnTo>
                  <a:lnTo>
                    <a:pt x="751" y="243"/>
                  </a:lnTo>
                  <a:lnTo>
                    <a:pt x="751" y="227"/>
                  </a:lnTo>
                  <a:lnTo>
                    <a:pt x="727" y="239"/>
                  </a:lnTo>
                  <a:lnTo>
                    <a:pt x="727" y="262"/>
                  </a:lnTo>
                  <a:lnTo>
                    <a:pt x="751" y="284"/>
                  </a:lnTo>
                  <a:lnTo>
                    <a:pt x="739" y="300"/>
                  </a:lnTo>
                  <a:lnTo>
                    <a:pt x="756" y="312"/>
                  </a:lnTo>
                  <a:lnTo>
                    <a:pt x="751" y="317"/>
                  </a:lnTo>
                  <a:lnTo>
                    <a:pt x="751" y="333"/>
                  </a:lnTo>
                  <a:lnTo>
                    <a:pt x="756" y="338"/>
                  </a:lnTo>
                  <a:lnTo>
                    <a:pt x="772" y="321"/>
                  </a:lnTo>
                  <a:lnTo>
                    <a:pt x="803" y="366"/>
                  </a:lnTo>
                  <a:lnTo>
                    <a:pt x="827" y="366"/>
                  </a:lnTo>
                  <a:lnTo>
                    <a:pt x="857" y="378"/>
                  </a:lnTo>
                  <a:lnTo>
                    <a:pt x="848" y="395"/>
                  </a:lnTo>
                  <a:lnTo>
                    <a:pt x="879" y="406"/>
                  </a:lnTo>
                  <a:lnTo>
                    <a:pt x="912" y="428"/>
                  </a:lnTo>
                  <a:lnTo>
                    <a:pt x="864" y="461"/>
                  </a:lnTo>
                  <a:lnTo>
                    <a:pt x="864" y="477"/>
                  </a:lnTo>
                  <a:lnTo>
                    <a:pt x="848" y="482"/>
                  </a:lnTo>
                  <a:lnTo>
                    <a:pt x="857" y="501"/>
                  </a:lnTo>
                  <a:lnTo>
                    <a:pt x="841" y="534"/>
                  </a:lnTo>
                  <a:lnTo>
                    <a:pt x="874" y="555"/>
                  </a:lnTo>
                  <a:lnTo>
                    <a:pt x="874" y="543"/>
                  </a:lnTo>
                  <a:lnTo>
                    <a:pt x="916" y="572"/>
                  </a:lnTo>
                  <a:lnTo>
                    <a:pt x="928" y="588"/>
                  </a:lnTo>
                  <a:lnTo>
                    <a:pt x="966" y="609"/>
                  </a:lnTo>
                  <a:lnTo>
                    <a:pt x="982" y="600"/>
                  </a:lnTo>
                  <a:lnTo>
                    <a:pt x="1004" y="628"/>
                  </a:lnTo>
                  <a:lnTo>
                    <a:pt x="1025" y="617"/>
                  </a:lnTo>
                  <a:lnTo>
                    <a:pt x="1025" y="633"/>
                  </a:lnTo>
                  <a:lnTo>
                    <a:pt x="1058" y="645"/>
                  </a:lnTo>
                  <a:lnTo>
                    <a:pt x="1063" y="650"/>
                  </a:lnTo>
                  <a:lnTo>
                    <a:pt x="1075" y="645"/>
                  </a:lnTo>
                  <a:lnTo>
                    <a:pt x="1105" y="650"/>
                  </a:lnTo>
                  <a:lnTo>
                    <a:pt x="1105" y="645"/>
                  </a:lnTo>
                  <a:lnTo>
                    <a:pt x="1129" y="633"/>
                  </a:lnTo>
                  <a:lnTo>
                    <a:pt x="1134" y="645"/>
                  </a:lnTo>
                  <a:lnTo>
                    <a:pt x="1160" y="650"/>
                  </a:lnTo>
                  <a:lnTo>
                    <a:pt x="1167" y="671"/>
                  </a:lnTo>
                  <a:lnTo>
                    <a:pt x="1214" y="699"/>
                  </a:lnTo>
                  <a:lnTo>
                    <a:pt x="1226" y="683"/>
                  </a:lnTo>
                  <a:lnTo>
                    <a:pt x="1252" y="704"/>
                  </a:lnTo>
                  <a:lnTo>
                    <a:pt x="1256" y="699"/>
                  </a:lnTo>
                  <a:lnTo>
                    <a:pt x="1311" y="721"/>
                  </a:lnTo>
                  <a:lnTo>
                    <a:pt x="1327" y="711"/>
                  </a:lnTo>
                  <a:lnTo>
                    <a:pt x="1344" y="721"/>
                  </a:lnTo>
                  <a:lnTo>
                    <a:pt x="1386" y="711"/>
                  </a:lnTo>
                  <a:lnTo>
                    <a:pt x="1398" y="721"/>
                  </a:lnTo>
                  <a:lnTo>
                    <a:pt x="1415" y="699"/>
                  </a:lnTo>
                  <a:lnTo>
                    <a:pt x="1398" y="666"/>
                  </a:lnTo>
                  <a:lnTo>
                    <a:pt x="1403" y="633"/>
                  </a:lnTo>
                  <a:lnTo>
                    <a:pt x="1415" y="609"/>
                  </a:lnTo>
                  <a:lnTo>
                    <a:pt x="1403" y="609"/>
                  </a:lnTo>
                  <a:lnTo>
                    <a:pt x="1403" y="600"/>
                  </a:lnTo>
                  <a:lnTo>
                    <a:pt x="1431" y="593"/>
                  </a:lnTo>
                  <a:lnTo>
                    <a:pt x="1441" y="588"/>
                  </a:lnTo>
                  <a:lnTo>
                    <a:pt x="1457" y="593"/>
                  </a:lnTo>
                  <a:lnTo>
                    <a:pt x="1457" y="609"/>
                  </a:lnTo>
                  <a:lnTo>
                    <a:pt x="1453" y="633"/>
                  </a:lnTo>
                  <a:lnTo>
                    <a:pt x="1457" y="650"/>
                  </a:lnTo>
                  <a:lnTo>
                    <a:pt x="1453" y="666"/>
                  </a:lnTo>
                  <a:lnTo>
                    <a:pt x="1457" y="671"/>
                  </a:lnTo>
                  <a:lnTo>
                    <a:pt x="1474" y="687"/>
                  </a:lnTo>
                  <a:lnTo>
                    <a:pt x="1490" y="687"/>
                  </a:lnTo>
                  <a:lnTo>
                    <a:pt x="1512" y="699"/>
                  </a:lnTo>
                  <a:lnTo>
                    <a:pt x="1545" y="699"/>
                  </a:lnTo>
                  <a:lnTo>
                    <a:pt x="1566" y="683"/>
                  </a:lnTo>
                  <a:lnTo>
                    <a:pt x="1592" y="687"/>
                  </a:lnTo>
                  <a:lnTo>
                    <a:pt x="1630" y="687"/>
                  </a:lnTo>
                  <a:lnTo>
                    <a:pt x="1634" y="683"/>
                  </a:lnTo>
                  <a:lnTo>
                    <a:pt x="1646" y="687"/>
                  </a:lnTo>
                  <a:lnTo>
                    <a:pt x="1684" y="683"/>
                  </a:lnTo>
                  <a:lnTo>
                    <a:pt x="1672" y="666"/>
                  </a:lnTo>
                  <a:lnTo>
                    <a:pt x="1684" y="650"/>
                  </a:lnTo>
                  <a:lnTo>
                    <a:pt x="1672" y="633"/>
                  </a:lnTo>
                  <a:lnTo>
                    <a:pt x="1651" y="633"/>
                  </a:lnTo>
                  <a:lnTo>
                    <a:pt x="1651" y="628"/>
                  </a:lnTo>
                  <a:lnTo>
                    <a:pt x="1651" y="617"/>
                  </a:lnTo>
                  <a:lnTo>
                    <a:pt x="1672" y="617"/>
                  </a:lnTo>
                  <a:lnTo>
                    <a:pt x="1701" y="609"/>
                  </a:lnTo>
                  <a:lnTo>
                    <a:pt x="1710" y="609"/>
                  </a:lnTo>
                  <a:lnTo>
                    <a:pt x="1727" y="600"/>
                  </a:lnTo>
                  <a:lnTo>
                    <a:pt x="1727" y="588"/>
                  </a:lnTo>
                  <a:lnTo>
                    <a:pt x="1760" y="572"/>
                  </a:lnTo>
                  <a:lnTo>
                    <a:pt x="1776" y="543"/>
                  </a:lnTo>
                  <a:lnTo>
                    <a:pt x="1814" y="543"/>
                  </a:lnTo>
                  <a:lnTo>
                    <a:pt x="1835" y="517"/>
                  </a:lnTo>
                  <a:lnTo>
                    <a:pt x="1861" y="489"/>
                  </a:lnTo>
                  <a:lnTo>
                    <a:pt x="1873" y="506"/>
                  </a:lnTo>
                  <a:lnTo>
                    <a:pt x="1916" y="517"/>
                  </a:lnTo>
                  <a:lnTo>
                    <a:pt x="1927" y="501"/>
                  </a:lnTo>
                  <a:lnTo>
                    <a:pt x="1958" y="482"/>
                  </a:lnTo>
                  <a:lnTo>
                    <a:pt x="1975" y="501"/>
                  </a:lnTo>
                  <a:lnTo>
                    <a:pt x="1982" y="501"/>
                  </a:lnTo>
                  <a:lnTo>
                    <a:pt x="1970" y="517"/>
                  </a:lnTo>
                  <a:lnTo>
                    <a:pt x="1970" y="522"/>
                  </a:lnTo>
                  <a:lnTo>
                    <a:pt x="1991" y="517"/>
                  </a:lnTo>
                  <a:lnTo>
                    <a:pt x="1996" y="539"/>
                  </a:lnTo>
                  <a:lnTo>
                    <a:pt x="1982" y="555"/>
                  </a:lnTo>
                  <a:lnTo>
                    <a:pt x="1982" y="572"/>
                  </a:lnTo>
                  <a:lnTo>
                    <a:pt x="2008" y="560"/>
                  </a:lnTo>
                  <a:lnTo>
                    <a:pt x="2029" y="572"/>
                  </a:lnTo>
                  <a:lnTo>
                    <a:pt x="2034" y="572"/>
                  </a:lnTo>
                  <a:lnTo>
                    <a:pt x="2050" y="576"/>
                  </a:lnTo>
                  <a:lnTo>
                    <a:pt x="2050" y="600"/>
                  </a:lnTo>
                  <a:lnTo>
                    <a:pt x="2024" y="628"/>
                  </a:lnTo>
                  <a:lnTo>
                    <a:pt x="2034" y="666"/>
                  </a:lnTo>
                  <a:lnTo>
                    <a:pt x="2024" y="654"/>
                  </a:lnTo>
                  <a:lnTo>
                    <a:pt x="2008" y="650"/>
                  </a:lnTo>
                  <a:lnTo>
                    <a:pt x="1975" y="650"/>
                  </a:lnTo>
                  <a:lnTo>
                    <a:pt x="1920" y="699"/>
                  </a:lnTo>
                  <a:lnTo>
                    <a:pt x="1899" y="704"/>
                  </a:lnTo>
                  <a:lnTo>
                    <a:pt x="1890" y="728"/>
                  </a:lnTo>
                  <a:lnTo>
                    <a:pt x="1899" y="744"/>
                  </a:lnTo>
                  <a:lnTo>
                    <a:pt x="1882" y="782"/>
                  </a:lnTo>
                  <a:lnTo>
                    <a:pt x="1861" y="798"/>
                  </a:lnTo>
                  <a:lnTo>
                    <a:pt x="1861" y="810"/>
                  </a:lnTo>
                  <a:lnTo>
                    <a:pt x="1868" y="815"/>
                  </a:lnTo>
                  <a:lnTo>
                    <a:pt x="1868" y="822"/>
                  </a:lnTo>
                  <a:lnTo>
                    <a:pt x="1830" y="921"/>
                  </a:lnTo>
                  <a:lnTo>
                    <a:pt x="1797" y="905"/>
                  </a:lnTo>
                  <a:lnTo>
                    <a:pt x="1781" y="909"/>
                  </a:lnTo>
                  <a:lnTo>
                    <a:pt x="1776" y="893"/>
                  </a:lnTo>
                  <a:lnTo>
                    <a:pt x="1776" y="926"/>
                  </a:lnTo>
                  <a:lnTo>
                    <a:pt x="1776" y="966"/>
                  </a:lnTo>
                  <a:lnTo>
                    <a:pt x="1764" y="983"/>
                  </a:lnTo>
                  <a:lnTo>
                    <a:pt x="1760" y="976"/>
                  </a:lnTo>
                  <a:lnTo>
                    <a:pt x="1755" y="1004"/>
                  </a:lnTo>
                  <a:lnTo>
                    <a:pt x="1760" y="1037"/>
                  </a:lnTo>
                  <a:lnTo>
                    <a:pt x="1755" y="1037"/>
                  </a:lnTo>
                  <a:lnTo>
                    <a:pt x="1743" y="1054"/>
                  </a:lnTo>
                  <a:lnTo>
                    <a:pt x="1727" y="1049"/>
                  </a:lnTo>
                  <a:lnTo>
                    <a:pt x="1722" y="1061"/>
                  </a:lnTo>
                  <a:lnTo>
                    <a:pt x="1710" y="1004"/>
                  </a:lnTo>
                  <a:lnTo>
                    <a:pt x="1705" y="983"/>
                  </a:lnTo>
                  <a:lnTo>
                    <a:pt x="1705" y="959"/>
                  </a:lnTo>
                  <a:lnTo>
                    <a:pt x="1701" y="926"/>
                  </a:lnTo>
                  <a:lnTo>
                    <a:pt x="1701" y="926"/>
                  </a:lnTo>
                  <a:lnTo>
                    <a:pt x="1701" y="926"/>
                  </a:lnTo>
                  <a:close/>
                  <a:moveTo>
                    <a:pt x="1441" y="1070"/>
                  </a:moveTo>
                  <a:lnTo>
                    <a:pt x="1436" y="1070"/>
                  </a:lnTo>
                  <a:lnTo>
                    <a:pt x="1441" y="1061"/>
                  </a:lnTo>
                  <a:lnTo>
                    <a:pt x="1441" y="1070"/>
                  </a:lnTo>
                  <a:lnTo>
                    <a:pt x="1441" y="1070"/>
                  </a:lnTo>
                  <a:lnTo>
                    <a:pt x="1441" y="1070"/>
                  </a:lnTo>
                  <a:close/>
                  <a:moveTo>
                    <a:pt x="1403" y="1070"/>
                  </a:moveTo>
                  <a:lnTo>
                    <a:pt x="1403" y="1087"/>
                  </a:lnTo>
                  <a:lnTo>
                    <a:pt x="1403" y="1070"/>
                  </a:lnTo>
                  <a:lnTo>
                    <a:pt x="1403" y="1070"/>
                  </a:lnTo>
                  <a:lnTo>
                    <a:pt x="1403" y="1070"/>
                  </a:lnTo>
                  <a:close/>
                  <a:moveTo>
                    <a:pt x="1738" y="1736"/>
                  </a:moveTo>
                  <a:lnTo>
                    <a:pt x="1738" y="1703"/>
                  </a:lnTo>
                  <a:lnTo>
                    <a:pt x="1743" y="1687"/>
                  </a:lnTo>
                  <a:lnTo>
                    <a:pt x="1755" y="1687"/>
                  </a:lnTo>
                  <a:lnTo>
                    <a:pt x="1755" y="1720"/>
                  </a:lnTo>
                  <a:lnTo>
                    <a:pt x="1743" y="1720"/>
                  </a:lnTo>
                  <a:lnTo>
                    <a:pt x="1738" y="1736"/>
                  </a:lnTo>
                  <a:lnTo>
                    <a:pt x="1738" y="1736"/>
                  </a:lnTo>
                  <a:lnTo>
                    <a:pt x="1738" y="1736"/>
                  </a:lnTo>
                  <a:close/>
                  <a:moveTo>
                    <a:pt x="1738" y="1776"/>
                  </a:moveTo>
                  <a:lnTo>
                    <a:pt x="1727" y="1776"/>
                  </a:lnTo>
                  <a:lnTo>
                    <a:pt x="1727" y="1743"/>
                  </a:lnTo>
                  <a:lnTo>
                    <a:pt x="1743" y="1736"/>
                  </a:lnTo>
                  <a:lnTo>
                    <a:pt x="1743" y="1760"/>
                  </a:lnTo>
                  <a:lnTo>
                    <a:pt x="1743" y="1769"/>
                  </a:lnTo>
                  <a:lnTo>
                    <a:pt x="1738" y="1769"/>
                  </a:lnTo>
                  <a:lnTo>
                    <a:pt x="1738" y="1776"/>
                  </a:lnTo>
                  <a:lnTo>
                    <a:pt x="1738" y="1776"/>
                  </a:lnTo>
                  <a:lnTo>
                    <a:pt x="1738" y="1776"/>
                  </a:lnTo>
                  <a:close/>
                  <a:moveTo>
                    <a:pt x="1727" y="1793"/>
                  </a:moveTo>
                  <a:lnTo>
                    <a:pt x="1727" y="1776"/>
                  </a:lnTo>
                  <a:lnTo>
                    <a:pt x="1743" y="1776"/>
                  </a:lnTo>
                  <a:lnTo>
                    <a:pt x="1727" y="1793"/>
                  </a:lnTo>
                  <a:lnTo>
                    <a:pt x="1727" y="1793"/>
                  </a:lnTo>
                  <a:lnTo>
                    <a:pt x="1727" y="1793"/>
                  </a:lnTo>
                  <a:close/>
                  <a:moveTo>
                    <a:pt x="1727" y="1793"/>
                  </a:moveTo>
                  <a:lnTo>
                    <a:pt x="1727" y="1835"/>
                  </a:lnTo>
                  <a:lnTo>
                    <a:pt x="1710" y="1809"/>
                  </a:lnTo>
                  <a:lnTo>
                    <a:pt x="1727" y="1781"/>
                  </a:lnTo>
                  <a:lnTo>
                    <a:pt x="1727" y="1793"/>
                  </a:lnTo>
                  <a:lnTo>
                    <a:pt x="1727" y="1793"/>
                  </a:lnTo>
                  <a:lnTo>
                    <a:pt x="1727" y="1793"/>
                  </a:lnTo>
                  <a:close/>
                  <a:moveTo>
                    <a:pt x="1755" y="1798"/>
                  </a:moveTo>
                  <a:lnTo>
                    <a:pt x="1755" y="1809"/>
                  </a:lnTo>
                  <a:lnTo>
                    <a:pt x="1743" y="1798"/>
                  </a:lnTo>
                  <a:lnTo>
                    <a:pt x="1755" y="1798"/>
                  </a:lnTo>
                  <a:lnTo>
                    <a:pt x="1755" y="1798"/>
                  </a:lnTo>
                  <a:lnTo>
                    <a:pt x="1755" y="1798"/>
                  </a:lnTo>
                  <a:close/>
                  <a:moveTo>
                    <a:pt x="1701" y="1831"/>
                  </a:moveTo>
                  <a:lnTo>
                    <a:pt x="1689" y="1831"/>
                  </a:lnTo>
                  <a:lnTo>
                    <a:pt x="1701" y="1831"/>
                  </a:lnTo>
                  <a:lnTo>
                    <a:pt x="1701" y="1831"/>
                  </a:lnTo>
                  <a:lnTo>
                    <a:pt x="1701" y="1831"/>
                  </a:lnTo>
                  <a:close/>
                  <a:moveTo>
                    <a:pt x="1722" y="1847"/>
                  </a:moveTo>
                  <a:lnTo>
                    <a:pt x="1722" y="1831"/>
                  </a:lnTo>
                  <a:lnTo>
                    <a:pt x="1727" y="1847"/>
                  </a:lnTo>
                  <a:lnTo>
                    <a:pt x="1722" y="1847"/>
                  </a:lnTo>
                  <a:lnTo>
                    <a:pt x="1722" y="1847"/>
                  </a:lnTo>
                  <a:lnTo>
                    <a:pt x="1722" y="1847"/>
                  </a:lnTo>
                  <a:close/>
                  <a:moveTo>
                    <a:pt x="1710" y="1887"/>
                  </a:moveTo>
                  <a:lnTo>
                    <a:pt x="1710" y="1909"/>
                  </a:lnTo>
                  <a:lnTo>
                    <a:pt x="1705" y="1904"/>
                  </a:lnTo>
                  <a:lnTo>
                    <a:pt x="1705" y="1887"/>
                  </a:lnTo>
                  <a:lnTo>
                    <a:pt x="1710" y="1880"/>
                  </a:lnTo>
                  <a:lnTo>
                    <a:pt x="1710" y="1887"/>
                  </a:lnTo>
                  <a:lnTo>
                    <a:pt x="1710" y="1887"/>
                  </a:lnTo>
                  <a:lnTo>
                    <a:pt x="1710" y="1887"/>
                  </a:lnTo>
                  <a:close/>
                  <a:moveTo>
                    <a:pt x="1738" y="1998"/>
                  </a:moveTo>
                  <a:lnTo>
                    <a:pt x="1738" y="2003"/>
                  </a:lnTo>
                  <a:lnTo>
                    <a:pt x="1727" y="2003"/>
                  </a:lnTo>
                  <a:lnTo>
                    <a:pt x="1738" y="1998"/>
                  </a:lnTo>
                  <a:lnTo>
                    <a:pt x="1738" y="1998"/>
                  </a:lnTo>
                  <a:lnTo>
                    <a:pt x="1738" y="1998"/>
                  </a:lnTo>
                  <a:close/>
                  <a:moveTo>
                    <a:pt x="1755" y="2069"/>
                  </a:moveTo>
                  <a:lnTo>
                    <a:pt x="1760" y="2074"/>
                  </a:lnTo>
                  <a:lnTo>
                    <a:pt x="1755" y="2069"/>
                  </a:lnTo>
                  <a:lnTo>
                    <a:pt x="1755" y="2069"/>
                  </a:lnTo>
                  <a:lnTo>
                    <a:pt x="1755" y="2069"/>
                  </a:lnTo>
                  <a:close/>
                  <a:moveTo>
                    <a:pt x="1781" y="2074"/>
                  </a:moveTo>
                  <a:lnTo>
                    <a:pt x="1781" y="2091"/>
                  </a:lnTo>
                  <a:lnTo>
                    <a:pt x="1776" y="2074"/>
                  </a:lnTo>
                  <a:lnTo>
                    <a:pt x="1781" y="2074"/>
                  </a:lnTo>
                  <a:lnTo>
                    <a:pt x="1781" y="2074"/>
                  </a:lnTo>
                  <a:lnTo>
                    <a:pt x="1781" y="2074"/>
                  </a:lnTo>
                  <a:close/>
                  <a:moveTo>
                    <a:pt x="1776" y="2091"/>
                  </a:moveTo>
                  <a:lnTo>
                    <a:pt x="1781" y="2102"/>
                  </a:lnTo>
                  <a:lnTo>
                    <a:pt x="1764" y="2091"/>
                  </a:lnTo>
                  <a:lnTo>
                    <a:pt x="1776" y="2091"/>
                  </a:lnTo>
                  <a:lnTo>
                    <a:pt x="1776" y="2091"/>
                  </a:lnTo>
                  <a:lnTo>
                    <a:pt x="1776" y="2091"/>
                  </a:lnTo>
                  <a:close/>
                  <a:moveTo>
                    <a:pt x="1793" y="2091"/>
                  </a:moveTo>
                  <a:lnTo>
                    <a:pt x="1781" y="2091"/>
                  </a:lnTo>
                  <a:lnTo>
                    <a:pt x="1793" y="2091"/>
                  </a:lnTo>
                  <a:lnTo>
                    <a:pt x="1793" y="2091"/>
                  </a:lnTo>
                  <a:lnTo>
                    <a:pt x="1793" y="2091"/>
                  </a:lnTo>
                  <a:close/>
                  <a:moveTo>
                    <a:pt x="1797" y="2131"/>
                  </a:moveTo>
                  <a:lnTo>
                    <a:pt x="1797" y="2143"/>
                  </a:lnTo>
                  <a:lnTo>
                    <a:pt x="1793" y="2147"/>
                  </a:lnTo>
                  <a:lnTo>
                    <a:pt x="1797" y="2131"/>
                  </a:lnTo>
                  <a:lnTo>
                    <a:pt x="1797" y="2131"/>
                  </a:lnTo>
                  <a:lnTo>
                    <a:pt x="1797" y="2131"/>
                  </a:lnTo>
                  <a:close/>
                  <a:moveTo>
                    <a:pt x="1807" y="2147"/>
                  </a:moveTo>
                  <a:lnTo>
                    <a:pt x="1814" y="2164"/>
                  </a:lnTo>
                  <a:lnTo>
                    <a:pt x="1807" y="2180"/>
                  </a:lnTo>
                  <a:lnTo>
                    <a:pt x="1793" y="2159"/>
                  </a:lnTo>
                  <a:lnTo>
                    <a:pt x="1807" y="2147"/>
                  </a:lnTo>
                  <a:lnTo>
                    <a:pt x="1807" y="2147"/>
                  </a:lnTo>
                  <a:lnTo>
                    <a:pt x="1807" y="214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5" name="Freeform 476">
              <a:extLst>
                <a:ext uri="{FF2B5EF4-FFF2-40B4-BE49-F238E27FC236}">
                  <a16:creationId xmlns:a16="http://schemas.microsoft.com/office/drawing/2014/main" id="{70A76110-3E0D-49B8-AD35-B09EF52492A1}"/>
                </a:ext>
              </a:extLst>
            </p:cNvPr>
            <p:cNvSpPr>
              <a:spLocks noEditPoints="1"/>
            </p:cNvSpPr>
            <p:nvPr/>
          </p:nvSpPr>
          <p:spPr bwMode="gray">
            <a:xfrm>
              <a:off x="10295004" y="2613763"/>
              <a:ext cx="641793" cy="718445"/>
            </a:xfrm>
            <a:custGeom>
              <a:avLst/>
              <a:gdLst>
                <a:gd name="T0" fmla="*/ 1521 w 1559"/>
                <a:gd name="T1" fmla="*/ 193 h 1745"/>
                <a:gd name="T2" fmla="*/ 1483 w 1559"/>
                <a:gd name="T3" fmla="*/ 215 h 1745"/>
                <a:gd name="T4" fmla="*/ 1207 w 1559"/>
                <a:gd name="T5" fmla="*/ 267 h 1745"/>
                <a:gd name="T6" fmla="*/ 1181 w 1559"/>
                <a:gd name="T7" fmla="*/ 337 h 1745"/>
                <a:gd name="T8" fmla="*/ 1191 w 1559"/>
                <a:gd name="T9" fmla="*/ 222 h 1745"/>
                <a:gd name="T10" fmla="*/ 1278 w 1559"/>
                <a:gd name="T11" fmla="*/ 82 h 1745"/>
                <a:gd name="T12" fmla="*/ 1450 w 1559"/>
                <a:gd name="T13" fmla="*/ 139 h 1745"/>
                <a:gd name="T14" fmla="*/ 1245 w 1559"/>
                <a:gd name="T15" fmla="*/ 33 h 1745"/>
                <a:gd name="T16" fmla="*/ 1115 w 1559"/>
                <a:gd name="T17" fmla="*/ 292 h 1745"/>
                <a:gd name="T18" fmla="*/ 1136 w 1559"/>
                <a:gd name="T19" fmla="*/ 897 h 1745"/>
                <a:gd name="T20" fmla="*/ 1127 w 1559"/>
                <a:gd name="T21" fmla="*/ 876 h 1745"/>
                <a:gd name="T22" fmla="*/ 1072 w 1559"/>
                <a:gd name="T23" fmla="*/ 897 h 1745"/>
                <a:gd name="T24" fmla="*/ 943 w 1559"/>
                <a:gd name="T25" fmla="*/ 914 h 1745"/>
                <a:gd name="T26" fmla="*/ 938 w 1559"/>
                <a:gd name="T27" fmla="*/ 947 h 1745"/>
                <a:gd name="T28" fmla="*/ 801 w 1559"/>
                <a:gd name="T29" fmla="*/ 987 h 1745"/>
                <a:gd name="T30" fmla="*/ 737 w 1559"/>
                <a:gd name="T31" fmla="*/ 930 h 1745"/>
                <a:gd name="T32" fmla="*/ 666 w 1559"/>
                <a:gd name="T33" fmla="*/ 954 h 1745"/>
                <a:gd name="T34" fmla="*/ 574 w 1559"/>
                <a:gd name="T35" fmla="*/ 975 h 1745"/>
                <a:gd name="T36" fmla="*/ 633 w 1559"/>
                <a:gd name="T37" fmla="*/ 864 h 1745"/>
                <a:gd name="T38" fmla="*/ 829 w 1559"/>
                <a:gd name="T39" fmla="*/ 859 h 1745"/>
                <a:gd name="T40" fmla="*/ 921 w 1559"/>
                <a:gd name="T41" fmla="*/ 753 h 1745"/>
                <a:gd name="T42" fmla="*/ 943 w 1559"/>
                <a:gd name="T43" fmla="*/ 732 h 1745"/>
                <a:gd name="T44" fmla="*/ 1136 w 1559"/>
                <a:gd name="T45" fmla="*/ 581 h 1745"/>
                <a:gd name="T46" fmla="*/ 1169 w 1559"/>
                <a:gd name="T47" fmla="*/ 415 h 1745"/>
                <a:gd name="T48" fmla="*/ 1235 w 1559"/>
                <a:gd name="T49" fmla="*/ 375 h 1745"/>
                <a:gd name="T50" fmla="*/ 1283 w 1559"/>
                <a:gd name="T51" fmla="*/ 543 h 1745"/>
                <a:gd name="T52" fmla="*/ 1212 w 1559"/>
                <a:gd name="T53" fmla="*/ 654 h 1745"/>
                <a:gd name="T54" fmla="*/ 1051 w 1559"/>
                <a:gd name="T55" fmla="*/ 642 h 1745"/>
                <a:gd name="T56" fmla="*/ 683 w 1559"/>
                <a:gd name="T57" fmla="*/ 786 h 1745"/>
                <a:gd name="T58" fmla="*/ 1106 w 1559"/>
                <a:gd name="T59" fmla="*/ 918 h 1745"/>
                <a:gd name="T60" fmla="*/ 411 w 1559"/>
                <a:gd name="T61" fmla="*/ 918 h 1745"/>
                <a:gd name="T62" fmla="*/ 780 w 1559"/>
                <a:gd name="T63" fmla="*/ 959 h 1745"/>
                <a:gd name="T64" fmla="*/ 725 w 1559"/>
                <a:gd name="T65" fmla="*/ 1025 h 1745"/>
                <a:gd name="T66" fmla="*/ 628 w 1559"/>
                <a:gd name="T67" fmla="*/ 1041 h 1745"/>
                <a:gd name="T68" fmla="*/ 720 w 1559"/>
                <a:gd name="T69" fmla="*/ 954 h 1745"/>
                <a:gd name="T70" fmla="*/ 402 w 1559"/>
                <a:gd name="T71" fmla="*/ 959 h 1745"/>
                <a:gd name="T72" fmla="*/ 657 w 1559"/>
                <a:gd name="T73" fmla="*/ 954 h 1745"/>
                <a:gd name="T74" fmla="*/ 628 w 1559"/>
                <a:gd name="T75" fmla="*/ 970 h 1745"/>
                <a:gd name="T76" fmla="*/ 565 w 1559"/>
                <a:gd name="T77" fmla="*/ 1008 h 1745"/>
                <a:gd name="T78" fmla="*/ 527 w 1559"/>
                <a:gd name="T79" fmla="*/ 1181 h 1745"/>
                <a:gd name="T80" fmla="*/ 489 w 1559"/>
                <a:gd name="T81" fmla="*/ 1174 h 1745"/>
                <a:gd name="T82" fmla="*/ 489 w 1559"/>
                <a:gd name="T83" fmla="*/ 1081 h 1745"/>
                <a:gd name="T84" fmla="*/ 456 w 1559"/>
                <a:gd name="T85" fmla="*/ 1098 h 1745"/>
                <a:gd name="T86" fmla="*/ 435 w 1559"/>
                <a:gd name="T87" fmla="*/ 1070 h 1745"/>
                <a:gd name="T88" fmla="*/ 472 w 1559"/>
                <a:gd name="T89" fmla="*/ 1008 h 1745"/>
                <a:gd name="T90" fmla="*/ 423 w 1559"/>
                <a:gd name="T91" fmla="*/ 1004 h 1745"/>
                <a:gd name="T92" fmla="*/ 418 w 1559"/>
                <a:gd name="T93" fmla="*/ 1029 h 1745"/>
                <a:gd name="T94" fmla="*/ 385 w 1559"/>
                <a:gd name="T95" fmla="*/ 1058 h 1745"/>
                <a:gd name="T96" fmla="*/ 359 w 1559"/>
                <a:gd name="T97" fmla="*/ 1081 h 1745"/>
                <a:gd name="T98" fmla="*/ 465 w 1559"/>
                <a:gd name="T99" fmla="*/ 1103 h 1745"/>
                <a:gd name="T100" fmla="*/ 456 w 1559"/>
                <a:gd name="T101" fmla="*/ 1124 h 1745"/>
                <a:gd name="T102" fmla="*/ 527 w 1559"/>
                <a:gd name="T103" fmla="*/ 1230 h 1745"/>
                <a:gd name="T104" fmla="*/ 489 w 1559"/>
                <a:gd name="T105" fmla="*/ 1280 h 1745"/>
                <a:gd name="T106" fmla="*/ 385 w 1559"/>
                <a:gd name="T107" fmla="*/ 1436 h 1745"/>
                <a:gd name="T108" fmla="*/ 397 w 1559"/>
                <a:gd name="T109" fmla="*/ 1436 h 1745"/>
                <a:gd name="T110" fmla="*/ 359 w 1559"/>
                <a:gd name="T111" fmla="*/ 1502 h 1745"/>
                <a:gd name="T112" fmla="*/ 293 w 1559"/>
                <a:gd name="T113" fmla="*/ 1596 h 1745"/>
                <a:gd name="T114" fmla="*/ 217 w 1559"/>
                <a:gd name="T115" fmla="*/ 1580 h 1745"/>
                <a:gd name="T116" fmla="*/ 116 w 1559"/>
                <a:gd name="T117" fmla="*/ 1696 h 1745"/>
                <a:gd name="T118" fmla="*/ 33 w 1559"/>
                <a:gd name="T119" fmla="*/ 1729 h 1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59" h="1745">
                  <a:moveTo>
                    <a:pt x="1450" y="139"/>
                  </a:moveTo>
                  <a:lnTo>
                    <a:pt x="1483" y="144"/>
                  </a:lnTo>
                  <a:lnTo>
                    <a:pt x="1521" y="104"/>
                  </a:lnTo>
                  <a:lnTo>
                    <a:pt x="1531" y="111"/>
                  </a:lnTo>
                  <a:lnTo>
                    <a:pt x="1505" y="155"/>
                  </a:lnTo>
                  <a:lnTo>
                    <a:pt x="1517" y="165"/>
                  </a:lnTo>
                  <a:lnTo>
                    <a:pt x="1521" y="177"/>
                  </a:lnTo>
                  <a:lnTo>
                    <a:pt x="1517" y="165"/>
                  </a:lnTo>
                  <a:lnTo>
                    <a:pt x="1521" y="193"/>
                  </a:lnTo>
                  <a:lnTo>
                    <a:pt x="1521" y="193"/>
                  </a:lnTo>
                  <a:lnTo>
                    <a:pt x="1538" y="198"/>
                  </a:lnTo>
                  <a:lnTo>
                    <a:pt x="1547" y="193"/>
                  </a:lnTo>
                  <a:lnTo>
                    <a:pt x="1559" y="193"/>
                  </a:lnTo>
                  <a:lnTo>
                    <a:pt x="1547" y="193"/>
                  </a:lnTo>
                  <a:lnTo>
                    <a:pt x="1538" y="210"/>
                  </a:lnTo>
                  <a:lnTo>
                    <a:pt x="1517" y="210"/>
                  </a:lnTo>
                  <a:lnTo>
                    <a:pt x="1500" y="222"/>
                  </a:lnTo>
                  <a:lnTo>
                    <a:pt x="1483" y="215"/>
                  </a:lnTo>
                  <a:lnTo>
                    <a:pt x="1479" y="231"/>
                  </a:lnTo>
                  <a:lnTo>
                    <a:pt x="1450" y="222"/>
                  </a:lnTo>
                  <a:lnTo>
                    <a:pt x="1429" y="231"/>
                  </a:lnTo>
                  <a:lnTo>
                    <a:pt x="1391" y="271"/>
                  </a:lnTo>
                  <a:lnTo>
                    <a:pt x="1375" y="321"/>
                  </a:lnTo>
                  <a:lnTo>
                    <a:pt x="1278" y="255"/>
                  </a:lnTo>
                  <a:lnTo>
                    <a:pt x="1250" y="267"/>
                  </a:lnTo>
                  <a:lnTo>
                    <a:pt x="1224" y="288"/>
                  </a:lnTo>
                  <a:lnTo>
                    <a:pt x="1207" y="267"/>
                  </a:lnTo>
                  <a:lnTo>
                    <a:pt x="1181" y="267"/>
                  </a:lnTo>
                  <a:lnTo>
                    <a:pt x="1174" y="271"/>
                  </a:lnTo>
                  <a:lnTo>
                    <a:pt x="1169" y="288"/>
                  </a:lnTo>
                  <a:lnTo>
                    <a:pt x="1191" y="304"/>
                  </a:lnTo>
                  <a:lnTo>
                    <a:pt x="1198" y="304"/>
                  </a:lnTo>
                  <a:lnTo>
                    <a:pt x="1235" y="326"/>
                  </a:lnTo>
                  <a:lnTo>
                    <a:pt x="1224" y="337"/>
                  </a:lnTo>
                  <a:lnTo>
                    <a:pt x="1198" y="326"/>
                  </a:lnTo>
                  <a:lnTo>
                    <a:pt x="1181" y="337"/>
                  </a:lnTo>
                  <a:lnTo>
                    <a:pt x="1181" y="349"/>
                  </a:lnTo>
                  <a:lnTo>
                    <a:pt x="1169" y="359"/>
                  </a:lnTo>
                  <a:lnTo>
                    <a:pt x="1153" y="359"/>
                  </a:lnTo>
                  <a:lnTo>
                    <a:pt x="1153" y="342"/>
                  </a:lnTo>
                  <a:lnTo>
                    <a:pt x="1157" y="309"/>
                  </a:lnTo>
                  <a:lnTo>
                    <a:pt x="1136" y="288"/>
                  </a:lnTo>
                  <a:lnTo>
                    <a:pt x="1136" y="255"/>
                  </a:lnTo>
                  <a:lnTo>
                    <a:pt x="1174" y="238"/>
                  </a:lnTo>
                  <a:lnTo>
                    <a:pt x="1191" y="222"/>
                  </a:lnTo>
                  <a:lnTo>
                    <a:pt x="1174" y="198"/>
                  </a:lnTo>
                  <a:lnTo>
                    <a:pt x="1181" y="193"/>
                  </a:lnTo>
                  <a:lnTo>
                    <a:pt x="1207" y="210"/>
                  </a:lnTo>
                  <a:lnTo>
                    <a:pt x="1228" y="210"/>
                  </a:lnTo>
                  <a:lnTo>
                    <a:pt x="1250" y="193"/>
                  </a:lnTo>
                  <a:lnTo>
                    <a:pt x="1245" y="160"/>
                  </a:lnTo>
                  <a:lnTo>
                    <a:pt x="1266" y="139"/>
                  </a:lnTo>
                  <a:lnTo>
                    <a:pt x="1266" y="111"/>
                  </a:lnTo>
                  <a:lnTo>
                    <a:pt x="1278" y="82"/>
                  </a:lnTo>
                  <a:lnTo>
                    <a:pt x="1261" y="28"/>
                  </a:lnTo>
                  <a:lnTo>
                    <a:pt x="1266" y="11"/>
                  </a:lnTo>
                  <a:lnTo>
                    <a:pt x="1287" y="0"/>
                  </a:lnTo>
                  <a:lnTo>
                    <a:pt x="1370" y="87"/>
                  </a:lnTo>
                  <a:lnTo>
                    <a:pt x="1408" y="111"/>
                  </a:lnTo>
                  <a:lnTo>
                    <a:pt x="1413" y="127"/>
                  </a:lnTo>
                  <a:lnTo>
                    <a:pt x="1446" y="127"/>
                  </a:lnTo>
                  <a:lnTo>
                    <a:pt x="1450" y="139"/>
                  </a:lnTo>
                  <a:lnTo>
                    <a:pt x="1450" y="139"/>
                  </a:lnTo>
                  <a:lnTo>
                    <a:pt x="1450" y="139"/>
                  </a:lnTo>
                  <a:close/>
                  <a:moveTo>
                    <a:pt x="1224" y="11"/>
                  </a:moveTo>
                  <a:lnTo>
                    <a:pt x="1228" y="11"/>
                  </a:lnTo>
                  <a:lnTo>
                    <a:pt x="1224" y="28"/>
                  </a:lnTo>
                  <a:lnTo>
                    <a:pt x="1224" y="11"/>
                  </a:lnTo>
                  <a:lnTo>
                    <a:pt x="1224" y="11"/>
                  </a:lnTo>
                  <a:lnTo>
                    <a:pt x="1224" y="11"/>
                  </a:lnTo>
                  <a:close/>
                  <a:moveTo>
                    <a:pt x="1228" y="28"/>
                  </a:moveTo>
                  <a:lnTo>
                    <a:pt x="1245" y="33"/>
                  </a:lnTo>
                  <a:lnTo>
                    <a:pt x="1228" y="33"/>
                  </a:lnTo>
                  <a:lnTo>
                    <a:pt x="1228" y="28"/>
                  </a:lnTo>
                  <a:lnTo>
                    <a:pt x="1228" y="28"/>
                  </a:lnTo>
                  <a:lnTo>
                    <a:pt x="1228" y="28"/>
                  </a:lnTo>
                  <a:close/>
                  <a:moveTo>
                    <a:pt x="1115" y="292"/>
                  </a:moveTo>
                  <a:lnTo>
                    <a:pt x="1120" y="288"/>
                  </a:lnTo>
                  <a:lnTo>
                    <a:pt x="1115" y="304"/>
                  </a:lnTo>
                  <a:lnTo>
                    <a:pt x="1115" y="292"/>
                  </a:lnTo>
                  <a:lnTo>
                    <a:pt x="1115" y="292"/>
                  </a:lnTo>
                  <a:lnTo>
                    <a:pt x="1115" y="292"/>
                  </a:lnTo>
                  <a:close/>
                  <a:moveTo>
                    <a:pt x="1207" y="748"/>
                  </a:moveTo>
                  <a:lnTo>
                    <a:pt x="1191" y="791"/>
                  </a:lnTo>
                  <a:lnTo>
                    <a:pt x="1207" y="843"/>
                  </a:lnTo>
                  <a:lnTo>
                    <a:pt x="1181" y="859"/>
                  </a:lnTo>
                  <a:lnTo>
                    <a:pt x="1174" y="892"/>
                  </a:lnTo>
                  <a:lnTo>
                    <a:pt x="1157" y="892"/>
                  </a:lnTo>
                  <a:lnTo>
                    <a:pt x="1143" y="902"/>
                  </a:lnTo>
                  <a:lnTo>
                    <a:pt x="1136" y="897"/>
                  </a:lnTo>
                  <a:lnTo>
                    <a:pt x="1143" y="897"/>
                  </a:lnTo>
                  <a:lnTo>
                    <a:pt x="1136" y="876"/>
                  </a:lnTo>
                  <a:lnTo>
                    <a:pt x="1157" y="848"/>
                  </a:lnTo>
                  <a:lnTo>
                    <a:pt x="1143" y="843"/>
                  </a:lnTo>
                  <a:lnTo>
                    <a:pt x="1136" y="843"/>
                  </a:lnTo>
                  <a:lnTo>
                    <a:pt x="1136" y="859"/>
                  </a:lnTo>
                  <a:lnTo>
                    <a:pt x="1127" y="859"/>
                  </a:lnTo>
                  <a:lnTo>
                    <a:pt x="1127" y="876"/>
                  </a:lnTo>
                  <a:lnTo>
                    <a:pt x="1127" y="876"/>
                  </a:lnTo>
                  <a:lnTo>
                    <a:pt x="1127" y="892"/>
                  </a:lnTo>
                  <a:lnTo>
                    <a:pt x="1120" y="876"/>
                  </a:lnTo>
                  <a:lnTo>
                    <a:pt x="1089" y="881"/>
                  </a:lnTo>
                  <a:lnTo>
                    <a:pt x="1082" y="892"/>
                  </a:lnTo>
                  <a:lnTo>
                    <a:pt x="1089" y="902"/>
                  </a:lnTo>
                  <a:lnTo>
                    <a:pt x="1068" y="930"/>
                  </a:lnTo>
                  <a:lnTo>
                    <a:pt x="1061" y="918"/>
                  </a:lnTo>
                  <a:lnTo>
                    <a:pt x="1068" y="897"/>
                  </a:lnTo>
                  <a:lnTo>
                    <a:pt x="1072" y="897"/>
                  </a:lnTo>
                  <a:lnTo>
                    <a:pt x="1061" y="892"/>
                  </a:lnTo>
                  <a:lnTo>
                    <a:pt x="1051" y="892"/>
                  </a:lnTo>
                  <a:lnTo>
                    <a:pt x="1035" y="902"/>
                  </a:lnTo>
                  <a:lnTo>
                    <a:pt x="1018" y="930"/>
                  </a:lnTo>
                  <a:lnTo>
                    <a:pt x="980" y="918"/>
                  </a:lnTo>
                  <a:lnTo>
                    <a:pt x="943" y="930"/>
                  </a:lnTo>
                  <a:lnTo>
                    <a:pt x="964" y="918"/>
                  </a:lnTo>
                  <a:lnTo>
                    <a:pt x="959" y="914"/>
                  </a:lnTo>
                  <a:lnTo>
                    <a:pt x="943" y="914"/>
                  </a:lnTo>
                  <a:lnTo>
                    <a:pt x="938" y="902"/>
                  </a:lnTo>
                  <a:lnTo>
                    <a:pt x="938" y="914"/>
                  </a:lnTo>
                  <a:lnTo>
                    <a:pt x="938" y="918"/>
                  </a:lnTo>
                  <a:lnTo>
                    <a:pt x="926" y="918"/>
                  </a:lnTo>
                  <a:lnTo>
                    <a:pt x="926" y="892"/>
                  </a:lnTo>
                  <a:lnTo>
                    <a:pt x="909" y="897"/>
                  </a:lnTo>
                  <a:lnTo>
                    <a:pt x="905" y="918"/>
                  </a:lnTo>
                  <a:lnTo>
                    <a:pt x="905" y="930"/>
                  </a:lnTo>
                  <a:lnTo>
                    <a:pt x="938" y="947"/>
                  </a:lnTo>
                  <a:lnTo>
                    <a:pt x="938" y="954"/>
                  </a:lnTo>
                  <a:lnTo>
                    <a:pt x="909" y="954"/>
                  </a:lnTo>
                  <a:lnTo>
                    <a:pt x="900" y="959"/>
                  </a:lnTo>
                  <a:lnTo>
                    <a:pt x="888" y="987"/>
                  </a:lnTo>
                  <a:lnTo>
                    <a:pt x="850" y="1025"/>
                  </a:lnTo>
                  <a:lnTo>
                    <a:pt x="829" y="1013"/>
                  </a:lnTo>
                  <a:lnTo>
                    <a:pt x="817" y="1008"/>
                  </a:lnTo>
                  <a:lnTo>
                    <a:pt x="829" y="1004"/>
                  </a:lnTo>
                  <a:lnTo>
                    <a:pt x="801" y="987"/>
                  </a:lnTo>
                  <a:lnTo>
                    <a:pt x="813" y="970"/>
                  </a:lnTo>
                  <a:lnTo>
                    <a:pt x="801" y="959"/>
                  </a:lnTo>
                  <a:lnTo>
                    <a:pt x="801" y="954"/>
                  </a:lnTo>
                  <a:lnTo>
                    <a:pt x="829" y="930"/>
                  </a:lnTo>
                  <a:lnTo>
                    <a:pt x="817" y="918"/>
                  </a:lnTo>
                  <a:lnTo>
                    <a:pt x="801" y="930"/>
                  </a:lnTo>
                  <a:lnTo>
                    <a:pt x="775" y="914"/>
                  </a:lnTo>
                  <a:lnTo>
                    <a:pt x="742" y="918"/>
                  </a:lnTo>
                  <a:lnTo>
                    <a:pt x="737" y="930"/>
                  </a:lnTo>
                  <a:lnTo>
                    <a:pt x="725" y="930"/>
                  </a:lnTo>
                  <a:lnTo>
                    <a:pt x="737" y="930"/>
                  </a:lnTo>
                  <a:lnTo>
                    <a:pt x="725" y="947"/>
                  </a:lnTo>
                  <a:lnTo>
                    <a:pt x="704" y="937"/>
                  </a:lnTo>
                  <a:lnTo>
                    <a:pt x="683" y="954"/>
                  </a:lnTo>
                  <a:lnTo>
                    <a:pt x="671" y="947"/>
                  </a:lnTo>
                  <a:lnTo>
                    <a:pt x="671" y="954"/>
                  </a:lnTo>
                  <a:lnTo>
                    <a:pt x="666" y="959"/>
                  </a:lnTo>
                  <a:lnTo>
                    <a:pt x="666" y="954"/>
                  </a:lnTo>
                  <a:lnTo>
                    <a:pt x="650" y="954"/>
                  </a:lnTo>
                  <a:lnTo>
                    <a:pt x="628" y="959"/>
                  </a:lnTo>
                  <a:lnTo>
                    <a:pt x="628" y="954"/>
                  </a:lnTo>
                  <a:lnTo>
                    <a:pt x="612" y="954"/>
                  </a:lnTo>
                  <a:lnTo>
                    <a:pt x="602" y="959"/>
                  </a:lnTo>
                  <a:lnTo>
                    <a:pt x="595" y="992"/>
                  </a:lnTo>
                  <a:lnTo>
                    <a:pt x="586" y="1004"/>
                  </a:lnTo>
                  <a:lnTo>
                    <a:pt x="586" y="987"/>
                  </a:lnTo>
                  <a:lnTo>
                    <a:pt x="574" y="975"/>
                  </a:lnTo>
                  <a:lnTo>
                    <a:pt x="532" y="987"/>
                  </a:lnTo>
                  <a:lnTo>
                    <a:pt x="520" y="975"/>
                  </a:lnTo>
                  <a:lnTo>
                    <a:pt x="510" y="987"/>
                  </a:lnTo>
                  <a:lnTo>
                    <a:pt x="510" y="947"/>
                  </a:lnTo>
                  <a:lnTo>
                    <a:pt x="548" y="947"/>
                  </a:lnTo>
                  <a:lnTo>
                    <a:pt x="557" y="930"/>
                  </a:lnTo>
                  <a:lnTo>
                    <a:pt x="579" y="918"/>
                  </a:lnTo>
                  <a:lnTo>
                    <a:pt x="633" y="876"/>
                  </a:lnTo>
                  <a:lnTo>
                    <a:pt x="633" y="864"/>
                  </a:lnTo>
                  <a:lnTo>
                    <a:pt x="666" y="848"/>
                  </a:lnTo>
                  <a:lnTo>
                    <a:pt x="687" y="859"/>
                  </a:lnTo>
                  <a:lnTo>
                    <a:pt x="742" y="848"/>
                  </a:lnTo>
                  <a:lnTo>
                    <a:pt x="763" y="843"/>
                  </a:lnTo>
                  <a:lnTo>
                    <a:pt x="796" y="843"/>
                  </a:lnTo>
                  <a:lnTo>
                    <a:pt x="813" y="836"/>
                  </a:lnTo>
                  <a:lnTo>
                    <a:pt x="817" y="843"/>
                  </a:lnTo>
                  <a:lnTo>
                    <a:pt x="813" y="848"/>
                  </a:lnTo>
                  <a:lnTo>
                    <a:pt x="829" y="859"/>
                  </a:lnTo>
                  <a:lnTo>
                    <a:pt x="817" y="848"/>
                  </a:lnTo>
                  <a:lnTo>
                    <a:pt x="829" y="848"/>
                  </a:lnTo>
                  <a:lnTo>
                    <a:pt x="834" y="859"/>
                  </a:lnTo>
                  <a:lnTo>
                    <a:pt x="850" y="859"/>
                  </a:lnTo>
                  <a:lnTo>
                    <a:pt x="872" y="836"/>
                  </a:lnTo>
                  <a:lnTo>
                    <a:pt x="872" y="843"/>
                  </a:lnTo>
                  <a:lnTo>
                    <a:pt x="872" y="836"/>
                  </a:lnTo>
                  <a:lnTo>
                    <a:pt x="867" y="819"/>
                  </a:lnTo>
                  <a:lnTo>
                    <a:pt x="921" y="753"/>
                  </a:lnTo>
                  <a:lnTo>
                    <a:pt x="921" y="737"/>
                  </a:lnTo>
                  <a:lnTo>
                    <a:pt x="921" y="715"/>
                  </a:lnTo>
                  <a:lnTo>
                    <a:pt x="926" y="699"/>
                  </a:lnTo>
                  <a:lnTo>
                    <a:pt x="964" y="692"/>
                  </a:lnTo>
                  <a:lnTo>
                    <a:pt x="964" y="699"/>
                  </a:lnTo>
                  <a:lnTo>
                    <a:pt x="943" y="715"/>
                  </a:lnTo>
                  <a:lnTo>
                    <a:pt x="938" y="715"/>
                  </a:lnTo>
                  <a:lnTo>
                    <a:pt x="926" y="725"/>
                  </a:lnTo>
                  <a:lnTo>
                    <a:pt x="943" y="732"/>
                  </a:lnTo>
                  <a:lnTo>
                    <a:pt x="943" y="748"/>
                  </a:lnTo>
                  <a:lnTo>
                    <a:pt x="959" y="753"/>
                  </a:lnTo>
                  <a:lnTo>
                    <a:pt x="976" y="737"/>
                  </a:lnTo>
                  <a:lnTo>
                    <a:pt x="1030" y="715"/>
                  </a:lnTo>
                  <a:lnTo>
                    <a:pt x="1051" y="699"/>
                  </a:lnTo>
                  <a:lnTo>
                    <a:pt x="1068" y="670"/>
                  </a:lnTo>
                  <a:lnTo>
                    <a:pt x="1115" y="637"/>
                  </a:lnTo>
                  <a:lnTo>
                    <a:pt x="1115" y="614"/>
                  </a:lnTo>
                  <a:lnTo>
                    <a:pt x="1136" y="581"/>
                  </a:lnTo>
                  <a:lnTo>
                    <a:pt x="1153" y="531"/>
                  </a:lnTo>
                  <a:lnTo>
                    <a:pt x="1153" y="503"/>
                  </a:lnTo>
                  <a:lnTo>
                    <a:pt x="1127" y="486"/>
                  </a:lnTo>
                  <a:lnTo>
                    <a:pt x="1127" y="486"/>
                  </a:lnTo>
                  <a:lnTo>
                    <a:pt x="1143" y="486"/>
                  </a:lnTo>
                  <a:lnTo>
                    <a:pt x="1153" y="460"/>
                  </a:lnTo>
                  <a:lnTo>
                    <a:pt x="1136" y="432"/>
                  </a:lnTo>
                  <a:lnTo>
                    <a:pt x="1153" y="415"/>
                  </a:lnTo>
                  <a:lnTo>
                    <a:pt x="1169" y="415"/>
                  </a:lnTo>
                  <a:lnTo>
                    <a:pt x="1174" y="375"/>
                  </a:lnTo>
                  <a:lnTo>
                    <a:pt x="1198" y="382"/>
                  </a:lnTo>
                  <a:lnTo>
                    <a:pt x="1198" y="415"/>
                  </a:lnTo>
                  <a:lnTo>
                    <a:pt x="1207" y="404"/>
                  </a:lnTo>
                  <a:lnTo>
                    <a:pt x="1212" y="399"/>
                  </a:lnTo>
                  <a:lnTo>
                    <a:pt x="1228" y="404"/>
                  </a:lnTo>
                  <a:lnTo>
                    <a:pt x="1235" y="404"/>
                  </a:lnTo>
                  <a:lnTo>
                    <a:pt x="1235" y="382"/>
                  </a:lnTo>
                  <a:lnTo>
                    <a:pt x="1235" y="375"/>
                  </a:lnTo>
                  <a:lnTo>
                    <a:pt x="1207" y="382"/>
                  </a:lnTo>
                  <a:lnTo>
                    <a:pt x="1212" y="349"/>
                  </a:lnTo>
                  <a:lnTo>
                    <a:pt x="1235" y="366"/>
                  </a:lnTo>
                  <a:lnTo>
                    <a:pt x="1250" y="366"/>
                  </a:lnTo>
                  <a:lnTo>
                    <a:pt x="1245" y="382"/>
                  </a:lnTo>
                  <a:lnTo>
                    <a:pt x="1250" y="432"/>
                  </a:lnTo>
                  <a:lnTo>
                    <a:pt x="1278" y="460"/>
                  </a:lnTo>
                  <a:lnTo>
                    <a:pt x="1299" y="515"/>
                  </a:lnTo>
                  <a:lnTo>
                    <a:pt x="1283" y="543"/>
                  </a:lnTo>
                  <a:lnTo>
                    <a:pt x="1283" y="564"/>
                  </a:lnTo>
                  <a:lnTo>
                    <a:pt x="1266" y="564"/>
                  </a:lnTo>
                  <a:lnTo>
                    <a:pt x="1266" y="571"/>
                  </a:lnTo>
                  <a:lnTo>
                    <a:pt x="1261" y="581"/>
                  </a:lnTo>
                  <a:lnTo>
                    <a:pt x="1261" y="626"/>
                  </a:lnTo>
                  <a:lnTo>
                    <a:pt x="1245" y="614"/>
                  </a:lnTo>
                  <a:lnTo>
                    <a:pt x="1228" y="621"/>
                  </a:lnTo>
                  <a:lnTo>
                    <a:pt x="1212" y="637"/>
                  </a:lnTo>
                  <a:lnTo>
                    <a:pt x="1212" y="654"/>
                  </a:lnTo>
                  <a:lnTo>
                    <a:pt x="1224" y="675"/>
                  </a:lnTo>
                  <a:lnTo>
                    <a:pt x="1224" y="699"/>
                  </a:lnTo>
                  <a:lnTo>
                    <a:pt x="1224" y="732"/>
                  </a:lnTo>
                  <a:lnTo>
                    <a:pt x="1207" y="748"/>
                  </a:lnTo>
                  <a:lnTo>
                    <a:pt x="1207" y="748"/>
                  </a:lnTo>
                  <a:lnTo>
                    <a:pt x="1207" y="748"/>
                  </a:lnTo>
                  <a:close/>
                  <a:moveTo>
                    <a:pt x="1044" y="626"/>
                  </a:moveTo>
                  <a:lnTo>
                    <a:pt x="1035" y="642"/>
                  </a:lnTo>
                  <a:lnTo>
                    <a:pt x="1051" y="642"/>
                  </a:lnTo>
                  <a:lnTo>
                    <a:pt x="1044" y="659"/>
                  </a:lnTo>
                  <a:lnTo>
                    <a:pt x="1030" y="670"/>
                  </a:lnTo>
                  <a:lnTo>
                    <a:pt x="1035" y="654"/>
                  </a:lnTo>
                  <a:lnTo>
                    <a:pt x="1030" y="654"/>
                  </a:lnTo>
                  <a:lnTo>
                    <a:pt x="1030" y="642"/>
                  </a:lnTo>
                  <a:lnTo>
                    <a:pt x="1044" y="626"/>
                  </a:lnTo>
                  <a:lnTo>
                    <a:pt x="1044" y="626"/>
                  </a:lnTo>
                  <a:lnTo>
                    <a:pt x="1044" y="626"/>
                  </a:lnTo>
                  <a:close/>
                  <a:moveTo>
                    <a:pt x="683" y="786"/>
                  </a:moveTo>
                  <a:lnTo>
                    <a:pt x="687" y="803"/>
                  </a:lnTo>
                  <a:lnTo>
                    <a:pt x="671" y="803"/>
                  </a:lnTo>
                  <a:lnTo>
                    <a:pt x="671" y="791"/>
                  </a:lnTo>
                  <a:lnTo>
                    <a:pt x="683" y="786"/>
                  </a:lnTo>
                  <a:lnTo>
                    <a:pt x="683" y="786"/>
                  </a:lnTo>
                  <a:lnTo>
                    <a:pt x="683" y="786"/>
                  </a:lnTo>
                  <a:close/>
                  <a:moveTo>
                    <a:pt x="1106" y="914"/>
                  </a:moveTo>
                  <a:lnTo>
                    <a:pt x="1115" y="918"/>
                  </a:lnTo>
                  <a:lnTo>
                    <a:pt x="1106" y="918"/>
                  </a:lnTo>
                  <a:lnTo>
                    <a:pt x="1106" y="914"/>
                  </a:lnTo>
                  <a:lnTo>
                    <a:pt x="1106" y="914"/>
                  </a:lnTo>
                  <a:lnTo>
                    <a:pt x="1106" y="914"/>
                  </a:lnTo>
                  <a:close/>
                  <a:moveTo>
                    <a:pt x="411" y="918"/>
                  </a:moveTo>
                  <a:lnTo>
                    <a:pt x="402" y="954"/>
                  </a:lnTo>
                  <a:lnTo>
                    <a:pt x="397" y="954"/>
                  </a:lnTo>
                  <a:lnTo>
                    <a:pt x="397" y="930"/>
                  </a:lnTo>
                  <a:lnTo>
                    <a:pt x="411" y="918"/>
                  </a:lnTo>
                  <a:lnTo>
                    <a:pt x="411" y="918"/>
                  </a:lnTo>
                  <a:lnTo>
                    <a:pt x="411" y="918"/>
                  </a:lnTo>
                  <a:close/>
                  <a:moveTo>
                    <a:pt x="780" y="959"/>
                  </a:moveTo>
                  <a:lnTo>
                    <a:pt x="775" y="954"/>
                  </a:lnTo>
                  <a:lnTo>
                    <a:pt x="796" y="930"/>
                  </a:lnTo>
                  <a:lnTo>
                    <a:pt x="791" y="947"/>
                  </a:lnTo>
                  <a:lnTo>
                    <a:pt x="796" y="959"/>
                  </a:lnTo>
                  <a:lnTo>
                    <a:pt x="780" y="959"/>
                  </a:lnTo>
                  <a:lnTo>
                    <a:pt x="780" y="959"/>
                  </a:lnTo>
                  <a:lnTo>
                    <a:pt x="780" y="959"/>
                  </a:lnTo>
                  <a:close/>
                  <a:moveTo>
                    <a:pt x="758" y="937"/>
                  </a:moveTo>
                  <a:lnTo>
                    <a:pt x="746" y="947"/>
                  </a:lnTo>
                  <a:lnTo>
                    <a:pt x="742" y="937"/>
                  </a:lnTo>
                  <a:lnTo>
                    <a:pt x="758" y="937"/>
                  </a:lnTo>
                  <a:lnTo>
                    <a:pt x="758" y="937"/>
                  </a:lnTo>
                  <a:lnTo>
                    <a:pt x="758" y="937"/>
                  </a:lnTo>
                  <a:close/>
                  <a:moveTo>
                    <a:pt x="746" y="1013"/>
                  </a:moveTo>
                  <a:lnTo>
                    <a:pt x="742" y="1041"/>
                  </a:lnTo>
                  <a:lnTo>
                    <a:pt x="725" y="1025"/>
                  </a:lnTo>
                  <a:lnTo>
                    <a:pt x="709" y="1013"/>
                  </a:lnTo>
                  <a:lnTo>
                    <a:pt x="683" y="1029"/>
                  </a:lnTo>
                  <a:lnTo>
                    <a:pt x="671" y="1041"/>
                  </a:lnTo>
                  <a:lnTo>
                    <a:pt x="657" y="1058"/>
                  </a:lnTo>
                  <a:lnTo>
                    <a:pt x="657" y="1081"/>
                  </a:lnTo>
                  <a:lnTo>
                    <a:pt x="633" y="1081"/>
                  </a:lnTo>
                  <a:lnTo>
                    <a:pt x="640" y="1065"/>
                  </a:lnTo>
                  <a:lnTo>
                    <a:pt x="619" y="1065"/>
                  </a:lnTo>
                  <a:lnTo>
                    <a:pt x="628" y="1041"/>
                  </a:lnTo>
                  <a:lnTo>
                    <a:pt x="612" y="1029"/>
                  </a:lnTo>
                  <a:lnTo>
                    <a:pt x="612" y="1025"/>
                  </a:lnTo>
                  <a:lnTo>
                    <a:pt x="586" y="1029"/>
                  </a:lnTo>
                  <a:lnTo>
                    <a:pt x="633" y="1008"/>
                  </a:lnTo>
                  <a:lnTo>
                    <a:pt x="650" y="970"/>
                  </a:lnTo>
                  <a:lnTo>
                    <a:pt x="666" y="987"/>
                  </a:lnTo>
                  <a:lnTo>
                    <a:pt x="694" y="987"/>
                  </a:lnTo>
                  <a:lnTo>
                    <a:pt x="704" y="959"/>
                  </a:lnTo>
                  <a:lnTo>
                    <a:pt x="720" y="954"/>
                  </a:lnTo>
                  <a:lnTo>
                    <a:pt x="737" y="947"/>
                  </a:lnTo>
                  <a:lnTo>
                    <a:pt x="758" y="959"/>
                  </a:lnTo>
                  <a:lnTo>
                    <a:pt x="763" y="959"/>
                  </a:lnTo>
                  <a:lnTo>
                    <a:pt x="775" y="975"/>
                  </a:lnTo>
                  <a:lnTo>
                    <a:pt x="780" y="992"/>
                  </a:lnTo>
                  <a:lnTo>
                    <a:pt x="746" y="1013"/>
                  </a:lnTo>
                  <a:lnTo>
                    <a:pt x="746" y="1013"/>
                  </a:lnTo>
                  <a:lnTo>
                    <a:pt x="746" y="1013"/>
                  </a:lnTo>
                  <a:close/>
                  <a:moveTo>
                    <a:pt x="402" y="959"/>
                  </a:moveTo>
                  <a:lnTo>
                    <a:pt x="385" y="970"/>
                  </a:lnTo>
                  <a:lnTo>
                    <a:pt x="397" y="954"/>
                  </a:lnTo>
                  <a:lnTo>
                    <a:pt x="402" y="959"/>
                  </a:lnTo>
                  <a:lnTo>
                    <a:pt x="402" y="959"/>
                  </a:lnTo>
                  <a:lnTo>
                    <a:pt x="402" y="959"/>
                  </a:lnTo>
                  <a:close/>
                  <a:moveTo>
                    <a:pt x="657" y="954"/>
                  </a:moveTo>
                  <a:lnTo>
                    <a:pt x="666" y="959"/>
                  </a:lnTo>
                  <a:lnTo>
                    <a:pt x="657" y="959"/>
                  </a:lnTo>
                  <a:lnTo>
                    <a:pt x="657" y="954"/>
                  </a:lnTo>
                  <a:lnTo>
                    <a:pt x="657" y="954"/>
                  </a:lnTo>
                  <a:lnTo>
                    <a:pt x="657" y="954"/>
                  </a:lnTo>
                  <a:close/>
                  <a:moveTo>
                    <a:pt x="628" y="959"/>
                  </a:moveTo>
                  <a:lnTo>
                    <a:pt x="619" y="970"/>
                  </a:lnTo>
                  <a:lnTo>
                    <a:pt x="619" y="959"/>
                  </a:lnTo>
                  <a:lnTo>
                    <a:pt x="628" y="959"/>
                  </a:lnTo>
                  <a:lnTo>
                    <a:pt x="628" y="959"/>
                  </a:lnTo>
                  <a:lnTo>
                    <a:pt x="628" y="959"/>
                  </a:lnTo>
                  <a:close/>
                  <a:moveTo>
                    <a:pt x="628" y="970"/>
                  </a:moveTo>
                  <a:lnTo>
                    <a:pt x="628" y="975"/>
                  </a:lnTo>
                  <a:lnTo>
                    <a:pt x="619" y="970"/>
                  </a:lnTo>
                  <a:lnTo>
                    <a:pt x="628" y="970"/>
                  </a:lnTo>
                  <a:lnTo>
                    <a:pt x="628" y="970"/>
                  </a:lnTo>
                  <a:lnTo>
                    <a:pt x="628" y="970"/>
                  </a:lnTo>
                  <a:close/>
                  <a:moveTo>
                    <a:pt x="532" y="1008"/>
                  </a:moveTo>
                  <a:lnTo>
                    <a:pt x="548" y="1013"/>
                  </a:lnTo>
                  <a:lnTo>
                    <a:pt x="557" y="1008"/>
                  </a:lnTo>
                  <a:lnTo>
                    <a:pt x="565" y="1008"/>
                  </a:lnTo>
                  <a:lnTo>
                    <a:pt x="574" y="1025"/>
                  </a:lnTo>
                  <a:lnTo>
                    <a:pt x="557" y="1029"/>
                  </a:lnTo>
                  <a:lnTo>
                    <a:pt x="557" y="1041"/>
                  </a:lnTo>
                  <a:lnTo>
                    <a:pt x="579" y="1041"/>
                  </a:lnTo>
                  <a:lnTo>
                    <a:pt x="574" y="1046"/>
                  </a:lnTo>
                  <a:lnTo>
                    <a:pt x="586" y="1070"/>
                  </a:lnTo>
                  <a:lnTo>
                    <a:pt x="565" y="1098"/>
                  </a:lnTo>
                  <a:lnTo>
                    <a:pt x="541" y="1190"/>
                  </a:lnTo>
                  <a:lnTo>
                    <a:pt x="527" y="1181"/>
                  </a:lnTo>
                  <a:lnTo>
                    <a:pt x="520" y="1190"/>
                  </a:lnTo>
                  <a:lnTo>
                    <a:pt x="527" y="1197"/>
                  </a:lnTo>
                  <a:lnTo>
                    <a:pt x="494" y="1226"/>
                  </a:lnTo>
                  <a:lnTo>
                    <a:pt x="503" y="1190"/>
                  </a:lnTo>
                  <a:lnTo>
                    <a:pt x="489" y="1174"/>
                  </a:lnTo>
                  <a:lnTo>
                    <a:pt x="503" y="1174"/>
                  </a:lnTo>
                  <a:lnTo>
                    <a:pt x="503" y="1169"/>
                  </a:lnTo>
                  <a:lnTo>
                    <a:pt x="494" y="1157"/>
                  </a:lnTo>
                  <a:lnTo>
                    <a:pt x="489" y="1174"/>
                  </a:lnTo>
                  <a:lnTo>
                    <a:pt x="494" y="1209"/>
                  </a:lnTo>
                  <a:lnTo>
                    <a:pt x="465" y="1197"/>
                  </a:lnTo>
                  <a:lnTo>
                    <a:pt x="472" y="1169"/>
                  </a:lnTo>
                  <a:lnTo>
                    <a:pt x="456" y="1157"/>
                  </a:lnTo>
                  <a:lnTo>
                    <a:pt x="456" y="1136"/>
                  </a:lnTo>
                  <a:lnTo>
                    <a:pt x="489" y="1103"/>
                  </a:lnTo>
                  <a:lnTo>
                    <a:pt x="489" y="1086"/>
                  </a:lnTo>
                  <a:lnTo>
                    <a:pt x="477" y="1086"/>
                  </a:lnTo>
                  <a:lnTo>
                    <a:pt x="489" y="1081"/>
                  </a:lnTo>
                  <a:lnTo>
                    <a:pt x="477" y="1065"/>
                  </a:lnTo>
                  <a:lnTo>
                    <a:pt x="477" y="1058"/>
                  </a:lnTo>
                  <a:lnTo>
                    <a:pt x="465" y="1046"/>
                  </a:lnTo>
                  <a:lnTo>
                    <a:pt x="456" y="1046"/>
                  </a:lnTo>
                  <a:lnTo>
                    <a:pt x="465" y="1065"/>
                  </a:lnTo>
                  <a:lnTo>
                    <a:pt x="456" y="1070"/>
                  </a:lnTo>
                  <a:lnTo>
                    <a:pt x="472" y="1070"/>
                  </a:lnTo>
                  <a:lnTo>
                    <a:pt x="472" y="1086"/>
                  </a:lnTo>
                  <a:lnTo>
                    <a:pt x="456" y="1098"/>
                  </a:lnTo>
                  <a:lnTo>
                    <a:pt x="456" y="1086"/>
                  </a:lnTo>
                  <a:lnTo>
                    <a:pt x="465" y="1081"/>
                  </a:lnTo>
                  <a:lnTo>
                    <a:pt x="456" y="1081"/>
                  </a:lnTo>
                  <a:lnTo>
                    <a:pt x="435" y="1098"/>
                  </a:lnTo>
                  <a:lnTo>
                    <a:pt x="439" y="1081"/>
                  </a:lnTo>
                  <a:lnTo>
                    <a:pt x="423" y="1070"/>
                  </a:lnTo>
                  <a:lnTo>
                    <a:pt x="423" y="1058"/>
                  </a:lnTo>
                  <a:lnTo>
                    <a:pt x="435" y="1065"/>
                  </a:lnTo>
                  <a:lnTo>
                    <a:pt x="435" y="1070"/>
                  </a:lnTo>
                  <a:lnTo>
                    <a:pt x="451" y="1070"/>
                  </a:lnTo>
                  <a:lnTo>
                    <a:pt x="439" y="1058"/>
                  </a:lnTo>
                  <a:lnTo>
                    <a:pt x="418" y="1041"/>
                  </a:lnTo>
                  <a:lnTo>
                    <a:pt x="418" y="1029"/>
                  </a:lnTo>
                  <a:lnTo>
                    <a:pt x="435" y="1029"/>
                  </a:lnTo>
                  <a:lnTo>
                    <a:pt x="439" y="1013"/>
                  </a:lnTo>
                  <a:lnTo>
                    <a:pt x="451" y="1025"/>
                  </a:lnTo>
                  <a:lnTo>
                    <a:pt x="465" y="1008"/>
                  </a:lnTo>
                  <a:lnTo>
                    <a:pt x="472" y="1008"/>
                  </a:lnTo>
                  <a:lnTo>
                    <a:pt x="477" y="992"/>
                  </a:lnTo>
                  <a:lnTo>
                    <a:pt x="494" y="987"/>
                  </a:lnTo>
                  <a:lnTo>
                    <a:pt x="520" y="987"/>
                  </a:lnTo>
                  <a:lnTo>
                    <a:pt x="527" y="1008"/>
                  </a:lnTo>
                  <a:lnTo>
                    <a:pt x="532" y="1008"/>
                  </a:lnTo>
                  <a:lnTo>
                    <a:pt x="532" y="1008"/>
                  </a:lnTo>
                  <a:lnTo>
                    <a:pt x="532" y="1008"/>
                  </a:lnTo>
                  <a:close/>
                  <a:moveTo>
                    <a:pt x="423" y="1004"/>
                  </a:moveTo>
                  <a:lnTo>
                    <a:pt x="423" y="1004"/>
                  </a:lnTo>
                  <a:lnTo>
                    <a:pt x="423" y="992"/>
                  </a:lnTo>
                  <a:lnTo>
                    <a:pt x="435" y="1004"/>
                  </a:lnTo>
                  <a:lnTo>
                    <a:pt x="423" y="1004"/>
                  </a:lnTo>
                  <a:lnTo>
                    <a:pt x="423" y="1004"/>
                  </a:lnTo>
                  <a:lnTo>
                    <a:pt x="423" y="1004"/>
                  </a:lnTo>
                  <a:close/>
                  <a:moveTo>
                    <a:pt x="418" y="1029"/>
                  </a:moveTo>
                  <a:lnTo>
                    <a:pt x="402" y="1046"/>
                  </a:lnTo>
                  <a:lnTo>
                    <a:pt x="418" y="1025"/>
                  </a:lnTo>
                  <a:lnTo>
                    <a:pt x="418" y="1029"/>
                  </a:lnTo>
                  <a:lnTo>
                    <a:pt x="418" y="1029"/>
                  </a:lnTo>
                  <a:lnTo>
                    <a:pt x="418" y="1029"/>
                  </a:lnTo>
                  <a:close/>
                  <a:moveTo>
                    <a:pt x="385" y="1058"/>
                  </a:moveTo>
                  <a:lnTo>
                    <a:pt x="385" y="1065"/>
                  </a:lnTo>
                  <a:lnTo>
                    <a:pt x="385" y="1065"/>
                  </a:lnTo>
                  <a:lnTo>
                    <a:pt x="380" y="1070"/>
                  </a:lnTo>
                  <a:lnTo>
                    <a:pt x="380" y="1065"/>
                  </a:lnTo>
                  <a:lnTo>
                    <a:pt x="385" y="1046"/>
                  </a:lnTo>
                  <a:lnTo>
                    <a:pt x="385" y="1058"/>
                  </a:lnTo>
                  <a:lnTo>
                    <a:pt x="385" y="1058"/>
                  </a:lnTo>
                  <a:lnTo>
                    <a:pt x="385" y="1058"/>
                  </a:lnTo>
                  <a:close/>
                  <a:moveTo>
                    <a:pt x="359" y="1081"/>
                  </a:moveTo>
                  <a:lnTo>
                    <a:pt x="359" y="1081"/>
                  </a:lnTo>
                  <a:lnTo>
                    <a:pt x="364" y="1081"/>
                  </a:lnTo>
                  <a:lnTo>
                    <a:pt x="369" y="1086"/>
                  </a:lnTo>
                  <a:lnTo>
                    <a:pt x="347" y="1086"/>
                  </a:lnTo>
                  <a:lnTo>
                    <a:pt x="359" y="1081"/>
                  </a:lnTo>
                  <a:lnTo>
                    <a:pt x="359" y="1081"/>
                  </a:lnTo>
                  <a:lnTo>
                    <a:pt x="359" y="1081"/>
                  </a:lnTo>
                  <a:close/>
                  <a:moveTo>
                    <a:pt x="451" y="1124"/>
                  </a:moveTo>
                  <a:lnTo>
                    <a:pt x="451" y="1103"/>
                  </a:lnTo>
                  <a:lnTo>
                    <a:pt x="456" y="1098"/>
                  </a:lnTo>
                  <a:lnTo>
                    <a:pt x="465" y="1115"/>
                  </a:lnTo>
                  <a:lnTo>
                    <a:pt x="451" y="1124"/>
                  </a:lnTo>
                  <a:lnTo>
                    <a:pt x="451" y="1124"/>
                  </a:lnTo>
                  <a:lnTo>
                    <a:pt x="451" y="1124"/>
                  </a:lnTo>
                  <a:close/>
                  <a:moveTo>
                    <a:pt x="465" y="1103"/>
                  </a:moveTo>
                  <a:lnTo>
                    <a:pt x="477" y="1098"/>
                  </a:lnTo>
                  <a:lnTo>
                    <a:pt x="472" y="1115"/>
                  </a:lnTo>
                  <a:lnTo>
                    <a:pt x="465" y="1103"/>
                  </a:lnTo>
                  <a:lnTo>
                    <a:pt x="465" y="1103"/>
                  </a:lnTo>
                  <a:lnTo>
                    <a:pt x="465" y="1103"/>
                  </a:lnTo>
                  <a:close/>
                  <a:moveTo>
                    <a:pt x="456" y="1124"/>
                  </a:moveTo>
                  <a:lnTo>
                    <a:pt x="465" y="1124"/>
                  </a:lnTo>
                  <a:lnTo>
                    <a:pt x="456" y="1124"/>
                  </a:lnTo>
                  <a:lnTo>
                    <a:pt x="456" y="1124"/>
                  </a:lnTo>
                  <a:lnTo>
                    <a:pt x="456" y="1124"/>
                  </a:lnTo>
                  <a:lnTo>
                    <a:pt x="456" y="1124"/>
                  </a:lnTo>
                  <a:close/>
                  <a:moveTo>
                    <a:pt x="423" y="1169"/>
                  </a:moveTo>
                  <a:lnTo>
                    <a:pt x="435" y="1157"/>
                  </a:lnTo>
                  <a:lnTo>
                    <a:pt x="423" y="1169"/>
                  </a:lnTo>
                  <a:lnTo>
                    <a:pt x="423" y="1169"/>
                  </a:lnTo>
                  <a:lnTo>
                    <a:pt x="423" y="1169"/>
                  </a:lnTo>
                  <a:lnTo>
                    <a:pt x="423" y="1169"/>
                  </a:lnTo>
                  <a:close/>
                  <a:moveTo>
                    <a:pt x="527" y="1230"/>
                  </a:moveTo>
                  <a:lnTo>
                    <a:pt x="520" y="1268"/>
                  </a:lnTo>
                  <a:lnTo>
                    <a:pt x="510" y="1268"/>
                  </a:lnTo>
                  <a:lnTo>
                    <a:pt x="510" y="1247"/>
                  </a:lnTo>
                  <a:lnTo>
                    <a:pt x="527" y="1230"/>
                  </a:lnTo>
                  <a:lnTo>
                    <a:pt x="527" y="1230"/>
                  </a:lnTo>
                  <a:lnTo>
                    <a:pt x="527" y="1230"/>
                  </a:lnTo>
                  <a:close/>
                  <a:moveTo>
                    <a:pt x="489" y="1263"/>
                  </a:moveTo>
                  <a:lnTo>
                    <a:pt x="494" y="1268"/>
                  </a:lnTo>
                  <a:lnTo>
                    <a:pt x="489" y="1280"/>
                  </a:lnTo>
                  <a:lnTo>
                    <a:pt x="477" y="1280"/>
                  </a:lnTo>
                  <a:lnTo>
                    <a:pt x="472" y="1268"/>
                  </a:lnTo>
                  <a:lnTo>
                    <a:pt x="489" y="1263"/>
                  </a:lnTo>
                  <a:lnTo>
                    <a:pt x="489" y="1263"/>
                  </a:lnTo>
                  <a:lnTo>
                    <a:pt x="489" y="1263"/>
                  </a:lnTo>
                  <a:close/>
                  <a:moveTo>
                    <a:pt x="423" y="1412"/>
                  </a:moveTo>
                  <a:lnTo>
                    <a:pt x="423" y="1419"/>
                  </a:lnTo>
                  <a:lnTo>
                    <a:pt x="402" y="1445"/>
                  </a:lnTo>
                  <a:lnTo>
                    <a:pt x="385" y="1436"/>
                  </a:lnTo>
                  <a:lnTo>
                    <a:pt x="423" y="1412"/>
                  </a:lnTo>
                  <a:lnTo>
                    <a:pt x="423" y="1412"/>
                  </a:lnTo>
                  <a:lnTo>
                    <a:pt x="423" y="1412"/>
                  </a:lnTo>
                  <a:close/>
                  <a:moveTo>
                    <a:pt x="397" y="1436"/>
                  </a:moveTo>
                  <a:lnTo>
                    <a:pt x="402" y="1445"/>
                  </a:lnTo>
                  <a:lnTo>
                    <a:pt x="397" y="1445"/>
                  </a:lnTo>
                  <a:lnTo>
                    <a:pt x="397" y="1436"/>
                  </a:lnTo>
                  <a:lnTo>
                    <a:pt x="397" y="1436"/>
                  </a:lnTo>
                  <a:lnTo>
                    <a:pt x="397" y="1436"/>
                  </a:lnTo>
                  <a:close/>
                  <a:moveTo>
                    <a:pt x="369" y="1457"/>
                  </a:moveTo>
                  <a:lnTo>
                    <a:pt x="380" y="1474"/>
                  </a:lnTo>
                  <a:lnTo>
                    <a:pt x="369" y="1485"/>
                  </a:lnTo>
                  <a:lnTo>
                    <a:pt x="369" y="1469"/>
                  </a:lnTo>
                  <a:lnTo>
                    <a:pt x="369" y="1457"/>
                  </a:lnTo>
                  <a:lnTo>
                    <a:pt x="369" y="1457"/>
                  </a:lnTo>
                  <a:lnTo>
                    <a:pt x="369" y="1457"/>
                  </a:lnTo>
                  <a:close/>
                  <a:moveTo>
                    <a:pt x="347" y="1502"/>
                  </a:moveTo>
                  <a:lnTo>
                    <a:pt x="359" y="1502"/>
                  </a:lnTo>
                  <a:lnTo>
                    <a:pt x="347" y="1507"/>
                  </a:lnTo>
                  <a:lnTo>
                    <a:pt x="347" y="1502"/>
                  </a:lnTo>
                  <a:lnTo>
                    <a:pt x="347" y="1502"/>
                  </a:lnTo>
                  <a:lnTo>
                    <a:pt x="347" y="1502"/>
                  </a:lnTo>
                  <a:close/>
                  <a:moveTo>
                    <a:pt x="326" y="1547"/>
                  </a:moveTo>
                  <a:lnTo>
                    <a:pt x="331" y="1547"/>
                  </a:lnTo>
                  <a:lnTo>
                    <a:pt x="326" y="1556"/>
                  </a:lnTo>
                  <a:lnTo>
                    <a:pt x="293" y="1580"/>
                  </a:lnTo>
                  <a:lnTo>
                    <a:pt x="293" y="1596"/>
                  </a:lnTo>
                  <a:lnTo>
                    <a:pt x="288" y="1601"/>
                  </a:lnTo>
                  <a:lnTo>
                    <a:pt x="288" y="1580"/>
                  </a:lnTo>
                  <a:lnTo>
                    <a:pt x="305" y="1568"/>
                  </a:lnTo>
                  <a:lnTo>
                    <a:pt x="305" y="1556"/>
                  </a:lnTo>
                  <a:lnTo>
                    <a:pt x="309" y="1563"/>
                  </a:lnTo>
                  <a:lnTo>
                    <a:pt x="326" y="1547"/>
                  </a:lnTo>
                  <a:lnTo>
                    <a:pt x="326" y="1547"/>
                  </a:lnTo>
                  <a:lnTo>
                    <a:pt x="326" y="1547"/>
                  </a:lnTo>
                  <a:close/>
                  <a:moveTo>
                    <a:pt x="217" y="1580"/>
                  </a:moveTo>
                  <a:lnTo>
                    <a:pt x="222" y="1585"/>
                  </a:lnTo>
                  <a:lnTo>
                    <a:pt x="217" y="1580"/>
                  </a:lnTo>
                  <a:lnTo>
                    <a:pt x="217" y="1580"/>
                  </a:lnTo>
                  <a:lnTo>
                    <a:pt x="217" y="1580"/>
                  </a:lnTo>
                  <a:lnTo>
                    <a:pt x="217" y="1580"/>
                  </a:lnTo>
                  <a:close/>
                  <a:moveTo>
                    <a:pt x="116" y="1696"/>
                  </a:moveTo>
                  <a:lnTo>
                    <a:pt x="125" y="1707"/>
                  </a:lnTo>
                  <a:lnTo>
                    <a:pt x="116" y="1707"/>
                  </a:lnTo>
                  <a:lnTo>
                    <a:pt x="116" y="1696"/>
                  </a:lnTo>
                  <a:lnTo>
                    <a:pt x="116" y="1696"/>
                  </a:lnTo>
                  <a:lnTo>
                    <a:pt x="116" y="1696"/>
                  </a:lnTo>
                  <a:close/>
                  <a:moveTo>
                    <a:pt x="33" y="1729"/>
                  </a:moveTo>
                  <a:lnTo>
                    <a:pt x="40" y="1729"/>
                  </a:lnTo>
                  <a:lnTo>
                    <a:pt x="45" y="1724"/>
                  </a:lnTo>
                  <a:lnTo>
                    <a:pt x="40" y="1736"/>
                  </a:lnTo>
                  <a:lnTo>
                    <a:pt x="33" y="1736"/>
                  </a:lnTo>
                  <a:lnTo>
                    <a:pt x="33" y="1729"/>
                  </a:lnTo>
                  <a:lnTo>
                    <a:pt x="33" y="1729"/>
                  </a:lnTo>
                  <a:lnTo>
                    <a:pt x="33" y="1729"/>
                  </a:lnTo>
                  <a:close/>
                  <a:moveTo>
                    <a:pt x="7" y="1729"/>
                  </a:moveTo>
                  <a:lnTo>
                    <a:pt x="24" y="1736"/>
                  </a:lnTo>
                  <a:lnTo>
                    <a:pt x="17" y="1745"/>
                  </a:lnTo>
                  <a:lnTo>
                    <a:pt x="0" y="1736"/>
                  </a:lnTo>
                  <a:lnTo>
                    <a:pt x="7" y="1729"/>
                  </a:lnTo>
                  <a:lnTo>
                    <a:pt x="7" y="1729"/>
                  </a:lnTo>
                  <a:lnTo>
                    <a:pt x="7" y="172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2" name="Freeform 485">
              <a:extLst>
                <a:ext uri="{FF2B5EF4-FFF2-40B4-BE49-F238E27FC236}">
                  <a16:creationId xmlns:a16="http://schemas.microsoft.com/office/drawing/2014/main" id="{3460E4B0-6187-40FC-B6B7-C8068D64C2AB}"/>
                </a:ext>
              </a:extLst>
            </p:cNvPr>
            <p:cNvSpPr>
              <a:spLocks noEditPoints="1"/>
            </p:cNvSpPr>
            <p:nvPr/>
          </p:nvSpPr>
          <p:spPr bwMode="gray">
            <a:xfrm>
              <a:off x="10325056" y="2860793"/>
              <a:ext cx="181136" cy="181567"/>
            </a:xfrm>
            <a:custGeom>
              <a:avLst/>
              <a:gdLst>
                <a:gd name="T0" fmla="*/ 239 w 440"/>
                <a:gd name="T1" fmla="*/ 23 h 441"/>
                <a:gd name="T2" fmla="*/ 277 w 440"/>
                <a:gd name="T3" fmla="*/ 40 h 441"/>
                <a:gd name="T4" fmla="*/ 340 w 440"/>
                <a:gd name="T5" fmla="*/ 155 h 441"/>
                <a:gd name="T6" fmla="*/ 347 w 440"/>
                <a:gd name="T7" fmla="*/ 210 h 441"/>
                <a:gd name="T8" fmla="*/ 314 w 440"/>
                <a:gd name="T9" fmla="*/ 292 h 441"/>
                <a:gd name="T10" fmla="*/ 260 w 440"/>
                <a:gd name="T11" fmla="*/ 297 h 441"/>
                <a:gd name="T12" fmla="*/ 260 w 440"/>
                <a:gd name="T13" fmla="*/ 297 h 441"/>
                <a:gd name="T14" fmla="*/ 206 w 440"/>
                <a:gd name="T15" fmla="*/ 304 h 441"/>
                <a:gd name="T16" fmla="*/ 206 w 440"/>
                <a:gd name="T17" fmla="*/ 333 h 441"/>
                <a:gd name="T18" fmla="*/ 201 w 440"/>
                <a:gd name="T19" fmla="*/ 333 h 441"/>
                <a:gd name="T20" fmla="*/ 189 w 440"/>
                <a:gd name="T21" fmla="*/ 333 h 441"/>
                <a:gd name="T22" fmla="*/ 163 w 440"/>
                <a:gd name="T23" fmla="*/ 349 h 441"/>
                <a:gd name="T24" fmla="*/ 114 w 440"/>
                <a:gd name="T25" fmla="*/ 321 h 441"/>
                <a:gd name="T26" fmla="*/ 130 w 440"/>
                <a:gd name="T27" fmla="*/ 333 h 441"/>
                <a:gd name="T28" fmla="*/ 137 w 440"/>
                <a:gd name="T29" fmla="*/ 314 h 441"/>
                <a:gd name="T30" fmla="*/ 125 w 440"/>
                <a:gd name="T31" fmla="*/ 314 h 441"/>
                <a:gd name="T32" fmla="*/ 114 w 440"/>
                <a:gd name="T33" fmla="*/ 292 h 441"/>
                <a:gd name="T34" fmla="*/ 125 w 440"/>
                <a:gd name="T35" fmla="*/ 281 h 441"/>
                <a:gd name="T36" fmla="*/ 147 w 440"/>
                <a:gd name="T37" fmla="*/ 248 h 441"/>
                <a:gd name="T38" fmla="*/ 137 w 440"/>
                <a:gd name="T39" fmla="*/ 226 h 441"/>
                <a:gd name="T40" fmla="*/ 147 w 440"/>
                <a:gd name="T41" fmla="*/ 222 h 441"/>
                <a:gd name="T42" fmla="*/ 125 w 440"/>
                <a:gd name="T43" fmla="*/ 155 h 441"/>
                <a:gd name="T44" fmla="*/ 109 w 440"/>
                <a:gd name="T45" fmla="*/ 155 h 441"/>
                <a:gd name="T46" fmla="*/ 125 w 440"/>
                <a:gd name="T47" fmla="*/ 148 h 441"/>
                <a:gd name="T48" fmla="*/ 130 w 440"/>
                <a:gd name="T49" fmla="*/ 148 h 441"/>
                <a:gd name="T50" fmla="*/ 151 w 440"/>
                <a:gd name="T51" fmla="*/ 155 h 441"/>
                <a:gd name="T52" fmla="*/ 151 w 440"/>
                <a:gd name="T53" fmla="*/ 115 h 441"/>
                <a:gd name="T54" fmla="*/ 151 w 440"/>
                <a:gd name="T55" fmla="*/ 111 h 441"/>
                <a:gd name="T56" fmla="*/ 130 w 440"/>
                <a:gd name="T57" fmla="*/ 73 h 441"/>
                <a:gd name="T58" fmla="*/ 147 w 440"/>
                <a:gd name="T59" fmla="*/ 61 h 441"/>
                <a:gd name="T60" fmla="*/ 7 w 440"/>
                <a:gd name="T61" fmla="*/ 61 h 441"/>
                <a:gd name="T62" fmla="*/ 7 w 440"/>
                <a:gd name="T63" fmla="*/ 56 h 441"/>
                <a:gd name="T64" fmla="*/ 130 w 440"/>
                <a:gd name="T65" fmla="*/ 82 h 441"/>
                <a:gd name="T66" fmla="*/ 130 w 440"/>
                <a:gd name="T67" fmla="*/ 73 h 441"/>
                <a:gd name="T68" fmla="*/ 440 w 440"/>
                <a:gd name="T69" fmla="*/ 94 h 441"/>
                <a:gd name="T70" fmla="*/ 440 w 440"/>
                <a:gd name="T71" fmla="*/ 94 h 441"/>
                <a:gd name="T72" fmla="*/ 125 w 440"/>
                <a:gd name="T73" fmla="*/ 181 h 441"/>
                <a:gd name="T74" fmla="*/ 125 w 440"/>
                <a:gd name="T75" fmla="*/ 181 h 441"/>
                <a:gd name="T76" fmla="*/ 288 w 440"/>
                <a:gd name="T77" fmla="*/ 304 h 441"/>
                <a:gd name="T78" fmla="*/ 277 w 440"/>
                <a:gd name="T79" fmla="*/ 314 h 441"/>
                <a:gd name="T80" fmla="*/ 288 w 440"/>
                <a:gd name="T81" fmla="*/ 304 h 441"/>
                <a:gd name="T82" fmla="*/ 234 w 440"/>
                <a:gd name="T83" fmla="*/ 314 h 441"/>
                <a:gd name="T84" fmla="*/ 222 w 440"/>
                <a:gd name="T85" fmla="*/ 321 h 441"/>
                <a:gd name="T86" fmla="*/ 234 w 440"/>
                <a:gd name="T87" fmla="*/ 304 h 441"/>
                <a:gd name="T88" fmla="*/ 222 w 440"/>
                <a:gd name="T89" fmla="*/ 333 h 441"/>
                <a:gd name="T90" fmla="*/ 222 w 440"/>
                <a:gd name="T91" fmla="*/ 333 h 441"/>
                <a:gd name="T92" fmla="*/ 114 w 440"/>
                <a:gd name="T93" fmla="*/ 349 h 441"/>
                <a:gd name="T94" fmla="*/ 125 w 440"/>
                <a:gd name="T95" fmla="*/ 337 h 441"/>
                <a:gd name="T96" fmla="*/ 222 w 440"/>
                <a:gd name="T97" fmla="*/ 337 h 441"/>
                <a:gd name="T98" fmla="*/ 222 w 440"/>
                <a:gd name="T99" fmla="*/ 337 h 441"/>
                <a:gd name="T100" fmla="*/ 184 w 440"/>
                <a:gd name="T101" fmla="*/ 337 h 441"/>
                <a:gd name="T102" fmla="*/ 184 w 440"/>
                <a:gd name="T103" fmla="*/ 337 h 441"/>
                <a:gd name="T104" fmla="*/ 147 w 440"/>
                <a:gd name="T105" fmla="*/ 349 h 441"/>
                <a:gd name="T106" fmla="*/ 147 w 440"/>
                <a:gd name="T107" fmla="*/ 349 h 441"/>
                <a:gd name="T108" fmla="*/ 151 w 440"/>
                <a:gd name="T109" fmla="*/ 415 h 441"/>
                <a:gd name="T110" fmla="*/ 114 w 440"/>
                <a:gd name="T111" fmla="*/ 441 h 441"/>
                <a:gd name="T112" fmla="*/ 151 w 440"/>
                <a:gd name="T113" fmla="*/ 415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0" h="441">
                  <a:moveTo>
                    <a:pt x="147" y="61"/>
                  </a:moveTo>
                  <a:lnTo>
                    <a:pt x="180" y="28"/>
                  </a:lnTo>
                  <a:lnTo>
                    <a:pt x="239" y="23"/>
                  </a:lnTo>
                  <a:lnTo>
                    <a:pt x="255" y="16"/>
                  </a:lnTo>
                  <a:lnTo>
                    <a:pt x="260" y="0"/>
                  </a:lnTo>
                  <a:lnTo>
                    <a:pt x="277" y="40"/>
                  </a:lnTo>
                  <a:lnTo>
                    <a:pt x="310" y="78"/>
                  </a:lnTo>
                  <a:lnTo>
                    <a:pt x="340" y="132"/>
                  </a:lnTo>
                  <a:lnTo>
                    <a:pt x="340" y="155"/>
                  </a:lnTo>
                  <a:lnTo>
                    <a:pt x="331" y="210"/>
                  </a:lnTo>
                  <a:lnTo>
                    <a:pt x="340" y="222"/>
                  </a:lnTo>
                  <a:lnTo>
                    <a:pt x="347" y="210"/>
                  </a:lnTo>
                  <a:lnTo>
                    <a:pt x="347" y="210"/>
                  </a:lnTo>
                  <a:lnTo>
                    <a:pt x="340" y="248"/>
                  </a:lnTo>
                  <a:lnTo>
                    <a:pt x="314" y="292"/>
                  </a:lnTo>
                  <a:lnTo>
                    <a:pt x="293" y="292"/>
                  </a:lnTo>
                  <a:lnTo>
                    <a:pt x="277" y="281"/>
                  </a:lnTo>
                  <a:lnTo>
                    <a:pt x="260" y="297"/>
                  </a:lnTo>
                  <a:lnTo>
                    <a:pt x="272" y="297"/>
                  </a:lnTo>
                  <a:lnTo>
                    <a:pt x="272" y="314"/>
                  </a:lnTo>
                  <a:lnTo>
                    <a:pt x="260" y="297"/>
                  </a:lnTo>
                  <a:lnTo>
                    <a:pt x="255" y="304"/>
                  </a:lnTo>
                  <a:lnTo>
                    <a:pt x="239" y="297"/>
                  </a:lnTo>
                  <a:lnTo>
                    <a:pt x="206" y="304"/>
                  </a:lnTo>
                  <a:lnTo>
                    <a:pt x="206" y="314"/>
                  </a:lnTo>
                  <a:lnTo>
                    <a:pt x="222" y="314"/>
                  </a:lnTo>
                  <a:lnTo>
                    <a:pt x="206" y="333"/>
                  </a:lnTo>
                  <a:lnTo>
                    <a:pt x="201" y="304"/>
                  </a:lnTo>
                  <a:lnTo>
                    <a:pt x="189" y="321"/>
                  </a:lnTo>
                  <a:lnTo>
                    <a:pt x="201" y="333"/>
                  </a:lnTo>
                  <a:lnTo>
                    <a:pt x="189" y="337"/>
                  </a:lnTo>
                  <a:lnTo>
                    <a:pt x="180" y="337"/>
                  </a:lnTo>
                  <a:lnTo>
                    <a:pt x="189" y="333"/>
                  </a:lnTo>
                  <a:lnTo>
                    <a:pt x="189" y="321"/>
                  </a:lnTo>
                  <a:lnTo>
                    <a:pt x="168" y="333"/>
                  </a:lnTo>
                  <a:lnTo>
                    <a:pt x="163" y="349"/>
                  </a:lnTo>
                  <a:lnTo>
                    <a:pt x="151" y="333"/>
                  </a:lnTo>
                  <a:lnTo>
                    <a:pt x="137" y="354"/>
                  </a:lnTo>
                  <a:lnTo>
                    <a:pt x="114" y="321"/>
                  </a:lnTo>
                  <a:lnTo>
                    <a:pt x="114" y="321"/>
                  </a:lnTo>
                  <a:lnTo>
                    <a:pt x="130" y="333"/>
                  </a:lnTo>
                  <a:lnTo>
                    <a:pt x="130" y="333"/>
                  </a:lnTo>
                  <a:lnTo>
                    <a:pt x="137" y="333"/>
                  </a:lnTo>
                  <a:lnTo>
                    <a:pt x="130" y="321"/>
                  </a:lnTo>
                  <a:lnTo>
                    <a:pt x="137" y="314"/>
                  </a:lnTo>
                  <a:lnTo>
                    <a:pt x="130" y="304"/>
                  </a:lnTo>
                  <a:lnTo>
                    <a:pt x="130" y="314"/>
                  </a:lnTo>
                  <a:lnTo>
                    <a:pt x="125" y="314"/>
                  </a:lnTo>
                  <a:lnTo>
                    <a:pt x="125" y="297"/>
                  </a:lnTo>
                  <a:lnTo>
                    <a:pt x="114" y="304"/>
                  </a:lnTo>
                  <a:lnTo>
                    <a:pt x="114" y="292"/>
                  </a:lnTo>
                  <a:lnTo>
                    <a:pt x="125" y="281"/>
                  </a:lnTo>
                  <a:lnTo>
                    <a:pt x="125" y="297"/>
                  </a:lnTo>
                  <a:lnTo>
                    <a:pt x="125" y="281"/>
                  </a:lnTo>
                  <a:lnTo>
                    <a:pt x="125" y="264"/>
                  </a:lnTo>
                  <a:lnTo>
                    <a:pt x="130" y="259"/>
                  </a:lnTo>
                  <a:lnTo>
                    <a:pt x="147" y="248"/>
                  </a:lnTo>
                  <a:lnTo>
                    <a:pt x="130" y="243"/>
                  </a:lnTo>
                  <a:lnTo>
                    <a:pt x="151" y="226"/>
                  </a:lnTo>
                  <a:lnTo>
                    <a:pt x="137" y="226"/>
                  </a:lnTo>
                  <a:lnTo>
                    <a:pt x="137" y="222"/>
                  </a:lnTo>
                  <a:lnTo>
                    <a:pt x="151" y="210"/>
                  </a:lnTo>
                  <a:lnTo>
                    <a:pt x="147" y="222"/>
                  </a:lnTo>
                  <a:lnTo>
                    <a:pt x="130" y="205"/>
                  </a:lnTo>
                  <a:lnTo>
                    <a:pt x="130" y="155"/>
                  </a:lnTo>
                  <a:lnTo>
                    <a:pt x="125" y="155"/>
                  </a:lnTo>
                  <a:lnTo>
                    <a:pt x="114" y="172"/>
                  </a:lnTo>
                  <a:lnTo>
                    <a:pt x="114" y="155"/>
                  </a:lnTo>
                  <a:lnTo>
                    <a:pt x="109" y="155"/>
                  </a:lnTo>
                  <a:lnTo>
                    <a:pt x="114" y="139"/>
                  </a:lnTo>
                  <a:lnTo>
                    <a:pt x="114" y="148"/>
                  </a:lnTo>
                  <a:lnTo>
                    <a:pt x="125" y="148"/>
                  </a:lnTo>
                  <a:lnTo>
                    <a:pt x="125" y="132"/>
                  </a:lnTo>
                  <a:lnTo>
                    <a:pt x="125" y="132"/>
                  </a:lnTo>
                  <a:lnTo>
                    <a:pt x="130" y="148"/>
                  </a:lnTo>
                  <a:lnTo>
                    <a:pt x="130" y="132"/>
                  </a:lnTo>
                  <a:lnTo>
                    <a:pt x="151" y="139"/>
                  </a:lnTo>
                  <a:lnTo>
                    <a:pt x="151" y="155"/>
                  </a:lnTo>
                  <a:lnTo>
                    <a:pt x="168" y="139"/>
                  </a:lnTo>
                  <a:lnTo>
                    <a:pt x="147" y="132"/>
                  </a:lnTo>
                  <a:lnTo>
                    <a:pt x="151" y="115"/>
                  </a:lnTo>
                  <a:lnTo>
                    <a:pt x="137" y="127"/>
                  </a:lnTo>
                  <a:lnTo>
                    <a:pt x="137" y="115"/>
                  </a:lnTo>
                  <a:lnTo>
                    <a:pt x="151" y="111"/>
                  </a:lnTo>
                  <a:lnTo>
                    <a:pt x="147" y="111"/>
                  </a:lnTo>
                  <a:lnTo>
                    <a:pt x="130" y="78"/>
                  </a:lnTo>
                  <a:lnTo>
                    <a:pt x="130" y="73"/>
                  </a:lnTo>
                  <a:lnTo>
                    <a:pt x="147" y="78"/>
                  </a:lnTo>
                  <a:lnTo>
                    <a:pt x="147" y="61"/>
                  </a:lnTo>
                  <a:lnTo>
                    <a:pt x="147" y="61"/>
                  </a:lnTo>
                  <a:lnTo>
                    <a:pt x="147" y="61"/>
                  </a:lnTo>
                  <a:close/>
                  <a:moveTo>
                    <a:pt x="7" y="56"/>
                  </a:moveTo>
                  <a:lnTo>
                    <a:pt x="7" y="61"/>
                  </a:lnTo>
                  <a:lnTo>
                    <a:pt x="0" y="56"/>
                  </a:lnTo>
                  <a:lnTo>
                    <a:pt x="7" y="56"/>
                  </a:lnTo>
                  <a:lnTo>
                    <a:pt x="7" y="56"/>
                  </a:lnTo>
                  <a:lnTo>
                    <a:pt x="7" y="56"/>
                  </a:lnTo>
                  <a:close/>
                  <a:moveTo>
                    <a:pt x="130" y="73"/>
                  </a:moveTo>
                  <a:lnTo>
                    <a:pt x="130" y="82"/>
                  </a:lnTo>
                  <a:lnTo>
                    <a:pt x="125" y="82"/>
                  </a:lnTo>
                  <a:lnTo>
                    <a:pt x="125" y="73"/>
                  </a:lnTo>
                  <a:lnTo>
                    <a:pt x="130" y="73"/>
                  </a:lnTo>
                  <a:lnTo>
                    <a:pt x="130" y="73"/>
                  </a:lnTo>
                  <a:lnTo>
                    <a:pt x="130" y="73"/>
                  </a:lnTo>
                  <a:close/>
                  <a:moveTo>
                    <a:pt x="440" y="94"/>
                  </a:moveTo>
                  <a:lnTo>
                    <a:pt x="440" y="99"/>
                  </a:lnTo>
                  <a:lnTo>
                    <a:pt x="433" y="94"/>
                  </a:lnTo>
                  <a:lnTo>
                    <a:pt x="440" y="94"/>
                  </a:lnTo>
                  <a:lnTo>
                    <a:pt x="440" y="94"/>
                  </a:lnTo>
                  <a:lnTo>
                    <a:pt x="440" y="94"/>
                  </a:lnTo>
                  <a:close/>
                  <a:moveTo>
                    <a:pt x="125" y="181"/>
                  </a:moveTo>
                  <a:lnTo>
                    <a:pt x="125" y="181"/>
                  </a:lnTo>
                  <a:lnTo>
                    <a:pt x="125" y="165"/>
                  </a:lnTo>
                  <a:lnTo>
                    <a:pt x="125" y="181"/>
                  </a:lnTo>
                  <a:lnTo>
                    <a:pt x="125" y="181"/>
                  </a:lnTo>
                  <a:lnTo>
                    <a:pt x="125" y="181"/>
                  </a:lnTo>
                  <a:close/>
                  <a:moveTo>
                    <a:pt x="288" y="304"/>
                  </a:moveTo>
                  <a:lnTo>
                    <a:pt x="288" y="314"/>
                  </a:lnTo>
                  <a:lnTo>
                    <a:pt x="277" y="321"/>
                  </a:lnTo>
                  <a:lnTo>
                    <a:pt x="277" y="314"/>
                  </a:lnTo>
                  <a:lnTo>
                    <a:pt x="272" y="304"/>
                  </a:lnTo>
                  <a:lnTo>
                    <a:pt x="288" y="304"/>
                  </a:lnTo>
                  <a:lnTo>
                    <a:pt x="288" y="304"/>
                  </a:lnTo>
                  <a:lnTo>
                    <a:pt x="288" y="304"/>
                  </a:lnTo>
                  <a:close/>
                  <a:moveTo>
                    <a:pt x="234" y="304"/>
                  </a:moveTo>
                  <a:lnTo>
                    <a:pt x="234" y="314"/>
                  </a:lnTo>
                  <a:lnTo>
                    <a:pt x="239" y="314"/>
                  </a:lnTo>
                  <a:lnTo>
                    <a:pt x="239" y="321"/>
                  </a:lnTo>
                  <a:lnTo>
                    <a:pt x="222" y="321"/>
                  </a:lnTo>
                  <a:lnTo>
                    <a:pt x="222" y="304"/>
                  </a:lnTo>
                  <a:lnTo>
                    <a:pt x="234" y="304"/>
                  </a:lnTo>
                  <a:lnTo>
                    <a:pt x="234" y="304"/>
                  </a:lnTo>
                  <a:lnTo>
                    <a:pt x="234" y="304"/>
                  </a:lnTo>
                  <a:close/>
                  <a:moveTo>
                    <a:pt x="222" y="333"/>
                  </a:moveTo>
                  <a:lnTo>
                    <a:pt x="222" y="333"/>
                  </a:lnTo>
                  <a:lnTo>
                    <a:pt x="218" y="333"/>
                  </a:lnTo>
                  <a:lnTo>
                    <a:pt x="222" y="333"/>
                  </a:lnTo>
                  <a:lnTo>
                    <a:pt x="222" y="333"/>
                  </a:lnTo>
                  <a:lnTo>
                    <a:pt x="222" y="333"/>
                  </a:lnTo>
                  <a:close/>
                  <a:moveTo>
                    <a:pt x="125" y="337"/>
                  </a:moveTo>
                  <a:lnTo>
                    <a:pt x="114" y="349"/>
                  </a:lnTo>
                  <a:lnTo>
                    <a:pt x="99" y="349"/>
                  </a:lnTo>
                  <a:lnTo>
                    <a:pt x="114" y="333"/>
                  </a:lnTo>
                  <a:lnTo>
                    <a:pt x="125" y="337"/>
                  </a:lnTo>
                  <a:lnTo>
                    <a:pt x="125" y="337"/>
                  </a:lnTo>
                  <a:lnTo>
                    <a:pt x="125" y="337"/>
                  </a:lnTo>
                  <a:close/>
                  <a:moveTo>
                    <a:pt x="222" y="337"/>
                  </a:moveTo>
                  <a:lnTo>
                    <a:pt x="222" y="337"/>
                  </a:lnTo>
                  <a:lnTo>
                    <a:pt x="218" y="337"/>
                  </a:lnTo>
                  <a:lnTo>
                    <a:pt x="222" y="337"/>
                  </a:lnTo>
                  <a:lnTo>
                    <a:pt x="222" y="337"/>
                  </a:lnTo>
                  <a:lnTo>
                    <a:pt x="222" y="337"/>
                  </a:lnTo>
                  <a:close/>
                  <a:moveTo>
                    <a:pt x="184" y="337"/>
                  </a:moveTo>
                  <a:lnTo>
                    <a:pt x="184" y="349"/>
                  </a:lnTo>
                  <a:lnTo>
                    <a:pt x="180" y="349"/>
                  </a:lnTo>
                  <a:lnTo>
                    <a:pt x="184" y="337"/>
                  </a:lnTo>
                  <a:lnTo>
                    <a:pt x="184" y="337"/>
                  </a:lnTo>
                  <a:lnTo>
                    <a:pt x="184" y="337"/>
                  </a:lnTo>
                  <a:close/>
                  <a:moveTo>
                    <a:pt x="147" y="349"/>
                  </a:moveTo>
                  <a:lnTo>
                    <a:pt x="147" y="354"/>
                  </a:lnTo>
                  <a:lnTo>
                    <a:pt x="137" y="354"/>
                  </a:lnTo>
                  <a:lnTo>
                    <a:pt x="147" y="349"/>
                  </a:lnTo>
                  <a:lnTo>
                    <a:pt x="147" y="349"/>
                  </a:lnTo>
                  <a:lnTo>
                    <a:pt x="147" y="349"/>
                  </a:lnTo>
                  <a:close/>
                  <a:moveTo>
                    <a:pt x="151" y="415"/>
                  </a:moveTo>
                  <a:lnTo>
                    <a:pt x="163" y="425"/>
                  </a:lnTo>
                  <a:lnTo>
                    <a:pt x="151" y="432"/>
                  </a:lnTo>
                  <a:lnTo>
                    <a:pt x="114" y="441"/>
                  </a:lnTo>
                  <a:lnTo>
                    <a:pt x="109" y="441"/>
                  </a:lnTo>
                  <a:lnTo>
                    <a:pt x="114" y="425"/>
                  </a:lnTo>
                  <a:lnTo>
                    <a:pt x="151" y="415"/>
                  </a:lnTo>
                  <a:lnTo>
                    <a:pt x="151" y="415"/>
                  </a:lnTo>
                  <a:lnTo>
                    <a:pt x="151" y="41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3" name="Freeform 486">
              <a:extLst>
                <a:ext uri="{FF2B5EF4-FFF2-40B4-BE49-F238E27FC236}">
                  <a16:creationId xmlns:a16="http://schemas.microsoft.com/office/drawing/2014/main" id="{0159E0A3-8C65-4FA4-A996-D494A0D2B979}"/>
                </a:ext>
              </a:extLst>
            </p:cNvPr>
            <p:cNvSpPr>
              <a:spLocks/>
            </p:cNvSpPr>
            <p:nvPr/>
          </p:nvSpPr>
          <p:spPr bwMode="gray">
            <a:xfrm>
              <a:off x="9774653" y="4373025"/>
              <a:ext cx="2882" cy="6588"/>
            </a:xfrm>
            <a:custGeom>
              <a:avLst/>
              <a:gdLst>
                <a:gd name="T0" fmla="*/ 7 w 7"/>
                <a:gd name="T1" fmla="*/ 16 h 16"/>
                <a:gd name="T2" fmla="*/ 0 w 7"/>
                <a:gd name="T3" fmla="*/ 7 h 16"/>
                <a:gd name="T4" fmla="*/ 7 w 7"/>
                <a:gd name="T5" fmla="*/ 0 h 16"/>
                <a:gd name="T6" fmla="*/ 7 w 7"/>
                <a:gd name="T7" fmla="*/ 16 h 16"/>
                <a:gd name="T8" fmla="*/ 7 w 7"/>
                <a:gd name="T9" fmla="*/ 16 h 16"/>
                <a:gd name="T10" fmla="*/ 7 w 7"/>
                <a:gd name="T11" fmla="*/ 16 h 16"/>
              </a:gdLst>
              <a:ahLst/>
              <a:cxnLst>
                <a:cxn ang="0">
                  <a:pos x="T0" y="T1"/>
                </a:cxn>
                <a:cxn ang="0">
                  <a:pos x="T2" y="T3"/>
                </a:cxn>
                <a:cxn ang="0">
                  <a:pos x="T4" y="T5"/>
                </a:cxn>
                <a:cxn ang="0">
                  <a:pos x="T6" y="T7"/>
                </a:cxn>
                <a:cxn ang="0">
                  <a:pos x="T8" y="T9"/>
                </a:cxn>
                <a:cxn ang="0">
                  <a:pos x="T10" y="T11"/>
                </a:cxn>
              </a:cxnLst>
              <a:rect l="0" t="0" r="r" b="b"/>
              <a:pathLst>
                <a:path w="7" h="16">
                  <a:moveTo>
                    <a:pt x="7" y="16"/>
                  </a:moveTo>
                  <a:lnTo>
                    <a:pt x="0" y="7"/>
                  </a:lnTo>
                  <a:lnTo>
                    <a:pt x="7" y="0"/>
                  </a:lnTo>
                  <a:lnTo>
                    <a:pt x="7" y="16"/>
                  </a:lnTo>
                  <a:lnTo>
                    <a:pt x="7" y="16"/>
                  </a:lnTo>
                  <a:lnTo>
                    <a:pt x="7" y="1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6" name="Freeform 489">
              <a:extLst>
                <a:ext uri="{FF2B5EF4-FFF2-40B4-BE49-F238E27FC236}">
                  <a16:creationId xmlns:a16="http://schemas.microsoft.com/office/drawing/2014/main" id="{39ACC3B9-A52D-4E41-B941-0C11E25C698C}"/>
                </a:ext>
              </a:extLst>
            </p:cNvPr>
            <p:cNvSpPr>
              <a:spLocks/>
            </p:cNvSpPr>
            <p:nvPr/>
          </p:nvSpPr>
          <p:spPr bwMode="gray">
            <a:xfrm>
              <a:off x="9615337" y="3387789"/>
              <a:ext cx="220655" cy="262674"/>
            </a:xfrm>
            <a:custGeom>
              <a:avLst/>
              <a:gdLst>
                <a:gd name="T0" fmla="*/ 5 w 536"/>
                <a:gd name="T1" fmla="*/ 127 h 638"/>
                <a:gd name="T2" fmla="*/ 33 w 536"/>
                <a:gd name="T3" fmla="*/ 120 h 638"/>
                <a:gd name="T4" fmla="*/ 49 w 536"/>
                <a:gd name="T5" fmla="*/ 87 h 638"/>
                <a:gd name="T6" fmla="*/ 75 w 536"/>
                <a:gd name="T7" fmla="*/ 66 h 638"/>
                <a:gd name="T8" fmla="*/ 104 w 536"/>
                <a:gd name="T9" fmla="*/ 94 h 638"/>
                <a:gd name="T10" fmla="*/ 125 w 536"/>
                <a:gd name="T11" fmla="*/ 94 h 638"/>
                <a:gd name="T12" fmla="*/ 113 w 536"/>
                <a:gd name="T13" fmla="*/ 49 h 638"/>
                <a:gd name="T14" fmla="*/ 104 w 536"/>
                <a:gd name="T15" fmla="*/ 16 h 638"/>
                <a:gd name="T16" fmla="*/ 146 w 536"/>
                <a:gd name="T17" fmla="*/ 9 h 638"/>
                <a:gd name="T18" fmla="*/ 179 w 536"/>
                <a:gd name="T19" fmla="*/ 66 h 638"/>
                <a:gd name="T20" fmla="*/ 196 w 536"/>
                <a:gd name="T21" fmla="*/ 87 h 638"/>
                <a:gd name="T22" fmla="*/ 255 w 536"/>
                <a:gd name="T23" fmla="*/ 137 h 638"/>
                <a:gd name="T24" fmla="*/ 276 w 536"/>
                <a:gd name="T25" fmla="*/ 111 h 638"/>
                <a:gd name="T26" fmla="*/ 305 w 536"/>
                <a:gd name="T27" fmla="*/ 149 h 638"/>
                <a:gd name="T28" fmla="*/ 342 w 536"/>
                <a:gd name="T29" fmla="*/ 177 h 638"/>
                <a:gd name="T30" fmla="*/ 331 w 536"/>
                <a:gd name="T31" fmla="*/ 194 h 638"/>
                <a:gd name="T32" fmla="*/ 319 w 536"/>
                <a:gd name="T33" fmla="*/ 215 h 638"/>
                <a:gd name="T34" fmla="*/ 276 w 536"/>
                <a:gd name="T35" fmla="*/ 222 h 638"/>
                <a:gd name="T36" fmla="*/ 288 w 536"/>
                <a:gd name="T37" fmla="*/ 248 h 638"/>
                <a:gd name="T38" fmla="*/ 357 w 536"/>
                <a:gd name="T39" fmla="*/ 288 h 638"/>
                <a:gd name="T40" fmla="*/ 357 w 536"/>
                <a:gd name="T41" fmla="*/ 309 h 638"/>
                <a:gd name="T42" fmla="*/ 380 w 536"/>
                <a:gd name="T43" fmla="*/ 326 h 638"/>
                <a:gd name="T44" fmla="*/ 439 w 536"/>
                <a:gd name="T45" fmla="*/ 399 h 638"/>
                <a:gd name="T46" fmla="*/ 456 w 536"/>
                <a:gd name="T47" fmla="*/ 416 h 638"/>
                <a:gd name="T48" fmla="*/ 465 w 536"/>
                <a:gd name="T49" fmla="*/ 456 h 638"/>
                <a:gd name="T50" fmla="*/ 482 w 536"/>
                <a:gd name="T51" fmla="*/ 444 h 638"/>
                <a:gd name="T52" fmla="*/ 494 w 536"/>
                <a:gd name="T53" fmla="*/ 460 h 638"/>
                <a:gd name="T54" fmla="*/ 520 w 536"/>
                <a:gd name="T55" fmla="*/ 477 h 638"/>
                <a:gd name="T56" fmla="*/ 494 w 536"/>
                <a:gd name="T57" fmla="*/ 498 h 638"/>
                <a:gd name="T58" fmla="*/ 527 w 536"/>
                <a:gd name="T59" fmla="*/ 555 h 638"/>
                <a:gd name="T60" fmla="*/ 527 w 536"/>
                <a:gd name="T61" fmla="*/ 583 h 638"/>
                <a:gd name="T62" fmla="*/ 456 w 536"/>
                <a:gd name="T63" fmla="*/ 588 h 638"/>
                <a:gd name="T64" fmla="*/ 435 w 536"/>
                <a:gd name="T65" fmla="*/ 593 h 638"/>
                <a:gd name="T66" fmla="*/ 418 w 536"/>
                <a:gd name="T67" fmla="*/ 605 h 638"/>
                <a:gd name="T68" fmla="*/ 418 w 536"/>
                <a:gd name="T69" fmla="*/ 638 h 638"/>
                <a:gd name="T70" fmla="*/ 385 w 536"/>
                <a:gd name="T71" fmla="*/ 621 h 638"/>
                <a:gd name="T72" fmla="*/ 357 w 536"/>
                <a:gd name="T73" fmla="*/ 605 h 638"/>
                <a:gd name="T74" fmla="*/ 385 w 536"/>
                <a:gd name="T75" fmla="*/ 555 h 638"/>
                <a:gd name="T76" fmla="*/ 385 w 536"/>
                <a:gd name="T77" fmla="*/ 510 h 638"/>
                <a:gd name="T78" fmla="*/ 373 w 536"/>
                <a:gd name="T79" fmla="*/ 494 h 638"/>
                <a:gd name="T80" fmla="*/ 347 w 536"/>
                <a:gd name="T81" fmla="*/ 477 h 638"/>
                <a:gd name="T82" fmla="*/ 331 w 536"/>
                <a:gd name="T83" fmla="*/ 387 h 638"/>
                <a:gd name="T84" fmla="*/ 293 w 536"/>
                <a:gd name="T85" fmla="*/ 349 h 638"/>
                <a:gd name="T86" fmla="*/ 234 w 536"/>
                <a:gd name="T87" fmla="*/ 305 h 638"/>
                <a:gd name="T88" fmla="*/ 222 w 536"/>
                <a:gd name="T89" fmla="*/ 316 h 638"/>
                <a:gd name="T90" fmla="*/ 212 w 536"/>
                <a:gd name="T91" fmla="*/ 333 h 638"/>
                <a:gd name="T92" fmla="*/ 179 w 536"/>
                <a:gd name="T93" fmla="*/ 349 h 638"/>
                <a:gd name="T94" fmla="*/ 163 w 536"/>
                <a:gd name="T95" fmla="*/ 333 h 638"/>
                <a:gd name="T96" fmla="*/ 125 w 536"/>
                <a:gd name="T97" fmla="*/ 333 h 638"/>
                <a:gd name="T98" fmla="*/ 104 w 536"/>
                <a:gd name="T99" fmla="*/ 349 h 638"/>
                <a:gd name="T100" fmla="*/ 59 w 536"/>
                <a:gd name="T101" fmla="*/ 366 h 638"/>
                <a:gd name="T102" fmla="*/ 75 w 536"/>
                <a:gd name="T103" fmla="*/ 309 h 638"/>
                <a:gd name="T104" fmla="*/ 87 w 536"/>
                <a:gd name="T105" fmla="*/ 288 h 638"/>
                <a:gd name="T106" fmla="*/ 87 w 536"/>
                <a:gd name="T107" fmla="*/ 255 h 638"/>
                <a:gd name="T108" fmla="*/ 87 w 536"/>
                <a:gd name="T109" fmla="*/ 222 h 638"/>
                <a:gd name="T110" fmla="*/ 49 w 536"/>
                <a:gd name="T111" fmla="*/ 222 h 638"/>
                <a:gd name="T112" fmla="*/ 21 w 536"/>
                <a:gd name="T113" fmla="*/ 205 h 638"/>
                <a:gd name="T114" fmla="*/ 21 w 536"/>
                <a:gd name="T115" fmla="*/ 177 h 638"/>
                <a:gd name="T116" fmla="*/ 5 w 536"/>
                <a:gd name="T117" fmla="*/ 165 h 638"/>
                <a:gd name="T118" fmla="*/ 0 w 536"/>
                <a:gd name="T119" fmla="*/ 16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 h="638">
                  <a:moveTo>
                    <a:pt x="0" y="160"/>
                  </a:moveTo>
                  <a:lnTo>
                    <a:pt x="5" y="127"/>
                  </a:lnTo>
                  <a:lnTo>
                    <a:pt x="38" y="120"/>
                  </a:lnTo>
                  <a:lnTo>
                    <a:pt x="33" y="120"/>
                  </a:lnTo>
                  <a:lnTo>
                    <a:pt x="33" y="111"/>
                  </a:lnTo>
                  <a:lnTo>
                    <a:pt x="49" y="87"/>
                  </a:lnTo>
                  <a:lnTo>
                    <a:pt x="59" y="83"/>
                  </a:lnTo>
                  <a:lnTo>
                    <a:pt x="75" y="66"/>
                  </a:lnTo>
                  <a:lnTo>
                    <a:pt x="87" y="94"/>
                  </a:lnTo>
                  <a:lnTo>
                    <a:pt x="104" y="94"/>
                  </a:lnTo>
                  <a:lnTo>
                    <a:pt x="113" y="104"/>
                  </a:lnTo>
                  <a:lnTo>
                    <a:pt x="125" y="94"/>
                  </a:lnTo>
                  <a:lnTo>
                    <a:pt x="113" y="87"/>
                  </a:lnTo>
                  <a:lnTo>
                    <a:pt x="113" y="49"/>
                  </a:lnTo>
                  <a:lnTo>
                    <a:pt x="109" y="38"/>
                  </a:lnTo>
                  <a:lnTo>
                    <a:pt x="104" y="16"/>
                  </a:lnTo>
                  <a:lnTo>
                    <a:pt x="113" y="0"/>
                  </a:lnTo>
                  <a:lnTo>
                    <a:pt x="146" y="9"/>
                  </a:lnTo>
                  <a:lnTo>
                    <a:pt x="179" y="38"/>
                  </a:lnTo>
                  <a:lnTo>
                    <a:pt x="179" y="66"/>
                  </a:lnTo>
                  <a:lnTo>
                    <a:pt x="201" y="54"/>
                  </a:lnTo>
                  <a:lnTo>
                    <a:pt x="196" y="87"/>
                  </a:lnTo>
                  <a:lnTo>
                    <a:pt x="217" y="120"/>
                  </a:lnTo>
                  <a:lnTo>
                    <a:pt x="255" y="137"/>
                  </a:lnTo>
                  <a:lnTo>
                    <a:pt x="264" y="120"/>
                  </a:lnTo>
                  <a:lnTo>
                    <a:pt x="276" y="111"/>
                  </a:lnTo>
                  <a:lnTo>
                    <a:pt x="319" y="137"/>
                  </a:lnTo>
                  <a:lnTo>
                    <a:pt x="305" y="149"/>
                  </a:lnTo>
                  <a:lnTo>
                    <a:pt x="319" y="149"/>
                  </a:lnTo>
                  <a:lnTo>
                    <a:pt x="342" y="177"/>
                  </a:lnTo>
                  <a:lnTo>
                    <a:pt x="342" y="182"/>
                  </a:lnTo>
                  <a:lnTo>
                    <a:pt x="331" y="194"/>
                  </a:lnTo>
                  <a:lnTo>
                    <a:pt x="331" y="198"/>
                  </a:lnTo>
                  <a:lnTo>
                    <a:pt x="319" y="215"/>
                  </a:lnTo>
                  <a:lnTo>
                    <a:pt x="276" y="205"/>
                  </a:lnTo>
                  <a:lnTo>
                    <a:pt x="276" y="222"/>
                  </a:lnTo>
                  <a:lnTo>
                    <a:pt x="264" y="238"/>
                  </a:lnTo>
                  <a:lnTo>
                    <a:pt x="288" y="248"/>
                  </a:lnTo>
                  <a:lnTo>
                    <a:pt x="326" y="276"/>
                  </a:lnTo>
                  <a:lnTo>
                    <a:pt x="357" y="288"/>
                  </a:lnTo>
                  <a:lnTo>
                    <a:pt x="357" y="305"/>
                  </a:lnTo>
                  <a:lnTo>
                    <a:pt x="357" y="309"/>
                  </a:lnTo>
                  <a:lnTo>
                    <a:pt x="373" y="326"/>
                  </a:lnTo>
                  <a:lnTo>
                    <a:pt x="380" y="326"/>
                  </a:lnTo>
                  <a:lnTo>
                    <a:pt x="397" y="361"/>
                  </a:lnTo>
                  <a:lnTo>
                    <a:pt x="439" y="399"/>
                  </a:lnTo>
                  <a:lnTo>
                    <a:pt x="449" y="416"/>
                  </a:lnTo>
                  <a:lnTo>
                    <a:pt x="456" y="416"/>
                  </a:lnTo>
                  <a:lnTo>
                    <a:pt x="456" y="437"/>
                  </a:lnTo>
                  <a:lnTo>
                    <a:pt x="465" y="456"/>
                  </a:lnTo>
                  <a:lnTo>
                    <a:pt x="472" y="456"/>
                  </a:lnTo>
                  <a:lnTo>
                    <a:pt x="482" y="444"/>
                  </a:lnTo>
                  <a:lnTo>
                    <a:pt x="489" y="460"/>
                  </a:lnTo>
                  <a:lnTo>
                    <a:pt x="494" y="460"/>
                  </a:lnTo>
                  <a:lnTo>
                    <a:pt x="510" y="477"/>
                  </a:lnTo>
                  <a:lnTo>
                    <a:pt x="520" y="477"/>
                  </a:lnTo>
                  <a:lnTo>
                    <a:pt x="510" y="494"/>
                  </a:lnTo>
                  <a:lnTo>
                    <a:pt x="494" y="498"/>
                  </a:lnTo>
                  <a:lnTo>
                    <a:pt x="536" y="538"/>
                  </a:lnTo>
                  <a:lnTo>
                    <a:pt x="527" y="555"/>
                  </a:lnTo>
                  <a:lnTo>
                    <a:pt x="520" y="555"/>
                  </a:lnTo>
                  <a:lnTo>
                    <a:pt x="527" y="583"/>
                  </a:lnTo>
                  <a:lnTo>
                    <a:pt x="472" y="609"/>
                  </a:lnTo>
                  <a:lnTo>
                    <a:pt x="456" y="588"/>
                  </a:lnTo>
                  <a:lnTo>
                    <a:pt x="439" y="593"/>
                  </a:lnTo>
                  <a:lnTo>
                    <a:pt x="435" y="593"/>
                  </a:lnTo>
                  <a:lnTo>
                    <a:pt x="435" y="605"/>
                  </a:lnTo>
                  <a:lnTo>
                    <a:pt x="418" y="605"/>
                  </a:lnTo>
                  <a:lnTo>
                    <a:pt x="427" y="628"/>
                  </a:lnTo>
                  <a:lnTo>
                    <a:pt x="418" y="638"/>
                  </a:lnTo>
                  <a:lnTo>
                    <a:pt x="411" y="638"/>
                  </a:lnTo>
                  <a:lnTo>
                    <a:pt x="385" y="621"/>
                  </a:lnTo>
                  <a:lnTo>
                    <a:pt x="373" y="628"/>
                  </a:lnTo>
                  <a:lnTo>
                    <a:pt x="357" y="605"/>
                  </a:lnTo>
                  <a:lnTo>
                    <a:pt x="380" y="588"/>
                  </a:lnTo>
                  <a:lnTo>
                    <a:pt x="385" y="555"/>
                  </a:lnTo>
                  <a:lnTo>
                    <a:pt x="380" y="550"/>
                  </a:lnTo>
                  <a:lnTo>
                    <a:pt x="385" y="510"/>
                  </a:lnTo>
                  <a:lnTo>
                    <a:pt x="373" y="498"/>
                  </a:lnTo>
                  <a:lnTo>
                    <a:pt x="373" y="494"/>
                  </a:lnTo>
                  <a:lnTo>
                    <a:pt x="373" y="482"/>
                  </a:lnTo>
                  <a:lnTo>
                    <a:pt x="347" y="477"/>
                  </a:lnTo>
                  <a:lnTo>
                    <a:pt x="326" y="444"/>
                  </a:lnTo>
                  <a:lnTo>
                    <a:pt x="331" y="387"/>
                  </a:lnTo>
                  <a:lnTo>
                    <a:pt x="326" y="371"/>
                  </a:lnTo>
                  <a:lnTo>
                    <a:pt x="293" y="349"/>
                  </a:lnTo>
                  <a:lnTo>
                    <a:pt x="272" y="309"/>
                  </a:lnTo>
                  <a:lnTo>
                    <a:pt x="234" y="305"/>
                  </a:lnTo>
                  <a:lnTo>
                    <a:pt x="222" y="309"/>
                  </a:lnTo>
                  <a:lnTo>
                    <a:pt x="222" y="316"/>
                  </a:lnTo>
                  <a:lnTo>
                    <a:pt x="212" y="326"/>
                  </a:lnTo>
                  <a:lnTo>
                    <a:pt x="212" y="333"/>
                  </a:lnTo>
                  <a:lnTo>
                    <a:pt x="196" y="333"/>
                  </a:lnTo>
                  <a:lnTo>
                    <a:pt x="179" y="349"/>
                  </a:lnTo>
                  <a:lnTo>
                    <a:pt x="179" y="342"/>
                  </a:lnTo>
                  <a:lnTo>
                    <a:pt x="163" y="333"/>
                  </a:lnTo>
                  <a:lnTo>
                    <a:pt x="142" y="316"/>
                  </a:lnTo>
                  <a:lnTo>
                    <a:pt x="125" y="333"/>
                  </a:lnTo>
                  <a:lnTo>
                    <a:pt x="113" y="333"/>
                  </a:lnTo>
                  <a:lnTo>
                    <a:pt x="104" y="349"/>
                  </a:lnTo>
                  <a:lnTo>
                    <a:pt x="75" y="371"/>
                  </a:lnTo>
                  <a:lnTo>
                    <a:pt x="59" y="366"/>
                  </a:lnTo>
                  <a:lnTo>
                    <a:pt x="75" y="326"/>
                  </a:lnTo>
                  <a:lnTo>
                    <a:pt x="75" y="309"/>
                  </a:lnTo>
                  <a:lnTo>
                    <a:pt x="71" y="305"/>
                  </a:lnTo>
                  <a:lnTo>
                    <a:pt x="87" y="288"/>
                  </a:lnTo>
                  <a:lnTo>
                    <a:pt x="75" y="272"/>
                  </a:lnTo>
                  <a:lnTo>
                    <a:pt x="87" y="255"/>
                  </a:lnTo>
                  <a:lnTo>
                    <a:pt x="75" y="231"/>
                  </a:lnTo>
                  <a:lnTo>
                    <a:pt x="87" y="222"/>
                  </a:lnTo>
                  <a:lnTo>
                    <a:pt x="54" y="215"/>
                  </a:lnTo>
                  <a:lnTo>
                    <a:pt x="49" y="222"/>
                  </a:lnTo>
                  <a:lnTo>
                    <a:pt x="33" y="222"/>
                  </a:lnTo>
                  <a:lnTo>
                    <a:pt x="21" y="205"/>
                  </a:lnTo>
                  <a:lnTo>
                    <a:pt x="33" y="177"/>
                  </a:lnTo>
                  <a:lnTo>
                    <a:pt x="21" y="177"/>
                  </a:lnTo>
                  <a:lnTo>
                    <a:pt x="16" y="160"/>
                  </a:lnTo>
                  <a:lnTo>
                    <a:pt x="5" y="165"/>
                  </a:lnTo>
                  <a:lnTo>
                    <a:pt x="0" y="160"/>
                  </a:lnTo>
                  <a:lnTo>
                    <a:pt x="0" y="160"/>
                  </a:lnTo>
                  <a:lnTo>
                    <a:pt x="0" y="16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1" name="Freeform 515">
              <a:extLst>
                <a:ext uri="{FF2B5EF4-FFF2-40B4-BE49-F238E27FC236}">
                  <a16:creationId xmlns:a16="http://schemas.microsoft.com/office/drawing/2014/main" id="{A5161570-09DB-42B3-814A-C4BEEA942CC8}"/>
                </a:ext>
              </a:extLst>
            </p:cNvPr>
            <p:cNvSpPr>
              <a:spLocks noEditPoints="1"/>
            </p:cNvSpPr>
            <p:nvPr/>
          </p:nvSpPr>
          <p:spPr bwMode="gray">
            <a:xfrm>
              <a:off x="9602574" y="3848911"/>
              <a:ext cx="566869" cy="192272"/>
            </a:xfrm>
            <a:custGeom>
              <a:avLst/>
              <a:gdLst>
                <a:gd name="T0" fmla="*/ 1205 w 1377"/>
                <a:gd name="T1" fmla="*/ 4 h 467"/>
                <a:gd name="T2" fmla="*/ 1238 w 1377"/>
                <a:gd name="T3" fmla="*/ 0 h 467"/>
                <a:gd name="T4" fmla="*/ 1233 w 1377"/>
                <a:gd name="T5" fmla="*/ 0 h 467"/>
                <a:gd name="T6" fmla="*/ 1184 w 1377"/>
                <a:gd name="T7" fmla="*/ 222 h 467"/>
                <a:gd name="T8" fmla="*/ 1125 w 1377"/>
                <a:gd name="T9" fmla="*/ 226 h 467"/>
                <a:gd name="T10" fmla="*/ 1099 w 1377"/>
                <a:gd name="T11" fmla="*/ 304 h 467"/>
                <a:gd name="T12" fmla="*/ 1070 w 1377"/>
                <a:gd name="T13" fmla="*/ 361 h 467"/>
                <a:gd name="T14" fmla="*/ 1037 w 1377"/>
                <a:gd name="T15" fmla="*/ 415 h 467"/>
                <a:gd name="T16" fmla="*/ 936 w 1377"/>
                <a:gd name="T17" fmla="*/ 411 h 467"/>
                <a:gd name="T18" fmla="*/ 865 w 1377"/>
                <a:gd name="T19" fmla="*/ 444 h 467"/>
                <a:gd name="T20" fmla="*/ 704 w 1377"/>
                <a:gd name="T21" fmla="*/ 411 h 467"/>
                <a:gd name="T22" fmla="*/ 718 w 1377"/>
                <a:gd name="T23" fmla="*/ 406 h 467"/>
                <a:gd name="T24" fmla="*/ 784 w 1377"/>
                <a:gd name="T25" fmla="*/ 415 h 467"/>
                <a:gd name="T26" fmla="*/ 827 w 1377"/>
                <a:gd name="T27" fmla="*/ 427 h 467"/>
                <a:gd name="T28" fmla="*/ 822 w 1377"/>
                <a:gd name="T29" fmla="*/ 373 h 467"/>
                <a:gd name="T30" fmla="*/ 827 w 1377"/>
                <a:gd name="T31" fmla="*/ 333 h 467"/>
                <a:gd name="T32" fmla="*/ 1006 w 1377"/>
                <a:gd name="T33" fmla="*/ 193 h 467"/>
                <a:gd name="T34" fmla="*/ 1070 w 1377"/>
                <a:gd name="T35" fmla="*/ 226 h 467"/>
                <a:gd name="T36" fmla="*/ 1082 w 1377"/>
                <a:gd name="T37" fmla="*/ 181 h 467"/>
                <a:gd name="T38" fmla="*/ 1091 w 1377"/>
                <a:gd name="T39" fmla="*/ 172 h 467"/>
                <a:gd name="T40" fmla="*/ 1108 w 1377"/>
                <a:gd name="T41" fmla="*/ 139 h 467"/>
                <a:gd name="T42" fmla="*/ 1151 w 1377"/>
                <a:gd name="T43" fmla="*/ 99 h 467"/>
                <a:gd name="T44" fmla="*/ 1205 w 1377"/>
                <a:gd name="T45" fmla="*/ 25 h 467"/>
                <a:gd name="T46" fmla="*/ 1238 w 1377"/>
                <a:gd name="T47" fmla="*/ 44 h 467"/>
                <a:gd name="T48" fmla="*/ 1259 w 1377"/>
                <a:gd name="T49" fmla="*/ 77 h 467"/>
                <a:gd name="T50" fmla="*/ 1292 w 1377"/>
                <a:gd name="T51" fmla="*/ 82 h 467"/>
                <a:gd name="T52" fmla="*/ 1314 w 1377"/>
                <a:gd name="T53" fmla="*/ 111 h 467"/>
                <a:gd name="T54" fmla="*/ 1377 w 1377"/>
                <a:gd name="T55" fmla="*/ 155 h 467"/>
                <a:gd name="T56" fmla="*/ 1297 w 1377"/>
                <a:gd name="T57" fmla="*/ 172 h 467"/>
                <a:gd name="T58" fmla="*/ 1330 w 1377"/>
                <a:gd name="T59" fmla="*/ 205 h 467"/>
                <a:gd name="T60" fmla="*/ 1271 w 1377"/>
                <a:gd name="T61" fmla="*/ 210 h 467"/>
                <a:gd name="T62" fmla="*/ 1243 w 1377"/>
                <a:gd name="T63" fmla="*/ 44 h 467"/>
                <a:gd name="T64" fmla="*/ 1243 w 1377"/>
                <a:gd name="T65" fmla="*/ 44 h 467"/>
                <a:gd name="T66" fmla="*/ 38 w 1377"/>
                <a:gd name="T67" fmla="*/ 44 h 467"/>
                <a:gd name="T68" fmla="*/ 83 w 1377"/>
                <a:gd name="T69" fmla="*/ 54 h 467"/>
                <a:gd name="T70" fmla="*/ 92 w 1377"/>
                <a:gd name="T71" fmla="*/ 111 h 467"/>
                <a:gd name="T72" fmla="*/ 158 w 1377"/>
                <a:gd name="T73" fmla="*/ 111 h 467"/>
                <a:gd name="T74" fmla="*/ 243 w 1377"/>
                <a:gd name="T75" fmla="*/ 132 h 467"/>
                <a:gd name="T76" fmla="*/ 272 w 1377"/>
                <a:gd name="T77" fmla="*/ 278 h 467"/>
                <a:gd name="T78" fmla="*/ 326 w 1377"/>
                <a:gd name="T79" fmla="*/ 406 h 467"/>
                <a:gd name="T80" fmla="*/ 303 w 1377"/>
                <a:gd name="T81" fmla="*/ 427 h 467"/>
                <a:gd name="T82" fmla="*/ 217 w 1377"/>
                <a:gd name="T83" fmla="*/ 394 h 467"/>
                <a:gd name="T84" fmla="*/ 121 w 1377"/>
                <a:gd name="T85" fmla="*/ 321 h 467"/>
                <a:gd name="T86" fmla="*/ 83 w 1377"/>
                <a:gd name="T87" fmla="*/ 250 h 467"/>
                <a:gd name="T88" fmla="*/ 88 w 1377"/>
                <a:gd name="T89" fmla="*/ 238 h 467"/>
                <a:gd name="T90" fmla="*/ 54 w 1377"/>
                <a:gd name="T91" fmla="*/ 148 h 467"/>
                <a:gd name="T92" fmla="*/ 33 w 1377"/>
                <a:gd name="T93" fmla="*/ 61 h 467"/>
                <a:gd name="T94" fmla="*/ 0 w 1377"/>
                <a:gd name="T95" fmla="*/ 61 h 467"/>
                <a:gd name="T96" fmla="*/ 50 w 1377"/>
                <a:gd name="T97" fmla="*/ 132 h 467"/>
                <a:gd name="T98" fmla="*/ 50 w 1377"/>
                <a:gd name="T99" fmla="*/ 132 h 467"/>
                <a:gd name="T100" fmla="*/ 1099 w 1377"/>
                <a:gd name="T101" fmla="*/ 139 h 467"/>
                <a:gd name="T102" fmla="*/ 1091 w 1377"/>
                <a:gd name="T103" fmla="*/ 148 h 467"/>
                <a:gd name="T104" fmla="*/ 1288 w 1377"/>
                <a:gd name="T105" fmla="*/ 226 h 467"/>
                <a:gd name="T106" fmla="*/ 822 w 1377"/>
                <a:gd name="T107" fmla="*/ 321 h 467"/>
                <a:gd name="T108" fmla="*/ 822 w 1377"/>
                <a:gd name="T109" fmla="*/ 349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77" h="467">
                  <a:moveTo>
                    <a:pt x="1205" y="4"/>
                  </a:moveTo>
                  <a:lnTo>
                    <a:pt x="1221" y="0"/>
                  </a:lnTo>
                  <a:lnTo>
                    <a:pt x="1221" y="0"/>
                  </a:lnTo>
                  <a:lnTo>
                    <a:pt x="1205" y="4"/>
                  </a:lnTo>
                  <a:lnTo>
                    <a:pt x="1205" y="4"/>
                  </a:lnTo>
                  <a:lnTo>
                    <a:pt x="1205" y="4"/>
                  </a:lnTo>
                  <a:close/>
                  <a:moveTo>
                    <a:pt x="1233" y="0"/>
                  </a:moveTo>
                  <a:lnTo>
                    <a:pt x="1238" y="0"/>
                  </a:lnTo>
                  <a:lnTo>
                    <a:pt x="1238" y="4"/>
                  </a:lnTo>
                  <a:lnTo>
                    <a:pt x="1221" y="16"/>
                  </a:lnTo>
                  <a:lnTo>
                    <a:pt x="1233" y="0"/>
                  </a:lnTo>
                  <a:lnTo>
                    <a:pt x="1233" y="0"/>
                  </a:lnTo>
                  <a:lnTo>
                    <a:pt x="1233" y="0"/>
                  </a:lnTo>
                  <a:close/>
                  <a:moveTo>
                    <a:pt x="1259" y="226"/>
                  </a:moveTo>
                  <a:lnTo>
                    <a:pt x="1238" y="210"/>
                  </a:lnTo>
                  <a:lnTo>
                    <a:pt x="1184" y="222"/>
                  </a:lnTo>
                  <a:lnTo>
                    <a:pt x="1162" y="210"/>
                  </a:lnTo>
                  <a:lnTo>
                    <a:pt x="1151" y="222"/>
                  </a:lnTo>
                  <a:lnTo>
                    <a:pt x="1136" y="210"/>
                  </a:lnTo>
                  <a:lnTo>
                    <a:pt x="1125" y="226"/>
                  </a:lnTo>
                  <a:lnTo>
                    <a:pt x="1125" y="259"/>
                  </a:lnTo>
                  <a:lnTo>
                    <a:pt x="1125" y="278"/>
                  </a:lnTo>
                  <a:lnTo>
                    <a:pt x="1113" y="304"/>
                  </a:lnTo>
                  <a:lnTo>
                    <a:pt x="1099" y="304"/>
                  </a:lnTo>
                  <a:lnTo>
                    <a:pt x="1091" y="316"/>
                  </a:lnTo>
                  <a:lnTo>
                    <a:pt x="1082" y="337"/>
                  </a:lnTo>
                  <a:lnTo>
                    <a:pt x="1099" y="349"/>
                  </a:lnTo>
                  <a:lnTo>
                    <a:pt x="1070" y="361"/>
                  </a:lnTo>
                  <a:lnTo>
                    <a:pt x="1070" y="389"/>
                  </a:lnTo>
                  <a:lnTo>
                    <a:pt x="1061" y="406"/>
                  </a:lnTo>
                  <a:lnTo>
                    <a:pt x="1054" y="427"/>
                  </a:lnTo>
                  <a:lnTo>
                    <a:pt x="1037" y="415"/>
                  </a:lnTo>
                  <a:lnTo>
                    <a:pt x="1006" y="415"/>
                  </a:lnTo>
                  <a:lnTo>
                    <a:pt x="985" y="434"/>
                  </a:lnTo>
                  <a:lnTo>
                    <a:pt x="947" y="427"/>
                  </a:lnTo>
                  <a:lnTo>
                    <a:pt x="936" y="411"/>
                  </a:lnTo>
                  <a:lnTo>
                    <a:pt x="898" y="411"/>
                  </a:lnTo>
                  <a:lnTo>
                    <a:pt x="881" y="415"/>
                  </a:lnTo>
                  <a:lnTo>
                    <a:pt x="877" y="444"/>
                  </a:lnTo>
                  <a:lnTo>
                    <a:pt x="865" y="444"/>
                  </a:lnTo>
                  <a:lnTo>
                    <a:pt x="860" y="460"/>
                  </a:lnTo>
                  <a:lnTo>
                    <a:pt x="810" y="451"/>
                  </a:lnTo>
                  <a:lnTo>
                    <a:pt x="768" y="467"/>
                  </a:lnTo>
                  <a:lnTo>
                    <a:pt x="704" y="411"/>
                  </a:lnTo>
                  <a:lnTo>
                    <a:pt x="697" y="389"/>
                  </a:lnTo>
                  <a:lnTo>
                    <a:pt x="704" y="377"/>
                  </a:lnTo>
                  <a:lnTo>
                    <a:pt x="704" y="389"/>
                  </a:lnTo>
                  <a:lnTo>
                    <a:pt x="718" y="406"/>
                  </a:lnTo>
                  <a:lnTo>
                    <a:pt x="747" y="406"/>
                  </a:lnTo>
                  <a:lnTo>
                    <a:pt x="751" y="394"/>
                  </a:lnTo>
                  <a:lnTo>
                    <a:pt x="758" y="411"/>
                  </a:lnTo>
                  <a:lnTo>
                    <a:pt x="784" y="415"/>
                  </a:lnTo>
                  <a:lnTo>
                    <a:pt x="773" y="415"/>
                  </a:lnTo>
                  <a:lnTo>
                    <a:pt x="784" y="411"/>
                  </a:lnTo>
                  <a:lnTo>
                    <a:pt x="810" y="427"/>
                  </a:lnTo>
                  <a:lnTo>
                    <a:pt x="827" y="427"/>
                  </a:lnTo>
                  <a:lnTo>
                    <a:pt x="806" y="415"/>
                  </a:lnTo>
                  <a:lnTo>
                    <a:pt x="801" y="411"/>
                  </a:lnTo>
                  <a:lnTo>
                    <a:pt x="810" y="377"/>
                  </a:lnTo>
                  <a:lnTo>
                    <a:pt x="822" y="373"/>
                  </a:lnTo>
                  <a:lnTo>
                    <a:pt x="810" y="373"/>
                  </a:lnTo>
                  <a:lnTo>
                    <a:pt x="810" y="356"/>
                  </a:lnTo>
                  <a:lnTo>
                    <a:pt x="827" y="356"/>
                  </a:lnTo>
                  <a:lnTo>
                    <a:pt x="827" y="333"/>
                  </a:lnTo>
                  <a:lnTo>
                    <a:pt x="843" y="321"/>
                  </a:lnTo>
                  <a:lnTo>
                    <a:pt x="936" y="300"/>
                  </a:lnTo>
                  <a:lnTo>
                    <a:pt x="1006" y="222"/>
                  </a:lnTo>
                  <a:lnTo>
                    <a:pt x="1006" y="193"/>
                  </a:lnTo>
                  <a:lnTo>
                    <a:pt x="1016" y="193"/>
                  </a:lnTo>
                  <a:lnTo>
                    <a:pt x="1028" y="193"/>
                  </a:lnTo>
                  <a:lnTo>
                    <a:pt x="1054" y="238"/>
                  </a:lnTo>
                  <a:lnTo>
                    <a:pt x="1070" y="226"/>
                  </a:lnTo>
                  <a:lnTo>
                    <a:pt x="1070" y="210"/>
                  </a:lnTo>
                  <a:lnTo>
                    <a:pt x="1070" y="188"/>
                  </a:lnTo>
                  <a:lnTo>
                    <a:pt x="1082" y="172"/>
                  </a:lnTo>
                  <a:lnTo>
                    <a:pt x="1082" y="181"/>
                  </a:lnTo>
                  <a:lnTo>
                    <a:pt x="1082" y="210"/>
                  </a:lnTo>
                  <a:lnTo>
                    <a:pt x="1108" y="210"/>
                  </a:lnTo>
                  <a:lnTo>
                    <a:pt x="1091" y="172"/>
                  </a:lnTo>
                  <a:lnTo>
                    <a:pt x="1091" y="172"/>
                  </a:lnTo>
                  <a:lnTo>
                    <a:pt x="1108" y="172"/>
                  </a:lnTo>
                  <a:lnTo>
                    <a:pt x="1113" y="165"/>
                  </a:lnTo>
                  <a:lnTo>
                    <a:pt x="1125" y="148"/>
                  </a:lnTo>
                  <a:lnTo>
                    <a:pt x="1108" y="139"/>
                  </a:lnTo>
                  <a:lnTo>
                    <a:pt x="1108" y="132"/>
                  </a:lnTo>
                  <a:lnTo>
                    <a:pt x="1113" y="127"/>
                  </a:lnTo>
                  <a:lnTo>
                    <a:pt x="1136" y="127"/>
                  </a:lnTo>
                  <a:lnTo>
                    <a:pt x="1151" y="99"/>
                  </a:lnTo>
                  <a:lnTo>
                    <a:pt x="1162" y="82"/>
                  </a:lnTo>
                  <a:lnTo>
                    <a:pt x="1184" y="61"/>
                  </a:lnTo>
                  <a:lnTo>
                    <a:pt x="1200" y="21"/>
                  </a:lnTo>
                  <a:lnTo>
                    <a:pt x="1205" y="25"/>
                  </a:lnTo>
                  <a:lnTo>
                    <a:pt x="1205" y="54"/>
                  </a:lnTo>
                  <a:lnTo>
                    <a:pt x="1233" y="21"/>
                  </a:lnTo>
                  <a:lnTo>
                    <a:pt x="1238" y="21"/>
                  </a:lnTo>
                  <a:lnTo>
                    <a:pt x="1238" y="44"/>
                  </a:lnTo>
                  <a:lnTo>
                    <a:pt x="1271" y="54"/>
                  </a:lnTo>
                  <a:lnTo>
                    <a:pt x="1271" y="61"/>
                  </a:lnTo>
                  <a:lnTo>
                    <a:pt x="1271" y="77"/>
                  </a:lnTo>
                  <a:lnTo>
                    <a:pt x="1259" y="77"/>
                  </a:lnTo>
                  <a:lnTo>
                    <a:pt x="1271" y="94"/>
                  </a:lnTo>
                  <a:lnTo>
                    <a:pt x="1254" y="99"/>
                  </a:lnTo>
                  <a:lnTo>
                    <a:pt x="1276" y="99"/>
                  </a:lnTo>
                  <a:lnTo>
                    <a:pt x="1292" y="82"/>
                  </a:lnTo>
                  <a:lnTo>
                    <a:pt x="1297" y="99"/>
                  </a:lnTo>
                  <a:lnTo>
                    <a:pt x="1288" y="111"/>
                  </a:lnTo>
                  <a:lnTo>
                    <a:pt x="1288" y="115"/>
                  </a:lnTo>
                  <a:lnTo>
                    <a:pt x="1314" y="111"/>
                  </a:lnTo>
                  <a:lnTo>
                    <a:pt x="1351" y="132"/>
                  </a:lnTo>
                  <a:lnTo>
                    <a:pt x="1377" y="132"/>
                  </a:lnTo>
                  <a:lnTo>
                    <a:pt x="1377" y="139"/>
                  </a:lnTo>
                  <a:lnTo>
                    <a:pt x="1377" y="155"/>
                  </a:lnTo>
                  <a:lnTo>
                    <a:pt x="1363" y="155"/>
                  </a:lnTo>
                  <a:lnTo>
                    <a:pt x="1340" y="172"/>
                  </a:lnTo>
                  <a:lnTo>
                    <a:pt x="1314" y="165"/>
                  </a:lnTo>
                  <a:lnTo>
                    <a:pt x="1297" y="172"/>
                  </a:lnTo>
                  <a:lnTo>
                    <a:pt x="1309" y="188"/>
                  </a:lnTo>
                  <a:lnTo>
                    <a:pt x="1325" y="193"/>
                  </a:lnTo>
                  <a:lnTo>
                    <a:pt x="1325" y="205"/>
                  </a:lnTo>
                  <a:lnTo>
                    <a:pt x="1330" y="205"/>
                  </a:lnTo>
                  <a:lnTo>
                    <a:pt x="1340" y="205"/>
                  </a:lnTo>
                  <a:lnTo>
                    <a:pt x="1330" y="210"/>
                  </a:lnTo>
                  <a:lnTo>
                    <a:pt x="1292" y="222"/>
                  </a:lnTo>
                  <a:lnTo>
                    <a:pt x="1271" y="210"/>
                  </a:lnTo>
                  <a:lnTo>
                    <a:pt x="1259" y="226"/>
                  </a:lnTo>
                  <a:lnTo>
                    <a:pt x="1259" y="226"/>
                  </a:lnTo>
                  <a:lnTo>
                    <a:pt x="1259" y="226"/>
                  </a:lnTo>
                  <a:close/>
                  <a:moveTo>
                    <a:pt x="1243" y="44"/>
                  </a:moveTo>
                  <a:lnTo>
                    <a:pt x="1254" y="37"/>
                  </a:lnTo>
                  <a:lnTo>
                    <a:pt x="1254" y="44"/>
                  </a:lnTo>
                  <a:lnTo>
                    <a:pt x="1254" y="44"/>
                  </a:lnTo>
                  <a:lnTo>
                    <a:pt x="1243" y="44"/>
                  </a:lnTo>
                  <a:lnTo>
                    <a:pt x="1243" y="44"/>
                  </a:lnTo>
                  <a:lnTo>
                    <a:pt x="1243" y="44"/>
                  </a:lnTo>
                  <a:close/>
                  <a:moveTo>
                    <a:pt x="33" y="61"/>
                  </a:moveTo>
                  <a:lnTo>
                    <a:pt x="38" y="44"/>
                  </a:lnTo>
                  <a:lnTo>
                    <a:pt x="50" y="44"/>
                  </a:lnTo>
                  <a:lnTo>
                    <a:pt x="54" y="54"/>
                  </a:lnTo>
                  <a:lnTo>
                    <a:pt x="71" y="61"/>
                  </a:lnTo>
                  <a:lnTo>
                    <a:pt x="83" y="54"/>
                  </a:lnTo>
                  <a:lnTo>
                    <a:pt x="88" y="77"/>
                  </a:lnTo>
                  <a:lnTo>
                    <a:pt x="104" y="77"/>
                  </a:lnTo>
                  <a:lnTo>
                    <a:pt x="104" y="94"/>
                  </a:lnTo>
                  <a:lnTo>
                    <a:pt x="92" y="111"/>
                  </a:lnTo>
                  <a:lnTo>
                    <a:pt x="104" y="115"/>
                  </a:lnTo>
                  <a:lnTo>
                    <a:pt x="137" y="99"/>
                  </a:lnTo>
                  <a:lnTo>
                    <a:pt x="142" y="111"/>
                  </a:lnTo>
                  <a:lnTo>
                    <a:pt x="158" y="111"/>
                  </a:lnTo>
                  <a:lnTo>
                    <a:pt x="175" y="77"/>
                  </a:lnTo>
                  <a:lnTo>
                    <a:pt x="189" y="77"/>
                  </a:lnTo>
                  <a:lnTo>
                    <a:pt x="201" y="99"/>
                  </a:lnTo>
                  <a:lnTo>
                    <a:pt x="243" y="132"/>
                  </a:lnTo>
                  <a:lnTo>
                    <a:pt x="265" y="172"/>
                  </a:lnTo>
                  <a:lnTo>
                    <a:pt x="272" y="210"/>
                  </a:lnTo>
                  <a:lnTo>
                    <a:pt x="255" y="259"/>
                  </a:lnTo>
                  <a:lnTo>
                    <a:pt x="272" y="278"/>
                  </a:lnTo>
                  <a:lnTo>
                    <a:pt x="265" y="316"/>
                  </a:lnTo>
                  <a:lnTo>
                    <a:pt x="281" y="333"/>
                  </a:lnTo>
                  <a:lnTo>
                    <a:pt x="298" y="337"/>
                  </a:lnTo>
                  <a:lnTo>
                    <a:pt x="326" y="406"/>
                  </a:lnTo>
                  <a:lnTo>
                    <a:pt x="326" y="427"/>
                  </a:lnTo>
                  <a:lnTo>
                    <a:pt x="310" y="427"/>
                  </a:lnTo>
                  <a:lnTo>
                    <a:pt x="303" y="411"/>
                  </a:lnTo>
                  <a:lnTo>
                    <a:pt x="303" y="427"/>
                  </a:lnTo>
                  <a:lnTo>
                    <a:pt x="288" y="415"/>
                  </a:lnTo>
                  <a:lnTo>
                    <a:pt x="272" y="434"/>
                  </a:lnTo>
                  <a:lnTo>
                    <a:pt x="265" y="415"/>
                  </a:lnTo>
                  <a:lnTo>
                    <a:pt x="217" y="394"/>
                  </a:lnTo>
                  <a:lnTo>
                    <a:pt x="201" y="377"/>
                  </a:lnTo>
                  <a:lnTo>
                    <a:pt x="180" y="361"/>
                  </a:lnTo>
                  <a:lnTo>
                    <a:pt x="147" y="337"/>
                  </a:lnTo>
                  <a:lnTo>
                    <a:pt x="121" y="321"/>
                  </a:lnTo>
                  <a:lnTo>
                    <a:pt x="125" y="304"/>
                  </a:lnTo>
                  <a:lnTo>
                    <a:pt x="121" y="295"/>
                  </a:lnTo>
                  <a:lnTo>
                    <a:pt x="92" y="266"/>
                  </a:lnTo>
                  <a:lnTo>
                    <a:pt x="83" y="250"/>
                  </a:lnTo>
                  <a:lnTo>
                    <a:pt x="88" y="250"/>
                  </a:lnTo>
                  <a:lnTo>
                    <a:pt x="71" y="243"/>
                  </a:lnTo>
                  <a:lnTo>
                    <a:pt x="83" y="238"/>
                  </a:lnTo>
                  <a:lnTo>
                    <a:pt x="88" y="238"/>
                  </a:lnTo>
                  <a:lnTo>
                    <a:pt x="71" y="226"/>
                  </a:lnTo>
                  <a:lnTo>
                    <a:pt x="71" y="181"/>
                  </a:lnTo>
                  <a:lnTo>
                    <a:pt x="50" y="155"/>
                  </a:lnTo>
                  <a:lnTo>
                    <a:pt x="54" y="148"/>
                  </a:lnTo>
                  <a:lnTo>
                    <a:pt x="50" y="94"/>
                  </a:lnTo>
                  <a:lnTo>
                    <a:pt x="33" y="61"/>
                  </a:lnTo>
                  <a:lnTo>
                    <a:pt x="33" y="61"/>
                  </a:lnTo>
                  <a:lnTo>
                    <a:pt x="33" y="61"/>
                  </a:lnTo>
                  <a:close/>
                  <a:moveTo>
                    <a:pt x="17" y="61"/>
                  </a:moveTo>
                  <a:lnTo>
                    <a:pt x="17" y="70"/>
                  </a:lnTo>
                  <a:lnTo>
                    <a:pt x="12" y="77"/>
                  </a:lnTo>
                  <a:lnTo>
                    <a:pt x="0" y="61"/>
                  </a:lnTo>
                  <a:lnTo>
                    <a:pt x="17" y="61"/>
                  </a:lnTo>
                  <a:lnTo>
                    <a:pt x="17" y="61"/>
                  </a:lnTo>
                  <a:lnTo>
                    <a:pt x="17" y="61"/>
                  </a:lnTo>
                  <a:close/>
                  <a:moveTo>
                    <a:pt x="50" y="132"/>
                  </a:moveTo>
                  <a:lnTo>
                    <a:pt x="50" y="148"/>
                  </a:lnTo>
                  <a:lnTo>
                    <a:pt x="38" y="148"/>
                  </a:lnTo>
                  <a:lnTo>
                    <a:pt x="38" y="132"/>
                  </a:lnTo>
                  <a:lnTo>
                    <a:pt x="50" y="132"/>
                  </a:lnTo>
                  <a:lnTo>
                    <a:pt x="50" y="132"/>
                  </a:lnTo>
                  <a:lnTo>
                    <a:pt x="50" y="132"/>
                  </a:lnTo>
                  <a:close/>
                  <a:moveTo>
                    <a:pt x="1091" y="148"/>
                  </a:moveTo>
                  <a:lnTo>
                    <a:pt x="1099" y="139"/>
                  </a:lnTo>
                  <a:lnTo>
                    <a:pt x="1099" y="139"/>
                  </a:lnTo>
                  <a:lnTo>
                    <a:pt x="1091" y="148"/>
                  </a:lnTo>
                  <a:lnTo>
                    <a:pt x="1091" y="148"/>
                  </a:lnTo>
                  <a:lnTo>
                    <a:pt x="1091" y="148"/>
                  </a:lnTo>
                  <a:close/>
                  <a:moveTo>
                    <a:pt x="1288" y="226"/>
                  </a:moveTo>
                  <a:lnTo>
                    <a:pt x="1271" y="226"/>
                  </a:lnTo>
                  <a:lnTo>
                    <a:pt x="1271" y="222"/>
                  </a:lnTo>
                  <a:lnTo>
                    <a:pt x="1288" y="226"/>
                  </a:lnTo>
                  <a:lnTo>
                    <a:pt x="1288" y="226"/>
                  </a:lnTo>
                  <a:lnTo>
                    <a:pt x="1288" y="226"/>
                  </a:lnTo>
                  <a:close/>
                  <a:moveTo>
                    <a:pt x="822" y="349"/>
                  </a:moveTo>
                  <a:lnTo>
                    <a:pt x="822" y="321"/>
                  </a:lnTo>
                  <a:lnTo>
                    <a:pt x="827" y="356"/>
                  </a:lnTo>
                  <a:lnTo>
                    <a:pt x="822" y="349"/>
                  </a:lnTo>
                  <a:lnTo>
                    <a:pt x="822" y="349"/>
                  </a:lnTo>
                  <a:lnTo>
                    <a:pt x="822" y="34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7" name="Freeform 524">
              <a:extLst>
                <a:ext uri="{FF2B5EF4-FFF2-40B4-BE49-F238E27FC236}">
                  <a16:creationId xmlns:a16="http://schemas.microsoft.com/office/drawing/2014/main" id="{636DC2FF-E546-4CB9-BBFC-2A3A30831D36}"/>
                </a:ext>
              </a:extLst>
            </p:cNvPr>
            <p:cNvSpPr>
              <a:spLocks/>
            </p:cNvSpPr>
            <p:nvPr/>
          </p:nvSpPr>
          <p:spPr bwMode="gray">
            <a:xfrm>
              <a:off x="9037763" y="3136643"/>
              <a:ext cx="236298" cy="126808"/>
            </a:xfrm>
            <a:custGeom>
              <a:avLst/>
              <a:gdLst>
                <a:gd name="T0" fmla="*/ 163 w 574"/>
                <a:gd name="T1" fmla="*/ 215 h 308"/>
                <a:gd name="T2" fmla="*/ 125 w 574"/>
                <a:gd name="T3" fmla="*/ 199 h 308"/>
                <a:gd name="T4" fmla="*/ 75 w 574"/>
                <a:gd name="T5" fmla="*/ 159 h 308"/>
                <a:gd name="T6" fmla="*/ 33 w 574"/>
                <a:gd name="T7" fmla="*/ 142 h 308"/>
                <a:gd name="T8" fmla="*/ 16 w 574"/>
                <a:gd name="T9" fmla="*/ 88 h 308"/>
                <a:gd name="T10" fmla="*/ 21 w 574"/>
                <a:gd name="T11" fmla="*/ 67 h 308"/>
                <a:gd name="T12" fmla="*/ 71 w 574"/>
                <a:gd name="T13" fmla="*/ 17 h 308"/>
                <a:gd name="T14" fmla="*/ 75 w 574"/>
                <a:gd name="T15" fmla="*/ 22 h 308"/>
                <a:gd name="T16" fmla="*/ 92 w 574"/>
                <a:gd name="T17" fmla="*/ 0 h 308"/>
                <a:gd name="T18" fmla="*/ 146 w 574"/>
                <a:gd name="T19" fmla="*/ 22 h 308"/>
                <a:gd name="T20" fmla="*/ 196 w 574"/>
                <a:gd name="T21" fmla="*/ 55 h 308"/>
                <a:gd name="T22" fmla="*/ 250 w 574"/>
                <a:gd name="T23" fmla="*/ 93 h 308"/>
                <a:gd name="T24" fmla="*/ 271 w 574"/>
                <a:gd name="T25" fmla="*/ 88 h 308"/>
                <a:gd name="T26" fmla="*/ 293 w 574"/>
                <a:gd name="T27" fmla="*/ 109 h 308"/>
                <a:gd name="T28" fmla="*/ 330 w 574"/>
                <a:gd name="T29" fmla="*/ 142 h 308"/>
                <a:gd name="T30" fmla="*/ 359 w 574"/>
                <a:gd name="T31" fmla="*/ 133 h 308"/>
                <a:gd name="T32" fmla="*/ 397 w 574"/>
                <a:gd name="T33" fmla="*/ 166 h 308"/>
                <a:gd name="T34" fmla="*/ 418 w 574"/>
                <a:gd name="T35" fmla="*/ 187 h 308"/>
                <a:gd name="T36" fmla="*/ 427 w 574"/>
                <a:gd name="T37" fmla="*/ 175 h 308"/>
                <a:gd name="T38" fmla="*/ 434 w 574"/>
                <a:gd name="T39" fmla="*/ 182 h 308"/>
                <a:gd name="T40" fmla="*/ 456 w 574"/>
                <a:gd name="T41" fmla="*/ 175 h 308"/>
                <a:gd name="T42" fmla="*/ 505 w 574"/>
                <a:gd name="T43" fmla="*/ 199 h 308"/>
                <a:gd name="T44" fmla="*/ 548 w 574"/>
                <a:gd name="T45" fmla="*/ 187 h 308"/>
                <a:gd name="T46" fmla="*/ 574 w 574"/>
                <a:gd name="T47" fmla="*/ 199 h 308"/>
                <a:gd name="T48" fmla="*/ 560 w 574"/>
                <a:gd name="T49" fmla="*/ 253 h 308"/>
                <a:gd name="T50" fmla="*/ 560 w 574"/>
                <a:gd name="T51" fmla="*/ 308 h 308"/>
                <a:gd name="T52" fmla="*/ 505 w 574"/>
                <a:gd name="T53" fmla="*/ 308 h 308"/>
                <a:gd name="T54" fmla="*/ 472 w 574"/>
                <a:gd name="T55" fmla="*/ 308 h 308"/>
                <a:gd name="T56" fmla="*/ 413 w 574"/>
                <a:gd name="T57" fmla="*/ 291 h 308"/>
                <a:gd name="T58" fmla="*/ 373 w 574"/>
                <a:gd name="T59" fmla="*/ 286 h 308"/>
                <a:gd name="T60" fmla="*/ 321 w 574"/>
                <a:gd name="T61" fmla="*/ 237 h 308"/>
                <a:gd name="T62" fmla="*/ 288 w 574"/>
                <a:gd name="T63" fmla="*/ 220 h 308"/>
                <a:gd name="T64" fmla="*/ 267 w 574"/>
                <a:gd name="T65" fmla="*/ 237 h 308"/>
                <a:gd name="T66" fmla="*/ 222 w 574"/>
                <a:gd name="T67" fmla="*/ 237 h 308"/>
                <a:gd name="T68" fmla="*/ 184 w 574"/>
                <a:gd name="T69" fmla="*/ 220 h 308"/>
                <a:gd name="T70" fmla="*/ 184 w 574"/>
                <a:gd name="T71" fmla="*/ 2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74" h="308">
                  <a:moveTo>
                    <a:pt x="184" y="204"/>
                  </a:moveTo>
                  <a:lnTo>
                    <a:pt x="163" y="215"/>
                  </a:lnTo>
                  <a:lnTo>
                    <a:pt x="141" y="187"/>
                  </a:lnTo>
                  <a:lnTo>
                    <a:pt x="125" y="199"/>
                  </a:lnTo>
                  <a:lnTo>
                    <a:pt x="87" y="175"/>
                  </a:lnTo>
                  <a:lnTo>
                    <a:pt x="75" y="159"/>
                  </a:lnTo>
                  <a:lnTo>
                    <a:pt x="33" y="133"/>
                  </a:lnTo>
                  <a:lnTo>
                    <a:pt x="33" y="142"/>
                  </a:lnTo>
                  <a:lnTo>
                    <a:pt x="0" y="121"/>
                  </a:lnTo>
                  <a:lnTo>
                    <a:pt x="16" y="88"/>
                  </a:lnTo>
                  <a:lnTo>
                    <a:pt x="4" y="71"/>
                  </a:lnTo>
                  <a:lnTo>
                    <a:pt x="21" y="67"/>
                  </a:lnTo>
                  <a:lnTo>
                    <a:pt x="21" y="50"/>
                  </a:lnTo>
                  <a:lnTo>
                    <a:pt x="71" y="17"/>
                  </a:lnTo>
                  <a:lnTo>
                    <a:pt x="71" y="22"/>
                  </a:lnTo>
                  <a:lnTo>
                    <a:pt x="75" y="22"/>
                  </a:lnTo>
                  <a:lnTo>
                    <a:pt x="92" y="17"/>
                  </a:lnTo>
                  <a:lnTo>
                    <a:pt x="92" y="0"/>
                  </a:lnTo>
                  <a:lnTo>
                    <a:pt x="141" y="0"/>
                  </a:lnTo>
                  <a:lnTo>
                    <a:pt x="146" y="22"/>
                  </a:lnTo>
                  <a:lnTo>
                    <a:pt x="163" y="22"/>
                  </a:lnTo>
                  <a:lnTo>
                    <a:pt x="196" y="55"/>
                  </a:lnTo>
                  <a:lnTo>
                    <a:pt x="217" y="55"/>
                  </a:lnTo>
                  <a:lnTo>
                    <a:pt x="250" y="93"/>
                  </a:lnTo>
                  <a:lnTo>
                    <a:pt x="255" y="93"/>
                  </a:lnTo>
                  <a:lnTo>
                    <a:pt x="271" y="88"/>
                  </a:lnTo>
                  <a:lnTo>
                    <a:pt x="288" y="88"/>
                  </a:lnTo>
                  <a:lnTo>
                    <a:pt x="293" y="109"/>
                  </a:lnTo>
                  <a:lnTo>
                    <a:pt x="309" y="126"/>
                  </a:lnTo>
                  <a:lnTo>
                    <a:pt x="330" y="142"/>
                  </a:lnTo>
                  <a:lnTo>
                    <a:pt x="347" y="133"/>
                  </a:lnTo>
                  <a:lnTo>
                    <a:pt x="359" y="133"/>
                  </a:lnTo>
                  <a:lnTo>
                    <a:pt x="359" y="159"/>
                  </a:lnTo>
                  <a:lnTo>
                    <a:pt x="397" y="166"/>
                  </a:lnTo>
                  <a:lnTo>
                    <a:pt x="413" y="175"/>
                  </a:lnTo>
                  <a:lnTo>
                    <a:pt x="418" y="187"/>
                  </a:lnTo>
                  <a:lnTo>
                    <a:pt x="427" y="187"/>
                  </a:lnTo>
                  <a:lnTo>
                    <a:pt x="427" y="175"/>
                  </a:lnTo>
                  <a:lnTo>
                    <a:pt x="434" y="175"/>
                  </a:lnTo>
                  <a:lnTo>
                    <a:pt x="434" y="182"/>
                  </a:lnTo>
                  <a:lnTo>
                    <a:pt x="451" y="187"/>
                  </a:lnTo>
                  <a:lnTo>
                    <a:pt x="456" y="175"/>
                  </a:lnTo>
                  <a:lnTo>
                    <a:pt x="467" y="175"/>
                  </a:lnTo>
                  <a:lnTo>
                    <a:pt x="505" y="199"/>
                  </a:lnTo>
                  <a:lnTo>
                    <a:pt x="536" y="199"/>
                  </a:lnTo>
                  <a:lnTo>
                    <a:pt x="548" y="187"/>
                  </a:lnTo>
                  <a:lnTo>
                    <a:pt x="564" y="199"/>
                  </a:lnTo>
                  <a:lnTo>
                    <a:pt x="574" y="199"/>
                  </a:lnTo>
                  <a:lnTo>
                    <a:pt x="564" y="220"/>
                  </a:lnTo>
                  <a:lnTo>
                    <a:pt x="560" y="253"/>
                  </a:lnTo>
                  <a:lnTo>
                    <a:pt x="574" y="286"/>
                  </a:lnTo>
                  <a:lnTo>
                    <a:pt x="560" y="308"/>
                  </a:lnTo>
                  <a:lnTo>
                    <a:pt x="548" y="298"/>
                  </a:lnTo>
                  <a:lnTo>
                    <a:pt x="505" y="308"/>
                  </a:lnTo>
                  <a:lnTo>
                    <a:pt x="489" y="298"/>
                  </a:lnTo>
                  <a:lnTo>
                    <a:pt x="472" y="308"/>
                  </a:lnTo>
                  <a:lnTo>
                    <a:pt x="418" y="286"/>
                  </a:lnTo>
                  <a:lnTo>
                    <a:pt x="413" y="291"/>
                  </a:lnTo>
                  <a:lnTo>
                    <a:pt x="385" y="270"/>
                  </a:lnTo>
                  <a:lnTo>
                    <a:pt x="373" y="286"/>
                  </a:lnTo>
                  <a:lnTo>
                    <a:pt x="326" y="258"/>
                  </a:lnTo>
                  <a:lnTo>
                    <a:pt x="321" y="237"/>
                  </a:lnTo>
                  <a:lnTo>
                    <a:pt x="293" y="232"/>
                  </a:lnTo>
                  <a:lnTo>
                    <a:pt x="288" y="220"/>
                  </a:lnTo>
                  <a:lnTo>
                    <a:pt x="267" y="232"/>
                  </a:lnTo>
                  <a:lnTo>
                    <a:pt x="267" y="237"/>
                  </a:lnTo>
                  <a:lnTo>
                    <a:pt x="234" y="232"/>
                  </a:lnTo>
                  <a:lnTo>
                    <a:pt x="222" y="237"/>
                  </a:lnTo>
                  <a:lnTo>
                    <a:pt x="217" y="232"/>
                  </a:lnTo>
                  <a:lnTo>
                    <a:pt x="184" y="220"/>
                  </a:lnTo>
                  <a:lnTo>
                    <a:pt x="184" y="204"/>
                  </a:lnTo>
                  <a:lnTo>
                    <a:pt x="184" y="204"/>
                  </a:lnTo>
                  <a:lnTo>
                    <a:pt x="184" y="20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4" name="Freeform 531">
              <a:extLst>
                <a:ext uri="{FF2B5EF4-FFF2-40B4-BE49-F238E27FC236}">
                  <a16:creationId xmlns:a16="http://schemas.microsoft.com/office/drawing/2014/main" id="{D984EAED-AA0B-4256-8D94-538F112C5D48}"/>
                </a:ext>
              </a:extLst>
            </p:cNvPr>
            <p:cNvSpPr>
              <a:spLocks noEditPoints="1"/>
            </p:cNvSpPr>
            <p:nvPr/>
          </p:nvSpPr>
          <p:spPr bwMode="gray">
            <a:xfrm>
              <a:off x="8483244" y="2915139"/>
              <a:ext cx="491122" cy="433537"/>
            </a:xfrm>
            <a:custGeom>
              <a:avLst/>
              <a:gdLst>
                <a:gd name="T0" fmla="*/ 248 w 1193"/>
                <a:gd name="T1" fmla="*/ 605 h 1053"/>
                <a:gd name="T2" fmla="*/ 378 w 1193"/>
                <a:gd name="T3" fmla="*/ 560 h 1053"/>
                <a:gd name="T4" fmla="*/ 399 w 1193"/>
                <a:gd name="T5" fmla="*/ 494 h 1053"/>
                <a:gd name="T6" fmla="*/ 485 w 1193"/>
                <a:gd name="T7" fmla="*/ 460 h 1053"/>
                <a:gd name="T8" fmla="*/ 539 w 1193"/>
                <a:gd name="T9" fmla="*/ 427 h 1053"/>
                <a:gd name="T10" fmla="*/ 577 w 1193"/>
                <a:gd name="T11" fmla="*/ 439 h 1053"/>
                <a:gd name="T12" fmla="*/ 598 w 1193"/>
                <a:gd name="T13" fmla="*/ 349 h 1053"/>
                <a:gd name="T14" fmla="*/ 664 w 1193"/>
                <a:gd name="T15" fmla="*/ 300 h 1053"/>
                <a:gd name="T16" fmla="*/ 643 w 1193"/>
                <a:gd name="T17" fmla="*/ 262 h 1053"/>
                <a:gd name="T18" fmla="*/ 723 w 1193"/>
                <a:gd name="T19" fmla="*/ 222 h 1053"/>
                <a:gd name="T20" fmla="*/ 749 w 1193"/>
                <a:gd name="T21" fmla="*/ 168 h 1053"/>
                <a:gd name="T22" fmla="*/ 749 w 1193"/>
                <a:gd name="T23" fmla="*/ 94 h 1053"/>
                <a:gd name="T24" fmla="*/ 756 w 1193"/>
                <a:gd name="T25" fmla="*/ 52 h 1053"/>
                <a:gd name="T26" fmla="*/ 900 w 1193"/>
                <a:gd name="T27" fmla="*/ 7 h 1053"/>
                <a:gd name="T28" fmla="*/ 966 w 1193"/>
                <a:gd name="T29" fmla="*/ 0 h 1053"/>
                <a:gd name="T30" fmla="*/ 1042 w 1193"/>
                <a:gd name="T31" fmla="*/ 23 h 1053"/>
                <a:gd name="T32" fmla="*/ 1073 w 1193"/>
                <a:gd name="T33" fmla="*/ 90 h 1053"/>
                <a:gd name="T34" fmla="*/ 1127 w 1193"/>
                <a:gd name="T35" fmla="*/ 118 h 1053"/>
                <a:gd name="T36" fmla="*/ 1127 w 1193"/>
                <a:gd name="T37" fmla="*/ 189 h 1053"/>
                <a:gd name="T38" fmla="*/ 1042 w 1193"/>
                <a:gd name="T39" fmla="*/ 205 h 1053"/>
                <a:gd name="T40" fmla="*/ 922 w 1193"/>
                <a:gd name="T41" fmla="*/ 229 h 1053"/>
                <a:gd name="T42" fmla="*/ 933 w 1193"/>
                <a:gd name="T43" fmla="*/ 283 h 1053"/>
                <a:gd name="T44" fmla="*/ 971 w 1193"/>
                <a:gd name="T45" fmla="*/ 349 h 1053"/>
                <a:gd name="T46" fmla="*/ 1018 w 1193"/>
                <a:gd name="T47" fmla="*/ 387 h 1053"/>
                <a:gd name="T48" fmla="*/ 955 w 1193"/>
                <a:gd name="T49" fmla="*/ 427 h 1053"/>
                <a:gd name="T50" fmla="*/ 966 w 1193"/>
                <a:gd name="T51" fmla="*/ 477 h 1053"/>
                <a:gd name="T52" fmla="*/ 917 w 1193"/>
                <a:gd name="T53" fmla="*/ 555 h 1053"/>
                <a:gd name="T54" fmla="*/ 794 w 1193"/>
                <a:gd name="T55" fmla="*/ 687 h 1053"/>
                <a:gd name="T56" fmla="*/ 695 w 1193"/>
                <a:gd name="T57" fmla="*/ 742 h 1053"/>
                <a:gd name="T58" fmla="*/ 610 w 1193"/>
                <a:gd name="T59" fmla="*/ 827 h 1053"/>
                <a:gd name="T60" fmla="*/ 664 w 1193"/>
                <a:gd name="T61" fmla="*/ 902 h 1053"/>
                <a:gd name="T62" fmla="*/ 718 w 1193"/>
                <a:gd name="T63" fmla="*/ 980 h 1053"/>
                <a:gd name="T64" fmla="*/ 695 w 1193"/>
                <a:gd name="T65" fmla="*/ 1013 h 1053"/>
                <a:gd name="T66" fmla="*/ 643 w 1193"/>
                <a:gd name="T67" fmla="*/ 1020 h 1053"/>
                <a:gd name="T68" fmla="*/ 555 w 1193"/>
                <a:gd name="T69" fmla="*/ 1001 h 1053"/>
                <a:gd name="T70" fmla="*/ 518 w 1193"/>
                <a:gd name="T71" fmla="*/ 1037 h 1053"/>
                <a:gd name="T72" fmla="*/ 501 w 1193"/>
                <a:gd name="T73" fmla="*/ 1046 h 1053"/>
                <a:gd name="T74" fmla="*/ 468 w 1193"/>
                <a:gd name="T75" fmla="*/ 1037 h 1053"/>
                <a:gd name="T76" fmla="*/ 437 w 1193"/>
                <a:gd name="T77" fmla="*/ 980 h 1053"/>
                <a:gd name="T78" fmla="*/ 399 w 1193"/>
                <a:gd name="T79" fmla="*/ 926 h 1053"/>
                <a:gd name="T80" fmla="*/ 383 w 1193"/>
                <a:gd name="T81" fmla="*/ 909 h 1053"/>
                <a:gd name="T82" fmla="*/ 265 w 1193"/>
                <a:gd name="T83" fmla="*/ 935 h 1053"/>
                <a:gd name="T84" fmla="*/ 220 w 1193"/>
                <a:gd name="T85" fmla="*/ 926 h 1053"/>
                <a:gd name="T86" fmla="*/ 69 w 1193"/>
                <a:gd name="T87" fmla="*/ 947 h 1053"/>
                <a:gd name="T88" fmla="*/ 59 w 1193"/>
                <a:gd name="T89" fmla="*/ 893 h 1053"/>
                <a:gd name="T90" fmla="*/ 97 w 1193"/>
                <a:gd name="T91" fmla="*/ 848 h 1053"/>
                <a:gd name="T92" fmla="*/ 161 w 1193"/>
                <a:gd name="T93" fmla="*/ 831 h 1053"/>
                <a:gd name="T94" fmla="*/ 140 w 1193"/>
                <a:gd name="T95" fmla="*/ 782 h 1053"/>
                <a:gd name="T96" fmla="*/ 107 w 1193"/>
                <a:gd name="T97" fmla="*/ 687 h 1053"/>
                <a:gd name="T98" fmla="*/ 0 w 1193"/>
                <a:gd name="T99" fmla="*/ 576 h 1053"/>
                <a:gd name="T100" fmla="*/ 166 w 1193"/>
                <a:gd name="T101" fmla="*/ 609 h 1053"/>
                <a:gd name="T102" fmla="*/ 463 w 1193"/>
                <a:gd name="T103" fmla="*/ 1030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93" h="1053">
                  <a:moveTo>
                    <a:pt x="166" y="609"/>
                  </a:moveTo>
                  <a:lnTo>
                    <a:pt x="194" y="605"/>
                  </a:lnTo>
                  <a:lnTo>
                    <a:pt x="220" y="609"/>
                  </a:lnTo>
                  <a:lnTo>
                    <a:pt x="248" y="605"/>
                  </a:lnTo>
                  <a:lnTo>
                    <a:pt x="291" y="605"/>
                  </a:lnTo>
                  <a:lnTo>
                    <a:pt x="378" y="576"/>
                  </a:lnTo>
                  <a:lnTo>
                    <a:pt x="383" y="571"/>
                  </a:lnTo>
                  <a:lnTo>
                    <a:pt x="378" y="560"/>
                  </a:lnTo>
                  <a:lnTo>
                    <a:pt x="383" y="548"/>
                  </a:lnTo>
                  <a:lnTo>
                    <a:pt x="383" y="522"/>
                  </a:lnTo>
                  <a:lnTo>
                    <a:pt x="392" y="494"/>
                  </a:lnTo>
                  <a:lnTo>
                    <a:pt x="399" y="494"/>
                  </a:lnTo>
                  <a:lnTo>
                    <a:pt x="416" y="465"/>
                  </a:lnTo>
                  <a:lnTo>
                    <a:pt x="430" y="460"/>
                  </a:lnTo>
                  <a:lnTo>
                    <a:pt x="454" y="465"/>
                  </a:lnTo>
                  <a:lnTo>
                    <a:pt x="485" y="460"/>
                  </a:lnTo>
                  <a:lnTo>
                    <a:pt x="468" y="444"/>
                  </a:lnTo>
                  <a:lnTo>
                    <a:pt x="501" y="439"/>
                  </a:lnTo>
                  <a:lnTo>
                    <a:pt x="518" y="423"/>
                  </a:lnTo>
                  <a:lnTo>
                    <a:pt x="539" y="427"/>
                  </a:lnTo>
                  <a:lnTo>
                    <a:pt x="534" y="427"/>
                  </a:lnTo>
                  <a:lnTo>
                    <a:pt x="539" y="423"/>
                  </a:lnTo>
                  <a:lnTo>
                    <a:pt x="560" y="444"/>
                  </a:lnTo>
                  <a:lnTo>
                    <a:pt x="577" y="439"/>
                  </a:lnTo>
                  <a:lnTo>
                    <a:pt x="593" y="411"/>
                  </a:lnTo>
                  <a:lnTo>
                    <a:pt x="593" y="371"/>
                  </a:lnTo>
                  <a:lnTo>
                    <a:pt x="598" y="354"/>
                  </a:lnTo>
                  <a:lnTo>
                    <a:pt x="598" y="349"/>
                  </a:lnTo>
                  <a:lnTo>
                    <a:pt x="610" y="338"/>
                  </a:lnTo>
                  <a:lnTo>
                    <a:pt x="610" y="328"/>
                  </a:lnTo>
                  <a:lnTo>
                    <a:pt x="648" y="316"/>
                  </a:lnTo>
                  <a:lnTo>
                    <a:pt x="664" y="300"/>
                  </a:lnTo>
                  <a:lnTo>
                    <a:pt x="652" y="283"/>
                  </a:lnTo>
                  <a:lnTo>
                    <a:pt x="652" y="272"/>
                  </a:lnTo>
                  <a:lnTo>
                    <a:pt x="643" y="272"/>
                  </a:lnTo>
                  <a:lnTo>
                    <a:pt x="643" y="262"/>
                  </a:lnTo>
                  <a:lnTo>
                    <a:pt x="631" y="246"/>
                  </a:lnTo>
                  <a:lnTo>
                    <a:pt x="681" y="255"/>
                  </a:lnTo>
                  <a:lnTo>
                    <a:pt x="718" y="246"/>
                  </a:lnTo>
                  <a:lnTo>
                    <a:pt x="723" y="222"/>
                  </a:lnTo>
                  <a:lnTo>
                    <a:pt x="707" y="205"/>
                  </a:lnTo>
                  <a:lnTo>
                    <a:pt x="718" y="201"/>
                  </a:lnTo>
                  <a:lnTo>
                    <a:pt x="718" y="189"/>
                  </a:lnTo>
                  <a:lnTo>
                    <a:pt x="749" y="168"/>
                  </a:lnTo>
                  <a:lnTo>
                    <a:pt x="756" y="151"/>
                  </a:lnTo>
                  <a:lnTo>
                    <a:pt x="749" y="144"/>
                  </a:lnTo>
                  <a:lnTo>
                    <a:pt x="756" y="134"/>
                  </a:lnTo>
                  <a:lnTo>
                    <a:pt x="749" y="94"/>
                  </a:lnTo>
                  <a:lnTo>
                    <a:pt x="723" y="78"/>
                  </a:lnTo>
                  <a:lnTo>
                    <a:pt x="733" y="73"/>
                  </a:lnTo>
                  <a:lnTo>
                    <a:pt x="756" y="57"/>
                  </a:lnTo>
                  <a:lnTo>
                    <a:pt x="756" y="52"/>
                  </a:lnTo>
                  <a:lnTo>
                    <a:pt x="761" y="52"/>
                  </a:lnTo>
                  <a:lnTo>
                    <a:pt x="794" y="23"/>
                  </a:lnTo>
                  <a:lnTo>
                    <a:pt x="825" y="19"/>
                  </a:lnTo>
                  <a:lnTo>
                    <a:pt x="900" y="7"/>
                  </a:lnTo>
                  <a:lnTo>
                    <a:pt x="922" y="19"/>
                  </a:lnTo>
                  <a:lnTo>
                    <a:pt x="955" y="0"/>
                  </a:lnTo>
                  <a:lnTo>
                    <a:pt x="966" y="7"/>
                  </a:lnTo>
                  <a:lnTo>
                    <a:pt x="966" y="0"/>
                  </a:lnTo>
                  <a:lnTo>
                    <a:pt x="1004" y="0"/>
                  </a:lnTo>
                  <a:lnTo>
                    <a:pt x="1018" y="7"/>
                  </a:lnTo>
                  <a:lnTo>
                    <a:pt x="1025" y="23"/>
                  </a:lnTo>
                  <a:lnTo>
                    <a:pt x="1042" y="23"/>
                  </a:lnTo>
                  <a:lnTo>
                    <a:pt x="1056" y="35"/>
                  </a:lnTo>
                  <a:lnTo>
                    <a:pt x="1063" y="61"/>
                  </a:lnTo>
                  <a:lnTo>
                    <a:pt x="1056" y="78"/>
                  </a:lnTo>
                  <a:lnTo>
                    <a:pt x="1073" y="90"/>
                  </a:lnTo>
                  <a:lnTo>
                    <a:pt x="1080" y="106"/>
                  </a:lnTo>
                  <a:lnTo>
                    <a:pt x="1101" y="94"/>
                  </a:lnTo>
                  <a:lnTo>
                    <a:pt x="1101" y="106"/>
                  </a:lnTo>
                  <a:lnTo>
                    <a:pt x="1127" y="118"/>
                  </a:lnTo>
                  <a:lnTo>
                    <a:pt x="1165" y="127"/>
                  </a:lnTo>
                  <a:lnTo>
                    <a:pt x="1193" y="127"/>
                  </a:lnTo>
                  <a:lnTo>
                    <a:pt x="1132" y="160"/>
                  </a:lnTo>
                  <a:lnTo>
                    <a:pt x="1127" y="189"/>
                  </a:lnTo>
                  <a:lnTo>
                    <a:pt x="1094" y="184"/>
                  </a:lnTo>
                  <a:lnTo>
                    <a:pt x="1073" y="201"/>
                  </a:lnTo>
                  <a:lnTo>
                    <a:pt x="1063" y="201"/>
                  </a:lnTo>
                  <a:lnTo>
                    <a:pt x="1042" y="205"/>
                  </a:lnTo>
                  <a:lnTo>
                    <a:pt x="950" y="184"/>
                  </a:lnTo>
                  <a:lnTo>
                    <a:pt x="917" y="201"/>
                  </a:lnTo>
                  <a:lnTo>
                    <a:pt x="912" y="217"/>
                  </a:lnTo>
                  <a:lnTo>
                    <a:pt x="922" y="229"/>
                  </a:lnTo>
                  <a:lnTo>
                    <a:pt x="917" y="238"/>
                  </a:lnTo>
                  <a:lnTo>
                    <a:pt x="938" y="246"/>
                  </a:lnTo>
                  <a:lnTo>
                    <a:pt x="922" y="272"/>
                  </a:lnTo>
                  <a:lnTo>
                    <a:pt x="933" y="283"/>
                  </a:lnTo>
                  <a:lnTo>
                    <a:pt x="922" y="316"/>
                  </a:lnTo>
                  <a:lnTo>
                    <a:pt x="950" y="328"/>
                  </a:lnTo>
                  <a:lnTo>
                    <a:pt x="950" y="349"/>
                  </a:lnTo>
                  <a:lnTo>
                    <a:pt x="971" y="349"/>
                  </a:lnTo>
                  <a:lnTo>
                    <a:pt x="971" y="371"/>
                  </a:lnTo>
                  <a:lnTo>
                    <a:pt x="992" y="371"/>
                  </a:lnTo>
                  <a:lnTo>
                    <a:pt x="1018" y="383"/>
                  </a:lnTo>
                  <a:lnTo>
                    <a:pt x="1018" y="387"/>
                  </a:lnTo>
                  <a:lnTo>
                    <a:pt x="1009" y="404"/>
                  </a:lnTo>
                  <a:lnTo>
                    <a:pt x="988" y="404"/>
                  </a:lnTo>
                  <a:lnTo>
                    <a:pt x="966" y="423"/>
                  </a:lnTo>
                  <a:lnTo>
                    <a:pt x="955" y="427"/>
                  </a:lnTo>
                  <a:lnTo>
                    <a:pt x="966" y="449"/>
                  </a:lnTo>
                  <a:lnTo>
                    <a:pt x="955" y="477"/>
                  </a:lnTo>
                  <a:lnTo>
                    <a:pt x="966" y="482"/>
                  </a:lnTo>
                  <a:lnTo>
                    <a:pt x="966" y="477"/>
                  </a:lnTo>
                  <a:lnTo>
                    <a:pt x="971" y="482"/>
                  </a:lnTo>
                  <a:lnTo>
                    <a:pt x="950" y="498"/>
                  </a:lnTo>
                  <a:lnTo>
                    <a:pt x="917" y="538"/>
                  </a:lnTo>
                  <a:lnTo>
                    <a:pt x="917" y="555"/>
                  </a:lnTo>
                  <a:lnTo>
                    <a:pt x="879" y="571"/>
                  </a:lnTo>
                  <a:lnTo>
                    <a:pt x="846" y="642"/>
                  </a:lnTo>
                  <a:lnTo>
                    <a:pt x="808" y="666"/>
                  </a:lnTo>
                  <a:lnTo>
                    <a:pt x="794" y="687"/>
                  </a:lnTo>
                  <a:lnTo>
                    <a:pt x="777" y="716"/>
                  </a:lnTo>
                  <a:lnTo>
                    <a:pt x="777" y="725"/>
                  </a:lnTo>
                  <a:lnTo>
                    <a:pt x="702" y="742"/>
                  </a:lnTo>
                  <a:lnTo>
                    <a:pt x="695" y="742"/>
                  </a:lnTo>
                  <a:lnTo>
                    <a:pt x="685" y="720"/>
                  </a:lnTo>
                  <a:lnTo>
                    <a:pt x="669" y="720"/>
                  </a:lnTo>
                  <a:lnTo>
                    <a:pt x="614" y="782"/>
                  </a:lnTo>
                  <a:lnTo>
                    <a:pt x="610" y="827"/>
                  </a:lnTo>
                  <a:lnTo>
                    <a:pt x="631" y="831"/>
                  </a:lnTo>
                  <a:lnTo>
                    <a:pt x="652" y="836"/>
                  </a:lnTo>
                  <a:lnTo>
                    <a:pt x="648" y="881"/>
                  </a:lnTo>
                  <a:lnTo>
                    <a:pt x="664" y="902"/>
                  </a:lnTo>
                  <a:lnTo>
                    <a:pt x="685" y="902"/>
                  </a:lnTo>
                  <a:lnTo>
                    <a:pt x="695" y="926"/>
                  </a:lnTo>
                  <a:lnTo>
                    <a:pt x="702" y="942"/>
                  </a:lnTo>
                  <a:lnTo>
                    <a:pt x="718" y="980"/>
                  </a:lnTo>
                  <a:lnTo>
                    <a:pt x="707" y="980"/>
                  </a:lnTo>
                  <a:lnTo>
                    <a:pt x="707" y="997"/>
                  </a:lnTo>
                  <a:lnTo>
                    <a:pt x="718" y="997"/>
                  </a:lnTo>
                  <a:lnTo>
                    <a:pt x="695" y="1013"/>
                  </a:lnTo>
                  <a:lnTo>
                    <a:pt x="685" y="1013"/>
                  </a:lnTo>
                  <a:lnTo>
                    <a:pt x="681" y="997"/>
                  </a:lnTo>
                  <a:lnTo>
                    <a:pt x="648" y="1001"/>
                  </a:lnTo>
                  <a:lnTo>
                    <a:pt x="643" y="1020"/>
                  </a:lnTo>
                  <a:lnTo>
                    <a:pt x="626" y="1020"/>
                  </a:lnTo>
                  <a:lnTo>
                    <a:pt x="614" y="1013"/>
                  </a:lnTo>
                  <a:lnTo>
                    <a:pt x="572" y="1013"/>
                  </a:lnTo>
                  <a:lnTo>
                    <a:pt x="555" y="1001"/>
                  </a:lnTo>
                  <a:lnTo>
                    <a:pt x="555" y="1037"/>
                  </a:lnTo>
                  <a:lnTo>
                    <a:pt x="522" y="1037"/>
                  </a:lnTo>
                  <a:lnTo>
                    <a:pt x="518" y="1046"/>
                  </a:lnTo>
                  <a:lnTo>
                    <a:pt x="518" y="1037"/>
                  </a:lnTo>
                  <a:lnTo>
                    <a:pt x="518" y="1053"/>
                  </a:lnTo>
                  <a:lnTo>
                    <a:pt x="506" y="1053"/>
                  </a:lnTo>
                  <a:lnTo>
                    <a:pt x="501" y="1037"/>
                  </a:lnTo>
                  <a:lnTo>
                    <a:pt x="501" y="1046"/>
                  </a:lnTo>
                  <a:lnTo>
                    <a:pt x="492" y="1037"/>
                  </a:lnTo>
                  <a:lnTo>
                    <a:pt x="492" y="1046"/>
                  </a:lnTo>
                  <a:lnTo>
                    <a:pt x="485" y="1046"/>
                  </a:lnTo>
                  <a:lnTo>
                    <a:pt x="468" y="1037"/>
                  </a:lnTo>
                  <a:lnTo>
                    <a:pt x="468" y="1037"/>
                  </a:lnTo>
                  <a:lnTo>
                    <a:pt x="463" y="1030"/>
                  </a:lnTo>
                  <a:lnTo>
                    <a:pt x="454" y="1020"/>
                  </a:lnTo>
                  <a:lnTo>
                    <a:pt x="437" y="980"/>
                  </a:lnTo>
                  <a:lnTo>
                    <a:pt x="447" y="975"/>
                  </a:lnTo>
                  <a:lnTo>
                    <a:pt x="409" y="964"/>
                  </a:lnTo>
                  <a:lnTo>
                    <a:pt x="416" y="942"/>
                  </a:lnTo>
                  <a:lnTo>
                    <a:pt x="399" y="926"/>
                  </a:lnTo>
                  <a:lnTo>
                    <a:pt x="399" y="919"/>
                  </a:lnTo>
                  <a:lnTo>
                    <a:pt x="383" y="909"/>
                  </a:lnTo>
                  <a:lnTo>
                    <a:pt x="371" y="919"/>
                  </a:lnTo>
                  <a:lnTo>
                    <a:pt x="383" y="909"/>
                  </a:lnTo>
                  <a:lnTo>
                    <a:pt x="399" y="926"/>
                  </a:lnTo>
                  <a:lnTo>
                    <a:pt x="274" y="926"/>
                  </a:lnTo>
                  <a:lnTo>
                    <a:pt x="270" y="942"/>
                  </a:lnTo>
                  <a:lnTo>
                    <a:pt x="265" y="935"/>
                  </a:lnTo>
                  <a:lnTo>
                    <a:pt x="232" y="926"/>
                  </a:lnTo>
                  <a:lnTo>
                    <a:pt x="232" y="919"/>
                  </a:lnTo>
                  <a:lnTo>
                    <a:pt x="220" y="926"/>
                  </a:lnTo>
                  <a:lnTo>
                    <a:pt x="220" y="926"/>
                  </a:lnTo>
                  <a:lnTo>
                    <a:pt x="199" y="926"/>
                  </a:lnTo>
                  <a:lnTo>
                    <a:pt x="182" y="935"/>
                  </a:lnTo>
                  <a:lnTo>
                    <a:pt x="90" y="942"/>
                  </a:lnTo>
                  <a:lnTo>
                    <a:pt x="69" y="947"/>
                  </a:lnTo>
                  <a:lnTo>
                    <a:pt x="59" y="947"/>
                  </a:lnTo>
                  <a:lnTo>
                    <a:pt x="69" y="942"/>
                  </a:lnTo>
                  <a:lnTo>
                    <a:pt x="52" y="942"/>
                  </a:lnTo>
                  <a:lnTo>
                    <a:pt x="59" y="893"/>
                  </a:lnTo>
                  <a:lnTo>
                    <a:pt x="69" y="893"/>
                  </a:lnTo>
                  <a:lnTo>
                    <a:pt x="69" y="864"/>
                  </a:lnTo>
                  <a:lnTo>
                    <a:pt x="90" y="848"/>
                  </a:lnTo>
                  <a:lnTo>
                    <a:pt x="97" y="848"/>
                  </a:lnTo>
                  <a:lnTo>
                    <a:pt x="97" y="836"/>
                  </a:lnTo>
                  <a:lnTo>
                    <a:pt x="114" y="831"/>
                  </a:lnTo>
                  <a:lnTo>
                    <a:pt x="140" y="831"/>
                  </a:lnTo>
                  <a:lnTo>
                    <a:pt x="161" y="831"/>
                  </a:lnTo>
                  <a:lnTo>
                    <a:pt x="166" y="791"/>
                  </a:lnTo>
                  <a:lnTo>
                    <a:pt x="177" y="791"/>
                  </a:lnTo>
                  <a:lnTo>
                    <a:pt x="166" y="775"/>
                  </a:lnTo>
                  <a:lnTo>
                    <a:pt x="140" y="782"/>
                  </a:lnTo>
                  <a:lnTo>
                    <a:pt x="140" y="770"/>
                  </a:lnTo>
                  <a:lnTo>
                    <a:pt x="140" y="704"/>
                  </a:lnTo>
                  <a:lnTo>
                    <a:pt x="123" y="704"/>
                  </a:lnTo>
                  <a:lnTo>
                    <a:pt x="107" y="687"/>
                  </a:lnTo>
                  <a:lnTo>
                    <a:pt x="76" y="683"/>
                  </a:lnTo>
                  <a:lnTo>
                    <a:pt x="52" y="666"/>
                  </a:lnTo>
                  <a:lnTo>
                    <a:pt x="31" y="616"/>
                  </a:lnTo>
                  <a:lnTo>
                    <a:pt x="0" y="576"/>
                  </a:lnTo>
                  <a:lnTo>
                    <a:pt x="114" y="609"/>
                  </a:lnTo>
                  <a:lnTo>
                    <a:pt x="166" y="609"/>
                  </a:lnTo>
                  <a:lnTo>
                    <a:pt x="166" y="609"/>
                  </a:lnTo>
                  <a:lnTo>
                    <a:pt x="166" y="609"/>
                  </a:lnTo>
                  <a:close/>
                  <a:moveTo>
                    <a:pt x="463" y="1030"/>
                  </a:moveTo>
                  <a:lnTo>
                    <a:pt x="463" y="1030"/>
                  </a:lnTo>
                  <a:lnTo>
                    <a:pt x="463" y="1030"/>
                  </a:lnTo>
                  <a:lnTo>
                    <a:pt x="463" y="1030"/>
                  </a:lnTo>
                  <a:lnTo>
                    <a:pt x="463" y="1030"/>
                  </a:lnTo>
                  <a:lnTo>
                    <a:pt x="463" y="103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8" name="Freeform 535">
              <a:extLst>
                <a:ext uri="{FF2B5EF4-FFF2-40B4-BE49-F238E27FC236}">
                  <a16:creationId xmlns:a16="http://schemas.microsoft.com/office/drawing/2014/main" id="{24314509-AA32-46BE-A806-FA3488C40849}"/>
                </a:ext>
              </a:extLst>
            </p:cNvPr>
            <p:cNvSpPr>
              <a:spLocks noEditPoints="1"/>
            </p:cNvSpPr>
            <p:nvPr/>
          </p:nvSpPr>
          <p:spPr bwMode="gray">
            <a:xfrm>
              <a:off x="10793949" y="4106233"/>
              <a:ext cx="434724" cy="305494"/>
            </a:xfrm>
            <a:custGeom>
              <a:avLst/>
              <a:gdLst>
                <a:gd name="T0" fmla="*/ 616 w 1056"/>
                <a:gd name="T1" fmla="*/ 17 h 742"/>
                <a:gd name="T2" fmla="*/ 394 w 1056"/>
                <a:gd name="T3" fmla="*/ 62 h 742"/>
                <a:gd name="T4" fmla="*/ 482 w 1056"/>
                <a:gd name="T5" fmla="*/ 71 h 742"/>
                <a:gd name="T6" fmla="*/ 666 w 1056"/>
                <a:gd name="T7" fmla="*/ 95 h 742"/>
                <a:gd name="T8" fmla="*/ 666 w 1056"/>
                <a:gd name="T9" fmla="*/ 95 h 742"/>
                <a:gd name="T10" fmla="*/ 860 w 1056"/>
                <a:gd name="T11" fmla="*/ 227 h 742"/>
                <a:gd name="T12" fmla="*/ 789 w 1056"/>
                <a:gd name="T13" fmla="*/ 149 h 742"/>
                <a:gd name="T14" fmla="*/ 768 w 1056"/>
                <a:gd name="T15" fmla="*/ 133 h 742"/>
                <a:gd name="T16" fmla="*/ 9 w 1056"/>
                <a:gd name="T17" fmla="*/ 393 h 742"/>
                <a:gd name="T18" fmla="*/ 118 w 1056"/>
                <a:gd name="T19" fmla="*/ 133 h 742"/>
                <a:gd name="T20" fmla="*/ 253 w 1056"/>
                <a:gd name="T21" fmla="*/ 189 h 742"/>
                <a:gd name="T22" fmla="*/ 340 w 1056"/>
                <a:gd name="T23" fmla="*/ 300 h 742"/>
                <a:gd name="T24" fmla="*/ 470 w 1056"/>
                <a:gd name="T25" fmla="*/ 388 h 742"/>
                <a:gd name="T26" fmla="*/ 482 w 1056"/>
                <a:gd name="T27" fmla="*/ 471 h 742"/>
                <a:gd name="T28" fmla="*/ 595 w 1056"/>
                <a:gd name="T29" fmla="*/ 560 h 742"/>
                <a:gd name="T30" fmla="*/ 616 w 1056"/>
                <a:gd name="T31" fmla="*/ 610 h 742"/>
                <a:gd name="T32" fmla="*/ 666 w 1056"/>
                <a:gd name="T33" fmla="*/ 648 h 742"/>
                <a:gd name="T34" fmla="*/ 616 w 1056"/>
                <a:gd name="T35" fmla="*/ 648 h 742"/>
                <a:gd name="T36" fmla="*/ 470 w 1056"/>
                <a:gd name="T37" fmla="*/ 626 h 742"/>
                <a:gd name="T38" fmla="*/ 399 w 1056"/>
                <a:gd name="T39" fmla="*/ 553 h 742"/>
                <a:gd name="T40" fmla="*/ 253 w 1056"/>
                <a:gd name="T41" fmla="*/ 449 h 742"/>
                <a:gd name="T42" fmla="*/ 238 w 1056"/>
                <a:gd name="T43" fmla="*/ 449 h 742"/>
                <a:gd name="T44" fmla="*/ 172 w 1056"/>
                <a:gd name="T45" fmla="*/ 471 h 742"/>
                <a:gd name="T46" fmla="*/ 101 w 1056"/>
                <a:gd name="T47" fmla="*/ 487 h 742"/>
                <a:gd name="T48" fmla="*/ 177 w 1056"/>
                <a:gd name="T49" fmla="*/ 537 h 742"/>
                <a:gd name="T50" fmla="*/ 47 w 1056"/>
                <a:gd name="T51" fmla="*/ 570 h 742"/>
                <a:gd name="T52" fmla="*/ 775 w 1056"/>
                <a:gd name="T53" fmla="*/ 100 h 742"/>
                <a:gd name="T54" fmla="*/ 697 w 1056"/>
                <a:gd name="T55" fmla="*/ 116 h 742"/>
                <a:gd name="T56" fmla="*/ 827 w 1056"/>
                <a:gd name="T57" fmla="*/ 133 h 742"/>
                <a:gd name="T58" fmla="*/ 897 w 1056"/>
                <a:gd name="T59" fmla="*/ 194 h 742"/>
                <a:gd name="T60" fmla="*/ 687 w 1056"/>
                <a:gd name="T61" fmla="*/ 338 h 742"/>
                <a:gd name="T62" fmla="*/ 553 w 1056"/>
                <a:gd name="T63" fmla="*/ 322 h 742"/>
                <a:gd name="T64" fmla="*/ 633 w 1056"/>
                <a:gd name="T65" fmla="*/ 300 h 742"/>
                <a:gd name="T66" fmla="*/ 642 w 1056"/>
                <a:gd name="T67" fmla="*/ 284 h 742"/>
                <a:gd name="T68" fmla="*/ 730 w 1056"/>
                <a:gd name="T69" fmla="*/ 260 h 742"/>
                <a:gd name="T70" fmla="*/ 789 w 1056"/>
                <a:gd name="T71" fmla="*/ 211 h 742"/>
                <a:gd name="T72" fmla="*/ 789 w 1056"/>
                <a:gd name="T73" fmla="*/ 284 h 742"/>
                <a:gd name="T74" fmla="*/ 687 w 1056"/>
                <a:gd name="T75" fmla="*/ 338 h 742"/>
                <a:gd name="T76" fmla="*/ 357 w 1056"/>
                <a:gd name="T77" fmla="*/ 244 h 742"/>
                <a:gd name="T78" fmla="*/ 612 w 1056"/>
                <a:gd name="T79" fmla="*/ 244 h 742"/>
                <a:gd name="T80" fmla="*/ 973 w 1056"/>
                <a:gd name="T81" fmla="*/ 277 h 742"/>
                <a:gd name="T82" fmla="*/ 432 w 1056"/>
                <a:gd name="T83" fmla="*/ 277 h 742"/>
                <a:gd name="T84" fmla="*/ 1023 w 1056"/>
                <a:gd name="T85" fmla="*/ 350 h 742"/>
                <a:gd name="T86" fmla="*/ 1006 w 1056"/>
                <a:gd name="T87" fmla="*/ 371 h 742"/>
                <a:gd name="T88" fmla="*/ 1006 w 1056"/>
                <a:gd name="T89" fmla="*/ 322 h 742"/>
                <a:gd name="T90" fmla="*/ 482 w 1056"/>
                <a:gd name="T91" fmla="*/ 300 h 742"/>
                <a:gd name="T92" fmla="*/ 194 w 1056"/>
                <a:gd name="T93" fmla="*/ 482 h 742"/>
                <a:gd name="T94" fmla="*/ 194 w 1056"/>
                <a:gd name="T95" fmla="*/ 487 h 742"/>
                <a:gd name="T96" fmla="*/ 172 w 1056"/>
                <a:gd name="T97" fmla="*/ 504 h 742"/>
                <a:gd name="T98" fmla="*/ 163 w 1056"/>
                <a:gd name="T99" fmla="*/ 504 h 742"/>
                <a:gd name="T100" fmla="*/ 713 w 1056"/>
                <a:gd name="T101" fmla="*/ 515 h 742"/>
                <a:gd name="T102" fmla="*/ 812 w 1056"/>
                <a:gd name="T103" fmla="*/ 553 h 742"/>
                <a:gd name="T104" fmla="*/ 666 w 1056"/>
                <a:gd name="T105" fmla="*/ 582 h 742"/>
                <a:gd name="T106" fmla="*/ 666 w 1056"/>
                <a:gd name="T107" fmla="*/ 582 h 742"/>
                <a:gd name="T108" fmla="*/ 697 w 1056"/>
                <a:gd name="T109" fmla="*/ 598 h 742"/>
                <a:gd name="T110" fmla="*/ 720 w 1056"/>
                <a:gd name="T111" fmla="*/ 626 h 742"/>
                <a:gd name="T112" fmla="*/ 697 w 1056"/>
                <a:gd name="T113" fmla="*/ 671 h 742"/>
                <a:gd name="T114" fmla="*/ 704 w 1056"/>
                <a:gd name="T115" fmla="*/ 671 h 742"/>
                <a:gd name="T116" fmla="*/ 704 w 1056"/>
                <a:gd name="T117" fmla="*/ 671 h 742"/>
                <a:gd name="T118" fmla="*/ 838 w 1056"/>
                <a:gd name="T119" fmla="*/ 671 h 742"/>
                <a:gd name="T120" fmla="*/ 864 w 1056"/>
                <a:gd name="T121" fmla="*/ 721 h 742"/>
                <a:gd name="T122" fmla="*/ 931 w 1056"/>
                <a:gd name="T123" fmla="*/ 726 h 742"/>
                <a:gd name="T124" fmla="*/ 893 w 1056"/>
                <a:gd name="T125" fmla="*/ 74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6" h="742">
                  <a:moveTo>
                    <a:pt x="616" y="17"/>
                  </a:moveTo>
                  <a:lnTo>
                    <a:pt x="605" y="5"/>
                  </a:lnTo>
                  <a:lnTo>
                    <a:pt x="612" y="0"/>
                  </a:lnTo>
                  <a:lnTo>
                    <a:pt x="616" y="5"/>
                  </a:lnTo>
                  <a:lnTo>
                    <a:pt x="628" y="17"/>
                  </a:lnTo>
                  <a:lnTo>
                    <a:pt x="616" y="17"/>
                  </a:lnTo>
                  <a:lnTo>
                    <a:pt x="616" y="17"/>
                  </a:lnTo>
                  <a:lnTo>
                    <a:pt x="616" y="17"/>
                  </a:lnTo>
                  <a:close/>
                  <a:moveTo>
                    <a:pt x="453" y="38"/>
                  </a:moveTo>
                  <a:lnTo>
                    <a:pt x="453" y="45"/>
                  </a:lnTo>
                  <a:lnTo>
                    <a:pt x="444" y="62"/>
                  </a:lnTo>
                  <a:lnTo>
                    <a:pt x="394" y="62"/>
                  </a:lnTo>
                  <a:lnTo>
                    <a:pt x="399" y="45"/>
                  </a:lnTo>
                  <a:lnTo>
                    <a:pt x="453" y="45"/>
                  </a:lnTo>
                  <a:lnTo>
                    <a:pt x="453" y="38"/>
                  </a:lnTo>
                  <a:lnTo>
                    <a:pt x="453" y="38"/>
                  </a:lnTo>
                  <a:lnTo>
                    <a:pt x="453" y="38"/>
                  </a:lnTo>
                  <a:close/>
                  <a:moveTo>
                    <a:pt x="482" y="71"/>
                  </a:moveTo>
                  <a:lnTo>
                    <a:pt x="486" y="62"/>
                  </a:lnTo>
                  <a:lnTo>
                    <a:pt x="486" y="62"/>
                  </a:lnTo>
                  <a:lnTo>
                    <a:pt x="482" y="71"/>
                  </a:lnTo>
                  <a:lnTo>
                    <a:pt x="482" y="71"/>
                  </a:lnTo>
                  <a:lnTo>
                    <a:pt x="482" y="71"/>
                  </a:lnTo>
                  <a:close/>
                  <a:moveTo>
                    <a:pt x="666" y="95"/>
                  </a:moveTo>
                  <a:lnTo>
                    <a:pt x="649" y="95"/>
                  </a:lnTo>
                  <a:lnTo>
                    <a:pt x="633" y="78"/>
                  </a:lnTo>
                  <a:lnTo>
                    <a:pt x="659" y="71"/>
                  </a:lnTo>
                  <a:lnTo>
                    <a:pt x="666" y="78"/>
                  </a:lnTo>
                  <a:lnTo>
                    <a:pt x="671" y="95"/>
                  </a:lnTo>
                  <a:lnTo>
                    <a:pt x="666" y="95"/>
                  </a:lnTo>
                  <a:lnTo>
                    <a:pt x="666" y="95"/>
                  </a:lnTo>
                  <a:lnTo>
                    <a:pt x="666" y="95"/>
                  </a:lnTo>
                  <a:close/>
                  <a:moveTo>
                    <a:pt x="827" y="182"/>
                  </a:moveTo>
                  <a:lnTo>
                    <a:pt x="860" y="206"/>
                  </a:lnTo>
                  <a:lnTo>
                    <a:pt x="850" y="223"/>
                  </a:lnTo>
                  <a:lnTo>
                    <a:pt x="860" y="227"/>
                  </a:lnTo>
                  <a:lnTo>
                    <a:pt x="843" y="244"/>
                  </a:lnTo>
                  <a:lnTo>
                    <a:pt x="838" y="239"/>
                  </a:lnTo>
                  <a:lnTo>
                    <a:pt x="827" y="223"/>
                  </a:lnTo>
                  <a:lnTo>
                    <a:pt x="827" y="206"/>
                  </a:lnTo>
                  <a:lnTo>
                    <a:pt x="805" y="166"/>
                  </a:lnTo>
                  <a:lnTo>
                    <a:pt x="789" y="149"/>
                  </a:lnTo>
                  <a:lnTo>
                    <a:pt x="775" y="149"/>
                  </a:lnTo>
                  <a:lnTo>
                    <a:pt x="720" y="100"/>
                  </a:lnTo>
                  <a:lnTo>
                    <a:pt x="687" y="100"/>
                  </a:lnTo>
                  <a:lnTo>
                    <a:pt x="704" y="95"/>
                  </a:lnTo>
                  <a:lnTo>
                    <a:pt x="697" y="83"/>
                  </a:lnTo>
                  <a:lnTo>
                    <a:pt x="768" y="133"/>
                  </a:lnTo>
                  <a:lnTo>
                    <a:pt x="784" y="133"/>
                  </a:lnTo>
                  <a:lnTo>
                    <a:pt x="827" y="182"/>
                  </a:lnTo>
                  <a:lnTo>
                    <a:pt x="827" y="182"/>
                  </a:lnTo>
                  <a:lnTo>
                    <a:pt x="827" y="182"/>
                  </a:lnTo>
                  <a:close/>
                  <a:moveTo>
                    <a:pt x="9" y="560"/>
                  </a:moveTo>
                  <a:lnTo>
                    <a:pt x="9" y="393"/>
                  </a:lnTo>
                  <a:lnTo>
                    <a:pt x="0" y="393"/>
                  </a:lnTo>
                  <a:lnTo>
                    <a:pt x="0" y="376"/>
                  </a:lnTo>
                  <a:lnTo>
                    <a:pt x="9" y="355"/>
                  </a:lnTo>
                  <a:lnTo>
                    <a:pt x="9" y="83"/>
                  </a:lnTo>
                  <a:lnTo>
                    <a:pt x="21" y="83"/>
                  </a:lnTo>
                  <a:lnTo>
                    <a:pt x="118" y="133"/>
                  </a:lnTo>
                  <a:lnTo>
                    <a:pt x="184" y="149"/>
                  </a:lnTo>
                  <a:lnTo>
                    <a:pt x="215" y="173"/>
                  </a:lnTo>
                  <a:lnTo>
                    <a:pt x="231" y="182"/>
                  </a:lnTo>
                  <a:lnTo>
                    <a:pt x="238" y="173"/>
                  </a:lnTo>
                  <a:lnTo>
                    <a:pt x="253" y="173"/>
                  </a:lnTo>
                  <a:lnTo>
                    <a:pt x="253" y="189"/>
                  </a:lnTo>
                  <a:lnTo>
                    <a:pt x="281" y="194"/>
                  </a:lnTo>
                  <a:lnTo>
                    <a:pt x="293" y="211"/>
                  </a:lnTo>
                  <a:lnTo>
                    <a:pt x="307" y="223"/>
                  </a:lnTo>
                  <a:lnTo>
                    <a:pt x="340" y="244"/>
                  </a:lnTo>
                  <a:lnTo>
                    <a:pt x="345" y="265"/>
                  </a:lnTo>
                  <a:lnTo>
                    <a:pt x="340" y="300"/>
                  </a:lnTo>
                  <a:lnTo>
                    <a:pt x="394" y="305"/>
                  </a:lnTo>
                  <a:lnTo>
                    <a:pt x="432" y="334"/>
                  </a:lnTo>
                  <a:lnTo>
                    <a:pt x="465" y="334"/>
                  </a:lnTo>
                  <a:lnTo>
                    <a:pt x="486" y="355"/>
                  </a:lnTo>
                  <a:lnTo>
                    <a:pt x="486" y="376"/>
                  </a:lnTo>
                  <a:lnTo>
                    <a:pt x="470" y="388"/>
                  </a:lnTo>
                  <a:lnTo>
                    <a:pt x="427" y="388"/>
                  </a:lnTo>
                  <a:lnTo>
                    <a:pt x="427" y="404"/>
                  </a:lnTo>
                  <a:lnTo>
                    <a:pt x="444" y="416"/>
                  </a:lnTo>
                  <a:lnTo>
                    <a:pt x="444" y="445"/>
                  </a:lnTo>
                  <a:lnTo>
                    <a:pt x="465" y="449"/>
                  </a:lnTo>
                  <a:lnTo>
                    <a:pt x="482" y="471"/>
                  </a:lnTo>
                  <a:lnTo>
                    <a:pt x="508" y="482"/>
                  </a:lnTo>
                  <a:lnTo>
                    <a:pt x="519" y="520"/>
                  </a:lnTo>
                  <a:lnTo>
                    <a:pt x="524" y="527"/>
                  </a:lnTo>
                  <a:lnTo>
                    <a:pt x="541" y="553"/>
                  </a:lnTo>
                  <a:lnTo>
                    <a:pt x="590" y="553"/>
                  </a:lnTo>
                  <a:lnTo>
                    <a:pt x="595" y="560"/>
                  </a:lnTo>
                  <a:lnTo>
                    <a:pt x="579" y="577"/>
                  </a:lnTo>
                  <a:lnTo>
                    <a:pt x="590" y="582"/>
                  </a:lnTo>
                  <a:lnTo>
                    <a:pt x="605" y="593"/>
                  </a:lnTo>
                  <a:lnTo>
                    <a:pt x="642" y="593"/>
                  </a:lnTo>
                  <a:lnTo>
                    <a:pt x="642" y="598"/>
                  </a:lnTo>
                  <a:lnTo>
                    <a:pt x="616" y="610"/>
                  </a:lnTo>
                  <a:lnTo>
                    <a:pt x="633" y="626"/>
                  </a:lnTo>
                  <a:lnTo>
                    <a:pt x="682" y="638"/>
                  </a:lnTo>
                  <a:lnTo>
                    <a:pt x="704" y="638"/>
                  </a:lnTo>
                  <a:lnTo>
                    <a:pt x="682" y="648"/>
                  </a:lnTo>
                  <a:lnTo>
                    <a:pt x="666" y="648"/>
                  </a:lnTo>
                  <a:lnTo>
                    <a:pt x="666" y="648"/>
                  </a:lnTo>
                  <a:lnTo>
                    <a:pt x="687" y="655"/>
                  </a:lnTo>
                  <a:lnTo>
                    <a:pt x="687" y="664"/>
                  </a:lnTo>
                  <a:lnTo>
                    <a:pt x="659" y="671"/>
                  </a:lnTo>
                  <a:lnTo>
                    <a:pt x="628" y="664"/>
                  </a:lnTo>
                  <a:lnTo>
                    <a:pt x="642" y="655"/>
                  </a:lnTo>
                  <a:lnTo>
                    <a:pt x="616" y="648"/>
                  </a:lnTo>
                  <a:lnTo>
                    <a:pt x="562" y="638"/>
                  </a:lnTo>
                  <a:lnTo>
                    <a:pt x="553" y="631"/>
                  </a:lnTo>
                  <a:lnTo>
                    <a:pt x="524" y="638"/>
                  </a:lnTo>
                  <a:lnTo>
                    <a:pt x="508" y="631"/>
                  </a:lnTo>
                  <a:lnTo>
                    <a:pt x="498" y="631"/>
                  </a:lnTo>
                  <a:lnTo>
                    <a:pt x="470" y="626"/>
                  </a:lnTo>
                  <a:lnTo>
                    <a:pt x="449" y="593"/>
                  </a:lnTo>
                  <a:lnTo>
                    <a:pt x="432" y="582"/>
                  </a:lnTo>
                  <a:lnTo>
                    <a:pt x="416" y="570"/>
                  </a:lnTo>
                  <a:lnTo>
                    <a:pt x="427" y="553"/>
                  </a:lnTo>
                  <a:lnTo>
                    <a:pt x="427" y="560"/>
                  </a:lnTo>
                  <a:lnTo>
                    <a:pt x="399" y="553"/>
                  </a:lnTo>
                  <a:lnTo>
                    <a:pt x="394" y="537"/>
                  </a:lnTo>
                  <a:lnTo>
                    <a:pt x="361" y="482"/>
                  </a:lnTo>
                  <a:lnTo>
                    <a:pt x="281" y="466"/>
                  </a:lnTo>
                  <a:lnTo>
                    <a:pt x="281" y="449"/>
                  </a:lnTo>
                  <a:lnTo>
                    <a:pt x="281" y="461"/>
                  </a:lnTo>
                  <a:lnTo>
                    <a:pt x="253" y="449"/>
                  </a:lnTo>
                  <a:lnTo>
                    <a:pt x="253" y="445"/>
                  </a:lnTo>
                  <a:lnTo>
                    <a:pt x="253" y="449"/>
                  </a:lnTo>
                  <a:lnTo>
                    <a:pt x="248" y="445"/>
                  </a:lnTo>
                  <a:lnTo>
                    <a:pt x="248" y="461"/>
                  </a:lnTo>
                  <a:lnTo>
                    <a:pt x="238" y="461"/>
                  </a:lnTo>
                  <a:lnTo>
                    <a:pt x="238" y="449"/>
                  </a:lnTo>
                  <a:lnTo>
                    <a:pt x="231" y="466"/>
                  </a:lnTo>
                  <a:lnTo>
                    <a:pt x="210" y="461"/>
                  </a:lnTo>
                  <a:lnTo>
                    <a:pt x="194" y="445"/>
                  </a:lnTo>
                  <a:lnTo>
                    <a:pt x="215" y="471"/>
                  </a:lnTo>
                  <a:lnTo>
                    <a:pt x="201" y="482"/>
                  </a:lnTo>
                  <a:lnTo>
                    <a:pt x="172" y="471"/>
                  </a:lnTo>
                  <a:lnTo>
                    <a:pt x="184" y="482"/>
                  </a:lnTo>
                  <a:lnTo>
                    <a:pt x="194" y="499"/>
                  </a:lnTo>
                  <a:lnTo>
                    <a:pt x="146" y="504"/>
                  </a:lnTo>
                  <a:lnTo>
                    <a:pt x="123" y="499"/>
                  </a:lnTo>
                  <a:lnTo>
                    <a:pt x="108" y="504"/>
                  </a:lnTo>
                  <a:lnTo>
                    <a:pt x="101" y="487"/>
                  </a:lnTo>
                  <a:lnTo>
                    <a:pt x="85" y="499"/>
                  </a:lnTo>
                  <a:lnTo>
                    <a:pt x="101" y="487"/>
                  </a:lnTo>
                  <a:lnTo>
                    <a:pt x="108" y="504"/>
                  </a:lnTo>
                  <a:lnTo>
                    <a:pt x="130" y="499"/>
                  </a:lnTo>
                  <a:lnTo>
                    <a:pt x="156" y="515"/>
                  </a:lnTo>
                  <a:lnTo>
                    <a:pt x="177" y="537"/>
                  </a:lnTo>
                  <a:lnTo>
                    <a:pt x="177" y="544"/>
                  </a:lnTo>
                  <a:lnTo>
                    <a:pt x="172" y="553"/>
                  </a:lnTo>
                  <a:lnTo>
                    <a:pt x="146" y="553"/>
                  </a:lnTo>
                  <a:lnTo>
                    <a:pt x="123" y="577"/>
                  </a:lnTo>
                  <a:lnTo>
                    <a:pt x="92" y="560"/>
                  </a:lnTo>
                  <a:lnTo>
                    <a:pt x="47" y="570"/>
                  </a:lnTo>
                  <a:lnTo>
                    <a:pt x="33" y="560"/>
                  </a:lnTo>
                  <a:lnTo>
                    <a:pt x="16" y="570"/>
                  </a:lnTo>
                  <a:lnTo>
                    <a:pt x="9" y="560"/>
                  </a:lnTo>
                  <a:lnTo>
                    <a:pt x="9" y="560"/>
                  </a:lnTo>
                  <a:lnTo>
                    <a:pt x="9" y="560"/>
                  </a:lnTo>
                  <a:close/>
                  <a:moveTo>
                    <a:pt x="775" y="100"/>
                  </a:moveTo>
                  <a:lnTo>
                    <a:pt x="775" y="95"/>
                  </a:lnTo>
                  <a:lnTo>
                    <a:pt x="784" y="100"/>
                  </a:lnTo>
                  <a:lnTo>
                    <a:pt x="775" y="100"/>
                  </a:lnTo>
                  <a:lnTo>
                    <a:pt x="775" y="100"/>
                  </a:lnTo>
                  <a:lnTo>
                    <a:pt x="775" y="100"/>
                  </a:lnTo>
                  <a:close/>
                  <a:moveTo>
                    <a:pt x="697" y="116"/>
                  </a:moveTo>
                  <a:lnTo>
                    <a:pt x="704" y="112"/>
                  </a:lnTo>
                  <a:lnTo>
                    <a:pt x="713" y="116"/>
                  </a:lnTo>
                  <a:lnTo>
                    <a:pt x="697" y="116"/>
                  </a:lnTo>
                  <a:lnTo>
                    <a:pt x="697" y="116"/>
                  </a:lnTo>
                  <a:lnTo>
                    <a:pt x="697" y="116"/>
                  </a:lnTo>
                  <a:close/>
                  <a:moveTo>
                    <a:pt x="827" y="133"/>
                  </a:moveTo>
                  <a:lnTo>
                    <a:pt x="822" y="128"/>
                  </a:lnTo>
                  <a:lnTo>
                    <a:pt x="827" y="116"/>
                  </a:lnTo>
                  <a:lnTo>
                    <a:pt x="827" y="133"/>
                  </a:lnTo>
                  <a:lnTo>
                    <a:pt x="827" y="133"/>
                  </a:lnTo>
                  <a:lnTo>
                    <a:pt x="827" y="133"/>
                  </a:lnTo>
                  <a:close/>
                  <a:moveTo>
                    <a:pt x="897" y="194"/>
                  </a:moveTo>
                  <a:lnTo>
                    <a:pt x="893" y="194"/>
                  </a:lnTo>
                  <a:lnTo>
                    <a:pt x="897" y="189"/>
                  </a:lnTo>
                  <a:lnTo>
                    <a:pt x="897" y="194"/>
                  </a:lnTo>
                  <a:lnTo>
                    <a:pt x="897" y="194"/>
                  </a:lnTo>
                  <a:lnTo>
                    <a:pt x="897" y="194"/>
                  </a:lnTo>
                  <a:close/>
                  <a:moveTo>
                    <a:pt x="687" y="338"/>
                  </a:moveTo>
                  <a:lnTo>
                    <a:pt x="666" y="355"/>
                  </a:lnTo>
                  <a:lnTo>
                    <a:pt x="612" y="355"/>
                  </a:lnTo>
                  <a:lnTo>
                    <a:pt x="595" y="338"/>
                  </a:lnTo>
                  <a:lnTo>
                    <a:pt x="574" y="350"/>
                  </a:lnTo>
                  <a:lnTo>
                    <a:pt x="574" y="338"/>
                  </a:lnTo>
                  <a:lnTo>
                    <a:pt x="553" y="322"/>
                  </a:lnTo>
                  <a:lnTo>
                    <a:pt x="524" y="317"/>
                  </a:lnTo>
                  <a:lnTo>
                    <a:pt x="519" y="305"/>
                  </a:lnTo>
                  <a:lnTo>
                    <a:pt x="524" y="293"/>
                  </a:lnTo>
                  <a:lnTo>
                    <a:pt x="562" y="293"/>
                  </a:lnTo>
                  <a:lnTo>
                    <a:pt x="590" y="305"/>
                  </a:lnTo>
                  <a:lnTo>
                    <a:pt x="633" y="300"/>
                  </a:lnTo>
                  <a:lnTo>
                    <a:pt x="633" y="293"/>
                  </a:lnTo>
                  <a:lnTo>
                    <a:pt x="633" y="284"/>
                  </a:lnTo>
                  <a:lnTo>
                    <a:pt x="642" y="260"/>
                  </a:lnTo>
                  <a:lnTo>
                    <a:pt x="659" y="265"/>
                  </a:lnTo>
                  <a:lnTo>
                    <a:pt x="642" y="265"/>
                  </a:lnTo>
                  <a:lnTo>
                    <a:pt x="642" y="284"/>
                  </a:lnTo>
                  <a:lnTo>
                    <a:pt x="649" y="300"/>
                  </a:lnTo>
                  <a:lnTo>
                    <a:pt x="659" y="300"/>
                  </a:lnTo>
                  <a:lnTo>
                    <a:pt x="671" y="293"/>
                  </a:lnTo>
                  <a:lnTo>
                    <a:pt x="682" y="300"/>
                  </a:lnTo>
                  <a:lnTo>
                    <a:pt x="704" y="300"/>
                  </a:lnTo>
                  <a:lnTo>
                    <a:pt x="730" y="260"/>
                  </a:lnTo>
                  <a:lnTo>
                    <a:pt x="758" y="249"/>
                  </a:lnTo>
                  <a:lnTo>
                    <a:pt x="742" y="206"/>
                  </a:lnTo>
                  <a:lnTo>
                    <a:pt x="768" y="206"/>
                  </a:lnTo>
                  <a:lnTo>
                    <a:pt x="784" y="211"/>
                  </a:lnTo>
                  <a:lnTo>
                    <a:pt x="796" y="206"/>
                  </a:lnTo>
                  <a:lnTo>
                    <a:pt x="789" y="211"/>
                  </a:lnTo>
                  <a:lnTo>
                    <a:pt x="805" y="211"/>
                  </a:lnTo>
                  <a:lnTo>
                    <a:pt x="812" y="239"/>
                  </a:lnTo>
                  <a:lnTo>
                    <a:pt x="796" y="260"/>
                  </a:lnTo>
                  <a:lnTo>
                    <a:pt x="784" y="260"/>
                  </a:lnTo>
                  <a:lnTo>
                    <a:pt x="784" y="277"/>
                  </a:lnTo>
                  <a:lnTo>
                    <a:pt x="789" y="284"/>
                  </a:lnTo>
                  <a:lnTo>
                    <a:pt x="789" y="293"/>
                  </a:lnTo>
                  <a:lnTo>
                    <a:pt x="768" y="305"/>
                  </a:lnTo>
                  <a:lnTo>
                    <a:pt x="742" y="300"/>
                  </a:lnTo>
                  <a:lnTo>
                    <a:pt x="734" y="317"/>
                  </a:lnTo>
                  <a:lnTo>
                    <a:pt x="687" y="338"/>
                  </a:lnTo>
                  <a:lnTo>
                    <a:pt x="687" y="338"/>
                  </a:lnTo>
                  <a:lnTo>
                    <a:pt x="687" y="338"/>
                  </a:lnTo>
                  <a:close/>
                  <a:moveTo>
                    <a:pt x="357" y="244"/>
                  </a:moveTo>
                  <a:lnTo>
                    <a:pt x="345" y="239"/>
                  </a:lnTo>
                  <a:lnTo>
                    <a:pt x="357" y="227"/>
                  </a:lnTo>
                  <a:lnTo>
                    <a:pt x="361" y="239"/>
                  </a:lnTo>
                  <a:lnTo>
                    <a:pt x="357" y="244"/>
                  </a:lnTo>
                  <a:lnTo>
                    <a:pt x="357" y="244"/>
                  </a:lnTo>
                  <a:lnTo>
                    <a:pt x="357" y="244"/>
                  </a:lnTo>
                  <a:close/>
                  <a:moveTo>
                    <a:pt x="612" y="244"/>
                  </a:moveTo>
                  <a:lnTo>
                    <a:pt x="605" y="239"/>
                  </a:lnTo>
                  <a:lnTo>
                    <a:pt x="605" y="239"/>
                  </a:lnTo>
                  <a:lnTo>
                    <a:pt x="612" y="244"/>
                  </a:lnTo>
                  <a:lnTo>
                    <a:pt x="612" y="244"/>
                  </a:lnTo>
                  <a:lnTo>
                    <a:pt x="612" y="244"/>
                  </a:lnTo>
                  <a:close/>
                  <a:moveTo>
                    <a:pt x="968" y="293"/>
                  </a:moveTo>
                  <a:lnTo>
                    <a:pt x="956" y="265"/>
                  </a:lnTo>
                  <a:lnTo>
                    <a:pt x="968" y="260"/>
                  </a:lnTo>
                  <a:lnTo>
                    <a:pt x="973" y="277"/>
                  </a:lnTo>
                  <a:lnTo>
                    <a:pt x="968" y="293"/>
                  </a:lnTo>
                  <a:lnTo>
                    <a:pt x="968" y="293"/>
                  </a:lnTo>
                  <a:lnTo>
                    <a:pt x="968" y="293"/>
                  </a:lnTo>
                  <a:close/>
                  <a:moveTo>
                    <a:pt x="444" y="293"/>
                  </a:moveTo>
                  <a:lnTo>
                    <a:pt x="427" y="284"/>
                  </a:lnTo>
                  <a:lnTo>
                    <a:pt x="432" y="277"/>
                  </a:lnTo>
                  <a:lnTo>
                    <a:pt x="444" y="284"/>
                  </a:lnTo>
                  <a:lnTo>
                    <a:pt x="444" y="293"/>
                  </a:lnTo>
                  <a:lnTo>
                    <a:pt x="444" y="293"/>
                  </a:lnTo>
                  <a:lnTo>
                    <a:pt x="444" y="293"/>
                  </a:lnTo>
                  <a:close/>
                  <a:moveTo>
                    <a:pt x="1023" y="334"/>
                  </a:moveTo>
                  <a:lnTo>
                    <a:pt x="1023" y="350"/>
                  </a:lnTo>
                  <a:lnTo>
                    <a:pt x="1056" y="371"/>
                  </a:lnTo>
                  <a:lnTo>
                    <a:pt x="1056" y="393"/>
                  </a:lnTo>
                  <a:lnTo>
                    <a:pt x="1056" y="388"/>
                  </a:lnTo>
                  <a:lnTo>
                    <a:pt x="1039" y="393"/>
                  </a:lnTo>
                  <a:lnTo>
                    <a:pt x="1011" y="388"/>
                  </a:lnTo>
                  <a:lnTo>
                    <a:pt x="1006" y="371"/>
                  </a:lnTo>
                  <a:lnTo>
                    <a:pt x="1006" y="355"/>
                  </a:lnTo>
                  <a:lnTo>
                    <a:pt x="990" y="350"/>
                  </a:lnTo>
                  <a:lnTo>
                    <a:pt x="973" y="334"/>
                  </a:lnTo>
                  <a:lnTo>
                    <a:pt x="973" y="300"/>
                  </a:lnTo>
                  <a:lnTo>
                    <a:pt x="1001" y="300"/>
                  </a:lnTo>
                  <a:lnTo>
                    <a:pt x="1006" y="322"/>
                  </a:lnTo>
                  <a:lnTo>
                    <a:pt x="1023" y="334"/>
                  </a:lnTo>
                  <a:lnTo>
                    <a:pt x="1023" y="334"/>
                  </a:lnTo>
                  <a:lnTo>
                    <a:pt x="1023" y="334"/>
                  </a:lnTo>
                  <a:close/>
                  <a:moveTo>
                    <a:pt x="498" y="322"/>
                  </a:moveTo>
                  <a:lnTo>
                    <a:pt x="482" y="305"/>
                  </a:lnTo>
                  <a:lnTo>
                    <a:pt x="482" y="300"/>
                  </a:lnTo>
                  <a:lnTo>
                    <a:pt x="503" y="305"/>
                  </a:lnTo>
                  <a:lnTo>
                    <a:pt x="498" y="322"/>
                  </a:lnTo>
                  <a:lnTo>
                    <a:pt x="498" y="322"/>
                  </a:lnTo>
                  <a:lnTo>
                    <a:pt x="498" y="322"/>
                  </a:lnTo>
                  <a:close/>
                  <a:moveTo>
                    <a:pt x="194" y="487"/>
                  </a:moveTo>
                  <a:lnTo>
                    <a:pt x="194" y="482"/>
                  </a:lnTo>
                  <a:lnTo>
                    <a:pt x="194" y="487"/>
                  </a:lnTo>
                  <a:lnTo>
                    <a:pt x="194" y="487"/>
                  </a:lnTo>
                  <a:lnTo>
                    <a:pt x="194" y="487"/>
                  </a:lnTo>
                  <a:lnTo>
                    <a:pt x="194" y="487"/>
                  </a:lnTo>
                  <a:close/>
                  <a:moveTo>
                    <a:pt x="194" y="499"/>
                  </a:moveTo>
                  <a:lnTo>
                    <a:pt x="194" y="487"/>
                  </a:lnTo>
                  <a:lnTo>
                    <a:pt x="201" y="487"/>
                  </a:lnTo>
                  <a:lnTo>
                    <a:pt x="194" y="499"/>
                  </a:lnTo>
                  <a:lnTo>
                    <a:pt x="194" y="499"/>
                  </a:lnTo>
                  <a:lnTo>
                    <a:pt x="194" y="499"/>
                  </a:lnTo>
                  <a:close/>
                  <a:moveTo>
                    <a:pt x="184" y="515"/>
                  </a:moveTo>
                  <a:lnTo>
                    <a:pt x="172" y="504"/>
                  </a:lnTo>
                  <a:lnTo>
                    <a:pt x="184" y="504"/>
                  </a:lnTo>
                  <a:lnTo>
                    <a:pt x="184" y="515"/>
                  </a:lnTo>
                  <a:lnTo>
                    <a:pt x="184" y="515"/>
                  </a:lnTo>
                  <a:lnTo>
                    <a:pt x="184" y="515"/>
                  </a:lnTo>
                  <a:close/>
                  <a:moveTo>
                    <a:pt x="194" y="527"/>
                  </a:moveTo>
                  <a:lnTo>
                    <a:pt x="163" y="504"/>
                  </a:lnTo>
                  <a:lnTo>
                    <a:pt x="177" y="515"/>
                  </a:lnTo>
                  <a:lnTo>
                    <a:pt x="194" y="527"/>
                  </a:lnTo>
                  <a:lnTo>
                    <a:pt x="194" y="527"/>
                  </a:lnTo>
                  <a:lnTo>
                    <a:pt x="194" y="527"/>
                  </a:lnTo>
                  <a:close/>
                  <a:moveTo>
                    <a:pt x="720" y="537"/>
                  </a:moveTo>
                  <a:lnTo>
                    <a:pt x="713" y="515"/>
                  </a:lnTo>
                  <a:lnTo>
                    <a:pt x="720" y="504"/>
                  </a:lnTo>
                  <a:lnTo>
                    <a:pt x="720" y="537"/>
                  </a:lnTo>
                  <a:lnTo>
                    <a:pt x="720" y="537"/>
                  </a:lnTo>
                  <a:lnTo>
                    <a:pt x="720" y="537"/>
                  </a:lnTo>
                  <a:close/>
                  <a:moveTo>
                    <a:pt x="838" y="570"/>
                  </a:moveTo>
                  <a:lnTo>
                    <a:pt x="812" y="553"/>
                  </a:lnTo>
                  <a:lnTo>
                    <a:pt x="838" y="544"/>
                  </a:lnTo>
                  <a:lnTo>
                    <a:pt x="850" y="560"/>
                  </a:lnTo>
                  <a:lnTo>
                    <a:pt x="838" y="570"/>
                  </a:lnTo>
                  <a:lnTo>
                    <a:pt x="838" y="570"/>
                  </a:lnTo>
                  <a:lnTo>
                    <a:pt x="838" y="570"/>
                  </a:lnTo>
                  <a:close/>
                  <a:moveTo>
                    <a:pt x="666" y="582"/>
                  </a:moveTo>
                  <a:lnTo>
                    <a:pt x="649" y="577"/>
                  </a:lnTo>
                  <a:lnTo>
                    <a:pt x="649" y="570"/>
                  </a:lnTo>
                  <a:lnTo>
                    <a:pt x="666" y="570"/>
                  </a:lnTo>
                  <a:lnTo>
                    <a:pt x="666" y="582"/>
                  </a:lnTo>
                  <a:lnTo>
                    <a:pt x="666" y="582"/>
                  </a:lnTo>
                  <a:lnTo>
                    <a:pt x="666" y="582"/>
                  </a:lnTo>
                  <a:close/>
                  <a:moveTo>
                    <a:pt x="697" y="598"/>
                  </a:moveTo>
                  <a:lnTo>
                    <a:pt x="671" y="593"/>
                  </a:lnTo>
                  <a:lnTo>
                    <a:pt x="671" y="577"/>
                  </a:lnTo>
                  <a:lnTo>
                    <a:pt x="697" y="582"/>
                  </a:lnTo>
                  <a:lnTo>
                    <a:pt x="704" y="598"/>
                  </a:lnTo>
                  <a:lnTo>
                    <a:pt x="697" y="598"/>
                  </a:lnTo>
                  <a:lnTo>
                    <a:pt x="697" y="598"/>
                  </a:lnTo>
                  <a:lnTo>
                    <a:pt x="697" y="598"/>
                  </a:lnTo>
                  <a:close/>
                  <a:moveTo>
                    <a:pt x="730" y="638"/>
                  </a:moveTo>
                  <a:lnTo>
                    <a:pt x="704" y="631"/>
                  </a:lnTo>
                  <a:lnTo>
                    <a:pt x="697" y="598"/>
                  </a:lnTo>
                  <a:lnTo>
                    <a:pt x="720" y="626"/>
                  </a:lnTo>
                  <a:lnTo>
                    <a:pt x="730" y="615"/>
                  </a:lnTo>
                  <a:lnTo>
                    <a:pt x="730" y="638"/>
                  </a:lnTo>
                  <a:lnTo>
                    <a:pt x="730" y="638"/>
                  </a:lnTo>
                  <a:lnTo>
                    <a:pt x="730" y="638"/>
                  </a:lnTo>
                  <a:close/>
                  <a:moveTo>
                    <a:pt x="704" y="671"/>
                  </a:moveTo>
                  <a:lnTo>
                    <a:pt x="697" y="671"/>
                  </a:lnTo>
                  <a:lnTo>
                    <a:pt x="697" y="664"/>
                  </a:lnTo>
                  <a:lnTo>
                    <a:pt x="704" y="664"/>
                  </a:lnTo>
                  <a:lnTo>
                    <a:pt x="704" y="671"/>
                  </a:lnTo>
                  <a:lnTo>
                    <a:pt x="704" y="671"/>
                  </a:lnTo>
                  <a:lnTo>
                    <a:pt x="704" y="671"/>
                  </a:lnTo>
                  <a:close/>
                  <a:moveTo>
                    <a:pt x="704" y="671"/>
                  </a:moveTo>
                  <a:lnTo>
                    <a:pt x="704" y="664"/>
                  </a:lnTo>
                  <a:lnTo>
                    <a:pt x="713" y="664"/>
                  </a:lnTo>
                  <a:lnTo>
                    <a:pt x="713" y="671"/>
                  </a:lnTo>
                  <a:lnTo>
                    <a:pt x="704" y="671"/>
                  </a:lnTo>
                  <a:lnTo>
                    <a:pt x="704" y="671"/>
                  </a:lnTo>
                  <a:lnTo>
                    <a:pt x="704" y="671"/>
                  </a:lnTo>
                  <a:close/>
                  <a:moveTo>
                    <a:pt x="838" y="671"/>
                  </a:moveTo>
                  <a:lnTo>
                    <a:pt x="822" y="671"/>
                  </a:lnTo>
                  <a:lnTo>
                    <a:pt x="843" y="671"/>
                  </a:lnTo>
                  <a:lnTo>
                    <a:pt x="838" y="671"/>
                  </a:lnTo>
                  <a:lnTo>
                    <a:pt x="838" y="671"/>
                  </a:lnTo>
                  <a:lnTo>
                    <a:pt x="838" y="671"/>
                  </a:lnTo>
                  <a:close/>
                  <a:moveTo>
                    <a:pt x="864" y="721"/>
                  </a:moveTo>
                  <a:lnTo>
                    <a:pt x="860" y="709"/>
                  </a:lnTo>
                  <a:lnTo>
                    <a:pt x="864" y="709"/>
                  </a:lnTo>
                  <a:lnTo>
                    <a:pt x="864" y="721"/>
                  </a:lnTo>
                  <a:lnTo>
                    <a:pt x="864" y="721"/>
                  </a:lnTo>
                  <a:lnTo>
                    <a:pt x="864" y="721"/>
                  </a:lnTo>
                  <a:close/>
                  <a:moveTo>
                    <a:pt x="931" y="726"/>
                  </a:moveTo>
                  <a:lnTo>
                    <a:pt x="919" y="721"/>
                  </a:lnTo>
                  <a:lnTo>
                    <a:pt x="935" y="721"/>
                  </a:lnTo>
                  <a:lnTo>
                    <a:pt x="947" y="726"/>
                  </a:lnTo>
                  <a:lnTo>
                    <a:pt x="931" y="726"/>
                  </a:lnTo>
                  <a:lnTo>
                    <a:pt x="931" y="726"/>
                  </a:lnTo>
                  <a:lnTo>
                    <a:pt x="931" y="726"/>
                  </a:lnTo>
                  <a:close/>
                  <a:moveTo>
                    <a:pt x="893" y="742"/>
                  </a:moveTo>
                  <a:lnTo>
                    <a:pt x="876" y="737"/>
                  </a:lnTo>
                  <a:lnTo>
                    <a:pt x="864" y="721"/>
                  </a:lnTo>
                  <a:lnTo>
                    <a:pt x="905" y="742"/>
                  </a:lnTo>
                  <a:lnTo>
                    <a:pt x="893" y="742"/>
                  </a:lnTo>
                  <a:lnTo>
                    <a:pt x="893" y="742"/>
                  </a:lnTo>
                  <a:lnTo>
                    <a:pt x="893" y="74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23" name="Freeform 541">
              <a:extLst>
                <a:ext uri="{FF2B5EF4-FFF2-40B4-BE49-F238E27FC236}">
                  <a16:creationId xmlns:a16="http://schemas.microsoft.com/office/drawing/2014/main" id="{89F88897-79D1-4365-AB57-E4FC5961D786}"/>
                </a:ext>
              </a:extLst>
            </p:cNvPr>
            <p:cNvSpPr>
              <a:spLocks noEditPoints="1"/>
            </p:cNvSpPr>
            <p:nvPr/>
          </p:nvSpPr>
          <p:spPr bwMode="gray">
            <a:xfrm>
              <a:off x="10102341" y="3479191"/>
              <a:ext cx="278290" cy="438478"/>
            </a:xfrm>
            <a:custGeom>
              <a:avLst/>
              <a:gdLst>
                <a:gd name="T0" fmla="*/ 324 w 676"/>
                <a:gd name="T1" fmla="*/ 16 h 1065"/>
                <a:gd name="T2" fmla="*/ 310 w 676"/>
                <a:gd name="T3" fmla="*/ 50 h 1065"/>
                <a:gd name="T4" fmla="*/ 459 w 676"/>
                <a:gd name="T5" fmla="*/ 437 h 1065"/>
                <a:gd name="T6" fmla="*/ 487 w 676"/>
                <a:gd name="T7" fmla="*/ 494 h 1065"/>
                <a:gd name="T8" fmla="*/ 395 w 676"/>
                <a:gd name="T9" fmla="*/ 416 h 1065"/>
                <a:gd name="T10" fmla="*/ 260 w 676"/>
                <a:gd name="T11" fmla="*/ 416 h 1065"/>
                <a:gd name="T12" fmla="*/ 239 w 676"/>
                <a:gd name="T13" fmla="*/ 349 h 1065"/>
                <a:gd name="T14" fmla="*/ 244 w 676"/>
                <a:gd name="T15" fmla="*/ 250 h 1065"/>
                <a:gd name="T16" fmla="*/ 378 w 676"/>
                <a:gd name="T17" fmla="*/ 90 h 1065"/>
                <a:gd name="T18" fmla="*/ 369 w 676"/>
                <a:gd name="T19" fmla="*/ 250 h 1065"/>
                <a:gd name="T20" fmla="*/ 369 w 676"/>
                <a:gd name="T21" fmla="*/ 416 h 1065"/>
                <a:gd name="T22" fmla="*/ 433 w 676"/>
                <a:gd name="T23" fmla="*/ 437 h 1065"/>
                <a:gd name="T24" fmla="*/ 362 w 676"/>
                <a:gd name="T25" fmla="*/ 342 h 1065"/>
                <a:gd name="T26" fmla="*/ 369 w 676"/>
                <a:gd name="T27" fmla="*/ 361 h 1065"/>
                <a:gd name="T28" fmla="*/ 508 w 676"/>
                <a:gd name="T29" fmla="*/ 444 h 1065"/>
                <a:gd name="T30" fmla="*/ 345 w 676"/>
                <a:gd name="T31" fmla="*/ 461 h 1065"/>
                <a:gd name="T32" fmla="*/ 239 w 676"/>
                <a:gd name="T33" fmla="*/ 444 h 1065"/>
                <a:gd name="T34" fmla="*/ 487 w 676"/>
                <a:gd name="T35" fmla="*/ 453 h 1065"/>
                <a:gd name="T36" fmla="*/ 492 w 676"/>
                <a:gd name="T37" fmla="*/ 470 h 1065"/>
                <a:gd name="T38" fmla="*/ 362 w 676"/>
                <a:gd name="T39" fmla="*/ 510 h 1065"/>
                <a:gd name="T40" fmla="*/ 503 w 676"/>
                <a:gd name="T41" fmla="*/ 581 h 1065"/>
                <a:gd name="T42" fmla="*/ 617 w 676"/>
                <a:gd name="T43" fmla="*/ 626 h 1065"/>
                <a:gd name="T44" fmla="*/ 584 w 676"/>
                <a:gd name="T45" fmla="*/ 527 h 1065"/>
                <a:gd name="T46" fmla="*/ 617 w 676"/>
                <a:gd name="T47" fmla="*/ 626 h 1065"/>
                <a:gd name="T48" fmla="*/ 218 w 676"/>
                <a:gd name="T49" fmla="*/ 555 h 1065"/>
                <a:gd name="T50" fmla="*/ 293 w 676"/>
                <a:gd name="T51" fmla="*/ 538 h 1065"/>
                <a:gd name="T52" fmla="*/ 433 w 676"/>
                <a:gd name="T53" fmla="*/ 621 h 1065"/>
                <a:gd name="T54" fmla="*/ 369 w 676"/>
                <a:gd name="T55" fmla="*/ 572 h 1065"/>
                <a:gd name="T56" fmla="*/ 529 w 676"/>
                <a:gd name="T57" fmla="*/ 581 h 1065"/>
                <a:gd name="T58" fmla="*/ 525 w 676"/>
                <a:gd name="T59" fmla="*/ 638 h 1065"/>
                <a:gd name="T60" fmla="*/ 546 w 676"/>
                <a:gd name="T61" fmla="*/ 692 h 1065"/>
                <a:gd name="T62" fmla="*/ 189 w 676"/>
                <a:gd name="T63" fmla="*/ 666 h 1065"/>
                <a:gd name="T64" fmla="*/ 24 w 676"/>
                <a:gd name="T65" fmla="*/ 803 h 1065"/>
                <a:gd name="T66" fmla="*/ 168 w 676"/>
                <a:gd name="T67" fmla="*/ 659 h 1065"/>
                <a:gd name="T68" fmla="*/ 185 w 676"/>
                <a:gd name="T69" fmla="*/ 642 h 1065"/>
                <a:gd name="T70" fmla="*/ 475 w 676"/>
                <a:gd name="T71" fmla="*/ 666 h 1065"/>
                <a:gd name="T72" fmla="*/ 449 w 676"/>
                <a:gd name="T73" fmla="*/ 675 h 1065"/>
                <a:gd name="T74" fmla="*/ 416 w 676"/>
                <a:gd name="T75" fmla="*/ 699 h 1065"/>
                <a:gd name="T76" fmla="*/ 617 w 676"/>
                <a:gd name="T77" fmla="*/ 649 h 1065"/>
                <a:gd name="T78" fmla="*/ 407 w 676"/>
                <a:gd name="T79" fmla="*/ 659 h 1065"/>
                <a:gd name="T80" fmla="*/ 513 w 676"/>
                <a:gd name="T81" fmla="*/ 659 h 1065"/>
                <a:gd name="T82" fmla="*/ 201 w 676"/>
                <a:gd name="T83" fmla="*/ 666 h 1065"/>
                <a:gd name="T84" fmla="*/ 529 w 676"/>
                <a:gd name="T85" fmla="*/ 699 h 1065"/>
                <a:gd name="T86" fmla="*/ 529 w 676"/>
                <a:gd name="T87" fmla="*/ 699 h 1065"/>
                <a:gd name="T88" fmla="*/ 638 w 676"/>
                <a:gd name="T89" fmla="*/ 720 h 1065"/>
                <a:gd name="T90" fmla="*/ 407 w 676"/>
                <a:gd name="T91" fmla="*/ 886 h 1065"/>
                <a:gd name="T92" fmla="*/ 421 w 676"/>
                <a:gd name="T93" fmla="*/ 831 h 1065"/>
                <a:gd name="T94" fmla="*/ 513 w 676"/>
                <a:gd name="T95" fmla="*/ 815 h 1065"/>
                <a:gd name="T96" fmla="*/ 631 w 676"/>
                <a:gd name="T97" fmla="*/ 737 h 1065"/>
                <a:gd name="T98" fmla="*/ 664 w 676"/>
                <a:gd name="T99" fmla="*/ 860 h 1065"/>
                <a:gd name="T100" fmla="*/ 622 w 676"/>
                <a:gd name="T101" fmla="*/ 914 h 1065"/>
                <a:gd name="T102" fmla="*/ 584 w 676"/>
                <a:gd name="T103" fmla="*/ 1025 h 1065"/>
                <a:gd name="T104" fmla="*/ 492 w 676"/>
                <a:gd name="T105" fmla="*/ 869 h 1065"/>
                <a:gd name="T106" fmla="*/ 454 w 676"/>
                <a:gd name="T107" fmla="*/ 758 h 1065"/>
                <a:gd name="T108" fmla="*/ 546 w 676"/>
                <a:gd name="T109" fmla="*/ 770 h 1065"/>
                <a:gd name="T110" fmla="*/ 416 w 676"/>
                <a:gd name="T111" fmla="*/ 898 h 1065"/>
                <a:gd name="T112" fmla="*/ 622 w 676"/>
                <a:gd name="T113" fmla="*/ 914 h 1065"/>
                <a:gd name="T114" fmla="*/ 352 w 676"/>
                <a:gd name="T115" fmla="*/ 959 h 1065"/>
                <a:gd name="T116" fmla="*/ 255 w 676"/>
                <a:gd name="T117" fmla="*/ 959 h 1065"/>
                <a:gd name="T118" fmla="*/ 310 w 676"/>
                <a:gd name="T119" fmla="*/ 997 h 1065"/>
                <a:gd name="T120" fmla="*/ 277 w 676"/>
                <a:gd name="T121" fmla="*/ 1025 h 1065"/>
                <a:gd name="T122" fmla="*/ 206 w 676"/>
                <a:gd name="T123" fmla="*/ 1065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6" h="1065">
                  <a:moveTo>
                    <a:pt x="352" y="0"/>
                  </a:moveTo>
                  <a:lnTo>
                    <a:pt x="345" y="0"/>
                  </a:lnTo>
                  <a:lnTo>
                    <a:pt x="352" y="0"/>
                  </a:lnTo>
                  <a:lnTo>
                    <a:pt x="352" y="0"/>
                  </a:lnTo>
                  <a:lnTo>
                    <a:pt x="352" y="0"/>
                  </a:lnTo>
                  <a:close/>
                  <a:moveTo>
                    <a:pt x="324" y="16"/>
                  </a:moveTo>
                  <a:lnTo>
                    <a:pt x="314" y="12"/>
                  </a:lnTo>
                  <a:lnTo>
                    <a:pt x="324" y="12"/>
                  </a:lnTo>
                  <a:lnTo>
                    <a:pt x="324" y="16"/>
                  </a:lnTo>
                  <a:lnTo>
                    <a:pt x="324" y="16"/>
                  </a:lnTo>
                  <a:lnTo>
                    <a:pt x="324" y="16"/>
                  </a:lnTo>
                  <a:close/>
                  <a:moveTo>
                    <a:pt x="345" y="54"/>
                  </a:moveTo>
                  <a:lnTo>
                    <a:pt x="345" y="38"/>
                  </a:lnTo>
                  <a:lnTo>
                    <a:pt x="352" y="38"/>
                  </a:lnTo>
                  <a:lnTo>
                    <a:pt x="345" y="54"/>
                  </a:lnTo>
                  <a:lnTo>
                    <a:pt x="345" y="54"/>
                  </a:lnTo>
                  <a:lnTo>
                    <a:pt x="345" y="54"/>
                  </a:lnTo>
                  <a:close/>
                  <a:moveTo>
                    <a:pt x="310" y="50"/>
                  </a:moveTo>
                  <a:lnTo>
                    <a:pt x="314" y="50"/>
                  </a:lnTo>
                  <a:lnTo>
                    <a:pt x="310" y="50"/>
                  </a:lnTo>
                  <a:lnTo>
                    <a:pt x="310" y="50"/>
                  </a:lnTo>
                  <a:lnTo>
                    <a:pt x="310" y="50"/>
                  </a:lnTo>
                  <a:close/>
                  <a:moveTo>
                    <a:pt x="433" y="437"/>
                  </a:moveTo>
                  <a:lnTo>
                    <a:pt x="449" y="420"/>
                  </a:lnTo>
                  <a:lnTo>
                    <a:pt x="437" y="404"/>
                  </a:lnTo>
                  <a:lnTo>
                    <a:pt x="449" y="404"/>
                  </a:lnTo>
                  <a:lnTo>
                    <a:pt x="454" y="416"/>
                  </a:lnTo>
                  <a:lnTo>
                    <a:pt x="492" y="427"/>
                  </a:lnTo>
                  <a:lnTo>
                    <a:pt x="459" y="427"/>
                  </a:lnTo>
                  <a:lnTo>
                    <a:pt x="459" y="437"/>
                  </a:lnTo>
                  <a:lnTo>
                    <a:pt x="487" y="470"/>
                  </a:lnTo>
                  <a:lnTo>
                    <a:pt x="475" y="470"/>
                  </a:lnTo>
                  <a:lnTo>
                    <a:pt x="475" y="477"/>
                  </a:lnTo>
                  <a:lnTo>
                    <a:pt x="487" y="470"/>
                  </a:lnTo>
                  <a:lnTo>
                    <a:pt x="503" y="482"/>
                  </a:lnTo>
                  <a:lnTo>
                    <a:pt x="508" y="477"/>
                  </a:lnTo>
                  <a:lnTo>
                    <a:pt x="503" y="515"/>
                  </a:lnTo>
                  <a:lnTo>
                    <a:pt x="492" y="515"/>
                  </a:lnTo>
                  <a:lnTo>
                    <a:pt x="487" y="498"/>
                  </a:lnTo>
                  <a:lnTo>
                    <a:pt x="487" y="494"/>
                  </a:lnTo>
                  <a:lnTo>
                    <a:pt x="492" y="494"/>
                  </a:lnTo>
                  <a:lnTo>
                    <a:pt x="503" y="482"/>
                  </a:lnTo>
                  <a:lnTo>
                    <a:pt x="487" y="482"/>
                  </a:lnTo>
                  <a:lnTo>
                    <a:pt x="475" y="494"/>
                  </a:lnTo>
                  <a:lnTo>
                    <a:pt x="454" y="477"/>
                  </a:lnTo>
                  <a:lnTo>
                    <a:pt x="449" y="482"/>
                  </a:lnTo>
                  <a:lnTo>
                    <a:pt x="437" y="453"/>
                  </a:lnTo>
                  <a:lnTo>
                    <a:pt x="416" y="437"/>
                  </a:lnTo>
                  <a:lnTo>
                    <a:pt x="416" y="427"/>
                  </a:lnTo>
                  <a:lnTo>
                    <a:pt x="395" y="416"/>
                  </a:lnTo>
                  <a:lnTo>
                    <a:pt x="395" y="427"/>
                  </a:lnTo>
                  <a:lnTo>
                    <a:pt x="407" y="470"/>
                  </a:lnTo>
                  <a:lnTo>
                    <a:pt x="400" y="470"/>
                  </a:lnTo>
                  <a:lnTo>
                    <a:pt x="383" y="444"/>
                  </a:lnTo>
                  <a:lnTo>
                    <a:pt x="340" y="416"/>
                  </a:lnTo>
                  <a:lnTo>
                    <a:pt x="314" y="420"/>
                  </a:lnTo>
                  <a:lnTo>
                    <a:pt x="310" y="437"/>
                  </a:lnTo>
                  <a:lnTo>
                    <a:pt x="293" y="437"/>
                  </a:lnTo>
                  <a:lnTo>
                    <a:pt x="277" y="416"/>
                  </a:lnTo>
                  <a:lnTo>
                    <a:pt x="260" y="416"/>
                  </a:lnTo>
                  <a:lnTo>
                    <a:pt x="260" y="427"/>
                  </a:lnTo>
                  <a:lnTo>
                    <a:pt x="255" y="387"/>
                  </a:lnTo>
                  <a:lnTo>
                    <a:pt x="286" y="371"/>
                  </a:lnTo>
                  <a:lnTo>
                    <a:pt x="286" y="366"/>
                  </a:lnTo>
                  <a:lnTo>
                    <a:pt x="277" y="349"/>
                  </a:lnTo>
                  <a:lnTo>
                    <a:pt x="255" y="349"/>
                  </a:lnTo>
                  <a:lnTo>
                    <a:pt x="255" y="371"/>
                  </a:lnTo>
                  <a:lnTo>
                    <a:pt x="244" y="383"/>
                  </a:lnTo>
                  <a:lnTo>
                    <a:pt x="234" y="361"/>
                  </a:lnTo>
                  <a:lnTo>
                    <a:pt x="239" y="349"/>
                  </a:lnTo>
                  <a:lnTo>
                    <a:pt x="222" y="349"/>
                  </a:lnTo>
                  <a:lnTo>
                    <a:pt x="218" y="316"/>
                  </a:lnTo>
                  <a:lnTo>
                    <a:pt x="206" y="305"/>
                  </a:lnTo>
                  <a:lnTo>
                    <a:pt x="206" y="272"/>
                  </a:lnTo>
                  <a:lnTo>
                    <a:pt x="206" y="260"/>
                  </a:lnTo>
                  <a:lnTo>
                    <a:pt x="201" y="272"/>
                  </a:lnTo>
                  <a:lnTo>
                    <a:pt x="201" y="250"/>
                  </a:lnTo>
                  <a:lnTo>
                    <a:pt x="206" y="234"/>
                  </a:lnTo>
                  <a:lnTo>
                    <a:pt x="222" y="260"/>
                  </a:lnTo>
                  <a:lnTo>
                    <a:pt x="244" y="250"/>
                  </a:lnTo>
                  <a:lnTo>
                    <a:pt x="239" y="217"/>
                  </a:lnTo>
                  <a:lnTo>
                    <a:pt x="244" y="194"/>
                  </a:lnTo>
                  <a:lnTo>
                    <a:pt x="244" y="161"/>
                  </a:lnTo>
                  <a:lnTo>
                    <a:pt x="239" y="144"/>
                  </a:lnTo>
                  <a:lnTo>
                    <a:pt x="260" y="73"/>
                  </a:lnTo>
                  <a:lnTo>
                    <a:pt x="293" y="66"/>
                  </a:lnTo>
                  <a:lnTo>
                    <a:pt x="352" y="94"/>
                  </a:lnTo>
                  <a:lnTo>
                    <a:pt x="362" y="90"/>
                  </a:lnTo>
                  <a:lnTo>
                    <a:pt x="369" y="73"/>
                  </a:lnTo>
                  <a:lnTo>
                    <a:pt x="378" y="90"/>
                  </a:lnTo>
                  <a:lnTo>
                    <a:pt x="378" y="94"/>
                  </a:lnTo>
                  <a:lnTo>
                    <a:pt x="369" y="106"/>
                  </a:lnTo>
                  <a:lnTo>
                    <a:pt x="362" y="127"/>
                  </a:lnTo>
                  <a:lnTo>
                    <a:pt x="369" y="161"/>
                  </a:lnTo>
                  <a:lnTo>
                    <a:pt x="383" y="165"/>
                  </a:lnTo>
                  <a:lnTo>
                    <a:pt x="383" y="177"/>
                  </a:lnTo>
                  <a:lnTo>
                    <a:pt x="395" y="177"/>
                  </a:lnTo>
                  <a:lnTo>
                    <a:pt x="383" y="198"/>
                  </a:lnTo>
                  <a:lnTo>
                    <a:pt x="369" y="234"/>
                  </a:lnTo>
                  <a:lnTo>
                    <a:pt x="369" y="250"/>
                  </a:lnTo>
                  <a:lnTo>
                    <a:pt x="362" y="255"/>
                  </a:lnTo>
                  <a:lnTo>
                    <a:pt x="352" y="260"/>
                  </a:lnTo>
                  <a:lnTo>
                    <a:pt x="362" y="250"/>
                  </a:lnTo>
                  <a:lnTo>
                    <a:pt x="324" y="272"/>
                  </a:lnTo>
                  <a:lnTo>
                    <a:pt x="331" y="288"/>
                  </a:lnTo>
                  <a:lnTo>
                    <a:pt x="310" y="309"/>
                  </a:lnTo>
                  <a:lnTo>
                    <a:pt x="331" y="361"/>
                  </a:lnTo>
                  <a:lnTo>
                    <a:pt x="331" y="366"/>
                  </a:lnTo>
                  <a:lnTo>
                    <a:pt x="340" y="399"/>
                  </a:lnTo>
                  <a:lnTo>
                    <a:pt x="369" y="416"/>
                  </a:lnTo>
                  <a:lnTo>
                    <a:pt x="378" y="404"/>
                  </a:lnTo>
                  <a:lnTo>
                    <a:pt x="369" y="399"/>
                  </a:lnTo>
                  <a:lnTo>
                    <a:pt x="369" y="387"/>
                  </a:lnTo>
                  <a:lnTo>
                    <a:pt x="378" y="404"/>
                  </a:lnTo>
                  <a:lnTo>
                    <a:pt x="383" y="383"/>
                  </a:lnTo>
                  <a:lnTo>
                    <a:pt x="407" y="387"/>
                  </a:lnTo>
                  <a:lnTo>
                    <a:pt x="433" y="416"/>
                  </a:lnTo>
                  <a:lnTo>
                    <a:pt x="433" y="437"/>
                  </a:lnTo>
                  <a:lnTo>
                    <a:pt x="433" y="437"/>
                  </a:lnTo>
                  <a:lnTo>
                    <a:pt x="433" y="437"/>
                  </a:lnTo>
                  <a:close/>
                  <a:moveTo>
                    <a:pt x="218" y="250"/>
                  </a:moveTo>
                  <a:lnTo>
                    <a:pt x="206" y="238"/>
                  </a:lnTo>
                  <a:lnTo>
                    <a:pt x="218" y="238"/>
                  </a:lnTo>
                  <a:lnTo>
                    <a:pt x="218" y="250"/>
                  </a:lnTo>
                  <a:lnTo>
                    <a:pt x="218" y="250"/>
                  </a:lnTo>
                  <a:lnTo>
                    <a:pt x="218" y="250"/>
                  </a:lnTo>
                  <a:close/>
                  <a:moveTo>
                    <a:pt x="352" y="366"/>
                  </a:moveTo>
                  <a:lnTo>
                    <a:pt x="340" y="342"/>
                  </a:lnTo>
                  <a:lnTo>
                    <a:pt x="352" y="333"/>
                  </a:lnTo>
                  <a:lnTo>
                    <a:pt x="362" y="342"/>
                  </a:lnTo>
                  <a:lnTo>
                    <a:pt x="352" y="342"/>
                  </a:lnTo>
                  <a:lnTo>
                    <a:pt x="352" y="361"/>
                  </a:lnTo>
                  <a:lnTo>
                    <a:pt x="352" y="366"/>
                  </a:lnTo>
                  <a:lnTo>
                    <a:pt x="352" y="366"/>
                  </a:lnTo>
                  <a:lnTo>
                    <a:pt x="352" y="366"/>
                  </a:lnTo>
                  <a:close/>
                  <a:moveTo>
                    <a:pt x="369" y="361"/>
                  </a:moveTo>
                  <a:lnTo>
                    <a:pt x="362" y="349"/>
                  </a:lnTo>
                  <a:lnTo>
                    <a:pt x="369" y="349"/>
                  </a:lnTo>
                  <a:lnTo>
                    <a:pt x="369" y="361"/>
                  </a:lnTo>
                  <a:lnTo>
                    <a:pt x="369" y="361"/>
                  </a:lnTo>
                  <a:lnTo>
                    <a:pt x="369" y="361"/>
                  </a:lnTo>
                  <a:close/>
                  <a:moveTo>
                    <a:pt x="508" y="444"/>
                  </a:moveTo>
                  <a:lnTo>
                    <a:pt x="503" y="437"/>
                  </a:lnTo>
                  <a:lnTo>
                    <a:pt x="503" y="420"/>
                  </a:lnTo>
                  <a:lnTo>
                    <a:pt x="503" y="404"/>
                  </a:lnTo>
                  <a:lnTo>
                    <a:pt x="508" y="404"/>
                  </a:lnTo>
                  <a:lnTo>
                    <a:pt x="525" y="420"/>
                  </a:lnTo>
                  <a:lnTo>
                    <a:pt x="513" y="444"/>
                  </a:lnTo>
                  <a:lnTo>
                    <a:pt x="513" y="437"/>
                  </a:lnTo>
                  <a:lnTo>
                    <a:pt x="508" y="444"/>
                  </a:lnTo>
                  <a:lnTo>
                    <a:pt x="508" y="444"/>
                  </a:lnTo>
                  <a:lnTo>
                    <a:pt x="508" y="444"/>
                  </a:lnTo>
                  <a:close/>
                  <a:moveTo>
                    <a:pt x="234" y="437"/>
                  </a:moveTo>
                  <a:lnTo>
                    <a:pt x="222" y="420"/>
                  </a:lnTo>
                  <a:lnTo>
                    <a:pt x="234" y="420"/>
                  </a:lnTo>
                  <a:lnTo>
                    <a:pt x="234" y="437"/>
                  </a:lnTo>
                  <a:lnTo>
                    <a:pt x="234" y="437"/>
                  </a:lnTo>
                  <a:lnTo>
                    <a:pt x="234" y="437"/>
                  </a:lnTo>
                  <a:close/>
                  <a:moveTo>
                    <a:pt x="352" y="470"/>
                  </a:moveTo>
                  <a:lnTo>
                    <a:pt x="345" y="461"/>
                  </a:lnTo>
                  <a:lnTo>
                    <a:pt x="345" y="444"/>
                  </a:lnTo>
                  <a:lnTo>
                    <a:pt x="362" y="453"/>
                  </a:lnTo>
                  <a:lnTo>
                    <a:pt x="352" y="470"/>
                  </a:lnTo>
                  <a:lnTo>
                    <a:pt x="352" y="470"/>
                  </a:lnTo>
                  <a:lnTo>
                    <a:pt x="352" y="470"/>
                  </a:lnTo>
                  <a:close/>
                  <a:moveTo>
                    <a:pt x="314" y="531"/>
                  </a:moveTo>
                  <a:lnTo>
                    <a:pt x="293" y="538"/>
                  </a:lnTo>
                  <a:lnTo>
                    <a:pt x="272" y="498"/>
                  </a:lnTo>
                  <a:lnTo>
                    <a:pt x="260" y="477"/>
                  </a:lnTo>
                  <a:lnTo>
                    <a:pt x="239" y="444"/>
                  </a:lnTo>
                  <a:lnTo>
                    <a:pt x="286" y="444"/>
                  </a:lnTo>
                  <a:lnTo>
                    <a:pt x="324" y="470"/>
                  </a:lnTo>
                  <a:lnTo>
                    <a:pt x="314" y="498"/>
                  </a:lnTo>
                  <a:lnTo>
                    <a:pt x="324" y="510"/>
                  </a:lnTo>
                  <a:lnTo>
                    <a:pt x="314" y="527"/>
                  </a:lnTo>
                  <a:lnTo>
                    <a:pt x="314" y="531"/>
                  </a:lnTo>
                  <a:lnTo>
                    <a:pt x="314" y="531"/>
                  </a:lnTo>
                  <a:lnTo>
                    <a:pt x="314" y="531"/>
                  </a:lnTo>
                  <a:close/>
                  <a:moveTo>
                    <a:pt x="487" y="470"/>
                  </a:moveTo>
                  <a:lnTo>
                    <a:pt x="487" y="453"/>
                  </a:lnTo>
                  <a:lnTo>
                    <a:pt x="492" y="461"/>
                  </a:lnTo>
                  <a:lnTo>
                    <a:pt x="487" y="470"/>
                  </a:lnTo>
                  <a:lnTo>
                    <a:pt x="487" y="470"/>
                  </a:lnTo>
                  <a:lnTo>
                    <a:pt x="487" y="470"/>
                  </a:lnTo>
                  <a:close/>
                  <a:moveTo>
                    <a:pt x="492" y="470"/>
                  </a:moveTo>
                  <a:lnTo>
                    <a:pt x="492" y="461"/>
                  </a:lnTo>
                  <a:lnTo>
                    <a:pt x="503" y="461"/>
                  </a:lnTo>
                  <a:lnTo>
                    <a:pt x="492" y="470"/>
                  </a:lnTo>
                  <a:lnTo>
                    <a:pt x="492" y="470"/>
                  </a:lnTo>
                  <a:lnTo>
                    <a:pt x="492" y="470"/>
                  </a:lnTo>
                  <a:close/>
                  <a:moveTo>
                    <a:pt x="454" y="510"/>
                  </a:moveTo>
                  <a:lnTo>
                    <a:pt x="421" y="477"/>
                  </a:lnTo>
                  <a:lnTo>
                    <a:pt x="433" y="477"/>
                  </a:lnTo>
                  <a:lnTo>
                    <a:pt x="454" y="510"/>
                  </a:lnTo>
                  <a:lnTo>
                    <a:pt x="454" y="510"/>
                  </a:lnTo>
                  <a:lnTo>
                    <a:pt x="454" y="510"/>
                  </a:lnTo>
                  <a:close/>
                  <a:moveTo>
                    <a:pt x="352" y="548"/>
                  </a:moveTo>
                  <a:lnTo>
                    <a:pt x="345" y="531"/>
                  </a:lnTo>
                  <a:lnTo>
                    <a:pt x="352" y="515"/>
                  </a:lnTo>
                  <a:lnTo>
                    <a:pt x="362" y="510"/>
                  </a:lnTo>
                  <a:lnTo>
                    <a:pt x="352" y="548"/>
                  </a:lnTo>
                  <a:lnTo>
                    <a:pt x="352" y="548"/>
                  </a:lnTo>
                  <a:lnTo>
                    <a:pt x="352" y="548"/>
                  </a:lnTo>
                  <a:close/>
                  <a:moveTo>
                    <a:pt x="475" y="531"/>
                  </a:moveTo>
                  <a:lnTo>
                    <a:pt x="470" y="510"/>
                  </a:lnTo>
                  <a:lnTo>
                    <a:pt x="475" y="510"/>
                  </a:lnTo>
                  <a:lnTo>
                    <a:pt x="475" y="531"/>
                  </a:lnTo>
                  <a:lnTo>
                    <a:pt x="475" y="531"/>
                  </a:lnTo>
                  <a:lnTo>
                    <a:pt x="475" y="531"/>
                  </a:lnTo>
                  <a:close/>
                  <a:moveTo>
                    <a:pt x="503" y="581"/>
                  </a:moveTo>
                  <a:lnTo>
                    <a:pt x="459" y="538"/>
                  </a:lnTo>
                  <a:lnTo>
                    <a:pt x="437" y="564"/>
                  </a:lnTo>
                  <a:lnTo>
                    <a:pt x="449" y="538"/>
                  </a:lnTo>
                  <a:lnTo>
                    <a:pt x="437" y="510"/>
                  </a:lnTo>
                  <a:lnTo>
                    <a:pt x="492" y="538"/>
                  </a:lnTo>
                  <a:lnTo>
                    <a:pt x="503" y="555"/>
                  </a:lnTo>
                  <a:lnTo>
                    <a:pt x="503" y="581"/>
                  </a:lnTo>
                  <a:lnTo>
                    <a:pt x="503" y="581"/>
                  </a:lnTo>
                  <a:lnTo>
                    <a:pt x="503" y="581"/>
                  </a:lnTo>
                  <a:close/>
                  <a:moveTo>
                    <a:pt x="617" y="626"/>
                  </a:moveTo>
                  <a:lnTo>
                    <a:pt x="610" y="621"/>
                  </a:lnTo>
                  <a:lnTo>
                    <a:pt x="584" y="621"/>
                  </a:lnTo>
                  <a:lnTo>
                    <a:pt x="563" y="593"/>
                  </a:lnTo>
                  <a:lnTo>
                    <a:pt x="555" y="593"/>
                  </a:lnTo>
                  <a:lnTo>
                    <a:pt x="567" y="572"/>
                  </a:lnTo>
                  <a:lnTo>
                    <a:pt x="525" y="538"/>
                  </a:lnTo>
                  <a:lnTo>
                    <a:pt x="513" y="515"/>
                  </a:lnTo>
                  <a:lnTo>
                    <a:pt x="541" y="515"/>
                  </a:lnTo>
                  <a:lnTo>
                    <a:pt x="579" y="515"/>
                  </a:lnTo>
                  <a:lnTo>
                    <a:pt x="584" y="527"/>
                  </a:lnTo>
                  <a:lnTo>
                    <a:pt x="584" y="531"/>
                  </a:lnTo>
                  <a:lnTo>
                    <a:pt x="600" y="538"/>
                  </a:lnTo>
                  <a:lnTo>
                    <a:pt x="593" y="548"/>
                  </a:lnTo>
                  <a:lnTo>
                    <a:pt x="600" y="548"/>
                  </a:lnTo>
                  <a:lnTo>
                    <a:pt x="593" y="555"/>
                  </a:lnTo>
                  <a:lnTo>
                    <a:pt x="593" y="588"/>
                  </a:lnTo>
                  <a:lnTo>
                    <a:pt x="610" y="605"/>
                  </a:lnTo>
                  <a:lnTo>
                    <a:pt x="600" y="609"/>
                  </a:lnTo>
                  <a:lnTo>
                    <a:pt x="610" y="609"/>
                  </a:lnTo>
                  <a:lnTo>
                    <a:pt x="617" y="626"/>
                  </a:lnTo>
                  <a:lnTo>
                    <a:pt x="617" y="626"/>
                  </a:lnTo>
                  <a:lnTo>
                    <a:pt x="617" y="626"/>
                  </a:lnTo>
                  <a:close/>
                  <a:moveTo>
                    <a:pt x="400" y="538"/>
                  </a:moveTo>
                  <a:lnTo>
                    <a:pt x="383" y="527"/>
                  </a:lnTo>
                  <a:lnTo>
                    <a:pt x="400" y="527"/>
                  </a:lnTo>
                  <a:lnTo>
                    <a:pt x="400" y="538"/>
                  </a:lnTo>
                  <a:lnTo>
                    <a:pt x="400" y="538"/>
                  </a:lnTo>
                  <a:lnTo>
                    <a:pt x="400" y="538"/>
                  </a:lnTo>
                  <a:close/>
                  <a:moveTo>
                    <a:pt x="234" y="555"/>
                  </a:moveTo>
                  <a:lnTo>
                    <a:pt x="218" y="555"/>
                  </a:lnTo>
                  <a:lnTo>
                    <a:pt x="206" y="531"/>
                  </a:lnTo>
                  <a:lnTo>
                    <a:pt x="239" y="548"/>
                  </a:lnTo>
                  <a:lnTo>
                    <a:pt x="239" y="555"/>
                  </a:lnTo>
                  <a:lnTo>
                    <a:pt x="234" y="555"/>
                  </a:lnTo>
                  <a:lnTo>
                    <a:pt x="234" y="555"/>
                  </a:lnTo>
                  <a:lnTo>
                    <a:pt x="234" y="555"/>
                  </a:lnTo>
                  <a:close/>
                  <a:moveTo>
                    <a:pt x="293" y="538"/>
                  </a:moveTo>
                  <a:lnTo>
                    <a:pt x="293" y="548"/>
                  </a:lnTo>
                  <a:lnTo>
                    <a:pt x="286" y="538"/>
                  </a:lnTo>
                  <a:lnTo>
                    <a:pt x="293" y="538"/>
                  </a:lnTo>
                  <a:lnTo>
                    <a:pt x="293" y="538"/>
                  </a:lnTo>
                  <a:lnTo>
                    <a:pt x="293" y="538"/>
                  </a:lnTo>
                  <a:close/>
                  <a:moveTo>
                    <a:pt x="206" y="581"/>
                  </a:moveTo>
                  <a:lnTo>
                    <a:pt x="206" y="555"/>
                  </a:lnTo>
                  <a:lnTo>
                    <a:pt x="222" y="564"/>
                  </a:lnTo>
                  <a:lnTo>
                    <a:pt x="206" y="581"/>
                  </a:lnTo>
                  <a:lnTo>
                    <a:pt x="206" y="581"/>
                  </a:lnTo>
                  <a:lnTo>
                    <a:pt x="206" y="581"/>
                  </a:lnTo>
                  <a:close/>
                  <a:moveTo>
                    <a:pt x="433" y="609"/>
                  </a:moveTo>
                  <a:lnTo>
                    <a:pt x="433" y="621"/>
                  </a:lnTo>
                  <a:lnTo>
                    <a:pt x="407" y="638"/>
                  </a:lnTo>
                  <a:lnTo>
                    <a:pt x="407" y="642"/>
                  </a:lnTo>
                  <a:lnTo>
                    <a:pt x="369" y="659"/>
                  </a:lnTo>
                  <a:lnTo>
                    <a:pt x="352" y="675"/>
                  </a:lnTo>
                  <a:lnTo>
                    <a:pt x="345" y="666"/>
                  </a:lnTo>
                  <a:lnTo>
                    <a:pt x="362" y="581"/>
                  </a:lnTo>
                  <a:lnTo>
                    <a:pt x="362" y="572"/>
                  </a:lnTo>
                  <a:lnTo>
                    <a:pt x="345" y="572"/>
                  </a:lnTo>
                  <a:lnTo>
                    <a:pt x="345" y="564"/>
                  </a:lnTo>
                  <a:lnTo>
                    <a:pt x="369" y="572"/>
                  </a:lnTo>
                  <a:lnTo>
                    <a:pt x="395" y="588"/>
                  </a:lnTo>
                  <a:lnTo>
                    <a:pt x="416" y="588"/>
                  </a:lnTo>
                  <a:lnTo>
                    <a:pt x="416" y="593"/>
                  </a:lnTo>
                  <a:lnTo>
                    <a:pt x="437" y="588"/>
                  </a:lnTo>
                  <a:lnTo>
                    <a:pt x="433" y="609"/>
                  </a:lnTo>
                  <a:lnTo>
                    <a:pt x="433" y="609"/>
                  </a:lnTo>
                  <a:lnTo>
                    <a:pt x="433" y="609"/>
                  </a:lnTo>
                  <a:close/>
                  <a:moveTo>
                    <a:pt x="529" y="593"/>
                  </a:moveTo>
                  <a:lnTo>
                    <a:pt x="513" y="581"/>
                  </a:lnTo>
                  <a:lnTo>
                    <a:pt x="529" y="581"/>
                  </a:lnTo>
                  <a:lnTo>
                    <a:pt x="541" y="588"/>
                  </a:lnTo>
                  <a:lnTo>
                    <a:pt x="529" y="593"/>
                  </a:lnTo>
                  <a:lnTo>
                    <a:pt x="529" y="593"/>
                  </a:lnTo>
                  <a:lnTo>
                    <a:pt x="529" y="593"/>
                  </a:lnTo>
                  <a:close/>
                  <a:moveTo>
                    <a:pt x="546" y="659"/>
                  </a:moveTo>
                  <a:lnTo>
                    <a:pt x="555" y="649"/>
                  </a:lnTo>
                  <a:lnTo>
                    <a:pt x="541" y="638"/>
                  </a:lnTo>
                  <a:lnTo>
                    <a:pt x="529" y="626"/>
                  </a:lnTo>
                  <a:lnTo>
                    <a:pt x="529" y="638"/>
                  </a:lnTo>
                  <a:lnTo>
                    <a:pt x="525" y="638"/>
                  </a:lnTo>
                  <a:lnTo>
                    <a:pt x="513" y="588"/>
                  </a:lnTo>
                  <a:lnTo>
                    <a:pt x="541" y="605"/>
                  </a:lnTo>
                  <a:lnTo>
                    <a:pt x="555" y="593"/>
                  </a:lnTo>
                  <a:lnTo>
                    <a:pt x="563" y="605"/>
                  </a:lnTo>
                  <a:lnTo>
                    <a:pt x="563" y="649"/>
                  </a:lnTo>
                  <a:lnTo>
                    <a:pt x="584" y="683"/>
                  </a:lnTo>
                  <a:lnTo>
                    <a:pt x="567" y="692"/>
                  </a:lnTo>
                  <a:lnTo>
                    <a:pt x="563" y="675"/>
                  </a:lnTo>
                  <a:lnTo>
                    <a:pt x="567" y="699"/>
                  </a:lnTo>
                  <a:lnTo>
                    <a:pt x="546" y="692"/>
                  </a:lnTo>
                  <a:lnTo>
                    <a:pt x="546" y="659"/>
                  </a:lnTo>
                  <a:lnTo>
                    <a:pt x="546" y="659"/>
                  </a:lnTo>
                  <a:lnTo>
                    <a:pt x="546" y="659"/>
                  </a:lnTo>
                  <a:close/>
                  <a:moveTo>
                    <a:pt x="201" y="605"/>
                  </a:moveTo>
                  <a:lnTo>
                    <a:pt x="189" y="593"/>
                  </a:lnTo>
                  <a:lnTo>
                    <a:pt x="206" y="593"/>
                  </a:lnTo>
                  <a:lnTo>
                    <a:pt x="201" y="605"/>
                  </a:lnTo>
                  <a:lnTo>
                    <a:pt x="201" y="605"/>
                  </a:lnTo>
                  <a:lnTo>
                    <a:pt x="201" y="605"/>
                  </a:lnTo>
                  <a:close/>
                  <a:moveTo>
                    <a:pt x="189" y="666"/>
                  </a:moveTo>
                  <a:lnTo>
                    <a:pt x="168" y="683"/>
                  </a:lnTo>
                  <a:lnTo>
                    <a:pt x="163" y="699"/>
                  </a:lnTo>
                  <a:lnTo>
                    <a:pt x="130" y="704"/>
                  </a:lnTo>
                  <a:lnTo>
                    <a:pt x="126" y="720"/>
                  </a:lnTo>
                  <a:lnTo>
                    <a:pt x="130" y="732"/>
                  </a:lnTo>
                  <a:lnTo>
                    <a:pt x="100" y="758"/>
                  </a:lnTo>
                  <a:lnTo>
                    <a:pt x="83" y="758"/>
                  </a:lnTo>
                  <a:lnTo>
                    <a:pt x="76" y="786"/>
                  </a:lnTo>
                  <a:lnTo>
                    <a:pt x="17" y="827"/>
                  </a:lnTo>
                  <a:lnTo>
                    <a:pt x="24" y="803"/>
                  </a:lnTo>
                  <a:lnTo>
                    <a:pt x="55" y="770"/>
                  </a:lnTo>
                  <a:lnTo>
                    <a:pt x="71" y="753"/>
                  </a:lnTo>
                  <a:lnTo>
                    <a:pt x="76" y="753"/>
                  </a:lnTo>
                  <a:lnTo>
                    <a:pt x="130" y="692"/>
                  </a:lnTo>
                  <a:lnTo>
                    <a:pt x="130" y="699"/>
                  </a:lnTo>
                  <a:lnTo>
                    <a:pt x="130" y="692"/>
                  </a:lnTo>
                  <a:lnTo>
                    <a:pt x="137" y="692"/>
                  </a:lnTo>
                  <a:lnTo>
                    <a:pt x="147" y="666"/>
                  </a:lnTo>
                  <a:lnTo>
                    <a:pt x="151" y="675"/>
                  </a:lnTo>
                  <a:lnTo>
                    <a:pt x="168" y="659"/>
                  </a:lnTo>
                  <a:lnTo>
                    <a:pt x="168" y="649"/>
                  </a:lnTo>
                  <a:lnTo>
                    <a:pt x="163" y="638"/>
                  </a:lnTo>
                  <a:lnTo>
                    <a:pt x="180" y="649"/>
                  </a:lnTo>
                  <a:lnTo>
                    <a:pt x="168" y="626"/>
                  </a:lnTo>
                  <a:lnTo>
                    <a:pt x="168" y="621"/>
                  </a:lnTo>
                  <a:lnTo>
                    <a:pt x="180" y="626"/>
                  </a:lnTo>
                  <a:lnTo>
                    <a:pt x="180" y="593"/>
                  </a:lnTo>
                  <a:lnTo>
                    <a:pt x="185" y="609"/>
                  </a:lnTo>
                  <a:lnTo>
                    <a:pt x="180" y="638"/>
                  </a:lnTo>
                  <a:lnTo>
                    <a:pt x="185" y="642"/>
                  </a:lnTo>
                  <a:lnTo>
                    <a:pt x="189" y="666"/>
                  </a:lnTo>
                  <a:lnTo>
                    <a:pt x="189" y="666"/>
                  </a:lnTo>
                  <a:lnTo>
                    <a:pt x="189" y="666"/>
                  </a:lnTo>
                  <a:close/>
                  <a:moveTo>
                    <a:pt x="475" y="621"/>
                  </a:moveTo>
                  <a:lnTo>
                    <a:pt x="475" y="605"/>
                  </a:lnTo>
                  <a:lnTo>
                    <a:pt x="475" y="621"/>
                  </a:lnTo>
                  <a:lnTo>
                    <a:pt x="475" y="621"/>
                  </a:lnTo>
                  <a:lnTo>
                    <a:pt x="475" y="621"/>
                  </a:lnTo>
                  <a:close/>
                  <a:moveTo>
                    <a:pt x="454" y="699"/>
                  </a:moveTo>
                  <a:lnTo>
                    <a:pt x="475" y="666"/>
                  </a:lnTo>
                  <a:lnTo>
                    <a:pt x="492" y="621"/>
                  </a:lnTo>
                  <a:lnTo>
                    <a:pt x="503" y="609"/>
                  </a:lnTo>
                  <a:lnTo>
                    <a:pt x="503" y="675"/>
                  </a:lnTo>
                  <a:lnTo>
                    <a:pt x="470" y="699"/>
                  </a:lnTo>
                  <a:lnTo>
                    <a:pt x="459" y="732"/>
                  </a:lnTo>
                  <a:lnTo>
                    <a:pt x="449" y="749"/>
                  </a:lnTo>
                  <a:lnTo>
                    <a:pt x="454" y="699"/>
                  </a:lnTo>
                  <a:lnTo>
                    <a:pt x="454" y="699"/>
                  </a:lnTo>
                  <a:lnTo>
                    <a:pt x="454" y="699"/>
                  </a:lnTo>
                  <a:close/>
                  <a:moveTo>
                    <a:pt x="449" y="675"/>
                  </a:moveTo>
                  <a:lnTo>
                    <a:pt x="433" y="732"/>
                  </a:lnTo>
                  <a:lnTo>
                    <a:pt x="449" y="753"/>
                  </a:lnTo>
                  <a:lnTo>
                    <a:pt x="437" y="770"/>
                  </a:lnTo>
                  <a:lnTo>
                    <a:pt x="421" y="770"/>
                  </a:lnTo>
                  <a:lnTo>
                    <a:pt x="416" y="753"/>
                  </a:lnTo>
                  <a:lnTo>
                    <a:pt x="395" y="737"/>
                  </a:lnTo>
                  <a:lnTo>
                    <a:pt x="383" y="716"/>
                  </a:lnTo>
                  <a:lnTo>
                    <a:pt x="383" y="704"/>
                  </a:lnTo>
                  <a:lnTo>
                    <a:pt x="400" y="704"/>
                  </a:lnTo>
                  <a:lnTo>
                    <a:pt x="416" y="699"/>
                  </a:lnTo>
                  <a:lnTo>
                    <a:pt x="416" y="659"/>
                  </a:lnTo>
                  <a:lnTo>
                    <a:pt x="421" y="649"/>
                  </a:lnTo>
                  <a:lnTo>
                    <a:pt x="421" y="638"/>
                  </a:lnTo>
                  <a:lnTo>
                    <a:pt x="437" y="626"/>
                  </a:lnTo>
                  <a:lnTo>
                    <a:pt x="459" y="638"/>
                  </a:lnTo>
                  <a:lnTo>
                    <a:pt x="459" y="642"/>
                  </a:lnTo>
                  <a:lnTo>
                    <a:pt x="449" y="675"/>
                  </a:lnTo>
                  <a:lnTo>
                    <a:pt x="449" y="675"/>
                  </a:lnTo>
                  <a:lnTo>
                    <a:pt x="449" y="675"/>
                  </a:lnTo>
                  <a:close/>
                  <a:moveTo>
                    <a:pt x="617" y="649"/>
                  </a:moveTo>
                  <a:lnTo>
                    <a:pt x="610" y="642"/>
                  </a:lnTo>
                  <a:lnTo>
                    <a:pt x="617" y="642"/>
                  </a:lnTo>
                  <a:lnTo>
                    <a:pt x="622" y="649"/>
                  </a:lnTo>
                  <a:lnTo>
                    <a:pt x="617" y="649"/>
                  </a:lnTo>
                  <a:lnTo>
                    <a:pt x="617" y="649"/>
                  </a:lnTo>
                  <a:lnTo>
                    <a:pt x="617" y="649"/>
                  </a:lnTo>
                  <a:close/>
                  <a:moveTo>
                    <a:pt x="395" y="675"/>
                  </a:moveTo>
                  <a:lnTo>
                    <a:pt x="383" y="666"/>
                  </a:lnTo>
                  <a:lnTo>
                    <a:pt x="400" y="649"/>
                  </a:lnTo>
                  <a:lnTo>
                    <a:pt x="407" y="659"/>
                  </a:lnTo>
                  <a:lnTo>
                    <a:pt x="395" y="675"/>
                  </a:lnTo>
                  <a:lnTo>
                    <a:pt x="395" y="675"/>
                  </a:lnTo>
                  <a:lnTo>
                    <a:pt x="395" y="675"/>
                  </a:lnTo>
                  <a:close/>
                  <a:moveTo>
                    <a:pt x="525" y="659"/>
                  </a:moveTo>
                  <a:lnTo>
                    <a:pt x="525" y="649"/>
                  </a:lnTo>
                  <a:lnTo>
                    <a:pt x="529" y="649"/>
                  </a:lnTo>
                  <a:lnTo>
                    <a:pt x="525" y="659"/>
                  </a:lnTo>
                  <a:lnTo>
                    <a:pt x="525" y="659"/>
                  </a:lnTo>
                  <a:lnTo>
                    <a:pt x="525" y="659"/>
                  </a:lnTo>
                  <a:close/>
                  <a:moveTo>
                    <a:pt x="513" y="659"/>
                  </a:moveTo>
                  <a:lnTo>
                    <a:pt x="513" y="649"/>
                  </a:lnTo>
                  <a:lnTo>
                    <a:pt x="525" y="659"/>
                  </a:lnTo>
                  <a:lnTo>
                    <a:pt x="513" y="659"/>
                  </a:lnTo>
                  <a:lnTo>
                    <a:pt x="513" y="659"/>
                  </a:lnTo>
                  <a:lnTo>
                    <a:pt x="513" y="659"/>
                  </a:lnTo>
                  <a:close/>
                  <a:moveTo>
                    <a:pt x="201" y="666"/>
                  </a:moveTo>
                  <a:lnTo>
                    <a:pt x="201" y="659"/>
                  </a:lnTo>
                  <a:lnTo>
                    <a:pt x="218" y="659"/>
                  </a:lnTo>
                  <a:lnTo>
                    <a:pt x="201" y="666"/>
                  </a:lnTo>
                  <a:lnTo>
                    <a:pt x="201" y="666"/>
                  </a:lnTo>
                  <a:lnTo>
                    <a:pt x="201" y="666"/>
                  </a:lnTo>
                  <a:close/>
                  <a:moveTo>
                    <a:pt x="610" y="716"/>
                  </a:moveTo>
                  <a:lnTo>
                    <a:pt x="610" y="704"/>
                  </a:lnTo>
                  <a:lnTo>
                    <a:pt x="600" y="692"/>
                  </a:lnTo>
                  <a:lnTo>
                    <a:pt x="610" y="666"/>
                  </a:lnTo>
                  <a:lnTo>
                    <a:pt x="617" y="704"/>
                  </a:lnTo>
                  <a:lnTo>
                    <a:pt x="610" y="716"/>
                  </a:lnTo>
                  <a:lnTo>
                    <a:pt x="610" y="716"/>
                  </a:lnTo>
                  <a:lnTo>
                    <a:pt x="610" y="716"/>
                  </a:lnTo>
                  <a:close/>
                  <a:moveTo>
                    <a:pt x="529" y="699"/>
                  </a:moveTo>
                  <a:lnTo>
                    <a:pt x="529" y="716"/>
                  </a:lnTo>
                  <a:lnTo>
                    <a:pt x="541" y="720"/>
                  </a:lnTo>
                  <a:lnTo>
                    <a:pt x="525" y="732"/>
                  </a:lnTo>
                  <a:lnTo>
                    <a:pt x="492" y="732"/>
                  </a:lnTo>
                  <a:lnTo>
                    <a:pt x="475" y="720"/>
                  </a:lnTo>
                  <a:lnTo>
                    <a:pt x="475" y="716"/>
                  </a:lnTo>
                  <a:lnTo>
                    <a:pt x="508" y="692"/>
                  </a:lnTo>
                  <a:lnTo>
                    <a:pt x="529" y="699"/>
                  </a:lnTo>
                  <a:lnTo>
                    <a:pt x="529" y="699"/>
                  </a:lnTo>
                  <a:lnTo>
                    <a:pt x="529" y="699"/>
                  </a:lnTo>
                  <a:close/>
                  <a:moveTo>
                    <a:pt x="584" y="704"/>
                  </a:moveTo>
                  <a:lnTo>
                    <a:pt x="579" y="692"/>
                  </a:lnTo>
                  <a:lnTo>
                    <a:pt x="584" y="704"/>
                  </a:lnTo>
                  <a:lnTo>
                    <a:pt x="584" y="704"/>
                  </a:lnTo>
                  <a:lnTo>
                    <a:pt x="584" y="704"/>
                  </a:lnTo>
                  <a:close/>
                  <a:moveTo>
                    <a:pt x="638" y="720"/>
                  </a:moveTo>
                  <a:lnTo>
                    <a:pt x="631" y="716"/>
                  </a:lnTo>
                  <a:lnTo>
                    <a:pt x="638" y="699"/>
                  </a:lnTo>
                  <a:lnTo>
                    <a:pt x="648" y="716"/>
                  </a:lnTo>
                  <a:lnTo>
                    <a:pt x="638" y="720"/>
                  </a:lnTo>
                  <a:lnTo>
                    <a:pt x="638" y="720"/>
                  </a:lnTo>
                  <a:lnTo>
                    <a:pt x="638" y="720"/>
                  </a:lnTo>
                  <a:close/>
                  <a:moveTo>
                    <a:pt x="454" y="898"/>
                  </a:moveTo>
                  <a:lnTo>
                    <a:pt x="449" y="881"/>
                  </a:lnTo>
                  <a:lnTo>
                    <a:pt x="437" y="886"/>
                  </a:lnTo>
                  <a:lnTo>
                    <a:pt x="433" y="881"/>
                  </a:lnTo>
                  <a:lnTo>
                    <a:pt x="437" y="881"/>
                  </a:lnTo>
                  <a:lnTo>
                    <a:pt x="433" y="864"/>
                  </a:lnTo>
                  <a:lnTo>
                    <a:pt x="421" y="886"/>
                  </a:lnTo>
                  <a:lnTo>
                    <a:pt x="407" y="886"/>
                  </a:lnTo>
                  <a:lnTo>
                    <a:pt x="416" y="864"/>
                  </a:lnTo>
                  <a:lnTo>
                    <a:pt x="400" y="864"/>
                  </a:lnTo>
                  <a:lnTo>
                    <a:pt x="378" y="886"/>
                  </a:lnTo>
                  <a:lnTo>
                    <a:pt x="383" y="886"/>
                  </a:lnTo>
                  <a:lnTo>
                    <a:pt x="378" y="898"/>
                  </a:lnTo>
                  <a:lnTo>
                    <a:pt x="362" y="926"/>
                  </a:lnTo>
                  <a:lnTo>
                    <a:pt x="352" y="921"/>
                  </a:lnTo>
                  <a:lnTo>
                    <a:pt x="345" y="914"/>
                  </a:lnTo>
                  <a:lnTo>
                    <a:pt x="369" y="848"/>
                  </a:lnTo>
                  <a:lnTo>
                    <a:pt x="421" y="831"/>
                  </a:lnTo>
                  <a:lnTo>
                    <a:pt x="421" y="810"/>
                  </a:lnTo>
                  <a:lnTo>
                    <a:pt x="449" y="810"/>
                  </a:lnTo>
                  <a:lnTo>
                    <a:pt x="454" y="794"/>
                  </a:lnTo>
                  <a:lnTo>
                    <a:pt x="475" y="803"/>
                  </a:lnTo>
                  <a:lnTo>
                    <a:pt x="487" y="810"/>
                  </a:lnTo>
                  <a:lnTo>
                    <a:pt x="487" y="831"/>
                  </a:lnTo>
                  <a:lnTo>
                    <a:pt x="470" y="848"/>
                  </a:lnTo>
                  <a:lnTo>
                    <a:pt x="492" y="831"/>
                  </a:lnTo>
                  <a:lnTo>
                    <a:pt x="508" y="831"/>
                  </a:lnTo>
                  <a:lnTo>
                    <a:pt x="513" y="815"/>
                  </a:lnTo>
                  <a:lnTo>
                    <a:pt x="525" y="803"/>
                  </a:lnTo>
                  <a:lnTo>
                    <a:pt x="546" y="810"/>
                  </a:lnTo>
                  <a:lnTo>
                    <a:pt x="555" y="777"/>
                  </a:lnTo>
                  <a:lnTo>
                    <a:pt x="567" y="786"/>
                  </a:lnTo>
                  <a:lnTo>
                    <a:pt x="584" y="777"/>
                  </a:lnTo>
                  <a:lnTo>
                    <a:pt x="600" y="777"/>
                  </a:lnTo>
                  <a:lnTo>
                    <a:pt x="593" y="732"/>
                  </a:lnTo>
                  <a:lnTo>
                    <a:pt x="593" y="716"/>
                  </a:lnTo>
                  <a:lnTo>
                    <a:pt x="610" y="732"/>
                  </a:lnTo>
                  <a:lnTo>
                    <a:pt x="631" y="737"/>
                  </a:lnTo>
                  <a:lnTo>
                    <a:pt x="638" y="753"/>
                  </a:lnTo>
                  <a:lnTo>
                    <a:pt x="648" y="753"/>
                  </a:lnTo>
                  <a:lnTo>
                    <a:pt x="648" y="770"/>
                  </a:lnTo>
                  <a:lnTo>
                    <a:pt x="664" y="786"/>
                  </a:lnTo>
                  <a:lnTo>
                    <a:pt x="638" y="803"/>
                  </a:lnTo>
                  <a:lnTo>
                    <a:pt x="648" y="810"/>
                  </a:lnTo>
                  <a:lnTo>
                    <a:pt x="664" y="810"/>
                  </a:lnTo>
                  <a:lnTo>
                    <a:pt x="655" y="831"/>
                  </a:lnTo>
                  <a:lnTo>
                    <a:pt x="669" y="831"/>
                  </a:lnTo>
                  <a:lnTo>
                    <a:pt x="664" y="860"/>
                  </a:lnTo>
                  <a:lnTo>
                    <a:pt x="669" y="869"/>
                  </a:lnTo>
                  <a:lnTo>
                    <a:pt x="676" y="898"/>
                  </a:lnTo>
                  <a:lnTo>
                    <a:pt x="655" y="926"/>
                  </a:lnTo>
                  <a:lnTo>
                    <a:pt x="664" y="938"/>
                  </a:lnTo>
                  <a:lnTo>
                    <a:pt x="655" y="926"/>
                  </a:lnTo>
                  <a:lnTo>
                    <a:pt x="648" y="926"/>
                  </a:lnTo>
                  <a:lnTo>
                    <a:pt x="655" y="938"/>
                  </a:lnTo>
                  <a:lnTo>
                    <a:pt x="648" y="975"/>
                  </a:lnTo>
                  <a:lnTo>
                    <a:pt x="638" y="926"/>
                  </a:lnTo>
                  <a:lnTo>
                    <a:pt x="622" y="914"/>
                  </a:lnTo>
                  <a:lnTo>
                    <a:pt x="622" y="898"/>
                  </a:lnTo>
                  <a:lnTo>
                    <a:pt x="610" y="902"/>
                  </a:lnTo>
                  <a:lnTo>
                    <a:pt x="610" y="914"/>
                  </a:lnTo>
                  <a:lnTo>
                    <a:pt x="600" y="921"/>
                  </a:lnTo>
                  <a:lnTo>
                    <a:pt x="593" y="938"/>
                  </a:lnTo>
                  <a:lnTo>
                    <a:pt x="593" y="954"/>
                  </a:lnTo>
                  <a:lnTo>
                    <a:pt x="610" y="959"/>
                  </a:lnTo>
                  <a:lnTo>
                    <a:pt x="617" y="992"/>
                  </a:lnTo>
                  <a:lnTo>
                    <a:pt x="593" y="1025"/>
                  </a:lnTo>
                  <a:lnTo>
                    <a:pt x="584" y="1025"/>
                  </a:lnTo>
                  <a:lnTo>
                    <a:pt x="579" y="1009"/>
                  </a:lnTo>
                  <a:lnTo>
                    <a:pt x="584" y="980"/>
                  </a:lnTo>
                  <a:lnTo>
                    <a:pt x="579" y="980"/>
                  </a:lnTo>
                  <a:lnTo>
                    <a:pt x="567" y="997"/>
                  </a:lnTo>
                  <a:lnTo>
                    <a:pt x="563" y="997"/>
                  </a:lnTo>
                  <a:lnTo>
                    <a:pt x="513" y="980"/>
                  </a:lnTo>
                  <a:lnTo>
                    <a:pt x="503" y="971"/>
                  </a:lnTo>
                  <a:lnTo>
                    <a:pt x="492" y="926"/>
                  </a:lnTo>
                  <a:lnTo>
                    <a:pt x="513" y="886"/>
                  </a:lnTo>
                  <a:lnTo>
                    <a:pt x="492" y="869"/>
                  </a:lnTo>
                  <a:lnTo>
                    <a:pt x="459" y="860"/>
                  </a:lnTo>
                  <a:lnTo>
                    <a:pt x="454" y="860"/>
                  </a:lnTo>
                  <a:lnTo>
                    <a:pt x="454" y="869"/>
                  </a:lnTo>
                  <a:lnTo>
                    <a:pt x="449" y="881"/>
                  </a:lnTo>
                  <a:lnTo>
                    <a:pt x="454" y="886"/>
                  </a:lnTo>
                  <a:lnTo>
                    <a:pt x="454" y="898"/>
                  </a:lnTo>
                  <a:lnTo>
                    <a:pt x="454" y="898"/>
                  </a:lnTo>
                  <a:lnTo>
                    <a:pt x="454" y="898"/>
                  </a:lnTo>
                  <a:close/>
                  <a:moveTo>
                    <a:pt x="470" y="770"/>
                  </a:moveTo>
                  <a:lnTo>
                    <a:pt x="454" y="758"/>
                  </a:lnTo>
                  <a:lnTo>
                    <a:pt x="470" y="753"/>
                  </a:lnTo>
                  <a:lnTo>
                    <a:pt x="475" y="758"/>
                  </a:lnTo>
                  <a:lnTo>
                    <a:pt x="470" y="770"/>
                  </a:lnTo>
                  <a:lnTo>
                    <a:pt x="470" y="770"/>
                  </a:lnTo>
                  <a:lnTo>
                    <a:pt x="470" y="770"/>
                  </a:lnTo>
                  <a:close/>
                  <a:moveTo>
                    <a:pt x="546" y="770"/>
                  </a:moveTo>
                  <a:lnTo>
                    <a:pt x="541" y="758"/>
                  </a:lnTo>
                  <a:lnTo>
                    <a:pt x="541" y="753"/>
                  </a:lnTo>
                  <a:lnTo>
                    <a:pt x="546" y="758"/>
                  </a:lnTo>
                  <a:lnTo>
                    <a:pt x="546" y="770"/>
                  </a:lnTo>
                  <a:lnTo>
                    <a:pt x="546" y="770"/>
                  </a:lnTo>
                  <a:lnTo>
                    <a:pt x="546" y="770"/>
                  </a:lnTo>
                  <a:close/>
                  <a:moveTo>
                    <a:pt x="7" y="864"/>
                  </a:moveTo>
                  <a:lnTo>
                    <a:pt x="0" y="843"/>
                  </a:lnTo>
                  <a:lnTo>
                    <a:pt x="7" y="843"/>
                  </a:lnTo>
                  <a:lnTo>
                    <a:pt x="17" y="860"/>
                  </a:lnTo>
                  <a:lnTo>
                    <a:pt x="7" y="864"/>
                  </a:lnTo>
                  <a:lnTo>
                    <a:pt x="7" y="864"/>
                  </a:lnTo>
                  <a:lnTo>
                    <a:pt x="7" y="864"/>
                  </a:lnTo>
                  <a:close/>
                  <a:moveTo>
                    <a:pt x="416" y="898"/>
                  </a:moveTo>
                  <a:lnTo>
                    <a:pt x="407" y="886"/>
                  </a:lnTo>
                  <a:lnTo>
                    <a:pt x="421" y="886"/>
                  </a:lnTo>
                  <a:lnTo>
                    <a:pt x="421" y="898"/>
                  </a:lnTo>
                  <a:lnTo>
                    <a:pt x="416" y="898"/>
                  </a:lnTo>
                  <a:lnTo>
                    <a:pt x="416" y="898"/>
                  </a:lnTo>
                  <a:lnTo>
                    <a:pt x="416" y="898"/>
                  </a:lnTo>
                  <a:close/>
                  <a:moveTo>
                    <a:pt x="617" y="926"/>
                  </a:moveTo>
                  <a:lnTo>
                    <a:pt x="610" y="914"/>
                  </a:lnTo>
                  <a:lnTo>
                    <a:pt x="617" y="902"/>
                  </a:lnTo>
                  <a:lnTo>
                    <a:pt x="622" y="914"/>
                  </a:lnTo>
                  <a:lnTo>
                    <a:pt x="617" y="926"/>
                  </a:lnTo>
                  <a:lnTo>
                    <a:pt x="617" y="926"/>
                  </a:lnTo>
                  <a:lnTo>
                    <a:pt x="617" y="926"/>
                  </a:lnTo>
                  <a:close/>
                  <a:moveTo>
                    <a:pt x="114" y="921"/>
                  </a:moveTo>
                  <a:lnTo>
                    <a:pt x="109" y="921"/>
                  </a:lnTo>
                  <a:lnTo>
                    <a:pt x="114" y="914"/>
                  </a:lnTo>
                  <a:lnTo>
                    <a:pt x="114" y="921"/>
                  </a:lnTo>
                  <a:lnTo>
                    <a:pt x="114" y="921"/>
                  </a:lnTo>
                  <a:lnTo>
                    <a:pt x="114" y="921"/>
                  </a:lnTo>
                  <a:close/>
                  <a:moveTo>
                    <a:pt x="352" y="959"/>
                  </a:moveTo>
                  <a:lnTo>
                    <a:pt x="340" y="942"/>
                  </a:lnTo>
                  <a:lnTo>
                    <a:pt x="362" y="938"/>
                  </a:lnTo>
                  <a:lnTo>
                    <a:pt x="369" y="954"/>
                  </a:lnTo>
                  <a:lnTo>
                    <a:pt x="369" y="959"/>
                  </a:lnTo>
                  <a:lnTo>
                    <a:pt x="352" y="959"/>
                  </a:lnTo>
                  <a:lnTo>
                    <a:pt x="352" y="959"/>
                  </a:lnTo>
                  <a:lnTo>
                    <a:pt x="352" y="959"/>
                  </a:lnTo>
                  <a:close/>
                  <a:moveTo>
                    <a:pt x="255" y="975"/>
                  </a:moveTo>
                  <a:lnTo>
                    <a:pt x="244" y="975"/>
                  </a:lnTo>
                  <a:lnTo>
                    <a:pt x="255" y="959"/>
                  </a:lnTo>
                  <a:lnTo>
                    <a:pt x="255" y="975"/>
                  </a:lnTo>
                  <a:lnTo>
                    <a:pt x="255" y="975"/>
                  </a:lnTo>
                  <a:lnTo>
                    <a:pt x="255" y="975"/>
                  </a:lnTo>
                  <a:close/>
                  <a:moveTo>
                    <a:pt x="345" y="992"/>
                  </a:moveTo>
                  <a:lnTo>
                    <a:pt x="340" y="980"/>
                  </a:lnTo>
                  <a:lnTo>
                    <a:pt x="352" y="992"/>
                  </a:lnTo>
                  <a:lnTo>
                    <a:pt x="345" y="992"/>
                  </a:lnTo>
                  <a:lnTo>
                    <a:pt x="345" y="992"/>
                  </a:lnTo>
                  <a:lnTo>
                    <a:pt x="345" y="992"/>
                  </a:lnTo>
                  <a:close/>
                  <a:moveTo>
                    <a:pt x="310" y="997"/>
                  </a:moveTo>
                  <a:lnTo>
                    <a:pt x="298" y="997"/>
                  </a:lnTo>
                  <a:lnTo>
                    <a:pt x="277" y="997"/>
                  </a:lnTo>
                  <a:lnTo>
                    <a:pt x="277" y="992"/>
                  </a:lnTo>
                  <a:lnTo>
                    <a:pt x="293" y="980"/>
                  </a:lnTo>
                  <a:lnTo>
                    <a:pt x="314" y="992"/>
                  </a:lnTo>
                  <a:lnTo>
                    <a:pt x="310" y="997"/>
                  </a:lnTo>
                  <a:lnTo>
                    <a:pt x="310" y="997"/>
                  </a:lnTo>
                  <a:lnTo>
                    <a:pt x="310" y="997"/>
                  </a:lnTo>
                  <a:close/>
                  <a:moveTo>
                    <a:pt x="277" y="1030"/>
                  </a:moveTo>
                  <a:lnTo>
                    <a:pt x="277" y="1025"/>
                  </a:lnTo>
                  <a:lnTo>
                    <a:pt x="277" y="1030"/>
                  </a:lnTo>
                  <a:lnTo>
                    <a:pt x="277" y="1030"/>
                  </a:lnTo>
                  <a:lnTo>
                    <a:pt x="277" y="1030"/>
                  </a:lnTo>
                  <a:close/>
                  <a:moveTo>
                    <a:pt x="206" y="1065"/>
                  </a:moveTo>
                  <a:lnTo>
                    <a:pt x="201" y="1053"/>
                  </a:lnTo>
                  <a:lnTo>
                    <a:pt x="234" y="1037"/>
                  </a:lnTo>
                  <a:lnTo>
                    <a:pt x="234" y="1053"/>
                  </a:lnTo>
                  <a:lnTo>
                    <a:pt x="218" y="1046"/>
                  </a:lnTo>
                  <a:lnTo>
                    <a:pt x="206" y="1065"/>
                  </a:lnTo>
                  <a:lnTo>
                    <a:pt x="206" y="1065"/>
                  </a:lnTo>
                  <a:lnTo>
                    <a:pt x="206" y="106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2" name="Freeform 555">
              <a:extLst>
                <a:ext uri="{FF2B5EF4-FFF2-40B4-BE49-F238E27FC236}">
                  <a16:creationId xmlns:a16="http://schemas.microsoft.com/office/drawing/2014/main" id="{B49BA409-1D84-44C4-A5EA-55F649E2E120}"/>
                </a:ext>
              </a:extLst>
            </p:cNvPr>
            <p:cNvSpPr>
              <a:spLocks/>
            </p:cNvSpPr>
            <p:nvPr/>
          </p:nvSpPr>
          <p:spPr bwMode="gray">
            <a:xfrm>
              <a:off x="9717431" y="4024713"/>
              <a:ext cx="9880" cy="2059"/>
            </a:xfrm>
            <a:custGeom>
              <a:avLst/>
              <a:gdLst>
                <a:gd name="T0" fmla="*/ 24 w 24"/>
                <a:gd name="T1" fmla="*/ 0 h 5"/>
                <a:gd name="T2" fmla="*/ 16 w 24"/>
                <a:gd name="T3" fmla="*/ 5 h 5"/>
                <a:gd name="T4" fmla="*/ 0 w 24"/>
                <a:gd name="T5" fmla="*/ 5 h 5"/>
                <a:gd name="T6" fmla="*/ 7 w 24"/>
                <a:gd name="T7" fmla="*/ 0 h 5"/>
                <a:gd name="T8" fmla="*/ 24 w 24"/>
                <a:gd name="T9" fmla="*/ 0 h 5"/>
                <a:gd name="T10" fmla="*/ 24 w 24"/>
                <a:gd name="T11" fmla="*/ 0 h 5"/>
                <a:gd name="T12" fmla="*/ 24 w 2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4" h="5">
                  <a:moveTo>
                    <a:pt x="24" y="0"/>
                  </a:moveTo>
                  <a:lnTo>
                    <a:pt x="16" y="5"/>
                  </a:lnTo>
                  <a:lnTo>
                    <a:pt x="0" y="5"/>
                  </a:lnTo>
                  <a:lnTo>
                    <a:pt x="7" y="0"/>
                  </a:lnTo>
                  <a:lnTo>
                    <a:pt x="24" y="0"/>
                  </a:lnTo>
                  <a:lnTo>
                    <a:pt x="24" y="0"/>
                  </a:lnTo>
                  <a:lnTo>
                    <a:pt x="24"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3" name="Freeform 567">
              <a:extLst>
                <a:ext uri="{FF2B5EF4-FFF2-40B4-BE49-F238E27FC236}">
                  <a16:creationId xmlns:a16="http://schemas.microsoft.com/office/drawing/2014/main" id="{5E2F874F-E093-4562-9529-2A0B11B4153A}"/>
                </a:ext>
              </a:extLst>
            </p:cNvPr>
            <p:cNvSpPr>
              <a:spLocks noEditPoints="1"/>
            </p:cNvSpPr>
            <p:nvPr/>
          </p:nvSpPr>
          <p:spPr bwMode="gray">
            <a:xfrm>
              <a:off x="9535473" y="3449135"/>
              <a:ext cx="239180" cy="447123"/>
            </a:xfrm>
            <a:custGeom>
              <a:avLst/>
              <a:gdLst>
                <a:gd name="T0" fmla="*/ 298 w 581"/>
                <a:gd name="T1" fmla="*/ 1070 h 1086"/>
                <a:gd name="T2" fmla="*/ 267 w 581"/>
                <a:gd name="T3" fmla="*/ 1046 h 1086"/>
                <a:gd name="T4" fmla="*/ 217 w 581"/>
                <a:gd name="T5" fmla="*/ 1025 h 1086"/>
                <a:gd name="T6" fmla="*/ 196 w 581"/>
                <a:gd name="T7" fmla="*/ 1025 h 1086"/>
                <a:gd name="T8" fmla="*/ 147 w 581"/>
                <a:gd name="T9" fmla="*/ 968 h 1086"/>
                <a:gd name="T10" fmla="*/ 121 w 581"/>
                <a:gd name="T11" fmla="*/ 930 h 1086"/>
                <a:gd name="T12" fmla="*/ 92 w 581"/>
                <a:gd name="T13" fmla="*/ 885 h 1086"/>
                <a:gd name="T14" fmla="*/ 66 w 581"/>
                <a:gd name="T15" fmla="*/ 881 h 1086"/>
                <a:gd name="T16" fmla="*/ 104 w 581"/>
                <a:gd name="T17" fmla="*/ 720 h 1086"/>
                <a:gd name="T18" fmla="*/ 147 w 581"/>
                <a:gd name="T19" fmla="*/ 588 h 1086"/>
                <a:gd name="T20" fmla="*/ 137 w 581"/>
                <a:gd name="T21" fmla="*/ 543 h 1086"/>
                <a:gd name="T22" fmla="*/ 71 w 581"/>
                <a:gd name="T23" fmla="*/ 432 h 1086"/>
                <a:gd name="T24" fmla="*/ 88 w 581"/>
                <a:gd name="T25" fmla="*/ 382 h 1086"/>
                <a:gd name="T26" fmla="*/ 109 w 581"/>
                <a:gd name="T27" fmla="*/ 304 h 1086"/>
                <a:gd name="T28" fmla="*/ 33 w 581"/>
                <a:gd name="T29" fmla="*/ 210 h 1086"/>
                <a:gd name="T30" fmla="*/ 12 w 581"/>
                <a:gd name="T31" fmla="*/ 156 h 1086"/>
                <a:gd name="T32" fmla="*/ 33 w 581"/>
                <a:gd name="T33" fmla="*/ 82 h 1086"/>
                <a:gd name="T34" fmla="*/ 66 w 581"/>
                <a:gd name="T35" fmla="*/ 56 h 1086"/>
                <a:gd name="T36" fmla="*/ 147 w 581"/>
                <a:gd name="T37" fmla="*/ 28 h 1086"/>
                <a:gd name="T38" fmla="*/ 191 w 581"/>
                <a:gd name="T39" fmla="*/ 0 h 1086"/>
                <a:gd name="T40" fmla="*/ 217 w 581"/>
                <a:gd name="T41" fmla="*/ 28 h 1086"/>
                <a:gd name="T42" fmla="*/ 243 w 581"/>
                <a:gd name="T43" fmla="*/ 73 h 1086"/>
                <a:gd name="T44" fmla="*/ 281 w 581"/>
                <a:gd name="T45" fmla="*/ 106 h 1086"/>
                <a:gd name="T46" fmla="*/ 272 w 581"/>
                <a:gd name="T47" fmla="*/ 160 h 1086"/>
                <a:gd name="T48" fmla="*/ 298 w 581"/>
                <a:gd name="T49" fmla="*/ 200 h 1086"/>
                <a:gd name="T50" fmla="*/ 359 w 581"/>
                <a:gd name="T51" fmla="*/ 182 h 1086"/>
                <a:gd name="T52" fmla="*/ 406 w 581"/>
                <a:gd name="T53" fmla="*/ 182 h 1086"/>
                <a:gd name="T54" fmla="*/ 428 w 581"/>
                <a:gd name="T55" fmla="*/ 156 h 1086"/>
                <a:gd name="T56" fmla="*/ 527 w 581"/>
                <a:gd name="T57" fmla="*/ 238 h 1086"/>
                <a:gd name="T58" fmla="*/ 569 w 581"/>
                <a:gd name="T59" fmla="*/ 345 h 1086"/>
                <a:gd name="T60" fmla="*/ 581 w 581"/>
                <a:gd name="T61" fmla="*/ 404 h 1086"/>
                <a:gd name="T62" fmla="*/ 543 w 581"/>
                <a:gd name="T63" fmla="*/ 453 h 1086"/>
                <a:gd name="T64" fmla="*/ 414 w 581"/>
                <a:gd name="T65" fmla="*/ 453 h 1086"/>
                <a:gd name="T66" fmla="*/ 373 w 581"/>
                <a:gd name="T67" fmla="*/ 510 h 1086"/>
                <a:gd name="T68" fmla="*/ 364 w 581"/>
                <a:gd name="T69" fmla="*/ 581 h 1086"/>
                <a:gd name="T70" fmla="*/ 373 w 581"/>
                <a:gd name="T71" fmla="*/ 609 h 1086"/>
                <a:gd name="T72" fmla="*/ 359 w 581"/>
                <a:gd name="T73" fmla="*/ 604 h 1086"/>
                <a:gd name="T74" fmla="*/ 310 w 581"/>
                <a:gd name="T75" fmla="*/ 571 h 1086"/>
                <a:gd name="T76" fmla="*/ 251 w 581"/>
                <a:gd name="T77" fmla="*/ 581 h 1086"/>
                <a:gd name="T78" fmla="*/ 191 w 581"/>
                <a:gd name="T79" fmla="*/ 531 h 1086"/>
                <a:gd name="T80" fmla="*/ 163 w 581"/>
                <a:gd name="T81" fmla="*/ 666 h 1086"/>
                <a:gd name="T82" fmla="*/ 142 w 581"/>
                <a:gd name="T83" fmla="*/ 819 h 1086"/>
                <a:gd name="T84" fmla="*/ 191 w 581"/>
                <a:gd name="T85" fmla="*/ 876 h 1086"/>
                <a:gd name="T86" fmla="*/ 201 w 581"/>
                <a:gd name="T87" fmla="*/ 885 h 1086"/>
                <a:gd name="T88" fmla="*/ 213 w 581"/>
                <a:gd name="T89" fmla="*/ 935 h 1086"/>
                <a:gd name="T90" fmla="*/ 217 w 581"/>
                <a:gd name="T91" fmla="*/ 975 h 1086"/>
                <a:gd name="T92" fmla="*/ 281 w 581"/>
                <a:gd name="T93" fmla="*/ 996 h 1086"/>
                <a:gd name="T94" fmla="*/ 336 w 581"/>
                <a:gd name="T95" fmla="*/ 1046 h 1086"/>
                <a:gd name="T96" fmla="*/ 352 w 581"/>
                <a:gd name="T97" fmla="*/ 626 h 1086"/>
                <a:gd name="T98" fmla="*/ 359 w 581"/>
                <a:gd name="T99" fmla="*/ 626 h 1086"/>
                <a:gd name="T100" fmla="*/ 364 w 581"/>
                <a:gd name="T101" fmla="*/ 642 h 1086"/>
                <a:gd name="T102" fmla="*/ 196 w 581"/>
                <a:gd name="T103" fmla="*/ 791 h 1086"/>
                <a:gd name="T104" fmla="*/ 191 w 581"/>
                <a:gd name="T105" fmla="*/ 786 h 1086"/>
                <a:gd name="T106" fmla="*/ 196 w 581"/>
                <a:gd name="T107" fmla="*/ 808 h 1086"/>
                <a:gd name="T108" fmla="*/ 66 w 581"/>
                <a:gd name="T109" fmla="*/ 843 h 1086"/>
                <a:gd name="T110" fmla="*/ 71 w 581"/>
                <a:gd name="T111" fmla="*/ 843 h 1086"/>
                <a:gd name="T112" fmla="*/ 66 w 581"/>
                <a:gd name="T113" fmla="*/ 902 h 1086"/>
                <a:gd name="T114" fmla="*/ 88 w 581"/>
                <a:gd name="T115" fmla="*/ 914 h 1086"/>
                <a:gd name="T116" fmla="*/ 88 w 581"/>
                <a:gd name="T117" fmla="*/ 914 h 1086"/>
                <a:gd name="T118" fmla="*/ 158 w 581"/>
                <a:gd name="T119" fmla="*/ 1025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1" h="1086">
                  <a:moveTo>
                    <a:pt x="336" y="1046"/>
                  </a:moveTo>
                  <a:lnTo>
                    <a:pt x="321" y="1079"/>
                  </a:lnTo>
                  <a:lnTo>
                    <a:pt x="305" y="1079"/>
                  </a:lnTo>
                  <a:lnTo>
                    <a:pt x="298" y="1070"/>
                  </a:lnTo>
                  <a:lnTo>
                    <a:pt x="267" y="1086"/>
                  </a:lnTo>
                  <a:lnTo>
                    <a:pt x="255" y="1079"/>
                  </a:lnTo>
                  <a:lnTo>
                    <a:pt x="267" y="1063"/>
                  </a:lnTo>
                  <a:lnTo>
                    <a:pt x="267" y="1046"/>
                  </a:lnTo>
                  <a:lnTo>
                    <a:pt x="251" y="1046"/>
                  </a:lnTo>
                  <a:lnTo>
                    <a:pt x="243" y="1025"/>
                  </a:lnTo>
                  <a:lnTo>
                    <a:pt x="234" y="1030"/>
                  </a:lnTo>
                  <a:lnTo>
                    <a:pt x="217" y="1025"/>
                  </a:lnTo>
                  <a:lnTo>
                    <a:pt x="213" y="1013"/>
                  </a:lnTo>
                  <a:lnTo>
                    <a:pt x="201" y="1013"/>
                  </a:lnTo>
                  <a:lnTo>
                    <a:pt x="196" y="1030"/>
                  </a:lnTo>
                  <a:lnTo>
                    <a:pt x="196" y="1025"/>
                  </a:lnTo>
                  <a:lnTo>
                    <a:pt x="163" y="996"/>
                  </a:lnTo>
                  <a:lnTo>
                    <a:pt x="175" y="987"/>
                  </a:lnTo>
                  <a:lnTo>
                    <a:pt x="158" y="987"/>
                  </a:lnTo>
                  <a:lnTo>
                    <a:pt x="147" y="968"/>
                  </a:lnTo>
                  <a:lnTo>
                    <a:pt x="137" y="942"/>
                  </a:lnTo>
                  <a:lnTo>
                    <a:pt x="125" y="935"/>
                  </a:lnTo>
                  <a:lnTo>
                    <a:pt x="121" y="935"/>
                  </a:lnTo>
                  <a:lnTo>
                    <a:pt x="121" y="930"/>
                  </a:lnTo>
                  <a:lnTo>
                    <a:pt x="104" y="919"/>
                  </a:lnTo>
                  <a:lnTo>
                    <a:pt x="92" y="897"/>
                  </a:lnTo>
                  <a:lnTo>
                    <a:pt x="92" y="897"/>
                  </a:lnTo>
                  <a:lnTo>
                    <a:pt x="92" y="885"/>
                  </a:lnTo>
                  <a:lnTo>
                    <a:pt x="83" y="897"/>
                  </a:lnTo>
                  <a:lnTo>
                    <a:pt x="83" y="902"/>
                  </a:lnTo>
                  <a:lnTo>
                    <a:pt x="66" y="897"/>
                  </a:lnTo>
                  <a:lnTo>
                    <a:pt x="66" y="881"/>
                  </a:lnTo>
                  <a:lnTo>
                    <a:pt x="71" y="831"/>
                  </a:lnTo>
                  <a:lnTo>
                    <a:pt x="104" y="748"/>
                  </a:lnTo>
                  <a:lnTo>
                    <a:pt x="104" y="737"/>
                  </a:lnTo>
                  <a:lnTo>
                    <a:pt x="104" y="720"/>
                  </a:lnTo>
                  <a:lnTo>
                    <a:pt x="137" y="699"/>
                  </a:lnTo>
                  <a:lnTo>
                    <a:pt x="163" y="642"/>
                  </a:lnTo>
                  <a:lnTo>
                    <a:pt x="147" y="604"/>
                  </a:lnTo>
                  <a:lnTo>
                    <a:pt x="147" y="588"/>
                  </a:lnTo>
                  <a:lnTo>
                    <a:pt x="137" y="571"/>
                  </a:lnTo>
                  <a:lnTo>
                    <a:pt x="125" y="548"/>
                  </a:lnTo>
                  <a:lnTo>
                    <a:pt x="125" y="543"/>
                  </a:lnTo>
                  <a:lnTo>
                    <a:pt x="137" y="543"/>
                  </a:lnTo>
                  <a:lnTo>
                    <a:pt x="137" y="498"/>
                  </a:lnTo>
                  <a:lnTo>
                    <a:pt x="121" y="477"/>
                  </a:lnTo>
                  <a:lnTo>
                    <a:pt x="92" y="460"/>
                  </a:lnTo>
                  <a:lnTo>
                    <a:pt x="71" y="432"/>
                  </a:lnTo>
                  <a:lnTo>
                    <a:pt x="66" y="404"/>
                  </a:lnTo>
                  <a:lnTo>
                    <a:pt x="66" y="387"/>
                  </a:lnTo>
                  <a:lnTo>
                    <a:pt x="83" y="382"/>
                  </a:lnTo>
                  <a:lnTo>
                    <a:pt x="88" y="382"/>
                  </a:lnTo>
                  <a:lnTo>
                    <a:pt x="92" y="333"/>
                  </a:lnTo>
                  <a:lnTo>
                    <a:pt x="109" y="326"/>
                  </a:lnTo>
                  <a:lnTo>
                    <a:pt x="109" y="304"/>
                  </a:lnTo>
                  <a:lnTo>
                    <a:pt x="109" y="304"/>
                  </a:lnTo>
                  <a:lnTo>
                    <a:pt x="92" y="309"/>
                  </a:lnTo>
                  <a:lnTo>
                    <a:pt x="83" y="276"/>
                  </a:lnTo>
                  <a:lnTo>
                    <a:pt x="88" y="267"/>
                  </a:lnTo>
                  <a:lnTo>
                    <a:pt x="33" y="210"/>
                  </a:lnTo>
                  <a:lnTo>
                    <a:pt x="29" y="165"/>
                  </a:lnTo>
                  <a:lnTo>
                    <a:pt x="12" y="165"/>
                  </a:lnTo>
                  <a:lnTo>
                    <a:pt x="0" y="144"/>
                  </a:lnTo>
                  <a:lnTo>
                    <a:pt x="12" y="156"/>
                  </a:lnTo>
                  <a:lnTo>
                    <a:pt x="33" y="144"/>
                  </a:lnTo>
                  <a:lnTo>
                    <a:pt x="29" y="111"/>
                  </a:lnTo>
                  <a:lnTo>
                    <a:pt x="33" y="106"/>
                  </a:lnTo>
                  <a:lnTo>
                    <a:pt x="33" y="82"/>
                  </a:lnTo>
                  <a:lnTo>
                    <a:pt x="38" y="66"/>
                  </a:lnTo>
                  <a:lnTo>
                    <a:pt x="50" y="66"/>
                  </a:lnTo>
                  <a:lnTo>
                    <a:pt x="50" y="49"/>
                  </a:lnTo>
                  <a:lnTo>
                    <a:pt x="66" y="56"/>
                  </a:lnTo>
                  <a:lnTo>
                    <a:pt x="109" y="49"/>
                  </a:lnTo>
                  <a:lnTo>
                    <a:pt x="121" y="49"/>
                  </a:lnTo>
                  <a:lnTo>
                    <a:pt x="125" y="33"/>
                  </a:lnTo>
                  <a:lnTo>
                    <a:pt x="147" y="28"/>
                  </a:lnTo>
                  <a:lnTo>
                    <a:pt x="158" y="28"/>
                  </a:lnTo>
                  <a:lnTo>
                    <a:pt x="158" y="11"/>
                  </a:lnTo>
                  <a:lnTo>
                    <a:pt x="175" y="11"/>
                  </a:lnTo>
                  <a:lnTo>
                    <a:pt x="191" y="0"/>
                  </a:lnTo>
                  <a:lnTo>
                    <a:pt x="196" y="11"/>
                  </a:lnTo>
                  <a:lnTo>
                    <a:pt x="201" y="16"/>
                  </a:lnTo>
                  <a:lnTo>
                    <a:pt x="213" y="11"/>
                  </a:lnTo>
                  <a:lnTo>
                    <a:pt x="217" y="28"/>
                  </a:lnTo>
                  <a:lnTo>
                    <a:pt x="229" y="28"/>
                  </a:lnTo>
                  <a:lnTo>
                    <a:pt x="217" y="56"/>
                  </a:lnTo>
                  <a:lnTo>
                    <a:pt x="229" y="73"/>
                  </a:lnTo>
                  <a:lnTo>
                    <a:pt x="243" y="73"/>
                  </a:lnTo>
                  <a:lnTo>
                    <a:pt x="251" y="66"/>
                  </a:lnTo>
                  <a:lnTo>
                    <a:pt x="281" y="73"/>
                  </a:lnTo>
                  <a:lnTo>
                    <a:pt x="272" y="82"/>
                  </a:lnTo>
                  <a:lnTo>
                    <a:pt x="281" y="106"/>
                  </a:lnTo>
                  <a:lnTo>
                    <a:pt x="272" y="123"/>
                  </a:lnTo>
                  <a:lnTo>
                    <a:pt x="281" y="139"/>
                  </a:lnTo>
                  <a:lnTo>
                    <a:pt x="267" y="156"/>
                  </a:lnTo>
                  <a:lnTo>
                    <a:pt x="272" y="160"/>
                  </a:lnTo>
                  <a:lnTo>
                    <a:pt x="272" y="177"/>
                  </a:lnTo>
                  <a:lnTo>
                    <a:pt x="255" y="217"/>
                  </a:lnTo>
                  <a:lnTo>
                    <a:pt x="272" y="222"/>
                  </a:lnTo>
                  <a:lnTo>
                    <a:pt x="298" y="200"/>
                  </a:lnTo>
                  <a:lnTo>
                    <a:pt x="310" y="182"/>
                  </a:lnTo>
                  <a:lnTo>
                    <a:pt x="321" y="182"/>
                  </a:lnTo>
                  <a:lnTo>
                    <a:pt x="336" y="165"/>
                  </a:lnTo>
                  <a:lnTo>
                    <a:pt x="359" y="182"/>
                  </a:lnTo>
                  <a:lnTo>
                    <a:pt x="373" y="193"/>
                  </a:lnTo>
                  <a:lnTo>
                    <a:pt x="373" y="200"/>
                  </a:lnTo>
                  <a:lnTo>
                    <a:pt x="390" y="182"/>
                  </a:lnTo>
                  <a:lnTo>
                    <a:pt x="406" y="182"/>
                  </a:lnTo>
                  <a:lnTo>
                    <a:pt x="406" y="177"/>
                  </a:lnTo>
                  <a:lnTo>
                    <a:pt x="418" y="165"/>
                  </a:lnTo>
                  <a:lnTo>
                    <a:pt x="418" y="160"/>
                  </a:lnTo>
                  <a:lnTo>
                    <a:pt x="428" y="156"/>
                  </a:lnTo>
                  <a:lnTo>
                    <a:pt x="466" y="160"/>
                  </a:lnTo>
                  <a:lnTo>
                    <a:pt x="489" y="200"/>
                  </a:lnTo>
                  <a:lnTo>
                    <a:pt x="520" y="222"/>
                  </a:lnTo>
                  <a:lnTo>
                    <a:pt x="527" y="238"/>
                  </a:lnTo>
                  <a:lnTo>
                    <a:pt x="520" y="293"/>
                  </a:lnTo>
                  <a:lnTo>
                    <a:pt x="543" y="326"/>
                  </a:lnTo>
                  <a:lnTo>
                    <a:pt x="569" y="333"/>
                  </a:lnTo>
                  <a:lnTo>
                    <a:pt x="569" y="345"/>
                  </a:lnTo>
                  <a:lnTo>
                    <a:pt x="569" y="349"/>
                  </a:lnTo>
                  <a:lnTo>
                    <a:pt x="581" y="361"/>
                  </a:lnTo>
                  <a:lnTo>
                    <a:pt x="574" y="399"/>
                  </a:lnTo>
                  <a:lnTo>
                    <a:pt x="581" y="404"/>
                  </a:lnTo>
                  <a:lnTo>
                    <a:pt x="574" y="437"/>
                  </a:lnTo>
                  <a:lnTo>
                    <a:pt x="553" y="453"/>
                  </a:lnTo>
                  <a:lnTo>
                    <a:pt x="543" y="470"/>
                  </a:lnTo>
                  <a:lnTo>
                    <a:pt x="543" y="453"/>
                  </a:lnTo>
                  <a:lnTo>
                    <a:pt x="527" y="444"/>
                  </a:lnTo>
                  <a:lnTo>
                    <a:pt x="466" y="453"/>
                  </a:lnTo>
                  <a:lnTo>
                    <a:pt x="444" y="444"/>
                  </a:lnTo>
                  <a:lnTo>
                    <a:pt x="414" y="453"/>
                  </a:lnTo>
                  <a:lnTo>
                    <a:pt x="397" y="470"/>
                  </a:lnTo>
                  <a:lnTo>
                    <a:pt x="380" y="498"/>
                  </a:lnTo>
                  <a:lnTo>
                    <a:pt x="364" y="498"/>
                  </a:lnTo>
                  <a:lnTo>
                    <a:pt x="373" y="510"/>
                  </a:lnTo>
                  <a:lnTo>
                    <a:pt x="359" y="510"/>
                  </a:lnTo>
                  <a:lnTo>
                    <a:pt x="352" y="531"/>
                  </a:lnTo>
                  <a:lnTo>
                    <a:pt x="364" y="555"/>
                  </a:lnTo>
                  <a:lnTo>
                    <a:pt x="364" y="581"/>
                  </a:lnTo>
                  <a:lnTo>
                    <a:pt x="380" y="597"/>
                  </a:lnTo>
                  <a:lnTo>
                    <a:pt x="380" y="621"/>
                  </a:lnTo>
                  <a:lnTo>
                    <a:pt x="397" y="654"/>
                  </a:lnTo>
                  <a:lnTo>
                    <a:pt x="373" y="609"/>
                  </a:lnTo>
                  <a:lnTo>
                    <a:pt x="364" y="609"/>
                  </a:lnTo>
                  <a:lnTo>
                    <a:pt x="364" y="621"/>
                  </a:lnTo>
                  <a:lnTo>
                    <a:pt x="352" y="609"/>
                  </a:lnTo>
                  <a:lnTo>
                    <a:pt x="359" y="604"/>
                  </a:lnTo>
                  <a:lnTo>
                    <a:pt x="343" y="604"/>
                  </a:lnTo>
                  <a:lnTo>
                    <a:pt x="336" y="588"/>
                  </a:lnTo>
                  <a:lnTo>
                    <a:pt x="326" y="588"/>
                  </a:lnTo>
                  <a:lnTo>
                    <a:pt x="310" y="571"/>
                  </a:lnTo>
                  <a:lnTo>
                    <a:pt x="288" y="581"/>
                  </a:lnTo>
                  <a:lnTo>
                    <a:pt x="267" y="581"/>
                  </a:lnTo>
                  <a:lnTo>
                    <a:pt x="255" y="588"/>
                  </a:lnTo>
                  <a:lnTo>
                    <a:pt x="251" y="581"/>
                  </a:lnTo>
                  <a:lnTo>
                    <a:pt x="255" y="515"/>
                  </a:lnTo>
                  <a:lnTo>
                    <a:pt x="229" y="515"/>
                  </a:lnTo>
                  <a:lnTo>
                    <a:pt x="196" y="526"/>
                  </a:lnTo>
                  <a:lnTo>
                    <a:pt x="191" y="531"/>
                  </a:lnTo>
                  <a:lnTo>
                    <a:pt x="196" y="548"/>
                  </a:lnTo>
                  <a:lnTo>
                    <a:pt x="191" y="581"/>
                  </a:lnTo>
                  <a:lnTo>
                    <a:pt x="191" y="609"/>
                  </a:lnTo>
                  <a:lnTo>
                    <a:pt x="163" y="666"/>
                  </a:lnTo>
                  <a:lnTo>
                    <a:pt x="158" y="708"/>
                  </a:lnTo>
                  <a:lnTo>
                    <a:pt x="125" y="748"/>
                  </a:lnTo>
                  <a:lnTo>
                    <a:pt x="125" y="791"/>
                  </a:lnTo>
                  <a:lnTo>
                    <a:pt x="142" y="819"/>
                  </a:lnTo>
                  <a:lnTo>
                    <a:pt x="137" y="826"/>
                  </a:lnTo>
                  <a:lnTo>
                    <a:pt x="147" y="831"/>
                  </a:lnTo>
                  <a:lnTo>
                    <a:pt x="180" y="826"/>
                  </a:lnTo>
                  <a:lnTo>
                    <a:pt x="191" y="876"/>
                  </a:lnTo>
                  <a:lnTo>
                    <a:pt x="196" y="885"/>
                  </a:lnTo>
                  <a:lnTo>
                    <a:pt x="201" y="885"/>
                  </a:lnTo>
                  <a:lnTo>
                    <a:pt x="196" y="881"/>
                  </a:lnTo>
                  <a:lnTo>
                    <a:pt x="201" y="885"/>
                  </a:lnTo>
                  <a:lnTo>
                    <a:pt x="217" y="959"/>
                  </a:lnTo>
                  <a:lnTo>
                    <a:pt x="229" y="975"/>
                  </a:lnTo>
                  <a:lnTo>
                    <a:pt x="217" y="968"/>
                  </a:lnTo>
                  <a:lnTo>
                    <a:pt x="213" y="935"/>
                  </a:lnTo>
                  <a:lnTo>
                    <a:pt x="201" y="935"/>
                  </a:lnTo>
                  <a:lnTo>
                    <a:pt x="196" y="935"/>
                  </a:lnTo>
                  <a:lnTo>
                    <a:pt x="201" y="952"/>
                  </a:lnTo>
                  <a:lnTo>
                    <a:pt x="217" y="975"/>
                  </a:lnTo>
                  <a:lnTo>
                    <a:pt x="234" y="975"/>
                  </a:lnTo>
                  <a:lnTo>
                    <a:pt x="243" y="992"/>
                  </a:lnTo>
                  <a:lnTo>
                    <a:pt x="255" y="996"/>
                  </a:lnTo>
                  <a:lnTo>
                    <a:pt x="281" y="996"/>
                  </a:lnTo>
                  <a:lnTo>
                    <a:pt x="281" y="992"/>
                  </a:lnTo>
                  <a:lnTo>
                    <a:pt x="298" y="996"/>
                  </a:lnTo>
                  <a:lnTo>
                    <a:pt x="310" y="1030"/>
                  </a:lnTo>
                  <a:lnTo>
                    <a:pt x="336" y="1046"/>
                  </a:lnTo>
                  <a:lnTo>
                    <a:pt x="336" y="1046"/>
                  </a:lnTo>
                  <a:lnTo>
                    <a:pt x="336" y="1046"/>
                  </a:lnTo>
                  <a:close/>
                  <a:moveTo>
                    <a:pt x="359" y="626"/>
                  </a:moveTo>
                  <a:lnTo>
                    <a:pt x="352" y="626"/>
                  </a:lnTo>
                  <a:lnTo>
                    <a:pt x="352" y="621"/>
                  </a:lnTo>
                  <a:lnTo>
                    <a:pt x="359" y="626"/>
                  </a:lnTo>
                  <a:lnTo>
                    <a:pt x="359" y="626"/>
                  </a:lnTo>
                  <a:lnTo>
                    <a:pt x="359" y="626"/>
                  </a:lnTo>
                  <a:close/>
                  <a:moveTo>
                    <a:pt x="364" y="642"/>
                  </a:moveTo>
                  <a:lnTo>
                    <a:pt x="373" y="659"/>
                  </a:lnTo>
                  <a:lnTo>
                    <a:pt x="364" y="659"/>
                  </a:lnTo>
                  <a:lnTo>
                    <a:pt x="364" y="642"/>
                  </a:lnTo>
                  <a:lnTo>
                    <a:pt x="364" y="642"/>
                  </a:lnTo>
                  <a:lnTo>
                    <a:pt x="364" y="642"/>
                  </a:lnTo>
                  <a:close/>
                  <a:moveTo>
                    <a:pt x="191" y="786"/>
                  </a:moveTo>
                  <a:lnTo>
                    <a:pt x="196" y="791"/>
                  </a:lnTo>
                  <a:lnTo>
                    <a:pt x="191" y="791"/>
                  </a:lnTo>
                  <a:lnTo>
                    <a:pt x="191" y="786"/>
                  </a:lnTo>
                  <a:lnTo>
                    <a:pt x="191" y="786"/>
                  </a:lnTo>
                  <a:lnTo>
                    <a:pt x="191" y="786"/>
                  </a:lnTo>
                  <a:close/>
                  <a:moveTo>
                    <a:pt x="196" y="808"/>
                  </a:moveTo>
                  <a:lnTo>
                    <a:pt x="191" y="819"/>
                  </a:lnTo>
                  <a:lnTo>
                    <a:pt x="191" y="808"/>
                  </a:lnTo>
                  <a:lnTo>
                    <a:pt x="196" y="808"/>
                  </a:lnTo>
                  <a:lnTo>
                    <a:pt x="196" y="808"/>
                  </a:lnTo>
                  <a:lnTo>
                    <a:pt x="196" y="808"/>
                  </a:lnTo>
                  <a:close/>
                  <a:moveTo>
                    <a:pt x="71" y="843"/>
                  </a:moveTo>
                  <a:lnTo>
                    <a:pt x="66" y="843"/>
                  </a:lnTo>
                  <a:lnTo>
                    <a:pt x="66" y="831"/>
                  </a:lnTo>
                  <a:lnTo>
                    <a:pt x="71" y="843"/>
                  </a:lnTo>
                  <a:lnTo>
                    <a:pt x="71" y="843"/>
                  </a:lnTo>
                  <a:lnTo>
                    <a:pt x="71" y="843"/>
                  </a:lnTo>
                  <a:close/>
                  <a:moveTo>
                    <a:pt x="71" y="902"/>
                  </a:moveTo>
                  <a:lnTo>
                    <a:pt x="83" y="930"/>
                  </a:lnTo>
                  <a:lnTo>
                    <a:pt x="71" y="935"/>
                  </a:lnTo>
                  <a:lnTo>
                    <a:pt x="66" y="902"/>
                  </a:lnTo>
                  <a:lnTo>
                    <a:pt x="71" y="902"/>
                  </a:lnTo>
                  <a:lnTo>
                    <a:pt x="71" y="902"/>
                  </a:lnTo>
                  <a:lnTo>
                    <a:pt x="71" y="902"/>
                  </a:lnTo>
                  <a:close/>
                  <a:moveTo>
                    <a:pt x="88" y="914"/>
                  </a:moveTo>
                  <a:lnTo>
                    <a:pt x="88" y="914"/>
                  </a:lnTo>
                  <a:lnTo>
                    <a:pt x="88" y="930"/>
                  </a:lnTo>
                  <a:lnTo>
                    <a:pt x="88" y="914"/>
                  </a:lnTo>
                  <a:lnTo>
                    <a:pt x="88" y="914"/>
                  </a:lnTo>
                  <a:lnTo>
                    <a:pt x="88" y="914"/>
                  </a:lnTo>
                  <a:close/>
                  <a:moveTo>
                    <a:pt x="163" y="1013"/>
                  </a:moveTo>
                  <a:lnTo>
                    <a:pt x="163" y="1030"/>
                  </a:lnTo>
                  <a:lnTo>
                    <a:pt x="158" y="1025"/>
                  </a:lnTo>
                  <a:lnTo>
                    <a:pt x="163" y="1013"/>
                  </a:lnTo>
                  <a:lnTo>
                    <a:pt x="163" y="1013"/>
                  </a:lnTo>
                  <a:lnTo>
                    <a:pt x="163" y="101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0" name="Freeform 575">
              <a:extLst>
                <a:ext uri="{FF2B5EF4-FFF2-40B4-BE49-F238E27FC236}">
                  <a16:creationId xmlns:a16="http://schemas.microsoft.com/office/drawing/2014/main" id="{DD378B59-70C1-4312-BD40-8C6BF3BFCF33}"/>
                </a:ext>
              </a:extLst>
            </p:cNvPr>
            <p:cNvSpPr>
              <a:spLocks noEditPoints="1"/>
            </p:cNvSpPr>
            <p:nvPr/>
          </p:nvSpPr>
          <p:spPr bwMode="gray">
            <a:xfrm>
              <a:off x="10140216" y="3301329"/>
              <a:ext cx="107034" cy="102106"/>
            </a:xfrm>
            <a:custGeom>
              <a:avLst/>
              <a:gdLst>
                <a:gd name="T0" fmla="*/ 130 w 260"/>
                <a:gd name="T1" fmla="*/ 132 h 248"/>
                <a:gd name="T2" fmla="*/ 142 w 260"/>
                <a:gd name="T3" fmla="*/ 108 h 248"/>
                <a:gd name="T4" fmla="*/ 196 w 260"/>
                <a:gd name="T5" fmla="*/ 21 h 248"/>
                <a:gd name="T6" fmla="*/ 222 w 260"/>
                <a:gd name="T7" fmla="*/ 4 h 248"/>
                <a:gd name="T8" fmla="*/ 222 w 260"/>
                <a:gd name="T9" fmla="*/ 4 h 248"/>
                <a:gd name="T10" fmla="*/ 234 w 260"/>
                <a:gd name="T11" fmla="*/ 0 h 248"/>
                <a:gd name="T12" fmla="*/ 260 w 260"/>
                <a:gd name="T13" fmla="*/ 9 h 248"/>
                <a:gd name="T14" fmla="*/ 251 w 260"/>
                <a:gd name="T15" fmla="*/ 26 h 248"/>
                <a:gd name="T16" fmla="*/ 256 w 260"/>
                <a:gd name="T17" fmla="*/ 59 h 248"/>
                <a:gd name="T18" fmla="*/ 239 w 260"/>
                <a:gd name="T19" fmla="*/ 82 h 248"/>
                <a:gd name="T20" fmla="*/ 222 w 260"/>
                <a:gd name="T21" fmla="*/ 148 h 248"/>
                <a:gd name="T22" fmla="*/ 206 w 260"/>
                <a:gd name="T23" fmla="*/ 174 h 248"/>
                <a:gd name="T24" fmla="*/ 196 w 260"/>
                <a:gd name="T25" fmla="*/ 203 h 248"/>
                <a:gd name="T26" fmla="*/ 180 w 260"/>
                <a:gd name="T27" fmla="*/ 248 h 248"/>
                <a:gd name="T28" fmla="*/ 168 w 260"/>
                <a:gd name="T29" fmla="*/ 248 h 248"/>
                <a:gd name="T30" fmla="*/ 168 w 260"/>
                <a:gd name="T31" fmla="*/ 226 h 248"/>
                <a:gd name="T32" fmla="*/ 147 w 260"/>
                <a:gd name="T33" fmla="*/ 203 h 248"/>
                <a:gd name="T34" fmla="*/ 130 w 260"/>
                <a:gd name="T35" fmla="*/ 170 h 248"/>
                <a:gd name="T36" fmla="*/ 126 w 260"/>
                <a:gd name="T37" fmla="*/ 165 h 248"/>
                <a:gd name="T38" fmla="*/ 130 w 260"/>
                <a:gd name="T39" fmla="*/ 132 h 248"/>
                <a:gd name="T40" fmla="*/ 130 w 260"/>
                <a:gd name="T41" fmla="*/ 132 h 248"/>
                <a:gd name="T42" fmla="*/ 130 w 260"/>
                <a:gd name="T43" fmla="*/ 132 h 248"/>
                <a:gd name="T44" fmla="*/ 0 w 260"/>
                <a:gd name="T45" fmla="*/ 59 h 248"/>
                <a:gd name="T46" fmla="*/ 5 w 260"/>
                <a:gd name="T47" fmla="*/ 54 h 248"/>
                <a:gd name="T48" fmla="*/ 17 w 260"/>
                <a:gd name="T49" fmla="*/ 59 h 248"/>
                <a:gd name="T50" fmla="*/ 17 w 260"/>
                <a:gd name="T51" fmla="*/ 59 h 248"/>
                <a:gd name="T52" fmla="*/ 0 w 260"/>
                <a:gd name="T53" fmla="*/ 59 h 248"/>
                <a:gd name="T54" fmla="*/ 0 w 260"/>
                <a:gd name="T55" fmla="*/ 59 h 248"/>
                <a:gd name="T56" fmla="*/ 0 w 260"/>
                <a:gd name="T57" fmla="*/ 59 h 248"/>
                <a:gd name="T58" fmla="*/ 93 w 260"/>
                <a:gd name="T59" fmla="*/ 132 h 248"/>
                <a:gd name="T60" fmla="*/ 93 w 260"/>
                <a:gd name="T61" fmla="*/ 120 h 248"/>
                <a:gd name="T62" fmla="*/ 97 w 260"/>
                <a:gd name="T63" fmla="*/ 132 h 248"/>
                <a:gd name="T64" fmla="*/ 93 w 260"/>
                <a:gd name="T65" fmla="*/ 132 h 248"/>
                <a:gd name="T66" fmla="*/ 93 w 260"/>
                <a:gd name="T67" fmla="*/ 132 h 248"/>
                <a:gd name="T68" fmla="*/ 93 w 260"/>
                <a:gd name="T69" fmla="*/ 13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0" h="248">
                  <a:moveTo>
                    <a:pt x="130" y="132"/>
                  </a:moveTo>
                  <a:lnTo>
                    <a:pt x="142" y="108"/>
                  </a:lnTo>
                  <a:lnTo>
                    <a:pt x="196" y="21"/>
                  </a:lnTo>
                  <a:lnTo>
                    <a:pt x="222" y="4"/>
                  </a:lnTo>
                  <a:lnTo>
                    <a:pt x="222" y="4"/>
                  </a:lnTo>
                  <a:lnTo>
                    <a:pt x="234" y="0"/>
                  </a:lnTo>
                  <a:lnTo>
                    <a:pt x="260" y="9"/>
                  </a:lnTo>
                  <a:lnTo>
                    <a:pt x="251" y="26"/>
                  </a:lnTo>
                  <a:lnTo>
                    <a:pt x="256" y="59"/>
                  </a:lnTo>
                  <a:lnTo>
                    <a:pt x="239" y="82"/>
                  </a:lnTo>
                  <a:lnTo>
                    <a:pt x="222" y="148"/>
                  </a:lnTo>
                  <a:lnTo>
                    <a:pt x="206" y="174"/>
                  </a:lnTo>
                  <a:lnTo>
                    <a:pt x="196" y="203"/>
                  </a:lnTo>
                  <a:lnTo>
                    <a:pt x="180" y="248"/>
                  </a:lnTo>
                  <a:lnTo>
                    <a:pt x="168" y="248"/>
                  </a:lnTo>
                  <a:lnTo>
                    <a:pt x="168" y="226"/>
                  </a:lnTo>
                  <a:lnTo>
                    <a:pt x="147" y="203"/>
                  </a:lnTo>
                  <a:lnTo>
                    <a:pt x="130" y="170"/>
                  </a:lnTo>
                  <a:lnTo>
                    <a:pt x="126" y="165"/>
                  </a:lnTo>
                  <a:lnTo>
                    <a:pt x="130" y="132"/>
                  </a:lnTo>
                  <a:lnTo>
                    <a:pt x="130" y="132"/>
                  </a:lnTo>
                  <a:lnTo>
                    <a:pt x="130" y="132"/>
                  </a:lnTo>
                  <a:close/>
                  <a:moveTo>
                    <a:pt x="0" y="59"/>
                  </a:moveTo>
                  <a:lnTo>
                    <a:pt x="5" y="54"/>
                  </a:lnTo>
                  <a:lnTo>
                    <a:pt x="17" y="59"/>
                  </a:lnTo>
                  <a:lnTo>
                    <a:pt x="17" y="59"/>
                  </a:lnTo>
                  <a:lnTo>
                    <a:pt x="0" y="59"/>
                  </a:lnTo>
                  <a:lnTo>
                    <a:pt x="0" y="59"/>
                  </a:lnTo>
                  <a:lnTo>
                    <a:pt x="0" y="59"/>
                  </a:lnTo>
                  <a:close/>
                  <a:moveTo>
                    <a:pt x="93" y="132"/>
                  </a:moveTo>
                  <a:lnTo>
                    <a:pt x="93" y="120"/>
                  </a:lnTo>
                  <a:lnTo>
                    <a:pt x="97" y="132"/>
                  </a:lnTo>
                  <a:lnTo>
                    <a:pt x="93" y="132"/>
                  </a:lnTo>
                  <a:lnTo>
                    <a:pt x="93" y="132"/>
                  </a:lnTo>
                  <a:lnTo>
                    <a:pt x="93" y="13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2" name="Freeform 588">
              <a:extLst>
                <a:ext uri="{FF2B5EF4-FFF2-40B4-BE49-F238E27FC236}">
                  <a16:creationId xmlns:a16="http://schemas.microsoft.com/office/drawing/2014/main" id="{32199E15-0973-458B-8632-76A3184772ED}"/>
                </a:ext>
              </a:extLst>
            </p:cNvPr>
            <p:cNvSpPr>
              <a:spLocks noEditPoints="1"/>
            </p:cNvSpPr>
            <p:nvPr/>
          </p:nvSpPr>
          <p:spPr bwMode="gray">
            <a:xfrm>
              <a:off x="9675441" y="3362263"/>
              <a:ext cx="212010" cy="447536"/>
            </a:xfrm>
            <a:custGeom>
              <a:avLst/>
              <a:gdLst>
                <a:gd name="T0" fmla="*/ 374 w 515"/>
                <a:gd name="T1" fmla="*/ 615 h 1087"/>
                <a:gd name="T2" fmla="*/ 364 w 515"/>
                <a:gd name="T3" fmla="*/ 556 h 1087"/>
                <a:gd name="T4" fmla="*/ 340 w 515"/>
                <a:gd name="T5" fmla="*/ 522 h 1087"/>
                <a:gd name="T6" fmla="*/ 310 w 515"/>
                <a:gd name="T7" fmla="*/ 499 h 1087"/>
                <a:gd name="T8" fmla="*/ 248 w 515"/>
                <a:gd name="T9" fmla="*/ 421 h 1087"/>
                <a:gd name="T10" fmla="*/ 211 w 515"/>
                <a:gd name="T11" fmla="*/ 367 h 1087"/>
                <a:gd name="T12" fmla="*/ 118 w 515"/>
                <a:gd name="T13" fmla="*/ 300 h 1087"/>
                <a:gd name="T14" fmla="*/ 185 w 515"/>
                <a:gd name="T15" fmla="*/ 260 h 1087"/>
                <a:gd name="T16" fmla="*/ 173 w 515"/>
                <a:gd name="T17" fmla="*/ 211 h 1087"/>
                <a:gd name="T18" fmla="*/ 118 w 515"/>
                <a:gd name="T19" fmla="*/ 182 h 1087"/>
                <a:gd name="T20" fmla="*/ 55 w 515"/>
                <a:gd name="T21" fmla="*/ 116 h 1087"/>
                <a:gd name="T22" fmla="*/ 22 w 515"/>
                <a:gd name="T23" fmla="*/ 41 h 1087"/>
                <a:gd name="T24" fmla="*/ 102 w 515"/>
                <a:gd name="T25" fmla="*/ 41 h 1087"/>
                <a:gd name="T26" fmla="*/ 147 w 515"/>
                <a:gd name="T27" fmla="*/ 41 h 1087"/>
                <a:gd name="T28" fmla="*/ 194 w 515"/>
                <a:gd name="T29" fmla="*/ 5 h 1087"/>
                <a:gd name="T30" fmla="*/ 281 w 515"/>
                <a:gd name="T31" fmla="*/ 22 h 1087"/>
                <a:gd name="T32" fmla="*/ 326 w 515"/>
                <a:gd name="T33" fmla="*/ 41 h 1087"/>
                <a:gd name="T34" fmla="*/ 340 w 515"/>
                <a:gd name="T35" fmla="*/ 100 h 1087"/>
                <a:gd name="T36" fmla="*/ 395 w 515"/>
                <a:gd name="T37" fmla="*/ 128 h 1087"/>
                <a:gd name="T38" fmla="*/ 395 w 515"/>
                <a:gd name="T39" fmla="*/ 133 h 1087"/>
                <a:gd name="T40" fmla="*/ 348 w 515"/>
                <a:gd name="T41" fmla="*/ 182 h 1087"/>
                <a:gd name="T42" fmla="*/ 336 w 515"/>
                <a:gd name="T43" fmla="*/ 173 h 1087"/>
                <a:gd name="T44" fmla="*/ 310 w 515"/>
                <a:gd name="T45" fmla="*/ 173 h 1087"/>
                <a:gd name="T46" fmla="*/ 310 w 515"/>
                <a:gd name="T47" fmla="*/ 201 h 1087"/>
                <a:gd name="T48" fmla="*/ 265 w 515"/>
                <a:gd name="T49" fmla="*/ 256 h 1087"/>
                <a:gd name="T50" fmla="*/ 265 w 515"/>
                <a:gd name="T51" fmla="*/ 367 h 1087"/>
                <a:gd name="T52" fmla="*/ 348 w 515"/>
                <a:gd name="T53" fmla="*/ 466 h 1087"/>
                <a:gd name="T54" fmla="*/ 390 w 515"/>
                <a:gd name="T55" fmla="*/ 504 h 1087"/>
                <a:gd name="T56" fmla="*/ 418 w 515"/>
                <a:gd name="T57" fmla="*/ 539 h 1087"/>
                <a:gd name="T58" fmla="*/ 428 w 515"/>
                <a:gd name="T59" fmla="*/ 539 h 1087"/>
                <a:gd name="T60" fmla="*/ 503 w 515"/>
                <a:gd name="T61" fmla="*/ 704 h 1087"/>
                <a:gd name="T62" fmla="*/ 499 w 515"/>
                <a:gd name="T63" fmla="*/ 737 h 1087"/>
                <a:gd name="T64" fmla="*/ 487 w 515"/>
                <a:gd name="T65" fmla="*/ 808 h 1087"/>
                <a:gd name="T66" fmla="*/ 487 w 515"/>
                <a:gd name="T67" fmla="*/ 848 h 1087"/>
                <a:gd name="T68" fmla="*/ 482 w 515"/>
                <a:gd name="T69" fmla="*/ 886 h 1087"/>
                <a:gd name="T70" fmla="*/ 395 w 515"/>
                <a:gd name="T71" fmla="*/ 931 h 1087"/>
                <a:gd name="T72" fmla="*/ 336 w 515"/>
                <a:gd name="T73" fmla="*/ 948 h 1087"/>
                <a:gd name="T74" fmla="*/ 310 w 515"/>
                <a:gd name="T75" fmla="*/ 948 h 1087"/>
                <a:gd name="T76" fmla="*/ 326 w 515"/>
                <a:gd name="T77" fmla="*/ 976 h 1087"/>
                <a:gd name="T78" fmla="*/ 319 w 515"/>
                <a:gd name="T79" fmla="*/ 988 h 1087"/>
                <a:gd name="T80" fmla="*/ 310 w 515"/>
                <a:gd name="T81" fmla="*/ 1014 h 1087"/>
                <a:gd name="T82" fmla="*/ 281 w 515"/>
                <a:gd name="T83" fmla="*/ 1030 h 1087"/>
                <a:gd name="T84" fmla="*/ 180 w 515"/>
                <a:gd name="T85" fmla="*/ 1087 h 1087"/>
                <a:gd name="T86" fmla="*/ 201 w 515"/>
                <a:gd name="T87" fmla="*/ 988 h 1087"/>
                <a:gd name="T88" fmla="*/ 173 w 515"/>
                <a:gd name="T89" fmla="*/ 976 h 1087"/>
                <a:gd name="T90" fmla="*/ 201 w 515"/>
                <a:gd name="T91" fmla="*/ 931 h 1087"/>
                <a:gd name="T92" fmla="*/ 234 w 515"/>
                <a:gd name="T93" fmla="*/ 919 h 1087"/>
                <a:gd name="T94" fmla="*/ 255 w 515"/>
                <a:gd name="T95" fmla="*/ 893 h 1087"/>
                <a:gd name="T96" fmla="*/ 303 w 515"/>
                <a:gd name="T97" fmla="*/ 865 h 1087"/>
                <a:gd name="T98" fmla="*/ 364 w 515"/>
                <a:gd name="T99" fmla="*/ 815 h 1087"/>
                <a:gd name="T100" fmla="*/ 374 w 515"/>
                <a:gd name="T101" fmla="*/ 766 h 1087"/>
                <a:gd name="T102" fmla="*/ 374 w 515"/>
                <a:gd name="T103" fmla="*/ 700 h 1087"/>
                <a:gd name="T104" fmla="*/ 364 w 515"/>
                <a:gd name="T105" fmla="*/ 166 h 1087"/>
                <a:gd name="T106" fmla="*/ 378 w 515"/>
                <a:gd name="T107" fmla="*/ 173 h 1087"/>
                <a:gd name="T108" fmla="*/ 378 w 515"/>
                <a:gd name="T109" fmla="*/ 173 h 1087"/>
                <a:gd name="T110" fmla="*/ 336 w 515"/>
                <a:gd name="T111" fmla="*/ 189 h 1087"/>
                <a:gd name="T112" fmla="*/ 336 w 515"/>
                <a:gd name="T113" fmla="*/ 182 h 1087"/>
                <a:gd name="T114" fmla="*/ 336 w 515"/>
                <a:gd name="T115" fmla="*/ 182 h 1087"/>
                <a:gd name="T116" fmla="*/ 326 w 515"/>
                <a:gd name="T117" fmla="*/ 959 h 1087"/>
                <a:gd name="T118" fmla="*/ 326 w 515"/>
                <a:gd name="T119" fmla="*/ 931 h 1087"/>
                <a:gd name="T120" fmla="*/ 336 w 515"/>
                <a:gd name="T121" fmla="*/ 948 h 1087"/>
                <a:gd name="T122" fmla="*/ 130 w 515"/>
                <a:gd name="T123" fmla="*/ 959 h 1087"/>
                <a:gd name="T124" fmla="*/ 130 w 515"/>
                <a:gd name="T125" fmla="*/ 948 h 1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5" h="1087">
                  <a:moveTo>
                    <a:pt x="374" y="700"/>
                  </a:moveTo>
                  <a:lnTo>
                    <a:pt x="364" y="683"/>
                  </a:lnTo>
                  <a:lnTo>
                    <a:pt x="378" y="643"/>
                  </a:lnTo>
                  <a:lnTo>
                    <a:pt x="374" y="615"/>
                  </a:lnTo>
                  <a:lnTo>
                    <a:pt x="378" y="615"/>
                  </a:lnTo>
                  <a:lnTo>
                    <a:pt x="390" y="598"/>
                  </a:lnTo>
                  <a:lnTo>
                    <a:pt x="348" y="560"/>
                  </a:lnTo>
                  <a:lnTo>
                    <a:pt x="364" y="556"/>
                  </a:lnTo>
                  <a:lnTo>
                    <a:pt x="374" y="539"/>
                  </a:lnTo>
                  <a:lnTo>
                    <a:pt x="364" y="539"/>
                  </a:lnTo>
                  <a:lnTo>
                    <a:pt x="348" y="522"/>
                  </a:lnTo>
                  <a:lnTo>
                    <a:pt x="340" y="522"/>
                  </a:lnTo>
                  <a:lnTo>
                    <a:pt x="336" y="504"/>
                  </a:lnTo>
                  <a:lnTo>
                    <a:pt x="326" y="515"/>
                  </a:lnTo>
                  <a:lnTo>
                    <a:pt x="319" y="515"/>
                  </a:lnTo>
                  <a:lnTo>
                    <a:pt x="310" y="499"/>
                  </a:lnTo>
                  <a:lnTo>
                    <a:pt x="310" y="478"/>
                  </a:lnTo>
                  <a:lnTo>
                    <a:pt x="303" y="478"/>
                  </a:lnTo>
                  <a:lnTo>
                    <a:pt x="293" y="461"/>
                  </a:lnTo>
                  <a:lnTo>
                    <a:pt x="248" y="421"/>
                  </a:lnTo>
                  <a:lnTo>
                    <a:pt x="234" y="388"/>
                  </a:lnTo>
                  <a:lnTo>
                    <a:pt x="227" y="388"/>
                  </a:lnTo>
                  <a:lnTo>
                    <a:pt x="211" y="371"/>
                  </a:lnTo>
                  <a:lnTo>
                    <a:pt x="211" y="367"/>
                  </a:lnTo>
                  <a:lnTo>
                    <a:pt x="211" y="350"/>
                  </a:lnTo>
                  <a:lnTo>
                    <a:pt x="180" y="338"/>
                  </a:lnTo>
                  <a:lnTo>
                    <a:pt x="140" y="310"/>
                  </a:lnTo>
                  <a:lnTo>
                    <a:pt x="118" y="300"/>
                  </a:lnTo>
                  <a:lnTo>
                    <a:pt x="130" y="284"/>
                  </a:lnTo>
                  <a:lnTo>
                    <a:pt x="130" y="267"/>
                  </a:lnTo>
                  <a:lnTo>
                    <a:pt x="173" y="277"/>
                  </a:lnTo>
                  <a:lnTo>
                    <a:pt x="185" y="260"/>
                  </a:lnTo>
                  <a:lnTo>
                    <a:pt x="185" y="256"/>
                  </a:lnTo>
                  <a:lnTo>
                    <a:pt x="194" y="244"/>
                  </a:lnTo>
                  <a:lnTo>
                    <a:pt x="194" y="239"/>
                  </a:lnTo>
                  <a:lnTo>
                    <a:pt x="173" y="211"/>
                  </a:lnTo>
                  <a:lnTo>
                    <a:pt x="156" y="211"/>
                  </a:lnTo>
                  <a:lnTo>
                    <a:pt x="173" y="201"/>
                  </a:lnTo>
                  <a:lnTo>
                    <a:pt x="130" y="173"/>
                  </a:lnTo>
                  <a:lnTo>
                    <a:pt x="118" y="182"/>
                  </a:lnTo>
                  <a:lnTo>
                    <a:pt x="109" y="201"/>
                  </a:lnTo>
                  <a:lnTo>
                    <a:pt x="71" y="182"/>
                  </a:lnTo>
                  <a:lnTo>
                    <a:pt x="48" y="149"/>
                  </a:lnTo>
                  <a:lnTo>
                    <a:pt x="55" y="116"/>
                  </a:lnTo>
                  <a:lnTo>
                    <a:pt x="33" y="128"/>
                  </a:lnTo>
                  <a:lnTo>
                    <a:pt x="33" y="100"/>
                  </a:lnTo>
                  <a:lnTo>
                    <a:pt x="0" y="74"/>
                  </a:lnTo>
                  <a:lnTo>
                    <a:pt x="22" y="41"/>
                  </a:lnTo>
                  <a:lnTo>
                    <a:pt x="64" y="62"/>
                  </a:lnTo>
                  <a:lnTo>
                    <a:pt x="76" y="41"/>
                  </a:lnTo>
                  <a:lnTo>
                    <a:pt x="92" y="57"/>
                  </a:lnTo>
                  <a:lnTo>
                    <a:pt x="102" y="41"/>
                  </a:lnTo>
                  <a:lnTo>
                    <a:pt x="126" y="62"/>
                  </a:lnTo>
                  <a:lnTo>
                    <a:pt x="130" y="41"/>
                  </a:lnTo>
                  <a:lnTo>
                    <a:pt x="147" y="29"/>
                  </a:lnTo>
                  <a:lnTo>
                    <a:pt x="147" y="41"/>
                  </a:lnTo>
                  <a:lnTo>
                    <a:pt x="156" y="45"/>
                  </a:lnTo>
                  <a:lnTo>
                    <a:pt x="173" y="29"/>
                  </a:lnTo>
                  <a:lnTo>
                    <a:pt x="180" y="41"/>
                  </a:lnTo>
                  <a:lnTo>
                    <a:pt x="194" y="5"/>
                  </a:lnTo>
                  <a:lnTo>
                    <a:pt x="227" y="0"/>
                  </a:lnTo>
                  <a:lnTo>
                    <a:pt x="239" y="17"/>
                  </a:lnTo>
                  <a:lnTo>
                    <a:pt x="255" y="29"/>
                  </a:lnTo>
                  <a:lnTo>
                    <a:pt x="281" y="22"/>
                  </a:lnTo>
                  <a:lnTo>
                    <a:pt x="286" y="29"/>
                  </a:lnTo>
                  <a:lnTo>
                    <a:pt x="303" y="22"/>
                  </a:lnTo>
                  <a:lnTo>
                    <a:pt x="319" y="29"/>
                  </a:lnTo>
                  <a:lnTo>
                    <a:pt x="326" y="41"/>
                  </a:lnTo>
                  <a:lnTo>
                    <a:pt x="310" y="62"/>
                  </a:lnTo>
                  <a:lnTo>
                    <a:pt x="319" y="78"/>
                  </a:lnTo>
                  <a:lnTo>
                    <a:pt x="319" y="95"/>
                  </a:lnTo>
                  <a:lnTo>
                    <a:pt x="340" y="100"/>
                  </a:lnTo>
                  <a:lnTo>
                    <a:pt x="340" y="111"/>
                  </a:lnTo>
                  <a:lnTo>
                    <a:pt x="357" y="116"/>
                  </a:lnTo>
                  <a:lnTo>
                    <a:pt x="364" y="128"/>
                  </a:lnTo>
                  <a:lnTo>
                    <a:pt x="395" y="128"/>
                  </a:lnTo>
                  <a:lnTo>
                    <a:pt x="411" y="133"/>
                  </a:lnTo>
                  <a:lnTo>
                    <a:pt x="411" y="133"/>
                  </a:lnTo>
                  <a:lnTo>
                    <a:pt x="407" y="145"/>
                  </a:lnTo>
                  <a:lnTo>
                    <a:pt x="395" y="133"/>
                  </a:lnTo>
                  <a:lnTo>
                    <a:pt x="378" y="149"/>
                  </a:lnTo>
                  <a:lnTo>
                    <a:pt x="374" y="149"/>
                  </a:lnTo>
                  <a:lnTo>
                    <a:pt x="364" y="173"/>
                  </a:lnTo>
                  <a:lnTo>
                    <a:pt x="348" y="182"/>
                  </a:lnTo>
                  <a:lnTo>
                    <a:pt x="340" y="173"/>
                  </a:lnTo>
                  <a:lnTo>
                    <a:pt x="348" y="173"/>
                  </a:lnTo>
                  <a:lnTo>
                    <a:pt x="340" y="173"/>
                  </a:lnTo>
                  <a:lnTo>
                    <a:pt x="336" y="173"/>
                  </a:lnTo>
                  <a:lnTo>
                    <a:pt x="336" y="182"/>
                  </a:lnTo>
                  <a:lnTo>
                    <a:pt x="326" y="182"/>
                  </a:lnTo>
                  <a:lnTo>
                    <a:pt x="326" y="173"/>
                  </a:lnTo>
                  <a:lnTo>
                    <a:pt x="310" y="173"/>
                  </a:lnTo>
                  <a:lnTo>
                    <a:pt x="326" y="182"/>
                  </a:lnTo>
                  <a:lnTo>
                    <a:pt x="319" y="182"/>
                  </a:lnTo>
                  <a:lnTo>
                    <a:pt x="326" y="201"/>
                  </a:lnTo>
                  <a:lnTo>
                    <a:pt x="310" y="201"/>
                  </a:lnTo>
                  <a:lnTo>
                    <a:pt x="310" y="227"/>
                  </a:lnTo>
                  <a:lnTo>
                    <a:pt x="303" y="227"/>
                  </a:lnTo>
                  <a:lnTo>
                    <a:pt x="310" y="227"/>
                  </a:lnTo>
                  <a:lnTo>
                    <a:pt x="265" y="256"/>
                  </a:lnTo>
                  <a:lnTo>
                    <a:pt x="255" y="277"/>
                  </a:lnTo>
                  <a:lnTo>
                    <a:pt x="255" y="300"/>
                  </a:lnTo>
                  <a:lnTo>
                    <a:pt x="239" y="322"/>
                  </a:lnTo>
                  <a:lnTo>
                    <a:pt x="265" y="367"/>
                  </a:lnTo>
                  <a:lnTo>
                    <a:pt x="303" y="404"/>
                  </a:lnTo>
                  <a:lnTo>
                    <a:pt x="293" y="421"/>
                  </a:lnTo>
                  <a:lnTo>
                    <a:pt x="319" y="445"/>
                  </a:lnTo>
                  <a:lnTo>
                    <a:pt x="348" y="466"/>
                  </a:lnTo>
                  <a:lnTo>
                    <a:pt x="348" y="482"/>
                  </a:lnTo>
                  <a:lnTo>
                    <a:pt x="378" y="499"/>
                  </a:lnTo>
                  <a:lnTo>
                    <a:pt x="374" y="499"/>
                  </a:lnTo>
                  <a:lnTo>
                    <a:pt x="390" y="504"/>
                  </a:lnTo>
                  <a:lnTo>
                    <a:pt x="395" y="522"/>
                  </a:lnTo>
                  <a:lnTo>
                    <a:pt x="411" y="522"/>
                  </a:lnTo>
                  <a:lnTo>
                    <a:pt x="428" y="532"/>
                  </a:lnTo>
                  <a:lnTo>
                    <a:pt x="418" y="539"/>
                  </a:lnTo>
                  <a:lnTo>
                    <a:pt x="428" y="544"/>
                  </a:lnTo>
                  <a:lnTo>
                    <a:pt x="428" y="532"/>
                  </a:lnTo>
                  <a:lnTo>
                    <a:pt x="433" y="539"/>
                  </a:lnTo>
                  <a:lnTo>
                    <a:pt x="428" y="539"/>
                  </a:lnTo>
                  <a:lnTo>
                    <a:pt x="433" y="544"/>
                  </a:lnTo>
                  <a:lnTo>
                    <a:pt x="461" y="589"/>
                  </a:lnTo>
                  <a:lnTo>
                    <a:pt x="466" y="589"/>
                  </a:lnTo>
                  <a:lnTo>
                    <a:pt x="503" y="704"/>
                  </a:lnTo>
                  <a:lnTo>
                    <a:pt x="503" y="709"/>
                  </a:lnTo>
                  <a:lnTo>
                    <a:pt x="499" y="704"/>
                  </a:lnTo>
                  <a:lnTo>
                    <a:pt x="499" y="704"/>
                  </a:lnTo>
                  <a:lnTo>
                    <a:pt x="499" y="737"/>
                  </a:lnTo>
                  <a:lnTo>
                    <a:pt x="515" y="775"/>
                  </a:lnTo>
                  <a:lnTo>
                    <a:pt x="499" y="792"/>
                  </a:lnTo>
                  <a:lnTo>
                    <a:pt x="503" y="815"/>
                  </a:lnTo>
                  <a:lnTo>
                    <a:pt x="487" y="808"/>
                  </a:lnTo>
                  <a:lnTo>
                    <a:pt x="499" y="848"/>
                  </a:lnTo>
                  <a:lnTo>
                    <a:pt x="499" y="832"/>
                  </a:lnTo>
                  <a:lnTo>
                    <a:pt x="499" y="837"/>
                  </a:lnTo>
                  <a:lnTo>
                    <a:pt x="487" y="848"/>
                  </a:lnTo>
                  <a:lnTo>
                    <a:pt x="499" y="853"/>
                  </a:lnTo>
                  <a:lnTo>
                    <a:pt x="487" y="870"/>
                  </a:lnTo>
                  <a:lnTo>
                    <a:pt x="482" y="870"/>
                  </a:lnTo>
                  <a:lnTo>
                    <a:pt x="482" y="886"/>
                  </a:lnTo>
                  <a:lnTo>
                    <a:pt x="466" y="886"/>
                  </a:lnTo>
                  <a:lnTo>
                    <a:pt x="418" y="919"/>
                  </a:lnTo>
                  <a:lnTo>
                    <a:pt x="411" y="931"/>
                  </a:lnTo>
                  <a:lnTo>
                    <a:pt x="395" y="931"/>
                  </a:lnTo>
                  <a:lnTo>
                    <a:pt x="357" y="959"/>
                  </a:lnTo>
                  <a:lnTo>
                    <a:pt x="340" y="948"/>
                  </a:lnTo>
                  <a:lnTo>
                    <a:pt x="340" y="931"/>
                  </a:lnTo>
                  <a:lnTo>
                    <a:pt x="336" y="948"/>
                  </a:lnTo>
                  <a:lnTo>
                    <a:pt x="336" y="943"/>
                  </a:lnTo>
                  <a:lnTo>
                    <a:pt x="319" y="931"/>
                  </a:lnTo>
                  <a:lnTo>
                    <a:pt x="319" y="948"/>
                  </a:lnTo>
                  <a:lnTo>
                    <a:pt x="310" y="948"/>
                  </a:lnTo>
                  <a:lnTo>
                    <a:pt x="319" y="948"/>
                  </a:lnTo>
                  <a:lnTo>
                    <a:pt x="326" y="964"/>
                  </a:lnTo>
                  <a:lnTo>
                    <a:pt x="293" y="964"/>
                  </a:lnTo>
                  <a:lnTo>
                    <a:pt x="326" y="976"/>
                  </a:lnTo>
                  <a:lnTo>
                    <a:pt x="326" y="981"/>
                  </a:lnTo>
                  <a:lnTo>
                    <a:pt x="310" y="988"/>
                  </a:lnTo>
                  <a:lnTo>
                    <a:pt x="286" y="964"/>
                  </a:lnTo>
                  <a:lnTo>
                    <a:pt x="319" y="988"/>
                  </a:lnTo>
                  <a:lnTo>
                    <a:pt x="310" y="997"/>
                  </a:lnTo>
                  <a:lnTo>
                    <a:pt x="281" y="964"/>
                  </a:lnTo>
                  <a:lnTo>
                    <a:pt x="310" y="1004"/>
                  </a:lnTo>
                  <a:lnTo>
                    <a:pt x="310" y="1014"/>
                  </a:lnTo>
                  <a:lnTo>
                    <a:pt x="293" y="1021"/>
                  </a:lnTo>
                  <a:lnTo>
                    <a:pt x="255" y="981"/>
                  </a:lnTo>
                  <a:lnTo>
                    <a:pt x="281" y="1014"/>
                  </a:lnTo>
                  <a:lnTo>
                    <a:pt x="281" y="1030"/>
                  </a:lnTo>
                  <a:lnTo>
                    <a:pt x="234" y="1042"/>
                  </a:lnTo>
                  <a:lnTo>
                    <a:pt x="218" y="1075"/>
                  </a:lnTo>
                  <a:lnTo>
                    <a:pt x="201" y="1087"/>
                  </a:lnTo>
                  <a:lnTo>
                    <a:pt x="180" y="1087"/>
                  </a:lnTo>
                  <a:lnTo>
                    <a:pt x="194" y="1075"/>
                  </a:lnTo>
                  <a:lnTo>
                    <a:pt x="185" y="1070"/>
                  </a:lnTo>
                  <a:lnTo>
                    <a:pt x="185" y="1004"/>
                  </a:lnTo>
                  <a:lnTo>
                    <a:pt x="201" y="988"/>
                  </a:lnTo>
                  <a:lnTo>
                    <a:pt x="211" y="997"/>
                  </a:lnTo>
                  <a:lnTo>
                    <a:pt x="211" y="988"/>
                  </a:lnTo>
                  <a:lnTo>
                    <a:pt x="185" y="964"/>
                  </a:lnTo>
                  <a:lnTo>
                    <a:pt x="173" y="976"/>
                  </a:lnTo>
                  <a:lnTo>
                    <a:pt x="163" y="959"/>
                  </a:lnTo>
                  <a:lnTo>
                    <a:pt x="173" y="948"/>
                  </a:lnTo>
                  <a:lnTo>
                    <a:pt x="194" y="943"/>
                  </a:lnTo>
                  <a:lnTo>
                    <a:pt x="201" y="931"/>
                  </a:lnTo>
                  <a:lnTo>
                    <a:pt x="201" y="919"/>
                  </a:lnTo>
                  <a:lnTo>
                    <a:pt x="211" y="919"/>
                  </a:lnTo>
                  <a:lnTo>
                    <a:pt x="227" y="919"/>
                  </a:lnTo>
                  <a:lnTo>
                    <a:pt x="234" y="919"/>
                  </a:lnTo>
                  <a:lnTo>
                    <a:pt x="255" y="910"/>
                  </a:lnTo>
                  <a:lnTo>
                    <a:pt x="281" y="926"/>
                  </a:lnTo>
                  <a:lnTo>
                    <a:pt x="281" y="910"/>
                  </a:lnTo>
                  <a:lnTo>
                    <a:pt x="255" y="893"/>
                  </a:lnTo>
                  <a:lnTo>
                    <a:pt x="255" y="870"/>
                  </a:lnTo>
                  <a:lnTo>
                    <a:pt x="265" y="865"/>
                  </a:lnTo>
                  <a:lnTo>
                    <a:pt x="272" y="853"/>
                  </a:lnTo>
                  <a:lnTo>
                    <a:pt x="303" y="865"/>
                  </a:lnTo>
                  <a:lnTo>
                    <a:pt x="293" y="837"/>
                  </a:lnTo>
                  <a:lnTo>
                    <a:pt x="319" y="837"/>
                  </a:lnTo>
                  <a:lnTo>
                    <a:pt x="348" y="815"/>
                  </a:lnTo>
                  <a:lnTo>
                    <a:pt x="364" y="815"/>
                  </a:lnTo>
                  <a:lnTo>
                    <a:pt x="374" y="820"/>
                  </a:lnTo>
                  <a:lnTo>
                    <a:pt x="378" y="815"/>
                  </a:lnTo>
                  <a:lnTo>
                    <a:pt x="378" y="792"/>
                  </a:lnTo>
                  <a:lnTo>
                    <a:pt x="374" y="766"/>
                  </a:lnTo>
                  <a:lnTo>
                    <a:pt x="378" y="726"/>
                  </a:lnTo>
                  <a:lnTo>
                    <a:pt x="374" y="704"/>
                  </a:lnTo>
                  <a:lnTo>
                    <a:pt x="374" y="700"/>
                  </a:lnTo>
                  <a:lnTo>
                    <a:pt x="374" y="700"/>
                  </a:lnTo>
                  <a:lnTo>
                    <a:pt x="374" y="700"/>
                  </a:lnTo>
                  <a:close/>
                  <a:moveTo>
                    <a:pt x="374" y="149"/>
                  </a:moveTo>
                  <a:lnTo>
                    <a:pt x="378" y="156"/>
                  </a:lnTo>
                  <a:lnTo>
                    <a:pt x="364" y="166"/>
                  </a:lnTo>
                  <a:lnTo>
                    <a:pt x="374" y="149"/>
                  </a:lnTo>
                  <a:lnTo>
                    <a:pt x="374" y="149"/>
                  </a:lnTo>
                  <a:lnTo>
                    <a:pt x="374" y="149"/>
                  </a:lnTo>
                  <a:close/>
                  <a:moveTo>
                    <a:pt x="378" y="173"/>
                  </a:moveTo>
                  <a:lnTo>
                    <a:pt x="374" y="182"/>
                  </a:lnTo>
                  <a:lnTo>
                    <a:pt x="364" y="182"/>
                  </a:lnTo>
                  <a:lnTo>
                    <a:pt x="378" y="173"/>
                  </a:lnTo>
                  <a:lnTo>
                    <a:pt x="378" y="173"/>
                  </a:lnTo>
                  <a:lnTo>
                    <a:pt x="378" y="173"/>
                  </a:lnTo>
                  <a:close/>
                  <a:moveTo>
                    <a:pt x="326" y="182"/>
                  </a:moveTo>
                  <a:lnTo>
                    <a:pt x="326" y="182"/>
                  </a:lnTo>
                  <a:lnTo>
                    <a:pt x="336" y="189"/>
                  </a:lnTo>
                  <a:lnTo>
                    <a:pt x="326" y="182"/>
                  </a:lnTo>
                  <a:lnTo>
                    <a:pt x="326" y="182"/>
                  </a:lnTo>
                  <a:lnTo>
                    <a:pt x="326" y="182"/>
                  </a:lnTo>
                  <a:close/>
                  <a:moveTo>
                    <a:pt x="336" y="182"/>
                  </a:moveTo>
                  <a:lnTo>
                    <a:pt x="348" y="189"/>
                  </a:lnTo>
                  <a:lnTo>
                    <a:pt x="340" y="201"/>
                  </a:lnTo>
                  <a:lnTo>
                    <a:pt x="336" y="182"/>
                  </a:lnTo>
                  <a:lnTo>
                    <a:pt x="336" y="182"/>
                  </a:lnTo>
                  <a:lnTo>
                    <a:pt x="336" y="182"/>
                  </a:lnTo>
                  <a:close/>
                  <a:moveTo>
                    <a:pt x="326" y="931"/>
                  </a:moveTo>
                  <a:lnTo>
                    <a:pt x="326" y="943"/>
                  </a:lnTo>
                  <a:lnTo>
                    <a:pt x="326" y="959"/>
                  </a:lnTo>
                  <a:lnTo>
                    <a:pt x="326" y="948"/>
                  </a:lnTo>
                  <a:lnTo>
                    <a:pt x="326" y="931"/>
                  </a:lnTo>
                  <a:lnTo>
                    <a:pt x="326" y="931"/>
                  </a:lnTo>
                  <a:lnTo>
                    <a:pt x="326" y="931"/>
                  </a:lnTo>
                  <a:close/>
                  <a:moveTo>
                    <a:pt x="336" y="948"/>
                  </a:moveTo>
                  <a:lnTo>
                    <a:pt x="340" y="959"/>
                  </a:lnTo>
                  <a:lnTo>
                    <a:pt x="336" y="959"/>
                  </a:lnTo>
                  <a:lnTo>
                    <a:pt x="336" y="948"/>
                  </a:lnTo>
                  <a:lnTo>
                    <a:pt x="336" y="948"/>
                  </a:lnTo>
                  <a:lnTo>
                    <a:pt x="336" y="948"/>
                  </a:lnTo>
                  <a:close/>
                  <a:moveTo>
                    <a:pt x="130" y="948"/>
                  </a:moveTo>
                  <a:lnTo>
                    <a:pt x="130" y="959"/>
                  </a:lnTo>
                  <a:lnTo>
                    <a:pt x="130" y="981"/>
                  </a:lnTo>
                  <a:lnTo>
                    <a:pt x="118" y="959"/>
                  </a:lnTo>
                  <a:lnTo>
                    <a:pt x="130" y="948"/>
                  </a:lnTo>
                  <a:lnTo>
                    <a:pt x="130" y="948"/>
                  </a:lnTo>
                  <a:lnTo>
                    <a:pt x="130" y="94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 name="Gruppieren 4">
            <a:extLst>
              <a:ext uri="{FF2B5EF4-FFF2-40B4-BE49-F238E27FC236}">
                <a16:creationId xmlns:a16="http://schemas.microsoft.com/office/drawing/2014/main" id="{3BA44445-B4F1-44FB-8302-8062AAEE1555}"/>
              </a:ext>
            </a:extLst>
          </p:cNvPr>
          <p:cNvGrpSpPr/>
          <p:nvPr/>
        </p:nvGrpSpPr>
        <p:grpSpPr bwMode="gray">
          <a:xfrm>
            <a:off x="3007189" y="3346861"/>
            <a:ext cx="2412800" cy="2865131"/>
            <a:chOff x="3308961" y="3058829"/>
            <a:chExt cx="2412800" cy="2865131"/>
          </a:xfrm>
          <a:pattFill prst="wdUpDiag">
            <a:fgClr>
              <a:schemeClr val="accent2"/>
            </a:fgClr>
            <a:bgClr>
              <a:schemeClr val="bg1"/>
            </a:bgClr>
          </a:pattFill>
        </p:grpSpPr>
        <p:sp>
          <p:nvSpPr>
            <p:cNvPr id="7998" name="Freeform 377">
              <a:extLst>
                <a:ext uri="{FF2B5EF4-FFF2-40B4-BE49-F238E27FC236}">
                  <a16:creationId xmlns:a16="http://schemas.microsoft.com/office/drawing/2014/main" id="{2E51DCBA-A431-4724-88A0-822C4B9D4CBF}"/>
                </a:ext>
              </a:extLst>
            </p:cNvPr>
            <p:cNvSpPr>
              <a:spLocks/>
            </p:cNvSpPr>
            <p:nvPr/>
          </p:nvSpPr>
          <p:spPr bwMode="gray">
            <a:xfrm>
              <a:off x="4700407" y="3689166"/>
              <a:ext cx="6998" cy="6999"/>
            </a:xfrm>
            <a:custGeom>
              <a:avLst/>
              <a:gdLst>
                <a:gd name="T0" fmla="*/ 17 w 17"/>
                <a:gd name="T1" fmla="*/ 17 h 17"/>
                <a:gd name="T2" fmla="*/ 0 w 17"/>
                <a:gd name="T3" fmla="*/ 7 h 17"/>
                <a:gd name="T4" fmla="*/ 0 w 17"/>
                <a:gd name="T5" fmla="*/ 0 h 17"/>
                <a:gd name="T6" fmla="*/ 17 w 17"/>
                <a:gd name="T7" fmla="*/ 17 h 17"/>
                <a:gd name="T8" fmla="*/ 17 w 17"/>
                <a:gd name="T9" fmla="*/ 17 h 17"/>
                <a:gd name="T10" fmla="*/ 17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17" y="17"/>
                  </a:moveTo>
                  <a:lnTo>
                    <a:pt x="0" y="7"/>
                  </a:lnTo>
                  <a:lnTo>
                    <a:pt x="0" y="0"/>
                  </a:lnTo>
                  <a:lnTo>
                    <a:pt x="17" y="17"/>
                  </a:lnTo>
                  <a:lnTo>
                    <a:pt x="17" y="17"/>
                  </a:lnTo>
                  <a:lnTo>
                    <a:pt x="17"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99" name="Freeform 378">
              <a:extLst>
                <a:ext uri="{FF2B5EF4-FFF2-40B4-BE49-F238E27FC236}">
                  <a16:creationId xmlns:a16="http://schemas.microsoft.com/office/drawing/2014/main" id="{3084FC8C-0030-4F5E-AAF7-67ED6087F36E}"/>
                </a:ext>
              </a:extLst>
            </p:cNvPr>
            <p:cNvSpPr>
              <a:spLocks noEditPoints="1"/>
            </p:cNvSpPr>
            <p:nvPr/>
          </p:nvSpPr>
          <p:spPr bwMode="gray">
            <a:xfrm>
              <a:off x="4937941" y="3535595"/>
              <a:ext cx="6587" cy="23468"/>
            </a:xfrm>
            <a:custGeom>
              <a:avLst/>
              <a:gdLst>
                <a:gd name="T0" fmla="*/ 16 w 16"/>
                <a:gd name="T1" fmla="*/ 12 h 57"/>
                <a:gd name="T2" fmla="*/ 9 w 16"/>
                <a:gd name="T3" fmla="*/ 5 h 57"/>
                <a:gd name="T4" fmla="*/ 9 w 16"/>
                <a:gd name="T5" fmla="*/ 0 h 57"/>
                <a:gd name="T6" fmla="*/ 16 w 16"/>
                <a:gd name="T7" fmla="*/ 5 h 57"/>
                <a:gd name="T8" fmla="*/ 16 w 16"/>
                <a:gd name="T9" fmla="*/ 12 h 57"/>
                <a:gd name="T10" fmla="*/ 16 w 16"/>
                <a:gd name="T11" fmla="*/ 12 h 57"/>
                <a:gd name="T12" fmla="*/ 16 w 16"/>
                <a:gd name="T13" fmla="*/ 12 h 57"/>
                <a:gd name="T14" fmla="*/ 16 w 16"/>
                <a:gd name="T15" fmla="*/ 57 h 57"/>
                <a:gd name="T16" fmla="*/ 0 w 16"/>
                <a:gd name="T17" fmla="*/ 45 h 57"/>
                <a:gd name="T18" fmla="*/ 9 w 16"/>
                <a:gd name="T19" fmla="*/ 40 h 57"/>
                <a:gd name="T20" fmla="*/ 16 w 16"/>
                <a:gd name="T21" fmla="*/ 45 h 57"/>
                <a:gd name="T22" fmla="*/ 16 w 16"/>
                <a:gd name="T23" fmla="*/ 57 h 57"/>
                <a:gd name="T24" fmla="*/ 16 w 16"/>
                <a:gd name="T25" fmla="*/ 57 h 57"/>
                <a:gd name="T26" fmla="*/ 16 w 16"/>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57">
                  <a:moveTo>
                    <a:pt x="16" y="12"/>
                  </a:moveTo>
                  <a:lnTo>
                    <a:pt x="9" y="5"/>
                  </a:lnTo>
                  <a:lnTo>
                    <a:pt x="9" y="0"/>
                  </a:lnTo>
                  <a:lnTo>
                    <a:pt x="16" y="5"/>
                  </a:lnTo>
                  <a:lnTo>
                    <a:pt x="16" y="12"/>
                  </a:lnTo>
                  <a:lnTo>
                    <a:pt x="16" y="12"/>
                  </a:lnTo>
                  <a:lnTo>
                    <a:pt x="16" y="12"/>
                  </a:lnTo>
                  <a:close/>
                  <a:moveTo>
                    <a:pt x="16" y="57"/>
                  </a:moveTo>
                  <a:lnTo>
                    <a:pt x="0" y="45"/>
                  </a:lnTo>
                  <a:lnTo>
                    <a:pt x="9" y="40"/>
                  </a:lnTo>
                  <a:lnTo>
                    <a:pt x="16" y="45"/>
                  </a:lnTo>
                  <a:lnTo>
                    <a:pt x="16" y="57"/>
                  </a:lnTo>
                  <a:lnTo>
                    <a:pt x="16" y="57"/>
                  </a:lnTo>
                  <a:lnTo>
                    <a:pt x="16" y="5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07" name="Freeform 387">
              <a:extLst>
                <a:ext uri="{FF2B5EF4-FFF2-40B4-BE49-F238E27FC236}">
                  <a16:creationId xmlns:a16="http://schemas.microsoft.com/office/drawing/2014/main" id="{27C2058A-B67A-4173-9EF7-FA31579AB60E}"/>
                </a:ext>
              </a:extLst>
            </p:cNvPr>
            <p:cNvSpPr>
              <a:spLocks noEditPoints="1"/>
            </p:cNvSpPr>
            <p:nvPr/>
          </p:nvSpPr>
          <p:spPr bwMode="gray">
            <a:xfrm>
              <a:off x="4601195" y="4722984"/>
              <a:ext cx="573045" cy="1164333"/>
            </a:xfrm>
            <a:custGeom>
              <a:avLst/>
              <a:gdLst>
                <a:gd name="T0" fmla="*/ 508 w 1392"/>
                <a:gd name="T1" fmla="*/ 21 h 2828"/>
                <a:gd name="T2" fmla="*/ 652 w 1392"/>
                <a:gd name="T3" fmla="*/ 54 h 2828"/>
                <a:gd name="T4" fmla="*/ 870 w 1392"/>
                <a:gd name="T5" fmla="*/ 132 h 2828"/>
                <a:gd name="T6" fmla="*/ 1118 w 1392"/>
                <a:gd name="T7" fmla="*/ 267 h 2828"/>
                <a:gd name="T8" fmla="*/ 1080 w 1392"/>
                <a:gd name="T9" fmla="*/ 333 h 2828"/>
                <a:gd name="T10" fmla="*/ 1170 w 1392"/>
                <a:gd name="T11" fmla="*/ 428 h 2828"/>
                <a:gd name="T12" fmla="*/ 1245 w 1392"/>
                <a:gd name="T13" fmla="*/ 428 h 2828"/>
                <a:gd name="T14" fmla="*/ 1333 w 1392"/>
                <a:gd name="T15" fmla="*/ 284 h 2828"/>
                <a:gd name="T16" fmla="*/ 1392 w 1392"/>
                <a:gd name="T17" fmla="*/ 350 h 2828"/>
                <a:gd name="T18" fmla="*/ 1278 w 1392"/>
                <a:gd name="T19" fmla="*/ 465 h 2828"/>
                <a:gd name="T20" fmla="*/ 1208 w 1392"/>
                <a:gd name="T21" fmla="*/ 539 h 2828"/>
                <a:gd name="T22" fmla="*/ 1118 w 1392"/>
                <a:gd name="T23" fmla="*/ 650 h 2828"/>
                <a:gd name="T24" fmla="*/ 1094 w 1392"/>
                <a:gd name="T25" fmla="*/ 754 h 2828"/>
                <a:gd name="T26" fmla="*/ 1063 w 1392"/>
                <a:gd name="T27" fmla="*/ 876 h 2828"/>
                <a:gd name="T28" fmla="*/ 1059 w 1392"/>
                <a:gd name="T29" fmla="*/ 997 h 2828"/>
                <a:gd name="T30" fmla="*/ 1156 w 1392"/>
                <a:gd name="T31" fmla="*/ 1141 h 2828"/>
                <a:gd name="T32" fmla="*/ 1068 w 1392"/>
                <a:gd name="T33" fmla="*/ 1321 h 2828"/>
                <a:gd name="T34" fmla="*/ 787 w 1392"/>
                <a:gd name="T35" fmla="*/ 1387 h 2828"/>
                <a:gd name="T36" fmla="*/ 787 w 1392"/>
                <a:gd name="T37" fmla="*/ 1465 h 2828"/>
                <a:gd name="T38" fmla="*/ 740 w 1392"/>
                <a:gd name="T39" fmla="*/ 1547 h 2828"/>
                <a:gd name="T40" fmla="*/ 593 w 1392"/>
                <a:gd name="T41" fmla="*/ 1547 h 2828"/>
                <a:gd name="T42" fmla="*/ 638 w 1392"/>
                <a:gd name="T43" fmla="*/ 1658 h 2828"/>
                <a:gd name="T44" fmla="*/ 702 w 1392"/>
                <a:gd name="T45" fmla="*/ 1668 h 2828"/>
                <a:gd name="T46" fmla="*/ 600 w 1392"/>
                <a:gd name="T47" fmla="*/ 1680 h 2828"/>
                <a:gd name="T48" fmla="*/ 584 w 1392"/>
                <a:gd name="T49" fmla="*/ 1791 h 2828"/>
                <a:gd name="T50" fmla="*/ 563 w 1392"/>
                <a:gd name="T51" fmla="*/ 1869 h 2828"/>
                <a:gd name="T52" fmla="*/ 421 w 1392"/>
                <a:gd name="T53" fmla="*/ 2013 h 2828"/>
                <a:gd name="T54" fmla="*/ 518 w 1392"/>
                <a:gd name="T55" fmla="*/ 2140 h 2828"/>
                <a:gd name="T56" fmla="*/ 421 w 1392"/>
                <a:gd name="T57" fmla="*/ 2251 h 2828"/>
                <a:gd name="T58" fmla="*/ 369 w 1392"/>
                <a:gd name="T59" fmla="*/ 2350 h 2828"/>
                <a:gd name="T60" fmla="*/ 315 w 1392"/>
                <a:gd name="T61" fmla="*/ 2391 h 2828"/>
                <a:gd name="T62" fmla="*/ 324 w 1392"/>
                <a:gd name="T63" fmla="*/ 2495 h 2828"/>
                <a:gd name="T64" fmla="*/ 93 w 1392"/>
                <a:gd name="T65" fmla="*/ 2502 h 2828"/>
                <a:gd name="T66" fmla="*/ 60 w 1392"/>
                <a:gd name="T67" fmla="*/ 2400 h 2828"/>
                <a:gd name="T68" fmla="*/ 8 w 1392"/>
                <a:gd name="T69" fmla="*/ 2322 h 2828"/>
                <a:gd name="T70" fmla="*/ 38 w 1392"/>
                <a:gd name="T71" fmla="*/ 2239 h 2828"/>
                <a:gd name="T72" fmla="*/ 83 w 1392"/>
                <a:gd name="T73" fmla="*/ 2112 h 2828"/>
                <a:gd name="T74" fmla="*/ 130 w 1392"/>
                <a:gd name="T75" fmla="*/ 1996 h 2828"/>
                <a:gd name="T76" fmla="*/ 147 w 1392"/>
                <a:gd name="T77" fmla="*/ 1923 h 2828"/>
                <a:gd name="T78" fmla="*/ 180 w 1392"/>
                <a:gd name="T79" fmla="*/ 1835 h 2828"/>
                <a:gd name="T80" fmla="*/ 130 w 1392"/>
                <a:gd name="T81" fmla="*/ 1769 h 2828"/>
                <a:gd name="T82" fmla="*/ 97 w 1392"/>
                <a:gd name="T83" fmla="*/ 1713 h 2828"/>
                <a:gd name="T84" fmla="*/ 130 w 1392"/>
                <a:gd name="T85" fmla="*/ 1625 h 2828"/>
                <a:gd name="T86" fmla="*/ 130 w 1392"/>
                <a:gd name="T87" fmla="*/ 1474 h 2828"/>
                <a:gd name="T88" fmla="*/ 152 w 1392"/>
                <a:gd name="T89" fmla="*/ 1354 h 2828"/>
                <a:gd name="T90" fmla="*/ 180 w 1392"/>
                <a:gd name="T91" fmla="*/ 1235 h 2828"/>
                <a:gd name="T92" fmla="*/ 201 w 1392"/>
                <a:gd name="T93" fmla="*/ 1132 h 2828"/>
                <a:gd name="T94" fmla="*/ 244 w 1392"/>
                <a:gd name="T95" fmla="*/ 976 h 2828"/>
                <a:gd name="T96" fmla="*/ 244 w 1392"/>
                <a:gd name="T97" fmla="*/ 888 h 2828"/>
                <a:gd name="T98" fmla="*/ 239 w 1392"/>
                <a:gd name="T99" fmla="*/ 782 h 2828"/>
                <a:gd name="T100" fmla="*/ 239 w 1392"/>
                <a:gd name="T101" fmla="*/ 666 h 2828"/>
                <a:gd name="T102" fmla="*/ 308 w 1392"/>
                <a:gd name="T103" fmla="*/ 477 h 2828"/>
                <a:gd name="T104" fmla="*/ 362 w 1392"/>
                <a:gd name="T105" fmla="*/ 333 h 2828"/>
                <a:gd name="T106" fmla="*/ 438 w 1392"/>
                <a:gd name="T107" fmla="*/ 165 h 2828"/>
                <a:gd name="T108" fmla="*/ 799 w 1392"/>
                <a:gd name="T109" fmla="*/ 1370 h 2828"/>
                <a:gd name="T110" fmla="*/ 345 w 1392"/>
                <a:gd name="T111" fmla="*/ 2589 h 2828"/>
                <a:gd name="T112" fmla="*/ 378 w 1392"/>
                <a:gd name="T113" fmla="*/ 2655 h 2828"/>
                <a:gd name="T114" fmla="*/ 593 w 1392"/>
                <a:gd name="T115" fmla="*/ 2790 h 2828"/>
                <a:gd name="T116" fmla="*/ 345 w 1392"/>
                <a:gd name="T117" fmla="*/ 2806 h 2828"/>
                <a:gd name="T118" fmla="*/ 686 w 1392"/>
                <a:gd name="T119" fmla="*/ 2794 h 2828"/>
                <a:gd name="T120" fmla="*/ 345 w 1392"/>
                <a:gd name="T121" fmla="*/ 2811 h 2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92" h="2828">
                  <a:moveTo>
                    <a:pt x="449" y="78"/>
                  </a:moveTo>
                  <a:lnTo>
                    <a:pt x="466" y="61"/>
                  </a:lnTo>
                  <a:lnTo>
                    <a:pt x="466" y="54"/>
                  </a:lnTo>
                  <a:lnTo>
                    <a:pt x="475" y="45"/>
                  </a:lnTo>
                  <a:lnTo>
                    <a:pt x="475" y="33"/>
                  </a:lnTo>
                  <a:lnTo>
                    <a:pt x="508" y="21"/>
                  </a:lnTo>
                  <a:lnTo>
                    <a:pt x="518" y="0"/>
                  </a:lnTo>
                  <a:lnTo>
                    <a:pt x="546" y="21"/>
                  </a:lnTo>
                  <a:lnTo>
                    <a:pt x="600" y="21"/>
                  </a:lnTo>
                  <a:lnTo>
                    <a:pt x="631" y="33"/>
                  </a:lnTo>
                  <a:lnTo>
                    <a:pt x="648" y="78"/>
                  </a:lnTo>
                  <a:lnTo>
                    <a:pt x="652" y="54"/>
                  </a:lnTo>
                  <a:lnTo>
                    <a:pt x="681" y="17"/>
                  </a:lnTo>
                  <a:lnTo>
                    <a:pt x="756" y="17"/>
                  </a:lnTo>
                  <a:lnTo>
                    <a:pt x="761" y="33"/>
                  </a:lnTo>
                  <a:lnTo>
                    <a:pt x="794" y="54"/>
                  </a:lnTo>
                  <a:lnTo>
                    <a:pt x="811" y="95"/>
                  </a:lnTo>
                  <a:lnTo>
                    <a:pt x="870" y="132"/>
                  </a:lnTo>
                  <a:lnTo>
                    <a:pt x="879" y="149"/>
                  </a:lnTo>
                  <a:lnTo>
                    <a:pt x="934" y="165"/>
                  </a:lnTo>
                  <a:lnTo>
                    <a:pt x="950" y="165"/>
                  </a:lnTo>
                  <a:lnTo>
                    <a:pt x="1030" y="227"/>
                  </a:lnTo>
                  <a:lnTo>
                    <a:pt x="1101" y="255"/>
                  </a:lnTo>
                  <a:lnTo>
                    <a:pt x="1118" y="267"/>
                  </a:lnTo>
                  <a:lnTo>
                    <a:pt x="1123" y="276"/>
                  </a:lnTo>
                  <a:lnTo>
                    <a:pt x="1123" y="284"/>
                  </a:lnTo>
                  <a:lnTo>
                    <a:pt x="1101" y="300"/>
                  </a:lnTo>
                  <a:lnTo>
                    <a:pt x="1101" y="317"/>
                  </a:lnTo>
                  <a:lnTo>
                    <a:pt x="1101" y="317"/>
                  </a:lnTo>
                  <a:lnTo>
                    <a:pt x="1080" y="333"/>
                  </a:lnTo>
                  <a:lnTo>
                    <a:pt x="1080" y="371"/>
                  </a:lnTo>
                  <a:lnTo>
                    <a:pt x="1047" y="411"/>
                  </a:lnTo>
                  <a:lnTo>
                    <a:pt x="1047" y="421"/>
                  </a:lnTo>
                  <a:lnTo>
                    <a:pt x="1111" y="421"/>
                  </a:lnTo>
                  <a:lnTo>
                    <a:pt x="1156" y="432"/>
                  </a:lnTo>
                  <a:lnTo>
                    <a:pt x="1170" y="428"/>
                  </a:lnTo>
                  <a:lnTo>
                    <a:pt x="1177" y="432"/>
                  </a:lnTo>
                  <a:lnTo>
                    <a:pt x="1193" y="432"/>
                  </a:lnTo>
                  <a:lnTo>
                    <a:pt x="1203" y="444"/>
                  </a:lnTo>
                  <a:lnTo>
                    <a:pt x="1224" y="421"/>
                  </a:lnTo>
                  <a:lnTo>
                    <a:pt x="1241" y="421"/>
                  </a:lnTo>
                  <a:lnTo>
                    <a:pt x="1245" y="428"/>
                  </a:lnTo>
                  <a:lnTo>
                    <a:pt x="1262" y="421"/>
                  </a:lnTo>
                  <a:lnTo>
                    <a:pt x="1262" y="404"/>
                  </a:lnTo>
                  <a:lnTo>
                    <a:pt x="1274" y="395"/>
                  </a:lnTo>
                  <a:lnTo>
                    <a:pt x="1300" y="378"/>
                  </a:lnTo>
                  <a:lnTo>
                    <a:pt x="1328" y="354"/>
                  </a:lnTo>
                  <a:lnTo>
                    <a:pt x="1333" y="284"/>
                  </a:lnTo>
                  <a:lnTo>
                    <a:pt x="1337" y="293"/>
                  </a:lnTo>
                  <a:lnTo>
                    <a:pt x="1366" y="276"/>
                  </a:lnTo>
                  <a:lnTo>
                    <a:pt x="1380" y="293"/>
                  </a:lnTo>
                  <a:lnTo>
                    <a:pt x="1387" y="317"/>
                  </a:lnTo>
                  <a:lnTo>
                    <a:pt x="1392" y="338"/>
                  </a:lnTo>
                  <a:lnTo>
                    <a:pt x="1392" y="350"/>
                  </a:lnTo>
                  <a:lnTo>
                    <a:pt x="1392" y="387"/>
                  </a:lnTo>
                  <a:lnTo>
                    <a:pt x="1387" y="404"/>
                  </a:lnTo>
                  <a:lnTo>
                    <a:pt x="1349" y="428"/>
                  </a:lnTo>
                  <a:lnTo>
                    <a:pt x="1316" y="432"/>
                  </a:lnTo>
                  <a:lnTo>
                    <a:pt x="1300" y="461"/>
                  </a:lnTo>
                  <a:lnTo>
                    <a:pt x="1278" y="465"/>
                  </a:lnTo>
                  <a:lnTo>
                    <a:pt x="1274" y="482"/>
                  </a:lnTo>
                  <a:lnTo>
                    <a:pt x="1245" y="489"/>
                  </a:lnTo>
                  <a:lnTo>
                    <a:pt x="1257" y="498"/>
                  </a:lnTo>
                  <a:lnTo>
                    <a:pt x="1257" y="506"/>
                  </a:lnTo>
                  <a:lnTo>
                    <a:pt x="1241" y="506"/>
                  </a:lnTo>
                  <a:lnTo>
                    <a:pt x="1208" y="539"/>
                  </a:lnTo>
                  <a:lnTo>
                    <a:pt x="1203" y="560"/>
                  </a:lnTo>
                  <a:lnTo>
                    <a:pt x="1186" y="560"/>
                  </a:lnTo>
                  <a:lnTo>
                    <a:pt x="1156" y="610"/>
                  </a:lnTo>
                  <a:lnTo>
                    <a:pt x="1139" y="614"/>
                  </a:lnTo>
                  <a:lnTo>
                    <a:pt x="1139" y="633"/>
                  </a:lnTo>
                  <a:lnTo>
                    <a:pt x="1118" y="650"/>
                  </a:lnTo>
                  <a:lnTo>
                    <a:pt x="1118" y="654"/>
                  </a:lnTo>
                  <a:lnTo>
                    <a:pt x="1101" y="671"/>
                  </a:lnTo>
                  <a:lnTo>
                    <a:pt x="1111" y="699"/>
                  </a:lnTo>
                  <a:lnTo>
                    <a:pt x="1094" y="725"/>
                  </a:lnTo>
                  <a:lnTo>
                    <a:pt x="1085" y="742"/>
                  </a:lnTo>
                  <a:lnTo>
                    <a:pt x="1094" y="754"/>
                  </a:lnTo>
                  <a:lnTo>
                    <a:pt x="1085" y="765"/>
                  </a:lnTo>
                  <a:lnTo>
                    <a:pt x="1080" y="782"/>
                  </a:lnTo>
                  <a:lnTo>
                    <a:pt x="1085" y="815"/>
                  </a:lnTo>
                  <a:lnTo>
                    <a:pt x="1080" y="820"/>
                  </a:lnTo>
                  <a:lnTo>
                    <a:pt x="1080" y="869"/>
                  </a:lnTo>
                  <a:lnTo>
                    <a:pt x="1063" y="876"/>
                  </a:lnTo>
                  <a:lnTo>
                    <a:pt x="1059" y="910"/>
                  </a:lnTo>
                  <a:lnTo>
                    <a:pt x="1059" y="926"/>
                  </a:lnTo>
                  <a:lnTo>
                    <a:pt x="1063" y="959"/>
                  </a:lnTo>
                  <a:lnTo>
                    <a:pt x="1063" y="964"/>
                  </a:lnTo>
                  <a:lnTo>
                    <a:pt x="1059" y="976"/>
                  </a:lnTo>
                  <a:lnTo>
                    <a:pt x="1059" y="997"/>
                  </a:lnTo>
                  <a:lnTo>
                    <a:pt x="1123" y="1037"/>
                  </a:lnTo>
                  <a:lnTo>
                    <a:pt x="1149" y="1058"/>
                  </a:lnTo>
                  <a:lnTo>
                    <a:pt x="1156" y="1070"/>
                  </a:lnTo>
                  <a:lnTo>
                    <a:pt x="1132" y="1091"/>
                  </a:lnTo>
                  <a:lnTo>
                    <a:pt x="1132" y="1108"/>
                  </a:lnTo>
                  <a:lnTo>
                    <a:pt x="1156" y="1141"/>
                  </a:lnTo>
                  <a:lnTo>
                    <a:pt x="1165" y="1141"/>
                  </a:lnTo>
                  <a:lnTo>
                    <a:pt x="1177" y="1141"/>
                  </a:lnTo>
                  <a:lnTo>
                    <a:pt x="1186" y="1186"/>
                  </a:lnTo>
                  <a:lnTo>
                    <a:pt x="1123" y="1264"/>
                  </a:lnTo>
                  <a:lnTo>
                    <a:pt x="1123" y="1292"/>
                  </a:lnTo>
                  <a:lnTo>
                    <a:pt x="1068" y="1321"/>
                  </a:lnTo>
                  <a:lnTo>
                    <a:pt x="960" y="1347"/>
                  </a:lnTo>
                  <a:lnTo>
                    <a:pt x="879" y="1363"/>
                  </a:lnTo>
                  <a:lnTo>
                    <a:pt x="825" y="1363"/>
                  </a:lnTo>
                  <a:lnTo>
                    <a:pt x="787" y="1347"/>
                  </a:lnTo>
                  <a:lnTo>
                    <a:pt x="794" y="1363"/>
                  </a:lnTo>
                  <a:lnTo>
                    <a:pt x="787" y="1387"/>
                  </a:lnTo>
                  <a:lnTo>
                    <a:pt x="811" y="1391"/>
                  </a:lnTo>
                  <a:lnTo>
                    <a:pt x="794" y="1391"/>
                  </a:lnTo>
                  <a:lnTo>
                    <a:pt x="811" y="1408"/>
                  </a:lnTo>
                  <a:lnTo>
                    <a:pt x="799" y="1432"/>
                  </a:lnTo>
                  <a:lnTo>
                    <a:pt x="794" y="1432"/>
                  </a:lnTo>
                  <a:lnTo>
                    <a:pt x="787" y="1465"/>
                  </a:lnTo>
                  <a:lnTo>
                    <a:pt x="778" y="1474"/>
                  </a:lnTo>
                  <a:lnTo>
                    <a:pt x="794" y="1498"/>
                  </a:lnTo>
                  <a:lnTo>
                    <a:pt x="787" y="1502"/>
                  </a:lnTo>
                  <a:lnTo>
                    <a:pt x="799" y="1502"/>
                  </a:lnTo>
                  <a:lnTo>
                    <a:pt x="787" y="1531"/>
                  </a:lnTo>
                  <a:lnTo>
                    <a:pt x="740" y="1547"/>
                  </a:lnTo>
                  <a:lnTo>
                    <a:pt x="686" y="1547"/>
                  </a:lnTo>
                  <a:lnTo>
                    <a:pt x="626" y="1519"/>
                  </a:lnTo>
                  <a:lnTo>
                    <a:pt x="615" y="1514"/>
                  </a:lnTo>
                  <a:lnTo>
                    <a:pt x="600" y="1514"/>
                  </a:lnTo>
                  <a:lnTo>
                    <a:pt x="593" y="1519"/>
                  </a:lnTo>
                  <a:lnTo>
                    <a:pt x="593" y="1547"/>
                  </a:lnTo>
                  <a:lnTo>
                    <a:pt x="600" y="1576"/>
                  </a:lnTo>
                  <a:lnTo>
                    <a:pt x="593" y="1613"/>
                  </a:lnTo>
                  <a:lnTo>
                    <a:pt x="600" y="1625"/>
                  </a:lnTo>
                  <a:lnTo>
                    <a:pt x="638" y="1642"/>
                  </a:lnTo>
                  <a:lnTo>
                    <a:pt x="631" y="1658"/>
                  </a:lnTo>
                  <a:lnTo>
                    <a:pt x="638" y="1658"/>
                  </a:lnTo>
                  <a:lnTo>
                    <a:pt x="664" y="1658"/>
                  </a:lnTo>
                  <a:lnTo>
                    <a:pt x="669" y="1642"/>
                  </a:lnTo>
                  <a:lnTo>
                    <a:pt x="648" y="1642"/>
                  </a:lnTo>
                  <a:lnTo>
                    <a:pt x="686" y="1625"/>
                  </a:lnTo>
                  <a:lnTo>
                    <a:pt x="702" y="1646"/>
                  </a:lnTo>
                  <a:lnTo>
                    <a:pt x="702" y="1668"/>
                  </a:lnTo>
                  <a:lnTo>
                    <a:pt x="690" y="1687"/>
                  </a:lnTo>
                  <a:lnTo>
                    <a:pt x="664" y="1696"/>
                  </a:lnTo>
                  <a:lnTo>
                    <a:pt x="652" y="1687"/>
                  </a:lnTo>
                  <a:lnTo>
                    <a:pt x="652" y="1668"/>
                  </a:lnTo>
                  <a:lnTo>
                    <a:pt x="648" y="1663"/>
                  </a:lnTo>
                  <a:lnTo>
                    <a:pt x="600" y="1680"/>
                  </a:lnTo>
                  <a:lnTo>
                    <a:pt x="600" y="1687"/>
                  </a:lnTo>
                  <a:lnTo>
                    <a:pt x="652" y="1703"/>
                  </a:lnTo>
                  <a:lnTo>
                    <a:pt x="610" y="1724"/>
                  </a:lnTo>
                  <a:lnTo>
                    <a:pt x="577" y="1769"/>
                  </a:lnTo>
                  <a:lnTo>
                    <a:pt x="577" y="1774"/>
                  </a:lnTo>
                  <a:lnTo>
                    <a:pt x="584" y="1791"/>
                  </a:lnTo>
                  <a:lnTo>
                    <a:pt x="577" y="1814"/>
                  </a:lnTo>
                  <a:lnTo>
                    <a:pt x="584" y="1824"/>
                  </a:lnTo>
                  <a:lnTo>
                    <a:pt x="577" y="1835"/>
                  </a:lnTo>
                  <a:lnTo>
                    <a:pt x="556" y="1852"/>
                  </a:lnTo>
                  <a:lnTo>
                    <a:pt x="556" y="1869"/>
                  </a:lnTo>
                  <a:lnTo>
                    <a:pt x="563" y="1869"/>
                  </a:lnTo>
                  <a:lnTo>
                    <a:pt x="563" y="1885"/>
                  </a:lnTo>
                  <a:lnTo>
                    <a:pt x="518" y="1880"/>
                  </a:lnTo>
                  <a:lnTo>
                    <a:pt x="466" y="1902"/>
                  </a:lnTo>
                  <a:lnTo>
                    <a:pt x="421" y="1975"/>
                  </a:lnTo>
                  <a:lnTo>
                    <a:pt x="416" y="1991"/>
                  </a:lnTo>
                  <a:lnTo>
                    <a:pt x="421" y="2013"/>
                  </a:lnTo>
                  <a:lnTo>
                    <a:pt x="475" y="2058"/>
                  </a:lnTo>
                  <a:lnTo>
                    <a:pt x="530" y="2069"/>
                  </a:lnTo>
                  <a:lnTo>
                    <a:pt x="546" y="2074"/>
                  </a:lnTo>
                  <a:lnTo>
                    <a:pt x="546" y="2107"/>
                  </a:lnTo>
                  <a:lnTo>
                    <a:pt x="541" y="2128"/>
                  </a:lnTo>
                  <a:lnTo>
                    <a:pt x="518" y="2140"/>
                  </a:lnTo>
                  <a:lnTo>
                    <a:pt x="530" y="2128"/>
                  </a:lnTo>
                  <a:lnTo>
                    <a:pt x="546" y="2145"/>
                  </a:lnTo>
                  <a:lnTo>
                    <a:pt x="530" y="2145"/>
                  </a:lnTo>
                  <a:lnTo>
                    <a:pt x="530" y="2161"/>
                  </a:lnTo>
                  <a:lnTo>
                    <a:pt x="454" y="2213"/>
                  </a:lnTo>
                  <a:lnTo>
                    <a:pt x="421" y="2251"/>
                  </a:lnTo>
                  <a:lnTo>
                    <a:pt x="416" y="2268"/>
                  </a:lnTo>
                  <a:lnTo>
                    <a:pt x="400" y="2280"/>
                  </a:lnTo>
                  <a:lnTo>
                    <a:pt x="416" y="2272"/>
                  </a:lnTo>
                  <a:lnTo>
                    <a:pt x="412" y="2329"/>
                  </a:lnTo>
                  <a:lnTo>
                    <a:pt x="400" y="2334"/>
                  </a:lnTo>
                  <a:lnTo>
                    <a:pt x="369" y="2350"/>
                  </a:lnTo>
                  <a:lnTo>
                    <a:pt x="345" y="2329"/>
                  </a:lnTo>
                  <a:lnTo>
                    <a:pt x="324" y="2334"/>
                  </a:lnTo>
                  <a:lnTo>
                    <a:pt x="345" y="2334"/>
                  </a:lnTo>
                  <a:lnTo>
                    <a:pt x="362" y="2350"/>
                  </a:lnTo>
                  <a:lnTo>
                    <a:pt x="324" y="2379"/>
                  </a:lnTo>
                  <a:lnTo>
                    <a:pt x="315" y="2391"/>
                  </a:lnTo>
                  <a:lnTo>
                    <a:pt x="308" y="2424"/>
                  </a:lnTo>
                  <a:lnTo>
                    <a:pt x="293" y="2440"/>
                  </a:lnTo>
                  <a:lnTo>
                    <a:pt x="308" y="2433"/>
                  </a:lnTo>
                  <a:lnTo>
                    <a:pt x="324" y="2490"/>
                  </a:lnTo>
                  <a:lnTo>
                    <a:pt x="277" y="2495"/>
                  </a:lnTo>
                  <a:lnTo>
                    <a:pt x="324" y="2495"/>
                  </a:lnTo>
                  <a:lnTo>
                    <a:pt x="362" y="2556"/>
                  </a:lnTo>
                  <a:lnTo>
                    <a:pt x="362" y="2568"/>
                  </a:lnTo>
                  <a:lnTo>
                    <a:pt x="256" y="2528"/>
                  </a:lnTo>
                  <a:lnTo>
                    <a:pt x="114" y="2528"/>
                  </a:lnTo>
                  <a:lnTo>
                    <a:pt x="114" y="2518"/>
                  </a:lnTo>
                  <a:lnTo>
                    <a:pt x="93" y="2502"/>
                  </a:lnTo>
                  <a:lnTo>
                    <a:pt x="83" y="2478"/>
                  </a:lnTo>
                  <a:lnTo>
                    <a:pt x="93" y="2457"/>
                  </a:lnTo>
                  <a:lnTo>
                    <a:pt x="83" y="2445"/>
                  </a:lnTo>
                  <a:lnTo>
                    <a:pt x="93" y="2433"/>
                  </a:lnTo>
                  <a:lnTo>
                    <a:pt x="93" y="2400"/>
                  </a:lnTo>
                  <a:lnTo>
                    <a:pt x="60" y="2400"/>
                  </a:lnTo>
                  <a:lnTo>
                    <a:pt x="29" y="2407"/>
                  </a:lnTo>
                  <a:lnTo>
                    <a:pt x="22" y="2367"/>
                  </a:lnTo>
                  <a:lnTo>
                    <a:pt x="8" y="2350"/>
                  </a:lnTo>
                  <a:lnTo>
                    <a:pt x="8" y="2334"/>
                  </a:lnTo>
                  <a:lnTo>
                    <a:pt x="0" y="2329"/>
                  </a:lnTo>
                  <a:lnTo>
                    <a:pt x="8" y="2322"/>
                  </a:lnTo>
                  <a:lnTo>
                    <a:pt x="0" y="2296"/>
                  </a:lnTo>
                  <a:lnTo>
                    <a:pt x="8" y="2272"/>
                  </a:lnTo>
                  <a:lnTo>
                    <a:pt x="29" y="2272"/>
                  </a:lnTo>
                  <a:lnTo>
                    <a:pt x="38" y="2272"/>
                  </a:lnTo>
                  <a:lnTo>
                    <a:pt x="29" y="2268"/>
                  </a:lnTo>
                  <a:lnTo>
                    <a:pt x="38" y="2239"/>
                  </a:lnTo>
                  <a:lnTo>
                    <a:pt x="71" y="2223"/>
                  </a:lnTo>
                  <a:lnTo>
                    <a:pt x="71" y="2197"/>
                  </a:lnTo>
                  <a:lnTo>
                    <a:pt x="93" y="2185"/>
                  </a:lnTo>
                  <a:lnTo>
                    <a:pt x="83" y="2161"/>
                  </a:lnTo>
                  <a:lnTo>
                    <a:pt x="76" y="2145"/>
                  </a:lnTo>
                  <a:lnTo>
                    <a:pt x="83" y="2112"/>
                  </a:lnTo>
                  <a:lnTo>
                    <a:pt x="83" y="2107"/>
                  </a:lnTo>
                  <a:lnTo>
                    <a:pt x="126" y="2086"/>
                  </a:lnTo>
                  <a:lnTo>
                    <a:pt x="114" y="2069"/>
                  </a:lnTo>
                  <a:lnTo>
                    <a:pt x="114" y="2046"/>
                  </a:lnTo>
                  <a:lnTo>
                    <a:pt x="130" y="2034"/>
                  </a:lnTo>
                  <a:lnTo>
                    <a:pt x="130" y="1996"/>
                  </a:lnTo>
                  <a:lnTo>
                    <a:pt x="114" y="1991"/>
                  </a:lnTo>
                  <a:lnTo>
                    <a:pt x="135" y="1975"/>
                  </a:lnTo>
                  <a:lnTo>
                    <a:pt x="130" y="1958"/>
                  </a:lnTo>
                  <a:lnTo>
                    <a:pt x="126" y="1942"/>
                  </a:lnTo>
                  <a:lnTo>
                    <a:pt x="130" y="1935"/>
                  </a:lnTo>
                  <a:lnTo>
                    <a:pt x="147" y="1923"/>
                  </a:lnTo>
                  <a:lnTo>
                    <a:pt x="163" y="1906"/>
                  </a:lnTo>
                  <a:lnTo>
                    <a:pt x="135" y="1880"/>
                  </a:lnTo>
                  <a:lnTo>
                    <a:pt x="109" y="1880"/>
                  </a:lnTo>
                  <a:lnTo>
                    <a:pt x="109" y="1864"/>
                  </a:lnTo>
                  <a:lnTo>
                    <a:pt x="163" y="1864"/>
                  </a:lnTo>
                  <a:lnTo>
                    <a:pt x="180" y="1835"/>
                  </a:lnTo>
                  <a:lnTo>
                    <a:pt x="168" y="1831"/>
                  </a:lnTo>
                  <a:lnTo>
                    <a:pt x="126" y="1831"/>
                  </a:lnTo>
                  <a:lnTo>
                    <a:pt x="126" y="1807"/>
                  </a:lnTo>
                  <a:lnTo>
                    <a:pt x="135" y="1791"/>
                  </a:lnTo>
                  <a:lnTo>
                    <a:pt x="126" y="1774"/>
                  </a:lnTo>
                  <a:lnTo>
                    <a:pt x="130" y="1769"/>
                  </a:lnTo>
                  <a:lnTo>
                    <a:pt x="130" y="1758"/>
                  </a:lnTo>
                  <a:lnTo>
                    <a:pt x="114" y="1741"/>
                  </a:lnTo>
                  <a:lnTo>
                    <a:pt x="114" y="1736"/>
                  </a:lnTo>
                  <a:lnTo>
                    <a:pt x="130" y="1736"/>
                  </a:lnTo>
                  <a:lnTo>
                    <a:pt x="130" y="1720"/>
                  </a:lnTo>
                  <a:lnTo>
                    <a:pt x="97" y="1713"/>
                  </a:lnTo>
                  <a:lnTo>
                    <a:pt x="97" y="1668"/>
                  </a:lnTo>
                  <a:lnTo>
                    <a:pt x="109" y="1646"/>
                  </a:lnTo>
                  <a:lnTo>
                    <a:pt x="97" y="1646"/>
                  </a:lnTo>
                  <a:lnTo>
                    <a:pt x="109" y="1630"/>
                  </a:lnTo>
                  <a:lnTo>
                    <a:pt x="114" y="1630"/>
                  </a:lnTo>
                  <a:lnTo>
                    <a:pt x="130" y="1625"/>
                  </a:lnTo>
                  <a:lnTo>
                    <a:pt x="114" y="1592"/>
                  </a:lnTo>
                  <a:lnTo>
                    <a:pt x="126" y="1585"/>
                  </a:lnTo>
                  <a:lnTo>
                    <a:pt x="126" y="1531"/>
                  </a:lnTo>
                  <a:lnTo>
                    <a:pt x="114" y="1514"/>
                  </a:lnTo>
                  <a:lnTo>
                    <a:pt x="126" y="1481"/>
                  </a:lnTo>
                  <a:lnTo>
                    <a:pt x="130" y="1474"/>
                  </a:lnTo>
                  <a:lnTo>
                    <a:pt x="126" y="1465"/>
                  </a:lnTo>
                  <a:lnTo>
                    <a:pt x="135" y="1441"/>
                  </a:lnTo>
                  <a:lnTo>
                    <a:pt x="130" y="1408"/>
                  </a:lnTo>
                  <a:lnTo>
                    <a:pt x="147" y="1420"/>
                  </a:lnTo>
                  <a:lnTo>
                    <a:pt x="152" y="1387"/>
                  </a:lnTo>
                  <a:lnTo>
                    <a:pt x="152" y="1354"/>
                  </a:lnTo>
                  <a:lnTo>
                    <a:pt x="185" y="1337"/>
                  </a:lnTo>
                  <a:lnTo>
                    <a:pt x="189" y="1330"/>
                  </a:lnTo>
                  <a:lnTo>
                    <a:pt x="185" y="1313"/>
                  </a:lnTo>
                  <a:lnTo>
                    <a:pt x="185" y="1280"/>
                  </a:lnTo>
                  <a:lnTo>
                    <a:pt x="168" y="1252"/>
                  </a:lnTo>
                  <a:lnTo>
                    <a:pt x="180" y="1235"/>
                  </a:lnTo>
                  <a:lnTo>
                    <a:pt x="168" y="1219"/>
                  </a:lnTo>
                  <a:lnTo>
                    <a:pt x="180" y="1202"/>
                  </a:lnTo>
                  <a:lnTo>
                    <a:pt x="168" y="1181"/>
                  </a:lnTo>
                  <a:lnTo>
                    <a:pt x="180" y="1153"/>
                  </a:lnTo>
                  <a:lnTo>
                    <a:pt x="201" y="1148"/>
                  </a:lnTo>
                  <a:lnTo>
                    <a:pt x="201" y="1132"/>
                  </a:lnTo>
                  <a:lnTo>
                    <a:pt x="223" y="1124"/>
                  </a:lnTo>
                  <a:lnTo>
                    <a:pt x="232" y="1098"/>
                  </a:lnTo>
                  <a:lnTo>
                    <a:pt x="223" y="1058"/>
                  </a:lnTo>
                  <a:lnTo>
                    <a:pt x="206" y="1054"/>
                  </a:lnTo>
                  <a:lnTo>
                    <a:pt x="223" y="1042"/>
                  </a:lnTo>
                  <a:lnTo>
                    <a:pt x="244" y="976"/>
                  </a:lnTo>
                  <a:lnTo>
                    <a:pt x="260" y="964"/>
                  </a:lnTo>
                  <a:lnTo>
                    <a:pt x="256" y="931"/>
                  </a:lnTo>
                  <a:lnTo>
                    <a:pt x="270" y="905"/>
                  </a:lnTo>
                  <a:lnTo>
                    <a:pt x="260" y="893"/>
                  </a:lnTo>
                  <a:lnTo>
                    <a:pt x="256" y="893"/>
                  </a:lnTo>
                  <a:lnTo>
                    <a:pt x="244" y="888"/>
                  </a:lnTo>
                  <a:lnTo>
                    <a:pt x="256" y="865"/>
                  </a:lnTo>
                  <a:lnTo>
                    <a:pt x="239" y="848"/>
                  </a:lnTo>
                  <a:lnTo>
                    <a:pt x="239" y="832"/>
                  </a:lnTo>
                  <a:lnTo>
                    <a:pt x="232" y="810"/>
                  </a:lnTo>
                  <a:lnTo>
                    <a:pt x="223" y="798"/>
                  </a:lnTo>
                  <a:lnTo>
                    <a:pt x="239" y="782"/>
                  </a:lnTo>
                  <a:lnTo>
                    <a:pt x="223" y="777"/>
                  </a:lnTo>
                  <a:lnTo>
                    <a:pt x="206" y="754"/>
                  </a:lnTo>
                  <a:lnTo>
                    <a:pt x="218" y="725"/>
                  </a:lnTo>
                  <a:lnTo>
                    <a:pt x="232" y="709"/>
                  </a:lnTo>
                  <a:lnTo>
                    <a:pt x="232" y="699"/>
                  </a:lnTo>
                  <a:lnTo>
                    <a:pt x="239" y="666"/>
                  </a:lnTo>
                  <a:lnTo>
                    <a:pt x="256" y="654"/>
                  </a:lnTo>
                  <a:lnTo>
                    <a:pt x="260" y="650"/>
                  </a:lnTo>
                  <a:lnTo>
                    <a:pt x="244" y="576"/>
                  </a:lnTo>
                  <a:lnTo>
                    <a:pt x="270" y="560"/>
                  </a:lnTo>
                  <a:lnTo>
                    <a:pt x="277" y="506"/>
                  </a:lnTo>
                  <a:lnTo>
                    <a:pt x="308" y="477"/>
                  </a:lnTo>
                  <a:lnTo>
                    <a:pt x="331" y="404"/>
                  </a:lnTo>
                  <a:lnTo>
                    <a:pt x="362" y="404"/>
                  </a:lnTo>
                  <a:lnTo>
                    <a:pt x="369" y="387"/>
                  </a:lnTo>
                  <a:lnTo>
                    <a:pt x="345" y="354"/>
                  </a:lnTo>
                  <a:lnTo>
                    <a:pt x="352" y="338"/>
                  </a:lnTo>
                  <a:lnTo>
                    <a:pt x="362" y="333"/>
                  </a:lnTo>
                  <a:lnTo>
                    <a:pt x="345" y="276"/>
                  </a:lnTo>
                  <a:lnTo>
                    <a:pt x="352" y="255"/>
                  </a:lnTo>
                  <a:lnTo>
                    <a:pt x="369" y="255"/>
                  </a:lnTo>
                  <a:lnTo>
                    <a:pt x="352" y="222"/>
                  </a:lnTo>
                  <a:lnTo>
                    <a:pt x="369" y="199"/>
                  </a:lnTo>
                  <a:lnTo>
                    <a:pt x="438" y="165"/>
                  </a:lnTo>
                  <a:lnTo>
                    <a:pt x="466" y="87"/>
                  </a:lnTo>
                  <a:lnTo>
                    <a:pt x="449" y="78"/>
                  </a:lnTo>
                  <a:lnTo>
                    <a:pt x="449" y="78"/>
                  </a:lnTo>
                  <a:lnTo>
                    <a:pt x="449" y="78"/>
                  </a:lnTo>
                  <a:close/>
                  <a:moveTo>
                    <a:pt x="815" y="1387"/>
                  </a:moveTo>
                  <a:lnTo>
                    <a:pt x="799" y="1370"/>
                  </a:lnTo>
                  <a:lnTo>
                    <a:pt x="815" y="1375"/>
                  </a:lnTo>
                  <a:lnTo>
                    <a:pt x="815" y="1387"/>
                  </a:lnTo>
                  <a:lnTo>
                    <a:pt x="815" y="1387"/>
                  </a:lnTo>
                  <a:lnTo>
                    <a:pt x="815" y="1387"/>
                  </a:lnTo>
                  <a:close/>
                  <a:moveTo>
                    <a:pt x="345" y="2806"/>
                  </a:moveTo>
                  <a:lnTo>
                    <a:pt x="345" y="2589"/>
                  </a:lnTo>
                  <a:lnTo>
                    <a:pt x="369" y="2622"/>
                  </a:lnTo>
                  <a:lnTo>
                    <a:pt x="378" y="2639"/>
                  </a:lnTo>
                  <a:lnTo>
                    <a:pt x="362" y="2629"/>
                  </a:lnTo>
                  <a:lnTo>
                    <a:pt x="352" y="2639"/>
                  </a:lnTo>
                  <a:lnTo>
                    <a:pt x="352" y="2646"/>
                  </a:lnTo>
                  <a:lnTo>
                    <a:pt x="378" y="2655"/>
                  </a:lnTo>
                  <a:lnTo>
                    <a:pt x="395" y="2683"/>
                  </a:lnTo>
                  <a:lnTo>
                    <a:pt x="421" y="2712"/>
                  </a:lnTo>
                  <a:lnTo>
                    <a:pt x="421" y="2717"/>
                  </a:lnTo>
                  <a:lnTo>
                    <a:pt x="518" y="2778"/>
                  </a:lnTo>
                  <a:lnTo>
                    <a:pt x="556" y="2790"/>
                  </a:lnTo>
                  <a:lnTo>
                    <a:pt x="593" y="2790"/>
                  </a:lnTo>
                  <a:lnTo>
                    <a:pt x="577" y="2823"/>
                  </a:lnTo>
                  <a:lnTo>
                    <a:pt x="541" y="2811"/>
                  </a:lnTo>
                  <a:lnTo>
                    <a:pt x="504" y="2828"/>
                  </a:lnTo>
                  <a:lnTo>
                    <a:pt x="466" y="2811"/>
                  </a:lnTo>
                  <a:lnTo>
                    <a:pt x="352" y="2811"/>
                  </a:lnTo>
                  <a:lnTo>
                    <a:pt x="345" y="2806"/>
                  </a:lnTo>
                  <a:lnTo>
                    <a:pt x="345" y="2806"/>
                  </a:lnTo>
                  <a:lnTo>
                    <a:pt x="345" y="2806"/>
                  </a:lnTo>
                  <a:close/>
                  <a:moveTo>
                    <a:pt x="626" y="2811"/>
                  </a:moveTo>
                  <a:lnTo>
                    <a:pt x="615" y="2806"/>
                  </a:lnTo>
                  <a:lnTo>
                    <a:pt x="626" y="2806"/>
                  </a:lnTo>
                  <a:lnTo>
                    <a:pt x="686" y="2794"/>
                  </a:lnTo>
                  <a:lnTo>
                    <a:pt x="681" y="2806"/>
                  </a:lnTo>
                  <a:lnTo>
                    <a:pt x="648" y="2806"/>
                  </a:lnTo>
                  <a:lnTo>
                    <a:pt x="626" y="2811"/>
                  </a:lnTo>
                  <a:lnTo>
                    <a:pt x="626" y="2811"/>
                  </a:lnTo>
                  <a:lnTo>
                    <a:pt x="626" y="2811"/>
                  </a:lnTo>
                  <a:close/>
                  <a:moveTo>
                    <a:pt x="345" y="2811"/>
                  </a:moveTo>
                  <a:lnTo>
                    <a:pt x="345" y="2806"/>
                  </a:lnTo>
                  <a:lnTo>
                    <a:pt x="352" y="2811"/>
                  </a:lnTo>
                  <a:lnTo>
                    <a:pt x="345" y="2811"/>
                  </a:lnTo>
                  <a:lnTo>
                    <a:pt x="345" y="2811"/>
                  </a:lnTo>
                  <a:lnTo>
                    <a:pt x="345" y="281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11" name="Freeform 391">
              <a:extLst>
                <a:ext uri="{FF2B5EF4-FFF2-40B4-BE49-F238E27FC236}">
                  <a16:creationId xmlns:a16="http://schemas.microsoft.com/office/drawing/2014/main" id="{525424F8-7833-4B39-ADE9-B10EBD6F6E2B}"/>
                </a:ext>
              </a:extLst>
            </p:cNvPr>
            <p:cNvSpPr>
              <a:spLocks/>
            </p:cNvSpPr>
            <p:nvPr/>
          </p:nvSpPr>
          <p:spPr bwMode="gray">
            <a:xfrm>
              <a:off x="5005042" y="3667755"/>
              <a:ext cx="4940" cy="7823"/>
            </a:xfrm>
            <a:custGeom>
              <a:avLst/>
              <a:gdLst>
                <a:gd name="T0" fmla="*/ 7 w 12"/>
                <a:gd name="T1" fmla="*/ 19 h 19"/>
                <a:gd name="T2" fmla="*/ 0 w 12"/>
                <a:gd name="T3" fmla="*/ 19 h 19"/>
                <a:gd name="T4" fmla="*/ 0 w 12"/>
                <a:gd name="T5" fmla="*/ 0 h 19"/>
                <a:gd name="T6" fmla="*/ 12 w 12"/>
                <a:gd name="T7" fmla="*/ 12 h 19"/>
                <a:gd name="T8" fmla="*/ 7 w 12"/>
                <a:gd name="T9" fmla="*/ 19 h 19"/>
                <a:gd name="T10" fmla="*/ 7 w 12"/>
                <a:gd name="T11" fmla="*/ 19 h 19"/>
                <a:gd name="T12" fmla="*/ 7 w 12"/>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2" h="19">
                  <a:moveTo>
                    <a:pt x="7" y="19"/>
                  </a:moveTo>
                  <a:lnTo>
                    <a:pt x="0" y="19"/>
                  </a:lnTo>
                  <a:lnTo>
                    <a:pt x="0" y="0"/>
                  </a:lnTo>
                  <a:lnTo>
                    <a:pt x="12" y="12"/>
                  </a:lnTo>
                  <a:lnTo>
                    <a:pt x="7" y="19"/>
                  </a:lnTo>
                  <a:lnTo>
                    <a:pt x="7" y="19"/>
                  </a:lnTo>
                  <a:lnTo>
                    <a:pt x="7" y="1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29" name="Freeform 396">
              <a:extLst>
                <a:ext uri="{FF2B5EF4-FFF2-40B4-BE49-F238E27FC236}">
                  <a16:creationId xmlns:a16="http://schemas.microsoft.com/office/drawing/2014/main" id="{99348870-ED67-4EA7-8C6C-3E5000120020}"/>
                </a:ext>
              </a:extLst>
            </p:cNvPr>
            <p:cNvSpPr>
              <a:spLocks noEditPoints="1"/>
            </p:cNvSpPr>
            <p:nvPr/>
          </p:nvSpPr>
          <p:spPr bwMode="gray">
            <a:xfrm>
              <a:off x="4149181" y="3513362"/>
              <a:ext cx="39108" cy="76579"/>
            </a:xfrm>
            <a:custGeom>
              <a:avLst/>
              <a:gdLst>
                <a:gd name="T0" fmla="*/ 24 w 95"/>
                <a:gd name="T1" fmla="*/ 186 h 186"/>
                <a:gd name="T2" fmla="*/ 0 w 95"/>
                <a:gd name="T3" fmla="*/ 186 h 186"/>
                <a:gd name="T4" fmla="*/ 7 w 95"/>
                <a:gd name="T5" fmla="*/ 42 h 186"/>
                <a:gd name="T6" fmla="*/ 7 w 95"/>
                <a:gd name="T7" fmla="*/ 37 h 186"/>
                <a:gd name="T8" fmla="*/ 17 w 95"/>
                <a:gd name="T9" fmla="*/ 26 h 186"/>
                <a:gd name="T10" fmla="*/ 24 w 95"/>
                <a:gd name="T11" fmla="*/ 37 h 186"/>
                <a:gd name="T12" fmla="*/ 57 w 95"/>
                <a:gd name="T13" fmla="*/ 0 h 186"/>
                <a:gd name="T14" fmla="*/ 62 w 95"/>
                <a:gd name="T15" fmla="*/ 0 h 186"/>
                <a:gd name="T16" fmla="*/ 62 w 95"/>
                <a:gd name="T17" fmla="*/ 4 h 186"/>
                <a:gd name="T18" fmla="*/ 78 w 95"/>
                <a:gd name="T19" fmla="*/ 4 h 186"/>
                <a:gd name="T20" fmla="*/ 78 w 95"/>
                <a:gd name="T21" fmla="*/ 9 h 186"/>
                <a:gd name="T22" fmla="*/ 62 w 95"/>
                <a:gd name="T23" fmla="*/ 59 h 186"/>
                <a:gd name="T24" fmla="*/ 62 w 95"/>
                <a:gd name="T25" fmla="*/ 92 h 186"/>
                <a:gd name="T26" fmla="*/ 73 w 95"/>
                <a:gd name="T27" fmla="*/ 111 h 186"/>
                <a:gd name="T28" fmla="*/ 62 w 95"/>
                <a:gd name="T29" fmla="*/ 137 h 186"/>
                <a:gd name="T30" fmla="*/ 62 w 95"/>
                <a:gd name="T31" fmla="*/ 132 h 186"/>
                <a:gd name="T32" fmla="*/ 45 w 95"/>
                <a:gd name="T33" fmla="*/ 153 h 186"/>
                <a:gd name="T34" fmla="*/ 33 w 95"/>
                <a:gd name="T35" fmla="*/ 165 h 186"/>
                <a:gd name="T36" fmla="*/ 24 w 95"/>
                <a:gd name="T37" fmla="*/ 177 h 186"/>
                <a:gd name="T38" fmla="*/ 24 w 95"/>
                <a:gd name="T39" fmla="*/ 186 h 186"/>
                <a:gd name="T40" fmla="*/ 24 w 95"/>
                <a:gd name="T41" fmla="*/ 186 h 186"/>
                <a:gd name="T42" fmla="*/ 24 w 95"/>
                <a:gd name="T43" fmla="*/ 186 h 186"/>
                <a:gd name="T44" fmla="*/ 95 w 95"/>
                <a:gd name="T45" fmla="*/ 26 h 186"/>
                <a:gd name="T46" fmla="*/ 90 w 95"/>
                <a:gd name="T47" fmla="*/ 37 h 186"/>
                <a:gd name="T48" fmla="*/ 95 w 95"/>
                <a:gd name="T49" fmla="*/ 21 h 186"/>
                <a:gd name="T50" fmla="*/ 95 w 95"/>
                <a:gd name="T51" fmla="*/ 26 h 186"/>
                <a:gd name="T52" fmla="*/ 95 w 95"/>
                <a:gd name="T53" fmla="*/ 26 h 186"/>
                <a:gd name="T54" fmla="*/ 95 w 95"/>
                <a:gd name="T55" fmla="*/ 2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5" h="186">
                  <a:moveTo>
                    <a:pt x="24" y="186"/>
                  </a:moveTo>
                  <a:lnTo>
                    <a:pt x="0" y="186"/>
                  </a:lnTo>
                  <a:lnTo>
                    <a:pt x="7" y="42"/>
                  </a:lnTo>
                  <a:lnTo>
                    <a:pt x="7" y="37"/>
                  </a:lnTo>
                  <a:lnTo>
                    <a:pt x="17" y="26"/>
                  </a:lnTo>
                  <a:lnTo>
                    <a:pt x="24" y="37"/>
                  </a:lnTo>
                  <a:lnTo>
                    <a:pt x="57" y="0"/>
                  </a:lnTo>
                  <a:lnTo>
                    <a:pt x="62" y="0"/>
                  </a:lnTo>
                  <a:lnTo>
                    <a:pt x="62" y="4"/>
                  </a:lnTo>
                  <a:lnTo>
                    <a:pt x="78" y="4"/>
                  </a:lnTo>
                  <a:lnTo>
                    <a:pt x="78" y="9"/>
                  </a:lnTo>
                  <a:lnTo>
                    <a:pt x="62" y="59"/>
                  </a:lnTo>
                  <a:lnTo>
                    <a:pt x="62" y="92"/>
                  </a:lnTo>
                  <a:lnTo>
                    <a:pt x="73" y="111"/>
                  </a:lnTo>
                  <a:lnTo>
                    <a:pt x="62" y="137"/>
                  </a:lnTo>
                  <a:lnTo>
                    <a:pt x="62" y="132"/>
                  </a:lnTo>
                  <a:lnTo>
                    <a:pt x="45" y="153"/>
                  </a:lnTo>
                  <a:lnTo>
                    <a:pt x="33" y="165"/>
                  </a:lnTo>
                  <a:lnTo>
                    <a:pt x="24" y="177"/>
                  </a:lnTo>
                  <a:lnTo>
                    <a:pt x="24" y="186"/>
                  </a:lnTo>
                  <a:lnTo>
                    <a:pt x="24" y="186"/>
                  </a:lnTo>
                  <a:lnTo>
                    <a:pt x="24" y="186"/>
                  </a:lnTo>
                  <a:close/>
                  <a:moveTo>
                    <a:pt x="95" y="26"/>
                  </a:moveTo>
                  <a:lnTo>
                    <a:pt x="90" y="37"/>
                  </a:lnTo>
                  <a:lnTo>
                    <a:pt x="95" y="21"/>
                  </a:lnTo>
                  <a:lnTo>
                    <a:pt x="95" y="26"/>
                  </a:lnTo>
                  <a:lnTo>
                    <a:pt x="95" y="26"/>
                  </a:lnTo>
                  <a:lnTo>
                    <a:pt x="95" y="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31" name="Freeform 398">
              <a:extLst>
                <a:ext uri="{FF2B5EF4-FFF2-40B4-BE49-F238E27FC236}">
                  <a16:creationId xmlns:a16="http://schemas.microsoft.com/office/drawing/2014/main" id="{A1041229-8B55-439F-932D-7F26BC6D0BED}"/>
                </a:ext>
              </a:extLst>
            </p:cNvPr>
            <p:cNvSpPr>
              <a:spLocks/>
            </p:cNvSpPr>
            <p:nvPr/>
          </p:nvSpPr>
          <p:spPr bwMode="gray">
            <a:xfrm>
              <a:off x="4715228" y="4353263"/>
              <a:ext cx="349097" cy="401836"/>
            </a:xfrm>
            <a:custGeom>
              <a:avLst/>
              <a:gdLst>
                <a:gd name="T0" fmla="*/ 482 w 848"/>
                <a:gd name="T1" fmla="*/ 915 h 976"/>
                <a:gd name="T2" fmla="*/ 378 w 848"/>
                <a:gd name="T3" fmla="*/ 952 h 976"/>
                <a:gd name="T4" fmla="*/ 357 w 848"/>
                <a:gd name="T5" fmla="*/ 931 h 976"/>
                <a:gd name="T6" fmla="*/ 269 w 848"/>
                <a:gd name="T7" fmla="*/ 919 h 976"/>
                <a:gd name="T8" fmla="*/ 231 w 848"/>
                <a:gd name="T9" fmla="*/ 919 h 976"/>
                <a:gd name="T10" fmla="*/ 198 w 848"/>
                <a:gd name="T11" fmla="*/ 943 h 976"/>
                <a:gd name="T12" fmla="*/ 189 w 848"/>
                <a:gd name="T13" fmla="*/ 959 h 976"/>
                <a:gd name="T14" fmla="*/ 144 w 848"/>
                <a:gd name="T15" fmla="*/ 976 h 976"/>
                <a:gd name="T16" fmla="*/ 123 w 848"/>
                <a:gd name="T17" fmla="*/ 952 h 976"/>
                <a:gd name="T18" fmla="*/ 106 w 848"/>
                <a:gd name="T19" fmla="*/ 915 h 976"/>
                <a:gd name="T20" fmla="*/ 101 w 848"/>
                <a:gd name="T21" fmla="*/ 858 h 976"/>
                <a:gd name="T22" fmla="*/ 75 w 848"/>
                <a:gd name="T23" fmla="*/ 825 h 976"/>
                <a:gd name="T24" fmla="*/ 85 w 848"/>
                <a:gd name="T25" fmla="*/ 808 h 976"/>
                <a:gd name="T26" fmla="*/ 64 w 848"/>
                <a:gd name="T27" fmla="*/ 787 h 976"/>
                <a:gd name="T28" fmla="*/ 75 w 848"/>
                <a:gd name="T29" fmla="*/ 759 h 976"/>
                <a:gd name="T30" fmla="*/ 64 w 848"/>
                <a:gd name="T31" fmla="*/ 737 h 976"/>
                <a:gd name="T32" fmla="*/ 47 w 848"/>
                <a:gd name="T33" fmla="*/ 681 h 976"/>
                <a:gd name="T34" fmla="*/ 38 w 848"/>
                <a:gd name="T35" fmla="*/ 610 h 976"/>
                <a:gd name="T36" fmla="*/ 9 w 848"/>
                <a:gd name="T37" fmla="*/ 572 h 976"/>
                <a:gd name="T38" fmla="*/ 0 w 848"/>
                <a:gd name="T39" fmla="*/ 556 h 976"/>
                <a:gd name="T40" fmla="*/ 47 w 848"/>
                <a:gd name="T41" fmla="*/ 511 h 976"/>
                <a:gd name="T42" fmla="*/ 54 w 848"/>
                <a:gd name="T43" fmla="*/ 482 h 976"/>
                <a:gd name="T44" fmla="*/ 31 w 848"/>
                <a:gd name="T45" fmla="*/ 478 h 976"/>
                <a:gd name="T46" fmla="*/ 21 w 848"/>
                <a:gd name="T47" fmla="*/ 416 h 976"/>
                <a:gd name="T48" fmla="*/ 16 w 848"/>
                <a:gd name="T49" fmla="*/ 388 h 976"/>
                <a:gd name="T50" fmla="*/ 47 w 848"/>
                <a:gd name="T51" fmla="*/ 345 h 976"/>
                <a:gd name="T52" fmla="*/ 54 w 848"/>
                <a:gd name="T53" fmla="*/ 334 h 976"/>
                <a:gd name="T54" fmla="*/ 47 w 848"/>
                <a:gd name="T55" fmla="*/ 277 h 976"/>
                <a:gd name="T56" fmla="*/ 68 w 848"/>
                <a:gd name="T57" fmla="*/ 206 h 976"/>
                <a:gd name="T58" fmla="*/ 54 w 848"/>
                <a:gd name="T59" fmla="*/ 95 h 976"/>
                <a:gd name="T60" fmla="*/ 68 w 848"/>
                <a:gd name="T61" fmla="*/ 107 h 976"/>
                <a:gd name="T62" fmla="*/ 106 w 848"/>
                <a:gd name="T63" fmla="*/ 74 h 976"/>
                <a:gd name="T64" fmla="*/ 144 w 848"/>
                <a:gd name="T65" fmla="*/ 57 h 976"/>
                <a:gd name="T66" fmla="*/ 177 w 848"/>
                <a:gd name="T67" fmla="*/ 41 h 976"/>
                <a:gd name="T68" fmla="*/ 248 w 848"/>
                <a:gd name="T69" fmla="*/ 12 h 976"/>
                <a:gd name="T70" fmla="*/ 302 w 848"/>
                <a:gd name="T71" fmla="*/ 0 h 976"/>
                <a:gd name="T72" fmla="*/ 298 w 848"/>
                <a:gd name="T73" fmla="*/ 57 h 976"/>
                <a:gd name="T74" fmla="*/ 302 w 848"/>
                <a:gd name="T75" fmla="*/ 111 h 976"/>
                <a:gd name="T76" fmla="*/ 319 w 848"/>
                <a:gd name="T77" fmla="*/ 145 h 976"/>
                <a:gd name="T78" fmla="*/ 323 w 848"/>
                <a:gd name="T79" fmla="*/ 152 h 976"/>
                <a:gd name="T80" fmla="*/ 340 w 848"/>
                <a:gd name="T81" fmla="*/ 168 h 976"/>
                <a:gd name="T82" fmla="*/ 361 w 848"/>
                <a:gd name="T83" fmla="*/ 185 h 976"/>
                <a:gd name="T84" fmla="*/ 404 w 848"/>
                <a:gd name="T85" fmla="*/ 206 h 976"/>
                <a:gd name="T86" fmla="*/ 444 w 848"/>
                <a:gd name="T87" fmla="*/ 223 h 976"/>
                <a:gd name="T88" fmla="*/ 465 w 848"/>
                <a:gd name="T89" fmla="*/ 234 h 976"/>
                <a:gd name="T90" fmla="*/ 486 w 848"/>
                <a:gd name="T91" fmla="*/ 239 h 976"/>
                <a:gd name="T92" fmla="*/ 524 w 848"/>
                <a:gd name="T93" fmla="*/ 256 h 976"/>
                <a:gd name="T94" fmla="*/ 605 w 848"/>
                <a:gd name="T95" fmla="*/ 277 h 976"/>
                <a:gd name="T96" fmla="*/ 649 w 848"/>
                <a:gd name="T97" fmla="*/ 317 h 976"/>
                <a:gd name="T98" fmla="*/ 659 w 848"/>
                <a:gd name="T99" fmla="*/ 362 h 976"/>
                <a:gd name="T100" fmla="*/ 633 w 848"/>
                <a:gd name="T101" fmla="*/ 400 h 976"/>
                <a:gd name="T102" fmla="*/ 664 w 848"/>
                <a:gd name="T103" fmla="*/ 482 h 976"/>
                <a:gd name="T104" fmla="*/ 794 w 848"/>
                <a:gd name="T105" fmla="*/ 499 h 976"/>
                <a:gd name="T106" fmla="*/ 789 w 848"/>
                <a:gd name="T107" fmla="*/ 556 h 976"/>
                <a:gd name="T108" fmla="*/ 838 w 848"/>
                <a:gd name="T109" fmla="*/ 605 h 976"/>
                <a:gd name="T110" fmla="*/ 838 w 848"/>
                <a:gd name="T111" fmla="*/ 681 h 976"/>
                <a:gd name="T112" fmla="*/ 838 w 848"/>
                <a:gd name="T113" fmla="*/ 693 h 976"/>
                <a:gd name="T114" fmla="*/ 827 w 848"/>
                <a:gd name="T115" fmla="*/ 759 h 976"/>
                <a:gd name="T116" fmla="*/ 805 w 848"/>
                <a:gd name="T117" fmla="*/ 749 h 976"/>
                <a:gd name="T118" fmla="*/ 675 w 848"/>
                <a:gd name="T119" fmla="*/ 704 h 976"/>
                <a:gd name="T120" fmla="*/ 541 w 848"/>
                <a:gd name="T121" fmla="*/ 771 h 976"/>
                <a:gd name="T122" fmla="*/ 520 w 848"/>
                <a:gd name="T123" fmla="*/ 841 h 976"/>
                <a:gd name="T124" fmla="*/ 486 w 848"/>
                <a:gd name="T125" fmla="*/ 931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8" h="976">
                  <a:moveTo>
                    <a:pt x="486" y="931"/>
                  </a:moveTo>
                  <a:lnTo>
                    <a:pt x="482" y="915"/>
                  </a:lnTo>
                  <a:lnTo>
                    <a:pt x="404" y="915"/>
                  </a:lnTo>
                  <a:lnTo>
                    <a:pt x="378" y="952"/>
                  </a:lnTo>
                  <a:lnTo>
                    <a:pt x="373" y="976"/>
                  </a:lnTo>
                  <a:lnTo>
                    <a:pt x="357" y="931"/>
                  </a:lnTo>
                  <a:lnTo>
                    <a:pt x="323" y="919"/>
                  </a:lnTo>
                  <a:lnTo>
                    <a:pt x="269" y="919"/>
                  </a:lnTo>
                  <a:lnTo>
                    <a:pt x="243" y="898"/>
                  </a:lnTo>
                  <a:lnTo>
                    <a:pt x="231" y="919"/>
                  </a:lnTo>
                  <a:lnTo>
                    <a:pt x="198" y="931"/>
                  </a:lnTo>
                  <a:lnTo>
                    <a:pt x="198" y="943"/>
                  </a:lnTo>
                  <a:lnTo>
                    <a:pt x="189" y="952"/>
                  </a:lnTo>
                  <a:lnTo>
                    <a:pt x="189" y="959"/>
                  </a:lnTo>
                  <a:lnTo>
                    <a:pt x="172" y="976"/>
                  </a:lnTo>
                  <a:lnTo>
                    <a:pt x="144" y="976"/>
                  </a:lnTo>
                  <a:lnTo>
                    <a:pt x="123" y="976"/>
                  </a:lnTo>
                  <a:lnTo>
                    <a:pt x="123" y="952"/>
                  </a:lnTo>
                  <a:lnTo>
                    <a:pt x="118" y="919"/>
                  </a:lnTo>
                  <a:lnTo>
                    <a:pt x="106" y="915"/>
                  </a:lnTo>
                  <a:lnTo>
                    <a:pt x="101" y="882"/>
                  </a:lnTo>
                  <a:lnTo>
                    <a:pt x="101" y="858"/>
                  </a:lnTo>
                  <a:lnTo>
                    <a:pt x="85" y="832"/>
                  </a:lnTo>
                  <a:lnTo>
                    <a:pt x="75" y="825"/>
                  </a:lnTo>
                  <a:lnTo>
                    <a:pt x="75" y="820"/>
                  </a:lnTo>
                  <a:lnTo>
                    <a:pt x="85" y="808"/>
                  </a:lnTo>
                  <a:lnTo>
                    <a:pt x="64" y="792"/>
                  </a:lnTo>
                  <a:lnTo>
                    <a:pt x="64" y="787"/>
                  </a:lnTo>
                  <a:lnTo>
                    <a:pt x="64" y="771"/>
                  </a:lnTo>
                  <a:lnTo>
                    <a:pt x="75" y="759"/>
                  </a:lnTo>
                  <a:lnTo>
                    <a:pt x="75" y="754"/>
                  </a:lnTo>
                  <a:lnTo>
                    <a:pt x="64" y="737"/>
                  </a:lnTo>
                  <a:lnTo>
                    <a:pt x="85" y="716"/>
                  </a:lnTo>
                  <a:lnTo>
                    <a:pt x="47" y="681"/>
                  </a:lnTo>
                  <a:lnTo>
                    <a:pt x="31" y="622"/>
                  </a:lnTo>
                  <a:lnTo>
                    <a:pt x="38" y="610"/>
                  </a:lnTo>
                  <a:lnTo>
                    <a:pt x="21" y="610"/>
                  </a:lnTo>
                  <a:lnTo>
                    <a:pt x="9" y="572"/>
                  </a:lnTo>
                  <a:lnTo>
                    <a:pt x="9" y="565"/>
                  </a:lnTo>
                  <a:lnTo>
                    <a:pt x="0" y="556"/>
                  </a:lnTo>
                  <a:lnTo>
                    <a:pt x="0" y="556"/>
                  </a:lnTo>
                  <a:lnTo>
                    <a:pt x="47" y="511"/>
                  </a:lnTo>
                  <a:lnTo>
                    <a:pt x="38" y="499"/>
                  </a:lnTo>
                  <a:lnTo>
                    <a:pt x="54" y="482"/>
                  </a:lnTo>
                  <a:lnTo>
                    <a:pt x="47" y="478"/>
                  </a:lnTo>
                  <a:lnTo>
                    <a:pt x="31" y="478"/>
                  </a:lnTo>
                  <a:lnTo>
                    <a:pt x="16" y="437"/>
                  </a:lnTo>
                  <a:lnTo>
                    <a:pt x="21" y="416"/>
                  </a:lnTo>
                  <a:lnTo>
                    <a:pt x="31" y="404"/>
                  </a:lnTo>
                  <a:lnTo>
                    <a:pt x="16" y="388"/>
                  </a:lnTo>
                  <a:lnTo>
                    <a:pt x="16" y="371"/>
                  </a:lnTo>
                  <a:lnTo>
                    <a:pt x="47" y="345"/>
                  </a:lnTo>
                  <a:lnTo>
                    <a:pt x="47" y="334"/>
                  </a:lnTo>
                  <a:lnTo>
                    <a:pt x="54" y="334"/>
                  </a:lnTo>
                  <a:lnTo>
                    <a:pt x="38" y="293"/>
                  </a:lnTo>
                  <a:lnTo>
                    <a:pt x="47" y="277"/>
                  </a:lnTo>
                  <a:lnTo>
                    <a:pt x="47" y="234"/>
                  </a:lnTo>
                  <a:lnTo>
                    <a:pt x="68" y="206"/>
                  </a:lnTo>
                  <a:lnTo>
                    <a:pt x="9" y="95"/>
                  </a:lnTo>
                  <a:lnTo>
                    <a:pt x="54" y="95"/>
                  </a:lnTo>
                  <a:lnTo>
                    <a:pt x="64" y="107"/>
                  </a:lnTo>
                  <a:lnTo>
                    <a:pt x="68" y="107"/>
                  </a:lnTo>
                  <a:lnTo>
                    <a:pt x="92" y="95"/>
                  </a:lnTo>
                  <a:lnTo>
                    <a:pt x="106" y="74"/>
                  </a:lnTo>
                  <a:lnTo>
                    <a:pt x="135" y="74"/>
                  </a:lnTo>
                  <a:lnTo>
                    <a:pt x="144" y="57"/>
                  </a:lnTo>
                  <a:lnTo>
                    <a:pt x="161" y="50"/>
                  </a:lnTo>
                  <a:lnTo>
                    <a:pt x="177" y="41"/>
                  </a:lnTo>
                  <a:lnTo>
                    <a:pt x="210" y="17"/>
                  </a:lnTo>
                  <a:lnTo>
                    <a:pt x="248" y="12"/>
                  </a:lnTo>
                  <a:lnTo>
                    <a:pt x="286" y="12"/>
                  </a:lnTo>
                  <a:lnTo>
                    <a:pt x="302" y="0"/>
                  </a:lnTo>
                  <a:lnTo>
                    <a:pt x="302" y="41"/>
                  </a:lnTo>
                  <a:lnTo>
                    <a:pt x="298" y="57"/>
                  </a:lnTo>
                  <a:lnTo>
                    <a:pt x="302" y="95"/>
                  </a:lnTo>
                  <a:lnTo>
                    <a:pt x="302" y="111"/>
                  </a:lnTo>
                  <a:lnTo>
                    <a:pt x="302" y="128"/>
                  </a:lnTo>
                  <a:lnTo>
                    <a:pt x="319" y="145"/>
                  </a:lnTo>
                  <a:lnTo>
                    <a:pt x="307" y="152"/>
                  </a:lnTo>
                  <a:lnTo>
                    <a:pt x="323" y="152"/>
                  </a:lnTo>
                  <a:lnTo>
                    <a:pt x="323" y="168"/>
                  </a:lnTo>
                  <a:lnTo>
                    <a:pt x="340" y="168"/>
                  </a:lnTo>
                  <a:lnTo>
                    <a:pt x="340" y="185"/>
                  </a:lnTo>
                  <a:lnTo>
                    <a:pt x="361" y="185"/>
                  </a:lnTo>
                  <a:lnTo>
                    <a:pt x="373" y="206"/>
                  </a:lnTo>
                  <a:lnTo>
                    <a:pt x="404" y="206"/>
                  </a:lnTo>
                  <a:lnTo>
                    <a:pt x="416" y="206"/>
                  </a:lnTo>
                  <a:lnTo>
                    <a:pt x="444" y="223"/>
                  </a:lnTo>
                  <a:lnTo>
                    <a:pt x="465" y="218"/>
                  </a:lnTo>
                  <a:lnTo>
                    <a:pt x="465" y="234"/>
                  </a:lnTo>
                  <a:lnTo>
                    <a:pt x="482" y="251"/>
                  </a:lnTo>
                  <a:lnTo>
                    <a:pt x="486" y="239"/>
                  </a:lnTo>
                  <a:lnTo>
                    <a:pt x="512" y="256"/>
                  </a:lnTo>
                  <a:lnTo>
                    <a:pt x="524" y="256"/>
                  </a:lnTo>
                  <a:lnTo>
                    <a:pt x="550" y="289"/>
                  </a:lnTo>
                  <a:lnTo>
                    <a:pt x="605" y="277"/>
                  </a:lnTo>
                  <a:lnTo>
                    <a:pt x="642" y="305"/>
                  </a:lnTo>
                  <a:lnTo>
                    <a:pt x="649" y="317"/>
                  </a:lnTo>
                  <a:lnTo>
                    <a:pt x="642" y="326"/>
                  </a:lnTo>
                  <a:lnTo>
                    <a:pt x="659" y="362"/>
                  </a:lnTo>
                  <a:lnTo>
                    <a:pt x="659" y="400"/>
                  </a:lnTo>
                  <a:lnTo>
                    <a:pt x="633" y="400"/>
                  </a:lnTo>
                  <a:lnTo>
                    <a:pt x="659" y="421"/>
                  </a:lnTo>
                  <a:lnTo>
                    <a:pt x="664" y="482"/>
                  </a:lnTo>
                  <a:lnTo>
                    <a:pt x="794" y="482"/>
                  </a:lnTo>
                  <a:lnTo>
                    <a:pt x="794" y="499"/>
                  </a:lnTo>
                  <a:lnTo>
                    <a:pt x="784" y="515"/>
                  </a:lnTo>
                  <a:lnTo>
                    <a:pt x="789" y="556"/>
                  </a:lnTo>
                  <a:lnTo>
                    <a:pt x="838" y="582"/>
                  </a:lnTo>
                  <a:lnTo>
                    <a:pt x="838" y="605"/>
                  </a:lnTo>
                  <a:lnTo>
                    <a:pt x="848" y="626"/>
                  </a:lnTo>
                  <a:lnTo>
                    <a:pt x="838" y="681"/>
                  </a:lnTo>
                  <a:lnTo>
                    <a:pt x="838" y="693"/>
                  </a:lnTo>
                  <a:lnTo>
                    <a:pt x="838" y="693"/>
                  </a:lnTo>
                  <a:lnTo>
                    <a:pt x="810" y="737"/>
                  </a:lnTo>
                  <a:lnTo>
                    <a:pt x="827" y="759"/>
                  </a:lnTo>
                  <a:lnTo>
                    <a:pt x="805" y="771"/>
                  </a:lnTo>
                  <a:lnTo>
                    <a:pt x="805" y="749"/>
                  </a:lnTo>
                  <a:lnTo>
                    <a:pt x="742" y="716"/>
                  </a:lnTo>
                  <a:lnTo>
                    <a:pt x="675" y="704"/>
                  </a:lnTo>
                  <a:lnTo>
                    <a:pt x="557" y="733"/>
                  </a:lnTo>
                  <a:lnTo>
                    <a:pt x="541" y="771"/>
                  </a:lnTo>
                  <a:lnTo>
                    <a:pt x="520" y="804"/>
                  </a:lnTo>
                  <a:lnTo>
                    <a:pt x="520" y="841"/>
                  </a:lnTo>
                  <a:lnTo>
                    <a:pt x="486" y="931"/>
                  </a:lnTo>
                  <a:lnTo>
                    <a:pt x="486" y="931"/>
                  </a:lnTo>
                  <a:lnTo>
                    <a:pt x="486" y="93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38" name="Freeform 403">
              <a:extLst>
                <a:ext uri="{FF2B5EF4-FFF2-40B4-BE49-F238E27FC236}">
                  <a16:creationId xmlns:a16="http://schemas.microsoft.com/office/drawing/2014/main" id="{EB4EDF70-625B-41DD-8634-FB078A9D7D6C}"/>
                </a:ext>
              </a:extLst>
            </p:cNvPr>
            <p:cNvSpPr>
              <a:spLocks noEditPoints="1"/>
            </p:cNvSpPr>
            <p:nvPr/>
          </p:nvSpPr>
          <p:spPr bwMode="gray">
            <a:xfrm>
              <a:off x="4587610" y="3909845"/>
              <a:ext cx="1134151" cy="1194389"/>
            </a:xfrm>
            <a:custGeom>
              <a:avLst/>
              <a:gdLst>
                <a:gd name="T0" fmla="*/ 291 w 2755"/>
                <a:gd name="T1" fmla="*/ 255 h 2901"/>
                <a:gd name="T2" fmla="*/ 593 w 2755"/>
                <a:gd name="T3" fmla="*/ 312 h 2901"/>
                <a:gd name="T4" fmla="*/ 702 w 2755"/>
                <a:gd name="T5" fmla="*/ 201 h 2901"/>
                <a:gd name="T6" fmla="*/ 794 w 2755"/>
                <a:gd name="T7" fmla="*/ 90 h 2901"/>
                <a:gd name="T8" fmla="*/ 967 w 2755"/>
                <a:gd name="T9" fmla="*/ 0 h 2901"/>
                <a:gd name="T10" fmla="*/ 1009 w 2755"/>
                <a:gd name="T11" fmla="*/ 246 h 2901"/>
                <a:gd name="T12" fmla="*/ 1172 w 2755"/>
                <a:gd name="T13" fmla="*/ 239 h 2901"/>
                <a:gd name="T14" fmla="*/ 1366 w 2755"/>
                <a:gd name="T15" fmla="*/ 206 h 2901"/>
                <a:gd name="T16" fmla="*/ 1604 w 2755"/>
                <a:gd name="T17" fmla="*/ 95 h 2901"/>
                <a:gd name="T18" fmla="*/ 1600 w 2755"/>
                <a:gd name="T19" fmla="*/ 390 h 2901"/>
                <a:gd name="T20" fmla="*/ 1637 w 2755"/>
                <a:gd name="T21" fmla="*/ 506 h 2901"/>
                <a:gd name="T22" fmla="*/ 1637 w 2755"/>
                <a:gd name="T23" fmla="*/ 539 h 2901"/>
                <a:gd name="T24" fmla="*/ 1784 w 2755"/>
                <a:gd name="T25" fmla="*/ 485 h 2901"/>
                <a:gd name="T26" fmla="*/ 1869 w 2755"/>
                <a:gd name="T27" fmla="*/ 423 h 2901"/>
                <a:gd name="T28" fmla="*/ 1982 w 2755"/>
                <a:gd name="T29" fmla="*/ 461 h 2901"/>
                <a:gd name="T30" fmla="*/ 2063 w 2755"/>
                <a:gd name="T31" fmla="*/ 506 h 2901"/>
                <a:gd name="T32" fmla="*/ 2091 w 2755"/>
                <a:gd name="T33" fmla="*/ 577 h 2901"/>
                <a:gd name="T34" fmla="*/ 2301 w 2755"/>
                <a:gd name="T35" fmla="*/ 589 h 2901"/>
                <a:gd name="T36" fmla="*/ 2750 w 2755"/>
                <a:gd name="T37" fmla="*/ 884 h 2901"/>
                <a:gd name="T38" fmla="*/ 2594 w 2755"/>
                <a:gd name="T39" fmla="*/ 1172 h 2901"/>
                <a:gd name="T40" fmla="*/ 2469 w 2755"/>
                <a:gd name="T41" fmla="*/ 1309 h 2901"/>
                <a:gd name="T42" fmla="*/ 2448 w 2755"/>
                <a:gd name="T43" fmla="*/ 1625 h 2901"/>
                <a:gd name="T44" fmla="*/ 2322 w 2755"/>
                <a:gd name="T45" fmla="*/ 1937 h 2901"/>
                <a:gd name="T46" fmla="*/ 2117 w 2755"/>
                <a:gd name="T47" fmla="*/ 2053 h 2901"/>
                <a:gd name="T48" fmla="*/ 1944 w 2755"/>
                <a:gd name="T49" fmla="*/ 2143 h 2901"/>
                <a:gd name="T50" fmla="*/ 1777 w 2755"/>
                <a:gd name="T51" fmla="*/ 2287 h 2901"/>
                <a:gd name="T52" fmla="*/ 1767 w 2755"/>
                <a:gd name="T53" fmla="*/ 2476 h 2901"/>
                <a:gd name="T54" fmla="*/ 1600 w 2755"/>
                <a:gd name="T55" fmla="*/ 2719 h 2901"/>
                <a:gd name="T56" fmla="*/ 1604 w 2755"/>
                <a:gd name="T57" fmla="*/ 2625 h 2901"/>
                <a:gd name="T58" fmla="*/ 1496 w 2755"/>
                <a:gd name="T59" fmla="*/ 2851 h 2901"/>
                <a:gd name="T60" fmla="*/ 1210 w 2755"/>
                <a:gd name="T61" fmla="*/ 2620 h 2901"/>
                <a:gd name="T62" fmla="*/ 1281 w 2755"/>
                <a:gd name="T63" fmla="*/ 2464 h 2901"/>
                <a:gd name="T64" fmla="*/ 1366 w 2755"/>
                <a:gd name="T65" fmla="*/ 2259 h 2901"/>
                <a:gd name="T66" fmla="*/ 1238 w 2755"/>
                <a:gd name="T67" fmla="*/ 1992 h 2901"/>
                <a:gd name="T68" fmla="*/ 1146 w 2755"/>
                <a:gd name="T69" fmla="*/ 1659 h 2901"/>
                <a:gd name="T70" fmla="*/ 858 w 2755"/>
                <a:gd name="T71" fmla="*/ 1366 h 2901"/>
                <a:gd name="T72" fmla="*/ 631 w 2755"/>
                <a:gd name="T73" fmla="*/ 1243 h 2901"/>
                <a:gd name="T74" fmla="*/ 471 w 2755"/>
                <a:gd name="T75" fmla="*/ 1127 h 2901"/>
                <a:gd name="T76" fmla="*/ 248 w 2755"/>
                <a:gd name="T77" fmla="*/ 1061 h 2901"/>
                <a:gd name="T78" fmla="*/ 17 w 2755"/>
                <a:gd name="T79" fmla="*/ 888 h 2901"/>
                <a:gd name="T80" fmla="*/ 286 w 2755"/>
                <a:gd name="T81" fmla="*/ 683 h 2901"/>
                <a:gd name="T82" fmla="*/ 1685 w 2755"/>
                <a:gd name="T83" fmla="*/ 312 h 2901"/>
                <a:gd name="T84" fmla="*/ 1685 w 2755"/>
                <a:gd name="T85" fmla="*/ 333 h 2901"/>
                <a:gd name="T86" fmla="*/ 1706 w 2755"/>
                <a:gd name="T87" fmla="*/ 357 h 2901"/>
                <a:gd name="T88" fmla="*/ 1706 w 2755"/>
                <a:gd name="T89" fmla="*/ 390 h 2901"/>
                <a:gd name="T90" fmla="*/ 1621 w 2755"/>
                <a:gd name="T91" fmla="*/ 383 h 2901"/>
                <a:gd name="T92" fmla="*/ 1637 w 2755"/>
                <a:gd name="T93" fmla="*/ 411 h 2901"/>
                <a:gd name="T94" fmla="*/ 1685 w 2755"/>
                <a:gd name="T95" fmla="*/ 501 h 2901"/>
                <a:gd name="T96" fmla="*/ 1621 w 2755"/>
                <a:gd name="T97" fmla="*/ 407 h 2901"/>
                <a:gd name="T98" fmla="*/ 1630 w 2755"/>
                <a:gd name="T99" fmla="*/ 407 h 2901"/>
                <a:gd name="T100" fmla="*/ 1550 w 2755"/>
                <a:gd name="T101" fmla="*/ 485 h 2901"/>
                <a:gd name="T102" fmla="*/ 1831 w 2755"/>
                <a:gd name="T103" fmla="*/ 428 h 2901"/>
                <a:gd name="T104" fmla="*/ 1928 w 2755"/>
                <a:gd name="T105" fmla="*/ 449 h 2901"/>
                <a:gd name="T106" fmla="*/ 2037 w 2755"/>
                <a:gd name="T107" fmla="*/ 468 h 2901"/>
                <a:gd name="T108" fmla="*/ 1529 w 2755"/>
                <a:gd name="T109" fmla="*/ 501 h 2901"/>
                <a:gd name="T110" fmla="*/ 1760 w 2755"/>
                <a:gd name="T111" fmla="*/ 506 h 2901"/>
                <a:gd name="T112" fmla="*/ 2247 w 2755"/>
                <a:gd name="T113" fmla="*/ 577 h 2901"/>
                <a:gd name="T114" fmla="*/ 2485 w 2755"/>
                <a:gd name="T115" fmla="*/ 1309 h 2901"/>
                <a:gd name="T116" fmla="*/ 2464 w 2755"/>
                <a:gd name="T117" fmla="*/ 1370 h 2901"/>
                <a:gd name="T118" fmla="*/ 2020 w 2755"/>
                <a:gd name="T119" fmla="*/ 2143 h 2901"/>
                <a:gd name="T120" fmla="*/ 1777 w 2755"/>
                <a:gd name="T121" fmla="*/ 2313 h 2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55" h="2901">
                  <a:moveTo>
                    <a:pt x="286" y="683"/>
                  </a:moveTo>
                  <a:lnTo>
                    <a:pt x="324" y="477"/>
                  </a:lnTo>
                  <a:lnTo>
                    <a:pt x="324" y="449"/>
                  </a:lnTo>
                  <a:lnTo>
                    <a:pt x="308" y="428"/>
                  </a:lnTo>
                  <a:lnTo>
                    <a:pt x="308" y="411"/>
                  </a:lnTo>
                  <a:lnTo>
                    <a:pt x="274" y="390"/>
                  </a:lnTo>
                  <a:lnTo>
                    <a:pt x="274" y="333"/>
                  </a:lnTo>
                  <a:lnTo>
                    <a:pt x="324" y="329"/>
                  </a:lnTo>
                  <a:lnTo>
                    <a:pt x="329" y="333"/>
                  </a:lnTo>
                  <a:lnTo>
                    <a:pt x="345" y="333"/>
                  </a:lnTo>
                  <a:lnTo>
                    <a:pt x="341" y="317"/>
                  </a:lnTo>
                  <a:lnTo>
                    <a:pt x="329" y="300"/>
                  </a:lnTo>
                  <a:lnTo>
                    <a:pt x="291" y="300"/>
                  </a:lnTo>
                  <a:lnTo>
                    <a:pt x="291" y="255"/>
                  </a:lnTo>
                  <a:lnTo>
                    <a:pt x="319" y="246"/>
                  </a:lnTo>
                  <a:lnTo>
                    <a:pt x="411" y="255"/>
                  </a:lnTo>
                  <a:lnTo>
                    <a:pt x="400" y="246"/>
                  </a:lnTo>
                  <a:lnTo>
                    <a:pt x="411" y="239"/>
                  </a:lnTo>
                  <a:lnTo>
                    <a:pt x="433" y="255"/>
                  </a:lnTo>
                  <a:lnTo>
                    <a:pt x="466" y="222"/>
                  </a:lnTo>
                  <a:lnTo>
                    <a:pt x="471" y="222"/>
                  </a:lnTo>
                  <a:lnTo>
                    <a:pt x="487" y="263"/>
                  </a:lnTo>
                  <a:lnTo>
                    <a:pt x="487" y="296"/>
                  </a:lnTo>
                  <a:lnTo>
                    <a:pt x="504" y="296"/>
                  </a:lnTo>
                  <a:lnTo>
                    <a:pt x="541" y="329"/>
                  </a:lnTo>
                  <a:lnTo>
                    <a:pt x="556" y="329"/>
                  </a:lnTo>
                  <a:lnTo>
                    <a:pt x="579" y="312"/>
                  </a:lnTo>
                  <a:lnTo>
                    <a:pt x="593" y="312"/>
                  </a:lnTo>
                  <a:lnTo>
                    <a:pt x="593" y="329"/>
                  </a:lnTo>
                  <a:lnTo>
                    <a:pt x="593" y="333"/>
                  </a:lnTo>
                  <a:lnTo>
                    <a:pt x="610" y="312"/>
                  </a:lnTo>
                  <a:lnTo>
                    <a:pt x="617" y="312"/>
                  </a:lnTo>
                  <a:lnTo>
                    <a:pt x="626" y="296"/>
                  </a:lnTo>
                  <a:lnTo>
                    <a:pt x="648" y="284"/>
                  </a:lnTo>
                  <a:lnTo>
                    <a:pt x="659" y="284"/>
                  </a:lnTo>
                  <a:lnTo>
                    <a:pt x="681" y="267"/>
                  </a:lnTo>
                  <a:lnTo>
                    <a:pt x="685" y="267"/>
                  </a:lnTo>
                  <a:lnTo>
                    <a:pt x="697" y="263"/>
                  </a:lnTo>
                  <a:lnTo>
                    <a:pt x="702" y="239"/>
                  </a:lnTo>
                  <a:lnTo>
                    <a:pt x="752" y="222"/>
                  </a:lnTo>
                  <a:lnTo>
                    <a:pt x="752" y="206"/>
                  </a:lnTo>
                  <a:lnTo>
                    <a:pt x="702" y="201"/>
                  </a:lnTo>
                  <a:lnTo>
                    <a:pt x="702" y="185"/>
                  </a:lnTo>
                  <a:lnTo>
                    <a:pt x="685" y="152"/>
                  </a:lnTo>
                  <a:lnTo>
                    <a:pt x="685" y="118"/>
                  </a:lnTo>
                  <a:lnTo>
                    <a:pt x="659" y="90"/>
                  </a:lnTo>
                  <a:lnTo>
                    <a:pt x="648" y="74"/>
                  </a:lnTo>
                  <a:lnTo>
                    <a:pt x="664" y="78"/>
                  </a:lnTo>
                  <a:lnTo>
                    <a:pt x="697" y="78"/>
                  </a:lnTo>
                  <a:lnTo>
                    <a:pt x="702" y="95"/>
                  </a:lnTo>
                  <a:lnTo>
                    <a:pt x="719" y="95"/>
                  </a:lnTo>
                  <a:lnTo>
                    <a:pt x="740" y="102"/>
                  </a:lnTo>
                  <a:lnTo>
                    <a:pt x="752" y="95"/>
                  </a:lnTo>
                  <a:lnTo>
                    <a:pt x="778" y="118"/>
                  </a:lnTo>
                  <a:lnTo>
                    <a:pt x="794" y="111"/>
                  </a:lnTo>
                  <a:lnTo>
                    <a:pt x="794" y="90"/>
                  </a:lnTo>
                  <a:lnTo>
                    <a:pt x="806" y="90"/>
                  </a:lnTo>
                  <a:lnTo>
                    <a:pt x="811" y="78"/>
                  </a:lnTo>
                  <a:lnTo>
                    <a:pt x="832" y="78"/>
                  </a:lnTo>
                  <a:lnTo>
                    <a:pt x="858" y="78"/>
                  </a:lnTo>
                  <a:lnTo>
                    <a:pt x="865" y="74"/>
                  </a:lnTo>
                  <a:lnTo>
                    <a:pt x="874" y="74"/>
                  </a:lnTo>
                  <a:lnTo>
                    <a:pt x="882" y="62"/>
                  </a:lnTo>
                  <a:lnTo>
                    <a:pt x="896" y="57"/>
                  </a:lnTo>
                  <a:lnTo>
                    <a:pt x="919" y="45"/>
                  </a:lnTo>
                  <a:lnTo>
                    <a:pt x="929" y="40"/>
                  </a:lnTo>
                  <a:lnTo>
                    <a:pt x="941" y="24"/>
                  </a:lnTo>
                  <a:lnTo>
                    <a:pt x="941" y="7"/>
                  </a:lnTo>
                  <a:lnTo>
                    <a:pt x="933" y="0"/>
                  </a:lnTo>
                  <a:lnTo>
                    <a:pt x="967" y="0"/>
                  </a:lnTo>
                  <a:lnTo>
                    <a:pt x="971" y="0"/>
                  </a:lnTo>
                  <a:lnTo>
                    <a:pt x="983" y="7"/>
                  </a:lnTo>
                  <a:lnTo>
                    <a:pt x="988" y="17"/>
                  </a:lnTo>
                  <a:lnTo>
                    <a:pt x="983" y="40"/>
                  </a:lnTo>
                  <a:lnTo>
                    <a:pt x="971" y="57"/>
                  </a:lnTo>
                  <a:lnTo>
                    <a:pt x="1004" y="62"/>
                  </a:lnTo>
                  <a:lnTo>
                    <a:pt x="1004" y="74"/>
                  </a:lnTo>
                  <a:lnTo>
                    <a:pt x="1009" y="95"/>
                  </a:lnTo>
                  <a:lnTo>
                    <a:pt x="995" y="128"/>
                  </a:lnTo>
                  <a:lnTo>
                    <a:pt x="988" y="185"/>
                  </a:lnTo>
                  <a:lnTo>
                    <a:pt x="995" y="206"/>
                  </a:lnTo>
                  <a:lnTo>
                    <a:pt x="1004" y="211"/>
                  </a:lnTo>
                  <a:lnTo>
                    <a:pt x="1004" y="246"/>
                  </a:lnTo>
                  <a:lnTo>
                    <a:pt x="1009" y="246"/>
                  </a:lnTo>
                  <a:lnTo>
                    <a:pt x="1009" y="255"/>
                  </a:lnTo>
                  <a:lnTo>
                    <a:pt x="1021" y="255"/>
                  </a:lnTo>
                  <a:lnTo>
                    <a:pt x="1037" y="279"/>
                  </a:lnTo>
                  <a:lnTo>
                    <a:pt x="1059" y="284"/>
                  </a:lnTo>
                  <a:lnTo>
                    <a:pt x="1063" y="296"/>
                  </a:lnTo>
                  <a:lnTo>
                    <a:pt x="1075" y="284"/>
                  </a:lnTo>
                  <a:lnTo>
                    <a:pt x="1092" y="284"/>
                  </a:lnTo>
                  <a:lnTo>
                    <a:pt x="1092" y="267"/>
                  </a:lnTo>
                  <a:lnTo>
                    <a:pt x="1101" y="263"/>
                  </a:lnTo>
                  <a:lnTo>
                    <a:pt x="1130" y="267"/>
                  </a:lnTo>
                  <a:lnTo>
                    <a:pt x="1130" y="263"/>
                  </a:lnTo>
                  <a:lnTo>
                    <a:pt x="1146" y="255"/>
                  </a:lnTo>
                  <a:lnTo>
                    <a:pt x="1156" y="255"/>
                  </a:lnTo>
                  <a:lnTo>
                    <a:pt x="1172" y="239"/>
                  </a:lnTo>
                  <a:lnTo>
                    <a:pt x="1189" y="229"/>
                  </a:lnTo>
                  <a:lnTo>
                    <a:pt x="1210" y="246"/>
                  </a:lnTo>
                  <a:lnTo>
                    <a:pt x="1238" y="239"/>
                  </a:lnTo>
                  <a:lnTo>
                    <a:pt x="1264" y="246"/>
                  </a:lnTo>
                  <a:lnTo>
                    <a:pt x="1276" y="239"/>
                  </a:lnTo>
                  <a:lnTo>
                    <a:pt x="1276" y="229"/>
                  </a:lnTo>
                  <a:lnTo>
                    <a:pt x="1259" y="211"/>
                  </a:lnTo>
                  <a:lnTo>
                    <a:pt x="1264" y="201"/>
                  </a:lnTo>
                  <a:lnTo>
                    <a:pt x="1290" y="206"/>
                  </a:lnTo>
                  <a:lnTo>
                    <a:pt x="1335" y="189"/>
                  </a:lnTo>
                  <a:lnTo>
                    <a:pt x="1345" y="201"/>
                  </a:lnTo>
                  <a:lnTo>
                    <a:pt x="1361" y="201"/>
                  </a:lnTo>
                  <a:lnTo>
                    <a:pt x="1361" y="206"/>
                  </a:lnTo>
                  <a:lnTo>
                    <a:pt x="1366" y="206"/>
                  </a:lnTo>
                  <a:lnTo>
                    <a:pt x="1399" y="222"/>
                  </a:lnTo>
                  <a:lnTo>
                    <a:pt x="1420" y="206"/>
                  </a:lnTo>
                  <a:lnTo>
                    <a:pt x="1437" y="211"/>
                  </a:lnTo>
                  <a:lnTo>
                    <a:pt x="1453" y="206"/>
                  </a:lnTo>
                  <a:lnTo>
                    <a:pt x="1458" y="222"/>
                  </a:lnTo>
                  <a:lnTo>
                    <a:pt x="1479" y="222"/>
                  </a:lnTo>
                  <a:lnTo>
                    <a:pt x="1507" y="201"/>
                  </a:lnTo>
                  <a:lnTo>
                    <a:pt x="1524" y="152"/>
                  </a:lnTo>
                  <a:lnTo>
                    <a:pt x="1567" y="90"/>
                  </a:lnTo>
                  <a:lnTo>
                    <a:pt x="1578" y="78"/>
                  </a:lnTo>
                  <a:lnTo>
                    <a:pt x="1583" y="90"/>
                  </a:lnTo>
                  <a:lnTo>
                    <a:pt x="1578" y="62"/>
                  </a:lnTo>
                  <a:lnTo>
                    <a:pt x="1600" y="78"/>
                  </a:lnTo>
                  <a:lnTo>
                    <a:pt x="1604" y="95"/>
                  </a:lnTo>
                  <a:lnTo>
                    <a:pt x="1616" y="95"/>
                  </a:lnTo>
                  <a:lnTo>
                    <a:pt x="1616" y="152"/>
                  </a:lnTo>
                  <a:lnTo>
                    <a:pt x="1637" y="222"/>
                  </a:lnTo>
                  <a:lnTo>
                    <a:pt x="1654" y="246"/>
                  </a:lnTo>
                  <a:lnTo>
                    <a:pt x="1675" y="246"/>
                  </a:lnTo>
                  <a:lnTo>
                    <a:pt x="1692" y="255"/>
                  </a:lnTo>
                  <a:lnTo>
                    <a:pt x="1692" y="284"/>
                  </a:lnTo>
                  <a:lnTo>
                    <a:pt x="1675" y="296"/>
                  </a:lnTo>
                  <a:lnTo>
                    <a:pt x="1692" y="284"/>
                  </a:lnTo>
                  <a:lnTo>
                    <a:pt x="1692" y="296"/>
                  </a:lnTo>
                  <a:lnTo>
                    <a:pt x="1654" y="333"/>
                  </a:lnTo>
                  <a:lnTo>
                    <a:pt x="1630" y="366"/>
                  </a:lnTo>
                  <a:lnTo>
                    <a:pt x="1621" y="366"/>
                  </a:lnTo>
                  <a:lnTo>
                    <a:pt x="1600" y="390"/>
                  </a:lnTo>
                  <a:lnTo>
                    <a:pt x="1567" y="428"/>
                  </a:lnTo>
                  <a:lnTo>
                    <a:pt x="1567" y="449"/>
                  </a:lnTo>
                  <a:lnTo>
                    <a:pt x="1550" y="461"/>
                  </a:lnTo>
                  <a:lnTo>
                    <a:pt x="1550" y="477"/>
                  </a:lnTo>
                  <a:lnTo>
                    <a:pt x="1545" y="485"/>
                  </a:lnTo>
                  <a:lnTo>
                    <a:pt x="1529" y="477"/>
                  </a:lnTo>
                  <a:lnTo>
                    <a:pt x="1496" y="494"/>
                  </a:lnTo>
                  <a:lnTo>
                    <a:pt x="1529" y="494"/>
                  </a:lnTo>
                  <a:lnTo>
                    <a:pt x="1529" y="501"/>
                  </a:lnTo>
                  <a:lnTo>
                    <a:pt x="1600" y="468"/>
                  </a:lnTo>
                  <a:lnTo>
                    <a:pt x="1616" y="444"/>
                  </a:lnTo>
                  <a:lnTo>
                    <a:pt x="1630" y="444"/>
                  </a:lnTo>
                  <a:lnTo>
                    <a:pt x="1630" y="485"/>
                  </a:lnTo>
                  <a:lnTo>
                    <a:pt x="1637" y="506"/>
                  </a:lnTo>
                  <a:lnTo>
                    <a:pt x="1630" y="518"/>
                  </a:lnTo>
                  <a:lnTo>
                    <a:pt x="1604" y="506"/>
                  </a:lnTo>
                  <a:lnTo>
                    <a:pt x="1588" y="501"/>
                  </a:lnTo>
                  <a:lnTo>
                    <a:pt x="1583" y="522"/>
                  </a:lnTo>
                  <a:lnTo>
                    <a:pt x="1583" y="539"/>
                  </a:lnTo>
                  <a:lnTo>
                    <a:pt x="1588" y="551"/>
                  </a:lnTo>
                  <a:lnTo>
                    <a:pt x="1583" y="522"/>
                  </a:lnTo>
                  <a:lnTo>
                    <a:pt x="1600" y="506"/>
                  </a:lnTo>
                  <a:lnTo>
                    <a:pt x="1616" y="522"/>
                  </a:lnTo>
                  <a:lnTo>
                    <a:pt x="1616" y="551"/>
                  </a:lnTo>
                  <a:lnTo>
                    <a:pt x="1630" y="555"/>
                  </a:lnTo>
                  <a:lnTo>
                    <a:pt x="1616" y="551"/>
                  </a:lnTo>
                  <a:lnTo>
                    <a:pt x="1621" y="522"/>
                  </a:lnTo>
                  <a:lnTo>
                    <a:pt x="1637" y="539"/>
                  </a:lnTo>
                  <a:lnTo>
                    <a:pt x="1630" y="518"/>
                  </a:lnTo>
                  <a:lnTo>
                    <a:pt x="1637" y="506"/>
                  </a:lnTo>
                  <a:lnTo>
                    <a:pt x="1654" y="506"/>
                  </a:lnTo>
                  <a:lnTo>
                    <a:pt x="1659" y="518"/>
                  </a:lnTo>
                  <a:lnTo>
                    <a:pt x="1685" y="506"/>
                  </a:lnTo>
                  <a:lnTo>
                    <a:pt x="1696" y="518"/>
                  </a:lnTo>
                  <a:lnTo>
                    <a:pt x="1713" y="518"/>
                  </a:lnTo>
                  <a:lnTo>
                    <a:pt x="1739" y="501"/>
                  </a:lnTo>
                  <a:lnTo>
                    <a:pt x="1722" y="539"/>
                  </a:lnTo>
                  <a:lnTo>
                    <a:pt x="1722" y="560"/>
                  </a:lnTo>
                  <a:lnTo>
                    <a:pt x="1744" y="518"/>
                  </a:lnTo>
                  <a:lnTo>
                    <a:pt x="1760" y="506"/>
                  </a:lnTo>
                  <a:lnTo>
                    <a:pt x="1777" y="485"/>
                  </a:lnTo>
                  <a:lnTo>
                    <a:pt x="1784" y="485"/>
                  </a:lnTo>
                  <a:lnTo>
                    <a:pt x="1798" y="501"/>
                  </a:lnTo>
                  <a:lnTo>
                    <a:pt x="1798" y="485"/>
                  </a:lnTo>
                  <a:lnTo>
                    <a:pt x="1815" y="485"/>
                  </a:lnTo>
                  <a:lnTo>
                    <a:pt x="1793" y="485"/>
                  </a:lnTo>
                  <a:lnTo>
                    <a:pt x="1793" y="468"/>
                  </a:lnTo>
                  <a:lnTo>
                    <a:pt x="1805" y="477"/>
                  </a:lnTo>
                  <a:lnTo>
                    <a:pt x="1805" y="444"/>
                  </a:lnTo>
                  <a:lnTo>
                    <a:pt x="1822" y="428"/>
                  </a:lnTo>
                  <a:lnTo>
                    <a:pt x="1831" y="440"/>
                  </a:lnTo>
                  <a:lnTo>
                    <a:pt x="1848" y="423"/>
                  </a:lnTo>
                  <a:lnTo>
                    <a:pt x="1848" y="440"/>
                  </a:lnTo>
                  <a:lnTo>
                    <a:pt x="1859" y="423"/>
                  </a:lnTo>
                  <a:lnTo>
                    <a:pt x="1869" y="440"/>
                  </a:lnTo>
                  <a:lnTo>
                    <a:pt x="1869" y="423"/>
                  </a:lnTo>
                  <a:lnTo>
                    <a:pt x="1890" y="428"/>
                  </a:lnTo>
                  <a:lnTo>
                    <a:pt x="1902" y="428"/>
                  </a:lnTo>
                  <a:lnTo>
                    <a:pt x="1902" y="444"/>
                  </a:lnTo>
                  <a:lnTo>
                    <a:pt x="1907" y="428"/>
                  </a:lnTo>
                  <a:lnTo>
                    <a:pt x="1911" y="440"/>
                  </a:lnTo>
                  <a:lnTo>
                    <a:pt x="1923" y="440"/>
                  </a:lnTo>
                  <a:lnTo>
                    <a:pt x="1923" y="449"/>
                  </a:lnTo>
                  <a:lnTo>
                    <a:pt x="1956" y="444"/>
                  </a:lnTo>
                  <a:lnTo>
                    <a:pt x="1944" y="461"/>
                  </a:lnTo>
                  <a:lnTo>
                    <a:pt x="1961" y="461"/>
                  </a:lnTo>
                  <a:lnTo>
                    <a:pt x="1961" y="468"/>
                  </a:lnTo>
                  <a:lnTo>
                    <a:pt x="1966" y="449"/>
                  </a:lnTo>
                  <a:lnTo>
                    <a:pt x="1978" y="468"/>
                  </a:lnTo>
                  <a:lnTo>
                    <a:pt x="1982" y="461"/>
                  </a:lnTo>
                  <a:lnTo>
                    <a:pt x="1994" y="477"/>
                  </a:lnTo>
                  <a:lnTo>
                    <a:pt x="1994" y="468"/>
                  </a:lnTo>
                  <a:lnTo>
                    <a:pt x="2011" y="477"/>
                  </a:lnTo>
                  <a:lnTo>
                    <a:pt x="2011" y="494"/>
                  </a:lnTo>
                  <a:lnTo>
                    <a:pt x="2015" y="477"/>
                  </a:lnTo>
                  <a:lnTo>
                    <a:pt x="2015" y="501"/>
                  </a:lnTo>
                  <a:lnTo>
                    <a:pt x="2020" y="501"/>
                  </a:lnTo>
                  <a:lnTo>
                    <a:pt x="2020" y="485"/>
                  </a:lnTo>
                  <a:lnTo>
                    <a:pt x="2037" y="485"/>
                  </a:lnTo>
                  <a:lnTo>
                    <a:pt x="2048" y="485"/>
                  </a:lnTo>
                  <a:lnTo>
                    <a:pt x="2037" y="494"/>
                  </a:lnTo>
                  <a:lnTo>
                    <a:pt x="2053" y="494"/>
                  </a:lnTo>
                  <a:lnTo>
                    <a:pt x="2053" y="501"/>
                  </a:lnTo>
                  <a:lnTo>
                    <a:pt x="2063" y="506"/>
                  </a:lnTo>
                  <a:lnTo>
                    <a:pt x="2070" y="506"/>
                  </a:lnTo>
                  <a:lnTo>
                    <a:pt x="2074" y="522"/>
                  </a:lnTo>
                  <a:lnTo>
                    <a:pt x="2063" y="551"/>
                  </a:lnTo>
                  <a:lnTo>
                    <a:pt x="2074" y="534"/>
                  </a:lnTo>
                  <a:lnTo>
                    <a:pt x="2086" y="551"/>
                  </a:lnTo>
                  <a:lnTo>
                    <a:pt x="2070" y="560"/>
                  </a:lnTo>
                  <a:lnTo>
                    <a:pt x="2063" y="596"/>
                  </a:lnTo>
                  <a:lnTo>
                    <a:pt x="2053" y="617"/>
                  </a:lnTo>
                  <a:lnTo>
                    <a:pt x="2074" y="589"/>
                  </a:lnTo>
                  <a:lnTo>
                    <a:pt x="2086" y="560"/>
                  </a:lnTo>
                  <a:lnTo>
                    <a:pt x="2100" y="551"/>
                  </a:lnTo>
                  <a:lnTo>
                    <a:pt x="2107" y="560"/>
                  </a:lnTo>
                  <a:lnTo>
                    <a:pt x="2086" y="577"/>
                  </a:lnTo>
                  <a:lnTo>
                    <a:pt x="2091" y="577"/>
                  </a:lnTo>
                  <a:lnTo>
                    <a:pt x="2091" y="589"/>
                  </a:lnTo>
                  <a:lnTo>
                    <a:pt x="2117" y="560"/>
                  </a:lnTo>
                  <a:lnTo>
                    <a:pt x="2145" y="560"/>
                  </a:lnTo>
                  <a:lnTo>
                    <a:pt x="2145" y="551"/>
                  </a:lnTo>
                  <a:lnTo>
                    <a:pt x="2155" y="551"/>
                  </a:lnTo>
                  <a:lnTo>
                    <a:pt x="2200" y="560"/>
                  </a:lnTo>
                  <a:lnTo>
                    <a:pt x="2230" y="577"/>
                  </a:lnTo>
                  <a:lnTo>
                    <a:pt x="2252" y="577"/>
                  </a:lnTo>
                  <a:lnTo>
                    <a:pt x="2247" y="577"/>
                  </a:lnTo>
                  <a:lnTo>
                    <a:pt x="2263" y="572"/>
                  </a:lnTo>
                  <a:lnTo>
                    <a:pt x="2268" y="589"/>
                  </a:lnTo>
                  <a:lnTo>
                    <a:pt x="2289" y="589"/>
                  </a:lnTo>
                  <a:lnTo>
                    <a:pt x="2301" y="596"/>
                  </a:lnTo>
                  <a:lnTo>
                    <a:pt x="2301" y="589"/>
                  </a:lnTo>
                  <a:lnTo>
                    <a:pt x="2356" y="577"/>
                  </a:lnTo>
                  <a:lnTo>
                    <a:pt x="2389" y="577"/>
                  </a:lnTo>
                  <a:lnTo>
                    <a:pt x="2495" y="645"/>
                  </a:lnTo>
                  <a:lnTo>
                    <a:pt x="2556" y="704"/>
                  </a:lnTo>
                  <a:lnTo>
                    <a:pt x="2578" y="716"/>
                  </a:lnTo>
                  <a:lnTo>
                    <a:pt x="2587" y="728"/>
                  </a:lnTo>
                  <a:lnTo>
                    <a:pt x="2608" y="740"/>
                  </a:lnTo>
                  <a:lnTo>
                    <a:pt x="2615" y="744"/>
                  </a:lnTo>
                  <a:lnTo>
                    <a:pt x="2670" y="744"/>
                  </a:lnTo>
                  <a:lnTo>
                    <a:pt x="2712" y="756"/>
                  </a:lnTo>
                  <a:lnTo>
                    <a:pt x="2738" y="839"/>
                  </a:lnTo>
                  <a:lnTo>
                    <a:pt x="2750" y="884"/>
                  </a:lnTo>
                  <a:lnTo>
                    <a:pt x="2750" y="893"/>
                  </a:lnTo>
                  <a:lnTo>
                    <a:pt x="2750" y="884"/>
                  </a:lnTo>
                  <a:lnTo>
                    <a:pt x="2755" y="922"/>
                  </a:lnTo>
                  <a:lnTo>
                    <a:pt x="2750" y="922"/>
                  </a:lnTo>
                  <a:lnTo>
                    <a:pt x="2755" y="926"/>
                  </a:lnTo>
                  <a:lnTo>
                    <a:pt x="2750" y="943"/>
                  </a:lnTo>
                  <a:lnTo>
                    <a:pt x="2750" y="950"/>
                  </a:lnTo>
                  <a:lnTo>
                    <a:pt x="2750" y="959"/>
                  </a:lnTo>
                  <a:lnTo>
                    <a:pt x="2717" y="1037"/>
                  </a:lnTo>
                  <a:lnTo>
                    <a:pt x="2684" y="1077"/>
                  </a:lnTo>
                  <a:lnTo>
                    <a:pt x="2641" y="1132"/>
                  </a:lnTo>
                  <a:lnTo>
                    <a:pt x="2608" y="1160"/>
                  </a:lnTo>
                  <a:lnTo>
                    <a:pt x="2594" y="1165"/>
                  </a:lnTo>
                  <a:lnTo>
                    <a:pt x="2587" y="1160"/>
                  </a:lnTo>
                  <a:lnTo>
                    <a:pt x="2594" y="1165"/>
                  </a:lnTo>
                  <a:lnTo>
                    <a:pt x="2594" y="1172"/>
                  </a:lnTo>
                  <a:lnTo>
                    <a:pt x="2587" y="1181"/>
                  </a:lnTo>
                  <a:lnTo>
                    <a:pt x="2578" y="1172"/>
                  </a:lnTo>
                  <a:lnTo>
                    <a:pt x="2587" y="1181"/>
                  </a:lnTo>
                  <a:lnTo>
                    <a:pt x="2587" y="1188"/>
                  </a:lnTo>
                  <a:lnTo>
                    <a:pt x="2570" y="1205"/>
                  </a:lnTo>
                  <a:lnTo>
                    <a:pt x="2578" y="1188"/>
                  </a:lnTo>
                  <a:lnTo>
                    <a:pt x="2570" y="1188"/>
                  </a:lnTo>
                  <a:lnTo>
                    <a:pt x="2556" y="1243"/>
                  </a:lnTo>
                  <a:lnTo>
                    <a:pt x="2523" y="1292"/>
                  </a:lnTo>
                  <a:lnTo>
                    <a:pt x="2495" y="1325"/>
                  </a:lnTo>
                  <a:lnTo>
                    <a:pt x="2495" y="1300"/>
                  </a:lnTo>
                  <a:lnTo>
                    <a:pt x="2485" y="1300"/>
                  </a:lnTo>
                  <a:lnTo>
                    <a:pt x="2481" y="1292"/>
                  </a:lnTo>
                  <a:lnTo>
                    <a:pt x="2469" y="1309"/>
                  </a:lnTo>
                  <a:lnTo>
                    <a:pt x="2469" y="1292"/>
                  </a:lnTo>
                  <a:lnTo>
                    <a:pt x="2464" y="1300"/>
                  </a:lnTo>
                  <a:lnTo>
                    <a:pt x="2469" y="1309"/>
                  </a:lnTo>
                  <a:lnTo>
                    <a:pt x="2481" y="1309"/>
                  </a:lnTo>
                  <a:lnTo>
                    <a:pt x="2464" y="1349"/>
                  </a:lnTo>
                  <a:lnTo>
                    <a:pt x="2452" y="1349"/>
                  </a:lnTo>
                  <a:lnTo>
                    <a:pt x="2452" y="1354"/>
                  </a:lnTo>
                  <a:lnTo>
                    <a:pt x="2464" y="1370"/>
                  </a:lnTo>
                  <a:lnTo>
                    <a:pt x="2452" y="1403"/>
                  </a:lnTo>
                  <a:lnTo>
                    <a:pt x="2464" y="1394"/>
                  </a:lnTo>
                  <a:lnTo>
                    <a:pt x="2464" y="1387"/>
                  </a:lnTo>
                  <a:lnTo>
                    <a:pt x="2452" y="1444"/>
                  </a:lnTo>
                  <a:lnTo>
                    <a:pt x="2469" y="1531"/>
                  </a:lnTo>
                  <a:lnTo>
                    <a:pt x="2448" y="1625"/>
                  </a:lnTo>
                  <a:lnTo>
                    <a:pt x="2448" y="1666"/>
                  </a:lnTo>
                  <a:lnTo>
                    <a:pt x="2415" y="1703"/>
                  </a:lnTo>
                  <a:lnTo>
                    <a:pt x="2410" y="1744"/>
                  </a:lnTo>
                  <a:lnTo>
                    <a:pt x="2410" y="1793"/>
                  </a:lnTo>
                  <a:lnTo>
                    <a:pt x="2398" y="1810"/>
                  </a:lnTo>
                  <a:lnTo>
                    <a:pt x="2389" y="1814"/>
                  </a:lnTo>
                  <a:lnTo>
                    <a:pt x="2372" y="1864"/>
                  </a:lnTo>
                  <a:lnTo>
                    <a:pt x="2360" y="1855"/>
                  </a:lnTo>
                  <a:lnTo>
                    <a:pt x="2360" y="1864"/>
                  </a:lnTo>
                  <a:lnTo>
                    <a:pt x="2372" y="1864"/>
                  </a:lnTo>
                  <a:lnTo>
                    <a:pt x="2360" y="1888"/>
                  </a:lnTo>
                  <a:lnTo>
                    <a:pt x="2344" y="1904"/>
                  </a:lnTo>
                  <a:lnTo>
                    <a:pt x="2334" y="1904"/>
                  </a:lnTo>
                  <a:lnTo>
                    <a:pt x="2322" y="1937"/>
                  </a:lnTo>
                  <a:lnTo>
                    <a:pt x="2318" y="1959"/>
                  </a:lnTo>
                  <a:lnTo>
                    <a:pt x="2322" y="1992"/>
                  </a:lnTo>
                  <a:lnTo>
                    <a:pt x="2263" y="2015"/>
                  </a:lnTo>
                  <a:lnTo>
                    <a:pt x="2247" y="2032"/>
                  </a:lnTo>
                  <a:lnTo>
                    <a:pt x="2247" y="2065"/>
                  </a:lnTo>
                  <a:lnTo>
                    <a:pt x="2171" y="2065"/>
                  </a:lnTo>
                  <a:lnTo>
                    <a:pt x="2176" y="2048"/>
                  </a:lnTo>
                  <a:lnTo>
                    <a:pt x="2171" y="2036"/>
                  </a:lnTo>
                  <a:lnTo>
                    <a:pt x="2162" y="2048"/>
                  </a:lnTo>
                  <a:lnTo>
                    <a:pt x="2171" y="2065"/>
                  </a:lnTo>
                  <a:lnTo>
                    <a:pt x="2162" y="2065"/>
                  </a:lnTo>
                  <a:lnTo>
                    <a:pt x="2107" y="2070"/>
                  </a:lnTo>
                  <a:lnTo>
                    <a:pt x="2138" y="2070"/>
                  </a:lnTo>
                  <a:lnTo>
                    <a:pt x="2117" y="2053"/>
                  </a:lnTo>
                  <a:lnTo>
                    <a:pt x="2091" y="2070"/>
                  </a:lnTo>
                  <a:lnTo>
                    <a:pt x="2086" y="2065"/>
                  </a:lnTo>
                  <a:lnTo>
                    <a:pt x="2063" y="2070"/>
                  </a:lnTo>
                  <a:lnTo>
                    <a:pt x="2063" y="2086"/>
                  </a:lnTo>
                  <a:lnTo>
                    <a:pt x="2070" y="2086"/>
                  </a:lnTo>
                  <a:lnTo>
                    <a:pt x="2070" y="2093"/>
                  </a:lnTo>
                  <a:lnTo>
                    <a:pt x="2048" y="2093"/>
                  </a:lnTo>
                  <a:lnTo>
                    <a:pt x="2032" y="2103"/>
                  </a:lnTo>
                  <a:lnTo>
                    <a:pt x="2011" y="2110"/>
                  </a:lnTo>
                  <a:lnTo>
                    <a:pt x="2011" y="2126"/>
                  </a:lnTo>
                  <a:lnTo>
                    <a:pt x="1978" y="2126"/>
                  </a:lnTo>
                  <a:lnTo>
                    <a:pt x="1956" y="2131"/>
                  </a:lnTo>
                  <a:lnTo>
                    <a:pt x="1961" y="2131"/>
                  </a:lnTo>
                  <a:lnTo>
                    <a:pt x="1944" y="2143"/>
                  </a:lnTo>
                  <a:lnTo>
                    <a:pt x="1940" y="2131"/>
                  </a:lnTo>
                  <a:lnTo>
                    <a:pt x="1940" y="2143"/>
                  </a:lnTo>
                  <a:lnTo>
                    <a:pt x="1822" y="2221"/>
                  </a:lnTo>
                  <a:lnTo>
                    <a:pt x="1836" y="2221"/>
                  </a:lnTo>
                  <a:lnTo>
                    <a:pt x="1831" y="2230"/>
                  </a:lnTo>
                  <a:lnTo>
                    <a:pt x="1815" y="2254"/>
                  </a:lnTo>
                  <a:lnTo>
                    <a:pt x="1815" y="2242"/>
                  </a:lnTo>
                  <a:lnTo>
                    <a:pt x="1815" y="2237"/>
                  </a:lnTo>
                  <a:lnTo>
                    <a:pt x="1798" y="2242"/>
                  </a:lnTo>
                  <a:lnTo>
                    <a:pt x="1793" y="2254"/>
                  </a:lnTo>
                  <a:lnTo>
                    <a:pt x="1777" y="2254"/>
                  </a:lnTo>
                  <a:lnTo>
                    <a:pt x="1798" y="2259"/>
                  </a:lnTo>
                  <a:lnTo>
                    <a:pt x="1793" y="2275"/>
                  </a:lnTo>
                  <a:lnTo>
                    <a:pt x="1777" y="2287"/>
                  </a:lnTo>
                  <a:lnTo>
                    <a:pt x="1784" y="2287"/>
                  </a:lnTo>
                  <a:lnTo>
                    <a:pt x="1784" y="2308"/>
                  </a:lnTo>
                  <a:lnTo>
                    <a:pt x="1777" y="2313"/>
                  </a:lnTo>
                  <a:lnTo>
                    <a:pt x="1767" y="2296"/>
                  </a:lnTo>
                  <a:lnTo>
                    <a:pt x="1777" y="2313"/>
                  </a:lnTo>
                  <a:lnTo>
                    <a:pt x="1784" y="2329"/>
                  </a:lnTo>
                  <a:lnTo>
                    <a:pt x="1777" y="2348"/>
                  </a:lnTo>
                  <a:lnTo>
                    <a:pt x="1784" y="2381"/>
                  </a:lnTo>
                  <a:lnTo>
                    <a:pt x="1793" y="2386"/>
                  </a:lnTo>
                  <a:lnTo>
                    <a:pt x="1784" y="2386"/>
                  </a:lnTo>
                  <a:lnTo>
                    <a:pt x="1784" y="2419"/>
                  </a:lnTo>
                  <a:lnTo>
                    <a:pt x="1784" y="2440"/>
                  </a:lnTo>
                  <a:lnTo>
                    <a:pt x="1777" y="2492"/>
                  </a:lnTo>
                  <a:lnTo>
                    <a:pt x="1767" y="2476"/>
                  </a:lnTo>
                  <a:lnTo>
                    <a:pt x="1777" y="2492"/>
                  </a:lnTo>
                  <a:lnTo>
                    <a:pt x="1730" y="2530"/>
                  </a:lnTo>
                  <a:lnTo>
                    <a:pt x="1706" y="2551"/>
                  </a:lnTo>
                  <a:lnTo>
                    <a:pt x="1685" y="2592"/>
                  </a:lnTo>
                  <a:lnTo>
                    <a:pt x="1668" y="2641"/>
                  </a:lnTo>
                  <a:lnTo>
                    <a:pt x="1637" y="2686"/>
                  </a:lnTo>
                  <a:lnTo>
                    <a:pt x="1583" y="2740"/>
                  </a:lnTo>
                  <a:lnTo>
                    <a:pt x="1550" y="2757"/>
                  </a:lnTo>
                  <a:lnTo>
                    <a:pt x="1545" y="2773"/>
                  </a:lnTo>
                  <a:lnTo>
                    <a:pt x="1545" y="2757"/>
                  </a:lnTo>
                  <a:lnTo>
                    <a:pt x="1533" y="2752"/>
                  </a:lnTo>
                  <a:lnTo>
                    <a:pt x="1562" y="2752"/>
                  </a:lnTo>
                  <a:lnTo>
                    <a:pt x="1588" y="2731"/>
                  </a:lnTo>
                  <a:lnTo>
                    <a:pt x="1600" y="2719"/>
                  </a:lnTo>
                  <a:lnTo>
                    <a:pt x="1604" y="2686"/>
                  </a:lnTo>
                  <a:lnTo>
                    <a:pt x="1621" y="2696"/>
                  </a:lnTo>
                  <a:lnTo>
                    <a:pt x="1621" y="2679"/>
                  </a:lnTo>
                  <a:lnTo>
                    <a:pt x="1637" y="2662"/>
                  </a:lnTo>
                  <a:lnTo>
                    <a:pt x="1637" y="2641"/>
                  </a:lnTo>
                  <a:lnTo>
                    <a:pt x="1642" y="2641"/>
                  </a:lnTo>
                  <a:lnTo>
                    <a:pt x="1654" y="2625"/>
                  </a:lnTo>
                  <a:lnTo>
                    <a:pt x="1642" y="2625"/>
                  </a:lnTo>
                  <a:lnTo>
                    <a:pt x="1637" y="2629"/>
                  </a:lnTo>
                  <a:lnTo>
                    <a:pt x="1621" y="2629"/>
                  </a:lnTo>
                  <a:lnTo>
                    <a:pt x="1621" y="2641"/>
                  </a:lnTo>
                  <a:lnTo>
                    <a:pt x="1616" y="2641"/>
                  </a:lnTo>
                  <a:lnTo>
                    <a:pt x="1616" y="2625"/>
                  </a:lnTo>
                  <a:lnTo>
                    <a:pt x="1604" y="2625"/>
                  </a:lnTo>
                  <a:lnTo>
                    <a:pt x="1600" y="2608"/>
                  </a:lnTo>
                  <a:lnTo>
                    <a:pt x="1600" y="2620"/>
                  </a:lnTo>
                  <a:lnTo>
                    <a:pt x="1604" y="2641"/>
                  </a:lnTo>
                  <a:lnTo>
                    <a:pt x="1600" y="2674"/>
                  </a:lnTo>
                  <a:lnTo>
                    <a:pt x="1588" y="2658"/>
                  </a:lnTo>
                  <a:lnTo>
                    <a:pt x="1583" y="2686"/>
                  </a:lnTo>
                  <a:lnTo>
                    <a:pt x="1550" y="2712"/>
                  </a:lnTo>
                  <a:lnTo>
                    <a:pt x="1545" y="2736"/>
                  </a:lnTo>
                  <a:lnTo>
                    <a:pt x="1529" y="2740"/>
                  </a:lnTo>
                  <a:lnTo>
                    <a:pt x="1533" y="2757"/>
                  </a:lnTo>
                  <a:lnTo>
                    <a:pt x="1529" y="2769"/>
                  </a:lnTo>
                  <a:lnTo>
                    <a:pt x="1533" y="2773"/>
                  </a:lnTo>
                  <a:lnTo>
                    <a:pt x="1524" y="2807"/>
                  </a:lnTo>
                  <a:lnTo>
                    <a:pt x="1496" y="2851"/>
                  </a:lnTo>
                  <a:lnTo>
                    <a:pt x="1453" y="2901"/>
                  </a:lnTo>
                  <a:lnTo>
                    <a:pt x="1437" y="2901"/>
                  </a:lnTo>
                  <a:lnTo>
                    <a:pt x="1437" y="2851"/>
                  </a:lnTo>
                  <a:lnTo>
                    <a:pt x="1470" y="2823"/>
                  </a:lnTo>
                  <a:lnTo>
                    <a:pt x="1437" y="2797"/>
                  </a:lnTo>
                  <a:lnTo>
                    <a:pt x="1415" y="2757"/>
                  </a:lnTo>
                  <a:lnTo>
                    <a:pt x="1382" y="2752"/>
                  </a:lnTo>
                  <a:lnTo>
                    <a:pt x="1366" y="2719"/>
                  </a:lnTo>
                  <a:lnTo>
                    <a:pt x="1319" y="2703"/>
                  </a:lnTo>
                  <a:lnTo>
                    <a:pt x="1297" y="2674"/>
                  </a:lnTo>
                  <a:lnTo>
                    <a:pt x="1276" y="2686"/>
                  </a:lnTo>
                  <a:lnTo>
                    <a:pt x="1264" y="2686"/>
                  </a:lnTo>
                  <a:lnTo>
                    <a:pt x="1264" y="2674"/>
                  </a:lnTo>
                  <a:lnTo>
                    <a:pt x="1210" y="2620"/>
                  </a:lnTo>
                  <a:lnTo>
                    <a:pt x="1189" y="2620"/>
                  </a:lnTo>
                  <a:lnTo>
                    <a:pt x="1184" y="2629"/>
                  </a:lnTo>
                  <a:lnTo>
                    <a:pt x="1156" y="2625"/>
                  </a:lnTo>
                  <a:lnTo>
                    <a:pt x="1151" y="2625"/>
                  </a:lnTo>
                  <a:lnTo>
                    <a:pt x="1172" y="2608"/>
                  </a:lnTo>
                  <a:lnTo>
                    <a:pt x="1172" y="2592"/>
                  </a:lnTo>
                  <a:lnTo>
                    <a:pt x="1189" y="2585"/>
                  </a:lnTo>
                  <a:lnTo>
                    <a:pt x="1222" y="2535"/>
                  </a:lnTo>
                  <a:lnTo>
                    <a:pt x="1238" y="2535"/>
                  </a:lnTo>
                  <a:lnTo>
                    <a:pt x="1243" y="2514"/>
                  </a:lnTo>
                  <a:lnTo>
                    <a:pt x="1276" y="2481"/>
                  </a:lnTo>
                  <a:lnTo>
                    <a:pt x="1290" y="2481"/>
                  </a:lnTo>
                  <a:lnTo>
                    <a:pt x="1290" y="2476"/>
                  </a:lnTo>
                  <a:lnTo>
                    <a:pt x="1281" y="2464"/>
                  </a:lnTo>
                  <a:lnTo>
                    <a:pt x="1307" y="2457"/>
                  </a:lnTo>
                  <a:lnTo>
                    <a:pt x="1314" y="2440"/>
                  </a:lnTo>
                  <a:lnTo>
                    <a:pt x="1335" y="2436"/>
                  </a:lnTo>
                  <a:lnTo>
                    <a:pt x="1352" y="2407"/>
                  </a:lnTo>
                  <a:lnTo>
                    <a:pt x="1382" y="2403"/>
                  </a:lnTo>
                  <a:lnTo>
                    <a:pt x="1420" y="2381"/>
                  </a:lnTo>
                  <a:lnTo>
                    <a:pt x="1427" y="2365"/>
                  </a:lnTo>
                  <a:lnTo>
                    <a:pt x="1427" y="2325"/>
                  </a:lnTo>
                  <a:lnTo>
                    <a:pt x="1427" y="2313"/>
                  </a:lnTo>
                  <a:lnTo>
                    <a:pt x="1420" y="2292"/>
                  </a:lnTo>
                  <a:lnTo>
                    <a:pt x="1415" y="2270"/>
                  </a:lnTo>
                  <a:lnTo>
                    <a:pt x="1399" y="2254"/>
                  </a:lnTo>
                  <a:lnTo>
                    <a:pt x="1373" y="2270"/>
                  </a:lnTo>
                  <a:lnTo>
                    <a:pt x="1366" y="2259"/>
                  </a:lnTo>
                  <a:lnTo>
                    <a:pt x="1361" y="2254"/>
                  </a:lnTo>
                  <a:lnTo>
                    <a:pt x="1373" y="2230"/>
                  </a:lnTo>
                  <a:lnTo>
                    <a:pt x="1373" y="2221"/>
                  </a:lnTo>
                  <a:lnTo>
                    <a:pt x="1389" y="2164"/>
                  </a:lnTo>
                  <a:lnTo>
                    <a:pt x="1382" y="2148"/>
                  </a:lnTo>
                  <a:lnTo>
                    <a:pt x="1389" y="2148"/>
                  </a:lnTo>
                  <a:lnTo>
                    <a:pt x="1361" y="2126"/>
                  </a:lnTo>
                  <a:lnTo>
                    <a:pt x="1335" y="2143"/>
                  </a:lnTo>
                  <a:lnTo>
                    <a:pt x="1307" y="2143"/>
                  </a:lnTo>
                  <a:lnTo>
                    <a:pt x="1290" y="2053"/>
                  </a:lnTo>
                  <a:lnTo>
                    <a:pt x="1290" y="2036"/>
                  </a:lnTo>
                  <a:lnTo>
                    <a:pt x="1276" y="2015"/>
                  </a:lnTo>
                  <a:lnTo>
                    <a:pt x="1252" y="2008"/>
                  </a:lnTo>
                  <a:lnTo>
                    <a:pt x="1238" y="1992"/>
                  </a:lnTo>
                  <a:lnTo>
                    <a:pt x="1222" y="2008"/>
                  </a:lnTo>
                  <a:lnTo>
                    <a:pt x="1205" y="2008"/>
                  </a:lnTo>
                  <a:lnTo>
                    <a:pt x="1130" y="1999"/>
                  </a:lnTo>
                  <a:lnTo>
                    <a:pt x="1130" y="1954"/>
                  </a:lnTo>
                  <a:lnTo>
                    <a:pt x="1134" y="1942"/>
                  </a:lnTo>
                  <a:lnTo>
                    <a:pt x="1134" y="1909"/>
                  </a:lnTo>
                  <a:lnTo>
                    <a:pt x="1113" y="1848"/>
                  </a:lnTo>
                  <a:lnTo>
                    <a:pt x="1134" y="1836"/>
                  </a:lnTo>
                  <a:lnTo>
                    <a:pt x="1118" y="1814"/>
                  </a:lnTo>
                  <a:lnTo>
                    <a:pt x="1146" y="1770"/>
                  </a:lnTo>
                  <a:lnTo>
                    <a:pt x="1146" y="1760"/>
                  </a:lnTo>
                  <a:lnTo>
                    <a:pt x="1156" y="1703"/>
                  </a:lnTo>
                  <a:lnTo>
                    <a:pt x="1146" y="1682"/>
                  </a:lnTo>
                  <a:lnTo>
                    <a:pt x="1146" y="1659"/>
                  </a:lnTo>
                  <a:lnTo>
                    <a:pt x="1096" y="1633"/>
                  </a:lnTo>
                  <a:lnTo>
                    <a:pt x="1092" y="1592"/>
                  </a:lnTo>
                  <a:lnTo>
                    <a:pt x="1101" y="1576"/>
                  </a:lnTo>
                  <a:lnTo>
                    <a:pt x="1101" y="1559"/>
                  </a:lnTo>
                  <a:lnTo>
                    <a:pt x="971" y="1559"/>
                  </a:lnTo>
                  <a:lnTo>
                    <a:pt x="967" y="1498"/>
                  </a:lnTo>
                  <a:lnTo>
                    <a:pt x="941" y="1477"/>
                  </a:lnTo>
                  <a:lnTo>
                    <a:pt x="967" y="1477"/>
                  </a:lnTo>
                  <a:lnTo>
                    <a:pt x="967" y="1437"/>
                  </a:lnTo>
                  <a:lnTo>
                    <a:pt x="950" y="1403"/>
                  </a:lnTo>
                  <a:lnTo>
                    <a:pt x="957" y="1394"/>
                  </a:lnTo>
                  <a:lnTo>
                    <a:pt x="950" y="1382"/>
                  </a:lnTo>
                  <a:lnTo>
                    <a:pt x="912" y="1354"/>
                  </a:lnTo>
                  <a:lnTo>
                    <a:pt x="858" y="1366"/>
                  </a:lnTo>
                  <a:lnTo>
                    <a:pt x="832" y="1333"/>
                  </a:lnTo>
                  <a:lnTo>
                    <a:pt x="820" y="1333"/>
                  </a:lnTo>
                  <a:lnTo>
                    <a:pt x="794" y="1316"/>
                  </a:lnTo>
                  <a:lnTo>
                    <a:pt x="789" y="1325"/>
                  </a:lnTo>
                  <a:lnTo>
                    <a:pt x="773" y="1309"/>
                  </a:lnTo>
                  <a:lnTo>
                    <a:pt x="773" y="1292"/>
                  </a:lnTo>
                  <a:lnTo>
                    <a:pt x="752" y="1300"/>
                  </a:lnTo>
                  <a:lnTo>
                    <a:pt x="723" y="1283"/>
                  </a:lnTo>
                  <a:lnTo>
                    <a:pt x="714" y="1283"/>
                  </a:lnTo>
                  <a:lnTo>
                    <a:pt x="681" y="1283"/>
                  </a:lnTo>
                  <a:lnTo>
                    <a:pt x="669" y="1259"/>
                  </a:lnTo>
                  <a:lnTo>
                    <a:pt x="648" y="1259"/>
                  </a:lnTo>
                  <a:lnTo>
                    <a:pt x="648" y="1243"/>
                  </a:lnTo>
                  <a:lnTo>
                    <a:pt x="631" y="1243"/>
                  </a:lnTo>
                  <a:lnTo>
                    <a:pt x="631" y="1226"/>
                  </a:lnTo>
                  <a:lnTo>
                    <a:pt x="617" y="1226"/>
                  </a:lnTo>
                  <a:lnTo>
                    <a:pt x="626" y="1222"/>
                  </a:lnTo>
                  <a:lnTo>
                    <a:pt x="610" y="1205"/>
                  </a:lnTo>
                  <a:lnTo>
                    <a:pt x="610" y="1188"/>
                  </a:lnTo>
                  <a:lnTo>
                    <a:pt x="610" y="1172"/>
                  </a:lnTo>
                  <a:lnTo>
                    <a:pt x="605" y="1132"/>
                  </a:lnTo>
                  <a:lnTo>
                    <a:pt x="610" y="1115"/>
                  </a:lnTo>
                  <a:lnTo>
                    <a:pt x="610" y="1077"/>
                  </a:lnTo>
                  <a:lnTo>
                    <a:pt x="593" y="1087"/>
                  </a:lnTo>
                  <a:lnTo>
                    <a:pt x="556" y="1087"/>
                  </a:lnTo>
                  <a:lnTo>
                    <a:pt x="518" y="1094"/>
                  </a:lnTo>
                  <a:lnTo>
                    <a:pt x="487" y="1115"/>
                  </a:lnTo>
                  <a:lnTo>
                    <a:pt x="471" y="1127"/>
                  </a:lnTo>
                  <a:lnTo>
                    <a:pt x="454" y="1132"/>
                  </a:lnTo>
                  <a:lnTo>
                    <a:pt x="442" y="1148"/>
                  </a:lnTo>
                  <a:lnTo>
                    <a:pt x="416" y="1148"/>
                  </a:lnTo>
                  <a:lnTo>
                    <a:pt x="400" y="1172"/>
                  </a:lnTo>
                  <a:lnTo>
                    <a:pt x="378" y="1181"/>
                  </a:lnTo>
                  <a:lnTo>
                    <a:pt x="374" y="1181"/>
                  </a:lnTo>
                  <a:lnTo>
                    <a:pt x="362" y="1172"/>
                  </a:lnTo>
                  <a:lnTo>
                    <a:pt x="319" y="1172"/>
                  </a:lnTo>
                  <a:lnTo>
                    <a:pt x="286" y="1165"/>
                  </a:lnTo>
                  <a:lnTo>
                    <a:pt x="265" y="1181"/>
                  </a:lnTo>
                  <a:lnTo>
                    <a:pt x="248" y="1165"/>
                  </a:lnTo>
                  <a:lnTo>
                    <a:pt x="237" y="1172"/>
                  </a:lnTo>
                  <a:lnTo>
                    <a:pt x="237" y="1087"/>
                  </a:lnTo>
                  <a:lnTo>
                    <a:pt x="248" y="1061"/>
                  </a:lnTo>
                  <a:lnTo>
                    <a:pt x="194" y="1106"/>
                  </a:lnTo>
                  <a:lnTo>
                    <a:pt x="130" y="1106"/>
                  </a:lnTo>
                  <a:lnTo>
                    <a:pt x="114" y="1061"/>
                  </a:lnTo>
                  <a:lnTo>
                    <a:pt x="55" y="1054"/>
                  </a:lnTo>
                  <a:lnTo>
                    <a:pt x="76" y="1037"/>
                  </a:lnTo>
                  <a:lnTo>
                    <a:pt x="76" y="1021"/>
                  </a:lnTo>
                  <a:lnTo>
                    <a:pt x="38" y="983"/>
                  </a:lnTo>
                  <a:lnTo>
                    <a:pt x="33" y="959"/>
                  </a:lnTo>
                  <a:lnTo>
                    <a:pt x="17" y="950"/>
                  </a:lnTo>
                  <a:lnTo>
                    <a:pt x="22" y="938"/>
                  </a:lnTo>
                  <a:lnTo>
                    <a:pt x="0" y="922"/>
                  </a:lnTo>
                  <a:lnTo>
                    <a:pt x="5" y="910"/>
                  </a:lnTo>
                  <a:lnTo>
                    <a:pt x="22" y="905"/>
                  </a:lnTo>
                  <a:lnTo>
                    <a:pt x="17" y="888"/>
                  </a:lnTo>
                  <a:lnTo>
                    <a:pt x="22" y="872"/>
                  </a:lnTo>
                  <a:lnTo>
                    <a:pt x="59" y="839"/>
                  </a:lnTo>
                  <a:lnTo>
                    <a:pt x="55" y="815"/>
                  </a:lnTo>
                  <a:lnTo>
                    <a:pt x="76" y="782"/>
                  </a:lnTo>
                  <a:lnTo>
                    <a:pt x="85" y="744"/>
                  </a:lnTo>
                  <a:lnTo>
                    <a:pt x="147" y="704"/>
                  </a:lnTo>
                  <a:lnTo>
                    <a:pt x="199" y="688"/>
                  </a:lnTo>
                  <a:lnTo>
                    <a:pt x="215" y="688"/>
                  </a:lnTo>
                  <a:lnTo>
                    <a:pt x="232" y="671"/>
                  </a:lnTo>
                  <a:lnTo>
                    <a:pt x="265" y="671"/>
                  </a:lnTo>
                  <a:lnTo>
                    <a:pt x="270" y="688"/>
                  </a:lnTo>
                  <a:lnTo>
                    <a:pt x="274" y="688"/>
                  </a:lnTo>
                  <a:lnTo>
                    <a:pt x="286" y="683"/>
                  </a:lnTo>
                  <a:lnTo>
                    <a:pt x="286" y="683"/>
                  </a:lnTo>
                  <a:lnTo>
                    <a:pt x="286" y="683"/>
                  </a:lnTo>
                  <a:close/>
                  <a:moveTo>
                    <a:pt x="1654" y="222"/>
                  </a:moveTo>
                  <a:lnTo>
                    <a:pt x="1659" y="222"/>
                  </a:lnTo>
                  <a:lnTo>
                    <a:pt x="1654" y="222"/>
                  </a:lnTo>
                  <a:lnTo>
                    <a:pt x="1654" y="222"/>
                  </a:lnTo>
                  <a:lnTo>
                    <a:pt x="1654" y="222"/>
                  </a:lnTo>
                  <a:close/>
                  <a:moveTo>
                    <a:pt x="1659" y="246"/>
                  </a:moveTo>
                  <a:lnTo>
                    <a:pt x="1654" y="229"/>
                  </a:lnTo>
                  <a:lnTo>
                    <a:pt x="1659" y="222"/>
                  </a:lnTo>
                  <a:lnTo>
                    <a:pt x="1668" y="239"/>
                  </a:lnTo>
                  <a:lnTo>
                    <a:pt x="1659" y="246"/>
                  </a:lnTo>
                  <a:lnTo>
                    <a:pt x="1659" y="246"/>
                  </a:lnTo>
                  <a:lnTo>
                    <a:pt x="1659" y="246"/>
                  </a:lnTo>
                  <a:close/>
                  <a:moveTo>
                    <a:pt x="1685" y="312"/>
                  </a:moveTo>
                  <a:lnTo>
                    <a:pt x="1692" y="300"/>
                  </a:lnTo>
                  <a:lnTo>
                    <a:pt x="1685" y="312"/>
                  </a:lnTo>
                  <a:lnTo>
                    <a:pt x="1685" y="312"/>
                  </a:lnTo>
                  <a:lnTo>
                    <a:pt x="1685" y="312"/>
                  </a:lnTo>
                  <a:close/>
                  <a:moveTo>
                    <a:pt x="1668" y="329"/>
                  </a:moveTo>
                  <a:lnTo>
                    <a:pt x="1675" y="317"/>
                  </a:lnTo>
                  <a:lnTo>
                    <a:pt x="1685" y="312"/>
                  </a:lnTo>
                  <a:lnTo>
                    <a:pt x="1685" y="317"/>
                  </a:lnTo>
                  <a:lnTo>
                    <a:pt x="1668" y="329"/>
                  </a:lnTo>
                  <a:lnTo>
                    <a:pt x="1668" y="329"/>
                  </a:lnTo>
                  <a:lnTo>
                    <a:pt x="1668" y="329"/>
                  </a:lnTo>
                  <a:close/>
                  <a:moveTo>
                    <a:pt x="1668" y="357"/>
                  </a:moveTo>
                  <a:lnTo>
                    <a:pt x="1668" y="338"/>
                  </a:lnTo>
                  <a:lnTo>
                    <a:pt x="1685" y="333"/>
                  </a:lnTo>
                  <a:lnTo>
                    <a:pt x="1685" y="338"/>
                  </a:lnTo>
                  <a:lnTo>
                    <a:pt x="1668" y="357"/>
                  </a:lnTo>
                  <a:lnTo>
                    <a:pt x="1668" y="357"/>
                  </a:lnTo>
                  <a:lnTo>
                    <a:pt x="1668" y="357"/>
                  </a:lnTo>
                  <a:close/>
                  <a:moveTo>
                    <a:pt x="1654" y="366"/>
                  </a:moveTo>
                  <a:lnTo>
                    <a:pt x="1659" y="333"/>
                  </a:lnTo>
                  <a:lnTo>
                    <a:pt x="1668" y="357"/>
                  </a:lnTo>
                  <a:lnTo>
                    <a:pt x="1654" y="366"/>
                  </a:lnTo>
                  <a:lnTo>
                    <a:pt x="1654" y="366"/>
                  </a:lnTo>
                  <a:lnTo>
                    <a:pt x="1654" y="366"/>
                  </a:lnTo>
                  <a:close/>
                  <a:moveTo>
                    <a:pt x="1685" y="383"/>
                  </a:moveTo>
                  <a:lnTo>
                    <a:pt x="1659" y="374"/>
                  </a:lnTo>
                  <a:lnTo>
                    <a:pt x="1659" y="366"/>
                  </a:lnTo>
                  <a:lnTo>
                    <a:pt x="1706" y="357"/>
                  </a:lnTo>
                  <a:lnTo>
                    <a:pt x="1713" y="366"/>
                  </a:lnTo>
                  <a:lnTo>
                    <a:pt x="1685" y="383"/>
                  </a:lnTo>
                  <a:lnTo>
                    <a:pt x="1685" y="383"/>
                  </a:lnTo>
                  <a:lnTo>
                    <a:pt x="1685" y="383"/>
                  </a:lnTo>
                  <a:close/>
                  <a:moveTo>
                    <a:pt x="1654" y="383"/>
                  </a:moveTo>
                  <a:lnTo>
                    <a:pt x="1642" y="366"/>
                  </a:lnTo>
                  <a:lnTo>
                    <a:pt x="1654" y="366"/>
                  </a:lnTo>
                  <a:lnTo>
                    <a:pt x="1654" y="383"/>
                  </a:lnTo>
                  <a:lnTo>
                    <a:pt x="1654" y="383"/>
                  </a:lnTo>
                  <a:lnTo>
                    <a:pt x="1654" y="383"/>
                  </a:lnTo>
                  <a:close/>
                  <a:moveTo>
                    <a:pt x="1730" y="383"/>
                  </a:moveTo>
                  <a:lnTo>
                    <a:pt x="1730" y="390"/>
                  </a:lnTo>
                  <a:lnTo>
                    <a:pt x="1722" y="390"/>
                  </a:lnTo>
                  <a:lnTo>
                    <a:pt x="1706" y="390"/>
                  </a:lnTo>
                  <a:lnTo>
                    <a:pt x="1696" y="383"/>
                  </a:lnTo>
                  <a:lnTo>
                    <a:pt x="1713" y="374"/>
                  </a:lnTo>
                  <a:lnTo>
                    <a:pt x="1730" y="383"/>
                  </a:lnTo>
                  <a:lnTo>
                    <a:pt x="1730" y="383"/>
                  </a:lnTo>
                  <a:lnTo>
                    <a:pt x="1730" y="383"/>
                  </a:lnTo>
                  <a:close/>
                  <a:moveTo>
                    <a:pt x="1621" y="383"/>
                  </a:moveTo>
                  <a:lnTo>
                    <a:pt x="1630" y="374"/>
                  </a:lnTo>
                  <a:lnTo>
                    <a:pt x="1637" y="374"/>
                  </a:lnTo>
                  <a:lnTo>
                    <a:pt x="1621" y="383"/>
                  </a:lnTo>
                  <a:lnTo>
                    <a:pt x="1621" y="383"/>
                  </a:lnTo>
                  <a:lnTo>
                    <a:pt x="1621" y="383"/>
                  </a:lnTo>
                  <a:close/>
                  <a:moveTo>
                    <a:pt x="1630" y="395"/>
                  </a:moveTo>
                  <a:lnTo>
                    <a:pt x="1616" y="395"/>
                  </a:lnTo>
                  <a:lnTo>
                    <a:pt x="1621" y="383"/>
                  </a:lnTo>
                  <a:lnTo>
                    <a:pt x="1637" y="383"/>
                  </a:lnTo>
                  <a:lnTo>
                    <a:pt x="1642" y="383"/>
                  </a:lnTo>
                  <a:lnTo>
                    <a:pt x="1630" y="395"/>
                  </a:lnTo>
                  <a:lnTo>
                    <a:pt x="1630" y="395"/>
                  </a:lnTo>
                  <a:lnTo>
                    <a:pt x="1630" y="395"/>
                  </a:lnTo>
                  <a:close/>
                  <a:moveTo>
                    <a:pt x="1630" y="485"/>
                  </a:moveTo>
                  <a:lnTo>
                    <a:pt x="1630" y="461"/>
                  </a:lnTo>
                  <a:lnTo>
                    <a:pt x="1642" y="449"/>
                  </a:lnTo>
                  <a:lnTo>
                    <a:pt x="1630" y="449"/>
                  </a:lnTo>
                  <a:lnTo>
                    <a:pt x="1630" y="428"/>
                  </a:lnTo>
                  <a:lnTo>
                    <a:pt x="1637" y="423"/>
                  </a:lnTo>
                  <a:lnTo>
                    <a:pt x="1654" y="428"/>
                  </a:lnTo>
                  <a:lnTo>
                    <a:pt x="1637" y="423"/>
                  </a:lnTo>
                  <a:lnTo>
                    <a:pt x="1637" y="411"/>
                  </a:lnTo>
                  <a:lnTo>
                    <a:pt x="1637" y="395"/>
                  </a:lnTo>
                  <a:lnTo>
                    <a:pt x="1654" y="390"/>
                  </a:lnTo>
                  <a:lnTo>
                    <a:pt x="1659" y="390"/>
                  </a:lnTo>
                  <a:lnTo>
                    <a:pt x="1713" y="395"/>
                  </a:lnTo>
                  <a:lnTo>
                    <a:pt x="1744" y="390"/>
                  </a:lnTo>
                  <a:lnTo>
                    <a:pt x="1798" y="395"/>
                  </a:lnTo>
                  <a:lnTo>
                    <a:pt x="1793" y="444"/>
                  </a:lnTo>
                  <a:lnTo>
                    <a:pt x="1760" y="485"/>
                  </a:lnTo>
                  <a:lnTo>
                    <a:pt x="1744" y="494"/>
                  </a:lnTo>
                  <a:lnTo>
                    <a:pt x="1722" y="494"/>
                  </a:lnTo>
                  <a:lnTo>
                    <a:pt x="1706" y="506"/>
                  </a:lnTo>
                  <a:lnTo>
                    <a:pt x="1706" y="494"/>
                  </a:lnTo>
                  <a:lnTo>
                    <a:pt x="1696" y="506"/>
                  </a:lnTo>
                  <a:lnTo>
                    <a:pt x="1685" y="501"/>
                  </a:lnTo>
                  <a:lnTo>
                    <a:pt x="1659" y="506"/>
                  </a:lnTo>
                  <a:lnTo>
                    <a:pt x="1642" y="506"/>
                  </a:lnTo>
                  <a:lnTo>
                    <a:pt x="1630" y="485"/>
                  </a:lnTo>
                  <a:lnTo>
                    <a:pt x="1630" y="485"/>
                  </a:lnTo>
                  <a:lnTo>
                    <a:pt x="1630" y="485"/>
                  </a:lnTo>
                  <a:close/>
                  <a:moveTo>
                    <a:pt x="1588" y="411"/>
                  </a:moveTo>
                  <a:lnTo>
                    <a:pt x="1600" y="390"/>
                  </a:lnTo>
                  <a:lnTo>
                    <a:pt x="1604" y="390"/>
                  </a:lnTo>
                  <a:lnTo>
                    <a:pt x="1604" y="395"/>
                  </a:lnTo>
                  <a:lnTo>
                    <a:pt x="1588" y="411"/>
                  </a:lnTo>
                  <a:lnTo>
                    <a:pt x="1588" y="411"/>
                  </a:lnTo>
                  <a:lnTo>
                    <a:pt x="1588" y="411"/>
                  </a:lnTo>
                  <a:close/>
                  <a:moveTo>
                    <a:pt x="1630" y="407"/>
                  </a:moveTo>
                  <a:lnTo>
                    <a:pt x="1621" y="407"/>
                  </a:lnTo>
                  <a:lnTo>
                    <a:pt x="1637" y="395"/>
                  </a:lnTo>
                  <a:lnTo>
                    <a:pt x="1630" y="407"/>
                  </a:lnTo>
                  <a:lnTo>
                    <a:pt x="1630" y="407"/>
                  </a:lnTo>
                  <a:lnTo>
                    <a:pt x="1630" y="407"/>
                  </a:lnTo>
                  <a:close/>
                  <a:moveTo>
                    <a:pt x="1604" y="423"/>
                  </a:moveTo>
                  <a:lnTo>
                    <a:pt x="1604" y="407"/>
                  </a:lnTo>
                  <a:lnTo>
                    <a:pt x="1616" y="395"/>
                  </a:lnTo>
                  <a:lnTo>
                    <a:pt x="1621" y="407"/>
                  </a:lnTo>
                  <a:lnTo>
                    <a:pt x="1604" y="423"/>
                  </a:lnTo>
                  <a:lnTo>
                    <a:pt x="1604" y="423"/>
                  </a:lnTo>
                  <a:lnTo>
                    <a:pt x="1604" y="423"/>
                  </a:lnTo>
                  <a:close/>
                  <a:moveTo>
                    <a:pt x="1621" y="423"/>
                  </a:moveTo>
                  <a:lnTo>
                    <a:pt x="1621" y="407"/>
                  </a:lnTo>
                  <a:lnTo>
                    <a:pt x="1630" y="407"/>
                  </a:lnTo>
                  <a:lnTo>
                    <a:pt x="1630" y="411"/>
                  </a:lnTo>
                  <a:lnTo>
                    <a:pt x="1621" y="423"/>
                  </a:lnTo>
                  <a:lnTo>
                    <a:pt x="1621" y="423"/>
                  </a:lnTo>
                  <a:lnTo>
                    <a:pt x="1621" y="423"/>
                  </a:lnTo>
                  <a:close/>
                  <a:moveTo>
                    <a:pt x="1550" y="485"/>
                  </a:moveTo>
                  <a:lnTo>
                    <a:pt x="1550" y="461"/>
                  </a:lnTo>
                  <a:lnTo>
                    <a:pt x="1567" y="449"/>
                  </a:lnTo>
                  <a:lnTo>
                    <a:pt x="1578" y="428"/>
                  </a:lnTo>
                  <a:lnTo>
                    <a:pt x="1588" y="423"/>
                  </a:lnTo>
                  <a:lnTo>
                    <a:pt x="1604" y="411"/>
                  </a:lnTo>
                  <a:lnTo>
                    <a:pt x="1604" y="428"/>
                  </a:lnTo>
                  <a:lnTo>
                    <a:pt x="1600" y="449"/>
                  </a:lnTo>
                  <a:lnTo>
                    <a:pt x="1583" y="468"/>
                  </a:lnTo>
                  <a:lnTo>
                    <a:pt x="1550" y="485"/>
                  </a:lnTo>
                  <a:lnTo>
                    <a:pt x="1550" y="485"/>
                  </a:lnTo>
                  <a:lnTo>
                    <a:pt x="1550" y="485"/>
                  </a:lnTo>
                  <a:close/>
                  <a:moveTo>
                    <a:pt x="1604" y="444"/>
                  </a:moveTo>
                  <a:lnTo>
                    <a:pt x="1616" y="428"/>
                  </a:lnTo>
                  <a:lnTo>
                    <a:pt x="1630" y="423"/>
                  </a:lnTo>
                  <a:lnTo>
                    <a:pt x="1630" y="428"/>
                  </a:lnTo>
                  <a:lnTo>
                    <a:pt x="1604" y="444"/>
                  </a:lnTo>
                  <a:lnTo>
                    <a:pt x="1604" y="444"/>
                  </a:lnTo>
                  <a:lnTo>
                    <a:pt x="1604" y="444"/>
                  </a:lnTo>
                  <a:close/>
                  <a:moveTo>
                    <a:pt x="1831" y="428"/>
                  </a:moveTo>
                  <a:lnTo>
                    <a:pt x="1831" y="423"/>
                  </a:lnTo>
                  <a:lnTo>
                    <a:pt x="1836" y="428"/>
                  </a:lnTo>
                  <a:lnTo>
                    <a:pt x="1831" y="428"/>
                  </a:lnTo>
                  <a:lnTo>
                    <a:pt x="1831" y="428"/>
                  </a:lnTo>
                  <a:lnTo>
                    <a:pt x="1831" y="428"/>
                  </a:lnTo>
                  <a:close/>
                  <a:moveTo>
                    <a:pt x="1621" y="440"/>
                  </a:moveTo>
                  <a:lnTo>
                    <a:pt x="1621" y="428"/>
                  </a:lnTo>
                  <a:lnTo>
                    <a:pt x="1630" y="428"/>
                  </a:lnTo>
                  <a:lnTo>
                    <a:pt x="1621" y="440"/>
                  </a:lnTo>
                  <a:lnTo>
                    <a:pt x="1621" y="440"/>
                  </a:lnTo>
                  <a:lnTo>
                    <a:pt x="1621" y="440"/>
                  </a:lnTo>
                  <a:close/>
                  <a:moveTo>
                    <a:pt x="1588" y="468"/>
                  </a:moveTo>
                  <a:lnTo>
                    <a:pt x="1604" y="440"/>
                  </a:lnTo>
                  <a:lnTo>
                    <a:pt x="1600" y="461"/>
                  </a:lnTo>
                  <a:lnTo>
                    <a:pt x="1588" y="468"/>
                  </a:lnTo>
                  <a:lnTo>
                    <a:pt x="1588" y="468"/>
                  </a:lnTo>
                  <a:lnTo>
                    <a:pt x="1588" y="468"/>
                  </a:lnTo>
                  <a:close/>
                  <a:moveTo>
                    <a:pt x="1928" y="449"/>
                  </a:moveTo>
                  <a:lnTo>
                    <a:pt x="1940" y="444"/>
                  </a:lnTo>
                  <a:lnTo>
                    <a:pt x="1940" y="449"/>
                  </a:lnTo>
                  <a:lnTo>
                    <a:pt x="1928" y="449"/>
                  </a:lnTo>
                  <a:lnTo>
                    <a:pt x="1928" y="449"/>
                  </a:lnTo>
                  <a:lnTo>
                    <a:pt x="1928" y="449"/>
                  </a:lnTo>
                  <a:close/>
                  <a:moveTo>
                    <a:pt x="1798" y="468"/>
                  </a:moveTo>
                  <a:lnTo>
                    <a:pt x="1793" y="461"/>
                  </a:lnTo>
                  <a:lnTo>
                    <a:pt x="1798" y="449"/>
                  </a:lnTo>
                  <a:lnTo>
                    <a:pt x="1805" y="449"/>
                  </a:lnTo>
                  <a:lnTo>
                    <a:pt x="1798" y="468"/>
                  </a:lnTo>
                  <a:lnTo>
                    <a:pt x="1798" y="468"/>
                  </a:lnTo>
                  <a:lnTo>
                    <a:pt x="1798" y="468"/>
                  </a:lnTo>
                  <a:close/>
                  <a:moveTo>
                    <a:pt x="2037" y="477"/>
                  </a:moveTo>
                  <a:lnTo>
                    <a:pt x="2037" y="468"/>
                  </a:lnTo>
                  <a:lnTo>
                    <a:pt x="2048" y="468"/>
                  </a:lnTo>
                  <a:lnTo>
                    <a:pt x="2037" y="477"/>
                  </a:lnTo>
                  <a:lnTo>
                    <a:pt x="2037" y="477"/>
                  </a:lnTo>
                  <a:lnTo>
                    <a:pt x="2037" y="477"/>
                  </a:lnTo>
                  <a:close/>
                  <a:moveTo>
                    <a:pt x="1512" y="485"/>
                  </a:moveTo>
                  <a:lnTo>
                    <a:pt x="1533" y="477"/>
                  </a:lnTo>
                  <a:lnTo>
                    <a:pt x="1512" y="485"/>
                  </a:lnTo>
                  <a:lnTo>
                    <a:pt x="1512" y="485"/>
                  </a:lnTo>
                  <a:lnTo>
                    <a:pt x="1512" y="485"/>
                  </a:lnTo>
                  <a:close/>
                  <a:moveTo>
                    <a:pt x="1529" y="501"/>
                  </a:moveTo>
                  <a:lnTo>
                    <a:pt x="1533" y="485"/>
                  </a:lnTo>
                  <a:lnTo>
                    <a:pt x="1545" y="485"/>
                  </a:lnTo>
                  <a:lnTo>
                    <a:pt x="1550" y="485"/>
                  </a:lnTo>
                  <a:lnTo>
                    <a:pt x="1529" y="501"/>
                  </a:lnTo>
                  <a:lnTo>
                    <a:pt x="1529" y="501"/>
                  </a:lnTo>
                  <a:lnTo>
                    <a:pt x="1529" y="501"/>
                  </a:lnTo>
                  <a:close/>
                  <a:moveTo>
                    <a:pt x="2053" y="501"/>
                  </a:moveTo>
                  <a:lnTo>
                    <a:pt x="2063" y="494"/>
                  </a:lnTo>
                  <a:lnTo>
                    <a:pt x="2063" y="501"/>
                  </a:lnTo>
                  <a:lnTo>
                    <a:pt x="2053" y="501"/>
                  </a:lnTo>
                  <a:lnTo>
                    <a:pt x="2053" y="501"/>
                  </a:lnTo>
                  <a:lnTo>
                    <a:pt x="2053" y="501"/>
                  </a:lnTo>
                  <a:close/>
                  <a:moveTo>
                    <a:pt x="1760" y="506"/>
                  </a:moveTo>
                  <a:lnTo>
                    <a:pt x="1751" y="501"/>
                  </a:lnTo>
                  <a:lnTo>
                    <a:pt x="1760" y="494"/>
                  </a:lnTo>
                  <a:lnTo>
                    <a:pt x="1760" y="506"/>
                  </a:lnTo>
                  <a:lnTo>
                    <a:pt x="1760" y="506"/>
                  </a:lnTo>
                  <a:lnTo>
                    <a:pt x="1760" y="506"/>
                  </a:lnTo>
                  <a:close/>
                  <a:moveTo>
                    <a:pt x="1744" y="518"/>
                  </a:moveTo>
                  <a:lnTo>
                    <a:pt x="1751" y="501"/>
                  </a:lnTo>
                  <a:lnTo>
                    <a:pt x="1751" y="506"/>
                  </a:lnTo>
                  <a:lnTo>
                    <a:pt x="1744" y="518"/>
                  </a:lnTo>
                  <a:lnTo>
                    <a:pt x="1744" y="518"/>
                  </a:lnTo>
                  <a:lnTo>
                    <a:pt x="1744" y="518"/>
                  </a:lnTo>
                  <a:close/>
                  <a:moveTo>
                    <a:pt x="1630" y="522"/>
                  </a:moveTo>
                  <a:lnTo>
                    <a:pt x="1616" y="522"/>
                  </a:lnTo>
                  <a:lnTo>
                    <a:pt x="1604" y="506"/>
                  </a:lnTo>
                  <a:lnTo>
                    <a:pt x="1630" y="518"/>
                  </a:lnTo>
                  <a:lnTo>
                    <a:pt x="1630" y="522"/>
                  </a:lnTo>
                  <a:lnTo>
                    <a:pt x="1630" y="522"/>
                  </a:lnTo>
                  <a:lnTo>
                    <a:pt x="1630" y="522"/>
                  </a:lnTo>
                  <a:close/>
                  <a:moveTo>
                    <a:pt x="2247" y="577"/>
                  </a:moveTo>
                  <a:lnTo>
                    <a:pt x="2237" y="572"/>
                  </a:lnTo>
                  <a:lnTo>
                    <a:pt x="2247" y="572"/>
                  </a:lnTo>
                  <a:lnTo>
                    <a:pt x="2247" y="577"/>
                  </a:lnTo>
                  <a:lnTo>
                    <a:pt x="2247" y="577"/>
                  </a:lnTo>
                  <a:lnTo>
                    <a:pt x="2247" y="577"/>
                  </a:lnTo>
                  <a:close/>
                  <a:moveTo>
                    <a:pt x="2070" y="596"/>
                  </a:moveTo>
                  <a:lnTo>
                    <a:pt x="2070" y="577"/>
                  </a:lnTo>
                  <a:lnTo>
                    <a:pt x="2074" y="572"/>
                  </a:lnTo>
                  <a:lnTo>
                    <a:pt x="2070" y="589"/>
                  </a:lnTo>
                  <a:lnTo>
                    <a:pt x="2070" y="596"/>
                  </a:lnTo>
                  <a:lnTo>
                    <a:pt x="2070" y="596"/>
                  </a:lnTo>
                  <a:lnTo>
                    <a:pt x="2070" y="596"/>
                  </a:lnTo>
                  <a:close/>
                  <a:moveTo>
                    <a:pt x="2469" y="1333"/>
                  </a:moveTo>
                  <a:lnTo>
                    <a:pt x="2485" y="1309"/>
                  </a:lnTo>
                  <a:lnTo>
                    <a:pt x="2485" y="1316"/>
                  </a:lnTo>
                  <a:lnTo>
                    <a:pt x="2469" y="1333"/>
                  </a:lnTo>
                  <a:lnTo>
                    <a:pt x="2469" y="1333"/>
                  </a:lnTo>
                  <a:lnTo>
                    <a:pt x="2469" y="1333"/>
                  </a:lnTo>
                  <a:close/>
                  <a:moveTo>
                    <a:pt x="2464" y="1366"/>
                  </a:moveTo>
                  <a:lnTo>
                    <a:pt x="2452" y="1349"/>
                  </a:lnTo>
                  <a:lnTo>
                    <a:pt x="2464" y="1349"/>
                  </a:lnTo>
                  <a:lnTo>
                    <a:pt x="2464" y="1366"/>
                  </a:lnTo>
                  <a:lnTo>
                    <a:pt x="2464" y="1366"/>
                  </a:lnTo>
                  <a:lnTo>
                    <a:pt x="2464" y="1366"/>
                  </a:lnTo>
                  <a:close/>
                  <a:moveTo>
                    <a:pt x="2464" y="1370"/>
                  </a:moveTo>
                  <a:lnTo>
                    <a:pt x="2464" y="1366"/>
                  </a:lnTo>
                  <a:lnTo>
                    <a:pt x="2464" y="1370"/>
                  </a:lnTo>
                  <a:lnTo>
                    <a:pt x="2464" y="1370"/>
                  </a:lnTo>
                  <a:lnTo>
                    <a:pt x="2464" y="1370"/>
                  </a:lnTo>
                  <a:close/>
                  <a:moveTo>
                    <a:pt x="2086" y="2086"/>
                  </a:moveTo>
                  <a:lnTo>
                    <a:pt x="2086" y="2074"/>
                  </a:lnTo>
                  <a:lnTo>
                    <a:pt x="2091" y="2070"/>
                  </a:lnTo>
                  <a:lnTo>
                    <a:pt x="2100" y="2074"/>
                  </a:lnTo>
                  <a:lnTo>
                    <a:pt x="2086" y="2086"/>
                  </a:lnTo>
                  <a:lnTo>
                    <a:pt x="2086" y="2086"/>
                  </a:lnTo>
                  <a:lnTo>
                    <a:pt x="2086" y="2086"/>
                  </a:lnTo>
                  <a:close/>
                  <a:moveTo>
                    <a:pt x="2020" y="2143"/>
                  </a:moveTo>
                  <a:lnTo>
                    <a:pt x="2011" y="2131"/>
                  </a:lnTo>
                  <a:lnTo>
                    <a:pt x="2015" y="2119"/>
                  </a:lnTo>
                  <a:lnTo>
                    <a:pt x="2020" y="2126"/>
                  </a:lnTo>
                  <a:lnTo>
                    <a:pt x="2020" y="2143"/>
                  </a:lnTo>
                  <a:lnTo>
                    <a:pt x="2020" y="2143"/>
                  </a:lnTo>
                  <a:lnTo>
                    <a:pt x="2020" y="2143"/>
                  </a:lnTo>
                  <a:close/>
                  <a:moveTo>
                    <a:pt x="1836" y="2221"/>
                  </a:moveTo>
                  <a:lnTo>
                    <a:pt x="1836" y="2214"/>
                  </a:lnTo>
                  <a:lnTo>
                    <a:pt x="1852" y="2202"/>
                  </a:lnTo>
                  <a:lnTo>
                    <a:pt x="1836" y="2221"/>
                  </a:lnTo>
                  <a:lnTo>
                    <a:pt x="1836" y="2221"/>
                  </a:lnTo>
                  <a:lnTo>
                    <a:pt x="1836" y="2221"/>
                  </a:lnTo>
                  <a:close/>
                  <a:moveTo>
                    <a:pt x="1805" y="2254"/>
                  </a:moveTo>
                  <a:lnTo>
                    <a:pt x="1805" y="2242"/>
                  </a:lnTo>
                  <a:lnTo>
                    <a:pt x="1805" y="2254"/>
                  </a:lnTo>
                  <a:lnTo>
                    <a:pt x="1805" y="2254"/>
                  </a:lnTo>
                  <a:lnTo>
                    <a:pt x="1805" y="2254"/>
                  </a:lnTo>
                  <a:close/>
                  <a:moveTo>
                    <a:pt x="1784" y="2329"/>
                  </a:moveTo>
                  <a:lnTo>
                    <a:pt x="1777" y="2313"/>
                  </a:lnTo>
                  <a:lnTo>
                    <a:pt x="1793" y="2308"/>
                  </a:lnTo>
                  <a:lnTo>
                    <a:pt x="1793" y="2313"/>
                  </a:lnTo>
                  <a:lnTo>
                    <a:pt x="1784" y="2329"/>
                  </a:lnTo>
                  <a:lnTo>
                    <a:pt x="1784" y="2329"/>
                  </a:lnTo>
                  <a:lnTo>
                    <a:pt x="1784" y="2329"/>
                  </a:lnTo>
                  <a:close/>
                  <a:moveTo>
                    <a:pt x="1793" y="2436"/>
                  </a:moveTo>
                  <a:lnTo>
                    <a:pt x="1793" y="2403"/>
                  </a:lnTo>
                  <a:lnTo>
                    <a:pt x="1798" y="2403"/>
                  </a:lnTo>
                  <a:lnTo>
                    <a:pt x="1798" y="2419"/>
                  </a:lnTo>
                  <a:lnTo>
                    <a:pt x="1793" y="2436"/>
                  </a:lnTo>
                  <a:lnTo>
                    <a:pt x="1793" y="2436"/>
                  </a:lnTo>
                  <a:lnTo>
                    <a:pt x="1793" y="243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0" name="Freeform 415">
              <a:extLst>
                <a:ext uri="{FF2B5EF4-FFF2-40B4-BE49-F238E27FC236}">
                  <a16:creationId xmlns:a16="http://schemas.microsoft.com/office/drawing/2014/main" id="{BDF16300-68CD-4B1F-BD08-F353B34F602C}"/>
                </a:ext>
              </a:extLst>
            </p:cNvPr>
            <p:cNvSpPr>
              <a:spLocks noEditPoints="1"/>
            </p:cNvSpPr>
            <p:nvPr/>
          </p:nvSpPr>
          <p:spPr bwMode="gray">
            <a:xfrm>
              <a:off x="3566668" y="4588765"/>
              <a:ext cx="1242009" cy="1335195"/>
            </a:xfrm>
            <a:custGeom>
              <a:avLst/>
              <a:gdLst>
                <a:gd name="T0" fmla="*/ 2915 w 3017"/>
                <a:gd name="T1" fmla="*/ 404 h 3243"/>
                <a:gd name="T2" fmla="*/ 2736 w 3017"/>
                <a:gd name="T3" fmla="*/ 1103 h 3243"/>
                <a:gd name="T4" fmla="*/ 2698 w 3017"/>
                <a:gd name="T5" fmla="*/ 1609 h 3243"/>
                <a:gd name="T6" fmla="*/ 2643 w 3017"/>
                <a:gd name="T7" fmla="*/ 2086 h 3243"/>
                <a:gd name="T8" fmla="*/ 2596 w 3017"/>
                <a:gd name="T9" fmla="*/ 2490 h 3243"/>
                <a:gd name="T10" fmla="*/ 2811 w 3017"/>
                <a:gd name="T11" fmla="*/ 2877 h 3243"/>
                <a:gd name="T12" fmla="*/ 2651 w 3017"/>
                <a:gd name="T13" fmla="*/ 2939 h 3243"/>
                <a:gd name="T14" fmla="*/ 2596 w 3017"/>
                <a:gd name="T15" fmla="*/ 2917 h 3243"/>
                <a:gd name="T16" fmla="*/ 2551 w 3017"/>
                <a:gd name="T17" fmla="*/ 2877 h 3243"/>
                <a:gd name="T18" fmla="*/ 2537 w 3017"/>
                <a:gd name="T19" fmla="*/ 2872 h 3243"/>
                <a:gd name="T20" fmla="*/ 2466 w 3017"/>
                <a:gd name="T21" fmla="*/ 2712 h 3243"/>
                <a:gd name="T22" fmla="*/ 2483 w 3017"/>
                <a:gd name="T23" fmla="*/ 2580 h 3243"/>
                <a:gd name="T24" fmla="*/ 2504 w 3017"/>
                <a:gd name="T25" fmla="*/ 2457 h 3243"/>
                <a:gd name="T26" fmla="*/ 2407 w 3017"/>
                <a:gd name="T27" fmla="*/ 2358 h 3243"/>
                <a:gd name="T28" fmla="*/ 2483 w 3017"/>
                <a:gd name="T29" fmla="*/ 2346 h 3243"/>
                <a:gd name="T30" fmla="*/ 2542 w 3017"/>
                <a:gd name="T31" fmla="*/ 2069 h 3243"/>
                <a:gd name="T32" fmla="*/ 2483 w 3017"/>
                <a:gd name="T33" fmla="*/ 1857 h 3243"/>
                <a:gd name="T34" fmla="*/ 2665 w 3017"/>
                <a:gd name="T35" fmla="*/ 1165 h 3243"/>
                <a:gd name="T36" fmla="*/ 2736 w 3017"/>
                <a:gd name="T37" fmla="*/ 421 h 3243"/>
                <a:gd name="T38" fmla="*/ 2462 w 3017"/>
                <a:gd name="T39" fmla="*/ 2053 h 3243"/>
                <a:gd name="T40" fmla="*/ 2513 w 3017"/>
                <a:gd name="T41" fmla="*/ 2029 h 3243"/>
                <a:gd name="T42" fmla="*/ 2445 w 3017"/>
                <a:gd name="T43" fmla="*/ 2086 h 3243"/>
                <a:gd name="T44" fmla="*/ 2483 w 3017"/>
                <a:gd name="T45" fmla="*/ 2135 h 3243"/>
                <a:gd name="T46" fmla="*/ 2499 w 3017"/>
                <a:gd name="T47" fmla="*/ 2152 h 3243"/>
                <a:gd name="T48" fmla="*/ 2537 w 3017"/>
                <a:gd name="T49" fmla="*/ 2173 h 3243"/>
                <a:gd name="T50" fmla="*/ 2483 w 3017"/>
                <a:gd name="T51" fmla="*/ 2173 h 3243"/>
                <a:gd name="T52" fmla="*/ 2466 w 3017"/>
                <a:gd name="T53" fmla="*/ 2190 h 3243"/>
                <a:gd name="T54" fmla="*/ 2483 w 3017"/>
                <a:gd name="T55" fmla="*/ 2197 h 3243"/>
                <a:gd name="T56" fmla="*/ 2504 w 3017"/>
                <a:gd name="T57" fmla="*/ 2235 h 3243"/>
                <a:gd name="T58" fmla="*/ 2450 w 3017"/>
                <a:gd name="T59" fmla="*/ 2263 h 3243"/>
                <a:gd name="T60" fmla="*/ 2450 w 3017"/>
                <a:gd name="T61" fmla="*/ 2272 h 3243"/>
                <a:gd name="T62" fmla="*/ 2488 w 3017"/>
                <a:gd name="T63" fmla="*/ 2301 h 3243"/>
                <a:gd name="T64" fmla="*/ 2488 w 3017"/>
                <a:gd name="T65" fmla="*/ 2395 h 3243"/>
                <a:gd name="T66" fmla="*/ 2488 w 3017"/>
                <a:gd name="T67" fmla="*/ 2473 h 3243"/>
                <a:gd name="T68" fmla="*/ 2395 w 3017"/>
                <a:gd name="T69" fmla="*/ 2490 h 3243"/>
                <a:gd name="T70" fmla="*/ 2450 w 3017"/>
                <a:gd name="T71" fmla="*/ 2511 h 3243"/>
                <a:gd name="T72" fmla="*/ 2395 w 3017"/>
                <a:gd name="T73" fmla="*/ 2551 h 3243"/>
                <a:gd name="T74" fmla="*/ 2412 w 3017"/>
                <a:gd name="T75" fmla="*/ 2622 h 3243"/>
                <a:gd name="T76" fmla="*/ 2407 w 3017"/>
                <a:gd name="T77" fmla="*/ 2561 h 3243"/>
                <a:gd name="T78" fmla="*/ 2424 w 3017"/>
                <a:gd name="T79" fmla="*/ 2601 h 3243"/>
                <a:gd name="T80" fmla="*/ 2428 w 3017"/>
                <a:gd name="T81" fmla="*/ 2679 h 3243"/>
                <a:gd name="T82" fmla="*/ 2391 w 3017"/>
                <a:gd name="T83" fmla="*/ 2745 h 3243"/>
                <a:gd name="T84" fmla="*/ 2462 w 3017"/>
                <a:gd name="T85" fmla="*/ 2745 h 3243"/>
                <a:gd name="T86" fmla="*/ 2424 w 3017"/>
                <a:gd name="T87" fmla="*/ 2790 h 3243"/>
                <a:gd name="T88" fmla="*/ 2391 w 3017"/>
                <a:gd name="T89" fmla="*/ 2823 h 3243"/>
                <a:gd name="T90" fmla="*/ 2488 w 3017"/>
                <a:gd name="T91" fmla="*/ 2823 h 3243"/>
                <a:gd name="T92" fmla="*/ 2504 w 3017"/>
                <a:gd name="T93" fmla="*/ 2877 h 3243"/>
                <a:gd name="T94" fmla="*/ 2445 w 3017"/>
                <a:gd name="T95" fmla="*/ 2877 h 3243"/>
                <a:gd name="T96" fmla="*/ 2731 w 3017"/>
                <a:gd name="T97" fmla="*/ 3116 h 3243"/>
                <a:gd name="T98" fmla="*/ 2752 w 3017"/>
                <a:gd name="T99" fmla="*/ 3106 h 3243"/>
                <a:gd name="T100" fmla="*/ 2736 w 3017"/>
                <a:gd name="T101" fmla="*/ 2950 h 3243"/>
                <a:gd name="T102" fmla="*/ 2530 w 3017"/>
                <a:gd name="T103" fmla="*/ 2983 h 3243"/>
                <a:gd name="T104" fmla="*/ 2537 w 3017"/>
                <a:gd name="T105" fmla="*/ 3012 h 3243"/>
                <a:gd name="T106" fmla="*/ 2499 w 3017"/>
                <a:gd name="T107" fmla="*/ 3012 h 3243"/>
                <a:gd name="T108" fmla="*/ 2643 w 3017"/>
                <a:gd name="T109" fmla="*/ 3045 h 3243"/>
                <a:gd name="T110" fmla="*/ 2747 w 3017"/>
                <a:gd name="T111" fmla="*/ 3078 h 3243"/>
                <a:gd name="T112" fmla="*/ 2714 w 3017"/>
                <a:gd name="T113" fmla="*/ 3139 h 3243"/>
                <a:gd name="T114" fmla="*/ 2953 w 3017"/>
                <a:gd name="T115" fmla="*/ 3149 h 3243"/>
                <a:gd name="T116" fmla="*/ 2891 w 3017"/>
                <a:gd name="T117" fmla="*/ 3177 h 3243"/>
                <a:gd name="T118" fmla="*/ 2967 w 3017"/>
                <a:gd name="T119" fmla="*/ 3156 h 3243"/>
                <a:gd name="T120" fmla="*/ 2785 w 3017"/>
                <a:gd name="T121" fmla="*/ 3194 h 3243"/>
                <a:gd name="T122" fmla="*/ 2929 w 3017"/>
                <a:gd name="T123" fmla="*/ 3243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17" h="3243">
                  <a:moveTo>
                    <a:pt x="2736" y="66"/>
                  </a:moveTo>
                  <a:lnTo>
                    <a:pt x="2769" y="54"/>
                  </a:lnTo>
                  <a:lnTo>
                    <a:pt x="2785" y="38"/>
                  </a:lnTo>
                  <a:lnTo>
                    <a:pt x="2773" y="17"/>
                  </a:lnTo>
                  <a:lnTo>
                    <a:pt x="2790" y="17"/>
                  </a:lnTo>
                  <a:lnTo>
                    <a:pt x="2802" y="0"/>
                  </a:lnTo>
                  <a:lnTo>
                    <a:pt x="2811" y="38"/>
                  </a:lnTo>
                  <a:lnTo>
                    <a:pt x="2828" y="38"/>
                  </a:lnTo>
                  <a:lnTo>
                    <a:pt x="2823" y="50"/>
                  </a:lnTo>
                  <a:lnTo>
                    <a:pt x="2839" y="111"/>
                  </a:lnTo>
                  <a:lnTo>
                    <a:pt x="2877" y="144"/>
                  </a:lnTo>
                  <a:lnTo>
                    <a:pt x="2854" y="165"/>
                  </a:lnTo>
                  <a:lnTo>
                    <a:pt x="2865" y="182"/>
                  </a:lnTo>
                  <a:lnTo>
                    <a:pt x="2865" y="189"/>
                  </a:lnTo>
                  <a:lnTo>
                    <a:pt x="2854" y="199"/>
                  </a:lnTo>
                  <a:lnTo>
                    <a:pt x="2854" y="215"/>
                  </a:lnTo>
                  <a:lnTo>
                    <a:pt x="2854" y="222"/>
                  </a:lnTo>
                  <a:lnTo>
                    <a:pt x="2877" y="239"/>
                  </a:lnTo>
                  <a:lnTo>
                    <a:pt x="2865" y="250"/>
                  </a:lnTo>
                  <a:lnTo>
                    <a:pt x="2865" y="255"/>
                  </a:lnTo>
                  <a:lnTo>
                    <a:pt x="2877" y="260"/>
                  </a:lnTo>
                  <a:lnTo>
                    <a:pt x="2891" y="288"/>
                  </a:lnTo>
                  <a:lnTo>
                    <a:pt x="2891" y="310"/>
                  </a:lnTo>
                  <a:lnTo>
                    <a:pt x="2899" y="343"/>
                  </a:lnTo>
                  <a:lnTo>
                    <a:pt x="2908" y="350"/>
                  </a:lnTo>
                  <a:lnTo>
                    <a:pt x="2915" y="383"/>
                  </a:lnTo>
                  <a:lnTo>
                    <a:pt x="2915" y="404"/>
                  </a:lnTo>
                  <a:lnTo>
                    <a:pt x="2936" y="404"/>
                  </a:lnTo>
                  <a:lnTo>
                    <a:pt x="2962" y="404"/>
                  </a:lnTo>
                  <a:lnTo>
                    <a:pt x="2979" y="416"/>
                  </a:lnTo>
                  <a:lnTo>
                    <a:pt x="2953" y="494"/>
                  </a:lnTo>
                  <a:lnTo>
                    <a:pt x="2882" y="527"/>
                  </a:lnTo>
                  <a:lnTo>
                    <a:pt x="2865" y="548"/>
                  </a:lnTo>
                  <a:lnTo>
                    <a:pt x="2882" y="581"/>
                  </a:lnTo>
                  <a:lnTo>
                    <a:pt x="2865" y="581"/>
                  </a:lnTo>
                  <a:lnTo>
                    <a:pt x="2861" y="605"/>
                  </a:lnTo>
                  <a:lnTo>
                    <a:pt x="2877" y="659"/>
                  </a:lnTo>
                  <a:lnTo>
                    <a:pt x="2865" y="666"/>
                  </a:lnTo>
                  <a:lnTo>
                    <a:pt x="2861" y="683"/>
                  </a:lnTo>
                  <a:lnTo>
                    <a:pt x="2882" y="716"/>
                  </a:lnTo>
                  <a:lnTo>
                    <a:pt x="2877" y="732"/>
                  </a:lnTo>
                  <a:lnTo>
                    <a:pt x="2844" y="732"/>
                  </a:lnTo>
                  <a:lnTo>
                    <a:pt x="2823" y="803"/>
                  </a:lnTo>
                  <a:lnTo>
                    <a:pt x="2790" y="832"/>
                  </a:lnTo>
                  <a:lnTo>
                    <a:pt x="2785" y="886"/>
                  </a:lnTo>
                  <a:lnTo>
                    <a:pt x="2757" y="905"/>
                  </a:lnTo>
                  <a:lnTo>
                    <a:pt x="2773" y="976"/>
                  </a:lnTo>
                  <a:lnTo>
                    <a:pt x="2769" y="980"/>
                  </a:lnTo>
                  <a:lnTo>
                    <a:pt x="2752" y="992"/>
                  </a:lnTo>
                  <a:lnTo>
                    <a:pt x="2747" y="1025"/>
                  </a:lnTo>
                  <a:lnTo>
                    <a:pt x="2747" y="1037"/>
                  </a:lnTo>
                  <a:lnTo>
                    <a:pt x="2731" y="1054"/>
                  </a:lnTo>
                  <a:lnTo>
                    <a:pt x="2719" y="1082"/>
                  </a:lnTo>
                  <a:lnTo>
                    <a:pt x="2736" y="1103"/>
                  </a:lnTo>
                  <a:lnTo>
                    <a:pt x="2752" y="1108"/>
                  </a:lnTo>
                  <a:lnTo>
                    <a:pt x="2736" y="1124"/>
                  </a:lnTo>
                  <a:lnTo>
                    <a:pt x="2747" y="1136"/>
                  </a:lnTo>
                  <a:lnTo>
                    <a:pt x="2752" y="1160"/>
                  </a:lnTo>
                  <a:lnTo>
                    <a:pt x="2752" y="1176"/>
                  </a:lnTo>
                  <a:lnTo>
                    <a:pt x="2769" y="1193"/>
                  </a:lnTo>
                  <a:lnTo>
                    <a:pt x="2757" y="1214"/>
                  </a:lnTo>
                  <a:lnTo>
                    <a:pt x="2769" y="1219"/>
                  </a:lnTo>
                  <a:lnTo>
                    <a:pt x="2773" y="1219"/>
                  </a:lnTo>
                  <a:lnTo>
                    <a:pt x="2785" y="1231"/>
                  </a:lnTo>
                  <a:lnTo>
                    <a:pt x="2769" y="1259"/>
                  </a:lnTo>
                  <a:lnTo>
                    <a:pt x="2773" y="1292"/>
                  </a:lnTo>
                  <a:lnTo>
                    <a:pt x="2757" y="1304"/>
                  </a:lnTo>
                  <a:lnTo>
                    <a:pt x="2736" y="1370"/>
                  </a:lnTo>
                  <a:lnTo>
                    <a:pt x="2719" y="1380"/>
                  </a:lnTo>
                  <a:lnTo>
                    <a:pt x="2736" y="1387"/>
                  </a:lnTo>
                  <a:lnTo>
                    <a:pt x="2747" y="1424"/>
                  </a:lnTo>
                  <a:lnTo>
                    <a:pt x="2736" y="1453"/>
                  </a:lnTo>
                  <a:lnTo>
                    <a:pt x="2714" y="1458"/>
                  </a:lnTo>
                  <a:lnTo>
                    <a:pt x="2714" y="1474"/>
                  </a:lnTo>
                  <a:lnTo>
                    <a:pt x="2693" y="1481"/>
                  </a:lnTo>
                  <a:lnTo>
                    <a:pt x="2681" y="1507"/>
                  </a:lnTo>
                  <a:lnTo>
                    <a:pt x="2693" y="1531"/>
                  </a:lnTo>
                  <a:lnTo>
                    <a:pt x="2681" y="1547"/>
                  </a:lnTo>
                  <a:lnTo>
                    <a:pt x="2693" y="1564"/>
                  </a:lnTo>
                  <a:lnTo>
                    <a:pt x="2681" y="1580"/>
                  </a:lnTo>
                  <a:lnTo>
                    <a:pt x="2698" y="1609"/>
                  </a:lnTo>
                  <a:lnTo>
                    <a:pt x="2698" y="1642"/>
                  </a:lnTo>
                  <a:lnTo>
                    <a:pt x="2702" y="1658"/>
                  </a:lnTo>
                  <a:lnTo>
                    <a:pt x="2698" y="1663"/>
                  </a:lnTo>
                  <a:lnTo>
                    <a:pt x="2665" y="1680"/>
                  </a:lnTo>
                  <a:lnTo>
                    <a:pt x="2665" y="1713"/>
                  </a:lnTo>
                  <a:lnTo>
                    <a:pt x="2660" y="1746"/>
                  </a:lnTo>
                  <a:lnTo>
                    <a:pt x="2643" y="1736"/>
                  </a:lnTo>
                  <a:lnTo>
                    <a:pt x="2651" y="1769"/>
                  </a:lnTo>
                  <a:lnTo>
                    <a:pt x="2639" y="1791"/>
                  </a:lnTo>
                  <a:lnTo>
                    <a:pt x="2643" y="1802"/>
                  </a:lnTo>
                  <a:lnTo>
                    <a:pt x="2639" y="1807"/>
                  </a:lnTo>
                  <a:lnTo>
                    <a:pt x="2627" y="1840"/>
                  </a:lnTo>
                  <a:lnTo>
                    <a:pt x="2639" y="1857"/>
                  </a:lnTo>
                  <a:lnTo>
                    <a:pt x="2639" y="1913"/>
                  </a:lnTo>
                  <a:lnTo>
                    <a:pt x="2627" y="1918"/>
                  </a:lnTo>
                  <a:lnTo>
                    <a:pt x="2643" y="1951"/>
                  </a:lnTo>
                  <a:lnTo>
                    <a:pt x="2627" y="1958"/>
                  </a:lnTo>
                  <a:lnTo>
                    <a:pt x="2622" y="1958"/>
                  </a:lnTo>
                  <a:lnTo>
                    <a:pt x="2613" y="1975"/>
                  </a:lnTo>
                  <a:lnTo>
                    <a:pt x="2622" y="1975"/>
                  </a:lnTo>
                  <a:lnTo>
                    <a:pt x="2613" y="1996"/>
                  </a:lnTo>
                  <a:lnTo>
                    <a:pt x="2613" y="2041"/>
                  </a:lnTo>
                  <a:lnTo>
                    <a:pt x="2643" y="2046"/>
                  </a:lnTo>
                  <a:lnTo>
                    <a:pt x="2643" y="2062"/>
                  </a:lnTo>
                  <a:lnTo>
                    <a:pt x="2627" y="2062"/>
                  </a:lnTo>
                  <a:lnTo>
                    <a:pt x="2627" y="2069"/>
                  </a:lnTo>
                  <a:lnTo>
                    <a:pt x="2643" y="2086"/>
                  </a:lnTo>
                  <a:lnTo>
                    <a:pt x="2643" y="2095"/>
                  </a:lnTo>
                  <a:lnTo>
                    <a:pt x="2639" y="2102"/>
                  </a:lnTo>
                  <a:lnTo>
                    <a:pt x="2651" y="2119"/>
                  </a:lnTo>
                  <a:lnTo>
                    <a:pt x="2639" y="2135"/>
                  </a:lnTo>
                  <a:lnTo>
                    <a:pt x="2639" y="2157"/>
                  </a:lnTo>
                  <a:lnTo>
                    <a:pt x="2681" y="2157"/>
                  </a:lnTo>
                  <a:lnTo>
                    <a:pt x="2693" y="2161"/>
                  </a:lnTo>
                  <a:lnTo>
                    <a:pt x="2676" y="2190"/>
                  </a:lnTo>
                  <a:lnTo>
                    <a:pt x="2622" y="2190"/>
                  </a:lnTo>
                  <a:lnTo>
                    <a:pt x="2622" y="2206"/>
                  </a:lnTo>
                  <a:lnTo>
                    <a:pt x="2651" y="2206"/>
                  </a:lnTo>
                  <a:lnTo>
                    <a:pt x="2676" y="2235"/>
                  </a:lnTo>
                  <a:lnTo>
                    <a:pt x="2660" y="2251"/>
                  </a:lnTo>
                  <a:lnTo>
                    <a:pt x="2643" y="2263"/>
                  </a:lnTo>
                  <a:lnTo>
                    <a:pt x="2639" y="2268"/>
                  </a:lnTo>
                  <a:lnTo>
                    <a:pt x="2643" y="2284"/>
                  </a:lnTo>
                  <a:lnTo>
                    <a:pt x="2651" y="2301"/>
                  </a:lnTo>
                  <a:lnTo>
                    <a:pt x="2627" y="2317"/>
                  </a:lnTo>
                  <a:lnTo>
                    <a:pt x="2643" y="2324"/>
                  </a:lnTo>
                  <a:lnTo>
                    <a:pt x="2643" y="2362"/>
                  </a:lnTo>
                  <a:lnTo>
                    <a:pt x="2627" y="2374"/>
                  </a:lnTo>
                  <a:lnTo>
                    <a:pt x="2627" y="2395"/>
                  </a:lnTo>
                  <a:lnTo>
                    <a:pt x="2639" y="2412"/>
                  </a:lnTo>
                  <a:lnTo>
                    <a:pt x="2596" y="2433"/>
                  </a:lnTo>
                  <a:lnTo>
                    <a:pt x="2596" y="2440"/>
                  </a:lnTo>
                  <a:lnTo>
                    <a:pt x="2589" y="2473"/>
                  </a:lnTo>
                  <a:lnTo>
                    <a:pt x="2596" y="2490"/>
                  </a:lnTo>
                  <a:lnTo>
                    <a:pt x="2606" y="2511"/>
                  </a:lnTo>
                  <a:lnTo>
                    <a:pt x="2584" y="2523"/>
                  </a:lnTo>
                  <a:lnTo>
                    <a:pt x="2584" y="2551"/>
                  </a:lnTo>
                  <a:lnTo>
                    <a:pt x="2551" y="2568"/>
                  </a:lnTo>
                  <a:lnTo>
                    <a:pt x="2542" y="2596"/>
                  </a:lnTo>
                  <a:lnTo>
                    <a:pt x="2551" y="2601"/>
                  </a:lnTo>
                  <a:lnTo>
                    <a:pt x="2542" y="2601"/>
                  </a:lnTo>
                  <a:lnTo>
                    <a:pt x="2521" y="2601"/>
                  </a:lnTo>
                  <a:lnTo>
                    <a:pt x="2513" y="2622"/>
                  </a:lnTo>
                  <a:lnTo>
                    <a:pt x="2521" y="2650"/>
                  </a:lnTo>
                  <a:lnTo>
                    <a:pt x="2513" y="2655"/>
                  </a:lnTo>
                  <a:lnTo>
                    <a:pt x="2521" y="2662"/>
                  </a:lnTo>
                  <a:lnTo>
                    <a:pt x="2521" y="2679"/>
                  </a:lnTo>
                  <a:lnTo>
                    <a:pt x="2537" y="2695"/>
                  </a:lnTo>
                  <a:lnTo>
                    <a:pt x="2542" y="2733"/>
                  </a:lnTo>
                  <a:lnTo>
                    <a:pt x="2575" y="2728"/>
                  </a:lnTo>
                  <a:lnTo>
                    <a:pt x="2606" y="2728"/>
                  </a:lnTo>
                  <a:lnTo>
                    <a:pt x="2606" y="2761"/>
                  </a:lnTo>
                  <a:lnTo>
                    <a:pt x="2596" y="2773"/>
                  </a:lnTo>
                  <a:lnTo>
                    <a:pt x="2606" y="2783"/>
                  </a:lnTo>
                  <a:lnTo>
                    <a:pt x="2596" y="2806"/>
                  </a:lnTo>
                  <a:lnTo>
                    <a:pt x="2606" y="2828"/>
                  </a:lnTo>
                  <a:lnTo>
                    <a:pt x="2627" y="2844"/>
                  </a:lnTo>
                  <a:lnTo>
                    <a:pt x="2627" y="2856"/>
                  </a:lnTo>
                  <a:lnTo>
                    <a:pt x="2769" y="2856"/>
                  </a:lnTo>
                  <a:lnTo>
                    <a:pt x="2877" y="2894"/>
                  </a:lnTo>
                  <a:lnTo>
                    <a:pt x="2811" y="2877"/>
                  </a:lnTo>
                  <a:lnTo>
                    <a:pt x="2802" y="2884"/>
                  </a:lnTo>
                  <a:lnTo>
                    <a:pt x="2802" y="2894"/>
                  </a:lnTo>
                  <a:lnTo>
                    <a:pt x="2790" y="2910"/>
                  </a:lnTo>
                  <a:lnTo>
                    <a:pt x="2773" y="2901"/>
                  </a:lnTo>
                  <a:lnTo>
                    <a:pt x="2702" y="2927"/>
                  </a:lnTo>
                  <a:lnTo>
                    <a:pt x="2702" y="2950"/>
                  </a:lnTo>
                  <a:lnTo>
                    <a:pt x="2698" y="2988"/>
                  </a:lnTo>
                  <a:lnTo>
                    <a:pt x="2698" y="3028"/>
                  </a:lnTo>
                  <a:lnTo>
                    <a:pt x="2676" y="3045"/>
                  </a:lnTo>
                  <a:lnTo>
                    <a:pt x="2613" y="3021"/>
                  </a:lnTo>
                  <a:lnTo>
                    <a:pt x="2589" y="2995"/>
                  </a:lnTo>
                  <a:lnTo>
                    <a:pt x="2606" y="2983"/>
                  </a:lnTo>
                  <a:lnTo>
                    <a:pt x="2613" y="2983"/>
                  </a:lnTo>
                  <a:lnTo>
                    <a:pt x="2622" y="2988"/>
                  </a:lnTo>
                  <a:lnTo>
                    <a:pt x="2606" y="2995"/>
                  </a:lnTo>
                  <a:lnTo>
                    <a:pt x="2613" y="2995"/>
                  </a:lnTo>
                  <a:lnTo>
                    <a:pt x="2622" y="2988"/>
                  </a:lnTo>
                  <a:lnTo>
                    <a:pt x="2622" y="2972"/>
                  </a:lnTo>
                  <a:lnTo>
                    <a:pt x="2639" y="2972"/>
                  </a:lnTo>
                  <a:lnTo>
                    <a:pt x="2639" y="2995"/>
                  </a:lnTo>
                  <a:lnTo>
                    <a:pt x="2622" y="3012"/>
                  </a:lnTo>
                  <a:lnTo>
                    <a:pt x="2639" y="3005"/>
                  </a:lnTo>
                  <a:lnTo>
                    <a:pt x="2643" y="2972"/>
                  </a:lnTo>
                  <a:lnTo>
                    <a:pt x="2665" y="2967"/>
                  </a:lnTo>
                  <a:lnTo>
                    <a:pt x="2681" y="2939"/>
                  </a:lnTo>
                  <a:lnTo>
                    <a:pt x="2681" y="2934"/>
                  </a:lnTo>
                  <a:lnTo>
                    <a:pt x="2651" y="2939"/>
                  </a:lnTo>
                  <a:lnTo>
                    <a:pt x="2622" y="2967"/>
                  </a:lnTo>
                  <a:lnTo>
                    <a:pt x="2606" y="2955"/>
                  </a:lnTo>
                  <a:lnTo>
                    <a:pt x="2584" y="2967"/>
                  </a:lnTo>
                  <a:lnTo>
                    <a:pt x="2613" y="2972"/>
                  </a:lnTo>
                  <a:lnTo>
                    <a:pt x="2589" y="2972"/>
                  </a:lnTo>
                  <a:lnTo>
                    <a:pt x="2596" y="2983"/>
                  </a:lnTo>
                  <a:lnTo>
                    <a:pt x="2589" y="2988"/>
                  </a:lnTo>
                  <a:lnTo>
                    <a:pt x="2575" y="2988"/>
                  </a:lnTo>
                  <a:lnTo>
                    <a:pt x="2596" y="3005"/>
                  </a:lnTo>
                  <a:lnTo>
                    <a:pt x="2537" y="2972"/>
                  </a:lnTo>
                  <a:lnTo>
                    <a:pt x="2537" y="2967"/>
                  </a:lnTo>
                  <a:lnTo>
                    <a:pt x="2558" y="2972"/>
                  </a:lnTo>
                  <a:lnTo>
                    <a:pt x="2575" y="2983"/>
                  </a:lnTo>
                  <a:lnTo>
                    <a:pt x="2568" y="2972"/>
                  </a:lnTo>
                  <a:lnTo>
                    <a:pt x="2575" y="2967"/>
                  </a:lnTo>
                  <a:lnTo>
                    <a:pt x="2558" y="2967"/>
                  </a:lnTo>
                  <a:lnTo>
                    <a:pt x="2568" y="2955"/>
                  </a:lnTo>
                  <a:lnTo>
                    <a:pt x="2558" y="2939"/>
                  </a:lnTo>
                  <a:lnTo>
                    <a:pt x="2575" y="2927"/>
                  </a:lnTo>
                  <a:lnTo>
                    <a:pt x="2589" y="2934"/>
                  </a:lnTo>
                  <a:lnTo>
                    <a:pt x="2613" y="2917"/>
                  </a:lnTo>
                  <a:lnTo>
                    <a:pt x="2639" y="2927"/>
                  </a:lnTo>
                  <a:lnTo>
                    <a:pt x="2660" y="2917"/>
                  </a:lnTo>
                  <a:lnTo>
                    <a:pt x="2660" y="2910"/>
                  </a:lnTo>
                  <a:lnTo>
                    <a:pt x="2613" y="2910"/>
                  </a:lnTo>
                  <a:lnTo>
                    <a:pt x="2596" y="2910"/>
                  </a:lnTo>
                  <a:lnTo>
                    <a:pt x="2596" y="2917"/>
                  </a:lnTo>
                  <a:lnTo>
                    <a:pt x="2584" y="2917"/>
                  </a:lnTo>
                  <a:lnTo>
                    <a:pt x="2596" y="2910"/>
                  </a:lnTo>
                  <a:lnTo>
                    <a:pt x="2568" y="2910"/>
                  </a:lnTo>
                  <a:lnTo>
                    <a:pt x="2558" y="2917"/>
                  </a:lnTo>
                  <a:lnTo>
                    <a:pt x="2575" y="2917"/>
                  </a:lnTo>
                  <a:lnTo>
                    <a:pt x="2551" y="2939"/>
                  </a:lnTo>
                  <a:lnTo>
                    <a:pt x="2558" y="2955"/>
                  </a:lnTo>
                  <a:lnTo>
                    <a:pt x="2542" y="2967"/>
                  </a:lnTo>
                  <a:lnTo>
                    <a:pt x="2521" y="2955"/>
                  </a:lnTo>
                  <a:lnTo>
                    <a:pt x="2537" y="2939"/>
                  </a:lnTo>
                  <a:lnTo>
                    <a:pt x="2513" y="2934"/>
                  </a:lnTo>
                  <a:lnTo>
                    <a:pt x="2537" y="2934"/>
                  </a:lnTo>
                  <a:lnTo>
                    <a:pt x="2542" y="2910"/>
                  </a:lnTo>
                  <a:lnTo>
                    <a:pt x="2558" y="2910"/>
                  </a:lnTo>
                  <a:lnTo>
                    <a:pt x="2542" y="2901"/>
                  </a:lnTo>
                  <a:lnTo>
                    <a:pt x="2537" y="2927"/>
                  </a:lnTo>
                  <a:lnTo>
                    <a:pt x="2530" y="2917"/>
                  </a:lnTo>
                  <a:lnTo>
                    <a:pt x="2504" y="2927"/>
                  </a:lnTo>
                  <a:lnTo>
                    <a:pt x="2504" y="2917"/>
                  </a:lnTo>
                  <a:lnTo>
                    <a:pt x="2513" y="2910"/>
                  </a:lnTo>
                  <a:lnTo>
                    <a:pt x="2504" y="2901"/>
                  </a:lnTo>
                  <a:lnTo>
                    <a:pt x="2513" y="2884"/>
                  </a:lnTo>
                  <a:lnTo>
                    <a:pt x="2504" y="2861"/>
                  </a:lnTo>
                  <a:lnTo>
                    <a:pt x="2513" y="2877"/>
                  </a:lnTo>
                  <a:lnTo>
                    <a:pt x="2530" y="2877"/>
                  </a:lnTo>
                  <a:lnTo>
                    <a:pt x="2551" y="2861"/>
                  </a:lnTo>
                  <a:lnTo>
                    <a:pt x="2551" y="2877"/>
                  </a:lnTo>
                  <a:lnTo>
                    <a:pt x="2568" y="2884"/>
                  </a:lnTo>
                  <a:lnTo>
                    <a:pt x="2568" y="2861"/>
                  </a:lnTo>
                  <a:lnTo>
                    <a:pt x="2558" y="2877"/>
                  </a:lnTo>
                  <a:lnTo>
                    <a:pt x="2558" y="2861"/>
                  </a:lnTo>
                  <a:lnTo>
                    <a:pt x="2568" y="2856"/>
                  </a:lnTo>
                  <a:lnTo>
                    <a:pt x="2575" y="2856"/>
                  </a:lnTo>
                  <a:lnTo>
                    <a:pt x="2589" y="2877"/>
                  </a:lnTo>
                  <a:lnTo>
                    <a:pt x="2584" y="2884"/>
                  </a:lnTo>
                  <a:lnTo>
                    <a:pt x="2558" y="2901"/>
                  </a:lnTo>
                  <a:lnTo>
                    <a:pt x="2589" y="2884"/>
                  </a:lnTo>
                  <a:lnTo>
                    <a:pt x="2589" y="2877"/>
                  </a:lnTo>
                  <a:lnTo>
                    <a:pt x="2575" y="2856"/>
                  </a:lnTo>
                  <a:lnTo>
                    <a:pt x="2589" y="2856"/>
                  </a:lnTo>
                  <a:lnTo>
                    <a:pt x="2589" y="2839"/>
                  </a:lnTo>
                  <a:lnTo>
                    <a:pt x="2575" y="2816"/>
                  </a:lnTo>
                  <a:lnTo>
                    <a:pt x="2537" y="2806"/>
                  </a:lnTo>
                  <a:lnTo>
                    <a:pt x="2584" y="2839"/>
                  </a:lnTo>
                  <a:lnTo>
                    <a:pt x="2575" y="2839"/>
                  </a:lnTo>
                  <a:lnTo>
                    <a:pt x="2537" y="2823"/>
                  </a:lnTo>
                  <a:lnTo>
                    <a:pt x="2537" y="2828"/>
                  </a:lnTo>
                  <a:lnTo>
                    <a:pt x="2551" y="2839"/>
                  </a:lnTo>
                  <a:lnTo>
                    <a:pt x="2542" y="2844"/>
                  </a:lnTo>
                  <a:lnTo>
                    <a:pt x="2558" y="2844"/>
                  </a:lnTo>
                  <a:lnTo>
                    <a:pt x="2542" y="2856"/>
                  </a:lnTo>
                  <a:lnTo>
                    <a:pt x="2537" y="2861"/>
                  </a:lnTo>
                  <a:lnTo>
                    <a:pt x="2530" y="2823"/>
                  </a:lnTo>
                  <a:lnTo>
                    <a:pt x="2537" y="2872"/>
                  </a:lnTo>
                  <a:lnTo>
                    <a:pt x="2513" y="2861"/>
                  </a:lnTo>
                  <a:lnTo>
                    <a:pt x="2504" y="2839"/>
                  </a:lnTo>
                  <a:lnTo>
                    <a:pt x="2530" y="2861"/>
                  </a:lnTo>
                  <a:lnTo>
                    <a:pt x="2513" y="2828"/>
                  </a:lnTo>
                  <a:lnTo>
                    <a:pt x="2521" y="2828"/>
                  </a:lnTo>
                  <a:lnTo>
                    <a:pt x="2504" y="2839"/>
                  </a:lnTo>
                  <a:lnTo>
                    <a:pt x="2499" y="2823"/>
                  </a:lnTo>
                  <a:lnTo>
                    <a:pt x="2488" y="2823"/>
                  </a:lnTo>
                  <a:lnTo>
                    <a:pt x="2488" y="2799"/>
                  </a:lnTo>
                  <a:lnTo>
                    <a:pt x="2513" y="2823"/>
                  </a:lnTo>
                  <a:lnTo>
                    <a:pt x="2499" y="2783"/>
                  </a:lnTo>
                  <a:lnTo>
                    <a:pt x="2504" y="2790"/>
                  </a:lnTo>
                  <a:lnTo>
                    <a:pt x="2504" y="2773"/>
                  </a:lnTo>
                  <a:lnTo>
                    <a:pt x="2488" y="2783"/>
                  </a:lnTo>
                  <a:lnTo>
                    <a:pt x="2476" y="2783"/>
                  </a:lnTo>
                  <a:lnTo>
                    <a:pt x="2466" y="2761"/>
                  </a:lnTo>
                  <a:lnTo>
                    <a:pt x="2476" y="2750"/>
                  </a:lnTo>
                  <a:lnTo>
                    <a:pt x="2499" y="2750"/>
                  </a:lnTo>
                  <a:lnTo>
                    <a:pt x="2504" y="2728"/>
                  </a:lnTo>
                  <a:lnTo>
                    <a:pt x="2521" y="2733"/>
                  </a:lnTo>
                  <a:lnTo>
                    <a:pt x="2521" y="2728"/>
                  </a:lnTo>
                  <a:lnTo>
                    <a:pt x="2504" y="2717"/>
                  </a:lnTo>
                  <a:lnTo>
                    <a:pt x="2513" y="2707"/>
                  </a:lnTo>
                  <a:lnTo>
                    <a:pt x="2499" y="2717"/>
                  </a:lnTo>
                  <a:lnTo>
                    <a:pt x="2499" y="2745"/>
                  </a:lnTo>
                  <a:lnTo>
                    <a:pt x="2483" y="2745"/>
                  </a:lnTo>
                  <a:lnTo>
                    <a:pt x="2466" y="2712"/>
                  </a:lnTo>
                  <a:lnTo>
                    <a:pt x="2488" y="2717"/>
                  </a:lnTo>
                  <a:lnTo>
                    <a:pt x="2466" y="2707"/>
                  </a:lnTo>
                  <a:lnTo>
                    <a:pt x="2433" y="2688"/>
                  </a:lnTo>
                  <a:lnTo>
                    <a:pt x="2445" y="2679"/>
                  </a:lnTo>
                  <a:lnTo>
                    <a:pt x="2462" y="2672"/>
                  </a:lnTo>
                  <a:lnTo>
                    <a:pt x="2466" y="2688"/>
                  </a:lnTo>
                  <a:lnTo>
                    <a:pt x="2499" y="2695"/>
                  </a:lnTo>
                  <a:lnTo>
                    <a:pt x="2476" y="2688"/>
                  </a:lnTo>
                  <a:lnTo>
                    <a:pt x="2462" y="2662"/>
                  </a:lnTo>
                  <a:lnTo>
                    <a:pt x="2466" y="2662"/>
                  </a:lnTo>
                  <a:lnTo>
                    <a:pt x="2488" y="2672"/>
                  </a:lnTo>
                  <a:lnTo>
                    <a:pt x="2466" y="2655"/>
                  </a:lnTo>
                  <a:lnTo>
                    <a:pt x="2462" y="2650"/>
                  </a:lnTo>
                  <a:lnTo>
                    <a:pt x="2483" y="2639"/>
                  </a:lnTo>
                  <a:lnTo>
                    <a:pt x="2466" y="2639"/>
                  </a:lnTo>
                  <a:lnTo>
                    <a:pt x="2462" y="2634"/>
                  </a:lnTo>
                  <a:lnTo>
                    <a:pt x="2488" y="2622"/>
                  </a:lnTo>
                  <a:lnTo>
                    <a:pt x="2504" y="2639"/>
                  </a:lnTo>
                  <a:lnTo>
                    <a:pt x="2499" y="2634"/>
                  </a:lnTo>
                  <a:lnTo>
                    <a:pt x="2488" y="2622"/>
                  </a:lnTo>
                  <a:lnTo>
                    <a:pt x="2476" y="2617"/>
                  </a:lnTo>
                  <a:lnTo>
                    <a:pt x="2483" y="2601"/>
                  </a:lnTo>
                  <a:lnTo>
                    <a:pt x="2499" y="2606"/>
                  </a:lnTo>
                  <a:lnTo>
                    <a:pt x="2483" y="2601"/>
                  </a:lnTo>
                  <a:lnTo>
                    <a:pt x="2483" y="2584"/>
                  </a:lnTo>
                  <a:lnTo>
                    <a:pt x="2499" y="2580"/>
                  </a:lnTo>
                  <a:lnTo>
                    <a:pt x="2483" y="2580"/>
                  </a:lnTo>
                  <a:lnTo>
                    <a:pt x="2466" y="2622"/>
                  </a:lnTo>
                  <a:lnTo>
                    <a:pt x="2462" y="2617"/>
                  </a:lnTo>
                  <a:lnTo>
                    <a:pt x="2450" y="2551"/>
                  </a:lnTo>
                  <a:lnTo>
                    <a:pt x="2462" y="2544"/>
                  </a:lnTo>
                  <a:lnTo>
                    <a:pt x="2483" y="2551"/>
                  </a:lnTo>
                  <a:lnTo>
                    <a:pt x="2462" y="2544"/>
                  </a:lnTo>
                  <a:lnTo>
                    <a:pt x="2462" y="2539"/>
                  </a:lnTo>
                  <a:lnTo>
                    <a:pt x="2466" y="2523"/>
                  </a:lnTo>
                  <a:lnTo>
                    <a:pt x="2483" y="2528"/>
                  </a:lnTo>
                  <a:lnTo>
                    <a:pt x="2483" y="2523"/>
                  </a:lnTo>
                  <a:lnTo>
                    <a:pt x="2466" y="2511"/>
                  </a:lnTo>
                  <a:lnTo>
                    <a:pt x="2476" y="2511"/>
                  </a:lnTo>
                  <a:lnTo>
                    <a:pt x="2433" y="2485"/>
                  </a:lnTo>
                  <a:lnTo>
                    <a:pt x="2450" y="2485"/>
                  </a:lnTo>
                  <a:lnTo>
                    <a:pt x="2466" y="2506"/>
                  </a:lnTo>
                  <a:lnTo>
                    <a:pt x="2462" y="2485"/>
                  </a:lnTo>
                  <a:lnTo>
                    <a:pt x="2499" y="2485"/>
                  </a:lnTo>
                  <a:lnTo>
                    <a:pt x="2513" y="2506"/>
                  </a:lnTo>
                  <a:lnTo>
                    <a:pt x="2521" y="2495"/>
                  </a:lnTo>
                  <a:lnTo>
                    <a:pt x="2530" y="2495"/>
                  </a:lnTo>
                  <a:lnTo>
                    <a:pt x="2537" y="2490"/>
                  </a:lnTo>
                  <a:lnTo>
                    <a:pt x="2530" y="2495"/>
                  </a:lnTo>
                  <a:lnTo>
                    <a:pt x="2521" y="2490"/>
                  </a:lnTo>
                  <a:lnTo>
                    <a:pt x="2504" y="2473"/>
                  </a:lnTo>
                  <a:lnTo>
                    <a:pt x="2537" y="2485"/>
                  </a:lnTo>
                  <a:lnTo>
                    <a:pt x="2521" y="2473"/>
                  </a:lnTo>
                  <a:lnTo>
                    <a:pt x="2504" y="2457"/>
                  </a:lnTo>
                  <a:lnTo>
                    <a:pt x="2504" y="2452"/>
                  </a:lnTo>
                  <a:lnTo>
                    <a:pt x="2504" y="2433"/>
                  </a:lnTo>
                  <a:lnTo>
                    <a:pt x="2499" y="2457"/>
                  </a:lnTo>
                  <a:lnTo>
                    <a:pt x="2488" y="2469"/>
                  </a:lnTo>
                  <a:lnTo>
                    <a:pt x="2433" y="2457"/>
                  </a:lnTo>
                  <a:lnTo>
                    <a:pt x="2445" y="2440"/>
                  </a:lnTo>
                  <a:lnTo>
                    <a:pt x="2462" y="2440"/>
                  </a:lnTo>
                  <a:lnTo>
                    <a:pt x="2466" y="2457"/>
                  </a:lnTo>
                  <a:lnTo>
                    <a:pt x="2476" y="2457"/>
                  </a:lnTo>
                  <a:lnTo>
                    <a:pt x="2466" y="2457"/>
                  </a:lnTo>
                  <a:lnTo>
                    <a:pt x="2466" y="2452"/>
                  </a:lnTo>
                  <a:lnTo>
                    <a:pt x="2483" y="2440"/>
                  </a:lnTo>
                  <a:lnTo>
                    <a:pt x="2462" y="2440"/>
                  </a:lnTo>
                  <a:lnTo>
                    <a:pt x="2445" y="2428"/>
                  </a:lnTo>
                  <a:lnTo>
                    <a:pt x="2462" y="2412"/>
                  </a:lnTo>
                  <a:lnTo>
                    <a:pt x="2476" y="2412"/>
                  </a:lnTo>
                  <a:lnTo>
                    <a:pt x="2476" y="2417"/>
                  </a:lnTo>
                  <a:lnTo>
                    <a:pt x="2476" y="2412"/>
                  </a:lnTo>
                  <a:lnTo>
                    <a:pt x="2488" y="2395"/>
                  </a:lnTo>
                  <a:lnTo>
                    <a:pt x="2476" y="2384"/>
                  </a:lnTo>
                  <a:lnTo>
                    <a:pt x="2466" y="2374"/>
                  </a:lnTo>
                  <a:lnTo>
                    <a:pt x="2445" y="2374"/>
                  </a:lnTo>
                  <a:lnTo>
                    <a:pt x="2450" y="2379"/>
                  </a:lnTo>
                  <a:lnTo>
                    <a:pt x="2412" y="2374"/>
                  </a:lnTo>
                  <a:lnTo>
                    <a:pt x="2407" y="2358"/>
                  </a:lnTo>
                  <a:lnTo>
                    <a:pt x="2424" y="2341"/>
                  </a:lnTo>
                  <a:lnTo>
                    <a:pt x="2407" y="2358"/>
                  </a:lnTo>
                  <a:lnTo>
                    <a:pt x="2369" y="2374"/>
                  </a:lnTo>
                  <a:lnTo>
                    <a:pt x="2379" y="2362"/>
                  </a:lnTo>
                  <a:lnTo>
                    <a:pt x="2391" y="2379"/>
                  </a:lnTo>
                  <a:lnTo>
                    <a:pt x="2379" y="2384"/>
                  </a:lnTo>
                  <a:lnTo>
                    <a:pt x="2374" y="2384"/>
                  </a:lnTo>
                  <a:lnTo>
                    <a:pt x="2369" y="2362"/>
                  </a:lnTo>
                  <a:lnTo>
                    <a:pt x="2369" y="2346"/>
                  </a:lnTo>
                  <a:lnTo>
                    <a:pt x="2395" y="2329"/>
                  </a:lnTo>
                  <a:lnTo>
                    <a:pt x="2395" y="2341"/>
                  </a:lnTo>
                  <a:lnTo>
                    <a:pt x="2407" y="2317"/>
                  </a:lnTo>
                  <a:lnTo>
                    <a:pt x="2428" y="2308"/>
                  </a:lnTo>
                  <a:lnTo>
                    <a:pt x="2433" y="2284"/>
                  </a:lnTo>
                  <a:lnTo>
                    <a:pt x="2462" y="2284"/>
                  </a:lnTo>
                  <a:lnTo>
                    <a:pt x="2476" y="2284"/>
                  </a:lnTo>
                  <a:lnTo>
                    <a:pt x="2483" y="2301"/>
                  </a:lnTo>
                  <a:lnTo>
                    <a:pt x="2476" y="2308"/>
                  </a:lnTo>
                  <a:lnTo>
                    <a:pt x="2483" y="2301"/>
                  </a:lnTo>
                  <a:lnTo>
                    <a:pt x="2488" y="2308"/>
                  </a:lnTo>
                  <a:lnTo>
                    <a:pt x="2462" y="2324"/>
                  </a:lnTo>
                  <a:lnTo>
                    <a:pt x="2450" y="2317"/>
                  </a:lnTo>
                  <a:lnTo>
                    <a:pt x="2462" y="2324"/>
                  </a:lnTo>
                  <a:lnTo>
                    <a:pt x="2483" y="2317"/>
                  </a:lnTo>
                  <a:lnTo>
                    <a:pt x="2499" y="2329"/>
                  </a:lnTo>
                  <a:lnTo>
                    <a:pt x="2483" y="2317"/>
                  </a:lnTo>
                  <a:lnTo>
                    <a:pt x="2488" y="2317"/>
                  </a:lnTo>
                  <a:lnTo>
                    <a:pt x="2499" y="2324"/>
                  </a:lnTo>
                  <a:lnTo>
                    <a:pt x="2483" y="2346"/>
                  </a:lnTo>
                  <a:lnTo>
                    <a:pt x="2499" y="2358"/>
                  </a:lnTo>
                  <a:lnTo>
                    <a:pt x="2521" y="2308"/>
                  </a:lnTo>
                  <a:lnTo>
                    <a:pt x="2504" y="2329"/>
                  </a:lnTo>
                  <a:lnTo>
                    <a:pt x="2504" y="2301"/>
                  </a:lnTo>
                  <a:lnTo>
                    <a:pt x="2530" y="2272"/>
                  </a:lnTo>
                  <a:lnTo>
                    <a:pt x="2542" y="2268"/>
                  </a:lnTo>
                  <a:lnTo>
                    <a:pt x="2530" y="2268"/>
                  </a:lnTo>
                  <a:lnTo>
                    <a:pt x="2513" y="2272"/>
                  </a:lnTo>
                  <a:lnTo>
                    <a:pt x="2521" y="2251"/>
                  </a:lnTo>
                  <a:lnTo>
                    <a:pt x="2537" y="2235"/>
                  </a:lnTo>
                  <a:lnTo>
                    <a:pt x="2551" y="2251"/>
                  </a:lnTo>
                  <a:lnTo>
                    <a:pt x="2568" y="2247"/>
                  </a:lnTo>
                  <a:lnTo>
                    <a:pt x="2537" y="2230"/>
                  </a:lnTo>
                  <a:lnTo>
                    <a:pt x="2521" y="2235"/>
                  </a:lnTo>
                  <a:lnTo>
                    <a:pt x="2521" y="2230"/>
                  </a:lnTo>
                  <a:lnTo>
                    <a:pt x="2537" y="2218"/>
                  </a:lnTo>
                  <a:lnTo>
                    <a:pt x="2530" y="2206"/>
                  </a:lnTo>
                  <a:lnTo>
                    <a:pt x="2568" y="2190"/>
                  </a:lnTo>
                  <a:lnTo>
                    <a:pt x="2584" y="2161"/>
                  </a:lnTo>
                  <a:lnTo>
                    <a:pt x="2584" y="2157"/>
                  </a:lnTo>
                  <a:lnTo>
                    <a:pt x="2575" y="2161"/>
                  </a:lnTo>
                  <a:lnTo>
                    <a:pt x="2537" y="2135"/>
                  </a:lnTo>
                  <a:lnTo>
                    <a:pt x="2551" y="2102"/>
                  </a:lnTo>
                  <a:lnTo>
                    <a:pt x="2568" y="2102"/>
                  </a:lnTo>
                  <a:lnTo>
                    <a:pt x="2568" y="2095"/>
                  </a:lnTo>
                  <a:lnTo>
                    <a:pt x="2551" y="2095"/>
                  </a:lnTo>
                  <a:lnTo>
                    <a:pt x="2542" y="2069"/>
                  </a:lnTo>
                  <a:lnTo>
                    <a:pt x="2551" y="2062"/>
                  </a:lnTo>
                  <a:lnTo>
                    <a:pt x="2558" y="2053"/>
                  </a:lnTo>
                  <a:lnTo>
                    <a:pt x="2568" y="2041"/>
                  </a:lnTo>
                  <a:lnTo>
                    <a:pt x="2575" y="2041"/>
                  </a:lnTo>
                  <a:lnTo>
                    <a:pt x="2568" y="1996"/>
                  </a:lnTo>
                  <a:lnTo>
                    <a:pt x="2568" y="1991"/>
                  </a:lnTo>
                  <a:lnTo>
                    <a:pt x="2589" y="1996"/>
                  </a:lnTo>
                  <a:lnTo>
                    <a:pt x="2568" y="1968"/>
                  </a:lnTo>
                  <a:lnTo>
                    <a:pt x="2584" y="1958"/>
                  </a:lnTo>
                  <a:lnTo>
                    <a:pt x="2596" y="1984"/>
                  </a:lnTo>
                  <a:lnTo>
                    <a:pt x="2589" y="1942"/>
                  </a:lnTo>
                  <a:lnTo>
                    <a:pt x="2575" y="1942"/>
                  </a:lnTo>
                  <a:lnTo>
                    <a:pt x="2568" y="1935"/>
                  </a:lnTo>
                  <a:lnTo>
                    <a:pt x="2575" y="1930"/>
                  </a:lnTo>
                  <a:lnTo>
                    <a:pt x="2596" y="1918"/>
                  </a:lnTo>
                  <a:lnTo>
                    <a:pt x="2606" y="1897"/>
                  </a:lnTo>
                  <a:lnTo>
                    <a:pt x="2596" y="1918"/>
                  </a:lnTo>
                  <a:lnTo>
                    <a:pt x="2584" y="1918"/>
                  </a:lnTo>
                  <a:lnTo>
                    <a:pt x="2558" y="1902"/>
                  </a:lnTo>
                  <a:lnTo>
                    <a:pt x="2551" y="1902"/>
                  </a:lnTo>
                  <a:lnTo>
                    <a:pt x="2551" y="1918"/>
                  </a:lnTo>
                  <a:lnTo>
                    <a:pt x="2537" y="1930"/>
                  </a:lnTo>
                  <a:lnTo>
                    <a:pt x="2504" y="1930"/>
                  </a:lnTo>
                  <a:lnTo>
                    <a:pt x="2521" y="1902"/>
                  </a:lnTo>
                  <a:lnTo>
                    <a:pt x="2504" y="1913"/>
                  </a:lnTo>
                  <a:lnTo>
                    <a:pt x="2488" y="1902"/>
                  </a:lnTo>
                  <a:lnTo>
                    <a:pt x="2483" y="1857"/>
                  </a:lnTo>
                  <a:lnTo>
                    <a:pt x="2504" y="1819"/>
                  </a:lnTo>
                  <a:lnTo>
                    <a:pt x="2504" y="1791"/>
                  </a:lnTo>
                  <a:lnTo>
                    <a:pt x="2504" y="1786"/>
                  </a:lnTo>
                  <a:lnTo>
                    <a:pt x="2504" y="1774"/>
                  </a:lnTo>
                  <a:lnTo>
                    <a:pt x="2530" y="1769"/>
                  </a:lnTo>
                  <a:lnTo>
                    <a:pt x="2537" y="1729"/>
                  </a:lnTo>
                  <a:lnTo>
                    <a:pt x="2513" y="1642"/>
                  </a:lnTo>
                  <a:lnTo>
                    <a:pt x="2521" y="1609"/>
                  </a:lnTo>
                  <a:lnTo>
                    <a:pt x="2504" y="1585"/>
                  </a:lnTo>
                  <a:lnTo>
                    <a:pt x="2513" y="1564"/>
                  </a:lnTo>
                  <a:lnTo>
                    <a:pt x="2504" y="1552"/>
                  </a:lnTo>
                  <a:lnTo>
                    <a:pt x="2513" y="1535"/>
                  </a:lnTo>
                  <a:lnTo>
                    <a:pt x="2530" y="1535"/>
                  </a:lnTo>
                  <a:lnTo>
                    <a:pt x="2542" y="1531"/>
                  </a:lnTo>
                  <a:lnTo>
                    <a:pt x="2542" y="1498"/>
                  </a:lnTo>
                  <a:lnTo>
                    <a:pt x="2551" y="1498"/>
                  </a:lnTo>
                  <a:lnTo>
                    <a:pt x="2568" y="1436"/>
                  </a:lnTo>
                  <a:lnTo>
                    <a:pt x="2584" y="1424"/>
                  </a:lnTo>
                  <a:lnTo>
                    <a:pt x="2584" y="1403"/>
                  </a:lnTo>
                  <a:lnTo>
                    <a:pt x="2606" y="1363"/>
                  </a:lnTo>
                  <a:lnTo>
                    <a:pt x="2627" y="1309"/>
                  </a:lnTo>
                  <a:lnTo>
                    <a:pt x="2622" y="1287"/>
                  </a:lnTo>
                  <a:lnTo>
                    <a:pt x="2639" y="1259"/>
                  </a:lnTo>
                  <a:lnTo>
                    <a:pt x="2651" y="1252"/>
                  </a:lnTo>
                  <a:lnTo>
                    <a:pt x="2643" y="1202"/>
                  </a:lnTo>
                  <a:lnTo>
                    <a:pt x="2651" y="1198"/>
                  </a:lnTo>
                  <a:lnTo>
                    <a:pt x="2665" y="1165"/>
                  </a:lnTo>
                  <a:lnTo>
                    <a:pt x="2665" y="1148"/>
                  </a:lnTo>
                  <a:lnTo>
                    <a:pt x="2660" y="1136"/>
                  </a:lnTo>
                  <a:lnTo>
                    <a:pt x="2660" y="1091"/>
                  </a:lnTo>
                  <a:lnTo>
                    <a:pt x="2643" y="1013"/>
                  </a:lnTo>
                  <a:lnTo>
                    <a:pt x="2643" y="980"/>
                  </a:lnTo>
                  <a:lnTo>
                    <a:pt x="2665" y="976"/>
                  </a:lnTo>
                  <a:lnTo>
                    <a:pt x="2676" y="954"/>
                  </a:lnTo>
                  <a:lnTo>
                    <a:pt x="2676" y="914"/>
                  </a:lnTo>
                  <a:lnTo>
                    <a:pt x="2660" y="898"/>
                  </a:lnTo>
                  <a:lnTo>
                    <a:pt x="2660" y="869"/>
                  </a:lnTo>
                  <a:lnTo>
                    <a:pt x="2681" y="827"/>
                  </a:lnTo>
                  <a:lnTo>
                    <a:pt x="2693" y="787"/>
                  </a:lnTo>
                  <a:lnTo>
                    <a:pt x="2698" y="770"/>
                  </a:lnTo>
                  <a:lnTo>
                    <a:pt x="2698" y="737"/>
                  </a:lnTo>
                  <a:lnTo>
                    <a:pt x="2702" y="721"/>
                  </a:lnTo>
                  <a:lnTo>
                    <a:pt x="2702" y="716"/>
                  </a:lnTo>
                  <a:lnTo>
                    <a:pt x="2719" y="666"/>
                  </a:lnTo>
                  <a:lnTo>
                    <a:pt x="2719" y="643"/>
                  </a:lnTo>
                  <a:lnTo>
                    <a:pt x="2714" y="626"/>
                  </a:lnTo>
                  <a:lnTo>
                    <a:pt x="2736" y="593"/>
                  </a:lnTo>
                  <a:lnTo>
                    <a:pt x="2719" y="548"/>
                  </a:lnTo>
                  <a:lnTo>
                    <a:pt x="2731" y="482"/>
                  </a:lnTo>
                  <a:lnTo>
                    <a:pt x="2736" y="461"/>
                  </a:lnTo>
                  <a:lnTo>
                    <a:pt x="2731" y="454"/>
                  </a:lnTo>
                  <a:lnTo>
                    <a:pt x="2719" y="454"/>
                  </a:lnTo>
                  <a:lnTo>
                    <a:pt x="2719" y="421"/>
                  </a:lnTo>
                  <a:lnTo>
                    <a:pt x="2736" y="421"/>
                  </a:lnTo>
                  <a:lnTo>
                    <a:pt x="2747" y="404"/>
                  </a:lnTo>
                  <a:lnTo>
                    <a:pt x="2752" y="317"/>
                  </a:lnTo>
                  <a:lnTo>
                    <a:pt x="2757" y="293"/>
                  </a:lnTo>
                  <a:lnTo>
                    <a:pt x="2752" y="250"/>
                  </a:lnTo>
                  <a:lnTo>
                    <a:pt x="2757" y="189"/>
                  </a:lnTo>
                  <a:lnTo>
                    <a:pt x="2747" y="104"/>
                  </a:lnTo>
                  <a:lnTo>
                    <a:pt x="2747" y="71"/>
                  </a:lnTo>
                  <a:lnTo>
                    <a:pt x="2736" y="66"/>
                  </a:lnTo>
                  <a:lnTo>
                    <a:pt x="2736" y="66"/>
                  </a:lnTo>
                  <a:lnTo>
                    <a:pt x="2736" y="66"/>
                  </a:lnTo>
                  <a:close/>
                  <a:moveTo>
                    <a:pt x="0" y="737"/>
                  </a:moveTo>
                  <a:lnTo>
                    <a:pt x="0" y="732"/>
                  </a:lnTo>
                  <a:lnTo>
                    <a:pt x="17" y="732"/>
                  </a:lnTo>
                  <a:lnTo>
                    <a:pt x="0" y="737"/>
                  </a:lnTo>
                  <a:lnTo>
                    <a:pt x="0" y="737"/>
                  </a:lnTo>
                  <a:lnTo>
                    <a:pt x="0" y="737"/>
                  </a:lnTo>
                  <a:close/>
                  <a:moveTo>
                    <a:pt x="2138" y="1252"/>
                  </a:moveTo>
                  <a:lnTo>
                    <a:pt x="2143" y="1247"/>
                  </a:lnTo>
                  <a:lnTo>
                    <a:pt x="2152" y="1247"/>
                  </a:lnTo>
                  <a:lnTo>
                    <a:pt x="2138" y="1252"/>
                  </a:lnTo>
                  <a:lnTo>
                    <a:pt x="2138" y="1252"/>
                  </a:lnTo>
                  <a:lnTo>
                    <a:pt x="2138" y="1252"/>
                  </a:lnTo>
                  <a:close/>
                  <a:moveTo>
                    <a:pt x="2513" y="2029"/>
                  </a:moveTo>
                  <a:lnTo>
                    <a:pt x="2521" y="2046"/>
                  </a:lnTo>
                  <a:lnTo>
                    <a:pt x="2499" y="2046"/>
                  </a:lnTo>
                  <a:lnTo>
                    <a:pt x="2504" y="2069"/>
                  </a:lnTo>
                  <a:lnTo>
                    <a:pt x="2462" y="2053"/>
                  </a:lnTo>
                  <a:lnTo>
                    <a:pt x="2476" y="2024"/>
                  </a:lnTo>
                  <a:lnTo>
                    <a:pt x="2476" y="1996"/>
                  </a:lnTo>
                  <a:lnTo>
                    <a:pt x="2466" y="1991"/>
                  </a:lnTo>
                  <a:lnTo>
                    <a:pt x="2476" y="1968"/>
                  </a:lnTo>
                  <a:lnTo>
                    <a:pt x="2483" y="1951"/>
                  </a:lnTo>
                  <a:lnTo>
                    <a:pt x="2483" y="1930"/>
                  </a:lnTo>
                  <a:lnTo>
                    <a:pt x="2488" y="1930"/>
                  </a:lnTo>
                  <a:lnTo>
                    <a:pt x="2483" y="1935"/>
                  </a:lnTo>
                  <a:lnTo>
                    <a:pt x="2488" y="1935"/>
                  </a:lnTo>
                  <a:lnTo>
                    <a:pt x="2504" y="1930"/>
                  </a:lnTo>
                  <a:lnTo>
                    <a:pt x="2521" y="1935"/>
                  </a:lnTo>
                  <a:lnTo>
                    <a:pt x="2521" y="1942"/>
                  </a:lnTo>
                  <a:lnTo>
                    <a:pt x="2521" y="1951"/>
                  </a:lnTo>
                  <a:lnTo>
                    <a:pt x="2521" y="1958"/>
                  </a:lnTo>
                  <a:lnTo>
                    <a:pt x="2530" y="1968"/>
                  </a:lnTo>
                  <a:lnTo>
                    <a:pt x="2530" y="1975"/>
                  </a:lnTo>
                  <a:lnTo>
                    <a:pt x="2504" y="1975"/>
                  </a:lnTo>
                  <a:lnTo>
                    <a:pt x="2513" y="1991"/>
                  </a:lnTo>
                  <a:lnTo>
                    <a:pt x="2504" y="1991"/>
                  </a:lnTo>
                  <a:lnTo>
                    <a:pt x="2499" y="1984"/>
                  </a:lnTo>
                  <a:lnTo>
                    <a:pt x="2499" y="1991"/>
                  </a:lnTo>
                  <a:lnTo>
                    <a:pt x="2499" y="1996"/>
                  </a:lnTo>
                  <a:lnTo>
                    <a:pt x="2521" y="2013"/>
                  </a:lnTo>
                  <a:lnTo>
                    <a:pt x="2521" y="2024"/>
                  </a:lnTo>
                  <a:lnTo>
                    <a:pt x="2504" y="2024"/>
                  </a:lnTo>
                  <a:lnTo>
                    <a:pt x="2513" y="2029"/>
                  </a:lnTo>
                  <a:lnTo>
                    <a:pt x="2513" y="2029"/>
                  </a:lnTo>
                  <a:lnTo>
                    <a:pt x="2513" y="2029"/>
                  </a:lnTo>
                  <a:close/>
                  <a:moveTo>
                    <a:pt x="2589" y="1958"/>
                  </a:moveTo>
                  <a:lnTo>
                    <a:pt x="2584" y="1958"/>
                  </a:lnTo>
                  <a:lnTo>
                    <a:pt x="2589" y="1951"/>
                  </a:lnTo>
                  <a:lnTo>
                    <a:pt x="2589" y="1958"/>
                  </a:lnTo>
                  <a:lnTo>
                    <a:pt x="2589" y="1958"/>
                  </a:lnTo>
                  <a:lnTo>
                    <a:pt x="2589" y="1958"/>
                  </a:lnTo>
                  <a:close/>
                  <a:moveTo>
                    <a:pt x="2542" y="1975"/>
                  </a:moveTo>
                  <a:lnTo>
                    <a:pt x="2542" y="1968"/>
                  </a:lnTo>
                  <a:lnTo>
                    <a:pt x="2551" y="1968"/>
                  </a:lnTo>
                  <a:lnTo>
                    <a:pt x="2542" y="1975"/>
                  </a:lnTo>
                  <a:lnTo>
                    <a:pt x="2542" y="1975"/>
                  </a:lnTo>
                  <a:lnTo>
                    <a:pt x="2542" y="1975"/>
                  </a:lnTo>
                  <a:close/>
                  <a:moveTo>
                    <a:pt x="2521" y="1996"/>
                  </a:moveTo>
                  <a:lnTo>
                    <a:pt x="2504" y="1984"/>
                  </a:lnTo>
                  <a:lnTo>
                    <a:pt x="2521" y="1984"/>
                  </a:lnTo>
                  <a:lnTo>
                    <a:pt x="2521" y="1996"/>
                  </a:lnTo>
                  <a:lnTo>
                    <a:pt x="2521" y="1996"/>
                  </a:lnTo>
                  <a:lnTo>
                    <a:pt x="2521" y="1996"/>
                  </a:lnTo>
                  <a:close/>
                  <a:moveTo>
                    <a:pt x="2513" y="1996"/>
                  </a:moveTo>
                  <a:lnTo>
                    <a:pt x="2504" y="1996"/>
                  </a:lnTo>
                  <a:lnTo>
                    <a:pt x="2513" y="1996"/>
                  </a:lnTo>
                  <a:lnTo>
                    <a:pt x="2513" y="1996"/>
                  </a:lnTo>
                  <a:lnTo>
                    <a:pt x="2513" y="1996"/>
                  </a:lnTo>
                  <a:close/>
                  <a:moveTo>
                    <a:pt x="2428" y="2095"/>
                  </a:moveTo>
                  <a:lnTo>
                    <a:pt x="2424" y="2086"/>
                  </a:lnTo>
                  <a:lnTo>
                    <a:pt x="2445" y="2086"/>
                  </a:lnTo>
                  <a:lnTo>
                    <a:pt x="2428" y="2095"/>
                  </a:lnTo>
                  <a:lnTo>
                    <a:pt x="2428" y="2095"/>
                  </a:lnTo>
                  <a:lnTo>
                    <a:pt x="2428" y="2095"/>
                  </a:lnTo>
                  <a:close/>
                  <a:moveTo>
                    <a:pt x="2483" y="2119"/>
                  </a:moveTo>
                  <a:lnTo>
                    <a:pt x="2476" y="2107"/>
                  </a:lnTo>
                  <a:lnTo>
                    <a:pt x="2476" y="2102"/>
                  </a:lnTo>
                  <a:lnTo>
                    <a:pt x="2499" y="2102"/>
                  </a:lnTo>
                  <a:lnTo>
                    <a:pt x="2499" y="2107"/>
                  </a:lnTo>
                  <a:lnTo>
                    <a:pt x="2488" y="2107"/>
                  </a:lnTo>
                  <a:lnTo>
                    <a:pt x="2483" y="2119"/>
                  </a:lnTo>
                  <a:lnTo>
                    <a:pt x="2483" y="2119"/>
                  </a:lnTo>
                  <a:lnTo>
                    <a:pt x="2483" y="2119"/>
                  </a:lnTo>
                  <a:close/>
                  <a:moveTo>
                    <a:pt x="2542" y="2124"/>
                  </a:moveTo>
                  <a:lnTo>
                    <a:pt x="2537" y="2119"/>
                  </a:lnTo>
                  <a:lnTo>
                    <a:pt x="2537" y="2107"/>
                  </a:lnTo>
                  <a:lnTo>
                    <a:pt x="2542" y="2107"/>
                  </a:lnTo>
                  <a:lnTo>
                    <a:pt x="2542" y="2124"/>
                  </a:lnTo>
                  <a:lnTo>
                    <a:pt x="2542" y="2124"/>
                  </a:lnTo>
                  <a:lnTo>
                    <a:pt x="2542" y="2124"/>
                  </a:lnTo>
                  <a:close/>
                  <a:moveTo>
                    <a:pt x="2504" y="2135"/>
                  </a:moveTo>
                  <a:lnTo>
                    <a:pt x="2504" y="2119"/>
                  </a:lnTo>
                  <a:lnTo>
                    <a:pt x="2513" y="2124"/>
                  </a:lnTo>
                  <a:lnTo>
                    <a:pt x="2504" y="2135"/>
                  </a:lnTo>
                  <a:lnTo>
                    <a:pt x="2504" y="2135"/>
                  </a:lnTo>
                  <a:lnTo>
                    <a:pt x="2504" y="2135"/>
                  </a:lnTo>
                  <a:close/>
                  <a:moveTo>
                    <a:pt x="2488" y="2140"/>
                  </a:moveTo>
                  <a:lnTo>
                    <a:pt x="2483" y="2135"/>
                  </a:lnTo>
                  <a:lnTo>
                    <a:pt x="2488" y="2135"/>
                  </a:lnTo>
                  <a:lnTo>
                    <a:pt x="2488" y="2140"/>
                  </a:lnTo>
                  <a:lnTo>
                    <a:pt x="2488" y="2140"/>
                  </a:lnTo>
                  <a:lnTo>
                    <a:pt x="2488" y="2140"/>
                  </a:lnTo>
                  <a:close/>
                  <a:moveTo>
                    <a:pt x="2462" y="2140"/>
                  </a:moveTo>
                  <a:lnTo>
                    <a:pt x="2462" y="2135"/>
                  </a:lnTo>
                  <a:lnTo>
                    <a:pt x="2466" y="2135"/>
                  </a:lnTo>
                  <a:lnTo>
                    <a:pt x="2462" y="2140"/>
                  </a:lnTo>
                  <a:lnTo>
                    <a:pt x="2462" y="2140"/>
                  </a:lnTo>
                  <a:lnTo>
                    <a:pt x="2462" y="2140"/>
                  </a:lnTo>
                  <a:close/>
                  <a:moveTo>
                    <a:pt x="2483" y="2152"/>
                  </a:moveTo>
                  <a:lnTo>
                    <a:pt x="2476" y="2140"/>
                  </a:lnTo>
                  <a:lnTo>
                    <a:pt x="2483" y="2135"/>
                  </a:lnTo>
                  <a:lnTo>
                    <a:pt x="2488" y="2140"/>
                  </a:lnTo>
                  <a:lnTo>
                    <a:pt x="2483" y="2152"/>
                  </a:lnTo>
                  <a:lnTo>
                    <a:pt x="2483" y="2152"/>
                  </a:lnTo>
                  <a:lnTo>
                    <a:pt x="2483" y="2152"/>
                  </a:lnTo>
                  <a:close/>
                  <a:moveTo>
                    <a:pt x="2504" y="2152"/>
                  </a:moveTo>
                  <a:lnTo>
                    <a:pt x="2499" y="2140"/>
                  </a:lnTo>
                  <a:lnTo>
                    <a:pt x="2504" y="2140"/>
                  </a:lnTo>
                  <a:lnTo>
                    <a:pt x="2504" y="2152"/>
                  </a:lnTo>
                  <a:lnTo>
                    <a:pt x="2504" y="2152"/>
                  </a:lnTo>
                  <a:lnTo>
                    <a:pt x="2504" y="2152"/>
                  </a:lnTo>
                  <a:close/>
                  <a:moveTo>
                    <a:pt x="2499" y="2152"/>
                  </a:moveTo>
                  <a:lnTo>
                    <a:pt x="2488" y="2152"/>
                  </a:lnTo>
                  <a:lnTo>
                    <a:pt x="2499" y="2140"/>
                  </a:lnTo>
                  <a:lnTo>
                    <a:pt x="2499" y="2152"/>
                  </a:lnTo>
                  <a:lnTo>
                    <a:pt x="2499" y="2152"/>
                  </a:lnTo>
                  <a:lnTo>
                    <a:pt x="2499" y="2152"/>
                  </a:lnTo>
                  <a:close/>
                  <a:moveTo>
                    <a:pt x="2537" y="2157"/>
                  </a:moveTo>
                  <a:lnTo>
                    <a:pt x="2537" y="2152"/>
                  </a:lnTo>
                  <a:lnTo>
                    <a:pt x="2542" y="2157"/>
                  </a:lnTo>
                  <a:lnTo>
                    <a:pt x="2537" y="2157"/>
                  </a:lnTo>
                  <a:lnTo>
                    <a:pt x="2537" y="2157"/>
                  </a:lnTo>
                  <a:lnTo>
                    <a:pt x="2537" y="2157"/>
                  </a:lnTo>
                  <a:close/>
                  <a:moveTo>
                    <a:pt x="2488" y="2157"/>
                  </a:moveTo>
                  <a:lnTo>
                    <a:pt x="2476" y="2152"/>
                  </a:lnTo>
                  <a:lnTo>
                    <a:pt x="2488" y="2152"/>
                  </a:lnTo>
                  <a:lnTo>
                    <a:pt x="2488" y="2157"/>
                  </a:lnTo>
                  <a:lnTo>
                    <a:pt x="2488" y="2157"/>
                  </a:lnTo>
                  <a:lnTo>
                    <a:pt x="2488" y="2157"/>
                  </a:lnTo>
                  <a:close/>
                  <a:moveTo>
                    <a:pt x="2504" y="2157"/>
                  </a:moveTo>
                  <a:lnTo>
                    <a:pt x="2499" y="2157"/>
                  </a:lnTo>
                  <a:lnTo>
                    <a:pt x="2504" y="2152"/>
                  </a:lnTo>
                  <a:lnTo>
                    <a:pt x="2504" y="2157"/>
                  </a:lnTo>
                  <a:lnTo>
                    <a:pt x="2504" y="2157"/>
                  </a:lnTo>
                  <a:lnTo>
                    <a:pt x="2504" y="2157"/>
                  </a:lnTo>
                  <a:close/>
                  <a:moveTo>
                    <a:pt x="2568" y="2190"/>
                  </a:moveTo>
                  <a:lnTo>
                    <a:pt x="2537" y="2206"/>
                  </a:lnTo>
                  <a:lnTo>
                    <a:pt x="2530" y="2197"/>
                  </a:lnTo>
                  <a:lnTo>
                    <a:pt x="2537" y="2190"/>
                  </a:lnTo>
                  <a:lnTo>
                    <a:pt x="2530" y="2190"/>
                  </a:lnTo>
                  <a:lnTo>
                    <a:pt x="2521" y="2180"/>
                  </a:lnTo>
                  <a:lnTo>
                    <a:pt x="2537" y="2173"/>
                  </a:lnTo>
                  <a:lnTo>
                    <a:pt x="2537" y="2157"/>
                  </a:lnTo>
                  <a:lnTo>
                    <a:pt x="2551" y="2157"/>
                  </a:lnTo>
                  <a:lnTo>
                    <a:pt x="2575" y="2161"/>
                  </a:lnTo>
                  <a:lnTo>
                    <a:pt x="2568" y="2180"/>
                  </a:lnTo>
                  <a:lnTo>
                    <a:pt x="2551" y="2173"/>
                  </a:lnTo>
                  <a:lnTo>
                    <a:pt x="2568" y="2180"/>
                  </a:lnTo>
                  <a:lnTo>
                    <a:pt x="2568" y="2190"/>
                  </a:lnTo>
                  <a:lnTo>
                    <a:pt x="2568" y="2190"/>
                  </a:lnTo>
                  <a:lnTo>
                    <a:pt x="2568" y="2190"/>
                  </a:lnTo>
                  <a:close/>
                  <a:moveTo>
                    <a:pt x="2488" y="2161"/>
                  </a:moveTo>
                  <a:lnTo>
                    <a:pt x="2488" y="2157"/>
                  </a:lnTo>
                  <a:lnTo>
                    <a:pt x="2499" y="2157"/>
                  </a:lnTo>
                  <a:lnTo>
                    <a:pt x="2488" y="2161"/>
                  </a:lnTo>
                  <a:lnTo>
                    <a:pt x="2488" y="2161"/>
                  </a:lnTo>
                  <a:lnTo>
                    <a:pt x="2488" y="2161"/>
                  </a:lnTo>
                  <a:close/>
                  <a:moveTo>
                    <a:pt x="2462" y="2173"/>
                  </a:moveTo>
                  <a:lnTo>
                    <a:pt x="2445" y="2161"/>
                  </a:lnTo>
                  <a:lnTo>
                    <a:pt x="2462" y="2157"/>
                  </a:lnTo>
                  <a:lnTo>
                    <a:pt x="2466" y="2161"/>
                  </a:lnTo>
                  <a:lnTo>
                    <a:pt x="2462" y="2173"/>
                  </a:lnTo>
                  <a:lnTo>
                    <a:pt x="2462" y="2173"/>
                  </a:lnTo>
                  <a:lnTo>
                    <a:pt x="2462" y="2173"/>
                  </a:lnTo>
                  <a:close/>
                  <a:moveTo>
                    <a:pt x="2483" y="2173"/>
                  </a:moveTo>
                  <a:lnTo>
                    <a:pt x="2476" y="2157"/>
                  </a:lnTo>
                  <a:lnTo>
                    <a:pt x="2488" y="2161"/>
                  </a:lnTo>
                  <a:lnTo>
                    <a:pt x="2488" y="2173"/>
                  </a:lnTo>
                  <a:lnTo>
                    <a:pt x="2483" y="2173"/>
                  </a:lnTo>
                  <a:lnTo>
                    <a:pt x="2483" y="2173"/>
                  </a:lnTo>
                  <a:lnTo>
                    <a:pt x="2483" y="2173"/>
                  </a:lnTo>
                  <a:close/>
                  <a:moveTo>
                    <a:pt x="2462" y="2173"/>
                  </a:moveTo>
                  <a:lnTo>
                    <a:pt x="2462" y="2161"/>
                  </a:lnTo>
                  <a:lnTo>
                    <a:pt x="2466" y="2161"/>
                  </a:lnTo>
                  <a:lnTo>
                    <a:pt x="2476" y="2173"/>
                  </a:lnTo>
                  <a:lnTo>
                    <a:pt x="2462" y="2173"/>
                  </a:lnTo>
                  <a:lnTo>
                    <a:pt x="2462" y="2173"/>
                  </a:lnTo>
                  <a:lnTo>
                    <a:pt x="2462" y="2173"/>
                  </a:lnTo>
                  <a:close/>
                  <a:moveTo>
                    <a:pt x="2504" y="2190"/>
                  </a:moveTo>
                  <a:lnTo>
                    <a:pt x="2499" y="2173"/>
                  </a:lnTo>
                  <a:lnTo>
                    <a:pt x="2504" y="2173"/>
                  </a:lnTo>
                  <a:lnTo>
                    <a:pt x="2513" y="2180"/>
                  </a:lnTo>
                  <a:lnTo>
                    <a:pt x="2504" y="2190"/>
                  </a:lnTo>
                  <a:lnTo>
                    <a:pt x="2504" y="2190"/>
                  </a:lnTo>
                  <a:lnTo>
                    <a:pt x="2504" y="2190"/>
                  </a:lnTo>
                  <a:close/>
                  <a:moveTo>
                    <a:pt x="2428" y="2180"/>
                  </a:moveTo>
                  <a:lnTo>
                    <a:pt x="2428" y="2173"/>
                  </a:lnTo>
                  <a:lnTo>
                    <a:pt x="2433" y="2173"/>
                  </a:lnTo>
                  <a:lnTo>
                    <a:pt x="2428" y="2180"/>
                  </a:lnTo>
                  <a:lnTo>
                    <a:pt x="2428" y="2180"/>
                  </a:lnTo>
                  <a:lnTo>
                    <a:pt x="2428" y="2180"/>
                  </a:lnTo>
                  <a:close/>
                  <a:moveTo>
                    <a:pt x="2466" y="2190"/>
                  </a:moveTo>
                  <a:lnTo>
                    <a:pt x="2462" y="2180"/>
                  </a:lnTo>
                  <a:lnTo>
                    <a:pt x="2483" y="2173"/>
                  </a:lnTo>
                  <a:lnTo>
                    <a:pt x="2488" y="2180"/>
                  </a:lnTo>
                  <a:lnTo>
                    <a:pt x="2466" y="2190"/>
                  </a:lnTo>
                  <a:lnTo>
                    <a:pt x="2466" y="2190"/>
                  </a:lnTo>
                  <a:lnTo>
                    <a:pt x="2466" y="2190"/>
                  </a:lnTo>
                  <a:close/>
                  <a:moveTo>
                    <a:pt x="2450" y="2180"/>
                  </a:moveTo>
                  <a:lnTo>
                    <a:pt x="2433" y="2180"/>
                  </a:lnTo>
                  <a:lnTo>
                    <a:pt x="2445" y="2173"/>
                  </a:lnTo>
                  <a:lnTo>
                    <a:pt x="2450" y="2180"/>
                  </a:lnTo>
                  <a:lnTo>
                    <a:pt x="2450" y="2180"/>
                  </a:lnTo>
                  <a:lnTo>
                    <a:pt x="2450" y="2180"/>
                  </a:lnTo>
                  <a:close/>
                  <a:moveTo>
                    <a:pt x="2462" y="2197"/>
                  </a:moveTo>
                  <a:lnTo>
                    <a:pt x="2445" y="2190"/>
                  </a:lnTo>
                  <a:lnTo>
                    <a:pt x="2450" y="2190"/>
                  </a:lnTo>
                  <a:lnTo>
                    <a:pt x="2462" y="2197"/>
                  </a:lnTo>
                  <a:lnTo>
                    <a:pt x="2462" y="2197"/>
                  </a:lnTo>
                  <a:lnTo>
                    <a:pt x="2462" y="2197"/>
                  </a:lnTo>
                  <a:close/>
                  <a:moveTo>
                    <a:pt x="2504" y="2197"/>
                  </a:moveTo>
                  <a:lnTo>
                    <a:pt x="2504" y="2190"/>
                  </a:lnTo>
                  <a:lnTo>
                    <a:pt x="2513" y="2190"/>
                  </a:lnTo>
                  <a:lnTo>
                    <a:pt x="2504" y="2197"/>
                  </a:lnTo>
                  <a:lnTo>
                    <a:pt x="2504" y="2197"/>
                  </a:lnTo>
                  <a:lnTo>
                    <a:pt x="2504" y="2197"/>
                  </a:lnTo>
                  <a:close/>
                  <a:moveTo>
                    <a:pt x="2499" y="2206"/>
                  </a:moveTo>
                  <a:lnTo>
                    <a:pt x="2488" y="2197"/>
                  </a:lnTo>
                  <a:lnTo>
                    <a:pt x="2488" y="2190"/>
                  </a:lnTo>
                  <a:lnTo>
                    <a:pt x="2499" y="2206"/>
                  </a:lnTo>
                  <a:lnTo>
                    <a:pt x="2499" y="2206"/>
                  </a:lnTo>
                  <a:lnTo>
                    <a:pt x="2499" y="2206"/>
                  </a:lnTo>
                  <a:close/>
                  <a:moveTo>
                    <a:pt x="2483" y="2197"/>
                  </a:moveTo>
                  <a:lnTo>
                    <a:pt x="2476" y="2197"/>
                  </a:lnTo>
                  <a:lnTo>
                    <a:pt x="2488" y="2190"/>
                  </a:lnTo>
                  <a:lnTo>
                    <a:pt x="2483" y="2197"/>
                  </a:lnTo>
                  <a:lnTo>
                    <a:pt x="2483" y="2197"/>
                  </a:lnTo>
                  <a:lnTo>
                    <a:pt x="2483" y="2197"/>
                  </a:lnTo>
                  <a:close/>
                  <a:moveTo>
                    <a:pt x="2407" y="2206"/>
                  </a:moveTo>
                  <a:lnTo>
                    <a:pt x="2407" y="2197"/>
                  </a:lnTo>
                  <a:lnTo>
                    <a:pt x="2407" y="2190"/>
                  </a:lnTo>
                  <a:lnTo>
                    <a:pt x="2412" y="2197"/>
                  </a:lnTo>
                  <a:lnTo>
                    <a:pt x="2407" y="2206"/>
                  </a:lnTo>
                  <a:lnTo>
                    <a:pt x="2407" y="2206"/>
                  </a:lnTo>
                  <a:lnTo>
                    <a:pt x="2407" y="2206"/>
                  </a:lnTo>
                  <a:close/>
                  <a:moveTo>
                    <a:pt x="2466" y="2213"/>
                  </a:moveTo>
                  <a:lnTo>
                    <a:pt x="2462" y="2213"/>
                  </a:lnTo>
                  <a:lnTo>
                    <a:pt x="2476" y="2197"/>
                  </a:lnTo>
                  <a:lnTo>
                    <a:pt x="2488" y="2206"/>
                  </a:lnTo>
                  <a:lnTo>
                    <a:pt x="2466" y="2213"/>
                  </a:lnTo>
                  <a:lnTo>
                    <a:pt x="2466" y="2213"/>
                  </a:lnTo>
                  <a:lnTo>
                    <a:pt x="2466" y="2213"/>
                  </a:lnTo>
                  <a:close/>
                  <a:moveTo>
                    <a:pt x="2504" y="2235"/>
                  </a:moveTo>
                  <a:lnTo>
                    <a:pt x="2466" y="2230"/>
                  </a:lnTo>
                  <a:lnTo>
                    <a:pt x="2466" y="2218"/>
                  </a:lnTo>
                  <a:lnTo>
                    <a:pt x="2499" y="2213"/>
                  </a:lnTo>
                  <a:lnTo>
                    <a:pt x="2504" y="2218"/>
                  </a:lnTo>
                  <a:lnTo>
                    <a:pt x="2504" y="2235"/>
                  </a:lnTo>
                  <a:lnTo>
                    <a:pt x="2504" y="2235"/>
                  </a:lnTo>
                  <a:lnTo>
                    <a:pt x="2504" y="2235"/>
                  </a:lnTo>
                  <a:close/>
                  <a:moveTo>
                    <a:pt x="2462" y="2235"/>
                  </a:moveTo>
                  <a:lnTo>
                    <a:pt x="2450" y="2230"/>
                  </a:lnTo>
                  <a:lnTo>
                    <a:pt x="2462" y="2218"/>
                  </a:lnTo>
                  <a:lnTo>
                    <a:pt x="2466" y="2230"/>
                  </a:lnTo>
                  <a:lnTo>
                    <a:pt x="2462" y="2235"/>
                  </a:lnTo>
                  <a:lnTo>
                    <a:pt x="2462" y="2235"/>
                  </a:lnTo>
                  <a:lnTo>
                    <a:pt x="2462" y="2235"/>
                  </a:lnTo>
                  <a:close/>
                  <a:moveTo>
                    <a:pt x="2483" y="2247"/>
                  </a:moveTo>
                  <a:lnTo>
                    <a:pt x="2476" y="2230"/>
                  </a:lnTo>
                  <a:lnTo>
                    <a:pt x="2483" y="2230"/>
                  </a:lnTo>
                  <a:lnTo>
                    <a:pt x="2499" y="2235"/>
                  </a:lnTo>
                  <a:lnTo>
                    <a:pt x="2483" y="2247"/>
                  </a:lnTo>
                  <a:lnTo>
                    <a:pt x="2483" y="2247"/>
                  </a:lnTo>
                  <a:lnTo>
                    <a:pt x="2483" y="2247"/>
                  </a:lnTo>
                  <a:close/>
                  <a:moveTo>
                    <a:pt x="2462" y="2247"/>
                  </a:moveTo>
                  <a:lnTo>
                    <a:pt x="2445" y="2235"/>
                  </a:lnTo>
                  <a:lnTo>
                    <a:pt x="2462" y="2235"/>
                  </a:lnTo>
                  <a:lnTo>
                    <a:pt x="2462" y="2247"/>
                  </a:lnTo>
                  <a:lnTo>
                    <a:pt x="2462" y="2247"/>
                  </a:lnTo>
                  <a:lnTo>
                    <a:pt x="2462" y="2247"/>
                  </a:lnTo>
                  <a:close/>
                  <a:moveTo>
                    <a:pt x="2488" y="2251"/>
                  </a:moveTo>
                  <a:lnTo>
                    <a:pt x="2483" y="2247"/>
                  </a:lnTo>
                  <a:lnTo>
                    <a:pt x="2499" y="2247"/>
                  </a:lnTo>
                  <a:lnTo>
                    <a:pt x="2488" y="2251"/>
                  </a:lnTo>
                  <a:lnTo>
                    <a:pt x="2488" y="2251"/>
                  </a:lnTo>
                  <a:lnTo>
                    <a:pt x="2488" y="2251"/>
                  </a:lnTo>
                  <a:close/>
                  <a:moveTo>
                    <a:pt x="2450" y="2263"/>
                  </a:moveTo>
                  <a:lnTo>
                    <a:pt x="2445" y="2263"/>
                  </a:lnTo>
                  <a:lnTo>
                    <a:pt x="2450" y="2247"/>
                  </a:lnTo>
                  <a:lnTo>
                    <a:pt x="2450" y="2263"/>
                  </a:lnTo>
                  <a:lnTo>
                    <a:pt x="2450" y="2263"/>
                  </a:lnTo>
                  <a:lnTo>
                    <a:pt x="2450" y="2263"/>
                  </a:lnTo>
                  <a:close/>
                  <a:moveTo>
                    <a:pt x="2476" y="2263"/>
                  </a:moveTo>
                  <a:lnTo>
                    <a:pt x="2483" y="2247"/>
                  </a:lnTo>
                  <a:lnTo>
                    <a:pt x="2499" y="2251"/>
                  </a:lnTo>
                  <a:lnTo>
                    <a:pt x="2499" y="2263"/>
                  </a:lnTo>
                  <a:lnTo>
                    <a:pt x="2483" y="2251"/>
                  </a:lnTo>
                  <a:lnTo>
                    <a:pt x="2476" y="2263"/>
                  </a:lnTo>
                  <a:lnTo>
                    <a:pt x="2476" y="2263"/>
                  </a:lnTo>
                  <a:lnTo>
                    <a:pt x="2476" y="2263"/>
                  </a:lnTo>
                  <a:close/>
                  <a:moveTo>
                    <a:pt x="2504" y="2272"/>
                  </a:moveTo>
                  <a:lnTo>
                    <a:pt x="2499" y="2268"/>
                  </a:lnTo>
                  <a:lnTo>
                    <a:pt x="2504" y="2251"/>
                  </a:lnTo>
                  <a:lnTo>
                    <a:pt x="2513" y="2251"/>
                  </a:lnTo>
                  <a:lnTo>
                    <a:pt x="2504" y="2272"/>
                  </a:lnTo>
                  <a:lnTo>
                    <a:pt x="2504" y="2272"/>
                  </a:lnTo>
                  <a:lnTo>
                    <a:pt x="2504" y="2272"/>
                  </a:lnTo>
                  <a:close/>
                  <a:moveTo>
                    <a:pt x="2450" y="2272"/>
                  </a:moveTo>
                  <a:lnTo>
                    <a:pt x="2450" y="2263"/>
                  </a:lnTo>
                  <a:lnTo>
                    <a:pt x="2462" y="2251"/>
                  </a:lnTo>
                  <a:lnTo>
                    <a:pt x="2466" y="2268"/>
                  </a:lnTo>
                  <a:lnTo>
                    <a:pt x="2450" y="2272"/>
                  </a:lnTo>
                  <a:lnTo>
                    <a:pt x="2450" y="2272"/>
                  </a:lnTo>
                  <a:lnTo>
                    <a:pt x="2450" y="2272"/>
                  </a:lnTo>
                  <a:close/>
                  <a:moveTo>
                    <a:pt x="2483" y="2272"/>
                  </a:moveTo>
                  <a:lnTo>
                    <a:pt x="2476" y="2263"/>
                  </a:lnTo>
                  <a:lnTo>
                    <a:pt x="2483" y="2263"/>
                  </a:lnTo>
                  <a:lnTo>
                    <a:pt x="2488" y="2268"/>
                  </a:lnTo>
                  <a:lnTo>
                    <a:pt x="2483" y="2272"/>
                  </a:lnTo>
                  <a:lnTo>
                    <a:pt x="2483" y="2272"/>
                  </a:lnTo>
                  <a:lnTo>
                    <a:pt x="2483" y="2272"/>
                  </a:lnTo>
                  <a:close/>
                  <a:moveTo>
                    <a:pt x="2433" y="2272"/>
                  </a:moveTo>
                  <a:lnTo>
                    <a:pt x="2433" y="2268"/>
                  </a:lnTo>
                  <a:lnTo>
                    <a:pt x="2445" y="2263"/>
                  </a:lnTo>
                  <a:lnTo>
                    <a:pt x="2445" y="2272"/>
                  </a:lnTo>
                  <a:lnTo>
                    <a:pt x="2433" y="2272"/>
                  </a:lnTo>
                  <a:lnTo>
                    <a:pt x="2433" y="2272"/>
                  </a:lnTo>
                  <a:lnTo>
                    <a:pt x="2433" y="2272"/>
                  </a:lnTo>
                  <a:close/>
                  <a:moveTo>
                    <a:pt x="2483" y="2289"/>
                  </a:moveTo>
                  <a:lnTo>
                    <a:pt x="2476" y="2284"/>
                  </a:lnTo>
                  <a:lnTo>
                    <a:pt x="2483" y="2272"/>
                  </a:lnTo>
                  <a:lnTo>
                    <a:pt x="2488" y="2284"/>
                  </a:lnTo>
                  <a:lnTo>
                    <a:pt x="2483" y="2289"/>
                  </a:lnTo>
                  <a:lnTo>
                    <a:pt x="2483" y="2289"/>
                  </a:lnTo>
                  <a:lnTo>
                    <a:pt x="2483" y="2289"/>
                  </a:lnTo>
                  <a:close/>
                  <a:moveTo>
                    <a:pt x="2488" y="2301"/>
                  </a:moveTo>
                  <a:lnTo>
                    <a:pt x="2488" y="2289"/>
                  </a:lnTo>
                  <a:lnTo>
                    <a:pt x="2504" y="2284"/>
                  </a:lnTo>
                  <a:lnTo>
                    <a:pt x="2504" y="2289"/>
                  </a:lnTo>
                  <a:lnTo>
                    <a:pt x="2488" y="2301"/>
                  </a:lnTo>
                  <a:lnTo>
                    <a:pt x="2488" y="2301"/>
                  </a:lnTo>
                  <a:lnTo>
                    <a:pt x="2488" y="2301"/>
                  </a:lnTo>
                  <a:close/>
                  <a:moveTo>
                    <a:pt x="2412" y="2308"/>
                  </a:moveTo>
                  <a:lnTo>
                    <a:pt x="2407" y="2301"/>
                  </a:lnTo>
                  <a:lnTo>
                    <a:pt x="2424" y="2301"/>
                  </a:lnTo>
                  <a:lnTo>
                    <a:pt x="2412" y="2301"/>
                  </a:lnTo>
                  <a:lnTo>
                    <a:pt x="2407" y="2289"/>
                  </a:lnTo>
                  <a:lnTo>
                    <a:pt x="2424" y="2289"/>
                  </a:lnTo>
                  <a:lnTo>
                    <a:pt x="2433" y="2284"/>
                  </a:lnTo>
                  <a:lnTo>
                    <a:pt x="2428" y="2301"/>
                  </a:lnTo>
                  <a:lnTo>
                    <a:pt x="2412" y="2308"/>
                  </a:lnTo>
                  <a:lnTo>
                    <a:pt x="2412" y="2308"/>
                  </a:lnTo>
                  <a:lnTo>
                    <a:pt x="2412" y="2308"/>
                  </a:lnTo>
                  <a:close/>
                  <a:moveTo>
                    <a:pt x="2504" y="2301"/>
                  </a:moveTo>
                  <a:lnTo>
                    <a:pt x="2499" y="2301"/>
                  </a:lnTo>
                  <a:lnTo>
                    <a:pt x="2499" y="2289"/>
                  </a:lnTo>
                  <a:lnTo>
                    <a:pt x="2504" y="2301"/>
                  </a:lnTo>
                  <a:lnTo>
                    <a:pt x="2504" y="2301"/>
                  </a:lnTo>
                  <a:lnTo>
                    <a:pt x="2504" y="2301"/>
                  </a:lnTo>
                  <a:close/>
                  <a:moveTo>
                    <a:pt x="2499" y="2317"/>
                  </a:moveTo>
                  <a:lnTo>
                    <a:pt x="2488" y="2301"/>
                  </a:lnTo>
                  <a:lnTo>
                    <a:pt x="2504" y="2308"/>
                  </a:lnTo>
                  <a:lnTo>
                    <a:pt x="2499" y="2317"/>
                  </a:lnTo>
                  <a:lnTo>
                    <a:pt x="2499" y="2317"/>
                  </a:lnTo>
                  <a:lnTo>
                    <a:pt x="2499" y="2317"/>
                  </a:lnTo>
                  <a:close/>
                  <a:moveTo>
                    <a:pt x="2476" y="2400"/>
                  </a:moveTo>
                  <a:lnTo>
                    <a:pt x="2476" y="2395"/>
                  </a:lnTo>
                  <a:lnTo>
                    <a:pt x="2488" y="2395"/>
                  </a:lnTo>
                  <a:lnTo>
                    <a:pt x="2476" y="2400"/>
                  </a:lnTo>
                  <a:lnTo>
                    <a:pt x="2476" y="2400"/>
                  </a:lnTo>
                  <a:lnTo>
                    <a:pt x="2476" y="2400"/>
                  </a:lnTo>
                  <a:close/>
                  <a:moveTo>
                    <a:pt x="2450" y="2400"/>
                  </a:moveTo>
                  <a:lnTo>
                    <a:pt x="2450" y="2395"/>
                  </a:lnTo>
                  <a:lnTo>
                    <a:pt x="2462" y="2395"/>
                  </a:lnTo>
                  <a:lnTo>
                    <a:pt x="2450" y="2400"/>
                  </a:lnTo>
                  <a:lnTo>
                    <a:pt x="2450" y="2400"/>
                  </a:lnTo>
                  <a:lnTo>
                    <a:pt x="2450" y="2400"/>
                  </a:lnTo>
                  <a:close/>
                  <a:moveTo>
                    <a:pt x="2412" y="2457"/>
                  </a:moveTo>
                  <a:lnTo>
                    <a:pt x="2407" y="2452"/>
                  </a:lnTo>
                  <a:lnTo>
                    <a:pt x="2424" y="2457"/>
                  </a:lnTo>
                  <a:lnTo>
                    <a:pt x="2412" y="2457"/>
                  </a:lnTo>
                  <a:lnTo>
                    <a:pt x="2412" y="2457"/>
                  </a:lnTo>
                  <a:lnTo>
                    <a:pt x="2412" y="2457"/>
                  </a:lnTo>
                  <a:close/>
                  <a:moveTo>
                    <a:pt x="2407" y="2469"/>
                  </a:moveTo>
                  <a:lnTo>
                    <a:pt x="2391" y="2457"/>
                  </a:lnTo>
                  <a:lnTo>
                    <a:pt x="2407" y="2452"/>
                  </a:lnTo>
                  <a:lnTo>
                    <a:pt x="2412" y="2469"/>
                  </a:lnTo>
                  <a:lnTo>
                    <a:pt x="2407" y="2469"/>
                  </a:lnTo>
                  <a:lnTo>
                    <a:pt x="2407" y="2469"/>
                  </a:lnTo>
                  <a:lnTo>
                    <a:pt x="2407" y="2469"/>
                  </a:lnTo>
                  <a:close/>
                  <a:moveTo>
                    <a:pt x="2462" y="2485"/>
                  </a:moveTo>
                  <a:lnTo>
                    <a:pt x="2450" y="2473"/>
                  </a:lnTo>
                  <a:lnTo>
                    <a:pt x="2466" y="2469"/>
                  </a:lnTo>
                  <a:lnTo>
                    <a:pt x="2499" y="2473"/>
                  </a:lnTo>
                  <a:lnTo>
                    <a:pt x="2488" y="2473"/>
                  </a:lnTo>
                  <a:lnTo>
                    <a:pt x="2462" y="2485"/>
                  </a:lnTo>
                  <a:lnTo>
                    <a:pt x="2462" y="2485"/>
                  </a:lnTo>
                  <a:lnTo>
                    <a:pt x="2462" y="2485"/>
                  </a:lnTo>
                  <a:close/>
                  <a:moveTo>
                    <a:pt x="2424" y="2490"/>
                  </a:moveTo>
                  <a:lnTo>
                    <a:pt x="2412" y="2485"/>
                  </a:lnTo>
                  <a:lnTo>
                    <a:pt x="2395" y="2485"/>
                  </a:lnTo>
                  <a:lnTo>
                    <a:pt x="2428" y="2469"/>
                  </a:lnTo>
                  <a:lnTo>
                    <a:pt x="2428" y="2485"/>
                  </a:lnTo>
                  <a:lnTo>
                    <a:pt x="2424" y="2490"/>
                  </a:lnTo>
                  <a:lnTo>
                    <a:pt x="2424" y="2490"/>
                  </a:lnTo>
                  <a:lnTo>
                    <a:pt x="2424" y="2490"/>
                  </a:lnTo>
                  <a:close/>
                  <a:moveTo>
                    <a:pt x="2395" y="2544"/>
                  </a:moveTo>
                  <a:lnTo>
                    <a:pt x="2395" y="2539"/>
                  </a:lnTo>
                  <a:lnTo>
                    <a:pt x="2391" y="2523"/>
                  </a:lnTo>
                  <a:lnTo>
                    <a:pt x="2374" y="2523"/>
                  </a:lnTo>
                  <a:lnTo>
                    <a:pt x="2391" y="2506"/>
                  </a:lnTo>
                  <a:lnTo>
                    <a:pt x="2374" y="2511"/>
                  </a:lnTo>
                  <a:lnTo>
                    <a:pt x="2374" y="2490"/>
                  </a:lnTo>
                  <a:lnTo>
                    <a:pt x="2379" y="2485"/>
                  </a:lnTo>
                  <a:lnTo>
                    <a:pt x="2391" y="2485"/>
                  </a:lnTo>
                  <a:lnTo>
                    <a:pt x="2407" y="2528"/>
                  </a:lnTo>
                  <a:lnTo>
                    <a:pt x="2407" y="2539"/>
                  </a:lnTo>
                  <a:lnTo>
                    <a:pt x="2395" y="2544"/>
                  </a:lnTo>
                  <a:lnTo>
                    <a:pt x="2395" y="2544"/>
                  </a:lnTo>
                  <a:lnTo>
                    <a:pt x="2395" y="2544"/>
                  </a:lnTo>
                  <a:close/>
                  <a:moveTo>
                    <a:pt x="2412" y="2523"/>
                  </a:moveTo>
                  <a:lnTo>
                    <a:pt x="2395" y="2490"/>
                  </a:lnTo>
                  <a:lnTo>
                    <a:pt x="2428" y="2495"/>
                  </a:lnTo>
                  <a:lnTo>
                    <a:pt x="2428" y="2511"/>
                  </a:lnTo>
                  <a:lnTo>
                    <a:pt x="2412" y="2523"/>
                  </a:lnTo>
                  <a:lnTo>
                    <a:pt x="2412" y="2523"/>
                  </a:lnTo>
                  <a:lnTo>
                    <a:pt x="2412" y="2523"/>
                  </a:lnTo>
                  <a:close/>
                  <a:moveTo>
                    <a:pt x="2445" y="2511"/>
                  </a:moveTo>
                  <a:lnTo>
                    <a:pt x="2445" y="2506"/>
                  </a:lnTo>
                  <a:lnTo>
                    <a:pt x="2445" y="2490"/>
                  </a:lnTo>
                  <a:lnTo>
                    <a:pt x="2462" y="2506"/>
                  </a:lnTo>
                  <a:lnTo>
                    <a:pt x="2445" y="2511"/>
                  </a:lnTo>
                  <a:lnTo>
                    <a:pt x="2445" y="2511"/>
                  </a:lnTo>
                  <a:lnTo>
                    <a:pt x="2445" y="2511"/>
                  </a:lnTo>
                  <a:close/>
                  <a:moveTo>
                    <a:pt x="2445" y="2544"/>
                  </a:moveTo>
                  <a:lnTo>
                    <a:pt x="2412" y="2539"/>
                  </a:lnTo>
                  <a:lnTo>
                    <a:pt x="2412" y="2528"/>
                  </a:lnTo>
                  <a:lnTo>
                    <a:pt x="2424" y="2523"/>
                  </a:lnTo>
                  <a:lnTo>
                    <a:pt x="2433" y="2523"/>
                  </a:lnTo>
                  <a:lnTo>
                    <a:pt x="2428" y="2511"/>
                  </a:lnTo>
                  <a:lnTo>
                    <a:pt x="2433" y="2490"/>
                  </a:lnTo>
                  <a:lnTo>
                    <a:pt x="2445" y="2523"/>
                  </a:lnTo>
                  <a:lnTo>
                    <a:pt x="2445" y="2539"/>
                  </a:lnTo>
                  <a:lnTo>
                    <a:pt x="2450" y="2539"/>
                  </a:lnTo>
                  <a:lnTo>
                    <a:pt x="2445" y="2544"/>
                  </a:lnTo>
                  <a:lnTo>
                    <a:pt x="2445" y="2544"/>
                  </a:lnTo>
                  <a:lnTo>
                    <a:pt x="2445" y="2544"/>
                  </a:lnTo>
                  <a:close/>
                  <a:moveTo>
                    <a:pt x="2466" y="2523"/>
                  </a:moveTo>
                  <a:lnTo>
                    <a:pt x="2450" y="2511"/>
                  </a:lnTo>
                  <a:lnTo>
                    <a:pt x="2462" y="2506"/>
                  </a:lnTo>
                  <a:lnTo>
                    <a:pt x="2466" y="2523"/>
                  </a:lnTo>
                  <a:lnTo>
                    <a:pt x="2466" y="2523"/>
                  </a:lnTo>
                  <a:lnTo>
                    <a:pt x="2466" y="2523"/>
                  </a:lnTo>
                  <a:close/>
                  <a:moveTo>
                    <a:pt x="2483" y="2528"/>
                  </a:moveTo>
                  <a:lnTo>
                    <a:pt x="2466" y="2511"/>
                  </a:lnTo>
                  <a:lnTo>
                    <a:pt x="2483" y="2523"/>
                  </a:lnTo>
                  <a:lnTo>
                    <a:pt x="2483" y="2528"/>
                  </a:lnTo>
                  <a:lnTo>
                    <a:pt x="2483" y="2528"/>
                  </a:lnTo>
                  <a:lnTo>
                    <a:pt x="2483" y="2528"/>
                  </a:lnTo>
                  <a:close/>
                  <a:moveTo>
                    <a:pt x="2450" y="2528"/>
                  </a:moveTo>
                  <a:lnTo>
                    <a:pt x="2450" y="2523"/>
                  </a:lnTo>
                  <a:lnTo>
                    <a:pt x="2466" y="2523"/>
                  </a:lnTo>
                  <a:lnTo>
                    <a:pt x="2450" y="2528"/>
                  </a:lnTo>
                  <a:lnTo>
                    <a:pt x="2450" y="2528"/>
                  </a:lnTo>
                  <a:lnTo>
                    <a:pt x="2450" y="2528"/>
                  </a:lnTo>
                  <a:close/>
                  <a:moveTo>
                    <a:pt x="2374" y="2544"/>
                  </a:moveTo>
                  <a:lnTo>
                    <a:pt x="2379" y="2539"/>
                  </a:lnTo>
                  <a:lnTo>
                    <a:pt x="2369" y="2539"/>
                  </a:lnTo>
                  <a:lnTo>
                    <a:pt x="2374" y="2523"/>
                  </a:lnTo>
                  <a:lnTo>
                    <a:pt x="2391" y="2523"/>
                  </a:lnTo>
                  <a:lnTo>
                    <a:pt x="2391" y="2539"/>
                  </a:lnTo>
                  <a:lnTo>
                    <a:pt x="2374" y="2544"/>
                  </a:lnTo>
                  <a:lnTo>
                    <a:pt x="2374" y="2544"/>
                  </a:lnTo>
                  <a:lnTo>
                    <a:pt x="2374" y="2544"/>
                  </a:lnTo>
                  <a:close/>
                  <a:moveTo>
                    <a:pt x="2407" y="2561"/>
                  </a:moveTo>
                  <a:lnTo>
                    <a:pt x="2395" y="2551"/>
                  </a:lnTo>
                  <a:lnTo>
                    <a:pt x="2412" y="2539"/>
                  </a:lnTo>
                  <a:lnTo>
                    <a:pt x="2407" y="2561"/>
                  </a:lnTo>
                  <a:lnTo>
                    <a:pt x="2407" y="2561"/>
                  </a:lnTo>
                  <a:lnTo>
                    <a:pt x="2407" y="2561"/>
                  </a:lnTo>
                  <a:close/>
                  <a:moveTo>
                    <a:pt x="2374" y="2551"/>
                  </a:moveTo>
                  <a:lnTo>
                    <a:pt x="2369" y="2544"/>
                  </a:lnTo>
                  <a:lnTo>
                    <a:pt x="2391" y="2539"/>
                  </a:lnTo>
                  <a:lnTo>
                    <a:pt x="2395" y="2544"/>
                  </a:lnTo>
                  <a:lnTo>
                    <a:pt x="2374" y="2551"/>
                  </a:lnTo>
                  <a:lnTo>
                    <a:pt x="2374" y="2551"/>
                  </a:lnTo>
                  <a:lnTo>
                    <a:pt x="2374" y="2551"/>
                  </a:lnTo>
                  <a:close/>
                  <a:moveTo>
                    <a:pt x="2412" y="2551"/>
                  </a:moveTo>
                  <a:lnTo>
                    <a:pt x="2412" y="2539"/>
                  </a:lnTo>
                  <a:lnTo>
                    <a:pt x="2428" y="2544"/>
                  </a:lnTo>
                  <a:lnTo>
                    <a:pt x="2412" y="2551"/>
                  </a:lnTo>
                  <a:lnTo>
                    <a:pt x="2412" y="2551"/>
                  </a:lnTo>
                  <a:lnTo>
                    <a:pt x="2412" y="2551"/>
                  </a:lnTo>
                  <a:close/>
                  <a:moveTo>
                    <a:pt x="2428" y="2672"/>
                  </a:moveTo>
                  <a:lnTo>
                    <a:pt x="2424" y="2662"/>
                  </a:lnTo>
                  <a:lnTo>
                    <a:pt x="2433" y="2662"/>
                  </a:lnTo>
                  <a:lnTo>
                    <a:pt x="2433" y="2655"/>
                  </a:lnTo>
                  <a:lnTo>
                    <a:pt x="2424" y="2662"/>
                  </a:lnTo>
                  <a:lnTo>
                    <a:pt x="2424" y="2639"/>
                  </a:lnTo>
                  <a:lnTo>
                    <a:pt x="2424" y="2622"/>
                  </a:lnTo>
                  <a:lnTo>
                    <a:pt x="2433" y="2606"/>
                  </a:lnTo>
                  <a:lnTo>
                    <a:pt x="2424" y="2622"/>
                  </a:lnTo>
                  <a:lnTo>
                    <a:pt x="2412" y="2622"/>
                  </a:lnTo>
                  <a:lnTo>
                    <a:pt x="2412" y="2655"/>
                  </a:lnTo>
                  <a:lnTo>
                    <a:pt x="2407" y="2655"/>
                  </a:lnTo>
                  <a:lnTo>
                    <a:pt x="2391" y="2634"/>
                  </a:lnTo>
                  <a:lnTo>
                    <a:pt x="2395" y="2617"/>
                  </a:lnTo>
                  <a:lnTo>
                    <a:pt x="2379" y="2617"/>
                  </a:lnTo>
                  <a:lnTo>
                    <a:pt x="2379" y="2601"/>
                  </a:lnTo>
                  <a:lnTo>
                    <a:pt x="2391" y="2601"/>
                  </a:lnTo>
                  <a:lnTo>
                    <a:pt x="2407" y="2617"/>
                  </a:lnTo>
                  <a:lnTo>
                    <a:pt x="2391" y="2601"/>
                  </a:lnTo>
                  <a:lnTo>
                    <a:pt x="2407" y="2606"/>
                  </a:lnTo>
                  <a:lnTo>
                    <a:pt x="2407" y="2596"/>
                  </a:lnTo>
                  <a:lnTo>
                    <a:pt x="2424" y="2601"/>
                  </a:lnTo>
                  <a:lnTo>
                    <a:pt x="2428" y="2584"/>
                  </a:lnTo>
                  <a:lnTo>
                    <a:pt x="2412" y="2561"/>
                  </a:lnTo>
                  <a:lnTo>
                    <a:pt x="2428" y="2544"/>
                  </a:lnTo>
                  <a:lnTo>
                    <a:pt x="2450" y="2544"/>
                  </a:lnTo>
                  <a:lnTo>
                    <a:pt x="2450" y="2601"/>
                  </a:lnTo>
                  <a:lnTo>
                    <a:pt x="2445" y="2639"/>
                  </a:lnTo>
                  <a:lnTo>
                    <a:pt x="2450" y="2634"/>
                  </a:lnTo>
                  <a:lnTo>
                    <a:pt x="2462" y="2639"/>
                  </a:lnTo>
                  <a:lnTo>
                    <a:pt x="2450" y="2662"/>
                  </a:lnTo>
                  <a:lnTo>
                    <a:pt x="2428" y="2672"/>
                  </a:lnTo>
                  <a:lnTo>
                    <a:pt x="2428" y="2672"/>
                  </a:lnTo>
                  <a:lnTo>
                    <a:pt x="2428" y="2672"/>
                  </a:lnTo>
                  <a:close/>
                  <a:moveTo>
                    <a:pt x="2395" y="2568"/>
                  </a:moveTo>
                  <a:lnTo>
                    <a:pt x="2391" y="2551"/>
                  </a:lnTo>
                  <a:lnTo>
                    <a:pt x="2407" y="2561"/>
                  </a:lnTo>
                  <a:lnTo>
                    <a:pt x="2412" y="2568"/>
                  </a:lnTo>
                  <a:lnTo>
                    <a:pt x="2395" y="2568"/>
                  </a:lnTo>
                  <a:lnTo>
                    <a:pt x="2395" y="2568"/>
                  </a:lnTo>
                  <a:lnTo>
                    <a:pt x="2395" y="2568"/>
                  </a:lnTo>
                  <a:close/>
                  <a:moveTo>
                    <a:pt x="2395" y="2584"/>
                  </a:moveTo>
                  <a:lnTo>
                    <a:pt x="2391" y="2568"/>
                  </a:lnTo>
                  <a:lnTo>
                    <a:pt x="2379" y="2580"/>
                  </a:lnTo>
                  <a:lnTo>
                    <a:pt x="2369" y="2561"/>
                  </a:lnTo>
                  <a:lnTo>
                    <a:pt x="2391" y="2561"/>
                  </a:lnTo>
                  <a:lnTo>
                    <a:pt x="2395" y="2580"/>
                  </a:lnTo>
                  <a:lnTo>
                    <a:pt x="2395" y="2584"/>
                  </a:lnTo>
                  <a:lnTo>
                    <a:pt x="2395" y="2584"/>
                  </a:lnTo>
                  <a:lnTo>
                    <a:pt x="2395" y="2584"/>
                  </a:lnTo>
                  <a:close/>
                  <a:moveTo>
                    <a:pt x="2374" y="2601"/>
                  </a:moveTo>
                  <a:lnTo>
                    <a:pt x="2369" y="2596"/>
                  </a:lnTo>
                  <a:lnTo>
                    <a:pt x="2391" y="2568"/>
                  </a:lnTo>
                  <a:lnTo>
                    <a:pt x="2395" y="2584"/>
                  </a:lnTo>
                  <a:lnTo>
                    <a:pt x="2374" y="2601"/>
                  </a:lnTo>
                  <a:lnTo>
                    <a:pt x="2374" y="2601"/>
                  </a:lnTo>
                  <a:lnTo>
                    <a:pt x="2374" y="2601"/>
                  </a:lnTo>
                  <a:close/>
                  <a:moveTo>
                    <a:pt x="2424" y="2601"/>
                  </a:moveTo>
                  <a:lnTo>
                    <a:pt x="2395" y="2584"/>
                  </a:lnTo>
                  <a:lnTo>
                    <a:pt x="2407" y="2580"/>
                  </a:lnTo>
                  <a:lnTo>
                    <a:pt x="2412" y="2580"/>
                  </a:lnTo>
                  <a:lnTo>
                    <a:pt x="2424" y="2584"/>
                  </a:lnTo>
                  <a:lnTo>
                    <a:pt x="2424" y="2601"/>
                  </a:lnTo>
                  <a:lnTo>
                    <a:pt x="2424" y="2601"/>
                  </a:lnTo>
                  <a:lnTo>
                    <a:pt x="2424" y="2601"/>
                  </a:lnTo>
                  <a:close/>
                  <a:moveTo>
                    <a:pt x="2450" y="2634"/>
                  </a:moveTo>
                  <a:lnTo>
                    <a:pt x="2450" y="2617"/>
                  </a:lnTo>
                  <a:lnTo>
                    <a:pt x="2466" y="2622"/>
                  </a:lnTo>
                  <a:lnTo>
                    <a:pt x="2450" y="2634"/>
                  </a:lnTo>
                  <a:lnTo>
                    <a:pt x="2450" y="2634"/>
                  </a:lnTo>
                  <a:lnTo>
                    <a:pt x="2450" y="2634"/>
                  </a:lnTo>
                  <a:close/>
                  <a:moveTo>
                    <a:pt x="2407" y="2655"/>
                  </a:moveTo>
                  <a:lnTo>
                    <a:pt x="2379" y="2650"/>
                  </a:lnTo>
                  <a:lnTo>
                    <a:pt x="2374" y="2650"/>
                  </a:lnTo>
                  <a:lnTo>
                    <a:pt x="2374" y="2634"/>
                  </a:lnTo>
                  <a:lnTo>
                    <a:pt x="2391" y="2634"/>
                  </a:lnTo>
                  <a:lnTo>
                    <a:pt x="2407" y="2655"/>
                  </a:lnTo>
                  <a:lnTo>
                    <a:pt x="2407" y="2655"/>
                  </a:lnTo>
                  <a:lnTo>
                    <a:pt x="2407" y="2655"/>
                  </a:lnTo>
                  <a:close/>
                  <a:moveTo>
                    <a:pt x="2412" y="2695"/>
                  </a:moveTo>
                  <a:lnTo>
                    <a:pt x="2395" y="2712"/>
                  </a:lnTo>
                  <a:lnTo>
                    <a:pt x="2391" y="2707"/>
                  </a:lnTo>
                  <a:lnTo>
                    <a:pt x="2395" y="2695"/>
                  </a:lnTo>
                  <a:lnTo>
                    <a:pt x="2379" y="2707"/>
                  </a:lnTo>
                  <a:lnTo>
                    <a:pt x="2391" y="2679"/>
                  </a:lnTo>
                  <a:lnTo>
                    <a:pt x="2407" y="2688"/>
                  </a:lnTo>
                  <a:lnTo>
                    <a:pt x="2391" y="2672"/>
                  </a:lnTo>
                  <a:lnTo>
                    <a:pt x="2407" y="2672"/>
                  </a:lnTo>
                  <a:lnTo>
                    <a:pt x="2412" y="2679"/>
                  </a:lnTo>
                  <a:lnTo>
                    <a:pt x="2412" y="2688"/>
                  </a:lnTo>
                  <a:lnTo>
                    <a:pt x="2428" y="2679"/>
                  </a:lnTo>
                  <a:lnTo>
                    <a:pt x="2428" y="2688"/>
                  </a:lnTo>
                  <a:lnTo>
                    <a:pt x="2412" y="2695"/>
                  </a:lnTo>
                  <a:lnTo>
                    <a:pt x="2412" y="2695"/>
                  </a:lnTo>
                  <a:lnTo>
                    <a:pt x="2412" y="2695"/>
                  </a:lnTo>
                  <a:close/>
                  <a:moveTo>
                    <a:pt x="2428" y="2712"/>
                  </a:moveTo>
                  <a:lnTo>
                    <a:pt x="2428" y="2707"/>
                  </a:lnTo>
                  <a:lnTo>
                    <a:pt x="2445" y="2707"/>
                  </a:lnTo>
                  <a:lnTo>
                    <a:pt x="2428" y="2712"/>
                  </a:lnTo>
                  <a:lnTo>
                    <a:pt x="2428" y="2712"/>
                  </a:lnTo>
                  <a:lnTo>
                    <a:pt x="2428" y="2712"/>
                  </a:lnTo>
                  <a:close/>
                  <a:moveTo>
                    <a:pt x="2466" y="2745"/>
                  </a:moveTo>
                  <a:lnTo>
                    <a:pt x="2445" y="2728"/>
                  </a:lnTo>
                  <a:lnTo>
                    <a:pt x="2450" y="2717"/>
                  </a:lnTo>
                  <a:lnTo>
                    <a:pt x="2433" y="2712"/>
                  </a:lnTo>
                  <a:lnTo>
                    <a:pt x="2445" y="2707"/>
                  </a:lnTo>
                  <a:lnTo>
                    <a:pt x="2462" y="2712"/>
                  </a:lnTo>
                  <a:lnTo>
                    <a:pt x="2476" y="2745"/>
                  </a:lnTo>
                  <a:lnTo>
                    <a:pt x="2466" y="2745"/>
                  </a:lnTo>
                  <a:lnTo>
                    <a:pt x="2466" y="2745"/>
                  </a:lnTo>
                  <a:lnTo>
                    <a:pt x="2466" y="2745"/>
                  </a:lnTo>
                  <a:close/>
                  <a:moveTo>
                    <a:pt x="2391" y="2745"/>
                  </a:moveTo>
                  <a:lnTo>
                    <a:pt x="2374" y="2728"/>
                  </a:lnTo>
                  <a:lnTo>
                    <a:pt x="2391" y="2728"/>
                  </a:lnTo>
                  <a:lnTo>
                    <a:pt x="2379" y="2712"/>
                  </a:lnTo>
                  <a:lnTo>
                    <a:pt x="2407" y="2712"/>
                  </a:lnTo>
                  <a:lnTo>
                    <a:pt x="2395" y="2717"/>
                  </a:lnTo>
                  <a:lnTo>
                    <a:pt x="2391" y="2745"/>
                  </a:lnTo>
                  <a:lnTo>
                    <a:pt x="2391" y="2745"/>
                  </a:lnTo>
                  <a:lnTo>
                    <a:pt x="2391" y="2745"/>
                  </a:lnTo>
                  <a:close/>
                  <a:moveTo>
                    <a:pt x="2433" y="2717"/>
                  </a:moveTo>
                  <a:lnTo>
                    <a:pt x="2433" y="2712"/>
                  </a:lnTo>
                  <a:lnTo>
                    <a:pt x="2445" y="2717"/>
                  </a:lnTo>
                  <a:lnTo>
                    <a:pt x="2433" y="2717"/>
                  </a:lnTo>
                  <a:lnTo>
                    <a:pt x="2433" y="2717"/>
                  </a:lnTo>
                  <a:lnTo>
                    <a:pt x="2433" y="2717"/>
                  </a:lnTo>
                  <a:close/>
                  <a:moveTo>
                    <a:pt x="2412" y="2745"/>
                  </a:moveTo>
                  <a:lnTo>
                    <a:pt x="2407" y="2733"/>
                  </a:lnTo>
                  <a:lnTo>
                    <a:pt x="2412" y="2728"/>
                  </a:lnTo>
                  <a:lnTo>
                    <a:pt x="2412" y="2745"/>
                  </a:lnTo>
                  <a:lnTo>
                    <a:pt x="2412" y="2745"/>
                  </a:lnTo>
                  <a:lnTo>
                    <a:pt x="2412" y="2745"/>
                  </a:lnTo>
                  <a:close/>
                  <a:moveTo>
                    <a:pt x="2433" y="2750"/>
                  </a:moveTo>
                  <a:lnTo>
                    <a:pt x="2424" y="2750"/>
                  </a:lnTo>
                  <a:lnTo>
                    <a:pt x="2424" y="2733"/>
                  </a:lnTo>
                  <a:lnTo>
                    <a:pt x="2428" y="2733"/>
                  </a:lnTo>
                  <a:lnTo>
                    <a:pt x="2433" y="2750"/>
                  </a:lnTo>
                  <a:lnTo>
                    <a:pt x="2433" y="2750"/>
                  </a:lnTo>
                  <a:lnTo>
                    <a:pt x="2433" y="2750"/>
                  </a:lnTo>
                  <a:close/>
                  <a:moveTo>
                    <a:pt x="2433" y="2773"/>
                  </a:moveTo>
                  <a:lnTo>
                    <a:pt x="2424" y="2766"/>
                  </a:lnTo>
                  <a:lnTo>
                    <a:pt x="2424" y="2750"/>
                  </a:lnTo>
                  <a:lnTo>
                    <a:pt x="2445" y="2750"/>
                  </a:lnTo>
                  <a:lnTo>
                    <a:pt x="2433" y="2733"/>
                  </a:lnTo>
                  <a:lnTo>
                    <a:pt x="2462" y="2745"/>
                  </a:lnTo>
                  <a:lnTo>
                    <a:pt x="2462" y="2766"/>
                  </a:lnTo>
                  <a:lnTo>
                    <a:pt x="2450" y="2761"/>
                  </a:lnTo>
                  <a:lnTo>
                    <a:pt x="2433" y="2773"/>
                  </a:lnTo>
                  <a:lnTo>
                    <a:pt x="2433" y="2773"/>
                  </a:lnTo>
                  <a:lnTo>
                    <a:pt x="2433" y="2773"/>
                  </a:lnTo>
                  <a:close/>
                  <a:moveTo>
                    <a:pt x="2466" y="2783"/>
                  </a:moveTo>
                  <a:lnTo>
                    <a:pt x="2462" y="2750"/>
                  </a:lnTo>
                  <a:lnTo>
                    <a:pt x="2476" y="2783"/>
                  </a:lnTo>
                  <a:lnTo>
                    <a:pt x="2466" y="2783"/>
                  </a:lnTo>
                  <a:lnTo>
                    <a:pt x="2466" y="2783"/>
                  </a:lnTo>
                  <a:lnTo>
                    <a:pt x="2466" y="2783"/>
                  </a:lnTo>
                  <a:close/>
                  <a:moveTo>
                    <a:pt x="2450" y="2783"/>
                  </a:moveTo>
                  <a:lnTo>
                    <a:pt x="2445" y="2766"/>
                  </a:lnTo>
                  <a:lnTo>
                    <a:pt x="2450" y="2766"/>
                  </a:lnTo>
                  <a:lnTo>
                    <a:pt x="2462" y="2773"/>
                  </a:lnTo>
                  <a:lnTo>
                    <a:pt x="2450" y="2783"/>
                  </a:lnTo>
                  <a:lnTo>
                    <a:pt x="2450" y="2783"/>
                  </a:lnTo>
                  <a:lnTo>
                    <a:pt x="2450" y="2783"/>
                  </a:lnTo>
                  <a:close/>
                  <a:moveTo>
                    <a:pt x="2412" y="2773"/>
                  </a:moveTo>
                  <a:lnTo>
                    <a:pt x="2424" y="2766"/>
                  </a:lnTo>
                  <a:lnTo>
                    <a:pt x="2424" y="2773"/>
                  </a:lnTo>
                  <a:lnTo>
                    <a:pt x="2412" y="2773"/>
                  </a:lnTo>
                  <a:lnTo>
                    <a:pt x="2412" y="2773"/>
                  </a:lnTo>
                  <a:lnTo>
                    <a:pt x="2412" y="2773"/>
                  </a:lnTo>
                  <a:close/>
                  <a:moveTo>
                    <a:pt x="2412" y="2806"/>
                  </a:moveTo>
                  <a:lnTo>
                    <a:pt x="2428" y="2790"/>
                  </a:lnTo>
                  <a:lnTo>
                    <a:pt x="2424" y="2790"/>
                  </a:lnTo>
                  <a:lnTo>
                    <a:pt x="2428" y="2783"/>
                  </a:lnTo>
                  <a:lnTo>
                    <a:pt x="2445" y="2783"/>
                  </a:lnTo>
                  <a:lnTo>
                    <a:pt x="2445" y="2790"/>
                  </a:lnTo>
                  <a:lnTo>
                    <a:pt x="2445" y="2799"/>
                  </a:lnTo>
                  <a:lnTo>
                    <a:pt x="2433" y="2790"/>
                  </a:lnTo>
                  <a:lnTo>
                    <a:pt x="2412" y="2806"/>
                  </a:lnTo>
                  <a:lnTo>
                    <a:pt x="2412" y="2806"/>
                  </a:lnTo>
                  <a:lnTo>
                    <a:pt x="2412" y="2806"/>
                  </a:lnTo>
                  <a:close/>
                  <a:moveTo>
                    <a:pt x="2483" y="2799"/>
                  </a:moveTo>
                  <a:lnTo>
                    <a:pt x="2476" y="2783"/>
                  </a:lnTo>
                  <a:lnTo>
                    <a:pt x="2488" y="2783"/>
                  </a:lnTo>
                  <a:lnTo>
                    <a:pt x="2488" y="2790"/>
                  </a:lnTo>
                  <a:lnTo>
                    <a:pt x="2483" y="2799"/>
                  </a:lnTo>
                  <a:lnTo>
                    <a:pt x="2483" y="2799"/>
                  </a:lnTo>
                  <a:lnTo>
                    <a:pt x="2483" y="2799"/>
                  </a:lnTo>
                  <a:close/>
                  <a:moveTo>
                    <a:pt x="2499" y="2799"/>
                  </a:moveTo>
                  <a:lnTo>
                    <a:pt x="2488" y="2790"/>
                  </a:lnTo>
                  <a:lnTo>
                    <a:pt x="2499" y="2783"/>
                  </a:lnTo>
                  <a:lnTo>
                    <a:pt x="2499" y="2799"/>
                  </a:lnTo>
                  <a:lnTo>
                    <a:pt x="2499" y="2799"/>
                  </a:lnTo>
                  <a:lnTo>
                    <a:pt x="2499" y="2799"/>
                  </a:lnTo>
                  <a:close/>
                  <a:moveTo>
                    <a:pt x="2391" y="2823"/>
                  </a:moveTo>
                  <a:lnTo>
                    <a:pt x="2395" y="2790"/>
                  </a:lnTo>
                  <a:lnTo>
                    <a:pt x="2412" y="2790"/>
                  </a:lnTo>
                  <a:lnTo>
                    <a:pt x="2407" y="2816"/>
                  </a:lnTo>
                  <a:lnTo>
                    <a:pt x="2391" y="2823"/>
                  </a:lnTo>
                  <a:lnTo>
                    <a:pt x="2391" y="2823"/>
                  </a:lnTo>
                  <a:lnTo>
                    <a:pt x="2391" y="2823"/>
                  </a:lnTo>
                  <a:close/>
                  <a:moveTo>
                    <a:pt x="2476" y="2806"/>
                  </a:moveTo>
                  <a:lnTo>
                    <a:pt x="2466" y="2799"/>
                  </a:lnTo>
                  <a:lnTo>
                    <a:pt x="2466" y="2790"/>
                  </a:lnTo>
                  <a:lnTo>
                    <a:pt x="2476" y="2790"/>
                  </a:lnTo>
                  <a:lnTo>
                    <a:pt x="2476" y="2806"/>
                  </a:lnTo>
                  <a:lnTo>
                    <a:pt x="2476" y="2806"/>
                  </a:lnTo>
                  <a:lnTo>
                    <a:pt x="2476" y="2806"/>
                  </a:lnTo>
                  <a:close/>
                  <a:moveTo>
                    <a:pt x="2483" y="2839"/>
                  </a:moveTo>
                  <a:lnTo>
                    <a:pt x="2466" y="2828"/>
                  </a:lnTo>
                  <a:lnTo>
                    <a:pt x="2476" y="2816"/>
                  </a:lnTo>
                  <a:lnTo>
                    <a:pt x="2488" y="2828"/>
                  </a:lnTo>
                  <a:lnTo>
                    <a:pt x="2483" y="2839"/>
                  </a:lnTo>
                  <a:lnTo>
                    <a:pt x="2483" y="2839"/>
                  </a:lnTo>
                  <a:lnTo>
                    <a:pt x="2483" y="2839"/>
                  </a:lnTo>
                  <a:close/>
                  <a:moveTo>
                    <a:pt x="2412" y="2872"/>
                  </a:moveTo>
                  <a:lnTo>
                    <a:pt x="2412" y="2856"/>
                  </a:lnTo>
                  <a:lnTo>
                    <a:pt x="2424" y="2839"/>
                  </a:lnTo>
                  <a:lnTo>
                    <a:pt x="2428" y="2839"/>
                  </a:lnTo>
                  <a:lnTo>
                    <a:pt x="2424" y="2823"/>
                  </a:lnTo>
                  <a:lnTo>
                    <a:pt x="2428" y="2823"/>
                  </a:lnTo>
                  <a:lnTo>
                    <a:pt x="2428" y="2839"/>
                  </a:lnTo>
                  <a:lnTo>
                    <a:pt x="2412" y="2872"/>
                  </a:lnTo>
                  <a:lnTo>
                    <a:pt x="2412" y="2872"/>
                  </a:lnTo>
                  <a:lnTo>
                    <a:pt x="2412" y="2872"/>
                  </a:lnTo>
                  <a:close/>
                  <a:moveTo>
                    <a:pt x="2499" y="2839"/>
                  </a:moveTo>
                  <a:lnTo>
                    <a:pt x="2488" y="2823"/>
                  </a:lnTo>
                  <a:lnTo>
                    <a:pt x="2499" y="2828"/>
                  </a:lnTo>
                  <a:lnTo>
                    <a:pt x="2499" y="2839"/>
                  </a:lnTo>
                  <a:lnTo>
                    <a:pt x="2499" y="2839"/>
                  </a:lnTo>
                  <a:lnTo>
                    <a:pt x="2499" y="2839"/>
                  </a:lnTo>
                  <a:close/>
                  <a:moveTo>
                    <a:pt x="2476" y="2856"/>
                  </a:moveTo>
                  <a:lnTo>
                    <a:pt x="2462" y="2844"/>
                  </a:lnTo>
                  <a:lnTo>
                    <a:pt x="2450" y="2828"/>
                  </a:lnTo>
                  <a:lnTo>
                    <a:pt x="2476" y="2844"/>
                  </a:lnTo>
                  <a:lnTo>
                    <a:pt x="2476" y="2856"/>
                  </a:lnTo>
                  <a:lnTo>
                    <a:pt x="2476" y="2856"/>
                  </a:lnTo>
                  <a:lnTo>
                    <a:pt x="2476" y="2856"/>
                  </a:lnTo>
                  <a:close/>
                  <a:moveTo>
                    <a:pt x="2407" y="2844"/>
                  </a:moveTo>
                  <a:lnTo>
                    <a:pt x="2412" y="2828"/>
                  </a:lnTo>
                  <a:lnTo>
                    <a:pt x="2407" y="2844"/>
                  </a:lnTo>
                  <a:lnTo>
                    <a:pt x="2407" y="2844"/>
                  </a:lnTo>
                  <a:lnTo>
                    <a:pt x="2407" y="2844"/>
                  </a:lnTo>
                  <a:close/>
                  <a:moveTo>
                    <a:pt x="2424" y="2872"/>
                  </a:moveTo>
                  <a:lnTo>
                    <a:pt x="2428" y="2839"/>
                  </a:lnTo>
                  <a:lnTo>
                    <a:pt x="2445" y="2839"/>
                  </a:lnTo>
                  <a:lnTo>
                    <a:pt x="2424" y="2872"/>
                  </a:lnTo>
                  <a:lnTo>
                    <a:pt x="2424" y="2872"/>
                  </a:lnTo>
                  <a:lnTo>
                    <a:pt x="2424" y="2872"/>
                  </a:lnTo>
                  <a:close/>
                  <a:moveTo>
                    <a:pt x="2504" y="2877"/>
                  </a:moveTo>
                  <a:lnTo>
                    <a:pt x="2476" y="2856"/>
                  </a:lnTo>
                  <a:lnTo>
                    <a:pt x="2476" y="2844"/>
                  </a:lnTo>
                  <a:lnTo>
                    <a:pt x="2499" y="2861"/>
                  </a:lnTo>
                  <a:lnTo>
                    <a:pt x="2504" y="2877"/>
                  </a:lnTo>
                  <a:lnTo>
                    <a:pt x="2504" y="2877"/>
                  </a:lnTo>
                  <a:lnTo>
                    <a:pt x="2504" y="2877"/>
                  </a:lnTo>
                  <a:close/>
                  <a:moveTo>
                    <a:pt x="2428" y="2877"/>
                  </a:moveTo>
                  <a:lnTo>
                    <a:pt x="2428" y="2872"/>
                  </a:lnTo>
                  <a:lnTo>
                    <a:pt x="2445" y="2861"/>
                  </a:lnTo>
                  <a:lnTo>
                    <a:pt x="2428" y="2877"/>
                  </a:lnTo>
                  <a:lnTo>
                    <a:pt x="2428" y="2877"/>
                  </a:lnTo>
                  <a:lnTo>
                    <a:pt x="2428" y="2877"/>
                  </a:lnTo>
                  <a:close/>
                  <a:moveTo>
                    <a:pt x="2476" y="2894"/>
                  </a:moveTo>
                  <a:lnTo>
                    <a:pt x="2466" y="2877"/>
                  </a:lnTo>
                  <a:lnTo>
                    <a:pt x="2476" y="2877"/>
                  </a:lnTo>
                  <a:lnTo>
                    <a:pt x="2450" y="2872"/>
                  </a:lnTo>
                  <a:lnTo>
                    <a:pt x="2466" y="2861"/>
                  </a:lnTo>
                  <a:lnTo>
                    <a:pt x="2488" y="2884"/>
                  </a:lnTo>
                  <a:lnTo>
                    <a:pt x="2476" y="2894"/>
                  </a:lnTo>
                  <a:lnTo>
                    <a:pt x="2476" y="2894"/>
                  </a:lnTo>
                  <a:lnTo>
                    <a:pt x="2476" y="2894"/>
                  </a:lnTo>
                  <a:close/>
                  <a:moveTo>
                    <a:pt x="2499" y="2894"/>
                  </a:moveTo>
                  <a:lnTo>
                    <a:pt x="2476" y="2872"/>
                  </a:lnTo>
                  <a:lnTo>
                    <a:pt x="2499" y="2884"/>
                  </a:lnTo>
                  <a:lnTo>
                    <a:pt x="2504" y="2894"/>
                  </a:lnTo>
                  <a:lnTo>
                    <a:pt x="2499" y="2894"/>
                  </a:lnTo>
                  <a:lnTo>
                    <a:pt x="2499" y="2894"/>
                  </a:lnTo>
                  <a:lnTo>
                    <a:pt x="2499" y="2894"/>
                  </a:lnTo>
                  <a:close/>
                  <a:moveTo>
                    <a:pt x="2428" y="2884"/>
                  </a:moveTo>
                  <a:lnTo>
                    <a:pt x="2428" y="2877"/>
                  </a:lnTo>
                  <a:lnTo>
                    <a:pt x="2445" y="2877"/>
                  </a:lnTo>
                  <a:lnTo>
                    <a:pt x="2428" y="2884"/>
                  </a:lnTo>
                  <a:lnTo>
                    <a:pt x="2428" y="2884"/>
                  </a:lnTo>
                  <a:lnTo>
                    <a:pt x="2428" y="2884"/>
                  </a:lnTo>
                  <a:close/>
                  <a:moveTo>
                    <a:pt x="2488" y="2927"/>
                  </a:moveTo>
                  <a:lnTo>
                    <a:pt x="2483" y="2910"/>
                  </a:lnTo>
                  <a:lnTo>
                    <a:pt x="2504" y="2894"/>
                  </a:lnTo>
                  <a:lnTo>
                    <a:pt x="2504" y="2901"/>
                  </a:lnTo>
                  <a:lnTo>
                    <a:pt x="2504" y="2917"/>
                  </a:lnTo>
                  <a:lnTo>
                    <a:pt x="2488" y="2927"/>
                  </a:lnTo>
                  <a:lnTo>
                    <a:pt x="2488" y="2927"/>
                  </a:lnTo>
                  <a:lnTo>
                    <a:pt x="2488" y="2927"/>
                  </a:lnTo>
                  <a:close/>
                  <a:moveTo>
                    <a:pt x="2861" y="2917"/>
                  </a:moveTo>
                  <a:lnTo>
                    <a:pt x="2861" y="3132"/>
                  </a:lnTo>
                  <a:lnTo>
                    <a:pt x="2861" y="3139"/>
                  </a:lnTo>
                  <a:lnTo>
                    <a:pt x="2844" y="3132"/>
                  </a:lnTo>
                  <a:lnTo>
                    <a:pt x="2854" y="3139"/>
                  </a:lnTo>
                  <a:lnTo>
                    <a:pt x="2828" y="3149"/>
                  </a:lnTo>
                  <a:lnTo>
                    <a:pt x="2790" y="3132"/>
                  </a:lnTo>
                  <a:lnTo>
                    <a:pt x="2790" y="3123"/>
                  </a:lnTo>
                  <a:lnTo>
                    <a:pt x="2785" y="3132"/>
                  </a:lnTo>
                  <a:lnTo>
                    <a:pt x="2747" y="3139"/>
                  </a:lnTo>
                  <a:lnTo>
                    <a:pt x="2747" y="3132"/>
                  </a:lnTo>
                  <a:lnTo>
                    <a:pt x="2747" y="3123"/>
                  </a:lnTo>
                  <a:lnTo>
                    <a:pt x="2736" y="3132"/>
                  </a:lnTo>
                  <a:lnTo>
                    <a:pt x="2714" y="3139"/>
                  </a:lnTo>
                  <a:lnTo>
                    <a:pt x="2702" y="3132"/>
                  </a:lnTo>
                  <a:lnTo>
                    <a:pt x="2731" y="3116"/>
                  </a:lnTo>
                  <a:lnTo>
                    <a:pt x="2693" y="3132"/>
                  </a:lnTo>
                  <a:lnTo>
                    <a:pt x="2698" y="3116"/>
                  </a:lnTo>
                  <a:lnTo>
                    <a:pt x="2676" y="3123"/>
                  </a:lnTo>
                  <a:lnTo>
                    <a:pt x="2665" y="3106"/>
                  </a:lnTo>
                  <a:lnTo>
                    <a:pt x="2660" y="3123"/>
                  </a:lnTo>
                  <a:lnTo>
                    <a:pt x="2643" y="3116"/>
                  </a:lnTo>
                  <a:lnTo>
                    <a:pt x="2627" y="3116"/>
                  </a:lnTo>
                  <a:lnTo>
                    <a:pt x="2622" y="3099"/>
                  </a:lnTo>
                  <a:lnTo>
                    <a:pt x="2627" y="3099"/>
                  </a:lnTo>
                  <a:lnTo>
                    <a:pt x="2643" y="3106"/>
                  </a:lnTo>
                  <a:lnTo>
                    <a:pt x="2651" y="3106"/>
                  </a:lnTo>
                  <a:lnTo>
                    <a:pt x="2639" y="3095"/>
                  </a:lnTo>
                  <a:lnTo>
                    <a:pt x="2643" y="3095"/>
                  </a:lnTo>
                  <a:lnTo>
                    <a:pt x="2651" y="3099"/>
                  </a:lnTo>
                  <a:lnTo>
                    <a:pt x="2660" y="3099"/>
                  </a:lnTo>
                  <a:lnTo>
                    <a:pt x="2651" y="3095"/>
                  </a:lnTo>
                  <a:lnTo>
                    <a:pt x="2665" y="3095"/>
                  </a:lnTo>
                  <a:lnTo>
                    <a:pt x="2698" y="3099"/>
                  </a:lnTo>
                  <a:lnTo>
                    <a:pt x="2698" y="3083"/>
                  </a:lnTo>
                  <a:lnTo>
                    <a:pt x="2702" y="3083"/>
                  </a:lnTo>
                  <a:lnTo>
                    <a:pt x="2719" y="3083"/>
                  </a:lnTo>
                  <a:lnTo>
                    <a:pt x="2714" y="3106"/>
                  </a:lnTo>
                  <a:lnTo>
                    <a:pt x="2719" y="3116"/>
                  </a:lnTo>
                  <a:lnTo>
                    <a:pt x="2714" y="3106"/>
                  </a:lnTo>
                  <a:lnTo>
                    <a:pt x="2719" y="3095"/>
                  </a:lnTo>
                  <a:lnTo>
                    <a:pt x="2747" y="3106"/>
                  </a:lnTo>
                  <a:lnTo>
                    <a:pt x="2752" y="3106"/>
                  </a:lnTo>
                  <a:lnTo>
                    <a:pt x="2736" y="3095"/>
                  </a:lnTo>
                  <a:lnTo>
                    <a:pt x="2719" y="3083"/>
                  </a:lnTo>
                  <a:lnTo>
                    <a:pt x="2702" y="3078"/>
                  </a:lnTo>
                  <a:lnTo>
                    <a:pt x="2702" y="3066"/>
                  </a:lnTo>
                  <a:lnTo>
                    <a:pt x="2752" y="3095"/>
                  </a:lnTo>
                  <a:lnTo>
                    <a:pt x="2757" y="3095"/>
                  </a:lnTo>
                  <a:lnTo>
                    <a:pt x="2752" y="3083"/>
                  </a:lnTo>
                  <a:lnTo>
                    <a:pt x="2757" y="3078"/>
                  </a:lnTo>
                  <a:lnTo>
                    <a:pt x="2785" y="3106"/>
                  </a:lnTo>
                  <a:lnTo>
                    <a:pt x="2773" y="3083"/>
                  </a:lnTo>
                  <a:lnTo>
                    <a:pt x="2823" y="3099"/>
                  </a:lnTo>
                  <a:lnTo>
                    <a:pt x="2806" y="3116"/>
                  </a:lnTo>
                  <a:lnTo>
                    <a:pt x="2806" y="3123"/>
                  </a:lnTo>
                  <a:lnTo>
                    <a:pt x="2811" y="3106"/>
                  </a:lnTo>
                  <a:lnTo>
                    <a:pt x="2823" y="3106"/>
                  </a:lnTo>
                  <a:lnTo>
                    <a:pt x="2823" y="3099"/>
                  </a:lnTo>
                  <a:lnTo>
                    <a:pt x="2839" y="3095"/>
                  </a:lnTo>
                  <a:lnTo>
                    <a:pt x="2757" y="3061"/>
                  </a:lnTo>
                  <a:lnTo>
                    <a:pt x="2752" y="3038"/>
                  </a:lnTo>
                  <a:lnTo>
                    <a:pt x="2769" y="3021"/>
                  </a:lnTo>
                  <a:lnTo>
                    <a:pt x="2811" y="3005"/>
                  </a:lnTo>
                  <a:lnTo>
                    <a:pt x="2806" y="2988"/>
                  </a:lnTo>
                  <a:lnTo>
                    <a:pt x="2773" y="2988"/>
                  </a:lnTo>
                  <a:lnTo>
                    <a:pt x="2752" y="2995"/>
                  </a:lnTo>
                  <a:lnTo>
                    <a:pt x="2736" y="2988"/>
                  </a:lnTo>
                  <a:lnTo>
                    <a:pt x="2736" y="2955"/>
                  </a:lnTo>
                  <a:lnTo>
                    <a:pt x="2736" y="2950"/>
                  </a:lnTo>
                  <a:lnTo>
                    <a:pt x="2747" y="2955"/>
                  </a:lnTo>
                  <a:lnTo>
                    <a:pt x="2752" y="2955"/>
                  </a:lnTo>
                  <a:lnTo>
                    <a:pt x="2757" y="2939"/>
                  </a:lnTo>
                  <a:lnTo>
                    <a:pt x="2736" y="2934"/>
                  </a:lnTo>
                  <a:lnTo>
                    <a:pt x="2752" y="2927"/>
                  </a:lnTo>
                  <a:lnTo>
                    <a:pt x="2769" y="2934"/>
                  </a:lnTo>
                  <a:lnTo>
                    <a:pt x="2785" y="2934"/>
                  </a:lnTo>
                  <a:lnTo>
                    <a:pt x="2790" y="2910"/>
                  </a:lnTo>
                  <a:lnTo>
                    <a:pt x="2806" y="2901"/>
                  </a:lnTo>
                  <a:lnTo>
                    <a:pt x="2823" y="2927"/>
                  </a:lnTo>
                  <a:lnTo>
                    <a:pt x="2844" y="2910"/>
                  </a:lnTo>
                  <a:lnTo>
                    <a:pt x="2861" y="2917"/>
                  </a:lnTo>
                  <a:lnTo>
                    <a:pt x="2861" y="2917"/>
                  </a:lnTo>
                  <a:lnTo>
                    <a:pt x="2861" y="2917"/>
                  </a:lnTo>
                  <a:close/>
                  <a:moveTo>
                    <a:pt x="2530" y="2983"/>
                  </a:moveTo>
                  <a:lnTo>
                    <a:pt x="2551" y="2988"/>
                  </a:lnTo>
                  <a:lnTo>
                    <a:pt x="2521" y="2988"/>
                  </a:lnTo>
                  <a:lnTo>
                    <a:pt x="2488" y="2955"/>
                  </a:lnTo>
                  <a:lnTo>
                    <a:pt x="2462" y="2967"/>
                  </a:lnTo>
                  <a:lnTo>
                    <a:pt x="2433" y="2934"/>
                  </a:lnTo>
                  <a:lnTo>
                    <a:pt x="2433" y="2927"/>
                  </a:lnTo>
                  <a:lnTo>
                    <a:pt x="2462" y="2950"/>
                  </a:lnTo>
                  <a:lnTo>
                    <a:pt x="2513" y="2955"/>
                  </a:lnTo>
                  <a:lnTo>
                    <a:pt x="2521" y="2983"/>
                  </a:lnTo>
                  <a:lnTo>
                    <a:pt x="2521" y="2967"/>
                  </a:lnTo>
                  <a:lnTo>
                    <a:pt x="2537" y="2983"/>
                  </a:lnTo>
                  <a:lnTo>
                    <a:pt x="2530" y="2983"/>
                  </a:lnTo>
                  <a:lnTo>
                    <a:pt x="2530" y="2983"/>
                  </a:lnTo>
                  <a:lnTo>
                    <a:pt x="2530" y="2983"/>
                  </a:lnTo>
                  <a:close/>
                  <a:moveTo>
                    <a:pt x="2530" y="2950"/>
                  </a:moveTo>
                  <a:lnTo>
                    <a:pt x="2504" y="2939"/>
                  </a:lnTo>
                  <a:lnTo>
                    <a:pt x="2521" y="2939"/>
                  </a:lnTo>
                  <a:lnTo>
                    <a:pt x="2530" y="2950"/>
                  </a:lnTo>
                  <a:lnTo>
                    <a:pt x="2530" y="2950"/>
                  </a:lnTo>
                  <a:lnTo>
                    <a:pt x="2530" y="2950"/>
                  </a:lnTo>
                  <a:close/>
                  <a:moveTo>
                    <a:pt x="2521" y="2995"/>
                  </a:moveTo>
                  <a:lnTo>
                    <a:pt x="2530" y="3005"/>
                  </a:lnTo>
                  <a:lnTo>
                    <a:pt x="2521" y="3012"/>
                  </a:lnTo>
                  <a:lnTo>
                    <a:pt x="2499" y="2995"/>
                  </a:lnTo>
                  <a:lnTo>
                    <a:pt x="2513" y="2995"/>
                  </a:lnTo>
                  <a:lnTo>
                    <a:pt x="2521" y="2995"/>
                  </a:lnTo>
                  <a:lnTo>
                    <a:pt x="2513" y="2988"/>
                  </a:lnTo>
                  <a:lnTo>
                    <a:pt x="2521" y="2995"/>
                  </a:lnTo>
                  <a:lnTo>
                    <a:pt x="2521" y="2995"/>
                  </a:lnTo>
                  <a:lnTo>
                    <a:pt x="2521" y="2995"/>
                  </a:lnTo>
                  <a:close/>
                  <a:moveTo>
                    <a:pt x="2537" y="3038"/>
                  </a:moveTo>
                  <a:lnTo>
                    <a:pt x="2537" y="3021"/>
                  </a:lnTo>
                  <a:lnTo>
                    <a:pt x="2513" y="3028"/>
                  </a:lnTo>
                  <a:lnTo>
                    <a:pt x="2521" y="3021"/>
                  </a:lnTo>
                  <a:lnTo>
                    <a:pt x="2513" y="3012"/>
                  </a:lnTo>
                  <a:lnTo>
                    <a:pt x="2521" y="3012"/>
                  </a:lnTo>
                  <a:lnTo>
                    <a:pt x="2537" y="3021"/>
                  </a:lnTo>
                  <a:lnTo>
                    <a:pt x="2558" y="3021"/>
                  </a:lnTo>
                  <a:lnTo>
                    <a:pt x="2537" y="3012"/>
                  </a:lnTo>
                  <a:lnTo>
                    <a:pt x="2521" y="2995"/>
                  </a:lnTo>
                  <a:lnTo>
                    <a:pt x="2542" y="3005"/>
                  </a:lnTo>
                  <a:lnTo>
                    <a:pt x="2542" y="2995"/>
                  </a:lnTo>
                  <a:lnTo>
                    <a:pt x="2551" y="2995"/>
                  </a:lnTo>
                  <a:lnTo>
                    <a:pt x="2558" y="2995"/>
                  </a:lnTo>
                  <a:lnTo>
                    <a:pt x="2558" y="3021"/>
                  </a:lnTo>
                  <a:lnTo>
                    <a:pt x="2568" y="2995"/>
                  </a:lnTo>
                  <a:lnTo>
                    <a:pt x="2575" y="3012"/>
                  </a:lnTo>
                  <a:lnTo>
                    <a:pt x="2589" y="3012"/>
                  </a:lnTo>
                  <a:lnTo>
                    <a:pt x="2589" y="3028"/>
                  </a:lnTo>
                  <a:lnTo>
                    <a:pt x="2596" y="3021"/>
                  </a:lnTo>
                  <a:lnTo>
                    <a:pt x="2613" y="3038"/>
                  </a:lnTo>
                  <a:lnTo>
                    <a:pt x="2596" y="3045"/>
                  </a:lnTo>
                  <a:lnTo>
                    <a:pt x="2596" y="3061"/>
                  </a:lnTo>
                  <a:lnTo>
                    <a:pt x="2568" y="3066"/>
                  </a:lnTo>
                  <a:lnTo>
                    <a:pt x="2551" y="3061"/>
                  </a:lnTo>
                  <a:lnTo>
                    <a:pt x="2568" y="3050"/>
                  </a:lnTo>
                  <a:lnTo>
                    <a:pt x="2575" y="3038"/>
                  </a:lnTo>
                  <a:lnTo>
                    <a:pt x="2551" y="3038"/>
                  </a:lnTo>
                  <a:lnTo>
                    <a:pt x="2542" y="3050"/>
                  </a:lnTo>
                  <a:lnTo>
                    <a:pt x="2537" y="3038"/>
                  </a:lnTo>
                  <a:lnTo>
                    <a:pt x="2537" y="3038"/>
                  </a:lnTo>
                  <a:lnTo>
                    <a:pt x="2537" y="3038"/>
                  </a:lnTo>
                  <a:close/>
                  <a:moveTo>
                    <a:pt x="2499" y="3012"/>
                  </a:moveTo>
                  <a:lnTo>
                    <a:pt x="2499" y="2995"/>
                  </a:lnTo>
                  <a:lnTo>
                    <a:pt x="2504" y="3005"/>
                  </a:lnTo>
                  <a:lnTo>
                    <a:pt x="2499" y="3012"/>
                  </a:lnTo>
                  <a:lnTo>
                    <a:pt x="2499" y="3012"/>
                  </a:lnTo>
                  <a:lnTo>
                    <a:pt x="2499" y="3012"/>
                  </a:lnTo>
                  <a:close/>
                  <a:moveTo>
                    <a:pt x="2731" y="3078"/>
                  </a:moveTo>
                  <a:lnTo>
                    <a:pt x="2702" y="3061"/>
                  </a:lnTo>
                  <a:lnTo>
                    <a:pt x="2698" y="3038"/>
                  </a:lnTo>
                  <a:lnTo>
                    <a:pt x="2719" y="3038"/>
                  </a:lnTo>
                  <a:lnTo>
                    <a:pt x="2714" y="3021"/>
                  </a:lnTo>
                  <a:lnTo>
                    <a:pt x="2731" y="3012"/>
                  </a:lnTo>
                  <a:lnTo>
                    <a:pt x="2736" y="3050"/>
                  </a:lnTo>
                  <a:lnTo>
                    <a:pt x="2731" y="3050"/>
                  </a:lnTo>
                  <a:lnTo>
                    <a:pt x="2719" y="3045"/>
                  </a:lnTo>
                  <a:lnTo>
                    <a:pt x="2731" y="3078"/>
                  </a:lnTo>
                  <a:lnTo>
                    <a:pt x="2731" y="3078"/>
                  </a:lnTo>
                  <a:lnTo>
                    <a:pt x="2731" y="3078"/>
                  </a:lnTo>
                  <a:close/>
                  <a:moveTo>
                    <a:pt x="2643" y="3045"/>
                  </a:moveTo>
                  <a:lnTo>
                    <a:pt x="2651" y="3061"/>
                  </a:lnTo>
                  <a:lnTo>
                    <a:pt x="2643" y="3066"/>
                  </a:lnTo>
                  <a:lnTo>
                    <a:pt x="2627" y="3050"/>
                  </a:lnTo>
                  <a:lnTo>
                    <a:pt x="2643" y="3078"/>
                  </a:lnTo>
                  <a:lnTo>
                    <a:pt x="2639" y="3083"/>
                  </a:lnTo>
                  <a:lnTo>
                    <a:pt x="2613" y="3061"/>
                  </a:lnTo>
                  <a:lnTo>
                    <a:pt x="2606" y="3045"/>
                  </a:lnTo>
                  <a:lnTo>
                    <a:pt x="2622" y="3050"/>
                  </a:lnTo>
                  <a:lnTo>
                    <a:pt x="2627" y="3038"/>
                  </a:lnTo>
                  <a:lnTo>
                    <a:pt x="2643" y="3045"/>
                  </a:lnTo>
                  <a:lnTo>
                    <a:pt x="2643" y="3045"/>
                  </a:lnTo>
                  <a:lnTo>
                    <a:pt x="2643" y="3045"/>
                  </a:lnTo>
                  <a:close/>
                  <a:moveTo>
                    <a:pt x="2676" y="3050"/>
                  </a:moveTo>
                  <a:lnTo>
                    <a:pt x="2693" y="3061"/>
                  </a:lnTo>
                  <a:lnTo>
                    <a:pt x="2698" y="3078"/>
                  </a:lnTo>
                  <a:lnTo>
                    <a:pt x="2681" y="3095"/>
                  </a:lnTo>
                  <a:lnTo>
                    <a:pt x="2665" y="3083"/>
                  </a:lnTo>
                  <a:lnTo>
                    <a:pt x="2660" y="3066"/>
                  </a:lnTo>
                  <a:lnTo>
                    <a:pt x="2665" y="3061"/>
                  </a:lnTo>
                  <a:lnTo>
                    <a:pt x="2660" y="3078"/>
                  </a:lnTo>
                  <a:lnTo>
                    <a:pt x="2643" y="3066"/>
                  </a:lnTo>
                  <a:lnTo>
                    <a:pt x="2651" y="3045"/>
                  </a:lnTo>
                  <a:lnTo>
                    <a:pt x="2676" y="3050"/>
                  </a:lnTo>
                  <a:lnTo>
                    <a:pt x="2676" y="3050"/>
                  </a:lnTo>
                  <a:lnTo>
                    <a:pt x="2676" y="3050"/>
                  </a:lnTo>
                  <a:close/>
                  <a:moveTo>
                    <a:pt x="2537" y="3066"/>
                  </a:moveTo>
                  <a:lnTo>
                    <a:pt x="2521" y="3061"/>
                  </a:lnTo>
                  <a:lnTo>
                    <a:pt x="2542" y="3061"/>
                  </a:lnTo>
                  <a:lnTo>
                    <a:pt x="2537" y="3066"/>
                  </a:lnTo>
                  <a:lnTo>
                    <a:pt x="2537" y="3066"/>
                  </a:lnTo>
                  <a:lnTo>
                    <a:pt x="2537" y="3066"/>
                  </a:lnTo>
                  <a:close/>
                  <a:moveTo>
                    <a:pt x="2606" y="3061"/>
                  </a:moveTo>
                  <a:lnTo>
                    <a:pt x="2613" y="3066"/>
                  </a:lnTo>
                  <a:lnTo>
                    <a:pt x="2606" y="3078"/>
                  </a:lnTo>
                  <a:lnTo>
                    <a:pt x="2589" y="3078"/>
                  </a:lnTo>
                  <a:lnTo>
                    <a:pt x="2606" y="3061"/>
                  </a:lnTo>
                  <a:lnTo>
                    <a:pt x="2606" y="3061"/>
                  </a:lnTo>
                  <a:lnTo>
                    <a:pt x="2606" y="3061"/>
                  </a:lnTo>
                  <a:close/>
                  <a:moveTo>
                    <a:pt x="2747" y="3078"/>
                  </a:moveTo>
                  <a:lnTo>
                    <a:pt x="2731" y="3066"/>
                  </a:lnTo>
                  <a:lnTo>
                    <a:pt x="2752" y="3078"/>
                  </a:lnTo>
                  <a:lnTo>
                    <a:pt x="2747" y="3078"/>
                  </a:lnTo>
                  <a:lnTo>
                    <a:pt x="2747" y="3078"/>
                  </a:lnTo>
                  <a:lnTo>
                    <a:pt x="2747" y="3078"/>
                  </a:lnTo>
                  <a:close/>
                  <a:moveTo>
                    <a:pt x="2589" y="3095"/>
                  </a:moveTo>
                  <a:lnTo>
                    <a:pt x="2589" y="3083"/>
                  </a:lnTo>
                  <a:lnTo>
                    <a:pt x="2606" y="3083"/>
                  </a:lnTo>
                  <a:lnTo>
                    <a:pt x="2589" y="3095"/>
                  </a:lnTo>
                  <a:lnTo>
                    <a:pt x="2589" y="3095"/>
                  </a:lnTo>
                  <a:lnTo>
                    <a:pt x="2589" y="3095"/>
                  </a:lnTo>
                  <a:close/>
                  <a:moveTo>
                    <a:pt x="2627" y="3132"/>
                  </a:moveTo>
                  <a:lnTo>
                    <a:pt x="2622" y="3116"/>
                  </a:lnTo>
                  <a:lnTo>
                    <a:pt x="2627" y="3123"/>
                  </a:lnTo>
                  <a:lnTo>
                    <a:pt x="2627" y="3132"/>
                  </a:lnTo>
                  <a:lnTo>
                    <a:pt x="2627" y="3132"/>
                  </a:lnTo>
                  <a:lnTo>
                    <a:pt x="2627" y="3132"/>
                  </a:lnTo>
                  <a:close/>
                  <a:moveTo>
                    <a:pt x="2693" y="3149"/>
                  </a:moveTo>
                  <a:lnTo>
                    <a:pt x="2660" y="3139"/>
                  </a:lnTo>
                  <a:lnTo>
                    <a:pt x="2665" y="3132"/>
                  </a:lnTo>
                  <a:lnTo>
                    <a:pt x="2698" y="3149"/>
                  </a:lnTo>
                  <a:lnTo>
                    <a:pt x="2693" y="3149"/>
                  </a:lnTo>
                  <a:lnTo>
                    <a:pt x="2693" y="3149"/>
                  </a:lnTo>
                  <a:lnTo>
                    <a:pt x="2693" y="3149"/>
                  </a:lnTo>
                  <a:close/>
                  <a:moveTo>
                    <a:pt x="2731" y="3139"/>
                  </a:moveTo>
                  <a:lnTo>
                    <a:pt x="2736" y="3139"/>
                  </a:lnTo>
                  <a:lnTo>
                    <a:pt x="2714" y="3139"/>
                  </a:lnTo>
                  <a:lnTo>
                    <a:pt x="2731" y="3139"/>
                  </a:lnTo>
                  <a:lnTo>
                    <a:pt x="2731" y="3139"/>
                  </a:lnTo>
                  <a:lnTo>
                    <a:pt x="2731" y="3139"/>
                  </a:lnTo>
                  <a:close/>
                  <a:moveTo>
                    <a:pt x="2769" y="3156"/>
                  </a:moveTo>
                  <a:lnTo>
                    <a:pt x="2769" y="3149"/>
                  </a:lnTo>
                  <a:lnTo>
                    <a:pt x="2773" y="3139"/>
                  </a:lnTo>
                  <a:lnTo>
                    <a:pt x="2823" y="3149"/>
                  </a:lnTo>
                  <a:lnTo>
                    <a:pt x="2769" y="3156"/>
                  </a:lnTo>
                  <a:lnTo>
                    <a:pt x="2769" y="3156"/>
                  </a:lnTo>
                  <a:lnTo>
                    <a:pt x="2769" y="3156"/>
                  </a:lnTo>
                  <a:close/>
                  <a:moveTo>
                    <a:pt x="2736" y="3139"/>
                  </a:moveTo>
                  <a:lnTo>
                    <a:pt x="2714" y="3156"/>
                  </a:lnTo>
                  <a:lnTo>
                    <a:pt x="2747" y="3156"/>
                  </a:lnTo>
                  <a:lnTo>
                    <a:pt x="2747" y="3161"/>
                  </a:lnTo>
                  <a:lnTo>
                    <a:pt x="2736" y="3161"/>
                  </a:lnTo>
                  <a:lnTo>
                    <a:pt x="2736" y="3172"/>
                  </a:lnTo>
                  <a:lnTo>
                    <a:pt x="2731" y="3172"/>
                  </a:lnTo>
                  <a:lnTo>
                    <a:pt x="2719" y="3161"/>
                  </a:lnTo>
                  <a:lnTo>
                    <a:pt x="2714" y="3161"/>
                  </a:lnTo>
                  <a:lnTo>
                    <a:pt x="2693" y="3156"/>
                  </a:lnTo>
                  <a:lnTo>
                    <a:pt x="2698" y="3149"/>
                  </a:lnTo>
                  <a:lnTo>
                    <a:pt x="2719" y="3149"/>
                  </a:lnTo>
                  <a:lnTo>
                    <a:pt x="2736" y="3139"/>
                  </a:lnTo>
                  <a:lnTo>
                    <a:pt x="2736" y="3139"/>
                  </a:lnTo>
                  <a:lnTo>
                    <a:pt x="2736" y="3139"/>
                  </a:lnTo>
                  <a:close/>
                  <a:moveTo>
                    <a:pt x="2899" y="3139"/>
                  </a:moveTo>
                  <a:lnTo>
                    <a:pt x="2953" y="3149"/>
                  </a:lnTo>
                  <a:lnTo>
                    <a:pt x="2967" y="3161"/>
                  </a:lnTo>
                  <a:lnTo>
                    <a:pt x="2962" y="3177"/>
                  </a:lnTo>
                  <a:lnTo>
                    <a:pt x="2946" y="3177"/>
                  </a:lnTo>
                  <a:lnTo>
                    <a:pt x="2946" y="3172"/>
                  </a:lnTo>
                  <a:lnTo>
                    <a:pt x="2936" y="3172"/>
                  </a:lnTo>
                  <a:lnTo>
                    <a:pt x="2929" y="3177"/>
                  </a:lnTo>
                  <a:lnTo>
                    <a:pt x="2915" y="3177"/>
                  </a:lnTo>
                  <a:lnTo>
                    <a:pt x="2915" y="3172"/>
                  </a:lnTo>
                  <a:lnTo>
                    <a:pt x="2899" y="3177"/>
                  </a:lnTo>
                  <a:lnTo>
                    <a:pt x="2891" y="3149"/>
                  </a:lnTo>
                  <a:lnTo>
                    <a:pt x="2877" y="3149"/>
                  </a:lnTo>
                  <a:lnTo>
                    <a:pt x="2899" y="3139"/>
                  </a:lnTo>
                  <a:lnTo>
                    <a:pt x="2899" y="3139"/>
                  </a:lnTo>
                  <a:lnTo>
                    <a:pt x="2899" y="3139"/>
                  </a:lnTo>
                  <a:close/>
                  <a:moveTo>
                    <a:pt x="2802" y="3189"/>
                  </a:moveTo>
                  <a:lnTo>
                    <a:pt x="2785" y="3177"/>
                  </a:lnTo>
                  <a:lnTo>
                    <a:pt x="2802" y="3172"/>
                  </a:lnTo>
                  <a:lnTo>
                    <a:pt x="2773" y="3177"/>
                  </a:lnTo>
                  <a:lnTo>
                    <a:pt x="2757" y="3161"/>
                  </a:lnTo>
                  <a:lnTo>
                    <a:pt x="2773" y="3156"/>
                  </a:lnTo>
                  <a:lnTo>
                    <a:pt x="2865" y="3149"/>
                  </a:lnTo>
                  <a:lnTo>
                    <a:pt x="2882" y="3156"/>
                  </a:lnTo>
                  <a:lnTo>
                    <a:pt x="2861" y="3172"/>
                  </a:lnTo>
                  <a:lnTo>
                    <a:pt x="2828" y="3156"/>
                  </a:lnTo>
                  <a:lnTo>
                    <a:pt x="2854" y="3172"/>
                  </a:lnTo>
                  <a:lnTo>
                    <a:pt x="2882" y="3172"/>
                  </a:lnTo>
                  <a:lnTo>
                    <a:pt x="2891" y="3177"/>
                  </a:lnTo>
                  <a:lnTo>
                    <a:pt x="2854" y="3177"/>
                  </a:lnTo>
                  <a:lnTo>
                    <a:pt x="2891" y="3194"/>
                  </a:lnTo>
                  <a:lnTo>
                    <a:pt x="2908" y="3210"/>
                  </a:lnTo>
                  <a:lnTo>
                    <a:pt x="2899" y="3227"/>
                  </a:lnTo>
                  <a:lnTo>
                    <a:pt x="2877" y="3206"/>
                  </a:lnTo>
                  <a:lnTo>
                    <a:pt x="2844" y="3206"/>
                  </a:lnTo>
                  <a:lnTo>
                    <a:pt x="2839" y="3194"/>
                  </a:lnTo>
                  <a:lnTo>
                    <a:pt x="2854" y="3189"/>
                  </a:lnTo>
                  <a:lnTo>
                    <a:pt x="2844" y="3189"/>
                  </a:lnTo>
                  <a:lnTo>
                    <a:pt x="2844" y="3172"/>
                  </a:lnTo>
                  <a:lnTo>
                    <a:pt x="2828" y="3177"/>
                  </a:lnTo>
                  <a:lnTo>
                    <a:pt x="2823" y="3161"/>
                  </a:lnTo>
                  <a:lnTo>
                    <a:pt x="2806" y="3172"/>
                  </a:lnTo>
                  <a:lnTo>
                    <a:pt x="2811" y="3172"/>
                  </a:lnTo>
                  <a:lnTo>
                    <a:pt x="2806" y="3177"/>
                  </a:lnTo>
                  <a:lnTo>
                    <a:pt x="2811" y="3194"/>
                  </a:lnTo>
                  <a:lnTo>
                    <a:pt x="2823" y="3194"/>
                  </a:lnTo>
                  <a:lnTo>
                    <a:pt x="2823" y="3206"/>
                  </a:lnTo>
                  <a:lnTo>
                    <a:pt x="2806" y="3206"/>
                  </a:lnTo>
                  <a:lnTo>
                    <a:pt x="2802" y="3194"/>
                  </a:lnTo>
                  <a:lnTo>
                    <a:pt x="2806" y="3189"/>
                  </a:lnTo>
                  <a:lnTo>
                    <a:pt x="2802" y="3189"/>
                  </a:lnTo>
                  <a:lnTo>
                    <a:pt x="2802" y="3189"/>
                  </a:lnTo>
                  <a:lnTo>
                    <a:pt x="2802" y="3189"/>
                  </a:lnTo>
                  <a:close/>
                  <a:moveTo>
                    <a:pt x="2979" y="3156"/>
                  </a:moveTo>
                  <a:lnTo>
                    <a:pt x="2988" y="3161"/>
                  </a:lnTo>
                  <a:lnTo>
                    <a:pt x="2967" y="3156"/>
                  </a:lnTo>
                  <a:lnTo>
                    <a:pt x="2979" y="3156"/>
                  </a:lnTo>
                  <a:lnTo>
                    <a:pt x="2979" y="3156"/>
                  </a:lnTo>
                  <a:lnTo>
                    <a:pt x="2979" y="3156"/>
                  </a:lnTo>
                  <a:close/>
                  <a:moveTo>
                    <a:pt x="3005" y="3177"/>
                  </a:moveTo>
                  <a:lnTo>
                    <a:pt x="3000" y="3172"/>
                  </a:lnTo>
                  <a:lnTo>
                    <a:pt x="3017" y="3172"/>
                  </a:lnTo>
                  <a:lnTo>
                    <a:pt x="3005" y="3177"/>
                  </a:lnTo>
                  <a:lnTo>
                    <a:pt x="3005" y="3177"/>
                  </a:lnTo>
                  <a:lnTo>
                    <a:pt x="3005" y="3177"/>
                  </a:lnTo>
                  <a:close/>
                  <a:moveTo>
                    <a:pt x="2984" y="3177"/>
                  </a:moveTo>
                  <a:lnTo>
                    <a:pt x="2984" y="3189"/>
                  </a:lnTo>
                  <a:lnTo>
                    <a:pt x="2967" y="3189"/>
                  </a:lnTo>
                  <a:lnTo>
                    <a:pt x="2979" y="3177"/>
                  </a:lnTo>
                  <a:lnTo>
                    <a:pt x="2984" y="3177"/>
                  </a:lnTo>
                  <a:lnTo>
                    <a:pt x="2984" y="3177"/>
                  </a:lnTo>
                  <a:lnTo>
                    <a:pt x="2984" y="3177"/>
                  </a:lnTo>
                  <a:close/>
                  <a:moveTo>
                    <a:pt x="2769" y="3189"/>
                  </a:moveTo>
                  <a:lnTo>
                    <a:pt x="2757" y="3177"/>
                  </a:lnTo>
                  <a:lnTo>
                    <a:pt x="2769" y="3177"/>
                  </a:lnTo>
                  <a:lnTo>
                    <a:pt x="2769" y="3189"/>
                  </a:lnTo>
                  <a:lnTo>
                    <a:pt x="2769" y="3189"/>
                  </a:lnTo>
                  <a:lnTo>
                    <a:pt x="2769" y="3189"/>
                  </a:lnTo>
                  <a:close/>
                  <a:moveTo>
                    <a:pt x="2785" y="3194"/>
                  </a:moveTo>
                  <a:lnTo>
                    <a:pt x="2785" y="3189"/>
                  </a:lnTo>
                  <a:lnTo>
                    <a:pt x="2790" y="3189"/>
                  </a:lnTo>
                  <a:lnTo>
                    <a:pt x="2785" y="3194"/>
                  </a:lnTo>
                  <a:lnTo>
                    <a:pt x="2785" y="3194"/>
                  </a:lnTo>
                  <a:lnTo>
                    <a:pt x="2785" y="3194"/>
                  </a:lnTo>
                  <a:close/>
                  <a:moveTo>
                    <a:pt x="2925" y="3210"/>
                  </a:moveTo>
                  <a:lnTo>
                    <a:pt x="2929" y="3206"/>
                  </a:lnTo>
                  <a:lnTo>
                    <a:pt x="2936" y="3206"/>
                  </a:lnTo>
                  <a:lnTo>
                    <a:pt x="2925" y="3210"/>
                  </a:lnTo>
                  <a:lnTo>
                    <a:pt x="2925" y="3210"/>
                  </a:lnTo>
                  <a:lnTo>
                    <a:pt x="2925" y="3210"/>
                  </a:lnTo>
                  <a:close/>
                  <a:moveTo>
                    <a:pt x="2953" y="3234"/>
                  </a:moveTo>
                  <a:lnTo>
                    <a:pt x="2936" y="3227"/>
                  </a:lnTo>
                  <a:lnTo>
                    <a:pt x="2936" y="3217"/>
                  </a:lnTo>
                  <a:lnTo>
                    <a:pt x="2953" y="3210"/>
                  </a:lnTo>
                  <a:lnTo>
                    <a:pt x="2962" y="3227"/>
                  </a:lnTo>
                  <a:lnTo>
                    <a:pt x="2953" y="3234"/>
                  </a:lnTo>
                  <a:lnTo>
                    <a:pt x="2953" y="3234"/>
                  </a:lnTo>
                  <a:lnTo>
                    <a:pt x="2953" y="3234"/>
                  </a:lnTo>
                  <a:close/>
                  <a:moveTo>
                    <a:pt x="2967" y="3243"/>
                  </a:moveTo>
                  <a:lnTo>
                    <a:pt x="2962" y="3243"/>
                  </a:lnTo>
                  <a:lnTo>
                    <a:pt x="2967" y="3234"/>
                  </a:lnTo>
                  <a:lnTo>
                    <a:pt x="2967" y="3243"/>
                  </a:lnTo>
                  <a:lnTo>
                    <a:pt x="2967" y="3243"/>
                  </a:lnTo>
                  <a:lnTo>
                    <a:pt x="2967" y="3243"/>
                  </a:lnTo>
                  <a:close/>
                  <a:moveTo>
                    <a:pt x="2929" y="3243"/>
                  </a:moveTo>
                  <a:lnTo>
                    <a:pt x="2915" y="3234"/>
                  </a:lnTo>
                  <a:lnTo>
                    <a:pt x="2936" y="3234"/>
                  </a:lnTo>
                  <a:lnTo>
                    <a:pt x="2929" y="3243"/>
                  </a:lnTo>
                  <a:lnTo>
                    <a:pt x="2929" y="3243"/>
                  </a:lnTo>
                  <a:lnTo>
                    <a:pt x="2929" y="3243"/>
                  </a:lnTo>
                  <a:close/>
                  <a:moveTo>
                    <a:pt x="2962" y="3243"/>
                  </a:moveTo>
                  <a:lnTo>
                    <a:pt x="2946" y="3234"/>
                  </a:lnTo>
                  <a:lnTo>
                    <a:pt x="2962" y="3234"/>
                  </a:lnTo>
                  <a:lnTo>
                    <a:pt x="2962" y="3243"/>
                  </a:lnTo>
                  <a:lnTo>
                    <a:pt x="2962" y="3243"/>
                  </a:lnTo>
                  <a:lnTo>
                    <a:pt x="2962" y="324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3" name="Freeform 418">
              <a:extLst>
                <a:ext uri="{FF2B5EF4-FFF2-40B4-BE49-F238E27FC236}">
                  <a16:creationId xmlns:a16="http://schemas.microsoft.com/office/drawing/2014/main" id="{BB799F93-A053-4B2A-9731-3EBA633A5408}"/>
                </a:ext>
              </a:extLst>
            </p:cNvPr>
            <p:cNvSpPr>
              <a:spLocks noEditPoints="1"/>
            </p:cNvSpPr>
            <p:nvPr/>
          </p:nvSpPr>
          <p:spPr bwMode="gray">
            <a:xfrm>
              <a:off x="4441054" y="3696164"/>
              <a:ext cx="352801" cy="494883"/>
            </a:xfrm>
            <a:custGeom>
              <a:avLst/>
              <a:gdLst>
                <a:gd name="T0" fmla="*/ 92 w 857"/>
                <a:gd name="T1" fmla="*/ 337 h 1202"/>
                <a:gd name="T2" fmla="*/ 134 w 857"/>
                <a:gd name="T3" fmla="*/ 321 h 1202"/>
                <a:gd name="T4" fmla="*/ 146 w 857"/>
                <a:gd name="T5" fmla="*/ 304 h 1202"/>
                <a:gd name="T6" fmla="*/ 163 w 857"/>
                <a:gd name="T7" fmla="*/ 288 h 1202"/>
                <a:gd name="T8" fmla="*/ 243 w 857"/>
                <a:gd name="T9" fmla="*/ 212 h 1202"/>
                <a:gd name="T10" fmla="*/ 269 w 857"/>
                <a:gd name="T11" fmla="*/ 122 h 1202"/>
                <a:gd name="T12" fmla="*/ 323 w 857"/>
                <a:gd name="T13" fmla="*/ 101 h 1202"/>
                <a:gd name="T14" fmla="*/ 335 w 857"/>
                <a:gd name="T15" fmla="*/ 122 h 1202"/>
                <a:gd name="T16" fmla="*/ 479 w 857"/>
                <a:gd name="T17" fmla="*/ 40 h 1202"/>
                <a:gd name="T18" fmla="*/ 496 w 857"/>
                <a:gd name="T19" fmla="*/ 11 h 1202"/>
                <a:gd name="T20" fmla="*/ 517 w 857"/>
                <a:gd name="T21" fmla="*/ 0 h 1202"/>
                <a:gd name="T22" fmla="*/ 503 w 857"/>
                <a:gd name="T23" fmla="*/ 56 h 1202"/>
                <a:gd name="T24" fmla="*/ 427 w 857"/>
                <a:gd name="T25" fmla="*/ 193 h 1202"/>
                <a:gd name="T26" fmla="*/ 441 w 857"/>
                <a:gd name="T27" fmla="*/ 245 h 1202"/>
                <a:gd name="T28" fmla="*/ 465 w 857"/>
                <a:gd name="T29" fmla="*/ 321 h 1202"/>
                <a:gd name="T30" fmla="*/ 524 w 857"/>
                <a:gd name="T31" fmla="*/ 389 h 1202"/>
                <a:gd name="T32" fmla="*/ 630 w 857"/>
                <a:gd name="T33" fmla="*/ 394 h 1202"/>
                <a:gd name="T34" fmla="*/ 701 w 857"/>
                <a:gd name="T35" fmla="*/ 448 h 1202"/>
                <a:gd name="T36" fmla="*/ 819 w 857"/>
                <a:gd name="T37" fmla="*/ 448 h 1202"/>
                <a:gd name="T38" fmla="*/ 789 w 857"/>
                <a:gd name="T39" fmla="*/ 510 h 1202"/>
                <a:gd name="T40" fmla="*/ 827 w 857"/>
                <a:gd name="T41" fmla="*/ 654 h 1202"/>
                <a:gd name="T42" fmla="*/ 836 w 857"/>
                <a:gd name="T43" fmla="*/ 732 h 1202"/>
                <a:gd name="T44" fmla="*/ 827 w 857"/>
                <a:gd name="T45" fmla="*/ 744 h 1202"/>
                <a:gd name="T46" fmla="*/ 756 w 857"/>
                <a:gd name="T47" fmla="*/ 765 h 1202"/>
                <a:gd name="T48" fmla="*/ 647 w 857"/>
                <a:gd name="T49" fmla="*/ 819 h 1202"/>
                <a:gd name="T50" fmla="*/ 685 w 857"/>
                <a:gd name="T51" fmla="*/ 852 h 1202"/>
                <a:gd name="T52" fmla="*/ 664 w 857"/>
                <a:gd name="T53" fmla="*/ 930 h 1202"/>
                <a:gd name="T54" fmla="*/ 642 w 857"/>
                <a:gd name="T55" fmla="*/ 1202 h 1202"/>
                <a:gd name="T56" fmla="*/ 630 w 857"/>
                <a:gd name="T57" fmla="*/ 1098 h 1202"/>
                <a:gd name="T58" fmla="*/ 541 w 857"/>
                <a:gd name="T59" fmla="*/ 1070 h 1202"/>
                <a:gd name="T60" fmla="*/ 479 w 857"/>
                <a:gd name="T61" fmla="*/ 1074 h 1202"/>
                <a:gd name="T62" fmla="*/ 415 w 857"/>
                <a:gd name="T63" fmla="*/ 1070 h 1202"/>
                <a:gd name="T64" fmla="*/ 411 w 857"/>
                <a:gd name="T65" fmla="*/ 1037 h 1202"/>
                <a:gd name="T66" fmla="*/ 340 w 857"/>
                <a:gd name="T67" fmla="*/ 970 h 1202"/>
                <a:gd name="T68" fmla="*/ 297 w 857"/>
                <a:gd name="T69" fmla="*/ 914 h 1202"/>
                <a:gd name="T70" fmla="*/ 215 w 857"/>
                <a:gd name="T71" fmla="*/ 876 h 1202"/>
                <a:gd name="T72" fmla="*/ 177 w 857"/>
                <a:gd name="T73" fmla="*/ 888 h 1202"/>
                <a:gd name="T74" fmla="*/ 101 w 857"/>
                <a:gd name="T75" fmla="*/ 836 h 1202"/>
                <a:gd name="T76" fmla="*/ 16 w 857"/>
                <a:gd name="T77" fmla="*/ 786 h 1202"/>
                <a:gd name="T78" fmla="*/ 38 w 857"/>
                <a:gd name="T79" fmla="*/ 760 h 1202"/>
                <a:gd name="T80" fmla="*/ 54 w 857"/>
                <a:gd name="T81" fmla="*/ 720 h 1202"/>
                <a:gd name="T82" fmla="*/ 87 w 857"/>
                <a:gd name="T83" fmla="*/ 708 h 1202"/>
                <a:gd name="T84" fmla="*/ 118 w 857"/>
                <a:gd name="T85" fmla="*/ 654 h 1202"/>
                <a:gd name="T86" fmla="*/ 125 w 857"/>
                <a:gd name="T87" fmla="*/ 616 h 1202"/>
                <a:gd name="T88" fmla="*/ 118 w 857"/>
                <a:gd name="T89" fmla="*/ 609 h 1202"/>
                <a:gd name="T90" fmla="*/ 125 w 857"/>
                <a:gd name="T91" fmla="*/ 567 h 1202"/>
                <a:gd name="T92" fmla="*/ 134 w 857"/>
                <a:gd name="T93" fmla="*/ 482 h 1202"/>
                <a:gd name="T94" fmla="*/ 125 w 857"/>
                <a:gd name="T95" fmla="*/ 427 h 1202"/>
                <a:gd name="T96" fmla="*/ 118 w 857"/>
                <a:gd name="T97" fmla="*/ 583 h 1202"/>
                <a:gd name="T98" fmla="*/ 118 w 857"/>
                <a:gd name="T99" fmla="*/ 583 h 1202"/>
                <a:gd name="T100" fmla="*/ 118 w 857"/>
                <a:gd name="T101" fmla="*/ 609 h 1202"/>
                <a:gd name="T102" fmla="*/ 118 w 857"/>
                <a:gd name="T103" fmla="*/ 666 h 1202"/>
                <a:gd name="T104" fmla="*/ 118 w 857"/>
                <a:gd name="T105" fmla="*/ 666 h 1202"/>
                <a:gd name="T106" fmla="*/ 108 w 857"/>
                <a:gd name="T107" fmla="*/ 675 h 1202"/>
                <a:gd name="T108" fmla="*/ 108 w 857"/>
                <a:gd name="T109" fmla="*/ 671 h 1202"/>
                <a:gd name="T110" fmla="*/ 87 w 857"/>
                <a:gd name="T111" fmla="*/ 708 h 1202"/>
                <a:gd name="T112" fmla="*/ 71 w 857"/>
                <a:gd name="T113" fmla="*/ 708 h 1202"/>
                <a:gd name="T114" fmla="*/ 80 w 857"/>
                <a:gd name="T115" fmla="*/ 720 h 1202"/>
                <a:gd name="T116" fmla="*/ 71 w 857"/>
                <a:gd name="T117" fmla="*/ 720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7" h="1202">
                  <a:moveTo>
                    <a:pt x="87" y="378"/>
                  </a:moveTo>
                  <a:lnTo>
                    <a:pt x="92" y="361"/>
                  </a:lnTo>
                  <a:lnTo>
                    <a:pt x="92" y="354"/>
                  </a:lnTo>
                  <a:lnTo>
                    <a:pt x="92" y="337"/>
                  </a:lnTo>
                  <a:lnTo>
                    <a:pt x="108" y="354"/>
                  </a:lnTo>
                  <a:lnTo>
                    <a:pt x="125" y="345"/>
                  </a:lnTo>
                  <a:lnTo>
                    <a:pt x="125" y="337"/>
                  </a:lnTo>
                  <a:lnTo>
                    <a:pt x="134" y="321"/>
                  </a:lnTo>
                  <a:lnTo>
                    <a:pt x="134" y="316"/>
                  </a:lnTo>
                  <a:lnTo>
                    <a:pt x="118" y="283"/>
                  </a:lnTo>
                  <a:lnTo>
                    <a:pt x="125" y="278"/>
                  </a:lnTo>
                  <a:lnTo>
                    <a:pt x="146" y="304"/>
                  </a:lnTo>
                  <a:lnTo>
                    <a:pt x="156" y="316"/>
                  </a:lnTo>
                  <a:lnTo>
                    <a:pt x="156" y="321"/>
                  </a:lnTo>
                  <a:lnTo>
                    <a:pt x="163" y="333"/>
                  </a:lnTo>
                  <a:lnTo>
                    <a:pt x="163" y="288"/>
                  </a:lnTo>
                  <a:lnTo>
                    <a:pt x="156" y="283"/>
                  </a:lnTo>
                  <a:lnTo>
                    <a:pt x="193" y="250"/>
                  </a:lnTo>
                  <a:lnTo>
                    <a:pt x="210" y="229"/>
                  </a:lnTo>
                  <a:lnTo>
                    <a:pt x="243" y="212"/>
                  </a:lnTo>
                  <a:lnTo>
                    <a:pt x="248" y="205"/>
                  </a:lnTo>
                  <a:lnTo>
                    <a:pt x="243" y="193"/>
                  </a:lnTo>
                  <a:lnTo>
                    <a:pt x="252" y="134"/>
                  </a:lnTo>
                  <a:lnTo>
                    <a:pt x="269" y="122"/>
                  </a:lnTo>
                  <a:lnTo>
                    <a:pt x="269" y="118"/>
                  </a:lnTo>
                  <a:lnTo>
                    <a:pt x="286" y="111"/>
                  </a:lnTo>
                  <a:lnTo>
                    <a:pt x="297" y="94"/>
                  </a:lnTo>
                  <a:lnTo>
                    <a:pt x="323" y="101"/>
                  </a:lnTo>
                  <a:lnTo>
                    <a:pt x="340" y="101"/>
                  </a:lnTo>
                  <a:lnTo>
                    <a:pt x="319" y="111"/>
                  </a:lnTo>
                  <a:lnTo>
                    <a:pt x="319" y="118"/>
                  </a:lnTo>
                  <a:lnTo>
                    <a:pt x="335" y="122"/>
                  </a:lnTo>
                  <a:lnTo>
                    <a:pt x="352" y="78"/>
                  </a:lnTo>
                  <a:lnTo>
                    <a:pt x="411" y="85"/>
                  </a:lnTo>
                  <a:lnTo>
                    <a:pt x="449" y="56"/>
                  </a:lnTo>
                  <a:lnTo>
                    <a:pt x="479" y="40"/>
                  </a:lnTo>
                  <a:lnTo>
                    <a:pt x="486" y="23"/>
                  </a:lnTo>
                  <a:lnTo>
                    <a:pt x="486" y="11"/>
                  </a:lnTo>
                  <a:lnTo>
                    <a:pt x="503" y="11"/>
                  </a:lnTo>
                  <a:lnTo>
                    <a:pt x="496" y="11"/>
                  </a:lnTo>
                  <a:lnTo>
                    <a:pt x="503" y="23"/>
                  </a:lnTo>
                  <a:lnTo>
                    <a:pt x="524" y="0"/>
                  </a:lnTo>
                  <a:lnTo>
                    <a:pt x="517" y="0"/>
                  </a:lnTo>
                  <a:lnTo>
                    <a:pt x="517" y="0"/>
                  </a:lnTo>
                  <a:lnTo>
                    <a:pt x="555" y="7"/>
                  </a:lnTo>
                  <a:lnTo>
                    <a:pt x="555" y="28"/>
                  </a:lnTo>
                  <a:lnTo>
                    <a:pt x="550" y="40"/>
                  </a:lnTo>
                  <a:lnTo>
                    <a:pt x="503" y="56"/>
                  </a:lnTo>
                  <a:lnTo>
                    <a:pt x="486" y="85"/>
                  </a:lnTo>
                  <a:lnTo>
                    <a:pt x="465" y="94"/>
                  </a:lnTo>
                  <a:lnTo>
                    <a:pt x="432" y="139"/>
                  </a:lnTo>
                  <a:lnTo>
                    <a:pt x="427" y="193"/>
                  </a:lnTo>
                  <a:lnTo>
                    <a:pt x="404" y="234"/>
                  </a:lnTo>
                  <a:lnTo>
                    <a:pt x="427" y="229"/>
                  </a:lnTo>
                  <a:lnTo>
                    <a:pt x="432" y="234"/>
                  </a:lnTo>
                  <a:lnTo>
                    <a:pt x="441" y="245"/>
                  </a:lnTo>
                  <a:lnTo>
                    <a:pt x="449" y="278"/>
                  </a:lnTo>
                  <a:lnTo>
                    <a:pt x="470" y="288"/>
                  </a:lnTo>
                  <a:lnTo>
                    <a:pt x="470" y="316"/>
                  </a:lnTo>
                  <a:lnTo>
                    <a:pt x="465" y="321"/>
                  </a:lnTo>
                  <a:lnTo>
                    <a:pt x="465" y="354"/>
                  </a:lnTo>
                  <a:lnTo>
                    <a:pt x="486" y="373"/>
                  </a:lnTo>
                  <a:lnTo>
                    <a:pt x="496" y="394"/>
                  </a:lnTo>
                  <a:lnTo>
                    <a:pt x="524" y="389"/>
                  </a:lnTo>
                  <a:lnTo>
                    <a:pt x="555" y="394"/>
                  </a:lnTo>
                  <a:lnTo>
                    <a:pt x="588" y="389"/>
                  </a:lnTo>
                  <a:lnTo>
                    <a:pt x="621" y="394"/>
                  </a:lnTo>
                  <a:lnTo>
                    <a:pt x="630" y="394"/>
                  </a:lnTo>
                  <a:lnTo>
                    <a:pt x="680" y="456"/>
                  </a:lnTo>
                  <a:lnTo>
                    <a:pt x="685" y="456"/>
                  </a:lnTo>
                  <a:lnTo>
                    <a:pt x="697" y="456"/>
                  </a:lnTo>
                  <a:lnTo>
                    <a:pt x="701" y="448"/>
                  </a:lnTo>
                  <a:lnTo>
                    <a:pt x="734" y="456"/>
                  </a:lnTo>
                  <a:lnTo>
                    <a:pt x="782" y="448"/>
                  </a:lnTo>
                  <a:lnTo>
                    <a:pt x="789" y="444"/>
                  </a:lnTo>
                  <a:lnTo>
                    <a:pt x="819" y="448"/>
                  </a:lnTo>
                  <a:lnTo>
                    <a:pt x="819" y="465"/>
                  </a:lnTo>
                  <a:lnTo>
                    <a:pt x="805" y="482"/>
                  </a:lnTo>
                  <a:lnTo>
                    <a:pt x="805" y="498"/>
                  </a:lnTo>
                  <a:lnTo>
                    <a:pt x="789" y="510"/>
                  </a:lnTo>
                  <a:lnTo>
                    <a:pt x="789" y="567"/>
                  </a:lnTo>
                  <a:lnTo>
                    <a:pt x="805" y="621"/>
                  </a:lnTo>
                  <a:lnTo>
                    <a:pt x="810" y="633"/>
                  </a:lnTo>
                  <a:lnTo>
                    <a:pt x="827" y="654"/>
                  </a:lnTo>
                  <a:lnTo>
                    <a:pt x="789" y="692"/>
                  </a:lnTo>
                  <a:lnTo>
                    <a:pt x="805" y="692"/>
                  </a:lnTo>
                  <a:lnTo>
                    <a:pt x="836" y="727"/>
                  </a:lnTo>
                  <a:lnTo>
                    <a:pt x="836" y="732"/>
                  </a:lnTo>
                  <a:lnTo>
                    <a:pt x="857" y="815"/>
                  </a:lnTo>
                  <a:lnTo>
                    <a:pt x="843" y="815"/>
                  </a:lnTo>
                  <a:lnTo>
                    <a:pt x="843" y="782"/>
                  </a:lnTo>
                  <a:lnTo>
                    <a:pt x="827" y="744"/>
                  </a:lnTo>
                  <a:lnTo>
                    <a:pt x="819" y="744"/>
                  </a:lnTo>
                  <a:lnTo>
                    <a:pt x="789" y="777"/>
                  </a:lnTo>
                  <a:lnTo>
                    <a:pt x="767" y="760"/>
                  </a:lnTo>
                  <a:lnTo>
                    <a:pt x="756" y="765"/>
                  </a:lnTo>
                  <a:lnTo>
                    <a:pt x="767" y="777"/>
                  </a:lnTo>
                  <a:lnTo>
                    <a:pt x="675" y="765"/>
                  </a:lnTo>
                  <a:lnTo>
                    <a:pt x="647" y="777"/>
                  </a:lnTo>
                  <a:lnTo>
                    <a:pt x="647" y="819"/>
                  </a:lnTo>
                  <a:lnTo>
                    <a:pt x="685" y="819"/>
                  </a:lnTo>
                  <a:lnTo>
                    <a:pt x="697" y="836"/>
                  </a:lnTo>
                  <a:lnTo>
                    <a:pt x="701" y="852"/>
                  </a:lnTo>
                  <a:lnTo>
                    <a:pt x="685" y="852"/>
                  </a:lnTo>
                  <a:lnTo>
                    <a:pt x="680" y="848"/>
                  </a:lnTo>
                  <a:lnTo>
                    <a:pt x="630" y="852"/>
                  </a:lnTo>
                  <a:lnTo>
                    <a:pt x="630" y="909"/>
                  </a:lnTo>
                  <a:lnTo>
                    <a:pt x="664" y="930"/>
                  </a:lnTo>
                  <a:lnTo>
                    <a:pt x="664" y="947"/>
                  </a:lnTo>
                  <a:lnTo>
                    <a:pt x="680" y="970"/>
                  </a:lnTo>
                  <a:lnTo>
                    <a:pt x="680" y="996"/>
                  </a:lnTo>
                  <a:lnTo>
                    <a:pt x="642" y="1202"/>
                  </a:lnTo>
                  <a:lnTo>
                    <a:pt x="621" y="1169"/>
                  </a:lnTo>
                  <a:lnTo>
                    <a:pt x="604" y="1181"/>
                  </a:lnTo>
                  <a:lnTo>
                    <a:pt x="588" y="1169"/>
                  </a:lnTo>
                  <a:lnTo>
                    <a:pt x="630" y="1098"/>
                  </a:lnTo>
                  <a:lnTo>
                    <a:pt x="621" y="1074"/>
                  </a:lnTo>
                  <a:lnTo>
                    <a:pt x="593" y="1074"/>
                  </a:lnTo>
                  <a:lnTo>
                    <a:pt x="578" y="1058"/>
                  </a:lnTo>
                  <a:lnTo>
                    <a:pt x="541" y="1070"/>
                  </a:lnTo>
                  <a:lnTo>
                    <a:pt x="517" y="1058"/>
                  </a:lnTo>
                  <a:lnTo>
                    <a:pt x="517" y="1053"/>
                  </a:lnTo>
                  <a:lnTo>
                    <a:pt x="503" y="1070"/>
                  </a:lnTo>
                  <a:lnTo>
                    <a:pt x="479" y="1074"/>
                  </a:lnTo>
                  <a:lnTo>
                    <a:pt x="458" y="1070"/>
                  </a:lnTo>
                  <a:lnTo>
                    <a:pt x="432" y="1074"/>
                  </a:lnTo>
                  <a:lnTo>
                    <a:pt x="432" y="1070"/>
                  </a:lnTo>
                  <a:lnTo>
                    <a:pt x="415" y="1070"/>
                  </a:lnTo>
                  <a:lnTo>
                    <a:pt x="427" y="1053"/>
                  </a:lnTo>
                  <a:lnTo>
                    <a:pt x="415" y="1025"/>
                  </a:lnTo>
                  <a:lnTo>
                    <a:pt x="415" y="1025"/>
                  </a:lnTo>
                  <a:lnTo>
                    <a:pt x="411" y="1037"/>
                  </a:lnTo>
                  <a:lnTo>
                    <a:pt x="394" y="1020"/>
                  </a:lnTo>
                  <a:lnTo>
                    <a:pt x="394" y="1013"/>
                  </a:lnTo>
                  <a:lnTo>
                    <a:pt x="389" y="996"/>
                  </a:lnTo>
                  <a:lnTo>
                    <a:pt x="340" y="970"/>
                  </a:lnTo>
                  <a:lnTo>
                    <a:pt x="335" y="942"/>
                  </a:lnTo>
                  <a:lnTo>
                    <a:pt x="307" y="926"/>
                  </a:lnTo>
                  <a:lnTo>
                    <a:pt x="302" y="909"/>
                  </a:lnTo>
                  <a:lnTo>
                    <a:pt x="297" y="914"/>
                  </a:lnTo>
                  <a:lnTo>
                    <a:pt x="269" y="904"/>
                  </a:lnTo>
                  <a:lnTo>
                    <a:pt x="269" y="909"/>
                  </a:lnTo>
                  <a:lnTo>
                    <a:pt x="231" y="893"/>
                  </a:lnTo>
                  <a:lnTo>
                    <a:pt x="215" y="876"/>
                  </a:lnTo>
                  <a:lnTo>
                    <a:pt x="201" y="869"/>
                  </a:lnTo>
                  <a:lnTo>
                    <a:pt x="189" y="869"/>
                  </a:lnTo>
                  <a:lnTo>
                    <a:pt x="189" y="876"/>
                  </a:lnTo>
                  <a:lnTo>
                    <a:pt x="177" y="888"/>
                  </a:lnTo>
                  <a:lnTo>
                    <a:pt x="125" y="869"/>
                  </a:lnTo>
                  <a:lnTo>
                    <a:pt x="118" y="852"/>
                  </a:lnTo>
                  <a:lnTo>
                    <a:pt x="101" y="848"/>
                  </a:lnTo>
                  <a:lnTo>
                    <a:pt x="101" y="836"/>
                  </a:lnTo>
                  <a:lnTo>
                    <a:pt x="87" y="836"/>
                  </a:lnTo>
                  <a:lnTo>
                    <a:pt x="71" y="831"/>
                  </a:lnTo>
                  <a:lnTo>
                    <a:pt x="26" y="798"/>
                  </a:lnTo>
                  <a:lnTo>
                    <a:pt x="16" y="786"/>
                  </a:lnTo>
                  <a:lnTo>
                    <a:pt x="0" y="782"/>
                  </a:lnTo>
                  <a:lnTo>
                    <a:pt x="16" y="765"/>
                  </a:lnTo>
                  <a:lnTo>
                    <a:pt x="38" y="777"/>
                  </a:lnTo>
                  <a:lnTo>
                    <a:pt x="38" y="760"/>
                  </a:lnTo>
                  <a:lnTo>
                    <a:pt x="33" y="744"/>
                  </a:lnTo>
                  <a:lnTo>
                    <a:pt x="38" y="727"/>
                  </a:lnTo>
                  <a:lnTo>
                    <a:pt x="49" y="720"/>
                  </a:lnTo>
                  <a:lnTo>
                    <a:pt x="54" y="720"/>
                  </a:lnTo>
                  <a:lnTo>
                    <a:pt x="64" y="720"/>
                  </a:lnTo>
                  <a:lnTo>
                    <a:pt x="80" y="720"/>
                  </a:lnTo>
                  <a:lnTo>
                    <a:pt x="80" y="704"/>
                  </a:lnTo>
                  <a:lnTo>
                    <a:pt x="87" y="708"/>
                  </a:lnTo>
                  <a:lnTo>
                    <a:pt x="92" y="708"/>
                  </a:lnTo>
                  <a:lnTo>
                    <a:pt x="92" y="704"/>
                  </a:lnTo>
                  <a:lnTo>
                    <a:pt x="118" y="666"/>
                  </a:lnTo>
                  <a:lnTo>
                    <a:pt x="118" y="654"/>
                  </a:lnTo>
                  <a:lnTo>
                    <a:pt x="139" y="633"/>
                  </a:lnTo>
                  <a:lnTo>
                    <a:pt x="146" y="616"/>
                  </a:lnTo>
                  <a:lnTo>
                    <a:pt x="134" y="621"/>
                  </a:lnTo>
                  <a:lnTo>
                    <a:pt x="125" y="616"/>
                  </a:lnTo>
                  <a:lnTo>
                    <a:pt x="134" y="609"/>
                  </a:lnTo>
                  <a:lnTo>
                    <a:pt x="134" y="600"/>
                  </a:lnTo>
                  <a:lnTo>
                    <a:pt x="125" y="616"/>
                  </a:lnTo>
                  <a:lnTo>
                    <a:pt x="118" y="609"/>
                  </a:lnTo>
                  <a:lnTo>
                    <a:pt x="118" y="600"/>
                  </a:lnTo>
                  <a:lnTo>
                    <a:pt x="134" y="593"/>
                  </a:lnTo>
                  <a:lnTo>
                    <a:pt x="118" y="583"/>
                  </a:lnTo>
                  <a:lnTo>
                    <a:pt x="125" y="567"/>
                  </a:lnTo>
                  <a:lnTo>
                    <a:pt x="125" y="522"/>
                  </a:lnTo>
                  <a:lnTo>
                    <a:pt x="118" y="505"/>
                  </a:lnTo>
                  <a:lnTo>
                    <a:pt x="108" y="498"/>
                  </a:lnTo>
                  <a:lnTo>
                    <a:pt x="134" y="482"/>
                  </a:lnTo>
                  <a:lnTo>
                    <a:pt x="118" y="448"/>
                  </a:lnTo>
                  <a:lnTo>
                    <a:pt x="118" y="444"/>
                  </a:lnTo>
                  <a:lnTo>
                    <a:pt x="118" y="448"/>
                  </a:lnTo>
                  <a:lnTo>
                    <a:pt x="125" y="427"/>
                  </a:lnTo>
                  <a:lnTo>
                    <a:pt x="87" y="378"/>
                  </a:lnTo>
                  <a:lnTo>
                    <a:pt x="87" y="378"/>
                  </a:lnTo>
                  <a:lnTo>
                    <a:pt x="87" y="378"/>
                  </a:lnTo>
                  <a:close/>
                  <a:moveTo>
                    <a:pt x="118" y="583"/>
                  </a:moveTo>
                  <a:lnTo>
                    <a:pt x="125" y="593"/>
                  </a:lnTo>
                  <a:lnTo>
                    <a:pt x="108" y="593"/>
                  </a:lnTo>
                  <a:lnTo>
                    <a:pt x="118" y="583"/>
                  </a:lnTo>
                  <a:lnTo>
                    <a:pt x="118" y="583"/>
                  </a:lnTo>
                  <a:lnTo>
                    <a:pt x="118" y="583"/>
                  </a:lnTo>
                  <a:close/>
                  <a:moveTo>
                    <a:pt x="108" y="600"/>
                  </a:moveTo>
                  <a:lnTo>
                    <a:pt x="118" y="600"/>
                  </a:lnTo>
                  <a:lnTo>
                    <a:pt x="118" y="609"/>
                  </a:lnTo>
                  <a:lnTo>
                    <a:pt x="108" y="600"/>
                  </a:lnTo>
                  <a:lnTo>
                    <a:pt x="108" y="600"/>
                  </a:lnTo>
                  <a:lnTo>
                    <a:pt x="108" y="600"/>
                  </a:lnTo>
                  <a:close/>
                  <a:moveTo>
                    <a:pt x="118" y="666"/>
                  </a:moveTo>
                  <a:lnTo>
                    <a:pt x="108" y="666"/>
                  </a:lnTo>
                  <a:lnTo>
                    <a:pt x="118" y="666"/>
                  </a:lnTo>
                  <a:lnTo>
                    <a:pt x="118" y="666"/>
                  </a:lnTo>
                  <a:lnTo>
                    <a:pt x="118" y="666"/>
                  </a:lnTo>
                  <a:lnTo>
                    <a:pt x="118" y="666"/>
                  </a:lnTo>
                  <a:close/>
                  <a:moveTo>
                    <a:pt x="108" y="671"/>
                  </a:moveTo>
                  <a:lnTo>
                    <a:pt x="108" y="666"/>
                  </a:lnTo>
                  <a:lnTo>
                    <a:pt x="108" y="675"/>
                  </a:lnTo>
                  <a:lnTo>
                    <a:pt x="101" y="675"/>
                  </a:lnTo>
                  <a:lnTo>
                    <a:pt x="108" y="671"/>
                  </a:lnTo>
                  <a:lnTo>
                    <a:pt x="108" y="671"/>
                  </a:lnTo>
                  <a:lnTo>
                    <a:pt x="108" y="671"/>
                  </a:lnTo>
                  <a:close/>
                  <a:moveTo>
                    <a:pt x="87" y="708"/>
                  </a:moveTo>
                  <a:lnTo>
                    <a:pt x="87" y="704"/>
                  </a:lnTo>
                  <a:lnTo>
                    <a:pt x="92" y="708"/>
                  </a:lnTo>
                  <a:lnTo>
                    <a:pt x="87" y="708"/>
                  </a:lnTo>
                  <a:lnTo>
                    <a:pt x="87" y="708"/>
                  </a:lnTo>
                  <a:lnTo>
                    <a:pt x="87" y="708"/>
                  </a:lnTo>
                  <a:close/>
                  <a:moveTo>
                    <a:pt x="80" y="720"/>
                  </a:moveTo>
                  <a:lnTo>
                    <a:pt x="71" y="708"/>
                  </a:lnTo>
                  <a:lnTo>
                    <a:pt x="80" y="704"/>
                  </a:lnTo>
                  <a:lnTo>
                    <a:pt x="80" y="720"/>
                  </a:lnTo>
                  <a:lnTo>
                    <a:pt x="80" y="720"/>
                  </a:lnTo>
                  <a:lnTo>
                    <a:pt x="80" y="720"/>
                  </a:lnTo>
                  <a:close/>
                  <a:moveTo>
                    <a:pt x="71" y="720"/>
                  </a:moveTo>
                  <a:lnTo>
                    <a:pt x="64" y="708"/>
                  </a:lnTo>
                  <a:lnTo>
                    <a:pt x="71" y="708"/>
                  </a:lnTo>
                  <a:lnTo>
                    <a:pt x="71" y="720"/>
                  </a:lnTo>
                  <a:lnTo>
                    <a:pt x="71" y="720"/>
                  </a:lnTo>
                  <a:lnTo>
                    <a:pt x="71" y="72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4" name="Freeform 420">
              <a:extLst>
                <a:ext uri="{FF2B5EF4-FFF2-40B4-BE49-F238E27FC236}">
                  <a16:creationId xmlns:a16="http://schemas.microsoft.com/office/drawing/2014/main" id="{42FB0B9C-A7AA-4778-93E4-976C43068FB1}"/>
                </a:ext>
              </a:extLst>
            </p:cNvPr>
            <p:cNvSpPr>
              <a:spLocks/>
            </p:cNvSpPr>
            <p:nvPr/>
          </p:nvSpPr>
          <p:spPr bwMode="gray">
            <a:xfrm>
              <a:off x="4246335" y="3729925"/>
              <a:ext cx="95508" cy="95519"/>
            </a:xfrm>
            <a:custGeom>
              <a:avLst/>
              <a:gdLst>
                <a:gd name="T0" fmla="*/ 232 w 232"/>
                <a:gd name="T1" fmla="*/ 121 h 232"/>
                <a:gd name="T2" fmla="*/ 232 w 232"/>
                <a:gd name="T3" fmla="*/ 128 h 232"/>
                <a:gd name="T4" fmla="*/ 215 w 232"/>
                <a:gd name="T5" fmla="*/ 121 h 232"/>
                <a:gd name="T6" fmla="*/ 206 w 232"/>
                <a:gd name="T7" fmla="*/ 128 h 232"/>
                <a:gd name="T8" fmla="*/ 206 w 232"/>
                <a:gd name="T9" fmla="*/ 161 h 232"/>
                <a:gd name="T10" fmla="*/ 222 w 232"/>
                <a:gd name="T11" fmla="*/ 166 h 232"/>
                <a:gd name="T12" fmla="*/ 206 w 232"/>
                <a:gd name="T13" fmla="*/ 182 h 232"/>
                <a:gd name="T14" fmla="*/ 215 w 232"/>
                <a:gd name="T15" fmla="*/ 199 h 232"/>
                <a:gd name="T16" fmla="*/ 201 w 232"/>
                <a:gd name="T17" fmla="*/ 215 h 232"/>
                <a:gd name="T18" fmla="*/ 206 w 232"/>
                <a:gd name="T19" fmla="*/ 215 h 232"/>
                <a:gd name="T20" fmla="*/ 206 w 232"/>
                <a:gd name="T21" fmla="*/ 232 h 232"/>
                <a:gd name="T22" fmla="*/ 206 w 232"/>
                <a:gd name="T23" fmla="*/ 220 h 232"/>
                <a:gd name="T24" fmla="*/ 189 w 232"/>
                <a:gd name="T25" fmla="*/ 203 h 232"/>
                <a:gd name="T26" fmla="*/ 201 w 232"/>
                <a:gd name="T27" fmla="*/ 203 h 232"/>
                <a:gd name="T28" fmla="*/ 189 w 232"/>
                <a:gd name="T29" fmla="*/ 194 h 232"/>
                <a:gd name="T30" fmla="*/ 180 w 232"/>
                <a:gd name="T31" fmla="*/ 182 h 232"/>
                <a:gd name="T32" fmla="*/ 168 w 232"/>
                <a:gd name="T33" fmla="*/ 182 h 232"/>
                <a:gd name="T34" fmla="*/ 185 w 232"/>
                <a:gd name="T35" fmla="*/ 199 h 232"/>
                <a:gd name="T36" fmla="*/ 185 w 232"/>
                <a:gd name="T37" fmla="*/ 203 h 232"/>
                <a:gd name="T38" fmla="*/ 151 w 232"/>
                <a:gd name="T39" fmla="*/ 194 h 232"/>
                <a:gd name="T40" fmla="*/ 163 w 232"/>
                <a:gd name="T41" fmla="*/ 177 h 232"/>
                <a:gd name="T42" fmla="*/ 163 w 232"/>
                <a:gd name="T43" fmla="*/ 161 h 232"/>
                <a:gd name="T44" fmla="*/ 114 w 232"/>
                <a:gd name="T45" fmla="*/ 128 h 232"/>
                <a:gd name="T46" fmla="*/ 92 w 232"/>
                <a:gd name="T47" fmla="*/ 121 h 232"/>
                <a:gd name="T48" fmla="*/ 81 w 232"/>
                <a:gd name="T49" fmla="*/ 95 h 232"/>
                <a:gd name="T50" fmla="*/ 43 w 232"/>
                <a:gd name="T51" fmla="*/ 83 h 232"/>
                <a:gd name="T52" fmla="*/ 43 w 232"/>
                <a:gd name="T53" fmla="*/ 88 h 232"/>
                <a:gd name="T54" fmla="*/ 71 w 232"/>
                <a:gd name="T55" fmla="*/ 104 h 232"/>
                <a:gd name="T56" fmla="*/ 55 w 232"/>
                <a:gd name="T57" fmla="*/ 121 h 232"/>
                <a:gd name="T58" fmla="*/ 38 w 232"/>
                <a:gd name="T59" fmla="*/ 104 h 232"/>
                <a:gd name="T60" fmla="*/ 17 w 232"/>
                <a:gd name="T61" fmla="*/ 95 h 232"/>
                <a:gd name="T62" fmla="*/ 0 w 232"/>
                <a:gd name="T63" fmla="*/ 66 h 232"/>
                <a:gd name="T64" fmla="*/ 22 w 232"/>
                <a:gd name="T65" fmla="*/ 50 h 232"/>
                <a:gd name="T66" fmla="*/ 17 w 232"/>
                <a:gd name="T67" fmla="*/ 33 h 232"/>
                <a:gd name="T68" fmla="*/ 0 w 232"/>
                <a:gd name="T69" fmla="*/ 29 h 232"/>
                <a:gd name="T70" fmla="*/ 17 w 232"/>
                <a:gd name="T71" fmla="*/ 29 h 232"/>
                <a:gd name="T72" fmla="*/ 17 w 232"/>
                <a:gd name="T73" fmla="*/ 17 h 232"/>
                <a:gd name="T74" fmla="*/ 22 w 232"/>
                <a:gd name="T75" fmla="*/ 0 h 232"/>
                <a:gd name="T76" fmla="*/ 71 w 232"/>
                <a:gd name="T77" fmla="*/ 29 h 232"/>
                <a:gd name="T78" fmla="*/ 81 w 232"/>
                <a:gd name="T79" fmla="*/ 17 h 232"/>
                <a:gd name="T80" fmla="*/ 135 w 232"/>
                <a:gd name="T81" fmla="*/ 38 h 232"/>
                <a:gd name="T82" fmla="*/ 151 w 232"/>
                <a:gd name="T83" fmla="*/ 33 h 232"/>
                <a:gd name="T84" fmla="*/ 163 w 232"/>
                <a:gd name="T85" fmla="*/ 29 h 232"/>
                <a:gd name="T86" fmla="*/ 180 w 232"/>
                <a:gd name="T87" fmla="*/ 71 h 232"/>
                <a:gd name="T88" fmla="*/ 222 w 232"/>
                <a:gd name="T89" fmla="*/ 121 h 232"/>
                <a:gd name="T90" fmla="*/ 232 w 232"/>
                <a:gd name="T91" fmla="*/ 121 h 232"/>
                <a:gd name="T92" fmla="*/ 232 w 232"/>
                <a:gd name="T93" fmla="*/ 121 h 232"/>
                <a:gd name="T94" fmla="*/ 232 w 232"/>
                <a:gd name="T95" fmla="*/ 12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2" h="232">
                  <a:moveTo>
                    <a:pt x="232" y="121"/>
                  </a:moveTo>
                  <a:lnTo>
                    <a:pt x="232" y="128"/>
                  </a:lnTo>
                  <a:lnTo>
                    <a:pt x="215" y="121"/>
                  </a:lnTo>
                  <a:lnTo>
                    <a:pt x="206" y="128"/>
                  </a:lnTo>
                  <a:lnTo>
                    <a:pt x="206" y="161"/>
                  </a:lnTo>
                  <a:lnTo>
                    <a:pt x="222" y="166"/>
                  </a:lnTo>
                  <a:lnTo>
                    <a:pt x="206" y="182"/>
                  </a:lnTo>
                  <a:lnTo>
                    <a:pt x="215" y="199"/>
                  </a:lnTo>
                  <a:lnTo>
                    <a:pt x="201" y="215"/>
                  </a:lnTo>
                  <a:lnTo>
                    <a:pt x="206" y="215"/>
                  </a:lnTo>
                  <a:lnTo>
                    <a:pt x="206" y="232"/>
                  </a:lnTo>
                  <a:lnTo>
                    <a:pt x="206" y="220"/>
                  </a:lnTo>
                  <a:lnTo>
                    <a:pt x="189" y="203"/>
                  </a:lnTo>
                  <a:lnTo>
                    <a:pt x="201" y="203"/>
                  </a:lnTo>
                  <a:lnTo>
                    <a:pt x="189" y="194"/>
                  </a:lnTo>
                  <a:lnTo>
                    <a:pt x="180" y="182"/>
                  </a:lnTo>
                  <a:lnTo>
                    <a:pt x="168" y="182"/>
                  </a:lnTo>
                  <a:lnTo>
                    <a:pt x="185" y="199"/>
                  </a:lnTo>
                  <a:lnTo>
                    <a:pt x="185" y="203"/>
                  </a:lnTo>
                  <a:lnTo>
                    <a:pt x="151" y="194"/>
                  </a:lnTo>
                  <a:lnTo>
                    <a:pt x="163" y="177"/>
                  </a:lnTo>
                  <a:lnTo>
                    <a:pt x="163" y="161"/>
                  </a:lnTo>
                  <a:lnTo>
                    <a:pt x="114" y="128"/>
                  </a:lnTo>
                  <a:lnTo>
                    <a:pt x="92" y="121"/>
                  </a:lnTo>
                  <a:lnTo>
                    <a:pt x="81" y="95"/>
                  </a:lnTo>
                  <a:lnTo>
                    <a:pt x="43" y="83"/>
                  </a:lnTo>
                  <a:lnTo>
                    <a:pt x="43" y="88"/>
                  </a:lnTo>
                  <a:lnTo>
                    <a:pt x="71" y="104"/>
                  </a:lnTo>
                  <a:lnTo>
                    <a:pt x="55" y="121"/>
                  </a:lnTo>
                  <a:lnTo>
                    <a:pt x="38" y="104"/>
                  </a:lnTo>
                  <a:lnTo>
                    <a:pt x="17" y="95"/>
                  </a:lnTo>
                  <a:lnTo>
                    <a:pt x="0" y="66"/>
                  </a:lnTo>
                  <a:lnTo>
                    <a:pt x="22" y="50"/>
                  </a:lnTo>
                  <a:lnTo>
                    <a:pt x="17" y="33"/>
                  </a:lnTo>
                  <a:lnTo>
                    <a:pt x="0" y="29"/>
                  </a:lnTo>
                  <a:lnTo>
                    <a:pt x="17" y="29"/>
                  </a:lnTo>
                  <a:lnTo>
                    <a:pt x="17" y="17"/>
                  </a:lnTo>
                  <a:lnTo>
                    <a:pt x="22" y="0"/>
                  </a:lnTo>
                  <a:lnTo>
                    <a:pt x="71" y="29"/>
                  </a:lnTo>
                  <a:lnTo>
                    <a:pt x="81" y="17"/>
                  </a:lnTo>
                  <a:lnTo>
                    <a:pt x="135" y="38"/>
                  </a:lnTo>
                  <a:lnTo>
                    <a:pt x="151" y="33"/>
                  </a:lnTo>
                  <a:lnTo>
                    <a:pt x="163" y="29"/>
                  </a:lnTo>
                  <a:lnTo>
                    <a:pt x="180" y="71"/>
                  </a:lnTo>
                  <a:lnTo>
                    <a:pt x="222" y="121"/>
                  </a:lnTo>
                  <a:lnTo>
                    <a:pt x="232" y="121"/>
                  </a:lnTo>
                  <a:lnTo>
                    <a:pt x="232" y="121"/>
                  </a:lnTo>
                  <a:lnTo>
                    <a:pt x="232" y="1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6" name="Freeform 422">
              <a:extLst>
                <a:ext uri="{FF2B5EF4-FFF2-40B4-BE49-F238E27FC236}">
                  <a16:creationId xmlns:a16="http://schemas.microsoft.com/office/drawing/2014/main" id="{08749191-4A70-4B04-B74F-5DA556293DA0}"/>
                </a:ext>
              </a:extLst>
            </p:cNvPr>
            <p:cNvSpPr>
              <a:spLocks noEditPoints="1"/>
            </p:cNvSpPr>
            <p:nvPr/>
          </p:nvSpPr>
          <p:spPr bwMode="gray">
            <a:xfrm>
              <a:off x="4274740" y="3364322"/>
              <a:ext cx="311223" cy="106223"/>
            </a:xfrm>
            <a:custGeom>
              <a:avLst/>
              <a:gdLst>
                <a:gd name="T0" fmla="*/ 685 w 756"/>
                <a:gd name="T1" fmla="*/ 241 h 258"/>
                <a:gd name="T2" fmla="*/ 605 w 756"/>
                <a:gd name="T3" fmla="*/ 241 h 258"/>
                <a:gd name="T4" fmla="*/ 545 w 756"/>
                <a:gd name="T5" fmla="*/ 217 h 258"/>
                <a:gd name="T6" fmla="*/ 475 w 756"/>
                <a:gd name="T7" fmla="*/ 196 h 258"/>
                <a:gd name="T8" fmla="*/ 432 w 756"/>
                <a:gd name="T9" fmla="*/ 123 h 258"/>
                <a:gd name="T10" fmla="*/ 314 w 756"/>
                <a:gd name="T11" fmla="*/ 95 h 258"/>
                <a:gd name="T12" fmla="*/ 281 w 756"/>
                <a:gd name="T13" fmla="*/ 90 h 258"/>
                <a:gd name="T14" fmla="*/ 243 w 756"/>
                <a:gd name="T15" fmla="*/ 83 h 258"/>
                <a:gd name="T16" fmla="*/ 227 w 756"/>
                <a:gd name="T17" fmla="*/ 57 h 258"/>
                <a:gd name="T18" fmla="*/ 151 w 756"/>
                <a:gd name="T19" fmla="*/ 40 h 258"/>
                <a:gd name="T20" fmla="*/ 59 w 756"/>
                <a:gd name="T21" fmla="*/ 95 h 258"/>
                <a:gd name="T22" fmla="*/ 28 w 756"/>
                <a:gd name="T23" fmla="*/ 95 h 258"/>
                <a:gd name="T24" fmla="*/ 28 w 756"/>
                <a:gd name="T25" fmla="*/ 90 h 258"/>
                <a:gd name="T26" fmla="*/ 54 w 756"/>
                <a:gd name="T27" fmla="*/ 50 h 258"/>
                <a:gd name="T28" fmla="*/ 189 w 756"/>
                <a:gd name="T29" fmla="*/ 0 h 258"/>
                <a:gd name="T30" fmla="*/ 260 w 756"/>
                <a:gd name="T31" fmla="*/ 0 h 258"/>
                <a:gd name="T32" fmla="*/ 297 w 756"/>
                <a:gd name="T33" fmla="*/ 12 h 258"/>
                <a:gd name="T34" fmla="*/ 368 w 756"/>
                <a:gd name="T35" fmla="*/ 33 h 258"/>
                <a:gd name="T36" fmla="*/ 444 w 756"/>
                <a:gd name="T37" fmla="*/ 66 h 258"/>
                <a:gd name="T38" fmla="*/ 524 w 756"/>
                <a:gd name="T39" fmla="*/ 111 h 258"/>
                <a:gd name="T40" fmla="*/ 508 w 756"/>
                <a:gd name="T41" fmla="*/ 106 h 258"/>
                <a:gd name="T42" fmla="*/ 545 w 756"/>
                <a:gd name="T43" fmla="*/ 123 h 258"/>
                <a:gd name="T44" fmla="*/ 545 w 756"/>
                <a:gd name="T45" fmla="*/ 123 h 258"/>
                <a:gd name="T46" fmla="*/ 567 w 756"/>
                <a:gd name="T47" fmla="*/ 140 h 258"/>
                <a:gd name="T48" fmla="*/ 595 w 756"/>
                <a:gd name="T49" fmla="*/ 151 h 258"/>
                <a:gd name="T50" fmla="*/ 621 w 756"/>
                <a:gd name="T51" fmla="*/ 163 h 258"/>
                <a:gd name="T52" fmla="*/ 647 w 756"/>
                <a:gd name="T53" fmla="*/ 180 h 258"/>
                <a:gd name="T54" fmla="*/ 701 w 756"/>
                <a:gd name="T55" fmla="*/ 196 h 258"/>
                <a:gd name="T56" fmla="*/ 744 w 756"/>
                <a:gd name="T57" fmla="*/ 241 h 258"/>
                <a:gd name="T58" fmla="*/ 685 w 756"/>
                <a:gd name="T59" fmla="*/ 253 h 258"/>
                <a:gd name="T60" fmla="*/ 437 w 756"/>
                <a:gd name="T61" fmla="*/ 50 h 258"/>
                <a:gd name="T62" fmla="*/ 453 w 756"/>
                <a:gd name="T63" fmla="*/ 57 h 258"/>
                <a:gd name="T64" fmla="*/ 486 w 756"/>
                <a:gd name="T65" fmla="*/ 73 h 258"/>
                <a:gd name="T66" fmla="*/ 486 w 756"/>
                <a:gd name="T67" fmla="*/ 73 h 258"/>
                <a:gd name="T68" fmla="*/ 491 w 756"/>
                <a:gd name="T69" fmla="*/ 83 h 258"/>
                <a:gd name="T70" fmla="*/ 491 w 756"/>
                <a:gd name="T71" fmla="*/ 73 h 258"/>
                <a:gd name="T72" fmla="*/ 491 w 756"/>
                <a:gd name="T73" fmla="*/ 83 h 258"/>
                <a:gd name="T74" fmla="*/ 508 w 756"/>
                <a:gd name="T75" fmla="*/ 90 h 258"/>
                <a:gd name="T76" fmla="*/ 508 w 756"/>
                <a:gd name="T77" fmla="*/ 95 h 258"/>
                <a:gd name="T78" fmla="*/ 120 w 756"/>
                <a:gd name="T79" fmla="*/ 123 h 258"/>
                <a:gd name="T80" fmla="*/ 130 w 756"/>
                <a:gd name="T81" fmla="*/ 106 h 258"/>
                <a:gd name="T82" fmla="*/ 168 w 756"/>
                <a:gd name="T83" fmla="*/ 123 h 258"/>
                <a:gd name="T84" fmla="*/ 134 w 756"/>
                <a:gd name="T85" fmla="*/ 14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56" h="258">
                  <a:moveTo>
                    <a:pt x="685" y="253"/>
                  </a:moveTo>
                  <a:lnTo>
                    <a:pt x="685" y="253"/>
                  </a:lnTo>
                  <a:lnTo>
                    <a:pt x="685" y="241"/>
                  </a:lnTo>
                  <a:lnTo>
                    <a:pt x="685" y="253"/>
                  </a:lnTo>
                  <a:lnTo>
                    <a:pt x="675" y="253"/>
                  </a:lnTo>
                  <a:lnTo>
                    <a:pt x="605" y="241"/>
                  </a:lnTo>
                  <a:lnTo>
                    <a:pt x="496" y="258"/>
                  </a:lnTo>
                  <a:lnTo>
                    <a:pt x="512" y="241"/>
                  </a:lnTo>
                  <a:lnTo>
                    <a:pt x="545" y="217"/>
                  </a:lnTo>
                  <a:lnTo>
                    <a:pt x="545" y="208"/>
                  </a:lnTo>
                  <a:lnTo>
                    <a:pt x="541" y="196"/>
                  </a:lnTo>
                  <a:lnTo>
                    <a:pt x="475" y="196"/>
                  </a:lnTo>
                  <a:lnTo>
                    <a:pt x="444" y="168"/>
                  </a:lnTo>
                  <a:lnTo>
                    <a:pt x="437" y="128"/>
                  </a:lnTo>
                  <a:lnTo>
                    <a:pt x="432" y="123"/>
                  </a:lnTo>
                  <a:lnTo>
                    <a:pt x="399" y="128"/>
                  </a:lnTo>
                  <a:lnTo>
                    <a:pt x="345" y="111"/>
                  </a:lnTo>
                  <a:lnTo>
                    <a:pt x="314" y="95"/>
                  </a:lnTo>
                  <a:lnTo>
                    <a:pt x="307" y="83"/>
                  </a:lnTo>
                  <a:lnTo>
                    <a:pt x="297" y="90"/>
                  </a:lnTo>
                  <a:lnTo>
                    <a:pt x="281" y="90"/>
                  </a:lnTo>
                  <a:lnTo>
                    <a:pt x="260" y="83"/>
                  </a:lnTo>
                  <a:lnTo>
                    <a:pt x="243" y="90"/>
                  </a:lnTo>
                  <a:lnTo>
                    <a:pt x="243" y="83"/>
                  </a:lnTo>
                  <a:lnTo>
                    <a:pt x="217" y="83"/>
                  </a:lnTo>
                  <a:lnTo>
                    <a:pt x="189" y="66"/>
                  </a:lnTo>
                  <a:lnTo>
                    <a:pt x="227" y="57"/>
                  </a:lnTo>
                  <a:lnTo>
                    <a:pt x="227" y="50"/>
                  </a:lnTo>
                  <a:lnTo>
                    <a:pt x="217" y="40"/>
                  </a:lnTo>
                  <a:lnTo>
                    <a:pt x="151" y="40"/>
                  </a:lnTo>
                  <a:lnTo>
                    <a:pt x="108" y="73"/>
                  </a:lnTo>
                  <a:lnTo>
                    <a:pt x="66" y="83"/>
                  </a:lnTo>
                  <a:lnTo>
                    <a:pt x="59" y="95"/>
                  </a:lnTo>
                  <a:lnTo>
                    <a:pt x="45" y="95"/>
                  </a:lnTo>
                  <a:lnTo>
                    <a:pt x="28" y="111"/>
                  </a:lnTo>
                  <a:lnTo>
                    <a:pt x="28" y="95"/>
                  </a:lnTo>
                  <a:lnTo>
                    <a:pt x="7" y="106"/>
                  </a:lnTo>
                  <a:lnTo>
                    <a:pt x="0" y="106"/>
                  </a:lnTo>
                  <a:lnTo>
                    <a:pt x="28" y="90"/>
                  </a:lnTo>
                  <a:lnTo>
                    <a:pt x="38" y="90"/>
                  </a:lnTo>
                  <a:lnTo>
                    <a:pt x="28" y="73"/>
                  </a:lnTo>
                  <a:lnTo>
                    <a:pt x="54" y="50"/>
                  </a:lnTo>
                  <a:lnTo>
                    <a:pt x="113" y="17"/>
                  </a:lnTo>
                  <a:lnTo>
                    <a:pt x="134" y="17"/>
                  </a:lnTo>
                  <a:lnTo>
                    <a:pt x="189" y="0"/>
                  </a:lnTo>
                  <a:lnTo>
                    <a:pt x="227" y="0"/>
                  </a:lnTo>
                  <a:lnTo>
                    <a:pt x="238" y="12"/>
                  </a:lnTo>
                  <a:lnTo>
                    <a:pt x="260" y="0"/>
                  </a:lnTo>
                  <a:lnTo>
                    <a:pt x="255" y="12"/>
                  </a:lnTo>
                  <a:lnTo>
                    <a:pt x="260" y="17"/>
                  </a:lnTo>
                  <a:lnTo>
                    <a:pt x="297" y="12"/>
                  </a:lnTo>
                  <a:lnTo>
                    <a:pt x="323" y="21"/>
                  </a:lnTo>
                  <a:lnTo>
                    <a:pt x="335" y="17"/>
                  </a:lnTo>
                  <a:lnTo>
                    <a:pt x="368" y="33"/>
                  </a:lnTo>
                  <a:lnTo>
                    <a:pt x="390" y="66"/>
                  </a:lnTo>
                  <a:lnTo>
                    <a:pt x="420" y="66"/>
                  </a:lnTo>
                  <a:lnTo>
                    <a:pt x="444" y="66"/>
                  </a:lnTo>
                  <a:lnTo>
                    <a:pt x="475" y="90"/>
                  </a:lnTo>
                  <a:lnTo>
                    <a:pt x="496" y="106"/>
                  </a:lnTo>
                  <a:lnTo>
                    <a:pt x="524" y="111"/>
                  </a:lnTo>
                  <a:lnTo>
                    <a:pt x="524" y="123"/>
                  </a:lnTo>
                  <a:lnTo>
                    <a:pt x="529" y="123"/>
                  </a:lnTo>
                  <a:lnTo>
                    <a:pt x="508" y="106"/>
                  </a:lnTo>
                  <a:lnTo>
                    <a:pt x="512" y="95"/>
                  </a:lnTo>
                  <a:lnTo>
                    <a:pt x="545" y="123"/>
                  </a:lnTo>
                  <a:lnTo>
                    <a:pt x="545" y="123"/>
                  </a:lnTo>
                  <a:lnTo>
                    <a:pt x="529" y="123"/>
                  </a:lnTo>
                  <a:lnTo>
                    <a:pt x="541" y="128"/>
                  </a:lnTo>
                  <a:lnTo>
                    <a:pt x="545" y="123"/>
                  </a:lnTo>
                  <a:lnTo>
                    <a:pt x="562" y="140"/>
                  </a:lnTo>
                  <a:lnTo>
                    <a:pt x="562" y="147"/>
                  </a:lnTo>
                  <a:lnTo>
                    <a:pt x="567" y="140"/>
                  </a:lnTo>
                  <a:lnTo>
                    <a:pt x="579" y="147"/>
                  </a:lnTo>
                  <a:lnTo>
                    <a:pt x="583" y="151"/>
                  </a:lnTo>
                  <a:lnTo>
                    <a:pt x="595" y="151"/>
                  </a:lnTo>
                  <a:lnTo>
                    <a:pt x="595" y="147"/>
                  </a:lnTo>
                  <a:lnTo>
                    <a:pt x="600" y="147"/>
                  </a:lnTo>
                  <a:lnTo>
                    <a:pt x="621" y="163"/>
                  </a:lnTo>
                  <a:lnTo>
                    <a:pt x="647" y="163"/>
                  </a:lnTo>
                  <a:lnTo>
                    <a:pt x="654" y="168"/>
                  </a:lnTo>
                  <a:lnTo>
                    <a:pt x="647" y="180"/>
                  </a:lnTo>
                  <a:lnTo>
                    <a:pt x="638" y="184"/>
                  </a:lnTo>
                  <a:lnTo>
                    <a:pt x="638" y="196"/>
                  </a:lnTo>
                  <a:lnTo>
                    <a:pt x="701" y="196"/>
                  </a:lnTo>
                  <a:lnTo>
                    <a:pt x="730" y="217"/>
                  </a:lnTo>
                  <a:lnTo>
                    <a:pt x="756" y="225"/>
                  </a:lnTo>
                  <a:lnTo>
                    <a:pt x="744" y="241"/>
                  </a:lnTo>
                  <a:lnTo>
                    <a:pt x="706" y="241"/>
                  </a:lnTo>
                  <a:lnTo>
                    <a:pt x="685" y="253"/>
                  </a:lnTo>
                  <a:lnTo>
                    <a:pt x="685" y="253"/>
                  </a:lnTo>
                  <a:lnTo>
                    <a:pt x="685" y="253"/>
                  </a:lnTo>
                  <a:close/>
                  <a:moveTo>
                    <a:pt x="453" y="57"/>
                  </a:moveTo>
                  <a:lnTo>
                    <a:pt x="437" y="50"/>
                  </a:lnTo>
                  <a:lnTo>
                    <a:pt x="453" y="50"/>
                  </a:lnTo>
                  <a:lnTo>
                    <a:pt x="458" y="57"/>
                  </a:lnTo>
                  <a:lnTo>
                    <a:pt x="453" y="57"/>
                  </a:lnTo>
                  <a:lnTo>
                    <a:pt x="453" y="57"/>
                  </a:lnTo>
                  <a:lnTo>
                    <a:pt x="453" y="57"/>
                  </a:lnTo>
                  <a:close/>
                  <a:moveTo>
                    <a:pt x="486" y="73"/>
                  </a:moveTo>
                  <a:lnTo>
                    <a:pt x="458" y="57"/>
                  </a:lnTo>
                  <a:lnTo>
                    <a:pt x="475" y="57"/>
                  </a:lnTo>
                  <a:lnTo>
                    <a:pt x="486" y="73"/>
                  </a:lnTo>
                  <a:lnTo>
                    <a:pt x="486" y="73"/>
                  </a:lnTo>
                  <a:lnTo>
                    <a:pt x="486" y="73"/>
                  </a:lnTo>
                  <a:close/>
                  <a:moveTo>
                    <a:pt x="491" y="83"/>
                  </a:moveTo>
                  <a:lnTo>
                    <a:pt x="475" y="83"/>
                  </a:lnTo>
                  <a:lnTo>
                    <a:pt x="486" y="73"/>
                  </a:lnTo>
                  <a:lnTo>
                    <a:pt x="491" y="73"/>
                  </a:lnTo>
                  <a:lnTo>
                    <a:pt x="491" y="83"/>
                  </a:lnTo>
                  <a:lnTo>
                    <a:pt x="491" y="83"/>
                  </a:lnTo>
                  <a:lnTo>
                    <a:pt x="491" y="83"/>
                  </a:lnTo>
                  <a:close/>
                  <a:moveTo>
                    <a:pt x="508" y="95"/>
                  </a:moveTo>
                  <a:lnTo>
                    <a:pt x="486" y="83"/>
                  </a:lnTo>
                  <a:lnTo>
                    <a:pt x="508" y="90"/>
                  </a:lnTo>
                  <a:lnTo>
                    <a:pt x="508" y="95"/>
                  </a:lnTo>
                  <a:lnTo>
                    <a:pt x="508" y="95"/>
                  </a:lnTo>
                  <a:lnTo>
                    <a:pt x="508" y="95"/>
                  </a:lnTo>
                  <a:close/>
                  <a:moveTo>
                    <a:pt x="134" y="140"/>
                  </a:moveTo>
                  <a:lnTo>
                    <a:pt x="130" y="140"/>
                  </a:lnTo>
                  <a:lnTo>
                    <a:pt x="120" y="123"/>
                  </a:lnTo>
                  <a:lnTo>
                    <a:pt x="130" y="128"/>
                  </a:lnTo>
                  <a:lnTo>
                    <a:pt x="134" y="123"/>
                  </a:lnTo>
                  <a:lnTo>
                    <a:pt x="130" y="106"/>
                  </a:lnTo>
                  <a:lnTo>
                    <a:pt x="134" y="95"/>
                  </a:lnTo>
                  <a:lnTo>
                    <a:pt x="151" y="95"/>
                  </a:lnTo>
                  <a:lnTo>
                    <a:pt x="168" y="123"/>
                  </a:lnTo>
                  <a:lnTo>
                    <a:pt x="134" y="140"/>
                  </a:lnTo>
                  <a:lnTo>
                    <a:pt x="134" y="140"/>
                  </a:lnTo>
                  <a:lnTo>
                    <a:pt x="134" y="14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1" name="Freeform 427">
              <a:extLst>
                <a:ext uri="{FF2B5EF4-FFF2-40B4-BE49-F238E27FC236}">
                  <a16:creationId xmlns:a16="http://schemas.microsoft.com/office/drawing/2014/main" id="{101F5965-639C-4814-B9C5-D8520452E0A8}"/>
                </a:ext>
              </a:extLst>
            </p:cNvPr>
            <p:cNvSpPr>
              <a:spLocks/>
            </p:cNvSpPr>
            <p:nvPr/>
          </p:nvSpPr>
          <p:spPr bwMode="gray">
            <a:xfrm>
              <a:off x="4949467" y="3597764"/>
              <a:ext cx="7822" cy="10705"/>
            </a:xfrm>
            <a:custGeom>
              <a:avLst/>
              <a:gdLst>
                <a:gd name="T0" fmla="*/ 7 w 19"/>
                <a:gd name="T1" fmla="*/ 26 h 26"/>
                <a:gd name="T2" fmla="*/ 0 w 19"/>
                <a:gd name="T3" fmla="*/ 5 h 26"/>
                <a:gd name="T4" fmla="*/ 0 w 19"/>
                <a:gd name="T5" fmla="*/ 0 h 26"/>
                <a:gd name="T6" fmla="*/ 19 w 19"/>
                <a:gd name="T7" fmla="*/ 14 h 26"/>
                <a:gd name="T8" fmla="*/ 19 w 19"/>
                <a:gd name="T9" fmla="*/ 26 h 26"/>
                <a:gd name="T10" fmla="*/ 7 w 19"/>
                <a:gd name="T11" fmla="*/ 26 h 26"/>
                <a:gd name="T12" fmla="*/ 7 w 19"/>
                <a:gd name="T13" fmla="*/ 26 h 26"/>
                <a:gd name="T14" fmla="*/ 7 w 19"/>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26">
                  <a:moveTo>
                    <a:pt x="7" y="26"/>
                  </a:moveTo>
                  <a:lnTo>
                    <a:pt x="0" y="5"/>
                  </a:lnTo>
                  <a:lnTo>
                    <a:pt x="0" y="0"/>
                  </a:lnTo>
                  <a:lnTo>
                    <a:pt x="19" y="14"/>
                  </a:lnTo>
                  <a:lnTo>
                    <a:pt x="19" y="26"/>
                  </a:lnTo>
                  <a:lnTo>
                    <a:pt x="7" y="26"/>
                  </a:lnTo>
                  <a:lnTo>
                    <a:pt x="7" y="26"/>
                  </a:lnTo>
                  <a:lnTo>
                    <a:pt x="7" y="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2" name="Freeform 428">
              <a:extLst>
                <a:ext uri="{FF2B5EF4-FFF2-40B4-BE49-F238E27FC236}">
                  <a16:creationId xmlns:a16="http://schemas.microsoft.com/office/drawing/2014/main" id="{6330E700-7DD9-41EE-9671-417AD4A358CF}"/>
                </a:ext>
              </a:extLst>
            </p:cNvPr>
            <p:cNvSpPr>
              <a:spLocks noEditPoints="1"/>
            </p:cNvSpPr>
            <p:nvPr/>
          </p:nvSpPr>
          <p:spPr bwMode="gray">
            <a:xfrm>
              <a:off x="4646066" y="3466426"/>
              <a:ext cx="106212" cy="74933"/>
            </a:xfrm>
            <a:custGeom>
              <a:avLst/>
              <a:gdLst>
                <a:gd name="T0" fmla="*/ 21 w 258"/>
                <a:gd name="T1" fmla="*/ 142 h 182"/>
                <a:gd name="T2" fmla="*/ 21 w 258"/>
                <a:gd name="T3" fmla="*/ 118 h 182"/>
                <a:gd name="T4" fmla="*/ 5 w 258"/>
                <a:gd name="T5" fmla="*/ 114 h 182"/>
                <a:gd name="T6" fmla="*/ 0 w 258"/>
                <a:gd name="T7" fmla="*/ 102 h 182"/>
                <a:gd name="T8" fmla="*/ 17 w 258"/>
                <a:gd name="T9" fmla="*/ 97 h 182"/>
                <a:gd name="T10" fmla="*/ 21 w 258"/>
                <a:gd name="T11" fmla="*/ 85 h 182"/>
                <a:gd name="T12" fmla="*/ 17 w 258"/>
                <a:gd name="T13" fmla="*/ 69 h 182"/>
                <a:gd name="T14" fmla="*/ 26 w 258"/>
                <a:gd name="T15" fmla="*/ 57 h 182"/>
                <a:gd name="T16" fmla="*/ 21 w 258"/>
                <a:gd name="T17" fmla="*/ 45 h 182"/>
                <a:gd name="T18" fmla="*/ 21 w 258"/>
                <a:gd name="T19" fmla="*/ 29 h 182"/>
                <a:gd name="T20" fmla="*/ 21 w 258"/>
                <a:gd name="T21" fmla="*/ 12 h 182"/>
                <a:gd name="T22" fmla="*/ 21 w 258"/>
                <a:gd name="T23" fmla="*/ 0 h 182"/>
                <a:gd name="T24" fmla="*/ 52 w 258"/>
                <a:gd name="T25" fmla="*/ 7 h 182"/>
                <a:gd name="T26" fmla="*/ 76 w 258"/>
                <a:gd name="T27" fmla="*/ 0 h 182"/>
                <a:gd name="T28" fmla="*/ 97 w 258"/>
                <a:gd name="T29" fmla="*/ 12 h 182"/>
                <a:gd name="T30" fmla="*/ 106 w 258"/>
                <a:gd name="T31" fmla="*/ 7 h 182"/>
                <a:gd name="T32" fmla="*/ 123 w 258"/>
                <a:gd name="T33" fmla="*/ 24 h 182"/>
                <a:gd name="T34" fmla="*/ 144 w 258"/>
                <a:gd name="T35" fmla="*/ 12 h 182"/>
                <a:gd name="T36" fmla="*/ 161 w 258"/>
                <a:gd name="T37" fmla="*/ 45 h 182"/>
                <a:gd name="T38" fmla="*/ 199 w 258"/>
                <a:gd name="T39" fmla="*/ 40 h 182"/>
                <a:gd name="T40" fmla="*/ 199 w 258"/>
                <a:gd name="T41" fmla="*/ 45 h 182"/>
                <a:gd name="T42" fmla="*/ 199 w 258"/>
                <a:gd name="T43" fmla="*/ 57 h 182"/>
                <a:gd name="T44" fmla="*/ 166 w 258"/>
                <a:gd name="T45" fmla="*/ 57 h 182"/>
                <a:gd name="T46" fmla="*/ 166 w 258"/>
                <a:gd name="T47" fmla="*/ 64 h 182"/>
                <a:gd name="T48" fmla="*/ 215 w 258"/>
                <a:gd name="T49" fmla="*/ 69 h 182"/>
                <a:gd name="T50" fmla="*/ 258 w 258"/>
                <a:gd name="T51" fmla="*/ 102 h 182"/>
                <a:gd name="T52" fmla="*/ 253 w 258"/>
                <a:gd name="T53" fmla="*/ 118 h 182"/>
                <a:gd name="T54" fmla="*/ 236 w 258"/>
                <a:gd name="T55" fmla="*/ 118 h 182"/>
                <a:gd name="T56" fmla="*/ 236 w 258"/>
                <a:gd name="T57" fmla="*/ 125 h 182"/>
                <a:gd name="T58" fmla="*/ 229 w 258"/>
                <a:gd name="T59" fmla="*/ 125 h 182"/>
                <a:gd name="T60" fmla="*/ 220 w 258"/>
                <a:gd name="T61" fmla="*/ 114 h 182"/>
                <a:gd name="T62" fmla="*/ 149 w 258"/>
                <a:gd name="T63" fmla="*/ 114 h 182"/>
                <a:gd name="T64" fmla="*/ 128 w 258"/>
                <a:gd name="T65" fmla="*/ 125 h 182"/>
                <a:gd name="T66" fmla="*/ 106 w 258"/>
                <a:gd name="T67" fmla="*/ 125 h 182"/>
                <a:gd name="T68" fmla="*/ 97 w 258"/>
                <a:gd name="T69" fmla="*/ 114 h 182"/>
                <a:gd name="T70" fmla="*/ 90 w 258"/>
                <a:gd name="T71" fmla="*/ 114 h 182"/>
                <a:gd name="T72" fmla="*/ 76 w 258"/>
                <a:gd name="T73" fmla="*/ 125 h 182"/>
                <a:gd name="T74" fmla="*/ 69 w 258"/>
                <a:gd name="T75" fmla="*/ 118 h 182"/>
                <a:gd name="T76" fmla="*/ 69 w 258"/>
                <a:gd name="T77" fmla="*/ 137 h 182"/>
                <a:gd name="T78" fmla="*/ 43 w 258"/>
                <a:gd name="T79" fmla="*/ 175 h 182"/>
                <a:gd name="T80" fmla="*/ 21 w 258"/>
                <a:gd name="T81" fmla="*/ 142 h 182"/>
                <a:gd name="T82" fmla="*/ 21 w 258"/>
                <a:gd name="T83" fmla="*/ 142 h 182"/>
                <a:gd name="T84" fmla="*/ 21 w 258"/>
                <a:gd name="T85" fmla="*/ 142 h 182"/>
                <a:gd name="T86" fmla="*/ 38 w 258"/>
                <a:gd name="T87" fmla="*/ 182 h 182"/>
                <a:gd name="T88" fmla="*/ 38 w 258"/>
                <a:gd name="T89" fmla="*/ 175 h 182"/>
                <a:gd name="T90" fmla="*/ 38 w 258"/>
                <a:gd name="T91" fmla="*/ 175 h 182"/>
                <a:gd name="T92" fmla="*/ 38 w 258"/>
                <a:gd name="T93" fmla="*/ 182 h 182"/>
                <a:gd name="T94" fmla="*/ 38 w 258"/>
                <a:gd name="T95" fmla="*/ 182 h 182"/>
                <a:gd name="T96" fmla="*/ 38 w 258"/>
                <a:gd name="T9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8" h="182">
                  <a:moveTo>
                    <a:pt x="21" y="142"/>
                  </a:moveTo>
                  <a:lnTo>
                    <a:pt x="21" y="118"/>
                  </a:lnTo>
                  <a:lnTo>
                    <a:pt x="5" y="114"/>
                  </a:lnTo>
                  <a:lnTo>
                    <a:pt x="0" y="102"/>
                  </a:lnTo>
                  <a:lnTo>
                    <a:pt x="17" y="97"/>
                  </a:lnTo>
                  <a:lnTo>
                    <a:pt x="21" y="85"/>
                  </a:lnTo>
                  <a:lnTo>
                    <a:pt x="17" y="69"/>
                  </a:lnTo>
                  <a:lnTo>
                    <a:pt x="26" y="57"/>
                  </a:lnTo>
                  <a:lnTo>
                    <a:pt x="21" y="45"/>
                  </a:lnTo>
                  <a:lnTo>
                    <a:pt x="21" y="29"/>
                  </a:lnTo>
                  <a:lnTo>
                    <a:pt x="21" y="12"/>
                  </a:lnTo>
                  <a:lnTo>
                    <a:pt x="21" y="0"/>
                  </a:lnTo>
                  <a:lnTo>
                    <a:pt x="52" y="7"/>
                  </a:lnTo>
                  <a:lnTo>
                    <a:pt x="76" y="0"/>
                  </a:lnTo>
                  <a:lnTo>
                    <a:pt x="97" y="12"/>
                  </a:lnTo>
                  <a:lnTo>
                    <a:pt x="106" y="7"/>
                  </a:lnTo>
                  <a:lnTo>
                    <a:pt x="123" y="24"/>
                  </a:lnTo>
                  <a:lnTo>
                    <a:pt x="144" y="12"/>
                  </a:lnTo>
                  <a:lnTo>
                    <a:pt x="161" y="45"/>
                  </a:lnTo>
                  <a:lnTo>
                    <a:pt x="199" y="40"/>
                  </a:lnTo>
                  <a:lnTo>
                    <a:pt x="199" y="45"/>
                  </a:lnTo>
                  <a:lnTo>
                    <a:pt x="199" y="57"/>
                  </a:lnTo>
                  <a:lnTo>
                    <a:pt x="166" y="57"/>
                  </a:lnTo>
                  <a:lnTo>
                    <a:pt x="166" y="64"/>
                  </a:lnTo>
                  <a:lnTo>
                    <a:pt x="215" y="69"/>
                  </a:lnTo>
                  <a:lnTo>
                    <a:pt x="258" y="102"/>
                  </a:lnTo>
                  <a:lnTo>
                    <a:pt x="253" y="118"/>
                  </a:lnTo>
                  <a:lnTo>
                    <a:pt x="236" y="118"/>
                  </a:lnTo>
                  <a:lnTo>
                    <a:pt x="236" y="125"/>
                  </a:lnTo>
                  <a:lnTo>
                    <a:pt x="229" y="125"/>
                  </a:lnTo>
                  <a:lnTo>
                    <a:pt x="220" y="114"/>
                  </a:lnTo>
                  <a:lnTo>
                    <a:pt x="149" y="114"/>
                  </a:lnTo>
                  <a:lnTo>
                    <a:pt x="128" y="125"/>
                  </a:lnTo>
                  <a:lnTo>
                    <a:pt x="106" y="125"/>
                  </a:lnTo>
                  <a:lnTo>
                    <a:pt x="97" y="114"/>
                  </a:lnTo>
                  <a:lnTo>
                    <a:pt x="90" y="114"/>
                  </a:lnTo>
                  <a:lnTo>
                    <a:pt x="76" y="125"/>
                  </a:lnTo>
                  <a:lnTo>
                    <a:pt x="69" y="118"/>
                  </a:lnTo>
                  <a:lnTo>
                    <a:pt x="69" y="137"/>
                  </a:lnTo>
                  <a:lnTo>
                    <a:pt x="43" y="175"/>
                  </a:lnTo>
                  <a:lnTo>
                    <a:pt x="21" y="142"/>
                  </a:lnTo>
                  <a:lnTo>
                    <a:pt x="21" y="142"/>
                  </a:lnTo>
                  <a:lnTo>
                    <a:pt x="21" y="142"/>
                  </a:lnTo>
                  <a:close/>
                  <a:moveTo>
                    <a:pt x="38" y="182"/>
                  </a:moveTo>
                  <a:lnTo>
                    <a:pt x="38" y="175"/>
                  </a:lnTo>
                  <a:lnTo>
                    <a:pt x="38" y="175"/>
                  </a:lnTo>
                  <a:lnTo>
                    <a:pt x="38" y="182"/>
                  </a:lnTo>
                  <a:lnTo>
                    <a:pt x="38" y="182"/>
                  </a:lnTo>
                  <a:lnTo>
                    <a:pt x="38" y="18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3" name="Freeform 429">
              <a:extLst>
                <a:ext uri="{FF2B5EF4-FFF2-40B4-BE49-F238E27FC236}">
                  <a16:creationId xmlns:a16="http://schemas.microsoft.com/office/drawing/2014/main" id="{5CFB5C45-1ACA-4E7A-BE12-9FC97B7AAFEF}"/>
                </a:ext>
              </a:extLst>
            </p:cNvPr>
            <p:cNvSpPr>
              <a:spLocks noEditPoints="1"/>
            </p:cNvSpPr>
            <p:nvPr/>
          </p:nvSpPr>
          <p:spPr bwMode="gray">
            <a:xfrm>
              <a:off x="4079196" y="4024713"/>
              <a:ext cx="473420" cy="189801"/>
            </a:xfrm>
            <a:custGeom>
              <a:avLst/>
              <a:gdLst>
                <a:gd name="T0" fmla="*/ 966 w 1150"/>
                <a:gd name="T1" fmla="*/ 40 h 461"/>
                <a:gd name="T2" fmla="*/ 999 w 1150"/>
                <a:gd name="T3" fmla="*/ 57 h 461"/>
                <a:gd name="T4" fmla="*/ 1068 w 1150"/>
                <a:gd name="T5" fmla="*/ 78 h 461"/>
                <a:gd name="T6" fmla="*/ 1096 w 1150"/>
                <a:gd name="T7" fmla="*/ 78 h 461"/>
                <a:gd name="T8" fmla="*/ 1122 w 1150"/>
                <a:gd name="T9" fmla="*/ 111 h 461"/>
                <a:gd name="T10" fmla="*/ 1150 w 1150"/>
                <a:gd name="T11" fmla="*/ 168 h 461"/>
                <a:gd name="T12" fmla="*/ 1089 w 1150"/>
                <a:gd name="T13" fmla="*/ 255 h 461"/>
                <a:gd name="T14" fmla="*/ 945 w 1150"/>
                <a:gd name="T15" fmla="*/ 338 h 461"/>
                <a:gd name="T16" fmla="*/ 928 w 1150"/>
                <a:gd name="T17" fmla="*/ 371 h 461"/>
                <a:gd name="T18" fmla="*/ 895 w 1150"/>
                <a:gd name="T19" fmla="*/ 437 h 461"/>
                <a:gd name="T20" fmla="*/ 841 w 1150"/>
                <a:gd name="T21" fmla="*/ 421 h 461"/>
                <a:gd name="T22" fmla="*/ 787 w 1150"/>
                <a:gd name="T23" fmla="*/ 421 h 461"/>
                <a:gd name="T24" fmla="*/ 782 w 1150"/>
                <a:gd name="T25" fmla="*/ 404 h 461"/>
                <a:gd name="T26" fmla="*/ 803 w 1150"/>
                <a:gd name="T27" fmla="*/ 383 h 461"/>
                <a:gd name="T28" fmla="*/ 820 w 1150"/>
                <a:gd name="T29" fmla="*/ 333 h 461"/>
                <a:gd name="T30" fmla="*/ 836 w 1150"/>
                <a:gd name="T31" fmla="*/ 243 h 461"/>
                <a:gd name="T32" fmla="*/ 810 w 1150"/>
                <a:gd name="T33" fmla="*/ 284 h 461"/>
                <a:gd name="T34" fmla="*/ 798 w 1150"/>
                <a:gd name="T35" fmla="*/ 293 h 461"/>
                <a:gd name="T36" fmla="*/ 765 w 1150"/>
                <a:gd name="T37" fmla="*/ 255 h 461"/>
                <a:gd name="T38" fmla="*/ 765 w 1150"/>
                <a:gd name="T39" fmla="*/ 201 h 461"/>
                <a:gd name="T40" fmla="*/ 772 w 1150"/>
                <a:gd name="T41" fmla="*/ 168 h 461"/>
                <a:gd name="T42" fmla="*/ 787 w 1150"/>
                <a:gd name="T43" fmla="*/ 144 h 461"/>
                <a:gd name="T44" fmla="*/ 820 w 1150"/>
                <a:gd name="T45" fmla="*/ 73 h 461"/>
                <a:gd name="T46" fmla="*/ 891 w 1150"/>
                <a:gd name="T47" fmla="*/ 17 h 461"/>
                <a:gd name="T48" fmla="*/ 907 w 1150"/>
                <a:gd name="T49" fmla="*/ 0 h 461"/>
                <a:gd name="T50" fmla="*/ 895 w 1150"/>
                <a:gd name="T51" fmla="*/ 0 h 461"/>
                <a:gd name="T52" fmla="*/ 891 w 1150"/>
                <a:gd name="T53" fmla="*/ 7 h 461"/>
                <a:gd name="T54" fmla="*/ 80 w 1150"/>
                <a:gd name="T55" fmla="*/ 73 h 461"/>
                <a:gd name="T56" fmla="*/ 80 w 1150"/>
                <a:gd name="T57" fmla="*/ 78 h 461"/>
                <a:gd name="T58" fmla="*/ 14 w 1150"/>
                <a:gd name="T59" fmla="*/ 172 h 461"/>
                <a:gd name="T60" fmla="*/ 31 w 1150"/>
                <a:gd name="T61" fmla="*/ 151 h 461"/>
                <a:gd name="T62" fmla="*/ 14 w 1150"/>
                <a:gd name="T63" fmla="*/ 106 h 461"/>
                <a:gd name="T64" fmla="*/ 31 w 1150"/>
                <a:gd name="T65" fmla="*/ 106 h 461"/>
                <a:gd name="T66" fmla="*/ 47 w 1150"/>
                <a:gd name="T67" fmla="*/ 144 h 461"/>
                <a:gd name="T68" fmla="*/ 31 w 1150"/>
                <a:gd name="T69" fmla="*/ 172 h 461"/>
                <a:gd name="T70" fmla="*/ 69 w 1150"/>
                <a:gd name="T71" fmla="*/ 128 h 461"/>
                <a:gd name="T72" fmla="*/ 69 w 1150"/>
                <a:gd name="T73" fmla="*/ 118 h 461"/>
                <a:gd name="T74" fmla="*/ 69 w 1150"/>
                <a:gd name="T75" fmla="*/ 128 h 461"/>
                <a:gd name="T76" fmla="*/ 0 w 1150"/>
                <a:gd name="T77" fmla="*/ 128 h 461"/>
                <a:gd name="T78" fmla="*/ 9 w 1150"/>
                <a:gd name="T79" fmla="*/ 135 h 461"/>
                <a:gd name="T80" fmla="*/ 97 w 1150"/>
                <a:gd name="T81" fmla="*/ 161 h 461"/>
                <a:gd name="T82" fmla="*/ 102 w 1150"/>
                <a:gd name="T83" fmla="*/ 144 h 461"/>
                <a:gd name="T84" fmla="*/ 97 w 1150"/>
                <a:gd name="T85" fmla="*/ 161 h 461"/>
                <a:gd name="T86" fmla="*/ 139 w 1150"/>
                <a:gd name="T87" fmla="*/ 168 h 461"/>
                <a:gd name="T88" fmla="*/ 151 w 1150"/>
                <a:gd name="T89" fmla="*/ 168 h 461"/>
                <a:gd name="T90" fmla="*/ 85 w 1150"/>
                <a:gd name="T91" fmla="*/ 201 h 461"/>
                <a:gd name="T92" fmla="*/ 85 w 1150"/>
                <a:gd name="T93" fmla="*/ 189 h 461"/>
                <a:gd name="T94" fmla="*/ 85 w 1150"/>
                <a:gd name="T95" fmla="*/ 201 h 461"/>
                <a:gd name="T96" fmla="*/ 803 w 1150"/>
                <a:gd name="T97" fmla="*/ 293 h 461"/>
                <a:gd name="T98" fmla="*/ 803 w 1150"/>
                <a:gd name="T99" fmla="*/ 317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50" h="461">
                  <a:moveTo>
                    <a:pt x="907" y="0"/>
                  </a:moveTo>
                  <a:lnTo>
                    <a:pt x="950" y="33"/>
                  </a:lnTo>
                  <a:lnTo>
                    <a:pt x="966" y="40"/>
                  </a:lnTo>
                  <a:lnTo>
                    <a:pt x="983" y="40"/>
                  </a:lnTo>
                  <a:lnTo>
                    <a:pt x="983" y="50"/>
                  </a:lnTo>
                  <a:lnTo>
                    <a:pt x="999" y="57"/>
                  </a:lnTo>
                  <a:lnTo>
                    <a:pt x="1004" y="73"/>
                  </a:lnTo>
                  <a:lnTo>
                    <a:pt x="1058" y="90"/>
                  </a:lnTo>
                  <a:lnTo>
                    <a:pt x="1068" y="78"/>
                  </a:lnTo>
                  <a:lnTo>
                    <a:pt x="1068" y="73"/>
                  </a:lnTo>
                  <a:lnTo>
                    <a:pt x="1080" y="73"/>
                  </a:lnTo>
                  <a:lnTo>
                    <a:pt x="1096" y="78"/>
                  </a:lnTo>
                  <a:lnTo>
                    <a:pt x="1113" y="95"/>
                  </a:lnTo>
                  <a:lnTo>
                    <a:pt x="1150" y="111"/>
                  </a:lnTo>
                  <a:lnTo>
                    <a:pt x="1122" y="111"/>
                  </a:lnTo>
                  <a:lnTo>
                    <a:pt x="1150" y="144"/>
                  </a:lnTo>
                  <a:lnTo>
                    <a:pt x="1150" y="151"/>
                  </a:lnTo>
                  <a:lnTo>
                    <a:pt x="1150" y="168"/>
                  </a:lnTo>
                  <a:lnTo>
                    <a:pt x="1143" y="168"/>
                  </a:lnTo>
                  <a:lnTo>
                    <a:pt x="1127" y="217"/>
                  </a:lnTo>
                  <a:lnTo>
                    <a:pt x="1089" y="255"/>
                  </a:lnTo>
                  <a:lnTo>
                    <a:pt x="1051" y="284"/>
                  </a:lnTo>
                  <a:lnTo>
                    <a:pt x="966" y="317"/>
                  </a:lnTo>
                  <a:lnTo>
                    <a:pt x="945" y="338"/>
                  </a:lnTo>
                  <a:lnTo>
                    <a:pt x="945" y="354"/>
                  </a:lnTo>
                  <a:lnTo>
                    <a:pt x="933" y="350"/>
                  </a:lnTo>
                  <a:lnTo>
                    <a:pt x="928" y="371"/>
                  </a:lnTo>
                  <a:lnTo>
                    <a:pt x="912" y="411"/>
                  </a:lnTo>
                  <a:lnTo>
                    <a:pt x="912" y="428"/>
                  </a:lnTo>
                  <a:lnTo>
                    <a:pt x="895" y="437"/>
                  </a:lnTo>
                  <a:lnTo>
                    <a:pt x="879" y="461"/>
                  </a:lnTo>
                  <a:lnTo>
                    <a:pt x="862" y="461"/>
                  </a:lnTo>
                  <a:lnTo>
                    <a:pt x="841" y="421"/>
                  </a:lnTo>
                  <a:lnTo>
                    <a:pt x="824" y="421"/>
                  </a:lnTo>
                  <a:lnTo>
                    <a:pt x="803" y="411"/>
                  </a:lnTo>
                  <a:lnTo>
                    <a:pt x="787" y="421"/>
                  </a:lnTo>
                  <a:lnTo>
                    <a:pt x="782" y="421"/>
                  </a:lnTo>
                  <a:lnTo>
                    <a:pt x="798" y="404"/>
                  </a:lnTo>
                  <a:lnTo>
                    <a:pt x="782" y="404"/>
                  </a:lnTo>
                  <a:lnTo>
                    <a:pt x="782" y="387"/>
                  </a:lnTo>
                  <a:lnTo>
                    <a:pt x="798" y="387"/>
                  </a:lnTo>
                  <a:lnTo>
                    <a:pt x="803" y="383"/>
                  </a:lnTo>
                  <a:lnTo>
                    <a:pt x="798" y="350"/>
                  </a:lnTo>
                  <a:lnTo>
                    <a:pt x="798" y="338"/>
                  </a:lnTo>
                  <a:lnTo>
                    <a:pt x="820" y="333"/>
                  </a:lnTo>
                  <a:lnTo>
                    <a:pt x="836" y="284"/>
                  </a:lnTo>
                  <a:lnTo>
                    <a:pt x="824" y="272"/>
                  </a:lnTo>
                  <a:lnTo>
                    <a:pt x="836" y="243"/>
                  </a:lnTo>
                  <a:lnTo>
                    <a:pt x="824" y="255"/>
                  </a:lnTo>
                  <a:lnTo>
                    <a:pt x="824" y="284"/>
                  </a:lnTo>
                  <a:lnTo>
                    <a:pt x="810" y="284"/>
                  </a:lnTo>
                  <a:lnTo>
                    <a:pt x="820" y="272"/>
                  </a:lnTo>
                  <a:lnTo>
                    <a:pt x="820" y="272"/>
                  </a:lnTo>
                  <a:lnTo>
                    <a:pt x="798" y="293"/>
                  </a:lnTo>
                  <a:lnTo>
                    <a:pt x="756" y="272"/>
                  </a:lnTo>
                  <a:lnTo>
                    <a:pt x="749" y="255"/>
                  </a:lnTo>
                  <a:lnTo>
                    <a:pt x="765" y="255"/>
                  </a:lnTo>
                  <a:lnTo>
                    <a:pt x="765" y="239"/>
                  </a:lnTo>
                  <a:lnTo>
                    <a:pt x="756" y="217"/>
                  </a:lnTo>
                  <a:lnTo>
                    <a:pt x="765" y="201"/>
                  </a:lnTo>
                  <a:lnTo>
                    <a:pt x="749" y="172"/>
                  </a:lnTo>
                  <a:lnTo>
                    <a:pt x="756" y="168"/>
                  </a:lnTo>
                  <a:lnTo>
                    <a:pt x="772" y="168"/>
                  </a:lnTo>
                  <a:lnTo>
                    <a:pt x="787" y="144"/>
                  </a:lnTo>
                  <a:lnTo>
                    <a:pt x="798" y="144"/>
                  </a:lnTo>
                  <a:lnTo>
                    <a:pt x="787" y="144"/>
                  </a:lnTo>
                  <a:lnTo>
                    <a:pt x="782" y="128"/>
                  </a:lnTo>
                  <a:lnTo>
                    <a:pt x="810" y="95"/>
                  </a:lnTo>
                  <a:lnTo>
                    <a:pt x="820" y="73"/>
                  </a:lnTo>
                  <a:lnTo>
                    <a:pt x="810" y="50"/>
                  </a:lnTo>
                  <a:lnTo>
                    <a:pt x="810" y="40"/>
                  </a:lnTo>
                  <a:lnTo>
                    <a:pt x="891" y="17"/>
                  </a:lnTo>
                  <a:lnTo>
                    <a:pt x="907" y="0"/>
                  </a:lnTo>
                  <a:lnTo>
                    <a:pt x="907" y="0"/>
                  </a:lnTo>
                  <a:lnTo>
                    <a:pt x="907" y="0"/>
                  </a:lnTo>
                  <a:close/>
                  <a:moveTo>
                    <a:pt x="891" y="7"/>
                  </a:moveTo>
                  <a:lnTo>
                    <a:pt x="891" y="7"/>
                  </a:lnTo>
                  <a:lnTo>
                    <a:pt x="895" y="0"/>
                  </a:lnTo>
                  <a:lnTo>
                    <a:pt x="891" y="7"/>
                  </a:lnTo>
                  <a:lnTo>
                    <a:pt x="891" y="7"/>
                  </a:lnTo>
                  <a:lnTo>
                    <a:pt x="891" y="7"/>
                  </a:lnTo>
                  <a:close/>
                  <a:moveTo>
                    <a:pt x="80" y="78"/>
                  </a:moveTo>
                  <a:lnTo>
                    <a:pt x="80" y="78"/>
                  </a:lnTo>
                  <a:lnTo>
                    <a:pt x="80" y="73"/>
                  </a:lnTo>
                  <a:lnTo>
                    <a:pt x="85" y="78"/>
                  </a:lnTo>
                  <a:lnTo>
                    <a:pt x="80" y="78"/>
                  </a:lnTo>
                  <a:lnTo>
                    <a:pt x="80" y="78"/>
                  </a:lnTo>
                  <a:lnTo>
                    <a:pt x="80" y="78"/>
                  </a:lnTo>
                  <a:close/>
                  <a:moveTo>
                    <a:pt x="31" y="172"/>
                  </a:moveTo>
                  <a:lnTo>
                    <a:pt x="14" y="172"/>
                  </a:lnTo>
                  <a:lnTo>
                    <a:pt x="9" y="168"/>
                  </a:lnTo>
                  <a:lnTo>
                    <a:pt x="26" y="151"/>
                  </a:lnTo>
                  <a:lnTo>
                    <a:pt x="31" y="151"/>
                  </a:lnTo>
                  <a:lnTo>
                    <a:pt x="43" y="144"/>
                  </a:lnTo>
                  <a:lnTo>
                    <a:pt x="14" y="118"/>
                  </a:lnTo>
                  <a:lnTo>
                    <a:pt x="14" y="106"/>
                  </a:lnTo>
                  <a:lnTo>
                    <a:pt x="0" y="106"/>
                  </a:lnTo>
                  <a:lnTo>
                    <a:pt x="14" y="90"/>
                  </a:lnTo>
                  <a:lnTo>
                    <a:pt x="31" y="106"/>
                  </a:lnTo>
                  <a:lnTo>
                    <a:pt x="31" y="118"/>
                  </a:lnTo>
                  <a:lnTo>
                    <a:pt x="47" y="128"/>
                  </a:lnTo>
                  <a:lnTo>
                    <a:pt x="47" y="144"/>
                  </a:lnTo>
                  <a:lnTo>
                    <a:pt x="52" y="151"/>
                  </a:lnTo>
                  <a:lnTo>
                    <a:pt x="47" y="168"/>
                  </a:lnTo>
                  <a:lnTo>
                    <a:pt x="31" y="172"/>
                  </a:lnTo>
                  <a:lnTo>
                    <a:pt x="31" y="172"/>
                  </a:lnTo>
                  <a:lnTo>
                    <a:pt x="31" y="172"/>
                  </a:lnTo>
                  <a:close/>
                  <a:moveTo>
                    <a:pt x="69" y="128"/>
                  </a:moveTo>
                  <a:lnTo>
                    <a:pt x="52" y="128"/>
                  </a:lnTo>
                  <a:lnTo>
                    <a:pt x="52" y="111"/>
                  </a:lnTo>
                  <a:lnTo>
                    <a:pt x="69" y="118"/>
                  </a:lnTo>
                  <a:lnTo>
                    <a:pt x="80" y="118"/>
                  </a:lnTo>
                  <a:lnTo>
                    <a:pt x="69" y="128"/>
                  </a:lnTo>
                  <a:lnTo>
                    <a:pt x="69" y="128"/>
                  </a:lnTo>
                  <a:lnTo>
                    <a:pt x="69" y="128"/>
                  </a:lnTo>
                  <a:close/>
                  <a:moveTo>
                    <a:pt x="9" y="135"/>
                  </a:moveTo>
                  <a:lnTo>
                    <a:pt x="0" y="128"/>
                  </a:lnTo>
                  <a:lnTo>
                    <a:pt x="9" y="118"/>
                  </a:lnTo>
                  <a:lnTo>
                    <a:pt x="14" y="135"/>
                  </a:lnTo>
                  <a:lnTo>
                    <a:pt x="9" y="135"/>
                  </a:lnTo>
                  <a:lnTo>
                    <a:pt x="9" y="135"/>
                  </a:lnTo>
                  <a:lnTo>
                    <a:pt x="9" y="135"/>
                  </a:lnTo>
                  <a:close/>
                  <a:moveTo>
                    <a:pt x="97" y="161"/>
                  </a:moveTo>
                  <a:lnTo>
                    <a:pt x="80" y="151"/>
                  </a:lnTo>
                  <a:lnTo>
                    <a:pt x="80" y="135"/>
                  </a:lnTo>
                  <a:lnTo>
                    <a:pt x="102" y="144"/>
                  </a:lnTo>
                  <a:lnTo>
                    <a:pt x="102" y="151"/>
                  </a:lnTo>
                  <a:lnTo>
                    <a:pt x="97" y="161"/>
                  </a:lnTo>
                  <a:lnTo>
                    <a:pt x="97" y="161"/>
                  </a:lnTo>
                  <a:lnTo>
                    <a:pt x="97" y="161"/>
                  </a:lnTo>
                  <a:close/>
                  <a:moveTo>
                    <a:pt x="151" y="168"/>
                  </a:moveTo>
                  <a:lnTo>
                    <a:pt x="139" y="168"/>
                  </a:lnTo>
                  <a:lnTo>
                    <a:pt x="172" y="151"/>
                  </a:lnTo>
                  <a:lnTo>
                    <a:pt x="156" y="168"/>
                  </a:lnTo>
                  <a:lnTo>
                    <a:pt x="151" y="168"/>
                  </a:lnTo>
                  <a:lnTo>
                    <a:pt x="151" y="168"/>
                  </a:lnTo>
                  <a:lnTo>
                    <a:pt x="151" y="168"/>
                  </a:lnTo>
                  <a:close/>
                  <a:moveTo>
                    <a:pt x="85" y="201"/>
                  </a:moveTo>
                  <a:lnTo>
                    <a:pt x="80" y="189"/>
                  </a:lnTo>
                  <a:lnTo>
                    <a:pt x="80" y="189"/>
                  </a:lnTo>
                  <a:lnTo>
                    <a:pt x="85" y="189"/>
                  </a:lnTo>
                  <a:lnTo>
                    <a:pt x="85" y="201"/>
                  </a:lnTo>
                  <a:lnTo>
                    <a:pt x="85" y="201"/>
                  </a:lnTo>
                  <a:lnTo>
                    <a:pt x="85" y="201"/>
                  </a:lnTo>
                  <a:close/>
                  <a:moveTo>
                    <a:pt x="803" y="317"/>
                  </a:moveTo>
                  <a:lnTo>
                    <a:pt x="798" y="317"/>
                  </a:lnTo>
                  <a:lnTo>
                    <a:pt x="803" y="293"/>
                  </a:lnTo>
                  <a:lnTo>
                    <a:pt x="820" y="293"/>
                  </a:lnTo>
                  <a:lnTo>
                    <a:pt x="824" y="293"/>
                  </a:lnTo>
                  <a:lnTo>
                    <a:pt x="803" y="317"/>
                  </a:lnTo>
                  <a:lnTo>
                    <a:pt x="803" y="317"/>
                  </a:lnTo>
                  <a:lnTo>
                    <a:pt x="803" y="3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9" name="Freeform 435">
              <a:extLst>
                <a:ext uri="{FF2B5EF4-FFF2-40B4-BE49-F238E27FC236}">
                  <a16:creationId xmlns:a16="http://schemas.microsoft.com/office/drawing/2014/main" id="{D70F083B-678C-42D4-BAF2-AC9130049054}"/>
                </a:ext>
              </a:extLst>
            </p:cNvPr>
            <p:cNvSpPr>
              <a:spLocks/>
            </p:cNvSpPr>
            <p:nvPr/>
          </p:nvSpPr>
          <p:spPr bwMode="gray">
            <a:xfrm>
              <a:off x="4122834" y="3636878"/>
              <a:ext cx="72865" cy="36644"/>
            </a:xfrm>
            <a:custGeom>
              <a:avLst/>
              <a:gdLst>
                <a:gd name="T0" fmla="*/ 0 w 177"/>
                <a:gd name="T1" fmla="*/ 44 h 89"/>
                <a:gd name="T2" fmla="*/ 12 w 177"/>
                <a:gd name="T3" fmla="*/ 33 h 89"/>
                <a:gd name="T4" fmla="*/ 45 w 177"/>
                <a:gd name="T5" fmla="*/ 4 h 89"/>
                <a:gd name="T6" fmla="*/ 45 w 177"/>
                <a:gd name="T7" fmla="*/ 0 h 89"/>
                <a:gd name="T8" fmla="*/ 55 w 177"/>
                <a:gd name="T9" fmla="*/ 0 h 89"/>
                <a:gd name="T10" fmla="*/ 83 w 177"/>
                <a:gd name="T11" fmla="*/ 0 h 89"/>
                <a:gd name="T12" fmla="*/ 100 w 177"/>
                <a:gd name="T13" fmla="*/ 21 h 89"/>
                <a:gd name="T14" fmla="*/ 100 w 177"/>
                <a:gd name="T15" fmla="*/ 16 h 89"/>
                <a:gd name="T16" fmla="*/ 111 w 177"/>
                <a:gd name="T17" fmla="*/ 33 h 89"/>
                <a:gd name="T18" fmla="*/ 121 w 177"/>
                <a:gd name="T19" fmla="*/ 37 h 89"/>
                <a:gd name="T20" fmla="*/ 144 w 177"/>
                <a:gd name="T21" fmla="*/ 33 h 89"/>
                <a:gd name="T22" fmla="*/ 154 w 177"/>
                <a:gd name="T23" fmla="*/ 37 h 89"/>
                <a:gd name="T24" fmla="*/ 166 w 177"/>
                <a:gd name="T25" fmla="*/ 33 h 89"/>
                <a:gd name="T26" fmla="*/ 177 w 177"/>
                <a:gd name="T27" fmla="*/ 37 h 89"/>
                <a:gd name="T28" fmla="*/ 166 w 177"/>
                <a:gd name="T29" fmla="*/ 61 h 89"/>
                <a:gd name="T30" fmla="*/ 177 w 177"/>
                <a:gd name="T31" fmla="*/ 61 h 89"/>
                <a:gd name="T32" fmla="*/ 166 w 177"/>
                <a:gd name="T33" fmla="*/ 73 h 89"/>
                <a:gd name="T34" fmla="*/ 161 w 177"/>
                <a:gd name="T35" fmla="*/ 73 h 89"/>
                <a:gd name="T36" fmla="*/ 166 w 177"/>
                <a:gd name="T37" fmla="*/ 78 h 89"/>
                <a:gd name="T38" fmla="*/ 161 w 177"/>
                <a:gd name="T39" fmla="*/ 89 h 89"/>
                <a:gd name="T40" fmla="*/ 100 w 177"/>
                <a:gd name="T41" fmla="*/ 78 h 89"/>
                <a:gd name="T42" fmla="*/ 111 w 177"/>
                <a:gd name="T43" fmla="*/ 89 h 89"/>
                <a:gd name="T44" fmla="*/ 55 w 177"/>
                <a:gd name="T45" fmla="*/ 61 h 89"/>
                <a:gd name="T46" fmla="*/ 29 w 177"/>
                <a:gd name="T47" fmla="*/ 61 h 89"/>
                <a:gd name="T48" fmla="*/ 0 w 177"/>
                <a:gd name="T49" fmla="*/ 44 h 89"/>
                <a:gd name="T50" fmla="*/ 0 w 177"/>
                <a:gd name="T51" fmla="*/ 44 h 89"/>
                <a:gd name="T52" fmla="*/ 0 w 177"/>
                <a:gd name="T53"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7" h="89">
                  <a:moveTo>
                    <a:pt x="0" y="44"/>
                  </a:moveTo>
                  <a:lnTo>
                    <a:pt x="12" y="33"/>
                  </a:lnTo>
                  <a:lnTo>
                    <a:pt x="45" y="4"/>
                  </a:lnTo>
                  <a:lnTo>
                    <a:pt x="45" y="0"/>
                  </a:lnTo>
                  <a:lnTo>
                    <a:pt x="55" y="0"/>
                  </a:lnTo>
                  <a:lnTo>
                    <a:pt x="83" y="0"/>
                  </a:lnTo>
                  <a:lnTo>
                    <a:pt x="100" y="21"/>
                  </a:lnTo>
                  <a:lnTo>
                    <a:pt x="100" y="16"/>
                  </a:lnTo>
                  <a:lnTo>
                    <a:pt x="111" y="33"/>
                  </a:lnTo>
                  <a:lnTo>
                    <a:pt x="121" y="37"/>
                  </a:lnTo>
                  <a:lnTo>
                    <a:pt x="144" y="33"/>
                  </a:lnTo>
                  <a:lnTo>
                    <a:pt x="154" y="37"/>
                  </a:lnTo>
                  <a:lnTo>
                    <a:pt x="166" y="33"/>
                  </a:lnTo>
                  <a:lnTo>
                    <a:pt x="177" y="37"/>
                  </a:lnTo>
                  <a:lnTo>
                    <a:pt x="166" y="61"/>
                  </a:lnTo>
                  <a:lnTo>
                    <a:pt x="177" y="61"/>
                  </a:lnTo>
                  <a:lnTo>
                    <a:pt x="166" y="73"/>
                  </a:lnTo>
                  <a:lnTo>
                    <a:pt x="161" y="73"/>
                  </a:lnTo>
                  <a:lnTo>
                    <a:pt x="166" y="78"/>
                  </a:lnTo>
                  <a:lnTo>
                    <a:pt x="161" y="89"/>
                  </a:lnTo>
                  <a:lnTo>
                    <a:pt x="100" y="78"/>
                  </a:lnTo>
                  <a:lnTo>
                    <a:pt x="111" y="89"/>
                  </a:lnTo>
                  <a:lnTo>
                    <a:pt x="55" y="61"/>
                  </a:lnTo>
                  <a:lnTo>
                    <a:pt x="29" y="61"/>
                  </a:lnTo>
                  <a:lnTo>
                    <a:pt x="0" y="44"/>
                  </a:lnTo>
                  <a:lnTo>
                    <a:pt x="0" y="44"/>
                  </a:lnTo>
                  <a:lnTo>
                    <a:pt x="0" y="4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2" name="Freeform 438">
              <a:extLst>
                <a:ext uri="{FF2B5EF4-FFF2-40B4-BE49-F238E27FC236}">
                  <a16:creationId xmlns:a16="http://schemas.microsoft.com/office/drawing/2014/main" id="{19CB4311-281F-4186-B249-8EDAE89BA7A8}"/>
                </a:ext>
              </a:extLst>
            </p:cNvPr>
            <p:cNvSpPr>
              <a:spLocks/>
            </p:cNvSpPr>
            <p:nvPr/>
          </p:nvSpPr>
          <p:spPr bwMode="gray">
            <a:xfrm>
              <a:off x="5150774" y="3894612"/>
              <a:ext cx="81922" cy="107870"/>
            </a:xfrm>
            <a:custGeom>
              <a:avLst/>
              <a:gdLst>
                <a:gd name="T0" fmla="*/ 0 w 199"/>
                <a:gd name="T1" fmla="*/ 245 h 262"/>
                <a:gd name="T2" fmla="*/ 17 w 199"/>
                <a:gd name="T3" fmla="*/ 238 h 262"/>
                <a:gd name="T4" fmla="*/ 21 w 199"/>
                <a:gd name="T5" fmla="*/ 212 h 262"/>
                <a:gd name="T6" fmla="*/ 21 w 199"/>
                <a:gd name="T7" fmla="*/ 189 h 262"/>
                <a:gd name="T8" fmla="*/ 33 w 199"/>
                <a:gd name="T9" fmla="*/ 184 h 262"/>
                <a:gd name="T10" fmla="*/ 38 w 199"/>
                <a:gd name="T11" fmla="*/ 155 h 262"/>
                <a:gd name="T12" fmla="*/ 17 w 199"/>
                <a:gd name="T13" fmla="*/ 127 h 262"/>
                <a:gd name="T14" fmla="*/ 7 w 199"/>
                <a:gd name="T15" fmla="*/ 73 h 262"/>
                <a:gd name="T16" fmla="*/ 7 w 199"/>
                <a:gd name="T17" fmla="*/ 54 h 262"/>
                <a:gd name="T18" fmla="*/ 33 w 199"/>
                <a:gd name="T19" fmla="*/ 28 h 262"/>
                <a:gd name="T20" fmla="*/ 38 w 199"/>
                <a:gd name="T21" fmla="*/ 4 h 262"/>
                <a:gd name="T22" fmla="*/ 50 w 199"/>
                <a:gd name="T23" fmla="*/ 0 h 262"/>
                <a:gd name="T24" fmla="*/ 76 w 199"/>
                <a:gd name="T25" fmla="*/ 16 h 262"/>
                <a:gd name="T26" fmla="*/ 114 w 199"/>
                <a:gd name="T27" fmla="*/ 21 h 262"/>
                <a:gd name="T28" fmla="*/ 177 w 199"/>
                <a:gd name="T29" fmla="*/ 77 h 262"/>
                <a:gd name="T30" fmla="*/ 182 w 199"/>
                <a:gd name="T31" fmla="*/ 94 h 262"/>
                <a:gd name="T32" fmla="*/ 177 w 199"/>
                <a:gd name="T33" fmla="*/ 99 h 262"/>
                <a:gd name="T34" fmla="*/ 182 w 199"/>
                <a:gd name="T35" fmla="*/ 99 h 262"/>
                <a:gd name="T36" fmla="*/ 182 w 199"/>
                <a:gd name="T37" fmla="*/ 77 h 262"/>
                <a:gd name="T38" fmla="*/ 194 w 199"/>
                <a:gd name="T39" fmla="*/ 82 h 262"/>
                <a:gd name="T40" fmla="*/ 199 w 199"/>
                <a:gd name="T41" fmla="*/ 111 h 262"/>
                <a:gd name="T42" fmla="*/ 199 w 199"/>
                <a:gd name="T43" fmla="*/ 127 h 262"/>
                <a:gd name="T44" fmla="*/ 156 w 199"/>
                <a:gd name="T45" fmla="*/ 189 h 262"/>
                <a:gd name="T46" fmla="*/ 139 w 199"/>
                <a:gd name="T47" fmla="*/ 238 h 262"/>
                <a:gd name="T48" fmla="*/ 114 w 199"/>
                <a:gd name="T49" fmla="*/ 262 h 262"/>
                <a:gd name="T50" fmla="*/ 92 w 199"/>
                <a:gd name="T51" fmla="*/ 262 h 262"/>
                <a:gd name="T52" fmla="*/ 85 w 199"/>
                <a:gd name="T53" fmla="*/ 245 h 262"/>
                <a:gd name="T54" fmla="*/ 71 w 199"/>
                <a:gd name="T55" fmla="*/ 250 h 262"/>
                <a:gd name="T56" fmla="*/ 54 w 199"/>
                <a:gd name="T57" fmla="*/ 245 h 262"/>
                <a:gd name="T58" fmla="*/ 33 w 199"/>
                <a:gd name="T59" fmla="*/ 262 h 262"/>
                <a:gd name="T60" fmla="*/ 0 w 199"/>
                <a:gd name="T61" fmla="*/ 245 h 262"/>
                <a:gd name="T62" fmla="*/ 0 w 199"/>
                <a:gd name="T63" fmla="*/ 245 h 262"/>
                <a:gd name="T64" fmla="*/ 0 w 199"/>
                <a:gd name="T65" fmla="*/ 24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9" h="262">
                  <a:moveTo>
                    <a:pt x="0" y="245"/>
                  </a:moveTo>
                  <a:lnTo>
                    <a:pt x="17" y="238"/>
                  </a:lnTo>
                  <a:lnTo>
                    <a:pt x="21" y="212"/>
                  </a:lnTo>
                  <a:lnTo>
                    <a:pt x="21" y="189"/>
                  </a:lnTo>
                  <a:lnTo>
                    <a:pt x="33" y="184"/>
                  </a:lnTo>
                  <a:lnTo>
                    <a:pt x="38" y="155"/>
                  </a:lnTo>
                  <a:lnTo>
                    <a:pt x="17" y="127"/>
                  </a:lnTo>
                  <a:lnTo>
                    <a:pt x="7" y="73"/>
                  </a:lnTo>
                  <a:lnTo>
                    <a:pt x="7" y="54"/>
                  </a:lnTo>
                  <a:lnTo>
                    <a:pt x="33" y="28"/>
                  </a:lnTo>
                  <a:lnTo>
                    <a:pt x="38" y="4"/>
                  </a:lnTo>
                  <a:lnTo>
                    <a:pt x="50" y="0"/>
                  </a:lnTo>
                  <a:lnTo>
                    <a:pt x="76" y="16"/>
                  </a:lnTo>
                  <a:lnTo>
                    <a:pt x="114" y="21"/>
                  </a:lnTo>
                  <a:lnTo>
                    <a:pt x="177" y="77"/>
                  </a:lnTo>
                  <a:lnTo>
                    <a:pt x="182" y="94"/>
                  </a:lnTo>
                  <a:lnTo>
                    <a:pt x="177" y="99"/>
                  </a:lnTo>
                  <a:lnTo>
                    <a:pt x="182" y="99"/>
                  </a:lnTo>
                  <a:lnTo>
                    <a:pt x="182" y="77"/>
                  </a:lnTo>
                  <a:lnTo>
                    <a:pt x="194" y="82"/>
                  </a:lnTo>
                  <a:lnTo>
                    <a:pt x="199" y="111"/>
                  </a:lnTo>
                  <a:lnTo>
                    <a:pt x="199" y="127"/>
                  </a:lnTo>
                  <a:lnTo>
                    <a:pt x="156" y="189"/>
                  </a:lnTo>
                  <a:lnTo>
                    <a:pt x="139" y="238"/>
                  </a:lnTo>
                  <a:lnTo>
                    <a:pt x="114" y="262"/>
                  </a:lnTo>
                  <a:lnTo>
                    <a:pt x="92" y="262"/>
                  </a:lnTo>
                  <a:lnTo>
                    <a:pt x="85" y="245"/>
                  </a:lnTo>
                  <a:lnTo>
                    <a:pt x="71" y="250"/>
                  </a:lnTo>
                  <a:lnTo>
                    <a:pt x="54" y="245"/>
                  </a:lnTo>
                  <a:lnTo>
                    <a:pt x="33" y="262"/>
                  </a:lnTo>
                  <a:lnTo>
                    <a:pt x="0" y="245"/>
                  </a:lnTo>
                  <a:lnTo>
                    <a:pt x="0" y="245"/>
                  </a:lnTo>
                  <a:lnTo>
                    <a:pt x="0" y="24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2" name="Freeform 451">
              <a:extLst>
                <a:ext uri="{FF2B5EF4-FFF2-40B4-BE49-F238E27FC236}">
                  <a16:creationId xmlns:a16="http://schemas.microsoft.com/office/drawing/2014/main" id="{664D3D85-33B6-4E85-92D3-1D7A0031F82F}"/>
                </a:ext>
              </a:extLst>
            </p:cNvPr>
            <p:cNvSpPr>
              <a:spLocks/>
            </p:cNvSpPr>
            <p:nvPr/>
          </p:nvSpPr>
          <p:spPr bwMode="gray">
            <a:xfrm>
              <a:off x="4940822" y="3699870"/>
              <a:ext cx="6587" cy="6999"/>
            </a:xfrm>
            <a:custGeom>
              <a:avLst/>
              <a:gdLst>
                <a:gd name="T0" fmla="*/ 16 w 16"/>
                <a:gd name="T1" fmla="*/ 0 h 17"/>
                <a:gd name="T2" fmla="*/ 16 w 16"/>
                <a:gd name="T3" fmla="*/ 17 h 17"/>
                <a:gd name="T4" fmla="*/ 0 w 16"/>
                <a:gd name="T5" fmla="*/ 17 h 17"/>
                <a:gd name="T6" fmla="*/ 7 w 16"/>
                <a:gd name="T7" fmla="*/ 0 h 17"/>
                <a:gd name="T8" fmla="*/ 16 w 16"/>
                <a:gd name="T9" fmla="*/ 0 h 17"/>
                <a:gd name="T10" fmla="*/ 16 w 16"/>
                <a:gd name="T11" fmla="*/ 0 h 17"/>
                <a:gd name="T12" fmla="*/ 16 w 16"/>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16" y="0"/>
                  </a:moveTo>
                  <a:lnTo>
                    <a:pt x="16" y="17"/>
                  </a:lnTo>
                  <a:lnTo>
                    <a:pt x="0" y="17"/>
                  </a:lnTo>
                  <a:lnTo>
                    <a:pt x="7" y="0"/>
                  </a:lnTo>
                  <a:lnTo>
                    <a:pt x="16" y="0"/>
                  </a:lnTo>
                  <a:lnTo>
                    <a:pt x="16" y="0"/>
                  </a:lnTo>
                  <a:lnTo>
                    <a:pt x="16"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5" name="Freeform 454">
              <a:extLst>
                <a:ext uri="{FF2B5EF4-FFF2-40B4-BE49-F238E27FC236}">
                  <a16:creationId xmlns:a16="http://schemas.microsoft.com/office/drawing/2014/main" id="{2E51BE56-2712-4428-A460-DD869D288326}"/>
                </a:ext>
              </a:extLst>
            </p:cNvPr>
            <p:cNvSpPr>
              <a:spLocks noEditPoints="1"/>
            </p:cNvSpPr>
            <p:nvPr/>
          </p:nvSpPr>
          <p:spPr bwMode="gray">
            <a:xfrm>
              <a:off x="4903771" y="3522008"/>
              <a:ext cx="54341" cy="67933"/>
            </a:xfrm>
            <a:custGeom>
              <a:avLst/>
              <a:gdLst>
                <a:gd name="T0" fmla="*/ 5 w 132"/>
                <a:gd name="T1" fmla="*/ 5 h 165"/>
                <a:gd name="T2" fmla="*/ 0 w 132"/>
                <a:gd name="T3" fmla="*/ 5 h 165"/>
                <a:gd name="T4" fmla="*/ 5 w 132"/>
                <a:gd name="T5" fmla="*/ 0 h 165"/>
                <a:gd name="T6" fmla="*/ 5 w 132"/>
                <a:gd name="T7" fmla="*/ 5 h 165"/>
                <a:gd name="T8" fmla="*/ 5 w 132"/>
                <a:gd name="T9" fmla="*/ 5 h 165"/>
                <a:gd name="T10" fmla="*/ 5 w 132"/>
                <a:gd name="T11" fmla="*/ 5 h 165"/>
                <a:gd name="T12" fmla="*/ 21 w 132"/>
                <a:gd name="T13" fmla="*/ 16 h 165"/>
                <a:gd name="T14" fmla="*/ 12 w 132"/>
                <a:gd name="T15" fmla="*/ 16 h 165"/>
                <a:gd name="T16" fmla="*/ 21 w 132"/>
                <a:gd name="T17" fmla="*/ 16 h 165"/>
                <a:gd name="T18" fmla="*/ 21 w 132"/>
                <a:gd name="T19" fmla="*/ 16 h 165"/>
                <a:gd name="T20" fmla="*/ 21 w 132"/>
                <a:gd name="T21" fmla="*/ 16 h 165"/>
                <a:gd name="T22" fmla="*/ 21 w 132"/>
                <a:gd name="T23" fmla="*/ 16 h 165"/>
                <a:gd name="T24" fmla="*/ 111 w 132"/>
                <a:gd name="T25" fmla="*/ 132 h 165"/>
                <a:gd name="T26" fmla="*/ 111 w 132"/>
                <a:gd name="T27" fmla="*/ 116 h 165"/>
                <a:gd name="T28" fmla="*/ 118 w 132"/>
                <a:gd name="T29" fmla="*/ 132 h 165"/>
                <a:gd name="T30" fmla="*/ 132 w 132"/>
                <a:gd name="T31" fmla="*/ 132 h 165"/>
                <a:gd name="T32" fmla="*/ 106 w 132"/>
                <a:gd name="T33" fmla="*/ 144 h 165"/>
                <a:gd name="T34" fmla="*/ 106 w 132"/>
                <a:gd name="T35" fmla="*/ 156 h 165"/>
                <a:gd name="T36" fmla="*/ 97 w 132"/>
                <a:gd name="T37" fmla="*/ 156 h 165"/>
                <a:gd name="T38" fmla="*/ 90 w 132"/>
                <a:gd name="T39" fmla="*/ 132 h 165"/>
                <a:gd name="T40" fmla="*/ 111 w 132"/>
                <a:gd name="T41" fmla="*/ 132 h 165"/>
                <a:gd name="T42" fmla="*/ 111 w 132"/>
                <a:gd name="T43" fmla="*/ 132 h 165"/>
                <a:gd name="T44" fmla="*/ 111 w 132"/>
                <a:gd name="T45" fmla="*/ 132 h 165"/>
                <a:gd name="T46" fmla="*/ 128 w 132"/>
                <a:gd name="T47" fmla="*/ 165 h 165"/>
                <a:gd name="T48" fmla="*/ 118 w 132"/>
                <a:gd name="T49" fmla="*/ 165 h 165"/>
                <a:gd name="T50" fmla="*/ 128 w 132"/>
                <a:gd name="T51" fmla="*/ 156 h 165"/>
                <a:gd name="T52" fmla="*/ 132 w 132"/>
                <a:gd name="T53" fmla="*/ 165 h 165"/>
                <a:gd name="T54" fmla="*/ 128 w 132"/>
                <a:gd name="T55" fmla="*/ 165 h 165"/>
                <a:gd name="T56" fmla="*/ 128 w 132"/>
                <a:gd name="T57" fmla="*/ 165 h 165"/>
                <a:gd name="T58" fmla="*/ 128 w 132"/>
                <a:gd name="T59"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2" h="165">
                  <a:moveTo>
                    <a:pt x="5" y="5"/>
                  </a:moveTo>
                  <a:lnTo>
                    <a:pt x="0" y="5"/>
                  </a:lnTo>
                  <a:lnTo>
                    <a:pt x="5" y="0"/>
                  </a:lnTo>
                  <a:lnTo>
                    <a:pt x="5" y="5"/>
                  </a:lnTo>
                  <a:lnTo>
                    <a:pt x="5" y="5"/>
                  </a:lnTo>
                  <a:lnTo>
                    <a:pt x="5" y="5"/>
                  </a:lnTo>
                  <a:close/>
                  <a:moveTo>
                    <a:pt x="21" y="16"/>
                  </a:moveTo>
                  <a:lnTo>
                    <a:pt x="12" y="16"/>
                  </a:lnTo>
                  <a:lnTo>
                    <a:pt x="21" y="16"/>
                  </a:lnTo>
                  <a:lnTo>
                    <a:pt x="21" y="16"/>
                  </a:lnTo>
                  <a:lnTo>
                    <a:pt x="21" y="16"/>
                  </a:lnTo>
                  <a:lnTo>
                    <a:pt x="21" y="16"/>
                  </a:lnTo>
                  <a:close/>
                  <a:moveTo>
                    <a:pt x="111" y="132"/>
                  </a:moveTo>
                  <a:lnTo>
                    <a:pt x="111" y="116"/>
                  </a:lnTo>
                  <a:lnTo>
                    <a:pt x="118" y="132"/>
                  </a:lnTo>
                  <a:lnTo>
                    <a:pt x="132" y="132"/>
                  </a:lnTo>
                  <a:lnTo>
                    <a:pt x="106" y="144"/>
                  </a:lnTo>
                  <a:lnTo>
                    <a:pt x="106" y="156"/>
                  </a:lnTo>
                  <a:lnTo>
                    <a:pt x="97" y="156"/>
                  </a:lnTo>
                  <a:lnTo>
                    <a:pt x="90" y="132"/>
                  </a:lnTo>
                  <a:lnTo>
                    <a:pt x="111" y="132"/>
                  </a:lnTo>
                  <a:lnTo>
                    <a:pt x="111" y="132"/>
                  </a:lnTo>
                  <a:lnTo>
                    <a:pt x="111" y="132"/>
                  </a:lnTo>
                  <a:close/>
                  <a:moveTo>
                    <a:pt x="128" y="165"/>
                  </a:moveTo>
                  <a:lnTo>
                    <a:pt x="118" y="165"/>
                  </a:lnTo>
                  <a:lnTo>
                    <a:pt x="128" y="156"/>
                  </a:lnTo>
                  <a:lnTo>
                    <a:pt x="132" y="165"/>
                  </a:lnTo>
                  <a:lnTo>
                    <a:pt x="128" y="165"/>
                  </a:lnTo>
                  <a:lnTo>
                    <a:pt x="128" y="165"/>
                  </a:lnTo>
                  <a:lnTo>
                    <a:pt x="128" y="16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7" name="Freeform 457">
              <a:extLst>
                <a:ext uri="{FF2B5EF4-FFF2-40B4-BE49-F238E27FC236}">
                  <a16:creationId xmlns:a16="http://schemas.microsoft.com/office/drawing/2014/main" id="{9CD18B9E-30AA-450B-91F4-23A30A03B048}"/>
                </a:ext>
              </a:extLst>
            </p:cNvPr>
            <p:cNvSpPr>
              <a:spLocks/>
            </p:cNvSpPr>
            <p:nvPr/>
          </p:nvSpPr>
          <p:spPr bwMode="gray">
            <a:xfrm>
              <a:off x="4060672" y="3530655"/>
              <a:ext cx="118561" cy="123515"/>
            </a:xfrm>
            <a:custGeom>
              <a:avLst/>
              <a:gdLst>
                <a:gd name="T0" fmla="*/ 0 w 288"/>
                <a:gd name="T1" fmla="*/ 239 h 300"/>
                <a:gd name="T2" fmla="*/ 17 w 288"/>
                <a:gd name="T3" fmla="*/ 206 h 300"/>
                <a:gd name="T4" fmla="*/ 7 w 288"/>
                <a:gd name="T5" fmla="*/ 189 h 300"/>
                <a:gd name="T6" fmla="*/ 40 w 288"/>
                <a:gd name="T7" fmla="*/ 128 h 300"/>
                <a:gd name="T8" fmla="*/ 132 w 288"/>
                <a:gd name="T9" fmla="*/ 128 h 300"/>
                <a:gd name="T10" fmla="*/ 132 w 288"/>
                <a:gd name="T11" fmla="*/ 104 h 300"/>
                <a:gd name="T12" fmla="*/ 116 w 288"/>
                <a:gd name="T13" fmla="*/ 104 h 300"/>
                <a:gd name="T14" fmla="*/ 109 w 288"/>
                <a:gd name="T15" fmla="*/ 78 h 300"/>
                <a:gd name="T16" fmla="*/ 62 w 288"/>
                <a:gd name="T17" fmla="*/ 38 h 300"/>
                <a:gd name="T18" fmla="*/ 95 w 288"/>
                <a:gd name="T19" fmla="*/ 38 h 300"/>
                <a:gd name="T20" fmla="*/ 95 w 288"/>
                <a:gd name="T21" fmla="*/ 0 h 300"/>
                <a:gd name="T22" fmla="*/ 225 w 288"/>
                <a:gd name="T23" fmla="*/ 0 h 300"/>
                <a:gd name="T24" fmla="*/ 217 w 288"/>
                <a:gd name="T25" fmla="*/ 144 h 300"/>
                <a:gd name="T26" fmla="*/ 241 w 288"/>
                <a:gd name="T27" fmla="*/ 144 h 300"/>
                <a:gd name="T28" fmla="*/ 255 w 288"/>
                <a:gd name="T29" fmla="*/ 161 h 300"/>
                <a:gd name="T30" fmla="*/ 272 w 288"/>
                <a:gd name="T31" fmla="*/ 144 h 300"/>
                <a:gd name="T32" fmla="*/ 262 w 288"/>
                <a:gd name="T33" fmla="*/ 132 h 300"/>
                <a:gd name="T34" fmla="*/ 288 w 288"/>
                <a:gd name="T35" fmla="*/ 161 h 300"/>
                <a:gd name="T36" fmla="*/ 225 w 288"/>
                <a:gd name="T37" fmla="*/ 206 h 300"/>
                <a:gd name="T38" fmla="*/ 217 w 288"/>
                <a:gd name="T39" fmla="*/ 222 h 300"/>
                <a:gd name="T40" fmla="*/ 225 w 288"/>
                <a:gd name="T41" fmla="*/ 234 h 300"/>
                <a:gd name="T42" fmla="*/ 208 w 288"/>
                <a:gd name="T43" fmla="*/ 255 h 300"/>
                <a:gd name="T44" fmla="*/ 196 w 288"/>
                <a:gd name="T45" fmla="*/ 255 h 300"/>
                <a:gd name="T46" fmla="*/ 196 w 288"/>
                <a:gd name="T47" fmla="*/ 260 h 300"/>
                <a:gd name="T48" fmla="*/ 163 w 288"/>
                <a:gd name="T49" fmla="*/ 288 h 300"/>
                <a:gd name="T50" fmla="*/ 154 w 288"/>
                <a:gd name="T51" fmla="*/ 300 h 300"/>
                <a:gd name="T52" fmla="*/ 116 w 288"/>
                <a:gd name="T53" fmla="*/ 288 h 300"/>
                <a:gd name="T54" fmla="*/ 62 w 288"/>
                <a:gd name="T55" fmla="*/ 288 h 300"/>
                <a:gd name="T56" fmla="*/ 0 w 288"/>
                <a:gd name="T57" fmla="*/ 239 h 300"/>
                <a:gd name="T58" fmla="*/ 0 w 288"/>
                <a:gd name="T59" fmla="*/ 239 h 300"/>
                <a:gd name="T60" fmla="*/ 0 w 288"/>
                <a:gd name="T61" fmla="*/ 23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8" h="300">
                  <a:moveTo>
                    <a:pt x="0" y="239"/>
                  </a:moveTo>
                  <a:lnTo>
                    <a:pt x="17" y="206"/>
                  </a:lnTo>
                  <a:lnTo>
                    <a:pt x="7" y="189"/>
                  </a:lnTo>
                  <a:lnTo>
                    <a:pt x="40" y="128"/>
                  </a:lnTo>
                  <a:lnTo>
                    <a:pt x="132" y="128"/>
                  </a:lnTo>
                  <a:lnTo>
                    <a:pt x="132" y="104"/>
                  </a:lnTo>
                  <a:lnTo>
                    <a:pt x="116" y="104"/>
                  </a:lnTo>
                  <a:lnTo>
                    <a:pt x="109" y="78"/>
                  </a:lnTo>
                  <a:lnTo>
                    <a:pt x="62" y="38"/>
                  </a:lnTo>
                  <a:lnTo>
                    <a:pt x="95" y="38"/>
                  </a:lnTo>
                  <a:lnTo>
                    <a:pt x="95" y="0"/>
                  </a:lnTo>
                  <a:lnTo>
                    <a:pt x="225" y="0"/>
                  </a:lnTo>
                  <a:lnTo>
                    <a:pt x="217" y="144"/>
                  </a:lnTo>
                  <a:lnTo>
                    <a:pt x="241" y="144"/>
                  </a:lnTo>
                  <a:lnTo>
                    <a:pt x="255" y="161"/>
                  </a:lnTo>
                  <a:lnTo>
                    <a:pt x="272" y="144"/>
                  </a:lnTo>
                  <a:lnTo>
                    <a:pt x="262" y="132"/>
                  </a:lnTo>
                  <a:lnTo>
                    <a:pt x="288" y="161"/>
                  </a:lnTo>
                  <a:lnTo>
                    <a:pt x="225" y="206"/>
                  </a:lnTo>
                  <a:lnTo>
                    <a:pt x="217" y="222"/>
                  </a:lnTo>
                  <a:lnTo>
                    <a:pt x="225" y="234"/>
                  </a:lnTo>
                  <a:lnTo>
                    <a:pt x="208" y="255"/>
                  </a:lnTo>
                  <a:lnTo>
                    <a:pt x="196" y="255"/>
                  </a:lnTo>
                  <a:lnTo>
                    <a:pt x="196" y="260"/>
                  </a:lnTo>
                  <a:lnTo>
                    <a:pt x="163" y="288"/>
                  </a:lnTo>
                  <a:lnTo>
                    <a:pt x="154" y="300"/>
                  </a:lnTo>
                  <a:lnTo>
                    <a:pt x="116" y="288"/>
                  </a:lnTo>
                  <a:lnTo>
                    <a:pt x="62" y="288"/>
                  </a:lnTo>
                  <a:lnTo>
                    <a:pt x="0" y="239"/>
                  </a:lnTo>
                  <a:lnTo>
                    <a:pt x="0" y="239"/>
                  </a:lnTo>
                  <a:lnTo>
                    <a:pt x="0" y="23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9" name="Freeform 459">
              <a:extLst>
                <a:ext uri="{FF2B5EF4-FFF2-40B4-BE49-F238E27FC236}">
                  <a16:creationId xmlns:a16="http://schemas.microsoft.com/office/drawing/2014/main" id="{0835DD57-7754-4C37-AEF1-D70A0D86D0C6}"/>
                </a:ext>
              </a:extLst>
            </p:cNvPr>
            <p:cNvSpPr>
              <a:spLocks/>
            </p:cNvSpPr>
            <p:nvPr/>
          </p:nvSpPr>
          <p:spPr bwMode="gray">
            <a:xfrm>
              <a:off x="4953584" y="3811857"/>
              <a:ext cx="142849" cy="218622"/>
            </a:xfrm>
            <a:custGeom>
              <a:avLst/>
              <a:gdLst>
                <a:gd name="T0" fmla="*/ 85 w 347"/>
                <a:gd name="T1" fmla="*/ 236 h 531"/>
                <a:gd name="T2" fmla="*/ 47 w 347"/>
                <a:gd name="T3" fmla="*/ 236 h 531"/>
                <a:gd name="T4" fmla="*/ 16 w 347"/>
                <a:gd name="T5" fmla="*/ 165 h 531"/>
                <a:gd name="T6" fmla="*/ 16 w 347"/>
                <a:gd name="T7" fmla="*/ 127 h 531"/>
                <a:gd name="T8" fmla="*/ 80 w 347"/>
                <a:gd name="T9" fmla="*/ 104 h 531"/>
                <a:gd name="T10" fmla="*/ 63 w 347"/>
                <a:gd name="T11" fmla="*/ 104 h 531"/>
                <a:gd name="T12" fmla="*/ 54 w 347"/>
                <a:gd name="T13" fmla="*/ 87 h 531"/>
                <a:gd name="T14" fmla="*/ 63 w 347"/>
                <a:gd name="T15" fmla="*/ 49 h 531"/>
                <a:gd name="T16" fmla="*/ 101 w 347"/>
                <a:gd name="T17" fmla="*/ 21 h 531"/>
                <a:gd name="T18" fmla="*/ 101 w 347"/>
                <a:gd name="T19" fmla="*/ 0 h 531"/>
                <a:gd name="T20" fmla="*/ 118 w 347"/>
                <a:gd name="T21" fmla="*/ 4 h 531"/>
                <a:gd name="T22" fmla="*/ 203 w 347"/>
                <a:gd name="T23" fmla="*/ 87 h 531"/>
                <a:gd name="T24" fmla="*/ 203 w 347"/>
                <a:gd name="T25" fmla="*/ 115 h 531"/>
                <a:gd name="T26" fmla="*/ 207 w 347"/>
                <a:gd name="T27" fmla="*/ 115 h 531"/>
                <a:gd name="T28" fmla="*/ 241 w 347"/>
                <a:gd name="T29" fmla="*/ 127 h 531"/>
                <a:gd name="T30" fmla="*/ 267 w 347"/>
                <a:gd name="T31" fmla="*/ 165 h 531"/>
                <a:gd name="T32" fmla="*/ 293 w 347"/>
                <a:gd name="T33" fmla="*/ 170 h 531"/>
                <a:gd name="T34" fmla="*/ 293 w 347"/>
                <a:gd name="T35" fmla="*/ 219 h 531"/>
                <a:gd name="T36" fmla="*/ 293 w 347"/>
                <a:gd name="T37" fmla="*/ 243 h 531"/>
                <a:gd name="T38" fmla="*/ 283 w 347"/>
                <a:gd name="T39" fmla="*/ 253 h 531"/>
                <a:gd name="T40" fmla="*/ 241 w 347"/>
                <a:gd name="T41" fmla="*/ 271 h 531"/>
                <a:gd name="T42" fmla="*/ 229 w 347"/>
                <a:gd name="T43" fmla="*/ 314 h 531"/>
                <a:gd name="T44" fmla="*/ 262 w 347"/>
                <a:gd name="T45" fmla="*/ 364 h 531"/>
                <a:gd name="T46" fmla="*/ 283 w 347"/>
                <a:gd name="T47" fmla="*/ 371 h 531"/>
                <a:gd name="T48" fmla="*/ 330 w 347"/>
                <a:gd name="T49" fmla="*/ 465 h 531"/>
                <a:gd name="T50" fmla="*/ 321 w 347"/>
                <a:gd name="T51" fmla="*/ 482 h 531"/>
                <a:gd name="T52" fmla="*/ 283 w 347"/>
                <a:gd name="T53" fmla="*/ 475 h 531"/>
                <a:gd name="T54" fmla="*/ 257 w 347"/>
                <a:gd name="T55" fmla="*/ 491 h 531"/>
                <a:gd name="T56" fmla="*/ 241 w 347"/>
                <a:gd name="T57" fmla="*/ 503 h 531"/>
                <a:gd name="T58" fmla="*/ 203 w 347"/>
                <a:gd name="T59" fmla="*/ 503 h 531"/>
                <a:gd name="T60" fmla="*/ 186 w 347"/>
                <a:gd name="T61" fmla="*/ 519 h 531"/>
                <a:gd name="T62" fmla="*/ 170 w 347"/>
                <a:gd name="T63" fmla="*/ 519 h 531"/>
                <a:gd name="T64" fmla="*/ 132 w 347"/>
                <a:gd name="T65" fmla="*/ 491 h 531"/>
                <a:gd name="T66" fmla="*/ 122 w 347"/>
                <a:gd name="T67" fmla="*/ 482 h 531"/>
                <a:gd name="T68" fmla="*/ 118 w 347"/>
                <a:gd name="T69" fmla="*/ 449 h 531"/>
                <a:gd name="T70" fmla="*/ 101 w 347"/>
                <a:gd name="T71" fmla="*/ 420 h 531"/>
                <a:gd name="T72" fmla="*/ 122 w 347"/>
                <a:gd name="T73" fmla="*/ 330 h 531"/>
                <a:gd name="T74" fmla="*/ 118 w 347"/>
                <a:gd name="T75" fmla="*/ 297 h 531"/>
                <a:gd name="T76" fmla="*/ 96 w 347"/>
                <a:gd name="T77" fmla="*/ 276 h 531"/>
                <a:gd name="T78" fmla="*/ 96 w 347"/>
                <a:gd name="T79" fmla="*/ 243 h 531"/>
                <a:gd name="T80" fmla="*/ 96 w 347"/>
                <a:gd name="T81" fmla="*/ 243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7" h="531">
                  <a:moveTo>
                    <a:pt x="96" y="243"/>
                  </a:moveTo>
                  <a:lnTo>
                    <a:pt x="85" y="236"/>
                  </a:lnTo>
                  <a:lnTo>
                    <a:pt x="80" y="236"/>
                  </a:lnTo>
                  <a:lnTo>
                    <a:pt x="47" y="236"/>
                  </a:lnTo>
                  <a:lnTo>
                    <a:pt x="0" y="186"/>
                  </a:lnTo>
                  <a:lnTo>
                    <a:pt x="16" y="165"/>
                  </a:lnTo>
                  <a:lnTo>
                    <a:pt x="16" y="144"/>
                  </a:lnTo>
                  <a:lnTo>
                    <a:pt x="16" y="127"/>
                  </a:lnTo>
                  <a:lnTo>
                    <a:pt x="47" y="127"/>
                  </a:lnTo>
                  <a:lnTo>
                    <a:pt x="80" y="104"/>
                  </a:lnTo>
                  <a:lnTo>
                    <a:pt x="68" y="92"/>
                  </a:lnTo>
                  <a:lnTo>
                    <a:pt x="63" y="104"/>
                  </a:lnTo>
                  <a:lnTo>
                    <a:pt x="54" y="92"/>
                  </a:lnTo>
                  <a:lnTo>
                    <a:pt x="54" y="87"/>
                  </a:lnTo>
                  <a:lnTo>
                    <a:pt x="47" y="71"/>
                  </a:lnTo>
                  <a:lnTo>
                    <a:pt x="63" y="49"/>
                  </a:lnTo>
                  <a:lnTo>
                    <a:pt x="96" y="33"/>
                  </a:lnTo>
                  <a:lnTo>
                    <a:pt x="101" y="21"/>
                  </a:lnTo>
                  <a:lnTo>
                    <a:pt x="106" y="21"/>
                  </a:lnTo>
                  <a:lnTo>
                    <a:pt x="101" y="0"/>
                  </a:lnTo>
                  <a:lnTo>
                    <a:pt x="106" y="4"/>
                  </a:lnTo>
                  <a:lnTo>
                    <a:pt x="118" y="4"/>
                  </a:lnTo>
                  <a:lnTo>
                    <a:pt x="160" y="33"/>
                  </a:lnTo>
                  <a:lnTo>
                    <a:pt x="203" y="87"/>
                  </a:lnTo>
                  <a:lnTo>
                    <a:pt x="203" y="108"/>
                  </a:lnTo>
                  <a:lnTo>
                    <a:pt x="203" y="115"/>
                  </a:lnTo>
                  <a:lnTo>
                    <a:pt x="191" y="149"/>
                  </a:lnTo>
                  <a:lnTo>
                    <a:pt x="207" y="115"/>
                  </a:lnTo>
                  <a:lnTo>
                    <a:pt x="212" y="115"/>
                  </a:lnTo>
                  <a:lnTo>
                    <a:pt x="241" y="127"/>
                  </a:lnTo>
                  <a:lnTo>
                    <a:pt x="262" y="149"/>
                  </a:lnTo>
                  <a:lnTo>
                    <a:pt x="267" y="165"/>
                  </a:lnTo>
                  <a:lnTo>
                    <a:pt x="278" y="160"/>
                  </a:lnTo>
                  <a:lnTo>
                    <a:pt x="293" y="170"/>
                  </a:lnTo>
                  <a:lnTo>
                    <a:pt x="300" y="182"/>
                  </a:lnTo>
                  <a:lnTo>
                    <a:pt x="293" y="219"/>
                  </a:lnTo>
                  <a:lnTo>
                    <a:pt x="283" y="227"/>
                  </a:lnTo>
                  <a:lnTo>
                    <a:pt x="293" y="243"/>
                  </a:lnTo>
                  <a:lnTo>
                    <a:pt x="283" y="243"/>
                  </a:lnTo>
                  <a:lnTo>
                    <a:pt x="283" y="253"/>
                  </a:lnTo>
                  <a:lnTo>
                    <a:pt x="262" y="253"/>
                  </a:lnTo>
                  <a:lnTo>
                    <a:pt x="241" y="271"/>
                  </a:lnTo>
                  <a:lnTo>
                    <a:pt x="245" y="276"/>
                  </a:lnTo>
                  <a:lnTo>
                    <a:pt x="229" y="314"/>
                  </a:lnTo>
                  <a:lnTo>
                    <a:pt x="229" y="326"/>
                  </a:lnTo>
                  <a:lnTo>
                    <a:pt x="262" y="364"/>
                  </a:lnTo>
                  <a:lnTo>
                    <a:pt x="262" y="371"/>
                  </a:lnTo>
                  <a:lnTo>
                    <a:pt x="283" y="371"/>
                  </a:lnTo>
                  <a:lnTo>
                    <a:pt x="293" y="408"/>
                  </a:lnTo>
                  <a:lnTo>
                    <a:pt x="330" y="465"/>
                  </a:lnTo>
                  <a:lnTo>
                    <a:pt x="347" y="475"/>
                  </a:lnTo>
                  <a:lnTo>
                    <a:pt x="321" y="482"/>
                  </a:lnTo>
                  <a:lnTo>
                    <a:pt x="300" y="465"/>
                  </a:lnTo>
                  <a:lnTo>
                    <a:pt x="283" y="475"/>
                  </a:lnTo>
                  <a:lnTo>
                    <a:pt x="267" y="491"/>
                  </a:lnTo>
                  <a:lnTo>
                    <a:pt x="257" y="491"/>
                  </a:lnTo>
                  <a:lnTo>
                    <a:pt x="241" y="498"/>
                  </a:lnTo>
                  <a:lnTo>
                    <a:pt x="241" y="503"/>
                  </a:lnTo>
                  <a:lnTo>
                    <a:pt x="212" y="498"/>
                  </a:lnTo>
                  <a:lnTo>
                    <a:pt x="203" y="503"/>
                  </a:lnTo>
                  <a:lnTo>
                    <a:pt x="203" y="519"/>
                  </a:lnTo>
                  <a:lnTo>
                    <a:pt x="186" y="519"/>
                  </a:lnTo>
                  <a:lnTo>
                    <a:pt x="177" y="531"/>
                  </a:lnTo>
                  <a:lnTo>
                    <a:pt x="170" y="519"/>
                  </a:lnTo>
                  <a:lnTo>
                    <a:pt x="148" y="515"/>
                  </a:lnTo>
                  <a:lnTo>
                    <a:pt x="132" y="491"/>
                  </a:lnTo>
                  <a:lnTo>
                    <a:pt x="122" y="491"/>
                  </a:lnTo>
                  <a:lnTo>
                    <a:pt x="122" y="482"/>
                  </a:lnTo>
                  <a:lnTo>
                    <a:pt x="118" y="482"/>
                  </a:lnTo>
                  <a:lnTo>
                    <a:pt x="118" y="449"/>
                  </a:lnTo>
                  <a:lnTo>
                    <a:pt x="106" y="441"/>
                  </a:lnTo>
                  <a:lnTo>
                    <a:pt x="101" y="420"/>
                  </a:lnTo>
                  <a:lnTo>
                    <a:pt x="106" y="364"/>
                  </a:lnTo>
                  <a:lnTo>
                    <a:pt x="122" y="330"/>
                  </a:lnTo>
                  <a:lnTo>
                    <a:pt x="118" y="309"/>
                  </a:lnTo>
                  <a:lnTo>
                    <a:pt x="118" y="297"/>
                  </a:lnTo>
                  <a:lnTo>
                    <a:pt x="85" y="293"/>
                  </a:lnTo>
                  <a:lnTo>
                    <a:pt x="96" y="276"/>
                  </a:lnTo>
                  <a:lnTo>
                    <a:pt x="101" y="253"/>
                  </a:lnTo>
                  <a:lnTo>
                    <a:pt x="96" y="243"/>
                  </a:lnTo>
                  <a:lnTo>
                    <a:pt x="96" y="243"/>
                  </a:lnTo>
                  <a:lnTo>
                    <a:pt x="96" y="24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1" name="Freeform 461">
              <a:extLst>
                <a:ext uri="{FF2B5EF4-FFF2-40B4-BE49-F238E27FC236}">
                  <a16:creationId xmlns:a16="http://schemas.microsoft.com/office/drawing/2014/main" id="{659B3FD1-AEF1-4F5B-8BC7-E0A6D591A674}"/>
                </a:ext>
              </a:extLst>
            </p:cNvPr>
            <p:cNvSpPr>
              <a:spLocks noEditPoints="1"/>
            </p:cNvSpPr>
            <p:nvPr/>
          </p:nvSpPr>
          <p:spPr bwMode="gray">
            <a:xfrm>
              <a:off x="4575260" y="3463545"/>
              <a:ext cx="81511" cy="61346"/>
            </a:xfrm>
            <a:custGeom>
              <a:avLst/>
              <a:gdLst>
                <a:gd name="T0" fmla="*/ 134 w 198"/>
                <a:gd name="T1" fmla="*/ 10 h 149"/>
                <a:gd name="T2" fmla="*/ 106 w 198"/>
                <a:gd name="T3" fmla="*/ 0 h 149"/>
                <a:gd name="T4" fmla="*/ 118 w 198"/>
                <a:gd name="T5" fmla="*/ 0 h 149"/>
                <a:gd name="T6" fmla="*/ 134 w 198"/>
                <a:gd name="T7" fmla="*/ 10 h 149"/>
                <a:gd name="T8" fmla="*/ 134 w 198"/>
                <a:gd name="T9" fmla="*/ 10 h 149"/>
                <a:gd name="T10" fmla="*/ 134 w 198"/>
                <a:gd name="T11" fmla="*/ 10 h 149"/>
                <a:gd name="T12" fmla="*/ 191 w 198"/>
                <a:gd name="T13" fmla="*/ 21 h 149"/>
                <a:gd name="T14" fmla="*/ 191 w 198"/>
                <a:gd name="T15" fmla="*/ 38 h 149"/>
                <a:gd name="T16" fmla="*/ 191 w 198"/>
                <a:gd name="T17" fmla="*/ 54 h 149"/>
                <a:gd name="T18" fmla="*/ 198 w 198"/>
                <a:gd name="T19" fmla="*/ 66 h 149"/>
                <a:gd name="T20" fmla="*/ 186 w 198"/>
                <a:gd name="T21" fmla="*/ 78 h 149"/>
                <a:gd name="T22" fmla="*/ 191 w 198"/>
                <a:gd name="T23" fmla="*/ 95 h 149"/>
                <a:gd name="T24" fmla="*/ 186 w 198"/>
                <a:gd name="T25" fmla="*/ 104 h 149"/>
                <a:gd name="T26" fmla="*/ 170 w 198"/>
                <a:gd name="T27" fmla="*/ 111 h 149"/>
                <a:gd name="T28" fmla="*/ 177 w 198"/>
                <a:gd name="T29" fmla="*/ 121 h 149"/>
                <a:gd name="T30" fmla="*/ 191 w 198"/>
                <a:gd name="T31" fmla="*/ 128 h 149"/>
                <a:gd name="T32" fmla="*/ 191 w 198"/>
                <a:gd name="T33" fmla="*/ 149 h 149"/>
                <a:gd name="T34" fmla="*/ 170 w 198"/>
                <a:gd name="T35" fmla="*/ 132 h 149"/>
                <a:gd name="T36" fmla="*/ 118 w 198"/>
                <a:gd name="T37" fmla="*/ 144 h 149"/>
                <a:gd name="T38" fmla="*/ 80 w 198"/>
                <a:gd name="T39" fmla="*/ 132 h 149"/>
                <a:gd name="T40" fmla="*/ 47 w 198"/>
                <a:gd name="T41" fmla="*/ 144 h 149"/>
                <a:gd name="T42" fmla="*/ 47 w 198"/>
                <a:gd name="T43" fmla="*/ 149 h 149"/>
                <a:gd name="T44" fmla="*/ 38 w 198"/>
                <a:gd name="T45" fmla="*/ 149 h 149"/>
                <a:gd name="T46" fmla="*/ 26 w 198"/>
                <a:gd name="T47" fmla="*/ 132 h 149"/>
                <a:gd name="T48" fmla="*/ 0 w 198"/>
                <a:gd name="T49" fmla="*/ 128 h 149"/>
                <a:gd name="T50" fmla="*/ 0 w 198"/>
                <a:gd name="T51" fmla="*/ 121 h 149"/>
                <a:gd name="T52" fmla="*/ 0 w 198"/>
                <a:gd name="T53" fmla="*/ 104 h 149"/>
                <a:gd name="T54" fmla="*/ 16 w 198"/>
                <a:gd name="T55" fmla="*/ 104 h 149"/>
                <a:gd name="T56" fmla="*/ 47 w 198"/>
                <a:gd name="T57" fmla="*/ 111 h 149"/>
                <a:gd name="T58" fmla="*/ 63 w 198"/>
                <a:gd name="T59" fmla="*/ 111 h 149"/>
                <a:gd name="T60" fmla="*/ 54 w 198"/>
                <a:gd name="T61" fmla="*/ 111 h 149"/>
                <a:gd name="T62" fmla="*/ 54 w 198"/>
                <a:gd name="T63" fmla="*/ 121 h 149"/>
                <a:gd name="T64" fmla="*/ 123 w 198"/>
                <a:gd name="T65" fmla="*/ 121 h 149"/>
                <a:gd name="T66" fmla="*/ 134 w 198"/>
                <a:gd name="T67" fmla="*/ 111 h 149"/>
                <a:gd name="T68" fmla="*/ 144 w 198"/>
                <a:gd name="T69" fmla="*/ 111 h 149"/>
                <a:gd name="T70" fmla="*/ 144 w 198"/>
                <a:gd name="T71" fmla="*/ 104 h 149"/>
                <a:gd name="T72" fmla="*/ 118 w 198"/>
                <a:gd name="T73" fmla="*/ 71 h 149"/>
                <a:gd name="T74" fmla="*/ 123 w 198"/>
                <a:gd name="T75" fmla="*/ 50 h 149"/>
                <a:gd name="T76" fmla="*/ 92 w 198"/>
                <a:gd name="T77" fmla="*/ 33 h 149"/>
                <a:gd name="T78" fmla="*/ 80 w 198"/>
                <a:gd name="T79" fmla="*/ 33 h 149"/>
                <a:gd name="T80" fmla="*/ 80 w 198"/>
                <a:gd name="T81" fmla="*/ 17 h 149"/>
                <a:gd name="T82" fmla="*/ 118 w 198"/>
                <a:gd name="T83" fmla="*/ 10 h 149"/>
                <a:gd name="T84" fmla="*/ 156 w 198"/>
                <a:gd name="T85" fmla="*/ 21 h 149"/>
                <a:gd name="T86" fmla="*/ 191 w 198"/>
                <a:gd name="T87" fmla="*/ 21 h 149"/>
                <a:gd name="T88" fmla="*/ 191 w 198"/>
                <a:gd name="T89" fmla="*/ 21 h 149"/>
                <a:gd name="T90" fmla="*/ 191 w 198"/>
                <a:gd name="T91" fmla="*/ 21 h 149"/>
                <a:gd name="T92" fmla="*/ 118 w 198"/>
                <a:gd name="T93" fmla="*/ 104 h 149"/>
                <a:gd name="T94" fmla="*/ 85 w 198"/>
                <a:gd name="T95" fmla="*/ 88 h 149"/>
                <a:gd name="T96" fmla="*/ 92 w 198"/>
                <a:gd name="T97" fmla="*/ 78 h 149"/>
                <a:gd name="T98" fmla="*/ 118 w 198"/>
                <a:gd name="T99" fmla="*/ 88 h 149"/>
                <a:gd name="T100" fmla="*/ 118 w 198"/>
                <a:gd name="T101" fmla="*/ 104 h 149"/>
                <a:gd name="T102" fmla="*/ 118 w 198"/>
                <a:gd name="T103" fmla="*/ 104 h 149"/>
                <a:gd name="T104" fmla="*/ 118 w 198"/>
                <a:gd name="T105" fmla="*/ 104 h 149"/>
                <a:gd name="T106" fmla="*/ 54 w 198"/>
                <a:gd name="T107" fmla="*/ 111 h 149"/>
                <a:gd name="T108" fmla="*/ 47 w 198"/>
                <a:gd name="T109" fmla="*/ 104 h 149"/>
                <a:gd name="T110" fmla="*/ 54 w 198"/>
                <a:gd name="T111" fmla="*/ 104 h 149"/>
                <a:gd name="T112" fmla="*/ 54 w 198"/>
                <a:gd name="T113" fmla="*/ 111 h 149"/>
                <a:gd name="T114" fmla="*/ 54 w 198"/>
                <a:gd name="T115" fmla="*/ 111 h 149"/>
                <a:gd name="T116" fmla="*/ 54 w 198"/>
                <a:gd name="T117" fmla="*/ 11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 h="149">
                  <a:moveTo>
                    <a:pt x="134" y="10"/>
                  </a:moveTo>
                  <a:lnTo>
                    <a:pt x="106" y="0"/>
                  </a:lnTo>
                  <a:lnTo>
                    <a:pt x="118" y="0"/>
                  </a:lnTo>
                  <a:lnTo>
                    <a:pt x="134" y="10"/>
                  </a:lnTo>
                  <a:lnTo>
                    <a:pt x="134" y="10"/>
                  </a:lnTo>
                  <a:lnTo>
                    <a:pt x="134" y="10"/>
                  </a:lnTo>
                  <a:close/>
                  <a:moveTo>
                    <a:pt x="191" y="21"/>
                  </a:moveTo>
                  <a:lnTo>
                    <a:pt x="191" y="38"/>
                  </a:lnTo>
                  <a:lnTo>
                    <a:pt x="191" y="54"/>
                  </a:lnTo>
                  <a:lnTo>
                    <a:pt x="198" y="66"/>
                  </a:lnTo>
                  <a:lnTo>
                    <a:pt x="186" y="78"/>
                  </a:lnTo>
                  <a:lnTo>
                    <a:pt x="191" y="95"/>
                  </a:lnTo>
                  <a:lnTo>
                    <a:pt x="186" y="104"/>
                  </a:lnTo>
                  <a:lnTo>
                    <a:pt x="170" y="111"/>
                  </a:lnTo>
                  <a:lnTo>
                    <a:pt x="177" y="121"/>
                  </a:lnTo>
                  <a:lnTo>
                    <a:pt x="191" y="128"/>
                  </a:lnTo>
                  <a:lnTo>
                    <a:pt x="191" y="149"/>
                  </a:lnTo>
                  <a:lnTo>
                    <a:pt x="170" y="132"/>
                  </a:lnTo>
                  <a:lnTo>
                    <a:pt x="118" y="144"/>
                  </a:lnTo>
                  <a:lnTo>
                    <a:pt x="80" y="132"/>
                  </a:lnTo>
                  <a:lnTo>
                    <a:pt x="47" y="144"/>
                  </a:lnTo>
                  <a:lnTo>
                    <a:pt x="47" y="149"/>
                  </a:lnTo>
                  <a:lnTo>
                    <a:pt x="38" y="149"/>
                  </a:lnTo>
                  <a:lnTo>
                    <a:pt x="26" y="132"/>
                  </a:lnTo>
                  <a:lnTo>
                    <a:pt x="0" y="128"/>
                  </a:lnTo>
                  <a:lnTo>
                    <a:pt x="0" y="121"/>
                  </a:lnTo>
                  <a:lnTo>
                    <a:pt x="0" y="104"/>
                  </a:lnTo>
                  <a:lnTo>
                    <a:pt x="16" y="104"/>
                  </a:lnTo>
                  <a:lnTo>
                    <a:pt x="47" y="111"/>
                  </a:lnTo>
                  <a:lnTo>
                    <a:pt x="63" y="111"/>
                  </a:lnTo>
                  <a:lnTo>
                    <a:pt x="54" y="111"/>
                  </a:lnTo>
                  <a:lnTo>
                    <a:pt x="54" y="121"/>
                  </a:lnTo>
                  <a:lnTo>
                    <a:pt x="123" y="121"/>
                  </a:lnTo>
                  <a:lnTo>
                    <a:pt x="134" y="111"/>
                  </a:lnTo>
                  <a:lnTo>
                    <a:pt x="144" y="111"/>
                  </a:lnTo>
                  <a:lnTo>
                    <a:pt x="144" y="104"/>
                  </a:lnTo>
                  <a:lnTo>
                    <a:pt x="118" y="71"/>
                  </a:lnTo>
                  <a:lnTo>
                    <a:pt x="123" y="50"/>
                  </a:lnTo>
                  <a:lnTo>
                    <a:pt x="92" y="33"/>
                  </a:lnTo>
                  <a:lnTo>
                    <a:pt x="80" y="33"/>
                  </a:lnTo>
                  <a:lnTo>
                    <a:pt x="80" y="17"/>
                  </a:lnTo>
                  <a:lnTo>
                    <a:pt x="118" y="10"/>
                  </a:lnTo>
                  <a:lnTo>
                    <a:pt x="156" y="21"/>
                  </a:lnTo>
                  <a:lnTo>
                    <a:pt x="191" y="21"/>
                  </a:lnTo>
                  <a:lnTo>
                    <a:pt x="191" y="21"/>
                  </a:lnTo>
                  <a:lnTo>
                    <a:pt x="191" y="21"/>
                  </a:lnTo>
                  <a:close/>
                  <a:moveTo>
                    <a:pt x="118" y="104"/>
                  </a:moveTo>
                  <a:lnTo>
                    <a:pt x="85" y="88"/>
                  </a:lnTo>
                  <a:lnTo>
                    <a:pt x="92" y="78"/>
                  </a:lnTo>
                  <a:lnTo>
                    <a:pt x="118" y="88"/>
                  </a:lnTo>
                  <a:lnTo>
                    <a:pt x="118" y="104"/>
                  </a:lnTo>
                  <a:lnTo>
                    <a:pt x="118" y="104"/>
                  </a:lnTo>
                  <a:lnTo>
                    <a:pt x="118" y="104"/>
                  </a:lnTo>
                  <a:close/>
                  <a:moveTo>
                    <a:pt x="54" y="111"/>
                  </a:moveTo>
                  <a:lnTo>
                    <a:pt x="47" y="104"/>
                  </a:lnTo>
                  <a:lnTo>
                    <a:pt x="54" y="104"/>
                  </a:lnTo>
                  <a:lnTo>
                    <a:pt x="54" y="111"/>
                  </a:lnTo>
                  <a:lnTo>
                    <a:pt x="54" y="111"/>
                  </a:lnTo>
                  <a:lnTo>
                    <a:pt x="54" y="11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3" name="Freeform 463">
              <a:extLst>
                <a:ext uri="{FF2B5EF4-FFF2-40B4-BE49-F238E27FC236}">
                  <a16:creationId xmlns:a16="http://schemas.microsoft.com/office/drawing/2014/main" id="{6A978C35-BDA5-4EF0-A02F-2EB081F28B3C}"/>
                </a:ext>
              </a:extLst>
            </p:cNvPr>
            <p:cNvSpPr>
              <a:spLocks noEditPoints="1"/>
            </p:cNvSpPr>
            <p:nvPr/>
          </p:nvSpPr>
          <p:spPr bwMode="gray">
            <a:xfrm>
              <a:off x="4146299" y="3574296"/>
              <a:ext cx="177842" cy="102106"/>
            </a:xfrm>
            <a:custGeom>
              <a:avLst/>
              <a:gdLst>
                <a:gd name="T0" fmla="*/ 206 w 432"/>
                <a:gd name="T1" fmla="*/ 0 h 248"/>
                <a:gd name="T2" fmla="*/ 189 w 432"/>
                <a:gd name="T3" fmla="*/ 5 h 248"/>
                <a:gd name="T4" fmla="*/ 189 w 432"/>
                <a:gd name="T5" fmla="*/ 5 h 248"/>
                <a:gd name="T6" fmla="*/ 43 w 432"/>
                <a:gd name="T7" fmla="*/ 166 h 248"/>
                <a:gd name="T8" fmla="*/ 26 w 432"/>
                <a:gd name="T9" fmla="*/ 149 h 248"/>
                <a:gd name="T10" fmla="*/ 17 w 432"/>
                <a:gd name="T11" fmla="*/ 128 h 248"/>
                <a:gd name="T12" fmla="*/ 17 w 432"/>
                <a:gd name="T13" fmla="*/ 100 h 248"/>
                <a:gd name="T14" fmla="*/ 85 w 432"/>
                <a:gd name="T15" fmla="*/ 57 h 248"/>
                <a:gd name="T16" fmla="*/ 135 w 432"/>
                <a:gd name="T17" fmla="*/ 45 h 248"/>
                <a:gd name="T18" fmla="*/ 210 w 432"/>
                <a:gd name="T19" fmla="*/ 45 h 248"/>
                <a:gd name="T20" fmla="*/ 243 w 432"/>
                <a:gd name="T21" fmla="*/ 29 h 248"/>
                <a:gd name="T22" fmla="*/ 269 w 432"/>
                <a:gd name="T23" fmla="*/ 38 h 248"/>
                <a:gd name="T24" fmla="*/ 324 w 432"/>
                <a:gd name="T25" fmla="*/ 38 h 248"/>
                <a:gd name="T26" fmla="*/ 340 w 432"/>
                <a:gd name="T27" fmla="*/ 45 h 248"/>
                <a:gd name="T28" fmla="*/ 357 w 432"/>
                <a:gd name="T29" fmla="*/ 45 h 248"/>
                <a:gd name="T30" fmla="*/ 357 w 432"/>
                <a:gd name="T31" fmla="*/ 62 h 248"/>
                <a:gd name="T32" fmla="*/ 390 w 432"/>
                <a:gd name="T33" fmla="*/ 83 h 248"/>
                <a:gd name="T34" fmla="*/ 378 w 432"/>
                <a:gd name="T35" fmla="*/ 74 h 248"/>
                <a:gd name="T36" fmla="*/ 411 w 432"/>
                <a:gd name="T37" fmla="*/ 83 h 248"/>
                <a:gd name="T38" fmla="*/ 406 w 432"/>
                <a:gd name="T39" fmla="*/ 95 h 248"/>
                <a:gd name="T40" fmla="*/ 406 w 432"/>
                <a:gd name="T41" fmla="*/ 78 h 248"/>
                <a:gd name="T42" fmla="*/ 428 w 432"/>
                <a:gd name="T43" fmla="*/ 100 h 248"/>
                <a:gd name="T44" fmla="*/ 411 w 432"/>
                <a:gd name="T45" fmla="*/ 100 h 248"/>
                <a:gd name="T46" fmla="*/ 340 w 432"/>
                <a:gd name="T47" fmla="*/ 133 h 248"/>
                <a:gd name="T48" fmla="*/ 298 w 432"/>
                <a:gd name="T49" fmla="*/ 149 h 248"/>
                <a:gd name="T50" fmla="*/ 260 w 432"/>
                <a:gd name="T51" fmla="*/ 182 h 248"/>
                <a:gd name="T52" fmla="*/ 231 w 432"/>
                <a:gd name="T53" fmla="*/ 173 h 248"/>
                <a:gd name="T54" fmla="*/ 177 w 432"/>
                <a:gd name="T55" fmla="*/ 194 h 248"/>
                <a:gd name="T56" fmla="*/ 172 w 432"/>
                <a:gd name="T57" fmla="*/ 239 h 248"/>
                <a:gd name="T58" fmla="*/ 139 w 432"/>
                <a:gd name="T59" fmla="*/ 248 h 248"/>
                <a:gd name="T60" fmla="*/ 135 w 432"/>
                <a:gd name="T61" fmla="*/ 222 h 248"/>
                <a:gd name="T62" fmla="*/ 118 w 432"/>
                <a:gd name="T63" fmla="*/ 222 h 248"/>
                <a:gd name="T64" fmla="*/ 109 w 432"/>
                <a:gd name="T65" fmla="*/ 222 h 248"/>
                <a:gd name="T66" fmla="*/ 109 w 432"/>
                <a:gd name="T67" fmla="*/ 211 h 248"/>
                <a:gd name="T68" fmla="*/ 109 w 432"/>
                <a:gd name="T69" fmla="*/ 182 h 248"/>
                <a:gd name="T70" fmla="*/ 85 w 432"/>
                <a:gd name="T71" fmla="*/ 182 h 248"/>
                <a:gd name="T72" fmla="*/ 54 w 432"/>
                <a:gd name="T73" fmla="*/ 182 h 248"/>
                <a:gd name="T74" fmla="*/ 54 w 432"/>
                <a:gd name="T75" fmla="*/ 182 h 248"/>
                <a:gd name="T76" fmla="*/ 118 w 432"/>
                <a:gd name="T77" fmla="*/ 222 h 248"/>
                <a:gd name="T78" fmla="*/ 123 w 432"/>
                <a:gd name="T79" fmla="*/ 227 h 248"/>
                <a:gd name="T80" fmla="*/ 123 w 432"/>
                <a:gd name="T81" fmla="*/ 2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2" h="248">
                  <a:moveTo>
                    <a:pt x="189" y="5"/>
                  </a:moveTo>
                  <a:lnTo>
                    <a:pt x="206" y="0"/>
                  </a:lnTo>
                  <a:lnTo>
                    <a:pt x="215" y="0"/>
                  </a:lnTo>
                  <a:lnTo>
                    <a:pt x="189" y="5"/>
                  </a:lnTo>
                  <a:lnTo>
                    <a:pt x="189" y="5"/>
                  </a:lnTo>
                  <a:lnTo>
                    <a:pt x="189" y="5"/>
                  </a:lnTo>
                  <a:close/>
                  <a:moveTo>
                    <a:pt x="54" y="182"/>
                  </a:moveTo>
                  <a:lnTo>
                    <a:pt x="43" y="166"/>
                  </a:lnTo>
                  <a:lnTo>
                    <a:pt x="43" y="173"/>
                  </a:lnTo>
                  <a:lnTo>
                    <a:pt x="26" y="149"/>
                  </a:lnTo>
                  <a:lnTo>
                    <a:pt x="0" y="149"/>
                  </a:lnTo>
                  <a:lnTo>
                    <a:pt x="17" y="128"/>
                  </a:lnTo>
                  <a:lnTo>
                    <a:pt x="9" y="116"/>
                  </a:lnTo>
                  <a:lnTo>
                    <a:pt x="17" y="100"/>
                  </a:lnTo>
                  <a:lnTo>
                    <a:pt x="80" y="57"/>
                  </a:lnTo>
                  <a:lnTo>
                    <a:pt x="85" y="57"/>
                  </a:lnTo>
                  <a:lnTo>
                    <a:pt x="118" y="38"/>
                  </a:lnTo>
                  <a:lnTo>
                    <a:pt x="135" y="45"/>
                  </a:lnTo>
                  <a:lnTo>
                    <a:pt x="139" y="38"/>
                  </a:lnTo>
                  <a:lnTo>
                    <a:pt x="210" y="45"/>
                  </a:lnTo>
                  <a:lnTo>
                    <a:pt x="243" y="38"/>
                  </a:lnTo>
                  <a:lnTo>
                    <a:pt x="243" y="29"/>
                  </a:lnTo>
                  <a:lnTo>
                    <a:pt x="231" y="29"/>
                  </a:lnTo>
                  <a:lnTo>
                    <a:pt x="269" y="38"/>
                  </a:lnTo>
                  <a:lnTo>
                    <a:pt x="302" y="29"/>
                  </a:lnTo>
                  <a:lnTo>
                    <a:pt x="324" y="38"/>
                  </a:lnTo>
                  <a:lnTo>
                    <a:pt x="335" y="45"/>
                  </a:lnTo>
                  <a:lnTo>
                    <a:pt x="340" y="45"/>
                  </a:lnTo>
                  <a:lnTo>
                    <a:pt x="340" y="38"/>
                  </a:lnTo>
                  <a:lnTo>
                    <a:pt x="357" y="45"/>
                  </a:lnTo>
                  <a:lnTo>
                    <a:pt x="390" y="74"/>
                  </a:lnTo>
                  <a:lnTo>
                    <a:pt x="357" y="62"/>
                  </a:lnTo>
                  <a:lnTo>
                    <a:pt x="373" y="78"/>
                  </a:lnTo>
                  <a:lnTo>
                    <a:pt x="390" y="83"/>
                  </a:lnTo>
                  <a:lnTo>
                    <a:pt x="373" y="78"/>
                  </a:lnTo>
                  <a:lnTo>
                    <a:pt x="378" y="74"/>
                  </a:lnTo>
                  <a:lnTo>
                    <a:pt x="394" y="83"/>
                  </a:lnTo>
                  <a:lnTo>
                    <a:pt x="411" y="83"/>
                  </a:lnTo>
                  <a:lnTo>
                    <a:pt x="406" y="83"/>
                  </a:lnTo>
                  <a:lnTo>
                    <a:pt x="406" y="95"/>
                  </a:lnTo>
                  <a:lnTo>
                    <a:pt x="411" y="83"/>
                  </a:lnTo>
                  <a:lnTo>
                    <a:pt x="406" y="78"/>
                  </a:lnTo>
                  <a:lnTo>
                    <a:pt x="423" y="83"/>
                  </a:lnTo>
                  <a:lnTo>
                    <a:pt x="428" y="100"/>
                  </a:lnTo>
                  <a:lnTo>
                    <a:pt x="432" y="100"/>
                  </a:lnTo>
                  <a:lnTo>
                    <a:pt x="411" y="100"/>
                  </a:lnTo>
                  <a:lnTo>
                    <a:pt x="390" y="116"/>
                  </a:lnTo>
                  <a:lnTo>
                    <a:pt x="340" y="133"/>
                  </a:lnTo>
                  <a:lnTo>
                    <a:pt x="314" y="116"/>
                  </a:lnTo>
                  <a:lnTo>
                    <a:pt x="298" y="149"/>
                  </a:lnTo>
                  <a:lnTo>
                    <a:pt x="298" y="149"/>
                  </a:lnTo>
                  <a:lnTo>
                    <a:pt x="260" y="182"/>
                  </a:lnTo>
                  <a:lnTo>
                    <a:pt x="260" y="189"/>
                  </a:lnTo>
                  <a:lnTo>
                    <a:pt x="231" y="173"/>
                  </a:lnTo>
                  <a:lnTo>
                    <a:pt x="210" y="194"/>
                  </a:lnTo>
                  <a:lnTo>
                    <a:pt x="177" y="194"/>
                  </a:lnTo>
                  <a:lnTo>
                    <a:pt x="189" y="227"/>
                  </a:lnTo>
                  <a:lnTo>
                    <a:pt x="172" y="239"/>
                  </a:lnTo>
                  <a:lnTo>
                    <a:pt x="161" y="248"/>
                  </a:lnTo>
                  <a:lnTo>
                    <a:pt x="139" y="248"/>
                  </a:lnTo>
                  <a:lnTo>
                    <a:pt x="123" y="227"/>
                  </a:lnTo>
                  <a:lnTo>
                    <a:pt x="135" y="222"/>
                  </a:lnTo>
                  <a:lnTo>
                    <a:pt x="123" y="227"/>
                  </a:lnTo>
                  <a:lnTo>
                    <a:pt x="118" y="222"/>
                  </a:lnTo>
                  <a:lnTo>
                    <a:pt x="118" y="222"/>
                  </a:lnTo>
                  <a:lnTo>
                    <a:pt x="109" y="222"/>
                  </a:lnTo>
                  <a:lnTo>
                    <a:pt x="118" y="211"/>
                  </a:lnTo>
                  <a:lnTo>
                    <a:pt x="109" y="211"/>
                  </a:lnTo>
                  <a:lnTo>
                    <a:pt x="118" y="189"/>
                  </a:lnTo>
                  <a:lnTo>
                    <a:pt x="109" y="182"/>
                  </a:lnTo>
                  <a:lnTo>
                    <a:pt x="97" y="189"/>
                  </a:lnTo>
                  <a:lnTo>
                    <a:pt x="85" y="182"/>
                  </a:lnTo>
                  <a:lnTo>
                    <a:pt x="64" y="189"/>
                  </a:lnTo>
                  <a:lnTo>
                    <a:pt x="54" y="182"/>
                  </a:lnTo>
                  <a:lnTo>
                    <a:pt x="54" y="182"/>
                  </a:lnTo>
                  <a:lnTo>
                    <a:pt x="54" y="182"/>
                  </a:lnTo>
                  <a:close/>
                  <a:moveTo>
                    <a:pt x="123" y="227"/>
                  </a:moveTo>
                  <a:lnTo>
                    <a:pt x="118" y="222"/>
                  </a:lnTo>
                  <a:lnTo>
                    <a:pt x="123" y="222"/>
                  </a:lnTo>
                  <a:lnTo>
                    <a:pt x="123" y="227"/>
                  </a:lnTo>
                  <a:lnTo>
                    <a:pt x="123" y="227"/>
                  </a:lnTo>
                  <a:lnTo>
                    <a:pt x="123" y="22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7" name="Freeform 500">
              <a:extLst>
                <a:ext uri="{FF2B5EF4-FFF2-40B4-BE49-F238E27FC236}">
                  <a16:creationId xmlns:a16="http://schemas.microsoft.com/office/drawing/2014/main" id="{F679FEB1-2A35-4B93-BF45-429DCF23CBD6}"/>
                </a:ext>
              </a:extLst>
            </p:cNvPr>
            <p:cNvSpPr>
              <a:spLocks/>
            </p:cNvSpPr>
            <p:nvPr/>
          </p:nvSpPr>
          <p:spPr bwMode="gray">
            <a:xfrm>
              <a:off x="4957289" y="3619997"/>
              <a:ext cx="13585" cy="16880"/>
            </a:xfrm>
            <a:custGeom>
              <a:avLst/>
              <a:gdLst>
                <a:gd name="T0" fmla="*/ 33 w 33"/>
                <a:gd name="T1" fmla="*/ 41 h 41"/>
                <a:gd name="T2" fmla="*/ 17 w 33"/>
                <a:gd name="T3" fmla="*/ 29 h 41"/>
                <a:gd name="T4" fmla="*/ 0 w 33"/>
                <a:gd name="T5" fmla="*/ 7 h 41"/>
                <a:gd name="T6" fmla="*/ 5 w 33"/>
                <a:gd name="T7" fmla="*/ 0 h 41"/>
                <a:gd name="T8" fmla="*/ 21 w 33"/>
                <a:gd name="T9" fmla="*/ 17 h 41"/>
                <a:gd name="T10" fmla="*/ 33 w 33"/>
                <a:gd name="T11" fmla="*/ 24 h 41"/>
                <a:gd name="T12" fmla="*/ 33 w 33"/>
                <a:gd name="T13" fmla="*/ 41 h 41"/>
                <a:gd name="T14" fmla="*/ 33 w 33"/>
                <a:gd name="T15" fmla="*/ 41 h 41"/>
                <a:gd name="T16" fmla="*/ 33 w 33"/>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1">
                  <a:moveTo>
                    <a:pt x="33" y="41"/>
                  </a:moveTo>
                  <a:lnTo>
                    <a:pt x="17" y="29"/>
                  </a:lnTo>
                  <a:lnTo>
                    <a:pt x="0" y="7"/>
                  </a:lnTo>
                  <a:lnTo>
                    <a:pt x="5" y="0"/>
                  </a:lnTo>
                  <a:lnTo>
                    <a:pt x="21" y="17"/>
                  </a:lnTo>
                  <a:lnTo>
                    <a:pt x="33" y="24"/>
                  </a:lnTo>
                  <a:lnTo>
                    <a:pt x="33" y="41"/>
                  </a:lnTo>
                  <a:lnTo>
                    <a:pt x="33" y="41"/>
                  </a:lnTo>
                  <a:lnTo>
                    <a:pt x="33" y="4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70" name="Freeform 504">
              <a:extLst>
                <a:ext uri="{FF2B5EF4-FFF2-40B4-BE49-F238E27FC236}">
                  <a16:creationId xmlns:a16="http://schemas.microsoft.com/office/drawing/2014/main" id="{34238F0F-49EA-4B0B-808D-FF280C4094AF}"/>
                </a:ext>
              </a:extLst>
            </p:cNvPr>
            <p:cNvSpPr>
              <a:spLocks/>
            </p:cNvSpPr>
            <p:nvPr/>
          </p:nvSpPr>
          <p:spPr bwMode="gray">
            <a:xfrm>
              <a:off x="4928061" y="3560710"/>
              <a:ext cx="2058" cy="6999"/>
            </a:xfrm>
            <a:custGeom>
              <a:avLst/>
              <a:gdLst>
                <a:gd name="T0" fmla="*/ 5 w 5"/>
                <a:gd name="T1" fmla="*/ 17 h 17"/>
                <a:gd name="T2" fmla="*/ 0 w 5"/>
                <a:gd name="T3" fmla="*/ 5 h 17"/>
                <a:gd name="T4" fmla="*/ 5 w 5"/>
                <a:gd name="T5" fmla="*/ 0 h 17"/>
                <a:gd name="T6" fmla="*/ 5 w 5"/>
                <a:gd name="T7" fmla="*/ 17 h 17"/>
                <a:gd name="T8" fmla="*/ 5 w 5"/>
                <a:gd name="T9" fmla="*/ 17 h 17"/>
                <a:gd name="T10" fmla="*/ 5 w 5"/>
                <a:gd name="T11" fmla="*/ 17 h 17"/>
              </a:gdLst>
              <a:ahLst/>
              <a:cxnLst>
                <a:cxn ang="0">
                  <a:pos x="T0" y="T1"/>
                </a:cxn>
                <a:cxn ang="0">
                  <a:pos x="T2" y="T3"/>
                </a:cxn>
                <a:cxn ang="0">
                  <a:pos x="T4" y="T5"/>
                </a:cxn>
                <a:cxn ang="0">
                  <a:pos x="T6" y="T7"/>
                </a:cxn>
                <a:cxn ang="0">
                  <a:pos x="T8" y="T9"/>
                </a:cxn>
                <a:cxn ang="0">
                  <a:pos x="T10" y="T11"/>
                </a:cxn>
              </a:cxnLst>
              <a:rect l="0" t="0" r="r" b="b"/>
              <a:pathLst>
                <a:path w="5" h="17">
                  <a:moveTo>
                    <a:pt x="5" y="17"/>
                  </a:moveTo>
                  <a:lnTo>
                    <a:pt x="0" y="5"/>
                  </a:lnTo>
                  <a:lnTo>
                    <a:pt x="5" y="0"/>
                  </a:lnTo>
                  <a:lnTo>
                    <a:pt x="5" y="17"/>
                  </a:lnTo>
                  <a:lnTo>
                    <a:pt x="5" y="17"/>
                  </a:lnTo>
                  <a:lnTo>
                    <a:pt x="5"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0" name="Freeform 514">
              <a:extLst>
                <a:ext uri="{FF2B5EF4-FFF2-40B4-BE49-F238E27FC236}">
                  <a16:creationId xmlns:a16="http://schemas.microsoft.com/office/drawing/2014/main" id="{C17F18C5-1DD1-414B-B763-31656E9493D2}"/>
                </a:ext>
              </a:extLst>
            </p:cNvPr>
            <p:cNvSpPr>
              <a:spLocks noEditPoints="1"/>
            </p:cNvSpPr>
            <p:nvPr/>
          </p:nvSpPr>
          <p:spPr bwMode="gray">
            <a:xfrm>
              <a:off x="3308961" y="3058829"/>
              <a:ext cx="909379" cy="570227"/>
            </a:xfrm>
            <a:custGeom>
              <a:avLst/>
              <a:gdLst>
                <a:gd name="T0" fmla="*/ 1918 w 2209"/>
                <a:gd name="T1" fmla="*/ 1146 h 1385"/>
                <a:gd name="T2" fmla="*/ 1864 w 2209"/>
                <a:gd name="T3" fmla="*/ 1274 h 1385"/>
                <a:gd name="T4" fmla="*/ 1708 w 2209"/>
                <a:gd name="T5" fmla="*/ 1274 h 1385"/>
                <a:gd name="T6" fmla="*/ 1649 w 2209"/>
                <a:gd name="T7" fmla="*/ 1269 h 1385"/>
                <a:gd name="T8" fmla="*/ 1481 w 2209"/>
                <a:gd name="T9" fmla="*/ 1293 h 1385"/>
                <a:gd name="T10" fmla="*/ 1217 w 2209"/>
                <a:gd name="T11" fmla="*/ 1186 h 1385"/>
                <a:gd name="T12" fmla="*/ 900 w 2209"/>
                <a:gd name="T13" fmla="*/ 993 h 1385"/>
                <a:gd name="T14" fmla="*/ 900 w 2209"/>
                <a:gd name="T15" fmla="*/ 865 h 1385"/>
                <a:gd name="T16" fmla="*/ 754 w 2209"/>
                <a:gd name="T17" fmla="*/ 648 h 1385"/>
                <a:gd name="T18" fmla="*/ 728 w 2209"/>
                <a:gd name="T19" fmla="*/ 610 h 1385"/>
                <a:gd name="T20" fmla="*/ 695 w 2209"/>
                <a:gd name="T21" fmla="*/ 586 h 1385"/>
                <a:gd name="T22" fmla="*/ 673 w 2209"/>
                <a:gd name="T23" fmla="*/ 544 h 1385"/>
                <a:gd name="T24" fmla="*/ 624 w 2209"/>
                <a:gd name="T25" fmla="*/ 475 h 1385"/>
                <a:gd name="T26" fmla="*/ 548 w 2209"/>
                <a:gd name="T27" fmla="*/ 388 h 1385"/>
                <a:gd name="T28" fmla="*/ 430 w 2209"/>
                <a:gd name="T29" fmla="*/ 298 h 1385"/>
                <a:gd name="T30" fmla="*/ 371 w 2209"/>
                <a:gd name="T31" fmla="*/ 116 h 1385"/>
                <a:gd name="T32" fmla="*/ 253 w 2209"/>
                <a:gd name="T33" fmla="*/ 88 h 1385"/>
                <a:gd name="T34" fmla="*/ 345 w 2209"/>
                <a:gd name="T35" fmla="*/ 298 h 1385"/>
                <a:gd name="T36" fmla="*/ 392 w 2209"/>
                <a:gd name="T37" fmla="*/ 388 h 1385"/>
                <a:gd name="T38" fmla="*/ 458 w 2209"/>
                <a:gd name="T39" fmla="*/ 459 h 1385"/>
                <a:gd name="T40" fmla="*/ 522 w 2209"/>
                <a:gd name="T41" fmla="*/ 593 h 1385"/>
                <a:gd name="T42" fmla="*/ 569 w 2209"/>
                <a:gd name="T43" fmla="*/ 664 h 1385"/>
                <a:gd name="T44" fmla="*/ 593 w 2209"/>
                <a:gd name="T45" fmla="*/ 766 h 1385"/>
                <a:gd name="T46" fmla="*/ 442 w 2209"/>
                <a:gd name="T47" fmla="*/ 626 h 1385"/>
                <a:gd name="T48" fmla="*/ 397 w 2209"/>
                <a:gd name="T49" fmla="*/ 504 h 1385"/>
                <a:gd name="T50" fmla="*/ 307 w 2209"/>
                <a:gd name="T51" fmla="*/ 449 h 1385"/>
                <a:gd name="T52" fmla="*/ 300 w 2209"/>
                <a:gd name="T53" fmla="*/ 393 h 1385"/>
                <a:gd name="T54" fmla="*/ 182 w 2209"/>
                <a:gd name="T55" fmla="*/ 239 h 1385"/>
                <a:gd name="T56" fmla="*/ 140 w 2209"/>
                <a:gd name="T57" fmla="*/ 116 h 1385"/>
                <a:gd name="T58" fmla="*/ 510 w 2209"/>
                <a:gd name="T59" fmla="*/ 111 h 1385"/>
                <a:gd name="T60" fmla="*/ 952 w 2209"/>
                <a:gd name="T61" fmla="*/ 222 h 1385"/>
                <a:gd name="T62" fmla="*/ 1125 w 2209"/>
                <a:gd name="T63" fmla="*/ 227 h 1385"/>
                <a:gd name="T64" fmla="*/ 1292 w 2209"/>
                <a:gd name="T65" fmla="*/ 393 h 1385"/>
                <a:gd name="T66" fmla="*/ 1448 w 2209"/>
                <a:gd name="T67" fmla="*/ 532 h 1385"/>
                <a:gd name="T68" fmla="*/ 1472 w 2209"/>
                <a:gd name="T69" fmla="*/ 870 h 1385"/>
                <a:gd name="T70" fmla="*/ 1536 w 2209"/>
                <a:gd name="T71" fmla="*/ 997 h 1385"/>
                <a:gd name="T72" fmla="*/ 1649 w 2209"/>
                <a:gd name="T73" fmla="*/ 1092 h 1385"/>
                <a:gd name="T74" fmla="*/ 1762 w 2209"/>
                <a:gd name="T75" fmla="*/ 1108 h 1385"/>
                <a:gd name="T76" fmla="*/ 1864 w 2209"/>
                <a:gd name="T77" fmla="*/ 1104 h 1385"/>
                <a:gd name="T78" fmla="*/ 1935 w 2209"/>
                <a:gd name="T79" fmla="*/ 1037 h 1385"/>
                <a:gd name="T80" fmla="*/ 2095 w 2209"/>
                <a:gd name="T81" fmla="*/ 870 h 1385"/>
                <a:gd name="T82" fmla="*/ 2209 w 2209"/>
                <a:gd name="T83" fmla="*/ 893 h 1385"/>
                <a:gd name="T84" fmla="*/ 2150 w 2209"/>
                <a:gd name="T85" fmla="*/ 1021 h 1385"/>
                <a:gd name="T86" fmla="*/ 2133 w 2209"/>
                <a:gd name="T87" fmla="*/ 1104 h 1385"/>
                <a:gd name="T88" fmla="*/ 359 w 2209"/>
                <a:gd name="T89" fmla="*/ 293 h 1385"/>
                <a:gd name="T90" fmla="*/ 359 w 2209"/>
                <a:gd name="T91" fmla="*/ 293 h 1385"/>
                <a:gd name="T92" fmla="*/ 425 w 2209"/>
                <a:gd name="T93" fmla="*/ 315 h 1385"/>
                <a:gd name="T94" fmla="*/ 0 w 2209"/>
                <a:gd name="T95" fmla="*/ 298 h 1385"/>
                <a:gd name="T96" fmla="*/ 225 w 2209"/>
                <a:gd name="T97" fmla="*/ 371 h 1385"/>
                <a:gd name="T98" fmla="*/ 501 w 2209"/>
                <a:gd name="T99" fmla="*/ 544 h 1385"/>
                <a:gd name="T100" fmla="*/ 442 w 2209"/>
                <a:gd name="T101" fmla="*/ 586 h 1385"/>
                <a:gd name="T102" fmla="*/ 539 w 2209"/>
                <a:gd name="T103" fmla="*/ 598 h 1385"/>
                <a:gd name="T104" fmla="*/ 463 w 2209"/>
                <a:gd name="T105" fmla="*/ 655 h 1385"/>
                <a:gd name="T106" fmla="*/ 825 w 2209"/>
                <a:gd name="T107" fmla="*/ 870 h 1385"/>
                <a:gd name="T108" fmla="*/ 855 w 2209"/>
                <a:gd name="T109" fmla="*/ 886 h 1385"/>
                <a:gd name="T110" fmla="*/ 2204 w 2209"/>
                <a:gd name="T111" fmla="*/ 943 h 1385"/>
                <a:gd name="T112" fmla="*/ 517 w 2209"/>
                <a:gd name="T113" fmla="*/ 1071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9" h="1385">
                  <a:moveTo>
                    <a:pt x="2103" y="1104"/>
                  </a:moveTo>
                  <a:lnTo>
                    <a:pt x="2095" y="1104"/>
                  </a:lnTo>
                  <a:lnTo>
                    <a:pt x="2065" y="1141"/>
                  </a:lnTo>
                  <a:lnTo>
                    <a:pt x="2058" y="1130"/>
                  </a:lnTo>
                  <a:lnTo>
                    <a:pt x="2048" y="1141"/>
                  </a:lnTo>
                  <a:lnTo>
                    <a:pt x="2048" y="1146"/>
                  </a:lnTo>
                  <a:lnTo>
                    <a:pt x="1918" y="1146"/>
                  </a:lnTo>
                  <a:lnTo>
                    <a:pt x="1918" y="1186"/>
                  </a:lnTo>
                  <a:lnTo>
                    <a:pt x="1885" y="1186"/>
                  </a:lnTo>
                  <a:lnTo>
                    <a:pt x="1935" y="1224"/>
                  </a:lnTo>
                  <a:lnTo>
                    <a:pt x="1940" y="1252"/>
                  </a:lnTo>
                  <a:lnTo>
                    <a:pt x="1956" y="1252"/>
                  </a:lnTo>
                  <a:lnTo>
                    <a:pt x="1956" y="1274"/>
                  </a:lnTo>
                  <a:lnTo>
                    <a:pt x="1864" y="1274"/>
                  </a:lnTo>
                  <a:lnTo>
                    <a:pt x="1831" y="1335"/>
                  </a:lnTo>
                  <a:lnTo>
                    <a:pt x="1843" y="1352"/>
                  </a:lnTo>
                  <a:lnTo>
                    <a:pt x="1826" y="1385"/>
                  </a:lnTo>
                  <a:lnTo>
                    <a:pt x="1793" y="1352"/>
                  </a:lnTo>
                  <a:lnTo>
                    <a:pt x="1793" y="1347"/>
                  </a:lnTo>
                  <a:lnTo>
                    <a:pt x="1779" y="1335"/>
                  </a:lnTo>
                  <a:lnTo>
                    <a:pt x="1708" y="1274"/>
                  </a:lnTo>
                  <a:lnTo>
                    <a:pt x="1682" y="1257"/>
                  </a:lnTo>
                  <a:lnTo>
                    <a:pt x="1682" y="1269"/>
                  </a:lnTo>
                  <a:lnTo>
                    <a:pt x="1703" y="1281"/>
                  </a:lnTo>
                  <a:lnTo>
                    <a:pt x="1654" y="1269"/>
                  </a:lnTo>
                  <a:lnTo>
                    <a:pt x="1666" y="1257"/>
                  </a:lnTo>
                  <a:lnTo>
                    <a:pt x="1654" y="1257"/>
                  </a:lnTo>
                  <a:lnTo>
                    <a:pt x="1649" y="1269"/>
                  </a:lnTo>
                  <a:lnTo>
                    <a:pt x="1649" y="1252"/>
                  </a:lnTo>
                  <a:lnTo>
                    <a:pt x="1632" y="1257"/>
                  </a:lnTo>
                  <a:lnTo>
                    <a:pt x="1649" y="1269"/>
                  </a:lnTo>
                  <a:lnTo>
                    <a:pt x="1616" y="1269"/>
                  </a:lnTo>
                  <a:lnTo>
                    <a:pt x="1611" y="1281"/>
                  </a:lnTo>
                  <a:lnTo>
                    <a:pt x="1536" y="1309"/>
                  </a:lnTo>
                  <a:lnTo>
                    <a:pt x="1481" y="1293"/>
                  </a:lnTo>
                  <a:lnTo>
                    <a:pt x="1439" y="1281"/>
                  </a:lnTo>
                  <a:lnTo>
                    <a:pt x="1417" y="1269"/>
                  </a:lnTo>
                  <a:lnTo>
                    <a:pt x="1384" y="1257"/>
                  </a:lnTo>
                  <a:lnTo>
                    <a:pt x="1373" y="1241"/>
                  </a:lnTo>
                  <a:lnTo>
                    <a:pt x="1309" y="1224"/>
                  </a:lnTo>
                  <a:lnTo>
                    <a:pt x="1292" y="1219"/>
                  </a:lnTo>
                  <a:lnTo>
                    <a:pt x="1217" y="1186"/>
                  </a:lnTo>
                  <a:lnTo>
                    <a:pt x="1169" y="1158"/>
                  </a:lnTo>
                  <a:lnTo>
                    <a:pt x="1148" y="1130"/>
                  </a:lnTo>
                  <a:lnTo>
                    <a:pt x="1132" y="1141"/>
                  </a:lnTo>
                  <a:lnTo>
                    <a:pt x="1051" y="1108"/>
                  </a:lnTo>
                  <a:lnTo>
                    <a:pt x="1006" y="1071"/>
                  </a:lnTo>
                  <a:lnTo>
                    <a:pt x="943" y="1037"/>
                  </a:lnTo>
                  <a:lnTo>
                    <a:pt x="900" y="993"/>
                  </a:lnTo>
                  <a:lnTo>
                    <a:pt x="888" y="959"/>
                  </a:lnTo>
                  <a:lnTo>
                    <a:pt x="914" y="943"/>
                  </a:lnTo>
                  <a:lnTo>
                    <a:pt x="910" y="926"/>
                  </a:lnTo>
                  <a:lnTo>
                    <a:pt x="893" y="926"/>
                  </a:lnTo>
                  <a:lnTo>
                    <a:pt x="914" y="903"/>
                  </a:lnTo>
                  <a:lnTo>
                    <a:pt x="926" y="882"/>
                  </a:lnTo>
                  <a:lnTo>
                    <a:pt x="900" y="865"/>
                  </a:lnTo>
                  <a:lnTo>
                    <a:pt x="893" y="837"/>
                  </a:lnTo>
                  <a:lnTo>
                    <a:pt x="893" y="808"/>
                  </a:lnTo>
                  <a:lnTo>
                    <a:pt x="879" y="782"/>
                  </a:lnTo>
                  <a:lnTo>
                    <a:pt x="841" y="742"/>
                  </a:lnTo>
                  <a:lnTo>
                    <a:pt x="791" y="688"/>
                  </a:lnTo>
                  <a:lnTo>
                    <a:pt x="749" y="648"/>
                  </a:lnTo>
                  <a:lnTo>
                    <a:pt x="754" y="648"/>
                  </a:lnTo>
                  <a:lnTo>
                    <a:pt x="754" y="643"/>
                  </a:lnTo>
                  <a:lnTo>
                    <a:pt x="749" y="648"/>
                  </a:lnTo>
                  <a:lnTo>
                    <a:pt x="732" y="631"/>
                  </a:lnTo>
                  <a:lnTo>
                    <a:pt x="737" y="643"/>
                  </a:lnTo>
                  <a:lnTo>
                    <a:pt x="728" y="631"/>
                  </a:lnTo>
                  <a:lnTo>
                    <a:pt x="728" y="610"/>
                  </a:lnTo>
                  <a:lnTo>
                    <a:pt x="728" y="610"/>
                  </a:lnTo>
                  <a:lnTo>
                    <a:pt x="728" y="615"/>
                  </a:lnTo>
                  <a:lnTo>
                    <a:pt x="716" y="615"/>
                  </a:lnTo>
                  <a:lnTo>
                    <a:pt x="711" y="598"/>
                  </a:lnTo>
                  <a:lnTo>
                    <a:pt x="728" y="610"/>
                  </a:lnTo>
                  <a:lnTo>
                    <a:pt x="728" y="598"/>
                  </a:lnTo>
                  <a:lnTo>
                    <a:pt x="699" y="593"/>
                  </a:lnTo>
                  <a:lnTo>
                    <a:pt x="695" y="586"/>
                  </a:lnTo>
                  <a:lnTo>
                    <a:pt x="678" y="577"/>
                  </a:lnTo>
                  <a:lnTo>
                    <a:pt x="673" y="560"/>
                  </a:lnTo>
                  <a:lnTo>
                    <a:pt x="662" y="560"/>
                  </a:lnTo>
                  <a:lnTo>
                    <a:pt x="662" y="570"/>
                  </a:lnTo>
                  <a:lnTo>
                    <a:pt x="645" y="560"/>
                  </a:lnTo>
                  <a:lnTo>
                    <a:pt x="657" y="560"/>
                  </a:lnTo>
                  <a:lnTo>
                    <a:pt x="673" y="544"/>
                  </a:lnTo>
                  <a:lnTo>
                    <a:pt x="645" y="560"/>
                  </a:lnTo>
                  <a:lnTo>
                    <a:pt x="631" y="544"/>
                  </a:lnTo>
                  <a:lnTo>
                    <a:pt x="624" y="532"/>
                  </a:lnTo>
                  <a:lnTo>
                    <a:pt x="640" y="504"/>
                  </a:lnTo>
                  <a:lnTo>
                    <a:pt x="645" y="515"/>
                  </a:lnTo>
                  <a:lnTo>
                    <a:pt x="645" y="504"/>
                  </a:lnTo>
                  <a:lnTo>
                    <a:pt x="624" y="475"/>
                  </a:lnTo>
                  <a:lnTo>
                    <a:pt x="619" y="466"/>
                  </a:lnTo>
                  <a:lnTo>
                    <a:pt x="603" y="475"/>
                  </a:lnTo>
                  <a:lnTo>
                    <a:pt x="586" y="442"/>
                  </a:lnTo>
                  <a:lnTo>
                    <a:pt x="565" y="442"/>
                  </a:lnTo>
                  <a:lnTo>
                    <a:pt x="548" y="426"/>
                  </a:lnTo>
                  <a:lnTo>
                    <a:pt x="539" y="404"/>
                  </a:lnTo>
                  <a:lnTo>
                    <a:pt x="548" y="388"/>
                  </a:lnTo>
                  <a:lnTo>
                    <a:pt x="532" y="376"/>
                  </a:lnTo>
                  <a:lnTo>
                    <a:pt x="522" y="388"/>
                  </a:lnTo>
                  <a:lnTo>
                    <a:pt x="510" y="376"/>
                  </a:lnTo>
                  <a:lnTo>
                    <a:pt x="484" y="350"/>
                  </a:lnTo>
                  <a:lnTo>
                    <a:pt x="468" y="338"/>
                  </a:lnTo>
                  <a:lnTo>
                    <a:pt x="458" y="310"/>
                  </a:lnTo>
                  <a:lnTo>
                    <a:pt x="430" y="298"/>
                  </a:lnTo>
                  <a:lnTo>
                    <a:pt x="430" y="265"/>
                  </a:lnTo>
                  <a:lnTo>
                    <a:pt x="414" y="260"/>
                  </a:lnTo>
                  <a:lnTo>
                    <a:pt x="414" y="260"/>
                  </a:lnTo>
                  <a:lnTo>
                    <a:pt x="392" y="222"/>
                  </a:lnTo>
                  <a:lnTo>
                    <a:pt x="392" y="199"/>
                  </a:lnTo>
                  <a:lnTo>
                    <a:pt x="371" y="166"/>
                  </a:lnTo>
                  <a:lnTo>
                    <a:pt x="371" y="116"/>
                  </a:lnTo>
                  <a:lnTo>
                    <a:pt x="333" y="111"/>
                  </a:lnTo>
                  <a:lnTo>
                    <a:pt x="333" y="95"/>
                  </a:lnTo>
                  <a:lnTo>
                    <a:pt x="307" y="88"/>
                  </a:lnTo>
                  <a:lnTo>
                    <a:pt x="300" y="100"/>
                  </a:lnTo>
                  <a:lnTo>
                    <a:pt x="291" y="95"/>
                  </a:lnTo>
                  <a:lnTo>
                    <a:pt x="232" y="60"/>
                  </a:lnTo>
                  <a:lnTo>
                    <a:pt x="253" y="88"/>
                  </a:lnTo>
                  <a:lnTo>
                    <a:pt x="248" y="128"/>
                  </a:lnTo>
                  <a:lnTo>
                    <a:pt x="253" y="145"/>
                  </a:lnTo>
                  <a:lnTo>
                    <a:pt x="262" y="204"/>
                  </a:lnTo>
                  <a:lnTo>
                    <a:pt x="269" y="222"/>
                  </a:lnTo>
                  <a:lnTo>
                    <a:pt x="333" y="277"/>
                  </a:lnTo>
                  <a:lnTo>
                    <a:pt x="338" y="310"/>
                  </a:lnTo>
                  <a:lnTo>
                    <a:pt x="345" y="298"/>
                  </a:lnTo>
                  <a:lnTo>
                    <a:pt x="354" y="310"/>
                  </a:lnTo>
                  <a:lnTo>
                    <a:pt x="359" y="310"/>
                  </a:lnTo>
                  <a:lnTo>
                    <a:pt x="371" y="338"/>
                  </a:lnTo>
                  <a:lnTo>
                    <a:pt x="388" y="338"/>
                  </a:lnTo>
                  <a:lnTo>
                    <a:pt x="388" y="355"/>
                  </a:lnTo>
                  <a:lnTo>
                    <a:pt x="392" y="371"/>
                  </a:lnTo>
                  <a:lnTo>
                    <a:pt x="392" y="388"/>
                  </a:lnTo>
                  <a:lnTo>
                    <a:pt x="409" y="404"/>
                  </a:lnTo>
                  <a:lnTo>
                    <a:pt x="425" y="409"/>
                  </a:lnTo>
                  <a:lnTo>
                    <a:pt x="458" y="475"/>
                  </a:lnTo>
                  <a:lnTo>
                    <a:pt x="463" y="487"/>
                  </a:lnTo>
                  <a:lnTo>
                    <a:pt x="468" y="482"/>
                  </a:lnTo>
                  <a:lnTo>
                    <a:pt x="458" y="466"/>
                  </a:lnTo>
                  <a:lnTo>
                    <a:pt x="458" y="459"/>
                  </a:lnTo>
                  <a:lnTo>
                    <a:pt x="480" y="475"/>
                  </a:lnTo>
                  <a:lnTo>
                    <a:pt x="480" y="482"/>
                  </a:lnTo>
                  <a:lnTo>
                    <a:pt x="484" y="504"/>
                  </a:lnTo>
                  <a:lnTo>
                    <a:pt x="496" y="544"/>
                  </a:lnTo>
                  <a:lnTo>
                    <a:pt x="501" y="560"/>
                  </a:lnTo>
                  <a:lnTo>
                    <a:pt x="517" y="570"/>
                  </a:lnTo>
                  <a:lnTo>
                    <a:pt x="522" y="593"/>
                  </a:lnTo>
                  <a:lnTo>
                    <a:pt x="539" y="615"/>
                  </a:lnTo>
                  <a:lnTo>
                    <a:pt x="532" y="643"/>
                  </a:lnTo>
                  <a:lnTo>
                    <a:pt x="539" y="655"/>
                  </a:lnTo>
                  <a:lnTo>
                    <a:pt x="565" y="664"/>
                  </a:lnTo>
                  <a:lnTo>
                    <a:pt x="555" y="664"/>
                  </a:lnTo>
                  <a:lnTo>
                    <a:pt x="565" y="671"/>
                  </a:lnTo>
                  <a:lnTo>
                    <a:pt x="569" y="664"/>
                  </a:lnTo>
                  <a:lnTo>
                    <a:pt x="565" y="655"/>
                  </a:lnTo>
                  <a:lnTo>
                    <a:pt x="569" y="655"/>
                  </a:lnTo>
                  <a:lnTo>
                    <a:pt x="603" y="681"/>
                  </a:lnTo>
                  <a:lnTo>
                    <a:pt x="607" y="704"/>
                  </a:lnTo>
                  <a:lnTo>
                    <a:pt x="624" y="721"/>
                  </a:lnTo>
                  <a:lnTo>
                    <a:pt x="619" y="754"/>
                  </a:lnTo>
                  <a:lnTo>
                    <a:pt x="593" y="766"/>
                  </a:lnTo>
                  <a:lnTo>
                    <a:pt x="586" y="766"/>
                  </a:lnTo>
                  <a:lnTo>
                    <a:pt x="565" y="709"/>
                  </a:lnTo>
                  <a:lnTo>
                    <a:pt x="484" y="655"/>
                  </a:lnTo>
                  <a:lnTo>
                    <a:pt x="468" y="643"/>
                  </a:lnTo>
                  <a:lnTo>
                    <a:pt x="463" y="643"/>
                  </a:lnTo>
                  <a:lnTo>
                    <a:pt x="447" y="626"/>
                  </a:lnTo>
                  <a:lnTo>
                    <a:pt x="442" y="626"/>
                  </a:lnTo>
                  <a:lnTo>
                    <a:pt x="442" y="598"/>
                  </a:lnTo>
                  <a:lnTo>
                    <a:pt x="430" y="615"/>
                  </a:lnTo>
                  <a:lnTo>
                    <a:pt x="442" y="560"/>
                  </a:lnTo>
                  <a:lnTo>
                    <a:pt x="442" y="570"/>
                  </a:lnTo>
                  <a:lnTo>
                    <a:pt x="442" y="544"/>
                  </a:lnTo>
                  <a:lnTo>
                    <a:pt x="414" y="504"/>
                  </a:lnTo>
                  <a:lnTo>
                    <a:pt x="397" y="504"/>
                  </a:lnTo>
                  <a:lnTo>
                    <a:pt x="359" y="475"/>
                  </a:lnTo>
                  <a:lnTo>
                    <a:pt x="371" y="459"/>
                  </a:lnTo>
                  <a:lnTo>
                    <a:pt x="354" y="466"/>
                  </a:lnTo>
                  <a:lnTo>
                    <a:pt x="345" y="466"/>
                  </a:lnTo>
                  <a:lnTo>
                    <a:pt x="333" y="475"/>
                  </a:lnTo>
                  <a:lnTo>
                    <a:pt x="317" y="449"/>
                  </a:lnTo>
                  <a:lnTo>
                    <a:pt x="307" y="449"/>
                  </a:lnTo>
                  <a:lnTo>
                    <a:pt x="291" y="442"/>
                  </a:lnTo>
                  <a:lnTo>
                    <a:pt x="269" y="433"/>
                  </a:lnTo>
                  <a:lnTo>
                    <a:pt x="269" y="421"/>
                  </a:lnTo>
                  <a:lnTo>
                    <a:pt x="236" y="393"/>
                  </a:lnTo>
                  <a:lnTo>
                    <a:pt x="232" y="388"/>
                  </a:lnTo>
                  <a:lnTo>
                    <a:pt x="307" y="393"/>
                  </a:lnTo>
                  <a:lnTo>
                    <a:pt x="300" y="393"/>
                  </a:lnTo>
                  <a:lnTo>
                    <a:pt x="291" y="393"/>
                  </a:lnTo>
                  <a:lnTo>
                    <a:pt x="286" y="388"/>
                  </a:lnTo>
                  <a:lnTo>
                    <a:pt x="291" y="371"/>
                  </a:lnTo>
                  <a:lnTo>
                    <a:pt x="300" y="331"/>
                  </a:lnTo>
                  <a:lnTo>
                    <a:pt x="236" y="265"/>
                  </a:lnTo>
                  <a:lnTo>
                    <a:pt x="225" y="260"/>
                  </a:lnTo>
                  <a:lnTo>
                    <a:pt x="182" y="239"/>
                  </a:lnTo>
                  <a:lnTo>
                    <a:pt x="177" y="187"/>
                  </a:lnTo>
                  <a:lnTo>
                    <a:pt x="173" y="182"/>
                  </a:lnTo>
                  <a:lnTo>
                    <a:pt x="173" y="187"/>
                  </a:lnTo>
                  <a:lnTo>
                    <a:pt x="161" y="182"/>
                  </a:lnTo>
                  <a:lnTo>
                    <a:pt x="161" y="154"/>
                  </a:lnTo>
                  <a:lnTo>
                    <a:pt x="144" y="145"/>
                  </a:lnTo>
                  <a:lnTo>
                    <a:pt x="140" y="116"/>
                  </a:lnTo>
                  <a:lnTo>
                    <a:pt x="118" y="95"/>
                  </a:lnTo>
                  <a:lnTo>
                    <a:pt x="123" y="71"/>
                  </a:lnTo>
                  <a:lnTo>
                    <a:pt x="106" y="60"/>
                  </a:lnTo>
                  <a:lnTo>
                    <a:pt x="85" y="17"/>
                  </a:lnTo>
                  <a:lnTo>
                    <a:pt x="253" y="0"/>
                  </a:lnTo>
                  <a:lnTo>
                    <a:pt x="248" y="17"/>
                  </a:lnTo>
                  <a:lnTo>
                    <a:pt x="510" y="111"/>
                  </a:lnTo>
                  <a:lnTo>
                    <a:pt x="711" y="111"/>
                  </a:lnTo>
                  <a:lnTo>
                    <a:pt x="711" y="76"/>
                  </a:lnTo>
                  <a:lnTo>
                    <a:pt x="841" y="76"/>
                  </a:lnTo>
                  <a:lnTo>
                    <a:pt x="846" y="100"/>
                  </a:lnTo>
                  <a:lnTo>
                    <a:pt x="943" y="171"/>
                  </a:lnTo>
                  <a:lnTo>
                    <a:pt x="952" y="204"/>
                  </a:lnTo>
                  <a:lnTo>
                    <a:pt x="952" y="222"/>
                  </a:lnTo>
                  <a:lnTo>
                    <a:pt x="969" y="244"/>
                  </a:lnTo>
                  <a:lnTo>
                    <a:pt x="1002" y="265"/>
                  </a:lnTo>
                  <a:lnTo>
                    <a:pt x="1051" y="293"/>
                  </a:lnTo>
                  <a:lnTo>
                    <a:pt x="1061" y="298"/>
                  </a:lnTo>
                  <a:lnTo>
                    <a:pt x="1089" y="277"/>
                  </a:lnTo>
                  <a:lnTo>
                    <a:pt x="1103" y="239"/>
                  </a:lnTo>
                  <a:lnTo>
                    <a:pt x="1125" y="227"/>
                  </a:lnTo>
                  <a:lnTo>
                    <a:pt x="1141" y="239"/>
                  </a:lnTo>
                  <a:lnTo>
                    <a:pt x="1186" y="239"/>
                  </a:lnTo>
                  <a:lnTo>
                    <a:pt x="1195" y="244"/>
                  </a:lnTo>
                  <a:lnTo>
                    <a:pt x="1238" y="282"/>
                  </a:lnTo>
                  <a:lnTo>
                    <a:pt x="1266" y="355"/>
                  </a:lnTo>
                  <a:lnTo>
                    <a:pt x="1276" y="367"/>
                  </a:lnTo>
                  <a:lnTo>
                    <a:pt x="1292" y="393"/>
                  </a:lnTo>
                  <a:lnTo>
                    <a:pt x="1321" y="409"/>
                  </a:lnTo>
                  <a:lnTo>
                    <a:pt x="1325" y="449"/>
                  </a:lnTo>
                  <a:lnTo>
                    <a:pt x="1342" y="466"/>
                  </a:lnTo>
                  <a:lnTo>
                    <a:pt x="1347" y="499"/>
                  </a:lnTo>
                  <a:lnTo>
                    <a:pt x="1396" y="515"/>
                  </a:lnTo>
                  <a:lnTo>
                    <a:pt x="1410" y="520"/>
                  </a:lnTo>
                  <a:lnTo>
                    <a:pt x="1448" y="532"/>
                  </a:lnTo>
                  <a:lnTo>
                    <a:pt x="1465" y="537"/>
                  </a:lnTo>
                  <a:lnTo>
                    <a:pt x="1486" y="532"/>
                  </a:lnTo>
                  <a:lnTo>
                    <a:pt x="1448" y="643"/>
                  </a:lnTo>
                  <a:lnTo>
                    <a:pt x="1439" y="766"/>
                  </a:lnTo>
                  <a:lnTo>
                    <a:pt x="1434" y="792"/>
                  </a:lnTo>
                  <a:lnTo>
                    <a:pt x="1448" y="837"/>
                  </a:lnTo>
                  <a:lnTo>
                    <a:pt x="1472" y="870"/>
                  </a:lnTo>
                  <a:lnTo>
                    <a:pt x="1465" y="886"/>
                  </a:lnTo>
                  <a:lnTo>
                    <a:pt x="1465" y="882"/>
                  </a:lnTo>
                  <a:lnTo>
                    <a:pt x="1472" y="870"/>
                  </a:lnTo>
                  <a:lnTo>
                    <a:pt x="1439" y="832"/>
                  </a:lnTo>
                  <a:lnTo>
                    <a:pt x="1448" y="865"/>
                  </a:lnTo>
                  <a:lnTo>
                    <a:pt x="1486" y="936"/>
                  </a:lnTo>
                  <a:lnTo>
                    <a:pt x="1536" y="997"/>
                  </a:lnTo>
                  <a:lnTo>
                    <a:pt x="1545" y="1037"/>
                  </a:lnTo>
                  <a:lnTo>
                    <a:pt x="1573" y="1059"/>
                  </a:lnTo>
                  <a:lnTo>
                    <a:pt x="1573" y="1071"/>
                  </a:lnTo>
                  <a:lnTo>
                    <a:pt x="1578" y="1075"/>
                  </a:lnTo>
                  <a:lnTo>
                    <a:pt x="1628" y="1087"/>
                  </a:lnTo>
                  <a:lnTo>
                    <a:pt x="1632" y="1092"/>
                  </a:lnTo>
                  <a:lnTo>
                    <a:pt x="1649" y="1092"/>
                  </a:lnTo>
                  <a:lnTo>
                    <a:pt x="1670" y="1125"/>
                  </a:lnTo>
                  <a:lnTo>
                    <a:pt x="1720" y="1113"/>
                  </a:lnTo>
                  <a:lnTo>
                    <a:pt x="1734" y="1104"/>
                  </a:lnTo>
                  <a:lnTo>
                    <a:pt x="1720" y="1108"/>
                  </a:lnTo>
                  <a:lnTo>
                    <a:pt x="1734" y="1104"/>
                  </a:lnTo>
                  <a:lnTo>
                    <a:pt x="1762" y="1104"/>
                  </a:lnTo>
                  <a:lnTo>
                    <a:pt x="1762" y="1108"/>
                  </a:lnTo>
                  <a:lnTo>
                    <a:pt x="1805" y="1087"/>
                  </a:lnTo>
                  <a:lnTo>
                    <a:pt x="1847" y="1075"/>
                  </a:lnTo>
                  <a:lnTo>
                    <a:pt x="1859" y="1087"/>
                  </a:lnTo>
                  <a:lnTo>
                    <a:pt x="1843" y="1092"/>
                  </a:lnTo>
                  <a:lnTo>
                    <a:pt x="1859" y="1092"/>
                  </a:lnTo>
                  <a:lnTo>
                    <a:pt x="1859" y="1108"/>
                  </a:lnTo>
                  <a:lnTo>
                    <a:pt x="1864" y="1104"/>
                  </a:lnTo>
                  <a:lnTo>
                    <a:pt x="1880" y="1104"/>
                  </a:lnTo>
                  <a:lnTo>
                    <a:pt x="1885" y="1092"/>
                  </a:lnTo>
                  <a:lnTo>
                    <a:pt x="1902" y="1087"/>
                  </a:lnTo>
                  <a:lnTo>
                    <a:pt x="1885" y="1075"/>
                  </a:lnTo>
                  <a:lnTo>
                    <a:pt x="1897" y="1071"/>
                  </a:lnTo>
                  <a:lnTo>
                    <a:pt x="1885" y="1071"/>
                  </a:lnTo>
                  <a:lnTo>
                    <a:pt x="1935" y="1037"/>
                  </a:lnTo>
                  <a:lnTo>
                    <a:pt x="1940" y="1002"/>
                  </a:lnTo>
                  <a:lnTo>
                    <a:pt x="1956" y="993"/>
                  </a:lnTo>
                  <a:lnTo>
                    <a:pt x="1951" y="943"/>
                  </a:lnTo>
                  <a:lnTo>
                    <a:pt x="1965" y="910"/>
                  </a:lnTo>
                  <a:lnTo>
                    <a:pt x="1994" y="886"/>
                  </a:lnTo>
                  <a:lnTo>
                    <a:pt x="2065" y="882"/>
                  </a:lnTo>
                  <a:lnTo>
                    <a:pt x="2095" y="870"/>
                  </a:lnTo>
                  <a:lnTo>
                    <a:pt x="2128" y="865"/>
                  </a:lnTo>
                  <a:lnTo>
                    <a:pt x="2183" y="882"/>
                  </a:lnTo>
                  <a:lnTo>
                    <a:pt x="2188" y="870"/>
                  </a:lnTo>
                  <a:lnTo>
                    <a:pt x="2166" y="870"/>
                  </a:lnTo>
                  <a:lnTo>
                    <a:pt x="2192" y="865"/>
                  </a:lnTo>
                  <a:lnTo>
                    <a:pt x="2209" y="882"/>
                  </a:lnTo>
                  <a:lnTo>
                    <a:pt x="2209" y="893"/>
                  </a:lnTo>
                  <a:lnTo>
                    <a:pt x="2204" y="926"/>
                  </a:lnTo>
                  <a:lnTo>
                    <a:pt x="2166" y="964"/>
                  </a:lnTo>
                  <a:lnTo>
                    <a:pt x="2166" y="997"/>
                  </a:lnTo>
                  <a:lnTo>
                    <a:pt x="2166" y="993"/>
                  </a:lnTo>
                  <a:lnTo>
                    <a:pt x="2154" y="997"/>
                  </a:lnTo>
                  <a:lnTo>
                    <a:pt x="2138" y="1002"/>
                  </a:lnTo>
                  <a:lnTo>
                    <a:pt x="2150" y="1021"/>
                  </a:lnTo>
                  <a:lnTo>
                    <a:pt x="2166" y="1014"/>
                  </a:lnTo>
                  <a:lnTo>
                    <a:pt x="2166" y="1030"/>
                  </a:lnTo>
                  <a:lnTo>
                    <a:pt x="2150" y="1037"/>
                  </a:lnTo>
                  <a:lnTo>
                    <a:pt x="2150" y="1047"/>
                  </a:lnTo>
                  <a:lnTo>
                    <a:pt x="2166" y="1037"/>
                  </a:lnTo>
                  <a:lnTo>
                    <a:pt x="2133" y="1113"/>
                  </a:lnTo>
                  <a:lnTo>
                    <a:pt x="2133" y="1104"/>
                  </a:lnTo>
                  <a:lnTo>
                    <a:pt x="2117" y="1092"/>
                  </a:lnTo>
                  <a:lnTo>
                    <a:pt x="2128" y="1087"/>
                  </a:lnTo>
                  <a:lnTo>
                    <a:pt x="2128" y="1071"/>
                  </a:lnTo>
                  <a:lnTo>
                    <a:pt x="2103" y="1104"/>
                  </a:lnTo>
                  <a:lnTo>
                    <a:pt x="2103" y="1104"/>
                  </a:lnTo>
                  <a:lnTo>
                    <a:pt x="2103" y="1104"/>
                  </a:lnTo>
                  <a:close/>
                  <a:moveTo>
                    <a:pt x="359" y="293"/>
                  </a:moveTo>
                  <a:lnTo>
                    <a:pt x="333" y="260"/>
                  </a:lnTo>
                  <a:lnTo>
                    <a:pt x="333" y="256"/>
                  </a:lnTo>
                  <a:lnTo>
                    <a:pt x="345" y="260"/>
                  </a:lnTo>
                  <a:lnTo>
                    <a:pt x="345" y="265"/>
                  </a:lnTo>
                  <a:lnTo>
                    <a:pt x="359" y="277"/>
                  </a:lnTo>
                  <a:lnTo>
                    <a:pt x="359" y="293"/>
                  </a:lnTo>
                  <a:lnTo>
                    <a:pt x="359" y="293"/>
                  </a:lnTo>
                  <a:lnTo>
                    <a:pt x="359" y="293"/>
                  </a:lnTo>
                  <a:close/>
                  <a:moveTo>
                    <a:pt x="425" y="315"/>
                  </a:moveTo>
                  <a:lnTo>
                    <a:pt x="409" y="310"/>
                  </a:lnTo>
                  <a:lnTo>
                    <a:pt x="414" y="282"/>
                  </a:lnTo>
                  <a:lnTo>
                    <a:pt x="425" y="277"/>
                  </a:lnTo>
                  <a:lnTo>
                    <a:pt x="430" y="298"/>
                  </a:lnTo>
                  <a:lnTo>
                    <a:pt x="425" y="315"/>
                  </a:lnTo>
                  <a:lnTo>
                    <a:pt x="425" y="315"/>
                  </a:lnTo>
                  <a:lnTo>
                    <a:pt x="425" y="315"/>
                  </a:lnTo>
                  <a:close/>
                  <a:moveTo>
                    <a:pt x="0" y="298"/>
                  </a:moveTo>
                  <a:lnTo>
                    <a:pt x="0" y="282"/>
                  </a:lnTo>
                  <a:lnTo>
                    <a:pt x="0" y="282"/>
                  </a:lnTo>
                  <a:lnTo>
                    <a:pt x="10" y="293"/>
                  </a:lnTo>
                  <a:lnTo>
                    <a:pt x="0" y="298"/>
                  </a:lnTo>
                  <a:lnTo>
                    <a:pt x="0" y="298"/>
                  </a:lnTo>
                  <a:lnTo>
                    <a:pt x="0" y="298"/>
                  </a:lnTo>
                  <a:close/>
                  <a:moveTo>
                    <a:pt x="225" y="371"/>
                  </a:moveTo>
                  <a:lnTo>
                    <a:pt x="215" y="367"/>
                  </a:lnTo>
                  <a:lnTo>
                    <a:pt x="215" y="350"/>
                  </a:lnTo>
                  <a:lnTo>
                    <a:pt x="225" y="367"/>
                  </a:lnTo>
                  <a:lnTo>
                    <a:pt x="225" y="371"/>
                  </a:lnTo>
                  <a:lnTo>
                    <a:pt x="225" y="371"/>
                  </a:lnTo>
                  <a:lnTo>
                    <a:pt x="225" y="371"/>
                  </a:lnTo>
                  <a:close/>
                  <a:moveTo>
                    <a:pt x="501" y="544"/>
                  </a:moveTo>
                  <a:lnTo>
                    <a:pt x="501" y="532"/>
                  </a:lnTo>
                  <a:lnTo>
                    <a:pt x="510" y="520"/>
                  </a:lnTo>
                  <a:lnTo>
                    <a:pt x="501" y="544"/>
                  </a:lnTo>
                  <a:lnTo>
                    <a:pt x="501" y="544"/>
                  </a:lnTo>
                  <a:lnTo>
                    <a:pt x="501" y="544"/>
                  </a:lnTo>
                  <a:close/>
                  <a:moveTo>
                    <a:pt x="442" y="586"/>
                  </a:moveTo>
                  <a:lnTo>
                    <a:pt x="430" y="615"/>
                  </a:lnTo>
                  <a:lnTo>
                    <a:pt x="442" y="643"/>
                  </a:lnTo>
                  <a:lnTo>
                    <a:pt x="430" y="615"/>
                  </a:lnTo>
                  <a:lnTo>
                    <a:pt x="442" y="586"/>
                  </a:lnTo>
                  <a:lnTo>
                    <a:pt x="442" y="586"/>
                  </a:lnTo>
                  <a:lnTo>
                    <a:pt x="442" y="586"/>
                  </a:lnTo>
                  <a:close/>
                  <a:moveTo>
                    <a:pt x="539" y="598"/>
                  </a:moveTo>
                  <a:lnTo>
                    <a:pt x="548" y="598"/>
                  </a:lnTo>
                  <a:lnTo>
                    <a:pt x="548" y="615"/>
                  </a:lnTo>
                  <a:lnTo>
                    <a:pt x="539" y="610"/>
                  </a:lnTo>
                  <a:lnTo>
                    <a:pt x="539" y="598"/>
                  </a:lnTo>
                  <a:lnTo>
                    <a:pt x="539" y="598"/>
                  </a:lnTo>
                  <a:lnTo>
                    <a:pt x="539" y="598"/>
                  </a:lnTo>
                  <a:close/>
                  <a:moveTo>
                    <a:pt x="463" y="655"/>
                  </a:moveTo>
                  <a:lnTo>
                    <a:pt x="447" y="643"/>
                  </a:lnTo>
                  <a:lnTo>
                    <a:pt x="458" y="643"/>
                  </a:lnTo>
                  <a:lnTo>
                    <a:pt x="463" y="655"/>
                  </a:lnTo>
                  <a:lnTo>
                    <a:pt x="463" y="655"/>
                  </a:lnTo>
                  <a:lnTo>
                    <a:pt x="463" y="655"/>
                  </a:lnTo>
                  <a:close/>
                  <a:moveTo>
                    <a:pt x="825" y="870"/>
                  </a:moveTo>
                  <a:lnTo>
                    <a:pt x="817" y="853"/>
                  </a:lnTo>
                  <a:lnTo>
                    <a:pt x="834" y="853"/>
                  </a:lnTo>
                  <a:lnTo>
                    <a:pt x="834" y="870"/>
                  </a:lnTo>
                  <a:lnTo>
                    <a:pt x="825" y="870"/>
                  </a:lnTo>
                  <a:lnTo>
                    <a:pt x="825" y="870"/>
                  </a:lnTo>
                  <a:lnTo>
                    <a:pt x="825" y="870"/>
                  </a:lnTo>
                  <a:close/>
                  <a:moveTo>
                    <a:pt x="841" y="882"/>
                  </a:moveTo>
                  <a:lnTo>
                    <a:pt x="834" y="882"/>
                  </a:lnTo>
                  <a:lnTo>
                    <a:pt x="841" y="870"/>
                  </a:lnTo>
                  <a:lnTo>
                    <a:pt x="841" y="882"/>
                  </a:lnTo>
                  <a:lnTo>
                    <a:pt x="841" y="882"/>
                  </a:lnTo>
                  <a:lnTo>
                    <a:pt x="841" y="882"/>
                  </a:lnTo>
                  <a:close/>
                  <a:moveTo>
                    <a:pt x="855" y="886"/>
                  </a:moveTo>
                  <a:lnTo>
                    <a:pt x="846" y="886"/>
                  </a:lnTo>
                  <a:lnTo>
                    <a:pt x="855" y="886"/>
                  </a:lnTo>
                  <a:lnTo>
                    <a:pt x="855" y="886"/>
                  </a:lnTo>
                  <a:lnTo>
                    <a:pt x="855" y="886"/>
                  </a:lnTo>
                  <a:lnTo>
                    <a:pt x="855" y="886"/>
                  </a:lnTo>
                  <a:close/>
                  <a:moveTo>
                    <a:pt x="2192" y="964"/>
                  </a:moveTo>
                  <a:lnTo>
                    <a:pt x="2204" y="943"/>
                  </a:lnTo>
                  <a:lnTo>
                    <a:pt x="2209" y="943"/>
                  </a:lnTo>
                  <a:lnTo>
                    <a:pt x="2192" y="964"/>
                  </a:lnTo>
                  <a:lnTo>
                    <a:pt x="2192" y="964"/>
                  </a:lnTo>
                  <a:lnTo>
                    <a:pt x="2192" y="964"/>
                  </a:lnTo>
                  <a:close/>
                  <a:moveTo>
                    <a:pt x="517" y="1075"/>
                  </a:moveTo>
                  <a:lnTo>
                    <a:pt x="510" y="1075"/>
                  </a:lnTo>
                  <a:lnTo>
                    <a:pt x="517" y="1071"/>
                  </a:lnTo>
                  <a:lnTo>
                    <a:pt x="522" y="1075"/>
                  </a:lnTo>
                  <a:lnTo>
                    <a:pt x="517" y="1075"/>
                  </a:lnTo>
                  <a:lnTo>
                    <a:pt x="517" y="1075"/>
                  </a:lnTo>
                  <a:lnTo>
                    <a:pt x="517" y="107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8" name="Freeform 525">
              <a:extLst>
                <a:ext uri="{FF2B5EF4-FFF2-40B4-BE49-F238E27FC236}">
                  <a16:creationId xmlns:a16="http://schemas.microsoft.com/office/drawing/2014/main" id="{998CA920-DDF5-47C4-B911-4319C0365ABA}"/>
                </a:ext>
              </a:extLst>
            </p:cNvPr>
            <p:cNvSpPr>
              <a:spLocks/>
            </p:cNvSpPr>
            <p:nvPr/>
          </p:nvSpPr>
          <p:spPr bwMode="gray">
            <a:xfrm>
              <a:off x="5048680" y="3887613"/>
              <a:ext cx="116914" cy="123515"/>
            </a:xfrm>
            <a:custGeom>
              <a:avLst/>
              <a:gdLst>
                <a:gd name="T0" fmla="*/ 279 w 284"/>
                <a:gd name="T1" fmla="*/ 198 h 300"/>
                <a:gd name="T2" fmla="*/ 267 w 284"/>
                <a:gd name="T3" fmla="*/ 206 h 300"/>
                <a:gd name="T4" fmla="*/ 267 w 284"/>
                <a:gd name="T5" fmla="*/ 227 h 300"/>
                <a:gd name="T6" fmla="*/ 262 w 284"/>
                <a:gd name="T7" fmla="*/ 255 h 300"/>
                <a:gd name="T8" fmla="*/ 246 w 284"/>
                <a:gd name="T9" fmla="*/ 260 h 300"/>
                <a:gd name="T10" fmla="*/ 241 w 284"/>
                <a:gd name="T11" fmla="*/ 260 h 300"/>
                <a:gd name="T12" fmla="*/ 241 w 284"/>
                <a:gd name="T13" fmla="*/ 255 h 300"/>
                <a:gd name="T14" fmla="*/ 225 w 284"/>
                <a:gd name="T15" fmla="*/ 255 h 300"/>
                <a:gd name="T16" fmla="*/ 213 w 284"/>
                <a:gd name="T17" fmla="*/ 243 h 300"/>
                <a:gd name="T18" fmla="*/ 170 w 284"/>
                <a:gd name="T19" fmla="*/ 260 h 300"/>
                <a:gd name="T20" fmla="*/ 144 w 284"/>
                <a:gd name="T21" fmla="*/ 255 h 300"/>
                <a:gd name="T22" fmla="*/ 139 w 284"/>
                <a:gd name="T23" fmla="*/ 267 h 300"/>
                <a:gd name="T24" fmla="*/ 156 w 284"/>
                <a:gd name="T25" fmla="*/ 283 h 300"/>
                <a:gd name="T26" fmla="*/ 156 w 284"/>
                <a:gd name="T27" fmla="*/ 293 h 300"/>
                <a:gd name="T28" fmla="*/ 144 w 284"/>
                <a:gd name="T29" fmla="*/ 300 h 300"/>
                <a:gd name="T30" fmla="*/ 118 w 284"/>
                <a:gd name="T31" fmla="*/ 293 h 300"/>
                <a:gd name="T32" fmla="*/ 102 w 284"/>
                <a:gd name="T33" fmla="*/ 283 h 300"/>
                <a:gd name="T34" fmla="*/ 64 w 284"/>
                <a:gd name="T35" fmla="*/ 227 h 300"/>
                <a:gd name="T36" fmla="*/ 54 w 284"/>
                <a:gd name="T37" fmla="*/ 189 h 300"/>
                <a:gd name="T38" fmla="*/ 33 w 284"/>
                <a:gd name="T39" fmla="*/ 189 h 300"/>
                <a:gd name="T40" fmla="*/ 33 w 284"/>
                <a:gd name="T41" fmla="*/ 182 h 300"/>
                <a:gd name="T42" fmla="*/ 0 w 284"/>
                <a:gd name="T43" fmla="*/ 144 h 300"/>
                <a:gd name="T44" fmla="*/ 0 w 284"/>
                <a:gd name="T45" fmla="*/ 132 h 300"/>
                <a:gd name="T46" fmla="*/ 17 w 284"/>
                <a:gd name="T47" fmla="*/ 94 h 300"/>
                <a:gd name="T48" fmla="*/ 12 w 284"/>
                <a:gd name="T49" fmla="*/ 87 h 300"/>
                <a:gd name="T50" fmla="*/ 33 w 284"/>
                <a:gd name="T51" fmla="*/ 71 h 300"/>
                <a:gd name="T52" fmla="*/ 54 w 284"/>
                <a:gd name="T53" fmla="*/ 71 h 300"/>
                <a:gd name="T54" fmla="*/ 54 w 284"/>
                <a:gd name="T55" fmla="*/ 61 h 300"/>
                <a:gd name="T56" fmla="*/ 64 w 284"/>
                <a:gd name="T57" fmla="*/ 61 h 300"/>
                <a:gd name="T58" fmla="*/ 54 w 284"/>
                <a:gd name="T59" fmla="*/ 43 h 300"/>
                <a:gd name="T60" fmla="*/ 64 w 284"/>
                <a:gd name="T61" fmla="*/ 38 h 300"/>
                <a:gd name="T62" fmla="*/ 64 w 284"/>
                <a:gd name="T63" fmla="*/ 33 h 300"/>
                <a:gd name="T64" fmla="*/ 69 w 284"/>
                <a:gd name="T65" fmla="*/ 5 h 300"/>
                <a:gd name="T66" fmla="*/ 80 w 284"/>
                <a:gd name="T67" fmla="*/ 0 h 300"/>
                <a:gd name="T68" fmla="*/ 144 w 284"/>
                <a:gd name="T69" fmla="*/ 17 h 300"/>
                <a:gd name="T70" fmla="*/ 156 w 284"/>
                <a:gd name="T71" fmla="*/ 17 h 300"/>
                <a:gd name="T72" fmla="*/ 156 w 284"/>
                <a:gd name="T73" fmla="*/ 21 h 300"/>
                <a:gd name="T74" fmla="*/ 156 w 284"/>
                <a:gd name="T75" fmla="*/ 5 h 300"/>
                <a:gd name="T76" fmla="*/ 156 w 284"/>
                <a:gd name="T77" fmla="*/ 0 h 300"/>
                <a:gd name="T78" fmla="*/ 191 w 284"/>
                <a:gd name="T79" fmla="*/ 0 h 300"/>
                <a:gd name="T80" fmla="*/ 208 w 284"/>
                <a:gd name="T81" fmla="*/ 5 h 300"/>
                <a:gd name="T82" fmla="*/ 208 w 284"/>
                <a:gd name="T83" fmla="*/ 17 h 300"/>
                <a:gd name="T84" fmla="*/ 225 w 284"/>
                <a:gd name="T85" fmla="*/ 5 h 300"/>
                <a:gd name="T86" fmla="*/ 208 w 284"/>
                <a:gd name="T87" fmla="*/ 0 h 300"/>
                <a:gd name="T88" fmla="*/ 213 w 284"/>
                <a:gd name="T89" fmla="*/ 0 h 300"/>
                <a:gd name="T90" fmla="*/ 284 w 284"/>
                <a:gd name="T91" fmla="*/ 17 h 300"/>
                <a:gd name="T92" fmla="*/ 284 w 284"/>
                <a:gd name="T93" fmla="*/ 33 h 300"/>
                <a:gd name="T94" fmla="*/ 279 w 284"/>
                <a:gd name="T95" fmla="*/ 43 h 300"/>
                <a:gd name="T96" fmla="*/ 250 w 284"/>
                <a:gd name="T97" fmla="*/ 71 h 300"/>
                <a:gd name="T98" fmla="*/ 250 w 284"/>
                <a:gd name="T99" fmla="*/ 87 h 300"/>
                <a:gd name="T100" fmla="*/ 262 w 284"/>
                <a:gd name="T101" fmla="*/ 144 h 300"/>
                <a:gd name="T102" fmla="*/ 284 w 284"/>
                <a:gd name="T103" fmla="*/ 172 h 300"/>
                <a:gd name="T104" fmla="*/ 279 w 284"/>
                <a:gd name="T105" fmla="*/ 198 h 300"/>
                <a:gd name="T106" fmla="*/ 279 w 284"/>
                <a:gd name="T107" fmla="*/ 198 h 300"/>
                <a:gd name="T108" fmla="*/ 279 w 284"/>
                <a:gd name="T109" fmla="*/ 19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4" h="300">
                  <a:moveTo>
                    <a:pt x="279" y="198"/>
                  </a:moveTo>
                  <a:lnTo>
                    <a:pt x="267" y="206"/>
                  </a:lnTo>
                  <a:lnTo>
                    <a:pt x="267" y="227"/>
                  </a:lnTo>
                  <a:lnTo>
                    <a:pt x="262" y="255"/>
                  </a:lnTo>
                  <a:lnTo>
                    <a:pt x="246" y="260"/>
                  </a:lnTo>
                  <a:lnTo>
                    <a:pt x="241" y="260"/>
                  </a:lnTo>
                  <a:lnTo>
                    <a:pt x="241" y="255"/>
                  </a:lnTo>
                  <a:lnTo>
                    <a:pt x="225" y="255"/>
                  </a:lnTo>
                  <a:lnTo>
                    <a:pt x="213" y="243"/>
                  </a:lnTo>
                  <a:lnTo>
                    <a:pt x="170" y="260"/>
                  </a:lnTo>
                  <a:lnTo>
                    <a:pt x="144" y="255"/>
                  </a:lnTo>
                  <a:lnTo>
                    <a:pt x="139" y="267"/>
                  </a:lnTo>
                  <a:lnTo>
                    <a:pt x="156" y="283"/>
                  </a:lnTo>
                  <a:lnTo>
                    <a:pt x="156" y="293"/>
                  </a:lnTo>
                  <a:lnTo>
                    <a:pt x="144" y="300"/>
                  </a:lnTo>
                  <a:lnTo>
                    <a:pt x="118" y="293"/>
                  </a:lnTo>
                  <a:lnTo>
                    <a:pt x="102" y="283"/>
                  </a:lnTo>
                  <a:lnTo>
                    <a:pt x="64" y="227"/>
                  </a:lnTo>
                  <a:lnTo>
                    <a:pt x="54" y="189"/>
                  </a:lnTo>
                  <a:lnTo>
                    <a:pt x="33" y="189"/>
                  </a:lnTo>
                  <a:lnTo>
                    <a:pt x="33" y="182"/>
                  </a:lnTo>
                  <a:lnTo>
                    <a:pt x="0" y="144"/>
                  </a:lnTo>
                  <a:lnTo>
                    <a:pt x="0" y="132"/>
                  </a:lnTo>
                  <a:lnTo>
                    <a:pt x="17" y="94"/>
                  </a:lnTo>
                  <a:lnTo>
                    <a:pt x="12" y="87"/>
                  </a:lnTo>
                  <a:lnTo>
                    <a:pt x="33" y="71"/>
                  </a:lnTo>
                  <a:lnTo>
                    <a:pt x="54" y="71"/>
                  </a:lnTo>
                  <a:lnTo>
                    <a:pt x="54" y="61"/>
                  </a:lnTo>
                  <a:lnTo>
                    <a:pt x="64" y="61"/>
                  </a:lnTo>
                  <a:lnTo>
                    <a:pt x="54" y="43"/>
                  </a:lnTo>
                  <a:lnTo>
                    <a:pt x="64" y="38"/>
                  </a:lnTo>
                  <a:lnTo>
                    <a:pt x="64" y="33"/>
                  </a:lnTo>
                  <a:lnTo>
                    <a:pt x="69" y="5"/>
                  </a:lnTo>
                  <a:lnTo>
                    <a:pt x="80" y="0"/>
                  </a:lnTo>
                  <a:lnTo>
                    <a:pt x="144" y="17"/>
                  </a:lnTo>
                  <a:lnTo>
                    <a:pt x="156" y="17"/>
                  </a:lnTo>
                  <a:lnTo>
                    <a:pt x="156" y="21"/>
                  </a:lnTo>
                  <a:lnTo>
                    <a:pt x="156" y="5"/>
                  </a:lnTo>
                  <a:lnTo>
                    <a:pt x="156" y="0"/>
                  </a:lnTo>
                  <a:lnTo>
                    <a:pt x="191" y="0"/>
                  </a:lnTo>
                  <a:lnTo>
                    <a:pt x="208" y="5"/>
                  </a:lnTo>
                  <a:lnTo>
                    <a:pt x="208" y="17"/>
                  </a:lnTo>
                  <a:lnTo>
                    <a:pt x="225" y="5"/>
                  </a:lnTo>
                  <a:lnTo>
                    <a:pt x="208" y="0"/>
                  </a:lnTo>
                  <a:lnTo>
                    <a:pt x="213" y="0"/>
                  </a:lnTo>
                  <a:lnTo>
                    <a:pt x="284" y="17"/>
                  </a:lnTo>
                  <a:lnTo>
                    <a:pt x="284" y="33"/>
                  </a:lnTo>
                  <a:lnTo>
                    <a:pt x="279" y="43"/>
                  </a:lnTo>
                  <a:lnTo>
                    <a:pt x="250" y="71"/>
                  </a:lnTo>
                  <a:lnTo>
                    <a:pt x="250" y="87"/>
                  </a:lnTo>
                  <a:lnTo>
                    <a:pt x="262" y="144"/>
                  </a:lnTo>
                  <a:lnTo>
                    <a:pt x="284" y="172"/>
                  </a:lnTo>
                  <a:lnTo>
                    <a:pt x="279" y="198"/>
                  </a:lnTo>
                  <a:lnTo>
                    <a:pt x="279" y="198"/>
                  </a:lnTo>
                  <a:lnTo>
                    <a:pt x="279" y="19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9" name="Freeform 526">
              <a:extLst>
                <a:ext uri="{FF2B5EF4-FFF2-40B4-BE49-F238E27FC236}">
                  <a16:creationId xmlns:a16="http://schemas.microsoft.com/office/drawing/2014/main" id="{A990A360-974B-42CA-9E24-6426C23DC83B}"/>
                </a:ext>
              </a:extLst>
            </p:cNvPr>
            <p:cNvSpPr>
              <a:spLocks noEditPoints="1"/>
            </p:cNvSpPr>
            <p:nvPr/>
          </p:nvSpPr>
          <p:spPr bwMode="gray">
            <a:xfrm>
              <a:off x="4728812" y="3697812"/>
              <a:ext cx="27993" cy="9058"/>
            </a:xfrm>
            <a:custGeom>
              <a:avLst/>
              <a:gdLst>
                <a:gd name="T0" fmla="*/ 33 w 68"/>
                <a:gd name="T1" fmla="*/ 22 h 22"/>
                <a:gd name="T2" fmla="*/ 5 w 68"/>
                <a:gd name="T3" fmla="*/ 7 h 22"/>
                <a:gd name="T4" fmla="*/ 0 w 68"/>
                <a:gd name="T5" fmla="*/ 0 h 22"/>
                <a:gd name="T6" fmla="*/ 33 w 68"/>
                <a:gd name="T7" fmla="*/ 22 h 22"/>
                <a:gd name="T8" fmla="*/ 33 w 68"/>
                <a:gd name="T9" fmla="*/ 22 h 22"/>
                <a:gd name="T10" fmla="*/ 33 w 68"/>
                <a:gd name="T11" fmla="*/ 22 h 22"/>
                <a:gd name="T12" fmla="*/ 68 w 68"/>
                <a:gd name="T13" fmla="*/ 22 h 22"/>
                <a:gd name="T14" fmla="*/ 54 w 68"/>
                <a:gd name="T15" fmla="*/ 0 h 22"/>
                <a:gd name="T16" fmla="*/ 68 w 68"/>
                <a:gd name="T17" fmla="*/ 7 h 22"/>
                <a:gd name="T18" fmla="*/ 68 w 68"/>
                <a:gd name="T19" fmla="*/ 22 h 22"/>
                <a:gd name="T20" fmla="*/ 68 w 68"/>
                <a:gd name="T21" fmla="*/ 22 h 22"/>
                <a:gd name="T22" fmla="*/ 68 w 68"/>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22">
                  <a:moveTo>
                    <a:pt x="33" y="22"/>
                  </a:moveTo>
                  <a:lnTo>
                    <a:pt x="5" y="7"/>
                  </a:lnTo>
                  <a:lnTo>
                    <a:pt x="0" y="0"/>
                  </a:lnTo>
                  <a:lnTo>
                    <a:pt x="33" y="22"/>
                  </a:lnTo>
                  <a:lnTo>
                    <a:pt x="33" y="22"/>
                  </a:lnTo>
                  <a:lnTo>
                    <a:pt x="33" y="22"/>
                  </a:lnTo>
                  <a:close/>
                  <a:moveTo>
                    <a:pt x="68" y="22"/>
                  </a:moveTo>
                  <a:lnTo>
                    <a:pt x="54" y="0"/>
                  </a:lnTo>
                  <a:lnTo>
                    <a:pt x="68" y="7"/>
                  </a:lnTo>
                  <a:lnTo>
                    <a:pt x="68" y="22"/>
                  </a:lnTo>
                  <a:lnTo>
                    <a:pt x="68" y="22"/>
                  </a:lnTo>
                  <a:lnTo>
                    <a:pt x="68" y="2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0" name="Freeform 527">
              <a:extLst>
                <a:ext uri="{FF2B5EF4-FFF2-40B4-BE49-F238E27FC236}">
                  <a16:creationId xmlns:a16="http://schemas.microsoft.com/office/drawing/2014/main" id="{4C76F5EA-E87E-4325-837B-F7CB897BEB96}"/>
                </a:ext>
              </a:extLst>
            </p:cNvPr>
            <p:cNvSpPr>
              <a:spLocks/>
            </p:cNvSpPr>
            <p:nvPr/>
          </p:nvSpPr>
          <p:spPr bwMode="gray">
            <a:xfrm>
              <a:off x="4195699" y="3615469"/>
              <a:ext cx="128441" cy="130103"/>
            </a:xfrm>
            <a:custGeom>
              <a:avLst/>
              <a:gdLst>
                <a:gd name="T0" fmla="*/ 22 w 312"/>
                <a:gd name="T1" fmla="*/ 151 h 316"/>
                <a:gd name="T2" fmla="*/ 43 w 312"/>
                <a:gd name="T3" fmla="*/ 151 h 316"/>
                <a:gd name="T4" fmla="*/ 52 w 312"/>
                <a:gd name="T5" fmla="*/ 139 h 316"/>
                <a:gd name="T6" fmla="*/ 69 w 312"/>
                <a:gd name="T7" fmla="*/ 127 h 316"/>
                <a:gd name="T8" fmla="*/ 60 w 312"/>
                <a:gd name="T9" fmla="*/ 94 h 316"/>
                <a:gd name="T10" fmla="*/ 90 w 312"/>
                <a:gd name="T11" fmla="*/ 94 h 316"/>
                <a:gd name="T12" fmla="*/ 114 w 312"/>
                <a:gd name="T13" fmla="*/ 73 h 316"/>
                <a:gd name="T14" fmla="*/ 140 w 312"/>
                <a:gd name="T15" fmla="*/ 89 h 316"/>
                <a:gd name="T16" fmla="*/ 140 w 312"/>
                <a:gd name="T17" fmla="*/ 82 h 316"/>
                <a:gd name="T18" fmla="*/ 178 w 312"/>
                <a:gd name="T19" fmla="*/ 49 h 316"/>
                <a:gd name="T20" fmla="*/ 178 w 312"/>
                <a:gd name="T21" fmla="*/ 49 h 316"/>
                <a:gd name="T22" fmla="*/ 194 w 312"/>
                <a:gd name="T23" fmla="*/ 16 h 316"/>
                <a:gd name="T24" fmla="*/ 220 w 312"/>
                <a:gd name="T25" fmla="*/ 33 h 316"/>
                <a:gd name="T26" fmla="*/ 270 w 312"/>
                <a:gd name="T27" fmla="*/ 16 h 316"/>
                <a:gd name="T28" fmla="*/ 291 w 312"/>
                <a:gd name="T29" fmla="*/ 0 h 316"/>
                <a:gd name="T30" fmla="*/ 312 w 312"/>
                <a:gd name="T31" fmla="*/ 0 h 316"/>
                <a:gd name="T32" fmla="*/ 303 w 312"/>
                <a:gd name="T33" fmla="*/ 16 h 316"/>
                <a:gd name="T34" fmla="*/ 308 w 312"/>
                <a:gd name="T35" fmla="*/ 28 h 316"/>
                <a:gd name="T36" fmla="*/ 312 w 312"/>
                <a:gd name="T37" fmla="*/ 54 h 316"/>
                <a:gd name="T38" fmla="*/ 303 w 312"/>
                <a:gd name="T39" fmla="*/ 82 h 316"/>
                <a:gd name="T40" fmla="*/ 286 w 312"/>
                <a:gd name="T41" fmla="*/ 122 h 316"/>
                <a:gd name="T42" fmla="*/ 291 w 312"/>
                <a:gd name="T43" fmla="*/ 193 h 316"/>
                <a:gd name="T44" fmla="*/ 286 w 312"/>
                <a:gd name="T45" fmla="*/ 193 h 316"/>
                <a:gd name="T46" fmla="*/ 291 w 312"/>
                <a:gd name="T47" fmla="*/ 167 h 316"/>
                <a:gd name="T48" fmla="*/ 286 w 312"/>
                <a:gd name="T49" fmla="*/ 160 h 316"/>
                <a:gd name="T50" fmla="*/ 286 w 312"/>
                <a:gd name="T51" fmla="*/ 177 h 316"/>
                <a:gd name="T52" fmla="*/ 274 w 312"/>
                <a:gd name="T53" fmla="*/ 193 h 316"/>
                <a:gd name="T54" fmla="*/ 274 w 312"/>
                <a:gd name="T55" fmla="*/ 222 h 316"/>
                <a:gd name="T56" fmla="*/ 270 w 312"/>
                <a:gd name="T57" fmla="*/ 233 h 316"/>
                <a:gd name="T58" fmla="*/ 270 w 312"/>
                <a:gd name="T59" fmla="*/ 238 h 316"/>
                <a:gd name="T60" fmla="*/ 274 w 312"/>
                <a:gd name="T61" fmla="*/ 233 h 316"/>
                <a:gd name="T62" fmla="*/ 286 w 312"/>
                <a:gd name="T63" fmla="*/ 255 h 316"/>
                <a:gd name="T64" fmla="*/ 270 w 312"/>
                <a:gd name="T65" fmla="*/ 271 h 316"/>
                <a:gd name="T66" fmla="*/ 270 w 312"/>
                <a:gd name="T67" fmla="*/ 290 h 316"/>
                <a:gd name="T68" fmla="*/ 286 w 312"/>
                <a:gd name="T69" fmla="*/ 307 h 316"/>
                <a:gd name="T70" fmla="*/ 274 w 312"/>
                <a:gd name="T71" fmla="*/ 311 h 316"/>
                <a:gd name="T72" fmla="*/ 258 w 312"/>
                <a:gd name="T73" fmla="*/ 316 h 316"/>
                <a:gd name="T74" fmla="*/ 204 w 312"/>
                <a:gd name="T75" fmla="*/ 295 h 316"/>
                <a:gd name="T76" fmla="*/ 194 w 312"/>
                <a:gd name="T77" fmla="*/ 307 h 316"/>
                <a:gd name="T78" fmla="*/ 145 w 312"/>
                <a:gd name="T79" fmla="*/ 278 h 316"/>
                <a:gd name="T80" fmla="*/ 140 w 312"/>
                <a:gd name="T81" fmla="*/ 295 h 316"/>
                <a:gd name="T82" fmla="*/ 86 w 312"/>
                <a:gd name="T83" fmla="*/ 238 h 316"/>
                <a:gd name="T84" fmla="*/ 60 w 312"/>
                <a:gd name="T85" fmla="*/ 205 h 316"/>
                <a:gd name="T86" fmla="*/ 0 w 312"/>
                <a:gd name="T87" fmla="*/ 160 h 316"/>
                <a:gd name="T88" fmla="*/ 5 w 312"/>
                <a:gd name="T89" fmla="*/ 144 h 316"/>
                <a:gd name="T90" fmla="*/ 22 w 312"/>
                <a:gd name="T91" fmla="*/ 160 h 316"/>
                <a:gd name="T92" fmla="*/ 22 w 312"/>
                <a:gd name="T93" fmla="*/ 160 h 316"/>
                <a:gd name="T94" fmla="*/ 22 w 312"/>
                <a:gd name="T95" fmla="*/ 151 h 316"/>
                <a:gd name="T96" fmla="*/ 22 w 312"/>
                <a:gd name="T97" fmla="*/ 151 h 316"/>
                <a:gd name="T98" fmla="*/ 22 w 312"/>
                <a:gd name="T99" fmla="*/ 15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2" h="316">
                  <a:moveTo>
                    <a:pt x="22" y="151"/>
                  </a:moveTo>
                  <a:lnTo>
                    <a:pt x="43" y="151"/>
                  </a:lnTo>
                  <a:lnTo>
                    <a:pt x="52" y="139"/>
                  </a:lnTo>
                  <a:lnTo>
                    <a:pt x="69" y="127"/>
                  </a:lnTo>
                  <a:lnTo>
                    <a:pt x="60" y="94"/>
                  </a:lnTo>
                  <a:lnTo>
                    <a:pt x="90" y="94"/>
                  </a:lnTo>
                  <a:lnTo>
                    <a:pt x="114" y="73"/>
                  </a:lnTo>
                  <a:lnTo>
                    <a:pt x="140" y="89"/>
                  </a:lnTo>
                  <a:lnTo>
                    <a:pt x="140" y="82"/>
                  </a:lnTo>
                  <a:lnTo>
                    <a:pt x="178" y="49"/>
                  </a:lnTo>
                  <a:lnTo>
                    <a:pt x="178" y="49"/>
                  </a:lnTo>
                  <a:lnTo>
                    <a:pt x="194" y="16"/>
                  </a:lnTo>
                  <a:lnTo>
                    <a:pt x="220" y="33"/>
                  </a:lnTo>
                  <a:lnTo>
                    <a:pt x="270" y="16"/>
                  </a:lnTo>
                  <a:lnTo>
                    <a:pt x="291" y="0"/>
                  </a:lnTo>
                  <a:lnTo>
                    <a:pt x="312" y="0"/>
                  </a:lnTo>
                  <a:lnTo>
                    <a:pt x="303" y="16"/>
                  </a:lnTo>
                  <a:lnTo>
                    <a:pt x="308" y="28"/>
                  </a:lnTo>
                  <a:lnTo>
                    <a:pt x="312" y="54"/>
                  </a:lnTo>
                  <a:lnTo>
                    <a:pt x="303" y="82"/>
                  </a:lnTo>
                  <a:lnTo>
                    <a:pt x="286" y="122"/>
                  </a:lnTo>
                  <a:lnTo>
                    <a:pt x="291" y="193"/>
                  </a:lnTo>
                  <a:lnTo>
                    <a:pt x="286" y="193"/>
                  </a:lnTo>
                  <a:lnTo>
                    <a:pt x="291" y="167"/>
                  </a:lnTo>
                  <a:lnTo>
                    <a:pt x="286" y="160"/>
                  </a:lnTo>
                  <a:lnTo>
                    <a:pt x="286" y="177"/>
                  </a:lnTo>
                  <a:lnTo>
                    <a:pt x="274" y="193"/>
                  </a:lnTo>
                  <a:lnTo>
                    <a:pt x="274" y="222"/>
                  </a:lnTo>
                  <a:lnTo>
                    <a:pt x="270" y="233"/>
                  </a:lnTo>
                  <a:lnTo>
                    <a:pt x="270" y="238"/>
                  </a:lnTo>
                  <a:lnTo>
                    <a:pt x="274" y="233"/>
                  </a:lnTo>
                  <a:lnTo>
                    <a:pt x="286" y="255"/>
                  </a:lnTo>
                  <a:lnTo>
                    <a:pt x="270" y="271"/>
                  </a:lnTo>
                  <a:lnTo>
                    <a:pt x="270" y="290"/>
                  </a:lnTo>
                  <a:lnTo>
                    <a:pt x="286" y="307"/>
                  </a:lnTo>
                  <a:lnTo>
                    <a:pt x="274" y="311"/>
                  </a:lnTo>
                  <a:lnTo>
                    <a:pt x="258" y="316"/>
                  </a:lnTo>
                  <a:lnTo>
                    <a:pt x="204" y="295"/>
                  </a:lnTo>
                  <a:lnTo>
                    <a:pt x="194" y="307"/>
                  </a:lnTo>
                  <a:lnTo>
                    <a:pt x="145" y="278"/>
                  </a:lnTo>
                  <a:lnTo>
                    <a:pt x="140" y="295"/>
                  </a:lnTo>
                  <a:lnTo>
                    <a:pt x="86" y="238"/>
                  </a:lnTo>
                  <a:lnTo>
                    <a:pt x="60" y="205"/>
                  </a:lnTo>
                  <a:lnTo>
                    <a:pt x="0" y="160"/>
                  </a:lnTo>
                  <a:lnTo>
                    <a:pt x="5" y="144"/>
                  </a:lnTo>
                  <a:lnTo>
                    <a:pt x="22" y="160"/>
                  </a:lnTo>
                  <a:lnTo>
                    <a:pt x="22" y="160"/>
                  </a:lnTo>
                  <a:lnTo>
                    <a:pt x="22" y="151"/>
                  </a:lnTo>
                  <a:lnTo>
                    <a:pt x="22" y="151"/>
                  </a:lnTo>
                  <a:lnTo>
                    <a:pt x="22" y="15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2" name="Freeform 529">
              <a:extLst>
                <a:ext uri="{FF2B5EF4-FFF2-40B4-BE49-F238E27FC236}">
                  <a16:creationId xmlns:a16="http://schemas.microsoft.com/office/drawing/2014/main" id="{7DCBCEC0-206A-4D97-9CB6-8FBDDB8DADD0}"/>
                </a:ext>
              </a:extLst>
            </p:cNvPr>
            <p:cNvSpPr>
              <a:spLocks/>
            </p:cNvSpPr>
            <p:nvPr/>
          </p:nvSpPr>
          <p:spPr bwMode="gray">
            <a:xfrm>
              <a:off x="4914476" y="4643111"/>
              <a:ext cx="244943" cy="261852"/>
            </a:xfrm>
            <a:custGeom>
              <a:avLst/>
              <a:gdLst>
                <a:gd name="T0" fmla="*/ 343 w 595"/>
                <a:gd name="T1" fmla="*/ 449 h 636"/>
                <a:gd name="T2" fmla="*/ 189 w 595"/>
                <a:gd name="T3" fmla="*/ 359 h 636"/>
                <a:gd name="T4" fmla="*/ 118 w 595"/>
                <a:gd name="T5" fmla="*/ 343 h 636"/>
                <a:gd name="T6" fmla="*/ 50 w 595"/>
                <a:gd name="T7" fmla="*/ 289 h 636"/>
                <a:gd name="T8" fmla="*/ 0 w 595"/>
                <a:gd name="T9" fmla="*/ 227 h 636"/>
                <a:gd name="T10" fmla="*/ 33 w 595"/>
                <a:gd name="T11" fmla="*/ 100 h 636"/>
                <a:gd name="T12" fmla="*/ 71 w 595"/>
                <a:gd name="T13" fmla="*/ 29 h 636"/>
                <a:gd name="T14" fmla="*/ 255 w 595"/>
                <a:gd name="T15" fmla="*/ 12 h 636"/>
                <a:gd name="T16" fmla="*/ 319 w 595"/>
                <a:gd name="T17" fmla="*/ 67 h 636"/>
                <a:gd name="T18" fmla="*/ 343 w 595"/>
                <a:gd name="T19" fmla="*/ 161 h 636"/>
                <a:gd name="T20" fmla="*/ 336 w 595"/>
                <a:gd name="T21" fmla="*/ 215 h 636"/>
                <a:gd name="T22" fmla="*/ 428 w 595"/>
                <a:gd name="T23" fmla="*/ 227 h 636"/>
                <a:gd name="T24" fmla="*/ 461 w 595"/>
                <a:gd name="T25" fmla="*/ 227 h 636"/>
                <a:gd name="T26" fmla="*/ 499 w 595"/>
                <a:gd name="T27" fmla="*/ 255 h 636"/>
                <a:gd name="T28" fmla="*/ 515 w 595"/>
                <a:gd name="T29" fmla="*/ 359 h 636"/>
                <a:gd name="T30" fmla="*/ 569 w 595"/>
                <a:gd name="T31" fmla="*/ 343 h 636"/>
                <a:gd name="T32" fmla="*/ 591 w 595"/>
                <a:gd name="T33" fmla="*/ 364 h 636"/>
                <a:gd name="T34" fmla="*/ 581 w 595"/>
                <a:gd name="T35" fmla="*/ 437 h 636"/>
                <a:gd name="T36" fmla="*/ 569 w 595"/>
                <a:gd name="T37" fmla="*/ 470 h 636"/>
                <a:gd name="T38" fmla="*/ 569 w 595"/>
                <a:gd name="T39" fmla="*/ 548 h 636"/>
                <a:gd name="T40" fmla="*/ 515 w 595"/>
                <a:gd name="T41" fmla="*/ 586 h 636"/>
                <a:gd name="T42" fmla="*/ 503 w 595"/>
                <a:gd name="T43" fmla="*/ 615 h 636"/>
                <a:gd name="T44" fmla="*/ 482 w 595"/>
                <a:gd name="T45" fmla="*/ 615 h 636"/>
                <a:gd name="T46" fmla="*/ 444 w 595"/>
                <a:gd name="T47" fmla="*/ 636 h 636"/>
                <a:gd name="T48" fmla="*/ 418 w 595"/>
                <a:gd name="T49" fmla="*/ 624 h 636"/>
                <a:gd name="T50" fmla="*/ 397 w 595"/>
                <a:gd name="T51" fmla="*/ 624 h 636"/>
                <a:gd name="T52" fmla="*/ 288 w 595"/>
                <a:gd name="T53" fmla="*/ 615 h 636"/>
                <a:gd name="T54" fmla="*/ 319 w 595"/>
                <a:gd name="T55" fmla="*/ 565 h 636"/>
                <a:gd name="T56" fmla="*/ 343 w 595"/>
                <a:gd name="T57" fmla="*/ 508 h 636"/>
                <a:gd name="T58" fmla="*/ 343 w 595"/>
                <a:gd name="T59" fmla="*/ 492 h 636"/>
                <a:gd name="T60" fmla="*/ 364 w 595"/>
                <a:gd name="T61" fmla="*/ 470 h 636"/>
                <a:gd name="T62" fmla="*/ 357 w 595"/>
                <a:gd name="T63" fmla="*/ 45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5" h="636">
                  <a:moveTo>
                    <a:pt x="357" y="459"/>
                  </a:moveTo>
                  <a:lnTo>
                    <a:pt x="343" y="449"/>
                  </a:lnTo>
                  <a:lnTo>
                    <a:pt x="272" y="421"/>
                  </a:lnTo>
                  <a:lnTo>
                    <a:pt x="189" y="359"/>
                  </a:lnTo>
                  <a:lnTo>
                    <a:pt x="173" y="359"/>
                  </a:lnTo>
                  <a:lnTo>
                    <a:pt x="118" y="343"/>
                  </a:lnTo>
                  <a:lnTo>
                    <a:pt x="109" y="326"/>
                  </a:lnTo>
                  <a:lnTo>
                    <a:pt x="50" y="289"/>
                  </a:lnTo>
                  <a:lnTo>
                    <a:pt x="33" y="248"/>
                  </a:lnTo>
                  <a:lnTo>
                    <a:pt x="0" y="227"/>
                  </a:lnTo>
                  <a:lnTo>
                    <a:pt x="33" y="140"/>
                  </a:lnTo>
                  <a:lnTo>
                    <a:pt x="33" y="100"/>
                  </a:lnTo>
                  <a:lnTo>
                    <a:pt x="54" y="67"/>
                  </a:lnTo>
                  <a:lnTo>
                    <a:pt x="71" y="29"/>
                  </a:lnTo>
                  <a:lnTo>
                    <a:pt x="189" y="0"/>
                  </a:lnTo>
                  <a:lnTo>
                    <a:pt x="255" y="12"/>
                  </a:lnTo>
                  <a:lnTo>
                    <a:pt x="319" y="45"/>
                  </a:lnTo>
                  <a:lnTo>
                    <a:pt x="319" y="67"/>
                  </a:lnTo>
                  <a:lnTo>
                    <a:pt x="343" y="128"/>
                  </a:lnTo>
                  <a:lnTo>
                    <a:pt x="343" y="161"/>
                  </a:lnTo>
                  <a:lnTo>
                    <a:pt x="336" y="173"/>
                  </a:lnTo>
                  <a:lnTo>
                    <a:pt x="336" y="215"/>
                  </a:lnTo>
                  <a:lnTo>
                    <a:pt x="411" y="227"/>
                  </a:lnTo>
                  <a:lnTo>
                    <a:pt x="428" y="227"/>
                  </a:lnTo>
                  <a:lnTo>
                    <a:pt x="444" y="211"/>
                  </a:lnTo>
                  <a:lnTo>
                    <a:pt x="461" y="227"/>
                  </a:lnTo>
                  <a:lnTo>
                    <a:pt x="482" y="232"/>
                  </a:lnTo>
                  <a:lnTo>
                    <a:pt x="499" y="255"/>
                  </a:lnTo>
                  <a:lnTo>
                    <a:pt x="499" y="272"/>
                  </a:lnTo>
                  <a:lnTo>
                    <a:pt x="515" y="359"/>
                  </a:lnTo>
                  <a:lnTo>
                    <a:pt x="541" y="359"/>
                  </a:lnTo>
                  <a:lnTo>
                    <a:pt x="569" y="343"/>
                  </a:lnTo>
                  <a:lnTo>
                    <a:pt x="595" y="364"/>
                  </a:lnTo>
                  <a:lnTo>
                    <a:pt x="591" y="364"/>
                  </a:lnTo>
                  <a:lnTo>
                    <a:pt x="595" y="381"/>
                  </a:lnTo>
                  <a:lnTo>
                    <a:pt x="581" y="437"/>
                  </a:lnTo>
                  <a:lnTo>
                    <a:pt x="581" y="449"/>
                  </a:lnTo>
                  <a:lnTo>
                    <a:pt x="569" y="470"/>
                  </a:lnTo>
                  <a:lnTo>
                    <a:pt x="574" y="475"/>
                  </a:lnTo>
                  <a:lnTo>
                    <a:pt x="569" y="548"/>
                  </a:lnTo>
                  <a:lnTo>
                    <a:pt x="541" y="570"/>
                  </a:lnTo>
                  <a:lnTo>
                    <a:pt x="515" y="586"/>
                  </a:lnTo>
                  <a:lnTo>
                    <a:pt x="503" y="598"/>
                  </a:lnTo>
                  <a:lnTo>
                    <a:pt x="503" y="615"/>
                  </a:lnTo>
                  <a:lnTo>
                    <a:pt x="489" y="619"/>
                  </a:lnTo>
                  <a:lnTo>
                    <a:pt x="482" y="615"/>
                  </a:lnTo>
                  <a:lnTo>
                    <a:pt x="465" y="615"/>
                  </a:lnTo>
                  <a:lnTo>
                    <a:pt x="444" y="636"/>
                  </a:lnTo>
                  <a:lnTo>
                    <a:pt x="435" y="624"/>
                  </a:lnTo>
                  <a:lnTo>
                    <a:pt x="418" y="624"/>
                  </a:lnTo>
                  <a:lnTo>
                    <a:pt x="411" y="619"/>
                  </a:lnTo>
                  <a:lnTo>
                    <a:pt x="397" y="624"/>
                  </a:lnTo>
                  <a:lnTo>
                    <a:pt x="352" y="615"/>
                  </a:lnTo>
                  <a:lnTo>
                    <a:pt x="288" y="615"/>
                  </a:lnTo>
                  <a:lnTo>
                    <a:pt x="288" y="603"/>
                  </a:lnTo>
                  <a:lnTo>
                    <a:pt x="319" y="565"/>
                  </a:lnTo>
                  <a:lnTo>
                    <a:pt x="319" y="525"/>
                  </a:lnTo>
                  <a:lnTo>
                    <a:pt x="343" y="508"/>
                  </a:lnTo>
                  <a:lnTo>
                    <a:pt x="343" y="508"/>
                  </a:lnTo>
                  <a:lnTo>
                    <a:pt x="343" y="492"/>
                  </a:lnTo>
                  <a:lnTo>
                    <a:pt x="364" y="475"/>
                  </a:lnTo>
                  <a:lnTo>
                    <a:pt x="364" y="470"/>
                  </a:lnTo>
                  <a:lnTo>
                    <a:pt x="357" y="459"/>
                  </a:lnTo>
                  <a:lnTo>
                    <a:pt x="357" y="459"/>
                  </a:lnTo>
                  <a:lnTo>
                    <a:pt x="357" y="45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3" name="Freeform 530">
              <a:extLst>
                <a:ext uri="{FF2B5EF4-FFF2-40B4-BE49-F238E27FC236}">
                  <a16:creationId xmlns:a16="http://schemas.microsoft.com/office/drawing/2014/main" id="{6C9CED62-328A-4E97-9D4C-78E08B256D97}"/>
                </a:ext>
              </a:extLst>
            </p:cNvPr>
            <p:cNvSpPr>
              <a:spLocks/>
            </p:cNvSpPr>
            <p:nvPr/>
          </p:nvSpPr>
          <p:spPr bwMode="gray">
            <a:xfrm>
              <a:off x="4375599" y="4067532"/>
              <a:ext cx="367621" cy="547583"/>
            </a:xfrm>
            <a:custGeom>
              <a:avLst/>
              <a:gdLst>
                <a:gd name="T0" fmla="*/ 872 w 893"/>
                <a:gd name="T1" fmla="*/ 926 h 1330"/>
                <a:gd name="T2" fmla="*/ 877 w 893"/>
                <a:gd name="T3" fmla="*/ 1025 h 1330"/>
                <a:gd name="T4" fmla="*/ 839 w 893"/>
                <a:gd name="T5" fmla="*/ 1063 h 1330"/>
                <a:gd name="T6" fmla="*/ 844 w 893"/>
                <a:gd name="T7" fmla="*/ 1108 h 1330"/>
                <a:gd name="T8" fmla="*/ 872 w 893"/>
                <a:gd name="T9" fmla="*/ 1169 h 1330"/>
                <a:gd name="T10" fmla="*/ 872 w 893"/>
                <a:gd name="T11" fmla="*/ 1202 h 1330"/>
                <a:gd name="T12" fmla="*/ 834 w 893"/>
                <a:gd name="T13" fmla="*/ 1259 h 1330"/>
                <a:gd name="T14" fmla="*/ 806 w 893"/>
                <a:gd name="T15" fmla="*/ 1280 h 1330"/>
                <a:gd name="T16" fmla="*/ 768 w 893"/>
                <a:gd name="T17" fmla="*/ 1330 h 1330"/>
                <a:gd name="T18" fmla="*/ 671 w 893"/>
                <a:gd name="T19" fmla="*/ 1242 h 1330"/>
                <a:gd name="T20" fmla="*/ 515 w 893"/>
                <a:gd name="T21" fmla="*/ 1153 h 1330"/>
                <a:gd name="T22" fmla="*/ 388 w 893"/>
                <a:gd name="T23" fmla="*/ 1058 h 1330"/>
                <a:gd name="T24" fmla="*/ 350 w 893"/>
                <a:gd name="T25" fmla="*/ 1004 h 1330"/>
                <a:gd name="T26" fmla="*/ 360 w 893"/>
                <a:gd name="T27" fmla="*/ 964 h 1330"/>
                <a:gd name="T28" fmla="*/ 300 w 893"/>
                <a:gd name="T29" fmla="*/ 869 h 1330"/>
                <a:gd name="T30" fmla="*/ 263 w 893"/>
                <a:gd name="T31" fmla="*/ 782 h 1330"/>
                <a:gd name="T32" fmla="*/ 194 w 893"/>
                <a:gd name="T33" fmla="*/ 647 h 1330"/>
                <a:gd name="T34" fmla="*/ 145 w 893"/>
                <a:gd name="T35" fmla="*/ 565 h 1330"/>
                <a:gd name="T36" fmla="*/ 17 w 893"/>
                <a:gd name="T37" fmla="*/ 432 h 1330"/>
                <a:gd name="T38" fmla="*/ 38 w 893"/>
                <a:gd name="T39" fmla="*/ 399 h 1330"/>
                <a:gd name="T40" fmla="*/ 26 w 893"/>
                <a:gd name="T41" fmla="*/ 354 h 1330"/>
                <a:gd name="T42" fmla="*/ 38 w 893"/>
                <a:gd name="T43" fmla="*/ 267 h 1330"/>
                <a:gd name="T44" fmla="*/ 86 w 893"/>
                <a:gd name="T45" fmla="*/ 276 h 1330"/>
                <a:gd name="T46" fmla="*/ 64 w 893"/>
                <a:gd name="T47" fmla="*/ 300 h 1330"/>
                <a:gd name="T48" fmla="*/ 69 w 893"/>
                <a:gd name="T49" fmla="*/ 317 h 1330"/>
                <a:gd name="T50" fmla="*/ 123 w 893"/>
                <a:gd name="T51" fmla="*/ 317 h 1330"/>
                <a:gd name="T52" fmla="*/ 178 w 893"/>
                <a:gd name="T53" fmla="*/ 333 h 1330"/>
                <a:gd name="T54" fmla="*/ 211 w 893"/>
                <a:gd name="T55" fmla="*/ 267 h 1330"/>
                <a:gd name="T56" fmla="*/ 225 w 893"/>
                <a:gd name="T57" fmla="*/ 234 h 1330"/>
                <a:gd name="T58" fmla="*/ 371 w 893"/>
                <a:gd name="T59" fmla="*/ 149 h 1330"/>
                <a:gd name="T60" fmla="*/ 430 w 893"/>
                <a:gd name="T61" fmla="*/ 61 h 1330"/>
                <a:gd name="T62" fmla="*/ 404 w 893"/>
                <a:gd name="T63" fmla="*/ 5 h 1330"/>
                <a:gd name="T64" fmla="*/ 456 w 893"/>
                <a:gd name="T65" fmla="*/ 12 h 1330"/>
                <a:gd name="T66" fmla="*/ 494 w 893"/>
                <a:gd name="T67" fmla="*/ 38 h 1330"/>
                <a:gd name="T68" fmla="*/ 553 w 893"/>
                <a:gd name="T69" fmla="*/ 111 h 1330"/>
                <a:gd name="T70" fmla="*/ 574 w 893"/>
                <a:gd name="T71" fmla="*/ 123 h 1330"/>
                <a:gd name="T72" fmla="*/ 574 w 893"/>
                <a:gd name="T73" fmla="*/ 165 h 1330"/>
                <a:gd name="T74" fmla="*/ 619 w 893"/>
                <a:gd name="T75" fmla="*/ 165 h 1330"/>
                <a:gd name="T76" fmla="*/ 678 w 893"/>
                <a:gd name="T77" fmla="*/ 149 h 1330"/>
                <a:gd name="T78" fmla="*/ 737 w 893"/>
                <a:gd name="T79" fmla="*/ 156 h 1330"/>
                <a:gd name="T80" fmla="*/ 789 w 893"/>
                <a:gd name="T81" fmla="*/ 194 h 1330"/>
                <a:gd name="T82" fmla="*/ 780 w 893"/>
                <a:gd name="T83" fmla="*/ 267 h 1330"/>
                <a:gd name="T84" fmla="*/ 785 w 893"/>
                <a:gd name="T85" fmla="*/ 305 h 1330"/>
                <a:gd name="T86" fmla="*/ 730 w 893"/>
                <a:gd name="T87" fmla="*/ 305 h 1330"/>
                <a:gd name="T88" fmla="*/ 603 w 893"/>
                <a:gd name="T89" fmla="*/ 359 h 1330"/>
                <a:gd name="T90" fmla="*/ 574 w 893"/>
                <a:gd name="T91" fmla="*/ 454 h 1330"/>
                <a:gd name="T92" fmla="*/ 537 w 893"/>
                <a:gd name="T93" fmla="*/ 522 h 1330"/>
                <a:gd name="T94" fmla="*/ 537 w 893"/>
                <a:gd name="T95" fmla="*/ 555 h 1330"/>
                <a:gd name="T96" fmla="*/ 553 w 893"/>
                <a:gd name="T97" fmla="*/ 598 h 1330"/>
                <a:gd name="T98" fmla="*/ 570 w 893"/>
                <a:gd name="T99" fmla="*/ 671 h 1330"/>
                <a:gd name="T100" fmla="*/ 709 w 893"/>
                <a:gd name="T101" fmla="*/ 720 h 1330"/>
                <a:gd name="T102" fmla="*/ 754 w 893"/>
                <a:gd name="T103" fmla="*/ 787 h 1330"/>
                <a:gd name="T104" fmla="*/ 801 w 893"/>
                <a:gd name="T105" fmla="*/ 782 h 1330"/>
                <a:gd name="T106" fmla="*/ 834 w 893"/>
                <a:gd name="T107" fmla="*/ 787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3" h="1330">
                  <a:moveTo>
                    <a:pt x="834" y="787"/>
                  </a:moveTo>
                  <a:lnTo>
                    <a:pt x="893" y="898"/>
                  </a:lnTo>
                  <a:lnTo>
                    <a:pt x="872" y="926"/>
                  </a:lnTo>
                  <a:lnTo>
                    <a:pt x="872" y="971"/>
                  </a:lnTo>
                  <a:lnTo>
                    <a:pt x="860" y="987"/>
                  </a:lnTo>
                  <a:lnTo>
                    <a:pt x="877" y="1025"/>
                  </a:lnTo>
                  <a:lnTo>
                    <a:pt x="872" y="1025"/>
                  </a:lnTo>
                  <a:lnTo>
                    <a:pt x="872" y="1037"/>
                  </a:lnTo>
                  <a:lnTo>
                    <a:pt x="839" y="1063"/>
                  </a:lnTo>
                  <a:lnTo>
                    <a:pt x="839" y="1082"/>
                  </a:lnTo>
                  <a:lnTo>
                    <a:pt x="856" y="1098"/>
                  </a:lnTo>
                  <a:lnTo>
                    <a:pt x="844" y="1108"/>
                  </a:lnTo>
                  <a:lnTo>
                    <a:pt x="839" y="1131"/>
                  </a:lnTo>
                  <a:lnTo>
                    <a:pt x="856" y="1169"/>
                  </a:lnTo>
                  <a:lnTo>
                    <a:pt x="872" y="1169"/>
                  </a:lnTo>
                  <a:lnTo>
                    <a:pt x="877" y="1174"/>
                  </a:lnTo>
                  <a:lnTo>
                    <a:pt x="860" y="1191"/>
                  </a:lnTo>
                  <a:lnTo>
                    <a:pt x="872" y="1202"/>
                  </a:lnTo>
                  <a:lnTo>
                    <a:pt x="823" y="1247"/>
                  </a:lnTo>
                  <a:lnTo>
                    <a:pt x="823" y="1247"/>
                  </a:lnTo>
                  <a:lnTo>
                    <a:pt x="834" y="1259"/>
                  </a:lnTo>
                  <a:lnTo>
                    <a:pt x="834" y="1264"/>
                  </a:lnTo>
                  <a:lnTo>
                    <a:pt x="823" y="1280"/>
                  </a:lnTo>
                  <a:lnTo>
                    <a:pt x="806" y="1280"/>
                  </a:lnTo>
                  <a:lnTo>
                    <a:pt x="818" y="1302"/>
                  </a:lnTo>
                  <a:lnTo>
                    <a:pt x="801" y="1318"/>
                  </a:lnTo>
                  <a:lnTo>
                    <a:pt x="768" y="1330"/>
                  </a:lnTo>
                  <a:lnTo>
                    <a:pt x="709" y="1280"/>
                  </a:lnTo>
                  <a:lnTo>
                    <a:pt x="693" y="1247"/>
                  </a:lnTo>
                  <a:lnTo>
                    <a:pt x="671" y="1242"/>
                  </a:lnTo>
                  <a:lnTo>
                    <a:pt x="624" y="1207"/>
                  </a:lnTo>
                  <a:lnTo>
                    <a:pt x="532" y="1169"/>
                  </a:lnTo>
                  <a:lnTo>
                    <a:pt x="515" y="1153"/>
                  </a:lnTo>
                  <a:lnTo>
                    <a:pt x="447" y="1115"/>
                  </a:lnTo>
                  <a:lnTo>
                    <a:pt x="409" y="1075"/>
                  </a:lnTo>
                  <a:lnTo>
                    <a:pt x="388" y="1058"/>
                  </a:lnTo>
                  <a:lnTo>
                    <a:pt x="360" y="1020"/>
                  </a:lnTo>
                  <a:lnTo>
                    <a:pt x="355" y="1004"/>
                  </a:lnTo>
                  <a:lnTo>
                    <a:pt x="350" y="1004"/>
                  </a:lnTo>
                  <a:lnTo>
                    <a:pt x="355" y="997"/>
                  </a:lnTo>
                  <a:lnTo>
                    <a:pt x="360" y="997"/>
                  </a:lnTo>
                  <a:lnTo>
                    <a:pt x="360" y="964"/>
                  </a:lnTo>
                  <a:lnTo>
                    <a:pt x="350" y="942"/>
                  </a:lnTo>
                  <a:lnTo>
                    <a:pt x="322" y="893"/>
                  </a:lnTo>
                  <a:lnTo>
                    <a:pt x="300" y="869"/>
                  </a:lnTo>
                  <a:lnTo>
                    <a:pt x="296" y="836"/>
                  </a:lnTo>
                  <a:lnTo>
                    <a:pt x="263" y="815"/>
                  </a:lnTo>
                  <a:lnTo>
                    <a:pt x="263" y="782"/>
                  </a:lnTo>
                  <a:lnTo>
                    <a:pt x="232" y="742"/>
                  </a:lnTo>
                  <a:lnTo>
                    <a:pt x="199" y="654"/>
                  </a:lnTo>
                  <a:lnTo>
                    <a:pt x="194" y="647"/>
                  </a:lnTo>
                  <a:lnTo>
                    <a:pt x="189" y="614"/>
                  </a:lnTo>
                  <a:lnTo>
                    <a:pt x="173" y="593"/>
                  </a:lnTo>
                  <a:lnTo>
                    <a:pt x="145" y="565"/>
                  </a:lnTo>
                  <a:lnTo>
                    <a:pt x="119" y="503"/>
                  </a:lnTo>
                  <a:lnTo>
                    <a:pt x="102" y="482"/>
                  </a:lnTo>
                  <a:lnTo>
                    <a:pt x="17" y="432"/>
                  </a:lnTo>
                  <a:lnTo>
                    <a:pt x="17" y="416"/>
                  </a:lnTo>
                  <a:lnTo>
                    <a:pt x="31" y="416"/>
                  </a:lnTo>
                  <a:lnTo>
                    <a:pt x="38" y="399"/>
                  </a:lnTo>
                  <a:lnTo>
                    <a:pt x="31" y="387"/>
                  </a:lnTo>
                  <a:lnTo>
                    <a:pt x="17" y="371"/>
                  </a:lnTo>
                  <a:lnTo>
                    <a:pt x="26" y="354"/>
                  </a:lnTo>
                  <a:lnTo>
                    <a:pt x="0" y="333"/>
                  </a:lnTo>
                  <a:lnTo>
                    <a:pt x="10" y="305"/>
                  </a:lnTo>
                  <a:lnTo>
                    <a:pt x="38" y="267"/>
                  </a:lnTo>
                  <a:lnTo>
                    <a:pt x="81" y="234"/>
                  </a:lnTo>
                  <a:lnTo>
                    <a:pt x="81" y="243"/>
                  </a:lnTo>
                  <a:lnTo>
                    <a:pt x="86" y="276"/>
                  </a:lnTo>
                  <a:lnTo>
                    <a:pt x="81" y="283"/>
                  </a:lnTo>
                  <a:lnTo>
                    <a:pt x="64" y="283"/>
                  </a:lnTo>
                  <a:lnTo>
                    <a:pt x="64" y="300"/>
                  </a:lnTo>
                  <a:lnTo>
                    <a:pt x="81" y="300"/>
                  </a:lnTo>
                  <a:lnTo>
                    <a:pt x="64" y="317"/>
                  </a:lnTo>
                  <a:lnTo>
                    <a:pt x="69" y="317"/>
                  </a:lnTo>
                  <a:lnTo>
                    <a:pt x="86" y="305"/>
                  </a:lnTo>
                  <a:lnTo>
                    <a:pt x="107" y="317"/>
                  </a:lnTo>
                  <a:lnTo>
                    <a:pt x="123" y="317"/>
                  </a:lnTo>
                  <a:lnTo>
                    <a:pt x="145" y="354"/>
                  </a:lnTo>
                  <a:lnTo>
                    <a:pt x="161" y="354"/>
                  </a:lnTo>
                  <a:lnTo>
                    <a:pt x="178" y="333"/>
                  </a:lnTo>
                  <a:lnTo>
                    <a:pt x="194" y="321"/>
                  </a:lnTo>
                  <a:lnTo>
                    <a:pt x="194" y="305"/>
                  </a:lnTo>
                  <a:lnTo>
                    <a:pt x="211" y="267"/>
                  </a:lnTo>
                  <a:lnTo>
                    <a:pt x="215" y="243"/>
                  </a:lnTo>
                  <a:lnTo>
                    <a:pt x="225" y="250"/>
                  </a:lnTo>
                  <a:lnTo>
                    <a:pt x="225" y="234"/>
                  </a:lnTo>
                  <a:lnTo>
                    <a:pt x="249" y="210"/>
                  </a:lnTo>
                  <a:lnTo>
                    <a:pt x="334" y="177"/>
                  </a:lnTo>
                  <a:lnTo>
                    <a:pt x="371" y="149"/>
                  </a:lnTo>
                  <a:lnTo>
                    <a:pt x="409" y="111"/>
                  </a:lnTo>
                  <a:lnTo>
                    <a:pt x="426" y="61"/>
                  </a:lnTo>
                  <a:lnTo>
                    <a:pt x="430" y="61"/>
                  </a:lnTo>
                  <a:lnTo>
                    <a:pt x="430" y="45"/>
                  </a:lnTo>
                  <a:lnTo>
                    <a:pt x="430" y="38"/>
                  </a:lnTo>
                  <a:lnTo>
                    <a:pt x="404" y="5"/>
                  </a:lnTo>
                  <a:lnTo>
                    <a:pt x="430" y="5"/>
                  </a:lnTo>
                  <a:lnTo>
                    <a:pt x="430" y="0"/>
                  </a:lnTo>
                  <a:lnTo>
                    <a:pt x="456" y="12"/>
                  </a:lnTo>
                  <a:lnTo>
                    <a:pt x="463" y="5"/>
                  </a:lnTo>
                  <a:lnTo>
                    <a:pt x="468" y="21"/>
                  </a:lnTo>
                  <a:lnTo>
                    <a:pt x="494" y="38"/>
                  </a:lnTo>
                  <a:lnTo>
                    <a:pt x="501" y="66"/>
                  </a:lnTo>
                  <a:lnTo>
                    <a:pt x="548" y="94"/>
                  </a:lnTo>
                  <a:lnTo>
                    <a:pt x="553" y="111"/>
                  </a:lnTo>
                  <a:lnTo>
                    <a:pt x="553" y="116"/>
                  </a:lnTo>
                  <a:lnTo>
                    <a:pt x="570" y="132"/>
                  </a:lnTo>
                  <a:lnTo>
                    <a:pt x="574" y="123"/>
                  </a:lnTo>
                  <a:lnTo>
                    <a:pt x="574" y="123"/>
                  </a:lnTo>
                  <a:lnTo>
                    <a:pt x="586" y="149"/>
                  </a:lnTo>
                  <a:lnTo>
                    <a:pt x="574" y="165"/>
                  </a:lnTo>
                  <a:lnTo>
                    <a:pt x="591" y="165"/>
                  </a:lnTo>
                  <a:lnTo>
                    <a:pt x="591" y="172"/>
                  </a:lnTo>
                  <a:lnTo>
                    <a:pt x="619" y="165"/>
                  </a:lnTo>
                  <a:lnTo>
                    <a:pt x="641" y="172"/>
                  </a:lnTo>
                  <a:lnTo>
                    <a:pt x="662" y="165"/>
                  </a:lnTo>
                  <a:lnTo>
                    <a:pt x="678" y="149"/>
                  </a:lnTo>
                  <a:lnTo>
                    <a:pt x="678" y="156"/>
                  </a:lnTo>
                  <a:lnTo>
                    <a:pt x="700" y="165"/>
                  </a:lnTo>
                  <a:lnTo>
                    <a:pt x="737" y="156"/>
                  </a:lnTo>
                  <a:lnTo>
                    <a:pt x="754" y="172"/>
                  </a:lnTo>
                  <a:lnTo>
                    <a:pt x="780" y="172"/>
                  </a:lnTo>
                  <a:lnTo>
                    <a:pt x="789" y="194"/>
                  </a:lnTo>
                  <a:lnTo>
                    <a:pt x="747" y="267"/>
                  </a:lnTo>
                  <a:lnTo>
                    <a:pt x="763" y="276"/>
                  </a:lnTo>
                  <a:lnTo>
                    <a:pt x="780" y="267"/>
                  </a:lnTo>
                  <a:lnTo>
                    <a:pt x="801" y="300"/>
                  </a:lnTo>
                  <a:lnTo>
                    <a:pt x="789" y="305"/>
                  </a:lnTo>
                  <a:lnTo>
                    <a:pt x="785" y="305"/>
                  </a:lnTo>
                  <a:lnTo>
                    <a:pt x="780" y="288"/>
                  </a:lnTo>
                  <a:lnTo>
                    <a:pt x="747" y="288"/>
                  </a:lnTo>
                  <a:lnTo>
                    <a:pt x="730" y="305"/>
                  </a:lnTo>
                  <a:lnTo>
                    <a:pt x="716" y="305"/>
                  </a:lnTo>
                  <a:lnTo>
                    <a:pt x="662" y="321"/>
                  </a:lnTo>
                  <a:lnTo>
                    <a:pt x="603" y="359"/>
                  </a:lnTo>
                  <a:lnTo>
                    <a:pt x="591" y="399"/>
                  </a:lnTo>
                  <a:lnTo>
                    <a:pt x="570" y="432"/>
                  </a:lnTo>
                  <a:lnTo>
                    <a:pt x="574" y="454"/>
                  </a:lnTo>
                  <a:lnTo>
                    <a:pt x="537" y="487"/>
                  </a:lnTo>
                  <a:lnTo>
                    <a:pt x="532" y="503"/>
                  </a:lnTo>
                  <a:lnTo>
                    <a:pt x="537" y="522"/>
                  </a:lnTo>
                  <a:lnTo>
                    <a:pt x="523" y="527"/>
                  </a:lnTo>
                  <a:lnTo>
                    <a:pt x="515" y="539"/>
                  </a:lnTo>
                  <a:lnTo>
                    <a:pt x="537" y="555"/>
                  </a:lnTo>
                  <a:lnTo>
                    <a:pt x="532" y="565"/>
                  </a:lnTo>
                  <a:lnTo>
                    <a:pt x="548" y="576"/>
                  </a:lnTo>
                  <a:lnTo>
                    <a:pt x="553" y="598"/>
                  </a:lnTo>
                  <a:lnTo>
                    <a:pt x="591" y="638"/>
                  </a:lnTo>
                  <a:lnTo>
                    <a:pt x="591" y="654"/>
                  </a:lnTo>
                  <a:lnTo>
                    <a:pt x="570" y="671"/>
                  </a:lnTo>
                  <a:lnTo>
                    <a:pt x="629" y="676"/>
                  </a:lnTo>
                  <a:lnTo>
                    <a:pt x="645" y="720"/>
                  </a:lnTo>
                  <a:lnTo>
                    <a:pt x="709" y="720"/>
                  </a:lnTo>
                  <a:lnTo>
                    <a:pt x="763" y="676"/>
                  </a:lnTo>
                  <a:lnTo>
                    <a:pt x="754" y="704"/>
                  </a:lnTo>
                  <a:lnTo>
                    <a:pt x="754" y="787"/>
                  </a:lnTo>
                  <a:lnTo>
                    <a:pt x="763" y="782"/>
                  </a:lnTo>
                  <a:lnTo>
                    <a:pt x="780" y="798"/>
                  </a:lnTo>
                  <a:lnTo>
                    <a:pt x="801" y="782"/>
                  </a:lnTo>
                  <a:lnTo>
                    <a:pt x="834" y="787"/>
                  </a:lnTo>
                  <a:lnTo>
                    <a:pt x="834" y="787"/>
                  </a:lnTo>
                  <a:lnTo>
                    <a:pt x="834" y="78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6" name="Freeform 533">
              <a:extLst>
                <a:ext uri="{FF2B5EF4-FFF2-40B4-BE49-F238E27FC236}">
                  <a16:creationId xmlns:a16="http://schemas.microsoft.com/office/drawing/2014/main" id="{D832E689-225C-470C-88F8-AFF15D1C2B91}"/>
                </a:ext>
              </a:extLst>
            </p:cNvPr>
            <p:cNvSpPr>
              <a:spLocks noEditPoints="1"/>
            </p:cNvSpPr>
            <p:nvPr/>
          </p:nvSpPr>
          <p:spPr bwMode="gray">
            <a:xfrm>
              <a:off x="4328257" y="3779743"/>
              <a:ext cx="169197" cy="69991"/>
            </a:xfrm>
            <a:custGeom>
              <a:avLst/>
              <a:gdLst>
                <a:gd name="T0" fmla="*/ 4 w 411"/>
                <a:gd name="T1" fmla="*/ 94 h 170"/>
                <a:gd name="T2" fmla="*/ 16 w 411"/>
                <a:gd name="T3" fmla="*/ 78 h 170"/>
                <a:gd name="T4" fmla="*/ 21 w 411"/>
                <a:gd name="T5" fmla="*/ 45 h 170"/>
                <a:gd name="T6" fmla="*/ 4 w 411"/>
                <a:gd name="T7" fmla="*/ 5 h 170"/>
                <a:gd name="T8" fmla="*/ 33 w 411"/>
                <a:gd name="T9" fmla="*/ 5 h 170"/>
                <a:gd name="T10" fmla="*/ 42 w 411"/>
                <a:gd name="T11" fmla="*/ 16 h 170"/>
                <a:gd name="T12" fmla="*/ 87 w 411"/>
                <a:gd name="T13" fmla="*/ 45 h 170"/>
                <a:gd name="T14" fmla="*/ 108 w 411"/>
                <a:gd name="T15" fmla="*/ 54 h 170"/>
                <a:gd name="T16" fmla="*/ 205 w 411"/>
                <a:gd name="T17" fmla="*/ 28 h 170"/>
                <a:gd name="T18" fmla="*/ 286 w 411"/>
                <a:gd name="T19" fmla="*/ 5 h 170"/>
                <a:gd name="T20" fmla="*/ 314 w 411"/>
                <a:gd name="T21" fmla="*/ 16 h 170"/>
                <a:gd name="T22" fmla="*/ 385 w 411"/>
                <a:gd name="T23" fmla="*/ 61 h 170"/>
                <a:gd name="T24" fmla="*/ 394 w 411"/>
                <a:gd name="T25" fmla="*/ 78 h 170"/>
                <a:gd name="T26" fmla="*/ 411 w 411"/>
                <a:gd name="T27" fmla="*/ 116 h 170"/>
                <a:gd name="T28" fmla="*/ 401 w 411"/>
                <a:gd name="T29" fmla="*/ 137 h 170"/>
                <a:gd name="T30" fmla="*/ 368 w 411"/>
                <a:gd name="T31" fmla="*/ 132 h 170"/>
                <a:gd name="T32" fmla="*/ 368 w 411"/>
                <a:gd name="T33" fmla="*/ 153 h 170"/>
                <a:gd name="T34" fmla="*/ 340 w 411"/>
                <a:gd name="T35" fmla="*/ 149 h 170"/>
                <a:gd name="T36" fmla="*/ 340 w 411"/>
                <a:gd name="T37" fmla="*/ 111 h 170"/>
                <a:gd name="T38" fmla="*/ 347 w 411"/>
                <a:gd name="T39" fmla="*/ 82 h 170"/>
                <a:gd name="T40" fmla="*/ 368 w 411"/>
                <a:gd name="T41" fmla="*/ 99 h 170"/>
                <a:gd name="T42" fmla="*/ 347 w 411"/>
                <a:gd name="T43" fmla="*/ 82 h 170"/>
                <a:gd name="T44" fmla="*/ 314 w 411"/>
                <a:gd name="T45" fmla="*/ 71 h 170"/>
                <a:gd name="T46" fmla="*/ 286 w 411"/>
                <a:gd name="T47" fmla="*/ 28 h 170"/>
                <a:gd name="T48" fmla="*/ 248 w 411"/>
                <a:gd name="T49" fmla="*/ 45 h 170"/>
                <a:gd name="T50" fmla="*/ 231 w 411"/>
                <a:gd name="T51" fmla="*/ 54 h 170"/>
                <a:gd name="T52" fmla="*/ 217 w 411"/>
                <a:gd name="T53" fmla="*/ 82 h 170"/>
                <a:gd name="T54" fmla="*/ 184 w 411"/>
                <a:gd name="T55" fmla="*/ 111 h 170"/>
                <a:gd name="T56" fmla="*/ 193 w 411"/>
                <a:gd name="T57" fmla="*/ 153 h 170"/>
                <a:gd name="T58" fmla="*/ 146 w 411"/>
                <a:gd name="T59" fmla="*/ 170 h 170"/>
                <a:gd name="T60" fmla="*/ 139 w 411"/>
                <a:gd name="T61" fmla="*/ 127 h 170"/>
                <a:gd name="T62" fmla="*/ 130 w 411"/>
                <a:gd name="T63" fmla="*/ 137 h 170"/>
                <a:gd name="T64" fmla="*/ 92 w 411"/>
                <a:gd name="T65" fmla="*/ 99 h 170"/>
                <a:gd name="T66" fmla="*/ 54 w 411"/>
                <a:gd name="T67" fmla="*/ 94 h 170"/>
                <a:gd name="T68" fmla="*/ 16 w 411"/>
                <a:gd name="T69" fmla="*/ 94 h 170"/>
                <a:gd name="T70" fmla="*/ 4 w 411"/>
                <a:gd name="T71" fmla="*/ 111 h 170"/>
                <a:gd name="T72" fmla="*/ 54 w 411"/>
                <a:gd name="T73" fmla="*/ 16 h 170"/>
                <a:gd name="T74" fmla="*/ 54 w 411"/>
                <a:gd name="T75" fmla="*/ 16 h 170"/>
                <a:gd name="T76" fmla="*/ 54 w 411"/>
                <a:gd name="T77" fmla="*/ 16 h 170"/>
                <a:gd name="T78" fmla="*/ 293 w 411"/>
                <a:gd name="T79" fmla="*/ 82 h 170"/>
                <a:gd name="T80" fmla="*/ 293 w 411"/>
                <a:gd name="T81" fmla="*/ 94 h 170"/>
                <a:gd name="T82" fmla="*/ 293 w 411"/>
                <a:gd name="T83" fmla="*/ 82 h 170"/>
                <a:gd name="T84" fmla="*/ 293 w 411"/>
                <a:gd name="T85" fmla="*/ 82 h 170"/>
                <a:gd name="T86" fmla="*/ 92 w 411"/>
                <a:gd name="T87" fmla="*/ 153 h 170"/>
                <a:gd name="T88" fmla="*/ 87 w 411"/>
                <a:gd name="T89" fmla="*/ 153 h 170"/>
                <a:gd name="T90" fmla="*/ 92 w 411"/>
                <a:gd name="T91" fmla="*/ 137 h 170"/>
                <a:gd name="T92" fmla="*/ 92 w 411"/>
                <a:gd name="T93" fmla="*/ 13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1" h="170">
                  <a:moveTo>
                    <a:pt x="4" y="111"/>
                  </a:moveTo>
                  <a:lnTo>
                    <a:pt x="4" y="94"/>
                  </a:lnTo>
                  <a:lnTo>
                    <a:pt x="0" y="94"/>
                  </a:lnTo>
                  <a:lnTo>
                    <a:pt x="16" y="78"/>
                  </a:lnTo>
                  <a:lnTo>
                    <a:pt x="4" y="61"/>
                  </a:lnTo>
                  <a:lnTo>
                    <a:pt x="21" y="45"/>
                  </a:lnTo>
                  <a:lnTo>
                    <a:pt x="4" y="38"/>
                  </a:lnTo>
                  <a:lnTo>
                    <a:pt x="4" y="5"/>
                  </a:lnTo>
                  <a:lnTo>
                    <a:pt x="16" y="0"/>
                  </a:lnTo>
                  <a:lnTo>
                    <a:pt x="33" y="5"/>
                  </a:lnTo>
                  <a:lnTo>
                    <a:pt x="33" y="0"/>
                  </a:lnTo>
                  <a:lnTo>
                    <a:pt x="42" y="16"/>
                  </a:lnTo>
                  <a:lnTo>
                    <a:pt x="54" y="45"/>
                  </a:lnTo>
                  <a:lnTo>
                    <a:pt x="87" y="45"/>
                  </a:lnTo>
                  <a:lnTo>
                    <a:pt x="87" y="28"/>
                  </a:lnTo>
                  <a:lnTo>
                    <a:pt x="108" y="54"/>
                  </a:lnTo>
                  <a:lnTo>
                    <a:pt x="130" y="61"/>
                  </a:lnTo>
                  <a:lnTo>
                    <a:pt x="205" y="28"/>
                  </a:lnTo>
                  <a:lnTo>
                    <a:pt x="238" y="0"/>
                  </a:lnTo>
                  <a:lnTo>
                    <a:pt x="286" y="5"/>
                  </a:lnTo>
                  <a:lnTo>
                    <a:pt x="276" y="16"/>
                  </a:lnTo>
                  <a:lnTo>
                    <a:pt x="314" y="16"/>
                  </a:lnTo>
                  <a:lnTo>
                    <a:pt x="356" y="21"/>
                  </a:lnTo>
                  <a:lnTo>
                    <a:pt x="385" y="61"/>
                  </a:lnTo>
                  <a:lnTo>
                    <a:pt x="401" y="71"/>
                  </a:lnTo>
                  <a:lnTo>
                    <a:pt x="394" y="78"/>
                  </a:lnTo>
                  <a:lnTo>
                    <a:pt x="411" y="111"/>
                  </a:lnTo>
                  <a:lnTo>
                    <a:pt x="411" y="116"/>
                  </a:lnTo>
                  <a:lnTo>
                    <a:pt x="401" y="132"/>
                  </a:lnTo>
                  <a:lnTo>
                    <a:pt x="401" y="137"/>
                  </a:lnTo>
                  <a:lnTo>
                    <a:pt x="385" y="149"/>
                  </a:lnTo>
                  <a:lnTo>
                    <a:pt x="368" y="132"/>
                  </a:lnTo>
                  <a:lnTo>
                    <a:pt x="368" y="149"/>
                  </a:lnTo>
                  <a:lnTo>
                    <a:pt x="368" y="153"/>
                  </a:lnTo>
                  <a:lnTo>
                    <a:pt x="364" y="170"/>
                  </a:lnTo>
                  <a:lnTo>
                    <a:pt x="340" y="149"/>
                  </a:lnTo>
                  <a:lnTo>
                    <a:pt x="323" y="111"/>
                  </a:lnTo>
                  <a:lnTo>
                    <a:pt x="340" y="111"/>
                  </a:lnTo>
                  <a:lnTo>
                    <a:pt x="330" y="94"/>
                  </a:lnTo>
                  <a:lnTo>
                    <a:pt x="347" y="82"/>
                  </a:lnTo>
                  <a:lnTo>
                    <a:pt x="356" y="94"/>
                  </a:lnTo>
                  <a:lnTo>
                    <a:pt x="368" y="99"/>
                  </a:lnTo>
                  <a:lnTo>
                    <a:pt x="356" y="94"/>
                  </a:lnTo>
                  <a:lnTo>
                    <a:pt x="347" y="82"/>
                  </a:lnTo>
                  <a:lnTo>
                    <a:pt x="323" y="94"/>
                  </a:lnTo>
                  <a:lnTo>
                    <a:pt x="314" y="71"/>
                  </a:lnTo>
                  <a:lnTo>
                    <a:pt x="276" y="45"/>
                  </a:lnTo>
                  <a:lnTo>
                    <a:pt x="286" y="28"/>
                  </a:lnTo>
                  <a:lnTo>
                    <a:pt x="276" y="38"/>
                  </a:lnTo>
                  <a:lnTo>
                    <a:pt x="248" y="45"/>
                  </a:lnTo>
                  <a:lnTo>
                    <a:pt x="248" y="45"/>
                  </a:lnTo>
                  <a:lnTo>
                    <a:pt x="231" y="54"/>
                  </a:lnTo>
                  <a:lnTo>
                    <a:pt x="231" y="71"/>
                  </a:lnTo>
                  <a:lnTo>
                    <a:pt x="217" y="82"/>
                  </a:lnTo>
                  <a:lnTo>
                    <a:pt x="179" y="99"/>
                  </a:lnTo>
                  <a:lnTo>
                    <a:pt x="184" y="111"/>
                  </a:lnTo>
                  <a:lnTo>
                    <a:pt x="217" y="149"/>
                  </a:lnTo>
                  <a:lnTo>
                    <a:pt x="193" y="153"/>
                  </a:lnTo>
                  <a:lnTo>
                    <a:pt x="184" y="170"/>
                  </a:lnTo>
                  <a:lnTo>
                    <a:pt x="146" y="170"/>
                  </a:lnTo>
                  <a:lnTo>
                    <a:pt x="151" y="165"/>
                  </a:lnTo>
                  <a:lnTo>
                    <a:pt x="139" y="127"/>
                  </a:lnTo>
                  <a:lnTo>
                    <a:pt x="130" y="127"/>
                  </a:lnTo>
                  <a:lnTo>
                    <a:pt x="130" y="137"/>
                  </a:lnTo>
                  <a:lnTo>
                    <a:pt x="108" y="137"/>
                  </a:lnTo>
                  <a:lnTo>
                    <a:pt x="92" y="99"/>
                  </a:lnTo>
                  <a:lnTo>
                    <a:pt x="59" y="99"/>
                  </a:lnTo>
                  <a:lnTo>
                    <a:pt x="54" y="94"/>
                  </a:lnTo>
                  <a:lnTo>
                    <a:pt x="21" y="94"/>
                  </a:lnTo>
                  <a:lnTo>
                    <a:pt x="16" y="94"/>
                  </a:lnTo>
                  <a:lnTo>
                    <a:pt x="4" y="111"/>
                  </a:lnTo>
                  <a:lnTo>
                    <a:pt x="4" y="111"/>
                  </a:lnTo>
                  <a:lnTo>
                    <a:pt x="4" y="111"/>
                  </a:lnTo>
                  <a:close/>
                  <a:moveTo>
                    <a:pt x="54" y="16"/>
                  </a:moveTo>
                  <a:lnTo>
                    <a:pt x="54" y="21"/>
                  </a:lnTo>
                  <a:lnTo>
                    <a:pt x="54" y="16"/>
                  </a:lnTo>
                  <a:lnTo>
                    <a:pt x="54" y="16"/>
                  </a:lnTo>
                  <a:lnTo>
                    <a:pt x="54" y="16"/>
                  </a:lnTo>
                  <a:lnTo>
                    <a:pt x="54" y="16"/>
                  </a:lnTo>
                  <a:close/>
                  <a:moveTo>
                    <a:pt x="293" y="82"/>
                  </a:moveTo>
                  <a:lnTo>
                    <a:pt x="293" y="94"/>
                  </a:lnTo>
                  <a:lnTo>
                    <a:pt x="293" y="94"/>
                  </a:lnTo>
                  <a:lnTo>
                    <a:pt x="286" y="82"/>
                  </a:lnTo>
                  <a:lnTo>
                    <a:pt x="293" y="82"/>
                  </a:lnTo>
                  <a:lnTo>
                    <a:pt x="293" y="82"/>
                  </a:lnTo>
                  <a:lnTo>
                    <a:pt x="293" y="82"/>
                  </a:lnTo>
                  <a:close/>
                  <a:moveTo>
                    <a:pt x="92" y="137"/>
                  </a:moveTo>
                  <a:lnTo>
                    <a:pt x="92" y="153"/>
                  </a:lnTo>
                  <a:lnTo>
                    <a:pt x="97" y="165"/>
                  </a:lnTo>
                  <a:lnTo>
                    <a:pt x="87" y="153"/>
                  </a:lnTo>
                  <a:lnTo>
                    <a:pt x="87" y="149"/>
                  </a:lnTo>
                  <a:lnTo>
                    <a:pt x="92" y="137"/>
                  </a:lnTo>
                  <a:lnTo>
                    <a:pt x="92" y="137"/>
                  </a:lnTo>
                  <a:lnTo>
                    <a:pt x="92" y="13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2" name="Freeform 547">
              <a:extLst>
                <a:ext uri="{FF2B5EF4-FFF2-40B4-BE49-F238E27FC236}">
                  <a16:creationId xmlns:a16="http://schemas.microsoft.com/office/drawing/2014/main" id="{38D1B221-781E-4D34-B3AC-6FE26E50A4E6}"/>
                </a:ext>
              </a:extLst>
            </p:cNvPr>
            <p:cNvSpPr>
              <a:spLocks/>
            </p:cNvSpPr>
            <p:nvPr/>
          </p:nvSpPr>
          <p:spPr bwMode="gray">
            <a:xfrm>
              <a:off x="4912417" y="3544240"/>
              <a:ext cx="2058" cy="6999"/>
            </a:xfrm>
            <a:custGeom>
              <a:avLst/>
              <a:gdLst>
                <a:gd name="T0" fmla="*/ 5 w 5"/>
                <a:gd name="T1" fmla="*/ 17 h 17"/>
                <a:gd name="T2" fmla="*/ 0 w 5"/>
                <a:gd name="T3" fmla="*/ 0 h 17"/>
                <a:gd name="T4" fmla="*/ 5 w 5"/>
                <a:gd name="T5" fmla="*/ 0 h 17"/>
                <a:gd name="T6" fmla="*/ 5 w 5"/>
                <a:gd name="T7" fmla="*/ 17 h 17"/>
                <a:gd name="T8" fmla="*/ 5 w 5"/>
                <a:gd name="T9" fmla="*/ 17 h 17"/>
                <a:gd name="T10" fmla="*/ 5 w 5"/>
                <a:gd name="T11" fmla="*/ 17 h 17"/>
              </a:gdLst>
              <a:ahLst/>
              <a:cxnLst>
                <a:cxn ang="0">
                  <a:pos x="T0" y="T1"/>
                </a:cxn>
                <a:cxn ang="0">
                  <a:pos x="T2" y="T3"/>
                </a:cxn>
                <a:cxn ang="0">
                  <a:pos x="T4" y="T5"/>
                </a:cxn>
                <a:cxn ang="0">
                  <a:pos x="T6" y="T7"/>
                </a:cxn>
                <a:cxn ang="0">
                  <a:pos x="T8" y="T9"/>
                </a:cxn>
                <a:cxn ang="0">
                  <a:pos x="T10" y="T11"/>
                </a:cxn>
              </a:cxnLst>
              <a:rect l="0" t="0" r="r" b="b"/>
              <a:pathLst>
                <a:path w="5" h="17">
                  <a:moveTo>
                    <a:pt x="5" y="17"/>
                  </a:moveTo>
                  <a:lnTo>
                    <a:pt x="0" y="0"/>
                  </a:lnTo>
                  <a:lnTo>
                    <a:pt x="5" y="0"/>
                  </a:lnTo>
                  <a:lnTo>
                    <a:pt x="5" y="17"/>
                  </a:lnTo>
                  <a:lnTo>
                    <a:pt x="5" y="17"/>
                  </a:lnTo>
                  <a:lnTo>
                    <a:pt x="5"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6" name="Freeform 559">
              <a:extLst>
                <a:ext uri="{FF2B5EF4-FFF2-40B4-BE49-F238E27FC236}">
                  <a16:creationId xmlns:a16="http://schemas.microsoft.com/office/drawing/2014/main" id="{7E73D71E-29F5-4929-8B77-5D5EBA1A2F2E}"/>
                </a:ext>
              </a:extLst>
            </p:cNvPr>
            <p:cNvSpPr>
              <a:spLocks/>
            </p:cNvSpPr>
            <p:nvPr/>
          </p:nvSpPr>
          <p:spPr bwMode="gray">
            <a:xfrm>
              <a:off x="4964288" y="3645523"/>
              <a:ext cx="6587" cy="8646"/>
            </a:xfrm>
            <a:custGeom>
              <a:avLst/>
              <a:gdLst>
                <a:gd name="T0" fmla="*/ 4 w 16"/>
                <a:gd name="T1" fmla="*/ 21 h 21"/>
                <a:gd name="T2" fmla="*/ 0 w 16"/>
                <a:gd name="T3" fmla="*/ 16 h 21"/>
                <a:gd name="T4" fmla="*/ 4 w 16"/>
                <a:gd name="T5" fmla="*/ 0 h 21"/>
                <a:gd name="T6" fmla="*/ 16 w 16"/>
                <a:gd name="T7" fmla="*/ 9 h 21"/>
                <a:gd name="T8" fmla="*/ 4 w 16"/>
                <a:gd name="T9" fmla="*/ 21 h 21"/>
                <a:gd name="T10" fmla="*/ 4 w 16"/>
                <a:gd name="T11" fmla="*/ 21 h 21"/>
                <a:gd name="T12" fmla="*/ 4 w 16"/>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6" h="21">
                  <a:moveTo>
                    <a:pt x="4" y="21"/>
                  </a:moveTo>
                  <a:lnTo>
                    <a:pt x="0" y="16"/>
                  </a:lnTo>
                  <a:lnTo>
                    <a:pt x="4" y="0"/>
                  </a:lnTo>
                  <a:lnTo>
                    <a:pt x="16" y="9"/>
                  </a:lnTo>
                  <a:lnTo>
                    <a:pt x="4" y="21"/>
                  </a:lnTo>
                  <a:lnTo>
                    <a:pt x="4" y="21"/>
                  </a:lnTo>
                  <a:lnTo>
                    <a:pt x="4" y="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5" name="Freeform 569">
              <a:extLst>
                <a:ext uri="{FF2B5EF4-FFF2-40B4-BE49-F238E27FC236}">
                  <a16:creationId xmlns:a16="http://schemas.microsoft.com/office/drawing/2014/main" id="{36975717-BAD9-4F03-A2C8-9BC2E9B381CD}"/>
                </a:ext>
              </a:extLst>
            </p:cNvPr>
            <p:cNvSpPr>
              <a:spLocks noEditPoints="1"/>
            </p:cNvSpPr>
            <p:nvPr/>
          </p:nvSpPr>
          <p:spPr bwMode="gray">
            <a:xfrm>
              <a:off x="4646066" y="3403434"/>
              <a:ext cx="10704" cy="6588"/>
            </a:xfrm>
            <a:custGeom>
              <a:avLst/>
              <a:gdLst>
                <a:gd name="T0" fmla="*/ 14 w 26"/>
                <a:gd name="T1" fmla="*/ 11 h 16"/>
                <a:gd name="T2" fmla="*/ 0 w 26"/>
                <a:gd name="T3" fmla="*/ 0 h 16"/>
                <a:gd name="T4" fmla="*/ 5 w 26"/>
                <a:gd name="T5" fmla="*/ 0 h 16"/>
                <a:gd name="T6" fmla="*/ 14 w 26"/>
                <a:gd name="T7" fmla="*/ 11 h 16"/>
                <a:gd name="T8" fmla="*/ 14 w 26"/>
                <a:gd name="T9" fmla="*/ 11 h 16"/>
                <a:gd name="T10" fmla="*/ 14 w 26"/>
                <a:gd name="T11" fmla="*/ 11 h 16"/>
                <a:gd name="T12" fmla="*/ 26 w 26"/>
                <a:gd name="T13" fmla="*/ 16 h 16"/>
                <a:gd name="T14" fmla="*/ 14 w 26"/>
                <a:gd name="T15" fmla="*/ 16 h 16"/>
                <a:gd name="T16" fmla="*/ 14 w 26"/>
                <a:gd name="T17" fmla="*/ 11 h 16"/>
                <a:gd name="T18" fmla="*/ 21 w 26"/>
                <a:gd name="T19" fmla="*/ 11 h 16"/>
                <a:gd name="T20" fmla="*/ 26 w 26"/>
                <a:gd name="T21" fmla="*/ 16 h 16"/>
                <a:gd name="T22" fmla="*/ 26 w 26"/>
                <a:gd name="T23" fmla="*/ 16 h 16"/>
                <a:gd name="T24" fmla="*/ 26 w 26"/>
                <a:gd name="T2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6">
                  <a:moveTo>
                    <a:pt x="14" y="11"/>
                  </a:moveTo>
                  <a:lnTo>
                    <a:pt x="0" y="0"/>
                  </a:lnTo>
                  <a:lnTo>
                    <a:pt x="5" y="0"/>
                  </a:lnTo>
                  <a:lnTo>
                    <a:pt x="14" y="11"/>
                  </a:lnTo>
                  <a:lnTo>
                    <a:pt x="14" y="11"/>
                  </a:lnTo>
                  <a:lnTo>
                    <a:pt x="14" y="11"/>
                  </a:lnTo>
                  <a:close/>
                  <a:moveTo>
                    <a:pt x="26" y="16"/>
                  </a:moveTo>
                  <a:lnTo>
                    <a:pt x="14" y="16"/>
                  </a:lnTo>
                  <a:lnTo>
                    <a:pt x="14" y="11"/>
                  </a:lnTo>
                  <a:lnTo>
                    <a:pt x="21" y="11"/>
                  </a:lnTo>
                  <a:lnTo>
                    <a:pt x="26" y="16"/>
                  </a:lnTo>
                  <a:lnTo>
                    <a:pt x="26" y="16"/>
                  </a:lnTo>
                  <a:lnTo>
                    <a:pt x="26" y="1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8" name="Freeform 584">
              <a:extLst>
                <a:ext uri="{FF2B5EF4-FFF2-40B4-BE49-F238E27FC236}">
                  <a16:creationId xmlns:a16="http://schemas.microsoft.com/office/drawing/2014/main" id="{532007E7-1071-4327-84BC-68757B90C177}"/>
                </a:ext>
              </a:extLst>
            </p:cNvPr>
            <p:cNvSpPr>
              <a:spLocks/>
            </p:cNvSpPr>
            <p:nvPr/>
          </p:nvSpPr>
          <p:spPr bwMode="gray">
            <a:xfrm>
              <a:off x="5040035" y="4987718"/>
              <a:ext cx="153554" cy="159334"/>
            </a:xfrm>
            <a:custGeom>
              <a:avLst/>
              <a:gdLst>
                <a:gd name="T0" fmla="*/ 16 w 373"/>
                <a:gd name="T1" fmla="*/ 177 h 387"/>
                <a:gd name="T2" fmla="*/ 21 w 373"/>
                <a:gd name="T3" fmla="*/ 172 h 387"/>
                <a:gd name="T4" fmla="*/ 16 w 373"/>
                <a:gd name="T5" fmla="*/ 139 h 387"/>
                <a:gd name="T6" fmla="*/ 21 w 373"/>
                <a:gd name="T7" fmla="*/ 122 h 387"/>
                <a:gd name="T8" fmla="*/ 33 w 373"/>
                <a:gd name="T9" fmla="*/ 111 h 387"/>
                <a:gd name="T10" fmla="*/ 21 w 373"/>
                <a:gd name="T11" fmla="*/ 99 h 387"/>
                <a:gd name="T12" fmla="*/ 33 w 373"/>
                <a:gd name="T13" fmla="*/ 82 h 387"/>
                <a:gd name="T14" fmla="*/ 49 w 373"/>
                <a:gd name="T15" fmla="*/ 56 h 387"/>
                <a:gd name="T16" fmla="*/ 38 w 373"/>
                <a:gd name="T17" fmla="*/ 28 h 387"/>
                <a:gd name="T18" fmla="*/ 54 w 373"/>
                <a:gd name="T19" fmla="*/ 11 h 387"/>
                <a:gd name="T20" fmla="*/ 54 w 373"/>
                <a:gd name="T21" fmla="*/ 7 h 387"/>
                <a:gd name="T22" fmla="*/ 59 w 373"/>
                <a:gd name="T23" fmla="*/ 7 h 387"/>
                <a:gd name="T24" fmla="*/ 87 w 373"/>
                <a:gd name="T25" fmla="*/ 11 h 387"/>
                <a:gd name="T26" fmla="*/ 92 w 373"/>
                <a:gd name="T27" fmla="*/ 0 h 387"/>
                <a:gd name="T28" fmla="*/ 113 w 373"/>
                <a:gd name="T29" fmla="*/ 0 h 387"/>
                <a:gd name="T30" fmla="*/ 168 w 373"/>
                <a:gd name="T31" fmla="*/ 56 h 387"/>
                <a:gd name="T32" fmla="*/ 168 w 373"/>
                <a:gd name="T33" fmla="*/ 66 h 387"/>
                <a:gd name="T34" fmla="*/ 177 w 373"/>
                <a:gd name="T35" fmla="*/ 66 h 387"/>
                <a:gd name="T36" fmla="*/ 201 w 373"/>
                <a:gd name="T37" fmla="*/ 56 h 387"/>
                <a:gd name="T38" fmla="*/ 222 w 373"/>
                <a:gd name="T39" fmla="*/ 82 h 387"/>
                <a:gd name="T40" fmla="*/ 269 w 373"/>
                <a:gd name="T41" fmla="*/ 99 h 387"/>
                <a:gd name="T42" fmla="*/ 286 w 373"/>
                <a:gd name="T43" fmla="*/ 132 h 387"/>
                <a:gd name="T44" fmla="*/ 319 w 373"/>
                <a:gd name="T45" fmla="*/ 139 h 387"/>
                <a:gd name="T46" fmla="*/ 340 w 373"/>
                <a:gd name="T47" fmla="*/ 177 h 387"/>
                <a:gd name="T48" fmla="*/ 373 w 373"/>
                <a:gd name="T49" fmla="*/ 205 h 387"/>
                <a:gd name="T50" fmla="*/ 340 w 373"/>
                <a:gd name="T51" fmla="*/ 233 h 387"/>
                <a:gd name="T52" fmla="*/ 340 w 373"/>
                <a:gd name="T53" fmla="*/ 283 h 387"/>
                <a:gd name="T54" fmla="*/ 357 w 373"/>
                <a:gd name="T55" fmla="*/ 283 h 387"/>
                <a:gd name="T56" fmla="*/ 340 w 373"/>
                <a:gd name="T57" fmla="*/ 316 h 387"/>
                <a:gd name="T58" fmla="*/ 302 w 373"/>
                <a:gd name="T59" fmla="*/ 359 h 387"/>
                <a:gd name="T60" fmla="*/ 286 w 373"/>
                <a:gd name="T61" fmla="*/ 354 h 387"/>
                <a:gd name="T62" fmla="*/ 286 w 373"/>
                <a:gd name="T63" fmla="*/ 359 h 387"/>
                <a:gd name="T64" fmla="*/ 248 w 373"/>
                <a:gd name="T65" fmla="*/ 387 h 387"/>
                <a:gd name="T66" fmla="*/ 194 w 373"/>
                <a:gd name="T67" fmla="*/ 370 h 387"/>
                <a:gd name="T68" fmla="*/ 146 w 373"/>
                <a:gd name="T69" fmla="*/ 375 h 387"/>
                <a:gd name="T70" fmla="*/ 139 w 373"/>
                <a:gd name="T71" fmla="*/ 375 h 387"/>
                <a:gd name="T72" fmla="*/ 146 w 373"/>
                <a:gd name="T73" fmla="*/ 370 h 387"/>
                <a:gd name="T74" fmla="*/ 108 w 373"/>
                <a:gd name="T75" fmla="*/ 359 h 387"/>
                <a:gd name="T76" fmla="*/ 92 w 373"/>
                <a:gd name="T77" fmla="*/ 342 h 387"/>
                <a:gd name="T78" fmla="*/ 38 w 373"/>
                <a:gd name="T79" fmla="*/ 342 h 387"/>
                <a:gd name="T80" fmla="*/ 0 w 373"/>
                <a:gd name="T81" fmla="*/ 300 h 387"/>
                <a:gd name="T82" fmla="*/ 0 w 373"/>
                <a:gd name="T83" fmla="*/ 267 h 387"/>
                <a:gd name="T84" fmla="*/ 0 w 373"/>
                <a:gd name="T85" fmla="*/ 233 h 387"/>
                <a:gd name="T86" fmla="*/ 16 w 373"/>
                <a:gd name="T87" fmla="*/ 233 h 387"/>
                <a:gd name="T88" fmla="*/ 21 w 373"/>
                <a:gd name="T89" fmla="*/ 222 h 387"/>
                <a:gd name="T90" fmla="*/ 16 w 373"/>
                <a:gd name="T91" fmla="*/ 177 h 387"/>
                <a:gd name="T92" fmla="*/ 16 w 373"/>
                <a:gd name="T93" fmla="*/ 177 h 387"/>
                <a:gd name="T94" fmla="*/ 16 w 373"/>
                <a:gd name="T95" fmla="*/ 17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87">
                  <a:moveTo>
                    <a:pt x="16" y="177"/>
                  </a:moveTo>
                  <a:lnTo>
                    <a:pt x="21" y="172"/>
                  </a:lnTo>
                  <a:lnTo>
                    <a:pt x="16" y="139"/>
                  </a:lnTo>
                  <a:lnTo>
                    <a:pt x="21" y="122"/>
                  </a:lnTo>
                  <a:lnTo>
                    <a:pt x="33" y="111"/>
                  </a:lnTo>
                  <a:lnTo>
                    <a:pt x="21" y="99"/>
                  </a:lnTo>
                  <a:lnTo>
                    <a:pt x="33" y="82"/>
                  </a:lnTo>
                  <a:lnTo>
                    <a:pt x="49" y="56"/>
                  </a:lnTo>
                  <a:lnTo>
                    <a:pt x="38" y="28"/>
                  </a:lnTo>
                  <a:lnTo>
                    <a:pt x="54" y="11"/>
                  </a:lnTo>
                  <a:lnTo>
                    <a:pt x="54" y="7"/>
                  </a:lnTo>
                  <a:lnTo>
                    <a:pt x="59" y="7"/>
                  </a:lnTo>
                  <a:lnTo>
                    <a:pt x="87" y="11"/>
                  </a:lnTo>
                  <a:lnTo>
                    <a:pt x="92" y="0"/>
                  </a:lnTo>
                  <a:lnTo>
                    <a:pt x="113" y="0"/>
                  </a:lnTo>
                  <a:lnTo>
                    <a:pt x="168" y="56"/>
                  </a:lnTo>
                  <a:lnTo>
                    <a:pt x="168" y="66"/>
                  </a:lnTo>
                  <a:lnTo>
                    <a:pt x="177" y="66"/>
                  </a:lnTo>
                  <a:lnTo>
                    <a:pt x="201" y="56"/>
                  </a:lnTo>
                  <a:lnTo>
                    <a:pt x="222" y="82"/>
                  </a:lnTo>
                  <a:lnTo>
                    <a:pt x="269" y="99"/>
                  </a:lnTo>
                  <a:lnTo>
                    <a:pt x="286" y="132"/>
                  </a:lnTo>
                  <a:lnTo>
                    <a:pt x="319" y="139"/>
                  </a:lnTo>
                  <a:lnTo>
                    <a:pt x="340" y="177"/>
                  </a:lnTo>
                  <a:lnTo>
                    <a:pt x="373" y="205"/>
                  </a:lnTo>
                  <a:lnTo>
                    <a:pt x="340" y="233"/>
                  </a:lnTo>
                  <a:lnTo>
                    <a:pt x="340" y="283"/>
                  </a:lnTo>
                  <a:lnTo>
                    <a:pt x="357" y="283"/>
                  </a:lnTo>
                  <a:lnTo>
                    <a:pt x="340" y="316"/>
                  </a:lnTo>
                  <a:lnTo>
                    <a:pt x="302" y="359"/>
                  </a:lnTo>
                  <a:lnTo>
                    <a:pt x="286" y="354"/>
                  </a:lnTo>
                  <a:lnTo>
                    <a:pt x="286" y="359"/>
                  </a:lnTo>
                  <a:lnTo>
                    <a:pt x="248" y="387"/>
                  </a:lnTo>
                  <a:lnTo>
                    <a:pt x="194" y="370"/>
                  </a:lnTo>
                  <a:lnTo>
                    <a:pt x="146" y="375"/>
                  </a:lnTo>
                  <a:lnTo>
                    <a:pt x="139" y="375"/>
                  </a:lnTo>
                  <a:lnTo>
                    <a:pt x="146" y="370"/>
                  </a:lnTo>
                  <a:lnTo>
                    <a:pt x="108" y="359"/>
                  </a:lnTo>
                  <a:lnTo>
                    <a:pt x="92" y="342"/>
                  </a:lnTo>
                  <a:lnTo>
                    <a:pt x="38" y="342"/>
                  </a:lnTo>
                  <a:lnTo>
                    <a:pt x="0" y="300"/>
                  </a:lnTo>
                  <a:lnTo>
                    <a:pt x="0" y="267"/>
                  </a:lnTo>
                  <a:lnTo>
                    <a:pt x="0" y="233"/>
                  </a:lnTo>
                  <a:lnTo>
                    <a:pt x="16" y="233"/>
                  </a:lnTo>
                  <a:lnTo>
                    <a:pt x="21" y="222"/>
                  </a:lnTo>
                  <a:lnTo>
                    <a:pt x="16" y="177"/>
                  </a:lnTo>
                  <a:lnTo>
                    <a:pt x="16" y="177"/>
                  </a:lnTo>
                  <a:lnTo>
                    <a:pt x="16" y="17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0" name="Freeform 586">
              <a:extLst>
                <a:ext uri="{FF2B5EF4-FFF2-40B4-BE49-F238E27FC236}">
                  <a16:creationId xmlns:a16="http://schemas.microsoft.com/office/drawing/2014/main" id="{3EBB8927-EF77-4EFC-907D-DB71C7BA69B5}"/>
                </a:ext>
              </a:extLst>
            </p:cNvPr>
            <p:cNvSpPr>
              <a:spLocks/>
            </p:cNvSpPr>
            <p:nvPr/>
          </p:nvSpPr>
          <p:spPr bwMode="gray">
            <a:xfrm>
              <a:off x="4957289" y="3666933"/>
              <a:ext cx="824" cy="8646"/>
            </a:xfrm>
            <a:custGeom>
              <a:avLst/>
              <a:gdLst>
                <a:gd name="T0" fmla="*/ 2 w 2"/>
                <a:gd name="T1" fmla="*/ 21 h 21"/>
                <a:gd name="T2" fmla="*/ 0 w 2"/>
                <a:gd name="T3" fmla="*/ 14 h 21"/>
                <a:gd name="T4" fmla="*/ 2 w 2"/>
                <a:gd name="T5" fmla="*/ 0 h 21"/>
                <a:gd name="T6" fmla="*/ 2 w 2"/>
                <a:gd name="T7" fmla="*/ 5 h 21"/>
                <a:gd name="T8" fmla="*/ 2 w 2"/>
                <a:gd name="T9" fmla="*/ 21 h 21"/>
                <a:gd name="T10" fmla="*/ 2 w 2"/>
                <a:gd name="T11" fmla="*/ 21 h 21"/>
                <a:gd name="T12" fmla="*/ 2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2" y="21"/>
                  </a:moveTo>
                  <a:lnTo>
                    <a:pt x="0" y="14"/>
                  </a:lnTo>
                  <a:lnTo>
                    <a:pt x="2" y="0"/>
                  </a:lnTo>
                  <a:lnTo>
                    <a:pt x="2" y="5"/>
                  </a:lnTo>
                  <a:lnTo>
                    <a:pt x="2" y="21"/>
                  </a:lnTo>
                  <a:lnTo>
                    <a:pt x="2" y="21"/>
                  </a:lnTo>
                  <a:lnTo>
                    <a:pt x="2" y="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1" name="Freeform 587">
              <a:extLst>
                <a:ext uri="{FF2B5EF4-FFF2-40B4-BE49-F238E27FC236}">
                  <a16:creationId xmlns:a16="http://schemas.microsoft.com/office/drawing/2014/main" id="{ED8BFD13-3847-43F7-9A33-8E57DC4B7E58}"/>
                </a:ext>
              </a:extLst>
            </p:cNvPr>
            <p:cNvSpPr>
              <a:spLocks noEditPoints="1"/>
            </p:cNvSpPr>
            <p:nvPr/>
          </p:nvSpPr>
          <p:spPr bwMode="gray">
            <a:xfrm>
              <a:off x="4609016" y="3699870"/>
              <a:ext cx="388205" cy="348312"/>
            </a:xfrm>
            <a:custGeom>
              <a:avLst/>
              <a:gdLst>
                <a:gd name="T0" fmla="*/ 900 w 943"/>
                <a:gd name="T1" fmla="*/ 324 h 846"/>
                <a:gd name="T2" fmla="*/ 905 w 943"/>
                <a:gd name="T3" fmla="*/ 366 h 846"/>
                <a:gd name="T4" fmla="*/ 851 w 943"/>
                <a:gd name="T5" fmla="*/ 439 h 846"/>
                <a:gd name="T6" fmla="*/ 879 w 943"/>
                <a:gd name="T7" fmla="*/ 550 h 846"/>
                <a:gd name="T8" fmla="*/ 813 w 943"/>
                <a:gd name="T9" fmla="*/ 584 h 846"/>
                <a:gd name="T10" fmla="*/ 744 w 943"/>
                <a:gd name="T11" fmla="*/ 600 h 846"/>
                <a:gd name="T12" fmla="*/ 669 w 943"/>
                <a:gd name="T13" fmla="*/ 607 h 846"/>
                <a:gd name="T14" fmla="*/ 610 w 943"/>
                <a:gd name="T15" fmla="*/ 600 h 846"/>
                <a:gd name="T16" fmla="*/ 702 w 943"/>
                <a:gd name="T17" fmla="*/ 718 h 846"/>
                <a:gd name="T18" fmla="*/ 631 w 943"/>
                <a:gd name="T19" fmla="*/ 780 h 846"/>
                <a:gd name="T20" fmla="*/ 560 w 943"/>
                <a:gd name="T21" fmla="*/ 824 h 846"/>
                <a:gd name="T22" fmla="*/ 527 w 943"/>
                <a:gd name="T23" fmla="*/ 824 h 846"/>
                <a:gd name="T24" fmla="*/ 430 w 943"/>
                <a:gd name="T25" fmla="*/ 718 h 846"/>
                <a:gd name="T26" fmla="*/ 400 w 943"/>
                <a:gd name="T27" fmla="*/ 612 h 846"/>
                <a:gd name="T28" fmla="*/ 414 w 943"/>
                <a:gd name="T29" fmla="*/ 456 h 846"/>
                <a:gd name="T30" fmla="*/ 296 w 943"/>
                <a:gd name="T31" fmla="*/ 439 h 846"/>
                <a:gd name="T32" fmla="*/ 215 w 943"/>
                <a:gd name="T33" fmla="*/ 385 h 846"/>
                <a:gd name="T34" fmla="*/ 81 w 943"/>
                <a:gd name="T35" fmla="*/ 362 h 846"/>
                <a:gd name="T36" fmla="*/ 43 w 943"/>
                <a:gd name="T37" fmla="*/ 267 h 846"/>
                <a:gd name="T38" fmla="*/ 22 w 943"/>
                <a:gd name="T39" fmla="*/ 184 h 846"/>
                <a:gd name="T40" fmla="*/ 144 w 943"/>
                <a:gd name="T41" fmla="*/ 28 h 846"/>
                <a:gd name="T42" fmla="*/ 81 w 943"/>
                <a:gd name="T43" fmla="*/ 177 h 846"/>
                <a:gd name="T44" fmla="*/ 161 w 943"/>
                <a:gd name="T45" fmla="*/ 213 h 846"/>
                <a:gd name="T46" fmla="*/ 199 w 943"/>
                <a:gd name="T47" fmla="*/ 73 h 846"/>
                <a:gd name="T48" fmla="*/ 241 w 943"/>
                <a:gd name="T49" fmla="*/ 45 h 846"/>
                <a:gd name="T50" fmla="*/ 241 w 943"/>
                <a:gd name="T51" fmla="*/ 12 h 846"/>
                <a:gd name="T52" fmla="*/ 362 w 943"/>
                <a:gd name="T53" fmla="*/ 99 h 846"/>
                <a:gd name="T54" fmla="*/ 506 w 943"/>
                <a:gd name="T55" fmla="*/ 123 h 846"/>
                <a:gd name="T56" fmla="*/ 636 w 943"/>
                <a:gd name="T57" fmla="*/ 128 h 846"/>
                <a:gd name="T58" fmla="*/ 685 w 943"/>
                <a:gd name="T59" fmla="*/ 123 h 846"/>
                <a:gd name="T60" fmla="*/ 770 w 943"/>
                <a:gd name="T61" fmla="*/ 128 h 846"/>
                <a:gd name="T62" fmla="*/ 723 w 943"/>
                <a:gd name="T63" fmla="*/ 139 h 846"/>
                <a:gd name="T64" fmla="*/ 754 w 943"/>
                <a:gd name="T65" fmla="*/ 156 h 846"/>
                <a:gd name="T66" fmla="*/ 770 w 943"/>
                <a:gd name="T67" fmla="*/ 184 h 846"/>
                <a:gd name="T68" fmla="*/ 792 w 943"/>
                <a:gd name="T69" fmla="*/ 177 h 846"/>
                <a:gd name="T70" fmla="*/ 808 w 943"/>
                <a:gd name="T71" fmla="*/ 177 h 846"/>
                <a:gd name="T72" fmla="*/ 879 w 943"/>
                <a:gd name="T73" fmla="*/ 213 h 846"/>
                <a:gd name="T74" fmla="*/ 851 w 943"/>
                <a:gd name="T75" fmla="*/ 267 h 846"/>
                <a:gd name="T76" fmla="*/ 863 w 943"/>
                <a:gd name="T77" fmla="*/ 279 h 846"/>
                <a:gd name="T78" fmla="*/ 938 w 943"/>
                <a:gd name="T79" fmla="*/ 272 h 846"/>
                <a:gd name="T80" fmla="*/ 506 w 943"/>
                <a:gd name="T81" fmla="*/ 33 h 846"/>
                <a:gd name="T82" fmla="*/ 648 w 943"/>
                <a:gd name="T83" fmla="*/ 99 h 846"/>
                <a:gd name="T84" fmla="*/ 664 w 943"/>
                <a:gd name="T85" fmla="*/ 83 h 846"/>
                <a:gd name="T86" fmla="*/ 565 w 943"/>
                <a:gd name="T87" fmla="*/ 99 h 846"/>
                <a:gd name="T88" fmla="*/ 565 w 943"/>
                <a:gd name="T89" fmla="*/ 99 h 846"/>
                <a:gd name="T90" fmla="*/ 879 w 943"/>
                <a:gd name="T91" fmla="*/ 234 h 846"/>
                <a:gd name="T92" fmla="*/ 867 w 943"/>
                <a:gd name="T93" fmla="*/ 250 h 846"/>
                <a:gd name="T94" fmla="*/ 879 w 943"/>
                <a:gd name="T95" fmla="*/ 250 h 846"/>
                <a:gd name="T96" fmla="*/ 867 w 943"/>
                <a:gd name="T97" fmla="*/ 267 h 846"/>
                <a:gd name="T98" fmla="*/ 867 w 943"/>
                <a:gd name="T99" fmla="*/ 267 h 846"/>
                <a:gd name="T100" fmla="*/ 863 w 943"/>
                <a:gd name="T101" fmla="*/ 267 h 846"/>
                <a:gd name="T102" fmla="*/ 851 w 943"/>
                <a:gd name="T103" fmla="*/ 272 h 846"/>
                <a:gd name="T104" fmla="*/ 867 w 943"/>
                <a:gd name="T105" fmla="*/ 267 h 846"/>
                <a:gd name="T106" fmla="*/ 825 w 943"/>
                <a:gd name="T107" fmla="*/ 272 h 846"/>
                <a:gd name="T108" fmla="*/ 846 w 943"/>
                <a:gd name="T109" fmla="*/ 272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43" h="846">
                  <a:moveTo>
                    <a:pt x="938" y="272"/>
                  </a:moveTo>
                  <a:lnTo>
                    <a:pt x="943" y="295"/>
                  </a:lnTo>
                  <a:lnTo>
                    <a:pt x="938" y="295"/>
                  </a:lnTo>
                  <a:lnTo>
                    <a:pt x="933" y="307"/>
                  </a:lnTo>
                  <a:lnTo>
                    <a:pt x="900" y="324"/>
                  </a:lnTo>
                  <a:lnTo>
                    <a:pt x="884" y="345"/>
                  </a:lnTo>
                  <a:lnTo>
                    <a:pt x="889" y="362"/>
                  </a:lnTo>
                  <a:lnTo>
                    <a:pt x="889" y="366"/>
                  </a:lnTo>
                  <a:lnTo>
                    <a:pt x="900" y="378"/>
                  </a:lnTo>
                  <a:lnTo>
                    <a:pt x="905" y="366"/>
                  </a:lnTo>
                  <a:lnTo>
                    <a:pt x="917" y="378"/>
                  </a:lnTo>
                  <a:lnTo>
                    <a:pt x="884" y="402"/>
                  </a:lnTo>
                  <a:lnTo>
                    <a:pt x="851" y="402"/>
                  </a:lnTo>
                  <a:lnTo>
                    <a:pt x="851" y="418"/>
                  </a:lnTo>
                  <a:lnTo>
                    <a:pt x="851" y="439"/>
                  </a:lnTo>
                  <a:lnTo>
                    <a:pt x="837" y="463"/>
                  </a:lnTo>
                  <a:lnTo>
                    <a:pt x="884" y="513"/>
                  </a:lnTo>
                  <a:lnTo>
                    <a:pt x="889" y="517"/>
                  </a:lnTo>
                  <a:lnTo>
                    <a:pt x="889" y="534"/>
                  </a:lnTo>
                  <a:lnTo>
                    <a:pt x="879" y="550"/>
                  </a:lnTo>
                  <a:lnTo>
                    <a:pt x="867" y="558"/>
                  </a:lnTo>
                  <a:lnTo>
                    <a:pt x="846" y="567"/>
                  </a:lnTo>
                  <a:lnTo>
                    <a:pt x="830" y="574"/>
                  </a:lnTo>
                  <a:lnTo>
                    <a:pt x="825" y="584"/>
                  </a:lnTo>
                  <a:lnTo>
                    <a:pt x="813" y="584"/>
                  </a:lnTo>
                  <a:lnTo>
                    <a:pt x="808" y="591"/>
                  </a:lnTo>
                  <a:lnTo>
                    <a:pt x="782" y="591"/>
                  </a:lnTo>
                  <a:lnTo>
                    <a:pt x="761" y="591"/>
                  </a:lnTo>
                  <a:lnTo>
                    <a:pt x="754" y="600"/>
                  </a:lnTo>
                  <a:lnTo>
                    <a:pt x="744" y="600"/>
                  </a:lnTo>
                  <a:lnTo>
                    <a:pt x="744" y="624"/>
                  </a:lnTo>
                  <a:lnTo>
                    <a:pt x="728" y="628"/>
                  </a:lnTo>
                  <a:lnTo>
                    <a:pt x="702" y="607"/>
                  </a:lnTo>
                  <a:lnTo>
                    <a:pt x="690" y="612"/>
                  </a:lnTo>
                  <a:lnTo>
                    <a:pt x="669" y="607"/>
                  </a:lnTo>
                  <a:lnTo>
                    <a:pt x="652" y="607"/>
                  </a:lnTo>
                  <a:lnTo>
                    <a:pt x="648" y="591"/>
                  </a:lnTo>
                  <a:lnTo>
                    <a:pt x="615" y="591"/>
                  </a:lnTo>
                  <a:lnTo>
                    <a:pt x="598" y="584"/>
                  </a:lnTo>
                  <a:lnTo>
                    <a:pt x="610" y="600"/>
                  </a:lnTo>
                  <a:lnTo>
                    <a:pt x="636" y="628"/>
                  </a:lnTo>
                  <a:lnTo>
                    <a:pt x="636" y="662"/>
                  </a:lnTo>
                  <a:lnTo>
                    <a:pt x="652" y="695"/>
                  </a:lnTo>
                  <a:lnTo>
                    <a:pt x="652" y="711"/>
                  </a:lnTo>
                  <a:lnTo>
                    <a:pt x="702" y="718"/>
                  </a:lnTo>
                  <a:lnTo>
                    <a:pt x="702" y="735"/>
                  </a:lnTo>
                  <a:lnTo>
                    <a:pt x="652" y="751"/>
                  </a:lnTo>
                  <a:lnTo>
                    <a:pt x="648" y="773"/>
                  </a:lnTo>
                  <a:lnTo>
                    <a:pt x="636" y="780"/>
                  </a:lnTo>
                  <a:lnTo>
                    <a:pt x="631" y="780"/>
                  </a:lnTo>
                  <a:lnTo>
                    <a:pt x="610" y="796"/>
                  </a:lnTo>
                  <a:lnTo>
                    <a:pt x="598" y="796"/>
                  </a:lnTo>
                  <a:lnTo>
                    <a:pt x="577" y="806"/>
                  </a:lnTo>
                  <a:lnTo>
                    <a:pt x="565" y="824"/>
                  </a:lnTo>
                  <a:lnTo>
                    <a:pt x="560" y="824"/>
                  </a:lnTo>
                  <a:lnTo>
                    <a:pt x="544" y="846"/>
                  </a:lnTo>
                  <a:lnTo>
                    <a:pt x="544" y="841"/>
                  </a:lnTo>
                  <a:lnTo>
                    <a:pt x="544" y="824"/>
                  </a:lnTo>
                  <a:lnTo>
                    <a:pt x="544" y="824"/>
                  </a:lnTo>
                  <a:lnTo>
                    <a:pt x="527" y="824"/>
                  </a:lnTo>
                  <a:lnTo>
                    <a:pt x="506" y="841"/>
                  </a:lnTo>
                  <a:lnTo>
                    <a:pt x="489" y="841"/>
                  </a:lnTo>
                  <a:lnTo>
                    <a:pt x="452" y="806"/>
                  </a:lnTo>
                  <a:lnTo>
                    <a:pt x="430" y="723"/>
                  </a:lnTo>
                  <a:lnTo>
                    <a:pt x="430" y="718"/>
                  </a:lnTo>
                  <a:lnTo>
                    <a:pt x="400" y="685"/>
                  </a:lnTo>
                  <a:lnTo>
                    <a:pt x="383" y="685"/>
                  </a:lnTo>
                  <a:lnTo>
                    <a:pt x="421" y="645"/>
                  </a:lnTo>
                  <a:lnTo>
                    <a:pt x="404" y="624"/>
                  </a:lnTo>
                  <a:lnTo>
                    <a:pt x="400" y="612"/>
                  </a:lnTo>
                  <a:lnTo>
                    <a:pt x="383" y="558"/>
                  </a:lnTo>
                  <a:lnTo>
                    <a:pt x="383" y="501"/>
                  </a:lnTo>
                  <a:lnTo>
                    <a:pt x="400" y="489"/>
                  </a:lnTo>
                  <a:lnTo>
                    <a:pt x="400" y="473"/>
                  </a:lnTo>
                  <a:lnTo>
                    <a:pt x="414" y="456"/>
                  </a:lnTo>
                  <a:lnTo>
                    <a:pt x="414" y="439"/>
                  </a:lnTo>
                  <a:lnTo>
                    <a:pt x="383" y="435"/>
                  </a:lnTo>
                  <a:lnTo>
                    <a:pt x="378" y="439"/>
                  </a:lnTo>
                  <a:lnTo>
                    <a:pt x="329" y="444"/>
                  </a:lnTo>
                  <a:lnTo>
                    <a:pt x="296" y="439"/>
                  </a:lnTo>
                  <a:lnTo>
                    <a:pt x="291" y="444"/>
                  </a:lnTo>
                  <a:lnTo>
                    <a:pt x="279" y="444"/>
                  </a:lnTo>
                  <a:lnTo>
                    <a:pt x="274" y="444"/>
                  </a:lnTo>
                  <a:lnTo>
                    <a:pt x="227" y="385"/>
                  </a:lnTo>
                  <a:lnTo>
                    <a:pt x="215" y="385"/>
                  </a:lnTo>
                  <a:lnTo>
                    <a:pt x="182" y="378"/>
                  </a:lnTo>
                  <a:lnTo>
                    <a:pt x="152" y="385"/>
                  </a:lnTo>
                  <a:lnTo>
                    <a:pt x="119" y="378"/>
                  </a:lnTo>
                  <a:lnTo>
                    <a:pt x="90" y="385"/>
                  </a:lnTo>
                  <a:lnTo>
                    <a:pt x="81" y="362"/>
                  </a:lnTo>
                  <a:lnTo>
                    <a:pt x="59" y="345"/>
                  </a:lnTo>
                  <a:lnTo>
                    <a:pt x="59" y="312"/>
                  </a:lnTo>
                  <a:lnTo>
                    <a:pt x="64" y="307"/>
                  </a:lnTo>
                  <a:lnTo>
                    <a:pt x="64" y="279"/>
                  </a:lnTo>
                  <a:lnTo>
                    <a:pt x="43" y="267"/>
                  </a:lnTo>
                  <a:lnTo>
                    <a:pt x="38" y="234"/>
                  </a:lnTo>
                  <a:lnTo>
                    <a:pt x="26" y="222"/>
                  </a:lnTo>
                  <a:lnTo>
                    <a:pt x="22" y="217"/>
                  </a:lnTo>
                  <a:lnTo>
                    <a:pt x="0" y="222"/>
                  </a:lnTo>
                  <a:lnTo>
                    <a:pt x="22" y="184"/>
                  </a:lnTo>
                  <a:lnTo>
                    <a:pt x="26" y="128"/>
                  </a:lnTo>
                  <a:lnTo>
                    <a:pt x="59" y="83"/>
                  </a:lnTo>
                  <a:lnTo>
                    <a:pt x="81" y="73"/>
                  </a:lnTo>
                  <a:lnTo>
                    <a:pt x="97" y="45"/>
                  </a:lnTo>
                  <a:lnTo>
                    <a:pt x="144" y="28"/>
                  </a:lnTo>
                  <a:lnTo>
                    <a:pt x="135" y="33"/>
                  </a:lnTo>
                  <a:lnTo>
                    <a:pt x="97" y="50"/>
                  </a:lnTo>
                  <a:lnTo>
                    <a:pt x="119" y="111"/>
                  </a:lnTo>
                  <a:lnTo>
                    <a:pt x="119" y="128"/>
                  </a:lnTo>
                  <a:lnTo>
                    <a:pt x="81" y="177"/>
                  </a:lnTo>
                  <a:lnTo>
                    <a:pt x="114" y="213"/>
                  </a:lnTo>
                  <a:lnTo>
                    <a:pt x="114" y="222"/>
                  </a:lnTo>
                  <a:lnTo>
                    <a:pt x="119" y="234"/>
                  </a:lnTo>
                  <a:lnTo>
                    <a:pt x="144" y="222"/>
                  </a:lnTo>
                  <a:lnTo>
                    <a:pt x="161" y="213"/>
                  </a:lnTo>
                  <a:lnTo>
                    <a:pt x="161" y="177"/>
                  </a:lnTo>
                  <a:lnTo>
                    <a:pt x="128" y="123"/>
                  </a:lnTo>
                  <a:lnTo>
                    <a:pt x="128" y="106"/>
                  </a:lnTo>
                  <a:lnTo>
                    <a:pt x="128" y="99"/>
                  </a:lnTo>
                  <a:lnTo>
                    <a:pt x="199" y="73"/>
                  </a:lnTo>
                  <a:lnTo>
                    <a:pt x="227" y="57"/>
                  </a:lnTo>
                  <a:lnTo>
                    <a:pt x="227" y="50"/>
                  </a:lnTo>
                  <a:lnTo>
                    <a:pt x="241" y="57"/>
                  </a:lnTo>
                  <a:lnTo>
                    <a:pt x="253" y="57"/>
                  </a:lnTo>
                  <a:lnTo>
                    <a:pt x="241" y="45"/>
                  </a:lnTo>
                  <a:lnTo>
                    <a:pt x="215" y="45"/>
                  </a:lnTo>
                  <a:lnTo>
                    <a:pt x="215" y="28"/>
                  </a:lnTo>
                  <a:lnTo>
                    <a:pt x="220" y="12"/>
                  </a:lnTo>
                  <a:lnTo>
                    <a:pt x="237" y="0"/>
                  </a:lnTo>
                  <a:lnTo>
                    <a:pt x="241" y="12"/>
                  </a:lnTo>
                  <a:lnTo>
                    <a:pt x="258" y="57"/>
                  </a:lnTo>
                  <a:lnTo>
                    <a:pt x="279" y="50"/>
                  </a:lnTo>
                  <a:lnTo>
                    <a:pt x="312" y="57"/>
                  </a:lnTo>
                  <a:lnTo>
                    <a:pt x="345" y="83"/>
                  </a:lnTo>
                  <a:lnTo>
                    <a:pt x="362" y="99"/>
                  </a:lnTo>
                  <a:lnTo>
                    <a:pt x="350" y="106"/>
                  </a:lnTo>
                  <a:lnTo>
                    <a:pt x="350" y="123"/>
                  </a:lnTo>
                  <a:lnTo>
                    <a:pt x="367" y="128"/>
                  </a:lnTo>
                  <a:lnTo>
                    <a:pt x="501" y="123"/>
                  </a:lnTo>
                  <a:lnTo>
                    <a:pt x="506" y="123"/>
                  </a:lnTo>
                  <a:lnTo>
                    <a:pt x="506" y="128"/>
                  </a:lnTo>
                  <a:lnTo>
                    <a:pt x="527" y="144"/>
                  </a:lnTo>
                  <a:lnTo>
                    <a:pt x="577" y="161"/>
                  </a:lnTo>
                  <a:lnTo>
                    <a:pt x="598" y="161"/>
                  </a:lnTo>
                  <a:lnTo>
                    <a:pt x="636" y="128"/>
                  </a:lnTo>
                  <a:lnTo>
                    <a:pt x="674" y="128"/>
                  </a:lnTo>
                  <a:lnTo>
                    <a:pt x="652" y="123"/>
                  </a:lnTo>
                  <a:lnTo>
                    <a:pt x="636" y="128"/>
                  </a:lnTo>
                  <a:lnTo>
                    <a:pt x="636" y="111"/>
                  </a:lnTo>
                  <a:lnTo>
                    <a:pt x="685" y="123"/>
                  </a:lnTo>
                  <a:lnTo>
                    <a:pt x="716" y="111"/>
                  </a:lnTo>
                  <a:lnTo>
                    <a:pt x="799" y="111"/>
                  </a:lnTo>
                  <a:lnTo>
                    <a:pt x="799" y="111"/>
                  </a:lnTo>
                  <a:lnTo>
                    <a:pt x="778" y="123"/>
                  </a:lnTo>
                  <a:lnTo>
                    <a:pt x="770" y="128"/>
                  </a:lnTo>
                  <a:lnTo>
                    <a:pt x="728" y="128"/>
                  </a:lnTo>
                  <a:lnTo>
                    <a:pt x="723" y="128"/>
                  </a:lnTo>
                  <a:lnTo>
                    <a:pt x="740" y="128"/>
                  </a:lnTo>
                  <a:lnTo>
                    <a:pt x="740" y="139"/>
                  </a:lnTo>
                  <a:lnTo>
                    <a:pt x="723" y="139"/>
                  </a:lnTo>
                  <a:lnTo>
                    <a:pt x="723" y="144"/>
                  </a:lnTo>
                  <a:lnTo>
                    <a:pt x="728" y="144"/>
                  </a:lnTo>
                  <a:lnTo>
                    <a:pt x="728" y="139"/>
                  </a:lnTo>
                  <a:lnTo>
                    <a:pt x="740" y="139"/>
                  </a:lnTo>
                  <a:lnTo>
                    <a:pt x="754" y="156"/>
                  </a:lnTo>
                  <a:lnTo>
                    <a:pt x="723" y="161"/>
                  </a:lnTo>
                  <a:lnTo>
                    <a:pt x="740" y="161"/>
                  </a:lnTo>
                  <a:lnTo>
                    <a:pt x="754" y="161"/>
                  </a:lnTo>
                  <a:lnTo>
                    <a:pt x="754" y="144"/>
                  </a:lnTo>
                  <a:lnTo>
                    <a:pt x="770" y="184"/>
                  </a:lnTo>
                  <a:lnTo>
                    <a:pt x="778" y="168"/>
                  </a:lnTo>
                  <a:lnTo>
                    <a:pt x="778" y="168"/>
                  </a:lnTo>
                  <a:lnTo>
                    <a:pt x="778" y="194"/>
                  </a:lnTo>
                  <a:lnTo>
                    <a:pt x="782" y="177"/>
                  </a:lnTo>
                  <a:lnTo>
                    <a:pt x="792" y="177"/>
                  </a:lnTo>
                  <a:lnTo>
                    <a:pt x="778" y="168"/>
                  </a:lnTo>
                  <a:lnTo>
                    <a:pt x="782" y="161"/>
                  </a:lnTo>
                  <a:lnTo>
                    <a:pt x="799" y="168"/>
                  </a:lnTo>
                  <a:lnTo>
                    <a:pt x="813" y="194"/>
                  </a:lnTo>
                  <a:lnTo>
                    <a:pt x="808" y="177"/>
                  </a:lnTo>
                  <a:lnTo>
                    <a:pt x="825" y="177"/>
                  </a:lnTo>
                  <a:lnTo>
                    <a:pt x="825" y="168"/>
                  </a:lnTo>
                  <a:lnTo>
                    <a:pt x="846" y="194"/>
                  </a:lnTo>
                  <a:lnTo>
                    <a:pt x="863" y="194"/>
                  </a:lnTo>
                  <a:lnTo>
                    <a:pt x="879" y="213"/>
                  </a:lnTo>
                  <a:lnTo>
                    <a:pt x="879" y="217"/>
                  </a:lnTo>
                  <a:lnTo>
                    <a:pt x="863" y="234"/>
                  </a:lnTo>
                  <a:lnTo>
                    <a:pt x="863" y="234"/>
                  </a:lnTo>
                  <a:lnTo>
                    <a:pt x="867" y="222"/>
                  </a:lnTo>
                  <a:lnTo>
                    <a:pt x="851" y="267"/>
                  </a:lnTo>
                  <a:lnTo>
                    <a:pt x="825" y="267"/>
                  </a:lnTo>
                  <a:lnTo>
                    <a:pt x="825" y="272"/>
                  </a:lnTo>
                  <a:lnTo>
                    <a:pt x="837" y="279"/>
                  </a:lnTo>
                  <a:lnTo>
                    <a:pt x="863" y="272"/>
                  </a:lnTo>
                  <a:lnTo>
                    <a:pt x="863" y="279"/>
                  </a:lnTo>
                  <a:lnTo>
                    <a:pt x="867" y="267"/>
                  </a:lnTo>
                  <a:lnTo>
                    <a:pt x="900" y="272"/>
                  </a:lnTo>
                  <a:lnTo>
                    <a:pt x="905" y="267"/>
                  </a:lnTo>
                  <a:lnTo>
                    <a:pt x="917" y="267"/>
                  </a:lnTo>
                  <a:lnTo>
                    <a:pt x="938" y="272"/>
                  </a:lnTo>
                  <a:lnTo>
                    <a:pt x="938" y="272"/>
                  </a:lnTo>
                  <a:lnTo>
                    <a:pt x="938" y="272"/>
                  </a:lnTo>
                  <a:close/>
                  <a:moveTo>
                    <a:pt x="506" y="33"/>
                  </a:moveTo>
                  <a:lnTo>
                    <a:pt x="501" y="33"/>
                  </a:lnTo>
                  <a:lnTo>
                    <a:pt x="506" y="33"/>
                  </a:lnTo>
                  <a:lnTo>
                    <a:pt x="506" y="33"/>
                  </a:lnTo>
                  <a:lnTo>
                    <a:pt x="506" y="33"/>
                  </a:lnTo>
                  <a:lnTo>
                    <a:pt x="506" y="33"/>
                  </a:lnTo>
                  <a:close/>
                  <a:moveTo>
                    <a:pt x="652" y="106"/>
                  </a:moveTo>
                  <a:lnTo>
                    <a:pt x="648" y="99"/>
                  </a:lnTo>
                  <a:lnTo>
                    <a:pt x="631" y="99"/>
                  </a:lnTo>
                  <a:lnTo>
                    <a:pt x="631" y="90"/>
                  </a:lnTo>
                  <a:lnTo>
                    <a:pt x="636" y="83"/>
                  </a:lnTo>
                  <a:lnTo>
                    <a:pt x="652" y="90"/>
                  </a:lnTo>
                  <a:lnTo>
                    <a:pt x="664" y="83"/>
                  </a:lnTo>
                  <a:lnTo>
                    <a:pt x="669" y="90"/>
                  </a:lnTo>
                  <a:lnTo>
                    <a:pt x="652" y="106"/>
                  </a:lnTo>
                  <a:lnTo>
                    <a:pt x="652" y="106"/>
                  </a:lnTo>
                  <a:lnTo>
                    <a:pt x="652" y="106"/>
                  </a:lnTo>
                  <a:close/>
                  <a:moveTo>
                    <a:pt x="565" y="99"/>
                  </a:moveTo>
                  <a:lnTo>
                    <a:pt x="556" y="99"/>
                  </a:lnTo>
                  <a:lnTo>
                    <a:pt x="565" y="99"/>
                  </a:lnTo>
                  <a:lnTo>
                    <a:pt x="565" y="99"/>
                  </a:lnTo>
                  <a:lnTo>
                    <a:pt x="565" y="99"/>
                  </a:lnTo>
                  <a:lnTo>
                    <a:pt x="565" y="99"/>
                  </a:lnTo>
                  <a:close/>
                  <a:moveTo>
                    <a:pt x="879" y="234"/>
                  </a:moveTo>
                  <a:lnTo>
                    <a:pt x="867" y="234"/>
                  </a:lnTo>
                  <a:lnTo>
                    <a:pt x="879" y="222"/>
                  </a:lnTo>
                  <a:lnTo>
                    <a:pt x="879" y="234"/>
                  </a:lnTo>
                  <a:lnTo>
                    <a:pt x="879" y="234"/>
                  </a:lnTo>
                  <a:lnTo>
                    <a:pt x="879" y="234"/>
                  </a:lnTo>
                  <a:close/>
                  <a:moveTo>
                    <a:pt x="867" y="250"/>
                  </a:moveTo>
                  <a:lnTo>
                    <a:pt x="863" y="250"/>
                  </a:lnTo>
                  <a:lnTo>
                    <a:pt x="879" y="234"/>
                  </a:lnTo>
                  <a:lnTo>
                    <a:pt x="867" y="250"/>
                  </a:lnTo>
                  <a:lnTo>
                    <a:pt x="867" y="250"/>
                  </a:lnTo>
                  <a:lnTo>
                    <a:pt x="867" y="250"/>
                  </a:lnTo>
                  <a:close/>
                  <a:moveTo>
                    <a:pt x="851" y="255"/>
                  </a:moveTo>
                  <a:lnTo>
                    <a:pt x="863" y="250"/>
                  </a:lnTo>
                  <a:lnTo>
                    <a:pt x="879" y="250"/>
                  </a:lnTo>
                  <a:lnTo>
                    <a:pt x="867" y="255"/>
                  </a:lnTo>
                  <a:lnTo>
                    <a:pt x="851" y="255"/>
                  </a:lnTo>
                  <a:lnTo>
                    <a:pt x="851" y="255"/>
                  </a:lnTo>
                  <a:lnTo>
                    <a:pt x="851" y="255"/>
                  </a:lnTo>
                  <a:close/>
                  <a:moveTo>
                    <a:pt x="867" y="267"/>
                  </a:moveTo>
                  <a:lnTo>
                    <a:pt x="867" y="267"/>
                  </a:lnTo>
                  <a:lnTo>
                    <a:pt x="879" y="255"/>
                  </a:lnTo>
                  <a:lnTo>
                    <a:pt x="867" y="267"/>
                  </a:lnTo>
                  <a:lnTo>
                    <a:pt x="867" y="267"/>
                  </a:lnTo>
                  <a:lnTo>
                    <a:pt x="867" y="267"/>
                  </a:lnTo>
                  <a:close/>
                  <a:moveTo>
                    <a:pt x="863" y="267"/>
                  </a:moveTo>
                  <a:lnTo>
                    <a:pt x="851" y="267"/>
                  </a:lnTo>
                  <a:lnTo>
                    <a:pt x="867" y="255"/>
                  </a:lnTo>
                  <a:lnTo>
                    <a:pt x="863" y="267"/>
                  </a:lnTo>
                  <a:lnTo>
                    <a:pt x="863" y="267"/>
                  </a:lnTo>
                  <a:lnTo>
                    <a:pt x="863" y="267"/>
                  </a:lnTo>
                  <a:close/>
                  <a:moveTo>
                    <a:pt x="851" y="272"/>
                  </a:moveTo>
                  <a:lnTo>
                    <a:pt x="851" y="267"/>
                  </a:lnTo>
                  <a:lnTo>
                    <a:pt x="863" y="267"/>
                  </a:lnTo>
                  <a:lnTo>
                    <a:pt x="851" y="272"/>
                  </a:lnTo>
                  <a:lnTo>
                    <a:pt x="851" y="272"/>
                  </a:lnTo>
                  <a:lnTo>
                    <a:pt x="851" y="272"/>
                  </a:lnTo>
                  <a:close/>
                  <a:moveTo>
                    <a:pt x="851" y="272"/>
                  </a:moveTo>
                  <a:lnTo>
                    <a:pt x="846" y="272"/>
                  </a:lnTo>
                  <a:lnTo>
                    <a:pt x="867" y="267"/>
                  </a:lnTo>
                  <a:lnTo>
                    <a:pt x="851" y="272"/>
                  </a:lnTo>
                  <a:lnTo>
                    <a:pt x="851" y="272"/>
                  </a:lnTo>
                  <a:lnTo>
                    <a:pt x="851" y="272"/>
                  </a:lnTo>
                  <a:close/>
                  <a:moveTo>
                    <a:pt x="846" y="272"/>
                  </a:moveTo>
                  <a:lnTo>
                    <a:pt x="825" y="272"/>
                  </a:lnTo>
                  <a:lnTo>
                    <a:pt x="846" y="272"/>
                  </a:lnTo>
                  <a:lnTo>
                    <a:pt x="851" y="272"/>
                  </a:lnTo>
                  <a:lnTo>
                    <a:pt x="846" y="272"/>
                  </a:lnTo>
                  <a:lnTo>
                    <a:pt x="846" y="272"/>
                  </a:lnTo>
                  <a:lnTo>
                    <a:pt x="846" y="27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3" name="Freeform 589">
              <a:extLst>
                <a:ext uri="{FF2B5EF4-FFF2-40B4-BE49-F238E27FC236}">
                  <a16:creationId xmlns:a16="http://schemas.microsoft.com/office/drawing/2014/main" id="{BEC5E413-1C69-4C0B-B94F-7760BD288072}"/>
                </a:ext>
              </a:extLst>
            </p:cNvPr>
            <p:cNvSpPr>
              <a:spLocks noEditPoints="1"/>
            </p:cNvSpPr>
            <p:nvPr/>
          </p:nvSpPr>
          <p:spPr bwMode="gray">
            <a:xfrm>
              <a:off x="4852313" y="3514186"/>
              <a:ext cx="8645" cy="21409"/>
            </a:xfrm>
            <a:custGeom>
              <a:avLst/>
              <a:gdLst>
                <a:gd name="T0" fmla="*/ 16 w 21"/>
                <a:gd name="T1" fmla="*/ 0 h 52"/>
                <a:gd name="T2" fmla="*/ 7 w 21"/>
                <a:gd name="T3" fmla="*/ 0 h 52"/>
                <a:gd name="T4" fmla="*/ 16 w 21"/>
                <a:gd name="T5" fmla="*/ 0 h 52"/>
                <a:gd name="T6" fmla="*/ 16 w 21"/>
                <a:gd name="T7" fmla="*/ 0 h 52"/>
                <a:gd name="T8" fmla="*/ 16 w 21"/>
                <a:gd name="T9" fmla="*/ 0 h 52"/>
                <a:gd name="T10" fmla="*/ 16 w 21"/>
                <a:gd name="T11" fmla="*/ 0 h 52"/>
                <a:gd name="T12" fmla="*/ 0 w 21"/>
                <a:gd name="T13" fmla="*/ 52 h 52"/>
                <a:gd name="T14" fmla="*/ 0 w 21"/>
                <a:gd name="T15" fmla="*/ 40 h 52"/>
                <a:gd name="T16" fmla="*/ 21 w 21"/>
                <a:gd name="T17" fmla="*/ 52 h 52"/>
                <a:gd name="T18" fmla="*/ 0 w 21"/>
                <a:gd name="T19" fmla="*/ 52 h 52"/>
                <a:gd name="T20" fmla="*/ 0 w 21"/>
                <a:gd name="T21" fmla="*/ 52 h 52"/>
                <a:gd name="T22" fmla="*/ 0 w 21"/>
                <a:gd name="T23"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2">
                  <a:moveTo>
                    <a:pt x="16" y="0"/>
                  </a:moveTo>
                  <a:lnTo>
                    <a:pt x="7" y="0"/>
                  </a:lnTo>
                  <a:lnTo>
                    <a:pt x="16" y="0"/>
                  </a:lnTo>
                  <a:lnTo>
                    <a:pt x="16" y="0"/>
                  </a:lnTo>
                  <a:lnTo>
                    <a:pt x="16" y="0"/>
                  </a:lnTo>
                  <a:lnTo>
                    <a:pt x="16" y="0"/>
                  </a:lnTo>
                  <a:close/>
                  <a:moveTo>
                    <a:pt x="0" y="52"/>
                  </a:moveTo>
                  <a:lnTo>
                    <a:pt x="0" y="40"/>
                  </a:lnTo>
                  <a:lnTo>
                    <a:pt x="21" y="52"/>
                  </a:lnTo>
                  <a:lnTo>
                    <a:pt x="0" y="52"/>
                  </a:lnTo>
                  <a:lnTo>
                    <a:pt x="0" y="52"/>
                  </a:lnTo>
                  <a:lnTo>
                    <a:pt x="0" y="5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7" name="Gruppieren 26">
            <a:extLst>
              <a:ext uri="{FF2B5EF4-FFF2-40B4-BE49-F238E27FC236}">
                <a16:creationId xmlns:a16="http://schemas.microsoft.com/office/drawing/2014/main" id="{4B5AFE33-27C5-4882-A423-F152BBA68944}"/>
              </a:ext>
            </a:extLst>
          </p:cNvPr>
          <p:cNvGrpSpPr/>
          <p:nvPr/>
        </p:nvGrpSpPr>
        <p:grpSpPr bwMode="gray">
          <a:xfrm>
            <a:off x="5694161" y="3109711"/>
            <a:ext cx="3093288" cy="2989470"/>
            <a:chOff x="5995933" y="2821679"/>
            <a:chExt cx="3093288" cy="2989470"/>
          </a:xfrm>
          <a:pattFill prst="ltVert">
            <a:fgClr>
              <a:schemeClr val="accent2"/>
            </a:fgClr>
            <a:bgClr>
              <a:schemeClr val="bg1"/>
            </a:bgClr>
          </a:pattFill>
        </p:grpSpPr>
        <p:sp>
          <p:nvSpPr>
            <p:cNvPr id="8001" name="Freeform 380">
              <a:extLst>
                <a:ext uri="{FF2B5EF4-FFF2-40B4-BE49-F238E27FC236}">
                  <a16:creationId xmlns:a16="http://schemas.microsoft.com/office/drawing/2014/main" id="{43946498-87B9-4EF9-95A8-23D96F5069E3}"/>
                </a:ext>
              </a:extLst>
            </p:cNvPr>
            <p:cNvSpPr>
              <a:spLocks/>
            </p:cNvSpPr>
            <p:nvPr/>
          </p:nvSpPr>
          <p:spPr bwMode="gray">
            <a:xfrm>
              <a:off x="6476353" y="2912257"/>
              <a:ext cx="594864" cy="582578"/>
            </a:xfrm>
            <a:custGeom>
              <a:avLst/>
              <a:gdLst>
                <a:gd name="T0" fmla="*/ 399 w 1445"/>
                <a:gd name="T1" fmla="*/ 427 h 1415"/>
                <a:gd name="T2" fmla="*/ 446 w 1445"/>
                <a:gd name="T3" fmla="*/ 399 h 1415"/>
                <a:gd name="T4" fmla="*/ 522 w 1445"/>
                <a:gd name="T5" fmla="*/ 399 h 1415"/>
                <a:gd name="T6" fmla="*/ 522 w 1445"/>
                <a:gd name="T7" fmla="*/ 387 h 1415"/>
                <a:gd name="T8" fmla="*/ 508 w 1445"/>
                <a:gd name="T9" fmla="*/ 354 h 1415"/>
                <a:gd name="T10" fmla="*/ 508 w 1445"/>
                <a:gd name="T11" fmla="*/ 333 h 1415"/>
                <a:gd name="T12" fmla="*/ 491 w 1445"/>
                <a:gd name="T13" fmla="*/ 283 h 1415"/>
                <a:gd name="T14" fmla="*/ 491 w 1445"/>
                <a:gd name="T15" fmla="*/ 243 h 1415"/>
                <a:gd name="T16" fmla="*/ 491 w 1445"/>
                <a:gd name="T17" fmla="*/ 210 h 1415"/>
                <a:gd name="T18" fmla="*/ 484 w 1445"/>
                <a:gd name="T19" fmla="*/ 193 h 1415"/>
                <a:gd name="T20" fmla="*/ 484 w 1445"/>
                <a:gd name="T21" fmla="*/ 165 h 1415"/>
                <a:gd name="T22" fmla="*/ 538 w 1445"/>
                <a:gd name="T23" fmla="*/ 116 h 1415"/>
                <a:gd name="T24" fmla="*/ 560 w 1445"/>
                <a:gd name="T25" fmla="*/ 116 h 1415"/>
                <a:gd name="T26" fmla="*/ 597 w 1445"/>
                <a:gd name="T27" fmla="*/ 111 h 1415"/>
                <a:gd name="T28" fmla="*/ 690 w 1445"/>
                <a:gd name="T29" fmla="*/ 45 h 1415"/>
                <a:gd name="T30" fmla="*/ 786 w 1445"/>
                <a:gd name="T31" fmla="*/ 45 h 1415"/>
                <a:gd name="T32" fmla="*/ 853 w 1445"/>
                <a:gd name="T33" fmla="*/ 28 h 1415"/>
                <a:gd name="T34" fmla="*/ 938 w 1445"/>
                <a:gd name="T35" fmla="*/ 12 h 1415"/>
                <a:gd name="T36" fmla="*/ 1008 w 1445"/>
                <a:gd name="T37" fmla="*/ 21 h 1415"/>
                <a:gd name="T38" fmla="*/ 1046 w 1445"/>
                <a:gd name="T39" fmla="*/ 4 h 1415"/>
                <a:gd name="T40" fmla="*/ 1067 w 1445"/>
                <a:gd name="T41" fmla="*/ 12 h 1415"/>
                <a:gd name="T42" fmla="*/ 1110 w 1445"/>
                <a:gd name="T43" fmla="*/ 12 h 1415"/>
                <a:gd name="T44" fmla="*/ 1117 w 1445"/>
                <a:gd name="T45" fmla="*/ 0 h 1415"/>
                <a:gd name="T46" fmla="*/ 1164 w 1445"/>
                <a:gd name="T47" fmla="*/ 21 h 1415"/>
                <a:gd name="T48" fmla="*/ 1209 w 1445"/>
                <a:gd name="T49" fmla="*/ 12 h 1415"/>
                <a:gd name="T50" fmla="*/ 1176 w 1445"/>
                <a:gd name="T51" fmla="*/ 45 h 1415"/>
                <a:gd name="T52" fmla="*/ 1186 w 1445"/>
                <a:gd name="T53" fmla="*/ 99 h 1415"/>
                <a:gd name="T54" fmla="*/ 1193 w 1445"/>
                <a:gd name="T55" fmla="*/ 139 h 1415"/>
                <a:gd name="T56" fmla="*/ 1186 w 1445"/>
                <a:gd name="T57" fmla="*/ 205 h 1415"/>
                <a:gd name="T58" fmla="*/ 1155 w 1445"/>
                <a:gd name="T59" fmla="*/ 234 h 1415"/>
                <a:gd name="T60" fmla="*/ 1134 w 1445"/>
                <a:gd name="T61" fmla="*/ 260 h 1415"/>
                <a:gd name="T62" fmla="*/ 1176 w 1445"/>
                <a:gd name="T63" fmla="*/ 321 h 1415"/>
                <a:gd name="T64" fmla="*/ 1193 w 1445"/>
                <a:gd name="T65" fmla="*/ 371 h 1415"/>
                <a:gd name="T66" fmla="*/ 1278 w 1445"/>
                <a:gd name="T67" fmla="*/ 555 h 1415"/>
                <a:gd name="T68" fmla="*/ 1285 w 1445"/>
                <a:gd name="T69" fmla="*/ 600 h 1415"/>
                <a:gd name="T70" fmla="*/ 1294 w 1445"/>
                <a:gd name="T71" fmla="*/ 711 h 1415"/>
                <a:gd name="T72" fmla="*/ 1285 w 1445"/>
                <a:gd name="T73" fmla="*/ 782 h 1415"/>
                <a:gd name="T74" fmla="*/ 1299 w 1445"/>
                <a:gd name="T75" fmla="*/ 822 h 1415"/>
                <a:gd name="T76" fmla="*/ 1273 w 1445"/>
                <a:gd name="T77" fmla="*/ 855 h 1415"/>
                <a:gd name="T78" fmla="*/ 1311 w 1445"/>
                <a:gd name="T79" fmla="*/ 933 h 1415"/>
                <a:gd name="T80" fmla="*/ 1327 w 1445"/>
                <a:gd name="T81" fmla="*/ 982 h 1415"/>
                <a:gd name="T82" fmla="*/ 1337 w 1445"/>
                <a:gd name="T83" fmla="*/ 1004 h 1415"/>
                <a:gd name="T84" fmla="*/ 1419 w 1445"/>
                <a:gd name="T85" fmla="*/ 1011 h 1415"/>
                <a:gd name="T86" fmla="*/ 1134 w 1445"/>
                <a:gd name="T87" fmla="*/ 1278 h 1415"/>
                <a:gd name="T88" fmla="*/ 907 w 1445"/>
                <a:gd name="T89" fmla="*/ 1405 h 1415"/>
                <a:gd name="T90" fmla="*/ 824 w 1445"/>
                <a:gd name="T91" fmla="*/ 1405 h 1415"/>
                <a:gd name="T92" fmla="*/ 831 w 1445"/>
                <a:gd name="T93" fmla="*/ 1353 h 1415"/>
                <a:gd name="T94" fmla="*/ 760 w 1445"/>
                <a:gd name="T95" fmla="*/ 1320 h 1415"/>
                <a:gd name="T96" fmla="*/ 734 w 1445"/>
                <a:gd name="T97" fmla="*/ 1315 h 1415"/>
                <a:gd name="T98" fmla="*/ 690 w 1445"/>
                <a:gd name="T99" fmla="*/ 1282 h 1415"/>
                <a:gd name="T100" fmla="*/ 269 w 1445"/>
                <a:gd name="T101" fmla="*/ 966 h 1415"/>
                <a:gd name="T102" fmla="*/ 0 w 1445"/>
                <a:gd name="T103" fmla="*/ 760 h 1415"/>
                <a:gd name="T104" fmla="*/ 108 w 1445"/>
                <a:gd name="T105" fmla="*/ 600 h 1415"/>
                <a:gd name="T106" fmla="*/ 160 w 1445"/>
                <a:gd name="T107" fmla="*/ 593 h 1415"/>
                <a:gd name="T108" fmla="*/ 236 w 1445"/>
                <a:gd name="T109" fmla="*/ 567 h 1415"/>
                <a:gd name="T110" fmla="*/ 302 w 1445"/>
                <a:gd name="T111" fmla="*/ 522 h 1415"/>
                <a:gd name="T112" fmla="*/ 356 w 1445"/>
                <a:gd name="T113" fmla="*/ 498 h 1415"/>
                <a:gd name="T114" fmla="*/ 340 w 1445"/>
                <a:gd name="T115" fmla="*/ 482 h 1415"/>
                <a:gd name="T116" fmla="*/ 366 w 1445"/>
                <a:gd name="T117" fmla="*/ 432 h 1415"/>
                <a:gd name="T118" fmla="*/ 366 w 1445"/>
                <a:gd name="T119" fmla="*/ 432 h 1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5" h="1415">
                  <a:moveTo>
                    <a:pt x="366" y="432"/>
                  </a:moveTo>
                  <a:lnTo>
                    <a:pt x="399" y="427"/>
                  </a:lnTo>
                  <a:lnTo>
                    <a:pt x="408" y="411"/>
                  </a:lnTo>
                  <a:lnTo>
                    <a:pt x="446" y="399"/>
                  </a:lnTo>
                  <a:lnTo>
                    <a:pt x="522" y="411"/>
                  </a:lnTo>
                  <a:lnTo>
                    <a:pt x="522" y="399"/>
                  </a:lnTo>
                  <a:lnTo>
                    <a:pt x="517" y="399"/>
                  </a:lnTo>
                  <a:lnTo>
                    <a:pt x="522" y="387"/>
                  </a:lnTo>
                  <a:lnTo>
                    <a:pt x="538" y="371"/>
                  </a:lnTo>
                  <a:lnTo>
                    <a:pt x="508" y="354"/>
                  </a:lnTo>
                  <a:lnTo>
                    <a:pt x="501" y="338"/>
                  </a:lnTo>
                  <a:lnTo>
                    <a:pt x="508" y="333"/>
                  </a:lnTo>
                  <a:lnTo>
                    <a:pt x="491" y="316"/>
                  </a:lnTo>
                  <a:lnTo>
                    <a:pt x="491" y="283"/>
                  </a:lnTo>
                  <a:lnTo>
                    <a:pt x="484" y="276"/>
                  </a:lnTo>
                  <a:lnTo>
                    <a:pt x="491" y="243"/>
                  </a:lnTo>
                  <a:lnTo>
                    <a:pt x="484" y="222"/>
                  </a:lnTo>
                  <a:lnTo>
                    <a:pt x="491" y="210"/>
                  </a:lnTo>
                  <a:lnTo>
                    <a:pt x="475" y="205"/>
                  </a:lnTo>
                  <a:lnTo>
                    <a:pt x="484" y="193"/>
                  </a:lnTo>
                  <a:lnTo>
                    <a:pt x="453" y="165"/>
                  </a:lnTo>
                  <a:lnTo>
                    <a:pt x="484" y="165"/>
                  </a:lnTo>
                  <a:lnTo>
                    <a:pt x="517" y="139"/>
                  </a:lnTo>
                  <a:lnTo>
                    <a:pt x="538" y="116"/>
                  </a:lnTo>
                  <a:lnTo>
                    <a:pt x="555" y="111"/>
                  </a:lnTo>
                  <a:lnTo>
                    <a:pt x="560" y="116"/>
                  </a:lnTo>
                  <a:lnTo>
                    <a:pt x="583" y="99"/>
                  </a:lnTo>
                  <a:lnTo>
                    <a:pt x="597" y="111"/>
                  </a:lnTo>
                  <a:lnTo>
                    <a:pt x="626" y="82"/>
                  </a:lnTo>
                  <a:lnTo>
                    <a:pt x="690" y="45"/>
                  </a:lnTo>
                  <a:lnTo>
                    <a:pt x="772" y="38"/>
                  </a:lnTo>
                  <a:lnTo>
                    <a:pt x="786" y="45"/>
                  </a:lnTo>
                  <a:lnTo>
                    <a:pt x="810" y="21"/>
                  </a:lnTo>
                  <a:lnTo>
                    <a:pt x="853" y="28"/>
                  </a:lnTo>
                  <a:lnTo>
                    <a:pt x="878" y="12"/>
                  </a:lnTo>
                  <a:lnTo>
                    <a:pt x="938" y="12"/>
                  </a:lnTo>
                  <a:lnTo>
                    <a:pt x="975" y="38"/>
                  </a:lnTo>
                  <a:lnTo>
                    <a:pt x="1008" y="21"/>
                  </a:lnTo>
                  <a:lnTo>
                    <a:pt x="1046" y="12"/>
                  </a:lnTo>
                  <a:lnTo>
                    <a:pt x="1046" y="4"/>
                  </a:lnTo>
                  <a:lnTo>
                    <a:pt x="1063" y="0"/>
                  </a:lnTo>
                  <a:lnTo>
                    <a:pt x="1067" y="12"/>
                  </a:lnTo>
                  <a:lnTo>
                    <a:pt x="1096" y="12"/>
                  </a:lnTo>
                  <a:lnTo>
                    <a:pt x="1110" y="12"/>
                  </a:lnTo>
                  <a:lnTo>
                    <a:pt x="1117" y="4"/>
                  </a:lnTo>
                  <a:lnTo>
                    <a:pt x="1117" y="0"/>
                  </a:lnTo>
                  <a:lnTo>
                    <a:pt x="1155" y="12"/>
                  </a:lnTo>
                  <a:lnTo>
                    <a:pt x="1164" y="21"/>
                  </a:lnTo>
                  <a:lnTo>
                    <a:pt x="1186" y="12"/>
                  </a:lnTo>
                  <a:lnTo>
                    <a:pt x="1209" y="12"/>
                  </a:lnTo>
                  <a:lnTo>
                    <a:pt x="1219" y="21"/>
                  </a:lnTo>
                  <a:lnTo>
                    <a:pt x="1176" y="45"/>
                  </a:lnTo>
                  <a:lnTo>
                    <a:pt x="1193" y="54"/>
                  </a:lnTo>
                  <a:lnTo>
                    <a:pt x="1186" y="99"/>
                  </a:lnTo>
                  <a:lnTo>
                    <a:pt x="1193" y="116"/>
                  </a:lnTo>
                  <a:lnTo>
                    <a:pt x="1193" y="139"/>
                  </a:lnTo>
                  <a:lnTo>
                    <a:pt x="1193" y="156"/>
                  </a:lnTo>
                  <a:lnTo>
                    <a:pt x="1186" y="205"/>
                  </a:lnTo>
                  <a:lnTo>
                    <a:pt x="1155" y="222"/>
                  </a:lnTo>
                  <a:lnTo>
                    <a:pt x="1155" y="234"/>
                  </a:lnTo>
                  <a:lnTo>
                    <a:pt x="1134" y="243"/>
                  </a:lnTo>
                  <a:lnTo>
                    <a:pt x="1134" y="260"/>
                  </a:lnTo>
                  <a:lnTo>
                    <a:pt x="1148" y="316"/>
                  </a:lnTo>
                  <a:lnTo>
                    <a:pt x="1176" y="321"/>
                  </a:lnTo>
                  <a:lnTo>
                    <a:pt x="1193" y="345"/>
                  </a:lnTo>
                  <a:lnTo>
                    <a:pt x="1193" y="371"/>
                  </a:lnTo>
                  <a:lnTo>
                    <a:pt x="1240" y="411"/>
                  </a:lnTo>
                  <a:lnTo>
                    <a:pt x="1278" y="555"/>
                  </a:lnTo>
                  <a:lnTo>
                    <a:pt x="1261" y="560"/>
                  </a:lnTo>
                  <a:lnTo>
                    <a:pt x="1285" y="600"/>
                  </a:lnTo>
                  <a:lnTo>
                    <a:pt x="1294" y="638"/>
                  </a:lnTo>
                  <a:lnTo>
                    <a:pt x="1294" y="711"/>
                  </a:lnTo>
                  <a:lnTo>
                    <a:pt x="1311" y="744"/>
                  </a:lnTo>
                  <a:lnTo>
                    <a:pt x="1285" y="782"/>
                  </a:lnTo>
                  <a:lnTo>
                    <a:pt x="1299" y="815"/>
                  </a:lnTo>
                  <a:lnTo>
                    <a:pt x="1299" y="822"/>
                  </a:lnTo>
                  <a:lnTo>
                    <a:pt x="1299" y="843"/>
                  </a:lnTo>
                  <a:lnTo>
                    <a:pt x="1273" y="855"/>
                  </a:lnTo>
                  <a:lnTo>
                    <a:pt x="1261" y="871"/>
                  </a:lnTo>
                  <a:lnTo>
                    <a:pt x="1311" y="933"/>
                  </a:lnTo>
                  <a:lnTo>
                    <a:pt x="1311" y="971"/>
                  </a:lnTo>
                  <a:lnTo>
                    <a:pt x="1327" y="982"/>
                  </a:lnTo>
                  <a:lnTo>
                    <a:pt x="1327" y="987"/>
                  </a:lnTo>
                  <a:lnTo>
                    <a:pt x="1337" y="1004"/>
                  </a:lnTo>
                  <a:lnTo>
                    <a:pt x="1353" y="999"/>
                  </a:lnTo>
                  <a:lnTo>
                    <a:pt x="1419" y="1011"/>
                  </a:lnTo>
                  <a:lnTo>
                    <a:pt x="1445" y="1077"/>
                  </a:lnTo>
                  <a:lnTo>
                    <a:pt x="1134" y="1278"/>
                  </a:lnTo>
                  <a:lnTo>
                    <a:pt x="1013" y="1389"/>
                  </a:lnTo>
                  <a:lnTo>
                    <a:pt x="907" y="1405"/>
                  </a:lnTo>
                  <a:lnTo>
                    <a:pt x="841" y="1415"/>
                  </a:lnTo>
                  <a:lnTo>
                    <a:pt x="824" y="1405"/>
                  </a:lnTo>
                  <a:lnTo>
                    <a:pt x="841" y="1389"/>
                  </a:lnTo>
                  <a:lnTo>
                    <a:pt x="831" y="1353"/>
                  </a:lnTo>
                  <a:lnTo>
                    <a:pt x="777" y="1337"/>
                  </a:lnTo>
                  <a:lnTo>
                    <a:pt x="760" y="1320"/>
                  </a:lnTo>
                  <a:lnTo>
                    <a:pt x="756" y="1320"/>
                  </a:lnTo>
                  <a:lnTo>
                    <a:pt x="734" y="1315"/>
                  </a:lnTo>
                  <a:lnTo>
                    <a:pt x="723" y="1299"/>
                  </a:lnTo>
                  <a:lnTo>
                    <a:pt x="690" y="1282"/>
                  </a:lnTo>
                  <a:lnTo>
                    <a:pt x="690" y="1261"/>
                  </a:lnTo>
                  <a:lnTo>
                    <a:pt x="269" y="966"/>
                  </a:lnTo>
                  <a:lnTo>
                    <a:pt x="0" y="782"/>
                  </a:lnTo>
                  <a:lnTo>
                    <a:pt x="0" y="760"/>
                  </a:lnTo>
                  <a:lnTo>
                    <a:pt x="0" y="671"/>
                  </a:lnTo>
                  <a:lnTo>
                    <a:pt x="108" y="600"/>
                  </a:lnTo>
                  <a:lnTo>
                    <a:pt x="146" y="609"/>
                  </a:lnTo>
                  <a:lnTo>
                    <a:pt x="160" y="593"/>
                  </a:lnTo>
                  <a:lnTo>
                    <a:pt x="222" y="583"/>
                  </a:lnTo>
                  <a:lnTo>
                    <a:pt x="236" y="567"/>
                  </a:lnTo>
                  <a:lnTo>
                    <a:pt x="260" y="538"/>
                  </a:lnTo>
                  <a:lnTo>
                    <a:pt x="302" y="522"/>
                  </a:lnTo>
                  <a:lnTo>
                    <a:pt x="323" y="498"/>
                  </a:lnTo>
                  <a:lnTo>
                    <a:pt x="356" y="498"/>
                  </a:lnTo>
                  <a:lnTo>
                    <a:pt x="356" y="489"/>
                  </a:lnTo>
                  <a:lnTo>
                    <a:pt x="340" y="482"/>
                  </a:lnTo>
                  <a:lnTo>
                    <a:pt x="340" y="444"/>
                  </a:lnTo>
                  <a:lnTo>
                    <a:pt x="366" y="432"/>
                  </a:lnTo>
                  <a:lnTo>
                    <a:pt x="366" y="432"/>
                  </a:lnTo>
                  <a:lnTo>
                    <a:pt x="366" y="43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06" name="Freeform 385">
              <a:extLst>
                <a:ext uri="{FF2B5EF4-FFF2-40B4-BE49-F238E27FC236}">
                  <a16:creationId xmlns:a16="http://schemas.microsoft.com/office/drawing/2014/main" id="{380E12E5-ABE5-4830-9429-9E2FDA199194}"/>
                </a:ext>
              </a:extLst>
            </p:cNvPr>
            <p:cNvSpPr>
              <a:spLocks noEditPoints="1"/>
            </p:cNvSpPr>
            <p:nvPr/>
          </p:nvSpPr>
          <p:spPr bwMode="gray">
            <a:xfrm>
              <a:off x="7066686" y="4198046"/>
              <a:ext cx="356918" cy="406364"/>
            </a:xfrm>
            <a:custGeom>
              <a:avLst/>
              <a:gdLst>
                <a:gd name="T0" fmla="*/ 75 w 867"/>
                <a:gd name="T1" fmla="*/ 23 h 987"/>
                <a:gd name="T2" fmla="*/ 54 w 867"/>
                <a:gd name="T3" fmla="*/ 94 h 987"/>
                <a:gd name="T4" fmla="*/ 21 w 867"/>
                <a:gd name="T5" fmla="*/ 85 h 987"/>
                <a:gd name="T6" fmla="*/ 9 w 867"/>
                <a:gd name="T7" fmla="*/ 40 h 987"/>
                <a:gd name="T8" fmla="*/ 37 w 867"/>
                <a:gd name="T9" fmla="*/ 23 h 987"/>
                <a:gd name="T10" fmla="*/ 59 w 867"/>
                <a:gd name="T11" fmla="*/ 7 h 987"/>
                <a:gd name="T12" fmla="*/ 75 w 867"/>
                <a:gd name="T13" fmla="*/ 0 h 987"/>
                <a:gd name="T14" fmla="*/ 92 w 867"/>
                <a:gd name="T15" fmla="*/ 16 h 987"/>
                <a:gd name="T16" fmla="*/ 817 w 867"/>
                <a:gd name="T17" fmla="*/ 966 h 987"/>
                <a:gd name="T18" fmla="*/ 654 w 867"/>
                <a:gd name="T19" fmla="*/ 982 h 987"/>
                <a:gd name="T20" fmla="*/ 616 w 867"/>
                <a:gd name="T21" fmla="*/ 987 h 987"/>
                <a:gd name="T22" fmla="*/ 498 w 867"/>
                <a:gd name="T23" fmla="*/ 970 h 987"/>
                <a:gd name="T24" fmla="*/ 470 w 867"/>
                <a:gd name="T25" fmla="*/ 942 h 987"/>
                <a:gd name="T26" fmla="*/ 118 w 867"/>
                <a:gd name="T27" fmla="*/ 916 h 987"/>
                <a:gd name="T28" fmla="*/ 54 w 867"/>
                <a:gd name="T29" fmla="*/ 933 h 987"/>
                <a:gd name="T30" fmla="*/ 0 w 867"/>
                <a:gd name="T31" fmla="*/ 933 h 987"/>
                <a:gd name="T32" fmla="*/ 0 w 867"/>
                <a:gd name="T33" fmla="*/ 838 h 987"/>
                <a:gd name="T34" fmla="*/ 9 w 867"/>
                <a:gd name="T35" fmla="*/ 814 h 987"/>
                <a:gd name="T36" fmla="*/ 37 w 867"/>
                <a:gd name="T37" fmla="*/ 748 h 987"/>
                <a:gd name="T38" fmla="*/ 54 w 867"/>
                <a:gd name="T39" fmla="*/ 682 h 987"/>
                <a:gd name="T40" fmla="*/ 80 w 867"/>
                <a:gd name="T41" fmla="*/ 616 h 987"/>
                <a:gd name="T42" fmla="*/ 113 w 867"/>
                <a:gd name="T43" fmla="*/ 583 h 987"/>
                <a:gd name="T44" fmla="*/ 146 w 867"/>
                <a:gd name="T45" fmla="*/ 472 h 987"/>
                <a:gd name="T46" fmla="*/ 134 w 867"/>
                <a:gd name="T47" fmla="*/ 451 h 987"/>
                <a:gd name="T48" fmla="*/ 80 w 867"/>
                <a:gd name="T49" fmla="*/ 333 h 987"/>
                <a:gd name="T50" fmla="*/ 80 w 867"/>
                <a:gd name="T51" fmla="*/ 333 h 987"/>
                <a:gd name="T52" fmla="*/ 113 w 867"/>
                <a:gd name="T53" fmla="*/ 283 h 987"/>
                <a:gd name="T54" fmla="*/ 75 w 867"/>
                <a:gd name="T55" fmla="*/ 184 h 987"/>
                <a:gd name="T56" fmla="*/ 26 w 867"/>
                <a:gd name="T57" fmla="*/ 118 h 987"/>
                <a:gd name="T58" fmla="*/ 96 w 867"/>
                <a:gd name="T59" fmla="*/ 101 h 987"/>
                <a:gd name="T60" fmla="*/ 335 w 867"/>
                <a:gd name="T61" fmla="*/ 111 h 987"/>
                <a:gd name="T62" fmla="*/ 344 w 867"/>
                <a:gd name="T63" fmla="*/ 139 h 987"/>
                <a:gd name="T64" fmla="*/ 361 w 867"/>
                <a:gd name="T65" fmla="*/ 196 h 987"/>
                <a:gd name="T66" fmla="*/ 432 w 867"/>
                <a:gd name="T67" fmla="*/ 262 h 987"/>
                <a:gd name="T68" fmla="*/ 444 w 867"/>
                <a:gd name="T69" fmla="*/ 262 h 987"/>
                <a:gd name="T70" fmla="*/ 470 w 867"/>
                <a:gd name="T71" fmla="*/ 250 h 987"/>
                <a:gd name="T72" fmla="*/ 529 w 867"/>
                <a:gd name="T73" fmla="*/ 229 h 987"/>
                <a:gd name="T74" fmla="*/ 545 w 867"/>
                <a:gd name="T75" fmla="*/ 184 h 987"/>
                <a:gd name="T76" fmla="*/ 600 w 867"/>
                <a:gd name="T77" fmla="*/ 184 h 987"/>
                <a:gd name="T78" fmla="*/ 616 w 867"/>
                <a:gd name="T79" fmla="*/ 205 h 987"/>
                <a:gd name="T80" fmla="*/ 708 w 867"/>
                <a:gd name="T81" fmla="*/ 222 h 987"/>
                <a:gd name="T82" fmla="*/ 708 w 867"/>
                <a:gd name="T83" fmla="*/ 295 h 987"/>
                <a:gd name="T84" fmla="*/ 708 w 867"/>
                <a:gd name="T85" fmla="*/ 377 h 987"/>
                <a:gd name="T86" fmla="*/ 741 w 867"/>
                <a:gd name="T87" fmla="*/ 427 h 987"/>
                <a:gd name="T88" fmla="*/ 730 w 867"/>
                <a:gd name="T89" fmla="*/ 467 h 987"/>
                <a:gd name="T90" fmla="*/ 758 w 867"/>
                <a:gd name="T91" fmla="*/ 472 h 987"/>
                <a:gd name="T92" fmla="*/ 817 w 867"/>
                <a:gd name="T93" fmla="*/ 472 h 987"/>
                <a:gd name="T94" fmla="*/ 855 w 867"/>
                <a:gd name="T95" fmla="*/ 467 h 987"/>
                <a:gd name="T96" fmla="*/ 855 w 867"/>
                <a:gd name="T97" fmla="*/ 522 h 987"/>
                <a:gd name="T98" fmla="*/ 867 w 867"/>
                <a:gd name="T99" fmla="*/ 578 h 987"/>
                <a:gd name="T100" fmla="*/ 855 w 867"/>
                <a:gd name="T101" fmla="*/ 628 h 987"/>
                <a:gd name="T102" fmla="*/ 720 w 867"/>
                <a:gd name="T103" fmla="*/ 855 h 987"/>
                <a:gd name="T104" fmla="*/ 800 w 867"/>
                <a:gd name="T105" fmla="*/ 949 h 987"/>
                <a:gd name="T106" fmla="*/ 817 w 867"/>
                <a:gd name="T107" fmla="*/ 966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7" h="987">
                  <a:moveTo>
                    <a:pt x="92" y="16"/>
                  </a:moveTo>
                  <a:lnTo>
                    <a:pt x="75" y="23"/>
                  </a:lnTo>
                  <a:lnTo>
                    <a:pt x="54" y="40"/>
                  </a:lnTo>
                  <a:lnTo>
                    <a:pt x="54" y="94"/>
                  </a:lnTo>
                  <a:lnTo>
                    <a:pt x="26" y="94"/>
                  </a:lnTo>
                  <a:lnTo>
                    <a:pt x="21" y="85"/>
                  </a:lnTo>
                  <a:lnTo>
                    <a:pt x="26" y="73"/>
                  </a:lnTo>
                  <a:lnTo>
                    <a:pt x="9" y="40"/>
                  </a:lnTo>
                  <a:lnTo>
                    <a:pt x="26" y="23"/>
                  </a:lnTo>
                  <a:lnTo>
                    <a:pt x="37" y="23"/>
                  </a:lnTo>
                  <a:lnTo>
                    <a:pt x="42" y="16"/>
                  </a:lnTo>
                  <a:lnTo>
                    <a:pt x="59" y="7"/>
                  </a:lnTo>
                  <a:lnTo>
                    <a:pt x="63" y="0"/>
                  </a:lnTo>
                  <a:lnTo>
                    <a:pt x="75" y="0"/>
                  </a:lnTo>
                  <a:lnTo>
                    <a:pt x="92" y="16"/>
                  </a:lnTo>
                  <a:lnTo>
                    <a:pt x="92" y="16"/>
                  </a:lnTo>
                  <a:lnTo>
                    <a:pt x="92" y="16"/>
                  </a:lnTo>
                  <a:close/>
                  <a:moveTo>
                    <a:pt x="817" y="966"/>
                  </a:moveTo>
                  <a:lnTo>
                    <a:pt x="670" y="987"/>
                  </a:lnTo>
                  <a:lnTo>
                    <a:pt x="654" y="982"/>
                  </a:lnTo>
                  <a:lnTo>
                    <a:pt x="637" y="987"/>
                  </a:lnTo>
                  <a:lnTo>
                    <a:pt x="616" y="987"/>
                  </a:lnTo>
                  <a:lnTo>
                    <a:pt x="600" y="982"/>
                  </a:lnTo>
                  <a:lnTo>
                    <a:pt x="498" y="970"/>
                  </a:lnTo>
                  <a:lnTo>
                    <a:pt x="474" y="966"/>
                  </a:lnTo>
                  <a:lnTo>
                    <a:pt x="470" y="942"/>
                  </a:lnTo>
                  <a:lnTo>
                    <a:pt x="151" y="949"/>
                  </a:lnTo>
                  <a:lnTo>
                    <a:pt x="118" y="916"/>
                  </a:lnTo>
                  <a:lnTo>
                    <a:pt x="96" y="909"/>
                  </a:lnTo>
                  <a:lnTo>
                    <a:pt x="54" y="933"/>
                  </a:lnTo>
                  <a:lnTo>
                    <a:pt x="21" y="925"/>
                  </a:lnTo>
                  <a:lnTo>
                    <a:pt x="0" y="933"/>
                  </a:lnTo>
                  <a:lnTo>
                    <a:pt x="0" y="876"/>
                  </a:lnTo>
                  <a:lnTo>
                    <a:pt x="0" y="838"/>
                  </a:lnTo>
                  <a:lnTo>
                    <a:pt x="0" y="831"/>
                  </a:lnTo>
                  <a:lnTo>
                    <a:pt x="9" y="814"/>
                  </a:lnTo>
                  <a:lnTo>
                    <a:pt x="21" y="781"/>
                  </a:lnTo>
                  <a:lnTo>
                    <a:pt x="37" y="748"/>
                  </a:lnTo>
                  <a:lnTo>
                    <a:pt x="37" y="703"/>
                  </a:lnTo>
                  <a:lnTo>
                    <a:pt x="54" y="682"/>
                  </a:lnTo>
                  <a:lnTo>
                    <a:pt x="54" y="649"/>
                  </a:lnTo>
                  <a:lnTo>
                    <a:pt x="80" y="616"/>
                  </a:lnTo>
                  <a:lnTo>
                    <a:pt x="80" y="600"/>
                  </a:lnTo>
                  <a:lnTo>
                    <a:pt x="113" y="583"/>
                  </a:lnTo>
                  <a:lnTo>
                    <a:pt x="134" y="526"/>
                  </a:lnTo>
                  <a:lnTo>
                    <a:pt x="146" y="472"/>
                  </a:lnTo>
                  <a:lnTo>
                    <a:pt x="134" y="460"/>
                  </a:lnTo>
                  <a:lnTo>
                    <a:pt x="134" y="451"/>
                  </a:lnTo>
                  <a:lnTo>
                    <a:pt x="118" y="432"/>
                  </a:lnTo>
                  <a:lnTo>
                    <a:pt x="80" y="333"/>
                  </a:lnTo>
                  <a:lnTo>
                    <a:pt x="92" y="316"/>
                  </a:lnTo>
                  <a:lnTo>
                    <a:pt x="80" y="333"/>
                  </a:lnTo>
                  <a:lnTo>
                    <a:pt x="113" y="304"/>
                  </a:lnTo>
                  <a:lnTo>
                    <a:pt x="113" y="283"/>
                  </a:lnTo>
                  <a:lnTo>
                    <a:pt x="75" y="205"/>
                  </a:lnTo>
                  <a:lnTo>
                    <a:pt x="75" y="184"/>
                  </a:lnTo>
                  <a:lnTo>
                    <a:pt x="54" y="155"/>
                  </a:lnTo>
                  <a:lnTo>
                    <a:pt x="26" y="118"/>
                  </a:lnTo>
                  <a:lnTo>
                    <a:pt x="63" y="111"/>
                  </a:lnTo>
                  <a:lnTo>
                    <a:pt x="96" y="101"/>
                  </a:lnTo>
                  <a:lnTo>
                    <a:pt x="297" y="101"/>
                  </a:lnTo>
                  <a:lnTo>
                    <a:pt x="335" y="111"/>
                  </a:lnTo>
                  <a:lnTo>
                    <a:pt x="344" y="127"/>
                  </a:lnTo>
                  <a:lnTo>
                    <a:pt x="344" y="139"/>
                  </a:lnTo>
                  <a:lnTo>
                    <a:pt x="361" y="184"/>
                  </a:lnTo>
                  <a:lnTo>
                    <a:pt x="361" y="196"/>
                  </a:lnTo>
                  <a:lnTo>
                    <a:pt x="406" y="262"/>
                  </a:lnTo>
                  <a:lnTo>
                    <a:pt x="432" y="262"/>
                  </a:lnTo>
                  <a:lnTo>
                    <a:pt x="444" y="262"/>
                  </a:lnTo>
                  <a:lnTo>
                    <a:pt x="444" y="262"/>
                  </a:lnTo>
                  <a:lnTo>
                    <a:pt x="470" y="250"/>
                  </a:lnTo>
                  <a:lnTo>
                    <a:pt x="470" y="250"/>
                  </a:lnTo>
                  <a:lnTo>
                    <a:pt x="529" y="250"/>
                  </a:lnTo>
                  <a:lnTo>
                    <a:pt x="529" y="229"/>
                  </a:lnTo>
                  <a:lnTo>
                    <a:pt x="545" y="222"/>
                  </a:lnTo>
                  <a:lnTo>
                    <a:pt x="545" y="184"/>
                  </a:lnTo>
                  <a:lnTo>
                    <a:pt x="600" y="184"/>
                  </a:lnTo>
                  <a:lnTo>
                    <a:pt x="600" y="184"/>
                  </a:lnTo>
                  <a:lnTo>
                    <a:pt x="621" y="184"/>
                  </a:lnTo>
                  <a:lnTo>
                    <a:pt x="616" y="205"/>
                  </a:lnTo>
                  <a:lnTo>
                    <a:pt x="704" y="205"/>
                  </a:lnTo>
                  <a:lnTo>
                    <a:pt x="708" y="222"/>
                  </a:lnTo>
                  <a:lnTo>
                    <a:pt x="704" y="250"/>
                  </a:lnTo>
                  <a:lnTo>
                    <a:pt x="708" y="295"/>
                  </a:lnTo>
                  <a:lnTo>
                    <a:pt x="704" y="356"/>
                  </a:lnTo>
                  <a:lnTo>
                    <a:pt x="708" y="377"/>
                  </a:lnTo>
                  <a:lnTo>
                    <a:pt x="725" y="394"/>
                  </a:lnTo>
                  <a:lnTo>
                    <a:pt x="741" y="427"/>
                  </a:lnTo>
                  <a:lnTo>
                    <a:pt x="741" y="460"/>
                  </a:lnTo>
                  <a:lnTo>
                    <a:pt x="730" y="467"/>
                  </a:lnTo>
                  <a:lnTo>
                    <a:pt x="730" y="488"/>
                  </a:lnTo>
                  <a:lnTo>
                    <a:pt x="758" y="472"/>
                  </a:lnTo>
                  <a:lnTo>
                    <a:pt x="796" y="484"/>
                  </a:lnTo>
                  <a:lnTo>
                    <a:pt x="817" y="472"/>
                  </a:lnTo>
                  <a:lnTo>
                    <a:pt x="850" y="472"/>
                  </a:lnTo>
                  <a:lnTo>
                    <a:pt x="855" y="467"/>
                  </a:lnTo>
                  <a:lnTo>
                    <a:pt x="867" y="505"/>
                  </a:lnTo>
                  <a:lnTo>
                    <a:pt x="855" y="522"/>
                  </a:lnTo>
                  <a:lnTo>
                    <a:pt x="855" y="559"/>
                  </a:lnTo>
                  <a:lnTo>
                    <a:pt x="867" y="578"/>
                  </a:lnTo>
                  <a:lnTo>
                    <a:pt x="850" y="600"/>
                  </a:lnTo>
                  <a:lnTo>
                    <a:pt x="855" y="628"/>
                  </a:lnTo>
                  <a:lnTo>
                    <a:pt x="720" y="616"/>
                  </a:lnTo>
                  <a:lnTo>
                    <a:pt x="720" y="855"/>
                  </a:lnTo>
                  <a:lnTo>
                    <a:pt x="725" y="876"/>
                  </a:lnTo>
                  <a:lnTo>
                    <a:pt x="800" y="949"/>
                  </a:lnTo>
                  <a:lnTo>
                    <a:pt x="817" y="966"/>
                  </a:lnTo>
                  <a:lnTo>
                    <a:pt x="817" y="966"/>
                  </a:lnTo>
                  <a:lnTo>
                    <a:pt x="817" y="96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10" name="Freeform 390">
              <a:extLst>
                <a:ext uri="{FF2B5EF4-FFF2-40B4-BE49-F238E27FC236}">
                  <a16:creationId xmlns:a16="http://schemas.microsoft.com/office/drawing/2014/main" id="{F14CB279-38D6-4741-B2CB-5B9D0ACFE7F7}"/>
                </a:ext>
              </a:extLst>
            </p:cNvPr>
            <p:cNvSpPr>
              <a:spLocks/>
            </p:cNvSpPr>
            <p:nvPr/>
          </p:nvSpPr>
          <p:spPr bwMode="gray">
            <a:xfrm>
              <a:off x="8184783" y="3270861"/>
              <a:ext cx="824" cy="11941"/>
            </a:xfrm>
            <a:custGeom>
              <a:avLst/>
              <a:gdLst>
                <a:gd name="T0" fmla="*/ 2 w 2"/>
                <a:gd name="T1" fmla="*/ 0 h 29"/>
                <a:gd name="T2" fmla="*/ 2 w 2"/>
                <a:gd name="T3" fmla="*/ 29 h 29"/>
                <a:gd name="T4" fmla="*/ 0 w 2"/>
                <a:gd name="T5" fmla="*/ 17 h 29"/>
                <a:gd name="T6" fmla="*/ 0 w 2"/>
                <a:gd name="T7" fmla="*/ 0 h 29"/>
                <a:gd name="T8" fmla="*/ 2 w 2"/>
                <a:gd name="T9" fmla="*/ 0 h 29"/>
                <a:gd name="T10" fmla="*/ 2 w 2"/>
                <a:gd name="T11" fmla="*/ 0 h 29"/>
                <a:gd name="T12" fmla="*/ 2 w 2"/>
                <a:gd name="T13" fmla="*/ 0 h 29"/>
                <a:gd name="T14" fmla="*/ 2 w 2"/>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9">
                  <a:moveTo>
                    <a:pt x="2" y="0"/>
                  </a:moveTo>
                  <a:lnTo>
                    <a:pt x="2" y="29"/>
                  </a:lnTo>
                  <a:lnTo>
                    <a:pt x="0" y="17"/>
                  </a:lnTo>
                  <a:lnTo>
                    <a:pt x="0" y="0"/>
                  </a:lnTo>
                  <a:lnTo>
                    <a:pt x="2" y="0"/>
                  </a:lnTo>
                  <a:lnTo>
                    <a:pt x="2" y="0"/>
                  </a:lnTo>
                  <a:lnTo>
                    <a:pt x="2" y="0"/>
                  </a:lnTo>
                  <a:lnTo>
                    <a:pt x="2"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12" name="Freeform 392">
              <a:extLst>
                <a:ext uri="{FF2B5EF4-FFF2-40B4-BE49-F238E27FC236}">
                  <a16:creationId xmlns:a16="http://schemas.microsoft.com/office/drawing/2014/main" id="{0529D646-B105-49B5-9CEB-06809E409E09}"/>
                </a:ext>
              </a:extLst>
            </p:cNvPr>
            <p:cNvSpPr>
              <a:spLocks/>
            </p:cNvSpPr>
            <p:nvPr/>
          </p:nvSpPr>
          <p:spPr bwMode="gray">
            <a:xfrm>
              <a:off x="7304632" y="4597410"/>
              <a:ext cx="268408" cy="284085"/>
            </a:xfrm>
            <a:custGeom>
              <a:avLst/>
              <a:gdLst>
                <a:gd name="T0" fmla="*/ 0 w 652"/>
                <a:gd name="T1" fmla="*/ 525 h 690"/>
                <a:gd name="T2" fmla="*/ 0 w 652"/>
                <a:gd name="T3" fmla="*/ 322 h 690"/>
                <a:gd name="T4" fmla="*/ 71 w 652"/>
                <a:gd name="T5" fmla="*/ 322 h 690"/>
                <a:gd name="T6" fmla="*/ 71 w 652"/>
                <a:gd name="T7" fmla="*/ 45 h 690"/>
                <a:gd name="T8" fmla="*/ 232 w 652"/>
                <a:gd name="T9" fmla="*/ 17 h 690"/>
                <a:gd name="T10" fmla="*/ 253 w 652"/>
                <a:gd name="T11" fmla="*/ 55 h 690"/>
                <a:gd name="T12" fmla="*/ 303 w 652"/>
                <a:gd name="T13" fmla="*/ 17 h 690"/>
                <a:gd name="T14" fmla="*/ 312 w 652"/>
                <a:gd name="T15" fmla="*/ 29 h 690"/>
                <a:gd name="T16" fmla="*/ 340 w 652"/>
                <a:gd name="T17" fmla="*/ 0 h 690"/>
                <a:gd name="T18" fmla="*/ 366 w 652"/>
                <a:gd name="T19" fmla="*/ 0 h 690"/>
                <a:gd name="T20" fmla="*/ 366 w 652"/>
                <a:gd name="T21" fmla="*/ 29 h 690"/>
                <a:gd name="T22" fmla="*/ 416 w 652"/>
                <a:gd name="T23" fmla="*/ 88 h 690"/>
                <a:gd name="T24" fmla="*/ 416 w 652"/>
                <a:gd name="T25" fmla="*/ 100 h 690"/>
                <a:gd name="T26" fmla="*/ 430 w 652"/>
                <a:gd name="T27" fmla="*/ 128 h 690"/>
                <a:gd name="T28" fmla="*/ 468 w 652"/>
                <a:gd name="T29" fmla="*/ 161 h 690"/>
                <a:gd name="T30" fmla="*/ 501 w 652"/>
                <a:gd name="T31" fmla="*/ 178 h 690"/>
                <a:gd name="T32" fmla="*/ 506 w 652"/>
                <a:gd name="T33" fmla="*/ 211 h 690"/>
                <a:gd name="T34" fmla="*/ 539 w 652"/>
                <a:gd name="T35" fmla="*/ 211 h 690"/>
                <a:gd name="T36" fmla="*/ 539 w 652"/>
                <a:gd name="T37" fmla="*/ 248 h 690"/>
                <a:gd name="T38" fmla="*/ 560 w 652"/>
                <a:gd name="T39" fmla="*/ 289 h 690"/>
                <a:gd name="T40" fmla="*/ 598 w 652"/>
                <a:gd name="T41" fmla="*/ 289 h 690"/>
                <a:gd name="T42" fmla="*/ 631 w 652"/>
                <a:gd name="T43" fmla="*/ 305 h 690"/>
                <a:gd name="T44" fmla="*/ 631 w 652"/>
                <a:gd name="T45" fmla="*/ 322 h 690"/>
                <a:gd name="T46" fmla="*/ 648 w 652"/>
                <a:gd name="T47" fmla="*/ 322 h 690"/>
                <a:gd name="T48" fmla="*/ 652 w 652"/>
                <a:gd name="T49" fmla="*/ 338 h 690"/>
                <a:gd name="T50" fmla="*/ 631 w 652"/>
                <a:gd name="T51" fmla="*/ 338 h 690"/>
                <a:gd name="T52" fmla="*/ 626 w 652"/>
                <a:gd name="T53" fmla="*/ 348 h 690"/>
                <a:gd name="T54" fmla="*/ 577 w 652"/>
                <a:gd name="T55" fmla="*/ 364 h 690"/>
                <a:gd name="T56" fmla="*/ 555 w 652"/>
                <a:gd name="T57" fmla="*/ 397 h 690"/>
                <a:gd name="T58" fmla="*/ 529 w 652"/>
                <a:gd name="T59" fmla="*/ 414 h 690"/>
                <a:gd name="T60" fmla="*/ 522 w 652"/>
                <a:gd name="T61" fmla="*/ 421 h 690"/>
                <a:gd name="T62" fmla="*/ 518 w 652"/>
                <a:gd name="T63" fmla="*/ 421 h 690"/>
                <a:gd name="T64" fmla="*/ 485 w 652"/>
                <a:gd name="T65" fmla="*/ 447 h 690"/>
                <a:gd name="T66" fmla="*/ 475 w 652"/>
                <a:gd name="T67" fmla="*/ 492 h 690"/>
                <a:gd name="T68" fmla="*/ 447 w 652"/>
                <a:gd name="T69" fmla="*/ 515 h 690"/>
                <a:gd name="T70" fmla="*/ 409 w 652"/>
                <a:gd name="T71" fmla="*/ 525 h 690"/>
                <a:gd name="T72" fmla="*/ 392 w 652"/>
                <a:gd name="T73" fmla="*/ 581 h 690"/>
                <a:gd name="T74" fmla="*/ 383 w 652"/>
                <a:gd name="T75" fmla="*/ 598 h 690"/>
                <a:gd name="T76" fmla="*/ 324 w 652"/>
                <a:gd name="T77" fmla="*/ 615 h 690"/>
                <a:gd name="T78" fmla="*/ 303 w 652"/>
                <a:gd name="T79" fmla="*/ 603 h 690"/>
                <a:gd name="T80" fmla="*/ 291 w 652"/>
                <a:gd name="T81" fmla="*/ 598 h 690"/>
                <a:gd name="T82" fmla="*/ 270 w 652"/>
                <a:gd name="T83" fmla="*/ 598 h 690"/>
                <a:gd name="T84" fmla="*/ 237 w 652"/>
                <a:gd name="T85" fmla="*/ 565 h 690"/>
                <a:gd name="T86" fmla="*/ 206 w 652"/>
                <a:gd name="T87" fmla="*/ 570 h 690"/>
                <a:gd name="T88" fmla="*/ 194 w 652"/>
                <a:gd name="T89" fmla="*/ 586 h 690"/>
                <a:gd name="T90" fmla="*/ 182 w 652"/>
                <a:gd name="T91" fmla="*/ 624 h 690"/>
                <a:gd name="T92" fmla="*/ 152 w 652"/>
                <a:gd name="T93" fmla="*/ 652 h 690"/>
                <a:gd name="T94" fmla="*/ 140 w 652"/>
                <a:gd name="T95" fmla="*/ 674 h 690"/>
                <a:gd name="T96" fmla="*/ 123 w 652"/>
                <a:gd name="T97" fmla="*/ 674 h 690"/>
                <a:gd name="T98" fmla="*/ 114 w 652"/>
                <a:gd name="T99" fmla="*/ 690 h 690"/>
                <a:gd name="T100" fmla="*/ 43 w 652"/>
                <a:gd name="T101" fmla="*/ 681 h 690"/>
                <a:gd name="T102" fmla="*/ 38 w 652"/>
                <a:gd name="T103" fmla="*/ 657 h 690"/>
                <a:gd name="T104" fmla="*/ 59 w 652"/>
                <a:gd name="T105" fmla="*/ 636 h 690"/>
                <a:gd name="T106" fmla="*/ 55 w 652"/>
                <a:gd name="T107" fmla="*/ 615 h 690"/>
                <a:gd name="T108" fmla="*/ 22 w 652"/>
                <a:gd name="T109" fmla="*/ 548 h 690"/>
                <a:gd name="T110" fmla="*/ 0 w 652"/>
                <a:gd name="T111" fmla="*/ 525 h 690"/>
                <a:gd name="T112" fmla="*/ 0 w 652"/>
                <a:gd name="T113" fmla="*/ 525 h 690"/>
                <a:gd name="T114" fmla="*/ 0 w 652"/>
                <a:gd name="T115" fmla="*/ 52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2" h="690">
                  <a:moveTo>
                    <a:pt x="0" y="525"/>
                  </a:moveTo>
                  <a:lnTo>
                    <a:pt x="0" y="322"/>
                  </a:lnTo>
                  <a:lnTo>
                    <a:pt x="71" y="322"/>
                  </a:lnTo>
                  <a:lnTo>
                    <a:pt x="71" y="45"/>
                  </a:lnTo>
                  <a:lnTo>
                    <a:pt x="232" y="17"/>
                  </a:lnTo>
                  <a:lnTo>
                    <a:pt x="253" y="55"/>
                  </a:lnTo>
                  <a:lnTo>
                    <a:pt x="303" y="17"/>
                  </a:lnTo>
                  <a:lnTo>
                    <a:pt x="312" y="29"/>
                  </a:lnTo>
                  <a:lnTo>
                    <a:pt x="340" y="0"/>
                  </a:lnTo>
                  <a:lnTo>
                    <a:pt x="366" y="0"/>
                  </a:lnTo>
                  <a:lnTo>
                    <a:pt x="366" y="29"/>
                  </a:lnTo>
                  <a:lnTo>
                    <a:pt x="416" y="88"/>
                  </a:lnTo>
                  <a:lnTo>
                    <a:pt x="416" y="100"/>
                  </a:lnTo>
                  <a:lnTo>
                    <a:pt x="430" y="128"/>
                  </a:lnTo>
                  <a:lnTo>
                    <a:pt x="468" y="161"/>
                  </a:lnTo>
                  <a:lnTo>
                    <a:pt x="501" y="178"/>
                  </a:lnTo>
                  <a:lnTo>
                    <a:pt x="506" y="211"/>
                  </a:lnTo>
                  <a:lnTo>
                    <a:pt x="539" y="211"/>
                  </a:lnTo>
                  <a:lnTo>
                    <a:pt x="539" y="248"/>
                  </a:lnTo>
                  <a:lnTo>
                    <a:pt x="560" y="289"/>
                  </a:lnTo>
                  <a:lnTo>
                    <a:pt x="598" y="289"/>
                  </a:lnTo>
                  <a:lnTo>
                    <a:pt x="631" y="305"/>
                  </a:lnTo>
                  <a:lnTo>
                    <a:pt x="631" y="322"/>
                  </a:lnTo>
                  <a:lnTo>
                    <a:pt x="648" y="322"/>
                  </a:lnTo>
                  <a:lnTo>
                    <a:pt x="652" y="338"/>
                  </a:lnTo>
                  <a:lnTo>
                    <a:pt x="631" y="338"/>
                  </a:lnTo>
                  <a:lnTo>
                    <a:pt x="626" y="348"/>
                  </a:lnTo>
                  <a:lnTo>
                    <a:pt x="577" y="364"/>
                  </a:lnTo>
                  <a:lnTo>
                    <a:pt x="555" y="397"/>
                  </a:lnTo>
                  <a:lnTo>
                    <a:pt x="529" y="414"/>
                  </a:lnTo>
                  <a:lnTo>
                    <a:pt x="522" y="421"/>
                  </a:lnTo>
                  <a:lnTo>
                    <a:pt x="518" y="421"/>
                  </a:lnTo>
                  <a:lnTo>
                    <a:pt x="485" y="447"/>
                  </a:lnTo>
                  <a:lnTo>
                    <a:pt x="475" y="492"/>
                  </a:lnTo>
                  <a:lnTo>
                    <a:pt x="447" y="515"/>
                  </a:lnTo>
                  <a:lnTo>
                    <a:pt x="409" y="525"/>
                  </a:lnTo>
                  <a:lnTo>
                    <a:pt x="392" y="581"/>
                  </a:lnTo>
                  <a:lnTo>
                    <a:pt x="383" y="598"/>
                  </a:lnTo>
                  <a:lnTo>
                    <a:pt x="324" y="615"/>
                  </a:lnTo>
                  <a:lnTo>
                    <a:pt x="303" y="603"/>
                  </a:lnTo>
                  <a:lnTo>
                    <a:pt x="291" y="598"/>
                  </a:lnTo>
                  <a:lnTo>
                    <a:pt x="270" y="598"/>
                  </a:lnTo>
                  <a:lnTo>
                    <a:pt x="237" y="565"/>
                  </a:lnTo>
                  <a:lnTo>
                    <a:pt x="206" y="570"/>
                  </a:lnTo>
                  <a:lnTo>
                    <a:pt x="194" y="586"/>
                  </a:lnTo>
                  <a:lnTo>
                    <a:pt x="182" y="624"/>
                  </a:lnTo>
                  <a:lnTo>
                    <a:pt x="152" y="652"/>
                  </a:lnTo>
                  <a:lnTo>
                    <a:pt x="140" y="674"/>
                  </a:lnTo>
                  <a:lnTo>
                    <a:pt x="123" y="674"/>
                  </a:lnTo>
                  <a:lnTo>
                    <a:pt x="114" y="690"/>
                  </a:lnTo>
                  <a:lnTo>
                    <a:pt x="43" y="681"/>
                  </a:lnTo>
                  <a:lnTo>
                    <a:pt x="38" y="657"/>
                  </a:lnTo>
                  <a:lnTo>
                    <a:pt x="59" y="636"/>
                  </a:lnTo>
                  <a:lnTo>
                    <a:pt x="55" y="615"/>
                  </a:lnTo>
                  <a:lnTo>
                    <a:pt x="22" y="548"/>
                  </a:lnTo>
                  <a:lnTo>
                    <a:pt x="0" y="525"/>
                  </a:lnTo>
                  <a:lnTo>
                    <a:pt x="0" y="525"/>
                  </a:lnTo>
                  <a:lnTo>
                    <a:pt x="0" y="52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36" name="Freeform 400">
              <a:extLst>
                <a:ext uri="{FF2B5EF4-FFF2-40B4-BE49-F238E27FC236}">
                  <a16:creationId xmlns:a16="http://schemas.microsoft.com/office/drawing/2014/main" id="{CF5F773A-CB3D-4F15-9B80-B07B8607533B}"/>
                </a:ext>
              </a:extLst>
            </p:cNvPr>
            <p:cNvSpPr>
              <a:spLocks/>
            </p:cNvSpPr>
            <p:nvPr/>
          </p:nvSpPr>
          <p:spPr bwMode="gray">
            <a:xfrm>
              <a:off x="6748466" y="3696164"/>
              <a:ext cx="89332" cy="183625"/>
            </a:xfrm>
            <a:custGeom>
              <a:avLst/>
              <a:gdLst>
                <a:gd name="T0" fmla="*/ 59 w 217"/>
                <a:gd name="T1" fmla="*/ 446 h 446"/>
                <a:gd name="T2" fmla="*/ 71 w 217"/>
                <a:gd name="T3" fmla="*/ 441 h 446"/>
                <a:gd name="T4" fmla="*/ 55 w 217"/>
                <a:gd name="T5" fmla="*/ 413 h 446"/>
                <a:gd name="T6" fmla="*/ 55 w 217"/>
                <a:gd name="T7" fmla="*/ 392 h 446"/>
                <a:gd name="T8" fmla="*/ 59 w 217"/>
                <a:gd name="T9" fmla="*/ 392 h 446"/>
                <a:gd name="T10" fmla="*/ 59 w 217"/>
                <a:gd name="T11" fmla="*/ 354 h 446"/>
                <a:gd name="T12" fmla="*/ 59 w 217"/>
                <a:gd name="T13" fmla="*/ 243 h 446"/>
                <a:gd name="T14" fmla="*/ 38 w 217"/>
                <a:gd name="T15" fmla="*/ 210 h 446"/>
                <a:gd name="T16" fmla="*/ 38 w 217"/>
                <a:gd name="T17" fmla="*/ 172 h 446"/>
                <a:gd name="T18" fmla="*/ 0 w 217"/>
                <a:gd name="T19" fmla="*/ 148 h 446"/>
                <a:gd name="T20" fmla="*/ 5 w 217"/>
                <a:gd name="T21" fmla="*/ 99 h 446"/>
                <a:gd name="T22" fmla="*/ 26 w 217"/>
                <a:gd name="T23" fmla="*/ 82 h 446"/>
                <a:gd name="T24" fmla="*/ 38 w 217"/>
                <a:gd name="T25" fmla="*/ 78 h 446"/>
                <a:gd name="T26" fmla="*/ 43 w 217"/>
                <a:gd name="T27" fmla="*/ 66 h 446"/>
                <a:gd name="T28" fmla="*/ 59 w 217"/>
                <a:gd name="T29" fmla="*/ 78 h 446"/>
                <a:gd name="T30" fmla="*/ 80 w 217"/>
                <a:gd name="T31" fmla="*/ 66 h 446"/>
                <a:gd name="T32" fmla="*/ 109 w 217"/>
                <a:gd name="T33" fmla="*/ 56 h 446"/>
                <a:gd name="T34" fmla="*/ 114 w 217"/>
                <a:gd name="T35" fmla="*/ 40 h 446"/>
                <a:gd name="T36" fmla="*/ 114 w 217"/>
                <a:gd name="T37" fmla="*/ 11 h 446"/>
                <a:gd name="T38" fmla="*/ 147 w 217"/>
                <a:gd name="T39" fmla="*/ 0 h 446"/>
                <a:gd name="T40" fmla="*/ 201 w 217"/>
                <a:gd name="T41" fmla="*/ 56 h 446"/>
                <a:gd name="T42" fmla="*/ 192 w 217"/>
                <a:gd name="T43" fmla="*/ 66 h 446"/>
                <a:gd name="T44" fmla="*/ 208 w 217"/>
                <a:gd name="T45" fmla="*/ 94 h 446"/>
                <a:gd name="T46" fmla="*/ 208 w 217"/>
                <a:gd name="T47" fmla="*/ 115 h 446"/>
                <a:gd name="T48" fmla="*/ 217 w 217"/>
                <a:gd name="T49" fmla="*/ 132 h 446"/>
                <a:gd name="T50" fmla="*/ 217 w 217"/>
                <a:gd name="T51" fmla="*/ 148 h 446"/>
                <a:gd name="T52" fmla="*/ 208 w 217"/>
                <a:gd name="T53" fmla="*/ 139 h 446"/>
                <a:gd name="T54" fmla="*/ 201 w 217"/>
                <a:gd name="T55" fmla="*/ 156 h 446"/>
                <a:gd name="T56" fmla="*/ 208 w 217"/>
                <a:gd name="T57" fmla="*/ 165 h 446"/>
                <a:gd name="T58" fmla="*/ 201 w 217"/>
                <a:gd name="T59" fmla="*/ 177 h 446"/>
                <a:gd name="T60" fmla="*/ 180 w 217"/>
                <a:gd name="T61" fmla="*/ 189 h 446"/>
                <a:gd name="T62" fmla="*/ 184 w 217"/>
                <a:gd name="T63" fmla="*/ 193 h 446"/>
                <a:gd name="T64" fmla="*/ 168 w 217"/>
                <a:gd name="T65" fmla="*/ 222 h 446"/>
                <a:gd name="T66" fmla="*/ 163 w 217"/>
                <a:gd name="T67" fmla="*/ 243 h 446"/>
                <a:gd name="T68" fmla="*/ 137 w 217"/>
                <a:gd name="T69" fmla="*/ 243 h 446"/>
                <a:gd name="T70" fmla="*/ 130 w 217"/>
                <a:gd name="T71" fmla="*/ 330 h 446"/>
                <a:gd name="T72" fmla="*/ 137 w 217"/>
                <a:gd name="T73" fmla="*/ 387 h 446"/>
                <a:gd name="T74" fmla="*/ 137 w 217"/>
                <a:gd name="T75" fmla="*/ 441 h 446"/>
                <a:gd name="T76" fmla="*/ 59 w 217"/>
                <a:gd name="T77" fmla="*/ 446 h 446"/>
                <a:gd name="T78" fmla="*/ 59 w 217"/>
                <a:gd name="T79" fmla="*/ 446 h 446"/>
                <a:gd name="T80" fmla="*/ 59 w 217"/>
                <a:gd name="T81"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7" h="446">
                  <a:moveTo>
                    <a:pt x="59" y="446"/>
                  </a:moveTo>
                  <a:lnTo>
                    <a:pt x="71" y="441"/>
                  </a:lnTo>
                  <a:lnTo>
                    <a:pt x="55" y="413"/>
                  </a:lnTo>
                  <a:lnTo>
                    <a:pt x="55" y="392"/>
                  </a:lnTo>
                  <a:lnTo>
                    <a:pt x="59" y="392"/>
                  </a:lnTo>
                  <a:lnTo>
                    <a:pt x="59" y="354"/>
                  </a:lnTo>
                  <a:lnTo>
                    <a:pt x="59" y="243"/>
                  </a:lnTo>
                  <a:lnTo>
                    <a:pt x="38" y="210"/>
                  </a:lnTo>
                  <a:lnTo>
                    <a:pt x="38" y="172"/>
                  </a:lnTo>
                  <a:lnTo>
                    <a:pt x="0" y="148"/>
                  </a:lnTo>
                  <a:lnTo>
                    <a:pt x="5" y="99"/>
                  </a:lnTo>
                  <a:lnTo>
                    <a:pt x="26" y="82"/>
                  </a:lnTo>
                  <a:lnTo>
                    <a:pt x="38" y="78"/>
                  </a:lnTo>
                  <a:lnTo>
                    <a:pt x="43" y="66"/>
                  </a:lnTo>
                  <a:lnTo>
                    <a:pt x="59" y="78"/>
                  </a:lnTo>
                  <a:lnTo>
                    <a:pt x="80" y="66"/>
                  </a:lnTo>
                  <a:lnTo>
                    <a:pt x="109" y="56"/>
                  </a:lnTo>
                  <a:lnTo>
                    <a:pt x="114" y="40"/>
                  </a:lnTo>
                  <a:lnTo>
                    <a:pt x="114" y="11"/>
                  </a:lnTo>
                  <a:lnTo>
                    <a:pt x="147" y="0"/>
                  </a:lnTo>
                  <a:lnTo>
                    <a:pt x="201" y="56"/>
                  </a:lnTo>
                  <a:lnTo>
                    <a:pt x="192" y="66"/>
                  </a:lnTo>
                  <a:lnTo>
                    <a:pt x="208" y="94"/>
                  </a:lnTo>
                  <a:lnTo>
                    <a:pt x="208" y="115"/>
                  </a:lnTo>
                  <a:lnTo>
                    <a:pt x="217" y="132"/>
                  </a:lnTo>
                  <a:lnTo>
                    <a:pt x="217" y="148"/>
                  </a:lnTo>
                  <a:lnTo>
                    <a:pt x="208" y="139"/>
                  </a:lnTo>
                  <a:lnTo>
                    <a:pt x="201" y="156"/>
                  </a:lnTo>
                  <a:lnTo>
                    <a:pt x="208" y="165"/>
                  </a:lnTo>
                  <a:lnTo>
                    <a:pt x="201" y="177"/>
                  </a:lnTo>
                  <a:lnTo>
                    <a:pt x="180" y="189"/>
                  </a:lnTo>
                  <a:lnTo>
                    <a:pt x="184" y="193"/>
                  </a:lnTo>
                  <a:lnTo>
                    <a:pt x="168" y="222"/>
                  </a:lnTo>
                  <a:lnTo>
                    <a:pt x="163" y="243"/>
                  </a:lnTo>
                  <a:lnTo>
                    <a:pt x="137" y="243"/>
                  </a:lnTo>
                  <a:lnTo>
                    <a:pt x="130" y="330"/>
                  </a:lnTo>
                  <a:lnTo>
                    <a:pt x="137" y="387"/>
                  </a:lnTo>
                  <a:lnTo>
                    <a:pt x="137" y="441"/>
                  </a:lnTo>
                  <a:lnTo>
                    <a:pt x="59" y="446"/>
                  </a:lnTo>
                  <a:lnTo>
                    <a:pt x="59" y="446"/>
                  </a:lnTo>
                  <a:lnTo>
                    <a:pt x="59" y="44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2" name="Freeform 407">
              <a:extLst>
                <a:ext uri="{FF2B5EF4-FFF2-40B4-BE49-F238E27FC236}">
                  <a16:creationId xmlns:a16="http://schemas.microsoft.com/office/drawing/2014/main" id="{8D279445-2A65-43C1-8F09-48A4BE81DCA0}"/>
                </a:ext>
              </a:extLst>
            </p:cNvPr>
            <p:cNvSpPr>
              <a:spLocks/>
            </p:cNvSpPr>
            <p:nvPr/>
          </p:nvSpPr>
          <p:spPr bwMode="gray">
            <a:xfrm>
              <a:off x="7564396" y="4136700"/>
              <a:ext cx="51458" cy="61346"/>
            </a:xfrm>
            <a:custGeom>
              <a:avLst/>
              <a:gdLst>
                <a:gd name="T0" fmla="*/ 21 w 125"/>
                <a:gd name="T1" fmla="*/ 149 h 149"/>
                <a:gd name="T2" fmla="*/ 21 w 125"/>
                <a:gd name="T3" fmla="*/ 123 h 149"/>
                <a:gd name="T4" fmla="*/ 17 w 125"/>
                <a:gd name="T5" fmla="*/ 111 h 149"/>
                <a:gd name="T6" fmla="*/ 17 w 125"/>
                <a:gd name="T7" fmla="*/ 45 h 149"/>
                <a:gd name="T8" fmla="*/ 0 w 125"/>
                <a:gd name="T9" fmla="*/ 28 h 149"/>
                <a:gd name="T10" fmla="*/ 0 w 125"/>
                <a:gd name="T11" fmla="*/ 28 h 149"/>
                <a:gd name="T12" fmla="*/ 0 w 125"/>
                <a:gd name="T13" fmla="*/ 12 h 149"/>
                <a:gd name="T14" fmla="*/ 5 w 125"/>
                <a:gd name="T15" fmla="*/ 12 h 149"/>
                <a:gd name="T16" fmla="*/ 21 w 125"/>
                <a:gd name="T17" fmla="*/ 21 h 149"/>
                <a:gd name="T18" fmla="*/ 21 w 125"/>
                <a:gd name="T19" fmla="*/ 28 h 149"/>
                <a:gd name="T20" fmla="*/ 54 w 125"/>
                <a:gd name="T21" fmla="*/ 28 h 149"/>
                <a:gd name="T22" fmla="*/ 59 w 125"/>
                <a:gd name="T23" fmla="*/ 0 h 149"/>
                <a:gd name="T24" fmla="*/ 76 w 125"/>
                <a:gd name="T25" fmla="*/ 4 h 149"/>
                <a:gd name="T26" fmla="*/ 92 w 125"/>
                <a:gd name="T27" fmla="*/ 0 h 149"/>
                <a:gd name="T28" fmla="*/ 109 w 125"/>
                <a:gd name="T29" fmla="*/ 0 h 149"/>
                <a:gd name="T30" fmla="*/ 102 w 125"/>
                <a:gd name="T31" fmla="*/ 38 h 149"/>
                <a:gd name="T32" fmla="*/ 102 w 125"/>
                <a:gd name="T33" fmla="*/ 38 h 149"/>
                <a:gd name="T34" fmla="*/ 109 w 125"/>
                <a:gd name="T35" fmla="*/ 38 h 149"/>
                <a:gd name="T36" fmla="*/ 125 w 125"/>
                <a:gd name="T37" fmla="*/ 45 h 149"/>
                <a:gd name="T38" fmla="*/ 125 w 125"/>
                <a:gd name="T39" fmla="*/ 61 h 149"/>
                <a:gd name="T40" fmla="*/ 102 w 125"/>
                <a:gd name="T41" fmla="*/ 82 h 149"/>
                <a:gd name="T42" fmla="*/ 92 w 125"/>
                <a:gd name="T43" fmla="*/ 99 h 149"/>
                <a:gd name="T44" fmla="*/ 92 w 125"/>
                <a:gd name="T45" fmla="*/ 99 h 149"/>
                <a:gd name="T46" fmla="*/ 71 w 125"/>
                <a:gd name="T47" fmla="*/ 132 h 149"/>
                <a:gd name="T48" fmla="*/ 54 w 125"/>
                <a:gd name="T49" fmla="*/ 149 h 149"/>
                <a:gd name="T50" fmla="*/ 21 w 125"/>
                <a:gd name="T51" fmla="*/ 149 h 149"/>
                <a:gd name="T52" fmla="*/ 21 w 125"/>
                <a:gd name="T53" fmla="*/ 149 h 149"/>
                <a:gd name="T54" fmla="*/ 21 w 125"/>
                <a:gd name="T55"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5" h="149">
                  <a:moveTo>
                    <a:pt x="21" y="149"/>
                  </a:moveTo>
                  <a:lnTo>
                    <a:pt x="21" y="123"/>
                  </a:lnTo>
                  <a:lnTo>
                    <a:pt x="17" y="111"/>
                  </a:lnTo>
                  <a:lnTo>
                    <a:pt x="17" y="45"/>
                  </a:lnTo>
                  <a:lnTo>
                    <a:pt x="0" y="28"/>
                  </a:lnTo>
                  <a:lnTo>
                    <a:pt x="0" y="28"/>
                  </a:lnTo>
                  <a:lnTo>
                    <a:pt x="0" y="12"/>
                  </a:lnTo>
                  <a:lnTo>
                    <a:pt x="5" y="12"/>
                  </a:lnTo>
                  <a:lnTo>
                    <a:pt x="21" y="21"/>
                  </a:lnTo>
                  <a:lnTo>
                    <a:pt x="21" y="28"/>
                  </a:lnTo>
                  <a:lnTo>
                    <a:pt x="54" y="28"/>
                  </a:lnTo>
                  <a:lnTo>
                    <a:pt x="59" y="0"/>
                  </a:lnTo>
                  <a:lnTo>
                    <a:pt x="76" y="4"/>
                  </a:lnTo>
                  <a:lnTo>
                    <a:pt x="92" y="0"/>
                  </a:lnTo>
                  <a:lnTo>
                    <a:pt x="109" y="0"/>
                  </a:lnTo>
                  <a:lnTo>
                    <a:pt x="102" y="38"/>
                  </a:lnTo>
                  <a:lnTo>
                    <a:pt x="102" y="38"/>
                  </a:lnTo>
                  <a:lnTo>
                    <a:pt x="109" y="38"/>
                  </a:lnTo>
                  <a:lnTo>
                    <a:pt x="125" y="45"/>
                  </a:lnTo>
                  <a:lnTo>
                    <a:pt x="125" y="61"/>
                  </a:lnTo>
                  <a:lnTo>
                    <a:pt x="102" y="82"/>
                  </a:lnTo>
                  <a:lnTo>
                    <a:pt x="92" y="99"/>
                  </a:lnTo>
                  <a:lnTo>
                    <a:pt x="92" y="99"/>
                  </a:lnTo>
                  <a:lnTo>
                    <a:pt x="71" y="132"/>
                  </a:lnTo>
                  <a:lnTo>
                    <a:pt x="54" y="149"/>
                  </a:lnTo>
                  <a:lnTo>
                    <a:pt x="21" y="149"/>
                  </a:lnTo>
                  <a:lnTo>
                    <a:pt x="21" y="149"/>
                  </a:lnTo>
                  <a:lnTo>
                    <a:pt x="21" y="14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5" name="Freeform 410">
              <a:extLst>
                <a:ext uri="{FF2B5EF4-FFF2-40B4-BE49-F238E27FC236}">
                  <a16:creationId xmlns:a16="http://schemas.microsoft.com/office/drawing/2014/main" id="{7FE28E14-8F56-45AE-8137-9384A312FAF1}"/>
                </a:ext>
              </a:extLst>
            </p:cNvPr>
            <p:cNvSpPr>
              <a:spLocks/>
            </p:cNvSpPr>
            <p:nvPr/>
          </p:nvSpPr>
          <p:spPr bwMode="gray">
            <a:xfrm>
              <a:off x="7114029" y="3357734"/>
              <a:ext cx="303401" cy="483354"/>
            </a:xfrm>
            <a:custGeom>
              <a:avLst/>
              <a:gdLst>
                <a:gd name="T0" fmla="*/ 17 w 737"/>
                <a:gd name="T1" fmla="*/ 720 h 1174"/>
                <a:gd name="T2" fmla="*/ 17 w 737"/>
                <a:gd name="T3" fmla="*/ 659 h 1174"/>
                <a:gd name="T4" fmla="*/ 69 w 737"/>
                <a:gd name="T5" fmla="*/ 569 h 1174"/>
                <a:gd name="T6" fmla="*/ 161 w 737"/>
                <a:gd name="T7" fmla="*/ 264 h 1174"/>
                <a:gd name="T8" fmla="*/ 156 w 737"/>
                <a:gd name="T9" fmla="*/ 198 h 1174"/>
                <a:gd name="T10" fmla="*/ 123 w 737"/>
                <a:gd name="T11" fmla="*/ 144 h 1174"/>
                <a:gd name="T12" fmla="*/ 107 w 737"/>
                <a:gd name="T13" fmla="*/ 33 h 1174"/>
                <a:gd name="T14" fmla="*/ 452 w 737"/>
                <a:gd name="T15" fmla="*/ 137 h 1174"/>
                <a:gd name="T16" fmla="*/ 737 w 737"/>
                <a:gd name="T17" fmla="*/ 581 h 1174"/>
                <a:gd name="T18" fmla="*/ 666 w 737"/>
                <a:gd name="T19" fmla="*/ 588 h 1174"/>
                <a:gd name="T20" fmla="*/ 666 w 737"/>
                <a:gd name="T21" fmla="*/ 621 h 1174"/>
                <a:gd name="T22" fmla="*/ 645 w 737"/>
                <a:gd name="T23" fmla="*/ 654 h 1174"/>
                <a:gd name="T24" fmla="*/ 641 w 737"/>
                <a:gd name="T25" fmla="*/ 692 h 1174"/>
                <a:gd name="T26" fmla="*/ 607 w 737"/>
                <a:gd name="T27" fmla="*/ 720 h 1174"/>
                <a:gd name="T28" fmla="*/ 603 w 737"/>
                <a:gd name="T29" fmla="*/ 770 h 1174"/>
                <a:gd name="T30" fmla="*/ 603 w 737"/>
                <a:gd name="T31" fmla="*/ 803 h 1174"/>
                <a:gd name="T32" fmla="*/ 615 w 737"/>
                <a:gd name="T33" fmla="*/ 791 h 1174"/>
                <a:gd name="T34" fmla="*/ 631 w 737"/>
                <a:gd name="T35" fmla="*/ 819 h 1174"/>
                <a:gd name="T36" fmla="*/ 641 w 737"/>
                <a:gd name="T37" fmla="*/ 881 h 1174"/>
                <a:gd name="T38" fmla="*/ 662 w 737"/>
                <a:gd name="T39" fmla="*/ 885 h 1174"/>
                <a:gd name="T40" fmla="*/ 662 w 737"/>
                <a:gd name="T41" fmla="*/ 930 h 1174"/>
                <a:gd name="T42" fmla="*/ 577 w 737"/>
                <a:gd name="T43" fmla="*/ 952 h 1174"/>
                <a:gd name="T44" fmla="*/ 570 w 737"/>
                <a:gd name="T45" fmla="*/ 987 h 1174"/>
                <a:gd name="T46" fmla="*/ 548 w 737"/>
                <a:gd name="T47" fmla="*/ 996 h 1174"/>
                <a:gd name="T48" fmla="*/ 494 w 737"/>
                <a:gd name="T49" fmla="*/ 1046 h 1174"/>
                <a:gd name="T50" fmla="*/ 463 w 737"/>
                <a:gd name="T51" fmla="*/ 1053 h 1174"/>
                <a:gd name="T52" fmla="*/ 392 w 737"/>
                <a:gd name="T53" fmla="*/ 1070 h 1174"/>
                <a:gd name="T54" fmla="*/ 397 w 737"/>
                <a:gd name="T55" fmla="*/ 1098 h 1174"/>
                <a:gd name="T56" fmla="*/ 291 w 737"/>
                <a:gd name="T57" fmla="*/ 1141 h 1174"/>
                <a:gd name="T58" fmla="*/ 220 w 737"/>
                <a:gd name="T59" fmla="*/ 1157 h 1174"/>
                <a:gd name="T60" fmla="*/ 211 w 737"/>
                <a:gd name="T61" fmla="*/ 1164 h 1174"/>
                <a:gd name="T62" fmla="*/ 144 w 737"/>
                <a:gd name="T63" fmla="*/ 1174 h 1174"/>
                <a:gd name="T64" fmla="*/ 144 w 737"/>
                <a:gd name="T65" fmla="*/ 1152 h 1174"/>
                <a:gd name="T66" fmla="*/ 59 w 737"/>
                <a:gd name="T67" fmla="*/ 1053 h 1174"/>
                <a:gd name="T68" fmla="*/ 52 w 737"/>
                <a:gd name="T69" fmla="*/ 996 h 1174"/>
                <a:gd name="T70" fmla="*/ 161 w 737"/>
                <a:gd name="T71" fmla="*/ 996 h 1174"/>
                <a:gd name="T72" fmla="*/ 114 w 737"/>
                <a:gd name="T73" fmla="*/ 935 h 1174"/>
                <a:gd name="T74" fmla="*/ 114 w 737"/>
                <a:gd name="T75" fmla="*/ 885 h 1174"/>
                <a:gd name="T76" fmla="*/ 102 w 737"/>
                <a:gd name="T77" fmla="*/ 843 h 1174"/>
                <a:gd name="T78" fmla="*/ 76 w 737"/>
                <a:gd name="T79" fmla="*/ 791 h 1174"/>
                <a:gd name="T80" fmla="*/ 48 w 737"/>
                <a:gd name="T81" fmla="*/ 770 h 1174"/>
                <a:gd name="T82" fmla="*/ 48 w 737"/>
                <a:gd name="T83" fmla="*/ 770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37" h="1174">
                  <a:moveTo>
                    <a:pt x="48" y="770"/>
                  </a:moveTo>
                  <a:lnTo>
                    <a:pt x="17" y="720"/>
                  </a:lnTo>
                  <a:lnTo>
                    <a:pt x="0" y="663"/>
                  </a:lnTo>
                  <a:lnTo>
                    <a:pt x="17" y="659"/>
                  </a:lnTo>
                  <a:lnTo>
                    <a:pt x="31" y="626"/>
                  </a:lnTo>
                  <a:lnTo>
                    <a:pt x="69" y="569"/>
                  </a:lnTo>
                  <a:lnTo>
                    <a:pt x="144" y="486"/>
                  </a:lnTo>
                  <a:lnTo>
                    <a:pt x="161" y="264"/>
                  </a:lnTo>
                  <a:lnTo>
                    <a:pt x="178" y="231"/>
                  </a:lnTo>
                  <a:lnTo>
                    <a:pt x="156" y="198"/>
                  </a:lnTo>
                  <a:lnTo>
                    <a:pt x="156" y="182"/>
                  </a:lnTo>
                  <a:lnTo>
                    <a:pt x="123" y="144"/>
                  </a:lnTo>
                  <a:lnTo>
                    <a:pt x="123" y="104"/>
                  </a:lnTo>
                  <a:lnTo>
                    <a:pt x="107" y="33"/>
                  </a:lnTo>
                  <a:lnTo>
                    <a:pt x="178" y="0"/>
                  </a:lnTo>
                  <a:lnTo>
                    <a:pt x="452" y="137"/>
                  </a:lnTo>
                  <a:lnTo>
                    <a:pt x="737" y="293"/>
                  </a:lnTo>
                  <a:lnTo>
                    <a:pt x="737" y="581"/>
                  </a:lnTo>
                  <a:lnTo>
                    <a:pt x="678" y="581"/>
                  </a:lnTo>
                  <a:lnTo>
                    <a:pt x="666" y="588"/>
                  </a:lnTo>
                  <a:lnTo>
                    <a:pt x="666" y="604"/>
                  </a:lnTo>
                  <a:lnTo>
                    <a:pt x="666" y="621"/>
                  </a:lnTo>
                  <a:lnTo>
                    <a:pt x="645" y="642"/>
                  </a:lnTo>
                  <a:lnTo>
                    <a:pt x="645" y="654"/>
                  </a:lnTo>
                  <a:lnTo>
                    <a:pt x="631" y="659"/>
                  </a:lnTo>
                  <a:lnTo>
                    <a:pt x="641" y="692"/>
                  </a:lnTo>
                  <a:lnTo>
                    <a:pt x="615" y="708"/>
                  </a:lnTo>
                  <a:lnTo>
                    <a:pt x="607" y="720"/>
                  </a:lnTo>
                  <a:lnTo>
                    <a:pt x="624" y="748"/>
                  </a:lnTo>
                  <a:lnTo>
                    <a:pt x="603" y="770"/>
                  </a:lnTo>
                  <a:lnTo>
                    <a:pt x="586" y="791"/>
                  </a:lnTo>
                  <a:lnTo>
                    <a:pt x="603" y="803"/>
                  </a:lnTo>
                  <a:lnTo>
                    <a:pt x="607" y="803"/>
                  </a:lnTo>
                  <a:lnTo>
                    <a:pt x="615" y="791"/>
                  </a:lnTo>
                  <a:lnTo>
                    <a:pt x="631" y="803"/>
                  </a:lnTo>
                  <a:lnTo>
                    <a:pt x="631" y="819"/>
                  </a:lnTo>
                  <a:lnTo>
                    <a:pt x="645" y="848"/>
                  </a:lnTo>
                  <a:lnTo>
                    <a:pt x="641" y="881"/>
                  </a:lnTo>
                  <a:lnTo>
                    <a:pt x="657" y="885"/>
                  </a:lnTo>
                  <a:lnTo>
                    <a:pt x="662" y="885"/>
                  </a:lnTo>
                  <a:lnTo>
                    <a:pt x="666" y="902"/>
                  </a:lnTo>
                  <a:lnTo>
                    <a:pt x="662" y="930"/>
                  </a:lnTo>
                  <a:lnTo>
                    <a:pt x="631" y="919"/>
                  </a:lnTo>
                  <a:lnTo>
                    <a:pt x="577" y="952"/>
                  </a:lnTo>
                  <a:lnTo>
                    <a:pt x="577" y="975"/>
                  </a:lnTo>
                  <a:lnTo>
                    <a:pt x="570" y="987"/>
                  </a:lnTo>
                  <a:lnTo>
                    <a:pt x="555" y="996"/>
                  </a:lnTo>
                  <a:lnTo>
                    <a:pt x="548" y="996"/>
                  </a:lnTo>
                  <a:lnTo>
                    <a:pt x="518" y="1041"/>
                  </a:lnTo>
                  <a:lnTo>
                    <a:pt x="494" y="1046"/>
                  </a:lnTo>
                  <a:lnTo>
                    <a:pt x="485" y="1063"/>
                  </a:lnTo>
                  <a:lnTo>
                    <a:pt x="463" y="1053"/>
                  </a:lnTo>
                  <a:lnTo>
                    <a:pt x="452" y="1063"/>
                  </a:lnTo>
                  <a:lnTo>
                    <a:pt x="392" y="1070"/>
                  </a:lnTo>
                  <a:lnTo>
                    <a:pt x="383" y="1079"/>
                  </a:lnTo>
                  <a:lnTo>
                    <a:pt x="397" y="1098"/>
                  </a:lnTo>
                  <a:lnTo>
                    <a:pt x="359" y="1136"/>
                  </a:lnTo>
                  <a:lnTo>
                    <a:pt x="291" y="1141"/>
                  </a:lnTo>
                  <a:lnTo>
                    <a:pt x="237" y="1174"/>
                  </a:lnTo>
                  <a:lnTo>
                    <a:pt x="220" y="1157"/>
                  </a:lnTo>
                  <a:lnTo>
                    <a:pt x="220" y="1152"/>
                  </a:lnTo>
                  <a:lnTo>
                    <a:pt x="211" y="1164"/>
                  </a:lnTo>
                  <a:lnTo>
                    <a:pt x="178" y="1174"/>
                  </a:lnTo>
                  <a:lnTo>
                    <a:pt x="144" y="1174"/>
                  </a:lnTo>
                  <a:lnTo>
                    <a:pt x="156" y="1157"/>
                  </a:lnTo>
                  <a:lnTo>
                    <a:pt x="144" y="1152"/>
                  </a:lnTo>
                  <a:lnTo>
                    <a:pt x="123" y="1103"/>
                  </a:lnTo>
                  <a:lnTo>
                    <a:pt x="59" y="1053"/>
                  </a:lnTo>
                  <a:lnTo>
                    <a:pt x="38" y="1025"/>
                  </a:lnTo>
                  <a:lnTo>
                    <a:pt x="52" y="996"/>
                  </a:lnTo>
                  <a:lnTo>
                    <a:pt x="90" y="996"/>
                  </a:lnTo>
                  <a:lnTo>
                    <a:pt x="161" y="996"/>
                  </a:lnTo>
                  <a:lnTo>
                    <a:pt x="140" y="975"/>
                  </a:lnTo>
                  <a:lnTo>
                    <a:pt x="114" y="935"/>
                  </a:lnTo>
                  <a:lnTo>
                    <a:pt x="114" y="902"/>
                  </a:lnTo>
                  <a:lnTo>
                    <a:pt x="114" y="885"/>
                  </a:lnTo>
                  <a:lnTo>
                    <a:pt x="114" y="843"/>
                  </a:lnTo>
                  <a:lnTo>
                    <a:pt x="102" y="843"/>
                  </a:lnTo>
                  <a:lnTo>
                    <a:pt x="102" y="803"/>
                  </a:lnTo>
                  <a:lnTo>
                    <a:pt x="76" y="791"/>
                  </a:lnTo>
                  <a:lnTo>
                    <a:pt x="69" y="770"/>
                  </a:lnTo>
                  <a:lnTo>
                    <a:pt x="48" y="770"/>
                  </a:lnTo>
                  <a:lnTo>
                    <a:pt x="48" y="770"/>
                  </a:lnTo>
                  <a:lnTo>
                    <a:pt x="48" y="77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6" name="Freeform 411">
              <a:extLst>
                <a:ext uri="{FF2B5EF4-FFF2-40B4-BE49-F238E27FC236}">
                  <a16:creationId xmlns:a16="http://schemas.microsoft.com/office/drawing/2014/main" id="{4806CA80-279C-4750-846A-C102DA83FF02}"/>
                </a:ext>
              </a:extLst>
            </p:cNvPr>
            <p:cNvSpPr>
              <a:spLocks noEditPoints="1"/>
            </p:cNvSpPr>
            <p:nvPr/>
          </p:nvSpPr>
          <p:spPr bwMode="gray">
            <a:xfrm>
              <a:off x="9025001" y="3772743"/>
              <a:ext cx="64220" cy="115691"/>
            </a:xfrm>
            <a:custGeom>
              <a:avLst/>
              <a:gdLst>
                <a:gd name="T0" fmla="*/ 17 w 156"/>
                <a:gd name="T1" fmla="*/ 182 h 281"/>
                <a:gd name="T2" fmla="*/ 12 w 156"/>
                <a:gd name="T3" fmla="*/ 116 h 281"/>
                <a:gd name="T4" fmla="*/ 12 w 156"/>
                <a:gd name="T5" fmla="*/ 111 h 281"/>
                <a:gd name="T6" fmla="*/ 12 w 156"/>
                <a:gd name="T7" fmla="*/ 133 h 281"/>
                <a:gd name="T8" fmla="*/ 17 w 156"/>
                <a:gd name="T9" fmla="*/ 133 h 281"/>
                <a:gd name="T10" fmla="*/ 17 w 156"/>
                <a:gd name="T11" fmla="*/ 95 h 281"/>
                <a:gd name="T12" fmla="*/ 28 w 156"/>
                <a:gd name="T13" fmla="*/ 88 h 281"/>
                <a:gd name="T14" fmla="*/ 28 w 156"/>
                <a:gd name="T15" fmla="*/ 59 h 281"/>
                <a:gd name="T16" fmla="*/ 33 w 156"/>
                <a:gd name="T17" fmla="*/ 55 h 281"/>
                <a:gd name="T18" fmla="*/ 33 w 156"/>
                <a:gd name="T19" fmla="*/ 33 h 281"/>
                <a:gd name="T20" fmla="*/ 38 w 156"/>
                <a:gd name="T21" fmla="*/ 22 h 281"/>
                <a:gd name="T22" fmla="*/ 33 w 156"/>
                <a:gd name="T23" fmla="*/ 17 h 281"/>
                <a:gd name="T24" fmla="*/ 71 w 156"/>
                <a:gd name="T25" fmla="*/ 33 h 281"/>
                <a:gd name="T26" fmla="*/ 28 w 156"/>
                <a:gd name="T27" fmla="*/ 5 h 281"/>
                <a:gd name="T28" fmla="*/ 28 w 156"/>
                <a:gd name="T29" fmla="*/ 0 h 281"/>
                <a:gd name="T30" fmla="*/ 33 w 156"/>
                <a:gd name="T31" fmla="*/ 0 h 281"/>
                <a:gd name="T32" fmla="*/ 54 w 156"/>
                <a:gd name="T33" fmla="*/ 17 h 281"/>
                <a:gd name="T34" fmla="*/ 38 w 156"/>
                <a:gd name="T35" fmla="*/ 0 h 281"/>
                <a:gd name="T36" fmla="*/ 50 w 156"/>
                <a:gd name="T37" fmla="*/ 0 h 281"/>
                <a:gd name="T38" fmla="*/ 85 w 156"/>
                <a:gd name="T39" fmla="*/ 38 h 281"/>
                <a:gd name="T40" fmla="*/ 92 w 156"/>
                <a:gd name="T41" fmla="*/ 59 h 281"/>
                <a:gd name="T42" fmla="*/ 102 w 156"/>
                <a:gd name="T43" fmla="*/ 59 h 281"/>
                <a:gd name="T44" fmla="*/ 106 w 156"/>
                <a:gd name="T45" fmla="*/ 88 h 281"/>
                <a:gd name="T46" fmla="*/ 118 w 156"/>
                <a:gd name="T47" fmla="*/ 95 h 281"/>
                <a:gd name="T48" fmla="*/ 106 w 156"/>
                <a:gd name="T49" fmla="*/ 95 h 281"/>
                <a:gd name="T50" fmla="*/ 123 w 156"/>
                <a:gd name="T51" fmla="*/ 95 h 281"/>
                <a:gd name="T52" fmla="*/ 123 w 156"/>
                <a:gd name="T53" fmla="*/ 116 h 281"/>
                <a:gd name="T54" fmla="*/ 156 w 156"/>
                <a:gd name="T55" fmla="*/ 170 h 281"/>
                <a:gd name="T56" fmla="*/ 156 w 156"/>
                <a:gd name="T57" fmla="*/ 206 h 281"/>
                <a:gd name="T58" fmla="*/ 139 w 156"/>
                <a:gd name="T59" fmla="*/ 244 h 281"/>
                <a:gd name="T60" fmla="*/ 118 w 156"/>
                <a:gd name="T61" fmla="*/ 260 h 281"/>
                <a:gd name="T62" fmla="*/ 71 w 156"/>
                <a:gd name="T63" fmla="*/ 281 h 281"/>
                <a:gd name="T64" fmla="*/ 38 w 156"/>
                <a:gd name="T65" fmla="*/ 277 h 281"/>
                <a:gd name="T66" fmla="*/ 33 w 156"/>
                <a:gd name="T67" fmla="*/ 260 h 281"/>
                <a:gd name="T68" fmla="*/ 17 w 156"/>
                <a:gd name="T69" fmla="*/ 222 h 281"/>
                <a:gd name="T70" fmla="*/ 17 w 156"/>
                <a:gd name="T71" fmla="*/ 182 h 281"/>
                <a:gd name="T72" fmla="*/ 17 w 156"/>
                <a:gd name="T73" fmla="*/ 182 h 281"/>
                <a:gd name="T74" fmla="*/ 17 w 156"/>
                <a:gd name="T75" fmla="*/ 182 h 281"/>
                <a:gd name="T76" fmla="*/ 17 w 156"/>
                <a:gd name="T77" fmla="*/ 5 h 281"/>
                <a:gd name="T78" fmla="*/ 28 w 156"/>
                <a:gd name="T79" fmla="*/ 17 h 281"/>
                <a:gd name="T80" fmla="*/ 17 w 156"/>
                <a:gd name="T81" fmla="*/ 5 h 281"/>
                <a:gd name="T82" fmla="*/ 17 w 156"/>
                <a:gd name="T83" fmla="*/ 5 h 281"/>
                <a:gd name="T84" fmla="*/ 17 w 156"/>
                <a:gd name="T85" fmla="*/ 5 h 281"/>
                <a:gd name="T86" fmla="*/ 17 w 156"/>
                <a:gd name="T87" fmla="*/ 5 h 281"/>
                <a:gd name="T88" fmla="*/ 12 w 156"/>
                <a:gd name="T89" fmla="*/ 55 h 281"/>
                <a:gd name="T90" fmla="*/ 17 w 156"/>
                <a:gd name="T91" fmla="*/ 59 h 281"/>
                <a:gd name="T92" fmla="*/ 0 w 156"/>
                <a:gd name="T93" fmla="*/ 55 h 281"/>
                <a:gd name="T94" fmla="*/ 12 w 156"/>
                <a:gd name="T95" fmla="*/ 55 h 281"/>
                <a:gd name="T96" fmla="*/ 12 w 156"/>
                <a:gd name="T97" fmla="*/ 55 h 281"/>
                <a:gd name="T98" fmla="*/ 12 w 156"/>
                <a:gd name="T99" fmla="*/ 55 h 281"/>
                <a:gd name="T100" fmla="*/ 144 w 156"/>
                <a:gd name="T101" fmla="*/ 154 h 281"/>
                <a:gd name="T102" fmla="*/ 156 w 156"/>
                <a:gd name="T103" fmla="*/ 170 h 281"/>
                <a:gd name="T104" fmla="*/ 144 w 156"/>
                <a:gd name="T105" fmla="*/ 149 h 281"/>
                <a:gd name="T106" fmla="*/ 144 w 156"/>
                <a:gd name="T107" fmla="*/ 154 h 281"/>
                <a:gd name="T108" fmla="*/ 144 w 156"/>
                <a:gd name="T109" fmla="*/ 154 h 281"/>
                <a:gd name="T110" fmla="*/ 144 w 156"/>
                <a:gd name="T111" fmla="*/ 15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6" h="281">
                  <a:moveTo>
                    <a:pt x="17" y="182"/>
                  </a:moveTo>
                  <a:lnTo>
                    <a:pt x="12" y="116"/>
                  </a:lnTo>
                  <a:lnTo>
                    <a:pt x="12" y="111"/>
                  </a:lnTo>
                  <a:lnTo>
                    <a:pt x="12" y="133"/>
                  </a:lnTo>
                  <a:lnTo>
                    <a:pt x="17" y="133"/>
                  </a:lnTo>
                  <a:lnTo>
                    <a:pt x="17" y="95"/>
                  </a:lnTo>
                  <a:lnTo>
                    <a:pt x="28" y="88"/>
                  </a:lnTo>
                  <a:lnTo>
                    <a:pt x="28" y="59"/>
                  </a:lnTo>
                  <a:lnTo>
                    <a:pt x="33" y="55"/>
                  </a:lnTo>
                  <a:lnTo>
                    <a:pt x="33" y="33"/>
                  </a:lnTo>
                  <a:lnTo>
                    <a:pt x="38" y="22"/>
                  </a:lnTo>
                  <a:lnTo>
                    <a:pt x="33" y="17"/>
                  </a:lnTo>
                  <a:lnTo>
                    <a:pt x="71" y="33"/>
                  </a:lnTo>
                  <a:lnTo>
                    <a:pt x="28" y="5"/>
                  </a:lnTo>
                  <a:lnTo>
                    <a:pt x="28" y="0"/>
                  </a:lnTo>
                  <a:lnTo>
                    <a:pt x="33" y="0"/>
                  </a:lnTo>
                  <a:lnTo>
                    <a:pt x="54" y="17"/>
                  </a:lnTo>
                  <a:lnTo>
                    <a:pt x="38" y="0"/>
                  </a:lnTo>
                  <a:lnTo>
                    <a:pt x="50" y="0"/>
                  </a:lnTo>
                  <a:lnTo>
                    <a:pt x="85" y="38"/>
                  </a:lnTo>
                  <a:lnTo>
                    <a:pt x="92" y="59"/>
                  </a:lnTo>
                  <a:lnTo>
                    <a:pt x="102" y="59"/>
                  </a:lnTo>
                  <a:lnTo>
                    <a:pt x="106" y="88"/>
                  </a:lnTo>
                  <a:lnTo>
                    <a:pt x="118" y="95"/>
                  </a:lnTo>
                  <a:lnTo>
                    <a:pt x="106" y="95"/>
                  </a:lnTo>
                  <a:lnTo>
                    <a:pt x="123" y="95"/>
                  </a:lnTo>
                  <a:lnTo>
                    <a:pt x="123" y="116"/>
                  </a:lnTo>
                  <a:lnTo>
                    <a:pt x="156" y="170"/>
                  </a:lnTo>
                  <a:lnTo>
                    <a:pt x="156" y="206"/>
                  </a:lnTo>
                  <a:lnTo>
                    <a:pt x="139" y="244"/>
                  </a:lnTo>
                  <a:lnTo>
                    <a:pt x="118" y="260"/>
                  </a:lnTo>
                  <a:lnTo>
                    <a:pt x="71" y="281"/>
                  </a:lnTo>
                  <a:lnTo>
                    <a:pt x="38" y="277"/>
                  </a:lnTo>
                  <a:lnTo>
                    <a:pt x="33" y="260"/>
                  </a:lnTo>
                  <a:lnTo>
                    <a:pt x="17" y="222"/>
                  </a:lnTo>
                  <a:lnTo>
                    <a:pt x="17" y="182"/>
                  </a:lnTo>
                  <a:lnTo>
                    <a:pt x="17" y="182"/>
                  </a:lnTo>
                  <a:lnTo>
                    <a:pt x="17" y="182"/>
                  </a:lnTo>
                  <a:close/>
                  <a:moveTo>
                    <a:pt x="17" y="5"/>
                  </a:moveTo>
                  <a:lnTo>
                    <a:pt x="28" y="17"/>
                  </a:lnTo>
                  <a:lnTo>
                    <a:pt x="17" y="5"/>
                  </a:lnTo>
                  <a:lnTo>
                    <a:pt x="17" y="5"/>
                  </a:lnTo>
                  <a:lnTo>
                    <a:pt x="17" y="5"/>
                  </a:lnTo>
                  <a:lnTo>
                    <a:pt x="17" y="5"/>
                  </a:lnTo>
                  <a:close/>
                  <a:moveTo>
                    <a:pt x="12" y="55"/>
                  </a:moveTo>
                  <a:lnTo>
                    <a:pt x="17" y="59"/>
                  </a:lnTo>
                  <a:lnTo>
                    <a:pt x="0" y="55"/>
                  </a:lnTo>
                  <a:lnTo>
                    <a:pt x="12" y="55"/>
                  </a:lnTo>
                  <a:lnTo>
                    <a:pt x="12" y="55"/>
                  </a:lnTo>
                  <a:lnTo>
                    <a:pt x="12" y="55"/>
                  </a:lnTo>
                  <a:close/>
                  <a:moveTo>
                    <a:pt x="144" y="154"/>
                  </a:moveTo>
                  <a:lnTo>
                    <a:pt x="156" y="170"/>
                  </a:lnTo>
                  <a:lnTo>
                    <a:pt x="144" y="149"/>
                  </a:lnTo>
                  <a:lnTo>
                    <a:pt x="144" y="154"/>
                  </a:lnTo>
                  <a:lnTo>
                    <a:pt x="144" y="154"/>
                  </a:lnTo>
                  <a:lnTo>
                    <a:pt x="144" y="15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7" name="Freeform 412">
              <a:extLst>
                <a:ext uri="{FF2B5EF4-FFF2-40B4-BE49-F238E27FC236}">
                  <a16:creationId xmlns:a16="http://schemas.microsoft.com/office/drawing/2014/main" id="{192E4AF3-C7D0-4415-9C99-7BC20DA15293}"/>
                </a:ext>
              </a:extLst>
            </p:cNvPr>
            <p:cNvSpPr>
              <a:spLocks/>
            </p:cNvSpPr>
            <p:nvPr/>
          </p:nvSpPr>
          <p:spPr bwMode="gray">
            <a:xfrm>
              <a:off x="7046927" y="3955546"/>
              <a:ext cx="214892" cy="258970"/>
            </a:xfrm>
            <a:custGeom>
              <a:avLst/>
              <a:gdLst>
                <a:gd name="T0" fmla="*/ 123 w 522"/>
                <a:gd name="T1" fmla="*/ 589 h 629"/>
                <a:gd name="T2" fmla="*/ 107 w 522"/>
                <a:gd name="T3" fmla="*/ 596 h 629"/>
                <a:gd name="T4" fmla="*/ 85 w 522"/>
                <a:gd name="T5" fmla="*/ 612 h 629"/>
                <a:gd name="T6" fmla="*/ 59 w 522"/>
                <a:gd name="T7" fmla="*/ 629 h 629"/>
                <a:gd name="T8" fmla="*/ 48 w 522"/>
                <a:gd name="T9" fmla="*/ 596 h 629"/>
                <a:gd name="T10" fmla="*/ 5 w 522"/>
                <a:gd name="T11" fmla="*/ 534 h 629"/>
                <a:gd name="T12" fmla="*/ 48 w 522"/>
                <a:gd name="T13" fmla="*/ 534 h 629"/>
                <a:gd name="T14" fmla="*/ 52 w 522"/>
                <a:gd name="T15" fmla="*/ 522 h 629"/>
                <a:gd name="T16" fmla="*/ 38 w 522"/>
                <a:gd name="T17" fmla="*/ 501 h 629"/>
                <a:gd name="T18" fmla="*/ 38 w 522"/>
                <a:gd name="T19" fmla="*/ 468 h 629"/>
                <a:gd name="T20" fmla="*/ 38 w 522"/>
                <a:gd name="T21" fmla="*/ 452 h 629"/>
                <a:gd name="T22" fmla="*/ 48 w 522"/>
                <a:gd name="T23" fmla="*/ 444 h 629"/>
                <a:gd name="T24" fmla="*/ 69 w 522"/>
                <a:gd name="T25" fmla="*/ 444 h 629"/>
                <a:gd name="T26" fmla="*/ 90 w 522"/>
                <a:gd name="T27" fmla="*/ 407 h 629"/>
                <a:gd name="T28" fmla="*/ 107 w 522"/>
                <a:gd name="T29" fmla="*/ 395 h 629"/>
                <a:gd name="T30" fmla="*/ 128 w 522"/>
                <a:gd name="T31" fmla="*/ 440 h 629"/>
                <a:gd name="T32" fmla="*/ 182 w 522"/>
                <a:gd name="T33" fmla="*/ 423 h 629"/>
                <a:gd name="T34" fmla="*/ 211 w 522"/>
                <a:gd name="T35" fmla="*/ 444 h 629"/>
                <a:gd name="T36" fmla="*/ 232 w 522"/>
                <a:gd name="T37" fmla="*/ 407 h 629"/>
                <a:gd name="T38" fmla="*/ 232 w 522"/>
                <a:gd name="T39" fmla="*/ 340 h 629"/>
                <a:gd name="T40" fmla="*/ 232 w 522"/>
                <a:gd name="T41" fmla="*/ 300 h 629"/>
                <a:gd name="T42" fmla="*/ 211 w 522"/>
                <a:gd name="T43" fmla="*/ 284 h 629"/>
                <a:gd name="T44" fmla="*/ 194 w 522"/>
                <a:gd name="T45" fmla="*/ 279 h 629"/>
                <a:gd name="T46" fmla="*/ 211 w 522"/>
                <a:gd name="T47" fmla="*/ 229 h 629"/>
                <a:gd name="T48" fmla="*/ 237 w 522"/>
                <a:gd name="T49" fmla="*/ 201 h 629"/>
                <a:gd name="T50" fmla="*/ 182 w 522"/>
                <a:gd name="T51" fmla="*/ 168 h 629"/>
                <a:gd name="T52" fmla="*/ 144 w 522"/>
                <a:gd name="T53" fmla="*/ 168 h 629"/>
                <a:gd name="T54" fmla="*/ 156 w 522"/>
                <a:gd name="T55" fmla="*/ 111 h 629"/>
                <a:gd name="T56" fmla="*/ 265 w 522"/>
                <a:gd name="T57" fmla="*/ 118 h 629"/>
                <a:gd name="T58" fmla="*/ 345 w 522"/>
                <a:gd name="T59" fmla="*/ 152 h 629"/>
                <a:gd name="T60" fmla="*/ 345 w 522"/>
                <a:gd name="T61" fmla="*/ 111 h 629"/>
                <a:gd name="T62" fmla="*/ 378 w 522"/>
                <a:gd name="T63" fmla="*/ 62 h 629"/>
                <a:gd name="T64" fmla="*/ 383 w 522"/>
                <a:gd name="T65" fmla="*/ 7 h 629"/>
                <a:gd name="T66" fmla="*/ 447 w 522"/>
                <a:gd name="T67" fmla="*/ 0 h 629"/>
                <a:gd name="T68" fmla="*/ 468 w 522"/>
                <a:gd name="T69" fmla="*/ 7 h 629"/>
                <a:gd name="T70" fmla="*/ 492 w 522"/>
                <a:gd name="T71" fmla="*/ 19 h 629"/>
                <a:gd name="T72" fmla="*/ 522 w 522"/>
                <a:gd name="T73" fmla="*/ 19 h 629"/>
                <a:gd name="T74" fmla="*/ 485 w 522"/>
                <a:gd name="T75" fmla="*/ 102 h 629"/>
                <a:gd name="T76" fmla="*/ 480 w 522"/>
                <a:gd name="T77" fmla="*/ 201 h 629"/>
                <a:gd name="T78" fmla="*/ 463 w 522"/>
                <a:gd name="T79" fmla="*/ 279 h 629"/>
                <a:gd name="T80" fmla="*/ 437 w 522"/>
                <a:gd name="T81" fmla="*/ 340 h 629"/>
                <a:gd name="T82" fmla="*/ 378 w 522"/>
                <a:gd name="T83" fmla="*/ 407 h 629"/>
                <a:gd name="T84" fmla="*/ 362 w 522"/>
                <a:gd name="T85" fmla="*/ 506 h 629"/>
                <a:gd name="T86" fmla="*/ 307 w 522"/>
                <a:gd name="T87" fmla="*/ 555 h 629"/>
                <a:gd name="T88" fmla="*/ 286 w 522"/>
                <a:gd name="T89" fmla="*/ 579 h 629"/>
                <a:gd name="T90" fmla="*/ 248 w 522"/>
                <a:gd name="T91" fmla="*/ 617 h 629"/>
                <a:gd name="T92" fmla="*/ 232 w 522"/>
                <a:gd name="T93" fmla="*/ 596 h 629"/>
                <a:gd name="T94" fmla="*/ 232 w 522"/>
                <a:gd name="T95" fmla="*/ 579 h 629"/>
                <a:gd name="T96" fmla="*/ 182 w 522"/>
                <a:gd name="T97" fmla="*/ 589 h 629"/>
                <a:gd name="T98" fmla="*/ 166 w 522"/>
                <a:gd name="T99" fmla="*/ 612 h 629"/>
                <a:gd name="T100" fmla="*/ 140 w 522"/>
                <a:gd name="T101" fmla="*/ 596 h 629"/>
                <a:gd name="T102" fmla="*/ 140 w 522"/>
                <a:gd name="T103" fmla="*/ 605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2" h="629">
                  <a:moveTo>
                    <a:pt x="140" y="605"/>
                  </a:moveTo>
                  <a:lnTo>
                    <a:pt x="123" y="589"/>
                  </a:lnTo>
                  <a:lnTo>
                    <a:pt x="114" y="589"/>
                  </a:lnTo>
                  <a:lnTo>
                    <a:pt x="107" y="596"/>
                  </a:lnTo>
                  <a:lnTo>
                    <a:pt x="90" y="605"/>
                  </a:lnTo>
                  <a:lnTo>
                    <a:pt x="85" y="612"/>
                  </a:lnTo>
                  <a:lnTo>
                    <a:pt x="76" y="612"/>
                  </a:lnTo>
                  <a:lnTo>
                    <a:pt x="59" y="629"/>
                  </a:lnTo>
                  <a:lnTo>
                    <a:pt x="48" y="612"/>
                  </a:lnTo>
                  <a:lnTo>
                    <a:pt x="48" y="596"/>
                  </a:lnTo>
                  <a:lnTo>
                    <a:pt x="0" y="551"/>
                  </a:lnTo>
                  <a:lnTo>
                    <a:pt x="5" y="534"/>
                  </a:lnTo>
                  <a:lnTo>
                    <a:pt x="31" y="522"/>
                  </a:lnTo>
                  <a:lnTo>
                    <a:pt x="48" y="534"/>
                  </a:lnTo>
                  <a:lnTo>
                    <a:pt x="52" y="534"/>
                  </a:lnTo>
                  <a:lnTo>
                    <a:pt x="52" y="522"/>
                  </a:lnTo>
                  <a:lnTo>
                    <a:pt x="59" y="506"/>
                  </a:lnTo>
                  <a:lnTo>
                    <a:pt x="38" y="501"/>
                  </a:lnTo>
                  <a:lnTo>
                    <a:pt x="48" y="485"/>
                  </a:lnTo>
                  <a:lnTo>
                    <a:pt x="38" y="468"/>
                  </a:lnTo>
                  <a:lnTo>
                    <a:pt x="31" y="478"/>
                  </a:lnTo>
                  <a:lnTo>
                    <a:pt x="38" y="452"/>
                  </a:lnTo>
                  <a:lnTo>
                    <a:pt x="31" y="440"/>
                  </a:lnTo>
                  <a:lnTo>
                    <a:pt x="48" y="444"/>
                  </a:lnTo>
                  <a:lnTo>
                    <a:pt x="59" y="440"/>
                  </a:lnTo>
                  <a:lnTo>
                    <a:pt x="69" y="444"/>
                  </a:lnTo>
                  <a:lnTo>
                    <a:pt x="90" y="440"/>
                  </a:lnTo>
                  <a:lnTo>
                    <a:pt x="90" y="407"/>
                  </a:lnTo>
                  <a:lnTo>
                    <a:pt x="102" y="407"/>
                  </a:lnTo>
                  <a:lnTo>
                    <a:pt x="107" y="395"/>
                  </a:lnTo>
                  <a:lnTo>
                    <a:pt x="123" y="407"/>
                  </a:lnTo>
                  <a:lnTo>
                    <a:pt x="128" y="440"/>
                  </a:lnTo>
                  <a:lnTo>
                    <a:pt x="166" y="444"/>
                  </a:lnTo>
                  <a:lnTo>
                    <a:pt x="182" y="423"/>
                  </a:lnTo>
                  <a:lnTo>
                    <a:pt x="194" y="444"/>
                  </a:lnTo>
                  <a:lnTo>
                    <a:pt x="211" y="444"/>
                  </a:lnTo>
                  <a:lnTo>
                    <a:pt x="220" y="411"/>
                  </a:lnTo>
                  <a:lnTo>
                    <a:pt x="232" y="407"/>
                  </a:lnTo>
                  <a:lnTo>
                    <a:pt x="237" y="357"/>
                  </a:lnTo>
                  <a:lnTo>
                    <a:pt x="232" y="340"/>
                  </a:lnTo>
                  <a:lnTo>
                    <a:pt x="237" y="312"/>
                  </a:lnTo>
                  <a:lnTo>
                    <a:pt x="232" y="300"/>
                  </a:lnTo>
                  <a:lnTo>
                    <a:pt x="215" y="300"/>
                  </a:lnTo>
                  <a:lnTo>
                    <a:pt x="211" y="284"/>
                  </a:lnTo>
                  <a:lnTo>
                    <a:pt x="194" y="284"/>
                  </a:lnTo>
                  <a:lnTo>
                    <a:pt x="194" y="279"/>
                  </a:lnTo>
                  <a:lnTo>
                    <a:pt x="199" y="246"/>
                  </a:lnTo>
                  <a:lnTo>
                    <a:pt x="211" y="229"/>
                  </a:lnTo>
                  <a:lnTo>
                    <a:pt x="220" y="222"/>
                  </a:lnTo>
                  <a:lnTo>
                    <a:pt x="237" y="201"/>
                  </a:lnTo>
                  <a:lnTo>
                    <a:pt x="215" y="168"/>
                  </a:lnTo>
                  <a:lnTo>
                    <a:pt x="182" y="168"/>
                  </a:lnTo>
                  <a:lnTo>
                    <a:pt x="144" y="185"/>
                  </a:lnTo>
                  <a:lnTo>
                    <a:pt x="144" y="168"/>
                  </a:lnTo>
                  <a:lnTo>
                    <a:pt x="140" y="147"/>
                  </a:lnTo>
                  <a:lnTo>
                    <a:pt x="156" y="111"/>
                  </a:lnTo>
                  <a:lnTo>
                    <a:pt x="237" y="111"/>
                  </a:lnTo>
                  <a:lnTo>
                    <a:pt x="265" y="118"/>
                  </a:lnTo>
                  <a:lnTo>
                    <a:pt x="324" y="128"/>
                  </a:lnTo>
                  <a:lnTo>
                    <a:pt x="345" y="152"/>
                  </a:lnTo>
                  <a:lnTo>
                    <a:pt x="355" y="147"/>
                  </a:lnTo>
                  <a:lnTo>
                    <a:pt x="345" y="111"/>
                  </a:lnTo>
                  <a:lnTo>
                    <a:pt x="355" y="102"/>
                  </a:lnTo>
                  <a:lnTo>
                    <a:pt x="378" y="62"/>
                  </a:lnTo>
                  <a:lnTo>
                    <a:pt x="378" y="41"/>
                  </a:lnTo>
                  <a:lnTo>
                    <a:pt x="383" y="7"/>
                  </a:lnTo>
                  <a:lnTo>
                    <a:pt x="437" y="7"/>
                  </a:lnTo>
                  <a:lnTo>
                    <a:pt x="447" y="0"/>
                  </a:lnTo>
                  <a:lnTo>
                    <a:pt x="468" y="7"/>
                  </a:lnTo>
                  <a:lnTo>
                    <a:pt x="468" y="7"/>
                  </a:lnTo>
                  <a:lnTo>
                    <a:pt x="492" y="7"/>
                  </a:lnTo>
                  <a:lnTo>
                    <a:pt x="492" y="19"/>
                  </a:lnTo>
                  <a:lnTo>
                    <a:pt x="518" y="0"/>
                  </a:lnTo>
                  <a:lnTo>
                    <a:pt x="522" y="19"/>
                  </a:lnTo>
                  <a:lnTo>
                    <a:pt x="522" y="41"/>
                  </a:lnTo>
                  <a:lnTo>
                    <a:pt x="485" y="102"/>
                  </a:lnTo>
                  <a:lnTo>
                    <a:pt x="485" y="156"/>
                  </a:lnTo>
                  <a:lnTo>
                    <a:pt x="480" y="201"/>
                  </a:lnTo>
                  <a:lnTo>
                    <a:pt x="480" y="239"/>
                  </a:lnTo>
                  <a:lnTo>
                    <a:pt x="463" y="279"/>
                  </a:lnTo>
                  <a:lnTo>
                    <a:pt x="463" y="312"/>
                  </a:lnTo>
                  <a:lnTo>
                    <a:pt x="437" y="340"/>
                  </a:lnTo>
                  <a:lnTo>
                    <a:pt x="400" y="357"/>
                  </a:lnTo>
                  <a:lnTo>
                    <a:pt x="378" y="407"/>
                  </a:lnTo>
                  <a:lnTo>
                    <a:pt x="355" y="423"/>
                  </a:lnTo>
                  <a:lnTo>
                    <a:pt x="362" y="506"/>
                  </a:lnTo>
                  <a:lnTo>
                    <a:pt x="329" y="551"/>
                  </a:lnTo>
                  <a:lnTo>
                    <a:pt x="307" y="555"/>
                  </a:lnTo>
                  <a:lnTo>
                    <a:pt x="307" y="572"/>
                  </a:lnTo>
                  <a:lnTo>
                    <a:pt x="286" y="579"/>
                  </a:lnTo>
                  <a:lnTo>
                    <a:pt x="265" y="612"/>
                  </a:lnTo>
                  <a:lnTo>
                    <a:pt x="248" y="617"/>
                  </a:lnTo>
                  <a:lnTo>
                    <a:pt x="232" y="617"/>
                  </a:lnTo>
                  <a:lnTo>
                    <a:pt x="232" y="596"/>
                  </a:lnTo>
                  <a:lnTo>
                    <a:pt x="237" y="589"/>
                  </a:lnTo>
                  <a:lnTo>
                    <a:pt x="232" y="579"/>
                  </a:lnTo>
                  <a:lnTo>
                    <a:pt x="199" y="589"/>
                  </a:lnTo>
                  <a:lnTo>
                    <a:pt x="182" y="589"/>
                  </a:lnTo>
                  <a:lnTo>
                    <a:pt x="182" y="612"/>
                  </a:lnTo>
                  <a:lnTo>
                    <a:pt x="166" y="612"/>
                  </a:lnTo>
                  <a:lnTo>
                    <a:pt x="161" y="617"/>
                  </a:lnTo>
                  <a:lnTo>
                    <a:pt x="140" y="596"/>
                  </a:lnTo>
                  <a:lnTo>
                    <a:pt x="140" y="605"/>
                  </a:lnTo>
                  <a:lnTo>
                    <a:pt x="140" y="605"/>
                  </a:lnTo>
                  <a:lnTo>
                    <a:pt x="140" y="60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8" name="Freeform 413">
              <a:extLst>
                <a:ext uri="{FF2B5EF4-FFF2-40B4-BE49-F238E27FC236}">
                  <a16:creationId xmlns:a16="http://schemas.microsoft.com/office/drawing/2014/main" id="{13D2342E-55B9-47AE-9E22-D72A063341C5}"/>
                </a:ext>
              </a:extLst>
            </p:cNvPr>
            <p:cNvSpPr>
              <a:spLocks noEditPoints="1"/>
            </p:cNvSpPr>
            <p:nvPr/>
          </p:nvSpPr>
          <p:spPr bwMode="gray">
            <a:xfrm>
              <a:off x="7078214" y="3905316"/>
              <a:ext cx="553285" cy="561993"/>
            </a:xfrm>
            <a:custGeom>
              <a:avLst/>
              <a:gdLst>
                <a:gd name="T0" fmla="*/ 38 w 1344"/>
                <a:gd name="T1" fmla="*/ 819 h 1365"/>
                <a:gd name="T2" fmla="*/ 28 w 1344"/>
                <a:gd name="T3" fmla="*/ 748 h 1365"/>
                <a:gd name="T4" fmla="*/ 87 w 1344"/>
                <a:gd name="T5" fmla="*/ 737 h 1365"/>
                <a:gd name="T6" fmla="*/ 125 w 1344"/>
                <a:gd name="T7" fmla="*/ 708 h 1365"/>
                <a:gd name="T8" fmla="*/ 158 w 1344"/>
                <a:gd name="T9" fmla="*/ 737 h 1365"/>
                <a:gd name="T10" fmla="*/ 234 w 1344"/>
                <a:gd name="T11" fmla="*/ 692 h 1365"/>
                <a:gd name="T12" fmla="*/ 281 w 1344"/>
                <a:gd name="T13" fmla="*/ 543 h 1365"/>
                <a:gd name="T14" fmla="*/ 390 w 1344"/>
                <a:gd name="T15" fmla="*/ 432 h 1365"/>
                <a:gd name="T16" fmla="*/ 411 w 1344"/>
                <a:gd name="T17" fmla="*/ 276 h 1365"/>
                <a:gd name="T18" fmla="*/ 458 w 1344"/>
                <a:gd name="T19" fmla="*/ 99 h 1365"/>
                <a:gd name="T20" fmla="*/ 503 w 1344"/>
                <a:gd name="T21" fmla="*/ 16 h 1365"/>
                <a:gd name="T22" fmla="*/ 588 w 1344"/>
                <a:gd name="T23" fmla="*/ 70 h 1365"/>
                <a:gd name="T24" fmla="*/ 713 w 1344"/>
                <a:gd name="T25" fmla="*/ 87 h 1365"/>
                <a:gd name="T26" fmla="*/ 751 w 1344"/>
                <a:gd name="T27" fmla="*/ 44 h 1365"/>
                <a:gd name="T28" fmla="*/ 857 w 1344"/>
                <a:gd name="T29" fmla="*/ 16 h 1365"/>
                <a:gd name="T30" fmla="*/ 933 w 1344"/>
                <a:gd name="T31" fmla="*/ 0 h 1365"/>
                <a:gd name="T32" fmla="*/ 1020 w 1344"/>
                <a:gd name="T33" fmla="*/ 16 h 1365"/>
                <a:gd name="T34" fmla="*/ 1091 w 1344"/>
                <a:gd name="T35" fmla="*/ 44 h 1365"/>
                <a:gd name="T36" fmla="*/ 1198 w 1344"/>
                <a:gd name="T37" fmla="*/ 70 h 1365"/>
                <a:gd name="T38" fmla="*/ 1235 w 1344"/>
                <a:gd name="T39" fmla="*/ 70 h 1365"/>
                <a:gd name="T40" fmla="*/ 1290 w 1344"/>
                <a:gd name="T41" fmla="*/ 127 h 1365"/>
                <a:gd name="T42" fmla="*/ 1311 w 1344"/>
                <a:gd name="T43" fmla="*/ 144 h 1365"/>
                <a:gd name="T44" fmla="*/ 1311 w 1344"/>
                <a:gd name="T45" fmla="*/ 214 h 1365"/>
                <a:gd name="T46" fmla="*/ 1268 w 1344"/>
                <a:gd name="T47" fmla="*/ 304 h 1365"/>
                <a:gd name="T48" fmla="*/ 1231 w 1344"/>
                <a:gd name="T49" fmla="*/ 382 h 1365"/>
                <a:gd name="T50" fmla="*/ 1188 w 1344"/>
                <a:gd name="T51" fmla="*/ 526 h 1365"/>
                <a:gd name="T52" fmla="*/ 1181 w 1344"/>
                <a:gd name="T53" fmla="*/ 588 h 1365"/>
                <a:gd name="T54" fmla="*/ 1205 w 1344"/>
                <a:gd name="T55" fmla="*/ 682 h 1365"/>
                <a:gd name="T56" fmla="*/ 1214 w 1344"/>
                <a:gd name="T57" fmla="*/ 819 h 1365"/>
                <a:gd name="T58" fmla="*/ 1273 w 1344"/>
                <a:gd name="T59" fmla="*/ 904 h 1365"/>
                <a:gd name="T60" fmla="*/ 1167 w 1344"/>
                <a:gd name="T61" fmla="*/ 1025 h 1365"/>
                <a:gd name="T62" fmla="*/ 1150 w 1344"/>
                <a:gd name="T63" fmla="*/ 1126 h 1365"/>
                <a:gd name="T64" fmla="*/ 1143 w 1344"/>
                <a:gd name="T65" fmla="*/ 1247 h 1365"/>
                <a:gd name="T66" fmla="*/ 1214 w 1344"/>
                <a:gd name="T67" fmla="*/ 1287 h 1365"/>
                <a:gd name="T68" fmla="*/ 1219 w 1344"/>
                <a:gd name="T69" fmla="*/ 1358 h 1365"/>
                <a:gd name="T70" fmla="*/ 1181 w 1344"/>
                <a:gd name="T71" fmla="*/ 1358 h 1365"/>
                <a:gd name="T72" fmla="*/ 1096 w 1344"/>
                <a:gd name="T73" fmla="*/ 1280 h 1365"/>
                <a:gd name="T74" fmla="*/ 1053 w 1344"/>
                <a:gd name="T75" fmla="*/ 1225 h 1365"/>
                <a:gd name="T76" fmla="*/ 966 w 1344"/>
                <a:gd name="T77" fmla="*/ 1247 h 1365"/>
                <a:gd name="T78" fmla="*/ 881 w 1344"/>
                <a:gd name="T79" fmla="*/ 1209 h 1365"/>
                <a:gd name="T80" fmla="*/ 827 w 1344"/>
                <a:gd name="T81" fmla="*/ 1176 h 1365"/>
                <a:gd name="T82" fmla="*/ 730 w 1344"/>
                <a:gd name="T83" fmla="*/ 1181 h 1365"/>
                <a:gd name="T84" fmla="*/ 713 w 1344"/>
                <a:gd name="T85" fmla="*/ 1136 h 1365"/>
                <a:gd name="T86" fmla="*/ 680 w 1344"/>
                <a:gd name="T87" fmla="*/ 1003 h 1365"/>
                <a:gd name="T88" fmla="*/ 588 w 1344"/>
                <a:gd name="T89" fmla="*/ 914 h 1365"/>
                <a:gd name="T90" fmla="*/ 520 w 1344"/>
                <a:gd name="T91" fmla="*/ 892 h 1365"/>
                <a:gd name="T92" fmla="*/ 444 w 1344"/>
                <a:gd name="T93" fmla="*/ 959 h 1365"/>
                <a:gd name="T94" fmla="*/ 406 w 1344"/>
                <a:gd name="T95" fmla="*/ 970 h 1365"/>
                <a:gd name="T96" fmla="*/ 319 w 1344"/>
                <a:gd name="T97" fmla="*/ 848 h 1365"/>
                <a:gd name="T98" fmla="*/ 272 w 1344"/>
                <a:gd name="T99" fmla="*/ 810 h 1365"/>
                <a:gd name="T100" fmla="*/ 54 w 1344"/>
                <a:gd name="T101" fmla="*/ 810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4" h="1365">
                  <a:moveTo>
                    <a:pt x="272" y="810"/>
                  </a:moveTo>
                  <a:lnTo>
                    <a:pt x="71" y="810"/>
                  </a:lnTo>
                  <a:lnTo>
                    <a:pt x="50" y="810"/>
                  </a:lnTo>
                  <a:lnTo>
                    <a:pt x="38" y="819"/>
                  </a:lnTo>
                  <a:lnTo>
                    <a:pt x="16" y="819"/>
                  </a:lnTo>
                  <a:lnTo>
                    <a:pt x="0" y="803"/>
                  </a:lnTo>
                  <a:lnTo>
                    <a:pt x="28" y="803"/>
                  </a:lnTo>
                  <a:lnTo>
                    <a:pt x="28" y="748"/>
                  </a:lnTo>
                  <a:lnTo>
                    <a:pt x="50" y="732"/>
                  </a:lnTo>
                  <a:lnTo>
                    <a:pt x="66" y="725"/>
                  </a:lnTo>
                  <a:lnTo>
                    <a:pt x="66" y="715"/>
                  </a:lnTo>
                  <a:lnTo>
                    <a:pt x="87" y="737"/>
                  </a:lnTo>
                  <a:lnTo>
                    <a:pt x="92" y="732"/>
                  </a:lnTo>
                  <a:lnTo>
                    <a:pt x="109" y="732"/>
                  </a:lnTo>
                  <a:lnTo>
                    <a:pt x="109" y="708"/>
                  </a:lnTo>
                  <a:lnTo>
                    <a:pt x="125" y="708"/>
                  </a:lnTo>
                  <a:lnTo>
                    <a:pt x="158" y="699"/>
                  </a:lnTo>
                  <a:lnTo>
                    <a:pt x="163" y="708"/>
                  </a:lnTo>
                  <a:lnTo>
                    <a:pt x="158" y="715"/>
                  </a:lnTo>
                  <a:lnTo>
                    <a:pt x="158" y="737"/>
                  </a:lnTo>
                  <a:lnTo>
                    <a:pt x="172" y="737"/>
                  </a:lnTo>
                  <a:lnTo>
                    <a:pt x="189" y="732"/>
                  </a:lnTo>
                  <a:lnTo>
                    <a:pt x="210" y="699"/>
                  </a:lnTo>
                  <a:lnTo>
                    <a:pt x="234" y="692"/>
                  </a:lnTo>
                  <a:lnTo>
                    <a:pt x="234" y="675"/>
                  </a:lnTo>
                  <a:lnTo>
                    <a:pt x="255" y="670"/>
                  </a:lnTo>
                  <a:lnTo>
                    <a:pt x="286" y="625"/>
                  </a:lnTo>
                  <a:lnTo>
                    <a:pt x="281" y="543"/>
                  </a:lnTo>
                  <a:lnTo>
                    <a:pt x="302" y="526"/>
                  </a:lnTo>
                  <a:lnTo>
                    <a:pt x="324" y="477"/>
                  </a:lnTo>
                  <a:lnTo>
                    <a:pt x="361" y="460"/>
                  </a:lnTo>
                  <a:lnTo>
                    <a:pt x="390" y="432"/>
                  </a:lnTo>
                  <a:lnTo>
                    <a:pt x="390" y="399"/>
                  </a:lnTo>
                  <a:lnTo>
                    <a:pt x="406" y="359"/>
                  </a:lnTo>
                  <a:lnTo>
                    <a:pt x="406" y="321"/>
                  </a:lnTo>
                  <a:lnTo>
                    <a:pt x="411" y="276"/>
                  </a:lnTo>
                  <a:lnTo>
                    <a:pt x="411" y="222"/>
                  </a:lnTo>
                  <a:lnTo>
                    <a:pt x="449" y="160"/>
                  </a:lnTo>
                  <a:lnTo>
                    <a:pt x="449" y="139"/>
                  </a:lnTo>
                  <a:lnTo>
                    <a:pt x="458" y="99"/>
                  </a:lnTo>
                  <a:lnTo>
                    <a:pt x="449" y="70"/>
                  </a:lnTo>
                  <a:lnTo>
                    <a:pt x="458" y="70"/>
                  </a:lnTo>
                  <a:lnTo>
                    <a:pt x="482" y="33"/>
                  </a:lnTo>
                  <a:lnTo>
                    <a:pt x="503" y="16"/>
                  </a:lnTo>
                  <a:lnTo>
                    <a:pt x="534" y="16"/>
                  </a:lnTo>
                  <a:lnTo>
                    <a:pt x="572" y="44"/>
                  </a:lnTo>
                  <a:lnTo>
                    <a:pt x="583" y="54"/>
                  </a:lnTo>
                  <a:lnTo>
                    <a:pt x="588" y="70"/>
                  </a:lnTo>
                  <a:lnTo>
                    <a:pt x="621" y="66"/>
                  </a:lnTo>
                  <a:lnTo>
                    <a:pt x="638" y="82"/>
                  </a:lnTo>
                  <a:lnTo>
                    <a:pt x="676" y="82"/>
                  </a:lnTo>
                  <a:lnTo>
                    <a:pt x="713" y="87"/>
                  </a:lnTo>
                  <a:lnTo>
                    <a:pt x="730" y="82"/>
                  </a:lnTo>
                  <a:lnTo>
                    <a:pt x="730" y="66"/>
                  </a:lnTo>
                  <a:lnTo>
                    <a:pt x="735" y="66"/>
                  </a:lnTo>
                  <a:lnTo>
                    <a:pt x="751" y="44"/>
                  </a:lnTo>
                  <a:lnTo>
                    <a:pt x="789" y="54"/>
                  </a:lnTo>
                  <a:lnTo>
                    <a:pt x="798" y="49"/>
                  </a:lnTo>
                  <a:lnTo>
                    <a:pt x="857" y="28"/>
                  </a:lnTo>
                  <a:lnTo>
                    <a:pt x="857" y="16"/>
                  </a:lnTo>
                  <a:lnTo>
                    <a:pt x="881" y="33"/>
                  </a:lnTo>
                  <a:lnTo>
                    <a:pt x="919" y="28"/>
                  </a:lnTo>
                  <a:lnTo>
                    <a:pt x="928" y="0"/>
                  </a:lnTo>
                  <a:lnTo>
                    <a:pt x="933" y="0"/>
                  </a:lnTo>
                  <a:lnTo>
                    <a:pt x="966" y="11"/>
                  </a:lnTo>
                  <a:lnTo>
                    <a:pt x="983" y="11"/>
                  </a:lnTo>
                  <a:lnTo>
                    <a:pt x="1004" y="28"/>
                  </a:lnTo>
                  <a:lnTo>
                    <a:pt x="1020" y="16"/>
                  </a:lnTo>
                  <a:lnTo>
                    <a:pt x="1025" y="28"/>
                  </a:lnTo>
                  <a:lnTo>
                    <a:pt x="1042" y="11"/>
                  </a:lnTo>
                  <a:lnTo>
                    <a:pt x="1075" y="28"/>
                  </a:lnTo>
                  <a:lnTo>
                    <a:pt x="1091" y="44"/>
                  </a:lnTo>
                  <a:lnTo>
                    <a:pt x="1096" y="54"/>
                  </a:lnTo>
                  <a:lnTo>
                    <a:pt x="1134" y="82"/>
                  </a:lnTo>
                  <a:lnTo>
                    <a:pt x="1167" y="54"/>
                  </a:lnTo>
                  <a:lnTo>
                    <a:pt x="1198" y="70"/>
                  </a:lnTo>
                  <a:lnTo>
                    <a:pt x="1214" y="49"/>
                  </a:lnTo>
                  <a:lnTo>
                    <a:pt x="1219" y="49"/>
                  </a:lnTo>
                  <a:lnTo>
                    <a:pt x="1235" y="54"/>
                  </a:lnTo>
                  <a:lnTo>
                    <a:pt x="1235" y="70"/>
                  </a:lnTo>
                  <a:lnTo>
                    <a:pt x="1257" y="87"/>
                  </a:lnTo>
                  <a:lnTo>
                    <a:pt x="1268" y="103"/>
                  </a:lnTo>
                  <a:lnTo>
                    <a:pt x="1290" y="103"/>
                  </a:lnTo>
                  <a:lnTo>
                    <a:pt x="1290" y="127"/>
                  </a:lnTo>
                  <a:lnTo>
                    <a:pt x="1306" y="120"/>
                  </a:lnTo>
                  <a:lnTo>
                    <a:pt x="1311" y="139"/>
                  </a:lnTo>
                  <a:lnTo>
                    <a:pt x="1311" y="139"/>
                  </a:lnTo>
                  <a:lnTo>
                    <a:pt x="1311" y="144"/>
                  </a:lnTo>
                  <a:lnTo>
                    <a:pt x="1306" y="165"/>
                  </a:lnTo>
                  <a:lnTo>
                    <a:pt x="1311" y="181"/>
                  </a:lnTo>
                  <a:lnTo>
                    <a:pt x="1294" y="210"/>
                  </a:lnTo>
                  <a:lnTo>
                    <a:pt x="1311" y="214"/>
                  </a:lnTo>
                  <a:lnTo>
                    <a:pt x="1323" y="214"/>
                  </a:lnTo>
                  <a:lnTo>
                    <a:pt x="1344" y="231"/>
                  </a:lnTo>
                  <a:lnTo>
                    <a:pt x="1285" y="304"/>
                  </a:lnTo>
                  <a:lnTo>
                    <a:pt x="1268" y="304"/>
                  </a:lnTo>
                  <a:lnTo>
                    <a:pt x="1257" y="321"/>
                  </a:lnTo>
                  <a:lnTo>
                    <a:pt x="1242" y="325"/>
                  </a:lnTo>
                  <a:lnTo>
                    <a:pt x="1242" y="349"/>
                  </a:lnTo>
                  <a:lnTo>
                    <a:pt x="1231" y="382"/>
                  </a:lnTo>
                  <a:lnTo>
                    <a:pt x="1219" y="453"/>
                  </a:lnTo>
                  <a:lnTo>
                    <a:pt x="1219" y="486"/>
                  </a:lnTo>
                  <a:lnTo>
                    <a:pt x="1198" y="505"/>
                  </a:lnTo>
                  <a:lnTo>
                    <a:pt x="1188" y="526"/>
                  </a:lnTo>
                  <a:lnTo>
                    <a:pt x="1188" y="548"/>
                  </a:lnTo>
                  <a:lnTo>
                    <a:pt x="1167" y="559"/>
                  </a:lnTo>
                  <a:lnTo>
                    <a:pt x="1176" y="581"/>
                  </a:lnTo>
                  <a:lnTo>
                    <a:pt x="1181" y="588"/>
                  </a:lnTo>
                  <a:lnTo>
                    <a:pt x="1181" y="588"/>
                  </a:lnTo>
                  <a:lnTo>
                    <a:pt x="1198" y="604"/>
                  </a:lnTo>
                  <a:lnTo>
                    <a:pt x="1198" y="670"/>
                  </a:lnTo>
                  <a:lnTo>
                    <a:pt x="1205" y="682"/>
                  </a:lnTo>
                  <a:lnTo>
                    <a:pt x="1205" y="708"/>
                  </a:lnTo>
                  <a:lnTo>
                    <a:pt x="1205" y="748"/>
                  </a:lnTo>
                  <a:lnTo>
                    <a:pt x="1219" y="803"/>
                  </a:lnTo>
                  <a:lnTo>
                    <a:pt x="1214" y="819"/>
                  </a:lnTo>
                  <a:lnTo>
                    <a:pt x="1219" y="843"/>
                  </a:lnTo>
                  <a:lnTo>
                    <a:pt x="1231" y="864"/>
                  </a:lnTo>
                  <a:lnTo>
                    <a:pt x="1252" y="881"/>
                  </a:lnTo>
                  <a:lnTo>
                    <a:pt x="1273" y="904"/>
                  </a:lnTo>
                  <a:lnTo>
                    <a:pt x="1306" y="975"/>
                  </a:lnTo>
                  <a:lnTo>
                    <a:pt x="1176" y="1003"/>
                  </a:lnTo>
                  <a:lnTo>
                    <a:pt x="1176" y="1015"/>
                  </a:lnTo>
                  <a:lnTo>
                    <a:pt x="1167" y="1025"/>
                  </a:lnTo>
                  <a:lnTo>
                    <a:pt x="1134" y="1058"/>
                  </a:lnTo>
                  <a:lnTo>
                    <a:pt x="1143" y="1065"/>
                  </a:lnTo>
                  <a:lnTo>
                    <a:pt x="1160" y="1098"/>
                  </a:lnTo>
                  <a:lnTo>
                    <a:pt x="1150" y="1126"/>
                  </a:lnTo>
                  <a:lnTo>
                    <a:pt x="1160" y="1159"/>
                  </a:lnTo>
                  <a:lnTo>
                    <a:pt x="1150" y="1176"/>
                  </a:lnTo>
                  <a:lnTo>
                    <a:pt x="1134" y="1225"/>
                  </a:lnTo>
                  <a:lnTo>
                    <a:pt x="1143" y="1247"/>
                  </a:lnTo>
                  <a:lnTo>
                    <a:pt x="1167" y="1263"/>
                  </a:lnTo>
                  <a:lnTo>
                    <a:pt x="1181" y="1287"/>
                  </a:lnTo>
                  <a:lnTo>
                    <a:pt x="1198" y="1287"/>
                  </a:lnTo>
                  <a:lnTo>
                    <a:pt x="1214" y="1287"/>
                  </a:lnTo>
                  <a:lnTo>
                    <a:pt x="1214" y="1270"/>
                  </a:lnTo>
                  <a:lnTo>
                    <a:pt x="1235" y="1270"/>
                  </a:lnTo>
                  <a:lnTo>
                    <a:pt x="1235" y="1365"/>
                  </a:lnTo>
                  <a:lnTo>
                    <a:pt x="1219" y="1358"/>
                  </a:lnTo>
                  <a:lnTo>
                    <a:pt x="1231" y="1346"/>
                  </a:lnTo>
                  <a:lnTo>
                    <a:pt x="1219" y="1346"/>
                  </a:lnTo>
                  <a:lnTo>
                    <a:pt x="1188" y="1358"/>
                  </a:lnTo>
                  <a:lnTo>
                    <a:pt x="1181" y="1358"/>
                  </a:lnTo>
                  <a:lnTo>
                    <a:pt x="1160" y="1325"/>
                  </a:lnTo>
                  <a:lnTo>
                    <a:pt x="1150" y="1320"/>
                  </a:lnTo>
                  <a:lnTo>
                    <a:pt x="1143" y="1292"/>
                  </a:lnTo>
                  <a:lnTo>
                    <a:pt x="1096" y="1280"/>
                  </a:lnTo>
                  <a:lnTo>
                    <a:pt x="1079" y="1280"/>
                  </a:lnTo>
                  <a:lnTo>
                    <a:pt x="1075" y="1254"/>
                  </a:lnTo>
                  <a:lnTo>
                    <a:pt x="1058" y="1237"/>
                  </a:lnTo>
                  <a:lnTo>
                    <a:pt x="1053" y="1225"/>
                  </a:lnTo>
                  <a:lnTo>
                    <a:pt x="1042" y="1230"/>
                  </a:lnTo>
                  <a:lnTo>
                    <a:pt x="1037" y="1247"/>
                  </a:lnTo>
                  <a:lnTo>
                    <a:pt x="1025" y="1254"/>
                  </a:lnTo>
                  <a:lnTo>
                    <a:pt x="966" y="1247"/>
                  </a:lnTo>
                  <a:lnTo>
                    <a:pt x="928" y="1230"/>
                  </a:lnTo>
                  <a:lnTo>
                    <a:pt x="919" y="1209"/>
                  </a:lnTo>
                  <a:lnTo>
                    <a:pt x="919" y="1197"/>
                  </a:lnTo>
                  <a:lnTo>
                    <a:pt x="881" y="1209"/>
                  </a:lnTo>
                  <a:lnTo>
                    <a:pt x="857" y="1214"/>
                  </a:lnTo>
                  <a:lnTo>
                    <a:pt x="853" y="1209"/>
                  </a:lnTo>
                  <a:lnTo>
                    <a:pt x="857" y="1192"/>
                  </a:lnTo>
                  <a:lnTo>
                    <a:pt x="827" y="1176"/>
                  </a:lnTo>
                  <a:lnTo>
                    <a:pt x="820" y="1181"/>
                  </a:lnTo>
                  <a:lnTo>
                    <a:pt x="789" y="1181"/>
                  </a:lnTo>
                  <a:lnTo>
                    <a:pt x="768" y="1192"/>
                  </a:lnTo>
                  <a:lnTo>
                    <a:pt x="730" y="1181"/>
                  </a:lnTo>
                  <a:lnTo>
                    <a:pt x="702" y="1197"/>
                  </a:lnTo>
                  <a:lnTo>
                    <a:pt x="702" y="1176"/>
                  </a:lnTo>
                  <a:lnTo>
                    <a:pt x="713" y="1169"/>
                  </a:lnTo>
                  <a:lnTo>
                    <a:pt x="713" y="1136"/>
                  </a:lnTo>
                  <a:lnTo>
                    <a:pt x="697" y="1103"/>
                  </a:lnTo>
                  <a:lnTo>
                    <a:pt x="680" y="1086"/>
                  </a:lnTo>
                  <a:lnTo>
                    <a:pt x="676" y="1065"/>
                  </a:lnTo>
                  <a:lnTo>
                    <a:pt x="680" y="1003"/>
                  </a:lnTo>
                  <a:lnTo>
                    <a:pt x="676" y="959"/>
                  </a:lnTo>
                  <a:lnTo>
                    <a:pt x="680" y="930"/>
                  </a:lnTo>
                  <a:lnTo>
                    <a:pt x="676" y="914"/>
                  </a:lnTo>
                  <a:lnTo>
                    <a:pt x="588" y="914"/>
                  </a:lnTo>
                  <a:lnTo>
                    <a:pt x="595" y="892"/>
                  </a:lnTo>
                  <a:lnTo>
                    <a:pt x="572" y="892"/>
                  </a:lnTo>
                  <a:lnTo>
                    <a:pt x="572" y="892"/>
                  </a:lnTo>
                  <a:lnTo>
                    <a:pt x="520" y="892"/>
                  </a:lnTo>
                  <a:lnTo>
                    <a:pt x="520" y="930"/>
                  </a:lnTo>
                  <a:lnTo>
                    <a:pt x="503" y="937"/>
                  </a:lnTo>
                  <a:lnTo>
                    <a:pt x="503" y="959"/>
                  </a:lnTo>
                  <a:lnTo>
                    <a:pt x="444" y="959"/>
                  </a:lnTo>
                  <a:lnTo>
                    <a:pt x="444" y="959"/>
                  </a:lnTo>
                  <a:lnTo>
                    <a:pt x="416" y="970"/>
                  </a:lnTo>
                  <a:lnTo>
                    <a:pt x="416" y="970"/>
                  </a:lnTo>
                  <a:lnTo>
                    <a:pt x="406" y="970"/>
                  </a:lnTo>
                  <a:lnTo>
                    <a:pt x="378" y="970"/>
                  </a:lnTo>
                  <a:lnTo>
                    <a:pt x="335" y="904"/>
                  </a:lnTo>
                  <a:lnTo>
                    <a:pt x="335" y="892"/>
                  </a:lnTo>
                  <a:lnTo>
                    <a:pt x="319" y="848"/>
                  </a:lnTo>
                  <a:lnTo>
                    <a:pt x="319" y="836"/>
                  </a:lnTo>
                  <a:lnTo>
                    <a:pt x="307" y="819"/>
                  </a:lnTo>
                  <a:lnTo>
                    <a:pt x="272" y="810"/>
                  </a:lnTo>
                  <a:lnTo>
                    <a:pt x="272" y="810"/>
                  </a:lnTo>
                  <a:lnTo>
                    <a:pt x="272" y="810"/>
                  </a:lnTo>
                  <a:close/>
                  <a:moveTo>
                    <a:pt x="38" y="819"/>
                  </a:moveTo>
                  <a:lnTo>
                    <a:pt x="50" y="810"/>
                  </a:lnTo>
                  <a:lnTo>
                    <a:pt x="54" y="810"/>
                  </a:lnTo>
                  <a:lnTo>
                    <a:pt x="38" y="819"/>
                  </a:lnTo>
                  <a:lnTo>
                    <a:pt x="38" y="819"/>
                  </a:lnTo>
                  <a:lnTo>
                    <a:pt x="38" y="81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1" name="Freeform 416">
              <a:extLst>
                <a:ext uri="{FF2B5EF4-FFF2-40B4-BE49-F238E27FC236}">
                  <a16:creationId xmlns:a16="http://schemas.microsoft.com/office/drawing/2014/main" id="{1BDD4188-8064-4009-B1AC-C496914F0F01}"/>
                </a:ext>
              </a:extLst>
            </p:cNvPr>
            <p:cNvSpPr>
              <a:spLocks/>
            </p:cNvSpPr>
            <p:nvPr/>
          </p:nvSpPr>
          <p:spPr bwMode="gray">
            <a:xfrm>
              <a:off x="6971179" y="3675578"/>
              <a:ext cx="221890" cy="342548"/>
            </a:xfrm>
            <a:custGeom>
              <a:avLst/>
              <a:gdLst>
                <a:gd name="T0" fmla="*/ 21 w 539"/>
                <a:gd name="T1" fmla="*/ 572 h 832"/>
                <a:gd name="T2" fmla="*/ 26 w 539"/>
                <a:gd name="T3" fmla="*/ 522 h 832"/>
                <a:gd name="T4" fmla="*/ 80 w 539"/>
                <a:gd name="T5" fmla="*/ 477 h 832"/>
                <a:gd name="T6" fmla="*/ 97 w 539"/>
                <a:gd name="T7" fmla="*/ 461 h 832"/>
                <a:gd name="T8" fmla="*/ 123 w 539"/>
                <a:gd name="T9" fmla="*/ 449 h 832"/>
                <a:gd name="T10" fmla="*/ 144 w 539"/>
                <a:gd name="T11" fmla="*/ 437 h 832"/>
                <a:gd name="T12" fmla="*/ 182 w 539"/>
                <a:gd name="T13" fmla="*/ 482 h 832"/>
                <a:gd name="T14" fmla="*/ 215 w 539"/>
                <a:gd name="T15" fmla="*/ 465 h 832"/>
                <a:gd name="T16" fmla="*/ 236 w 539"/>
                <a:gd name="T17" fmla="*/ 437 h 832"/>
                <a:gd name="T18" fmla="*/ 232 w 539"/>
                <a:gd name="T19" fmla="*/ 421 h 832"/>
                <a:gd name="T20" fmla="*/ 243 w 539"/>
                <a:gd name="T21" fmla="*/ 387 h 832"/>
                <a:gd name="T22" fmla="*/ 258 w 539"/>
                <a:gd name="T23" fmla="*/ 338 h 832"/>
                <a:gd name="T24" fmla="*/ 274 w 539"/>
                <a:gd name="T25" fmla="*/ 326 h 832"/>
                <a:gd name="T26" fmla="*/ 295 w 539"/>
                <a:gd name="T27" fmla="*/ 317 h 832"/>
                <a:gd name="T28" fmla="*/ 328 w 539"/>
                <a:gd name="T29" fmla="*/ 255 h 832"/>
                <a:gd name="T30" fmla="*/ 345 w 539"/>
                <a:gd name="T31" fmla="*/ 215 h 832"/>
                <a:gd name="T32" fmla="*/ 366 w 539"/>
                <a:gd name="T33" fmla="*/ 149 h 832"/>
                <a:gd name="T34" fmla="*/ 399 w 539"/>
                <a:gd name="T35" fmla="*/ 132 h 832"/>
                <a:gd name="T36" fmla="*/ 432 w 539"/>
                <a:gd name="T37" fmla="*/ 95 h 832"/>
                <a:gd name="T38" fmla="*/ 421 w 539"/>
                <a:gd name="T39" fmla="*/ 54 h 832"/>
                <a:gd name="T40" fmla="*/ 395 w 539"/>
                <a:gd name="T41" fmla="*/ 0 h 832"/>
                <a:gd name="T42" fmla="*/ 421 w 539"/>
                <a:gd name="T43" fmla="*/ 21 h 832"/>
                <a:gd name="T44" fmla="*/ 449 w 539"/>
                <a:gd name="T45" fmla="*/ 71 h 832"/>
                <a:gd name="T46" fmla="*/ 458 w 539"/>
                <a:gd name="T47" fmla="*/ 116 h 832"/>
                <a:gd name="T48" fmla="*/ 458 w 539"/>
                <a:gd name="T49" fmla="*/ 165 h 832"/>
                <a:gd name="T50" fmla="*/ 508 w 539"/>
                <a:gd name="T51" fmla="*/ 227 h 832"/>
                <a:gd name="T52" fmla="*/ 399 w 539"/>
                <a:gd name="T53" fmla="*/ 227 h 832"/>
                <a:gd name="T54" fmla="*/ 404 w 539"/>
                <a:gd name="T55" fmla="*/ 281 h 832"/>
                <a:gd name="T56" fmla="*/ 491 w 539"/>
                <a:gd name="T57" fmla="*/ 383 h 832"/>
                <a:gd name="T58" fmla="*/ 491 w 539"/>
                <a:gd name="T59" fmla="*/ 404 h 832"/>
                <a:gd name="T60" fmla="*/ 449 w 539"/>
                <a:gd name="T61" fmla="*/ 494 h 832"/>
                <a:gd name="T62" fmla="*/ 421 w 539"/>
                <a:gd name="T63" fmla="*/ 522 h 832"/>
                <a:gd name="T64" fmla="*/ 432 w 539"/>
                <a:gd name="T65" fmla="*/ 548 h 832"/>
                <a:gd name="T66" fmla="*/ 432 w 539"/>
                <a:gd name="T67" fmla="*/ 572 h 832"/>
                <a:gd name="T68" fmla="*/ 458 w 539"/>
                <a:gd name="T69" fmla="*/ 631 h 832"/>
                <a:gd name="T70" fmla="*/ 458 w 539"/>
                <a:gd name="T71" fmla="*/ 659 h 832"/>
                <a:gd name="T72" fmla="*/ 529 w 539"/>
                <a:gd name="T73" fmla="*/ 737 h 832"/>
                <a:gd name="T74" fmla="*/ 539 w 539"/>
                <a:gd name="T75" fmla="*/ 782 h 832"/>
                <a:gd name="T76" fmla="*/ 539 w 539"/>
                <a:gd name="T77" fmla="*/ 827 h 832"/>
                <a:gd name="T78" fmla="*/ 508 w 539"/>
                <a:gd name="T79" fmla="*/ 810 h 832"/>
                <a:gd name="T80" fmla="*/ 421 w 539"/>
                <a:gd name="T81" fmla="*/ 794 h 832"/>
                <a:gd name="T82" fmla="*/ 328 w 539"/>
                <a:gd name="T83" fmla="*/ 782 h 832"/>
                <a:gd name="T84" fmla="*/ 269 w 539"/>
                <a:gd name="T85" fmla="*/ 782 h 832"/>
                <a:gd name="T86" fmla="*/ 199 w 539"/>
                <a:gd name="T87" fmla="*/ 794 h 832"/>
                <a:gd name="T88" fmla="*/ 90 w 539"/>
                <a:gd name="T89" fmla="*/ 777 h 832"/>
                <a:gd name="T90" fmla="*/ 97 w 539"/>
                <a:gd name="T91" fmla="*/ 716 h 832"/>
                <a:gd name="T92" fmla="*/ 90 w 539"/>
                <a:gd name="T93" fmla="*/ 687 h 832"/>
                <a:gd name="T94" fmla="*/ 76 w 539"/>
                <a:gd name="T95" fmla="*/ 671 h 832"/>
                <a:gd name="T96" fmla="*/ 69 w 539"/>
                <a:gd name="T97" fmla="*/ 650 h 832"/>
                <a:gd name="T98" fmla="*/ 69 w 539"/>
                <a:gd name="T99" fmla="*/ 666 h 832"/>
                <a:gd name="T100" fmla="*/ 26 w 539"/>
                <a:gd name="T101" fmla="*/ 614 h 832"/>
                <a:gd name="T102" fmla="*/ 26 w 539"/>
                <a:gd name="T103" fmla="*/ 614 h 832"/>
                <a:gd name="T104" fmla="*/ 14 w 539"/>
                <a:gd name="T105" fmla="*/ 626 h 832"/>
                <a:gd name="T106" fmla="*/ 5 w 539"/>
                <a:gd name="T107" fmla="*/ 605 h 832"/>
                <a:gd name="T108" fmla="*/ 5 w 539"/>
                <a:gd name="T109" fmla="*/ 605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9" h="832">
                  <a:moveTo>
                    <a:pt x="5" y="605"/>
                  </a:moveTo>
                  <a:lnTo>
                    <a:pt x="21" y="572"/>
                  </a:lnTo>
                  <a:lnTo>
                    <a:pt x="26" y="548"/>
                  </a:lnTo>
                  <a:lnTo>
                    <a:pt x="26" y="522"/>
                  </a:lnTo>
                  <a:lnTo>
                    <a:pt x="59" y="494"/>
                  </a:lnTo>
                  <a:lnTo>
                    <a:pt x="80" y="477"/>
                  </a:lnTo>
                  <a:lnTo>
                    <a:pt x="90" y="461"/>
                  </a:lnTo>
                  <a:lnTo>
                    <a:pt x="97" y="461"/>
                  </a:lnTo>
                  <a:lnTo>
                    <a:pt x="113" y="444"/>
                  </a:lnTo>
                  <a:lnTo>
                    <a:pt x="123" y="449"/>
                  </a:lnTo>
                  <a:lnTo>
                    <a:pt x="144" y="449"/>
                  </a:lnTo>
                  <a:lnTo>
                    <a:pt x="144" y="437"/>
                  </a:lnTo>
                  <a:lnTo>
                    <a:pt x="182" y="461"/>
                  </a:lnTo>
                  <a:lnTo>
                    <a:pt x="182" y="482"/>
                  </a:lnTo>
                  <a:lnTo>
                    <a:pt x="199" y="482"/>
                  </a:lnTo>
                  <a:lnTo>
                    <a:pt x="215" y="465"/>
                  </a:lnTo>
                  <a:lnTo>
                    <a:pt x="215" y="449"/>
                  </a:lnTo>
                  <a:lnTo>
                    <a:pt x="236" y="437"/>
                  </a:lnTo>
                  <a:lnTo>
                    <a:pt x="232" y="421"/>
                  </a:lnTo>
                  <a:lnTo>
                    <a:pt x="232" y="421"/>
                  </a:lnTo>
                  <a:lnTo>
                    <a:pt x="243" y="404"/>
                  </a:lnTo>
                  <a:lnTo>
                    <a:pt x="243" y="387"/>
                  </a:lnTo>
                  <a:lnTo>
                    <a:pt x="258" y="371"/>
                  </a:lnTo>
                  <a:lnTo>
                    <a:pt x="258" y="338"/>
                  </a:lnTo>
                  <a:lnTo>
                    <a:pt x="274" y="333"/>
                  </a:lnTo>
                  <a:lnTo>
                    <a:pt x="274" y="326"/>
                  </a:lnTo>
                  <a:lnTo>
                    <a:pt x="291" y="326"/>
                  </a:lnTo>
                  <a:lnTo>
                    <a:pt x="295" y="317"/>
                  </a:lnTo>
                  <a:lnTo>
                    <a:pt x="307" y="272"/>
                  </a:lnTo>
                  <a:lnTo>
                    <a:pt x="328" y="255"/>
                  </a:lnTo>
                  <a:lnTo>
                    <a:pt x="340" y="222"/>
                  </a:lnTo>
                  <a:lnTo>
                    <a:pt x="345" y="215"/>
                  </a:lnTo>
                  <a:lnTo>
                    <a:pt x="350" y="182"/>
                  </a:lnTo>
                  <a:lnTo>
                    <a:pt x="366" y="149"/>
                  </a:lnTo>
                  <a:lnTo>
                    <a:pt x="383" y="132"/>
                  </a:lnTo>
                  <a:lnTo>
                    <a:pt x="399" y="132"/>
                  </a:lnTo>
                  <a:lnTo>
                    <a:pt x="432" y="111"/>
                  </a:lnTo>
                  <a:lnTo>
                    <a:pt x="432" y="95"/>
                  </a:lnTo>
                  <a:lnTo>
                    <a:pt x="432" y="59"/>
                  </a:lnTo>
                  <a:lnTo>
                    <a:pt x="421" y="54"/>
                  </a:lnTo>
                  <a:lnTo>
                    <a:pt x="399" y="50"/>
                  </a:lnTo>
                  <a:lnTo>
                    <a:pt x="395" y="0"/>
                  </a:lnTo>
                  <a:lnTo>
                    <a:pt x="416" y="0"/>
                  </a:lnTo>
                  <a:lnTo>
                    <a:pt x="421" y="21"/>
                  </a:lnTo>
                  <a:lnTo>
                    <a:pt x="449" y="33"/>
                  </a:lnTo>
                  <a:lnTo>
                    <a:pt x="449" y="71"/>
                  </a:lnTo>
                  <a:lnTo>
                    <a:pt x="458" y="71"/>
                  </a:lnTo>
                  <a:lnTo>
                    <a:pt x="458" y="116"/>
                  </a:lnTo>
                  <a:lnTo>
                    <a:pt x="458" y="132"/>
                  </a:lnTo>
                  <a:lnTo>
                    <a:pt x="458" y="165"/>
                  </a:lnTo>
                  <a:lnTo>
                    <a:pt x="487" y="206"/>
                  </a:lnTo>
                  <a:lnTo>
                    <a:pt x="508" y="227"/>
                  </a:lnTo>
                  <a:lnTo>
                    <a:pt x="437" y="227"/>
                  </a:lnTo>
                  <a:lnTo>
                    <a:pt x="399" y="227"/>
                  </a:lnTo>
                  <a:lnTo>
                    <a:pt x="383" y="255"/>
                  </a:lnTo>
                  <a:lnTo>
                    <a:pt x="404" y="281"/>
                  </a:lnTo>
                  <a:lnTo>
                    <a:pt x="470" y="333"/>
                  </a:lnTo>
                  <a:lnTo>
                    <a:pt x="491" y="383"/>
                  </a:lnTo>
                  <a:lnTo>
                    <a:pt x="501" y="387"/>
                  </a:lnTo>
                  <a:lnTo>
                    <a:pt x="491" y="404"/>
                  </a:lnTo>
                  <a:lnTo>
                    <a:pt x="470" y="428"/>
                  </a:lnTo>
                  <a:lnTo>
                    <a:pt x="449" y="494"/>
                  </a:lnTo>
                  <a:lnTo>
                    <a:pt x="416" y="515"/>
                  </a:lnTo>
                  <a:lnTo>
                    <a:pt x="421" y="522"/>
                  </a:lnTo>
                  <a:lnTo>
                    <a:pt x="432" y="522"/>
                  </a:lnTo>
                  <a:lnTo>
                    <a:pt x="432" y="548"/>
                  </a:lnTo>
                  <a:lnTo>
                    <a:pt x="421" y="560"/>
                  </a:lnTo>
                  <a:lnTo>
                    <a:pt x="432" y="572"/>
                  </a:lnTo>
                  <a:lnTo>
                    <a:pt x="437" y="614"/>
                  </a:lnTo>
                  <a:lnTo>
                    <a:pt x="458" y="631"/>
                  </a:lnTo>
                  <a:lnTo>
                    <a:pt x="470" y="659"/>
                  </a:lnTo>
                  <a:lnTo>
                    <a:pt x="458" y="659"/>
                  </a:lnTo>
                  <a:lnTo>
                    <a:pt x="475" y="683"/>
                  </a:lnTo>
                  <a:lnTo>
                    <a:pt x="529" y="737"/>
                  </a:lnTo>
                  <a:lnTo>
                    <a:pt x="529" y="770"/>
                  </a:lnTo>
                  <a:lnTo>
                    <a:pt x="539" y="782"/>
                  </a:lnTo>
                  <a:lnTo>
                    <a:pt x="529" y="794"/>
                  </a:lnTo>
                  <a:lnTo>
                    <a:pt x="539" y="827"/>
                  </a:lnTo>
                  <a:lnTo>
                    <a:pt x="529" y="832"/>
                  </a:lnTo>
                  <a:lnTo>
                    <a:pt x="508" y="810"/>
                  </a:lnTo>
                  <a:lnTo>
                    <a:pt x="449" y="798"/>
                  </a:lnTo>
                  <a:lnTo>
                    <a:pt x="421" y="794"/>
                  </a:lnTo>
                  <a:lnTo>
                    <a:pt x="340" y="794"/>
                  </a:lnTo>
                  <a:lnTo>
                    <a:pt x="328" y="782"/>
                  </a:lnTo>
                  <a:lnTo>
                    <a:pt x="295" y="782"/>
                  </a:lnTo>
                  <a:lnTo>
                    <a:pt x="269" y="782"/>
                  </a:lnTo>
                  <a:lnTo>
                    <a:pt x="199" y="782"/>
                  </a:lnTo>
                  <a:lnTo>
                    <a:pt x="199" y="794"/>
                  </a:lnTo>
                  <a:lnTo>
                    <a:pt x="106" y="794"/>
                  </a:lnTo>
                  <a:lnTo>
                    <a:pt x="90" y="777"/>
                  </a:lnTo>
                  <a:lnTo>
                    <a:pt x="106" y="725"/>
                  </a:lnTo>
                  <a:lnTo>
                    <a:pt x="97" y="716"/>
                  </a:lnTo>
                  <a:lnTo>
                    <a:pt x="80" y="687"/>
                  </a:lnTo>
                  <a:lnTo>
                    <a:pt x="90" y="687"/>
                  </a:lnTo>
                  <a:lnTo>
                    <a:pt x="80" y="687"/>
                  </a:lnTo>
                  <a:lnTo>
                    <a:pt x="76" y="671"/>
                  </a:lnTo>
                  <a:lnTo>
                    <a:pt x="80" y="666"/>
                  </a:lnTo>
                  <a:lnTo>
                    <a:pt x="69" y="650"/>
                  </a:lnTo>
                  <a:lnTo>
                    <a:pt x="76" y="659"/>
                  </a:lnTo>
                  <a:lnTo>
                    <a:pt x="69" y="666"/>
                  </a:lnTo>
                  <a:lnTo>
                    <a:pt x="38" y="650"/>
                  </a:lnTo>
                  <a:lnTo>
                    <a:pt x="26" y="614"/>
                  </a:lnTo>
                  <a:lnTo>
                    <a:pt x="21" y="609"/>
                  </a:lnTo>
                  <a:lnTo>
                    <a:pt x="26" y="614"/>
                  </a:lnTo>
                  <a:lnTo>
                    <a:pt x="14" y="609"/>
                  </a:lnTo>
                  <a:lnTo>
                    <a:pt x="14" y="626"/>
                  </a:lnTo>
                  <a:lnTo>
                    <a:pt x="0" y="614"/>
                  </a:lnTo>
                  <a:lnTo>
                    <a:pt x="5" y="605"/>
                  </a:lnTo>
                  <a:lnTo>
                    <a:pt x="5" y="605"/>
                  </a:lnTo>
                  <a:lnTo>
                    <a:pt x="5" y="60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2" name="Freeform 417">
              <a:extLst>
                <a:ext uri="{FF2B5EF4-FFF2-40B4-BE49-F238E27FC236}">
                  <a16:creationId xmlns:a16="http://schemas.microsoft.com/office/drawing/2014/main" id="{F173EC95-7CBD-425B-8334-63B1D5C72A5A}"/>
                </a:ext>
              </a:extLst>
            </p:cNvPr>
            <p:cNvSpPr>
              <a:spLocks noEditPoints="1"/>
            </p:cNvSpPr>
            <p:nvPr/>
          </p:nvSpPr>
          <p:spPr bwMode="gray">
            <a:xfrm>
              <a:off x="7974008" y="4405140"/>
              <a:ext cx="37873" cy="30056"/>
            </a:xfrm>
            <a:custGeom>
              <a:avLst/>
              <a:gdLst>
                <a:gd name="T0" fmla="*/ 16 w 92"/>
                <a:gd name="T1" fmla="*/ 40 h 73"/>
                <a:gd name="T2" fmla="*/ 0 w 92"/>
                <a:gd name="T3" fmla="*/ 21 h 73"/>
                <a:gd name="T4" fmla="*/ 0 w 92"/>
                <a:gd name="T5" fmla="*/ 0 h 73"/>
                <a:gd name="T6" fmla="*/ 16 w 92"/>
                <a:gd name="T7" fmla="*/ 0 h 73"/>
                <a:gd name="T8" fmla="*/ 16 w 92"/>
                <a:gd name="T9" fmla="*/ 40 h 73"/>
                <a:gd name="T10" fmla="*/ 16 w 92"/>
                <a:gd name="T11" fmla="*/ 40 h 73"/>
                <a:gd name="T12" fmla="*/ 16 w 92"/>
                <a:gd name="T13" fmla="*/ 40 h 73"/>
                <a:gd name="T14" fmla="*/ 92 w 92"/>
                <a:gd name="T15" fmla="*/ 73 h 73"/>
                <a:gd name="T16" fmla="*/ 70 w 92"/>
                <a:gd name="T17" fmla="*/ 56 h 73"/>
                <a:gd name="T18" fmla="*/ 80 w 92"/>
                <a:gd name="T19" fmla="*/ 56 h 73"/>
                <a:gd name="T20" fmla="*/ 85 w 92"/>
                <a:gd name="T21" fmla="*/ 49 h 73"/>
                <a:gd name="T22" fmla="*/ 92 w 92"/>
                <a:gd name="T23" fmla="*/ 73 h 73"/>
                <a:gd name="T24" fmla="*/ 92 w 92"/>
                <a:gd name="T25" fmla="*/ 73 h 73"/>
                <a:gd name="T26" fmla="*/ 92 w 92"/>
                <a:gd name="T27" fmla="*/ 73 h 73"/>
                <a:gd name="T28" fmla="*/ 49 w 92"/>
                <a:gd name="T29" fmla="*/ 73 h 73"/>
                <a:gd name="T30" fmla="*/ 33 w 92"/>
                <a:gd name="T31" fmla="*/ 73 h 73"/>
                <a:gd name="T32" fmla="*/ 33 w 92"/>
                <a:gd name="T33" fmla="*/ 66 h 73"/>
                <a:gd name="T34" fmla="*/ 49 w 92"/>
                <a:gd name="T35" fmla="*/ 73 h 73"/>
                <a:gd name="T36" fmla="*/ 49 w 92"/>
                <a:gd name="T37" fmla="*/ 73 h 73"/>
                <a:gd name="T38" fmla="*/ 49 w 92"/>
                <a:gd name="T3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 h="73">
                  <a:moveTo>
                    <a:pt x="16" y="40"/>
                  </a:moveTo>
                  <a:lnTo>
                    <a:pt x="0" y="21"/>
                  </a:lnTo>
                  <a:lnTo>
                    <a:pt x="0" y="0"/>
                  </a:lnTo>
                  <a:lnTo>
                    <a:pt x="16" y="0"/>
                  </a:lnTo>
                  <a:lnTo>
                    <a:pt x="16" y="40"/>
                  </a:lnTo>
                  <a:lnTo>
                    <a:pt x="16" y="40"/>
                  </a:lnTo>
                  <a:lnTo>
                    <a:pt x="16" y="40"/>
                  </a:lnTo>
                  <a:close/>
                  <a:moveTo>
                    <a:pt x="92" y="73"/>
                  </a:moveTo>
                  <a:lnTo>
                    <a:pt x="70" y="56"/>
                  </a:lnTo>
                  <a:lnTo>
                    <a:pt x="80" y="56"/>
                  </a:lnTo>
                  <a:lnTo>
                    <a:pt x="85" y="49"/>
                  </a:lnTo>
                  <a:lnTo>
                    <a:pt x="92" y="73"/>
                  </a:lnTo>
                  <a:lnTo>
                    <a:pt x="92" y="73"/>
                  </a:lnTo>
                  <a:lnTo>
                    <a:pt x="92" y="73"/>
                  </a:lnTo>
                  <a:close/>
                  <a:moveTo>
                    <a:pt x="49" y="73"/>
                  </a:moveTo>
                  <a:lnTo>
                    <a:pt x="33" y="73"/>
                  </a:lnTo>
                  <a:lnTo>
                    <a:pt x="33" y="66"/>
                  </a:lnTo>
                  <a:lnTo>
                    <a:pt x="49" y="73"/>
                  </a:lnTo>
                  <a:lnTo>
                    <a:pt x="49" y="73"/>
                  </a:lnTo>
                  <a:lnTo>
                    <a:pt x="49" y="7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5" name="Freeform 421">
              <a:extLst>
                <a:ext uri="{FF2B5EF4-FFF2-40B4-BE49-F238E27FC236}">
                  <a16:creationId xmlns:a16="http://schemas.microsoft.com/office/drawing/2014/main" id="{1A2E8E60-9E70-4D2F-864B-C8BB25BE9DF1}"/>
                </a:ext>
              </a:extLst>
            </p:cNvPr>
            <p:cNvSpPr>
              <a:spLocks/>
            </p:cNvSpPr>
            <p:nvPr/>
          </p:nvSpPr>
          <p:spPr bwMode="gray">
            <a:xfrm>
              <a:off x="7142434" y="3736924"/>
              <a:ext cx="377090" cy="259793"/>
            </a:xfrm>
            <a:custGeom>
              <a:avLst/>
              <a:gdLst>
                <a:gd name="T0" fmla="*/ 416 w 916"/>
                <a:gd name="T1" fmla="*/ 453 h 631"/>
                <a:gd name="T2" fmla="*/ 345 w 916"/>
                <a:gd name="T3" fmla="*/ 427 h 631"/>
                <a:gd name="T4" fmla="*/ 302 w 916"/>
                <a:gd name="T5" fmla="*/ 482 h 631"/>
                <a:gd name="T6" fmla="*/ 302 w 916"/>
                <a:gd name="T7" fmla="*/ 510 h 631"/>
                <a:gd name="T8" fmla="*/ 286 w 916"/>
                <a:gd name="T9" fmla="*/ 531 h 631"/>
                <a:gd name="T10" fmla="*/ 260 w 916"/>
                <a:gd name="T11" fmla="*/ 536 h 631"/>
                <a:gd name="T12" fmla="*/ 236 w 916"/>
                <a:gd name="T13" fmla="*/ 536 h 631"/>
                <a:gd name="T14" fmla="*/ 205 w 916"/>
                <a:gd name="T15" fmla="*/ 536 h 631"/>
                <a:gd name="T16" fmla="*/ 144 w 916"/>
                <a:gd name="T17" fmla="*/ 572 h 631"/>
                <a:gd name="T18" fmla="*/ 123 w 916"/>
                <a:gd name="T19" fmla="*/ 631 h 631"/>
                <a:gd name="T20" fmla="*/ 113 w 916"/>
                <a:gd name="T21" fmla="*/ 588 h 631"/>
                <a:gd name="T22" fmla="*/ 42 w 916"/>
                <a:gd name="T23" fmla="*/ 510 h 631"/>
                <a:gd name="T24" fmla="*/ 42 w 916"/>
                <a:gd name="T25" fmla="*/ 482 h 631"/>
                <a:gd name="T26" fmla="*/ 16 w 916"/>
                <a:gd name="T27" fmla="*/ 420 h 631"/>
                <a:gd name="T28" fmla="*/ 16 w 916"/>
                <a:gd name="T29" fmla="*/ 399 h 631"/>
                <a:gd name="T30" fmla="*/ 5 w 916"/>
                <a:gd name="T31" fmla="*/ 371 h 631"/>
                <a:gd name="T32" fmla="*/ 31 w 916"/>
                <a:gd name="T33" fmla="*/ 342 h 631"/>
                <a:gd name="T34" fmla="*/ 75 w 916"/>
                <a:gd name="T35" fmla="*/ 255 h 631"/>
                <a:gd name="T36" fmla="*/ 139 w 916"/>
                <a:gd name="T37" fmla="*/ 243 h 631"/>
                <a:gd name="T38" fmla="*/ 151 w 916"/>
                <a:gd name="T39" fmla="*/ 238 h 631"/>
                <a:gd name="T40" fmla="*/ 220 w 916"/>
                <a:gd name="T41" fmla="*/ 222 h 631"/>
                <a:gd name="T42" fmla="*/ 328 w 916"/>
                <a:gd name="T43" fmla="*/ 177 h 631"/>
                <a:gd name="T44" fmla="*/ 323 w 916"/>
                <a:gd name="T45" fmla="*/ 149 h 631"/>
                <a:gd name="T46" fmla="*/ 394 w 916"/>
                <a:gd name="T47" fmla="*/ 132 h 631"/>
                <a:gd name="T48" fmla="*/ 425 w 916"/>
                <a:gd name="T49" fmla="*/ 127 h 631"/>
                <a:gd name="T50" fmla="*/ 479 w 916"/>
                <a:gd name="T51" fmla="*/ 78 h 631"/>
                <a:gd name="T52" fmla="*/ 501 w 916"/>
                <a:gd name="T53" fmla="*/ 66 h 631"/>
                <a:gd name="T54" fmla="*/ 508 w 916"/>
                <a:gd name="T55" fmla="*/ 33 h 631"/>
                <a:gd name="T56" fmla="*/ 593 w 916"/>
                <a:gd name="T57" fmla="*/ 12 h 631"/>
                <a:gd name="T58" fmla="*/ 647 w 916"/>
                <a:gd name="T59" fmla="*/ 90 h 631"/>
                <a:gd name="T60" fmla="*/ 642 w 916"/>
                <a:gd name="T61" fmla="*/ 132 h 631"/>
                <a:gd name="T62" fmla="*/ 642 w 916"/>
                <a:gd name="T63" fmla="*/ 149 h 631"/>
                <a:gd name="T64" fmla="*/ 685 w 916"/>
                <a:gd name="T65" fmla="*/ 168 h 631"/>
                <a:gd name="T66" fmla="*/ 685 w 916"/>
                <a:gd name="T67" fmla="*/ 184 h 631"/>
                <a:gd name="T68" fmla="*/ 723 w 916"/>
                <a:gd name="T69" fmla="*/ 205 h 631"/>
                <a:gd name="T70" fmla="*/ 760 w 916"/>
                <a:gd name="T71" fmla="*/ 234 h 631"/>
                <a:gd name="T72" fmla="*/ 756 w 916"/>
                <a:gd name="T73" fmla="*/ 255 h 631"/>
                <a:gd name="T74" fmla="*/ 810 w 916"/>
                <a:gd name="T75" fmla="*/ 293 h 631"/>
                <a:gd name="T76" fmla="*/ 841 w 916"/>
                <a:gd name="T77" fmla="*/ 316 h 631"/>
                <a:gd name="T78" fmla="*/ 848 w 916"/>
                <a:gd name="T79" fmla="*/ 349 h 631"/>
                <a:gd name="T80" fmla="*/ 869 w 916"/>
                <a:gd name="T81" fmla="*/ 366 h 631"/>
                <a:gd name="T82" fmla="*/ 902 w 916"/>
                <a:gd name="T83" fmla="*/ 399 h 631"/>
                <a:gd name="T84" fmla="*/ 916 w 916"/>
                <a:gd name="T85" fmla="*/ 437 h 631"/>
                <a:gd name="T86" fmla="*/ 869 w 916"/>
                <a:gd name="T87" fmla="*/ 437 h 631"/>
                <a:gd name="T88" fmla="*/ 848 w 916"/>
                <a:gd name="T89" fmla="*/ 437 h 631"/>
                <a:gd name="T90" fmla="*/ 810 w 916"/>
                <a:gd name="T91" fmla="*/ 420 h 631"/>
                <a:gd name="T92" fmla="*/ 772 w 916"/>
                <a:gd name="T93" fmla="*/ 411 h 631"/>
                <a:gd name="T94" fmla="*/ 723 w 916"/>
                <a:gd name="T95" fmla="*/ 444 h 631"/>
                <a:gd name="T96" fmla="*/ 701 w 916"/>
                <a:gd name="T97" fmla="*/ 437 h 631"/>
                <a:gd name="T98" fmla="*/ 631 w 916"/>
                <a:gd name="T99" fmla="*/ 465 h 631"/>
                <a:gd name="T100" fmla="*/ 576 w 916"/>
                <a:gd name="T101" fmla="*/ 477 h 631"/>
                <a:gd name="T102" fmla="*/ 572 w 916"/>
                <a:gd name="T103" fmla="*/ 494 h 631"/>
                <a:gd name="T104" fmla="*/ 517 w 916"/>
                <a:gd name="T105" fmla="*/ 494 h 631"/>
                <a:gd name="T106" fmla="*/ 463 w 916"/>
                <a:gd name="T107" fmla="*/ 477 h 631"/>
                <a:gd name="T108" fmla="*/ 425 w 916"/>
                <a:gd name="T109" fmla="*/ 465 h 631"/>
                <a:gd name="T110" fmla="*/ 425 w 916"/>
                <a:gd name="T111" fmla="*/ 465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16" h="631">
                  <a:moveTo>
                    <a:pt x="425" y="465"/>
                  </a:moveTo>
                  <a:lnTo>
                    <a:pt x="416" y="453"/>
                  </a:lnTo>
                  <a:lnTo>
                    <a:pt x="378" y="427"/>
                  </a:lnTo>
                  <a:lnTo>
                    <a:pt x="345" y="427"/>
                  </a:lnTo>
                  <a:lnTo>
                    <a:pt x="323" y="444"/>
                  </a:lnTo>
                  <a:lnTo>
                    <a:pt x="302" y="482"/>
                  </a:lnTo>
                  <a:lnTo>
                    <a:pt x="290" y="482"/>
                  </a:lnTo>
                  <a:lnTo>
                    <a:pt x="302" y="510"/>
                  </a:lnTo>
                  <a:lnTo>
                    <a:pt x="290" y="548"/>
                  </a:lnTo>
                  <a:lnTo>
                    <a:pt x="286" y="531"/>
                  </a:lnTo>
                  <a:lnTo>
                    <a:pt x="260" y="548"/>
                  </a:lnTo>
                  <a:lnTo>
                    <a:pt x="260" y="536"/>
                  </a:lnTo>
                  <a:lnTo>
                    <a:pt x="236" y="536"/>
                  </a:lnTo>
                  <a:lnTo>
                    <a:pt x="236" y="536"/>
                  </a:lnTo>
                  <a:lnTo>
                    <a:pt x="215" y="531"/>
                  </a:lnTo>
                  <a:lnTo>
                    <a:pt x="205" y="536"/>
                  </a:lnTo>
                  <a:lnTo>
                    <a:pt x="151" y="536"/>
                  </a:lnTo>
                  <a:lnTo>
                    <a:pt x="144" y="572"/>
                  </a:lnTo>
                  <a:lnTo>
                    <a:pt x="144" y="593"/>
                  </a:lnTo>
                  <a:lnTo>
                    <a:pt x="123" y="631"/>
                  </a:lnTo>
                  <a:lnTo>
                    <a:pt x="113" y="621"/>
                  </a:lnTo>
                  <a:lnTo>
                    <a:pt x="113" y="588"/>
                  </a:lnTo>
                  <a:lnTo>
                    <a:pt x="59" y="531"/>
                  </a:lnTo>
                  <a:lnTo>
                    <a:pt x="42" y="510"/>
                  </a:lnTo>
                  <a:lnTo>
                    <a:pt x="54" y="510"/>
                  </a:lnTo>
                  <a:lnTo>
                    <a:pt x="42" y="482"/>
                  </a:lnTo>
                  <a:lnTo>
                    <a:pt x="21" y="465"/>
                  </a:lnTo>
                  <a:lnTo>
                    <a:pt x="16" y="420"/>
                  </a:lnTo>
                  <a:lnTo>
                    <a:pt x="5" y="411"/>
                  </a:lnTo>
                  <a:lnTo>
                    <a:pt x="16" y="399"/>
                  </a:lnTo>
                  <a:lnTo>
                    <a:pt x="16" y="371"/>
                  </a:lnTo>
                  <a:lnTo>
                    <a:pt x="5" y="371"/>
                  </a:lnTo>
                  <a:lnTo>
                    <a:pt x="0" y="366"/>
                  </a:lnTo>
                  <a:lnTo>
                    <a:pt x="31" y="342"/>
                  </a:lnTo>
                  <a:lnTo>
                    <a:pt x="54" y="276"/>
                  </a:lnTo>
                  <a:lnTo>
                    <a:pt x="75" y="255"/>
                  </a:lnTo>
                  <a:lnTo>
                    <a:pt x="106" y="255"/>
                  </a:lnTo>
                  <a:lnTo>
                    <a:pt x="139" y="243"/>
                  </a:lnTo>
                  <a:lnTo>
                    <a:pt x="151" y="234"/>
                  </a:lnTo>
                  <a:lnTo>
                    <a:pt x="151" y="238"/>
                  </a:lnTo>
                  <a:lnTo>
                    <a:pt x="168" y="255"/>
                  </a:lnTo>
                  <a:lnTo>
                    <a:pt x="220" y="222"/>
                  </a:lnTo>
                  <a:lnTo>
                    <a:pt x="290" y="217"/>
                  </a:lnTo>
                  <a:lnTo>
                    <a:pt x="328" y="177"/>
                  </a:lnTo>
                  <a:lnTo>
                    <a:pt x="312" y="160"/>
                  </a:lnTo>
                  <a:lnTo>
                    <a:pt x="323" y="149"/>
                  </a:lnTo>
                  <a:lnTo>
                    <a:pt x="383" y="144"/>
                  </a:lnTo>
                  <a:lnTo>
                    <a:pt x="394" y="132"/>
                  </a:lnTo>
                  <a:lnTo>
                    <a:pt x="416" y="144"/>
                  </a:lnTo>
                  <a:lnTo>
                    <a:pt x="425" y="127"/>
                  </a:lnTo>
                  <a:lnTo>
                    <a:pt x="449" y="123"/>
                  </a:lnTo>
                  <a:lnTo>
                    <a:pt x="479" y="78"/>
                  </a:lnTo>
                  <a:lnTo>
                    <a:pt x="486" y="78"/>
                  </a:lnTo>
                  <a:lnTo>
                    <a:pt x="501" y="66"/>
                  </a:lnTo>
                  <a:lnTo>
                    <a:pt x="508" y="57"/>
                  </a:lnTo>
                  <a:lnTo>
                    <a:pt x="508" y="33"/>
                  </a:lnTo>
                  <a:lnTo>
                    <a:pt x="562" y="0"/>
                  </a:lnTo>
                  <a:lnTo>
                    <a:pt x="593" y="12"/>
                  </a:lnTo>
                  <a:lnTo>
                    <a:pt x="626" y="40"/>
                  </a:lnTo>
                  <a:lnTo>
                    <a:pt x="647" y="90"/>
                  </a:lnTo>
                  <a:lnTo>
                    <a:pt x="647" y="127"/>
                  </a:lnTo>
                  <a:lnTo>
                    <a:pt x="642" y="132"/>
                  </a:lnTo>
                  <a:lnTo>
                    <a:pt x="631" y="144"/>
                  </a:lnTo>
                  <a:lnTo>
                    <a:pt x="642" y="149"/>
                  </a:lnTo>
                  <a:lnTo>
                    <a:pt x="642" y="168"/>
                  </a:lnTo>
                  <a:lnTo>
                    <a:pt x="685" y="168"/>
                  </a:lnTo>
                  <a:lnTo>
                    <a:pt x="697" y="177"/>
                  </a:lnTo>
                  <a:lnTo>
                    <a:pt x="685" y="184"/>
                  </a:lnTo>
                  <a:lnTo>
                    <a:pt x="685" y="201"/>
                  </a:lnTo>
                  <a:lnTo>
                    <a:pt x="723" y="205"/>
                  </a:lnTo>
                  <a:lnTo>
                    <a:pt x="751" y="234"/>
                  </a:lnTo>
                  <a:lnTo>
                    <a:pt x="760" y="234"/>
                  </a:lnTo>
                  <a:lnTo>
                    <a:pt x="760" y="243"/>
                  </a:lnTo>
                  <a:lnTo>
                    <a:pt x="756" y="255"/>
                  </a:lnTo>
                  <a:lnTo>
                    <a:pt x="756" y="255"/>
                  </a:lnTo>
                  <a:lnTo>
                    <a:pt x="810" y="293"/>
                  </a:lnTo>
                  <a:lnTo>
                    <a:pt x="815" y="300"/>
                  </a:lnTo>
                  <a:lnTo>
                    <a:pt x="841" y="316"/>
                  </a:lnTo>
                  <a:lnTo>
                    <a:pt x="831" y="333"/>
                  </a:lnTo>
                  <a:lnTo>
                    <a:pt x="848" y="349"/>
                  </a:lnTo>
                  <a:lnTo>
                    <a:pt x="841" y="354"/>
                  </a:lnTo>
                  <a:lnTo>
                    <a:pt x="869" y="366"/>
                  </a:lnTo>
                  <a:lnTo>
                    <a:pt x="895" y="383"/>
                  </a:lnTo>
                  <a:lnTo>
                    <a:pt x="902" y="399"/>
                  </a:lnTo>
                  <a:lnTo>
                    <a:pt x="902" y="411"/>
                  </a:lnTo>
                  <a:lnTo>
                    <a:pt x="916" y="437"/>
                  </a:lnTo>
                  <a:lnTo>
                    <a:pt x="886" y="420"/>
                  </a:lnTo>
                  <a:lnTo>
                    <a:pt x="869" y="437"/>
                  </a:lnTo>
                  <a:lnTo>
                    <a:pt x="864" y="427"/>
                  </a:lnTo>
                  <a:lnTo>
                    <a:pt x="848" y="437"/>
                  </a:lnTo>
                  <a:lnTo>
                    <a:pt x="827" y="420"/>
                  </a:lnTo>
                  <a:lnTo>
                    <a:pt x="810" y="420"/>
                  </a:lnTo>
                  <a:lnTo>
                    <a:pt x="777" y="411"/>
                  </a:lnTo>
                  <a:lnTo>
                    <a:pt x="772" y="411"/>
                  </a:lnTo>
                  <a:lnTo>
                    <a:pt x="760" y="437"/>
                  </a:lnTo>
                  <a:lnTo>
                    <a:pt x="723" y="444"/>
                  </a:lnTo>
                  <a:lnTo>
                    <a:pt x="701" y="427"/>
                  </a:lnTo>
                  <a:lnTo>
                    <a:pt x="701" y="437"/>
                  </a:lnTo>
                  <a:lnTo>
                    <a:pt x="642" y="460"/>
                  </a:lnTo>
                  <a:lnTo>
                    <a:pt x="631" y="465"/>
                  </a:lnTo>
                  <a:lnTo>
                    <a:pt x="593" y="453"/>
                  </a:lnTo>
                  <a:lnTo>
                    <a:pt x="576" y="477"/>
                  </a:lnTo>
                  <a:lnTo>
                    <a:pt x="572" y="477"/>
                  </a:lnTo>
                  <a:lnTo>
                    <a:pt x="572" y="494"/>
                  </a:lnTo>
                  <a:lnTo>
                    <a:pt x="555" y="498"/>
                  </a:lnTo>
                  <a:lnTo>
                    <a:pt x="517" y="494"/>
                  </a:lnTo>
                  <a:lnTo>
                    <a:pt x="479" y="494"/>
                  </a:lnTo>
                  <a:lnTo>
                    <a:pt x="463" y="477"/>
                  </a:lnTo>
                  <a:lnTo>
                    <a:pt x="432" y="482"/>
                  </a:lnTo>
                  <a:lnTo>
                    <a:pt x="425" y="465"/>
                  </a:lnTo>
                  <a:lnTo>
                    <a:pt x="425" y="465"/>
                  </a:lnTo>
                  <a:lnTo>
                    <a:pt x="425" y="46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7" name="Freeform 423">
              <a:extLst>
                <a:ext uri="{FF2B5EF4-FFF2-40B4-BE49-F238E27FC236}">
                  <a16:creationId xmlns:a16="http://schemas.microsoft.com/office/drawing/2014/main" id="{740ABA8C-523A-4B42-BED9-FD8C7E506825}"/>
                </a:ext>
              </a:extLst>
            </p:cNvPr>
            <p:cNvSpPr>
              <a:spLocks noEditPoints="1"/>
            </p:cNvSpPr>
            <p:nvPr/>
          </p:nvSpPr>
          <p:spPr bwMode="gray">
            <a:xfrm>
              <a:off x="5995933" y="3551240"/>
              <a:ext cx="75748" cy="70815"/>
            </a:xfrm>
            <a:custGeom>
              <a:avLst/>
              <a:gdLst>
                <a:gd name="T0" fmla="*/ 0 w 184"/>
                <a:gd name="T1" fmla="*/ 19 h 172"/>
                <a:gd name="T2" fmla="*/ 0 w 184"/>
                <a:gd name="T3" fmla="*/ 7 h 172"/>
                <a:gd name="T4" fmla="*/ 16 w 184"/>
                <a:gd name="T5" fmla="*/ 0 h 172"/>
                <a:gd name="T6" fmla="*/ 21 w 184"/>
                <a:gd name="T7" fmla="*/ 7 h 172"/>
                <a:gd name="T8" fmla="*/ 0 w 184"/>
                <a:gd name="T9" fmla="*/ 19 h 172"/>
                <a:gd name="T10" fmla="*/ 0 w 184"/>
                <a:gd name="T11" fmla="*/ 19 h 172"/>
                <a:gd name="T12" fmla="*/ 0 w 184"/>
                <a:gd name="T13" fmla="*/ 19 h 172"/>
                <a:gd name="T14" fmla="*/ 21 w 184"/>
                <a:gd name="T15" fmla="*/ 28 h 172"/>
                <a:gd name="T16" fmla="*/ 16 w 184"/>
                <a:gd name="T17" fmla="*/ 23 h 172"/>
                <a:gd name="T18" fmla="*/ 21 w 184"/>
                <a:gd name="T19" fmla="*/ 19 h 172"/>
                <a:gd name="T20" fmla="*/ 33 w 184"/>
                <a:gd name="T21" fmla="*/ 23 h 172"/>
                <a:gd name="T22" fmla="*/ 21 w 184"/>
                <a:gd name="T23" fmla="*/ 28 h 172"/>
                <a:gd name="T24" fmla="*/ 21 w 184"/>
                <a:gd name="T25" fmla="*/ 28 h 172"/>
                <a:gd name="T26" fmla="*/ 21 w 184"/>
                <a:gd name="T27" fmla="*/ 28 h 172"/>
                <a:gd name="T28" fmla="*/ 71 w 184"/>
                <a:gd name="T29" fmla="*/ 45 h 172"/>
                <a:gd name="T30" fmla="*/ 59 w 184"/>
                <a:gd name="T31" fmla="*/ 40 h 172"/>
                <a:gd name="T32" fmla="*/ 92 w 184"/>
                <a:gd name="T33" fmla="*/ 45 h 172"/>
                <a:gd name="T34" fmla="*/ 71 w 184"/>
                <a:gd name="T35" fmla="*/ 40 h 172"/>
                <a:gd name="T36" fmla="*/ 71 w 184"/>
                <a:gd name="T37" fmla="*/ 45 h 172"/>
                <a:gd name="T38" fmla="*/ 71 w 184"/>
                <a:gd name="T39" fmla="*/ 45 h 172"/>
                <a:gd name="T40" fmla="*/ 71 w 184"/>
                <a:gd name="T41" fmla="*/ 45 h 172"/>
                <a:gd name="T42" fmla="*/ 179 w 184"/>
                <a:gd name="T43" fmla="*/ 85 h 172"/>
                <a:gd name="T44" fmla="*/ 163 w 184"/>
                <a:gd name="T45" fmla="*/ 85 h 172"/>
                <a:gd name="T46" fmla="*/ 179 w 184"/>
                <a:gd name="T47" fmla="*/ 73 h 172"/>
                <a:gd name="T48" fmla="*/ 184 w 184"/>
                <a:gd name="T49" fmla="*/ 78 h 172"/>
                <a:gd name="T50" fmla="*/ 179 w 184"/>
                <a:gd name="T51" fmla="*/ 85 h 172"/>
                <a:gd name="T52" fmla="*/ 179 w 184"/>
                <a:gd name="T53" fmla="*/ 85 h 172"/>
                <a:gd name="T54" fmla="*/ 179 w 184"/>
                <a:gd name="T55" fmla="*/ 85 h 172"/>
                <a:gd name="T56" fmla="*/ 125 w 184"/>
                <a:gd name="T57" fmla="*/ 167 h 172"/>
                <a:gd name="T58" fmla="*/ 109 w 184"/>
                <a:gd name="T59" fmla="*/ 156 h 172"/>
                <a:gd name="T60" fmla="*/ 118 w 184"/>
                <a:gd name="T61" fmla="*/ 139 h 172"/>
                <a:gd name="T62" fmla="*/ 130 w 184"/>
                <a:gd name="T63" fmla="*/ 156 h 172"/>
                <a:gd name="T64" fmla="*/ 125 w 184"/>
                <a:gd name="T65" fmla="*/ 167 h 172"/>
                <a:gd name="T66" fmla="*/ 125 w 184"/>
                <a:gd name="T67" fmla="*/ 167 h 172"/>
                <a:gd name="T68" fmla="*/ 125 w 184"/>
                <a:gd name="T69" fmla="*/ 167 h 172"/>
                <a:gd name="T70" fmla="*/ 59 w 184"/>
                <a:gd name="T71" fmla="*/ 172 h 172"/>
                <a:gd name="T72" fmla="*/ 54 w 184"/>
                <a:gd name="T73" fmla="*/ 167 h 172"/>
                <a:gd name="T74" fmla="*/ 59 w 184"/>
                <a:gd name="T75" fmla="*/ 156 h 172"/>
                <a:gd name="T76" fmla="*/ 71 w 184"/>
                <a:gd name="T77" fmla="*/ 167 h 172"/>
                <a:gd name="T78" fmla="*/ 59 w 184"/>
                <a:gd name="T79" fmla="*/ 172 h 172"/>
                <a:gd name="T80" fmla="*/ 59 w 184"/>
                <a:gd name="T81" fmla="*/ 172 h 172"/>
                <a:gd name="T82" fmla="*/ 59 w 184"/>
                <a:gd name="T8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4" h="172">
                  <a:moveTo>
                    <a:pt x="0" y="19"/>
                  </a:moveTo>
                  <a:lnTo>
                    <a:pt x="0" y="7"/>
                  </a:lnTo>
                  <a:lnTo>
                    <a:pt x="16" y="0"/>
                  </a:lnTo>
                  <a:lnTo>
                    <a:pt x="21" y="7"/>
                  </a:lnTo>
                  <a:lnTo>
                    <a:pt x="0" y="19"/>
                  </a:lnTo>
                  <a:lnTo>
                    <a:pt x="0" y="19"/>
                  </a:lnTo>
                  <a:lnTo>
                    <a:pt x="0" y="19"/>
                  </a:lnTo>
                  <a:close/>
                  <a:moveTo>
                    <a:pt x="21" y="28"/>
                  </a:moveTo>
                  <a:lnTo>
                    <a:pt x="16" y="23"/>
                  </a:lnTo>
                  <a:lnTo>
                    <a:pt x="21" y="19"/>
                  </a:lnTo>
                  <a:lnTo>
                    <a:pt x="33" y="23"/>
                  </a:lnTo>
                  <a:lnTo>
                    <a:pt x="21" y="28"/>
                  </a:lnTo>
                  <a:lnTo>
                    <a:pt x="21" y="28"/>
                  </a:lnTo>
                  <a:lnTo>
                    <a:pt x="21" y="28"/>
                  </a:lnTo>
                  <a:close/>
                  <a:moveTo>
                    <a:pt x="71" y="45"/>
                  </a:moveTo>
                  <a:lnTo>
                    <a:pt x="59" y="40"/>
                  </a:lnTo>
                  <a:lnTo>
                    <a:pt x="92" y="45"/>
                  </a:lnTo>
                  <a:lnTo>
                    <a:pt x="71" y="40"/>
                  </a:lnTo>
                  <a:lnTo>
                    <a:pt x="71" y="45"/>
                  </a:lnTo>
                  <a:lnTo>
                    <a:pt x="71" y="45"/>
                  </a:lnTo>
                  <a:lnTo>
                    <a:pt x="71" y="45"/>
                  </a:lnTo>
                  <a:close/>
                  <a:moveTo>
                    <a:pt x="179" y="85"/>
                  </a:moveTo>
                  <a:lnTo>
                    <a:pt x="163" y="85"/>
                  </a:lnTo>
                  <a:lnTo>
                    <a:pt x="179" y="73"/>
                  </a:lnTo>
                  <a:lnTo>
                    <a:pt x="184" y="78"/>
                  </a:lnTo>
                  <a:lnTo>
                    <a:pt x="179" y="85"/>
                  </a:lnTo>
                  <a:lnTo>
                    <a:pt x="179" y="85"/>
                  </a:lnTo>
                  <a:lnTo>
                    <a:pt x="179" y="85"/>
                  </a:lnTo>
                  <a:close/>
                  <a:moveTo>
                    <a:pt x="125" y="167"/>
                  </a:moveTo>
                  <a:lnTo>
                    <a:pt x="109" y="156"/>
                  </a:lnTo>
                  <a:lnTo>
                    <a:pt x="118" y="139"/>
                  </a:lnTo>
                  <a:lnTo>
                    <a:pt x="130" y="156"/>
                  </a:lnTo>
                  <a:lnTo>
                    <a:pt x="125" y="167"/>
                  </a:lnTo>
                  <a:lnTo>
                    <a:pt x="125" y="167"/>
                  </a:lnTo>
                  <a:lnTo>
                    <a:pt x="125" y="167"/>
                  </a:lnTo>
                  <a:close/>
                  <a:moveTo>
                    <a:pt x="59" y="172"/>
                  </a:moveTo>
                  <a:lnTo>
                    <a:pt x="54" y="167"/>
                  </a:lnTo>
                  <a:lnTo>
                    <a:pt x="59" y="156"/>
                  </a:lnTo>
                  <a:lnTo>
                    <a:pt x="71" y="167"/>
                  </a:lnTo>
                  <a:lnTo>
                    <a:pt x="59" y="172"/>
                  </a:lnTo>
                  <a:lnTo>
                    <a:pt x="59" y="172"/>
                  </a:lnTo>
                  <a:lnTo>
                    <a:pt x="59" y="17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8" name="Freeform 424">
              <a:extLst>
                <a:ext uri="{FF2B5EF4-FFF2-40B4-BE49-F238E27FC236}">
                  <a16:creationId xmlns:a16="http://schemas.microsoft.com/office/drawing/2014/main" id="{FAA4AD83-1C3D-4C59-B291-DDDDE1D96FF9}"/>
                </a:ext>
              </a:extLst>
            </p:cNvPr>
            <p:cNvSpPr>
              <a:spLocks/>
            </p:cNvSpPr>
            <p:nvPr/>
          </p:nvSpPr>
          <p:spPr bwMode="gray">
            <a:xfrm>
              <a:off x="7655787" y="2960016"/>
              <a:ext cx="66280" cy="36644"/>
            </a:xfrm>
            <a:custGeom>
              <a:avLst/>
              <a:gdLst>
                <a:gd name="T0" fmla="*/ 71 w 161"/>
                <a:gd name="T1" fmla="*/ 77 h 89"/>
                <a:gd name="T2" fmla="*/ 64 w 161"/>
                <a:gd name="T3" fmla="*/ 77 h 89"/>
                <a:gd name="T4" fmla="*/ 54 w 161"/>
                <a:gd name="T5" fmla="*/ 89 h 89"/>
                <a:gd name="T6" fmla="*/ 50 w 161"/>
                <a:gd name="T7" fmla="*/ 77 h 89"/>
                <a:gd name="T8" fmla="*/ 17 w 161"/>
                <a:gd name="T9" fmla="*/ 77 h 89"/>
                <a:gd name="T10" fmla="*/ 0 w 161"/>
                <a:gd name="T11" fmla="*/ 49 h 89"/>
                <a:gd name="T12" fmla="*/ 17 w 161"/>
                <a:gd name="T13" fmla="*/ 56 h 89"/>
                <a:gd name="T14" fmla="*/ 33 w 161"/>
                <a:gd name="T15" fmla="*/ 40 h 89"/>
                <a:gd name="T16" fmla="*/ 50 w 161"/>
                <a:gd name="T17" fmla="*/ 40 h 89"/>
                <a:gd name="T18" fmla="*/ 50 w 161"/>
                <a:gd name="T19" fmla="*/ 21 h 89"/>
                <a:gd name="T20" fmla="*/ 102 w 161"/>
                <a:gd name="T21" fmla="*/ 21 h 89"/>
                <a:gd name="T22" fmla="*/ 161 w 161"/>
                <a:gd name="T23" fmla="*/ 0 h 89"/>
                <a:gd name="T24" fmla="*/ 118 w 161"/>
                <a:gd name="T25" fmla="*/ 33 h 89"/>
                <a:gd name="T26" fmla="*/ 118 w 161"/>
                <a:gd name="T27" fmla="*/ 40 h 89"/>
                <a:gd name="T28" fmla="*/ 132 w 161"/>
                <a:gd name="T29" fmla="*/ 56 h 89"/>
                <a:gd name="T30" fmla="*/ 102 w 161"/>
                <a:gd name="T31" fmla="*/ 56 h 89"/>
                <a:gd name="T32" fmla="*/ 102 w 161"/>
                <a:gd name="T33" fmla="*/ 73 h 89"/>
                <a:gd name="T34" fmla="*/ 71 w 161"/>
                <a:gd name="T35" fmla="*/ 77 h 89"/>
                <a:gd name="T36" fmla="*/ 71 w 161"/>
                <a:gd name="T37" fmla="*/ 77 h 89"/>
                <a:gd name="T38" fmla="*/ 71 w 161"/>
                <a:gd name="T39" fmla="*/ 7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1" h="89">
                  <a:moveTo>
                    <a:pt x="71" y="77"/>
                  </a:moveTo>
                  <a:lnTo>
                    <a:pt x="64" y="77"/>
                  </a:lnTo>
                  <a:lnTo>
                    <a:pt x="54" y="89"/>
                  </a:lnTo>
                  <a:lnTo>
                    <a:pt x="50" y="77"/>
                  </a:lnTo>
                  <a:lnTo>
                    <a:pt x="17" y="77"/>
                  </a:lnTo>
                  <a:lnTo>
                    <a:pt x="0" y="49"/>
                  </a:lnTo>
                  <a:lnTo>
                    <a:pt x="17" y="56"/>
                  </a:lnTo>
                  <a:lnTo>
                    <a:pt x="33" y="40"/>
                  </a:lnTo>
                  <a:lnTo>
                    <a:pt x="50" y="40"/>
                  </a:lnTo>
                  <a:lnTo>
                    <a:pt x="50" y="21"/>
                  </a:lnTo>
                  <a:lnTo>
                    <a:pt x="102" y="21"/>
                  </a:lnTo>
                  <a:lnTo>
                    <a:pt x="161" y="0"/>
                  </a:lnTo>
                  <a:lnTo>
                    <a:pt x="118" y="33"/>
                  </a:lnTo>
                  <a:lnTo>
                    <a:pt x="118" y="40"/>
                  </a:lnTo>
                  <a:lnTo>
                    <a:pt x="132" y="56"/>
                  </a:lnTo>
                  <a:lnTo>
                    <a:pt x="102" y="56"/>
                  </a:lnTo>
                  <a:lnTo>
                    <a:pt x="102" y="73"/>
                  </a:lnTo>
                  <a:lnTo>
                    <a:pt x="71" y="77"/>
                  </a:lnTo>
                  <a:lnTo>
                    <a:pt x="71" y="77"/>
                  </a:lnTo>
                  <a:lnTo>
                    <a:pt x="71" y="7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0" name="Freeform 426">
              <a:extLst>
                <a:ext uri="{FF2B5EF4-FFF2-40B4-BE49-F238E27FC236}">
                  <a16:creationId xmlns:a16="http://schemas.microsoft.com/office/drawing/2014/main" id="{D14BE84B-31D3-4326-8F26-44645941E1EB}"/>
                </a:ext>
              </a:extLst>
            </p:cNvPr>
            <p:cNvSpPr>
              <a:spLocks/>
            </p:cNvSpPr>
            <p:nvPr/>
          </p:nvSpPr>
          <p:spPr bwMode="gray">
            <a:xfrm>
              <a:off x="7934076" y="3684225"/>
              <a:ext cx="45695" cy="56405"/>
            </a:xfrm>
            <a:custGeom>
              <a:avLst/>
              <a:gdLst>
                <a:gd name="T0" fmla="*/ 73 w 111"/>
                <a:gd name="T1" fmla="*/ 126 h 137"/>
                <a:gd name="T2" fmla="*/ 56 w 111"/>
                <a:gd name="T3" fmla="*/ 121 h 137"/>
                <a:gd name="T4" fmla="*/ 14 w 111"/>
                <a:gd name="T5" fmla="*/ 137 h 137"/>
                <a:gd name="T6" fmla="*/ 0 w 111"/>
                <a:gd name="T7" fmla="*/ 126 h 137"/>
                <a:gd name="T8" fmla="*/ 0 w 111"/>
                <a:gd name="T9" fmla="*/ 92 h 137"/>
                <a:gd name="T10" fmla="*/ 0 w 111"/>
                <a:gd name="T11" fmla="*/ 71 h 137"/>
                <a:gd name="T12" fmla="*/ 35 w 111"/>
                <a:gd name="T13" fmla="*/ 26 h 137"/>
                <a:gd name="T14" fmla="*/ 42 w 111"/>
                <a:gd name="T15" fmla="*/ 17 h 137"/>
                <a:gd name="T16" fmla="*/ 56 w 111"/>
                <a:gd name="T17" fmla="*/ 33 h 137"/>
                <a:gd name="T18" fmla="*/ 68 w 111"/>
                <a:gd name="T19" fmla="*/ 26 h 137"/>
                <a:gd name="T20" fmla="*/ 68 w 111"/>
                <a:gd name="T21" fmla="*/ 17 h 137"/>
                <a:gd name="T22" fmla="*/ 89 w 111"/>
                <a:gd name="T23" fmla="*/ 0 h 137"/>
                <a:gd name="T24" fmla="*/ 106 w 111"/>
                <a:gd name="T25" fmla="*/ 26 h 137"/>
                <a:gd name="T26" fmla="*/ 111 w 111"/>
                <a:gd name="T27" fmla="*/ 55 h 137"/>
                <a:gd name="T28" fmla="*/ 78 w 111"/>
                <a:gd name="T29" fmla="*/ 71 h 137"/>
                <a:gd name="T30" fmla="*/ 68 w 111"/>
                <a:gd name="T31" fmla="*/ 71 h 137"/>
                <a:gd name="T32" fmla="*/ 56 w 111"/>
                <a:gd name="T33" fmla="*/ 88 h 137"/>
                <a:gd name="T34" fmla="*/ 42 w 111"/>
                <a:gd name="T35" fmla="*/ 88 h 137"/>
                <a:gd name="T36" fmla="*/ 52 w 111"/>
                <a:gd name="T37" fmla="*/ 92 h 137"/>
                <a:gd name="T38" fmla="*/ 73 w 111"/>
                <a:gd name="T39" fmla="*/ 88 h 137"/>
                <a:gd name="T40" fmla="*/ 89 w 111"/>
                <a:gd name="T41" fmla="*/ 88 h 137"/>
                <a:gd name="T42" fmla="*/ 94 w 111"/>
                <a:gd name="T43" fmla="*/ 92 h 137"/>
                <a:gd name="T44" fmla="*/ 73 w 111"/>
                <a:gd name="T45" fmla="*/ 126 h 137"/>
                <a:gd name="T46" fmla="*/ 73 w 111"/>
                <a:gd name="T47" fmla="*/ 126 h 137"/>
                <a:gd name="T48" fmla="*/ 73 w 111"/>
                <a:gd name="T49" fmla="*/ 12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1" h="137">
                  <a:moveTo>
                    <a:pt x="73" y="126"/>
                  </a:moveTo>
                  <a:lnTo>
                    <a:pt x="56" y="121"/>
                  </a:lnTo>
                  <a:lnTo>
                    <a:pt x="14" y="137"/>
                  </a:lnTo>
                  <a:lnTo>
                    <a:pt x="0" y="126"/>
                  </a:lnTo>
                  <a:lnTo>
                    <a:pt x="0" y="92"/>
                  </a:lnTo>
                  <a:lnTo>
                    <a:pt x="0" y="71"/>
                  </a:lnTo>
                  <a:lnTo>
                    <a:pt x="35" y="26"/>
                  </a:lnTo>
                  <a:lnTo>
                    <a:pt x="42" y="17"/>
                  </a:lnTo>
                  <a:lnTo>
                    <a:pt x="56" y="33"/>
                  </a:lnTo>
                  <a:lnTo>
                    <a:pt x="68" y="26"/>
                  </a:lnTo>
                  <a:lnTo>
                    <a:pt x="68" y="17"/>
                  </a:lnTo>
                  <a:lnTo>
                    <a:pt x="89" y="0"/>
                  </a:lnTo>
                  <a:lnTo>
                    <a:pt x="106" y="26"/>
                  </a:lnTo>
                  <a:lnTo>
                    <a:pt x="111" y="55"/>
                  </a:lnTo>
                  <a:lnTo>
                    <a:pt x="78" y="71"/>
                  </a:lnTo>
                  <a:lnTo>
                    <a:pt x="68" y="71"/>
                  </a:lnTo>
                  <a:lnTo>
                    <a:pt x="56" y="88"/>
                  </a:lnTo>
                  <a:lnTo>
                    <a:pt x="42" y="88"/>
                  </a:lnTo>
                  <a:lnTo>
                    <a:pt x="52" y="92"/>
                  </a:lnTo>
                  <a:lnTo>
                    <a:pt x="73" y="88"/>
                  </a:lnTo>
                  <a:lnTo>
                    <a:pt x="89" y="88"/>
                  </a:lnTo>
                  <a:lnTo>
                    <a:pt x="94" y="92"/>
                  </a:lnTo>
                  <a:lnTo>
                    <a:pt x="73" y="126"/>
                  </a:lnTo>
                  <a:lnTo>
                    <a:pt x="73" y="126"/>
                  </a:lnTo>
                  <a:lnTo>
                    <a:pt x="73" y="1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4" name="Freeform 430">
              <a:extLst>
                <a:ext uri="{FF2B5EF4-FFF2-40B4-BE49-F238E27FC236}">
                  <a16:creationId xmlns:a16="http://schemas.microsoft.com/office/drawing/2014/main" id="{B7C8980E-CBB8-406A-BAEE-11582FEBE37E}"/>
                </a:ext>
              </a:extLst>
            </p:cNvPr>
            <p:cNvSpPr>
              <a:spLocks/>
            </p:cNvSpPr>
            <p:nvPr/>
          </p:nvSpPr>
          <p:spPr bwMode="gray">
            <a:xfrm>
              <a:off x="7440895" y="3095882"/>
              <a:ext cx="348273" cy="305494"/>
            </a:xfrm>
            <a:custGeom>
              <a:avLst/>
              <a:gdLst>
                <a:gd name="T0" fmla="*/ 468 w 846"/>
                <a:gd name="T1" fmla="*/ 742 h 742"/>
                <a:gd name="T2" fmla="*/ 468 w 846"/>
                <a:gd name="T3" fmla="*/ 725 h 742"/>
                <a:gd name="T4" fmla="*/ 17 w 846"/>
                <a:gd name="T5" fmla="*/ 742 h 742"/>
                <a:gd name="T6" fmla="*/ 17 w 846"/>
                <a:gd name="T7" fmla="*/ 189 h 742"/>
                <a:gd name="T8" fmla="*/ 17 w 846"/>
                <a:gd name="T9" fmla="*/ 66 h 742"/>
                <a:gd name="T10" fmla="*/ 31 w 846"/>
                <a:gd name="T11" fmla="*/ 0 h 742"/>
                <a:gd name="T12" fmla="*/ 38 w 846"/>
                <a:gd name="T13" fmla="*/ 10 h 742"/>
                <a:gd name="T14" fmla="*/ 177 w 846"/>
                <a:gd name="T15" fmla="*/ 21 h 742"/>
                <a:gd name="T16" fmla="*/ 198 w 846"/>
                <a:gd name="T17" fmla="*/ 38 h 742"/>
                <a:gd name="T18" fmla="*/ 224 w 846"/>
                <a:gd name="T19" fmla="*/ 45 h 742"/>
                <a:gd name="T20" fmla="*/ 300 w 846"/>
                <a:gd name="T21" fmla="*/ 62 h 742"/>
                <a:gd name="T22" fmla="*/ 371 w 846"/>
                <a:gd name="T23" fmla="*/ 21 h 742"/>
                <a:gd name="T24" fmla="*/ 387 w 846"/>
                <a:gd name="T25" fmla="*/ 29 h 742"/>
                <a:gd name="T26" fmla="*/ 404 w 846"/>
                <a:gd name="T27" fmla="*/ 10 h 742"/>
                <a:gd name="T28" fmla="*/ 409 w 846"/>
                <a:gd name="T29" fmla="*/ 21 h 742"/>
                <a:gd name="T30" fmla="*/ 446 w 846"/>
                <a:gd name="T31" fmla="*/ 10 h 742"/>
                <a:gd name="T32" fmla="*/ 480 w 846"/>
                <a:gd name="T33" fmla="*/ 10 h 742"/>
                <a:gd name="T34" fmla="*/ 522 w 846"/>
                <a:gd name="T35" fmla="*/ 29 h 742"/>
                <a:gd name="T36" fmla="*/ 494 w 846"/>
                <a:gd name="T37" fmla="*/ 29 h 742"/>
                <a:gd name="T38" fmla="*/ 510 w 846"/>
                <a:gd name="T39" fmla="*/ 29 h 742"/>
                <a:gd name="T40" fmla="*/ 532 w 846"/>
                <a:gd name="T41" fmla="*/ 38 h 742"/>
                <a:gd name="T42" fmla="*/ 555 w 846"/>
                <a:gd name="T43" fmla="*/ 45 h 742"/>
                <a:gd name="T44" fmla="*/ 586 w 846"/>
                <a:gd name="T45" fmla="*/ 45 h 742"/>
                <a:gd name="T46" fmla="*/ 628 w 846"/>
                <a:gd name="T47" fmla="*/ 38 h 742"/>
                <a:gd name="T48" fmla="*/ 673 w 846"/>
                <a:gd name="T49" fmla="*/ 29 h 742"/>
                <a:gd name="T50" fmla="*/ 699 w 846"/>
                <a:gd name="T51" fmla="*/ 177 h 742"/>
                <a:gd name="T52" fmla="*/ 678 w 846"/>
                <a:gd name="T53" fmla="*/ 260 h 742"/>
                <a:gd name="T54" fmla="*/ 661 w 846"/>
                <a:gd name="T55" fmla="*/ 305 h 742"/>
                <a:gd name="T56" fmla="*/ 591 w 846"/>
                <a:gd name="T57" fmla="*/ 244 h 742"/>
                <a:gd name="T58" fmla="*/ 565 w 846"/>
                <a:gd name="T59" fmla="*/ 170 h 742"/>
                <a:gd name="T60" fmla="*/ 532 w 846"/>
                <a:gd name="T61" fmla="*/ 166 h 742"/>
                <a:gd name="T62" fmla="*/ 555 w 846"/>
                <a:gd name="T63" fmla="*/ 222 h 742"/>
                <a:gd name="T64" fmla="*/ 619 w 846"/>
                <a:gd name="T65" fmla="*/ 288 h 742"/>
                <a:gd name="T66" fmla="*/ 607 w 846"/>
                <a:gd name="T67" fmla="*/ 298 h 742"/>
                <a:gd name="T68" fmla="*/ 640 w 846"/>
                <a:gd name="T69" fmla="*/ 343 h 742"/>
                <a:gd name="T70" fmla="*/ 645 w 846"/>
                <a:gd name="T71" fmla="*/ 388 h 742"/>
                <a:gd name="T72" fmla="*/ 725 w 846"/>
                <a:gd name="T73" fmla="*/ 553 h 742"/>
                <a:gd name="T74" fmla="*/ 754 w 846"/>
                <a:gd name="T75" fmla="*/ 598 h 742"/>
                <a:gd name="T76" fmla="*/ 763 w 846"/>
                <a:gd name="T77" fmla="*/ 671 h 742"/>
                <a:gd name="T78" fmla="*/ 801 w 846"/>
                <a:gd name="T79" fmla="*/ 692 h 742"/>
                <a:gd name="T80" fmla="*/ 846 w 846"/>
                <a:gd name="T81" fmla="*/ 742 h 742"/>
                <a:gd name="T82" fmla="*/ 846 w 846"/>
                <a:gd name="T83" fmla="*/ 74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6" h="742">
                  <a:moveTo>
                    <a:pt x="846" y="742"/>
                  </a:moveTo>
                  <a:lnTo>
                    <a:pt x="468" y="742"/>
                  </a:lnTo>
                  <a:lnTo>
                    <a:pt x="480" y="737"/>
                  </a:lnTo>
                  <a:lnTo>
                    <a:pt x="468" y="725"/>
                  </a:lnTo>
                  <a:lnTo>
                    <a:pt x="458" y="742"/>
                  </a:lnTo>
                  <a:lnTo>
                    <a:pt x="17" y="742"/>
                  </a:lnTo>
                  <a:lnTo>
                    <a:pt x="17" y="314"/>
                  </a:lnTo>
                  <a:lnTo>
                    <a:pt x="17" y="189"/>
                  </a:lnTo>
                  <a:lnTo>
                    <a:pt x="0" y="116"/>
                  </a:lnTo>
                  <a:lnTo>
                    <a:pt x="17" y="66"/>
                  </a:lnTo>
                  <a:lnTo>
                    <a:pt x="9" y="21"/>
                  </a:lnTo>
                  <a:lnTo>
                    <a:pt x="31" y="0"/>
                  </a:lnTo>
                  <a:lnTo>
                    <a:pt x="31" y="5"/>
                  </a:lnTo>
                  <a:lnTo>
                    <a:pt x="38" y="10"/>
                  </a:lnTo>
                  <a:lnTo>
                    <a:pt x="85" y="0"/>
                  </a:lnTo>
                  <a:lnTo>
                    <a:pt x="177" y="21"/>
                  </a:lnTo>
                  <a:lnTo>
                    <a:pt x="189" y="29"/>
                  </a:lnTo>
                  <a:lnTo>
                    <a:pt x="198" y="38"/>
                  </a:lnTo>
                  <a:lnTo>
                    <a:pt x="215" y="29"/>
                  </a:lnTo>
                  <a:lnTo>
                    <a:pt x="224" y="45"/>
                  </a:lnTo>
                  <a:lnTo>
                    <a:pt x="253" y="45"/>
                  </a:lnTo>
                  <a:lnTo>
                    <a:pt x="300" y="62"/>
                  </a:lnTo>
                  <a:lnTo>
                    <a:pt x="333" y="55"/>
                  </a:lnTo>
                  <a:lnTo>
                    <a:pt x="371" y="21"/>
                  </a:lnTo>
                  <a:lnTo>
                    <a:pt x="376" y="29"/>
                  </a:lnTo>
                  <a:lnTo>
                    <a:pt x="387" y="29"/>
                  </a:lnTo>
                  <a:lnTo>
                    <a:pt x="392" y="5"/>
                  </a:lnTo>
                  <a:lnTo>
                    <a:pt x="404" y="10"/>
                  </a:lnTo>
                  <a:lnTo>
                    <a:pt x="442" y="5"/>
                  </a:lnTo>
                  <a:lnTo>
                    <a:pt x="409" y="21"/>
                  </a:lnTo>
                  <a:lnTo>
                    <a:pt x="430" y="10"/>
                  </a:lnTo>
                  <a:lnTo>
                    <a:pt x="446" y="10"/>
                  </a:lnTo>
                  <a:lnTo>
                    <a:pt x="442" y="5"/>
                  </a:lnTo>
                  <a:lnTo>
                    <a:pt x="480" y="10"/>
                  </a:lnTo>
                  <a:lnTo>
                    <a:pt x="501" y="5"/>
                  </a:lnTo>
                  <a:lnTo>
                    <a:pt x="522" y="29"/>
                  </a:lnTo>
                  <a:lnTo>
                    <a:pt x="501" y="5"/>
                  </a:lnTo>
                  <a:lnTo>
                    <a:pt x="494" y="29"/>
                  </a:lnTo>
                  <a:lnTo>
                    <a:pt x="501" y="38"/>
                  </a:lnTo>
                  <a:lnTo>
                    <a:pt x="510" y="29"/>
                  </a:lnTo>
                  <a:lnTo>
                    <a:pt x="517" y="45"/>
                  </a:lnTo>
                  <a:lnTo>
                    <a:pt x="532" y="38"/>
                  </a:lnTo>
                  <a:lnTo>
                    <a:pt x="522" y="29"/>
                  </a:lnTo>
                  <a:lnTo>
                    <a:pt x="555" y="45"/>
                  </a:lnTo>
                  <a:lnTo>
                    <a:pt x="586" y="38"/>
                  </a:lnTo>
                  <a:lnTo>
                    <a:pt x="586" y="45"/>
                  </a:lnTo>
                  <a:lnTo>
                    <a:pt x="607" y="38"/>
                  </a:lnTo>
                  <a:lnTo>
                    <a:pt x="628" y="38"/>
                  </a:lnTo>
                  <a:lnTo>
                    <a:pt x="661" y="21"/>
                  </a:lnTo>
                  <a:lnTo>
                    <a:pt x="673" y="29"/>
                  </a:lnTo>
                  <a:lnTo>
                    <a:pt x="711" y="170"/>
                  </a:lnTo>
                  <a:lnTo>
                    <a:pt x="699" y="177"/>
                  </a:lnTo>
                  <a:lnTo>
                    <a:pt x="695" y="227"/>
                  </a:lnTo>
                  <a:lnTo>
                    <a:pt x="678" y="260"/>
                  </a:lnTo>
                  <a:lnTo>
                    <a:pt x="678" y="281"/>
                  </a:lnTo>
                  <a:lnTo>
                    <a:pt x="661" y="305"/>
                  </a:lnTo>
                  <a:lnTo>
                    <a:pt x="628" y="281"/>
                  </a:lnTo>
                  <a:lnTo>
                    <a:pt x="591" y="244"/>
                  </a:lnTo>
                  <a:lnTo>
                    <a:pt x="591" y="206"/>
                  </a:lnTo>
                  <a:lnTo>
                    <a:pt x="565" y="170"/>
                  </a:lnTo>
                  <a:lnTo>
                    <a:pt x="548" y="121"/>
                  </a:lnTo>
                  <a:lnTo>
                    <a:pt x="532" y="166"/>
                  </a:lnTo>
                  <a:lnTo>
                    <a:pt x="548" y="177"/>
                  </a:lnTo>
                  <a:lnTo>
                    <a:pt x="555" y="222"/>
                  </a:lnTo>
                  <a:lnTo>
                    <a:pt x="586" y="265"/>
                  </a:lnTo>
                  <a:lnTo>
                    <a:pt x="619" y="288"/>
                  </a:lnTo>
                  <a:lnTo>
                    <a:pt x="619" y="298"/>
                  </a:lnTo>
                  <a:lnTo>
                    <a:pt x="607" y="298"/>
                  </a:lnTo>
                  <a:lnTo>
                    <a:pt x="607" y="314"/>
                  </a:lnTo>
                  <a:lnTo>
                    <a:pt x="640" y="343"/>
                  </a:lnTo>
                  <a:lnTo>
                    <a:pt x="645" y="371"/>
                  </a:lnTo>
                  <a:lnTo>
                    <a:pt x="645" y="388"/>
                  </a:lnTo>
                  <a:lnTo>
                    <a:pt x="683" y="466"/>
                  </a:lnTo>
                  <a:lnTo>
                    <a:pt x="725" y="553"/>
                  </a:lnTo>
                  <a:lnTo>
                    <a:pt x="780" y="598"/>
                  </a:lnTo>
                  <a:lnTo>
                    <a:pt x="754" y="598"/>
                  </a:lnTo>
                  <a:lnTo>
                    <a:pt x="754" y="631"/>
                  </a:lnTo>
                  <a:lnTo>
                    <a:pt x="763" y="671"/>
                  </a:lnTo>
                  <a:lnTo>
                    <a:pt x="780" y="688"/>
                  </a:lnTo>
                  <a:lnTo>
                    <a:pt x="801" y="692"/>
                  </a:lnTo>
                  <a:lnTo>
                    <a:pt x="824" y="721"/>
                  </a:lnTo>
                  <a:lnTo>
                    <a:pt x="846" y="742"/>
                  </a:lnTo>
                  <a:lnTo>
                    <a:pt x="846" y="742"/>
                  </a:lnTo>
                  <a:lnTo>
                    <a:pt x="846" y="74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6" name="Freeform 432">
              <a:extLst>
                <a:ext uri="{FF2B5EF4-FFF2-40B4-BE49-F238E27FC236}">
                  <a16:creationId xmlns:a16="http://schemas.microsoft.com/office/drawing/2014/main" id="{D74C3E4B-A053-4F1D-9883-DF21EA51B05F}"/>
                </a:ext>
              </a:extLst>
            </p:cNvPr>
            <p:cNvSpPr>
              <a:spLocks noEditPoints="1"/>
            </p:cNvSpPr>
            <p:nvPr/>
          </p:nvSpPr>
          <p:spPr bwMode="gray">
            <a:xfrm>
              <a:off x="6971179" y="3955546"/>
              <a:ext cx="82746" cy="81931"/>
            </a:xfrm>
            <a:custGeom>
              <a:avLst/>
              <a:gdLst>
                <a:gd name="T0" fmla="*/ 26 w 201"/>
                <a:gd name="T1" fmla="*/ 17 h 199"/>
                <a:gd name="T2" fmla="*/ 14 w 201"/>
                <a:gd name="T3" fmla="*/ 41 h 199"/>
                <a:gd name="T4" fmla="*/ 0 w 201"/>
                <a:gd name="T5" fmla="*/ 33 h 199"/>
                <a:gd name="T6" fmla="*/ 0 w 201"/>
                <a:gd name="T7" fmla="*/ 17 h 199"/>
                <a:gd name="T8" fmla="*/ 5 w 201"/>
                <a:gd name="T9" fmla="*/ 17 h 199"/>
                <a:gd name="T10" fmla="*/ 14 w 201"/>
                <a:gd name="T11" fmla="*/ 0 h 199"/>
                <a:gd name="T12" fmla="*/ 26 w 201"/>
                <a:gd name="T13" fmla="*/ 0 h 199"/>
                <a:gd name="T14" fmla="*/ 26 w 201"/>
                <a:gd name="T15" fmla="*/ 17 h 199"/>
                <a:gd name="T16" fmla="*/ 26 w 201"/>
                <a:gd name="T17" fmla="*/ 17 h 199"/>
                <a:gd name="T18" fmla="*/ 26 w 201"/>
                <a:gd name="T19" fmla="*/ 17 h 199"/>
                <a:gd name="T20" fmla="*/ 92 w 201"/>
                <a:gd name="T21" fmla="*/ 95 h 199"/>
                <a:gd name="T22" fmla="*/ 109 w 201"/>
                <a:gd name="T23" fmla="*/ 111 h 199"/>
                <a:gd name="T24" fmla="*/ 201 w 201"/>
                <a:gd name="T25" fmla="*/ 111 h 199"/>
                <a:gd name="T26" fmla="*/ 201 w 201"/>
                <a:gd name="T27" fmla="*/ 199 h 199"/>
                <a:gd name="T28" fmla="*/ 109 w 201"/>
                <a:gd name="T29" fmla="*/ 199 h 199"/>
                <a:gd name="T30" fmla="*/ 97 w 201"/>
                <a:gd name="T31" fmla="*/ 199 h 199"/>
                <a:gd name="T32" fmla="*/ 92 w 201"/>
                <a:gd name="T33" fmla="*/ 199 h 199"/>
                <a:gd name="T34" fmla="*/ 92 w 201"/>
                <a:gd name="T35" fmla="*/ 187 h 199"/>
                <a:gd name="T36" fmla="*/ 76 w 201"/>
                <a:gd name="T37" fmla="*/ 187 h 199"/>
                <a:gd name="T38" fmla="*/ 59 w 201"/>
                <a:gd name="T39" fmla="*/ 182 h 199"/>
                <a:gd name="T40" fmla="*/ 92 w 201"/>
                <a:gd name="T41" fmla="*/ 128 h 199"/>
                <a:gd name="T42" fmla="*/ 92 w 201"/>
                <a:gd name="T43" fmla="*/ 95 h 199"/>
                <a:gd name="T44" fmla="*/ 92 w 201"/>
                <a:gd name="T45" fmla="*/ 95 h 199"/>
                <a:gd name="T46" fmla="*/ 92 w 201"/>
                <a:gd name="T47" fmla="*/ 9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1" h="199">
                  <a:moveTo>
                    <a:pt x="26" y="17"/>
                  </a:moveTo>
                  <a:lnTo>
                    <a:pt x="14" y="41"/>
                  </a:lnTo>
                  <a:lnTo>
                    <a:pt x="0" y="33"/>
                  </a:lnTo>
                  <a:lnTo>
                    <a:pt x="0" y="17"/>
                  </a:lnTo>
                  <a:lnTo>
                    <a:pt x="5" y="17"/>
                  </a:lnTo>
                  <a:lnTo>
                    <a:pt x="14" y="0"/>
                  </a:lnTo>
                  <a:lnTo>
                    <a:pt x="26" y="0"/>
                  </a:lnTo>
                  <a:lnTo>
                    <a:pt x="26" y="17"/>
                  </a:lnTo>
                  <a:lnTo>
                    <a:pt x="26" y="17"/>
                  </a:lnTo>
                  <a:lnTo>
                    <a:pt x="26" y="17"/>
                  </a:lnTo>
                  <a:close/>
                  <a:moveTo>
                    <a:pt x="92" y="95"/>
                  </a:moveTo>
                  <a:lnTo>
                    <a:pt x="109" y="111"/>
                  </a:lnTo>
                  <a:lnTo>
                    <a:pt x="201" y="111"/>
                  </a:lnTo>
                  <a:lnTo>
                    <a:pt x="201" y="199"/>
                  </a:lnTo>
                  <a:lnTo>
                    <a:pt x="109" y="199"/>
                  </a:lnTo>
                  <a:lnTo>
                    <a:pt x="97" y="199"/>
                  </a:lnTo>
                  <a:lnTo>
                    <a:pt x="92" y="199"/>
                  </a:lnTo>
                  <a:lnTo>
                    <a:pt x="92" y="187"/>
                  </a:lnTo>
                  <a:lnTo>
                    <a:pt x="76" y="187"/>
                  </a:lnTo>
                  <a:lnTo>
                    <a:pt x="59" y="182"/>
                  </a:lnTo>
                  <a:lnTo>
                    <a:pt x="92" y="128"/>
                  </a:lnTo>
                  <a:lnTo>
                    <a:pt x="92" y="95"/>
                  </a:lnTo>
                  <a:lnTo>
                    <a:pt x="92" y="95"/>
                  </a:lnTo>
                  <a:lnTo>
                    <a:pt x="92" y="9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8" name="Freeform 434">
              <a:extLst>
                <a:ext uri="{FF2B5EF4-FFF2-40B4-BE49-F238E27FC236}">
                  <a16:creationId xmlns:a16="http://schemas.microsoft.com/office/drawing/2014/main" id="{E500AD21-F80E-42FD-9026-21C42CEF05FF}"/>
                </a:ext>
              </a:extLst>
            </p:cNvPr>
            <p:cNvSpPr>
              <a:spLocks noEditPoints="1"/>
            </p:cNvSpPr>
            <p:nvPr/>
          </p:nvSpPr>
          <p:spPr bwMode="gray">
            <a:xfrm>
              <a:off x="7778465" y="3524890"/>
              <a:ext cx="192250" cy="172921"/>
            </a:xfrm>
            <a:custGeom>
              <a:avLst/>
              <a:gdLst>
                <a:gd name="T0" fmla="*/ 446 w 467"/>
                <a:gd name="T1" fmla="*/ 404 h 420"/>
                <a:gd name="T2" fmla="*/ 434 w 467"/>
                <a:gd name="T3" fmla="*/ 420 h 420"/>
                <a:gd name="T4" fmla="*/ 413 w 467"/>
                <a:gd name="T5" fmla="*/ 416 h 420"/>
                <a:gd name="T6" fmla="*/ 380 w 467"/>
                <a:gd name="T7" fmla="*/ 383 h 420"/>
                <a:gd name="T8" fmla="*/ 338 w 467"/>
                <a:gd name="T9" fmla="*/ 326 h 420"/>
                <a:gd name="T10" fmla="*/ 269 w 467"/>
                <a:gd name="T11" fmla="*/ 260 h 420"/>
                <a:gd name="T12" fmla="*/ 215 w 467"/>
                <a:gd name="T13" fmla="*/ 255 h 420"/>
                <a:gd name="T14" fmla="*/ 182 w 467"/>
                <a:gd name="T15" fmla="*/ 250 h 420"/>
                <a:gd name="T16" fmla="*/ 144 w 467"/>
                <a:gd name="T17" fmla="*/ 272 h 420"/>
                <a:gd name="T18" fmla="*/ 113 w 467"/>
                <a:gd name="T19" fmla="*/ 250 h 420"/>
                <a:gd name="T20" fmla="*/ 80 w 467"/>
                <a:gd name="T21" fmla="*/ 293 h 420"/>
                <a:gd name="T22" fmla="*/ 52 w 467"/>
                <a:gd name="T23" fmla="*/ 272 h 420"/>
                <a:gd name="T24" fmla="*/ 26 w 467"/>
                <a:gd name="T25" fmla="*/ 272 h 420"/>
                <a:gd name="T26" fmla="*/ 0 w 467"/>
                <a:gd name="T27" fmla="*/ 217 h 420"/>
                <a:gd name="T28" fmla="*/ 26 w 467"/>
                <a:gd name="T29" fmla="*/ 111 h 420"/>
                <a:gd name="T30" fmla="*/ 38 w 467"/>
                <a:gd name="T31" fmla="*/ 73 h 420"/>
                <a:gd name="T32" fmla="*/ 75 w 467"/>
                <a:gd name="T33" fmla="*/ 57 h 420"/>
                <a:gd name="T34" fmla="*/ 127 w 467"/>
                <a:gd name="T35" fmla="*/ 40 h 420"/>
                <a:gd name="T36" fmla="*/ 182 w 467"/>
                <a:gd name="T37" fmla="*/ 66 h 420"/>
                <a:gd name="T38" fmla="*/ 203 w 467"/>
                <a:gd name="T39" fmla="*/ 168 h 420"/>
                <a:gd name="T40" fmla="*/ 219 w 467"/>
                <a:gd name="T41" fmla="*/ 194 h 420"/>
                <a:gd name="T42" fmla="*/ 236 w 467"/>
                <a:gd name="T43" fmla="*/ 222 h 420"/>
                <a:gd name="T44" fmla="*/ 236 w 467"/>
                <a:gd name="T45" fmla="*/ 201 h 420"/>
                <a:gd name="T46" fmla="*/ 257 w 467"/>
                <a:gd name="T47" fmla="*/ 222 h 420"/>
                <a:gd name="T48" fmla="*/ 283 w 467"/>
                <a:gd name="T49" fmla="*/ 222 h 420"/>
                <a:gd name="T50" fmla="*/ 304 w 467"/>
                <a:gd name="T51" fmla="*/ 250 h 420"/>
                <a:gd name="T52" fmla="*/ 366 w 467"/>
                <a:gd name="T53" fmla="*/ 305 h 420"/>
                <a:gd name="T54" fmla="*/ 397 w 467"/>
                <a:gd name="T55" fmla="*/ 326 h 420"/>
                <a:gd name="T56" fmla="*/ 401 w 467"/>
                <a:gd name="T57" fmla="*/ 326 h 420"/>
                <a:gd name="T58" fmla="*/ 434 w 467"/>
                <a:gd name="T59" fmla="*/ 366 h 420"/>
                <a:gd name="T60" fmla="*/ 451 w 467"/>
                <a:gd name="T61" fmla="*/ 387 h 420"/>
                <a:gd name="T62" fmla="*/ 467 w 467"/>
                <a:gd name="T63" fmla="*/ 387 h 420"/>
                <a:gd name="T64" fmla="*/ 467 w 467"/>
                <a:gd name="T65" fmla="*/ 387 h 420"/>
                <a:gd name="T66" fmla="*/ 252 w 467"/>
                <a:gd name="T67" fmla="*/ 144 h 420"/>
                <a:gd name="T68" fmla="*/ 257 w 467"/>
                <a:gd name="T69" fmla="*/ 149 h 420"/>
                <a:gd name="T70" fmla="*/ 252 w 467"/>
                <a:gd name="T71" fmla="*/ 149 h 420"/>
                <a:gd name="T72" fmla="*/ 252 w 467"/>
                <a:gd name="T73" fmla="*/ 161 h 420"/>
                <a:gd name="T74" fmla="*/ 257 w 467"/>
                <a:gd name="T75" fmla="*/ 177 h 420"/>
                <a:gd name="T76" fmla="*/ 274 w 467"/>
                <a:gd name="T77" fmla="*/ 184 h 420"/>
                <a:gd name="T78" fmla="*/ 241 w 467"/>
                <a:gd name="T79" fmla="*/ 177 h 420"/>
                <a:gd name="T80" fmla="*/ 241 w 467"/>
                <a:gd name="T81" fmla="*/ 168 h 420"/>
                <a:gd name="T82" fmla="*/ 252 w 467"/>
                <a:gd name="T83" fmla="*/ 161 h 420"/>
                <a:gd name="T84" fmla="*/ 252 w 467"/>
                <a:gd name="T85" fmla="*/ 161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7" h="420">
                  <a:moveTo>
                    <a:pt x="467" y="387"/>
                  </a:moveTo>
                  <a:lnTo>
                    <a:pt x="446" y="404"/>
                  </a:lnTo>
                  <a:lnTo>
                    <a:pt x="446" y="416"/>
                  </a:lnTo>
                  <a:lnTo>
                    <a:pt x="434" y="420"/>
                  </a:lnTo>
                  <a:lnTo>
                    <a:pt x="418" y="404"/>
                  </a:lnTo>
                  <a:lnTo>
                    <a:pt x="413" y="416"/>
                  </a:lnTo>
                  <a:lnTo>
                    <a:pt x="401" y="387"/>
                  </a:lnTo>
                  <a:lnTo>
                    <a:pt x="380" y="383"/>
                  </a:lnTo>
                  <a:lnTo>
                    <a:pt x="375" y="359"/>
                  </a:lnTo>
                  <a:lnTo>
                    <a:pt x="338" y="326"/>
                  </a:lnTo>
                  <a:lnTo>
                    <a:pt x="304" y="288"/>
                  </a:lnTo>
                  <a:lnTo>
                    <a:pt x="269" y="260"/>
                  </a:lnTo>
                  <a:lnTo>
                    <a:pt x="241" y="272"/>
                  </a:lnTo>
                  <a:lnTo>
                    <a:pt x="215" y="255"/>
                  </a:lnTo>
                  <a:lnTo>
                    <a:pt x="198" y="260"/>
                  </a:lnTo>
                  <a:lnTo>
                    <a:pt x="182" y="250"/>
                  </a:lnTo>
                  <a:lnTo>
                    <a:pt x="177" y="260"/>
                  </a:lnTo>
                  <a:lnTo>
                    <a:pt x="144" y="272"/>
                  </a:lnTo>
                  <a:lnTo>
                    <a:pt x="127" y="250"/>
                  </a:lnTo>
                  <a:lnTo>
                    <a:pt x="113" y="250"/>
                  </a:lnTo>
                  <a:lnTo>
                    <a:pt x="106" y="234"/>
                  </a:lnTo>
                  <a:lnTo>
                    <a:pt x="80" y="293"/>
                  </a:lnTo>
                  <a:lnTo>
                    <a:pt x="59" y="260"/>
                  </a:lnTo>
                  <a:lnTo>
                    <a:pt x="52" y="272"/>
                  </a:lnTo>
                  <a:lnTo>
                    <a:pt x="38" y="276"/>
                  </a:lnTo>
                  <a:lnTo>
                    <a:pt x="26" y="272"/>
                  </a:lnTo>
                  <a:lnTo>
                    <a:pt x="4" y="276"/>
                  </a:lnTo>
                  <a:lnTo>
                    <a:pt x="0" y="217"/>
                  </a:lnTo>
                  <a:lnTo>
                    <a:pt x="38" y="127"/>
                  </a:lnTo>
                  <a:lnTo>
                    <a:pt x="26" y="111"/>
                  </a:lnTo>
                  <a:lnTo>
                    <a:pt x="38" y="94"/>
                  </a:lnTo>
                  <a:lnTo>
                    <a:pt x="38" y="73"/>
                  </a:lnTo>
                  <a:lnTo>
                    <a:pt x="68" y="73"/>
                  </a:lnTo>
                  <a:lnTo>
                    <a:pt x="75" y="57"/>
                  </a:lnTo>
                  <a:lnTo>
                    <a:pt x="113" y="33"/>
                  </a:lnTo>
                  <a:lnTo>
                    <a:pt x="127" y="40"/>
                  </a:lnTo>
                  <a:lnTo>
                    <a:pt x="149" y="0"/>
                  </a:lnTo>
                  <a:lnTo>
                    <a:pt x="182" y="66"/>
                  </a:lnTo>
                  <a:lnTo>
                    <a:pt x="198" y="149"/>
                  </a:lnTo>
                  <a:lnTo>
                    <a:pt x="203" y="168"/>
                  </a:lnTo>
                  <a:lnTo>
                    <a:pt x="215" y="184"/>
                  </a:lnTo>
                  <a:lnTo>
                    <a:pt x="219" y="194"/>
                  </a:lnTo>
                  <a:lnTo>
                    <a:pt x="231" y="217"/>
                  </a:lnTo>
                  <a:lnTo>
                    <a:pt x="236" y="222"/>
                  </a:lnTo>
                  <a:lnTo>
                    <a:pt x="236" y="217"/>
                  </a:lnTo>
                  <a:lnTo>
                    <a:pt x="236" y="201"/>
                  </a:lnTo>
                  <a:lnTo>
                    <a:pt x="241" y="194"/>
                  </a:lnTo>
                  <a:lnTo>
                    <a:pt x="257" y="222"/>
                  </a:lnTo>
                  <a:lnTo>
                    <a:pt x="269" y="234"/>
                  </a:lnTo>
                  <a:lnTo>
                    <a:pt x="283" y="222"/>
                  </a:lnTo>
                  <a:lnTo>
                    <a:pt x="295" y="234"/>
                  </a:lnTo>
                  <a:lnTo>
                    <a:pt x="304" y="250"/>
                  </a:lnTo>
                  <a:lnTo>
                    <a:pt x="328" y="255"/>
                  </a:lnTo>
                  <a:lnTo>
                    <a:pt x="366" y="305"/>
                  </a:lnTo>
                  <a:lnTo>
                    <a:pt x="380" y="309"/>
                  </a:lnTo>
                  <a:lnTo>
                    <a:pt x="397" y="326"/>
                  </a:lnTo>
                  <a:lnTo>
                    <a:pt x="397" y="326"/>
                  </a:lnTo>
                  <a:lnTo>
                    <a:pt x="401" y="326"/>
                  </a:lnTo>
                  <a:lnTo>
                    <a:pt x="413" y="359"/>
                  </a:lnTo>
                  <a:lnTo>
                    <a:pt x="434" y="366"/>
                  </a:lnTo>
                  <a:lnTo>
                    <a:pt x="446" y="383"/>
                  </a:lnTo>
                  <a:lnTo>
                    <a:pt x="451" y="387"/>
                  </a:lnTo>
                  <a:lnTo>
                    <a:pt x="456" y="383"/>
                  </a:lnTo>
                  <a:lnTo>
                    <a:pt x="467" y="387"/>
                  </a:lnTo>
                  <a:lnTo>
                    <a:pt x="467" y="387"/>
                  </a:lnTo>
                  <a:lnTo>
                    <a:pt x="467" y="387"/>
                  </a:lnTo>
                  <a:close/>
                  <a:moveTo>
                    <a:pt x="252" y="149"/>
                  </a:moveTo>
                  <a:lnTo>
                    <a:pt x="252" y="144"/>
                  </a:lnTo>
                  <a:lnTo>
                    <a:pt x="257" y="144"/>
                  </a:lnTo>
                  <a:lnTo>
                    <a:pt x="257" y="149"/>
                  </a:lnTo>
                  <a:lnTo>
                    <a:pt x="252" y="149"/>
                  </a:lnTo>
                  <a:lnTo>
                    <a:pt x="252" y="149"/>
                  </a:lnTo>
                  <a:lnTo>
                    <a:pt x="252" y="149"/>
                  </a:lnTo>
                  <a:close/>
                  <a:moveTo>
                    <a:pt x="252" y="161"/>
                  </a:moveTo>
                  <a:lnTo>
                    <a:pt x="257" y="168"/>
                  </a:lnTo>
                  <a:lnTo>
                    <a:pt x="257" y="177"/>
                  </a:lnTo>
                  <a:lnTo>
                    <a:pt x="269" y="177"/>
                  </a:lnTo>
                  <a:lnTo>
                    <a:pt x="274" y="184"/>
                  </a:lnTo>
                  <a:lnTo>
                    <a:pt x="241" y="184"/>
                  </a:lnTo>
                  <a:lnTo>
                    <a:pt x="241" y="177"/>
                  </a:lnTo>
                  <a:lnTo>
                    <a:pt x="252" y="177"/>
                  </a:lnTo>
                  <a:lnTo>
                    <a:pt x="241" y="168"/>
                  </a:lnTo>
                  <a:lnTo>
                    <a:pt x="252" y="168"/>
                  </a:lnTo>
                  <a:lnTo>
                    <a:pt x="252" y="161"/>
                  </a:lnTo>
                  <a:lnTo>
                    <a:pt x="252" y="161"/>
                  </a:lnTo>
                  <a:lnTo>
                    <a:pt x="252" y="16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0" name="Freeform 436">
              <a:extLst>
                <a:ext uri="{FF2B5EF4-FFF2-40B4-BE49-F238E27FC236}">
                  <a16:creationId xmlns:a16="http://schemas.microsoft.com/office/drawing/2014/main" id="{B1150086-FCE7-4AE3-94C8-5A36B894C059}"/>
                </a:ext>
              </a:extLst>
            </p:cNvPr>
            <p:cNvSpPr>
              <a:spLocks/>
            </p:cNvSpPr>
            <p:nvPr/>
          </p:nvSpPr>
          <p:spPr bwMode="gray">
            <a:xfrm>
              <a:off x="7677194" y="3619997"/>
              <a:ext cx="434724" cy="345430"/>
            </a:xfrm>
            <a:custGeom>
              <a:avLst/>
              <a:gdLst>
                <a:gd name="T0" fmla="*/ 628 w 1056"/>
                <a:gd name="T1" fmla="*/ 794 h 839"/>
                <a:gd name="T2" fmla="*/ 553 w 1056"/>
                <a:gd name="T3" fmla="*/ 778 h 839"/>
                <a:gd name="T4" fmla="*/ 461 w 1056"/>
                <a:gd name="T5" fmla="*/ 839 h 839"/>
                <a:gd name="T6" fmla="*/ 369 w 1056"/>
                <a:gd name="T7" fmla="*/ 822 h 839"/>
                <a:gd name="T8" fmla="*/ 217 w 1056"/>
                <a:gd name="T9" fmla="*/ 761 h 839"/>
                <a:gd name="T10" fmla="*/ 196 w 1056"/>
                <a:gd name="T11" fmla="*/ 737 h 839"/>
                <a:gd name="T12" fmla="*/ 180 w 1056"/>
                <a:gd name="T13" fmla="*/ 688 h 839"/>
                <a:gd name="T14" fmla="*/ 163 w 1056"/>
                <a:gd name="T15" fmla="*/ 688 h 839"/>
                <a:gd name="T16" fmla="*/ 142 w 1056"/>
                <a:gd name="T17" fmla="*/ 650 h 839"/>
                <a:gd name="T18" fmla="*/ 109 w 1056"/>
                <a:gd name="T19" fmla="*/ 593 h 839"/>
                <a:gd name="T20" fmla="*/ 87 w 1056"/>
                <a:gd name="T21" fmla="*/ 577 h 839"/>
                <a:gd name="T22" fmla="*/ 33 w 1056"/>
                <a:gd name="T23" fmla="*/ 522 h 839"/>
                <a:gd name="T24" fmla="*/ 0 w 1056"/>
                <a:gd name="T25" fmla="*/ 506 h 839"/>
                <a:gd name="T26" fmla="*/ 17 w 1056"/>
                <a:gd name="T27" fmla="*/ 473 h 839"/>
                <a:gd name="T28" fmla="*/ 50 w 1056"/>
                <a:gd name="T29" fmla="*/ 466 h 839"/>
                <a:gd name="T30" fmla="*/ 83 w 1056"/>
                <a:gd name="T31" fmla="*/ 461 h 839"/>
                <a:gd name="T32" fmla="*/ 97 w 1056"/>
                <a:gd name="T33" fmla="*/ 338 h 839"/>
                <a:gd name="T34" fmla="*/ 121 w 1056"/>
                <a:gd name="T35" fmla="*/ 296 h 839"/>
                <a:gd name="T36" fmla="*/ 142 w 1056"/>
                <a:gd name="T37" fmla="*/ 296 h 839"/>
                <a:gd name="T38" fmla="*/ 151 w 1056"/>
                <a:gd name="T39" fmla="*/ 246 h 839"/>
                <a:gd name="T40" fmla="*/ 163 w 1056"/>
                <a:gd name="T41" fmla="*/ 222 h 839"/>
                <a:gd name="T42" fmla="*/ 227 w 1056"/>
                <a:gd name="T43" fmla="*/ 156 h 839"/>
                <a:gd name="T44" fmla="*/ 250 w 1056"/>
                <a:gd name="T45" fmla="*/ 78 h 839"/>
                <a:gd name="T46" fmla="*/ 250 w 1056"/>
                <a:gd name="T47" fmla="*/ 45 h 839"/>
                <a:gd name="T48" fmla="*/ 281 w 1056"/>
                <a:gd name="T49" fmla="*/ 45 h 839"/>
                <a:gd name="T50" fmla="*/ 305 w 1056"/>
                <a:gd name="T51" fmla="*/ 29 h 839"/>
                <a:gd name="T52" fmla="*/ 352 w 1056"/>
                <a:gd name="T53" fmla="*/ 0 h 839"/>
                <a:gd name="T54" fmla="*/ 373 w 1056"/>
                <a:gd name="T55" fmla="*/ 17 h 839"/>
                <a:gd name="T56" fmla="*/ 423 w 1056"/>
                <a:gd name="T57" fmla="*/ 29 h 839"/>
                <a:gd name="T58" fmla="*/ 444 w 1056"/>
                <a:gd name="T59" fmla="*/ 29 h 839"/>
                <a:gd name="T60" fmla="*/ 487 w 1056"/>
                <a:gd name="T61" fmla="*/ 41 h 839"/>
                <a:gd name="T62" fmla="*/ 553 w 1056"/>
                <a:gd name="T63" fmla="*/ 57 h 839"/>
                <a:gd name="T64" fmla="*/ 624 w 1056"/>
                <a:gd name="T65" fmla="*/ 128 h 839"/>
                <a:gd name="T66" fmla="*/ 650 w 1056"/>
                <a:gd name="T67" fmla="*/ 156 h 839"/>
                <a:gd name="T68" fmla="*/ 624 w 1056"/>
                <a:gd name="T69" fmla="*/ 230 h 839"/>
                <a:gd name="T70" fmla="*/ 624 w 1056"/>
                <a:gd name="T71" fmla="*/ 284 h 839"/>
                <a:gd name="T72" fmla="*/ 683 w 1056"/>
                <a:gd name="T73" fmla="*/ 279 h 839"/>
                <a:gd name="T74" fmla="*/ 683 w 1056"/>
                <a:gd name="T75" fmla="*/ 317 h 839"/>
                <a:gd name="T76" fmla="*/ 716 w 1056"/>
                <a:gd name="T77" fmla="*/ 362 h 839"/>
                <a:gd name="T78" fmla="*/ 737 w 1056"/>
                <a:gd name="T79" fmla="*/ 407 h 839"/>
                <a:gd name="T80" fmla="*/ 775 w 1056"/>
                <a:gd name="T81" fmla="*/ 433 h 839"/>
                <a:gd name="T82" fmla="*/ 1056 w 1056"/>
                <a:gd name="T83" fmla="*/ 506 h 839"/>
                <a:gd name="T84" fmla="*/ 775 w 1056"/>
                <a:gd name="T85" fmla="*/ 721 h 839"/>
                <a:gd name="T86" fmla="*/ 716 w 1056"/>
                <a:gd name="T87" fmla="*/ 744 h 839"/>
                <a:gd name="T88" fmla="*/ 640 w 1056"/>
                <a:gd name="T89" fmla="*/ 782 h 839"/>
                <a:gd name="T90" fmla="*/ 640 w 1056"/>
                <a:gd name="T91" fmla="*/ 782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56" h="839">
                  <a:moveTo>
                    <a:pt x="640" y="782"/>
                  </a:moveTo>
                  <a:lnTo>
                    <a:pt x="628" y="794"/>
                  </a:lnTo>
                  <a:lnTo>
                    <a:pt x="574" y="799"/>
                  </a:lnTo>
                  <a:lnTo>
                    <a:pt x="553" y="778"/>
                  </a:lnTo>
                  <a:lnTo>
                    <a:pt x="482" y="799"/>
                  </a:lnTo>
                  <a:lnTo>
                    <a:pt x="461" y="839"/>
                  </a:lnTo>
                  <a:lnTo>
                    <a:pt x="390" y="822"/>
                  </a:lnTo>
                  <a:lnTo>
                    <a:pt x="369" y="822"/>
                  </a:lnTo>
                  <a:lnTo>
                    <a:pt x="288" y="766"/>
                  </a:lnTo>
                  <a:lnTo>
                    <a:pt x="217" y="761"/>
                  </a:lnTo>
                  <a:lnTo>
                    <a:pt x="213" y="749"/>
                  </a:lnTo>
                  <a:lnTo>
                    <a:pt x="196" y="737"/>
                  </a:lnTo>
                  <a:lnTo>
                    <a:pt x="206" y="695"/>
                  </a:lnTo>
                  <a:lnTo>
                    <a:pt x="180" y="688"/>
                  </a:lnTo>
                  <a:lnTo>
                    <a:pt x="163" y="695"/>
                  </a:lnTo>
                  <a:lnTo>
                    <a:pt x="163" y="688"/>
                  </a:lnTo>
                  <a:lnTo>
                    <a:pt x="151" y="671"/>
                  </a:lnTo>
                  <a:lnTo>
                    <a:pt x="142" y="650"/>
                  </a:lnTo>
                  <a:lnTo>
                    <a:pt x="125" y="600"/>
                  </a:lnTo>
                  <a:lnTo>
                    <a:pt x="109" y="593"/>
                  </a:lnTo>
                  <a:lnTo>
                    <a:pt x="104" y="584"/>
                  </a:lnTo>
                  <a:lnTo>
                    <a:pt x="87" y="577"/>
                  </a:lnTo>
                  <a:lnTo>
                    <a:pt x="66" y="539"/>
                  </a:lnTo>
                  <a:lnTo>
                    <a:pt x="33" y="522"/>
                  </a:lnTo>
                  <a:lnTo>
                    <a:pt x="0" y="522"/>
                  </a:lnTo>
                  <a:lnTo>
                    <a:pt x="0" y="506"/>
                  </a:lnTo>
                  <a:lnTo>
                    <a:pt x="17" y="489"/>
                  </a:lnTo>
                  <a:lnTo>
                    <a:pt x="17" y="473"/>
                  </a:lnTo>
                  <a:lnTo>
                    <a:pt x="17" y="473"/>
                  </a:lnTo>
                  <a:lnTo>
                    <a:pt x="50" y="466"/>
                  </a:lnTo>
                  <a:lnTo>
                    <a:pt x="54" y="473"/>
                  </a:lnTo>
                  <a:lnTo>
                    <a:pt x="83" y="461"/>
                  </a:lnTo>
                  <a:lnTo>
                    <a:pt x="83" y="395"/>
                  </a:lnTo>
                  <a:lnTo>
                    <a:pt x="97" y="338"/>
                  </a:lnTo>
                  <a:lnTo>
                    <a:pt x="97" y="317"/>
                  </a:lnTo>
                  <a:lnTo>
                    <a:pt x="121" y="296"/>
                  </a:lnTo>
                  <a:lnTo>
                    <a:pt x="135" y="305"/>
                  </a:lnTo>
                  <a:lnTo>
                    <a:pt x="142" y="296"/>
                  </a:lnTo>
                  <a:lnTo>
                    <a:pt x="142" y="267"/>
                  </a:lnTo>
                  <a:lnTo>
                    <a:pt x="151" y="246"/>
                  </a:lnTo>
                  <a:lnTo>
                    <a:pt x="151" y="230"/>
                  </a:lnTo>
                  <a:lnTo>
                    <a:pt x="163" y="222"/>
                  </a:lnTo>
                  <a:lnTo>
                    <a:pt x="196" y="168"/>
                  </a:lnTo>
                  <a:lnTo>
                    <a:pt x="227" y="156"/>
                  </a:lnTo>
                  <a:lnTo>
                    <a:pt x="227" y="135"/>
                  </a:lnTo>
                  <a:lnTo>
                    <a:pt x="250" y="78"/>
                  </a:lnTo>
                  <a:lnTo>
                    <a:pt x="243" y="74"/>
                  </a:lnTo>
                  <a:lnTo>
                    <a:pt x="250" y="45"/>
                  </a:lnTo>
                  <a:lnTo>
                    <a:pt x="272" y="41"/>
                  </a:lnTo>
                  <a:lnTo>
                    <a:pt x="281" y="45"/>
                  </a:lnTo>
                  <a:lnTo>
                    <a:pt x="298" y="41"/>
                  </a:lnTo>
                  <a:lnTo>
                    <a:pt x="305" y="29"/>
                  </a:lnTo>
                  <a:lnTo>
                    <a:pt x="326" y="62"/>
                  </a:lnTo>
                  <a:lnTo>
                    <a:pt x="352" y="0"/>
                  </a:lnTo>
                  <a:lnTo>
                    <a:pt x="357" y="17"/>
                  </a:lnTo>
                  <a:lnTo>
                    <a:pt x="373" y="17"/>
                  </a:lnTo>
                  <a:lnTo>
                    <a:pt x="390" y="41"/>
                  </a:lnTo>
                  <a:lnTo>
                    <a:pt x="423" y="29"/>
                  </a:lnTo>
                  <a:lnTo>
                    <a:pt x="428" y="17"/>
                  </a:lnTo>
                  <a:lnTo>
                    <a:pt x="444" y="29"/>
                  </a:lnTo>
                  <a:lnTo>
                    <a:pt x="461" y="24"/>
                  </a:lnTo>
                  <a:lnTo>
                    <a:pt x="487" y="41"/>
                  </a:lnTo>
                  <a:lnTo>
                    <a:pt x="515" y="29"/>
                  </a:lnTo>
                  <a:lnTo>
                    <a:pt x="553" y="57"/>
                  </a:lnTo>
                  <a:lnTo>
                    <a:pt x="586" y="95"/>
                  </a:lnTo>
                  <a:lnTo>
                    <a:pt x="624" y="128"/>
                  </a:lnTo>
                  <a:lnTo>
                    <a:pt x="628" y="152"/>
                  </a:lnTo>
                  <a:lnTo>
                    <a:pt x="650" y="156"/>
                  </a:lnTo>
                  <a:lnTo>
                    <a:pt x="661" y="185"/>
                  </a:lnTo>
                  <a:lnTo>
                    <a:pt x="624" y="230"/>
                  </a:lnTo>
                  <a:lnTo>
                    <a:pt x="624" y="251"/>
                  </a:lnTo>
                  <a:lnTo>
                    <a:pt x="624" y="284"/>
                  </a:lnTo>
                  <a:lnTo>
                    <a:pt x="640" y="296"/>
                  </a:lnTo>
                  <a:lnTo>
                    <a:pt x="683" y="279"/>
                  </a:lnTo>
                  <a:lnTo>
                    <a:pt x="699" y="284"/>
                  </a:lnTo>
                  <a:lnTo>
                    <a:pt x="683" y="317"/>
                  </a:lnTo>
                  <a:lnTo>
                    <a:pt x="699" y="338"/>
                  </a:lnTo>
                  <a:lnTo>
                    <a:pt x="716" y="362"/>
                  </a:lnTo>
                  <a:lnTo>
                    <a:pt x="721" y="362"/>
                  </a:lnTo>
                  <a:lnTo>
                    <a:pt x="737" y="407"/>
                  </a:lnTo>
                  <a:lnTo>
                    <a:pt x="754" y="407"/>
                  </a:lnTo>
                  <a:lnTo>
                    <a:pt x="775" y="433"/>
                  </a:lnTo>
                  <a:lnTo>
                    <a:pt x="985" y="506"/>
                  </a:lnTo>
                  <a:lnTo>
                    <a:pt x="1056" y="506"/>
                  </a:lnTo>
                  <a:lnTo>
                    <a:pt x="846" y="728"/>
                  </a:lnTo>
                  <a:lnTo>
                    <a:pt x="775" y="721"/>
                  </a:lnTo>
                  <a:lnTo>
                    <a:pt x="754" y="728"/>
                  </a:lnTo>
                  <a:lnTo>
                    <a:pt x="716" y="744"/>
                  </a:lnTo>
                  <a:lnTo>
                    <a:pt x="699" y="766"/>
                  </a:lnTo>
                  <a:lnTo>
                    <a:pt x="640" y="782"/>
                  </a:lnTo>
                  <a:lnTo>
                    <a:pt x="640" y="782"/>
                  </a:lnTo>
                  <a:lnTo>
                    <a:pt x="640" y="78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7" name="Freeform 446">
              <a:extLst>
                <a:ext uri="{FF2B5EF4-FFF2-40B4-BE49-F238E27FC236}">
                  <a16:creationId xmlns:a16="http://schemas.microsoft.com/office/drawing/2014/main" id="{D8EB2096-C9BD-4A7B-B756-37ECD5974768}"/>
                </a:ext>
              </a:extLst>
            </p:cNvPr>
            <p:cNvSpPr>
              <a:spLocks noEditPoints="1"/>
            </p:cNvSpPr>
            <p:nvPr/>
          </p:nvSpPr>
          <p:spPr bwMode="gray">
            <a:xfrm>
              <a:off x="8174080" y="5244217"/>
              <a:ext cx="791641" cy="431068"/>
            </a:xfrm>
            <a:custGeom>
              <a:avLst/>
              <a:gdLst>
                <a:gd name="T0" fmla="*/ 1916 w 1923"/>
                <a:gd name="T1" fmla="*/ 0 h 1047"/>
                <a:gd name="T2" fmla="*/ 1923 w 1923"/>
                <a:gd name="T3" fmla="*/ 12 h 1047"/>
                <a:gd name="T4" fmla="*/ 1923 w 1923"/>
                <a:gd name="T5" fmla="*/ 12 h 1047"/>
                <a:gd name="T6" fmla="*/ 0 w 1923"/>
                <a:gd name="T7" fmla="*/ 714 h 1047"/>
                <a:gd name="T8" fmla="*/ 10 w 1923"/>
                <a:gd name="T9" fmla="*/ 714 h 1047"/>
                <a:gd name="T10" fmla="*/ 10 w 1923"/>
                <a:gd name="T11" fmla="*/ 714 h 1047"/>
                <a:gd name="T12" fmla="*/ 106 w 1923"/>
                <a:gd name="T13" fmla="*/ 737 h 1047"/>
                <a:gd name="T14" fmla="*/ 118 w 1923"/>
                <a:gd name="T15" fmla="*/ 747 h 1047"/>
                <a:gd name="T16" fmla="*/ 118 w 1923"/>
                <a:gd name="T17" fmla="*/ 747 h 1047"/>
                <a:gd name="T18" fmla="*/ 139 w 1923"/>
                <a:gd name="T19" fmla="*/ 747 h 1047"/>
                <a:gd name="T20" fmla="*/ 156 w 1923"/>
                <a:gd name="T21" fmla="*/ 747 h 1047"/>
                <a:gd name="T22" fmla="*/ 139 w 1923"/>
                <a:gd name="T23" fmla="*/ 747 h 1047"/>
                <a:gd name="T24" fmla="*/ 1339 w 1923"/>
                <a:gd name="T25" fmla="*/ 992 h 1047"/>
                <a:gd name="T26" fmla="*/ 1365 w 1923"/>
                <a:gd name="T27" fmla="*/ 992 h 1047"/>
                <a:gd name="T28" fmla="*/ 1361 w 1923"/>
                <a:gd name="T29" fmla="*/ 992 h 1047"/>
                <a:gd name="T30" fmla="*/ 1377 w 1923"/>
                <a:gd name="T31" fmla="*/ 1009 h 1047"/>
                <a:gd name="T32" fmla="*/ 1429 w 1923"/>
                <a:gd name="T33" fmla="*/ 992 h 1047"/>
                <a:gd name="T34" fmla="*/ 1420 w 1923"/>
                <a:gd name="T35" fmla="*/ 1014 h 1047"/>
                <a:gd name="T36" fmla="*/ 1429 w 1923"/>
                <a:gd name="T37" fmla="*/ 1025 h 1047"/>
                <a:gd name="T38" fmla="*/ 1382 w 1923"/>
                <a:gd name="T39" fmla="*/ 1014 h 1047"/>
                <a:gd name="T40" fmla="*/ 1377 w 1923"/>
                <a:gd name="T41" fmla="*/ 1014 h 1047"/>
                <a:gd name="T42" fmla="*/ 1415 w 1923"/>
                <a:gd name="T43" fmla="*/ 1030 h 1047"/>
                <a:gd name="T44" fmla="*/ 1382 w 1923"/>
                <a:gd name="T45" fmla="*/ 1047 h 1047"/>
                <a:gd name="T46" fmla="*/ 1377 w 1923"/>
                <a:gd name="T47" fmla="*/ 1042 h 1047"/>
                <a:gd name="T48" fmla="*/ 1328 w 1923"/>
                <a:gd name="T49" fmla="*/ 1030 h 1047"/>
                <a:gd name="T50" fmla="*/ 1306 w 1923"/>
                <a:gd name="T51" fmla="*/ 1047 h 1047"/>
                <a:gd name="T52" fmla="*/ 1306 w 1923"/>
                <a:gd name="T53" fmla="*/ 985 h 1047"/>
                <a:gd name="T54" fmla="*/ 1328 w 1923"/>
                <a:gd name="T55" fmla="*/ 952 h 1047"/>
                <a:gd name="T56" fmla="*/ 1339 w 1923"/>
                <a:gd name="T57" fmla="*/ 959 h 1047"/>
                <a:gd name="T58" fmla="*/ 1328 w 1923"/>
                <a:gd name="T59" fmla="*/ 992 h 1047"/>
                <a:gd name="T60" fmla="*/ 1339 w 1923"/>
                <a:gd name="T61" fmla="*/ 992 h 1047"/>
                <a:gd name="T62" fmla="*/ 1339 w 1923"/>
                <a:gd name="T63" fmla="*/ 992 h 1047"/>
                <a:gd name="T64" fmla="*/ 1339 w 1923"/>
                <a:gd name="T65" fmla="*/ 976 h 1047"/>
                <a:gd name="T66" fmla="*/ 1349 w 1923"/>
                <a:gd name="T67" fmla="*/ 976 h 1047"/>
                <a:gd name="T68" fmla="*/ 1339 w 1923"/>
                <a:gd name="T69" fmla="*/ 992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3" h="1047">
                  <a:moveTo>
                    <a:pt x="1923" y="12"/>
                  </a:moveTo>
                  <a:lnTo>
                    <a:pt x="1916" y="0"/>
                  </a:lnTo>
                  <a:lnTo>
                    <a:pt x="1923" y="0"/>
                  </a:lnTo>
                  <a:lnTo>
                    <a:pt x="1923" y="12"/>
                  </a:lnTo>
                  <a:lnTo>
                    <a:pt x="1923" y="12"/>
                  </a:lnTo>
                  <a:lnTo>
                    <a:pt x="1923" y="12"/>
                  </a:lnTo>
                  <a:close/>
                  <a:moveTo>
                    <a:pt x="10" y="714"/>
                  </a:moveTo>
                  <a:lnTo>
                    <a:pt x="0" y="714"/>
                  </a:lnTo>
                  <a:lnTo>
                    <a:pt x="10" y="714"/>
                  </a:lnTo>
                  <a:lnTo>
                    <a:pt x="10" y="714"/>
                  </a:lnTo>
                  <a:lnTo>
                    <a:pt x="10" y="714"/>
                  </a:lnTo>
                  <a:lnTo>
                    <a:pt x="10" y="714"/>
                  </a:lnTo>
                  <a:close/>
                  <a:moveTo>
                    <a:pt x="118" y="747"/>
                  </a:moveTo>
                  <a:lnTo>
                    <a:pt x="106" y="737"/>
                  </a:lnTo>
                  <a:lnTo>
                    <a:pt x="118" y="737"/>
                  </a:lnTo>
                  <a:lnTo>
                    <a:pt x="118" y="747"/>
                  </a:lnTo>
                  <a:lnTo>
                    <a:pt x="118" y="747"/>
                  </a:lnTo>
                  <a:lnTo>
                    <a:pt x="118" y="747"/>
                  </a:lnTo>
                  <a:lnTo>
                    <a:pt x="118" y="747"/>
                  </a:lnTo>
                  <a:close/>
                  <a:moveTo>
                    <a:pt x="139" y="747"/>
                  </a:moveTo>
                  <a:lnTo>
                    <a:pt x="139" y="747"/>
                  </a:lnTo>
                  <a:lnTo>
                    <a:pt x="156" y="747"/>
                  </a:lnTo>
                  <a:lnTo>
                    <a:pt x="139" y="747"/>
                  </a:lnTo>
                  <a:lnTo>
                    <a:pt x="139" y="747"/>
                  </a:lnTo>
                  <a:lnTo>
                    <a:pt x="139" y="747"/>
                  </a:lnTo>
                  <a:close/>
                  <a:moveTo>
                    <a:pt x="1339" y="992"/>
                  </a:moveTo>
                  <a:lnTo>
                    <a:pt x="1365" y="976"/>
                  </a:lnTo>
                  <a:lnTo>
                    <a:pt x="1365" y="992"/>
                  </a:lnTo>
                  <a:lnTo>
                    <a:pt x="1344" y="1002"/>
                  </a:lnTo>
                  <a:lnTo>
                    <a:pt x="1361" y="992"/>
                  </a:lnTo>
                  <a:lnTo>
                    <a:pt x="1361" y="1009"/>
                  </a:lnTo>
                  <a:lnTo>
                    <a:pt x="1377" y="1009"/>
                  </a:lnTo>
                  <a:lnTo>
                    <a:pt x="1415" y="985"/>
                  </a:lnTo>
                  <a:lnTo>
                    <a:pt x="1429" y="992"/>
                  </a:lnTo>
                  <a:lnTo>
                    <a:pt x="1436" y="1002"/>
                  </a:lnTo>
                  <a:lnTo>
                    <a:pt x="1420" y="1014"/>
                  </a:lnTo>
                  <a:lnTo>
                    <a:pt x="1415" y="1014"/>
                  </a:lnTo>
                  <a:lnTo>
                    <a:pt x="1429" y="1025"/>
                  </a:lnTo>
                  <a:lnTo>
                    <a:pt x="1403" y="1014"/>
                  </a:lnTo>
                  <a:lnTo>
                    <a:pt x="1382" y="1014"/>
                  </a:lnTo>
                  <a:lnTo>
                    <a:pt x="1391" y="1025"/>
                  </a:lnTo>
                  <a:lnTo>
                    <a:pt x="1377" y="1014"/>
                  </a:lnTo>
                  <a:lnTo>
                    <a:pt x="1382" y="1030"/>
                  </a:lnTo>
                  <a:lnTo>
                    <a:pt x="1415" y="1030"/>
                  </a:lnTo>
                  <a:lnTo>
                    <a:pt x="1415" y="1047"/>
                  </a:lnTo>
                  <a:lnTo>
                    <a:pt x="1382" y="1047"/>
                  </a:lnTo>
                  <a:lnTo>
                    <a:pt x="1365" y="1025"/>
                  </a:lnTo>
                  <a:lnTo>
                    <a:pt x="1377" y="1042"/>
                  </a:lnTo>
                  <a:lnTo>
                    <a:pt x="1344" y="1030"/>
                  </a:lnTo>
                  <a:lnTo>
                    <a:pt x="1328" y="1030"/>
                  </a:lnTo>
                  <a:lnTo>
                    <a:pt x="1328" y="1047"/>
                  </a:lnTo>
                  <a:lnTo>
                    <a:pt x="1306" y="1047"/>
                  </a:lnTo>
                  <a:lnTo>
                    <a:pt x="1311" y="1014"/>
                  </a:lnTo>
                  <a:lnTo>
                    <a:pt x="1306" y="985"/>
                  </a:lnTo>
                  <a:lnTo>
                    <a:pt x="1323" y="952"/>
                  </a:lnTo>
                  <a:lnTo>
                    <a:pt x="1328" y="952"/>
                  </a:lnTo>
                  <a:lnTo>
                    <a:pt x="1323" y="969"/>
                  </a:lnTo>
                  <a:lnTo>
                    <a:pt x="1339" y="959"/>
                  </a:lnTo>
                  <a:lnTo>
                    <a:pt x="1323" y="992"/>
                  </a:lnTo>
                  <a:lnTo>
                    <a:pt x="1328" y="992"/>
                  </a:lnTo>
                  <a:lnTo>
                    <a:pt x="1328" y="976"/>
                  </a:lnTo>
                  <a:lnTo>
                    <a:pt x="1339" y="992"/>
                  </a:lnTo>
                  <a:lnTo>
                    <a:pt x="1339" y="992"/>
                  </a:lnTo>
                  <a:lnTo>
                    <a:pt x="1339" y="992"/>
                  </a:lnTo>
                  <a:close/>
                  <a:moveTo>
                    <a:pt x="1339" y="992"/>
                  </a:moveTo>
                  <a:lnTo>
                    <a:pt x="1339" y="976"/>
                  </a:lnTo>
                  <a:lnTo>
                    <a:pt x="1349" y="969"/>
                  </a:lnTo>
                  <a:lnTo>
                    <a:pt x="1349" y="976"/>
                  </a:lnTo>
                  <a:lnTo>
                    <a:pt x="1339" y="992"/>
                  </a:lnTo>
                  <a:lnTo>
                    <a:pt x="1339" y="992"/>
                  </a:lnTo>
                  <a:lnTo>
                    <a:pt x="1339" y="99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8" name="Freeform 447">
              <a:extLst>
                <a:ext uri="{FF2B5EF4-FFF2-40B4-BE49-F238E27FC236}">
                  <a16:creationId xmlns:a16="http://schemas.microsoft.com/office/drawing/2014/main" id="{1914E4D6-C8E9-4F4D-A5C9-993F5A546958}"/>
                </a:ext>
              </a:extLst>
            </p:cNvPr>
            <p:cNvSpPr>
              <a:spLocks/>
            </p:cNvSpPr>
            <p:nvPr/>
          </p:nvSpPr>
          <p:spPr bwMode="gray">
            <a:xfrm>
              <a:off x="6238819" y="3652111"/>
              <a:ext cx="90567" cy="23468"/>
            </a:xfrm>
            <a:custGeom>
              <a:avLst/>
              <a:gdLst>
                <a:gd name="T0" fmla="*/ 17 w 220"/>
                <a:gd name="T1" fmla="*/ 17 h 57"/>
                <a:gd name="T2" fmla="*/ 95 w 220"/>
                <a:gd name="T3" fmla="*/ 17 h 57"/>
                <a:gd name="T4" fmla="*/ 104 w 220"/>
                <a:gd name="T5" fmla="*/ 5 h 57"/>
                <a:gd name="T6" fmla="*/ 128 w 220"/>
                <a:gd name="T7" fmla="*/ 0 h 57"/>
                <a:gd name="T8" fmla="*/ 144 w 220"/>
                <a:gd name="T9" fmla="*/ 5 h 57"/>
                <a:gd name="T10" fmla="*/ 149 w 220"/>
                <a:gd name="T11" fmla="*/ 17 h 57"/>
                <a:gd name="T12" fmla="*/ 166 w 220"/>
                <a:gd name="T13" fmla="*/ 17 h 57"/>
                <a:gd name="T14" fmla="*/ 182 w 220"/>
                <a:gd name="T15" fmla="*/ 33 h 57"/>
                <a:gd name="T16" fmla="*/ 204 w 220"/>
                <a:gd name="T17" fmla="*/ 17 h 57"/>
                <a:gd name="T18" fmla="*/ 220 w 220"/>
                <a:gd name="T19" fmla="*/ 33 h 57"/>
                <a:gd name="T20" fmla="*/ 215 w 220"/>
                <a:gd name="T21" fmla="*/ 41 h 57"/>
                <a:gd name="T22" fmla="*/ 182 w 220"/>
                <a:gd name="T23" fmla="*/ 50 h 57"/>
                <a:gd name="T24" fmla="*/ 128 w 220"/>
                <a:gd name="T25" fmla="*/ 17 h 57"/>
                <a:gd name="T26" fmla="*/ 111 w 220"/>
                <a:gd name="T27" fmla="*/ 33 h 57"/>
                <a:gd name="T28" fmla="*/ 74 w 220"/>
                <a:gd name="T29" fmla="*/ 41 h 57"/>
                <a:gd name="T30" fmla="*/ 74 w 220"/>
                <a:gd name="T31" fmla="*/ 50 h 57"/>
                <a:gd name="T32" fmla="*/ 12 w 220"/>
                <a:gd name="T33" fmla="*/ 50 h 57"/>
                <a:gd name="T34" fmla="*/ 12 w 220"/>
                <a:gd name="T35" fmla="*/ 57 h 57"/>
                <a:gd name="T36" fmla="*/ 0 w 220"/>
                <a:gd name="T37" fmla="*/ 33 h 57"/>
                <a:gd name="T38" fmla="*/ 12 w 220"/>
                <a:gd name="T39" fmla="*/ 22 h 57"/>
                <a:gd name="T40" fmla="*/ 17 w 220"/>
                <a:gd name="T41" fmla="*/ 33 h 57"/>
                <a:gd name="T42" fmla="*/ 24 w 220"/>
                <a:gd name="T43" fmla="*/ 41 h 57"/>
                <a:gd name="T44" fmla="*/ 41 w 220"/>
                <a:gd name="T45" fmla="*/ 41 h 57"/>
                <a:gd name="T46" fmla="*/ 50 w 220"/>
                <a:gd name="T47" fmla="*/ 41 h 57"/>
                <a:gd name="T48" fmla="*/ 50 w 220"/>
                <a:gd name="T49" fmla="*/ 41 h 57"/>
                <a:gd name="T50" fmla="*/ 41 w 220"/>
                <a:gd name="T51" fmla="*/ 41 h 57"/>
                <a:gd name="T52" fmla="*/ 50 w 220"/>
                <a:gd name="T53" fmla="*/ 33 h 57"/>
                <a:gd name="T54" fmla="*/ 111 w 220"/>
                <a:gd name="T55" fmla="*/ 22 h 57"/>
                <a:gd name="T56" fmla="*/ 95 w 220"/>
                <a:gd name="T57" fmla="*/ 22 h 57"/>
                <a:gd name="T58" fmla="*/ 50 w 220"/>
                <a:gd name="T59" fmla="*/ 33 h 57"/>
                <a:gd name="T60" fmla="*/ 33 w 220"/>
                <a:gd name="T61" fmla="*/ 41 h 57"/>
                <a:gd name="T62" fmla="*/ 24 w 220"/>
                <a:gd name="T63" fmla="*/ 33 h 57"/>
                <a:gd name="T64" fmla="*/ 17 w 220"/>
                <a:gd name="T65" fmla="*/ 17 h 57"/>
                <a:gd name="T66" fmla="*/ 17 w 220"/>
                <a:gd name="T67" fmla="*/ 17 h 57"/>
                <a:gd name="T68" fmla="*/ 17 w 220"/>
                <a:gd name="T69" fmla="*/ 1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0" h="57">
                  <a:moveTo>
                    <a:pt x="17" y="17"/>
                  </a:moveTo>
                  <a:lnTo>
                    <a:pt x="95" y="17"/>
                  </a:lnTo>
                  <a:lnTo>
                    <a:pt x="104" y="5"/>
                  </a:lnTo>
                  <a:lnTo>
                    <a:pt x="128" y="0"/>
                  </a:lnTo>
                  <a:lnTo>
                    <a:pt x="144" y="5"/>
                  </a:lnTo>
                  <a:lnTo>
                    <a:pt x="149" y="17"/>
                  </a:lnTo>
                  <a:lnTo>
                    <a:pt x="166" y="17"/>
                  </a:lnTo>
                  <a:lnTo>
                    <a:pt x="182" y="33"/>
                  </a:lnTo>
                  <a:lnTo>
                    <a:pt x="204" y="17"/>
                  </a:lnTo>
                  <a:lnTo>
                    <a:pt x="220" y="33"/>
                  </a:lnTo>
                  <a:lnTo>
                    <a:pt x="215" y="41"/>
                  </a:lnTo>
                  <a:lnTo>
                    <a:pt x="182" y="50"/>
                  </a:lnTo>
                  <a:lnTo>
                    <a:pt x="128" y="17"/>
                  </a:lnTo>
                  <a:lnTo>
                    <a:pt x="111" y="33"/>
                  </a:lnTo>
                  <a:lnTo>
                    <a:pt x="74" y="41"/>
                  </a:lnTo>
                  <a:lnTo>
                    <a:pt x="74" y="50"/>
                  </a:lnTo>
                  <a:lnTo>
                    <a:pt x="12" y="50"/>
                  </a:lnTo>
                  <a:lnTo>
                    <a:pt x="12" y="57"/>
                  </a:lnTo>
                  <a:lnTo>
                    <a:pt x="0" y="33"/>
                  </a:lnTo>
                  <a:lnTo>
                    <a:pt x="12" y="22"/>
                  </a:lnTo>
                  <a:lnTo>
                    <a:pt x="17" y="33"/>
                  </a:lnTo>
                  <a:lnTo>
                    <a:pt x="24" y="41"/>
                  </a:lnTo>
                  <a:lnTo>
                    <a:pt x="41" y="41"/>
                  </a:lnTo>
                  <a:lnTo>
                    <a:pt x="50" y="41"/>
                  </a:lnTo>
                  <a:lnTo>
                    <a:pt x="50" y="41"/>
                  </a:lnTo>
                  <a:lnTo>
                    <a:pt x="41" y="41"/>
                  </a:lnTo>
                  <a:lnTo>
                    <a:pt x="50" y="33"/>
                  </a:lnTo>
                  <a:lnTo>
                    <a:pt x="111" y="22"/>
                  </a:lnTo>
                  <a:lnTo>
                    <a:pt x="95" y="22"/>
                  </a:lnTo>
                  <a:lnTo>
                    <a:pt x="50" y="33"/>
                  </a:lnTo>
                  <a:lnTo>
                    <a:pt x="33" y="41"/>
                  </a:lnTo>
                  <a:lnTo>
                    <a:pt x="24" y="33"/>
                  </a:lnTo>
                  <a:lnTo>
                    <a:pt x="17" y="17"/>
                  </a:lnTo>
                  <a:lnTo>
                    <a:pt x="17" y="17"/>
                  </a:lnTo>
                  <a:lnTo>
                    <a:pt x="17"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9" name="Freeform 448">
              <a:extLst>
                <a:ext uri="{FF2B5EF4-FFF2-40B4-BE49-F238E27FC236}">
                  <a16:creationId xmlns:a16="http://schemas.microsoft.com/office/drawing/2014/main" id="{4894C5D3-B472-46BA-BE79-479BC7B0984D}"/>
                </a:ext>
              </a:extLst>
            </p:cNvPr>
            <p:cNvSpPr>
              <a:spLocks noEditPoints="1"/>
            </p:cNvSpPr>
            <p:nvPr/>
          </p:nvSpPr>
          <p:spPr bwMode="gray">
            <a:xfrm>
              <a:off x="6978178" y="3996717"/>
              <a:ext cx="166315" cy="185684"/>
            </a:xfrm>
            <a:custGeom>
              <a:avLst/>
              <a:gdLst>
                <a:gd name="T0" fmla="*/ 359 w 404"/>
                <a:gd name="T1" fmla="*/ 184 h 451"/>
                <a:gd name="T2" fmla="*/ 380 w 404"/>
                <a:gd name="T3" fmla="*/ 200 h 451"/>
                <a:gd name="T4" fmla="*/ 404 w 404"/>
                <a:gd name="T5" fmla="*/ 212 h 451"/>
                <a:gd name="T6" fmla="*/ 404 w 404"/>
                <a:gd name="T7" fmla="*/ 257 h 451"/>
                <a:gd name="T8" fmla="*/ 387 w 404"/>
                <a:gd name="T9" fmla="*/ 311 h 451"/>
                <a:gd name="T10" fmla="*/ 359 w 404"/>
                <a:gd name="T11" fmla="*/ 344 h 451"/>
                <a:gd name="T12" fmla="*/ 333 w 404"/>
                <a:gd name="T13" fmla="*/ 344 h 451"/>
                <a:gd name="T14" fmla="*/ 290 w 404"/>
                <a:gd name="T15" fmla="*/ 307 h 451"/>
                <a:gd name="T16" fmla="*/ 269 w 404"/>
                <a:gd name="T17" fmla="*/ 307 h 451"/>
                <a:gd name="T18" fmla="*/ 257 w 404"/>
                <a:gd name="T19" fmla="*/ 340 h 451"/>
                <a:gd name="T20" fmla="*/ 224 w 404"/>
                <a:gd name="T21" fmla="*/ 340 h 451"/>
                <a:gd name="T22" fmla="*/ 198 w 404"/>
                <a:gd name="T23" fmla="*/ 340 h 451"/>
                <a:gd name="T24" fmla="*/ 198 w 404"/>
                <a:gd name="T25" fmla="*/ 378 h 451"/>
                <a:gd name="T26" fmla="*/ 215 w 404"/>
                <a:gd name="T27" fmla="*/ 385 h 451"/>
                <a:gd name="T28" fmla="*/ 224 w 404"/>
                <a:gd name="T29" fmla="*/ 406 h 451"/>
                <a:gd name="T30" fmla="*/ 219 w 404"/>
                <a:gd name="T31" fmla="*/ 434 h 451"/>
                <a:gd name="T32" fmla="*/ 198 w 404"/>
                <a:gd name="T33" fmla="*/ 422 h 451"/>
                <a:gd name="T34" fmla="*/ 165 w 404"/>
                <a:gd name="T35" fmla="*/ 451 h 451"/>
                <a:gd name="T36" fmla="*/ 63 w 404"/>
                <a:gd name="T37" fmla="*/ 344 h 451"/>
                <a:gd name="T38" fmla="*/ 96 w 404"/>
                <a:gd name="T39" fmla="*/ 352 h 451"/>
                <a:gd name="T40" fmla="*/ 89 w 404"/>
                <a:gd name="T41" fmla="*/ 352 h 451"/>
                <a:gd name="T42" fmla="*/ 75 w 404"/>
                <a:gd name="T43" fmla="*/ 344 h 451"/>
                <a:gd name="T44" fmla="*/ 42 w 404"/>
                <a:gd name="T45" fmla="*/ 307 h 451"/>
                <a:gd name="T46" fmla="*/ 59 w 404"/>
                <a:gd name="T47" fmla="*/ 311 h 451"/>
                <a:gd name="T48" fmla="*/ 37 w 404"/>
                <a:gd name="T49" fmla="*/ 295 h 451"/>
                <a:gd name="T50" fmla="*/ 21 w 404"/>
                <a:gd name="T51" fmla="*/ 257 h 451"/>
                <a:gd name="T52" fmla="*/ 54 w 404"/>
                <a:gd name="T53" fmla="*/ 290 h 451"/>
                <a:gd name="T54" fmla="*/ 54 w 404"/>
                <a:gd name="T55" fmla="*/ 274 h 451"/>
                <a:gd name="T56" fmla="*/ 42 w 404"/>
                <a:gd name="T57" fmla="*/ 257 h 451"/>
                <a:gd name="T58" fmla="*/ 21 w 404"/>
                <a:gd name="T59" fmla="*/ 257 h 451"/>
                <a:gd name="T60" fmla="*/ 0 w 404"/>
                <a:gd name="T61" fmla="*/ 212 h 451"/>
                <a:gd name="T62" fmla="*/ 42 w 404"/>
                <a:gd name="T63" fmla="*/ 196 h 451"/>
                <a:gd name="T64" fmla="*/ 54 w 404"/>
                <a:gd name="T65" fmla="*/ 155 h 451"/>
                <a:gd name="T66" fmla="*/ 80 w 404"/>
                <a:gd name="T67" fmla="*/ 155 h 451"/>
                <a:gd name="T68" fmla="*/ 42 w 404"/>
                <a:gd name="T69" fmla="*/ 127 h 451"/>
                <a:gd name="T70" fmla="*/ 59 w 404"/>
                <a:gd name="T71" fmla="*/ 118 h 451"/>
                <a:gd name="T72" fmla="*/ 59 w 404"/>
                <a:gd name="T73" fmla="*/ 101 h 451"/>
                <a:gd name="T74" fmla="*/ 75 w 404"/>
                <a:gd name="T75" fmla="*/ 101 h 451"/>
                <a:gd name="T76" fmla="*/ 89 w 404"/>
                <a:gd name="T77" fmla="*/ 101 h 451"/>
                <a:gd name="T78" fmla="*/ 182 w 404"/>
                <a:gd name="T79" fmla="*/ 11 h 451"/>
                <a:gd name="T80" fmla="*/ 252 w 404"/>
                <a:gd name="T81" fmla="*/ 0 h 451"/>
                <a:gd name="T82" fmla="*/ 311 w 404"/>
                <a:gd name="T83" fmla="*/ 0 h 451"/>
                <a:gd name="T84" fmla="*/ 307 w 404"/>
                <a:gd name="T85" fmla="*/ 44 h 451"/>
                <a:gd name="T86" fmla="*/ 311 w 404"/>
                <a:gd name="T87" fmla="*/ 85 h 451"/>
                <a:gd name="T88" fmla="*/ 380 w 404"/>
                <a:gd name="T89" fmla="*/ 68 h 451"/>
                <a:gd name="T90" fmla="*/ 387 w 404"/>
                <a:gd name="T91" fmla="*/ 122 h 451"/>
                <a:gd name="T92" fmla="*/ 366 w 404"/>
                <a:gd name="T93" fmla="*/ 146 h 451"/>
                <a:gd name="T94" fmla="*/ 359 w 404"/>
                <a:gd name="T95" fmla="*/ 179 h 451"/>
                <a:gd name="T96" fmla="*/ 21 w 404"/>
                <a:gd name="T97" fmla="*/ 229 h 451"/>
                <a:gd name="T98" fmla="*/ 21 w 404"/>
                <a:gd name="T99" fmla="*/ 212 h 451"/>
                <a:gd name="T100" fmla="*/ 21 w 404"/>
                <a:gd name="T101" fmla="*/ 229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4" h="451">
                  <a:moveTo>
                    <a:pt x="359" y="179"/>
                  </a:moveTo>
                  <a:lnTo>
                    <a:pt x="359" y="184"/>
                  </a:lnTo>
                  <a:lnTo>
                    <a:pt x="375" y="184"/>
                  </a:lnTo>
                  <a:lnTo>
                    <a:pt x="380" y="200"/>
                  </a:lnTo>
                  <a:lnTo>
                    <a:pt x="396" y="200"/>
                  </a:lnTo>
                  <a:lnTo>
                    <a:pt x="404" y="212"/>
                  </a:lnTo>
                  <a:lnTo>
                    <a:pt x="396" y="240"/>
                  </a:lnTo>
                  <a:lnTo>
                    <a:pt x="404" y="257"/>
                  </a:lnTo>
                  <a:lnTo>
                    <a:pt x="396" y="307"/>
                  </a:lnTo>
                  <a:lnTo>
                    <a:pt x="387" y="311"/>
                  </a:lnTo>
                  <a:lnTo>
                    <a:pt x="375" y="344"/>
                  </a:lnTo>
                  <a:lnTo>
                    <a:pt x="359" y="344"/>
                  </a:lnTo>
                  <a:lnTo>
                    <a:pt x="349" y="323"/>
                  </a:lnTo>
                  <a:lnTo>
                    <a:pt x="333" y="344"/>
                  </a:lnTo>
                  <a:lnTo>
                    <a:pt x="295" y="340"/>
                  </a:lnTo>
                  <a:lnTo>
                    <a:pt x="290" y="307"/>
                  </a:lnTo>
                  <a:lnTo>
                    <a:pt x="274" y="295"/>
                  </a:lnTo>
                  <a:lnTo>
                    <a:pt x="269" y="307"/>
                  </a:lnTo>
                  <a:lnTo>
                    <a:pt x="257" y="307"/>
                  </a:lnTo>
                  <a:lnTo>
                    <a:pt x="257" y="340"/>
                  </a:lnTo>
                  <a:lnTo>
                    <a:pt x="236" y="344"/>
                  </a:lnTo>
                  <a:lnTo>
                    <a:pt x="224" y="340"/>
                  </a:lnTo>
                  <a:lnTo>
                    <a:pt x="215" y="344"/>
                  </a:lnTo>
                  <a:lnTo>
                    <a:pt x="198" y="340"/>
                  </a:lnTo>
                  <a:lnTo>
                    <a:pt x="203" y="352"/>
                  </a:lnTo>
                  <a:lnTo>
                    <a:pt x="198" y="378"/>
                  </a:lnTo>
                  <a:lnTo>
                    <a:pt x="203" y="368"/>
                  </a:lnTo>
                  <a:lnTo>
                    <a:pt x="215" y="385"/>
                  </a:lnTo>
                  <a:lnTo>
                    <a:pt x="203" y="401"/>
                  </a:lnTo>
                  <a:lnTo>
                    <a:pt x="224" y="406"/>
                  </a:lnTo>
                  <a:lnTo>
                    <a:pt x="219" y="422"/>
                  </a:lnTo>
                  <a:lnTo>
                    <a:pt x="219" y="434"/>
                  </a:lnTo>
                  <a:lnTo>
                    <a:pt x="215" y="434"/>
                  </a:lnTo>
                  <a:lnTo>
                    <a:pt x="198" y="422"/>
                  </a:lnTo>
                  <a:lnTo>
                    <a:pt x="172" y="434"/>
                  </a:lnTo>
                  <a:lnTo>
                    <a:pt x="165" y="451"/>
                  </a:lnTo>
                  <a:lnTo>
                    <a:pt x="118" y="394"/>
                  </a:lnTo>
                  <a:lnTo>
                    <a:pt x="63" y="344"/>
                  </a:lnTo>
                  <a:lnTo>
                    <a:pt x="89" y="361"/>
                  </a:lnTo>
                  <a:lnTo>
                    <a:pt x="96" y="352"/>
                  </a:lnTo>
                  <a:lnTo>
                    <a:pt x="96" y="352"/>
                  </a:lnTo>
                  <a:lnTo>
                    <a:pt x="89" y="352"/>
                  </a:lnTo>
                  <a:lnTo>
                    <a:pt x="80" y="344"/>
                  </a:lnTo>
                  <a:lnTo>
                    <a:pt x="75" y="344"/>
                  </a:lnTo>
                  <a:lnTo>
                    <a:pt x="59" y="340"/>
                  </a:lnTo>
                  <a:lnTo>
                    <a:pt x="42" y="307"/>
                  </a:lnTo>
                  <a:lnTo>
                    <a:pt x="54" y="307"/>
                  </a:lnTo>
                  <a:lnTo>
                    <a:pt x="59" y="311"/>
                  </a:lnTo>
                  <a:lnTo>
                    <a:pt x="54" y="307"/>
                  </a:lnTo>
                  <a:lnTo>
                    <a:pt x="37" y="295"/>
                  </a:lnTo>
                  <a:lnTo>
                    <a:pt x="37" y="283"/>
                  </a:lnTo>
                  <a:lnTo>
                    <a:pt x="21" y="257"/>
                  </a:lnTo>
                  <a:lnTo>
                    <a:pt x="37" y="290"/>
                  </a:lnTo>
                  <a:lnTo>
                    <a:pt x="54" y="290"/>
                  </a:lnTo>
                  <a:lnTo>
                    <a:pt x="54" y="283"/>
                  </a:lnTo>
                  <a:lnTo>
                    <a:pt x="54" y="274"/>
                  </a:lnTo>
                  <a:lnTo>
                    <a:pt x="37" y="283"/>
                  </a:lnTo>
                  <a:lnTo>
                    <a:pt x="42" y="257"/>
                  </a:lnTo>
                  <a:lnTo>
                    <a:pt x="37" y="266"/>
                  </a:lnTo>
                  <a:lnTo>
                    <a:pt x="21" y="257"/>
                  </a:lnTo>
                  <a:lnTo>
                    <a:pt x="0" y="212"/>
                  </a:lnTo>
                  <a:lnTo>
                    <a:pt x="0" y="212"/>
                  </a:lnTo>
                  <a:lnTo>
                    <a:pt x="21" y="229"/>
                  </a:lnTo>
                  <a:lnTo>
                    <a:pt x="42" y="196"/>
                  </a:lnTo>
                  <a:lnTo>
                    <a:pt x="42" y="139"/>
                  </a:lnTo>
                  <a:lnTo>
                    <a:pt x="54" y="155"/>
                  </a:lnTo>
                  <a:lnTo>
                    <a:pt x="75" y="163"/>
                  </a:lnTo>
                  <a:lnTo>
                    <a:pt x="80" y="155"/>
                  </a:lnTo>
                  <a:lnTo>
                    <a:pt x="54" y="146"/>
                  </a:lnTo>
                  <a:lnTo>
                    <a:pt x="42" y="127"/>
                  </a:lnTo>
                  <a:lnTo>
                    <a:pt x="42" y="122"/>
                  </a:lnTo>
                  <a:lnTo>
                    <a:pt x="59" y="118"/>
                  </a:lnTo>
                  <a:lnTo>
                    <a:pt x="59" y="127"/>
                  </a:lnTo>
                  <a:lnTo>
                    <a:pt x="59" y="101"/>
                  </a:lnTo>
                  <a:lnTo>
                    <a:pt x="63" y="89"/>
                  </a:lnTo>
                  <a:lnTo>
                    <a:pt x="75" y="101"/>
                  </a:lnTo>
                  <a:lnTo>
                    <a:pt x="80" y="101"/>
                  </a:lnTo>
                  <a:lnTo>
                    <a:pt x="89" y="101"/>
                  </a:lnTo>
                  <a:lnTo>
                    <a:pt x="182" y="101"/>
                  </a:lnTo>
                  <a:lnTo>
                    <a:pt x="182" y="11"/>
                  </a:lnTo>
                  <a:lnTo>
                    <a:pt x="182" y="0"/>
                  </a:lnTo>
                  <a:lnTo>
                    <a:pt x="252" y="0"/>
                  </a:lnTo>
                  <a:lnTo>
                    <a:pt x="278" y="0"/>
                  </a:lnTo>
                  <a:lnTo>
                    <a:pt x="311" y="0"/>
                  </a:lnTo>
                  <a:lnTo>
                    <a:pt x="321" y="11"/>
                  </a:lnTo>
                  <a:lnTo>
                    <a:pt x="307" y="44"/>
                  </a:lnTo>
                  <a:lnTo>
                    <a:pt x="311" y="68"/>
                  </a:lnTo>
                  <a:lnTo>
                    <a:pt x="311" y="85"/>
                  </a:lnTo>
                  <a:lnTo>
                    <a:pt x="349" y="68"/>
                  </a:lnTo>
                  <a:lnTo>
                    <a:pt x="380" y="68"/>
                  </a:lnTo>
                  <a:lnTo>
                    <a:pt x="404" y="101"/>
                  </a:lnTo>
                  <a:lnTo>
                    <a:pt x="387" y="122"/>
                  </a:lnTo>
                  <a:lnTo>
                    <a:pt x="375" y="127"/>
                  </a:lnTo>
                  <a:lnTo>
                    <a:pt x="366" y="146"/>
                  </a:lnTo>
                  <a:lnTo>
                    <a:pt x="359" y="179"/>
                  </a:lnTo>
                  <a:lnTo>
                    <a:pt x="359" y="179"/>
                  </a:lnTo>
                  <a:lnTo>
                    <a:pt x="359" y="179"/>
                  </a:lnTo>
                  <a:close/>
                  <a:moveTo>
                    <a:pt x="21" y="229"/>
                  </a:moveTo>
                  <a:lnTo>
                    <a:pt x="9" y="217"/>
                  </a:lnTo>
                  <a:lnTo>
                    <a:pt x="21" y="212"/>
                  </a:lnTo>
                  <a:lnTo>
                    <a:pt x="21" y="229"/>
                  </a:lnTo>
                  <a:lnTo>
                    <a:pt x="21" y="229"/>
                  </a:lnTo>
                  <a:lnTo>
                    <a:pt x="21" y="22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1" name="Freeform 450">
              <a:extLst>
                <a:ext uri="{FF2B5EF4-FFF2-40B4-BE49-F238E27FC236}">
                  <a16:creationId xmlns:a16="http://schemas.microsoft.com/office/drawing/2014/main" id="{796E2358-96DF-4E2D-ABF5-EFB6928DABF7}"/>
                </a:ext>
              </a:extLst>
            </p:cNvPr>
            <p:cNvSpPr>
              <a:spLocks/>
            </p:cNvSpPr>
            <p:nvPr/>
          </p:nvSpPr>
          <p:spPr bwMode="gray">
            <a:xfrm>
              <a:off x="6631964" y="3734043"/>
              <a:ext cx="128441" cy="192272"/>
            </a:xfrm>
            <a:custGeom>
              <a:avLst/>
              <a:gdLst>
                <a:gd name="T0" fmla="*/ 16 w 312"/>
                <a:gd name="T1" fmla="*/ 432 h 467"/>
                <a:gd name="T2" fmla="*/ 16 w 312"/>
                <a:gd name="T3" fmla="*/ 432 h 467"/>
                <a:gd name="T4" fmla="*/ 21 w 312"/>
                <a:gd name="T5" fmla="*/ 432 h 467"/>
                <a:gd name="T6" fmla="*/ 38 w 312"/>
                <a:gd name="T7" fmla="*/ 432 h 467"/>
                <a:gd name="T8" fmla="*/ 38 w 312"/>
                <a:gd name="T9" fmla="*/ 406 h 467"/>
                <a:gd name="T10" fmla="*/ 21 w 312"/>
                <a:gd name="T11" fmla="*/ 394 h 467"/>
                <a:gd name="T12" fmla="*/ 0 w 312"/>
                <a:gd name="T13" fmla="*/ 321 h 467"/>
                <a:gd name="T14" fmla="*/ 4 w 312"/>
                <a:gd name="T15" fmla="*/ 316 h 467"/>
                <a:gd name="T16" fmla="*/ 21 w 312"/>
                <a:gd name="T17" fmla="*/ 295 h 467"/>
                <a:gd name="T18" fmla="*/ 38 w 312"/>
                <a:gd name="T19" fmla="*/ 227 h 467"/>
                <a:gd name="T20" fmla="*/ 54 w 312"/>
                <a:gd name="T21" fmla="*/ 210 h 467"/>
                <a:gd name="T22" fmla="*/ 42 w 312"/>
                <a:gd name="T23" fmla="*/ 156 h 467"/>
                <a:gd name="T24" fmla="*/ 38 w 312"/>
                <a:gd name="T25" fmla="*/ 149 h 467"/>
                <a:gd name="T26" fmla="*/ 42 w 312"/>
                <a:gd name="T27" fmla="*/ 116 h 467"/>
                <a:gd name="T28" fmla="*/ 38 w 312"/>
                <a:gd name="T29" fmla="*/ 111 h 467"/>
                <a:gd name="T30" fmla="*/ 38 w 312"/>
                <a:gd name="T31" fmla="*/ 61 h 467"/>
                <a:gd name="T32" fmla="*/ 21 w 312"/>
                <a:gd name="T33" fmla="*/ 26 h 467"/>
                <a:gd name="T34" fmla="*/ 30 w 312"/>
                <a:gd name="T35" fmla="*/ 5 h 467"/>
                <a:gd name="T36" fmla="*/ 160 w 312"/>
                <a:gd name="T37" fmla="*/ 5 h 467"/>
                <a:gd name="T38" fmla="*/ 182 w 312"/>
                <a:gd name="T39" fmla="*/ 5 h 467"/>
                <a:gd name="T40" fmla="*/ 182 w 312"/>
                <a:gd name="T41" fmla="*/ 16 h 467"/>
                <a:gd name="T42" fmla="*/ 205 w 312"/>
                <a:gd name="T43" fmla="*/ 0 h 467"/>
                <a:gd name="T44" fmla="*/ 219 w 312"/>
                <a:gd name="T45" fmla="*/ 0 h 467"/>
                <a:gd name="T46" fmla="*/ 231 w 312"/>
                <a:gd name="T47" fmla="*/ 5 h 467"/>
                <a:gd name="T48" fmla="*/ 219 w 312"/>
                <a:gd name="T49" fmla="*/ 26 h 467"/>
                <a:gd name="T50" fmla="*/ 252 w 312"/>
                <a:gd name="T51" fmla="*/ 54 h 467"/>
                <a:gd name="T52" fmla="*/ 252 w 312"/>
                <a:gd name="T53" fmla="*/ 61 h 467"/>
                <a:gd name="T54" fmla="*/ 257 w 312"/>
                <a:gd name="T55" fmla="*/ 78 h 467"/>
                <a:gd name="T56" fmla="*/ 248 w 312"/>
                <a:gd name="T57" fmla="*/ 116 h 467"/>
                <a:gd name="T58" fmla="*/ 257 w 312"/>
                <a:gd name="T59" fmla="*/ 116 h 467"/>
                <a:gd name="T60" fmla="*/ 269 w 312"/>
                <a:gd name="T61" fmla="*/ 127 h 467"/>
                <a:gd name="T62" fmla="*/ 257 w 312"/>
                <a:gd name="T63" fmla="*/ 149 h 467"/>
                <a:gd name="T64" fmla="*/ 269 w 312"/>
                <a:gd name="T65" fmla="*/ 165 h 467"/>
                <a:gd name="T66" fmla="*/ 252 w 312"/>
                <a:gd name="T67" fmla="*/ 172 h 467"/>
                <a:gd name="T68" fmla="*/ 286 w 312"/>
                <a:gd name="T69" fmla="*/ 205 h 467"/>
                <a:gd name="T70" fmla="*/ 274 w 312"/>
                <a:gd name="T71" fmla="*/ 210 h 467"/>
                <a:gd name="T72" fmla="*/ 269 w 312"/>
                <a:gd name="T73" fmla="*/ 243 h 467"/>
                <a:gd name="T74" fmla="*/ 269 w 312"/>
                <a:gd name="T75" fmla="*/ 260 h 467"/>
                <a:gd name="T76" fmla="*/ 269 w 312"/>
                <a:gd name="T77" fmla="*/ 267 h 467"/>
                <a:gd name="T78" fmla="*/ 274 w 312"/>
                <a:gd name="T79" fmla="*/ 276 h 467"/>
                <a:gd name="T80" fmla="*/ 274 w 312"/>
                <a:gd name="T81" fmla="*/ 300 h 467"/>
                <a:gd name="T82" fmla="*/ 269 w 312"/>
                <a:gd name="T83" fmla="*/ 300 h 467"/>
                <a:gd name="T84" fmla="*/ 286 w 312"/>
                <a:gd name="T85" fmla="*/ 338 h 467"/>
                <a:gd name="T86" fmla="*/ 302 w 312"/>
                <a:gd name="T87" fmla="*/ 349 h 467"/>
                <a:gd name="T88" fmla="*/ 312 w 312"/>
                <a:gd name="T89" fmla="*/ 361 h 467"/>
                <a:gd name="T90" fmla="*/ 302 w 312"/>
                <a:gd name="T91" fmla="*/ 390 h 467"/>
                <a:gd name="T92" fmla="*/ 274 w 312"/>
                <a:gd name="T93" fmla="*/ 390 h 467"/>
                <a:gd name="T94" fmla="*/ 269 w 312"/>
                <a:gd name="T95" fmla="*/ 373 h 467"/>
                <a:gd name="T96" fmla="*/ 248 w 312"/>
                <a:gd name="T97" fmla="*/ 361 h 467"/>
                <a:gd name="T98" fmla="*/ 269 w 312"/>
                <a:gd name="T99" fmla="*/ 373 h 467"/>
                <a:gd name="T100" fmla="*/ 274 w 312"/>
                <a:gd name="T101" fmla="*/ 390 h 467"/>
                <a:gd name="T102" fmla="*/ 248 w 312"/>
                <a:gd name="T103" fmla="*/ 390 h 467"/>
                <a:gd name="T104" fmla="*/ 177 w 312"/>
                <a:gd name="T105" fmla="*/ 427 h 467"/>
                <a:gd name="T106" fmla="*/ 113 w 312"/>
                <a:gd name="T107" fmla="*/ 444 h 467"/>
                <a:gd name="T108" fmla="*/ 85 w 312"/>
                <a:gd name="T109" fmla="*/ 467 h 467"/>
                <a:gd name="T110" fmla="*/ 68 w 312"/>
                <a:gd name="T111" fmla="*/ 451 h 467"/>
                <a:gd name="T112" fmla="*/ 16 w 312"/>
                <a:gd name="T113" fmla="*/ 432 h 467"/>
                <a:gd name="T114" fmla="*/ 16 w 312"/>
                <a:gd name="T115" fmla="*/ 432 h 467"/>
                <a:gd name="T116" fmla="*/ 16 w 312"/>
                <a:gd name="T117" fmla="*/ 432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2" h="467">
                  <a:moveTo>
                    <a:pt x="16" y="432"/>
                  </a:moveTo>
                  <a:lnTo>
                    <a:pt x="16" y="432"/>
                  </a:lnTo>
                  <a:lnTo>
                    <a:pt x="21" y="432"/>
                  </a:lnTo>
                  <a:lnTo>
                    <a:pt x="38" y="432"/>
                  </a:lnTo>
                  <a:lnTo>
                    <a:pt x="38" y="406"/>
                  </a:lnTo>
                  <a:lnTo>
                    <a:pt x="21" y="394"/>
                  </a:lnTo>
                  <a:lnTo>
                    <a:pt x="0" y="321"/>
                  </a:lnTo>
                  <a:lnTo>
                    <a:pt x="4" y="316"/>
                  </a:lnTo>
                  <a:lnTo>
                    <a:pt x="21" y="295"/>
                  </a:lnTo>
                  <a:lnTo>
                    <a:pt x="38" y="227"/>
                  </a:lnTo>
                  <a:lnTo>
                    <a:pt x="54" y="210"/>
                  </a:lnTo>
                  <a:lnTo>
                    <a:pt x="42" y="156"/>
                  </a:lnTo>
                  <a:lnTo>
                    <a:pt x="38" y="149"/>
                  </a:lnTo>
                  <a:lnTo>
                    <a:pt x="42" y="116"/>
                  </a:lnTo>
                  <a:lnTo>
                    <a:pt x="38" y="111"/>
                  </a:lnTo>
                  <a:lnTo>
                    <a:pt x="38" y="61"/>
                  </a:lnTo>
                  <a:lnTo>
                    <a:pt x="21" y="26"/>
                  </a:lnTo>
                  <a:lnTo>
                    <a:pt x="30" y="5"/>
                  </a:lnTo>
                  <a:lnTo>
                    <a:pt x="160" y="5"/>
                  </a:lnTo>
                  <a:lnTo>
                    <a:pt x="182" y="5"/>
                  </a:lnTo>
                  <a:lnTo>
                    <a:pt x="182" y="16"/>
                  </a:lnTo>
                  <a:lnTo>
                    <a:pt x="205" y="0"/>
                  </a:lnTo>
                  <a:lnTo>
                    <a:pt x="219" y="0"/>
                  </a:lnTo>
                  <a:lnTo>
                    <a:pt x="231" y="5"/>
                  </a:lnTo>
                  <a:lnTo>
                    <a:pt x="219" y="26"/>
                  </a:lnTo>
                  <a:lnTo>
                    <a:pt x="252" y="54"/>
                  </a:lnTo>
                  <a:lnTo>
                    <a:pt x="252" y="61"/>
                  </a:lnTo>
                  <a:lnTo>
                    <a:pt x="257" y="78"/>
                  </a:lnTo>
                  <a:lnTo>
                    <a:pt x="248" y="116"/>
                  </a:lnTo>
                  <a:lnTo>
                    <a:pt x="257" y="116"/>
                  </a:lnTo>
                  <a:lnTo>
                    <a:pt x="269" y="127"/>
                  </a:lnTo>
                  <a:lnTo>
                    <a:pt x="257" y="149"/>
                  </a:lnTo>
                  <a:lnTo>
                    <a:pt x="269" y="165"/>
                  </a:lnTo>
                  <a:lnTo>
                    <a:pt x="252" y="172"/>
                  </a:lnTo>
                  <a:lnTo>
                    <a:pt x="286" y="205"/>
                  </a:lnTo>
                  <a:lnTo>
                    <a:pt x="274" y="210"/>
                  </a:lnTo>
                  <a:lnTo>
                    <a:pt x="269" y="243"/>
                  </a:lnTo>
                  <a:lnTo>
                    <a:pt x="269" y="260"/>
                  </a:lnTo>
                  <a:lnTo>
                    <a:pt x="269" y="267"/>
                  </a:lnTo>
                  <a:lnTo>
                    <a:pt x="274" y="276"/>
                  </a:lnTo>
                  <a:lnTo>
                    <a:pt x="274" y="300"/>
                  </a:lnTo>
                  <a:lnTo>
                    <a:pt x="269" y="300"/>
                  </a:lnTo>
                  <a:lnTo>
                    <a:pt x="286" y="338"/>
                  </a:lnTo>
                  <a:lnTo>
                    <a:pt x="302" y="349"/>
                  </a:lnTo>
                  <a:lnTo>
                    <a:pt x="312" y="361"/>
                  </a:lnTo>
                  <a:lnTo>
                    <a:pt x="302" y="390"/>
                  </a:lnTo>
                  <a:lnTo>
                    <a:pt x="274" y="390"/>
                  </a:lnTo>
                  <a:lnTo>
                    <a:pt x="269" y="373"/>
                  </a:lnTo>
                  <a:lnTo>
                    <a:pt x="248" y="361"/>
                  </a:lnTo>
                  <a:lnTo>
                    <a:pt x="269" y="373"/>
                  </a:lnTo>
                  <a:lnTo>
                    <a:pt x="274" y="390"/>
                  </a:lnTo>
                  <a:lnTo>
                    <a:pt x="248" y="390"/>
                  </a:lnTo>
                  <a:lnTo>
                    <a:pt x="177" y="427"/>
                  </a:lnTo>
                  <a:lnTo>
                    <a:pt x="113" y="444"/>
                  </a:lnTo>
                  <a:lnTo>
                    <a:pt x="85" y="467"/>
                  </a:lnTo>
                  <a:lnTo>
                    <a:pt x="68" y="451"/>
                  </a:lnTo>
                  <a:lnTo>
                    <a:pt x="16" y="432"/>
                  </a:lnTo>
                  <a:lnTo>
                    <a:pt x="16" y="432"/>
                  </a:lnTo>
                  <a:lnTo>
                    <a:pt x="16" y="43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8" name="Freeform 458">
              <a:extLst>
                <a:ext uri="{FF2B5EF4-FFF2-40B4-BE49-F238E27FC236}">
                  <a16:creationId xmlns:a16="http://schemas.microsoft.com/office/drawing/2014/main" id="{06738A96-1BFC-43B4-8426-19E31030BD79}"/>
                </a:ext>
              </a:extLst>
            </p:cNvPr>
            <p:cNvSpPr>
              <a:spLocks/>
            </p:cNvSpPr>
            <p:nvPr/>
          </p:nvSpPr>
          <p:spPr bwMode="gray">
            <a:xfrm>
              <a:off x="6290689" y="3689166"/>
              <a:ext cx="213657" cy="160570"/>
            </a:xfrm>
            <a:custGeom>
              <a:avLst/>
              <a:gdLst>
                <a:gd name="T0" fmla="*/ 21 w 519"/>
                <a:gd name="T1" fmla="*/ 83 h 390"/>
                <a:gd name="T2" fmla="*/ 54 w 519"/>
                <a:gd name="T3" fmla="*/ 71 h 390"/>
                <a:gd name="T4" fmla="*/ 92 w 519"/>
                <a:gd name="T5" fmla="*/ 71 h 390"/>
                <a:gd name="T6" fmla="*/ 75 w 519"/>
                <a:gd name="T7" fmla="*/ 38 h 390"/>
                <a:gd name="T8" fmla="*/ 92 w 519"/>
                <a:gd name="T9" fmla="*/ 0 h 390"/>
                <a:gd name="T10" fmla="*/ 141 w 519"/>
                <a:gd name="T11" fmla="*/ 17 h 390"/>
                <a:gd name="T12" fmla="*/ 196 w 519"/>
                <a:gd name="T13" fmla="*/ 21 h 390"/>
                <a:gd name="T14" fmla="*/ 264 w 519"/>
                <a:gd name="T15" fmla="*/ 17 h 390"/>
                <a:gd name="T16" fmla="*/ 271 w 519"/>
                <a:gd name="T17" fmla="*/ 45 h 390"/>
                <a:gd name="T18" fmla="*/ 309 w 519"/>
                <a:gd name="T19" fmla="*/ 54 h 390"/>
                <a:gd name="T20" fmla="*/ 363 w 519"/>
                <a:gd name="T21" fmla="*/ 45 h 390"/>
                <a:gd name="T22" fmla="*/ 378 w 519"/>
                <a:gd name="T23" fmla="*/ 38 h 390"/>
                <a:gd name="T24" fmla="*/ 401 w 519"/>
                <a:gd name="T25" fmla="*/ 17 h 390"/>
                <a:gd name="T26" fmla="*/ 427 w 519"/>
                <a:gd name="T27" fmla="*/ 28 h 390"/>
                <a:gd name="T28" fmla="*/ 439 w 519"/>
                <a:gd name="T29" fmla="*/ 71 h 390"/>
                <a:gd name="T30" fmla="*/ 448 w 519"/>
                <a:gd name="T31" fmla="*/ 83 h 390"/>
                <a:gd name="T32" fmla="*/ 448 w 519"/>
                <a:gd name="T33" fmla="*/ 128 h 390"/>
                <a:gd name="T34" fmla="*/ 481 w 519"/>
                <a:gd name="T35" fmla="*/ 116 h 390"/>
                <a:gd name="T36" fmla="*/ 491 w 519"/>
                <a:gd name="T37" fmla="*/ 165 h 390"/>
                <a:gd name="T38" fmla="*/ 486 w 519"/>
                <a:gd name="T39" fmla="*/ 194 h 390"/>
                <a:gd name="T40" fmla="*/ 491 w 519"/>
                <a:gd name="T41" fmla="*/ 236 h 390"/>
                <a:gd name="T42" fmla="*/ 503 w 519"/>
                <a:gd name="T43" fmla="*/ 248 h 390"/>
                <a:gd name="T44" fmla="*/ 503 w 519"/>
                <a:gd name="T45" fmla="*/ 260 h 390"/>
                <a:gd name="T46" fmla="*/ 519 w 519"/>
                <a:gd name="T47" fmla="*/ 293 h 390"/>
                <a:gd name="T48" fmla="*/ 519 w 519"/>
                <a:gd name="T49" fmla="*/ 302 h 390"/>
                <a:gd name="T50" fmla="*/ 481 w 519"/>
                <a:gd name="T51" fmla="*/ 298 h 390"/>
                <a:gd name="T52" fmla="*/ 491 w 519"/>
                <a:gd name="T53" fmla="*/ 319 h 390"/>
                <a:gd name="T54" fmla="*/ 491 w 519"/>
                <a:gd name="T55" fmla="*/ 331 h 390"/>
                <a:gd name="T56" fmla="*/ 470 w 519"/>
                <a:gd name="T57" fmla="*/ 359 h 390"/>
                <a:gd name="T58" fmla="*/ 453 w 519"/>
                <a:gd name="T59" fmla="*/ 359 h 390"/>
                <a:gd name="T60" fmla="*/ 439 w 519"/>
                <a:gd name="T61" fmla="*/ 385 h 390"/>
                <a:gd name="T62" fmla="*/ 401 w 519"/>
                <a:gd name="T63" fmla="*/ 376 h 390"/>
                <a:gd name="T64" fmla="*/ 401 w 519"/>
                <a:gd name="T65" fmla="*/ 352 h 390"/>
                <a:gd name="T66" fmla="*/ 373 w 519"/>
                <a:gd name="T67" fmla="*/ 298 h 390"/>
                <a:gd name="T68" fmla="*/ 309 w 519"/>
                <a:gd name="T69" fmla="*/ 314 h 390"/>
                <a:gd name="T70" fmla="*/ 318 w 519"/>
                <a:gd name="T71" fmla="*/ 276 h 390"/>
                <a:gd name="T72" fmla="*/ 302 w 519"/>
                <a:gd name="T73" fmla="*/ 260 h 390"/>
                <a:gd name="T74" fmla="*/ 271 w 519"/>
                <a:gd name="T75" fmla="*/ 187 h 390"/>
                <a:gd name="T76" fmla="*/ 222 w 519"/>
                <a:gd name="T77" fmla="*/ 194 h 390"/>
                <a:gd name="T78" fmla="*/ 200 w 519"/>
                <a:gd name="T79" fmla="*/ 194 h 390"/>
                <a:gd name="T80" fmla="*/ 167 w 519"/>
                <a:gd name="T81" fmla="*/ 236 h 390"/>
                <a:gd name="T82" fmla="*/ 141 w 519"/>
                <a:gd name="T83" fmla="*/ 260 h 390"/>
                <a:gd name="T84" fmla="*/ 125 w 519"/>
                <a:gd name="T85" fmla="*/ 248 h 390"/>
                <a:gd name="T86" fmla="*/ 108 w 519"/>
                <a:gd name="T87" fmla="*/ 220 h 390"/>
                <a:gd name="T88" fmla="*/ 104 w 519"/>
                <a:gd name="T89" fmla="*/ 220 h 390"/>
                <a:gd name="T90" fmla="*/ 104 w 519"/>
                <a:gd name="T91" fmla="*/ 203 h 390"/>
                <a:gd name="T92" fmla="*/ 92 w 519"/>
                <a:gd name="T93" fmla="*/ 210 h 390"/>
                <a:gd name="T94" fmla="*/ 87 w 519"/>
                <a:gd name="T95" fmla="*/ 203 h 390"/>
                <a:gd name="T96" fmla="*/ 37 w 519"/>
                <a:gd name="T97" fmla="*/ 154 h 390"/>
                <a:gd name="T98" fmla="*/ 37 w 519"/>
                <a:gd name="T99" fmla="*/ 132 h 390"/>
                <a:gd name="T100" fmla="*/ 16 w 519"/>
                <a:gd name="T101" fmla="*/ 128 h 390"/>
                <a:gd name="T102" fmla="*/ 16 w 519"/>
                <a:gd name="T103" fmla="*/ 116 h 390"/>
                <a:gd name="T104" fmla="*/ 0 w 519"/>
                <a:gd name="T105" fmla="*/ 132 h 390"/>
                <a:gd name="T106" fmla="*/ 0 w 519"/>
                <a:gd name="T107" fmla="*/ 128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9" h="390">
                  <a:moveTo>
                    <a:pt x="0" y="128"/>
                  </a:moveTo>
                  <a:lnTo>
                    <a:pt x="21" y="83"/>
                  </a:lnTo>
                  <a:lnTo>
                    <a:pt x="37" y="78"/>
                  </a:lnTo>
                  <a:lnTo>
                    <a:pt x="54" y="71"/>
                  </a:lnTo>
                  <a:lnTo>
                    <a:pt x="75" y="71"/>
                  </a:lnTo>
                  <a:lnTo>
                    <a:pt x="92" y="71"/>
                  </a:lnTo>
                  <a:lnTo>
                    <a:pt x="92" y="45"/>
                  </a:lnTo>
                  <a:lnTo>
                    <a:pt x="75" y="38"/>
                  </a:lnTo>
                  <a:lnTo>
                    <a:pt x="104" y="21"/>
                  </a:lnTo>
                  <a:lnTo>
                    <a:pt x="92" y="0"/>
                  </a:lnTo>
                  <a:lnTo>
                    <a:pt x="141" y="0"/>
                  </a:lnTo>
                  <a:lnTo>
                    <a:pt x="141" y="17"/>
                  </a:lnTo>
                  <a:lnTo>
                    <a:pt x="158" y="7"/>
                  </a:lnTo>
                  <a:lnTo>
                    <a:pt x="196" y="21"/>
                  </a:lnTo>
                  <a:lnTo>
                    <a:pt x="217" y="17"/>
                  </a:lnTo>
                  <a:lnTo>
                    <a:pt x="264" y="17"/>
                  </a:lnTo>
                  <a:lnTo>
                    <a:pt x="255" y="28"/>
                  </a:lnTo>
                  <a:lnTo>
                    <a:pt x="271" y="45"/>
                  </a:lnTo>
                  <a:lnTo>
                    <a:pt x="285" y="28"/>
                  </a:lnTo>
                  <a:lnTo>
                    <a:pt x="309" y="54"/>
                  </a:lnTo>
                  <a:lnTo>
                    <a:pt x="330" y="28"/>
                  </a:lnTo>
                  <a:lnTo>
                    <a:pt x="363" y="45"/>
                  </a:lnTo>
                  <a:lnTo>
                    <a:pt x="378" y="45"/>
                  </a:lnTo>
                  <a:lnTo>
                    <a:pt x="378" y="38"/>
                  </a:lnTo>
                  <a:lnTo>
                    <a:pt x="401" y="28"/>
                  </a:lnTo>
                  <a:lnTo>
                    <a:pt x="401" y="17"/>
                  </a:lnTo>
                  <a:lnTo>
                    <a:pt x="427" y="17"/>
                  </a:lnTo>
                  <a:lnTo>
                    <a:pt x="427" y="28"/>
                  </a:lnTo>
                  <a:lnTo>
                    <a:pt x="439" y="54"/>
                  </a:lnTo>
                  <a:lnTo>
                    <a:pt x="439" y="71"/>
                  </a:lnTo>
                  <a:lnTo>
                    <a:pt x="448" y="71"/>
                  </a:lnTo>
                  <a:lnTo>
                    <a:pt x="448" y="83"/>
                  </a:lnTo>
                  <a:lnTo>
                    <a:pt x="470" y="95"/>
                  </a:lnTo>
                  <a:lnTo>
                    <a:pt x="448" y="128"/>
                  </a:lnTo>
                  <a:lnTo>
                    <a:pt x="465" y="116"/>
                  </a:lnTo>
                  <a:lnTo>
                    <a:pt x="481" y="116"/>
                  </a:lnTo>
                  <a:lnTo>
                    <a:pt x="481" y="154"/>
                  </a:lnTo>
                  <a:lnTo>
                    <a:pt x="491" y="165"/>
                  </a:lnTo>
                  <a:lnTo>
                    <a:pt x="491" y="182"/>
                  </a:lnTo>
                  <a:lnTo>
                    <a:pt x="486" y="194"/>
                  </a:lnTo>
                  <a:lnTo>
                    <a:pt x="486" y="227"/>
                  </a:lnTo>
                  <a:lnTo>
                    <a:pt x="491" y="236"/>
                  </a:lnTo>
                  <a:lnTo>
                    <a:pt x="503" y="236"/>
                  </a:lnTo>
                  <a:lnTo>
                    <a:pt x="503" y="248"/>
                  </a:lnTo>
                  <a:lnTo>
                    <a:pt x="519" y="260"/>
                  </a:lnTo>
                  <a:lnTo>
                    <a:pt x="503" y="260"/>
                  </a:lnTo>
                  <a:lnTo>
                    <a:pt x="503" y="276"/>
                  </a:lnTo>
                  <a:lnTo>
                    <a:pt x="519" y="293"/>
                  </a:lnTo>
                  <a:lnTo>
                    <a:pt x="519" y="302"/>
                  </a:lnTo>
                  <a:lnTo>
                    <a:pt x="519" y="302"/>
                  </a:lnTo>
                  <a:lnTo>
                    <a:pt x="507" y="298"/>
                  </a:lnTo>
                  <a:lnTo>
                    <a:pt x="481" y="298"/>
                  </a:lnTo>
                  <a:lnTo>
                    <a:pt x="481" y="319"/>
                  </a:lnTo>
                  <a:lnTo>
                    <a:pt x="491" y="319"/>
                  </a:lnTo>
                  <a:lnTo>
                    <a:pt x="503" y="336"/>
                  </a:lnTo>
                  <a:lnTo>
                    <a:pt x="491" y="331"/>
                  </a:lnTo>
                  <a:lnTo>
                    <a:pt x="481" y="369"/>
                  </a:lnTo>
                  <a:lnTo>
                    <a:pt x="470" y="359"/>
                  </a:lnTo>
                  <a:lnTo>
                    <a:pt x="465" y="369"/>
                  </a:lnTo>
                  <a:lnTo>
                    <a:pt x="453" y="359"/>
                  </a:lnTo>
                  <a:lnTo>
                    <a:pt x="448" y="359"/>
                  </a:lnTo>
                  <a:lnTo>
                    <a:pt x="439" y="385"/>
                  </a:lnTo>
                  <a:lnTo>
                    <a:pt x="415" y="390"/>
                  </a:lnTo>
                  <a:lnTo>
                    <a:pt x="401" y="376"/>
                  </a:lnTo>
                  <a:lnTo>
                    <a:pt x="394" y="385"/>
                  </a:lnTo>
                  <a:lnTo>
                    <a:pt x="401" y="352"/>
                  </a:lnTo>
                  <a:lnTo>
                    <a:pt x="394" y="314"/>
                  </a:lnTo>
                  <a:lnTo>
                    <a:pt x="373" y="298"/>
                  </a:lnTo>
                  <a:lnTo>
                    <a:pt x="340" y="298"/>
                  </a:lnTo>
                  <a:lnTo>
                    <a:pt x="309" y="314"/>
                  </a:lnTo>
                  <a:lnTo>
                    <a:pt x="323" y="281"/>
                  </a:lnTo>
                  <a:lnTo>
                    <a:pt x="318" y="276"/>
                  </a:lnTo>
                  <a:lnTo>
                    <a:pt x="318" y="260"/>
                  </a:lnTo>
                  <a:lnTo>
                    <a:pt x="302" y="260"/>
                  </a:lnTo>
                  <a:lnTo>
                    <a:pt x="309" y="243"/>
                  </a:lnTo>
                  <a:lnTo>
                    <a:pt x="271" y="187"/>
                  </a:lnTo>
                  <a:lnTo>
                    <a:pt x="222" y="187"/>
                  </a:lnTo>
                  <a:lnTo>
                    <a:pt x="222" y="194"/>
                  </a:lnTo>
                  <a:lnTo>
                    <a:pt x="210" y="203"/>
                  </a:lnTo>
                  <a:lnTo>
                    <a:pt x="200" y="194"/>
                  </a:lnTo>
                  <a:lnTo>
                    <a:pt x="184" y="194"/>
                  </a:lnTo>
                  <a:lnTo>
                    <a:pt x="167" y="236"/>
                  </a:lnTo>
                  <a:lnTo>
                    <a:pt x="146" y="243"/>
                  </a:lnTo>
                  <a:lnTo>
                    <a:pt x="141" y="260"/>
                  </a:lnTo>
                  <a:lnTo>
                    <a:pt x="125" y="260"/>
                  </a:lnTo>
                  <a:lnTo>
                    <a:pt x="125" y="248"/>
                  </a:lnTo>
                  <a:lnTo>
                    <a:pt x="108" y="227"/>
                  </a:lnTo>
                  <a:lnTo>
                    <a:pt x="108" y="220"/>
                  </a:lnTo>
                  <a:lnTo>
                    <a:pt x="108" y="227"/>
                  </a:lnTo>
                  <a:lnTo>
                    <a:pt x="104" y="220"/>
                  </a:lnTo>
                  <a:lnTo>
                    <a:pt x="104" y="210"/>
                  </a:lnTo>
                  <a:lnTo>
                    <a:pt x="104" y="203"/>
                  </a:lnTo>
                  <a:lnTo>
                    <a:pt x="104" y="210"/>
                  </a:lnTo>
                  <a:lnTo>
                    <a:pt x="92" y="210"/>
                  </a:lnTo>
                  <a:lnTo>
                    <a:pt x="104" y="194"/>
                  </a:lnTo>
                  <a:lnTo>
                    <a:pt x="87" y="203"/>
                  </a:lnTo>
                  <a:lnTo>
                    <a:pt x="49" y="170"/>
                  </a:lnTo>
                  <a:lnTo>
                    <a:pt x="37" y="154"/>
                  </a:lnTo>
                  <a:lnTo>
                    <a:pt x="33" y="154"/>
                  </a:lnTo>
                  <a:lnTo>
                    <a:pt x="37" y="132"/>
                  </a:lnTo>
                  <a:lnTo>
                    <a:pt x="21" y="149"/>
                  </a:lnTo>
                  <a:lnTo>
                    <a:pt x="16" y="128"/>
                  </a:lnTo>
                  <a:lnTo>
                    <a:pt x="21" y="116"/>
                  </a:lnTo>
                  <a:lnTo>
                    <a:pt x="16" y="116"/>
                  </a:lnTo>
                  <a:lnTo>
                    <a:pt x="4" y="132"/>
                  </a:lnTo>
                  <a:lnTo>
                    <a:pt x="0" y="132"/>
                  </a:lnTo>
                  <a:lnTo>
                    <a:pt x="0" y="128"/>
                  </a:lnTo>
                  <a:lnTo>
                    <a:pt x="0" y="128"/>
                  </a:lnTo>
                  <a:lnTo>
                    <a:pt x="0" y="12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0" name="Freeform 460">
              <a:extLst>
                <a:ext uri="{FF2B5EF4-FFF2-40B4-BE49-F238E27FC236}">
                  <a16:creationId xmlns:a16="http://schemas.microsoft.com/office/drawing/2014/main" id="{F010C6AC-7076-49E8-9DD6-CEA0F8F12651}"/>
                </a:ext>
              </a:extLst>
            </p:cNvPr>
            <p:cNvSpPr>
              <a:spLocks/>
            </p:cNvSpPr>
            <p:nvPr/>
          </p:nvSpPr>
          <p:spPr bwMode="gray">
            <a:xfrm>
              <a:off x="7713009" y="3097941"/>
              <a:ext cx="9057" cy="8646"/>
            </a:xfrm>
            <a:custGeom>
              <a:avLst/>
              <a:gdLst>
                <a:gd name="T0" fmla="*/ 22 w 22"/>
                <a:gd name="T1" fmla="*/ 0 h 21"/>
                <a:gd name="T2" fmla="*/ 22 w 22"/>
                <a:gd name="T3" fmla="*/ 0 h 21"/>
                <a:gd name="T4" fmla="*/ 10 w 22"/>
                <a:gd name="T5" fmla="*/ 21 h 21"/>
                <a:gd name="T6" fmla="*/ 0 w 22"/>
                <a:gd name="T7" fmla="*/ 14 h 21"/>
                <a:gd name="T8" fmla="*/ 22 w 22"/>
                <a:gd name="T9" fmla="*/ 0 h 21"/>
                <a:gd name="T10" fmla="*/ 22 w 22"/>
                <a:gd name="T11" fmla="*/ 0 h 21"/>
                <a:gd name="T12" fmla="*/ 22 w 2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22" y="0"/>
                  </a:moveTo>
                  <a:lnTo>
                    <a:pt x="22" y="0"/>
                  </a:lnTo>
                  <a:lnTo>
                    <a:pt x="10" y="21"/>
                  </a:lnTo>
                  <a:lnTo>
                    <a:pt x="0" y="14"/>
                  </a:lnTo>
                  <a:lnTo>
                    <a:pt x="22" y="0"/>
                  </a:lnTo>
                  <a:lnTo>
                    <a:pt x="22" y="0"/>
                  </a:lnTo>
                  <a:lnTo>
                    <a:pt x="22"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2" name="Freeform 462">
              <a:extLst>
                <a:ext uri="{FF2B5EF4-FFF2-40B4-BE49-F238E27FC236}">
                  <a16:creationId xmlns:a16="http://schemas.microsoft.com/office/drawing/2014/main" id="{9512DE93-9168-4B02-88AD-D70687148A94}"/>
                </a:ext>
              </a:extLst>
            </p:cNvPr>
            <p:cNvSpPr>
              <a:spLocks/>
            </p:cNvSpPr>
            <p:nvPr/>
          </p:nvSpPr>
          <p:spPr bwMode="gray">
            <a:xfrm>
              <a:off x="8840161" y="5802503"/>
              <a:ext cx="17702" cy="8646"/>
            </a:xfrm>
            <a:custGeom>
              <a:avLst/>
              <a:gdLst>
                <a:gd name="T0" fmla="*/ 43 w 43"/>
                <a:gd name="T1" fmla="*/ 17 h 21"/>
                <a:gd name="T2" fmla="*/ 14 w 43"/>
                <a:gd name="T3" fmla="*/ 21 h 21"/>
                <a:gd name="T4" fmla="*/ 0 w 43"/>
                <a:gd name="T5" fmla="*/ 0 h 21"/>
                <a:gd name="T6" fmla="*/ 43 w 43"/>
                <a:gd name="T7" fmla="*/ 17 h 21"/>
                <a:gd name="T8" fmla="*/ 43 w 43"/>
                <a:gd name="T9" fmla="*/ 17 h 21"/>
                <a:gd name="T10" fmla="*/ 43 w 43"/>
                <a:gd name="T11" fmla="*/ 17 h 21"/>
              </a:gdLst>
              <a:ahLst/>
              <a:cxnLst>
                <a:cxn ang="0">
                  <a:pos x="T0" y="T1"/>
                </a:cxn>
                <a:cxn ang="0">
                  <a:pos x="T2" y="T3"/>
                </a:cxn>
                <a:cxn ang="0">
                  <a:pos x="T4" y="T5"/>
                </a:cxn>
                <a:cxn ang="0">
                  <a:pos x="T6" y="T7"/>
                </a:cxn>
                <a:cxn ang="0">
                  <a:pos x="T8" y="T9"/>
                </a:cxn>
                <a:cxn ang="0">
                  <a:pos x="T10" y="T11"/>
                </a:cxn>
              </a:cxnLst>
              <a:rect l="0" t="0" r="r" b="b"/>
              <a:pathLst>
                <a:path w="43" h="21">
                  <a:moveTo>
                    <a:pt x="43" y="17"/>
                  </a:moveTo>
                  <a:lnTo>
                    <a:pt x="14" y="21"/>
                  </a:lnTo>
                  <a:lnTo>
                    <a:pt x="0" y="0"/>
                  </a:lnTo>
                  <a:lnTo>
                    <a:pt x="43" y="17"/>
                  </a:lnTo>
                  <a:lnTo>
                    <a:pt x="43" y="17"/>
                  </a:lnTo>
                  <a:lnTo>
                    <a:pt x="43"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0" name="Freeform 470">
              <a:extLst>
                <a:ext uri="{FF2B5EF4-FFF2-40B4-BE49-F238E27FC236}">
                  <a16:creationId xmlns:a16="http://schemas.microsoft.com/office/drawing/2014/main" id="{3B346DE1-3345-4536-89DB-02AC70D5BA4E}"/>
                </a:ext>
              </a:extLst>
            </p:cNvPr>
            <p:cNvSpPr>
              <a:spLocks/>
            </p:cNvSpPr>
            <p:nvPr/>
          </p:nvSpPr>
          <p:spPr bwMode="gray">
            <a:xfrm>
              <a:off x="8815050" y="4277508"/>
              <a:ext cx="3705" cy="6999"/>
            </a:xfrm>
            <a:custGeom>
              <a:avLst/>
              <a:gdLst>
                <a:gd name="T0" fmla="*/ 9 w 9"/>
                <a:gd name="T1" fmla="*/ 17 h 17"/>
                <a:gd name="T2" fmla="*/ 0 w 9"/>
                <a:gd name="T3" fmla="*/ 12 h 17"/>
                <a:gd name="T4" fmla="*/ 9 w 9"/>
                <a:gd name="T5" fmla="*/ 17 h 17"/>
                <a:gd name="T6" fmla="*/ 9 w 9"/>
                <a:gd name="T7" fmla="*/ 0 h 17"/>
                <a:gd name="T8" fmla="*/ 9 w 9"/>
                <a:gd name="T9" fmla="*/ 12 h 17"/>
                <a:gd name="T10" fmla="*/ 9 w 9"/>
                <a:gd name="T11" fmla="*/ 17 h 17"/>
                <a:gd name="T12" fmla="*/ 9 w 9"/>
                <a:gd name="T13" fmla="*/ 17 h 17"/>
                <a:gd name="T14" fmla="*/ 9 w 9"/>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7">
                  <a:moveTo>
                    <a:pt x="9" y="17"/>
                  </a:moveTo>
                  <a:lnTo>
                    <a:pt x="0" y="12"/>
                  </a:lnTo>
                  <a:lnTo>
                    <a:pt x="9" y="17"/>
                  </a:lnTo>
                  <a:lnTo>
                    <a:pt x="9" y="0"/>
                  </a:lnTo>
                  <a:lnTo>
                    <a:pt x="9" y="12"/>
                  </a:lnTo>
                  <a:lnTo>
                    <a:pt x="9" y="17"/>
                  </a:lnTo>
                  <a:lnTo>
                    <a:pt x="9" y="17"/>
                  </a:lnTo>
                  <a:lnTo>
                    <a:pt x="9"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1" name="Freeform 471">
              <a:extLst>
                <a:ext uri="{FF2B5EF4-FFF2-40B4-BE49-F238E27FC236}">
                  <a16:creationId xmlns:a16="http://schemas.microsoft.com/office/drawing/2014/main" id="{E98ACA6F-DCBE-4119-BE5F-A8B20EF064F6}"/>
                </a:ext>
              </a:extLst>
            </p:cNvPr>
            <p:cNvSpPr>
              <a:spLocks noEditPoints="1"/>
            </p:cNvSpPr>
            <p:nvPr/>
          </p:nvSpPr>
          <p:spPr bwMode="gray">
            <a:xfrm>
              <a:off x="7995003" y="2821679"/>
              <a:ext cx="560283" cy="484178"/>
            </a:xfrm>
            <a:custGeom>
              <a:avLst/>
              <a:gdLst>
                <a:gd name="T0" fmla="*/ 1252 w 1361"/>
                <a:gd name="T1" fmla="*/ 711 h 1176"/>
                <a:gd name="T2" fmla="*/ 1238 w 1361"/>
                <a:gd name="T3" fmla="*/ 893 h 1176"/>
                <a:gd name="T4" fmla="*/ 1323 w 1361"/>
                <a:gd name="T5" fmla="*/ 933 h 1176"/>
                <a:gd name="T6" fmla="*/ 1361 w 1361"/>
                <a:gd name="T7" fmla="*/ 1021 h 1176"/>
                <a:gd name="T8" fmla="*/ 1297 w 1361"/>
                <a:gd name="T9" fmla="*/ 1061 h 1176"/>
                <a:gd name="T10" fmla="*/ 1252 w 1361"/>
                <a:gd name="T11" fmla="*/ 1094 h 1176"/>
                <a:gd name="T12" fmla="*/ 1222 w 1361"/>
                <a:gd name="T13" fmla="*/ 1176 h 1176"/>
                <a:gd name="T14" fmla="*/ 1163 w 1361"/>
                <a:gd name="T15" fmla="*/ 1165 h 1176"/>
                <a:gd name="T16" fmla="*/ 1059 w 1361"/>
                <a:gd name="T17" fmla="*/ 1155 h 1176"/>
                <a:gd name="T18" fmla="*/ 983 w 1361"/>
                <a:gd name="T19" fmla="*/ 1132 h 1176"/>
                <a:gd name="T20" fmla="*/ 898 w 1361"/>
                <a:gd name="T21" fmla="*/ 1021 h 1176"/>
                <a:gd name="T22" fmla="*/ 823 w 1361"/>
                <a:gd name="T23" fmla="*/ 1028 h 1176"/>
                <a:gd name="T24" fmla="*/ 730 w 1361"/>
                <a:gd name="T25" fmla="*/ 1054 h 1176"/>
                <a:gd name="T26" fmla="*/ 605 w 1361"/>
                <a:gd name="T27" fmla="*/ 999 h 1176"/>
                <a:gd name="T28" fmla="*/ 525 w 1361"/>
                <a:gd name="T29" fmla="*/ 954 h 1176"/>
                <a:gd name="T30" fmla="*/ 482 w 1361"/>
                <a:gd name="T31" fmla="*/ 876 h 1176"/>
                <a:gd name="T32" fmla="*/ 466 w 1361"/>
                <a:gd name="T33" fmla="*/ 839 h 1176"/>
                <a:gd name="T34" fmla="*/ 390 w 1361"/>
                <a:gd name="T35" fmla="*/ 782 h 1176"/>
                <a:gd name="T36" fmla="*/ 374 w 1361"/>
                <a:gd name="T37" fmla="*/ 761 h 1176"/>
                <a:gd name="T38" fmla="*/ 319 w 1361"/>
                <a:gd name="T39" fmla="*/ 798 h 1176"/>
                <a:gd name="T40" fmla="*/ 286 w 1361"/>
                <a:gd name="T41" fmla="*/ 721 h 1176"/>
                <a:gd name="T42" fmla="*/ 244 w 1361"/>
                <a:gd name="T43" fmla="*/ 610 h 1176"/>
                <a:gd name="T44" fmla="*/ 147 w 1361"/>
                <a:gd name="T45" fmla="*/ 560 h 1176"/>
                <a:gd name="T46" fmla="*/ 142 w 1361"/>
                <a:gd name="T47" fmla="*/ 510 h 1176"/>
                <a:gd name="T48" fmla="*/ 104 w 1361"/>
                <a:gd name="T49" fmla="*/ 473 h 1176"/>
                <a:gd name="T50" fmla="*/ 109 w 1361"/>
                <a:gd name="T51" fmla="*/ 428 h 1176"/>
                <a:gd name="T52" fmla="*/ 142 w 1361"/>
                <a:gd name="T53" fmla="*/ 390 h 1176"/>
                <a:gd name="T54" fmla="*/ 142 w 1361"/>
                <a:gd name="T55" fmla="*/ 338 h 1176"/>
                <a:gd name="T56" fmla="*/ 119 w 1361"/>
                <a:gd name="T57" fmla="*/ 317 h 1176"/>
                <a:gd name="T58" fmla="*/ 71 w 1361"/>
                <a:gd name="T59" fmla="*/ 267 h 1176"/>
                <a:gd name="T60" fmla="*/ 55 w 1361"/>
                <a:gd name="T61" fmla="*/ 222 h 1176"/>
                <a:gd name="T62" fmla="*/ 17 w 1361"/>
                <a:gd name="T63" fmla="*/ 156 h 1176"/>
                <a:gd name="T64" fmla="*/ 17 w 1361"/>
                <a:gd name="T65" fmla="*/ 66 h 1176"/>
                <a:gd name="T66" fmla="*/ 34 w 1361"/>
                <a:gd name="T67" fmla="*/ 7 h 1176"/>
                <a:gd name="T68" fmla="*/ 93 w 1361"/>
                <a:gd name="T69" fmla="*/ 45 h 1176"/>
                <a:gd name="T70" fmla="*/ 201 w 1361"/>
                <a:gd name="T71" fmla="*/ 45 h 1176"/>
                <a:gd name="T72" fmla="*/ 303 w 1361"/>
                <a:gd name="T73" fmla="*/ 62 h 1176"/>
                <a:gd name="T74" fmla="*/ 308 w 1361"/>
                <a:gd name="T75" fmla="*/ 95 h 1176"/>
                <a:gd name="T76" fmla="*/ 357 w 1361"/>
                <a:gd name="T77" fmla="*/ 173 h 1176"/>
                <a:gd name="T78" fmla="*/ 504 w 1361"/>
                <a:gd name="T79" fmla="*/ 250 h 1176"/>
                <a:gd name="T80" fmla="*/ 697 w 1361"/>
                <a:gd name="T81" fmla="*/ 246 h 1176"/>
                <a:gd name="T82" fmla="*/ 719 w 1361"/>
                <a:gd name="T83" fmla="*/ 206 h 1176"/>
                <a:gd name="T84" fmla="*/ 806 w 1361"/>
                <a:gd name="T85" fmla="*/ 139 h 1176"/>
                <a:gd name="T86" fmla="*/ 874 w 1361"/>
                <a:gd name="T87" fmla="*/ 123 h 1176"/>
                <a:gd name="T88" fmla="*/ 945 w 1361"/>
                <a:gd name="T89" fmla="*/ 151 h 1176"/>
                <a:gd name="T90" fmla="*/ 1075 w 1361"/>
                <a:gd name="T91" fmla="*/ 189 h 1176"/>
                <a:gd name="T92" fmla="*/ 1205 w 1361"/>
                <a:gd name="T93" fmla="*/ 262 h 1176"/>
                <a:gd name="T94" fmla="*/ 1189 w 1361"/>
                <a:gd name="T95" fmla="*/ 428 h 1176"/>
                <a:gd name="T96" fmla="*/ 1163 w 1361"/>
                <a:gd name="T97" fmla="*/ 465 h 1176"/>
                <a:gd name="T98" fmla="*/ 1184 w 1361"/>
                <a:gd name="T99" fmla="*/ 617 h 1176"/>
                <a:gd name="T100" fmla="*/ 865 w 1361"/>
                <a:gd name="T101" fmla="*/ 1037 h 1176"/>
                <a:gd name="T102" fmla="*/ 827 w 1361"/>
                <a:gd name="T103" fmla="*/ 1044 h 1176"/>
                <a:gd name="T104" fmla="*/ 865 w 1361"/>
                <a:gd name="T105" fmla="*/ 1037 h 1176"/>
                <a:gd name="T106" fmla="*/ 823 w 1361"/>
                <a:gd name="T107" fmla="*/ 1044 h 1176"/>
                <a:gd name="T108" fmla="*/ 697 w 1361"/>
                <a:gd name="T109" fmla="*/ 1065 h 1176"/>
                <a:gd name="T110" fmla="*/ 702 w 1361"/>
                <a:gd name="T111" fmla="*/ 1065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61" h="1176">
                  <a:moveTo>
                    <a:pt x="1184" y="638"/>
                  </a:moveTo>
                  <a:lnTo>
                    <a:pt x="1184" y="678"/>
                  </a:lnTo>
                  <a:lnTo>
                    <a:pt x="1243" y="687"/>
                  </a:lnTo>
                  <a:lnTo>
                    <a:pt x="1252" y="711"/>
                  </a:lnTo>
                  <a:lnTo>
                    <a:pt x="1243" y="732"/>
                  </a:lnTo>
                  <a:lnTo>
                    <a:pt x="1184" y="806"/>
                  </a:lnTo>
                  <a:lnTo>
                    <a:pt x="1215" y="843"/>
                  </a:lnTo>
                  <a:lnTo>
                    <a:pt x="1238" y="893"/>
                  </a:lnTo>
                  <a:lnTo>
                    <a:pt x="1260" y="910"/>
                  </a:lnTo>
                  <a:lnTo>
                    <a:pt x="1290" y="917"/>
                  </a:lnTo>
                  <a:lnTo>
                    <a:pt x="1307" y="933"/>
                  </a:lnTo>
                  <a:lnTo>
                    <a:pt x="1323" y="933"/>
                  </a:lnTo>
                  <a:lnTo>
                    <a:pt x="1323" y="999"/>
                  </a:lnTo>
                  <a:lnTo>
                    <a:pt x="1323" y="1011"/>
                  </a:lnTo>
                  <a:lnTo>
                    <a:pt x="1349" y="1004"/>
                  </a:lnTo>
                  <a:lnTo>
                    <a:pt x="1361" y="1021"/>
                  </a:lnTo>
                  <a:lnTo>
                    <a:pt x="1349" y="1021"/>
                  </a:lnTo>
                  <a:lnTo>
                    <a:pt x="1345" y="1061"/>
                  </a:lnTo>
                  <a:lnTo>
                    <a:pt x="1323" y="1061"/>
                  </a:lnTo>
                  <a:lnTo>
                    <a:pt x="1297" y="1061"/>
                  </a:lnTo>
                  <a:lnTo>
                    <a:pt x="1281" y="1065"/>
                  </a:lnTo>
                  <a:lnTo>
                    <a:pt x="1281" y="1077"/>
                  </a:lnTo>
                  <a:lnTo>
                    <a:pt x="1276" y="1077"/>
                  </a:lnTo>
                  <a:lnTo>
                    <a:pt x="1252" y="1094"/>
                  </a:lnTo>
                  <a:lnTo>
                    <a:pt x="1252" y="1120"/>
                  </a:lnTo>
                  <a:lnTo>
                    <a:pt x="1243" y="1120"/>
                  </a:lnTo>
                  <a:lnTo>
                    <a:pt x="1238" y="1172"/>
                  </a:lnTo>
                  <a:lnTo>
                    <a:pt x="1222" y="1176"/>
                  </a:lnTo>
                  <a:lnTo>
                    <a:pt x="1167" y="1165"/>
                  </a:lnTo>
                  <a:lnTo>
                    <a:pt x="1163" y="1148"/>
                  </a:lnTo>
                  <a:lnTo>
                    <a:pt x="1151" y="1155"/>
                  </a:lnTo>
                  <a:lnTo>
                    <a:pt x="1163" y="1165"/>
                  </a:lnTo>
                  <a:lnTo>
                    <a:pt x="1146" y="1155"/>
                  </a:lnTo>
                  <a:lnTo>
                    <a:pt x="1097" y="1155"/>
                  </a:lnTo>
                  <a:lnTo>
                    <a:pt x="1092" y="1148"/>
                  </a:lnTo>
                  <a:lnTo>
                    <a:pt x="1059" y="1155"/>
                  </a:lnTo>
                  <a:lnTo>
                    <a:pt x="1042" y="1139"/>
                  </a:lnTo>
                  <a:lnTo>
                    <a:pt x="1011" y="1139"/>
                  </a:lnTo>
                  <a:lnTo>
                    <a:pt x="1000" y="1139"/>
                  </a:lnTo>
                  <a:lnTo>
                    <a:pt x="983" y="1132"/>
                  </a:lnTo>
                  <a:lnTo>
                    <a:pt x="936" y="1120"/>
                  </a:lnTo>
                  <a:lnTo>
                    <a:pt x="929" y="1098"/>
                  </a:lnTo>
                  <a:lnTo>
                    <a:pt x="912" y="1044"/>
                  </a:lnTo>
                  <a:lnTo>
                    <a:pt x="898" y="1021"/>
                  </a:lnTo>
                  <a:lnTo>
                    <a:pt x="891" y="1021"/>
                  </a:lnTo>
                  <a:lnTo>
                    <a:pt x="849" y="1021"/>
                  </a:lnTo>
                  <a:lnTo>
                    <a:pt x="844" y="1028"/>
                  </a:lnTo>
                  <a:lnTo>
                    <a:pt x="823" y="1028"/>
                  </a:lnTo>
                  <a:lnTo>
                    <a:pt x="811" y="1044"/>
                  </a:lnTo>
                  <a:lnTo>
                    <a:pt x="789" y="1044"/>
                  </a:lnTo>
                  <a:lnTo>
                    <a:pt x="756" y="1065"/>
                  </a:lnTo>
                  <a:lnTo>
                    <a:pt x="730" y="1054"/>
                  </a:lnTo>
                  <a:lnTo>
                    <a:pt x="686" y="1054"/>
                  </a:lnTo>
                  <a:lnTo>
                    <a:pt x="660" y="1028"/>
                  </a:lnTo>
                  <a:lnTo>
                    <a:pt x="605" y="1004"/>
                  </a:lnTo>
                  <a:lnTo>
                    <a:pt x="605" y="999"/>
                  </a:lnTo>
                  <a:lnTo>
                    <a:pt x="596" y="983"/>
                  </a:lnTo>
                  <a:lnTo>
                    <a:pt x="567" y="966"/>
                  </a:lnTo>
                  <a:lnTo>
                    <a:pt x="534" y="966"/>
                  </a:lnTo>
                  <a:lnTo>
                    <a:pt x="525" y="954"/>
                  </a:lnTo>
                  <a:lnTo>
                    <a:pt x="497" y="910"/>
                  </a:lnTo>
                  <a:lnTo>
                    <a:pt x="497" y="893"/>
                  </a:lnTo>
                  <a:lnTo>
                    <a:pt x="482" y="876"/>
                  </a:lnTo>
                  <a:lnTo>
                    <a:pt x="482" y="876"/>
                  </a:lnTo>
                  <a:lnTo>
                    <a:pt x="487" y="876"/>
                  </a:lnTo>
                  <a:lnTo>
                    <a:pt x="487" y="872"/>
                  </a:lnTo>
                  <a:lnTo>
                    <a:pt x="466" y="860"/>
                  </a:lnTo>
                  <a:lnTo>
                    <a:pt x="466" y="839"/>
                  </a:lnTo>
                  <a:lnTo>
                    <a:pt x="433" y="798"/>
                  </a:lnTo>
                  <a:lnTo>
                    <a:pt x="428" y="777"/>
                  </a:lnTo>
                  <a:lnTo>
                    <a:pt x="390" y="789"/>
                  </a:lnTo>
                  <a:lnTo>
                    <a:pt x="390" y="782"/>
                  </a:lnTo>
                  <a:lnTo>
                    <a:pt x="357" y="777"/>
                  </a:lnTo>
                  <a:lnTo>
                    <a:pt x="352" y="765"/>
                  </a:lnTo>
                  <a:lnTo>
                    <a:pt x="362" y="765"/>
                  </a:lnTo>
                  <a:lnTo>
                    <a:pt x="374" y="761"/>
                  </a:lnTo>
                  <a:lnTo>
                    <a:pt x="352" y="749"/>
                  </a:lnTo>
                  <a:lnTo>
                    <a:pt x="341" y="765"/>
                  </a:lnTo>
                  <a:lnTo>
                    <a:pt x="352" y="789"/>
                  </a:lnTo>
                  <a:lnTo>
                    <a:pt x="319" y="798"/>
                  </a:lnTo>
                  <a:lnTo>
                    <a:pt x="308" y="798"/>
                  </a:lnTo>
                  <a:lnTo>
                    <a:pt x="308" y="777"/>
                  </a:lnTo>
                  <a:lnTo>
                    <a:pt x="286" y="761"/>
                  </a:lnTo>
                  <a:lnTo>
                    <a:pt x="286" y="721"/>
                  </a:lnTo>
                  <a:lnTo>
                    <a:pt x="265" y="721"/>
                  </a:lnTo>
                  <a:lnTo>
                    <a:pt x="265" y="678"/>
                  </a:lnTo>
                  <a:lnTo>
                    <a:pt x="270" y="654"/>
                  </a:lnTo>
                  <a:lnTo>
                    <a:pt x="244" y="610"/>
                  </a:lnTo>
                  <a:lnTo>
                    <a:pt x="244" y="600"/>
                  </a:lnTo>
                  <a:lnTo>
                    <a:pt x="227" y="600"/>
                  </a:lnTo>
                  <a:lnTo>
                    <a:pt x="173" y="560"/>
                  </a:lnTo>
                  <a:lnTo>
                    <a:pt x="147" y="560"/>
                  </a:lnTo>
                  <a:lnTo>
                    <a:pt x="156" y="539"/>
                  </a:lnTo>
                  <a:lnTo>
                    <a:pt x="142" y="510"/>
                  </a:lnTo>
                  <a:lnTo>
                    <a:pt x="135" y="510"/>
                  </a:lnTo>
                  <a:lnTo>
                    <a:pt x="142" y="510"/>
                  </a:lnTo>
                  <a:lnTo>
                    <a:pt x="135" y="506"/>
                  </a:lnTo>
                  <a:lnTo>
                    <a:pt x="126" y="506"/>
                  </a:lnTo>
                  <a:lnTo>
                    <a:pt x="109" y="482"/>
                  </a:lnTo>
                  <a:lnTo>
                    <a:pt x="104" y="473"/>
                  </a:lnTo>
                  <a:lnTo>
                    <a:pt x="109" y="465"/>
                  </a:lnTo>
                  <a:lnTo>
                    <a:pt x="109" y="449"/>
                  </a:lnTo>
                  <a:lnTo>
                    <a:pt x="104" y="432"/>
                  </a:lnTo>
                  <a:lnTo>
                    <a:pt x="109" y="428"/>
                  </a:lnTo>
                  <a:lnTo>
                    <a:pt x="126" y="432"/>
                  </a:lnTo>
                  <a:lnTo>
                    <a:pt x="119" y="416"/>
                  </a:lnTo>
                  <a:lnTo>
                    <a:pt x="135" y="399"/>
                  </a:lnTo>
                  <a:lnTo>
                    <a:pt x="142" y="390"/>
                  </a:lnTo>
                  <a:lnTo>
                    <a:pt x="156" y="390"/>
                  </a:lnTo>
                  <a:lnTo>
                    <a:pt x="156" y="378"/>
                  </a:lnTo>
                  <a:lnTo>
                    <a:pt x="142" y="354"/>
                  </a:lnTo>
                  <a:lnTo>
                    <a:pt x="142" y="338"/>
                  </a:lnTo>
                  <a:lnTo>
                    <a:pt x="163" y="333"/>
                  </a:lnTo>
                  <a:lnTo>
                    <a:pt x="147" y="321"/>
                  </a:lnTo>
                  <a:lnTo>
                    <a:pt x="126" y="333"/>
                  </a:lnTo>
                  <a:lnTo>
                    <a:pt x="119" y="317"/>
                  </a:lnTo>
                  <a:lnTo>
                    <a:pt x="104" y="317"/>
                  </a:lnTo>
                  <a:lnTo>
                    <a:pt x="93" y="284"/>
                  </a:lnTo>
                  <a:lnTo>
                    <a:pt x="81" y="279"/>
                  </a:lnTo>
                  <a:lnTo>
                    <a:pt x="71" y="267"/>
                  </a:lnTo>
                  <a:lnTo>
                    <a:pt x="81" y="250"/>
                  </a:lnTo>
                  <a:lnTo>
                    <a:pt x="67" y="246"/>
                  </a:lnTo>
                  <a:lnTo>
                    <a:pt x="67" y="227"/>
                  </a:lnTo>
                  <a:lnTo>
                    <a:pt x="55" y="222"/>
                  </a:lnTo>
                  <a:lnTo>
                    <a:pt x="55" y="206"/>
                  </a:lnTo>
                  <a:lnTo>
                    <a:pt x="38" y="194"/>
                  </a:lnTo>
                  <a:lnTo>
                    <a:pt x="50" y="173"/>
                  </a:lnTo>
                  <a:lnTo>
                    <a:pt x="17" y="156"/>
                  </a:lnTo>
                  <a:lnTo>
                    <a:pt x="34" y="118"/>
                  </a:lnTo>
                  <a:lnTo>
                    <a:pt x="29" y="118"/>
                  </a:lnTo>
                  <a:lnTo>
                    <a:pt x="29" y="78"/>
                  </a:lnTo>
                  <a:lnTo>
                    <a:pt x="17" y="66"/>
                  </a:lnTo>
                  <a:lnTo>
                    <a:pt x="17" y="57"/>
                  </a:lnTo>
                  <a:lnTo>
                    <a:pt x="0" y="28"/>
                  </a:lnTo>
                  <a:lnTo>
                    <a:pt x="34" y="28"/>
                  </a:lnTo>
                  <a:lnTo>
                    <a:pt x="34" y="7"/>
                  </a:lnTo>
                  <a:lnTo>
                    <a:pt x="50" y="0"/>
                  </a:lnTo>
                  <a:lnTo>
                    <a:pt x="55" y="7"/>
                  </a:lnTo>
                  <a:lnTo>
                    <a:pt x="81" y="45"/>
                  </a:lnTo>
                  <a:lnTo>
                    <a:pt x="93" y="45"/>
                  </a:lnTo>
                  <a:lnTo>
                    <a:pt x="104" y="62"/>
                  </a:lnTo>
                  <a:lnTo>
                    <a:pt x="156" y="78"/>
                  </a:lnTo>
                  <a:lnTo>
                    <a:pt x="180" y="66"/>
                  </a:lnTo>
                  <a:lnTo>
                    <a:pt x="201" y="45"/>
                  </a:lnTo>
                  <a:lnTo>
                    <a:pt x="282" y="0"/>
                  </a:lnTo>
                  <a:lnTo>
                    <a:pt x="308" y="28"/>
                  </a:lnTo>
                  <a:lnTo>
                    <a:pt x="286" y="40"/>
                  </a:lnTo>
                  <a:lnTo>
                    <a:pt x="303" y="62"/>
                  </a:lnTo>
                  <a:lnTo>
                    <a:pt x="286" y="66"/>
                  </a:lnTo>
                  <a:lnTo>
                    <a:pt x="286" y="78"/>
                  </a:lnTo>
                  <a:lnTo>
                    <a:pt x="303" y="95"/>
                  </a:lnTo>
                  <a:lnTo>
                    <a:pt x="308" y="95"/>
                  </a:lnTo>
                  <a:lnTo>
                    <a:pt x="324" y="118"/>
                  </a:lnTo>
                  <a:lnTo>
                    <a:pt x="341" y="111"/>
                  </a:lnTo>
                  <a:lnTo>
                    <a:pt x="352" y="156"/>
                  </a:lnTo>
                  <a:lnTo>
                    <a:pt x="357" y="173"/>
                  </a:lnTo>
                  <a:lnTo>
                    <a:pt x="378" y="189"/>
                  </a:lnTo>
                  <a:lnTo>
                    <a:pt x="433" y="194"/>
                  </a:lnTo>
                  <a:lnTo>
                    <a:pt x="449" y="222"/>
                  </a:lnTo>
                  <a:lnTo>
                    <a:pt x="504" y="250"/>
                  </a:lnTo>
                  <a:lnTo>
                    <a:pt x="558" y="267"/>
                  </a:lnTo>
                  <a:lnTo>
                    <a:pt x="702" y="234"/>
                  </a:lnTo>
                  <a:lnTo>
                    <a:pt x="676" y="246"/>
                  </a:lnTo>
                  <a:lnTo>
                    <a:pt x="697" y="246"/>
                  </a:lnTo>
                  <a:lnTo>
                    <a:pt x="702" y="246"/>
                  </a:lnTo>
                  <a:lnTo>
                    <a:pt x="702" y="234"/>
                  </a:lnTo>
                  <a:lnTo>
                    <a:pt x="697" y="206"/>
                  </a:lnTo>
                  <a:lnTo>
                    <a:pt x="719" y="206"/>
                  </a:lnTo>
                  <a:lnTo>
                    <a:pt x="752" y="194"/>
                  </a:lnTo>
                  <a:lnTo>
                    <a:pt x="756" y="189"/>
                  </a:lnTo>
                  <a:lnTo>
                    <a:pt x="768" y="168"/>
                  </a:lnTo>
                  <a:lnTo>
                    <a:pt x="806" y="139"/>
                  </a:lnTo>
                  <a:lnTo>
                    <a:pt x="860" y="139"/>
                  </a:lnTo>
                  <a:lnTo>
                    <a:pt x="865" y="139"/>
                  </a:lnTo>
                  <a:lnTo>
                    <a:pt x="865" y="135"/>
                  </a:lnTo>
                  <a:lnTo>
                    <a:pt x="874" y="123"/>
                  </a:lnTo>
                  <a:lnTo>
                    <a:pt x="898" y="123"/>
                  </a:lnTo>
                  <a:lnTo>
                    <a:pt x="919" y="135"/>
                  </a:lnTo>
                  <a:lnTo>
                    <a:pt x="929" y="123"/>
                  </a:lnTo>
                  <a:lnTo>
                    <a:pt x="945" y="151"/>
                  </a:lnTo>
                  <a:lnTo>
                    <a:pt x="1000" y="168"/>
                  </a:lnTo>
                  <a:lnTo>
                    <a:pt x="1004" y="173"/>
                  </a:lnTo>
                  <a:lnTo>
                    <a:pt x="1054" y="173"/>
                  </a:lnTo>
                  <a:lnTo>
                    <a:pt x="1075" y="189"/>
                  </a:lnTo>
                  <a:lnTo>
                    <a:pt x="1092" y="210"/>
                  </a:lnTo>
                  <a:lnTo>
                    <a:pt x="1130" y="227"/>
                  </a:lnTo>
                  <a:lnTo>
                    <a:pt x="1146" y="262"/>
                  </a:lnTo>
                  <a:lnTo>
                    <a:pt x="1205" y="262"/>
                  </a:lnTo>
                  <a:lnTo>
                    <a:pt x="1215" y="345"/>
                  </a:lnTo>
                  <a:lnTo>
                    <a:pt x="1200" y="373"/>
                  </a:lnTo>
                  <a:lnTo>
                    <a:pt x="1200" y="411"/>
                  </a:lnTo>
                  <a:lnTo>
                    <a:pt x="1189" y="428"/>
                  </a:lnTo>
                  <a:lnTo>
                    <a:pt x="1172" y="432"/>
                  </a:lnTo>
                  <a:lnTo>
                    <a:pt x="1184" y="449"/>
                  </a:lnTo>
                  <a:lnTo>
                    <a:pt x="1167" y="449"/>
                  </a:lnTo>
                  <a:lnTo>
                    <a:pt x="1163" y="465"/>
                  </a:lnTo>
                  <a:lnTo>
                    <a:pt x="1163" y="506"/>
                  </a:lnTo>
                  <a:lnTo>
                    <a:pt x="1189" y="510"/>
                  </a:lnTo>
                  <a:lnTo>
                    <a:pt x="1167" y="543"/>
                  </a:lnTo>
                  <a:lnTo>
                    <a:pt x="1184" y="617"/>
                  </a:lnTo>
                  <a:lnTo>
                    <a:pt x="1184" y="638"/>
                  </a:lnTo>
                  <a:lnTo>
                    <a:pt x="1184" y="638"/>
                  </a:lnTo>
                  <a:lnTo>
                    <a:pt x="1184" y="638"/>
                  </a:lnTo>
                  <a:close/>
                  <a:moveTo>
                    <a:pt x="865" y="1037"/>
                  </a:moveTo>
                  <a:lnTo>
                    <a:pt x="844" y="1054"/>
                  </a:lnTo>
                  <a:lnTo>
                    <a:pt x="794" y="1061"/>
                  </a:lnTo>
                  <a:lnTo>
                    <a:pt x="794" y="1054"/>
                  </a:lnTo>
                  <a:lnTo>
                    <a:pt x="827" y="1044"/>
                  </a:lnTo>
                  <a:lnTo>
                    <a:pt x="827" y="1037"/>
                  </a:lnTo>
                  <a:lnTo>
                    <a:pt x="865" y="1037"/>
                  </a:lnTo>
                  <a:lnTo>
                    <a:pt x="865" y="1037"/>
                  </a:lnTo>
                  <a:lnTo>
                    <a:pt x="865" y="1037"/>
                  </a:lnTo>
                  <a:close/>
                  <a:moveTo>
                    <a:pt x="823" y="1044"/>
                  </a:moveTo>
                  <a:lnTo>
                    <a:pt x="823" y="1044"/>
                  </a:lnTo>
                  <a:lnTo>
                    <a:pt x="823" y="1037"/>
                  </a:lnTo>
                  <a:lnTo>
                    <a:pt x="823" y="1044"/>
                  </a:lnTo>
                  <a:lnTo>
                    <a:pt x="823" y="1044"/>
                  </a:lnTo>
                  <a:lnTo>
                    <a:pt x="823" y="1044"/>
                  </a:lnTo>
                  <a:close/>
                  <a:moveTo>
                    <a:pt x="702" y="1065"/>
                  </a:moveTo>
                  <a:lnTo>
                    <a:pt x="697" y="1065"/>
                  </a:lnTo>
                  <a:lnTo>
                    <a:pt x="702" y="1061"/>
                  </a:lnTo>
                  <a:lnTo>
                    <a:pt x="702" y="1065"/>
                  </a:lnTo>
                  <a:lnTo>
                    <a:pt x="702" y="1065"/>
                  </a:lnTo>
                  <a:lnTo>
                    <a:pt x="702" y="106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2" name="Freeform 472">
              <a:extLst>
                <a:ext uri="{FF2B5EF4-FFF2-40B4-BE49-F238E27FC236}">
                  <a16:creationId xmlns:a16="http://schemas.microsoft.com/office/drawing/2014/main" id="{658E91F4-F9D9-4530-84F9-E350CA8FFFD1}"/>
                </a:ext>
              </a:extLst>
            </p:cNvPr>
            <p:cNvSpPr>
              <a:spLocks/>
            </p:cNvSpPr>
            <p:nvPr/>
          </p:nvSpPr>
          <p:spPr bwMode="gray">
            <a:xfrm>
              <a:off x="7717948" y="3042360"/>
              <a:ext cx="37050" cy="123515"/>
            </a:xfrm>
            <a:custGeom>
              <a:avLst/>
              <a:gdLst>
                <a:gd name="T0" fmla="*/ 52 w 90"/>
                <a:gd name="T1" fmla="*/ 7 h 300"/>
                <a:gd name="T2" fmla="*/ 73 w 90"/>
                <a:gd name="T3" fmla="*/ 17 h 300"/>
                <a:gd name="T4" fmla="*/ 90 w 90"/>
                <a:gd name="T5" fmla="*/ 0 h 300"/>
                <a:gd name="T6" fmla="*/ 90 w 90"/>
                <a:gd name="T7" fmla="*/ 0 h 300"/>
                <a:gd name="T8" fmla="*/ 90 w 90"/>
                <a:gd name="T9" fmla="*/ 45 h 300"/>
                <a:gd name="T10" fmla="*/ 81 w 90"/>
                <a:gd name="T11" fmla="*/ 45 h 300"/>
                <a:gd name="T12" fmla="*/ 81 w 90"/>
                <a:gd name="T13" fmla="*/ 74 h 300"/>
                <a:gd name="T14" fmla="*/ 59 w 90"/>
                <a:gd name="T15" fmla="*/ 57 h 300"/>
                <a:gd name="T16" fmla="*/ 52 w 90"/>
                <a:gd name="T17" fmla="*/ 62 h 300"/>
                <a:gd name="T18" fmla="*/ 43 w 90"/>
                <a:gd name="T19" fmla="*/ 111 h 300"/>
                <a:gd name="T20" fmla="*/ 59 w 90"/>
                <a:gd name="T21" fmla="*/ 118 h 300"/>
                <a:gd name="T22" fmla="*/ 43 w 90"/>
                <a:gd name="T23" fmla="*/ 128 h 300"/>
                <a:gd name="T24" fmla="*/ 38 w 90"/>
                <a:gd name="T25" fmla="*/ 151 h 300"/>
                <a:gd name="T26" fmla="*/ 52 w 90"/>
                <a:gd name="T27" fmla="*/ 151 h 300"/>
                <a:gd name="T28" fmla="*/ 81 w 90"/>
                <a:gd name="T29" fmla="*/ 140 h 300"/>
                <a:gd name="T30" fmla="*/ 73 w 90"/>
                <a:gd name="T31" fmla="*/ 156 h 300"/>
                <a:gd name="T32" fmla="*/ 73 w 90"/>
                <a:gd name="T33" fmla="*/ 168 h 300"/>
                <a:gd name="T34" fmla="*/ 59 w 90"/>
                <a:gd name="T35" fmla="*/ 222 h 300"/>
                <a:gd name="T36" fmla="*/ 59 w 90"/>
                <a:gd name="T37" fmla="*/ 246 h 300"/>
                <a:gd name="T38" fmla="*/ 43 w 90"/>
                <a:gd name="T39" fmla="*/ 296 h 300"/>
                <a:gd name="T40" fmla="*/ 38 w 90"/>
                <a:gd name="T41" fmla="*/ 300 h 300"/>
                <a:gd name="T42" fmla="*/ 0 w 90"/>
                <a:gd name="T43" fmla="*/ 156 h 300"/>
                <a:gd name="T44" fmla="*/ 10 w 90"/>
                <a:gd name="T45" fmla="*/ 135 h 300"/>
                <a:gd name="T46" fmla="*/ 10 w 90"/>
                <a:gd name="T47" fmla="*/ 135 h 300"/>
                <a:gd name="T48" fmla="*/ 26 w 90"/>
                <a:gd name="T49" fmla="*/ 102 h 300"/>
                <a:gd name="T50" fmla="*/ 43 w 90"/>
                <a:gd name="T51" fmla="*/ 29 h 300"/>
                <a:gd name="T52" fmla="*/ 52 w 90"/>
                <a:gd name="T53" fmla="*/ 29 h 300"/>
                <a:gd name="T54" fmla="*/ 52 w 90"/>
                <a:gd name="T55" fmla="*/ 7 h 300"/>
                <a:gd name="T56" fmla="*/ 52 w 90"/>
                <a:gd name="T57" fmla="*/ 7 h 300"/>
                <a:gd name="T58" fmla="*/ 52 w 90"/>
                <a:gd name="T59" fmla="*/ 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 h="300">
                  <a:moveTo>
                    <a:pt x="52" y="7"/>
                  </a:moveTo>
                  <a:lnTo>
                    <a:pt x="73" y="17"/>
                  </a:lnTo>
                  <a:lnTo>
                    <a:pt x="90" y="0"/>
                  </a:lnTo>
                  <a:lnTo>
                    <a:pt x="90" y="0"/>
                  </a:lnTo>
                  <a:lnTo>
                    <a:pt x="90" y="45"/>
                  </a:lnTo>
                  <a:lnTo>
                    <a:pt x="81" y="45"/>
                  </a:lnTo>
                  <a:lnTo>
                    <a:pt x="81" y="74"/>
                  </a:lnTo>
                  <a:lnTo>
                    <a:pt x="59" y="57"/>
                  </a:lnTo>
                  <a:lnTo>
                    <a:pt x="52" y="62"/>
                  </a:lnTo>
                  <a:lnTo>
                    <a:pt x="43" y="111"/>
                  </a:lnTo>
                  <a:lnTo>
                    <a:pt x="59" y="118"/>
                  </a:lnTo>
                  <a:lnTo>
                    <a:pt x="43" y="128"/>
                  </a:lnTo>
                  <a:lnTo>
                    <a:pt x="38" y="151"/>
                  </a:lnTo>
                  <a:lnTo>
                    <a:pt x="52" y="151"/>
                  </a:lnTo>
                  <a:lnTo>
                    <a:pt x="81" y="140"/>
                  </a:lnTo>
                  <a:lnTo>
                    <a:pt x="73" y="156"/>
                  </a:lnTo>
                  <a:lnTo>
                    <a:pt x="73" y="168"/>
                  </a:lnTo>
                  <a:lnTo>
                    <a:pt x="59" y="222"/>
                  </a:lnTo>
                  <a:lnTo>
                    <a:pt x="59" y="246"/>
                  </a:lnTo>
                  <a:lnTo>
                    <a:pt x="43" y="296"/>
                  </a:lnTo>
                  <a:lnTo>
                    <a:pt x="38" y="300"/>
                  </a:lnTo>
                  <a:lnTo>
                    <a:pt x="0" y="156"/>
                  </a:lnTo>
                  <a:lnTo>
                    <a:pt x="10" y="135"/>
                  </a:lnTo>
                  <a:lnTo>
                    <a:pt x="10" y="135"/>
                  </a:lnTo>
                  <a:lnTo>
                    <a:pt x="26" y="102"/>
                  </a:lnTo>
                  <a:lnTo>
                    <a:pt x="43" y="29"/>
                  </a:lnTo>
                  <a:lnTo>
                    <a:pt x="52" y="29"/>
                  </a:lnTo>
                  <a:lnTo>
                    <a:pt x="52" y="7"/>
                  </a:lnTo>
                  <a:lnTo>
                    <a:pt x="52" y="7"/>
                  </a:lnTo>
                  <a:lnTo>
                    <a:pt x="52" y="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3" name="Freeform 474">
              <a:extLst>
                <a:ext uri="{FF2B5EF4-FFF2-40B4-BE49-F238E27FC236}">
                  <a16:creationId xmlns:a16="http://schemas.microsoft.com/office/drawing/2014/main" id="{AE695B2E-7A6D-41A2-9913-984D6D85F24F}"/>
                </a:ext>
              </a:extLst>
            </p:cNvPr>
            <p:cNvSpPr>
              <a:spLocks noEditPoints="1"/>
            </p:cNvSpPr>
            <p:nvPr/>
          </p:nvSpPr>
          <p:spPr bwMode="gray">
            <a:xfrm>
              <a:off x="6477999" y="3745570"/>
              <a:ext cx="175371" cy="189801"/>
            </a:xfrm>
            <a:custGeom>
              <a:avLst/>
              <a:gdLst>
                <a:gd name="T0" fmla="*/ 69 w 426"/>
                <a:gd name="T1" fmla="*/ 421 h 461"/>
                <a:gd name="T2" fmla="*/ 81 w 426"/>
                <a:gd name="T3" fmla="*/ 383 h 461"/>
                <a:gd name="T4" fmla="*/ 86 w 426"/>
                <a:gd name="T5" fmla="*/ 350 h 461"/>
                <a:gd name="T6" fmla="*/ 48 w 426"/>
                <a:gd name="T7" fmla="*/ 326 h 461"/>
                <a:gd name="T8" fmla="*/ 0 w 426"/>
                <a:gd name="T9" fmla="*/ 305 h 461"/>
                <a:gd name="T10" fmla="*/ 26 w 426"/>
                <a:gd name="T11" fmla="*/ 255 h 461"/>
                <a:gd name="T12" fmla="*/ 15 w 426"/>
                <a:gd name="T13" fmla="*/ 222 h 461"/>
                <a:gd name="T14" fmla="*/ 38 w 426"/>
                <a:gd name="T15" fmla="*/ 194 h 461"/>
                <a:gd name="T16" fmla="*/ 38 w 426"/>
                <a:gd name="T17" fmla="*/ 184 h 461"/>
                <a:gd name="T18" fmla="*/ 26 w 426"/>
                <a:gd name="T19" fmla="*/ 161 h 461"/>
                <a:gd name="T20" fmla="*/ 64 w 426"/>
                <a:gd name="T21" fmla="*/ 168 h 461"/>
                <a:gd name="T22" fmla="*/ 64 w 426"/>
                <a:gd name="T23" fmla="*/ 156 h 461"/>
                <a:gd name="T24" fmla="*/ 48 w 426"/>
                <a:gd name="T25" fmla="*/ 123 h 461"/>
                <a:gd name="T26" fmla="*/ 48 w 426"/>
                <a:gd name="T27" fmla="*/ 111 h 461"/>
                <a:gd name="T28" fmla="*/ 38 w 426"/>
                <a:gd name="T29" fmla="*/ 99 h 461"/>
                <a:gd name="T30" fmla="*/ 31 w 426"/>
                <a:gd name="T31" fmla="*/ 57 h 461"/>
                <a:gd name="T32" fmla="*/ 52 w 426"/>
                <a:gd name="T33" fmla="*/ 45 h 461"/>
                <a:gd name="T34" fmla="*/ 107 w 426"/>
                <a:gd name="T35" fmla="*/ 45 h 461"/>
                <a:gd name="T36" fmla="*/ 140 w 426"/>
                <a:gd name="T37" fmla="*/ 28 h 461"/>
                <a:gd name="T38" fmla="*/ 156 w 426"/>
                <a:gd name="T39" fmla="*/ 12 h 461"/>
                <a:gd name="T40" fmla="*/ 161 w 426"/>
                <a:gd name="T41" fmla="*/ 0 h 461"/>
                <a:gd name="T42" fmla="*/ 173 w 426"/>
                <a:gd name="T43" fmla="*/ 45 h 461"/>
                <a:gd name="T44" fmla="*/ 194 w 426"/>
                <a:gd name="T45" fmla="*/ 28 h 461"/>
                <a:gd name="T46" fmla="*/ 225 w 426"/>
                <a:gd name="T47" fmla="*/ 33 h 461"/>
                <a:gd name="T48" fmla="*/ 253 w 426"/>
                <a:gd name="T49" fmla="*/ 57 h 461"/>
                <a:gd name="T50" fmla="*/ 300 w 426"/>
                <a:gd name="T51" fmla="*/ 83 h 461"/>
                <a:gd name="T52" fmla="*/ 350 w 426"/>
                <a:gd name="T53" fmla="*/ 57 h 461"/>
                <a:gd name="T54" fmla="*/ 409 w 426"/>
                <a:gd name="T55" fmla="*/ 99 h 461"/>
                <a:gd name="T56" fmla="*/ 409 w 426"/>
                <a:gd name="T57" fmla="*/ 123 h 461"/>
                <a:gd name="T58" fmla="*/ 426 w 426"/>
                <a:gd name="T59" fmla="*/ 184 h 461"/>
                <a:gd name="T60" fmla="*/ 393 w 426"/>
                <a:gd name="T61" fmla="*/ 267 h 461"/>
                <a:gd name="T62" fmla="*/ 371 w 426"/>
                <a:gd name="T63" fmla="*/ 293 h 461"/>
                <a:gd name="T64" fmla="*/ 409 w 426"/>
                <a:gd name="T65" fmla="*/ 378 h 461"/>
                <a:gd name="T66" fmla="*/ 393 w 426"/>
                <a:gd name="T67" fmla="*/ 404 h 461"/>
                <a:gd name="T68" fmla="*/ 393 w 426"/>
                <a:gd name="T69" fmla="*/ 404 h 461"/>
                <a:gd name="T70" fmla="*/ 376 w 426"/>
                <a:gd name="T71" fmla="*/ 388 h 461"/>
                <a:gd name="T72" fmla="*/ 371 w 426"/>
                <a:gd name="T73" fmla="*/ 404 h 461"/>
                <a:gd name="T74" fmla="*/ 338 w 426"/>
                <a:gd name="T75" fmla="*/ 399 h 461"/>
                <a:gd name="T76" fmla="*/ 338 w 426"/>
                <a:gd name="T77" fmla="*/ 399 h 461"/>
                <a:gd name="T78" fmla="*/ 263 w 426"/>
                <a:gd name="T79" fmla="*/ 404 h 461"/>
                <a:gd name="T80" fmla="*/ 232 w 426"/>
                <a:gd name="T81" fmla="*/ 399 h 461"/>
                <a:gd name="T82" fmla="*/ 232 w 426"/>
                <a:gd name="T83" fmla="*/ 404 h 461"/>
                <a:gd name="T84" fmla="*/ 253 w 426"/>
                <a:gd name="T85" fmla="*/ 404 h 461"/>
                <a:gd name="T86" fmla="*/ 81 w 426"/>
                <a:gd name="T87" fmla="*/ 461 h 461"/>
                <a:gd name="T88" fmla="*/ 81 w 426"/>
                <a:gd name="T89" fmla="*/ 461 h 461"/>
                <a:gd name="T90" fmla="*/ 305 w 426"/>
                <a:gd name="T91" fmla="*/ 399 h 461"/>
                <a:gd name="T92" fmla="*/ 263 w 426"/>
                <a:gd name="T93" fmla="*/ 404 h 461"/>
                <a:gd name="T94" fmla="*/ 263 w 426"/>
                <a:gd name="T95" fmla="*/ 404 h 461"/>
                <a:gd name="T96" fmla="*/ 388 w 426"/>
                <a:gd name="T97" fmla="*/ 404 h 461"/>
                <a:gd name="T98" fmla="*/ 388 w 426"/>
                <a:gd name="T99" fmla="*/ 404 h 461"/>
                <a:gd name="T100" fmla="*/ 388 w 426"/>
                <a:gd name="T101" fmla="*/ 404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6" h="461">
                  <a:moveTo>
                    <a:pt x="81" y="461"/>
                  </a:moveTo>
                  <a:lnTo>
                    <a:pt x="69" y="421"/>
                  </a:lnTo>
                  <a:lnTo>
                    <a:pt x="86" y="388"/>
                  </a:lnTo>
                  <a:lnTo>
                    <a:pt x="81" y="383"/>
                  </a:lnTo>
                  <a:lnTo>
                    <a:pt x="86" y="378"/>
                  </a:lnTo>
                  <a:lnTo>
                    <a:pt x="86" y="350"/>
                  </a:lnTo>
                  <a:lnTo>
                    <a:pt x="52" y="350"/>
                  </a:lnTo>
                  <a:lnTo>
                    <a:pt x="48" y="326"/>
                  </a:lnTo>
                  <a:lnTo>
                    <a:pt x="31" y="326"/>
                  </a:lnTo>
                  <a:lnTo>
                    <a:pt x="0" y="305"/>
                  </a:lnTo>
                  <a:lnTo>
                    <a:pt x="15" y="276"/>
                  </a:lnTo>
                  <a:lnTo>
                    <a:pt x="26" y="255"/>
                  </a:lnTo>
                  <a:lnTo>
                    <a:pt x="10" y="234"/>
                  </a:lnTo>
                  <a:lnTo>
                    <a:pt x="15" y="222"/>
                  </a:lnTo>
                  <a:lnTo>
                    <a:pt x="26" y="234"/>
                  </a:lnTo>
                  <a:lnTo>
                    <a:pt x="38" y="194"/>
                  </a:lnTo>
                  <a:lnTo>
                    <a:pt x="48" y="201"/>
                  </a:lnTo>
                  <a:lnTo>
                    <a:pt x="38" y="184"/>
                  </a:lnTo>
                  <a:lnTo>
                    <a:pt x="26" y="184"/>
                  </a:lnTo>
                  <a:lnTo>
                    <a:pt x="26" y="161"/>
                  </a:lnTo>
                  <a:lnTo>
                    <a:pt x="52" y="161"/>
                  </a:lnTo>
                  <a:lnTo>
                    <a:pt x="64" y="168"/>
                  </a:lnTo>
                  <a:lnTo>
                    <a:pt x="64" y="168"/>
                  </a:lnTo>
                  <a:lnTo>
                    <a:pt x="64" y="156"/>
                  </a:lnTo>
                  <a:lnTo>
                    <a:pt x="48" y="139"/>
                  </a:lnTo>
                  <a:lnTo>
                    <a:pt x="48" y="123"/>
                  </a:lnTo>
                  <a:lnTo>
                    <a:pt x="64" y="123"/>
                  </a:lnTo>
                  <a:lnTo>
                    <a:pt x="48" y="111"/>
                  </a:lnTo>
                  <a:lnTo>
                    <a:pt x="48" y="99"/>
                  </a:lnTo>
                  <a:lnTo>
                    <a:pt x="38" y="99"/>
                  </a:lnTo>
                  <a:lnTo>
                    <a:pt x="31" y="90"/>
                  </a:lnTo>
                  <a:lnTo>
                    <a:pt x="31" y="57"/>
                  </a:lnTo>
                  <a:lnTo>
                    <a:pt x="38" y="45"/>
                  </a:lnTo>
                  <a:lnTo>
                    <a:pt x="52" y="45"/>
                  </a:lnTo>
                  <a:lnTo>
                    <a:pt x="69" y="17"/>
                  </a:lnTo>
                  <a:lnTo>
                    <a:pt x="107" y="45"/>
                  </a:lnTo>
                  <a:lnTo>
                    <a:pt x="119" y="28"/>
                  </a:lnTo>
                  <a:lnTo>
                    <a:pt x="140" y="28"/>
                  </a:lnTo>
                  <a:lnTo>
                    <a:pt x="140" y="0"/>
                  </a:lnTo>
                  <a:lnTo>
                    <a:pt x="156" y="12"/>
                  </a:lnTo>
                  <a:lnTo>
                    <a:pt x="156" y="0"/>
                  </a:lnTo>
                  <a:lnTo>
                    <a:pt x="161" y="0"/>
                  </a:lnTo>
                  <a:lnTo>
                    <a:pt x="173" y="33"/>
                  </a:lnTo>
                  <a:lnTo>
                    <a:pt x="173" y="45"/>
                  </a:lnTo>
                  <a:lnTo>
                    <a:pt x="178" y="45"/>
                  </a:lnTo>
                  <a:lnTo>
                    <a:pt x="194" y="28"/>
                  </a:lnTo>
                  <a:lnTo>
                    <a:pt x="215" y="17"/>
                  </a:lnTo>
                  <a:lnTo>
                    <a:pt x="225" y="33"/>
                  </a:lnTo>
                  <a:lnTo>
                    <a:pt x="241" y="33"/>
                  </a:lnTo>
                  <a:lnTo>
                    <a:pt x="253" y="57"/>
                  </a:lnTo>
                  <a:lnTo>
                    <a:pt x="267" y="73"/>
                  </a:lnTo>
                  <a:lnTo>
                    <a:pt x="300" y="83"/>
                  </a:lnTo>
                  <a:lnTo>
                    <a:pt x="305" y="66"/>
                  </a:lnTo>
                  <a:lnTo>
                    <a:pt x="350" y="57"/>
                  </a:lnTo>
                  <a:lnTo>
                    <a:pt x="376" y="57"/>
                  </a:lnTo>
                  <a:lnTo>
                    <a:pt x="409" y="99"/>
                  </a:lnTo>
                  <a:lnTo>
                    <a:pt x="414" y="90"/>
                  </a:lnTo>
                  <a:lnTo>
                    <a:pt x="409" y="123"/>
                  </a:lnTo>
                  <a:lnTo>
                    <a:pt x="414" y="128"/>
                  </a:lnTo>
                  <a:lnTo>
                    <a:pt x="426" y="184"/>
                  </a:lnTo>
                  <a:lnTo>
                    <a:pt x="409" y="201"/>
                  </a:lnTo>
                  <a:lnTo>
                    <a:pt x="393" y="267"/>
                  </a:lnTo>
                  <a:lnTo>
                    <a:pt x="376" y="288"/>
                  </a:lnTo>
                  <a:lnTo>
                    <a:pt x="371" y="293"/>
                  </a:lnTo>
                  <a:lnTo>
                    <a:pt x="393" y="366"/>
                  </a:lnTo>
                  <a:lnTo>
                    <a:pt x="409" y="378"/>
                  </a:lnTo>
                  <a:lnTo>
                    <a:pt x="409" y="404"/>
                  </a:lnTo>
                  <a:lnTo>
                    <a:pt x="393" y="404"/>
                  </a:lnTo>
                  <a:lnTo>
                    <a:pt x="402" y="399"/>
                  </a:lnTo>
                  <a:lnTo>
                    <a:pt x="393" y="404"/>
                  </a:lnTo>
                  <a:lnTo>
                    <a:pt x="376" y="399"/>
                  </a:lnTo>
                  <a:lnTo>
                    <a:pt x="376" y="388"/>
                  </a:lnTo>
                  <a:lnTo>
                    <a:pt x="371" y="388"/>
                  </a:lnTo>
                  <a:lnTo>
                    <a:pt x="371" y="404"/>
                  </a:lnTo>
                  <a:lnTo>
                    <a:pt x="322" y="399"/>
                  </a:lnTo>
                  <a:lnTo>
                    <a:pt x="338" y="399"/>
                  </a:lnTo>
                  <a:lnTo>
                    <a:pt x="334" y="388"/>
                  </a:lnTo>
                  <a:lnTo>
                    <a:pt x="338" y="399"/>
                  </a:lnTo>
                  <a:lnTo>
                    <a:pt x="284" y="388"/>
                  </a:lnTo>
                  <a:lnTo>
                    <a:pt x="263" y="404"/>
                  </a:lnTo>
                  <a:lnTo>
                    <a:pt x="253" y="399"/>
                  </a:lnTo>
                  <a:lnTo>
                    <a:pt x="232" y="399"/>
                  </a:lnTo>
                  <a:lnTo>
                    <a:pt x="225" y="404"/>
                  </a:lnTo>
                  <a:lnTo>
                    <a:pt x="232" y="404"/>
                  </a:lnTo>
                  <a:lnTo>
                    <a:pt x="232" y="399"/>
                  </a:lnTo>
                  <a:lnTo>
                    <a:pt x="253" y="404"/>
                  </a:lnTo>
                  <a:lnTo>
                    <a:pt x="187" y="416"/>
                  </a:lnTo>
                  <a:lnTo>
                    <a:pt x="81" y="461"/>
                  </a:lnTo>
                  <a:lnTo>
                    <a:pt x="81" y="461"/>
                  </a:lnTo>
                  <a:lnTo>
                    <a:pt x="81" y="461"/>
                  </a:lnTo>
                  <a:close/>
                  <a:moveTo>
                    <a:pt x="263" y="404"/>
                  </a:moveTo>
                  <a:lnTo>
                    <a:pt x="305" y="399"/>
                  </a:lnTo>
                  <a:lnTo>
                    <a:pt x="322" y="399"/>
                  </a:lnTo>
                  <a:lnTo>
                    <a:pt x="263" y="404"/>
                  </a:lnTo>
                  <a:lnTo>
                    <a:pt x="263" y="404"/>
                  </a:lnTo>
                  <a:lnTo>
                    <a:pt x="263" y="404"/>
                  </a:lnTo>
                  <a:close/>
                  <a:moveTo>
                    <a:pt x="388" y="404"/>
                  </a:moveTo>
                  <a:lnTo>
                    <a:pt x="388" y="404"/>
                  </a:lnTo>
                  <a:lnTo>
                    <a:pt x="376" y="404"/>
                  </a:lnTo>
                  <a:lnTo>
                    <a:pt x="388" y="404"/>
                  </a:lnTo>
                  <a:lnTo>
                    <a:pt x="388" y="404"/>
                  </a:lnTo>
                  <a:lnTo>
                    <a:pt x="388" y="40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4" name="Freeform 475">
              <a:extLst>
                <a:ext uri="{FF2B5EF4-FFF2-40B4-BE49-F238E27FC236}">
                  <a16:creationId xmlns:a16="http://schemas.microsoft.com/office/drawing/2014/main" id="{6ADFE734-F93F-49C4-B931-C3AAF4F9826C}"/>
                </a:ext>
              </a:extLst>
            </p:cNvPr>
            <p:cNvSpPr>
              <a:spLocks/>
            </p:cNvSpPr>
            <p:nvPr/>
          </p:nvSpPr>
          <p:spPr bwMode="gray">
            <a:xfrm>
              <a:off x="7847213" y="2901552"/>
              <a:ext cx="279112" cy="274203"/>
            </a:xfrm>
            <a:custGeom>
              <a:avLst/>
              <a:gdLst>
                <a:gd name="T0" fmla="*/ 31 w 678"/>
                <a:gd name="T1" fmla="*/ 420 h 666"/>
                <a:gd name="T2" fmla="*/ 15 w 678"/>
                <a:gd name="T3" fmla="*/ 416 h 666"/>
                <a:gd name="T4" fmla="*/ 15 w 678"/>
                <a:gd name="T5" fmla="*/ 399 h 666"/>
                <a:gd name="T6" fmla="*/ 156 w 678"/>
                <a:gd name="T7" fmla="*/ 250 h 666"/>
                <a:gd name="T8" fmla="*/ 171 w 678"/>
                <a:gd name="T9" fmla="*/ 182 h 666"/>
                <a:gd name="T10" fmla="*/ 178 w 678"/>
                <a:gd name="T11" fmla="*/ 127 h 666"/>
                <a:gd name="T12" fmla="*/ 171 w 678"/>
                <a:gd name="T13" fmla="*/ 87 h 666"/>
                <a:gd name="T14" fmla="*/ 208 w 678"/>
                <a:gd name="T15" fmla="*/ 66 h 666"/>
                <a:gd name="T16" fmla="*/ 263 w 678"/>
                <a:gd name="T17" fmla="*/ 28 h 666"/>
                <a:gd name="T18" fmla="*/ 291 w 678"/>
                <a:gd name="T19" fmla="*/ 12 h 666"/>
                <a:gd name="T20" fmla="*/ 338 w 678"/>
                <a:gd name="T21" fmla="*/ 16 h 666"/>
                <a:gd name="T22" fmla="*/ 371 w 678"/>
                <a:gd name="T23" fmla="*/ 12 h 666"/>
                <a:gd name="T24" fmla="*/ 376 w 678"/>
                <a:gd name="T25" fmla="*/ 28 h 666"/>
                <a:gd name="T26" fmla="*/ 409 w 678"/>
                <a:gd name="T27" fmla="*/ 16 h 666"/>
                <a:gd name="T28" fmla="*/ 426 w 678"/>
                <a:gd name="T29" fmla="*/ 33 h 666"/>
                <a:gd name="T30" fmla="*/ 440 w 678"/>
                <a:gd name="T31" fmla="*/ 54 h 666"/>
                <a:gd name="T32" fmla="*/ 440 w 678"/>
                <a:gd name="T33" fmla="*/ 82 h 666"/>
                <a:gd name="T34" fmla="*/ 461 w 678"/>
                <a:gd name="T35" fmla="*/ 123 h 666"/>
                <a:gd name="T36" fmla="*/ 485 w 678"/>
                <a:gd name="T37" fmla="*/ 139 h 666"/>
                <a:gd name="T38" fmla="*/ 522 w 678"/>
                <a:gd name="T39" fmla="*/ 139 h 666"/>
                <a:gd name="T40" fmla="*/ 499 w 678"/>
                <a:gd name="T41" fmla="*/ 160 h 666"/>
                <a:gd name="T42" fmla="*/ 515 w 678"/>
                <a:gd name="T43" fmla="*/ 193 h 666"/>
                <a:gd name="T44" fmla="*/ 494 w 678"/>
                <a:gd name="T45" fmla="*/ 205 h 666"/>
                <a:gd name="T46" fmla="*/ 485 w 678"/>
                <a:gd name="T47" fmla="*/ 238 h 666"/>
                <a:gd name="T48" fmla="*/ 461 w 678"/>
                <a:gd name="T49" fmla="*/ 238 h 666"/>
                <a:gd name="T50" fmla="*/ 468 w 678"/>
                <a:gd name="T51" fmla="*/ 271 h 666"/>
                <a:gd name="T52" fmla="*/ 468 w 678"/>
                <a:gd name="T53" fmla="*/ 288 h 666"/>
                <a:gd name="T54" fmla="*/ 494 w 678"/>
                <a:gd name="T55" fmla="*/ 309 h 666"/>
                <a:gd name="T56" fmla="*/ 494 w 678"/>
                <a:gd name="T57" fmla="*/ 316 h 666"/>
                <a:gd name="T58" fmla="*/ 515 w 678"/>
                <a:gd name="T59" fmla="*/ 342 h 666"/>
                <a:gd name="T60" fmla="*/ 532 w 678"/>
                <a:gd name="T61" fmla="*/ 366 h 666"/>
                <a:gd name="T62" fmla="*/ 603 w 678"/>
                <a:gd name="T63" fmla="*/ 404 h 666"/>
                <a:gd name="T64" fmla="*/ 629 w 678"/>
                <a:gd name="T65" fmla="*/ 460 h 666"/>
                <a:gd name="T66" fmla="*/ 624 w 678"/>
                <a:gd name="T67" fmla="*/ 527 h 666"/>
                <a:gd name="T68" fmla="*/ 645 w 678"/>
                <a:gd name="T69" fmla="*/ 564 h 666"/>
                <a:gd name="T70" fmla="*/ 667 w 678"/>
                <a:gd name="T71" fmla="*/ 604 h 666"/>
                <a:gd name="T72" fmla="*/ 641 w 678"/>
                <a:gd name="T73" fmla="*/ 593 h 666"/>
                <a:gd name="T74" fmla="*/ 586 w 678"/>
                <a:gd name="T75" fmla="*/ 593 h 666"/>
                <a:gd name="T76" fmla="*/ 537 w 678"/>
                <a:gd name="T77" fmla="*/ 666 h 666"/>
                <a:gd name="T78" fmla="*/ 414 w 678"/>
                <a:gd name="T79" fmla="*/ 666 h 666"/>
                <a:gd name="T80" fmla="*/ 182 w 678"/>
                <a:gd name="T81" fmla="*/ 493 h 666"/>
                <a:gd name="T82" fmla="*/ 22 w 678"/>
                <a:gd name="T83" fmla="*/ 427 h 666"/>
                <a:gd name="T84" fmla="*/ 22 w 678"/>
                <a:gd name="T85" fmla="*/ 427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8" h="666">
                  <a:moveTo>
                    <a:pt x="22" y="427"/>
                  </a:moveTo>
                  <a:lnTo>
                    <a:pt x="31" y="420"/>
                  </a:lnTo>
                  <a:lnTo>
                    <a:pt x="31" y="416"/>
                  </a:lnTo>
                  <a:lnTo>
                    <a:pt x="15" y="416"/>
                  </a:lnTo>
                  <a:lnTo>
                    <a:pt x="10" y="404"/>
                  </a:lnTo>
                  <a:lnTo>
                    <a:pt x="15" y="399"/>
                  </a:lnTo>
                  <a:lnTo>
                    <a:pt x="0" y="333"/>
                  </a:lnTo>
                  <a:lnTo>
                    <a:pt x="156" y="250"/>
                  </a:lnTo>
                  <a:lnTo>
                    <a:pt x="171" y="215"/>
                  </a:lnTo>
                  <a:lnTo>
                    <a:pt x="171" y="182"/>
                  </a:lnTo>
                  <a:lnTo>
                    <a:pt x="178" y="149"/>
                  </a:lnTo>
                  <a:lnTo>
                    <a:pt x="178" y="127"/>
                  </a:lnTo>
                  <a:lnTo>
                    <a:pt x="171" y="111"/>
                  </a:lnTo>
                  <a:lnTo>
                    <a:pt x="171" y="87"/>
                  </a:lnTo>
                  <a:lnTo>
                    <a:pt x="178" y="71"/>
                  </a:lnTo>
                  <a:lnTo>
                    <a:pt x="208" y="66"/>
                  </a:lnTo>
                  <a:lnTo>
                    <a:pt x="246" y="28"/>
                  </a:lnTo>
                  <a:lnTo>
                    <a:pt x="263" y="28"/>
                  </a:lnTo>
                  <a:lnTo>
                    <a:pt x="279" y="0"/>
                  </a:lnTo>
                  <a:lnTo>
                    <a:pt x="291" y="12"/>
                  </a:lnTo>
                  <a:lnTo>
                    <a:pt x="300" y="0"/>
                  </a:lnTo>
                  <a:lnTo>
                    <a:pt x="338" y="16"/>
                  </a:lnTo>
                  <a:lnTo>
                    <a:pt x="355" y="16"/>
                  </a:lnTo>
                  <a:lnTo>
                    <a:pt x="371" y="12"/>
                  </a:lnTo>
                  <a:lnTo>
                    <a:pt x="376" y="16"/>
                  </a:lnTo>
                  <a:lnTo>
                    <a:pt x="376" y="28"/>
                  </a:lnTo>
                  <a:lnTo>
                    <a:pt x="388" y="38"/>
                  </a:lnTo>
                  <a:lnTo>
                    <a:pt x="409" y="16"/>
                  </a:lnTo>
                  <a:lnTo>
                    <a:pt x="414" y="28"/>
                  </a:lnTo>
                  <a:lnTo>
                    <a:pt x="426" y="33"/>
                  </a:lnTo>
                  <a:lnTo>
                    <a:pt x="426" y="49"/>
                  </a:lnTo>
                  <a:lnTo>
                    <a:pt x="440" y="54"/>
                  </a:lnTo>
                  <a:lnTo>
                    <a:pt x="430" y="71"/>
                  </a:lnTo>
                  <a:lnTo>
                    <a:pt x="440" y="82"/>
                  </a:lnTo>
                  <a:lnTo>
                    <a:pt x="452" y="87"/>
                  </a:lnTo>
                  <a:lnTo>
                    <a:pt x="461" y="123"/>
                  </a:lnTo>
                  <a:lnTo>
                    <a:pt x="478" y="123"/>
                  </a:lnTo>
                  <a:lnTo>
                    <a:pt x="485" y="139"/>
                  </a:lnTo>
                  <a:lnTo>
                    <a:pt x="506" y="127"/>
                  </a:lnTo>
                  <a:lnTo>
                    <a:pt x="522" y="139"/>
                  </a:lnTo>
                  <a:lnTo>
                    <a:pt x="499" y="144"/>
                  </a:lnTo>
                  <a:lnTo>
                    <a:pt x="499" y="160"/>
                  </a:lnTo>
                  <a:lnTo>
                    <a:pt x="515" y="182"/>
                  </a:lnTo>
                  <a:lnTo>
                    <a:pt x="515" y="193"/>
                  </a:lnTo>
                  <a:lnTo>
                    <a:pt x="499" y="193"/>
                  </a:lnTo>
                  <a:lnTo>
                    <a:pt x="494" y="205"/>
                  </a:lnTo>
                  <a:lnTo>
                    <a:pt x="478" y="222"/>
                  </a:lnTo>
                  <a:lnTo>
                    <a:pt x="485" y="238"/>
                  </a:lnTo>
                  <a:lnTo>
                    <a:pt x="468" y="234"/>
                  </a:lnTo>
                  <a:lnTo>
                    <a:pt x="461" y="238"/>
                  </a:lnTo>
                  <a:lnTo>
                    <a:pt x="468" y="255"/>
                  </a:lnTo>
                  <a:lnTo>
                    <a:pt x="468" y="271"/>
                  </a:lnTo>
                  <a:lnTo>
                    <a:pt x="461" y="276"/>
                  </a:lnTo>
                  <a:lnTo>
                    <a:pt x="468" y="288"/>
                  </a:lnTo>
                  <a:lnTo>
                    <a:pt x="485" y="309"/>
                  </a:lnTo>
                  <a:lnTo>
                    <a:pt x="494" y="309"/>
                  </a:lnTo>
                  <a:lnTo>
                    <a:pt x="499" y="316"/>
                  </a:lnTo>
                  <a:lnTo>
                    <a:pt x="494" y="316"/>
                  </a:lnTo>
                  <a:lnTo>
                    <a:pt x="499" y="316"/>
                  </a:lnTo>
                  <a:lnTo>
                    <a:pt x="515" y="342"/>
                  </a:lnTo>
                  <a:lnTo>
                    <a:pt x="506" y="366"/>
                  </a:lnTo>
                  <a:lnTo>
                    <a:pt x="532" y="366"/>
                  </a:lnTo>
                  <a:lnTo>
                    <a:pt x="586" y="404"/>
                  </a:lnTo>
                  <a:lnTo>
                    <a:pt x="603" y="404"/>
                  </a:lnTo>
                  <a:lnTo>
                    <a:pt x="603" y="416"/>
                  </a:lnTo>
                  <a:lnTo>
                    <a:pt x="629" y="460"/>
                  </a:lnTo>
                  <a:lnTo>
                    <a:pt x="624" y="482"/>
                  </a:lnTo>
                  <a:lnTo>
                    <a:pt x="624" y="527"/>
                  </a:lnTo>
                  <a:lnTo>
                    <a:pt x="645" y="527"/>
                  </a:lnTo>
                  <a:lnTo>
                    <a:pt x="645" y="564"/>
                  </a:lnTo>
                  <a:lnTo>
                    <a:pt x="667" y="581"/>
                  </a:lnTo>
                  <a:lnTo>
                    <a:pt x="667" y="604"/>
                  </a:lnTo>
                  <a:lnTo>
                    <a:pt x="678" y="604"/>
                  </a:lnTo>
                  <a:lnTo>
                    <a:pt x="641" y="593"/>
                  </a:lnTo>
                  <a:lnTo>
                    <a:pt x="624" y="593"/>
                  </a:lnTo>
                  <a:lnTo>
                    <a:pt x="586" y="593"/>
                  </a:lnTo>
                  <a:lnTo>
                    <a:pt x="570" y="638"/>
                  </a:lnTo>
                  <a:lnTo>
                    <a:pt x="537" y="666"/>
                  </a:lnTo>
                  <a:lnTo>
                    <a:pt x="537" y="666"/>
                  </a:lnTo>
                  <a:lnTo>
                    <a:pt x="414" y="666"/>
                  </a:lnTo>
                  <a:lnTo>
                    <a:pt x="232" y="510"/>
                  </a:lnTo>
                  <a:lnTo>
                    <a:pt x="182" y="493"/>
                  </a:lnTo>
                  <a:lnTo>
                    <a:pt x="107" y="444"/>
                  </a:lnTo>
                  <a:lnTo>
                    <a:pt x="22" y="427"/>
                  </a:lnTo>
                  <a:lnTo>
                    <a:pt x="22" y="427"/>
                  </a:lnTo>
                  <a:lnTo>
                    <a:pt x="22" y="42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8" name="Freeform 480">
              <a:extLst>
                <a:ext uri="{FF2B5EF4-FFF2-40B4-BE49-F238E27FC236}">
                  <a16:creationId xmlns:a16="http://schemas.microsoft.com/office/drawing/2014/main" id="{E4BBE93B-A6A6-4C30-ACCF-36F0B9111F08}"/>
                </a:ext>
              </a:extLst>
            </p:cNvPr>
            <p:cNvSpPr>
              <a:spLocks/>
            </p:cNvSpPr>
            <p:nvPr/>
          </p:nvSpPr>
          <p:spPr bwMode="gray">
            <a:xfrm>
              <a:off x="7735650" y="3037418"/>
              <a:ext cx="123501" cy="138337"/>
            </a:xfrm>
            <a:custGeom>
              <a:avLst/>
              <a:gdLst>
                <a:gd name="T0" fmla="*/ 38 w 300"/>
                <a:gd name="T1" fmla="*/ 152 h 336"/>
                <a:gd name="T2" fmla="*/ 38 w 300"/>
                <a:gd name="T3" fmla="*/ 90 h 336"/>
                <a:gd name="T4" fmla="*/ 38 w 300"/>
                <a:gd name="T5" fmla="*/ 83 h 336"/>
                <a:gd name="T6" fmla="*/ 38 w 300"/>
                <a:gd name="T7" fmla="*/ 55 h 336"/>
                <a:gd name="T8" fmla="*/ 49 w 300"/>
                <a:gd name="T9" fmla="*/ 55 h 336"/>
                <a:gd name="T10" fmla="*/ 71 w 300"/>
                <a:gd name="T11" fmla="*/ 50 h 336"/>
                <a:gd name="T12" fmla="*/ 75 w 300"/>
                <a:gd name="T13" fmla="*/ 67 h 336"/>
                <a:gd name="T14" fmla="*/ 101 w 300"/>
                <a:gd name="T15" fmla="*/ 83 h 336"/>
                <a:gd name="T16" fmla="*/ 130 w 300"/>
                <a:gd name="T17" fmla="*/ 83 h 336"/>
                <a:gd name="T18" fmla="*/ 269 w 300"/>
                <a:gd name="T19" fmla="*/ 0 h 336"/>
                <a:gd name="T20" fmla="*/ 283 w 300"/>
                <a:gd name="T21" fmla="*/ 67 h 336"/>
                <a:gd name="T22" fmla="*/ 279 w 300"/>
                <a:gd name="T23" fmla="*/ 74 h 336"/>
                <a:gd name="T24" fmla="*/ 283 w 300"/>
                <a:gd name="T25" fmla="*/ 83 h 336"/>
                <a:gd name="T26" fmla="*/ 300 w 300"/>
                <a:gd name="T27" fmla="*/ 83 h 336"/>
                <a:gd name="T28" fmla="*/ 300 w 300"/>
                <a:gd name="T29" fmla="*/ 90 h 336"/>
                <a:gd name="T30" fmla="*/ 290 w 300"/>
                <a:gd name="T31" fmla="*/ 95 h 336"/>
                <a:gd name="T32" fmla="*/ 283 w 300"/>
                <a:gd name="T33" fmla="*/ 107 h 336"/>
                <a:gd name="T34" fmla="*/ 139 w 300"/>
                <a:gd name="T35" fmla="*/ 145 h 336"/>
                <a:gd name="T36" fmla="*/ 210 w 300"/>
                <a:gd name="T37" fmla="*/ 234 h 336"/>
                <a:gd name="T38" fmla="*/ 182 w 300"/>
                <a:gd name="T39" fmla="*/ 239 h 336"/>
                <a:gd name="T40" fmla="*/ 177 w 300"/>
                <a:gd name="T41" fmla="*/ 274 h 336"/>
                <a:gd name="T42" fmla="*/ 123 w 300"/>
                <a:gd name="T43" fmla="*/ 279 h 336"/>
                <a:gd name="T44" fmla="*/ 108 w 300"/>
                <a:gd name="T45" fmla="*/ 312 h 336"/>
                <a:gd name="T46" fmla="*/ 75 w 300"/>
                <a:gd name="T47" fmla="*/ 336 h 336"/>
                <a:gd name="T48" fmla="*/ 0 w 300"/>
                <a:gd name="T49" fmla="*/ 317 h 336"/>
                <a:gd name="T50" fmla="*/ 0 w 300"/>
                <a:gd name="T51" fmla="*/ 308 h 336"/>
                <a:gd name="T52" fmla="*/ 16 w 300"/>
                <a:gd name="T53" fmla="*/ 256 h 336"/>
                <a:gd name="T54" fmla="*/ 16 w 300"/>
                <a:gd name="T55" fmla="*/ 234 h 336"/>
                <a:gd name="T56" fmla="*/ 33 w 300"/>
                <a:gd name="T57" fmla="*/ 178 h 336"/>
                <a:gd name="T58" fmla="*/ 33 w 300"/>
                <a:gd name="T59" fmla="*/ 168 h 336"/>
                <a:gd name="T60" fmla="*/ 38 w 300"/>
                <a:gd name="T61" fmla="*/ 152 h 336"/>
                <a:gd name="T62" fmla="*/ 38 w 300"/>
                <a:gd name="T63" fmla="*/ 152 h 336"/>
                <a:gd name="T64" fmla="*/ 38 w 300"/>
                <a:gd name="T65" fmla="*/ 15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336">
                  <a:moveTo>
                    <a:pt x="38" y="152"/>
                  </a:moveTo>
                  <a:lnTo>
                    <a:pt x="38" y="90"/>
                  </a:lnTo>
                  <a:lnTo>
                    <a:pt x="38" y="83"/>
                  </a:lnTo>
                  <a:lnTo>
                    <a:pt x="38" y="55"/>
                  </a:lnTo>
                  <a:lnTo>
                    <a:pt x="49" y="55"/>
                  </a:lnTo>
                  <a:lnTo>
                    <a:pt x="71" y="50"/>
                  </a:lnTo>
                  <a:lnTo>
                    <a:pt x="75" y="67"/>
                  </a:lnTo>
                  <a:lnTo>
                    <a:pt x="101" y="83"/>
                  </a:lnTo>
                  <a:lnTo>
                    <a:pt x="130" y="83"/>
                  </a:lnTo>
                  <a:lnTo>
                    <a:pt x="269" y="0"/>
                  </a:lnTo>
                  <a:lnTo>
                    <a:pt x="283" y="67"/>
                  </a:lnTo>
                  <a:lnTo>
                    <a:pt x="279" y="74"/>
                  </a:lnTo>
                  <a:lnTo>
                    <a:pt x="283" y="83"/>
                  </a:lnTo>
                  <a:lnTo>
                    <a:pt x="300" y="83"/>
                  </a:lnTo>
                  <a:lnTo>
                    <a:pt x="300" y="90"/>
                  </a:lnTo>
                  <a:lnTo>
                    <a:pt x="290" y="95"/>
                  </a:lnTo>
                  <a:lnTo>
                    <a:pt x="283" y="107"/>
                  </a:lnTo>
                  <a:lnTo>
                    <a:pt x="139" y="145"/>
                  </a:lnTo>
                  <a:lnTo>
                    <a:pt x="210" y="234"/>
                  </a:lnTo>
                  <a:lnTo>
                    <a:pt x="182" y="239"/>
                  </a:lnTo>
                  <a:lnTo>
                    <a:pt x="177" y="274"/>
                  </a:lnTo>
                  <a:lnTo>
                    <a:pt x="123" y="279"/>
                  </a:lnTo>
                  <a:lnTo>
                    <a:pt x="108" y="312"/>
                  </a:lnTo>
                  <a:lnTo>
                    <a:pt x="75" y="336"/>
                  </a:lnTo>
                  <a:lnTo>
                    <a:pt x="0" y="317"/>
                  </a:lnTo>
                  <a:lnTo>
                    <a:pt x="0" y="308"/>
                  </a:lnTo>
                  <a:lnTo>
                    <a:pt x="16" y="256"/>
                  </a:lnTo>
                  <a:lnTo>
                    <a:pt x="16" y="234"/>
                  </a:lnTo>
                  <a:lnTo>
                    <a:pt x="33" y="178"/>
                  </a:lnTo>
                  <a:lnTo>
                    <a:pt x="33" y="168"/>
                  </a:lnTo>
                  <a:lnTo>
                    <a:pt x="38" y="152"/>
                  </a:lnTo>
                  <a:lnTo>
                    <a:pt x="38" y="152"/>
                  </a:lnTo>
                  <a:lnTo>
                    <a:pt x="38" y="15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9" name="Freeform 481">
              <a:extLst>
                <a:ext uri="{FF2B5EF4-FFF2-40B4-BE49-F238E27FC236}">
                  <a16:creationId xmlns:a16="http://schemas.microsoft.com/office/drawing/2014/main" id="{F0B365F8-E41D-453D-B5C6-204521825EFE}"/>
                </a:ext>
              </a:extLst>
            </p:cNvPr>
            <p:cNvSpPr>
              <a:spLocks noEditPoints="1"/>
            </p:cNvSpPr>
            <p:nvPr/>
          </p:nvSpPr>
          <p:spPr bwMode="gray">
            <a:xfrm>
              <a:off x="7703540" y="3927548"/>
              <a:ext cx="231359" cy="277908"/>
            </a:xfrm>
            <a:custGeom>
              <a:avLst/>
              <a:gdLst>
                <a:gd name="T0" fmla="*/ 0 w 562"/>
                <a:gd name="T1" fmla="*/ 408 h 675"/>
                <a:gd name="T2" fmla="*/ 7 w 562"/>
                <a:gd name="T3" fmla="*/ 347 h 675"/>
                <a:gd name="T4" fmla="*/ 0 w 562"/>
                <a:gd name="T5" fmla="*/ 331 h 675"/>
                <a:gd name="T6" fmla="*/ 23 w 562"/>
                <a:gd name="T7" fmla="*/ 290 h 675"/>
                <a:gd name="T8" fmla="*/ 38 w 562"/>
                <a:gd name="T9" fmla="*/ 274 h 675"/>
                <a:gd name="T10" fmla="*/ 45 w 562"/>
                <a:gd name="T11" fmla="*/ 253 h 675"/>
                <a:gd name="T12" fmla="*/ 71 w 562"/>
                <a:gd name="T13" fmla="*/ 241 h 675"/>
                <a:gd name="T14" fmla="*/ 61 w 562"/>
                <a:gd name="T15" fmla="*/ 234 h 675"/>
                <a:gd name="T16" fmla="*/ 75 w 562"/>
                <a:gd name="T17" fmla="*/ 212 h 675"/>
                <a:gd name="T18" fmla="*/ 75 w 562"/>
                <a:gd name="T19" fmla="*/ 196 h 675"/>
                <a:gd name="T20" fmla="*/ 71 w 562"/>
                <a:gd name="T21" fmla="*/ 156 h 675"/>
                <a:gd name="T22" fmla="*/ 61 w 562"/>
                <a:gd name="T23" fmla="*/ 130 h 675"/>
                <a:gd name="T24" fmla="*/ 45 w 562"/>
                <a:gd name="T25" fmla="*/ 123 h 675"/>
                <a:gd name="T26" fmla="*/ 38 w 562"/>
                <a:gd name="T27" fmla="*/ 90 h 675"/>
                <a:gd name="T28" fmla="*/ 38 w 562"/>
                <a:gd name="T29" fmla="*/ 68 h 675"/>
                <a:gd name="T30" fmla="*/ 23 w 562"/>
                <a:gd name="T31" fmla="*/ 57 h 675"/>
                <a:gd name="T32" fmla="*/ 7 w 562"/>
                <a:gd name="T33" fmla="*/ 28 h 675"/>
                <a:gd name="T34" fmla="*/ 38 w 562"/>
                <a:gd name="T35" fmla="*/ 0 h 675"/>
                <a:gd name="T36" fmla="*/ 146 w 562"/>
                <a:gd name="T37" fmla="*/ 0 h 675"/>
                <a:gd name="T38" fmla="*/ 153 w 562"/>
                <a:gd name="T39" fmla="*/ 12 h 675"/>
                <a:gd name="T40" fmla="*/ 222 w 562"/>
                <a:gd name="T41" fmla="*/ 19 h 675"/>
                <a:gd name="T42" fmla="*/ 305 w 562"/>
                <a:gd name="T43" fmla="*/ 73 h 675"/>
                <a:gd name="T44" fmla="*/ 326 w 562"/>
                <a:gd name="T45" fmla="*/ 73 h 675"/>
                <a:gd name="T46" fmla="*/ 394 w 562"/>
                <a:gd name="T47" fmla="*/ 90 h 675"/>
                <a:gd name="T48" fmla="*/ 418 w 562"/>
                <a:gd name="T49" fmla="*/ 52 h 675"/>
                <a:gd name="T50" fmla="*/ 486 w 562"/>
                <a:gd name="T51" fmla="*/ 28 h 675"/>
                <a:gd name="T52" fmla="*/ 510 w 562"/>
                <a:gd name="T53" fmla="*/ 52 h 675"/>
                <a:gd name="T54" fmla="*/ 562 w 562"/>
                <a:gd name="T55" fmla="*/ 45 h 675"/>
                <a:gd name="T56" fmla="*/ 524 w 562"/>
                <a:gd name="T57" fmla="*/ 106 h 675"/>
                <a:gd name="T58" fmla="*/ 503 w 562"/>
                <a:gd name="T59" fmla="*/ 130 h 675"/>
                <a:gd name="T60" fmla="*/ 503 w 562"/>
                <a:gd name="T61" fmla="*/ 401 h 675"/>
                <a:gd name="T62" fmla="*/ 541 w 562"/>
                <a:gd name="T63" fmla="*/ 458 h 675"/>
                <a:gd name="T64" fmla="*/ 524 w 562"/>
                <a:gd name="T65" fmla="*/ 475 h 675"/>
                <a:gd name="T66" fmla="*/ 494 w 562"/>
                <a:gd name="T67" fmla="*/ 479 h 675"/>
                <a:gd name="T68" fmla="*/ 494 w 562"/>
                <a:gd name="T69" fmla="*/ 508 h 675"/>
                <a:gd name="T70" fmla="*/ 486 w 562"/>
                <a:gd name="T71" fmla="*/ 496 h 675"/>
                <a:gd name="T72" fmla="*/ 486 w 562"/>
                <a:gd name="T73" fmla="*/ 508 h 675"/>
                <a:gd name="T74" fmla="*/ 472 w 562"/>
                <a:gd name="T75" fmla="*/ 520 h 675"/>
                <a:gd name="T76" fmla="*/ 465 w 562"/>
                <a:gd name="T77" fmla="*/ 520 h 675"/>
                <a:gd name="T78" fmla="*/ 449 w 562"/>
                <a:gd name="T79" fmla="*/ 529 h 675"/>
                <a:gd name="T80" fmla="*/ 439 w 562"/>
                <a:gd name="T81" fmla="*/ 569 h 675"/>
                <a:gd name="T82" fmla="*/ 423 w 562"/>
                <a:gd name="T83" fmla="*/ 574 h 675"/>
                <a:gd name="T84" fmla="*/ 385 w 562"/>
                <a:gd name="T85" fmla="*/ 675 h 675"/>
                <a:gd name="T86" fmla="*/ 368 w 562"/>
                <a:gd name="T87" fmla="*/ 675 h 675"/>
                <a:gd name="T88" fmla="*/ 260 w 562"/>
                <a:gd name="T89" fmla="*/ 586 h 675"/>
                <a:gd name="T90" fmla="*/ 271 w 562"/>
                <a:gd name="T91" fmla="*/ 574 h 675"/>
                <a:gd name="T92" fmla="*/ 260 w 562"/>
                <a:gd name="T93" fmla="*/ 553 h 675"/>
                <a:gd name="T94" fmla="*/ 0 w 562"/>
                <a:gd name="T95" fmla="*/ 408 h 675"/>
                <a:gd name="T96" fmla="*/ 0 w 562"/>
                <a:gd name="T97" fmla="*/ 408 h 675"/>
                <a:gd name="T98" fmla="*/ 0 w 562"/>
                <a:gd name="T99" fmla="*/ 408 h 675"/>
                <a:gd name="T100" fmla="*/ 503 w 562"/>
                <a:gd name="T101" fmla="*/ 496 h 675"/>
                <a:gd name="T102" fmla="*/ 503 w 562"/>
                <a:gd name="T103" fmla="*/ 491 h 675"/>
                <a:gd name="T104" fmla="*/ 510 w 562"/>
                <a:gd name="T105" fmla="*/ 491 h 675"/>
                <a:gd name="T106" fmla="*/ 503 w 562"/>
                <a:gd name="T107" fmla="*/ 496 h 675"/>
                <a:gd name="T108" fmla="*/ 503 w 562"/>
                <a:gd name="T109" fmla="*/ 496 h 675"/>
                <a:gd name="T110" fmla="*/ 503 w 562"/>
                <a:gd name="T111" fmla="*/ 496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2" h="675">
                  <a:moveTo>
                    <a:pt x="0" y="408"/>
                  </a:moveTo>
                  <a:lnTo>
                    <a:pt x="7" y="347"/>
                  </a:lnTo>
                  <a:lnTo>
                    <a:pt x="0" y="331"/>
                  </a:lnTo>
                  <a:lnTo>
                    <a:pt x="23" y="290"/>
                  </a:lnTo>
                  <a:lnTo>
                    <a:pt x="38" y="274"/>
                  </a:lnTo>
                  <a:lnTo>
                    <a:pt x="45" y="253"/>
                  </a:lnTo>
                  <a:lnTo>
                    <a:pt x="71" y="241"/>
                  </a:lnTo>
                  <a:lnTo>
                    <a:pt x="61" y="234"/>
                  </a:lnTo>
                  <a:lnTo>
                    <a:pt x="75" y="212"/>
                  </a:lnTo>
                  <a:lnTo>
                    <a:pt x="75" y="196"/>
                  </a:lnTo>
                  <a:lnTo>
                    <a:pt x="71" y="156"/>
                  </a:lnTo>
                  <a:lnTo>
                    <a:pt x="61" y="130"/>
                  </a:lnTo>
                  <a:lnTo>
                    <a:pt x="45" y="123"/>
                  </a:lnTo>
                  <a:lnTo>
                    <a:pt x="38" y="90"/>
                  </a:lnTo>
                  <a:lnTo>
                    <a:pt x="38" y="68"/>
                  </a:lnTo>
                  <a:lnTo>
                    <a:pt x="23" y="57"/>
                  </a:lnTo>
                  <a:lnTo>
                    <a:pt x="7" y="28"/>
                  </a:lnTo>
                  <a:lnTo>
                    <a:pt x="38" y="0"/>
                  </a:lnTo>
                  <a:lnTo>
                    <a:pt x="146" y="0"/>
                  </a:lnTo>
                  <a:lnTo>
                    <a:pt x="153" y="12"/>
                  </a:lnTo>
                  <a:lnTo>
                    <a:pt x="222" y="19"/>
                  </a:lnTo>
                  <a:lnTo>
                    <a:pt x="305" y="73"/>
                  </a:lnTo>
                  <a:lnTo>
                    <a:pt x="326" y="73"/>
                  </a:lnTo>
                  <a:lnTo>
                    <a:pt x="394" y="90"/>
                  </a:lnTo>
                  <a:lnTo>
                    <a:pt x="418" y="52"/>
                  </a:lnTo>
                  <a:lnTo>
                    <a:pt x="486" y="28"/>
                  </a:lnTo>
                  <a:lnTo>
                    <a:pt x="510" y="52"/>
                  </a:lnTo>
                  <a:lnTo>
                    <a:pt x="562" y="45"/>
                  </a:lnTo>
                  <a:lnTo>
                    <a:pt x="524" y="106"/>
                  </a:lnTo>
                  <a:lnTo>
                    <a:pt x="503" y="130"/>
                  </a:lnTo>
                  <a:lnTo>
                    <a:pt x="503" y="401"/>
                  </a:lnTo>
                  <a:lnTo>
                    <a:pt x="541" y="458"/>
                  </a:lnTo>
                  <a:lnTo>
                    <a:pt x="524" y="475"/>
                  </a:lnTo>
                  <a:lnTo>
                    <a:pt x="494" y="479"/>
                  </a:lnTo>
                  <a:lnTo>
                    <a:pt x="494" y="508"/>
                  </a:lnTo>
                  <a:lnTo>
                    <a:pt x="486" y="496"/>
                  </a:lnTo>
                  <a:lnTo>
                    <a:pt x="486" y="508"/>
                  </a:lnTo>
                  <a:lnTo>
                    <a:pt x="472" y="520"/>
                  </a:lnTo>
                  <a:lnTo>
                    <a:pt x="465" y="520"/>
                  </a:lnTo>
                  <a:lnTo>
                    <a:pt x="449" y="529"/>
                  </a:lnTo>
                  <a:lnTo>
                    <a:pt x="439" y="569"/>
                  </a:lnTo>
                  <a:lnTo>
                    <a:pt x="423" y="574"/>
                  </a:lnTo>
                  <a:lnTo>
                    <a:pt x="385" y="675"/>
                  </a:lnTo>
                  <a:lnTo>
                    <a:pt x="368" y="675"/>
                  </a:lnTo>
                  <a:lnTo>
                    <a:pt x="260" y="586"/>
                  </a:lnTo>
                  <a:lnTo>
                    <a:pt x="271" y="574"/>
                  </a:lnTo>
                  <a:lnTo>
                    <a:pt x="260" y="553"/>
                  </a:lnTo>
                  <a:lnTo>
                    <a:pt x="0" y="408"/>
                  </a:lnTo>
                  <a:lnTo>
                    <a:pt x="0" y="408"/>
                  </a:lnTo>
                  <a:lnTo>
                    <a:pt x="0" y="408"/>
                  </a:lnTo>
                  <a:close/>
                  <a:moveTo>
                    <a:pt x="503" y="496"/>
                  </a:moveTo>
                  <a:lnTo>
                    <a:pt x="503" y="491"/>
                  </a:lnTo>
                  <a:lnTo>
                    <a:pt x="510" y="491"/>
                  </a:lnTo>
                  <a:lnTo>
                    <a:pt x="503" y="496"/>
                  </a:lnTo>
                  <a:lnTo>
                    <a:pt x="503" y="496"/>
                  </a:lnTo>
                  <a:lnTo>
                    <a:pt x="503" y="49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4" name="Freeform 487">
              <a:extLst>
                <a:ext uri="{FF2B5EF4-FFF2-40B4-BE49-F238E27FC236}">
                  <a16:creationId xmlns:a16="http://schemas.microsoft.com/office/drawing/2014/main" id="{9EC0B2B8-707C-4126-A9E2-1A4A2D8A5A08}"/>
                </a:ext>
              </a:extLst>
            </p:cNvPr>
            <p:cNvSpPr>
              <a:spLocks noEditPoints="1"/>
            </p:cNvSpPr>
            <p:nvPr/>
          </p:nvSpPr>
          <p:spPr bwMode="gray">
            <a:xfrm>
              <a:off x="8069103" y="3145700"/>
              <a:ext cx="53518" cy="50641"/>
            </a:xfrm>
            <a:custGeom>
              <a:avLst/>
              <a:gdLst>
                <a:gd name="T0" fmla="*/ 0 w 130"/>
                <a:gd name="T1" fmla="*/ 73 h 123"/>
                <a:gd name="T2" fmla="*/ 33 w 130"/>
                <a:gd name="T3" fmla="*/ 45 h 123"/>
                <a:gd name="T4" fmla="*/ 50 w 130"/>
                <a:gd name="T5" fmla="*/ 0 h 123"/>
                <a:gd name="T6" fmla="*/ 87 w 130"/>
                <a:gd name="T7" fmla="*/ 0 h 123"/>
                <a:gd name="T8" fmla="*/ 104 w 130"/>
                <a:gd name="T9" fmla="*/ 0 h 123"/>
                <a:gd name="T10" fmla="*/ 118 w 130"/>
                <a:gd name="T11" fmla="*/ 45 h 123"/>
                <a:gd name="T12" fmla="*/ 104 w 130"/>
                <a:gd name="T13" fmla="*/ 33 h 123"/>
                <a:gd name="T14" fmla="*/ 87 w 130"/>
                <a:gd name="T15" fmla="*/ 56 h 123"/>
                <a:gd name="T16" fmla="*/ 109 w 130"/>
                <a:gd name="T17" fmla="*/ 56 h 123"/>
                <a:gd name="T18" fmla="*/ 130 w 130"/>
                <a:gd name="T19" fmla="*/ 123 h 123"/>
                <a:gd name="T20" fmla="*/ 87 w 130"/>
                <a:gd name="T21" fmla="*/ 123 h 123"/>
                <a:gd name="T22" fmla="*/ 66 w 130"/>
                <a:gd name="T23" fmla="*/ 85 h 123"/>
                <a:gd name="T24" fmla="*/ 0 w 130"/>
                <a:gd name="T25" fmla="*/ 73 h 123"/>
                <a:gd name="T26" fmla="*/ 0 w 130"/>
                <a:gd name="T27" fmla="*/ 73 h 123"/>
                <a:gd name="T28" fmla="*/ 0 w 130"/>
                <a:gd name="T29" fmla="*/ 73 h 123"/>
                <a:gd name="T30" fmla="*/ 0 w 130"/>
                <a:gd name="T31" fmla="*/ 73 h 123"/>
                <a:gd name="T32" fmla="*/ 118 w 130"/>
                <a:gd name="T33" fmla="*/ 9 h 123"/>
                <a:gd name="T34" fmla="*/ 130 w 130"/>
                <a:gd name="T35" fmla="*/ 28 h 123"/>
                <a:gd name="T36" fmla="*/ 118 w 130"/>
                <a:gd name="T37" fmla="*/ 45 h 123"/>
                <a:gd name="T38" fmla="*/ 109 w 130"/>
                <a:gd name="T39" fmla="*/ 28 h 123"/>
                <a:gd name="T40" fmla="*/ 109 w 130"/>
                <a:gd name="T41" fmla="*/ 9 h 123"/>
                <a:gd name="T42" fmla="*/ 118 w 130"/>
                <a:gd name="T43" fmla="*/ 9 h 123"/>
                <a:gd name="T44" fmla="*/ 118 w 130"/>
                <a:gd name="T45" fmla="*/ 9 h 123"/>
                <a:gd name="T46" fmla="*/ 118 w 130"/>
                <a:gd name="T47" fmla="*/ 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123">
                  <a:moveTo>
                    <a:pt x="0" y="73"/>
                  </a:moveTo>
                  <a:lnTo>
                    <a:pt x="33" y="45"/>
                  </a:lnTo>
                  <a:lnTo>
                    <a:pt x="50" y="0"/>
                  </a:lnTo>
                  <a:lnTo>
                    <a:pt x="87" y="0"/>
                  </a:lnTo>
                  <a:lnTo>
                    <a:pt x="104" y="0"/>
                  </a:lnTo>
                  <a:lnTo>
                    <a:pt x="118" y="45"/>
                  </a:lnTo>
                  <a:lnTo>
                    <a:pt x="104" y="33"/>
                  </a:lnTo>
                  <a:lnTo>
                    <a:pt x="87" y="56"/>
                  </a:lnTo>
                  <a:lnTo>
                    <a:pt x="109" y="56"/>
                  </a:lnTo>
                  <a:lnTo>
                    <a:pt x="130" y="123"/>
                  </a:lnTo>
                  <a:lnTo>
                    <a:pt x="87" y="123"/>
                  </a:lnTo>
                  <a:lnTo>
                    <a:pt x="66" y="85"/>
                  </a:lnTo>
                  <a:lnTo>
                    <a:pt x="0" y="73"/>
                  </a:lnTo>
                  <a:lnTo>
                    <a:pt x="0" y="73"/>
                  </a:lnTo>
                  <a:lnTo>
                    <a:pt x="0" y="73"/>
                  </a:lnTo>
                  <a:lnTo>
                    <a:pt x="0" y="73"/>
                  </a:lnTo>
                  <a:close/>
                  <a:moveTo>
                    <a:pt x="118" y="9"/>
                  </a:moveTo>
                  <a:lnTo>
                    <a:pt x="130" y="28"/>
                  </a:lnTo>
                  <a:lnTo>
                    <a:pt x="118" y="45"/>
                  </a:lnTo>
                  <a:lnTo>
                    <a:pt x="109" y="28"/>
                  </a:lnTo>
                  <a:lnTo>
                    <a:pt x="109" y="9"/>
                  </a:lnTo>
                  <a:lnTo>
                    <a:pt x="118" y="9"/>
                  </a:lnTo>
                  <a:lnTo>
                    <a:pt x="118" y="9"/>
                  </a:lnTo>
                  <a:lnTo>
                    <a:pt x="118" y="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7" name="Freeform 490">
              <a:extLst>
                <a:ext uri="{FF2B5EF4-FFF2-40B4-BE49-F238E27FC236}">
                  <a16:creationId xmlns:a16="http://schemas.microsoft.com/office/drawing/2014/main" id="{164E0F98-3B38-4C6E-9B82-C50752EE0430}"/>
                </a:ext>
              </a:extLst>
            </p:cNvPr>
            <p:cNvSpPr>
              <a:spLocks/>
            </p:cNvSpPr>
            <p:nvPr/>
          </p:nvSpPr>
          <p:spPr bwMode="gray">
            <a:xfrm>
              <a:off x="7739356" y="2996659"/>
              <a:ext cx="45695" cy="53524"/>
            </a:xfrm>
            <a:custGeom>
              <a:avLst/>
              <a:gdLst>
                <a:gd name="T0" fmla="*/ 38 w 111"/>
                <a:gd name="T1" fmla="*/ 111 h 130"/>
                <a:gd name="T2" fmla="*/ 21 w 111"/>
                <a:gd name="T3" fmla="*/ 130 h 130"/>
                <a:gd name="T4" fmla="*/ 0 w 111"/>
                <a:gd name="T5" fmla="*/ 118 h 130"/>
                <a:gd name="T6" fmla="*/ 21 w 111"/>
                <a:gd name="T7" fmla="*/ 57 h 130"/>
                <a:gd name="T8" fmla="*/ 38 w 111"/>
                <a:gd name="T9" fmla="*/ 45 h 130"/>
                <a:gd name="T10" fmla="*/ 38 w 111"/>
                <a:gd name="T11" fmla="*/ 24 h 130"/>
                <a:gd name="T12" fmla="*/ 62 w 111"/>
                <a:gd name="T13" fmla="*/ 5 h 130"/>
                <a:gd name="T14" fmla="*/ 62 w 111"/>
                <a:gd name="T15" fmla="*/ 0 h 130"/>
                <a:gd name="T16" fmla="*/ 95 w 111"/>
                <a:gd name="T17" fmla="*/ 0 h 130"/>
                <a:gd name="T18" fmla="*/ 83 w 111"/>
                <a:gd name="T19" fmla="*/ 5 h 130"/>
                <a:gd name="T20" fmla="*/ 99 w 111"/>
                <a:gd name="T21" fmla="*/ 17 h 130"/>
                <a:gd name="T22" fmla="*/ 111 w 111"/>
                <a:gd name="T23" fmla="*/ 29 h 130"/>
                <a:gd name="T24" fmla="*/ 83 w 111"/>
                <a:gd name="T25" fmla="*/ 57 h 130"/>
                <a:gd name="T26" fmla="*/ 95 w 111"/>
                <a:gd name="T27" fmla="*/ 62 h 130"/>
                <a:gd name="T28" fmla="*/ 66 w 111"/>
                <a:gd name="T29" fmla="*/ 62 h 130"/>
                <a:gd name="T30" fmla="*/ 62 w 111"/>
                <a:gd name="T31" fmla="*/ 78 h 130"/>
                <a:gd name="T32" fmla="*/ 66 w 111"/>
                <a:gd name="T33" fmla="*/ 78 h 130"/>
                <a:gd name="T34" fmla="*/ 38 w 111"/>
                <a:gd name="T35" fmla="*/ 111 h 130"/>
                <a:gd name="T36" fmla="*/ 38 w 111"/>
                <a:gd name="T37" fmla="*/ 111 h 130"/>
                <a:gd name="T38" fmla="*/ 38 w 111"/>
                <a:gd name="T39" fmla="*/ 111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30">
                  <a:moveTo>
                    <a:pt x="38" y="111"/>
                  </a:moveTo>
                  <a:lnTo>
                    <a:pt x="21" y="130"/>
                  </a:lnTo>
                  <a:lnTo>
                    <a:pt x="0" y="118"/>
                  </a:lnTo>
                  <a:lnTo>
                    <a:pt x="21" y="57"/>
                  </a:lnTo>
                  <a:lnTo>
                    <a:pt x="38" y="45"/>
                  </a:lnTo>
                  <a:lnTo>
                    <a:pt x="38" y="24"/>
                  </a:lnTo>
                  <a:lnTo>
                    <a:pt x="62" y="5"/>
                  </a:lnTo>
                  <a:lnTo>
                    <a:pt x="62" y="0"/>
                  </a:lnTo>
                  <a:lnTo>
                    <a:pt x="95" y="0"/>
                  </a:lnTo>
                  <a:lnTo>
                    <a:pt x="83" y="5"/>
                  </a:lnTo>
                  <a:lnTo>
                    <a:pt x="99" y="17"/>
                  </a:lnTo>
                  <a:lnTo>
                    <a:pt x="111" y="29"/>
                  </a:lnTo>
                  <a:lnTo>
                    <a:pt x="83" y="57"/>
                  </a:lnTo>
                  <a:lnTo>
                    <a:pt x="95" y="62"/>
                  </a:lnTo>
                  <a:lnTo>
                    <a:pt x="66" y="62"/>
                  </a:lnTo>
                  <a:lnTo>
                    <a:pt x="62" y="78"/>
                  </a:lnTo>
                  <a:lnTo>
                    <a:pt x="66" y="78"/>
                  </a:lnTo>
                  <a:lnTo>
                    <a:pt x="38" y="111"/>
                  </a:lnTo>
                  <a:lnTo>
                    <a:pt x="38" y="111"/>
                  </a:lnTo>
                  <a:lnTo>
                    <a:pt x="38" y="11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39" name="Freeform 493">
              <a:extLst>
                <a:ext uri="{FF2B5EF4-FFF2-40B4-BE49-F238E27FC236}">
                  <a16:creationId xmlns:a16="http://schemas.microsoft.com/office/drawing/2014/main" id="{85936226-D149-4B03-B1EA-3E5B7226FC9B}"/>
                </a:ext>
              </a:extLst>
            </p:cNvPr>
            <p:cNvSpPr>
              <a:spLocks/>
            </p:cNvSpPr>
            <p:nvPr/>
          </p:nvSpPr>
          <p:spPr bwMode="gray">
            <a:xfrm>
              <a:off x="6394430" y="3811857"/>
              <a:ext cx="118973" cy="123515"/>
            </a:xfrm>
            <a:custGeom>
              <a:avLst/>
              <a:gdLst>
                <a:gd name="T0" fmla="*/ 0 w 289"/>
                <a:gd name="T1" fmla="*/ 115 h 300"/>
                <a:gd name="T2" fmla="*/ 12 w 289"/>
                <a:gd name="T3" fmla="*/ 94 h 300"/>
                <a:gd name="T4" fmla="*/ 38 w 289"/>
                <a:gd name="T5" fmla="*/ 71 h 300"/>
                <a:gd name="T6" fmla="*/ 66 w 289"/>
                <a:gd name="T7" fmla="*/ 54 h 300"/>
                <a:gd name="T8" fmla="*/ 66 w 289"/>
                <a:gd name="T9" fmla="*/ 33 h 300"/>
                <a:gd name="T10" fmla="*/ 76 w 289"/>
                <a:gd name="T11" fmla="*/ 21 h 300"/>
                <a:gd name="T12" fmla="*/ 88 w 289"/>
                <a:gd name="T13" fmla="*/ 0 h 300"/>
                <a:gd name="T14" fmla="*/ 121 w 289"/>
                <a:gd name="T15" fmla="*/ 0 h 300"/>
                <a:gd name="T16" fmla="*/ 142 w 289"/>
                <a:gd name="T17" fmla="*/ 16 h 300"/>
                <a:gd name="T18" fmla="*/ 147 w 289"/>
                <a:gd name="T19" fmla="*/ 54 h 300"/>
                <a:gd name="T20" fmla="*/ 142 w 289"/>
                <a:gd name="T21" fmla="*/ 87 h 300"/>
                <a:gd name="T22" fmla="*/ 147 w 289"/>
                <a:gd name="T23" fmla="*/ 75 h 300"/>
                <a:gd name="T24" fmla="*/ 163 w 289"/>
                <a:gd name="T25" fmla="*/ 94 h 300"/>
                <a:gd name="T26" fmla="*/ 185 w 289"/>
                <a:gd name="T27" fmla="*/ 87 h 300"/>
                <a:gd name="T28" fmla="*/ 196 w 289"/>
                <a:gd name="T29" fmla="*/ 59 h 300"/>
                <a:gd name="T30" fmla="*/ 201 w 289"/>
                <a:gd name="T31" fmla="*/ 59 h 300"/>
                <a:gd name="T32" fmla="*/ 213 w 289"/>
                <a:gd name="T33" fmla="*/ 71 h 300"/>
                <a:gd name="T34" fmla="*/ 229 w 289"/>
                <a:gd name="T35" fmla="*/ 94 h 300"/>
                <a:gd name="T36" fmla="*/ 218 w 289"/>
                <a:gd name="T37" fmla="*/ 115 h 300"/>
                <a:gd name="T38" fmla="*/ 201 w 289"/>
                <a:gd name="T39" fmla="*/ 144 h 300"/>
                <a:gd name="T40" fmla="*/ 234 w 289"/>
                <a:gd name="T41" fmla="*/ 165 h 300"/>
                <a:gd name="T42" fmla="*/ 251 w 289"/>
                <a:gd name="T43" fmla="*/ 165 h 300"/>
                <a:gd name="T44" fmla="*/ 255 w 289"/>
                <a:gd name="T45" fmla="*/ 189 h 300"/>
                <a:gd name="T46" fmla="*/ 289 w 289"/>
                <a:gd name="T47" fmla="*/ 189 h 300"/>
                <a:gd name="T48" fmla="*/ 289 w 289"/>
                <a:gd name="T49" fmla="*/ 215 h 300"/>
                <a:gd name="T50" fmla="*/ 284 w 289"/>
                <a:gd name="T51" fmla="*/ 222 h 300"/>
                <a:gd name="T52" fmla="*/ 289 w 289"/>
                <a:gd name="T53" fmla="*/ 227 h 300"/>
                <a:gd name="T54" fmla="*/ 272 w 289"/>
                <a:gd name="T55" fmla="*/ 260 h 300"/>
                <a:gd name="T56" fmla="*/ 284 w 289"/>
                <a:gd name="T57" fmla="*/ 300 h 300"/>
                <a:gd name="T58" fmla="*/ 229 w 289"/>
                <a:gd name="T59" fmla="*/ 283 h 300"/>
                <a:gd name="T60" fmla="*/ 163 w 289"/>
                <a:gd name="T61" fmla="*/ 255 h 300"/>
                <a:gd name="T62" fmla="*/ 76 w 289"/>
                <a:gd name="T63" fmla="*/ 165 h 300"/>
                <a:gd name="T64" fmla="*/ 50 w 289"/>
                <a:gd name="T65" fmla="*/ 165 h 300"/>
                <a:gd name="T66" fmla="*/ 38 w 289"/>
                <a:gd name="T67" fmla="*/ 149 h 300"/>
                <a:gd name="T68" fmla="*/ 12 w 289"/>
                <a:gd name="T69" fmla="*/ 132 h 300"/>
                <a:gd name="T70" fmla="*/ 0 w 289"/>
                <a:gd name="T71" fmla="*/ 115 h 300"/>
                <a:gd name="T72" fmla="*/ 0 w 289"/>
                <a:gd name="T73" fmla="*/ 115 h 300"/>
                <a:gd name="T74" fmla="*/ 0 w 289"/>
                <a:gd name="T75" fmla="*/ 11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9" h="300">
                  <a:moveTo>
                    <a:pt x="0" y="115"/>
                  </a:moveTo>
                  <a:lnTo>
                    <a:pt x="12" y="94"/>
                  </a:lnTo>
                  <a:lnTo>
                    <a:pt x="38" y="71"/>
                  </a:lnTo>
                  <a:lnTo>
                    <a:pt x="66" y="54"/>
                  </a:lnTo>
                  <a:lnTo>
                    <a:pt x="66" y="33"/>
                  </a:lnTo>
                  <a:lnTo>
                    <a:pt x="76" y="21"/>
                  </a:lnTo>
                  <a:lnTo>
                    <a:pt x="88" y="0"/>
                  </a:lnTo>
                  <a:lnTo>
                    <a:pt x="121" y="0"/>
                  </a:lnTo>
                  <a:lnTo>
                    <a:pt x="142" y="16"/>
                  </a:lnTo>
                  <a:lnTo>
                    <a:pt x="147" y="54"/>
                  </a:lnTo>
                  <a:lnTo>
                    <a:pt x="142" y="87"/>
                  </a:lnTo>
                  <a:lnTo>
                    <a:pt x="147" y="75"/>
                  </a:lnTo>
                  <a:lnTo>
                    <a:pt x="163" y="94"/>
                  </a:lnTo>
                  <a:lnTo>
                    <a:pt x="185" y="87"/>
                  </a:lnTo>
                  <a:lnTo>
                    <a:pt x="196" y="59"/>
                  </a:lnTo>
                  <a:lnTo>
                    <a:pt x="201" y="59"/>
                  </a:lnTo>
                  <a:lnTo>
                    <a:pt x="213" y="71"/>
                  </a:lnTo>
                  <a:lnTo>
                    <a:pt x="229" y="94"/>
                  </a:lnTo>
                  <a:lnTo>
                    <a:pt x="218" y="115"/>
                  </a:lnTo>
                  <a:lnTo>
                    <a:pt x="201" y="144"/>
                  </a:lnTo>
                  <a:lnTo>
                    <a:pt x="234" y="165"/>
                  </a:lnTo>
                  <a:lnTo>
                    <a:pt x="251" y="165"/>
                  </a:lnTo>
                  <a:lnTo>
                    <a:pt x="255" y="189"/>
                  </a:lnTo>
                  <a:lnTo>
                    <a:pt x="289" y="189"/>
                  </a:lnTo>
                  <a:lnTo>
                    <a:pt x="289" y="215"/>
                  </a:lnTo>
                  <a:lnTo>
                    <a:pt x="284" y="222"/>
                  </a:lnTo>
                  <a:lnTo>
                    <a:pt x="289" y="227"/>
                  </a:lnTo>
                  <a:lnTo>
                    <a:pt x="272" y="260"/>
                  </a:lnTo>
                  <a:lnTo>
                    <a:pt x="284" y="300"/>
                  </a:lnTo>
                  <a:lnTo>
                    <a:pt x="229" y="283"/>
                  </a:lnTo>
                  <a:lnTo>
                    <a:pt x="163" y="255"/>
                  </a:lnTo>
                  <a:lnTo>
                    <a:pt x="76" y="165"/>
                  </a:lnTo>
                  <a:lnTo>
                    <a:pt x="50" y="165"/>
                  </a:lnTo>
                  <a:lnTo>
                    <a:pt x="38" y="149"/>
                  </a:lnTo>
                  <a:lnTo>
                    <a:pt x="12" y="132"/>
                  </a:lnTo>
                  <a:lnTo>
                    <a:pt x="0" y="115"/>
                  </a:lnTo>
                  <a:lnTo>
                    <a:pt x="0" y="115"/>
                  </a:lnTo>
                  <a:lnTo>
                    <a:pt x="0" y="11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2" name="Freeform 496">
              <a:extLst>
                <a:ext uri="{FF2B5EF4-FFF2-40B4-BE49-F238E27FC236}">
                  <a16:creationId xmlns:a16="http://schemas.microsoft.com/office/drawing/2014/main" id="{A8B8E14E-B713-4783-848F-F1C58A23A65B}"/>
                </a:ext>
              </a:extLst>
            </p:cNvPr>
            <p:cNvSpPr>
              <a:spLocks/>
            </p:cNvSpPr>
            <p:nvPr/>
          </p:nvSpPr>
          <p:spPr bwMode="gray">
            <a:xfrm>
              <a:off x="7505939" y="4937077"/>
              <a:ext cx="72043" cy="67109"/>
            </a:xfrm>
            <a:custGeom>
              <a:avLst/>
              <a:gdLst>
                <a:gd name="T0" fmla="*/ 128 w 175"/>
                <a:gd name="T1" fmla="*/ 12 h 163"/>
                <a:gd name="T2" fmla="*/ 166 w 175"/>
                <a:gd name="T3" fmla="*/ 38 h 163"/>
                <a:gd name="T4" fmla="*/ 175 w 175"/>
                <a:gd name="T5" fmla="*/ 56 h 163"/>
                <a:gd name="T6" fmla="*/ 159 w 175"/>
                <a:gd name="T7" fmla="*/ 73 h 163"/>
                <a:gd name="T8" fmla="*/ 159 w 175"/>
                <a:gd name="T9" fmla="*/ 78 h 163"/>
                <a:gd name="T10" fmla="*/ 149 w 175"/>
                <a:gd name="T11" fmla="*/ 78 h 163"/>
                <a:gd name="T12" fmla="*/ 149 w 175"/>
                <a:gd name="T13" fmla="*/ 106 h 163"/>
                <a:gd name="T14" fmla="*/ 128 w 175"/>
                <a:gd name="T15" fmla="*/ 123 h 163"/>
                <a:gd name="T16" fmla="*/ 95 w 175"/>
                <a:gd name="T17" fmla="*/ 123 h 163"/>
                <a:gd name="T18" fmla="*/ 71 w 175"/>
                <a:gd name="T19" fmla="*/ 163 h 163"/>
                <a:gd name="T20" fmla="*/ 50 w 175"/>
                <a:gd name="T21" fmla="*/ 163 h 163"/>
                <a:gd name="T22" fmla="*/ 29 w 175"/>
                <a:gd name="T23" fmla="*/ 134 h 163"/>
                <a:gd name="T24" fmla="*/ 17 w 175"/>
                <a:gd name="T25" fmla="*/ 111 h 163"/>
                <a:gd name="T26" fmla="*/ 0 w 175"/>
                <a:gd name="T27" fmla="*/ 78 h 163"/>
                <a:gd name="T28" fmla="*/ 17 w 175"/>
                <a:gd name="T29" fmla="*/ 73 h 163"/>
                <a:gd name="T30" fmla="*/ 38 w 175"/>
                <a:gd name="T31" fmla="*/ 33 h 163"/>
                <a:gd name="T32" fmla="*/ 83 w 175"/>
                <a:gd name="T33" fmla="*/ 12 h 163"/>
                <a:gd name="T34" fmla="*/ 111 w 175"/>
                <a:gd name="T35" fmla="*/ 0 h 163"/>
                <a:gd name="T36" fmla="*/ 128 w 175"/>
                <a:gd name="T37" fmla="*/ 12 h 163"/>
                <a:gd name="T38" fmla="*/ 128 w 175"/>
                <a:gd name="T39" fmla="*/ 12 h 163"/>
                <a:gd name="T40" fmla="*/ 128 w 175"/>
                <a:gd name="T41" fmla="*/ 1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63">
                  <a:moveTo>
                    <a:pt x="128" y="12"/>
                  </a:moveTo>
                  <a:lnTo>
                    <a:pt x="166" y="38"/>
                  </a:lnTo>
                  <a:lnTo>
                    <a:pt x="175" y="56"/>
                  </a:lnTo>
                  <a:lnTo>
                    <a:pt x="159" y="73"/>
                  </a:lnTo>
                  <a:lnTo>
                    <a:pt x="159" y="78"/>
                  </a:lnTo>
                  <a:lnTo>
                    <a:pt x="149" y="78"/>
                  </a:lnTo>
                  <a:lnTo>
                    <a:pt x="149" y="106"/>
                  </a:lnTo>
                  <a:lnTo>
                    <a:pt x="128" y="123"/>
                  </a:lnTo>
                  <a:lnTo>
                    <a:pt x="95" y="123"/>
                  </a:lnTo>
                  <a:lnTo>
                    <a:pt x="71" y="163"/>
                  </a:lnTo>
                  <a:lnTo>
                    <a:pt x="50" y="163"/>
                  </a:lnTo>
                  <a:lnTo>
                    <a:pt x="29" y="134"/>
                  </a:lnTo>
                  <a:lnTo>
                    <a:pt x="17" y="111"/>
                  </a:lnTo>
                  <a:lnTo>
                    <a:pt x="0" y="78"/>
                  </a:lnTo>
                  <a:lnTo>
                    <a:pt x="17" y="73"/>
                  </a:lnTo>
                  <a:lnTo>
                    <a:pt x="38" y="33"/>
                  </a:lnTo>
                  <a:lnTo>
                    <a:pt x="83" y="12"/>
                  </a:lnTo>
                  <a:lnTo>
                    <a:pt x="111" y="0"/>
                  </a:lnTo>
                  <a:lnTo>
                    <a:pt x="128" y="12"/>
                  </a:lnTo>
                  <a:lnTo>
                    <a:pt x="128" y="12"/>
                  </a:lnTo>
                  <a:lnTo>
                    <a:pt x="128" y="1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4" name="Freeform 498">
              <a:extLst>
                <a:ext uri="{FF2B5EF4-FFF2-40B4-BE49-F238E27FC236}">
                  <a16:creationId xmlns:a16="http://schemas.microsoft.com/office/drawing/2014/main" id="{CBC7C7C3-BDDA-4B79-94E9-CFB288D694DA}"/>
                </a:ext>
              </a:extLst>
            </p:cNvPr>
            <p:cNvSpPr>
              <a:spLocks/>
            </p:cNvSpPr>
            <p:nvPr/>
          </p:nvSpPr>
          <p:spPr bwMode="gray">
            <a:xfrm>
              <a:off x="6995468" y="3044418"/>
              <a:ext cx="456953" cy="434772"/>
            </a:xfrm>
            <a:custGeom>
              <a:avLst/>
              <a:gdLst>
                <a:gd name="T0" fmla="*/ 1096 w 1110"/>
                <a:gd name="T1" fmla="*/ 867 h 1056"/>
                <a:gd name="T2" fmla="*/ 1025 w 1110"/>
                <a:gd name="T3" fmla="*/ 1018 h 1056"/>
                <a:gd name="T4" fmla="*/ 740 w 1110"/>
                <a:gd name="T5" fmla="*/ 900 h 1056"/>
                <a:gd name="T6" fmla="*/ 395 w 1110"/>
                <a:gd name="T7" fmla="*/ 794 h 1056"/>
                <a:gd name="T8" fmla="*/ 291 w 1110"/>
                <a:gd name="T9" fmla="*/ 777 h 1056"/>
                <a:gd name="T10" fmla="*/ 156 w 1110"/>
                <a:gd name="T11" fmla="*/ 690 h 1056"/>
                <a:gd name="T12" fmla="*/ 76 w 1110"/>
                <a:gd name="T13" fmla="*/ 683 h 1056"/>
                <a:gd name="T14" fmla="*/ 64 w 1110"/>
                <a:gd name="T15" fmla="*/ 661 h 1056"/>
                <a:gd name="T16" fmla="*/ 50 w 1110"/>
                <a:gd name="T17" fmla="*/ 612 h 1056"/>
                <a:gd name="T18" fmla="*/ 12 w 1110"/>
                <a:gd name="T19" fmla="*/ 534 h 1056"/>
                <a:gd name="T20" fmla="*/ 38 w 1110"/>
                <a:gd name="T21" fmla="*/ 501 h 1056"/>
                <a:gd name="T22" fmla="*/ 21 w 1110"/>
                <a:gd name="T23" fmla="*/ 461 h 1056"/>
                <a:gd name="T24" fmla="*/ 33 w 1110"/>
                <a:gd name="T25" fmla="*/ 390 h 1056"/>
                <a:gd name="T26" fmla="*/ 21 w 1110"/>
                <a:gd name="T27" fmla="*/ 279 h 1056"/>
                <a:gd name="T28" fmla="*/ 17 w 1110"/>
                <a:gd name="T29" fmla="*/ 234 h 1056"/>
                <a:gd name="T30" fmla="*/ 64 w 1110"/>
                <a:gd name="T31" fmla="*/ 189 h 1056"/>
                <a:gd name="T32" fmla="*/ 54 w 1110"/>
                <a:gd name="T33" fmla="*/ 135 h 1056"/>
                <a:gd name="T34" fmla="*/ 76 w 1110"/>
                <a:gd name="T35" fmla="*/ 111 h 1056"/>
                <a:gd name="T36" fmla="*/ 156 w 1110"/>
                <a:gd name="T37" fmla="*/ 57 h 1056"/>
                <a:gd name="T38" fmla="*/ 156 w 1110"/>
                <a:gd name="T39" fmla="*/ 0 h 1056"/>
                <a:gd name="T40" fmla="*/ 248 w 1110"/>
                <a:gd name="T41" fmla="*/ 24 h 1056"/>
                <a:gd name="T42" fmla="*/ 340 w 1110"/>
                <a:gd name="T43" fmla="*/ 33 h 1056"/>
                <a:gd name="T44" fmla="*/ 411 w 1110"/>
                <a:gd name="T45" fmla="*/ 57 h 1056"/>
                <a:gd name="T46" fmla="*/ 432 w 1110"/>
                <a:gd name="T47" fmla="*/ 123 h 1056"/>
                <a:gd name="T48" fmla="*/ 480 w 1110"/>
                <a:gd name="T49" fmla="*/ 151 h 1056"/>
                <a:gd name="T50" fmla="*/ 560 w 1110"/>
                <a:gd name="T51" fmla="*/ 168 h 1056"/>
                <a:gd name="T52" fmla="*/ 680 w 1110"/>
                <a:gd name="T53" fmla="*/ 234 h 1056"/>
                <a:gd name="T54" fmla="*/ 718 w 1110"/>
                <a:gd name="T55" fmla="*/ 217 h 1056"/>
                <a:gd name="T56" fmla="*/ 756 w 1110"/>
                <a:gd name="T57" fmla="*/ 161 h 1056"/>
                <a:gd name="T58" fmla="*/ 756 w 1110"/>
                <a:gd name="T59" fmla="*/ 78 h 1056"/>
                <a:gd name="T60" fmla="*/ 820 w 1110"/>
                <a:gd name="T61" fmla="*/ 33 h 1056"/>
                <a:gd name="T62" fmla="*/ 862 w 1110"/>
                <a:gd name="T63" fmla="*/ 17 h 1056"/>
                <a:gd name="T64" fmla="*/ 966 w 1110"/>
                <a:gd name="T65" fmla="*/ 40 h 1056"/>
                <a:gd name="T66" fmla="*/ 971 w 1110"/>
                <a:gd name="T67" fmla="*/ 73 h 1056"/>
                <a:gd name="T68" fmla="*/ 1035 w 1110"/>
                <a:gd name="T69" fmla="*/ 95 h 1056"/>
                <a:gd name="T70" fmla="*/ 1110 w 1110"/>
                <a:gd name="T71" fmla="*/ 123 h 1056"/>
                <a:gd name="T72" fmla="*/ 1096 w 1110"/>
                <a:gd name="T73" fmla="*/ 189 h 1056"/>
                <a:gd name="T74" fmla="*/ 1096 w 1110"/>
                <a:gd name="T75" fmla="*/ 312 h 1056"/>
                <a:gd name="T76" fmla="*/ 1096 w 1110"/>
                <a:gd name="T77" fmla="*/ 43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10" h="1056">
                  <a:moveTo>
                    <a:pt x="1096" y="439"/>
                  </a:moveTo>
                  <a:lnTo>
                    <a:pt x="1096" y="867"/>
                  </a:lnTo>
                  <a:lnTo>
                    <a:pt x="1096" y="1018"/>
                  </a:lnTo>
                  <a:lnTo>
                    <a:pt x="1025" y="1018"/>
                  </a:lnTo>
                  <a:lnTo>
                    <a:pt x="1025" y="1056"/>
                  </a:lnTo>
                  <a:lnTo>
                    <a:pt x="740" y="900"/>
                  </a:lnTo>
                  <a:lnTo>
                    <a:pt x="463" y="761"/>
                  </a:lnTo>
                  <a:lnTo>
                    <a:pt x="395" y="794"/>
                  </a:lnTo>
                  <a:lnTo>
                    <a:pt x="340" y="829"/>
                  </a:lnTo>
                  <a:lnTo>
                    <a:pt x="291" y="777"/>
                  </a:lnTo>
                  <a:lnTo>
                    <a:pt x="184" y="756"/>
                  </a:lnTo>
                  <a:lnTo>
                    <a:pt x="156" y="690"/>
                  </a:lnTo>
                  <a:lnTo>
                    <a:pt x="92" y="678"/>
                  </a:lnTo>
                  <a:lnTo>
                    <a:pt x="76" y="683"/>
                  </a:lnTo>
                  <a:lnTo>
                    <a:pt x="64" y="666"/>
                  </a:lnTo>
                  <a:lnTo>
                    <a:pt x="64" y="661"/>
                  </a:lnTo>
                  <a:lnTo>
                    <a:pt x="50" y="650"/>
                  </a:lnTo>
                  <a:lnTo>
                    <a:pt x="50" y="612"/>
                  </a:lnTo>
                  <a:lnTo>
                    <a:pt x="0" y="550"/>
                  </a:lnTo>
                  <a:lnTo>
                    <a:pt x="12" y="534"/>
                  </a:lnTo>
                  <a:lnTo>
                    <a:pt x="38" y="522"/>
                  </a:lnTo>
                  <a:lnTo>
                    <a:pt x="38" y="501"/>
                  </a:lnTo>
                  <a:lnTo>
                    <a:pt x="38" y="494"/>
                  </a:lnTo>
                  <a:lnTo>
                    <a:pt x="21" y="461"/>
                  </a:lnTo>
                  <a:lnTo>
                    <a:pt x="50" y="423"/>
                  </a:lnTo>
                  <a:lnTo>
                    <a:pt x="33" y="390"/>
                  </a:lnTo>
                  <a:lnTo>
                    <a:pt x="33" y="317"/>
                  </a:lnTo>
                  <a:lnTo>
                    <a:pt x="21" y="279"/>
                  </a:lnTo>
                  <a:lnTo>
                    <a:pt x="0" y="239"/>
                  </a:lnTo>
                  <a:lnTo>
                    <a:pt x="17" y="234"/>
                  </a:lnTo>
                  <a:lnTo>
                    <a:pt x="38" y="222"/>
                  </a:lnTo>
                  <a:lnTo>
                    <a:pt x="64" y="189"/>
                  </a:lnTo>
                  <a:lnTo>
                    <a:pt x="71" y="177"/>
                  </a:lnTo>
                  <a:lnTo>
                    <a:pt x="54" y="135"/>
                  </a:lnTo>
                  <a:lnTo>
                    <a:pt x="71" y="123"/>
                  </a:lnTo>
                  <a:lnTo>
                    <a:pt x="76" y="111"/>
                  </a:lnTo>
                  <a:lnTo>
                    <a:pt x="109" y="78"/>
                  </a:lnTo>
                  <a:lnTo>
                    <a:pt x="156" y="57"/>
                  </a:lnTo>
                  <a:lnTo>
                    <a:pt x="147" y="40"/>
                  </a:lnTo>
                  <a:lnTo>
                    <a:pt x="156" y="0"/>
                  </a:lnTo>
                  <a:lnTo>
                    <a:pt x="210" y="24"/>
                  </a:lnTo>
                  <a:lnTo>
                    <a:pt x="248" y="24"/>
                  </a:lnTo>
                  <a:lnTo>
                    <a:pt x="281" y="17"/>
                  </a:lnTo>
                  <a:lnTo>
                    <a:pt x="340" y="33"/>
                  </a:lnTo>
                  <a:lnTo>
                    <a:pt x="362" y="50"/>
                  </a:lnTo>
                  <a:lnTo>
                    <a:pt x="411" y="57"/>
                  </a:lnTo>
                  <a:lnTo>
                    <a:pt x="425" y="78"/>
                  </a:lnTo>
                  <a:lnTo>
                    <a:pt x="432" y="123"/>
                  </a:lnTo>
                  <a:lnTo>
                    <a:pt x="449" y="144"/>
                  </a:lnTo>
                  <a:lnTo>
                    <a:pt x="480" y="151"/>
                  </a:lnTo>
                  <a:lnTo>
                    <a:pt x="517" y="151"/>
                  </a:lnTo>
                  <a:lnTo>
                    <a:pt x="560" y="168"/>
                  </a:lnTo>
                  <a:lnTo>
                    <a:pt x="614" y="189"/>
                  </a:lnTo>
                  <a:lnTo>
                    <a:pt x="680" y="234"/>
                  </a:lnTo>
                  <a:lnTo>
                    <a:pt x="702" y="234"/>
                  </a:lnTo>
                  <a:lnTo>
                    <a:pt x="718" y="217"/>
                  </a:lnTo>
                  <a:lnTo>
                    <a:pt x="749" y="184"/>
                  </a:lnTo>
                  <a:lnTo>
                    <a:pt x="756" y="161"/>
                  </a:lnTo>
                  <a:lnTo>
                    <a:pt x="740" y="111"/>
                  </a:lnTo>
                  <a:lnTo>
                    <a:pt x="756" y="78"/>
                  </a:lnTo>
                  <a:lnTo>
                    <a:pt x="787" y="50"/>
                  </a:lnTo>
                  <a:lnTo>
                    <a:pt x="820" y="33"/>
                  </a:lnTo>
                  <a:lnTo>
                    <a:pt x="848" y="24"/>
                  </a:lnTo>
                  <a:lnTo>
                    <a:pt x="862" y="17"/>
                  </a:lnTo>
                  <a:lnTo>
                    <a:pt x="912" y="24"/>
                  </a:lnTo>
                  <a:lnTo>
                    <a:pt x="966" y="40"/>
                  </a:lnTo>
                  <a:lnTo>
                    <a:pt x="966" y="66"/>
                  </a:lnTo>
                  <a:lnTo>
                    <a:pt x="971" y="73"/>
                  </a:lnTo>
                  <a:lnTo>
                    <a:pt x="1009" y="78"/>
                  </a:lnTo>
                  <a:lnTo>
                    <a:pt x="1035" y="95"/>
                  </a:lnTo>
                  <a:lnTo>
                    <a:pt x="1096" y="95"/>
                  </a:lnTo>
                  <a:lnTo>
                    <a:pt x="1110" y="123"/>
                  </a:lnTo>
                  <a:lnTo>
                    <a:pt x="1089" y="144"/>
                  </a:lnTo>
                  <a:lnTo>
                    <a:pt x="1096" y="189"/>
                  </a:lnTo>
                  <a:lnTo>
                    <a:pt x="1080" y="239"/>
                  </a:lnTo>
                  <a:lnTo>
                    <a:pt x="1096" y="312"/>
                  </a:lnTo>
                  <a:lnTo>
                    <a:pt x="1096" y="439"/>
                  </a:lnTo>
                  <a:lnTo>
                    <a:pt x="1096" y="439"/>
                  </a:lnTo>
                  <a:lnTo>
                    <a:pt x="1096" y="43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5" name="Freeform 499">
              <a:extLst>
                <a:ext uri="{FF2B5EF4-FFF2-40B4-BE49-F238E27FC236}">
                  <a16:creationId xmlns:a16="http://schemas.microsoft.com/office/drawing/2014/main" id="{1BF0E2E7-7CA4-4776-98B8-0891A95DA595}"/>
                </a:ext>
              </a:extLst>
            </p:cNvPr>
            <p:cNvSpPr>
              <a:spLocks noEditPoints="1"/>
            </p:cNvSpPr>
            <p:nvPr/>
          </p:nvSpPr>
          <p:spPr bwMode="gray">
            <a:xfrm>
              <a:off x="7974008" y="4420373"/>
              <a:ext cx="210775" cy="419538"/>
            </a:xfrm>
            <a:custGeom>
              <a:avLst/>
              <a:gdLst>
                <a:gd name="T0" fmla="*/ 349 w 512"/>
                <a:gd name="T1" fmla="*/ 723 h 1019"/>
                <a:gd name="T2" fmla="*/ 307 w 512"/>
                <a:gd name="T3" fmla="*/ 884 h 1019"/>
                <a:gd name="T4" fmla="*/ 243 w 512"/>
                <a:gd name="T5" fmla="*/ 995 h 1019"/>
                <a:gd name="T6" fmla="*/ 163 w 512"/>
                <a:gd name="T7" fmla="*/ 1019 h 1019"/>
                <a:gd name="T8" fmla="*/ 108 w 512"/>
                <a:gd name="T9" fmla="*/ 1002 h 1019"/>
                <a:gd name="T10" fmla="*/ 82 w 512"/>
                <a:gd name="T11" fmla="*/ 990 h 1019"/>
                <a:gd name="T12" fmla="*/ 54 w 512"/>
                <a:gd name="T13" fmla="*/ 978 h 1019"/>
                <a:gd name="T14" fmla="*/ 33 w 512"/>
                <a:gd name="T15" fmla="*/ 924 h 1019"/>
                <a:gd name="T16" fmla="*/ 37 w 512"/>
                <a:gd name="T17" fmla="*/ 863 h 1019"/>
                <a:gd name="T18" fmla="*/ 28 w 512"/>
                <a:gd name="T19" fmla="*/ 830 h 1019"/>
                <a:gd name="T20" fmla="*/ 0 w 512"/>
                <a:gd name="T21" fmla="*/ 756 h 1019"/>
                <a:gd name="T22" fmla="*/ 16 w 512"/>
                <a:gd name="T23" fmla="*/ 723 h 1019"/>
                <a:gd name="T24" fmla="*/ 37 w 512"/>
                <a:gd name="T25" fmla="*/ 685 h 1019"/>
                <a:gd name="T26" fmla="*/ 87 w 512"/>
                <a:gd name="T27" fmla="*/ 596 h 1019"/>
                <a:gd name="T28" fmla="*/ 87 w 512"/>
                <a:gd name="T29" fmla="*/ 558 h 1019"/>
                <a:gd name="T30" fmla="*/ 70 w 512"/>
                <a:gd name="T31" fmla="*/ 513 h 1019"/>
                <a:gd name="T32" fmla="*/ 54 w 512"/>
                <a:gd name="T33" fmla="*/ 428 h 1019"/>
                <a:gd name="T34" fmla="*/ 87 w 512"/>
                <a:gd name="T35" fmla="*/ 350 h 1019"/>
                <a:gd name="T36" fmla="*/ 118 w 512"/>
                <a:gd name="T37" fmla="*/ 312 h 1019"/>
                <a:gd name="T38" fmla="*/ 146 w 512"/>
                <a:gd name="T39" fmla="*/ 308 h 1019"/>
                <a:gd name="T40" fmla="*/ 155 w 512"/>
                <a:gd name="T41" fmla="*/ 296 h 1019"/>
                <a:gd name="T42" fmla="*/ 172 w 512"/>
                <a:gd name="T43" fmla="*/ 308 h 1019"/>
                <a:gd name="T44" fmla="*/ 188 w 512"/>
                <a:gd name="T45" fmla="*/ 279 h 1019"/>
                <a:gd name="T46" fmla="*/ 200 w 512"/>
                <a:gd name="T47" fmla="*/ 279 h 1019"/>
                <a:gd name="T48" fmla="*/ 210 w 512"/>
                <a:gd name="T49" fmla="*/ 279 h 1019"/>
                <a:gd name="T50" fmla="*/ 214 w 512"/>
                <a:gd name="T51" fmla="*/ 296 h 1019"/>
                <a:gd name="T52" fmla="*/ 214 w 512"/>
                <a:gd name="T53" fmla="*/ 279 h 1019"/>
                <a:gd name="T54" fmla="*/ 264 w 512"/>
                <a:gd name="T55" fmla="*/ 239 h 1019"/>
                <a:gd name="T56" fmla="*/ 264 w 512"/>
                <a:gd name="T57" fmla="*/ 263 h 1019"/>
                <a:gd name="T58" fmla="*/ 269 w 512"/>
                <a:gd name="T59" fmla="*/ 239 h 1019"/>
                <a:gd name="T60" fmla="*/ 302 w 512"/>
                <a:gd name="T61" fmla="*/ 206 h 1019"/>
                <a:gd name="T62" fmla="*/ 323 w 512"/>
                <a:gd name="T63" fmla="*/ 197 h 1019"/>
                <a:gd name="T64" fmla="*/ 333 w 512"/>
                <a:gd name="T65" fmla="*/ 206 h 1019"/>
                <a:gd name="T66" fmla="*/ 318 w 512"/>
                <a:gd name="T67" fmla="*/ 197 h 1019"/>
                <a:gd name="T68" fmla="*/ 318 w 512"/>
                <a:gd name="T69" fmla="*/ 168 h 1019"/>
                <a:gd name="T70" fmla="*/ 323 w 512"/>
                <a:gd name="T71" fmla="*/ 163 h 1019"/>
                <a:gd name="T72" fmla="*/ 333 w 512"/>
                <a:gd name="T73" fmla="*/ 180 h 1019"/>
                <a:gd name="T74" fmla="*/ 333 w 512"/>
                <a:gd name="T75" fmla="*/ 152 h 1019"/>
                <a:gd name="T76" fmla="*/ 323 w 512"/>
                <a:gd name="T77" fmla="*/ 140 h 1019"/>
                <a:gd name="T78" fmla="*/ 340 w 512"/>
                <a:gd name="T79" fmla="*/ 111 h 1019"/>
                <a:gd name="T80" fmla="*/ 356 w 512"/>
                <a:gd name="T81" fmla="*/ 123 h 1019"/>
                <a:gd name="T82" fmla="*/ 403 w 512"/>
                <a:gd name="T83" fmla="*/ 69 h 1019"/>
                <a:gd name="T84" fmla="*/ 387 w 512"/>
                <a:gd name="T85" fmla="*/ 34 h 1019"/>
                <a:gd name="T86" fmla="*/ 403 w 512"/>
                <a:gd name="T87" fmla="*/ 29 h 1019"/>
                <a:gd name="T88" fmla="*/ 415 w 512"/>
                <a:gd name="T89" fmla="*/ 12 h 1019"/>
                <a:gd name="T90" fmla="*/ 429 w 512"/>
                <a:gd name="T91" fmla="*/ 17 h 1019"/>
                <a:gd name="T92" fmla="*/ 425 w 512"/>
                <a:gd name="T93" fmla="*/ 17 h 1019"/>
                <a:gd name="T94" fmla="*/ 446 w 512"/>
                <a:gd name="T95" fmla="*/ 50 h 1019"/>
                <a:gd name="T96" fmla="*/ 484 w 512"/>
                <a:gd name="T97" fmla="*/ 140 h 1019"/>
                <a:gd name="T98" fmla="*/ 512 w 512"/>
                <a:gd name="T99" fmla="*/ 251 h 1019"/>
                <a:gd name="T100" fmla="*/ 479 w 512"/>
                <a:gd name="T101" fmla="*/ 291 h 1019"/>
                <a:gd name="T102" fmla="*/ 458 w 512"/>
                <a:gd name="T103" fmla="*/ 258 h 1019"/>
                <a:gd name="T104" fmla="*/ 458 w 512"/>
                <a:gd name="T105" fmla="*/ 291 h 1019"/>
                <a:gd name="T106" fmla="*/ 462 w 512"/>
                <a:gd name="T107" fmla="*/ 312 h 1019"/>
                <a:gd name="T108" fmla="*/ 458 w 512"/>
                <a:gd name="T109" fmla="*/ 350 h 1019"/>
                <a:gd name="T110" fmla="*/ 446 w 512"/>
                <a:gd name="T111" fmla="*/ 369 h 1019"/>
                <a:gd name="T112" fmla="*/ 441 w 512"/>
                <a:gd name="T113" fmla="*/ 423 h 1019"/>
                <a:gd name="T114" fmla="*/ 377 w 512"/>
                <a:gd name="T115" fmla="*/ 629 h 1019"/>
                <a:gd name="T116" fmla="*/ 377 w 512"/>
                <a:gd name="T117" fmla="*/ 629 h 1019"/>
                <a:gd name="T118" fmla="*/ 349 w 512"/>
                <a:gd name="T119" fmla="*/ 107 h 1019"/>
                <a:gd name="T120" fmla="*/ 356 w 512"/>
                <a:gd name="T121" fmla="*/ 107 h 1019"/>
                <a:gd name="T122" fmla="*/ 356 w 512"/>
                <a:gd name="T123" fmla="*/ 107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1019">
                  <a:moveTo>
                    <a:pt x="377" y="629"/>
                  </a:moveTo>
                  <a:lnTo>
                    <a:pt x="349" y="723"/>
                  </a:lnTo>
                  <a:lnTo>
                    <a:pt x="323" y="780"/>
                  </a:lnTo>
                  <a:lnTo>
                    <a:pt x="307" y="884"/>
                  </a:lnTo>
                  <a:lnTo>
                    <a:pt x="269" y="974"/>
                  </a:lnTo>
                  <a:lnTo>
                    <a:pt x="243" y="995"/>
                  </a:lnTo>
                  <a:lnTo>
                    <a:pt x="210" y="995"/>
                  </a:lnTo>
                  <a:lnTo>
                    <a:pt x="163" y="1019"/>
                  </a:lnTo>
                  <a:lnTo>
                    <a:pt x="141" y="1019"/>
                  </a:lnTo>
                  <a:lnTo>
                    <a:pt x="108" y="1002"/>
                  </a:lnTo>
                  <a:lnTo>
                    <a:pt x="82" y="995"/>
                  </a:lnTo>
                  <a:lnTo>
                    <a:pt x="82" y="990"/>
                  </a:lnTo>
                  <a:lnTo>
                    <a:pt x="87" y="995"/>
                  </a:lnTo>
                  <a:lnTo>
                    <a:pt x="54" y="978"/>
                  </a:lnTo>
                  <a:lnTo>
                    <a:pt x="49" y="945"/>
                  </a:lnTo>
                  <a:lnTo>
                    <a:pt x="33" y="924"/>
                  </a:lnTo>
                  <a:lnTo>
                    <a:pt x="33" y="879"/>
                  </a:lnTo>
                  <a:lnTo>
                    <a:pt x="37" y="863"/>
                  </a:lnTo>
                  <a:lnTo>
                    <a:pt x="33" y="851"/>
                  </a:lnTo>
                  <a:lnTo>
                    <a:pt x="28" y="830"/>
                  </a:lnTo>
                  <a:lnTo>
                    <a:pt x="11" y="813"/>
                  </a:lnTo>
                  <a:lnTo>
                    <a:pt x="0" y="756"/>
                  </a:lnTo>
                  <a:lnTo>
                    <a:pt x="11" y="735"/>
                  </a:lnTo>
                  <a:lnTo>
                    <a:pt x="16" y="723"/>
                  </a:lnTo>
                  <a:lnTo>
                    <a:pt x="16" y="702"/>
                  </a:lnTo>
                  <a:lnTo>
                    <a:pt x="37" y="685"/>
                  </a:lnTo>
                  <a:lnTo>
                    <a:pt x="49" y="662"/>
                  </a:lnTo>
                  <a:lnTo>
                    <a:pt x="87" y="596"/>
                  </a:lnTo>
                  <a:lnTo>
                    <a:pt x="82" y="584"/>
                  </a:lnTo>
                  <a:lnTo>
                    <a:pt x="87" y="558"/>
                  </a:lnTo>
                  <a:lnTo>
                    <a:pt x="70" y="530"/>
                  </a:lnTo>
                  <a:lnTo>
                    <a:pt x="70" y="513"/>
                  </a:lnTo>
                  <a:lnTo>
                    <a:pt x="54" y="480"/>
                  </a:lnTo>
                  <a:lnTo>
                    <a:pt x="54" y="428"/>
                  </a:lnTo>
                  <a:lnTo>
                    <a:pt x="49" y="419"/>
                  </a:lnTo>
                  <a:lnTo>
                    <a:pt x="87" y="350"/>
                  </a:lnTo>
                  <a:lnTo>
                    <a:pt x="87" y="312"/>
                  </a:lnTo>
                  <a:lnTo>
                    <a:pt x="118" y="312"/>
                  </a:lnTo>
                  <a:lnTo>
                    <a:pt x="146" y="296"/>
                  </a:lnTo>
                  <a:lnTo>
                    <a:pt x="146" y="308"/>
                  </a:lnTo>
                  <a:lnTo>
                    <a:pt x="155" y="308"/>
                  </a:lnTo>
                  <a:lnTo>
                    <a:pt x="155" y="296"/>
                  </a:lnTo>
                  <a:lnTo>
                    <a:pt x="163" y="296"/>
                  </a:lnTo>
                  <a:lnTo>
                    <a:pt x="172" y="308"/>
                  </a:lnTo>
                  <a:lnTo>
                    <a:pt x="177" y="279"/>
                  </a:lnTo>
                  <a:lnTo>
                    <a:pt x="188" y="279"/>
                  </a:lnTo>
                  <a:lnTo>
                    <a:pt x="200" y="291"/>
                  </a:lnTo>
                  <a:lnTo>
                    <a:pt x="200" y="279"/>
                  </a:lnTo>
                  <a:lnTo>
                    <a:pt x="193" y="279"/>
                  </a:lnTo>
                  <a:lnTo>
                    <a:pt x="210" y="279"/>
                  </a:lnTo>
                  <a:lnTo>
                    <a:pt x="210" y="279"/>
                  </a:lnTo>
                  <a:lnTo>
                    <a:pt x="214" y="296"/>
                  </a:lnTo>
                  <a:lnTo>
                    <a:pt x="231" y="296"/>
                  </a:lnTo>
                  <a:lnTo>
                    <a:pt x="214" y="279"/>
                  </a:lnTo>
                  <a:lnTo>
                    <a:pt x="214" y="274"/>
                  </a:lnTo>
                  <a:lnTo>
                    <a:pt x="264" y="239"/>
                  </a:lnTo>
                  <a:lnTo>
                    <a:pt x="269" y="251"/>
                  </a:lnTo>
                  <a:lnTo>
                    <a:pt x="264" y="263"/>
                  </a:lnTo>
                  <a:lnTo>
                    <a:pt x="281" y="258"/>
                  </a:lnTo>
                  <a:lnTo>
                    <a:pt x="269" y="239"/>
                  </a:lnTo>
                  <a:lnTo>
                    <a:pt x="297" y="201"/>
                  </a:lnTo>
                  <a:lnTo>
                    <a:pt x="302" y="206"/>
                  </a:lnTo>
                  <a:lnTo>
                    <a:pt x="297" y="234"/>
                  </a:lnTo>
                  <a:lnTo>
                    <a:pt x="323" y="197"/>
                  </a:lnTo>
                  <a:lnTo>
                    <a:pt x="333" y="201"/>
                  </a:lnTo>
                  <a:lnTo>
                    <a:pt x="333" y="206"/>
                  </a:lnTo>
                  <a:lnTo>
                    <a:pt x="333" y="197"/>
                  </a:lnTo>
                  <a:lnTo>
                    <a:pt x="318" y="197"/>
                  </a:lnTo>
                  <a:lnTo>
                    <a:pt x="318" y="185"/>
                  </a:lnTo>
                  <a:lnTo>
                    <a:pt x="318" y="168"/>
                  </a:lnTo>
                  <a:lnTo>
                    <a:pt x="333" y="168"/>
                  </a:lnTo>
                  <a:lnTo>
                    <a:pt x="323" y="163"/>
                  </a:lnTo>
                  <a:lnTo>
                    <a:pt x="340" y="163"/>
                  </a:lnTo>
                  <a:lnTo>
                    <a:pt x="333" y="180"/>
                  </a:lnTo>
                  <a:lnTo>
                    <a:pt x="340" y="163"/>
                  </a:lnTo>
                  <a:lnTo>
                    <a:pt x="333" y="152"/>
                  </a:lnTo>
                  <a:lnTo>
                    <a:pt x="340" y="145"/>
                  </a:lnTo>
                  <a:lnTo>
                    <a:pt x="323" y="140"/>
                  </a:lnTo>
                  <a:lnTo>
                    <a:pt x="333" y="123"/>
                  </a:lnTo>
                  <a:lnTo>
                    <a:pt x="340" y="111"/>
                  </a:lnTo>
                  <a:lnTo>
                    <a:pt x="356" y="140"/>
                  </a:lnTo>
                  <a:lnTo>
                    <a:pt x="356" y="123"/>
                  </a:lnTo>
                  <a:lnTo>
                    <a:pt x="394" y="107"/>
                  </a:lnTo>
                  <a:lnTo>
                    <a:pt x="403" y="69"/>
                  </a:lnTo>
                  <a:lnTo>
                    <a:pt x="394" y="50"/>
                  </a:lnTo>
                  <a:lnTo>
                    <a:pt x="387" y="34"/>
                  </a:lnTo>
                  <a:lnTo>
                    <a:pt x="403" y="41"/>
                  </a:lnTo>
                  <a:lnTo>
                    <a:pt x="403" y="29"/>
                  </a:lnTo>
                  <a:lnTo>
                    <a:pt x="415" y="17"/>
                  </a:lnTo>
                  <a:lnTo>
                    <a:pt x="415" y="12"/>
                  </a:lnTo>
                  <a:lnTo>
                    <a:pt x="425" y="0"/>
                  </a:lnTo>
                  <a:lnTo>
                    <a:pt x="429" y="17"/>
                  </a:lnTo>
                  <a:lnTo>
                    <a:pt x="425" y="17"/>
                  </a:lnTo>
                  <a:lnTo>
                    <a:pt x="425" y="17"/>
                  </a:lnTo>
                  <a:lnTo>
                    <a:pt x="441" y="29"/>
                  </a:lnTo>
                  <a:lnTo>
                    <a:pt x="446" y="50"/>
                  </a:lnTo>
                  <a:lnTo>
                    <a:pt x="467" y="85"/>
                  </a:lnTo>
                  <a:lnTo>
                    <a:pt x="484" y="140"/>
                  </a:lnTo>
                  <a:lnTo>
                    <a:pt x="484" y="197"/>
                  </a:lnTo>
                  <a:lnTo>
                    <a:pt x="512" y="251"/>
                  </a:lnTo>
                  <a:lnTo>
                    <a:pt x="496" y="296"/>
                  </a:lnTo>
                  <a:lnTo>
                    <a:pt x="479" y="291"/>
                  </a:lnTo>
                  <a:lnTo>
                    <a:pt x="462" y="258"/>
                  </a:lnTo>
                  <a:lnTo>
                    <a:pt x="458" y="258"/>
                  </a:lnTo>
                  <a:lnTo>
                    <a:pt x="446" y="263"/>
                  </a:lnTo>
                  <a:lnTo>
                    <a:pt x="458" y="291"/>
                  </a:lnTo>
                  <a:lnTo>
                    <a:pt x="458" y="308"/>
                  </a:lnTo>
                  <a:lnTo>
                    <a:pt x="462" y="312"/>
                  </a:lnTo>
                  <a:lnTo>
                    <a:pt x="462" y="334"/>
                  </a:lnTo>
                  <a:lnTo>
                    <a:pt x="458" y="350"/>
                  </a:lnTo>
                  <a:lnTo>
                    <a:pt x="462" y="362"/>
                  </a:lnTo>
                  <a:lnTo>
                    <a:pt x="446" y="369"/>
                  </a:lnTo>
                  <a:lnTo>
                    <a:pt x="429" y="402"/>
                  </a:lnTo>
                  <a:lnTo>
                    <a:pt x="441" y="423"/>
                  </a:lnTo>
                  <a:lnTo>
                    <a:pt x="429" y="473"/>
                  </a:lnTo>
                  <a:lnTo>
                    <a:pt x="377" y="629"/>
                  </a:lnTo>
                  <a:lnTo>
                    <a:pt x="377" y="629"/>
                  </a:lnTo>
                  <a:lnTo>
                    <a:pt x="377" y="629"/>
                  </a:lnTo>
                  <a:close/>
                  <a:moveTo>
                    <a:pt x="356" y="107"/>
                  </a:moveTo>
                  <a:lnTo>
                    <a:pt x="349" y="107"/>
                  </a:lnTo>
                  <a:lnTo>
                    <a:pt x="356" y="90"/>
                  </a:lnTo>
                  <a:lnTo>
                    <a:pt x="356" y="107"/>
                  </a:lnTo>
                  <a:lnTo>
                    <a:pt x="356" y="107"/>
                  </a:lnTo>
                  <a:lnTo>
                    <a:pt x="356" y="10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68" name="Freeform 502">
              <a:extLst>
                <a:ext uri="{FF2B5EF4-FFF2-40B4-BE49-F238E27FC236}">
                  <a16:creationId xmlns:a16="http://schemas.microsoft.com/office/drawing/2014/main" id="{03B67B2D-0265-449B-952B-90FA048E62D7}"/>
                </a:ext>
              </a:extLst>
            </p:cNvPr>
            <p:cNvSpPr>
              <a:spLocks/>
            </p:cNvSpPr>
            <p:nvPr/>
          </p:nvSpPr>
          <p:spPr bwMode="gray">
            <a:xfrm>
              <a:off x="8029172" y="4441782"/>
              <a:ext cx="2058" cy="9058"/>
            </a:xfrm>
            <a:custGeom>
              <a:avLst/>
              <a:gdLst>
                <a:gd name="T0" fmla="*/ 0 w 5"/>
                <a:gd name="T1" fmla="*/ 22 h 22"/>
                <a:gd name="T2" fmla="*/ 0 w 5"/>
                <a:gd name="T3" fmla="*/ 22 h 22"/>
                <a:gd name="T4" fmla="*/ 0 w 5"/>
                <a:gd name="T5" fmla="*/ 0 h 22"/>
                <a:gd name="T6" fmla="*/ 5 w 5"/>
                <a:gd name="T7" fmla="*/ 5 h 22"/>
                <a:gd name="T8" fmla="*/ 0 w 5"/>
                <a:gd name="T9" fmla="*/ 22 h 22"/>
                <a:gd name="T10" fmla="*/ 0 w 5"/>
                <a:gd name="T11" fmla="*/ 22 h 22"/>
                <a:gd name="T12" fmla="*/ 0 w 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5" h="22">
                  <a:moveTo>
                    <a:pt x="0" y="22"/>
                  </a:moveTo>
                  <a:lnTo>
                    <a:pt x="0" y="22"/>
                  </a:lnTo>
                  <a:lnTo>
                    <a:pt x="0" y="0"/>
                  </a:lnTo>
                  <a:lnTo>
                    <a:pt x="5" y="5"/>
                  </a:lnTo>
                  <a:lnTo>
                    <a:pt x="0" y="22"/>
                  </a:lnTo>
                  <a:lnTo>
                    <a:pt x="0" y="22"/>
                  </a:lnTo>
                  <a:lnTo>
                    <a:pt x="0" y="2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71" name="Freeform 505">
              <a:extLst>
                <a:ext uri="{FF2B5EF4-FFF2-40B4-BE49-F238E27FC236}">
                  <a16:creationId xmlns:a16="http://schemas.microsoft.com/office/drawing/2014/main" id="{875D22B6-7504-4841-803E-21C03623584E}"/>
                </a:ext>
              </a:extLst>
            </p:cNvPr>
            <p:cNvSpPr>
              <a:spLocks/>
            </p:cNvSpPr>
            <p:nvPr/>
          </p:nvSpPr>
          <p:spPr bwMode="gray">
            <a:xfrm>
              <a:off x="7668549" y="4342558"/>
              <a:ext cx="95095" cy="237560"/>
            </a:xfrm>
            <a:custGeom>
              <a:avLst/>
              <a:gdLst>
                <a:gd name="T0" fmla="*/ 33 w 231"/>
                <a:gd name="T1" fmla="*/ 336 h 577"/>
                <a:gd name="T2" fmla="*/ 21 w 231"/>
                <a:gd name="T3" fmla="*/ 336 h 577"/>
                <a:gd name="T4" fmla="*/ 16 w 231"/>
                <a:gd name="T5" fmla="*/ 298 h 577"/>
                <a:gd name="T6" fmla="*/ 21 w 231"/>
                <a:gd name="T7" fmla="*/ 246 h 577"/>
                <a:gd name="T8" fmla="*/ 49 w 231"/>
                <a:gd name="T9" fmla="*/ 230 h 577"/>
                <a:gd name="T10" fmla="*/ 49 w 231"/>
                <a:gd name="T11" fmla="*/ 220 h 577"/>
                <a:gd name="T12" fmla="*/ 49 w 231"/>
                <a:gd name="T13" fmla="*/ 175 h 577"/>
                <a:gd name="T14" fmla="*/ 54 w 231"/>
                <a:gd name="T15" fmla="*/ 130 h 577"/>
                <a:gd name="T16" fmla="*/ 64 w 231"/>
                <a:gd name="T17" fmla="*/ 107 h 577"/>
                <a:gd name="T18" fmla="*/ 64 w 231"/>
                <a:gd name="T19" fmla="*/ 74 h 577"/>
                <a:gd name="T20" fmla="*/ 49 w 231"/>
                <a:gd name="T21" fmla="*/ 52 h 577"/>
                <a:gd name="T22" fmla="*/ 38 w 231"/>
                <a:gd name="T23" fmla="*/ 17 h 577"/>
                <a:gd name="T24" fmla="*/ 16 w 231"/>
                <a:gd name="T25" fmla="*/ 0 h 577"/>
                <a:gd name="T26" fmla="*/ 54 w 231"/>
                <a:gd name="T27" fmla="*/ 17 h 577"/>
                <a:gd name="T28" fmla="*/ 87 w 231"/>
                <a:gd name="T29" fmla="*/ 24 h 577"/>
                <a:gd name="T30" fmla="*/ 118 w 231"/>
                <a:gd name="T31" fmla="*/ 24 h 577"/>
                <a:gd name="T32" fmla="*/ 139 w 231"/>
                <a:gd name="T33" fmla="*/ 107 h 577"/>
                <a:gd name="T34" fmla="*/ 163 w 231"/>
                <a:gd name="T35" fmla="*/ 163 h 577"/>
                <a:gd name="T36" fmla="*/ 139 w 231"/>
                <a:gd name="T37" fmla="*/ 175 h 577"/>
                <a:gd name="T38" fmla="*/ 130 w 231"/>
                <a:gd name="T39" fmla="*/ 246 h 577"/>
                <a:gd name="T40" fmla="*/ 139 w 231"/>
                <a:gd name="T41" fmla="*/ 303 h 577"/>
                <a:gd name="T42" fmla="*/ 172 w 231"/>
                <a:gd name="T43" fmla="*/ 319 h 577"/>
                <a:gd name="T44" fmla="*/ 231 w 231"/>
                <a:gd name="T45" fmla="*/ 409 h 577"/>
                <a:gd name="T46" fmla="*/ 227 w 231"/>
                <a:gd name="T47" fmla="*/ 447 h 577"/>
                <a:gd name="T48" fmla="*/ 201 w 231"/>
                <a:gd name="T49" fmla="*/ 504 h 577"/>
                <a:gd name="T50" fmla="*/ 172 w 231"/>
                <a:gd name="T51" fmla="*/ 527 h 577"/>
                <a:gd name="T52" fmla="*/ 184 w 231"/>
                <a:gd name="T53" fmla="*/ 577 h 577"/>
                <a:gd name="T54" fmla="*/ 177 w 231"/>
                <a:gd name="T55" fmla="*/ 553 h 577"/>
                <a:gd name="T56" fmla="*/ 130 w 231"/>
                <a:gd name="T57" fmla="*/ 508 h 577"/>
                <a:gd name="T58" fmla="*/ 125 w 231"/>
                <a:gd name="T59" fmla="*/ 499 h 577"/>
                <a:gd name="T60" fmla="*/ 130 w 231"/>
                <a:gd name="T61" fmla="*/ 442 h 577"/>
                <a:gd name="T62" fmla="*/ 118 w 231"/>
                <a:gd name="T63" fmla="*/ 369 h 577"/>
                <a:gd name="T64" fmla="*/ 38 w 231"/>
                <a:gd name="T65" fmla="*/ 343 h 577"/>
                <a:gd name="T66" fmla="*/ 38 w 231"/>
                <a:gd name="T67" fmla="*/ 343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 h="577">
                  <a:moveTo>
                    <a:pt x="38" y="343"/>
                  </a:moveTo>
                  <a:lnTo>
                    <a:pt x="33" y="336"/>
                  </a:lnTo>
                  <a:lnTo>
                    <a:pt x="33" y="343"/>
                  </a:lnTo>
                  <a:lnTo>
                    <a:pt x="21" y="336"/>
                  </a:lnTo>
                  <a:lnTo>
                    <a:pt x="0" y="315"/>
                  </a:lnTo>
                  <a:lnTo>
                    <a:pt x="16" y="298"/>
                  </a:lnTo>
                  <a:lnTo>
                    <a:pt x="21" y="263"/>
                  </a:lnTo>
                  <a:lnTo>
                    <a:pt x="21" y="246"/>
                  </a:lnTo>
                  <a:lnTo>
                    <a:pt x="21" y="241"/>
                  </a:lnTo>
                  <a:lnTo>
                    <a:pt x="49" y="230"/>
                  </a:lnTo>
                  <a:lnTo>
                    <a:pt x="64" y="225"/>
                  </a:lnTo>
                  <a:lnTo>
                    <a:pt x="49" y="220"/>
                  </a:lnTo>
                  <a:lnTo>
                    <a:pt x="38" y="208"/>
                  </a:lnTo>
                  <a:lnTo>
                    <a:pt x="49" y="175"/>
                  </a:lnTo>
                  <a:lnTo>
                    <a:pt x="38" y="152"/>
                  </a:lnTo>
                  <a:lnTo>
                    <a:pt x="54" y="130"/>
                  </a:lnTo>
                  <a:lnTo>
                    <a:pt x="38" y="114"/>
                  </a:lnTo>
                  <a:lnTo>
                    <a:pt x="64" y="107"/>
                  </a:lnTo>
                  <a:lnTo>
                    <a:pt x="71" y="90"/>
                  </a:lnTo>
                  <a:lnTo>
                    <a:pt x="64" y="74"/>
                  </a:lnTo>
                  <a:lnTo>
                    <a:pt x="64" y="62"/>
                  </a:lnTo>
                  <a:lnTo>
                    <a:pt x="49" y="52"/>
                  </a:lnTo>
                  <a:lnTo>
                    <a:pt x="49" y="41"/>
                  </a:lnTo>
                  <a:lnTo>
                    <a:pt x="38" y="17"/>
                  </a:lnTo>
                  <a:lnTo>
                    <a:pt x="21" y="17"/>
                  </a:lnTo>
                  <a:lnTo>
                    <a:pt x="16" y="0"/>
                  </a:lnTo>
                  <a:lnTo>
                    <a:pt x="49" y="8"/>
                  </a:lnTo>
                  <a:lnTo>
                    <a:pt x="54" y="17"/>
                  </a:lnTo>
                  <a:lnTo>
                    <a:pt x="75" y="17"/>
                  </a:lnTo>
                  <a:lnTo>
                    <a:pt x="87" y="24"/>
                  </a:lnTo>
                  <a:lnTo>
                    <a:pt x="92" y="8"/>
                  </a:lnTo>
                  <a:lnTo>
                    <a:pt x="118" y="24"/>
                  </a:lnTo>
                  <a:lnTo>
                    <a:pt x="130" y="52"/>
                  </a:lnTo>
                  <a:lnTo>
                    <a:pt x="139" y="107"/>
                  </a:lnTo>
                  <a:lnTo>
                    <a:pt x="139" y="130"/>
                  </a:lnTo>
                  <a:lnTo>
                    <a:pt x="163" y="163"/>
                  </a:lnTo>
                  <a:lnTo>
                    <a:pt x="139" y="163"/>
                  </a:lnTo>
                  <a:lnTo>
                    <a:pt x="139" y="175"/>
                  </a:lnTo>
                  <a:lnTo>
                    <a:pt x="125" y="208"/>
                  </a:lnTo>
                  <a:lnTo>
                    <a:pt x="130" y="246"/>
                  </a:lnTo>
                  <a:lnTo>
                    <a:pt x="130" y="298"/>
                  </a:lnTo>
                  <a:lnTo>
                    <a:pt x="139" y="303"/>
                  </a:lnTo>
                  <a:lnTo>
                    <a:pt x="156" y="303"/>
                  </a:lnTo>
                  <a:lnTo>
                    <a:pt x="172" y="319"/>
                  </a:lnTo>
                  <a:lnTo>
                    <a:pt x="227" y="393"/>
                  </a:lnTo>
                  <a:lnTo>
                    <a:pt x="231" y="409"/>
                  </a:lnTo>
                  <a:lnTo>
                    <a:pt x="215" y="430"/>
                  </a:lnTo>
                  <a:lnTo>
                    <a:pt x="227" y="447"/>
                  </a:lnTo>
                  <a:lnTo>
                    <a:pt x="227" y="487"/>
                  </a:lnTo>
                  <a:lnTo>
                    <a:pt x="201" y="504"/>
                  </a:lnTo>
                  <a:lnTo>
                    <a:pt x="193" y="499"/>
                  </a:lnTo>
                  <a:lnTo>
                    <a:pt x="172" y="527"/>
                  </a:lnTo>
                  <a:lnTo>
                    <a:pt x="184" y="544"/>
                  </a:lnTo>
                  <a:lnTo>
                    <a:pt x="184" y="577"/>
                  </a:lnTo>
                  <a:lnTo>
                    <a:pt x="172" y="577"/>
                  </a:lnTo>
                  <a:lnTo>
                    <a:pt x="177" y="553"/>
                  </a:lnTo>
                  <a:lnTo>
                    <a:pt x="163" y="553"/>
                  </a:lnTo>
                  <a:lnTo>
                    <a:pt x="130" y="508"/>
                  </a:lnTo>
                  <a:lnTo>
                    <a:pt x="125" y="508"/>
                  </a:lnTo>
                  <a:lnTo>
                    <a:pt x="125" y="499"/>
                  </a:lnTo>
                  <a:lnTo>
                    <a:pt x="108" y="482"/>
                  </a:lnTo>
                  <a:lnTo>
                    <a:pt x="130" y="442"/>
                  </a:lnTo>
                  <a:lnTo>
                    <a:pt x="130" y="386"/>
                  </a:lnTo>
                  <a:lnTo>
                    <a:pt x="118" y="369"/>
                  </a:lnTo>
                  <a:lnTo>
                    <a:pt x="71" y="386"/>
                  </a:lnTo>
                  <a:lnTo>
                    <a:pt x="38" y="343"/>
                  </a:lnTo>
                  <a:lnTo>
                    <a:pt x="38" y="343"/>
                  </a:lnTo>
                  <a:lnTo>
                    <a:pt x="38" y="34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3" name="Freeform 507">
              <a:extLst>
                <a:ext uri="{FF2B5EF4-FFF2-40B4-BE49-F238E27FC236}">
                  <a16:creationId xmlns:a16="http://schemas.microsoft.com/office/drawing/2014/main" id="{0D571C5C-BDCE-4459-9DAC-74EBCC747B97}"/>
                </a:ext>
              </a:extLst>
            </p:cNvPr>
            <p:cNvSpPr>
              <a:spLocks/>
            </p:cNvSpPr>
            <p:nvPr/>
          </p:nvSpPr>
          <p:spPr bwMode="gray">
            <a:xfrm>
              <a:off x="6373023" y="3309975"/>
              <a:ext cx="475479" cy="453300"/>
            </a:xfrm>
            <a:custGeom>
              <a:avLst/>
              <a:gdLst>
                <a:gd name="T0" fmla="*/ 130 w 1155"/>
                <a:gd name="T1" fmla="*/ 947 h 1101"/>
                <a:gd name="T2" fmla="*/ 88 w 1155"/>
                <a:gd name="T3" fmla="*/ 947 h 1101"/>
                <a:gd name="T4" fmla="*/ 55 w 1155"/>
                <a:gd name="T5" fmla="*/ 947 h 1101"/>
                <a:gd name="T6" fmla="*/ 67 w 1155"/>
                <a:gd name="T7" fmla="*/ 890 h 1101"/>
                <a:gd name="T8" fmla="*/ 33 w 1155"/>
                <a:gd name="T9" fmla="*/ 864 h 1101"/>
                <a:gd name="T10" fmla="*/ 12 w 1155"/>
                <a:gd name="T11" fmla="*/ 848 h 1101"/>
                <a:gd name="T12" fmla="*/ 17 w 1155"/>
                <a:gd name="T13" fmla="*/ 808 h 1101"/>
                <a:gd name="T14" fmla="*/ 0 w 1155"/>
                <a:gd name="T15" fmla="*/ 758 h 1101"/>
                <a:gd name="T16" fmla="*/ 24 w 1155"/>
                <a:gd name="T17" fmla="*/ 758 h 1101"/>
                <a:gd name="T18" fmla="*/ 55 w 1155"/>
                <a:gd name="T19" fmla="*/ 697 h 1101"/>
                <a:gd name="T20" fmla="*/ 109 w 1155"/>
                <a:gd name="T21" fmla="*/ 713 h 1101"/>
                <a:gd name="T22" fmla="*/ 196 w 1155"/>
                <a:gd name="T23" fmla="*/ 713 h 1101"/>
                <a:gd name="T24" fmla="*/ 201 w 1155"/>
                <a:gd name="T25" fmla="*/ 697 h 1101"/>
                <a:gd name="T26" fmla="*/ 470 w 1155"/>
                <a:gd name="T27" fmla="*/ 713 h 1101"/>
                <a:gd name="T28" fmla="*/ 466 w 1155"/>
                <a:gd name="T29" fmla="*/ 631 h 1101"/>
                <a:gd name="T30" fmla="*/ 395 w 1155"/>
                <a:gd name="T31" fmla="*/ 0 h 1101"/>
                <a:gd name="T32" fmla="*/ 941 w 1155"/>
                <a:gd name="T33" fmla="*/ 293 h 1101"/>
                <a:gd name="T34" fmla="*/ 974 w 1155"/>
                <a:gd name="T35" fmla="*/ 331 h 1101"/>
                <a:gd name="T36" fmla="*/ 1004 w 1155"/>
                <a:gd name="T37" fmla="*/ 354 h 1101"/>
                <a:gd name="T38" fmla="*/ 1026 w 1155"/>
                <a:gd name="T39" fmla="*/ 371 h 1101"/>
                <a:gd name="T40" fmla="*/ 1092 w 1155"/>
                <a:gd name="T41" fmla="*/ 420 h 1101"/>
                <a:gd name="T42" fmla="*/ 1092 w 1155"/>
                <a:gd name="T43" fmla="*/ 449 h 1101"/>
                <a:gd name="T44" fmla="*/ 1151 w 1155"/>
                <a:gd name="T45" fmla="*/ 642 h 1101"/>
                <a:gd name="T46" fmla="*/ 1129 w 1155"/>
                <a:gd name="T47" fmla="*/ 697 h 1101"/>
                <a:gd name="T48" fmla="*/ 1101 w 1155"/>
                <a:gd name="T49" fmla="*/ 720 h 1101"/>
                <a:gd name="T50" fmla="*/ 1063 w 1155"/>
                <a:gd name="T51" fmla="*/ 720 h 1101"/>
                <a:gd name="T52" fmla="*/ 929 w 1155"/>
                <a:gd name="T53" fmla="*/ 742 h 1101"/>
                <a:gd name="T54" fmla="*/ 874 w 1155"/>
                <a:gd name="T55" fmla="*/ 753 h 1101"/>
                <a:gd name="T56" fmla="*/ 832 w 1155"/>
                <a:gd name="T57" fmla="*/ 742 h 1101"/>
                <a:gd name="T58" fmla="*/ 806 w 1155"/>
                <a:gd name="T59" fmla="*/ 742 h 1101"/>
                <a:gd name="T60" fmla="*/ 768 w 1155"/>
                <a:gd name="T61" fmla="*/ 770 h 1101"/>
                <a:gd name="T62" fmla="*/ 718 w 1155"/>
                <a:gd name="T63" fmla="*/ 779 h 1101"/>
                <a:gd name="T64" fmla="*/ 714 w 1155"/>
                <a:gd name="T65" fmla="*/ 808 h 1101"/>
                <a:gd name="T66" fmla="*/ 659 w 1155"/>
                <a:gd name="T67" fmla="*/ 812 h 1101"/>
                <a:gd name="T68" fmla="*/ 626 w 1155"/>
                <a:gd name="T69" fmla="*/ 836 h 1101"/>
                <a:gd name="T70" fmla="*/ 617 w 1155"/>
                <a:gd name="T71" fmla="*/ 869 h 1101"/>
                <a:gd name="T72" fmla="*/ 579 w 1155"/>
                <a:gd name="T73" fmla="*/ 853 h 1101"/>
                <a:gd name="T74" fmla="*/ 563 w 1155"/>
                <a:gd name="T75" fmla="*/ 902 h 1101"/>
                <a:gd name="T76" fmla="*/ 541 w 1155"/>
                <a:gd name="T77" fmla="*/ 907 h 1101"/>
                <a:gd name="T78" fmla="*/ 551 w 1155"/>
                <a:gd name="T79" fmla="*/ 940 h 1101"/>
                <a:gd name="T80" fmla="*/ 499 w 1155"/>
                <a:gd name="T81" fmla="*/ 964 h 1101"/>
                <a:gd name="T82" fmla="*/ 499 w 1155"/>
                <a:gd name="T83" fmla="*/ 1001 h 1101"/>
                <a:gd name="T84" fmla="*/ 470 w 1155"/>
                <a:gd name="T85" fmla="*/ 1035 h 1101"/>
                <a:gd name="T86" fmla="*/ 470 w 1155"/>
                <a:gd name="T87" fmla="*/ 1075 h 1101"/>
                <a:gd name="T88" fmla="*/ 433 w 1155"/>
                <a:gd name="T89" fmla="*/ 1101 h 1101"/>
                <a:gd name="T90" fmla="*/ 428 w 1155"/>
                <a:gd name="T91" fmla="*/ 1091 h 1101"/>
                <a:gd name="T92" fmla="*/ 411 w 1155"/>
                <a:gd name="T93" fmla="*/ 1058 h 1101"/>
                <a:gd name="T94" fmla="*/ 395 w 1155"/>
                <a:gd name="T95" fmla="*/ 1058 h 1101"/>
                <a:gd name="T96" fmla="*/ 374 w 1155"/>
                <a:gd name="T97" fmla="*/ 1084 h 1101"/>
                <a:gd name="T98" fmla="*/ 324 w 1155"/>
                <a:gd name="T99" fmla="*/ 1075 h 1101"/>
                <a:gd name="T100" fmla="*/ 293 w 1155"/>
                <a:gd name="T101" fmla="*/ 1101 h 1101"/>
                <a:gd name="T102" fmla="*/ 281 w 1155"/>
                <a:gd name="T103" fmla="*/ 1075 h 1101"/>
                <a:gd name="T104" fmla="*/ 265 w 1155"/>
                <a:gd name="T105" fmla="*/ 1035 h 1101"/>
                <a:gd name="T106" fmla="*/ 272 w 1155"/>
                <a:gd name="T107" fmla="*/ 1013 h 1101"/>
                <a:gd name="T108" fmla="*/ 251 w 1155"/>
                <a:gd name="T109" fmla="*/ 992 h 1101"/>
                <a:gd name="T110" fmla="*/ 239 w 1155"/>
                <a:gd name="T111" fmla="*/ 975 h 1101"/>
                <a:gd name="T112" fmla="*/ 227 w 1155"/>
                <a:gd name="T113" fmla="*/ 935 h 1101"/>
                <a:gd name="T114" fmla="*/ 201 w 1155"/>
                <a:gd name="T115" fmla="*/ 947 h 1101"/>
                <a:gd name="T116" fmla="*/ 180 w 1155"/>
                <a:gd name="T117" fmla="*/ 964 h 1101"/>
                <a:gd name="T118" fmla="*/ 163 w 1155"/>
                <a:gd name="T119" fmla="*/ 964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55" h="1101">
                  <a:moveTo>
                    <a:pt x="163" y="964"/>
                  </a:moveTo>
                  <a:lnTo>
                    <a:pt x="130" y="947"/>
                  </a:lnTo>
                  <a:lnTo>
                    <a:pt x="109" y="975"/>
                  </a:lnTo>
                  <a:lnTo>
                    <a:pt x="88" y="947"/>
                  </a:lnTo>
                  <a:lnTo>
                    <a:pt x="71" y="964"/>
                  </a:lnTo>
                  <a:lnTo>
                    <a:pt x="55" y="947"/>
                  </a:lnTo>
                  <a:lnTo>
                    <a:pt x="67" y="935"/>
                  </a:lnTo>
                  <a:lnTo>
                    <a:pt x="67" y="890"/>
                  </a:lnTo>
                  <a:lnTo>
                    <a:pt x="38" y="864"/>
                  </a:lnTo>
                  <a:lnTo>
                    <a:pt x="33" y="864"/>
                  </a:lnTo>
                  <a:lnTo>
                    <a:pt x="33" y="869"/>
                  </a:lnTo>
                  <a:lnTo>
                    <a:pt x="12" y="848"/>
                  </a:lnTo>
                  <a:lnTo>
                    <a:pt x="17" y="831"/>
                  </a:lnTo>
                  <a:lnTo>
                    <a:pt x="17" y="808"/>
                  </a:lnTo>
                  <a:lnTo>
                    <a:pt x="0" y="791"/>
                  </a:lnTo>
                  <a:lnTo>
                    <a:pt x="0" y="758"/>
                  </a:lnTo>
                  <a:lnTo>
                    <a:pt x="12" y="770"/>
                  </a:lnTo>
                  <a:lnTo>
                    <a:pt x="24" y="758"/>
                  </a:lnTo>
                  <a:lnTo>
                    <a:pt x="38" y="704"/>
                  </a:lnTo>
                  <a:lnTo>
                    <a:pt x="55" y="697"/>
                  </a:lnTo>
                  <a:lnTo>
                    <a:pt x="93" y="737"/>
                  </a:lnTo>
                  <a:lnTo>
                    <a:pt x="109" y="713"/>
                  </a:lnTo>
                  <a:lnTo>
                    <a:pt x="159" y="720"/>
                  </a:lnTo>
                  <a:lnTo>
                    <a:pt x="196" y="713"/>
                  </a:lnTo>
                  <a:lnTo>
                    <a:pt x="196" y="704"/>
                  </a:lnTo>
                  <a:lnTo>
                    <a:pt x="201" y="697"/>
                  </a:lnTo>
                  <a:lnTo>
                    <a:pt x="201" y="713"/>
                  </a:lnTo>
                  <a:lnTo>
                    <a:pt x="470" y="713"/>
                  </a:lnTo>
                  <a:lnTo>
                    <a:pt x="487" y="647"/>
                  </a:lnTo>
                  <a:lnTo>
                    <a:pt x="466" y="631"/>
                  </a:lnTo>
                  <a:lnTo>
                    <a:pt x="411" y="149"/>
                  </a:lnTo>
                  <a:lnTo>
                    <a:pt x="395" y="0"/>
                  </a:lnTo>
                  <a:lnTo>
                    <a:pt x="520" y="0"/>
                  </a:lnTo>
                  <a:lnTo>
                    <a:pt x="941" y="293"/>
                  </a:lnTo>
                  <a:lnTo>
                    <a:pt x="941" y="314"/>
                  </a:lnTo>
                  <a:lnTo>
                    <a:pt x="974" y="331"/>
                  </a:lnTo>
                  <a:lnTo>
                    <a:pt x="983" y="347"/>
                  </a:lnTo>
                  <a:lnTo>
                    <a:pt x="1004" y="354"/>
                  </a:lnTo>
                  <a:lnTo>
                    <a:pt x="1011" y="354"/>
                  </a:lnTo>
                  <a:lnTo>
                    <a:pt x="1026" y="371"/>
                  </a:lnTo>
                  <a:lnTo>
                    <a:pt x="1080" y="387"/>
                  </a:lnTo>
                  <a:lnTo>
                    <a:pt x="1092" y="420"/>
                  </a:lnTo>
                  <a:lnTo>
                    <a:pt x="1075" y="437"/>
                  </a:lnTo>
                  <a:lnTo>
                    <a:pt x="1092" y="449"/>
                  </a:lnTo>
                  <a:lnTo>
                    <a:pt x="1155" y="437"/>
                  </a:lnTo>
                  <a:lnTo>
                    <a:pt x="1151" y="642"/>
                  </a:lnTo>
                  <a:lnTo>
                    <a:pt x="1146" y="647"/>
                  </a:lnTo>
                  <a:lnTo>
                    <a:pt x="1129" y="697"/>
                  </a:lnTo>
                  <a:lnTo>
                    <a:pt x="1101" y="704"/>
                  </a:lnTo>
                  <a:lnTo>
                    <a:pt x="1101" y="720"/>
                  </a:lnTo>
                  <a:lnTo>
                    <a:pt x="1075" y="713"/>
                  </a:lnTo>
                  <a:lnTo>
                    <a:pt x="1063" y="720"/>
                  </a:lnTo>
                  <a:lnTo>
                    <a:pt x="950" y="725"/>
                  </a:lnTo>
                  <a:lnTo>
                    <a:pt x="929" y="742"/>
                  </a:lnTo>
                  <a:lnTo>
                    <a:pt x="874" y="742"/>
                  </a:lnTo>
                  <a:lnTo>
                    <a:pt x="874" y="753"/>
                  </a:lnTo>
                  <a:lnTo>
                    <a:pt x="844" y="742"/>
                  </a:lnTo>
                  <a:lnTo>
                    <a:pt x="832" y="742"/>
                  </a:lnTo>
                  <a:lnTo>
                    <a:pt x="827" y="742"/>
                  </a:lnTo>
                  <a:lnTo>
                    <a:pt x="806" y="742"/>
                  </a:lnTo>
                  <a:lnTo>
                    <a:pt x="778" y="758"/>
                  </a:lnTo>
                  <a:lnTo>
                    <a:pt x="768" y="770"/>
                  </a:lnTo>
                  <a:lnTo>
                    <a:pt x="740" y="779"/>
                  </a:lnTo>
                  <a:lnTo>
                    <a:pt x="718" y="779"/>
                  </a:lnTo>
                  <a:lnTo>
                    <a:pt x="718" y="808"/>
                  </a:lnTo>
                  <a:lnTo>
                    <a:pt x="714" y="808"/>
                  </a:lnTo>
                  <a:lnTo>
                    <a:pt x="685" y="796"/>
                  </a:lnTo>
                  <a:lnTo>
                    <a:pt x="659" y="812"/>
                  </a:lnTo>
                  <a:lnTo>
                    <a:pt x="659" y="848"/>
                  </a:lnTo>
                  <a:lnTo>
                    <a:pt x="626" y="836"/>
                  </a:lnTo>
                  <a:lnTo>
                    <a:pt x="633" y="869"/>
                  </a:lnTo>
                  <a:lnTo>
                    <a:pt x="617" y="869"/>
                  </a:lnTo>
                  <a:lnTo>
                    <a:pt x="617" y="881"/>
                  </a:lnTo>
                  <a:lnTo>
                    <a:pt x="579" y="853"/>
                  </a:lnTo>
                  <a:lnTo>
                    <a:pt x="558" y="886"/>
                  </a:lnTo>
                  <a:lnTo>
                    <a:pt x="563" y="902"/>
                  </a:lnTo>
                  <a:lnTo>
                    <a:pt x="558" y="907"/>
                  </a:lnTo>
                  <a:lnTo>
                    <a:pt x="541" y="907"/>
                  </a:lnTo>
                  <a:lnTo>
                    <a:pt x="551" y="923"/>
                  </a:lnTo>
                  <a:lnTo>
                    <a:pt x="551" y="940"/>
                  </a:lnTo>
                  <a:lnTo>
                    <a:pt x="537" y="957"/>
                  </a:lnTo>
                  <a:lnTo>
                    <a:pt x="499" y="964"/>
                  </a:lnTo>
                  <a:lnTo>
                    <a:pt x="487" y="975"/>
                  </a:lnTo>
                  <a:lnTo>
                    <a:pt x="499" y="1001"/>
                  </a:lnTo>
                  <a:lnTo>
                    <a:pt x="487" y="1030"/>
                  </a:lnTo>
                  <a:lnTo>
                    <a:pt x="470" y="1035"/>
                  </a:lnTo>
                  <a:lnTo>
                    <a:pt x="482" y="1051"/>
                  </a:lnTo>
                  <a:lnTo>
                    <a:pt x="470" y="1075"/>
                  </a:lnTo>
                  <a:lnTo>
                    <a:pt x="449" y="1084"/>
                  </a:lnTo>
                  <a:lnTo>
                    <a:pt x="433" y="1101"/>
                  </a:lnTo>
                  <a:lnTo>
                    <a:pt x="428" y="1101"/>
                  </a:lnTo>
                  <a:lnTo>
                    <a:pt x="428" y="1091"/>
                  </a:lnTo>
                  <a:lnTo>
                    <a:pt x="416" y="1058"/>
                  </a:lnTo>
                  <a:lnTo>
                    <a:pt x="411" y="1058"/>
                  </a:lnTo>
                  <a:lnTo>
                    <a:pt x="411" y="1068"/>
                  </a:lnTo>
                  <a:lnTo>
                    <a:pt x="395" y="1058"/>
                  </a:lnTo>
                  <a:lnTo>
                    <a:pt x="395" y="1084"/>
                  </a:lnTo>
                  <a:lnTo>
                    <a:pt x="374" y="1084"/>
                  </a:lnTo>
                  <a:lnTo>
                    <a:pt x="362" y="1101"/>
                  </a:lnTo>
                  <a:lnTo>
                    <a:pt x="324" y="1075"/>
                  </a:lnTo>
                  <a:lnTo>
                    <a:pt x="310" y="1101"/>
                  </a:lnTo>
                  <a:lnTo>
                    <a:pt x="293" y="1101"/>
                  </a:lnTo>
                  <a:lnTo>
                    <a:pt x="293" y="1084"/>
                  </a:lnTo>
                  <a:lnTo>
                    <a:pt x="281" y="1075"/>
                  </a:lnTo>
                  <a:lnTo>
                    <a:pt x="281" y="1035"/>
                  </a:lnTo>
                  <a:lnTo>
                    <a:pt x="265" y="1035"/>
                  </a:lnTo>
                  <a:lnTo>
                    <a:pt x="251" y="1046"/>
                  </a:lnTo>
                  <a:lnTo>
                    <a:pt x="272" y="1013"/>
                  </a:lnTo>
                  <a:lnTo>
                    <a:pt x="251" y="1001"/>
                  </a:lnTo>
                  <a:lnTo>
                    <a:pt x="251" y="992"/>
                  </a:lnTo>
                  <a:lnTo>
                    <a:pt x="239" y="992"/>
                  </a:lnTo>
                  <a:lnTo>
                    <a:pt x="239" y="975"/>
                  </a:lnTo>
                  <a:lnTo>
                    <a:pt x="227" y="947"/>
                  </a:lnTo>
                  <a:lnTo>
                    <a:pt x="227" y="935"/>
                  </a:lnTo>
                  <a:lnTo>
                    <a:pt x="201" y="935"/>
                  </a:lnTo>
                  <a:lnTo>
                    <a:pt x="201" y="947"/>
                  </a:lnTo>
                  <a:lnTo>
                    <a:pt x="180" y="957"/>
                  </a:lnTo>
                  <a:lnTo>
                    <a:pt x="180" y="964"/>
                  </a:lnTo>
                  <a:lnTo>
                    <a:pt x="163" y="964"/>
                  </a:lnTo>
                  <a:lnTo>
                    <a:pt x="163" y="964"/>
                  </a:lnTo>
                  <a:lnTo>
                    <a:pt x="163" y="96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4" name="Freeform 508">
              <a:extLst>
                <a:ext uri="{FF2B5EF4-FFF2-40B4-BE49-F238E27FC236}">
                  <a16:creationId xmlns:a16="http://schemas.microsoft.com/office/drawing/2014/main" id="{DAE366DA-2D8F-43D9-A535-6E5E1441B2CE}"/>
                </a:ext>
              </a:extLst>
            </p:cNvPr>
            <p:cNvSpPr>
              <a:spLocks/>
            </p:cNvSpPr>
            <p:nvPr/>
          </p:nvSpPr>
          <p:spPr bwMode="gray">
            <a:xfrm>
              <a:off x="6344206" y="2950959"/>
              <a:ext cx="352801" cy="273379"/>
            </a:xfrm>
            <a:custGeom>
              <a:avLst/>
              <a:gdLst>
                <a:gd name="T0" fmla="*/ 656 w 857"/>
                <a:gd name="T1" fmla="*/ 350 h 664"/>
                <a:gd name="T2" fmla="*/ 673 w 857"/>
                <a:gd name="T3" fmla="*/ 392 h 664"/>
                <a:gd name="T4" fmla="*/ 642 w 857"/>
                <a:gd name="T5" fmla="*/ 404 h 664"/>
                <a:gd name="T6" fmla="*/ 576 w 857"/>
                <a:gd name="T7" fmla="*/ 444 h 664"/>
                <a:gd name="T8" fmla="*/ 538 w 857"/>
                <a:gd name="T9" fmla="*/ 487 h 664"/>
                <a:gd name="T10" fmla="*/ 462 w 857"/>
                <a:gd name="T11" fmla="*/ 515 h 664"/>
                <a:gd name="T12" fmla="*/ 316 w 857"/>
                <a:gd name="T13" fmla="*/ 577 h 664"/>
                <a:gd name="T14" fmla="*/ 0 w 857"/>
                <a:gd name="T15" fmla="*/ 664 h 664"/>
                <a:gd name="T16" fmla="*/ 80 w 857"/>
                <a:gd name="T17" fmla="*/ 631 h 664"/>
                <a:gd name="T18" fmla="*/ 144 w 857"/>
                <a:gd name="T19" fmla="*/ 577 h 664"/>
                <a:gd name="T20" fmla="*/ 210 w 857"/>
                <a:gd name="T21" fmla="*/ 527 h 664"/>
                <a:gd name="T22" fmla="*/ 252 w 857"/>
                <a:gd name="T23" fmla="*/ 444 h 664"/>
                <a:gd name="T24" fmla="*/ 240 w 857"/>
                <a:gd name="T25" fmla="*/ 371 h 664"/>
                <a:gd name="T26" fmla="*/ 278 w 857"/>
                <a:gd name="T27" fmla="*/ 305 h 664"/>
                <a:gd name="T28" fmla="*/ 323 w 857"/>
                <a:gd name="T29" fmla="*/ 222 h 664"/>
                <a:gd name="T30" fmla="*/ 446 w 857"/>
                <a:gd name="T31" fmla="*/ 156 h 664"/>
                <a:gd name="T32" fmla="*/ 512 w 857"/>
                <a:gd name="T33" fmla="*/ 17 h 664"/>
                <a:gd name="T34" fmla="*/ 550 w 857"/>
                <a:gd name="T35" fmla="*/ 5 h 664"/>
                <a:gd name="T36" fmla="*/ 592 w 857"/>
                <a:gd name="T37" fmla="*/ 62 h 664"/>
                <a:gd name="T38" fmla="*/ 673 w 857"/>
                <a:gd name="T39" fmla="*/ 55 h 664"/>
                <a:gd name="T40" fmla="*/ 711 w 857"/>
                <a:gd name="T41" fmla="*/ 55 h 664"/>
                <a:gd name="T42" fmla="*/ 718 w 857"/>
                <a:gd name="T43" fmla="*/ 55 h 664"/>
                <a:gd name="T44" fmla="*/ 727 w 857"/>
                <a:gd name="T45" fmla="*/ 71 h 664"/>
                <a:gd name="T46" fmla="*/ 727 w 857"/>
                <a:gd name="T47" fmla="*/ 55 h 664"/>
                <a:gd name="T48" fmla="*/ 770 w 857"/>
                <a:gd name="T49" fmla="*/ 71 h 664"/>
                <a:gd name="T50" fmla="*/ 793 w 857"/>
                <a:gd name="T51" fmla="*/ 111 h 664"/>
                <a:gd name="T52" fmla="*/ 803 w 857"/>
                <a:gd name="T53" fmla="*/ 128 h 664"/>
                <a:gd name="T54" fmla="*/ 803 w 857"/>
                <a:gd name="T55" fmla="*/ 182 h 664"/>
                <a:gd name="T56" fmla="*/ 807 w 857"/>
                <a:gd name="T57" fmla="*/ 222 h 664"/>
                <a:gd name="T58" fmla="*/ 819 w 857"/>
                <a:gd name="T59" fmla="*/ 244 h 664"/>
                <a:gd name="T60" fmla="*/ 857 w 857"/>
                <a:gd name="T61" fmla="*/ 277 h 664"/>
                <a:gd name="T62" fmla="*/ 836 w 857"/>
                <a:gd name="T63" fmla="*/ 305 h 664"/>
                <a:gd name="T64" fmla="*/ 840 w 857"/>
                <a:gd name="T65" fmla="*/ 317 h 664"/>
                <a:gd name="T66" fmla="*/ 727 w 857"/>
                <a:gd name="T67" fmla="*/ 317 h 664"/>
                <a:gd name="T68" fmla="*/ 685 w 857"/>
                <a:gd name="T69" fmla="*/ 338 h 664"/>
                <a:gd name="T70" fmla="*/ 685 w 857"/>
                <a:gd name="T71" fmla="*/ 338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7" h="664">
                  <a:moveTo>
                    <a:pt x="685" y="338"/>
                  </a:moveTo>
                  <a:lnTo>
                    <a:pt x="656" y="350"/>
                  </a:lnTo>
                  <a:lnTo>
                    <a:pt x="656" y="388"/>
                  </a:lnTo>
                  <a:lnTo>
                    <a:pt x="673" y="392"/>
                  </a:lnTo>
                  <a:lnTo>
                    <a:pt x="673" y="404"/>
                  </a:lnTo>
                  <a:lnTo>
                    <a:pt x="642" y="404"/>
                  </a:lnTo>
                  <a:lnTo>
                    <a:pt x="618" y="428"/>
                  </a:lnTo>
                  <a:lnTo>
                    <a:pt x="576" y="444"/>
                  </a:lnTo>
                  <a:lnTo>
                    <a:pt x="555" y="470"/>
                  </a:lnTo>
                  <a:lnTo>
                    <a:pt x="538" y="487"/>
                  </a:lnTo>
                  <a:lnTo>
                    <a:pt x="479" y="499"/>
                  </a:lnTo>
                  <a:lnTo>
                    <a:pt x="462" y="515"/>
                  </a:lnTo>
                  <a:lnTo>
                    <a:pt x="425" y="503"/>
                  </a:lnTo>
                  <a:lnTo>
                    <a:pt x="316" y="577"/>
                  </a:lnTo>
                  <a:lnTo>
                    <a:pt x="316" y="664"/>
                  </a:lnTo>
                  <a:lnTo>
                    <a:pt x="0" y="664"/>
                  </a:lnTo>
                  <a:lnTo>
                    <a:pt x="25" y="638"/>
                  </a:lnTo>
                  <a:lnTo>
                    <a:pt x="80" y="631"/>
                  </a:lnTo>
                  <a:lnTo>
                    <a:pt x="118" y="610"/>
                  </a:lnTo>
                  <a:lnTo>
                    <a:pt x="144" y="577"/>
                  </a:lnTo>
                  <a:lnTo>
                    <a:pt x="188" y="560"/>
                  </a:lnTo>
                  <a:lnTo>
                    <a:pt x="210" y="527"/>
                  </a:lnTo>
                  <a:lnTo>
                    <a:pt x="248" y="466"/>
                  </a:lnTo>
                  <a:lnTo>
                    <a:pt x="252" y="444"/>
                  </a:lnTo>
                  <a:lnTo>
                    <a:pt x="240" y="428"/>
                  </a:lnTo>
                  <a:lnTo>
                    <a:pt x="240" y="371"/>
                  </a:lnTo>
                  <a:lnTo>
                    <a:pt x="248" y="338"/>
                  </a:lnTo>
                  <a:lnTo>
                    <a:pt x="278" y="305"/>
                  </a:lnTo>
                  <a:lnTo>
                    <a:pt x="278" y="277"/>
                  </a:lnTo>
                  <a:lnTo>
                    <a:pt x="323" y="222"/>
                  </a:lnTo>
                  <a:lnTo>
                    <a:pt x="403" y="189"/>
                  </a:lnTo>
                  <a:lnTo>
                    <a:pt x="446" y="156"/>
                  </a:lnTo>
                  <a:lnTo>
                    <a:pt x="484" y="95"/>
                  </a:lnTo>
                  <a:lnTo>
                    <a:pt x="512" y="17"/>
                  </a:lnTo>
                  <a:lnTo>
                    <a:pt x="550" y="0"/>
                  </a:lnTo>
                  <a:lnTo>
                    <a:pt x="550" y="5"/>
                  </a:lnTo>
                  <a:lnTo>
                    <a:pt x="555" y="29"/>
                  </a:lnTo>
                  <a:lnTo>
                    <a:pt x="592" y="62"/>
                  </a:lnTo>
                  <a:lnTo>
                    <a:pt x="618" y="62"/>
                  </a:lnTo>
                  <a:lnTo>
                    <a:pt x="673" y="55"/>
                  </a:lnTo>
                  <a:lnTo>
                    <a:pt x="694" y="62"/>
                  </a:lnTo>
                  <a:lnTo>
                    <a:pt x="711" y="55"/>
                  </a:lnTo>
                  <a:lnTo>
                    <a:pt x="718" y="45"/>
                  </a:lnTo>
                  <a:lnTo>
                    <a:pt x="718" y="55"/>
                  </a:lnTo>
                  <a:lnTo>
                    <a:pt x="718" y="55"/>
                  </a:lnTo>
                  <a:lnTo>
                    <a:pt x="727" y="71"/>
                  </a:lnTo>
                  <a:lnTo>
                    <a:pt x="732" y="71"/>
                  </a:lnTo>
                  <a:lnTo>
                    <a:pt x="727" y="55"/>
                  </a:lnTo>
                  <a:lnTo>
                    <a:pt x="739" y="71"/>
                  </a:lnTo>
                  <a:lnTo>
                    <a:pt x="770" y="71"/>
                  </a:lnTo>
                  <a:lnTo>
                    <a:pt x="803" y="99"/>
                  </a:lnTo>
                  <a:lnTo>
                    <a:pt x="793" y="111"/>
                  </a:lnTo>
                  <a:lnTo>
                    <a:pt x="807" y="116"/>
                  </a:lnTo>
                  <a:lnTo>
                    <a:pt x="803" y="128"/>
                  </a:lnTo>
                  <a:lnTo>
                    <a:pt x="807" y="149"/>
                  </a:lnTo>
                  <a:lnTo>
                    <a:pt x="803" y="182"/>
                  </a:lnTo>
                  <a:lnTo>
                    <a:pt x="807" y="189"/>
                  </a:lnTo>
                  <a:lnTo>
                    <a:pt x="807" y="222"/>
                  </a:lnTo>
                  <a:lnTo>
                    <a:pt x="824" y="239"/>
                  </a:lnTo>
                  <a:lnTo>
                    <a:pt x="819" y="244"/>
                  </a:lnTo>
                  <a:lnTo>
                    <a:pt x="824" y="260"/>
                  </a:lnTo>
                  <a:lnTo>
                    <a:pt x="857" y="277"/>
                  </a:lnTo>
                  <a:lnTo>
                    <a:pt x="840" y="293"/>
                  </a:lnTo>
                  <a:lnTo>
                    <a:pt x="836" y="305"/>
                  </a:lnTo>
                  <a:lnTo>
                    <a:pt x="840" y="305"/>
                  </a:lnTo>
                  <a:lnTo>
                    <a:pt x="840" y="317"/>
                  </a:lnTo>
                  <a:lnTo>
                    <a:pt x="765" y="305"/>
                  </a:lnTo>
                  <a:lnTo>
                    <a:pt x="727" y="317"/>
                  </a:lnTo>
                  <a:lnTo>
                    <a:pt x="718" y="333"/>
                  </a:lnTo>
                  <a:lnTo>
                    <a:pt x="685" y="338"/>
                  </a:lnTo>
                  <a:lnTo>
                    <a:pt x="685" y="338"/>
                  </a:lnTo>
                  <a:lnTo>
                    <a:pt x="685" y="33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5" name="Freeform 509">
              <a:extLst>
                <a:ext uri="{FF2B5EF4-FFF2-40B4-BE49-F238E27FC236}">
                  <a16:creationId xmlns:a16="http://schemas.microsoft.com/office/drawing/2014/main" id="{E41B2AE9-D953-4344-BD21-2040BA0785C0}"/>
                </a:ext>
              </a:extLst>
            </p:cNvPr>
            <p:cNvSpPr>
              <a:spLocks/>
            </p:cNvSpPr>
            <p:nvPr/>
          </p:nvSpPr>
          <p:spPr bwMode="gray">
            <a:xfrm>
              <a:off x="8380326" y="4666579"/>
              <a:ext cx="12762" cy="17704"/>
            </a:xfrm>
            <a:custGeom>
              <a:avLst/>
              <a:gdLst>
                <a:gd name="T0" fmla="*/ 16 w 31"/>
                <a:gd name="T1" fmla="*/ 43 h 43"/>
                <a:gd name="T2" fmla="*/ 0 w 31"/>
                <a:gd name="T3" fmla="*/ 31 h 43"/>
                <a:gd name="T4" fmla="*/ 9 w 31"/>
                <a:gd name="T5" fmla="*/ 17 h 43"/>
                <a:gd name="T6" fmla="*/ 21 w 31"/>
                <a:gd name="T7" fmla="*/ 0 h 43"/>
                <a:gd name="T8" fmla="*/ 31 w 31"/>
                <a:gd name="T9" fmla="*/ 26 h 43"/>
                <a:gd name="T10" fmla="*/ 21 w 31"/>
                <a:gd name="T11" fmla="*/ 31 h 43"/>
                <a:gd name="T12" fmla="*/ 16 w 31"/>
                <a:gd name="T13" fmla="*/ 43 h 43"/>
                <a:gd name="T14" fmla="*/ 16 w 31"/>
                <a:gd name="T15" fmla="*/ 43 h 43"/>
                <a:gd name="T16" fmla="*/ 16 w 31"/>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43">
                  <a:moveTo>
                    <a:pt x="16" y="43"/>
                  </a:moveTo>
                  <a:lnTo>
                    <a:pt x="0" y="31"/>
                  </a:lnTo>
                  <a:lnTo>
                    <a:pt x="9" y="17"/>
                  </a:lnTo>
                  <a:lnTo>
                    <a:pt x="21" y="0"/>
                  </a:lnTo>
                  <a:lnTo>
                    <a:pt x="31" y="26"/>
                  </a:lnTo>
                  <a:lnTo>
                    <a:pt x="21" y="31"/>
                  </a:lnTo>
                  <a:lnTo>
                    <a:pt x="16" y="43"/>
                  </a:lnTo>
                  <a:lnTo>
                    <a:pt x="16" y="43"/>
                  </a:lnTo>
                  <a:lnTo>
                    <a:pt x="16" y="4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6" name="Freeform 510">
              <a:extLst>
                <a:ext uri="{FF2B5EF4-FFF2-40B4-BE49-F238E27FC236}">
                  <a16:creationId xmlns:a16="http://schemas.microsoft.com/office/drawing/2014/main" id="{BDA1364A-06B0-4D02-8CCF-5B958E006FB5}"/>
                </a:ext>
              </a:extLst>
            </p:cNvPr>
            <p:cNvSpPr>
              <a:spLocks noEditPoints="1"/>
            </p:cNvSpPr>
            <p:nvPr/>
          </p:nvSpPr>
          <p:spPr bwMode="gray">
            <a:xfrm>
              <a:off x="6232232" y="3235043"/>
              <a:ext cx="352801" cy="392777"/>
            </a:xfrm>
            <a:custGeom>
              <a:avLst/>
              <a:gdLst>
                <a:gd name="T0" fmla="*/ 805 w 857"/>
                <a:gd name="T1" fmla="*/ 815 h 954"/>
                <a:gd name="T2" fmla="*/ 810 w 857"/>
                <a:gd name="T3" fmla="*/ 898 h 954"/>
                <a:gd name="T4" fmla="*/ 541 w 857"/>
                <a:gd name="T5" fmla="*/ 881 h 954"/>
                <a:gd name="T6" fmla="*/ 534 w 857"/>
                <a:gd name="T7" fmla="*/ 898 h 954"/>
                <a:gd name="T8" fmla="*/ 449 w 857"/>
                <a:gd name="T9" fmla="*/ 898 h 954"/>
                <a:gd name="T10" fmla="*/ 394 w 857"/>
                <a:gd name="T11" fmla="*/ 881 h 954"/>
                <a:gd name="T12" fmla="*/ 361 w 857"/>
                <a:gd name="T13" fmla="*/ 942 h 954"/>
                <a:gd name="T14" fmla="*/ 340 w 857"/>
                <a:gd name="T15" fmla="*/ 942 h 954"/>
                <a:gd name="T16" fmla="*/ 297 w 857"/>
                <a:gd name="T17" fmla="*/ 909 h 954"/>
                <a:gd name="T18" fmla="*/ 286 w 857"/>
                <a:gd name="T19" fmla="*/ 898 h 954"/>
                <a:gd name="T20" fmla="*/ 269 w 857"/>
                <a:gd name="T21" fmla="*/ 881 h 954"/>
                <a:gd name="T22" fmla="*/ 248 w 857"/>
                <a:gd name="T23" fmla="*/ 848 h 954"/>
                <a:gd name="T24" fmla="*/ 231 w 857"/>
                <a:gd name="T25" fmla="*/ 843 h 954"/>
                <a:gd name="T26" fmla="*/ 194 w 857"/>
                <a:gd name="T27" fmla="*/ 810 h 954"/>
                <a:gd name="T28" fmla="*/ 104 w 857"/>
                <a:gd name="T29" fmla="*/ 815 h 954"/>
                <a:gd name="T30" fmla="*/ 38 w 857"/>
                <a:gd name="T31" fmla="*/ 848 h 954"/>
                <a:gd name="T32" fmla="*/ 71 w 857"/>
                <a:gd name="T33" fmla="*/ 732 h 954"/>
                <a:gd name="T34" fmla="*/ 66 w 857"/>
                <a:gd name="T35" fmla="*/ 643 h 954"/>
                <a:gd name="T36" fmla="*/ 54 w 857"/>
                <a:gd name="T37" fmla="*/ 593 h 954"/>
                <a:gd name="T38" fmla="*/ 54 w 857"/>
                <a:gd name="T39" fmla="*/ 572 h 954"/>
                <a:gd name="T40" fmla="*/ 38 w 857"/>
                <a:gd name="T41" fmla="*/ 510 h 954"/>
                <a:gd name="T42" fmla="*/ 33 w 857"/>
                <a:gd name="T43" fmla="*/ 510 h 954"/>
                <a:gd name="T44" fmla="*/ 0 w 857"/>
                <a:gd name="T45" fmla="*/ 498 h 954"/>
                <a:gd name="T46" fmla="*/ 194 w 857"/>
                <a:gd name="T47" fmla="*/ 461 h 954"/>
                <a:gd name="T48" fmla="*/ 281 w 857"/>
                <a:gd name="T49" fmla="*/ 338 h 954"/>
                <a:gd name="T50" fmla="*/ 357 w 857"/>
                <a:gd name="T51" fmla="*/ 300 h 954"/>
                <a:gd name="T52" fmla="*/ 588 w 857"/>
                <a:gd name="T53" fmla="*/ 106 h 954"/>
                <a:gd name="T54" fmla="*/ 857 w 857"/>
                <a:gd name="T55" fmla="*/ 184 h 954"/>
                <a:gd name="T56" fmla="*/ 751 w 857"/>
                <a:gd name="T57" fmla="*/ 333 h 954"/>
                <a:gd name="T58" fmla="*/ 751 w 857"/>
                <a:gd name="T59" fmla="*/ 333 h 954"/>
                <a:gd name="T60" fmla="*/ 38 w 857"/>
                <a:gd name="T61" fmla="*/ 576 h 954"/>
                <a:gd name="T62" fmla="*/ 49 w 857"/>
                <a:gd name="T63" fmla="*/ 588 h 954"/>
                <a:gd name="T64" fmla="*/ 49 w 857"/>
                <a:gd name="T65" fmla="*/ 58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7" h="954">
                  <a:moveTo>
                    <a:pt x="751" y="333"/>
                  </a:moveTo>
                  <a:lnTo>
                    <a:pt x="805" y="815"/>
                  </a:lnTo>
                  <a:lnTo>
                    <a:pt x="827" y="831"/>
                  </a:lnTo>
                  <a:lnTo>
                    <a:pt x="810" y="898"/>
                  </a:lnTo>
                  <a:lnTo>
                    <a:pt x="541" y="898"/>
                  </a:lnTo>
                  <a:lnTo>
                    <a:pt x="541" y="881"/>
                  </a:lnTo>
                  <a:lnTo>
                    <a:pt x="534" y="886"/>
                  </a:lnTo>
                  <a:lnTo>
                    <a:pt x="534" y="898"/>
                  </a:lnTo>
                  <a:lnTo>
                    <a:pt x="496" y="902"/>
                  </a:lnTo>
                  <a:lnTo>
                    <a:pt x="449" y="898"/>
                  </a:lnTo>
                  <a:lnTo>
                    <a:pt x="432" y="921"/>
                  </a:lnTo>
                  <a:lnTo>
                    <a:pt x="394" y="881"/>
                  </a:lnTo>
                  <a:lnTo>
                    <a:pt x="378" y="886"/>
                  </a:lnTo>
                  <a:lnTo>
                    <a:pt x="361" y="942"/>
                  </a:lnTo>
                  <a:lnTo>
                    <a:pt x="352" y="954"/>
                  </a:lnTo>
                  <a:lnTo>
                    <a:pt x="340" y="942"/>
                  </a:lnTo>
                  <a:lnTo>
                    <a:pt x="319" y="926"/>
                  </a:lnTo>
                  <a:lnTo>
                    <a:pt x="297" y="909"/>
                  </a:lnTo>
                  <a:lnTo>
                    <a:pt x="297" y="902"/>
                  </a:lnTo>
                  <a:lnTo>
                    <a:pt x="286" y="898"/>
                  </a:lnTo>
                  <a:lnTo>
                    <a:pt x="281" y="898"/>
                  </a:lnTo>
                  <a:lnTo>
                    <a:pt x="269" y="881"/>
                  </a:lnTo>
                  <a:lnTo>
                    <a:pt x="255" y="848"/>
                  </a:lnTo>
                  <a:lnTo>
                    <a:pt x="248" y="848"/>
                  </a:lnTo>
                  <a:lnTo>
                    <a:pt x="243" y="848"/>
                  </a:lnTo>
                  <a:lnTo>
                    <a:pt x="231" y="843"/>
                  </a:lnTo>
                  <a:lnTo>
                    <a:pt x="227" y="848"/>
                  </a:lnTo>
                  <a:lnTo>
                    <a:pt x="194" y="810"/>
                  </a:lnTo>
                  <a:lnTo>
                    <a:pt x="146" y="798"/>
                  </a:lnTo>
                  <a:lnTo>
                    <a:pt x="104" y="815"/>
                  </a:lnTo>
                  <a:lnTo>
                    <a:pt x="54" y="815"/>
                  </a:lnTo>
                  <a:lnTo>
                    <a:pt x="38" y="848"/>
                  </a:lnTo>
                  <a:lnTo>
                    <a:pt x="38" y="810"/>
                  </a:lnTo>
                  <a:lnTo>
                    <a:pt x="71" y="732"/>
                  </a:lnTo>
                  <a:lnTo>
                    <a:pt x="71" y="676"/>
                  </a:lnTo>
                  <a:lnTo>
                    <a:pt x="66" y="643"/>
                  </a:lnTo>
                  <a:lnTo>
                    <a:pt x="38" y="605"/>
                  </a:lnTo>
                  <a:lnTo>
                    <a:pt x="54" y="593"/>
                  </a:lnTo>
                  <a:lnTo>
                    <a:pt x="38" y="605"/>
                  </a:lnTo>
                  <a:lnTo>
                    <a:pt x="54" y="572"/>
                  </a:lnTo>
                  <a:lnTo>
                    <a:pt x="66" y="539"/>
                  </a:lnTo>
                  <a:lnTo>
                    <a:pt x="38" y="510"/>
                  </a:lnTo>
                  <a:lnTo>
                    <a:pt x="38" y="515"/>
                  </a:lnTo>
                  <a:lnTo>
                    <a:pt x="33" y="510"/>
                  </a:lnTo>
                  <a:lnTo>
                    <a:pt x="12" y="465"/>
                  </a:lnTo>
                  <a:lnTo>
                    <a:pt x="0" y="498"/>
                  </a:lnTo>
                  <a:lnTo>
                    <a:pt x="12" y="461"/>
                  </a:lnTo>
                  <a:lnTo>
                    <a:pt x="194" y="461"/>
                  </a:lnTo>
                  <a:lnTo>
                    <a:pt x="286" y="461"/>
                  </a:lnTo>
                  <a:lnTo>
                    <a:pt x="281" y="338"/>
                  </a:lnTo>
                  <a:lnTo>
                    <a:pt x="319" y="312"/>
                  </a:lnTo>
                  <a:lnTo>
                    <a:pt x="357" y="300"/>
                  </a:lnTo>
                  <a:lnTo>
                    <a:pt x="357" y="106"/>
                  </a:lnTo>
                  <a:lnTo>
                    <a:pt x="588" y="106"/>
                  </a:lnTo>
                  <a:lnTo>
                    <a:pt x="588" y="0"/>
                  </a:lnTo>
                  <a:lnTo>
                    <a:pt x="857" y="184"/>
                  </a:lnTo>
                  <a:lnTo>
                    <a:pt x="734" y="184"/>
                  </a:lnTo>
                  <a:lnTo>
                    <a:pt x="751" y="333"/>
                  </a:lnTo>
                  <a:lnTo>
                    <a:pt x="751" y="333"/>
                  </a:lnTo>
                  <a:lnTo>
                    <a:pt x="751" y="333"/>
                  </a:lnTo>
                  <a:close/>
                  <a:moveTo>
                    <a:pt x="49" y="588"/>
                  </a:moveTo>
                  <a:lnTo>
                    <a:pt x="38" y="576"/>
                  </a:lnTo>
                  <a:lnTo>
                    <a:pt x="49" y="572"/>
                  </a:lnTo>
                  <a:lnTo>
                    <a:pt x="49" y="588"/>
                  </a:lnTo>
                  <a:lnTo>
                    <a:pt x="49" y="588"/>
                  </a:lnTo>
                  <a:lnTo>
                    <a:pt x="49" y="58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8" name="Freeform 512">
              <a:extLst>
                <a:ext uri="{FF2B5EF4-FFF2-40B4-BE49-F238E27FC236}">
                  <a16:creationId xmlns:a16="http://schemas.microsoft.com/office/drawing/2014/main" id="{9AB907F2-2C88-4177-B3D1-B305745F7F65}"/>
                </a:ext>
              </a:extLst>
            </p:cNvPr>
            <p:cNvSpPr>
              <a:spLocks noEditPoints="1"/>
            </p:cNvSpPr>
            <p:nvPr/>
          </p:nvSpPr>
          <p:spPr bwMode="gray">
            <a:xfrm>
              <a:off x="8228420" y="3263451"/>
              <a:ext cx="224772" cy="304258"/>
            </a:xfrm>
            <a:custGeom>
              <a:avLst/>
              <a:gdLst>
                <a:gd name="T0" fmla="*/ 282 w 546"/>
                <a:gd name="T1" fmla="*/ 56 h 739"/>
                <a:gd name="T2" fmla="*/ 282 w 546"/>
                <a:gd name="T3" fmla="*/ 23 h 739"/>
                <a:gd name="T4" fmla="*/ 307 w 546"/>
                <a:gd name="T5" fmla="*/ 16 h 739"/>
                <a:gd name="T6" fmla="*/ 298 w 546"/>
                <a:gd name="T7" fmla="*/ 0 h 739"/>
                <a:gd name="T8" fmla="*/ 307 w 546"/>
                <a:gd name="T9" fmla="*/ 7 h 739"/>
                <a:gd name="T10" fmla="*/ 298 w 546"/>
                <a:gd name="T11" fmla="*/ 16 h 739"/>
                <a:gd name="T12" fmla="*/ 298 w 546"/>
                <a:gd name="T13" fmla="*/ 56 h 739"/>
                <a:gd name="T14" fmla="*/ 298 w 546"/>
                <a:gd name="T15" fmla="*/ 56 h 739"/>
                <a:gd name="T16" fmla="*/ 0 w 546"/>
                <a:gd name="T17" fmla="*/ 562 h 739"/>
                <a:gd name="T18" fmla="*/ 253 w 546"/>
                <a:gd name="T19" fmla="*/ 333 h 739"/>
                <a:gd name="T20" fmla="*/ 222 w 546"/>
                <a:gd name="T21" fmla="*/ 255 h 739"/>
                <a:gd name="T22" fmla="*/ 244 w 546"/>
                <a:gd name="T23" fmla="*/ 184 h 739"/>
                <a:gd name="T24" fmla="*/ 274 w 546"/>
                <a:gd name="T25" fmla="*/ 167 h 739"/>
                <a:gd name="T26" fmla="*/ 260 w 546"/>
                <a:gd name="T27" fmla="*/ 118 h 739"/>
                <a:gd name="T28" fmla="*/ 282 w 546"/>
                <a:gd name="T29" fmla="*/ 118 h 739"/>
                <a:gd name="T30" fmla="*/ 282 w 546"/>
                <a:gd name="T31" fmla="*/ 127 h 739"/>
                <a:gd name="T32" fmla="*/ 298 w 546"/>
                <a:gd name="T33" fmla="*/ 111 h 739"/>
                <a:gd name="T34" fmla="*/ 362 w 546"/>
                <a:gd name="T35" fmla="*/ 188 h 739"/>
                <a:gd name="T36" fmla="*/ 459 w 546"/>
                <a:gd name="T37" fmla="*/ 212 h 739"/>
                <a:gd name="T38" fmla="*/ 546 w 546"/>
                <a:gd name="T39" fmla="*/ 295 h 739"/>
                <a:gd name="T40" fmla="*/ 513 w 546"/>
                <a:gd name="T41" fmla="*/ 382 h 739"/>
                <a:gd name="T42" fmla="*/ 454 w 546"/>
                <a:gd name="T43" fmla="*/ 451 h 739"/>
                <a:gd name="T44" fmla="*/ 437 w 546"/>
                <a:gd name="T45" fmla="*/ 444 h 739"/>
                <a:gd name="T46" fmla="*/ 404 w 546"/>
                <a:gd name="T47" fmla="*/ 467 h 739"/>
                <a:gd name="T48" fmla="*/ 404 w 546"/>
                <a:gd name="T49" fmla="*/ 562 h 739"/>
                <a:gd name="T50" fmla="*/ 329 w 546"/>
                <a:gd name="T51" fmla="*/ 578 h 739"/>
                <a:gd name="T52" fmla="*/ 312 w 546"/>
                <a:gd name="T53" fmla="*/ 628 h 739"/>
                <a:gd name="T54" fmla="*/ 237 w 546"/>
                <a:gd name="T55" fmla="*/ 649 h 739"/>
                <a:gd name="T56" fmla="*/ 227 w 546"/>
                <a:gd name="T57" fmla="*/ 682 h 739"/>
                <a:gd name="T58" fmla="*/ 189 w 546"/>
                <a:gd name="T59" fmla="*/ 715 h 739"/>
                <a:gd name="T60" fmla="*/ 147 w 546"/>
                <a:gd name="T61" fmla="*/ 706 h 739"/>
                <a:gd name="T62" fmla="*/ 76 w 546"/>
                <a:gd name="T63" fmla="*/ 739 h 739"/>
                <a:gd name="T64" fmla="*/ 76 w 546"/>
                <a:gd name="T65" fmla="*/ 739 h 739"/>
                <a:gd name="T66" fmla="*/ 459 w 546"/>
                <a:gd name="T67" fmla="*/ 460 h 739"/>
                <a:gd name="T68" fmla="*/ 487 w 546"/>
                <a:gd name="T69" fmla="*/ 451 h 739"/>
                <a:gd name="T70" fmla="*/ 459 w 546"/>
                <a:gd name="T71" fmla="*/ 477 h 739"/>
                <a:gd name="T72" fmla="*/ 274 w 546"/>
                <a:gd name="T73" fmla="*/ 673 h 739"/>
                <a:gd name="T74" fmla="*/ 282 w 546"/>
                <a:gd name="T75" fmla="*/ 673 h 739"/>
                <a:gd name="T76" fmla="*/ 274 w 546"/>
                <a:gd name="T77" fmla="*/ 673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6" h="739">
                  <a:moveTo>
                    <a:pt x="298" y="56"/>
                  </a:moveTo>
                  <a:lnTo>
                    <a:pt x="282" y="56"/>
                  </a:lnTo>
                  <a:lnTo>
                    <a:pt x="291" y="33"/>
                  </a:lnTo>
                  <a:lnTo>
                    <a:pt x="282" y="23"/>
                  </a:lnTo>
                  <a:lnTo>
                    <a:pt x="291" y="7"/>
                  </a:lnTo>
                  <a:lnTo>
                    <a:pt x="307" y="16"/>
                  </a:lnTo>
                  <a:lnTo>
                    <a:pt x="298" y="16"/>
                  </a:lnTo>
                  <a:lnTo>
                    <a:pt x="298" y="0"/>
                  </a:lnTo>
                  <a:lnTo>
                    <a:pt x="312" y="0"/>
                  </a:lnTo>
                  <a:lnTo>
                    <a:pt x="307" y="7"/>
                  </a:lnTo>
                  <a:lnTo>
                    <a:pt x="307" y="16"/>
                  </a:lnTo>
                  <a:lnTo>
                    <a:pt x="298" y="16"/>
                  </a:lnTo>
                  <a:lnTo>
                    <a:pt x="307" y="23"/>
                  </a:lnTo>
                  <a:lnTo>
                    <a:pt x="298" y="56"/>
                  </a:lnTo>
                  <a:lnTo>
                    <a:pt x="298" y="56"/>
                  </a:lnTo>
                  <a:lnTo>
                    <a:pt x="298" y="56"/>
                  </a:lnTo>
                  <a:close/>
                  <a:moveTo>
                    <a:pt x="76" y="739"/>
                  </a:moveTo>
                  <a:lnTo>
                    <a:pt x="0" y="562"/>
                  </a:lnTo>
                  <a:lnTo>
                    <a:pt x="206" y="484"/>
                  </a:lnTo>
                  <a:lnTo>
                    <a:pt x="253" y="333"/>
                  </a:lnTo>
                  <a:lnTo>
                    <a:pt x="222" y="283"/>
                  </a:lnTo>
                  <a:lnTo>
                    <a:pt x="222" y="255"/>
                  </a:lnTo>
                  <a:lnTo>
                    <a:pt x="244" y="200"/>
                  </a:lnTo>
                  <a:lnTo>
                    <a:pt x="244" y="184"/>
                  </a:lnTo>
                  <a:lnTo>
                    <a:pt x="274" y="172"/>
                  </a:lnTo>
                  <a:lnTo>
                    <a:pt x="274" y="167"/>
                  </a:lnTo>
                  <a:lnTo>
                    <a:pt x="260" y="167"/>
                  </a:lnTo>
                  <a:lnTo>
                    <a:pt x="260" y="118"/>
                  </a:lnTo>
                  <a:lnTo>
                    <a:pt x="274" y="111"/>
                  </a:lnTo>
                  <a:lnTo>
                    <a:pt x="282" y="118"/>
                  </a:lnTo>
                  <a:lnTo>
                    <a:pt x="274" y="118"/>
                  </a:lnTo>
                  <a:lnTo>
                    <a:pt x="282" y="127"/>
                  </a:lnTo>
                  <a:lnTo>
                    <a:pt x="298" y="118"/>
                  </a:lnTo>
                  <a:lnTo>
                    <a:pt x="298" y="111"/>
                  </a:lnTo>
                  <a:lnTo>
                    <a:pt x="324" y="151"/>
                  </a:lnTo>
                  <a:lnTo>
                    <a:pt x="362" y="188"/>
                  </a:lnTo>
                  <a:lnTo>
                    <a:pt x="437" y="212"/>
                  </a:lnTo>
                  <a:lnTo>
                    <a:pt x="459" y="212"/>
                  </a:lnTo>
                  <a:lnTo>
                    <a:pt x="513" y="283"/>
                  </a:lnTo>
                  <a:lnTo>
                    <a:pt x="546" y="295"/>
                  </a:lnTo>
                  <a:lnTo>
                    <a:pt x="546" y="316"/>
                  </a:lnTo>
                  <a:lnTo>
                    <a:pt x="513" y="382"/>
                  </a:lnTo>
                  <a:lnTo>
                    <a:pt x="475" y="411"/>
                  </a:lnTo>
                  <a:lnTo>
                    <a:pt x="454" y="451"/>
                  </a:lnTo>
                  <a:lnTo>
                    <a:pt x="433" y="460"/>
                  </a:lnTo>
                  <a:lnTo>
                    <a:pt x="437" y="444"/>
                  </a:lnTo>
                  <a:lnTo>
                    <a:pt x="433" y="444"/>
                  </a:lnTo>
                  <a:lnTo>
                    <a:pt x="404" y="467"/>
                  </a:lnTo>
                  <a:lnTo>
                    <a:pt x="388" y="505"/>
                  </a:lnTo>
                  <a:lnTo>
                    <a:pt x="404" y="562"/>
                  </a:lnTo>
                  <a:lnTo>
                    <a:pt x="362" y="571"/>
                  </a:lnTo>
                  <a:lnTo>
                    <a:pt x="329" y="578"/>
                  </a:lnTo>
                  <a:lnTo>
                    <a:pt x="324" y="595"/>
                  </a:lnTo>
                  <a:lnTo>
                    <a:pt x="312" y="628"/>
                  </a:lnTo>
                  <a:lnTo>
                    <a:pt x="298" y="644"/>
                  </a:lnTo>
                  <a:lnTo>
                    <a:pt x="237" y="649"/>
                  </a:lnTo>
                  <a:lnTo>
                    <a:pt x="222" y="673"/>
                  </a:lnTo>
                  <a:lnTo>
                    <a:pt x="227" y="682"/>
                  </a:lnTo>
                  <a:lnTo>
                    <a:pt x="206" y="706"/>
                  </a:lnTo>
                  <a:lnTo>
                    <a:pt x="189" y="715"/>
                  </a:lnTo>
                  <a:lnTo>
                    <a:pt x="173" y="706"/>
                  </a:lnTo>
                  <a:lnTo>
                    <a:pt x="147" y="706"/>
                  </a:lnTo>
                  <a:lnTo>
                    <a:pt x="109" y="727"/>
                  </a:lnTo>
                  <a:lnTo>
                    <a:pt x="76" y="739"/>
                  </a:lnTo>
                  <a:lnTo>
                    <a:pt x="76" y="739"/>
                  </a:lnTo>
                  <a:lnTo>
                    <a:pt x="76" y="739"/>
                  </a:lnTo>
                  <a:close/>
                  <a:moveTo>
                    <a:pt x="459" y="477"/>
                  </a:moveTo>
                  <a:lnTo>
                    <a:pt x="459" y="460"/>
                  </a:lnTo>
                  <a:lnTo>
                    <a:pt x="487" y="439"/>
                  </a:lnTo>
                  <a:lnTo>
                    <a:pt x="487" y="451"/>
                  </a:lnTo>
                  <a:lnTo>
                    <a:pt x="459" y="477"/>
                  </a:lnTo>
                  <a:lnTo>
                    <a:pt x="459" y="477"/>
                  </a:lnTo>
                  <a:lnTo>
                    <a:pt x="459" y="477"/>
                  </a:lnTo>
                  <a:close/>
                  <a:moveTo>
                    <a:pt x="274" y="673"/>
                  </a:moveTo>
                  <a:lnTo>
                    <a:pt x="274" y="673"/>
                  </a:lnTo>
                  <a:lnTo>
                    <a:pt x="282" y="673"/>
                  </a:lnTo>
                  <a:lnTo>
                    <a:pt x="274" y="673"/>
                  </a:lnTo>
                  <a:lnTo>
                    <a:pt x="274" y="673"/>
                  </a:lnTo>
                  <a:lnTo>
                    <a:pt x="274" y="67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2" name="Freeform 516">
              <a:extLst>
                <a:ext uri="{FF2B5EF4-FFF2-40B4-BE49-F238E27FC236}">
                  <a16:creationId xmlns:a16="http://schemas.microsoft.com/office/drawing/2014/main" id="{B970D0DD-62CA-455C-94D6-81CB5FED3E67}"/>
                </a:ext>
              </a:extLst>
            </p:cNvPr>
            <p:cNvSpPr>
              <a:spLocks noEditPoints="1"/>
            </p:cNvSpPr>
            <p:nvPr/>
          </p:nvSpPr>
          <p:spPr bwMode="gray">
            <a:xfrm>
              <a:off x="7599388" y="4376731"/>
              <a:ext cx="306283" cy="504764"/>
            </a:xfrm>
            <a:custGeom>
              <a:avLst/>
              <a:gdLst>
                <a:gd name="T0" fmla="*/ 206 w 744"/>
                <a:gd name="T1" fmla="*/ 260 h 1226"/>
                <a:gd name="T2" fmla="*/ 298 w 744"/>
                <a:gd name="T3" fmla="*/ 305 h 1226"/>
                <a:gd name="T4" fmla="*/ 293 w 744"/>
                <a:gd name="T5" fmla="*/ 414 h 1226"/>
                <a:gd name="T6" fmla="*/ 331 w 744"/>
                <a:gd name="T7" fmla="*/ 470 h 1226"/>
                <a:gd name="T8" fmla="*/ 352 w 744"/>
                <a:gd name="T9" fmla="*/ 491 h 1226"/>
                <a:gd name="T10" fmla="*/ 364 w 744"/>
                <a:gd name="T11" fmla="*/ 414 h 1226"/>
                <a:gd name="T12" fmla="*/ 397 w 744"/>
                <a:gd name="T13" fmla="*/ 364 h 1226"/>
                <a:gd name="T14" fmla="*/ 397 w 744"/>
                <a:gd name="T15" fmla="*/ 310 h 1226"/>
                <a:gd name="T16" fmla="*/ 310 w 744"/>
                <a:gd name="T17" fmla="*/ 220 h 1226"/>
                <a:gd name="T18" fmla="*/ 293 w 744"/>
                <a:gd name="T19" fmla="*/ 128 h 1226"/>
                <a:gd name="T20" fmla="*/ 331 w 744"/>
                <a:gd name="T21" fmla="*/ 83 h 1226"/>
                <a:gd name="T22" fmla="*/ 418 w 744"/>
                <a:gd name="T23" fmla="*/ 83 h 1226"/>
                <a:gd name="T24" fmla="*/ 461 w 744"/>
                <a:gd name="T25" fmla="*/ 83 h 1226"/>
                <a:gd name="T26" fmla="*/ 543 w 744"/>
                <a:gd name="T27" fmla="*/ 66 h 1226"/>
                <a:gd name="T28" fmla="*/ 612 w 744"/>
                <a:gd name="T29" fmla="*/ 54 h 1226"/>
                <a:gd name="T30" fmla="*/ 721 w 744"/>
                <a:gd name="T31" fmla="*/ 0 h 1226"/>
                <a:gd name="T32" fmla="*/ 728 w 744"/>
                <a:gd name="T33" fmla="*/ 33 h 1226"/>
                <a:gd name="T34" fmla="*/ 728 w 744"/>
                <a:gd name="T35" fmla="*/ 38 h 1226"/>
                <a:gd name="T36" fmla="*/ 721 w 744"/>
                <a:gd name="T37" fmla="*/ 88 h 1226"/>
                <a:gd name="T38" fmla="*/ 732 w 744"/>
                <a:gd name="T39" fmla="*/ 166 h 1226"/>
                <a:gd name="T40" fmla="*/ 728 w 744"/>
                <a:gd name="T41" fmla="*/ 182 h 1226"/>
                <a:gd name="T42" fmla="*/ 721 w 744"/>
                <a:gd name="T43" fmla="*/ 272 h 1226"/>
                <a:gd name="T44" fmla="*/ 728 w 744"/>
                <a:gd name="T45" fmla="*/ 293 h 1226"/>
                <a:gd name="T46" fmla="*/ 732 w 744"/>
                <a:gd name="T47" fmla="*/ 343 h 1226"/>
                <a:gd name="T48" fmla="*/ 728 w 744"/>
                <a:gd name="T49" fmla="*/ 364 h 1226"/>
                <a:gd name="T50" fmla="*/ 673 w 744"/>
                <a:gd name="T51" fmla="*/ 425 h 1226"/>
                <a:gd name="T52" fmla="*/ 624 w 744"/>
                <a:gd name="T53" fmla="*/ 470 h 1226"/>
                <a:gd name="T54" fmla="*/ 489 w 744"/>
                <a:gd name="T55" fmla="*/ 536 h 1226"/>
                <a:gd name="T56" fmla="*/ 473 w 744"/>
                <a:gd name="T57" fmla="*/ 565 h 1226"/>
                <a:gd name="T58" fmla="*/ 406 w 744"/>
                <a:gd name="T59" fmla="*/ 619 h 1226"/>
                <a:gd name="T60" fmla="*/ 314 w 744"/>
                <a:gd name="T61" fmla="*/ 690 h 1226"/>
                <a:gd name="T62" fmla="*/ 343 w 744"/>
                <a:gd name="T63" fmla="*/ 775 h 1226"/>
                <a:gd name="T64" fmla="*/ 352 w 744"/>
                <a:gd name="T65" fmla="*/ 884 h 1226"/>
                <a:gd name="T66" fmla="*/ 369 w 744"/>
                <a:gd name="T67" fmla="*/ 874 h 1226"/>
                <a:gd name="T68" fmla="*/ 380 w 744"/>
                <a:gd name="T69" fmla="*/ 928 h 1226"/>
                <a:gd name="T70" fmla="*/ 352 w 744"/>
                <a:gd name="T71" fmla="*/ 1006 h 1226"/>
                <a:gd name="T72" fmla="*/ 331 w 744"/>
                <a:gd name="T73" fmla="*/ 1051 h 1226"/>
                <a:gd name="T74" fmla="*/ 163 w 744"/>
                <a:gd name="T75" fmla="*/ 1155 h 1226"/>
                <a:gd name="T76" fmla="*/ 184 w 744"/>
                <a:gd name="T77" fmla="*/ 1226 h 1226"/>
                <a:gd name="T78" fmla="*/ 125 w 744"/>
                <a:gd name="T79" fmla="*/ 1155 h 1226"/>
                <a:gd name="T80" fmla="*/ 92 w 744"/>
                <a:gd name="T81" fmla="*/ 966 h 1226"/>
                <a:gd name="T82" fmla="*/ 151 w 744"/>
                <a:gd name="T83" fmla="*/ 801 h 1226"/>
                <a:gd name="T84" fmla="*/ 163 w 744"/>
                <a:gd name="T85" fmla="*/ 768 h 1226"/>
                <a:gd name="T86" fmla="*/ 184 w 744"/>
                <a:gd name="T87" fmla="*/ 730 h 1226"/>
                <a:gd name="T88" fmla="*/ 184 w 744"/>
                <a:gd name="T89" fmla="*/ 636 h 1226"/>
                <a:gd name="T90" fmla="*/ 184 w 744"/>
                <a:gd name="T91" fmla="*/ 607 h 1226"/>
                <a:gd name="T92" fmla="*/ 191 w 744"/>
                <a:gd name="T93" fmla="*/ 569 h 1226"/>
                <a:gd name="T94" fmla="*/ 191 w 744"/>
                <a:gd name="T95" fmla="*/ 515 h 1226"/>
                <a:gd name="T96" fmla="*/ 191 w 744"/>
                <a:gd name="T97" fmla="*/ 458 h 1226"/>
                <a:gd name="T98" fmla="*/ 147 w 744"/>
                <a:gd name="T99" fmla="*/ 442 h 1226"/>
                <a:gd name="T100" fmla="*/ 83 w 744"/>
                <a:gd name="T101" fmla="*/ 421 h 1226"/>
                <a:gd name="T102" fmla="*/ 17 w 744"/>
                <a:gd name="T103" fmla="*/ 380 h 1226"/>
                <a:gd name="T104" fmla="*/ 678 w 744"/>
                <a:gd name="T105" fmla="*/ 437 h 1226"/>
                <a:gd name="T106" fmla="*/ 678 w 744"/>
                <a:gd name="T107" fmla="*/ 437 h 1226"/>
                <a:gd name="T108" fmla="*/ 191 w 744"/>
                <a:gd name="T109" fmla="*/ 1160 h 1226"/>
                <a:gd name="T110" fmla="*/ 191 w 744"/>
                <a:gd name="T111" fmla="*/ 116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44" h="1226">
                  <a:moveTo>
                    <a:pt x="17" y="380"/>
                  </a:moveTo>
                  <a:lnTo>
                    <a:pt x="0" y="331"/>
                  </a:lnTo>
                  <a:lnTo>
                    <a:pt x="206" y="260"/>
                  </a:lnTo>
                  <a:lnTo>
                    <a:pt x="239" y="305"/>
                  </a:lnTo>
                  <a:lnTo>
                    <a:pt x="288" y="288"/>
                  </a:lnTo>
                  <a:lnTo>
                    <a:pt x="298" y="305"/>
                  </a:lnTo>
                  <a:lnTo>
                    <a:pt x="298" y="359"/>
                  </a:lnTo>
                  <a:lnTo>
                    <a:pt x="276" y="397"/>
                  </a:lnTo>
                  <a:lnTo>
                    <a:pt x="293" y="414"/>
                  </a:lnTo>
                  <a:lnTo>
                    <a:pt x="293" y="425"/>
                  </a:lnTo>
                  <a:lnTo>
                    <a:pt x="298" y="425"/>
                  </a:lnTo>
                  <a:lnTo>
                    <a:pt x="331" y="470"/>
                  </a:lnTo>
                  <a:lnTo>
                    <a:pt x="347" y="470"/>
                  </a:lnTo>
                  <a:lnTo>
                    <a:pt x="343" y="491"/>
                  </a:lnTo>
                  <a:lnTo>
                    <a:pt x="352" y="491"/>
                  </a:lnTo>
                  <a:lnTo>
                    <a:pt x="352" y="458"/>
                  </a:lnTo>
                  <a:lnTo>
                    <a:pt x="343" y="442"/>
                  </a:lnTo>
                  <a:lnTo>
                    <a:pt x="364" y="414"/>
                  </a:lnTo>
                  <a:lnTo>
                    <a:pt x="369" y="421"/>
                  </a:lnTo>
                  <a:lnTo>
                    <a:pt x="397" y="404"/>
                  </a:lnTo>
                  <a:lnTo>
                    <a:pt x="397" y="364"/>
                  </a:lnTo>
                  <a:lnTo>
                    <a:pt x="385" y="347"/>
                  </a:lnTo>
                  <a:lnTo>
                    <a:pt x="402" y="326"/>
                  </a:lnTo>
                  <a:lnTo>
                    <a:pt x="397" y="310"/>
                  </a:lnTo>
                  <a:lnTo>
                    <a:pt x="343" y="236"/>
                  </a:lnTo>
                  <a:lnTo>
                    <a:pt x="326" y="220"/>
                  </a:lnTo>
                  <a:lnTo>
                    <a:pt x="310" y="220"/>
                  </a:lnTo>
                  <a:lnTo>
                    <a:pt x="298" y="215"/>
                  </a:lnTo>
                  <a:lnTo>
                    <a:pt x="298" y="166"/>
                  </a:lnTo>
                  <a:lnTo>
                    <a:pt x="293" y="128"/>
                  </a:lnTo>
                  <a:lnTo>
                    <a:pt x="310" y="95"/>
                  </a:lnTo>
                  <a:lnTo>
                    <a:pt x="310" y="83"/>
                  </a:lnTo>
                  <a:lnTo>
                    <a:pt x="331" y="83"/>
                  </a:lnTo>
                  <a:lnTo>
                    <a:pt x="369" y="88"/>
                  </a:lnTo>
                  <a:lnTo>
                    <a:pt x="397" y="71"/>
                  </a:lnTo>
                  <a:lnTo>
                    <a:pt x="418" y="83"/>
                  </a:lnTo>
                  <a:lnTo>
                    <a:pt x="418" y="95"/>
                  </a:lnTo>
                  <a:lnTo>
                    <a:pt x="439" y="95"/>
                  </a:lnTo>
                  <a:lnTo>
                    <a:pt x="461" y="83"/>
                  </a:lnTo>
                  <a:lnTo>
                    <a:pt x="510" y="95"/>
                  </a:lnTo>
                  <a:lnTo>
                    <a:pt x="532" y="83"/>
                  </a:lnTo>
                  <a:lnTo>
                    <a:pt x="543" y="66"/>
                  </a:lnTo>
                  <a:lnTo>
                    <a:pt x="548" y="54"/>
                  </a:lnTo>
                  <a:lnTo>
                    <a:pt x="581" y="71"/>
                  </a:lnTo>
                  <a:lnTo>
                    <a:pt x="612" y="54"/>
                  </a:lnTo>
                  <a:lnTo>
                    <a:pt x="636" y="54"/>
                  </a:lnTo>
                  <a:lnTo>
                    <a:pt x="721" y="0"/>
                  </a:lnTo>
                  <a:lnTo>
                    <a:pt x="721" y="0"/>
                  </a:lnTo>
                  <a:lnTo>
                    <a:pt x="728" y="17"/>
                  </a:lnTo>
                  <a:lnTo>
                    <a:pt x="721" y="29"/>
                  </a:lnTo>
                  <a:lnTo>
                    <a:pt x="728" y="33"/>
                  </a:lnTo>
                  <a:lnTo>
                    <a:pt x="721" y="33"/>
                  </a:lnTo>
                  <a:lnTo>
                    <a:pt x="721" y="38"/>
                  </a:lnTo>
                  <a:lnTo>
                    <a:pt x="728" y="38"/>
                  </a:lnTo>
                  <a:lnTo>
                    <a:pt x="711" y="66"/>
                  </a:lnTo>
                  <a:lnTo>
                    <a:pt x="721" y="71"/>
                  </a:lnTo>
                  <a:lnTo>
                    <a:pt x="721" y="88"/>
                  </a:lnTo>
                  <a:lnTo>
                    <a:pt x="721" y="111"/>
                  </a:lnTo>
                  <a:lnTo>
                    <a:pt x="721" y="149"/>
                  </a:lnTo>
                  <a:lnTo>
                    <a:pt x="732" y="166"/>
                  </a:lnTo>
                  <a:lnTo>
                    <a:pt x="711" y="182"/>
                  </a:lnTo>
                  <a:lnTo>
                    <a:pt x="721" y="194"/>
                  </a:lnTo>
                  <a:lnTo>
                    <a:pt x="728" y="182"/>
                  </a:lnTo>
                  <a:lnTo>
                    <a:pt x="721" y="220"/>
                  </a:lnTo>
                  <a:lnTo>
                    <a:pt x="732" y="260"/>
                  </a:lnTo>
                  <a:lnTo>
                    <a:pt x="721" y="272"/>
                  </a:lnTo>
                  <a:lnTo>
                    <a:pt x="728" y="277"/>
                  </a:lnTo>
                  <a:lnTo>
                    <a:pt x="732" y="277"/>
                  </a:lnTo>
                  <a:lnTo>
                    <a:pt x="728" y="293"/>
                  </a:lnTo>
                  <a:lnTo>
                    <a:pt x="744" y="288"/>
                  </a:lnTo>
                  <a:lnTo>
                    <a:pt x="744" y="310"/>
                  </a:lnTo>
                  <a:lnTo>
                    <a:pt x="732" y="343"/>
                  </a:lnTo>
                  <a:lnTo>
                    <a:pt x="721" y="343"/>
                  </a:lnTo>
                  <a:lnTo>
                    <a:pt x="732" y="347"/>
                  </a:lnTo>
                  <a:lnTo>
                    <a:pt x="728" y="364"/>
                  </a:lnTo>
                  <a:lnTo>
                    <a:pt x="695" y="404"/>
                  </a:lnTo>
                  <a:lnTo>
                    <a:pt x="690" y="421"/>
                  </a:lnTo>
                  <a:lnTo>
                    <a:pt x="673" y="425"/>
                  </a:lnTo>
                  <a:lnTo>
                    <a:pt x="673" y="437"/>
                  </a:lnTo>
                  <a:lnTo>
                    <a:pt x="666" y="442"/>
                  </a:lnTo>
                  <a:lnTo>
                    <a:pt x="624" y="470"/>
                  </a:lnTo>
                  <a:lnTo>
                    <a:pt x="619" y="475"/>
                  </a:lnTo>
                  <a:lnTo>
                    <a:pt x="532" y="508"/>
                  </a:lnTo>
                  <a:lnTo>
                    <a:pt x="489" y="536"/>
                  </a:lnTo>
                  <a:lnTo>
                    <a:pt x="473" y="553"/>
                  </a:lnTo>
                  <a:lnTo>
                    <a:pt x="461" y="548"/>
                  </a:lnTo>
                  <a:lnTo>
                    <a:pt x="473" y="565"/>
                  </a:lnTo>
                  <a:lnTo>
                    <a:pt x="423" y="619"/>
                  </a:lnTo>
                  <a:lnTo>
                    <a:pt x="406" y="619"/>
                  </a:lnTo>
                  <a:lnTo>
                    <a:pt x="406" y="619"/>
                  </a:lnTo>
                  <a:lnTo>
                    <a:pt x="326" y="697"/>
                  </a:lnTo>
                  <a:lnTo>
                    <a:pt x="310" y="673"/>
                  </a:lnTo>
                  <a:lnTo>
                    <a:pt x="314" y="690"/>
                  </a:lnTo>
                  <a:lnTo>
                    <a:pt x="314" y="718"/>
                  </a:lnTo>
                  <a:lnTo>
                    <a:pt x="310" y="735"/>
                  </a:lnTo>
                  <a:lnTo>
                    <a:pt x="343" y="775"/>
                  </a:lnTo>
                  <a:lnTo>
                    <a:pt x="343" y="801"/>
                  </a:lnTo>
                  <a:lnTo>
                    <a:pt x="352" y="825"/>
                  </a:lnTo>
                  <a:lnTo>
                    <a:pt x="352" y="884"/>
                  </a:lnTo>
                  <a:lnTo>
                    <a:pt x="364" y="884"/>
                  </a:lnTo>
                  <a:lnTo>
                    <a:pt x="369" y="862"/>
                  </a:lnTo>
                  <a:lnTo>
                    <a:pt x="369" y="874"/>
                  </a:lnTo>
                  <a:lnTo>
                    <a:pt x="369" y="917"/>
                  </a:lnTo>
                  <a:lnTo>
                    <a:pt x="369" y="928"/>
                  </a:lnTo>
                  <a:lnTo>
                    <a:pt x="380" y="928"/>
                  </a:lnTo>
                  <a:lnTo>
                    <a:pt x="369" y="940"/>
                  </a:lnTo>
                  <a:lnTo>
                    <a:pt x="352" y="995"/>
                  </a:lnTo>
                  <a:lnTo>
                    <a:pt x="352" y="1006"/>
                  </a:lnTo>
                  <a:lnTo>
                    <a:pt x="369" y="990"/>
                  </a:lnTo>
                  <a:lnTo>
                    <a:pt x="369" y="1011"/>
                  </a:lnTo>
                  <a:lnTo>
                    <a:pt x="331" y="1051"/>
                  </a:lnTo>
                  <a:lnTo>
                    <a:pt x="239" y="1094"/>
                  </a:lnTo>
                  <a:lnTo>
                    <a:pt x="180" y="1134"/>
                  </a:lnTo>
                  <a:lnTo>
                    <a:pt x="163" y="1155"/>
                  </a:lnTo>
                  <a:lnTo>
                    <a:pt x="184" y="1177"/>
                  </a:lnTo>
                  <a:lnTo>
                    <a:pt x="191" y="1160"/>
                  </a:lnTo>
                  <a:lnTo>
                    <a:pt x="184" y="1226"/>
                  </a:lnTo>
                  <a:lnTo>
                    <a:pt x="130" y="1226"/>
                  </a:lnTo>
                  <a:lnTo>
                    <a:pt x="130" y="1172"/>
                  </a:lnTo>
                  <a:lnTo>
                    <a:pt x="125" y="1155"/>
                  </a:lnTo>
                  <a:lnTo>
                    <a:pt x="125" y="1040"/>
                  </a:lnTo>
                  <a:lnTo>
                    <a:pt x="113" y="1006"/>
                  </a:lnTo>
                  <a:lnTo>
                    <a:pt x="92" y="966"/>
                  </a:lnTo>
                  <a:lnTo>
                    <a:pt x="92" y="940"/>
                  </a:lnTo>
                  <a:lnTo>
                    <a:pt x="76" y="884"/>
                  </a:lnTo>
                  <a:lnTo>
                    <a:pt x="151" y="801"/>
                  </a:lnTo>
                  <a:lnTo>
                    <a:pt x="151" y="808"/>
                  </a:lnTo>
                  <a:lnTo>
                    <a:pt x="147" y="791"/>
                  </a:lnTo>
                  <a:lnTo>
                    <a:pt x="163" y="768"/>
                  </a:lnTo>
                  <a:lnTo>
                    <a:pt x="151" y="751"/>
                  </a:lnTo>
                  <a:lnTo>
                    <a:pt x="168" y="747"/>
                  </a:lnTo>
                  <a:lnTo>
                    <a:pt x="184" y="730"/>
                  </a:lnTo>
                  <a:lnTo>
                    <a:pt x="201" y="690"/>
                  </a:lnTo>
                  <a:lnTo>
                    <a:pt x="180" y="664"/>
                  </a:lnTo>
                  <a:lnTo>
                    <a:pt x="184" y="636"/>
                  </a:lnTo>
                  <a:lnTo>
                    <a:pt x="168" y="624"/>
                  </a:lnTo>
                  <a:lnTo>
                    <a:pt x="168" y="619"/>
                  </a:lnTo>
                  <a:lnTo>
                    <a:pt x="184" y="607"/>
                  </a:lnTo>
                  <a:lnTo>
                    <a:pt x="184" y="591"/>
                  </a:lnTo>
                  <a:lnTo>
                    <a:pt x="201" y="581"/>
                  </a:lnTo>
                  <a:lnTo>
                    <a:pt x="191" y="569"/>
                  </a:lnTo>
                  <a:lnTo>
                    <a:pt x="184" y="553"/>
                  </a:lnTo>
                  <a:lnTo>
                    <a:pt x="191" y="525"/>
                  </a:lnTo>
                  <a:lnTo>
                    <a:pt x="191" y="515"/>
                  </a:lnTo>
                  <a:lnTo>
                    <a:pt x="191" y="508"/>
                  </a:lnTo>
                  <a:lnTo>
                    <a:pt x="184" y="475"/>
                  </a:lnTo>
                  <a:lnTo>
                    <a:pt x="191" y="458"/>
                  </a:lnTo>
                  <a:lnTo>
                    <a:pt x="180" y="458"/>
                  </a:lnTo>
                  <a:lnTo>
                    <a:pt x="168" y="454"/>
                  </a:lnTo>
                  <a:lnTo>
                    <a:pt x="147" y="442"/>
                  </a:lnTo>
                  <a:lnTo>
                    <a:pt x="113" y="437"/>
                  </a:lnTo>
                  <a:lnTo>
                    <a:pt x="99" y="421"/>
                  </a:lnTo>
                  <a:lnTo>
                    <a:pt x="83" y="421"/>
                  </a:lnTo>
                  <a:lnTo>
                    <a:pt x="71" y="404"/>
                  </a:lnTo>
                  <a:lnTo>
                    <a:pt x="17" y="404"/>
                  </a:lnTo>
                  <a:lnTo>
                    <a:pt x="17" y="380"/>
                  </a:lnTo>
                  <a:lnTo>
                    <a:pt x="17" y="380"/>
                  </a:lnTo>
                  <a:lnTo>
                    <a:pt x="17" y="380"/>
                  </a:lnTo>
                  <a:close/>
                  <a:moveTo>
                    <a:pt x="678" y="437"/>
                  </a:moveTo>
                  <a:lnTo>
                    <a:pt x="673" y="425"/>
                  </a:lnTo>
                  <a:lnTo>
                    <a:pt x="678" y="425"/>
                  </a:lnTo>
                  <a:lnTo>
                    <a:pt x="678" y="437"/>
                  </a:lnTo>
                  <a:lnTo>
                    <a:pt x="678" y="437"/>
                  </a:lnTo>
                  <a:lnTo>
                    <a:pt x="678" y="437"/>
                  </a:lnTo>
                  <a:close/>
                  <a:moveTo>
                    <a:pt x="191" y="1160"/>
                  </a:moveTo>
                  <a:lnTo>
                    <a:pt x="184" y="1155"/>
                  </a:lnTo>
                  <a:lnTo>
                    <a:pt x="191" y="1155"/>
                  </a:lnTo>
                  <a:lnTo>
                    <a:pt x="191" y="1160"/>
                  </a:lnTo>
                  <a:lnTo>
                    <a:pt x="191" y="1160"/>
                  </a:lnTo>
                  <a:lnTo>
                    <a:pt x="191" y="116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3" name="Freeform 519">
              <a:extLst>
                <a:ext uri="{FF2B5EF4-FFF2-40B4-BE49-F238E27FC236}">
                  <a16:creationId xmlns:a16="http://schemas.microsoft.com/office/drawing/2014/main" id="{1DAF2095-0A94-4E76-B114-13C1B2FC4448}"/>
                </a:ext>
              </a:extLst>
            </p:cNvPr>
            <p:cNvSpPr>
              <a:spLocks/>
            </p:cNvSpPr>
            <p:nvPr/>
          </p:nvSpPr>
          <p:spPr bwMode="gray">
            <a:xfrm>
              <a:off x="6729118" y="3355676"/>
              <a:ext cx="456953" cy="361899"/>
            </a:xfrm>
            <a:custGeom>
              <a:avLst/>
              <a:gdLst>
                <a:gd name="T0" fmla="*/ 194 w 1110"/>
                <a:gd name="T1" fmla="*/ 824 h 879"/>
                <a:gd name="T2" fmla="*/ 161 w 1110"/>
                <a:gd name="T3" fmla="*/ 862 h 879"/>
                <a:gd name="T4" fmla="*/ 144 w 1110"/>
                <a:gd name="T5" fmla="*/ 824 h 879"/>
                <a:gd name="T6" fmla="*/ 102 w 1110"/>
                <a:gd name="T7" fmla="*/ 808 h 879"/>
                <a:gd name="T8" fmla="*/ 64 w 1110"/>
                <a:gd name="T9" fmla="*/ 751 h 879"/>
                <a:gd name="T10" fmla="*/ 64 w 1110"/>
                <a:gd name="T11" fmla="*/ 742 h 879"/>
                <a:gd name="T12" fmla="*/ 31 w 1110"/>
                <a:gd name="T13" fmla="*/ 725 h 879"/>
                <a:gd name="T14" fmla="*/ 21 w 1110"/>
                <a:gd name="T15" fmla="*/ 685 h 879"/>
                <a:gd name="T16" fmla="*/ 9 w 1110"/>
                <a:gd name="T17" fmla="*/ 642 h 879"/>
                <a:gd name="T18" fmla="*/ 64 w 1110"/>
                <a:gd name="T19" fmla="*/ 631 h 879"/>
                <a:gd name="T20" fmla="*/ 198 w 1110"/>
                <a:gd name="T21" fmla="*/ 607 h 879"/>
                <a:gd name="T22" fmla="*/ 236 w 1110"/>
                <a:gd name="T23" fmla="*/ 607 h 879"/>
                <a:gd name="T24" fmla="*/ 264 w 1110"/>
                <a:gd name="T25" fmla="*/ 586 h 879"/>
                <a:gd name="T26" fmla="*/ 286 w 1110"/>
                <a:gd name="T27" fmla="*/ 531 h 879"/>
                <a:gd name="T28" fmla="*/ 399 w 1110"/>
                <a:gd name="T29" fmla="*/ 309 h 879"/>
                <a:gd name="T30" fmla="*/ 829 w 1110"/>
                <a:gd name="T31" fmla="*/ 0 h 879"/>
                <a:gd name="T32" fmla="*/ 987 w 1110"/>
                <a:gd name="T33" fmla="*/ 71 h 879"/>
                <a:gd name="T34" fmla="*/ 1056 w 1110"/>
                <a:gd name="T35" fmla="*/ 111 h 879"/>
                <a:gd name="T36" fmla="*/ 1089 w 1110"/>
                <a:gd name="T37" fmla="*/ 187 h 879"/>
                <a:gd name="T38" fmla="*/ 1110 w 1110"/>
                <a:gd name="T39" fmla="*/ 238 h 879"/>
                <a:gd name="T40" fmla="*/ 1077 w 1110"/>
                <a:gd name="T41" fmla="*/ 491 h 879"/>
                <a:gd name="T42" fmla="*/ 964 w 1110"/>
                <a:gd name="T43" fmla="*/ 631 h 879"/>
                <a:gd name="T44" fmla="*/ 933 w 1110"/>
                <a:gd name="T45" fmla="*/ 668 h 879"/>
                <a:gd name="T46" fmla="*/ 926 w 1110"/>
                <a:gd name="T47" fmla="*/ 725 h 879"/>
                <a:gd name="T48" fmla="*/ 895 w 1110"/>
                <a:gd name="T49" fmla="*/ 742 h 879"/>
                <a:gd name="T50" fmla="*/ 791 w 1110"/>
                <a:gd name="T51" fmla="*/ 751 h 879"/>
                <a:gd name="T52" fmla="*/ 701 w 1110"/>
                <a:gd name="T53" fmla="*/ 758 h 879"/>
                <a:gd name="T54" fmla="*/ 602 w 1110"/>
                <a:gd name="T55" fmla="*/ 779 h 879"/>
                <a:gd name="T56" fmla="*/ 539 w 1110"/>
                <a:gd name="T57" fmla="*/ 751 h 879"/>
                <a:gd name="T58" fmla="*/ 501 w 1110"/>
                <a:gd name="T59" fmla="*/ 775 h 879"/>
                <a:gd name="T60" fmla="*/ 479 w 1110"/>
                <a:gd name="T61" fmla="*/ 779 h 879"/>
                <a:gd name="T62" fmla="*/ 425 w 1110"/>
                <a:gd name="T63" fmla="*/ 735 h 879"/>
                <a:gd name="T64" fmla="*/ 361 w 1110"/>
                <a:gd name="T65" fmla="*/ 725 h 879"/>
                <a:gd name="T66" fmla="*/ 307 w 1110"/>
                <a:gd name="T67" fmla="*/ 725 h 879"/>
                <a:gd name="T68" fmla="*/ 279 w 1110"/>
                <a:gd name="T69" fmla="*/ 779 h 879"/>
                <a:gd name="T70" fmla="*/ 248 w 1110"/>
                <a:gd name="T71" fmla="*/ 812 h 879"/>
                <a:gd name="T72" fmla="*/ 253 w 1110"/>
                <a:gd name="T73" fmla="*/ 869 h 879"/>
                <a:gd name="T74" fmla="*/ 248 w 1110"/>
                <a:gd name="T75"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0" h="879">
                  <a:moveTo>
                    <a:pt x="248" y="879"/>
                  </a:moveTo>
                  <a:lnTo>
                    <a:pt x="194" y="824"/>
                  </a:lnTo>
                  <a:lnTo>
                    <a:pt x="161" y="836"/>
                  </a:lnTo>
                  <a:lnTo>
                    <a:pt x="161" y="862"/>
                  </a:lnTo>
                  <a:lnTo>
                    <a:pt x="139" y="829"/>
                  </a:lnTo>
                  <a:lnTo>
                    <a:pt x="144" y="824"/>
                  </a:lnTo>
                  <a:lnTo>
                    <a:pt x="139" y="808"/>
                  </a:lnTo>
                  <a:lnTo>
                    <a:pt x="102" y="808"/>
                  </a:lnTo>
                  <a:lnTo>
                    <a:pt x="64" y="775"/>
                  </a:lnTo>
                  <a:lnTo>
                    <a:pt x="64" y="751"/>
                  </a:lnTo>
                  <a:lnTo>
                    <a:pt x="85" y="758"/>
                  </a:lnTo>
                  <a:lnTo>
                    <a:pt x="64" y="742"/>
                  </a:lnTo>
                  <a:lnTo>
                    <a:pt x="64" y="742"/>
                  </a:lnTo>
                  <a:lnTo>
                    <a:pt x="31" y="725"/>
                  </a:lnTo>
                  <a:lnTo>
                    <a:pt x="14" y="697"/>
                  </a:lnTo>
                  <a:lnTo>
                    <a:pt x="21" y="685"/>
                  </a:lnTo>
                  <a:lnTo>
                    <a:pt x="0" y="668"/>
                  </a:lnTo>
                  <a:lnTo>
                    <a:pt x="9" y="642"/>
                  </a:lnTo>
                  <a:lnTo>
                    <a:pt x="9" y="631"/>
                  </a:lnTo>
                  <a:lnTo>
                    <a:pt x="64" y="631"/>
                  </a:lnTo>
                  <a:lnTo>
                    <a:pt x="85" y="614"/>
                  </a:lnTo>
                  <a:lnTo>
                    <a:pt x="198" y="607"/>
                  </a:lnTo>
                  <a:lnTo>
                    <a:pt x="210" y="602"/>
                  </a:lnTo>
                  <a:lnTo>
                    <a:pt x="236" y="607"/>
                  </a:lnTo>
                  <a:lnTo>
                    <a:pt x="236" y="590"/>
                  </a:lnTo>
                  <a:lnTo>
                    <a:pt x="264" y="586"/>
                  </a:lnTo>
                  <a:lnTo>
                    <a:pt x="279" y="536"/>
                  </a:lnTo>
                  <a:lnTo>
                    <a:pt x="286" y="531"/>
                  </a:lnTo>
                  <a:lnTo>
                    <a:pt x="290" y="326"/>
                  </a:lnTo>
                  <a:lnTo>
                    <a:pt x="399" y="309"/>
                  </a:lnTo>
                  <a:lnTo>
                    <a:pt x="517" y="198"/>
                  </a:lnTo>
                  <a:lnTo>
                    <a:pt x="829" y="0"/>
                  </a:lnTo>
                  <a:lnTo>
                    <a:pt x="938" y="21"/>
                  </a:lnTo>
                  <a:lnTo>
                    <a:pt x="987" y="71"/>
                  </a:lnTo>
                  <a:lnTo>
                    <a:pt x="1039" y="38"/>
                  </a:lnTo>
                  <a:lnTo>
                    <a:pt x="1056" y="111"/>
                  </a:lnTo>
                  <a:lnTo>
                    <a:pt x="1056" y="149"/>
                  </a:lnTo>
                  <a:lnTo>
                    <a:pt x="1089" y="187"/>
                  </a:lnTo>
                  <a:lnTo>
                    <a:pt x="1089" y="203"/>
                  </a:lnTo>
                  <a:lnTo>
                    <a:pt x="1110" y="238"/>
                  </a:lnTo>
                  <a:lnTo>
                    <a:pt x="1094" y="272"/>
                  </a:lnTo>
                  <a:lnTo>
                    <a:pt x="1077" y="491"/>
                  </a:lnTo>
                  <a:lnTo>
                    <a:pt x="1001" y="574"/>
                  </a:lnTo>
                  <a:lnTo>
                    <a:pt x="964" y="631"/>
                  </a:lnTo>
                  <a:lnTo>
                    <a:pt x="950" y="664"/>
                  </a:lnTo>
                  <a:lnTo>
                    <a:pt x="933" y="668"/>
                  </a:lnTo>
                  <a:lnTo>
                    <a:pt x="950" y="725"/>
                  </a:lnTo>
                  <a:lnTo>
                    <a:pt x="926" y="725"/>
                  </a:lnTo>
                  <a:lnTo>
                    <a:pt x="916" y="742"/>
                  </a:lnTo>
                  <a:lnTo>
                    <a:pt x="895" y="742"/>
                  </a:lnTo>
                  <a:lnTo>
                    <a:pt x="862" y="775"/>
                  </a:lnTo>
                  <a:lnTo>
                    <a:pt x="791" y="751"/>
                  </a:lnTo>
                  <a:lnTo>
                    <a:pt x="739" y="751"/>
                  </a:lnTo>
                  <a:lnTo>
                    <a:pt x="701" y="758"/>
                  </a:lnTo>
                  <a:lnTo>
                    <a:pt x="668" y="796"/>
                  </a:lnTo>
                  <a:lnTo>
                    <a:pt x="602" y="779"/>
                  </a:lnTo>
                  <a:lnTo>
                    <a:pt x="560" y="758"/>
                  </a:lnTo>
                  <a:lnTo>
                    <a:pt x="539" y="751"/>
                  </a:lnTo>
                  <a:lnTo>
                    <a:pt x="505" y="775"/>
                  </a:lnTo>
                  <a:lnTo>
                    <a:pt x="501" y="775"/>
                  </a:lnTo>
                  <a:lnTo>
                    <a:pt x="484" y="779"/>
                  </a:lnTo>
                  <a:lnTo>
                    <a:pt x="479" y="779"/>
                  </a:lnTo>
                  <a:lnTo>
                    <a:pt x="430" y="725"/>
                  </a:lnTo>
                  <a:lnTo>
                    <a:pt x="425" y="735"/>
                  </a:lnTo>
                  <a:lnTo>
                    <a:pt x="378" y="718"/>
                  </a:lnTo>
                  <a:lnTo>
                    <a:pt x="361" y="725"/>
                  </a:lnTo>
                  <a:lnTo>
                    <a:pt x="333" y="725"/>
                  </a:lnTo>
                  <a:lnTo>
                    <a:pt x="307" y="725"/>
                  </a:lnTo>
                  <a:lnTo>
                    <a:pt x="286" y="742"/>
                  </a:lnTo>
                  <a:lnTo>
                    <a:pt x="279" y="779"/>
                  </a:lnTo>
                  <a:lnTo>
                    <a:pt x="269" y="796"/>
                  </a:lnTo>
                  <a:lnTo>
                    <a:pt x="248" y="812"/>
                  </a:lnTo>
                  <a:lnTo>
                    <a:pt x="248" y="862"/>
                  </a:lnTo>
                  <a:lnTo>
                    <a:pt x="253" y="869"/>
                  </a:lnTo>
                  <a:lnTo>
                    <a:pt x="248" y="879"/>
                  </a:lnTo>
                  <a:lnTo>
                    <a:pt x="248" y="879"/>
                  </a:lnTo>
                  <a:lnTo>
                    <a:pt x="248" y="87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4" name="Freeform 521">
              <a:extLst>
                <a:ext uri="{FF2B5EF4-FFF2-40B4-BE49-F238E27FC236}">
                  <a16:creationId xmlns:a16="http://schemas.microsoft.com/office/drawing/2014/main" id="{AE052BD1-A4A8-42FC-ABDC-4E2B55770D38}"/>
                </a:ext>
              </a:extLst>
            </p:cNvPr>
            <p:cNvSpPr>
              <a:spLocks noEditPoints="1"/>
            </p:cNvSpPr>
            <p:nvPr/>
          </p:nvSpPr>
          <p:spPr bwMode="gray">
            <a:xfrm>
              <a:off x="6802807" y="3652111"/>
              <a:ext cx="346214" cy="288202"/>
            </a:xfrm>
            <a:custGeom>
              <a:avLst/>
              <a:gdLst>
                <a:gd name="T0" fmla="*/ 648 w 841"/>
                <a:gd name="T1" fmla="*/ 494 h 700"/>
                <a:gd name="T2" fmla="*/ 610 w 841"/>
                <a:gd name="T3" fmla="*/ 539 h 700"/>
                <a:gd name="T4" fmla="*/ 556 w 841"/>
                <a:gd name="T5" fmla="*/ 494 h 700"/>
                <a:gd name="T6" fmla="*/ 522 w 841"/>
                <a:gd name="T7" fmla="*/ 501 h 700"/>
                <a:gd name="T8" fmla="*/ 492 w 841"/>
                <a:gd name="T9" fmla="*/ 534 h 700"/>
                <a:gd name="T10" fmla="*/ 437 w 841"/>
                <a:gd name="T11" fmla="*/ 605 h 700"/>
                <a:gd name="T12" fmla="*/ 409 w 841"/>
                <a:gd name="T13" fmla="*/ 666 h 700"/>
                <a:gd name="T14" fmla="*/ 395 w 841"/>
                <a:gd name="T15" fmla="*/ 671 h 700"/>
                <a:gd name="T16" fmla="*/ 345 w 841"/>
                <a:gd name="T17" fmla="*/ 666 h 700"/>
                <a:gd name="T18" fmla="*/ 308 w 841"/>
                <a:gd name="T19" fmla="*/ 662 h 700"/>
                <a:gd name="T20" fmla="*/ 303 w 841"/>
                <a:gd name="T21" fmla="*/ 666 h 700"/>
                <a:gd name="T22" fmla="*/ 291 w 841"/>
                <a:gd name="T23" fmla="*/ 688 h 700"/>
                <a:gd name="T24" fmla="*/ 286 w 841"/>
                <a:gd name="T25" fmla="*/ 688 h 700"/>
                <a:gd name="T26" fmla="*/ 286 w 841"/>
                <a:gd name="T27" fmla="*/ 688 h 700"/>
                <a:gd name="T28" fmla="*/ 253 w 841"/>
                <a:gd name="T29" fmla="*/ 683 h 700"/>
                <a:gd name="T30" fmla="*/ 215 w 841"/>
                <a:gd name="T31" fmla="*/ 683 h 700"/>
                <a:gd name="T32" fmla="*/ 199 w 841"/>
                <a:gd name="T33" fmla="*/ 633 h 700"/>
                <a:gd name="T34" fmla="*/ 211 w 841"/>
                <a:gd name="T35" fmla="*/ 605 h 700"/>
                <a:gd name="T36" fmla="*/ 178 w 841"/>
                <a:gd name="T37" fmla="*/ 605 h 700"/>
                <a:gd name="T38" fmla="*/ 156 w 841"/>
                <a:gd name="T39" fmla="*/ 572 h 700"/>
                <a:gd name="T40" fmla="*/ 85 w 841"/>
                <a:gd name="T41" fmla="*/ 522 h 700"/>
                <a:gd name="T42" fmla="*/ 48 w 841"/>
                <a:gd name="T43" fmla="*/ 551 h 700"/>
                <a:gd name="T44" fmla="*/ 0 w 841"/>
                <a:gd name="T45" fmla="*/ 440 h 700"/>
                <a:gd name="T46" fmla="*/ 38 w 841"/>
                <a:gd name="T47" fmla="*/ 329 h 700"/>
                <a:gd name="T48" fmla="*/ 71 w 841"/>
                <a:gd name="T49" fmla="*/ 284 h 700"/>
                <a:gd name="T50" fmla="*/ 76 w 841"/>
                <a:gd name="T51" fmla="*/ 244 h 700"/>
                <a:gd name="T52" fmla="*/ 76 w 841"/>
                <a:gd name="T53" fmla="*/ 222 h 700"/>
                <a:gd name="T54" fmla="*/ 71 w 841"/>
                <a:gd name="T55" fmla="*/ 161 h 700"/>
                <a:gd name="T56" fmla="*/ 71 w 841"/>
                <a:gd name="T57" fmla="*/ 95 h 700"/>
                <a:gd name="T58" fmla="*/ 109 w 841"/>
                <a:gd name="T59" fmla="*/ 22 h 700"/>
                <a:gd name="T60" fmla="*/ 185 w 841"/>
                <a:gd name="T61" fmla="*/ 5 h 700"/>
                <a:gd name="T62" fmla="*/ 253 w 841"/>
                <a:gd name="T63" fmla="*/ 5 h 700"/>
                <a:gd name="T64" fmla="*/ 324 w 841"/>
                <a:gd name="T65" fmla="*/ 57 h 700"/>
                <a:gd name="T66" fmla="*/ 383 w 841"/>
                <a:gd name="T67" fmla="*/ 38 h 700"/>
                <a:gd name="T68" fmla="*/ 522 w 841"/>
                <a:gd name="T69" fmla="*/ 38 h 700"/>
                <a:gd name="T70" fmla="*/ 685 w 841"/>
                <a:gd name="T71" fmla="*/ 57 h 700"/>
                <a:gd name="T72" fmla="*/ 749 w 841"/>
                <a:gd name="T73" fmla="*/ 5 h 700"/>
                <a:gd name="T74" fmla="*/ 808 w 841"/>
                <a:gd name="T75" fmla="*/ 107 h 700"/>
                <a:gd name="T76" fmla="*/ 841 w 841"/>
                <a:gd name="T77" fmla="*/ 149 h 700"/>
                <a:gd name="T78" fmla="*/ 792 w 841"/>
                <a:gd name="T79" fmla="*/ 189 h 700"/>
                <a:gd name="T80" fmla="*/ 754 w 841"/>
                <a:gd name="T81" fmla="*/ 272 h 700"/>
                <a:gd name="T82" fmla="*/ 719 w 841"/>
                <a:gd name="T83" fmla="*/ 329 h 700"/>
                <a:gd name="T84" fmla="*/ 685 w 841"/>
                <a:gd name="T85" fmla="*/ 383 h 700"/>
                <a:gd name="T86" fmla="*/ 669 w 841"/>
                <a:gd name="T87" fmla="*/ 428 h 700"/>
                <a:gd name="T88" fmla="*/ 643 w 841"/>
                <a:gd name="T89" fmla="*/ 478 h 700"/>
                <a:gd name="T90" fmla="*/ 319 w 841"/>
                <a:gd name="T91" fmla="*/ 688 h 700"/>
                <a:gd name="T92" fmla="*/ 319 w 841"/>
                <a:gd name="T93" fmla="*/ 688 h 700"/>
                <a:gd name="T94" fmla="*/ 341 w 841"/>
                <a:gd name="T95" fmla="*/ 683 h 700"/>
                <a:gd name="T96" fmla="*/ 341 w 841"/>
                <a:gd name="T97" fmla="*/ 683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1" h="700">
                  <a:moveTo>
                    <a:pt x="643" y="478"/>
                  </a:moveTo>
                  <a:lnTo>
                    <a:pt x="643" y="478"/>
                  </a:lnTo>
                  <a:lnTo>
                    <a:pt x="648" y="494"/>
                  </a:lnTo>
                  <a:lnTo>
                    <a:pt x="626" y="506"/>
                  </a:lnTo>
                  <a:lnTo>
                    <a:pt x="626" y="522"/>
                  </a:lnTo>
                  <a:lnTo>
                    <a:pt x="610" y="539"/>
                  </a:lnTo>
                  <a:lnTo>
                    <a:pt x="593" y="539"/>
                  </a:lnTo>
                  <a:lnTo>
                    <a:pt x="593" y="518"/>
                  </a:lnTo>
                  <a:lnTo>
                    <a:pt x="556" y="494"/>
                  </a:lnTo>
                  <a:lnTo>
                    <a:pt x="556" y="506"/>
                  </a:lnTo>
                  <a:lnTo>
                    <a:pt x="534" y="506"/>
                  </a:lnTo>
                  <a:lnTo>
                    <a:pt x="522" y="501"/>
                  </a:lnTo>
                  <a:lnTo>
                    <a:pt x="506" y="518"/>
                  </a:lnTo>
                  <a:lnTo>
                    <a:pt x="501" y="518"/>
                  </a:lnTo>
                  <a:lnTo>
                    <a:pt x="492" y="534"/>
                  </a:lnTo>
                  <a:lnTo>
                    <a:pt x="471" y="551"/>
                  </a:lnTo>
                  <a:lnTo>
                    <a:pt x="437" y="577"/>
                  </a:lnTo>
                  <a:lnTo>
                    <a:pt x="437" y="605"/>
                  </a:lnTo>
                  <a:lnTo>
                    <a:pt x="433" y="629"/>
                  </a:lnTo>
                  <a:lnTo>
                    <a:pt x="416" y="662"/>
                  </a:lnTo>
                  <a:lnTo>
                    <a:pt x="409" y="666"/>
                  </a:lnTo>
                  <a:lnTo>
                    <a:pt x="395" y="650"/>
                  </a:lnTo>
                  <a:lnTo>
                    <a:pt x="400" y="666"/>
                  </a:lnTo>
                  <a:lnTo>
                    <a:pt x="395" y="671"/>
                  </a:lnTo>
                  <a:lnTo>
                    <a:pt x="357" y="683"/>
                  </a:lnTo>
                  <a:lnTo>
                    <a:pt x="345" y="671"/>
                  </a:lnTo>
                  <a:lnTo>
                    <a:pt x="345" y="666"/>
                  </a:lnTo>
                  <a:lnTo>
                    <a:pt x="341" y="671"/>
                  </a:lnTo>
                  <a:lnTo>
                    <a:pt x="324" y="671"/>
                  </a:lnTo>
                  <a:lnTo>
                    <a:pt x="308" y="662"/>
                  </a:lnTo>
                  <a:lnTo>
                    <a:pt x="319" y="683"/>
                  </a:lnTo>
                  <a:lnTo>
                    <a:pt x="308" y="683"/>
                  </a:lnTo>
                  <a:lnTo>
                    <a:pt x="303" y="666"/>
                  </a:lnTo>
                  <a:lnTo>
                    <a:pt x="303" y="666"/>
                  </a:lnTo>
                  <a:lnTo>
                    <a:pt x="308" y="688"/>
                  </a:lnTo>
                  <a:lnTo>
                    <a:pt x="291" y="688"/>
                  </a:lnTo>
                  <a:lnTo>
                    <a:pt x="291" y="662"/>
                  </a:lnTo>
                  <a:lnTo>
                    <a:pt x="291" y="688"/>
                  </a:lnTo>
                  <a:lnTo>
                    <a:pt x="286" y="688"/>
                  </a:lnTo>
                  <a:lnTo>
                    <a:pt x="286" y="671"/>
                  </a:lnTo>
                  <a:lnTo>
                    <a:pt x="286" y="683"/>
                  </a:lnTo>
                  <a:lnTo>
                    <a:pt x="286" y="688"/>
                  </a:lnTo>
                  <a:lnTo>
                    <a:pt x="253" y="700"/>
                  </a:lnTo>
                  <a:lnTo>
                    <a:pt x="265" y="683"/>
                  </a:lnTo>
                  <a:lnTo>
                    <a:pt x="253" y="683"/>
                  </a:lnTo>
                  <a:lnTo>
                    <a:pt x="248" y="688"/>
                  </a:lnTo>
                  <a:lnTo>
                    <a:pt x="237" y="700"/>
                  </a:lnTo>
                  <a:lnTo>
                    <a:pt x="215" y="683"/>
                  </a:lnTo>
                  <a:lnTo>
                    <a:pt x="199" y="650"/>
                  </a:lnTo>
                  <a:lnTo>
                    <a:pt x="194" y="633"/>
                  </a:lnTo>
                  <a:lnTo>
                    <a:pt x="199" y="633"/>
                  </a:lnTo>
                  <a:lnTo>
                    <a:pt x="194" y="633"/>
                  </a:lnTo>
                  <a:lnTo>
                    <a:pt x="194" y="617"/>
                  </a:lnTo>
                  <a:lnTo>
                    <a:pt x="211" y="605"/>
                  </a:lnTo>
                  <a:lnTo>
                    <a:pt x="199" y="612"/>
                  </a:lnTo>
                  <a:lnTo>
                    <a:pt x="185" y="612"/>
                  </a:lnTo>
                  <a:lnTo>
                    <a:pt x="178" y="605"/>
                  </a:lnTo>
                  <a:lnTo>
                    <a:pt x="199" y="593"/>
                  </a:lnTo>
                  <a:lnTo>
                    <a:pt x="178" y="605"/>
                  </a:lnTo>
                  <a:lnTo>
                    <a:pt x="156" y="572"/>
                  </a:lnTo>
                  <a:lnTo>
                    <a:pt x="130" y="551"/>
                  </a:lnTo>
                  <a:lnTo>
                    <a:pt x="55" y="539"/>
                  </a:lnTo>
                  <a:lnTo>
                    <a:pt x="85" y="522"/>
                  </a:lnTo>
                  <a:lnTo>
                    <a:pt x="60" y="534"/>
                  </a:lnTo>
                  <a:lnTo>
                    <a:pt x="60" y="534"/>
                  </a:lnTo>
                  <a:lnTo>
                    <a:pt x="48" y="551"/>
                  </a:lnTo>
                  <a:lnTo>
                    <a:pt x="5" y="551"/>
                  </a:lnTo>
                  <a:lnTo>
                    <a:pt x="5" y="494"/>
                  </a:lnTo>
                  <a:lnTo>
                    <a:pt x="0" y="440"/>
                  </a:lnTo>
                  <a:lnTo>
                    <a:pt x="5" y="350"/>
                  </a:lnTo>
                  <a:lnTo>
                    <a:pt x="34" y="350"/>
                  </a:lnTo>
                  <a:lnTo>
                    <a:pt x="38" y="329"/>
                  </a:lnTo>
                  <a:lnTo>
                    <a:pt x="55" y="300"/>
                  </a:lnTo>
                  <a:lnTo>
                    <a:pt x="48" y="296"/>
                  </a:lnTo>
                  <a:lnTo>
                    <a:pt x="71" y="284"/>
                  </a:lnTo>
                  <a:lnTo>
                    <a:pt x="76" y="272"/>
                  </a:lnTo>
                  <a:lnTo>
                    <a:pt x="71" y="260"/>
                  </a:lnTo>
                  <a:lnTo>
                    <a:pt x="76" y="244"/>
                  </a:lnTo>
                  <a:lnTo>
                    <a:pt x="85" y="255"/>
                  </a:lnTo>
                  <a:lnTo>
                    <a:pt x="85" y="239"/>
                  </a:lnTo>
                  <a:lnTo>
                    <a:pt x="76" y="222"/>
                  </a:lnTo>
                  <a:lnTo>
                    <a:pt x="76" y="201"/>
                  </a:lnTo>
                  <a:lnTo>
                    <a:pt x="60" y="173"/>
                  </a:lnTo>
                  <a:lnTo>
                    <a:pt x="71" y="161"/>
                  </a:lnTo>
                  <a:lnTo>
                    <a:pt x="76" y="149"/>
                  </a:lnTo>
                  <a:lnTo>
                    <a:pt x="71" y="144"/>
                  </a:lnTo>
                  <a:lnTo>
                    <a:pt x="71" y="95"/>
                  </a:lnTo>
                  <a:lnTo>
                    <a:pt x="93" y="78"/>
                  </a:lnTo>
                  <a:lnTo>
                    <a:pt x="102" y="62"/>
                  </a:lnTo>
                  <a:lnTo>
                    <a:pt x="109" y="22"/>
                  </a:lnTo>
                  <a:lnTo>
                    <a:pt x="130" y="5"/>
                  </a:lnTo>
                  <a:lnTo>
                    <a:pt x="156" y="5"/>
                  </a:lnTo>
                  <a:lnTo>
                    <a:pt x="185" y="5"/>
                  </a:lnTo>
                  <a:lnTo>
                    <a:pt x="199" y="0"/>
                  </a:lnTo>
                  <a:lnTo>
                    <a:pt x="248" y="17"/>
                  </a:lnTo>
                  <a:lnTo>
                    <a:pt x="253" y="5"/>
                  </a:lnTo>
                  <a:lnTo>
                    <a:pt x="303" y="62"/>
                  </a:lnTo>
                  <a:lnTo>
                    <a:pt x="308" y="62"/>
                  </a:lnTo>
                  <a:lnTo>
                    <a:pt x="324" y="57"/>
                  </a:lnTo>
                  <a:lnTo>
                    <a:pt x="329" y="57"/>
                  </a:lnTo>
                  <a:lnTo>
                    <a:pt x="362" y="33"/>
                  </a:lnTo>
                  <a:lnTo>
                    <a:pt x="383" y="38"/>
                  </a:lnTo>
                  <a:lnTo>
                    <a:pt x="426" y="62"/>
                  </a:lnTo>
                  <a:lnTo>
                    <a:pt x="492" y="78"/>
                  </a:lnTo>
                  <a:lnTo>
                    <a:pt x="522" y="38"/>
                  </a:lnTo>
                  <a:lnTo>
                    <a:pt x="560" y="33"/>
                  </a:lnTo>
                  <a:lnTo>
                    <a:pt x="615" y="33"/>
                  </a:lnTo>
                  <a:lnTo>
                    <a:pt x="685" y="57"/>
                  </a:lnTo>
                  <a:lnTo>
                    <a:pt x="719" y="22"/>
                  </a:lnTo>
                  <a:lnTo>
                    <a:pt x="740" y="22"/>
                  </a:lnTo>
                  <a:lnTo>
                    <a:pt x="749" y="5"/>
                  </a:lnTo>
                  <a:lnTo>
                    <a:pt x="771" y="5"/>
                  </a:lnTo>
                  <a:lnTo>
                    <a:pt x="804" y="57"/>
                  </a:lnTo>
                  <a:lnTo>
                    <a:pt x="808" y="107"/>
                  </a:lnTo>
                  <a:lnTo>
                    <a:pt x="830" y="111"/>
                  </a:lnTo>
                  <a:lnTo>
                    <a:pt x="841" y="116"/>
                  </a:lnTo>
                  <a:lnTo>
                    <a:pt x="841" y="149"/>
                  </a:lnTo>
                  <a:lnTo>
                    <a:pt x="841" y="168"/>
                  </a:lnTo>
                  <a:lnTo>
                    <a:pt x="808" y="189"/>
                  </a:lnTo>
                  <a:lnTo>
                    <a:pt x="792" y="189"/>
                  </a:lnTo>
                  <a:lnTo>
                    <a:pt x="778" y="206"/>
                  </a:lnTo>
                  <a:lnTo>
                    <a:pt x="761" y="239"/>
                  </a:lnTo>
                  <a:lnTo>
                    <a:pt x="754" y="272"/>
                  </a:lnTo>
                  <a:lnTo>
                    <a:pt x="749" y="279"/>
                  </a:lnTo>
                  <a:lnTo>
                    <a:pt x="740" y="312"/>
                  </a:lnTo>
                  <a:lnTo>
                    <a:pt x="719" y="329"/>
                  </a:lnTo>
                  <a:lnTo>
                    <a:pt x="707" y="371"/>
                  </a:lnTo>
                  <a:lnTo>
                    <a:pt x="702" y="383"/>
                  </a:lnTo>
                  <a:lnTo>
                    <a:pt x="685" y="383"/>
                  </a:lnTo>
                  <a:lnTo>
                    <a:pt x="685" y="390"/>
                  </a:lnTo>
                  <a:lnTo>
                    <a:pt x="669" y="395"/>
                  </a:lnTo>
                  <a:lnTo>
                    <a:pt x="669" y="428"/>
                  </a:lnTo>
                  <a:lnTo>
                    <a:pt x="652" y="444"/>
                  </a:lnTo>
                  <a:lnTo>
                    <a:pt x="652" y="461"/>
                  </a:lnTo>
                  <a:lnTo>
                    <a:pt x="643" y="478"/>
                  </a:lnTo>
                  <a:lnTo>
                    <a:pt x="643" y="478"/>
                  </a:lnTo>
                  <a:lnTo>
                    <a:pt x="643" y="478"/>
                  </a:lnTo>
                  <a:close/>
                  <a:moveTo>
                    <a:pt x="319" y="688"/>
                  </a:moveTo>
                  <a:lnTo>
                    <a:pt x="324" y="671"/>
                  </a:lnTo>
                  <a:lnTo>
                    <a:pt x="329" y="683"/>
                  </a:lnTo>
                  <a:lnTo>
                    <a:pt x="319" y="688"/>
                  </a:lnTo>
                  <a:lnTo>
                    <a:pt x="319" y="688"/>
                  </a:lnTo>
                  <a:lnTo>
                    <a:pt x="319" y="688"/>
                  </a:lnTo>
                  <a:close/>
                  <a:moveTo>
                    <a:pt x="341" y="683"/>
                  </a:moveTo>
                  <a:lnTo>
                    <a:pt x="329" y="683"/>
                  </a:lnTo>
                  <a:lnTo>
                    <a:pt x="341" y="683"/>
                  </a:lnTo>
                  <a:lnTo>
                    <a:pt x="341" y="683"/>
                  </a:lnTo>
                  <a:lnTo>
                    <a:pt x="341" y="683"/>
                  </a:lnTo>
                  <a:lnTo>
                    <a:pt x="341" y="68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9" name="Freeform 537">
              <a:extLst>
                <a:ext uri="{FF2B5EF4-FFF2-40B4-BE49-F238E27FC236}">
                  <a16:creationId xmlns:a16="http://schemas.microsoft.com/office/drawing/2014/main" id="{4B75AC6D-DA10-4C71-A70B-1AD1F89437CE}"/>
                </a:ext>
              </a:extLst>
            </p:cNvPr>
            <p:cNvSpPr>
              <a:spLocks noEditPoints="1"/>
            </p:cNvSpPr>
            <p:nvPr/>
          </p:nvSpPr>
          <p:spPr bwMode="gray">
            <a:xfrm>
              <a:off x="6244993" y="3689166"/>
              <a:ext cx="88509" cy="51464"/>
            </a:xfrm>
            <a:custGeom>
              <a:avLst/>
              <a:gdLst>
                <a:gd name="T0" fmla="*/ 37 w 215"/>
                <a:gd name="T1" fmla="*/ 17 h 125"/>
                <a:gd name="T2" fmla="*/ 106 w 215"/>
                <a:gd name="T3" fmla="*/ 0 h 125"/>
                <a:gd name="T4" fmla="*/ 203 w 215"/>
                <a:gd name="T5" fmla="*/ 0 h 125"/>
                <a:gd name="T6" fmla="*/ 186 w 215"/>
                <a:gd name="T7" fmla="*/ 38 h 125"/>
                <a:gd name="T8" fmla="*/ 203 w 215"/>
                <a:gd name="T9" fmla="*/ 71 h 125"/>
                <a:gd name="T10" fmla="*/ 165 w 215"/>
                <a:gd name="T11" fmla="*/ 71 h 125"/>
                <a:gd name="T12" fmla="*/ 134 w 215"/>
                <a:gd name="T13" fmla="*/ 83 h 125"/>
                <a:gd name="T14" fmla="*/ 113 w 215"/>
                <a:gd name="T15" fmla="*/ 114 h 125"/>
                <a:gd name="T16" fmla="*/ 106 w 215"/>
                <a:gd name="T17" fmla="*/ 114 h 125"/>
                <a:gd name="T18" fmla="*/ 96 w 215"/>
                <a:gd name="T19" fmla="*/ 109 h 125"/>
                <a:gd name="T20" fmla="*/ 89 w 215"/>
                <a:gd name="T21" fmla="*/ 92 h 125"/>
                <a:gd name="T22" fmla="*/ 80 w 215"/>
                <a:gd name="T23" fmla="*/ 92 h 125"/>
                <a:gd name="T24" fmla="*/ 113 w 215"/>
                <a:gd name="T25" fmla="*/ 76 h 125"/>
                <a:gd name="T26" fmla="*/ 89 w 215"/>
                <a:gd name="T27" fmla="*/ 76 h 125"/>
                <a:gd name="T28" fmla="*/ 80 w 215"/>
                <a:gd name="T29" fmla="*/ 71 h 125"/>
                <a:gd name="T30" fmla="*/ 106 w 215"/>
                <a:gd name="T31" fmla="*/ 54 h 125"/>
                <a:gd name="T32" fmla="*/ 113 w 215"/>
                <a:gd name="T33" fmla="*/ 54 h 125"/>
                <a:gd name="T34" fmla="*/ 106 w 215"/>
                <a:gd name="T35" fmla="*/ 54 h 125"/>
                <a:gd name="T36" fmla="*/ 75 w 215"/>
                <a:gd name="T37" fmla="*/ 59 h 125"/>
                <a:gd name="T38" fmla="*/ 59 w 215"/>
                <a:gd name="T39" fmla="*/ 45 h 125"/>
                <a:gd name="T40" fmla="*/ 37 w 215"/>
                <a:gd name="T41" fmla="*/ 54 h 125"/>
                <a:gd name="T42" fmla="*/ 21 w 215"/>
                <a:gd name="T43" fmla="*/ 38 h 125"/>
                <a:gd name="T44" fmla="*/ 9 w 215"/>
                <a:gd name="T45" fmla="*/ 28 h 125"/>
                <a:gd name="T46" fmla="*/ 0 w 215"/>
                <a:gd name="T47" fmla="*/ 21 h 125"/>
                <a:gd name="T48" fmla="*/ 26 w 215"/>
                <a:gd name="T49" fmla="*/ 59 h 125"/>
                <a:gd name="T50" fmla="*/ 37 w 215"/>
                <a:gd name="T51" fmla="*/ 54 h 125"/>
                <a:gd name="T52" fmla="*/ 26 w 215"/>
                <a:gd name="T53" fmla="*/ 59 h 125"/>
                <a:gd name="T54" fmla="*/ 42 w 215"/>
                <a:gd name="T55" fmla="*/ 59 h 125"/>
                <a:gd name="T56" fmla="*/ 54 w 215"/>
                <a:gd name="T57" fmla="*/ 54 h 125"/>
                <a:gd name="T58" fmla="*/ 42 w 215"/>
                <a:gd name="T59" fmla="*/ 59 h 125"/>
                <a:gd name="T60" fmla="*/ 42 w 215"/>
                <a:gd name="T61" fmla="*/ 83 h 125"/>
                <a:gd name="T62" fmla="*/ 54 w 215"/>
                <a:gd name="T63" fmla="*/ 76 h 125"/>
                <a:gd name="T64" fmla="*/ 42 w 215"/>
                <a:gd name="T65" fmla="*/ 83 h 125"/>
                <a:gd name="T66" fmla="*/ 42 w 215"/>
                <a:gd name="T67" fmla="*/ 83 h 125"/>
                <a:gd name="T68" fmla="*/ 21 w 215"/>
                <a:gd name="T69" fmla="*/ 76 h 125"/>
                <a:gd name="T70" fmla="*/ 26 w 215"/>
                <a:gd name="T71" fmla="*/ 83 h 125"/>
                <a:gd name="T72" fmla="*/ 26 w 215"/>
                <a:gd name="T73" fmla="*/ 83 h 125"/>
                <a:gd name="T74" fmla="*/ 26 w 215"/>
                <a:gd name="T75" fmla="*/ 83 h 125"/>
                <a:gd name="T76" fmla="*/ 26 w 215"/>
                <a:gd name="T77" fmla="*/ 83 h 125"/>
                <a:gd name="T78" fmla="*/ 26 w 215"/>
                <a:gd name="T79" fmla="*/ 83 h 125"/>
                <a:gd name="T80" fmla="*/ 26 w 215"/>
                <a:gd name="T81" fmla="*/ 97 h 125"/>
                <a:gd name="T82" fmla="*/ 26 w 215"/>
                <a:gd name="T83" fmla="*/ 97 h 125"/>
                <a:gd name="T84" fmla="*/ 26 w 215"/>
                <a:gd name="T85" fmla="*/ 97 h 125"/>
                <a:gd name="T86" fmla="*/ 26 w 215"/>
                <a:gd name="T87" fmla="*/ 109 h 125"/>
                <a:gd name="T88" fmla="*/ 42 w 215"/>
                <a:gd name="T89" fmla="*/ 114 h 125"/>
                <a:gd name="T90" fmla="*/ 37 w 215"/>
                <a:gd name="T91" fmla="*/ 114 h 125"/>
                <a:gd name="T92" fmla="*/ 42 w 215"/>
                <a:gd name="T93" fmla="*/ 114 h 125"/>
                <a:gd name="T94" fmla="*/ 54 w 215"/>
                <a:gd name="T95" fmla="*/ 97 h 125"/>
                <a:gd name="T96" fmla="*/ 42 w 215"/>
                <a:gd name="T97" fmla="*/ 11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5" h="125">
                  <a:moveTo>
                    <a:pt x="0" y="21"/>
                  </a:moveTo>
                  <a:lnTo>
                    <a:pt x="37" y="17"/>
                  </a:lnTo>
                  <a:lnTo>
                    <a:pt x="63" y="17"/>
                  </a:lnTo>
                  <a:lnTo>
                    <a:pt x="106" y="0"/>
                  </a:lnTo>
                  <a:lnTo>
                    <a:pt x="165" y="0"/>
                  </a:lnTo>
                  <a:lnTo>
                    <a:pt x="203" y="0"/>
                  </a:lnTo>
                  <a:lnTo>
                    <a:pt x="215" y="21"/>
                  </a:lnTo>
                  <a:lnTo>
                    <a:pt x="186" y="38"/>
                  </a:lnTo>
                  <a:lnTo>
                    <a:pt x="203" y="45"/>
                  </a:lnTo>
                  <a:lnTo>
                    <a:pt x="203" y="71"/>
                  </a:lnTo>
                  <a:lnTo>
                    <a:pt x="186" y="71"/>
                  </a:lnTo>
                  <a:lnTo>
                    <a:pt x="165" y="71"/>
                  </a:lnTo>
                  <a:lnTo>
                    <a:pt x="148" y="76"/>
                  </a:lnTo>
                  <a:lnTo>
                    <a:pt x="134" y="83"/>
                  </a:lnTo>
                  <a:lnTo>
                    <a:pt x="113" y="125"/>
                  </a:lnTo>
                  <a:lnTo>
                    <a:pt x="113" y="114"/>
                  </a:lnTo>
                  <a:lnTo>
                    <a:pt x="113" y="97"/>
                  </a:lnTo>
                  <a:lnTo>
                    <a:pt x="106" y="114"/>
                  </a:lnTo>
                  <a:lnTo>
                    <a:pt x="106" y="97"/>
                  </a:lnTo>
                  <a:lnTo>
                    <a:pt x="96" y="109"/>
                  </a:lnTo>
                  <a:lnTo>
                    <a:pt x="89" y="109"/>
                  </a:lnTo>
                  <a:lnTo>
                    <a:pt x="89" y="92"/>
                  </a:lnTo>
                  <a:lnTo>
                    <a:pt x="96" y="83"/>
                  </a:lnTo>
                  <a:lnTo>
                    <a:pt x="80" y="92"/>
                  </a:lnTo>
                  <a:lnTo>
                    <a:pt x="96" y="76"/>
                  </a:lnTo>
                  <a:lnTo>
                    <a:pt x="113" y="76"/>
                  </a:lnTo>
                  <a:lnTo>
                    <a:pt x="96" y="71"/>
                  </a:lnTo>
                  <a:lnTo>
                    <a:pt x="89" y="76"/>
                  </a:lnTo>
                  <a:lnTo>
                    <a:pt x="89" y="71"/>
                  </a:lnTo>
                  <a:lnTo>
                    <a:pt x="80" y="71"/>
                  </a:lnTo>
                  <a:lnTo>
                    <a:pt x="89" y="54"/>
                  </a:lnTo>
                  <a:lnTo>
                    <a:pt x="106" y="54"/>
                  </a:lnTo>
                  <a:lnTo>
                    <a:pt x="118" y="59"/>
                  </a:lnTo>
                  <a:lnTo>
                    <a:pt x="113" y="54"/>
                  </a:lnTo>
                  <a:lnTo>
                    <a:pt x="118" y="45"/>
                  </a:lnTo>
                  <a:lnTo>
                    <a:pt x="106" y="54"/>
                  </a:lnTo>
                  <a:lnTo>
                    <a:pt x="89" y="45"/>
                  </a:lnTo>
                  <a:lnTo>
                    <a:pt x="75" y="59"/>
                  </a:lnTo>
                  <a:lnTo>
                    <a:pt x="54" y="59"/>
                  </a:lnTo>
                  <a:lnTo>
                    <a:pt x="59" y="45"/>
                  </a:lnTo>
                  <a:lnTo>
                    <a:pt x="63" y="45"/>
                  </a:lnTo>
                  <a:lnTo>
                    <a:pt x="37" y="54"/>
                  </a:lnTo>
                  <a:lnTo>
                    <a:pt x="26" y="54"/>
                  </a:lnTo>
                  <a:lnTo>
                    <a:pt x="21" y="38"/>
                  </a:lnTo>
                  <a:lnTo>
                    <a:pt x="42" y="21"/>
                  </a:lnTo>
                  <a:lnTo>
                    <a:pt x="9" y="28"/>
                  </a:lnTo>
                  <a:lnTo>
                    <a:pt x="0" y="21"/>
                  </a:lnTo>
                  <a:lnTo>
                    <a:pt x="0" y="21"/>
                  </a:lnTo>
                  <a:lnTo>
                    <a:pt x="0" y="21"/>
                  </a:lnTo>
                  <a:close/>
                  <a:moveTo>
                    <a:pt x="26" y="59"/>
                  </a:moveTo>
                  <a:lnTo>
                    <a:pt x="26" y="45"/>
                  </a:lnTo>
                  <a:lnTo>
                    <a:pt x="37" y="54"/>
                  </a:lnTo>
                  <a:lnTo>
                    <a:pt x="26" y="59"/>
                  </a:lnTo>
                  <a:lnTo>
                    <a:pt x="26" y="59"/>
                  </a:lnTo>
                  <a:lnTo>
                    <a:pt x="26" y="59"/>
                  </a:lnTo>
                  <a:close/>
                  <a:moveTo>
                    <a:pt x="42" y="59"/>
                  </a:moveTo>
                  <a:lnTo>
                    <a:pt x="37" y="54"/>
                  </a:lnTo>
                  <a:lnTo>
                    <a:pt x="54" y="54"/>
                  </a:lnTo>
                  <a:lnTo>
                    <a:pt x="42" y="59"/>
                  </a:lnTo>
                  <a:lnTo>
                    <a:pt x="42" y="59"/>
                  </a:lnTo>
                  <a:lnTo>
                    <a:pt x="42" y="59"/>
                  </a:lnTo>
                  <a:close/>
                  <a:moveTo>
                    <a:pt x="42" y="83"/>
                  </a:moveTo>
                  <a:lnTo>
                    <a:pt x="42" y="76"/>
                  </a:lnTo>
                  <a:lnTo>
                    <a:pt x="54" y="76"/>
                  </a:lnTo>
                  <a:lnTo>
                    <a:pt x="54" y="83"/>
                  </a:lnTo>
                  <a:lnTo>
                    <a:pt x="42" y="83"/>
                  </a:lnTo>
                  <a:lnTo>
                    <a:pt x="42" y="83"/>
                  </a:lnTo>
                  <a:lnTo>
                    <a:pt x="42" y="83"/>
                  </a:lnTo>
                  <a:close/>
                  <a:moveTo>
                    <a:pt x="26" y="83"/>
                  </a:moveTo>
                  <a:lnTo>
                    <a:pt x="21" y="76"/>
                  </a:lnTo>
                  <a:lnTo>
                    <a:pt x="26" y="76"/>
                  </a:lnTo>
                  <a:lnTo>
                    <a:pt x="26" y="83"/>
                  </a:lnTo>
                  <a:lnTo>
                    <a:pt x="26" y="83"/>
                  </a:lnTo>
                  <a:lnTo>
                    <a:pt x="26" y="83"/>
                  </a:lnTo>
                  <a:close/>
                  <a:moveTo>
                    <a:pt x="26" y="83"/>
                  </a:moveTo>
                  <a:lnTo>
                    <a:pt x="26" y="83"/>
                  </a:lnTo>
                  <a:lnTo>
                    <a:pt x="37" y="76"/>
                  </a:lnTo>
                  <a:lnTo>
                    <a:pt x="26" y="83"/>
                  </a:lnTo>
                  <a:lnTo>
                    <a:pt x="26" y="83"/>
                  </a:lnTo>
                  <a:lnTo>
                    <a:pt x="26" y="83"/>
                  </a:lnTo>
                  <a:close/>
                  <a:moveTo>
                    <a:pt x="26" y="97"/>
                  </a:moveTo>
                  <a:lnTo>
                    <a:pt x="26" y="97"/>
                  </a:lnTo>
                  <a:lnTo>
                    <a:pt x="37" y="97"/>
                  </a:lnTo>
                  <a:lnTo>
                    <a:pt x="26" y="97"/>
                  </a:lnTo>
                  <a:lnTo>
                    <a:pt x="26" y="97"/>
                  </a:lnTo>
                  <a:lnTo>
                    <a:pt x="26" y="97"/>
                  </a:lnTo>
                  <a:close/>
                  <a:moveTo>
                    <a:pt x="37" y="114"/>
                  </a:moveTo>
                  <a:lnTo>
                    <a:pt x="26" y="109"/>
                  </a:lnTo>
                  <a:lnTo>
                    <a:pt x="42" y="97"/>
                  </a:lnTo>
                  <a:lnTo>
                    <a:pt x="42" y="114"/>
                  </a:lnTo>
                  <a:lnTo>
                    <a:pt x="37" y="114"/>
                  </a:lnTo>
                  <a:lnTo>
                    <a:pt x="37" y="114"/>
                  </a:lnTo>
                  <a:lnTo>
                    <a:pt x="37" y="114"/>
                  </a:lnTo>
                  <a:close/>
                  <a:moveTo>
                    <a:pt x="42" y="114"/>
                  </a:moveTo>
                  <a:lnTo>
                    <a:pt x="42" y="109"/>
                  </a:lnTo>
                  <a:lnTo>
                    <a:pt x="54" y="97"/>
                  </a:lnTo>
                  <a:lnTo>
                    <a:pt x="42" y="114"/>
                  </a:lnTo>
                  <a:lnTo>
                    <a:pt x="42" y="114"/>
                  </a:lnTo>
                  <a:lnTo>
                    <a:pt x="42" y="11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20" name="Freeform 538">
              <a:extLst>
                <a:ext uri="{FF2B5EF4-FFF2-40B4-BE49-F238E27FC236}">
                  <a16:creationId xmlns:a16="http://schemas.microsoft.com/office/drawing/2014/main" id="{6BDC584A-516C-4DC9-BEEA-FA2A7EA94470}"/>
                </a:ext>
              </a:extLst>
            </p:cNvPr>
            <p:cNvSpPr>
              <a:spLocks/>
            </p:cNvSpPr>
            <p:nvPr/>
          </p:nvSpPr>
          <p:spPr bwMode="gray">
            <a:xfrm>
              <a:off x="8189722" y="3270861"/>
              <a:ext cx="26347" cy="52699"/>
            </a:xfrm>
            <a:custGeom>
              <a:avLst/>
              <a:gdLst>
                <a:gd name="T0" fmla="*/ 42 w 64"/>
                <a:gd name="T1" fmla="*/ 116 h 128"/>
                <a:gd name="T2" fmla="*/ 16 w 64"/>
                <a:gd name="T3" fmla="*/ 128 h 128"/>
                <a:gd name="T4" fmla="*/ 12 w 64"/>
                <a:gd name="T5" fmla="*/ 111 h 128"/>
                <a:gd name="T6" fmla="*/ 0 w 64"/>
                <a:gd name="T7" fmla="*/ 55 h 128"/>
                <a:gd name="T8" fmla="*/ 12 w 64"/>
                <a:gd name="T9" fmla="*/ 55 h 128"/>
                <a:gd name="T10" fmla="*/ 12 w 64"/>
                <a:gd name="T11" fmla="*/ 45 h 128"/>
                <a:gd name="T12" fmla="*/ 16 w 64"/>
                <a:gd name="T13" fmla="*/ 38 h 128"/>
                <a:gd name="T14" fmla="*/ 16 w 64"/>
                <a:gd name="T15" fmla="*/ 38 h 128"/>
                <a:gd name="T16" fmla="*/ 26 w 64"/>
                <a:gd name="T17" fmla="*/ 5 h 128"/>
                <a:gd name="T18" fmla="*/ 42 w 64"/>
                <a:gd name="T19" fmla="*/ 0 h 128"/>
                <a:gd name="T20" fmla="*/ 47 w 64"/>
                <a:gd name="T21" fmla="*/ 17 h 128"/>
                <a:gd name="T22" fmla="*/ 64 w 64"/>
                <a:gd name="T23" fmla="*/ 22 h 128"/>
                <a:gd name="T24" fmla="*/ 64 w 64"/>
                <a:gd name="T25" fmla="*/ 38 h 128"/>
                <a:gd name="T26" fmla="*/ 54 w 64"/>
                <a:gd name="T27" fmla="*/ 55 h 128"/>
                <a:gd name="T28" fmla="*/ 54 w 64"/>
                <a:gd name="T29" fmla="*/ 71 h 128"/>
                <a:gd name="T30" fmla="*/ 64 w 64"/>
                <a:gd name="T31" fmla="*/ 71 h 128"/>
                <a:gd name="T32" fmla="*/ 64 w 64"/>
                <a:gd name="T33" fmla="*/ 83 h 128"/>
                <a:gd name="T34" fmla="*/ 47 w 64"/>
                <a:gd name="T35" fmla="*/ 128 h 128"/>
                <a:gd name="T36" fmla="*/ 42 w 64"/>
                <a:gd name="T37" fmla="*/ 116 h 128"/>
                <a:gd name="T38" fmla="*/ 42 w 64"/>
                <a:gd name="T39" fmla="*/ 116 h 128"/>
                <a:gd name="T40" fmla="*/ 42 w 64"/>
                <a:gd name="T41" fmla="*/ 1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128">
                  <a:moveTo>
                    <a:pt x="42" y="116"/>
                  </a:moveTo>
                  <a:lnTo>
                    <a:pt x="16" y="128"/>
                  </a:lnTo>
                  <a:lnTo>
                    <a:pt x="12" y="111"/>
                  </a:lnTo>
                  <a:lnTo>
                    <a:pt x="0" y="55"/>
                  </a:lnTo>
                  <a:lnTo>
                    <a:pt x="12" y="55"/>
                  </a:lnTo>
                  <a:lnTo>
                    <a:pt x="12" y="45"/>
                  </a:lnTo>
                  <a:lnTo>
                    <a:pt x="16" y="38"/>
                  </a:lnTo>
                  <a:lnTo>
                    <a:pt x="16" y="38"/>
                  </a:lnTo>
                  <a:lnTo>
                    <a:pt x="26" y="5"/>
                  </a:lnTo>
                  <a:lnTo>
                    <a:pt x="42" y="0"/>
                  </a:lnTo>
                  <a:lnTo>
                    <a:pt x="47" y="17"/>
                  </a:lnTo>
                  <a:lnTo>
                    <a:pt x="64" y="22"/>
                  </a:lnTo>
                  <a:lnTo>
                    <a:pt x="64" y="38"/>
                  </a:lnTo>
                  <a:lnTo>
                    <a:pt x="54" y="55"/>
                  </a:lnTo>
                  <a:lnTo>
                    <a:pt x="54" y="71"/>
                  </a:lnTo>
                  <a:lnTo>
                    <a:pt x="64" y="71"/>
                  </a:lnTo>
                  <a:lnTo>
                    <a:pt x="64" y="83"/>
                  </a:lnTo>
                  <a:lnTo>
                    <a:pt x="47" y="128"/>
                  </a:lnTo>
                  <a:lnTo>
                    <a:pt x="42" y="116"/>
                  </a:lnTo>
                  <a:lnTo>
                    <a:pt x="42" y="116"/>
                  </a:lnTo>
                  <a:lnTo>
                    <a:pt x="42" y="11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21" name="Freeform 539">
              <a:extLst>
                <a:ext uri="{FF2B5EF4-FFF2-40B4-BE49-F238E27FC236}">
                  <a16:creationId xmlns:a16="http://schemas.microsoft.com/office/drawing/2014/main" id="{75E2A350-7E73-477F-A7A0-E813DF176B9F}"/>
                </a:ext>
              </a:extLst>
            </p:cNvPr>
            <p:cNvSpPr>
              <a:spLocks/>
            </p:cNvSpPr>
            <p:nvPr/>
          </p:nvSpPr>
          <p:spPr bwMode="gray">
            <a:xfrm>
              <a:off x="8319811" y="4692929"/>
              <a:ext cx="19760" cy="15645"/>
            </a:xfrm>
            <a:custGeom>
              <a:avLst/>
              <a:gdLst>
                <a:gd name="T0" fmla="*/ 34 w 48"/>
                <a:gd name="T1" fmla="*/ 5 h 38"/>
                <a:gd name="T2" fmla="*/ 48 w 48"/>
                <a:gd name="T3" fmla="*/ 21 h 38"/>
                <a:gd name="T4" fmla="*/ 38 w 48"/>
                <a:gd name="T5" fmla="*/ 33 h 38"/>
                <a:gd name="T6" fmla="*/ 34 w 48"/>
                <a:gd name="T7" fmla="*/ 38 h 38"/>
                <a:gd name="T8" fmla="*/ 8 w 48"/>
                <a:gd name="T9" fmla="*/ 33 h 38"/>
                <a:gd name="T10" fmla="*/ 0 w 48"/>
                <a:gd name="T11" fmla="*/ 16 h 38"/>
                <a:gd name="T12" fmla="*/ 17 w 48"/>
                <a:gd name="T13" fmla="*/ 0 h 38"/>
                <a:gd name="T14" fmla="*/ 34 w 48"/>
                <a:gd name="T15" fmla="*/ 0 h 38"/>
                <a:gd name="T16" fmla="*/ 34 w 48"/>
                <a:gd name="T17" fmla="*/ 5 h 38"/>
                <a:gd name="T18" fmla="*/ 34 w 48"/>
                <a:gd name="T19" fmla="*/ 5 h 38"/>
                <a:gd name="T20" fmla="*/ 34 w 48"/>
                <a:gd name="T21"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38">
                  <a:moveTo>
                    <a:pt x="34" y="5"/>
                  </a:moveTo>
                  <a:lnTo>
                    <a:pt x="48" y="21"/>
                  </a:lnTo>
                  <a:lnTo>
                    <a:pt x="38" y="33"/>
                  </a:lnTo>
                  <a:lnTo>
                    <a:pt x="34" y="38"/>
                  </a:lnTo>
                  <a:lnTo>
                    <a:pt x="8" y="33"/>
                  </a:lnTo>
                  <a:lnTo>
                    <a:pt x="0" y="16"/>
                  </a:lnTo>
                  <a:lnTo>
                    <a:pt x="17" y="0"/>
                  </a:lnTo>
                  <a:lnTo>
                    <a:pt x="34" y="0"/>
                  </a:lnTo>
                  <a:lnTo>
                    <a:pt x="34" y="5"/>
                  </a:lnTo>
                  <a:lnTo>
                    <a:pt x="34" y="5"/>
                  </a:lnTo>
                  <a:lnTo>
                    <a:pt x="34" y="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49" name="Freeform 544">
              <a:extLst>
                <a:ext uri="{FF2B5EF4-FFF2-40B4-BE49-F238E27FC236}">
                  <a16:creationId xmlns:a16="http://schemas.microsoft.com/office/drawing/2014/main" id="{89883ACB-ED94-447E-B408-D46E0255B649}"/>
                </a:ext>
              </a:extLst>
            </p:cNvPr>
            <p:cNvSpPr>
              <a:spLocks/>
            </p:cNvSpPr>
            <p:nvPr/>
          </p:nvSpPr>
          <p:spPr bwMode="gray">
            <a:xfrm>
              <a:off x="7557810" y="4095528"/>
              <a:ext cx="59281" cy="51876"/>
            </a:xfrm>
            <a:custGeom>
              <a:avLst/>
              <a:gdLst>
                <a:gd name="T0" fmla="*/ 16 w 144"/>
                <a:gd name="T1" fmla="*/ 126 h 126"/>
                <a:gd name="T2" fmla="*/ 9 w 144"/>
                <a:gd name="T3" fmla="*/ 119 h 126"/>
                <a:gd name="T4" fmla="*/ 0 w 144"/>
                <a:gd name="T5" fmla="*/ 97 h 126"/>
                <a:gd name="T6" fmla="*/ 21 w 144"/>
                <a:gd name="T7" fmla="*/ 88 h 126"/>
                <a:gd name="T8" fmla="*/ 21 w 144"/>
                <a:gd name="T9" fmla="*/ 64 h 126"/>
                <a:gd name="T10" fmla="*/ 30 w 144"/>
                <a:gd name="T11" fmla="*/ 43 h 126"/>
                <a:gd name="T12" fmla="*/ 54 w 144"/>
                <a:gd name="T13" fmla="*/ 26 h 126"/>
                <a:gd name="T14" fmla="*/ 68 w 144"/>
                <a:gd name="T15" fmla="*/ 26 h 126"/>
                <a:gd name="T16" fmla="*/ 85 w 144"/>
                <a:gd name="T17" fmla="*/ 34 h 126"/>
                <a:gd name="T18" fmla="*/ 106 w 144"/>
                <a:gd name="T19" fmla="*/ 0 h 126"/>
                <a:gd name="T20" fmla="*/ 118 w 144"/>
                <a:gd name="T21" fmla="*/ 0 h 126"/>
                <a:gd name="T22" fmla="*/ 122 w 144"/>
                <a:gd name="T23" fmla="*/ 26 h 126"/>
                <a:gd name="T24" fmla="*/ 129 w 144"/>
                <a:gd name="T25" fmla="*/ 34 h 126"/>
                <a:gd name="T26" fmla="*/ 139 w 144"/>
                <a:gd name="T27" fmla="*/ 50 h 126"/>
                <a:gd name="T28" fmla="*/ 139 w 144"/>
                <a:gd name="T29" fmla="*/ 64 h 126"/>
                <a:gd name="T30" fmla="*/ 144 w 144"/>
                <a:gd name="T31" fmla="*/ 71 h 126"/>
                <a:gd name="T32" fmla="*/ 139 w 144"/>
                <a:gd name="T33" fmla="*/ 97 h 126"/>
                <a:gd name="T34" fmla="*/ 122 w 144"/>
                <a:gd name="T35" fmla="*/ 97 h 126"/>
                <a:gd name="T36" fmla="*/ 106 w 144"/>
                <a:gd name="T37" fmla="*/ 97 h 126"/>
                <a:gd name="T38" fmla="*/ 92 w 144"/>
                <a:gd name="T39" fmla="*/ 104 h 126"/>
                <a:gd name="T40" fmla="*/ 75 w 144"/>
                <a:gd name="T41" fmla="*/ 97 h 126"/>
                <a:gd name="T42" fmla="*/ 68 w 144"/>
                <a:gd name="T43" fmla="*/ 126 h 126"/>
                <a:gd name="T44" fmla="*/ 37 w 144"/>
                <a:gd name="T45" fmla="*/ 126 h 126"/>
                <a:gd name="T46" fmla="*/ 37 w 144"/>
                <a:gd name="T47" fmla="*/ 119 h 126"/>
                <a:gd name="T48" fmla="*/ 21 w 144"/>
                <a:gd name="T49" fmla="*/ 109 h 126"/>
                <a:gd name="T50" fmla="*/ 16 w 144"/>
                <a:gd name="T51" fmla="*/ 109 h 126"/>
                <a:gd name="T52" fmla="*/ 16 w 144"/>
                <a:gd name="T53" fmla="*/ 126 h 126"/>
                <a:gd name="T54" fmla="*/ 16 w 144"/>
                <a:gd name="T55" fmla="*/ 126 h 126"/>
                <a:gd name="T56" fmla="*/ 16 w 144"/>
                <a:gd name="T5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26">
                  <a:moveTo>
                    <a:pt x="16" y="126"/>
                  </a:moveTo>
                  <a:lnTo>
                    <a:pt x="9" y="119"/>
                  </a:lnTo>
                  <a:lnTo>
                    <a:pt x="0" y="97"/>
                  </a:lnTo>
                  <a:lnTo>
                    <a:pt x="21" y="88"/>
                  </a:lnTo>
                  <a:lnTo>
                    <a:pt x="21" y="64"/>
                  </a:lnTo>
                  <a:lnTo>
                    <a:pt x="30" y="43"/>
                  </a:lnTo>
                  <a:lnTo>
                    <a:pt x="54" y="26"/>
                  </a:lnTo>
                  <a:lnTo>
                    <a:pt x="68" y="26"/>
                  </a:lnTo>
                  <a:lnTo>
                    <a:pt x="85" y="34"/>
                  </a:lnTo>
                  <a:lnTo>
                    <a:pt x="106" y="0"/>
                  </a:lnTo>
                  <a:lnTo>
                    <a:pt x="118" y="0"/>
                  </a:lnTo>
                  <a:lnTo>
                    <a:pt x="122" y="26"/>
                  </a:lnTo>
                  <a:lnTo>
                    <a:pt x="129" y="34"/>
                  </a:lnTo>
                  <a:lnTo>
                    <a:pt x="139" y="50"/>
                  </a:lnTo>
                  <a:lnTo>
                    <a:pt x="139" y="64"/>
                  </a:lnTo>
                  <a:lnTo>
                    <a:pt x="144" y="71"/>
                  </a:lnTo>
                  <a:lnTo>
                    <a:pt x="139" y="97"/>
                  </a:lnTo>
                  <a:lnTo>
                    <a:pt x="122" y="97"/>
                  </a:lnTo>
                  <a:lnTo>
                    <a:pt x="106" y="97"/>
                  </a:lnTo>
                  <a:lnTo>
                    <a:pt x="92" y="104"/>
                  </a:lnTo>
                  <a:lnTo>
                    <a:pt x="75" y="97"/>
                  </a:lnTo>
                  <a:lnTo>
                    <a:pt x="68" y="126"/>
                  </a:lnTo>
                  <a:lnTo>
                    <a:pt x="37" y="126"/>
                  </a:lnTo>
                  <a:lnTo>
                    <a:pt x="37" y="119"/>
                  </a:lnTo>
                  <a:lnTo>
                    <a:pt x="21" y="109"/>
                  </a:lnTo>
                  <a:lnTo>
                    <a:pt x="16" y="109"/>
                  </a:lnTo>
                  <a:lnTo>
                    <a:pt x="16" y="126"/>
                  </a:lnTo>
                  <a:lnTo>
                    <a:pt x="16" y="126"/>
                  </a:lnTo>
                  <a:lnTo>
                    <a:pt x="16" y="1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0" name="Freeform 545">
              <a:extLst>
                <a:ext uri="{FF2B5EF4-FFF2-40B4-BE49-F238E27FC236}">
                  <a16:creationId xmlns:a16="http://schemas.microsoft.com/office/drawing/2014/main" id="{4B1EB4CE-D864-4D04-B03E-95A53B01513B}"/>
                </a:ext>
              </a:extLst>
            </p:cNvPr>
            <p:cNvSpPr>
              <a:spLocks noEditPoints="1"/>
            </p:cNvSpPr>
            <p:nvPr/>
          </p:nvSpPr>
          <p:spPr bwMode="gray">
            <a:xfrm>
              <a:off x="7722065" y="3076532"/>
              <a:ext cx="610507" cy="521233"/>
            </a:xfrm>
            <a:custGeom>
              <a:avLst/>
              <a:gdLst>
                <a:gd name="T0" fmla="*/ 997 w 1483"/>
                <a:gd name="T1" fmla="*/ 1070 h 1266"/>
                <a:gd name="T2" fmla="*/ 694 w 1483"/>
                <a:gd name="T3" fmla="*/ 1139 h 1266"/>
                <a:gd name="T4" fmla="*/ 619 w 1483"/>
                <a:gd name="T5" fmla="*/ 1127 h 1266"/>
                <a:gd name="T6" fmla="*/ 609 w 1483"/>
                <a:gd name="T7" fmla="*/ 1193 h 1266"/>
                <a:gd name="T8" fmla="*/ 581 w 1483"/>
                <a:gd name="T9" fmla="*/ 1209 h 1266"/>
                <a:gd name="T10" fmla="*/ 567 w 1483"/>
                <a:gd name="T11" fmla="*/ 1172 h 1266"/>
                <a:gd name="T12" fmla="*/ 550 w 1483"/>
                <a:gd name="T13" fmla="*/ 1127 h 1266"/>
                <a:gd name="T14" fmla="*/ 475 w 1483"/>
                <a:gd name="T15" fmla="*/ 1044 h 1266"/>
                <a:gd name="T16" fmla="*/ 463 w 1483"/>
                <a:gd name="T17" fmla="*/ 1011 h 1266"/>
                <a:gd name="T18" fmla="*/ 441 w 1483"/>
                <a:gd name="T19" fmla="*/ 971 h 1266"/>
                <a:gd name="T20" fmla="*/ 378 w 1483"/>
                <a:gd name="T21" fmla="*/ 921 h 1266"/>
                <a:gd name="T22" fmla="*/ 323 w 1483"/>
                <a:gd name="T23" fmla="*/ 860 h 1266"/>
                <a:gd name="T24" fmla="*/ 312 w 1483"/>
                <a:gd name="T25" fmla="*/ 805 h 1266"/>
                <a:gd name="T26" fmla="*/ 278 w 1483"/>
                <a:gd name="T27" fmla="*/ 654 h 1266"/>
                <a:gd name="T28" fmla="*/ 189 w 1483"/>
                <a:gd name="T29" fmla="*/ 572 h 1266"/>
                <a:gd name="T30" fmla="*/ 172 w 1483"/>
                <a:gd name="T31" fmla="*/ 510 h 1266"/>
                <a:gd name="T32" fmla="*/ 156 w 1483"/>
                <a:gd name="T33" fmla="*/ 489 h 1266"/>
                <a:gd name="T34" fmla="*/ 47 w 1483"/>
                <a:gd name="T35" fmla="*/ 326 h 1266"/>
                <a:gd name="T36" fmla="*/ 0 w 1483"/>
                <a:gd name="T37" fmla="*/ 321 h 1266"/>
                <a:gd name="T38" fmla="*/ 106 w 1483"/>
                <a:gd name="T39" fmla="*/ 239 h 1266"/>
                <a:gd name="T40" fmla="*/ 210 w 1483"/>
                <a:gd name="T41" fmla="*/ 177 h 1266"/>
                <a:gd name="T42" fmla="*/ 172 w 1483"/>
                <a:gd name="T43" fmla="*/ 50 h 1266"/>
                <a:gd name="T44" fmla="*/ 408 w 1483"/>
                <a:gd name="T45" fmla="*/ 17 h 1266"/>
                <a:gd name="T46" fmla="*/ 718 w 1483"/>
                <a:gd name="T47" fmla="*/ 239 h 1266"/>
                <a:gd name="T48" fmla="*/ 928 w 1483"/>
                <a:gd name="T49" fmla="*/ 288 h 1266"/>
                <a:gd name="T50" fmla="*/ 987 w 1483"/>
                <a:gd name="T51" fmla="*/ 326 h 1266"/>
                <a:gd name="T52" fmla="*/ 1004 w 1483"/>
                <a:gd name="T53" fmla="*/ 345 h 1266"/>
                <a:gd name="T54" fmla="*/ 1034 w 1483"/>
                <a:gd name="T55" fmla="*/ 378 h 1266"/>
                <a:gd name="T56" fmla="*/ 1051 w 1483"/>
                <a:gd name="T57" fmla="*/ 387 h 1266"/>
                <a:gd name="T58" fmla="*/ 1089 w 1483"/>
                <a:gd name="T59" fmla="*/ 432 h 1266"/>
                <a:gd name="T60" fmla="*/ 1105 w 1483"/>
                <a:gd name="T61" fmla="*/ 461 h 1266"/>
                <a:gd name="T62" fmla="*/ 1089 w 1483"/>
                <a:gd name="T63" fmla="*/ 489 h 1266"/>
                <a:gd name="T64" fmla="*/ 1122 w 1483"/>
                <a:gd name="T65" fmla="*/ 531 h 1266"/>
                <a:gd name="T66" fmla="*/ 1143 w 1483"/>
                <a:gd name="T67" fmla="*/ 583 h 1266"/>
                <a:gd name="T68" fmla="*/ 1176 w 1483"/>
                <a:gd name="T69" fmla="*/ 588 h 1266"/>
                <a:gd name="T70" fmla="*/ 1186 w 1483"/>
                <a:gd name="T71" fmla="*/ 600 h 1266"/>
                <a:gd name="T72" fmla="*/ 1197 w 1483"/>
                <a:gd name="T73" fmla="*/ 626 h 1266"/>
                <a:gd name="T74" fmla="*/ 1450 w 1483"/>
                <a:gd name="T75" fmla="*/ 737 h 1266"/>
                <a:gd name="T76" fmla="*/ 1436 w 1483"/>
                <a:gd name="T77" fmla="*/ 938 h 1266"/>
                <a:gd name="T78" fmla="*/ 9 w 1483"/>
                <a:gd name="T79" fmla="*/ 333 h 1266"/>
                <a:gd name="T80" fmla="*/ 0 w 1483"/>
                <a:gd name="T81" fmla="*/ 326 h 1266"/>
                <a:gd name="T82" fmla="*/ 1051 w 1483"/>
                <a:gd name="T83" fmla="*/ 383 h 1266"/>
                <a:gd name="T84" fmla="*/ 1051 w 1483"/>
                <a:gd name="T85" fmla="*/ 383 h 1266"/>
                <a:gd name="T86" fmla="*/ 517 w 1483"/>
                <a:gd name="T87" fmla="*/ 1172 h 1266"/>
                <a:gd name="T88" fmla="*/ 517 w 1483"/>
                <a:gd name="T89" fmla="*/ 1172 h 1266"/>
                <a:gd name="T90" fmla="*/ 517 w 1483"/>
                <a:gd name="T91" fmla="*/ 1172 h 1266"/>
                <a:gd name="T92" fmla="*/ 512 w 1483"/>
                <a:gd name="T93" fmla="*/ 1181 h 1266"/>
                <a:gd name="T94" fmla="*/ 529 w 1483"/>
                <a:gd name="T95" fmla="*/ 1181 h 1266"/>
                <a:gd name="T96" fmla="*/ 534 w 1483"/>
                <a:gd name="T97" fmla="*/ 1200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3" h="1266">
                  <a:moveTo>
                    <a:pt x="1436" y="938"/>
                  </a:moveTo>
                  <a:lnTo>
                    <a:pt x="1230" y="1016"/>
                  </a:lnTo>
                  <a:lnTo>
                    <a:pt x="997" y="1070"/>
                  </a:lnTo>
                  <a:lnTo>
                    <a:pt x="824" y="1266"/>
                  </a:lnTo>
                  <a:lnTo>
                    <a:pt x="824" y="1193"/>
                  </a:lnTo>
                  <a:lnTo>
                    <a:pt x="694" y="1139"/>
                  </a:lnTo>
                  <a:lnTo>
                    <a:pt x="656" y="1143"/>
                  </a:lnTo>
                  <a:lnTo>
                    <a:pt x="635" y="1127"/>
                  </a:lnTo>
                  <a:lnTo>
                    <a:pt x="619" y="1127"/>
                  </a:lnTo>
                  <a:lnTo>
                    <a:pt x="609" y="1139"/>
                  </a:lnTo>
                  <a:lnTo>
                    <a:pt x="604" y="1172"/>
                  </a:lnTo>
                  <a:lnTo>
                    <a:pt x="609" y="1193"/>
                  </a:lnTo>
                  <a:lnTo>
                    <a:pt x="604" y="1193"/>
                  </a:lnTo>
                  <a:lnTo>
                    <a:pt x="593" y="1200"/>
                  </a:lnTo>
                  <a:lnTo>
                    <a:pt x="581" y="1209"/>
                  </a:lnTo>
                  <a:lnTo>
                    <a:pt x="581" y="1193"/>
                  </a:lnTo>
                  <a:lnTo>
                    <a:pt x="567" y="1176"/>
                  </a:lnTo>
                  <a:lnTo>
                    <a:pt x="567" y="1172"/>
                  </a:lnTo>
                  <a:lnTo>
                    <a:pt x="555" y="1155"/>
                  </a:lnTo>
                  <a:lnTo>
                    <a:pt x="550" y="1160"/>
                  </a:lnTo>
                  <a:lnTo>
                    <a:pt x="550" y="1127"/>
                  </a:lnTo>
                  <a:lnTo>
                    <a:pt x="500" y="1098"/>
                  </a:lnTo>
                  <a:lnTo>
                    <a:pt x="484" y="1061"/>
                  </a:lnTo>
                  <a:lnTo>
                    <a:pt x="475" y="1044"/>
                  </a:lnTo>
                  <a:lnTo>
                    <a:pt x="475" y="1028"/>
                  </a:lnTo>
                  <a:lnTo>
                    <a:pt x="463" y="1016"/>
                  </a:lnTo>
                  <a:lnTo>
                    <a:pt x="463" y="1011"/>
                  </a:lnTo>
                  <a:lnTo>
                    <a:pt x="458" y="1004"/>
                  </a:lnTo>
                  <a:lnTo>
                    <a:pt x="446" y="987"/>
                  </a:lnTo>
                  <a:lnTo>
                    <a:pt x="441" y="971"/>
                  </a:lnTo>
                  <a:lnTo>
                    <a:pt x="441" y="959"/>
                  </a:lnTo>
                  <a:lnTo>
                    <a:pt x="392" y="921"/>
                  </a:lnTo>
                  <a:lnTo>
                    <a:pt x="378" y="921"/>
                  </a:lnTo>
                  <a:lnTo>
                    <a:pt x="366" y="905"/>
                  </a:lnTo>
                  <a:lnTo>
                    <a:pt x="349" y="883"/>
                  </a:lnTo>
                  <a:lnTo>
                    <a:pt x="323" y="860"/>
                  </a:lnTo>
                  <a:lnTo>
                    <a:pt x="323" y="843"/>
                  </a:lnTo>
                  <a:lnTo>
                    <a:pt x="323" y="827"/>
                  </a:lnTo>
                  <a:lnTo>
                    <a:pt x="312" y="805"/>
                  </a:lnTo>
                  <a:lnTo>
                    <a:pt x="323" y="765"/>
                  </a:lnTo>
                  <a:lnTo>
                    <a:pt x="316" y="749"/>
                  </a:lnTo>
                  <a:lnTo>
                    <a:pt x="278" y="654"/>
                  </a:lnTo>
                  <a:lnTo>
                    <a:pt x="257" y="638"/>
                  </a:lnTo>
                  <a:lnTo>
                    <a:pt x="203" y="609"/>
                  </a:lnTo>
                  <a:lnTo>
                    <a:pt x="189" y="572"/>
                  </a:lnTo>
                  <a:lnTo>
                    <a:pt x="193" y="572"/>
                  </a:lnTo>
                  <a:lnTo>
                    <a:pt x="189" y="548"/>
                  </a:lnTo>
                  <a:lnTo>
                    <a:pt x="172" y="510"/>
                  </a:lnTo>
                  <a:lnTo>
                    <a:pt x="156" y="498"/>
                  </a:lnTo>
                  <a:lnTo>
                    <a:pt x="151" y="494"/>
                  </a:lnTo>
                  <a:lnTo>
                    <a:pt x="156" y="489"/>
                  </a:lnTo>
                  <a:lnTo>
                    <a:pt x="139" y="477"/>
                  </a:lnTo>
                  <a:lnTo>
                    <a:pt x="118" y="437"/>
                  </a:lnTo>
                  <a:lnTo>
                    <a:pt x="47" y="326"/>
                  </a:lnTo>
                  <a:lnTo>
                    <a:pt x="14" y="321"/>
                  </a:lnTo>
                  <a:lnTo>
                    <a:pt x="9" y="326"/>
                  </a:lnTo>
                  <a:lnTo>
                    <a:pt x="0" y="321"/>
                  </a:lnTo>
                  <a:lnTo>
                    <a:pt x="14" y="288"/>
                  </a:lnTo>
                  <a:lnTo>
                    <a:pt x="30" y="222"/>
                  </a:lnTo>
                  <a:lnTo>
                    <a:pt x="106" y="239"/>
                  </a:lnTo>
                  <a:lnTo>
                    <a:pt x="139" y="215"/>
                  </a:lnTo>
                  <a:lnTo>
                    <a:pt x="156" y="182"/>
                  </a:lnTo>
                  <a:lnTo>
                    <a:pt x="210" y="177"/>
                  </a:lnTo>
                  <a:lnTo>
                    <a:pt x="215" y="144"/>
                  </a:lnTo>
                  <a:lnTo>
                    <a:pt x="241" y="139"/>
                  </a:lnTo>
                  <a:lnTo>
                    <a:pt x="172" y="50"/>
                  </a:lnTo>
                  <a:lnTo>
                    <a:pt x="316" y="9"/>
                  </a:lnTo>
                  <a:lnTo>
                    <a:pt x="323" y="0"/>
                  </a:lnTo>
                  <a:lnTo>
                    <a:pt x="408" y="17"/>
                  </a:lnTo>
                  <a:lnTo>
                    <a:pt x="484" y="66"/>
                  </a:lnTo>
                  <a:lnTo>
                    <a:pt x="534" y="83"/>
                  </a:lnTo>
                  <a:lnTo>
                    <a:pt x="718" y="239"/>
                  </a:lnTo>
                  <a:lnTo>
                    <a:pt x="841" y="239"/>
                  </a:lnTo>
                  <a:lnTo>
                    <a:pt x="907" y="250"/>
                  </a:lnTo>
                  <a:lnTo>
                    <a:pt x="928" y="288"/>
                  </a:lnTo>
                  <a:lnTo>
                    <a:pt x="971" y="288"/>
                  </a:lnTo>
                  <a:lnTo>
                    <a:pt x="982" y="288"/>
                  </a:lnTo>
                  <a:lnTo>
                    <a:pt x="987" y="326"/>
                  </a:lnTo>
                  <a:lnTo>
                    <a:pt x="1004" y="345"/>
                  </a:lnTo>
                  <a:lnTo>
                    <a:pt x="1004" y="350"/>
                  </a:lnTo>
                  <a:lnTo>
                    <a:pt x="1004" y="345"/>
                  </a:lnTo>
                  <a:lnTo>
                    <a:pt x="1004" y="361"/>
                  </a:lnTo>
                  <a:lnTo>
                    <a:pt x="1034" y="366"/>
                  </a:lnTo>
                  <a:lnTo>
                    <a:pt x="1034" y="378"/>
                  </a:lnTo>
                  <a:lnTo>
                    <a:pt x="1025" y="378"/>
                  </a:lnTo>
                  <a:lnTo>
                    <a:pt x="1041" y="399"/>
                  </a:lnTo>
                  <a:lnTo>
                    <a:pt x="1051" y="387"/>
                  </a:lnTo>
                  <a:lnTo>
                    <a:pt x="1067" y="404"/>
                  </a:lnTo>
                  <a:lnTo>
                    <a:pt x="1096" y="437"/>
                  </a:lnTo>
                  <a:lnTo>
                    <a:pt x="1089" y="432"/>
                  </a:lnTo>
                  <a:lnTo>
                    <a:pt x="1089" y="444"/>
                  </a:lnTo>
                  <a:lnTo>
                    <a:pt x="1096" y="456"/>
                  </a:lnTo>
                  <a:lnTo>
                    <a:pt x="1105" y="461"/>
                  </a:lnTo>
                  <a:lnTo>
                    <a:pt x="1096" y="477"/>
                  </a:lnTo>
                  <a:lnTo>
                    <a:pt x="1089" y="472"/>
                  </a:lnTo>
                  <a:lnTo>
                    <a:pt x="1089" y="489"/>
                  </a:lnTo>
                  <a:lnTo>
                    <a:pt x="1105" y="515"/>
                  </a:lnTo>
                  <a:lnTo>
                    <a:pt x="1096" y="510"/>
                  </a:lnTo>
                  <a:lnTo>
                    <a:pt x="1122" y="531"/>
                  </a:lnTo>
                  <a:lnTo>
                    <a:pt x="1126" y="555"/>
                  </a:lnTo>
                  <a:lnTo>
                    <a:pt x="1143" y="583"/>
                  </a:lnTo>
                  <a:lnTo>
                    <a:pt x="1143" y="583"/>
                  </a:lnTo>
                  <a:lnTo>
                    <a:pt x="1148" y="600"/>
                  </a:lnTo>
                  <a:lnTo>
                    <a:pt x="1176" y="588"/>
                  </a:lnTo>
                  <a:lnTo>
                    <a:pt x="1176" y="588"/>
                  </a:lnTo>
                  <a:lnTo>
                    <a:pt x="1176" y="600"/>
                  </a:lnTo>
                  <a:lnTo>
                    <a:pt x="1181" y="588"/>
                  </a:lnTo>
                  <a:lnTo>
                    <a:pt x="1186" y="600"/>
                  </a:lnTo>
                  <a:lnTo>
                    <a:pt x="1176" y="609"/>
                  </a:lnTo>
                  <a:lnTo>
                    <a:pt x="1197" y="621"/>
                  </a:lnTo>
                  <a:lnTo>
                    <a:pt x="1197" y="626"/>
                  </a:lnTo>
                  <a:lnTo>
                    <a:pt x="1268" y="716"/>
                  </a:lnTo>
                  <a:lnTo>
                    <a:pt x="1445" y="737"/>
                  </a:lnTo>
                  <a:lnTo>
                    <a:pt x="1450" y="737"/>
                  </a:lnTo>
                  <a:lnTo>
                    <a:pt x="1483" y="789"/>
                  </a:lnTo>
                  <a:lnTo>
                    <a:pt x="1436" y="938"/>
                  </a:lnTo>
                  <a:lnTo>
                    <a:pt x="1436" y="938"/>
                  </a:lnTo>
                  <a:lnTo>
                    <a:pt x="1436" y="938"/>
                  </a:lnTo>
                  <a:close/>
                  <a:moveTo>
                    <a:pt x="0" y="326"/>
                  </a:moveTo>
                  <a:lnTo>
                    <a:pt x="9" y="333"/>
                  </a:lnTo>
                  <a:lnTo>
                    <a:pt x="0" y="333"/>
                  </a:lnTo>
                  <a:lnTo>
                    <a:pt x="0" y="326"/>
                  </a:lnTo>
                  <a:lnTo>
                    <a:pt x="0" y="326"/>
                  </a:lnTo>
                  <a:lnTo>
                    <a:pt x="0" y="326"/>
                  </a:lnTo>
                  <a:close/>
                  <a:moveTo>
                    <a:pt x="1051" y="383"/>
                  </a:moveTo>
                  <a:lnTo>
                    <a:pt x="1051" y="383"/>
                  </a:lnTo>
                  <a:lnTo>
                    <a:pt x="1058" y="383"/>
                  </a:lnTo>
                  <a:lnTo>
                    <a:pt x="1051" y="383"/>
                  </a:lnTo>
                  <a:lnTo>
                    <a:pt x="1051" y="383"/>
                  </a:lnTo>
                  <a:lnTo>
                    <a:pt x="1051" y="383"/>
                  </a:lnTo>
                  <a:close/>
                  <a:moveTo>
                    <a:pt x="517" y="1172"/>
                  </a:moveTo>
                  <a:lnTo>
                    <a:pt x="517" y="1172"/>
                  </a:lnTo>
                  <a:lnTo>
                    <a:pt x="529" y="1181"/>
                  </a:lnTo>
                  <a:lnTo>
                    <a:pt x="512" y="1176"/>
                  </a:lnTo>
                  <a:lnTo>
                    <a:pt x="517" y="1172"/>
                  </a:lnTo>
                  <a:lnTo>
                    <a:pt x="517" y="1172"/>
                  </a:lnTo>
                  <a:lnTo>
                    <a:pt x="517" y="1172"/>
                  </a:lnTo>
                  <a:lnTo>
                    <a:pt x="517" y="1172"/>
                  </a:lnTo>
                  <a:close/>
                  <a:moveTo>
                    <a:pt x="534" y="1200"/>
                  </a:moveTo>
                  <a:lnTo>
                    <a:pt x="534" y="1193"/>
                  </a:lnTo>
                  <a:lnTo>
                    <a:pt x="512" y="1181"/>
                  </a:lnTo>
                  <a:lnTo>
                    <a:pt x="512" y="1176"/>
                  </a:lnTo>
                  <a:lnTo>
                    <a:pt x="517" y="1181"/>
                  </a:lnTo>
                  <a:lnTo>
                    <a:pt x="529" y="1181"/>
                  </a:lnTo>
                  <a:lnTo>
                    <a:pt x="529" y="1181"/>
                  </a:lnTo>
                  <a:lnTo>
                    <a:pt x="534" y="1176"/>
                  </a:lnTo>
                  <a:lnTo>
                    <a:pt x="534" y="1200"/>
                  </a:lnTo>
                  <a:lnTo>
                    <a:pt x="534" y="1200"/>
                  </a:lnTo>
                  <a:lnTo>
                    <a:pt x="534" y="120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3" name="Freeform 548">
              <a:extLst>
                <a:ext uri="{FF2B5EF4-FFF2-40B4-BE49-F238E27FC236}">
                  <a16:creationId xmlns:a16="http://schemas.microsoft.com/office/drawing/2014/main" id="{D636C8C0-6CC6-4DA0-AFE8-653CDE5C839D}"/>
                </a:ext>
              </a:extLst>
            </p:cNvPr>
            <p:cNvSpPr>
              <a:spLocks noEditPoints="1"/>
            </p:cNvSpPr>
            <p:nvPr/>
          </p:nvSpPr>
          <p:spPr bwMode="gray">
            <a:xfrm>
              <a:off x="8060458" y="4199694"/>
              <a:ext cx="269233" cy="146983"/>
            </a:xfrm>
            <a:custGeom>
              <a:avLst/>
              <a:gdLst>
                <a:gd name="T0" fmla="*/ 654 w 654"/>
                <a:gd name="T1" fmla="*/ 17 h 357"/>
                <a:gd name="T2" fmla="*/ 638 w 654"/>
                <a:gd name="T3" fmla="*/ 12 h 357"/>
                <a:gd name="T4" fmla="*/ 647 w 654"/>
                <a:gd name="T5" fmla="*/ 0 h 357"/>
                <a:gd name="T6" fmla="*/ 654 w 654"/>
                <a:gd name="T7" fmla="*/ 17 h 357"/>
                <a:gd name="T8" fmla="*/ 654 w 654"/>
                <a:gd name="T9" fmla="*/ 17 h 357"/>
                <a:gd name="T10" fmla="*/ 654 w 654"/>
                <a:gd name="T11" fmla="*/ 17 h 357"/>
                <a:gd name="T12" fmla="*/ 7 w 654"/>
                <a:gd name="T13" fmla="*/ 357 h 357"/>
                <a:gd name="T14" fmla="*/ 0 w 654"/>
                <a:gd name="T15" fmla="*/ 352 h 357"/>
                <a:gd name="T16" fmla="*/ 23 w 654"/>
                <a:gd name="T17" fmla="*/ 352 h 357"/>
                <a:gd name="T18" fmla="*/ 7 w 654"/>
                <a:gd name="T19" fmla="*/ 357 h 357"/>
                <a:gd name="T20" fmla="*/ 7 w 654"/>
                <a:gd name="T21" fmla="*/ 357 h 357"/>
                <a:gd name="T22" fmla="*/ 7 w 654"/>
                <a:gd name="T23"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4" h="357">
                  <a:moveTo>
                    <a:pt x="654" y="17"/>
                  </a:moveTo>
                  <a:lnTo>
                    <a:pt x="638" y="12"/>
                  </a:lnTo>
                  <a:lnTo>
                    <a:pt x="647" y="0"/>
                  </a:lnTo>
                  <a:lnTo>
                    <a:pt x="654" y="17"/>
                  </a:lnTo>
                  <a:lnTo>
                    <a:pt x="654" y="17"/>
                  </a:lnTo>
                  <a:lnTo>
                    <a:pt x="654" y="17"/>
                  </a:lnTo>
                  <a:close/>
                  <a:moveTo>
                    <a:pt x="7" y="357"/>
                  </a:moveTo>
                  <a:lnTo>
                    <a:pt x="0" y="352"/>
                  </a:lnTo>
                  <a:lnTo>
                    <a:pt x="23" y="352"/>
                  </a:lnTo>
                  <a:lnTo>
                    <a:pt x="7" y="357"/>
                  </a:lnTo>
                  <a:lnTo>
                    <a:pt x="7" y="357"/>
                  </a:lnTo>
                  <a:lnTo>
                    <a:pt x="7" y="35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6" name="Freeform 549">
              <a:extLst>
                <a:ext uri="{FF2B5EF4-FFF2-40B4-BE49-F238E27FC236}">
                  <a16:creationId xmlns:a16="http://schemas.microsoft.com/office/drawing/2014/main" id="{F23EED08-F00A-4D6E-9F1E-F0CC3C0E1874}"/>
                </a:ext>
              </a:extLst>
            </p:cNvPr>
            <p:cNvSpPr>
              <a:spLocks noEditPoints="1"/>
            </p:cNvSpPr>
            <p:nvPr/>
          </p:nvSpPr>
          <p:spPr bwMode="gray">
            <a:xfrm>
              <a:off x="7142434" y="4731631"/>
              <a:ext cx="676786" cy="837430"/>
            </a:xfrm>
            <a:custGeom>
              <a:avLst/>
              <a:gdLst>
                <a:gd name="T0" fmla="*/ 449 w 1644"/>
                <a:gd name="T1" fmla="*/ 289 h 2034"/>
                <a:gd name="T2" fmla="*/ 437 w 1644"/>
                <a:gd name="T3" fmla="*/ 355 h 2034"/>
                <a:gd name="T4" fmla="*/ 534 w 1644"/>
                <a:gd name="T5" fmla="*/ 350 h 2034"/>
                <a:gd name="T6" fmla="*/ 588 w 1644"/>
                <a:gd name="T7" fmla="*/ 260 h 2034"/>
                <a:gd name="T8" fmla="*/ 664 w 1644"/>
                <a:gd name="T9" fmla="*/ 272 h 2034"/>
                <a:gd name="T10" fmla="*/ 718 w 1644"/>
                <a:gd name="T11" fmla="*/ 289 h 2034"/>
                <a:gd name="T12" fmla="*/ 805 w 1644"/>
                <a:gd name="T13" fmla="*/ 199 h 2034"/>
                <a:gd name="T14" fmla="*/ 881 w 1644"/>
                <a:gd name="T15" fmla="*/ 123 h 2034"/>
                <a:gd name="T16" fmla="*/ 923 w 1644"/>
                <a:gd name="T17" fmla="*/ 90 h 2034"/>
                <a:gd name="T18" fmla="*/ 1020 w 1644"/>
                <a:gd name="T19" fmla="*/ 22 h 2034"/>
                <a:gd name="T20" fmla="*/ 1075 w 1644"/>
                <a:gd name="T21" fmla="*/ 0 h 2034"/>
                <a:gd name="T22" fmla="*/ 1188 w 1644"/>
                <a:gd name="T23" fmla="*/ 22 h 2034"/>
                <a:gd name="T24" fmla="*/ 1226 w 1644"/>
                <a:gd name="T25" fmla="*/ 144 h 2034"/>
                <a:gd name="T26" fmla="*/ 1226 w 1644"/>
                <a:gd name="T27" fmla="*/ 293 h 2034"/>
                <a:gd name="T28" fmla="*/ 1171 w 1644"/>
                <a:gd name="T29" fmla="*/ 293 h 2034"/>
                <a:gd name="T30" fmla="*/ 1157 w 1644"/>
                <a:gd name="T31" fmla="*/ 355 h 2034"/>
                <a:gd name="T32" fmla="*/ 1238 w 1644"/>
                <a:gd name="T33" fmla="*/ 400 h 2034"/>
                <a:gd name="T34" fmla="*/ 1297 w 1644"/>
                <a:gd name="T35" fmla="*/ 366 h 2034"/>
                <a:gd name="T36" fmla="*/ 1221 w 1644"/>
                <a:gd name="T37" fmla="*/ 522 h 2034"/>
                <a:gd name="T38" fmla="*/ 1167 w 1644"/>
                <a:gd name="T39" fmla="*/ 605 h 2034"/>
                <a:gd name="T40" fmla="*/ 990 w 1644"/>
                <a:gd name="T41" fmla="*/ 815 h 2034"/>
                <a:gd name="T42" fmla="*/ 848 w 1644"/>
                <a:gd name="T43" fmla="*/ 910 h 2034"/>
                <a:gd name="T44" fmla="*/ 794 w 1644"/>
                <a:gd name="T45" fmla="*/ 926 h 2034"/>
                <a:gd name="T46" fmla="*/ 734 w 1644"/>
                <a:gd name="T47" fmla="*/ 943 h 2034"/>
                <a:gd name="T48" fmla="*/ 626 w 1644"/>
                <a:gd name="T49" fmla="*/ 938 h 2034"/>
                <a:gd name="T50" fmla="*/ 517 w 1644"/>
                <a:gd name="T51" fmla="*/ 959 h 2034"/>
                <a:gd name="T52" fmla="*/ 453 w 1644"/>
                <a:gd name="T53" fmla="*/ 959 h 2034"/>
                <a:gd name="T54" fmla="*/ 394 w 1644"/>
                <a:gd name="T55" fmla="*/ 992 h 2034"/>
                <a:gd name="T56" fmla="*/ 345 w 1644"/>
                <a:gd name="T57" fmla="*/ 964 h 2034"/>
                <a:gd name="T58" fmla="*/ 307 w 1644"/>
                <a:gd name="T59" fmla="*/ 943 h 2034"/>
                <a:gd name="T60" fmla="*/ 286 w 1644"/>
                <a:gd name="T61" fmla="*/ 959 h 2034"/>
                <a:gd name="T62" fmla="*/ 286 w 1644"/>
                <a:gd name="T63" fmla="*/ 922 h 2034"/>
                <a:gd name="T64" fmla="*/ 248 w 1644"/>
                <a:gd name="T65" fmla="*/ 848 h 2034"/>
                <a:gd name="T66" fmla="*/ 260 w 1644"/>
                <a:gd name="T67" fmla="*/ 832 h 2034"/>
                <a:gd name="T68" fmla="*/ 269 w 1644"/>
                <a:gd name="T69" fmla="*/ 759 h 2034"/>
                <a:gd name="T70" fmla="*/ 151 w 1644"/>
                <a:gd name="T71" fmla="*/ 522 h 2034"/>
                <a:gd name="T72" fmla="*/ 168 w 1644"/>
                <a:gd name="T73" fmla="*/ 461 h 2034"/>
                <a:gd name="T74" fmla="*/ 205 w 1644"/>
                <a:gd name="T75" fmla="*/ 466 h 2034"/>
                <a:gd name="T76" fmla="*/ 222 w 1644"/>
                <a:gd name="T77" fmla="*/ 515 h 2034"/>
                <a:gd name="T78" fmla="*/ 302 w 1644"/>
                <a:gd name="T79" fmla="*/ 515 h 2034"/>
                <a:gd name="T80" fmla="*/ 340 w 1644"/>
                <a:gd name="T81" fmla="*/ 511 h 2034"/>
                <a:gd name="T82" fmla="*/ 394 w 1644"/>
                <a:gd name="T83" fmla="*/ 482 h 2034"/>
                <a:gd name="T84" fmla="*/ 394 w 1644"/>
                <a:gd name="T85" fmla="*/ 199 h 2034"/>
                <a:gd name="T86" fmla="*/ 966 w 1644"/>
                <a:gd name="T87" fmla="*/ 511 h 2034"/>
                <a:gd name="T88" fmla="*/ 886 w 1644"/>
                <a:gd name="T89" fmla="*/ 577 h 2034"/>
                <a:gd name="T90" fmla="*/ 935 w 1644"/>
                <a:gd name="T91" fmla="*/ 659 h 2034"/>
                <a:gd name="T92" fmla="*/ 1011 w 1644"/>
                <a:gd name="T93" fmla="*/ 622 h 2034"/>
                <a:gd name="T94" fmla="*/ 1042 w 1644"/>
                <a:gd name="T95" fmla="*/ 577 h 2034"/>
                <a:gd name="T96" fmla="*/ 1049 w 1644"/>
                <a:gd name="T97" fmla="*/ 539 h 2034"/>
                <a:gd name="T98" fmla="*/ 1011 w 1644"/>
                <a:gd name="T99" fmla="*/ 511 h 2034"/>
                <a:gd name="T100" fmla="*/ 21 w 1644"/>
                <a:gd name="T101" fmla="*/ 78 h 2034"/>
                <a:gd name="T102" fmla="*/ 0 w 1644"/>
                <a:gd name="T103" fmla="*/ 55 h 2034"/>
                <a:gd name="T104" fmla="*/ 5 w 1644"/>
                <a:gd name="T105" fmla="*/ 38 h 2034"/>
                <a:gd name="T106" fmla="*/ 1644 w 1644"/>
                <a:gd name="T107" fmla="*/ 2034 h 2034"/>
                <a:gd name="T108" fmla="*/ 1644 w 1644"/>
                <a:gd name="T109" fmla="*/ 2029 h 2034"/>
                <a:gd name="T110" fmla="*/ 1644 w 1644"/>
                <a:gd name="T111" fmla="*/ 2034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44" h="2034">
                  <a:moveTo>
                    <a:pt x="394" y="199"/>
                  </a:moveTo>
                  <a:lnTo>
                    <a:pt x="416" y="222"/>
                  </a:lnTo>
                  <a:lnTo>
                    <a:pt x="449" y="289"/>
                  </a:lnTo>
                  <a:lnTo>
                    <a:pt x="453" y="310"/>
                  </a:lnTo>
                  <a:lnTo>
                    <a:pt x="432" y="333"/>
                  </a:lnTo>
                  <a:lnTo>
                    <a:pt x="437" y="355"/>
                  </a:lnTo>
                  <a:lnTo>
                    <a:pt x="508" y="366"/>
                  </a:lnTo>
                  <a:lnTo>
                    <a:pt x="517" y="350"/>
                  </a:lnTo>
                  <a:lnTo>
                    <a:pt x="534" y="350"/>
                  </a:lnTo>
                  <a:lnTo>
                    <a:pt x="546" y="326"/>
                  </a:lnTo>
                  <a:lnTo>
                    <a:pt x="579" y="300"/>
                  </a:lnTo>
                  <a:lnTo>
                    <a:pt x="588" y="260"/>
                  </a:lnTo>
                  <a:lnTo>
                    <a:pt x="600" y="244"/>
                  </a:lnTo>
                  <a:lnTo>
                    <a:pt x="633" y="239"/>
                  </a:lnTo>
                  <a:lnTo>
                    <a:pt x="664" y="272"/>
                  </a:lnTo>
                  <a:lnTo>
                    <a:pt x="685" y="272"/>
                  </a:lnTo>
                  <a:lnTo>
                    <a:pt x="697" y="277"/>
                  </a:lnTo>
                  <a:lnTo>
                    <a:pt x="718" y="289"/>
                  </a:lnTo>
                  <a:lnTo>
                    <a:pt x="777" y="272"/>
                  </a:lnTo>
                  <a:lnTo>
                    <a:pt x="789" y="255"/>
                  </a:lnTo>
                  <a:lnTo>
                    <a:pt x="805" y="199"/>
                  </a:lnTo>
                  <a:lnTo>
                    <a:pt x="843" y="189"/>
                  </a:lnTo>
                  <a:lnTo>
                    <a:pt x="869" y="166"/>
                  </a:lnTo>
                  <a:lnTo>
                    <a:pt x="881" y="123"/>
                  </a:lnTo>
                  <a:lnTo>
                    <a:pt x="914" y="95"/>
                  </a:lnTo>
                  <a:lnTo>
                    <a:pt x="919" y="95"/>
                  </a:lnTo>
                  <a:lnTo>
                    <a:pt x="923" y="90"/>
                  </a:lnTo>
                  <a:lnTo>
                    <a:pt x="952" y="74"/>
                  </a:lnTo>
                  <a:lnTo>
                    <a:pt x="973" y="38"/>
                  </a:lnTo>
                  <a:lnTo>
                    <a:pt x="1020" y="22"/>
                  </a:lnTo>
                  <a:lnTo>
                    <a:pt x="1027" y="12"/>
                  </a:lnTo>
                  <a:lnTo>
                    <a:pt x="1049" y="12"/>
                  </a:lnTo>
                  <a:lnTo>
                    <a:pt x="1075" y="0"/>
                  </a:lnTo>
                  <a:lnTo>
                    <a:pt x="1120" y="17"/>
                  </a:lnTo>
                  <a:lnTo>
                    <a:pt x="1157" y="17"/>
                  </a:lnTo>
                  <a:lnTo>
                    <a:pt x="1188" y="22"/>
                  </a:lnTo>
                  <a:lnTo>
                    <a:pt x="1205" y="78"/>
                  </a:lnTo>
                  <a:lnTo>
                    <a:pt x="1205" y="107"/>
                  </a:lnTo>
                  <a:lnTo>
                    <a:pt x="1226" y="144"/>
                  </a:lnTo>
                  <a:lnTo>
                    <a:pt x="1238" y="178"/>
                  </a:lnTo>
                  <a:lnTo>
                    <a:pt x="1238" y="293"/>
                  </a:lnTo>
                  <a:lnTo>
                    <a:pt x="1226" y="293"/>
                  </a:lnTo>
                  <a:lnTo>
                    <a:pt x="1195" y="277"/>
                  </a:lnTo>
                  <a:lnTo>
                    <a:pt x="1188" y="277"/>
                  </a:lnTo>
                  <a:lnTo>
                    <a:pt x="1171" y="293"/>
                  </a:lnTo>
                  <a:lnTo>
                    <a:pt x="1150" y="326"/>
                  </a:lnTo>
                  <a:lnTo>
                    <a:pt x="1150" y="355"/>
                  </a:lnTo>
                  <a:lnTo>
                    <a:pt x="1157" y="355"/>
                  </a:lnTo>
                  <a:lnTo>
                    <a:pt x="1171" y="388"/>
                  </a:lnTo>
                  <a:lnTo>
                    <a:pt x="1205" y="400"/>
                  </a:lnTo>
                  <a:lnTo>
                    <a:pt x="1238" y="400"/>
                  </a:lnTo>
                  <a:lnTo>
                    <a:pt x="1238" y="355"/>
                  </a:lnTo>
                  <a:lnTo>
                    <a:pt x="1242" y="366"/>
                  </a:lnTo>
                  <a:lnTo>
                    <a:pt x="1297" y="366"/>
                  </a:lnTo>
                  <a:lnTo>
                    <a:pt x="1259" y="494"/>
                  </a:lnTo>
                  <a:lnTo>
                    <a:pt x="1238" y="522"/>
                  </a:lnTo>
                  <a:lnTo>
                    <a:pt x="1221" y="522"/>
                  </a:lnTo>
                  <a:lnTo>
                    <a:pt x="1188" y="565"/>
                  </a:lnTo>
                  <a:lnTo>
                    <a:pt x="1167" y="605"/>
                  </a:lnTo>
                  <a:lnTo>
                    <a:pt x="1167" y="605"/>
                  </a:lnTo>
                  <a:lnTo>
                    <a:pt x="1096" y="716"/>
                  </a:lnTo>
                  <a:lnTo>
                    <a:pt x="1049" y="742"/>
                  </a:lnTo>
                  <a:lnTo>
                    <a:pt x="990" y="815"/>
                  </a:lnTo>
                  <a:lnTo>
                    <a:pt x="952" y="848"/>
                  </a:lnTo>
                  <a:lnTo>
                    <a:pt x="886" y="886"/>
                  </a:lnTo>
                  <a:lnTo>
                    <a:pt x="848" y="910"/>
                  </a:lnTo>
                  <a:lnTo>
                    <a:pt x="794" y="910"/>
                  </a:lnTo>
                  <a:lnTo>
                    <a:pt x="789" y="922"/>
                  </a:lnTo>
                  <a:lnTo>
                    <a:pt x="794" y="926"/>
                  </a:lnTo>
                  <a:lnTo>
                    <a:pt x="739" y="926"/>
                  </a:lnTo>
                  <a:lnTo>
                    <a:pt x="739" y="926"/>
                  </a:lnTo>
                  <a:lnTo>
                    <a:pt x="734" y="943"/>
                  </a:lnTo>
                  <a:lnTo>
                    <a:pt x="647" y="926"/>
                  </a:lnTo>
                  <a:lnTo>
                    <a:pt x="633" y="926"/>
                  </a:lnTo>
                  <a:lnTo>
                    <a:pt x="626" y="938"/>
                  </a:lnTo>
                  <a:lnTo>
                    <a:pt x="572" y="926"/>
                  </a:lnTo>
                  <a:lnTo>
                    <a:pt x="541" y="938"/>
                  </a:lnTo>
                  <a:lnTo>
                    <a:pt x="517" y="959"/>
                  </a:lnTo>
                  <a:lnTo>
                    <a:pt x="503" y="959"/>
                  </a:lnTo>
                  <a:lnTo>
                    <a:pt x="486" y="959"/>
                  </a:lnTo>
                  <a:lnTo>
                    <a:pt x="453" y="959"/>
                  </a:lnTo>
                  <a:lnTo>
                    <a:pt x="449" y="964"/>
                  </a:lnTo>
                  <a:lnTo>
                    <a:pt x="427" y="964"/>
                  </a:lnTo>
                  <a:lnTo>
                    <a:pt x="394" y="992"/>
                  </a:lnTo>
                  <a:lnTo>
                    <a:pt x="373" y="992"/>
                  </a:lnTo>
                  <a:lnTo>
                    <a:pt x="345" y="976"/>
                  </a:lnTo>
                  <a:lnTo>
                    <a:pt x="345" y="964"/>
                  </a:lnTo>
                  <a:lnTo>
                    <a:pt x="340" y="959"/>
                  </a:lnTo>
                  <a:lnTo>
                    <a:pt x="307" y="959"/>
                  </a:lnTo>
                  <a:lnTo>
                    <a:pt x="307" y="943"/>
                  </a:lnTo>
                  <a:lnTo>
                    <a:pt x="307" y="938"/>
                  </a:lnTo>
                  <a:lnTo>
                    <a:pt x="286" y="938"/>
                  </a:lnTo>
                  <a:lnTo>
                    <a:pt x="286" y="959"/>
                  </a:lnTo>
                  <a:lnTo>
                    <a:pt x="274" y="955"/>
                  </a:lnTo>
                  <a:lnTo>
                    <a:pt x="269" y="926"/>
                  </a:lnTo>
                  <a:lnTo>
                    <a:pt x="286" y="922"/>
                  </a:lnTo>
                  <a:lnTo>
                    <a:pt x="286" y="903"/>
                  </a:lnTo>
                  <a:lnTo>
                    <a:pt x="253" y="848"/>
                  </a:lnTo>
                  <a:lnTo>
                    <a:pt x="248" y="848"/>
                  </a:lnTo>
                  <a:lnTo>
                    <a:pt x="236" y="832"/>
                  </a:lnTo>
                  <a:lnTo>
                    <a:pt x="253" y="827"/>
                  </a:lnTo>
                  <a:lnTo>
                    <a:pt x="260" y="832"/>
                  </a:lnTo>
                  <a:lnTo>
                    <a:pt x="269" y="815"/>
                  </a:lnTo>
                  <a:lnTo>
                    <a:pt x="274" y="794"/>
                  </a:lnTo>
                  <a:lnTo>
                    <a:pt x="269" y="759"/>
                  </a:lnTo>
                  <a:lnTo>
                    <a:pt x="198" y="631"/>
                  </a:lnTo>
                  <a:lnTo>
                    <a:pt x="168" y="539"/>
                  </a:lnTo>
                  <a:lnTo>
                    <a:pt x="151" y="522"/>
                  </a:lnTo>
                  <a:lnTo>
                    <a:pt x="146" y="499"/>
                  </a:lnTo>
                  <a:lnTo>
                    <a:pt x="160" y="494"/>
                  </a:lnTo>
                  <a:lnTo>
                    <a:pt x="168" y="461"/>
                  </a:lnTo>
                  <a:lnTo>
                    <a:pt x="184" y="454"/>
                  </a:lnTo>
                  <a:lnTo>
                    <a:pt x="198" y="466"/>
                  </a:lnTo>
                  <a:lnTo>
                    <a:pt x="205" y="466"/>
                  </a:lnTo>
                  <a:lnTo>
                    <a:pt x="205" y="511"/>
                  </a:lnTo>
                  <a:lnTo>
                    <a:pt x="222" y="511"/>
                  </a:lnTo>
                  <a:lnTo>
                    <a:pt x="222" y="515"/>
                  </a:lnTo>
                  <a:lnTo>
                    <a:pt x="248" y="515"/>
                  </a:lnTo>
                  <a:lnTo>
                    <a:pt x="260" y="522"/>
                  </a:lnTo>
                  <a:lnTo>
                    <a:pt x="302" y="515"/>
                  </a:lnTo>
                  <a:lnTo>
                    <a:pt x="328" y="522"/>
                  </a:lnTo>
                  <a:lnTo>
                    <a:pt x="340" y="522"/>
                  </a:lnTo>
                  <a:lnTo>
                    <a:pt x="340" y="511"/>
                  </a:lnTo>
                  <a:lnTo>
                    <a:pt x="357" y="511"/>
                  </a:lnTo>
                  <a:lnTo>
                    <a:pt x="361" y="494"/>
                  </a:lnTo>
                  <a:lnTo>
                    <a:pt x="394" y="482"/>
                  </a:lnTo>
                  <a:lnTo>
                    <a:pt x="394" y="199"/>
                  </a:lnTo>
                  <a:lnTo>
                    <a:pt x="394" y="199"/>
                  </a:lnTo>
                  <a:lnTo>
                    <a:pt x="394" y="199"/>
                  </a:lnTo>
                  <a:close/>
                  <a:moveTo>
                    <a:pt x="1011" y="511"/>
                  </a:moveTo>
                  <a:lnTo>
                    <a:pt x="994" y="499"/>
                  </a:lnTo>
                  <a:lnTo>
                    <a:pt x="966" y="511"/>
                  </a:lnTo>
                  <a:lnTo>
                    <a:pt x="923" y="532"/>
                  </a:lnTo>
                  <a:lnTo>
                    <a:pt x="902" y="572"/>
                  </a:lnTo>
                  <a:lnTo>
                    <a:pt x="886" y="577"/>
                  </a:lnTo>
                  <a:lnTo>
                    <a:pt x="902" y="610"/>
                  </a:lnTo>
                  <a:lnTo>
                    <a:pt x="914" y="631"/>
                  </a:lnTo>
                  <a:lnTo>
                    <a:pt x="935" y="659"/>
                  </a:lnTo>
                  <a:lnTo>
                    <a:pt x="957" y="659"/>
                  </a:lnTo>
                  <a:lnTo>
                    <a:pt x="978" y="622"/>
                  </a:lnTo>
                  <a:lnTo>
                    <a:pt x="1011" y="622"/>
                  </a:lnTo>
                  <a:lnTo>
                    <a:pt x="1032" y="605"/>
                  </a:lnTo>
                  <a:lnTo>
                    <a:pt x="1032" y="577"/>
                  </a:lnTo>
                  <a:lnTo>
                    <a:pt x="1042" y="577"/>
                  </a:lnTo>
                  <a:lnTo>
                    <a:pt x="1042" y="572"/>
                  </a:lnTo>
                  <a:lnTo>
                    <a:pt x="1058" y="555"/>
                  </a:lnTo>
                  <a:lnTo>
                    <a:pt x="1049" y="539"/>
                  </a:lnTo>
                  <a:lnTo>
                    <a:pt x="1011" y="511"/>
                  </a:lnTo>
                  <a:lnTo>
                    <a:pt x="1011" y="511"/>
                  </a:lnTo>
                  <a:lnTo>
                    <a:pt x="1011" y="511"/>
                  </a:lnTo>
                  <a:close/>
                  <a:moveTo>
                    <a:pt x="5" y="38"/>
                  </a:moveTo>
                  <a:lnTo>
                    <a:pt x="16" y="38"/>
                  </a:lnTo>
                  <a:lnTo>
                    <a:pt x="21" y="78"/>
                  </a:lnTo>
                  <a:lnTo>
                    <a:pt x="0" y="78"/>
                  </a:lnTo>
                  <a:lnTo>
                    <a:pt x="0" y="66"/>
                  </a:lnTo>
                  <a:lnTo>
                    <a:pt x="0" y="55"/>
                  </a:lnTo>
                  <a:lnTo>
                    <a:pt x="0" y="66"/>
                  </a:lnTo>
                  <a:lnTo>
                    <a:pt x="5" y="66"/>
                  </a:lnTo>
                  <a:lnTo>
                    <a:pt x="5" y="38"/>
                  </a:lnTo>
                  <a:lnTo>
                    <a:pt x="5" y="38"/>
                  </a:lnTo>
                  <a:lnTo>
                    <a:pt x="5" y="38"/>
                  </a:lnTo>
                  <a:close/>
                  <a:moveTo>
                    <a:pt x="1644" y="2034"/>
                  </a:moveTo>
                  <a:lnTo>
                    <a:pt x="1627" y="2029"/>
                  </a:lnTo>
                  <a:lnTo>
                    <a:pt x="1637" y="2022"/>
                  </a:lnTo>
                  <a:lnTo>
                    <a:pt x="1644" y="2029"/>
                  </a:lnTo>
                  <a:lnTo>
                    <a:pt x="1644" y="2034"/>
                  </a:lnTo>
                  <a:lnTo>
                    <a:pt x="1644" y="2034"/>
                  </a:lnTo>
                  <a:lnTo>
                    <a:pt x="1644" y="203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7" name="Freeform 550">
              <a:extLst>
                <a:ext uri="{FF2B5EF4-FFF2-40B4-BE49-F238E27FC236}">
                  <a16:creationId xmlns:a16="http://schemas.microsoft.com/office/drawing/2014/main" id="{7EE1681D-3C4F-4DCA-BCAD-C0DADDB42D67}"/>
                </a:ext>
              </a:extLst>
            </p:cNvPr>
            <p:cNvSpPr>
              <a:spLocks/>
            </p:cNvSpPr>
            <p:nvPr/>
          </p:nvSpPr>
          <p:spPr bwMode="gray">
            <a:xfrm>
              <a:off x="6221528" y="3563591"/>
              <a:ext cx="179076" cy="134220"/>
            </a:xfrm>
            <a:custGeom>
              <a:avLst/>
              <a:gdLst>
                <a:gd name="T0" fmla="*/ 163 w 435"/>
                <a:gd name="T1" fmla="*/ 305 h 326"/>
                <a:gd name="T2" fmla="*/ 92 w 435"/>
                <a:gd name="T3" fmla="*/ 322 h 326"/>
                <a:gd name="T4" fmla="*/ 45 w 435"/>
                <a:gd name="T5" fmla="*/ 322 h 326"/>
                <a:gd name="T6" fmla="*/ 75 w 435"/>
                <a:gd name="T7" fmla="*/ 310 h 326"/>
                <a:gd name="T8" fmla="*/ 130 w 435"/>
                <a:gd name="T9" fmla="*/ 310 h 326"/>
                <a:gd name="T10" fmla="*/ 137 w 435"/>
                <a:gd name="T11" fmla="*/ 293 h 326"/>
                <a:gd name="T12" fmla="*/ 137 w 435"/>
                <a:gd name="T13" fmla="*/ 293 h 326"/>
                <a:gd name="T14" fmla="*/ 130 w 435"/>
                <a:gd name="T15" fmla="*/ 310 h 326"/>
                <a:gd name="T16" fmla="*/ 99 w 435"/>
                <a:gd name="T17" fmla="*/ 293 h 326"/>
                <a:gd name="T18" fmla="*/ 75 w 435"/>
                <a:gd name="T19" fmla="*/ 310 h 326"/>
                <a:gd name="T20" fmla="*/ 59 w 435"/>
                <a:gd name="T21" fmla="*/ 293 h 326"/>
                <a:gd name="T22" fmla="*/ 54 w 435"/>
                <a:gd name="T23" fmla="*/ 272 h 326"/>
                <a:gd name="T24" fmla="*/ 113 w 435"/>
                <a:gd name="T25" fmla="*/ 267 h 326"/>
                <a:gd name="T26" fmla="*/ 151 w 435"/>
                <a:gd name="T27" fmla="*/ 251 h 326"/>
                <a:gd name="T28" fmla="*/ 222 w 435"/>
                <a:gd name="T29" fmla="*/ 267 h 326"/>
                <a:gd name="T30" fmla="*/ 260 w 435"/>
                <a:gd name="T31" fmla="*/ 251 h 326"/>
                <a:gd name="T32" fmla="*/ 222 w 435"/>
                <a:gd name="T33" fmla="*/ 251 h 326"/>
                <a:gd name="T34" fmla="*/ 191 w 435"/>
                <a:gd name="T35" fmla="*/ 232 h 326"/>
                <a:gd name="T36" fmla="*/ 168 w 435"/>
                <a:gd name="T37" fmla="*/ 215 h 326"/>
                <a:gd name="T38" fmla="*/ 137 w 435"/>
                <a:gd name="T39" fmla="*/ 232 h 326"/>
                <a:gd name="T40" fmla="*/ 59 w 435"/>
                <a:gd name="T41" fmla="*/ 222 h 326"/>
                <a:gd name="T42" fmla="*/ 54 w 435"/>
                <a:gd name="T43" fmla="*/ 222 h 326"/>
                <a:gd name="T44" fmla="*/ 75 w 435"/>
                <a:gd name="T45" fmla="*/ 194 h 326"/>
                <a:gd name="T46" fmla="*/ 59 w 435"/>
                <a:gd name="T47" fmla="*/ 199 h 326"/>
                <a:gd name="T48" fmla="*/ 21 w 435"/>
                <a:gd name="T49" fmla="*/ 156 h 326"/>
                <a:gd name="T50" fmla="*/ 0 w 435"/>
                <a:gd name="T51" fmla="*/ 156 h 326"/>
                <a:gd name="T52" fmla="*/ 21 w 435"/>
                <a:gd name="T53" fmla="*/ 140 h 326"/>
                <a:gd name="T54" fmla="*/ 66 w 435"/>
                <a:gd name="T55" fmla="*/ 74 h 326"/>
                <a:gd name="T56" fmla="*/ 83 w 435"/>
                <a:gd name="T57" fmla="*/ 17 h 326"/>
                <a:gd name="T58" fmla="*/ 175 w 435"/>
                <a:gd name="T59" fmla="*/ 0 h 326"/>
                <a:gd name="T60" fmla="*/ 255 w 435"/>
                <a:gd name="T61" fmla="*/ 50 h 326"/>
                <a:gd name="T62" fmla="*/ 272 w 435"/>
                <a:gd name="T63" fmla="*/ 50 h 326"/>
                <a:gd name="T64" fmla="*/ 283 w 435"/>
                <a:gd name="T65" fmla="*/ 50 h 326"/>
                <a:gd name="T66" fmla="*/ 309 w 435"/>
                <a:gd name="T67" fmla="*/ 100 h 326"/>
                <a:gd name="T68" fmla="*/ 326 w 435"/>
                <a:gd name="T69" fmla="*/ 107 h 326"/>
                <a:gd name="T70" fmla="*/ 347 w 435"/>
                <a:gd name="T71" fmla="*/ 128 h 326"/>
                <a:gd name="T72" fmla="*/ 368 w 435"/>
                <a:gd name="T73" fmla="*/ 178 h 326"/>
                <a:gd name="T74" fmla="*/ 385 w 435"/>
                <a:gd name="T75" fmla="*/ 215 h 326"/>
                <a:gd name="T76" fmla="*/ 401 w 435"/>
                <a:gd name="T77" fmla="*/ 256 h 326"/>
                <a:gd name="T78" fmla="*/ 406 w 435"/>
                <a:gd name="T79" fmla="*/ 251 h 326"/>
                <a:gd name="T80" fmla="*/ 435 w 435"/>
                <a:gd name="T81" fmla="*/ 322 h 326"/>
                <a:gd name="T82" fmla="*/ 364 w 435"/>
                <a:gd name="T83" fmla="*/ 326 h 326"/>
                <a:gd name="T84" fmla="*/ 309 w 435"/>
                <a:gd name="T85" fmla="*/ 322 h 326"/>
                <a:gd name="T86" fmla="*/ 260 w 435"/>
                <a:gd name="T87" fmla="*/ 305 h 326"/>
                <a:gd name="T88" fmla="*/ 222 w 435"/>
                <a:gd name="T89" fmla="*/ 30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5" h="326">
                  <a:moveTo>
                    <a:pt x="222" y="305"/>
                  </a:moveTo>
                  <a:lnTo>
                    <a:pt x="163" y="305"/>
                  </a:lnTo>
                  <a:lnTo>
                    <a:pt x="120" y="322"/>
                  </a:lnTo>
                  <a:lnTo>
                    <a:pt x="92" y="322"/>
                  </a:lnTo>
                  <a:lnTo>
                    <a:pt x="54" y="326"/>
                  </a:lnTo>
                  <a:lnTo>
                    <a:pt x="45" y="322"/>
                  </a:lnTo>
                  <a:lnTo>
                    <a:pt x="59" y="305"/>
                  </a:lnTo>
                  <a:lnTo>
                    <a:pt x="75" y="310"/>
                  </a:lnTo>
                  <a:lnTo>
                    <a:pt x="99" y="305"/>
                  </a:lnTo>
                  <a:lnTo>
                    <a:pt x="130" y="310"/>
                  </a:lnTo>
                  <a:lnTo>
                    <a:pt x="137" y="305"/>
                  </a:lnTo>
                  <a:lnTo>
                    <a:pt x="137" y="293"/>
                  </a:lnTo>
                  <a:lnTo>
                    <a:pt x="146" y="289"/>
                  </a:lnTo>
                  <a:lnTo>
                    <a:pt x="137" y="293"/>
                  </a:lnTo>
                  <a:lnTo>
                    <a:pt x="137" y="305"/>
                  </a:lnTo>
                  <a:lnTo>
                    <a:pt x="130" y="310"/>
                  </a:lnTo>
                  <a:lnTo>
                    <a:pt x="109" y="310"/>
                  </a:lnTo>
                  <a:lnTo>
                    <a:pt x="99" y="293"/>
                  </a:lnTo>
                  <a:lnTo>
                    <a:pt x="99" y="305"/>
                  </a:lnTo>
                  <a:lnTo>
                    <a:pt x="75" y="310"/>
                  </a:lnTo>
                  <a:lnTo>
                    <a:pt x="59" y="305"/>
                  </a:lnTo>
                  <a:lnTo>
                    <a:pt x="59" y="293"/>
                  </a:lnTo>
                  <a:lnTo>
                    <a:pt x="54" y="310"/>
                  </a:lnTo>
                  <a:lnTo>
                    <a:pt x="54" y="272"/>
                  </a:lnTo>
                  <a:lnTo>
                    <a:pt x="54" y="267"/>
                  </a:lnTo>
                  <a:lnTo>
                    <a:pt x="113" y="267"/>
                  </a:lnTo>
                  <a:lnTo>
                    <a:pt x="113" y="256"/>
                  </a:lnTo>
                  <a:lnTo>
                    <a:pt x="151" y="251"/>
                  </a:lnTo>
                  <a:lnTo>
                    <a:pt x="168" y="232"/>
                  </a:lnTo>
                  <a:lnTo>
                    <a:pt x="222" y="267"/>
                  </a:lnTo>
                  <a:lnTo>
                    <a:pt x="255" y="256"/>
                  </a:lnTo>
                  <a:lnTo>
                    <a:pt x="260" y="251"/>
                  </a:lnTo>
                  <a:lnTo>
                    <a:pt x="243" y="232"/>
                  </a:lnTo>
                  <a:lnTo>
                    <a:pt x="222" y="251"/>
                  </a:lnTo>
                  <a:lnTo>
                    <a:pt x="205" y="232"/>
                  </a:lnTo>
                  <a:lnTo>
                    <a:pt x="191" y="232"/>
                  </a:lnTo>
                  <a:lnTo>
                    <a:pt x="184" y="222"/>
                  </a:lnTo>
                  <a:lnTo>
                    <a:pt x="168" y="215"/>
                  </a:lnTo>
                  <a:lnTo>
                    <a:pt x="146" y="222"/>
                  </a:lnTo>
                  <a:lnTo>
                    <a:pt x="137" y="232"/>
                  </a:lnTo>
                  <a:lnTo>
                    <a:pt x="59" y="232"/>
                  </a:lnTo>
                  <a:lnTo>
                    <a:pt x="59" y="222"/>
                  </a:lnTo>
                  <a:lnTo>
                    <a:pt x="66" y="211"/>
                  </a:lnTo>
                  <a:lnTo>
                    <a:pt x="54" y="222"/>
                  </a:lnTo>
                  <a:lnTo>
                    <a:pt x="54" y="211"/>
                  </a:lnTo>
                  <a:lnTo>
                    <a:pt x="75" y="194"/>
                  </a:lnTo>
                  <a:lnTo>
                    <a:pt x="66" y="194"/>
                  </a:lnTo>
                  <a:lnTo>
                    <a:pt x="59" y="199"/>
                  </a:lnTo>
                  <a:lnTo>
                    <a:pt x="45" y="199"/>
                  </a:lnTo>
                  <a:lnTo>
                    <a:pt x="21" y="156"/>
                  </a:lnTo>
                  <a:lnTo>
                    <a:pt x="7" y="156"/>
                  </a:lnTo>
                  <a:lnTo>
                    <a:pt x="0" y="156"/>
                  </a:lnTo>
                  <a:lnTo>
                    <a:pt x="0" y="156"/>
                  </a:lnTo>
                  <a:lnTo>
                    <a:pt x="21" y="140"/>
                  </a:lnTo>
                  <a:lnTo>
                    <a:pt x="45" y="111"/>
                  </a:lnTo>
                  <a:lnTo>
                    <a:pt x="66" y="74"/>
                  </a:lnTo>
                  <a:lnTo>
                    <a:pt x="66" y="50"/>
                  </a:lnTo>
                  <a:lnTo>
                    <a:pt x="83" y="17"/>
                  </a:lnTo>
                  <a:lnTo>
                    <a:pt x="130" y="17"/>
                  </a:lnTo>
                  <a:lnTo>
                    <a:pt x="175" y="0"/>
                  </a:lnTo>
                  <a:lnTo>
                    <a:pt x="222" y="12"/>
                  </a:lnTo>
                  <a:lnTo>
                    <a:pt x="255" y="50"/>
                  </a:lnTo>
                  <a:lnTo>
                    <a:pt x="260" y="45"/>
                  </a:lnTo>
                  <a:lnTo>
                    <a:pt x="272" y="50"/>
                  </a:lnTo>
                  <a:lnTo>
                    <a:pt x="276" y="50"/>
                  </a:lnTo>
                  <a:lnTo>
                    <a:pt x="283" y="50"/>
                  </a:lnTo>
                  <a:lnTo>
                    <a:pt x="298" y="83"/>
                  </a:lnTo>
                  <a:lnTo>
                    <a:pt x="309" y="100"/>
                  </a:lnTo>
                  <a:lnTo>
                    <a:pt x="314" y="100"/>
                  </a:lnTo>
                  <a:lnTo>
                    <a:pt x="326" y="107"/>
                  </a:lnTo>
                  <a:lnTo>
                    <a:pt x="326" y="111"/>
                  </a:lnTo>
                  <a:lnTo>
                    <a:pt x="347" y="128"/>
                  </a:lnTo>
                  <a:lnTo>
                    <a:pt x="368" y="144"/>
                  </a:lnTo>
                  <a:lnTo>
                    <a:pt x="368" y="178"/>
                  </a:lnTo>
                  <a:lnTo>
                    <a:pt x="385" y="194"/>
                  </a:lnTo>
                  <a:lnTo>
                    <a:pt x="385" y="215"/>
                  </a:lnTo>
                  <a:lnTo>
                    <a:pt x="380" y="232"/>
                  </a:lnTo>
                  <a:lnTo>
                    <a:pt x="401" y="256"/>
                  </a:lnTo>
                  <a:lnTo>
                    <a:pt x="401" y="251"/>
                  </a:lnTo>
                  <a:lnTo>
                    <a:pt x="406" y="251"/>
                  </a:lnTo>
                  <a:lnTo>
                    <a:pt x="435" y="277"/>
                  </a:lnTo>
                  <a:lnTo>
                    <a:pt x="435" y="322"/>
                  </a:lnTo>
                  <a:lnTo>
                    <a:pt x="385" y="322"/>
                  </a:lnTo>
                  <a:lnTo>
                    <a:pt x="364" y="326"/>
                  </a:lnTo>
                  <a:lnTo>
                    <a:pt x="326" y="310"/>
                  </a:lnTo>
                  <a:lnTo>
                    <a:pt x="309" y="322"/>
                  </a:lnTo>
                  <a:lnTo>
                    <a:pt x="309" y="305"/>
                  </a:lnTo>
                  <a:lnTo>
                    <a:pt x="260" y="305"/>
                  </a:lnTo>
                  <a:lnTo>
                    <a:pt x="222" y="305"/>
                  </a:lnTo>
                  <a:lnTo>
                    <a:pt x="222" y="305"/>
                  </a:lnTo>
                  <a:lnTo>
                    <a:pt x="222" y="30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8" name="Freeform 551">
              <a:extLst>
                <a:ext uri="{FF2B5EF4-FFF2-40B4-BE49-F238E27FC236}">
                  <a16:creationId xmlns:a16="http://schemas.microsoft.com/office/drawing/2014/main" id="{BAD55F89-A094-4570-9E46-092323D233AC}"/>
                </a:ext>
              </a:extLst>
            </p:cNvPr>
            <p:cNvSpPr>
              <a:spLocks noEditPoints="1"/>
            </p:cNvSpPr>
            <p:nvPr/>
          </p:nvSpPr>
          <p:spPr bwMode="gray">
            <a:xfrm>
              <a:off x="6310037" y="4298917"/>
              <a:ext cx="249060" cy="921832"/>
            </a:xfrm>
            <a:custGeom>
              <a:avLst/>
              <a:gdLst>
                <a:gd name="T0" fmla="*/ 0 w 605"/>
                <a:gd name="T1" fmla="*/ 5 h 2239"/>
                <a:gd name="T2" fmla="*/ 0 w 605"/>
                <a:gd name="T3" fmla="*/ 0 h 2239"/>
                <a:gd name="T4" fmla="*/ 5 w 605"/>
                <a:gd name="T5" fmla="*/ 5 h 2239"/>
                <a:gd name="T6" fmla="*/ 0 w 605"/>
                <a:gd name="T7" fmla="*/ 5 h 2239"/>
                <a:gd name="T8" fmla="*/ 0 w 605"/>
                <a:gd name="T9" fmla="*/ 5 h 2239"/>
                <a:gd name="T10" fmla="*/ 0 w 605"/>
                <a:gd name="T11" fmla="*/ 5 h 2239"/>
                <a:gd name="T12" fmla="*/ 605 w 605"/>
                <a:gd name="T13" fmla="*/ 593 h 2239"/>
                <a:gd name="T14" fmla="*/ 600 w 605"/>
                <a:gd name="T15" fmla="*/ 593 h 2239"/>
                <a:gd name="T16" fmla="*/ 605 w 605"/>
                <a:gd name="T17" fmla="*/ 588 h 2239"/>
                <a:gd name="T18" fmla="*/ 605 w 605"/>
                <a:gd name="T19" fmla="*/ 593 h 2239"/>
                <a:gd name="T20" fmla="*/ 605 w 605"/>
                <a:gd name="T21" fmla="*/ 593 h 2239"/>
                <a:gd name="T22" fmla="*/ 605 w 605"/>
                <a:gd name="T23" fmla="*/ 593 h 2239"/>
                <a:gd name="T24" fmla="*/ 146 w 605"/>
                <a:gd name="T25" fmla="*/ 2239 h 2239"/>
                <a:gd name="T26" fmla="*/ 146 w 605"/>
                <a:gd name="T27" fmla="*/ 2235 h 2239"/>
                <a:gd name="T28" fmla="*/ 151 w 605"/>
                <a:gd name="T29" fmla="*/ 2235 h 2239"/>
                <a:gd name="T30" fmla="*/ 146 w 605"/>
                <a:gd name="T31" fmla="*/ 2239 h 2239"/>
                <a:gd name="T32" fmla="*/ 146 w 605"/>
                <a:gd name="T33" fmla="*/ 2239 h 2239"/>
                <a:gd name="T34" fmla="*/ 146 w 605"/>
                <a:gd name="T35" fmla="*/ 2239 h 2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5" h="2239">
                  <a:moveTo>
                    <a:pt x="0" y="5"/>
                  </a:moveTo>
                  <a:lnTo>
                    <a:pt x="0" y="0"/>
                  </a:lnTo>
                  <a:lnTo>
                    <a:pt x="5" y="5"/>
                  </a:lnTo>
                  <a:lnTo>
                    <a:pt x="0" y="5"/>
                  </a:lnTo>
                  <a:lnTo>
                    <a:pt x="0" y="5"/>
                  </a:lnTo>
                  <a:lnTo>
                    <a:pt x="0" y="5"/>
                  </a:lnTo>
                  <a:close/>
                  <a:moveTo>
                    <a:pt x="605" y="593"/>
                  </a:moveTo>
                  <a:lnTo>
                    <a:pt x="600" y="593"/>
                  </a:lnTo>
                  <a:lnTo>
                    <a:pt x="605" y="588"/>
                  </a:lnTo>
                  <a:lnTo>
                    <a:pt x="605" y="593"/>
                  </a:lnTo>
                  <a:lnTo>
                    <a:pt x="605" y="593"/>
                  </a:lnTo>
                  <a:lnTo>
                    <a:pt x="605" y="593"/>
                  </a:lnTo>
                  <a:close/>
                  <a:moveTo>
                    <a:pt x="146" y="2239"/>
                  </a:moveTo>
                  <a:lnTo>
                    <a:pt x="146" y="2235"/>
                  </a:lnTo>
                  <a:lnTo>
                    <a:pt x="151" y="2235"/>
                  </a:lnTo>
                  <a:lnTo>
                    <a:pt x="146" y="2239"/>
                  </a:lnTo>
                  <a:lnTo>
                    <a:pt x="146" y="2239"/>
                  </a:lnTo>
                  <a:lnTo>
                    <a:pt x="146" y="223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0" name="Freeform 553">
              <a:extLst>
                <a:ext uri="{FF2B5EF4-FFF2-40B4-BE49-F238E27FC236}">
                  <a16:creationId xmlns:a16="http://schemas.microsoft.com/office/drawing/2014/main" id="{5B15BC23-AE90-42A3-A12C-079FD40BDA95}"/>
                </a:ext>
              </a:extLst>
            </p:cNvPr>
            <p:cNvSpPr>
              <a:spLocks noEditPoints="1"/>
            </p:cNvSpPr>
            <p:nvPr/>
          </p:nvSpPr>
          <p:spPr bwMode="gray">
            <a:xfrm>
              <a:off x="6342147" y="3766980"/>
              <a:ext cx="88509" cy="93459"/>
            </a:xfrm>
            <a:custGeom>
              <a:avLst/>
              <a:gdLst>
                <a:gd name="T0" fmla="*/ 165 w 215"/>
                <a:gd name="T1" fmla="*/ 184 h 227"/>
                <a:gd name="T2" fmla="*/ 139 w 215"/>
                <a:gd name="T3" fmla="*/ 206 h 227"/>
                <a:gd name="T4" fmla="*/ 127 w 215"/>
                <a:gd name="T5" fmla="*/ 227 h 227"/>
                <a:gd name="T6" fmla="*/ 97 w 215"/>
                <a:gd name="T7" fmla="*/ 217 h 227"/>
                <a:gd name="T8" fmla="*/ 52 w 215"/>
                <a:gd name="T9" fmla="*/ 189 h 227"/>
                <a:gd name="T10" fmla="*/ 59 w 215"/>
                <a:gd name="T11" fmla="*/ 184 h 227"/>
                <a:gd name="T12" fmla="*/ 75 w 215"/>
                <a:gd name="T13" fmla="*/ 173 h 227"/>
                <a:gd name="T14" fmla="*/ 59 w 215"/>
                <a:gd name="T15" fmla="*/ 184 h 227"/>
                <a:gd name="T16" fmla="*/ 21 w 215"/>
                <a:gd name="T17" fmla="*/ 161 h 227"/>
                <a:gd name="T18" fmla="*/ 30 w 215"/>
                <a:gd name="T19" fmla="*/ 151 h 227"/>
                <a:gd name="T20" fmla="*/ 21 w 215"/>
                <a:gd name="T21" fmla="*/ 128 h 227"/>
                <a:gd name="T22" fmla="*/ 16 w 215"/>
                <a:gd name="T23" fmla="*/ 132 h 227"/>
                <a:gd name="T24" fmla="*/ 0 w 215"/>
                <a:gd name="T25" fmla="*/ 111 h 227"/>
                <a:gd name="T26" fmla="*/ 16 w 215"/>
                <a:gd name="T27" fmla="*/ 116 h 227"/>
                <a:gd name="T28" fmla="*/ 16 w 215"/>
                <a:gd name="T29" fmla="*/ 116 h 227"/>
                <a:gd name="T30" fmla="*/ 30 w 215"/>
                <a:gd name="T31" fmla="*/ 111 h 227"/>
                <a:gd name="T32" fmla="*/ 5 w 215"/>
                <a:gd name="T33" fmla="*/ 111 h 227"/>
                <a:gd name="T34" fmla="*/ 5 w 215"/>
                <a:gd name="T35" fmla="*/ 90 h 227"/>
                <a:gd name="T36" fmla="*/ 16 w 215"/>
                <a:gd name="T37" fmla="*/ 90 h 227"/>
                <a:gd name="T38" fmla="*/ 0 w 215"/>
                <a:gd name="T39" fmla="*/ 73 h 227"/>
                <a:gd name="T40" fmla="*/ 16 w 215"/>
                <a:gd name="T41" fmla="*/ 73 h 227"/>
                <a:gd name="T42" fmla="*/ 21 w 215"/>
                <a:gd name="T43" fmla="*/ 57 h 227"/>
                <a:gd name="T44" fmla="*/ 42 w 215"/>
                <a:gd name="T45" fmla="*/ 50 h 227"/>
                <a:gd name="T46" fmla="*/ 59 w 215"/>
                <a:gd name="T47" fmla="*/ 5 h 227"/>
                <a:gd name="T48" fmla="*/ 75 w 215"/>
                <a:gd name="T49" fmla="*/ 5 h 227"/>
                <a:gd name="T50" fmla="*/ 85 w 215"/>
                <a:gd name="T51" fmla="*/ 17 h 227"/>
                <a:gd name="T52" fmla="*/ 97 w 215"/>
                <a:gd name="T53" fmla="*/ 5 h 227"/>
                <a:gd name="T54" fmla="*/ 97 w 215"/>
                <a:gd name="T55" fmla="*/ 0 h 227"/>
                <a:gd name="T56" fmla="*/ 144 w 215"/>
                <a:gd name="T57" fmla="*/ 0 h 227"/>
                <a:gd name="T58" fmla="*/ 182 w 215"/>
                <a:gd name="T59" fmla="*/ 57 h 227"/>
                <a:gd name="T60" fmla="*/ 177 w 215"/>
                <a:gd name="T61" fmla="*/ 73 h 227"/>
                <a:gd name="T62" fmla="*/ 193 w 215"/>
                <a:gd name="T63" fmla="*/ 73 h 227"/>
                <a:gd name="T64" fmla="*/ 193 w 215"/>
                <a:gd name="T65" fmla="*/ 90 h 227"/>
                <a:gd name="T66" fmla="*/ 198 w 215"/>
                <a:gd name="T67" fmla="*/ 95 h 227"/>
                <a:gd name="T68" fmla="*/ 182 w 215"/>
                <a:gd name="T69" fmla="*/ 128 h 227"/>
                <a:gd name="T70" fmla="*/ 215 w 215"/>
                <a:gd name="T71" fmla="*/ 111 h 227"/>
                <a:gd name="T72" fmla="*/ 203 w 215"/>
                <a:gd name="T73" fmla="*/ 132 h 227"/>
                <a:gd name="T74" fmla="*/ 193 w 215"/>
                <a:gd name="T75" fmla="*/ 144 h 227"/>
                <a:gd name="T76" fmla="*/ 193 w 215"/>
                <a:gd name="T77" fmla="*/ 168 h 227"/>
                <a:gd name="T78" fmla="*/ 165 w 215"/>
                <a:gd name="T79" fmla="*/ 184 h 227"/>
                <a:gd name="T80" fmla="*/ 165 w 215"/>
                <a:gd name="T81" fmla="*/ 184 h 227"/>
                <a:gd name="T82" fmla="*/ 165 w 215"/>
                <a:gd name="T83" fmla="*/ 184 h 227"/>
                <a:gd name="T84" fmla="*/ 30 w 215"/>
                <a:gd name="T85" fmla="*/ 173 h 227"/>
                <a:gd name="T86" fmla="*/ 52 w 215"/>
                <a:gd name="T87" fmla="*/ 173 h 227"/>
                <a:gd name="T88" fmla="*/ 52 w 215"/>
                <a:gd name="T89" fmla="*/ 184 h 227"/>
                <a:gd name="T90" fmla="*/ 52 w 215"/>
                <a:gd name="T91" fmla="*/ 189 h 227"/>
                <a:gd name="T92" fmla="*/ 21 w 215"/>
                <a:gd name="T93" fmla="*/ 184 h 227"/>
                <a:gd name="T94" fmla="*/ 30 w 215"/>
                <a:gd name="T95" fmla="*/ 173 h 227"/>
                <a:gd name="T96" fmla="*/ 30 w 215"/>
                <a:gd name="T97" fmla="*/ 173 h 227"/>
                <a:gd name="T98" fmla="*/ 30 w 215"/>
                <a:gd name="T99" fmla="*/ 17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5" h="227">
                  <a:moveTo>
                    <a:pt x="165" y="184"/>
                  </a:moveTo>
                  <a:lnTo>
                    <a:pt x="139" y="206"/>
                  </a:lnTo>
                  <a:lnTo>
                    <a:pt x="127" y="227"/>
                  </a:lnTo>
                  <a:lnTo>
                    <a:pt x="97" y="217"/>
                  </a:lnTo>
                  <a:lnTo>
                    <a:pt x="52" y="189"/>
                  </a:lnTo>
                  <a:lnTo>
                    <a:pt x="59" y="184"/>
                  </a:lnTo>
                  <a:lnTo>
                    <a:pt x="75" y="173"/>
                  </a:lnTo>
                  <a:lnTo>
                    <a:pt x="59" y="184"/>
                  </a:lnTo>
                  <a:lnTo>
                    <a:pt x="21" y="161"/>
                  </a:lnTo>
                  <a:lnTo>
                    <a:pt x="30" y="151"/>
                  </a:lnTo>
                  <a:lnTo>
                    <a:pt x="21" y="128"/>
                  </a:lnTo>
                  <a:lnTo>
                    <a:pt x="16" y="132"/>
                  </a:lnTo>
                  <a:lnTo>
                    <a:pt x="0" y="111"/>
                  </a:lnTo>
                  <a:lnTo>
                    <a:pt x="16" y="116"/>
                  </a:lnTo>
                  <a:lnTo>
                    <a:pt x="16" y="116"/>
                  </a:lnTo>
                  <a:lnTo>
                    <a:pt x="30" y="111"/>
                  </a:lnTo>
                  <a:lnTo>
                    <a:pt x="5" y="111"/>
                  </a:lnTo>
                  <a:lnTo>
                    <a:pt x="5" y="90"/>
                  </a:lnTo>
                  <a:lnTo>
                    <a:pt x="16" y="90"/>
                  </a:lnTo>
                  <a:lnTo>
                    <a:pt x="0" y="73"/>
                  </a:lnTo>
                  <a:lnTo>
                    <a:pt x="16" y="73"/>
                  </a:lnTo>
                  <a:lnTo>
                    <a:pt x="21" y="57"/>
                  </a:lnTo>
                  <a:lnTo>
                    <a:pt x="42" y="50"/>
                  </a:lnTo>
                  <a:lnTo>
                    <a:pt x="59" y="5"/>
                  </a:lnTo>
                  <a:lnTo>
                    <a:pt x="75" y="5"/>
                  </a:lnTo>
                  <a:lnTo>
                    <a:pt x="85" y="17"/>
                  </a:lnTo>
                  <a:lnTo>
                    <a:pt x="97" y="5"/>
                  </a:lnTo>
                  <a:lnTo>
                    <a:pt x="97" y="0"/>
                  </a:lnTo>
                  <a:lnTo>
                    <a:pt x="144" y="0"/>
                  </a:lnTo>
                  <a:lnTo>
                    <a:pt x="182" y="57"/>
                  </a:lnTo>
                  <a:lnTo>
                    <a:pt x="177" y="73"/>
                  </a:lnTo>
                  <a:lnTo>
                    <a:pt x="193" y="73"/>
                  </a:lnTo>
                  <a:lnTo>
                    <a:pt x="193" y="90"/>
                  </a:lnTo>
                  <a:lnTo>
                    <a:pt x="198" y="95"/>
                  </a:lnTo>
                  <a:lnTo>
                    <a:pt x="182" y="128"/>
                  </a:lnTo>
                  <a:lnTo>
                    <a:pt x="215" y="111"/>
                  </a:lnTo>
                  <a:lnTo>
                    <a:pt x="203" y="132"/>
                  </a:lnTo>
                  <a:lnTo>
                    <a:pt x="193" y="144"/>
                  </a:lnTo>
                  <a:lnTo>
                    <a:pt x="193" y="168"/>
                  </a:lnTo>
                  <a:lnTo>
                    <a:pt x="165" y="184"/>
                  </a:lnTo>
                  <a:lnTo>
                    <a:pt x="165" y="184"/>
                  </a:lnTo>
                  <a:lnTo>
                    <a:pt x="165" y="184"/>
                  </a:lnTo>
                  <a:close/>
                  <a:moveTo>
                    <a:pt x="30" y="173"/>
                  </a:moveTo>
                  <a:lnTo>
                    <a:pt x="52" y="173"/>
                  </a:lnTo>
                  <a:lnTo>
                    <a:pt x="52" y="184"/>
                  </a:lnTo>
                  <a:lnTo>
                    <a:pt x="52" y="189"/>
                  </a:lnTo>
                  <a:lnTo>
                    <a:pt x="21" y="184"/>
                  </a:lnTo>
                  <a:lnTo>
                    <a:pt x="30" y="173"/>
                  </a:lnTo>
                  <a:lnTo>
                    <a:pt x="30" y="173"/>
                  </a:lnTo>
                  <a:lnTo>
                    <a:pt x="30" y="17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3" name="Freeform 556">
              <a:extLst>
                <a:ext uri="{FF2B5EF4-FFF2-40B4-BE49-F238E27FC236}">
                  <a16:creationId xmlns:a16="http://schemas.microsoft.com/office/drawing/2014/main" id="{706F0BE6-4281-4A3B-8C5A-DD9ED8EFC06B}"/>
                </a:ext>
              </a:extLst>
            </p:cNvPr>
            <p:cNvSpPr>
              <a:spLocks/>
            </p:cNvSpPr>
            <p:nvPr/>
          </p:nvSpPr>
          <p:spPr bwMode="gray">
            <a:xfrm>
              <a:off x="7910610" y="3706868"/>
              <a:ext cx="298461" cy="408422"/>
            </a:xfrm>
            <a:custGeom>
              <a:avLst/>
              <a:gdLst>
                <a:gd name="T0" fmla="*/ 130 w 725"/>
                <a:gd name="T1" fmla="*/ 555 h 992"/>
                <a:gd name="T2" fmla="*/ 184 w 725"/>
                <a:gd name="T3" fmla="*/ 515 h 992"/>
                <a:gd name="T4" fmla="*/ 276 w 725"/>
                <a:gd name="T5" fmla="*/ 515 h 992"/>
                <a:gd name="T6" fmla="*/ 416 w 725"/>
                <a:gd name="T7" fmla="*/ 295 h 992"/>
                <a:gd name="T8" fmla="*/ 184 w 725"/>
                <a:gd name="T9" fmla="*/ 193 h 992"/>
                <a:gd name="T10" fmla="*/ 151 w 725"/>
                <a:gd name="T11" fmla="*/ 151 h 992"/>
                <a:gd name="T12" fmla="*/ 130 w 725"/>
                <a:gd name="T13" fmla="*/ 127 h 992"/>
                <a:gd name="T14" fmla="*/ 130 w 725"/>
                <a:gd name="T15" fmla="*/ 73 h 992"/>
                <a:gd name="T16" fmla="*/ 168 w 725"/>
                <a:gd name="T17" fmla="*/ 49 h 992"/>
                <a:gd name="T18" fmla="*/ 234 w 725"/>
                <a:gd name="T19" fmla="*/ 111 h 992"/>
                <a:gd name="T20" fmla="*/ 331 w 725"/>
                <a:gd name="T21" fmla="*/ 85 h 992"/>
                <a:gd name="T22" fmla="*/ 449 w 725"/>
                <a:gd name="T23" fmla="*/ 66 h 992"/>
                <a:gd name="T24" fmla="*/ 503 w 725"/>
                <a:gd name="T25" fmla="*/ 66 h 992"/>
                <a:gd name="T26" fmla="*/ 557 w 725"/>
                <a:gd name="T27" fmla="*/ 56 h 992"/>
                <a:gd name="T28" fmla="*/ 600 w 725"/>
                <a:gd name="T29" fmla="*/ 40 h 992"/>
                <a:gd name="T30" fmla="*/ 654 w 725"/>
                <a:gd name="T31" fmla="*/ 28 h 992"/>
                <a:gd name="T32" fmla="*/ 687 w 725"/>
                <a:gd name="T33" fmla="*/ 0 h 992"/>
                <a:gd name="T34" fmla="*/ 704 w 725"/>
                <a:gd name="T35" fmla="*/ 49 h 992"/>
                <a:gd name="T36" fmla="*/ 709 w 725"/>
                <a:gd name="T37" fmla="*/ 66 h 992"/>
                <a:gd name="T38" fmla="*/ 704 w 725"/>
                <a:gd name="T39" fmla="*/ 111 h 992"/>
                <a:gd name="T40" fmla="*/ 709 w 725"/>
                <a:gd name="T41" fmla="*/ 106 h 992"/>
                <a:gd name="T42" fmla="*/ 725 w 725"/>
                <a:gd name="T43" fmla="*/ 122 h 992"/>
                <a:gd name="T44" fmla="*/ 692 w 725"/>
                <a:gd name="T45" fmla="*/ 122 h 992"/>
                <a:gd name="T46" fmla="*/ 654 w 725"/>
                <a:gd name="T47" fmla="*/ 233 h 992"/>
                <a:gd name="T48" fmla="*/ 616 w 725"/>
                <a:gd name="T49" fmla="*/ 295 h 992"/>
                <a:gd name="T50" fmla="*/ 569 w 725"/>
                <a:gd name="T51" fmla="*/ 382 h 992"/>
                <a:gd name="T52" fmla="*/ 487 w 725"/>
                <a:gd name="T53" fmla="*/ 548 h 992"/>
                <a:gd name="T54" fmla="*/ 243 w 725"/>
                <a:gd name="T55" fmla="*/ 753 h 992"/>
                <a:gd name="T56" fmla="*/ 71 w 725"/>
                <a:gd name="T57" fmla="*/ 937 h 992"/>
                <a:gd name="T58" fmla="*/ 0 w 725"/>
                <a:gd name="T59" fmla="*/ 937 h 992"/>
                <a:gd name="T60" fmla="*/ 21 w 725"/>
                <a:gd name="T61" fmla="*/ 642 h 992"/>
                <a:gd name="T62" fmla="*/ 71 w 725"/>
                <a:gd name="T63" fmla="*/ 571 h 992"/>
                <a:gd name="T64" fmla="*/ 71 w 725"/>
                <a:gd name="T65" fmla="*/ 571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5" h="992">
                  <a:moveTo>
                    <a:pt x="71" y="571"/>
                  </a:moveTo>
                  <a:lnTo>
                    <a:pt x="130" y="555"/>
                  </a:lnTo>
                  <a:lnTo>
                    <a:pt x="146" y="531"/>
                  </a:lnTo>
                  <a:lnTo>
                    <a:pt x="184" y="515"/>
                  </a:lnTo>
                  <a:lnTo>
                    <a:pt x="205" y="510"/>
                  </a:lnTo>
                  <a:lnTo>
                    <a:pt x="276" y="515"/>
                  </a:lnTo>
                  <a:lnTo>
                    <a:pt x="487" y="295"/>
                  </a:lnTo>
                  <a:lnTo>
                    <a:pt x="416" y="295"/>
                  </a:lnTo>
                  <a:lnTo>
                    <a:pt x="205" y="222"/>
                  </a:lnTo>
                  <a:lnTo>
                    <a:pt x="184" y="193"/>
                  </a:lnTo>
                  <a:lnTo>
                    <a:pt x="168" y="193"/>
                  </a:lnTo>
                  <a:lnTo>
                    <a:pt x="151" y="151"/>
                  </a:lnTo>
                  <a:lnTo>
                    <a:pt x="146" y="151"/>
                  </a:lnTo>
                  <a:lnTo>
                    <a:pt x="130" y="127"/>
                  </a:lnTo>
                  <a:lnTo>
                    <a:pt x="113" y="106"/>
                  </a:lnTo>
                  <a:lnTo>
                    <a:pt x="130" y="73"/>
                  </a:lnTo>
                  <a:lnTo>
                    <a:pt x="151" y="40"/>
                  </a:lnTo>
                  <a:lnTo>
                    <a:pt x="168" y="49"/>
                  </a:lnTo>
                  <a:lnTo>
                    <a:pt x="189" y="89"/>
                  </a:lnTo>
                  <a:lnTo>
                    <a:pt x="234" y="111"/>
                  </a:lnTo>
                  <a:lnTo>
                    <a:pt x="272" y="122"/>
                  </a:lnTo>
                  <a:lnTo>
                    <a:pt x="331" y="85"/>
                  </a:lnTo>
                  <a:lnTo>
                    <a:pt x="378" y="94"/>
                  </a:lnTo>
                  <a:lnTo>
                    <a:pt x="449" y="66"/>
                  </a:lnTo>
                  <a:lnTo>
                    <a:pt x="470" y="66"/>
                  </a:lnTo>
                  <a:lnTo>
                    <a:pt x="503" y="66"/>
                  </a:lnTo>
                  <a:lnTo>
                    <a:pt x="524" y="49"/>
                  </a:lnTo>
                  <a:lnTo>
                    <a:pt x="557" y="56"/>
                  </a:lnTo>
                  <a:lnTo>
                    <a:pt x="583" y="49"/>
                  </a:lnTo>
                  <a:lnTo>
                    <a:pt x="600" y="40"/>
                  </a:lnTo>
                  <a:lnTo>
                    <a:pt x="633" y="40"/>
                  </a:lnTo>
                  <a:lnTo>
                    <a:pt x="654" y="28"/>
                  </a:lnTo>
                  <a:lnTo>
                    <a:pt x="671" y="11"/>
                  </a:lnTo>
                  <a:lnTo>
                    <a:pt x="687" y="0"/>
                  </a:lnTo>
                  <a:lnTo>
                    <a:pt x="720" y="11"/>
                  </a:lnTo>
                  <a:lnTo>
                    <a:pt x="704" y="49"/>
                  </a:lnTo>
                  <a:lnTo>
                    <a:pt x="704" y="56"/>
                  </a:lnTo>
                  <a:lnTo>
                    <a:pt x="709" y="66"/>
                  </a:lnTo>
                  <a:lnTo>
                    <a:pt x="709" y="106"/>
                  </a:lnTo>
                  <a:lnTo>
                    <a:pt x="704" y="111"/>
                  </a:lnTo>
                  <a:lnTo>
                    <a:pt x="709" y="111"/>
                  </a:lnTo>
                  <a:lnTo>
                    <a:pt x="709" y="106"/>
                  </a:lnTo>
                  <a:lnTo>
                    <a:pt x="725" y="111"/>
                  </a:lnTo>
                  <a:lnTo>
                    <a:pt x="725" y="122"/>
                  </a:lnTo>
                  <a:lnTo>
                    <a:pt x="720" y="111"/>
                  </a:lnTo>
                  <a:lnTo>
                    <a:pt x="692" y="122"/>
                  </a:lnTo>
                  <a:lnTo>
                    <a:pt x="687" y="193"/>
                  </a:lnTo>
                  <a:lnTo>
                    <a:pt x="654" y="233"/>
                  </a:lnTo>
                  <a:lnTo>
                    <a:pt x="638" y="278"/>
                  </a:lnTo>
                  <a:lnTo>
                    <a:pt x="616" y="295"/>
                  </a:lnTo>
                  <a:lnTo>
                    <a:pt x="612" y="328"/>
                  </a:lnTo>
                  <a:lnTo>
                    <a:pt x="569" y="382"/>
                  </a:lnTo>
                  <a:lnTo>
                    <a:pt x="562" y="427"/>
                  </a:lnTo>
                  <a:lnTo>
                    <a:pt x="487" y="548"/>
                  </a:lnTo>
                  <a:lnTo>
                    <a:pt x="347" y="699"/>
                  </a:lnTo>
                  <a:lnTo>
                    <a:pt x="243" y="753"/>
                  </a:lnTo>
                  <a:lnTo>
                    <a:pt x="168" y="826"/>
                  </a:lnTo>
                  <a:lnTo>
                    <a:pt x="71" y="937"/>
                  </a:lnTo>
                  <a:lnTo>
                    <a:pt x="38" y="992"/>
                  </a:lnTo>
                  <a:lnTo>
                    <a:pt x="0" y="937"/>
                  </a:lnTo>
                  <a:lnTo>
                    <a:pt x="0" y="666"/>
                  </a:lnTo>
                  <a:lnTo>
                    <a:pt x="21" y="642"/>
                  </a:lnTo>
                  <a:lnTo>
                    <a:pt x="59" y="583"/>
                  </a:lnTo>
                  <a:lnTo>
                    <a:pt x="71" y="571"/>
                  </a:lnTo>
                  <a:lnTo>
                    <a:pt x="71" y="571"/>
                  </a:lnTo>
                  <a:lnTo>
                    <a:pt x="71" y="57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0" name="Freeform 563">
              <a:extLst>
                <a:ext uri="{FF2B5EF4-FFF2-40B4-BE49-F238E27FC236}">
                  <a16:creationId xmlns:a16="http://schemas.microsoft.com/office/drawing/2014/main" id="{8C03220E-ECB9-4B26-90D6-C51B1D63E523}"/>
                </a:ext>
              </a:extLst>
            </p:cNvPr>
            <p:cNvSpPr>
              <a:spLocks/>
            </p:cNvSpPr>
            <p:nvPr/>
          </p:nvSpPr>
          <p:spPr bwMode="gray">
            <a:xfrm>
              <a:off x="7754999" y="2905258"/>
              <a:ext cx="194308" cy="167569"/>
            </a:xfrm>
            <a:custGeom>
              <a:avLst/>
              <a:gdLst>
                <a:gd name="T0" fmla="*/ 0 w 472"/>
                <a:gd name="T1" fmla="*/ 333 h 407"/>
                <a:gd name="T2" fmla="*/ 0 w 472"/>
                <a:gd name="T3" fmla="*/ 333 h 407"/>
                <a:gd name="T4" fmla="*/ 28 w 472"/>
                <a:gd name="T5" fmla="*/ 300 h 407"/>
                <a:gd name="T6" fmla="*/ 21 w 472"/>
                <a:gd name="T7" fmla="*/ 300 h 407"/>
                <a:gd name="T8" fmla="*/ 28 w 472"/>
                <a:gd name="T9" fmla="*/ 284 h 407"/>
                <a:gd name="T10" fmla="*/ 54 w 472"/>
                <a:gd name="T11" fmla="*/ 284 h 407"/>
                <a:gd name="T12" fmla="*/ 43 w 472"/>
                <a:gd name="T13" fmla="*/ 279 h 407"/>
                <a:gd name="T14" fmla="*/ 71 w 472"/>
                <a:gd name="T15" fmla="*/ 251 h 407"/>
                <a:gd name="T16" fmla="*/ 59 w 472"/>
                <a:gd name="T17" fmla="*/ 239 h 407"/>
                <a:gd name="T18" fmla="*/ 43 w 472"/>
                <a:gd name="T19" fmla="*/ 229 h 407"/>
                <a:gd name="T20" fmla="*/ 54 w 472"/>
                <a:gd name="T21" fmla="*/ 222 h 407"/>
                <a:gd name="T22" fmla="*/ 21 w 472"/>
                <a:gd name="T23" fmla="*/ 222 h 407"/>
                <a:gd name="T24" fmla="*/ 17 w 472"/>
                <a:gd name="T25" fmla="*/ 194 h 407"/>
                <a:gd name="T26" fmla="*/ 21 w 472"/>
                <a:gd name="T27" fmla="*/ 173 h 407"/>
                <a:gd name="T28" fmla="*/ 21 w 472"/>
                <a:gd name="T29" fmla="*/ 156 h 407"/>
                <a:gd name="T30" fmla="*/ 5 w 472"/>
                <a:gd name="T31" fmla="*/ 140 h 407"/>
                <a:gd name="T32" fmla="*/ 21 w 472"/>
                <a:gd name="T33" fmla="*/ 111 h 407"/>
                <a:gd name="T34" fmla="*/ 38 w 472"/>
                <a:gd name="T35" fmla="*/ 128 h 407"/>
                <a:gd name="T36" fmla="*/ 38 w 472"/>
                <a:gd name="T37" fmla="*/ 111 h 407"/>
                <a:gd name="T38" fmla="*/ 54 w 472"/>
                <a:gd name="T39" fmla="*/ 111 h 407"/>
                <a:gd name="T40" fmla="*/ 54 w 472"/>
                <a:gd name="T41" fmla="*/ 83 h 407"/>
                <a:gd name="T42" fmla="*/ 76 w 472"/>
                <a:gd name="T43" fmla="*/ 83 h 407"/>
                <a:gd name="T44" fmla="*/ 59 w 472"/>
                <a:gd name="T45" fmla="*/ 71 h 407"/>
                <a:gd name="T46" fmla="*/ 71 w 472"/>
                <a:gd name="T47" fmla="*/ 38 h 407"/>
                <a:gd name="T48" fmla="*/ 109 w 472"/>
                <a:gd name="T49" fmla="*/ 55 h 407"/>
                <a:gd name="T50" fmla="*/ 125 w 472"/>
                <a:gd name="T51" fmla="*/ 55 h 407"/>
                <a:gd name="T52" fmla="*/ 184 w 472"/>
                <a:gd name="T53" fmla="*/ 26 h 407"/>
                <a:gd name="T54" fmla="*/ 201 w 472"/>
                <a:gd name="T55" fmla="*/ 38 h 407"/>
                <a:gd name="T56" fmla="*/ 217 w 472"/>
                <a:gd name="T57" fmla="*/ 43 h 407"/>
                <a:gd name="T58" fmla="*/ 255 w 472"/>
                <a:gd name="T59" fmla="*/ 55 h 407"/>
                <a:gd name="T60" fmla="*/ 293 w 472"/>
                <a:gd name="T61" fmla="*/ 43 h 407"/>
                <a:gd name="T62" fmla="*/ 364 w 472"/>
                <a:gd name="T63" fmla="*/ 17 h 407"/>
                <a:gd name="T64" fmla="*/ 418 w 472"/>
                <a:gd name="T65" fmla="*/ 17 h 407"/>
                <a:gd name="T66" fmla="*/ 451 w 472"/>
                <a:gd name="T67" fmla="*/ 5 h 407"/>
                <a:gd name="T68" fmla="*/ 456 w 472"/>
                <a:gd name="T69" fmla="*/ 0 h 407"/>
                <a:gd name="T70" fmla="*/ 472 w 472"/>
                <a:gd name="T71" fmla="*/ 5 h 407"/>
                <a:gd name="T72" fmla="*/ 472 w 472"/>
                <a:gd name="T73" fmla="*/ 17 h 407"/>
                <a:gd name="T74" fmla="*/ 435 w 472"/>
                <a:gd name="T75" fmla="*/ 55 h 407"/>
                <a:gd name="T76" fmla="*/ 402 w 472"/>
                <a:gd name="T77" fmla="*/ 62 h 407"/>
                <a:gd name="T78" fmla="*/ 397 w 472"/>
                <a:gd name="T79" fmla="*/ 78 h 407"/>
                <a:gd name="T80" fmla="*/ 397 w 472"/>
                <a:gd name="T81" fmla="*/ 99 h 407"/>
                <a:gd name="T82" fmla="*/ 402 w 472"/>
                <a:gd name="T83" fmla="*/ 116 h 407"/>
                <a:gd name="T84" fmla="*/ 402 w 472"/>
                <a:gd name="T85" fmla="*/ 140 h 407"/>
                <a:gd name="T86" fmla="*/ 397 w 472"/>
                <a:gd name="T87" fmla="*/ 173 h 407"/>
                <a:gd name="T88" fmla="*/ 397 w 472"/>
                <a:gd name="T89" fmla="*/ 206 h 407"/>
                <a:gd name="T90" fmla="*/ 380 w 472"/>
                <a:gd name="T91" fmla="*/ 239 h 407"/>
                <a:gd name="T92" fmla="*/ 222 w 472"/>
                <a:gd name="T93" fmla="*/ 324 h 407"/>
                <a:gd name="T94" fmla="*/ 83 w 472"/>
                <a:gd name="T95" fmla="*/ 407 h 407"/>
                <a:gd name="T96" fmla="*/ 54 w 472"/>
                <a:gd name="T97" fmla="*/ 407 h 407"/>
                <a:gd name="T98" fmla="*/ 28 w 472"/>
                <a:gd name="T99" fmla="*/ 390 h 407"/>
                <a:gd name="T100" fmla="*/ 21 w 472"/>
                <a:gd name="T101" fmla="*/ 373 h 407"/>
                <a:gd name="T102" fmla="*/ 0 w 472"/>
                <a:gd name="T103" fmla="*/ 378 h 407"/>
                <a:gd name="T104" fmla="*/ 0 w 472"/>
                <a:gd name="T105" fmla="*/ 333 h 407"/>
                <a:gd name="T106" fmla="*/ 0 w 472"/>
                <a:gd name="T107" fmla="*/ 333 h 407"/>
                <a:gd name="T108" fmla="*/ 0 w 472"/>
                <a:gd name="T109" fmla="*/ 333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2" h="407">
                  <a:moveTo>
                    <a:pt x="0" y="333"/>
                  </a:moveTo>
                  <a:lnTo>
                    <a:pt x="0" y="333"/>
                  </a:lnTo>
                  <a:lnTo>
                    <a:pt x="28" y="300"/>
                  </a:lnTo>
                  <a:lnTo>
                    <a:pt x="21" y="300"/>
                  </a:lnTo>
                  <a:lnTo>
                    <a:pt x="28" y="284"/>
                  </a:lnTo>
                  <a:lnTo>
                    <a:pt x="54" y="284"/>
                  </a:lnTo>
                  <a:lnTo>
                    <a:pt x="43" y="279"/>
                  </a:lnTo>
                  <a:lnTo>
                    <a:pt x="71" y="251"/>
                  </a:lnTo>
                  <a:lnTo>
                    <a:pt x="59" y="239"/>
                  </a:lnTo>
                  <a:lnTo>
                    <a:pt x="43" y="229"/>
                  </a:lnTo>
                  <a:lnTo>
                    <a:pt x="54" y="222"/>
                  </a:lnTo>
                  <a:lnTo>
                    <a:pt x="21" y="222"/>
                  </a:lnTo>
                  <a:lnTo>
                    <a:pt x="17" y="194"/>
                  </a:lnTo>
                  <a:lnTo>
                    <a:pt x="21" y="173"/>
                  </a:lnTo>
                  <a:lnTo>
                    <a:pt x="21" y="156"/>
                  </a:lnTo>
                  <a:lnTo>
                    <a:pt x="5" y="140"/>
                  </a:lnTo>
                  <a:lnTo>
                    <a:pt x="21" y="111"/>
                  </a:lnTo>
                  <a:lnTo>
                    <a:pt x="38" y="128"/>
                  </a:lnTo>
                  <a:lnTo>
                    <a:pt x="38" y="111"/>
                  </a:lnTo>
                  <a:lnTo>
                    <a:pt x="54" y="111"/>
                  </a:lnTo>
                  <a:lnTo>
                    <a:pt x="54" y="83"/>
                  </a:lnTo>
                  <a:lnTo>
                    <a:pt x="76" y="83"/>
                  </a:lnTo>
                  <a:lnTo>
                    <a:pt x="59" y="71"/>
                  </a:lnTo>
                  <a:lnTo>
                    <a:pt x="71" y="38"/>
                  </a:lnTo>
                  <a:lnTo>
                    <a:pt x="109" y="55"/>
                  </a:lnTo>
                  <a:lnTo>
                    <a:pt x="125" y="55"/>
                  </a:lnTo>
                  <a:lnTo>
                    <a:pt x="184" y="26"/>
                  </a:lnTo>
                  <a:lnTo>
                    <a:pt x="201" y="38"/>
                  </a:lnTo>
                  <a:lnTo>
                    <a:pt x="217" y="43"/>
                  </a:lnTo>
                  <a:lnTo>
                    <a:pt x="255" y="55"/>
                  </a:lnTo>
                  <a:lnTo>
                    <a:pt x="293" y="43"/>
                  </a:lnTo>
                  <a:lnTo>
                    <a:pt x="364" y="17"/>
                  </a:lnTo>
                  <a:lnTo>
                    <a:pt x="418" y="17"/>
                  </a:lnTo>
                  <a:lnTo>
                    <a:pt x="451" y="5"/>
                  </a:lnTo>
                  <a:lnTo>
                    <a:pt x="456" y="0"/>
                  </a:lnTo>
                  <a:lnTo>
                    <a:pt x="472" y="5"/>
                  </a:lnTo>
                  <a:lnTo>
                    <a:pt x="472" y="17"/>
                  </a:lnTo>
                  <a:lnTo>
                    <a:pt x="435" y="55"/>
                  </a:lnTo>
                  <a:lnTo>
                    <a:pt x="402" y="62"/>
                  </a:lnTo>
                  <a:lnTo>
                    <a:pt x="397" y="78"/>
                  </a:lnTo>
                  <a:lnTo>
                    <a:pt x="397" y="99"/>
                  </a:lnTo>
                  <a:lnTo>
                    <a:pt x="402" y="116"/>
                  </a:lnTo>
                  <a:lnTo>
                    <a:pt x="402" y="140"/>
                  </a:lnTo>
                  <a:lnTo>
                    <a:pt x="397" y="173"/>
                  </a:lnTo>
                  <a:lnTo>
                    <a:pt x="397" y="206"/>
                  </a:lnTo>
                  <a:lnTo>
                    <a:pt x="380" y="239"/>
                  </a:lnTo>
                  <a:lnTo>
                    <a:pt x="222" y="324"/>
                  </a:lnTo>
                  <a:lnTo>
                    <a:pt x="83" y="407"/>
                  </a:lnTo>
                  <a:lnTo>
                    <a:pt x="54" y="407"/>
                  </a:lnTo>
                  <a:lnTo>
                    <a:pt x="28" y="390"/>
                  </a:lnTo>
                  <a:lnTo>
                    <a:pt x="21" y="373"/>
                  </a:lnTo>
                  <a:lnTo>
                    <a:pt x="0" y="378"/>
                  </a:lnTo>
                  <a:lnTo>
                    <a:pt x="0" y="333"/>
                  </a:lnTo>
                  <a:lnTo>
                    <a:pt x="0" y="333"/>
                  </a:lnTo>
                  <a:lnTo>
                    <a:pt x="0" y="33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2" name="Freeform 565">
              <a:extLst>
                <a:ext uri="{FF2B5EF4-FFF2-40B4-BE49-F238E27FC236}">
                  <a16:creationId xmlns:a16="http://schemas.microsoft.com/office/drawing/2014/main" id="{6F79368B-84A1-4FE1-9E10-D2C3AA21451B}"/>
                </a:ext>
              </a:extLst>
            </p:cNvPr>
            <p:cNvSpPr>
              <a:spLocks noEditPoints="1"/>
            </p:cNvSpPr>
            <p:nvPr/>
          </p:nvSpPr>
          <p:spPr bwMode="gray">
            <a:xfrm>
              <a:off x="8216070" y="3272096"/>
              <a:ext cx="134205" cy="107870"/>
            </a:xfrm>
            <a:custGeom>
              <a:avLst/>
              <a:gdLst>
                <a:gd name="T0" fmla="*/ 326 w 326"/>
                <a:gd name="T1" fmla="*/ 97 h 262"/>
                <a:gd name="T2" fmla="*/ 312 w 326"/>
                <a:gd name="T3" fmla="*/ 106 h 262"/>
                <a:gd name="T4" fmla="*/ 304 w 326"/>
                <a:gd name="T5" fmla="*/ 97 h 262"/>
                <a:gd name="T6" fmla="*/ 312 w 326"/>
                <a:gd name="T7" fmla="*/ 97 h 262"/>
                <a:gd name="T8" fmla="*/ 304 w 326"/>
                <a:gd name="T9" fmla="*/ 90 h 262"/>
                <a:gd name="T10" fmla="*/ 288 w 326"/>
                <a:gd name="T11" fmla="*/ 97 h 262"/>
                <a:gd name="T12" fmla="*/ 288 w 326"/>
                <a:gd name="T13" fmla="*/ 146 h 262"/>
                <a:gd name="T14" fmla="*/ 304 w 326"/>
                <a:gd name="T15" fmla="*/ 146 h 262"/>
                <a:gd name="T16" fmla="*/ 304 w 326"/>
                <a:gd name="T17" fmla="*/ 151 h 262"/>
                <a:gd name="T18" fmla="*/ 274 w 326"/>
                <a:gd name="T19" fmla="*/ 163 h 262"/>
                <a:gd name="T20" fmla="*/ 274 w 326"/>
                <a:gd name="T21" fmla="*/ 179 h 262"/>
                <a:gd name="T22" fmla="*/ 252 w 326"/>
                <a:gd name="T23" fmla="*/ 234 h 262"/>
                <a:gd name="T24" fmla="*/ 252 w 326"/>
                <a:gd name="T25" fmla="*/ 262 h 262"/>
                <a:gd name="T26" fmla="*/ 245 w 326"/>
                <a:gd name="T27" fmla="*/ 262 h 262"/>
                <a:gd name="T28" fmla="*/ 71 w 326"/>
                <a:gd name="T29" fmla="*/ 241 h 262"/>
                <a:gd name="T30" fmla="*/ 0 w 326"/>
                <a:gd name="T31" fmla="*/ 151 h 262"/>
                <a:gd name="T32" fmla="*/ 0 w 326"/>
                <a:gd name="T33" fmla="*/ 146 h 262"/>
                <a:gd name="T34" fmla="*/ 7 w 326"/>
                <a:gd name="T35" fmla="*/ 146 h 262"/>
                <a:gd name="T36" fmla="*/ 16 w 326"/>
                <a:gd name="T37" fmla="*/ 163 h 262"/>
                <a:gd name="T38" fmla="*/ 33 w 326"/>
                <a:gd name="T39" fmla="*/ 167 h 262"/>
                <a:gd name="T40" fmla="*/ 54 w 326"/>
                <a:gd name="T41" fmla="*/ 163 h 262"/>
                <a:gd name="T42" fmla="*/ 71 w 326"/>
                <a:gd name="T43" fmla="*/ 146 h 262"/>
                <a:gd name="T44" fmla="*/ 139 w 326"/>
                <a:gd name="T45" fmla="*/ 163 h 262"/>
                <a:gd name="T46" fmla="*/ 177 w 326"/>
                <a:gd name="T47" fmla="*/ 151 h 262"/>
                <a:gd name="T48" fmla="*/ 198 w 326"/>
                <a:gd name="T49" fmla="*/ 146 h 262"/>
                <a:gd name="T50" fmla="*/ 198 w 326"/>
                <a:gd name="T51" fmla="*/ 130 h 262"/>
                <a:gd name="T52" fmla="*/ 203 w 326"/>
                <a:gd name="T53" fmla="*/ 130 h 262"/>
                <a:gd name="T54" fmla="*/ 215 w 326"/>
                <a:gd name="T55" fmla="*/ 106 h 262"/>
                <a:gd name="T56" fmla="*/ 245 w 326"/>
                <a:gd name="T57" fmla="*/ 78 h 262"/>
                <a:gd name="T58" fmla="*/ 274 w 326"/>
                <a:gd name="T59" fmla="*/ 40 h 262"/>
                <a:gd name="T60" fmla="*/ 283 w 326"/>
                <a:gd name="T61" fmla="*/ 40 h 262"/>
                <a:gd name="T62" fmla="*/ 300 w 326"/>
                <a:gd name="T63" fmla="*/ 35 h 262"/>
                <a:gd name="T64" fmla="*/ 312 w 326"/>
                <a:gd name="T65" fmla="*/ 0 h 262"/>
                <a:gd name="T66" fmla="*/ 321 w 326"/>
                <a:gd name="T67" fmla="*/ 12 h 262"/>
                <a:gd name="T68" fmla="*/ 312 w 326"/>
                <a:gd name="T69" fmla="*/ 35 h 262"/>
                <a:gd name="T70" fmla="*/ 326 w 326"/>
                <a:gd name="T71" fmla="*/ 35 h 262"/>
                <a:gd name="T72" fmla="*/ 326 w 326"/>
                <a:gd name="T73" fmla="*/ 40 h 262"/>
                <a:gd name="T74" fmla="*/ 326 w 326"/>
                <a:gd name="T75" fmla="*/ 90 h 262"/>
                <a:gd name="T76" fmla="*/ 326 w 326"/>
                <a:gd name="T77" fmla="*/ 97 h 262"/>
                <a:gd name="T78" fmla="*/ 326 w 326"/>
                <a:gd name="T79" fmla="*/ 97 h 262"/>
                <a:gd name="T80" fmla="*/ 326 w 326"/>
                <a:gd name="T81" fmla="*/ 97 h 262"/>
                <a:gd name="T82" fmla="*/ 198 w 326"/>
                <a:gd name="T83" fmla="*/ 130 h 262"/>
                <a:gd name="T84" fmla="*/ 193 w 326"/>
                <a:gd name="T85" fmla="*/ 130 h 262"/>
                <a:gd name="T86" fmla="*/ 193 w 326"/>
                <a:gd name="T87" fmla="*/ 123 h 262"/>
                <a:gd name="T88" fmla="*/ 198 w 326"/>
                <a:gd name="T89" fmla="*/ 130 h 262"/>
                <a:gd name="T90" fmla="*/ 198 w 326"/>
                <a:gd name="T91" fmla="*/ 130 h 262"/>
                <a:gd name="T92" fmla="*/ 198 w 326"/>
                <a:gd name="T93" fmla="*/ 130 h 262"/>
                <a:gd name="T94" fmla="*/ 71 w 326"/>
                <a:gd name="T95" fmla="*/ 146 h 262"/>
                <a:gd name="T96" fmla="*/ 71 w 326"/>
                <a:gd name="T97" fmla="*/ 134 h 262"/>
                <a:gd name="T98" fmla="*/ 75 w 326"/>
                <a:gd name="T99" fmla="*/ 134 h 262"/>
                <a:gd name="T100" fmla="*/ 71 w 326"/>
                <a:gd name="T101" fmla="*/ 146 h 262"/>
                <a:gd name="T102" fmla="*/ 71 w 326"/>
                <a:gd name="T103" fmla="*/ 146 h 262"/>
                <a:gd name="T104" fmla="*/ 71 w 326"/>
                <a:gd name="T105" fmla="*/ 146 h 262"/>
                <a:gd name="T106" fmla="*/ 151 w 326"/>
                <a:gd name="T107" fmla="*/ 151 h 262"/>
                <a:gd name="T108" fmla="*/ 144 w 326"/>
                <a:gd name="T109" fmla="*/ 151 h 262"/>
                <a:gd name="T110" fmla="*/ 160 w 326"/>
                <a:gd name="T111" fmla="*/ 146 h 262"/>
                <a:gd name="T112" fmla="*/ 165 w 326"/>
                <a:gd name="T113" fmla="*/ 146 h 262"/>
                <a:gd name="T114" fmla="*/ 151 w 326"/>
                <a:gd name="T115" fmla="*/ 151 h 262"/>
                <a:gd name="T116" fmla="*/ 151 w 326"/>
                <a:gd name="T117" fmla="*/ 151 h 262"/>
                <a:gd name="T118" fmla="*/ 151 w 326"/>
                <a:gd name="T119" fmla="*/ 15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6" h="262">
                  <a:moveTo>
                    <a:pt x="326" y="97"/>
                  </a:moveTo>
                  <a:lnTo>
                    <a:pt x="312" y="106"/>
                  </a:lnTo>
                  <a:lnTo>
                    <a:pt x="304" y="97"/>
                  </a:lnTo>
                  <a:lnTo>
                    <a:pt x="312" y="97"/>
                  </a:lnTo>
                  <a:lnTo>
                    <a:pt x="304" y="90"/>
                  </a:lnTo>
                  <a:lnTo>
                    <a:pt x="288" y="97"/>
                  </a:lnTo>
                  <a:lnTo>
                    <a:pt x="288" y="146"/>
                  </a:lnTo>
                  <a:lnTo>
                    <a:pt x="304" y="146"/>
                  </a:lnTo>
                  <a:lnTo>
                    <a:pt x="304" y="151"/>
                  </a:lnTo>
                  <a:lnTo>
                    <a:pt x="274" y="163"/>
                  </a:lnTo>
                  <a:lnTo>
                    <a:pt x="274" y="179"/>
                  </a:lnTo>
                  <a:lnTo>
                    <a:pt x="252" y="234"/>
                  </a:lnTo>
                  <a:lnTo>
                    <a:pt x="252" y="262"/>
                  </a:lnTo>
                  <a:lnTo>
                    <a:pt x="245" y="262"/>
                  </a:lnTo>
                  <a:lnTo>
                    <a:pt x="71" y="241"/>
                  </a:lnTo>
                  <a:lnTo>
                    <a:pt x="0" y="151"/>
                  </a:lnTo>
                  <a:lnTo>
                    <a:pt x="0" y="146"/>
                  </a:lnTo>
                  <a:lnTo>
                    <a:pt x="7" y="146"/>
                  </a:lnTo>
                  <a:lnTo>
                    <a:pt x="16" y="163"/>
                  </a:lnTo>
                  <a:lnTo>
                    <a:pt x="33" y="167"/>
                  </a:lnTo>
                  <a:lnTo>
                    <a:pt x="54" y="163"/>
                  </a:lnTo>
                  <a:lnTo>
                    <a:pt x="71" y="146"/>
                  </a:lnTo>
                  <a:lnTo>
                    <a:pt x="139" y="163"/>
                  </a:lnTo>
                  <a:lnTo>
                    <a:pt x="177" y="151"/>
                  </a:lnTo>
                  <a:lnTo>
                    <a:pt x="198" y="146"/>
                  </a:lnTo>
                  <a:lnTo>
                    <a:pt x="198" y="130"/>
                  </a:lnTo>
                  <a:lnTo>
                    <a:pt x="203" y="130"/>
                  </a:lnTo>
                  <a:lnTo>
                    <a:pt x="215" y="106"/>
                  </a:lnTo>
                  <a:lnTo>
                    <a:pt x="245" y="78"/>
                  </a:lnTo>
                  <a:lnTo>
                    <a:pt x="274" y="40"/>
                  </a:lnTo>
                  <a:lnTo>
                    <a:pt x="283" y="40"/>
                  </a:lnTo>
                  <a:lnTo>
                    <a:pt x="300" y="35"/>
                  </a:lnTo>
                  <a:lnTo>
                    <a:pt x="312" y="0"/>
                  </a:lnTo>
                  <a:lnTo>
                    <a:pt x="321" y="12"/>
                  </a:lnTo>
                  <a:lnTo>
                    <a:pt x="312" y="35"/>
                  </a:lnTo>
                  <a:lnTo>
                    <a:pt x="326" y="35"/>
                  </a:lnTo>
                  <a:lnTo>
                    <a:pt x="326" y="40"/>
                  </a:lnTo>
                  <a:lnTo>
                    <a:pt x="326" y="90"/>
                  </a:lnTo>
                  <a:lnTo>
                    <a:pt x="326" y="97"/>
                  </a:lnTo>
                  <a:lnTo>
                    <a:pt x="326" y="97"/>
                  </a:lnTo>
                  <a:lnTo>
                    <a:pt x="326" y="97"/>
                  </a:lnTo>
                  <a:close/>
                  <a:moveTo>
                    <a:pt x="198" y="130"/>
                  </a:moveTo>
                  <a:lnTo>
                    <a:pt x="193" y="130"/>
                  </a:lnTo>
                  <a:lnTo>
                    <a:pt x="193" y="123"/>
                  </a:lnTo>
                  <a:lnTo>
                    <a:pt x="198" y="130"/>
                  </a:lnTo>
                  <a:lnTo>
                    <a:pt x="198" y="130"/>
                  </a:lnTo>
                  <a:lnTo>
                    <a:pt x="198" y="130"/>
                  </a:lnTo>
                  <a:close/>
                  <a:moveTo>
                    <a:pt x="71" y="146"/>
                  </a:moveTo>
                  <a:lnTo>
                    <a:pt x="71" y="134"/>
                  </a:lnTo>
                  <a:lnTo>
                    <a:pt x="75" y="134"/>
                  </a:lnTo>
                  <a:lnTo>
                    <a:pt x="71" y="146"/>
                  </a:lnTo>
                  <a:lnTo>
                    <a:pt x="71" y="146"/>
                  </a:lnTo>
                  <a:lnTo>
                    <a:pt x="71" y="146"/>
                  </a:lnTo>
                  <a:close/>
                  <a:moveTo>
                    <a:pt x="151" y="151"/>
                  </a:moveTo>
                  <a:lnTo>
                    <a:pt x="144" y="151"/>
                  </a:lnTo>
                  <a:lnTo>
                    <a:pt x="160" y="146"/>
                  </a:lnTo>
                  <a:lnTo>
                    <a:pt x="165" y="146"/>
                  </a:lnTo>
                  <a:lnTo>
                    <a:pt x="151" y="151"/>
                  </a:lnTo>
                  <a:lnTo>
                    <a:pt x="151" y="151"/>
                  </a:lnTo>
                  <a:lnTo>
                    <a:pt x="151" y="15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6" name="Freeform 571">
              <a:extLst>
                <a:ext uri="{FF2B5EF4-FFF2-40B4-BE49-F238E27FC236}">
                  <a16:creationId xmlns:a16="http://schemas.microsoft.com/office/drawing/2014/main" id="{3263DB55-CDE8-43D1-B69A-D5EE7E402597}"/>
                </a:ext>
              </a:extLst>
            </p:cNvPr>
            <p:cNvSpPr>
              <a:spLocks/>
            </p:cNvSpPr>
            <p:nvPr/>
          </p:nvSpPr>
          <p:spPr bwMode="gray">
            <a:xfrm>
              <a:off x="6721296" y="3734043"/>
              <a:ext cx="57222" cy="147806"/>
            </a:xfrm>
            <a:custGeom>
              <a:avLst/>
              <a:gdLst>
                <a:gd name="T0" fmla="*/ 128 w 139"/>
                <a:gd name="T1" fmla="*/ 260 h 359"/>
                <a:gd name="T2" fmla="*/ 128 w 139"/>
                <a:gd name="T3" fmla="*/ 297 h 359"/>
                <a:gd name="T4" fmla="*/ 123 w 139"/>
                <a:gd name="T5" fmla="*/ 297 h 359"/>
                <a:gd name="T6" fmla="*/ 123 w 139"/>
                <a:gd name="T7" fmla="*/ 321 h 359"/>
                <a:gd name="T8" fmla="*/ 139 w 139"/>
                <a:gd name="T9" fmla="*/ 349 h 359"/>
                <a:gd name="T10" fmla="*/ 128 w 139"/>
                <a:gd name="T11" fmla="*/ 354 h 359"/>
                <a:gd name="T12" fmla="*/ 95 w 139"/>
                <a:gd name="T13" fmla="*/ 359 h 359"/>
                <a:gd name="T14" fmla="*/ 83 w 139"/>
                <a:gd name="T15" fmla="*/ 349 h 359"/>
                <a:gd name="T16" fmla="*/ 66 w 139"/>
                <a:gd name="T17" fmla="*/ 338 h 359"/>
                <a:gd name="T18" fmla="*/ 50 w 139"/>
                <a:gd name="T19" fmla="*/ 297 h 359"/>
                <a:gd name="T20" fmla="*/ 57 w 139"/>
                <a:gd name="T21" fmla="*/ 297 h 359"/>
                <a:gd name="T22" fmla="*/ 57 w 139"/>
                <a:gd name="T23" fmla="*/ 276 h 359"/>
                <a:gd name="T24" fmla="*/ 50 w 139"/>
                <a:gd name="T25" fmla="*/ 264 h 359"/>
                <a:gd name="T26" fmla="*/ 50 w 139"/>
                <a:gd name="T27" fmla="*/ 260 h 359"/>
                <a:gd name="T28" fmla="*/ 50 w 139"/>
                <a:gd name="T29" fmla="*/ 243 h 359"/>
                <a:gd name="T30" fmla="*/ 57 w 139"/>
                <a:gd name="T31" fmla="*/ 210 h 359"/>
                <a:gd name="T32" fmla="*/ 66 w 139"/>
                <a:gd name="T33" fmla="*/ 203 h 359"/>
                <a:gd name="T34" fmla="*/ 33 w 139"/>
                <a:gd name="T35" fmla="*/ 170 h 359"/>
                <a:gd name="T36" fmla="*/ 50 w 139"/>
                <a:gd name="T37" fmla="*/ 165 h 359"/>
                <a:gd name="T38" fmla="*/ 40 w 139"/>
                <a:gd name="T39" fmla="*/ 149 h 359"/>
                <a:gd name="T40" fmla="*/ 50 w 139"/>
                <a:gd name="T41" fmla="*/ 127 h 359"/>
                <a:gd name="T42" fmla="*/ 40 w 139"/>
                <a:gd name="T43" fmla="*/ 116 h 359"/>
                <a:gd name="T44" fmla="*/ 28 w 139"/>
                <a:gd name="T45" fmla="*/ 116 h 359"/>
                <a:gd name="T46" fmla="*/ 40 w 139"/>
                <a:gd name="T47" fmla="*/ 75 h 359"/>
                <a:gd name="T48" fmla="*/ 33 w 139"/>
                <a:gd name="T49" fmla="*/ 59 h 359"/>
                <a:gd name="T50" fmla="*/ 33 w 139"/>
                <a:gd name="T51" fmla="*/ 54 h 359"/>
                <a:gd name="T52" fmla="*/ 0 w 139"/>
                <a:gd name="T53" fmla="*/ 26 h 359"/>
                <a:gd name="T54" fmla="*/ 12 w 139"/>
                <a:gd name="T55" fmla="*/ 5 h 359"/>
                <a:gd name="T56" fmla="*/ 0 w 139"/>
                <a:gd name="T57" fmla="*/ 0 h 359"/>
                <a:gd name="T58" fmla="*/ 50 w 139"/>
                <a:gd name="T59" fmla="*/ 5 h 359"/>
                <a:gd name="T60" fmla="*/ 50 w 139"/>
                <a:gd name="T61" fmla="*/ 16 h 359"/>
                <a:gd name="T62" fmla="*/ 73 w 139"/>
                <a:gd name="T63" fmla="*/ 5 h 359"/>
                <a:gd name="T64" fmla="*/ 66 w 139"/>
                <a:gd name="T65" fmla="*/ 54 h 359"/>
                <a:gd name="T66" fmla="*/ 106 w 139"/>
                <a:gd name="T67" fmla="*/ 75 h 359"/>
                <a:gd name="T68" fmla="*/ 106 w 139"/>
                <a:gd name="T69" fmla="*/ 116 h 359"/>
                <a:gd name="T70" fmla="*/ 128 w 139"/>
                <a:gd name="T71" fmla="*/ 149 h 359"/>
                <a:gd name="T72" fmla="*/ 128 w 139"/>
                <a:gd name="T73" fmla="*/ 260 h 359"/>
                <a:gd name="T74" fmla="*/ 128 w 139"/>
                <a:gd name="T75" fmla="*/ 260 h 359"/>
                <a:gd name="T76" fmla="*/ 128 w 139"/>
                <a:gd name="T77" fmla="*/ 26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359">
                  <a:moveTo>
                    <a:pt x="128" y="260"/>
                  </a:moveTo>
                  <a:lnTo>
                    <a:pt x="128" y="297"/>
                  </a:lnTo>
                  <a:lnTo>
                    <a:pt x="123" y="297"/>
                  </a:lnTo>
                  <a:lnTo>
                    <a:pt x="123" y="321"/>
                  </a:lnTo>
                  <a:lnTo>
                    <a:pt x="139" y="349"/>
                  </a:lnTo>
                  <a:lnTo>
                    <a:pt x="128" y="354"/>
                  </a:lnTo>
                  <a:lnTo>
                    <a:pt x="95" y="359"/>
                  </a:lnTo>
                  <a:lnTo>
                    <a:pt x="83" y="349"/>
                  </a:lnTo>
                  <a:lnTo>
                    <a:pt x="66" y="338"/>
                  </a:lnTo>
                  <a:lnTo>
                    <a:pt x="50" y="297"/>
                  </a:lnTo>
                  <a:lnTo>
                    <a:pt x="57" y="297"/>
                  </a:lnTo>
                  <a:lnTo>
                    <a:pt x="57" y="276"/>
                  </a:lnTo>
                  <a:lnTo>
                    <a:pt x="50" y="264"/>
                  </a:lnTo>
                  <a:lnTo>
                    <a:pt x="50" y="260"/>
                  </a:lnTo>
                  <a:lnTo>
                    <a:pt x="50" y="243"/>
                  </a:lnTo>
                  <a:lnTo>
                    <a:pt x="57" y="210"/>
                  </a:lnTo>
                  <a:lnTo>
                    <a:pt x="66" y="203"/>
                  </a:lnTo>
                  <a:lnTo>
                    <a:pt x="33" y="170"/>
                  </a:lnTo>
                  <a:lnTo>
                    <a:pt x="50" y="165"/>
                  </a:lnTo>
                  <a:lnTo>
                    <a:pt x="40" y="149"/>
                  </a:lnTo>
                  <a:lnTo>
                    <a:pt x="50" y="127"/>
                  </a:lnTo>
                  <a:lnTo>
                    <a:pt x="40" y="116"/>
                  </a:lnTo>
                  <a:lnTo>
                    <a:pt x="28" y="116"/>
                  </a:lnTo>
                  <a:lnTo>
                    <a:pt x="40" y="75"/>
                  </a:lnTo>
                  <a:lnTo>
                    <a:pt x="33" y="59"/>
                  </a:lnTo>
                  <a:lnTo>
                    <a:pt x="33" y="54"/>
                  </a:lnTo>
                  <a:lnTo>
                    <a:pt x="0" y="26"/>
                  </a:lnTo>
                  <a:lnTo>
                    <a:pt x="12" y="5"/>
                  </a:lnTo>
                  <a:lnTo>
                    <a:pt x="0" y="0"/>
                  </a:lnTo>
                  <a:lnTo>
                    <a:pt x="50" y="5"/>
                  </a:lnTo>
                  <a:lnTo>
                    <a:pt x="50" y="16"/>
                  </a:lnTo>
                  <a:lnTo>
                    <a:pt x="73" y="5"/>
                  </a:lnTo>
                  <a:lnTo>
                    <a:pt x="66" y="54"/>
                  </a:lnTo>
                  <a:lnTo>
                    <a:pt x="106" y="75"/>
                  </a:lnTo>
                  <a:lnTo>
                    <a:pt x="106" y="116"/>
                  </a:lnTo>
                  <a:lnTo>
                    <a:pt x="128" y="149"/>
                  </a:lnTo>
                  <a:lnTo>
                    <a:pt x="128" y="260"/>
                  </a:lnTo>
                  <a:lnTo>
                    <a:pt x="128" y="260"/>
                  </a:lnTo>
                  <a:lnTo>
                    <a:pt x="128" y="26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7" name="Freeform 572">
              <a:extLst>
                <a:ext uri="{FF2B5EF4-FFF2-40B4-BE49-F238E27FC236}">
                  <a16:creationId xmlns:a16="http://schemas.microsoft.com/office/drawing/2014/main" id="{0EA864B8-45BE-4058-A932-6A48AF95A4F4}"/>
                </a:ext>
              </a:extLst>
            </p:cNvPr>
            <p:cNvSpPr>
              <a:spLocks noEditPoints="1"/>
            </p:cNvSpPr>
            <p:nvPr/>
          </p:nvSpPr>
          <p:spPr bwMode="gray">
            <a:xfrm>
              <a:off x="6912722" y="4014010"/>
              <a:ext cx="29228" cy="49818"/>
            </a:xfrm>
            <a:custGeom>
              <a:avLst/>
              <a:gdLst>
                <a:gd name="T0" fmla="*/ 62 w 71"/>
                <a:gd name="T1" fmla="*/ 12 h 121"/>
                <a:gd name="T2" fmla="*/ 62 w 71"/>
                <a:gd name="T3" fmla="*/ 7 h 121"/>
                <a:gd name="T4" fmla="*/ 62 w 71"/>
                <a:gd name="T5" fmla="*/ 0 h 121"/>
                <a:gd name="T6" fmla="*/ 71 w 71"/>
                <a:gd name="T7" fmla="*/ 7 h 121"/>
                <a:gd name="T8" fmla="*/ 62 w 71"/>
                <a:gd name="T9" fmla="*/ 12 h 121"/>
                <a:gd name="T10" fmla="*/ 62 w 71"/>
                <a:gd name="T11" fmla="*/ 12 h 121"/>
                <a:gd name="T12" fmla="*/ 62 w 71"/>
                <a:gd name="T13" fmla="*/ 12 h 121"/>
                <a:gd name="T14" fmla="*/ 0 w 71"/>
                <a:gd name="T15" fmla="*/ 121 h 121"/>
                <a:gd name="T16" fmla="*/ 0 w 71"/>
                <a:gd name="T17" fmla="*/ 104 h 121"/>
                <a:gd name="T18" fmla="*/ 17 w 71"/>
                <a:gd name="T19" fmla="*/ 99 h 121"/>
                <a:gd name="T20" fmla="*/ 17 w 71"/>
                <a:gd name="T21" fmla="*/ 116 h 121"/>
                <a:gd name="T22" fmla="*/ 0 w 71"/>
                <a:gd name="T23" fmla="*/ 121 h 121"/>
                <a:gd name="T24" fmla="*/ 0 w 71"/>
                <a:gd name="T25" fmla="*/ 121 h 121"/>
                <a:gd name="T26" fmla="*/ 0 w 71"/>
                <a:gd name="T2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121">
                  <a:moveTo>
                    <a:pt x="62" y="12"/>
                  </a:moveTo>
                  <a:lnTo>
                    <a:pt x="62" y="7"/>
                  </a:lnTo>
                  <a:lnTo>
                    <a:pt x="62" y="0"/>
                  </a:lnTo>
                  <a:lnTo>
                    <a:pt x="71" y="7"/>
                  </a:lnTo>
                  <a:lnTo>
                    <a:pt x="62" y="12"/>
                  </a:lnTo>
                  <a:lnTo>
                    <a:pt x="62" y="12"/>
                  </a:lnTo>
                  <a:lnTo>
                    <a:pt x="62" y="12"/>
                  </a:lnTo>
                  <a:close/>
                  <a:moveTo>
                    <a:pt x="0" y="121"/>
                  </a:moveTo>
                  <a:lnTo>
                    <a:pt x="0" y="104"/>
                  </a:lnTo>
                  <a:lnTo>
                    <a:pt x="17" y="99"/>
                  </a:lnTo>
                  <a:lnTo>
                    <a:pt x="17" y="116"/>
                  </a:lnTo>
                  <a:lnTo>
                    <a:pt x="0" y="121"/>
                  </a:lnTo>
                  <a:lnTo>
                    <a:pt x="0" y="121"/>
                  </a:lnTo>
                  <a:lnTo>
                    <a:pt x="0" y="1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8" name="Freeform 573">
              <a:extLst>
                <a:ext uri="{FF2B5EF4-FFF2-40B4-BE49-F238E27FC236}">
                  <a16:creationId xmlns:a16="http://schemas.microsoft.com/office/drawing/2014/main" id="{00E1FE95-F7B0-4176-B87C-BB3AD016977F}"/>
                </a:ext>
              </a:extLst>
            </p:cNvPr>
            <p:cNvSpPr>
              <a:spLocks noEditPoints="1"/>
            </p:cNvSpPr>
            <p:nvPr/>
          </p:nvSpPr>
          <p:spPr bwMode="gray">
            <a:xfrm>
              <a:off x="6941951" y="2905258"/>
              <a:ext cx="116914" cy="236325"/>
            </a:xfrm>
            <a:custGeom>
              <a:avLst/>
              <a:gdLst>
                <a:gd name="T0" fmla="*/ 24 w 284"/>
                <a:gd name="T1" fmla="*/ 251 h 574"/>
                <a:gd name="T2" fmla="*/ 55 w 284"/>
                <a:gd name="T3" fmla="*/ 222 h 574"/>
                <a:gd name="T4" fmla="*/ 59 w 284"/>
                <a:gd name="T5" fmla="*/ 156 h 574"/>
                <a:gd name="T6" fmla="*/ 55 w 284"/>
                <a:gd name="T7" fmla="*/ 116 h 574"/>
                <a:gd name="T8" fmla="*/ 45 w 284"/>
                <a:gd name="T9" fmla="*/ 62 h 574"/>
                <a:gd name="T10" fmla="*/ 76 w 284"/>
                <a:gd name="T11" fmla="*/ 26 h 574"/>
                <a:gd name="T12" fmla="*/ 168 w 284"/>
                <a:gd name="T13" fmla="*/ 0 h 574"/>
                <a:gd name="T14" fmla="*/ 161 w 284"/>
                <a:gd name="T15" fmla="*/ 17 h 574"/>
                <a:gd name="T16" fmla="*/ 168 w 284"/>
                <a:gd name="T17" fmla="*/ 5 h 574"/>
                <a:gd name="T18" fmla="*/ 194 w 284"/>
                <a:gd name="T19" fmla="*/ 5 h 574"/>
                <a:gd name="T20" fmla="*/ 194 w 284"/>
                <a:gd name="T21" fmla="*/ 17 h 574"/>
                <a:gd name="T22" fmla="*/ 199 w 284"/>
                <a:gd name="T23" fmla="*/ 38 h 574"/>
                <a:gd name="T24" fmla="*/ 199 w 284"/>
                <a:gd name="T25" fmla="*/ 43 h 574"/>
                <a:gd name="T26" fmla="*/ 253 w 284"/>
                <a:gd name="T27" fmla="*/ 26 h 574"/>
                <a:gd name="T28" fmla="*/ 215 w 284"/>
                <a:gd name="T29" fmla="*/ 78 h 574"/>
                <a:gd name="T30" fmla="*/ 220 w 284"/>
                <a:gd name="T31" fmla="*/ 128 h 574"/>
                <a:gd name="T32" fmla="*/ 248 w 284"/>
                <a:gd name="T33" fmla="*/ 156 h 574"/>
                <a:gd name="T34" fmla="*/ 232 w 284"/>
                <a:gd name="T35" fmla="*/ 210 h 574"/>
                <a:gd name="T36" fmla="*/ 177 w 284"/>
                <a:gd name="T37" fmla="*/ 251 h 574"/>
                <a:gd name="T38" fmla="*/ 199 w 284"/>
                <a:gd name="T39" fmla="*/ 296 h 574"/>
                <a:gd name="T40" fmla="*/ 220 w 284"/>
                <a:gd name="T41" fmla="*/ 296 h 574"/>
                <a:gd name="T42" fmla="*/ 232 w 284"/>
                <a:gd name="T43" fmla="*/ 317 h 574"/>
                <a:gd name="T44" fmla="*/ 236 w 284"/>
                <a:gd name="T45" fmla="*/ 300 h 574"/>
                <a:gd name="T46" fmla="*/ 258 w 284"/>
                <a:gd name="T47" fmla="*/ 333 h 574"/>
                <a:gd name="T48" fmla="*/ 274 w 284"/>
                <a:gd name="T49" fmla="*/ 378 h 574"/>
                <a:gd name="T50" fmla="*/ 236 w 284"/>
                <a:gd name="T51" fmla="*/ 418 h 574"/>
                <a:gd name="T52" fmla="*/ 199 w 284"/>
                <a:gd name="T53" fmla="*/ 463 h 574"/>
                <a:gd name="T54" fmla="*/ 199 w 284"/>
                <a:gd name="T55" fmla="*/ 518 h 574"/>
                <a:gd name="T56" fmla="*/ 168 w 284"/>
                <a:gd name="T57" fmla="*/ 562 h 574"/>
                <a:gd name="T58" fmla="*/ 109 w 284"/>
                <a:gd name="T59" fmla="*/ 430 h 574"/>
                <a:gd name="T60" fmla="*/ 59 w 284"/>
                <a:gd name="T61" fmla="*/ 362 h 574"/>
                <a:gd name="T62" fmla="*/ 17 w 284"/>
                <a:gd name="T63" fmla="*/ 333 h 574"/>
                <a:gd name="T64" fmla="*/ 0 w 284"/>
                <a:gd name="T65" fmla="*/ 262 h 574"/>
                <a:gd name="T66" fmla="*/ 0 w 284"/>
                <a:gd name="T67" fmla="*/ 262 h 574"/>
                <a:gd name="T68" fmla="*/ 258 w 284"/>
                <a:gd name="T69" fmla="*/ 206 h 574"/>
                <a:gd name="T70" fmla="*/ 253 w 284"/>
                <a:gd name="T71" fmla="*/ 210 h 574"/>
                <a:gd name="T72" fmla="*/ 253 w 284"/>
                <a:gd name="T73" fmla="*/ 210 h 574"/>
                <a:gd name="T74" fmla="*/ 232 w 284"/>
                <a:gd name="T75" fmla="*/ 296 h 574"/>
                <a:gd name="T76" fmla="*/ 232 w 284"/>
                <a:gd name="T77" fmla="*/ 279 h 574"/>
                <a:gd name="T78" fmla="*/ 236 w 284"/>
                <a:gd name="T79" fmla="*/ 300 h 574"/>
                <a:gd name="T80" fmla="*/ 236 w 284"/>
                <a:gd name="T81" fmla="*/ 30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4" h="574">
                  <a:moveTo>
                    <a:pt x="0" y="262"/>
                  </a:moveTo>
                  <a:lnTo>
                    <a:pt x="24" y="251"/>
                  </a:lnTo>
                  <a:lnTo>
                    <a:pt x="24" y="239"/>
                  </a:lnTo>
                  <a:lnTo>
                    <a:pt x="55" y="222"/>
                  </a:lnTo>
                  <a:lnTo>
                    <a:pt x="59" y="173"/>
                  </a:lnTo>
                  <a:lnTo>
                    <a:pt x="59" y="156"/>
                  </a:lnTo>
                  <a:lnTo>
                    <a:pt x="59" y="133"/>
                  </a:lnTo>
                  <a:lnTo>
                    <a:pt x="55" y="116"/>
                  </a:lnTo>
                  <a:lnTo>
                    <a:pt x="59" y="71"/>
                  </a:lnTo>
                  <a:lnTo>
                    <a:pt x="45" y="62"/>
                  </a:lnTo>
                  <a:lnTo>
                    <a:pt x="88" y="38"/>
                  </a:lnTo>
                  <a:lnTo>
                    <a:pt x="76" y="26"/>
                  </a:lnTo>
                  <a:lnTo>
                    <a:pt x="151" y="0"/>
                  </a:lnTo>
                  <a:lnTo>
                    <a:pt x="168" y="0"/>
                  </a:lnTo>
                  <a:lnTo>
                    <a:pt x="161" y="5"/>
                  </a:lnTo>
                  <a:lnTo>
                    <a:pt x="161" y="17"/>
                  </a:lnTo>
                  <a:lnTo>
                    <a:pt x="168" y="5"/>
                  </a:lnTo>
                  <a:lnTo>
                    <a:pt x="168" y="5"/>
                  </a:lnTo>
                  <a:lnTo>
                    <a:pt x="177" y="0"/>
                  </a:lnTo>
                  <a:lnTo>
                    <a:pt x="194" y="5"/>
                  </a:lnTo>
                  <a:lnTo>
                    <a:pt x="182" y="17"/>
                  </a:lnTo>
                  <a:lnTo>
                    <a:pt x="194" y="17"/>
                  </a:lnTo>
                  <a:lnTo>
                    <a:pt x="194" y="21"/>
                  </a:lnTo>
                  <a:lnTo>
                    <a:pt x="199" y="38"/>
                  </a:lnTo>
                  <a:lnTo>
                    <a:pt x="194" y="38"/>
                  </a:lnTo>
                  <a:lnTo>
                    <a:pt x="199" y="43"/>
                  </a:lnTo>
                  <a:lnTo>
                    <a:pt x="248" y="17"/>
                  </a:lnTo>
                  <a:lnTo>
                    <a:pt x="253" y="26"/>
                  </a:lnTo>
                  <a:lnTo>
                    <a:pt x="232" y="71"/>
                  </a:lnTo>
                  <a:lnTo>
                    <a:pt x="215" y="78"/>
                  </a:lnTo>
                  <a:lnTo>
                    <a:pt x="203" y="95"/>
                  </a:lnTo>
                  <a:lnTo>
                    <a:pt x="220" y="128"/>
                  </a:lnTo>
                  <a:lnTo>
                    <a:pt x="248" y="133"/>
                  </a:lnTo>
                  <a:lnTo>
                    <a:pt x="248" y="156"/>
                  </a:lnTo>
                  <a:lnTo>
                    <a:pt x="253" y="173"/>
                  </a:lnTo>
                  <a:lnTo>
                    <a:pt x="232" y="210"/>
                  </a:lnTo>
                  <a:lnTo>
                    <a:pt x="182" y="246"/>
                  </a:lnTo>
                  <a:lnTo>
                    <a:pt x="177" y="251"/>
                  </a:lnTo>
                  <a:lnTo>
                    <a:pt x="182" y="279"/>
                  </a:lnTo>
                  <a:lnTo>
                    <a:pt x="199" y="296"/>
                  </a:lnTo>
                  <a:lnTo>
                    <a:pt x="203" y="300"/>
                  </a:lnTo>
                  <a:lnTo>
                    <a:pt x="220" y="296"/>
                  </a:lnTo>
                  <a:lnTo>
                    <a:pt x="220" y="307"/>
                  </a:lnTo>
                  <a:lnTo>
                    <a:pt x="232" y="317"/>
                  </a:lnTo>
                  <a:lnTo>
                    <a:pt x="236" y="307"/>
                  </a:lnTo>
                  <a:lnTo>
                    <a:pt x="236" y="300"/>
                  </a:lnTo>
                  <a:lnTo>
                    <a:pt x="248" y="300"/>
                  </a:lnTo>
                  <a:lnTo>
                    <a:pt x="258" y="333"/>
                  </a:lnTo>
                  <a:lnTo>
                    <a:pt x="284" y="340"/>
                  </a:lnTo>
                  <a:lnTo>
                    <a:pt x="274" y="378"/>
                  </a:lnTo>
                  <a:lnTo>
                    <a:pt x="284" y="395"/>
                  </a:lnTo>
                  <a:lnTo>
                    <a:pt x="236" y="418"/>
                  </a:lnTo>
                  <a:lnTo>
                    <a:pt x="203" y="451"/>
                  </a:lnTo>
                  <a:lnTo>
                    <a:pt x="199" y="463"/>
                  </a:lnTo>
                  <a:lnTo>
                    <a:pt x="182" y="473"/>
                  </a:lnTo>
                  <a:lnTo>
                    <a:pt x="199" y="518"/>
                  </a:lnTo>
                  <a:lnTo>
                    <a:pt x="194" y="529"/>
                  </a:lnTo>
                  <a:lnTo>
                    <a:pt x="168" y="562"/>
                  </a:lnTo>
                  <a:lnTo>
                    <a:pt x="147" y="574"/>
                  </a:lnTo>
                  <a:lnTo>
                    <a:pt x="109" y="430"/>
                  </a:lnTo>
                  <a:lnTo>
                    <a:pt x="59" y="390"/>
                  </a:lnTo>
                  <a:lnTo>
                    <a:pt x="59" y="362"/>
                  </a:lnTo>
                  <a:lnTo>
                    <a:pt x="45" y="340"/>
                  </a:lnTo>
                  <a:lnTo>
                    <a:pt x="17" y="333"/>
                  </a:lnTo>
                  <a:lnTo>
                    <a:pt x="0" y="279"/>
                  </a:lnTo>
                  <a:lnTo>
                    <a:pt x="0" y="262"/>
                  </a:lnTo>
                  <a:lnTo>
                    <a:pt x="0" y="262"/>
                  </a:lnTo>
                  <a:lnTo>
                    <a:pt x="0" y="262"/>
                  </a:lnTo>
                  <a:close/>
                  <a:moveTo>
                    <a:pt x="253" y="210"/>
                  </a:moveTo>
                  <a:lnTo>
                    <a:pt x="258" y="206"/>
                  </a:lnTo>
                  <a:lnTo>
                    <a:pt x="270" y="206"/>
                  </a:lnTo>
                  <a:lnTo>
                    <a:pt x="253" y="210"/>
                  </a:lnTo>
                  <a:lnTo>
                    <a:pt x="253" y="210"/>
                  </a:lnTo>
                  <a:lnTo>
                    <a:pt x="253" y="210"/>
                  </a:lnTo>
                  <a:close/>
                  <a:moveTo>
                    <a:pt x="236" y="300"/>
                  </a:moveTo>
                  <a:lnTo>
                    <a:pt x="232" y="296"/>
                  </a:lnTo>
                  <a:lnTo>
                    <a:pt x="232" y="296"/>
                  </a:lnTo>
                  <a:lnTo>
                    <a:pt x="232" y="279"/>
                  </a:lnTo>
                  <a:lnTo>
                    <a:pt x="248" y="284"/>
                  </a:lnTo>
                  <a:lnTo>
                    <a:pt x="236" y="300"/>
                  </a:lnTo>
                  <a:lnTo>
                    <a:pt x="236" y="300"/>
                  </a:lnTo>
                  <a:lnTo>
                    <a:pt x="236" y="30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2" name="Freeform 578">
              <a:extLst>
                <a:ext uri="{FF2B5EF4-FFF2-40B4-BE49-F238E27FC236}">
                  <a16:creationId xmlns:a16="http://schemas.microsoft.com/office/drawing/2014/main" id="{6D31D743-E7F2-4DB3-996E-582DCDF2AEDC}"/>
                </a:ext>
              </a:extLst>
            </p:cNvPr>
            <p:cNvSpPr>
              <a:spLocks noEditPoints="1"/>
            </p:cNvSpPr>
            <p:nvPr/>
          </p:nvSpPr>
          <p:spPr bwMode="gray">
            <a:xfrm>
              <a:off x="7573041" y="4095528"/>
              <a:ext cx="323162" cy="320316"/>
            </a:xfrm>
            <a:custGeom>
              <a:avLst/>
              <a:gdLst>
                <a:gd name="T0" fmla="*/ 612 w 785"/>
                <a:gd name="T1" fmla="*/ 737 h 778"/>
                <a:gd name="T2" fmla="*/ 596 w 785"/>
                <a:gd name="T3" fmla="*/ 766 h 778"/>
                <a:gd name="T4" fmla="*/ 525 w 785"/>
                <a:gd name="T5" fmla="*/ 766 h 778"/>
                <a:gd name="T6" fmla="*/ 482 w 785"/>
                <a:gd name="T7" fmla="*/ 778 h 778"/>
                <a:gd name="T8" fmla="*/ 461 w 785"/>
                <a:gd name="T9" fmla="*/ 754 h 778"/>
                <a:gd name="T10" fmla="*/ 395 w 785"/>
                <a:gd name="T11" fmla="*/ 766 h 778"/>
                <a:gd name="T12" fmla="*/ 374 w 785"/>
                <a:gd name="T13" fmla="*/ 712 h 778"/>
                <a:gd name="T14" fmla="*/ 352 w 785"/>
                <a:gd name="T15" fmla="*/ 626 h 778"/>
                <a:gd name="T16" fmla="*/ 319 w 785"/>
                <a:gd name="T17" fmla="*/ 626 h 778"/>
                <a:gd name="T18" fmla="*/ 288 w 785"/>
                <a:gd name="T19" fmla="*/ 622 h 778"/>
                <a:gd name="T20" fmla="*/ 248 w 785"/>
                <a:gd name="T21" fmla="*/ 605 h 778"/>
                <a:gd name="T22" fmla="*/ 218 w 785"/>
                <a:gd name="T23" fmla="*/ 589 h 778"/>
                <a:gd name="T24" fmla="*/ 189 w 785"/>
                <a:gd name="T25" fmla="*/ 572 h 778"/>
                <a:gd name="T26" fmla="*/ 147 w 785"/>
                <a:gd name="T27" fmla="*/ 551 h 778"/>
                <a:gd name="T28" fmla="*/ 104 w 785"/>
                <a:gd name="T29" fmla="*/ 515 h 778"/>
                <a:gd name="T30" fmla="*/ 50 w 785"/>
                <a:gd name="T31" fmla="*/ 423 h 778"/>
                <a:gd name="T32" fmla="*/ 17 w 785"/>
                <a:gd name="T33" fmla="*/ 383 h 778"/>
                <a:gd name="T34" fmla="*/ 17 w 785"/>
                <a:gd name="T35" fmla="*/ 345 h 778"/>
                <a:gd name="T36" fmla="*/ 0 w 785"/>
                <a:gd name="T37" fmla="*/ 251 h 778"/>
                <a:gd name="T38" fmla="*/ 50 w 785"/>
                <a:gd name="T39" fmla="*/ 234 h 778"/>
                <a:gd name="T40" fmla="*/ 71 w 785"/>
                <a:gd name="T41" fmla="*/ 201 h 778"/>
                <a:gd name="T42" fmla="*/ 104 w 785"/>
                <a:gd name="T43" fmla="*/ 161 h 778"/>
                <a:gd name="T44" fmla="*/ 88 w 785"/>
                <a:gd name="T45" fmla="*/ 140 h 778"/>
                <a:gd name="T46" fmla="*/ 81 w 785"/>
                <a:gd name="T47" fmla="*/ 140 h 778"/>
                <a:gd name="T48" fmla="*/ 104 w 785"/>
                <a:gd name="T49" fmla="*/ 100 h 778"/>
                <a:gd name="T50" fmla="*/ 104 w 785"/>
                <a:gd name="T51" fmla="*/ 67 h 778"/>
                <a:gd name="T52" fmla="*/ 92 w 785"/>
                <a:gd name="T53" fmla="*/ 34 h 778"/>
                <a:gd name="T54" fmla="*/ 81 w 785"/>
                <a:gd name="T55" fmla="*/ 0 h 778"/>
                <a:gd name="T56" fmla="*/ 248 w 785"/>
                <a:gd name="T57" fmla="*/ 0 h 778"/>
                <a:gd name="T58" fmla="*/ 579 w 785"/>
                <a:gd name="T59" fmla="*/ 145 h 778"/>
                <a:gd name="T60" fmla="*/ 579 w 785"/>
                <a:gd name="T61" fmla="*/ 178 h 778"/>
                <a:gd name="T62" fmla="*/ 700 w 785"/>
                <a:gd name="T63" fmla="*/ 277 h 778"/>
                <a:gd name="T64" fmla="*/ 688 w 785"/>
                <a:gd name="T65" fmla="*/ 277 h 778"/>
                <a:gd name="T66" fmla="*/ 678 w 785"/>
                <a:gd name="T67" fmla="*/ 388 h 778"/>
                <a:gd name="T68" fmla="*/ 721 w 785"/>
                <a:gd name="T69" fmla="*/ 433 h 778"/>
                <a:gd name="T70" fmla="*/ 700 w 785"/>
                <a:gd name="T71" fmla="*/ 489 h 778"/>
                <a:gd name="T72" fmla="*/ 716 w 785"/>
                <a:gd name="T73" fmla="*/ 499 h 778"/>
                <a:gd name="T74" fmla="*/ 704 w 785"/>
                <a:gd name="T75" fmla="*/ 556 h 778"/>
                <a:gd name="T76" fmla="*/ 704 w 785"/>
                <a:gd name="T77" fmla="*/ 572 h 778"/>
                <a:gd name="T78" fmla="*/ 737 w 785"/>
                <a:gd name="T79" fmla="*/ 655 h 778"/>
                <a:gd name="T80" fmla="*/ 754 w 785"/>
                <a:gd name="T81" fmla="*/ 662 h 778"/>
                <a:gd name="T82" fmla="*/ 770 w 785"/>
                <a:gd name="T83" fmla="*/ 667 h 778"/>
                <a:gd name="T84" fmla="*/ 700 w 785"/>
                <a:gd name="T85" fmla="*/ 737 h 778"/>
                <a:gd name="T86" fmla="*/ 645 w 785"/>
                <a:gd name="T87" fmla="*/ 754 h 778"/>
                <a:gd name="T88" fmla="*/ 645 w 785"/>
                <a:gd name="T89" fmla="*/ 754 h 778"/>
                <a:gd name="T90" fmla="*/ 733 w 785"/>
                <a:gd name="T91" fmla="*/ 277 h 778"/>
                <a:gd name="T92" fmla="*/ 737 w 785"/>
                <a:gd name="T93" fmla="*/ 305 h 778"/>
                <a:gd name="T94" fmla="*/ 721 w 785"/>
                <a:gd name="T95" fmla="*/ 322 h 778"/>
                <a:gd name="T96" fmla="*/ 733 w 785"/>
                <a:gd name="T97" fmla="*/ 305 h 778"/>
                <a:gd name="T98" fmla="*/ 704 w 785"/>
                <a:gd name="T99" fmla="*/ 362 h 778"/>
                <a:gd name="T100" fmla="*/ 716 w 785"/>
                <a:gd name="T101" fmla="*/ 367 h 778"/>
                <a:gd name="T102" fmla="*/ 721 w 785"/>
                <a:gd name="T103" fmla="*/ 388 h 778"/>
                <a:gd name="T104" fmla="*/ 688 w 785"/>
                <a:gd name="T105" fmla="*/ 378 h 778"/>
                <a:gd name="T106" fmla="*/ 700 w 785"/>
                <a:gd name="T107" fmla="*/ 345 h 778"/>
                <a:gd name="T108" fmla="*/ 704 w 785"/>
                <a:gd name="T109" fmla="*/ 362 h 778"/>
                <a:gd name="T110" fmla="*/ 721 w 785"/>
                <a:gd name="T111" fmla="*/ 499 h 778"/>
                <a:gd name="T112" fmla="*/ 742 w 785"/>
                <a:gd name="T113" fmla="*/ 478 h 778"/>
                <a:gd name="T114" fmla="*/ 721 w 785"/>
                <a:gd name="T115" fmla="*/ 499 h 778"/>
                <a:gd name="T116" fmla="*/ 721 w 785"/>
                <a:gd name="T117" fmla="*/ 499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5" h="778">
                  <a:moveTo>
                    <a:pt x="645" y="754"/>
                  </a:moveTo>
                  <a:lnTo>
                    <a:pt x="612" y="737"/>
                  </a:lnTo>
                  <a:lnTo>
                    <a:pt x="607" y="749"/>
                  </a:lnTo>
                  <a:lnTo>
                    <a:pt x="596" y="766"/>
                  </a:lnTo>
                  <a:lnTo>
                    <a:pt x="574" y="778"/>
                  </a:lnTo>
                  <a:lnTo>
                    <a:pt x="525" y="766"/>
                  </a:lnTo>
                  <a:lnTo>
                    <a:pt x="503" y="778"/>
                  </a:lnTo>
                  <a:lnTo>
                    <a:pt x="482" y="778"/>
                  </a:lnTo>
                  <a:lnTo>
                    <a:pt x="482" y="766"/>
                  </a:lnTo>
                  <a:lnTo>
                    <a:pt x="461" y="754"/>
                  </a:lnTo>
                  <a:lnTo>
                    <a:pt x="433" y="771"/>
                  </a:lnTo>
                  <a:lnTo>
                    <a:pt x="395" y="766"/>
                  </a:lnTo>
                  <a:lnTo>
                    <a:pt x="374" y="733"/>
                  </a:lnTo>
                  <a:lnTo>
                    <a:pt x="374" y="712"/>
                  </a:lnTo>
                  <a:lnTo>
                    <a:pt x="364" y="655"/>
                  </a:lnTo>
                  <a:lnTo>
                    <a:pt x="352" y="626"/>
                  </a:lnTo>
                  <a:lnTo>
                    <a:pt x="326" y="610"/>
                  </a:lnTo>
                  <a:lnTo>
                    <a:pt x="319" y="626"/>
                  </a:lnTo>
                  <a:lnTo>
                    <a:pt x="310" y="622"/>
                  </a:lnTo>
                  <a:lnTo>
                    <a:pt x="288" y="622"/>
                  </a:lnTo>
                  <a:lnTo>
                    <a:pt x="281" y="610"/>
                  </a:lnTo>
                  <a:lnTo>
                    <a:pt x="248" y="605"/>
                  </a:lnTo>
                  <a:lnTo>
                    <a:pt x="227" y="600"/>
                  </a:lnTo>
                  <a:lnTo>
                    <a:pt x="218" y="589"/>
                  </a:lnTo>
                  <a:lnTo>
                    <a:pt x="189" y="584"/>
                  </a:lnTo>
                  <a:lnTo>
                    <a:pt x="189" y="572"/>
                  </a:lnTo>
                  <a:lnTo>
                    <a:pt x="163" y="572"/>
                  </a:lnTo>
                  <a:lnTo>
                    <a:pt x="147" y="551"/>
                  </a:lnTo>
                  <a:lnTo>
                    <a:pt x="118" y="551"/>
                  </a:lnTo>
                  <a:lnTo>
                    <a:pt x="104" y="515"/>
                  </a:lnTo>
                  <a:lnTo>
                    <a:pt x="71" y="445"/>
                  </a:lnTo>
                  <a:lnTo>
                    <a:pt x="50" y="423"/>
                  </a:lnTo>
                  <a:lnTo>
                    <a:pt x="26" y="404"/>
                  </a:lnTo>
                  <a:lnTo>
                    <a:pt x="17" y="383"/>
                  </a:lnTo>
                  <a:lnTo>
                    <a:pt x="12" y="362"/>
                  </a:lnTo>
                  <a:lnTo>
                    <a:pt x="17" y="345"/>
                  </a:lnTo>
                  <a:lnTo>
                    <a:pt x="0" y="289"/>
                  </a:lnTo>
                  <a:lnTo>
                    <a:pt x="0" y="251"/>
                  </a:lnTo>
                  <a:lnTo>
                    <a:pt x="33" y="251"/>
                  </a:lnTo>
                  <a:lnTo>
                    <a:pt x="50" y="234"/>
                  </a:lnTo>
                  <a:lnTo>
                    <a:pt x="71" y="201"/>
                  </a:lnTo>
                  <a:lnTo>
                    <a:pt x="71" y="201"/>
                  </a:lnTo>
                  <a:lnTo>
                    <a:pt x="81" y="185"/>
                  </a:lnTo>
                  <a:lnTo>
                    <a:pt x="104" y="161"/>
                  </a:lnTo>
                  <a:lnTo>
                    <a:pt x="104" y="145"/>
                  </a:lnTo>
                  <a:lnTo>
                    <a:pt x="88" y="140"/>
                  </a:lnTo>
                  <a:lnTo>
                    <a:pt x="81" y="140"/>
                  </a:lnTo>
                  <a:lnTo>
                    <a:pt x="81" y="140"/>
                  </a:lnTo>
                  <a:lnTo>
                    <a:pt x="88" y="100"/>
                  </a:lnTo>
                  <a:lnTo>
                    <a:pt x="104" y="100"/>
                  </a:lnTo>
                  <a:lnTo>
                    <a:pt x="109" y="74"/>
                  </a:lnTo>
                  <a:lnTo>
                    <a:pt x="104" y="67"/>
                  </a:lnTo>
                  <a:lnTo>
                    <a:pt x="104" y="50"/>
                  </a:lnTo>
                  <a:lnTo>
                    <a:pt x="92" y="34"/>
                  </a:lnTo>
                  <a:lnTo>
                    <a:pt x="88" y="29"/>
                  </a:lnTo>
                  <a:lnTo>
                    <a:pt x="81" y="0"/>
                  </a:lnTo>
                  <a:lnTo>
                    <a:pt x="104" y="0"/>
                  </a:lnTo>
                  <a:lnTo>
                    <a:pt x="248" y="0"/>
                  </a:lnTo>
                  <a:lnTo>
                    <a:pt x="319" y="0"/>
                  </a:lnTo>
                  <a:lnTo>
                    <a:pt x="579" y="145"/>
                  </a:lnTo>
                  <a:lnTo>
                    <a:pt x="591" y="166"/>
                  </a:lnTo>
                  <a:lnTo>
                    <a:pt x="579" y="178"/>
                  </a:lnTo>
                  <a:lnTo>
                    <a:pt x="688" y="267"/>
                  </a:lnTo>
                  <a:lnTo>
                    <a:pt x="700" y="277"/>
                  </a:lnTo>
                  <a:lnTo>
                    <a:pt x="688" y="289"/>
                  </a:lnTo>
                  <a:lnTo>
                    <a:pt x="688" y="277"/>
                  </a:lnTo>
                  <a:lnTo>
                    <a:pt x="666" y="367"/>
                  </a:lnTo>
                  <a:lnTo>
                    <a:pt x="678" y="388"/>
                  </a:lnTo>
                  <a:lnTo>
                    <a:pt x="683" y="400"/>
                  </a:lnTo>
                  <a:lnTo>
                    <a:pt x="721" y="433"/>
                  </a:lnTo>
                  <a:lnTo>
                    <a:pt x="700" y="478"/>
                  </a:lnTo>
                  <a:lnTo>
                    <a:pt x="700" y="489"/>
                  </a:lnTo>
                  <a:lnTo>
                    <a:pt x="716" y="494"/>
                  </a:lnTo>
                  <a:lnTo>
                    <a:pt x="716" y="499"/>
                  </a:lnTo>
                  <a:lnTo>
                    <a:pt x="700" y="527"/>
                  </a:lnTo>
                  <a:lnTo>
                    <a:pt x="704" y="556"/>
                  </a:lnTo>
                  <a:lnTo>
                    <a:pt x="716" y="572"/>
                  </a:lnTo>
                  <a:lnTo>
                    <a:pt x="704" y="572"/>
                  </a:lnTo>
                  <a:lnTo>
                    <a:pt x="721" y="589"/>
                  </a:lnTo>
                  <a:lnTo>
                    <a:pt x="737" y="655"/>
                  </a:lnTo>
                  <a:lnTo>
                    <a:pt x="754" y="667"/>
                  </a:lnTo>
                  <a:lnTo>
                    <a:pt x="754" y="662"/>
                  </a:lnTo>
                  <a:lnTo>
                    <a:pt x="770" y="678"/>
                  </a:lnTo>
                  <a:lnTo>
                    <a:pt x="770" y="667"/>
                  </a:lnTo>
                  <a:lnTo>
                    <a:pt x="785" y="683"/>
                  </a:lnTo>
                  <a:lnTo>
                    <a:pt x="700" y="737"/>
                  </a:lnTo>
                  <a:lnTo>
                    <a:pt x="678" y="737"/>
                  </a:lnTo>
                  <a:lnTo>
                    <a:pt x="645" y="754"/>
                  </a:lnTo>
                  <a:lnTo>
                    <a:pt x="645" y="754"/>
                  </a:lnTo>
                  <a:lnTo>
                    <a:pt x="645" y="754"/>
                  </a:lnTo>
                  <a:close/>
                  <a:moveTo>
                    <a:pt x="733" y="305"/>
                  </a:moveTo>
                  <a:lnTo>
                    <a:pt x="733" y="277"/>
                  </a:lnTo>
                  <a:lnTo>
                    <a:pt x="737" y="277"/>
                  </a:lnTo>
                  <a:lnTo>
                    <a:pt x="737" y="305"/>
                  </a:lnTo>
                  <a:lnTo>
                    <a:pt x="733" y="322"/>
                  </a:lnTo>
                  <a:lnTo>
                    <a:pt x="721" y="322"/>
                  </a:lnTo>
                  <a:lnTo>
                    <a:pt x="733" y="305"/>
                  </a:lnTo>
                  <a:lnTo>
                    <a:pt x="733" y="305"/>
                  </a:lnTo>
                  <a:lnTo>
                    <a:pt x="733" y="305"/>
                  </a:lnTo>
                  <a:close/>
                  <a:moveTo>
                    <a:pt x="704" y="362"/>
                  </a:moveTo>
                  <a:lnTo>
                    <a:pt x="716" y="378"/>
                  </a:lnTo>
                  <a:lnTo>
                    <a:pt x="716" y="367"/>
                  </a:lnTo>
                  <a:lnTo>
                    <a:pt x="716" y="378"/>
                  </a:lnTo>
                  <a:lnTo>
                    <a:pt x="721" y="388"/>
                  </a:lnTo>
                  <a:lnTo>
                    <a:pt x="716" y="400"/>
                  </a:lnTo>
                  <a:lnTo>
                    <a:pt x="688" y="378"/>
                  </a:lnTo>
                  <a:lnTo>
                    <a:pt x="688" y="362"/>
                  </a:lnTo>
                  <a:lnTo>
                    <a:pt x="700" y="345"/>
                  </a:lnTo>
                  <a:lnTo>
                    <a:pt x="704" y="362"/>
                  </a:lnTo>
                  <a:lnTo>
                    <a:pt x="704" y="362"/>
                  </a:lnTo>
                  <a:lnTo>
                    <a:pt x="704" y="362"/>
                  </a:lnTo>
                  <a:close/>
                  <a:moveTo>
                    <a:pt x="721" y="499"/>
                  </a:moveTo>
                  <a:lnTo>
                    <a:pt x="721" y="499"/>
                  </a:lnTo>
                  <a:lnTo>
                    <a:pt x="742" y="478"/>
                  </a:lnTo>
                  <a:lnTo>
                    <a:pt x="737" y="499"/>
                  </a:lnTo>
                  <a:lnTo>
                    <a:pt x="721" y="499"/>
                  </a:lnTo>
                  <a:lnTo>
                    <a:pt x="721" y="499"/>
                  </a:lnTo>
                  <a:lnTo>
                    <a:pt x="721" y="49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3" name="Freeform 579">
              <a:extLst>
                <a:ext uri="{FF2B5EF4-FFF2-40B4-BE49-F238E27FC236}">
                  <a16:creationId xmlns:a16="http://schemas.microsoft.com/office/drawing/2014/main" id="{C8B66149-83FB-42F9-9217-EAE5A3A64C12}"/>
                </a:ext>
              </a:extLst>
            </p:cNvPr>
            <p:cNvSpPr>
              <a:spLocks/>
            </p:cNvSpPr>
            <p:nvPr/>
          </p:nvSpPr>
          <p:spPr bwMode="gray">
            <a:xfrm>
              <a:off x="7580039" y="3940312"/>
              <a:ext cx="155611" cy="167980"/>
            </a:xfrm>
            <a:custGeom>
              <a:avLst/>
              <a:gdLst>
                <a:gd name="T0" fmla="*/ 231 w 378"/>
                <a:gd name="T1" fmla="*/ 375 h 408"/>
                <a:gd name="T2" fmla="*/ 87 w 378"/>
                <a:gd name="T3" fmla="*/ 375 h 408"/>
                <a:gd name="T4" fmla="*/ 66 w 378"/>
                <a:gd name="T5" fmla="*/ 375 h 408"/>
                <a:gd name="T6" fmla="*/ 54 w 378"/>
                <a:gd name="T7" fmla="*/ 375 h 408"/>
                <a:gd name="T8" fmla="*/ 33 w 378"/>
                <a:gd name="T9" fmla="*/ 408 h 408"/>
                <a:gd name="T10" fmla="*/ 16 w 378"/>
                <a:gd name="T11" fmla="*/ 401 h 408"/>
                <a:gd name="T12" fmla="*/ 0 w 378"/>
                <a:gd name="T13" fmla="*/ 401 h 408"/>
                <a:gd name="T14" fmla="*/ 0 w 378"/>
                <a:gd name="T15" fmla="*/ 368 h 408"/>
                <a:gd name="T16" fmla="*/ 12 w 378"/>
                <a:gd name="T17" fmla="*/ 297 h 408"/>
                <a:gd name="T18" fmla="*/ 21 w 378"/>
                <a:gd name="T19" fmla="*/ 264 h 408"/>
                <a:gd name="T20" fmla="*/ 21 w 378"/>
                <a:gd name="T21" fmla="*/ 243 h 408"/>
                <a:gd name="T22" fmla="*/ 38 w 378"/>
                <a:gd name="T23" fmla="*/ 236 h 408"/>
                <a:gd name="T24" fmla="*/ 49 w 378"/>
                <a:gd name="T25" fmla="*/ 219 h 408"/>
                <a:gd name="T26" fmla="*/ 66 w 378"/>
                <a:gd name="T27" fmla="*/ 219 h 408"/>
                <a:gd name="T28" fmla="*/ 125 w 378"/>
                <a:gd name="T29" fmla="*/ 148 h 408"/>
                <a:gd name="T30" fmla="*/ 104 w 378"/>
                <a:gd name="T31" fmla="*/ 132 h 408"/>
                <a:gd name="T32" fmla="*/ 92 w 378"/>
                <a:gd name="T33" fmla="*/ 132 h 408"/>
                <a:gd name="T34" fmla="*/ 75 w 378"/>
                <a:gd name="T35" fmla="*/ 127 h 408"/>
                <a:gd name="T36" fmla="*/ 92 w 378"/>
                <a:gd name="T37" fmla="*/ 99 h 408"/>
                <a:gd name="T38" fmla="*/ 87 w 378"/>
                <a:gd name="T39" fmla="*/ 82 h 408"/>
                <a:gd name="T40" fmla="*/ 92 w 378"/>
                <a:gd name="T41" fmla="*/ 61 h 408"/>
                <a:gd name="T42" fmla="*/ 92 w 378"/>
                <a:gd name="T43" fmla="*/ 54 h 408"/>
                <a:gd name="T44" fmla="*/ 92 w 378"/>
                <a:gd name="T45" fmla="*/ 54 h 408"/>
                <a:gd name="T46" fmla="*/ 104 w 378"/>
                <a:gd name="T47" fmla="*/ 37 h 408"/>
                <a:gd name="T48" fmla="*/ 108 w 378"/>
                <a:gd name="T49" fmla="*/ 28 h 408"/>
                <a:gd name="T50" fmla="*/ 142 w 378"/>
                <a:gd name="T51" fmla="*/ 37 h 408"/>
                <a:gd name="T52" fmla="*/ 156 w 378"/>
                <a:gd name="T53" fmla="*/ 28 h 408"/>
                <a:gd name="T54" fmla="*/ 163 w 378"/>
                <a:gd name="T55" fmla="*/ 44 h 408"/>
                <a:gd name="T56" fmla="*/ 184 w 378"/>
                <a:gd name="T57" fmla="*/ 54 h 408"/>
                <a:gd name="T58" fmla="*/ 184 w 378"/>
                <a:gd name="T59" fmla="*/ 44 h 408"/>
                <a:gd name="T60" fmla="*/ 201 w 378"/>
                <a:gd name="T61" fmla="*/ 37 h 408"/>
                <a:gd name="T62" fmla="*/ 217 w 378"/>
                <a:gd name="T63" fmla="*/ 28 h 408"/>
                <a:gd name="T64" fmla="*/ 238 w 378"/>
                <a:gd name="T65" fmla="*/ 21 h 408"/>
                <a:gd name="T66" fmla="*/ 255 w 378"/>
                <a:gd name="T67" fmla="*/ 28 h 408"/>
                <a:gd name="T68" fmla="*/ 281 w 378"/>
                <a:gd name="T69" fmla="*/ 28 h 408"/>
                <a:gd name="T70" fmla="*/ 307 w 378"/>
                <a:gd name="T71" fmla="*/ 0 h 408"/>
                <a:gd name="T72" fmla="*/ 323 w 378"/>
                <a:gd name="T73" fmla="*/ 28 h 408"/>
                <a:gd name="T74" fmla="*/ 340 w 378"/>
                <a:gd name="T75" fmla="*/ 37 h 408"/>
                <a:gd name="T76" fmla="*/ 340 w 378"/>
                <a:gd name="T77" fmla="*/ 61 h 408"/>
                <a:gd name="T78" fmla="*/ 345 w 378"/>
                <a:gd name="T79" fmla="*/ 94 h 408"/>
                <a:gd name="T80" fmla="*/ 361 w 378"/>
                <a:gd name="T81" fmla="*/ 99 h 408"/>
                <a:gd name="T82" fmla="*/ 373 w 378"/>
                <a:gd name="T83" fmla="*/ 127 h 408"/>
                <a:gd name="T84" fmla="*/ 378 w 378"/>
                <a:gd name="T85" fmla="*/ 165 h 408"/>
                <a:gd name="T86" fmla="*/ 378 w 378"/>
                <a:gd name="T87" fmla="*/ 181 h 408"/>
                <a:gd name="T88" fmla="*/ 361 w 378"/>
                <a:gd name="T89" fmla="*/ 203 h 408"/>
                <a:gd name="T90" fmla="*/ 373 w 378"/>
                <a:gd name="T91" fmla="*/ 210 h 408"/>
                <a:gd name="T92" fmla="*/ 345 w 378"/>
                <a:gd name="T93" fmla="*/ 219 h 408"/>
                <a:gd name="T94" fmla="*/ 340 w 378"/>
                <a:gd name="T95" fmla="*/ 243 h 408"/>
                <a:gd name="T96" fmla="*/ 323 w 378"/>
                <a:gd name="T97" fmla="*/ 259 h 408"/>
                <a:gd name="T98" fmla="*/ 302 w 378"/>
                <a:gd name="T99" fmla="*/ 297 h 408"/>
                <a:gd name="T100" fmla="*/ 307 w 378"/>
                <a:gd name="T101" fmla="*/ 314 h 408"/>
                <a:gd name="T102" fmla="*/ 302 w 378"/>
                <a:gd name="T103" fmla="*/ 375 h 408"/>
                <a:gd name="T104" fmla="*/ 231 w 378"/>
                <a:gd name="T105" fmla="*/ 375 h 408"/>
                <a:gd name="T106" fmla="*/ 231 w 378"/>
                <a:gd name="T107" fmla="*/ 375 h 408"/>
                <a:gd name="T108" fmla="*/ 231 w 378"/>
                <a:gd name="T109" fmla="*/ 375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8" h="408">
                  <a:moveTo>
                    <a:pt x="231" y="375"/>
                  </a:moveTo>
                  <a:lnTo>
                    <a:pt x="87" y="375"/>
                  </a:lnTo>
                  <a:lnTo>
                    <a:pt x="66" y="375"/>
                  </a:lnTo>
                  <a:lnTo>
                    <a:pt x="54" y="375"/>
                  </a:lnTo>
                  <a:lnTo>
                    <a:pt x="33" y="408"/>
                  </a:lnTo>
                  <a:lnTo>
                    <a:pt x="16" y="401"/>
                  </a:lnTo>
                  <a:lnTo>
                    <a:pt x="0" y="401"/>
                  </a:lnTo>
                  <a:lnTo>
                    <a:pt x="0" y="368"/>
                  </a:lnTo>
                  <a:lnTo>
                    <a:pt x="12" y="297"/>
                  </a:lnTo>
                  <a:lnTo>
                    <a:pt x="21" y="264"/>
                  </a:lnTo>
                  <a:lnTo>
                    <a:pt x="21" y="243"/>
                  </a:lnTo>
                  <a:lnTo>
                    <a:pt x="38" y="236"/>
                  </a:lnTo>
                  <a:lnTo>
                    <a:pt x="49" y="219"/>
                  </a:lnTo>
                  <a:lnTo>
                    <a:pt x="66" y="219"/>
                  </a:lnTo>
                  <a:lnTo>
                    <a:pt x="125" y="148"/>
                  </a:lnTo>
                  <a:lnTo>
                    <a:pt x="104" y="132"/>
                  </a:lnTo>
                  <a:lnTo>
                    <a:pt x="92" y="132"/>
                  </a:lnTo>
                  <a:lnTo>
                    <a:pt x="75" y="127"/>
                  </a:lnTo>
                  <a:lnTo>
                    <a:pt x="92" y="99"/>
                  </a:lnTo>
                  <a:lnTo>
                    <a:pt x="87" y="82"/>
                  </a:lnTo>
                  <a:lnTo>
                    <a:pt x="92" y="61"/>
                  </a:lnTo>
                  <a:lnTo>
                    <a:pt x="92" y="54"/>
                  </a:lnTo>
                  <a:lnTo>
                    <a:pt x="92" y="54"/>
                  </a:lnTo>
                  <a:lnTo>
                    <a:pt x="104" y="37"/>
                  </a:lnTo>
                  <a:lnTo>
                    <a:pt x="108" y="28"/>
                  </a:lnTo>
                  <a:lnTo>
                    <a:pt x="142" y="37"/>
                  </a:lnTo>
                  <a:lnTo>
                    <a:pt x="156" y="28"/>
                  </a:lnTo>
                  <a:lnTo>
                    <a:pt x="163" y="44"/>
                  </a:lnTo>
                  <a:lnTo>
                    <a:pt x="184" y="54"/>
                  </a:lnTo>
                  <a:lnTo>
                    <a:pt x="184" y="44"/>
                  </a:lnTo>
                  <a:lnTo>
                    <a:pt x="201" y="37"/>
                  </a:lnTo>
                  <a:lnTo>
                    <a:pt x="217" y="28"/>
                  </a:lnTo>
                  <a:lnTo>
                    <a:pt x="238" y="21"/>
                  </a:lnTo>
                  <a:lnTo>
                    <a:pt x="255" y="28"/>
                  </a:lnTo>
                  <a:lnTo>
                    <a:pt x="281" y="28"/>
                  </a:lnTo>
                  <a:lnTo>
                    <a:pt x="307" y="0"/>
                  </a:lnTo>
                  <a:lnTo>
                    <a:pt x="323" y="28"/>
                  </a:lnTo>
                  <a:lnTo>
                    <a:pt x="340" y="37"/>
                  </a:lnTo>
                  <a:lnTo>
                    <a:pt x="340" y="61"/>
                  </a:lnTo>
                  <a:lnTo>
                    <a:pt x="345" y="94"/>
                  </a:lnTo>
                  <a:lnTo>
                    <a:pt x="361" y="99"/>
                  </a:lnTo>
                  <a:lnTo>
                    <a:pt x="373" y="127"/>
                  </a:lnTo>
                  <a:lnTo>
                    <a:pt x="378" y="165"/>
                  </a:lnTo>
                  <a:lnTo>
                    <a:pt x="378" y="181"/>
                  </a:lnTo>
                  <a:lnTo>
                    <a:pt x="361" y="203"/>
                  </a:lnTo>
                  <a:lnTo>
                    <a:pt x="373" y="210"/>
                  </a:lnTo>
                  <a:lnTo>
                    <a:pt x="345" y="219"/>
                  </a:lnTo>
                  <a:lnTo>
                    <a:pt x="340" y="243"/>
                  </a:lnTo>
                  <a:lnTo>
                    <a:pt x="323" y="259"/>
                  </a:lnTo>
                  <a:lnTo>
                    <a:pt x="302" y="297"/>
                  </a:lnTo>
                  <a:lnTo>
                    <a:pt x="307" y="314"/>
                  </a:lnTo>
                  <a:lnTo>
                    <a:pt x="302" y="375"/>
                  </a:lnTo>
                  <a:lnTo>
                    <a:pt x="231" y="375"/>
                  </a:lnTo>
                  <a:lnTo>
                    <a:pt x="231" y="375"/>
                  </a:lnTo>
                  <a:lnTo>
                    <a:pt x="231" y="37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7" name="Freeform 583">
              <a:extLst>
                <a:ext uri="{FF2B5EF4-FFF2-40B4-BE49-F238E27FC236}">
                  <a16:creationId xmlns:a16="http://schemas.microsoft.com/office/drawing/2014/main" id="{62FD6721-3BC2-4296-97A9-D4442073F232}"/>
                </a:ext>
              </a:extLst>
            </p:cNvPr>
            <p:cNvSpPr>
              <a:spLocks/>
            </p:cNvSpPr>
            <p:nvPr/>
          </p:nvSpPr>
          <p:spPr bwMode="gray">
            <a:xfrm>
              <a:off x="6566508" y="3615469"/>
              <a:ext cx="229712" cy="170862"/>
            </a:xfrm>
            <a:custGeom>
              <a:avLst/>
              <a:gdLst>
                <a:gd name="T0" fmla="*/ 428 w 558"/>
                <a:gd name="T1" fmla="*/ 304 h 415"/>
                <a:gd name="T2" fmla="*/ 378 w 558"/>
                <a:gd name="T3" fmla="*/ 288 h 415"/>
                <a:gd name="T4" fmla="*/ 341 w 558"/>
                <a:gd name="T5" fmla="*/ 304 h 415"/>
                <a:gd name="T6" fmla="*/ 319 w 558"/>
                <a:gd name="T7" fmla="*/ 293 h 415"/>
                <a:gd name="T8" fmla="*/ 178 w 558"/>
                <a:gd name="T9" fmla="*/ 316 h 415"/>
                <a:gd name="T10" fmla="*/ 194 w 558"/>
                <a:gd name="T11" fmla="*/ 399 h 415"/>
                <a:gd name="T12" fmla="*/ 194 w 558"/>
                <a:gd name="T13" fmla="*/ 415 h 415"/>
                <a:gd name="T14" fmla="*/ 135 w 558"/>
                <a:gd name="T15" fmla="*/ 370 h 415"/>
                <a:gd name="T16" fmla="*/ 85 w 558"/>
                <a:gd name="T17" fmla="*/ 399 h 415"/>
                <a:gd name="T18" fmla="*/ 38 w 558"/>
                <a:gd name="T19" fmla="*/ 370 h 415"/>
                <a:gd name="T20" fmla="*/ 10 w 558"/>
                <a:gd name="T21" fmla="*/ 349 h 415"/>
                <a:gd name="T22" fmla="*/ 10 w 558"/>
                <a:gd name="T23" fmla="*/ 309 h 415"/>
                <a:gd name="T24" fmla="*/ 15 w 558"/>
                <a:gd name="T25" fmla="*/ 288 h 415"/>
                <a:gd name="T26" fmla="*/ 15 w 558"/>
                <a:gd name="T27" fmla="*/ 233 h 415"/>
                <a:gd name="T28" fmla="*/ 64 w 558"/>
                <a:gd name="T29" fmla="*/ 217 h 415"/>
                <a:gd name="T30" fmla="*/ 81 w 558"/>
                <a:gd name="T31" fmla="*/ 181 h 415"/>
                <a:gd name="T32" fmla="*/ 85 w 558"/>
                <a:gd name="T33" fmla="*/ 165 h 415"/>
                <a:gd name="T34" fmla="*/ 85 w 558"/>
                <a:gd name="T35" fmla="*/ 144 h 415"/>
                <a:gd name="T36" fmla="*/ 145 w 558"/>
                <a:gd name="T37" fmla="*/ 139 h 415"/>
                <a:gd name="T38" fmla="*/ 161 w 558"/>
                <a:gd name="T39" fmla="*/ 127 h 415"/>
                <a:gd name="T40" fmla="*/ 189 w 558"/>
                <a:gd name="T41" fmla="*/ 106 h 415"/>
                <a:gd name="T42" fmla="*/ 215 w 558"/>
                <a:gd name="T43" fmla="*/ 54 h 415"/>
                <a:gd name="T44" fmla="*/ 248 w 558"/>
                <a:gd name="T45" fmla="*/ 66 h 415"/>
                <a:gd name="T46" fmla="*/ 270 w 558"/>
                <a:gd name="T47" fmla="*/ 37 h 415"/>
                <a:gd name="T48" fmla="*/ 308 w 558"/>
                <a:gd name="T49" fmla="*/ 16 h 415"/>
                <a:gd name="T50" fmla="*/ 357 w 558"/>
                <a:gd name="T51" fmla="*/ 0 h 415"/>
                <a:gd name="T52" fmla="*/ 374 w 558"/>
                <a:gd name="T53" fmla="*/ 0 h 415"/>
                <a:gd name="T54" fmla="*/ 395 w 558"/>
                <a:gd name="T55" fmla="*/ 37 h 415"/>
                <a:gd name="T56" fmla="*/ 411 w 558"/>
                <a:gd name="T57" fmla="*/ 66 h 415"/>
                <a:gd name="T58" fmla="*/ 459 w 558"/>
                <a:gd name="T59" fmla="*/ 111 h 415"/>
                <a:gd name="T60" fmla="*/ 482 w 558"/>
                <a:gd name="T61" fmla="*/ 127 h 415"/>
                <a:gd name="T62" fmla="*/ 459 w 558"/>
                <a:gd name="T63" fmla="*/ 144 h 415"/>
                <a:gd name="T64" fmla="*/ 534 w 558"/>
                <a:gd name="T65" fmla="*/ 177 h 415"/>
                <a:gd name="T66" fmla="*/ 534 w 558"/>
                <a:gd name="T67" fmla="*/ 198 h 415"/>
                <a:gd name="T68" fmla="*/ 551 w 558"/>
                <a:gd name="T69" fmla="*/ 250 h 415"/>
                <a:gd name="T70" fmla="*/ 504 w 558"/>
                <a:gd name="T71" fmla="*/ 271 h 415"/>
                <a:gd name="T72" fmla="*/ 482 w 558"/>
                <a:gd name="T73" fmla="*/ 271 h 415"/>
                <a:gd name="T74" fmla="*/ 449 w 558"/>
                <a:gd name="T75" fmla="*/ 293 h 415"/>
                <a:gd name="T76" fmla="*/ 449 w 558"/>
                <a:gd name="T77" fmla="*/ 293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8" h="415">
                  <a:moveTo>
                    <a:pt x="449" y="293"/>
                  </a:moveTo>
                  <a:lnTo>
                    <a:pt x="428" y="304"/>
                  </a:lnTo>
                  <a:lnTo>
                    <a:pt x="428" y="293"/>
                  </a:lnTo>
                  <a:lnTo>
                    <a:pt x="378" y="288"/>
                  </a:lnTo>
                  <a:lnTo>
                    <a:pt x="362" y="288"/>
                  </a:lnTo>
                  <a:lnTo>
                    <a:pt x="341" y="304"/>
                  </a:lnTo>
                  <a:lnTo>
                    <a:pt x="341" y="293"/>
                  </a:lnTo>
                  <a:lnTo>
                    <a:pt x="319" y="293"/>
                  </a:lnTo>
                  <a:lnTo>
                    <a:pt x="189" y="293"/>
                  </a:lnTo>
                  <a:lnTo>
                    <a:pt x="178" y="316"/>
                  </a:lnTo>
                  <a:lnTo>
                    <a:pt x="194" y="349"/>
                  </a:lnTo>
                  <a:lnTo>
                    <a:pt x="194" y="399"/>
                  </a:lnTo>
                  <a:lnTo>
                    <a:pt x="199" y="404"/>
                  </a:lnTo>
                  <a:lnTo>
                    <a:pt x="194" y="415"/>
                  </a:lnTo>
                  <a:lnTo>
                    <a:pt x="161" y="370"/>
                  </a:lnTo>
                  <a:lnTo>
                    <a:pt x="135" y="370"/>
                  </a:lnTo>
                  <a:lnTo>
                    <a:pt x="90" y="382"/>
                  </a:lnTo>
                  <a:lnTo>
                    <a:pt x="85" y="399"/>
                  </a:lnTo>
                  <a:lnTo>
                    <a:pt x="52" y="387"/>
                  </a:lnTo>
                  <a:lnTo>
                    <a:pt x="38" y="370"/>
                  </a:lnTo>
                  <a:lnTo>
                    <a:pt x="26" y="349"/>
                  </a:lnTo>
                  <a:lnTo>
                    <a:pt x="10" y="349"/>
                  </a:lnTo>
                  <a:lnTo>
                    <a:pt x="0" y="333"/>
                  </a:lnTo>
                  <a:lnTo>
                    <a:pt x="10" y="309"/>
                  </a:lnTo>
                  <a:lnTo>
                    <a:pt x="0" y="293"/>
                  </a:lnTo>
                  <a:lnTo>
                    <a:pt x="15" y="288"/>
                  </a:lnTo>
                  <a:lnTo>
                    <a:pt x="26" y="259"/>
                  </a:lnTo>
                  <a:lnTo>
                    <a:pt x="15" y="233"/>
                  </a:lnTo>
                  <a:lnTo>
                    <a:pt x="26" y="222"/>
                  </a:lnTo>
                  <a:lnTo>
                    <a:pt x="64" y="217"/>
                  </a:lnTo>
                  <a:lnTo>
                    <a:pt x="81" y="198"/>
                  </a:lnTo>
                  <a:lnTo>
                    <a:pt x="81" y="181"/>
                  </a:lnTo>
                  <a:lnTo>
                    <a:pt x="69" y="165"/>
                  </a:lnTo>
                  <a:lnTo>
                    <a:pt x="85" y="165"/>
                  </a:lnTo>
                  <a:lnTo>
                    <a:pt x="90" y="160"/>
                  </a:lnTo>
                  <a:lnTo>
                    <a:pt x="85" y="144"/>
                  </a:lnTo>
                  <a:lnTo>
                    <a:pt x="107" y="111"/>
                  </a:lnTo>
                  <a:lnTo>
                    <a:pt x="145" y="139"/>
                  </a:lnTo>
                  <a:lnTo>
                    <a:pt x="145" y="127"/>
                  </a:lnTo>
                  <a:lnTo>
                    <a:pt x="161" y="127"/>
                  </a:lnTo>
                  <a:lnTo>
                    <a:pt x="156" y="94"/>
                  </a:lnTo>
                  <a:lnTo>
                    <a:pt x="189" y="106"/>
                  </a:lnTo>
                  <a:lnTo>
                    <a:pt x="189" y="70"/>
                  </a:lnTo>
                  <a:lnTo>
                    <a:pt x="215" y="54"/>
                  </a:lnTo>
                  <a:lnTo>
                    <a:pt x="244" y="66"/>
                  </a:lnTo>
                  <a:lnTo>
                    <a:pt x="248" y="66"/>
                  </a:lnTo>
                  <a:lnTo>
                    <a:pt x="248" y="37"/>
                  </a:lnTo>
                  <a:lnTo>
                    <a:pt x="270" y="37"/>
                  </a:lnTo>
                  <a:lnTo>
                    <a:pt x="298" y="28"/>
                  </a:lnTo>
                  <a:lnTo>
                    <a:pt x="308" y="16"/>
                  </a:lnTo>
                  <a:lnTo>
                    <a:pt x="336" y="0"/>
                  </a:lnTo>
                  <a:lnTo>
                    <a:pt x="357" y="0"/>
                  </a:lnTo>
                  <a:lnTo>
                    <a:pt x="362" y="0"/>
                  </a:lnTo>
                  <a:lnTo>
                    <a:pt x="374" y="0"/>
                  </a:lnTo>
                  <a:lnTo>
                    <a:pt x="404" y="11"/>
                  </a:lnTo>
                  <a:lnTo>
                    <a:pt x="395" y="37"/>
                  </a:lnTo>
                  <a:lnTo>
                    <a:pt x="416" y="54"/>
                  </a:lnTo>
                  <a:lnTo>
                    <a:pt x="411" y="66"/>
                  </a:lnTo>
                  <a:lnTo>
                    <a:pt x="428" y="94"/>
                  </a:lnTo>
                  <a:lnTo>
                    <a:pt x="459" y="111"/>
                  </a:lnTo>
                  <a:lnTo>
                    <a:pt x="459" y="111"/>
                  </a:lnTo>
                  <a:lnTo>
                    <a:pt x="482" y="127"/>
                  </a:lnTo>
                  <a:lnTo>
                    <a:pt x="459" y="122"/>
                  </a:lnTo>
                  <a:lnTo>
                    <a:pt x="459" y="144"/>
                  </a:lnTo>
                  <a:lnTo>
                    <a:pt x="497" y="177"/>
                  </a:lnTo>
                  <a:lnTo>
                    <a:pt x="534" y="177"/>
                  </a:lnTo>
                  <a:lnTo>
                    <a:pt x="541" y="193"/>
                  </a:lnTo>
                  <a:lnTo>
                    <a:pt x="534" y="198"/>
                  </a:lnTo>
                  <a:lnTo>
                    <a:pt x="558" y="233"/>
                  </a:lnTo>
                  <a:lnTo>
                    <a:pt x="551" y="250"/>
                  </a:lnTo>
                  <a:lnTo>
                    <a:pt x="525" y="259"/>
                  </a:lnTo>
                  <a:lnTo>
                    <a:pt x="504" y="271"/>
                  </a:lnTo>
                  <a:lnTo>
                    <a:pt x="487" y="259"/>
                  </a:lnTo>
                  <a:lnTo>
                    <a:pt x="482" y="271"/>
                  </a:lnTo>
                  <a:lnTo>
                    <a:pt x="471" y="276"/>
                  </a:lnTo>
                  <a:lnTo>
                    <a:pt x="449" y="293"/>
                  </a:lnTo>
                  <a:lnTo>
                    <a:pt x="449" y="293"/>
                  </a:lnTo>
                  <a:lnTo>
                    <a:pt x="449" y="29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4" name="Freeform 590">
              <a:extLst>
                <a:ext uri="{FF2B5EF4-FFF2-40B4-BE49-F238E27FC236}">
                  <a16:creationId xmlns:a16="http://schemas.microsoft.com/office/drawing/2014/main" id="{DB911501-A26D-41EC-A9BC-61CCBDA512B2}"/>
                </a:ext>
              </a:extLst>
            </p:cNvPr>
            <p:cNvSpPr>
              <a:spLocks/>
            </p:cNvSpPr>
            <p:nvPr/>
          </p:nvSpPr>
          <p:spPr bwMode="gray">
            <a:xfrm>
              <a:off x="7066686" y="4573120"/>
              <a:ext cx="387792" cy="374661"/>
            </a:xfrm>
            <a:custGeom>
              <a:avLst/>
              <a:gdLst>
                <a:gd name="T0" fmla="*/ 21 w 942"/>
                <a:gd name="T1" fmla="*/ 17 h 910"/>
                <a:gd name="T2" fmla="*/ 96 w 942"/>
                <a:gd name="T3" fmla="*/ 0 h 910"/>
                <a:gd name="T4" fmla="*/ 151 w 942"/>
                <a:gd name="T5" fmla="*/ 38 h 910"/>
                <a:gd name="T6" fmla="*/ 474 w 942"/>
                <a:gd name="T7" fmla="*/ 55 h 910"/>
                <a:gd name="T8" fmla="*/ 597 w 942"/>
                <a:gd name="T9" fmla="*/ 71 h 910"/>
                <a:gd name="T10" fmla="*/ 635 w 942"/>
                <a:gd name="T11" fmla="*/ 76 h 910"/>
                <a:gd name="T12" fmla="*/ 668 w 942"/>
                <a:gd name="T13" fmla="*/ 76 h 910"/>
                <a:gd name="T14" fmla="*/ 867 w 942"/>
                <a:gd name="T15" fmla="*/ 38 h 910"/>
                <a:gd name="T16" fmla="*/ 921 w 942"/>
                <a:gd name="T17" fmla="*/ 50 h 910"/>
                <a:gd name="T18" fmla="*/ 916 w 942"/>
                <a:gd name="T19" fmla="*/ 59 h 910"/>
                <a:gd name="T20" fmla="*/ 878 w 942"/>
                <a:gd name="T21" fmla="*/ 76 h 910"/>
                <a:gd name="T22" fmla="*/ 807 w 942"/>
                <a:gd name="T23" fmla="*/ 76 h 910"/>
                <a:gd name="T24" fmla="*/ 647 w 942"/>
                <a:gd name="T25" fmla="*/ 383 h 910"/>
                <a:gd name="T26" fmla="*/ 576 w 942"/>
                <a:gd name="T27" fmla="*/ 586 h 910"/>
                <a:gd name="T28" fmla="*/ 543 w 942"/>
                <a:gd name="T29" fmla="*/ 881 h 910"/>
                <a:gd name="T30" fmla="*/ 522 w 942"/>
                <a:gd name="T31" fmla="*/ 898 h 910"/>
                <a:gd name="T32" fmla="*/ 512 w 942"/>
                <a:gd name="T33" fmla="*/ 910 h 910"/>
                <a:gd name="T34" fmla="*/ 441 w 942"/>
                <a:gd name="T35" fmla="*/ 910 h 910"/>
                <a:gd name="T36" fmla="*/ 404 w 942"/>
                <a:gd name="T37" fmla="*/ 903 h 910"/>
                <a:gd name="T38" fmla="*/ 387 w 942"/>
                <a:gd name="T39" fmla="*/ 898 h 910"/>
                <a:gd name="T40" fmla="*/ 382 w 942"/>
                <a:gd name="T41" fmla="*/ 853 h 910"/>
                <a:gd name="T42" fmla="*/ 349 w 942"/>
                <a:gd name="T43" fmla="*/ 848 h 910"/>
                <a:gd name="T44" fmla="*/ 328 w 942"/>
                <a:gd name="T45" fmla="*/ 886 h 910"/>
                <a:gd name="T46" fmla="*/ 274 w 942"/>
                <a:gd name="T47" fmla="*/ 841 h 910"/>
                <a:gd name="T48" fmla="*/ 236 w 942"/>
                <a:gd name="T49" fmla="*/ 759 h 910"/>
                <a:gd name="T50" fmla="*/ 236 w 942"/>
                <a:gd name="T51" fmla="*/ 730 h 910"/>
                <a:gd name="T52" fmla="*/ 219 w 942"/>
                <a:gd name="T53" fmla="*/ 714 h 910"/>
                <a:gd name="T54" fmla="*/ 215 w 942"/>
                <a:gd name="T55" fmla="*/ 664 h 910"/>
                <a:gd name="T56" fmla="*/ 181 w 942"/>
                <a:gd name="T57" fmla="*/ 537 h 910"/>
                <a:gd name="T58" fmla="*/ 203 w 942"/>
                <a:gd name="T59" fmla="*/ 466 h 910"/>
                <a:gd name="T60" fmla="*/ 189 w 942"/>
                <a:gd name="T61" fmla="*/ 425 h 910"/>
                <a:gd name="T62" fmla="*/ 151 w 942"/>
                <a:gd name="T63" fmla="*/ 366 h 910"/>
                <a:gd name="T64" fmla="*/ 113 w 942"/>
                <a:gd name="T65" fmla="*/ 293 h 910"/>
                <a:gd name="T66" fmla="*/ 42 w 942"/>
                <a:gd name="T67" fmla="*/ 149 h 910"/>
                <a:gd name="T68" fmla="*/ 0 w 942"/>
                <a:gd name="T69" fmla="*/ 88 h 910"/>
                <a:gd name="T70" fmla="*/ 0 w 942"/>
                <a:gd name="T71" fmla="*/ 22 h 910"/>
                <a:gd name="T72" fmla="*/ 0 w 942"/>
                <a:gd name="T73" fmla="*/ 22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2" h="910">
                  <a:moveTo>
                    <a:pt x="0" y="22"/>
                  </a:moveTo>
                  <a:lnTo>
                    <a:pt x="21" y="17"/>
                  </a:lnTo>
                  <a:lnTo>
                    <a:pt x="52" y="22"/>
                  </a:lnTo>
                  <a:lnTo>
                    <a:pt x="96" y="0"/>
                  </a:lnTo>
                  <a:lnTo>
                    <a:pt x="118" y="5"/>
                  </a:lnTo>
                  <a:lnTo>
                    <a:pt x="151" y="38"/>
                  </a:lnTo>
                  <a:lnTo>
                    <a:pt x="467" y="33"/>
                  </a:lnTo>
                  <a:lnTo>
                    <a:pt x="474" y="55"/>
                  </a:lnTo>
                  <a:lnTo>
                    <a:pt x="496" y="59"/>
                  </a:lnTo>
                  <a:lnTo>
                    <a:pt x="597" y="71"/>
                  </a:lnTo>
                  <a:lnTo>
                    <a:pt x="614" y="76"/>
                  </a:lnTo>
                  <a:lnTo>
                    <a:pt x="635" y="76"/>
                  </a:lnTo>
                  <a:lnTo>
                    <a:pt x="652" y="71"/>
                  </a:lnTo>
                  <a:lnTo>
                    <a:pt x="668" y="76"/>
                  </a:lnTo>
                  <a:lnTo>
                    <a:pt x="812" y="55"/>
                  </a:lnTo>
                  <a:lnTo>
                    <a:pt x="867" y="38"/>
                  </a:lnTo>
                  <a:lnTo>
                    <a:pt x="900" y="38"/>
                  </a:lnTo>
                  <a:lnTo>
                    <a:pt x="921" y="50"/>
                  </a:lnTo>
                  <a:lnTo>
                    <a:pt x="942" y="59"/>
                  </a:lnTo>
                  <a:lnTo>
                    <a:pt x="916" y="59"/>
                  </a:lnTo>
                  <a:lnTo>
                    <a:pt x="888" y="88"/>
                  </a:lnTo>
                  <a:lnTo>
                    <a:pt x="878" y="76"/>
                  </a:lnTo>
                  <a:lnTo>
                    <a:pt x="829" y="116"/>
                  </a:lnTo>
                  <a:lnTo>
                    <a:pt x="807" y="76"/>
                  </a:lnTo>
                  <a:lnTo>
                    <a:pt x="647" y="104"/>
                  </a:lnTo>
                  <a:lnTo>
                    <a:pt x="647" y="383"/>
                  </a:lnTo>
                  <a:lnTo>
                    <a:pt x="576" y="383"/>
                  </a:lnTo>
                  <a:lnTo>
                    <a:pt x="576" y="586"/>
                  </a:lnTo>
                  <a:lnTo>
                    <a:pt x="576" y="870"/>
                  </a:lnTo>
                  <a:lnTo>
                    <a:pt x="543" y="881"/>
                  </a:lnTo>
                  <a:lnTo>
                    <a:pt x="538" y="898"/>
                  </a:lnTo>
                  <a:lnTo>
                    <a:pt x="522" y="898"/>
                  </a:lnTo>
                  <a:lnTo>
                    <a:pt x="522" y="910"/>
                  </a:lnTo>
                  <a:lnTo>
                    <a:pt x="512" y="910"/>
                  </a:lnTo>
                  <a:lnTo>
                    <a:pt x="484" y="903"/>
                  </a:lnTo>
                  <a:lnTo>
                    <a:pt x="441" y="910"/>
                  </a:lnTo>
                  <a:lnTo>
                    <a:pt x="430" y="903"/>
                  </a:lnTo>
                  <a:lnTo>
                    <a:pt x="404" y="903"/>
                  </a:lnTo>
                  <a:lnTo>
                    <a:pt x="404" y="898"/>
                  </a:lnTo>
                  <a:lnTo>
                    <a:pt x="387" y="898"/>
                  </a:lnTo>
                  <a:lnTo>
                    <a:pt x="387" y="853"/>
                  </a:lnTo>
                  <a:lnTo>
                    <a:pt x="382" y="853"/>
                  </a:lnTo>
                  <a:lnTo>
                    <a:pt x="366" y="841"/>
                  </a:lnTo>
                  <a:lnTo>
                    <a:pt x="349" y="848"/>
                  </a:lnTo>
                  <a:lnTo>
                    <a:pt x="344" y="881"/>
                  </a:lnTo>
                  <a:lnTo>
                    <a:pt x="328" y="886"/>
                  </a:lnTo>
                  <a:lnTo>
                    <a:pt x="323" y="881"/>
                  </a:lnTo>
                  <a:lnTo>
                    <a:pt x="274" y="841"/>
                  </a:lnTo>
                  <a:lnTo>
                    <a:pt x="241" y="787"/>
                  </a:lnTo>
                  <a:lnTo>
                    <a:pt x="236" y="759"/>
                  </a:lnTo>
                  <a:lnTo>
                    <a:pt x="226" y="737"/>
                  </a:lnTo>
                  <a:lnTo>
                    <a:pt x="236" y="730"/>
                  </a:lnTo>
                  <a:lnTo>
                    <a:pt x="226" y="714"/>
                  </a:lnTo>
                  <a:lnTo>
                    <a:pt x="219" y="714"/>
                  </a:lnTo>
                  <a:lnTo>
                    <a:pt x="219" y="688"/>
                  </a:lnTo>
                  <a:lnTo>
                    <a:pt x="215" y="664"/>
                  </a:lnTo>
                  <a:lnTo>
                    <a:pt x="215" y="610"/>
                  </a:lnTo>
                  <a:lnTo>
                    <a:pt x="181" y="537"/>
                  </a:lnTo>
                  <a:lnTo>
                    <a:pt x="181" y="466"/>
                  </a:lnTo>
                  <a:lnTo>
                    <a:pt x="203" y="466"/>
                  </a:lnTo>
                  <a:lnTo>
                    <a:pt x="198" y="425"/>
                  </a:lnTo>
                  <a:lnTo>
                    <a:pt x="189" y="425"/>
                  </a:lnTo>
                  <a:lnTo>
                    <a:pt x="181" y="404"/>
                  </a:lnTo>
                  <a:lnTo>
                    <a:pt x="151" y="366"/>
                  </a:lnTo>
                  <a:lnTo>
                    <a:pt x="144" y="343"/>
                  </a:lnTo>
                  <a:lnTo>
                    <a:pt x="113" y="293"/>
                  </a:lnTo>
                  <a:lnTo>
                    <a:pt x="96" y="244"/>
                  </a:lnTo>
                  <a:lnTo>
                    <a:pt x="42" y="149"/>
                  </a:lnTo>
                  <a:lnTo>
                    <a:pt x="9" y="109"/>
                  </a:lnTo>
                  <a:lnTo>
                    <a:pt x="0" y="88"/>
                  </a:lnTo>
                  <a:lnTo>
                    <a:pt x="0" y="50"/>
                  </a:lnTo>
                  <a:lnTo>
                    <a:pt x="0" y="22"/>
                  </a:lnTo>
                  <a:lnTo>
                    <a:pt x="0" y="22"/>
                  </a:lnTo>
                  <a:lnTo>
                    <a:pt x="0" y="2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5" name="Freeform 591">
              <a:extLst>
                <a:ext uri="{FF2B5EF4-FFF2-40B4-BE49-F238E27FC236}">
                  <a16:creationId xmlns:a16="http://schemas.microsoft.com/office/drawing/2014/main" id="{3FF02459-9C2A-4525-9D6E-85CE25130DDC}"/>
                </a:ext>
              </a:extLst>
            </p:cNvPr>
            <p:cNvSpPr>
              <a:spLocks/>
            </p:cNvSpPr>
            <p:nvPr/>
          </p:nvSpPr>
          <p:spPr bwMode="gray">
            <a:xfrm>
              <a:off x="7733593" y="3065827"/>
              <a:ext cx="17702" cy="38702"/>
            </a:xfrm>
            <a:custGeom>
              <a:avLst/>
              <a:gdLst>
                <a:gd name="T0" fmla="*/ 43 w 43"/>
                <a:gd name="T1" fmla="*/ 21 h 94"/>
                <a:gd name="T2" fmla="*/ 43 w 43"/>
                <a:gd name="T3" fmla="*/ 83 h 94"/>
                <a:gd name="T4" fmla="*/ 17 w 43"/>
                <a:gd name="T5" fmla="*/ 94 h 94"/>
                <a:gd name="T6" fmla="*/ 0 w 43"/>
                <a:gd name="T7" fmla="*/ 94 h 94"/>
                <a:gd name="T8" fmla="*/ 7 w 43"/>
                <a:gd name="T9" fmla="*/ 71 h 94"/>
                <a:gd name="T10" fmla="*/ 21 w 43"/>
                <a:gd name="T11" fmla="*/ 61 h 94"/>
                <a:gd name="T12" fmla="*/ 7 w 43"/>
                <a:gd name="T13" fmla="*/ 54 h 94"/>
                <a:gd name="T14" fmla="*/ 17 w 43"/>
                <a:gd name="T15" fmla="*/ 5 h 94"/>
                <a:gd name="T16" fmla="*/ 21 w 43"/>
                <a:gd name="T17" fmla="*/ 0 h 94"/>
                <a:gd name="T18" fmla="*/ 43 w 43"/>
                <a:gd name="T19" fmla="*/ 17 h 94"/>
                <a:gd name="T20" fmla="*/ 43 w 43"/>
                <a:gd name="T21" fmla="*/ 21 h 94"/>
                <a:gd name="T22" fmla="*/ 43 w 43"/>
                <a:gd name="T23" fmla="*/ 21 h 94"/>
                <a:gd name="T24" fmla="*/ 43 w 43"/>
                <a:gd name="T25" fmla="*/ 2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94">
                  <a:moveTo>
                    <a:pt x="43" y="21"/>
                  </a:moveTo>
                  <a:lnTo>
                    <a:pt x="43" y="83"/>
                  </a:lnTo>
                  <a:lnTo>
                    <a:pt x="17" y="94"/>
                  </a:lnTo>
                  <a:lnTo>
                    <a:pt x="0" y="94"/>
                  </a:lnTo>
                  <a:lnTo>
                    <a:pt x="7" y="71"/>
                  </a:lnTo>
                  <a:lnTo>
                    <a:pt x="21" y="61"/>
                  </a:lnTo>
                  <a:lnTo>
                    <a:pt x="7" y="54"/>
                  </a:lnTo>
                  <a:lnTo>
                    <a:pt x="17" y="5"/>
                  </a:lnTo>
                  <a:lnTo>
                    <a:pt x="21" y="0"/>
                  </a:lnTo>
                  <a:lnTo>
                    <a:pt x="43" y="17"/>
                  </a:lnTo>
                  <a:lnTo>
                    <a:pt x="43" y="21"/>
                  </a:lnTo>
                  <a:lnTo>
                    <a:pt x="43" y="21"/>
                  </a:lnTo>
                  <a:lnTo>
                    <a:pt x="43" y="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6" name="Freeform 592">
              <a:extLst>
                <a:ext uri="{FF2B5EF4-FFF2-40B4-BE49-F238E27FC236}">
                  <a16:creationId xmlns:a16="http://schemas.microsoft.com/office/drawing/2014/main" id="{32809C39-9EA8-4156-AB78-37A5C83203E8}"/>
                </a:ext>
              </a:extLst>
            </p:cNvPr>
            <p:cNvSpPr>
              <a:spLocks/>
            </p:cNvSpPr>
            <p:nvPr/>
          </p:nvSpPr>
          <p:spPr bwMode="gray">
            <a:xfrm>
              <a:off x="6232232" y="3224338"/>
              <a:ext cx="244120" cy="215739"/>
            </a:xfrm>
            <a:custGeom>
              <a:avLst/>
              <a:gdLst>
                <a:gd name="T0" fmla="*/ 196 w 593"/>
                <a:gd name="T1" fmla="*/ 487 h 524"/>
                <a:gd name="T2" fmla="*/ 12 w 593"/>
                <a:gd name="T3" fmla="*/ 487 h 524"/>
                <a:gd name="T4" fmla="*/ 0 w 593"/>
                <a:gd name="T5" fmla="*/ 524 h 524"/>
                <a:gd name="T6" fmla="*/ 0 w 593"/>
                <a:gd name="T7" fmla="*/ 508 h 524"/>
                <a:gd name="T8" fmla="*/ 12 w 593"/>
                <a:gd name="T9" fmla="*/ 435 h 524"/>
                <a:gd name="T10" fmla="*/ 28 w 593"/>
                <a:gd name="T11" fmla="*/ 413 h 524"/>
                <a:gd name="T12" fmla="*/ 38 w 593"/>
                <a:gd name="T13" fmla="*/ 409 h 524"/>
                <a:gd name="T14" fmla="*/ 71 w 593"/>
                <a:gd name="T15" fmla="*/ 335 h 524"/>
                <a:gd name="T16" fmla="*/ 92 w 593"/>
                <a:gd name="T17" fmla="*/ 295 h 524"/>
                <a:gd name="T18" fmla="*/ 92 w 593"/>
                <a:gd name="T19" fmla="*/ 286 h 524"/>
                <a:gd name="T20" fmla="*/ 71 w 593"/>
                <a:gd name="T21" fmla="*/ 302 h 524"/>
                <a:gd name="T22" fmla="*/ 158 w 593"/>
                <a:gd name="T23" fmla="*/ 229 h 524"/>
                <a:gd name="T24" fmla="*/ 163 w 593"/>
                <a:gd name="T25" fmla="*/ 168 h 524"/>
                <a:gd name="T26" fmla="*/ 179 w 593"/>
                <a:gd name="T27" fmla="*/ 135 h 524"/>
                <a:gd name="T28" fmla="*/ 179 w 593"/>
                <a:gd name="T29" fmla="*/ 113 h 524"/>
                <a:gd name="T30" fmla="*/ 250 w 593"/>
                <a:gd name="T31" fmla="*/ 73 h 524"/>
                <a:gd name="T32" fmla="*/ 272 w 593"/>
                <a:gd name="T33" fmla="*/ 0 h 524"/>
                <a:gd name="T34" fmla="*/ 593 w 593"/>
                <a:gd name="T35" fmla="*/ 0 h 524"/>
                <a:gd name="T36" fmla="*/ 593 w 593"/>
                <a:gd name="T37" fmla="*/ 24 h 524"/>
                <a:gd name="T38" fmla="*/ 593 w 593"/>
                <a:gd name="T39" fmla="*/ 130 h 524"/>
                <a:gd name="T40" fmla="*/ 359 w 593"/>
                <a:gd name="T41" fmla="*/ 130 h 524"/>
                <a:gd name="T42" fmla="*/ 359 w 593"/>
                <a:gd name="T43" fmla="*/ 324 h 524"/>
                <a:gd name="T44" fmla="*/ 321 w 593"/>
                <a:gd name="T45" fmla="*/ 335 h 524"/>
                <a:gd name="T46" fmla="*/ 283 w 593"/>
                <a:gd name="T47" fmla="*/ 364 h 524"/>
                <a:gd name="T48" fmla="*/ 288 w 593"/>
                <a:gd name="T49" fmla="*/ 487 h 524"/>
                <a:gd name="T50" fmla="*/ 196 w 593"/>
                <a:gd name="T51" fmla="*/ 487 h 524"/>
                <a:gd name="T52" fmla="*/ 196 w 593"/>
                <a:gd name="T53" fmla="*/ 487 h 524"/>
                <a:gd name="T54" fmla="*/ 196 w 593"/>
                <a:gd name="T55" fmla="*/ 48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93" h="524">
                  <a:moveTo>
                    <a:pt x="196" y="487"/>
                  </a:moveTo>
                  <a:lnTo>
                    <a:pt x="12" y="487"/>
                  </a:lnTo>
                  <a:lnTo>
                    <a:pt x="0" y="524"/>
                  </a:lnTo>
                  <a:lnTo>
                    <a:pt x="0" y="508"/>
                  </a:lnTo>
                  <a:lnTo>
                    <a:pt x="12" y="435"/>
                  </a:lnTo>
                  <a:lnTo>
                    <a:pt x="28" y="413"/>
                  </a:lnTo>
                  <a:lnTo>
                    <a:pt x="38" y="409"/>
                  </a:lnTo>
                  <a:lnTo>
                    <a:pt x="71" y="335"/>
                  </a:lnTo>
                  <a:lnTo>
                    <a:pt x="92" y="295"/>
                  </a:lnTo>
                  <a:lnTo>
                    <a:pt x="92" y="286"/>
                  </a:lnTo>
                  <a:lnTo>
                    <a:pt x="71" y="302"/>
                  </a:lnTo>
                  <a:lnTo>
                    <a:pt x="158" y="229"/>
                  </a:lnTo>
                  <a:lnTo>
                    <a:pt x="163" y="168"/>
                  </a:lnTo>
                  <a:lnTo>
                    <a:pt x="179" y="135"/>
                  </a:lnTo>
                  <a:lnTo>
                    <a:pt x="179" y="113"/>
                  </a:lnTo>
                  <a:lnTo>
                    <a:pt x="250" y="73"/>
                  </a:lnTo>
                  <a:lnTo>
                    <a:pt x="272" y="0"/>
                  </a:lnTo>
                  <a:lnTo>
                    <a:pt x="593" y="0"/>
                  </a:lnTo>
                  <a:lnTo>
                    <a:pt x="593" y="24"/>
                  </a:lnTo>
                  <a:lnTo>
                    <a:pt x="593" y="130"/>
                  </a:lnTo>
                  <a:lnTo>
                    <a:pt x="359" y="130"/>
                  </a:lnTo>
                  <a:lnTo>
                    <a:pt x="359" y="324"/>
                  </a:lnTo>
                  <a:lnTo>
                    <a:pt x="321" y="335"/>
                  </a:lnTo>
                  <a:lnTo>
                    <a:pt x="283" y="364"/>
                  </a:lnTo>
                  <a:lnTo>
                    <a:pt x="288" y="487"/>
                  </a:lnTo>
                  <a:lnTo>
                    <a:pt x="196" y="487"/>
                  </a:lnTo>
                  <a:lnTo>
                    <a:pt x="196" y="487"/>
                  </a:lnTo>
                  <a:lnTo>
                    <a:pt x="196" y="48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7" name="Freeform 594">
              <a:extLst>
                <a:ext uri="{FF2B5EF4-FFF2-40B4-BE49-F238E27FC236}">
                  <a16:creationId xmlns:a16="http://schemas.microsoft.com/office/drawing/2014/main" id="{F0DC17D7-DDD7-4EED-9ADD-FEC096E34ABB}"/>
                </a:ext>
              </a:extLst>
            </p:cNvPr>
            <p:cNvSpPr>
              <a:spLocks/>
            </p:cNvSpPr>
            <p:nvPr/>
          </p:nvSpPr>
          <p:spPr bwMode="gray">
            <a:xfrm>
              <a:off x="7615855" y="4846500"/>
              <a:ext cx="37050" cy="49818"/>
            </a:xfrm>
            <a:custGeom>
              <a:avLst/>
              <a:gdLst>
                <a:gd name="T0" fmla="*/ 5 w 90"/>
                <a:gd name="T1" fmla="*/ 76 h 121"/>
                <a:gd name="T2" fmla="*/ 0 w 90"/>
                <a:gd name="T3" fmla="*/ 76 h 121"/>
                <a:gd name="T4" fmla="*/ 0 w 90"/>
                <a:gd name="T5" fmla="*/ 50 h 121"/>
                <a:gd name="T6" fmla="*/ 21 w 90"/>
                <a:gd name="T7" fmla="*/ 17 h 121"/>
                <a:gd name="T8" fmla="*/ 36 w 90"/>
                <a:gd name="T9" fmla="*/ 0 h 121"/>
                <a:gd name="T10" fmla="*/ 43 w 90"/>
                <a:gd name="T11" fmla="*/ 0 h 121"/>
                <a:gd name="T12" fmla="*/ 73 w 90"/>
                <a:gd name="T13" fmla="*/ 17 h 121"/>
                <a:gd name="T14" fmla="*/ 85 w 90"/>
                <a:gd name="T15" fmla="*/ 17 h 121"/>
                <a:gd name="T16" fmla="*/ 90 w 90"/>
                <a:gd name="T17" fmla="*/ 33 h 121"/>
                <a:gd name="T18" fmla="*/ 90 w 90"/>
                <a:gd name="T19" fmla="*/ 87 h 121"/>
                <a:gd name="T20" fmla="*/ 85 w 90"/>
                <a:gd name="T21" fmla="*/ 76 h 121"/>
                <a:gd name="T22" fmla="*/ 85 w 90"/>
                <a:gd name="T23" fmla="*/ 121 h 121"/>
                <a:gd name="T24" fmla="*/ 52 w 90"/>
                <a:gd name="T25" fmla="*/ 121 h 121"/>
                <a:gd name="T26" fmla="*/ 21 w 90"/>
                <a:gd name="T27" fmla="*/ 109 h 121"/>
                <a:gd name="T28" fmla="*/ 5 w 90"/>
                <a:gd name="T29" fmla="*/ 76 h 121"/>
                <a:gd name="T30" fmla="*/ 5 w 90"/>
                <a:gd name="T31" fmla="*/ 76 h 121"/>
                <a:gd name="T32" fmla="*/ 5 w 90"/>
                <a:gd name="T33" fmla="*/ 7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21">
                  <a:moveTo>
                    <a:pt x="5" y="76"/>
                  </a:moveTo>
                  <a:lnTo>
                    <a:pt x="0" y="76"/>
                  </a:lnTo>
                  <a:lnTo>
                    <a:pt x="0" y="50"/>
                  </a:lnTo>
                  <a:lnTo>
                    <a:pt x="21" y="17"/>
                  </a:lnTo>
                  <a:lnTo>
                    <a:pt x="36" y="0"/>
                  </a:lnTo>
                  <a:lnTo>
                    <a:pt x="43" y="0"/>
                  </a:lnTo>
                  <a:lnTo>
                    <a:pt x="73" y="17"/>
                  </a:lnTo>
                  <a:lnTo>
                    <a:pt x="85" y="17"/>
                  </a:lnTo>
                  <a:lnTo>
                    <a:pt x="90" y="33"/>
                  </a:lnTo>
                  <a:lnTo>
                    <a:pt x="90" y="87"/>
                  </a:lnTo>
                  <a:lnTo>
                    <a:pt x="85" y="76"/>
                  </a:lnTo>
                  <a:lnTo>
                    <a:pt x="85" y="121"/>
                  </a:lnTo>
                  <a:lnTo>
                    <a:pt x="52" y="121"/>
                  </a:lnTo>
                  <a:lnTo>
                    <a:pt x="21" y="109"/>
                  </a:lnTo>
                  <a:lnTo>
                    <a:pt x="5" y="76"/>
                  </a:lnTo>
                  <a:lnTo>
                    <a:pt x="5" y="76"/>
                  </a:lnTo>
                  <a:lnTo>
                    <a:pt x="5" y="7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8" name="Freeform 595">
              <a:extLst>
                <a:ext uri="{FF2B5EF4-FFF2-40B4-BE49-F238E27FC236}">
                  <a16:creationId xmlns:a16="http://schemas.microsoft.com/office/drawing/2014/main" id="{7DB58A04-90E0-4690-8DF7-37CE8DEBB7DE}"/>
                </a:ext>
              </a:extLst>
            </p:cNvPr>
            <p:cNvSpPr>
              <a:spLocks noEditPoints="1"/>
            </p:cNvSpPr>
            <p:nvPr/>
          </p:nvSpPr>
          <p:spPr bwMode="gray">
            <a:xfrm>
              <a:off x="7958365" y="3494836"/>
              <a:ext cx="339216" cy="210798"/>
            </a:xfrm>
            <a:custGeom>
              <a:avLst/>
              <a:gdLst>
                <a:gd name="T0" fmla="*/ 21 w 824"/>
                <a:gd name="T1" fmla="*/ 184 h 512"/>
                <a:gd name="T2" fmla="*/ 38 w 824"/>
                <a:gd name="T3" fmla="*/ 179 h 512"/>
                <a:gd name="T4" fmla="*/ 38 w 824"/>
                <a:gd name="T5" fmla="*/ 123 h 512"/>
                <a:gd name="T6" fmla="*/ 63 w 824"/>
                <a:gd name="T7" fmla="*/ 111 h 512"/>
                <a:gd name="T8" fmla="*/ 123 w 824"/>
                <a:gd name="T9" fmla="*/ 123 h 512"/>
                <a:gd name="T10" fmla="*/ 252 w 824"/>
                <a:gd name="T11" fmla="*/ 250 h 512"/>
                <a:gd name="T12" fmla="*/ 656 w 824"/>
                <a:gd name="T13" fmla="*/ 0 h 512"/>
                <a:gd name="T14" fmla="*/ 694 w 824"/>
                <a:gd name="T15" fmla="*/ 196 h 512"/>
                <a:gd name="T16" fmla="*/ 661 w 824"/>
                <a:gd name="T17" fmla="*/ 222 h 512"/>
                <a:gd name="T18" fmla="*/ 602 w 824"/>
                <a:gd name="T19" fmla="*/ 278 h 512"/>
                <a:gd name="T20" fmla="*/ 522 w 824"/>
                <a:gd name="T21" fmla="*/ 311 h 512"/>
                <a:gd name="T22" fmla="*/ 446 w 824"/>
                <a:gd name="T23" fmla="*/ 333 h 512"/>
                <a:gd name="T24" fmla="*/ 425 w 824"/>
                <a:gd name="T25" fmla="*/ 366 h 512"/>
                <a:gd name="T26" fmla="*/ 371 w 824"/>
                <a:gd name="T27" fmla="*/ 366 h 512"/>
                <a:gd name="T28" fmla="*/ 281 w 824"/>
                <a:gd name="T29" fmla="*/ 418 h 512"/>
                <a:gd name="T30" fmla="*/ 193 w 824"/>
                <a:gd name="T31" fmla="*/ 439 h 512"/>
                <a:gd name="T32" fmla="*/ 172 w 824"/>
                <a:gd name="T33" fmla="*/ 460 h 512"/>
                <a:gd name="T34" fmla="*/ 160 w 824"/>
                <a:gd name="T35" fmla="*/ 456 h 512"/>
                <a:gd name="T36" fmla="*/ 156 w 824"/>
                <a:gd name="T37" fmla="*/ 460 h 512"/>
                <a:gd name="T38" fmla="*/ 118 w 824"/>
                <a:gd name="T39" fmla="*/ 472 h 512"/>
                <a:gd name="T40" fmla="*/ 63 w 824"/>
                <a:gd name="T41" fmla="*/ 460 h 512"/>
                <a:gd name="T42" fmla="*/ 54 w 824"/>
                <a:gd name="T43" fmla="*/ 456 h 512"/>
                <a:gd name="T44" fmla="*/ 38 w 824"/>
                <a:gd name="T45" fmla="*/ 389 h 512"/>
                <a:gd name="T46" fmla="*/ 16 w 824"/>
                <a:gd name="T47" fmla="*/ 307 h 512"/>
                <a:gd name="T48" fmla="*/ 0 w 824"/>
                <a:gd name="T49" fmla="*/ 278 h 512"/>
                <a:gd name="T50" fmla="*/ 12 w 824"/>
                <a:gd name="T51" fmla="*/ 278 h 512"/>
                <a:gd name="T52" fmla="*/ 12 w 824"/>
                <a:gd name="T53" fmla="*/ 234 h 512"/>
                <a:gd name="T54" fmla="*/ 12 w 824"/>
                <a:gd name="T55" fmla="*/ 196 h 512"/>
                <a:gd name="T56" fmla="*/ 12 w 824"/>
                <a:gd name="T57" fmla="*/ 378 h 512"/>
                <a:gd name="T58" fmla="*/ 12 w 824"/>
                <a:gd name="T59" fmla="*/ 366 h 512"/>
                <a:gd name="T60" fmla="*/ 12 w 824"/>
                <a:gd name="T61" fmla="*/ 378 h 512"/>
                <a:gd name="T62" fmla="*/ 808 w 824"/>
                <a:gd name="T63" fmla="*/ 472 h 512"/>
                <a:gd name="T64" fmla="*/ 803 w 824"/>
                <a:gd name="T65" fmla="*/ 493 h 512"/>
                <a:gd name="T66" fmla="*/ 749 w 824"/>
                <a:gd name="T67" fmla="*/ 477 h 512"/>
                <a:gd name="T68" fmla="*/ 775 w 824"/>
                <a:gd name="T69" fmla="*/ 472 h 512"/>
                <a:gd name="T70" fmla="*/ 808 w 824"/>
                <a:gd name="T71" fmla="*/ 472 h 512"/>
                <a:gd name="T72" fmla="*/ 808 w 824"/>
                <a:gd name="T73" fmla="*/ 472 h 512"/>
                <a:gd name="T74" fmla="*/ 656 w 824"/>
                <a:gd name="T75" fmla="*/ 500 h 512"/>
                <a:gd name="T76" fmla="*/ 678 w 824"/>
                <a:gd name="T77" fmla="*/ 512 h 512"/>
                <a:gd name="T78" fmla="*/ 678 w 824"/>
                <a:gd name="T79" fmla="*/ 5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24" h="512">
                  <a:moveTo>
                    <a:pt x="12" y="196"/>
                  </a:moveTo>
                  <a:lnTo>
                    <a:pt x="21" y="184"/>
                  </a:lnTo>
                  <a:lnTo>
                    <a:pt x="33" y="179"/>
                  </a:lnTo>
                  <a:lnTo>
                    <a:pt x="38" y="179"/>
                  </a:lnTo>
                  <a:lnTo>
                    <a:pt x="33" y="156"/>
                  </a:lnTo>
                  <a:lnTo>
                    <a:pt x="38" y="123"/>
                  </a:lnTo>
                  <a:lnTo>
                    <a:pt x="49" y="111"/>
                  </a:lnTo>
                  <a:lnTo>
                    <a:pt x="63" y="111"/>
                  </a:lnTo>
                  <a:lnTo>
                    <a:pt x="87" y="127"/>
                  </a:lnTo>
                  <a:lnTo>
                    <a:pt x="123" y="123"/>
                  </a:lnTo>
                  <a:lnTo>
                    <a:pt x="252" y="179"/>
                  </a:lnTo>
                  <a:lnTo>
                    <a:pt x="252" y="250"/>
                  </a:lnTo>
                  <a:lnTo>
                    <a:pt x="425" y="56"/>
                  </a:lnTo>
                  <a:lnTo>
                    <a:pt x="656" y="0"/>
                  </a:lnTo>
                  <a:lnTo>
                    <a:pt x="732" y="179"/>
                  </a:lnTo>
                  <a:lnTo>
                    <a:pt x="694" y="196"/>
                  </a:lnTo>
                  <a:lnTo>
                    <a:pt x="668" y="200"/>
                  </a:lnTo>
                  <a:lnTo>
                    <a:pt x="661" y="222"/>
                  </a:lnTo>
                  <a:lnTo>
                    <a:pt x="661" y="255"/>
                  </a:lnTo>
                  <a:lnTo>
                    <a:pt x="602" y="278"/>
                  </a:lnTo>
                  <a:lnTo>
                    <a:pt x="550" y="295"/>
                  </a:lnTo>
                  <a:lnTo>
                    <a:pt x="522" y="311"/>
                  </a:lnTo>
                  <a:lnTo>
                    <a:pt x="505" y="311"/>
                  </a:lnTo>
                  <a:lnTo>
                    <a:pt x="446" y="333"/>
                  </a:lnTo>
                  <a:lnTo>
                    <a:pt x="441" y="349"/>
                  </a:lnTo>
                  <a:lnTo>
                    <a:pt x="425" y="366"/>
                  </a:lnTo>
                  <a:lnTo>
                    <a:pt x="392" y="378"/>
                  </a:lnTo>
                  <a:lnTo>
                    <a:pt x="371" y="366"/>
                  </a:lnTo>
                  <a:lnTo>
                    <a:pt x="333" y="401"/>
                  </a:lnTo>
                  <a:lnTo>
                    <a:pt x="281" y="418"/>
                  </a:lnTo>
                  <a:lnTo>
                    <a:pt x="210" y="423"/>
                  </a:lnTo>
                  <a:lnTo>
                    <a:pt x="193" y="439"/>
                  </a:lnTo>
                  <a:lnTo>
                    <a:pt x="172" y="444"/>
                  </a:lnTo>
                  <a:lnTo>
                    <a:pt x="172" y="460"/>
                  </a:lnTo>
                  <a:lnTo>
                    <a:pt x="160" y="460"/>
                  </a:lnTo>
                  <a:lnTo>
                    <a:pt x="160" y="456"/>
                  </a:lnTo>
                  <a:lnTo>
                    <a:pt x="156" y="460"/>
                  </a:lnTo>
                  <a:lnTo>
                    <a:pt x="156" y="460"/>
                  </a:lnTo>
                  <a:lnTo>
                    <a:pt x="130" y="456"/>
                  </a:lnTo>
                  <a:lnTo>
                    <a:pt x="118" y="472"/>
                  </a:lnTo>
                  <a:lnTo>
                    <a:pt x="92" y="477"/>
                  </a:lnTo>
                  <a:lnTo>
                    <a:pt x="63" y="460"/>
                  </a:lnTo>
                  <a:lnTo>
                    <a:pt x="54" y="472"/>
                  </a:lnTo>
                  <a:lnTo>
                    <a:pt x="54" y="456"/>
                  </a:lnTo>
                  <a:lnTo>
                    <a:pt x="38" y="434"/>
                  </a:lnTo>
                  <a:lnTo>
                    <a:pt x="38" y="389"/>
                  </a:lnTo>
                  <a:lnTo>
                    <a:pt x="33" y="378"/>
                  </a:lnTo>
                  <a:lnTo>
                    <a:pt x="16" y="307"/>
                  </a:lnTo>
                  <a:lnTo>
                    <a:pt x="16" y="290"/>
                  </a:lnTo>
                  <a:lnTo>
                    <a:pt x="0" y="278"/>
                  </a:lnTo>
                  <a:lnTo>
                    <a:pt x="0" y="271"/>
                  </a:lnTo>
                  <a:lnTo>
                    <a:pt x="12" y="278"/>
                  </a:lnTo>
                  <a:lnTo>
                    <a:pt x="0" y="250"/>
                  </a:lnTo>
                  <a:lnTo>
                    <a:pt x="12" y="234"/>
                  </a:lnTo>
                  <a:lnTo>
                    <a:pt x="12" y="196"/>
                  </a:lnTo>
                  <a:lnTo>
                    <a:pt x="12" y="196"/>
                  </a:lnTo>
                  <a:lnTo>
                    <a:pt x="12" y="196"/>
                  </a:lnTo>
                  <a:close/>
                  <a:moveTo>
                    <a:pt x="12" y="378"/>
                  </a:moveTo>
                  <a:lnTo>
                    <a:pt x="0" y="366"/>
                  </a:lnTo>
                  <a:lnTo>
                    <a:pt x="12" y="366"/>
                  </a:lnTo>
                  <a:lnTo>
                    <a:pt x="12" y="378"/>
                  </a:lnTo>
                  <a:lnTo>
                    <a:pt x="12" y="378"/>
                  </a:lnTo>
                  <a:lnTo>
                    <a:pt x="12" y="378"/>
                  </a:lnTo>
                  <a:close/>
                  <a:moveTo>
                    <a:pt x="808" y="472"/>
                  </a:moveTo>
                  <a:lnTo>
                    <a:pt x="824" y="477"/>
                  </a:lnTo>
                  <a:lnTo>
                    <a:pt x="803" y="493"/>
                  </a:lnTo>
                  <a:lnTo>
                    <a:pt x="770" y="493"/>
                  </a:lnTo>
                  <a:lnTo>
                    <a:pt x="749" y="477"/>
                  </a:lnTo>
                  <a:lnTo>
                    <a:pt x="753" y="460"/>
                  </a:lnTo>
                  <a:lnTo>
                    <a:pt x="775" y="472"/>
                  </a:lnTo>
                  <a:lnTo>
                    <a:pt x="803" y="472"/>
                  </a:lnTo>
                  <a:lnTo>
                    <a:pt x="808" y="472"/>
                  </a:lnTo>
                  <a:lnTo>
                    <a:pt x="808" y="472"/>
                  </a:lnTo>
                  <a:lnTo>
                    <a:pt x="808" y="472"/>
                  </a:lnTo>
                  <a:close/>
                  <a:moveTo>
                    <a:pt x="678" y="512"/>
                  </a:moveTo>
                  <a:lnTo>
                    <a:pt x="656" y="500"/>
                  </a:lnTo>
                  <a:lnTo>
                    <a:pt x="678" y="500"/>
                  </a:lnTo>
                  <a:lnTo>
                    <a:pt x="678" y="512"/>
                  </a:lnTo>
                  <a:lnTo>
                    <a:pt x="678" y="512"/>
                  </a:lnTo>
                  <a:lnTo>
                    <a:pt x="678" y="51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9" name="Freeform 596">
              <a:extLst>
                <a:ext uri="{FF2B5EF4-FFF2-40B4-BE49-F238E27FC236}">
                  <a16:creationId xmlns:a16="http://schemas.microsoft.com/office/drawing/2014/main" id="{A67F97D6-894F-42A9-80B7-2C9612DD1BAF}"/>
                </a:ext>
              </a:extLst>
            </p:cNvPr>
            <p:cNvSpPr>
              <a:spLocks/>
            </p:cNvSpPr>
            <p:nvPr/>
          </p:nvSpPr>
          <p:spPr bwMode="gray">
            <a:xfrm>
              <a:off x="7363090" y="4307563"/>
              <a:ext cx="335511" cy="300553"/>
            </a:xfrm>
            <a:custGeom>
              <a:avLst/>
              <a:gdLst>
                <a:gd name="T0" fmla="*/ 593 w 815"/>
                <a:gd name="T1" fmla="*/ 548 h 730"/>
                <a:gd name="T2" fmla="*/ 487 w 815"/>
                <a:gd name="T3" fmla="*/ 570 h 730"/>
                <a:gd name="T4" fmla="*/ 404 w 815"/>
                <a:gd name="T5" fmla="*/ 641 h 730"/>
                <a:gd name="T6" fmla="*/ 350 w 815"/>
                <a:gd name="T7" fmla="*/ 719 h 730"/>
                <a:gd name="T8" fmla="*/ 291 w 815"/>
                <a:gd name="T9" fmla="*/ 714 h 730"/>
                <a:gd name="T10" fmla="*/ 260 w 815"/>
                <a:gd name="T11" fmla="*/ 702 h 730"/>
                <a:gd name="T12" fmla="*/ 227 w 815"/>
                <a:gd name="T13" fmla="*/ 702 h 730"/>
                <a:gd name="T14" fmla="*/ 184 w 815"/>
                <a:gd name="T15" fmla="*/ 681 h 730"/>
                <a:gd name="T16" fmla="*/ 97 w 815"/>
                <a:gd name="T17" fmla="*/ 697 h 730"/>
                <a:gd name="T18" fmla="*/ 5 w 815"/>
                <a:gd name="T19" fmla="*/ 608 h 730"/>
                <a:gd name="T20" fmla="*/ 0 w 815"/>
                <a:gd name="T21" fmla="*/ 348 h 730"/>
                <a:gd name="T22" fmla="*/ 130 w 815"/>
                <a:gd name="T23" fmla="*/ 331 h 730"/>
                <a:gd name="T24" fmla="*/ 135 w 815"/>
                <a:gd name="T25" fmla="*/ 293 h 730"/>
                <a:gd name="T26" fmla="*/ 147 w 815"/>
                <a:gd name="T27" fmla="*/ 239 h 730"/>
                <a:gd name="T28" fmla="*/ 168 w 815"/>
                <a:gd name="T29" fmla="*/ 215 h 730"/>
                <a:gd name="T30" fmla="*/ 168 w 815"/>
                <a:gd name="T31" fmla="*/ 239 h 730"/>
                <a:gd name="T32" fmla="*/ 227 w 815"/>
                <a:gd name="T33" fmla="*/ 222 h 730"/>
                <a:gd name="T34" fmla="*/ 236 w 815"/>
                <a:gd name="T35" fmla="*/ 256 h 730"/>
                <a:gd name="T36" fmla="*/ 335 w 815"/>
                <a:gd name="T37" fmla="*/ 277 h 730"/>
                <a:gd name="T38" fmla="*/ 350 w 815"/>
                <a:gd name="T39" fmla="*/ 256 h 730"/>
                <a:gd name="T40" fmla="*/ 366 w 815"/>
                <a:gd name="T41" fmla="*/ 260 h 730"/>
                <a:gd name="T42" fmla="*/ 387 w 815"/>
                <a:gd name="T43" fmla="*/ 305 h 730"/>
                <a:gd name="T44" fmla="*/ 454 w 815"/>
                <a:gd name="T45" fmla="*/ 315 h 730"/>
                <a:gd name="T46" fmla="*/ 470 w 815"/>
                <a:gd name="T47" fmla="*/ 348 h 730"/>
                <a:gd name="T48" fmla="*/ 496 w 815"/>
                <a:gd name="T49" fmla="*/ 381 h 730"/>
                <a:gd name="T50" fmla="*/ 539 w 815"/>
                <a:gd name="T51" fmla="*/ 371 h 730"/>
                <a:gd name="T52" fmla="*/ 546 w 815"/>
                <a:gd name="T53" fmla="*/ 388 h 730"/>
                <a:gd name="T54" fmla="*/ 524 w 815"/>
                <a:gd name="T55" fmla="*/ 293 h 730"/>
                <a:gd name="T56" fmla="*/ 508 w 815"/>
                <a:gd name="T57" fmla="*/ 310 h 730"/>
                <a:gd name="T58" fmla="*/ 475 w 815"/>
                <a:gd name="T59" fmla="*/ 289 h 730"/>
                <a:gd name="T60" fmla="*/ 442 w 815"/>
                <a:gd name="T61" fmla="*/ 248 h 730"/>
                <a:gd name="T62" fmla="*/ 470 w 815"/>
                <a:gd name="T63" fmla="*/ 182 h 730"/>
                <a:gd name="T64" fmla="*/ 470 w 815"/>
                <a:gd name="T65" fmla="*/ 121 h 730"/>
                <a:gd name="T66" fmla="*/ 442 w 815"/>
                <a:gd name="T67" fmla="*/ 83 h 730"/>
                <a:gd name="T68" fmla="*/ 487 w 815"/>
                <a:gd name="T69" fmla="*/ 38 h 730"/>
                <a:gd name="T70" fmla="*/ 614 w 815"/>
                <a:gd name="T71" fmla="*/ 0 h 730"/>
                <a:gd name="T72" fmla="*/ 659 w 815"/>
                <a:gd name="T73" fmla="*/ 34 h 730"/>
                <a:gd name="T74" fmla="*/ 702 w 815"/>
                <a:gd name="T75" fmla="*/ 55 h 730"/>
                <a:gd name="T76" fmla="*/ 728 w 815"/>
                <a:gd name="T77" fmla="*/ 71 h 730"/>
                <a:gd name="T78" fmla="*/ 761 w 815"/>
                <a:gd name="T79" fmla="*/ 88 h 730"/>
                <a:gd name="T80" fmla="*/ 782 w 815"/>
                <a:gd name="T81" fmla="*/ 104 h 730"/>
                <a:gd name="T82" fmla="*/ 794 w 815"/>
                <a:gd name="T83" fmla="*/ 140 h 730"/>
                <a:gd name="T84" fmla="*/ 810 w 815"/>
                <a:gd name="T85" fmla="*/ 161 h 730"/>
                <a:gd name="T86" fmla="*/ 810 w 815"/>
                <a:gd name="T87" fmla="*/ 194 h 730"/>
                <a:gd name="T88" fmla="*/ 798 w 815"/>
                <a:gd name="T89" fmla="*/ 215 h 730"/>
                <a:gd name="T90" fmla="*/ 794 w 815"/>
                <a:gd name="T91" fmla="*/ 260 h 730"/>
                <a:gd name="T92" fmla="*/ 794 w 815"/>
                <a:gd name="T93" fmla="*/ 305 h 730"/>
                <a:gd name="T94" fmla="*/ 794 w 815"/>
                <a:gd name="T95" fmla="*/ 315 h 730"/>
                <a:gd name="T96" fmla="*/ 765 w 815"/>
                <a:gd name="T97" fmla="*/ 331 h 730"/>
                <a:gd name="T98" fmla="*/ 761 w 815"/>
                <a:gd name="T99" fmla="*/ 381 h 730"/>
                <a:gd name="T100" fmla="*/ 765 w 815"/>
                <a:gd name="T101" fmla="*/ 421 h 730"/>
                <a:gd name="T102" fmla="*/ 777 w 815"/>
                <a:gd name="T103" fmla="*/ 421 h 730"/>
                <a:gd name="T104" fmla="*/ 576 w 815"/>
                <a:gd name="T105" fmla="*/ 499 h 730"/>
                <a:gd name="T106" fmla="*/ 576 w 815"/>
                <a:gd name="T107" fmla="*/ 499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5" h="730">
                  <a:moveTo>
                    <a:pt x="576" y="499"/>
                  </a:moveTo>
                  <a:lnTo>
                    <a:pt x="593" y="548"/>
                  </a:lnTo>
                  <a:lnTo>
                    <a:pt x="529" y="548"/>
                  </a:lnTo>
                  <a:lnTo>
                    <a:pt x="487" y="570"/>
                  </a:lnTo>
                  <a:lnTo>
                    <a:pt x="470" y="608"/>
                  </a:lnTo>
                  <a:lnTo>
                    <a:pt x="404" y="641"/>
                  </a:lnTo>
                  <a:lnTo>
                    <a:pt x="387" y="674"/>
                  </a:lnTo>
                  <a:lnTo>
                    <a:pt x="350" y="719"/>
                  </a:lnTo>
                  <a:lnTo>
                    <a:pt x="328" y="730"/>
                  </a:lnTo>
                  <a:lnTo>
                    <a:pt x="291" y="714"/>
                  </a:lnTo>
                  <a:lnTo>
                    <a:pt x="274" y="719"/>
                  </a:lnTo>
                  <a:lnTo>
                    <a:pt x="260" y="702"/>
                  </a:lnTo>
                  <a:lnTo>
                    <a:pt x="243" y="714"/>
                  </a:lnTo>
                  <a:lnTo>
                    <a:pt x="227" y="702"/>
                  </a:lnTo>
                  <a:lnTo>
                    <a:pt x="206" y="690"/>
                  </a:lnTo>
                  <a:lnTo>
                    <a:pt x="184" y="681"/>
                  </a:lnTo>
                  <a:lnTo>
                    <a:pt x="151" y="681"/>
                  </a:lnTo>
                  <a:lnTo>
                    <a:pt x="97" y="697"/>
                  </a:lnTo>
                  <a:lnTo>
                    <a:pt x="80" y="681"/>
                  </a:lnTo>
                  <a:lnTo>
                    <a:pt x="5" y="608"/>
                  </a:lnTo>
                  <a:lnTo>
                    <a:pt x="0" y="586"/>
                  </a:lnTo>
                  <a:lnTo>
                    <a:pt x="0" y="348"/>
                  </a:lnTo>
                  <a:lnTo>
                    <a:pt x="135" y="359"/>
                  </a:lnTo>
                  <a:lnTo>
                    <a:pt x="130" y="331"/>
                  </a:lnTo>
                  <a:lnTo>
                    <a:pt x="147" y="310"/>
                  </a:lnTo>
                  <a:lnTo>
                    <a:pt x="135" y="293"/>
                  </a:lnTo>
                  <a:lnTo>
                    <a:pt x="135" y="256"/>
                  </a:lnTo>
                  <a:lnTo>
                    <a:pt x="147" y="239"/>
                  </a:lnTo>
                  <a:lnTo>
                    <a:pt x="135" y="199"/>
                  </a:lnTo>
                  <a:lnTo>
                    <a:pt x="168" y="215"/>
                  </a:lnTo>
                  <a:lnTo>
                    <a:pt x="161" y="232"/>
                  </a:lnTo>
                  <a:lnTo>
                    <a:pt x="168" y="239"/>
                  </a:lnTo>
                  <a:lnTo>
                    <a:pt x="189" y="232"/>
                  </a:lnTo>
                  <a:lnTo>
                    <a:pt x="227" y="222"/>
                  </a:lnTo>
                  <a:lnTo>
                    <a:pt x="227" y="232"/>
                  </a:lnTo>
                  <a:lnTo>
                    <a:pt x="236" y="256"/>
                  </a:lnTo>
                  <a:lnTo>
                    <a:pt x="274" y="272"/>
                  </a:lnTo>
                  <a:lnTo>
                    <a:pt x="335" y="277"/>
                  </a:lnTo>
                  <a:lnTo>
                    <a:pt x="345" y="272"/>
                  </a:lnTo>
                  <a:lnTo>
                    <a:pt x="350" y="256"/>
                  </a:lnTo>
                  <a:lnTo>
                    <a:pt x="361" y="248"/>
                  </a:lnTo>
                  <a:lnTo>
                    <a:pt x="366" y="260"/>
                  </a:lnTo>
                  <a:lnTo>
                    <a:pt x="383" y="277"/>
                  </a:lnTo>
                  <a:lnTo>
                    <a:pt x="387" y="305"/>
                  </a:lnTo>
                  <a:lnTo>
                    <a:pt x="404" y="305"/>
                  </a:lnTo>
                  <a:lnTo>
                    <a:pt x="454" y="315"/>
                  </a:lnTo>
                  <a:lnTo>
                    <a:pt x="458" y="343"/>
                  </a:lnTo>
                  <a:lnTo>
                    <a:pt x="470" y="348"/>
                  </a:lnTo>
                  <a:lnTo>
                    <a:pt x="491" y="381"/>
                  </a:lnTo>
                  <a:lnTo>
                    <a:pt x="496" y="381"/>
                  </a:lnTo>
                  <a:lnTo>
                    <a:pt x="529" y="371"/>
                  </a:lnTo>
                  <a:lnTo>
                    <a:pt x="539" y="371"/>
                  </a:lnTo>
                  <a:lnTo>
                    <a:pt x="529" y="381"/>
                  </a:lnTo>
                  <a:lnTo>
                    <a:pt x="546" y="388"/>
                  </a:lnTo>
                  <a:lnTo>
                    <a:pt x="546" y="293"/>
                  </a:lnTo>
                  <a:lnTo>
                    <a:pt x="524" y="293"/>
                  </a:lnTo>
                  <a:lnTo>
                    <a:pt x="524" y="310"/>
                  </a:lnTo>
                  <a:lnTo>
                    <a:pt x="508" y="310"/>
                  </a:lnTo>
                  <a:lnTo>
                    <a:pt x="491" y="310"/>
                  </a:lnTo>
                  <a:lnTo>
                    <a:pt x="475" y="289"/>
                  </a:lnTo>
                  <a:lnTo>
                    <a:pt x="454" y="272"/>
                  </a:lnTo>
                  <a:lnTo>
                    <a:pt x="442" y="248"/>
                  </a:lnTo>
                  <a:lnTo>
                    <a:pt x="458" y="199"/>
                  </a:lnTo>
                  <a:lnTo>
                    <a:pt x="470" y="182"/>
                  </a:lnTo>
                  <a:lnTo>
                    <a:pt x="458" y="149"/>
                  </a:lnTo>
                  <a:lnTo>
                    <a:pt x="470" y="121"/>
                  </a:lnTo>
                  <a:lnTo>
                    <a:pt x="454" y="88"/>
                  </a:lnTo>
                  <a:lnTo>
                    <a:pt x="442" y="83"/>
                  </a:lnTo>
                  <a:lnTo>
                    <a:pt x="475" y="50"/>
                  </a:lnTo>
                  <a:lnTo>
                    <a:pt x="487" y="38"/>
                  </a:lnTo>
                  <a:lnTo>
                    <a:pt x="487" y="29"/>
                  </a:lnTo>
                  <a:lnTo>
                    <a:pt x="614" y="0"/>
                  </a:lnTo>
                  <a:lnTo>
                    <a:pt x="631" y="34"/>
                  </a:lnTo>
                  <a:lnTo>
                    <a:pt x="659" y="34"/>
                  </a:lnTo>
                  <a:lnTo>
                    <a:pt x="676" y="55"/>
                  </a:lnTo>
                  <a:lnTo>
                    <a:pt x="702" y="55"/>
                  </a:lnTo>
                  <a:lnTo>
                    <a:pt x="702" y="67"/>
                  </a:lnTo>
                  <a:lnTo>
                    <a:pt x="728" y="71"/>
                  </a:lnTo>
                  <a:lnTo>
                    <a:pt x="739" y="83"/>
                  </a:lnTo>
                  <a:lnTo>
                    <a:pt x="761" y="88"/>
                  </a:lnTo>
                  <a:lnTo>
                    <a:pt x="765" y="104"/>
                  </a:lnTo>
                  <a:lnTo>
                    <a:pt x="782" y="104"/>
                  </a:lnTo>
                  <a:lnTo>
                    <a:pt x="794" y="128"/>
                  </a:lnTo>
                  <a:lnTo>
                    <a:pt x="794" y="140"/>
                  </a:lnTo>
                  <a:lnTo>
                    <a:pt x="810" y="149"/>
                  </a:lnTo>
                  <a:lnTo>
                    <a:pt x="810" y="161"/>
                  </a:lnTo>
                  <a:lnTo>
                    <a:pt x="815" y="178"/>
                  </a:lnTo>
                  <a:lnTo>
                    <a:pt x="810" y="194"/>
                  </a:lnTo>
                  <a:lnTo>
                    <a:pt x="782" y="199"/>
                  </a:lnTo>
                  <a:lnTo>
                    <a:pt x="798" y="215"/>
                  </a:lnTo>
                  <a:lnTo>
                    <a:pt x="782" y="239"/>
                  </a:lnTo>
                  <a:lnTo>
                    <a:pt x="794" y="260"/>
                  </a:lnTo>
                  <a:lnTo>
                    <a:pt x="782" y="293"/>
                  </a:lnTo>
                  <a:lnTo>
                    <a:pt x="794" y="305"/>
                  </a:lnTo>
                  <a:lnTo>
                    <a:pt x="810" y="310"/>
                  </a:lnTo>
                  <a:lnTo>
                    <a:pt x="794" y="315"/>
                  </a:lnTo>
                  <a:lnTo>
                    <a:pt x="765" y="326"/>
                  </a:lnTo>
                  <a:lnTo>
                    <a:pt x="765" y="331"/>
                  </a:lnTo>
                  <a:lnTo>
                    <a:pt x="765" y="348"/>
                  </a:lnTo>
                  <a:lnTo>
                    <a:pt x="761" y="381"/>
                  </a:lnTo>
                  <a:lnTo>
                    <a:pt x="744" y="397"/>
                  </a:lnTo>
                  <a:lnTo>
                    <a:pt x="765" y="421"/>
                  </a:lnTo>
                  <a:lnTo>
                    <a:pt x="777" y="426"/>
                  </a:lnTo>
                  <a:lnTo>
                    <a:pt x="777" y="421"/>
                  </a:lnTo>
                  <a:lnTo>
                    <a:pt x="782" y="426"/>
                  </a:lnTo>
                  <a:lnTo>
                    <a:pt x="576" y="499"/>
                  </a:lnTo>
                  <a:lnTo>
                    <a:pt x="576" y="499"/>
                  </a:lnTo>
                  <a:lnTo>
                    <a:pt x="576" y="49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00" name="Freeform 597">
              <a:extLst>
                <a:ext uri="{FF2B5EF4-FFF2-40B4-BE49-F238E27FC236}">
                  <a16:creationId xmlns:a16="http://schemas.microsoft.com/office/drawing/2014/main" id="{F58B3CA0-5666-42EC-BA69-C39AD588E11C}"/>
                </a:ext>
              </a:extLst>
            </p:cNvPr>
            <p:cNvSpPr>
              <a:spLocks/>
            </p:cNvSpPr>
            <p:nvPr/>
          </p:nvSpPr>
          <p:spPr bwMode="gray">
            <a:xfrm>
              <a:off x="7454480" y="4534418"/>
              <a:ext cx="228477" cy="206271"/>
            </a:xfrm>
            <a:custGeom>
              <a:avLst/>
              <a:gdLst>
                <a:gd name="T0" fmla="*/ 506 w 555"/>
                <a:gd name="T1" fmla="*/ 418 h 501"/>
                <a:gd name="T2" fmla="*/ 397 w 555"/>
                <a:gd name="T3" fmla="*/ 496 h 501"/>
                <a:gd name="T4" fmla="*/ 317 w 555"/>
                <a:gd name="T5" fmla="*/ 479 h 501"/>
                <a:gd name="T6" fmla="*/ 284 w 555"/>
                <a:gd name="T7" fmla="*/ 472 h 501"/>
                <a:gd name="T8" fmla="*/ 267 w 555"/>
                <a:gd name="T9" fmla="*/ 456 h 501"/>
                <a:gd name="T10" fmla="*/ 196 w 555"/>
                <a:gd name="T11" fmla="*/ 439 h 501"/>
                <a:gd name="T12" fmla="*/ 175 w 555"/>
                <a:gd name="T13" fmla="*/ 364 h 501"/>
                <a:gd name="T14" fmla="*/ 137 w 555"/>
                <a:gd name="T15" fmla="*/ 331 h 501"/>
                <a:gd name="T16" fmla="*/ 66 w 555"/>
                <a:gd name="T17" fmla="*/ 281 h 501"/>
                <a:gd name="T18" fmla="*/ 50 w 555"/>
                <a:gd name="T19" fmla="*/ 241 h 501"/>
                <a:gd name="T20" fmla="*/ 0 w 555"/>
                <a:gd name="T21" fmla="*/ 153 h 501"/>
                <a:gd name="T22" fmla="*/ 33 w 555"/>
                <a:gd name="T23" fmla="*/ 153 h 501"/>
                <a:gd name="T24" fmla="*/ 66 w 555"/>
                <a:gd name="T25" fmla="*/ 165 h 501"/>
                <a:gd name="T26" fmla="*/ 125 w 555"/>
                <a:gd name="T27" fmla="*/ 170 h 501"/>
                <a:gd name="T28" fmla="*/ 180 w 555"/>
                <a:gd name="T29" fmla="*/ 92 h 501"/>
                <a:gd name="T30" fmla="*/ 262 w 555"/>
                <a:gd name="T31" fmla="*/ 21 h 501"/>
                <a:gd name="T32" fmla="*/ 371 w 555"/>
                <a:gd name="T33" fmla="*/ 0 h 501"/>
                <a:gd name="T34" fmla="*/ 423 w 555"/>
                <a:gd name="T35" fmla="*/ 21 h 501"/>
                <a:gd name="T36" fmla="*/ 451 w 555"/>
                <a:gd name="T37" fmla="*/ 38 h 501"/>
                <a:gd name="T38" fmla="*/ 501 w 555"/>
                <a:gd name="T39" fmla="*/ 59 h 501"/>
                <a:gd name="T40" fmla="*/ 532 w 555"/>
                <a:gd name="T41" fmla="*/ 75 h 501"/>
                <a:gd name="T42" fmla="*/ 539 w 555"/>
                <a:gd name="T43" fmla="*/ 92 h 501"/>
                <a:gd name="T44" fmla="*/ 543 w 555"/>
                <a:gd name="T45" fmla="*/ 132 h 501"/>
                <a:gd name="T46" fmla="*/ 539 w 555"/>
                <a:gd name="T47" fmla="*/ 170 h 501"/>
                <a:gd name="T48" fmla="*/ 555 w 555"/>
                <a:gd name="T49" fmla="*/ 198 h 501"/>
                <a:gd name="T50" fmla="*/ 539 w 555"/>
                <a:gd name="T51" fmla="*/ 224 h 501"/>
                <a:gd name="T52" fmla="*/ 522 w 555"/>
                <a:gd name="T53" fmla="*/ 241 h 501"/>
                <a:gd name="T54" fmla="*/ 532 w 555"/>
                <a:gd name="T55" fmla="*/ 281 h 501"/>
                <a:gd name="T56" fmla="*/ 539 w 555"/>
                <a:gd name="T57" fmla="*/ 347 h 501"/>
                <a:gd name="T58" fmla="*/ 506 w 555"/>
                <a:gd name="T59" fmla="*/ 368 h 501"/>
                <a:gd name="T60" fmla="*/ 501 w 555"/>
                <a:gd name="T61" fmla="*/ 406 h 501"/>
                <a:gd name="T62" fmla="*/ 506 w 555"/>
                <a:gd name="T63" fmla="*/ 423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5" h="501">
                  <a:moveTo>
                    <a:pt x="506" y="423"/>
                  </a:moveTo>
                  <a:lnTo>
                    <a:pt x="506" y="418"/>
                  </a:lnTo>
                  <a:lnTo>
                    <a:pt x="430" y="501"/>
                  </a:lnTo>
                  <a:lnTo>
                    <a:pt x="397" y="496"/>
                  </a:lnTo>
                  <a:lnTo>
                    <a:pt x="359" y="496"/>
                  </a:lnTo>
                  <a:lnTo>
                    <a:pt x="317" y="479"/>
                  </a:lnTo>
                  <a:lnTo>
                    <a:pt x="288" y="489"/>
                  </a:lnTo>
                  <a:lnTo>
                    <a:pt x="284" y="472"/>
                  </a:lnTo>
                  <a:lnTo>
                    <a:pt x="267" y="472"/>
                  </a:lnTo>
                  <a:lnTo>
                    <a:pt x="267" y="456"/>
                  </a:lnTo>
                  <a:lnTo>
                    <a:pt x="234" y="439"/>
                  </a:lnTo>
                  <a:lnTo>
                    <a:pt x="196" y="439"/>
                  </a:lnTo>
                  <a:lnTo>
                    <a:pt x="175" y="401"/>
                  </a:lnTo>
                  <a:lnTo>
                    <a:pt x="175" y="364"/>
                  </a:lnTo>
                  <a:lnTo>
                    <a:pt x="142" y="364"/>
                  </a:lnTo>
                  <a:lnTo>
                    <a:pt x="137" y="331"/>
                  </a:lnTo>
                  <a:lnTo>
                    <a:pt x="104" y="314"/>
                  </a:lnTo>
                  <a:lnTo>
                    <a:pt x="66" y="281"/>
                  </a:lnTo>
                  <a:lnTo>
                    <a:pt x="50" y="253"/>
                  </a:lnTo>
                  <a:lnTo>
                    <a:pt x="50" y="241"/>
                  </a:lnTo>
                  <a:lnTo>
                    <a:pt x="0" y="182"/>
                  </a:lnTo>
                  <a:lnTo>
                    <a:pt x="0" y="153"/>
                  </a:lnTo>
                  <a:lnTo>
                    <a:pt x="17" y="165"/>
                  </a:lnTo>
                  <a:lnTo>
                    <a:pt x="33" y="153"/>
                  </a:lnTo>
                  <a:lnTo>
                    <a:pt x="50" y="170"/>
                  </a:lnTo>
                  <a:lnTo>
                    <a:pt x="66" y="165"/>
                  </a:lnTo>
                  <a:lnTo>
                    <a:pt x="104" y="182"/>
                  </a:lnTo>
                  <a:lnTo>
                    <a:pt x="125" y="170"/>
                  </a:lnTo>
                  <a:lnTo>
                    <a:pt x="163" y="125"/>
                  </a:lnTo>
                  <a:lnTo>
                    <a:pt x="180" y="92"/>
                  </a:lnTo>
                  <a:lnTo>
                    <a:pt x="246" y="59"/>
                  </a:lnTo>
                  <a:lnTo>
                    <a:pt x="262" y="21"/>
                  </a:lnTo>
                  <a:lnTo>
                    <a:pt x="305" y="0"/>
                  </a:lnTo>
                  <a:lnTo>
                    <a:pt x="371" y="0"/>
                  </a:lnTo>
                  <a:lnTo>
                    <a:pt x="371" y="21"/>
                  </a:lnTo>
                  <a:lnTo>
                    <a:pt x="423" y="21"/>
                  </a:lnTo>
                  <a:lnTo>
                    <a:pt x="435" y="38"/>
                  </a:lnTo>
                  <a:lnTo>
                    <a:pt x="451" y="38"/>
                  </a:lnTo>
                  <a:lnTo>
                    <a:pt x="468" y="54"/>
                  </a:lnTo>
                  <a:lnTo>
                    <a:pt x="501" y="59"/>
                  </a:lnTo>
                  <a:lnTo>
                    <a:pt x="522" y="71"/>
                  </a:lnTo>
                  <a:lnTo>
                    <a:pt x="532" y="75"/>
                  </a:lnTo>
                  <a:lnTo>
                    <a:pt x="543" y="75"/>
                  </a:lnTo>
                  <a:lnTo>
                    <a:pt x="539" y="92"/>
                  </a:lnTo>
                  <a:lnTo>
                    <a:pt x="543" y="125"/>
                  </a:lnTo>
                  <a:lnTo>
                    <a:pt x="543" y="132"/>
                  </a:lnTo>
                  <a:lnTo>
                    <a:pt x="543" y="142"/>
                  </a:lnTo>
                  <a:lnTo>
                    <a:pt x="539" y="170"/>
                  </a:lnTo>
                  <a:lnTo>
                    <a:pt x="543" y="186"/>
                  </a:lnTo>
                  <a:lnTo>
                    <a:pt x="555" y="198"/>
                  </a:lnTo>
                  <a:lnTo>
                    <a:pt x="539" y="208"/>
                  </a:lnTo>
                  <a:lnTo>
                    <a:pt x="539" y="224"/>
                  </a:lnTo>
                  <a:lnTo>
                    <a:pt x="522" y="236"/>
                  </a:lnTo>
                  <a:lnTo>
                    <a:pt x="522" y="241"/>
                  </a:lnTo>
                  <a:lnTo>
                    <a:pt x="539" y="253"/>
                  </a:lnTo>
                  <a:lnTo>
                    <a:pt x="532" y="281"/>
                  </a:lnTo>
                  <a:lnTo>
                    <a:pt x="555" y="307"/>
                  </a:lnTo>
                  <a:lnTo>
                    <a:pt x="539" y="347"/>
                  </a:lnTo>
                  <a:lnTo>
                    <a:pt x="522" y="364"/>
                  </a:lnTo>
                  <a:lnTo>
                    <a:pt x="506" y="368"/>
                  </a:lnTo>
                  <a:lnTo>
                    <a:pt x="517" y="385"/>
                  </a:lnTo>
                  <a:lnTo>
                    <a:pt x="501" y="406"/>
                  </a:lnTo>
                  <a:lnTo>
                    <a:pt x="506" y="423"/>
                  </a:lnTo>
                  <a:lnTo>
                    <a:pt x="506" y="423"/>
                  </a:lnTo>
                  <a:lnTo>
                    <a:pt x="506" y="42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01" name="Freeform 598">
              <a:extLst>
                <a:ext uri="{FF2B5EF4-FFF2-40B4-BE49-F238E27FC236}">
                  <a16:creationId xmlns:a16="http://schemas.microsoft.com/office/drawing/2014/main" id="{6CE8A16D-774E-4921-9D15-88CFDDBA9951}"/>
                </a:ext>
              </a:extLst>
            </p:cNvPr>
            <p:cNvSpPr>
              <a:spLocks/>
            </p:cNvSpPr>
            <p:nvPr/>
          </p:nvSpPr>
          <p:spPr bwMode="gray">
            <a:xfrm>
              <a:off x="7356503" y="3394376"/>
              <a:ext cx="483300" cy="411717"/>
            </a:xfrm>
            <a:custGeom>
              <a:avLst/>
              <a:gdLst>
                <a:gd name="T0" fmla="*/ 67 w 497"/>
                <a:gd name="T1" fmla="*/ 423 h 423"/>
                <a:gd name="T2" fmla="*/ 119 w 497"/>
                <a:gd name="T3" fmla="*/ 370 h 423"/>
                <a:gd name="T4" fmla="*/ 186 w 497"/>
                <a:gd name="T5" fmla="*/ 384 h 423"/>
                <a:gd name="T6" fmla="*/ 210 w 497"/>
                <a:gd name="T7" fmla="*/ 395 h 423"/>
                <a:gd name="T8" fmla="*/ 238 w 497"/>
                <a:gd name="T9" fmla="*/ 384 h 423"/>
                <a:gd name="T10" fmla="*/ 257 w 497"/>
                <a:gd name="T11" fmla="*/ 363 h 423"/>
                <a:gd name="T12" fmla="*/ 289 w 497"/>
                <a:gd name="T13" fmla="*/ 384 h 423"/>
                <a:gd name="T14" fmla="*/ 325 w 497"/>
                <a:gd name="T15" fmla="*/ 314 h 423"/>
                <a:gd name="T16" fmla="*/ 337 w 497"/>
                <a:gd name="T17" fmla="*/ 311 h 423"/>
                <a:gd name="T18" fmla="*/ 352 w 497"/>
                <a:gd name="T19" fmla="*/ 297 h 423"/>
                <a:gd name="T20" fmla="*/ 372 w 497"/>
                <a:gd name="T21" fmla="*/ 363 h 423"/>
                <a:gd name="T22" fmla="*/ 375 w 497"/>
                <a:gd name="T23" fmla="*/ 363 h 423"/>
                <a:gd name="T24" fmla="*/ 388 w 497"/>
                <a:gd name="T25" fmla="*/ 362 h 423"/>
                <a:gd name="T26" fmla="*/ 390 w 497"/>
                <a:gd name="T27" fmla="*/ 345 h 423"/>
                <a:gd name="T28" fmla="*/ 395 w 497"/>
                <a:gd name="T29" fmla="*/ 329 h 423"/>
                <a:gd name="T30" fmla="*/ 413 w 497"/>
                <a:gd name="T31" fmla="*/ 303 h 423"/>
                <a:gd name="T32" fmla="*/ 427 w 497"/>
                <a:gd name="T33" fmla="*/ 289 h 423"/>
                <a:gd name="T34" fmla="*/ 433 w 497"/>
                <a:gd name="T35" fmla="*/ 263 h 423"/>
                <a:gd name="T36" fmla="*/ 433 w 497"/>
                <a:gd name="T37" fmla="*/ 225 h 423"/>
                <a:gd name="T38" fmla="*/ 445 w 497"/>
                <a:gd name="T39" fmla="*/ 181 h 423"/>
                <a:gd name="T40" fmla="*/ 449 w 497"/>
                <a:gd name="T41" fmla="*/ 164 h 423"/>
                <a:gd name="T42" fmla="*/ 465 w 497"/>
                <a:gd name="T43" fmla="*/ 157 h 423"/>
                <a:gd name="T44" fmla="*/ 488 w 497"/>
                <a:gd name="T45" fmla="*/ 150 h 423"/>
                <a:gd name="T46" fmla="*/ 495 w 497"/>
                <a:gd name="T47" fmla="*/ 131 h 423"/>
                <a:gd name="T48" fmla="*/ 472 w 497"/>
                <a:gd name="T49" fmla="*/ 115 h 423"/>
                <a:gd name="T50" fmla="*/ 463 w 497"/>
                <a:gd name="T51" fmla="*/ 108 h 423"/>
                <a:gd name="T52" fmla="*/ 456 w 497"/>
                <a:gd name="T53" fmla="*/ 63 h 423"/>
                <a:gd name="T54" fmla="*/ 452 w 497"/>
                <a:gd name="T55" fmla="*/ 33 h 423"/>
                <a:gd name="T56" fmla="*/ 458 w 497"/>
                <a:gd name="T57" fmla="*/ 40 h 423"/>
                <a:gd name="T58" fmla="*/ 449 w 497"/>
                <a:gd name="T59" fmla="*/ 21 h 423"/>
                <a:gd name="T60" fmla="*/ 285 w 497"/>
                <a:gd name="T61" fmla="*/ 7 h 423"/>
                <a:gd name="T62" fmla="*/ 285 w 497"/>
                <a:gd name="T63" fmla="*/ 0 h 423"/>
                <a:gd name="T64" fmla="*/ 93 w 497"/>
                <a:gd name="T65" fmla="*/ 7 h 423"/>
                <a:gd name="T66" fmla="*/ 63 w 497"/>
                <a:gd name="T67" fmla="*/ 70 h 423"/>
                <a:gd name="T68" fmla="*/ 63 w 497"/>
                <a:gd name="T69" fmla="*/ 209 h 423"/>
                <a:gd name="T70" fmla="*/ 34 w 497"/>
                <a:gd name="T71" fmla="*/ 211 h 423"/>
                <a:gd name="T72" fmla="*/ 34 w 497"/>
                <a:gd name="T73" fmla="*/ 225 h 423"/>
                <a:gd name="T74" fmla="*/ 25 w 497"/>
                <a:gd name="T75" fmla="*/ 239 h 423"/>
                <a:gd name="T76" fmla="*/ 22 w 497"/>
                <a:gd name="T77" fmla="*/ 256 h 423"/>
                <a:gd name="T78" fmla="*/ 9 w 497"/>
                <a:gd name="T79" fmla="*/ 268 h 423"/>
                <a:gd name="T80" fmla="*/ 6 w 497"/>
                <a:gd name="T81" fmla="*/ 289 h 423"/>
                <a:gd name="T82" fmla="*/ 6 w 497"/>
                <a:gd name="T83" fmla="*/ 303 h 423"/>
                <a:gd name="T84" fmla="*/ 11 w 497"/>
                <a:gd name="T85" fmla="*/ 298 h 423"/>
                <a:gd name="T86" fmla="*/ 18 w 497"/>
                <a:gd name="T87" fmla="*/ 310 h 423"/>
                <a:gd name="T88" fmla="*/ 22 w 497"/>
                <a:gd name="T89" fmla="*/ 336 h 423"/>
                <a:gd name="T90" fmla="*/ 32 w 497"/>
                <a:gd name="T91" fmla="*/ 338 h 423"/>
                <a:gd name="T92" fmla="*/ 32 w 497"/>
                <a:gd name="T93" fmla="*/ 357 h 423"/>
                <a:gd name="T94" fmla="*/ 54 w 497"/>
                <a:gd name="T95" fmla="*/ 390 h 423"/>
                <a:gd name="T96" fmla="*/ 52 w 497"/>
                <a:gd name="T97" fmla="*/ 409 h 423"/>
                <a:gd name="T98" fmla="*/ 52 w 497"/>
                <a:gd name="T99" fmla="*/ 416 h 423"/>
                <a:gd name="T100" fmla="*/ 67 w 497"/>
                <a:gd name="T101"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7" h="423">
                  <a:moveTo>
                    <a:pt x="67" y="423"/>
                  </a:moveTo>
                  <a:cubicBezTo>
                    <a:pt x="67" y="423"/>
                    <a:pt x="67" y="423"/>
                    <a:pt x="67" y="423"/>
                  </a:cubicBezTo>
                  <a:cubicBezTo>
                    <a:pt x="67" y="423"/>
                    <a:pt x="67" y="423"/>
                    <a:pt x="95" y="367"/>
                  </a:cubicBezTo>
                  <a:cubicBezTo>
                    <a:pt x="95" y="367"/>
                    <a:pt x="95" y="367"/>
                    <a:pt x="119" y="370"/>
                  </a:cubicBezTo>
                  <a:cubicBezTo>
                    <a:pt x="119" y="370"/>
                    <a:pt x="119" y="370"/>
                    <a:pt x="135" y="391"/>
                  </a:cubicBezTo>
                  <a:cubicBezTo>
                    <a:pt x="135" y="391"/>
                    <a:pt x="135" y="391"/>
                    <a:pt x="186" y="384"/>
                  </a:cubicBezTo>
                  <a:cubicBezTo>
                    <a:pt x="186" y="384"/>
                    <a:pt x="186" y="384"/>
                    <a:pt x="186" y="395"/>
                  </a:cubicBezTo>
                  <a:cubicBezTo>
                    <a:pt x="186" y="395"/>
                    <a:pt x="186" y="395"/>
                    <a:pt x="210" y="395"/>
                  </a:cubicBezTo>
                  <a:cubicBezTo>
                    <a:pt x="210" y="395"/>
                    <a:pt x="210" y="395"/>
                    <a:pt x="222" y="384"/>
                  </a:cubicBezTo>
                  <a:cubicBezTo>
                    <a:pt x="222" y="384"/>
                    <a:pt x="222" y="384"/>
                    <a:pt x="238" y="384"/>
                  </a:cubicBezTo>
                  <a:cubicBezTo>
                    <a:pt x="238" y="384"/>
                    <a:pt x="238" y="384"/>
                    <a:pt x="238" y="370"/>
                  </a:cubicBezTo>
                  <a:cubicBezTo>
                    <a:pt x="238" y="370"/>
                    <a:pt x="238" y="370"/>
                    <a:pt x="257" y="363"/>
                  </a:cubicBezTo>
                  <a:cubicBezTo>
                    <a:pt x="257" y="363"/>
                    <a:pt x="257" y="363"/>
                    <a:pt x="281" y="384"/>
                  </a:cubicBezTo>
                  <a:cubicBezTo>
                    <a:pt x="281" y="384"/>
                    <a:pt x="281" y="384"/>
                    <a:pt x="289" y="384"/>
                  </a:cubicBezTo>
                  <a:cubicBezTo>
                    <a:pt x="289" y="384"/>
                    <a:pt x="289" y="384"/>
                    <a:pt x="325" y="342"/>
                  </a:cubicBezTo>
                  <a:cubicBezTo>
                    <a:pt x="325" y="342"/>
                    <a:pt x="325" y="342"/>
                    <a:pt x="325" y="314"/>
                  </a:cubicBezTo>
                  <a:cubicBezTo>
                    <a:pt x="325" y="314"/>
                    <a:pt x="325" y="314"/>
                    <a:pt x="321" y="314"/>
                  </a:cubicBezTo>
                  <a:cubicBezTo>
                    <a:pt x="321" y="314"/>
                    <a:pt x="321" y="314"/>
                    <a:pt x="337" y="311"/>
                  </a:cubicBezTo>
                  <a:cubicBezTo>
                    <a:pt x="337" y="311"/>
                    <a:pt x="337" y="311"/>
                    <a:pt x="337" y="297"/>
                  </a:cubicBezTo>
                  <a:cubicBezTo>
                    <a:pt x="337" y="297"/>
                    <a:pt x="337" y="297"/>
                    <a:pt x="352" y="297"/>
                  </a:cubicBezTo>
                  <a:cubicBezTo>
                    <a:pt x="352" y="297"/>
                    <a:pt x="352" y="297"/>
                    <a:pt x="352" y="360"/>
                  </a:cubicBezTo>
                  <a:cubicBezTo>
                    <a:pt x="372" y="363"/>
                    <a:pt x="372" y="363"/>
                    <a:pt x="372" y="363"/>
                  </a:cubicBezTo>
                  <a:cubicBezTo>
                    <a:pt x="372" y="363"/>
                    <a:pt x="372" y="363"/>
                    <a:pt x="372" y="364"/>
                  </a:cubicBezTo>
                  <a:cubicBezTo>
                    <a:pt x="375" y="363"/>
                    <a:pt x="375" y="363"/>
                    <a:pt x="375" y="363"/>
                  </a:cubicBezTo>
                  <a:cubicBezTo>
                    <a:pt x="381" y="357"/>
                    <a:pt x="381" y="357"/>
                    <a:pt x="381" y="357"/>
                  </a:cubicBezTo>
                  <a:cubicBezTo>
                    <a:pt x="388" y="362"/>
                    <a:pt x="388" y="362"/>
                    <a:pt x="388" y="362"/>
                  </a:cubicBezTo>
                  <a:cubicBezTo>
                    <a:pt x="390" y="357"/>
                    <a:pt x="390" y="357"/>
                    <a:pt x="390" y="357"/>
                  </a:cubicBezTo>
                  <a:cubicBezTo>
                    <a:pt x="390" y="345"/>
                    <a:pt x="390" y="345"/>
                    <a:pt x="390" y="345"/>
                  </a:cubicBezTo>
                  <a:cubicBezTo>
                    <a:pt x="395" y="336"/>
                    <a:pt x="395" y="336"/>
                    <a:pt x="395" y="336"/>
                  </a:cubicBezTo>
                  <a:cubicBezTo>
                    <a:pt x="395" y="329"/>
                    <a:pt x="395" y="329"/>
                    <a:pt x="395" y="329"/>
                  </a:cubicBezTo>
                  <a:cubicBezTo>
                    <a:pt x="399" y="326"/>
                    <a:pt x="399" y="326"/>
                    <a:pt x="399" y="326"/>
                  </a:cubicBezTo>
                  <a:cubicBezTo>
                    <a:pt x="413" y="303"/>
                    <a:pt x="413" y="303"/>
                    <a:pt x="413" y="303"/>
                  </a:cubicBezTo>
                  <a:cubicBezTo>
                    <a:pt x="427" y="298"/>
                    <a:pt x="427" y="298"/>
                    <a:pt x="427" y="298"/>
                  </a:cubicBezTo>
                  <a:cubicBezTo>
                    <a:pt x="427" y="289"/>
                    <a:pt x="427" y="289"/>
                    <a:pt x="427" y="289"/>
                  </a:cubicBezTo>
                  <a:cubicBezTo>
                    <a:pt x="436" y="265"/>
                    <a:pt x="436" y="265"/>
                    <a:pt x="436" y="265"/>
                  </a:cubicBezTo>
                  <a:cubicBezTo>
                    <a:pt x="433" y="263"/>
                    <a:pt x="433" y="263"/>
                    <a:pt x="433" y="263"/>
                  </a:cubicBezTo>
                  <a:cubicBezTo>
                    <a:pt x="436" y="251"/>
                    <a:pt x="436" y="251"/>
                    <a:pt x="436" y="251"/>
                  </a:cubicBezTo>
                  <a:cubicBezTo>
                    <a:pt x="433" y="225"/>
                    <a:pt x="433" y="225"/>
                    <a:pt x="433" y="225"/>
                  </a:cubicBezTo>
                  <a:cubicBezTo>
                    <a:pt x="449" y="188"/>
                    <a:pt x="449" y="188"/>
                    <a:pt x="449" y="188"/>
                  </a:cubicBezTo>
                  <a:cubicBezTo>
                    <a:pt x="445" y="181"/>
                    <a:pt x="445" y="181"/>
                    <a:pt x="445" y="181"/>
                  </a:cubicBezTo>
                  <a:cubicBezTo>
                    <a:pt x="449" y="174"/>
                    <a:pt x="449" y="174"/>
                    <a:pt x="449" y="174"/>
                  </a:cubicBezTo>
                  <a:cubicBezTo>
                    <a:pt x="449" y="164"/>
                    <a:pt x="449" y="164"/>
                    <a:pt x="449" y="164"/>
                  </a:cubicBezTo>
                  <a:cubicBezTo>
                    <a:pt x="463" y="164"/>
                    <a:pt x="463" y="164"/>
                    <a:pt x="463" y="164"/>
                  </a:cubicBezTo>
                  <a:cubicBezTo>
                    <a:pt x="465" y="157"/>
                    <a:pt x="465" y="157"/>
                    <a:pt x="465" y="157"/>
                  </a:cubicBezTo>
                  <a:cubicBezTo>
                    <a:pt x="481" y="148"/>
                    <a:pt x="481" y="148"/>
                    <a:pt x="481" y="148"/>
                  </a:cubicBezTo>
                  <a:cubicBezTo>
                    <a:pt x="488" y="150"/>
                    <a:pt x="488" y="150"/>
                    <a:pt x="488" y="150"/>
                  </a:cubicBezTo>
                  <a:cubicBezTo>
                    <a:pt x="497" y="134"/>
                    <a:pt x="497" y="134"/>
                    <a:pt x="497" y="134"/>
                  </a:cubicBezTo>
                  <a:cubicBezTo>
                    <a:pt x="495" y="131"/>
                    <a:pt x="495" y="131"/>
                    <a:pt x="495" y="131"/>
                  </a:cubicBezTo>
                  <a:cubicBezTo>
                    <a:pt x="481" y="124"/>
                    <a:pt x="481" y="124"/>
                    <a:pt x="481" y="124"/>
                  </a:cubicBezTo>
                  <a:cubicBezTo>
                    <a:pt x="472" y="115"/>
                    <a:pt x="472" y="115"/>
                    <a:pt x="472" y="115"/>
                  </a:cubicBezTo>
                  <a:cubicBezTo>
                    <a:pt x="465" y="110"/>
                    <a:pt x="465" y="110"/>
                    <a:pt x="465" y="110"/>
                  </a:cubicBezTo>
                  <a:cubicBezTo>
                    <a:pt x="463" y="108"/>
                    <a:pt x="463" y="108"/>
                    <a:pt x="463" y="108"/>
                  </a:cubicBezTo>
                  <a:cubicBezTo>
                    <a:pt x="458" y="84"/>
                    <a:pt x="458" y="84"/>
                    <a:pt x="458" y="84"/>
                  </a:cubicBezTo>
                  <a:cubicBezTo>
                    <a:pt x="456" y="63"/>
                    <a:pt x="456" y="63"/>
                    <a:pt x="456" y="63"/>
                  </a:cubicBezTo>
                  <a:cubicBezTo>
                    <a:pt x="456" y="54"/>
                    <a:pt x="456" y="54"/>
                    <a:pt x="456" y="54"/>
                  </a:cubicBezTo>
                  <a:cubicBezTo>
                    <a:pt x="452" y="33"/>
                    <a:pt x="452" y="33"/>
                    <a:pt x="452" y="33"/>
                  </a:cubicBezTo>
                  <a:cubicBezTo>
                    <a:pt x="456" y="37"/>
                    <a:pt x="456" y="37"/>
                    <a:pt x="456" y="37"/>
                  </a:cubicBezTo>
                  <a:cubicBezTo>
                    <a:pt x="458" y="40"/>
                    <a:pt x="458" y="40"/>
                    <a:pt x="458" y="40"/>
                  </a:cubicBezTo>
                  <a:cubicBezTo>
                    <a:pt x="458" y="37"/>
                    <a:pt x="458" y="37"/>
                    <a:pt x="458" y="37"/>
                  </a:cubicBezTo>
                  <a:cubicBezTo>
                    <a:pt x="449" y="21"/>
                    <a:pt x="449" y="21"/>
                    <a:pt x="449" y="21"/>
                  </a:cubicBezTo>
                  <a:cubicBezTo>
                    <a:pt x="445" y="7"/>
                    <a:pt x="445" y="7"/>
                    <a:pt x="445" y="7"/>
                  </a:cubicBezTo>
                  <a:cubicBezTo>
                    <a:pt x="285" y="7"/>
                    <a:pt x="285" y="7"/>
                    <a:pt x="285" y="7"/>
                  </a:cubicBezTo>
                  <a:cubicBezTo>
                    <a:pt x="290" y="4"/>
                    <a:pt x="290" y="4"/>
                    <a:pt x="290" y="4"/>
                  </a:cubicBezTo>
                  <a:cubicBezTo>
                    <a:pt x="285" y="0"/>
                    <a:pt x="285" y="0"/>
                    <a:pt x="285" y="0"/>
                  </a:cubicBezTo>
                  <a:cubicBezTo>
                    <a:pt x="280" y="7"/>
                    <a:pt x="280" y="7"/>
                    <a:pt x="280" y="7"/>
                  </a:cubicBezTo>
                  <a:cubicBezTo>
                    <a:pt x="93" y="7"/>
                    <a:pt x="93" y="7"/>
                    <a:pt x="93" y="7"/>
                  </a:cubicBezTo>
                  <a:cubicBezTo>
                    <a:pt x="93" y="70"/>
                    <a:pt x="93" y="70"/>
                    <a:pt x="93" y="70"/>
                  </a:cubicBezTo>
                  <a:cubicBezTo>
                    <a:pt x="63" y="70"/>
                    <a:pt x="63" y="70"/>
                    <a:pt x="63" y="70"/>
                  </a:cubicBezTo>
                  <a:cubicBezTo>
                    <a:pt x="63" y="87"/>
                    <a:pt x="63" y="87"/>
                    <a:pt x="63" y="87"/>
                  </a:cubicBezTo>
                  <a:cubicBezTo>
                    <a:pt x="63" y="209"/>
                    <a:pt x="63" y="209"/>
                    <a:pt x="63" y="209"/>
                  </a:cubicBezTo>
                  <a:cubicBezTo>
                    <a:pt x="38" y="209"/>
                    <a:pt x="38" y="209"/>
                    <a:pt x="38" y="209"/>
                  </a:cubicBezTo>
                  <a:cubicBezTo>
                    <a:pt x="34" y="211"/>
                    <a:pt x="34" y="211"/>
                    <a:pt x="34" y="211"/>
                  </a:cubicBezTo>
                  <a:cubicBezTo>
                    <a:pt x="34" y="218"/>
                    <a:pt x="34" y="218"/>
                    <a:pt x="34" y="218"/>
                  </a:cubicBezTo>
                  <a:cubicBezTo>
                    <a:pt x="34" y="225"/>
                    <a:pt x="34" y="225"/>
                    <a:pt x="34" y="225"/>
                  </a:cubicBezTo>
                  <a:cubicBezTo>
                    <a:pt x="25" y="235"/>
                    <a:pt x="25" y="235"/>
                    <a:pt x="25" y="235"/>
                  </a:cubicBezTo>
                  <a:cubicBezTo>
                    <a:pt x="25" y="239"/>
                    <a:pt x="25" y="239"/>
                    <a:pt x="25" y="239"/>
                  </a:cubicBezTo>
                  <a:cubicBezTo>
                    <a:pt x="18" y="242"/>
                    <a:pt x="18" y="242"/>
                    <a:pt x="18" y="242"/>
                  </a:cubicBezTo>
                  <a:cubicBezTo>
                    <a:pt x="22" y="256"/>
                    <a:pt x="22" y="256"/>
                    <a:pt x="22" y="256"/>
                  </a:cubicBezTo>
                  <a:cubicBezTo>
                    <a:pt x="11" y="263"/>
                    <a:pt x="11" y="263"/>
                    <a:pt x="11" y="263"/>
                  </a:cubicBezTo>
                  <a:cubicBezTo>
                    <a:pt x="9" y="268"/>
                    <a:pt x="9" y="268"/>
                    <a:pt x="9" y="268"/>
                  </a:cubicBezTo>
                  <a:cubicBezTo>
                    <a:pt x="16" y="279"/>
                    <a:pt x="16" y="279"/>
                    <a:pt x="16" y="279"/>
                  </a:cubicBezTo>
                  <a:cubicBezTo>
                    <a:pt x="6" y="289"/>
                    <a:pt x="6" y="289"/>
                    <a:pt x="6" y="289"/>
                  </a:cubicBezTo>
                  <a:cubicBezTo>
                    <a:pt x="0" y="298"/>
                    <a:pt x="0" y="298"/>
                    <a:pt x="0" y="298"/>
                  </a:cubicBezTo>
                  <a:cubicBezTo>
                    <a:pt x="6" y="303"/>
                    <a:pt x="6" y="303"/>
                    <a:pt x="6" y="303"/>
                  </a:cubicBezTo>
                  <a:cubicBezTo>
                    <a:pt x="9" y="303"/>
                    <a:pt x="9" y="303"/>
                    <a:pt x="9" y="303"/>
                  </a:cubicBezTo>
                  <a:cubicBezTo>
                    <a:pt x="11" y="298"/>
                    <a:pt x="11" y="298"/>
                    <a:pt x="11" y="298"/>
                  </a:cubicBezTo>
                  <a:cubicBezTo>
                    <a:pt x="18" y="303"/>
                    <a:pt x="18" y="303"/>
                    <a:pt x="18" y="303"/>
                  </a:cubicBezTo>
                  <a:cubicBezTo>
                    <a:pt x="18" y="310"/>
                    <a:pt x="18" y="310"/>
                    <a:pt x="18" y="310"/>
                  </a:cubicBezTo>
                  <a:cubicBezTo>
                    <a:pt x="25" y="322"/>
                    <a:pt x="25" y="322"/>
                    <a:pt x="25" y="322"/>
                  </a:cubicBezTo>
                  <a:cubicBezTo>
                    <a:pt x="22" y="336"/>
                    <a:pt x="22" y="336"/>
                    <a:pt x="22" y="336"/>
                  </a:cubicBezTo>
                  <a:cubicBezTo>
                    <a:pt x="29" y="338"/>
                    <a:pt x="29" y="338"/>
                    <a:pt x="29" y="338"/>
                  </a:cubicBezTo>
                  <a:cubicBezTo>
                    <a:pt x="32" y="338"/>
                    <a:pt x="32" y="338"/>
                    <a:pt x="32" y="338"/>
                  </a:cubicBezTo>
                  <a:cubicBezTo>
                    <a:pt x="34" y="345"/>
                    <a:pt x="34" y="345"/>
                    <a:pt x="34" y="345"/>
                  </a:cubicBezTo>
                  <a:cubicBezTo>
                    <a:pt x="32" y="357"/>
                    <a:pt x="32" y="357"/>
                    <a:pt x="32" y="357"/>
                  </a:cubicBezTo>
                  <a:cubicBezTo>
                    <a:pt x="45" y="369"/>
                    <a:pt x="45" y="369"/>
                    <a:pt x="45" y="369"/>
                  </a:cubicBezTo>
                  <a:cubicBezTo>
                    <a:pt x="54" y="390"/>
                    <a:pt x="54" y="390"/>
                    <a:pt x="54" y="390"/>
                  </a:cubicBezTo>
                  <a:cubicBezTo>
                    <a:pt x="54" y="406"/>
                    <a:pt x="54" y="406"/>
                    <a:pt x="54" y="406"/>
                  </a:cubicBezTo>
                  <a:cubicBezTo>
                    <a:pt x="52" y="409"/>
                    <a:pt x="52" y="409"/>
                    <a:pt x="52" y="409"/>
                  </a:cubicBezTo>
                  <a:cubicBezTo>
                    <a:pt x="47" y="413"/>
                    <a:pt x="47" y="413"/>
                    <a:pt x="47" y="413"/>
                  </a:cubicBezTo>
                  <a:cubicBezTo>
                    <a:pt x="52" y="416"/>
                    <a:pt x="52" y="416"/>
                    <a:pt x="52" y="416"/>
                  </a:cubicBezTo>
                  <a:cubicBezTo>
                    <a:pt x="52" y="423"/>
                    <a:pt x="52" y="423"/>
                    <a:pt x="52" y="423"/>
                  </a:cubicBezTo>
                  <a:lnTo>
                    <a:pt x="67" y="42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02" name="Freeform 599">
              <a:extLst>
                <a:ext uri="{FF2B5EF4-FFF2-40B4-BE49-F238E27FC236}">
                  <a16:creationId xmlns:a16="http://schemas.microsoft.com/office/drawing/2014/main" id="{6F4475E7-A57D-49A2-B8D4-A58E9F825234}"/>
                </a:ext>
              </a:extLst>
            </p:cNvPr>
            <p:cNvSpPr>
              <a:spLocks/>
            </p:cNvSpPr>
            <p:nvPr/>
          </p:nvSpPr>
          <p:spPr bwMode="gray">
            <a:xfrm>
              <a:off x="7421547" y="3683402"/>
              <a:ext cx="343333" cy="279967"/>
            </a:xfrm>
            <a:custGeom>
              <a:avLst/>
              <a:gdLst>
                <a:gd name="T0" fmla="*/ 339 w 353"/>
                <a:gd name="T1" fmla="*/ 227 h 288"/>
                <a:gd name="T2" fmla="*/ 332 w 353"/>
                <a:gd name="T3" fmla="*/ 227 h 288"/>
                <a:gd name="T4" fmla="*/ 323 w 353"/>
                <a:gd name="T5" fmla="*/ 210 h 288"/>
                <a:gd name="T6" fmla="*/ 309 w 353"/>
                <a:gd name="T7" fmla="*/ 187 h 288"/>
                <a:gd name="T8" fmla="*/ 300 w 353"/>
                <a:gd name="T9" fmla="*/ 180 h 288"/>
                <a:gd name="T10" fmla="*/ 277 w 353"/>
                <a:gd name="T11" fmla="*/ 156 h 288"/>
                <a:gd name="T12" fmla="*/ 264 w 353"/>
                <a:gd name="T13" fmla="*/ 149 h 288"/>
                <a:gd name="T14" fmla="*/ 270 w 353"/>
                <a:gd name="T15" fmla="*/ 135 h 288"/>
                <a:gd name="T16" fmla="*/ 286 w 353"/>
                <a:gd name="T17" fmla="*/ 135 h 288"/>
                <a:gd name="T18" fmla="*/ 298 w 353"/>
                <a:gd name="T19" fmla="*/ 102 h 288"/>
                <a:gd name="T20" fmla="*/ 305 w 353"/>
                <a:gd name="T21" fmla="*/ 69 h 288"/>
                <a:gd name="T22" fmla="*/ 305 w 353"/>
                <a:gd name="T23" fmla="*/ 67 h 288"/>
                <a:gd name="T24" fmla="*/ 285 w 353"/>
                <a:gd name="T25" fmla="*/ 63 h 288"/>
                <a:gd name="T26" fmla="*/ 270 w 353"/>
                <a:gd name="T27" fmla="*/ 0 h 288"/>
                <a:gd name="T28" fmla="*/ 254 w 353"/>
                <a:gd name="T29" fmla="*/ 17 h 288"/>
                <a:gd name="T30" fmla="*/ 258 w 353"/>
                <a:gd name="T31" fmla="*/ 45 h 288"/>
                <a:gd name="T32" fmla="*/ 214 w 353"/>
                <a:gd name="T33" fmla="*/ 87 h 288"/>
                <a:gd name="T34" fmla="*/ 171 w 353"/>
                <a:gd name="T35" fmla="*/ 73 h 288"/>
                <a:gd name="T36" fmla="*/ 155 w 353"/>
                <a:gd name="T37" fmla="*/ 87 h 288"/>
                <a:gd name="T38" fmla="*/ 119 w 353"/>
                <a:gd name="T39" fmla="*/ 98 h 288"/>
                <a:gd name="T40" fmla="*/ 68 w 353"/>
                <a:gd name="T41" fmla="*/ 94 h 288"/>
                <a:gd name="T42" fmla="*/ 28 w 353"/>
                <a:gd name="T43" fmla="*/ 70 h 288"/>
                <a:gd name="T44" fmla="*/ 0 w 353"/>
                <a:gd name="T45" fmla="*/ 126 h 288"/>
                <a:gd name="T46" fmla="*/ 8 w 353"/>
                <a:gd name="T47" fmla="*/ 130 h 288"/>
                <a:gd name="T48" fmla="*/ 3 w 353"/>
                <a:gd name="T49" fmla="*/ 140 h 288"/>
                <a:gd name="T50" fmla="*/ 31 w 353"/>
                <a:gd name="T51" fmla="*/ 154 h 288"/>
                <a:gd name="T52" fmla="*/ 35 w 353"/>
                <a:gd name="T53" fmla="*/ 159 h 288"/>
                <a:gd name="T54" fmla="*/ 56 w 353"/>
                <a:gd name="T55" fmla="*/ 180 h 288"/>
                <a:gd name="T56" fmla="*/ 70 w 353"/>
                <a:gd name="T57" fmla="*/ 189 h 288"/>
                <a:gd name="T58" fmla="*/ 72 w 353"/>
                <a:gd name="T59" fmla="*/ 203 h 288"/>
                <a:gd name="T60" fmla="*/ 81 w 353"/>
                <a:gd name="T61" fmla="*/ 210 h 288"/>
                <a:gd name="T62" fmla="*/ 95 w 353"/>
                <a:gd name="T63" fmla="*/ 224 h 288"/>
                <a:gd name="T64" fmla="*/ 102 w 353"/>
                <a:gd name="T65" fmla="*/ 241 h 288"/>
                <a:gd name="T66" fmla="*/ 111 w 353"/>
                <a:gd name="T67" fmla="*/ 253 h 288"/>
                <a:gd name="T68" fmla="*/ 140 w 353"/>
                <a:gd name="T69" fmla="*/ 253 h 288"/>
                <a:gd name="T70" fmla="*/ 161 w 353"/>
                <a:gd name="T71" fmla="*/ 250 h 288"/>
                <a:gd name="T72" fmla="*/ 170 w 353"/>
                <a:gd name="T73" fmla="*/ 253 h 288"/>
                <a:gd name="T74" fmla="*/ 179 w 353"/>
                <a:gd name="T75" fmla="*/ 267 h 288"/>
                <a:gd name="T76" fmla="*/ 193 w 353"/>
                <a:gd name="T77" fmla="*/ 274 h 288"/>
                <a:gd name="T78" fmla="*/ 200 w 353"/>
                <a:gd name="T79" fmla="*/ 281 h 288"/>
                <a:gd name="T80" fmla="*/ 207 w 353"/>
                <a:gd name="T81" fmla="*/ 281 h 288"/>
                <a:gd name="T82" fmla="*/ 223 w 353"/>
                <a:gd name="T83" fmla="*/ 281 h 288"/>
                <a:gd name="T84" fmla="*/ 232 w 353"/>
                <a:gd name="T85" fmla="*/ 283 h 288"/>
                <a:gd name="T86" fmla="*/ 241 w 353"/>
                <a:gd name="T87" fmla="*/ 283 h 288"/>
                <a:gd name="T88" fmla="*/ 254 w 353"/>
                <a:gd name="T89" fmla="*/ 276 h 288"/>
                <a:gd name="T90" fmla="*/ 270 w 353"/>
                <a:gd name="T91" fmla="*/ 276 h 288"/>
                <a:gd name="T92" fmla="*/ 293 w 353"/>
                <a:gd name="T93" fmla="*/ 264 h 288"/>
                <a:gd name="T94" fmla="*/ 353 w 353"/>
                <a:gd name="T95" fmla="*/ 253 h 288"/>
                <a:gd name="T96" fmla="*/ 350 w 353"/>
                <a:gd name="T97" fmla="*/ 22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3" h="288">
                  <a:moveTo>
                    <a:pt x="350" y="229"/>
                  </a:moveTo>
                  <a:cubicBezTo>
                    <a:pt x="339" y="227"/>
                    <a:pt x="339" y="227"/>
                    <a:pt x="339" y="227"/>
                  </a:cubicBezTo>
                  <a:cubicBezTo>
                    <a:pt x="332" y="229"/>
                    <a:pt x="332" y="229"/>
                    <a:pt x="332" y="229"/>
                  </a:cubicBezTo>
                  <a:cubicBezTo>
                    <a:pt x="332" y="227"/>
                    <a:pt x="332" y="227"/>
                    <a:pt x="332" y="227"/>
                  </a:cubicBezTo>
                  <a:cubicBezTo>
                    <a:pt x="328" y="220"/>
                    <a:pt x="328" y="220"/>
                    <a:pt x="328" y="220"/>
                  </a:cubicBezTo>
                  <a:cubicBezTo>
                    <a:pt x="323" y="210"/>
                    <a:pt x="323" y="210"/>
                    <a:pt x="323" y="210"/>
                  </a:cubicBezTo>
                  <a:cubicBezTo>
                    <a:pt x="316" y="189"/>
                    <a:pt x="316" y="189"/>
                    <a:pt x="316" y="189"/>
                  </a:cubicBezTo>
                  <a:cubicBezTo>
                    <a:pt x="309" y="187"/>
                    <a:pt x="309" y="187"/>
                    <a:pt x="309" y="187"/>
                  </a:cubicBezTo>
                  <a:cubicBezTo>
                    <a:pt x="307" y="182"/>
                    <a:pt x="307" y="182"/>
                    <a:pt x="307" y="182"/>
                  </a:cubicBezTo>
                  <a:cubicBezTo>
                    <a:pt x="300" y="180"/>
                    <a:pt x="300" y="180"/>
                    <a:pt x="300" y="180"/>
                  </a:cubicBezTo>
                  <a:cubicBezTo>
                    <a:pt x="291" y="163"/>
                    <a:pt x="291" y="163"/>
                    <a:pt x="291" y="163"/>
                  </a:cubicBezTo>
                  <a:cubicBezTo>
                    <a:pt x="277" y="156"/>
                    <a:pt x="277" y="156"/>
                    <a:pt x="277" y="156"/>
                  </a:cubicBezTo>
                  <a:cubicBezTo>
                    <a:pt x="264" y="156"/>
                    <a:pt x="264" y="156"/>
                    <a:pt x="264" y="156"/>
                  </a:cubicBezTo>
                  <a:cubicBezTo>
                    <a:pt x="264" y="149"/>
                    <a:pt x="264" y="149"/>
                    <a:pt x="264" y="149"/>
                  </a:cubicBezTo>
                  <a:cubicBezTo>
                    <a:pt x="270" y="142"/>
                    <a:pt x="270" y="142"/>
                    <a:pt x="270" y="142"/>
                  </a:cubicBezTo>
                  <a:cubicBezTo>
                    <a:pt x="270" y="135"/>
                    <a:pt x="270" y="135"/>
                    <a:pt x="270" y="135"/>
                  </a:cubicBezTo>
                  <a:cubicBezTo>
                    <a:pt x="284" y="133"/>
                    <a:pt x="284" y="133"/>
                    <a:pt x="284" y="133"/>
                  </a:cubicBezTo>
                  <a:cubicBezTo>
                    <a:pt x="286" y="135"/>
                    <a:pt x="286" y="135"/>
                    <a:pt x="286" y="135"/>
                  </a:cubicBezTo>
                  <a:cubicBezTo>
                    <a:pt x="298" y="130"/>
                    <a:pt x="298" y="130"/>
                    <a:pt x="298" y="130"/>
                  </a:cubicBezTo>
                  <a:cubicBezTo>
                    <a:pt x="298" y="102"/>
                    <a:pt x="298" y="102"/>
                    <a:pt x="298" y="102"/>
                  </a:cubicBezTo>
                  <a:cubicBezTo>
                    <a:pt x="305" y="79"/>
                    <a:pt x="305" y="79"/>
                    <a:pt x="305" y="79"/>
                  </a:cubicBezTo>
                  <a:cubicBezTo>
                    <a:pt x="305" y="69"/>
                    <a:pt x="305" y="69"/>
                    <a:pt x="305" y="69"/>
                  </a:cubicBezTo>
                  <a:cubicBezTo>
                    <a:pt x="308" y="66"/>
                    <a:pt x="308" y="66"/>
                    <a:pt x="308" y="66"/>
                  </a:cubicBezTo>
                  <a:cubicBezTo>
                    <a:pt x="305" y="67"/>
                    <a:pt x="305" y="67"/>
                    <a:pt x="305" y="67"/>
                  </a:cubicBezTo>
                  <a:cubicBezTo>
                    <a:pt x="305" y="66"/>
                    <a:pt x="305" y="66"/>
                    <a:pt x="305" y="66"/>
                  </a:cubicBezTo>
                  <a:cubicBezTo>
                    <a:pt x="285" y="63"/>
                    <a:pt x="285" y="63"/>
                    <a:pt x="285" y="63"/>
                  </a:cubicBezTo>
                  <a:cubicBezTo>
                    <a:pt x="285" y="0"/>
                    <a:pt x="285" y="0"/>
                    <a:pt x="285" y="0"/>
                  </a:cubicBezTo>
                  <a:cubicBezTo>
                    <a:pt x="270" y="0"/>
                    <a:pt x="270" y="0"/>
                    <a:pt x="270" y="0"/>
                  </a:cubicBezTo>
                  <a:cubicBezTo>
                    <a:pt x="270" y="14"/>
                    <a:pt x="270" y="14"/>
                    <a:pt x="270" y="14"/>
                  </a:cubicBezTo>
                  <a:cubicBezTo>
                    <a:pt x="254" y="17"/>
                    <a:pt x="254" y="17"/>
                    <a:pt x="254" y="17"/>
                  </a:cubicBezTo>
                  <a:cubicBezTo>
                    <a:pt x="258" y="17"/>
                    <a:pt x="258" y="17"/>
                    <a:pt x="258" y="17"/>
                  </a:cubicBezTo>
                  <a:cubicBezTo>
                    <a:pt x="258" y="45"/>
                    <a:pt x="258" y="45"/>
                    <a:pt x="258" y="45"/>
                  </a:cubicBezTo>
                  <a:cubicBezTo>
                    <a:pt x="222" y="87"/>
                    <a:pt x="222" y="87"/>
                    <a:pt x="222" y="87"/>
                  </a:cubicBezTo>
                  <a:cubicBezTo>
                    <a:pt x="214" y="87"/>
                    <a:pt x="214" y="87"/>
                    <a:pt x="214" y="87"/>
                  </a:cubicBezTo>
                  <a:cubicBezTo>
                    <a:pt x="190" y="66"/>
                    <a:pt x="190" y="66"/>
                    <a:pt x="190" y="66"/>
                  </a:cubicBezTo>
                  <a:cubicBezTo>
                    <a:pt x="171" y="73"/>
                    <a:pt x="171" y="73"/>
                    <a:pt x="171" y="73"/>
                  </a:cubicBezTo>
                  <a:cubicBezTo>
                    <a:pt x="171" y="87"/>
                    <a:pt x="171" y="87"/>
                    <a:pt x="171" y="87"/>
                  </a:cubicBezTo>
                  <a:cubicBezTo>
                    <a:pt x="155" y="87"/>
                    <a:pt x="155" y="87"/>
                    <a:pt x="155" y="87"/>
                  </a:cubicBezTo>
                  <a:cubicBezTo>
                    <a:pt x="143" y="98"/>
                    <a:pt x="143" y="98"/>
                    <a:pt x="143" y="98"/>
                  </a:cubicBezTo>
                  <a:cubicBezTo>
                    <a:pt x="119" y="98"/>
                    <a:pt x="119" y="98"/>
                    <a:pt x="119" y="98"/>
                  </a:cubicBezTo>
                  <a:cubicBezTo>
                    <a:pt x="119" y="87"/>
                    <a:pt x="119" y="87"/>
                    <a:pt x="119" y="87"/>
                  </a:cubicBezTo>
                  <a:cubicBezTo>
                    <a:pt x="68" y="94"/>
                    <a:pt x="68" y="94"/>
                    <a:pt x="68" y="94"/>
                  </a:cubicBezTo>
                  <a:cubicBezTo>
                    <a:pt x="52" y="73"/>
                    <a:pt x="52" y="73"/>
                    <a:pt x="52" y="73"/>
                  </a:cubicBezTo>
                  <a:cubicBezTo>
                    <a:pt x="28" y="70"/>
                    <a:pt x="28" y="70"/>
                    <a:pt x="28" y="70"/>
                  </a:cubicBezTo>
                  <a:cubicBezTo>
                    <a:pt x="0" y="126"/>
                    <a:pt x="0" y="126"/>
                    <a:pt x="0" y="126"/>
                  </a:cubicBezTo>
                  <a:cubicBezTo>
                    <a:pt x="0" y="126"/>
                    <a:pt x="0" y="126"/>
                    <a:pt x="0" y="126"/>
                  </a:cubicBezTo>
                  <a:cubicBezTo>
                    <a:pt x="3" y="126"/>
                    <a:pt x="3" y="126"/>
                    <a:pt x="3" y="126"/>
                  </a:cubicBezTo>
                  <a:cubicBezTo>
                    <a:pt x="8" y="130"/>
                    <a:pt x="8" y="130"/>
                    <a:pt x="8" y="130"/>
                  </a:cubicBezTo>
                  <a:cubicBezTo>
                    <a:pt x="3" y="133"/>
                    <a:pt x="3" y="133"/>
                    <a:pt x="3" y="133"/>
                  </a:cubicBezTo>
                  <a:cubicBezTo>
                    <a:pt x="3" y="140"/>
                    <a:pt x="3" y="140"/>
                    <a:pt x="3" y="140"/>
                  </a:cubicBezTo>
                  <a:cubicBezTo>
                    <a:pt x="19" y="142"/>
                    <a:pt x="19" y="142"/>
                    <a:pt x="19" y="142"/>
                  </a:cubicBezTo>
                  <a:cubicBezTo>
                    <a:pt x="31" y="154"/>
                    <a:pt x="31" y="154"/>
                    <a:pt x="31" y="154"/>
                  </a:cubicBezTo>
                  <a:cubicBezTo>
                    <a:pt x="35" y="154"/>
                    <a:pt x="35" y="154"/>
                    <a:pt x="35" y="154"/>
                  </a:cubicBezTo>
                  <a:cubicBezTo>
                    <a:pt x="35" y="159"/>
                    <a:pt x="35" y="159"/>
                    <a:pt x="35" y="159"/>
                  </a:cubicBezTo>
                  <a:cubicBezTo>
                    <a:pt x="33" y="163"/>
                    <a:pt x="33" y="163"/>
                    <a:pt x="33" y="163"/>
                  </a:cubicBezTo>
                  <a:cubicBezTo>
                    <a:pt x="56" y="180"/>
                    <a:pt x="56" y="180"/>
                    <a:pt x="56" y="180"/>
                  </a:cubicBezTo>
                  <a:cubicBezTo>
                    <a:pt x="58" y="182"/>
                    <a:pt x="58" y="182"/>
                    <a:pt x="58" y="182"/>
                  </a:cubicBezTo>
                  <a:cubicBezTo>
                    <a:pt x="70" y="189"/>
                    <a:pt x="70" y="189"/>
                    <a:pt x="70" y="189"/>
                  </a:cubicBezTo>
                  <a:cubicBezTo>
                    <a:pt x="65" y="196"/>
                    <a:pt x="65" y="196"/>
                    <a:pt x="65" y="196"/>
                  </a:cubicBezTo>
                  <a:cubicBezTo>
                    <a:pt x="72" y="203"/>
                    <a:pt x="72" y="203"/>
                    <a:pt x="72" y="203"/>
                  </a:cubicBezTo>
                  <a:cubicBezTo>
                    <a:pt x="70" y="206"/>
                    <a:pt x="70" y="206"/>
                    <a:pt x="70" y="206"/>
                  </a:cubicBezTo>
                  <a:cubicBezTo>
                    <a:pt x="81" y="210"/>
                    <a:pt x="81" y="210"/>
                    <a:pt x="81" y="210"/>
                  </a:cubicBezTo>
                  <a:cubicBezTo>
                    <a:pt x="92" y="217"/>
                    <a:pt x="92" y="217"/>
                    <a:pt x="92" y="217"/>
                  </a:cubicBezTo>
                  <a:cubicBezTo>
                    <a:pt x="95" y="224"/>
                    <a:pt x="95" y="224"/>
                    <a:pt x="95" y="224"/>
                  </a:cubicBezTo>
                  <a:cubicBezTo>
                    <a:pt x="95" y="229"/>
                    <a:pt x="95" y="229"/>
                    <a:pt x="95" y="229"/>
                  </a:cubicBezTo>
                  <a:cubicBezTo>
                    <a:pt x="102" y="241"/>
                    <a:pt x="102" y="241"/>
                    <a:pt x="102" y="241"/>
                  </a:cubicBezTo>
                  <a:cubicBezTo>
                    <a:pt x="108" y="248"/>
                    <a:pt x="108" y="248"/>
                    <a:pt x="108" y="248"/>
                  </a:cubicBezTo>
                  <a:cubicBezTo>
                    <a:pt x="111" y="253"/>
                    <a:pt x="111" y="253"/>
                    <a:pt x="111" y="253"/>
                  </a:cubicBezTo>
                  <a:cubicBezTo>
                    <a:pt x="127" y="264"/>
                    <a:pt x="127" y="264"/>
                    <a:pt x="127" y="264"/>
                  </a:cubicBezTo>
                  <a:cubicBezTo>
                    <a:pt x="140" y="253"/>
                    <a:pt x="140" y="253"/>
                    <a:pt x="140" y="253"/>
                  </a:cubicBezTo>
                  <a:cubicBezTo>
                    <a:pt x="154" y="260"/>
                    <a:pt x="154" y="260"/>
                    <a:pt x="154" y="260"/>
                  </a:cubicBezTo>
                  <a:cubicBezTo>
                    <a:pt x="161" y="250"/>
                    <a:pt x="161" y="250"/>
                    <a:pt x="161" y="250"/>
                  </a:cubicBezTo>
                  <a:cubicBezTo>
                    <a:pt x="163" y="250"/>
                    <a:pt x="163" y="250"/>
                    <a:pt x="163" y="250"/>
                  </a:cubicBezTo>
                  <a:cubicBezTo>
                    <a:pt x="170" y="253"/>
                    <a:pt x="170" y="253"/>
                    <a:pt x="170" y="253"/>
                  </a:cubicBezTo>
                  <a:cubicBezTo>
                    <a:pt x="170" y="260"/>
                    <a:pt x="170" y="260"/>
                    <a:pt x="170" y="260"/>
                  </a:cubicBezTo>
                  <a:cubicBezTo>
                    <a:pt x="179" y="267"/>
                    <a:pt x="179" y="267"/>
                    <a:pt x="179" y="267"/>
                  </a:cubicBezTo>
                  <a:cubicBezTo>
                    <a:pt x="184" y="274"/>
                    <a:pt x="184" y="274"/>
                    <a:pt x="184" y="274"/>
                  </a:cubicBezTo>
                  <a:cubicBezTo>
                    <a:pt x="193" y="274"/>
                    <a:pt x="193" y="274"/>
                    <a:pt x="193" y="274"/>
                  </a:cubicBezTo>
                  <a:cubicBezTo>
                    <a:pt x="193" y="283"/>
                    <a:pt x="193" y="283"/>
                    <a:pt x="193" y="283"/>
                  </a:cubicBezTo>
                  <a:cubicBezTo>
                    <a:pt x="200" y="281"/>
                    <a:pt x="200" y="281"/>
                    <a:pt x="200" y="281"/>
                  </a:cubicBezTo>
                  <a:cubicBezTo>
                    <a:pt x="202" y="288"/>
                    <a:pt x="202" y="288"/>
                    <a:pt x="202" y="288"/>
                  </a:cubicBezTo>
                  <a:cubicBezTo>
                    <a:pt x="207" y="281"/>
                    <a:pt x="207" y="281"/>
                    <a:pt x="207" y="281"/>
                  </a:cubicBezTo>
                  <a:cubicBezTo>
                    <a:pt x="209" y="276"/>
                    <a:pt x="209" y="276"/>
                    <a:pt x="209" y="276"/>
                  </a:cubicBezTo>
                  <a:cubicBezTo>
                    <a:pt x="223" y="281"/>
                    <a:pt x="223" y="281"/>
                    <a:pt x="223" y="281"/>
                  </a:cubicBezTo>
                  <a:cubicBezTo>
                    <a:pt x="229" y="276"/>
                    <a:pt x="229" y="276"/>
                    <a:pt x="229" y="276"/>
                  </a:cubicBezTo>
                  <a:cubicBezTo>
                    <a:pt x="232" y="283"/>
                    <a:pt x="232" y="283"/>
                    <a:pt x="232" y="283"/>
                  </a:cubicBezTo>
                  <a:cubicBezTo>
                    <a:pt x="241" y="288"/>
                    <a:pt x="241" y="288"/>
                    <a:pt x="241" y="288"/>
                  </a:cubicBezTo>
                  <a:cubicBezTo>
                    <a:pt x="241" y="283"/>
                    <a:pt x="241" y="283"/>
                    <a:pt x="241" y="283"/>
                  </a:cubicBezTo>
                  <a:cubicBezTo>
                    <a:pt x="248" y="281"/>
                    <a:pt x="248" y="281"/>
                    <a:pt x="248" y="281"/>
                  </a:cubicBezTo>
                  <a:cubicBezTo>
                    <a:pt x="254" y="276"/>
                    <a:pt x="254" y="276"/>
                    <a:pt x="254" y="276"/>
                  </a:cubicBezTo>
                  <a:cubicBezTo>
                    <a:pt x="264" y="274"/>
                    <a:pt x="264" y="274"/>
                    <a:pt x="264" y="274"/>
                  </a:cubicBezTo>
                  <a:cubicBezTo>
                    <a:pt x="270" y="276"/>
                    <a:pt x="270" y="276"/>
                    <a:pt x="270" y="276"/>
                  </a:cubicBezTo>
                  <a:cubicBezTo>
                    <a:pt x="282" y="276"/>
                    <a:pt x="282" y="276"/>
                    <a:pt x="282" y="276"/>
                  </a:cubicBezTo>
                  <a:cubicBezTo>
                    <a:pt x="293" y="264"/>
                    <a:pt x="293" y="264"/>
                    <a:pt x="293" y="264"/>
                  </a:cubicBezTo>
                  <a:cubicBezTo>
                    <a:pt x="307" y="253"/>
                    <a:pt x="307" y="253"/>
                    <a:pt x="307" y="253"/>
                  </a:cubicBezTo>
                  <a:cubicBezTo>
                    <a:pt x="353" y="253"/>
                    <a:pt x="353" y="253"/>
                    <a:pt x="353" y="253"/>
                  </a:cubicBezTo>
                  <a:cubicBezTo>
                    <a:pt x="346" y="248"/>
                    <a:pt x="346" y="248"/>
                    <a:pt x="346" y="248"/>
                  </a:cubicBezTo>
                  <a:lnTo>
                    <a:pt x="350" y="22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 name="Titel 3">
            <a:extLst>
              <a:ext uri="{FF2B5EF4-FFF2-40B4-BE49-F238E27FC236}">
                <a16:creationId xmlns:a16="http://schemas.microsoft.com/office/drawing/2014/main" id="{60EC8D8A-C876-4EC5-A94B-31EA320D0A60}"/>
              </a:ext>
            </a:extLst>
          </p:cNvPr>
          <p:cNvSpPr>
            <a:spLocks noGrp="1"/>
          </p:cNvSpPr>
          <p:nvPr>
            <p:ph type="title"/>
          </p:nvPr>
        </p:nvSpPr>
        <p:spPr bwMode="gray"/>
        <p:txBody>
          <a:bodyPr/>
          <a:lstStyle/>
          <a:p>
            <a:br>
              <a:rPr lang="en-US" dirty="0"/>
            </a:br>
            <a:r>
              <a:rPr lang="en-US" dirty="0"/>
              <a:t>Sales &amp; Service</a:t>
            </a:r>
            <a:br>
              <a:rPr lang="en-US" dirty="0"/>
            </a:br>
            <a:r>
              <a:rPr lang="en-US" dirty="0"/>
              <a:t>One Dräger</a:t>
            </a:r>
          </a:p>
        </p:txBody>
      </p:sp>
      <p:grpSp>
        <p:nvGrpSpPr>
          <p:cNvPr id="8014" name="Gruppieren 8013">
            <a:extLst>
              <a:ext uri="{FF2B5EF4-FFF2-40B4-BE49-F238E27FC236}">
                <a16:creationId xmlns:a16="http://schemas.microsoft.com/office/drawing/2014/main" id="{9D29D655-BB2E-4421-AA84-5CABB8D83B18}"/>
              </a:ext>
            </a:extLst>
          </p:cNvPr>
          <p:cNvGrpSpPr/>
          <p:nvPr/>
        </p:nvGrpSpPr>
        <p:grpSpPr bwMode="gray">
          <a:xfrm>
            <a:off x="4608499" y="2724455"/>
            <a:ext cx="1940377" cy="540000"/>
            <a:chOff x="3339273" y="1554745"/>
            <a:chExt cx="1940377" cy="540000"/>
          </a:xfrm>
        </p:grpSpPr>
        <p:sp>
          <p:nvSpPr>
            <p:cNvPr id="8016" name="Textplatzhalter 3">
              <a:extLst>
                <a:ext uri="{FF2B5EF4-FFF2-40B4-BE49-F238E27FC236}">
                  <a16:creationId xmlns:a16="http://schemas.microsoft.com/office/drawing/2014/main" id="{831F6F2E-9F9F-4B1F-8CA8-8EA7B01A05DB}"/>
                </a:ext>
              </a:extLst>
            </p:cNvPr>
            <p:cNvSpPr txBox="1">
              <a:spLocks/>
            </p:cNvSpPr>
            <p:nvPr/>
          </p:nvSpPr>
          <p:spPr bwMode="gray">
            <a:xfrm>
              <a:off x="3339273" y="1554745"/>
              <a:ext cx="1540935" cy="540000"/>
            </a:xfrm>
            <a:prstGeom prst="rect">
              <a:avLst/>
            </a:prstGeom>
            <a:effectLst>
              <a:outerShdw blurRad="63500" sx="102000" sy="102000" algn="ctr" rotWithShape="0">
                <a:schemeClr val="bg1"/>
              </a:outerShdw>
            </a:effectLst>
          </p:spPr>
          <p:txBody>
            <a:bodyPr wrap="non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lvl="1" algn="r">
                <a:lnSpc>
                  <a:spcPct val="80000"/>
                </a:lnSpc>
              </a:pPr>
              <a:r>
                <a:rPr lang="en-US" sz="3000" dirty="0">
                  <a:solidFill>
                    <a:schemeClr val="accent5"/>
                  </a:solidFill>
                  <a:effectLst>
                    <a:outerShdw blurRad="76200" sx="103000" sy="103000" algn="ctr" rotWithShape="0">
                      <a:schemeClr val="bg1"/>
                    </a:outerShdw>
                  </a:effectLst>
                </a:rPr>
                <a:t>GAS</a:t>
              </a:r>
              <a:br>
                <a:rPr lang="en-US" sz="3000" dirty="0">
                  <a:solidFill>
                    <a:schemeClr val="accent5"/>
                  </a:solidFill>
                  <a:effectLst>
                    <a:outerShdw blurRad="76200" sx="103000" sy="103000" algn="ctr" rotWithShape="0">
                      <a:schemeClr val="bg1"/>
                    </a:outerShdw>
                  </a:effectLst>
                </a:rPr>
              </a:br>
              <a:r>
                <a:rPr lang="en-US" sz="1800" dirty="0">
                  <a:solidFill>
                    <a:srgbClr val="1E1E1E"/>
                  </a:solidFill>
                  <a:effectLst>
                    <a:outerShdw blurRad="76200" sx="103000" sy="103000" algn="ctr" rotWithShape="0">
                      <a:schemeClr val="bg1"/>
                    </a:outerShdw>
                  </a:effectLst>
                  <a:latin typeface="DraegerSanLig"/>
                </a:rPr>
                <a:t>Germany, Switzerland</a:t>
              </a:r>
              <a:br>
                <a:rPr lang="en-US" sz="1800" dirty="0">
                  <a:solidFill>
                    <a:srgbClr val="1E1E1E"/>
                  </a:solidFill>
                  <a:effectLst>
                    <a:outerShdw blurRad="76200" sx="103000" sy="103000" algn="ctr" rotWithShape="0">
                      <a:schemeClr val="bg1"/>
                    </a:outerShdw>
                  </a:effectLst>
                  <a:latin typeface="DraegerSanLig"/>
                </a:rPr>
              </a:br>
              <a:r>
                <a:rPr lang="en-US" sz="1800" dirty="0">
                  <a:solidFill>
                    <a:srgbClr val="1E1E1E"/>
                  </a:solidFill>
                  <a:effectLst>
                    <a:outerShdw blurRad="76200" sx="103000" sy="103000" algn="ctr" rotWithShape="0">
                      <a:schemeClr val="bg1"/>
                    </a:outerShdw>
                  </a:effectLst>
                  <a:latin typeface="DraegerSanLig"/>
                </a:rPr>
                <a:t>&amp; Austria</a:t>
              </a:r>
            </a:p>
          </p:txBody>
        </p:sp>
        <p:cxnSp>
          <p:nvCxnSpPr>
            <p:cNvPr id="8017" name="Gerader Verbinder 8016">
              <a:extLst>
                <a:ext uri="{FF2B5EF4-FFF2-40B4-BE49-F238E27FC236}">
                  <a16:creationId xmlns:a16="http://schemas.microsoft.com/office/drawing/2014/main" id="{D00CE1AE-BC76-46CD-B931-3D8C8814EAA1}"/>
                </a:ext>
              </a:extLst>
            </p:cNvPr>
            <p:cNvCxnSpPr/>
            <p:nvPr/>
          </p:nvCxnSpPr>
          <p:spPr bwMode="gray">
            <a:xfrm>
              <a:off x="4848048" y="1556792"/>
              <a:ext cx="4316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23" name="Gruppieren 22">
            <a:extLst>
              <a:ext uri="{FF2B5EF4-FFF2-40B4-BE49-F238E27FC236}">
                <a16:creationId xmlns:a16="http://schemas.microsoft.com/office/drawing/2014/main" id="{2C3F4E5A-0887-48C5-8C09-79BE5AD75383}"/>
              </a:ext>
            </a:extLst>
          </p:cNvPr>
          <p:cNvGrpSpPr/>
          <p:nvPr/>
        </p:nvGrpSpPr>
        <p:grpSpPr bwMode="gray">
          <a:xfrm>
            <a:off x="9538641" y="1106891"/>
            <a:ext cx="1915847" cy="540000"/>
            <a:chOff x="10013199" y="2092149"/>
            <a:chExt cx="1915847" cy="540000"/>
          </a:xfrm>
        </p:grpSpPr>
        <p:cxnSp>
          <p:nvCxnSpPr>
            <p:cNvPr id="8013" name="Gerader Verbinder 8012">
              <a:extLst>
                <a:ext uri="{FF2B5EF4-FFF2-40B4-BE49-F238E27FC236}">
                  <a16:creationId xmlns:a16="http://schemas.microsoft.com/office/drawing/2014/main" id="{29DAD1A9-9BFE-46F0-8CE5-D22D62B41C6C}"/>
                </a:ext>
              </a:extLst>
            </p:cNvPr>
            <p:cNvCxnSpPr/>
            <p:nvPr/>
          </p:nvCxnSpPr>
          <p:spPr bwMode="gray">
            <a:xfrm>
              <a:off x="10013199" y="2312816"/>
              <a:ext cx="4316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8018" name="Textplatzhalter 3">
              <a:extLst>
                <a:ext uri="{FF2B5EF4-FFF2-40B4-BE49-F238E27FC236}">
                  <a16:creationId xmlns:a16="http://schemas.microsoft.com/office/drawing/2014/main" id="{668AE69C-C240-4B6F-93BE-0479D3F82310}"/>
                </a:ext>
              </a:extLst>
            </p:cNvPr>
            <p:cNvSpPr txBox="1">
              <a:spLocks/>
            </p:cNvSpPr>
            <p:nvPr/>
          </p:nvSpPr>
          <p:spPr bwMode="gray">
            <a:xfrm>
              <a:off x="10388111" y="2092149"/>
              <a:ext cx="1540935" cy="540000"/>
            </a:xfrm>
            <a:prstGeom prst="rect">
              <a:avLst/>
            </a:prstGeom>
          </p:spPr>
          <p:txBody>
            <a:bodyPr wrap="non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lvl="1" algn="l">
                <a:lnSpc>
                  <a:spcPct val="80000"/>
                </a:lnSpc>
              </a:pPr>
              <a:r>
                <a:rPr lang="en-US" sz="3000" dirty="0">
                  <a:solidFill>
                    <a:schemeClr val="accent5"/>
                  </a:solidFill>
                </a:rPr>
                <a:t>EU</a:t>
              </a:r>
              <a:br>
                <a:rPr lang="en-US" sz="3000" dirty="0">
                  <a:solidFill>
                    <a:schemeClr val="accent5"/>
                  </a:solidFill>
                </a:rPr>
              </a:br>
              <a:r>
                <a:rPr lang="en-US" sz="1800" dirty="0">
                  <a:solidFill>
                    <a:srgbClr val="1E1E1E"/>
                  </a:solidFill>
                  <a:latin typeface="DraegerSanLig"/>
                </a:rPr>
                <a:t>Europe</a:t>
              </a:r>
            </a:p>
          </p:txBody>
        </p:sp>
      </p:grpSp>
      <p:grpSp>
        <p:nvGrpSpPr>
          <p:cNvPr id="8020" name="Gruppieren 8019">
            <a:extLst>
              <a:ext uri="{FF2B5EF4-FFF2-40B4-BE49-F238E27FC236}">
                <a16:creationId xmlns:a16="http://schemas.microsoft.com/office/drawing/2014/main" id="{F1762C72-8624-4494-809D-AC15AADA6C48}"/>
              </a:ext>
            </a:extLst>
          </p:cNvPr>
          <p:cNvGrpSpPr/>
          <p:nvPr/>
        </p:nvGrpSpPr>
        <p:grpSpPr bwMode="gray">
          <a:xfrm>
            <a:off x="9991863" y="3525834"/>
            <a:ext cx="1925371" cy="540000"/>
            <a:chOff x="10013199" y="2308173"/>
            <a:chExt cx="1925371" cy="540000"/>
          </a:xfrm>
        </p:grpSpPr>
        <p:cxnSp>
          <p:nvCxnSpPr>
            <p:cNvPr id="8021" name="Gerader Verbinder 8020">
              <a:extLst>
                <a:ext uri="{FF2B5EF4-FFF2-40B4-BE49-F238E27FC236}">
                  <a16:creationId xmlns:a16="http://schemas.microsoft.com/office/drawing/2014/main" id="{A7B2E87E-4C8D-46B4-A828-3BD415FBDA01}"/>
                </a:ext>
              </a:extLst>
            </p:cNvPr>
            <p:cNvCxnSpPr/>
            <p:nvPr/>
          </p:nvCxnSpPr>
          <p:spPr bwMode="gray">
            <a:xfrm>
              <a:off x="10013199" y="2312816"/>
              <a:ext cx="4316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8022" name="Textplatzhalter 3">
              <a:extLst>
                <a:ext uri="{FF2B5EF4-FFF2-40B4-BE49-F238E27FC236}">
                  <a16:creationId xmlns:a16="http://schemas.microsoft.com/office/drawing/2014/main" id="{FC47E6D3-6323-4882-AC29-455FB2069DB8}"/>
                </a:ext>
              </a:extLst>
            </p:cNvPr>
            <p:cNvSpPr txBox="1">
              <a:spLocks/>
            </p:cNvSpPr>
            <p:nvPr/>
          </p:nvSpPr>
          <p:spPr bwMode="gray">
            <a:xfrm>
              <a:off x="10397635" y="2308173"/>
              <a:ext cx="1540935" cy="540000"/>
            </a:xfrm>
            <a:prstGeom prst="rect">
              <a:avLst/>
            </a:prstGeom>
          </p:spPr>
          <p:txBody>
            <a:bodyPr wrap="non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lvl="1" algn="l">
                <a:lnSpc>
                  <a:spcPct val="80000"/>
                </a:lnSpc>
              </a:pPr>
              <a:r>
                <a:rPr lang="en-US" sz="3000" dirty="0">
                  <a:solidFill>
                    <a:schemeClr val="accent5"/>
                  </a:solidFill>
                </a:rPr>
                <a:t>AAA</a:t>
              </a:r>
              <a:br>
                <a:rPr lang="en-US" sz="3000" dirty="0">
                  <a:solidFill>
                    <a:schemeClr val="accent5"/>
                  </a:solidFill>
                </a:rPr>
              </a:br>
              <a:r>
                <a:rPr lang="en-US" sz="1800" dirty="0">
                  <a:solidFill>
                    <a:srgbClr val="1E1E1E"/>
                  </a:solidFill>
                  <a:latin typeface="DraegerSanLig"/>
                </a:rPr>
                <a:t>Africa, Asia &amp;</a:t>
              </a:r>
              <a:br>
                <a:rPr lang="en-US" sz="1800" dirty="0">
                  <a:solidFill>
                    <a:srgbClr val="1E1E1E"/>
                  </a:solidFill>
                  <a:latin typeface="DraegerSanLig"/>
                </a:rPr>
              </a:br>
              <a:r>
                <a:rPr lang="en-US" sz="1800" dirty="0">
                  <a:solidFill>
                    <a:srgbClr val="1E1E1E"/>
                  </a:solidFill>
                  <a:latin typeface="DraegerSanLig"/>
                </a:rPr>
                <a:t>Australia </a:t>
              </a:r>
            </a:p>
          </p:txBody>
        </p:sp>
      </p:grpSp>
      <p:grpSp>
        <p:nvGrpSpPr>
          <p:cNvPr id="8023" name="Gruppieren 8022">
            <a:extLst>
              <a:ext uri="{FF2B5EF4-FFF2-40B4-BE49-F238E27FC236}">
                <a16:creationId xmlns:a16="http://schemas.microsoft.com/office/drawing/2014/main" id="{393229D4-04DA-4AB9-AB7B-4791E401C00E}"/>
              </a:ext>
            </a:extLst>
          </p:cNvPr>
          <p:cNvGrpSpPr/>
          <p:nvPr/>
        </p:nvGrpSpPr>
        <p:grpSpPr bwMode="gray">
          <a:xfrm>
            <a:off x="7784830" y="4847977"/>
            <a:ext cx="1925371" cy="540000"/>
            <a:chOff x="10013199" y="2092149"/>
            <a:chExt cx="1925371" cy="540000"/>
          </a:xfrm>
        </p:grpSpPr>
        <p:cxnSp>
          <p:nvCxnSpPr>
            <p:cNvPr id="8024" name="Gerader Verbinder 8023">
              <a:extLst>
                <a:ext uri="{FF2B5EF4-FFF2-40B4-BE49-F238E27FC236}">
                  <a16:creationId xmlns:a16="http://schemas.microsoft.com/office/drawing/2014/main" id="{E1FD8EDE-D142-4350-AAF3-0F16EDA99B2D}"/>
                </a:ext>
              </a:extLst>
            </p:cNvPr>
            <p:cNvCxnSpPr/>
            <p:nvPr/>
          </p:nvCxnSpPr>
          <p:spPr bwMode="gray">
            <a:xfrm>
              <a:off x="10013199" y="2312816"/>
              <a:ext cx="4316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8025" name="Textplatzhalter 3">
              <a:extLst>
                <a:ext uri="{FF2B5EF4-FFF2-40B4-BE49-F238E27FC236}">
                  <a16:creationId xmlns:a16="http://schemas.microsoft.com/office/drawing/2014/main" id="{0E4852C5-72BF-4CC0-B3D7-1B5B1F67461E}"/>
                </a:ext>
              </a:extLst>
            </p:cNvPr>
            <p:cNvSpPr txBox="1">
              <a:spLocks/>
            </p:cNvSpPr>
            <p:nvPr/>
          </p:nvSpPr>
          <p:spPr bwMode="gray">
            <a:xfrm>
              <a:off x="10397635" y="2092149"/>
              <a:ext cx="1540935" cy="540000"/>
            </a:xfrm>
            <a:prstGeom prst="rect">
              <a:avLst/>
            </a:prstGeom>
          </p:spPr>
          <p:txBody>
            <a:bodyPr wrap="non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lvl="1" algn="l">
                <a:lnSpc>
                  <a:spcPct val="80000"/>
                </a:lnSpc>
              </a:pPr>
              <a:r>
                <a:rPr lang="en-US" sz="3000" dirty="0">
                  <a:solidFill>
                    <a:schemeClr val="accent5"/>
                  </a:solidFill>
                </a:rPr>
                <a:t>MEA</a:t>
              </a:r>
              <a:br>
                <a:rPr lang="en-US" sz="3000" dirty="0">
                  <a:solidFill>
                    <a:schemeClr val="accent5"/>
                  </a:solidFill>
                </a:rPr>
              </a:br>
              <a:r>
                <a:rPr lang="en-US" sz="1800" dirty="0">
                  <a:solidFill>
                    <a:srgbClr val="1E1E1E"/>
                  </a:solidFill>
                  <a:latin typeface="DraegerSanLig"/>
                </a:rPr>
                <a:t>Region</a:t>
              </a:r>
            </a:p>
          </p:txBody>
        </p:sp>
      </p:grpSp>
      <p:grpSp>
        <p:nvGrpSpPr>
          <p:cNvPr id="8026" name="Gruppieren 8025">
            <a:extLst>
              <a:ext uri="{FF2B5EF4-FFF2-40B4-BE49-F238E27FC236}">
                <a16:creationId xmlns:a16="http://schemas.microsoft.com/office/drawing/2014/main" id="{CB2F0645-2F72-45D2-8C4B-2091C63CD859}"/>
              </a:ext>
            </a:extLst>
          </p:cNvPr>
          <p:cNvGrpSpPr/>
          <p:nvPr/>
        </p:nvGrpSpPr>
        <p:grpSpPr bwMode="gray">
          <a:xfrm>
            <a:off x="2368942" y="5078126"/>
            <a:ext cx="1930479" cy="540000"/>
            <a:chOff x="3349171" y="1336125"/>
            <a:chExt cx="1930479" cy="540000"/>
          </a:xfrm>
        </p:grpSpPr>
        <p:sp>
          <p:nvSpPr>
            <p:cNvPr id="8027" name="Textplatzhalter 3">
              <a:extLst>
                <a:ext uri="{FF2B5EF4-FFF2-40B4-BE49-F238E27FC236}">
                  <a16:creationId xmlns:a16="http://schemas.microsoft.com/office/drawing/2014/main" id="{DB981AB1-7DE5-46E7-B6C7-4FD0DF4D403B}"/>
                </a:ext>
              </a:extLst>
            </p:cNvPr>
            <p:cNvSpPr txBox="1">
              <a:spLocks/>
            </p:cNvSpPr>
            <p:nvPr/>
          </p:nvSpPr>
          <p:spPr bwMode="gray">
            <a:xfrm>
              <a:off x="3349171" y="1336125"/>
              <a:ext cx="1540935" cy="540000"/>
            </a:xfrm>
            <a:prstGeom prst="rect">
              <a:avLst/>
            </a:prstGeom>
          </p:spPr>
          <p:txBody>
            <a:bodyPr wrap="non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lvl="1" algn="r">
                <a:lnSpc>
                  <a:spcPct val="80000"/>
                </a:lnSpc>
              </a:pPr>
              <a:r>
                <a:rPr lang="en-US" sz="3000" dirty="0">
                  <a:solidFill>
                    <a:schemeClr val="accent5"/>
                  </a:solidFill>
                </a:rPr>
                <a:t>CSA</a:t>
              </a:r>
            </a:p>
            <a:p>
              <a:pPr lvl="1" algn="r">
                <a:lnSpc>
                  <a:spcPct val="80000"/>
                </a:lnSpc>
              </a:pPr>
              <a:r>
                <a:rPr lang="en-US" sz="1800" dirty="0">
                  <a:solidFill>
                    <a:srgbClr val="1E1E1E"/>
                  </a:solidFill>
                  <a:latin typeface="DraegerSanLig"/>
                </a:rPr>
                <a:t>Central &amp; South America</a:t>
              </a:r>
            </a:p>
          </p:txBody>
        </p:sp>
        <p:cxnSp>
          <p:nvCxnSpPr>
            <p:cNvPr id="8028" name="Gerader Verbinder 8027">
              <a:extLst>
                <a:ext uri="{FF2B5EF4-FFF2-40B4-BE49-F238E27FC236}">
                  <a16:creationId xmlns:a16="http://schemas.microsoft.com/office/drawing/2014/main" id="{E0A28A25-2CD5-4203-9992-BCE10C9F265D}"/>
                </a:ext>
              </a:extLst>
            </p:cNvPr>
            <p:cNvCxnSpPr/>
            <p:nvPr/>
          </p:nvCxnSpPr>
          <p:spPr bwMode="gray">
            <a:xfrm>
              <a:off x="4848048" y="1556792"/>
              <a:ext cx="4316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8303" name="Gruppieren 8302">
            <a:extLst>
              <a:ext uri="{FF2B5EF4-FFF2-40B4-BE49-F238E27FC236}">
                <a16:creationId xmlns:a16="http://schemas.microsoft.com/office/drawing/2014/main" id="{D8CBF2A9-BAFD-48FB-9CD1-89BD3A79DD0B}"/>
              </a:ext>
            </a:extLst>
          </p:cNvPr>
          <p:cNvGrpSpPr/>
          <p:nvPr/>
        </p:nvGrpSpPr>
        <p:grpSpPr bwMode="gray">
          <a:xfrm>
            <a:off x="911424" y="3020742"/>
            <a:ext cx="1930479" cy="540000"/>
            <a:chOff x="3349171" y="1336125"/>
            <a:chExt cx="1930479" cy="540000"/>
          </a:xfrm>
        </p:grpSpPr>
        <p:sp>
          <p:nvSpPr>
            <p:cNvPr id="8304" name="Textplatzhalter 3">
              <a:extLst>
                <a:ext uri="{FF2B5EF4-FFF2-40B4-BE49-F238E27FC236}">
                  <a16:creationId xmlns:a16="http://schemas.microsoft.com/office/drawing/2014/main" id="{DC6242AB-48D6-47E5-A04E-8A7BE78E6ED9}"/>
                </a:ext>
              </a:extLst>
            </p:cNvPr>
            <p:cNvSpPr txBox="1">
              <a:spLocks/>
            </p:cNvSpPr>
            <p:nvPr/>
          </p:nvSpPr>
          <p:spPr bwMode="gray">
            <a:xfrm>
              <a:off x="3349171" y="1336125"/>
              <a:ext cx="1540935" cy="540000"/>
            </a:xfrm>
            <a:prstGeom prst="rect">
              <a:avLst/>
            </a:prstGeom>
          </p:spPr>
          <p:txBody>
            <a:bodyPr wrap="none" lIns="0" tIns="0" rIns="0" bIns="0" anchor="b"/>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lvl="1" algn="r">
                <a:lnSpc>
                  <a:spcPct val="80000"/>
                </a:lnSpc>
              </a:pPr>
              <a:r>
                <a:rPr lang="en-US" sz="3000" dirty="0">
                  <a:solidFill>
                    <a:schemeClr val="accent5"/>
                  </a:solidFill>
                </a:rPr>
                <a:t>NA</a:t>
              </a:r>
            </a:p>
            <a:p>
              <a:pPr lvl="1" algn="r">
                <a:lnSpc>
                  <a:spcPct val="80000"/>
                </a:lnSpc>
              </a:pPr>
              <a:r>
                <a:rPr lang="en-US" sz="1800" dirty="0">
                  <a:solidFill>
                    <a:srgbClr val="1E1E1E"/>
                  </a:solidFill>
                  <a:latin typeface="DraegerSanLig"/>
                </a:rPr>
                <a:t>North America</a:t>
              </a:r>
            </a:p>
          </p:txBody>
        </p:sp>
        <p:cxnSp>
          <p:nvCxnSpPr>
            <p:cNvPr id="8305" name="Gerader Verbinder 8304">
              <a:extLst>
                <a:ext uri="{FF2B5EF4-FFF2-40B4-BE49-F238E27FC236}">
                  <a16:creationId xmlns:a16="http://schemas.microsoft.com/office/drawing/2014/main" id="{D67F33F7-B3C4-4CD8-8AE3-89498A249654}"/>
                </a:ext>
              </a:extLst>
            </p:cNvPr>
            <p:cNvCxnSpPr/>
            <p:nvPr/>
          </p:nvCxnSpPr>
          <p:spPr bwMode="gray">
            <a:xfrm>
              <a:off x="4848048" y="1556792"/>
              <a:ext cx="4316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8" name="Fußzeilenplatzhalter 7">
            <a:extLst>
              <a:ext uri="{FF2B5EF4-FFF2-40B4-BE49-F238E27FC236}">
                <a16:creationId xmlns:a16="http://schemas.microsoft.com/office/drawing/2014/main" id="{1E2059BB-3FD5-46A1-A4C8-610FFD3A3043}"/>
              </a:ext>
            </a:extLst>
          </p:cNvPr>
          <p:cNvSpPr>
            <a:spLocks noGrp="1"/>
          </p:cNvSpPr>
          <p:nvPr>
            <p:ph type="ftr" sz="quarter" idx="16"/>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348AE785-3E81-4DE3-8E5D-8DC243D5187A}"/>
              </a:ext>
            </a:extLst>
          </p:cNvPr>
          <p:cNvSpPr>
            <a:spLocks noGrp="1"/>
          </p:cNvSpPr>
          <p:nvPr>
            <p:ph type="sldNum" sz="quarter" idx="12"/>
          </p:nvPr>
        </p:nvSpPr>
        <p:spPr/>
        <p:txBody>
          <a:bodyPr/>
          <a:lstStyle/>
          <a:p>
            <a:fld id="{CE82B8A1-0CCE-4815-9668-383D7DE7D8B4}" type="slidenum">
              <a:rPr lang="en-US" noProof="0" smtClean="0"/>
              <a:pPr/>
              <a:t>69</a:t>
            </a:fld>
            <a:endParaRPr lang="en-US" noProof="0" dirty="0"/>
          </a:p>
        </p:txBody>
      </p:sp>
    </p:spTree>
    <p:extLst>
      <p:ext uri="{BB962C8B-B14F-4D97-AF65-F5344CB8AC3E}">
        <p14:creationId xmlns:p14="http://schemas.microsoft.com/office/powerpoint/2010/main" val="29693919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3B7623-8612-4758-910E-3B37BD3BC7B6}"/>
              </a:ext>
            </a:extLst>
          </p:cNvPr>
          <p:cNvSpPr>
            <a:spLocks noGrp="1"/>
          </p:cNvSpPr>
          <p:nvPr>
            <p:ph type="ctrTitle"/>
          </p:nvPr>
        </p:nvSpPr>
        <p:spPr bwMode="gray"/>
        <p:txBody>
          <a:bodyPr/>
          <a:lstStyle/>
          <a:p>
            <a:r>
              <a:rPr lang="en-US" dirty="0"/>
              <a:t>Title layout for long presentation titles </a:t>
            </a:r>
            <a:br>
              <a:rPr lang="en-US" dirty="0"/>
            </a:br>
            <a:r>
              <a:rPr lang="en-US" dirty="0"/>
              <a:t>adipiscing elit Maecenas porttitor congue massa</a:t>
            </a:r>
          </a:p>
        </p:txBody>
      </p:sp>
      <p:sp>
        <p:nvSpPr>
          <p:cNvPr id="10" name="Untertitel 9">
            <a:extLst>
              <a:ext uri="{FF2B5EF4-FFF2-40B4-BE49-F238E27FC236}">
                <a16:creationId xmlns:a16="http://schemas.microsoft.com/office/drawing/2014/main" id="{49F0473F-8D06-4C5B-A2C3-C078FAE7C8AE}"/>
              </a:ext>
            </a:extLst>
          </p:cNvPr>
          <p:cNvSpPr>
            <a:spLocks noGrp="1"/>
          </p:cNvSpPr>
          <p:nvPr>
            <p:ph type="subTitle" idx="1"/>
          </p:nvPr>
        </p:nvSpPr>
        <p:spPr bwMode="gray"/>
        <p:txBody>
          <a:bodyPr/>
          <a:lstStyle/>
          <a:p>
            <a:r>
              <a:rPr lang="en-US" dirty="0"/>
              <a:t>Speaker</a:t>
            </a:r>
          </a:p>
          <a:p>
            <a:r>
              <a:rPr lang="en-US" dirty="0"/>
              <a:t>Mai 2019, Lübeck</a:t>
            </a:r>
          </a:p>
        </p:txBody>
      </p:sp>
      <p:sp>
        <p:nvSpPr>
          <p:cNvPr id="5" name="Fußzeilenplatzhalter 4">
            <a:extLst>
              <a:ext uri="{FF2B5EF4-FFF2-40B4-BE49-F238E27FC236}">
                <a16:creationId xmlns:a16="http://schemas.microsoft.com/office/drawing/2014/main" id="{E0E0F94E-DC46-4F4A-BCC0-37F3F5BF5F86}"/>
              </a:ext>
            </a:extLst>
          </p:cNvPr>
          <p:cNvSpPr>
            <a:spLocks noGrp="1"/>
          </p:cNvSpPr>
          <p:nvPr>
            <p:ph type="ftr" sz="quarter" idx="10"/>
          </p:nvPr>
        </p:nvSpPr>
        <p:spPr bwMode="gray"/>
        <p:txBody>
          <a:bodyPr/>
          <a:lstStyle/>
          <a:p>
            <a:r>
              <a:rPr lang="en-US"/>
              <a:t>Footnote: Please insert appropriate company</a:t>
            </a:r>
            <a:endParaRPr lang="de-DE" dirty="0"/>
          </a:p>
        </p:txBody>
      </p:sp>
    </p:spTree>
    <p:extLst>
      <p:ext uri="{BB962C8B-B14F-4D97-AF65-F5344CB8AC3E}">
        <p14:creationId xmlns:p14="http://schemas.microsoft.com/office/powerpoint/2010/main" val="4043887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99" name="Gruppieren 5698">
            <a:extLst>
              <a:ext uri="{FF2B5EF4-FFF2-40B4-BE49-F238E27FC236}">
                <a16:creationId xmlns:a16="http://schemas.microsoft.com/office/drawing/2014/main" id="{BAB45AA1-EE06-4A7B-A7B5-AA9ED13A154C}"/>
              </a:ext>
            </a:extLst>
          </p:cNvPr>
          <p:cNvGrpSpPr/>
          <p:nvPr/>
        </p:nvGrpSpPr>
        <p:grpSpPr bwMode="gray">
          <a:xfrm>
            <a:off x="5888245" y="4928094"/>
            <a:ext cx="370987" cy="406451"/>
            <a:chOff x="6893373" y="2244043"/>
            <a:chExt cx="327690" cy="359015"/>
          </a:xfrm>
          <a:solidFill>
            <a:schemeClr val="accent2"/>
          </a:solidFill>
        </p:grpSpPr>
        <p:sp>
          <p:nvSpPr>
            <p:cNvPr id="5700" name="Freeform 389">
              <a:extLst>
                <a:ext uri="{FF2B5EF4-FFF2-40B4-BE49-F238E27FC236}">
                  <a16:creationId xmlns:a16="http://schemas.microsoft.com/office/drawing/2014/main" id="{E5EAC741-D920-469F-BDB8-74BFF88D6FCF}"/>
                </a:ext>
              </a:extLst>
            </p:cNvPr>
            <p:cNvSpPr>
              <a:spLocks/>
            </p:cNvSpPr>
            <p:nvPr/>
          </p:nvSpPr>
          <p:spPr bwMode="gray">
            <a:xfrm>
              <a:off x="7002467" y="2481191"/>
              <a:ext cx="218596" cy="100458"/>
            </a:xfrm>
            <a:custGeom>
              <a:avLst/>
              <a:gdLst>
                <a:gd name="T0" fmla="*/ 54 w 531"/>
                <a:gd name="T1" fmla="*/ 189 h 244"/>
                <a:gd name="T2" fmla="*/ 21 w 531"/>
                <a:gd name="T3" fmla="*/ 199 h 244"/>
                <a:gd name="T4" fmla="*/ 0 w 531"/>
                <a:gd name="T5" fmla="*/ 182 h 244"/>
                <a:gd name="T6" fmla="*/ 4 w 531"/>
                <a:gd name="T7" fmla="*/ 149 h 244"/>
                <a:gd name="T8" fmla="*/ 16 w 531"/>
                <a:gd name="T9" fmla="*/ 133 h 244"/>
                <a:gd name="T10" fmla="*/ 49 w 531"/>
                <a:gd name="T11" fmla="*/ 154 h 244"/>
                <a:gd name="T12" fmla="*/ 59 w 531"/>
                <a:gd name="T13" fmla="*/ 149 h 244"/>
                <a:gd name="T14" fmla="*/ 92 w 531"/>
                <a:gd name="T15" fmla="*/ 144 h 244"/>
                <a:gd name="T16" fmla="*/ 108 w 531"/>
                <a:gd name="T17" fmla="*/ 149 h 244"/>
                <a:gd name="T18" fmla="*/ 222 w 531"/>
                <a:gd name="T19" fmla="*/ 128 h 244"/>
                <a:gd name="T20" fmla="*/ 236 w 531"/>
                <a:gd name="T21" fmla="*/ 144 h 244"/>
                <a:gd name="T22" fmla="*/ 231 w 531"/>
                <a:gd name="T23" fmla="*/ 128 h 244"/>
                <a:gd name="T24" fmla="*/ 222 w 531"/>
                <a:gd name="T25" fmla="*/ 88 h 244"/>
                <a:gd name="T26" fmla="*/ 269 w 531"/>
                <a:gd name="T27" fmla="*/ 43 h 244"/>
                <a:gd name="T28" fmla="*/ 302 w 531"/>
                <a:gd name="T29" fmla="*/ 22 h 244"/>
                <a:gd name="T30" fmla="*/ 361 w 531"/>
                <a:gd name="T31" fmla="*/ 43 h 244"/>
                <a:gd name="T32" fmla="*/ 375 w 531"/>
                <a:gd name="T33" fmla="*/ 22 h 244"/>
                <a:gd name="T34" fmla="*/ 451 w 531"/>
                <a:gd name="T35" fmla="*/ 33 h 244"/>
                <a:gd name="T36" fmla="*/ 517 w 531"/>
                <a:gd name="T37" fmla="*/ 33 h 244"/>
                <a:gd name="T38" fmla="*/ 505 w 531"/>
                <a:gd name="T39" fmla="*/ 59 h 244"/>
                <a:gd name="T40" fmla="*/ 522 w 531"/>
                <a:gd name="T41" fmla="*/ 128 h 244"/>
                <a:gd name="T42" fmla="*/ 489 w 531"/>
                <a:gd name="T43" fmla="*/ 116 h 244"/>
                <a:gd name="T44" fmla="*/ 500 w 531"/>
                <a:gd name="T45" fmla="*/ 144 h 244"/>
                <a:gd name="T46" fmla="*/ 484 w 531"/>
                <a:gd name="T47" fmla="*/ 166 h 244"/>
                <a:gd name="T48" fmla="*/ 484 w 531"/>
                <a:gd name="T49" fmla="*/ 189 h 244"/>
                <a:gd name="T50" fmla="*/ 451 w 531"/>
                <a:gd name="T51" fmla="*/ 199 h 244"/>
                <a:gd name="T52" fmla="*/ 371 w 531"/>
                <a:gd name="T53" fmla="*/ 222 h 244"/>
                <a:gd name="T54" fmla="*/ 345 w 531"/>
                <a:gd name="T55" fmla="*/ 244 h 244"/>
                <a:gd name="T56" fmla="*/ 198 w 531"/>
                <a:gd name="T57" fmla="*/ 211 h 244"/>
                <a:gd name="T58" fmla="*/ 184 w 531"/>
                <a:gd name="T59" fmla="*/ 182 h 244"/>
                <a:gd name="T60" fmla="*/ 113 w 531"/>
                <a:gd name="T61" fmla="*/ 189 h 244"/>
                <a:gd name="T62" fmla="*/ 59 w 531"/>
                <a:gd name="T63" fmla="*/ 199 h 244"/>
                <a:gd name="T64" fmla="*/ 59 w 531"/>
                <a:gd name="T65" fmla="*/ 19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1" h="244">
                  <a:moveTo>
                    <a:pt x="59" y="199"/>
                  </a:moveTo>
                  <a:lnTo>
                    <a:pt x="54" y="189"/>
                  </a:lnTo>
                  <a:lnTo>
                    <a:pt x="37" y="206"/>
                  </a:lnTo>
                  <a:lnTo>
                    <a:pt x="21" y="199"/>
                  </a:lnTo>
                  <a:lnTo>
                    <a:pt x="21" y="189"/>
                  </a:lnTo>
                  <a:lnTo>
                    <a:pt x="0" y="182"/>
                  </a:lnTo>
                  <a:lnTo>
                    <a:pt x="0" y="166"/>
                  </a:lnTo>
                  <a:lnTo>
                    <a:pt x="4" y="149"/>
                  </a:lnTo>
                  <a:lnTo>
                    <a:pt x="0" y="144"/>
                  </a:lnTo>
                  <a:lnTo>
                    <a:pt x="16" y="133"/>
                  </a:lnTo>
                  <a:lnTo>
                    <a:pt x="21" y="144"/>
                  </a:lnTo>
                  <a:lnTo>
                    <a:pt x="49" y="154"/>
                  </a:lnTo>
                  <a:lnTo>
                    <a:pt x="37" y="166"/>
                  </a:lnTo>
                  <a:lnTo>
                    <a:pt x="59" y="149"/>
                  </a:lnTo>
                  <a:lnTo>
                    <a:pt x="59" y="133"/>
                  </a:lnTo>
                  <a:lnTo>
                    <a:pt x="92" y="144"/>
                  </a:lnTo>
                  <a:lnTo>
                    <a:pt x="101" y="149"/>
                  </a:lnTo>
                  <a:lnTo>
                    <a:pt x="108" y="149"/>
                  </a:lnTo>
                  <a:lnTo>
                    <a:pt x="146" y="133"/>
                  </a:lnTo>
                  <a:lnTo>
                    <a:pt x="222" y="128"/>
                  </a:lnTo>
                  <a:lnTo>
                    <a:pt x="222" y="144"/>
                  </a:lnTo>
                  <a:lnTo>
                    <a:pt x="236" y="144"/>
                  </a:lnTo>
                  <a:lnTo>
                    <a:pt x="248" y="128"/>
                  </a:lnTo>
                  <a:lnTo>
                    <a:pt x="231" y="128"/>
                  </a:lnTo>
                  <a:lnTo>
                    <a:pt x="236" y="111"/>
                  </a:lnTo>
                  <a:lnTo>
                    <a:pt x="222" y="88"/>
                  </a:lnTo>
                  <a:lnTo>
                    <a:pt x="269" y="59"/>
                  </a:lnTo>
                  <a:lnTo>
                    <a:pt x="269" y="43"/>
                  </a:lnTo>
                  <a:lnTo>
                    <a:pt x="290" y="43"/>
                  </a:lnTo>
                  <a:lnTo>
                    <a:pt x="302" y="22"/>
                  </a:lnTo>
                  <a:lnTo>
                    <a:pt x="323" y="38"/>
                  </a:lnTo>
                  <a:lnTo>
                    <a:pt x="361" y="43"/>
                  </a:lnTo>
                  <a:lnTo>
                    <a:pt x="371" y="22"/>
                  </a:lnTo>
                  <a:lnTo>
                    <a:pt x="375" y="22"/>
                  </a:lnTo>
                  <a:lnTo>
                    <a:pt x="382" y="0"/>
                  </a:lnTo>
                  <a:lnTo>
                    <a:pt x="451" y="33"/>
                  </a:lnTo>
                  <a:lnTo>
                    <a:pt x="484" y="22"/>
                  </a:lnTo>
                  <a:lnTo>
                    <a:pt x="517" y="33"/>
                  </a:lnTo>
                  <a:lnTo>
                    <a:pt x="517" y="38"/>
                  </a:lnTo>
                  <a:lnTo>
                    <a:pt x="505" y="59"/>
                  </a:lnTo>
                  <a:lnTo>
                    <a:pt x="531" y="95"/>
                  </a:lnTo>
                  <a:lnTo>
                    <a:pt x="522" y="128"/>
                  </a:lnTo>
                  <a:lnTo>
                    <a:pt x="500" y="128"/>
                  </a:lnTo>
                  <a:lnTo>
                    <a:pt x="489" y="116"/>
                  </a:lnTo>
                  <a:lnTo>
                    <a:pt x="484" y="128"/>
                  </a:lnTo>
                  <a:lnTo>
                    <a:pt x="500" y="144"/>
                  </a:lnTo>
                  <a:lnTo>
                    <a:pt x="484" y="149"/>
                  </a:lnTo>
                  <a:lnTo>
                    <a:pt x="484" y="166"/>
                  </a:lnTo>
                  <a:lnTo>
                    <a:pt x="479" y="166"/>
                  </a:lnTo>
                  <a:lnTo>
                    <a:pt x="484" y="189"/>
                  </a:lnTo>
                  <a:lnTo>
                    <a:pt x="467" y="189"/>
                  </a:lnTo>
                  <a:lnTo>
                    <a:pt x="451" y="199"/>
                  </a:lnTo>
                  <a:lnTo>
                    <a:pt x="437" y="211"/>
                  </a:lnTo>
                  <a:lnTo>
                    <a:pt x="371" y="222"/>
                  </a:lnTo>
                  <a:lnTo>
                    <a:pt x="371" y="239"/>
                  </a:lnTo>
                  <a:lnTo>
                    <a:pt x="345" y="244"/>
                  </a:lnTo>
                  <a:lnTo>
                    <a:pt x="290" y="227"/>
                  </a:lnTo>
                  <a:lnTo>
                    <a:pt x="198" y="211"/>
                  </a:lnTo>
                  <a:lnTo>
                    <a:pt x="184" y="199"/>
                  </a:lnTo>
                  <a:lnTo>
                    <a:pt x="184" y="182"/>
                  </a:lnTo>
                  <a:lnTo>
                    <a:pt x="156" y="189"/>
                  </a:lnTo>
                  <a:lnTo>
                    <a:pt x="113" y="189"/>
                  </a:lnTo>
                  <a:lnTo>
                    <a:pt x="101" y="211"/>
                  </a:lnTo>
                  <a:lnTo>
                    <a:pt x="59" y="199"/>
                  </a:lnTo>
                  <a:lnTo>
                    <a:pt x="59" y="199"/>
                  </a:lnTo>
                  <a:lnTo>
                    <a:pt x="59" y="19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01" name="Freeform 453">
              <a:extLst>
                <a:ext uri="{FF2B5EF4-FFF2-40B4-BE49-F238E27FC236}">
                  <a16:creationId xmlns:a16="http://schemas.microsoft.com/office/drawing/2014/main" id="{95B5D37A-BB6F-4C90-A287-AB7866100A34}"/>
                </a:ext>
              </a:extLst>
            </p:cNvPr>
            <p:cNvSpPr>
              <a:spLocks noEditPoints="1"/>
            </p:cNvSpPr>
            <p:nvPr/>
          </p:nvSpPr>
          <p:spPr bwMode="gray">
            <a:xfrm>
              <a:off x="6893373" y="2244043"/>
              <a:ext cx="266350" cy="305494"/>
            </a:xfrm>
            <a:custGeom>
              <a:avLst/>
              <a:gdLst>
                <a:gd name="T0" fmla="*/ 442 w 647"/>
                <a:gd name="T1" fmla="*/ 454 h 742"/>
                <a:gd name="T2" fmla="*/ 480 w 647"/>
                <a:gd name="T3" fmla="*/ 543 h 742"/>
                <a:gd name="T4" fmla="*/ 534 w 647"/>
                <a:gd name="T5" fmla="*/ 621 h 742"/>
                <a:gd name="T6" fmla="*/ 496 w 647"/>
                <a:gd name="T7" fmla="*/ 704 h 742"/>
                <a:gd name="T8" fmla="*/ 484 w 647"/>
                <a:gd name="T9" fmla="*/ 704 h 742"/>
                <a:gd name="T10" fmla="*/ 354 w 647"/>
                <a:gd name="T11" fmla="*/ 720 h 742"/>
                <a:gd name="T12" fmla="*/ 312 w 647"/>
                <a:gd name="T13" fmla="*/ 732 h 742"/>
                <a:gd name="T14" fmla="*/ 241 w 647"/>
                <a:gd name="T15" fmla="*/ 704 h 742"/>
                <a:gd name="T16" fmla="*/ 177 w 647"/>
                <a:gd name="T17" fmla="*/ 704 h 742"/>
                <a:gd name="T18" fmla="*/ 118 w 647"/>
                <a:gd name="T19" fmla="*/ 704 h 742"/>
                <a:gd name="T20" fmla="*/ 140 w 647"/>
                <a:gd name="T21" fmla="*/ 621 h 742"/>
                <a:gd name="T22" fmla="*/ 102 w 647"/>
                <a:gd name="T23" fmla="*/ 565 h 742"/>
                <a:gd name="T24" fmla="*/ 43 w 647"/>
                <a:gd name="T25" fmla="*/ 539 h 742"/>
                <a:gd name="T26" fmla="*/ 26 w 647"/>
                <a:gd name="T27" fmla="*/ 472 h 742"/>
                <a:gd name="T28" fmla="*/ 14 w 647"/>
                <a:gd name="T29" fmla="*/ 416 h 742"/>
                <a:gd name="T30" fmla="*/ 14 w 647"/>
                <a:gd name="T31" fmla="*/ 371 h 742"/>
                <a:gd name="T32" fmla="*/ 69 w 647"/>
                <a:gd name="T33" fmla="*/ 300 h 742"/>
                <a:gd name="T34" fmla="*/ 64 w 647"/>
                <a:gd name="T35" fmla="*/ 243 h 742"/>
                <a:gd name="T36" fmla="*/ 102 w 647"/>
                <a:gd name="T37" fmla="*/ 177 h 742"/>
                <a:gd name="T38" fmla="*/ 85 w 647"/>
                <a:gd name="T39" fmla="*/ 168 h 742"/>
                <a:gd name="T40" fmla="*/ 161 w 647"/>
                <a:gd name="T41" fmla="*/ 149 h 742"/>
                <a:gd name="T42" fmla="*/ 177 w 647"/>
                <a:gd name="T43" fmla="*/ 149 h 742"/>
                <a:gd name="T44" fmla="*/ 189 w 647"/>
                <a:gd name="T45" fmla="*/ 149 h 742"/>
                <a:gd name="T46" fmla="*/ 203 w 647"/>
                <a:gd name="T47" fmla="*/ 116 h 742"/>
                <a:gd name="T48" fmla="*/ 265 w 647"/>
                <a:gd name="T49" fmla="*/ 139 h 742"/>
                <a:gd name="T50" fmla="*/ 227 w 647"/>
                <a:gd name="T51" fmla="*/ 94 h 742"/>
                <a:gd name="T52" fmla="*/ 194 w 647"/>
                <a:gd name="T53" fmla="*/ 66 h 742"/>
                <a:gd name="T54" fmla="*/ 173 w 647"/>
                <a:gd name="T55" fmla="*/ 28 h 742"/>
                <a:gd name="T56" fmla="*/ 189 w 647"/>
                <a:gd name="T57" fmla="*/ 12 h 742"/>
                <a:gd name="T58" fmla="*/ 295 w 647"/>
                <a:gd name="T59" fmla="*/ 45 h 742"/>
                <a:gd name="T60" fmla="*/ 371 w 647"/>
                <a:gd name="T61" fmla="*/ 66 h 742"/>
                <a:gd name="T62" fmla="*/ 350 w 647"/>
                <a:gd name="T63" fmla="*/ 116 h 742"/>
                <a:gd name="T64" fmla="*/ 442 w 647"/>
                <a:gd name="T65" fmla="*/ 83 h 742"/>
                <a:gd name="T66" fmla="*/ 458 w 647"/>
                <a:gd name="T67" fmla="*/ 78 h 742"/>
                <a:gd name="T68" fmla="*/ 555 w 647"/>
                <a:gd name="T69" fmla="*/ 83 h 742"/>
                <a:gd name="T70" fmla="*/ 605 w 647"/>
                <a:gd name="T71" fmla="*/ 168 h 742"/>
                <a:gd name="T72" fmla="*/ 619 w 647"/>
                <a:gd name="T73" fmla="*/ 243 h 742"/>
                <a:gd name="T74" fmla="*/ 619 w 647"/>
                <a:gd name="T75" fmla="*/ 317 h 742"/>
                <a:gd name="T76" fmla="*/ 647 w 647"/>
                <a:gd name="T77" fmla="*/ 371 h 742"/>
                <a:gd name="T78" fmla="*/ 593 w 647"/>
                <a:gd name="T79" fmla="*/ 387 h 742"/>
                <a:gd name="T80" fmla="*/ 539 w 647"/>
                <a:gd name="T81" fmla="*/ 416 h 742"/>
                <a:gd name="T82" fmla="*/ 194 w 647"/>
                <a:gd name="T83" fmla="*/ 40 h 742"/>
                <a:gd name="T84" fmla="*/ 194 w 647"/>
                <a:gd name="T85" fmla="*/ 40 h 742"/>
                <a:gd name="T86" fmla="*/ 177 w 647"/>
                <a:gd name="T87" fmla="*/ 28 h 742"/>
                <a:gd name="T88" fmla="*/ 529 w 647"/>
                <a:gd name="T89" fmla="*/ 78 h 742"/>
                <a:gd name="T90" fmla="*/ 517 w 647"/>
                <a:gd name="T91" fmla="*/ 45 h 742"/>
                <a:gd name="T92" fmla="*/ 517 w 647"/>
                <a:gd name="T93" fmla="*/ 40 h 742"/>
                <a:gd name="T94" fmla="*/ 539 w 647"/>
                <a:gd name="T95" fmla="*/ 61 h 742"/>
                <a:gd name="T96" fmla="*/ 529 w 647"/>
                <a:gd name="T97" fmla="*/ 78 h 742"/>
                <a:gd name="T98" fmla="*/ 194 w 647"/>
                <a:gd name="T99" fmla="*/ 57 h 742"/>
                <a:gd name="T100" fmla="*/ 203 w 647"/>
                <a:gd name="T101" fmla="*/ 57 h 742"/>
                <a:gd name="T102" fmla="*/ 371 w 647"/>
                <a:gd name="T103" fmla="*/ 57 h 742"/>
                <a:gd name="T104" fmla="*/ 588 w 647"/>
                <a:gd name="T105" fmla="*/ 111 h 742"/>
                <a:gd name="T106" fmla="*/ 572 w 647"/>
                <a:gd name="T107" fmla="*/ 94 h 742"/>
                <a:gd name="T108" fmla="*/ 588 w 647"/>
                <a:gd name="T109" fmla="*/ 111 h 742"/>
                <a:gd name="T110" fmla="*/ 392 w 647"/>
                <a:gd name="T111" fmla="*/ 99 h 742"/>
                <a:gd name="T112" fmla="*/ 64 w 647"/>
                <a:gd name="T113" fmla="*/ 149 h 742"/>
                <a:gd name="T114" fmla="*/ 64 w 647"/>
                <a:gd name="T115" fmla="*/ 149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7" h="742">
                  <a:moveTo>
                    <a:pt x="501" y="449"/>
                  </a:moveTo>
                  <a:lnTo>
                    <a:pt x="475" y="449"/>
                  </a:lnTo>
                  <a:lnTo>
                    <a:pt x="458" y="465"/>
                  </a:lnTo>
                  <a:lnTo>
                    <a:pt x="442" y="454"/>
                  </a:lnTo>
                  <a:lnTo>
                    <a:pt x="447" y="482"/>
                  </a:lnTo>
                  <a:lnTo>
                    <a:pt x="475" y="498"/>
                  </a:lnTo>
                  <a:lnTo>
                    <a:pt x="463" y="522"/>
                  </a:lnTo>
                  <a:lnTo>
                    <a:pt x="480" y="543"/>
                  </a:lnTo>
                  <a:lnTo>
                    <a:pt x="501" y="555"/>
                  </a:lnTo>
                  <a:lnTo>
                    <a:pt x="567" y="598"/>
                  </a:lnTo>
                  <a:lnTo>
                    <a:pt x="555" y="621"/>
                  </a:lnTo>
                  <a:lnTo>
                    <a:pt x="534" y="621"/>
                  </a:lnTo>
                  <a:lnTo>
                    <a:pt x="534" y="638"/>
                  </a:lnTo>
                  <a:lnTo>
                    <a:pt x="484" y="666"/>
                  </a:lnTo>
                  <a:lnTo>
                    <a:pt x="501" y="687"/>
                  </a:lnTo>
                  <a:lnTo>
                    <a:pt x="496" y="704"/>
                  </a:lnTo>
                  <a:lnTo>
                    <a:pt x="513" y="704"/>
                  </a:lnTo>
                  <a:lnTo>
                    <a:pt x="501" y="720"/>
                  </a:lnTo>
                  <a:lnTo>
                    <a:pt x="484" y="720"/>
                  </a:lnTo>
                  <a:lnTo>
                    <a:pt x="484" y="704"/>
                  </a:lnTo>
                  <a:lnTo>
                    <a:pt x="409" y="709"/>
                  </a:lnTo>
                  <a:lnTo>
                    <a:pt x="371" y="725"/>
                  </a:lnTo>
                  <a:lnTo>
                    <a:pt x="366" y="725"/>
                  </a:lnTo>
                  <a:lnTo>
                    <a:pt x="354" y="720"/>
                  </a:lnTo>
                  <a:lnTo>
                    <a:pt x="324" y="709"/>
                  </a:lnTo>
                  <a:lnTo>
                    <a:pt x="324" y="725"/>
                  </a:lnTo>
                  <a:lnTo>
                    <a:pt x="302" y="742"/>
                  </a:lnTo>
                  <a:lnTo>
                    <a:pt x="312" y="732"/>
                  </a:lnTo>
                  <a:lnTo>
                    <a:pt x="286" y="720"/>
                  </a:lnTo>
                  <a:lnTo>
                    <a:pt x="279" y="709"/>
                  </a:lnTo>
                  <a:lnTo>
                    <a:pt x="265" y="720"/>
                  </a:lnTo>
                  <a:lnTo>
                    <a:pt x="241" y="704"/>
                  </a:lnTo>
                  <a:lnTo>
                    <a:pt x="203" y="704"/>
                  </a:lnTo>
                  <a:lnTo>
                    <a:pt x="203" y="692"/>
                  </a:lnTo>
                  <a:lnTo>
                    <a:pt x="194" y="692"/>
                  </a:lnTo>
                  <a:lnTo>
                    <a:pt x="177" y="704"/>
                  </a:lnTo>
                  <a:lnTo>
                    <a:pt x="194" y="704"/>
                  </a:lnTo>
                  <a:lnTo>
                    <a:pt x="194" y="709"/>
                  </a:lnTo>
                  <a:lnTo>
                    <a:pt x="123" y="709"/>
                  </a:lnTo>
                  <a:lnTo>
                    <a:pt x="118" y="704"/>
                  </a:lnTo>
                  <a:lnTo>
                    <a:pt x="123" y="676"/>
                  </a:lnTo>
                  <a:lnTo>
                    <a:pt x="123" y="666"/>
                  </a:lnTo>
                  <a:lnTo>
                    <a:pt x="135" y="638"/>
                  </a:lnTo>
                  <a:lnTo>
                    <a:pt x="140" y="621"/>
                  </a:lnTo>
                  <a:lnTo>
                    <a:pt x="173" y="581"/>
                  </a:lnTo>
                  <a:lnTo>
                    <a:pt x="135" y="576"/>
                  </a:lnTo>
                  <a:lnTo>
                    <a:pt x="106" y="565"/>
                  </a:lnTo>
                  <a:lnTo>
                    <a:pt x="102" y="565"/>
                  </a:lnTo>
                  <a:lnTo>
                    <a:pt x="80" y="560"/>
                  </a:lnTo>
                  <a:lnTo>
                    <a:pt x="64" y="565"/>
                  </a:lnTo>
                  <a:lnTo>
                    <a:pt x="47" y="543"/>
                  </a:lnTo>
                  <a:lnTo>
                    <a:pt x="43" y="539"/>
                  </a:lnTo>
                  <a:lnTo>
                    <a:pt x="43" y="539"/>
                  </a:lnTo>
                  <a:lnTo>
                    <a:pt x="47" y="505"/>
                  </a:lnTo>
                  <a:lnTo>
                    <a:pt x="31" y="498"/>
                  </a:lnTo>
                  <a:lnTo>
                    <a:pt x="26" y="472"/>
                  </a:lnTo>
                  <a:lnTo>
                    <a:pt x="26" y="465"/>
                  </a:lnTo>
                  <a:lnTo>
                    <a:pt x="43" y="454"/>
                  </a:lnTo>
                  <a:lnTo>
                    <a:pt x="31" y="428"/>
                  </a:lnTo>
                  <a:lnTo>
                    <a:pt x="14" y="416"/>
                  </a:lnTo>
                  <a:lnTo>
                    <a:pt x="14" y="399"/>
                  </a:lnTo>
                  <a:lnTo>
                    <a:pt x="0" y="387"/>
                  </a:lnTo>
                  <a:lnTo>
                    <a:pt x="14" y="378"/>
                  </a:lnTo>
                  <a:lnTo>
                    <a:pt x="14" y="371"/>
                  </a:lnTo>
                  <a:lnTo>
                    <a:pt x="31" y="361"/>
                  </a:lnTo>
                  <a:lnTo>
                    <a:pt x="31" y="345"/>
                  </a:lnTo>
                  <a:lnTo>
                    <a:pt x="10" y="317"/>
                  </a:lnTo>
                  <a:lnTo>
                    <a:pt x="69" y="300"/>
                  </a:lnTo>
                  <a:lnTo>
                    <a:pt x="64" y="288"/>
                  </a:lnTo>
                  <a:lnTo>
                    <a:pt x="85" y="276"/>
                  </a:lnTo>
                  <a:lnTo>
                    <a:pt x="85" y="260"/>
                  </a:lnTo>
                  <a:lnTo>
                    <a:pt x="64" y="243"/>
                  </a:lnTo>
                  <a:lnTo>
                    <a:pt x="69" y="234"/>
                  </a:lnTo>
                  <a:lnTo>
                    <a:pt x="85" y="234"/>
                  </a:lnTo>
                  <a:lnTo>
                    <a:pt x="102" y="205"/>
                  </a:lnTo>
                  <a:lnTo>
                    <a:pt x="102" y="177"/>
                  </a:lnTo>
                  <a:lnTo>
                    <a:pt x="102" y="172"/>
                  </a:lnTo>
                  <a:lnTo>
                    <a:pt x="106" y="172"/>
                  </a:lnTo>
                  <a:lnTo>
                    <a:pt x="85" y="168"/>
                  </a:lnTo>
                  <a:lnTo>
                    <a:pt x="85" y="168"/>
                  </a:lnTo>
                  <a:lnTo>
                    <a:pt x="97" y="139"/>
                  </a:lnTo>
                  <a:lnTo>
                    <a:pt x="102" y="132"/>
                  </a:lnTo>
                  <a:lnTo>
                    <a:pt x="156" y="132"/>
                  </a:lnTo>
                  <a:lnTo>
                    <a:pt x="161" y="149"/>
                  </a:lnTo>
                  <a:lnTo>
                    <a:pt x="156" y="149"/>
                  </a:lnTo>
                  <a:lnTo>
                    <a:pt x="161" y="156"/>
                  </a:lnTo>
                  <a:lnTo>
                    <a:pt x="173" y="156"/>
                  </a:lnTo>
                  <a:lnTo>
                    <a:pt x="177" y="149"/>
                  </a:lnTo>
                  <a:lnTo>
                    <a:pt x="173" y="149"/>
                  </a:lnTo>
                  <a:lnTo>
                    <a:pt x="173" y="139"/>
                  </a:lnTo>
                  <a:lnTo>
                    <a:pt x="177" y="139"/>
                  </a:lnTo>
                  <a:lnTo>
                    <a:pt x="189" y="149"/>
                  </a:lnTo>
                  <a:lnTo>
                    <a:pt x="189" y="168"/>
                  </a:lnTo>
                  <a:lnTo>
                    <a:pt x="194" y="149"/>
                  </a:lnTo>
                  <a:lnTo>
                    <a:pt x="189" y="132"/>
                  </a:lnTo>
                  <a:lnTo>
                    <a:pt x="203" y="116"/>
                  </a:lnTo>
                  <a:lnTo>
                    <a:pt x="241" y="116"/>
                  </a:lnTo>
                  <a:lnTo>
                    <a:pt x="265" y="139"/>
                  </a:lnTo>
                  <a:lnTo>
                    <a:pt x="279" y="149"/>
                  </a:lnTo>
                  <a:lnTo>
                    <a:pt x="265" y="139"/>
                  </a:lnTo>
                  <a:lnTo>
                    <a:pt x="248" y="116"/>
                  </a:lnTo>
                  <a:lnTo>
                    <a:pt x="215" y="111"/>
                  </a:lnTo>
                  <a:lnTo>
                    <a:pt x="210" y="99"/>
                  </a:lnTo>
                  <a:lnTo>
                    <a:pt x="227" y="94"/>
                  </a:lnTo>
                  <a:lnTo>
                    <a:pt x="210" y="83"/>
                  </a:lnTo>
                  <a:lnTo>
                    <a:pt x="215" y="78"/>
                  </a:lnTo>
                  <a:lnTo>
                    <a:pt x="203" y="78"/>
                  </a:lnTo>
                  <a:lnTo>
                    <a:pt x="194" y="66"/>
                  </a:lnTo>
                  <a:lnTo>
                    <a:pt x="227" y="57"/>
                  </a:lnTo>
                  <a:lnTo>
                    <a:pt x="194" y="12"/>
                  </a:lnTo>
                  <a:lnTo>
                    <a:pt x="173" y="12"/>
                  </a:lnTo>
                  <a:lnTo>
                    <a:pt x="173" y="28"/>
                  </a:lnTo>
                  <a:lnTo>
                    <a:pt x="177" y="0"/>
                  </a:lnTo>
                  <a:lnTo>
                    <a:pt x="189" y="0"/>
                  </a:lnTo>
                  <a:lnTo>
                    <a:pt x="177" y="5"/>
                  </a:lnTo>
                  <a:lnTo>
                    <a:pt x="189" y="12"/>
                  </a:lnTo>
                  <a:lnTo>
                    <a:pt x="203" y="12"/>
                  </a:lnTo>
                  <a:lnTo>
                    <a:pt x="258" y="24"/>
                  </a:lnTo>
                  <a:lnTo>
                    <a:pt x="295" y="28"/>
                  </a:lnTo>
                  <a:lnTo>
                    <a:pt x="295" y="45"/>
                  </a:lnTo>
                  <a:lnTo>
                    <a:pt x="286" y="61"/>
                  </a:lnTo>
                  <a:lnTo>
                    <a:pt x="302" y="57"/>
                  </a:lnTo>
                  <a:lnTo>
                    <a:pt x="340" y="66"/>
                  </a:lnTo>
                  <a:lnTo>
                    <a:pt x="371" y="66"/>
                  </a:lnTo>
                  <a:lnTo>
                    <a:pt x="371" y="83"/>
                  </a:lnTo>
                  <a:lnTo>
                    <a:pt x="350" y="99"/>
                  </a:lnTo>
                  <a:lnTo>
                    <a:pt x="354" y="99"/>
                  </a:lnTo>
                  <a:lnTo>
                    <a:pt x="350" y="116"/>
                  </a:lnTo>
                  <a:lnTo>
                    <a:pt x="371" y="99"/>
                  </a:lnTo>
                  <a:lnTo>
                    <a:pt x="392" y="111"/>
                  </a:lnTo>
                  <a:lnTo>
                    <a:pt x="409" y="83"/>
                  </a:lnTo>
                  <a:lnTo>
                    <a:pt x="442" y="83"/>
                  </a:lnTo>
                  <a:lnTo>
                    <a:pt x="475" y="57"/>
                  </a:lnTo>
                  <a:lnTo>
                    <a:pt x="501" y="61"/>
                  </a:lnTo>
                  <a:lnTo>
                    <a:pt x="463" y="61"/>
                  </a:lnTo>
                  <a:lnTo>
                    <a:pt x="458" y="78"/>
                  </a:lnTo>
                  <a:lnTo>
                    <a:pt x="475" y="66"/>
                  </a:lnTo>
                  <a:lnTo>
                    <a:pt x="501" y="61"/>
                  </a:lnTo>
                  <a:lnTo>
                    <a:pt x="534" y="94"/>
                  </a:lnTo>
                  <a:lnTo>
                    <a:pt x="555" y="83"/>
                  </a:lnTo>
                  <a:lnTo>
                    <a:pt x="567" y="111"/>
                  </a:lnTo>
                  <a:lnTo>
                    <a:pt x="567" y="116"/>
                  </a:lnTo>
                  <a:lnTo>
                    <a:pt x="593" y="132"/>
                  </a:lnTo>
                  <a:lnTo>
                    <a:pt x="605" y="168"/>
                  </a:lnTo>
                  <a:lnTo>
                    <a:pt x="605" y="189"/>
                  </a:lnTo>
                  <a:lnTo>
                    <a:pt x="588" y="205"/>
                  </a:lnTo>
                  <a:lnTo>
                    <a:pt x="588" y="210"/>
                  </a:lnTo>
                  <a:lnTo>
                    <a:pt x="619" y="243"/>
                  </a:lnTo>
                  <a:lnTo>
                    <a:pt x="610" y="260"/>
                  </a:lnTo>
                  <a:lnTo>
                    <a:pt x="626" y="276"/>
                  </a:lnTo>
                  <a:lnTo>
                    <a:pt x="626" y="288"/>
                  </a:lnTo>
                  <a:lnTo>
                    <a:pt x="619" y="317"/>
                  </a:lnTo>
                  <a:lnTo>
                    <a:pt x="626" y="333"/>
                  </a:lnTo>
                  <a:lnTo>
                    <a:pt x="626" y="345"/>
                  </a:lnTo>
                  <a:lnTo>
                    <a:pt x="643" y="345"/>
                  </a:lnTo>
                  <a:lnTo>
                    <a:pt x="647" y="371"/>
                  </a:lnTo>
                  <a:lnTo>
                    <a:pt x="636" y="411"/>
                  </a:lnTo>
                  <a:lnTo>
                    <a:pt x="619" y="411"/>
                  </a:lnTo>
                  <a:lnTo>
                    <a:pt x="610" y="394"/>
                  </a:lnTo>
                  <a:lnTo>
                    <a:pt x="593" y="387"/>
                  </a:lnTo>
                  <a:lnTo>
                    <a:pt x="593" y="394"/>
                  </a:lnTo>
                  <a:lnTo>
                    <a:pt x="605" y="399"/>
                  </a:lnTo>
                  <a:lnTo>
                    <a:pt x="593" y="399"/>
                  </a:lnTo>
                  <a:lnTo>
                    <a:pt x="539" y="416"/>
                  </a:lnTo>
                  <a:lnTo>
                    <a:pt x="501" y="449"/>
                  </a:lnTo>
                  <a:lnTo>
                    <a:pt x="501" y="449"/>
                  </a:lnTo>
                  <a:lnTo>
                    <a:pt x="501" y="449"/>
                  </a:lnTo>
                  <a:close/>
                  <a:moveTo>
                    <a:pt x="194" y="40"/>
                  </a:moveTo>
                  <a:lnTo>
                    <a:pt x="177" y="28"/>
                  </a:lnTo>
                  <a:lnTo>
                    <a:pt x="194" y="28"/>
                  </a:lnTo>
                  <a:lnTo>
                    <a:pt x="194" y="40"/>
                  </a:lnTo>
                  <a:lnTo>
                    <a:pt x="194" y="40"/>
                  </a:lnTo>
                  <a:lnTo>
                    <a:pt x="194" y="40"/>
                  </a:lnTo>
                  <a:close/>
                  <a:moveTo>
                    <a:pt x="177" y="45"/>
                  </a:moveTo>
                  <a:lnTo>
                    <a:pt x="173" y="40"/>
                  </a:lnTo>
                  <a:lnTo>
                    <a:pt x="177" y="28"/>
                  </a:lnTo>
                  <a:lnTo>
                    <a:pt x="177" y="45"/>
                  </a:lnTo>
                  <a:lnTo>
                    <a:pt x="177" y="45"/>
                  </a:lnTo>
                  <a:lnTo>
                    <a:pt x="177" y="45"/>
                  </a:lnTo>
                  <a:close/>
                  <a:moveTo>
                    <a:pt x="529" y="78"/>
                  </a:moveTo>
                  <a:lnTo>
                    <a:pt x="534" y="78"/>
                  </a:lnTo>
                  <a:lnTo>
                    <a:pt x="513" y="66"/>
                  </a:lnTo>
                  <a:lnTo>
                    <a:pt x="529" y="61"/>
                  </a:lnTo>
                  <a:lnTo>
                    <a:pt x="517" y="45"/>
                  </a:lnTo>
                  <a:lnTo>
                    <a:pt x="539" y="57"/>
                  </a:lnTo>
                  <a:lnTo>
                    <a:pt x="534" y="45"/>
                  </a:lnTo>
                  <a:lnTo>
                    <a:pt x="517" y="45"/>
                  </a:lnTo>
                  <a:lnTo>
                    <a:pt x="517" y="40"/>
                  </a:lnTo>
                  <a:lnTo>
                    <a:pt x="534" y="40"/>
                  </a:lnTo>
                  <a:lnTo>
                    <a:pt x="534" y="45"/>
                  </a:lnTo>
                  <a:lnTo>
                    <a:pt x="551" y="45"/>
                  </a:lnTo>
                  <a:lnTo>
                    <a:pt x="539" y="61"/>
                  </a:lnTo>
                  <a:lnTo>
                    <a:pt x="555" y="78"/>
                  </a:lnTo>
                  <a:lnTo>
                    <a:pt x="551" y="66"/>
                  </a:lnTo>
                  <a:lnTo>
                    <a:pt x="539" y="66"/>
                  </a:lnTo>
                  <a:lnTo>
                    <a:pt x="529" y="78"/>
                  </a:lnTo>
                  <a:lnTo>
                    <a:pt x="529" y="78"/>
                  </a:lnTo>
                  <a:lnTo>
                    <a:pt x="529" y="78"/>
                  </a:lnTo>
                  <a:close/>
                  <a:moveTo>
                    <a:pt x="203" y="57"/>
                  </a:moveTo>
                  <a:lnTo>
                    <a:pt x="194" y="57"/>
                  </a:lnTo>
                  <a:lnTo>
                    <a:pt x="203" y="45"/>
                  </a:lnTo>
                  <a:lnTo>
                    <a:pt x="203" y="57"/>
                  </a:lnTo>
                  <a:lnTo>
                    <a:pt x="203" y="57"/>
                  </a:lnTo>
                  <a:lnTo>
                    <a:pt x="203" y="57"/>
                  </a:lnTo>
                  <a:close/>
                  <a:moveTo>
                    <a:pt x="378" y="61"/>
                  </a:moveTo>
                  <a:lnTo>
                    <a:pt x="388" y="61"/>
                  </a:lnTo>
                  <a:lnTo>
                    <a:pt x="366" y="61"/>
                  </a:lnTo>
                  <a:lnTo>
                    <a:pt x="371" y="57"/>
                  </a:lnTo>
                  <a:lnTo>
                    <a:pt x="378" y="61"/>
                  </a:lnTo>
                  <a:lnTo>
                    <a:pt x="378" y="61"/>
                  </a:lnTo>
                  <a:lnTo>
                    <a:pt x="378" y="61"/>
                  </a:lnTo>
                  <a:close/>
                  <a:moveTo>
                    <a:pt x="588" y="111"/>
                  </a:moveTo>
                  <a:lnTo>
                    <a:pt x="588" y="116"/>
                  </a:lnTo>
                  <a:lnTo>
                    <a:pt x="567" y="116"/>
                  </a:lnTo>
                  <a:lnTo>
                    <a:pt x="581" y="99"/>
                  </a:lnTo>
                  <a:lnTo>
                    <a:pt x="572" y="94"/>
                  </a:lnTo>
                  <a:lnTo>
                    <a:pt x="567" y="99"/>
                  </a:lnTo>
                  <a:lnTo>
                    <a:pt x="555" y="83"/>
                  </a:lnTo>
                  <a:lnTo>
                    <a:pt x="588" y="111"/>
                  </a:lnTo>
                  <a:lnTo>
                    <a:pt x="588" y="111"/>
                  </a:lnTo>
                  <a:lnTo>
                    <a:pt x="588" y="111"/>
                  </a:lnTo>
                  <a:close/>
                  <a:moveTo>
                    <a:pt x="392" y="111"/>
                  </a:moveTo>
                  <a:lnTo>
                    <a:pt x="388" y="99"/>
                  </a:lnTo>
                  <a:lnTo>
                    <a:pt x="392" y="99"/>
                  </a:lnTo>
                  <a:lnTo>
                    <a:pt x="392" y="111"/>
                  </a:lnTo>
                  <a:lnTo>
                    <a:pt x="392" y="111"/>
                  </a:lnTo>
                  <a:lnTo>
                    <a:pt x="392" y="111"/>
                  </a:lnTo>
                  <a:close/>
                  <a:moveTo>
                    <a:pt x="64" y="149"/>
                  </a:moveTo>
                  <a:lnTo>
                    <a:pt x="64" y="139"/>
                  </a:lnTo>
                  <a:lnTo>
                    <a:pt x="69" y="139"/>
                  </a:lnTo>
                  <a:lnTo>
                    <a:pt x="64" y="149"/>
                  </a:lnTo>
                  <a:lnTo>
                    <a:pt x="64" y="149"/>
                  </a:lnTo>
                  <a:lnTo>
                    <a:pt x="64" y="14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02" name="Freeform 564">
              <a:extLst>
                <a:ext uri="{FF2B5EF4-FFF2-40B4-BE49-F238E27FC236}">
                  <a16:creationId xmlns:a16="http://schemas.microsoft.com/office/drawing/2014/main" id="{7B1164FE-E1E5-45C4-A8D0-213E039FD7D7}"/>
                </a:ext>
              </a:extLst>
            </p:cNvPr>
            <p:cNvSpPr>
              <a:spLocks/>
            </p:cNvSpPr>
            <p:nvPr/>
          </p:nvSpPr>
          <p:spPr bwMode="gray">
            <a:xfrm>
              <a:off x="6898314" y="2528950"/>
              <a:ext cx="129264" cy="74108"/>
            </a:xfrm>
            <a:custGeom>
              <a:avLst/>
              <a:gdLst>
                <a:gd name="T0" fmla="*/ 38 w 314"/>
                <a:gd name="T1" fmla="*/ 90 h 180"/>
                <a:gd name="T2" fmla="*/ 71 w 314"/>
                <a:gd name="T3" fmla="*/ 50 h 180"/>
                <a:gd name="T4" fmla="*/ 76 w 314"/>
                <a:gd name="T5" fmla="*/ 38 h 180"/>
                <a:gd name="T6" fmla="*/ 71 w 314"/>
                <a:gd name="T7" fmla="*/ 38 h 180"/>
                <a:gd name="T8" fmla="*/ 76 w 314"/>
                <a:gd name="T9" fmla="*/ 28 h 180"/>
                <a:gd name="T10" fmla="*/ 97 w 314"/>
                <a:gd name="T11" fmla="*/ 33 h 180"/>
                <a:gd name="T12" fmla="*/ 113 w 314"/>
                <a:gd name="T13" fmla="*/ 17 h 180"/>
                <a:gd name="T14" fmla="*/ 184 w 314"/>
                <a:gd name="T15" fmla="*/ 17 h 180"/>
                <a:gd name="T16" fmla="*/ 184 w 314"/>
                <a:gd name="T17" fmla="*/ 10 h 180"/>
                <a:gd name="T18" fmla="*/ 168 w 314"/>
                <a:gd name="T19" fmla="*/ 10 h 180"/>
                <a:gd name="T20" fmla="*/ 184 w 314"/>
                <a:gd name="T21" fmla="*/ 0 h 180"/>
                <a:gd name="T22" fmla="*/ 194 w 314"/>
                <a:gd name="T23" fmla="*/ 0 h 180"/>
                <a:gd name="T24" fmla="*/ 194 w 314"/>
                <a:gd name="T25" fmla="*/ 10 h 180"/>
                <a:gd name="T26" fmla="*/ 231 w 314"/>
                <a:gd name="T27" fmla="*/ 10 h 180"/>
                <a:gd name="T28" fmla="*/ 253 w 314"/>
                <a:gd name="T29" fmla="*/ 28 h 180"/>
                <a:gd name="T30" fmla="*/ 260 w 314"/>
                <a:gd name="T31" fmla="*/ 33 h 180"/>
                <a:gd name="T32" fmla="*/ 253 w 314"/>
                <a:gd name="T33" fmla="*/ 50 h 180"/>
                <a:gd name="T34" fmla="*/ 248 w 314"/>
                <a:gd name="T35" fmla="*/ 66 h 180"/>
                <a:gd name="T36" fmla="*/ 253 w 314"/>
                <a:gd name="T37" fmla="*/ 66 h 180"/>
                <a:gd name="T38" fmla="*/ 276 w 314"/>
                <a:gd name="T39" fmla="*/ 73 h 180"/>
                <a:gd name="T40" fmla="*/ 276 w 314"/>
                <a:gd name="T41" fmla="*/ 83 h 180"/>
                <a:gd name="T42" fmla="*/ 293 w 314"/>
                <a:gd name="T43" fmla="*/ 90 h 180"/>
                <a:gd name="T44" fmla="*/ 307 w 314"/>
                <a:gd name="T45" fmla="*/ 73 h 180"/>
                <a:gd name="T46" fmla="*/ 314 w 314"/>
                <a:gd name="T47" fmla="*/ 83 h 180"/>
                <a:gd name="T48" fmla="*/ 314 w 314"/>
                <a:gd name="T49" fmla="*/ 111 h 180"/>
                <a:gd name="T50" fmla="*/ 302 w 314"/>
                <a:gd name="T51" fmla="*/ 106 h 180"/>
                <a:gd name="T52" fmla="*/ 286 w 314"/>
                <a:gd name="T53" fmla="*/ 111 h 180"/>
                <a:gd name="T54" fmla="*/ 286 w 314"/>
                <a:gd name="T55" fmla="*/ 123 h 180"/>
                <a:gd name="T56" fmla="*/ 293 w 314"/>
                <a:gd name="T57" fmla="*/ 128 h 180"/>
                <a:gd name="T58" fmla="*/ 293 w 314"/>
                <a:gd name="T59" fmla="*/ 147 h 180"/>
                <a:gd name="T60" fmla="*/ 276 w 314"/>
                <a:gd name="T61" fmla="*/ 128 h 180"/>
                <a:gd name="T62" fmla="*/ 253 w 314"/>
                <a:gd name="T63" fmla="*/ 139 h 180"/>
                <a:gd name="T64" fmla="*/ 248 w 314"/>
                <a:gd name="T65" fmla="*/ 123 h 180"/>
                <a:gd name="T66" fmla="*/ 231 w 314"/>
                <a:gd name="T67" fmla="*/ 123 h 180"/>
                <a:gd name="T68" fmla="*/ 231 w 314"/>
                <a:gd name="T69" fmla="*/ 139 h 180"/>
                <a:gd name="T70" fmla="*/ 215 w 314"/>
                <a:gd name="T71" fmla="*/ 168 h 180"/>
                <a:gd name="T72" fmla="*/ 222 w 314"/>
                <a:gd name="T73" fmla="*/ 168 h 180"/>
                <a:gd name="T74" fmla="*/ 215 w 314"/>
                <a:gd name="T75" fmla="*/ 180 h 180"/>
                <a:gd name="T76" fmla="*/ 201 w 314"/>
                <a:gd name="T77" fmla="*/ 163 h 180"/>
                <a:gd name="T78" fmla="*/ 201 w 314"/>
                <a:gd name="T79" fmla="*/ 151 h 180"/>
                <a:gd name="T80" fmla="*/ 177 w 314"/>
                <a:gd name="T81" fmla="*/ 147 h 180"/>
                <a:gd name="T82" fmla="*/ 177 w 314"/>
                <a:gd name="T83" fmla="*/ 123 h 180"/>
                <a:gd name="T84" fmla="*/ 163 w 314"/>
                <a:gd name="T85" fmla="*/ 123 h 180"/>
                <a:gd name="T86" fmla="*/ 151 w 314"/>
                <a:gd name="T87" fmla="*/ 151 h 180"/>
                <a:gd name="T88" fmla="*/ 130 w 314"/>
                <a:gd name="T89" fmla="*/ 168 h 180"/>
                <a:gd name="T90" fmla="*/ 125 w 314"/>
                <a:gd name="T91" fmla="*/ 168 h 180"/>
                <a:gd name="T92" fmla="*/ 87 w 314"/>
                <a:gd name="T93" fmla="*/ 180 h 180"/>
                <a:gd name="T94" fmla="*/ 76 w 314"/>
                <a:gd name="T95" fmla="*/ 168 h 180"/>
                <a:gd name="T96" fmla="*/ 59 w 314"/>
                <a:gd name="T97" fmla="*/ 151 h 180"/>
                <a:gd name="T98" fmla="*/ 59 w 314"/>
                <a:gd name="T99" fmla="*/ 128 h 180"/>
                <a:gd name="T100" fmla="*/ 54 w 314"/>
                <a:gd name="T101" fmla="*/ 123 h 180"/>
                <a:gd name="T102" fmla="*/ 21 w 314"/>
                <a:gd name="T103" fmla="*/ 128 h 180"/>
                <a:gd name="T104" fmla="*/ 21 w 314"/>
                <a:gd name="T105" fmla="*/ 147 h 180"/>
                <a:gd name="T106" fmla="*/ 5 w 314"/>
                <a:gd name="T107" fmla="*/ 151 h 180"/>
                <a:gd name="T108" fmla="*/ 0 w 314"/>
                <a:gd name="T109" fmla="*/ 147 h 180"/>
                <a:gd name="T110" fmla="*/ 16 w 314"/>
                <a:gd name="T111" fmla="*/ 139 h 180"/>
                <a:gd name="T112" fmla="*/ 16 w 314"/>
                <a:gd name="T113" fmla="*/ 128 h 180"/>
                <a:gd name="T114" fmla="*/ 5 w 314"/>
                <a:gd name="T115" fmla="*/ 123 h 180"/>
                <a:gd name="T116" fmla="*/ 16 w 314"/>
                <a:gd name="T117" fmla="*/ 111 h 180"/>
                <a:gd name="T118" fmla="*/ 33 w 314"/>
                <a:gd name="T119" fmla="*/ 95 h 180"/>
                <a:gd name="T120" fmla="*/ 38 w 314"/>
                <a:gd name="T121" fmla="*/ 90 h 180"/>
                <a:gd name="T122" fmla="*/ 38 w 314"/>
                <a:gd name="T123" fmla="*/ 90 h 180"/>
                <a:gd name="T124" fmla="*/ 38 w 314"/>
                <a:gd name="T125"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4" h="180">
                  <a:moveTo>
                    <a:pt x="38" y="90"/>
                  </a:moveTo>
                  <a:lnTo>
                    <a:pt x="71" y="50"/>
                  </a:lnTo>
                  <a:lnTo>
                    <a:pt x="76" y="38"/>
                  </a:lnTo>
                  <a:lnTo>
                    <a:pt x="71" y="38"/>
                  </a:lnTo>
                  <a:lnTo>
                    <a:pt x="76" y="28"/>
                  </a:lnTo>
                  <a:lnTo>
                    <a:pt x="97" y="33"/>
                  </a:lnTo>
                  <a:lnTo>
                    <a:pt x="113" y="17"/>
                  </a:lnTo>
                  <a:lnTo>
                    <a:pt x="184" y="17"/>
                  </a:lnTo>
                  <a:lnTo>
                    <a:pt x="184" y="10"/>
                  </a:lnTo>
                  <a:lnTo>
                    <a:pt x="168" y="10"/>
                  </a:lnTo>
                  <a:lnTo>
                    <a:pt x="184" y="0"/>
                  </a:lnTo>
                  <a:lnTo>
                    <a:pt x="194" y="0"/>
                  </a:lnTo>
                  <a:lnTo>
                    <a:pt x="194" y="10"/>
                  </a:lnTo>
                  <a:lnTo>
                    <a:pt x="231" y="10"/>
                  </a:lnTo>
                  <a:lnTo>
                    <a:pt x="253" y="28"/>
                  </a:lnTo>
                  <a:lnTo>
                    <a:pt x="260" y="33"/>
                  </a:lnTo>
                  <a:lnTo>
                    <a:pt x="253" y="50"/>
                  </a:lnTo>
                  <a:lnTo>
                    <a:pt x="248" y="66"/>
                  </a:lnTo>
                  <a:lnTo>
                    <a:pt x="253" y="66"/>
                  </a:lnTo>
                  <a:lnTo>
                    <a:pt x="276" y="73"/>
                  </a:lnTo>
                  <a:lnTo>
                    <a:pt x="276" y="83"/>
                  </a:lnTo>
                  <a:lnTo>
                    <a:pt x="293" y="90"/>
                  </a:lnTo>
                  <a:lnTo>
                    <a:pt x="307" y="73"/>
                  </a:lnTo>
                  <a:lnTo>
                    <a:pt x="314" y="83"/>
                  </a:lnTo>
                  <a:lnTo>
                    <a:pt x="314" y="111"/>
                  </a:lnTo>
                  <a:lnTo>
                    <a:pt x="302" y="106"/>
                  </a:lnTo>
                  <a:lnTo>
                    <a:pt x="286" y="111"/>
                  </a:lnTo>
                  <a:lnTo>
                    <a:pt x="286" y="123"/>
                  </a:lnTo>
                  <a:lnTo>
                    <a:pt x="293" y="128"/>
                  </a:lnTo>
                  <a:lnTo>
                    <a:pt x="293" y="147"/>
                  </a:lnTo>
                  <a:lnTo>
                    <a:pt x="276" y="128"/>
                  </a:lnTo>
                  <a:lnTo>
                    <a:pt x="253" y="139"/>
                  </a:lnTo>
                  <a:lnTo>
                    <a:pt x="248" y="123"/>
                  </a:lnTo>
                  <a:lnTo>
                    <a:pt x="231" y="123"/>
                  </a:lnTo>
                  <a:lnTo>
                    <a:pt x="231" y="139"/>
                  </a:lnTo>
                  <a:lnTo>
                    <a:pt x="215" y="168"/>
                  </a:lnTo>
                  <a:lnTo>
                    <a:pt x="222" y="168"/>
                  </a:lnTo>
                  <a:lnTo>
                    <a:pt x="215" y="180"/>
                  </a:lnTo>
                  <a:lnTo>
                    <a:pt x="201" y="163"/>
                  </a:lnTo>
                  <a:lnTo>
                    <a:pt x="201" y="151"/>
                  </a:lnTo>
                  <a:lnTo>
                    <a:pt x="177" y="147"/>
                  </a:lnTo>
                  <a:lnTo>
                    <a:pt x="177" y="123"/>
                  </a:lnTo>
                  <a:lnTo>
                    <a:pt x="163" y="123"/>
                  </a:lnTo>
                  <a:lnTo>
                    <a:pt x="151" y="151"/>
                  </a:lnTo>
                  <a:lnTo>
                    <a:pt x="130" y="168"/>
                  </a:lnTo>
                  <a:lnTo>
                    <a:pt x="125" y="168"/>
                  </a:lnTo>
                  <a:lnTo>
                    <a:pt x="87" y="180"/>
                  </a:lnTo>
                  <a:lnTo>
                    <a:pt x="76" y="168"/>
                  </a:lnTo>
                  <a:lnTo>
                    <a:pt x="59" y="151"/>
                  </a:lnTo>
                  <a:lnTo>
                    <a:pt x="59" y="128"/>
                  </a:lnTo>
                  <a:lnTo>
                    <a:pt x="54" y="123"/>
                  </a:lnTo>
                  <a:lnTo>
                    <a:pt x="21" y="128"/>
                  </a:lnTo>
                  <a:lnTo>
                    <a:pt x="21" y="147"/>
                  </a:lnTo>
                  <a:lnTo>
                    <a:pt x="5" y="151"/>
                  </a:lnTo>
                  <a:lnTo>
                    <a:pt x="0" y="147"/>
                  </a:lnTo>
                  <a:lnTo>
                    <a:pt x="16" y="139"/>
                  </a:lnTo>
                  <a:lnTo>
                    <a:pt x="16" y="128"/>
                  </a:lnTo>
                  <a:lnTo>
                    <a:pt x="5" y="123"/>
                  </a:lnTo>
                  <a:lnTo>
                    <a:pt x="16" y="111"/>
                  </a:lnTo>
                  <a:lnTo>
                    <a:pt x="33" y="95"/>
                  </a:lnTo>
                  <a:lnTo>
                    <a:pt x="38" y="90"/>
                  </a:lnTo>
                  <a:lnTo>
                    <a:pt x="38" y="90"/>
                  </a:lnTo>
                  <a:lnTo>
                    <a:pt x="38" y="9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703" name="Gruppieren 5702">
            <a:extLst>
              <a:ext uri="{FF2B5EF4-FFF2-40B4-BE49-F238E27FC236}">
                <a16:creationId xmlns:a16="http://schemas.microsoft.com/office/drawing/2014/main" id="{C455C168-ECD2-45B8-BDB9-4AC90C43D718}"/>
              </a:ext>
            </a:extLst>
          </p:cNvPr>
          <p:cNvGrpSpPr/>
          <p:nvPr/>
        </p:nvGrpSpPr>
        <p:grpSpPr bwMode="gray">
          <a:xfrm>
            <a:off x="-152399" y="3211391"/>
            <a:ext cx="11728014" cy="3136955"/>
            <a:chOff x="1557717" y="727692"/>
            <a:chExt cx="10359267" cy="2770849"/>
          </a:xfrm>
          <a:pattFill prst="ltUpDiag">
            <a:fgClr>
              <a:schemeClr val="bg2">
                <a:lumMod val="90000"/>
              </a:schemeClr>
            </a:fgClr>
            <a:bgClr>
              <a:schemeClr val="bg1"/>
            </a:bgClr>
          </a:pattFill>
        </p:grpSpPr>
        <p:sp>
          <p:nvSpPr>
            <p:cNvPr id="5704" name="Freeform 408">
              <a:extLst>
                <a:ext uri="{FF2B5EF4-FFF2-40B4-BE49-F238E27FC236}">
                  <a16:creationId xmlns:a16="http://schemas.microsoft.com/office/drawing/2014/main" id="{175A292E-33A9-43B8-803A-182A67A6F7E7}"/>
                </a:ext>
              </a:extLst>
            </p:cNvPr>
            <p:cNvSpPr>
              <a:spLocks noEditPoints="1"/>
            </p:cNvSpPr>
            <p:nvPr/>
          </p:nvSpPr>
          <p:spPr bwMode="gray">
            <a:xfrm>
              <a:off x="2654407" y="727692"/>
              <a:ext cx="2552766" cy="2024820"/>
            </a:xfrm>
            <a:custGeom>
              <a:avLst/>
              <a:gdLst>
                <a:gd name="T0" fmla="*/ 3990 w 6201"/>
                <a:gd name="T1" fmla="*/ 834 h 4918"/>
                <a:gd name="T2" fmla="*/ 4108 w 6201"/>
                <a:gd name="T3" fmla="*/ 345 h 4918"/>
                <a:gd name="T4" fmla="*/ 4805 w 6201"/>
                <a:gd name="T5" fmla="*/ 74 h 4918"/>
                <a:gd name="T6" fmla="*/ 4465 w 6201"/>
                <a:gd name="T7" fmla="*/ 629 h 4918"/>
                <a:gd name="T8" fmla="*/ 3418 w 6201"/>
                <a:gd name="T9" fmla="*/ 638 h 4918"/>
                <a:gd name="T10" fmla="*/ 3721 w 6201"/>
                <a:gd name="T11" fmla="*/ 711 h 4918"/>
                <a:gd name="T12" fmla="*/ 3239 w 6201"/>
                <a:gd name="T13" fmla="*/ 806 h 4918"/>
                <a:gd name="T14" fmla="*/ 3352 w 6201"/>
                <a:gd name="T15" fmla="*/ 905 h 4918"/>
                <a:gd name="T16" fmla="*/ 3504 w 6201"/>
                <a:gd name="T17" fmla="*/ 978 h 4918"/>
                <a:gd name="T18" fmla="*/ 3440 w 6201"/>
                <a:gd name="T19" fmla="*/ 1292 h 4918"/>
                <a:gd name="T20" fmla="*/ 3078 w 6201"/>
                <a:gd name="T21" fmla="*/ 1044 h 4918"/>
                <a:gd name="T22" fmla="*/ 2327 w 6201"/>
                <a:gd name="T23" fmla="*/ 1292 h 4918"/>
                <a:gd name="T24" fmla="*/ 2899 w 6201"/>
                <a:gd name="T25" fmla="*/ 1222 h 4918"/>
                <a:gd name="T26" fmla="*/ 1276 w 6201"/>
                <a:gd name="T27" fmla="*/ 1160 h 4918"/>
                <a:gd name="T28" fmla="*/ 3062 w 6201"/>
                <a:gd name="T29" fmla="*/ 1366 h 4918"/>
                <a:gd name="T30" fmla="*/ 2948 w 6201"/>
                <a:gd name="T31" fmla="*/ 1486 h 4918"/>
                <a:gd name="T32" fmla="*/ 3910 w 6201"/>
                <a:gd name="T33" fmla="*/ 1992 h 4918"/>
                <a:gd name="T34" fmla="*/ 3990 w 6201"/>
                <a:gd name="T35" fmla="*/ 1526 h 4918"/>
                <a:gd name="T36" fmla="*/ 4729 w 6201"/>
                <a:gd name="T37" fmla="*/ 1826 h 4918"/>
                <a:gd name="T38" fmla="*/ 5138 w 6201"/>
                <a:gd name="T39" fmla="*/ 2119 h 4918"/>
                <a:gd name="T40" fmla="*/ 5490 w 6201"/>
                <a:gd name="T41" fmla="*/ 2374 h 4918"/>
                <a:gd name="T42" fmla="*/ 5183 w 6201"/>
                <a:gd name="T43" fmla="*/ 2452 h 4918"/>
                <a:gd name="T44" fmla="*/ 5145 w 6201"/>
                <a:gd name="T45" fmla="*/ 2847 h 4918"/>
                <a:gd name="T46" fmla="*/ 4611 w 6201"/>
                <a:gd name="T47" fmla="*/ 2613 h 4918"/>
                <a:gd name="T48" fmla="*/ 4460 w 6201"/>
                <a:gd name="T49" fmla="*/ 1515 h 4918"/>
                <a:gd name="T50" fmla="*/ 1928 w 6201"/>
                <a:gd name="T51" fmla="*/ 2115 h 4918"/>
                <a:gd name="T52" fmla="*/ 2301 w 6201"/>
                <a:gd name="T53" fmla="*/ 1737 h 4918"/>
                <a:gd name="T54" fmla="*/ 4318 w 6201"/>
                <a:gd name="T55" fmla="*/ 1682 h 4918"/>
                <a:gd name="T56" fmla="*/ 1226 w 6201"/>
                <a:gd name="T57" fmla="*/ 4222 h 4918"/>
                <a:gd name="T58" fmla="*/ 898 w 6201"/>
                <a:gd name="T59" fmla="*/ 3933 h 4918"/>
                <a:gd name="T60" fmla="*/ 600 w 6201"/>
                <a:gd name="T61" fmla="*/ 2025 h 4918"/>
                <a:gd name="T62" fmla="*/ 1167 w 6201"/>
                <a:gd name="T63" fmla="*/ 2070 h 4918"/>
                <a:gd name="T64" fmla="*/ 2500 w 6201"/>
                <a:gd name="T65" fmla="*/ 2181 h 4918"/>
                <a:gd name="T66" fmla="*/ 3310 w 6201"/>
                <a:gd name="T67" fmla="*/ 2103 h 4918"/>
                <a:gd name="T68" fmla="*/ 3693 w 6201"/>
                <a:gd name="T69" fmla="*/ 2252 h 4918"/>
                <a:gd name="T70" fmla="*/ 3801 w 6201"/>
                <a:gd name="T71" fmla="*/ 2429 h 4918"/>
                <a:gd name="T72" fmla="*/ 3239 w 6201"/>
                <a:gd name="T73" fmla="*/ 3263 h 4918"/>
                <a:gd name="T74" fmla="*/ 4378 w 6201"/>
                <a:gd name="T75" fmla="*/ 3279 h 4918"/>
                <a:gd name="T76" fmla="*/ 5124 w 6201"/>
                <a:gd name="T77" fmla="*/ 3317 h 4918"/>
                <a:gd name="T78" fmla="*/ 5544 w 6201"/>
                <a:gd name="T79" fmla="*/ 3506 h 4918"/>
                <a:gd name="T80" fmla="*/ 5939 w 6201"/>
                <a:gd name="T81" fmla="*/ 3832 h 4918"/>
                <a:gd name="T82" fmla="*/ 5544 w 6201"/>
                <a:gd name="T83" fmla="*/ 4552 h 4918"/>
                <a:gd name="T84" fmla="*/ 4772 w 6201"/>
                <a:gd name="T85" fmla="*/ 1781 h 4918"/>
                <a:gd name="T86" fmla="*/ 3019 w 6201"/>
                <a:gd name="T87" fmla="*/ 2065 h 4918"/>
                <a:gd name="T88" fmla="*/ 378 w 6201"/>
                <a:gd name="T89" fmla="*/ 2119 h 4918"/>
                <a:gd name="T90" fmla="*/ 3563 w 6201"/>
                <a:gd name="T91" fmla="*/ 2115 h 4918"/>
                <a:gd name="T92" fmla="*/ 2861 w 6201"/>
                <a:gd name="T93" fmla="*/ 2209 h 4918"/>
                <a:gd name="T94" fmla="*/ 2306 w 6201"/>
                <a:gd name="T95" fmla="*/ 2308 h 4918"/>
                <a:gd name="T96" fmla="*/ 4016 w 6201"/>
                <a:gd name="T97" fmla="*/ 2502 h 4918"/>
                <a:gd name="T98" fmla="*/ 5523 w 6201"/>
                <a:gd name="T99" fmla="*/ 2523 h 4918"/>
                <a:gd name="T100" fmla="*/ 4422 w 6201"/>
                <a:gd name="T101" fmla="*/ 2724 h 4918"/>
                <a:gd name="T102" fmla="*/ 4125 w 6201"/>
                <a:gd name="T103" fmla="*/ 2840 h 4918"/>
                <a:gd name="T104" fmla="*/ 5365 w 6201"/>
                <a:gd name="T105" fmla="*/ 3135 h 4918"/>
                <a:gd name="T106" fmla="*/ 4285 w 6201"/>
                <a:gd name="T107" fmla="*/ 3499 h 4918"/>
                <a:gd name="T108" fmla="*/ 763 w 6201"/>
                <a:gd name="T109" fmla="*/ 3683 h 4918"/>
                <a:gd name="T110" fmla="*/ 832 w 6201"/>
                <a:gd name="T111" fmla="*/ 3848 h 4918"/>
                <a:gd name="T112" fmla="*/ 811 w 6201"/>
                <a:gd name="T113" fmla="*/ 3860 h 4918"/>
                <a:gd name="T114" fmla="*/ 903 w 6201"/>
                <a:gd name="T115" fmla="*/ 3966 h 4918"/>
                <a:gd name="T116" fmla="*/ 5970 w 6201"/>
                <a:gd name="T117" fmla="*/ 4387 h 4918"/>
                <a:gd name="T118" fmla="*/ 6116 w 6201"/>
                <a:gd name="T119" fmla="*/ 4316 h 4918"/>
                <a:gd name="T120" fmla="*/ 1016 w 6201"/>
                <a:gd name="T121" fmla="*/ 4111 h 4918"/>
                <a:gd name="T122" fmla="*/ 6041 w 6201"/>
                <a:gd name="T123" fmla="*/ 4210 h 4918"/>
                <a:gd name="T124" fmla="*/ 5377 w 6201"/>
                <a:gd name="T125" fmla="*/ 4481 h 4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01" h="4918">
                  <a:moveTo>
                    <a:pt x="4389" y="1099"/>
                  </a:moveTo>
                  <a:lnTo>
                    <a:pt x="4368" y="1082"/>
                  </a:lnTo>
                  <a:lnTo>
                    <a:pt x="4323" y="1122"/>
                  </a:lnTo>
                  <a:lnTo>
                    <a:pt x="4205" y="1144"/>
                  </a:lnTo>
                  <a:lnTo>
                    <a:pt x="4205" y="1139"/>
                  </a:lnTo>
                  <a:lnTo>
                    <a:pt x="4226" y="1106"/>
                  </a:lnTo>
                  <a:lnTo>
                    <a:pt x="4189" y="1087"/>
                  </a:lnTo>
                  <a:lnTo>
                    <a:pt x="4172" y="1099"/>
                  </a:lnTo>
                  <a:lnTo>
                    <a:pt x="4134" y="1087"/>
                  </a:lnTo>
                  <a:lnTo>
                    <a:pt x="4141" y="1082"/>
                  </a:lnTo>
                  <a:lnTo>
                    <a:pt x="4134" y="1070"/>
                  </a:lnTo>
                  <a:lnTo>
                    <a:pt x="4158" y="1066"/>
                  </a:lnTo>
                  <a:lnTo>
                    <a:pt x="4120" y="1070"/>
                  </a:lnTo>
                  <a:lnTo>
                    <a:pt x="4087" y="1044"/>
                  </a:lnTo>
                  <a:lnTo>
                    <a:pt x="4104" y="1070"/>
                  </a:lnTo>
                  <a:lnTo>
                    <a:pt x="4134" y="1082"/>
                  </a:lnTo>
                  <a:lnTo>
                    <a:pt x="4120" y="1087"/>
                  </a:lnTo>
                  <a:lnTo>
                    <a:pt x="4125" y="1099"/>
                  </a:lnTo>
                  <a:lnTo>
                    <a:pt x="4066" y="1106"/>
                  </a:lnTo>
                  <a:lnTo>
                    <a:pt x="4044" y="1049"/>
                  </a:lnTo>
                  <a:lnTo>
                    <a:pt x="4033" y="1066"/>
                  </a:lnTo>
                  <a:lnTo>
                    <a:pt x="4049" y="1082"/>
                  </a:lnTo>
                  <a:lnTo>
                    <a:pt x="4054" y="1106"/>
                  </a:lnTo>
                  <a:lnTo>
                    <a:pt x="4016" y="1106"/>
                  </a:lnTo>
                  <a:lnTo>
                    <a:pt x="3978" y="1066"/>
                  </a:lnTo>
                  <a:lnTo>
                    <a:pt x="3990" y="1070"/>
                  </a:lnTo>
                  <a:lnTo>
                    <a:pt x="3978" y="1087"/>
                  </a:lnTo>
                  <a:lnTo>
                    <a:pt x="3990" y="1099"/>
                  </a:lnTo>
                  <a:lnTo>
                    <a:pt x="3957" y="1106"/>
                  </a:lnTo>
                  <a:lnTo>
                    <a:pt x="3924" y="1082"/>
                  </a:lnTo>
                  <a:lnTo>
                    <a:pt x="3936" y="1106"/>
                  </a:lnTo>
                  <a:lnTo>
                    <a:pt x="3974" y="1122"/>
                  </a:lnTo>
                  <a:lnTo>
                    <a:pt x="3936" y="1122"/>
                  </a:lnTo>
                  <a:lnTo>
                    <a:pt x="3834" y="1111"/>
                  </a:lnTo>
                  <a:lnTo>
                    <a:pt x="3827" y="1099"/>
                  </a:lnTo>
                  <a:lnTo>
                    <a:pt x="3839" y="1087"/>
                  </a:lnTo>
                  <a:lnTo>
                    <a:pt x="3818" y="1070"/>
                  </a:lnTo>
                  <a:lnTo>
                    <a:pt x="3834" y="1087"/>
                  </a:lnTo>
                  <a:lnTo>
                    <a:pt x="3811" y="1099"/>
                  </a:lnTo>
                  <a:lnTo>
                    <a:pt x="3811" y="1111"/>
                  </a:lnTo>
                  <a:lnTo>
                    <a:pt x="3759" y="1099"/>
                  </a:lnTo>
                  <a:lnTo>
                    <a:pt x="3747" y="1070"/>
                  </a:lnTo>
                  <a:lnTo>
                    <a:pt x="3747" y="1099"/>
                  </a:lnTo>
                  <a:lnTo>
                    <a:pt x="3759" y="1111"/>
                  </a:lnTo>
                  <a:lnTo>
                    <a:pt x="3688" y="1106"/>
                  </a:lnTo>
                  <a:lnTo>
                    <a:pt x="3693" y="1087"/>
                  </a:lnTo>
                  <a:lnTo>
                    <a:pt x="3676" y="1070"/>
                  </a:lnTo>
                  <a:lnTo>
                    <a:pt x="3688" y="1044"/>
                  </a:lnTo>
                  <a:lnTo>
                    <a:pt x="3671" y="1054"/>
                  </a:lnTo>
                  <a:lnTo>
                    <a:pt x="3676" y="1082"/>
                  </a:lnTo>
                  <a:lnTo>
                    <a:pt x="3671" y="1106"/>
                  </a:lnTo>
                  <a:lnTo>
                    <a:pt x="3671" y="1082"/>
                  </a:lnTo>
                  <a:lnTo>
                    <a:pt x="3655" y="1106"/>
                  </a:lnTo>
                  <a:lnTo>
                    <a:pt x="3600" y="1082"/>
                  </a:lnTo>
                  <a:lnTo>
                    <a:pt x="3617" y="1066"/>
                  </a:lnTo>
                  <a:lnTo>
                    <a:pt x="3612" y="1044"/>
                  </a:lnTo>
                  <a:lnTo>
                    <a:pt x="3688" y="1000"/>
                  </a:lnTo>
                  <a:lnTo>
                    <a:pt x="3676" y="1000"/>
                  </a:lnTo>
                  <a:lnTo>
                    <a:pt x="3801" y="988"/>
                  </a:lnTo>
                  <a:lnTo>
                    <a:pt x="3773" y="988"/>
                  </a:lnTo>
                  <a:lnTo>
                    <a:pt x="3796" y="978"/>
                  </a:lnTo>
                  <a:lnTo>
                    <a:pt x="3773" y="971"/>
                  </a:lnTo>
                  <a:lnTo>
                    <a:pt x="3796" y="962"/>
                  </a:lnTo>
                  <a:lnTo>
                    <a:pt x="3742" y="962"/>
                  </a:lnTo>
                  <a:lnTo>
                    <a:pt x="3730" y="955"/>
                  </a:lnTo>
                  <a:lnTo>
                    <a:pt x="3742" y="943"/>
                  </a:lnTo>
                  <a:lnTo>
                    <a:pt x="3742" y="933"/>
                  </a:lnTo>
                  <a:lnTo>
                    <a:pt x="3704" y="917"/>
                  </a:lnTo>
                  <a:lnTo>
                    <a:pt x="3709" y="889"/>
                  </a:lnTo>
                  <a:lnTo>
                    <a:pt x="3773" y="884"/>
                  </a:lnTo>
                  <a:lnTo>
                    <a:pt x="3827" y="889"/>
                  </a:lnTo>
                  <a:lnTo>
                    <a:pt x="3855" y="905"/>
                  </a:lnTo>
                  <a:lnTo>
                    <a:pt x="3881" y="943"/>
                  </a:lnTo>
                  <a:lnTo>
                    <a:pt x="3872" y="955"/>
                  </a:lnTo>
                  <a:lnTo>
                    <a:pt x="3886" y="943"/>
                  </a:lnTo>
                  <a:lnTo>
                    <a:pt x="3962" y="971"/>
                  </a:lnTo>
                  <a:lnTo>
                    <a:pt x="3957" y="955"/>
                  </a:lnTo>
                  <a:lnTo>
                    <a:pt x="4033" y="962"/>
                  </a:lnTo>
                  <a:lnTo>
                    <a:pt x="4011" y="943"/>
                  </a:lnTo>
                  <a:lnTo>
                    <a:pt x="4049" y="933"/>
                  </a:lnTo>
                  <a:lnTo>
                    <a:pt x="4104" y="877"/>
                  </a:lnTo>
                  <a:lnTo>
                    <a:pt x="4096" y="860"/>
                  </a:lnTo>
                  <a:lnTo>
                    <a:pt x="4120" y="851"/>
                  </a:lnTo>
                  <a:lnTo>
                    <a:pt x="4082" y="860"/>
                  </a:lnTo>
                  <a:lnTo>
                    <a:pt x="4087" y="877"/>
                  </a:lnTo>
                  <a:lnTo>
                    <a:pt x="4044" y="922"/>
                  </a:lnTo>
                  <a:lnTo>
                    <a:pt x="4000" y="938"/>
                  </a:lnTo>
                  <a:lnTo>
                    <a:pt x="3941" y="938"/>
                  </a:lnTo>
                  <a:lnTo>
                    <a:pt x="3936" y="933"/>
                  </a:lnTo>
                  <a:lnTo>
                    <a:pt x="3962" y="905"/>
                  </a:lnTo>
                  <a:lnTo>
                    <a:pt x="3936" y="922"/>
                  </a:lnTo>
                  <a:lnTo>
                    <a:pt x="3903" y="905"/>
                  </a:lnTo>
                  <a:lnTo>
                    <a:pt x="3924" y="889"/>
                  </a:lnTo>
                  <a:lnTo>
                    <a:pt x="3903" y="889"/>
                  </a:lnTo>
                  <a:lnTo>
                    <a:pt x="3974" y="884"/>
                  </a:lnTo>
                  <a:lnTo>
                    <a:pt x="3893" y="884"/>
                  </a:lnTo>
                  <a:lnTo>
                    <a:pt x="3881" y="877"/>
                  </a:lnTo>
                  <a:lnTo>
                    <a:pt x="3924" y="851"/>
                  </a:lnTo>
                  <a:lnTo>
                    <a:pt x="3978" y="851"/>
                  </a:lnTo>
                  <a:lnTo>
                    <a:pt x="3919" y="851"/>
                  </a:lnTo>
                  <a:lnTo>
                    <a:pt x="3924" y="834"/>
                  </a:lnTo>
                  <a:lnTo>
                    <a:pt x="3990" y="834"/>
                  </a:lnTo>
                  <a:lnTo>
                    <a:pt x="3936" y="827"/>
                  </a:lnTo>
                  <a:lnTo>
                    <a:pt x="3941" y="811"/>
                  </a:lnTo>
                  <a:lnTo>
                    <a:pt x="3957" y="811"/>
                  </a:lnTo>
                  <a:lnTo>
                    <a:pt x="3936" y="806"/>
                  </a:lnTo>
                  <a:lnTo>
                    <a:pt x="3957" y="773"/>
                  </a:lnTo>
                  <a:lnTo>
                    <a:pt x="3924" y="794"/>
                  </a:lnTo>
                  <a:lnTo>
                    <a:pt x="3936" y="811"/>
                  </a:lnTo>
                  <a:lnTo>
                    <a:pt x="3893" y="844"/>
                  </a:lnTo>
                  <a:lnTo>
                    <a:pt x="3839" y="851"/>
                  </a:lnTo>
                  <a:lnTo>
                    <a:pt x="3839" y="834"/>
                  </a:lnTo>
                  <a:lnTo>
                    <a:pt x="3865" y="827"/>
                  </a:lnTo>
                  <a:lnTo>
                    <a:pt x="3872" y="806"/>
                  </a:lnTo>
                  <a:lnTo>
                    <a:pt x="3848" y="827"/>
                  </a:lnTo>
                  <a:lnTo>
                    <a:pt x="3801" y="844"/>
                  </a:lnTo>
                  <a:lnTo>
                    <a:pt x="3747" y="844"/>
                  </a:lnTo>
                  <a:lnTo>
                    <a:pt x="3780" y="827"/>
                  </a:lnTo>
                  <a:lnTo>
                    <a:pt x="3747" y="827"/>
                  </a:lnTo>
                  <a:lnTo>
                    <a:pt x="3747" y="794"/>
                  </a:lnTo>
                  <a:lnTo>
                    <a:pt x="3780" y="778"/>
                  </a:lnTo>
                  <a:lnTo>
                    <a:pt x="3796" y="778"/>
                  </a:lnTo>
                  <a:lnTo>
                    <a:pt x="3780" y="773"/>
                  </a:lnTo>
                  <a:lnTo>
                    <a:pt x="3796" y="749"/>
                  </a:lnTo>
                  <a:lnTo>
                    <a:pt x="3924" y="716"/>
                  </a:lnTo>
                  <a:lnTo>
                    <a:pt x="4016" y="733"/>
                  </a:lnTo>
                  <a:lnTo>
                    <a:pt x="4108" y="773"/>
                  </a:lnTo>
                  <a:lnTo>
                    <a:pt x="4120" y="773"/>
                  </a:lnTo>
                  <a:lnTo>
                    <a:pt x="4096" y="756"/>
                  </a:lnTo>
                  <a:lnTo>
                    <a:pt x="4125" y="749"/>
                  </a:lnTo>
                  <a:lnTo>
                    <a:pt x="4082" y="749"/>
                  </a:lnTo>
                  <a:lnTo>
                    <a:pt x="4049" y="733"/>
                  </a:lnTo>
                  <a:lnTo>
                    <a:pt x="4158" y="733"/>
                  </a:lnTo>
                  <a:lnTo>
                    <a:pt x="4158" y="711"/>
                  </a:lnTo>
                  <a:lnTo>
                    <a:pt x="4172" y="700"/>
                  </a:lnTo>
                  <a:lnTo>
                    <a:pt x="4104" y="723"/>
                  </a:lnTo>
                  <a:lnTo>
                    <a:pt x="3945" y="700"/>
                  </a:lnTo>
                  <a:lnTo>
                    <a:pt x="3941" y="695"/>
                  </a:lnTo>
                  <a:lnTo>
                    <a:pt x="3962" y="683"/>
                  </a:lnTo>
                  <a:lnTo>
                    <a:pt x="4000" y="700"/>
                  </a:lnTo>
                  <a:lnTo>
                    <a:pt x="4044" y="700"/>
                  </a:lnTo>
                  <a:lnTo>
                    <a:pt x="3995" y="678"/>
                  </a:lnTo>
                  <a:lnTo>
                    <a:pt x="4000" y="667"/>
                  </a:lnTo>
                  <a:lnTo>
                    <a:pt x="3974" y="678"/>
                  </a:lnTo>
                  <a:lnTo>
                    <a:pt x="3962" y="638"/>
                  </a:lnTo>
                  <a:lnTo>
                    <a:pt x="3936" y="629"/>
                  </a:lnTo>
                  <a:lnTo>
                    <a:pt x="3924" y="605"/>
                  </a:lnTo>
                  <a:lnTo>
                    <a:pt x="3827" y="584"/>
                  </a:lnTo>
                  <a:lnTo>
                    <a:pt x="3827" y="556"/>
                  </a:lnTo>
                  <a:lnTo>
                    <a:pt x="3834" y="551"/>
                  </a:lnTo>
                  <a:lnTo>
                    <a:pt x="3910" y="556"/>
                  </a:lnTo>
                  <a:lnTo>
                    <a:pt x="3827" y="544"/>
                  </a:lnTo>
                  <a:lnTo>
                    <a:pt x="3811" y="527"/>
                  </a:lnTo>
                  <a:lnTo>
                    <a:pt x="3818" y="494"/>
                  </a:lnTo>
                  <a:lnTo>
                    <a:pt x="4011" y="501"/>
                  </a:lnTo>
                  <a:lnTo>
                    <a:pt x="4125" y="567"/>
                  </a:lnTo>
                  <a:lnTo>
                    <a:pt x="4141" y="589"/>
                  </a:lnTo>
                  <a:lnTo>
                    <a:pt x="4163" y="605"/>
                  </a:lnTo>
                  <a:lnTo>
                    <a:pt x="4151" y="605"/>
                  </a:lnTo>
                  <a:lnTo>
                    <a:pt x="4158" y="612"/>
                  </a:lnTo>
                  <a:lnTo>
                    <a:pt x="4179" y="605"/>
                  </a:lnTo>
                  <a:lnTo>
                    <a:pt x="4233" y="612"/>
                  </a:lnTo>
                  <a:lnTo>
                    <a:pt x="4285" y="600"/>
                  </a:lnTo>
                  <a:lnTo>
                    <a:pt x="4297" y="589"/>
                  </a:lnTo>
                  <a:lnTo>
                    <a:pt x="4217" y="600"/>
                  </a:lnTo>
                  <a:lnTo>
                    <a:pt x="4172" y="589"/>
                  </a:lnTo>
                  <a:lnTo>
                    <a:pt x="4163" y="556"/>
                  </a:lnTo>
                  <a:lnTo>
                    <a:pt x="4179" y="551"/>
                  </a:lnTo>
                  <a:lnTo>
                    <a:pt x="4125" y="544"/>
                  </a:lnTo>
                  <a:lnTo>
                    <a:pt x="4054" y="494"/>
                  </a:lnTo>
                  <a:lnTo>
                    <a:pt x="4264" y="456"/>
                  </a:lnTo>
                  <a:lnTo>
                    <a:pt x="4422" y="444"/>
                  </a:lnTo>
                  <a:lnTo>
                    <a:pt x="4281" y="440"/>
                  </a:lnTo>
                  <a:lnTo>
                    <a:pt x="4378" y="416"/>
                  </a:lnTo>
                  <a:lnTo>
                    <a:pt x="4529" y="400"/>
                  </a:lnTo>
                  <a:lnTo>
                    <a:pt x="4352" y="400"/>
                  </a:lnTo>
                  <a:lnTo>
                    <a:pt x="4352" y="378"/>
                  </a:lnTo>
                  <a:lnTo>
                    <a:pt x="4389" y="350"/>
                  </a:lnTo>
                  <a:lnTo>
                    <a:pt x="4503" y="307"/>
                  </a:lnTo>
                  <a:lnTo>
                    <a:pt x="4406" y="329"/>
                  </a:lnTo>
                  <a:lnTo>
                    <a:pt x="4356" y="362"/>
                  </a:lnTo>
                  <a:lnTo>
                    <a:pt x="4314" y="345"/>
                  </a:lnTo>
                  <a:lnTo>
                    <a:pt x="4340" y="362"/>
                  </a:lnTo>
                  <a:lnTo>
                    <a:pt x="4323" y="378"/>
                  </a:lnTo>
                  <a:lnTo>
                    <a:pt x="4335" y="383"/>
                  </a:lnTo>
                  <a:lnTo>
                    <a:pt x="4302" y="407"/>
                  </a:lnTo>
                  <a:lnTo>
                    <a:pt x="4210" y="435"/>
                  </a:lnTo>
                  <a:lnTo>
                    <a:pt x="4066" y="456"/>
                  </a:lnTo>
                  <a:lnTo>
                    <a:pt x="4054" y="444"/>
                  </a:lnTo>
                  <a:lnTo>
                    <a:pt x="4158" y="407"/>
                  </a:lnTo>
                  <a:lnTo>
                    <a:pt x="4044" y="435"/>
                  </a:lnTo>
                  <a:lnTo>
                    <a:pt x="4028" y="423"/>
                  </a:lnTo>
                  <a:lnTo>
                    <a:pt x="4054" y="407"/>
                  </a:lnTo>
                  <a:lnTo>
                    <a:pt x="4049" y="407"/>
                  </a:lnTo>
                  <a:lnTo>
                    <a:pt x="4011" y="416"/>
                  </a:lnTo>
                  <a:lnTo>
                    <a:pt x="4016" y="440"/>
                  </a:lnTo>
                  <a:lnTo>
                    <a:pt x="4011" y="456"/>
                  </a:lnTo>
                  <a:lnTo>
                    <a:pt x="3924" y="461"/>
                  </a:lnTo>
                  <a:lnTo>
                    <a:pt x="3865" y="456"/>
                  </a:lnTo>
                  <a:lnTo>
                    <a:pt x="3886" y="440"/>
                  </a:lnTo>
                  <a:lnTo>
                    <a:pt x="3848" y="456"/>
                  </a:lnTo>
                  <a:lnTo>
                    <a:pt x="3801" y="444"/>
                  </a:lnTo>
                  <a:lnTo>
                    <a:pt x="3886" y="383"/>
                  </a:lnTo>
                  <a:lnTo>
                    <a:pt x="4108" y="345"/>
                  </a:lnTo>
                  <a:lnTo>
                    <a:pt x="3881" y="367"/>
                  </a:lnTo>
                  <a:lnTo>
                    <a:pt x="3834" y="390"/>
                  </a:lnTo>
                  <a:lnTo>
                    <a:pt x="3773" y="440"/>
                  </a:lnTo>
                  <a:lnTo>
                    <a:pt x="3747" y="440"/>
                  </a:lnTo>
                  <a:lnTo>
                    <a:pt x="3617" y="390"/>
                  </a:lnTo>
                  <a:lnTo>
                    <a:pt x="3811" y="378"/>
                  </a:lnTo>
                  <a:lnTo>
                    <a:pt x="3945" y="329"/>
                  </a:lnTo>
                  <a:lnTo>
                    <a:pt x="3763" y="362"/>
                  </a:lnTo>
                  <a:lnTo>
                    <a:pt x="3584" y="378"/>
                  </a:lnTo>
                  <a:lnTo>
                    <a:pt x="3558" y="350"/>
                  </a:lnTo>
                  <a:lnTo>
                    <a:pt x="3579" y="333"/>
                  </a:lnTo>
                  <a:lnTo>
                    <a:pt x="3650" y="333"/>
                  </a:lnTo>
                  <a:lnTo>
                    <a:pt x="3579" y="324"/>
                  </a:lnTo>
                  <a:lnTo>
                    <a:pt x="3655" y="291"/>
                  </a:lnTo>
                  <a:lnTo>
                    <a:pt x="3773" y="296"/>
                  </a:lnTo>
                  <a:lnTo>
                    <a:pt x="3693" y="279"/>
                  </a:lnTo>
                  <a:lnTo>
                    <a:pt x="3546" y="312"/>
                  </a:lnTo>
                  <a:lnTo>
                    <a:pt x="3515" y="307"/>
                  </a:lnTo>
                  <a:lnTo>
                    <a:pt x="3612" y="272"/>
                  </a:lnTo>
                  <a:lnTo>
                    <a:pt x="3558" y="256"/>
                  </a:lnTo>
                  <a:lnTo>
                    <a:pt x="3478" y="291"/>
                  </a:lnTo>
                  <a:lnTo>
                    <a:pt x="3478" y="279"/>
                  </a:lnTo>
                  <a:lnTo>
                    <a:pt x="3440" y="267"/>
                  </a:lnTo>
                  <a:lnTo>
                    <a:pt x="3546" y="222"/>
                  </a:lnTo>
                  <a:lnTo>
                    <a:pt x="3600" y="218"/>
                  </a:lnTo>
                  <a:lnTo>
                    <a:pt x="3622" y="239"/>
                  </a:lnTo>
                  <a:lnTo>
                    <a:pt x="3633" y="222"/>
                  </a:lnTo>
                  <a:lnTo>
                    <a:pt x="3617" y="218"/>
                  </a:lnTo>
                  <a:lnTo>
                    <a:pt x="3650" y="218"/>
                  </a:lnTo>
                  <a:lnTo>
                    <a:pt x="3638" y="213"/>
                  </a:lnTo>
                  <a:lnTo>
                    <a:pt x="3709" y="185"/>
                  </a:lnTo>
                  <a:lnTo>
                    <a:pt x="3763" y="196"/>
                  </a:lnTo>
                  <a:lnTo>
                    <a:pt x="3773" y="201"/>
                  </a:lnTo>
                  <a:lnTo>
                    <a:pt x="3763" y="213"/>
                  </a:lnTo>
                  <a:lnTo>
                    <a:pt x="3801" y="222"/>
                  </a:lnTo>
                  <a:lnTo>
                    <a:pt x="3780" y="213"/>
                  </a:lnTo>
                  <a:lnTo>
                    <a:pt x="3796" y="196"/>
                  </a:lnTo>
                  <a:lnTo>
                    <a:pt x="3834" y="196"/>
                  </a:lnTo>
                  <a:lnTo>
                    <a:pt x="3893" y="234"/>
                  </a:lnTo>
                  <a:lnTo>
                    <a:pt x="3881" y="213"/>
                  </a:lnTo>
                  <a:lnTo>
                    <a:pt x="3919" y="213"/>
                  </a:lnTo>
                  <a:lnTo>
                    <a:pt x="3941" y="222"/>
                  </a:lnTo>
                  <a:lnTo>
                    <a:pt x="3924" y="213"/>
                  </a:lnTo>
                  <a:lnTo>
                    <a:pt x="3936" y="213"/>
                  </a:lnTo>
                  <a:lnTo>
                    <a:pt x="3957" y="222"/>
                  </a:lnTo>
                  <a:lnTo>
                    <a:pt x="3936" y="201"/>
                  </a:lnTo>
                  <a:lnTo>
                    <a:pt x="3811" y="185"/>
                  </a:lnTo>
                  <a:lnTo>
                    <a:pt x="3796" y="168"/>
                  </a:lnTo>
                  <a:lnTo>
                    <a:pt x="3903" y="156"/>
                  </a:lnTo>
                  <a:lnTo>
                    <a:pt x="3893" y="140"/>
                  </a:lnTo>
                  <a:lnTo>
                    <a:pt x="3865" y="128"/>
                  </a:lnTo>
                  <a:lnTo>
                    <a:pt x="3924" y="123"/>
                  </a:lnTo>
                  <a:lnTo>
                    <a:pt x="4033" y="144"/>
                  </a:lnTo>
                  <a:lnTo>
                    <a:pt x="4070" y="185"/>
                  </a:lnTo>
                  <a:lnTo>
                    <a:pt x="4054" y="196"/>
                  </a:lnTo>
                  <a:lnTo>
                    <a:pt x="4151" y="201"/>
                  </a:lnTo>
                  <a:lnTo>
                    <a:pt x="4096" y="185"/>
                  </a:lnTo>
                  <a:lnTo>
                    <a:pt x="4066" y="163"/>
                  </a:lnTo>
                  <a:lnTo>
                    <a:pt x="4096" y="156"/>
                  </a:lnTo>
                  <a:lnTo>
                    <a:pt x="4335" y="234"/>
                  </a:lnTo>
                  <a:lnTo>
                    <a:pt x="4285" y="201"/>
                  </a:lnTo>
                  <a:lnTo>
                    <a:pt x="4226" y="196"/>
                  </a:lnTo>
                  <a:lnTo>
                    <a:pt x="4210" y="185"/>
                  </a:lnTo>
                  <a:lnTo>
                    <a:pt x="4217" y="180"/>
                  </a:lnTo>
                  <a:lnTo>
                    <a:pt x="4151" y="163"/>
                  </a:lnTo>
                  <a:lnTo>
                    <a:pt x="4087" y="140"/>
                  </a:lnTo>
                  <a:lnTo>
                    <a:pt x="4104" y="111"/>
                  </a:lnTo>
                  <a:lnTo>
                    <a:pt x="4172" y="111"/>
                  </a:lnTo>
                  <a:lnTo>
                    <a:pt x="4108" y="95"/>
                  </a:lnTo>
                  <a:lnTo>
                    <a:pt x="4125" y="90"/>
                  </a:lnTo>
                  <a:lnTo>
                    <a:pt x="4233" y="107"/>
                  </a:lnTo>
                  <a:lnTo>
                    <a:pt x="4163" y="69"/>
                  </a:lnTo>
                  <a:lnTo>
                    <a:pt x="4172" y="57"/>
                  </a:lnTo>
                  <a:lnTo>
                    <a:pt x="4248" y="69"/>
                  </a:lnTo>
                  <a:lnTo>
                    <a:pt x="4285" y="90"/>
                  </a:lnTo>
                  <a:lnTo>
                    <a:pt x="4297" y="90"/>
                  </a:lnTo>
                  <a:lnTo>
                    <a:pt x="4281" y="85"/>
                  </a:lnTo>
                  <a:lnTo>
                    <a:pt x="4378" y="85"/>
                  </a:lnTo>
                  <a:lnTo>
                    <a:pt x="4285" y="74"/>
                  </a:lnTo>
                  <a:lnTo>
                    <a:pt x="4281" y="69"/>
                  </a:lnTo>
                  <a:lnTo>
                    <a:pt x="4302" y="57"/>
                  </a:lnTo>
                  <a:lnTo>
                    <a:pt x="4248" y="52"/>
                  </a:lnTo>
                  <a:lnTo>
                    <a:pt x="4285" y="36"/>
                  </a:lnTo>
                  <a:lnTo>
                    <a:pt x="4318" y="36"/>
                  </a:lnTo>
                  <a:lnTo>
                    <a:pt x="4340" y="52"/>
                  </a:lnTo>
                  <a:lnTo>
                    <a:pt x="4373" y="36"/>
                  </a:lnTo>
                  <a:lnTo>
                    <a:pt x="4378" y="41"/>
                  </a:lnTo>
                  <a:lnTo>
                    <a:pt x="4378" y="57"/>
                  </a:lnTo>
                  <a:lnTo>
                    <a:pt x="4411" y="57"/>
                  </a:lnTo>
                  <a:lnTo>
                    <a:pt x="4406" y="52"/>
                  </a:lnTo>
                  <a:lnTo>
                    <a:pt x="4432" y="41"/>
                  </a:lnTo>
                  <a:lnTo>
                    <a:pt x="4567" y="95"/>
                  </a:lnTo>
                  <a:lnTo>
                    <a:pt x="4541" y="128"/>
                  </a:lnTo>
                  <a:lnTo>
                    <a:pt x="4604" y="95"/>
                  </a:lnTo>
                  <a:lnTo>
                    <a:pt x="4536" y="74"/>
                  </a:lnTo>
                  <a:lnTo>
                    <a:pt x="4557" y="69"/>
                  </a:lnTo>
                  <a:lnTo>
                    <a:pt x="4460" y="29"/>
                  </a:lnTo>
                  <a:lnTo>
                    <a:pt x="4474" y="17"/>
                  </a:lnTo>
                  <a:lnTo>
                    <a:pt x="4663" y="17"/>
                  </a:lnTo>
                  <a:lnTo>
                    <a:pt x="4713" y="52"/>
                  </a:lnTo>
                  <a:lnTo>
                    <a:pt x="4798" y="85"/>
                  </a:lnTo>
                  <a:lnTo>
                    <a:pt x="4805" y="74"/>
                  </a:lnTo>
                  <a:lnTo>
                    <a:pt x="4718" y="41"/>
                  </a:lnTo>
                  <a:lnTo>
                    <a:pt x="4798" y="12"/>
                  </a:lnTo>
                  <a:lnTo>
                    <a:pt x="4859" y="12"/>
                  </a:lnTo>
                  <a:lnTo>
                    <a:pt x="4864" y="12"/>
                  </a:lnTo>
                  <a:lnTo>
                    <a:pt x="4852" y="29"/>
                  </a:lnTo>
                  <a:lnTo>
                    <a:pt x="4918" y="52"/>
                  </a:lnTo>
                  <a:lnTo>
                    <a:pt x="4874" y="29"/>
                  </a:lnTo>
                  <a:lnTo>
                    <a:pt x="4961" y="0"/>
                  </a:lnTo>
                  <a:lnTo>
                    <a:pt x="5020" y="17"/>
                  </a:lnTo>
                  <a:lnTo>
                    <a:pt x="5015" y="29"/>
                  </a:lnTo>
                  <a:lnTo>
                    <a:pt x="5053" y="17"/>
                  </a:lnTo>
                  <a:lnTo>
                    <a:pt x="5107" y="29"/>
                  </a:lnTo>
                  <a:lnTo>
                    <a:pt x="5107" y="41"/>
                  </a:lnTo>
                  <a:lnTo>
                    <a:pt x="5237" y="41"/>
                  </a:lnTo>
                  <a:lnTo>
                    <a:pt x="5074" y="95"/>
                  </a:lnTo>
                  <a:lnTo>
                    <a:pt x="5162" y="90"/>
                  </a:lnTo>
                  <a:lnTo>
                    <a:pt x="5275" y="57"/>
                  </a:lnTo>
                  <a:lnTo>
                    <a:pt x="5322" y="69"/>
                  </a:lnTo>
                  <a:lnTo>
                    <a:pt x="5306" y="69"/>
                  </a:lnTo>
                  <a:lnTo>
                    <a:pt x="5322" y="57"/>
                  </a:lnTo>
                  <a:lnTo>
                    <a:pt x="5306" y="52"/>
                  </a:lnTo>
                  <a:lnTo>
                    <a:pt x="5355" y="41"/>
                  </a:lnTo>
                  <a:lnTo>
                    <a:pt x="5339" y="52"/>
                  </a:lnTo>
                  <a:lnTo>
                    <a:pt x="5365" y="69"/>
                  </a:lnTo>
                  <a:lnTo>
                    <a:pt x="5436" y="57"/>
                  </a:lnTo>
                  <a:lnTo>
                    <a:pt x="5448" y="69"/>
                  </a:lnTo>
                  <a:lnTo>
                    <a:pt x="5415" y="85"/>
                  </a:lnTo>
                  <a:lnTo>
                    <a:pt x="5474" y="107"/>
                  </a:lnTo>
                  <a:lnTo>
                    <a:pt x="5462" y="123"/>
                  </a:lnTo>
                  <a:lnTo>
                    <a:pt x="5448" y="128"/>
                  </a:lnTo>
                  <a:lnTo>
                    <a:pt x="5528" y="111"/>
                  </a:lnTo>
                  <a:lnTo>
                    <a:pt x="5516" y="123"/>
                  </a:lnTo>
                  <a:lnTo>
                    <a:pt x="5575" y="123"/>
                  </a:lnTo>
                  <a:lnTo>
                    <a:pt x="5608" y="144"/>
                  </a:lnTo>
                  <a:lnTo>
                    <a:pt x="5599" y="163"/>
                  </a:lnTo>
                  <a:lnTo>
                    <a:pt x="5523" y="201"/>
                  </a:lnTo>
                  <a:lnTo>
                    <a:pt x="5415" y="239"/>
                  </a:lnTo>
                  <a:lnTo>
                    <a:pt x="5377" y="234"/>
                  </a:lnTo>
                  <a:lnTo>
                    <a:pt x="5393" y="251"/>
                  </a:lnTo>
                  <a:lnTo>
                    <a:pt x="5377" y="251"/>
                  </a:lnTo>
                  <a:lnTo>
                    <a:pt x="5313" y="251"/>
                  </a:lnTo>
                  <a:lnTo>
                    <a:pt x="5259" y="256"/>
                  </a:lnTo>
                  <a:lnTo>
                    <a:pt x="5306" y="256"/>
                  </a:lnTo>
                  <a:lnTo>
                    <a:pt x="5275" y="272"/>
                  </a:lnTo>
                  <a:lnTo>
                    <a:pt x="5107" y="279"/>
                  </a:lnTo>
                  <a:lnTo>
                    <a:pt x="5025" y="256"/>
                  </a:lnTo>
                  <a:lnTo>
                    <a:pt x="5096" y="279"/>
                  </a:lnTo>
                  <a:lnTo>
                    <a:pt x="5058" y="279"/>
                  </a:lnTo>
                  <a:lnTo>
                    <a:pt x="5079" y="291"/>
                  </a:lnTo>
                  <a:lnTo>
                    <a:pt x="5214" y="291"/>
                  </a:lnTo>
                  <a:lnTo>
                    <a:pt x="4966" y="345"/>
                  </a:lnTo>
                  <a:lnTo>
                    <a:pt x="5004" y="345"/>
                  </a:lnTo>
                  <a:lnTo>
                    <a:pt x="4973" y="362"/>
                  </a:lnTo>
                  <a:lnTo>
                    <a:pt x="4982" y="362"/>
                  </a:lnTo>
                  <a:lnTo>
                    <a:pt x="5285" y="291"/>
                  </a:lnTo>
                  <a:lnTo>
                    <a:pt x="5360" y="279"/>
                  </a:lnTo>
                  <a:lnTo>
                    <a:pt x="5365" y="296"/>
                  </a:lnTo>
                  <a:lnTo>
                    <a:pt x="5176" y="383"/>
                  </a:lnTo>
                  <a:lnTo>
                    <a:pt x="5145" y="390"/>
                  </a:lnTo>
                  <a:lnTo>
                    <a:pt x="5150" y="390"/>
                  </a:lnTo>
                  <a:lnTo>
                    <a:pt x="5053" y="444"/>
                  </a:lnTo>
                  <a:lnTo>
                    <a:pt x="5020" y="478"/>
                  </a:lnTo>
                  <a:lnTo>
                    <a:pt x="4961" y="489"/>
                  </a:lnTo>
                  <a:lnTo>
                    <a:pt x="4966" y="473"/>
                  </a:lnTo>
                  <a:lnTo>
                    <a:pt x="4961" y="473"/>
                  </a:lnTo>
                  <a:lnTo>
                    <a:pt x="4918" y="444"/>
                  </a:lnTo>
                  <a:lnTo>
                    <a:pt x="4944" y="473"/>
                  </a:lnTo>
                  <a:lnTo>
                    <a:pt x="4949" y="489"/>
                  </a:lnTo>
                  <a:lnTo>
                    <a:pt x="4982" y="501"/>
                  </a:lnTo>
                  <a:lnTo>
                    <a:pt x="4966" y="511"/>
                  </a:lnTo>
                  <a:lnTo>
                    <a:pt x="4859" y="527"/>
                  </a:lnTo>
                  <a:lnTo>
                    <a:pt x="4810" y="511"/>
                  </a:lnTo>
                  <a:lnTo>
                    <a:pt x="4843" y="527"/>
                  </a:lnTo>
                  <a:lnTo>
                    <a:pt x="4810" y="527"/>
                  </a:lnTo>
                  <a:lnTo>
                    <a:pt x="4810" y="534"/>
                  </a:lnTo>
                  <a:lnTo>
                    <a:pt x="4944" y="527"/>
                  </a:lnTo>
                  <a:lnTo>
                    <a:pt x="4874" y="556"/>
                  </a:lnTo>
                  <a:lnTo>
                    <a:pt x="4911" y="567"/>
                  </a:lnTo>
                  <a:lnTo>
                    <a:pt x="4897" y="584"/>
                  </a:lnTo>
                  <a:lnTo>
                    <a:pt x="4822" y="600"/>
                  </a:lnTo>
                  <a:lnTo>
                    <a:pt x="4772" y="589"/>
                  </a:lnTo>
                  <a:lnTo>
                    <a:pt x="4767" y="572"/>
                  </a:lnTo>
                  <a:lnTo>
                    <a:pt x="4772" y="572"/>
                  </a:lnTo>
                  <a:lnTo>
                    <a:pt x="4680" y="567"/>
                  </a:lnTo>
                  <a:lnTo>
                    <a:pt x="4642" y="567"/>
                  </a:lnTo>
                  <a:lnTo>
                    <a:pt x="4746" y="584"/>
                  </a:lnTo>
                  <a:lnTo>
                    <a:pt x="4755" y="612"/>
                  </a:lnTo>
                  <a:lnTo>
                    <a:pt x="4718" y="629"/>
                  </a:lnTo>
                  <a:lnTo>
                    <a:pt x="4696" y="612"/>
                  </a:lnTo>
                  <a:lnTo>
                    <a:pt x="4701" y="629"/>
                  </a:lnTo>
                  <a:lnTo>
                    <a:pt x="4692" y="638"/>
                  </a:lnTo>
                  <a:lnTo>
                    <a:pt x="4637" y="622"/>
                  </a:lnTo>
                  <a:lnTo>
                    <a:pt x="4626" y="629"/>
                  </a:lnTo>
                  <a:lnTo>
                    <a:pt x="4637" y="638"/>
                  </a:lnTo>
                  <a:lnTo>
                    <a:pt x="4626" y="645"/>
                  </a:lnTo>
                  <a:lnTo>
                    <a:pt x="4481" y="612"/>
                  </a:lnTo>
                  <a:lnTo>
                    <a:pt x="4474" y="622"/>
                  </a:lnTo>
                  <a:lnTo>
                    <a:pt x="4541" y="629"/>
                  </a:lnTo>
                  <a:lnTo>
                    <a:pt x="4550" y="645"/>
                  </a:lnTo>
                  <a:lnTo>
                    <a:pt x="4567" y="645"/>
                  </a:lnTo>
                  <a:lnTo>
                    <a:pt x="4498" y="645"/>
                  </a:lnTo>
                  <a:lnTo>
                    <a:pt x="4465" y="629"/>
                  </a:lnTo>
                  <a:lnTo>
                    <a:pt x="4481" y="655"/>
                  </a:lnTo>
                  <a:lnTo>
                    <a:pt x="4411" y="645"/>
                  </a:lnTo>
                  <a:lnTo>
                    <a:pt x="4465" y="662"/>
                  </a:lnTo>
                  <a:lnTo>
                    <a:pt x="4460" y="667"/>
                  </a:lnTo>
                  <a:lnTo>
                    <a:pt x="4663" y="667"/>
                  </a:lnTo>
                  <a:lnTo>
                    <a:pt x="4642" y="678"/>
                  </a:lnTo>
                  <a:lnTo>
                    <a:pt x="4663" y="695"/>
                  </a:lnTo>
                  <a:lnTo>
                    <a:pt x="4583" y="695"/>
                  </a:lnTo>
                  <a:lnTo>
                    <a:pt x="4550" y="678"/>
                  </a:lnTo>
                  <a:lnTo>
                    <a:pt x="4432" y="667"/>
                  </a:lnTo>
                  <a:lnTo>
                    <a:pt x="4406" y="678"/>
                  </a:lnTo>
                  <a:lnTo>
                    <a:pt x="4550" y="695"/>
                  </a:lnTo>
                  <a:lnTo>
                    <a:pt x="4448" y="700"/>
                  </a:lnTo>
                  <a:lnTo>
                    <a:pt x="4356" y="695"/>
                  </a:lnTo>
                  <a:lnTo>
                    <a:pt x="4444" y="700"/>
                  </a:lnTo>
                  <a:lnTo>
                    <a:pt x="4406" y="740"/>
                  </a:lnTo>
                  <a:lnTo>
                    <a:pt x="4432" y="711"/>
                  </a:lnTo>
                  <a:lnTo>
                    <a:pt x="4512" y="700"/>
                  </a:lnTo>
                  <a:lnTo>
                    <a:pt x="4583" y="711"/>
                  </a:lnTo>
                  <a:lnTo>
                    <a:pt x="4529" y="733"/>
                  </a:lnTo>
                  <a:lnTo>
                    <a:pt x="4604" y="723"/>
                  </a:lnTo>
                  <a:lnTo>
                    <a:pt x="4642" y="733"/>
                  </a:lnTo>
                  <a:lnTo>
                    <a:pt x="4649" y="749"/>
                  </a:lnTo>
                  <a:lnTo>
                    <a:pt x="4637" y="756"/>
                  </a:lnTo>
                  <a:lnTo>
                    <a:pt x="4642" y="773"/>
                  </a:lnTo>
                  <a:lnTo>
                    <a:pt x="4626" y="778"/>
                  </a:lnTo>
                  <a:lnTo>
                    <a:pt x="4512" y="778"/>
                  </a:lnTo>
                  <a:lnTo>
                    <a:pt x="4595" y="794"/>
                  </a:lnTo>
                  <a:lnTo>
                    <a:pt x="4626" y="811"/>
                  </a:lnTo>
                  <a:lnTo>
                    <a:pt x="4588" y="834"/>
                  </a:lnTo>
                  <a:lnTo>
                    <a:pt x="4498" y="834"/>
                  </a:lnTo>
                  <a:lnTo>
                    <a:pt x="4588" y="844"/>
                  </a:lnTo>
                  <a:lnTo>
                    <a:pt x="4567" y="867"/>
                  </a:lnTo>
                  <a:lnTo>
                    <a:pt x="4541" y="860"/>
                  </a:lnTo>
                  <a:lnTo>
                    <a:pt x="4498" y="877"/>
                  </a:lnTo>
                  <a:lnTo>
                    <a:pt x="4406" y="867"/>
                  </a:lnTo>
                  <a:lnTo>
                    <a:pt x="4389" y="877"/>
                  </a:lnTo>
                  <a:lnTo>
                    <a:pt x="4422" y="889"/>
                  </a:lnTo>
                  <a:lnTo>
                    <a:pt x="4422" y="905"/>
                  </a:lnTo>
                  <a:lnTo>
                    <a:pt x="4432" y="922"/>
                  </a:lnTo>
                  <a:lnTo>
                    <a:pt x="4406" y="962"/>
                  </a:lnTo>
                  <a:lnTo>
                    <a:pt x="4335" y="971"/>
                  </a:lnTo>
                  <a:lnTo>
                    <a:pt x="4248" y="971"/>
                  </a:lnTo>
                  <a:lnTo>
                    <a:pt x="4189" y="955"/>
                  </a:lnTo>
                  <a:lnTo>
                    <a:pt x="4141" y="917"/>
                  </a:lnTo>
                  <a:lnTo>
                    <a:pt x="4141" y="922"/>
                  </a:lnTo>
                  <a:lnTo>
                    <a:pt x="4163" y="938"/>
                  </a:lnTo>
                  <a:lnTo>
                    <a:pt x="4158" y="955"/>
                  </a:lnTo>
                  <a:lnTo>
                    <a:pt x="4196" y="971"/>
                  </a:lnTo>
                  <a:lnTo>
                    <a:pt x="4125" y="971"/>
                  </a:lnTo>
                  <a:lnTo>
                    <a:pt x="4151" y="995"/>
                  </a:lnTo>
                  <a:lnTo>
                    <a:pt x="4196" y="978"/>
                  </a:lnTo>
                  <a:lnTo>
                    <a:pt x="4271" y="988"/>
                  </a:lnTo>
                  <a:lnTo>
                    <a:pt x="4248" y="1000"/>
                  </a:lnTo>
                  <a:lnTo>
                    <a:pt x="4297" y="978"/>
                  </a:lnTo>
                  <a:lnTo>
                    <a:pt x="4335" y="988"/>
                  </a:lnTo>
                  <a:lnTo>
                    <a:pt x="4352" y="1000"/>
                  </a:lnTo>
                  <a:lnTo>
                    <a:pt x="4318" y="1028"/>
                  </a:lnTo>
                  <a:lnTo>
                    <a:pt x="4356" y="1028"/>
                  </a:lnTo>
                  <a:lnTo>
                    <a:pt x="4356" y="1044"/>
                  </a:lnTo>
                  <a:lnTo>
                    <a:pt x="4368" y="1044"/>
                  </a:lnTo>
                  <a:lnTo>
                    <a:pt x="4394" y="1016"/>
                  </a:lnTo>
                  <a:lnTo>
                    <a:pt x="4427" y="1028"/>
                  </a:lnTo>
                  <a:lnTo>
                    <a:pt x="4432" y="1066"/>
                  </a:lnTo>
                  <a:lnTo>
                    <a:pt x="4389" y="1099"/>
                  </a:lnTo>
                  <a:lnTo>
                    <a:pt x="4389" y="1099"/>
                  </a:lnTo>
                  <a:lnTo>
                    <a:pt x="4389" y="1099"/>
                  </a:lnTo>
                  <a:close/>
                  <a:moveTo>
                    <a:pt x="3456" y="279"/>
                  </a:moveTo>
                  <a:lnTo>
                    <a:pt x="3440" y="272"/>
                  </a:lnTo>
                  <a:lnTo>
                    <a:pt x="3461" y="279"/>
                  </a:lnTo>
                  <a:lnTo>
                    <a:pt x="3456" y="279"/>
                  </a:lnTo>
                  <a:lnTo>
                    <a:pt x="3456" y="279"/>
                  </a:lnTo>
                  <a:lnTo>
                    <a:pt x="3456" y="279"/>
                  </a:lnTo>
                  <a:close/>
                  <a:moveTo>
                    <a:pt x="3655" y="844"/>
                  </a:moveTo>
                  <a:lnTo>
                    <a:pt x="3633" y="827"/>
                  </a:lnTo>
                  <a:lnTo>
                    <a:pt x="3579" y="766"/>
                  </a:lnTo>
                  <a:lnTo>
                    <a:pt x="3570" y="778"/>
                  </a:lnTo>
                  <a:lnTo>
                    <a:pt x="3579" y="794"/>
                  </a:lnTo>
                  <a:lnTo>
                    <a:pt x="3596" y="806"/>
                  </a:lnTo>
                  <a:lnTo>
                    <a:pt x="3617" y="834"/>
                  </a:lnTo>
                  <a:lnTo>
                    <a:pt x="3563" y="811"/>
                  </a:lnTo>
                  <a:lnTo>
                    <a:pt x="3525" y="811"/>
                  </a:lnTo>
                  <a:lnTo>
                    <a:pt x="3558" y="834"/>
                  </a:lnTo>
                  <a:lnTo>
                    <a:pt x="3546" y="844"/>
                  </a:lnTo>
                  <a:lnTo>
                    <a:pt x="3433" y="827"/>
                  </a:lnTo>
                  <a:lnTo>
                    <a:pt x="3402" y="811"/>
                  </a:lnTo>
                  <a:lnTo>
                    <a:pt x="3369" y="789"/>
                  </a:lnTo>
                  <a:lnTo>
                    <a:pt x="3461" y="778"/>
                  </a:lnTo>
                  <a:lnTo>
                    <a:pt x="3381" y="766"/>
                  </a:lnTo>
                  <a:lnTo>
                    <a:pt x="3348" y="773"/>
                  </a:lnTo>
                  <a:lnTo>
                    <a:pt x="3310" y="740"/>
                  </a:lnTo>
                  <a:lnTo>
                    <a:pt x="3364" y="740"/>
                  </a:lnTo>
                  <a:lnTo>
                    <a:pt x="3310" y="733"/>
                  </a:lnTo>
                  <a:lnTo>
                    <a:pt x="3277" y="711"/>
                  </a:lnTo>
                  <a:lnTo>
                    <a:pt x="3348" y="678"/>
                  </a:lnTo>
                  <a:lnTo>
                    <a:pt x="3546" y="667"/>
                  </a:lnTo>
                  <a:lnTo>
                    <a:pt x="3418" y="667"/>
                  </a:lnTo>
                  <a:lnTo>
                    <a:pt x="3385" y="662"/>
                  </a:lnTo>
                  <a:lnTo>
                    <a:pt x="3504" y="645"/>
                  </a:lnTo>
                  <a:lnTo>
                    <a:pt x="3423" y="655"/>
                  </a:lnTo>
                  <a:lnTo>
                    <a:pt x="3395" y="645"/>
                  </a:lnTo>
                  <a:lnTo>
                    <a:pt x="3418" y="638"/>
                  </a:lnTo>
                  <a:lnTo>
                    <a:pt x="3381" y="638"/>
                  </a:lnTo>
                  <a:lnTo>
                    <a:pt x="3364" y="629"/>
                  </a:lnTo>
                  <a:lnTo>
                    <a:pt x="3352" y="629"/>
                  </a:lnTo>
                  <a:lnTo>
                    <a:pt x="3364" y="645"/>
                  </a:lnTo>
                  <a:lnTo>
                    <a:pt x="3348" y="645"/>
                  </a:lnTo>
                  <a:lnTo>
                    <a:pt x="3348" y="638"/>
                  </a:lnTo>
                  <a:lnTo>
                    <a:pt x="3343" y="638"/>
                  </a:lnTo>
                  <a:lnTo>
                    <a:pt x="3310" y="662"/>
                  </a:lnTo>
                  <a:lnTo>
                    <a:pt x="3289" y="662"/>
                  </a:lnTo>
                  <a:lnTo>
                    <a:pt x="3293" y="645"/>
                  </a:lnTo>
                  <a:lnTo>
                    <a:pt x="3272" y="638"/>
                  </a:lnTo>
                  <a:lnTo>
                    <a:pt x="3260" y="638"/>
                  </a:lnTo>
                  <a:lnTo>
                    <a:pt x="3272" y="645"/>
                  </a:lnTo>
                  <a:lnTo>
                    <a:pt x="3260" y="655"/>
                  </a:lnTo>
                  <a:lnTo>
                    <a:pt x="3222" y="662"/>
                  </a:lnTo>
                  <a:lnTo>
                    <a:pt x="3208" y="645"/>
                  </a:lnTo>
                  <a:lnTo>
                    <a:pt x="3170" y="638"/>
                  </a:lnTo>
                  <a:lnTo>
                    <a:pt x="3180" y="622"/>
                  </a:lnTo>
                  <a:lnTo>
                    <a:pt x="3244" y="605"/>
                  </a:lnTo>
                  <a:lnTo>
                    <a:pt x="3277" y="584"/>
                  </a:lnTo>
                  <a:lnTo>
                    <a:pt x="3170" y="600"/>
                  </a:lnTo>
                  <a:lnTo>
                    <a:pt x="3116" y="567"/>
                  </a:lnTo>
                  <a:lnTo>
                    <a:pt x="3147" y="556"/>
                  </a:lnTo>
                  <a:lnTo>
                    <a:pt x="3109" y="544"/>
                  </a:lnTo>
                  <a:lnTo>
                    <a:pt x="3133" y="534"/>
                  </a:lnTo>
                  <a:lnTo>
                    <a:pt x="3100" y="527"/>
                  </a:lnTo>
                  <a:lnTo>
                    <a:pt x="3133" y="518"/>
                  </a:lnTo>
                  <a:lnTo>
                    <a:pt x="3272" y="551"/>
                  </a:lnTo>
                  <a:lnTo>
                    <a:pt x="3244" y="527"/>
                  </a:lnTo>
                  <a:lnTo>
                    <a:pt x="3293" y="518"/>
                  </a:lnTo>
                  <a:lnTo>
                    <a:pt x="3201" y="527"/>
                  </a:lnTo>
                  <a:lnTo>
                    <a:pt x="3180" y="518"/>
                  </a:lnTo>
                  <a:lnTo>
                    <a:pt x="3208" y="501"/>
                  </a:lnTo>
                  <a:lnTo>
                    <a:pt x="3163" y="511"/>
                  </a:lnTo>
                  <a:lnTo>
                    <a:pt x="3109" y="489"/>
                  </a:lnTo>
                  <a:lnTo>
                    <a:pt x="3192" y="489"/>
                  </a:lnTo>
                  <a:lnTo>
                    <a:pt x="3170" y="473"/>
                  </a:lnTo>
                  <a:lnTo>
                    <a:pt x="3154" y="444"/>
                  </a:lnTo>
                  <a:lnTo>
                    <a:pt x="3310" y="456"/>
                  </a:lnTo>
                  <a:lnTo>
                    <a:pt x="3244" y="435"/>
                  </a:lnTo>
                  <a:lnTo>
                    <a:pt x="3289" y="423"/>
                  </a:lnTo>
                  <a:lnTo>
                    <a:pt x="3185" y="407"/>
                  </a:lnTo>
                  <a:lnTo>
                    <a:pt x="3218" y="400"/>
                  </a:lnTo>
                  <a:lnTo>
                    <a:pt x="3192" y="390"/>
                  </a:lnTo>
                  <a:lnTo>
                    <a:pt x="3218" y="378"/>
                  </a:lnTo>
                  <a:lnTo>
                    <a:pt x="3244" y="367"/>
                  </a:lnTo>
                  <a:lnTo>
                    <a:pt x="3272" y="383"/>
                  </a:lnTo>
                  <a:lnTo>
                    <a:pt x="3298" y="367"/>
                  </a:lnTo>
                  <a:lnTo>
                    <a:pt x="3277" y="362"/>
                  </a:lnTo>
                  <a:lnTo>
                    <a:pt x="3348" y="362"/>
                  </a:lnTo>
                  <a:lnTo>
                    <a:pt x="3364" y="350"/>
                  </a:lnTo>
                  <a:lnTo>
                    <a:pt x="3272" y="329"/>
                  </a:lnTo>
                  <a:lnTo>
                    <a:pt x="3289" y="312"/>
                  </a:lnTo>
                  <a:lnTo>
                    <a:pt x="3331" y="324"/>
                  </a:lnTo>
                  <a:lnTo>
                    <a:pt x="3331" y="312"/>
                  </a:lnTo>
                  <a:lnTo>
                    <a:pt x="3449" y="345"/>
                  </a:lnTo>
                  <a:lnTo>
                    <a:pt x="3456" y="362"/>
                  </a:lnTo>
                  <a:lnTo>
                    <a:pt x="3440" y="367"/>
                  </a:lnTo>
                  <a:lnTo>
                    <a:pt x="3470" y="378"/>
                  </a:lnTo>
                  <a:lnTo>
                    <a:pt x="3504" y="416"/>
                  </a:lnTo>
                  <a:lnTo>
                    <a:pt x="3532" y="440"/>
                  </a:lnTo>
                  <a:lnTo>
                    <a:pt x="3525" y="444"/>
                  </a:lnTo>
                  <a:lnTo>
                    <a:pt x="3596" y="473"/>
                  </a:lnTo>
                  <a:lnTo>
                    <a:pt x="3596" y="456"/>
                  </a:lnTo>
                  <a:lnTo>
                    <a:pt x="3633" y="456"/>
                  </a:lnTo>
                  <a:lnTo>
                    <a:pt x="3638" y="473"/>
                  </a:lnTo>
                  <a:lnTo>
                    <a:pt x="3633" y="478"/>
                  </a:lnTo>
                  <a:lnTo>
                    <a:pt x="3638" y="478"/>
                  </a:lnTo>
                  <a:lnTo>
                    <a:pt x="3633" y="494"/>
                  </a:lnTo>
                  <a:lnTo>
                    <a:pt x="3667" y="527"/>
                  </a:lnTo>
                  <a:lnTo>
                    <a:pt x="3709" y="527"/>
                  </a:lnTo>
                  <a:lnTo>
                    <a:pt x="3704" y="511"/>
                  </a:lnTo>
                  <a:lnTo>
                    <a:pt x="3671" y="501"/>
                  </a:lnTo>
                  <a:lnTo>
                    <a:pt x="3671" y="478"/>
                  </a:lnTo>
                  <a:lnTo>
                    <a:pt x="3742" y="478"/>
                  </a:lnTo>
                  <a:lnTo>
                    <a:pt x="3747" y="511"/>
                  </a:lnTo>
                  <a:lnTo>
                    <a:pt x="3709" y="527"/>
                  </a:lnTo>
                  <a:lnTo>
                    <a:pt x="3773" y="534"/>
                  </a:lnTo>
                  <a:lnTo>
                    <a:pt x="3785" y="551"/>
                  </a:lnTo>
                  <a:lnTo>
                    <a:pt x="3759" y="572"/>
                  </a:lnTo>
                  <a:lnTo>
                    <a:pt x="3785" y="556"/>
                  </a:lnTo>
                  <a:lnTo>
                    <a:pt x="3780" y="605"/>
                  </a:lnTo>
                  <a:lnTo>
                    <a:pt x="3759" y="622"/>
                  </a:lnTo>
                  <a:lnTo>
                    <a:pt x="3785" y="605"/>
                  </a:lnTo>
                  <a:lnTo>
                    <a:pt x="3801" y="622"/>
                  </a:lnTo>
                  <a:lnTo>
                    <a:pt x="3811" y="612"/>
                  </a:lnTo>
                  <a:lnTo>
                    <a:pt x="3801" y="605"/>
                  </a:lnTo>
                  <a:lnTo>
                    <a:pt x="3834" y="605"/>
                  </a:lnTo>
                  <a:lnTo>
                    <a:pt x="3855" y="612"/>
                  </a:lnTo>
                  <a:lnTo>
                    <a:pt x="3855" y="629"/>
                  </a:lnTo>
                  <a:lnTo>
                    <a:pt x="3848" y="629"/>
                  </a:lnTo>
                  <a:lnTo>
                    <a:pt x="3855" y="638"/>
                  </a:lnTo>
                  <a:lnTo>
                    <a:pt x="3872" y="605"/>
                  </a:lnTo>
                  <a:lnTo>
                    <a:pt x="3881" y="605"/>
                  </a:lnTo>
                  <a:lnTo>
                    <a:pt x="3936" y="662"/>
                  </a:lnTo>
                  <a:lnTo>
                    <a:pt x="3827" y="695"/>
                  </a:lnTo>
                  <a:lnTo>
                    <a:pt x="3811" y="711"/>
                  </a:lnTo>
                  <a:lnTo>
                    <a:pt x="3785" y="695"/>
                  </a:lnTo>
                  <a:lnTo>
                    <a:pt x="3785" y="716"/>
                  </a:lnTo>
                  <a:lnTo>
                    <a:pt x="3747" y="766"/>
                  </a:lnTo>
                  <a:lnTo>
                    <a:pt x="3721" y="733"/>
                  </a:lnTo>
                  <a:lnTo>
                    <a:pt x="3721" y="711"/>
                  </a:lnTo>
                  <a:lnTo>
                    <a:pt x="3742" y="695"/>
                  </a:lnTo>
                  <a:lnTo>
                    <a:pt x="3709" y="711"/>
                  </a:lnTo>
                  <a:lnTo>
                    <a:pt x="3704" y="740"/>
                  </a:lnTo>
                  <a:lnTo>
                    <a:pt x="3726" y="778"/>
                  </a:lnTo>
                  <a:lnTo>
                    <a:pt x="3704" y="794"/>
                  </a:lnTo>
                  <a:lnTo>
                    <a:pt x="3676" y="773"/>
                  </a:lnTo>
                  <a:lnTo>
                    <a:pt x="3667" y="766"/>
                  </a:lnTo>
                  <a:lnTo>
                    <a:pt x="3676" y="794"/>
                  </a:lnTo>
                  <a:lnTo>
                    <a:pt x="3655" y="844"/>
                  </a:lnTo>
                  <a:lnTo>
                    <a:pt x="3655" y="844"/>
                  </a:lnTo>
                  <a:lnTo>
                    <a:pt x="3655" y="844"/>
                  </a:lnTo>
                  <a:close/>
                  <a:moveTo>
                    <a:pt x="3222" y="435"/>
                  </a:moveTo>
                  <a:lnTo>
                    <a:pt x="3234" y="440"/>
                  </a:lnTo>
                  <a:lnTo>
                    <a:pt x="3147" y="435"/>
                  </a:lnTo>
                  <a:lnTo>
                    <a:pt x="3222" y="435"/>
                  </a:lnTo>
                  <a:lnTo>
                    <a:pt x="3222" y="435"/>
                  </a:lnTo>
                  <a:lnTo>
                    <a:pt x="3222" y="435"/>
                  </a:lnTo>
                  <a:close/>
                  <a:moveTo>
                    <a:pt x="2965" y="600"/>
                  </a:moveTo>
                  <a:lnTo>
                    <a:pt x="2920" y="584"/>
                  </a:lnTo>
                  <a:lnTo>
                    <a:pt x="2920" y="567"/>
                  </a:lnTo>
                  <a:lnTo>
                    <a:pt x="2868" y="567"/>
                  </a:lnTo>
                  <a:lnTo>
                    <a:pt x="2861" y="534"/>
                  </a:lnTo>
                  <a:lnTo>
                    <a:pt x="2894" y="518"/>
                  </a:lnTo>
                  <a:lnTo>
                    <a:pt x="2953" y="534"/>
                  </a:lnTo>
                  <a:lnTo>
                    <a:pt x="2970" y="551"/>
                  </a:lnTo>
                  <a:lnTo>
                    <a:pt x="2970" y="572"/>
                  </a:lnTo>
                  <a:lnTo>
                    <a:pt x="2965" y="600"/>
                  </a:lnTo>
                  <a:lnTo>
                    <a:pt x="2965" y="600"/>
                  </a:lnTo>
                  <a:lnTo>
                    <a:pt x="2965" y="600"/>
                  </a:lnTo>
                  <a:close/>
                  <a:moveTo>
                    <a:pt x="2608" y="749"/>
                  </a:moveTo>
                  <a:lnTo>
                    <a:pt x="2613" y="740"/>
                  </a:lnTo>
                  <a:lnTo>
                    <a:pt x="2587" y="740"/>
                  </a:lnTo>
                  <a:lnTo>
                    <a:pt x="2608" y="723"/>
                  </a:lnTo>
                  <a:lnTo>
                    <a:pt x="2587" y="711"/>
                  </a:lnTo>
                  <a:lnTo>
                    <a:pt x="2521" y="740"/>
                  </a:lnTo>
                  <a:lnTo>
                    <a:pt x="2542" y="700"/>
                  </a:lnTo>
                  <a:lnTo>
                    <a:pt x="2483" y="700"/>
                  </a:lnTo>
                  <a:lnTo>
                    <a:pt x="2483" y="678"/>
                  </a:lnTo>
                  <a:lnTo>
                    <a:pt x="2490" y="655"/>
                  </a:lnTo>
                  <a:lnTo>
                    <a:pt x="2596" y="645"/>
                  </a:lnTo>
                  <a:lnTo>
                    <a:pt x="2663" y="662"/>
                  </a:lnTo>
                  <a:lnTo>
                    <a:pt x="2693" y="695"/>
                  </a:lnTo>
                  <a:lnTo>
                    <a:pt x="2684" y="716"/>
                  </a:lnTo>
                  <a:lnTo>
                    <a:pt x="2700" y="723"/>
                  </a:lnTo>
                  <a:lnTo>
                    <a:pt x="2705" y="700"/>
                  </a:lnTo>
                  <a:lnTo>
                    <a:pt x="2759" y="695"/>
                  </a:lnTo>
                  <a:lnTo>
                    <a:pt x="2807" y="716"/>
                  </a:lnTo>
                  <a:lnTo>
                    <a:pt x="2793" y="740"/>
                  </a:lnTo>
                  <a:lnTo>
                    <a:pt x="2856" y="733"/>
                  </a:lnTo>
                  <a:lnTo>
                    <a:pt x="2882" y="756"/>
                  </a:lnTo>
                  <a:lnTo>
                    <a:pt x="2878" y="766"/>
                  </a:lnTo>
                  <a:lnTo>
                    <a:pt x="2911" y="773"/>
                  </a:lnTo>
                  <a:lnTo>
                    <a:pt x="2882" y="794"/>
                  </a:lnTo>
                  <a:lnTo>
                    <a:pt x="2894" y="806"/>
                  </a:lnTo>
                  <a:lnTo>
                    <a:pt x="2894" y="822"/>
                  </a:lnTo>
                  <a:lnTo>
                    <a:pt x="2911" y="822"/>
                  </a:lnTo>
                  <a:lnTo>
                    <a:pt x="2948" y="851"/>
                  </a:lnTo>
                  <a:lnTo>
                    <a:pt x="2937" y="867"/>
                  </a:lnTo>
                  <a:lnTo>
                    <a:pt x="2948" y="884"/>
                  </a:lnTo>
                  <a:lnTo>
                    <a:pt x="2882" y="900"/>
                  </a:lnTo>
                  <a:lnTo>
                    <a:pt x="2830" y="884"/>
                  </a:lnTo>
                  <a:lnTo>
                    <a:pt x="2807" y="834"/>
                  </a:lnTo>
                  <a:lnTo>
                    <a:pt x="2731" y="822"/>
                  </a:lnTo>
                  <a:lnTo>
                    <a:pt x="2693" y="827"/>
                  </a:lnTo>
                  <a:lnTo>
                    <a:pt x="2679" y="822"/>
                  </a:lnTo>
                  <a:lnTo>
                    <a:pt x="2693" y="806"/>
                  </a:lnTo>
                  <a:lnTo>
                    <a:pt x="2679" y="806"/>
                  </a:lnTo>
                  <a:lnTo>
                    <a:pt x="2596" y="827"/>
                  </a:lnTo>
                  <a:lnTo>
                    <a:pt x="2570" y="822"/>
                  </a:lnTo>
                  <a:lnTo>
                    <a:pt x="2521" y="789"/>
                  </a:lnTo>
                  <a:lnTo>
                    <a:pt x="2542" y="773"/>
                  </a:lnTo>
                  <a:lnTo>
                    <a:pt x="2630" y="789"/>
                  </a:lnTo>
                  <a:lnTo>
                    <a:pt x="2641" y="766"/>
                  </a:lnTo>
                  <a:lnTo>
                    <a:pt x="2592" y="766"/>
                  </a:lnTo>
                  <a:lnTo>
                    <a:pt x="2646" y="749"/>
                  </a:lnTo>
                  <a:lnTo>
                    <a:pt x="2608" y="749"/>
                  </a:lnTo>
                  <a:lnTo>
                    <a:pt x="2608" y="749"/>
                  </a:lnTo>
                  <a:lnTo>
                    <a:pt x="2608" y="749"/>
                  </a:lnTo>
                  <a:close/>
                  <a:moveTo>
                    <a:pt x="3865" y="695"/>
                  </a:moveTo>
                  <a:lnTo>
                    <a:pt x="3919" y="700"/>
                  </a:lnTo>
                  <a:lnTo>
                    <a:pt x="3827" y="723"/>
                  </a:lnTo>
                  <a:lnTo>
                    <a:pt x="3865" y="695"/>
                  </a:lnTo>
                  <a:lnTo>
                    <a:pt x="3865" y="695"/>
                  </a:lnTo>
                  <a:lnTo>
                    <a:pt x="3865" y="695"/>
                  </a:lnTo>
                  <a:close/>
                  <a:moveTo>
                    <a:pt x="3100" y="900"/>
                  </a:moveTo>
                  <a:lnTo>
                    <a:pt x="3078" y="889"/>
                  </a:lnTo>
                  <a:lnTo>
                    <a:pt x="3078" y="884"/>
                  </a:lnTo>
                  <a:lnTo>
                    <a:pt x="3083" y="877"/>
                  </a:lnTo>
                  <a:lnTo>
                    <a:pt x="3029" y="860"/>
                  </a:lnTo>
                  <a:lnTo>
                    <a:pt x="3100" y="844"/>
                  </a:lnTo>
                  <a:lnTo>
                    <a:pt x="3019" y="822"/>
                  </a:lnTo>
                  <a:lnTo>
                    <a:pt x="3019" y="806"/>
                  </a:lnTo>
                  <a:lnTo>
                    <a:pt x="2986" y="789"/>
                  </a:lnTo>
                  <a:lnTo>
                    <a:pt x="3019" y="778"/>
                  </a:lnTo>
                  <a:lnTo>
                    <a:pt x="2991" y="766"/>
                  </a:lnTo>
                  <a:lnTo>
                    <a:pt x="2991" y="740"/>
                  </a:lnTo>
                  <a:lnTo>
                    <a:pt x="3029" y="733"/>
                  </a:lnTo>
                  <a:lnTo>
                    <a:pt x="3078" y="749"/>
                  </a:lnTo>
                  <a:lnTo>
                    <a:pt x="3147" y="766"/>
                  </a:lnTo>
                  <a:lnTo>
                    <a:pt x="3147" y="778"/>
                  </a:lnTo>
                  <a:lnTo>
                    <a:pt x="3192" y="778"/>
                  </a:lnTo>
                  <a:lnTo>
                    <a:pt x="3239" y="806"/>
                  </a:lnTo>
                  <a:lnTo>
                    <a:pt x="3201" y="827"/>
                  </a:lnTo>
                  <a:lnTo>
                    <a:pt x="3234" y="844"/>
                  </a:lnTo>
                  <a:lnTo>
                    <a:pt x="3218" y="867"/>
                  </a:lnTo>
                  <a:lnTo>
                    <a:pt x="3116" y="884"/>
                  </a:lnTo>
                  <a:lnTo>
                    <a:pt x="3109" y="884"/>
                  </a:lnTo>
                  <a:lnTo>
                    <a:pt x="3126" y="889"/>
                  </a:lnTo>
                  <a:lnTo>
                    <a:pt x="3100" y="900"/>
                  </a:lnTo>
                  <a:lnTo>
                    <a:pt x="3100" y="900"/>
                  </a:lnTo>
                  <a:lnTo>
                    <a:pt x="3100" y="900"/>
                  </a:lnTo>
                  <a:close/>
                  <a:moveTo>
                    <a:pt x="4675" y="756"/>
                  </a:moveTo>
                  <a:lnTo>
                    <a:pt x="4649" y="749"/>
                  </a:lnTo>
                  <a:lnTo>
                    <a:pt x="4692" y="749"/>
                  </a:lnTo>
                  <a:lnTo>
                    <a:pt x="4675" y="756"/>
                  </a:lnTo>
                  <a:lnTo>
                    <a:pt x="4675" y="756"/>
                  </a:lnTo>
                  <a:lnTo>
                    <a:pt x="4675" y="756"/>
                  </a:lnTo>
                  <a:close/>
                  <a:moveTo>
                    <a:pt x="2067" y="822"/>
                  </a:moveTo>
                  <a:lnTo>
                    <a:pt x="2030" y="806"/>
                  </a:lnTo>
                  <a:lnTo>
                    <a:pt x="1949" y="822"/>
                  </a:lnTo>
                  <a:lnTo>
                    <a:pt x="1944" y="811"/>
                  </a:lnTo>
                  <a:lnTo>
                    <a:pt x="1961" y="794"/>
                  </a:lnTo>
                  <a:lnTo>
                    <a:pt x="2143" y="740"/>
                  </a:lnTo>
                  <a:lnTo>
                    <a:pt x="2230" y="789"/>
                  </a:lnTo>
                  <a:lnTo>
                    <a:pt x="2214" y="822"/>
                  </a:lnTo>
                  <a:lnTo>
                    <a:pt x="2143" y="822"/>
                  </a:lnTo>
                  <a:lnTo>
                    <a:pt x="2100" y="806"/>
                  </a:lnTo>
                  <a:lnTo>
                    <a:pt x="2067" y="822"/>
                  </a:lnTo>
                  <a:lnTo>
                    <a:pt x="2067" y="822"/>
                  </a:lnTo>
                  <a:lnTo>
                    <a:pt x="2067" y="822"/>
                  </a:lnTo>
                  <a:close/>
                  <a:moveTo>
                    <a:pt x="3721" y="794"/>
                  </a:moveTo>
                  <a:lnTo>
                    <a:pt x="3704" y="827"/>
                  </a:lnTo>
                  <a:lnTo>
                    <a:pt x="3688" y="822"/>
                  </a:lnTo>
                  <a:lnTo>
                    <a:pt x="3704" y="794"/>
                  </a:lnTo>
                  <a:lnTo>
                    <a:pt x="3721" y="794"/>
                  </a:lnTo>
                  <a:lnTo>
                    <a:pt x="3721" y="794"/>
                  </a:lnTo>
                  <a:lnTo>
                    <a:pt x="3721" y="794"/>
                  </a:lnTo>
                  <a:close/>
                  <a:moveTo>
                    <a:pt x="3260" y="822"/>
                  </a:moveTo>
                  <a:lnTo>
                    <a:pt x="3277" y="834"/>
                  </a:lnTo>
                  <a:lnTo>
                    <a:pt x="3244" y="822"/>
                  </a:lnTo>
                  <a:lnTo>
                    <a:pt x="3260" y="822"/>
                  </a:lnTo>
                  <a:lnTo>
                    <a:pt x="3260" y="822"/>
                  </a:lnTo>
                  <a:lnTo>
                    <a:pt x="3260" y="822"/>
                  </a:lnTo>
                  <a:close/>
                  <a:moveTo>
                    <a:pt x="2679" y="822"/>
                  </a:moveTo>
                  <a:lnTo>
                    <a:pt x="2684" y="827"/>
                  </a:lnTo>
                  <a:lnTo>
                    <a:pt x="2663" y="844"/>
                  </a:lnTo>
                  <a:lnTo>
                    <a:pt x="2646" y="834"/>
                  </a:lnTo>
                  <a:lnTo>
                    <a:pt x="2679" y="822"/>
                  </a:lnTo>
                  <a:lnTo>
                    <a:pt x="2679" y="822"/>
                  </a:lnTo>
                  <a:lnTo>
                    <a:pt x="2679" y="822"/>
                  </a:lnTo>
                  <a:close/>
                  <a:moveTo>
                    <a:pt x="2759" y="827"/>
                  </a:moveTo>
                  <a:lnTo>
                    <a:pt x="2759" y="834"/>
                  </a:lnTo>
                  <a:lnTo>
                    <a:pt x="2748" y="834"/>
                  </a:lnTo>
                  <a:lnTo>
                    <a:pt x="2759" y="827"/>
                  </a:lnTo>
                  <a:lnTo>
                    <a:pt x="2759" y="827"/>
                  </a:lnTo>
                  <a:lnTo>
                    <a:pt x="2759" y="827"/>
                  </a:lnTo>
                  <a:close/>
                  <a:moveTo>
                    <a:pt x="2030" y="971"/>
                  </a:moveTo>
                  <a:lnTo>
                    <a:pt x="1949" y="938"/>
                  </a:lnTo>
                  <a:lnTo>
                    <a:pt x="1949" y="905"/>
                  </a:lnTo>
                  <a:lnTo>
                    <a:pt x="1944" y="889"/>
                  </a:lnTo>
                  <a:lnTo>
                    <a:pt x="1949" y="877"/>
                  </a:lnTo>
                  <a:lnTo>
                    <a:pt x="2084" y="851"/>
                  </a:lnTo>
                  <a:lnTo>
                    <a:pt x="2209" y="851"/>
                  </a:lnTo>
                  <a:lnTo>
                    <a:pt x="2193" y="867"/>
                  </a:lnTo>
                  <a:lnTo>
                    <a:pt x="2112" y="889"/>
                  </a:lnTo>
                  <a:lnTo>
                    <a:pt x="2129" y="900"/>
                  </a:lnTo>
                  <a:lnTo>
                    <a:pt x="2167" y="900"/>
                  </a:lnTo>
                  <a:lnTo>
                    <a:pt x="2176" y="922"/>
                  </a:lnTo>
                  <a:lnTo>
                    <a:pt x="2159" y="938"/>
                  </a:lnTo>
                  <a:lnTo>
                    <a:pt x="2030" y="971"/>
                  </a:lnTo>
                  <a:lnTo>
                    <a:pt x="2030" y="971"/>
                  </a:lnTo>
                  <a:lnTo>
                    <a:pt x="2030" y="971"/>
                  </a:lnTo>
                  <a:close/>
                  <a:moveTo>
                    <a:pt x="1878" y="905"/>
                  </a:moveTo>
                  <a:lnTo>
                    <a:pt x="1815" y="867"/>
                  </a:lnTo>
                  <a:lnTo>
                    <a:pt x="1874" y="851"/>
                  </a:lnTo>
                  <a:lnTo>
                    <a:pt x="1923" y="889"/>
                  </a:lnTo>
                  <a:lnTo>
                    <a:pt x="1878" y="905"/>
                  </a:lnTo>
                  <a:lnTo>
                    <a:pt x="1878" y="905"/>
                  </a:lnTo>
                  <a:lnTo>
                    <a:pt x="1878" y="905"/>
                  </a:lnTo>
                  <a:close/>
                  <a:moveTo>
                    <a:pt x="2759" y="884"/>
                  </a:moveTo>
                  <a:lnTo>
                    <a:pt x="2807" y="905"/>
                  </a:lnTo>
                  <a:lnTo>
                    <a:pt x="2731" y="917"/>
                  </a:lnTo>
                  <a:lnTo>
                    <a:pt x="2705" y="905"/>
                  </a:lnTo>
                  <a:lnTo>
                    <a:pt x="2700" y="889"/>
                  </a:lnTo>
                  <a:lnTo>
                    <a:pt x="2759" y="884"/>
                  </a:lnTo>
                  <a:lnTo>
                    <a:pt x="2759" y="884"/>
                  </a:lnTo>
                  <a:lnTo>
                    <a:pt x="2759" y="884"/>
                  </a:lnTo>
                  <a:close/>
                  <a:moveTo>
                    <a:pt x="4444" y="884"/>
                  </a:moveTo>
                  <a:lnTo>
                    <a:pt x="4448" y="889"/>
                  </a:lnTo>
                  <a:lnTo>
                    <a:pt x="4422" y="889"/>
                  </a:lnTo>
                  <a:lnTo>
                    <a:pt x="4444" y="884"/>
                  </a:lnTo>
                  <a:lnTo>
                    <a:pt x="4444" y="884"/>
                  </a:lnTo>
                  <a:lnTo>
                    <a:pt x="4444" y="884"/>
                  </a:lnTo>
                  <a:close/>
                  <a:moveTo>
                    <a:pt x="3352" y="905"/>
                  </a:moveTo>
                  <a:lnTo>
                    <a:pt x="3364" y="917"/>
                  </a:lnTo>
                  <a:lnTo>
                    <a:pt x="3343" y="922"/>
                  </a:lnTo>
                  <a:lnTo>
                    <a:pt x="3326" y="943"/>
                  </a:lnTo>
                  <a:lnTo>
                    <a:pt x="3163" y="943"/>
                  </a:lnTo>
                  <a:lnTo>
                    <a:pt x="3133" y="922"/>
                  </a:lnTo>
                  <a:lnTo>
                    <a:pt x="3137" y="917"/>
                  </a:lnTo>
                  <a:lnTo>
                    <a:pt x="3192" y="889"/>
                  </a:lnTo>
                  <a:lnTo>
                    <a:pt x="3201" y="905"/>
                  </a:lnTo>
                  <a:lnTo>
                    <a:pt x="3326" y="900"/>
                  </a:lnTo>
                  <a:lnTo>
                    <a:pt x="3352" y="905"/>
                  </a:lnTo>
                  <a:lnTo>
                    <a:pt x="3352" y="905"/>
                  </a:lnTo>
                  <a:lnTo>
                    <a:pt x="3352" y="905"/>
                  </a:lnTo>
                  <a:close/>
                  <a:moveTo>
                    <a:pt x="2483" y="900"/>
                  </a:moveTo>
                  <a:lnTo>
                    <a:pt x="2521" y="933"/>
                  </a:lnTo>
                  <a:lnTo>
                    <a:pt x="2533" y="943"/>
                  </a:lnTo>
                  <a:lnTo>
                    <a:pt x="2521" y="955"/>
                  </a:lnTo>
                  <a:lnTo>
                    <a:pt x="2542" y="955"/>
                  </a:lnTo>
                  <a:lnTo>
                    <a:pt x="2570" y="988"/>
                  </a:lnTo>
                  <a:lnTo>
                    <a:pt x="2542" y="1000"/>
                  </a:lnTo>
                  <a:lnTo>
                    <a:pt x="2504" y="988"/>
                  </a:lnTo>
                  <a:lnTo>
                    <a:pt x="2483" y="971"/>
                  </a:lnTo>
                  <a:lnTo>
                    <a:pt x="2469" y="922"/>
                  </a:lnTo>
                  <a:lnTo>
                    <a:pt x="2452" y="905"/>
                  </a:lnTo>
                  <a:lnTo>
                    <a:pt x="2483" y="900"/>
                  </a:lnTo>
                  <a:lnTo>
                    <a:pt x="2483" y="900"/>
                  </a:lnTo>
                  <a:lnTo>
                    <a:pt x="2483" y="900"/>
                  </a:lnTo>
                  <a:close/>
                  <a:moveTo>
                    <a:pt x="3546" y="988"/>
                  </a:moveTo>
                  <a:lnTo>
                    <a:pt x="3494" y="962"/>
                  </a:lnTo>
                  <a:lnTo>
                    <a:pt x="3494" y="933"/>
                  </a:lnTo>
                  <a:lnTo>
                    <a:pt x="3515" y="917"/>
                  </a:lnTo>
                  <a:lnTo>
                    <a:pt x="3563" y="922"/>
                  </a:lnTo>
                  <a:lnTo>
                    <a:pt x="3596" y="943"/>
                  </a:lnTo>
                  <a:lnTo>
                    <a:pt x="3600" y="962"/>
                  </a:lnTo>
                  <a:lnTo>
                    <a:pt x="3546" y="988"/>
                  </a:lnTo>
                  <a:lnTo>
                    <a:pt x="3546" y="988"/>
                  </a:lnTo>
                  <a:lnTo>
                    <a:pt x="3546" y="988"/>
                  </a:lnTo>
                  <a:close/>
                  <a:moveTo>
                    <a:pt x="3910" y="933"/>
                  </a:moveTo>
                  <a:lnTo>
                    <a:pt x="3941" y="938"/>
                  </a:lnTo>
                  <a:lnTo>
                    <a:pt x="3919" y="943"/>
                  </a:lnTo>
                  <a:lnTo>
                    <a:pt x="3886" y="933"/>
                  </a:lnTo>
                  <a:lnTo>
                    <a:pt x="3910" y="933"/>
                  </a:lnTo>
                  <a:lnTo>
                    <a:pt x="3910" y="933"/>
                  </a:lnTo>
                  <a:lnTo>
                    <a:pt x="3910" y="933"/>
                  </a:lnTo>
                  <a:close/>
                  <a:moveTo>
                    <a:pt x="1734" y="1082"/>
                  </a:moveTo>
                  <a:lnTo>
                    <a:pt x="1680" y="1087"/>
                  </a:lnTo>
                  <a:lnTo>
                    <a:pt x="1692" y="1111"/>
                  </a:lnTo>
                  <a:lnTo>
                    <a:pt x="1654" y="1127"/>
                  </a:lnTo>
                  <a:lnTo>
                    <a:pt x="1609" y="1106"/>
                  </a:lnTo>
                  <a:lnTo>
                    <a:pt x="1621" y="1066"/>
                  </a:lnTo>
                  <a:lnTo>
                    <a:pt x="1637" y="1049"/>
                  </a:lnTo>
                  <a:lnTo>
                    <a:pt x="1588" y="1049"/>
                  </a:lnTo>
                  <a:lnTo>
                    <a:pt x="1583" y="1054"/>
                  </a:lnTo>
                  <a:lnTo>
                    <a:pt x="1588" y="1082"/>
                  </a:lnTo>
                  <a:lnTo>
                    <a:pt x="1545" y="1087"/>
                  </a:lnTo>
                  <a:lnTo>
                    <a:pt x="1571" y="1111"/>
                  </a:lnTo>
                  <a:lnTo>
                    <a:pt x="1550" y="1127"/>
                  </a:lnTo>
                  <a:lnTo>
                    <a:pt x="1545" y="1144"/>
                  </a:lnTo>
                  <a:lnTo>
                    <a:pt x="1529" y="1155"/>
                  </a:lnTo>
                  <a:lnTo>
                    <a:pt x="1503" y="1122"/>
                  </a:lnTo>
                  <a:lnTo>
                    <a:pt x="1496" y="1122"/>
                  </a:lnTo>
                  <a:lnTo>
                    <a:pt x="1503" y="1144"/>
                  </a:lnTo>
                  <a:lnTo>
                    <a:pt x="1491" y="1155"/>
                  </a:lnTo>
                  <a:lnTo>
                    <a:pt x="1512" y="1160"/>
                  </a:lnTo>
                  <a:lnTo>
                    <a:pt x="1512" y="1165"/>
                  </a:lnTo>
                  <a:lnTo>
                    <a:pt x="1448" y="1193"/>
                  </a:lnTo>
                  <a:lnTo>
                    <a:pt x="1441" y="1193"/>
                  </a:lnTo>
                  <a:lnTo>
                    <a:pt x="1441" y="1165"/>
                  </a:lnTo>
                  <a:lnTo>
                    <a:pt x="1427" y="1165"/>
                  </a:lnTo>
                  <a:lnTo>
                    <a:pt x="1420" y="1144"/>
                  </a:lnTo>
                  <a:lnTo>
                    <a:pt x="1411" y="1139"/>
                  </a:lnTo>
                  <a:lnTo>
                    <a:pt x="1404" y="1144"/>
                  </a:lnTo>
                  <a:lnTo>
                    <a:pt x="1411" y="1165"/>
                  </a:lnTo>
                  <a:lnTo>
                    <a:pt x="1404" y="1177"/>
                  </a:lnTo>
                  <a:lnTo>
                    <a:pt x="1328" y="1160"/>
                  </a:lnTo>
                  <a:lnTo>
                    <a:pt x="1297" y="1177"/>
                  </a:lnTo>
                  <a:lnTo>
                    <a:pt x="1281" y="1165"/>
                  </a:lnTo>
                  <a:lnTo>
                    <a:pt x="1302" y="1155"/>
                  </a:lnTo>
                  <a:lnTo>
                    <a:pt x="1281" y="1155"/>
                  </a:lnTo>
                  <a:lnTo>
                    <a:pt x="1297" y="1144"/>
                  </a:lnTo>
                  <a:lnTo>
                    <a:pt x="1285" y="1139"/>
                  </a:lnTo>
                  <a:lnTo>
                    <a:pt x="1259" y="1155"/>
                  </a:lnTo>
                  <a:lnTo>
                    <a:pt x="1285" y="1111"/>
                  </a:lnTo>
                  <a:lnTo>
                    <a:pt x="1366" y="1106"/>
                  </a:lnTo>
                  <a:lnTo>
                    <a:pt x="1389" y="1070"/>
                  </a:lnTo>
                  <a:lnTo>
                    <a:pt x="1441" y="1049"/>
                  </a:lnTo>
                  <a:lnTo>
                    <a:pt x="1465" y="1016"/>
                  </a:lnTo>
                  <a:lnTo>
                    <a:pt x="1517" y="988"/>
                  </a:lnTo>
                  <a:lnTo>
                    <a:pt x="1533" y="971"/>
                  </a:lnTo>
                  <a:lnTo>
                    <a:pt x="1621" y="955"/>
                  </a:lnTo>
                  <a:lnTo>
                    <a:pt x="1680" y="971"/>
                  </a:lnTo>
                  <a:lnTo>
                    <a:pt x="1675" y="962"/>
                  </a:lnTo>
                  <a:lnTo>
                    <a:pt x="1696" y="971"/>
                  </a:lnTo>
                  <a:lnTo>
                    <a:pt x="1713" y="955"/>
                  </a:lnTo>
                  <a:lnTo>
                    <a:pt x="1675" y="943"/>
                  </a:lnTo>
                  <a:lnTo>
                    <a:pt x="1718" y="933"/>
                  </a:lnTo>
                  <a:lnTo>
                    <a:pt x="1798" y="971"/>
                  </a:lnTo>
                  <a:lnTo>
                    <a:pt x="1734" y="988"/>
                  </a:lnTo>
                  <a:lnTo>
                    <a:pt x="1734" y="1000"/>
                  </a:lnTo>
                  <a:lnTo>
                    <a:pt x="1734" y="1011"/>
                  </a:lnTo>
                  <a:lnTo>
                    <a:pt x="1772" y="1028"/>
                  </a:lnTo>
                  <a:lnTo>
                    <a:pt x="1730" y="1028"/>
                  </a:lnTo>
                  <a:lnTo>
                    <a:pt x="1751" y="1049"/>
                  </a:lnTo>
                  <a:lnTo>
                    <a:pt x="1760" y="1066"/>
                  </a:lnTo>
                  <a:lnTo>
                    <a:pt x="1734" y="1082"/>
                  </a:lnTo>
                  <a:lnTo>
                    <a:pt x="1734" y="1082"/>
                  </a:lnTo>
                  <a:lnTo>
                    <a:pt x="1734" y="1082"/>
                  </a:lnTo>
                  <a:close/>
                  <a:moveTo>
                    <a:pt x="3504" y="978"/>
                  </a:moveTo>
                  <a:lnTo>
                    <a:pt x="3525" y="988"/>
                  </a:lnTo>
                  <a:lnTo>
                    <a:pt x="3508" y="995"/>
                  </a:lnTo>
                  <a:lnTo>
                    <a:pt x="3487" y="988"/>
                  </a:lnTo>
                  <a:lnTo>
                    <a:pt x="3504" y="978"/>
                  </a:lnTo>
                  <a:lnTo>
                    <a:pt x="3504" y="978"/>
                  </a:lnTo>
                  <a:lnTo>
                    <a:pt x="3504" y="978"/>
                  </a:lnTo>
                  <a:close/>
                  <a:moveTo>
                    <a:pt x="3201" y="978"/>
                  </a:moveTo>
                  <a:lnTo>
                    <a:pt x="3208" y="988"/>
                  </a:lnTo>
                  <a:lnTo>
                    <a:pt x="3185" y="978"/>
                  </a:lnTo>
                  <a:lnTo>
                    <a:pt x="3201" y="978"/>
                  </a:lnTo>
                  <a:lnTo>
                    <a:pt x="3201" y="978"/>
                  </a:lnTo>
                  <a:lnTo>
                    <a:pt x="3201" y="978"/>
                  </a:lnTo>
                  <a:close/>
                  <a:moveTo>
                    <a:pt x="2592" y="995"/>
                  </a:moveTo>
                  <a:lnTo>
                    <a:pt x="2596" y="1000"/>
                  </a:lnTo>
                  <a:lnTo>
                    <a:pt x="2570" y="1000"/>
                  </a:lnTo>
                  <a:lnTo>
                    <a:pt x="2592" y="995"/>
                  </a:lnTo>
                  <a:lnTo>
                    <a:pt x="2592" y="995"/>
                  </a:lnTo>
                  <a:lnTo>
                    <a:pt x="2592" y="995"/>
                  </a:lnTo>
                  <a:close/>
                  <a:moveTo>
                    <a:pt x="1911" y="1000"/>
                  </a:moveTo>
                  <a:lnTo>
                    <a:pt x="1895" y="995"/>
                  </a:lnTo>
                  <a:lnTo>
                    <a:pt x="1923" y="995"/>
                  </a:lnTo>
                  <a:lnTo>
                    <a:pt x="1911" y="1000"/>
                  </a:lnTo>
                  <a:lnTo>
                    <a:pt x="1911" y="1000"/>
                  </a:lnTo>
                  <a:lnTo>
                    <a:pt x="1911" y="1000"/>
                  </a:lnTo>
                  <a:close/>
                  <a:moveTo>
                    <a:pt x="3818" y="1267"/>
                  </a:moveTo>
                  <a:lnTo>
                    <a:pt x="3881" y="1255"/>
                  </a:lnTo>
                  <a:lnTo>
                    <a:pt x="3848" y="1238"/>
                  </a:lnTo>
                  <a:lnTo>
                    <a:pt x="3903" y="1233"/>
                  </a:lnTo>
                  <a:lnTo>
                    <a:pt x="3924" y="1215"/>
                  </a:lnTo>
                  <a:lnTo>
                    <a:pt x="3962" y="1222"/>
                  </a:lnTo>
                  <a:lnTo>
                    <a:pt x="3945" y="1215"/>
                  </a:lnTo>
                  <a:lnTo>
                    <a:pt x="4000" y="1193"/>
                  </a:lnTo>
                  <a:lnTo>
                    <a:pt x="4054" y="1210"/>
                  </a:lnTo>
                  <a:lnTo>
                    <a:pt x="4120" y="1193"/>
                  </a:lnTo>
                  <a:lnTo>
                    <a:pt x="4172" y="1193"/>
                  </a:lnTo>
                  <a:lnTo>
                    <a:pt x="4196" y="1198"/>
                  </a:lnTo>
                  <a:lnTo>
                    <a:pt x="4189" y="1215"/>
                  </a:lnTo>
                  <a:lnTo>
                    <a:pt x="4243" y="1215"/>
                  </a:lnTo>
                  <a:lnTo>
                    <a:pt x="4281" y="1233"/>
                  </a:lnTo>
                  <a:lnTo>
                    <a:pt x="4248" y="1250"/>
                  </a:lnTo>
                  <a:lnTo>
                    <a:pt x="4314" y="1250"/>
                  </a:lnTo>
                  <a:lnTo>
                    <a:pt x="4302" y="1250"/>
                  </a:lnTo>
                  <a:lnTo>
                    <a:pt x="4314" y="1267"/>
                  </a:lnTo>
                  <a:lnTo>
                    <a:pt x="4302" y="1271"/>
                  </a:lnTo>
                  <a:lnTo>
                    <a:pt x="4318" y="1271"/>
                  </a:lnTo>
                  <a:lnTo>
                    <a:pt x="4314" y="1288"/>
                  </a:lnTo>
                  <a:lnTo>
                    <a:pt x="4248" y="1304"/>
                  </a:lnTo>
                  <a:lnTo>
                    <a:pt x="4264" y="1309"/>
                  </a:lnTo>
                  <a:lnTo>
                    <a:pt x="4259" y="1321"/>
                  </a:lnTo>
                  <a:lnTo>
                    <a:pt x="4302" y="1309"/>
                  </a:lnTo>
                  <a:lnTo>
                    <a:pt x="4323" y="1326"/>
                  </a:lnTo>
                  <a:lnTo>
                    <a:pt x="4281" y="1342"/>
                  </a:lnTo>
                  <a:lnTo>
                    <a:pt x="4259" y="1321"/>
                  </a:lnTo>
                  <a:lnTo>
                    <a:pt x="4248" y="1326"/>
                  </a:lnTo>
                  <a:lnTo>
                    <a:pt x="4271" y="1333"/>
                  </a:lnTo>
                  <a:lnTo>
                    <a:pt x="4264" y="1378"/>
                  </a:lnTo>
                  <a:lnTo>
                    <a:pt x="4196" y="1378"/>
                  </a:lnTo>
                  <a:lnTo>
                    <a:pt x="4151" y="1387"/>
                  </a:lnTo>
                  <a:lnTo>
                    <a:pt x="4070" y="1378"/>
                  </a:lnTo>
                  <a:lnTo>
                    <a:pt x="4054" y="1359"/>
                  </a:lnTo>
                  <a:lnTo>
                    <a:pt x="4066" y="1342"/>
                  </a:lnTo>
                  <a:lnTo>
                    <a:pt x="4066" y="1333"/>
                  </a:lnTo>
                  <a:lnTo>
                    <a:pt x="4033" y="1326"/>
                  </a:lnTo>
                  <a:lnTo>
                    <a:pt x="4033" y="1333"/>
                  </a:lnTo>
                  <a:lnTo>
                    <a:pt x="4049" y="1342"/>
                  </a:lnTo>
                  <a:lnTo>
                    <a:pt x="4033" y="1378"/>
                  </a:lnTo>
                  <a:lnTo>
                    <a:pt x="3978" y="1382"/>
                  </a:lnTo>
                  <a:lnTo>
                    <a:pt x="3936" y="1382"/>
                  </a:lnTo>
                  <a:lnTo>
                    <a:pt x="3924" y="1359"/>
                  </a:lnTo>
                  <a:lnTo>
                    <a:pt x="3924" y="1366"/>
                  </a:lnTo>
                  <a:lnTo>
                    <a:pt x="3924" y="1382"/>
                  </a:lnTo>
                  <a:lnTo>
                    <a:pt x="3910" y="1382"/>
                  </a:lnTo>
                  <a:lnTo>
                    <a:pt x="3903" y="1382"/>
                  </a:lnTo>
                  <a:lnTo>
                    <a:pt x="3886" y="1359"/>
                  </a:lnTo>
                  <a:lnTo>
                    <a:pt x="3893" y="1378"/>
                  </a:lnTo>
                  <a:lnTo>
                    <a:pt x="3886" y="1382"/>
                  </a:lnTo>
                  <a:lnTo>
                    <a:pt x="3848" y="1387"/>
                  </a:lnTo>
                  <a:lnTo>
                    <a:pt x="3848" y="1378"/>
                  </a:lnTo>
                  <a:lnTo>
                    <a:pt x="3839" y="1366"/>
                  </a:lnTo>
                  <a:lnTo>
                    <a:pt x="3827" y="1387"/>
                  </a:lnTo>
                  <a:lnTo>
                    <a:pt x="3801" y="1366"/>
                  </a:lnTo>
                  <a:lnTo>
                    <a:pt x="3811" y="1387"/>
                  </a:lnTo>
                  <a:lnTo>
                    <a:pt x="3676" y="1382"/>
                  </a:lnTo>
                  <a:lnTo>
                    <a:pt x="3676" y="1366"/>
                  </a:lnTo>
                  <a:lnTo>
                    <a:pt x="3693" y="1342"/>
                  </a:lnTo>
                  <a:lnTo>
                    <a:pt x="3676" y="1326"/>
                  </a:lnTo>
                  <a:lnTo>
                    <a:pt x="3655" y="1359"/>
                  </a:lnTo>
                  <a:lnTo>
                    <a:pt x="3655" y="1342"/>
                  </a:lnTo>
                  <a:lnTo>
                    <a:pt x="3638" y="1333"/>
                  </a:lnTo>
                  <a:lnTo>
                    <a:pt x="3650" y="1342"/>
                  </a:lnTo>
                  <a:lnTo>
                    <a:pt x="3638" y="1349"/>
                  </a:lnTo>
                  <a:lnTo>
                    <a:pt x="3622" y="1349"/>
                  </a:lnTo>
                  <a:lnTo>
                    <a:pt x="3638" y="1359"/>
                  </a:lnTo>
                  <a:lnTo>
                    <a:pt x="3638" y="1366"/>
                  </a:lnTo>
                  <a:lnTo>
                    <a:pt x="3612" y="1378"/>
                  </a:lnTo>
                  <a:lnTo>
                    <a:pt x="3579" y="1382"/>
                  </a:lnTo>
                  <a:lnTo>
                    <a:pt x="3532" y="1366"/>
                  </a:lnTo>
                  <a:lnTo>
                    <a:pt x="3525" y="1349"/>
                  </a:lnTo>
                  <a:lnTo>
                    <a:pt x="3504" y="1359"/>
                  </a:lnTo>
                  <a:lnTo>
                    <a:pt x="3525" y="1326"/>
                  </a:lnTo>
                  <a:lnTo>
                    <a:pt x="3494" y="1349"/>
                  </a:lnTo>
                  <a:lnTo>
                    <a:pt x="3504" y="1366"/>
                  </a:lnTo>
                  <a:lnTo>
                    <a:pt x="3470" y="1366"/>
                  </a:lnTo>
                  <a:lnTo>
                    <a:pt x="3433" y="1342"/>
                  </a:lnTo>
                  <a:lnTo>
                    <a:pt x="3440" y="1326"/>
                  </a:lnTo>
                  <a:lnTo>
                    <a:pt x="3423" y="1304"/>
                  </a:lnTo>
                  <a:lnTo>
                    <a:pt x="3440" y="1292"/>
                  </a:lnTo>
                  <a:lnTo>
                    <a:pt x="3433" y="1288"/>
                  </a:lnTo>
                  <a:lnTo>
                    <a:pt x="3402" y="1276"/>
                  </a:lnTo>
                  <a:lnTo>
                    <a:pt x="3407" y="1250"/>
                  </a:lnTo>
                  <a:lnTo>
                    <a:pt x="3440" y="1222"/>
                  </a:lnTo>
                  <a:lnTo>
                    <a:pt x="3423" y="1210"/>
                  </a:lnTo>
                  <a:lnTo>
                    <a:pt x="3433" y="1181"/>
                  </a:lnTo>
                  <a:lnTo>
                    <a:pt x="3395" y="1165"/>
                  </a:lnTo>
                  <a:lnTo>
                    <a:pt x="3395" y="1155"/>
                  </a:lnTo>
                  <a:lnTo>
                    <a:pt x="3364" y="1111"/>
                  </a:lnTo>
                  <a:lnTo>
                    <a:pt x="3310" y="1127"/>
                  </a:lnTo>
                  <a:lnTo>
                    <a:pt x="3201" y="1127"/>
                  </a:lnTo>
                  <a:lnTo>
                    <a:pt x="3201" y="1122"/>
                  </a:lnTo>
                  <a:lnTo>
                    <a:pt x="3239" y="1122"/>
                  </a:lnTo>
                  <a:lnTo>
                    <a:pt x="3170" y="1106"/>
                  </a:lnTo>
                  <a:lnTo>
                    <a:pt x="3147" y="1087"/>
                  </a:lnTo>
                  <a:lnTo>
                    <a:pt x="3185" y="1070"/>
                  </a:lnTo>
                  <a:lnTo>
                    <a:pt x="3154" y="1082"/>
                  </a:lnTo>
                  <a:lnTo>
                    <a:pt x="3095" y="1054"/>
                  </a:lnTo>
                  <a:lnTo>
                    <a:pt x="3100" y="1044"/>
                  </a:lnTo>
                  <a:lnTo>
                    <a:pt x="3133" y="1054"/>
                  </a:lnTo>
                  <a:lnTo>
                    <a:pt x="3100" y="1033"/>
                  </a:lnTo>
                  <a:lnTo>
                    <a:pt x="3095" y="1028"/>
                  </a:lnTo>
                  <a:lnTo>
                    <a:pt x="3109" y="1028"/>
                  </a:lnTo>
                  <a:lnTo>
                    <a:pt x="3100" y="1016"/>
                  </a:lnTo>
                  <a:lnTo>
                    <a:pt x="3180" y="1011"/>
                  </a:lnTo>
                  <a:lnTo>
                    <a:pt x="3277" y="1033"/>
                  </a:lnTo>
                  <a:lnTo>
                    <a:pt x="3315" y="1028"/>
                  </a:lnTo>
                  <a:lnTo>
                    <a:pt x="3352" y="1054"/>
                  </a:lnTo>
                  <a:lnTo>
                    <a:pt x="3348" y="1087"/>
                  </a:lnTo>
                  <a:lnTo>
                    <a:pt x="3326" y="1099"/>
                  </a:lnTo>
                  <a:lnTo>
                    <a:pt x="3331" y="1111"/>
                  </a:lnTo>
                  <a:lnTo>
                    <a:pt x="3364" y="1070"/>
                  </a:lnTo>
                  <a:lnTo>
                    <a:pt x="3508" y="1070"/>
                  </a:lnTo>
                  <a:lnTo>
                    <a:pt x="3546" y="1099"/>
                  </a:lnTo>
                  <a:lnTo>
                    <a:pt x="3470" y="1087"/>
                  </a:lnTo>
                  <a:lnTo>
                    <a:pt x="3633" y="1127"/>
                  </a:lnTo>
                  <a:lnTo>
                    <a:pt x="3546" y="1144"/>
                  </a:lnTo>
                  <a:lnTo>
                    <a:pt x="3570" y="1144"/>
                  </a:lnTo>
                  <a:lnTo>
                    <a:pt x="3461" y="1127"/>
                  </a:lnTo>
                  <a:lnTo>
                    <a:pt x="3532" y="1155"/>
                  </a:lnTo>
                  <a:lnTo>
                    <a:pt x="3515" y="1160"/>
                  </a:lnTo>
                  <a:lnTo>
                    <a:pt x="3563" y="1160"/>
                  </a:lnTo>
                  <a:lnTo>
                    <a:pt x="3494" y="1160"/>
                  </a:lnTo>
                  <a:lnTo>
                    <a:pt x="3508" y="1177"/>
                  </a:lnTo>
                  <a:lnTo>
                    <a:pt x="3504" y="1177"/>
                  </a:lnTo>
                  <a:lnTo>
                    <a:pt x="3504" y="1193"/>
                  </a:lnTo>
                  <a:lnTo>
                    <a:pt x="3525" y="1165"/>
                  </a:lnTo>
                  <a:lnTo>
                    <a:pt x="3546" y="1165"/>
                  </a:lnTo>
                  <a:lnTo>
                    <a:pt x="3541" y="1181"/>
                  </a:lnTo>
                  <a:lnTo>
                    <a:pt x="3579" y="1165"/>
                  </a:lnTo>
                  <a:lnTo>
                    <a:pt x="3600" y="1181"/>
                  </a:lnTo>
                  <a:lnTo>
                    <a:pt x="3596" y="1198"/>
                  </a:lnTo>
                  <a:lnTo>
                    <a:pt x="3612" y="1181"/>
                  </a:lnTo>
                  <a:lnTo>
                    <a:pt x="3633" y="1198"/>
                  </a:lnTo>
                  <a:lnTo>
                    <a:pt x="3633" y="1222"/>
                  </a:lnTo>
                  <a:lnTo>
                    <a:pt x="3596" y="1233"/>
                  </a:lnTo>
                  <a:lnTo>
                    <a:pt x="3612" y="1233"/>
                  </a:lnTo>
                  <a:lnTo>
                    <a:pt x="3600" y="1233"/>
                  </a:lnTo>
                  <a:lnTo>
                    <a:pt x="3633" y="1222"/>
                  </a:lnTo>
                  <a:lnTo>
                    <a:pt x="3650" y="1250"/>
                  </a:lnTo>
                  <a:lnTo>
                    <a:pt x="3667" y="1250"/>
                  </a:lnTo>
                  <a:lnTo>
                    <a:pt x="3655" y="1222"/>
                  </a:lnTo>
                  <a:lnTo>
                    <a:pt x="3667" y="1215"/>
                  </a:lnTo>
                  <a:lnTo>
                    <a:pt x="3704" y="1233"/>
                  </a:lnTo>
                  <a:lnTo>
                    <a:pt x="3704" y="1238"/>
                  </a:lnTo>
                  <a:lnTo>
                    <a:pt x="3742" y="1233"/>
                  </a:lnTo>
                  <a:lnTo>
                    <a:pt x="3759" y="1238"/>
                  </a:lnTo>
                  <a:lnTo>
                    <a:pt x="3747" y="1250"/>
                  </a:lnTo>
                  <a:lnTo>
                    <a:pt x="3759" y="1238"/>
                  </a:lnTo>
                  <a:lnTo>
                    <a:pt x="3759" y="1233"/>
                  </a:lnTo>
                  <a:lnTo>
                    <a:pt x="3763" y="1222"/>
                  </a:lnTo>
                  <a:lnTo>
                    <a:pt x="3773" y="1222"/>
                  </a:lnTo>
                  <a:lnTo>
                    <a:pt x="3834" y="1250"/>
                  </a:lnTo>
                  <a:lnTo>
                    <a:pt x="3818" y="1267"/>
                  </a:lnTo>
                  <a:lnTo>
                    <a:pt x="3818" y="1267"/>
                  </a:lnTo>
                  <a:lnTo>
                    <a:pt x="3818" y="1267"/>
                  </a:lnTo>
                  <a:close/>
                  <a:moveTo>
                    <a:pt x="3071" y="1011"/>
                  </a:moveTo>
                  <a:lnTo>
                    <a:pt x="3078" y="1016"/>
                  </a:lnTo>
                  <a:lnTo>
                    <a:pt x="3057" y="1016"/>
                  </a:lnTo>
                  <a:lnTo>
                    <a:pt x="3071" y="1011"/>
                  </a:lnTo>
                  <a:lnTo>
                    <a:pt x="3071" y="1011"/>
                  </a:lnTo>
                  <a:lnTo>
                    <a:pt x="3071" y="1011"/>
                  </a:lnTo>
                  <a:close/>
                  <a:moveTo>
                    <a:pt x="2230" y="1028"/>
                  </a:moveTo>
                  <a:lnTo>
                    <a:pt x="2235" y="1033"/>
                  </a:lnTo>
                  <a:lnTo>
                    <a:pt x="2219" y="1028"/>
                  </a:lnTo>
                  <a:lnTo>
                    <a:pt x="2230" y="1028"/>
                  </a:lnTo>
                  <a:lnTo>
                    <a:pt x="2230" y="1028"/>
                  </a:lnTo>
                  <a:lnTo>
                    <a:pt x="2230" y="1028"/>
                  </a:lnTo>
                  <a:close/>
                  <a:moveTo>
                    <a:pt x="1890" y="1066"/>
                  </a:moveTo>
                  <a:lnTo>
                    <a:pt x="1836" y="1049"/>
                  </a:lnTo>
                  <a:lnTo>
                    <a:pt x="1852" y="1033"/>
                  </a:lnTo>
                  <a:lnTo>
                    <a:pt x="1907" y="1033"/>
                  </a:lnTo>
                  <a:lnTo>
                    <a:pt x="1933" y="1049"/>
                  </a:lnTo>
                  <a:lnTo>
                    <a:pt x="1890" y="1066"/>
                  </a:lnTo>
                  <a:lnTo>
                    <a:pt x="1890" y="1066"/>
                  </a:lnTo>
                  <a:lnTo>
                    <a:pt x="1890" y="1066"/>
                  </a:lnTo>
                  <a:close/>
                  <a:moveTo>
                    <a:pt x="3078" y="1044"/>
                  </a:moveTo>
                  <a:lnTo>
                    <a:pt x="3083" y="1044"/>
                  </a:lnTo>
                  <a:lnTo>
                    <a:pt x="3071" y="1044"/>
                  </a:lnTo>
                  <a:lnTo>
                    <a:pt x="3078" y="1044"/>
                  </a:lnTo>
                  <a:lnTo>
                    <a:pt x="3078" y="1044"/>
                  </a:lnTo>
                  <a:lnTo>
                    <a:pt x="3078" y="1044"/>
                  </a:lnTo>
                  <a:close/>
                  <a:moveTo>
                    <a:pt x="2058" y="1309"/>
                  </a:moveTo>
                  <a:lnTo>
                    <a:pt x="2112" y="1276"/>
                  </a:lnTo>
                  <a:lnTo>
                    <a:pt x="2004" y="1292"/>
                  </a:lnTo>
                  <a:lnTo>
                    <a:pt x="2015" y="1276"/>
                  </a:lnTo>
                  <a:lnTo>
                    <a:pt x="1987" y="1288"/>
                  </a:lnTo>
                  <a:lnTo>
                    <a:pt x="1987" y="1271"/>
                  </a:lnTo>
                  <a:lnTo>
                    <a:pt x="1982" y="1292"/>
                  </a:lnTo>
                  <a:lnTo>
                    <a:pt x="1978" y="1292"/>
                  </a:lnTo>
                  <a:lnTo>
                    <a:pt x="1895" y="1304"/>
                  </a:lnTo>
                  <a:lnTo>
                    <a:pt x="1895" y="1292"/>
                  </a:lnTo>
                  <a:lnTo>
                    <a:pt x="1907" y="1267"/>
                  </a:lnTo>
                  <a:lnTo>
                    <a:pt x="1944" y="1255"/>
                  </a:lnTo>
                  <a:lnTo>
                    <a:pt x="1895" y="1255"/>
                  </a:lnTo>
                  <a:lnTo>
                    <a:pt x="1890" y="1250"/>
                  </a:lnTo>
                  <a:lnTo>
                    <a:pt x="1890" y="1267"/>
                  </a:lnTo>
                  <a:lnTo>
                    <a:pt x="1878" y="1276"/>
                  </a:lnTo>
                  <a:lnTo>
                    <a:pt x="1852" y="1271"/>
                  </a:lnTo>
                  <a:lnTo>
                    <a:pt x="1874" y="1288"/>
                  </a:lnTo>
                  <a:lnTo>
                    <a:pt x="1869" y="1304"/>
                  </a:lnTo>
                  <a:lnTo>
                    <a:pt x="1819" y="1321"/>
                  </a:lnTo>
                  <a:lnTo>
                    <a:pt x="1815" y="1309"/>
                  </a:lnTo>
                  <a:lnTo>
                    <a:pt x="1815" y="1292"/>
                  </a:lnTo>
                  <a:lnTo>
                    <a:pt x="1803" y="1288"/>
                  </a:lnTo>
                  <a:lnTo>
                    <a:pt x="1798" y="1292"/>
                  </a:lnTo>
                  <a:lnTo>
                    <a:pt x="1782" y="1292"/>
                  </a:lnTo>
                  <a:lnTo>
                    <a:pt x="1789" y="1309"/>
                  </a:lnTo>
                  <a:lnTo>
                    <a:pt x="1772" y="1321"/>
                  </a:lnTo>
                  <a:lnTo>
                    <a:pt x="1744" y="1304"/>
                  </a:lnTo>
                  <a:lnTo>
                    <a:pt x="1734" y="1292"/>
                  </a:lnTo>
                  <a:lnTo>
                    <a:pt x="1734" y="1276"/>
                  </a:lnTo>
                  <a:lnTo>
                    <a:pt x="1706" y="1292"/>
                  </a:lnTo>
                  <a:lnTo>
                    <a:pt x="1637" y="1276"/>
                  </a:lnTo>
                  <a:lnTo>
                    <a:pt x="1663" y="1238"/>
                  </a:lnTo>
                  <a:lnTo>
                    <a:pt x="1751" y="1238"/>
                  </a:lnTo>
                  <a:lnTo>
                    <a:pt x="1826" y="1210"/>
                  </a:lnTo>
                  <a:lnTo>
                    <a:pt x="1730" y="1233"/>
                  </a:lnTo>
                  <a:lnTo>
                    <a:pt x="1663" y="1222"/>
                  </a:lnTo>
                  <a:lnTo>
                    <a:pt x="1696" y="1198"/>
                  </a:lnTo>
                  <a:lnTo>
                    <a:pt x="1836" y="1181"/>
                  </a:lnTo>
                  <a:lnTo>
                    <a:pt x="1706" y="1177"/>
                  </a:lnTo>
                  <a:lnTo>
                    <a:pt x="1718" y="1165"/>
                  </a:lnTo>
                  <a:lnTo>
                    <a:pt x="1706" y="1160"/>
                  </a:lnTo>
                  <a:lnTo>
                    <a:pt x="1713" y="1155"/>
                  </a:lnTo>
                  <a:lnTo>
                    <a:pt x="1734" y="1139"/>
                  </a:lnTo>
                  <a:lnTo>
                    <a:pt x="1852" y="1144"/>
                  </a:lnTo>
                  <a:lnTo>
                    <a:pt x="1760" y="1122"/>
                  </a:lnTo>
                  <a:lnTo>
                    <a:pt x="1789" y="1099"/>
                  </a:lnTo>
                  <a:lnTo>
                    <a:pt x="1826" y="1087"/>
                  </a:lnTo>
                  <a:lnTo>
                    <a:pt x="1878" y="1099"/>
                  </a:lnTo>
                  <a:lnTo>
                    <a:pt x="1878" y="1122"/>
                  </a:lnTo>
                  <a:lnTo>
                    <a:pt x="1895" y="1139"/>
                  </a:lnTo>
                  <a:lnTo>
                    <a:pt x="1966" y="1127"/>
                  </a:lnTo>
                  <a:lnTo>
                    <a:pt x="2004" y="1139"/>
                  </a:lnTo>
                  <a:lnTo>
                    <a:pt x="1999" y="1155"/>
                  </a:lnTo>
                  <a:lnTo>
                    <a:pt x="2004" y="1160"/>
                  </a:lnTo>
                  <a:lnTo>
                    <a:pt x="2053" y="1177"/>
                  </a:lnTo>
                  <a:lnTo>
                    <a:pt x="2020" y="1193"/>
                  </a:lnTo>
                  <a:lnTo>
                    <a:pt x="2074" y="1193"/>
                  </a:lnTo>
                  <a:lnTo>
                    <a:pt x="2084" y="1210"/>
                  </a:lnTo>
                  <a:lnTo>
                    <a:pt x="2074" y="1222"/>
                  </a:lnTo>
                  <a:lnTo>
                    <a:pt x="2091" y="1238"/>
                  </a:lnTo>
                  <a:lnTo>
                    <a:pt x="2143" y="1233"/>
                  </a:lnTo>
                  <a:lnTo>
                    <a:pt x="2252" y="1238"/>
                  </a:lnTo>
                  <a:lnTo>
                    <a:pt x="2263" y="1215"/>
                  </a:lnTo>
                  <a:lnTo>
                    <a:pt x="2167" y="1181"/>
                  </a:lnTo>
                  <a:lnTo>
                    <a:pt x="2197" y="1177"/>
                  </a:lnTo>
                  <a:lnTo>
                    <a:pt x="2219" y="1155"/>
                  </a:lnTo>
                  <a:lnTo>
                    <a:pt x="2155" y="1122"/>
                  </a:lnTo>
                  <a:lnTo>
                    <a:pt x="2143" y="1106"/>
                  </a:lnTo>
                  <a:lnTo>
                    <a:pt x="2197" y="1087"/>
                  </a:lnTo>
                  <a:lnTo>
                    <a:pt x="2181" y="1087"/>
                  </a:lnTo>
                  <a:lnTo>
                    <a:pt x="2219" y="1049"/>
                  </a:lnTo>
                  <a:lnTo>
                    <a:pt x="2263" y="1044"/>
                  </a:lnTo>
                  <a:lnTo>
                    <a:pt x="2285" y="1054"/>
                  </a:lnTo>
                  <a:lnTo>
                    <a:pt x="2268" y="1070"/>
                  </a:lnTo>
                  <a:lnTo>
                    <a:pt x="2273" y="1106"/>
                  </a:lnTo>
                  <a:lnTo>
                    <a:pt x="2306" y="1122"/>
                  </a:lnTo>
                  <a:lnTo>
                    <a:pt x="2285" y="1144"/>
                  </a:lnTo>
                  <a:lnTo>
                    <a:pt x="2289" y="1160"/>
                  </a:lnTo>
                  <a:lnTo>
                    <a:pt x="2327" y="1160"/>
                  </a:lnTo>
                  <a:lnTo>
                    <a:pt x="2344" y="1165"/>
                  </a:lnTo>
                  <a:lnTo>
                    <a:pt x="2318" y="1198"/>
                  </a:lnTo>
                  <a:lnTo>
                    <a:pt x="2339" y="1181"/>
                  </a:lnTo>
                  <a:lnTo>
                    <a:pt x="2377" y="1181"/>
                  </a:lnTo>
                  <a:lnTo>
                    <a:pt x="2393" y="1210"/>
                  </a:lnTo>
                  <a:lnTo>
                    <a:pt x="2415" y="1198"/>
                  </a:lnTo>
                  <a:lnTo>
                    <a:pt x="2393" y="1193"/>
                  </a:lnTo>
                  <a:lnTo>
                    <a:pt x="2393" y="1165"/>
                  </a:lnTo>
                  <a:lnTo>
                    <a:pt x="2431" y="1160"/>
                  </a:lnTo>
                  <a:lnTo>
                    <a:pt x="2483" y="1177"/>
                  </a:lnTo>
                  <a:lnTo>
                    <a:pt x="2490" y="1193"/>
                  </a:lnTo>
                  <a:lnTo>
                    <a:pt x="2500" y="1215"/>
                  </a:lnTo>
                  <a:lnTo>
                    <a:pt x="2478" y="1238"/>
                  </a:lnTo>
                  <a:lnTo>
                    <a:pt x="2483" y="1250"/>
                  </a:lnTo>
                  <a:lnTo>
                    <a:pt x="2478" y="1267"/>
                  </a:lnTo>
                  <a:lnTo>
                    <a:pt x="2462" y="1276"/>
                  </a:lnTo>
                  <a:lnTo>
                    <a:pt x="2462" y="1292"/>
                  </a:lnTo>
                  <a:lnTo>
                    <a:pt x="2452" y="1292"/>
                  </a:lnTo>
                  <a:lnTo>
                    <a:pt x="2452" y="1304"/>
                  </a:lnTo>
                  <a:lnTo>
                    <a:pt x="2393" y="1326"/>
                  </a:lnTo>
                  <a:lnTo>
                    <a:pt x="2339" y="1321"/>
                  </a:lnTo>
                  <a:lnTo>
                    <a:pt x="2327" y="1292"/>
                  </a:lnTo>
                  <a:lnTo>
                    <a:pt x="2322" y="1321"/>
                  </a:lnTo>
                  <a:lnTo>
                    <a:pt x="2289" y="1326"/>
                  </a:lnTo>
                  <a:lnTo>
                    <a:pt x="2263" y="1309"/>
                  </a:lnTo>
                  <a:lnTo>
                    <a:pt x="2285" y="1321"/>
                  </a:lnTo>
                  <a:lnTo>
                    <a:pt x="2263" y="1304"/>
                  </a:lnTo>
                  <a:lnTo>
                    <a:pt x="2209" y="1333"/>
                  </a:lnTo>
                  <a:lnTo>
                    <a:pt x="2155" y="1333"/>
                  </a:lnTo>
                  <a:lnTo>
                    <a:pt x="2122" y="1359"/>
                  </a:lnTo>
                  <a:lnTo>
                    <a:pt x="2058" y="1382"/>
                  </a:lnTo>
                  <a:lnTo>
                    <a:pt x="1982" y="1399"/>
                  </a:lnTo>
                  <a:lnTo>
                    <a:pt x="1911" y="1387"/>
                  </a:lnTo>
                  <a:lnTo>
                    <a:pt x="1869" y="1359"/>
                  </a:lnTo>
                  <a:lnTo>
                    <a:pt x="1978" y="1321"/>
                  </a:lnTo>
                  <a:lnTo>
                    <a:pt x="2058" y="1309"/>
                  </a:lnTo>
                  <a:lnTo>
                    <a:pt x="2058" y="1309"/>
                  </a:lnTo>
                  <a:lnTo>
                    <a:pt x="2058" y="1309"/>
                  </a:lnTo>
                  <a:close/>
                  <a:moveTo>
                    <a:pt x="3579" y="1099"/>
                  </a:moveTo>
                  <a:lnTo>
                    <a:pt x="3532" y="1054"/>
                  </a:lnTo>
                  <a:lnTo>
                    <a:pt x="3579" y="1044"/>
                  </a:lnTo>
                  <a:lnTo>
                    <a:pt x="3600" y="1054"/>
                  </a:lnTo>
                  <a:lnTo>
                    <a:pt x="3584" y="1070"/>
                  </a:lnTo>
                  <a:lnTo>
                    <a:pt x="3600" y="1087"/>
                  </a:lnTo>
                  <a:lnTo>
                    <a:pt x="3579" y="1099"/>
                  </a:lnTo>
                  <a:lnTo>
                    <a:pt x="3579" y="1099"/>
                  </a:lnTo>
                  <a:lnTo>
                    <a:pt x="3579" y="1099"/>
                  </a:lnTo>
                  <a:close/>
                  <a:moveTo>
                    <a:pt x="2856" y="1054"/>
                  </a:moveTo>
                  <a:lnTo>
                    <a:pt x="2785" y="1082"/>
                  </a:lnTo>
                  <a:lnTo>
                    <a:pt x="2759" y="1082"/>
                  </a:lnTo>
                  <a:lnTo>
                    <a:pt x="2823" y="1054"/>
                  </a:lnTo>
                  <a:lnTo>
                    <a:pt x="2856" y="1054"/>
                  </a:lnTo>
                  <a:lnTo>
                    <a:pt x="2856" y="1054"/>
                  </a:lnTo>
                  <a:lnTo>
                    <a:pt x="2856" y="1054"/>
                  </a:lnTo>
                  <a:close/>
                  <a:moveTo>
                    <a:pt x="1404" y="1054"/>
                  </a:moveTo>
                  <a:lnTo>
                    <a:pt x="1411" y="1054"/>
                  </a:lnTo>
                  <a:lnTo>
                    <a:pt x="1389" y="1054"/>
                  </a:lnTo>
                  <a:lnTo>
                    <a:pt x="1404" y="1054"/>
                  </a:lnTo>
                  <a:lnTo>
                    <a:pt x="1404" y="1054"/>
                  </a:lnTo>
                  <a:lnTo>
                    <a:pt x="1404" y="1054"/>
                  </a:lnTo>
                  <a:close/>
                  <a:moveTo>
                    <a:pt x="2911" y="1054"/>
                  </a:moveTo>
                  <a:lnTo>
                    <a:pt x="2915" y="1066"/>
                  </a:lnTo>
                  <a:lnTo>
                    <a:pt x="2868" y="1054"/>
                  </a:lnTo>
                  <a:lnTo>
                    <a:pt x="2911" y="1054"/>
                  </a:lnTo>
                  <a:lnTo>
                    <a:pt x="2911" y="1054"/>
                  </a:lnTo>
                  <a:lnTo>
                    <a:pt x="2911" y="1054"/>
                  </a:lnTo>
                  <a:close/>
                  <a:moveTo>
                    <a:pt x="2899" y="1155"/>
                  </a:moveTo>
                  <a:lnTo>
                    <a:pt x="2915" y="1144"/>
                  </a:lnTo>
                  <a:lnTo>
                    <a:pt x="2844" y="1139"/>
                  </a:lnTo>
                  <a:lnTo>
                    <a:pt x="2840" y="1127"/>
                  </a:lnTo>
                  <a:lnTo>
                    <a:pt x="2882" y="1122"/>
                  </a:lnTo>
                  <a:lnTo>
                    <a:pt x="2830" y="1111"/>
                  </a:lnTo>
                  <a:lnTo>
                    <a:pt x="2807" y="1087"/>
                  </a:lnTo>
                  <a:lnTo>
                    <a:pt x="2856" y="1070"/>
                  </a:lnTo>
                  <a:lnTo>
                    <a:pt x="2899" y="1070"/>
                  </a:lnTo>
                  <a:lnTo>
                    <a:pt x="2937" y="1106"/>
                  </a:lnTo>
                  <a:lnTo>
                    <a:pt x="2937" y="1099"/>
                  </a:lnTo>
                  <a:lnTo>
                    <a:pt x="2953" y="1106"/>
                  </a:lnTo>
                  <a:lnTo>
                    <a:pt x="2948" y="1087"/>
                  </a:lnTo>
                  <a:lnTo>
                    <a:pt x="2948" y="1070"/>
                  </a:lnTo>
                  <a:lnTo>
                    <a:pt x="2986" y="1070"/>
                  </a:lnTo>
                  <a:lnTo>
                    <a:pt x="2953" y="1066"/>
                  </a:lnTo>
                  <a:lnTo>
                    <a:pt x="2970" y="1066"/>
                  </a:lnTo>
                  <a:lnTo>
                    <a:pt x="3029" y="1087"/>
                  </a:lnTo>
                  <a:lnTo>
                    <a:pt x="3041" y="1106"/>
                  </a:lnTo>
                  <a:lnTo>
                    <a:pt x="3029" y="1111"/>
                  </a:lnTo>
                  <a:lnTo>
                    <a:pt x="3041" y="1127"/>
                  </a:lnTo>
                  <a:lnTo>
                    <a:pt x="3057" y="1144"/>
                  </a:lnTo>
                  <a:lnTo>
                    <a:pt x="3041" y="1165"/>
                  </a:lnTo>
                  <a:lnTo>
                    <a:pt x="3045" y="1193"/>
                  </a:lnTo>
                  <a:lnTo>
                    <a:pt x="3024" y="1210"/>
                  </a:lnTo>
                  <a:lnTo>
                    <a:pt x="3062" y="1215"/>
                  </a:lnTo>
                  <a:lnTo>
                    <a:pt x="3057" y="1238"/>
                  </a:lnTo>
                  <a:lnTo>
                    <a:pt x="3071" y="1255"/>
                  </a:lnTo>
                  <a:lnTo>
                    <a:pt x="3041" y="1233"/>
                  </a:lnTo>
                  <a:lnTo>
                    <a:pt x="3029" y="1233"/>
                  </a:lnTo>
                  <a:lnTo>
                    <a:pt x="3029" y="1250"/>
                  </a:lnTo>
                  <a:lnTo>
                    <a:pt x="3019" y="1238"/>
                  </a:lnTo>
                  <a:lnTo>
                    <a:pt x="3029" y="1250"/>
                  </a:lnTo>
                  <a:lnTo>
                    <a:pt x="3019" y="1255"/>
                  </a:lnTo>
                  <a:lnTo>
                    <a:pt x="3024" y="1255"/>
                  </a:lnTo>
                  <a:lnTo>
                    <a:pt x="3007" y="1255"/>
                  </a:lnTo>
                  <a:lnTo>
                    <a:pt x="3007" y="1271"/>
                  </a:lnTo>
                  <a:lnTo>
                    <a:pt x="3045" y="1288"/>
                  </a:lnTo>
                  <a:lnTo>
                    <a:pt x="3024" y="1292"/>
                  </a:lnTo>
                  <a:lnTo>
                    <a:pt x="3019" y="1276"/>
                  </a:lnTo>
                  <a:lnTo>
                    <a:pt x="3007" y="1288"/>
                  </a:lnTo>
                  <a:lnTo>
                    <a:pt x="3019" y="1292"/>
                  </a:lnTo>
                  <a:lnTo>
                    <a:pt x="3019" y="1309"/>
                  </a:lnTo>
                  <a:lnTo>
                    <a:pt x="2915" y="1309"/>
                  </a:lnTo>
                  <a:lnTo>
                    <a:pt x="2920" y="1292"/>
                  </a:lnTo>
                  <a:lnTo>
                    <a:pt x="2911" y="1309"/>
                  </a:lnTo>
                  <a:lnTo>
                    <a:pt x="2915" y="1309"/>
                  </a:lnTo>
                  <a:lnTo>
                    <a:pt x="2868" y="1309"/>
                  </a:lnTo>
                  <a:lnTo>
                    <a:pt x="2844" y="1309"/>
                  </a:lnTo>
                  <a:lnTo>
                    <a:pt x="2844" y="1288"/>
                  </a:lnTo>
                  <a:lnTo>
                    <a:pt x="2840" y="1288"/>
                  </a:lnTo>
                  <a:lnTo>
                    <a:pt x="2878" y="1276"/>
                  </a:lnTo>
                  <a:lnTo>
                    <a:pt x="2823" y="1267"/>
                  </a:lnTo>
                  <a:lnTo>
                    <a:pt x="2844" y="1255"/>
                  </a:lnTo>
                  <a:lnTo>
                    <a:pt x="2830" y="1250"/>
                  </a:lnTo>
                  <a:lnTo>
                    <a:pt x="2878" y="1250"/>
                  </a:lnTo>
                  <a:lnTo>
                    <a:pt x="2856" y="1238"/>
                  </a:lnTo>
                  <a:lnTo>
                    <a:pt x="2899" y="1222"/>
                  </a:lnTo>
                  <a:lnTo>
                    <a:pt x="2882" y="1222"/>
                  </a:lnTo>
                  <a:lnTo>
                    <a:pt x="2894" y="1215"/>
                  </a:lnTo>
                  <a:lnTo>
                    <a:pt x="2953" y="1210"/>
                  </a:lnTo>
                  <a:lnTo>
                    <a:pt x="2700" y="1238"/>
                  </a:lnTo>
                  <a:lnTo>
                    <a:pt x="2679" y="1222"/>
                  </a:lnTo>
                  <a:lnTo>
                    <a:pt x="2700" y="1210"/>
                  </a:lnTo>
                  <a:lnTo>
                    <a:pt x="2738" y="1210"/>
                  </a:lnTo>
                  <a:lnTo>
                    <a:pt x="2731" y="1198"/>
                  </a:lnTo>
                  <a:lnTo>
                    <a:pt x="2705" y="1198"/>
                  </a:lnTo>
                  <a:lnTo>
                    <a:pt x="2722" y="1181"/>
                  </a:lnTo>
                  <a:lnTo>
                    <a:pt x="2793" y="1198"/>
                  </a:lnTo>
                  <a:lnTo>
                    <a:pt x="2785" y="1198"/>
                  </a:lnTo>
                  <a:lnTo>
                    <a:pt x="2785" y="1193"/>
                  </a:lnTo>
                  <a:lnTo>
                    <a:pt x="2769" y="1177"/>
                  </a:lnTo>
                  <a:lnTo>
                    <a:pt x="2785" y="1160"/>
                  </a:lnTo>
                  <a:lnTo>
                    <a:pt x="2759" y="1165"/>
                  </a:lnTo>
                  <a:lnTo>
                    <a:pt x="2748" y="1155"/>
                  </a:lnTo>
                  <a:lnTo>
                    <a:pt x="2776" y="1127"/>
                  </a:lnTo>
                  <a:lnTo>
                    <a:pt x="2722" y="1127"/>
                  </a:lnTo>
                  <a:lnTo>
                    <a:pt x="2731" y="1127"/>
                  </a:lnTo>
                  <a:lnTo>
                    <a:pt x="2731" y="1106"/>
                  </a:lnTo>
                  <a:lnTo>
                    <a:pt x="2748" y="1099"/>
                  </a:lnTo>
                  <a:lnTo>
                    <a:pt x="2785" y="1106"/>
                  </a:lnTo>
                  <a:lnTo>
                    <a:pt x="2878" y="1181"/>
                  </a:lnTo>
                  <a:lnTo>
                    <a:pt x="2915" y="1165"/>
                  </a:lnTo>
                  <a:lnTo>
                    <a:pt x="2882" y="1177"/>
                  </a:lnTo>
                  <a:lnTo>
                    <a:pt x="2861" y="1144"/>
                  </a:lnTo>
                  <a:lnTo>
                    <a:pt x="2899" y="1155"/>
                  </a:lnTo>
                  <a:lnTo>
                    <a:pt x="2899" y="1155"/>
                  </a:lnTo>
                  <a:lnTo>
                    <a:pt x="2899" y="1155"/>
                  </a:lnTo>
                  <a:close/>
                  <a:moveTo>
                    <a:pt x="2587" y="1066"/>
                  </a:moveTo>
                  <a:lnTo>
                    <a:pt x="2596" y="1070"/>
                  </a:lnTo>
                  <a:lnTo>
                    <a:pt x="2592" y="1082"/>
                  </a:lnTo>
                  <a:lnTo>
                    <a:pt x="2608" y="1070"/>
                  </a:lnTo>
                  <a:lnTo>
                    <a:pt x="2667" y="1106"/>
                  </a:lnTo>
                  <a:lnTo>
                    <a:pt x="2630" y="1122"/>
                  </a:lnTo>
                  <a:lnTo>
                    <a:pt x="2570" y="1122"/>
                  </a:lnTo>
                  <a:lnTo>
                    <a:pt x="2575" y="1111"/>
                  </a:lnTo>
                  <a:lnTo>
                    <a:pt x="2570" y="1099"/>
                  </a:lnTo>
                  <a:lnTo>
                    <a:pt x="2542" y="1082"/>
                  </a:lnTo>
                  <a:lnTo>
                    <a:pt x="2587" y="1066"/>
                  </a:lnTo>
                  <a:lnTo>
                    <a:pt x="2587" y="1066"/>
                  </a:lnTo>
                  <a:lnTo>
                    <a:pt x="2587" y="1066"/>
                  </a:lnTo>
                  <a:close/>
                  <a:moveTo>
                    <a:pt x="3990" y="1087"/>
                  </a:moveTo>
                  <a:lnTo>
                    <a:pt x="4000" y="1099"/>
                  </a:lnTo>
                  <a:lnTo>
                    <a:pt x="3990" y="1099"/>
                  </a:lnTo>
                  <a:lnTo>
                    <a:pt x="3990" y="1087"/>
                  </a:lnTo>
                  <a:lnTo>
                    <a:pt x="3990" y="1087"/>
                  </a:lnTo>
                  <a:lnTo>
                    <a:pt x="3990" y="1087"/>
                  </a:lnTo>
                  <a:close/>
                  <a:moveTo>
                    <a:pt x="3612" y="1099"/>
                  </a:moveTo>
                  <a:lnTo>
                    <a:pt x="3617" y="1099"/>
                  </a:lnTo>
                  <a:lnTo>
                    <a:pt x="3600" y="1099"/>
                  </a:lnTo>
                  <a:lnTo>
                    <a:pt x="3612" y="1099"/>
                  </a:lnTo>
                  <a:lnTo>
                    <a:pt x="3612" y="1099"/>
                  </a:lnTo>
                  <a:lnTo>
                    <a:pt x="3612" y="1099"/>
                  </a:lnTo>
                  <a:close/>
                  <a:moveTo>
                    <a:pt x="2693" y="1122"/>
                  </a:moveTo>
                  <a:lnTo>
                    <a:pt x="2700" y="1139"/>
                  </a:lnTo>
                  <a:lnTo>
                    <a:pt x="2693" y="1144"/>
                  </a:lnTo>
                  <a:lnTo>
                    <a:pt x="2646" y="1160"/>
                  </a:lnTo>
                  <a:lnTo>
                    <a:pt x="2596" y="1160"/>
                  </a:lnTo>
                  <a:lnTo>
                    <a:pt x="2608" y="1160"/>
                  </a:lnTo>
                  <a:lnTo>
                    <a:pt x="2559" y="1144"/>
                  </a:lnTo>
                  <a:lnTo>
                    <a:pt x="2575" y="1139"/>
                  </a:lnTo>
                  <a:lnTo>
                    <a:pt x="2693" y="1122"/>
                  </a:lnTo>
                  <a:lnTo>
                    <a:pt x="2693" y="1122"/>
                  </a:lnTo>
                  <a:lnTo>
                    <a:pt x="2693" y="1122"/>
                  </a:lnTo>
                  <a:close/>
                  <a:moveTo>
                    <a:pt x="3239" y="1144"/>
                  </a:moveTo>
                  <a:lnTo>
                    <a:pt x="3234" y="1160"/>
                  </a:lnTo>
                  <a:lnTo>
                    <a:pt x="3218" y="1155"/>
                  </a:lnTo>
                  <a:lnTo>
                    <a:pt x="3239" y="1144"/>
                  </a:lnTo>
                  <a:lnTo>
                    <a:pt x="3239" y="1144"/>
                  </a:lnTo>
                  <a:lnTo>
                    <a:pt x="3239" y="1144"/>
                  </a:lnTo>
                  <a:close/>
                  <a:moveTo>
                    <a:pt x="4356" y="1155"/>
                  </a:moveTo>
                  <a:lnTo>
                    <a:pt x="4368" y="1155"/>
                  </a:lnTo>
                  <a:lnTo>
                    <a:pt x="4335" y="1177"/>
                  </a:lnTo>
                  <a:lnTo>
                    <a:pt x="4356" y="1193"/>
                  </a:lnTo>
                  <a:lnTo>
                    <a:pt x="4323" y="1181"/>
                  </a:lnTo>
                  <a:lnTo>
                    <a:pt x="4318" y="1193"/>
                  </a:lnTo>
                  <a:lnTo>
                    <a:pt x="4297" y="1181"/>
                  </a:lnTo>
                  <a:lnTo>
                    <a:pt x="4356" y="1155"/>
                  </a:lnTo>
                  <a:lnTo>
                    <a:pt x="4356" y="1155"/>
                  </a:lnTo>
                  <a:lnTo>
                    <a:pt x="4356" y="1155"/>
                  </a:lnTo>
                  <a:close/>
                  <a:moveTo>
                    <a:pt x="1642" y="1155"/>
                  </a:moveTo>
                  <a:lnTo>
                    <a:pt x="1654" y="1155"/>
                  </a:lnTo>
                  <a:lnTo>
                    <a:pt x="1588" y="1233"/>
                  </a:lnTo>
                  <a:lnTo>
                    <a:pt x="1571" y="1238"/>
                  </a:lnTo>
                  <a:lnTo>
                    <a:pt x="1512" y="1222"/>
                  </a:lnTo>
                  <a:lnTo>
                    <a:pt x="1571" y="1177"/>
                  </a:lnTo>
                  <a:lnTo>
                    <a:pt x="1642" y="1155"/>
                  </a:lnTo>
                  <a:lnTo>
                    <a:pt x="1642" y="1155"/>
                  </a:lnTo>
                  <a:lnTo>
                    <a:pt x="1642" y="1155"/>
                  </a:lnTo>
                  <a:close/>
                  <a:moveTo>
                    <a:pt x="2717" y="1155"/>
                  </a:moveTo>
                  <a:lnTo>
                    <a:pt x="2705" y="1165"/>
                  </a:lnTo>
                  <a:lnTo>
                    <a:pt x="2646" y="1177"/>
                  </a:lnTo>
                  <a:lnTo>
                    <a:pt x="2596" y="1177"/>
                  </a:lnTo>
                  <a:lnTo>
                    <a:pt x="2717" y="1155"/>
                  </a:lnTo>
                  <a:lnTo>
                    <a:pt x="2717" y="1155"/>
                  </a:lnTo>
                  <a:lnTo>
                    <a:pt x="2717" y="1155"/>
                  </a:lnTo>
                  <a:close/>
                  <a:moveTo>
                    <a:pt x="1276" y="1160"/>
                  </a:moveTo>
                  <a:lnTo>
                    <a:pt x="1285" y="1160"/>
                  </a:lnTo>
                  <a:lnTo>
                    <a:pt x="1276" y="1165"/>
                  </a:lnTo>
                  <a:lnTo>
                    <a:pt x="1276" y="1160"/>
                  </a:lnTo>
                  <a:lnTo>
                    <a:pt x="1276" y="1160"/>
                  </a:lnTo>
                  <a:lnTo>
                    <a:pt x="1276" y="1160"/>
                  </a:lnTo>
                  <a:close/>
                  <a:moveTo>
                    <a:pt x="2738" y="1177"/>
                  </a:moveTo>
                  <a:lnTo>
                    <a:pt x="2693" y="1198"/>
                  </a:lnTo>
                  <a:lnTo>
                    <a:pt x="2641" y="1198"/>
                  </a:lnTo>
                  <a:lnTo>
                    <a:pt x="2684" y="1177"/>
                  </a:lnTo>
                  <a:lnTo>
                    <a:pt x="2738" y="1177"/>
                  </a:lnTo>
                  <a:lnTo>
                    <a:pt x="2738" y="1177"/>
                  </a:lnTo>
                  <a:lnTo>
                    <a:pt x="2738" y="1177"/>
                  </a:lnTo>
                  <a:close/>
                  <a:moveTo>
                    <a:pt x="3260" y="1165"/>
                  </a:moveTo>
                  <a:lnTo>
                    <a:pt x="3277" y="1198"/>
                  </a:lnTo>
                  <a:lnTo>
                    <a:pt x="3244" y="1198"/>
                  </a:lnTo>
                  <a:lnTo>
                    <a:pt x="3234" y="1177"/>
                  </a:lnTo>
                  <a:lnTo>
                    <a:pt x="3260" y="1165"/>
                  </a:lnTo>
                  <a:lnTo>
                    <a:pt x="3260" y="1165"/>
                  </a:lnTo>
                  <a:lnTo>
                    <a:pt x="3260" y="1165"/>
                  </a:lnTo>
                  <a:close/>
                  <a:moveTo>
                    <a:pt x="3170" y="1181"/>
                  </a:moveTo>
                  <a:lnTo>
                    <a:pt x="3163" y="1177"/>
                  </a:lnTo>
                  <a:lnTo>
                    <a:pt x="3180" y="1165"/>
                  </a:lnTo>
                  <a:lnTo>
                    <a:pt x="3170" y="1181"/>
                  </a:lnTo>
                  <a:lnTo>
                    <a:pt x="3170" y="1181"/>
                  </a:lnTo>
                  <a:lnTo>
                    <a:pt x="3170" y="1181"/>
                  </a:lnTo>
                  <a:close/>
                  <a:moveTo>
                    <a:pt x="1411" y="1177"/>
                  </a:moveTo>
                  <a:lnTo>
                    <a:pt x="1404" y="1210"/>
                  </a:lnTo>
                  <a:lnTo>
                    <a:pt x="1382" y="1198"/>
                  </a:lnTo>
                  <a:lnTo>
                    <a:pt x="1404" y="1193"/>
                  </a:lnTo>
                  <a:lnTo>
                    <a:pt x="1404" y="1177"/>
                  </a:lnTo>
                  <a:lnTo>
                    <a:pt x="1411" y="1177"/>
                  </a:lnTo>
                  <a:lnTo>
                    <a:pt x="1411" y="1177"/>
                  </a:lnTo>
                  <a:lnTo>
                    <a:pt x="1411" y="1177"/>
                  </a:lnTo>
                  <a:close/>
                  <a:moveTo>
                    <a:pt x="1285" y="1177"/>
                  </a:moveTo>
                  <a:lnTo>
                    <a:pt x="1314" y="1181"/>
                  </a:lnTo>
                  <a:lnTo>
                    <a:pt x="1285" y="1177"/>
                  </a:lnTo>
                  <a:lnTo>
                    <a:pt x="1285" y="1177"/>
                  </a:lnTo>
                  <a:lnTo>
                    <a:pt x="1285" y="1177"/>
                  </a:lnTo>
                  <a:close/>
                  <a:moveTo>
                    <a:pt x="3154" y="1222"/>
                  </a:moveTo>
                  <a:lnTo>
                    <a:pt x="3163" y="1233"/>
                  </a:lnTo>
                  <a:lnTo>
                    <a:pt x="3137" y="1250"/>
                  </a:lnTo>
                  <a:lnTo>
                    <a:pt x="3126" y="1233"/>
                  </a:lnTo>
                  <a:lnTo>
                    <a:pt x="3116" y="1238"/>
                  </a:lnTo>
                  <a:lnTo>
                    <a:pt x="3126" y="1250"/>
                  </a:lnTo>
                  <a:lnTo>
                    <a:pt x="3100" y="1267"/>
                  </a:lnTo>
                  <a:lnTo>
                    <a:pt x="3083" y="1238"/>
                  </a:lnTo>
                  <a:lnTo>
                    <a:pt x="3133" y="1215"/>
                  </a:lnTo>
                  <a:lnTo>
                    <a:pt x="3154" y="1222"/>
                  </a:lnTo>
                  <a:lnTo>
                    <a:pt x="3154" y="1222"/>
                  </a:lnTo>
                  <a:lnTo>
                    <a:pt x="3154" y="1222"/>
                  </a:lnTo>
                  <a:close/>
                  <a:moveTo>
                    <a:pt x="3154" y="1326"/>
                  </a:moveTo>
                  <a:lnTo>
                    <a:pt x="3147" y="1321"/>
                  </a:lnTo>
                  <a:lnTo>
                    <a:pt x="3154" y="1309"/>
                  </a:lnTo>
                  <a:lnTo>
                    <a:pt x="3133" y="1326"/>
                  </a:lnTo>
                  <a:lnTo>
                    <a:pt x="3133" y="1309"/>
                  </a:lnTo>
                  <a:lnTo>
                    <a:pt x="3116" y="1309"/>
                  </a:lnTo>
                  <a:lnTo>
                    <a:pt x="3116" y="1304"/>
                  </a:lnTo>
                  <a:lnTo>
                    <a:pt x="3126" y="1288"/>
                  </a:lnTo>
                  <a:lnTo>
                    <a:pt x="3163" y="1271"/>
                  </a:lnTo>
                  <a:lnTo>
                    <a:pt x="3154" y="1267"/>
                  </a:lnTo>
                  <a:lnTo>
                    <a:pt x="3170" y="1255"/>
                  </a:lnTo>
                  <a:lnTo>
                    <a:pt x="3147" y="1255"/>
                  </a:lnTo>
                  <a:lnTo>
                    <a:pt x="3180" y="1255"/>
                  </a:lnTo>
                  <a:lnTo>
                    <a:pt x="3170" y="1250"/>
                  </a:lnTo>
                  <a:lnTo>
                    <a:pt x="3234" y="1215"/>
                  </a:lnTo>
                  <a:lnTo>
                    <a:pt x="3272" y="1222"/>
                  </a:lnTo>
                  <a:lnTo>
                    <a:pt x="3331" y="1271"/>
                  </a:lnTo>
                  <a:lnTo>
                    <a:pt x="3343" y="1326"/>
                  </a:lnTo>
                  <a:lnTo>
                    <a:pt x="3326" y="1359"/>
                  </a:lnTo>
                  <a:lnTo>
                    <a:pt x="3256" y="1366"/>
                  </a:lnTo>
                  <a:lnTo>
                    <a:pt x="3154" y="1326"/>
                  </a:lnTo>
                  <a:lnTo>
                    <a:pt x="3154" y="1326"/>
                  </a:lnTo>
                  <a:lnTo>
                    <a:pt x="3154" y="1326"/>
                  </a:lnTo>
                  <a:close/>
                  <a:moveTo>
                    <a:pt x="2844" y="1233"/>
                  </a:moveTo>
                  <a:lnTo>
                    <a:pt x="2856" y="1222"/>
                  </a:lnTo>
                  <a:lnTo>
                    <a:pt x="2802" y="1233"/>
                  </a:lnTo>
                  <a:lnTo>
                    <a:pt x="2861" y="1222"/>
                  </a:lnTo>
                  <a:lnTo>
                    <a:pt x="2844" y="1233"/>
                  </a:lnTo>
                  <a:lnTo>
                    <a:pt x="2844" y="1233"/>
                  </a:lnTo>
                  <a:lnTo>
                    <a:pt x="2844" y="1233"/>
                  </a:lnTo>
                  <a:close/>
                  <a:moveTo>
                    <a:pt x="2587" y="1250"/>
                  </a:moveTo>
                  <a:lnTo>
                    <a:pt x="2608" y="1267"/>
                  </a:lnTo>
                  <a:lnTo>
                    <a:pt x="2625" y="1288"/>
                  </a:lnTo>
                  <a:lnTo>
                    <a:pt x="2575" y="1309"/>
                  </a:lnTo>
                  <a:lnTo>
                    <a:pt x="2537" y="1292"/>
                  </a:lnTo>
                  <a:lnTo>
                    <a:pt x="2542" y="1267"/>
                  </a:lnTo>
                  <a:lnTo>
                    <a:pt x="2587" y="1250"/>
                  </a:lnTo>
                  <a:lnTo>
                    <a:pt x="2587" y="1250"/>
                  </a:lnTo>
                  <a:lnTo>
                    <a:pt x="2587" y="1250"/>
                  </a:lnTo>
                  <a:close/>
                  <a:moveTo>
                    <a:pt x="3071" y="1267"/>
                  </a:moveTo>
                  <a:lnTo>
                    <a:pt x="3078" y="1276"/>
                  </a:lnTo>
                  <a:lnTo>
                    <a:pt x="3071" y="1267"/>
                  </a:lnTo>
                  <a:lnTo>
                    <a:pt x="3071" y="1267"/>
                  </a:lnTo>
                  <a:lnTo>
                    <a:pt x="3071" y="1267"/>
                  </a:lnTo>
                  <a:close/>
                  <a:moveTo>
                    <a:pt x="3185" y="1366"/>
                  </a:moveTo>
                  <a:lnTo>
                    <a:pt x="3208" y="1382"/>
                  </a:lnTo>
                  <a:lnTo>
                    <a:pt x="3163" y="1378"/>
                  </a:lnTo>
                  <a:lnTo>
                    <a:pt x="3185" y="1366"/>
                  </a:lnTo>
                  <a:lnTo>
                    <a:pt x="3185" y="1366"/>
                  </a:lnTo>
                  <a:lnTo>
                    <a:pt x="3185" y="1366"/>
                  </a:lnTo>
                  <a:close/>
                  <a:moveTo>
                    <a:pt x="3062" y="1366"/>
                  </a:moveTo>
                  <a:lnTo>
                    <a:pt x="3071" y="1378"/>
                  </a:lnTo>
                  <a:lnTo>
                    <a:pt x="3045" y="1387"/>
                  </a:lnTo>
                  <a:lnTo>
                    <a:pt x="3029" y="1382"/>
                  </a:lnTo>
                  <a:lnTo>
                    <a:pt x="3062" y="1366"/>
                  </a:lnTo>
                  <a:lnTo>
                    <a:pt x="3062" y="1366"/>
                  </a:lnTo>
                  <a:lnTo>
                    <a:pt x="3062" y="1366"/>
                  </a:lnTo>
                  <a:close/>
                  <a:moveTo>
                    <a:pt x="1205" y="1493"/>
                  </a:moveTo>
                  <a:lnTo>
                    <a:pt x="1210" y="1486"/>
                  </a:lnTo>
                  <a:lnTo>
                    <a:pt x="1205" y="1477"/>
                  </a:lnTo>
                  <a:lnTo>
                    <a:pt x="1177" y="1470"/>
                  </a:lnTo>
                  <a:lnTo>
                    <a:pt x="1167" y="1437"/>
                  </a:lnTo>
                  <a:lnTo>
                    <a:pt x="1139" y="1404"/>
                  </a:lnTo>
                  <a:lnTo>
                    <a:pt x="1366" y="1378"/>
                  </a:lnTo>
                  <a:lnTo>
                    <a:pt x="1503" y="1420"/>
                  </a:lnTo>
                  <a:lnTo>
                    <a:pt x="1491" y="1444"/>
                  </a:lnTo>
                  <a:lnTo>
                    <a:pt x="1491" y="1453"/>
                  </a:lnTo>
                  <a:lnTo>
                    <a:pt x="1512" y="1420"/>
                  </a:lnTo>
                  <a:lnTo>
                    <a:pt x="1533" y="1420"/>
                  </a:lnTo>
                  <a:lnTo>
                    <a:pt x="1545" y="1437"/>
                  </a:lnTo>
                  <a:lnTo>
                    <a:pt x="1533" y="1453"/>
                  </a:lnTo>
                  <a:lnTo>
                    <a:pt x="1545" y="1453"/>
                  </a:lnTo>
                  <a:lnTo>
                    <a:pt x="1555" y="1437"/>
                  </a:lnTo>
                  <a:lnTo>
                    <a:pt x="1550" y="1432"/>
                  </a:lnTo>
                  <a:lnTo>
                    <a:pt x="1567" y="1420"/>
                  </a:lnTo>
                  <a:lnTo>
                    <a:pt x="1654" y="1420"/>
                  </a:lnTo>
                  <a:lnTo>
                    <a:pt x="1782" y="1498"/>
                  </a:lnTo>
                  <a:lnTo>
                    <a:pt x="1803" y="1526"/>
                  </a:lnTo>
                  <a:lnTo>
                    <a:pt x="1533" y="1642"/>
                  </a:lnTo>
                  <a:lnTo>
                    <a:pt x="1517" y="1682"/>
                  </a:lnTo>
                  <a:lnTo>
                    <a:pt x="1491" y="1699"/>
                  </a:lnTo>
                  <a:lnTo>
                    <a:pt x="1458" y="1692"/>
                  </a:lnTo>
                  <a:lnTo>
                    <a:pt x="1465" y="1708"/>
                  </a:lnTo>
                  <a:lnTo>
                    <a:pt x="1441" y="1737"/>
                  </a:lnTo>
                  <a:lnTo>
                    <a:pt x="1448" y="1770"/>
                  </a:lnTo>
                  <a:lnTo>
                    <a:pt x="1437" y="1793"/>
                  </a:lnTo>
                  <a:lnTo>
                    <a:pt x="1373" y="1810"/>
                  </a:lnTo>
                  <a:lnTo>
                    <a:pt x="1352" y="1803"/>
                  </a:lnTo>
                  <a:lnTo>
                    <a:pt x="1281" y="1848"/>
                  </a:lnTo>
                  <a:lnTo>
                    <a:pt x="1243" y="1843"/>
                  </a:lnTo>
                  <a:lnTo>
                    <a:pt x="1193" y="1770"/>
                  </a:lnTo>
                  <a:lnTo>
                    <a:pt x="1101" y="1737"/>
                  </a:lnTo>
                  <a:lnTo>
                    <a:pt x="1125" y="1732"/>
                  </a:lnTo>
                  <a:lnTo>
                    <a:pt x="1059" y="1732"/>
                  </a:lnTo>
                  <a:lnTo>
                    <a:pt x="1070" y="1732"/>
                  </a:lnTo>
                  <a:lnTo>
                    <a:pt x="1070" y="1708"/>
                  </a:lnTo>
                  <a:lnTo>
                    <a:pt x="1096" y="1675"/>
                  </a:lnTo>
                  <a:lnTo>
                    <a:pt x="1118" y="1654"/>
                  </a:lnTo>
                  <a:lnTo>
                    <a:pt x="1125" y="1637"/>
                  </a:lnTo>
                  <a:lnTo>
                    <a:pt x="1118" y="1621"/>
                  </a:lnTo>
                  <a:lnTo>
                    <a:pt x="1156" y="1604"/>
                  </a:lnTo>
                  <a:lnTo>
                    <a:pt x="1134" y="1581"/>
                  </a:lnTo>
                  <a:lnTo>
                    <a:pt x="1167" y="1531"/>
                  </a:lnTo>
                  <a:lnTo>
                    <a:pt x="1189" y="1515"/>
                  </a:lnTo>
                  <a:lnTo>
                    <a:pt x="1189" y="1498"/>
                  </a:lnTo>
                  <a:lnTo>
                    <a:pt x="1205" y="1493"/>
                  </a:lnTo>
                  <a:lnTo>
                    <a:pt x="1205" y="1493"/>
                  </a:lnTo>
                  <a:lnTo>
                    <a:pt x="1205" y="1493"/>
                  </a:lnTo>
                  <a:close/>
                  <a:moveTo>
                    <a:pt x="2974" y="1404"/>
                  </a:moveTo>
                  <a:lnTo>
                    <a:pt x="2953" y="1415"/>
                  </a:lnTo>
                  <a:lnTo>
                    <a:pt x="2974" y="1404"/>
                  </a:lnTo>
                  <a:lnTo>
                    <a:pt x="2974" y="1404"/>
                  </a:lnTo>
                  <a:lnTo>
                    <a:pt x="2974" y="1404"/>
                  </a:lnTo>
                  <a:close/>
                  <a:moveTo>
                    <a:pt x="3494" y="1548"/>
                  </a:moveTo>
                  <a:lnTo>
                    <a:pt x="3449" y="1609"/>
                  </a:lnTo>
                  <a:lnTo>
                    <a:pt x="3423" y="1637"/>
                  </a:lnTo>
                  <a:lnTo>
                    <a:pt x="3343" y="1621"/>
                  </a:lnTo>
                  <a:lnTo>
                    <a:pt x="3277" y="1626"/>
                  </a:lnTo>
                  <a:lnTo>
                    <a:pt x="3277" y="1637"/>
                  </a:lnTo>
                  <a:lnTo>
                    <a:pt x="3310" y="1637"/>
                  </a:lnTo>
                  <a:lnTo>
                    <a:pt x="3310" y="1642"/>
                  </a:lnTo>
                  <a:lnTo>
                    <a:pt x="3326" y="1654"/>
                  </a:lnTo>
                  <a:lnTo>
                    <a:pt x="3331" y="1666"/>
                  </a:lnTo>
                  <a:lnTo>
                    <a:pt x="3289" y="1725"/>
                  </a:lnTo>
                  <a:lnTo>
                    <a:pt x="3293" y="1732"/>
                  </a:lnTo>
                  <a:lnTo>
                    <a:pt x="3218" y="1732"/>
                  </a:lnTo>
                  <a:lnTo>
                    <a:pt x="3218" y="1715"/>
                  </a:lnTo>
                  <a:lnTo>
                    <a:pt x="3244" y="1708"/>
                  </a:lnTo>
                  <a:lnTo>
                    <a:pt x="3218" y="1708"/>
                  </a:lnTo>
                  <a:lnTo>
                    <a:pt x="3218" y="1666"/>
                  </a:lnTo>
                  <a:lnTo>
                    <a:pt x="3201" y="1642"/>
                  </a:lnTo>
                  <a:lnTo>
                    <a:pt x="3185" y="1637"/>
                  </a:lnTo>
                  <a:lnTo>
                    <a:pt x="3180" y="1581"/>
                  </a:lnTo>
                  <a:lnTo>
                    <a:pt x="3185" y="1571"/>
                  </a:lnTo>
                  <a:lnTo>
                    <a:pt x="3180" y="1515"/>
                  </a:lnTo>
                  <a:lnTo>
                    <a:pt x="3185" y="1510"/>
                  </a:lnTo>
                  <a:lnTo>
                    <a:pt x="3180" y="1493"/>
                  </a:lnTo>
                  <a:lnTo>
                    <a:pt x="3192" y="1486"/>
                  </a:lnTo>
                  <a:lnTo>
                    <a:pt x="3256" y="1498"/>
                  </a:lnTo>
                  <a:lnTo>
                    <a:pt x="3222" y="1486"/>
                  </a:lnTo>
                  <a:lnTo>
                    <a:pt x="3234" y="1477"/>
                  </a:lnTo>
                  <a:lnTo>
                    <a:pt x="3218" y="1477"/>
                  </a:lnTo>
                  <a:lnTo>
                    <a:pt x="3201" y="1460"/>
                  </a:lnTo>
                  <a:lnTo>
                    <a:pt x="3272" y="1437"/>
                  </a:lnTo>
                  <a:lnTo>
                    <a:pt x="3348" y="1432"/>
                  </a:lnTo>
                  <a:lnTo>
                    <a:pt x="3395" y="1437"/>
                  </a:lnTo>
                  <a:lnTo>
                    <a:pt x="3418" y="1453"/>
                  </a:lnTo>
                  <a:lnTo>
                    <a:pt x="3418" y="1460"/>
                  </a:lnTo>
                  <a:lnTo>
                    <a:pt x="3470" y="1453"/>
                  </a:lnTo>
                  <a:lnTo>
                    <a:pt x="3563" y="1470"/>
                  </a:lnTo>
                  <a:lnTo>
                    <a:pt x="3494" y="1548"/>
                  </a:lnTo>
                  <a:lnTo>
                    <a:pt x="3494" y="1548"/>
                  </a:lnTo>
                  <a:lnTo>
                    <a:pt x="3494" y="1548"/>
                  </a:lnTo>
                  <a:close/>
                  <a:moveTo>
                    <a:pt x="3041" y="1437"/>
                  </a:moveTo>
                  <a:lnTo>
                    <a:pt x="3029" y="1453"/>
                  </a:lnTo>
                  <a:lnTo>
                    <a:pt x="2991" y="1477"/>
                  </a:lnTo>
                  <a:lnTo>
                    <a:pt x="2948" y="1486"/>
                  </a:lnTo>
                  <a:lnTo>
                    <a:pt x="2915" y="1470"/>
                  </a:lnTo>
                  <a:lnTo>
                    <a:pt x="3041" y="1437"/>
                  </a:lnTo>
                  <a:lnTo>
                    <a:pt x="3041" y="1437"/>
                  </a:lnTo>
                  <a:lnTo>
                    <a:pt x="3041" y="1437"/>
                  </a:lnTo>
                  <a:close/>
                  <a:moveTo>
                    <a:pt x="3579" y="1453"/>
                  </a:moveTo>
                  <a:lnTo>
                    <a:pt x="3558" y="1453"/>
                  </a:lnTo>
                  <a:lnTo>
                    <a:pt x="3584" y="1444"/>
                  </a:lnTo>
                  <a:lnTo>
                    <a:pt x="3579" y="1453"/>
                  </a:lnTo>
                  <a:lnTo>
                    <a:pt x="3579" y="1453"/>
                  </a:lnTo>
                  <a:lnTo>
                    <a:pt x="3579" y="1453"/>
                  </a:lnTo>
                  <a:close/>
                  <a:moveTo>
                    <a:pt x="2807" y="1708"/>
                  </a:moveTo>
                  <a:lnTo>
                    <a:pt x="2793" y="1682"/>
                  </a:lnTo>
                  <a:lnTo>
                    <a:pt x="2755" y="1692"/>
                  </a:lnTo>
                  <a:lnTo>
                    <a:pt x="2738" y="1666"/>
                  </a:lnTo>
                  <a:lnTo>
                    <a:pt x="2693" y="1637"/>
                  </a:lnTo>
                  <a:lnTo>
                    <a:pt x="2684" y="1621"/>
                  </a:lnTo>
                  <a:lnTo>
                    <a:pt x="2700" y="1588"/>
                  </a:lnTo>
                  <a:lnTo>
                    <a:pt x="2722" y="1581"/>
                  </a:lnTo>
                  <a:lnTo>
                    <a:pt x="2769" y="1609"/>
                  </a:lnTo>
                  <a:lnTo>
                    <a:pt x="2785" y="1637"/>
                  </a:lnTo>
                  <a:lnTo>
                    <a:pt x="2844" y="1626"/>
                  </a:lnTo>
                  <a:lnTo>
                    <a:pt x="2856" y="1621"/>
                  </a:lnTo>
                  <a:lnTo>
                    <a:pt x="2840" y="1597"/>
                  </a:lnTo>
                  <a:lnTo>
                    <a:pt x="2844" y="1588"/>
                  </a:lnTo>
                  <a:lnTo>
                    <a:pt x="2856" y="1588"/>
                  </a:lnTo>
                  <a:lnTo>
                    <a:pt x="2844" y="1604"/>
                  </a:lnTo>
                  <a:lnTo>
                    <a:pt x="2856" y="1609"/>
                  </a:lnTo>
                  <a:lnTo>
                    <a:pt x="2878" y="1604"/>
                  </a:lnTo>
                  <a:lnTo>
                    <a:pt x="2861" y="1571"/>
                  </a:lnTo>
                  <a:lnTo>
                    <a:pt x="2844" y="1581"/>
                  </a:lnTo>
                  <a:lnTo>
                    <a:pt x="2840" y="1571"/>
                  </a:lnTo>
                  <a:lnTo>
                    <a:pt x="2844" y="1555"/>
                  </a:lnTo>
                  <a:lnTo>
                    <a:pt x="2878" y="1564"/>
                  </a:lnTo>
                  <a:lnTo>
                    <a:pt x="2894" y="1564"/>
                  </a:lnTo>
                  <a:lnTo>
                    <a:pt x="2844" y="1543"/>
                  </a:lnTo>
                  <a:lnTo>
                    <a:pt x="2840" y="1555"/>
                  </a:lnTo>
                  <a:lnTo>
                    <a:pt x="2814" y="1555"/>
                  </a:lnTo>
                  <a:lnTo>
                    <a:pt x="2759" y="1526"/>
                  </a:lnTo>
                  <a:lnTo>
                    <a:pt x="2814" y="1510"/>
                  </a:lnTo>
                  <a:lnTo>
                    <a:pt x="2844" y="1531"/>
                  </a:lnTo>
                  <a:lnTo>
                    <a:pt x="2830" y="1526"/>
                  </a:lnTo>
                  <a:lnTo>
                    <a:pt x="2840" y="1510"/>
                  </a:lnTo>
                  <a:lnTo>
                    <a:pt x="2802" y="1493"/>
                  </a:lnTo>
                  <a:lnTo>
                    <a:pt x="2807" y="1486"/>
                  </a:lnTo>
                  <a:lnTo>
                    <a:pt x="2840" y="1477"/>
                  </a:lnTo>
                  <a:lnTo>
                    <a:pt x="2868" y="1486"/>
                  </a:lnTo>
                  <a:lnTo>
                    <a:pt x="2882" y="1470"/>
                  </a:lnTo>
                  <a:lnTo>
                    <a:pt x="2856" y="1477"/>
                  </a:lnTo>
                  <a:lnTo>
                    <a:pt x="2878" y="1460"/>
                  </a:lnTo>
                  <a:lnTo>
                    <a:pt x="2932" y="1493"/>
                  </a:lnTo>
                  <a:lnTo>
                    <a:pt x="3003" y="1486"/>
                  </a:lnTo>
                  <a:lnTo>
                    <a:pt x="3029" y="1470"/>
                  </a:lnTo>
                  <a:lnTo>
                    <a:pt x="3071" y="1477"/>
                  </a:lnTo>
                  <a:lnTo>
                    <a:pt x="3095" y="1498"/>
                  </a:lnTo>
                  <a:lnTo>
                    <a:pt x="3071" y="1515"/>
                  </a:lnTo>
                  <a:lnTo>
                    <a:pt x="3041" y="1515"/>
                  </a:lnTo>
                  <a:lnTo>
                    <a:pt x="3041" y="1531"/>
                  </a:lnTo>
                  <a:lnTo>
                    <a:pt x="3071" y="1526"/>
                  </a:lnTo>
                  <a:lnTo>
                    <a:pt x="3078" y="1543"/>
                  </a:lnTo>
                  <a:lnTo>
                    <a:pt x="3029" y="1555"/>
                  </a:lnTo>
                  <a:lnTo>
                    <a:pt x="2986" y="1588"/>
                  </a:lnTo>
                  <a:lnTo>
                    <a:pt x="2986" y="1609"/>
                  </a:lnTo>
                  <a:lnTo>
                    <a:pt x="3019" y="1588"/>
                  </a:lnTo>
                  <a:lnTo>
                    <a:pt x="3062" y="1597"/>
                  </a:lnTo>
                  <a:lnTo>
                    <a:pt x="3071" y="1604"/>
                  </a:lnTo>
                  <a:lnTo>
                    <a:pt x="3071" y="1609"/>
                  </a:lnTo>
                  <a:lnTo>
                    <a:pt x="3083" y="1626"/>
                  </a:lnTo>
                  <a:lnTo>
                    <a:pt x="3071" y="1642"/>
                  </a:lnTo>
                  <a:lnTo>
                    <a:pt x="3116" y="1626"/>
                  </a:lnTo>
                  <a:lnTo>
                    <a:pt x="3137" y="1675"/>
                  </a:lnTo>
                  <a:lnTo>
                    <a:pt x="3095" y="1682"/>
                  </a:lnTo>
                  <a:lnTo>
                    <a:pt x="3116" y="1692"/>
                  </a:lnTo>
                  <a:lnTo>
                    <a:pt x="3126" y="1715"/>
                  </a:lnTo>
                  <a:lnTo>
                    <a:pt x="3095" y="1725"/>
                  </a:lnTo>
                  <a:lnTo>
                    <a:pt x="3126" y="1725"/>
                  </a:lnTo>
                  <a:lnTo>
                    <a:pt x="3126" y="1737"/>
                  </a:lnTo>
                  <a:lnTo>
                    <a:pt x="3100" y="1737"/>
                  </a:lnTo>
                  <a:lnTo>
                    <a:pt x="3126" y="1737"/>
                  </a:lnTo>
                  <a:lnTo>
                    <a:pt x="3116" y="1753"/>
                  </a:lnTo>
                  <a:lnTo>
                    <a:pt x="3100" y="1753"/>
                  </a:lnTo>
                  <a:lnTo>
                    <a:pt x="3057" y="1781"/>
                  </a:lnTo>
                  <a:lnTo>
                    <a:pt x="3007" y="1781"/>
                  </a:lnTo>
                  <a:lnTo>
                    <a:pt x="2991" y="1765"/>
                  </a:lnTo>
                  <a:lnTo>
                    <a:pt x="3003" y="1748"/>
                  </a:lnTo>
                  <a:lnTo>
                    <a:pt x="3003" y="1737"/>
                  </a:lnTo>
                  <a:lnTo>
                    <a:pt x="2986" y="1770"/>
                  </a:lnTo>
                  <a:lnTo>
                    <a:pt x="3019" y="1793"/>
                  </a:lnTo>
                  <a:lnTo>
                    <a:pt x="2970" y="1826"/>
                  </a:lnTo>
                  <a:lnTo>
                    <a:pt x="2948" y="1810"/>
                  </a:lnTo>
                  <a:lnTo>
                    <a:pt x="2932" y="1819"/>
                  </a:lnTo>
                  <a:lnTo>
                    <a:pt x="2899" y="1765"/>
                  </a:lnTo>
                  <a:lnTo>
                    <a:pt x="2868" y="1748"/>
                  </a:lnTo>
                  <a:lnTo>
                    <a:pt x="2830" y="1708"/>
                  </a:lnTo>
                  <a:lnTo>
                    <a:pt x="2807" y="1708"/>
                  </a:lnTo>
                  <a:lnTo>
                    <a:pt x="2807" y="1708"/>
                  </a:lnTo>
                  <a:lnTo>
                    <a:pt x="2807" y="1708"/>
                  </a:lnTo>
                  <a:close/>
                  <a:moveTo>
                    <a:pt x="4096" y="2008"/>
                  </a:moveTo>
                  <a:lnTo>
                    <a:pt x="4066" y="1992"/>
                  </a:lnTo>
                  <a:lnTo>
                    <a:pt x="4016" y="2003"/>
                  </a:lnTo>
                  <a:lnTo>
                    <a:pt x="3903" y="1975"/>
                  </a:lnTo>
                  <a:lnTo>
                    <a:pt x="3865" y="1987"/>
                  </a:lnTo>
                  <a:lnTo>
                    <a:pt x="3910" y="1992"/>
                  </a:lnTo>
                  <a:lnTo>
                    <a:pt x="3872" y="1992"/>
                  </a:lnTo>
                  <a:lnTo>
                    <a:pt x="3818" y="1959"/>
                  </a:lnTo>
                  <a:lnTo>
                    <a:pt x="3818" y="1947"/>
                  </a:lnTo>
                  <a:lnTo>
                    <a:pt x="3839" y="1930"/>
                  </a:lnTo>
                  <a:lnTo>
                    <a:pt x="3834" y="1921"/>
                  </a:lnTo>
                  <a:lnTo>
                    <a:pt x="3811" y="1954"/>
                  </a:lnTo>
                  <a:lnTo>
                    <a:pt x="3796" y="1954"/>
                  </a:lnTo>
                  <a:lnTo>
                    <a:pt x="3785" y="1930"/>
                  </a:lnTo>
                  <a:lnTo>
                    <a:pt x="3773" y="1947"/>
                  </a:lnTo>
                  <a:lnTo>
                    <a:pt x="3785" y="1947"/>
                  </a:lnTo>
                  <a:lnTo>
                    <a:pt x="3785" y="1954"/>
                  </a:lnTo>
                  <a:lnTo>
                    <a:pt x="3742" y="1954"/>
                  </a:lnTo>
                  <a:lnTo>
                    <a:pt x="3747" y="1954"/>
                  </a:lnTo>
                  <a:lnTo>
                    <a:pt x="3730" y="1959"/>
                  </a:lnTo>
                  <a:lnTo>
                    <a:pt x="3704" y="1954"/>
                  </a:lnTo>
                  <a:lnTo>
                    <a:pt x="3726" y="1954"/>
                  </a:lnTo>
                  <a:lnTo>
                    <a:pt x="3709" y="1947"/>
                  </a:lnTo>
                  <a:lnTo>
                    <a:pt x="3667" y="1930"/>
                  </a:lnTo>
                  <a:lnTo>
                    <a:pt x="3617" y="1876"/>
                  </a:lnTo>
                  <a:lnTo>
                    <a:pt x="3633" y="1864"/>
                  </a:lnTo>
                  <a:lnTo>
                    <a:pt x="3612" y="1848"/>
                  </a:lnTo>
                  <a:lnTo>
                    <a:pt x="3721" y="1876"/>
                  </a:lnTo>
                  <a:lnTo>
                    <a:pt x="3785" y="1864"/>
                  </a:lnTo>
                  <a:lnTo>
                    <a:pt x="3742" y="1843"/>
                  </a:lnTo>
                  <a:lnTo>
                    <a:pt x="3726" y="1843"/>
                  </a:lnTo>
                  <a:lnTo>
                    <a:pt x="3726" y="1826"/>
                  </a:lnTo>
                  <a:lnTo>
                    <a:pt x="3676" y="1836"/>
                  </a:lnTo>
                  <a:lnTo>
                    <a:pt x="3584" y="1819"/>
                  </a:lnTo>
                  <a:lnTo>
                    <a:pt x="3579" y="1786"/>
                  </a:lnTo>
                  <a:lnTo>
                    <a:pt x="3596" y="1765"/>
                  </a:lnTo>
                  <a:lnTo>
                    <a:pt x="3570" y="1737"/>
                  </a:lnTo>
                  <a:lnTo>
                    <a:pt x="3579" y="1725"/>
                  </a:lnTo>
                  <a:lnTo>
                    <a:pt x="3612" y="1708"/>
                  </a:lnTo>
                  <a:lnTo>
                    <a:pt x="3584" y="1708"/>
                  </a:lnTo>
                  <a:lnTo>
                    <a:pt x="3579" y="1682"/>
                  </a:lnTo>
                  <a:lnTo>
                    <a:pt x="3596" y="1642"/>
                  </a:lnTo>
                  <a:lnTo>
                    <a:pt x="3617" y="1637"/>
                  </a:lnTo>
                  <a:lnTo>
                    <a:pt x="3612" y="1637"/>
                  </a:lnTo>
                  <a:lnTo>
                    <a:pt x="3612" y="1621"/>
                  </a:lnTo>
                  <a:lnTo>
                    <a:pt x="3622" y="1626"/>
                  </a:lnTo>
                  <a:lnTo>
                    <a:pt x="3622" y="1597"/>
                  </a:lnTo>
                  <a:lnTo>
                    <a:pt x="3633" y="1571"/>
                  </a:lnTo>
                  <a:lnTo>
                    <a:pt x="3671" y="1531"/>
                  </a:lnTo>
                  <a:lnTo>
                    <a:pt x="3747" y="1493"/>
                  </a:lnTo>
                  <a:lnTo>
                    <a:pt x="3839" y="1477"/>
                  </a:lnTo>
                  <a:lnTo>
                    <a:pt x="3941" y="1493"/>
                  </a:lnTo>
                  <a:lnTo>
                    <a:pt x="3865" y="1548"/>
                  </a:lnTo>
                  <a:lnTo>
                    <a:pt x="3811" y="1609"/>
                  </a:lnTo>
                  <a:lnTo>
                    <a:pt x="3801" y="1637"/>
                  </a:lnTo>
                  <a:lnTo>
                    <a:pt x="3839" y="1675"/>
                  </a:lnTo>
                  <a:lnTo>
                    <a:pt x="3827" y="1692"/>
                  </a:lnTo>
                  <a:lnTo>
                    <a:pt x="3827" y="1732"/>
                  </a:lnTo>
                  <a:lnTo>
                    <a:pt x="3893" y="1793"/>
                  </a:lnTo>
                  <a:lnTo>
                    <a:pt x="3936" y="1810"/>
                  </a:lnTo>
                  <a:lnTo>
                    <a:pt x="3941" y="1826"/>
                  </a:lnTo>
                  <a:lnTo>
                    <a:pt x="3865" y="1843"/>
                  </a:lnTo>
                  <a:lnTo>
                    <a:pt x="3801" y="1864"/>
                  </a:lnTo>
                  <a:lnTo>
                    <a:pt x="3936" y="1836"/>
                  </a:lnTo>
                  <a:lnTo>
                    <a:pt x="3941" y="1843"/>
                  </a:lnTo>
                  <a:lnTo>
                    <a:pt x="3936" y="1848"/>
                  </a:lnTo>
                  <a:lnTo>
                    <a:pt x="3919" y="1848"/>
                  </a:lnTo>
                  <a:lnTo>
                    <a:pt x="3936" y="1848"/>
                  </a:lnTo>
                  <a:lnTo>
                    <a:pt x="3936" y="1876"/>
                  </a:lnTo>
                  <a:lnTo>
                    <a:pt x="3941" y="1876"/>
                  </a:lnTo>
                  <a:lnTo>
                    <a:pt x="3941" y="1810"/>
                  </a:lnTo>
                  <a:lnTo>
                    <a:pt x="3962" y="1803"/>
                  </a:lnTo>
                  <a:lnTo>
                    <a:pt x="3945" y="1786"/>
                  </a:lnTo>
                  <a:lnTo>
                    <a:pt x="3957" y="1770"/>
                  </a:lnTo>
                  <a:lnTo>
                    <a:pt x="3910" y="1770"/>
                  </a:lnTo>
                  <a:lnTo>
                    <a:pt x="3886" y="1765"/>
                  </a:lnTo>
                  <a:lnTo>
                    <a:pt x="3893" y="1753"/>
                  </a:lnTo>
                  <a:lnTo>
                    <a:pt x="3886" y="1737"/>
                  </a:lnTo>
                  <a:lnTo>
                    <a:pt x="3855" y="1732"/>
                  </a:lnTo>
                  <a:lnTo>
                    <a:pt x="3893" y="1725"/>
                  </a:lnTo>
                  <a:lnTo>
                    <a:pt x="3893" y="1715"/>
                  </a:lnTo>
                  <a:lnTo>
                    <a:pt x="3893" y="1692"/>
                  </a:lnTo>
                  <a:lnTo>
                    <a:pt x="3936" y="1699"/>
                  </a:lnTo>
                  <a:lnTo>
                    <a:pt x="3990" y="1737"/>
                  </a:lnTo>
                  <a:lnTo>
                    <a:pt x="3990" y="1732"/>
                  </a:lnTo>
                  <a:lnTo>
                    <a:pt x="3936" y="1692"/>
                  </a:lnTo>
                  <a:lnTo>
                    <a:pt x="3962" y="1675"/>
                  </a:lnTo>
                  <a:lnTo>
                    <a:pt x="3936" y="1682"/>
                  </a:lnTo>
                  <a:lnTo>
                    <a:pt x="3941" y="1666"/>
                  </a:lnTo>
                  <a:lnTo>
                    <a:pt x="3919" y="1682"/>
                  </a:lnTo>
                  <a:lnTo>
                    <a:pt x="3886" y="1666"/>
                  </a:lnTo>
                  <a:lnTo>
                    <a:pt x="3886" y="1659"/>
                  </a:lnTo>
                  <a:lnTo>
                    <a:pt x="3893" y="1654"/>
                  </a:lnTo>
                  <a:lnTo>
                    <a:pt x="3881" y="1642"/>
                  </a:lnTo>
                  <a:lnTo>
                    <a:pt x="3881" y="1609"/>
                  </a:lnTo>
                  <a:lnTo>
                    <a:pt x="3910" y="1597"/>
                  </a:lnTo>
                  <a:lnTo>
                    <a:pt x="4000" y="1626"/>
                  </a:lnTo>
                  <a:lnTo>
                    <a:pt x="3886" y="1588"/>
                  </a:lnTo>
                  <a:lnTo>
                    <a:pt x="3903" y="1571"/>
                  </a:lnTo>
                  <a:lnTo>
                    <a:pt x="3919" y="1588"/>
                  </a:lnTo>
                  <a:lnTo>
                    <a:pt x="3910" y="1581"/>
                  </a:lnTo>
                  <a:lnTo>
                    <a:pt x="3919" y="1571"/>
                  </a:lnTo>
                  <a:lnTo>
                    <a:pt x="4028" y="1597"/>
                  </a:lnTo>
                  <a:lnTo>
                    <a:pt x="3919" y="1564"/>
                  </a:lnTo>
                  <a:lnTo>
                    <a:pt x="3941" y="1543"/>
                  </a:lnTo>
                  <a:lnTo>
                    <a:pt x="3974" y="1564"/>
                  </a:lnTo>
                  <a:lnTo>
                    <a:pt x="3945" y="1543"/>
                  </a:lnTo>
                  <a:lnTo>
                    <a:pt x="3990" y="1526"/>
                  </a:lnTo>
                  <a:lnTo>
                    <a:pt x="4016" y="1531"/>
                  </a:lnTo>
                  <a:lnTo>
                    <a:pt x="4028" y="1548"/>
                  </a:lnTo>
                  <a:lnTo>
                    <a:pt x="4028" y="1531"/>
                  </a:lnTo>
                  <a:lnTo>
                    <a:pt x="3995" y="1526"/>
                  </a:lnTo>
                  <a:lnTo>
                    <a:pt x="4082" y="1493"/>
                  </a:lnTo>
                  <a:lnTo>
                    <a:pt x="4172" y="1493"/>
                  </a:lnTo>
                  <a:lnTo>
                    <a:pt x="4196" y="1526"/>
                  </a:lnTo>
                  <a:lnTo>
                    <a:pt x="4196" y="1555"/>
                  </a:lnTo>
                  <a:lnTo>
                    <a:pt x="4243" y="1581"/>
                  </a:lnTo>
                  <a:lnTo>
                    <a:pt x="4233" y="1604"/>
                  </a:lnTo>
                  <a:lnTo>
                    <a:pt x="4259" y="1626"/>
                  </a:lnTo>
                  <a:lnTo>
                    <a:pt x="4179" y="1699"/>
                  </a:lnTo>
                  <a:lnTo>
                    <a:pt x="4243" y="1659"/>
                  </a:lnTo>
                  <a:lnTo>
                    <a:pt x="4243" y="1675"/>
                  </a:lnTo>
                  <a:lnTo>
                    <a:pt x="4210" y="1708"/>
                  </a:lnTo>
                  <a:lnTo>
                    <a:pt x="4243" y="1725"/>
                  </a:lnTo>
                  <a:lnTo>
                    <a:pt x="4205" y="1725"/>
                  </a:lnTo>
                  <a:lnTo>
                    <a:pt x="4226" y="1725"/>
                  </a:lnTo>
                  <a:lnTo>
                    <a:pt x="4210" y="1748"/>
                  </a:lnTo>
                  <a:lnTo>
                    <a:pt x="4248" y="1725"/>
                  </a:lnTo>
                  <a:lnTo>
                    <a:pt x="4243" y="1708"/>
                  </a:lnTo>
                  <a:lnTo>
                    <a:pt x="4264" y="1699"/>
                  </a:lnTo>
                  <a:lnTo>
                    <a:pt x="4259" y="1692"/>
                  </a:lnTo>
                  <a:lnTo>
                    <a:pt x="4302" y="1715"/>
                  </a:lnTo>
                  <a:lnTo>
                    <a:pt x="4264" y="1682"/>
                  </a:lnTo>
                  <a:lnTo>
                    <a:pt x="4297" y="1659"/>
                  </a:lnTo>
                  <a:lnTo>
                    <a:pt x="4302" y="1682"/>
                  </a:lnTo>
                  <a:lnTo>
                    <a:pt x="4297" y="1699"/>
                  </a:lnTo>
                  <a:lnTo>
                    <a:pt x="4323" y="1675"/>
                  </a:lnTo>
                  <a:lnTo>
                    <a:pt x="4352" y="1692"/>
                  </a:lnTo>
                  <a:lnTo>
                    <a:pt x="4352" y="1708"/>
                  </a:lnTo>
                  <a:lnTo>
                    <a:pt x="4335" y="1732"/>
                  </a:lnTo>
                  <a:lnTo>
                    <a:pt x="4378" y="1748"/>
                  </a:lnTo>
                  <a:lnTo>
                    <a:pt x="4356" y="1732"/>
                  </a:lnTo>
                  <a:lnTo>
                    <a:pt x="4356" y="1708"/>
                  </a:lnTo>
                  <a:lnTo>
                    <a:pt x="4389" y="1715"/>
                  </a:lnTo>
                  <a:lnTo>
                    <a:pt x="4406" y="1753"/>
                  </a:lnTo>
                  <a:lnTo>
                    <a:pt x="4427" y="1765"/>
                  </a:lnTo>
                  <a:lnTo>
                    <a:pt x="4394" y="1737"/>
                  </a:lnTo>
                  <a:lnTo>
                    <a:pt x="4411" y="1732"/>
                  </a:lnTo>
                  <a:lnTo>
                    <a:pt x="4432" y="1753"/>
                  </a:lnTo>
                  <a:lnTo>
                    <a:pt x="4411" y="1732"/>
                  </a:lnTo>
                  <a:lnTo>
                    <a:pt x="4394" y="1732"/>
                  </a:lnTo>
                  <a:lnTo>
                    <a:pt x="4389" y="1715"/>
                  </a:lnTo>
                  <a:lnTo>
                    <a:pt x="4356" y="1699"/>
                  </a:lnTo>
                  <a:lnTo>
                    <a:pt x="4373" y="1682"/>
                  </a:lnTo>
                  <a:lnTo>
                    <a:pt x="4389" y="1708"/>
                  </a:lnTo>
                  <a:lnTo>
                    <a:pt x="4389" y="1682"/>
                  </a:lnTo>
                  <a:lnTo>
                    <a:pt x="4486" y="1715"/>
                  </a:lnTo>
                  <a:lnTo>
                    <a:pt x="4378" y="1666"/>
                  </a:lnTo>
                  <a:lnTo>
                    <a:pt x="4389" y="1654"/>
                  </a:lnTo>
                  <a:lnTo>
                    <a:pt x="4444" y="1626"/>
                  </a:lnTo>
                  <a:lnTo>
                    <a:pt x="4503" y="1626"/>
                  </a:lnTo>
                  <a:lnTo>
                    <a:pt x="4512" y="1642"/>
                  </a:lnTo>
                  <a:lnTo>
                    <a:pt x="4550" y="1654"/>
                  </a:lnTo>
                  <a:lnTo>
                    <a:pt x="4550" y="1666"/>
                  </a:lnTo>
                  <a:lnTo>
                    <a:pt x="4567" y="1654"/>
                  </a:lnTo>
                  <a:lnTo>
                    <a:pt x="4611" y="1659"/>
                  </a:lnTo>
                  <a:lnTo>
                    <a:pt x="4637" y="1699"/>
                  </a:lnTo>
                  <a:lnTo>
                    <a:pt x="4611" y="1715"/>
                  </a:lnTo>
                  <a:lnTo>
                    <a:pt x="4557" y="1715"/>
                  </a:lnTo>
                  <a:lnTo>
                    <a:pt x="4536" y="1748"/>
                  </a:lnTo>
                  <a:lnTo>
                    <a:pt x="4574" y="1715"/>
                  </a:lnTo>
                  <a:lnTo>
                    <a:pt x="4611" y="1725"/>
                  </a:lnTo>
                  <a:lnTo>
                    <a:pt x="4588" y="1732"/>
                  </a:lnTo>
                  <a:lnTo>
                    <a:pt x="4574" y="1765"/>
                  </a:lnTo>
                  <a:lnTo>
                    <a:pt x="4550" y="1770"/>
                  </a:lnTo>
                  <a:lnTo>
                    <a:pt x="4574" y="1765"/>
                  </a:lnTo>
                  <a:lnTo>
                    <a:pt x="4588" y="1732"/>
                  </a:lnTo>
                  <a:lnTo>
                    <a:pt x="4626" y="1715"/>
                  </a:lnTo>
                  <a:lnTo>
                    <a:pt x="4680" y="1725"/>
                  </a:lnTo>
                  <a:lnTo>
                    <a:pt x="4692" y="1732"/>
                  </a:lnTo>
                  <a:lnTo>
                    <a:pt x="4680" y="1753"/>
                  </a:lnTo>
                  <a:lnTo>
                    <a:pt x="4604" y="1770"/>
                  </a:lnTo>
                  <a:lnTo>
                    <a:pt x="4637" y="1781"/>
                  </a:lnTo>
                  <a:lnTo>
                    <a:pt x="4595" y="1793"/>
                  </a:lnTo>
                  <a:lnTo>
                    <a:pt x="4659" y="1781"/>
                  </a:lnTo>
                  <a:lnTo>
                    <a:pt x="4621" y="1803"/>
                  </a:lnTo>
                  <a:lnTo>
                    <a:pt x="4642" y="1793"/>
                  </a:lnTo>
                  <a:lnTo>
                    <a:pt x="4649" y="1810"/>
                  </a:lnTo>
                  <a:lnTo>
                    <a:pt x="4621" y="1843"/>
                  </a:lnTo>
                  <a:lnTo>
                    <a:pt x="4649" y="1810"/>
                  </a:lnTo>
                  <a:lnTo>
                    <a:pt x="4649" y="1793"/>
                  </a:lnTo>
                  <a:lnTo>
                    <a:pt x="4659" y="1781"/>
                  </a:lnTo>
                  <a:lnTo>
                    <a:pt x="4692" y="1765"/>
                  </a:lnTo>
                  <a:lnTo>
                    <a:pt x="4680" y="1781"/>
                  </a:lnTo>
                  <a:lnTo>
                    <a:pt x="4692" y="1793"/>
                  </a:lnTo>
                  <a:lnTo>
                    <a:pt x="4696" y="1765"/>
                  </a:lnTo>
                  <a:lnTo>
                    <a:pt x="4718" y="1765"/>
                  </a:lnTo>
                  <a:lnTo>
                    <a:pt x="4729" y="1765"/>
                  </a:lnTo>
                  <a:lnTo>
                    <a:pt x="4696" y="1793"/>
                  </a:lnTo>
                  <a:lnTo>
                    <a:pt x="4675" y="1810"/>
                  </a:lnTo>
                  <a:lnTo>
                    <a:pt x="4696" y="1803"/>
                  </a:lnTo>
                  <a:lnTo>
                    <a:pt x="4692" y="1826"/>
                  </a:lnTo>
                  <a:lnTo>
                    <a:pt x="4680" y="1836"/>
                  </a:lnTo>
                  <a:lnTo>
                    <a:pt x="4696" y="1826"/>
                  </a:lnTo>
                  <a:lnTo>
                    <a:pt x="4713" y="1793"/>
                  </a:lnTo>
                  <a:lnTo>
                    <a:pt x="4729" y="1786"/>
                  </a:lnTo>
                  <a:lnTo>
                    <a:pt x="4729" y="1819"/>
                  </a:lnTo>
                  <a:lnTo>
                    <a:pt x="4734" y="1803"/>
                  </a:lnTo>
                  <a:lnTo>
                    <a:pt x="4746" y="1810"/>
                  </a:lnTo>
                  <a:lnTo>
                    <a:pt x="4729" y="1826"/>
                  </a:lnTo>
                  <a:lnTo>
                    <a:pt x="4718" y="1848"/>
                  </a:lnTo>
                  <a:lnTo>
                    <a:pt x="4701" y="1859"/>
                  </a:lnTo>
                  <a:lnTo>
                    <a:pt x="4718" y="1848"/>
                  </a:lnTo>
                  <a:lnTo>
                    <a:pt x="4729" y="1836"/>
                  </a:lnTo>
                  <a:lnTo>
                    <a:pt x="4734" y="1819"/>
                  </a:lnTo>
                  <a:lnTo>
                    <a:pt x="4767" y="1826"/>
                  </a:lnTo>
                  <a:lnTo>
                    <a:pt x="4751" y="1836"/>
                  </a:lnTo>
                  <a:lnTo>
                    <a:pt x="4751" y="1848"/>
                  </a:lnTo>
                  <a:lnTo>
                    <a:pt x="4734" y="1859"/>
                  </a:lnTo>
                  <a:lnTo>
                    <a:pt x="4746" y="1864"/>
                  </a:lnTo>
                  <a:lnTo>
                    <a:pt x="4755" y="1836"/>
                  </a:lnTo>
                  <a:lnTo>
                    <a:pt x="4767" y="1826"/>
                  </a:lnTo>
                  <a:lnTo>
                    <a:pt x="4767" y="1810"/>
                  </a:lnTo>
                  <a:lnTo>
                    <a:pt x="4789" y="1810"/>
                  </a:lnTo>
                  <a:lnTo>
                    <a:pt x="4805" y="1781"/>
                  </a:lnTo>
                  <a:lnTo>
                    <a:pt x="4864" y="1793"/>
                  </a:lnTo>
                  <a:lnTo>
                    <a:pt x="4897" y="1826"/>
                  </a:lnTo>
                  <a:lnTo>
                    <a:pt x="4874" y="1859"/>
                  </a:lnTo>
                  <a:lnTo>
                    <a:pt x="4843" y="1848"/>
                  </a:lnTo>
                  <a:lnTo>
                    <a:pt x="4810" y="1881"/>
                  </a:lnTo>
                  <a:lnTo>
                    <a:pt x="4789" y="1881"/>
                  </a:lnTo>
                  <a:lnTo>
                    <a:pt x="4826" y="1881"/>
                  </a:lnTo>
                  <a:lnTo>
                    <a:pt x="4810" y="1904"/>
                  </a:lnTo>
                  <a:lnTo>
                    <a:pt x="4798" y="1914"/>
                  </a:lnTo>
                  <a:lnTo>
                    <a:pt x="4826" y="1892"/>
                  </a:lnTo>
                  <a:lnTo>
                    <a:pt x="4881" y="1881"/>
                  </a:lnTo>
                  <a:lnTo>
                    <a:pt x="4897" y="1859"/>
                  </a:lnTo>
                  <a:lnTo>
                    <a:pt x="4918" y="1848"/>
                  </a:lnTo>
                  <a:lnTo>
                    <a:pt x="4935" y="1859"/>
                  </a:lnTo>
                  <a:lnTo>
                    <a:pt x="4944" y="1876"/>
                  </a:lnTo>
                  <a:lnTo>
                    <a:pt x="4928" y="1897"/>
                  </a:lnTo>
                  <a:lnTo>
                    <a:pt x="4897" y="1914"/>
                  </a:lnTo>
                  <a:lnTo>
                    <a:pt x="4864" y="1914"/>
                  </a:lnTo>
                  <a:lnTo>
                    <a:pt x="4852" y="1937"/>
                  </a:lnTo>
                  <a:lnTo>
                    <a:pt x="4859" y="1937"/>
                  </a:lnTo>
                  <a:lnTo>
                    <a:pt x="4859" y="1947"/>
                  </a:lnTo>
                  <a:lnTo>
                    <a:pt x="4852" y="1954"/>
                  </a:lnTo>
                  <a:lnTo>
                    <a:pt x="4859" y="1954"/>
                  </a:lnTo>
                  <a:lnTo>
                    <a:pt x="4874" y="1921"/>
                  </a:lnTo>
                  <a:lnTo>
                    <a:pt x="4897" y="1921"/>
                  </a:lnTo>
                  <a:lnTo>
                    <a:pt x="4890" y="1954"/>
                  </a:lnTo>
                  <a:lnTo>
                    <a:pt x="4890" y="1959"/>
                  </a:lnTo>
                  <a:lnTo>
                    <a:pt x="4874" y="1992"/>
                  </a:lnTo>
                  <a:lnTo>
                    <a:pt x="4897" y="1959"/>
                  </a:lnTo>
                  <a:lnTo>
                    <a:pt x="4911" y="1914"/>
                  </a:lnTo>
                  <a:lnTo>
                    <a:pt x="4987" y="1881"/>
                  </a:lnTo>
                  <a:lnTo>
                    <a:pt x="4999" y="1881"/>
                  </a:lnTo>
                  <a:lnTo>
                    <a:pt x="4973" y="1904"/>
                  </a:lnTo>
                  <a:lnTo>
                    <a:pt x="4944" y="1914"/>
                  </a:lnTo>
                  <a:lnTo>
                    <a:pt x="4949" y="1921"/>
                  </a:lnTo>
                  <a:lnTo>
                    <a:pt x="4944" y="1930"/>
                  </a:lnTo>
                  <a:lnTo>
                    <a:pt x="4961" y="1930"/>
                  </a:lnTo>
                  <a:lnTo>
                    <a:pt x="4961" y="1914"/>
                  </a:lnTo>
                  <a:lnTo>
                    <a:pt x="4973" y="1914"/>
                  </a:lnTo>
                  <a:lnTo>
                    <a:pt x="5020" y="1892"/>
                  </a:lnTo>
                  <a:lnTo>
                    <a:pt x="5096" y="1921"/>
                  </a:lnTo>
                  <a:lnTo>
                    <a:pt x="5096" y="1930"/>
                  </a:lnTo>
                  <a:lnTo>
                    <a:pt x="5091" y="1947"/>
                  </a:lnTo>
                  <a:lnTo>
                    <a:pt x="5074" y="1930"/>
                  </a:lnTo>
                  <a:lnTo>
                    <a:pt x="5074" y="1954"/>
                  </a:lnTo>
                  <a:lnTo>
                    <a:pt x="5004" y="1970"/>
                  </a:lnTo>
                  <a:lnTo>
                    <a:pt x="4966" y="1992"/>
                  </a:lnTo>
                  <a:lnTo>
                    <a:pt x="4987" y="1992"/>
                  </a:lnTo>
                  <a:lnTo>
                    <a:pt x="4944" y="2013"/>
                  </a:lnTo>
                  <a:lnTo>
                    <a:pt x="4999" y="1992"/>
                  </a:lnTo>
                  <a:lnTo>
                    <a:pt x="4999" y="1987"/>
                  </a:lnTo>
                  <a:lnTo>
                    <a:pt x="5004" y="1975"/>
                  </a:lnTo>
                  <a:lnTo>
                    <a:pt x="5058" y="1970"/>
                  </a:lnTo>
                  <a:lnTo>
                    <a:pt x="5074" y="1975"/>
                  </a:lnTo>
                  <a:lnTo>
                    <a:pt x="5020" y="2013"/>
                  </a:lnTo>
                  <a:lnTo>
                    <a:pt x="4987" y="2013"/>
                  </a:lnTo>
                  <a:lnTo>
                    <a:pt x="4982" y="2041"/>
                  </a:lnTo>
                  <a:lnTo>
                    <a:pt x="4999" y="2013"/>
                  </a:lnTo>
                  <a:lnTo>
                    <a:pt x="5020" y="2025"/>
                  </a:lnTo>
                  <a:lnTo>
                    <a:pt x="5041" y="2003"/>
                  </a:lnTo>
                  <a:lnTo>
                    <a:pt x="5107" y="1975"/>
                  </a:lnTo>
                  <a:lnTo>
                    <a:pt x="5096" y="1970"/>
                  </a:lnTo>
                  <a:lnTo>
                    <a:pt x="5107" y="1954"/>
                  </a:lnTo>
                  <a:lnTo>
                    <a:pt x="5138" y="1959"/>
                  </a:lnTo>
                  <a:lnTo>
                    <a:pt x="5176" y="2003"/>
                  </a:lnTo>
                  <a:lnTo>
                    <a:pt x="5183" y="2025"/>
                  </a:lnTo>
                  <a:lnTo>
                    <a:pt x="5124" y="2025"/>
                  </a:lnTo>
                  <a:lnTo>
                    <a:pt x="5096" y="2041"/>
                  </a:lnTo>
                  <a:lnTo>
                    <a:pt x="4973" y="2058"/>
                  </a:lnTo>
                  <a:lnTo>
                    <a:pt x="5025" y="2058"/>
                  </a:lnTo>
                  <a:lnTo>
                    <a:pt x="5074" y="2048"/>
                  </a:lnTo>
                  <a:lnTo>
                    <a:pt x="5124" y="2065"/>
                  </a:lnTo>
                  <a:lnTo>
                    <a:pt x="5176" y="2065"/>
                  </a:lnTo>
                  <a:lnTo>
                    <a:pt x="5204" y="2081"/>
                  </a:lnTo>
                  <a:lnTo>
                    <a:pt x="5214" y="2098"/>
                  </a:lnTo>
                  <a:lnTo>
                    <a:pt x="5204" y="2103"/>
                  </a:lnTo>
                  <a:lnTo>
                    <a:pt x="5053" y="2070"/>
                  </a:lnTo>
                  <a:lnTo>
                    <a:pt x="5025" y="2086"/>
                  </a:lnTo>
                  <a:lnTo>
                    <a:pt x="5053" y="2081"/>
                  </a:lnTo>
                  <a:lnTo>
                    <a:pt x="5112" y="2098"/>
                  </a:lnTo>
                  <a:lnTo>
                    <a:pt x="5053" y="2098"/>
                  </a:lnTo>
                  <a:lnTo>
                    <a:pt x="5079" y="2098"/>
                  </a:lnTo>
                  <a:lnTo>
                    <a:pt x="5053" y="2115"/>
                  </a:lnTo>
                  <a:lnTo>
                    <a:pt x="5053" y="2124"/>
                  </a:lnTo>
                  <a:lnTo>
                    <a:pt x="5058" y="2115"/>
                  </a:lnTo>
                  <a:lnTo>
                    <a:pt x="5107" y="2103"/>
                  </a:lnTo>
                  <a:lnTo>
                    <a:pt x="5138" y="2119"/>
                  </a:lnTo>
                  <a:lnTo>
                    <a:pt x="5079" y="2124"/>
                  </a:lnTo>
                  <a:lnTo>
                    <a:pt x="5112" y="2124"/>
                  </a:lnTo>
                  <a:lnTo>
                    <a:pt x="5124" y="2136"/>
                  </a:lnTo>
                  <a:lnTo>
                    <a:pt x="5079" y="2136"/>
                  </a:lnTo>
                  <a:lnTo>
                    <a:pt x="5138" y="2152"/>
                  </a:lnTo>
                  <a:lnTo>
                    <a:pt x="5020" y="2136"/>
                  </a:lnTo>
                  <a:lnTo>
                    <a:pt x="5112" y="2157"/>
                  </a:lnTo>
                  <a:lnTo>
                    <a:pt x="5058" y="2169"/>
                  </a:lnTo>
                  <a:lnTo>
                    <a:pt x="5091" y="2169"/>
                  </a:lnTo>
                  <a:lnTo>
                    <a:pt x="5070" y="2176"/>
                  </a:lnTo>
                  <a:lnTo>
                    <a:pt x="5150" y="2176"/>
                  </a:lnTo>
                  <a:lnTo>
                    <a:pt x="5145" y="2181"/>
                  </a:lnTo>
                  <a:lnTo>
                    <a:pt x="5145" y="2197"/>
                  </a:lnTo>
                  <a:lnTo>
                    <a:pt x="5162" y="2181"/>
                  </a:lnTo>
                  <a:lnTo>
                    <a:pt x="5176" y="2192"/>
                  </a:lnTo>
                  <a:lnTo>
                    <a:pt x="5167" y="2192"/>
                  </a:lnTo>
                  <a:lnTo>
                    <a:pt x="5183" y="2192"/>
                  </a:lnTo>
                  <a:lnTo>
                    <a:pt x="5183" y="2181"/>
                  </a:lnTo>
                  <a:lnTo>
                    <a:pt x="5214" y="2192"/>
                  </a:lnTo>
                  <a:lnTo>
                    <a:pt x="5192" y="2197"/>
                  </a:lnTo>
                  <a:lnTo>
                    <a:pt x="5138" y="2209"/>
                  </a:lnTo>
                  <a:lnTo>
                    <a:pt x="5129" y="2214"/>
                  </a:lnTo>
                  <a:lnTo>
                    <a:pt x="5145" y="2209"/>
                  </a:lnTo>
                  <a:lnTo>
                    <a:pt x="5150" y="2214"/>
                  </a:lnTo>
                  <a:lnTo>
                    <a:pt x="5145" y="2214"/>
                  </a:lnTo>
                  <a:lnTo>
                    <a:pt x="5150" y="2214"/>
                  </a:lnTo>
                  <a:lnTo>
                    <a:pt x="5176" y="2197"/>
                  </a:lnTo>
                  <a:lnTo>
                    <a:pt x="5192" y="2209"/>
                  </a:lnTo>
                  <a:lnTo>
                    <a:pt x="5176" y="2209"/>
                  </a:lnTo>
                  <a:lnTo>
                    <a:pt x="5162" y="2230"/>
                  </a:lnTo>
                  <a:lnTo>
                    <a:pt x="5145" y="2226"/>
                  </a:lnTo>
                  <a:lnTo>
                    <a:pt x="5162" y="2230"/>
                  </a:lnTo>
                  <a:lnTo>
                    <a:pt x="5167" y="2214"/>
                  </a:lnTo>
                  <a:lnTo>
                    <a:pt x="5192" y="2209"/>
                  </a:lnTo>
                  <a:lnTo>
                    <a:pt x="5204" y="2214"/>
                  </a:lnTo>
                  <a:lnTo>
                    <a:pt x="5192" y="2247"/>
                  </a:lnTo>
                  <a:lnTo>
                    <a:pt x="5214" y="2230"/>
                  </a:lnTo>
                  <a:lnTo>
                    <a:pt x="5214" y="2247"/>
                  </a:lnTo>
                  <a:lnTo>
                    <a:pt x="5221" y="2230"/>
                  </a:lnTo>
                  <a:lnTo>
                    <a:pt x="5237" y="2230"/>
                  </a:lnTo>
                  <a:lnTo>
                    <a:pt x="5230" y="2235"/>
                  </a:lnTo>
                  <a:lnTo>
                    <a:pt x="5247" y="2247"/>
                  </a:lnTo>
                  <a:lnTo>
                    <a:pt x="5230" y="2263"/>
                  </a:lnTo>
                  <a:lnTo>
                    <a:pt x="5204" y="2263"/>
                  </a:lnTo>
                  <a:lnTo>
                    <a:pt x="5237" y="2268"/>
                  </a:lnTo>
                  <a:lnTo>
                    <a:pt x="5237" y="2252"/>
                  </a:lnTo>
                  <a:lnTo>
                    <a:pt x="5268" y="2235"/>
                  </a:lnTo>
                  <a:lnTo>
                    <a:pt x="5268" y="2226"/>
                  </a:lnTo>
                  <a:lnTo>
                    <a:pt x="5268" y="2235"/>
                  </a:lnTo>
                  <a:lnTo>
                    <a:pt x="5259" y="2252"/>
                  </a:lnTo>
                  <a:lnTo>
                    <a:pt x="5259" y="2263"/>
                  </a:lnTo>
                  <a:lnTo>
                    <a:pt x="5259" y="2292"/>
                  </a:lnTo>
                  <a:lnTo>
                    <a:pt x="5259" y="2268"/>
                  </a:lnTo>
                  <a:lnTo>
                    <a:pt x="5275" y="2252"/>
                  </a:lnTo>
                  <a:lnTo>
                    <a:pt x="5275" y="2247"/>
                  </a:lnTo>
                  <a:lnTo>
                    <a:pt x="5301" y="2247"/>
                  </a:lnTo>
                  <a:lnTo>
                    <a:pt x="5285" y="2268"/>
                  </a:lnTo>
                  <a:lnTo>
                    <a:pt x="5306" y="2292"/>
                  </a:lnTo>
                  <a:lnTo>
                    <a:pt x="5306" y="2285"/>
                  </a:lnTo>
                  <a:lnTo>
                    <a:pt x="5289" y="2268"/>
                  </a:lnTo>
                  <a:lnTo>
                    <a:pt x="5301" y="2252"/>
                  </a:lnTo>
                  <a:lnTo>
                    <a:pt x="5327" y="2235"/>
                  </a:lnTo>
                  <a:lnTo>
                    <a:pt x="5355" y="2247"/>
                  </a:lnTo>
                  <a:lnTo>
                    <a:pt x="5327" y="2263"/>
                  </a:lnTo>
                  <a:lnTo>
                    <a:pt x="5327" y="2268"/>
                  </a:lnTo>
                  <a:lnTo>
                    <a:pt x="5313" y="2285"/>
                  </a:lnTo>
                  <a:lnTo>
                    <a:pt x="5339" y="2268"/>
                  </a:lnTo>
                  <a:lnTo>
                    <a:pt x="5344" y="2268"/>
                  </a:lnTo>
                  <a:lnTo>
                    <a:pt x="5344" y="2285"/>
                  </a:lnTo>
                  <a:lnTo>
                    <a:pt x="5344" y="2268"/>
                  </a:lnTo>
                  <a:lnTo>
                    <a:pt x="5365" y="2268"/>
                  </a:lnTo>
                  <a:lnTo>
                    <a:pt x="5377" y="2280"/>
                  </a:lnTo>
                  <a:lnTo>
                    <a:pt x="5355" y="2285"/>
                  </a:lnTo>
                  <a:lnTo>
                    <a:pt x="5377" y="2280"/>
                  </a:lnTo>
                  <a:lnTo>
                    <a:pt x="5398" y="2303"/>
                  </a:lnTo>
                  <a:lnTo>
                    <a:pt x="5365" y="2308"/>
                  </a:lnTo>
                  <a:lnTo>
                    <a:pt x="5398" y="2308"/>
                  </a:lnTo>
                  <a:lnTo>
                    <a:pt x="5410" y="2337"/>
                  </a:lnTo>
                  <a:lnTo>
                    <a:pt x="5344" y="2325"/>
                  </a:lnTo>
                  <a:lnTo>
                    <a:pt x="5381" y="2337"/>
                  </a:lnTo>
                  <a:lnTo>
                    <a:pt x="5344" y="2341"/>
                  </a:lnTo>
                  <a:lnTo>
                    <a:pt x="5398" y="2337"/>
                  </a:lnTo>
                  <a:lnTo>
                    <a:pt x="5360" y="2346"/>
                  </a:lnTo>
                  <a:lnTo>
                    <a:pt x="5355" y="2363"/>
                  </a:lnTo>
                  <a:lnTo>
                    <a:pt x="5365" y="2346"/>
                  </a:lnTo>
                  <a:lnTo>
                    <a:pt x="5436" y="2341"/>
                  </a:lnTo>
                  <a:lnTo>
                    <a:pt x="5415" y="2374"/>
                  </a:lnTo>
                  <a:lnTo>
                    <a:pt x="5448" y="2346"/>
                  </a:lnTo>
                  <a:lnTo>
                    <a:pt x="5448" y="2337"/>
                  </a:lnTo>
                  <a:lnTo>
                    <a:pt x="5462" y="2325"/>
                  </a:lnTo>
                  <a:lnTo>
                    <a:pt x="5474" y="2341"/>
                  </a:lnTo>
                  <a:lnTo>
                    <a:pt x="5452" y="2358"/>
                  </a:lnTo>
                  <a:lnTo>
                    <a:pt x="5452" y="2374"/>
                  </a:lnTo>
                  <a:lnTo>
                    <a:pt x="5415" y="2391"/>
                  </a:lnTo>
                  <a:lnTo>
                    <a:pt x="5436" y="2391"/>
                  </a:lnTo>
                  <a:lnTo>
                    <a:pt x="5436" y="2379"/>
                  </a:lnTo>
                  <a:lnTo>
                    <a:pt x="5436" y="2403"/>
                  </a:lnTo>
                  <a:lnTo>
                    <a:pt x="5452" y="2379"/>
                  </a:lnTo>
                  <a:lnTo>
                    <a:pt x="5485" y="2374"/>
                  </a:lnTo>
                  <a:lnTo>
                    <a:pt x="5474" y="2412"/>
                  </a:lnTo>
                  <a:lnTo>
                    <a:pt x="5490" y="2396"/>
                  </a:lnTo>
                  <a:lnTo>
                    <a:pt x="5490" y="2374"/>
                  </a:lnTo>
                  <a:lnTo>
                    <a:pt x="5500" y="2374"/>
                  </a:lnTo>
                  <a:lnTo>
                    <a:pt x="5523" y="2403"/>
                  </a:lnTo>
                  <a:lnTo>
                    <a:pt x="5507" y="2379"/>
                  </a:lnTo>
                  <a:lnTo>
                    <a:pt x="5528" y="2363"/>
                  </a:lnTo>
                  <a:lnTo>
                    <a:pt x="5537" y="2363"/>
                  </a:lnTo>
                  <a:lnTo>
                    <a:pt x="5528" y="2379"/>
                  </a:lnTo>
                  <a:lnTo>
                    <a:pt x="5561" y="2374"/>
                  </a:lnTo>
                  <a:lnTo>
                    <a:pt x="5592" y="2412"/>
                  </a:lnTo>
                  <a:lnTo>
                    <a:pt x="5575" y="2419"/>
                  </a:lnTo>
                  <a:lnTo>
                    <a:pt x="5544" y="2403"/>
                  </a:lnTo>
                  <a:lnTo>
                    <a:pt x="5528" y="2412"/>
                  </a:lnTo>
                  <a:lnTo>
                    <a:pt x="5554" y="2412"/>
                  </a:lnTo>
                  <a:lnTo>
                    <a:pt x="5570" y="2429"/>
                  </a:lnTo>
                  <a:lnTo>
                    <a:pt x="5544" y="2436"/>
                  </a:lnTo>
                  <a:lnTo>
                    <a:pt x="5575" y="2448"/>
                  </a:lnTo>
                  <a:lnTo>
                    <a:pt x="5544" y="2452"/>
                  </a:lnTo>
                  <a:lnTo>
                    <a:pt x="5507" y="2436"/>
                  </a:lnTo>
                  <a:lnTo>
                    <a:pt x="5490" y="2436"/>
                  </a:lnTo>
                  <a:lnTo>
                    <a:pt x="5516" y="2452"/>
                  </a:lnTo>
                  <a:lnTo>
                    <a:pt x="5490" y="2457"/>
                  </a:lnTo>
                  <a:lnTo>
                    <a:pt x="5474" y="2452"/>
                  </a:lnTo>
                  <a:lnTo>
                    <a:pt x="5490" y="2469"/>
                  </a:lnTo>
                  <a:lnTo>
                    <a:pt x="5528" y="2469"/>
                  </a:lnTo>
                  <a:lnTo>
                    <a:pt x="5544" y="2485"/>
                  </a:lnTo>
                  <a:lnTo>
                    <a:pt x="5485" y="2485"/>
                  </a:lnTo>
                  <a:lnTo>
                    <a:pt x="5474" y="2469"/>
                  </a:lnTo>
                  <a:lnTo>
                    <a:pt x="5469" y="2474"/>
                  </a:lnTo>
                  <a:lnTo>
                    <a:pt x="5516" y="2490"/>
                  </a:lnTo>
                  <a:lnTo>
                    <a:pt x="5516" y="2507"/>
                  </a:lnTo>
                  <a:lnTo>
                    <a:pt x="5500" y="2507"/>
                  </a:lnTo>
                  <a:lnTo>
                    <a:pt x="5474" y="2502"/>
                  </a:lnTo>
                  <a:lnTo>
                    <a:pt x="5500" y="2514"/>
                  </a:lnTo>
                  <a:lnTo>
                    <a:pt x="5485" y="2514"/>
                  </a:lnTo>
                  <a:lnTo>
                    <a:pt x="5500" y="2523"/>
                  </a:lnTo>
                  <a:lnTo>
                    <a:pt x="5490" y="2540"/>
                  </a:lnTo>
                  <a:lnTo>
                    <a:pt x="5485" y="2540"/>
                  </a:lnTo>
                  <a:lnTo>
                    <a:pt x="5474" y="2514"/>
                  </a:lnTo>
                  <a:lnTo>
                    <a:pt x="5474" y="2530"/>
                  </a:lnTo>
                  <a:lnTo>
                    <a:pt x="5474" y="2540"/>
                  </a:lnTo>
                  <a:lnTo>
                    <a:pt x="5452" y="2530"/>
                  </a:lnTo>
                  <a:lnTo>
                    <a:pt x="5436" y="2507"/>
                  </a:lnTo>
                  <a:lnTo>
                    <a:pt x="5448" y="2530"/>
                  </a:lnTo>
                  <a:lnTo>
                    <a:pt x="5419" y="2523"/>
                  </a:lnTo>
                  <a:lnTo>
                    <a:pt x="5448" y="2540"/>
                  </a:lnTo>
                  <a:lnTo>
                    <a:pt x="5431" y="2540"/>
                  </a:lnTo>
                  <a:lnTo>
                    <a:pt x="5452" y="2556"/>
                  </a:lnTo>
                  <a:lnTo>
                    <a:pt x="5419" y="2547"/>
                  </a:lnTo>
                  <a:lnTo>
                    <a:pt x="5448" y="2568"/>
                  </a:lnTo>
                  <a:lnTo>
                    <a:pt x="5436" y="2585"/>
                  </a:lnTo>
                  <a:lnTo>
                    <a:pt x="5448" y="2596"/>
                  </a:lnTo>
                  <a:lnTo>
                    <a:pt x="5431" y="2618"/>
                  </a:lnTo>
                  <a:lnTo>
                    <a:pt x="5415" y="2613"/>
                  </a:lnTo>
                  <a:lnTo>
                    <a:pt x="5419" y="2601"/>
                  </a:lnTo>
                  <a:lnTo>
                    <a:pt x="5410" y="2596"/>
                  </a:lnTo>
                  <a:lnTo>
                    <a:pt x="5393" y="2601"/>
                  </a:lnTo>
                  <a:lnTo>
                    <a:pt x="5381" y="2596"/>
                  </a:lnTo>
                  <a:lnTo>
                    <a:pt x="5393" y="2585"/>
                  </a:lnTo>
                  <a:lnTo>
                    <a:pt x="5377" y="2585"/>
                  </a:lnTo>
                  <a:lnTo>
                    <a:pt x="5377" y="2568"/>
                  </a:lnTo>
                  <a:lnTo>
                    <a:pt x="5381" y="2556"/>
                  </a:lnTo>
                  <a:lnTo>
                    <a:pt x="5365" y="2568"/>
                  </a:lnTo>
                  <a:lnTo>
                    <a:pt x="5360" y="2596"/>
                  </a:lnTo>
                  <a:lnTo>
                    <a:pt x="5339" y="2568"/>
                  </a:lnTo>
                  <a:lnTo>
                    <a:pt x="5355" y="2563"/>
                  </a:lnTo>
                  <a:lnTo>
                    <a:pt x="5339" y="2563"/>
                  </a:lnTo>
                  <a:lnTo>
                    <a:pt x="5365" y="2547"/>
                  </a:lnTo>
                  <a:lnTo>
                    <a:pt x="5327" y="2563"/>
                  </a:lnTo>
                  <a:lnTo>
                    <a:pt x="5322" y="2556"/>
                  </a:lnTo>
                  <a:lnTo>
                    <a:pt x="5355" y="2530"/>
                  </a:lnTo>
                  <a:lnTo>
                    <a:pt x="5327" y="2540"/>
                  </a:lnTo>
                  <a:lnTo>
                    <a:pt x="5306" y="2540"/>
                  </a:lnTo>
                  <a:lnTo>
                    <a:pt x="5344" y="2523"/>
                  </a:lnTo>
                  <a:lnTo>
                    <a:pt x="5322" y="2530"/>
                  </a:lnTo>
                  <a:lnTo>
                    <a:pt x="5289" y="2514"/>
                  </a:lnTo>
                  <a:lnTo>
                    <a:pt x="5306" y="2502"/>
                  </a:lnTo>
                  <a:lnTo>
                    <a:pt x="5355" y="2490"/>
                  </a:lnTo>
                  <a:lnTo>
                    <a:pt x="5344" y="2485"/>
                  </a:lnTo>
                  <a:lnTo>
                    <a:pt x="5355" y="2457"/>
                  </a:lnTo>
                  <a:lnTo>
                    <a:pt x="5377" y="2448"/>
                  </a:lnTo>
                  <a:lnTo>
                    <a:pt x="5355" y="2452"/>
                  </a:lnTo>
                  <a:lnTo>
                    <a:pt x="5339" y="2474"/>
                  </a:lnTo>
                  <a:lnTo>
                    <a:pt x="5268" y="2490"/>
                  </a:lnTo>
                  <a:lnTo>
                    <a:pt x="5259" y="2485"/>
                  </a:lnTo>
                  <a:lnTo>
                    <a:pt x="5285" y="2469"/>
                  </a:lnTo>
                  <a:lnTo>
                    <a:pt x="5301" y="2448"/>
                  </a:lnTo>
                  <a:lnTo>
                    <a:pt x="5285" y="2469"/>
                  </a:lnTo>
                  <a:lnTo>
                    <a:pt x="5252" y="2474"/>
                  </a:lnTo>
                  <a:lnTo>
                    <a:pt x="5247" y="2457"/>
                  </a:lnTo>
                  <a:lnTo>
                    <a:pt x="5221" y="2457"/>
                  </a:lnTo>
                  <a:lnTo>
                    <a:pt x="5221" y="2448"/>
                  </a:lnTo>
                  <a:lnTo>
                    <a:pt x="5230" y="2436"/>
                  </a:lnTo>
                  <a:lnTo>
                    <a:pt x="5204" y="2448"/>
                  </a:lnTo>
                  <a:lnTo>
                    <a:pt x="5200" y="2419"/>
                  </a:lnTo>
                  <a:lnTo>
                    <a:pt x="5183" y="2412"/>
                  </a:lnTo>
                  <a:lnTo>
                    <a:pt x="5200" y="2419"/>
                  </a:lnTo>
                  <a:lnTo>
                    <a:pt x="5183" y="2429"/>
                  </a:lnTo>
                  <a:lnTo>
                    <a:pt x="5167" y="2419"/>
                  </a:lnTo>
                  <a:lnTo>
                    <a:pt x="5138" y="2419"/>
                  </a:lnTo>
                  <a:lnTo>
                    <a:pt x="5183" y="2436"/>
                  </a:lnTo>
                  <a:lnTo>
                    <a:pt x="5176" y="2448"/>
                  </a:lnTo>
                  <a:lnTo>
                    <a:pt x="5162" y="2436"/>
                  </a:lnTo>
                  <a:lnTo>
                    <a:pt x="5183" y="2452"/>
                  </a:lnTo>
                  <a:lnTo>
                    <a:pt x="5167" y="2452"/>
                  </a:lnTo>
                  <a:lnTo>
                    <a:pt x="5124" y="2429"/>
                  </a:lnTo>
                  <a:lnTo>
                    <a:pt x="5145" y="2457"/>
                  </a:lnTo>
                  <a:lnTo>
                    <a:pt x="5176" y="2485"/>
                  </a:lnTo>
                  <a:lnTo>
                    <a:pt x="5176" y="2490"/>
                  </a:lnTo>
                  <a:lnTo>
                    <a:pt x="5176" y="2502"/>
                  </a:lnTo>
                  <a:lnTo>
                    <a:pt x="5129" y="2502"/>
                  </a:lnTo>
                  <a:lnTo>
                    <a:pt x="5107" y="2469"/>
                  </a:lnTo>
                  <a:lnTo>
                    <a:pt x="5058" y="2469"/>
                  </a:lnTo>
                  <a:lnTo>
                    <a:pt x="5112" y="2485"/>
                  </a:lnTo>
                  <a:lnTo>
                    <a:pt x="5112" y="2490"/>
                  </a:lnTo>
                  <a:lnTo>
                    <a:pt x="5096" y="2485"/>
                  </a:lnTo>
                  <a:lnTo>
                    <a:pt x="5096" y="2502"/>
                  </a:lnTo>
                  <a:lnTo>
                    <a:pt x="5112" y="2502"/>
                  </a:lnTo>
                  <a:lnTo>
                    <a:pt x="5107" y="2514"/>
                  </a:lnTo>
                  <a:lnTo>
                    <a:pt x="5129" y="2514"/>
                  </a:lnTo>
                  <a:lnTo>
                    <a:pt x="5112" y="2540"/>
                  </a:lnTo>
                  <a:lnTo>
                    <a:pt x="5124" y="2540"/>
                  </a:lnTo>
                  <a:lnTo>
                    <a:pt x="5124" y="2547"/>
                  </a:lnTo>
                  <a:lnTo>
                    <a:pt x="5138" y="2530"/>
                  </a:lnTo>
                  <a:lnTo>
                    <a:pt x="5167" y="2530"/>
                  </a:lnTo>
                  <a:lnTo>
                    <a:pt x="5162" y="2547"/>
                  </a:lnTo>
                  <a:lnTo>
                    <a:pt x="5183" y="2556"/>
                  </a:lnTo>
                  <a:lnTo>
                    <a:pt x="5162" y="2563"/>
                  </a:lnTo>
                  <a:lnTo>
                    <a:pt x="5200" y="2580"/>
                  </a:lnTo>
                  <a:lnTo>
                    <a:pt x="5192" y="2596"/>
                  </a:lnTo>
                  <a:lnTo>
                    <a:pt x="5183" y="2601"/>
                  </a:lnTo>
                  <a:lnTo>
                    <a:pt x="5204" y="2585"/>
                  </a:lnTo>
                  <a:lnTo>
                    <a:pt x="5204" y="2601"/>
                  </a:lnTo>
                  <a:lnTo>
                    <a:pt x="5214" y="2634"/>
                  </a:lnTo>
                  <a:lnTo>
                    <a:pt x="5214" y="2601"/>
                  </a:lnTo>
                  <a:lnTo>
                    <a:pt x="5252" y="2618"/>
                  </a:lnTo>
                  <a:lnTo>
                    <a:pt x="5247" y="2641"/>
                  </a:lnTo>
                  <a:lnTo>
                    <a:pt x="5259" y="2625"/>
                  </a:lnTo>
                  <a:lnTo>
                    <a:pt x="5259" y="2641"/>
                  </a:lnTo>
                  <a:lnTo>
                    <a:pt x="5268" y="2641"/>
                  </a:lnTo>
                  <a:lnTo>
                    <a:pt x="5259" y="2618"/>
                  </a:lnTo>
                  <a:lnTo>
                    <a:pt x="5285" y="2625"/>
                  </a:lnTo>
                  <a:lnTo>
                    <a:pt x="5285" y="2641"/>
                  </a:lnTo>
                  <a:lnTo>
                    <a:pt x="5285" y="2634"/>
                  </a:lnTo>
                  <a:lnTo>
                    <a:pt x="5289" y="2641"/>
                  </a:lnTo>
                  <a:lnTo>
                    <a:pt x="5285" y="2667"/>
                  </a:lnTo>
                  <a:lnTo>
                    <a:pt x="5313" y="2658"/>
                  </a:lnTo>
                  <a:lnTo>
                    <a:pt x="5322" y="2674"/>
                  </a:lnTo>
                  <a:lnTo>
                    <a:pt x="5313" y="2691"/>
                  </a:lnTo>
                  <a:lnTo>
                    <a:pt x="5285" y="2691"/>
                  </a:lnTo>
                  <a:lnTo>
                    <a:pt x="5301" y="2691"/>
                  </a:lnTo>
                  <a:lnTo>
                    <a:pt x="5327" y="2712"/>
                  </a:lnTo>
                  <a:lnTo>
                    <a:pt x="5313" y="2724"/>
                  </a:lnTo>
                  <a:lnTo>
                    <a:pt x="5355" y="2724"/>
                  </a:lnTo>
                  <a:lnTo>
                    <a:pt x="5327" y="2745"/>
                  </a:lnTo>
                  <a:lnTo>
                    <a:pt x="5360" y="2762"/>
                  </a:lnTo>
                  <a:lnTo>
                    <a:pt x="5365" y="2802"/>
                  </a:lnTo>
                  <a:lnTo>
                    <a:pt x="5360" y="2802"/>
                  </a:lnTo>
                  <a:lnTo>
                    <a:pt x="5365" y="2802"/>
                  </a:lnTo>
                  <a:lnTo>
                    <a:pt x="5360" y="2807"/>
                  </a:lnTo>
                  <a:lnTo>
                    <a:pt x="5344" y="2802"/>
                  </a:lnTo>
                  <a:lnTo>
                    <a:pt x="5339" y="2762"/>
                  </a:lnTo>
                  <a:lnTo>
                    <a:pt x="5306" y="2745"/>
                  </a:lnTo>
                  <a:lnTo>
                    <a:pt x="5327" y="2762"/>
                  </a:lnTo>
                  <a:lnTo>
                    <a:pt x="5322" y="2778"/>
                  </a:lnTo>
                  <a:lnTo>
                    <a:pt x="5339" y="2807"/>
                  </a:lnTo>
                  <a:lnTo>
                    <a:pt x="5322" y="2802"/>
                  </a:lnTo>
                  <a:lnTo>
                    <a:pt x="5327" y="2818"/>
                  </a:lnTo>
                  <a:lnTo>
                    <a:pt x="5344" y="2823"/>
                  </a:lnTo>
                  <a:lnTo>
                    <a:pt x="5344" y="2840"/>
                  </a:lnTo>
                  <a:lnTo>
                    <a:pt x="5355" y="2847"/>
                  </a:lnTo>
                  <a:lnTo>
                    <a:pt x="5339" y="2847"/>
                  </a:lnTo>
                  <a:lnTo>
                    <a:pt x="5313" y="2840"/>
                  </a:lnTo>
                  <a:lnTo>
                    <a:pt x="5339" y="2873"/>
                  </a:lnTo>
                  <a:lnTo>
                    <a:pt x="5313" y="2889"/>
                  </a:lnTo>
                  <a:lnTo>
                    <a:pt x="5313" y="2873"/>
                  </a:lnTo>
                  <a:lnTo>
                    <a:pt x="5306" y="2873"/>
                  </a:lnTo>
                  <a:lnTo>
                    <a:pt x="5306" y="2856"/>
                  </a:lnTo>
                  <a:lnTo>
                    <a:pt x="5289" y="2856"/>
                  </a:lnTo>
                  <a:lnTo>
                    <a:pt x="5268" y="2847"/>
                  </a:lnTo>
                  <a:lnTo>
                    <a:pt x="5268" y="2835"/>
                  </a:lnTo>
                  <a:lnTo>
                    <a:pt x="5259" y="2840"/>
                  </a:lnTo>
                  <a:lnTo>
                    <a:pt x="5237" y="2823"/>
                  </a:lnTo>
                  <a:lnTo>
                    <a:pt x="5252" y="2840"/>
                  </a:lnTo>
                  <a:lnTo>
                    <a:pt x="5230" y="2835"/>
                  </a:lnTo>
                  <a:lnTo>
                    <a:pt x="5214" y="2790"/>
                  </a:lnTo>
                  <a:lnTo>
                    <a:pt x="5204" y="2802"/>
                  </a:lnTo>
                  <a:lnTo>
                    <a:pt x="5221" y="2818"/>
                  </a:lnTo>
                  <a:lnTo>
                    <a:pt x="5221" y="2840"/>
                  </a:lnTo>
                  <a:lnTo>
                    <a:pt x="5204" y="2823"/>
                  </a:lnTo>
                  <a:lnTo>
                    <a:pt x="5204" y="2807"/>
                  </a:lnTo>
                  <a:lnTo>
                    <a:pt x="5200" y="2818"/>
                  </a:lnTo>
                  <a:lnTo>
                    <a:pt x="5192" y="2807"/>
                  </a:lnTo>
                  <a:lnTo>
                    <a:pt x="5192" y="2790"/>
                  </a:lnTo>
                  <a:lnTo>
                    <a:pt x="5192" y="2802"/>
                  </a:lnTo>
                  <a:lnTo>
                    <a:pt x="5176" y="2807"/>
                  </a:lnTo>
                  <a:lnTo>
                    <a:pt x="5129" y="2752"/>
                  </a:lnTo>
                  <a:lnTo>
                    <a:pt x="5145" y="2790"/>
                  </a:lnTo>
                  <a:lnTo>
                    <a:pt x="5079" y="2752"/>
                  </a:lnTo>
                  <a:lnTo>
                    <a:pt x="5053" y="2752"/>
                  </a:lnTo>
                  <a:lnTo>
                    <a:pt x="5107" y="2818"/>
                  </a:lnTo>
                  <a:lnTo>
                    <a:pt x="5145" y="2823"/>
                  </a:lnTo>
                  <a:lnTo>
                    <a:pt x="5138" y="2835"/>
                  </a:lnTo>
                  <a:lnTo>
                    <a:pt x="5138" y="2840"/>
                  </a:lnTo>
                  <a:lnTo>
                    <a:pt x="5150" y="2835"/>
                  </a:lnTo>
                  <a:lnTo>
                    <a:pt x="5145" y="2847"/>
                  </a:lnTo>
                  <a:lnTo>
                    <a:pt x="5162" y="2840"/>
                  </a:lnTo>
                  <a:lnTo>
                    <a:pt x="5192" y="2873"/>
                  </a:lnTo>
                  <a:lnTo>
                    <a:pt x="5204" y="2873"/>
                  </a:lnTo>
                  <a:lnTo>
                    <a:pt x="5204" y="2880"/>
                  </a:lnTo>
                  <a:lnTo>
                    <a:pt x="5237" y="2896"/>
                  </a:lnTo>
                  <a:lnTo>
                    <a:pt x="5237" y="2901"/>
                  </a:lnTo>
                  <a:lnTo>
                    <a:pt x="5230" y="2913"/>
                  </a:lnTo>
                  <a:lnTo>
                    <a:pt x="5237" y="2918"/>
                  </a:lnTo>
                  <a:lnTo>
                    <a:pt x="5237" y="2913"/>
                  </a:lnTo>
                  <a:lnTo>
                    <a:pt x="5247" y="2913"/>
                  </a:lnTo>
                  <a:lnTo>
                    <a:pt x="5247" y="2918"/>
                  </a:lnTo>
                  <a:lnTo>
                    <a:pt x="5268" y="2929"/>
                  </a:lnTo>
                  <a:lnTo>
                    <a:pt x="5252" y="2934"/>
                  </a:lnTo>
                  <a:lnTo>
                    <a:pt x="5259" y="2955"/>
                  </a:lnTo>
                  <a:lnTo>
                    <a:pt x="5230" y="2955"/>
                  </a:lnTo>
                  <a:lnTo>
                    <a:pt x="5204" y="2946"/>
                  </a:lnTo>
                  <a:lnTo>
                    <a:pt x="5041" y="2901"/>
                  </a:lnTo>
                  <a:lnTo>
                    <a:pt x="5004" y="2873"/>
                  </a:lnTo>
                  <a:lnTo>
                    <a:pt x="5015" y="2863"/>
                  </a:lnTo>
                  <a:lnTo>
                    <a:pt x="4966" y="2863"/>
                  </a:lnTo>
                  <a:lnTo>
                    <a:pt x="4897" y="2840"/>
                  </a:lnTo>
                  <a:lnTo>
                    <a:pt x="4918" y="2823"/>
                  </a:lnTo>
                  <a:lnTo>
                    <a:pt x="4911" y="2818"/>
                  </a:lnTo>
                  <a:lnTo>
                    <a:pt x="4890" y="2835"/>
                  </a:lnTo>
                  <a:lnTo>
                    <a:pt x="4864" y="2818"/>
                  </a:lnTo>
                  <a:lnTo>
                    <a:pt x="4852" y="2790"/>
                  </a:lnTo>
                  <a:lnTo>
                    <a:pt x="4826" y="2785"/>
                  </a:lnTo>
                  <a:lnTo>
                    <a:pt x="4864" y="2785"/>
                  </a:lnTo>
                  <a:lnTo>
                    <a:pt x="4890" y="2769"/>
                  </a:lnTo>
                  <a:lnTo>
                    <a:pt x="4864" y="2769"/>
                  </a:lnTo>
                  <a:lnTo>
                    <a:pt x="4864" y="2752"/>
                  </a:lnTo>
                  <a:lnTo>
                    <a:pt x="4843" y="2745"/>
                  </a:lnTo>
                  <a:lnTo>
                    <a:pt x="4836" y="2752"/>
                  </a:lnTo>
                  <a:lnTo>
                    <a:pt x="4852" y="2752"/>
                  </a:lnTo>
                  <a:lnTo>
                    <a:pt x="4843" y="2762"/>
                  </a:lnTo>
                  <a:lnTo>
                    <a:pt x="4826" y="2752"/>
                  </a:lnTo>
                  <a:lnTo>
                    <a:pt x="4810" y="2762"/>
                  </a:lnTo>
                  <a:lnTo>
                    <a:pt x="4810" y="2752"/>
                  </a:lnTo>
                  <a:lnTo>
                    <a:pt x="4822" y="2736"/>
                  </a:lnTo>
                  <a:lnTo>
                    <a:pt x="4822" y="2729"/>
                  </a:lnTo>
                  <a:lnTo>
                    <a:pt x="4810" y="2745"/>
                  </a:lnTo>
                  <a:lnTo>
                    <a:pt x="4805" y="2745"/>
                  </a:lnTo>
                  <a:lnTo>
                    <a:pt x="4798" y="2736"/>
                  </a:lnTo>
                  <a:lnTo>
                    <a:pt x="4798" y="2724"/>
                  </a:lnTo>
                  <a:lnTo>
                    <a:pt x="4789" y="2712"/>
                  </a:lnTo>
                  <a:lnTo>
                    <a:pt x="4789" y="2729"/>
                  </a:lnTo>
                  <a:lnTo>
                    <a:pt x="4772" y="2712"/>
                  </a:lnTo>
                  <a:lnTo>
                    <a:pt x="4784" y="2712"/>
                  </a:lnTo>
                  <a:lnTo>
                    <a:pt x="4772" y="2707"/>
                  </a:lnTo>
                  <a:lnTo>
                    <a:pt x="4751" y="2691"/>
                  </a:lnTo>
                  <a:lnTo>
                    <a:pt x="4746" y="2691"/>
                  </a:lnTo>
                  <a:lnTo>
                    <a:pt x="4746" y="2674"/>
                  </a:lnTo>
                  <a:lnTo>
                    <a:pt x="4755" y="2658"/>
                  </a:lnTo>
                  <a:lnTo>
                    <a:pt x="4751" y="2641"/>
                  </a:lnTo>
                  <a:lnTo>
                    <a:pt x="4751" y="2658"/>
                  </a:lnTo>
                  <a:lnTo>
                    <a:pt x="4734" y="2667"/>
                  </a:lnTo>
                  <a:lnTo>
                    <a:pt x="4734" y="2651"/>
                  </a:lnTo>
                  <a:lnTo>
                    <a:pt x="4718" y="2651"/>
                  </a:lnTo>
                  <a:lnTo>
                    <a:pt x="4718" y="2658"/>
                  </a:lnTo>
                  <a:lnTo>
                    <a:pt x="4701" y="2651"/>
                  </a:lnTo>
                  <a:lnTo>
                    <a:pt x="4713" y="2667"/>
                  </a:lnTo>
                  <a:lnTo>
                    <a:pt x="4696" y="2679"/>
                  </a:lnTo>
                  <a:lnTo>
                    <a:pt x="4692" y="2658"/>
                  </a:lnTo>
                  <a:lnTo>
                    <a:pt x="4696" y="2658"/>
                  </a:lnTo>
                  <a:lnTo>
                    <a:pt x="4696" y="2634"/>
                  </a:lnTo>
                  <a:lnTo>
                    <a:pt x="4680" y="2658"/>
                  </a:lnTo>
                  <a:lnTo>
                    <a:pt x="4675" y="2658"/>
                  </a:lnTo>
                  <a:lnTo>
                    <a:pt x="4649" y="2634"/>
                  </a:lnTo>
                  <a:lnTo>
                    <a:pt x="4663" y="2625"/>
                  </a:lnTo>
                  <a:lnTo>
                    <a:pt x="4649" y="2618"/>
                  </a:lnTo>
                  <a:lnTo>
                    <a:pt x="4649" y="2634"/>
                  </a:lnTo>
                  <a:lnTo>
                    <a:pt x="4626" y="2625"/>
                  </a:lnTo>
                  <a:lnTo>
                    <a:pt x="4663" y="2658"/>
                  </a:lnTo>
                  <a:lnTo>
                    <a:pt x="4649" y="2679"/>
                  </a:lnTo>
                  <a:lnTo>
                    <a:pt x="4574" y="2651"/>
                  </a:lnTo>
                  <a:lnTo>
                    <a:pt x="4574" y="2658"/>
                  </a:lnTo>
                  <a:lnTo>
                    <a:pt x="4583" y="2667"/>
                  </a:lnTo>
                  <a:lnTo>
                    <a:pt x="4567" y="2667"/>
                  </a:lnTo>
                  <a:lnTo>
                    <a:pt x="4583" y="2679"/>
                  </a:lnTo>
                  <a:lnTo>
                    <a:pt x="4503" y="2691"/>
                  </a:lnTo>
                  <a:lnTo>
                    <a:pt x="4512" y="2696"/>
                  </a:lnTo>
                  <a:lnTo>
                    <a:pt x="4481" y="2691"/>
                  </a:lnTo>
                  <a:lnTo>
                    <a:pt x="4465" y="2696"/>
                  </a:lnTo>
                  <a:lnTo>
                    <a:pt x="4444" y="2674"/>
                  </a:lnTo>
                  <a:lnTo>
                    <a:pt x="4432" y="2679"/>
                  </a:lnTo>
                  <a:lnTo>
                    <a:pt x="4406" y="2658"/>
                  </a:lnTo>
                  <a:lnTo>
                    <a:pt x="4406" y="2634"/>
                  </a:lnTo>
                  <a:lnTo>
                    <a:pt x="4411" y="2625"/>
                  </a:lnTo>
                  <a:lnTo>
                    <a:pt x="4411" y="2613"/>
                  </a:lnTo>
                  <a:lnTo>
                    <a:pt x="4465" y="2585"/>
                  </a:lnTo>
                  <a:lnTo>
                    <a:pt x="4448" y="2568"/>
                  </a:lnTo>
                  <a:lnTo>
                    <a:pt x="4465" y="2563"/>
                  </a:lnTo>
                  <a:lnTo>
                    <a:pt x="4460" y="2556"/>
                  </a:lnTo>
                  <a:lnTo>
                    <a:pt x="4574" y="2580"/>
                  </a:lnTo>
                  <a:lnTo>
                    <a:pt x="4595" y="2601"/>
                  </a:lnTo>
                  <a:lnTo>
                    <a:pt x="4595" y="2613"/>
                  </a:lnTo>
                  <a:lnTo>
                    <a:pt x="4583" y="2613"/>
                  </a:lnTo>
                  <a:lnTo>
                    <a:pt x="4604" y="2641"/>
                  </a:lnTo>
                  <a:lnTo>
                    <a:pt x="4611" y="2634"/>
                  </a:lnTo>
                  <a:lnTo>
                    <a:pt x="4604" y="2618"/>
                  </a:lnTo>
                  <a:lnTo>
                    <a:pt x="4588" y="2618"/>
                  </a:lnTo>
                  <a:lnTo>
                    <a:pt x="4611" y="2613"/>
                  </a:lnTo>
                  <a:lnTo>
                    <a:pt x="4611" y="2596"/>
                  </a:lnTo>
                  <a:lnTo>
                    <a:pt x="4604" y="2601"/>
                  </a:lnTo>
                  <a:lnTo>
                    <a:pt x="4567" y="2568"/>
                  </a:lnTo>
                  <a:lnTo>
                    <a:pt x="4611" y="2580"/>
                  </a:lnTo>
                  <a:lnTo>
                    <a:pt x="4621" y="2568"/>
                  </a:lnTo>
                  <a:lnTo>
                    <a:pt x="4621" y="2563"/>
                  </a:lnTo>
                  <a:lnTo>
                    <a:pt x="4663" y="2568"/>
                  </a:lnTo>
                  <a:lnTo>
                    <a:pt x="4692" y="2547"/>
                  </a:lnTo>
                  <a:lnTo>
                    <a:pt x="4734" y="2547"/>
                  </a:lnTo>
                  <a:lnTo>
                    <a:pt x="4718" y="2514"/>
                  </a:lnTo>
                  <a:lnTo>
                    <a:pt x="4696" y="2502"/>
                  </a:lnTo>
                  <a:lnTo>
                    <a:pt x="4663" y="2469"/>
                  </a:lnTo>
                  <a:lnTo>
                    <a:pt x="4734" y="2419"/>
                  </a:lnTo>
                  <a:lnTo>
                    <a:pt x="4755" y="2403"/>
                  </a:lnTo>
                  <a:lnTo>
                    <a:pt x="4784" y="2363"/>
                  </a:lnTo>
                  <a:lnTo>
                    <a:pt x="4810" y="2358"/>
                  </a:lnTo>
                  <a:lnTo>
                    <a:pt x="4822" y="2341"/>
                  </a:lnTo>
                  <a:lnTo>
                    <a:pt x="4805" y="2292"/>
                  </a:lnTo>
                  <a:lnTo>
                    <a:pt x="4789" y="2285"/>
                  </a:lnTo>
                  <a:lnTo>
                    <a:pt x="4798" y="2268"/>
                  </a:lnTo>
                  <a:lnTo>
                    <a:pt x="4772" y="2252"/>
                  </a:lnTo>
                  <a:lnTo>
                    <a:pt x="4772" y="2247"/>
                  </a:lnTo>
                  <a:lnTo>
                    <a:pt x="4767" y="2226"/>
                  </a:lnTo>
                  <a:lnTo>
                    <a:pt x="4734" y="2214"/>
                  </a:lnTo>
                  <a:lnTo>
                    <a:pt x="4751" y="2197"/>
                  </a:lnTo>
                  <a:lnTo>
                    <a:pt x="4729" y="2214"/>
                  </a:lnTo>
                  <a:lnTo>
                    <a:pt x="4713" y="2209"/>
                  </a:lnTo>
                  <a:lnTo>
                    <a:pt x="4701" y="2181"/>
                  </a:lnTo>
                  <a:lnTo>
                    <a:pt x="4718" y="2181"/>
                  </a:lnTo>
                  <a:lnTo>
                    <a:pt x="4718" y="2157"/>
                  </a:lnTo>
                  <a:lnTo>
                    <a:pt x="4692" y="2157"/>
                  </a:lnTo>
                  <a:lnTo>
                    <a:pt x="4701" y="2176"/>
                  </a:lnTo>
                  <a:lnTo>
                    <a:pt x="4696" y="2181"/>
                  </a:lnTo>
                  <a:lnTo>
                    <a:pt x="4675" y="2176"/>
                  </a:lnTo>
                  <a:lnTo>
                    <a:pt x="4649" y="2152"/>
                  </a:lnTo>
                  <a:lnTo>
                    <a:pt x="4659" y="2140"/>
                  </a:lnTo>
                  <a:lnTo>
                    <a:pt x="4637" y="2140"/>
                  </a:lnTo>
                  <a:lnTo>
                    <a:pt x="4649" y="2124"/>
                  </a:lnTo>
                  <a:lnTo>
                    <a:pt x="4626" y="2124"/>
                  </a:lnTo>
                  <a:lnTo>
                    <a:pt x="4649" y="2119"/>
                  </a:lnTo>
                  <a:lnTo>
                    <a:pt x="4642" y="2115"/>
                  </a:lnTo>
                  <a:lnTo>
                    <a:pt x="4626" y="2119"/>
                  </a:lnTo>
                  <a:lnTo>
                    <a:pt x="4621" y="2136"/>
                  </a:lnTo>
                  <a:lnTo>
                    <a:pt x="4595" y="2119"/>
                  </a:lnTo>
                  <a:lnTo>
                    <a:pt x="4588" y="2136"/>
                  </a:lnTo>
                  <a:lnTo>
                    <a:pt x="4512" y="2157"/>
                  </a:lnTo>
                  <a:lnTo>
                    <a:pt x="4512" y="2152"/>
                  </a:lnTo>
                  <a:lnTo>
                    <a:pt x="4519" y="2136"/>
                  </a:lnTo>
                  <a:lnTo>
                    <a:pt x="4512" y="2124"/>
                  </a:lnTo>
                  <a:lnTo>
                    <a:pt x="4512" y="2119"/>
                  </a:lnTo>
                  <a:lnTo>
                    <a:pt x="4557" y="2119"/>
                  </a:lnTo>
                  <a:lnTo>
                    <a:pt x="4588" y="2115"/>
                  </a:lnTo>
                  <a:lnTo>
                    <a:pt x="4588" y="2098"/>
                  </a:lnTo>
                  <a:lnTo>
                    <a:pt x="4512" y="2048"/>
                  </a:lnTo>
                  <a:lnTo>
                    <a:pt x="4529" y="2041"/>
                  </a:lnTo>
                  <a:lnTo>
                    <a:pt x="4541" y="2029"/>
                  </a:lnTo>
                  <a:lnTo>
                    <a:pt x="4512" y="2029"/>
                  </a:lnTo>
                  <a:lnTo>
                    <a:pt x="4519" y="2041"/>
                  </a:lnTo>
                  <a:lnTo>
                    <a:pt x="4512" y="2048"/>
                  </a:lnTo>
                  <a:lnTo>
                    <a:pt x="4474" y="2041"/>
                  </a:lnTo>
                  <a:lnTo>
                    <a:pt x="4503" y="2029"/>
                  </a:lnTo>
                  <a:lnTo>
                    <a:pt x="4498" y="2013"/>
                  </a:lnTo>
                  <a:lnTo>
                    <a:pt x="4465" y="2013"/>
                  </a:lnTo>
                  <a:lnTo>
                    <a:pt x="4486" y="2003"/>
                  </a:lnTo>
                  <a:lnTo>
                    <a:pt x="4444" y="2025"/>
                  </a:lnTo>
                  <a:lnTo>
                    <a:pt x="4444" y="1970"/>
                  </a:lnTo>
                  <a:lnTo>
                    <a:pt x="4427" y="1959"/>
                  </a:lnTo>
                  <a:lnTo>
                    <a:pt x="4389" y="1970"/>
                  </a:lnTo>
                  <a:lnTo>
                    <a:pt x="4389" y="1954"/>
                  </a:lnTo>
                  <a:lnTo>
                    <a:pt x="4389" y="1947"/>
                  </a:lnTo>
                  <a:lnTo>
                    <a:pt x="4378" y="1954"/>
                  </a:lnTo>
                  <a:lnTo>
                    <a:pt x="4368" y="1937"/>
                  </a:lnTo>
                  <a:lnTo>
                    <a:pt x="4340" y="1930"/>
                  </a:lnTo>
                  <a:lnTo>
                    <a:pt x="4340" y="1921"/>
                  </a:lnTo>
                  <a:lnTo>
                    <a:pt x="4356" y="1914"/>
                  </a:lnTo>
                  <a:lnTo>
                    <a:pt x="4368" y="1921"/>
                  </a:lnTo>
                  <a:lnTo>
                    <a:pt x="4352" y="1904"/>
                  </a:lnTo>
                  <a:lnTo>
                    <a:pt x="4335" y="1914"/>
                  </a:lnTo>
                  <a:lnTo>
                    <a:pt x="4340" y="1914"/>
                  </a:lnTo>
                  <a:lnTo>
                    <a:pt x="4335" y="1937"/>
                  </a:lnTo>
                  <a:lnTo>
                    <a:pt x="4318" y="1930"/>
                  </a:lnTo>
                  <a:lnTo>
                    <a:pt x="4302" y="1947"/>
                  </a:lnTo>
                  <a:lnTo>
                    <a:pt x="4356" y="1954"/>
                  </a:lnTo>
                  <a:lnTo>
                    <a:pt x="4373" y="1992"/>
                  </a:lnTo>
                  <a:lnTo>
                    <a:pt x="4368" y="2008"/>
                  </a:lnTo>
                  <a:lnTo>
                    <a:pt x="4302" y="2008"/>
                  </a:lnTo>
                  <a:lnTo>
                    <a:pt x="4271" y="1992"/>
                  </a:lnTo>
                  <a:lnTo>
                    <a:pt x="4158" y="1975"/>
                  </a:lnTo>
                  <a:lnTo>
                    <a:pt x="4196" y="1992"/>
                  </a:lnTo>
                  <a:lnTo>
                    <a:pt x="4226" y="2025"/>
                  </a:lnTo>
                  <a:lnTo>
                    <a:pt x="4210" y="2029"/>
                  </a:lnTo>
                  <a:lnTo>
                    <a:pt x="4134" y="1975"/>
                  </a:lnTo>
                  <a:lnTo>
                    <a:pt x="4066" y="1954"/>
                  </a:lnTo>
                  <a:lnTo>
                    <a:pt x="4158" y="2003"/>
                  </a:lnTo>
                  <a:lnTo>
                    <a:pt x="4125" y="2025"/>
                  </a:lnTo>
                  <a:lnTo>
                    <a:pt x="4096" y="2008"/>
                  </a:lnTo>
                  <a:lnTo>
                    <a:pt x="4096" y="2008"/>
                  </a:lnTo>
                  <a:lnTo>
                    <a:pt x="4096" y="2008"/>
                  </a:lnTo>
                  <a:close/>
                  <a:moveTo>
                    <a:pt x="4226" y="1493"/>
                  </a:moveTo>
                  <a:lnTo>
                    <a:pt x="4318" y="1510"/>
                  </a:lnTo>
                  <a:lnTo>
                    <a:pt x="4406" y="1498"/>
                  </a:lnTo>
                  <a:lnTo>
                    <a:pt x="4460" y="1515"/>
                  </a:lnTo>
                  <a:lnTo>
                    <a:pt x="4474" y="1526"/>
                  </a:lnTo>
                  <a:lnTo>
                    <a:pt x="4486" y="1543"/>
                  </a:lnTo>
                  <a:lnTo>
                    <a:pt x="4512" y="1548"/>
                  </a:lnTo>
                  <a:lnTo>
                    <a:pt x="4519" y="1571"/>
                  </a:lnTo>
                  <a:lnTo>
                    <a:pt x="4536" y="1581"/>
                  </a:lnTo>
                  <a:lnTo>
                    <a:pt x="4536" y="1597"/>
                  </a:lnTo>
                  <a:lnTo>
                    <a:pt x="4557" y="1604"/>
                  </a:lnTo>
                  <a:lnTo>
                    <a:pt x="4519" y="1621"/>
                  </a:lnTo>
                  <a:lnTo>
                    <a:pt x="4406" y="1609"/>
                  </a:lnTo>
                  <a:lnTo>
                    <a:pt x="4314" y="1626"/>
                  </a:lnTo>
                  <a:lnTo>
                    <a:pt x="4281" y="1609"/>
                  </a:lnTo>
                  <a:lnTo>
                    <a:pt x="4264" y="1588"/>
                  </a:lnTo>
                  <a:lnTo>
                    <a:pt x="4264" y="1564"/>
                  </a:lnTo>
                  <a:lnTo>
                    <a:pt x="4217" y="1548"/>
                  </a:lnTo>
                  <a:lnTo>
                    <a:pt x="4217" y="1493"/>
                  </a:lnTo>
                  <a:lnTo>
                    <a:pt x="4226" y="1493"/>
                  </a:lnTo>
                  <a:lnTo>
                    <a:pt x="4226" y="1493"/>
                  </a:lnTo>
                  <a:lnTo>
                    <a:pt x="4226" y="1493"/>
                  </a:lnTo>
                  <a:close/>
                  <a:moveTo>
                    <a:pt x="2504" y="1604"/>
                  </a:moveTo>
                  <a:lnTo>
                    <a:pt x="2500" y="1604"/>
                  </a:lnTo>
                  <a:lnTo>
                    <a:pt x="2516" y="1609"/>
                  </a:lnTo>
                  <a:lnTo>
                    <a:pt x="2500" y="1609"/>
                  </a:lnTo>
                  <a:lnTo>
                    <a:pt x="2424" y="1543"/>
                  </a:lnTo>
                  <a:lnTo>
                    <a:pt x="2381" y="1526"/>
                  </a:lnTo>
                  <a:lnTo>
                    <a:pt x="2415" y="1493"/>
                  </a:lnTo>
                  <a:lnTo>
                    <a:pt x="2490" y="1486"/>
                  </a:lnTo>
                  <a:lnTo>
                    <a:pt x="2516" y="1486"/>
                  </a:lnTo>
                  <a:lnTo>
                    <a:pt x="2559" y="1515"/>
                  </a:lnTo>
                  <a:lnTo>
                    <a:pt x="2554" y="1548"/>
                  </a:lnTo>
                  <a:lnTo>
                    <a:pt x="2504" y="1604"/>
                  </a:lnTo>
                  <a:lnTo>
                    <a:pt x="2504" y="1604"/>
                  </a:lnTo>
                  <a:lnTo>
                    <a:pt x="2504" y="1604"/>
                  </a:lnTo>
                  <a:close/>
                  <a:moveTo>
                    <a:pt x="1151" y="1493"/>
                  </a:moveTo>
                  <a:lnTo>
                    <a:pt x="1156" y="1498"/>
                  </a:lnTo>
                  <a:lnTo>
                    <a:pt x="1139" y="1493"/>
                  </a:lnTo>
                  <a:lnTo>
                    <a:pt x="1151" y="1493"/>
                  </a:lnTo>
                  <a:lnTo>
                    <a:pt x="1151" y="1493"/>
                  </a:lnTo>
                  <a:lnTo>
                    <a:pt x="1151" y="1493"/>
                  </a:lnTo>
                  <a:close/>
                  <a:moveTo>
                    <a:pt x="1172" y="1510"/>
                  </a:moveTo>
                  <a:lnTo>
                    <a:pt x="1189" y="1515"/>
                  </a:lnTo>
                  <a:lnTo>
                    <a:pt x="1172" y="1515"/>
                  </a:lnTo>
                  <a:lnTo>
                    <a:pt x="1172" y="1510"/>
                  </a:lnTo>
                  <a:lnTo>
                    <a:pt x="1172" y="1510"/>
                  </a:lnTo>
                  <a:lnTo>
                    <a:pt x="1172" y="1510"/>
                  </a:lnTo>
                  <a:close/>
                  <a:moveTo>
                    <a:pt x="2339" y="1515"/>
                  </a:moveTo>
                  <a:lnTo>
                    <a:pt x="2306" y="1510"/>
                  </a:lnTo>
                  <a:lnTo>
                    <a:pt x="2344" y="1510"/>
                  </a:lnTo>
                  <a:lnTo>
                    <a:pt x="2339" y="1515"/>
                  </a:lnTo>
                  <a:lnTo>
                    <a:pt x="2339" y="1515"/>
                  </a:lnTo>
                  <a:lnTo>
                    <a:pt x="2339" y="1515"/>
                  </a:lnTo>
                  <a:close/>
                  <a:moveTo>
                    <a:pt x="2814" y="2025"/>
                  </a:moveTo>
                  <a:lnTo>
                    <a:pt x="2807" y="2041"/>
                  </a:lnTo>
                  <a:lnTo>
                    <a:pt x="2785" y="2029"/>
                  </a:lnTo>
                  <a:lnTo>
                    <a:pt x="2776" y="2013"/>
                  </a:lnTo>
                  <a:lnTo>
                    <a:pt x="2776" y="2008"/>
                  </a:lnTo>
                  <a:lnTo>
                    <a:pt x="2759" y="2029"/>
                  </a:lnTo>
                  <a:lnTo>
                    <a:pt x="2722" y="2003"/>
                  </a:lnTo>
                  <a:lnTo>
                    <a:pt x="2700" y="2025"/>
                  </a:lnTo>
                  <a:lnTo>
                    <a:pt x="2693" y="2025"/>
                  </a:lnTo>
                  <a:lnTo>
                    <a:pt x="2700" y="2029"/>
                  </a:lnTo>
                  <a:lnTo>
                    <a:pt x="2700" y="2048"/>
                  </a:lnTo>
                  <a:lnTo>
                    <a:pt x="2693" y="2048"/>
                  </a:lnTo>
                  <a:lnTo>
                    <a:pt x="2630" y="2029"/>
                  </a:lnTo>
                  <a:lnTo>
                    <a:pt x="2630" y="2041"/>
                  </a:lnTo>
                  <a:lnTo>
                    <a:pt x="2663" y="2058"/>
                  </a:lnTo>
                  <a:lnTo>
                    <a:pt x="2663" y="2086"/>
                  </a:lnTo>
                  <a:lnTo>
                    <a:pt x="2651" y="2098"/>
                  </a:lnTo>
                  <a:lnTo>
                    <a:pt x="2651" y="2103"/>
                  </a:lnTo>
                  <a:lnTo>
                    <a:pt x="2679" y="2070"/>
                  </a:lnTo>
                  <a:lnTo>
                    <a:pt x="2717" y="2058"/>
                  </a:lnTo>
                  <a:lnTo>
                    <a:pt x="2738" y="2065"/>
                  </a:lnTo>
                  <a:lnTo>
                    <a:pt x="2722" y="2086"/>
                  </a:lnTo>
                  <a:lnTo>
                    <a:pt x="2731" y="2098"/>
                  </a:lnTo>
                  <a:lnTo>
                    <a:pt x="2738" y="2086"/>
                  </a:lnTo>
                  <a:lnTo>
                    <a:pt x="2755" y="2098"/>
                  </a:lnTo>
                  <a:lnTo>
                    <a:pt x="2748" y="2119"/>
                  </a:lnTo>
                  <a:lnTo>
                    <a:pt x="2679" y="2140"/>
                  </a:lnTo>
                  <a:lnTo>
                    <a:pt x="2651" y="2140"/>
                  </a:lnTo>
                  <a:lnTo>
                    <a:pt x="2641" y="2152"/>
                  </a:lnTo>
                  <a:lnTo>
                    <a:pt x="2559" y="2124"/>
                  </a:lnTo>
                  <a:lnTo>
                    <a:pt x="2554" y="2136"/>
                  </a:lnTo>
                  <a:lnTo>
                    <a:pt x="2516" y="2136"/>
                  </a:lnTo>
                  <a:lnTo>
                    <a:pt x="2504" y="2124"/>
                  </a:lnTo>
                  <a:lnTo>
                    <a:pt x="2533" y="2115"/>
                  </a:lnTo>
                  <a:lnTo>
                    <a:pt x="2431" y="2098"/>
                  </a:lnTo>
                  <a:lnTo>
                    <a:pt x="2436" y="2081"/>
                  </a:lnTo>
                  <a:lnTo>
                    <a:pt x="2431" y="2070"/>
                  </a:lnTo>
                  <a:lnTo>
                    <a:pt x="2415" y="2058"/>
                  </a:lnTo>
                  <a:lnTo>
                    <a:pt x="2381" y="2081"/>
                  </a:lnTo>
                  <a:lnTo>
                    <a:pt x="2393" y="2098"/>
                  </a:lnTo>
                  <a:lnTo>
                    <a:pt x="2360" y="2119"/>
                  </a:lnTo>
                  <a:lnTo>
                    <a:pt x="2273" y="2124"/>
                  </a:lnTo>
                  <a:lnTo>
                    <a:pt x="2273" y="2136"/>
                  </a:lnTo>
                  <a:lnTo>
                    <a:pt x="2235" y="2157"/>
                  </a:lnTo>
                  <a:lnTo>
                    <a:pt x="2155" y="2176"/>
                  </a:lnTo>
                  <a:lnTo>
                    <a:pt x="2074" y="2176"/>
                  </a:lnTo>
                  <a:lnTo>
                    <a:pt x="2091" y="2181"/>
                  </a:lnTo>
                  <a:lnTo>
                    <a:pt x="1944" y="2192"/>
                  </a:lnTo>
                  <a:lnTo>
                    <a:pt x="1961" y="2181"/>
                  </a:lnTo>
                  <a:lnTo>
                    <a:pt x="1933" y="2176"/>
                  </a:lnTo>
                  <a:lnTo>
                    <a:pt x="1923" y="2140"/>
                  </a:lnTo>
                  <a:lnTo>
                    <a:pt x="1928" y="2115"/>
                  </a:lnTo>
                  <a:lnTo>
                    <a:pt x="1911" y="2098"/>
                  </a:lnTo>
                  <a:lnTo>
                    <a:pt x="1928" y="2098"/>
                  </a:lnTo>
                  <a:lnTo>
                    <a:pt x="1874" y="2086"/>
                  </a:lnTo>
                  <a:lnTo>
                    <a:pt x="1760" y="2081"/>
                  </a:lnTo>
                  <a:lnTo>
                    <a:pt x="1718" y="2070"/>
                  </a:lnTo>
                  <a:lnTo>
                    <a:pt x="1713" y="2065"/>
                  </a:lnTo>
                  <a:lnTo>
                    <a:pt x="1713" y="2048"/>
                  </a:lnTo>
                  <a:lnTo>
                    <a:pt x="1692" y="2048"/>
                  </a:lnTo>
                  <a:lnTo>
                    <a:pt x="1696" y="2041"/>
                  </a:lnTo>
                  <a:lnTo>
                    <a:pt x="1663" y="2025"/>
                  </a:lnTo>
                  <a:lnTo>
                    <a:pt x="1654" y="1992"/>
                  </a:lnTo>
                  <a:lnTo>
                    <a:pt x="1680" y="1975"/>
                  </a:lnTo>
                  <a:lnTo>
                    <a:pt x="1815" y="1959"/>
                  </a:lnTo>
                  <a:lnTo>
                    <a:pt x="1874" y="1954"/>
                  </a:lnTo>
                  <a:lnTo>
                    <a:pt x="1999" y="1970"/>
                  </a:lnTo>
                  <a:lnTo>
                    <a:pt x="2030" y="1959"/>
                  </a:lnTo>
                  <a:lnTo>
                    <a:pt x="2015" y="1954"/>
                  </a:lnTo>
                  <a:lnTo>
                    <a:pt x="2074" y="1954"/>
                  </a:lnTo>
                  <a:lnTo>
                    <a:pt x="2067" y="1954"/>
                  </a:lnTo>
                  <a:lnTo>
                    <a:pt x="2037" y="1947"/>
                  </a:lnTo>
                  <a:lnTo>
                    <a:pt x="2020" y="1930"/>
                  </a:lnTo>
                  <a:lnTo>
                    <a:pt x="1895" y="1897"/>
                  </a:lnTo>
                  <a:lnTo>
                    <a:pt x="1815" y="1914"/>
                  </a:lnTo>
                  <a:lnTo>
                    <a:pt x="1642" y="1914"/>
                  </a:lnTo>
                  <a:lnTo>
                    <a:pt x="1583" y="1864"/>
                  </a:lnTo>
                  <a:lnTo>
                    <a:pt x="1626" y="1843"/>
                  </a:lnTo>
                  <a:lnTo>
                    <a:pt x="1772" y="1810"/>
                  </a:lnTo>
                  <a:lnTo>
                    <a:pt x="1751" y="1803"/>
                  </a:lnTo>
                  <a:lnTo>
                    <a:pt x="1765" y="1803"/>
                  </a:lnTo>
                  <a:lnTo>
                    <a:pt x="1798" y="1803"/>
                  </a:lnTo>
                  <a:lnTo>
                    <a:pt x="1819" y="1793"/>
                  </a:lnTo>
                  <a:lnTo>
                    <a:pt x="1772" y="1786"/>
                  </a:lnTo>
                  <a:lnTo>
                    <a:pt x="1659" y="1810"/>
                  </a:lnTo>
                  <a:lnTo>
                    <a:pt x="1659" y="1803"/>
                  </a:lnTo>
                  <a:lnTo>
                    <a:pt x="1642" y="1793"/>
                  </a:lnTo>
                  <a:lnTo>
                    <a:pt x="1642" y="1803"/>
                  </a:lnTo>
                  <a:lnTo>
                    <a:pt x="1654" y="1803"/>
                  </a:lnTo>
                  <a:lnTo>
                    <a:pt x="1642" y="1810"/>
                  </a:lnTo>
                  <a:lnTo>
                    <a:pt x="1604" y="1810"/>
                  </a:lnTo>
                  <a:lnTo>
                    <a:pt x="1588" y="1803"/>
                  </a:lnTo>
                  <a:lnTo>
                    <a:pt x="1637" y="1786"/>
                  </a:lnTo>
                  <a:lnTo>
                    <a:pt x="1621" y="1781"/>
                  </a:lnTo>
                  <a:lnTo>
                    <a:pt x="1637" y="1770"/>
                  </a:lnTo>
                  <a:lnTo>
                    <a:pt x="1588" y="1786"/>
                  </a:lnTo>
                  <a:lnTo>
                    <a:pt x="1555" y="1770"/>
                  </a:lnTo>
                  <a:lnTo>
                    <a:pt x="1550" y="1786"/>
                  </a:lnTo>
                  <a:lnTo>
                    <a:pt x="1533" y="1781"/>
                  </a:lnTo>
                  <a:lnTo>
                    <a:pt x="1533" y="1765"/>
                  </a:lnTo>
                  <a:lnTo>
                    <a:pt x="1533" y="1737"/>
                  </a:lnTo>
                  <a:lnTo>
                    <a:pt x="1567" y="1715"/>
                  </a:lnTo>
                  <a:lnTo>
                    <a:pt x="1604" y="1699"/>
                  </a:lnTo>
                  <a:lnTo>
                    <a:pt x="1604" y="1682"/>
                  </a:lnTo>
                  <a:lnTo>
                    <a:pt x="1571" y="1675"/>
                  </a:lnTo>
                  <a:lnTo>
                    <a:pt x="1571" y="1659"/>
                  </a:lnTo>
                  <a:lnTo>
                    <a:pt x="1659" y="1604"/>
                  </a:lnTo>
                  <a:lnTo>
                    <a:pt x="1852" y="1543"/>
                  </a:lnTo>
                  <a:lnTo>
                    <a:pt x="1878" y="1548"/>
                  </a:lnTo>
                  <a:lnTo>
                    <a:pt x="1895" y="1571"/>
                  </a:lnTo>
                  <a:lnTo>
                    <a:pt x="1890" y="1609"/>
                  </a:lnTo>
                  <a:lnTo>
                    <a:pt x="1895" y="1621"/>
                  </a:lnTo>
                  <a:lnTo>
                    <a:pt x="1869" y="1626"/>
                  </a:lnTo>
                  <a:lnTo>
                    <a:pt x="1869" y="1642"/>
                  </a:lnTo>
                  <a:lnTo>
                    <a:pt x="1852" y="1654"/>
                  </a:lnTo>
                  <a:lnTo>
                    <a:pt x="1857" y="1654"/>
                  </a:lnTo>
                  <a:lnTo>
                    <a:pt x="1928" y="1637"/>
                  </a:lnTo>
                  <a:lnTo>
                    <a:pt x="1933" y="1626"/>
                  </a:lnTo>
                  <a:lnTo>
                    <a:pt x="1923" y="1621"/>
                  </a:lnTo>
                  <a:lnTo>
                    <a:pt x="1961" y="1597"/>
                  </a:lnTo>
                  <a:lnTo>
                    <a:pt x="2091" y="1637"/>
                  </a:lnTo>
                  <a:lnTo>
                    <a:pt x="2084" y="1654"/>
                  </a:lnTo>
                  <a:lnTo>
                    <a:pt x="2046" y="1682"/>
                  </a:lnTo>
                  <a:lnTo>
                    <a:pt x="2058" y="1692"/>
                  </a:lnTo>
                  <a:lnTo>
                    <a:pt x="2074" y="1682"/>
                  </a:lnTo>
                  <a:lnTo>
                    <a:pt x="2058" y="1682"/>
                  </a:lnTo>
                  <a:lnTo>
                    <a:pt x="2084" y="1666"/>
                  </a:lnTo>
                  <a:lnTo>
                    <a:pt x="2091" y="1666"/>
                  </a:lnTo>
                  <a:lnTo>
                    <a:pt x="2084" y="1682"/>
                  </a:lnTo>
                  <a:lnTo>
                    <a:pt x="2100" y="1682"/>
                  </a:lnTo>
                  <a:lnTo>
                    <a:pt x="2105" y="1666"/>
                  </a:lnTo>
                  <a:lnTo>
                    <a:pt x="2129" y="1654"/>
                  </a:lnTo>
                  <a:lnTo>
                    <a:pt x="2155" y="1666"/>
                  </a:lnTo>
                  <a:lnTo>
                    <a:pt x="2138" y="1659"/>
                  </a:lnTo>
                  <a:lnTo>
                    <a:pt x="2155" y="1654"/>
                  </a:lnTo>
                  <a:lnTo>
                    <a:pt x="2193" y="1666"/>
                  </a:lnTo>
                  <a:lnTo>
                    <a:pt x="2159" y="1654"/>
                  </a:lnTo>
                  <a:lnTo>
                    <a:pt x="2193" y="1659"/>
                  </a:lnTo>
                  <a:lnTo>
                    <a:pt x="2176" y="1642"/>
                  </a:lnTo>
                  <a:lnTo>
                    <a:pt x="2155" y="1637"/>
                  </a:lnTo>
                  <a:lnTo>
                    <a:pt x="2193" y="1626"/>
                  </a:lnTo>
                  <a:lnTo>
                    <a:pt x="2138" y="1609"/>
                  </a:lnTo>
                  <a:lnTo>
                    <a:pt x="2122" y="1597"/>
                  </a:lnTo>
                  <a:lnTo>
                    <a:pt x="2143" y="1588"/>
                  </a:lnTo>
                  <a:lnTo>
                    <a:pt x="2197" y="1604"/>
                  </a:lnTo>
                  <a:lnTo>
                    <a:pt x="2193" y="1609"/>
                  </a:lnTo>
                  <a:lnTo>
                    <a:pt x="2230" y="1626"/>
                  </a:lnTo>
                  <a:lnTo>
                    <a:pt x="2247" y="1637"/>
                  </a:lnTo>
                  <a:lnTo>
                    <a:pt x="2247" y="1654"/>
                  </a:lnTo>
                  <a:lnTo>
                    <a:pt x="2273" y="1654"/>
                  </a:lnTo>
                  <a:lnTo>
                    <a:pt x="2268" y="1682"/>
                  </a:lnTo>
                  <a:lnTo>
                    <a:pt x="2285" y="1708"/>
                  </a:lnTo>
                  <a:lnTo>
                    <a:pt x="2289" y="1725"/>
                  </a:lnTo>
                  <a:lnTo>
                    <a:pt x="2301" y="1737"/>
                  </a:lnTo>
                  <a:lnTo>
                    <a:pt x="2301" y="1748"/>
                  </a:lnTo>
                  <a:lnTo>
                    <a:pt x="2301" y="1770"/>
                  </a:lnTo>
                  <a:lnTo>
                    <a:pt x="2327" y="1781"/>
                  </a:lnTo>
                  <a:lnTo>
                    <a:pt x="2327" y="1770"/>
                  </a:lnTo>
                  <a:lnTo>
                    <a:pt x="2370" y="1748"/>
                  </a:lnTo>
                  <a:lnTo>
                    <a:pt x="2327" y="1708"/>
                  </a:lnTo>
                  <a:lnTo>
                    <a:pt x="2322" y="1654"/>
                  </a:lnTo>
                  <a:lnTo>
                    <a:pt x="2318" y="1642"/>
                  </a:lnTo>
                  <a:lnTo>
                    <a:pt x="2289" y="1571"/>
                  </a:lnTo>
                  <a:lnTo>
                    <a:pt x="2322" y="1564"/>
                  </a:lnTo>
                  <a:lnTo>
                    <a:pt x="2306" y="1555"/>
                  </a:lnTo>
                  <a:lnTo>
                    <a:pt x="2318" y="1548"/>
                  </a:lnTo>
                  <a:lnTo>
                    <a:pt x="2381" y="1571"/>
                  </a:lnTo>
                  <a:lnTo>
                    <a:pt x="2381" y="1564"/>
                  </a:lnTo>
                  <a:lnTo>
                    <a:pt x="2377" y="1555"/>
                  </a:lnTo>
                  <a:lnTo>
                    <a:pt x="2398" y="1548"/>
                  </a:lnTo>
                  <a:lnTo>
                    <a:pt x="2436" y="1581"/>
                  </a:lnTo>
                  <a:lnTo>
                    <a:pt x="2469" y="1588"/>
                  </a:lnTo>
                  <a:lnTo>
                    <a:pt x="2500" y="1626"/>
                  </a:lnTo>
                  <a:lnTo>
                    <a:pt x="2490" y="1626"/>
                  </a:lnTo>
                  <a:lnTo>
                    <a:pt x="2516" y="1666"/>
                  </a:lnTo>
                  <a:lnTo>
                    <a:pt x="2504" y="1666"/>
                  </a:lnTo>
                  <a:lnTo>
                    <a:pt x="2533" y="1708"/>
                  </a:lnTo>
                  <a:lnTo>
                    <a:pt x="2521" y="1725"/>
                  </a:lnTo>
                  <a:lnTo>
                    <a:pt x="2570" y="1786"/>
                  </a:lnTo>
                  <a:lnTo>
                    <a:pt x="2570" y="1793"/>
                  </a:lnTo>
                  <a:lnTo>
                    <a:pt x="2570" y="1810"/>
                  </a:lnTo>
                  <a:lnTo>
                    <a:pt x="2559" y="1819"/>
                  </a:lnTo>
                  <a:lnTo>
                    <a:pt x="2570" y="1836"/>
                  </a:lnTo>
                  <a:lnTo>
                    <a:pt x="2554" y="1848"/>
                  </a:lnTo>
                  <a:lnTo>
                    <a:pt x="2630" y="1914"/>
                  </a:lnTo>
                  <a:lnTo>
                    <a:pt x="2667" y="1930"/>
                  </a:lnTo>
                  <a:lnTo>
                    <a:pt x="2651" y="1921"/>
                  </a:lnTo>
                  <a:lnTo>
                    <a:pt x="2651" y="1904"/>
                  </a:lnTo>
                  <a:lnTo>
                    <a:pt x="2663" y="1904"/>
                  </a:lnTo>
                  <a:lnTo>
                    <a:pt x="2684" y="1930"/>
                  </a:lnTo>
                  <a:lnTo>
                    <a:pt x="2738" y="1959"/>
                  </a:lnTo>
                  <a:lnTo>
                    <a:pt x="2759" y="1959"/>
                  </a:lnTo>
                  <a:lnTo>
                    <a:pt x="2759" y="1970"/>
                  </a:lnTo>
                  <a:lnTo>
                    <a:pt x="2769" y="1975"/>
                  </a:lnTo>
                  <a:lnTo>
                    <a:pt x="2807" y="1970"/>
                  </a:lnTo>
                  <a:lnTo>
                    <a:pt x="2814" y="2025"/>
                  </a:lnTo>
                  <a:lnTo>
                    <a:pt x="2814" y="2025"/>
                  </a:lnTo>
                  <a:lnTo>
                    <a:pt x="2814" y="2025"/>
                  </a:lnTo>
                  <a:close/>
                  <a:moveTo>
                    <a:pt x="3083" y="1555"/>
                  </a:moveTo>
                  <a:lnTo>
                    <a:pt x="3095" y="1564"/>
                  </a:lnTo>
                  <a:lnTo>
                    <a:pt x="3078" y="1555"/>
                  </a:lnTo>
                  <a:lnTo>
                    <a:pt x="3083" y="1555"/>
                  </a:lnTo>
                  <a:lnTo>
                    <a:pt x="3083" y="1555"/>
                  </a:lnTo>
                  <a:lnTo>
                    <a:pt x="3083" y="1555"/>
                  </a:lnTo>
                  <a:close/>
                  <a:moveTo>
                    <a:pt x="3100" y="1564"/>
                  </a:moveTo>
                  <a:lnTo>
                    <a:pt x="3116" y="1581"/>
                  </a:lnTo>
                  <a:lnTo>
                    <a:pt x="3109" y="1597"/>
                  </a:lnTo>
                  <a:lnTo>
                    <a:pt x="3095" y="1604"/>
                  </a:lnTo>
                  <a:lnTo>
                    <a:pt x="3078" y="1588"/>
                  </a:lnTo>
                  <a:lnTo>
                    <a:pt x="3083" y="1571"/>
                  </a:lnTo>
                  <a:lnTo>
                    <a:pt x="3100" y="1564"/>
                  </a:lnTo>
                  <a:lnTo>
                    <a:pt x="3100" y="1564"/>
                  </a:lnTo>
                  <a:lnTo>
                    <a:pt x="3100" y="1564"/>
                  </a:lnTo>
                  <a:close/>
                  <a:moveTo>
                    <a:pt x="3180" y="1571"/>
                  </a:moveTo>
                  <a:lnTo>
                    <a:pt x="3180" y="1588"/>
                  </a:lnTo>
                  <a:lnTo>
                    <a:pt x="3163" y="1581"/>
                  </a:lnTo>
                  <a:lnTo>
                    <a:pt x="3180" y="1571"/>
                  </a:lnTo>
                  <a:lnTo>
                    <a:pt x="3180" y="1571"/>
                  </a:lnTo>
                  <a:lnTo>
                    <a:pt x="3180" y="1571"/>
                  </a:lnTo>
                  <a:close/>
                  <a:moveTo>
                    <a:pt x="3170" y="1597"/>
                  </a:moveTo>
                  <a:lnTo>
                    <a:pt x="3180" y="1604"/>
                  </a:lnTo>
                  <a:lnTo>
                    <a:pt x="3170" y="1604"/>
                  </a:lnTo>
                  <a:lnTo>
                    <a:pt x="3170" y="1597"/>
                  </a:lnTo>
                  <a:lnTo>
                    <a:pt x="3170" y="1597"/>
                  </a:lnTo>
                  <a:lnTo>
                    <a:pt x="3170" y="1597"/>
                  </a:lnTo>
                  <a:close/>
                  <a:moveTo>
                    <a:pt x="3109" y="1609"/>
                  </a:moveTo>
                  <a:lnTo>
                    <a:pt x="3109" y="1621"/>
                  </a:lnTo>
                  <a:lnTo>
                    <a:pt x="3109" y="1626"/>
                  </a:lnTo>
                  <a:lnTo>
                    <a:pt x="3083" y="1626"/>
                  </a:lnTo>
                  <a:lnTo>
                    <a:pt x="3109" y="1609"/>
                  </a:lnTo>
                  <a:lnTo>
                    <a:pt x="3109" y="1609"/>
                  </a:lnTo>
                  <a:lnTo>
                    <a:pt x="3109" y="1609"/>
                  </a:lnTo>
                  <a:close/>
                  <a:moveTo>
                    <a:pt x="3170" y="1609"/>
                  </a:moveTo>
                  <a:lnTo>
                    <a:pt x="3180" y="1621"/>
                  </a:lnTo>
                  <a:lnTo>
                    <a:pt x="3170" y="1609"/>
                  </a:lnTo>
                  <a:lnTo>
                    <a:pt x="3170" y="1609"/>
                  </a:lnTo>
                  <a:lnTo>
                    <a:pt x="3170" y="1609"/>
                  </a:lnTo>
                  <a:close/>
                  <a:moveTo>
                    <a:pt x="2219" y="1621"/>
                  </a:moveTo>
                  <a:lnTo>
                    <a:pt x="2230" y="1621"/>
                  </a:lnTo>
                  <a:lnTo>
                    <a:pt x="2214" y="1621"/>
                  </a:lnTo>
                  <a:lnTo>
                    <a:pt x="2219" y="1621"/>
                  </a:lnTo>
                  <a:lnTo>
                    <a:pt x="2219" y="1621"/>
                  </a:lnTo>
                  <a:lnTo>
                    <a:pt x="2219" y="1621"/>
                  </a:lnTo>
                  <a:close/>
                  <a:moveTo>
                    <a:pt x="2143" y="1642"/>
                  </a:moveTo>
                  <a:lnTo>
                    <a:pt x="2155" y="1642"/>
                  </a:lnTo>
                  <a:lnTo>
                    <a:pt x="2143" y="1642"/>
                  </a:lnTo>
                  <a:lnTo>
                    <a:pt x="2143" y="1642"/>
                  </a:lnTo>
                  <a:lnTo>
                    <a:pt x="2143" y="1642"/>
                  </a:lnTo>
                  <a:close/>
                  <a:moveTo>
                    <a:pt x="4271" y="1659"/>
                  </a:moveTo>
                  <a:lnTo>
                    <a:pt x="4281" y="1666"/>
                  </a:lnTo>
                  <a:lnTo>
                    <a:pt x="4281" y="1675"/>
                  </a:lnTo>
                  <a:lnTo>
                    <a:pt x="4271" y="1659"/>
                  </a:lnTo>
                  <a:lnTo>
                    <a:pt x="4271" y="1659"/>
                  </a:lnTo>
                  <a:lnTo>
                    <a:pt x="4271" y="1659"/>
                  </a:lnTo>
                  <a:close/>
                  <a:moveTo>
                    <a:pt x="4314" y="1666"/>
                  </a:moveTo>
                  <a:lnTo>
                    <a:pt x="4318" y="1682"/>
                  </a:lnTo>
                  <a:lnTo>
                    <a:pt x="4302" y="1666"/>
                  </a:lnTo>
                  <a:lnTo>
                    <a:pt x="4314" y="1666"/>
                  </a:lnTo>
                  <a:lnTo>
                    <a:pt x="4314" y="1666"/>
                  </a:lnTo>
                  <a:lnTo>
                    <a:pt x="4314" y="1666"/>
                  </a:lnTo>
                  <a:close/>
                  <a:moveTo>
                    <a:pt x="4352" y="1666"/>
                  </a:moveTo>
                  <a:lnTo>
                    <a:pt x="4368" y="1682"/>
                  </a:lnTo>
                  <a:lnTo>
                    <a:pt x="4352" y="1682"/>
                  </a:lnTo>
                  <a:lnTo>
                    <a:pt x="4340" y="1675"/>
                  </a:lnTo>
                  <a:lnTo>
                    <a:pt x="4352" y="1666"/>
                  </a:lnTo>
                  <a:lnTo>
                    <a:pt x="4352" y="1666"/>
                  </a:lnTo>
                  <a:lnTo>
                    <a:pt x="4352" y="1666"/>
                  </a:lnTo>
                  <a:close/>
                  <a:moveTo>
                    <a:pt x="2306" y="1725"/>
                  </a:moveTo>
                  <a:lnTo>
                    <a:pt x="2318" y="1732"/>
                  </a:lnTo>
                  <a:lnTo>
                    <a:pt x="2301" y="1732"/>
                  </a:lnTo>
                  <a:lnTo>
                    <a:pt x="2306" y="1725"/>
                  </a:lnTo>
                  <a:lnTo>
                    <a:pt x="2306" y="1725"/>
                  </a:lnTo>
                  <a:lnTo>
                    <a:pt x="2306" y="1725"/>
                  </a:lnTo>
                  <a:close/>
                  <a:moveTo>
                    <a:pt x="5176" y="4614"/>
                  </a:moveTo>
                  <a:lnTo>
                    <a:pt x="5167" y="4614"/>
                  </a:lnTo>
                  <a:lnTo>
                    <a:pt x="5162" y="4597"/>
                  </a:lnTo>
                  <a:lnTo>
                    <a:pt x="5150" y="4581"/>
                  </a:lnTo>
                  <a:lnTo>
                    <a:pt x="5162" y="4576"/>
                  </a:lnTo>
                  <a:lnTo>
                    <a:pt x="5138" y="4569"/>
                  </a:lnTo>
                  <a:lnTo>
                    <a:pt x="5138" y="4441"/>
                  </a:lnTo>
                  <a:lnTo>
                    <a:pt x="5096" y="4415"/>
                  </a:lnTo>
                  <a:lnTo>
                    <a:pt x="5058" y="4432"/>
                  </a:lnTo>
                  <a:lnTo>
                    <a:pt x="5041" y="4425"/>
                  </a:lnTo>
                  <a:lnTo>
                    <a:pt x="5041" y="4408"/>
                  </a:lnTo>
                  <a:lnTo>
                    <a:pt x="5037" y="4403"/>
                  </a:lnTo>
                  <a:lnTo>
                    <a:pt x="4982" y="4470"/>
                  </a:lnTo>
                  <a:lnTo>
                    <a:pt x="4973" y="4498"/>
                  </a:lnTo>
                  <a:lnTo>
                    <a:pt x="4961" y="4519"/>
                  </a:lnTo>
                  <a:lnTo>
                    <a:pt x="4961" y="4543"/>
                  </a:lnTo>
                  <a:lnTo>
                    <a:pt x="4928" y="4576"/>
                  </a:lnTo>
                  <a:lnTo>
                    <a:pt x="4928" y="4581"/>
                  </a:lnTo>
                  <a:lnTo>
                    <a:pt x="4918" y="4609"/>
                  </a:lnTo>
                  <a:lnTo>
                    <a:pt x="4907" y="4597"/>
                  </a:lnTo>
                  <a:lnTo>
                    <a:pt x="4897" y="4609"/>
                  </a:lnTo>
                  <a:lnTo>
                    <a:pt x="4890" y="4597"/>
                  </a:lnTo>
                  <a:lnTo>
                    <a:pt x="4881" y="4609"/>
                  </a:lnTo>
                  <a:lnTo>
                    <a:pt x="4874" y="4625"/>
                  </a:lnTo>
                  <a:lnTo>
                    <a:pt x="4626" y="4630"/>
                  </a:lnTo>
                  <a:lnTo>
                    <a:pt x="4529" y="4708"/>
                  </a:lnTo>
                  <a:lnTo>
                    <a:pt x="4503" y="4748"/>
                  </a:lnTo>
                  <a:lnTo>
                    <a:pt x="4368" y="4748"/>
                  </a:lnTo>
                  <a:lnTo>
                    <a:pt x="4335" y="4765"/>
                  </a:lnTo>
                  <a:lnTo>
                    <a:pt x="4340" y="4781"/>
                  </a:lnTo>
                  <a:lnTo>
                    <a:pt x="4340" y="4798"/>
                  </a:lnTo>
                  <a:lnTo>
                    <a:pt x="4356" y="4814"/>
                  </a:lnTo>
                  <a:lnTo>
                    <a:pt x="4352" y="4819"/>
                  </a:lnTo>
                  <a:lnTo>
                    <a:pt x="4271" y="4852"/>
                  </a:lnTo>
                  <a:lnTo>
                    <a:pt x="4189" y="4869"/>
                  </a:lnTo>
                  <a:lnTo>
                    <a:pt x="4108" y="4918"/>
                  </a:lnTo>
                  <a:lnTo>
                    <a:pt x="4087" y="4918"/>
                  </a:lnTo>
                  <a:lnTo>
                    <a:pt x="4066" y="4902"/>
                  </a:lnTo>
                  <a:lnTo>
                    <a:pt x="4054" y="4885"/>
                  </a:lnTo>
                  <a:lnTo>
                    <a:pt x="4066" y="4869"/>
                  </a:lnTo>
                  <a:lnTo>
                    <a:pt x="4104" y="4836"/>
                  </a:lnTo>
                  <a:lnTo>
                    <a:pt x="4108" y="4803"/>
                  </a:lnTo>
                  <a:lnTo>
                    <a:pt x="4125" y="4748"/>
                  </a:lnTo>
                  <a:lnTo>
                    <a:pt x="4104" y="4597"/>
                  </a:lnTo>
                  <a:lnTo>
                    <a:pt x="4028" y="4552"/>
                  </a:lnTo>
                  <a:lnTo>
                    <a:pt x="4033" y="4536"/>
                  </a:lnTo>
                  <a:lnTo>
                    <a:pt x="4028" y="4526"/>
                  </a:lnTo>
                  <a:lnTo>
                    <a:pt x="4000" y="4526"/>
                  </a:lnTo>
                  <a:lnTo>
                    <a:pt x="3990" y="4514"/>
                  </a:lnTo>
                  <a:lnTo>
                    <a:pt x="3990" y="4486"/>
                  </a:lnTo>
                  <a:lnTo>
                    <a:pt x="3957" y="4498"/>
                  </a:lnTo>
                  <a:lnTo>
                    <a:pt x="3941" y="4481"/>
                  </a:lnTo>
                  <a:lnTo>
                    <a:pt x="3941" y="4460"/>
                  </a:lnTo>
                  <a:lnTo>
                    <a:pt x="3693" y="4333"/>
                  </a:lnTo>
                  <a:lnTo>
                    <a:pt x="3622" y="4359"/>
                  </a:lnTo>
                  <a:lnTo>
                    <a:pt x="3584" y="4354"/>
                  </a:lnTo>
                  <a:lnTo>
                    <a:pt x="3563" y="4349"/>
                  </a:lnTo>
                  <a:lnTo>
                    <a:pt x="3525" y="4349"/>
                  </a:lnTo>
                  <a:lnTo>
                    <a:pt x="3515" y="4337"/>
                  </a:lnTo>
                  <a:lnTo>
                    <a:pt x="3478" y="4354"/>
                  </a:lnTo>
                  <a:lnTo>
                    <a:pt x="3440" y="4337"/>
                  </a:lnTo>
                  <a:lnTo>
                    <a:pt x="3433" y="4321"/>
                  </a:lnTo>
                  <a:lnTo>
                    <a:pt x="3418" y="4321"/>
                  </a:lnTo>
                  <a:lnTo>
                    <a:pt x="3407" y="4337"/>
                  </a:lnTo>
                  <a:lnTo>
                    <a:pt x="3407" y="4321"/>
                  </a:lnTo>
                  <a:lnTo>
                    <a:pt x="3369" y="4297"/>
                  </a:lnTo>
                  <a:lnTo>
                    <a:pt x="3348" y="4297"/>
                  </a:lnTo>
                  <a:lnTo>
                    <a:pt x="3310" y="4304"/>
                  </a:lnTo>
                  <a:lnTo>
                    <a:pt x="3310" y="4297"/>
                  </a:lnTo>
                  <a:lnTo>
                    <a:pt x="3256" y="4292"/>
                  </a:lnTo>
                  <a:lnTo>
                    <a:pt x="3244" y="4281"/>
                  </a:lnTo>
                  <a:lnTo>
                    <a:pt x="3239" y="4238"/>
                  </a:lnTo>
                  <a:lnTo>
                    <a:pt x="3218" y="4226"/>
                  </a:lnTo>
                  <a:lnTo>
                    <a:pt x="3218" y="4264"/>
                  </a:lnTo>
                  <a:lnTo>
                    <a:pt x="1281" y="4264"/>
                  </a:lnTo>
                  <a:lnTo>
                    <a:pt x="1276" y="4259"/>
                  </a:lnTo>
                  <a:lnTo>
                    <a:pt x="1259" y="4264"/>
                  </a:lnTo>
                  <a:lnTo>
                    <a:pt x="1248" y="4238"/>
                  </a:lnTo>
                  <a:lnTo>
                    <a:pt x="1264" y="4238"/>
                  </a:lnTo>
                  <a:lnTo>
                    <a:pt x="1276" y="4226"/>
                  </a:lnTo>
                  <a:lnTo>
                    <a:pt x="1264" y="4238"/>
                  </a:lnTo>
                  <a:lnTo>
                    <a:pt x="1248" y="4238"/>
                  </a:lnTo>
                  <a:lnTo>
                    <a:pt x="1243" y="4222"/>
                  </a:lnTo>
                  <a:lnTo>
                    <a:pt x="1248" y="4193"/>
                  </a:lnTo>
                  <a:lnTo>
                    <a:pt x="1226" y="4222"/>
                  </a:lnTo>
                  <a:lnTo>
                    <a:pt x="1226" y="4226"/>
                  </a:lnTo>
                  <a:lnTo>
                    <a:pt x="1205" y="4222"/>
                  </a:lnTo>
                  <a:lnTo>
                    <a:pt x="1189" y="4205"/>
                  </a:lnTo>
                  <a:lnTo>
                    <a:pt x="1193" y="4193"/>
                  </a:lnTo>
                  <a:lnTo>
                    <a:pt x="1210" y="4222"/>
                  </a:lnTo>
                  <a:lnTo>
                    <a:pt x="1210" y="4210"/>
                  </a:lnTo>
                  <a:lnTo>
                    <a:pt x="1226" y="4205"/>
                  </a:lnTo>
                  <a:lnTo>
                    <a:pt x="1210" y="4205"/>
                  </a:lnTo>
                  <a:lnTo>
                    <a:pt x="1193" y="4193"/>
                  </a:lnTo>
                  <a:lnTo>
                    <a:pt x="1205" y="4181"/>
                  </a:lnTo>
                  <a:lnTo>
                    <a:pt x="1193" y="4170"/>
                  </a:lnTo>
                  <a:lnTo>
                    <a:pt x="1210" y="4165"/>
                  </a:lnTo>
                  <a:lnTo>
                    <a:pt x="1205" y="4153"/>
                  </a:lnTo>
                  <a:lnTo>
                    <a:pt x="1193" y="4148"/>
                  </a:lnTo>
                  <a:lnTo>
                    <a:pt x="1205" y="4165"/>
                  </a:lnTo>
                  <a:lnTo>
                    <a:pt x="1193" y="4170"/>
                  </a:lnTo>
                  <a:lnTo>
                    <a:pt x="1193" y="4188"/>
                  </a:lnTo>
                  <a:lnTo>
                    <a:pt x="1189" y="4181"/>
                  </a:lnTo>
                  <a:lnTo>
                    <a:pt x="1189" y="4188"/>
                  </a:lnTo>
                  <a:lnTo>
                    <a:pt x="1167" y="4193"/>
                  </a:lnTo>
                  <a:lnTo>
                    <a:pt x="1134" y="4165"/>
                  </a:lnTo>
                  <a:lnTo>
                    <a:pt x="1139" y="4170"/>
                  </a:lnTo>
                  <a:lnTo>
                    <a:pt x="1151" y="4148"/>
                  </a:lnTo>
                  <a:lnTo>
                    <a:pt x="1139" y="4137"/>
                  </a:lnTo>
                  <a:lnTo>
                    <a:pt x="1172" y="4127"/>
                  </a:lnTo>
                  <a:lnTo>
                    <a:pt x="1134" y="4137"/>
                  </a:lnTo>
                  <a:lnTo>
                    <a:pt x="1118" y="4137"/>
                  </a:lnTo>
                  <a:lnTo>
                    <a:pt x="1118" y="4127"/>
                  </a:lnTo>
                  <a:lnTo>
                    <a:pt x="1134" y="4115"/>
                  </a:lnTo>
                  <a:lnTo>
                    <a:pt x="1134" y="4082"/>
                  </a:lnTo>
                  <a:lnTo>
                    <a:pt x="1125" y="4099"/>
                  </a:lnTo>
                  <a:lnTo>
                    <a:pt x="1134" y="4111"/>
                  </a:lnTo>
                  <a:lnTo>
                    <a:pt x="1118" y="4132"/>
                  </a:lnTo>
                  <a:lnTo>
                    <a:pt x="1087" y="4127"/>
                  </a:lnTo>
                  <a:lnTo>
                    <a:pt x="1096" y="4099"/>
                  </a:lnTo>
                  <a:lnTo>
                    <a:pt x="1070" y="4132"/>
                  </a:lnTo>
                  <a:lnTo>
                    <a:pt x="1063" y="4127"/>
                  </a:lnTo>
                  <a:lnTo>
                    <a:pt x="1033" y="4127"/>
                  </a:lnTo>
                  <a:lnTo>
                    <a:pt x="1042" y="4115"/>
                  </a:lnTo>
                  <a:lnTo>
                    <a:pt x="1033" y="4111"/>
                  </a:lnTo>
                  <a:lnTo>
                    <a:pt x="1080" y="4099"/>
                  </a:lnTo>
                  <a:lnTo>
                    <a:pt x="1087" y="4082"/>
                  </a:lnTo>
                  <a:lnTo>
                    <a:pt x="1080" y="4070"/>
                  </a:lnTo>
                  <a:lnTo>
                    <a:pt x="1080" y="4077"/>
                  </a:lnTo>
                  <a:lnTo>
                    <a:pt x="1070" y="4099"/>
                  </a:lnTo>
                  <a:lnTo>
                    <a:pt x="1042" y="4111"/>
                  </a:lnTo>
                  <a:lnTo>
                    <a:pt x="1049" y="4099"/>
                  </a:lnTo>
                  <a:lnTo>
                    <a:pt x="1042" y="4094"/>
                  </a:lnTo>
                  <a:lnTo>
                    <a:pt x="1011" y="4094"/>
                  </a:lnTo>
                  <a:lnTo>
                    <a:pt x="1042" y="4082"/>
                  </a:lnTo>
                  <a:lnTo>
                    <a:pt x="1004" y="4094"/>
                  </a:lnTo>
                  <a:lnTo>
                    <a:pt x="974" y="4082"/>
                  </a:lnTo>
                  <a:lnTo>
                    <a:pt x="990" y="4094"/>
                  </a:lnTo>
                  <a:lnTo>
                    <a:pt x="978" y="4094"/>
                  </a:lnTo>
                  <a:lnTo>
                    <a:pt x="952" y="4077"/>
                  </a:lnTo>
                  <a:lnTo>
                    <a:pt x="952" y="4070"/>
                  </a:lnTo>
                  <a:lnTo>
                    <a:pt x="995" y="4070"/>
                  </a:lnTo>
                  <a:lnTo>
                    <a:pt x="1004" y="4061"/>
                  </a:lnTo>
                  <a:lnTo>
                    <a:pt x="974" y="4070"/>
                  </a:lnTo>
                  <a:lnTo>
                    <a:pt x="924" y="4061"/>
                  </a:lnTo>
                  <a:lnTo>
                    <a:pt x="924" y="4054"/>
                  </a:lnTo>
                  <a:lnTo>
                    <a:pt x="941" y="4044"/>
                  </a:lnTo>
                  <a:lnTo>
                    <a:pt x="974" y="4044"/>
                  </a:lnTo>
                  <a:lnTo>
                    <a:pt x="974" y="4037"/>
                  </a:lnTo>
                  <a:lnTo>
                    <a:pt x="962" y="4044"/>
                  </a:lnTo>
                  <a:lnTo>
                    <a:pt x="924" y="4044"/>
                  </a:lnTo>
                  <a:lnTo>
                    <a:pt x="941" y="4025"/>
                  </a:lnTo>
                  <a:lnTo>
                    <a:pt x="952" y="4016"/>
                  </a:lnTo>
                  <a:lnTo>
                    <a:pt x="1011" y="4016"/>
                  </a:lnTo>
                  <a:lnTo>
                    <a:pt x="1011" y="4000"/>
                  </a:lnTo>
                  <a:lnTo>
                    <a:pt x="1004" y="4016"/>
                  </a:lnTo>
                  <a:lnTo>
                    <a:pt x="952" y="4016"/>
                  </a:lnTo>
                  <a:lnTo>
                    <a:pt x="957" y="4000"/>
                  </a:lnTo>
                  <a:lnTo>
                    <a:pt x="941" y="4004"/>
                  </a:lnTo>
                  <a:lnTo>
                    <a:pt x="941" y="4021"/>
                  </a:lnTo>
                  <a:lnTo>
                    <a:pt x="936" y="4025"/>
                  </a:lnTo>
                  <a:lnTo>
                    <a:pt x="919" y="4016"/>
                  </a:lnTo>
                  <a:lnTo>
                    <a:pt x="924" y="3988"/>
                  </a:lnTo>
                  <a:lnTo>
                    <a:pt x="936" y="3983"/>
                  </a:lnTo>
                  <a:lnTo>
                    <a:pt x="941" y="3966"/>
                  </a:lnTo>
                  <a:lnTo>
                    <a:pt x="952" y="3971"/>
                  </a:lnTo>
                  <a:lnTo>
                    <a:pt x="941" y="3971"/>
                  </a:lnTo>
                  <a:lnTo>
                    <a:pt x="974" y="3950"/>
                  </a:lnTo>
                  <a:lnTo>
                    <a:pt x="978" y="3950"/>
                  </a:lnTo>
                  <a:lnTo>
                    <a:pt x="1004" y="3983"/>
                  </a:lnTo>
                  <a:lnTo>
                    <a:pt x="990" y="3950"/>
                  </a:lnTo>
                  <a:lnTo>
                    <a:pt x="1004" y="3943"/>
                  </a:lnTo>
                  <a:lnTo>
                    <a:pt x="974" y="3943"/>
                  </a:lnTo>
                  <a:lnTo>
                    <a:pt x="962" y="3933"/>
                  </a:lnTo>
                  <a:lnTo>
                    <a:pt x="990" y="3910"/>
                  </a:lnTo>
                  <a:lnTo>
                    <a:pt x="978" y="3905"/>
                  </a:lnTo>
                  <a:lnTo>
                    <a:pt x="978" y="3917"/>
                  </a:lnTo>
                  <a:lnTo>
                    <a:pt x="941" y="3950"/>
                  </a:lnTo>
                  <a:lnTo>
                    <a:pt x="924" y="3959"/>
                  </a:lnTo>
                  <a:lnTo>
                    <a:pt x="919" y="3933"/>
                  </a:lnTo>
                  <a:lnTo>
                    <a:pt x="908" y="3950"/>
                  </a:lnTo>
                  <a:lnTo>
                    <a:pt x="908" y="3933"/>
                  </a:lnTo>
                  <a:lnTo>
                    <a:pt x="919" y="3926"/>
                  </a:lnTo>
                  <a:lnTo>
                    <a:pt x="903" y="3933"/>
                  </a:lnTo>
                  <a:lnTo>
                    <a:pt x="898" y="3959"/>
                  </a:lnTo>
                  <a:lnTo>
                    <a:pt x="886" y="3950"/>
                  </a:lnTo>
                  <a:lnTo>
                    <a:pt x="898" y="3933"/>
                  </a:lnTo>
                  <a:lnTo>
                    <a:pt x="903" y="3893"/>
                  </a:lnTo>
                  <a:lnTo>
                    <a:pt x="882" y="3905"/>
                  </a:lnTo>
                  <a:lnTo>
                    <a:pt x="870" y="3872"/>
                  </a:lnTo>
                  <a:lnTo>
                    <a:pt x="853" y="3855"/>
                  </a:lnTo>
                  <a:lnTo>
                    <a:pt x="848" y="3832"/>
                  </a:lnTo>
                  <a:lnTo>
                    <a:pt x="853" y="3832"/>
                  </a:lnTo>
                  <a:lnTo>
                    <a:pt x="882" y="3848"/>
                  </a:lnTo>
                  <a:lnTo>
                    <a:pt x="903" y="3839"/>
                  </a:lnTo>
                  <a:lnTo>
                    <a:pt x="924" y="3860"/>
                  </a:lnTo>
                  <a:lnTo>
                    <a:pt x="903" y="3839"/>
                  </a:lnTo>
                  <a:lnTo>
                    <a:pt x="870" y="3839"/>
                  </a:lnTo>
                  <a:lnTo>
                    <a:pt x="853" y="3822"/>
                  </a:lnTo>
                  <a:lnTo>
                    <a:pt x="853" y="3806"/>
                  </a:lnTo>
                  <a:lnTo>
                    <a:pt x="882" y="3799"/>
                  </a:lnTo>
                  <a:lnTo>
                    <a:pt x="865" y="3794"/>
                  </a:lnTo>
                  <a:lnTo>
                    <a:pt x="870" y="3782"/>
                  </a:lnTo>
                  <a:lnTo>
                    <a:pt x="827" y="3822"/>
                  </a:lnTo>
                  <a:lnTo>
                    <a:pt x="827" y="3848"/>
                  </a:lnTo>
                  <a:lnTo>
                    <a:pt x="773" y="3799"/>
                  </a:lnTo>
                  <a:lnTo>
                    <a:pt x="773" y="3766"/>
                  </a:lnTo>
                  <a:lnTo>
                    <a:pt x="811" y="3761"/>
                  </a:lnTo>
                  <a:lnTo>
                    <a:pt x="763" y="3766"/>
                  </a:lnTo>
                  <a:lnTo>
                    <a:pt x="756" y="3749"/>
                  </a:lnTo>
                  <a:lnTo>
                    <a:pt x="740" y="3749"/>
                  </a:lnTo>
                  <a:lnTo>
                    <a:pt x="740" y="3721"/>
                  </a:lnTo>
                  <a:lnTo>
                    <a:pt x="778" y="3749"/>
                  </a:lnTo>
                  <a:lnTo>
                    <a:pt x="747" y="3721"/>
                  </a:lnTo>
                  <a:lnTo>
                    <a:pt x="763" y="3711"/>
                  </a:lnTo>
                  <a:lnTo>
                    <a:pt x="778" y="3728"/>
                  </a:lnTo>
                  <a:lnTo>
                    <a:pt x="756" y="3711"/>
                  </a:lnTo>
                  <a:lnTo>
                    <a:pt x="763" y="3704"/>
                  </a:lnTo>
                  <a:lnTo>
                    <a:pt x="773" y="3688"/>
                  </a:lnTo>
                  <a:lnTo>
                    <a:pt x="801" y="3688"/>
                  </a:lnTo>
                  <a:lnTo>
                    <a:pt x="773" y="3683"/>
                  </a:lnTo>
                  <a:lnTo>
                    <a:pt x="794" y="3638"/>
                  </a:lnTo>
                  <a:lnTo>
                    <a:pt x="811" y="3638"/>
                  </a:lnTo>
                  <a:lnTo>
                    <a:pt x="794" y="3638"/>
                  </a:lnTo>
                  <a:lnTo>
                    <a:pt x="789" y="3633"/>
                  </a:lnTo>
                  <a:lnTo>
                    <a:pt x="789" y="3655"/>
                  </a:lnTo>
                  <a:lnTo>
                    <a:pt x="763" y="3688"/>
                  </a:lnTo>
                  <a:lnTo>
                    <a:pt x="763" y="3683"/>
                  </a:lnTo>
                  <a:lnTo>
                    <a:pt x="778" y="3655"/>
                  </a:lnTo>
                  <a:lnTo>
                    <a:pt x="763" y="3617"/>
                  </a:lnTo>
                  <a:lnTo>
                    <a:pt x="773" y="3593"/>
                  </a:lnTo>
                  <a:lnTo>
                    <a:pt x="763" y="3572"/>
                  </a:lnTo>
                  <a:lnTo>
                    <a:pt x="747" y="3572"/>
                  </a:lnTo>
                  <a:lnTo>
                    <a:pt x="719" y="3544"/>
                  </a:lnTo>
                  <a:lnTo>
                    <a:pt x="664" y="3522"/>
                  </a:lnTo>
                  <a:lnTo>
                    <a:pt x="650" y="3522"/>
                  </a:lnTo>
                  <a:lnTo>
                    <a:pt x="638" y="3506"/>
                  </a:lnTo>
                  <a:lnTo>
                    <a:pt x="626" y="3499"/>
                  </a:lnTo>
                  <a:lnTo>
                    <a:pt x="633" y="3482"/>
                  </a:lnTo>
                  <a:lnTo>
                    <a:pt x="612" y="3473"/>
                  </a:lnTo>
                  <a:lnTo>
                    <a:pt x="617" y="3461"/>
                  </a:lnTo>
                  <a:lnTo>
                    <a:pt x="541" y="3350"/>
                  </a:lnTo>
                  <a:lnTo>
                    <a:pt x="530" y="3333"/>
                  </a:lnTo>
                  <a:lnTo>
                    <a:pt x="504" y="3300"/>
                  </a:lnTo>
                  <a:lnTo>
                    <a:pt x="475" y="3296"/>
                  </a:lnTo>
                  <a:lnTo>
                    <a:pt x="466" y="3263"/>
                  </a:lnTo>
                  <a:lnTo>
                    <a:pt x="423" y="3246"/>
                  </a:lnTo>
                  <a:lnTo>
                    <a:pt x="416" y="3227"/>
                  </a:lnTo>
                  <a:lnTo>
                    <a:pt x="423" y="3211"/>
                  </a:lnTo>
                  <a:lnTo>
                    <a:pt x="385" y="3189"/>
                  </a:lnTo>
                  <a:lnTo>
                    <a:pt x="324" y="3211"/>
                  </a:lnTo>
                  <a:lnTo>
                    <a:pt x="331" y="3222"/>
                  </a:lnTo>
                  <a:lnTo>
                    <a:pt x="315" y="3222"/>
                  </a:lnTo>
                  <a:lnTo>
                    <a:pt x="315" y="3246"/>
                  </a:lnTo>
                  <a:lnTo>
                    <a:pt x="310" y="3251"/>
                  </a:lnTo>
                  <a:lnTo>
                    <a:pt x="293" y="3251"/>
                  </a:lnTo>
                  <a:lnTo>
                    <a:pt x="251" y="3284"/>
                  </a:lnTo>
                  <a:lnTo>
                    <a:pt x="239" y="3246"/>
                  </a:lnTo>
                  <a:lnTo>
                    <a:pt x="168" y="3189"/>
                  </a:lnTo>
                  <a:lnTo>
                    <a:pt x="163" y="3173"/>
                  </a:lnTo>
                  <a:lnTo>
                    <a:pt x="130" y="3156"/>
                  </a:lnTo>
                  <a:lnTo>
                    <a:pt x="142" y="3123"/>
                  </a:lnTo>
                  <a:lnTo>
                    <a:pt x="93" y="3135"/>
                  </a:lnTo>
                  <a:lnTo>
                    <a:pt x="71" y="3151"/>
                  </a:lnTo>
                  <a:lnTo>
                    <a:pt x="38" y="3135"/>
                  </a:lnTo>
                  <a:lnTo>
                    <a:pt x="38" y="3140"/>
                  </a:lnTo>
                  <a:lnTo>
                    <a:pt x="0" y="3135"/>
                  </a:lnTo>
                  <a:lnTo>
                    <a:pt x="0" y="2041"/>
                  </a:lnTo>
                  <a:lnTo>
                    <a:pt x="130" y="2058"/>
                  </a:lnTo>
                  <a:lnTo>
                    <a:pt x="168" y="2086"/>
                  </a:lnTo>
                  <a:lnTo>
                    <a:pt x="260" y="2124"/>
                  </a:lnTo>
                  <a:lnTo>
                    <a:pt x="348" y="2136"/>
                  </a:lnTo>
                  <a:lnTo>
                    <a:pt x="395" y="2157"/>
                  </a:lnTo>
                  <a:lnTo>
                    <a:pt x="411" y="2157"/>
                  </a:lnTo>
                  <a:lnTo>
                    <a:pt x="385" y="2140"/>
                  </a:lnTo>
                  <a:lnTo>
                    <a:pt x="400" y="2140"/>
                  </a:lnTo>
                  <a:lnTo>
                    <a:pt x="378" y="2136"/>
                  </a:lnTo>
                  <a:lnTo>
                    <a:pt x="433" y="2124"/>
                  </a:lnTo>
                  <a:lnTo>
                    <a:pt x="471" y="2157"/>
                  </a:lnTo>
                  <a:lnTo>
                    <a:pt x="475" y="2157"/>
                  </a:lnTo>
                  <a:lnTo>
                    <a:pt x="449" y="2119"/>
                  </a:lnTo>
                  <a:lnTo>
                    <a:pt x="454" y="2115"/>
                  </a:lnTo>
                  <a:lnTo>
                    <a:pt x="520" y="2070"/>
                  </a:lnTo>
                  <a:lnTo>
                    <a:pt x="558" y="2065"/>
                  </a:lnTo>
                  <a:lnTo>
                    <a:pt x="574" y="2041"/>
                  </a:lnTo>
                  <a:lnTo>
                    <a:pt x="600" y="2041"/>
                  </a:lnTo>
                  <a:lnTo>
                    <a:pt x="612" y="2029"/>
                  </a:lnTo>
                  <a:lnTo>
                    <a:pt x="596" y="2029"/>
                  </a:lnTo>
                  <a:lnTo>
                    <a:pt x="600" y="2025"/>
                  </a:lnTo>
                  <a:lnTo>
                    <a:pt x="626" y="2029"/>
                  </a:lnTo>
                  <a:lnTo>
                    <a:pt x="671" y="2003"/>
                  </a:lnTo>
                  <a:lnTo>
                    <a:pt x="688" y="2003"/>
                  </a:lnTo>
                  <a:lnTo>
                    <a:pt x="688" y="2013"/>
                  </a:lnTo>
                  <a:lnTo>
                    <a:pt x="709" y="1987"/>
                  </a:lnTo>
                  <a:lnTo>
                    <a:pt x="735" y="1970"/>
                  </a:lnTo>
                  <a:lnTo>
                    <a:pt x="740" y="1970"/>
                  </a:lnTo>
                  <a:lnTo>
                    <a:pt x="740" y="1975"/>
                  </a:lnTo>
                  <a:lnTo>
                    <a:pt x="773" y="1987"/>
                  </a:lnTo>
                  <a:lnTo>
                    <a:pt x="794" y="1959"/>
                  </a:lnTo>
                  <a:lnTo>
                    <a:pt x="815" y="1975"/>
                  </a:lnTo>
                  <a:lnTo>
                    <a:pt x="811" y="1992"/>
                  </a:lnTo>
                  <a:lnTo>
                    <a:pt x="740" y="2025"/>
                  </a:lnTo>
                  <a:lnTo>
                    <a:pt x="709" y="2048"/>
                  </a:lnTo>
                  <a:lnTo>
                    <a:pt x="702" y="2041"/>
                  </a:lnTo>
                  <a:lnTo>
                    <a:pt x="633" y="2058"/>
                  </a:lnTo>
                  <a:lnTo>
                    <a:pt x="626" y="2065"/>
                  </a:lnTo>
                  <a:lnTo>
                    <a:pt x="626" y="2070"/>
                  </a:lnTo>
                  <a:lnTo>
                    <a:pt x="579" y="2086"/>
                  </a:lnTo>
                  <a:lnTo>
                    <a:pt x="574" y="2115"/>
                  </a:lnTo>
                  <a:lnTo>
                    <a:pt x="546" y="2119"/>
                  </a:lnTo>
                  <a:lnTo>
                    <a:pt x="546" y="2124"/>
                  </a:lnTo>
                  <a:lnTo>
                    <a:pt x="525" y="2140"/>
                  </a:lnTo>
                  <a:lnTo>
                    <a:pt x="574" y="2157"/>
                  </a:lnTo>
                  <a:lnTo>
                    <a:pt x="541" y="2140"/>
                  </a:lnTo>
                  <a:lnTo>
                    <a:pt x="600" y="2140"/>
                  </a:lnTo>
                  <a:lnTo>
                    <a:pt x="600" y="2136"/>
                  </a:lnTo>
                  <a:lnTo>
                    <a:pt x="596" y="2136"/>
                  </a:lnTo>
                  <a:lnTo>
                    <a:pt x="579" y="2136"/>
                  </a:lnTo>
                  <a:lnTo>
                    <a:pt x="574" y="2115"/>
                  </a:lnTo>
                  <a:lnTo>
                    <a:pt x="600" y="2103"/>
                  </a:lnTo>
                  <a:lnTo>
                    <a:pt x="612" y="2086"/>
                  </a:lnTo>
                  <a:lnTo>
                    <a:pt x="617" y="2103"/>
                  </a:lnTo>
                  <a:lnTo>
                    <a:pt x="655" y="2070"/>
                  </a:lnTo>
                  <a:lnTo>
                    <a:pt x="633" y="2070"/>
                  </a:lnTo>
                  <a:lnTo>
                    <a:pt x="655" y="2065"/>
                  </a:lnTo>
                  <a:lnTo>
                    <a:pt x="671" y="2065"/>
                  </a:lnTo>
                  <a:lnTo>
                    <a:pt x="664" y="2081"/>
                  </a:lnTo>
                  <a:lnTo>
                    <a:pt x="688" y="2058"/>
                  </a:lnTo>
                  <a:lnTo>
                    <a:pt x="688" y="2070"/>
                  </a:lnTo>
                  <a:lnTo>
                    <a:pt x="671" y="2081"/>
                  </a:lnTo>
                  <a:lnTo>
                    <a:pt x="681" y="2081"/>
                  </a:lnTo>
                  <a:lnTo>
                    <a:pt x="693" y="2070"/>
                  </a:lnTo>
                  <a:lnTo>
                    <a:pt x="688" y="2048"/>
                  </a:lnTo>
                  <a:lnTo>
                    <a:pt x="693" y="2058"/>
                  </a:lnTo>
                  <a:lnTo>
                    <a:pt x="693" y="2070"/>
                  </a:lnTo>
                  <a:lnTo>
                    <a:pt x="702" y="2065"/>
                  </a:lnTo>
                  <a:lnTo>
                    <a:pt x="688" y="2048"/>
                  </a:lnTo>
                  <a:lnTo>
                    <a:pt x="693" y="2041"/>
                  </a:lnTo>
                  <a:lnTo>
                    <a:pt x="702" y="2065"/>
                  </a:lnTo>
                  <a:lnTo>
                    <a:pt x="693" y="2081"/>
                  </a:lnTo>
                  <a:lnTo>
                    <a:pt x="709" y="2058"/>
                  </a:lnTo>
                  <a:lnTo>
                    <a:pt x="702" y="2081"/>
                  </a:lnTo>
                  <a:lnTo>
                    <a:pt x="709" y="2070"/>
                  </a:lnTo>
                  <a:lnTo>
                    <a:pt x="702" y="2098"/>
                  </a:lnTo>
                  <a:lnTo>
                    <a:pt x="709" y="2103"/>
                  </a:lnTo>
                  <a:lnTo>
                    <a:pt x="709" y="2086"/>
                  </a:lnTo>
                  <a:lnTo>
                    <a:pt x="747" y="2029"/>
                  </a:lnTo>
                  <a:lnTo>
                    <a:pt x="832" y="2008"/>
                  </a:lnTo>
                  <a:lnTo>
                    <a:pt x="848" y="2003"/>
                  </a:lnTo>
                  <a:lnTo>
                    <a:pt x="848" y="2013"/>
                  </a:lnTo>
                  <a:lnTo>
                    <a:pt x="832" y="2013"/>
                  </a:lnTo>
                  <a:lnTo>
                    <a:pt x="832" y="2029"/>
                  </a:lnTo>
                  <a:lnTo>
                    <a:pt x="848" y="2029"/>
                  </a:lnTo>
                  <a:lnTo>
                    <a:pt x="886" y="2003"/>
                  </a:lnTo>
                  <a:lnTo>
                    <a:pt x="886" y="1975"/>
                  </a:lnTo>
                  <a:lnTo>
                    <a:pt x="952" y="1959"/>
                  </a:lnTo>
                  <a:lnTo>
                    <a:pt x="908" y="1954"/>
                  </a:lnTo>
                  <a:lnTo>
                    <a:pt x="919" y="1947"/>
                  </a:lnTo>
                  <a:lnTo>
                    <a:pt x="903" y="1947"/>
                  </a:lnTo>
                  <a:lnTo>
                    <a:pt x="908" y="1914"/>
                  </a:lnTo>
                  <a:lnTo>
                    <a:pt x="974" y="1959"/>
                  </a:lnTo>
                  <a:lnTo>
                    <a:pt x="1004" y="2025"/>
                  </a:lnTo>
                  <a:lnTo>
                    <a:pt x="1033" y="2058"/>
                  </a:lnTo>
                  <a:lnTo>
                    <a:pt x="1096" y="2081"/>
                  </a:lnTo>
                  <a:lnTo>
                    <a:pt x="1096" y="2070"/>
                  </a:lnTo>
                  <a:lnTo>
                    <a:pt x="1118" y="2065"/>
                  </a:lnTo>
                  <a:lnTo>
                    <a:pt x="1080" y="2065"/>
                  </a:lnTo>
                  <a:lnTo>
                    <a:pt x="1087" y="2058"/>
                  </a:lnTo>
                  <a:lnTo>
                    <a:pt x="1118" y="2058"/>
                  </a:lnTo>
                  <a:lnTo>
                    <a:pt x="1096" y="2041"/>
                  </a:lnTo>
                  <a:lnTo>
                    <a:pt x="1096" y="2029"/>
                  </a:lnTo>
                  <a:lnTo>
                    <a:pt x="1118" y="2025"/>
                  </a:lnTo>
                  <a:lnTo>
                    <a:pt x="1125" y="2041"/>
                  </a:lnTo>
                  <a:lnTo>
                    <a:pt x="1134" y="2029"/>
                  </a:lnTo>
                  <a:lnTo>
                    <a:pt x="1101" y="2013"/>
                  </a:lnTo>
                  <a:lnTo>
                    <a:pt x="1118" y="2013"/>
                  </a:lnTo>
                  <a:lnTo>
                    <a:pt x="1134" y="1992"/>
                  </a:lnTo>
                  <a:lnTo>
                    <a:pt x="1113" y="2003"/>
                  </a:lnTo>
                  <a:lnTo>
                    <a:pt x="1113" y="1992"/>
                  </a:lnTo>
                  <a:lnTo>
                    <a:pt x="1125" y="1987"/>
                  </a:lnTo>
                  <a:lnTo>
                    <a:pt x="1118" y="1992"/>
                  </a:lnTo>
                  <a:lnTo>
                    <a:pt x="1151" y="1987"/>
                  </a:lnTo>
                  <a:lnTo>
                    <a:pt x="1156" y="1992"/>
                  </a:lnTo>
                  <a:lnTo>
                    <a:pt x="1167" y="1987"/>
                  </a:lnTo>
                  <a:lnTo>
                    <a:pt x="1139" y="1975"/>
                  </a:lnTo>
                  <a:lnTo>
                    <a:pt x="1167" y="1975"/>
                  </a:lnTo>
                  <a:lnTo>
                    <a:pt x="1167" y="1987"/>
                  </a:lnTo>
                  <a:lnTo>
                    <a:pt x="1156" y="2025"/>
                  </a:lnTo>
                  <a:lnTo>
                    <a:pt x="1189" y="2029"/>
                  </a:lnTo>
                  <a:lnTo>
                    <a:pt x="1156" y="2070"/>
                  </a:lnTo>
                  <a:lnTo>
                    <a:pt x="1167" y="2070"/>
                  </a:lnTo>
                  <a:lnTo>
                    <a:pt x="1231" y="2070"/>
                  </a:lnTo>
                  <a:lnTo>
                    <a:pt x="1231" y="2058"/>
                  </a:lnTo>
                  <a:lnTo>
                    <a:pt x="1248" y="2058"/>
                  </a:lnTo>
                  <a:lnTo>
                    <a:pt x="1259" y="2025"/>
                  </a:lnTo>
                  <a:lnTo>
                    <a:pt x="1264" y="2013"/>
                  </a:lnTo>
                  <a:lnTo>
                    <a:pt x="1356" y="2013"/>
                  </a:lnTo>
                  <a:lnTo>
                    <a:pt x="1420" y="2041"/>
                  </a:lnTo>
                  <a:lnTo>
                    <a:pt x="1458" y="2070"/>
                  </a:lnTo>
                  <a:lnTo>
                    <a:pt x="1555" y="2086"/>
                  </a:lnTo>
                  <a:lnTo>
                    <a:pt x="1609" y="2119"/>
                  </a:lnTo>
                  <a:lnTo>
                    <a:pt x="1675" y="2136"/>
                  </a:lnTo>
                  <a:lnTo>
                    <a:pt x="1760" y="2140"/>
                  </a:lnTo>
                  <a:lnTo>
                    <a:pt x="1730" y="2124"/>
                  </a:lnTo>
                  <a:lnTo>
                    <a:pt x="1782" y="2124"/>
                  </a:lnTo>
                  <a:lnTo>
                    <a:pt x="1869" y="2157"/>
                  </a:lnTo>
                  <a:lnTo>
                    <a:pt x="1890" y="2181"/>
                  </a:lnTo>
                  <a:lnTo>
                    <a:pt x="1890" y="2214"/>
                  </a:lnTo>
                  <a:lnTo>
                    <a:pt x="1803" y="2226"/>
                  </a:lnTo>
                  <a:lnTo>
                    <a:pt x="1803" y="2235"/>
                  </a:lnTo>
                  <a:lnTo>
                    <a:pt x="1819" y="2247"/>
                  </a:lnTo>
                  <a:lnTo>
                    <a:pt x="1789" y="2252"/>
                  </a:lnTo>
                  <a:lnTo>
                    <a:pt x="1819" y="2268"/>
                  </a:lnTo>
                  <a:lnTo>
                    <a:pt x="2004" y="2285"/>
                  </a:lnTo>
                  <a:lnTo>
                    <a:pt x="2091" y="2263"/>
                  </a:lnTo>
                  <a:lnTo>
                    <a:pt x="2105" y="2280"/>
                  </a:lnTo>
                  <a:lnTo>
                    <a:pt x="2167" y="2247"/>
                  </a:lnTo>
                  <a:lnTo>
                    <a:pt x="2176" y="2252"/>
                  </a:lnTo>
                  <a:lnTo>
                    <a:pt x="2176" y="2263"/>
                  </a:lnTo>
                  <a:lnTo>
                    <a:pt x="2193" y="2263"/>
                  </a:lnTo>
                  <a:lnTo>
                    <a:pt x="2193" y="2280"/>
                  </a:lnTo>
                  <a:lnTo>
                    <a:pt x="2235" y="2280"/>
                  </a:lnTo>
                  <a:lnTo>
                    <a:pt x="2252" y="2303"/>
                  </a:lnTo>
                  <a:lnTo>
                    <a:pt x="2247" y="2308"/>
                  </a:lnTo>
                  <a:lnTo>
                    <a:pt x="2263" y="2325"/>
                  </a:lnTo>
                  <a:lnTo>
                    <a:pt x="2263" y="2292"/>
                  </a:lnTo>
                  <a:lnTo>
                    <a:pt x="2268" y="2292"/>
                  </a:lnTo>
                  <a:lnTo>
                    <a:pt x="2285" y="2325"/>
                  </a:lnTo>
                  <a:lnTo>
                    <a:pt x="2289" y="2320"/>
                  </a:lnTo>
                  <a:lnTo>
                    <a:pt x="2318" y="2337"/>
                  </a:lnTo>
                  <a:lnTo>
                    <a:pt x="2322" y="2363"/>
                  </a:lnTo>
                  <a:lnTo>
                    <a:pt x="2301" y="2363"/>
                  </a:lnTo>
                  <a:lnTo>
                    <a:pt x="2268" y="2346"/>
                  </a:lnTo>
                  <a:lnTo>
                    <a:pt x="2273" y="2363"/>
                  </a:lnTo>
                  <a:lnTo>
                    <a:pt x="2306" y="2374"/>
                  </a:lnTo>
                  <a:lnTo>
                    <a:pt x="2322" y="2412"/>
                  </a:lnTo>
                  <a:lnTo>
                    <a:pt x="2322" y="2396"/>
                  </a:lnTo>
                  <a:lnTo>
                    <a:pt x="2370" y="2448"/>
                  </a:lnTo>
                  <a:lnTo>
                    <a:pt x="2344" y="2412"/>
                  </a:lnTo>
                  <a:lnTo>
                    <a:pt x="2327" y="2379"/>
                  </a:lnTo>
                  <a:lnTo>
                    <a:pt x="2339" y="2358"/>
                  </a:lnTo>
                  <a:lnTo>
                    <a:pt x="2356" y="2374"/>
                  </a:lnTo>
                  <a:lnTo>
                    <a:pt x="2339" y="2374"/>
                  </a:lnTo>
                  <a:lnTo>
                    <a:pt x="2344" y="2391"/>
                  </a:lnTo>
                  <a:lnTo>
                    <a:pt x="2360" y="2391"/>
                  </a:lnTo>
                  <a:lnTo>
                    <a:pt x="2356" y="2374"/>
                  </a:lnTo>
                  <a:lnTo>
                    <a:pt x="2381" y="2391"/>
                  </a:lnTo>
                  <a:lnTo>
                    <a:pt x="2360" y="2363"/>
                  </a:lnTo>
                  <a:lnTo>
                    <a:pt x="2360" y="2346"/>
                  </a:lnTo>
                  <a:lnTo>
                    <a:pt x="2356" y="2341"/>
                  </a:lnTo>
                  <a:lnTo>
                    <a:pt x="2339" y="2325"/>
                  </a:lnTo>
                  <a:lnTo>
                    <a:pt x="2344" y="2308"/>
                  </a:lnTo>
                  <a:lnTo>
                    <a:pt x="2318" y="2280"/>
                  </a:lnTo>
                  <a:lnTo>
                    <a:pt x="2322" y="2263"/>
                  </a:lnTo>
                  <a:lnTo>
                    <a:pt x="2339" y="2252"/>
                  </a:lnTo>
                  <a:lnTo>
                    <a:pt x="2322" y="2247"/>
                  </a:lnTo>
                  <a:lnTo>
                    <a:pt x="2322" y="2235"/>
                  </a:lnTo>
                  <a:lnTo>
                    <a:pt x="2339" y="2235"/>
                  </a:lnTo>
                  <a:lnTo>
                    <a:pt x="2327" y="2235"/>
                  </a:lnTo>
                  <a:lnTo>
                    <a:pt x="2327" y="2247"/>
                  </a:lnTo>
                  <a:lnTo>
                    <a:pt x="2360" y="2235"/>
                  </a:lnTo>
                  <a:lnTo>
                    <a:pt x="2398" y="2230"/>
                  </a:lnTo>
                  <a:lnTo>
                    <a:pt x="2398" y="2226"/>
                  </a:lnTo>
                  <a:lnTo>
                    <a:pt x="2415" y="2214"/>
                  </a:lnTo>
                  <a:lnTo>
                    <a:pt x="2424" y="2230"/>
                  </a:lnTo>
                  <a:lnTo>
                    <a:pt x="2431" y="2226"/>
                  </a:lnTo>
                  <a:lnTo>
                    <a:pt x="2424" y="2214"/>
                  </a:lnTo>
                  <a:lnTo>
                    <a:pt x="2424" y="2209"/>
                  </a:lnTo>
                  <a:lnTo>
                    <a:pt x="2478" y="2192"/>
                  </a:lnTo>
                  <a:lnTo>
                    <a:pt x="2478" y="2176"/>
                  </a:lnTo>
                  <a:lnTo>
                    <a:pt x="2483" y="2169"/>
                  </a:lnTo>
                  <a:lnTo>
                    <a:pt x="2415" y="2181"/>
                  </a:lnTo>
                  <a:lnTo>
                    <a:pt x="2415" y="2192"/>
                  </a:lnTo>
                  <a:lnTo>
                    <a:pt x="2424" y="2197"/>
                  </a:lnTo>
                  <a:lnTo>
                    <a:pt x="2415" y="2209"/>
                  </a:lnTo>
                  <a:lnTo>
                    <a:pt x="2398" y="2192"/>
                  </a:lnTo>
                  <a:lnTo>
                    <a:pt x="2370" y="2214"/>
                  </a:lnTo>
                  <a:lnTo>
                    <a:pt x="2344" y="2197"/>
                  </a:lnTo>
                  <a:lnTo>
                    <a:pt x="2327" y="2209"/>
                  </a:lnTo>
                  <a:lnTo>
                    <a:pt x="2322" y="2214"/>
                  </a:lnTo>
                  <a:lnTo>
                    <a:pt x="2344" y="2226"/>
                  </a:lnTo>
                  <a:lnTo>
                    <a:pt x="2289" y="2230"/>
                  </a:lnTo>
                  <a:lnTo>
                    <a:pt x="2285" y="2226"/>
                  </a:lnTo>
                  <a:lnTo>
                    <a:pt x="2289" y="2226"/>
                  </a:lnTo>
                  <a:lnTo>
                    <a:pt x="2289" y="2209"/>
                  </a:lnTo>
                  <a:lnTo>
                    <a:pt x="2263" y="2214"/>
                  </a:lnTo>
                  <a:lnTo>
                    <a:pt x="2289" y="2169"/>
                  </a:lnTo>
                  <a:lnTo>
                    <a:pt x="2370" y="2157"/>
                  </a:lnTo>
                  <a:lnTo>
                    <a:pt x="2436" y="2124"/>
                  </a:lnTo>
                  <a:lnTo>
                    <a:pt x="2469" y="2136"/>
                  </a:lnTo>
                  <a:lnTo>
                    <a:pt x="2490" y="2152"/>
                  </a:lnTo>
                  <a:lnTo>
                    <a:pt x="2490" y="2169"/>
                  </a:lnTo>
                  <a:lnTo>
                    <a:pt x="2500" y="2181"/>
                  </a:lnTo>
                  <a:lnTo>
                    <a:pt x="2483" y="2192"/>
                  </a:lnTo>
                  <a:lnTo>
                    <a:pt x="2521" y="2214"/>
                  </a:lnTo>
                  <a:lnTo>
                    <a:pt x="2537" y="2209"/>
                  </a:lnTo>
                  <a:lnTo>
                    <a:pt x="2533" y="2214"/>
                  </a:lnTo>
                  <a:lnTo>
                    <a:pt x="2554" y="2214"/>
                  </a:lnTo>
                  <a:lnTo>
                    <a:pt x="2542" y="2230"/>
                  </a:lnTo>
                  <a:lnTo>
                    <a:pt x="2559" y="2235"/>
                  </a:lnTo>
                  <a:lnTo>
                    <a:pt x="2613" y="2235"/>
                  </a:lnTo>
                  <a:lnTo>
                    <a:pt x="2641" y="2226"/>
                  </a:lnTo>
                  <a:lnTo>
                    <a:pt x="2646" y="2230"/>
                  </a:lnTo>
                  <a:lnTo>
                    <a:pt x="2641" y="2247"/>
                  </a:lnTo>
                  <a:lnTo>
                    <a:pt x="2717" y="2280"/>
                  </a:lnTo>
                  <a:lnTo>
                    <a:pt x="2738" y="2280"/>
                  </a:lnTo>
                  <a:lnTo>
                    <a:pt x="2769" y="2285"/>
                  </a:lnTo>
                  <a:lnTo>
                    <a:pt x="2844" y="2263"/>
                  </a:lnTo>
                  <a:lnTo>
                    <a:pt x="2911" y="2268"/>
                  </a:lnTo>
                  <a:lnTo>
                    <a:pt x="2932" y="2280"/>
                  </a:lnTo>
                  <a:lnTo>
                    <a:pt x="2991" y="2268"/>
                  </a:lnTo>
                  <a:lnTo>
                    <a:pt x="2965" y="2252"/>
                  </a:lnTo>
                  <a:lnTo>
                    <a:pt x="2965" y="2235"/>
                  </a:lnTo>
                  <a:lnTo>
                    <a:pt x="2970" y="2235"/>
                  </a:lnTo>
                  <a:lnTo>
                    <a:pt x="3007" y="2280"/>
                  </a:lnTo>
                  <a:lnTo>
                    <a:pt x="3057" y="2292"/>
                  </a:lnTo>
                  <a:lnTo>
                    <a:pt x="3078" y="2285"/>
                  </a:lnTo>
                  <a:lnTo>
                    <a:pt x="3078" y="2268"/>
                  </a:lnTo>
                  <a:lnTo>
                    <a:pt x="3071" y="2252"/>
                  </a:lnTo>
                  <a:lnTo>
                    <a:pt x="3062" y="2263"/>
                  </a:lnTo>
                  <a:lnTo>
                    <a:pt x="3041" y="2247"/>
                  </a:lnTo>
                  <a:lnTo>
                    <a:pt x="3019" y="2252"/>
                  </a:lnTo>
                  <a:lnTo>
                    <a:pt x="3007" y="2263"/>
                  </a:lnTo>
                  <a:lnTo>
                    <a:pt x="2974" y="2230"/>
                  </a:lnTo>
                  <a:lnTo>
                    <a:pt x="2986" y="2226"/>
                  </a:lnTo>
                  <a:lnTo>
                    <a:pt x="2991" y="2235"/>
                  </a:lnTo>
                  <a:lnTo>
                    <a:pt x="2991" y="2226"/>
                  </a:lnTo>
                  <a:lnTo>
                    <a:pt x="2970" y="2197"/>
                  </a:lnTo>
                  <a:lnTo>
                    <a:pt x="2974" y="2209"/>
                  </a:lnTo>
                  <a:lnTo>
                    <a:pt x="2986" y="2192"/>
                  </a:lnTo>
                  <a:lnTo>
                    <a:pt x="3003" y="2209"/>
                  </a:lnTo>
                  <a:lnTo>
                    <a:pt x="3029" y="2197"/>
                  </a:lnTo>
                  <a:lnTo>
                    <a:pt x="3019" y="2181"/>
                  </a:lnTo>
                  <a:lnTo>
                    <a:pt x="3024" y="2176"/>
                  </a:lnTo>
                  <a:lnTo>
                    <a:pt x="3045" y="2192"/>
                  </a:lnTo>
                  <a:lnTo>
                    <a:pt x="3071" y="2192"/>
                  </a:lnTo>
                  <a:lnTo>
                    <a:pt x="3083" y="2197"/>
                  </a:lnTo>
                  <a:lnTo>
                    <a:pt x="3078" y="2214"/>
                  </a:lnTo>
                  <a:lnTo>
                    <a:pt x="3133" y="2209"/>
                  </a:lnTo>
                  <a:lnTo>
                    <a:pt x="3100" y="2235"/>
                  </a:lnTo>
                  <a:lnTo>
                    <a:pt x="3109" y="2247"/>
                  </a:lnTo>
                  <a:lnTo>
                    <a:pt x="3154" y="2214"/>
                  </a:lnTo>
                  <a:lnTo>
                    <a:pt x="3137" y="2268"/>
                  </a:lnTo>
                  <a:lnTo>
                    <a:pt x="3147" y="2285"/>
                  </a:lnTo>
                  <a:lnTo>
                    <a:pt x="3126" y="2308"/>
                  </a:lnTo>
                  <a:lnTo>
                    <a:pt x="3147" y="2308"/>
                  </a:lnTo>
                  <a:lnTo>
                    <a:pt x="3137" y="2341"/>
                  </a:lnTo>
                  <a:lnTo>
                    <a:pt x="3147" y="2341"/>
                  </a:lnTo>
                  <a:lnTo>
                    <a:pt x="3185" y="2325"/>
                  </a:lnTo>
                  <a:lnTo>
                    <a:pt x="3185" y="2337"/>
                  </a:lnTo>
                  <a:lnTo>
                    <a:pt x="3170" y="2346"/>
                  </a:lnTo>
                  <a:lnTo>
                    <a:pt x="3192" y="2341"/>
                  </a:lnTo>
                  <a:lnTo>
                    <a:pt x="3201" y="2374"/>
                  </a:lnTo>
                  <a:lnTo>
                    <a:pt x="3163" y="2374"/>
                  </a:lnTo>
                  <a:lnTo>
                    <a:pt x="3154" y="2363"/>
                  </a:lnTo>
                  <a:lnTo>
                    <a:pt x="3163" y="2358"/>
                  </a:lnTo>
                  <a:lnTo>
                    <a:pt x="3147" y="2374"/>
                  </a:lnTo>
                  <a:lnTo>
                    <a:pt x="3137" y="2358"/>
                  </a:lnTo>
                  <a:lnTo>
                    <a:pt x="3126" y="2358"/>
                  </a:lnTo>
                  <a:lnTo>
                    <a:pt x="3170" y="2396"/>
                  </a:lnTo>
                  <a:lnTo>
                    <a:pt x="3170" y="2412"/>
                  </a:lnTo>
                  <a:lnTo>
                    <a:pt x="3180" y="2412"/>
                  </a:lnTo>
                  <a:lnTo>
                    <a:pt x="3147" y="2379"/>
                  </a:lnTo>
                  <a:lnTo>
                    <a:pt x="3208" y="2379"/>
                  </a:lnTo>
                  <a:lnTo>
                    <a:pt x="3208" y="2374"/>
                  </a:lnTo>
                  <a:lnTo>
                    <a:pt x="3201" y="2346"/>
                  </a:lnTo>
                  <a:lnTo>
                    <a:pt x="3218" y="2337"/>
                  </a:lnTo>
                  <a:lnTo>
                    <a:pt x="3201" y="2325"/>
                  </a:lnTo>
                  <a:lnTo>
                    <a:pt x="3201" y="2303"/>
                  </a:lnTo>
                  <a:lnTo>
                    <a:pt x="3180" y="2280"/>
                  </a:lnTo>
                  <a:lnTo>
                    <a:pt x="3185" y="2268"/>
                  </a:lnTo>
                  <a:lnTo>
                    <a:pt x="3201" y="2235"/>
                  </a:lnTo>
                  <a:lnTo>
                    <a:pt x="3192" y="2235"/>
                  </a:lnTo>
                  <a:lnTo>
                    <a:pt x="3244" y="2235"/>
                  </a:lnTo>
                  <a:lnTo>
                    <a:pt x="3289" y="2214"/>
                  </a:lnTo>
                  <a:lnTo>
                    <a:pt x="3289" y="2192"/>
                  </a:lnTo>
                  <a:lnTo>
                    <a:pt x="3326" y="2176"/>
                  </a:lnTo>
                  <a:lnTo>
                    <a:pt x="3326" y="2169"/>
                  </a:lnTo>
                  <a:lnTo>
                    <a:pt x="3315" y="2169"/>
                  </a:lnTo>
                  <a:lnTo>
                    <a:pt x="3326" y="2140"/>
                  </a:lnTo>
                  <a:lnTo>
                    <a:pt x="3326" y="2124"/>
                  </a:lnTo>
                  <a:lnTo>
                    <a:pt x="3298" y="2124"/>
                  </a:lnTo>
                  <a:lnTo>
                    <a:pt x="3293" y="2140"/>
                  </a:lnTo>
                  <a:lnTo>
                    <a:pt x="3310" y="2136"/>
                  </a:lnTo>
                  <a:lnTo>
                    <a:pt x="3293" y="2152"/>
                  </a:lnTo>
                  <a:lnTo>
                    <a:pt x="3260" y="2152"/>
                  </a:lnTo>
                  <a:lnTo>
                    <a:pt x="3256" y="2152"/>
                  </a:lnTo>
                  <a:lnTo>
                    <a:pt x="3256" y="2136"/>
                  </a:lnTo>
                  <a:lnTo>
                    <a:pt x="3256" y="2124"/>
                  </a:lnTo>
                  <a:lnTo>
                    <a:pt x="3293" y="2103"/>
                  </a:lnTo>
                  <a:lnTo>
                    <a:pt x="3277" y="2103"/>
                  </a:lnTo>
                  <a:lnTo>
                    <a:pt x="3277" y="2081"/>
                  </a:lnTo>
                  <a:lnTo>
                    <a:pt x="3331" y="2065"/>
                  </a:lnTo>
                  <a:lnTo>
                    <a:pt x="3310" y="2086"/>
                  </a:lnTo>
                  <a:lnTo>
                    <a:pt x="3310" y="2103"/>
                  </a:lnTo>
                  <a:lnTo>
                    <a:pt x="3343" y="2070"/>
                  </a:lnTo>
                  <a:lnTo>
                    <a:pt x="3326" y="2070"/>
                  </a:lnTo>
                  <a:lnTo>
                    <a:pt x="3343" y="2065"/>
                  </a:lnTo>
                  <a:lnTo>
                    <a:pt x="3331" y="2058"/>
                  </a:lnTo>
                  <a:lnTo>
                    <a:pt x="3277" y="2065"/>
                  </a:lnTo>
                  <a:lnTo>
                    <a:pt x="3256" y="2029"/>
                  </a:lnTo>
                  <a:lnTo>
                    <a:pt x="3239" y="2048"/>
                  </a:lnTo>
                  <a:lnTo>
                    <a:pt x="3180" y="2025"/>
                  </a:lnTo>
                  <a:lnTo>
                    <a:pt x="3163" y="2025"/>
                  </a:lnTo>
                  <a:lnTo>
                    <a:pt x="3147" y="2003"/>
                  </a:lnTo>
                  <a:lnTo>
                    <a:pt x="3116" y="1975"/>
                  </a:lnTo>
                  <a:lnTo>
                    <a:pt x="3116" y="1954"/>
                  </a:lnTo>
                  <a:lnTo>
                    <a:pt x="3137" y="1921"/>
                  </a:lnTo>
                  <a:lnTo>
                    <a:pt x="3170" y="1921"/>
                  </a:lnTo>
                  <a:lnTo>
                    <a:pt x="3154" y="1914"/>
                  </a:lnTo>
                  <a:lnTo>
                    <a:pt x="3170" y="1897"/>
                  </a:lnTo>
                  <a:lnTo>
                    <a:pt x="3147" y="1914"/>
                  </a:lnTo>
                  <a:lnTo>
                    <a:pt x="3116" y="1892"/>
                  </a:lnTo>
                  <a:lnTo>
                    <a:pt x="3126" y="1859"/>
                  </a:lnTo>
                  <a:lnTo>
                    <a:pt x="3133" y="1848"/>
                  </a:lnTo>
                  <a:lnTo>
                    <a:pt x="3116" y="1843"/>
                  </a:lnTo>
                  <a:lnTo>
                    <a:pt x="3126" y="1843"/>
                  </a:lnTo>
                  <a:lnTo>
                    <a:pt x="3126" y="1826"/>
                  </a:lnTo>
                  <a:lnTo>
                    <a:pt x="3154" y="1810"/>
                  </a:lnTo>
                  <a:lnTo>
                    <a:pt x="3185" y="1826"/>
                  </a:lnTo>
                  <a:lnTo>
                    <a:pt x="3192" y="1810"/>
                  </a:lnTo>
                  <a:lnTo>
                    <a:pt x="3185" y="1803"/>
                  </a:lnTo>
                  <a:lnTo>
                    <a:pt x="3163" y="1786"/>
                  </a:lnTo>
                  <a:lnTo>
                    <a:pt x="3208" y="1770"/>
                  </a:lnTo>
                  <a:lnTo>
                    <a:pt x="3208" y="1753"/>
                  </a:lnTo>
                  <a:lnTo>
                    <a:pt x="3256" y="1748"/>
                  </a:lnTo>
                  <a:lnTo>
                    <a:pt x="3208" y="1748"/>
                  </a:lnTo>
                  <a:lnTo>
                    <a:pt x="3218" y="1737"/>
                  </a:lnTo>
                  <a:lnTo>
                    <a:pt x="3260" y="1732"/>
                  </a:lnTo>
                  <a:lnTo>
                    <a:pt x="3272" y="1737"/>
                  </a:lnTo>
                  <a:lnTo>
                    <a:pt x="3256" y="1753"/>
                  </a:lnTo>
                  <a:lnTo>
                    <a:pt x="3256" y="1765"/>
                  </a:lnTo>
                  <a:lnTo>
                    <a:pt x="3260" y="1753"/>
                  </a:lnTo>
                  <a:lnTo>
                    <a:pt x="3272" y="1753"/>
                  </a:lnTo>
                  <a:lnTo>
                    <a:pt x="3272" y="1781"/>
                  </a:lnTo>
                  <a:lnTo>
                    <a:pt x="3289" y="1753"/>
                  </a:lnTo>
                  <a:lnTo>
                    <a:pt x="3315" y="1765"/>
                  </a:lnTo>
                  <a:lnTo>
                    <a:pt x="3310" y="1781"/>
                  </a:lnTo>
                  <a:lnTo>
                    <a:pt x="3369" y="1819"/>
                  </a:lnTo>
                  <a:lnTo>
                    <a:pt x="3381" y="1843"/>
                  </a:lnTo>
                  <a:lnTo>
                    <a:pt x="3369" y="1876"/>
                  </a:lnTo>
                  <a:lnTo>
                    <a:pt x="3364" y="1881"/>
                  </a:lnTo>
                  <a:lnTo>
                    <a:pt x="3423" y="1914"/>
                  </a:lnTo>
                  <a:lnTo>
                    <a:pt x="3418" y="1930"/>
                  </a:lnTo>
                  <a:lnTo>
                    <a:pt x="3440" y="1947"/>
                  </a:lnTo>
                  <a:lnTo>
                    <a:pt x="3440" y="1959"/>
                  </a:lnTo>
                  <a:lnTo>
                    <a:pt x="3449" y="1947"/>
                  </a:lnTo>
                  <a:lnTo>
                    <a:pt x="3456" y="1947"/>
                  </a:lnTo>
                  <a:lnTo>
                    <a:pt x="3470" y="1970"/>
                  </a:lnTo>
                  <a:lnTo>
                    <a:pt x="3440" y="1975"/>
                  </a:lnTo>
                  <a:lnTo>
                    <a:pt x="3418" y="1970"/>
                  </a:lnTo>
                  <a:lnTo>
                    <a:pt x="3407" y="1987"/>
                  </a:lnTo>
                  <a:lnTo>
                    <a:pt x="3440" y="1992"/>
                  </a:lnTo>
                  <a:lnTo>
                    <a:pt x="3385" y="2029"/>
                  </a:lnTo>
                  <a:lnTo>
                    <a:pt x="3402" y="2029"/>
                  </a:lnTo>
                  <a:lnTo>
                    <a:pt x="3369" y="2029"/>
                  </a:lnTo>
                  <a:lnTo>
                    <a:pt x="3418" y="2029"/>
                  </a:lnTo>
                  <a:lnTo>
                    <a:pt x="3433" y="2041"/>
                  </a:lnTo>
                  <a:lnTo>
                    <a:pt x="3418" y="2041"/>
                  </a:lnTo>
                  <a:lnTo>
                    <a:pt x="3433" y="2048"/>
                  </a:lnTo>
                  <a:lnTo>
                    <a:pt x="3449" y="2058"/>
                  </a:lnTo>
                  <a:lnTo>
                    <a:pt x="3470" y="2041"/>
                  </a:lnTo>
                  <a:lnTo>
                    <a:pt x="3494" y="2041"/>
                  </a:lnTo>
                  <a:lnTo>
                    <a:pt x="3504" y="2041"/>
                  </a:lnTo>
                  <a:lnTo>
                    <a:pt x="3470" y="2058"/>
                  </a:lnTo>
                  <a:lnTo>
                    <a:pt x="3494" y="2048"/>
                  </a:lnTo>
                  <a:lnTo>
                    <a:pt x="3525" y="2058"/>
                  </a:lnTo>
                  <a:lnTo>
                    <a:pt x="3525" y="2048"/>
                  </a:lnTo>
                  <a:lnTo>
                    <a:pt x="3558" y="2065"/>
                  </a:lnTo>
                  <a:lnTo>
                    <a:pt x="3525" y="2065"/>
                  </a:lnTo>
                  <a:lnTo>
                    <a:pt x="3541" y="2065"/>
                  </a:lnTo>
                  <a:lnTo>
                    <a:pt x="3525" y="2070"/>
                  </a:lnTo>
                  <a:lnTo>
                    <a:pt x="3515" y="2086"/>
                  </a:lnTo>
                  <a:lnTo>
                    <a:pt x="3478" y="2070"/>
                  </a:lnTo>
                  <a:lnTo>
                    <a:pt x="3532" y="2115"/>
                  </a:lnTo>
                  <a:lnTo>
                    <a:pt x="3532" y="2124"/>
                  </a:lnTo>
                  <a:lnTo>
                    <a:pt x="3546" y="2136"/>
                  </a:lnTo>
                  <a:lnTo>
                    <a:pt x="3541" y="2152"/>
                  </a:lnTo>
                  <a:lnTo>
                    <a:pt x="3541" y="2181"/>
                  </a:lnTo>
                  <a:lnTo>
                    <a:pt x="3532" y="2192"/>
                  </a:lnTo>
                  <a:lnTo>
                    <a:pt x="3558" y="2197"/>
                  </a:lnTo>
                  <a:lnTo>
                    <a:pt x="3546" y="2209"/>
                  </a:lnTo>
                  <a:lnTo>
                    <a:pt x="3558" y="2214"/>
                  </a:lnTo>
                  <a:lnTo>
                    <a:pt x="3570" y="2214"/>
                  </a:lnTo>
                  <a:lnTo>
                    <a:pt x="3584" y="2192"/>
                  </a:lnTo>
                  <a:lnTo>
                    <a:pt x="3579" y="2169"/>
                  </a:lnTo>
                  <a:lnTo>
                    <a:pt x="3596" y="2157"/>
                  </a:lnTo>
                  <a:lnTo>
                    <a:pt x="3596" y="2119"/>
                  </a:lnTo>
                  <a:lnTo>
                    <a:pt x="3622" y="2086"/>
                  </a:lnTo>
                  <a:lnTo>
                    <a:pt x="3650" y="2086"/>
                  </a:lnTo>
                  <a:lnTo>
                    <a:pt x="3721" y="2140"/>
                  </a:lnTo>
                  <a:lnTo>
                    <a:pt x="3730" y="2209"/>
                  </a:lnTo>
                  <a:lnTo>
                    <a:pt x="3726" y="2226"/>
                  </a:lnTo>
                  <a:lnTo>
                    <a:pt x="3704" y="2197"/>
                  </a:lnTo>
                  <a:lnTo>
                    <a:pt x="3688" y="2209"/>
                  </a:lnTo>
                  <a:lnTo>
                    <a:pt x="3693" y="2230"/>
                  </a:lnTo>
                  <a:lnTo>
                    <a:pt x="3693" y="2252"/>
                  </a:lnTo>
                  <a:lnTo>
                    <a:pt x="3709" y="2285"/>
                  </a:lnTo>
                  <a:lnTo>
                    <a:pt x="3763" y="2337"/>
                  </a:lnTo>
                  <a:lnTo>
                    <a:pt x="3747" y="2358"/>
                  </a:lnTo>
                  <a:lnTo>
                    <a:pt x="3785" y="2341"/>
                  </a:lnTo>
                  <a:lnTo>
                    <a:pt x="3780" y="2325"/>
                  </a:lnTo>
                  <a:lnTo>
                    <a:pt x="3796" y="2320"/>
                  </a:lnTo>
                  <a:lnTo>
                    <a:pt x="3818" y="2325"/>
                  </a:lnTo>
                  <a:lnTo>
                    <a:pt x="3827" y="2292"/>
                  </a:lnTo>
                  <a:lnTo>
                    <a:pt x="3818" y="2285"/>
                  </a:lnTo>
                  <a:lnTo>
                    <a:pt x="3865" y="2235"/>
                  </a:lnTo>
                  <a:lnTo>
                    <a:pt x="3872" y="2209"/>
                  </a:lnTo>
                  <a:lnTo>
                    <a:pt x="3881" y="2192"/>
                  </a:lnTo>
                  <a:lnTo>
                    <a:pt x="3881" y="2152"/>
                  </a:lnTo>
                  <a:lnTo>
                    <a:pt x="3893" y="2152"/>
                  </a:lnTo>
                  <a:lnTo>
                    <a:pt x="3941" y="2152"/>
                  </a:lnTo>
                  <a:lnTo>
                    <a:pt x="3941" y="2140"/>
                  </a:lnTo>
                  <a:lnTo>
                    <a:pt x="3910" y="2136"/>
                  </a:lnTo>
                  <a:lnTo>
                    <a:pt x="3924" y="2136"/>
                  </a:lnTo>
                  <a:lnTo>
                    <a:pt x="3919" y="2124"/>
                  </a:lnTo>
                  <a:lnTo>
                    <a:pt x="3941" y="2124"/>
                  </a:lnTo>
                  <a:lnTo>
                    <a:pt x="3936" y="2119"/>
                  </a:lnTo>
                  <a:lnTo>
                    <a:pt x="3962" y="2119"/>
                  </a:lnTo>
                  <a:lnTo>
                    <a:pt x="3919" y="2103"/>
                  </a:lnTo>
                  <a:lnTo>
                    <a:pt x="3924" y="2098"/>
                  </a:lnTo>
                  <a:lnTo>
                    <a:pt x="3903" y="2103"/>
                  </a:lnTo>
                  <a:lnTo>
                    <a:pt x="3910" y="2098"/>
                  </a:lnTo>
                  <a:lnTo>
                    <a:pt x="3893" y="2086"/>
                  </a:lnTo>
                  <a:lnTo>
                    <a:pt x="3893" y="2070"/>
                  </a:lnTo>
                  <a:lnTo>
                    <a:pt x="3903" y="2065"/>
                  </a:lnTo>
                  <a:lnTo>
                    <a:pt x="3886" y="2065"/>
                  </a:lnTo>
                  <a:lnTo>
                    <a:pt x="3893" y="2025"/>
                  </a:lnTo>
                  <a:lnTo>
                    <a:pt x="3903" y="2025"/>
                  </a:lnTo>
                  <a:lnTo>
                    <a:pt x="3886" y="2008"/>
                  </a:lnTo>
                  <a:lnTo>
                    <a:pt x="3924" y="2025"/>
                  </a:lnTo>
                  <a:lnTo>
                    <a:pt x="3974" y="2008"/>
                  </a:lnTo>
                  <a:lnTo>
                    <a:pt x="4016" y="2029"/>
                  </a:lnTo>
                  <a:lnTo>
                    <a:pt x="4120" y="2041"/>
                  </a:lnTo>
                  <a:lnTo>
                    <a:pt x="4096" y="2041"/>
                  </a:lnTo>
                  <a:lnTo>
                    <a:pt x="4104" y="2058"/>
                  </a:lnTo>
                  <a:lnTo>
                    <a:pt x="4049" y="2048"/>
                  </a:lnTo>
                  <a:lnTo>
                    <a:pt x="4120" y="2070"/>
                  </a:lnTo>
                  <a:lnTo>
                    <a:pt x="4120" y="2086"/>
                  </a:lnTo>
                  <a:lnTo>
                    <a:pt x="4158" y="2086"/>
                  </a:lnTo>
                  <a:lnTo>
                    <a:pt x="4189" y="2098"/>
                  </a:lnTo>
                  <a:lnTo>
                    <a:pt x="4189" y="2103"/>
                  </a:lnTo>
                  <a:lnTo>
                    <a:pt x="4163" y="2119"/>
                  </a:lnTo>
                  <a:lnTo>
                    <a:pt x="4134" y="2136"/>
                  </a:lnTo>
                  <a:lnTo>
                    <a:pt x="4179" y="2136"/>
                  </a:lnTo>
                  <a:lnTo>
                    <a:pt x="4189" y="2152"/>
                  </a:lnTo>
                  <a:lnTo>
                    <a:pt x="4189" y="2169"/>
                  </a:lnTo>
                  <a:lnTo>
                    <a:pt x="4141" y="2192"/>
                  </a:lnTo>
                  <a:lnTo>
                    <a:pt x="4120" y="2181"/>
                  </a:lnTo>
                  <a:lnTo>
                    <a:pt x="4125" y="2181"/>
                  </a:lnTo>
                  <a:lnTo>
                    <a:pt x="4120" y="2192"/>
                  </a:lnTo>
                  <a:lnTo>
                    <a:pt x="4096" y="2181"/>
                  </a:lnTo>
                  <a:lnTo>
                    <a:pt x="4108" y="2209"/>
                  </a:lnTo>
                  <a:lnTo>
                    <a:pt x="4104" y="2209"/>
                  </a:lnTo>
                  <a:lnTo>
                    <a:pt x="4120" y="2209"/>
                  </a:lnTo>
                  <a:lnTo>
                    <a:pt x="4108" y="2226"/>
                  </a:lnTo>
                  <a:lnTo>
                    <a:pt x="4125" y="2230"/>
                  </a:lnTo>
                  <a:lnTo>
                    <a:pt x="4141" y="2226"/>
                  </a:lnTo>
                  <a:lnTo>
                    <a:pt x="4125" y="2247"/>
                  </a:lnTo>
                  <a:lnTo>
                    <a:pt x="4134" y="2252"/>
                  </a:lnTo>
                  <a:lnTo>
                    <a:pt x="4189" y="2308"/>
                  </a:lnTo>
                  <a:lnTo>
                    <a:pt x="4172" y="2363"/>
                  </a:lnTo>
                  <a:lnTo>
                    <a:pt x="4141" y="2374"/>
                  </a:lnTo>
                  <a:lnTo>
                    <a:pt x="4096" y="2419"/>
                  </a:lnTo>
                  <a:lnTo>
                    <a:pt x="4066" y="2419"/>
                  </a:lnTo>
                  <a:lnTo>
                    <a:pt x="4033" y="2448"/>
                  </a:lnTo>
                  <a:lnTo>
                    <a:pt x="4028" y="2436"/>
                  </a:lnTo>
                  <a:lnTo>
                    <a:pt x="4033" y="2448"/>
                  </a:lnTo>
                  <a:lnTo>
                    <a:pt x="4016" y="2429"/>
                  </a:lnTo>
                  <a:lnTo>
                    <a:pt x="4000" y="2419"/>
                  </a:lnTo>
                  <a:lnTo>
                    <a:pt x="3995" y="2403"/>
                  </a:lnTo>
                  <a:lnTo>
                    <a:pt x="4000" y="2391"/>
                  </a:lnTo>
                  <a:lnTo>
                    <a:pt x="4000" y="2379"/>
                  </a:lnTo>
                  <a:lnTo>
                    <a:pt x="3990" y="2403"/>
                  </a:lnTo>
                  <a:lnTo>
                    <a:pt x="3978" y="2403"/>
                  </a:lnTo>
                  <a:lnTo>
                    <a:pt x="3962" y="2391"/>
                  </a:lnTo>
                  <a:lnTo>
                    <a:pt x="3974" y="2374"/>
                  </a:lnTo>
                  <a:lnTo>
                    <a:pt x="3936" y="2358"/>
                  </a:lnTo>
                  <a:lnTo>
                    <a:pt x="3936" y="2374"/>
                  </a:lnTo>
                  <a:lnTo>
                    <a:pt x="3957" y="2374"/>
                  </a:lnTo>
                  <a:lnTo>
                    <a:pt x="3924" y="2374"/>
                  </a:lnTo>
                  <a:lnTo>
                    <a:pt x="3910" y="2379"/>
                  </a:lnTo>
                  <a:lnTo>
                    <a:pt x="3957" y="2374"/>
                  </a:lnTo>
                  <a:lnTo>
                    <a:pt x="3945" y="2379"/>
                  </a:lnTo>
                  <a:lnTo>
                    <a:pt x="3962" y="2391"/>
                  </a:lnTo>
                  <a:lnTo>
                    <a:pt x="3945" y="2391"/>
                  </a:lnTo>
                  <a:lnTo>
                    <a:pt x="3962" y="2396"/>
                  </a:lnTo>
                  <a:lnTo>
                    <a:pt x="3962" y="2403"/>
                  </a:lnTo>
                  <a:lnTo>
                    <a:pt x="3990" y="2403"/>
                  </a:lnTo>
                  <a:lnTo>
                    <a:pt x="3990" y="2412"/>
                  </a:lnTo>
                  <a:lnTo>
                    <a:pt x="4016" y="2469"/>
                  </a:lnTo>
                  <a:lnTo>
                    <a:pt x="4011" y="2469"/>
                  </a:lnTo>
                  <a:lnTo>
                    <a:pt x="3962" y="2436"/>
                  </a:lnTo>
                  <a:lnTo>
                    <a:pt x="3957" y="2452"/>
                  </a:lnTo>
                  <a:lnTo>
                    <a:pt x="3974" y="2469"/>
                  </a:lnTo>
                  <a:lnTo>
                    <a:pt x="3910" y="2457"/>
                  </a:lnTo>
                  <a:lnTo>
                    <a:pt x="3893" y="2419"/>
                  </a:lnTo>
                  <a:lnTo>
                    <a:pt x="3872" y="2429"/>
                  </a:lnTo>
                  <a:lnTo>
                    <a:pt x="3801" y="2429"/>
                  </a:lnTo>
                  <a:lnTo>
                    <a:pt x="3811" y="2436"/>
                  </a:lnTo>
                  <a:lnTo>
                    <a:pt x="3801" y="2436"/>
                  </a:lnTo>
                  <a:lnTo>
                    <a:pt x="3811" y="2452"/>
                  </a:lnTo>
                  <a:lnTo>
                    <a:pt x="3865" y="2469"/>
                  </a:lnTo>
                  <a:lnTo>
                    <a:pt x="3855" y="2485"/>
                  </a:lnTo>
                  <a:lnTo>
                    <a:pt x="3827" y="2502"/>
                  </a:lnTo>
                  <a:lnTo>
                    <a:pt x="3818" y="2523"/>
                  </a:lnTo>
                  <a:lnTo>
                    <a:pt x="3763" y="2568"/>
                  </a:lnTo>
                  <a:lnTo>
                    <a:pt x="3721" y="2563"/>
                  </a:lnTo>
                  <a:lnTo>
                    <a:pt x="3655" y="2530"/>
                  </a:lnTo>
                  <a:lnTo>
                    <a:pt x="3676" y="2530"/>
                  </a:lnTo>
                  <a:lnTo>
                    <a:pt x="3650" y="2523"/>
                  </a:lnTo>
                  <a:lnTo>
                    <a:pt x="3600" y="2490"/>
                  </a:lnTo>
                  <a:lnTo>
                    <a:pt x="3579" y="2490"/>
                  </a:lnTo>
                  <a:lnTo>
                    <a:pt x="3596" y="2502"/>
                  </a:lnTo>
                  <a:lnTo>
                    <a:pt x="3596" y="2507"/>
                  </a:lnTo>
                  <a:lnTo>
                    <a:pt x="3546" y="2502"/>
                  </a:lnTo>
                  <a:lnTo>
                    <a:pt x="3563" y="2502"/>
                  </a:lnTo>
                  <a:lnTo>
                    <a:pt x="3478" y="2490"/>
                  </a:lnTo>
                  <a:lnTo>
                    <a:pt x="3508" y="2507"/>
                  </a:lnTo>
                  <a:lnTo>
                    <a:pt x="3504" y="2502"/>
                  </a:lnTo>
                  <a:lnTo>
                    <a:pt x="3579" y="2514"/>
                  </a:lnTo>
                  <a:lnTo>
                    <a:pt x="3638" y="2568"/>
                  </a:lnTo>
                  <a:lnTo>
                    <a:pt x="3763" y="2568"/>
                  </a:lnTo>
                  <a:lnTo>
                    <a:pt x="3796" y="2585"/>
                  </a:lnTo>
                  <a:lnTo>
                    <a:pt x="3747" y="2658"/>
                  </a:lnTo>
                  <a:lnTo>
                    <a:pt x="3730" y="2667"/>
                  </a:lnTo>
                  <a:lnTo>
                    <a:pt x="3721" y="2696"/>
                  </a:lnTo>
                  <a:lnTo>
                    <a:pt x="3709" y="2707"/>
                  </a:lnTo>
                  <a:lnTo>
                    <a:pt x="3667" y="2729"/>
                  </a:lnTo>
                  <a:lnTo>
                    <a:pt x="3638" y="2724"/>
                  </a:lnTo>
                  <a:lnTo>
                    <a:pt x="3633" y="2707"/>
                  </a:lnTo>
                  <a:lnTo>
                    <a:pt x="3650" y="2729"/>
                  </a:lnTo>
                  <a:lnTo>
                    <a:pt x="3612" y="2712"/>
                  </a:lnTo>
                  <a:lnTo>
                    <a:pt x="3612" y="2729"/>
                  </a:lnTo>
                  <a:lnTo>
                    <a:pt x="3584" y="2712"/>
                  </a:lnTo>
                  <a:lnTo>
                    <a:pt x="3596" y="2707"/>
                  </a:lnTo>
                  <a:lnTo>
                    <a:pt x="3596" y="2696"/>
                  </a:lnTo>
                  <a:lnTo>
                    <a:pt x="3584" y="2707"/>
                  </a:lnTo>
                  <a:lnTo>
                    <a:pt x="3570" y="2707"/>
                  </a:lnTo>
                  <a:lnTo>
                    <a:pt x="3579" y="2712"/>
                  </a:lnTo>
                  <a:lnTo>
                    <a:pt x="3584" y="2729"/>
                  </a:lnTo>
                  <a:lnTo>
                    <a:pt x="3558" y="2724"/>
                  </a:lnTo>
                  <a:lnTo>
                    <a:pt x="3579" y="2745"/>
                  </a:lnTo>
                  <a:lnTo>
                    <a:pt x="3563" y="2769"/>
                  </a:lnTo>
                  <a:lnTo>
                    <a:pt x="3532" y="2752"/>
                  </a:lnTo>
                  <a:lnTo>
                    <a:pt x="3525" y="2762"/>
                  </a:lnTo>
                  <a:lnTo>
                    <a:pt x="3532" y="2762"/>
                  </a:lnTo>
                  <a:lnTo>
                    <a:pt x="3541" y="2769"/>
                  </a:lnTo>
                  <a:lnTo>
                    <a:pt x="3508" y="2769"/>
                  </a:lnTo>
                  <a:lnTo>
                    <a:pt x="3470" y="2752"/>
                  </a:lnTo>
                  <a:lnTo>
                    <a:pt x="3423" y="2752"/>
                  </a:lnTo>
                  <a:lnTo>
                    <a:pt x="3343" y="2724"/>
                  </a:lnTo>
                  <a:lnTo>
                    <a:pt x="3310" y="2696"/>
                  </a:lnTo>
                  <a:lnTo>
                    <a:pt x="3326" y="2712"/>
                  </a:lnTo>
                  <a:lnTo>
                    <a:pt x="3315" y="2729"/>
                  </a:lnTo>
                  <a:lnTo>
                    <a:pt x="3331" y="2736"/>
                  </a:lnTo>
                  <a:lnTo>
                    <a:pt x="3352" y="2736"/>
                  </a:lnTo>
                  <a:lnTo>
                    <a:pt x="3331" y="2729"/>
                  </a:lnTo>
                  <a:lnTo>
                    <a:pt x="3343" y="2729"/>
                  </a:lnTo>
                  <a:lnTo>
                    <a:pt x="3433" y="2752"/>
                  </a:lnTo>
                  <a:lnTo>
                    <a:pt x="3402" y="2778"/>
                  </a:lnTo>
                  <a:lnTo>
                    <a:pt x="3456" y="2752"/>
                  </a:lnTo>
                  <a:lnTo>
                    <a:pt x="3461" y="2769"/>
                  </a:lnTo>
                  <a:lnTo>
                    <a:pt x="3515" y="2790"/>
                  </a:lnTo>
                  <a:lnTo>
                    <a:pt x="3508" y="2785"/>
                  </a:lnTo>
                  <a:lnTo>
                    <a:pt x="3525" y="2790"/>
                  </a:lnTo>
                  <a:lnTo>
                    <a:pt x="3532" y="2835"/>
                  </a:lnTo>
                  <a:lnTo>
                    <a:pt x="3525" y="2840"/>
                  </a:lnTo>
                  <a:lnTo>
                    <a:pt x="3504" y="2840"/>
                  </a:lnTo>
                  <a:lnTo>
                    <a:pt x="3478" y="2856"/>
                  </a:lnTo>
                  <a:lnTo>
                    <a:pt x="3407" y="2856"/>
                  </a:lnTo>
                  <a:lnTo>
                    <a:pt x="3418" y="2873"/>
                  </a:lnTo>
                  <a:lnTo>
                    <a:pt x="3449" y="2880"/>
                  </a:lnTo>
                  <a:lnTo>
                    <a:pt x="3433" y="2889"/>
                  </a:lnTo>
                  <a:lnTo>
                    <a:pt x="3418" y="2880"/>
                  </a:lnTo>
                  <a:lnTo>
                    <a:pt x="3385" y="2896"/>
                  </a:lnTo>
                  <a:lnTo>
                    <a:pt x="3385" y="2913"/>
                  </a:lnTo>
                  <a:lnTo>
                    <a:pt x="3402" y="2934"/>
                  </a:lnTo>
                  <a:lnTo>
                    <a:pt x="3385" y="2918"/>
                  </a:lnTo>
                  <a:lnTo>
                    <a:pt x="3352" y="2913"/>
                  </a:lnTo>
                  <a:lnTo>
                    <a:pt x="3385" y="2929"/>
                  </a:lnTo>
                  <a:lnTo>
                    <a:pt x="3364" y="2929"/>
                  </a:lnTo>
                  <a:lnTo>
                    <a:pt x="3369" y="2934"/>
                  </a:lnTo>
                  <a:lnTo>
                    <a:pt x="3352" y="2946"/>
                  </a:lnTo>
                  <a:lnTo>
                    <a:pt x="3343" y="2946"/>
                  </a:lnTo>
                  <a:lnTo>
                    <a:pt x="3352" y="2951"/>
                  </a:lnTo>
                  <a:lnTo>
                    <a:pt x="3348" y="2955"/>
                  </a:lnTo>
                  <a:lnTo>
                    <a:pt x="3326" y="2951"/>
                  </a:lnTo>
                  <a:lnTo>
                    <a:pt x="3326" y="2967"/>
                  </a:lnTo>
                  <a:lnTo>
                    <a:pt x="3348" y="2974"/>
                  </a:lnTo>
                  <a:lnTo>
                    <a:pt x="3298" y="3007"/>
                  </a:lnTo>
                  <a:lnTo>
                    <a:pt x="3310" y="3024"/>
                  </a:lnTo>
                  <a:lnTo>
                    <a:pt x="3272" y="3078"/>
                  </a:lnTo>
                  <a:lnTo>
                    <a:pt x="3260" y="3111"/>
                  </a:lnTo>
                  <a:lnTo>
                    <a:pt x="3244" y="3111"/>
                  </a:lnTo>
                  <a:lnTo>
                    <a:pt x="3256" y="3123"/>
                  </a:lnTo>
                  <a:lnTo>
                    <a:pt x="3239" y="3173"/>
                  </a:lnTo>
                  <a:lnTo>
                    <a:pt x="3239" y="3206"/>
                  </a:lnTo>
                  <a:lnTo>
                    <a:pt x="3244" y="3234"/>
                  </a:lnTo>
                  <a:lnTo>
                    <a:pt x="3239" y="3246"/>
                  </a:lnTo>
                  <a:lnTo>
                    <a:pt x="3239" y="3263"/>
                  </a:lnTo>
                  <a:lnTo>
                    <a:pt x="3260" y="3300"/>
                  </a:lnTo>
                  <a:lnTo>
                    <a:pt x="3277" y="3300"/>
                  </a:lnTo>
                  <a:lnTo>
                    <a:pt x="3272" y="3355"/>
                  </a:lnTo>
                  <a:lnTo>
                    <a:pt x="3277" y="3338"/>
                  </a:lnTo>
                  <a:lnTo>
                    <a:pt x="3277" y="3317"/>
                  </a:lnTo>
                  <a:lnTo>
                    <a:pt x="3289" y="3300"/>
                  </a:lnTo>
                  <a:lnTo>
                    <a:pt x="3352" y="3300"/>
                  </a:lnTo>
                  <a:lnTo>
                    <a:pt x="3407" y="3449"/>
                  </a:lnTo>
                  <a:lnTo>
                    <a:pt x="3395" y="3473"/>
                  </a:lnTo>
                  <a:lnTo>
                    <a:pt x="3381" y="3489"/>
                  </a:lnTo>
                  <a:lnTo>
                    <a:pt x="3407" y="3473"/>
                  </a:lnTo>
                  <a:lnTo>
                    <a:pt x="3423" y="3473"/>
                  </a:lnTo>
                  <a:lnTo>
                    <a:pt x="3402" y="3489"/>
                  </a:lnTo>
                  <a:lnTo>
                    <a:pt x="3508" y="3461"/>
                  </a:lnTo>
                  <a:lnTo>
                    <a:pt x="3667" y="3499"/>
                  </a:lnTo>
                  <a:lnTo>
                    <a:pt x="3721" y="3539"/>
                  </a:lnTo>
                  <a:lnTo>
                    <a:pt x="3742" y="3572"/>
                  </a:lnTo>
                  <a:lnTo>
                    <a:pt x="3763" y="3584"/>
                  </a:lnTo>
                  <a:lnTo>
                    <a:pt x="3881" y="3626"/>
                  </a:lnTo>
                  <a:lnTo>
                    <a:pt x="3903" y="3650"/>
                  </a:lnTo>
                  <a:lnTo>
                    <a:pt x="3919" y="3650"/>
                  </a:lnTo>
                  <a:lnTo>
                    <a:pt x="3893" y="3688"/>
                  </a:lnTo>
                  <a:lnTo>
                    <a:pt x="3910" y="3666"/>
                  </a:lnTo>
                  <a:lnTo>
                    <a:pt x="3924" y="3655"/>
                  </a:lnTo>
                  <a:lnTo>
                    <a:pt x="3957" y="3666"/>
                  </a:lnTo>
                  <a:lnTo>
                    <a:pt x="4000" y="3655"/>
                  </a:lnTo>
                  <a:lnTo>
                    <a:pt x="4028" y="3671"/>
                  </a:lnTo>
                  <a:lnTo>
                    <a:pt x="4016" y="3655"/>
                  </a:lnTo>
                  <a:lnTo>
                    <a:pt x="4070" y="3666"/>
                  </a:lnTo>
                  <a:lnTo>
                    <a:pt x="4108" y="3683"/>
                  </a:lnTo>
                  <a:lnTo>
                    <a:pt x="4120" y="3671"/>
                  </a:lnTo>
                  <a:lnTo>
                    <a:pt x="4125" y="3704"/>
                  </a:lnTo>
                  <a:lnTo>
                    <a:pt x="4108" y="3749"/>
                  </a:lnTo>
                  <a:lnTo>
                    <a:pt x="4108" y="3766"/>
                  </a:lnTo>
                  <a:lnTo>
                    <a:pt x="4120" y="3777"/>
                  </a:lnTo>
                  <a:lnTo>
                    <a:pt x="4125" y="3806"/>
                  </a:lnTo>
                  <a:lnTo>
                    <a:pt x="4125" y="3822"/>
                  </a:lnTo>
                  <a:lnTo>
                    <a:pt x="4125" y="3855"/>
                  </a:lnTo>
                  <a:lnTo>
                    <a:pt x="4120" y="3872"/>
                  </a:lnTo>
                  <a:lnTo>
                    <a:pt x="4120" y="3877"/>
                  </a:lnTo>
                  <a:lnTo>
                    <a:pt x="4172" y="3943"/>
                  </a:lnTo>
                  <a:lnTo>
                    <a:pt x="4172" y="3950"/>
                  </a:lnTo>
                  <a:lnTo>
                    <a:pt x="4151" y="3966"/>
                  </a:lnTo>
                  <a:lnTo>
                    <a:pt x="4172" y="3959"/>
                  </a:lnTo>
                  <a:lnTo>
                    <a:pt x="4179" y="3971"/>
                  </a:lnTo>
                  <a:lnTo>
                    <a:pt x="4210" y="3983"/>
                  </a:lnTo>
                  <a:lnTo>
                    <a:pt x="4233" y="4016"/>
                  </a:lnTo>
                  <a:lnTo>
                    <a:pt x="4248" y="4044"/>
                  </a:lnTo>
                  <a:lnTo>
                    <a:pt x="4205" y="4077"/>
                  </a:lnTo>
                  <a:lnTo>
                    <a:pt x="4248" y="4044"/>
                  </a:lnTo>
                  <a:lnTo>
                    <a:pt x="4271" y="4044"/>
                  </a:lnTo>
                  <a:lnTo>
                    <a:pt x="4297" y="4061"/>
                  </a:lnTo>
                  <a:lnTo>
                    <a:pt x="4323" y="4099"/>
                  </a:lnTo>
                  <a:lnTo>
                    <a:pt x="4297" y="4061"/>
                  </a:lnTo>
                  <a:lnTo>
                    <a:pt x="4302" y="4037"/>
                  </a:lnTo>
                  <a:lnTo>
                    <a:pt x="4323" y="4016"/>
                  </a:lnTo>
                  <a:lnTo>
                    <a:pt x="4335" y="4016"/>
                  </a:lnTo>
                  <a:lnTo>
                    <a:pt x="4323" y="4025"/>
                  </a:lnTo>
                  <a:lnTo>
                    <a:pt x="4352" y="4025"/>
                  </a:lnTo>
                  <a:lnTo>
                    <a:pt x="4352" y="4054"/>
                  </a:lnTo>
                  <a:lnTo>
                    <a:pt x="4356" y="4061"/>
                  </a:lnTo>
                  <a:lnTo>
                    <a:pt x="4356" y="4054"/>
                  </a:lnTo>
                  <a:lnTo>
                    <a:pt x="4368" y="4025"/>
                  </a:lnTo>
                  <a:lnTo>
                    <a:pt x="4368" y="4021"/>
                  </a:lnTo>
                  <a:lnTo>
                    <a:pt x="4340" y="4004"/>
                  </a:lnTo>
                  <a:lnTo>
                    <a:pt x="4356" y="4000"/>
                  </a:lnTo>
                  <a:lnTo>
                    <a:pt x="4356" y="3988"/>
                  </a:lnTo>
                  <a:lnTo>
                    <a:pt x="4378" y="3971"/>
                  </a:lnTo>
                  <a:lnTo>
                    <a:pt x="4378" y="3933"/>
                  </a:lnTo>
                  <a:lnTo>
                    <a:pt x="4368" y="3926"/>
                  </a:lnTo>
                  <a:lnTo>
                    <a:pt x="4373" y="3926"/>
                  </a:lnTo>
                  <a:lnTo>
                    <a:pt x="4368" y="3905"/>
                  </a:lnTo>
                  <a:lnTo>
                    <a:pt x="4368" y="3893"/>
                  </a:lnTo>
                  <a:lnTo>
                    <a:pt x="4356" y="3893"/>
                  </a:lnTo>
                  <a:lnTo>
                    <a:pt x="4356" y="3855"/>
                  </a:lnTo>
                  <a:lnTo>
                    <a:pt x="4340" y="3832"/>
                  </a:lnTo>
                  <a:lnTo>
                    <a:pt x="4356" y="3832"/>
                  </a:lnTo>
                  <a:lnTo>
                    <a:pt x="4335" y="3815"/>
                  </a:lnTo>
                  <a:lnTo>
                    <a:pt x="4340" y="3799"/>
                  </a:lnTo>
                  <a:lnTo>
                    <a:pt x="4356" y="3806"/>
                  </a:lnTo>
                  <a:lnTo>
                    <a:pt x="4340" y="3794"/>
                  </a:lnTo>
                  <a:lnTo>
                    <a:pt x="4340" y="3782"/>
                  </a:lnTo>
                  <a:lnTo>
                    <a:pt x="4352" y="3782"/>
                  </a:lnTo>
                  <a:lnTo>
                    <a:pt x="4340" y="3777"/>
                  </a:lnTo>
                  <a:lnTo>
                    <a:pt x="4340" y="3766"/>
                  </a:lnTo>
                  <a:lnTo>
                    <a:pt x="4323" y="3766"/>
                  </a:lnTo>
                  <a:lnTo>
                    <a:pt x="4314" y="3728"/>
                  </a:lnTo>
                  <a:lnTo>
                    <a:pt x="4297" y="3721"/>
                  </a:lnTo>
                  <a:lnTo>
                    <a:pt x="4394" y="3683"/>
                  </a:lnTo>
                  <a:lnTo>
                    <a:pt x="4432" y="3655"/>
                  </a:lnTo>
                  <a:lnTo>
                    <a:pt x="4474" y="3626"/>
                  </a:lnTo>
                  <a:lnTo>
                    <a:pt x="4512" y="3584"/>
                  </a:lnTo>
                  <a:lnTo>
                    <a:pt x="4519" y="3544"/>
                  </a:lnTo>
                  <a:lnTo>
                    <a:pt x="4519" y="3473"/>
                  </a:lnTo>
                  <a:lnTo>
                    <a:pt x="4498" y="3407"/>
                  </a:lnTo>
                  <a:lnTo>
                    <a:pt x="4460" y="3355"/>
                  </a:lnTo>
                  <a:lnTo>
                    <a:pt x="4422" y="3338"/>
                  </a:lnTo>
                  <a:lnTo>
                    <a:pt x="4389" y="3317"/>
                  </a:lnTo>
                  <a:lnTo>
                    <a:pt x="4394" y="3322"/>
                  </a:lnTo>
                  <a:lnTo>
                    <a:pt x="4378" y="3317"/>
                  </a:lnTo>
                  <a:lnTo>
                    <a:pt x="4389" y="3305"/>
                  </a:lnTo>
                  <a:lnTo>
                    <a:pt x="4378" y="3279"/>
                  </a:lnTo>
                  <a:lnTo>
                    <a:pt x="4394" y="3284"/>
                  </a:lnTo>
                  <a:lnTo>
                    <a:pt x="4411" y="3251"/>
                  </a:lnTo>
                  <a:lnTo>
                    <a:pt x="4444" y="3227"/>
                  </a:lnTo>
                  <a:lnTo>
                    <a:pt x="4427" y="3227"/>
                  </a:lnTo>
                  <a:lnTo>
                    <a:pt x="4432" y="3211"/>
                  </a:lnTo>
                  <a:lnTo>
                    <a:pt x="4432" y="3194"/>
                  </a:lnTo>
                  <a:lnTo>
                    <a:pt x="4465" y="3211"/>
                  </a:lnTo>
                  <a:lnTo>
                    <a:pt x="4448" y="3194"/>
                  </a:lnTo>
                  <a:lnTo>
                    <a:pt x="4465" y="3189"/>
                  </a:lnTo>
                  <a:lnTo>
                    <a:pt x="4460" y="3173"/>
                  </a:lnTo>
                  <a:lnTo>
                    <a:pt x="4503" y="3151"/>
                  </a:lnTo>
                  <a:lnTo>
                    <a:pt x="4474" y="3151"/>
                  </a:lnTo>
                  <a:lnTo>
                    <a:pt x="4465" y="3168"/>
                  </a:lnTo>
                  <a:lnTo>
                    <a:pt x="4448" y="3156"/>
                  </a:lnTo>
                  <a:lnTo>
                    <a:pt x="4460" y="3140"/>
                  </a:lnTo>
                  <a:lnTo>
                    <a:pt x="4432" y="3123"/>
                  </a:lnTo>
                  <a:lnTo>
                    <a:pt x="4460" y="3111"/>
                  </a:lnTo>
                  <a:lnTo>
                    <a:pt x="4427" y="3095"/>
                  </a:lnTo>
                  <a:lnTo>
                    <a:pt x="4448" y="3078"/>
                  </a:lnTo>
                  <a:lnTo>
                    <a:pt x="4406" y="3078"/>
                  </a:lnTo>
                  <a:lnTo>
                    <a:pt x="4444" y="3029"/>
                  </a:lnTo>
                  <a:lnTo>
                    <a:pt x="4432" y="3012"/>
                  </a:lnTo>
                  <a:lnTo>
                    <a:pt x="4448" y="3007"/>
                  </a:lnTo>
                  <a:lnTo>
                    <a:pt x="4448" y="3000"/>
                  </a:lnTo>
                  <a:lnTo>
                    <a:pt x="4460" y="3000"/>
                  </a:lnTo>
                  <a:lnTo>
                    <a:pt x="4422" y="2974"/>
                  </a:lnTo>
                  <a:lnTo>
                    <a:pt x="4406" y="2929"/>
                  </a:lnTo>
                  <a:lnTo>
                    <a:pt x="4422" y="2901"/>
                  </a:lnTo>
                  <a:lnTo>
                    <a:pt x="4448" y="2889"/>
                  </a:lnTo>
                  <a:lnTo>
                    <a:pt x="4498" y="2889"/>
                  </a:lnTo>
                  <a:lnTo>
                    <a:pt x="4583" y="2913"/>
                  </a:lnTo>
                  <a:lnTo>
                    <a:pt x="4567" y="2929"/>
                  </a:lnTo>
                  <a:lnTo>
                    <a:pt x="4604" y="2913"/>
                  </a:lnTo>
                  <a:lnTo>
                    <a:pt x="4659" y="2934"/>
                  </a:lnTo>
                  <a:lnTo>
                    <a:pt x="4642" y="2929"/>
                  </a:lnTo>
                  <a:lnTo>
                    <a:pt x="4718" y="2896"/>
                  </a:lnTo>
                  <a:lnTo>
                    <a:pt x="4772" y="2934"/>
                  </a:lnTo>
                  <a:lnTo>
                    <a:pt x="4798" y="2934"/>
                  </a:lnTo>
                  <a:lnTo>
                    <a:pt x="4798" y="2951"/>
                  </a:lnTo>
                  <a:lnTo>
                    <a:pt x="4789" y="2967"/>
                  </a:lnTo>
                  <a:lnTo>
                    <a:pt x="4798" y="2967"/>
                  </a:lnTo>
                  <a:lnTo>
                    <a:pt x="4798" y="2955"/>
                  </a:lnTo>
                  <a:lnTo>
                    <a:pt x="4822" y="2955"/>
                  </a:lnTo>
                  <a:lnTo>
                    <a:pt x="4836" y="2984"/>
                  </a:lnTo>
                  <a:lnTo>
                    <a:pt x="4822" y="3000"/>
                  </a:lnTo>
                  <a:lnTo>
                    <a:pt x="4843" y="2991"/>
                  </a:lnTo>
                  <a:lnTo>
                    <a:pt x="4843" y="2984"/>
                  </a:lnTo>
                  <a:lnTo>
                    <a:pt x="4864" y="2991"/>
                  </a:lnTo>
                  <a:lnTo>
                    <a:pt x="4874" y="3000"/>
                  </a:lnTo>
                  <a:lnTo>
                    <a:pt x="4843" y="3012"/>
                  </a:lnTo>
                  <a:lnTo>
                    <a:pt x="4859" y="3012"/>
                  </a:lnTo>
                  <a:lnTo>
                    <a:pt x="4881" y="3045"/>
                  </a:lnTo>
                  <a:lnTo>
                    <a:pt x="4944" y="3057"/>
                  </a:lnTo>
                  <a:lnTo>
                    <a:pt x="4966" y="3045"/>
                  </a:lnTo>
                  <a:lnTo>
                    <a:pt x="4973" y="3066"/>
                  </a:lnTo>
                  <a:lnTo>
                    <a:pt x="4982" y="3078"/>
                  </a:lnTo>
                  <a:lnTo>
                    <a:pt x="4999" y="3066"/>
                  </a:lnTo>
                  <a:lnTo>
                    <a:pt x="5004" y="3066"/>
                  </a:lnTo>
                  <a:lnTo>
                    <a:pt x="5004" y="3057"/>
                  </a:lnTo>
                  <a:lnTo>
                    <a:pt x="5015" y="3045"/>
                  </a:lnTo>
                  <a:lnTo>
                    <a:pt x="5020" y="3078"/>
                  </a:lnTo>
                  <a:lnTo>
                    <a:pt x="4999" y="3095"/>
                  </a:lnTo>
                  <a:lnTo>
                    <a:pt x="5004" y="3100"/>
                  </a:lnTo>
                  <a:lnTo>
                    <a:pt x="4987" y="3111"/>
                  </a:lnTo>
                  <a:lnTo>
                    <a:pt x="4999" y="3123"/>
                  </a:lnTo>
                  <a:lnTo>
                    <a:pt x="4999" y="3135"/>
                  </a:lnTo>
                  <a:lnTo>
                    <a:pt x="5004" y="3140"/>
                  </a:lnTo>
                  <a:lnTo>
                    <a:pt x="5004" y="3156"/>
                  </a:lnTo>
                  <a:lnTo>
                    <a:pt x="4944" y="3168"/>
                  </a:lnTo>
                  <a:lnTo>
                    <a:pt x="4911" y="3156"/>
                  </a:lnTo>
                  <a:lnTo>
                    <a:pt x="4935" y="3173"/>
                  </a:lnTo>
                  <a:lnTo>
                    <a:pt x="4999" y="3173"/>
                  </a:lnTo>
                  <a:lnTo>
                    <a:pt x="5004" y="3177"/>
                  </a:lnTo>
                  <a:lnTo>
                    <a:pt x="5015" y="3206"/>
                  </a:lnTo>
                  <a:lnTo>
                    <a:pt x="4999" y="3222"/>
                  </a:lnTo>
                  <a:lnTo>
                    <a:pt x="5004" y="3234"/>
                  </a:lnTo>
                  <a:lnTo>
                    <a:pt x="4999" y="3234"/>
                  </a:lnTo>
                  <a:lnTo>
                    <a:pt x="5020" y="3234"/>
                  </a:lnTo>
                  <a:lnTo>
                    <a:pt x="5025" y="3234"/>
                  </a:lnTo>
                  <a:lnTo>
                    <a:pt x="5037" y="3251"/>
                  </a:lnTo>
                  <a:lnTo>
                    <a:pt x="5015" y="3251"/>
                  </a:lnTo>
                  <a:lnTo>
                    <a:pt x="5015" y="3263"/>
                  </a:lnTo>
                  <a:lnTo>
                    <a:pt x="5025" y="3263"/>
                  </a:lnTo>
                  <a:lnTo>
                    <a:pt x="5015" y="3267"/>
                  </a:lnTo>
                  <a:lnTo>
                    <a:pt x="5020" y="3284"/>
                  </a:lnTo>
                  <a:lnTo>
                    <a:pt x="5015" y="3296"/>
                  </a:lnTo>
                  <a:lnTo>
                    <a:pt x="5004" y="3296"/>
                  </a:lnTo>
                  <a:lnTo>
                    <a:pt x="5004" y="3284"/>
                  </a:lnTo>
                  <a:lnTo>
                    <a:pt x="4987" y="3267"/>
                  </a:lnTo>
                  <a:lnTo>
                    <a:pt x="4987" y="3296"/>
                  </a:lnTo>
                  <a:lnTo>
                    <a:pt x="4966" y="3300"/>
                  </a:lnTo>
                  <a:lnTo>
                    <a:pt x="4982" y="3300"/>
                  </a:lnTo>
                  <a:lnTo>
                    <a:pt x="4987" y="3317"/>
                  </a:lnTo>
                  <a:lnTo>
                    <a:pt x="5025" y="3284"/>
                  </a:lnTo>
                  <a:lnTo>
                    <a:pt x="5070" y="3284"/>
                  </a:lnTo>
                  <a:lnTo>
                    <a:pt x="5096" y="3300"/>
                  </a:lnTo>
                  <a:lnTo>
                    <a:pt x="5107" y="3333"/>
                  </a:lnTo>
                  <a:lnTo>
                    <a:pt x="5096" y="3362"/>
                  </a:lnTo>
                  <a:lnTo>
                    <a:pt x="5020" y="3407"/>
                  </a:lnTo>
                  <a:lnTo>
                    <a:pt x="5091" y="3374"/>
                  </a:lnTo>
                  <a:lnTo>
                    <a:pt x="5107" y="3333"/>
                  </a:lnTo>
                  <a:lnTo>
                    <a:pt x="5124" y="3317"/>
                  </a:lnTo>
                  <a:lnTo>
                    <a:pt x="5129" y="3322"/>
                  </a:lnTo>
                  <a:lnTo>
                    <a:pt x="5129" y="3350"/>
                  </a:lnTo>
                  <a:lnTo>
                    <a:pt x="5112" y="3374"/>
                  </a:lnTo>
                  <a:lnTo>
                    <a:pt x="5138" y="3350"/>
                  </a:lnTo>
                  <a:lnTo>
                    <a:pt x="5129" y="3333"/>
                  </a:lnTo>
                  <a:lnTo>
                    <a:pt x="5138" y="3333"/>
                  </a:lnTo>
                  <a:lnTo>
                    <a:pt x="5145" y="3333"/>
                  </a:lnTo>
                  <a:lnTo>
                    <a:pt x="5138" y="3350"/>
                  </a:lnTo>
                  <a:lnTo>
                    <a:pt x="5145" y="3355"/>
                  </a:lnTo>
                  <a:lnTo>
                    <a:pt x="5138" y="3390"/>
                  </a:lnTo>
                  <a:lnTo>
                    <a:pt x="5150" y="3355"/>
                  </a:lnTo>
                  <a:lnTo>
                    <a:pt x="5183" y="3338"/>
                  </a:lnTo>
                  <a:lnTo>
                    <a:pt x="5192" y="3322"/>
                  </a:lnTo>
                  <a:lnTo>
                    <a:pt x="5214" y="3322"/>
                  </a:lnTo>
                  <a:lnTo>
                    <a:pt x="5221" y="3305"/>
                  </a:lnTo>
                  <a:lnTo>
                    <a:pt x="5230" y="3296"/>
                  </a:lnTo>
                  <a:lnTo>
                    <a:pt x="5268" y="3317"/>
                  </a:lnTo>
                  <a:lnTo>
                    <a:pt x="5252" y="3350"/>
                  </a:lnTo>
                  <a:lnTo>
                    <a:pt x="5268" y="3333"/>
                  </a:lnTo>
                  <a:lnTo>
                    <a:pt x="5259" y="3333"/>
                  </a:lnTo>
                  <a:lnTo>
                    <a:pt x="5268" y="3317"/>
                  </a:lnTo>
                  <a:lnTo>
                    <a:pt x="5252" y="3300"/>
                  </a:lnTo>
                  <a:lnTo>
                    <a:pt x="5259" y="3296"/>
                  </a:lnTo>
                  <a:lnTo>
                    <a:pt x="5275" y="3296"/>
                  </a:lnTo>
                  <a:lnTo>
                    <a:pt x="5259" y="3284"/>
                  </a:lnTo>
                  <a:lnTo>
                    <a:pt x="5275" y="3267"/>
                  </a:lnTo>
                  <a:lnTo>
                    <a:pt x="5306" y="3267"/>
                  </a:lnTo>
                  <a:lnTo>
                    <a:pt x="5285" y="3263"/>
                  </a:lnTo>
                  <a:lnTo>
                    <a:pt x="5275" y="3246"/>
                  </a:lnTo>
                  <a:lnTo>
                    <a:pt x="5289" y="3251"/>
                  </a:lnTo>
                  <a:lnTo>
                    <a:pt x="5289" y="3234"/>
                  </a:lnTo>
                  <a:lnTo>
                    <a:pt x="5306" y="3246"/>
                  </a:lnTo>
                  <a:lnTo>
                    <a:pt x="5289" y="3222"/>
                  </a:lnTo>
                  <a:lnTo>
                    <a:pt x="5327" y="3234"/>
                  </a:lnTo>
                  <a:lnTo>
                    <a:pt x="5301" y="3222"/>
                  </a:lnTo>
                  <a:lnTo>
                    <a:pt x="5289" y="3194"/>
                  </a:lnTo>
                  <a:lnTo>
                    <a:pt x="5306" y="3177"/>
                  </a:lnTo>
                  <a:lnTo>
                    <a:pt x="5327" y="3189"/>
                  </a:lnTo>
                  <a:lnTo>
                    <a:pt x="5313" y="3177"/>
                  </a:lnTo>
                  <a:lnTo>
                    <a:pt x="5339" y="3123"/>
                  </a:lnTo>
                  <a:lnTo>
                    <a:pt x="5365" y="3135"/>
                  </a:lnTo>
                  <a:lnTo>
                    <a:pt x="5344" y="3140"/>
                  </a:lnTo>
                  <a:lnTo>
                    <a:pt x="5365" y="3140"/>
                  </a:lnTo>
                  <a:lnTo>
                    <a:pt x="5377" y="3151"/>
                  </a:lnTo>
                  <a:lnTo>
                    <a:pt x="5365" y="3156"/>
                  </a:lnTo>
                  <a:lnTo>
                    <a:pt x="5344" y="3168"/>
                  </a:lnTo>
                  <a:lnTo>
                    <a:pt x="5377" y="3156"/>
                  </a:lnTo>
                  <a:lnTo>
                    <a:pt x="5377" y="3173"/>
                  </a:lnTo>
                  <a:lnTo>
                    <a:pt x="5365" y="3177"/>
                  </a:lnTo>
                  <a:lnTo>
                    <a:pt x="5377" y="3173"/>
                  </a:lnTo>
                  <a:lnTo>
                    <a:pt x="5377" y="3168"/>
                  </a:lnTo>
                  <a:lnTo>
                    <a:pt x="5393" y="3168"/>
                  </a:lnTo>
                  <a:lnTo>
                    <a:pt x="5393" y="3189"/>
                  </a:lnTo>
                  <a:lnTo>
                    <a:pt x="5381" y="3189"/>
                  </a:lnTo>
                  <a:lnTo>
                    <a:pt x="5398" y="3206"/>
                  </a:lnTo>
                  <a:lnTo>
                    <a:pt x="5393" y="3222"/>
                  </a:lnTo>
                  <a:lnTo>
                    <a:pt x="5398" y="3206"/>
                  </a:lnTo>
                  <a:lnTo>
                    <a:pt x="5419" y="3222"/>
                  </a:lnTo>
                  <a:lnTo>
                    <a:pt x="5415" y="3227"/>
                  </a:lnTo>
                  <a:lnTo>
                    <a:pt x="5398" y="3234"/>
                  </a:lnTo>
                  <a:lnTo>
                    <a:pt x="5415" y="3234"/>
                  </a:lnTo>
                  <a:lnTo>
                    <a:pt x="5415" y="3246"/>
                  </a:lnTo>
                  <a:lnTo>
                    <a:pt x="5431" y="3234"/>
                  </a:lnTo>
                  <a:lnTo>
                    <a:pt x="5448" y="3251"/>
                  </a:lnTo>
                  <a:lnTo>
                    <a:pt x="5431" y="3267"/>
                  </a:lnTo>
                  <a:lnTo>
                    <a:pt x="5398" y="3267"/>
                  </a:lnTo>
                  <a:lnTo>
                    <a:pt x="5462" y="3267"/>
                  </a:lnTo>
                  <a:lnTo>
                    <a:pt x="5448" y="3267"/>
                  </a:lnTo>
                  <a:lnTo>
                    <a:pt x="5462" y="3284"/>
                  </a:lnTo>
                  <a:lnTo>
                    <a:pt x="5448" y="3296"/>
                  </a:lnTo>
                  <a:lnTo>
                    <a:pt x="5469" y="3284"/>
                  </a:lnTo>
                  <a:lnTo>
                    <a:pt x="5485" y="3305"/>
                  </a:lnTo>
                  <a:lnTo>
                    <a:pt x="5431" y="3350"/>
                  </a:lnTo>
                  <a:lnTo>
                    <a:pt x="5452" y="3333"/>
                  </a:lnTo>
                  <a:lnTo>
                    <a:pt x="5500" y="3333"/>
                  </a:lnTo>
                  <a:lnTo>
                    <a:pt x="5500" y="3350"/>
                  </a:lnTo>
                  <a:lnTo>
                    <a:pt x="5485" y="3355"/>
                  </a:lnTo>
                  <a:lnTo>
                    <a:pt x="5500" y="3355"/>
                  </a:lnTo>
                  <a:lnTo>
                    <a:pt x="5474" y="3362"/>
                  </a:lnTo>
                  <a:lnTo>
                    <a:pt x="5448" y="3378"/>
                  </a:lnTo>
                  <a:lnTo>
                    <a:pt x="5462" y="3378"/>
                  </a:lnTo>
                  <a:lnTo>
                    <a:pt x="5474" y="3362"/>
                  </a:lnTo>
                  <a:lnTo>
                    <a:pt x="5507" y="3362"/>
                  </a:lnTo>
                  <a:lnTo>
                    <a:pt x="5507" y="3374"/>
                  </a:lnTo>
                  <a:lnTo>
                    <a:pt x="5516" y="3362"/>
                  </a:lnTo>
                  <a:lnTo>
                    <a:pt x="5523" y="3378"/>
                  </a:lnTo>
                  <a:lnTo>
                    <a:pt x="5490" y="3390"/>
                  </a:lnTo>
                  <a:lnTo>
                    <a:pt x="5528" y="3378"/>
                  </a:lnTo>
                  <a:lnTo>
                    <a:pt x="5537" y="3390"/>
                  </a:lnTo>
                  <a:lnTo>
                    <a:pt x="5528" y="3407"/>
                  </a:lnTo>
                  <a:lnTo>
                    <a:pt x="5544" y="3416"/>
                  </a:lnTo>
                  <a:lnTo>
                    <a:pt x="5523" y="3433"/>
                  </a:lnTo>
                  <a:lnTo>
                    <a:pt x="5500" y="3433"/>
                  </a:lnTo>
                  <a:lnTo>
                    <a:pt x="5516" y="3444"/>
                  </a:lnTo>
                  <a:lnTo>
                    <a:pt x="5544" y="3444"/>
                  </a:lnTo>
                  <a:lnTo>
                    <a:pt x="5554" y="3444"/>
                  </a:lnTo>
                  <a:lnTo>
                    <a:pt x="5537" y="3461"/>
                  </a:lnTo>
                  <a:lnTo>
                    <a:pt x="5582" y="3473"/>
                  </a:lnTo>
                  <a:lnTo>
                    <a:pt x="5582" y="3482"/>
                  </a:lnTo>
                  <a:lnTo>
                    <a:pt x="5575" y="3489"/>
                  </a:lnTo>
                  <a:lnTo>
                    <a:pt x="5561" y="3506"/>
                  </a:lnTo>
                  <a:lnTo>
                    <a:pt x="5544" y="3506"/>
                  </a:lnTo>
                  <a:lnTo>
                    <a:pt x="5544" y="3518"/>
                  </a:lnTo>
                  <a:lnTo>
                    <a:pt x="5561" y="3518"/>
                  </a:lnTo>
                  <a:lnTo>
                    <a:pt x="5554" y="3518"/>
                  </a:lnTo>
                  <a:lnTo>
                    <a:pt x="5561" y="3522"/>
                  </a:lnTo>
                  <a:lnTo>
                    <a:pt x="5507" y="3506"/>
                  </a:lnTo>
                  <a:lnTo>
                    <a:pt x="5537" y="3499"/>
                  </a:lnTo>
                  <a:lnTo>
                    <a:pt x="5500" y="3506"/>
                  </a:lnTo>
                  <a:lnTo>
                    <a:pt x="5537" y="3522"/>
                  </a:lnTo>
                  <a:lnTo>
                    <a:pt x="5523" y="3522"/>
                  </a:lnTo>
                  <a:lnTo>
                    <a:pt x="5561" y="3527"/>
                  </a:lnTo>
                  <a:lnTo>
                    <a:pt x="5528" y="3539"/>
                  </a:lnTo>
                  <a:lnTo>
                    <a:pt x="5554" y="3544"/>
                  </a:lnTo>
                  <a:lnTo>
                    <a:pt x="5561" y="3560"/>
                  </a:lnTo>
                  <a:lnTo>
                    <a:pt x="5537" y="3555"/>
                  </a:lnTo>
                  <a:lnTo>
                    <a:pt x="5537" y="3560"/>
                  </a:lnTo>
                  <a:lnTo>
                    <a:pt x="5582" y="3560"/>
                  </a:lnTo>
                  <a:lnTo>
                    <a:pt x="5575" y="3577"/>
                  </a:lnTo>
                  <a:lnTo>
                    <a:pt x="5592" y="3577"/>
                  </a:lnTo>
                  <a:lnTo>
                    <a:pt x="5575" y="3584"/>
                  </a:lnTo>
                  <a:lnTo>
                    <a:pt x="5599" y="3584"/>
                  </a:lnTo>
                  <a:lnTo>
                    <a:pt x="5608" y="3593"/>
                  </a:lnTo>
                  <a:lnTo>
                    <a:pt x="5599" y="3593"/>
                  </a:lnTo>
                  <a:lnTo>
                    <a:pt x="5608" y="3600"/>
                  </a:lnTo>
                  <a:lnTo>
                    <a:pt x="5629" y="3600"/>
                  </a:lnTo>
                  <a:lnTo>
                    <a:pt x="5625" y="3610"/>
                  </a:lnTo>
                  <a:lnTo>
                    <a:pt x="5637" y="3600"/>
                  </a:lnTo>
                  <a:lnTo>
                    <a:pt x="5629" y="3626"/>
                  </a:lnTo>
                  <a:lnTo>
                    <a:pt x="5646" y="3600"/>
                  </a:lnTo>
                  <a:lnTo>
                    <a:pt x="5663" y="3610"/>
                  </a:lnTo>
                  <a:lnTo>
                    <a:pt x="5646" y="3626"/>
                  </a:lnTo>
                  <a:lnTo>
                    <a:pt x="5663" y="3626"/>
                  </a:lnTo>
                  <a:lnTo>
                    <a:pt x="5646" y="3650"/>
                  </a:lnTo>
                  <a:lnTo>
                    <a:pt x="5663" y="3633"/>
                  </a:lnTo>
                  <a:lnTo>
                    <a:pt x="5667" y="3638"/>
                  </a:lnTo>
                  <a:lnTo>
                    <a:pt x="5651" y="3650"/>
                  </a:lnTo>
                  <a:lnTo>
                    <a:pt x="5646" y="3666"/>
                  </a:lnTo>
                  <a:lnTo>
                    <a:pt x="5651" y="3655"/>
                  </a:lnTo>
                  <a:lnTo>
                    <a:pt x="5629" y="3688"/>
                  </a:lnTo>
                  <a:lnTo>
                    <a:pt x="5663" y="3666"/>
                  </a:lnTo>
                  <a:lnTo>
                    <a:pt x="5679" y="3666"/>
                  </a:lnTo>
                  <a:lnTo>
                    <a:pt x="5663" y="3683"/>
                  </a:lnTo>
                  <a:lnTo>
                    <a:pt x="5700" y="3655"/>
                  </a:lnTo>
                  <a:lnTo>
                    <a:pt x="5700" y="3666"/>
                  </a:lnTo>
                  <a:lnTo>
                    <a:pt x="5684" y="3671"/>
                  </a:lnTo>
                  <a:lnTo>
                    <a:pt x="5722" y="3671"/>
                  </a:lnTo>
                  <a:lnTo>
                    <a:pt x="5684" y="3711"/>
                  </a:lnTo>
                  <a:lnTo>
                    <a:pt x="5738" y="3666"/>
                  </a:lnTo>
                  <a:lnTo>
                    <a:pt x="5722" y="3688"/>
                  </a:lnTo>
                  <a:lnTo>
                    <a:pt x="5743" y="3671"/>
                  </a:lnTo>
                  <a:lnTo>
                    <a:pt x="5755" y="3671"/>
                  </a:lnTo>
                  <a:lnTo>
                    <a:pt x="5755" y="3683"/>
                  </a:lnTo>
                  <a:lnTo>
                    <a:pt x="5759" y="3688"/>
                  </a:lnTo>
                  <a:lnTo>
                    <a:pt x="5743" y="3695"/>
                  </a:lnTo>
                  <a:lnTo>
                    <a:pt x="5755" y="3704"/>
                  </a:lnTo>
                  <a:lnTo>
                    <a:pt x="5830" y="3711"/>
                  </a:lnTo>
                  <a:lnTo>
                    <a:pt x="5868" y="3728"/>
                  </a:lnTo>
                  <a:lnTo>
                    <a:pt x="5863" y="3737"/>
                  </a:lnTo>
                  <a:lnTo>
                    <a:pt x="5840" y="3737"/>
                  </a:lnTo>
                  <a:lnTo>
                    <a:pt x="5863" y="3744"/>
                  </a:lnTo>
                  <a:lnTo>
                    <a:pt x="5847" y="3749"/>
                  </a:lnTo>
                  <a:lnTo>
                    <a:pt x="5809" y="3749"/>
                  </a:lnTo>
                  <a:lnTo>
                    <a:pt x="5797" y="3749"/>
                  </a:lnTo>
                  <a:lnTo>
                    <a:pt x="5814" y="3749"/>
                  </a:lnTo>
                  <a:lnTo>
                    <a:pt x="5809" y="3761"/>
                  </a:lnTo>
                  <a:lnTo>
                    <a:pt x="5771" y="3766"/>
                  </a:lnTo>
                  <a:lnTo>
                    <a:pt x="5705" y="3782"/>
                  </a:lnTo>
                  <a:lnTo>
                    <a:pt x="5733" y="3782"/>
                  </a:lnTo>
                  <a:lnTo>
                    <a:pt x="5792" y="3761"/>
                  </a:lnTo>
                  <a:lnTo>
                    <a:pt x="5776" y="3782"/>
                  </a:lnTo>
                  <a:lnTo>
                    <a:pt x="5743" y="3782"/>
                  </a:lnTo>
                  <a:lnTo>
                    <a:pt x="5755" y="3782"/>
                  </a:lnTo>
                  <a:lnTo>
                    <a:pt x="5717" y="3799"/>
                  </a:lnTo>
                  <a:lnTo>
                    <a:pt x="5679" y="3806"/>
                  </a:lnTo>
                  <a:lnTo>
                    <a:pt x="5679" y="3832"/>
                  </a:lnTo>
                  <a:lnTo>
                    <a:pt x="5667" y="3832"/>
                  </a:lnTo>
                  <a:lnTo>
                    <a:pt x="5625" y="3806"/>
                  </a:lnTo>
                  <a:lnTo>
                    <a:pt x="5625" y="3815"/>
                  </a:lnTo>
                  <a:lnTo>
                    <a:pt x="5646" y="3815"/>
                  </a:lnTo>
                  <a:lnTo>
                    <a:pt x="5679" y="3832"/>
                  </a:lnTo>
                  <a:lnTo>
                    <a:pt x="5651" y="3848"/>
                  </a:lnTo>
                  <a:lnTo>
                    <a:pt x="5667" y="3855"/>
                  </a:lnTo>
                  <a:lnTo>
                    <a:pt x="5651" y="3855"/>
                  </a:lnTo>
                  <a:lnTo>
                    <a:pt x="5667" y="3855"/>
                  </a:lnTo>
                  <a:lnTo>
                    <a:pt x="5700" y="3839"/>
                  </a:lnTo>
                  <a:lnTo>
                    <a:pt x="5689" y="3832"/>
                  </a:lnTo>
                  <a:lnTo>
                    <a:pt x="5743" y="3815"/>
                  </a:lnTo>
                  <a:lnTo>
                    <a:pt x="5743" y="3806"/>
                  </a:lnTo>
                  <a:lnTo>
                    <a:pt x="5788" y="3782"/>
                  </a:lnTo>
                  <a:lnTo>
                    <a:pt x="5840" y="3777"/>
                  </a:lnTo>
                  <a:lnTo>
                    <a:pt x="5792" y="3777"/>
                  </a:lnTo>
                  <a:lnTo>
                    <a:pt x="5792" y="3766"/>
                  </a:lnTo>
                  <a:lnTo>
                    <a:pt x="5863" y="3766"/>
                  </a:lnTo>
                  <a:lnTo>
                    <a:pt x="5885" y="3799"/>
                  </a:lnTo>
                  <a:lnTo>
                    <a:pt x="5852" y="3822"/>
                  </a:lnTo>
                  <a:lnTo>
                    <a:pt x="5868" y="3832"/>
                  </a:lnTo>
                  <a:lnTo>
                    <a:pt x="5868" y="3839"/>
                  </a:lnTo>
                  <a:lnTo>
                    <a:pt x="5894" y="3815"/>
                  </a:lnTo>
                  <a:lnTo>
                    <a:pt x="5932" y="3806"/>
                  </a:lnTo>
                  <a:lnTo>
                    <a:pt x="5932" y="3815"/>
                  </a:lnTo>
                  <a:lnTo>
                    <a:pt x="5915" y="3815"/>
                  </a:lnTo>
                  <a:lnTo>
                    <a:pt x="5960" y="3832"/>
                  </a:lnTo>
                  <a:lnTo>
                    <a:pt x="5939" y="3832"/>
                  </a:lnTo>
                  <a:lnTo>
                    <a:pt x="5960" y="3848"/>
                  </a:lnTo>
                  <a:lnTo>
                    <a:pt x="5977" y="3848"/>
                  </a:lnTo>
                  <a:lnTo>
                    <a:pt x="5977" y="3872"/>
                  </a:lnTo>
                  <a:lnTo>
                    <a:pt x="5970" y="3877"/>
                  </a:lnTo>
                  <a:lnTo>
                    <a:pt x="5948" y="3877"/>
                  </a:lnTo>
                  <a:lnTo>
                    <a:pt x="5970" y="3893"/>
                  </a:lnTo>
                  <a:lnTo>
                    <a:pt x="5977" y="3905"/>
                  </a:lnTo>
                  <a:lnTo>
                    <a:pt x="5953" y="3910"/>
                  </a:lnTo>
                  <a:lnTo>
                    <a:pt x="5977" y="3917"/>
                  </a:lnTo>
                  <a:lnTo>
                    <a:pt x="5953" y="3917"/>
                  </a:lnTo>
                  <a:lnTo>
                    <a:pt x="5960" y="3917"/>
                  </a:lnTo>
                  <a:lnTo>
                    <a:pt x="5948" y="3926"/>
                  </a:lnTo>
                  <a:lnTo>
                    <a:pt x="5922" y="3926"/>
                  </a:lnTo>
                  <a:lnTo>
                    <a:pt x="5986" y="3943"/>
                  </a:lnTo>
                  <a:lnTo>
                    <a:pt x="5986" y="3950"/>
                  </a:lnTo>
                  <a:lnTo>
                    <a:pt x="5977" y="3950"/>
                  </a:lnTo>
                  <a:lnTo>
                    <a:pt x="5948" y="3943"/>
                  </a:lnTo>
                  <a:lnTo>
                    <a:pt x="5986" y="3959"/>
                  </a:lnTo>
                  <a:lnTo>
                    <a:pt x="5986" y="3971"/>
                  </a:lnTo>
                  <a:lnTo>
                    <a:pt x="5894" y="4037"/>
                  </a:lnTo>
                  <a:lnTo>
                    <a:pt x="5878" y="4025"/>
                  </a:lnTo>
                  <a:lnTo>
                    <a:pt x="5840" y="4025"/>
                  </a:lnTo>
                  <a:lnTo>
                    <a:pt x="5826" y="4044"/>
                  </a:lnTo>
                  <a:lnTo>
                    <a:pt x="5776" y="4054"/>
                  </a:lnTo>
                  <a:lnTo>
                    <a:pt x="5776" y="4061"/>
                  </a:lnTo>
                  <a:lnTo>
                    <a:pt x="5755" y="4077"/>
                  </a:lnTo>
                  <a:lnTo>
                    <a:pt x="5755" y="4094"/>
                  </a:lnTo>
                  <a:lnTo>
                    <a:pt x="5743" y="4099"/>
                  </a:lnTo>
                  <a:lnTo>
                    <a:pt x="5743" y="4094"/>
                  </a:lnTo>
                  <a:lnTo>
                    <a:pt x="5705" y="4127"/>
                  </a:lnTo>
                  <a:lnTo>
                    <a:pt x="5689" y="4132"/>
                  </a:lnTo>
                  <a:lnTo>
                    <a:pt x="5689" y="4137"/>
                  </a:lnTo>
                  <a:lnTo>
                    <a:pt x="5684" y="4148"/>
                  </a:lnTo>
                  <a:lnTo>
                    <a:pt x="5592" y="4153"/>
                  </a:lnTo>
                  <a:lnTo>
                    <a:pt x="5561" y="4165"/>
                  </a:lnTo>
                  <a:lnTo>
                    <a:pt x="5570" y="4153"/>
                  </a:lnTo>
                  <a:lnTo>
                    <a:pt x="5561" y="4153"/>
                  </a:lnTo>
                  <a:lnTo>
                    <a:pt x="5554" y="4148"/>
                  </a:lnTo>
                  <a:lnTo>
                    <a:pt x="5516" y="4137"/>
                  </a:lnTo>
                  <a:lnTo>
                    <a:pt x="5452" y="4148"/>
                  </a:lnTo>
                  <a:lnTo>
                    <a:pt x="5415" y="4137"/>
                  </a:lnTo>
                  <a:lnTo>
                    <a:pt x="5313" y="4137"/>
                  </a:lnTo>
                  <a:lnTo>
                    <a:pt x="5259" y="4137"/>
                  </a:lnTo>
                  <a:lnTo>
                    <a:pt x="5252" y="4153"/>
                  </a:lnTo>
                  <a:lnTo>
                    <a:pt x="5230" y="4148"/>
                  </a:lnTo>
                  <a:lnTo>
                    <a:pt x="5183" y="4188"/>
                  </a:lnTo>
                  <a:lnTo>
                    <a:pt x="5176" y="4222"/>
                  </a:lnTo>
                  <a:lnTo>
                    <a:pt x="5162" y="4238"/>
                  </a:lnTo>
                  <a:lnTo>
                    <a:pt x="5112" y="4243"/>
                  </a:lnTo>
                  <a:lnTo>
                    <a:pt x="5107" y="4248"/>
                  </a:lnTo>
                  <a:lnTo>
                    <a:pt x="5074" y="4259"/>
                  </a:lnTo>
                  <a:lnTo>
                    <a:pt x="5041" y="4281"/>
                  </a:lnTo>
                  <a:lnTo>
                    <a:pt x="5037" y="4297"/>
                  </a:lnTo>
                  <a:lnTo>
                    <a:pt x="5004" y="4349"/>
                  </a:lnTo>
                  <a:lnTo>
                    <a:pt x="4982" y="4333"/>
                  </a:lnTo>
                  <a:lnTo>
                    <a:pt x="4907" y="4316"/>
                  </a:lnTo>
                  <a:lnTo>
                    <a:pt x="4982" y="4337"/>
                  </a:lnTo>
                  <a:lnTo>
                    <a:pt x="4999" y="4349"/>
                  </a:lnTo>
                  <a:lnTo>
                    <a:pt x="4982" y="4375"/>
                  </a:lnTo>
                  <a:lnTo>
                    <a:pt x="4966" y="4403"/>
                  </a:lnTo>
                  <a:lnTo>
                    <a:pt x="4944" y="4408"/>
                  </a:lnTo>
                  <a:lnTo>
                    <a:pt x="4928" y="4441"/>
                  </a:lnTo>
                  <a:lnTo>
                    <a:pt x="4890" y="4470"/>
                  </a:lnTo>
                  <a:lnTo>
                    <a:pt x="4944" y="4448"/>
                  </a:lnTo>
                  <a:lnTo>
                    <a:pt x="5020" y="4354"/>
                  </a:lnTo>
                  <a:lnTo>
                    <a:pt x="5107" y="4297"/>
                  </a:lnTo>
                  <a:lnTo>
                    <a:pt x="5247" y="4243"/>
                  </a:lnTo>
                  <a:lnTo>
                    <a:pt x="5301" y="4243"/>
                  </a:lnTo>
                  <a:lnTo>
                    <a:pt x="5344" y="4248"/>
                  </a:lnTo>
                  <a:lnTo>
                    <a:pt x="5381" y="4276"/>
                  </a:lnTo>
                  <a:lnTo>
                    <a:pt x="5393" y="4292"/>
                  </a:lnTo>
                  <a:lnTo>
                    <a:pt x="5360" y="4276"/>
                  </a:lnTo>
                  <a:lnTo>
                    <a:pt x="5393" y="4297"/>
                  </a:lnTo>
                  <a:lnTo>
                    <a:pt x="5381" y="4297"/>
                  </a:lnTo>
                  <a:lnTo>
                    <a:pt x="5381" y="4316"/>
                  </a:lnTo>
                  <a:lnTo>
                    <a:pt x="5306" y="4354"/>
                  </a:lnTo>
                  <a:lnTo>
                    <a:pt x="5268" y="4337"/>
                  </a:lnTo>
                  <a:lnTo>
                    <a:pt x="5200" y="4354"/>
                  </a:lnTo>
                  <a:lnTo>
                    <a:pt x="5237" y="4354"/>
                  </a:lnTo>
                  <a:lnTo>
                    <a:pt x="5275" y="4370"/>
                  </a:lnTo>
                  <a:lnTo>
                    <a:pt x="5285" y="4392"/>
                  </a:lnTo>
                  <a:lnTo>
                    <a:pt x="5313" y="4370"/>
                  </a:lnTo>
                  <a:lnTo>
                    <a:pt x="5344" y="4375"/>
                  </a:lnTo>
                  <a:lnTo>
                    <a:pt x="5355" y="4387"/>
                  </a:lnTo>
                  <a:lnTo>
                    <a:pt x="5339" y="4392"/>
                  </a:lnTo>
                  <a:lnTo>
                    <a:pt x="5339" y="4415"/>
                  </a:lnTo>
                  <a:lnTo>
                    <a:pt x="5306" y="4441"/>
                  </a:lnTo>
                  <a:lnTo>
                    <a:pt x="5344" y="4441"/>
                  </a:lnTo>
                  <a:lnTo>
                    <a:pt x="5339" y="4465"/>
                  </a:lnTo>
                  <a:lnTo>
                    <a:pt x="5355" y="4481"/>
                  </a:lnTo>
                  <a:lnTo>
                    <a:pt x="5365" y="4519"/>
                  </a:lnTo>
                  <a:lnTo>
                    <a:pt x="5415" y="4526"/>
                  </a:lnTo>
                  <a:lnTo>
                    <a:pt x="5393" y="4536"/>
                  </a:lnTo>
                  <a:lnTo>
                    <a:pt x="5419" y="4552"/>
                  </a:lnTo>
                  <a:lnTo>
                    <a:pt x="5436" y="4552"/>
                  </a:lnTo>
                  <a:lnTo>
                    <a:pt x="5448" y="4552"/>
                  </a:lnTo>
                  <a:lnTo>
                    <a:pt x="5431" y="4552"/>
                  </a:lnTo>
                  <a:lnTo>
                    <a:pt x="5452" y="4559"/>
                  </a:lnTo>
                  <a:lnTo>
                    <a:pt x="5448" y="4559"/>
                  </a:lnTo>
                  <a:lnTo>
                    <a:pt x="5490" y="4559"/>
                  </a:lnTo>
                  <a:lnTo>
                    <a:pt x="5507" y="4576"/>
                  </a:lnTo>
                  <a:lnTo>
                    <a:pt x="5544" y="4552"/>
                  </a:lnTo>
                  <a:lnTo>
                    <a:pt x="5544" y="4569"/>
                  </a:lnTo>
                  <a:lnTo>
                    <a:pt x="5570" y="4576"/>
                  </a:lnTo>
                  <a:lnTo>
                    <a:pt x="5575" y="4569"/>
                  </a:lnTo>
                  <a:lnTo>
                    <a:pt x="5592" y="4581"/>
                  </a:lnTo>
                  <a:lnTo>
                    <a:pt x="5575" y="4597"/>
                  </a:lnTo>
                  <a:lnTo>
                    <a:pt x="5613" y="4597"/>
                  </a:lnTo>
                  <a:lnTo>
                    <a:pt x="5608" y="4609"/>
                  </a:lnTo>
                  <a:lnTo>
                    <a:pt x="5592" y="4609"/>
                  </a:lnTo>
                  <a:lnTo>
                    <a:pt x="5582" y="4614"/>
                  </a:lnTo>
                  <a:lnTo>
                    <a:pt x="5507" y="4637"/>
                  </a:lnTo>
                  <a:lnTo>
                    <a:pt x="5485" y="4654"/>
                  </a:lnTo>
                  <a:lnTo>
                    <a:pt x="5469" y="4647"/>
                  </a:lnTo>
                  <a:lnTo>
                    <a:pt x="5469" y="4654"/>
                  </a:lnTo>
                  <a:lnTo>
                    <a:pt x="5462" y="4647"/>
                  </a:lnTo>
                  <a:lnTo>
                    <a:pt x="5436" y="4663"/>
                  </a:lnTo>
                  <a:lnTo>
                    <a:pt x="5419" y="4654"/>
                  </a:lnTo>
                  <a:lnTo>
                    <a:pt x="5436" y="4670"/>
                  </a:lnTo>
                  <a:lnTo>
                    <a:pt x="5431" y="4680"/>
                  </a:lnTo>
                  <a:lnTo>
                    <a:pt x="5410" y="4670"/>
                  </a:lnTo>
                  <a:lnTo>
                    <a:pt x="5410" y="4654"/>
                  </a:lnTo>
                  <a:lnTo>
                    <a:pt x="5398" y="4663"/>
                  </a:lnTo>
                  <a:lnTo>
                    <a:pt x="5398" y="4670"/>
                  </a:lnTo>
                  <a:lnTo>
                    <a:pt x="5393" y="4680"/>
                  </a:lnTo>
                  <a:lnTo>
                    <a:pt x="5381" y="4663"/>
                  </a:lnTo>
                  <a:lnTo>
                    <a:pt x="5377" y="4680"/>
                  </a:lnTo>
                  <a:lnTo>
                    <a:pt x="5381" y="4692"/>
                  </a:lnTo>
                  <a:lnTo>
                    <a:pt x="5360" y="4703"/>
                  </a:lnTo>
                  <a:lnTo>
                    <a:pt x="5355" y="4720"/>
                  </a:lnTo>
                  <a:lnTo>
                    <a:pt x="5344" y="4720"/>
                  </a:lnTo>
                  <a:lnTo>
                    <a:pt x="5327" y="4741"/>
                  </a:lnTo>
                  <a:lnTo>
                    <a:pt x="5306" y="4741"/>
                  </a:lnTo>
                  <a:lnTo>
                    <a:pt x="5301" y="4765"/>
                  </a:lnTo>
                  <a:lnTo>
                    <a:pt x="5289" y="4758"/>
                  </a:lnTo>
                  <a:lnTo>
                    <a:pt x="5275" y="4758"/>
                  </a:lnTo>
                  <a:lnTo>
                    <a:pt x="5268" y="4736"/>
                  </a:lnTo>
                  <a:lnTo>
                    <a:pt x="5259" y="4741"/>
                  </a:lnTo>
                  <a:lnTo>
                    <a:pt x="5247" y="4725"/>
                  </a:lnTo>
                  <a:lnTo>
                    <a:pt x="5247" y="4708"/>
                  </a:lnTo>
                  <a:lnTo>
                    <a:pt x="5252" y="4687"/>
                  </a:lnTo>
                  <a:lnTo>
                    <a:pt x="5268" y="4663"/>
                  </a:lnTo>
                  <a:lnTo>
                    <a:pt x="5247" y="4680"/>
                  </a:lnTo>
                  <a:lnTo>
                    <a:pt x="5259" y="4663"/>
                  </a:lnTo>
                  <a:lnTo>
                    <a:pt x="5285" y="4663"/>
                  </a:lnTo>
                  <a:lnTo>
                    <a:pt x="5289" y="4654"/>
                  </a:lnTo>
                  <a:lnTo>
                    <a:pt x="5285" y="4654"/>
                  </a:lnTo>
                  <a:lnTo>
                    <a:pt x="5285" y="4647"/>
                  </a:lnTo>
                  <a:lnTo>
                    <a:pt x="5377" y="4597"/>
                  </a:lnTo>
                  <a:lnTo>
                    <a:pt x="5365" y="4597"/>
                  </a:lnTo>
                  <a:lnTo>
                    <a:pt x="5377" y="4597"/>
                  </a:lnTo>
                  <a:lnTo>
                    <a:pt x="5377" y="4614"/>
                  </a:lnTo>
                  <a:lnTo>
                    <a:pt x="5381" y="4614"/>
                  </a:lnTo>
                  <a:lnTo>
                    <a:pt x="5393" y="4630"/>
                  </a:lnTo>
                  <a:lnTo>
                    <a:pt x="5393" y="4609"/>
                  </a:lnTo>
                  <a:lnTo>
                    <a:pt x="5448" y="4597"/>
                  </a:lnTo>
                  <a:lnTo>
                    <a:pt x="5360" y="4592"/>
                  </a:lnTo>
                  <a:lnTo>
                    <a:pt x="5339" y="4597"/>
                  </a:lnTo>
                  <a:lnTo>
                    <a:pt x="5344" y="4581"/>
                  </a:lnTo>
                  <a:lnTo>
                    <a:pt x="5381" y="4559"/>
                  </a:lnTo>
                  <a:lnTo>
                    <a:pt x="5377" y="4552"/>
                  </a:lnTo>
                  <a:lnTo>
                    <a:pt x="5365" y="4559"/>
                  </a:lnTo>
                  <a:lnTo>
                    <a:pt x="5344" y="4526"/>
                  </a:lnTo>
                  <a:lnTo>
                    <a:pt x="5360" y="4552"/>
                  </a:lnTo>
                  <a:lnTo>
                    <a:pt x="5344" y="4576"/>
                  </a:lnTo>
                  <a:lnTo>
                    <a:pt x="5339" y="4576"/>
                  </a:lnTo>
                  <a:lnTo>
                    <a:pt x="5268" y="4609"/>
                  </a:lnTo>
                  <a:lnTo>
                    <a:pt x="5252" y="4597"/>
                  </a:lnTo>
                  <a:lnTo>
                    <a:pt x="5259" y="4581"/>
                  </a:lnTo>
                  <a:lnTo>
                    <a:pt x="5247" y="4597"/>
                  </a:lnTo>
                  <a:lnTo>
                    <a:pt x="5252" y="4609"/>
                  </a:lnTo>
                  <a:lnTo>
                    <a:pt x="5230" y="4625"/>
                  </a:lnTo>
                  <a:lnTo>
                    <a:pt x="5221" y="4614"/>
                  </a:lnTo>
                  <a:lnTo>
                    <a:pt x="5204" y="4625"/>
                  </a:lnTo>
                  <a:lnTo>
                    <a:pt x="5192" y="4614"/>
                  </a:lnTo>
                  <a:lnTo>
                    <a:pt x="5176" y="4614"/>
                  </a:lnTo>
                  <a:lnTo>
                    <a:pt x="5176" y="4614"/>
                  </a:lnTo>
                  <a:lnTo>
                    <a:pt x="5176" y="4614"/>
                  </a:lnTo>
                  <a:close/>
                  <a:moveTo>
                    <a:pt x="3201" y="1748"/>
                  </a:moveTo>
                  <a:lnTo>
                    <a:pt x="3208" y="1753"/>
                  </a:lnTo>
                  <a:lnTo>
                    <a:pt x="3208" y="1765"/>
                  </a:lnTo>
                  <a:lnTo>
                    <a:pt x="3192" y="1765"/>
                  </a:lnTo>
                  <a:lnTo>
                    <a:pt x="3201" y="1748"/>
                  </a:lnTo>
                  <a:lnTo>
                    <a:pt x="3201" y="1748"/>
                  </a:lnTo>
                  <a:lnTo>
                    <a:pt x="3201" y="1748"/>
                  </a:lnTo>
                  <a:close/>
                  <a:moveTo>
                    <a:pt x="3095" y="1765"/>
                  </a:moveTo>
                  <a:lnTo>
                    <a:pt x="3100" y="1765"/>
                  </a:lnTo>
                  <a:lnTo>
                    <a:pt x="3083" y="1770"/>
                  </a:lnTo>
                  <a:lnTo>
                    <a:pt x="3095" y="1765"/>
                  </a:lnTo>
                  <a:lnTo>
                    <a:pt x="3095" y="1765"/>
                  </a:lnTo>
                  <a:lnTo>
                    <a:pt x="3095" y="1765"/>
                  </a:lnTo>
                  <a:close/>
                  <a:moveTo>
                    <a:pt x="4751" y="1770"/>
                  </a:moveTo>
                  <a:lnTo>
                    <a:pt x="4755" y="1770"/>
                  </a:lnTo>
                  <a:lnTo>
                    <a:pt x="4734" y="1786"/>
                  </a:lnTo>
                  <a:lnTo>
                    <a:pt x="4751" y="1770"/>
                  </a:lnTo>
                  <a:lnTo>
                    <a:pt x="4751" y="1770"/>
                  </a:lnTo>
                  <a:lnTo>
                    <a:pt x="4751" y="1770"/>
                  </a:lnTo>
                  <a:close/>
                  <a:moveTo>
                    <a:pt x="4772" y="1781"/>
                  </a:moveTo>
                  <a:lnTo>
                    <a:pt x="4789" y="1786"/>
                  </a:lnTo>
                  <a:lnTo>
                    <a:pt x="4784" y="1793"/>
                  </a:lnTo>
                  <a:lnTo>
                    <a:pt x="4767" y="1786"/>
                  </a:lnTo>
                  <a:lnTo>
                    <a:pt x="4772" y="1781"/>
                  </a:lnTo>
                  <a:lnTo>
                    <a:pt x="4772" y="1781"/>
                  </a:lnTo>
                  <a:lnTo>
                    <a:pt x="4772" y="1781"/>
                  </a:lnTo>
                  <a:close/>
                  <a:moveTo>
                    <a:pt x="4767" y="1826"/>
                  </a:moveTo>
                  <a:lnTo>
                    <a:pt x="4751" y="1819"/>
                  </a:lnTo>
                  <a:lnTo>
                    <a:pt x="4746" y="1793"/>
                  </a:lnTo>
                  <a:lnTo>
                    <a:pt x="4755" y="1786"/>
                  </a:lnTo>
                  <a:lnTo>
                    <a:pt x="4767" y="1793"/>
                  </a:lnTo>
                  <a:lnTo>
                    <a:pt x="4755" y="1803"/>
                  </a:lnTo>
                  <a:lnTo>
                    <a:pt x="4772" y="1793"/>
                  </a:lnTo>
                  <a:lnTo>
                    <a:pt x="4784" y="1803"/>
                  </a:lnTo>
                  <a:lnTo>
                    <a:pt x="4767" y="1810"/>
                  </a:lnTo>
                  <a:lnTo>
                    <a:pt x="4772" y="1819"/>
                  </a:lnTo>
                  <a:lnTo>
                    <a:pt x="4767" y="1826"/>
                  </a:lnTo>
                  <a:lnTo>
                    <a:pt x="4767" y="1826"/>
                  </a:lnTo>
                  <a:lnTo>
                    <a:pt x="4767" y="1826"/>
                  </a:lnTo>
                  <a:close/>
                  <a:moveTo>
                    <a:pt x="2953" y="1826"/>
                  </a:moveTo>
                  <a:lnTo>
                    <a:pt x="2948" y="1819"/>
                  </a:lnTo>
                  <a:lnTo>
                    <a:pt x="2953" y="1819"/>
                  </a:lnTo>
                  <a:lnTo>
                    <a:pt x="2953" y="1826"/>
                  </a:lnTo>
                  <a:lnTo>
                    <a:pt x="2953" y="1826"/>
                  </a:lnTo>
                  <a:lnTo>
                    <a:pt x="2953" y="1826"/>
                  </a:lnTo>
                  <a:close/>
                  <a:moveTo>
                    <a:pt x="3116" y="1826"/>
                  </a:moveTo>
                  <a:lnTo>
                    <a:pt x="3126" y="1836"/>
                  </a:lnTo>
                  <a:lnTo>
                    <a:pt x="3116" y="1836"/>
                  </a:lnTo>
                  <a:lnTo>
                    <a:pt x="3116" y="1826"/>
                  </a:lnTo>
                  <a:lnTo>
                    <a:pt x="3116" y="1826"/>
                  </a:lnTo>
                  <a:lnTo>
                    <a:pt x="3116" y="1826"/>
                  </a:lnTo>
                  <a:close/>
                  <a:moveTo>
                    <a:pt x="4852" y="1859"/>
                  </a:moveTo>
                  <a:lnTo>
                    <a:pt x="4881" y="1864"/>
                  </a:lnTo>
                  <a:lnTo>
                    <a:pt x="4881" y="1876"/>
                  </a:lnTo>
                  <a:lnTo>
                    <a:pt x="4843" y="1892"/>
                  </a:lnTo>
                  <a:lnTo>
                    <a:pt x="4822" y="1876"/>
                  </a:lnTo>
                  <a:lnTo>
                    <a:pt x="4836" y="1876"/>
                  </a:lnTo>
                  <a:lnTo>
                    <a:pt x="4836" y="1859"/>
                  </a:lnTo>
                  <a:lnTo>
                    <a:pt x="4852" y="1859"/>
                  </a:lnTo>
                  <a:lnTo>
                    <a:pt x="4852" y="1859"/>
                  </a:lnTo>
                  <a:lnTo>
                    <a:pt x="4852" y="1859"/>
                  </a:lnTo>
                  <a:close/>
                  <a:moveTo>
                    <a:pt x="2844" y="1904"/>
                  </a:moveTo>
                  <a:lnTo>
                    <a:pt x="2861" y="1921"/>
                  </a:lnTo>
                  <a:lnTo>
                    <a:pt x="2861" y="1937"/>
                  </a:lnTo>
                  <a:lnTo>
                    <a:pt x="2830" y="1921"/>
                  </a:lnTo>
                  <a:lnTo>
                    <a:pt x="2830" y="1904"/>
                  </a:lnTo>
                  <a:lnTo>
                    <a:pt x="2844" y="1904"/>
                  </a:lnTo>
                  <a:lnTo>
                    <a:pt x="2844" y="1904"/>
                  </a:lnTo>
                  <a:lnTo>
                    <a:pt x="2844" y="1904"/>
                  </a:lnTo>
                  <a:close/>
                  <a:moveTo>
                    <a:pt x="903" y="1914"/>
                  </a:moveTo>
                  <a:lnTo>
                    <a:pt x="886" y="1921"/>
                  </a:lnTo>
                  <a:lnTo>
                    <a:pt x="898" y="1904"/>
                  </a:lnTo>
                  <a:lnTo>
                    <a:pt x="903" y="1914"/>
                  </a:lnTo>
                  <a:lnTo>
                    <a:pt x="903" y="1914"/>
                  </a:lnTo>
                  <a:lnTo>
                    <a:pt x="903" y="1914"/>
                  </a:lnTo>
                  <a:close/>
                  <a:moveTo>
                    <a:pt x="1675" y="1921"/>
                  </a:moveTo>
                  <a:lnTo>
                    <a:pt x="1663" y="1921"/>
                  </a:lnTo>
                  <a:lnTo>
                    <a:pt x="1692" y="1921"/>
                  </a:lnTo>
                  <a:lnTo>
                    <a:pt x="1675" y="1921"/>
                  </a:lnTo>
                  <a:lnTo>
                    <a:pt x="1675" y="1921"/>
                  </a:lnTo>
                  <a:lnTo>
                    <a:pt x="1675" y="1921"/>
                  </a:lnTo>
                  <a:close/>
                  <a:moveTo>
                    <a:pt x="1760" y="1921"/>
                  </a:moveTo>
                  <a:lnTo>
                    <a:pt x="1765" y="1921"/>
                  </a:lnTo>
                  <a:lnTo>
                    <a:pt x="1751" y="1921"/>
                  </a:lnTo>
                  <a:lnTo>
                    <a:pt x="1760" y="1921"/>
                  </a:lnTo>
                  <a:lnTo>
                    <a:pt x="1760" y="1921"/>
                  </a:lnTo>
                  <a:lnTo>
                    <a:pt x="1760" y="1921"/>
                  </a:lnTo>
                  <a:close/>
                  <a:moveTo>
                    <a:pt x="1734" y="1921"/>
                  </a:moveTo>
                  <a:lnTo>
                    <a:pt x="1744" y="1921"/>
                  </a:lnTo>
                  <a:lnTo>
                    <a:pt x="1718" y="1921"/>
                  </a:lnTo>
                  <a:lnTo>
                    <a:pt x="1734" y="1921"/>
                  </a:lnTo>
                  <a:lnTo>
                    <a:pt x="1734" y="1921"/>
                  </a:lnTo>
                  <a:lnTo>
                    <a:pt x="1734" y="1921"/>
                  </a:lnTo>
                  <a:close/>
                  <a:moveTo>
                    <a:pt x="2823" y="1954"/>
                  </a:moveTo>
                  <a:lnTo>
                    <a:pt x="2823" y="1959"/>
                  </a:lnTo>
                  <a:lnTo>
                    <a:pt x="2814" y="1954"/>
                  </a:lnTo>
                  <a:lnTo>
                    <a:pt x="2823" y="1954"/>
                  </a:lnTo>
                  <a:lnTo>
                    <a:pt x="2823" y="1954"/>
                  </a:lnTo>
                  <a:lnTo>
                    <a:pt x="2823" y="1954"/>
                  </a:lnTo>
                  <a:close/>
                  <a:moveTo>
                    <a:pt x="1966" y="1954"/>
                  </a:moveTo>
                  <a:lnTo>
                    <a:pt x="1949" y="1954"/>
                  </a:lnTo>
                  <a:lnTo>
                    <a:pt x="1966" y="1954"/>
                  </a:lnTo>
                  <a:lnTo>
                    <a:pt x="1966" y="1954"/>
                  </a:lnTo>
                  <a:lnTo>
                    <a:pt x="1966" y="1954"/>
                  </a:lnTo>
                  <a:close/>
                  <a:moveTo>
                    <a:pt x="3773" y="1975"/>
                  </a:moveTo>
                  <a:lnTo>
                    <a:pt x="3811" y="1975"/>
                  </a:lnTo>
                  <a:lnTo>
                    <a:pt x="3827" y="1992"/>
                  </a:lnTo>
                  <a:lnTo>
                    <a:pt x="3780" y="1992"/>
                  </a:lnTo>
                  <a:lnTo>
                    <a:pt x="3763" y="1975"/>
                  </a:lnTo>
                  <a:lnTo>
                    <a:pt x="3773" y="1975"/>
                  </a:lnTo>
                  <a:lnTo>
                    <a:pt x="3773" y="1975"/>
                  </a:lnTo>
                  <a:lnTo>
                    <a:pt x="3773" y="1975"/>
                  </a:lnTo>
                  <a:close/>
                  <a:moveTo>
                    <a:pt x="3062" y="2003"/>
                  </a:moveTo>
                  <a:lnTo>
                    <a:pt x="3071" y="2008"/>
                  </a:lnTo>
                  <a:lnTo>
                    <a:pt x="3057" y="2003"/>
                  </a:lnTo>
                  <a:lnTo>
                    <a:pt x="3062" y="2003"/>
                  </a:lnTo>
                  <a:lnTo>
                    <a:pt x="3062" y="2003"/>
                  </a:lnTo>
                  <a:lnTo>
                    <a:pt x="3062" y="2003"/>
                  </a:lnTo>
                  <a:close/>
                  <a:moveTo>
                    <a:pt x="2932" y="2140"/>
                  </a:moveTo>
                  <a:lnTo>
                    <a:pt x="2911" y="2119"/>
                  </a:lnTo>
                  <a:lnTo>
                    <a:pt x="2915" y="2103"/>
                  </a:lnTo>
                  <a:lnTo>
                    <a:pt x="2948" y="2103"/>
                  </a:lnTo>
                  <a:lnTo>
                    <a:pt x="2991" y="2081"/>
                  </a:lnTo>
                  <a:lnTo>
                    <a:pt x="2974" y="2065"/>
                  </a:lnTo>
                  <a:lnTo>
                    <a:pt x="2986" y="2065"/>
                  </a:lnTo>
                  <a:lnTo>
                    <a:pt x="2974" y="2058"/>
                  </a:lnTo>
                  <a:lnTo>
                    <a:pt x="2974" y="2048"/>
                  </a:lnTo>
                  <a:lnTo>
                    <a:pt x="3019" y="2065"/>
                  </a:lnTo>
                  <a:lnTo>
                    <a:pt x="2991" y="2041"/>
                  </a:lnTo>
                  <a:lnTo>
                    <a:pt x="3003" y="2013"/>
                  </a:lnTo>
                  <a:lnTo>
                    <a:pt x="3024" y="2008"/>
                  </a:lnTo>
                  <a:lnTo>
                    <a:pt x="3062" y="2029"/>
                  </a:lnTo>
                  <a:lnTo>
                    <a:pt x="3057" y="2029"/>
                  </a:lnTo>
                  <a:lnTo>
                    <a:pt x="3062" y="2048"/>
                  </a:lnTo>
                  <a:lnTo>
                    <a:pt x="3071" y="2029"/>
                  </a:lnTo>
                  <a:lnTo>
                    <a:pt x="3095" y="2058"/>
                  </a:lnTo>
                  <a:lnTo>
                    <a:pt x="3137" y="2081"/>
                  </a:lnTo>
                  <a:lnTo>
                    <a:pt x="3137" y="2115"/>
                  </a:lnTo>
                  <a:lnTo>
                    <a:pt x="3147" y="2119"/>
                  </a:lnTo>
                  <a:lnTo>
                    <a:pt x="3147" y="2098"/>
                  </a:lnTo>
                  <a:lnTo>
                    <a:pt x="3154" y="2086"/>
                  </a:lnTo>
                  <a:lnTo>
                    <a:pt x="3170" y="2136"/>
                  </a:lnTo>
                  <a:lnTo>
                    <a:pt x="3208" y="2140"/>
                  </a:lnTo>
                  <a:lnTo>
                    <a:pt x="3192" y="2157"/>
                  </a:lnTo>
                  <a:lnTo>
                    <a:pt x="3170" y="2152"/>
                  </a:lnTo>
                  <a:lnTo>
                    <a:pt x="3137" y="2181"/>
                  </a:lnTo>
                  <a:lnTo>
                    <a:pt x="3116" y="2192"/>
                  </a:lnTo>
                  <a:lnTo>
                    <a:pt x="3007" y="2157"/>
                  </a:lnTo>
                  <a:lnTo>
                    <a:pt x="2991" y="2136"/>
                  </a:lnTo>
                  <a:lnTo>
                    <a:pt x="2986" y="2152"/>
                  </a:lnTo>
                  <a:lnTo>
                    <a:pt x="2974" y="2152"/>
                  </a:lnTo>
                  <a:lnTo>
                    <a:pt x="2953" y="2140"/>
                  </a:lnTo>
                  <a:lnTo>
                    <a:pt x="2953" y="2124"/>
                  </a:lnTo>
                  <a:lnTo>
                    <a:pt x="2932" y="2140"/>
                  </a:lnTo>
                  <a:lnTo>
                    <a:pt x="2932" y="2140"/>
                  </a:lnTo>
                  <a:lnTo>
                    <a:pt x="2932" y="2140"/>
                  </a:lnTo>
                  <a:close/>
                  <a:moveTo>
                    <a:pt x="3470" y="2025"/>
                  </a:moveTo>
                  <a:lnTo>
                    <a:pt x="3456" y="2013"/>
                  </a:lnTo>
                  <a:lnTo>
                    <a:pt x="3478" y="2008"/>
                  </a:lnTo>
                  <a:lnTo>
                    <a:pt x="3470" y="2025"/>
                  </a:lnTo>
                  <a:lnTo>
                    <a:pt x="3470" y="2025"/>
                  </a:lnTo>
                  <a:lnTo>
                    <a:pt x="3470" y="2025"/>
                  </a:lnTo>
                  <a:close/>
                  <a:moveTo>
                    <a:pt x="4096" y="2008"/>
                  </a:moveTo>
                  <a:lnTo>
                    <a:pt x="4108" y="2013"/>
                  </a:lnTo>
                  <a:lnTo>
                    <a:pt x="4087" y="2008"/>
                  </a:lnTo>
                  <a:lnTo>
                    <a:pt x="4096" y="2008"/>
                  </a:lnTo>
                  <a:lnTo>
                    <a:pt x="4096" y="2008"/>
                  </a:lnTo>
                  <a:lnTo>
                    <a:pt x="4096" y="2008"/>
                  </a:lnTo>
                  <a:close/>
                  <a:moveTo>
                    <a:pt x="4028" y="2025"/>
                  </a:moveTo>
                  <a:lnTo>
                    <a:pt x="4016" y="2029"/>
                  </a:lnTo>
                  <a:lnTo>
                    <a:pt x="4000" y="2025"/>
                  </a:lnTo>
                  <a:lnTo>
                    <a:pt x="4028" y="2025"/>
                  </a:lnTo>
                  <a:lnTo>
                    <a:pt x="4028" y="2025"/>
                  </a:lnTo>
                  <a:lnTo>
                    <a:pt x="4028" y="2025"/>
                  </a:lnTo>
                  <a:close/>
                  <a:moveTo>
                    <a:pt x="4297" y="2025"/>
                  </a:moveTo>
                  <a:lnTo>
                    <a:pt x="4314" y="2013"/>
                  </a:lnTo>
                  <a:lnTo>
                    <a:pt x="4323" y="2029"/>
                  </a:lnTo>
                  <a:lnTo>
                    <a:pt x="4302" y="2041"/>
                  </a:lnTo>
                  <a:lnTo>
                    <a:pt x="4271" y="2041"/>
                  </a:lnTo>
                  <a:lnTo>
                    <a:pt x="4281" y="2058"/>
                  </a:lnTo>
                  <a:lnTo>
                    <a:pt x="4243" y="2029"/>
                  </a:lnTo>
                  <a:lnTo>
                    <a:pt x="4217" y="2029"/>
                  </a:lnTo>
                  <a:lnTo>
                    <a:pt x="4248" y="2013"/>
                  </a:lnTo>
                  <a:lnTo>
                    <a:pt x="4297" y="2025"/>
                  </a:lnTo>
                  <a:lnTo>
                    <a:pt x="4297" y="2025"/>
                  </a:lnTo>
                  <a:lnTo>
                    <a:pt x="4297" y="2025"/>
                  </a:lnTo>
                  <a:close/>
                  <a:moveTo>
                    <a:pt x="4082" y="2013"/>
                  </a:moveTo>
                  <a:lnTo>
                    <a:pt x="4104" y="2029"/>
                  </a:lnTo>
                  <a:lnTo>
                    <a:pt x="4082" y="2025"/>
                  </a:lnTo>
                  <a:lnTo>
                    <a:pt x="4082" y="2013"/>
                  </a:lnTo>
                  <a:lnTo>
                    <a:pt x="4082" y="2013"/>
                  </a:lnTo>
                  <a:lnTo>
                    <a:pt x="4082" y="2013"/>
                  </a:lnTo>
                  <a:close/>
                  <a:moveTo>
                    <a:pt x="4411" y="2025"/>
                  </a:moveTo>
                  <a:lnTo>
                    <a:pt x="4422" y="2041"/>
                  </a:lnTo>
                  <a:lnTo>
                    <a:pt x="4356" y="2065"/>
                  </a:lnTo>
                  <a:lnTo>
                    <a:pt x="4411" y="2025"/>
                  </a:lnTo>
                  <a:lnTo>
                    <a:pt x="4411" y="2025"/>
                  </a:lnTo>
                  <a:lnTo>
                    <a:pt x="4411" y="2025"/>
                  </a:lnTo>
                  <a:close/>
                  <a:moveTo>
                    <a:pt x="2731" y="2029"/>
                  </a:moveTo>
                  <a:lnTo>
                    <a:pt x="2731" y="2041"/>
                  </a:lnTo>
                  <a:lnTo>
                    <a:pt x="2722" y="2029"/>
                  </a:lnTo>
                  <a:lnTo>
                    <a:pt x="2731" y="2029"/>
                  </a:lnTo>
                  <a:lnTo>
                    <a:pt x="2731" y="2029"/>
                  </a:lnTo>
                  <a:lnTo>
                    <a:pt x="2731" y="2029"/>
                  </a:lnTo>
                  <a:close/>
                  <a:moveTo>
                    <a:pt x="378" y="2119"/>
                  </a:moveTo>
                  <a:lnTo>
                    <a:pt x="385" y="2119"/>
                  </a:lnTo>
                  <a:lnTo>
                    <a:pt x="357" y="2115"/>
                  </a:lnTo>
                  <a:lnTo>
                    <a:pt x="357" y="2086"/>
                  </a:lnTo>
                  <a:lnTo>
                    <a:pt x="385" y="2103"/>
                  </a:lnTo>
                  <a:lnTo>
                    <a:pt x="362" y="2086"/>
                  </a:lnTo>
                  <a:lnTo>
                    <a:pt x="385" y="2081"/>
                  </a:lnTo>
                  <a:lnTo>
                    <a:pt x="411" y="2086"/>
                  </a:lnTo>
                  <a:lnTo>
                    <a:pt x="400" y="2065"/>
                  </a:lnTo>
                  <a:lnTo>
                    <a:pt x="411" y="2065"/>
                  </a:lnTo>
                  <a:lnTo>
                    <a:pt x="466" y="2065"/>
                  </a:lnTo>
                  <a:lnTo>
                    <a:pt x="466" y="2041"/>
                  </a:lnTo>
                  <a:lnTo>
                    <a:pt x="454" y="2029"/>
                  </a:lnTo>
                  <a:lnTo>
                    <a:pt x="475" y="2029"/>
                  </a:lnTo>
                  <a:lnTo>
                    <a:pt x="475" y="2048"/>
                  </a:lnTo>
                  <a:lnTo>
                    <a:pt x="508" y="2048"/>
                  </a:lnTo>
                  <a:lnTo>
                    <a:pt x="466" y="2103"/>
                  </a:lnTo>
                  <a:lnTo>
                    <a:pt x="449" y="2119"/>
                  </a:lnTo>
                  <a:lnTo>
                    <a:pt x="475" y="2157"/>
                  </a:lnTo>
                  <a:lnTo>
                    <a:pt x="466" y="2157"/>
                  </a:lnTo>
                  <a:lnTo>
                    <a:pt x="433" y="2119"/>
                  </a:lnTo>
                  <a:lnTo>
                    <a:pt x="423" y="2136"/>
                  </a:lnTo>
                  <a:lnTo>
                    <a:pt x="357" y="2124"/>
                  </a:lnTo>
                  <a:lnTo>
                    <a:pt x="357" y="2115"/>
                  </a:lnTo>
                  <a:lnTo>
                    <a:pt x="378" y="2119"/>
                  </a:lnTo>
                  <a:lnTo>
                    <a:pt x="378" y="2119"/>
                  </a:lnTo>
                  <a:lnTo>
                    <a:pt x="378" y="2119"/>
                  </a:lnTo>
                  <a:close/>
                  <a:moveTo>
                    <a:pt x="5129" y="2029"/>
                  </a:moveTo>
                  <a:lnTo>
                    <a:pt x="5129" y="2041"/>
                  </a:lnTo>
                  <a:lnTo>
                    <a:pt x="5129" y="2058"/>
                  </a:lnTo>
                  <a:lnTo>
                    <a:pt x="5107" y="2048"/>
                  </a:lnTo>
                  <a:lnTo>
                    <a:pt x="5129" y="2029"/>
                  </a:lnTo>
                  <a:lnTo>
                    <a:pt x="5129" y="2029"/>
                  </a:lnTo>
                  <a:lnTo>
                    <a:pt x="5129" y="2029"/>
                  </a:lnTo>
                  <a:close/>
                  <a:moveTo>
                    <a:pt x="130" y="2058"/>
                  </a:moveTo>
                  <a:lnTo>
                    <a:pt x="114" y="2048"/>
                  </a:lnTo>
                  <a:lnTo>
                    <a:pt x="130" y="2041"/>
                  </a:lnTo>
                  <a:lnTo>
                    <a:pt x="152" y="2048"/>
                  </a:lnTo>
                  <a:lnTo>
                    <a:pt x="130" y="2058"/>
                  </a:lnTo>
                  <a:lnTo>
                    <a:pt x="130" y="2058"/>
                  </a:lnTo>
                  <a:lnTo>
                    <a:pt x="130" y="2058"/>
                  </a:lnTo>
                  <a:close/>
                  <a:moveTo>
                    <a:pt x="3192" y="2048"/>
                  </a:moveTo>
                  <a:lnTo>
                    <a:pt x="3201" y="2058"/>
                  </a:lnTo>
                  <a:lnTo>
                    <a:pt x="3192" y="2081"/>
                  </a:lnTo>
                  <a:lnTo>
                    <a:pt x="3180" y="2081"/>
                  </a:lnTo>
                  <a:lnTo>
                    <a:pt x="3180" y="2070"/>
                  </a:lnTo>
                  <a:lnTo>
                    <a:pt x="3180" y="2058"/>
                  </a:lnTo>
                  <a:lnTo>
                    <a:pt x="3170" y="2048"/>
                  </a:lnTo>
                  <a:lnTo>
                    <a:pt x="3163" y="2081"/>
                  </a:lnTo>
                  <a:lnTo>
                    <a:pt x="3154" y="2070"/>
                  </a:lnTo>
                  <a:lnTo>
                    <a:pt x="3154" y="2058"/>
                  </a:lnTo>
                  <a:lnTo>
                    <a:pt x="3163" y="2048"/>
                  </a:lnTo>
                  <a:lnTo>
                    <a:pt x="3192" y="2048"/>
                  </a:lnTo>
                  <a:lnTo>
                    <a:pt x="3192" y="2048"/>
                  </a:lnTo>
                  <a:lnTo>
                    <a:pt x="3192" y="2048"/>
                  </a:lnTo>
                  <a:close/>
                  <a:moveTo>
                    <a:pt x="5150" y="2058"/>
                  </a:moveTo>
                  <a:lnTo>
                    <a:pt x="5138" y="2058"/>
                  </a:lnTo>
                  <a:lnTo>
                    <a:pt x="5167" y="2048"/>
                  </a:lnTo>
                  <a:lnTo>
                    <a:pt x="5150" y="2058"/>
                  </a:lnTo>
                  <a:lnTo>
                    <a:pt x="5150" y="2058"/>
                  </a:lnTo>
                  <a:lnTo>
                    <a:pt x="5150" y="2058"/>
                  </a:lnTo>
                  <a:close/>
                  <a:moveTo>
                    <a:pt x="3147" y="2048"/>
                  </a:moveTo>
                  <a:lnTo>
                    <a:pt x="3147" y="2081"/>
                  </a:lnTo>
                  <a:lnTo>
                    <a:pt x="3109" y="2048"/>
                  </a:lnTo>
                  <a:lnTo>
                    <a:pt x="3147" y="2048"/>
                  </a:lnTo>
                  <a:lnTo>
                    <a:pt x="3147" y="2048"/>
                  </a:lnTo>
                  <a:lnTo>
                    <a:pt x="3147" y="2048"/>
                  </a:lnTo>
                  <a:close/>
                  <a:moveTo>
                    <a:pt x="2802" y="2058"/>
                  </a:moveTo>
                  <a:lnTo>
                    <a:pt x="2807" y="2065"/>
                  </a:lnTo>
                  <a:lnTo>
                    <a:pt x="2793" y="2070"/>
                  </a:lnTo>
                  <a:lnTo>
                    <a:pt x="2793" y="2065"/>
                  </a:lnTo>
                  <a:lnTo>
                    <a:pt x="2776" y="2058"/>
                  </a:lnTo>
                  <a:lnTo>
                    <a:pt x="2785" y="2048"/>
                  </a:lnTo>
                  <a:lnTo>
                    <a:pt x="2802" y="2058"/>
                  </a:lnTo>
                  <a:lnTo>
                    <a:pt x="2802" y="2058"/>
                  </a:lnTo>
                  <a:lnTo>
                    <a:pt x="2802" y="2058"/>
                  </a:lnTo>
                  <a:close/>
                  <a:moveTo>
                    <a:pt x="3563" y="2065"/>
                  </a:moveTo>
                  <a:lnTo>
                    <a:pt x="3563" y="2081"/>
                  </a:lnTo>
                  <a:lnTo>
                    <a:pt x="3558" y="2086"/>
                  </a:lnTo>
                  <a:lnTo>
                    <a:pt x="3541" y="2081"/>
                  </a:lnTo>
                  <a:lnTo>
                    <a:pt x="3563" y="2065"/>
                  </a:lnTo>
                  <a:lnTo>
                    <a:pt x="3563" y="2065"/>
                  </a:lnTo>
                  <a:lnTo>
                    <a:pt x="3563" y="2065"/>
                  </a:lnTo>
                  <a:close/>
                  <a:moveTo>
                    <a:pt x="4481" y="2065"/>
                  </a:moveTo>
                  <a:lnTo>
                    <a:pt x="4512" y="2065"/>
                  </a:lnTo>
                  <a:lnTo>
                    <a:pt x="4512" y="2081"/>
                  </a:lnTo>
                  <a:lnTo>
                    <a:pt x="4486" y="2103"/>
                  </a:lnTo>
                  <a:lnTo>
                    <a:pt x="4465" y="2103"/>
                  </a:lnTo>
                  <a:lnTo>
                    <a:pt x="4460" y="2086"/>
                  </a:lnTo>
                  <a:lnTo>
                    <a:pt x="4465" y="2070"/>
                  </a:lnTo>
                  <a:lnTo>
                    <a:pt x="4481" y="2065"/>
                  </a:lnTo>
                  <a:lnTo>
                    <a:pt x="4481" y="2065"/>
                  </a:lnTo>
                  <a:lnTo>
                    <a:pt x="4481" y="2065"/>
                  </a:lnTo>
                  <a:close/>
                  <a:moveTo>
                    <a:pt x="400" y="2081"/>
                  </a:moveTo>
                  <a:lnTo>
                    <a:pt x="385" y="2070"/>
                  </a:lnTo>
                  <a:lnTo>
                    <a:pt x="400" y="2070"/>
                  </a:lnTo>
                  <a:lnTo>
                    <a:pt x="400" y="2081"/>
                  </a:lnTo>
                  <a:lnTo>
                    <a:pt x="400" y="2081"/>
                  </a:lnTo>
                  <a:lnTo>
                    <a:pt x="400" y="2081"/>
                  </a:lnTo>
                  <a:close/>
                  <a:moveTo>
                    <a:pt x="4389" y="2070"/>
                  </a:moveTo>
                  <a:lnTo>
                    <a:pt x="4406" y="2081"/>
                  </a:lnTo>
                  <a:lnTo>
                    <a:pt x="4356" y="2136"/>
                  </a:lnTo>
                  <a:lnTo>
                    <a:pt x="4335" y="2140"/>
                  </a:lnTo>
                  <a:lnTo>
                    <a:pt x="4318" y="2136"/>
                  </a:lnTo>
                  <a:lnTo>
                    <a:pt x="4335" y="2115"/>
                  </a:lnTo>
                  <a:lnTo>
                    <a:pt x="4356" y="2103"/>
                  </a:lnTo>
                  <a:lnTo>
                    <a:pt x="4368" y="2081"/>
                  </a:lnTo>
                  <a:lnTo>
                    <a:pt x="4389" y="2070"/>
                  </a:lnTo>
                  <a:lnTo>
                    <a:pt x="4389" y="2070"/>
                  </a:lnTo>
                  <a:lnTo>
                    <a:pt x="4389" y="2070"/>
                  </a:lnTo>
                  <a:close/>
                  <a:moveTo>
                    <a:pt x="3541" y="2098"/>
                  </a:moveTo>
                  <a:lnTo>
                    <a:pt x="3525" y="2081"/>
                  </a:lnTo>
                  <a:lnTo>
                    <a:pt x="3532" y="2070"/>
                  </a:lnTo>
                  <a:lnTo>
                    <a:pt x="3546" y="2086"/>
                  </a:lnTo>
                  <a:lnTo>
                    <a:pt x="3541" y="2098"/>
                  </a:lnTo>
                  <a:lnTo>
                    <a:pt x="3541" y="2098"/>
                  </a:lnTo>
                  <a:lnTo>
                    <a:pt x="3541" y="2098"/>
                  </a:lnTo>
                  <a:close/>
                  <a:moveTo>
                    <a:pt x="2769" y="2098"/>
                  </a:moveTo>
                  <a:lnTo>
                    <a:pt x="2769" y="2115"/>
                  </a:lnTo>
                  <a:lnTo>
                    <a:pt x="2755" y="2115"/>
                  </a:lnTo>
                  <a:lnTo>
                    <a:pt x="2759" y="2098"/>
                  </a:lnTo>
                  <a:lnTo>
                    <a:pt x="2769" y="2098"/>
                  </a:lnTo>
                  <a:lnTo>
                    <a:pt x="2769" y="2098"/>
                  </a:lnTo>
                  <a:lnTo>
                    <a:pt x="2769" y="2098"/>
                  </a:lnTo>
                  <a:close/>
                  <a:moveTo>
                    <a:pt x="3563" y="2115"/>
                  </a:moveTo>
                  <a:lnTo>
                    <a:pt x="3570" y="2115"/>
                  </a:lnTo>
                  <a:lnTo>
                    <a:pt x="3558" y="2115"/>
                  </a:lnTo>
                  <a:lnTo>
                    <a:pt x="3563" y="2115"/>
                  </a:lnTo>
                  <a:lnTo>
                    <a:pt x="3563" y="2115"/>
                  </a:lnTo>
                  <a:lnTo>
                    <a:pt x="3563" y="2115"/>
                  </a:lnTo>
                  <a:close/>
                  <a:moveTo>
                    <a:pt x="2868" y="2103"/>
                  </a:moveTo>
                  <a:lnTo>
                    <a:pt x="2878" y="2119"/>
                  </a:lnTo>
                  <a:lnTo>
                    <a:pt x="2878" y="2124"/>
                  </a:lnTo>
                  <a:lnTo>
                    <a:pt x="2861" y="2119"/>
                  </a:lnTo>
                  <a:lnTo>
                    <a:pt x="2868" y="2103"/>
                  </a:lnTo>
                  <a:lnTo>
                    <a:pt x="2868" y="2103"/>
                  </a:lnTo>
                  <a:lnTo>
                    <a:pt x="2868" y="2103"/>
                  </a:lnTo>
                  <a:close/>
                  <a:moveTo>
                    <a:pt x="2856" y="2119"/>
                  </a:moveTo>
                  <a:lnTo>
                    <a:pt x="2868" y="2136"/>
                  </a:lnTo>
                  <a:lnTo>
                    <a:pt x="2861" y="2140"/>
                  </a:lnTo>
                  <a:lnTo>
                    <a:pt x="2856" y="2157"/>
                  </a:lnTo>
                  <a:lnTo>
                    <a:pt x="2830" y="2152"/>
                  </a:lnTo>
                  <a:lnTo>
                    <a:pt x="2830" y="2119"/>
                  </a:lnTo>
                  <a:lnTo>
                    <a:pt x="2856" y="2119"/>
                  </a:lnTo>
                  <a:lnTo>
                    <a:pt x="2856" y="2119"/>
                  </a:lnTo>
                  <a:lnTo>
                    <a:pt x="2856" y="2119"/>
                  </a:lnTo>
                  <a:close/>
                  <a:moveTo>
                    <a:pt x="3584" y="2124"/>
                  </a:moveTo>
                  <a:lnTo>
                    <a:pt x="3570" y="2119"/>
                  </a:lnTo>
                  <a:lnTo>
                    <a:pt x="3584" y="2119"/>
                  </a:lnTo>
                  <a:lnTo>
                    <a:pt x="3584" y="2124"/>
                  </a:lnTo>
                  <a:lnTo>
                    <a:pt x="3584" y="2124"/>
                  </a:lnTo>
                  <a:lnTo>
                    <a:pt x="3584" y="2124"/>
                  </a:lnTo>
                  <a:close/>
                  <a:moveTo>
                    <a:pt x="5129" y="2124"/>
                  </a:moveTo>
                  <a:lnTo>
                    <a:pt x="5129" y="2136"/>
                  </a:lnTo>
                  <a:lnTo>
                    <a:pt x="5124" y="2124"/>
                  </a:lnTo>
                  <a:lnTo>
                    <a:pt x="5129" y="2124"/>
                  </a:lnTo>
                  <a:lnTo>
                    <a:pt x="5129" y="2124"/>
                  </a:lnTo>
                  <a:lnTo>
                    <a:pt x="5129" y="2124"/>
                  </a:lnTo>
                  <a:close/>
                  <a:moveTo>
                    <a:pt x="3579" y="2157"/>
                  </a:moveTo>
                  <a:lnTo>
                    <a:pt x="3579" y="2152"/>
                  </a:lnTo>
                  <a:lnTo>
                    <a:pt x="3579" y="2140"/>
                  </a:lnTo>
                  <a:lnTo>
                    <a:pt x="3596" y="2152"/>
                  </a:lnTo>
                  <a:lnTo>
                    <a:pt x="3579" y="2157"/>
                  </a:lnTo>
                  <a:lnTo>
                    <a:pt x="3579" y="2157"/>
                  </a:lnTo>
                  <a:lnTo>
                    <a:pt x="3579" y="2157"/>
                  </a:lnTo>
                  <a:close/>
                  <a:moveTo>
                    <a:pt x="2759" y="2152"/>
                  </a:moveTo>
                  <a:lnTo>
                    <a:pt x="2759" y="2157"/>
                  </a:lnTo>
                  <a:lnTo>
                    <a:pt x="2748" y="2176"/>
                  </a:lnTo>
                  <a:lnTo>
                    <a:pt x="2717" y="2157"/>
                  </a:lnTo>
                  <a:lnTo>
                    <a:pt x="2738" y="2140"/>
                  </a:lnTo>
                  <a:lnTo>
                    <a:pt x="2759" y="2152"/>
                  </a:lnTo>
                  <a:lnTo>
                    <a:pt x="2759" y="2152"/>
                  </a:lnTo>
                  <a:lnTo>
                    <a:pt x="2759" y="2152"/>
                  </a:lnTo>
                  <a:close/>
                  <a:moveTo>
                    <a:pt x="4626" y="2157"/>
                  </a:moveTo>
                  <a:lnTo>
                    <a:pt x="4642" y="2181"/>
                  </a:lnTo>
                  <a:lnTo>
                    <a:pt x="4642" y="2209"/>
                  </a:lnTo>
                  <a:lnTo>
                    <a:pt x="4595" y="2181"/>
                  </a:lnTo>
                  <a:lnTo>
                    <a:pt x="4611" y="2157"/>
                  </a:lnTo>
                  <a:lnTo>
                    <a:pt x="4626" y="2157"/>
                  </a:lnTo>
                  <a:lnTo>
                    <a:pt x="4626" y="2157"/>
                  </a:lnTo>
                  <a:lnTo>
                    <a:pt x="4626" y="2157"/>
                  </a:lnTo>
                  <a:close/>
                  <a:moveTo>
                    <a:pt x="4642" y="2157"/>
                  </a:moveTo>
                  <a:lnTo>
                    <a:pt x="4663" y="2176"/>
                  </a:lnTo>
                  <a:lnTo>
                    <a:pt x="4637" y="2169"/>
                  </a:lnTo>
                  <a:lnTo>
                    <a:pt x="4642" y="2157"/>
                  </a:lnTo>
                  <a:lnTo>
                    <a:pt x="4642" y="2157"/>
                  </a:lnTo>
                  <a:lnTo>
                    <a:pt x="4642" y="2157"/>
                  </a:lnTo>
                  <a:close/>
                  <a:moveTo>
                    <a:pt x="4368" y="2192"/>
                  </a:moveTo>
                  <a:lnTo>
                    <a:pt x="4352" y="2181"/>
                  </a:lnTo>
                  <a:lnTo>
                    <a:pt x="4373" y="2176"/>
                  </a:lnTo>
                  <a:lnTo>
                    <a:pt x="4356" y="2169"/>
                  </a:lnTo>
                  <a:lnTo>
                    <a:pt x="4389" y="2169"/>
                  </a:lnTo>
                  <a:lnTo>
                    <a:pt x="4368" y="2192"/>
                  </a:lnTo>
                  <a:lnTo>
                    <a:pt x="4368" y="2192"/>
                  </a:lnTo>
                  <a:lnTo>
                    <a:pt x="4368" y="2192"/>
                  </a:lnTo>
                  <a:close/>
                  <a:moveTo>
                    <a:pt x="2516" y="2176"/>
                  </a:moveTo>
                  <a:lnTo>
                    <a:pt x="2521" y="2181"/>
                  </a:lnTo>
                  <a:lnTo>
                    <a:pt x="2504" y="2176"/>
                  </a:lnTo>
                  <a:lnTo>
                    <a:pt x="2516" y="2176"/>
                  </a:lnTo>
                  <a:lnTo>
                    <a:pt x="2516" y="2176"/>
                  </a:lnTo>
                  <a:lnTo>
                    <a:pt x="2516" y="2176"/>
                  </a:lnTo>
                  <a:close/>
                  <a:moveTo>
                    <a:pt x="2542" y="2176"/>
                  </a:moveTo>
                  <a:lnTo>
                    <a:pt x="2570" y="2192"/>
                  </a:lnTo>
                  <a:lnTo>
                    <a:pt x="2542" y="2197"/>
                  </a:lnTo>
                  <a:lnTo>
                    <a:pt x="2521" y="2176"/>
                  </a:lnTo>
                  <a:lnTo>
                    <a:pt x="2542" y="2176"/>
                  </a:lnTo>
                  <a:lnTo>
                    <a:pt x="2542" y="2176"/>
                  </a:lnTo>
                  <a:lnTo>
                    <a:pt x="2542" y="2176"/>
                  </a:lnTo>
                  <a:close/>
                  <a:moveTo>
                    <a:pt x="2129" y="2176"/>
                  </a:moveTo>
                  <a:lnTo>
                    <a:pt x="2138" y="2176"/>
                  </a:lnTo>
                  <a:lnTo>
                    <a:pt x="2122" y="2176"/>
                  </a:lnTo>
                  <a:lnTo>
                    <a:pt x="2129" y="2176"/>
                  </a:lnTo>
                  <a:lnTo>
                    <a:pt x="2129" y="2176"/>
                  </a:lnTo>
                  <a:lnTo>
                    <a:pt x="2129" y="2176"/>
                  </a:lnTo>
                  <a:close/>
                  <a:moveTo>
                    <a:pt x="2122" y="2181"/>
                  </a:moveTo>
                  <a:lnTo>
                    <a:pt x="2100" y="2181"/>
                  </a:lnTo>
                  <a:lnTo>
                    <a:pt x="2122" y="2176"/>
                  </a:lnTo>
                  <a:lnTo>
                    <a:pt x="2122" y="2181"/>
                  </a:lnTo>
                  <a:lnTo>
                    <a:pt x="2122" y="2181"/>
                  </a:lnTo>
                  <a:lnTo>
                    <a:pt x="2122" y="2181"/>
                  </a:lnTo>
                  <a:close/>
                  <a:moveTo>
                    <a:pt x="4675" y="2192"/>
                  </a:moveTo>
                  <a:lnTo>
                    <a:pt x="4696" y="2209"/>
                  </a:lnTo>
                  <a:lnTo>
                    <a:pt x="4680" y="2214"/>
                  </a:lnTo>
                  <a:lnTo>
                    <a:pt x="4675" y="2197"/>
                  </a:lnTo>
                  <a:lnTo>
                    <a:pt x="4675" y="2192"/>
                  </a:lnTo>
                  <a:lnTo>
                    <a:pt x="4675" y="2192"/>
                  </a:lnTo>
                  <a:lnTo>
                    <a:pt x="4675" y="2192"/>
                  </a:lnTo>
                  <a:close/>
                  <a:moveTo>
                    <a:pt x="2868" y="2197"/>
                  </a:moveTo>
                  <a:lnTo>
                    <a:pt x="2868" y="2214"/>
                  </a:lnTo>
                  <a:lnTo>
                    <a:pt x="2861" y="2209"/>
                  </a:lnTo>
                  <a:lnTo>
                    <a:pt x="2868" y="2197"/>
                  </a:lnTo>
                  <a:lnTo>
                    <a:pt x="2868" y="2197"/>
                  </a:lnTo>
                  <a:lnTo>
                    <a:pt x="2868" y="2197"/>
                  </a:lnTo>
                  <a:close/>
                  <a:moveTo>
                    <a:pt x="4340" y="2197"/>
                  </a:moveTo>
                  <a:lnTo>
                    <a:pt x="4368" y="2214"/>
                  </a:lnTo>
                  <a:lnTo>
                    <a:pt x="4340" y="2226"/>
                  </a:lnTo>
                  <a:lnTo>
                    <a:pt x="4335" y="2214"/>
                  </a:lnTo>
                  <a:lnTo>
                    <a:pt x="4340" y="2197"/>
                  </a:lnTo>
                  <a:lnTo>
                    <a:pt x="4340" y="2197"/>
                  </a:lnTo>
                  <a:lnTo>
                    <a:pt x="4340" y="2197"/>
                  </a:lnTo>
                  <a:close/>
                  <a:moveTo>
                    <a:pt x="4512" y="2341"/>
                  </a:moveTo>
                  <a:lnTo>
                    <a:pt x="4481" y="2337"/>
                  </a:lnTo>
                  <a:lnTo>
                    <a:pt x="4474" y="2308"/>
                  </a:lnTo>
                  <a:lnTo>
                    <a:pt x="4465" y="2285"/>
                  </a:lnTo>
                  <a:lnTo>
                    <a:pt x="4503" y="2214"/>
                  </a:lnTo>
                  <a:lnTo>
                    <a:pt x="4574" y="2209"/>
                  </a:lnTo>
                  <a:lnTo>
                    <a:pt x="4621" y="2214"/>
                  </a:lnTo>
                  <a:lnTo>
                    <a:pt x="4626" y="2230"/>
                  </a:lnTo>
                  <a:lnTo>
                    <a:pt x="4621" y="2252"/>
                  </a:lnTo>
                  <a:lnTo>
                    <a:pt x="4626" y="2292"/>
                  </a:lnTo>
                  <a:lnTo>
                    <a:pt x="4621" y="2308"/>
                  </a:lnTo>
                  <a:lnTo>
                    <a:pt x="4567" y="2337"/>
                  </a:lnTo>
                  <a:lnTo>
                    <a:pt x="4512" y="2341"/>
                  </a:lnTo>
                  <a:lnTo>
                    <a:pt x="4512" y="2341"/>
                  </a:lnTo>
                  <a:lnTo>
                    <a:pt x="4512" y="2341"/>
                  </a:lnTo>
                  <a:close/>
                  <a:moveTo>
                    <a:pt x="3827" y="2226"/>
                  </a:moveTo>
                  <a:lnTo>
                    <a:pt x="3834" y="2263"/>
                  </a:lnTo>
                  <a:lnTo>
                    <a:pt x="3818" y="2280"/>
                  </a:lnTo>
                  <a:lnTo>
                    <a:pt x="3796" y="2268"/>
                  </a:lnTo>
                  <a:lnTo>
                    <a:pt x="3796" y="2252"/>
                  </a:lnTo>
                  <a:lnTo>
                    <a:pt x="3801" y="2247"/>
                  </a:lnTo>
                  <a:lnTo>
                    <a:pt x="3785" y="2235"/>
                  </a:lnTo>
                  <a:lnTo>
                    <a:pt x="3811" y="2209"/>
                  </a:lnTo>
                  <a:lnTo>
                    <a:pt x="3827" y="2214"/>
                  </a:lnTo>
                  <a:lnTo>
                    <a:pt x="3827" y="2226"/>
                  </a:lnTo>
                  <a:lnTo>
                    <a:pt x="3827" y="2226"/>
                  </a:lnTo>
                  <a:lnTo>
                    <a:pt x="3827" y="2226"/>
                  </a:lnTo>
                  <a:close/>
                  <a:moveTo>
                    <a:pt x="5237" y="2230"/>
                  </a:moveTo>
                  <a:lnTo>
                    <a:pt x="5214" y="2226"/>
                  </a:lnTo>
                  <a:lnTo>
                    <a:pt x="5247" y="2214"/>
                  </a:lnTo>
                  <a:lnTo>
                    <a:pt x="5237" y="2230"/>
                  </a:lnTo>
                  <a:lnTo>
                    <a:pt x="5237" y="2230"/>
                  </a:lnTo>
                  <a:lnTo>
                    <a:pt x="5237" y="2230"/>
                  </a:lnTo>
                  <a:close/>
                  <a:moveTo>
                    <a:pt x="4696" y="2214"/>
                  </a:moveTo>
                  <a:lnTo>
                    <a:pt x="4696" y="2230"/>
                  </a:lnTo>
                  <a:lnTo>
                    <a:pt x="4692" y="2226"/>
                  </a:lnTo>
                  <a:lnTo>
                    <a:pt x="4696" y="2214"/>
                  </a:lnTo>
                  <a:lnTo>
                    <a:pt x="4696" y="2214"/>
                  </a:lnTo>
                  <a:lnTo>
                    <a:pt x="4696" y="2214"/>
                  </a:lnTo>
                  <a:close/>
                  <a:moveTo>
                    <a:pt x="2570" y="2226"/>
                  </a:moveTo>
                  <a:lnTo>
                    <a:pt x="2559" y="2235"/>
                  </a:lnTo>
                  <a:lnTo>
                    <a:pt x="2554" y="2230"/>
                  </a:lnTo>
                  <a:lnTo>
                    <a:pt x="2570" y="2226"/>
                  </a:lnTo>
                  <a:lnTo>
                    <a:pt x="2570" y="2226"/>
                  </a:lnTo>
                  <a:lnTo>
                    <a:pt x="2570" y="2226"/>
                  </a:lnTo>
                  <a:close/>
                  <a:moveTo>
                    <a:pt x="5285" y="2226"/>
                  </a:moveTo>
                  <a:lnTo>
                    <a:pt x="5301" y="2230"/>
                  </a:lnTo>
                  <a:lnTo>
                    <a:pt x="5285" y="2230"/>
                  </a:lnTo>
                  <a:lnTo>
                    <a:pt x="5285" y="2226"/>
                  </a:lnTo>
                  <a:lnTo>
                    <a:pt x="5285" y="2226"/>
                  </a:lnTo>
                  <a:lnTo>
                    <a:pt x="5285" y="2226"/>
                  </a:lnTo>
                  <a:close/>
                  <a:moveTo>
                    <a:pt x="4718" y="2247"/>
                  </a:moveTo>
                  <a:lnTo>
                    <a:pt x="4746" y="2247"/>
                  </a:lnTo>
                  <a:lnTo>
                    <a:pt x="4746" y="2268"/>
                  </a:lnTo>
                  <a:lnTo>
                    <a:pt x="4734" y="2280"/>
                  </a:lnTo>
                  <a:lnTo>
                    <a:pt x="4675" y="2268"/>
                  </a:lnTo>
                  <a:lnTo>
                    <a:pt x="4649" y="2263"/>
                  </a:lnTo>
                  <a:lnTo>
                    <a:pt x="4642" y="2247"/>
                  </a:lnTo>
                  <a:lnTo>
                    <a:pt x="4675" y="2226"/>
                  </a:lnTo>
                  <a:lnTo>
                    <a:pt x="4692" y="2235"/>
                  </a:lnTo>
                  <a:lnTo>
                    <a:pt x="4718" y="2247"/>
                  </a:lnTo>
                  <a:lnTo>
                    <a:pt x="4718" y="2247"/>
                  </a:lnTo>
                  <a:lnTo>
                    <a:pt x="4718" y="2247"/>
                  </a:lnTo>
                  <a:close/>
                  <a:moveTo>
                    <a:pt x="2214" y="2230"/>
                  </a:moveTo>
                  <a:lnTo>
                    <a:pt x="2219" y="2247"/>
                  </a:lnTo>
                  <a:lnTo>
                    <a:pt x="2209" y="2235"/>
                  </a:lnTo>
                  <a:lnTo>
                    <a:pt x="2214" y="2230"/>
                  </a:lnTo>
                  <a:lnTo>
                    <a:pt x="2214" y="2230"/>
                  </a:lnTo>
                  <a:lnTo>
                    <a:pt x="2214" y="2230"/>
                  </a:lnTo>
                  <a:close/>
                  <a:moveTo>
                    <a:pt x="2948" y="2235"/>
                  </a:moveTo>
                  <a:lnTo>
                    <a:pt x="2948" y="2247"/>
                  </a:lnTo>
                  <a:lnTo>
                    <a:pt x="2937" y="2235"/>
                  </a:lnTo>
                  <a:lnTo>
                    <a:pt x="2948" y="2235"/>
                  </a:lnTo>
                  <a:lnTo>
                    <a:pt x="2948" y="2235"/>
                  </a:lnTo>
                  <a:lnTo>
                    <a:pt x="2948" y="2235"/>
                  </a:lnTo>
                  <a:close/>
                  <a:moveTo>
                    <a:pt x="2252" y="2247"/>
                  </a:moveTo>
                  <a:lnTo>
                    <a:pt x="2252" y="2263"/>
                  </a:lnTo>
                  <a:lnTo>
                    <a:pt x="2230" y="2247"/>
                  </a:lnTo>
                  <a:lnTo>
                    <a:pt x="2252" y="2247"/>
                  </a:lnTo>
                  <a:lnTo>
                    <a:pt x="2252" y="2247"/>
                  </a:lnTo>
                  <a:lnTo>
                    <a:pt x="2252" y="2247"/>
                  </a:lnTo>
                  <a:close/>
                  <a:moveTo>
                    <a:pt x="3024" y="2263"/>
                  </a:moveTo>
                  <a:lnTo>
                    <a:pt x="3019" y="2263"/>
                  </a:lnTo>
                  <a:lnTo>
                    <a:pt x="3024" y="2263"/>
                  </a:lnTo>
                  <a:lnTo>
                    <a:pt x="3024" y="2263"/>
                  </a:lnTo>
                  <a:lnTo>
                    <a:pt x="3024" y="2263"/>
                  </a:lnTo>
                  <a:close/>
                  <a:moveTo>
                    <a:pt x="1895" y="2263"/>
                  </a:moveTo>
                  <a:lnTo>
                    <a:pt x="1874" y="2263"/>
                  </a:lnTo>
                  <a:lnTo>
                    <a:pt x="1895" y="2263"/>
                  </a:lnTo>
                  <a:lnTo>
                    <a:pt x="1895" y="2263"/>
                  </a:lnTo>
                  <a:lnTo>
                    <a:pt x="1895" y="2263"/>
                  </a:lnTo>
                  <a:close/>
                  <a:moveTo>
                    <a:pt x="2306" y="2308"/>
                  </a:moveTo>
                  <a:lnTo>
                    <a:pt x="2306" y="2285"/>
                  </a:lnTo>
                  <a:lnTo>
                    <a:pt x="2318" y="2285"/>
                  </a:lnTo>
                  <a:lnTo>
                    <a:pt x="2322" y="2303"/>
                  </a:lnTo>
                  <a:lnTo>
                    <a:pt x="2306" y="2308"/>
                  </a:lnTo>
                  <a:lnTo>
                    <a:pt x="2306" y="2308"/>
                  </a:lnTo>
                  <a:lnTo>
                    <a:pt x="2306" y="2308"/>
                  </a:lnTo>
                  <a:close/>
                  <a:moveTo>
                    <a:pt x="5410" y="2292"/>
                  </a:moveTo>
                  <a:lnTo>
                    <a:pt x="5415" y="2303"/>
                  </a:lnTo>
                  <a:lnTo>
                    <a:pt x="5398" y="2303"/>
                  </a:lnTo>
                  <a:lnTo>
                    <a:pt x="5410" y="2292"/>
                  </a:lnTo>
                  <a:lnTo>
                    <a:pt x="5410" y="2292"/>
                  </a:lnTo>
                  <a:lnTo>
                    <a:pt x="5410" y="2292"/>
                  </a:lnTo>
                  <a:close/>
                  <a:moveTo>
                    <a:pt x="2285" y="2292"/>
                  </a:moveTo>
                  <a:lnTo>
                    <a:pt x="2289" y="2292"/>
                  </a:lnTo>
                  <a:lnTo>
                    <a:pt x="2285" y="2292"/>
                  </a:lnTo>
                  <a:lnTo>
                    <a:pt x="2285" y="2292"/>
                  </a:lnTo>
                  <a:lnTo>
                    <a:pt x="2285" y="2292"/>
                  </a:lnTo>
                  <a:close/>
                  <a:moveTo>
                    <a:pt x="2306" y="2308"/>
                  </a:moveTo>
                  <a:lnTo>
                    <a:pt x="2301" y="2308"/>
                  </a:lnTo>
                  <a:lnTo>
                    <a:pt x="2301" y="2303"/>
                  </a:lnTo>
                  <a:lnTo>
                    <a:pt x="2306" y="2308"/>
                  </a:lnTo>
                  <a:lnTo>
                    <a:pt x="2306" y="2308"/>
                  </a:lnTo>
                  <a:lnTo>
                    <a:pt x="2306" y="2308"/>
                  </a:lnTo>
                  <a:close/>
                  <a:moveTo>
                    <a:pt x="2289" y="2308"/>
                  </a:moveTo>
                  <a:lnTo>
                    <a:pt x="2285" y="2303"/>
                  </a:lnTo>
                  <a:lnTo>
                    <a:pt x="2289" y="2303"/>
                  </a:lnTo>
                  <a:lnTo>
                    <a:pt x="2289" y="2308"/>
                  </a:lnTo>
                  <a:lnTo>
                    <a:pt x="2289" y="2308"/>
                  </a:lnTo>
                  <a:lnTo>
                    <a:pt x="2289" y="2308"/>
                  </a:lnTo>
                  <a:close/>
                  <a:moveTo>
                    <a:pt x="2322" y="2308"/>
                  </a:moveTo>
                  <a:lnTo>
                    <a:pt x="2322" y="2337"/>
                  </a:lnTo>
                  <a:lnTo>
                    <a:pt x="2306" y="2320"/>
                  </a:lnTo>
                  <a:lnTo>
                    <a:pt x="2322" y="2308"/>
                  </a:lnTo>
                  <a:lnTo>
                    <a:pt x="2322" y="2308"/>
                  </a:lnTo>
                  <a:lnTo>
                    <a:pt x="2322" y="2308"/>
                  </a:lnTo>
                  <a:close/>
                  <a:moveTo>
                    <a:pt x="5436" y="2337"/>
                  </a:moveTo>
                  <a:lnTo>
                    <a:pt x="5415" y="2337"/>
                  </a:lnTo>
                  <a:lnTo>
                    <a:pt x="5431" y="2325"/>
                  </a:lnTo>
                  <a:lnTo>
                    <a:pt x="5448" y="2337"/>
                  </a:lnTo>
                  <a:lnTo>
                    <a:pt x="5436" y="2337"/>
                  </a:lnTo>
                  <a:lnTo>
                    <a:pt x="5436" y="2337"/>
                  </a:lnTo>
                  <a:lnTo>
                    <a:pt x="5436" y="2337"/>
                  </a:lnTo>
                  <a:close/>
                  <a:moveTo>
                    <a:pt x="2339" y="2337"/>
                  </a:moveTo>
                  <a:lnTo>
                    <a:pt x="2339" y="2341"/>
                  </a:lnTo>
                  <a:lnTo>
                    <a:pt x="2339" y="2337"/>
                  </a:lnTo>
                  <a:lnTo>
                    <a:pt x="2339" y="2337"/>
                  </a:lnTo>
                  <a:lnTo>
                    <a:pt x="2339" y="2337"/>
                  </a:lnTo>
                  <a:close/>
                  <a:moveTo>
                    <a:pt x="2344" y="2341"/>
                  </a:moveTo>
                  <a:lnTo>
                    <a:pt x="2360" y="2358"/>
                  </a:lnTo>
                  <a:lnTo>
                    <a:pt x="2344" y="2358"/>
                  </a:lnTo>
                  <a:lnTo>
                    <a:pt x="2344" y="2341"/>
                  </a:lnTo>
                  <a:lnTo>
                    <a:pt x="2344" y="2341"/>
                  </a:lnTo>
                  <a:lnTo>
                    <a:pt x="2344" y="2341"/>
                  </a:lnTo>
                  <a:close/>
                  <a:moveTo>
                    <a:pt x="5474" y="2358"/>
                  </a:moveTo>
                  <a:lnTo>
                    <a:pt x="5500" y="2346"/>
                  </a:lnTo>
                  <a:lnTo>
                    <a:pt x="5516" y="2346"/>
                  </a:lnTo>
                  <a:lnTo>
                    <a:pt x="5490" y="2363"/>
                  </a:lnTo>
                  <a:lnTo>
                    <a:pt x="5474" y="2358"/>
                  </a:lnTo>
                  <a:lnTo>
                    <a:pt x="5474" y="2358"/>
                  </a:lnTo>
                  <a:lnTo>
                    <a:pt x="5474" y="2358"/>
                  </a:lnTo>
                  <a:close/>
                  <a:moveTo>
                    <a:pt x="5474" y="2363"/>
                  </a:moveTo>
                  <a:lnTo>
                    <a:pt x="5462" y="2358"/>
                  </a:lnTo>
                  <a:lnTo>
                    <a:pt x="5474" y="2363"/>
                  </a:lnTo>
                  <a:lnTo>
                    <a:pt x="5474" y="2363"/>
                  </a:lnTo>
                  <a:lnTo>
                    <a:pt x="5474" y="2363"/>
                  </a:lnTo>
                  <a:close/>
                  <a:moveTo>
                    <a:pt x="5462" y="2363"/>
                  </a:moveTo>
                  <a:lnTo>
                    <a:pt x="5469" y="2374"/>
                  </a:lnTo>
                  <a:lnTo>
                    <a:pt x="5462" y="2363"/>
                  </a:lnTo>
                  <a:lnTo>
                    <a:pt x="5462" y="2363"/>
                  </a:lnTo>
                  <a:lnTo>
                    <a:pt x="5462" y="2363"/>
                  </a:lnTo>
                  <a:close/>
                  <a:moveTo>
                    <a:pt x="2306" y="2363"/>
                  </a:moveTo>
                  <a:lnTo>
                    <a:pt x="2322" y="2374"/>
                  </a:lnTo>
                  <a:lnTo>
                    <a:pt x="2318" y="2379"/>
                  </a:lnTo>
                  <a:lnTo>
                    <a:pt x="2306" y="2363"/>
                  </a:lnTo>
                  <a:lnTo>
                    <a:pt x="2306" y="2363"/>
                  </a:lnTo>
                  <a:lnTo>
                    <a:pt x="2306" y="2363"/>
                  </a:lnTo>
                  <a:close/>
                  <a:moveTo>
                    <a:pt x="5192" y="2429"/>
                  </a:moveTo>
                  <a:lnTo>
                    <a:pt x="5200" y="2436"/>
                  </a:lnTo>
                  <a:lnTo>
                    <a:pt x="5192" y="2436"/>
                  </a:lnTo>
                  <a:lnTo>
                    <a:pt x="5192" y="2429"/>
                  </a:lnTo>
                  <a:lnTo>
                    <a:pt x="5192" y="2429"/>
                  </a:lnTo>
                  <a:lnTo>
                    <a:pt x="5192" y="2429"/>
                  </a:lnTo>
                  <a:close/>
                  <a:moveTo>
                    <a:pt x="5204" y="2448"/>
                  </a:moveTo>
                  <a:lnTo>
                    <a:pt x="5221" y="2452"/>
                  </a:lnTo>
                  <a:lnTo>
                    <a:pt x="5192" y="2436"/>
                  </a:lnTo>
                  <a:lnTo>
                    <a:pt x="5204" y="2448"/>
                  </a:lnTo>
                  <a:lnTo>
                    <a:pt x="5204" y="2448"/>
                  </a:lnTo>
                  <a:lnTo>
                    <a:pt x="5204" y="2448"/>
                  </a:lnTo>
                  <a:close/>
                  <a:moveTo>
                    <a:pt x="4070" y="2457"/>
                  </a:moveTo>
                  <a:lnTo>
                    <a:pt x="4066" y="2469"/>
                  </a:lnTo>
                  <a:lnTo>
                    <a:pt x="4049" y="2452"/>
                  </a:lnTo>
                  <a:lnTo>
                    <a:pt x="4070" y="2457"/>
                  </a:lnTo>
                  <a:lnTo>
                    <a:pt x="4070" y="2457"/>
                  </a:lnTo>
                  <a:lnTo>
                    <a:pt x="4070" y="2457"/>
                  </a:lnTo>
                  <a:close/>
                  <a:moveTo>
                    <a:pt x="5523" y="2457"/>
                  </a:moveTo>
                  <a:lnTo>
                    <a:pt x="5528" y="2457"/>
                  </a:lnTo>
                  <a:lnTo>
                    <a:pt x="5507" y="2457"/>
                  </a:lnTo>
                  <a:lnTo>
                    <a:pt x="5523" y="2457"/>
                  </a:lnTo>
                  <a:lnTo>
                    <a:pt x="5523" y="2457"/>
                  </a:lnTo>
                  <a:lnTo>
                    <a:pt x="5523" y="2457"/>
                  </a:lnTo>
                  <a:close/>
                  <a:moveTo>
                    <a:pt x="4000" y="2485"/>
                  </a:moveTo>
                  <a:lnTo>
                    <a:pt x="4016" y="2502"/>
                  </a:lnTo>
                  <a:lnTo>
                    <a:pt x="4016" y="2514"/>
                  </a:lnTo>
                  <a:lnTo>
                    <a:pt x="4054" y="2523"/>
                  </a:lnTo>
                  <a:lnTo>
                    <a:pt x="4044" y="2530"/>
                  </a:lnTo>
                  <a:lnTo>
                    <a:pt x="4011" y="2530"/>
                  </a:lnTo>
                  <a:lnTo>
                    <a:pt x="4016" y="2514"/>
                  </a:lnTo>
                  <a:lnTo>
                    <a:pt x="3990" y="2514"/>
                  </a:lnTo>
                  <a:lnTo>
                    <a:pt x="3990" y="2502"/>
                  </a:lnTo>
                  <a:lnTo>
                    <a:pt x="3974" y="2485"/>
                  </a:lnTo>
                  <a:lnTo>
                    <a:pt x="3962" y="2474"/>
                  </a:lnTo>
                  <a:lnTo>
                    <a:pt x="4000" y="2485"/>
                  </a:lnTo>
                  <a:lnTo>
                    <a:pt x="4000" y="2485"/>
                  </a:lnTo>
                  <a:lnTo>
                    <a:pt x="4000" y="2485"/>
                  </a:lnTo>
                  <a:close/>
                  <a:moveTo>
                    <a:pt x="3936" y="2490"/>
                  </a:moveTo>
                  <a:lnTo>
                    <a:pt x="3957" y="2523"/>
                  </a:lnTo>
                  <a:lnTo>
                    <a:pt x="3945" y="2540"/>
                  </a:lnTo>
                  <a:lnTo>
                    <a:pt x="3919" y="2514"/>
                  </a:lnTo>
                  <a:lnTo>
                    <a:pt x="3919" y="2490"/>
                  </a:lnTo>
                  <a:lnTo>
                    <a:pt x="3936" y="2490"/>
                  </a:lnTo>
                  <a:lnTo>
                    <a:pt x="3936" y="2490"/>
                  </a:lnTo>
                  <a:lnTo>
                    <a:pt x="3936" y="2490"/>
                  </a:lnTo>
                  <a:close/>
                  <a:moveTo>
                    <a:pt x="5528" y="2502"/>
                  </a:moveTo>
                  <a:lnTo>
                    <a:pt x="5528" y="2507"/>
                  </a:lnTo>
                  <a:lnTo>
                    <a:pt x="5523" y="2490"/>
                  </a:lnTo>
                  <a:lnTo>
                    <a:pt x="5528" y="2502"/>
                  </a:lnTo>
                  <a:lnTo>
                    <a:pt x="5528" y="2502"/>
                  </a:lnTo>
                  <a:lnTo>
                    <a:pt x="5528" y="2502"/>
                  </a:lnTo>
                  <a:close/>
                  <a:moveTo>
                    <a:pt x="4264" y="2745"/>
                  </a:moveTo>
                  <a:lnTo>
                    <a:pt x="4205" y="2785"/>
                  </a:lnTo>
                  <a:lnTo>
                    <a:pt x="4134" y="2762"/>
                  </a:lnTo>
                  <a:lnTo>
                    <a:pt x="4104" y="2762"/>
                  </a:lnTo>
                  <a:lnTo>
                    <a:pt x="4104" y="2752"/>
                  </a:lnTo>
                  <a:lnTo>
                    <a:pt x="4108" y="2745"/>
                  </a:lnTo>
                  <a:lnTo>
                    <a:pt x="4108" y="2729"/>
                  </a:lnTo>
                  <a:lnTo>
                    <a:pt x="4066" y="2729"/>
                  </a:lnTo>
                  <a:lnTo>
                    <a:pt x="4054" y="2724"/>
                  </a:lnTo>
                  <a:lnTo>
                    <a:pt x="4070" y="2707"/>
                  </a:lnTo>
                  <a:lnTo>
                    <a:pt x="4066" y="2696"/>
                  </a:lnTo>
                  <a:lnTo>
                    <a:pt x="4028" y="2712"/>
                  </a:lnTo>
                  <a:lnTo>
                    <a:pt x="4016" y="2724"/>
                  </a:lnTo>
                  <a:lnTo>
                    <a:pt x="4028" y="2729"/>
                  </a:lnTo>
                  <a:lnTo>
                    <a:pt x="4028" y="2745"/>
                  </a:lnTo>
                  <a:lnTo>
                    <a:pt x="3978" y="2769"/>
                  </a:lnTo>
                  <a:lnTo>
                    <a:pt x="3957" y="2802"/>
                  </a:lnTo>
                  <a:lnTo>
                    <a:pt x="3910" y="2823"/>
                  </a:lnTo>
                  <a:lnTo>
                    <a:pt x="3886" y="2818"/>
                  </a:lnTo>
                  <a:lnTo>
                    <a:pt x="3881" y="2790"/>
                  </a:lnTo>
                  <a:lnTo>
                    <a:pt x="3886" y="2762"/>
                  </a:lnTo>
                  <a:lnTo>
                    <a:pt x="3881" y="2752"/>
                  </a:lnTo>
                  <a:lnTo>
                    <a:pt x="3818" y="2762"/>
                  </a:lnTo>
                  <a:lnTo>
                    <a:pt x="3796" y="2778"/>
                  </a:lnTo>
                  <a:lnTo>
                    <a:pt x="3773" y="2762"/>
                  </a:lnTo>
                  <a:lnTo>
                    <a:pt x="3796" y="2729"/>
                  </a:lnTo>
                  <a:lnTo>
                    <a:pt x="3839" y="2712"/>
                  </a:lnTo>
                  <a:lnTo>
                    <a:pt x="3834" y="2674"/>
                  </a:lnTo>
                  <a:lnTo>
                    <a:pt x="3834" y="2651"/>
                  </a:lnTo>
                  <a:lnTo>
                    <a:pt x="3848" y="2625"/>
                  </a:lnTo>
                  <a:lnTo>
                    <a:pt x="3839" y="2613"/>
                  </a:lnTo>
                  <a:lnTo>
                    <a:pt x="3848" y="2596"/>
                  </a:lnTo>
                  <a:lnTo>
                    <a:pt x="3848" y="2563"/>
                  </a:lnTo>
                  <a:lnTo>
                    <a:pt x="3855" y="2514"/>
                  </a:lnTo>
                  <a:lnTo>
                    <a:pt x="3893" y="2502"/>
                  </a:lnTo>
                  <a:lnTo>
                    <a:pt x="3893" y="2514"/>
                  </a:lnTo>
                  <a:lnTo>
                    <a:pt x="3919" y="2514"/>
                  </a:lnTo>
                  <a:lnTo>
                    <a:pt x="3924" y="2530"/>
                  </a:lnTo>
                  <a:lnTo>
                    <a:pt x="3903" y="2540"/>
                  </a:lnTo>
                  <a:lnTo>
                    <a:pt x="3924" y="2556"/>
                  </a:lnTo>
                  <a:lnTo>
                    <a:pt x="3936" y="2580"/>
                  </a:lnTo>
                  <a:lnTo>
                    <a:pt x="3941" y="2580"/>
                  </a:lnTo>
                  <a:lnTo>
                    <a:pt x="3957" y="2547"/>
                  </a:lnTo>
                  <a:lnTo>
                    <a:pt x="3962" y="2556"/>
                  </a:lnTo>
                  <a:lnTo>
                    <a:pt x="3990" y="2563"/>
                  </a:lnTo>
                  <a:lnTo>
                    <a:pt x="3978" y="2568"/>
                  </a:lnTo>
                  <a:lnTo>
                    <a:pt x="3990" y="2580"/>
                  </a:lnTo>
                  <a:lnTo>
                    <a:pt x="4044" y="2585"/>
                  </a:lnTo>
                  <a:lnTo>
                    <a:pt x="4054" y="2613"/>
                  </a:lnTo>
                  <a:lnTo>
                    <a:pt x="4125" y="2641"/>
                  </a:lnTo>
                  <a:lnTo>
                    <a:pt x="4158" y="2667"/>
                  </a:lnTo>
                  <a:lnTo>
                    <a:pt x="4158" y="2691"/>
                  </a:lnTo>
                  <a:lnTo>
                    <a:pt x="4163" y="2707"/>
                  </a:lnTo>
                  <a:lnTo>
                    <a:pt x="4141" y="2724"/>
                  </a:lnTo>
                  <a:lnTo>
                    <a:pt x="4179" y="2712"/>
                  </a:lnTo>
                  <a:lnTo>
                    <a:pt x="4210" y="2724"/>
                  </a:lnTo>
                  <a:lnTo>
                    <a:pt x="4210" y="2712"/>
                  </a:lnTo>
                  <a:lnTo>
                    <a:pt x="4217" y="2707"/>
                  </a:lnTo>
                  <a:lnTo>
                    <a:pt x="4243" y="2724"/>
                  </a:lnTo>
                  <a:lnTo>
                    <a:pt x="4243" y="2729"/>
                  </a:lnTo>
                  <a:lnTo>
                    <a:pt x="4243" y="2736"/>
                  </a:lnTo>
                  <a:lnTo>
                    <a:pt x="4264" y="2745"/>
                  </a:lnTo>
                  <a:lnTo>
                    <a:pt x="4264" y="2745"/>
                  </a:lnTo>
                  <a:lnTo>
                    <a:pt x="4264" y="2745"/>
                  </a:lnTo>
                  <a:close/>
                  <a:moveTo>
                    <a:pt x="4044" y="2507"/>
                  </a:moveTo>
                  <a:lnTo>
                    <a:pt x="4028" y="2507"/>
                  </a:lnTo>
                  <a:lnTo>
                    <a:pt x="4049" y="2507"/>
                  </a:lnTo>
                  <a:lnTo>
                    <a:pt x="4044" y="2507"/>
                  </a:lnTo>
                  <a:lnTo>
                    <a:pt x="4044" y="2507"/>
                  </a:lnTo>
                  <a:lnTo>
                    <a:pt x="4044" y="2507"/>
                  </a:lnTo>
                  <a:close/>
                  <a:moveTo>
                    <a:pt x="5523" y="2523"/>
                  </a:moveTo>
                  <a:lnTo>
                    <a:pt x="5528" y="2530"/>
                  </a:lnTo>
                  <a:lnTo>
                    <a:pt x="5523" y="2530"/>
                  </a:lnTo>
                  <a:lnTo>
                    <a:pt x="5507" y="2523"/>
                  </a:lnTo>
                  <a:lnTo>
                    <a:pt x="5523" y="2523"/>
                  </a:lnTo>
                  <a:lnTo>
                    <a:pt x="5523" y="2523"/>
                  </a:lnTo>
                  <a:lnTo>
                    <a:pt x="5523" y="2523"/>
                  </a:lnTo>
                  <a:close/>
                  <a:moveTo>
                    <a:pt x="5485" y="2530"/>
                  </a:moveTo>
                  <a:lnTo>
                    <a:pt x="5490" y="2540"/>
                  </a:lnTo>
                  <a:lnTo>
                    <a:pt x="5474" y="2540"/>
                  </a:lnTo>
                  <a:lnTo>
                    <a:pt x="5485" y="2530"/>
                  </a:lnTo>
                  <a:lnTo>
                    <a:pt x="5485" y="2530"/>
                  </a:lnTo>
                  <a:lnTo>
                    <a:pt x="5485" y="2530"/>
                  </a:lnTo>
                  <a:close/>
                  <a:moveTo>
                    <a:pt x="5452" y="2568"/>
                  </a:moveTo>
                  <a:lnTo>
                    <a:pt x="5462" y="2568"/>
                  </a:lnTo>
                  <a:lnTo>
                    <a:pt x="5448" y="2568"/>
                  </a:lnTo>
                  <a:lnTo>
                    <a:pt x="5452" y="2568"/>
                  </a:lnTo>
                  <a:lnTo>
                    <a:pt x="5452" y="2568"/>
                  </a:lnTo>
                  <a:lnTo>
                    <a:pt x="5452" y="2568"/>
                  </a:lnTo>
                  <a:close/>
                  <a:moveTo>
                    <a:pt x="5448" y="2613"/>
                  </a:moveTo>
                  <a:lnTo>
                    <a:pt x="5452" y="2618"/>
                  </a:lnTo>
                  <a:lnTo>
                    <a:pt x="5436" y="2613"/>
                  </a:lnTo>
                  <a:lnTo>
                    <a:pt x="5448" y="2613"/>
                  </a:lnTo>
                  <a:lnTo>
                    <a:pt x="5448" y="2613"/>
                  </a:lnTo>
                  <a:lnTo>
                    <a:pt x="5448" y="2613"/>
                  </a:lnTo>
                  <a:close/>
                  <a:moveTo>
                    <a:pt x="5313" y="2641"/>
                  </a:moveTo>
                  <a:lnTo>
                    <a:pt x="5313" y="2651"/>
                  </a:lnTo>
                  <a:lnTo>
                    <a:pt x="5301" y="2667"/>
                  </a:lnTo>
                  <a:lnTo>
                    <a:pt x="5285" y="2667"/>
                  </a:lnTo>
                  <a:lnTo>
                    <a:pt x="5301" y="2641"/>
                  </a:lnTo>
                  <a:lnTo>
                    <a:pt x="5313" y="2641"/>
                  </a:lnTo>
                  <a:lnTo>
                    <a:pt x="5313" y="2641"/>
                  </a:lnTo>
                  <a:lnTo>
                    <a:pt x="5313" y="2641"/>
                  </a:lnTo>
                  <a:close/>
                  <a:moveTo>
                    <a:pt x="4734" y="2658"/>
                  </a:moveTo>
                  <a:lnTo>
                    <a:pt x="4729" y="2679"/>
                  </a:lnTo>
                  <a:lnTo>
                    <a:pt x="4718" y="2679"/>
                  </a:lnTo>
                  <a:lnTo>
                    <a:pt x="4729" y="2667"/>
                  </a:lnTo>
                  <a:lnTo>
                    <a:pt x="4718" y="2658"/>
                  </a:lnTo>
                  <a:lnTo>
                    <a:pt x="4734" y="2658"/>
                  </a:lnTo>
                  <a:lnTo>
                    <a:pt x="4734" y="2658"/>
                  </a:lnTo>
                  <a:lnTo>
                    <a:pt x="4734" y="2658"/>
                  </a:lnTo>
                  <a:close/>
                  <a:moveTo>
                    <a:pt x="4680" y="2658"/>
                  </a:moveTo>
                  <a:lnTo>
                    <a:pt x="4692" y="2667"/>
                  </a:lnTo>
                  <a:lnTo>
                    <a:pt x="4675" y="2658"/>
                  </a:lnTo>
                  <a:lnTo>
                    <a:pt x="4680" y="2658"/>
                  </a:lnTo>
                  <a:lnTo>
                    <a:pt x="4680" y="2658"/>
                  </a:lnTo>
                  <a:lnTo>
                    <a:pt x="4680" y="2658"/>
                  </a:lnTo>
                  <a:close/>
                  <a:moveTo>
                    <a:pt x="4718" y="2667"/>
                  </a:moveTo>
                  <a:lnTo>
                    <a:pt x="4713" y="2674"/>
                  </a:lnTo>
                  <a:lnTo>
                    <a:pt x="4718" y="2667"/>
                  </a:lnTo>
                  <a:lnTo>
                    <a:pt x="4718" y="2667"/>
                  </a:lnTo>
                  <a:lnTo>
                    <a:pt x="4718" y="2667"/>
                  </a:lnTo>
                  <a:close/>
                  <a:moveTo>
                    <a:pt x="4675" y="2667"/>
                  </a:moveTo>
                  <a:lnTo>
                    <a:pt x="4692" y="2674"/>
                  </a:lnTo>
                  <a:lnTo>
                    <a:pt x="4663" y="2667"/>
                  </a:lnTo>
                  <a:lnTo>
                    <a:pt x="4675" y="2667"/>
                  </a:lnTo>
                  <a:lnTo>
                    <a:pt x="4675" y="2667"/>
                  </a:lnTo>
                  <a:lnTo>
                    <a:pt x="4675" y="2667"/>
                  </a:lnTo>
                  <a:close/>
                  <a:moveTo>
                    <a:pt x="5339" y="2674"/>
                  </a:moveTo>
                  <a:lnTo>
                    <a:pt x="5344" y="2679"/>
                  </a:lnTo>
                  <a:lnTo>
                    <a:pt x="5339" y="2691"/>
                  </a:lnTo>
                  <a:lnTo>
                    <a:pt x="5327" y="2674"/>
                  </a:lnTo>
                  <a:lnTo>
                    <a:pt x="5339" y="2674"/>
                  </a:lnTo>
                  <a:lnTo>
                    <a:pt x="5339" y="2674"/>
                  </a:lnTo>
                  <a:lnTo>
                    <a:pt x="5339" y="2674"/>
                  </a:lnTo>
                  <a:close/>
                  <a:moveTo>
                    <a:pt x="4718" y="2674"/>
                  </a:moveTo>
                  <a:lnTo>
                    <a:pt x="4718" y="2691"/>
                  </a:lnTo>
                  <a:lnTo>
                    <a:pt x="4713" y="2679"/>
                  </a:lnTo>
                  <a:lnTo>
                    <a:pt x="4718" y="2674"/>
                  </a:lnTo>
                  <a:lnTo>
                    <a:pt x="4718" y="2674"/>
                  </a:lnTo>
                  <a:lnTo>
                    <a:pt x="4718" y="2674"/>
                  </a:lnTo>
                  <a:close/>
                  <a:moveTo>
                    <a:pt x="4701" y="2679"/>
                  </a:moveTo>
                  <a:lnTo>
                    <a:pt x="4701" y="2691"/>
                  </a:lnTo>
                  <a:lnTo>
                    <a:pt x="4701" y="2679"/>
                  </a:lnTo>
                  <a:lnTo>
                    <a:pt x="4701" y="2679"/>
                  </a:lnTo>
                  <a:lnTo>
                    <a:pt x="4701" y="2679"/>
                  </a:lnTo>
                  <a:close/>
                  <a:moveTo>
                    <a:pt x="5327" y="2679"/>
                  </a:moveTo>
                  <a:lnTo>
                    <a:pt x="5339" y="2691"/>
                  </a:lnTo>
                  <a:lnTo>
                    <a:pt x="5327" y="2696"/>
                  </a:lnTo>
                  <a:lnTo>
                    <a:pt x="5322" y="2679"/>
                  </a:lnTo>
                  <a:lnTo>
                    <a:pt x="5327" y="2679"/>
                  </a:lnTo>
                  <a:lnTo>
                    <a:pt x="5327" y="2679"/>
                  </a:lnTo>
                  <a:lnTo>
                    <a:pt x="5327" y="2679"/>
                  </a:lnTo>
                  <a:close/>
                  <a:moveTo>
                    <a:pt x="4583" y="2679"/>
                  </a:moveTo>
                  <a:lnTo>
                    <a:pt x="4595" y="2679"/>
                  </a:lnTo>
                  <a:lnTo>
                    <a:pt x="4583" y="2691"/>
                  </a:lnTo>
                  <a:lnTo>
                    <a:pt x="4583" y="2679"/>
                  </a:lnTo>
                  <a:lnTo>
                    <a:pt x="4583" y="2679"/>
                  </a:lnTo>
                  <a:lnTo>
                    <a:pt x="4583" y="2679"/>
                  </a:lnTo>
                  <a:close/>
                  <a:moveTo>
                    <a:pt x="5360" y="2691"/>
                  </a:moveTo>
                  <a:lnTo>
                    <a:pt x="5365" y="2696"/>
                  </a:lnTo>
                  <a:lnTo>
                    <a:pt x="5355" y="2691"/>
                  </a:lnTo>
                  <a:lnTo>
                    <a:pt x="5360" y="2691"/>
                  </a:lnTo>
                  <a:lnTo>
                    <a:pt x="5360" y="2691"/>
                  </a:lnTo>
                  <a:lnTo>
                    <a:pt x="5360" y="2691"/>
                  </a:lnTo>
                  <a:close/>
                  <a:moveTo>
                    <a:pt x="5365" y="2707"/>
                  </a:moveTo>
                  <a:lnTo>
                    <a:pt x="5360" y="2707"/>
                  </a:lnTo>
                  <a:lnTo>
                    <a:pt x="5365" y="2707"/>
                  </a:lnTo>
                  <a:lnTo>
                    <a:pt x="5365" y="2707"/>
                  </a:lnTo>
                  <a:lnTo>
                    <a:pt x="5365" y="2707"/>
                  </a:lnTo>
                  <a:close/>
                  <a:moveTo>
                    <a:pt x="5327" y="2707"/>
                  </a:moveTo>
                  <a:lnTo>
                    <a:pt x="5339" y="2712"/>
                  </a:lnTo>
                  <a:lnTo>
                    <a:pt x="5327" y="2707"/>
                  </a:lnTo>
                  <a:lnTo>
                    <a:pt x="5327" y="2707"/>
                  </a:lnTo>
                  <a:lnTo>
                    <a:pt x="5327" y="2707"/>
                  </a:lnTo>
                  <a:close/>
                  <a:moveTo>
                    <a:pt x="4444" y="2724"/>
                  </a:moveTo>
                  <a:lnTo>
                    <a:pt x="4432" y="2729"/>
                  </a:lnTo>
                  <a:lnTo>
                    <a:pt x="4422" y="2724"/>
                  </a:lnTo>
                  <a:lnTo>
                    <a:pt x="4448" y="2724"/>
                  </a:lnTo>
                  <a:lnTo>
                    <a:pt x="4444" y="2724"/>
                  </a:lnTo>
                  <a:lnTo>
                    <a:pt x="4444" y="2724"/>
                  </a:lnTo>
                  <a:lnTo>
                    <a:pt x="4444" y="2724"/>
                  </a:lnTo>
                  <a:close/>
                  <a:moveTo>
                    <a:pt x="5360" y="2736"/>
                  </a:moveTo>
                  <a:lnTo>
                    <a:pt x="5360" y="2745"/>
                  </a:lnTo>
                  <a:lnTo>
                    <a:pt x="5365" y="2745"/>
                  </a:lnTo>
                  <a:lnTo>
                    <a:pt x="5377" y="2752"/>
                  </a:lnTo>
                  <a:lnTo>
                    <a:pt x="5339" y="2745"/>
                  </a:lnTo>
                  <a:lnTo>
                    <a:pt x="5360" y="2736"/>
                  </a:lnTo>
                  <a:lnTo>
                    <a:pt x="5360" y="2736"/>
                  </a:lnTo>
                  <a:lnTo>
                    <a:pt x="5360" y="2736"/>
                  </a:lnTo>
                  <a:close/>
                  <a:moveTo>
                    <a:pt x="5377" y="2736"/>
                  </a:moveTo>
                  <a:lnTo>
                    <a:pt x="5393" y="2736"/>
                  </a:lnTo>
                  <a:lnTo>
                    <a:pt x="5393" y="2745"/>
                  </a:lnTo>
                  <a:lnTo>
                    <a:pt x="5377" y="2736"/>
                  </a:lnTo>
                  <a:lnTo>
                    <a:pt x="5377" y="2736"/>
                  </a:lnTo>
                  <a:lnTo>
                    <a:pt x="5377" y="2736"/>
                  </a:lnTo>
                  <a:close/>
                  <a:moveTo>
                    <a:pt x="5377" y="2745"/>
                  </a:moveTo>
                  <a:lnTo>
                    <a:pt x="5381" y="2752"/>
                  </a:lnTo>
                  <a:lnTo>
                    <a:pt x="5377" y="2752"/>
                  </a:lnTo>
                  <a:lnTo>
                    <a:pt x="5377" y="2745"/>
                  </a:lnTo>
                  <a:lnTo>
                    <a:pt x="5377" y="2745"/>
                  </a:lnTo>
                  <a:lnTo>
                    <a:pt x="5377" y="2745"/>
                  </a:lnTo>
                  <a:close/>
                  <a:moveTo>
                    <a:pt x="4789" y="2752"/>
                  </a:moveTo>
                  <a:lnTo>
                    <a:pt x="4798" y="2752"/>
                  </a:lnTo>
                  <a:lnTo>
                    <a:pt x="4789" y="2752"/>
                  </a:lnTo>
                  <a:lnTo>
                    <a:pt x="4789" y="2752"/>
                  </a:lnTo>
                  <a:lnTo>
                    <a:pt x="4789" y="2752"/>
                  </a:lnTo>
                  <a:close/>
                  <a:moveTo>
                    <a:pt x="4512" y="2785"/>
                  </a:moveTo>
                  <a:lnTo>
                    <a:pt x="4519" y="2785"/>
                  </a:lnTo>
                  <a:lnTo>
                    <a:pt x="4512" y="2790"/>
                  </a:lnTo>
                  <a:lnTo>
                    <a:pt x="4486" y="2790"/>
                  </a:lnTo>
                  <a:lnTo>
                    <a:pt x="4460" y="2762"/>
                  </a:lnTo>
                  <a:lnTo>
                    <a:pt x="4481" y="2762"/>
                  </a:lnTo>
                  <a:lnTo>
                    <a:pt x="4512" y="2769"/>
                  </a:lnTo>
                  <a:lnTo>
                    <a:pt x="4512" y="2785"/>
                  </a:lnTo>
                  <a:lnTo>
                    <a:pt x="4512" y="2785"/>
                  </a:lnTo>
                  <a:lnTo>
                    <a:pt x="4512" y="2785"/>
                  </a:lnTo>
                  <a:close/>
                  <a:moveTo>
                    <a:pt x="5377" y="2762"/>
                  </a:moveTo>
                  <a:lnTo>
                    <a:pt x="5381" y="2785"/>
                  </a:lnTo>
                  <a:lnTo>
                    <a:pt x="5398" y="2807"/>
                  </a:lnTo>
                  <a:lnTo>
                    <a:pt x="5365" y="2785"/>
                  </a:lnTo>
                  <a:lnTo>
                    <a:pt x="5365" y="2769"/>
                  </a:lnTo>
                  <a:lnTo>
                    <a:pt x="5377" y="2762"/>
                  </a:lnTo>
                  <a:lnTo>
                    <a:pt x="5377" y="2762"/>
                  </a:lnTo>
                  <a:lnTo>
                    <a:pt x="5377" y="2762"/>
                  </a:lnTo>
                  <a:close/>
                  <a:moveTo>
                    <a:pt x="5393" y="2762"/>
                  </a:moveTo>
                  <a:lnTo>
                    <a:pt x="5393" y="2785"/>
                  </a:lnTo>
                  <a:lnTo>
                    <a:pt x="5381" y="2769"/>
                  </a:lnTo>
                  <a:lnTo>
                    <a:pt x="5393" y="2762"/>
                  </a:lnTo>
                  <a:lnTo>
                    <a:pt x="5393" y="2762"/>
                  </a:lnTo>
                  <a:lnTo>
                    <a:pt x="5393" y="2762"/>
                  </a:lnTo>
                  <a:close/>
                  <a:moveTo>
                    <a:pt x="3470" y="2769"/>
                  </a:moveTo>
                  <a:lnTo>
                    <a:pt x="3487" y="2769"/>
                  </a:lnTo>
                  <a:lnTo>
                    <a:pt x="3470" y="2769"/>
                  </a:lnTo>
                  <a:lnTo>
                    <a:pt x="3470" y="2769"/>
                  </a:lnTo>
                  <a:lnTo>
                    <a:pt x="3470" y="2769"/>
                  </a:lnTo>
                  <a:close/>
                  <a:moveTo>
                    <a:pt x="4822" y="2769"/>
                  </a:moveTo>
                  <a:lnTo>
                    <a:pt x="4826" y="2778"/>
                  </a:lnTo>
                  <a:lnTo>
                    <a:pt x="4822" y="2778"/>
                  </a:lnTo>
                  <a:lnTo>
                    <a:pt x="4822" y="2769"/>
                  </a:lnTo>
                  <a:lnTo>
                    <a:pt x="4822" y="2769"/>
                  </a:lnTo>
                  <a:lnTo>
                    <a:pt x="4822" y="2769"/>
                  </a:lnTo>
                  <a:close/>
                  <a:moveTo>
                    <a:pt x="5339" y="2778"/>
                  </a:moveTo>
                  <a:lnTo>
                    <a:pt x="5339" y="2790"/>
                  </a:lnTo>
                  <a:lnTo>
                    <a:pt x="5327" y="2778"/>
                  </a:lnTo>
                  <a:lnTo>
                    <a:pt x="5339" y="2778"/>
                  </a:lnTo>
                  <a:lnTo>
                    <a:pt x="5339" y="2778"/>
                  </a:lnTo>
                  <a:lnTo>
                    <a:pt x="5339" y="2778"/>
                  </a:lnTo>
                  <a:close/>
                  <a:moveTo>
                    <a:pt x="4406" y="2778"/>
                  </a:moveTo>
                  <a:lnTo>
                    <a:pt x="4444" y="2785"/>
                  </a:lnTo>
                  <a:lnTo>
                    <a:pt x="4448" y="2807"/>
                  </a:lnTo>
                  <a:lnTo>
                    <a:pt x="4422" y="2823"/>
                  </a:lnTo>
                  <a:lnTo>
                    <a:pt x="4378" y="2785"/>
                  </a:lnTo>
                  <a:lnTo>
                    <a:pt x="4406" y="2778"/>
                  </a:lnTo>
                  <a:lnTo>
                    <a:pt x="4406" y="2778"/>
                  </a:lnTo>
                  <a:lnTo>
                    <a:pt x="4406" y="2778"/>
                  </a:lnTo>
                  <a:close/>
                  <a:moveTo>
                    <a:pt x="5129" y="2807"/>
                  </a:moveTo>
                  <a:lnTo>
                    <a:pt x="5138" y="2818"/>
                  </a:lnTo>
                  <a:lnTo>
                    <a:pt x="5129" y="2807"/>
                  </a:lnTo>
                  <a:lnTo>
                    <a:pt x="5129" y="2807"/>
                  </a:lnTo>
                  <a:lnTo>
                    <a:pt x="5129" y="2807"/>
                  </a:lnTo>
                  <a:close/>
                  <a:moveTo>
                    <a:pt x="5192" y="2823"/>
                  </a:moveTo>
                  <a:lnTo>
                    <a:pt x="5200" y="2840"/>
                  </a:lnTo>
                  <a:lnTo>
                    <a:pt x="5183" y="2823"/>
                  </a:lnTo>
                  <a:lnTo>
                    <a:pt x="5192" y="2823"/>
                  </a:lnTo>
                  <a:lnTo>
                    <a:pt x="5192" y="2823"/>
                  </a:lnTo>
                  <a:lnTo>
                    <a:pt x="5192" y="2823"/>
                  </a:lnTo>
                  <a:close/>
                  <a:moveTo>
                    <a:pt x="4125" y="2840"/>
                  </a:moveTo>
                  <a:lnTo>
                    <a:pt x="4151" y="2847"/>
                  </a:lnTo>
                  <a:lnTo>
                    <a:pt x="4141" y="2873"/>
                  </a:lnTo>
                  <a:lnTo>
                    <a:pt x="4066" y="2929"/>
                  </a:lnTo>
                  <a:lnTo>
                    <a:pt x="4044" y="2918"/>
                  </a:lnTo>
                  <a:lnTo>
                    <a:pt x="4016" y="2934"/>
                  </a:lnTo>
                  <a:lnTo>
                    <a:pt x="4016" y="2913"/>
                  </a:lnTo>
                  <a:lnTo>
                    <a:pt x="4000" y="2901"/>
                  </a:lnTo>
                  <a:lnTo>
                    <a:pt x="4044" y="2847"/>
                  </a:lnTo>
                  <a:lnTo>
                    <a:pt x="4066" y="2856"/>
                  </a:lnTo>
                  <a:lnTo>
                    <a:pt x="4125" y="2840"/>
                  </a:lnTo>
                  <a:lnTo>
                    <a:pt x="4125" y="2840"/>
                  </a:lnTo>
                  <a:lnTo>
                    <a:pt x="4125" y="2840"/>
                  </a:lnTo>
                  <a:close/>
                  <a:moveTo>
                    <a:pt x="5221" y="2847"/>
                  </a:moveTo>
                  <a:lnTo>
                    <a:pt x="5237" y="2856"/>
                  </a:lnTo>
                  <a:lnTo>
                    <a:pt x="5221" y="2847"/>
                  </a:lnTo>
                  <a:lnTo>
                    <a:pt x="5221" y="2847"/>
                  </a:lnTo>
                  <a:lnTo>
                    <a:pt x="5221" y="2847"/>
                  </a:lnTo>
                  <a:close/>
                  <a:moveTo>
                    <a:pt x="4935" y="2863"/>
                  </a:moveTo>
                  <a:lnTo>
                    <a:pt x="4966" y="2880"/>
                  </a:lnTo>
                  <a:lnTo>
                    <a:pt x="4928" y="2889"/>
                  </a:lnTo>
                  <a:lnTo>
                    <a:pt x="4918" y="2863"/>
                  </a:lnTo>
                  <a:lnTo>
                    <a:pt x="4897" y="2856"/>
                  </a:lnTo>
                  <a:lnTo>
                    <a:pt x="4890" y="2847"/>
                  </a:lnTo>
                  <a:lnTo>
                    <a:pt x="4935" y="2863"/>
                  </a:lnTo>
                  <a:lnTo>
                    <a:pt x="4935" y="2863"/>
                  </a:lnTo>
                  <a:lnTo>
                    <a:pt x="4935" y="2863"/>
                  </a:lnTo>
                  <a:close/>
                  <a:moveTo>
                    <a:pt x="4663" y="2863"/>
                  </a:moveTo>
                  <a:lnTo>
                    <a:pt x="4701" y="2880"/>
                  </a:lnTo>
                  <a:lnTo>
                    <a:pt x="4649" y="2863"/>
                  </a:lnTo>
                  <a:lnTo>
                    <a:pt x="4663" y="2863"/>
                  </a:lnTo>
                  <a:lnTo>
                    <a:pt x="4663" y="2863"/>
                  </a:lnTo>
                  <a:lnTo>
                    <a:pt x="4663" y="2863"/>
                  </a:lnTo>
                  <a:close/>
                  <a:moveTo>
                    <a:pt x="4432" y="2880"/>
                  </a:moveTo>
                  <a:lnTo>
                    <a:pt x="4444" y="2880"/>
                  </a:lnTo>
                  <a:lnTo>
                    <a:pt x="4432" y="2889"/>
                  </a:lnTo>
                  <a:lnTo>
                    <a:pt x="4432" y="2880"/>
                  </a:lnTo>
                  <a:lnTo>
                    <a:pt x="4432" y="2880"/>
                  </a:lnTo>
                  <a:lnTo>
                    <a:pt x="4432" y="2880"/>
                  </a:lnTo>
                  <a:close/>
                  <a:moveTo>
                    <a:pt x="4422" y="2880"/>
                  </a:moveTo>
                  <a:lnTo>
                    <a:pt x="4427" y="2889"/>
                  </a:lnTo>
                  <a:lnTo>
                    <a:pt x="4411" y="2889"/>
                  </a:lnTo>
                  <a:lnTo>
                    <a:pt x="4422" y="2880"/>
                  </a:lnTo>
                  <a:lnTo>
                    <a:pt x="4422" y="2880"/>
                  </a:lnTo>
                  <a:lnTo>
                    <a:pt x="4422" y="2880"/>
                  </a:lnTo>
                  <a:close/>
                  <a:moveTo>
                    <a:pt x="5377" y="2889"/>
                  </a:moveTo>
                  <a:lnTo>
                    <a:pt x="5360" y="2901"/>
                  </a:lnTo>
                  <a:lnTo>
                    <a:pt x="5327" y="2896"/>
                  </a:lnTo>
                  <a:lnTo>
                    <a:pt x="5344" y="2889"/>
                  </a:lnTo>
                  <a:lnTo>
                    <a:pt x="5377" y="2889"/>
                  </a:lnTo>
                  <a:lnTo>
                    <a:pt x="5377" y="2889"/>
                  </a:lnTo>
                  <a:lnTo>
                    <a:pt x="5377" y="2889"/>
                  </a:lnTo>
                  <a:close/>
                  <a:moveTo>
                    <a:pt x="4314" y="2967"/>
                  </a:moveTo>
                  <a:lnTo>
                    <a:pt x="4302" y="2991"/>
                  </a:lnTo>
                  <a:lnTo>
                    <a:pt x="4285" y="3000"/>
                  </a:lnTo>
                  <a:lnTo>
                    <a:pt x="4259" y="2967"/>
                  </a:lnTo>
                  <a:lnTo>
                    <a:pt x="4259" y="2934"/>
                  </a:lnTo>
                  <a:lnTo>
                    <a:pt x="4281" y="2901"/>
                  </a:lnTo>
                  <a:lnTo>
                    <a:pt x="4318" y="2901"/>
                  </a:lnTo>
                  <a:lnTo>
                    <a:pt x="4323" y="2918"/>
                  </a:lnTo>
                  <a:lnTo>
                    <a:pt x="4323" y="2929"/>
                  </a:lnTo>
                  <a:lnTo>
                    <a:pt x="4314" y="2967"/>
                  </a:lnTo>
                  <a:lnTo>
                    <a:pt x="4314" y="2967"/>
                  </a:lnTo>
                  <a:lnTo>
                    <a:pt x="4314" y="2967"/>
                  </a:lnTo>
                  <a:close/>
                  <a:moveTo>
                    <a:pt x="5268" y="2934"/>
                  </a:moveTo>
                  <a:lnTo>
                    <a:pt x="5259" y="2934"/>
                  </a:lnTo>
                  <a:lnTo>
                    <a:pt x="5268" y="2929"/>
                  </a:lnTo>
                  <a:lnTo>
                    <a:pt x="5268" y="2934"/>
                  </a:lnTo>
                  <a:lnTo>
                    <a:pt x="5268" y="2934"/>
                  </a:lnTo>
                  <a:lnTo>
                    <a:pt x="5268" y="2934"/>
                  </a:lnTo>
                  <a:close/>
                  <a:moveTo>
                    <a:pt x="5322" y="2955"/>
                  </a:moveTo>
                  <a:lnTo>
                    <a:pt x="5344" y="2974"/>
                  </a:lnTo>
                  <a:lnTo>
                    <a:pt x="5339" y="2974"/>
                  </a:lnTo>
                  <a:lnTo>
                    <a:pt x="5313" y="2955"/>
                  </a:lnTo>
                  <a:lnTo>
                    <a:pt x="5313" y="2951"/>
                  </a:lnTo>
                  <a:lnTo>
                    <a:pt x="5322" y="2955"/>
                  </a:lnTo>
                  <a:lnTo>
                    <a:pt x="5322" y="2955"/>
                  </a:lnTo>
                  <a:lnTo>
                    <a:pt x="5322" y="2955"/>
                  </a:lnTo>
                  <a:close/>
                  <a:moveTo>
                    <a:pt x="3364" y="2967"/>
                  </a:moveTo>
                  <a:lnTo>
                    <a:pt x="3352" y="2955"/>
                  </a:lnTo>
                  <a:lnTo>
                    <a:pt x="3369" y="2955"/>
                  </a:lnTo>
                  <a:lnTo>
                    <a:pt x="3364" y="2967"/>
                  </a:lnTo>
                  <a:lnTo>
                    <a:pt x="3364" y="2967"/>
                  </a:lnTo>
                  <a:lnTo>
                    <a:pt x="3364" y="2967"/>
                  </a:lnTo>
                  <a:close/>
                  <a:moveTo>
                    <a:pt x="5285" y="2967"/>
                  </a:moveTo>
                  <a:lnTo>
                    <a:pt x="5285" y="2974"/>
                  </a:lnTo>
                  <a:lnTo>
                    <a:pt x="5259" y="2974"/>
                  </a:lnTo>
                  <a:lnTo>
                    <a:pt x="5285" y="2967"/>
                  </a:lnTo>
                  <a:lnTo>
                    <a:pt x="5285" y="2967"/>
                  </a:lnTo>
                  <a:lnTo>
                    <a:pt x="5285" y="2967"/>
                  </a:lnTo>
                  <a:close/>
                  <a:moveTo>
                    <a:pt x="5355" y="2991"/>
                  </a:moveTo>
                  <a:lnTo>
                    <a:pt x="5355" y="3000"/>
                  </a:lnTo>
                  <a:lnTo>
                    <a:pt x="5355" y="3007"/>
                  </a:lnTo>
                  <a:lnTo>
                    <a:pt x="5339" y="3024"/>
                  </a:lnTo>
                  <a:lnTo>
                    <a:pt x="5301" y="2991"/>
                  </a:lnTo>
                  <a:lnTo>
                    <a:pt x="5327" y="2984"/>
                  </a:lnTo>
                  <a:lnTo>
                    <a:pt x="5355" y="2991"/>
                  </a:lnTo>
                  <a:lnTo>
                    <a:pt x="5355" y="2991"/>
                  </a:lnTo>
                  <a:lnTo>
                    <a:pt x="5355" y="2991"/>
                  </a:lnTo>
                  <a:close/>
                  <a:moveTo>
                    <a:pt x="4982" y="3057"/>
                  </a:moveTo>
                  <a:lnTo>
                    <a:pt x="4982" y="3062"/>
                  </a:lnTo>
                  <a:lnTo>
                    <a:pt x="4973" y="3057"/>
                  </a:lnTo>
                  <a:lnTo>
                    <a:pt x="4982" y="3057"/>
                  </a:lnTo>
                  <a:lnTo>
                    <a:pt x="4982" y="3057"/>
                  </a:lnTo>
                  <a:lnTo>
                    <a:pt x="4982" y="3057"/>
                  </a:lnTo>
                  <a:close/>
                  <a:moveTo>
                    <a:pt x="5124" y="3111"/>
                  </a:moveTo>
                  <a:lnTo>
                    <a:pt x="5138" y="3118"/>
                  </a:lnTo>
                  <a:lnTo>
                    <a:pt x="5129" y="3123"/>
                  </a:lnTo>
                  <a:lnTo>
                    <a:pt x="5091" y="3140"/>
                  </a:lnTo>
                  <a:lnTo>
                    <a:pt x="5112" y="3100"/>
                  </a:lnTo>
                  <a:lnTo>
                    <a:pt x="5124" y="3111"/>
                  </a:lnTo>
                  <a:lnTo>
                    <a:pt x="5124" y="3111"/>
                  </a:lnTo>
                  <a:lnTo>
                    <a:pt x="5124" y="3111"/>
                  </a:lnTo>
                  <a:close/>
                  <a:moveTo>
                    <a:pt x="5365" y="3123"/>
                  </a:moveTo>
                  <a:lnTo>
                    <a:pt x="5365" y="3135"/>
                  </a:lnTo>
                  <a:lnTo>
                    <a:pt x="5339" y="3118"/>
                  </a:lnTo>
                  <a:lnTo>
                    <a:pt x="5355" y="3118"/>
                  </a:lnTo>
                  <a:lnTo>
                    <a:pt x="5365" y="3123"/>
                  </a:lnTo>
                  <a:lnTo>
                    <a:pt x="5365" y="3123"/>
                  </a:lnTo>
                  <a:lnTo>
                    <a:pt x="5365" y="3123"/>
                  </a:lnTo>
                  <a:close/>
                  <a:moveTo>
                    <a:pt x="4281" y="3177"/>
                  </a:moveTo>
                  <a:lnTo>
                    <a:pt x="4281" y="3189"/>
                  </a:lnTo>
                  <a:lnTo>
                    <a:pt x="4264" y="3194"/>
                  </a:lnTo>
                  <a:lnTo>
                    <a:pt x="4281" y="3177"/>
                  </a:lnTo>
                  <a:lnTo>
                    <a:pt x="4281" y="3177"/>
                  </a:lnTo>
                  <a:lnTo>
                    <a:pt x="4281" y="3177"/>
                  </a:lnTo>
                  <a:close/>
                  <a:moveTo>
                    <a:pt x="5398" y="3177"/>
                  </a:moveTo>
                  <a:lnTo>
                    <a:pt x="5398" y="3194"/>
                  </a:lnTo>
                  <a:lnTo>
                    <a:pt x="5381" y="3194"/>
                  </a:lnTo>
                  <a:lnTo>
                    <a:pt x="5398" y="3177"/>
                  </a:lnTo>
                  <a:lnTo>
                    <a:pt x="5398" y="3177"/>
                  </a:lnTo>
                  <a:lnTo>
                    <a:pt x="5398" y="3177"/>
                  </a:lnTo>
                  <a:close/>
                  <a:moveTo>
                    <a:pt x="4264" y="3206"/>
                  </a:moveTo>
                  <a:lnTo>
                    <a:pt x="4259" y="3206"/>
                  </a:lnTo>
                  <a:lnTo>
                    <a:pt x="4264" y="3194"/>
                  </a:lnTo>
                  <a:lnTo>
                    <a:pt x="4264" y="3206"/>
                  </a:lnTo>
                  <a:lnTo>
                    <a:pt x="4264" y="3206"/>
                  </a:lnTo>
                  <a:lnTo>
                    <a:pt x="4264" y="3206"/>
                  </a:lnTo>
                  <a:close/>
                  <a:moveTo>
                    <a:pt x="5037" y="3263"/>
                  </a:moveTo>
                  <a:lnTo>
                    <a:pt x="5037" y="3279"/>
                  </a:lnTo>
                  <a:lnTo>
                    <a:pt x="5025" y="3279"/>
                  </a:lnTo>
                  <a:lnTo>
                    <a:pt x="5020" y="3263"/>
                  </a:lnTo>
                  <a:lnTo>
                    <a:pt x="5037" y="3263"/>
                  </a:lnTo>
                  <a:lnTo>
                    <a:pt x="5037" y="3263"/>
                  </a:lnTo>
                  <a:lnTo>
                    <a:pt x="5037" y="3263"/>
                  </a:lnTo>
                  <a:close/>
                  <a:moveTo>
                    <a:pt x="4373" y="3305"/>
                  </a:moveTo>
                  <a:lnTo>
                    <a:pt x="4389" y="3322"/>
                  </a:lnTo>
                  <a:lnTo>
                    <a:pt x="4373" y="3317"/>
                  </a:lnTo>
                  <a:lnTo>
                    <a:pt x="4373" y="3305"/>
                  </a:lnTo>
                  <a:lnTo>
                    <a:pt x="4373" y="3305"/>
                  </a:lnTo>
                  <a:lnTo>
                    <a:pt x="4373" y="3305"/>
                  </a:lnTo>
                  <a:close/>
                  <a:moveTo>
                    <a:pt x="5150" y="3338"/>
                  </a:moveTo>
                  <a:lnTo>
                    <a:pt x="5150" y="3350"/>
                  </a:lnTo>
                  <a:lnTo>
                    <a:pt x="5145" y="3350"/>
                  </a:lnTo>
                  <a:lnTo>
                    <a:pt x="5150" y="3338"/>
                  </a:lnTo>
                  <a:lnTo>
                    <a:pt x="5150" y="3338"/>
                  </a:lnTo>
                  <a:lnTo>
                    <a:pt x="5150" y="3338"/>
                  </a:lnTo>
                  <a:close/>
                  <a:moveTo>
                    <a:pt x="5544" y="3395"/>
                  </a:moveTo>
                  <a:lnTo>
                    <a:pt x="5544" y="3407"/>
                  </a:lnTo>
                  <a:lnTo>
                    <a:pt x="5528" y="3395"/>
                  </a:lnTo>
                  <a:lnTo>
                    <a:pt x="5537" y="3390"/>
                  </a:lnTo>
                  <a:lnTo>
                    <a:pt x="5544" y="3395"/>
                  </a:lnTo>
                  <a:lnTo>
                    <a:pt x="5544" y="3395"/>
                  </a:lnTo>
                  <a:lnTo>
                    <a:pt x="5544" y="3395"/>
                  </a:lnTo>
                  <a:close/>
                  <a:moveTo>
                    <a:pt x="5570" y="3407"/>
                  </a:moveTo>
                  <a:lnTo>
                    <a:pt x="5561" y="3411"/>
                  </a:lnTo>
                  <a:lnTo>
                    <a:pt x="5544" y="3407"/>
                  </a:lnTo>
                  <a:lnTo>
                    <a:pt x="5554" y="3395"/>
                  </a:lnTo>
                  <a:lnTo>
                    <a:pt x="5570" y="3407"/>
                  </a:lnTo>
                  <a:lnTo>
                    <a:pt x="5570" y="3407"/>
                  </a:lnTo>
                  <a:lnTo>
                    <a:pt x="5570" y="3407"/>
                  </a:lnTo>
                  <a:close/>
                  <a:moveTo>
                    <a:pt x="4297" y="3416"/>
                  </a:moveTo>
                  <a:lnTo>
                    <a:pt x="4285" y="3444"/>
                  </a:lnTo>
                  <a:lnTo>
                    <a:pt x="4285" y="3428"/>
                  </a:lnTo>
                  <a:lnTo>
                    <a:pt x="4297" y="3416"/>
                  </a:lnTo>
                  <a:lnTo>
                    <a:pt x="4297" y="3416"/>
                  </a:lnTo>
                  <a:lnTo>
                    <a:pt x="4297" y="3416"/>
                  </a:lnTo>
                  <a:close/>
                  <a:moveTo>
                    <a:pt x="5544" y="3433"/>
                  </a:moveTo>
                  <a:lnTo>
                    <a:pt x="5537" y="3428"/>
                  </a:lnTo>
                  <a:lnTo>
                    <a:pt x="5544" y="3416"/>
                  </a:lnTo>
                  <a:lnTo>
                    <a:pt x="5554" y="3428"/>
                  </a:lnTo>
                  <a:lnTo>
                    <a:pt x="5544" y="3433"/>
                  </a:lnTo>
                  <a:lnTo>
                    <a:pt x="5544" y="3433"/>
                  </a:lnTo>
                  <a:lnTo>
                    <a:pt x="5544" y="3433"/>
                  </a:lnTo>
                  <a:close/>
                  <a:moveTo>
                    <a:pt x="5570" y="3428"/>
                  </a:moveTo>
                  <a:lnTo>
                    <a:pt x="5570" y="3444"/>
                  </a:lnTo>
                  <a:lnTo>
                    <a:pt x="5544" y="3433"/>
                  </a:lnTo>
                  <a:lnTo>
                    <a:pt x="5570" y="3428"/>
                  </a:lnTo>
                  <a:lnTo>
                    <a:pt x="5570" y="3428"/>
                  </a:lnTo>
                  <a:lnTo>
                    <a:pt x="5570" y="3428"/>
                  </a:lnTo>
                  <a:close/>
                  <a:moveTo>
                    <a:pt x="4503" y="3444"/>
                  </a:moveTo>
                  <a:lnTo>
                    <a:pt x="4512" y="3449"/>
                  </a:lnTo>
                  <a:lnTo>
                    <a:pt x="4503" y="3444"/>
                  </a:lnTo>
                  <a:lnTo>
                    <a:pt x="4503" y="3444"/>
                  </a:lnTo>
                  <a:lnTo>
                    <a:pt x="4503" y="3444"/>
                  </a:lnTo>
                  <a:close/>
                  <a:moveTo>
                    <a:pt x="5561" y="3444"/>
                  </a:moveTo>
                  <a:lnTo>
                    <a:pt x="5570" y="3449"/>
                  </a:lnTo>
                  <a:lnTo>
                    <a:pt x="5554" y="3449"/>
                  </a:lnTo>
                  <a:lnTo>
                    <a:pt x="5561" y="3444"/>
                  </a:lnTo>
                  <a:lnTo>
                    <a:pt x="5561" y="3444"/>
                  </a:lnTo>
                  <a:lnTo>
                    <a:pt x="5561" y="3444"/>
                  </a:lnTo>
                  <a:close/>
                  <a:moveTo>
                    <a:pt x="5582" y="3489"/>
                  </a:moveTo>
                  <a:lnTo>
                    <a:pt x="5570" y="3506"/>
                  </a:lnTo>
                  <a:lnTo>
                    <a:pt x="5582" y="3506"/>
                  </a:lnTo>
                  <a:lnTo>
                    <a:pt x="5582" y="3522"/>
                  </a:lnTo>
                  <a:lnTo>
                    <a:pt x="5570" y="3506"/>
                  </a:lnTo>
                  <a:lnTo>
                    <a:pt x="5575" y="3489"/>
                  </a:lnTo>
                  <a:lnTo>
                    <a:pt x="5582" y="3489"/>
                  </a:lnTo>
                  <a:lnTo>
                    <a:pt x="5582" y="3489"/>
                  </a:lnTo>
                  <a:lnTo>
                    <a:pt x="5582" y="3489"/>
                  </a:lnTo>
                  <a:close/>
                  <a:moveTo>
                    <a:pt x="4297" y="3489"/>
                  </a:moveTo>
                  <a:lnTo>
                    <a:pt x="4297" y="3506"/>
                  </a:lnTo>
                  <a:lnTo>
                    <a:pt x="4285" y="3499"/>
                  </a:lnTo>
                  <a:lnTo>
                    <a:pt x="4297" y="3489"/>
                  </a:lnTo>
                  <a:lnTo>
                    <a:pt x="4297" y="3489"/>
                  </a:lnTo>
                  <a:lnTo>
                    <a:pt x="4297" y="3489"/>
                  </a:lnTo>
                  <a:close/>
                  <a:moveTo>
                    <a:pt x="4285" y="3499"/>
                  </a:moveTo>
                  <a:lnTo>
                    <a:pt x="4285" y="3506"/>
                  </a:lnTo>
                  <a:lnTo>
                    <a:pt x="4281" y="3506"/>
                  </a:lnTo>
                  <a:lnTo>
                    <a:pt x="4285" y="3499"/>
                  </a:lnTo>
                  <a:lnTo>
                    <a:pt x="4285" y="3499"/>
                  </a:lnTo>
                  <a:lnTo>
                    <a:pt x="4285" y="3499"/>
                  </a:lnTo>
                  <a:close/>
                  <a:moveTo>
                    <a:pt x="4314" y="3506"/>
                  </a:moveTo>
                  <a:lnTo>
                    <a:pt x="4314" y="3518"/>
                  </a:lnTo>
                  <a:lnTo>
                    <a:pt x="4314" y="3522"/>
                  </a:lnTo>
                  <a:lnTo>
                    <a:pt x="4314" y="3506"/>
                  </a:lnTo>
                  <a:lnTo>
                    <a:pt x="4314" y="3506"/>
                  </a:lnTo>
                  <a:lnTo>
                    <a:pt x="4314" y="3506"/>
                  </a:lnTo>
                  <a:close/>
                  <a:moveTo>
                    <a:pt x="5599" y="3522"/>
                  </a:moveTo>
                  <a:lnTo>
                    <a:pt x="5599" y="3518"/>
                  </a:lnTo>
                  <a:lnTo>
                    <a:pt x="5608" y="3518"/>
                  </a:lnTo>
                  <a:lnTo>
                    <a:pt x="5599" y="3522"/>
                  </a:lnTo>
                  <a:lnTo>
                    <a:pt x="5599" y="3522"/>
                  </a:lnTo>
                  <a:lnTo>
                    <a:pt x="5599" y="3522"/>
                  </a:lnTo>
                  <a:close/>
                  <a:moveTo>
                    <a:pt x="4335" y="3518"/>
                  </a:moveTo>
                  <a:lnTo>
                    <a:pt x="4340" y="3522"/>
                  </a:lnTo>
                  <a:lnTo>
                    <a:pt x="4323" y="3522"/>
                  </a:lnTo>
                  <a:lnTo>
                    <a:pt x="4335" y="3518"/>
                  </a:lnTo>
                  <a:lnTo>
                    <a:pt x="4335" y="3518"/>
                  </a:lnTo>
                  <a:lnTo>
                    <a:pt x="4335" y="3518"/>
                  </a:lnTo>
                  <a:close/>
                  <a:moveTo>
                    <a:pt x="4297" y="3610"/>
                  </a:moveTo>
                  <a:lnTo>
                    <a:pt x="4314" y="3572"/>
                  </a:lnTo>
                  <a:lnTo>
                    <a:pt x="4285" y="3600"/>
                  </a:lnTo>
                  <a:lnTo>
                    <a:pt x="4281" y="3593"/>
                  </a:lnTo>
                  <a:lnTo>
                    <a:pt x="4281" y="3584"/>
                  </a:lnTo>
                  <a:lnTo>
                    <a:pt x="4302" y="3560"/>
                  </a:lnTo>
                  <a:lnTo>
                    <a:pt x="4318" y="3527"/>
                  </a:lnTo>
                  <a:lnTo>
                    <a:pt x="4318" y="3539"/>
                  </a:lnTo>
                  <a:lnTo>
                    <a:pt x="4314" y="3572"/>
                  </a:lnTo>
                  <a:lnTo>
                    <a:pt x="4318" y="3560"/>
                  </a:lnTo>
                  <a:lnTo>
                    <a:pt x="4323" y="3527"/>
                  </a:lnTo>
                  <a:lnTo>
                    <a:pt x="4352" y="3539"/>
                  </a:lnTo>
                  <a:lnTo>
                    <a:pt x="4335" y="3593"/>
                  </a:lnTo>
                  <a:lnTo>
                    <a:pt x="4352" y="3544"/>
                  </a:lnTo>
                  <a:lnTo>
                    <a:pt x="4323" y="3600"/>
                  </a:lnTo>
                  <a:lnTo>
                    <a:pt x="4335" y="3560"/>
                  </a:lnTo>
                  <a:lnTo>
                    <a:pt x="4318" y="3600"/>
                  </a:lnTo>
                  <a:lnTo>
                    <a:pt x="4297" y="3610"/>
                  </a:lnTo>
                  <a:lnTo>
                    <a:pt x="4297" y="3610"/>
                  </a:lnTo>
                  <a:lnTo>
                    <a:pt x="4297" y="3610"/>
                  </a:lnTo>
                  <a:close/>
                  <a:moveTo>
                    <a:pt x="5570" y="3527"/>
                  </a:moveTo>
                  <a:lnTo>
                    <a:pt x="5599" y="3539"/>
                  </a:lnTo>
                  <a:lnTo>
                    <a:pt x="5570" y="3539"/>
                  </a:lnTo>
                  <a:lnTo>
                    <a:pt x="5582" y="3539"/>
                  </a:lnTo>
                  <a:lnTo>
                    <a:pt x="5570" y="3527"/>
                  </a:lnTo>
                  <a:lnTo>
                    <a:pt x="5570" y="3527"/>
                  </a:lnTo>
                  <a:lnTo>
                    <a:pt x="5570" y="3527"/>
                  </a:lnTo>
                  <a:close/>
                  <a:moveTo>
                    <a:pt x="4271" y="3572"/>
                  </a:moveTo>
                  <a:lnTo>
                    <a:pt x="4271" y="3555"/>
                  </a:lnTo>
                  <a:lnTo>
                    <a:pt x="4297" y="3544"/>
                  </a:lnTo>
                  <a:lnTo>
                    <a:pt x="4314" y="3527"/>
                  </a:lnTo>
                  <a:lnTo>
                    <a:pt x="4302" y="3555"/>
                  </a:lnTo>
                  <a:lnTo>
                    <a:pt x="4271" y="3572"/>
                  </a:lnTo>
                  <a:lnTo>
                    <a:pt x="4271" y="3572"/>
                  </a:lnTo>
                  <a:lnTo>
                    <a:pt x="4271" y="3572"/>
                  </a:lnTo>
                  <a:close/>
                  <a:moveTo>
                    <a:pt x="4352" y="3572"/>
                  </a:moveTo>
                  <a:lnTo>
                    <a:pt x="4356" y="3544"/>
                  </a:lnTo>
                  <a:lnTo>
                    <a:pt x="4373" y="3539"/>
                  </a:lnTo>
                  <a:lnTo>
                    <a:pt x="4373" y="3572"/>
                  </a:lnTo>
                  <a:lnTo>
                    <a:pt x="4352" y="3572"/>
                  </a:lnTo>
                  <a:lnTo>
                    <a:pt x="4352" y="3572"/>
                  </a:lnTo>
                  <a:lnTo>
                    <a:pt x="4352" y="3572"/>
                  </a:lnTo>
                  <a:close/>
                  <a:moveTo>
                    <a:pt x="5570" y="3544"/>
                  </a:moveTo>
                  <a:lnTo>
                    <a:pt x="5582" y="3555"/>
                  </a:lnTo>
                  <a:lnTo>
                    <a:pt x="5554" y="3544"/>
                  </a:lnTo>
                  <a:lnTo>
                    <a:pt x="5570" y="3544"/>
                  </a:lnTo>
                  <a:lnTo>
                    <a:pt x="5570" y="3544"/>
                  </a:lnTo>
                  <a:lnTo>
                    <a:pt x="5570" y="3544"/>
                  </a:lnTo>
                  <a:close/>
                  <a:moveTo>
                    <a:pt x="5608" y="3572"/>
                  </a:moveTo>
                  <a:lnTo>
                    <a:pt x="5613" y="3584"/>
                  </a:lnTo>
                  <a:lnTo>
                    <a:pt x="5592" y="3577"/>
                  </a:lnTo>
                  <a:lnTo>
                    <a:pt x="5608" y="3572"/>
                  </a:lnTo>
                  <a:lnTo>
                    <a:pt x="5608" y="3572"/>
                  </a:lnTo>
                  <a:lnTo>
                    <a:pt x="5608" y="3572"/>
                  </a:lnTo>
                  <a:close/>
                  <a:moveTo>
                    <a:pt x="4352" y="3577"/>
                  </a:moveTo>
                  <a:lnTo>
                    <a:pt x="4352" y="3584"/>
                  </a:lnTo>
                  <a:lnTo>
                    <a:pt x="4340" y="3610"/>
                  </a:lnTo>
                  <a:lnTo>
                    <a:pt x="4352" y="3577"/>
                  </a:lnTo>
                  <a:lnTo>
                    <a:pt x="4352" y="3577"/>
                  </a:lnTo>
                  <a:lnTo>
                    <a:pt x="4352" y="3577"/>
                  </a:lnTo>
                  <a:close/>
                  <a:moveTo>
                    <a:pt x="5629" y="3593"/>
                  </a:moveTo>
                  <a:lnTo>
                    <a:pt x="5613" y="3600"/>
                  </a:lnTo>
                  <a:lnTo>
                    <a:pt x="5625" y="3593"/>
                  </a:lnTo>
                  <a:lnTo>
                    <a:pt x="5629" y="3593"/>
                  </a:lnTo>
                  <a:lnTo>
                    <a:pt x="5629" y="3593"/>
                  </a:lnTo>
                  <a:lnTo>
                    <a:pt x="5629" y="3593"/>
                  </a:lnTo>
                  <a:close/>
                  <a:moveTo>
                    <a:pt x="5613" y="3593"/>
                  </a:moveTo>
                  <a:lnTo>
                    <a:pt x="5608" y="3600"/>
                  </a:lnTo>
                  <a:lnTo>
                    <a:pt x="5608" y="3593"/>
                  </a:lnTo>
                  <a:lnTo>
                    <a:pt x="5613" y="3593"/>
                  </a:lnTo>
                  <a:lnTo>
                    <a:pt x="5613" y="3593"/>
                  </a:lnTo>
                  <a:lnTo>
                    <a:pt x="5613" y="3593"/>
                  </a:lnTo>
                  <a:close/>
                  <a:moveTo>
                    <a:pt x="763" y="3683"/>
                  </a:moveTo>
                  <a:lnTo>
                    <a:pt x="756" y="3704"/>
                  </a:lnTo>
                  <a:lnTo>
                    <a:pt x="747" y="3711"/>
                  </a:lnTo>
                  <a:lnTo>
                    <a:pt x="740" y="3704"/>
                  </a:lnTo>
                  <a:lnTo>
                    <a:pt x="763" y="3683"/>
                  </a:lnTo>
                  <a:lnTo>
                    <a:pt x="763" y="3683"/>
                  </a:lnTo>
                  <a:lnTo>
                    <a:pt x="763" y="3683"/>
                  </a:lnTo>
                  <a:close/>
                  <a:moveTo>
                    <a:pt x="5826" y="3695"/>
                  </a:moveTo>
                  <a:lnTo>
                    <a:pt x="5826" y="3704"/>
                  </a:lnTo>
                  <a:lnTo>
                    <a:pt x="5830" y="3704"/>
                  </a:lnTo>
                  <a:lnTo>
                    <a:pt x="5814" y="3711"/>
                  </a:lnTo>
                  <a:lnTo>
                    <a:pt x="5809" y="3704"/>
                  </a:lnTo>
                  <a:lnTo>
                    <a:pt x="5826" y="3695"/>
                  </a:lnTo>
                  <a:lnTo>
                    <a:pt x="5826" y="3695"/>
                  </a:lnTo>
                  <a:lnTo>
                    <a:pt x="5826" y="3695"/>
                  </a:lnTo>
                  <a:close/>
                  <a:moveTo>
                    <a:pt x="740" y="3704"/>
                  </a:moveTo>
                  <a:lnTo>
                    <a:pt x="740" y="3711"/>
                  </a:lnTo>
                  <a:lnTo>
                    <a:pt x="735" y="3711"/>
                  </a:lnTo>
                  <a:lnTo>
                    <a:pt x="740" y="3704"/>
                  </a:lnTo>
                  <a:lnTo>
                    <a:pt x="740" y="3704"/>
                  </a:lnTo>
                  <a:lnTo>
                    <a:pt x="740" y="3704"/>
                  </a:lnTo>
                  <a:close/>
                  <a:moveTo>
                    <a:pt x="719" y="3728"/>
                  </a:moveTo>
                  <a:lnTo>
                    <a:pt x="702" y="3744"/>
                  </a:lnTo>
                  <a:lnTo>
                    <a:pt x="709" y="3721"/>
                  </a:lnTo>
                  <a:lnTo>
                    <a:pt x="719" y="3728"/>
                  </a:lnTo>
                  <a:lnTo>
                    <a:pt x="719" y="3728"/>
                  </a:lnTo>
                  <a:lnTo>
                    <a:pt x="719" y="3728"/>
                  </a:lnTo>
                  <a:close/>
                  <a:moveTo>
                    <a:pt x="5868" y="3728"/>
                  </a:moveTo>
                  <a:lnTo>
                    <a:pt x="5878" y="3737"/>
                  </a:lnTo>
                  <a:lnTo>
                    <a:pt x="5868" y="3737"/>
                  </a:lnTo>
                  <a:lnTo>
                    <a:pt x="5868" y="3728"/>
                  </a:lnTo>
                  <a:lnTo>
                    <a:pt x="5868" y="3728"/>
                  </a:lnTo>
                  <a:lnTo>
                    <a:pt x="5868" y="3728"/>
                  </a:lnTo>
                  <a:close/>
                  <a:moveTo>
                    <a:pt x="719" y="3766"/>
                  </a:moveTo>
                  <a:lnTo>
                    <a:pt x="726" y="3777"/>
                  </a:lnTo>
                  <a:lnTo>
                    <a:pt x="719" y="3766"/>
                  </a:lnTo>
                  <a:lnTo>
                    <a:pt x="719" y="3766"/>
                  </a:lnTo>
                  <a:lnTo>
                    <a:pt x="719" y="3766"/>
                  </a:lnTo>
                  <a:close/>
                  <a:moveTo>
                    <a:pt x="756" y="3766"/>
                  </a:moveTo>
                  <a:lnTo>
                    <a:pt x="763" y="3766"/>
                  </a:lnTo>
                  <a:lnTo>
                    <a:pt x="756" y="3777"/>
                  </a:lnTo>
                  <a:lnTo>
                    <a:pt x="756" y="3766"/>
                  </a:lnTo>
                  <a:lnTo>
                    <a:pt x="756" y="3766"/>
                  </a:lnTo>
                  <a:lnTo>
                    <a:pt x="756" y="3766"/>
                  </a:lnTo>
                  <a:close/>
                  <a:moveTo>
                    <a:pt x="563" y="3815"/>
                  </a:moveTo>
                  <a:lnTo>
                    <a:pt x="558" y="3799"/>
                  </a:lnTo>
                  <a:lnTo>
                    <a:pt x="558" y="3782"/>
                  </a:lnTo>
                  <a:lnTo>
                    <a:pt x="558" y="3766"/>
                  </a:lnTo>
                  <a:lnTo>
                    <a:pt x="596" y="3777"/>
                  </a:lnTo>
                  <a:lnTo>
                    <a:pt x="584" y="3794"/>
                  </a:lnTo>
                  <a:lnTo>
                    <a:pt x="600" y="3777"/>
                  </a:lnTo>
                  <a:lnTo>
                    <a:pt x="617" y="3777"/>
                  </a:lnTo>
                  <a:lnTo>
                    <a:pt x="626" y="3799"/>
                  </a:lnTo>
                  <a:lnTo>
                    <a:pt x="584" y="3815"/>
                  </a:lnTo>
                  <a:lnTo>
                    <a:pt x="600" y="3822"/>
                  </a:lnTo>
                  <a:lnTo>
                    <a:pt x="626" y="3815"/>
                  </a:lnTo>
                  <a:lnTo>
                    <a:pt x="626" y="3782"/>
                  </a:lnTo>
                  <a:lnTo>
                    <a:pt x="655" y="3766"/>
                  </a:lnTo>
                  <a:lnTo>
                    <a:pt x="638" y="3822"/>
                  </a:lnTo>
                  <a:lnTo>
                    <a:pt x="638" y="3848"/>
                  </a:lnTo>
                  <a:lnTo>
                    <a:pt x="633" y="3860"/>
                  </a:lnTo>
                  <a:lnTo>
                    <a:pt x="612" y="3860"/>
                  </a:lnTo>
                  <a:lnTo>
                    <a:pt x="626" y="3872"/>
                  </a:lnTo>
                  <a:lnTo>
                    <a:pt x="600" y="3872"/>
                  </a:lnTo>
                  <a:lnTo>
                    <a:pt x="584" y="3855"/>
                  </a:lnTo>
                  <a:lnTo>
                    <a:pt x="596" y="3855"/>
                  </a:lnTo>
                  <a:lnTo>
                    <a:pt x="579" y="3855"/>
                  </a:lnTo>
                  <a:lnTo>
                    <a:pt x="584" y="3848"/>
                  </a:lnTo>
                  <a:lnTo>
                    <a:pt x="600" y="3855"/>
                  </a:lnTo>
                  <a:lnTo>
                    <a:pt x="574" y="3839"/>
                  </a:lnTo>
                  <a:lnTo>
                    <a:pt x="563" y="3822"/>
                  </a:lnTo>
                  <a:lnTo>
                    <a:pt x="574" y="3822"/>
                  </a:lnTo>
                  <a:lnTo>
                    <a:pt x="563" y="3815"/>
                  </a:lnTo>
                  <a:lnTo>
                    <a:pt x="563" y="3815"/>
                  </a:lnTo>
                  <a:lnTo>
                    <a:pt x="563" y="3815"/>
                  </a:lnTo>
                  <a:close/>
                  <a:moveTo>
                    <a:pt x="747" y="3777"/>
                  </a:moveTo>
                  <a:lnTo>
                    <a:pt x="756" y="3794"/>
                  </a:lnTo>
                  <a:lnTo>
                    <a:pt x="747" y="3799"/>
                  </a:lnTo>
                  <a:lnTo>
                    <a:pt x="740" y="3799"/>
                  </a:lnTo>
                  <a:lnTo>
                    <a:pt x="747" y="3782"/>
                  </a:lnTo>
                  <a:lnTo>
                    <a:pt x="735" y="3794"/>
                  </a:lnTo>
                  <a:lnTo>
                    <a:pt x="726" y="3794"/>
                  </a:lnTo>
                  <a:lnTo>
                    <a:pt x="735" y="3799"/>
                  </a:lnTo>
                  <a:lnTo>
                    <a:pt x="726" y="3799"/>
                  </a:lnTo>
                  <a:lnTo>
                    <a:pt x="726" y="3782"/>
                  </a:lnTo>
                  <a:lnTo>
                    <a:pt x="747" y="3777"/>
                  </a:lnTo>
                  <a:lnTo>
                    <a:pt x="747" y="3777"/>
                  </a:lnTo>
                  <a:lnTo>
                    <a:pt x="747" y="3777"/>
                  </a:lnTo>
                  <a:close/>
                  <a:moveTo>
                    <a:pt x="801" y="3860"/>
                  </a:moveTo>
                  <a:lnTo>
                    <a:pt x="789" y="3848"/>
                  </a:lnTo>
                  <a:lnTo>
                    <a:pt x="778" y="3832"/>
                  </a:lnTo>
                  <a:lnTo>
                    <a:pt x="773" y="3822"/>
                  </a:lnTo>
                  <a:lnTo>
                    <a:pt x="778" y="3822"/>
                  </a:lnTo>
                  <a:lnTo>
                    <a:pt x="763" y="3815"/>
                  </a:lnTo>
                  <a:lnTo>
                    <a:pt x="756" y="3799"/>
                  </a:lnTo>
                  <a:lnTo>
                    <a:pt x="773" y="3806"/>
                  </a:lnTo>
                  <a:lnTo>
                    <a:pt x="811" y="3848"/>
                  </a:lnTo>
                  <a:lnTo>
                    <a:pt x="811" y="3860"/>
                  </a:lnTo>
                  <a:lnTo>
                    <a:pt x="801" y="3860"/>
                  </a:lnTo>
                  <a:lnTo>
                    <a:pt x="801" y="3860"/>
                  </a:lnTo>
                  <a:lnTo>
                    <a:pt x="801" y="3860"/>
                  </a:lnTo>
                  <a:close/>
                  <a:moveTo>
                    <a:pt x="756" y="3806"/>
                  </a:moveTo>
                  <a:lnTo>
                    <a:pt x="763" y="3832"/>
                  </a:lnTo>
                  <a:lnTo>
                    <a:pt x="747" y="3815"/>
                  </a:lnTo>
                  <a:lnTo>
                    <a:pt x="756" y="3806"/>
                  </a:lnTo>
                  <a:lnTo>
                    <a:pt x="756" y="3806"/>
                  </a:lnTo>
                  <a:lnTo>
                    <a:pt x="756" y="3806"/>
                  </a:lnTo>
                  <a:close/>
                  <a:moveTo>
                    <a:pt x="853" y="3815"/>
                  </a:moveTo>
                  <a:lnTo>
                    <a:pt x="832" y="3848"/>
                  </a:lnTo>
                  <a:lnTo>
                    <a:pt x="832" y="3822"/>
                  </a:lnTo>
                  <a:lnTo>
                    <a:pt x="853" y="3815"/>
                  </a:lnTo>
                  <a:lnTo>
                    <a:pt x="853" y="3815"/>
                  </a:lnTo>
                  <a:lnTo>
                    <a:pt x="853" y="3815"/>
                  </a:lnTo>
                  <a:close/>
                  <a:moveTo>
                    <a:pt x="747" y="3822"/>
                  </a:moveTo>
                  <a:lnTo>
                    <a:pt x="778" y="3839"/>
                  </a:lnTo>
                  <a:lnTo>
                    <a:pt x="794" y="3860"/>
                  </a:lnTo>
                  <a:lnTo>
                    <a:pt x="778" y="3872"/>
                  </a:lnTo>
                  <a:lnTo>
                    <a:pt x="735" y="3832"/>
                  </a:lnTo>
                  <a:lnTo>
                    <a:pt x="740" y="3822"/>
                  </a:lnTo>
                  <a:lnTo>
                    <a:pt x="747" y="3822"/>
                  </a:lnTo>
                  <a:lnTo>
                    <a:pt x="747" y="3822"/>
                  </a:lnTo>
                  <a:lnTo>
                    <a:pt x="747" y="3822"/>
                  </a:lnTo>
                  <a:close/>
                  <a:moveTo>
                    <a:pt x="844" y="3832"/>
                  </a:moveTo>
                  <a:lnTo>
                    <a:pt x="848" y="3855"/>
                  </a:lnTo>
                  <a:lnTo>
                    <a:pt x="832" y="3855"/>
                  </a:lnTo>
                  <a:lnTo>
                    <a:pt x="844" y="3832"/>
                  </a:lnTo>
                  <a:lnTo>
                    <a:pt x="844" y="3832"/>
                  </a:lnTo>
                  <a:lnTo>
                    <a:pt x="844" y="3832"/>
                  </a:lnTo>
                  <a:close/>
                  <a:moveTo>
                    <a:pt x="5970" y="3839"/>
                  </a:moveTo>
                  <a:lnTo>
                    <a:pt x="5977" y="3839"/>
                  </a:lnTo>
                  <a:lnTo>
                    <a:pt x="5977" y="3848"/>
                  </a:lnTo>
                  <a:lnTo>
                    <a:pt x="5960" y="3839"/>
                  </a:lnTo>
                  <a:lnTo>
                    <a:pt x="5970" y="3839"/>
                  </a:lnTo>
                  <a:lnTo>
                    <a:pt x="5970" y="3839"/>
                  </a:lnTo>
                  <a:lnTo>
                    <a:pt x="5970" y="3839"/>
                  </a:lnTo>
                  <a:close/>
                  <a:moveTo>
                    <a:pt x="815" y="3848"/>
                  </a:moveTo>
                  <a:lnTo>
                    <a:pt x="815" y="3855"/>
                  </a:lnTo>
                  <a:lnTo>
                    <a:pt x="811" y="3848"/>
                  </a:lnTo>
                  <a:lnTo>
                    <a:pt x="815" y="3848"/>
                  </a:lnTo>
                  <a:lnTo>
                    <a:pt x="815" y="3848"/>
                  </a:lnTo>
                  <a:lnTo>
                    <a:pt x="815" y="3848"/>
                  </a:lnTo>
                  <a:close/>
                  <a:moveTo>
                    <a:pt x="4281" y="3848"/>
                  </a:moveTo>
                  <a:lnTo>
                    <a:pt x="4281" y="3855"/>
                  </a:lnTo>
                  <a:lnTo>
                    <a:pt x="4271" y="3855"/>
                  </a:lnTo>
                  <a:lnTo>
                    <a:pt x="4281" y="3848"/>
                  </a:lnTo>
                  <a:lnTo>
                    <a:pt x="4281" y="3848"/>
                  </a:lnTo>
                  <a:lnTo>
                    <a:pt x="4281" y="3848"/>
                  </a:lnTo>
                  <a:close/>
                  <a:moveTo>
                    <a:pt x="827" y="3855"/>
                  </a:moveTo>
                  <a:lnTo>
                    <a:pt x="832" y="3872"/>
                  </a:lnTo>
                  <a:lnTo>
                    <a:pt x="815" y="3872"/>
                  </a:lnTo>
                  <a:lnTo>
                    <a:pt x="827" y="3855"/>
                  </a:lnTo>
                  <a:lnTo>
                    <a:pt x="827" y="3855"/>
                  </a:lnTo>
                  <a:lnTo>
                    <a:pt x="827" y="3855"/>
                  </a:lnTo>
                  <a:close/>
                  <a:moveTo>
                    <a:pt x="832" y="3905"/>
                  </a:moveTo>
                  <a:lnTo>
                    <a:pt x="853" y="3877"/>
                  </a:lnTo>
                  <a:lnTo>
                    <a:pt x="844" y="3872"/>
                  </a:lnTo>
                  <a:lnTo>
                    <a:pt x="853" y="3877"/>
                  </a:lnTo>
                  <a:lnTo>
                    <a:pt x="832" y="3893"/>
                  </a:lnTo>
                  <a:lnTo>
                    <a:pt x="844" y="3855"/>
                  </a:lnTo>
                  <a:lnTo>
                    <a:pt x="870" y="3872"/>
                  </a:lnTo>
                  <a:lnTo>
                    <a:pt x="870" y="3877"/>
                  </a:lnTo>
                  <a:lnTo>
                    <a:pt x="870" y="3917"/>
                  </a:lnTo>
                  <a:lnTo>
                    <a:pt x="865" y="3926"/>
                  </a:lnTo>
                  <a:lnTo>
                    <a:pt x="865" y="3888"/>
                  </a:lnTo>
                  <a:lnTo>
                    <a:pt x="853" y="3917"/>
                  </a:lnTo>
                  <a:lnTo>
                    <a:pt x="844" y="3910"/>
                  </a:lnTo>
                  <a:lnTo>
                    <a:pt x="832" y="3905"/>
                  </a:lnTo>
                  <a:lnTo>
                    <a:pt x="832" y="3905"/>
                  </a:lnTo>
                  <a:lnTo>
                    <a:pt x="832" y="3905"/>
                  </a:lnTo>
                  <a:close/>
                  <a:moveTo>
                    <a:pt x="617" y="3893"/>
                  </a:moveTo>
                  <a:lnTo>
                    <a:pt x="626" y="3888"/>
                  </a:lnTo>
                  <a:lnTo>
                    <a:pt x="600" y="3877"/>
                  </a:lnTo>
                  <a:lnTo>
                    <a:pt x="596" y="3872"/>
                  </a:lnTo>
                  <a:lnTo>
                    <a:pt x="626" y="3872"/>
                  </a:lnTo>
                  <a:lnTo>
                    <a:pt x="650" y="3860"/>
                  </a:lnTo>
                  <a:lnTo>
                    <a:pt x="664" y="3877"/>
                  </a:lnTo>
                  <a:lnTo>
                    <a:pt x="633" y="3877"/>
                  </a:lnTo>
                  <a:lnTo>
                    <a:pt x="655" y="3888"/>
                  </a:lnTo>
                  <a:lnTo>
                    <a:pt x="655" y="3893"/>
                  </a:lnTo>
                  <a:lnTo>
                    <a:pt x="633" y="3893"/>
                  </a:lnTo>
                  <a:lnTo>
                    <a:pt x="638" y="3893"/>
                  </a:lnTo>
                  <a:lnTo>
                    <a:pt x="671" y="3943"/>
                  </a:lnTo>
                  <a:lnTo>
                    <a:pt x="688" y="3943"/>
                  </a:lnTo>
                  <a:lnTo>
                    <a:pt x="681" y="3950"/>
                  </a:lnTo>
                  <a:lnTo>
                    <a:pt x="693" y="3950"/>
                  </a:lnTo>
                  <a:lnTo>
                    <a:pt x="702" y="3966"/>
                  </a:lnTo>
                  <a:lnTo>
                    <a:pt x="688" y="3966"/>
                  </a:lnTo>
                  <a:lnTo>
                    <a:pt x="664" y="3950"/>
                  </a:lnTo>
                  <a:lnTo>
                    <a:pt x="664" y="3943"/>
                  </a:lnTo>
                  <a:lnTo>
                    <a:pt x="626" y="3910"/>
                  </a:lnTo>
                  <a:lnTo>
                    <a:pt x="638" y="3910"/>
                  </a:lnTo>
                  <a:lnTo>
                    <a:pt x="633" y="3905"/>
                  </a:lnTo>
                  <a:lnTo>
                    <a:pt x="626" y="3910"/>
                  </a:lnTo>
                  <a:lnTo>
                    <a:pt x="612" y="3888"/>
                  </a:lnTo>
                  <a:lnTo>
                    <a:pt x="617" y="3893"/>
                  </a:lnTo>
                  <a:lnTo>
                    <a:pt x="617" y="3893"/>
                  </a:lnTo>
                  <a:lnTo>
                    <a:pt x="617" y="3893"/>
                  </a:lnTo>
                  <a:close/>
                  <a:moveTo>
                    <a:pt x="4205" y="3860"/>
                  </a:moveTo>
                  <a:lnTo>
                    <a:pt x="4226" y="3893"/>
                  </a:lnTo>
                  <a:lnTo>
                    <a:pt x="4226" y="3910"/>
                  </a:lnTo>
                  <a:lnTo>
                    <a:pt x="4134" y="3877"/>
                  </a:lnTo>
                  <a:lnTo>
                    <a:pt x="4151" y="3860"/>
                  </a:lnTo>
                  <a:lnTo>
                    <a:pt x="4205" y="3860"/>
                  </a:lnTo>
                  <a:lnTo>
                    <a:pt x="4205" y="3860"/>
                  </a:lnTo>
                  <a:lnTo>
                    <a:pt x="4205" y="3860"/>
                  </a:lnTo>
                  <a:close/>
                  <a:moveTo>
                    <a:pt x="811" y="3860"/>
                  </a:moveTo>
                  <a:lnTo>
                    <a:pt x="827" y="3888"/>
                  </a:lnTo>
                  <a:lnTo>
                    <a:pt x="801" y="3872"/>
                  </a:lnTo>
                  <a:lnTo>
                    <a:pt x="811" y="3860"/>
                  </a:lnTo>
                  <a:lnTo>
                    <a:pt x="811" y="3860"/>
                  </a:lnTo>
                  <a:lnTo>
                    <a:pt x="811" y="3860"/>
                  </a:lnTo>
                  <a:close/>
                  <a:moveTo>
                    <a:pt x="4285" y="3872"/>
                  </a:moveTo>
                  <a:lnTo>
                    <a:pt x="4297" y="3872"/>
                  </a:lnTo>
                  <a:lnTo>
                    <a:pt x="4281" y="3877"/>
                  </a:lnTo>
                  <a:lnTo>
                    <a:pt x="4285" y="3872"/>
                  </a:lnTo>
                  <a:lnTo>
                    <a:pt x="4285" y="3872"/>
                  </a:lnTo>
                  <a:lnTo>
                    <a:pt x="4285" y="3872"/>
                  </a:lnTo>
                  <a:close/>
                  <a:moveTo>
                    <a:pt x="794" y="3872"/>
                  </a:moveTo>
                  <a:lnTo>
                    <a:pt x="801" y="3877"/>
                  </a:lnTo>
                  <a:lnTo>
                    <a:pt x="794" y="3872"/>
                  </a:lnTo>
                  <a:lnTo>
                    <a:pt x="794" y="3872"/>
                  </a:lnTo>
                  <a:lnTo>
                    <a:pt x="794" y="3872"/>
                  </a:lnTo>
                  <a:close/>
                  <a:moveTo>
                    <a:pt x="5977" y="3877"/>
                  </a:moveTo>
                  <a:lnTo>
                    <a:pt x="5970" y="3877"/>
                  </a:lnTo>
                  <a:lnTo>
                    <a:pt x="5977" y="3877"/>
                  </a:lnTo>
                  <a:lnTo>
                    <a:pt x="5977" y="3877"/>
                  </a:lnTo>
                  <a:lnTo>
                    <a:pt x="5977" y="3877"/>
                  </a:lnTo>
                  <a:close/>
                  <a:moveTo>
                    <a:pt x="801" y="3877"/>
                  </a:moveTo>
                  <a:lnTo>
                    <a:pt x="811" y="3877"/>
                  </a:lnTo>
                  <a:lnTo>
                    <a:pt x="794" y="3877"/>
                  </a:lnTo>
                  <a:lnTo>
                    <a:pt x="801" y="3877"/>
                  </a:lnTo>
                  <a:lnTo>
                    <a:pt x="801" y="3877"/>
                  </a:lnTo>
                  <a:lnTo>
                    <a:pt x="801" y="3877"/>
                  </a:lnTo>
                  <a:close/>
                  <a:moveTo>
                    <a:pt x="801" y="3888"/>
                  </a:moveTo>
                  <a:lnTo>
                    <a:pt x="794" y="3877"/>
                  </a:lnTo>
                  <a:lnTo>
                    <a:pt x="801" y="3888"/>
                  </a:lnTo>
                  <a:lnTo>
                    <a:pt x="801" y="3888"/>
                  </a:lnTo>
                  <a:lnTo>
                    <a:pt x="801" y="3888"/>
                  </a:lnTo>
                  <a:close/>
                  <a:moveTo>
                    <a:pt x="903" y="3905"/>
                  </a:moveTo>
                  <a:lnTo>
                    <a:pt x="898" y="3926"/>
                  </a:lnTo>
                  <a:lnTo>
                    <a:pt x="886" y="3905"/>
                  </a:lnTo>
                  <a:lnTo>
                    <a:pt x="903" y="3905"/>
                  </a:lnTo>
                  <a:lnTo>
                    <a:pt x="903" y="3905"/>
                  </a:lnTo>
                  <a:lnTo>
                    <a:pt x="903" y="3905"/>
                  </a:lnTo>
                  <a:close/>
                  <a:moveTo>
                    <a:pt x="827" y="3905"/>
                  </a:moveTo>
                  <a:lnTo>
                    <a:pt x="848" y="3917"/>
                  </a:lnTo>
                  <a:lnTo>
                    <a:pt x="848" y="3933"/>
                  </a:lnTo>
                  <a:lnTo>
                    <a:pt x="827" y="3910"/>
                  </a:lnTo>
                  <a:lnTo>
                    <a:pt x="827" y="3905"/>
                  </a:lnTo>
                  <a:lnTo>
                    <a:pt x="827" y="3905"/>
                  </a:lnTo>
                  <a:lnTo>
                    <a:pt x="827" y="3905"/>
                  </a:lnTo>
                  <a:close/>
                  <a:moveTo>
                    <a:pt x="886" y="3905"/>
                  </a:moveTo>
                  <a:lnTo>
                    <a:pt x="898" y="3933"/>
                  </a:lnTo>
                  <a:lnTo>
                    <a:pt x="882" y="3943"/>
                  </a:lnTo>
                  <a:lnTo>
                    <a:pt x="882" y="3910"/>
                  </a:lnTo>
                  <a:lnTo>
                    <a:pt x="886" y="3905"/>
                  </a:lnTo>
                  <a:lnTo>
                    <a:pt x="886" y="3905"/>
                  </a:lnTo>
                  <a:lnTo>
                    <a:pt x="886" y="3905"/>
                  </a:lnTo>
                  <a:close/>
                  <a:moveTo>
                    <a:pt x="671" y="3910"/>
                  </a:moveTo>
                  <a:lnTo>
                    <a:pt x="671" y="3917"/>
                  </a:lnTo>
                  <a:lnTo>
                    <a:pt x="664" y="3926"/>
                  </a:lnTo>
                  <a:lnTo>
                    <a:pt x="655" y="3910"/>
                  </a:lnTo>
                  <a:lnTo>
                    <a:pt x="671" y="3910"/>
                  </a:lnTo>
                  <a:lnTo>
                    <a:pt x="671" y="3910"/>
                  </a:lnTo>
                  <a:lnTo>
                    <a:pt x="671" y="3910"/>
                  </a:lnTo>
                  <a:close/>
                  <a:moveTo>
                    <a:pt x="870" y="3917"/>
                  </a:moveTo>
                  <a:lnTo>
                    <a:pt x="882" y="3943"/>
                  </a:lnTo>
                  <a:lnTo>
                    <a:pt x="853" y="3926"/>
                  </a:lnTo>
                  <a:lnTo>
                    <a:pt x="870" y="3917"/>
                  </a:lnTo>
                  <a:lnTo>
                    <a:pt x="870" y="3917"/>
                  </a:lnTo>
                  <a:lnTo>
                    <a:pt x="870" y="3917"/>
                  </a:lnTo>
                  <a:close/>
                  <a:moveTo>
                    <a:pt x="870" y="3933"/>
                  </a:moveTo>
                  <a:lnTo>
                    <a:pt x="865" y="3959"/>
                  </a:lnTo>
                  <a:lnTo>
                    <a:pt x="853" y="3933"/>
                  </a:lnTo>
                  <a:lnTo>
                    <a:pt x="870" y="3933"/>
                  </a:lnTo>
                  <a:lnTo>
                    <a:pt x="870" y="3933"/>
                  </a:lnTo>
                  <a:lnTo>
                    <a:pt x="870" y="3933"/>
                  </a:lnTo>
                  <a:close/>
                  <a:moveTo>
                    <a:pt x="941" y="3966"/>
                  </a:moveTo>
                  <a:lnTo>
                    <a:pt x="936" y="3983"/>
                  </a:lnTo>
                  <a:lnTo>
                    <a:pt x="919" y="3983"/>
                  </a:lnTo>
                  <a:lnTo>
                    <a:pt x="924" y="3959"/>
                  </a:lnTo>
                  <a:lnTo>
                    <a:pt x="962" y="3943"/>
                  </a:lnTo>
                  <a:lnTo>
                    <a:pt x="962" y="3950"/>
                  </a:lnTo>
                  <a:lnTo>
                    <a:pt x="941" y="3966"/>
                  </a:lnTo>
                  <a:lnTo>
                    <a:pt x="941" y="3966"/>
                  </a:lnTo>
                  <a:lnTo>
                    <a:pt x="941" y="3966"/>
                  </a:lnTo>
                  <a:close/>
                  <a:moveTo>
                    <a:pt x="903" y="3943"/>
                  </a:moveTo>
                  <a:lnTo>
                    <a:pt x="908" y="3950"/>
                  </a:lnTo>
                  <a:lnTo>
                    <a:pt x="898" y="3950"/>
                  </a:lnTo>
                  <a:lnTo>
                    <a:pt x="903" y="3943"/>
                  </a:lnTo>
                  <a:lnTo>
                    <a:pt x="903" y="3943"/>
                  </a:lnTo>
                  <a:lnTo>
                    <a:pt x="903" y="3943"/>
                  </a:lnTo>
                  <a:close/>
                  <a:moveTo>
                    <a:pt x="919" y="3950"/>
                  </a:moveTo>
                  <a:lnTo>
                    <a:pt x="919" y="3966"/>
                  </a:lnTo>
                  <a:lnTo>
                    <a:pt x="903" y="3959"/>
                  </a:lnTo>
                  <a:lnTo>
                    <a:pt x="919" y="3950"/>
                  </a:lnTo>
                  <a:lnTo>
                    <a:pt x="919" y="3950"/>
                  </a:lnTo>
                  <a:lnTo>
                    <a:pt x="919" y="3950"/>
                  </a:lnTo>
                  <a:close/>
                  <a:moveTo>
                    <a:pt x="898" y="3966"/>
                  </a:moveTo>
                  <a:lnTo>
                    <a:pt x="886" y="3959"/>
                  </a:lnTo>
                  <a:lnTo>
                    <a:pt x="898" y="3959"/>
                  </a:lnTo>
                  <a:lnTo>
                    <a:pt x="898" y="3966"/>
                  </a:lnTo>
                  <a:lnTo>
                    <a:pt x="898" y="3966"/>
                  </a:lnTo>
                  <a:lnTo>
                    <a:pt x="898" y="3966"/>
                  </a:lnTo>
                  <a:close/>
                  <a:moveTo>
                    <a:pt x="886" y="3959"/>
                  </a:moveTo>
                  <a:lnTo>
                    <a:pt x="882" y="3966"/>
                  </a:lnTo>
                  <a:lnTo>
                    <a:pt x="886" y="3959"/>
                  </a:lnTo>
                  <a:lnTo>
                    <a:pt x="886" y="3959"/>
                  </a:lnTo>
                  <a:lnTo>
                    <a:pt x="886" y="3959"/>
                  </a:lnTo>
                  <a:close/>
                  <a:moveTo>
                    <a:pt x="903" y="3966"/>
                  </a:moveTo>
                  <a:lnTo>
                    <a:pt x="898" y="3983"/>
                  </a:lnTo>
                  <a:lnTo>
                    <a:pt x="898" y="3966"/>
                  </a:lnTo>
                  <a:lnTo>
                    <a:pt x="903" y="3966"/>
                  </a:lnTo>
                  <a:lnTo>
                    <a:pt x="903" y="3966"/>
                  </a:lnTo>
                  <a:lnTo>
                    <a:pt x="903" y="3966"/>
                  </a:lnTo>
                  <a:close/>
                  <a:moveTo>
                    <a:pt x="908" y="3966"/>
                  </a:moveTo>
                  <a:lnTo>
                    <a:pt x="919" y="3966"/>
                  </a:lnTo>
                  <a:lnTo>
                    <a:pt x="919" y="3971"/>
                  </a:lnTo>
                  <a:lnTo>
                    <a:pt x="903" y="3971"/>
                  </a:lnTo>
                  <a:lnTo>
                    <a:pt x="908" y="3966"/>
                  </a:lnTo>
                  <a:lnTo>
                    <a:pt x="908" y="3966"/>
                  </a:lnTo>
                  <a:lnTo>
                    <a:pt x="908" y="3966"/>
                  </a:lnTo>
                  <a:close/>
                  <a:moveTo>
                    <a:pt x="693" y="3966"/>
                  </a:moveTo>
                  <a:lnTo>
                    <a:pt x="702" y="3971"/>
                  </a:lnTo>
                  <a:lnTo>
                    <a:pt x="702" y="3988"/>
                  </a:lnTo>
                  <a:lnTo>
                    <a:pt x="693" y="3971"/>
                  </a:lnTo>
                  <a:lnTo>
                    <a:pt x="693" y="3966"/>
                  </a:lnTo>
                  <a:lnTo>
                    <a:pt x="693" y="3966"/>
                  </a:lnTo>
                  <a:lnTo>
                    <a:pt x="693" y="3966"/>
                  </a:lnTo>
                  <a:close/>
                  <a:moveTo>
                    <a:pt x="4323" y="3971"/>
                  </a:moveTo>
                  <a:lnTo>
                    <a:pt x="4318" y="3988"/>
                  </a:lnTo>
                  <a:lnTo>
                    <a:pt x="4302" y="3988"/>
                  </a:lnTo>
                  <a:lnTo>
                    <a:pt x="4302" y="3983"/>
                  </a:lnTo>
                  <a:lnTo>
                    <a:pt x="4323" y="3971"/>
                  </a:lnTo>
                  <a:lnTo>
                    <a:pt x="4323" y="3971"/>
                  </a:lnTo>
                  <a:lnTo>
                    <a:pt x="4323" y="3971"/>
                  </a:lnTo>
                  <a:close/>
                  <a:moveTo>
                    <a:pt x="919" y="3971"/>
                  </a:moveTo>
                  <a:lnTo>
                    <a:pt x="908" y="4004"/>
                  </a:lnTo>
                  <a:lnTo>
                    <a:pt x="903" y="4004"/>
                  </a:lnTo>
                  <a:lnTo>
                    <a:pt x="898" y="4000"/>
                  </a:lnTo>
                  <a:lnTo>
                    <a:pt x="903" y="3971"/>
                  </a:lnTo>
                  <a:lnTo>
                    <a:pt x="919" y="3971"/>
                  </a:lnTo>
                  <a:lnTo>
                    <a:pt x="919" y="3971"/>
                  </a:lnTo>
                  <a:lnTo>
                    <a:pt x="919" y="3971"/>
                  </a:lnTo>
                  <a:close/>
                  <a:moveTo>
                    <a:pt x="908" y="4004"/>
                  </a:moveTo>
                  <a:lnTo>
                    <a:pt x="919" y="4037"/>
                  </a:lnTo>
                  <a:lnTo>
                    <a:pt x="903" y="4021"/>
                  </a:lnTo>
                  <a:lnTo>
                    <a:pt x="908" y="4004"/>
                  </a:lnTo>
                  <a:lnTo>
                    <a:pt x="908" y="4004"/>
                  </a:lnTo>
                  <a:lnTo>
                    <a:pt x="908" y="4004"/>
                  </a:lnTo>
                  <a:close/>
                  <a:moveTo>
                    <a:pt x="6116" y="4316"/>
                  </a:moveTo>
                  <a:lnTo>
                    <a:pt x="6133" y="4304"/>
                  </a:lnTo>
                  <a:lnTo>
                    <a:pt x="6133" y="4316"/>
                  </a:lnTo>
                  <a:lnTo>
                    <a:pt x="6137" y="4297"/>
                  </a:lnTo>
                  <a:lnTo>
                    <a:pt x="6154" y="4304"/>
                  </a:lnTo>
                  <a:lnTo>
                    <a:pt x="6170" y="4292"/>
                  </a:lnTo>
                  <a:lnTo>
                    <a:pt x="6170" y="4297"/>
                  </a:lnTo>
                  <a:lnTo>
                    <a:pt x="6154" y="4321"/>
                  </a:lnTo>
                  <a:lnTo>
                    <a:pt x="6149" y="4321"/>
                  </a:lnTo>
                  <a:lnTo>
                    <a:pt x="6121" y="4337"/>
                  </a:lnTo>
                  <a:lnTo>
                    <a:pt x="6111" y="4337"/>
                  </a:lnTo>
                  <a:lnTo>
                    <a:pt x="6111" y="4349"/>
                  </a:lnTo>
                  <a:lnTo>
                    <a:pt x="6121" y="4354"/>
                  </a:lnTo>
                  <a:lnTo>
                    <a:pt x="6111" y="4354"/>
                  </a:lnTo>
                  <a:lnTo>
                    <a:pt x="6133" y="4354"/>
                  </a:lnTo>
                  <a:lnTo>
                    <a:pt x="6111" y="4375"/>
                  </a:lnTo>
                  <a:lnTo>
                    <a:pt x="6116" y="4392"/>
                  </a:lnTo>
                  <a:lnTo>
                    <a:pt x="6133" y="4403"/>
                  </a:lnTo>
                  <a:lnTo>
                    <a:pt x="6137" y="4375"/>
                  </a:lnTo>
                  <a:lnTo>
                    <a:pt x="6154" y="4354"/>
                  </a:lnTo>
                  <a:lnTo>
                    <a:pt x="6170" y="4354"/>
                  </a:lnTo>
                  <a:lnTo>
                    <a:pt x="6175" y="4337"/>
                  </a:lnTo>
                  <a:lnTo>
                    <a:pt x="6187" y="4349"/>
                  </a:lnTo>
                  <a:lnTo>
                    <a:pt x="6175" y="4354"/>
                  </a:lnTo>
                  <a:lnTo>
                    <a:pt x="6154" y="4392"/>
                  </a:lnTo>
                  <a:lnTo>
                    <a:pt x="6163" y="4408"/>
                  </a:lnTo>
                  <a:lnTo>
                    <a:pt x="6175" y="4392"/>
                  </a:lnTo>
                  <a:lnTo>
                    <a:pt x="6187" y="4375"/>
                  </a:lnTo>
                  <a:lnTo>
                    <a:pt x="6201" y="4403"/>
                  </a:lnTo>
                  <a:lnTo>
                    <a:pt x="6187" y="4415"/>
                  </a:lnTo>
                  <a:lnTo>
                    <a:pt x="6175" y="4465"/>
                  </a:lnTo>
                  <a:lnTo>
                    <a:pt x="6163" y="4481"/>
                  </a:lnTo>
                  <a:lnTo>
                    <a:pt x="6149" y="4470"/>
                  </a:lnTo>
                  <a:lnTo>
                    <a:pt x="6133" y="4481"/>
                  </a:lnTo>
                  <a:lnTo>
                    <a:pt x="6133" y="4432"/>
                  </a:lnTo>
                  <a:lnTo>
                    <a:pt x="6100" y="4465"/>
                  </a:lnTo>
                  <a:lnTo>
                    <a:pt x="6083" y="4465"/>
                  </a:lnTo>
                  <a:lnTo>
                    <a:pt x="6095" y="4448"/>
                  </a:lnTo>
                  <a:lnTo>
                    <a:pt x="6111" y="4408"/>
                  </a:lnTo>
                  <a:lnTo>
                    <a:pt x="6100" y="4375"/>
                  </a:lnTo>
                  <a:lnTo>
                    <a:pt x="6083" y="4370"/>
                  </a:lnTo>
                  <a:lnTo>
                    <a:pt x="6066" y="4408"/>
                  </a:lnTo>
                  <a:lnTo>
                    <a:pt x="6057" y="4415"/>
                  </a:lnTo>
                  <a:lnTo>
                    <a:pt x="6066" y="4392"/>
                  </a:lnTo>
                  <a:lnTo>
                    <a:pt x="6057" y="4408"/>
                  </a:lnTo>
                  <a:lnTo>
                    <a:pt x="6041" y="4408"/>
                  </a:lnTo>
                  <a:lnTo>
                    <a:pt x="6015" y="4460"/>
                  </a:lnTo>
                  <a:lnTo>
                    <a:pt x="5986" y="4465"/>
                  </a:lnTo>
                  <a:lnTo>
                    <a:pt x="5960" y="4448"/>
                  </a:lnTo>
                  <a:lnTo>
                    <a:pt x="5970" y="4441"/>
                  </a:lnTo>
                  <a:lnTo>
                    <a:pt x="6003" y="4432"/>
                  </a:lnTo>
                  <a:lnTo>
                    <a:pt x="6015" y="4408"/>
                  </a:lnTo>
                  <a:lnTo>
                    <a:pt x="6041" y="4392"/>
                  </a:lnTo>
                  <a:lnTo>
                    <a:pt x="6029" y="4392"/>
                  </a:lnTo>
                  <a:lnTo>
                    <a:pt x="6041" y="4375"/>
                  </a:lnTo>
                  <a:lnTo>
                    <a:pt x="6024" y="4392"/>
                  </a:lnTo>
                  <a:lnTo>
                    <a:pt x="6003" y="4387"/>
                  </a:lnTo>
                  <a:lnTo>
                    <a:pt x="6003" y="4403"/>
                  </a:lnTo>
                  <a:lnTo>
                    <a:pt x="5991" y="4408"/>
                  </a:lnTo>
                  <a:lnTo>
                    <a:pt x="5986" y="4403"/>
                  </a:lnTo>
                  <a:lnTo>
                    <a:pt x="5970" y="4408"/>
                  </a:lnTo>
                  <a:lnTo>
                    <a:pt x="5977" y="4392"/>
                  </a:lnTo>
                  <a:lnTo>
                    <a:pt x="5948" y="4403"/>
                  </a:lnTo>
                  <a:lnTo>
                    <a:pt x="5986" y="4387"/>
                  </a:lnTo>
                  <a:lnTo>
                    <a:pt x="5970" y="4387"/>
                  </a:lnTo>
                  <a:lnTo>
                    <a:pt x="5977" y="4359"/>
                  </a:lnTo>
                  <a:lnTo>
                    <a:pt x="5970" y="4375"/>
                  </a:lnTo>
                  <a:lnTo>
                    <a:pt x="5953" y="4387"/>
                  </a:lnTo>
                  <a:lnTo>
                    <a:pt x="5953" y="4375"/>
                  </a:lnTo>
                  <a:lnTo>
                    <a:pt x="5948" y="4392"/>
                  </a:lnTo>
                  <a:lnTo>
                    <a:pt x="5901" y="4403"/>
                  </a:lnTo>
                  <a:lnTo>
                    <a:pt x="5814" y="4387"/>
                  </a:lnTo>
                  <a:lnTo>
                    <a:pt x="5738" y="4392"/>
                  </a:lnTo>
                  <a:lnTo>
                    <a:pt x="5733" y="4392"/>
                  </a:lnTo>
                  <a:lnTo>
                    <a:pt x="5722" y="4370"/>
                  </a:lnTo>
                  <a:lnTo>
                    <a:pt x="5792" y="4316"/>
                  </a:lnTo>
                  <a:lnTo>
                    <a:pt x="5776" y="4304"/>
                  </a:lnTo>
                  <a:lnTo>
                    <a:pt x="5733" y="4316"/>
                  </a:lnTo>
                  <a:lnTo>
                    <a:pt x="5771" y="4281"/>
                  </a:lnTo>
                  <a:lnTo>
                    <a:pt x="5755" y="4297"/>
                  </a:lnTo>
                  <a:lnTo>
                    <a:pt x="5771" y="4304"/>
                  </a:lnTo>
                  <a:lnTo>
                    <a:pt x="5792" y="4248"/>
                  </a:lnTo>
                  <a:lnTo>
                    <a:pt x="5792" y="4259"/>
                  </a:lnTo>
                  <a:lnTo>
                    <a:pt x="5830" y="4264"/>
                  </a:lnTo>
                  <a:lnTo>
                    <a:pt x="5814" y="4264"/>
                  </a:lnTo>
                  <a:lnTo>
                    <a:pt x="5809" y="4248"/>
                  </a:lnTo>
                  <a:lnTo>
                    <a:pt x="5826" y="4248"/>
                  </a:lnTo>
                  <a:lnTo>
                    <a:pt x="5830" y="4248"/>
                  </a:lnTo>
                  <a:lnTo>
                    <a:pt x="5814" y="4248"/>
                  </a:lnTo>
                  <a:lnTo>
                    <a:pt x="5826" y="4243"/>
                  </a:lnTo>
                  <a:lnTo>
                    <a:pt x="5809" y="4243"/>
                  </a:lnTo>
                  <a:lnTo>
                    <a:pt x="5809" y="4226"/>
                  </a:lnTo>
                  <a:lnTo>
                    <a:pt x="5826" y="4210"/>
                  </a:lnTo>
                  <a:lnTo>
                    <a:pt x="5840" y="4222"/>
                  </a:lnTo>
                  <a:lnTo>
                    <a:pt x="5830" y="4210"/>
                  </a:lnTo>
                  <a:lnTo>
                    <a:pt x="5826" y="4205"/>
                  </a:lnTo>
                  <a:lnTo>
                    <a:pt x="5863" y="4115"/>
                  </a:lnTo>
                  <a:lnTo>
                    <a:pt x="5878" y="4111"/>
                  </a:lnTo>
                  <a:lnTo>
                    <a:pt x="5863" y="4111"/>
                  </a:lnTo>
                  <a:lnTo>
                    <a:pt x="5894" y="4082"/>
                  </a:lnTo>
                  <a:lnTo>
                    <a:pt x="5901" y="4077"/>
                  </a:lnTo>
                  <a:lnTo>
                    <a:pt x="5894" y="4070"/>
                  </a:lnTo>
                  <a:lnTo>
                    <a:pt x="5906" y="4061"/>
                  </a:lnTo>
                  <a:lnTo>
                    <a:pt x="5906" y="4054"/>
                  </a:lnTo>
                  <a:lnTo>
                    <a:pt x="5915" y="4044"/>
                  </a:lnTo>
                  <a:lnTo>
                    <a:pt x="5970" y="4016"/>
                  </a:lnTo>
                  <a:lnTo>
                    <a:pt x="5970" y="4025"/>
                  </a:lnTo>
                  <a:lnTo>
                    <a:pt x="5986" y="4025"/>
                  </a:lnTo>
                  <a:lnTo>
                    <a:pt x="5977" y="4021"/>
                  </a:lnTo>
                  <a:lnTo>
                    <a:pt x="6003" y="4021"/>
                  </a:lnTo>
                  <a:lnTo>
                    <a:pt x="5991" y="4044"/>
                  </a:lnTo>
                  <a:lnTo>
                    <a:pt x="5953" y="4044"/>
                  </a:lnTo>
                  <a:lnTo>
                    <a:pt x="5960" y="4061"/>
                  </a:lnTo>
                  <a:lnTo>
                    <a:pt x="5977" y="4054"/>
                  </a:lnTo>
                  <a:lnTo>
                    <a:pt x="5977" y="4070"/>
                  </a:lnTo>
                  <a:lnTo>
                    <a:pt x="5953" y="4099"/>
                  </a:lnTo>
                  <a:lnTo>
                    <a:pt x="5953" y="4082"/>
                  </a:lnTo>
                  <a:lnTo>
                    <a:pt x="5948" y="4115"/>
                  </a:lnTo>
                  <a:lnTo>
                    <a:pt x="5906" y="4170"/>
                  </a:lnTo>
                  <a:lnTo>
                    <a:pt x="5906" y="4188"/>
                  </a:lnTo>
                  <a:lnTo>
                    <a:pt x="5901" y="4193"/>
                  </a:lnTo>
                  <a:lnTo>
                    <a:pt x="5906" y="4193"/>
                  </a:lnTo>
                  <a:lnTo>
                    <a:pt x="5901" y="4210"/>
                  </a:lnTo>
                  <a:lnTo>
                    <a:pt x="5953" y="4153"/>
                  </a:lnTo>
                  <a:lnTo>
                    <a:pt x="5977" y="4181"/>
                  </a:lnTo>
                  <a:lnTo>
                    <a:pt x="6003" y="4170"/>
                  </a:lnTo>
                  <a:lnTo>
                    <a:pt x="6003" y="4181"/>
                  </a:lnTo>
                  <a:lnTo>
                    <a:pt x="5953" y="4205"/>
                  </a:lnTo>
                  <a:lnTo>
                    <a:pt x="5970" y="4205"/>
                  </a:lnTo>
                  <a:lnTo>
                    <a:pt x="5953" y="4226"/>
                  </a:lnTo>
                  <a:lnTo>
                    <a:pt x="5970" y="4222"/>
                  </a:lnTo>
                  <a:lnTo>
                    <a:pt x="5986" y="4226"/>
                  </a:lnTo>
                  <a:lnTo>
                    <a:pt x="5991" y="4222"/>
                  </a:lnTo>
                  <a:lnTo>
                    <a:pt x="5991" y="4226"/>
                  </a:lnTo>
                  <a:lnTo>
                    <a:pt x="6007" y="4222"/>
                  </a:lnTo>
                  <a:lnTo>
                    <a:pt x="6007" y="4238"/>
                  </a:lnTo>
                  <a:lnTo>
                    <a:pt x="6007" y="4210"/>
                  </a:lnTo>
                  <a:lnTo>
                    <a:pt x="6024" y="4210"/>
                  </a:lnTo>
                  <a:lnTo>
                    <a:pt x="6007" y="4259"/>
                  </a:lnTo>
                  <a:lnTo>
                    <a:pt x="6024" y="4226"/>
                  </a:lnTo>
                  <a:lnTo>
                    <a:pt x="6045" y="4243"/>
                  </a:lnTo>
                  <a:lnTo>
                    <a:pt x="6062" y="4210"/>
                  </a:lnTo>
                  <a:lnTo>
                    <a:pt x="6066" y="4222"/>
                  </a:lnTo>
                  <a:lnTo>
                    <a:pt x="6066" y="4243"/>
                  </a:lnTo>
                  <a:lnTo>
                    <a:pt x="6078" y="4226"/>
                  </a:lnTo>
                  <a:lnTo>
                    <a:pt x="6083" y="4226"/>
                  </a:lnTo>
                  <a:lnTo>
                    <a:pt x="6100" y="4222"/>
                  </a:lnTo>
                  <a:lnTo>
                    <a:pt x="6116" y="4226"/>
                  </a:lnTo>
                  <a:lnTo>
                    <a:pt x="6137" y="4243"/>
                  </a:lnTo>
                  <a:lnTo>
                    <a:pt x="6133" y="4259"/>
                  </a:lnTo>
                  <a:lnTo>
                    <a:pt x="6116" y="4259"/>
                  </a:lnTo>
                  <a:lnTo>
                    <a:pt x="6121" y="4264"/>
                  </a:lnTo>
                  <a:lnTo>
                    <a:pt x="6095" y="4281"/>
                  </a:lnTo>
                  <a:lnTo>
                    <a:pt x="6116" y="4281"/>
                  </a:lnTo>
                  <a:lnTo>
                    <a:pt x="6111" y="4297"/>
                  </a:lnTo>
                  <a:lnTo>
                    <a:pt x="6116" y="4292"/>
                  </a:lnTo>
                  <a:lnTo>
                    <a:pt x="6111" y="4297"/>
                  </a:lnTo>
                  <a:lnTo>
                    <a:pt x="6111" y="4292"/>
                  </a:lnTo>
                  <a:lnTo>
                    <a:pt x="6133" y="4292"/>
                  </a:lnTo>
                  <a:lnTo>
                    <a:pt x="6100" y="4304"/>
                  </a:lnTo>
                  <a:lnTo>
                    <a:pt x="6116" y="4304"/>
                  </a:lnTo>
                  <a:lnTo>
                    <a:pt x="6116" y="4316"/>
                  </a:lnTo>
                  <a:lnTo>
                    <a:pt x="6116" y="4316"/>
                  </a:lnTo>
                  <a:lnTo>
                    <a:pt x="6116" y="4316"/>
                  </a:lnTo>
                  <a:close/>
                  <a:moveTo>
                    <a:pt x="6100" y="4316"/>
                  </a:moveTo>
                  <a:lnTo>
                    <a:pt x="6095" y="4321"/>
                  </a:lnTo>
                  <a:lnTo>
                    <a:pt x="6116" y="4316"/>
                  </a:lnTo>
                  <a:lnTo>
                    <a:pt x="6100" y="4316"/>
                  </a:lnTo>
                  <a:lnTo>
                    <a:pt x="6100" y="4316"/>
                  </a:lnTo>
                  <a:lnTo>
                    <a:pt x="6100" y="4316"/>
                  </a:lnTo>
                  <a:close/>
                  <a:moveTo>
                    <a:pt x="5991" y="4077"/>
                  </a:moveTo>
                  <a:lnTo>
                    <a:pt x="5991" y="4082"/>
                  </a:lnTo>
                  <a:lnTo>
                    <a:pt x="5986" y="4082"/>
                  </a:lnTo>
                  <a:lnTo>
                    <a:pt x="5991" y="4077"/>
                  </a:lnTo>
                  <a:lnTo>
                    <a:pt x="5991" y="4077"/>
                  </a:lnTo>
                  <a:lnTo>
                    <a:pt x="5991" y="4077"/>
                  </a:lnTo>
                  <a:close/>
                  <a:moveTo>
                    <a:pt x="936" y="4082"/>
                  </a:moveTo>
                  <a:lnTo>
                    <a:pt x="936" y="4094"/>
                  </a:lnTo>
                  <a:lnTo>
                    <a:pt x="924" y="4082"/>
                  </a:lnTo>
                  <a:lnTo>
                    <a:pt x="936" y="4082"/>
                  </a:lnTo>
                  <a:lnTo>
                    <a:pt x="936" y="4082"/>
                  </a:lnTo>
                  <a:lnTo>
                    <a:pt x="936" y="4082"/>
                  </a:lnTo>
                  <a:close/>
                  <a:moveTo>
                    <a:pt x="1096" y="4137"/>
                  </a:moveTo>
                  <a:lnTo>
                    <a:pt x="1113" y="4181"/>
                  </a:lnTo>
                  <a:lnTo>
                    <a:pt x="1134" y="4193"/>
                  </a:lnTo>
                  <a:lnTo>
                    <a:pt x="1125" y="4205"/>
                  </a:lnTo>
                  <a:lnTo>
                    <a:pt x="1139" y="4222"/>
                  </a:lnTo>
                  <a:lnTo>
                    <a:pt x="1193" y="4243"/>
                  </a:lnTo>
                  <a:lnTo>
                    <a:pt x="1222" y="4281"/>
                  </a:lnTo>
                  <a:lnTo>
                    <a:pt x="1226" y="4297"/>
                  </a:lnTo>
                  <a:lnTo>
                    <a:pt x="1231" y="4292"/>
                  </a:lnTo>
                  <a:lnTo>
                    <a:pt x="1243" y="4321"/>
                  </a:lnTo>
                  <a:lnTo>
                    <a:pt x="1231" y="4316"/>
                  </a:lnTo>
                  <a:lnTo>
                    <a:pt x="1222" y="4333"/>
                  </a:lnTo>
                  <a:lnTo>
                    <a:pt x="1118" y="4292"/>
                  </a:lnTo>
                  <a:lnTo>
                    <a:pt x="1113" y="4281"/>
                  </a:lnTo>
                  <a:lnTo>
                    <a:pt x="1134" y="4259"/>
                  </a:lnTo>
                  <a:lnTo>
                    <a:pt x="1134" y="4243"/>
                  </a:lnTo>
                  <a:lnTo>
                    <a:pt x="1125" y="4264"/>
                  </a:lnTo>
                  <a:lnTo>
                    <a:pt x="1087" y="4276"/>
                  </a:lnTo>
                  <a:lnTo>
                    <a:pt x="1070" y="4259"/>
                  </a:lnTo>
                  <a:lnTo>
                    <a:pt x="1080" y="4243"/>
                  </a:lnTo>
                  <a:lnTo>
                    <a:pt x="1070" y="4248"/>
                  </a:lnTo>
                  <a:lnTo>
                    <a:pt x="1063" y="4238"/>
                  </a:lnTo>
                  <a:lnTo>
                    <a:pt x="1049" y="4243"/>
                  </a:lnTo>
                  <a:lnTo>
                    <a:pt x="1059" y="4226"/>
                  </a:lnTo>
                  <a:lnTo>
                    <a:pt x="1059" y="4238"/>
                  </a:lnTo>
                  <a:lnTo>
                    <a:pt x="1042" y="4226"/>
                  </a:lnTo>
                  <a:lnTo>
                    <a:pt x="1016" y="4226"/>
                  </a:lnTo>
                  <a:lnTo>
                    <a:pt x="1011" y="4210"/>
                  </a:lnTo>
                  <a:lnTo>
                    <a:pt x="1049" y="4205"/>
                  </a:lnTo>
                  <a:lnTo>
                    <a:pt x="1011" y="4193"/>
                  </a:lnTo>
                  <a:lnTo>
                    <a:pt x="1004" y="4181"/>
                  </a:lnTo>
                  <a:lnTo>
                    <a:pt x="995" y="4181"/>
                  </a:lnTo>
                  <a:lnTo>
                    <a:pt x="974" y="4188"/>
                  </a:lnTo>
                  <a:lnTo>
                    <a:pt x="962" y="4170"/>
                  </a:lnTo>
                  <a:lnTo>
                    <a:pt x="974" y="4165"/>
                  </a:lnTo>
                  <a:lnTo>
                    <a:pt x="957" y="4170"/>
                  </a:lnTo>
                  <a:lnTo>
                    <a:pt x="941" y="4153"/>
                  </a:lnTo>
                  <a:lnTo>
                    <a:pt x="919" y="4165"/>
                  </a:lnTo>
                  <a:lnTo>
                    <a:pt x="924" y="4148"/>
                  </a:lnTo>
                  <a:lnTo>
                    <a:pt x="924" y="4137"/>
                  </a:lnTo>
                  <a:lnTo>
                    <a:pt x="919" y="4137"/>
                  </a:lnTo>
                  <a:lnTo>
                    <a:pt x="919" y="4127"/>
                  </a:lnTo>
                  <a:lnTo>
                    <a:pt x="941" y="4127"/>
                  </a:lnTo>
                  <a:lnTo>
                    <a:pt x="952" y="4132"/>
                  </a:lnTo>
                  <a:lnTo>
                    <a:pt x="941" y="4127"/>
                  </a:lnTo>
                  <a:lnTo>
                    <a:pt x="957" y="4115"/>
                  </a:lnTo>
                  <a:lnTo>
                    <a:pt x="919" y="4111"/>
                  </a:lnTo>
                  <a:lnTo>
                    <a:pt x="941" y="4115"/>
                  </a:lnTo>
                  <a:lnTo>
                    <a:pt x="908" y="4132"/>
                  </a:lnTo>
                  <a:lnTo>
                    <a:pt x="886" y="4115"/>
                  </a:lnTo>
                  <a:lnTo>
                    <a:pt x="886" y="4099"/>
                  </a:lnTo>
                  <a:lnTo>
                    <a:pt x="919" y="4094"/>
                  </a:lnTo>
                  <a:lnTo>
                    <a:pt x="962" y="4111"/>
                  </a:lnTo>
                  <a:lnTo>
                    <a:pt x="1096" y="4137"/>
                  </a:lnTo>
                  <a:lnTo>
                    <a:pt x="1096" y="4137"/>
                  </a:lnTo>
                  <a:lnTo>
                    <a:pt x="1096" y="4137"/>
                  </a:lnTo>
                  <a:close/>
                  <a:moveTo>
                    <a:pt x="995" y="4099"/>
                  </a:moveTo>
                  <a:lnTo>
                    <a:pt x="990" y="4094"/>
                  </a:lnTo>
                  <a:lnTo>
                    <a:pt x="1011" y="4094"/>
                  </a:lnTo>
                  <a:lnTo>
                    <a:pt x="995" y="4099"/>
                  </a:lnTo>
                  <a:lnTo>
                    <a:pt x="995" y="4099"/>
                  </a:lnTo>
                  <a:lnTo>
                    <a:pt x="995" y="4099"/>
                  </a:lnTo>
                  <a:close/>
                  <a:moveTo>
                    <a:pt x="1033" y="4094"/>
                  </a:moveTo>
                  <a:lnTo>
                    <a:pt x="1042" y="4099"/>
                  </a:lnTo>
                  <a:lnTo>
                    <a:pt x="1033" y="4111"/>
                  </a:lnTo>
                  <a:lnTo>
                    <a:pt x="1011" y="4111"/>
                  </a:lnTo>
                  <a:lnTo>
                    <a:pt x="1033" y="4094"/>
                  </a:lnTo>
                  <a:lnTo>
                    <a:pt x="1033" y="4094"/>
                  </a:lnTo>
                  <a:lnTo>
                    <a:pt x="1033" y="4094"/>
                  </a:lnTo>
                  <a:close/>
                  <a:moveTo>
                    <a:pt x="1004" y="4099"/>
                  </a:moveTo>
                  <a:lnTo>
                    <a:pt x="1016" y="4099"/>
                  </a:lnTo>
                  <a:lnTo>
                    <a:pt x="1011" y="4111"/>
                  </a:lnTo>
                  <a:lnTo>
                    <a:pt x="1004" y="4099"/>
                  </a:lnTo>
                  <a:lnTo>
                    <a:pt x="1004" y="4099"/>
                  </a:lnTo>
                  <a:lnTo>
                    <a:pt x="1004" y="4099"/>
                  </a:lnTo>
                  <a:close/>
                  <a:moveTo>
                    <a:pt x="990" y="4115"/>
                  </a:moveTo>
                  <a:lnTo>
                    <a:pt x="974" y="4111"/>
                  </a:lnTo>
                  <a:lnTo>
                    <a:pt x="995" y="4111"/>
                  </a:lnTo>
                  <a:lnTo>
                    <a:pt x="990" y="4115"/>
                  </a:lnTo>
                  <a:lnTo>
                    <a:pt x="990" y="4115"/>
                  </a:lnTo>
                  <a:lnTo>
                    <a:pt x="990" y="4115"/>
                  </a:lnTo>
                  <a:close/>
                  <a:moveTo>
                    <a:pt x="1016" y="4111"/>
                  </a:moveTo>
                  <a:lnTo>
                    <a:pt x="1026" y="4115"/>
                  </a:lnTo>
                  <a:lnTo>
                    <a:pt x="1011" y="4115"/>
                  </a:lnTo>
                  <a:lnTo>
                    <a:pt x="1016" y="4111"/>
                  </a:lnTo>
                  <a:lnTo>
                    <a:pt x="1016" y="4111"/>
                  </a:lnTo>
                  <a:lnTo>
                    <a:pt x="1016" y="4111"/>
                  </a:lnTo>
                  <a:close/>
                  <a:moveTo>
                    <a:pt x="1033" y="4115"/>
                  </a:moveTo>
                  <a:lnTo>
                    <a:pt x="1011" y="4127"/>
                  </a:lnTo>
                  <a:lnTo>
                    <a:pt x="1033" y="4115"/>
                  </a:lnTo>
                  <a:lnTo>
                    <a:pt x="1033" y="4115"/>
                  </a:lnTo>
                  <a:lnTo>
                    <a:pt x="1033" y="4115"/>
                  </a:lnTo>
                  <a:close/>
                  <a:moveTo>
                    <a:pt x="1063" y="4127"/>
                  </a:moveTo>
                  <a:lnTo>
                    <a:pt x="1070" y="4132"/>
                  </a:lnTo>
                  <a:lnTo>
                    <a:pt x="1059" y="4132"/>
                  </a:lnTo>
                  <a:lnTo>
                    <a:pt x="1063" y="4127"/>
                  </a:lnTo>
                  <a:lnTo>
                    <a:pt x="1063" y="4127"/>
                  </a:lnTo>
                  <a:lnTo>
                    <a:pt x="1063" y="4127"/>
                  </a:lnTo>
                  <a:close/>
                  <a:moveTo>
                    <a:pt x="1096" y="4127"/>
                  </a:moveTo>
                  <a:lnTo>
                    <a:pt x="1096" y="4132"/>
                  </a:lnTo>
                  <a:lnTo>
                    <a:pt x="1087" y="4132"/>
                  </a:lnTo>
                  <a:lnTo>
                    <a:pt x="1096" y="4127"/>
                  </a:lnTo>
                  <a:lnTo>
                    <a:pt x="1096" y="4127"/>
                  </a:lnTo>
                  <a:lnTo>
                    <a:pt x="1096" y="4127"/>
                  </a:lnTo>
                  <a:close/>
                  <a:moveTo>
                    <a:pt x="1101" y="4132"/>
                  </a:moveTo>
                  <a:lnTo>
                    <a:pt x="1118" y="4148"/>
                  </a:lnTo>
                  <a:lnTo>
                    <a:pt x="1113" y="4153"/>
                  </a:lnTo>
                  <a:lnTo>
                    <a:pt x="1113" y="4137"/>
                  </a:lnTo>
                  <a:lnTo>
                    <a:pt x="1096" y="4137"/>
                  </a:lnTo>
                  <a:lnTo>
                    <a:pt x="1101" y="4132"/>
                  </a:lnTo>
                  <a:lnTo>
                    <a:pt x="1101" y="4132"/>
                  </a:lnTo>
                  <a:lnTo>
                    <a:pt x="1101" y="4132"/>
                  </a:lnTo>
                  <a:close/>
                  <a:moveTo>
                    <a:pt x="1080" y="4132"/>
                  </a:moveTo>
                  <a:lnTo>
                    <a:pt x="1070" y="4132"/>
                  </a:lnTo>
                  <a:lnTo>
                    <a:pt x="1087" y="4132"/>
                  </a:lnTo>
                  <a:lnTo>
                    <a:pt x="1080" y="4132"/>
                  </a:lnTo>
                  <a:lnTo>
                    <a:pt x="1080" y="4132"/>
                  </a:lnTo>
                  <a:lnTo>
                    <a:pt x="1080" y="4132"/>
                  </a:lnTo>
                  <a:close/>
                  <a:moveTo>
                    <a:pt x="1139" y="4137"/>
                  </a:moveTo>
                  <a:lnTo>
                    <a:pt x="1151" y="4148"/>
                  </a:lnTo>
                  <a:lnTo>
                    <a:pt x="1139" y="4153"/>
                  </a:lnTo>
                  <a:lnTo>
                    <a:pt x="1134" y="4148"/>
                  </a:lnTo>
                  <a:lnTo>
                    <a:pt x="1139" y="4137"/>
                  </a:lnTo>
                  <a:lnTo>
                    <a:pt x="1139" y="4137"/>
                  </a:lnTo>
                  <a:lnTo>
                    <a:pt x="1139" y="4137"/>
                  </a:lnTo>
                  <a:close/>
                  <a:moveTo>
                    <a:pt x="1134" y="4137"/>
                  </a:moveTo>
                  <a:lnTo>
                    <a:pt x="1139" y="4153"/>
                  </a:lnTo>
                  <a:lnTo>
                    <a:pt x="1134" y="4165"/>
                  </a:lnTo>
                  <a:lnTo>
                    <a:pt x="1125" y="4148"/>
                  </a:lnTo>
                  <a:lnTo>
                    <a:pt x="1134" y="4137"/>
                  </a:lnTo>
                  <a:lnTo>
                    <a:pt x="1134" y="4137"/>
                  </a:lnTo>
                  <a:lnTo>
                    <a:pt x="1134" y="4137"/>
                  </a:lnTo>
                  <a:close/>
                  <a:moveTo>
                    <a:pt x="1096" y="4148"/>
                  </a:moveTo>
                  <a:lnTo>
                    <a:pt x="1113" y="4148"/>
                  </a:lnTo>
                  <a:lnTo>
                    <a:pt x="1113" y="4170"/>
                  </a:lnTo>
                  <a:lnTo>
                    <a:pt x="1096" y="4148"/>
                  </a:lnTo>
                  <a:lnTo>
                    <a:pt x="1096" y="4148"/>
                  </a:lnTo>
                  <a:lnTo>
                    <a:pt x="1096" y="4148"/>
                  </a:lnTo>
                  <a:close/>
                  <a:moveTo>
                    <a:pt x="1125" y="4148"/>
                  </a:moveTo>
                  <a:lnTo>
                    <a:pt x="1134" y="4165"/>
                  </a:lnTo>
                  <a:lnTo>
                    <a:pt x="1125" y="4165"/>
                  </a:lnTo>
                  <a:lnTo>
                    <a:pt x="1118" y="4165"/>
                  </a:lnTo>
                  <a:lnTo>
                    <a:pt x="1125" y="4148"/>
                  </a:lnTo>
                  <a:lnTo>
                    <a:pt x="1125" y="4148"/>
                  </a:lnTo>
                  <a:lnTo>
                    <a:pt x="1125" y="4148"/>
                  </a:lnTo>
                  <a:close/>
                  <a:moveTo>
                    <a:pt x="5436" y="4188"/>
                  </a:moveTo>
                  <a:lnTo>
                    <a:pt x="5500" y="4210"/>
                  </a:lnTo>
                  <a:lnTo>
                    <a:pt x="5523" y="4226"/>
                  </a:lnTo>
                  <a:lnTo>
                    <a:pt x="5544" y="4238"/>
                  </a:lnTo>
                  <a:lnTo>
                    <a:pt x="5561" y="4248"/>
                  </a:lnTo>
                  <a:lnTo>
                    <a:pt x="5528" y="4259"/>
                  </a:lnTo>
                  <a:lnTo>
                    <a:pt x="5462" y="4243"/>
                  </a:lnTo>
                  <a:lnTo>
                    <a:pt x="5431" y="4226"/>
                  </a:lnTo>
                  <a:lnTo>
                    <a:pt x="5410" y="4205"/>
                  </a:lnTo>
                  <a:lnTo>
                    <a:pt x="5365" y="4188"/>
                  </a:lnTo>
                  <a:lnTo>
                    <a:pt x="5381" y="4170"/>
                  </a:lnTo>
                  <a:lnTo>
                    <a:pt x="5436" y="4188"/>
                  </a:lnTo>
                  <a:lnTo>
                    <a:pt x="5436" y="4188"/>
                  </a:lnTo>
                  <a:lnTo>
                    <a:pt x="5436" y="4188"/>
                  </a:lnTo>
                  <a:close/>
                  <a:moveTo>
                    <a:pt x="1004" y="4181"/>
                  </a:moveTo>
                  <a:lnTo>
                    <a:pt x="1011" y="4193"/>
                  </a:lnTo>
                  <a:lnTo>
                    <a:pt x="1011" y="4210"/>
                  </a:lnTo>
                  <a:lnTo>
                    <a:pt x="990" y="4193"/>
                  </a:lnTo>
                  <a:lnTo>
                    <a:pt x="990" y="4188"/>
                  </a:lnTo>
                  <a:lnTo>
                    <a:pt x="1004" y="4181"/>
                  </a:lnTo>
                  <a:lnTo>
                    <a:pt x="1004" y="4181"/>
                  </a:lnTo>
                  <a:lnTo>
                    <a:pt x="1004" y="4181"/>
                  </a:lnTo>
                  <a:close/>
                  <a:moveTo>
                    <a:pt x="1189" y="4222"/>
                  </a:moveTo>
                  <a:lnTo>
                    <a:pt x="1151" y="4188"/>
                  </a:lnTo>
                  <a:lnTo>
                    <a:pt x="1172" y="4193"/>
                  </a:lnTo>
                  <a:lnTo>
                    <a:pt x="1189" y="4222"/>
                  </a:lnTo>
                  <a:lnTo>
                    <a:pt x="1189" y="4222"/>
                  </a:lnTo>
                  <a:lnTo>
                    <a:pt x="1189" y="4222"/>
                  </a:lnTo>
                  <a:close/>
                  <a:moveTo>
                    <a:pt x="1193" y="4193"/>
                  </a:moveTo>
                  <a:lnTo>
                    <a:pt x="1189" y="4205"/>
                  </a:lnTo>
                  <a:lnTo>
                    <a:pt x="1177" y="4205"/>
                  </a:lnTo>
                  <a:lnTo>
                    <a:pt x="1193" y="4193"/>
                  </a:lnTo>
                  <a:lnTo>
                    <a:pt x="1193" y="4193"/>
                  </a:lnTo>
                  <a:lnTo>
                    <a:pt x="1193" y="4193"/>
                  </a:lnTo>
                  <a:close/>
                  <a:moveTo>
                    <a:pt x="6095" y="4193"/>
                  </a:moveTo>
                  <a:lnTo>
                    <a:pt x="6100" y="4205"/>
                  </a:lnTo>
                  <a:lnTo>
                    <a:pt x="6078" y="4210"/>
                  </a:lnTo>
                  <a:lnTo>
                    <a:pt x="6078" y="4193"/>
                  </a:lnTo>
                  <a:lnTo>
                    <a:pt x="6095" y="4193"/>
                  </a:lnTo>
                  <a:lnTo>
                    <a:pt x="6095" y="4193"/>
                  </a:lnTo>
                  <a:lnTo>
                    <a:pt x="6095" y="4193"/>
                  </a:lnTo>
                  <a:close/>
                  <a:moveTo>
                    <a:pt x="6062" y="4205"/>
                  </a:moveTo>
                  <a:lnTo>
                    <a:pt x="6041" y="4222"/>
                  </a:lnTo>
                  <a:lnTo>
                    <a:pt x="6041" y="4210"/>
                  </a:lnTo>
                  <a:lnTo>
                    <a:pt x="6045" y="4210"/>
                  </a:lnTo>
                  <a:lnTo>
                    <a:pt x="6062" y="4205"/>
                  </a:lnTo>
                  <a:lnTo>
                    <a:pt x="6062" y="4205"/>
                  </a:lnTo>
                  <a:lnTo>
                    <a:pt x="6062" y="4205"/>
                  </a:lnTo>
                  <a:close/>
                  <a:moveTo>
                    <a:pt x="5986" y="4205"/>
                  </a:moveTo>
                  <a:lnTo>
                    <a:pt x="5991" y="4210"/>
                  </a:lnTo>
                  <a:lnTo>
                    <a:pt x="5977" y="4210"/>
                  </a:lnTo>
                  <a:lnTo>
                    <a:pt x="5986" y="4205"/>
                  </a:lnTo>
                  <a:lnTo>
                    <a:pt x="5986" y="4205"/>
                  </a:lnTo>
                  <a:lnTo>
                    <a:pt x="5986" y="4205"/>
                  </a:lnTo>
                  <a:close/>
                  <a:moveTo>
                    <a:pt x="1243" y="4222"/>
                  </a:moveTo>
                  <a:lnTo>
                    <a:pt x="1231" y="4226"/>
                  </a:lnTo>
                  <a:lnTo>
                    <a:pt x="1231" y="4222"/>
                  </a:lnTo>
                  <a:lnTo>
                    <a:pt x="1243" y="4222"/>
                  </a:lnTo>
                  <a:lnTo>
                    <a:pt x="1243" y="4222"/>
                  </a:lnTo>
                  <a:lnTo>
                    <a:pt x="1243" y="4222"/>
                  </a:lnTo>
                  <a:close/>
                  <a:moveTo>
                    <a:pt x="1042" y="4226"/>
                  </a:moveTo>
                  <a:lnTo>
                    <a:pt x="1049" y="4243"/>
                  </a:lnTo>
                  <a:lnTo>
                    <a:pt x="1033" y="4238"/>
                  </a:lnTo>
                  <a:lnTo>
                    <a:pt x="1033" y="4226"/>
                  </a:lnTo>
                  <a:lnTo>
                    <a:pt x="1042" y="4226"/>
                  </a:lnTo>
                  <a:lnTo>
                    <a:pt x="1042" y="4226"/>
                  </a:lnTo>
                  <a:lnTo>
                    <a:pt x="1042" y="4226"/>
                  </a:lnTo>
                  <a:close/>
                  <a:moveTo>
                    <a:pt x="1063" y="4243"/>
                  </a:moveTo>
                  <a:lnTo>
                    <a:pt x="1063" y="4248"/>
                  </a:lnTo>
                  <a:lnTo>
                    <a:pt x="1059" y="4243"/>
                  </a:lnTo>
                  <a:lnTo>
                    <a:pt x="1063" y="4243"/>
                  </a:lnTo>
                  <a:lnTo>
                    <a:pt x="1063" y="4243"/>
                  </a:lnTo>
                  <a:lnTo>
                    <a:pt x="1063" y="4243"/>
                  </a:lnTo>
                  <a:close/>
                  <a:moveTo>
                    <a:pt x="1205" y="4248"/>
                  </a:moveTo>
                  <a:lnTo>
                    <a:pt x="1210" y="4248"/>
                  </a:lnTo>
                  <a:lnTo>
                    <a:pt x="1205" y="4248"/>
                  </a:lnTo>
                  <a:lnTo>
                    <a:pt x="1205" y="4248"/>
                  </a:lnTo>
                  <a:lnTo>
                    <a:pt x="1205" y="4248"/>
                  </a:lnTo>
                  <a:close/>
                  <a:moveTo>
                    <a:pt x="1222" y="4259"/>
                  </a:moveTo>
                  <a:lnTo>
                    <a:pt x="1243" y="4276"/>
                  </a:lnTo>
                  <a:lnTo>
                    <a:pt x="1226" y="4264"/>
                  </a:lnTo>
                  <a:lnTo>
                    <a:pt x="1222" y="4259"/>
                  </a:lnTo>
                  <a:lnTo>
                    <a:pt x="1222" y="4259"/>
                  </a:lnTo>
                  <a:lnTo>
                    <a:pt x="1222" y="4259"/>
                  </a:lnTo>
                  <a:close/>
                  <a:moveTo>
                    <a:pt x="1226" y="4276"/>
                  </a:moveTo>
                  <a:lnTo>
                    <a:pt x="1231" y="4292"/>
                  </a:lnTo>
                  <a:lnTo>
                    <a:pt x="1226" y="4292"/>
                  </a:lnTo>
                  <a:lnTo>
                    <a:pt x="1226" y="4276"/>
                  </a:lnTo>
                  <a:lnTo>
                    <a:pt x="1226" y="4276"/>
                  </a:lnTo>
                  <a:lnTo>
                    <a:pt x="1226" y="4276"/>
                  </a:lnTo>
                  <a:close/>
                  <a:moveTo>
                    <a:pt x="6133" y="4337"/>
                  </a:moveTo>
                  <a:lnTo>
                    <a:pt x="6133" y="4349"/>
                  </a:lnTo>
                  <a:lnTo>
                    <a:pt x="6121" y="4354"/>
                  </a:lnTo>
                  <a:lnTo>
                    <a:pt x="6111" y="4337"/>
                  </a:lnTo>
                  <a:lnTo>
                    <a:pt x="6133" y="4337"/>
                  </a:lnTo>
                  <a:lnTo>
                    <a:pt x="6133" y="4337"/>
                  </a:lnTo>
                  <a:lnTo>
                    <a:pt x="6133" y="4337"/>
                  </a:lnTo>
                  <a:close/>
                  <a:moveTo>
                    <a:pt x="5365" y="4354"/>
                  </a:moveTo>
                  <a:lnTo>
                    <a:pt x="5365" y="4359"/>
                  </a:lnTo>
                  <a:lnTo>
                    <a:pt x="5360" y="4359"/>
                  </a:lnTo>
                  <a:lnTo>
                    <a:pt x="5365" y="4354"/>
                  </a:lnTo>
                  <a:lnTo>
                    <a:pt x="5365" y="4354"/>
                  </a:lnTo>
                  <a:lnTo>
                    <a:pt x="5365" y="4354"/>
                  </a:lnTo>
                  <a:close/>
                  <a:moveTo>
                    <a:pt x="5365" y="4359"/>
                  </a:moveTo>
                  <a:lnTo>
                    <a:pt x="5360" y="4375"/>
                  </a:lnTo>
                  <a:lnTo>
                    <a:pt x="5355" y="4375"/>
                  </a:lnTo>
                  <a:lnTo>
                    <a:pt x="5355" y="4370"/>
                  </a:lnTo>
                  <a:lnTo>
                    <a:pt x="5365" y="4359"/>
                  </a:lnTo>
                  <a:lnTo>
                    <a:pt x="5365" y="4359"/>
                  </a:lnTo>
                  <a:lnTo>
                    <a:pt x="5365" y="4359"/>
                  </a:lnTo>
                  <a:close/>
                  <a:moveTo>
                    <a:pt x="5970" y="4387"/>
                  </a:moveTo>
                  <a:lnTo>
                    <a:pt x="5970" y="4392"/>
                  </a:lnTo>
                  <a:lnTo>
                    <a:pt x="5953" y="4387"/>
                  </a:lnTo>
                  <a:lnTo>
                    <a:pt x="5970" y="4387"/>
                  </a:lnTo>
                  <a:lnTo>
                    <a:pt x="5970" y="4387"/>
                  </a:lnTo>
                  <a:lnTo>
                    <a:pt x="5970" y="4387"/>
                  </a:lnTo>
                  <a:close/>
                  <a:moveTo>
                    <a:pt x="6095" y="4392"/>
                  </a:moveTo>
                  <a:lnTo>
                    <a:pt x="6083" y="4408"/>
                  </a:lnTo>
                  <a:lnTo>
                    <a:pt x="6078" y="4408"/>
                  </a:lnTo>
                  <a:lnTo>
                    <a:pt x="6095" y="4392"/>
                  </a:lnTo>
                  <a:lnTo>
                    <a:pt x="6095" y="4392"/>
                  </a:lnTo>
                  <a:lnTo>
                    <a:pt x="6095" y="4392"/>
                  </a:lnTo>
                  <a:close/>
                  <a:moveTo>
                    <a:pt x="5582" y="4392"/>
                  </a:moveTo>
                  <a:lnTo>
                    <a:pt x="5570" y="4403"/>
                  </a:lnTo>
                  <a:lnTo>
                    <a:pt x="5544" y="4425"/>
                  </a:lnTo>
                  <a:lnTo>
                    <a:pt x="5554" y="4425"/>
                  </a:lnTo>
                  <a:lnTo>
                    <a:pt x="5537" y="4425"/>
                  </a:lnTo>
                  <a:lnTo>
                    <a:pt x="5544" y="4408"/>
                  </a:lnTo>
                  <a:lnTo>
                    <a:pt x="5582" y="4392"/>
                  </a:lnTo>
                  <a:lnTo>
                    <a:pt x="5582" y="4392"/>
                  </a:lnTo>
                  <a:lnTo>
                    <a:pt x="5582" y="4392"/>
                  </a:lnTo>
                  <a:close/>
                  <a:moveTo>
                    <a:pt x="5523" y="4503"/>
                  </a:moveTo>
                  <a:lnTo>
                    <a:pt x="5500" y="4519"/>
                  </a:lnTo>
                  <a:lnTo>
                    <a:pt x="5507" y="4526"/>
                  </a:lnTo>
                  <a:lnTo>
                    <a:pt x="5507" y="4536"/>
                  </a:lnTo>
                  <a:lnTo>
                    <a:pt x="5485" y="4543"/>
                  </a:lnTo>
                  <a:lnTo>
                    <a:pt x="5474" y="4526"/>
                  </a:lnTo>
                  <a:lnTo>
                    <a:pt x="5462" y="4519"/>
                  </a:lnTo>
                  <a:lnTo>
                    <a:pt x="5474" y="4514"/>
                  </a:lnTo>
                  <a:lnTo>
                    <a:pt x="5452" y="4526"/>
                  </a:lnTo>
                  <a:lnTo>
                    <a:pt x="5419" y="4519"/>
                  </a:lnTo>
                  <a:lnTo>
                    <a:pt x="5415" y="4514"/>
                  </a:lnTo>
                  <a:lnTo>
                    <a:pt x="5415" y="4503"/>
                  </a:lnTo>
                  <a:lnTo>
                    <a:pt x="5393" y="4503"/>
                  </a:lnTo>
                  <a:lnTo>
                    <a:pt x="5393" y="4481"/>
                  </a:lnTo>
                  <a:lnTo>
                    <a:pt x="5377" y="4481"/>
                  </a:lnTo>
                  <a:lnTo>
                    <a:pt x="5365" y="4470"/>
                  </a:lnTo>
                  <a:lnTo>
                    <a:pt x="5398" y="4441"/>
                  </a:lnTo>
                  <a:lnTo>
                    <a:pt x="5398" y="4460"/>
                  </a:lnTo>
                  <a:lnTo>
                    <a:pt x="5393" y="4465"/>
                  </a:lnTo>
                  <a:lnTo>
                    <a:pt x="5415" y="4481"/>
                  </a:lnTo>
                  <a:lnTo>
                    <a:pt x="5415" y="4498"/>
                  </a:lnTo>
                  <a:lnTo>
                    <a:pt x="5419" y="4498"/>
                  </a:lnTo>
                  <a:lnTo>
                    <a:pt x="5419" y="4486"/>
                  </a:lnTo>
                  <a:lnTo>
                    <a:pt x="5452" y="4503"/>
                  </a:lnTo>
                  <a:lnTo>
                    <a:pt x="5544" y="4498"/>
                  </a:lnTo>
                  <a:lnTo>
                    <a:pt x="5523" y="4503"/>
                  </a:lnTo>
                  <a:lnTo>
                    <a:pt x="5523" y="4503"/>
                  </a:lnTo>
                  <a:lnTo>
                    <a:pt x="5523" y="4503"/>
                  </a:lnTo>
                  <a:close/>
                  <a:moveTo>
                    <a:pt x="5608" y="4552"/>
                  </a:moveTo>
                  <a:lnTo>
                    <a:pt x="5599" y="4569"/>
                  </a:lnTo>
                  <a:lnTo>
                    <a:pt x="5625" y="4569"/>
                  </a:lnTo>
                  <a:lnTo>
                    <a:pt x="5646" y="4543"/>
                  </a:lnTo>
                  <a:lnTo>
                    <a:pt x="5651" y="4536"/>
                  </a:lnTo>
                  <a:lnTo>
                    <a:pt x="5629" y="4552"/>
                  </a:lnTo>
                  <a:lnTo>
                    <a:pt x="5625" y="4543"/>
                  </a:lnTo>
                  <a:lnTo>
                    <a:pt x="5663" y="4519"/>
                  </a:lnTo>
                  <a:lnTo>
                    <a:pt x="5637" y="4536"/>
                  </a:lnTo>
                  <a:lnTo>
                    <a:pt x="5663" y="4514"/>
                  </a:lnTo>
                  <a:lnTo>
                    <a:pt x="5689" y="4519"/>
                  </a:lnTo>
                  <a:lnTo>
                    <a:pt x="5689" y="4526"/>
                  </a:lnTo>
                  <a:lnTo>
                    <a:pt x="5689" y="4543"/>
                  </a:lnTo>
                  <a:lnTo>
                    <a:pt x="5667" y="4552"/>
                  </a:lnTo>
                  <a:lnTo>
                    <a:pt x="5663" y="4569"/>
                  </a:lnTo>
                  <a:lnTo>
                    <a:pt x="5646" y="4576"/>
                  </a:lnTo>
                  <a:lnTo>
                    <a:pt x="5599" y="4576"/>
                  </a:lnTo>
                  <a:lnTo>
                    <a:pt x="5582" y="4576"/>
                  </a:lnTo>
                  <a:lnTo>
                    <a:pt x="5575" y="4569"/>
                  </a:lnTo>
                  <a:lnTo>
                    <a:pt x="5575" y="4536"/>
                  </a:lnTo>
                  <a:lnTo>
                    <a:pt x="5575" y="4526"/>
                  </a:lnTo>
                  <a:lnTo>
                    <a:pt x="5592" y="4519"/>
                  </a:lnTo>
                  <a:lnTo>
                    <a:pt x="5637" y="4448"/>
                  </a:lnTo>
                  <a:lnTo>
                    <a:pt x="5646" y="4448"/>
                  </a:lnTo>
                  <a:lnTo>
                    <a:pt x="5646" y="4460"/>
                  </a:lnTo>
                  <a:lnTo>
                    <a:pt x="5663" y="4465"/>
                  </a:lnTo>
                  <a:lnTo>
                    <a:pt x="5637" y="4519"/>
                  </a:lnTo>
                  <a:lnTo>
                    <a:pt x="5651" y="4514"/>
                  </a:lnTo>
                  <a:lnTo>
                    <a:pt x="5637" y="4526"/>
                  </a:lnTo>
                  <a:lnTo>
                    <a:pt x="5599" y="4543"/>
                  </a:lnTo>
                  <a:lnTo>
                    <a:pt x="5629" y="4536"/>
                  </a:lnTo>
                  <a:lnTo>
                    <a:pt x="5625" y="4543"/>
                  </a:lnTo>
                  <a:lnTo>
                    <a:pt x="5608" y="4552"/>
                  </a:lnTo>
                  <a:lnTo>
                    <a:pt x="5613" y="4552"/>
                  </a:lnTo>
                  <a:lnTo>
                    <a:pt x="5608" y="4552"/>
                  </a:lnTo>
                  <a:lnTo>
                    <a:pt x="5608" y="4552"/>
                  </a:lnTo>
                  <a:lnTo>
                    <a:pt x="5608" y="4552"/>
                  </a:lnTo>
                  <a:close/>
                  <a:moveTo>
                    <a:pt x="5613" y="4576"/>
                  </a:moveTo>
                  <a:lnTo>
                    <a:pt x="5608" y="4581"/>
                  </a:lnTo>
                  <a:lnTo>
                    <a:pt x="5599" y="4581"/>
                  </a:lnTo>
                  <a:lnTo>
                    <a:pt x="5613" y="4576"/>
                  </a:lnTo>
                  <a:lnTo>
                    <a:pt x="5613" y="4576"/>
                  </a:lnTo>
                  <a:lnTo>
                    <a:pt x="5613" y="4576"/>
                  </a:lnTo>
                  <a:close/>
                  <a:moveTo>
                    <a:pt x="5204" y="4647"/>
                  </a:moveTo>
                  <a:lnTo>
                    <a:pt x="5204" y="4654"/>
                  </a:lnTo>
                  <a:lnTo>
                    <a:pt x="5200" y="4663"/>
                  </a:lnTo>
                  <a:lnTo>
                    <a:pt x="5204" y="4647"/>
                  </a:lnTo>
                  <a:lnTo>
                    <a:pt x="5204" y="4647"/>
                  </a:lnTo>
                  <a:lnTo>
                    <a:pt x="5204" y="4647"/>
                  </a:lnTo>
                  <a:close/>
                  <a:moveTo>
                    <a:pt x="5679" y="4720"/>
                  </a:moveTo>
                  <a:lnTo>
                    <a:pt x="5700" y="4720"/>
                  </a:lnTo>
                  <a:lnTo>
                    <a:pt x="5689" y="4725"/>
                  </a:lnTo>
                  <a:lnTo>
                    <a:pt x="5679" y="4720"/>
                  </a:lnTo>
                  <a:lnTo>
                    <a:pt x="5679" y="4720"/>
                  </a:lnTo>
                  <a:lnTo>
                    <a:pt x="5679" y="472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05" name="Freeform 582">
              <a:extLst>
                <a:ext uri="{FF2B5EF4-FFF2-40B4-BE49-F238E27FC236}">
                  <a16:creationId xmlns:a16="http://schemas.microsoft.com/office/drawing/2014/main" id="{62E927A4-1913-40EB-ADC2-F9ADE0F00594}"/>
                </a:ext>
              </a:extLst>
            </p:cNvPr>
            <p:cNvSpPr>
              <a:spLocks noEditPoints="1"/>
            </p:cNvSpPr>
            <p:nvPr/>
          </p:nvSpPr>
          <p:spPr bwMode="gray">
            <a:xfrm>
              <a:off x="1557717" y="1477839"/>
              <a:ext cx="10359267" cy="2020702"/>
            </a:xfrm>
            <a:custGeom>
              <a:avLst/>
              <a:gdLst>
                <a:gd name="T0" fmla="*/ 3387 w 25164"/>
                <a:gd name="T1" fmla="*/ 1889 h 4908"/>
                <a:gd name="T2" fmla="*/ 3186 w 25164"/>
                <a:gd name="T3" fmla="*/ 1606 h 4908"/>
                <a:gd name="T4" fmla="*/ 2948 w 25164"/>
                <a:gd name="T5" fmla="*/ 1462 h 4908"/>
                <a:gd name="T6" fmla="*/ 2615 w 25164"/>
                <a:gd name="T7" fmla="*/ 1351 h 4908"/>
                <a:gd name="T8" fmla="*/ 2154 w 25164"/>
                <a:gd name="T9" fmla="*/ 1263 h 4908"/>
                <a:gd name="T10" fmla="*/ 1939 w 25164"/>
                <a:gd name="T11" fmla="*/ 1301 h 4908"/>
                <a:gd name="T12" fmla="*/ 1734 w 25164"/>
                <a:gd name="T13" fmla="*/ 1445 h 4908"/>
                <a:gd name="T14" fmla="*/ 1427 w 25164"/>
                <a:gd name="T15" fmla="*/ 1755 h 4908"/>
                <a:gd name="T16" fmla="*/ 1103 w 25164"/>
                <a:gd name="T17" fmla="*/ 1866 h 4908"/>
                <a:gd name="T18" fmla="*/ 1420 w 25164"/>
                <a:gd name="T19" fmla="*/ 1462 h 4908"/>
                <a:gd name="T20" fmla="*/ 978 w 25164"/>
                <a:gd name="T21" fmla="*/ 1289 h 4908"/>
                <a:gd name="T22" fmla="*/ 935 w 25164"/>
                <a:gd name="T23" fmla="*/ 1145 h 4908"/>
                <a:gd name="T24" fmla="*/ 1117 w 25164"/>
                <a:gd name="T25" fmla="*/ 848 h 4908"/>
                <a:gd name="T26" fmla="*/ 1205 w 25164"/>
                <a:gd name="T27" fmla="*/ 670 h 4908"/>
                <a:gd name="T28" fmla="*/ 1103 w 25164"/>
                <a:gd name="T29" fmla="*/ 243 h 4908"/>
                <a:gd name="T30" fmla="*/ 1696 w 25164"/>
                <a:gd name="T31" fmla="*/ 26 h 4908"/>
                <a:gd name="T32" fmla="*/ 520 w 25164"/>
                <a:gd name="T33" fmla="*/ 980 h 4908"/>
                <a:gd name="T34" fmla="*/ 2183 w 25164"/>
                <a:gd name="T35" fmla="*/ 1263 h 4908"/>
                <a:gd name="T36" fmla="*/ 2268 w 25164"/>
                <a:gd name="T37" fmla="*/ 1296 h 4908"/>
                <a:gd name="T38" fmla="*/ 2154 w 25164"/>
                <a:gd name="T39" fmla="*/ 1346 h 4908"/>
                <a:gd name="T40" fmla="*/ 1868 w 25164"/>
                <a:gd name="T41" fmla="*/ 1533 h 4908"/>
                <a:gd name="T42" fmla="*/ 3061 w 25164"/>
                <a:gd name="T43" fmla="*/ 1589 h 4908"/>
                <a:gd name="T44" fmla="*/ 2993 w 25164"/>
                <a:gd name="T45" fmla="*/ 1556 h 4908"/>
                <a:gd name="T46" fmla="*/ 1724 w 25164"/>
                <a:gd name="T47" fmla="*/ 1651 h 4908"/>
                <a:gd name="T48" fmla="*/ 3085 w 25164"/>
                <a:gd name="T49" fmla="*/ 1622 h 4908"/>
                <a:gd name="T50" fmla="*/ 3182 w 25164"/>
                <a:gd name="T51" fmla="*/ 1677 h 4908"/>
                <a:gd name="T52" fmla="*/ 3241 w 25164"/>
                <a:gd name="T53" fmla="*/ 1684 h 4908"/>
                <a:gd name="T54" fmla="*/ 3262 w 25164"/>
                <a:gd name="T55" fmla="*/ 1722 h 4908"/>
                <a:gd name="T56" fmla="*/ 3203 w 25164"/>
                <a:gd name="T57" fmla="*/ 1804 h 4908"/>
                <a:gd name="T58" fmla="*/ 3342 w 25164"/>
                <a:gd name="T59" fmla="*/ 1833 h 4908"/>
                <a:gd name="T60" fmla="*/ 3203 w 25164"/>
                <a:gd name="T61" fmla="*/ 1811 h 4908"/>
                <a:gd name="T62" fmla="*/ 1301 w 25164"/>
                <a:gd name="T63" fmla="*/ 1828 h 4908"/>
                <a:gd name="T64" fmla="*/ 3246 w 25164"/>
                <a:gd name="T65" fmla="*/ 1861 h 4908"/>
                <a:gd name="T66" fmla="*/ 3349 w 25164"/>
                <a:gd name="T67" fmla="*/ 1866 h 4908"/>
                <a:gd name="T68" fmla="*/ 957 w 25164"/>
                <a:gd name="T69" fmla="*/ 1960 h 4908"/>
                <a:gd name="T70" fmla="*/ 789 w 25164"/>
                <a:gd name="T71" fmla="*/ 2017 h 4908"/>
                <a:gd name="T72" fmla="*/ 324 w 25164"/>
                <a:gd name="T73" fmla="*/ 2149 h 4908"/>
                <a:gd name="T74" fmla="*/ 201 w 25164"/>
                <a:gd name="T75" fmla="*/ 2161 h 4908"/>
                <a:gd name="T76" fmla="*/ 75 w 25164"/>
                <a:gd name="T77" fmla="*/ 2199 h 4908"/>
                <a:gd name="T78" fmla="*/ 5882 w 25164"/>
                <a:gd name="T79" fmla="*/ 2404 h 4908"/>
                <a:gd name="T80" fmla="*/ 7004 w 25164"/>
                <a:gd name="T81" fmla="*/ 2974 h 4908"/>
                <a:gd name="T82" fmla="*/ 7743 w 25164"/>
                <a:gd name="T83" fmla="*/ 2863 h 4908"/>
                <a:gd name="T84" fmla="*/ 7561 w 25164"/>
                <a:gd name="T85" fmla="*/ 3118 h 4908"/>
                <a:gd name="T86" fmla="*/ 7231 w 25164"/>
                <a:gd name="T87" fmla="*/ 3413 h 4908"/>
                <a:gd name="T88" fmla="*/ 7150 w 25164"/>
                <a:gd name="T89" fmla="*/ 3373 h 4908"/>
                <a:gd name="T90" fmla="*/ 7200 w 25164"/>
                <a:gd name="T91" fmla="*/ 3562 h 4908"/>
                <a:gd name="T92" fmla="*/ 7086 w 25164"/>
                <a:gd name="T93" fmla="*/ 3727 h 4908"/>
                <a:gd name="T94" fmla="*/ 6890 w 25164"/>
                <a:gd name="T95" fmla="*/ 4155 h 4908"/>
                <a:gd name="T96" fmla="*/ 6638 w 25164"/>
                <a:gd name="T97" fmla="*/ 4065 h 4908"/>
                <a:gd name="T98" fmla="*/ 6281 w 25164"/>
                <a:gd name="T99" fmla="*/ 4077 h 4908"/>
                <a:gd name="T100" fmla="*/ 5908 w 25164"/>
                <a:gd name="T101" fmla="*/ 4077 h 4908"/>
                <a:gd name="T102" fmla="*/ 5530 w 25164"/>
                <a:gd name="T103" fmla="*/ 4204 h 4908"/>
                <a:gd name="T104" fmla="*/ 4013 w 25164"/>
                <a:gd name="T105" fmla="*/ 3496 h 4908"/>
                <a:gd name="T106" fmla="*/ 3841 w 25164"/>
                <a:gd name="T107" fmla="*/ 2940 h 4908"/>
                <a:gd name="T108" fmla="*/ 3947 w 25164"/>
                <a:gd name="T109" fmla="*/ 2581 h 4908"/>
                <a:gd name="T110" fmla="*/ 3938 w 25164"/>
                <a:gd name="T111" fmla="*/ 2492 h 4908"/>
                <a:gd name="T112" fmla="*/ 7738 w 25164"/>
                <a:gd name="T113" fmla="*/ 2870 h 4908"/>
                <a:gd name="T114" fmla="*/ 7344 w 25164"/>
                <a:gd name="T115" fmla="*/ 3196 h 4908"/>
                <a:gd name="T116" fmla="*/ 4245 w 25164"/>
                <a:gd name="T117" fmla="*/ 3784 h 4908"/>
                <a:gd name="T118" fmla="*/ 5903 w 25164"/>
                <a:gd name="T119" fmla="*/ 4117 h 4908"/>
                <a:gd name="T120" fmla="*/ 1356 w 25164"/>
                <a:gd name="T121" fmla="*/ 4653 h 4908"/>
                <a:gd name="T122" fmla="*/ 1549 w 25164"/>
                <a:gd name="T123" fmla="*/ 4764 h 4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164" h="4908">
                  <a:moveTo>
                    <a:pt x="2662" y="222"/>
                  </a:moveTo>
                  <a:lnTo>
                    <a:pt x="2662" y="1313"/>
                  </a:lnTo>
                  <a:lnTo>
                    <a:pt x="2700" y="1318"/>
                  </a:lnTo>
                  <a:lnTo>
                    <a:pt x="2700" y="1313"/>
                  </a:lnTo>
                  <a:lnTo>
                    <a:pt x="2733" y="1329"/>
                  </a:lnTo>
                  <a:lnTo>
                    <a:pt x="2754" y="1313"/>
                  </a:lnTo>
                  <a:lnTo>
                    <a:pt x="2804" y="1301"/>
                  </a:lnTo>
                  <a:lnTo>
                    <a:pt x="2792" y="1334"/>
                  </a:lnTo>
                  <a:lnTo>
                    <a:pt x="2825" y="1351"/>
                  </a:lnTo>
                  <a:lnTo>
                    <a:pt x="2830" y="1367"/>
                  </a:lnTo>
                  <a:lnTo>
                    <a:pt x="2901" y="1424"/>
                  </a:lnTo>
                  <a:lnTo>
                    <a:pt x="2910" y="1462"/>
                  </a:lnTo>
                  <a:lnTo>
                    <a:pt x="2955" y="1429"/>
                  </a:lnTo>
                  <a:lnTo>
                    <a:pt x="2972" y="1429"/>
                  </a:lnTo>
                  <a:lnTo>
                    <a:pt x="2976" y="1424"/>
                  </a:lnTo>
                  <a:lnTo>
                    <a:pt x="2976" y="1400"/>
                  </a:lnTo>
                  <a:lnTo>
                    <a:pt x="2993" y="1400"/>
                  </a:lnTo>
                  <a:lnTo>
                    <a:pt x="2986" y="1389"/>
                  </a:lnTo>
                  <a:lnTo>
                    <a:pt x="3047" y="1367"/>
                  </a:lnTo>
                  <a:lnTo>
                    <a:pt x="3085" y="1389"/>
                  </a:lnTo>
                  <a:lnTo>
                    <a:pt x="3078" y="1407"/>
                  </a:lnTo>
                  <a:lnTo>
                    <a:pt x="3085" y="1424"/>
                  </a:lnTo>
                  <a:lnTo>
                    <a:pt x="3127" y="1441"/>
                  </a:lnTo>
                  <a:lnTo>
                    <a:pt x="3137" y="1474"/>
                  </a:lnTo>
                  <a:lnTo>
                    <a:pt x="3165" y="1478"/>
                  </a:lnTo>
                  <a:lnTo>
                    <a:pt x="3191" y="1511"/>
                  </a:lnTo>
                  <a:lnTo>
                    <a:pt x="3203" y="1528"/>
                  </a:lnTo>
                  <a:lnTo>
                    <a:pt x="3279" y="1639"/>
                  </a:lnTo>
                  <a:lnTo>
                    <a:pt x="3274" y="1651"/>
                  </a:lnTo>
                  <a:lnTo>
                    <a:pt x="3295" y="1660"/>
                  </a:lnTo>
                  <a:lnTo>
                    <a:pt x="3288" y="1677"/>
                  </a:lnTo>
                  <a:lnTo>
                    <a:pt x="3300" y="1684"/>
                  </a:lnTo>
                  <a:lnTo>
                    <a:pt x="3312" y="1700"/>
                  </a:lnTo>
                  <a:lnTo>
                    <a:pt x="3326" y="1700"/>
                  </a:lnTo>
                  <a:lnTo>
                    <a:pt x="3380" y="1722"/>
                  </a:lnTo>
                  <a:lnTo>
                    <a:pt x="3409" y="1750"/>
                  </a:lnTo>
                  <a:lnTo>
                    <a:pt x="3425" y="1750"/>
                  </a:lnTo>
                  <a:lnTo>
                    <a:pt x="3434" y="1771"/>
                  </a:lnTo>
                  <a:lnTo>
                    <a:pt x="3425" y="1788"/>
                  </a:lnTo>
                  <a:lnTo>
                    <a:pt x="3434" y="1833"/>
                  </a:lnTo>
                  <a:lnTo>
                    <a:pt x="3409" y="1873"/>
                  </a:lnTo>
                  <a:lnTo>
                    <a:pt x="3387" y="1889"/>
                  </a:lnTo>
                  <a:lnTo>
                    <a:pt x="3380" y="1866"/>
                  </a:lnTo>
                  <a:lnTo>
                    <a:pt x="3380" y="1882"/>
                  </a:lnTo>
                  <a:lnTo>
                    <a:pt x="3371" y="1889"/>
                  </a:lnTo>
                  <a:lnTo>
                    <a:pt x="3364" y="1866"/>
                  </a:lnTo>
                  <a:lnTo>
                    <a:pt x="3387" y="1849"/>
                  </a:lnTo>
                  <a:lnTo>
                    <a:pt x="3401" y="1833"/>
                  </a:lnTo>
                  <a:lnTo>
                    <a:pt x="3387" y="1849"/>
                  </a:lnTo>
                  <a:lnTo>
                    <a:pt x="3364" y="1849"/>
                  </a:lnTo>
                  <a:lnTo>
                    <a:pt x="3371" y="1833"/>
                  </a:lnTo>
                  <a:lnTo>
                    <a:pt x="3397" y="1833"/>
                  </a:lnTo>
                  <a:lnTo>
                    <a:pt x="3371" y="1833"/>
                  </a:lnTo>
                  <a:lnTo>
                    <a:pt x="3371" y="1795"/>
                  </a:lnTo>
                  <a:lnTo>
                    <a:pt x="3354" y="1771"/>
                  </a:lnTo>
                  <a:lnTo>
                    <a:pt x="3364" y="1755"/>
                  </a:lnTo>
                  <a:lnTo>
                    <a:pt x="3300" y="1778"/>
                  </a:lnTo>
                  <a:lnTo>
                    <a:pt x="3312" y="1778"/>
                  </a:lnTo>
                  <a:lnTo>
                    <a:pt x="3295" y="1811"/>
                  </a:lnTo>
                  <a:lnTo>
                    <a:pt x="3288" y="1804"/>
                  </a:lnTo>
                  <a:lnTo>
                    <a:pt x="3279" y="1788"/>
                  </a:lnTo>
                  <a:lnTo>
                    <a:pt x="3295" y="1762"/>
                  </a:lnTo>
                  <a:lnTo>
                    <a:pt x="3295" y="1750"/>
                  </a:lnTo>
                  <a:lnTo>
                    <a:pt x="3312" y="1738"/>
                  </a:lnTo>
                  <a:lnTo>
                    <a:pt x="3274" y="1705"/>
                  </a:lnTo>
                  <a:lnTo>
                    <a:pt x="3274" y="1700"/>
                  </a:lnTo>
                  <a:lnTo>
                    <a:pt x="3257" y="1700"/>
                  </a:lnTo>
                  <a:lnTo>
                    <a:pt x="3274" y="1677"/>
                  </a:lnTo>
                  <a:lnTo>
                    <a:pt x="3257" y="1684"/>
                  </a:lnTo>
                  <a:lnTo>
                    <a:pt x="3241" y="1677"/>
                  </a:lnTo>
                  <a:lnTo>
                    <a:pt x="3236" y="1667"/>
                  </a:lnTo>
                  <a:lnTo>
                    <a:pt x="3241" y="1660"/>
                  </a:lnTo>
                  <a:lnTo>
                    <a:pt x="3241" y="1651"/>
                  </a:lnTo>
                  <a:lnTo>
                    <a:pt x="3236" y="1660"/>
                  </a:lnTo>
                  <a:lnTo>
                    <a:pt x="3220" y="1651"/>
                  </a:lnTo>
                  <a:lnTo>
                    <a:pt x="3208" y="1644"/>
                  </a:lnTo>
                  <a:lnTo>
                    <a:pt x="3203" y="1651"/>
                  </a:lnTo>
                  <a:lnTo>
                    <a:pt x="3186" y="1644"/>
                  </a:lnTo>
                  <a:lnTo>
                    <a:pt x="3191" y="1627"/>
                  </a:lnTo>
                  <a:lnTo>
                    <a:pt x="3220" y="1622"/>
                  </a:lnTo>
                  <a:lnTo>
                    <a:pt x="3191" y="1627"/>
                  </a:lnTo>
                  <a:lnTo>
                    <a:pt x="3186" y="1611"/>
                  </a:lnTo>
                  <a:lnTo>
                    <a:pt x="3203" y="1594"/>
                  </a:lnTo>
                  <a:lnTo>
                    <a:pt x="3186" y="1606"/>
                  </a:lnTo>
                  <a:lnTo>
                    <a:pt x="3182" y="1589"/>
                  </a:lnTo>
                  <a:lnTo>
                    <a:pt x="3224" y="1606"/>
                  </a:lnTo>
                  <a:lnTo>
                    <a:pt x="3186" y="1585"/>
                  </a:lnTo>
                  <a:lnTo>
                    <a:pt x="3186" y="1568"/>
                  </a:lnTo>
                  <a:lnTo>
                    <a:pt x="3220" y="1573"/>
                  </a:lnTo>
                  <a:lnTo>
                    <a:pt x="3186" y="1568"/>
                  </a:lnTo>
                  <a:lnTo>
                    <a:pt x="3182" y="1585"/>
                  </a:lnTo>
                  <a:lnTo>
                    <a:pt x="3170" y="1556"/>
                  </a:lnTo>
                  <a:lnTo>
                    <a:pt x="3182" y="1540"/>
                  </a:lnTo>
                  <a:lnTo>
                    <a:pt x="3165" y="1556"/>
                  </a:lnTo>
                  <a:lnTo>
                    <a:pt x="3149" y="1552"/>
                  </a:lnTo>
                  <a:lnTo>
                    <a:pt x="3153" y="1516"/>
                  </a:lnTo>
                  <a:lnTo>
                    <a:pt x="3170" y="1500"/>
                  </a:lnTo>
                  <a:lnTo>
                    <a:pt x="3153" y="1500"/>
                  </a:lnTo>
                  <a:lnTo>
                    <a:pt x="3137" y="1533"/>
                  </a:lnTo>
                  <a:lnTo>
                    <a:pt x="3099" y="1516"/>
                  </a:lnTo>
                  <a:lnTo>
                    <a:pt x="3085" y="1483"/>
                  </a:lnTo>
                  <a:lnTo>
                    <a:pt x="3085" y="1474"/>
                  </a:lnTo>
                  <a:lnTo>
                    <a:pt x="3078" y="1478"/>
                  </a:lnTo>
                  <a:lnTo>
                    <a:pt x="3073" y="1474"/>
                  </a:lnTo>
                  <a:lnTo>
                    <a:pt x="3057" y="1424"/>
                  </a:lnTo>
                  <a:lnTo>
                    <a:pt x="3061" y="1400"/>
                  </a:lnTo>
                  <a:lnTo>
                    <a:pt x="3057" y="1424"/>
                  </a:lnTo>
                  <a:lnTo>
                    <a:pt x="3061" y="1445"/>
                  </a:lnTo>
                  <a:lnTo>
                    <a:pt x="3047" y="1429"/>
                  </a:lnTo>
                  <a:lnTo>
                    <a:pt x="3073" y="1483"/>
                  </a:lnTo>
                  <a:lnTo>
                    <a:pt x="3078" y="1516"/>
                  </a:lnTo>
                  <a:lnTo>
                    <a:pt x="3078" y="1533"/>
                  </a:lnTo>
                  <a:lnTo>
                    <a:pt x="3061" y="1533"/>
                  </a:lnTo>
                  <a:lnTo>
                    <a:pt x="3047" y="1511"/>
                  </a:lnTo>
                  <a:lnTo>
                    <a:pt x="3019" y="1516"/>
                  </a:lnTo>
                  <a:lnTo>
                    <a:pt x="3023" y="1500"/>
                  </a:lnTo>
                  <a:lnTo>
                    <a:pt x="3009" y="1474"/>
                  </a:lnTo>
                  <a:lnTo>
                    <a:pt x="3031" y="1462"/>
                  </a:lnTo>
                  <a:lnTo>
                    <a:pt x="3009" y="1462"/>
                  </a:lnTo>
                  <a:lnTo>
                    <a:pt x="3002" y="1445"/>
                  </a:lnTo>
                  <a:lnTo>
                    <a:pt x="3009" y="1474"/>
                  </a:lnTo>
                  <a:lnTo>
                    <a:pt x="2993" y="1478"/>
                  </a:lnTo>
                  <a:lnTo>
                    <a:pt x="2972" y="1457"/>
                  </a:lnTo>
                  <a:lnTo>
                    <a:pt x="2964" y="1462"/>
                  </a:lnTo>
                  <a:lnTo>
                    <a:pt x="2938" y="1445"/>
                  </a:lnTo>
                  <a:lnTo>
                    <a:pt x="2948" y="1462"/>
                  </a:lnTo>
                  <a:lnTo>
                    <a:pt x="2934" y="1474"/>
                  </a:lnTo>
                  <a:lnTo>
                    <a:pt x="2948" y="1462"/>
                  </a:lnTo>
                  <a:lnTo>
                    <a:pt x="2972" y="1474"/>
                  </a:lnTo>
                  <a:lnTo>
                    <a:pt x="2976" y="1474"/>
                  </a:lnTo>
                  <a:lnTo>
                    <a:pt x="2972" y="1474"/>
                  </a:lnTo>
                  <a:lnTo>
                    <a:pt x="2993" y="1483"/>
                  </a:lnTo>
                  <a:lnTo>
                    <a:pt x="2976" y="1495"/>
                  </a:lnTo>
                  <a:lnTo>
                    <a:pt x="2993" y="1483"/>
                  </a:lnTo>
                  <a:lnTo>
                    <a:pt x="3009" y="1516"/>
                  </a:lnTo>
                  <a:lnTo>
                    <a:pt x="2993" y="1528"/>
                  </a:lnTo>
                  <a:lnTo>
                    <a:pt x="2976" y="1511"/>
                  </a:lnTo>
                  <a:lnTo>
                    <a:pt x="2976" y="1516"/>
                  </a:lnTo>
                  <a:lnTo>
                    <a:pt x="2986" y="1528"/>
                  </a:lnTo>
                  <a:lnTo>
                    <a:pt x="2972" y="1516"/>
                  </a:lnTo>
                  <a:lnTo>
                    <a:pt x="2976" y="1528"/>
                  </a:lnTo>
                  <a:lnTo>
                    <a:pt x="2972" y="1533"/>
                  </a:lnTo>
                  <a:lnTo>
                    <a:pt x="2955" y="1516"/>
                  </a:lnTo>
                  <a:lnTo>
                    <a:pt x="2901" y="1495"/>
                  </a:lnTo>
                  <a:lnTo>
                    <a:pt x="2910" y="1483"/>
                  </a:lnTo>
                  <a:lnTo>
                    <a:pt x="2896" y="1483"/>
                  </a:lnTo>
                  <a:lnTo>
                    <a:pt x="2863" y="1445"/>
                  </a:lnTo>
                  <a:lnTo>
                    <a:pt x="2830" y="1441"/>
                  </a:lnTo>
                  <a:lnTo>
                    <a:pt x="2842" y="1429"/>
                  </a:lnTo>
                  <a:lnTo>
                    <a:pt x="2830" y="1441"/>
                  </a:lnTo>
                  <a:lnTo>
                    <a:pt x="2754" y="1400"/>
                  </a:lnTo>
                  <a:lnTo>
                    <a:pt x="2771" y="1384"/>
                  </a:lnTo>
                  <a:lnTo>
                    <a:pt x="2759" y="1355"/>
                  </a:lnTo>
                  <a:lnTo>
                    <a:pt x="2771" y="1346"/>
                  </a:lnTo>
                  <a:lnTo>
                    <a:pt x="2775" y="1355"/>
                  </a:lnTo>
                  <a:lnTo>
                    <a:pt x="2787" y="1389"/>
                  </a:lnTo>
                  <a:lnTo>
                    <a:pt x="2787" y="1384"/>
                  </a:lnTo>
                  <a:lnTo>
                    <a:pt x="2787" y="1367"/>
                  </a:lnTo>
                  <a:lnTo>
                    <a:pt x="2809" y="1367"/>
                  </a:lnTo>
                  <a:lnTo>
                    <a:pt x="2771" y="1346"/>
                  </a:lnTo>
                  <a:lnTo>
                    <a:pt x="2738" y="1367"/>
                  </a:lnTo>
                  <a:lnTo>
                    <a:pt x="2707" y="1372"/>
                  </a:lnTo>
                  <a:lnTo>
                    <a:pt x="2641" y="1355"/>
                  </a:lnTo>
                  <a:lnTo>
                    <a:pt x="2646" y="1346"/>
                  </a:lnTo>
                  <a:lnTo>
                    <a:pt x="2641" y="1329"/>
                  </a:lnTo>
                  <a:lnTo>
                    <a:pt x="2631" y="1334"/>
                  </a:lnTo>
                  <a:lnTo>
                    <a:pt x="2641" y="1346"/>
                  </a:lnTo>
                  <a:lnTo>
                    <a:pt x="2615" y="1351"/>
                  </a:lnTo>
                  <a:lnTo>
                    <a:pt x="2544" y="1334"/>
                  </a:lnTo>
                  <a:lnTo>
                    <a:pt x="2464" y="1346"/>
                  </a:lnTo>
                  <a:lnTo>
                    <a:pt x="2435" y="1329"/>
                  </a:lnTo>
                  <a:lnTo>
                    <a:pt x="2414" y="1329"/>
                  </a:lnTo>
                  <a:lnTo>
                    <a:pt x="2381" y="1313"/>
                  </a:lnTo>
                  <a:lnTo>
                    <a:pt x="2398" y="1280"/>
                  </a:lnTo>
                  <a:lnTo>
                    <a:pt x="2409" y="1263"/>
                  </a:lnTo>
                  <a:lnTo>
                    <a:pt x="2360" y="1301"/>
                  </a:lnTo>
                  <a:lnTo>
                    <a:pt x="2322" y="1289"/>
                  </a:lnTo>
                  <a:lnTo>
                    <a:pt x="2338" y="1273"/>
                  </a:lnTo>
                  <a:lnTo>
                    <a:pt x="2291" y="1273"/>
                  </a:lnTo>
                  <a:lnTo>
                    <a:pt x="2317" y="1263"/>
                  </a:lnTo>
                  <a:lnTo>
                    <a:pt x="2305" y="1256"/>
                  </a:lnTo>
                  <a:lnTo>
                    <a:pt x="2268" y="1273"/>
                  </a:lnTo>
                  <a:lnTo>
                    <a:pt x="2263" y="1263"/>
                  </a:lnTo>
                  <a:lnTo>
                    <a:pt x="2305" y="1256"/>
                  </a:lnTo>
                  <a:lnTo>
                    <a:pt x="2301" y="1244"/>
                  </a:lnTo>
                  <a:lnTo>
                    <a:pt x="2275" y="1256"/>
                  </a:lnTo>
                  <a:lnTo>
                    <a:pt x="2263" y="1240"/>
                  </a:lnTo>
                  <a:lnTo>
                    <a:pt x="2268" y="1223"/>
                  </a:lnTo>
                  <a:lnTo>
                    <a:pt x="2301" y="1223"/>
                  </a:lnTo>
                  <a:lnTo>
                    <a:pt x="2291" y="1223"/>
                  </a:lnTo>
                  <a:lnTo>
                    <a:pt x="2268" y="1223"/>
                  </a:lnTo>
                  <a:lnTo>
                    <a:pt x="2246" y="1240"/>
                  </a:lnTo>
                  <a:lnTo>
                    <a:pt x="2237" y="1235"/>
                  </a:lnTo>
                  <a:lnTo>
                    <a:pt x="2216" y="1244"/>
                  </a:lnTo>
                  <a:lnTo>
                    <a:pt x="2209" y="1244"/>
                  </a:lnTo>
                  <a:lnTo>
                    <a:pt x="2209" y="1218"/>
                  </a:lnTo>
                  <a:lnTo>
                    <a:pt x="2199" y="1244"/>
                  </a:lnTo>
                  <a:lnTo>
                    <a:pt x="2183" y="1256"/>
                  </a:lnTo>
                  <a:lnTo>
                    <a:pt x="2166" y="1240"/>
                  </a:lnTo>
                  <a:lnTo>
                    <a:pt x="2192" y="1207"/>
                  </a:lnTo>
                  <a:lnTo>
                    <a:pt x="2166" y="1235"/>
                  </a:lnTo>
                  <a:lnTo>
                    <a:pt x="2161" y="1223"/>
                  </a:lnTo>
                  <a:lnTo>
                    <a:pt x="2145" y="1235"/>
                  </a:lnTo>
                  <a:lnTo>
                    <a:pt x="2140" y="1240"/>
                  </a:lnTo>
                  <a:lnTo>
                    <a:pt x="2161" y="1235"/>
                  </a:lnTo>
                  <a:lnTo>
                    <a:pt x="2145" y="1256"/>
                  </a:lnTo>
                  <a:lnTo>
                    <a:pt x="2123" y="1256"/>
                  </a:lnTo>
                  <a:lnTo>
                    <a:pt x="2140" y="1256"/>
                  </a:lnTo>
                  <a:lnTo>
                    <a:pt x="2123" y="1273"/>
                  </a:lnTo>
                  <a:lnTo>
                    <a:pt x="2154" y="1263"/>
                  </a:lnTo>
                  <a:lnTo>
                    <a:pt x="2161" y="1280"/>
                  </a:lnTo>
                  <a:lnTo>
                    <a:pt x="2123" y="1296"/>
                  </a:lnTo>
                  <a:lnTo>
                    <a:pt x="2140" y="1289"/>
                  </a:lnTo>
                  <a:lnTo>
                    <a:pt x="2154" y="1296"/>
                  </a:lnTo>
                  <a:lnTo>
                    <a:pt x="2166" y="1280"/>
                  </a:lnTo>
                  <a:lnTo>
                    <a:pt x="2178" y="1296"/>
                  </a:lnTo>
                  <a:lnTo>
                    <a:pt x="2145" y="1329"/>
                  </a:lnTo>
                  <a:lnTo>
                    <a:pt x="2166" y="1318"/>
                  </a:lnTo>
                  <a:lnTo>
                    <a:pt x="2154" y="1334"/>
                  </a:lnTo>
                  <a:lnTo>
                    <a:pt x="2154" y="1329"/>
                  </a:lnTo>
                  <a:lnTo>
                    <a:pt x="2145" y="1351"/>
                  </a:lnTo>
                  <a:lnTo>
                    <a:pt x="2102" y="1351"/>
                  </a:lnTo>
                  <a:lnTo>
                    <a:pt x="2102" y="1334"/>
                  </a:lnTo>
                  <a:lnTo>
                    <a:pt x="2086" y="1355"/>
                  </a:lnTo>
                  <a:lnTo>
                    <a:pt x="2086" y="1346"/>
                  </a:lnTo>
                  <a:lnTo>
                    <a:pt x="2074" y="1334"/>
                  </a:lnTo>
                  <a:lnTo>
                    <a:pt x="2057" y="1367"/>
                  </a:lnTo>
                  <a:lnTo>
                    <a:pt x="2069" y="1372"/>
                  </a:lnTo>
                  <a:lnTo>
                    <a:pt x="2053" y="1351"/>
                  </a:lnTo>
                  <a:lnTo>
                    <a:pt x="2053" y="1384"/>
                  </a:lnTo>
                  <a:lnTo>
                    <a:pt x="2031" y="1367"/>
                  </a:lnTo>
                  <a:lnTo>
                    <a:pt x="2036" y="1372"/>
                  </a:lnTo>
                  <a:lnTo>
                    <a:pt x="2031" y="1384"/>
                  </a:lnTo>
                  <a:lnTo>
                    <a:pt x="2003" y="1400"/>
                  </a:lnTo>
                  <a:lnTo>
                    <a:pt x="2015" y="1372"/>
                  </a:lnTo>
                  <a:lnTo>
                    <a:pt x="1998" y="1400"/>
                  </a:lnTo>
                  <a:lnTo>
                    <a:pt x="1994" y="1389"/>
                  </a:lnTo>
                  <a:lnTo>
                    <a:pt x="1994" y="1400"/>
                  </a:lnTo>
                  <a:lnTo>
                    <a:pt x="1994" y="1407"/>
                  </a:lnTo>
                  <a:lnTo>
                    <a:pt x="1965" y="1424"/>
                  </a:lnTo>
                  <a:lnTo>
                    <a:pt x="1951" y="1424"/>
                  </a:lnTo>
                  <a:lnTo>
                    <a:pt x="1951" y="1429"/>
                  </a:lnTo>
                  <a:lnTo>
                    <a:pt x="1927" y="1424"/>
                  </a:lnTo>
                  <a:lnTo>
                    <a:pt x="1913" y="1441"/>
                  </a:lnTo>
                  <a:lnTo>
                    <a:pt x="1890" y="1424"/>
                  </a:lnTo>
                  <a:lnTo>
                    <a:pt x="1897" y="1407"/>
                  </a:lnTo>
                  <a:lnTo>
                    <a:pt x="1927" y="1400"/>
                  </a:lnTo>
                  <a:lnTo>
                    <a:pt x="1961" y="1367"/>
                  </a:lnTo>
                  <a:lnTo>
                    <a:pt x="1927" y="1384"/>
                  </a:lnTo>
                  <a:lnTo>
                    <a:pt x="1897" y="1372"/>
                  </a:lnTo>
                  <a:lnTo>
                    <a:pt x="1913" y="1346"/>
                  </a:lnTo>
                  <a:lnTo>
                    <a:pt x="1939" y="1301"/>
                  </a:lnTo>
                  <a:lnTo>
                    <a:pt x="1944" y="1289"/>
                  </a:lnTo>
                  <a:lnTo>
                    <a:pt x="1939" y="1263"/>
                  </a:lnTo>
                  <a:lnTo>
                    <a:pt x="2003" y="1235"/>
                  </a:lnTo>
                  <a:lnTo>
                    <a:pt x="2015" y="1240"/>
                  </a:lnTo>
                  <a:lnTo>
                    <a:pt x="2048" y="1240"/>
                  </a:lnTo>
                  <a:lnTo>
                    <a:pt x="2102" y="1256"/>
                  </a:lnTo>
                  <a:lnTo>
                    <a:pt x="2090" y="1240"/>
                  </a:lnTo>
                  <a:lnTo>
                    <a:pt x="2057" y="1240"/>
                  </a:lnTo>
                  <a:lnTo>
                    <a:pt x="2031" y="1218"/>
                  </a:lnTo>
                  <a:lnTo>
                    <a:pt x="2053" y="1190"/>
                  </a:lnTo>
                  <a:lnTo>
                    <a:pt x="2086" y="1185"/>
                  </a:lnTo>
                  <a:lnTo>
                    <a:pt x="2074" y="1178"/>
                  </a:lnTo>
                  <a:lnTo>
                    <a:pt x="2053" y="1185"/>
                  </a:lnTo>
                  <a:lnTo>
                    <a:pt x="2031" y="1207"/>
                  </a:lnTo>
                  <a:lnTo>
                    <a:pt x="1994" y="1207"/>
                  </a:lnTo>
                  <a:lnTo>
                    <a:pt x="1961" y="1218"/>
                  </a:lnTo>
                  <a:lnTo>
                    <a:pt x="1951" y="1235"/>
                  </a:lnTo>
                  <a:lnTo>
                    <a:pt x="1923" y="1240"/>
                  </a:lnTo>
                  <a:lnTo>
                    <a:pt x="1906" y="1256"/>
                  </a:lnTo>
                  <a:lnTo>
                    <a:pt x="1913" y="1263"/>
                  </a:lnTo>
                  <a:lnTo>
                    <a:pt x="1897" y="1263"/>
                  </a:lnTo>
                  <a:lnTo>
                    <a:pt x="1875" y="1289"/>
                  </a:lnTo>
                  <a:lnTo>
                    <a:pt x="1859" y="1313"/>
                  </a:lnTo>
                  <a:lnTo>
                    <a:pt x="1842" y="1318"/>
                  </a:lnTo>
                  <a:lnTo>
                    <a:pt x="1814" y="1313"/>
                  </a:lnTo>
                  <a:lnTo>
                    <a:pt x="1831" y="1313"/>
                  </a:lnTo>
                  <a:lnTo>
                    <a:pt x="1852" y="1334"/>
                  </a:lnTo>
                  <a:lnTo>
                    <a:pt x="1842" y="1351"/>
                  </a:lnTo>
                  <a:lnTo>
                    <a:pt x="1805" y="1367"/>
                  </a:lnTo>
                  <a:lnTo>
                    <a:pt x="1821" y="1367"/>
                  </a:lnTo>
                  <a:lnTo>
                    <a:pt x="1821" y="1372"/>
                  </a:lnTo>
                  <a:lnTo>
                    <a:pt x="1800" y="1384"/>
                  </a:lnTo>
                  <a:lnTo>
                    <a:pt x="1788" y="1384"/>
                  </a:lnTo>
                  <a:lnTo>
                    <a:pt x="1800" y="1372"/>
                  </a:lnTo>
                  <a:lnTo>
                    <a:pt x="1788" y="1367"/>
                  </a:lnTo>
                  <a:lnTo>
                    <a:pt x="1783" y="1389"/>
                  </a:lnTo>
                  <a:lnTo>
                    <a:pt x="1767" y="1400"/>
                  </a:lnTo>
                  <a:lnTo>
                    <a:pt x="1767" y="1407"/>
                  </a:lnTo>
                  <a:lnTo>
                    <a:pt x="1746" y="1412"/>
                  </a:lnTo>
                  <a:lnTo>
                    <a:pt x="1750" y="1412"/>
                  </a:lnTo>
                  <a:lnTo>
                    <a:pt x="1734" y="1441"/>
                  </a:lnTo>
                  <a:lnTo>
                    <a:pt x="1734" y="1445"/>
                  </a:lnTo>
                  <a:lnTo>
                    <a:pt x="1776" y="1445"/>
                  </a:lnTo>
                  <a:lnTo>
                    <a:pt x="1805" y="1474"/>
                  </a:lnTo>
                  <a:lnTo>
                    <a:pt x="1783" y="1495"/>
                  </a:lnTo>
                  <a:lnTo>
                    <a:pt x="1746" y="1511"/>
                  </a:lnTo>
                  <a:lnTo>
                    <a:pt x="1750" y="1516"/>
                  </a:lnTo>
                  <a:lnTo>
                    <a:pt x="1729" y="1528"/>
                  </a:lnTo>
                  <a:lnTo>
                    <a:pt x="1746" y="1528"/>
                  </a:lnTo>
                  <a:lnTo>
                    <a:pt x="1734" y="1540"/>
                  </a:lnTo>
                  <a:lnTo>
                    <a:pt x="1724" y="1540"/>
                  </a:lnTo>
                  <a:lnTo>
                    <a:pt x="1712" y="1556"/>
                  </a:lnTo>
                  <a:lnTo>
                    <a:pt x="1679" y="1556"/>
                  </a:lnTo>
                  <a:lnTo>
                    <a:pt x="1675" y="1568"/>
                  </a:lnTo>
                  <a:lnTo>
                    <a:pt x="1658" y="1585"/>
                  </a:lnTo>
                  <a:lnTo>
                    <a:pt x="1637" y="1585"/>
                  </a:lnTo>
                  <a:lnTo>
                    <a:pt x="1625" y="1606"/>
                  </a:lnTo>
                  <a:lnTo>
                    <a:pt x="1604" y="1606"/>
                  </a:lnTo>
                  <a:lnTo>
                    <a:pt x="1604" y="1611"/>
                  </a:lnTo>
                  <a:lnTo>
                    <a:pt x="1599" y="1611"/>
                  </a:lnTo>
                  <a:lnTo>
                    <a:pt x="1571" y="1627"/>
                  </a:lnTo>
                  <a:lnTo>
                    <a:pt x="1587" y="1627"/>
                  </a:lnTo>
                  <a:lnTo>
                    <a:pt x="1587" y="1644"/>
                  </a:lnTo>
                  <a:lnTo>
                    <a:pt x="1571" y="1660"/>
                  </a:lnTo>
                  <a:lnTo>
                    <a:pt x="1545" y="1660"/>
                  </a:lnTo>
                  <a:lnTo>
                    <a:pt x="1528" y="1684"/>
                  </a:lnTo>
                  <a:lnTo>
                    <a:pt x="1512" y="1677"/>
                  </a:lnTo>
                  <a:lnTo>
                    <a:pt x="1495" y="1693"/>
                  </a:lnTo>
                  <a:lnTo>
                    <a:pt x="1502" y="1700"/>
                  </a:lnTo>
                  <a:lnTo>
                    <a:pt x="1490" y="1693"/>
                  </a:lnTo>
                  <a:lnTo>
                    <a:pt x="1457" y="1705"/>
                  </a:lnTo>
                  <a:lnTo>
                    <a:pt x="1481" y="1705"/>
                  </a:lnTo>
                  <a:lnTo>
                    <a:pt x="1481" y="1717"/>
                  </a:lnTo>
                  <a:lnTo>
                    <a:pt x="1457" y="1705"/>
                  </a:lnTo>
                  <a:lnTo>
                    <a:pt x="1443" y="1717"/>
                  </a:lnTo>
                  <a:lnTo>
                    <a:pt x="1427" y="1738"/>
                  </a:lnTo>
                  <a:lnTo>
                    <a:pt x="1436" y="1738"/>
                  </a:lnTo>
                  <a:lnTo>
                    <a:pt x="1443" y="1733"/>
                  </a:lnTo>
                  <a:lnTo>
                    <a:pt x="1457" y="1733"/>
                  </a:lnTo>
                  <a:lnTo>
                    <a:pt x="1448" y="1750"/>
                  </a:lnTo>
                  <a:lnTo>
                    <a:pt x="1464" y="1738"/>
                  </a:lnTo>
                  <a:lnTo>
                    <a:pt x="1443" y="1750"/>
                  </a:lnTo>
                  <a:lnTo>
                    <a:pt x="1436" y="1762"/>
                  </a:lnTo>
                  <a:lnTo>
                    <a:pt x="1427" y="1755"/>
                  </a:lnTo>
                  <a:lnTo>
                    <a:pt x="1436" y="1750"/>
                  </a:lnTo>
                  <a:lnTo>
                    <a:pt x="1427" y="1750"/>
                  </a:lnTo>
                  <a:lnTo>
                    <a:pt x="1427" y="1771"/>
                  </a:lnTo>
                  <a:lnTo>
                    <a:pt x="1410" y="1762"/>
                  </a:lnTo>
                  <a:lnTo>
                    <a:pt x="1405" y="1771"/>
                  </a:lnTo>
                  <a:lnTo>
                    <a:pt x="1372" y="1778"/>
                  </a:lnTo>
                  <a:lnTo>
                    <a:pt x="1351" y="1804"/>
                  </a:lnTo>
                  <a:lnTo>
                    <a:pt x="1356" y="1778"/>
                  </a:lnTo>
                  <a:lnTo>
                    <a:pt x="1339" y="1778"/>
                  </a:lnTo>
                  <a:lnTo>
                    <a:pt x="1318" y="1795"/>
                  </a:lnTo>
                  <a:lnTo>
                    <a:pt x="1301" y="1804"/>
                  </a:lnTo>
                  <a:lnTo>
                    <a:pt x="1297" y="1816"/>
                  </a:lnTo>
                  <a:lnTo>
                    <a:pt x="1285" y="1811"/>
                  </a:lnTo>
                  <a:lnTo>
                    <a:pt x="1280" y="1811"/>
                  </a:lnTo>
                  <a:lnTo>
                    <a:pt x="1280" y="1816"/>
                  </a:lnTo>
                  <a:lnTo>
                    <a:pt x="1264" y="1811"/>
                  </a:lnTo>
                  <a:lnTo>
                    <a:pt x="1242" y="1828"/>
                  </a:lnTo>
                  <a:lnTo>
                    <a:pt x="1226" y="1828"/>
                  </a:lnTo>
                  <a:lnTo>
                    <a:pt x="1226" y="1816"/>
                  </a:lnTo>
                  <a:lnTo>
                    <a:pt x="1231" y="1804"/>
                  </a:lnTo>
                  <a:lnTo>
                    <a:pt x="1247" y="1811"/>
                  </a:lnTo>
                  <a:lnTo>
                    <a:pt x="1221" y="1804"/>
                  </a:lnTo>
                  <a:lnTo>
                    <a:pt x="1205" y="1833"/>
                  </a:lnTo>
                  <a:lnTo>
                    <a:pt x="1188" y="1844"/>
                  </a:lnTo>
                  <a:lnTo>
                    <a:pt x="1193" y="1849"/>
                  </a:lnTo>
                  <a:lnTo>
                    <a:pt x="1179" y="1861"/>
                  </a:lnTo>
                  <a:lnTo>
                    <a:pt x="1179" y="1849"/>
                  </a:lnTo>
                  <a:lnTo>
                    <a:pt x="1172" y="1849"/>
                  </a:lnTo>
                  <a:lnTo>
                    <a:pt x="1172" y="1861"/>
                  </a:lnTo>
                  <a:lnTo>
                    <a:pt x="1155" y="1861"/>
                  </a:lnTo>
                  <a:lnTo>
                    <a:pt x="1150" y="1833"/>
                  </a:lnTo>
                  <a:lnTo>
                    <a:pt x="1141" y="1844"/>
                  </a:lnTo>
                  <a:lnTo>
                    <a:pt x="1150" y="1849"/>
                  </a:lnTo>
                  <a:lnTo>
                    <a:pt x="1150" y="1866"/>
                  </a:lnTo>
                  <a:lnTo>
                    <a:pt x="1141" y="1866"/>
                  </a:lnTo>
                  <a:lnTo>
                    <a:pt x="1124" y="1873"/>
                  </a:lnTo>
                  <a:lnTo>
                    <a:pt x="1103" y="1849"/>
                  </a:lnTo>
                  <a:lnTo>
                    <a:pt x="1103" y="1861"/>
                  </a:lnTo>
                  <a:lnTo>
                    <a:pt x="1117" y="1866"/>
                  </a:lnTo>
                  <a:lnTo>
                    <a:pt x="1096" y="1882"/>
                  </a:lnTo>
                  <a:lnTo>
                    <a:pt x="1096" y="1873"/>
                  </a:lnTo>
                  <a:lnTo>
                    <a:pt x="1103" y="1866"/>
                  </a:lnTo>
                  <a:lnTo>
                    <a:pt x="1096" y="1849"/>
                  </a:lnTo>
                  <a:lnTo>
                    <a:pt x="1117" y="1849"/>
                  </a:lnTo>
                  <a:lnTo>
                    <a:pt x="1124" y="1833"/>
                  </a:lnTo>
                  <a:lnTo>
                    <a:pt x="1150" y="1828"/>
                  </a:lnTo>
                  <a:lnTo>
                    <a:pt x="1155" y="1828"/>
                  </a:lnTo>
                  <a:lnTo>
                    <a:pt x="1150" y="1816"/>
                  </a:lnTo>
                  <a:lnTo>
                    <a:pt x="1172" y="1795"/>
                  </a:lnTo>
                  <a:lnTo>
                    <a:pt x="1205" y="1771"/>
                  </a:lnTo>
                  <a:lnTo>
                    <a:pt x="1259" y="1771"/>
                  </a:lnTo>
                  <a:lnTo>
                    <a:pt x="1280" y="1795"/>
                  </a:lnTo>
                  <a:lnTo>
                    <a:pt x="1275" y="1778"/>
                  </a:lnTo>
                  <a:lnTo>
                    <a:pt x="1313" y="1788"/>
                  </a:lnTo>
                  <a:lnTo>
                    <a:pt x="1313" y="1778"/>
                  </a:lnTo>
                  <a:lnTo>
                    <a:pt x="1285" y="1762"/>
                  </a:lnTo>
                  <a:lnTo>
                    <a:pt x="1301" y="1733"/>
                  </a:lnTo>
                  <a:lnTo>
                    <a:pt x="1394" y="1684"/>
                  </a:lnTo>
                  <a:lnTo>
                    <a:pt x="1427" y="1684"/>
                  </a:lnTo>
                  <a:lnTo>
                    <a:pt x="1427" y="1651"/>
                  </a:lnTo>
                  <a:lnTo>
                    <a:pt x="1474" y="1611"/>
                  </a:lnTo>
                  <a:lnTo>
                    <a:pt x="1490" y="1606"/>
                  </a:lnTo>
                  <a:lnTo>
                    <a:pt x="1495" y="1611"/>
                  </a:lnTo>
                  <a:lnTo>
                    <a:pt x="1512" y="1611"/>
                  </a:lnTo>
                  <a:lnTo>
                    <a:pt x="1512" y="1606"/>
                  </a:lnTo>
                  <a:lnTo>
                    <a:pt x="1502" y="1611"/>
                  </a:lnTo>
                  <a:lnTo>
                    <a:pt x="1490" y="1594"/>
                  </a:lnTo>
                  <a:lnTo>
                    <a:pt x="1495" y="1552"/>
                  </a:lnTo>
                  <a:lnTo>
                    <a:pt x="1512" y="1533"/>
                  </a:lnTo>
                  <a:lnTo>
                    <a:pt x="1528" y="1540"/>
                  </a:lnTo>
                  <a:lnTo>
                    <a:pt x="1502" y="1533"/>
                  </a:lnTo>
                  <a:lnTo>
                    <a:pt x="1502" y="1516"/>
                  </a:lnTo>
                  <a:lnTo>
                    <a:pt x="1533" y="1478"/>
                  </a:lnTo>
                  <a:lnTo>
                    <a:pt x="1557" y="1441"/>
                  </a:lnTo>
                  <a:lnTo>
                    <a:pt x="1533" y="1462"/>
                  </a:lnTo>
                  <a:lnTo>
                    <a:pt x="1457" y="1495"/>
                  </a:lnTo>
                  <a:lnTo>
                    <a:pt x="1427" y="1474"/>
                  </a:lnTo>
                  <a:lnTo>
                    <a:pt x="1436" y="1457"/>
                  </a:lnTo>
                  <a:lnTo>
                    <a:pt x="1457" y="1457"/>
                  </a:lnTo>
                  <a:lnTo>
                    <a:pt x="1474" y="1462"/>
                  </a:lnTo>
                  <a:lnTo>
                    <a:pt x="1436" y="1429"/>
                  </a:lnTo>
                  <a:lnTo>
                    <a:pt x="1436" y="1445"/>
                  </a:lnTo>
                  <a:lnTo>
                    <a:pt x="1427" y="1462"/>
                  </a:lnTo>
                  <a:lnTo>
                    <a:pt x="1420" y="1462"/>
                  </a:lnTo>
                  <a:lnTo>
                    <a:pt x="1420" y="1457"/>
                  </a:lnTo>
                  <a:lnTo>
                    <a:pt x="1410" y="1457"/>
                  </a:lnTo>
                  <a:lnTo>
                    <a:pt x="1420" y="1478"/>
                  </a:lnTo>
                  <a:lnTo>
                    <a:pt x="1410" y="1478"/>
                  </a:lnTo>
                  <a:lnTo>
                    <a:pt x="1410" y="1474"/>
                  </a:lnTo>
                  <a:lnTo>
                    <a:pt x="1405" y="1478"/>
                  </a:lnTo>
                  <a:lnTo>
                    <a:pt x="1420" y="1500"/>
                  </a:lnTo>
                  <a:lnTo>
                    <a:pt x="1405" y="1516"/>
                  </a:lnTo>
                  <a:lnTo>
                    <a:pt x="1394" y="1511"/>
                  </a:lnTo>
                  <a:lnTo>
                    <a:pt x="1356" y="1457"/>
                  </a:lnTo>
                  <a:lnTo>
                    <a:pt x="1335" y="1478"/>
                  </a:lnTo>
                  <a:lnTo>
                    <a:pt x="1313" y="1457"/>
                  </a:lnTo>
                  <a:lnTo>
                    <a:pt x="1301" y="1445"/>
                  </a:lnTo>
                  <a:lnTo>
                    <a:pt x="1221" y="1495"/>
                  </a:lnTo>
                  <a:lnTo>
                    <a:pt x="1179" y="1483"/>
                  </a:lnTo>
                  <a:lnTo>
                    <a:pt x="1193" y="1483"/>
                  </a:lnTo>
                  <a:lnTo>
                    <a:pt x="1209" y="1478"/>
                  </a:lnTo>
                  <a:lnTo>
                    <a:pt x="1205" y="1462"/>
                  </a:lnTo>
                  <a:lnTo>
                    <a:pt x="1205" y="1445"/>
                  </a:lnTo>
                  <a:lnTo>
                    <a:pt x="1221" y="1441"/>
                  </a:lnTo>
                  <a:lnTo>
                    <a:pt x="1193" y="1445"/>
                  </a:lnTo>
                  <a:lnTo>
                    <a:pt x="1188" y="1441"/>
                  </a:lnTo>
                  <a:lnTo>
                    <a:pt x="1193" y="1412"/>
                  </a:lnTo>
                  <a:lnTo>
                    <a:pt x="1209" y="1400"/>
                  </a:lnTo>
                  <a:lnTo>
                    <a:pt x="1172" y="1334"/>
                  </a:lnTo>
                  <a:lnTo>
                    <a:pt x="1179" y="1318"/>
                  </a:lnTo>
                  <a:lnTo>
                    <a:pt x="1167" y="1329"/>
                  </a:lnTo>
                  <a:lnTo>
                    <a:pt x="1167" y="1313"/>
                  </a:lnTo>
                  <a:lnTo>
                    <a:pt x="1172" y="1280"/>
                  </a:lnTo>
                  <a:lnTo>
                    <a:pt x="1193" y="1273"/>
                  </a:lnTo>
                  <a:lnTo>
                    <a:pt x="1172" y="1280"/>
                  </a:lnTo>
                  <a:lnTo>
                    <a:pt x="1150" y="1313"/>
                  </a:lnTo>
                  <a:lnTo>
                    <a:pt x="1155" y="1329"/>
                  </a:lnTo>
                  <a:lnTo>
                    <a:pt x="1155" y="1346"/>
                  </a:lnTo>
                  <a:lnTo>
                    <a:pt x="1096" y="1367"/>
                  </a:lnTo>
                  <a:lnTo>
                    <a:pt x="1042" y="1367"/>
                  </a:lnTo>
                  <a:lnTo>
                    <a:pt x="1032" y="1351"/>
                  </a:lnTo>
                  <a:lnTo>
                    <a:pt x="1042" y="1346"/>
                  </a:lnTo>
                  <a:lnTo>
                    <a:pt x="1016" y="1334"/>
                  </a:lnTo>
                  <a:lnTo>
                    <a:pt x="1004" y="1313"/>
                  </a:lnTo>
                  <a:lnTo>
                    <a:pt x="973" y="1296"/>
                  </a:lnTo>
                  <a:lnTo>
                    <a:pt x="978" y="1289"/>
                  </a:lnTo>
                  <a:lnTo>
                    <a:pt x="952" y="1289"/>
                  </a:lnTo>
                  <a:lnTo>
                    <a:pt x="1004" y="1244"/>
                  </a:lnTo>
                  <a:lnTo>
                    <a:pt x="1004" y="1256"/>
                  </a:lnTo>
                  <a:lnTo>
                    <a:pt x="1032" y="1263"/>
                  </a:lnTo>
                  <a:lnTo>
                    <a:pt x="1032" y="1273"/>
                  </a:lnTo>
                  <a:lnTo>
                    <a:pt x="1016" y="1289"/>
                  </a:lnTo>
                  <a:lnTo>
                    <a:pt x="1049" y="1263"/>
                  </a:lnTo>
                  <a:lnTo>
                    <a:pt x="1065" y="1263"/>
                  </a:lnTo>
                  <a:lnTo>
                    <a:pt x="1065" y="1280"/>
                  </a:lnTo>
                  <a:lnTo>
                    <a:pt x="1070" y="1280"/>
                  </a:lnTo>
                  <a:lnTo>
                    <a:pt x="1086" y="1263"/>
                  </a:lnTo>
                  <a:lnTo>
                    <a:pt x="1058" y="1256"/>
                  </a:lnTo>
                  <a:lnTo>
                    <a:pt x="1079" y="1244"/>
                  </a:lnTo>
                  <a:lnTo>
                    <a:pt x="1065" y="1240"/>
                  </a:lnTo>
                  <a:lnTo>
                    <a:pt x="1049" y="1256"/>
                  </a:lnTo>
                  <a:lnTo>
                    <a:pt x="973" y="1244"/>
                  </a:lnTo>
                  <a:lnTo>
                    <a:pt x="961" y="1240"/>
                  </a:lnTo>
                  <a:lnTo>
                    <a:pt x="994" y="1223"/>
                  </a:lnTo>
                  <a:lnTo>
                    <a:pt x="973" y="1223"/>
                  </a:lnTo>
                  <a:lnTo>
                    <a:pt x="973" y="1207"/>
                  </a:lnTo>
                  <a:lnTo>
                    <a:pt x="961" y="1218"/>
                  </a:lnTo>
                  <a:lnTo>
                    <a:pt x="957" y="1218"/>
                  </a:lnTo>
                  <a:lnTo>
                    <a:pt x="973" y="1190"/>
                  </a:lnTo>
                  <a:lnTo>
                    <a:pt x="990" y="1185"/>
                  </a:lnTo>
                  <a:lnTo>
                    <a:pt x="1004" y="1169"/>
                  </a:lnTo>
                  <a:lnTo>
                    <a:pt x="957" y="1202"/>
                  </a:lnTo>
                  <a:lnTo>
                    <a:pt x="952" y="1218"/>
                  </a:lnTo>
                  <a:lnTo>
                    <a:pt x="957" y="1218"/>
                  </a:lnTo>
                  <a:lnTo>
                    <a:pt x="952" y="1235"/>
                  </a:lnTo>
                  <a:lnTo>
                    <a:pt x="935" y="1223"/>
                  </a:lnTo>
                  <a:lnTo>
                    <a:pt x="935" y="1207"/>
                  </a:lnTo>
                  <a:lnTo>
                    <a:pt x="919" y="1202"/>
                  </a:lnTo>
                  <a:lnTo>
                    <a:pt x="919" y="1190"/>
                  </a:lnTo>
                  <a:lnTo>
                    <a:pt x="924" y="1185"/>
                  </a:lnTo>
                  <a:lnTo>
                    <a:pt x="924" y="1178"/>
                  </a:lnTo>
                  <a:lnTo>
                    <a:pt x="902" y="1185"/>
                  </a:lnTo>
                  <a:lnTo>
                    <a:pt x="898" y="1169"/>
                  </a:lnTo>
                  <a:lnTo>
                    <a:pt x="898" y="1162"/>
                  </a:lnTo>
                  <a:lnTo>
                    <a:pt x="902" y="1169"/>
                  </a:lnTo>
                  <a:lnTo>
                    <a:pt x="924" y="1162"/>
                  </a:lnTo>
                  <a:lnTo>
                    <a:pt x="902" y="1145"/>
                  </a:lnTo>
                  <a:lnTo>
                    <a:pt x="935" y="1145"/>
                  </a:lnTo>
                  <a:lnTo>
                    <a:pt x="924" y="1129"/>
                  </a:lnTo>
                  <a:lnTo>
                    <a:pt x="935" y="1112"/>
                  </a:lnTo>
                  <a:lnTo>
                    <a:pt x="961" y="1074"/>
                  </a:lnTo>
                  <a:lnTo>
                    <a:pt x="978" y="1067"/>
                  </a:lnTo>
                  <a:lnTo>
                    <a:pt x="1004" y="1079"/>
                  </a:lnTo>
                  <a:lnTo>
                    <a:pt x="990" y="1067"/>
                  </a:lnTo>
                  <a:lnTo>
                    <a:pt x="1016" y="1041"/>
                  </a:lnTo>
                  <a:lnTo>
                    <a:pt x="994" y="1051"/>
                  </a:lnTo>
                  <a:lnTo>
                    <a:pt x="990" y="1034"/>
                  </a:lnTo>
                  <a:lnTo>
                    <a:pt x="1004" y="1013"/>
                  </a:lnTo>
                  <a:lnTo>
                    <a:pt x="1027" y="1013"/>
                  </a:lnTo>
                  <a:lnTo>
                    <a:pt x="1011" y="1001"/>
                  </a:lnTo>
                  <a:lnTo>
                    <a:pt x="1016" y="985"/>
                  </a:lnTo>
                  <a:lnTo>
                    <a:pt x="1049" y="985"/>
                  </a:lnTo>
                  <a:lnTo>
                    <a:pt x="1096" y="1013"/>
                  </a:lnTo>
                  <a:lnTo>
                    <a:pt x="1112" y="1013"/>
                  </a:lnTo>
                  <a:lnTo>
                    <a:pt x="1150" y="985"/>
                  </a:lnTo>
                  <a:lnTo>
                    <a:pt x="1167" y="959"/>
                  </a:lnTo>
                  <a:lnTo>
                    <a:pt x="1188" y="959"/>
                  </a:lnTo>
                  <a:lnTo>
                    <a:pt x="1179" y="963"/>
                  </a:lnTo>
                  <a:lnTo>
                    <a:pt x="1247" y="959"/>
                  </a:lnTo>
                  <a:lnTo>
                    <a:pt x="1275" y="930"/>
                  </a:lnTo>
                  <a:lnTo>
                    <a:pt x="1275" y="914"/>
                  </a:lnTo>
                  <a:lnTo>
                    <a:pt x="1264" y="874"/>
                  </a:lnTo>
                  <a:lnTo>
                    <a:pt x="1247" y="852"/>
                  </a:lnTo>
                  <a:lnTo>
                    <a:pt x="1226" y="852"/>
                  </a:lnTo>
                  <a:lnTo>
                    <a:pt x="1231" y="836"/>
                  </a:lnTo>
                  <a:lnTo>
                    <a:pt x="1259" y="848"/>
                  </a:lnTo>
                  <a:lnTo>
                    <a:pt x="1275" y="831"/>
                  </a:lnTo>
                  <a:lnTo>
                    <a:pt x="1275" y="819"/>
                  </a:lnTo>
                  <a:lnTo>
                    <a:pt x="1247" y="796"/>
                  </a:lnTo>
                  <a:lnTo>
                    <a:pt x="1259" y="791"/>
                  </a:lnTo>
                  <a:lnTo>
                    <a:pt x="1247" y="791"/>
                  </a:lnTo>
                  <a:lnTo>
                    <a:pt x="1226" y="815"/>
                  </a:lnTo>
                  <a:lnTo>
                    <a:pt x="1179" y="819"/>
                  </a:lnTo>
                  <a:lnTo>
                    <a:pt x="1150" y="848"/>
                  </a:lnTo>
                  <a:lnTo>
                    <a:pt x="1150" y="852"/>
                  </a:lnTo>
                  <a:lnTo>
                    <a:pt x="1134" y="857"/>
                  </a:lnTo>
                  <a:lnTo>
                    <a:pt x="1124" y="848"/>
                  </a:lnTo>
                  <a:lnTo>
                    <a:pt x="1112" y="819"/>
                  </a:lnTo>
                  <a:lnTo>
                    <a:pt x="1096" y="836"/>
                  </a:lnTo>
                  <a:lnTo>
                    <a:pt x="1117" y="848"/>
                  </a:lnTo>
                  <a:lnTo>
                    <a:pt x="1112" y="852"/>
                  </a:lnTo>
                  <a:lnTo>
                    <a:pt x="1086" y="836"/>
                  </a:lnTo>
                  <a:lnTo>
                    <a:pt x="1065" y="831"/>
                  </a:lnTo>
                  <a:lnTo>
                    <a:pt x="990" y="836"/>
                  </a:lnTo>
                  <a:lnTo>
                    <a:pt x="990" y="848"/>
                  </a:lnTo>
                  <a:lnTo>
                    <a:pt x="994" y="848"/>
                  </a:lnTo>
                  <a:lnTo>
                    <a:pt x="978" y="852"/>
                  </a:lnTo>
                  <a:lnTo>
                    <a:pt x="902" y="836"/>
                  </a:lnTo>
                  <a:lnTo>
                    <a:pt x="881" y="819"/>
                  </a:lnTo>
                  <a:lnTo>
                    <a:pt x="869" y="815"/>
                  </a:lnTo>
                  <a:lnTo>
                    <a:pt x="881" y="796"/>
                  </a:lnTo>
                  <a:lnTo>
                    <a:pt x="843" y="763"/>
                  </a:lnTo>
                  <a:lnTo>
                    <a:pt x="848" y="746"/>
                  </a:lnTo>
                  <a:lnTo>
                    <a:pt x="843" y="763"/>
                  </a:lnTo>
                  <a:lnTo>
                    <a:pt x="864" y="774"/>
                  </a:lnTo>
                  <a:lnTo>
                    <a:pt x="881" y="746"/>
                  </a:lnTo>
                  <a:lnTo>
                    <a:pt x="902" y="758"/>
                  </a:lnTo>
                  <a:lnTo>
                    <a:pt x="810" y="737"/>
                  </a:lnTo>
                  <a:lnTo>
                    <a:pt x="756" y="708"/>
                  </a:lnTo>
                  <a:lnTo>
                    <a:pt x="777" y="692"/>
                  </a:lnTo>
                  <a:lnTo>
                    <a:pt x="763" y="708"/>
                  </a:lnTo>
                  <a:lnTo>
                    <a:pt x="801" y="704"/>
                  </a:lnTo>
                  <a:lnTo>
                    <a:pt x="801" y="692"/>
                  </a:lnTo>
                  <a:lnTo>
                    <a:pt x="801" y="687"/>
                  </a:lnTo>
                  <a:lnTo>
                    <a:pt x="831" y="680"/>
                  </a:lnTo>
                  <a:lnTo>
                    <a:pt x="848" y="680"/>
                  </a:lnTo>
                  <a:lnTo>
                    <a:pt x="843" y="670"/>
                  </a:lnTo>
                  <a:lnTo>
                    <a:pt x="886" y="647"/>
                  </a:lnTo>
                  <a:lnTo>
                    <a:pt x="924" y="654"/>
                  </a:lnTo>
                  <a:lnTo>
                    <a:pt x="940" y="647"/>
                  </a:lnTo>
                  <a:lnTo>
                    <a:pt x="919" y="635"/>
                  </a:lnTo>
                  <a:lnTo>
                    <a:pt x="935" y="626"/>
                  </a:lnTo>
                  <a:lnTo>
                    <a:pt x="1027" y="597"/>
                  </a:lnTo>
                  <a:lnTo>
                    <a:pt x="1070" y="597"/>
                  </a:lnTo>
                  <a:lnTo>
                    <a:pt x="1058" y="597"/>
                  </a:lnTo>
                  <a:lnTo>
                    <a:pt x="1065" y="609"/>
                  </a:lnTo>
                  <a:lnTo>
                    <a:pt x="1058" y="626"/>
                  </a:lnTo>
                  <a:lnTo>
                    <a:pt x="1058" y="630"/>
                  </a:lnTo>
                  <a:lnTo>
                    <a:pt x="1032" y="647"/>
                  </a:lnTo>
                  <a:lnTo>
                    <a:pt x="1070" y="663"/>
                  </a:lnTo>
                  <a:lnTo>
                    <a:pt x="1188" y="663"/>
                  </a:lnTo>
                  <a:lnTo>
                    <a:pt x="1205" y="670"/>
                  </a:lnTo>
                  <a:lnTo>
                    <a:pt x="1226" y="635"/>
                  </a:lnTo>
                  <a:lnTo>
                    <a:pt x="1259" y="635"/>
                  </a:lnTo>
                  <a:lnTo>
                    <a:pt x="1247" y="654"/>
                  </a:lnTo>
                  <a:lnTo>
                    <a:pt x="1259" y="635"/>
                  </a:lnTo>
                  <a:lnTo>
                    <a:pt x="1247" y="626"/>
                  </a:lnTo>
                  <a:lnTo>
                    <a:pt x="1226" y="614"/>
                  </a:lnTo>
                  <a:lnTo>
                    <a:pt x="1193" y="626"/>
                  </a:lnTo>
                  <a:lnTo>
                    <a:pt x="1193" y="630"/>
                  </a:lnTo>
                  <a:lnTo>
                    <a:pt x="1193" y="597"/>
                  </a:lnTo>
                  <a:lnTo>
                    <a:pt x="1172" y="581"/>
                  </a:lnTo>
                  <a:lnTo>
                    <a:pt x="1155" y="576"/>
                  </a:lnTo>
                  <a:lnTo>
                    <a:pt x="1141" y="559"/>
                  </a:lnTo>
                  <a:lnTo>
                    <a:pt x="1167" y="552"/>
                  </a:lnTo>
                  <a:lnTo>
                    <a:pt x="1179" y="569"/>
                  </a:lnTo>
                  <a:lnTo>
                    <a:pt x="1188" y="593"/>
                  </a:lnTo>
                  <a:lnTo>
                    <a:pt x="1221" y="614"/>
                  </a:lnTo>
                  <a:lnTo>
                    <a:pt x="1247" y="597"/>
                  </a:lnTo>
                  <a:lnTo>
                    <a:pt x="1275" y="626"/>
                  </a:lnTo>
                  <a:lnTo>
                    <a:pt x="1313" y="626"/>
                  </a:lnTo>
                  <a:lnTo>
                    <a:pt x="1313" y="593"/>
                  </a:lnTo>
                  <a:lnTo>
                    <a:pt x="1285" y="597"/>
                  </a:lnTo>
                  <a:lnTo>
                    <a:pt x="1247" y="593"/>
                  </a:lnTo>
                  <a:lnTo>
                    <a:pt x="1242" y="597"/>
                  </a:lnTo>
                  <a:lnTo>
                    <a:pt x="1226" y="597"/>
                  </a:lnTo>
                  <a:lnTo>
                    <a:pt x="1193" y="581"/>
                  </a:lnTo>
                  <a:lnTo>
                    <a:pt x="1209" y="552"/>
                  </a:lnTo>
                  <a:lnTo>
                    <a:pt x="1226" y="552"/>
                  </a:lnTo>
                  <a:lnTo>
                    <a:pt x="1193" y="543"/>
                  </a:lnTo>
                  <a:lnTo>
                    <a:pt x="1155" y="543"/>
                  </a:lnTo>
                  <a:lnTo>
                    <a:pt x="1167" y="526"/>
                  </a:lnTo>
                  <a:lnTo>
                    <a:pt x="1150" y="543"/>
                  </a:lnTo>
                  <a:lnTo>
                    <a:pt x="1065" y="536"/>
                  </a:lnTo>
                  <a:lnTo>
                    <a:pt x="1065" y="503"/>
                  </a:lnTo>
                  <a:lnTo>
                    <a:pt x="1042" y="470"/>
                  </a:lnTo>
                  <a:lnTo>
                    <a:pt x="952" y="415"/>
                  </a:lnTo>
                  <a:lnTo>
                    <a:pt x="848" y="375"/>
                  </a:lnTo>
                  <a:lnTo>
                    <a:pt x="886" y="370"/>
                  </a:lnTo>
                  <a:lnTo>
                    <a:pt x="898" y="354"/>
                  </a:lnTo>
                  <a:lnTo>
                    <a:pt x="898" y="314"/>
                  </a:lnTo>
                  <a:lnTo>
                    <a:pt x="1027" y="304"/>
                  </a:lnTo>
                  <a:lnTo>
                    <a:pt x="1070" y="281"/>
                  </a:lnTo>
                  <a:lnTo>
                    <a:pt x="1103" y="243"/>
                  </a:lnTo>
                  <a:lnTo>
                    <a:pt x="1103" y="259"/>
                  </a:lnTo>
                  <a:lnTo>
                    <a:pt x="1112" y="248"/>
                  </a:lnTo>
                  <a:lnTo>
                    <a:pt x="1124" y="210"/>
                  </a:lnTo>
                  <a:lnTo>
                    <a:pt x="1117" y="205"/>
                  </a:lnTo>
                  <a:lnTo>
                    <a:pt x="1193" y="132"/>
                  </a:lnTo>
                  <a:lnTo>
                    <a:pt x="1205" y="137"/>
                  </a:lnTo>
                  <a:lnTo>
                    <a:pt x="1179" y="153"/>
                  </a:lnTo>
                  <a:lnTo>
                    <a:pt x="1247" y="137"/>
                  </a:lnTo>
                  <a:lnTo>
                    <a:pt x="1335" y="94"/>
                  </a:lnTo>
                  <a:lnTo>
                    <a:pt x="1335" y="111"/>
                  </a:lnTo>
                  <a:lnTo>
                    <a:pt x="1318" y="111"/>
                  </a:lnTo>
                  <a:lnTo>
                    <a:pt x="1330" y="111"/>
                  </a:lnTo>
                  <a:lnTo>
                    <a:pt x="1339" y="137"/>
                  </a:lnTo>
                  <a:lnTo>
                    <a:pt x="1335" y="127"/>
                  </a:lnTo>
                  <a:lnTo>
                    <a:pt x="1339" y="111"/>
                  </a:lnTo>
                  <a:lnTo>
                    <a:pt x="1382" y="99"/>
                  </a:lnTo>
                  <a:lnTo>
                    <a:pt x="1351" y="111"/>
                  </a:lnTo>
                  <a:lnTo>
                    <a:pt x="1335" y="94"/>
                  </a:lnTo>
                  <a:lnTo>
                    <a:pt x="1318" y="94"/>
                  </a:lnTo>
                  <a:lnTo>
                    <a:pt x="1389" y="61"/>
                  </a:lnTo>
                  <a:lnTo>
                    <a:pt x="1372" y="61"/>
                  </a:lnTo>
                  <a:lnTo>
                    <a:pt x="1389" y="61"/>
                  </a:lnTo>
                  <a:lnTo>
                    <a:pt x="1368" y="70"/>
                  </a:lnTo>
                  <a:lnTo>
                    <a:pt x="1382" y="78"/>
                  </a:lnTo>
                  <a:lnTo>
                    <a:pt x="1405" y="70"/>
                  </a:lnTo>
                  <a:lnTo>
                    <a:pt x="1481" y="61"/>
                  </a:lnTo>
                  <a:lnTo>
                    <a:pt x="1566" y="0"/>
                  </a:lnTo>
                  <a:lnTo>
                    <a:pt x="1583" y="4"/>
                  </a:lnTo>
                  <a:lnTo>
                    <a:pt x="1637" y="21"/>
                  </a:lnTo>
                  <a:lnTo>
                    <a:pt x="1642" y="26"/>
                  </a:lnTo>
                  <a:lnTo>
                    <a:pt x="1625" y="42"/>
                  </a:lnTo>
                  <a:lnTo>
                    <a:pt x="1599" y="54"/>
                  </a:lnTo>
                  <a:lnTo>
                    <a:pt x="1611" y="54"/>
                  </a:lnTo>
                  <a:lnTo>
                    <a:pt x="1611" y="78"/>
                  </a:lnTo>
                  <a:lnTo>
                    <a:pt x="1637" y="61"/>
                  </a:lnTo>
                  <a:lnTo>
                    <a:pt x="1653" y="42"/>
                  </a:lnTo>
                  <a:lnTo>
                    <a:pt x="1670" y="42"/>
                  </a:lnTo>
                  <a:lnTo>
                    <a:pt x="1658" y="26"/>
                  </a:lnTo>
                  <a:lnTo>
                    <a:pt x="1675" y="21"/>
                  </a:lnTo>
                  <a:lnTo>
                    <a:pt x="1675" y="37"/>
                  </a:lnTo>
                  <a:lnTo>
                    <a:pt x="1679" y="26"/>
                  </a:lnTo>
                  <a:lnTo>
                    <a:pt x="1696" y="26"/>
                  </a:lnTo>
                  <a:lnTo>
                    <a:pt x="1712" y="42"/>
                  </a:lnTo>
                  <a:lnTo>
                    <a:pt x="1708" y="54"/>
                  </a:lnTo>
                  <a:lnTo>
                    <a:pt x="1708" y="61"/>
                  </a:lnTo>
                  <a:lnTo>
                    <a:pt x="1734" y="70"/>
                  </a:lnTo>
                  <a:lnTo>
                    <a:pt x="1762" y="54"/>
                  </a:lnTo>
                  <a:lnTo>
                    <a:pt x="1805" y="54"/>
                  </a:lnTo>
                  <a:lnTo>
                    <a:pt x="1875" y="61"/>
                  </a:lnTo>
                  <a:lnTo>
                    <a:pt x="1859" y="82"/>
                  </a:lnTo>
                  <a:lnTo>
                    <a:pt x="1885" y="99"/>
                  </a:lnTo>
                  <a:lnTo>
                    <a:pt x="1842" y="99"/>
                  </a:lnTo>
                  <a:lnTo>
                    <a:pt x="1913" y="99"/>
                  </a:lnTo>
                  <a:lnTo>
                    <a:pt x="1890" y="115"/>
                  </a:lnTo>
                  <a:lnTo>
                    <a:pt x="1944" y="127"/>
                  </a:lnTo>
                  <a:lnTo>
                    <a:pt x="1951" y="115"/>
                  </a:lnTo>
                  <a:lnTo>
                    <a:pt x="1977" y="111"/>
                  </a:lnTo>
                  <a:lnTo>
                    <a:pt x="2003" y="111"/>
                  </a:lnTo>
                  <a:lnTo>
                    <a:pt x="2003" y="115"/>
                  </a:lnTo>
                  <a:lnTo>
                    <a:pt x="2036" y="111"/>
                  </a:lnTo>
                  <a:lnTo>
                    <a:pt x="2090" y="111"/>
                  </a:lnTo>
                  <a:lnTo>
                    <a:pt x="2140" y="132"/>
                  </a:lnTo>
                  <a:lnTo>
                    <a:pt x="2161" y="127"/>
                  </a:lnTo>
                  <a:lnTo>
                    <a:pt x="2192" y="148"/>
                  </a:lnTo>
                  <a:lnTo>
                    <a:pt x="2322" y="153"/>
                  </a:lnTo>
                  <a:lnTo>
                    <a:pt x="2381" y="181"/>
                  </a:lnTo>
                  <a:lnTo>
                    <a:pt x="2501" y="153"/>
                  </a:lnTo>
                  <a:lnTo>
                    <a:pt x="2544" y="170"/>
                  </a:lnTo>
                  <a:lnTo>
                    <a:pt x="2641" y="222"/>
                  </a:lnTo>
                  <a:lnTo>
                    <a:pt x="2662" y="222"/>
                  </a:lnTo>
                  <a:lnTo>
                    <a:pt x="2662" y="222"/>
                  </a:lnTo>
                  <a:lnTo>
                    <a:pt x="2662" y="222"/>
                  </a:lnTo>
                  <a:close/>
                  <a:moveTo>
                    <a:pt x="709" y="996"/>
                  </a:moveTo>
                  <a:lnTo>
                    <a:pt x="680" y="996"/>
                  </a:lnTo>
                  <a:lnTo>
                    <a:pt x="654" y="1018"/>
                  </a:lnTo>
                  <a:lnTo>
                    <a:pt x="649" y="1018"/>
                  </a:lnTo>
                  <a:lnTo>
                    <a:pt x="638" y="1001"/>
                  </a:lnTo>
                  <a:lnTo>
                    <a:pt x="612" y="996"/>
                  </a:lnTo>
                  <a:lnTo>
                    <a:pt x="612" y="980"/>
                  </a:lnTo>
                  <a:lnTo>
                    <a:pt x="595" y="968"/>
                  </a:lnTo>
                  <a:lnTo>
                    <a:pt x="557" y="963"/>
                  </a:lnTo>
                  <a:lnTo>
                    <a:pt x="612" y="985"/>
                  </a:lnTo>
                  <a:lnTo>
                    <a:pt x="562" y="963"/>
                  </a:lnTo>
                  <a:lnTo>
                    <a:pt x="520" y="980"/>
                  </a:lnTo>
                  <a:lnTo>
                    <a:pt x="503" y="968"/>
                  </a:lnTo>
                  <a:lnTo>
                    <a:pt x="503" y="959"/>
                  </a:lnTo>
                  <a:lnTo>
                    <a:pt x="508" y="923"/>
                  </a:lnTo>
                  <a:lnTo>
                    <a:pt x="524" y="947"/>
                  </a:lnTo>
                  <a:lnTo>
                    <a:pt x="562" y="947"/>
                  </a:lnTo>
                  <a:lnTo>
                    <a:pt x="612" y="930"/>
                  </a:lnTo>
                  <a:lnTo>
                    <a:pt x="664" y="968"/>
                  </a:lnTo>
                  <a:lnTo>
                    <a:pt x="718" y="980"/>
                  </a:lnTo>
                  <a:lnTo>
                    <a:pt x="709" y="996"/>
                  </a:lnTo>
                  <a:lnTo>
                    <a:pt x="709" y="996"/>
                  </a:lnTo>
                  <a:lnTo>
                    <a:pt x="709" y="996"/>
                  </a:lnTo>
                  <a:close/>
                  <a:moveTo>
                    <a:pt x="1167" y="947"/>
                  </a:moveTo>
                  <a:lnTo>
                    <a:pt x="1141" y="947"/>
                  </a:lnTo>
                  <a:lnTo>
                    <a:pt x="1150" y="940"/>
                  </a:lnTo>
                  <a:lnTo>
                    <a:pt x="1167" y="947"/>
                  </a:lnTo>
                  <a:lnTo>
                    <a:pt x="1167" y="947"/>
                  </a:lnTo>
                  <a:lnTo>
                    <a:pt x="1167" y="947"/>
                  </a:lnTo>
                  <a:close/>
                  <a:moveTo>
                    <a:pt x="2166" y="1244"/>
                  </a:moveTo>
                  <a:lnTo>
                    <a:pt x="2178" y="1256"/>
                  </a:lnTo>
                  <a:lnTo>
                    <a:pt x="2161" y="1256"/>
                  </a:lnTo>
                  <a:lnTo>
                    <a:pt x="2166" y="1244"/>
                  </a:lnTo>
                  <a:lnTo>
                    <a:pt x="2166" y="1244"/>
                  </a:lnTo>
                  <a:lnTo>
                    <a:pt x="2166" y="1244"/>
                  </a:lnTo>
                  <a:close/>
                  <a:moveTo>
                    <a:pt x="2263" y="1244"/>
                  </a:moveTo>
                  <a:lnTo>
                    <a:pt x="2263" y="1256"/>
                  </a:lnTo>
                  <a:lnTo>
                    <a:pt x="2253" y="1256"/>
                  </a:lnTo>
                  <a:lnTo>
                    <a:pt x="2263" y="1244"/>
                  </a:lnTo>
                  <a:lnTo>
                    <a:pt x="2263" y="1244"/>
                  </a:lnTo>
                  <a:lnTo>
                    <a:pt x="2263" y="1244"/>
                  </a:lnTo>
                  <a:close/>
                  <a:moveTo>
                    <a:pt x="978" y="1244"/>
                  </a:moveTo>
                  <a:lnTo>
                    <a:pt x="990" y="1256"/>
                  </a:lnTo>
                  <a:lnTo>
                    <a:pt x="978" y="1256"/>
                  </a:lnTo>
                  <a:lnTo>
                    <a:pt x="978" y="1244"/>
                  </a:lnTo>
                  <a:lnTo>
                    <a:pt x="978" y="1244"/>
                  </a:lnTo>
                  <a:lnTo>
                    <a:pt x="978" y="1244"/>
                  </a:lnTo>
                  <a:close/>
                  <a:moveTo>
                    <a:pt x="2161" y="1263"/>
                  </a:moveTo>
                  <a:lnTo>
                    <a:pt x="2161" y="1273"/>
                  </a:lnTo>
                  <a:lnTo>
                    <a:pt x="2154" y="1263"/>
                  </a:lnTo>
                  <a:lnTo>
                    <a:pt x="2161" y="1263"/>
                  </a:lnTo>
                  <a:lnTo>
                    <a:pt x="2161" y="1263"/>
                  </a:lnTo>
                  <a:lnTo>
                    <a:pt x="2161" y="1263"/>
                  </a:lnTo>
                  <a:close/>
                  <a:moveTo>
                    <a:pt x="2183" y="1263"/>
                  </a:moveTo>
                  <a:lnTo>
                    <a:pt x="2183" y="1273"/>
                  </a:lnTo>
                  <a:lnTo>
                    <a:pt x="2178" y="1273"/>
                  </a:lnTo>
                  <a:lnTo>
                    <a:pt x="2166" y="1263"/>
                  </a:lnTo>
                  <a:lnTo>
                    <a:pt x="2183" y="1263"/>
                  </a:lnTo>
                  <a:lnTo>
                    <a:pt x="2183" y="1263"/>
                  </a:lnTo>
                  <a:lnTo>
                    <a:pt x="2183" y="1263"/>
                  </a:lnTo>
                  <a:close/>
                  <a:moveTo>
                    <a:pt x="2216" y="1273"/>
                  </a:moveTo>
                  <a:lnTo>
                    <a:pt x="2220" y="1273"/>
                  </a:lnTo>
                  <a:lnTo>
                    <a:pt x="2209" y="1280"/>
                  </a:lnTo>
                  <a:lnTo>
                    <a:pt x="2216" y="1273"/>
                  </a:lnTo>
                  <a:lnTo>
                    <a:pt x="2216" y="1273"/>
                  </a:lnTo>
                  <a:lnTo>
                    <a:pt x="2216" y="1273"/>
                  </a:lnTo>
                  <a:close/>
                  <a:moveTo>
                    <a:pt x="470" y="1313"/>
                  </a:moveTo>
                  <a:lnTo>
                    <a:pt x="449" y="1313"/>
                  </a:lnTo>
                  <a:lnTo>
                    <a:pt x="416" y="1289"/>
                  </a:lnTo>
                  <a:lnTo>
                    <a:pt x="423" y="1280"/>
                  </a:lnTo>
                  <a:lnTo>
                    <a:pt x="432" y="1296"/>
                  </a:lnTo>
                  <a:lnTo>
                    <a:pt x="470" y="1313"/>
                  </a:lnTo>
                  <a:lnTo>
                    <a:pt x="470" y="1313"/>
                  </a:lnTo>
                  <a:lnTo>
                    <a:pt x="470" y="1313"/>
                  </a:lnTo>
                  <a:close/>
                  <a:moveTo>
                    <a:pt x="1897" y="1296"/>
                  </a:moveTo>
                  <a:lnTo>
                    <a:pt x="1890" y="1301"/>
                  </a:lnTo>
                  <a:lnTo>
                    <a:pt x="1897" y="1289"/>
                  </a:lnTo>
                  <a:lnTo>
                    <a:pt x="1897" y="1296"/>
                  </a:lnTo>
                  <a:lnTo>
                    <a:pt x="1897" y="1296"/>
                  </a:lnTo>
                  <a:lnTo>
                    <a:pt x="1897" y="1296"/>
                  </a:lnTo>
                  <a:close/>
                  <a:moveTo>
                    <a:pt x="2199" y="1296"/>
                  </a:moveTo>
                  <a:lnTo>
                    <a:pt x="2192" y="1301"/>
                  </a:lnTo>
                  <a:lnTo>
                    <a:pt x="2199" y="1301"/>
                  </a:lnTo>
                  <a:lnTo>
                    <a:pt x="2192" y="1329"/>
                  </a:lnTo>
                  <a:lnTo>
                    <a:pt x="2178" y="1318"/>
                  </a:lnTo>
                  <a:lnTo>
                    <a:pt x="2192" y="1296"/>
                  </a:lnTo>
                  <a:lnTo>
                    <a:pt x="2192" y="1289"/>
                  </a:lnTo>
                  <a:lnTo>
                    <a:pt x="2199" y="1296"/>
                  </a:lnTo>
                  <a:lnTo>
                    <a:pt x="2199" y="1296"/>
                  </a:lnTo>
                  <a:lnTo>
                    <a:pt x="2199" y="1296"/>
                  </a:lnTo>
                  <a:close/>
                  <a:moveTo>
                    <a:pt x="2305" y="1301"/>
                  </a:moveTo>
                  <a:lnTo>
                    <a:pt x="2268" y="1318"/>
                  </a:lnTo>
                  <a:lnTo>
                    <a:pt x="2268" y="1313"/>
                  </a:lnTo>
                  <a:lnTo>
                    <a:pt x="2275" y="1301"/>
                  </a:lnTo>
                  <a:lnTo>
                    <a:pt x="2263" y="1301"/>
                  </a:lnTo>
                  <a:lnTo>
                    <a:pt x="2268" y="1296"/>
                  </a:lnTo>
                  <a:lnTo>
                    <a:pt x="2305" y="1301"/>
                  </a:lnTo>
                  <a:lnTo>
                    <a:pt x="2305" y="1301"/>
                  </a:lnTo>
                  <a:lnTo>
                    <a:pt x="2305" y="1301"/>
                  </a:lnTo>
                  <a:close/>
                  <a:moveTo>
                    <a:pt x="902" y="1301"/>
                  </a:moveTo>
                  <a:lnTo>
                    <a:pt x="902" y="1313"/>
                  </a:lnTo>
                  <a:lnTo>
                    <a:pt x="935" y="1313"/>
                  </a:lnTo>
                  <a:lnTo>
                    <a:pt x="935" y="1334"/>
                  </a:lnTo>
                  <a:lnTo>
                    <a:pt x="940" y="1351"/>
                  </a:lnTo>
                  <a:lnTo>
                    <a:pt x="898" y="1355"/>
                  </a:lnTo>
                  <a:lnTo>
                    <a:pt x="902" y="1367"/>
                  </a:lnTo>
                  <a:lnTo>
                    <a:pt x="898" y="1372"/>
                  </a:lnTo>
                  <a:lnTo>
                    <a:pt x="831" y="1346"/>
                  </a:lnTo>
                  <a:lnTo>
                    <a:pt x="810" y="1329"/>
                  </a:lnTo>
                  <a:lnTo>
                    <a:pt x="848" y="1318"/>
                  </a:lnTo>
                  <a:lnTo>
                    <a:pt x="869" y="1301"/>
                  </a:lnTo>
                  <a:lnTo>
                    <a:pt x="902" y="1301"/>
                  </a:lnTo>
                  <a:lnTo>
                    <a:pt x="902" y="1301"/>
                  </a:lnTo>
                  <a:lnTo>
                    <a:pt x="902" y="1301"/>
                  </a:lnTo>
                  <a:close/>
                  <a:moveTo>
                    <a:pt x="2376" y="1301"/>
                  </a:moveTo>
                  <a:lnTo>
                    <a:pt x="2376" y="1313"/>
                  </a:lnTo>
                  <a:lnTo>
                    <a:pt x="2360" y="1313"/>
                  </a:lnTo>
                  <a:lnTo>
                    <a:pt x="2376" y="1301"/>
                  </a:lnTo>
                  <a:lnTo>
                    <a:pt x="2376" y="1301"/>
                  </a:lnTo>
                  <a:lnTo>
                    <a:pt x="2376" y="1301"/>
                  </a:lnTo>
                  <a:close/>
                  <a:moveTo>
                    <a:pt x="2178" y="1301"/>
                  </a:moveTo>
                  <a:lnTo>
                    <a:pt x="2166" y="1313"/>
                  </a:lnTo>
                  <a:lnTo>
                    <a:pt x="2161" y="1313"/>
                  </a:lnTo>
                  <a:lnTo>
                    <a:pt x="2178" y="1301"/>
                  </a:lnTo>
                  <a:lnTo>
                    <a:pt x="2178" y="1301"/>
                  </a:lnTo>
                  <a:lnTo>
                    <a:pt x="2178" y="1301"/>
                  </a:lnTo>
                  <a:close/>
                  <a:moveTo>
                    <a:pt x="2246" y="1313"/>
                  </a:moveTo>
                  <a:lnTo>
                    <a:pt x="2209" y="1355"/>
                  </a:lnTo>
                  <a:lnTo>
                    <a:pt x="2178" y="1367"/>
                  </a:lnTo>
                  <a:lnTo>
                    <a:pt x="2183" y="1351"/>
                  </a:lnTo>
                  <a:lnTo>
                    <a:pt x="2216" y="1334"/>
                  </a:lnTo>
                  <a:lnTo>
                    <a:pt x="2230" y="1301"/>
                  </a:lnTo>
                  <a:lnTo>
                    <a:pt x="2246" y="1313"/>
                  </a:lnTo>
                  <a:lnTo>
                    <a:pt x="2246" y="1313"/>
                  </a:lnTo>
                  <a:lnTo>
                    <a:pt x="2246" y="1313"/>
                  </a:lnTo>
                  <a:close/>
                  <a:moveTo>
                    <a:pt x="2166" y="1329"/>
                  </a:moveTo>
                  <a:lnTo>
                    <a:pt x="2161" y="1346"/>
                  </a:lnTo>
                  <a:lnTo>
                    <a:pt x="2154" y="1346"/>
                  </a:lnTo>
                  <a:lnTo>
                    <a:pt x="2166" y="1329"/>
                  </a:lnTo>
                  <a:lnTo>
                    <a:pt x="2166" y="1329"/>
                  </a:lnTo>
                  <a:lnTo>
                    <a:pt x="2166" y="1329"/>
                  </a:lnTo>
                  <a:close/>
                  <a:moveTo>
                    <a:pt x="2183" y="1334"/>
                  </a:moveTo>
                  <a:lnTo>
                    <a:pt x="2161" y="1346"/>
                  </a:lnTo>
                  <a:lnTo>
                    <a:pt x="2178" y="1329"/>
                  </a:lnTo>
                  <a:lnTo>
                    <a:pt x="2183" y="1334"/>
                  </a:lnTo>
                  <a:lnTo>
                    <a:pt x="2183" y="1334"/>
                  </a:lnTo>
                  <a:lnTo>
                    <a:pt x="2183" y="1334"/>
                  </a:lnTo>
                  <a:close/>
                  <a:moveTo>
                    <a:pt x="1788" y="1407"/>
                  </a:moveTo>
                  <a:lnTo>
                    <a:pt x="1800" y="1412"/>
                  </a:lnTo>
                  <a:lnTo>
                    <a:pt x="1783" y="1412"/>
                  </a:lnTo>
                  <a:lnTo>
                    <a:pt x="1788" y="1407"/>
                  </a:lnTo>
                  <a:lnTo>
                    <a:pt x="1788" y="1407"/>
                  </a:lnTo>
                  <a:lnTo>
                    <a:pt x="1788" y="1407"/>
                  </a:lnTo>
                  <a:close/>
                  <a:moveTo>
                    <a:pt x="1247" y="1483"/>
                  </a:moveTo>
                  <a:lnTo>
                    <a:pt x="1280" y="1474"/>
                  </a:lnTo>
                  <a:lnTo>
                    <a:pt x="1264" y="1495"/>
                  </a:lnTo>
                  <a:lnTo>
                    <a:pt x="1259" y="1500"/>
                  </a:lnTo>
                  <a:lnTo>
                    <a:pt x="1247" y="1483"/>
                  </a:lnTo>
                  <a:lnTo>
                    <a:pt x="1247" y="1483"/>
                  </a:lnTo>
                  <a:lnTo>
                    <a:pt x="1247" y="1483"/>
                  </a:lnTo>
                  <a:close/>
                  <a:moveTo>
                    <a:pt x="1868" y="1495"/>
                  </a:moveTo>
                  <a:lnTo>
                    <a:pt x="1859" y="1511"/>
                  </a:lnTo>
                  <a:lnTo>
                    <a:pt x="1842" y="1500"/>
                  </a:lnTo>
                  <a:lnTo>
                    <a:pt x="1868" y="1495"/>
                  </a:lnTo>
                  <a:lnTo>
                    <a:pt x="1868" y="1495"/>
                  </a:lnTo>
                  <a:lnTo>
                    <a:pt x="1868" y="1495"/>
                  </a:lnTo>
                  <a:close/>
                  <a:moveTo>
                    <a:pt x="1842" y="1552"/>
                  </a:moveTo>
                  <a:lnTo>
                    <a:pt x="1831" y="1556"/>
                  </a:lnTo>
                  <a:lnTo>
                    <a:pt x="1805" y="1540"/>
                  </a:lnTo>
                  <a:lnTo>
                    <a:pt x="1831" y="1540"/>
                  </a:lnTo>
                  <a:lnTo>
                    <a:pt x="1814" y="1533"/>
                  </a:lnTo>
                  <a:lnTo>
                    <a:pt x="1838" y="1528"/>
                  </a:lnTo>
                  <a:lnTo>
                    <a:pt x="1838" y="1516"/>
                  </a:lnTo>
                  <a:lnTo>
                    <a:pt x="1842" y="1511"/>
                  </a:lnTo>
                  <a:lnTo>
                    <a:pt x="1859" y="1516"/>
                  </a:lnTo>
                  <a:lnTo>
                    <a:pt x="1868" y="1511"/>
                  </a:lnTo>
                  <a:lnTo>
                    <a:pt x="1890" y="1528"/>
                  </a:lnTo>
                  <a:lnTo>
                    <a:pt x="1885" y="1540"/>
                  </a:lnTo>
                  <a:lnTo>
                    <a:pt x="1875" y="1528"/>
                  </a:lnTo>
                  <a:lnTo>
                    <a:pt x="1868" y="1533"/>
                  </a:lnTo>
                  <a:lnTo>
                    <a:pt x="1875" y="1540"/>
                  </a:lnTo>
                  <a:lnTo>
                    <a:pt x="1852" y="1540"/>
                  </a:lnTo>
                  <a:lnTo>
                    <a:pt x="1842" y="1552"/>
                  </a:lnTo>
                  <a:lnTo>
                    <a:pt x="1842" y="1552"/>
                  </a:lnTo>
                  <a:lnTo>
                    <a:pt x="1842" y="1552"/>
                  </a:lnTo>
                  <a:close/>
                  <a:moveTo>
                    <a:pt x="3116" y="1606"/>
                  </a:moveTo>
                  <a:lnTo>
                    <a:pt x="3085" y="1516"/>
                  </a:lnTo>
                  <a:lnTo>
                    <a:pt x="3111" y="1540"/>
                  </a:lnTo>
                  <a:lnTo>
                    <a:pt x="3137" y="1540"/>
                  </a:lnTo>
                  <a:lnTo>
                    <a:pt x="3165" y="1589"/>
                  </a:lnTo>
                  <a:lnTo>
                    <a:pt x="3132" y="1552"/>
                  </a:lnTo>
                  <a:lnTo>
                    <a:pt x="3132" y="1573"/>
                  </a:lnTo>
                  <a:lnTo>
                    <a:pt x="3165" y="1611"/>
                  </a:lnTo>
                  <a:lnTo>
                    <a:pt x="3149" y="1611"/>
                  </a:lnTo>
                  <a:lnTo>
                    <a:pt x="3165" y="1622"/>
                  </a:lnTo>
                  <a:lnTo>
                    <a:pt x="3153" y="1627"/>
                  </a:lnTo>
                  <a:lnTo>
                    <a:pt x="3137" y="1622"/>
                  </a:lnTo>
                  <a:lnTo>
                    <a:pt x="3149" y="1639"/>
                  </a:lnTo>
                  <a:lnTo>
                    <a:pt x="3116" y="1660"/>
                  </a:lnTo>
                  <a:lnTo>
                    <a:pt x="3111" y="1639"/>
                  </a:lnTo>
                  <a:lnTo>
                    <a:pt x="3116" y="1622"/>
                  </a:lnTo>
                  <a:lnTo>
                    <a:pt x="3132" y="1627"/>
                  </a:lnTo>
                  <a:lnTo>
                    <a:pt x="3116" y="1611"/>
                  </a:lnTo>
                  <a:lnTo>
                    <a:pt x="3132" y="1606"/>
                  </a:lnTo>
                  <a:lnTo>
                    <a:pt x="3116" y="1606"/>
                  </a:lnTo>
                  <a:lnTo>
                    <a:pt x="3116" y="1606"/>
                  </a:lnTo>
                  <a:lnTo>
                    <a:pt x="3116" y="1606"/>
                  </a:lnTo>
                  <a:close/>
                  <a:moveTo>
                    <a:pt x="3040" y="1516"/>
                  </a:moveTo>
                  <a:lnTo>
                    <a:pt x="3047" y="1516"/>
                  </a:lnTo>
                  <a:lnTo>
                    <a:pt x="3031" y="1516"/>
                  </a:lnTo>
                  <a:lnTo>
                    <a:pt x="3040" y="1516"/>
                  </a:lnTo>
                  <a:lnTo>
                    <a:pt x="3040" y="1516"/>
                  </a:lnTo>
                  <a:lnTo>
                    <a:pt x="3040" y="1516"/>
                  </a:lnTo>
                  <a:close/>
                  <a:moveTo>
                    <a:pt x="3116" y="1516"/>
                  </a:moveTo>
                  <a:lnTo>
                    <a:pt x="3132" y="1533"/>
                  </a:lnTo>
                  <a:lnTo>
                    <a:pt x="3111" y="1528"/>
                  </a:lnTo>
                  <a:lnTo>
                    <a:pt x="3116" y="1516"/>
                  </a:lnTo>
                  <a:lnTo>
                    <a:pt x="3116" y="1516"/>
                  </a:lnTo>
                  <a:lnTo>
                    <a:pt x="3116" y="1516"/>
                  </a:lnTo>
                  <a:close/>
                  <a:moveTo>
                    <a:pt x="3078" y="1585"/>
                  </a:moveTo>
                  <a:lnTo>
                    <a:pt x="3023" y="1556"/>
                  </a:lnTo>
                  <a:lnTo>
                    <a:pt x="3061" y="1589"/>
                  </a:lnTo>
                  <a:lnTo>
                    <a:pt x="3085" y="1585"/>
                  </a:lnTo>
                  <a:lnTo>
                    <a:pt x="3094" y="1594"/>
                  </a:lnTo>
                  <a:lnTo>
                    <a:pt x="3094" y="1611"/>
                  </a:lnTo>
                  <a:lnTo>
                    <a:pt x="3078" y="1611"/>
                  </a:lnTo>
                  <a:lnTo>
                    <a:pt x="3023" y="1585"/>
                  </a:lnTo>
                  <a:lnTo>
                    <a:pt x="3047" y="1594"/>
                  </a:lnTo>
                  <a:lnTo>
                    <a:pt x="3047" y="1611"/>
                  </a:lnTo>
                  <a:lnTo>
                    <a:pt x="3031" y="1622"/>
                  </a:lnTo>
                  <a:lnTo>
                    <a:pt x="3023" y="1622"/>
                  </a:lnTo>
                  <a:lnTo>
                    <a:pt x="3019" y="1606"/>
                  </a:lnTo>
                  <a:lnTo>
                    <a:pt x="3031" y="1611"/>
                  </a:lnTo>
                  <a:lnTo>
                    <a:pt x="3009" y="1594"/>
                  </a:lnTo>
                  <a:lnTo>
                    <a:pt x="3019" y="1594"/>
                  </a:lnTo>
                  <a:lnTo>
                    <a:pt x="2986" y="1573"/>
                  </a:lnTo>
                  <a:lnTo>
                    <a:pt x="2993" y="1556"/>
                  </a:lnTo>
                  <a:lnTo>
                    <a:pt x="3009" y="1573"/>
                  </a:lnTo>
                  <a:lnTo>
                    <a:pt x="2986" y="1540"/>
                  </a:lnTo>
                  <a:lnTo>
                    <a:pt x="2986" y="1533"/>
                  </a:lnTo>
                  <a:lnTo>
                    <a:pt x="3002" y="1552"/>
                  </a:lnTo>
                  <a:lnTo>
                    <a:pt x="3002" y="1533"/>
                  </a:lnTo>
                  <a:lnTo>
                    <a:pt x="3031" y="1528"/>
                  </a:lnTo>
                  <a:lnTo>
                    <a:pt x="3047" y="1540"/>
                  </a:lnTo>
                  <a:lnTo>
                    <a:pt x="3040" y="1552"/>
                  </a:lnTo>
                  <a:lnTo>
                    <a:pt x="3031" y="1552"/>
                  </a:lnTo>
                  <a:lnTo>
                    <a:pt x="3031" y="1556"/>
                  </a:lnTo>
                  <a:lnTo>
                    <a:pt x="3040" y="1556"/>
                  </a:lnTo>
                  <a:lnTo>
                    <a:pt x="3057" y="1540"/>
                  </a:lnTo>
                  <a:lnTo>
                    <a:pt x="3085" y="1556"/>
                  </a:lnTo>
                  <a:lnTo>
                    <a:pt x="3085" y="1573"/>
                  </a:lnTo>
                  <a:lnTo>
                    <a:pt x="3073" y="1568"/>
                  </a:lnTo>
                  <a:lnTo>
                    <a:pt x="3085" y="1573"/>
                  </a:lnTo>
                  <a:lnTo>
                    <a:pt x="3078" y="1585"/>
                  </a:lnTo>
                  <a:lnTo>
                    <a:pt x="3078" y="1585"/>
                  </a:lnTo>
                  <a:lnTo>
                    <a:pt x="3078" y="1585"/>
                  </a:lnTo>
                  <a:close/>
                  <a:moveTo>
                    <a:pt x="1805" y="1540"/>
                  </a:moveTo>
                  <a:lnTo>
                    <a:pt x="1831" y="1556"/>
                  </a:lnTo>
                  <a:lnTo>
                    <a:pt x="1788" y="1552"/>
                  </a:lnTo>
                  <a:lnTo>
                    <a:pt x="1805" y="1540"/>
                  </a:lnTo>
                  <a:lnTo>
                    <a:pt x="1805" y="1540"/>
                  </a:lnTo>
                  <a:lnTo>
                    <a:pt x="1805" y="1540"/>
                  </a:lnTo>
                  <a:close/>
                  <a:moveTo>
                    <a:pt x="2976" y="1552"/>
                  </a:moveTo>
                  <a:lnTo>
                    <a:pt x="2993" y="1556"/>
                  </a:lnTo>
                  <a:lnTo>
                    <a:pt x="2986" y="1573"/>
                  </a:lnTo>
                  <a:lnTo>
                    <a:pt x="2976" y="1556"/>
                  </a:lnTo>
                  <a:lnTo>
                    <a:pt x="2976" y="1552"/>
                  </a:lnTo>
                  <a:lnTo>
                    <a:pt x="2976" y="1552"/>
                  </a:lnTo>
                  <a:lnTo>
                    <a:pt x="2976" y="1552"/>
                  </a:lnTo>
                  <a:close/>
                  <a:moveTo>
                    <a:pt x="1783" y="1594"/>
                  </a:moveTo>
                  <a:lnTo>
                    <a:pt x="1762" y="1589"/>
                  </a:lnTo>
                  <a:lnTo>
                    <a:pt x="1762" y="1573"/>
                  </a:lnTo>
                  <a:lnTo>
                    <a:pt x="1767" y="1568"/>
                  </a:lnTo>
                  <a:lnTo>
                    <a:pt x="1783" y="1573"/>
                  </a:lnTo>
                  <a:lnTo>
                    <a:pt x="1788" y="1594"/>
                  </a:lnTo>
                  <a:lnTo>
                    <a:pt x="1800" y="1589"/>
                  </a:lnTo>
                  <a:lnTo>
                    <a:pt x="1788" y="1573"/>
                  </a:lnTo>
                  <a:lnTo>
                    <a:pt x="1821" y="1573"/>
                  </a:lnTo>
                  <a:lnTo>
                    <a:pt x="1805" y="1556"/>
                  </a:lnTo>
                  <a:lnTo>
                    <a:pt x="1838" y="1568"/>
                  </a:lnTo>
                  <a:lnTo>
                    <a:pt x="1831" y="1573"/>
                  </a:lnTo>
                  <a:lnTo>
                    <a:pt x="1831" y="1589"/>
                  </a:lnTo>
                  <a:lnTo>
                    <a:pt x="1838" y="1573"/>
                  </a:lnTo>
                  <a:lnTo>
                    <a:pt x="1859" y="1568"/>
                  </a:lnTo>
                  <a:lnTo>
                    <a:pt x="1868" y="1573"/>
                  </a:lnTo>
                  <a:lnTo>
                    <a:pt x="1852" y="1589"/>
                  </a:lnTo>
                  <a:lnTo>
                    <a:pt x="1859" y="1594"/>
                  </a:lnTo>
                  <a:lnTo>
                    <a:pt x="1885" y="1594"/>
                  </a:lnTo>
                  <a:lnTo>
                    <a:pt x="1868" y="1622"/>
                  </a:lnTo>
                  <a:lnTo>
                    <a:pt x="1838" y="1606"/>
                  </a:lnTo>
                  <a:lnTo>
                    <a:pt x="1821" y="1611"/>
                  </a:lnTo>
                  <a:lnTo>
                    <a:pt x="1852" y="1622"/>
                  </a:lnTo>
                  <a:lnTo>
                    <a:pt x="1842" y="1627"/>
                  </a:lnTo>
                  <a:lnTo>
                    <a:pt x="1814" y="1627"/>
                  </a:lnTo>
                  <a:lnTo>
                    <a:pt x="1821" y="1639"/>
                  </a:lnTo>
                  <a:lnTo>
                    <a:pt x="1767" y="1651"/>
                  </a:lnTo>
                  <a:lnTo>
                    <a:pt x="1783" y="1660"/>
                  </a:lnTo>
                  <a:lnTo>
                    <a:pt x="1750" y="1684"/>
                  </a:lnTo>
                  <a:lnTo>
                    <a:pt x="1746" y="1684"/>
                  </a:lnTo>
                  <a:lnTo>
                    <a:pt x="1767" y="1660"/>
                  </a:lnTo>
                  <a:lnTo>
                    <a:pt x="1750" y="1667"/>
                  </a:lnTo>
                  <a:lnTo>
                    <a:pt x="1767" y="1644"/>
                  </a:lnTo>
                  <a:lnTo>
                    <a:pt x="1746" y="1667"/>
                  </a:lnTo>
                  <a:lnTo>
                    <a:pt x="1750" y="1651"/>
                  </a:lnTo>
                  <a:lnTo>
                    <a:pt x="1724" y="1644"/>
                  </a:lnTo>
                  <a:lnTo>
                    <a:pt x="1724" y="1651"/>
                  </a:lnTo>
                  <a:lnTo>
                    <a:pt x="1746" y="1651"/>
                  </a:lnTo>
                  <a:lnTo>
                    <a:pt x="1729" y="1677"/>
                  </a:lnTo>
                  <a:lnTo>
                    <a:pt x="1712" y="1660"/>
                  </a:lnTo>
                  <a:lnTo>
                    <a:pt x="1708" y="1639"/>
                  </a:lnTo>
                  <a:lnTo>
                    <a:pt x="1696" y="1627"/>
                  </a:lnTo>
                  <a:lnTo>
                    <a:pt x="1708" y="1606"/>
                  </a:lnTo>
                  <a:lnTo>
                    <a:pt x="1734" y="1589"/>
                  </a:lnTo>
                  <a:lnTo>
                    <a:pt x="1750" y="1594"/>
                  </a:lnTo>
                  <a:lnTo>
                    <a:pt x="1762" y="1622"/>
                  </a:lnTo>
                  <a:lnTo>
                    <a:pt x="1776" y="1639"/>
                  </a:lnTo>
                  <a:lnTo>
                    <a:pt x="1767" y="1622"/>
                  </a:lnTo>
                  <a:lnTo>
                    <a:pt x="1762" y="1594"/>
                  </a:lnTo>
                  <a:lnTo>
                    <a:pt x="1783" y="1594"/>
                  </a:lnTo>
                  <a:lnTo>
                    <a:pt x="1783" y="1594"/>
                  </a:lnTo>
                  <a:lnTo>
                    <a:pt x="1783" y="1594"/>
                  </a:lnTo>
                  <a:close/>
                  <a:moveTo>
                    <a:pt x="1868" y="1568"/>
                  </a:moveTo>
                  <a:lnTo>
                    <a:pt x="1859" y="1568"/>
                  </a:lnTo>
                  <a:lnTo>
                    <a:pt x="1868" y="1568"/>
                  </a:lnTo>
                  <a:lnTo>
                    <a:pt x="1868" y="1568"/>
                  </a:lnTo>
                  <a:lnTo>
                    <a:pt x="1868" y="1568"/>
                  </a:lnTo>
                  <a:close/>
                  <a:moveTo>
                    <a:pt x="1788" y="1556"/>
                  </a:moveTo>
                  <a:lnTo>
                    <a:pt x="1805" y="1573"/>
                  </a:lnTo>
                  <a:lnTo>
                    <a:pt x="1783" y="1568"/>
                  </a:lnTo>
                  <a:lnTo>
                    <a:pt x="1788" y="1556"/>
                  </a:lnTo>
                  <a:lnTo>
                    <a:pt x="1788" y="1556"/>
                  </a:lnTo>
                  <a:lnTo>
                    <a:pt x="1788" y="1556"/>
                  </a:lnTo>
                  <a:close/>
                  <a:moveTo>
                    <a:pt x="3111" y="1705"/>
                  </a:moveTo>
                  <a:lnTo>
                    <a:pt x="3111" y="1750"/>
                  </a:lnTo>
                  <a:lnTo>
                    <a:pt x="3078" y="1705"/>
                  </a:lnTo>
                  <a:lnTo>
                    <a:pt x="3094" y="1693"/>
                  </a:lnTo>
                  <a:lnTo>
                    <a:pt x="3078" y="1700"/>
                  </a:lnTo>
                  <a:lnTo>
                    <a:pt x="3073" y="1693"/>
                  </a:lnTo>
                  <a:lnTo>
                    <a:pt x="3078" y="1677"/>
                  </a:lnTo>
                  <a:lnTo>
                    <a:pt x="3057" y="1677"/>
                  </a:lnTo>
                  <a:lnTo>
                    <a:pt x="3057" y="1644"/>
                  </a:lnTo>
                  <a:lnTo>
                    <a:pt x="3061" y="1639"/>
                  </a:lnTo>
                  <a:lnTo>
                    <a:pt x="3047" y="1639"/>
                  </a:lnTo>
                  <a:lnTo>
                    <a:pt x="3040" y="1622"/>
                  </a:lnTo>
                  <a:lnTo>
                    <a:pt x="3047" y="1622"/>
                  </a:lnTo>
                  <a:lnTo>
                    <a:pt x="3047" y="1606"/>
                  </a:lnTo>
                  <a:lnTo>
                    <a:pt x="3057" y="1606"/>
                  </a:lnTo>
                  <a:lnTo>
                    <a:pt x="3085" y="1622"/>
                  </a:lnTo>
                  <a:lnTo>
                    <a:pt x="3099" y="1644"/>
                  </a:lnTo>
                  <a:lnTo>
                    <a:pt x="3111" y="1705"/>
                  </a:lnTo>
                  <a:lnTo>
                    <a:pt x="3111" y="1705"/>
                  </a:lnTo>
                  <a:lnTo>
                    <a:pt x="3111" y="1705"/>
                  </a:lnTo>
                  <a:close/>
                  <a:moveTo>
                    <a:pt x="3094" y="1622"/>
                  </a:moveTo>
                  <a:lnTo>
                    <a:pt x="3099" y="1627"/>
                  </a:lnTo>
                  <a:lnTo>
                    <a:pt x="3085" y="1622"/>
                  </a:lnTo>
                  <a:lnTo>
                    <a:pt x="3094" y="1622"/>
                  </a:lnTo>
                  <a:lnTo>
                    <a:pt x="3094" y="1622"/>
                  </a:lnTo>
                  <a:lnTo>
                    <a:pt x="3094" y="1622"/>
                  </a:lnTo>
                  <a:close/>
                  <a:moveTo>
                    <a:pt x="3031" y="1627"/>
                  </a:moveTo>
                  <a:lnTo>
                    <a:pt x="3047" y="1639"/>
                  </a:lnTo>
                  <a:lnTo>
                    <a:pt x="3047" y="1644"/>
                  </a:lnTo>
                  <a:lnTo>
                    <a:pt x="3040" y="1660"/>
                  </a:lnTo>
                  <a:lnTo>
                    <a:pt x="3023" y="1660"/>
                  </a:lnTo>
                  <a:lnTo>
                    <a:pt x="3031" y="1644"/>
                  </a:lnTo>
                  <a:lnTo>
                    <a:pt x="3023" y="1644"/>
                  </a:lnTo>
                  <a:lnTo>
                    <a:pt x="3023" y="1627"/>
                  </a:lnTo>
                  <a:lnTo>
                    <a:pt x="3031" y="1627"/>
                  </a:lnTo>
                  <a:lnTo>
                    <a:pt x="3031" y="1627"/>
                  </a:lnTo>
                  <a:lnTo>
                    <a:pt x="3031" y="1627"/>
                  </a:lnTo>
                  <a:close/>
                  <a:moveTo>
                    <a:pt x="612" y="1651"/>
                  </a:moveTo>
                  <a:lnTo>
                    <a:pt x="600" y="1644"/>
                  </a:lnTo>
                  <a:lnTo>
                    <a:pt x="616" y="1639"/>
                  </a:lnTo>
                  <a:lnTo>
                    <a:pt x="612" y="1651"/>
                  </a:lnTo>
                  <a:lnTo>
                    <a:pt x="612" y="1651"/>
                  </a:lnTo>
                  <a:lnTo>
                    <a:pt x="612" y="1651"/>
                  </a:lnTo>
                  <a:close/>
                  <a:moveTo>
                    <a:pt x="1831" y="1644"/>
                  </a:moveTo>
                  <a:lnTo>
                    <a:pt x="1800" y="1660"/>
                  </a:lnTo>
                  <a:lnTo>
                    <a:pt x="1788" y="1651"/>
                  </a:lnTo>
                  <a:lnTo>
                    <a:pt x="1805" y="1639"/>
                  </a:lnTo>
                  <a:lnTo>
                    <a:pt x="1831" y="1644"/>
                  </a:lnTo>
                  <a:lnTo>
                    <a:pt x="1831" y="1644"/>
                  </a:lnTo>
                  <a:lnTo>
                    <a:pt x="1831" y="1644"/>
                  </a:lnTo>
                  <a:close/>
                  <a:moveTo>
                    <a:pt x="3220" y="1660"/>
                  </a:moveTo>
                  <a:lnTo>
                    <a:pt x="3236" y="1677"/>
                  </a:lnTo>
                  <a:lnTo>
                    <a:pt x="3224" y="1700"/>
                  </a:lnTo>
                  <a:lnTo>
                    <a:pt x="3203" y="1677"/>
                  </a:lnTo>
                  <a:lnTo>
                    <a:pt x="3220" y="1705"/>
                  </a:lnTo>
                  <a:lnTo>
                    <a:pt x="3186" y="1717"/>
                  </a:lnTo>
                  <a:lnTo>
                    <a:pt x="3182" y="1717"/>
                  </a:lnTo>
                  <a:lnTo>
                    <a:pt x="3182" y="1677"/>
                  </a:lnTo>
                  <a:lnTo>
                    <a:pt x="3165" y="1667"/>
                  </a:lnTo>
                  <a:lnTo>
                    <a:pt x="3170" y="1667"/>
                  </a:lnTo>
                  <a:lnTo>
                    <a:pt x="3153" y="1660"/>
                  </a:lnTo>
                  <a:lnTo>
                    <a:pt x="3165" y="1651"/>
                  </a:lnTo>
                  <a:lnTo>
                    <a:pt x="3220" y="1660"/>
                  </a:lnTo>
                  <a:lnTo>
                    <a:pt x="3220" y="1660"/>
                  </a:lnTo>
                  <a:lnTo>
                    <a:pt x="3220" y="1660"/>
                  </a:lnTo>
                  <a:close/>
                  <a:moveTo>
                    <a:pt x="3137" y="1733"/>
                  </a:moveTo>
                  <a:lnTo>
                    <a:pt x="3132" y="1722"/>
                  </a:lnTo>
                  <a:lnTo>
                    <a:pt x="3137" y="1722"/>
                  </a:lnTo>
                  <a:lnTo>
                    <a:pt x="3149" y="1722"/>
                  </a:lnTo>
                  <a:lnTo>
                    <a:pt x="3149" y="1705"/>
                  </a:lnTo>
                  <a:lnTo>
                    <a:pt x="3132" y="1705"/>
                  </a:lnTo>
                  <a:lnTo>
                    <a:pt x="3127" y="1677"/>
                  </a:lnTo>
                  <a:lnTo>
                    <a:pt x="3149" y="1677"/>
                  </a:lnTo>
                  <a:lnTo>
                    <a:pt x="3132" y="1667"/>
                  </a:lnTo>
                  <a:lnTo>
                    <a:pt x="3153" y="1677"/>
                  </a:lnTo>
                  <a:lnTo>
                    <a:pt x="3165" y="1684"/>
                  </a:lnTo>
                  <a:lnTo>
                    <a:pt x="3153" y="1700"/>
                  </a:lnTo>
                  <a:lnTo>
                    <a:pt x="3165" y="1684"/>
                  </a:lnTo>
                  <a:lnTo>
                    <a:pt x="3170" y="1684"/>
                  </a:lnTo>
                  <a:lnTo>
                    <a:pt x="3182" y="1700"/>
                  </a:lnTo>
                  <a:lnTo>
                    <a:pt x="3165" y="1700"/>
                  </a:lnTo>
                  <a:lnTo>
                    <a:pt x="3165" y="1733"/>
                  </a:lnTo>
                  <a:lnTo>
                    <a:pt x="3153" y="1722"/>
                  </a:lnTo>
                  <a:lnTo>
                    <a:pt x="3153" y="1738"/>
                  </a:lnTo>
                  <a:lnTo>
                    <a:pt x="3165" y="1738"/>
                  </a:lnTo>
                  <a:lnTo>
                    <a:pt x="3153" y="1755"/>
                  </a:lnTo>
                  <a:lnTo>
                    <a:pt x="3149" y="1755"/>
                  </a:lnTo>
                  <a:lnTo>
                    <a:pt x="3149" y="1733"/>
                  </a:lnTo>
                  <a:lnTo>
                    <a:pt x="3149" y="1762"/>
                  </a:lnTo>
                  <a:lnTo>
                    <a:pt x="3137" y="1762"/>
                  </a:lnTo>
                  <a:lnTo>
                    <a:pt x="3137" y="1733"/>
                  </a:lnTo>
                  <a:lnTo>
                    <a:pt x="3137" y="1733"/>
                  </a:lnTo>
                  <a:lnTo>
                    <a:pt x="3137" y="1733"/>
                  </a:lnTo>
                  <a:close/>
                  <a:moveTo>
                    <a:pt x="3241" y="1684"/>
                  </a:moveTo>
                  <a:lnTo>
                    <a:pt x="3257" y="1705"/>
                  </a:lnTo>
                  <a:lnTo>
                    <a:pt x="3224" y="1705"/>
                  </a:lnTo>
                  <a:lnTo>
                    <a:pt x="3236" y="1684"/>
                  </a:lnTo>
                  <a:lnTo>
                    <a:pt x="3241" y="1684"/>
                  </a:lnTo>
                  <a:lnTo>
                    <a:pt x="3241" y="1684"/>
                  </a:lnTo>
                  <a:lnTo>
                    <a:pt x="3241" y="1684"/>
                  </a:lnTo>
                  <a:close/>
                  <a:moveTo>
                    <a:pt x="654" y="1705"/>
                  </a:moveTo>
                  <a:lnTo>
                    <a:pt x="638" y="1700"/>
                  </a:lnTo>
                  <a:lnTo>
                    <a:pt x="664" y="1700"/>
                  </a:lnTo>
                  <a:lnTo>
                    <a:pt x="654" y="1705"/>
                  </a:lnTo>
                  <a:lnTo>
                    <a:pt x="654" y="1705"/>
                  </a:lnTo>
                  <a:lnTo>
                    <a:pt x="654" y="1705"/>
                  </a:lnTo>
                  <a:close/>
                  <a:moveTo>
                    <a:pt x="1746" y="1700"/>
                  </a:moveTo>
                  <a:lnTo>
                    <a:pt x="1734" y="1717"/>
                  </a:lnTo>
                  <a:lnTo>
                    <a:pt x="1729" y="1705"/>
                  </a:lnTo>
                  <a:lnTo>
                    <a:pt x="1746" y="1700"/>
                  </a:lnTo>
                  <a:lnTo>
                    <a:pt x="1746" y="1700"/>
                  </a:lnTo>
                  <a:lnTo>
                    <a:pt x="1746" y="1700"/>
                  </a:lnTo>
                  <a:close/>
                  <a:moveTo>
                    <a:pt x="1724" y="1700"/>
                  </a:moveTo>
                  <a:lnTo>
                    <a:pt x="1696" y="1722"/>
                  </a:lnTo>
                  <a:lnTo>
                    <a:pt x="1696" y="1705"/>
                  </a:lnTo>
                  <a:lnTo>
                    <a:pt x="1724" y="1700"/>
                  </a:lnTo>
                  <a:lnTo>
                    <a:pt x="1724" y="1700"/>
                  </a:lnTo>
                  <a:lnTo>
                    <a:pt x="1724" y="1700"/>
                  </a:lnTo>
                  <a:close/>
                  <a:moveTo>
                    <a:pt x="1528" y="1700"/>
                  </a:moveTo>
                  <a:lnTo>
                    <a:pt x="1545" y="1705"/>
                  </a:lnTo>
                  <a:lnTo>
                    <a:pt x="1519" y="1705"/>
                  </a:lnTo>
                  <a:lnTo>
                    <a:pt x="1528" y="1700"/>
                  </a:lnTo>
                  <a:lnTo>
                    <a:pt x="1528" y="1700"/>
                  </a:lnTo>
                  <a:lnTo>
                    <a:pt x="1528" y="1700"/>
                  </a:lnTo>
                  <a:close/>
                  <a:moveTo>
                    <a:pt x="3288" y="1755"/>
                  </a:moveTo>
                  <a:lnTo>
                    <a:pt x="3274" y="1733"/>
                  </a:lnTo>
                  <a:lnTo>
                    <a:pt x="3274" y="1717"/>
                  </a:lnTo>
                  <a:lnTo>
                    <a:pt x="3295" y="1733"/>
                  </a:lnTo>
                  <a:lnTo>
                    <a:pt x="3295" y="1738"/>
                  </a:lnTo>
                  <a:lnTo>
                    <a:pt x="3288" y="1755"/>
                  </a:lnTo>
                  <a:lnTo>
                    <a:pt x="3288" y="1755"/>
                  </a:lnTo>
                  <a:lnTo>
                    <a:pt x="3288" y="1755"/>
                  </a:lnTo>
                  <a:close/>
                  <a:moveTo>
                    <a:pt x="3236" y="1738"/>
                  </a:moveTo>
                  <a:lnTo>
                    <a:pt x="3220" y="1733"/>
                  </a:lnTo>
                  <a:lnTo>
                    <a:pt x="3236" y="1717"/>
                  </a:lnTo>
                  <a:lnTo>
                    <a:pt x="3246" y="1717"/>
                  </a:lnTo>
                  <a:lnTo>
                    <a:pt x="3246" y="1733"/>
                  </a:lnTo>
                  <a:lnTo>
                    <a:pt x="3236" y="1738"/>
                  </a:lnTo>
                  <a:lnTo>
                    <a:pt x="3236" y="1738"/>
                  </a:lnTo>
                  <a:lnTo>
                    <a:pt x="3236" y="1738"/>
                  </a:lnTo>
                  <a:close/>
                  <a:moveTo>
                    <a:pt x="3262" y="1717"/>
                  </a:moveTo>
                  <a:lnTo>
                    <a:pt x="3262" y="1722"/>
                  </a:lnTo>
                  <a:lnTo>
                    <a:pt x="3257" y="1722"/>
                  </a:lnTo>
                  <a:lnTo>
                    <a:pt x="3262" y="1717"/>
                  </a:lnTo>
                  <a:lnTo>
                    <a:pt x="3262" y="1717"/>
                  </a:lnTo>
                  <a:lnTo>
                    <a:pt x="3262" y="1717"/>
                  </a:lnTo>
                  <a:close/>
                  <a:moveTo>
                    <a:pt x="3274" y="1771"/>
                  </a:moveTo>
                  <a:lnTo>
                    <a:pt x="3262" y="1755"/>
                  </a:lnTo>
                  <a:lnTo>
                    <a:pt x="3246" y="1755"/>
                  </a:lnTo>
                  <a:lnTo>
                    <a:pt x="3246" y="1738"/>
                  </a:lnTo>
                  <a:lnTo>
                    <a:pt x="3262" y="1722"/>
                  </a:lnTo>
                  <a:lnTo>
                    <a:pt x="3262" y="1738"/>
                  </a:lnTo>
                  <a:lnTo>
                    <a:pt x="3288" y="1755"/>
                  </a:lnTo>
                  <a:lnTo>
                    <a:pt x="3288" y="1771"/>
                  </a:lnTo>
                  <a:lnTo>
                    <a:pt x="3274" y="1771"/>
                  </a:lnTo>
                  <a:lnTo>
                    <a:pt x="3274" y="1771"/>
                  </a:lnTo>
                  <a:lnTo>
                    <a:pt x="3274" y="1771"/>
                  </a:lnTo>
                  <a:close/>
                  <a:moveTo>
                    <a:pt x="3288" y="1816"/>
                  </a:moveTo>
                  <a:lnTo>
                    <a:pt x="3257" y="1804"/>
                  </a:lnTo>
                  <a:lnTo>
                    <a:pt x="3257" y="1811"/>
                  </a:lnTo>
                  <a:lnTo>
                    <a:pt x="3279" y="1816"/>
                  </a:lnTo>
                  <a:lnTo>
                    <a:pt x="3288" y="1833"/>
                  </a:lnTo>
                  <a:lnTo>
                    <a:pt x="3279" y="1844"/>
                  </a:lnTo>
                  <a:lnTo>
                    <a:pt x="3295" y="1833"/>
                  </a:lnTo>
                  <a:lnTo>
                    <a:pt x="3295" y="1849"/>
                  </a:lnTo>
                  <a:lnTo>
                    <a:pt x="3279" y="1866"/>
                  </a:lnTo>
                  <a:lnTo>
                    <a:pt x="3295" y="1861"/>
                  </a:lnTo>
                  <a:lnTo>
                    <a:pt x="3295" y="1899"/>
                  </a:lnTo>
                  <a:lnTo>
                    <a:pt x="3274" y="1889"/>
                  </a:lnTo>
                  <a:lnTo>
                    <a:pt x="3279" y="1882"/>
                  </a:lnTo>
                  <a:lnTo>
                    <a:pt x="3262" y="1866"/>
                  </a:lnTo>
                  <a:lnTo>
                    <a:pt x="3257" y="1866"/>
                  </a:lnTo>
                  <a:lnTo>
                    <a:pt x="3257" y="1849"/>
                  </a:lnTo>
                  <a:lnTo>
                    <a:pt x="3246" y="1833"/>
                  </a:lnTo>
                  <a:lnTo>
                    <a:pt x="3246" y="1849"/>
                  </a:lnTo>
                  <a:lnTo>
                    <a:pt x="3241" y="1844"/>
                  </a:lnTo>
                  <a:lnTo>
                    <a:pt x="3224" y="1844"/>
                  </a:lnTo>
                  <a:lnTo>
                    <a:pt x="3236" y="1833"/>
                  </a:lnTo>
                  <a:lnTo>
                    <a:pt x="3208" y="1833"/>
                  </a:lnTo>
                  <a:lnTo>
                    <a:pt x="3208" y="1828"/>
                  </a:lnTo>
                  <a:lnTo>
                    <a:pt x="3236" y="1828"/>
                  </a:lnTo>
                  <a:lnTo>
                    <a:pt x="3220" y="1811"/>
                  </a:lnTo>
                  <a:lnTo>
                    <a:pt x="3236" y="1804"/>
                  </a:lnTo>
                  <a:lnTo>
                    <a:pt x="3203" y="1804"/>
                  </a:lnTo>
                  <a:lnTo>
                    <a:pt x="3203" y="1788"/>
                  </a:lnTo>
                  <a:lnTo>
                    <a:pt x="3208" y="1788"/>
                  </a:lnTo>
                  <a:lnTo>
                    <a:pt x="3220" y="1771"/>
                  </a:lnTo>
                  <a:lnTo>
                    <a:pt x="3208" y="1771"/>
                  </a:lnTo>
                  <a:lnTo>
                    <a:pt x="3208" y="1750"/>
                  </a:lnTo>
                  <a:lnTo>
                    <a:pt x="3182" y="1738"/>
                  </a:lnTo>
                  <a:lnTo>
                    <a:pt x="3182" y="1733"/>
                  </a:lnTo>
                  <a:lnTo>
                    <a:pt x="3208" y="1733"/>
                  </a:lnTo>
                  <a:lnTo>
                    <a:pt x="3224" y="1750"/>
                  </a:lnTo>
                  <a:lnTo>
                    <a:pt x="3220" y="1750"/>
                  </a:lnTo>
                  <a:lnTo>
                    <a:pt x="3220" y="1755"/>
                  </a:lnTo>
                  <a:lnTo>
                    <a:pt x="3246" y="1771"/>
                  </a:lnTo>
                  <a:lnTo>
                    <a:pt x="3288" y="1816"/>
                  </a:lnTo>
                  <a:lnTo>
                    <a:pt x="3288" y="1816"/>
                  </a:lnTo>
                  <a:lnTo>
                    <a:pt x="3288" y="1816"/>
                  </a:lnTo>
                  <a:close/>
                  <a:moveTo>
                    <a:pt x="3203" y="1750"/>
                  </a:moveTo>
                  <a:lnTo>
                    <a:pt x="3203" y="1762"/>
                  </a:lnTo>
                  <a:lnTo>
                    <a:pt x="3170" y="1771"/>
                  </a:lnTo>
                  <a:lnTo>
                    <a:pt x="3186" y="1750"/>
                  </a:lnTo>
                  <a:lnTo>
                    <a:pt x="3203" y="1750"/>
                  </a:lnTo>
                  <a:lnTo>
                    <a:pt x="3203" y="1750"/>
                  </a:lnTo>
                  <a:lnTo>
                    <a:pt x="3203" y="1750"/>
                  </a:lnTo>
                  <a:close/>
                  <a:moveTo>
                    <a:pt x="3342" y="1833"/>
                  </a:moveTo>
                  <a:lnTo>
                    <a:pt x="3333" y="1833"/>
                  </a:lnTo>
                  <a:lnTo>
                    <a:pt x="3349" y="1816"/>
                  </a:lnTo>
                  <a:lnTo>
                    <a:pt x="3342" y="1804"/>
                  </a:lnTo>
                  <a:lnTo>
                    <a:pt x="3342" y="1816"/>
                  </a:lnTo>
                  <a:lnTo>
                    <a:pt x="3333" y="1833"/>
                  </a:lnTo>
                  <a:lnTo>
                    <a:pt x="3333" y="1811"/>
                  </a:lnTo>
                  <a:lnTo>
                    <a:pt x="3326" y="1833"/>
                  </a:lnTo>
                  <a:lnTo>
                    <a:pt x="3312" y="1816"/>
                  </a:lnTo>
                  <a:lnTo>
                    <a:pt x="3316" y="1811"/>
                  </a:lnTo>
                  <a:lnTo>
                    <a:pt x="3316" y="1788"/>
                  </a:lnTo>
                  <a:lnTo>
                    <a:pt x="3316" y="1778"/>
                  </a:lnTo>
                  <a:lnTo>
                    <a:pt x="3349" y="1762"/>
                  </a:lnTo>
                  <a:lnTo>
                    <a:pt x="3371" y="1804"/>
                  </a:lnTo>
                  <a:lnTo>
                    <a:pt x="3364" y="1828"/>
                  </a:lnTo>
                  <a:lnTo>
                    <a:pt x="3354" y="1844"/>
                  </a:lnTo>
                  <a:lnTo>
                    <a:pt x="3349" y="1844"/>
                  </a:lnTo>
                  <a:lnTo>
                    <a:pt x="3349" y="1828"/>
                  </a:lnTo>
                  <a:lnTo>
                    <a:pt x="3342" y="1833"/>
                  </a:lnTo>
                  <a:lnTo>
                    <a:pt x="3342" y="1833"/>
                  </a:lnTo>
                  <a:lnTo>
                    <a:pt x="3342" y="1833"/>
                  </a:lnTo>
                  <a:close/>
                  <a:moveTo>
                    <a:pt x="3165" y="1771"/>
                  </a:moveTo>
                  <a:lnTo>
                    <a:pt x="3165" y="1778"/>
                  </a:lnTo>
                  <a:lnTo>
                    <a:pt x="3153" y="1778"/>
                  </a:lnTo>
                  <a:lnTo>
                    <a:pt x="3165" y="1771"/>
                  </a:lnTo>
                  <a:lnTo>
                    <a:pt x="3165" y="1771"/>
                  </a:lnTo>
                  <a:lnTo>
                    <a:pt x="3165" y="1771"/>
                  </a:lnTo>
                  <a:close/>
                  <a:moveTo>
                    <a:pt x="3149" y="1771"/>
                  </a:moveTo>
                  <a:lnTo>
                    <a:pt x="3132" y="1778"/>
                  </a:lnTo>
                  <a:lnTo>
                    <a:pt x="3132" y="1771"/>
                  </a:lnTo>
                  <a:lnTo>
                    <a:pt x="3149" y="1771"/>
                  </a:lnTo>
                  <a:lnTo>
                    <a:pt x="3149" y="1771"/>
                  </a:lnTo>
                  <a:lnTo>
                    <a:pt x="3149" y="1771"/>
                  </a:lnTo>
                  <a:close/>
                  <a:moveTo>
                    <a:pt x="1642" y="1771"/>
                  </a:moveTo>
                  <a:lnTo>
                    <a:pt x="1642" y="1788"/>
                  </a:lnTo>
                  <a:lnTo>
                    <a:pt x="1625" y="1788"/>
                  </a:lnTo>
                  <a:lnTo>
                    <a:pt x="1642" y="1771"/>
                  </a:lnTo>
                  <a:lnTo>
                    <a:pt x="1642" y="1771"/>
                  </a:lnTo>
                  <a:lnTo>
                    <a:pt x="1642" y="1771"/>
                  </a:lnTo>
                  <a:close/>
                  <a:moveTo>
                    <a:pt x="3208" y="1778"/>
                  </a:moveTo>
                  <a:lnTo>
                    <a:pt x="3208" y="1788"/>
                  </a:lnTo>
                  <a:lnTo>
                    <a:pt x="3203" y="1778"/>
                  </a:lnTo>
                  <a:lnTo>
                    <a:pt x="3208" y="1778"/>
                  </a:lnTo>
                  <a:lnTo>
                    <a:pt x="3208" y="1778"/>
                  </a:lnTo>
                  <a:lnTo>
                    <a:pt x="3208" y="1778"/>
                  </a:lnTo>
                  <a:close/>
                  <a:moveTo>
                    <a:pt x="1410" y="1771"/>
                  </a:moveTo>
                  <a:lnTo>
                    <a:pt x="1420" y="1778"/>
                  </a:lnTo>
                  <a:lnTo>
                    <a:pt x="1405" y="1778"/>
                  </a:lnTo>
                  <a:lnTo>
                    <a:pt x="1410" y="1771"/>
                  </a:lnTo>
                  <a:lnTo>
                    <a:pt x="1410" y="1771"/>
                  </a:lnTo>
                  <a:lnTo>
                    <a:pt x="1410" y="1771"/>
                  </a:lnTo>
                  <a:close/>
                  <a:moveTo>
                    <a:pt x="3203" y="1788"/>
                  </a:moveTo>
                  <a:lnTo>
                    <a:pt x="3186" y="1795"/>
                  </a:lnTo>
                  <a:lnTo>
                    <a:pt x="3182" y="1788"/>
                  </a:lnTo>
                  <a:lnTo>
                    <a:pt x="3203" y="1788"/>
                  </a:lnTo>
                  <a:lnTo>
                    <a:pt x="3203" y="1788"/>
                  </a:lnTo>
                  <a:lnTo>
                    <a:pt x="3203" y="1788"/>
                  </a:lnTo>
                  <a:close/>
                  <a:moveTo>
                    <a:pt x="3203" y="1811"/>
                  </a:moveTo>
                  <a:lnTo>
                    <a:pt x="3203" y="1816"/>
                  </a:lnTo>
                  <a:lnTo>
                    <a:pt x="3191" y="1811"/>
                  </a:lnTo>
                  <a:lnTo>
                    <a:pt x="3203" y="1811"/>
                  </a:lnTo>
                  <a:lnTo>
                    <a:pt x="3203" y="1811"/>
                  </a:lnTo>
                  <a:lnTo>
                    <a:pt x="3203" y="1811"/>
                  </a:lnTo>
                  <a:close/>
                  <a:moveTo>
                    <a:pt x="3182" y="1816"/>
                  </a:moveTo>
                  <a:lnTo>
                    <a:pt x="3170" y="1816"/>
                  </a:lnTo>
                  <a:lnTo>
                    <a:pt x="3170" y="1811"/>
                  </a:lnTo>
                  <a:lnTo>
                    <a:pt x="3186" y="1811"/>
                  </a:lnTo>
                  <a:lnTo>
                    <a:pt x="3182" y="1816"/>
                  </a:lnTo>
                  <a:lnTo>
                    <a:pt x="3182" y="1816"/>
                  </a:lnTo>
                  <a:lnTo>
                    <a:pt x="3182" y="1816"/>
                  </a:lnTo>
                  <a:close/>
                  <a:moveTo>
                    <a:pt x="3191" y="1811"/>
                  </a:moveTo>
                  <a:lnTo>
                    <a:pt x="3191" y="1816"/>
                  </a:lnTo>
                  <a:lnTo>
                    <a:pt x="3182" y="1816"/>
                  </a:lnTo>
                  <a:lnTo>
                    <a:pt x="3191" y="1811"/>
                  </a:lnTo>
                  <a:lnTo>
                    <a:pt x="3191" y="1811"/>
                  </a:lnTo>
                  <a:lnTo>
                    <a:pt x="3191" y="1811"/>
                  </a:lnTo>
                  <a:close/>
                  <a:moveTo>
                    <a:pt x="3312" y="1816"/>
                  </a:moveTo>
                  <a:lnTo>
                    <a:pt x="3316" y="1833"/>
                  </a:lnTo>
                  <a:lnTo>
                    <a:pt x="3312" y="1849"/>
                  </a:lnTo>
                  <a:lnTo>
                    <a:pt x="3312" y="1844"/>
                  </a:lnTo>
                  <a:lnTo>
                    <a:pt x="3312" y="1816"/>
                  </a:lnTo>
                  <a:lnTo>
                    <a:pt x="3312" y="1816"/>
                  </a:lnTo>
                  <a:lnTo>
                    <a:pt x="3312" y="1816"/>
                  </a:lnTo>
                  <a:close/>
                  <a:moveTo>
                    <a:pt x="3191" y="1828"/>
                  </a:moveTo>
                  <a:lnTo>
                    <a:pt x="3182" y="1844"/>
                  </a:lnTo>
                  <a:lnTo>
                    <a:pt x="3182" y="1833"/>
                  </a:lnTo>
                  <a:lnTo>
                    <a:pt x="3186" y="1816"/>
                  </a:lnTo>
                  <a:lnTo>
                    <a:pt x="3191" y="1828"/>
                  </a:lnTo>
                  <a:lnTo>
                    <a:pt x="3191" y="1828"/>
                  </a:lnTo>
                  <a:lnTo>
                    <a:pt x="3191" y="1828"/>
                  </a:lnTo>
                  <a:close/>
                  <a:moveTo>
                    <a:pt x="1280" y="1828"/>
                  </a:moveTo>
                  <a:lnTo>
                    <a:pt x="1285" y="1828"/>
                  </a:lnTo>
                  <a:lnTo>
                    <a:pt x="1285" y="1844"/>
                  </a:lnTo>
                  <a:lnTo>
                    <a:pt x="1297" y="1844"/>
                  </a:lnTo>
                  <a:lnTo>
                    <a:pt x="1275" y="1849"/>
                  </a:lnTo>
                  <a:lnTo>
                    <a:pt x="1275" y="1833"/>
                  </a:lnTo>
                  <a:lnTo>
                    <a:pt x="1280" y="1828"/>
                  </a:lnTo>
                  <a:lnTo>
                    <a:pt x="1280" y="1828"/>
                  </a:lnTo>
                  <a:lnTo>
                    <a:pt x="1280" y="1828"/>
                  </a:lnTo>
                  <a:close/>
                  <a:moveTo>
                    <a:pt x="1301" y="1828"/>
                  </a:moveTo>
                  <a:lnTo>
                    <a:pt x="1301" y="1844"/>
                  </a:lnTo>
                  <a:lnTo>
                    <a:pt x="1297" y="1833"/>
                  </a:lnTo>
                  <a:lnTo>
                    <a:pt x="1301" y="1828"/>
                  </a:lnTo>
                  <a:lnTo>
                    <a:pt x="1301" y="1828"/>
                  </a:lnTo>
                  <a:lnTo>
                    <a:pt x="1301" y="1828"/>
                  </a:lnTo>
                  <a:close/>
                  <a:moveTo>
                    <a:pt x="3203" y="1833"/>
                  </a:moveTo>
                  <a:lnTo>
                    <a:pt x="3208" y="1844"/>
                  </a:lnTo>
                  <a:lnTo>
                    <a:pt x="3191" y="1844"/>
                  </a:lnTo>
                  <a:lnTo>
                    <a:pt x="3191" y="1833"/>
                  </a:lnTo>
                  <a:lnTo>
                    <a:pt x="3203" y="1833"/>
                  </a:lnTo>
                  <a:lnTo>
                    <a:pt x="3203" y="1833"/>
                  </a:lnTo>
                  <a:lnTo>
                    <a:pt x="3203" y="1833"/>
                  </a:lnTo>
                  <a:close/>
                  <a:moveTo>
                    <a:pt x="1339" y="1833"/>
                  </a:moveTo>
                  <a:lnTo>
                    <a:pt x="1339" y="1849"/>
                  </a:lnTo>
                  <a:lnTo>
                    <a:pt x="1313" y="1873"/>
                  </a:lnTo>
                  <a:lnTo>
                    <a:pt x="1318" y="1861"/>
                  </a:lnTo>
                  <a:lnTo>
                    <a:pt x="1318" y="1849"/>
                  </a:lnTo>
                  <a:lnTo>
                    <a:pt x="1330" y="1849"/>
                  </a:lnTo>
                  <a:lnTo>
                    <a:pt x="1339" y="1833"/>
                  </a:lnTo>
                  <a:lnTo>
                    <a:pt x="1339" y="1833"/>
                  </a:lnTo>
                  <a:lnTo>
                    <a:pt x="1339" y="1833"/>
                  </a:lnTo>
                  <a:close/>
                  <a:moveTo>
                    <a:pt x="3333" y="1844"/>
                  </a:moveTo>
                  <a:lnTo>
                    <a:pt x="3342" y="1844"/>
                  </a:lnTo>
                  <a:lnTo>
                    <a:pt x="3342" y="1861"/>
                  </a:lnTo>
                  <a:lnTo>
                    <a:pt x="3326" y="1866"/>
                  </a:lnTo>
                  <a:lnTo>
                    <a:pt x="3326" y="1833"/>
                  </a:lnTo>
                  <a:lnTo>
                    <a:pt x="3333" y="1844"/>
                  </a:lnTo>
                  <a:lnTo>
                    <a:pt x="3333" y="1844"/>
                  </a:lnTo>
                  <a:lnTo>
                    <a:pt x="3333" y="1844"/>
                  </a:lnTo>
                  <a:close/>
                  <a:moveTo>
                    <a:pt x="3220" y="1844"/>
                  </a:moveTo>
                  <a:lnTo>
                    <a:pt x="3246" y="1899"/>
                  </a:lnTo>
                  <a:lnTo>
                    <a:pt x="3236" y="1899"/>
                  </a:lnTo>
                  <a:lnTo>
                    <a:pt x="3220" y="1866"/>
                  </a:lnTo>
                  <a:lnTo>
                    <a:pt x="3208" y="1861"/>
                  </a:lnTo>
                  <a:lnTo>
                    <a:pt x="3208" y="1844"/>
                  </a:lnTo>
                  <a:lnTo>
                    <a:pt x="3220" y="1844"/>
                  </a:lnTo>
                  <a:lnTo>
                    <a:pt x="3220" y="1844"/>
                  </a:lnTo>
                  <a:lnTo>
                    <a:pt x="3220" y="1844"/>
                  </a:lnTo>
                  <a:close/>
                  <a:moveTo>
                    <a:pt x="1368" y="1844"/>
                  </a:moveTo>
                  <a:lnTo>
                    <a:pt x="1368" y="1861"/>
                  </a:lnTo>
                  <a:lnTo>
                    <a:pt x="1356" y="1861"/>
                  </a:lnTo>
                  <a:lnTo>
                    <a:pt x="1368" y="1844"/>
                  </a:lnTo>
                  <a:lnTo>
                    <a:pt x="1368" y="1844"/>
                  </a:lnTo>
                  <a:lnTo>
                    <a:pt x="1368" y="1844"/>
                  </a:lnTo>
                  <a:close/>
                  <a:moveTo>
                    <a:pt x="3241" y="1844"/>
                  </a:moveTo>
                  <a:lnTo>
                    <a:pt x="3246" y="1861"/>
                  </a:lnTo>
                  <a:lnTo>
                    <a:pt x="3236" y="1861"/>
                  </a:lnTo>
                  <a:lnTo>
                    <a:pt x="3241" y="1844"/>
                  </a:lnTo>
                  <a:lnTo>
                    <a:pt x="3241" y="1844"/>
                  </a:lnTo>
                  <a:lnTo>
                    <a:pt x="3241" y="1844"/>
                  </a:lnTo>
                  <a:close/>
                  <a:moveTo>
                    <a:pt x="1209" y="1849"/>
                  </a:moveTo>
                  <a:lnTo>
                    <a:pt x="1221" y="1849"/>
                  </a:lnTo>
                  <a:lnTo>
                    <a:pt x="1205" y="1861"/>
                  </a:lnTo>
                  <a:lnTo>
                    <a:pt x="1193" y="1849"/>
                  </a:lnTo>
                  <a:lnTo>
                    <a:pt x="1209" y="1849"/>
                  </a:lnTo>
                  <a:lnTo>
                    <a:pt x="1209" y="1849"/>
                  </a:lnTo>
                  <a:lnTo>
                    <a:pt x="1209" y="1849"/>
                  </a:lnTo>
                  <a:close/>
                  <a:moveTo>
                    <a:pt x="1032" y="1906"/>
                  </a:moveTo>
                  <a:lnTo>
                    <a:pt x="1027" y="1922"/>
                  </a:lnTo>
                  <a:lnTo>
                    <a:pt x="1004" y="1922"/>
                  </a:lnTo>
                  <a:lnTo>
                    <a:pt x="990" y="1922"/>
                  </a:lnTo>
                  <a:lnTo>
                    <a:pt x="978" y="1906"/>
                  </a:lnTo>
                  <a:lnTo>
                    <a:pt x="1004" y="1899"/>
                  </a:lnTo>
                  <a:lnTo>
                    <a:pt x="1016" y="1873"/>
                  </a:lnTo>
                  <a:lnTo>
                    <a:pt x="1032" y="1873"/>
                  </a:lnTo>
                  <a:lnTo>
                    <a:pt x="1065" y="1861"/>
                  </a:lnTo>
                  <a:lnTo>
                    <a:pt x="1079" y="1861"/>
                  </a:lnTo>
                  <a:lnTo>
                    <a:pt x="1096" y="1882"/>
                  </a:lnTo>
                  <a:lnTo>
                    <a:pt x="1112" y="1889"/>
                  </a:lnTo>
                  <a:lnTo>
                    <a:pt x="1117" y="1899"/>
                  </a:lnTo>
                  <a:lnTo>
                    <a:pt x="1096" y="1889"/>
                  </a:lnTo>
                  <a:lnTo>
                    <a:pt x="1079" y="1906"/>
                  </a:lnTo>
                  <a:lnTo>
                    <a:pt x="1032" y="1906"/>
                  </a:lnTo>
                  <a:lnTo>
                    <a:pt x="1032" y="1906"/>
                  </a:lnTo>
                  <a:lnTo>
                    <a:pt x="1032" y="1906"/>
                  </a:lnTo>
                  <a:close/>
                  <a:moveTo>
                    <a:pt x="1372" y="1861"/>
                  </a:moveTo>
                  <a:lnTo>
                    <a:pt x="1372" y="1866"/>
                  </a:lnTo>
                  <a:lnTo>
                    <a:pt x="1368" y="1866"/>
                  </a:lnTo>
                  <a:lnTo>
                    <a:pt x="1368" y="1861"/>
                  </a:lnTo>
                  <a:lnTo>
                    <a:pt x="1372" y="1861"/>
                  </a:lnTo>
                  <a:lnTo>
                    <a:pt x="1372" y="1861"/>
                  </a:lnTo>
                  <a:lnTo>
                    <a:pt x="1372" y="1861"/>
                  </a:lnTo>
                  <a:close/>
                  <a:moveTo>
                    <a:pt x="3349" y="1866"/>
                  </a:moveTo>
                  <a:lnTo>
                    <a:pt x="3349" y="1873"/>
                  </a:lnTo>
                  <a:lnTo>
                    <a:pt x="3333" y="1873"/>
                  </a:lnTo>
                  <a:lnTo>
                    <a:pt x="3349" y="1866"/>
                  </a:lnTo>
                  <a:lnTo>
                    <a:pt x="3349" y="1866"/>
                  </a:lnTo>
                  <a:lnTo>
                    <a:pt x="3349" y="1866"/>
                  </a:lnTo>
                  <a:close/>
                  <a:moveTo>
                    <a:pt x="1172" y="1866"/>
                  </a:moveTo>
                  <a:lnTo>
                    <a:pt x="1167" y="1882"/>
                  </a:lnTo>
                  <a:lnTo>
                    <a:pt x="1155" y="1873"/>
                  </a:lnTo>
                  <a:lnTo>
                    <a:pt x="1172" y="1866"/>
                  </a:lnTo>
                  <a:lnTo>
                    <a:pt x="1172" y="1866"/>
                  </a:lnTo>
                  <a:lnTo>
                    <a:pt x="1172" y="1866"/>
                  </a:lnTo>
                  <a:close/>
                  <a:moveTo>
                    <a:pt x="1382" y="1866"/>
                  </a:moveTo>
                  <a:lnTo>
                    <a:pt x="1389" y="1873"/>
                  </a:lnTo>
                  <a:lnTo>
                    <a:pt x="1382" y="1873"/>
                  </a:lnTo>
                  <a:lnTo>
                    <a:pt x="1382" y="1866"/>
                  </a:lnTo>
                  <a:lnTo>
                    <a:pt x="1382" y="1866"/>
                  </a:lnTo>
                  <a:lnTo>
                    <a:pt x="1382" y="1866"/>
                  </a:lnTo>
                  <a:close/>
                  <a:moveTo>
                    <a:pt x="3246" y="1873"/>
                  </a:moveTo>
                  <a:lnTo>
                    <a:pt x="3246" y="1889"/>
                  </a:lnTo>
                  <a:lnTo>
                    <a:pt x="3241" y="1873"/>
                  </a:lnTo>
                  <a:lnTo>
                    <a:pt x="3246" y="1873"/>
                  </a:lnTo>
                  <a:lnTo>
                    <a:pt x="3246" y="1873"/>
                  </a:lnTo>
                  <a:lnTo>
                    <a:pt x="3246" y="1873"/>
                  </a:lnTo>
                  <a:close/>
                  <a:moveTo>
                    <a:pt x="1134" y="1915"/>
                  </a:moveTo>
                  <a:lnTo>
                    <a:pt x="1150" y="1927"/>
                  </a:lnTo>
                  <a:lnTo>
                    <a:pt x="1134" y="1922"/>
                  </a:lnTo>
                  <a:lnTo>
                    <a:pt x="1134" y="1915"/>
                  </a:lnTo>
                  <a:lnTo>
                    <a:pt x="1134" y="1915"/>
                  </a:lnTo>
                  <a:lnTo>
                    <a:pt x="1134" y="1915"/>
                  </a:lnTo>
                  <a:close/>
                  <a:moveTo>
                    <a:pt x="940" y="1955"/>
                  </a:moveTo>
                  <a:lnTo>
                    <a:pt x="935" y="1939"/>
                  </a:lnTo>
                  <a:lnTo>
                    <a:pt x="952" y="1939"/>
                  </a:lnTo>
                  <a:lnTo>
                    <a:pt x="940" y="1955"/>
                  </a:lnTo>
                  <a:lnTo>
                    <a:pt x="940" y="1955"/>
                  </a:lnTo>
                  <a:lnTo>
                    <a:pt x="940" y="1955"/>
                  </a:lnTo>
                  <a:close/>
                  <a:moveTo>
                    <a:pt x="919" y="1960"/>
                  </a:moveTo>
                  <a:lnTo>
                    <a:pt x="902" y="1955"/>
                  </a:lnTo>
                  <a:lnTo>
                    <a:pt x="907" y="1939"/>
                  </a:lnTo>
                  <a:lnTo>
                    <a:pt x="935" y="1955"/>
                  </a:lnTo>
                  <a:lnTo>
                    <a:pt x="919" y="1960"/>
                  </a:lnTo>
                  <a:lnTo>
                    <a:pt x="919" y="1960"/>
                  </a:lnTo>
                  <a:lnTo>
                    <a:pt x="919" y="1960"/>
                  </a:lnTo>
                  <a:close/>
                  <a:moveTo>
                    <a:pt x="957" y="1960"/>
                  </a:moveTo>
                  <a:lnTo>
                    <a:pt x="952" y="1955"/>
                  </a:lnTo>
                  <a:lnTo>
                    <a:pt x="961" y="1955"/>
                  </a:lnTo>
                  <a:lnTo>
                    <a:pt x="957" y="1960"/>
                  </a:lnTo>
                  <a:lnTo>
                    <a:pt x="957" y="1960"/>
                  </a:lnTo>
                  <a:lnTo>
                    <a:pt x="957" y="1960"/>
                  </a:lnTo>
                  <a:close/>
                  <a:moveTo>
                    <a:pt x="831" y="2000"/>
                  </a:moveTo>
                  <a:lnTo>
                    <a:pt x="843" y="1993"/>
                  </a:lnTo>
                  <a:lnTo>
                    <a:pt x="853" y="1993"/>
                  </a:lnTo>
                  <a:lnTo>
                    <a:pt x="827" y="1981"/>
                  </a:lnTo>
                  <a:lnTo>
                    <a:pt x="843" y="1972"/>
                  </a:lnTo>
                  <a:lnTo>
                    <a:pt x="864" y="1960"/>
                  </a:lnTo>
                  <a:lnTo>
                    <a:pt x="864" y="1977"/>
                  </a:lnTo>
                  <a:lnTo>
                    <a:pt x="886" y="1960"/>
                  </a:lnTo>
                  <a:lnTo>
                    <a:pt x="898" y="1972"/>
                  </a:lnTo>
                  <a:lnTo>
                    <a:pt x="869" y="1993"/>
                  </a:lnTo>
                  <a:lnTo>
                    <a:pt x="886" y="1981"/>
                  </a:lnTo>
                  <a:lnTo>
                    <a:pt x="886" y="1993"/>
                  </a:lnTo>
                  <a:lnTo>
                    <a:pt x="869" y="2000"/>
                  </a:lnTo>
                  <a:lnTo>
                    <a:pt x="853" y="2017"/>
                  </a:lnTo>
                  <a:lnTo>
                    <a:pt x="794" y="2038"/>
                  </a:lnTo>
                  <a:lnTo>
                    <a:pt x="777" y="2033"/>
                  </a:lnTo>
                  <a:lnTo>
                    <a:pt x="827" y="2017"/>
                  </a:lnTo>
                  <a:lnTo>
                    <a:pt x="831" y="2010"/>
                  </a:lnTo>
                  <a:lnTo>
                    <a:pt x="827" y="2000"/>
                  </a:lnTo>
                  <a:lnTo>
                    <a:pt x="831" y="2000"/>
                  </a:lnTo>
                  <a:lnTo>
                    <a:pt x="831" y="2000"/>
                  </a:lnTo>
                  <a:lnTo>
                    <a:pt x="831" y="2000"/>
                  </a:lnTo>
                  <a:close/>
                  <a:moveTo>
                    <a:pt x="898" y="1993"/>
                  </a:moveTo>
                  <a:lnTo>
                    <a:pt x="886" y="1981"/>
                  </a:lnTo>
                  <a:lnTo>
                    <a:pt x="902" y="1977"/>
                  </a:lnTo>
                  <a:lnTo>
                    <a:pt x="898" y="1993"/>
                  </a:lnTo>
                  <a:lnTo>
                    <a:pt x="898" y="1993"/>
                  </a:lnTo>
                  <a:lnTo>
                    <a:pt x="898" y="1993"/>
                  </a:lnTo>
                  <a:close/>
                  <a:moveTo>
                    <a:pt x="789" y="2017"/>
                  </a:moveTo>
                  <a:lnTo>
                    <a:pt x="777" y="2026"/>
                  </a:lnTo>
                  <a:lnTo>
                    <a:pt x="746" y="2038"/>
                  </a:lnTo>
                  <a:lnTo>
                    <a:pt x="735" y="2055"/>
                  </a:lnTo>
                  <a:lnTo>
                    <a:pt x="692" y="2083"/>
                  </a:lnTo>
                  <a:lnTo>
                    <a:pt x="709" y="2066"/>
                  </a:lnTo>
                  <a:lnTo>
                    <a:pt x="709" y="2050"/>
                  </a:lnTo>
                  <a:lnTo>
                    <a:pt x="725" y="2033"/>
                  </a:lnTo>
                  <a:lnTo>
                    <a:pt x="739" y="2033"/>
                  </a:lnTo>
                  <a:lnTo>
                    <a:pt x="739" y="2026"/>
                  </a:lnTo>
                  <a:lnTo>
                    <a:pt x="739" y="2017"/>
                  </a:lnTo>
                  <a:lnTo>
                    <a:pt x="772" y="2010"/>
                  </a:lnTo>
                  <a:lnTo>
                    <a:pt x="789" y="2017"/>
                  </a:lnTo>
                  <a:lnTo>
                    <a:pt x="789" y="2017"/>
                  </a:lnTo>
                  <a:lnTo>
                    <a:pt x="789" y="2017"/>
                  </a:lnTo>
                  <a:close/>
                  <a:moveTo>
                    <a:pt x="649" y="2066"/>
                  </a:moveTo>
                  <a:lnTo>
                    <a:pt x="649" y="2055"/>
                  </a:lnTo>
                  <a:lnTo>
                    <a:pt x="649" y="2066"/>
                  </a:lnTo>
                  <a:lnTo>
                    <a:pt x="649" y="2066"/>
                  </a:lnTo>
                  <a:lnTo>
                    <a:pt x="649" y="2066"/>
                  </a:lnTo>
                  <a:close/>
                  <a:moveTo>
                    <a:pt x="24685" y="2088"/>
                  </a:moveTo>
                  <a:lnTo>
                    <a:pt x="24678" y="2071"/>
                  </a:lnTo>
                  <a:lnTo>
                    <a:pt x="24652" y="2071"/>
                  </a:lnTo>
                  <a:lnTo>
                    <a:pt x="24668" y="2066"/>
                  </a:lnTo>
                  <a:lnTo>
                    <a:pt x="24701" y="2066"/>
                  </a:lnTo>
                  <a:lnTo>
                    <a:pt x="24722" y="2071"/>
                  </a:lnTo>
                  <a:lnTo>
                    <a:pt x="24685" y="2088"/>
                  </a:lnTo>
                  <a:lnTo>
                    <a:pt x="24685" y="2088"/>
                  </a:lnTo>
                  <a:lnTo>
                    <a:pt x="24685" y="2088"/>
                  </a:lnTo>
                  <a:close/>
                  <a:moveTo>
                    <a:pt x="633" y="2083"/>
                  </a:moveTo>
                  <a:lnTo>
                    <a:pt x="649" y="2071"/>
                  </a:lnTo>
                  <a:lnTo>
                    <a:pt x="649" y="2083"/>
                  </a:lnTo>
                  <a:lnTo>
                    <a:pt x="633" y="2083"/>
                  </a:lnTo>
                  <a:lnTo>
                    <a:pt x="633" y="2083"/>
                  </a:lnTo>
                  <a:lnTo>
                    <a:pt x="633" y="2083"/>
                  </a:lnTo>
                  <a:close/>
                  <a:moveTo>
                    <a:pt x="616" y="2088"/>
                  </a:moveTo>
                  <a:lnTo>
                    <a:pt x="616" y="2083"/>
                  </a:lnTo>
                  <a:lnTo>
                    <a:pt x="626" y="2088"/>
                  </a:lnTo>
                  <a:lnTo>
                    <a:pt x="616" y="2088"/>
                  </a:lnTo>
                  <a:lnTo>
                    <a:pt x="616" y="2088"/>
                  </a:lnTo>
                  <a:lnTo>
                    <a:pt x="616" y="2088"/>
                  </a:lnTo>
                  <a:close/>
                  <a:moveTo>
                    <a:pt x="574" y="2104"/>
                  </a:moveTo>
                  <a:lnTo>
                    <a:pt x="579" y="2092"/>
                  </a:lnTo>
                  <a:lnTo>
                    <a:pt x="583" y="2092"/>
                  </a:lnTo>
                  <a:lnTo>
                    <a:pt x="574" y="2104"/>
                  </a:lnTo>
                  <a:lnTo>
                    <a:pt x="574" y="2104"/>
                  </a:lnTo>
                  <a:lnTo>
                    <a:pt x="574" y="2104"/>
                  </a:lnTo>
                  <a:close/>
                  <a:moveTo>
                    <a:pt x="24739" y="2126"/>
                  </a:moveTo>
                  <a:lnTo>
                    <a:pt x="24715" y="2121"/>
                  </a:lnTo>
                  <a:lnTo>
                    <a:pt x="24744" y="2109"/>
                  </a:lnTo>
                  <a:lnTo>
                    <a:pt x="24744" y="2126"/>
                  </a:lnTo>
                  <a:lnTo>
                    <a:pt x="24739" y="2126"/>
                  </a:lnTo>
                  <a:lnTo>
                    <a:pt x="24739" y="2126"/>
                  </a:lnTo>
                  <a:lnTo>
                    <a:pt x="24739" y="2126"/>
                  </a:lnTo>
                  <a:close/>
                  <a:moveTo>
                    <a:pt x="324" y="2149"/>
                  </a:moveTo>
                  <a:lnTo>
                    <a:pt x="255" y="2161"/>
                  </a:lnTo>
                  <a:lnTo>
                    <a:pt x="331" y="2137"/>
                  </a:lnTo>
                  <a:lnTo>
                    <a:pt x="314" y="2126"/>
                  </a:lnTo>
                  <a:lnTo>
                    <a:pt x="331" y="2121"/>
                  </a:lnTo>
                  <a:lnTo>
                    <a:pt x="347" y="2126"/>
                  </a:lnTo>
                  <a:lnTo>
                    <a:pt x="340" y="2142"/>
                  </a:lnTo>
                  <a:lnTo>
                    <a:pt x="324" y="2149"/>
                  </a:lnTo>
                  <a:lnTo>
                    <a:pt x="324" y="2149"/>
                  </a:lnTo>
                  <a:lnTo>
                    <a:pt x="324" y="2149"/>
                  </a:lnTo>
                  <a:close/>
                  <a:moveTo>
                    <a:pt x="453" y="2137"/>
                  </a:moveTo>
                  <a:lnTo>
                    <a:pt x="449" y="2137"/>
                  </a:lnTo>
                  <a:lnTo>
                    <a:pt x="453" y="2121"/>
                  </a:lnTo>
                  <a:lnTo>
                    <a:pt x="470" y="2126"/>
                  </a:lnTo>
                  <a:lnTo>
                    <a:pt x="453" y="2137"/>
                  </a:lnTo>
                  <a:lnTo>
                    <a:pt x="453" y="2137"/>
                  </a:lnTo>
                  <a:lnTo>
                    <a:pt x="453" y="2137"/>
                  </a:lnTo>
                  <a:close/>
                  <a:moveTo>
                    <a:pt x="24895" y="2126"/>
                  </a:moveTo>
                  <a:lnTo>
                    <a:pt x="24895" y="2121"/>
                  </a:lnTo>
                  <a:lnTo>
                    <a:pt x="24900" y="2126"/>
                  </a:lnTo>
                  <a:lnTo>
                    <a:pt x="24895" y="2126"/>
                  </a:lnTo>
                  <a:lnTo>
                    <a:pt x="24895" y="2126"/>
                  </a:lnTo>
                  <a:lnTo>
                    <a:pt x="24895" y="2126"/>
                  </a:lnTo>
                  <a:close/>
                  <a:moveTo>
                    <a:pt x="385" y="2161"/>
                  </a:moveTo>
                  <a:lnTo>
                    <a:pt x="347" y="2142"/>
                  </a:lnTo>
                  <a:lnTo>
                    <a:pt x="423" y="2149"/>
                  </a:lnTo>
                  <a:lnTo>
                    <a:pt x="385" y="2161"/>
                  </a:lnTo>
                  <a:lnTo>
                    <a:pt x="385" y="2161"/>
                  </a:lnTo>
                  <a:lnTo>
                    <a:pt x="385" y="2161"/>
                  </a:lnTo>
                  <a:close/>
                  <a:moveTo>
                    <a:pt x="24992" y="2178"/>
                  </a:moveTo>
                  <a:lnTo>
                    <a:pt x="24987" y="2166"/>
                  </a:lnTo>
                  <a:lnTo>
                    <a:pt x="25008" y="2149"/>
                  </a:lnTo>
                  <a:lnTo>
                    <a:pt x="25013" y="2149"/>
                  </a:lnTo>
                  <a:lnTo>
                    <a:pt x="25013" y="2166"/>
                  </a:lnTo>
                  <a:lnTo>
                    <a:pt x="25003" y="2166"/>
                  </a:lnTo>
                  <a:lnTo>
                    <a:pt x="24992" y="2178"/>
                  </a:lnTo>
                  <a:lnTo>
                    <a:pt x="24992" y="2178"/>
                  </a:lnTo>
                  <a:lnTo>
                    <a:pt x="24992" y="2178"/>
                  </a:lnTo>
                  <a:close/>
                  <a:moveTo>
                    <a:pt x="201" y="2161"/>
                  </a:moveTo>
                  <a:lnTo>
                    <a:pt x="196" y="2161"/>
                  </a:lnTo>
                  <a:lnTo>
                    <a:pt x="201" y="2149"/>
                  </a:lnTo>
                  <a:lnTo>
                    <a:pt x="205" y="2149"/>
                  </a:lnTo>
                  <a:lnTo>
                    <a:pt x="201" y="2161"/>
                  </a:lnTo>
                  <a:lnTo>
                    <a:pt x="201" y="2161"/>
                  </a:lnTo>
                  <a:lnTo>
                    <a:pt x="201" y="2161"/>
                  </a:lnTo>
                  <a:close/>
                  <a:moveTo>
                    <a:pt x="25155" y="2166"/>
                  </a:moveTo>
                  <a:lnTo>
                    <a:pt x="25148" y="2161"/>
                  </a:lnTo>
                  <a:lnTo>
                    <a:pt x="25155" y="2161"/>
                  </a:lnTo>
                  <a:lnTo>
                    <a:pt x="25164" y="2161"/>
                  </a:lnTo>
                  <a:lnTo>
                    <a:pt x="25155" y="2166"/>
                  </a:lnTo>
                  <a:lnTo>
                    <a:pt x="25155" y="2166"/>
                  </a:lnTo>
                  <a:lnTo>
                    <a:pt x="25155" y="2166"/>
                  </a:lnTo>
                  <a:close/>
                  <a:moveTo>
                    <a:pt x="217" y="2161"/>
                  </a:moveTo>
                  <a:lnTo>
                    <a:pt x="205" y="2161"/>
                  </a:lnTo>
                  <a:lnTo>
                    <a:pt x="222" y="2161"/>
                  </a:lnTo>
                  <a:lnTo>
                    <a:pt x="217" y="2161"/>
                  </a:lnTo>
                  <a:lnTo>
                    <a:pt x="217" y="2161"/>
                  </a:lnTo>
                  <a:lnTo>
                    <a:pt x="217" y="2161"/>
                  </a:lnTo>
                  <a:close/>
                  <a:moveTo>
                    <a:pt x="25079" y="2166"/>
                  </a:moveTo>
                  <a:lnTo>
                    <a:pt x="25067" y="2161"/>
                  </a:lnTo>
                  <a:lnTo>
                    <a:pt x="25084" y="2166"/>
                  </a:lnTo>
                  <a:lnTo>
                    <a:pt x="25079" y="2166"/>
                  </a:lnTo>
                  <a:lnTo>
                    <a:pt x="25079" y="2166"/>
                  </a:lnTo>
                  <a:lnTo>
                    <a:pt x="25079" y="2166"/>
                  </a:lnTo>
                  <a:close/>
                  <a:moveTo>
                    <a:pt x="142" y="2199"/>
                  </a:moveTo>
                  <a:lnTo>
                    <a:pt x="142" y="2194"/>
                  </a:lnTo>
                  <a:lnTo>
                    <a:pt x="151" y="2178"/>
                  </a:lnTo>
                  <a:lnTo>
                    <a:pt x="151" y="2166"/>
                  </a:lnTo>
                  <a:lnTo>
                    <a:pt x="168" y="2161"/>
                  </a:lnTo>
                  <a:lnTo>
                    <a:pt x="163" y="2178"/>
                  </a:lnTo>
                  <a:lnTo>
                    <a:pt x="179" y="2178"/>
                  </a:lnTo>
                  <a:lnTo>
                    <a:pt x="179" y="2182"/>
                  </a:lnTo>
                  <a:lnTo>
                    <a:pt x="142" y="2199"/>
                  </a:lnTo>
                  <a:lnTo>
                    <a:pt x="142" y="2199"/>
                  </a:lnTo>
                  <a:lnTo>
                    <a:pt x="142" y="2199"/>
                  </a:lnTo>
                  <a:close/>
                  <a:moveTo>
                    <a:pt x="92" y="2194"/>
                  </a:moveTo>
                  <a:lnTo>
                    <a:pt x="87" y="2194"/>
                  </a:lnTo>
                  <a:lnTo>
                    <a:pt x="125" y="2178"/>
                  </a:lnTo>
                  <a:lnTo>
                    <a:pt x="125" y="2166"/>
                  </a:lnTo>
                  <a:lnTo>
                    <a:pt x="130" y="2166"/>
                  </a:lnTo>
                  <a:lnTo>
                    <a:pt x="125" y="2194"/>
                  </a:lnTo>
                  <a:lnTo>
                    <a:pt x="92" y="2194"/>
                  </a:lnTo>
                  <a:lnTo>
                    <a:pt x="92" y="2194"/>
                  </a:lnTo>
                  <a:lnTo>
                    <a:pt x="92" y="2194"/>
                  </a:lnTo>
                  <a:close/>
                  <a:moveTo>
                    <a:pt x="75" y="2199"/>
                  </a:moveTo>
                  <a:lnTo>
                    <a:pt x="59" y="2194"/>
                  </a:lnTo>
                  <a:lnTo>
                    <a:pt x="71" y="2182"/>
                  </a:lnTo>
                  <a:lnTo>
                    <a:pt x="54" y="2166"/>
                  </a:lnTo>
                  <a:lnTo>
                    <a:pt x="71" y="2166"/>
                  </a:lnTo>
                  <a:lnTo>
                    <a:pt x="75" y="2178"/>
                  </a:lnTo>
                  <a:lnTo>
                    <a:pt x="75" y="2199"/>
                  </a:lnTo>
                  <a:lnTo>
                    <a:pt x="75" y="2199"/>
                  </a:lnTo>
                  <a:lnTo>
                    <a:pt x="75" y="2199"/>
                  </a:lnTo>
                  <a:close/>
                  <a:moveTo>
                    <a:pt x="201" y="2182"/>
                  </a:moveTo>
                  <a:lnTo>
                    <a:pt x="196" y="2166"/>
                  </a:lnTo>
                  <a:lnTo>
                    <a:pt x="205" y="2178"/>
                  </a:lnTo>
                  <a:lnTo>
                    <a:pt x="201" y="2182"/>
                  </a:lnTo>
                  <a:lnTo>
                    <a:pt x="201" y="2182"/>
                  </a:lnTo>
                  <a:lnTo>
                    <a:pt x="201" y="2182"/>
                  </a:lnTo>
                  <a:close/>
                  <a:moveTo>
                    <a:pt x="184" y="2182"/>
                  </a:moveTo>
                  <a:lnTo>
                    <a:pt x="179" y="2178"/>
                  </a:lnTo>
                  <a:lnTo>
                    <a:pt x="184" y="2178"/>
                  </a:lnTo>
                  <a:lnTo>
                    <a:pt x="184" y="2182"/>
                  </a:lnTo>
                  <a:lnTo>
                    <a:pt x="184" y="2182"/>
                  </a:lnTo>
                  <a:lnTo>
                    <a:pt x="184" y="2182"/>
                  </a:lnTo>
                  <a:close/>
                  <a:moveTo>
                    <a:pt x="16" y="2182"/>
                  </a:moveTo>
                  <a:lnTo>
                    <a:pt x="7" y="2178"/>
                  </a:lnTo>
                  <a:lnTo>
                    <a:pt x="16" y="2182"/>
                  </a:lnTo>
                  <a:lnTo>
                    <a:pt x="16" y="2182"/>
                  </a:lnTo>
                  <a:lnTo>
                    <a:pt x="16" y="2182"/>
                  </a:lnTo>
                  <a:close/>
                  <a:moveTo>
                    <a:pt x="25131" y="2220"/>
                  </a:moveTo>
                  <a:lnTo>
                    <a:pt x="25084" y="2194"/>
                  </a:lnTo>
                  <a:lnTo>
                    <a:pt x="25100" y="2199"/>
                  </a:lnTo>
                  <a:lnTo>
                    <a:pt x="25131" y="2215"/>
                  </a:lnTo>
                  <a:lnTo>
                    <a:pt x="25148" y="2215"/>
                  </a:lnTo>
                  <a:lnTo>
                    <a:pt x="25131" y="2220"/>
                  </a:lnTo>
                  <a:lnTo>
                    <a:pt x="25131" y="2220"/>
                  </a:lnTo>
                  <a:lnTo>
                    <a:pt x="25131" y="2220"/>
                  </a:lnTo>
                  <a:close/>
                  <a:moveTo>
                    <a:pt x="0" y="2220"/>
                  </a:moveTo>
                  <a:lnTo>
                    <a:pt x="0" y="2215"/>
                  </a:lnTo>
                  <a:lnTo>
                    <a:pt x="7" y="2220"/>
                  </a:lnTo>
                  <a:lnTo>
                    <a:pt x="0" y="2220"/>
                  </a:lnTo>
                  <a:lnTo>
                    <a:pt x="0" y="2220"/>
                  </a:lnTo>
                  <a:lnTo>
                    <a:pt x="0" y="2220"/>
                  </a:lnTo>
                  <a:close/>
                  <a:moveTo>
                    <a:pt x="3942" y="2442"/>
                  </a:moveTo>
                  <a:lnTo>
                    <a:pt x="5882" y="2442"/>
                  </a:lnTo>
                  <a:lnTo>
                    <a:pt x="5882" y="2404"/>
                  </a:lnTo>
                  <a:lnTo>
                    <a:pt x="5903" y="2414"/>
                  </a:lnTo>
                  <a:lnTo>
                    <a:pt x="5908" y="2459"/>
                  </a:lnTo>
                  <a:lnTo>
                    <a:pt x="5920" y="2470"/>
                  </a:lnTo>
                  <a:lnTo>
                    <a:pt x="5974" y="2475"/>
                  </a:lnTo>
                  <a:lnTo>
                    <a:pt x="5974" y="2482"/>
                  </a:lnTo>
                  <a:lnTo>
                    <a:pt x="6012" y="2475"/>
                  </a:lnTo>
                  <a:lnTo>
                    <a:pt x="6033" y="2475"/>
                  </a:lnTo>
                  <a:lnTo>
                    <a:pt x="6071" y="2499"/>
                  </a:lnTo>
                  <a:lnTo>
                    <a:pt x="6071" y="2515"/>
                  </a:lnTo>
                  <a:lnTo>
                    <a:pt x="6080" y="2499"/>
                  </a:lnTo>
                  <a:lnTo>
                    <a:pt x="6097" y="2499"/>
                  </a:lnTo>
                  <a:lnTo>
                    <a:pt x="6101" y="2515"/>
                  </a:lnTo>
                  <a:lnTo>
                    <a:pt x="6139" y="2532"/>
                  </a:lnTo>
                  <a:lnTo>
                    <a:pt x="6177" y="2515"/>
                  </a:lnTo>
                  <a:lnTo>
                    <a:pt x="6189" y="2525"/>
                  </a:lnTo>
                  <a:lnTo>
                    <a:pt x="6227" y="2525"/>
                  </a:lnTo>
                  <a:lnTo>
                    <a:pt x="6248" y="2532"/>
                  </a:lnTo>
                  <a:lnTo>
                    <a:pt x="6286" y="2537"/>
                  </a:lnTo>
                  <a:lnTo>
                    <a:pt x="6357" y="2508"/>
                  </a:lnTo>
                  <a:lnTo>
                    <a:pt x="6605" y="2636"/>
                  </a:lnTo>
                  <a:lnTo>
                    <a:pt x="6605" y="2659"/>
                  </a:lnTo>
                  <a:lnTo>
                    <a:pt x="6621" y="2676"/>
                  </a:lnTo>
                  <a:lnTo>
                    <a:pt x="6654" y="2664"/>
                  </a:lnTo>
                  <a:lnTo>
                    <a:pt x="6654" y="2692"/>
                  </a:lnTo>
                  <a:lnTo>
                    <a:pt x="6664" y="2702"/>
                  </a:lnTo>
                  <a:lnTo>
                    <a:pt x="6692" y="2702"/>
                  </a:lnTo>
                  <a:lnTo>
                    <a:pt x="6697" y="2714"/>
                  </a:lnTo>
                  <a:lnTo>
                    <a:pt x="6692" y="2730"/>
                  </a:lnTo>
                  <a:lnTo>
                    <a:pt x="6768" y="2775"/>
                  </a:lnTo>
                  <a:lnTo>
                    <a:pt x="6789" y="2924"/>
                  </a:lnTo>
                  <a:lnTo>
                    <a:pt x="6772" y="2981"/>
                  </a:lnTo>
                  <a:lnTo>
                    <a:pt x="6768" y="3014"/>
                  </a:lnTo>
                  <a:lnTo>
                    <a:pt x="6730" y="3047"/>
                  </a:lnTo>
                  <a:lnTo>
                    <a:pt x="6718" y="3063"/>
                  </a:lnTo>
                  <a:lnTo>
                    <a:pt x="6730" y="3080"/>
                  </a:lnTo>
                  <a:lnTo>
                    <a:pt x="6751" y="3096"/>
                  </a:lnTo>
                  <a:lnTo>
                    <a:pt x="6772" y="3096"/>
                  </a:lnTo>
                  <a:lnTo>
                    <a:pt x="6853" y="3047"/>
                  </a:lnTo>
                  <a:lnTo>
                    <a:pt x="6935" y="3030"/>
                  </a:lnTo>
                  <a:lnTo>
                    <a:pt x="7016" y="2997"/>
                  </a:lnTo>
                  <a:lnTo>
                    <a:pt x="7020" y="2990"/>
                  </a:lnTo>
                  <a:lnTo>
                    <a:pt x="7004" y="2974"/>
                  </a:lnTo>
                  <a:lnTo>
                    <a:pt x="7004" y="2957"/>
                  </a:lnTo>
                  <a:lnTo>
                    <a:pt x="6999" y="2940"/>
                  </a:lnTo>
                  <a:lnTo>
                    <a:pt x="7032" y="2924"/>
                  </a:lnTo>
                  <a:lnTo>
                    <a:pt x="7167" y="2924"/>
                  </a:lnTo>
                  <a:lnTo>
                    <a:pt x="7193" y="2886"/>
                  </a:lnTo>
                  <a:lnTo>
                    <a:pt x="7290" y="2808"/>
                  </a:lnTo>
                  <a:lnTo>
                    <a:pt x="7540" y="2803"/>
                  </a:lnTo>
                  <a:lnTo>
                    <a:pt x="7545" y="2787"/>
                  </a:lnTo>
                  <a:lnTo>
                    <a:pt x="7554" y="2775"/>
                  </a:lnTo>
                  <a:lnTo>
                    <a:pt x="7561" y="2787"/>
                  </a:lnTo>
                  <a:lnTo>
                    <a:pt x="7571" y="2775"/>
                  </a:lnTo>
                  <a:lnTo>
                    <a:pt x="7582" y="2787"/>
                  </a:lnTo>
                  <a:lnTo>
                    <a:pt x="7592" y="2759"/>
                  </a:lnTo>
                  <a:lnTo>
                    <a:pt x="7592" y="2754"/>
                  </a:lnTo>
                  <a:lnTo>
                    <a:pt x="7625" y="2718"/>
                  </a:lnTo>
                  <a:lnTo>
                    <a:pt x="7625" y="2697"/>
                  </a:lnTo>
                  <a:lnTo>
                    <a:pt x="7637" y="2676"/>
                  </a:lnTo>
                  <a:lnTo>
                    <a:pt x="7646" y="2648"/>
                  </a:lnTo>
                  <a:lnTo>
                    <a:pt x="7701" y="2581"/>
                  </a:lnTo>
                  <a:lnTo>
                    <a:pt x="7705" y="2586"/>
                  </a:lnTo>
                  <a:lnTo>
                    <a:pt x="7705" y="2603"/>
                  </a:lnTo>
                  <a:lnTo>
                    <a:pt x="7722" y="2610"/>
                  </a:lnTo>
                  <a:lnTo>
                    <a:pt x="7760" y="2591"/>
                  </a:lnTo>
                  <a:lnTo>
                    <a:pt x="7805" y="2619"/>
                  </a:lnTo>
                  <a:lnTo>
                    <a:pt x="7805" y="2747"/>
                  </a:lnTo>
                  <a:lnTo>
                    <a:pt x="7826" y="2754"/>
                  </a:lnTo>
                  <a:lnTo>
                    <a:pt x="7814" y="2759"/>
                  </a:lnTo>
                  <a:lnTo>
                    <a:pt x="7826" y="2775"/>
                  </a:lnTo>
                  <a:lnTo>
                    <a:pt x="7831" y="2792"/>
                  </a:lnTo>
                  <a:lnTo>
                    <a:pt x="7842" y="2792"/>
                  </a:lnTo>
                  <a:lnTo>
                    <a:pt x="7856" y="2808"/>
                  </a:lnTo>
                  <a:lnTo>
                    <a:pt x="7842" y="2813"/>
                  </a:lnTo>
                  <a:lnTo>
                    <a:pt x="7856" y="2813"/>
                  </a:lnTo>
                  <a:lnTo>
                    <a:pt x="7842" y="2829"/>
                  </a:lnTo>
                  <a:lnTo>
                    <a:pt x="7814" y="2829"/>
                  </a:lnTo>
                  <a:lnTo>
                    <a:pt x="7814" y="2846"/>
                  </a:lnTo>
                  <a:lnTo>
                    <a:pt x="7805" y="2846"/>
                  </a:lnTo>
                  <a:lnTo>
                    <a:pt x="7776" y="2863"/>
                  </a:lnTo>
                  <a:lnTo>
                    <a:pt x="7776" y="2858"/>
                  </a:lnTo>
                  <a:lnTo>
                    <a:pt x="7760" y="2858"/>
                  </a:lnTo>
                  <a:lnTo>
                    <a:pt x="7743" y="2858"/>
                  </a:lnTo>
                  <a:lnTo>
                    <a:pt x="7743" y="2863"/>
                  </a:lnTo>
                  <a:lnTo>
                    <a:pt x="7738" y="2863"/>
                  </a:lnTo>
                  <a:lnTo>
                    <a:pt x="7722" y="2863"/>
                  </a:lnTo>
                  <a:lnTo>
                    <a:pt x="7734" y="2841"/>
                  </a:lnTo>
                  <a:lnTo>
                    <a:pt x="7717" y="2858"/>
                  </a:lnTo>
                  <a:lnTo>
                    <a:pt x="7705" y="2886"/>
                  </a:lnTo>
                  <a:lnTo>
                    <a:pt x="7691" y="2898"/>
                  </a:lnTo>
                  <a:lnTo>
                    <a:pt x="7684" y="2886"/>
                  </a:lnTo>
                  <a:lnTo>
                    <a:pt x="7679" y="2903"/>
                  </a:lnTo>
                  <a:lnTo>
                    <a:pt x="7679" y="2886"/>
                  </a:lnTo>
                  <a:lnTo>
                    <a:pt x="7668" y="2903"/>
                  </a:lnTo>
                  <a:lnTo>
                    <a:pt x="7668" y="2886"/>
                  </a:lnTo>
                  <a:lnTo>
                    <a:pt x="7663" y="2914"/>
                  </a:lnTo>
                  <a:lnTo>
                    <a:pt x="7663" y="2886"/>
                  </a:lnTo>
                  <a:lnTo>
                    <a:pt x="7653" y="2898"/>
                  </a:lnTo>
                  <a:lnTo>
                    <a:pt x="7653" y="2919"/>
                  </a:lnTo>
                  <a:lnTo>
                    <a:pt x="7646" y="2903"/>
                  </a:lnTo>
                  <a:lnTo>
                    <a:pt x="7630" y="2914"/>
                  </a:lnTo>
                  <a:lnTo>
                    <a:pt x="7625" y="2924"/>
                  </a:lnTo>
                  <a:lnTo>
                    <a:pt x="7630" y="2936"/>
                  </a:lnTo>
                  <a:lnTo>
                    <a:pt x="7608" y="2952"/>
                  </a:lnTo>
                  <a:lnTo>
                    <a:pt x="7599" y="2974"/>
                  </a:lnTo>
                  <a:lnTo>
                    <a:pt x="7592" y="2969"/>
                  </a:lnTo>
                  <a:lnTo>
                    <a:pt x="7582" y="3007"/>
                  </a:lnTo>
                  <a:lnTo>
                    <a:pt x="7599" y="3014"/>
                  </a:lnTo>
                  <a:lnTo>
                    <a:pt x="7582" y="3023"/>
                  </a:lnTo>
                  <a:lnTo>
                    <a:pt x="7571" y="3035"/>
                  </a:lnTo>
                  <a:lnTo>
                    <a:pt x="7592" y="3047"/>
                  </a:lnTo>
                  <a:lnTo>
                    <a:pt x="7592" y="3068"/>
                  </a:lnTo>
                  <a:lnTo>
                    <a:pt x="7608" y="3080"/>
                  </a:lnTo>
                  <a:lnTo>
                    <a:pt x="7608" y="3085"/>
                  </a:lnTo>
                  <a:lnTo>
                    <a:pt x="7625" y="3096"/>
                  </a:lnTo>
                  <a:lnTo>
                    <a:pt x="7646" y="3085"/>
                  </a:lnTo>
                  <a:lnTo>
                    <a:pt x="7646" y="3080"/>
                  </a:lnTo>
                  <a:lnTo>
                    <a:pt x="7625" y="3063"/>
                  </a:lnTo>
                  <a:lnTo>
                    <a:pt x="7637" y="3063"/>
                  </a:lnTo>
                  <a:lnTo>
                    <a:pt x="7646" y="3080"/>
                  </a:lnTo>
                  <a:lnTo>
                    <a:pt x="7646" y="3096"/>
                  </a:lnTo>
                  <a:lnTo>
                    <a:pt x="7616" y="3101"/>
                  </a:lnTo>
                  <a:lnTo>
                    <a:pt x="7599" y="3108"/>
                  </a:lnTo>
                  <a:lnTo>
                    <a:pt x="7599" y="3096"/>
                  </a:lnTo>
                  <a:lnTo>
                    <a:pt x="7592" y="3096"/>
                  </a:lnTo>
                  <a:lnTo>
                    <a:pt x="7561" y="3118"/>
                  </a:lnTo>
                  <a:lnTo>
                    <a:pt x="7561" y="3101"/>
                  </a:lnTo>
                  <a:lnTo>
                    <a:pt x="7571" y="3085"/>
                  </a:lnTo>
                  <a:lnTo>
                    <a:pt x="7554" y="3101"/>
                  </a:lnTo>
                  <a:lnTo>
                    <a:pt x="7545" y="3085"/>
                  </a:lnTo>
                  <a:lnTo>
                    <a:pt x="7540" y="3125"/>
                  </a:lnTo>
                  <a:lnTo>
                    <a:pt x="7436" y="3134"/>
                  </a:lnTo>
                  <a:lnTo>
                    <a:pt x="7393" y="3158"/>
                  </a:lnTo>
                  <a:lnTo>
                    <a:pt x="7360" y="3179"/>
                  </a:lnTo>
                  <a:lnTo>
                    <a:pt x="7377" y="3151"/>
                  </a:lnTo>
                  <a:lnTo>
                    <a:pt x="7365" y="3125"/>
                  </a:lnTo>
                  <a:lnTo>
                    <a:pt x="7365" y="3158"/>
                  </a:lnTo>
                  <a:lnTo>
                    <a:pt x="7344" y="3196"/>
                  </a:lnTo>
                  <a:lnTo>
                    <a:pt x="7360" y="3196"/>
                  </a:lnTo>
                  <a:lnTo>
                    <a:pt x="7365" y="3212"/>
                  </a:lnTo>
                  <a:lnTo>
                    <a:pt x="7360" y="3262"/>
                  </a:lnTo>
                  <a:lnTo>
                    <a:pt x="7360" y="3236"/>
                  </a:lnTo>
                  <a:lnTo>
                    <a:pt x="7356" y="3269"/>
                  </a:lnTo>
                  <a:lnTo>
                    <a:pt x="7339" y="3285"/>
                  </a:lnTo>
                  <a:lnTo>
                    <a:pt x="7327" y="3290"/>
                  </a:lnTo>
                  <a:lnTo>
                    <a:pt x="7313" y="3302"/>
                  </a:lnTo>
                  <a:lnTo>
                    <a:pt x="7323" y="3302"/>
                  </a:lnTo>
                  <a:lnTo>
                    <a:pt x="7313" y="3318"/>
                  </a:lnTo>
                  <a:lnTo>
                    <a:pt x="7301" y="3328"/>
                  </a:lnTo>
                  <a:lnTo>
                    <a:pt x="7301" y="3307"/>
                  </a:lnTo>
                  <a:lnTo>
                    <a:pt x="7259" y="3290"/>
                  </a:lnTo>
                  <a:lnTo>
                    <a:pt x="7252" y="3274"/>
                  </a:lnTo>
                  <a:lnTo>
                    <a:pt x="7290" y="3236"/>
                  </a:lnTo>
                  <a:lnTo>
                    <a:pt x="7252" y="3269"/>
                  </a:lnTo>
                  <a:lnTo>
                    <a:pt x="7252" y="3285"/>
                  </a:lnTo>
                  <a:lnTo>
                    <a:pt x="7285" y="3347"/>
                  </a:lnTo>
                  <a:lnTo>
                    <a:pt x="7275" y="3356"/>
                  </a:lnTo>
                  <a:lnTo>
                    <a:pt x="7290" y="3363"/>
                  </a:lnTo>
                  <a:lnTo>
                    <a:pt x="7290" y="3373"/>
                  </a:lnTo>
                  <a:lnTo>
                    <a:pt x="7268" y="3401"/>
                  </a:lnTo>
                  <a:lnTo>
                    <a:pt x="7252" y="3439"/>
                  </a:lnTo>
                  <a:lnTo>
                    <a:pt x="7247" y="3451"/>
                  </a:lnTo>
                  <a:lnTo>
                    <a:pt x="7221" y="3484"/>
                  </a:lnTo>
                  <a:lnTo>
                    <a:pt x="7221" y="3467"/>
                  </a:lnTo>
                  <a:lnTo>
                    <a:pt x="7231" y="3439"/>
                  </a:lnTo>
                  <a:lnTo>
                    <a:pt x="7247" y="3418"/>
                  </a:lnTo>
                  <a:lnTo>
                    <a:pt x="7247" y="3413"/>
                  </a:lnTo>
                  <a:lnTo>
                    <a:pt x="7231" y="3413"/>
                  </a:lnTo>
                  <a:lnTo>
                    <a:pt x="7238" y="3373"/>
                  </a:lnTo>
                  <a:lnTo>
                    <a:pt x="7221" y="3385"/>
                  </a:lnTo>
                  <a:lnTo>
                    <a:pt x="7205" y="3380"/>
                  </a:lnTo>
                  <a:lnTo>
                    <a:pt x="7200" y="3373"/>
                  </a:lnTo>
                  <a:lnTo>
                    <a:pt x="7214" y="3363"/>
                  </a:lnTo>
                  <a:lnTo>
                    <a:pt x="7205" y="3363"/>
                  </a:lnTo>
                  <a:lnTo>
                    <a:pt x="7205" y="3356"/>
                  </a:lnTo>
                  <a:lnTo>
                    <a:pt x="7221" y="3363"/>
                  </a:lnTo>
                  <a:lnTo>
                    <a:pt x="7221" y="3356"/>
                  </a:lnTo>
                  <a:lnTo>
                    <a:pt x="7205" y="3347"/>
                  </a:lnTo>
                  <a:lnTo>
                    <a:pt x="7200" y="3347"/>
                  </a:lnTo>
                  <a:lnTo>
                    <a:pt x="7205" y="3340"/>
                  </a:lnTo>
                  <a:lnTo>
                    <a:pt x="7214" y="3340"/>
                  </a:lnTo>
                  <a:lnTo>
                    <a:pt x="7205" y="3323"/>
                  </a:lnTo>
                  <a:lnTo>
                    <a:pt x="7200" y="3340"/>
                  </a:lnTo>
                  <a:lnTo>
                    <a:pt x="7200" y="3323"/>
                  </a:lnTo>
                  <a:lnTo>
                    <a:pt x="7205" y="3323"/>
                  </a:lnTo>
                  <a:lnTo>
                    <a:pt x="7221" y="3318"/>
                  </a:lnTo>
                  <a:lnTo>
                    <a:pt x="7205" y="3323"/>
                  </a:lnTo>
                  <a:lnTo>
                    <a:pt x="7205" y="3307"/>
                  </a:lnTo>
                  <a:lnTo>
                    <a:pt x="7214" y="3302"/>
                  </a:lnTo>
                  <a:lnTo>
                    <a:pt x="7221" y="3290"/>
                  </a:lnTo>
                  <a:lnTo>
                    <a:pt x="7238" y="3274"/>
                  </a:lnTo>
                  <a:lnTo>
                    <a:pt x="7214" y="3274"/>
                  </a:lnTo>
                  <a:lnTo>
                    <a:pt x="7221" y="3285"/>
                  </a:lnTo>
                  <a:lnTo>
                    <a:pt x="7205" y="3290"/>
                  </a:lnTo>
                  <a:lnTo>
                    <a:pt x="7205" y="3285"/>
                  </a:lnTo>
                  <a:lnTo>
                    <a:pt x="7200" y="3290"/>
                  </a:lnTo>
                  <a:lnTo>
                    <a:pt x="7193" y="3302"/>
                  </a:lnTo>
                  <a:lnTo>
                    <a:pt x="7193" y="3307"/>
                  </a:lnTo>
                  <a:lnTo>
                    <a:pt x="7176" y="3302"/>
                  </a:lnTo>
                  <a:lnTo>
                    <a:pt x="7193" y="3323"/>
                  </a:lnTo>
                  <a:lnTo>
                    <a:pt x="7183" y="3347"/>
                  </a:lnTo>
                  <a:lnTo>
                    <a:pt x="7200" y="3380"/>
                  </a:lnTo>
                  <a:lnTo>
                    <a:pt x="7176" y="3373"/>
                  </a:lnTo>
                  <a:lnTo>
                    <a:pt x="7176" y="3356"/>
                  </a:lnTo>
                  <a:lnTo>
                    <a:pt x="7176" y="3373"/>
                  </a:lnTo>
                  <a:lnTo>
                    <a:pt x="7200" y="3385"/>
                  </a:lnTo>
                  <a:lnTo>
                    <a:pt x="7200" y="3401"/>
                  </a:lnTo>
                  <a:lnTo>
                    <a:pt x="7183" y="3385"/>
                  </a:lnTo>
                  <a:lnTo>
                    <a:pt x="7162" y="3385"/>
                  </a:lnTo>
                  <a:lnTo>
                    <a:pt x="7150" y="3373"/>
                  </a:lnTo>
                  <a:lnTo>
                    <a:pt x="7138" y="3373"/>
                  </a:lnTo>
                  <a:lnTo>
                    <a:pt x="7138" y="3363"/>
                  </a:lnTo>
                  <a:lnTo>
                    <a:pt x="7150" y="3347"/>
                  </a:lnTo>
                  <a:lnTo>
                    <a:pt x="7145" y="3328"/>
                  </a:lnTo>
                  <a:lnTo>
                    <a:pt x="7150" y="3347"/>
                  </a:lnTo>
                  <a:lnTo>
                    <a:pt x="7138" y="3356"/>
                  </a:lnTo>
                  <a:lnTo>
                    <a:pt x="7129" y="3380"/>
                  </a:lnTo>
                  <a:lnTo>
                    <a:pt x="7145" y="3380"/>
                  </a:lnTo>
                  <a:lnTo>
                    <a:pt x="7162" y="3396"/>
                  </a:lnTo>
                  <a:lnTo>
                    <a:pt x="7183" y="3396"/>
                  </a:lnTo>
                  <a:lnTo>
                    <a:pt x="7205" y="3418"/>
                  </a:lnTo>
                  <a:lnTo>
                    <a:pt x="7200" y="3439"/>
                  </a:lnTo>
                  <a:lnTo>
                    <a:pt x="7145" y="3396"/>
                  </a:lnTo>
                  <a:lnTo>
                    <a:pt x="7162" y="3401"/>
                  </a:lnTo>
                  <a:lnTo>
                    <a:pt x="7183" y="3439"/>
                  </a:lnTo>
                  <a:lnTo>
                    <a:pt x="7200" y="3439"/>
                  </a:lnTo>
                  <a:lnTo>
                    <a:pt x="7205" y="3455"/>
                  </a:lnTo>
                  <a:lnTo>
                    <a:pt x="7200" y="3455"/>
                  </a:lnTo>
                  <a:lnTo>
                    <a:pt x="7200" y="3467"/>
                  </a:lnTo>
                  <a:lnTo>
                    <a:pt x="7176" y="3455"/>
                  </a:lnTo>
                  <a:lnTo>
                    <a:pt x="7205" y="3484"/>
                  </a:lnTo>
                  <a:lnTo>
                    <a:pt x="7200" y="3496"/>
                  </a:lnTo>
                  <a:lnTo>
                    <a:pt x="7176" y="3472"/>
                  </a:lnTo>
                  <a:lnTo>
                    <a:pt x="7138" y="3467"/>
                  </a:lnTo>
                  <a:lnTo>
                    <a:pt x="7176" y="3484"/>
                  </a:lnTo>
                  <a:lnTo>
                    <a:pt x="7193" y="3496"/>
                  </a:lnTo>
                  <a:lnTo>
                    <a:pt x="7200" y="3507"/>
                  </a:lnTo>
                  <a:lnTo>
                    <a:pt x="7200" y="3496"/>
                  </a:lnTo>
                  <a:lnTo>
                    <a:pt x="7221" y="3496"/>
                  </a:lnTo>
                  <a:lnTo>
                    <a:pt x="7252" y="3595"/>
                  </a:lnTo>
                  <a:lnTo>
                    <a:pt x="7247" y="3566"/>
                  </a:lnTo>
                  <a:lnTo>
                    <a:pt x="7231" y="3512"/>
                  </a:lnTo>
                  <a:lnTo>
                    <a:pt x="7221" y="3529"/>
                  </a:lnTo>
                  <a:lnTo>
                    <a:pt x="7231" y="3540"/>
                  </a:lnTo>
                  <a:lnTo>
                    <a:pt x="7221" y="3529"/>
                  </a:lnTo>
                  <a:lnTo>
                    <a:pt x="7238" y="3566"/>
                  </a:lnTo>
                  <a:lnTo>
                    <a:pt x="7221" y="3545"/>
                  </a:lnTo>
                  <a:lnTo>
                    <a:pt x="7231" y="3562"/>
                  </a:lnTo>
                  <a:lnTo>
                    <a:pt x="7205" y="3545"/>
                  </a:lnTo>
                  <a:lnTo>
                    <a:pt x="7221" y="3562"/>
                  </a:lnTo>
                  <a:lnTo>
                    <a:pt x="7205" y="3566"/>
                  </a:lnTo>
                  <a:lnTo>
                    <a:pt x="7200" y="3562"/>
                  </a:lnTo>
                  <a:lnTo>
                    <a:pt x="7193" y="3578"/>
                  </a:lnTo>
                  <a:lnTo>
                    <a:pt x="7176" y="3566"/>
                  </a:lnTo>
                  <a:lnTo>
                    <a:pt x="7176" y="3550"/>
                  </a:lnTo>
                  <a:lnTo>
                    <a:pt x="7167" y="3578"/>
                  </a:lnTo>
                  <a:lnTo>
                    <a:pt x="7193" y="3578"/>
                  </a:lnTo>
                  <a:lnTo>
                    <a:pt x="7205" y="3578"/>
                  </a:lnTo>
                  <a:lnTo>
                    <a:pt x="7214" y="3578"/>
                  </a:lnTo>
                  <a:lnTo>
                    <a:pt x="7221" y="3600"/>
                  </a:lnTo>
                  <a:lnTo>
                    <a:pt x="7214" y="3600"/>
                  </a:lnTo>
                  <a:lnTo>
                    <a:pt x="7221" y="3600"/>
                  </a:lnTo>
                  <a:lnTo>
                    <a:pt x="7221" y="3583"/>
                  </a:lnTo>
                  <a:lnTo>
                    <a:pt x="7231" y="3578"/>
                  </a:lnTo>
                  <a:lnTo>
                    <a:pt x="7247" y="3595"/>
                  </a:lnTo>
                  <a:lnTo>
                    <a:pt x="7238" y="3607"/>
                  </a:lnTo>
                  <a:lnTo>
                    <a:pt x="7221" y="3616"/>
                  </a:lnTo>
                  <a:lnTo>
                    <a:pt x="7214" y="3623"/>
                  </a:lnTo>
                  <a:lnTo>
                    <a:pt x="7193" y="3623"/>
                  </a:lnTo>
                  <a:lnTo>
                    <a:pt x="7183" y="3607"/>
                  </a:lnTo>
                  <a:lnTo>
                    <a:pt x="7176" y="3623"/>
                  </a:lnTo>
                  <a:lnTo>
                    <a:pt x="7150" y="3607"/>
                  </a:lnTo>
                  <a:lnTo>
                    <a:pt x="7193" y="3633"/>
                  </a:lnTo>
                  <a:lnTo>
                    <a:pt x="7176" y="3640"/>
                  </a:lnTo>
                  <a:lnTo>
                    <a:pt x="7183" y="3651"/>
                  </a:lnTo>
                  <a:lnTo>
                    <a:pt x="7167" y="3656"/>
                  </a:lnTo>
                  <a:lnTo>
                    <a:pt x="7145" y="3640"/>
                  </a:lnTo>
                  <a:lnTo>
                    <a:pt x="7150" y="3656"/>
                  </a:lnTo>
                  <a:lnTo>
                    <a:pt x="7167" y="3661"/>
                  </a:lnTo>
                  <a:lnTo>
                    <a:pt x="7193" y="3651"/>
                  </a:lnTo>
                  <a:lnTo>
                    <a:pt x="7193" y="3661"/>
                  </a:lnTo>
                  <a:lnTo>
                    <a:pt x="7200" y="3656"/>
                  </a:lnTo>
                  <a:lnTo>
                    <a:pt x="7205" y="3656"/>
                  </a:lnTo>
                  <a:lnTo>
                    <a:pt x="7200" y="3661"/>
                  </a:lnTo>
                  <a:lnTo>
                    <a:pt x="7183" y="3677"/>
                  </a:lnTo>
                  <a:lnTo>
                    <a:pt x="7176" y="3677"/>
                  </a:lnTo>
                  <a:lnTo>
                    <a:pt x="7176" y="3673"/>
                  </a:lnTo>
                  <a:lnTo>
                    <a:pt x="7145" y="3677"/>
                  </a:lnTo>
                  <a:lnTo>
                    <a:pt x="7129" y="3689"/>
                  </a:lnTo>
                  <a:lnTo>
                    <a:pt x="7124" y="3677"/>
                  </a:lnTo>
                  <a:lnTo>
                    <a:pt x="7129" y="3694"/>
                  </a:lnTo>
                  <a:lnTo>
                    <a:pt x="7108" y="3711"/>
                  </a:lnTo>
                  <a:lnTo>
                    <a:pt x="7091" y="3744"/>
                  </a:lnTo>
                  <a:lnTo>
                    <a:pt x="7086" y="3727"/>
                  </a:lnTo>
                  <a:lnTo>
                    <a:pt x="7086" y="3744"/>
                  </a:lnTo>
                  <a:lnTo>
                    <a:pt x="7042" y="3744"/>
                  </a:lnTo>
                  <a:lnTo>
                    <a:pt x="7020" y="3760"/>
                  </a:lnTo>
                  <a:lnTo>
                    <a:pt x="6999" y="3800"/>
                  </a:lnTo>
                  <a:lnTo>
                    <a:pt x="6987" y="3788"/>
                  </a:lnTo>
                  <a:lnTo>
                    <a:pt x="6999" y="3784"/>
                  </a:lnTo>
                  <a:lnTo>
                    <a:pt x="6987" y="3788"/>
                  </a:lnTo>
                  <a:lnTo>
                    <a:pt x="6999" y="3805"/>
                  </a:lnTo>
                  <a:lnTo>
                    <a:pt x="6982" y="3817"/>
                  </a:lnTo>
                  <a:lnTo>
                    <a:pt x="6978" y="3817"/>
                  </a:lnTo>
                  <a:lnTo>
                    <a:pt x="6949" y="3838"/>
                  </a:lnTo>
                  <a:lnTo>
                    <a:pt x="6945" y="3829"/>
                  </a:lnTo>
                  <a:lnTo>
                    <a:pt x="6949" y="3845"/>
                  </a:lnTo>
                  <a:lnTo>
                    <a:pt x="6923" y="3862"/>
                  </a:lnTo>
                  <a:lnTo>
                    <a:pt x="6897" y="3855"/>
                  </a:lnTo>
                  <a:lnTo>
                    <a:pt x="6907" y="3862"/>
                  </a:lnTo>
                  <a:lnTo>
                    <a:pt x="6907" y="3871"/>
                  </a:lnTo>
                  <a:lnTo>
                    <a:pt x="6897" y="3878"/>
                  </a:lnTo>
                  <a:lnTo>
                    <a:pt x="6897" y="3862"/>
                  </a:lnTo>
                  <a:lnTo>
                    <a:pt x="6890" y="3871"/>
                  </a:lnTo>
                  <a:lnTo>
                    <a:pt x="6881" y="3855"/>
                  </a:lnTo>
                  <a:lnTo>
                    <a:pt x="6897" y="3878"/>
                  </a:lnTo>
                  <a:lnTo>
                    <a:pt x="6881" y="3883"/>
                  </a:lnTo>
                  <a:lnTo>
                    <a:pt x="6881" y="3895"/>
                  </a:lnTo>
                  <a:lnTo>
                    <a:pt x="6881" y="3900"/>
                  </a:lnTo>
                  <a:lnTo>
                    <a:pt x="6869" y="3916"/>
                  </a:lnTo>
                  <a:lnTo>
                    <a:pt x="6860" y="3933"/>
                  </a:lnTo>
                  <a:lnTo>
                    <a:pt x="6853" y="3933"/>
                  </a:lnTo>
                  <a:lnTo>
                    <a:pt x="6860" y="3937"/>
                  </a:lnTo>
                  <a:lnTo>
                    <a:pt x="6853" y="3956"/>
                  </a:lnTo>
                  <a:lnTo>
                    <a:pt x="6836" y="3966"/>
                  </a:lnTo>
                  <a:lnTo>
                    <a:pt x="6843" y="3973"/>
                  </a:lnTo>
                  <a:lnTo>
                    <a:pt x="6836" y="3989"/>
                  </a:lnTo>
                  <a:lnTo>
                    <a:pt x="6853" y="4077"/>
                  </a:lnTo>
                  <a:lnTo>
                    <a:pt x="6874" y="4122"/>
                  </a:lnTo>
                  <a:lnTo>
                    <a:pt x="6907" y="4171"/>
                  </a:lnTo>
                  <a:lnTo>
                    <a:pt x="6897" y="4192"/>
                  </a:lnTo>
                  <a:lnTo>
                    <a:pt x="6912" y="4225"/>
                  </a:lnTo>
                  <a:lnTo>
                    <a:pt x="6897" y="4192"/>
                  </a:lnTo>
                  <a:lnTo>
                    <a:pt x="6897" y="4159"/>
                  </a:lnTo>
                  <a:lnTo>
                    <a:pt x="6890" y="4159"/>
                  </a:lnTo>
                  <a:lnTo>
                    <a:pt x="6890" y="4155"/>
                  </a:lnTo>
                  <a:lnTo>
                    <a:pt x="6881" y="4155"/>
                  </a:lnTo>
                  <a:lnTo>
                    <a:pt x="6890" y="4176"/>
                  </a:lnTo>
                  <a:lnTo>
                    <a:pt x="6935" y="4303"/>
                  </a:lnTo>
                  <a:lnTo>
                    <a:pt x="6928" y="4377"/>
                  </a:lnTo>
                  <a:lnTo>
                    <a:pt x="6923" y="4398"/>
                  </a:lnTo>
                  <a:lnTo>
                    <a:pt x="6912" y="4431"/>
                  </a:lnTo>
                  <a:lnTo>
                    <a:pt x="6907" y="4426"/>
                  </a:lnTo>
                  <a:lnTo>
                    <a:pt x="6869" y="4431"/>
                  </a:lnTo>
                  <a:lnTo>
                    <a:pt x="6860" y="4426"/>
                  </a:lnTo>
                  <a:lnTo>
                    <a:pt x="6874" y="4431"/>
                  </a:lnTo>
                  <a:lnTo>
                    <a:pt x="6874" y="4426"/>
                  </a:lnTo>
                  <a:lnTo>
                    <a:pt x="6860" y="4414"/>
                  </a:lnTo>
                  <a:lnTo>
                    <a:pt x="6853" y="4381"/>
                  </a:lnTo>
                  <a:lnTo>
                    <a:pt x="6822" y="4370"/>
                  </a:lnTo>
                  <a:lnTo>
                    <a:pt x="6815" y="4327"/>
                  </a:lnTo>
                  <a:lnTo>
                    <a:pt x="6805" y="4327"/>
                  </a:lnTo>
                  <a:lnTo>
                    <a:pt x="6822" y="4315"/>
                  </a:lnTo>
                  <a:lnTo>
                    <a:pt x="6805" y="4327"/>
                  </a:lnTo>
                  <a:lnTo>
                    <a:pt x="6798" y="4327"/>
                  </a:lnTo>
                  <a:lnTo>
                    <a:pt x="6798" y="4299"/>
                  </a:lnTo>
                  <a:lnTo>
                    <a:pt x="6789" y="4299"/>
                  </a:lnTo>
                  <a:lnTo>
                    <a:pt x="6789" y="4303"/>
                  </a:lnTo>
                  <a:lnTo>
                    <a:pt x="6784" y="4303"/>
                  </a:lnTo>
                  <a:lnTo>
                    <a:pt x="6760" y="4261"/>
                  </a:lnTo>
                  <a:lnTo>
                    <a:pt x="6772" y="4225"/>
                  </a:lnTo>
                  <a:lnTo>
                    <a:pt x="6772" y="4216"/>
                  </a:lnTo>
                  <a:lnTo>
                    <a:pt x="6751" y="4209"/>
                  </a:lnTo>
                  <a:lnTo>
                    <a:pt x="6751" y="4216"/>
                  </a:lnTo>
                  <a:lnTo>
                    <a:pt x="6760" y="4225"/>
                  </a:lnTo>
                  <a:lnTo>
                    <a:pt x="6751" y="4244"/>
                  </a:lnTo>
                  <a:lnTo>
                    <a:pt x="6746" y="4225"/>
                  </a:lnTo>
                  <a:lnTo>
                    <a:pt x="6760" y="4176"/>
                  </a:lnTo>
                  <a:lnTo>
                    <a:pt x="6760" y="4150"/>
                  </a:lnTo>
                  <a:lnTo>
                    <a:pt x="6746" y="4122"/>
                  </a:lnTo>
                  <a:lnTo>
                    <a:pt x="6730" y="4117"/>
                  </a:lnTo>
                  <a:lnTo>
                    <a:pt x="6708" y="4093"/>
                  </a:lnTo>
                  <a:lnTo>
                    <a:pt x="6708" y="4081"/>
                  </a:lnTo>
                  <a:lnTo>
                    <a:pt x="6680" y="4060"/>
                  </a:lnTo>
                  <a:lnTo>
                    <a:pt x="6659" y="4048"/>
                  </a:lnTo>
                  <a:lnTo>
                    <a:pt x="6642" y="4048"/>
                  </a:lnTo>
                  <a:lnTo>
                    <a:pt x="6626" y="4060"/>
                  </a:lnTo>
                  <a:lnTo>
                    <a:pt x="6638" y="4065"/>
                  </a:lnTo>
                  <a:lnTo>
                    <a:pt x="6626" y="4060"/>
                  </a:lnTo>
                  <a:lnTo>
                    <a:pt x="6600" y="4077"/>
                  </a:lnTo>
                  <a:lnTo>
                    <a:pt x="6567" y="4081"/>
                  </a:lnTo>
                  <a:lnTo>
                    <a:pt x="6567" y="4065"/>
                  </a:lnTo>
                  <a:lnTo>
                    <a:pt x="6567" y="4081"/>
                  </a:lnTo>
                  <a:lnTo>
                    <a:pt x="6567" y="4065"/>
                  </a:lnTo>
                  <a:lnTo>
                    <a:pt x="6545" y="4048"/>
                  </a:lnTo>
                  <a:lnTo>
                    <a:pt x="6567" y="4048"/>
                  </a:lnTo>
                  <a:lnTo>
                    <a:pt x="6545" y="4044"/>
                  </a:lnTo>
                  <a:lnTo>
                    <a:pt x="6534" y="4039"/>
                  </a:lnTo>
                  <a:lnTo>
                    <a:pt x="6545" y="4044"/>
                  </a:lnTo>
                  <a:lnTo>
                    <a:pt x="6496" y="4027"/>
                  </a:lnTo>
                  <a:lnTo>
                    <a:pt x="6512" y="4027"/>
                  </a:lnTo>
                  <a:lnTo>
                    <a:pt x="6503" y="4022"/>
                  </a:lnTo>
                  <a:lnTo>
                    <a:pt x="6437" y="4027"/>
                  </a:lnTo>
                  <a:lnTo>
                    <a:pt x="6458" y="4022"/>
                  </a:lnTo>
                  <a:lnTo>
                    <a:pt x="6442" y="4011"/>
                  </a:lnTo>
                  <a:lnTo>
                    <a:pt x="6427" y="4027"/>
                  </a:lnTo>
                  <a:lnTo>
                    <a:pt x="6411" y="4039"/>
                  </a:lnTo>
                  <a:lnTo>
                    <a:pt x="6427" y="4022"/>
                  </a:lnTo>
                  <a:lnTo>
                    <a:pt x="6420" y="4022"/>
                  </a:lnTo>
                  <a:lnTo>
                    <a:pt x="6411" y="4039"/>
                  </a:lnTo>
                  <a:lnTo>
                    <a:pt x="6382" y="4039"/>
                  </a:lnTo>
                  <a:lnTo>
                    <a:pt x="6394" y="4039"/>
                  </a:lnTo>
                  <a:lnTo>
                    <a:pt x="6390" y="4022"/>
                  </a:lnTo>
                  <a:lnTo>
                    <a:pt x="6390" y="4006"/>
                  </a:lnTo>
                  <a:lnTo>
                    <a:pt x="6382" y="4006"/>
                  </a:lnTo>
                  <a:lnTo>
                    <a:pt x="6373" y="4027"/>
                  </a:lnTo>
                  <a:lnTo>
                    <a:pt x="6357" y="4027"/>
                  </a:lnTo>
                  <a:lnTo>
                    <a:pt x="6352" y="4027"/>
                  </a:lnTo>
                  <a:lnTo>
                    <a:pt x="6314" y="4022"/>
                  </a:lnTo>
                  <a:lnTo>
                    <a:pt x="6276" y="4044"/>
                  </a:lnTo>
                  <a:lnTo>
                    <a:pt x="6227" y="4027"/>
                  </a:lnTo>
                  <a:lnTo>
                    <a:pt x="6210" y="4044"/>
                  </a:lnTo>
                  <a:lnTo>
                    <a:pt x="6210" y="4048"/>
                  </a:lnTo>
                  <a:lnTo>
                    <a:pt x="6227" y="4048"/>
                  </a:lnTo>
                  <a:lnTo>
                    <a:pt x="6264" y="4044"/>
                  </a:lnTo>
                  <a:lnTo>
                    <a:pt x="6248" y="4048"/>
                  </a:lnTo>
                  <a:lnTo>
                    <a:pt x="6264" y="4065"/>
                  </a:lnTo>
                  <a:lnTo>
                    <a:pt x="6281" y="4048"/>
                  </a:lnTo>
                  <a:lnTo>
                    <a:pt x="6286" y="4065"/>
                  </a:lnTo>
                  <a:lnTo>
                    <a:pt x="6281" y="4077"/>
                  </a:lnTo>
                  <a:lnTo>
                    <a:pt x="6281" y="4065"/>
                  </a:lnTo>
                  <a:lnTo>
                    <a:pt x="6260" y="4081"/>
                  </a:lnTo>
                  <a:lnTo>
                    <a:pt x="6314" y="4122"/>
                  </a:lnTo>
                  <a:lnTo>
                    <a:pt x="6302" y="4133"/>
                  </a:lnTo>
                  <a:lnTo>
                    <a:pt x="6297" y="4133"/>
                  </a:lnTo>
                  <a:lnTo>
                    <a:pt x="6281" y="4138"/>
                  </a:lnTo>
                  <a:lnTo>
                    <a:pt x="6286" y="4122"/>
                  </a:lnTo>
                  <a:lnTo>
                    <a:pt x="6281" y="4133"/>
                  </a:lnTo>
                  <a:lnTo>
                    <a:pt x="6281" y="4117"/>
                  </a:lnTo>
                  <a:lnTo>
                    <a:pt x="6260" y="4105"/>
                  </a:lnTo>
                  <a:lnTo>
                    <a:pt x="6260" y="4100"/>
                  </a:lnTo>
                  <a:lnTo>
                    <a:pt x="6227" y="4093"/>
                  </a:lnTo>
                  <a:lnTo>
                    <a:pt x="6227" y="4100"/>
                  </a:lnTo>
                  <a:lnTo>
                    <a:pt x="6243" y="4100"/>
                  </a:lnTo>
                  <a:lnTo>
                    <a:pt x="6231" y="4122"/>
                  </a:lnTo>
                  <a:lnTo>
                    <a:pt x="6227" y="4133"/>
                  </a:lnTo>
                  <a:lnTo>
                    <a:pt x="6222" y="4117"/>
                  </a:lnTo>
                  <a:lnTo>
                    <a:pt x="6210" y="4105"/>
                  </a:lnTo>
                  <a:lnTo>
                    <a:pt x="6189" y="4122"/>
                  </a:lnTo>
                  <a:lnTo>
                    <a:pt x="6151" y="4117"/>
                  </a:lnTo>
                  <a:lnTo>
                    <a:pt x="6151" y="4105"/>
                  </a:lnTo>
                  <a:lnTo>
                    <a:pt x="6156" y="4105"/>
                  </a:lnTo>
                  <a:lnTo>
                    <a:pt x="6156" y="4117"/>
                  </a:lnTo>
                  <a:lnTo>
                    <a:pt x="6168" y="4105"/>
                  </a:lnTo>
                  <a:lnTo>
                    <a:pt x="6134" y="4093"/>
                  </a:lnTo>
                  <a:lnTo>
                    <a:pt x="6125" y="4077"/>
                  </a:lnTo>
                  <a:lnTo>
                    <a:pt x="6113" y="4065"/>
                  </a:lnTo>
                  <a:lnTo>
                    <a:pt x="6087" y="4077"/>
                  </a:lnTo>
                  <a:lnTo>
                    <a:pt x="6097" y="4081"/>
                  </a:lnTo>
                  <a:lnTo>
                    <a:pt x="6080" y="4093"/>
                  </a:lnTo>
                  <a:lnTo>
                    <a:pt x="6012" y="4077"/>
                  </a:lnTo>
                  <a:lnTo>
                    <a:pt x="5974" y="4077"/>
                  </a:lnTo>
                  <a:lnTo>
                    <a:pt x="5962" y="4065"/>
                  </a:lnTo>
                  <a:lnTo>
                    <a:pt x="5979" y="4060"/>
                  </a:lnTo>
                  <a:lnTo>
                    <a:pt x="5974" y="4060"/>
                  </a:lnTo>
                  <a:lnTo>
                    <a:pt x="5962" y="4065"/>
                  </a:lnTo>
                  <a:lnTo>
                    <a:pt x="5974" y="4081"/>
                  </a:lnTo>
                  <a:lnTo>
                    <a:pt x="5950" y="4081"/>
                  </a:lnTo>
                  <a:lnTo>
                    <a:pt x="5903" y="4105"/>
                  </a:lnTo>
                  <a:lnTo>
                    <a:pt x="5924" y="4093"/>
                  </a:lnTo>
                  <a:lnTo>
                    <a:pt x="5903" y="4093"/>
                  </a:lnTo>
                  <a:lnTo>
                    <a:pt x="5908" y="4077"/>
                  </a:lnTo>
                  <a:lnTo>
                    <a:pt x="5886" y="4077"/>
                  </a:lnTo>
                  <a:lnTo>
                    <a:pt x="5898" y="4105"/>
                  </a:lnTo>
                  <a:lnTo>
                    <a:pt x="5882" y="4133"/>
                  </a:lnTo>
                  <a:lnTo>
                    <a:pt x="5799" y="4176"/>
                  </a:lnTo>
                  <a:lnTo>
                    <a:pt x="5816" y="4159"/>
                  </a:lnTo>
                  <a:lnTo>
                    <a:pt x="5799" y="4171"/>
                  </a:lnTo>
                  <a:lnTo>
                    <a:pt x="5811" y="4159"/>
                  </a:lnTo>
                  <a:lnTo>
                    <a:pt x="5790" y="4155"/>
                  </a:lnTo>
                  <a:lnTo>
                    <a:pt x="5794" y="4159"/>
                  </a:lnTo>
                  <a:lnTo>
                    <a:pt x="5790" y="4159"/>
                  </a:lnTo>
                  <a:lnTo>
                    <a:pt x="5773" y="4155"/>
                  </a:lnTo>
                  <a:lnTo>
                    <a:pt x="5778" y="4171"/>
                  </a:lnTo>
                  <a:lnTo>
                    <a:pt x="5794" y="4176"/>
                  </a:lnTo>
                  <a:lnTo>
                    <a:pt x="5773" y="4188"/>
                  </a:lnTo>
                  <a:lnTo>
                    <a:pt x="5761" y="4176"/>
                  </a:lnTo>
                  <a:lnTo>
                    <a:pt x="5761" y="4192"/>
                  </a:lnTo>
                  <a:lnTo>
                    <a:pt x="5757" y="4204"/>
                  </a:lnTo>
                  <a:lnTo>
                    <a:pt x="5740" y="4204"/>
                  </a:lnTo>
                  <a:lnTo>
                    <a:pt x="5735" y="4209"/>
                  </a:lnTo>
                  <a:lnTo>
                    <a:pt x="5747" y="4209"/>
                  </a:lnTo>
                  <a:lnTo>
                    <a:pt x="5740" y="4225"/>
                  </a:lnTo>
                  <a:lnTo>
                    <a:pt x="5709" y="4225"/>
                  </a:lnTo>
                  <a:lnTo>
                    <a:pt x="5735" y="4244"/>
                  </a:lnTo>
                  <a:lnTo>
                    <a:pt x="5719" y="4266"/>
                  </a:lnTo>
                  <a:lnTo>
                    <a:pt x="5709" y="4266"/>
                  </a:lnTo>
                  <a:lnTo>
                    <a:pt x="5693" y="4261"/>
                  </a:lnTo>
                  <a:lnTo>
                    <a:pt x="5702" y="4270"/>
                  </a:lnTo>
                  <a:lnTo>
                    <a:pt x="5719" y="4266"/>
                  </a:lnTo>
                  <a:lnTo>
                    <a:pt x="5709" y="4303"/>
                  </a:lnTo>
                  <a:lnTo>
                    <a:pt x="5735" y="4370"/>
                  </a:lnTo>
                  <a:lnTo>
                    <a:pt x="5740" y="4360"/>
                  </a:lnTo>
                  <a:lnTo>
                    <a:pt x="5740" y="4370"/>
                  </a:lnTo>
                  <a:lnTo>
                    <a:pt x="5719" y="4377"/>
                  </a:lnTo>
                  <a:lnTo>
                    <a:pt x="5702" y="4370"/>
                  </a:lnTo>
                  <a:lnTo>
                    <a:pt x="5664" y="4360"/>
                  </a:lnTo>
                  <a:lnTo>
                    <a:pt x="5648" y="4353"/>
                  </a:lnTo>
                  <a:lnTo>
                    <a:pt x="5601" y="4337"/>
                  </a:lnTo>
                  <a:lnTo>
                    <a:pt x="5596" y="4303"/>
                  </a:lnTo>
                  <a:lnTo>
                    <a:pt x="5579" y="4287"/>
                  </a:lnTo>
                  <a:lnTo>
                    <a:pt x="5572" y="4249"/>
                  </a:lnTo>
                  <a:lnTo>
                    <a:pt x="5546" y="4233"/>
                  </a:lnTo>
                  <a:lnTo>
                    <a:pt x="5530" y="4204"/>
                  </a:lnTo>
                  <a:lnTo>
                    <a:pt x="5520" y="4192"/>
                  </a:lnTo>
                  <a:lnTo>
                    <a:pt x="5492" y="4122"/>
                  </a:lnTo>
                  <a:lnTo>
                    <a:pt x="5449" y="4081"/>
                  </a:lnTo>
                  <a:lnTo>
                    <a:pt x="5438" y="4077"/>
                  </a:lnTo>
                  <a:lnTo>
                    <a:pt x="5395" y="4077"/>
                  </a:lnTo>
                  <a:lnTo>
                    <a:pt x="5379" y="4065"/>
                  </a:lnTo>
                  <a:lnTo>
                    <a:pt x="5357" y="4077"/>
                  </a:lnTo>
                  <a:lnTo>
                    <a:pt x="5341" y="4117"/>
                  </a:lnTo>
                  <a:lnTo>
                    <a:pt x="5315" y="4138"/>
                  </a:lnTo>
                  <a:lnTo>
                    <a:pt x="5303" y="4133"/>
                  </a:lnTo>
                  <a:lnTo>
                    <a:pt x="5256" y="4105"/>
                  </a:lnTo>
                  <a:lnTo>
                    <a:pt x="5223" y="4081"/>
                  </a:lnTo>
                  <a:lnTo>
                    <a:pt x="5206" y="4060"/>
                  </a:lnTo>
                  <a:lnTo>
                    <a:pt x="5206" y="4044"/>
                  </a:lnTo>
                  <a:lnTo>
                    <a:pt x="5194" y="4011"/>
                  </a:lnTo>
                  <a:lnTo>
                    <a:pt x="5097" y="3937"/>
                  </a:lnTo>
                  <a:lnTo>
                    <a:pt x="5093" y="3916"/>
                  </a:lnTo>
                  <a:lnTo>
                    <a:pt x="4963" y="3916"/>
                  </a:lnTo>
                  <a:lnTo>
                    <a:pt x="4963" y="3949"/>
                  </a:lnTo>
                  <a:lnTo>
                    <a:pt x="4764" y="3949"/>
                  </a:lnTo>
                  <a:lnTo>
                    <a:pt x="4500" y="3855"/>
                  </a:lnTo>
                  <a:lnTo>
                    <a:pt x="4505" y="3838"/>
                  </a:lnTo>
                  <a:lnTo>
                    <a:pt x="4337" y="3855"/>
                  </a:lnTo>
                  <a:lnTo>
                    <a:pt x="4325" y="3838"/>
                  </a:lnTo>
                  <a:lnTo>
                    <a:pt x="4337" y="3845"/>
                  </a:lnTo>
                  <a:lnTo>
                    <a:pt x="4325" y="3845"/>
                  </a:lnTo>
                  <a:lnTo>
                    <a:pt x="4325" y="3822"/>
                  </a:lnTo>
                  <a:lnTo>
                    <a:pt x="4316" y="3788"/>
                  </a:lnTo>
                  <a:lnTo>
                    <a:pt x="4266" y="3760"/>
                  </a:lnTo>
                  <a:lnTo>
                    <a:pt x="4249" y="3760"/>
                  </a:lnTo>
                  <a:lnTo>
                    <a:pt x="4235" y="3734"/>
                  </a:lnTo>
                  <a:lnTo>
                    <a:pt x="4197" y="3727"/>
                  </a:lnTo>
                  <a:lnTo>
                    <a:pt x="4164" y="3706"/>
                  </a:lnTo>
                  <a:lnTo>
                    <a:pt x="4105" y="3706"/>
                  </a:lnTo>
                  <a:lnTo>
                    <a:pt x="4089" y="3689"/>
                  </a:lnTo>
                  <a:lnTo>
                    <a:pt x="4098" y="3651"/>
                  </a:lnTo>
                  <a:lnTo>
                    <a:pt x="4072" y="3640"/>
                  </a:lnTo>
                  <a:lnTo>
                    <a:pt x="4072" y="3616"/>
                  </a:lnTo>
                  <a:lnTo>
                    <a:pt x="4001" y="3545"/>
                  </a:lnTo>
                  <a:lnTo>
                    <a:pt x="3997" y="3524"/>
                  </a:lnTo>
                  <a:lnTo>
                    <a:pt x="4013" y="3524"/>
                  </a:lnTo>
                  <a:lnTo>
                    <a:pt x="4013" y="3496"/>
                  </a:lnTo>
                  <a:lnTo>
                    <a:pt x="4001" y="3488"/>
                  </a:lnTo>
                  <a:lnTo>
                    <a:pt x="3980" y="3488"/>
                  </a:lnTo>
                  <a:lnTo>
                    <a:pt x="3964" y="3472"/>
                  </a:lnTo>
                  <a:lnTo>
                    <a:pt x="3964" y="3455"/>
                  </a:lnTo>
                  <a:lnTo>
                    <a:pt x="3959" y="3451"/>
                  </a:lnTo>
                  <a:lnTo>
                    <a:pt x="3959" y="3429"/>
                  </a:lnTo>
                  <a:lnTo>
                    <a:pt x="3964" y="3429"/>
                  </a:lnTo>
                  <a:lnTo>
                    <a:pt x="3975" y="3439"/>
                  </a:lnTo>
                  <a:lnTo>
                    <a:pt x="3997" y="3451"/>
                  </a:lnTo>
                  <a:lnTo>
                    <a:pt x="3964" y="3413"/>
                  </a:lnTo>
                  <a:lnTo>
                    <a:pt x="3980" y="3401"/>
                  </a:lnTo>
                  <a:lnTo>
                    <a:pt x="4018" y="3413"/>
                  </a:lnTo>
                  <a:lnTo>
                    <a:pt x="4030" y="3401"/>
                  </a:lnTo>
                  <a:lnTo>
                    <a:pt x="4034" y="3413"/>
                  </a:lnTo>
                  <a:lnTo>
                    <a:pt x="4030" y="3401"/>
                  </a:lnTo>
                  <a:lnTo>
                    <a:pt x="4013" y="3401"/>
                  </a:lnTo>
                  <a:lnTo>
                    <a:pt x="3997" y="3396"/>
                  </a:lnTo>
                  <a:lnTo>
                    <a:pt x="3992" y="3401"/>
                  </a:lnTo>
                  <a:lnTo>
                    <a:pt x="3975" y="3396"/>
                  </a:lnTo>
                  <a:lnTo>
                    <a:pt x="3964" y="3396"/>
                  </a:lnTo>
                  <a:lnTo>
                    <a:pt x="3964" y="3418"/>
                  </a:lnTo>
                  <a:lnTo>
                    <a:pt x="3959" y="3429"/>
                  </a:lnTo>
                  <a:lnTo>
                    <a:pt x="3938" y="3401"/>
                  </a:lnTo>
                  <a:lnTo>
                    <a:pt x="3926" y="3413"/>
                  </a:lnTo>
                  <a:lnTo>
                    <a:pt x="3926" y="3385"/>
                  </a:lnTo>
                  <a:lnTo>
                    <a:pt x="3942" y="3401"/>
                  </a:lnTo>
                  <a:lnTo>
                    <a:pt x="3921" y="3373"/>
                  </a:lnTo>
                  <a:lnTo>
                    <a:pt x="3871" y="3328"/>
                  </a:lnTo>
                  <a:lnTo>
                    <a:pt x="3871" y="3262"/>
                  </a:lnTo>
                  <a:lnTo>
                    <a:pt x="3850" y="3229"/>
                  </a:lnTo>
                  <a:lnTo>
                    <a:pt x="3834" y="3219"/>
                  </a:lnTo>
                  <a:lnTo>
                    <a:pt x="3829" y="3207"/>
                  </a:lnTo>
                  <a:lnTo>
                    <a:pt x="3841" y="3174"/>
                  </a:lnTo>
                  <a:lnTo>
                    <a:pt x="3850" y="3118"/>
                  </a:lnTo>
                  <a:lnTo>
                    <a:pt x="3841" y="3085"/>
                  </a:lnTo>
                  <a:lnTo>
                    <a:pt x="3841" y="3068"/>
                  </a:lnTo>
                  <a:lnTo>
                    <a:pt x="3829" y="3047"/>
                  </a:lnTo>
                  <a:lnTo>
                    <a:pt x="3829" y="3014"/>
                  </a:lnTo>
                  <a:lnTo>
                    <a:pt x="3817" y="2990"/>
                  </a:lnTo>
                  <a:lnTo>
                    <a:pt x="3829" y="2952"/>
                  </a:lnTo>
                  <a:lnTo>
                    <a:pt x="3841" y="2952"/>
                  </a:lnTo>
                  <a:lnTo>
                    <a:pt x="3841" y="2940"/>
                  </a:lnTo>
                  <a:lnTo>
                    <a:pt x="3834" y="2940"/>
                  </a:lnTo>
                  <a:lnTo>
                    <a:pt x="3850" y="2919"/>
                  </a:lnTo>
                  <a:lnTo>
                    <a:pt x="3850" y="2813"/>
                  </a:lnTo>
                  <a:lnTo>
                    <a:pt x="3855" y="2792"/>
                  </a:lnTo>
                  <a:lnTo>
                    <a:pt x="3855" y="2759"/>
                  </a:lnTo>
                  <a:lnTo>
                    <a:pt x="3867" y="2759"/>
                  </a:lnTo>
                  <a:lnTo>
                    <a:pt x="3855" y="2697"/>
                  </a:lnTo>
                  <a:lnTo>
                    <a:pt x="3888" y="2692"/>
                  </a:lnTo>
                  <a:lnTo>
                    <a:pt x="3905" y="2702"/>
                  </a:lnTo>
                  <a:lnTo>
                    <a:pt x="3909" y="2697"/>
                  </a:lnTo>
                  <a:lnTo>
                    <a:pt x="3855" y="2692"/>
                  </a:lnTo>
                  <a:lnTo>
                    <a:pt x="3850" y="2659"/>
                  </a:lnTo>
                  <a:lnTo>
                    <a:pt x="3855" y="2681"/>
                  </a:lnTo>
                  <a:lnTo>
                    <a:pt x="3867" y="2664"/>
                  </a:lnTo>
                  <a:lnTo>
                    <a:pt x="3855" y="2659"/>
                  </a:lnTo>
                  <a:lnTo>
                    <a:pt x="3871" y="2648"/>
                  </a:lnTo>
                  <a:lnTo>
                    <a:pt x="3850" y="2648"/>
                  </a:lnTo>
                  <a:lnTo>
                    <a:pt x="3850" y="2643"/>
                  </a:lnTo>
                  <a:lnTo>
                    <a:pt x="3871" y="2626"/>
                  </a:lnTo>
                  <a:lnTo>
                    <a:pt x="3850" y="2619"/>
                  </a:lnTo>
                  <a:lnTo>
                    <a:pt x="3841" y="2636"/>
                  </a:lnTo>
                  <a:lnTo>
                    <a:pt x="3829" y="2565"/>
                  </a:lnTo>
                  <a:lnTo>
                    <a:pt x="3812" y="2532"/>
                  </a:lnTo>
                  <a:lnTo>
                    <a:pt x="3803" y="2499"/>
                  </a:lnTo>
                  <a:lnTo>
                    <a:pt x="3855" y="2515"/>
                  </a:lnTo>
                  <a:lnTo>
                    <a:pt x="3905" y="2525"/>
                  </a:lnTo>
                  <a:lnTo>
                    <a:pt x="3921" y="2515"/>
                  </a:lnTo>
                  <a:lnTo>
                    <a:pt x="3938" y="2525"/>
                  </a:lnTo>
                  <a:lnTo>
                    <a:pt x="3942" y="2515"/>
                  </a:lnTo>
                  <a:lnTo>
                    <a:pt x="3942" y="2525"/>
                  </a:lnTo>
                  <a:lnTo>
                    <a:pt x="3947" y="2537"/>
                  </a:lnTo>
                  <a:lnTo>
                    <a:pt x="3942" y="2553"/>
                  </a:lnTo>
                  <a:lnTo>
                    <a:pt x="3938" y="2548"/>
                  </a:lnTo>
                  <a:lnTo>
                    <a:pt x="3909" y="2591"/>
                  </a:lnTo>
                  <a:lnTo>
                    <a:pt x="3938" y="2586"/>
                  </a:lnTo>
                  <a:lnTo>
                    <a:pt x="3921" y="2586"/>
                  </a:lnTo>
                  <a:lnTo>
                    <a:pt x="3959" y="2537"/>
                  </a:lnTo>
                  <a:lnTo>
                    <a:pt x="3964" y="2553"/>
                  </a:lnTo>
                  <a:lnTo>
                    <a:pt x="3947" y="2565"/>
                  </a:lnTo>
                  <a:lnTo>
                    <a:pt x="3947" y="2570"/>
                  </a:lnTo>
                  <a:lnTo>
                    <a:pt x="3947" y="2565"/>
                  </a:lnTo>
                  <a:lnTo>
                    <a:pt x="3947" y="2581"/>
                  </a:lnTo>
                  <a:lnTo>
                    <a:pt x="3959" y="2570"/>
                  </a:lnTo>
                  <a:lnTo>
                    <a:pt x="3959" y="2603"/>
                  </a:lnTo>
                  <a:lnTo>
                    <a:pt x="3947" y="2591"/>
                  </a:lnTo>
                  <a:lnTo>
                    <a:pt x="3947" y="2586"/>
                  </a:lnTo>
                  <a:lnTo>
                    <a:pt x="3942" y="2610"/>
                  </a:lnTo>
                  <a:lnTo>
                    <a:pt x="3942" y="2586"/>
                  </a:lnTo>
                  <a:lnTo>
                    <a:pt x="3921" y="2610"/>
                  </a:lnTo>
                  <a:lnTo>
                    <a:pt x="3938" y="2619"/>
                  </a:lnTo>
                  <a:lnTo>
                    <a:pt x="3938" y="2610"/>
                  </a:lnTo>
                  <a:lnTo>
                    <a:pt x="3942" y="2619"/>
                  </a:lnTo>
                  <a:lnTo>
                    <a:pt x="3975" y="2586"/>
                  </a:lnTo>
                  <a:lnTo>
                    <a:pt x="3964" y="2565"/>
                  </a:lnTo>
                  <a:lnTo>
                    <a:pt x="3975" y="2537"/>
                  </a:lnTo>
                  <a:lnTo>
                    <a:pt x="3975" y="2532"/>
                  </a:lnTo>
                  <a:lnTo>
                    <a:pt x="3964" y="2515"/>
                  </a:lnTo>
                  <a:lnTo>
                    <a:pt x="3964" y="2525"/>
                  </a:lnTo>
                  <a:lnTo>
                    <a:pt x="3959" y="2515"/>
                  </a:lnTo>
                  <a:lnTo>
                    <a:pt x="3964" y="2508"/>
                  </a:lnTo>
                  <a:lnTo>
                    <a:pt x="3942" y="2492"/>
                  </a:lnTo>
                  <a:lnTo>
                    <a:pt x="3959" y="2492"/>
                  </a:lnTo>
                  <a:lnTo>
                    <a:pt x="3964" y="2475"/>
                  </a:lnTo>
                  <a:lnTo>
                    <a:pt x="3959" y="2470"/>
                  </a:lnTo>
                  <a:lnTo>
                    <a:pt x="3947" y="2459"/>
                  </a:lnTo>
                  <a:lnTo>
                    <a:pt x="3942" y="2454"/>
                  </a:lnTo>
                  <a:lnTo>
                    <a:pt x="3942" y="2442"/>
                  </a:lnTo>
                  <a:lnTo>
                    <a:pt x="3942" y="2442"/>
                  </a:lnTo>
                  <a:lnTo>
                    <a:pt x="3942" y="2442"/>
                  </a:lnTo>
                  <a:close/>
                  <a:moveTo>
                    <a:pt x="3938" y="2470"/>
                  </a:moveTo>
                  <a:lnTo>
                    <a:pt x="3942" y="2475"/>
                  </a:lnTo>
                  <a:lnTo>
                    <a:pt x="3926" y="2475"/>
                  </a:lnTo>
                  <a:lnTo>
                    <a:pt x="3938" y="2470"/>
                  </a:lnTo>
                  <a:lnTo>
                    <a:pt x="3938" y="2470"/>
                  </a:lnTo>
                  <a:lnTo>
                    <a:pt x="3938" y="2470"/>
                  </a:lnTo>
                  <a:close/>
                  <a:moveTo>
                    <a:pt x="3921" y="2475"/>
                  </a:moveTo>
                  <a:lnTo>
                    <a:pt x="3926" y="2492"/>
                  </a:lnTo>
                  <a:lnTo>
                    <a:pt x="3909" y="2492"/>
                  </a:lnTo>
                  <a:lnTo>
                    <a:pt x="3909" y="2475"/>
                  </a:lnTo>
                  <a:lnTo>
                    <a:pt x="3921" y="2475"/>
                  </a:lnTo>
                  <a:lnTo>
                    <a:pt x="3921" y="2475"/>
                  </a:lnTo>
                  <a:lnTo>
                    <a:pt x="3921" y="2475"/>
                  </a:lnTo>
                  <a:close/>
                  <a:moveTo>
                    <a:pt x="3938" y="2482"/>
                  </a:moveTo>
                  <a:lnTo>
                    <a:pt x="3938" y="2492"/>
                  </a:lnTo>
                  <a:lnTo>
                    <a:pt x="3926" y="2492"/>
                  </a:lnTo>
                  <a:lnTo>
                    <a:pt x="3938" y="2482"/>
                  </a:lnTo>
                  <a:lnTo>
                    <a:pt x="3938" y="2482"/>
                  </a:lnTo>
                  <a:lnTo>
                    <a:pt x="3938" y="2482"/>
                  </a:lnTo>
                  <a:close/>
                  <a:moveTo>
                    <a:pt x="3959" y="2499"/>
                  </a:moveTo>
                  <a:lnTo>
                    <a:pt x="3959" y="2508"/>
                  </a:lnTo>
                  <a:lnTo>
                    <a:pt x="3947" y="2515"/>
                  </a:lnTo>
                  <a:lnTo>
                    <a:pt x="3975" y="2532"/>
                  </a:lnTo>
                  <a:lnTo>
                    <a:pt x="3964" y="2537"/>
                  </a:lnTo>
                  <a:lnTo>
                    <a:pt x="3942" y="2515"/>
                  </a:lnTo>
                  <a:lnTo>
                    <a:pt x="3959" y="2499"/>
                  </a:lnTo>
                  <a:lnTo>
                    <a:pt x="3959" y="2499"/>
                  </a:lnTo>
                  <a:lnTo>
                    <a:pt x="3959" y="2499"/>
                  </a:lnTo>
                  <a:close/>
                  <a:moveTo>
                    <a:pt x="3959" y="2565"/>
                  </a:moveTo>
                  <a:lnTo>
                    <a:pt x="3959" y="2570"/>
                  </a:lnTo>
                  <a:lnTo>
                    <a:pt x="3959" y="2565"/>
                  </a:lnTo>
                  <a:lnTo>
                    <a:pt x="3959" y="2565"/>
                  </a:lnTo>
                  <a:lnTo>
                    <a:pt x="3959" y="2565"/>
                  </a:lnTo>
                  <a:close/>
                  <a:moveTo>
                    <a:pt x="3964" y="2586"/>
                  </a:moveTo>
                  <a:lnTo>
                    <a:pt x="3959" y="2591"/>
                  </a:lnTo>
                  <a:lnTo>
                    <a:pt x="3964" y="2581"/>
                  </a:lnTo>
                  <a:lnTo>
                    <a:pt x="3964" y="2586"/>
                  </a:lnTo>
                  <a:lnTo>
                    <a:pt x="3964" y="2586"/>
                  </a:lnTo>
                  <a:lnTo>
                    <a:pt x="3964" y="2586"/>
                  </a:lnTo>
                  <a:close/>
                  <a:moveTo>
                    <a:pt x="3938" y="2603"/>
                  </a:moveTo>
                  <a:lnTo>
                    <a:pt x="3938" y="2610"/>
                  </a:lnTo>
                  <a:lnTo>
                    <a:pt x="3938" y="2603"/>
                  </a:lnTo>
                  <a:lnTo>
                    <a:pt x="3938" y="2603"/>
                  </a:lnTo>
                  <a:lnTo>
                    <a:pt x="3938" y="2603"/>
                  </a:lnTo>
                  <a:close/>
                  <a:moveTo>
                    <a:pt x="7771" y="2858"/>
                  </a:moveTo>
                  <a:lnTo>
                    <a:pt x="7771" y="2863"/>
                  </a:lnTo>
                  <a:lnTo>
                    <a:pt x="7760" y="2870"/>
                  </a:lnTo>
                  <a:lnTo>
                    <a:pt x="7755" y="2870"/>
                  </a:lnTo>
                  <a:lnTo>
                    <a:pt x="7755" y="2858"/>
                  </a:lnTo>
                  <a:lnTo>
                    <a:pt x="7771" y="2858"/>
                  </a:lnTo>
                  <a:lnTo>
                    <a:pt x="7771" y="2858"/>
                  </a:lnTo>
                  <a:lnTo>
                    <a:pt x="7771" y="2858"/>
                  </a:lnTo>
                  <a:close/>
                  <a:moveTo>
                    <a:pt x="7738" y="2870"/>
                  </a:moveTo>
                  <a:lnTo>
                    <a:pt x="7738" y="2879"/>
                  </a:lnTo>
                  <a:lnTo>
                    <a:pt x="7734" y="2879"/>
                  </a:lnTo>
                  <a:lnTo>
                    <a:pt x="7738" y="2870"/>
                  </a:lnTo>
                  <a:lnTo>
                    <a:pt x="7738" y="2870"/>
                  </a:lnTo>
                  <a:lnTo>
                    <a:pt x="7738" y="2870"/>
                  </a:lnTo>
                  <a:close/>
                  <a:moveTo>
                    <a:pt x="7734" y="2886"/>
                  </a:moveTo>
                  <a:lnTo>
                    <a:pt x="7722" y="2886"/>
                  </a:lnTo>
                  <a:lnTo>
                    <a:pt x="7722" y="2879"/>
                  </a:lnTo>
                  <a:lnTo>
                    <a:pt x="7734" y="2886"/>
                  </a:lnTo>
                  <a:lnTo>
                    <a:pt x="7734" y="2886"/>
                  </a:lnTo>
                  <a:lnTo>
                    <a:pt x="7734" y="2886"/>
                  </a:lnTo>
                  <a:close/>
                  <a:moveTo>
                    <a:pt x="7561" y="3101"/>
                  </a:moveTo>
                  <a:lnTo>
                    <a:pt x="7554" y="3108"/>
                  </a:lnTo>
                  <a:lnTo>
                    <a:pt x="7545" y="3118"/>
                  </a:lnTo>
                  <a:lnTo>
                    <a:pt x="7561" y="3101"/>
                  </a:lnTo>
                  <a:lnTo>
                    <a:pt x="7561" y="3101"/>
                  </a:lnTo>
                  <a:lnTo>
                    <a:pt x="7561" y="3101"/>
                  </a:lnTo>
                  <a:close/>
                  <a:moveTo>
                    <a:pt x="7608" y="3118"/>
                  </a:moveTo>
                  <a:lnTo>
                    <a:pt x="7608" y="3125"/>
                  </a:lnTo>
                  <a:lnTo>
                    <a:pt x="7582" y="3125"/>
                  </a:lnTo>
                  <a:lnTo>
                    <a:pt x="7608" y="3118"/>
                  </a:lnTo>
                  <a:lnTo>
                    <a:pt x="7608" y="3118"/>
                  </a:lnTo>
                  <a:lnTo>
                    <a:pt x="7608" y="3118"/>
                  </a:lnTo>
                  <a:close/>
                  <a:moveTo>
                    <a:pt x="7637" y="3125"/>
                  </a:moveTo>
                  <a:lnTo>
                    <a:pt x="7646" y="3134"/>
                  </a:lnTo>
                  <a:lnTo>
                    <a:pt x="7630" y="3134"/>
                  </a:lnTo>
                  <a:lnTo>
                    <a:pt x="7637" y="3125"/>
                  </a:lnTo>
                  <a:lnTo>
                    <a:pt x="7637" y="3125"/>
                  </a:lnTo>
                  <a:lnTo>
                    <a:pt x="7637" y="3125"/>
                  </a:lnTo>
                  <a:close/>
                  <a:moveTo>
                    <a:pt x="7448" y="3174"/>
                  </a:moveTo>
                  <a:lnTo>
                    <a:pt x="7382" y="3191"/>
                  </a:lnTo>
                  <a:lnTo>
                    <a:pt x="7393" y="3191"/>
                  </a:lnTo>
                  <a:lnTo>
                    <a:pt x="7365" y="3191"/>
                  </a:lnTo>
                  <a:lnTo>
                    <a:pt x="7377" y="3191"/>
                  </a:lnTo>
                  <a:lnTo>
                    <a:pt x="7360" y="3191"/>
                  </a:lnTo>
                  <a:lnTo>
                    <a:pt x="7365" y="3174"/>
                  </a:lnTo>
                  <a:lnTo>
                    <a:pt x="7393" y="3163"/>
                  </a:lnTo>
                  <a:lnTo>
                    <a:pt x="7464" y="3158"/>
                  </a:lnTo>
                  <a:lnTo>
                    <a:pt x="7486" y="3141"/>
                  </a:lnTo>
                  <a:lnTo>
                    <a:pt x="7464" y="3163"/>
                  </a:lnTo>
                  <a:lnTo>
                    <a:pt x="7516" y="3151"/>
                  </a:lnTo>
                  <a:lnTo>
                    <a:pt x="7448" y="3174"/>
                  </a:lnTo>
                  <a:lnTo>
                    <a:pt x="7448" y="3174"/>
                  </a:lnTo>
                  <a:lnTo>
                    <a:pt x="7448" y="3174"/>
                  </a:lnTo>
                  <a:close/>
                  <a:moveTo>
                    <a:pt x="7360" y="3191"/>
                  </a:moveTo>
                  <a:lnTo>
                    <a:pt x="7344" y="3196"/>
                  </a:lnTo>
                  <a:lnTo>
                    <a:pt x="7356" y="3191"/>
                  </a:lnTo>
                  <a:lnTo>
                    <a:pt x="7360" y="3191"/>
                  </a:lnTo>
                  <a:lnTo>
                    <a:pt x="7360" y="3191"/>
                  </a:lnTo>
                  <a:lnTo>
                    <a:pt x="7360" y="3191"/>
                  </a:lnTo>
                  <a:close/>
                  <a:moveTo>
                    <a:pt x="7339" y="3290"/>
                  </a:moveTo>
                  <a:lnTo>
                    <a:pt x="7327" y="3290"/>
                  </a:lnTo>
                  <a:lnTo>
                    <a:pt x="7344" y="3285"/>
                  </a:lnTo>
                  <a:lnTo>
                    <a:pt x="7339" y="3290"/>
                  </a:lnTo>
                  <a:lnTo>
                    <a:pt x="7339" y="3290"/>
                  </a:lnTo>
                  <a:lnTo>
                    <a:pt x="7339" y="3290"/>
                  </a:lnTo>
                  <a:close/>
                  <a:moveTo>
                    <a:pt x="7275" y="3401"/>
                  </a:moveTo>
                  <a:lnTo>
                    <a:pt x="7268" y="3418"/>
                  </a:lnTo>
                  <a:lnTo>
                    <a:pt x="7285" y="3385"/>
                  </a:lnTo>
                  <a:lnTo>
                    <a:pt x="7275" y="3401"/>
                  </a:lnTo>
                  <a:lnTo>
                    <a:pt x="7275" y="3401"/>
                  </a:lnTo>
                  <a:lnTo>
                    <a:pt x="7275" y="3401"/>
                  </a:lnTo>
                  <a:close/>
                  <a:moveTo>
                    <a:pt x="7252" y="3640"/>
                  </a:moveTo>
                  <a:lnTo>
                    <a:pt x="7247" y="3640"/>
                  </a:lnTo>
                  <a:lnTo>
                    <a:pt x="7259" y="3633"/>
                  </a:lnTo>
                  <a:lnTo>
                    <a:pt x="7259" y="3595"/>
                  </a:lnTo>
                  <a:lnTo>
                    <a:pt x="7259" y="3607"/>
                  </a:lnTo>
                  <a:lnTo>
                    <a:pt x="7252" y="3640"/>
                  </a:lnTo>
                  <a:lnTo>
                    <a:pt x="7252" y="3640"/>
                  </a:lnTo>
                  <a:lnTo>
                    <a:pt x="7252" y="3640"/>
                  </a:lnTo>
                  <a:close/>
                  <a:moveTo>
                    <a:pt x="4143" y="3727"/>
                  </a:moveTo>
                  <a:lnTo>
                    <a:pt x="4174" y="3734"/>
                  </a:lnTo>
                  <a:lnTo>
                    <a:pt x="4153" y="3744"/>
                  </a:lnTo>
                  <a:lnTo>
                    <a:pt x="4143" y="3734"/>
                  </a:lnTo>
                  <a:lnTo>
                    <a:pt x="4143" y="3727"/>
                  </a:lnTo>
                  <a:lnTo>
                    <a:pt x="4143" y="3727"/>
                  </a:lnTo>
                  <a:lnTo>
                    <a:pt x="4143" y="3727"/>
                  </a:lnTo>
                  <a:close/>
                  <a:moveTo>
                    <a:pt x="4136" y="3734"/>
                  </a:moveTo>
                  <a:lnTo>
                    <a:pt x="4127" y="3744"/>
                  </a:lnTo>
                  <a:lnTo>
                    <a:pt x="4122" y="3734"/>
                  </a:lnTo>
                  <a:lnTo>
                    <a:pt x="4136" y="3734"/>
                  </a:lnTo>
                  <a:lnTo>
                    <a:pt x="4136" y="3734"/>
                  </a:lnTo>
                  <a:lnTo>
                    <a:pt x="4136" y="3734"/>
                  </a:lnTo>
                  <a:close/>
                  <a:moveTo>
                    <a:pt x="4245" y="3784"/>
                  </a:moveTo>
                  <a:lnTo>
                    <a:pt x="4261" y="3788"/>
                  </a:lnTo>
                  <a:lnTo>
                    <a:pt x="4245" y="3788"/>
                  </a:lnTo>
                  <a:lnTo>
                    <a:pt x="4235" y="3772"/>
                  </a:lnTo>
                  <a:lnTo>
                    <a:pt x="4245" y="3784"/>
                  </a:lnTo>
                  <a:lnTo>
                    <a:pt x="4245" y="3784"/>
                  </a:lnTo>
                  <a:lnTo>
                    <a:pt x="4245" y="3784"/>
                  </a:lnTo>
                  <a:close/>
                  <a:moveTo>
                    <a:pt x="4174" y="3800"/>
                  </a:moveTo>
                  <a:lnTo>
                    <a:pt x="4164" y="3800"/>
                  </a:lnTo>
                  <a:lnTo>
                    <a:pt x="4174" y="3800"/>
                  </a:lnTo>
                  <a:lnTo>
                    <a:pt x="4174" y="3800"/>
                  </a:lnTo>
                  <a:lnTo>
                    <a:pt x="4174" y="3800"/>
                  </a:lnTo>
                  <a:close/>
                  <a:moveTo>
                    <a:pt x="4235" y="3817"/>
                  </a:moveTo>
                  <a:lnTo>
                    <a:pt x="4249" y="3829"/>
                  </a:lnTo>
                  <a:lnTo>
                    <a:pt x="4245" y="3829"/>
                  </a:lnTo>
                  <a:lnTo>
                    <a:pt x="4235" y="3817"/>
                  </a:lnTo>
                  <a:lnTo>
                    <a:pt x="4235" y="3817"/>
                  </a:lnTo>
                  <a:lnTo>
                    <a:pt x="4235" y="3817"/>
                  </a:lnTo>
                  <a:close/>
                  <a:moveTo>
                    <a:pt x="6843" y="3982"/>
                  </a:moveTo>
                  <a:lnTo>
                    <a:pt x="6836" y="3994"/>
                  </a:lnTo>
                  <a:lnTo>
                    <a:pt x="6836" y="3989"/>
                  </a:lnTo>
                  <a:lnTo>
                    <a:pt x="6843" y="3982"/>
                  </a:lnTo>
                  <a:lnTo>
                    <a:pt x="6843" y="3982"/>
                  </a:lnTo>
                  <a:lnTo>
                    <a:pt x="6843" y="3982"/>
                  </a:lnTo>
                  <a:close/>
                  <a:moveTo>
                    <a:pt x="6297" y="4044"/>
                  </a:moveTo>
                  <a:lnTo>
                    <a:pt x="6286" y="4048"/>
                  </a:lnTo>
                  <a:lnTo>
                    <a:pt x="6297" y="4044"/>
                  </a:lnTo>
                  <a:lnTo>
                    <a:pt x="6297" y="4044"/>
                  </a:lnTo>
                  <a:lnTo>
                    <a:pt x="6297" y="4044"/>
                  </a:lnTo>
                  <a:close/>
                  <a:moveTo>
                    <a:pt x="6319" y="4077"/>
                  </a:moveTo>
                  <a:lnTo>
                    <a:pt x="6319" y="4048"/>
                  </a:lnTo>
                  <a:lnTo>
                    <a:pt x="6328" y="4060"/>
                  </a:lnTo>
                  <a:lnTo>
                    <a:pt x="6319" y="4077"/>
                  </a:lnTo>
                  <a:lnTo>
                    <a:pt x="6319" y="4077"/>
                  </a:lnTo>
                  <a:lnTo>
                    <a:pt x="6319" y="4077"/>
                  </a:lnTo>
                  <a:close/>
                  <a:moveTo>
                    <a:pt x="6118" y="4093"/>
                  </a:moveTo>
                  <a:lnTo>
                    <a:pt x="6113" y="4100"/>
                  </a:lnTo>
                  <a:lnTo>
                    <a:pt x="6097" y="4093"/>
                  </a:lnTo>
                  <a:lnTo>
                    <a:pt x="6101" y="4081"/>
                  </a:lnTo>
                  <a:lnTo>
                    <a:pt x="6118" y="4093"/>
                  </a:lnTo>
                  <a:lnTo>
                    <a:pt x="6118" y="4093"/>
                  </a:lnTo>
                  <a:lnTo>
                    <a:pt x="6118" y="4093"/>
                  </a:lnTo>
                  <a:close/>
                  <a:moveTo>
                    <a:pt x="5903" y="4117"/>
                  </a:moveTo>
                  <a:lnTo>
                    <a:pt x="5882" y="4122"/>
                  </a:lnTo>
                  <a:lnTo>
                    <a:pt x="5903" y="4105"/>
                  </a:lnTo>
                  <a:lnTo>
                    <a:pt x="5903" y="4117"/>
                  </a:lnTo>
                  <a:lnTo>
                    <a:pt x="5903" y="4117"/>
                  </a:lnTo>
                  <a:lnTo>
                    <a:pt x="5903" y="4117"/>
                  </a:lnTo>
                  <a:close/>
                  <a:moveTo>
                    <a:pt x="6897" y="4188"/>
                  </a:moveTo>
                  <a:lnTo>
                    <a:pt x="6897" y="4192"/>
                  </a:lnTo>
                  <a:lnTo>
                    <a:pt x="6890" y="4176"/>
                  </a:lnTo>
                  <a:lnTo>
                    <a:pt x="6897" y="4159"/>
                  </a:lnTo>
                  <a:lnTo>
                    <a:pt x="6897" y="4188"/>
                  </a:lnTo>
                  <a:lnTo>
                    <a:pt x="6897" y="4188"/>
                  </a:lnTo>
                  <a:lnTo>
                    <a:pt x="6897" y="4188"/>
                  </a:lnTo>
                  <a:close/>
                  <a:moveTo>
                    <a:pt x="5761" y="4192"/>
                  </a:moveTo>
                  <a:lnTo>
                    <a:pt x="5794" y="4176"/>
                  </a:lnTo>
                  <a:lnTo>
                    <a:pt x="5761" y="4204"/>
                  </a:lnTo>
                  <a:lnTo>
                    <a:pt x="5761" y="4192"/>
                  </a:lnTo>
                  <a:lnTo>
                    <a:pt x="5761" y="4192"/>
                  </a:lnTo>
                  <a:lnTo>
                    <a:pt x="5761" y="4192"/>
                  </a:lnTo>
                  <a:close/>
                  <a:moveTo>
                    <a:pt x="5735" y="4249"/>
                  </a:moveTo>
                  <a:lnTo>
                    <a:pt x="5723" y="4270"/>
                  </a:lnTo>
                  <a:lnTo>
                    <a:pt x="5723" y="4249"/>
                  </a:lnTo>
                  <a:lnTo>
                    <a:pt x="5747" y="4225"/>
                  </a:lnTo>
                  <a:lnTo>
                    <a:pt x="5735" y="4249"/>
                  </a:lnTo>
                  <a:lnTo>
                    <a:pt x="5735" y="4249"/>
                  </a:lnTo>
                  <a:lnTo>
                    <a:pt x="5735" y="4249"/>
                  </a:lnTo>
                  <a:close/>
                  <a:moveTo>
                    <a:pt x="5723" y="4315"/>
                  </a:moveTo>
                  <a:lnTo>
                    <a:pt x="5723" y="4270"/>
                  </a:lnTo>
                  <a:lnTo>
                    <a:pt x="5740" y="4360"/>
                  </a:lnTo>
                  <a:lnTo>
                    <a:pt x="5723" y="4315"/>
                  </a:lnTo>
                  <a:lnTo>
                    <a:pt x="5723" y="4315"/>
                  </a:lnTo>
                  <a:lnTo>
                    <a:pt x="5723" y="4315"/>
                  </a:lnTo>
                  <a:close/>
                  <a:moveTo>
                    <a:pt x="6912" y="4431"/>
                  </a:moveTo>
                  <a:lnTo>
                    <a:pt x="6923" y="4414"/>
                  </a:lnTo>
                  <a:lnTo>
                    <a:pt x="6897" y="4448"/>
                  </a:lnTo>
                  <a:lnTo>
                    <a:pt x="6912" y="4431"/>
                  </a:lnTo>
                  <a:lnTo>
                    <a:pt x="6912" y="4431"/>
                  </a:lnTo>
                  <a:lnTo>
                    <a:pt x="6912" y="4431"/>
                  </a:lnTo>
                  <a:close/>
                  <a:moveTo>
                    <a:pt x="6836" y="4471"/>
                  </a:moveTo>
                  <a:lnTo>
                    <a:pt x="6827" y="4481"/>
                  </a:lnTo>
                  <a:lnTo>
                    <a:pt x="6836" y="4471"/>
                  </a:lnTo>
                  <a:lnTo>
                    <a:pt x="6836" y="4471"/>
                  </a:lnTo>
                  <a:lnTo>
                    <a:pt x="6836" y="4471"/>
                  </a:lnTo>
                  <a:close/>
                  <a:moveTo>
                    <a:pt x="1368" y="4686"/>
                  </a:moveTo>
                  <a:lnTo>
                    <a:pt x="1351" y="4674"/>
                  </a:lnTo>
                  <a:lnTo>
                    <a:pt x="1351" y="4665"/>
                  </a:lnTo>
                  <a:lnTo>
                    <a:pt x="1356" y="4653"/>
                  </a:lnTo>
                  <a:lnTo>
                    <a:pt x="1382" y="4653"/>
                  </a:lnTo>
                  <a:lnTo>
                    <a:pt x="1372" y="4674"/>
                  </a:lnTo>
                  <a:lnTo>
                    <a:pt x="1368" y="4686"/>
                  </a:lnTo>
                  <a:lnTo>
                    <a:pt x="1368" y="4686"/>
                  </a:lnTo>
                  <a:lnTo>
                    <a:pt x="1368" y="4686"/>
                  </a:lnTo>
                  <a:close/>
                  <a:moveTo>
                    <a:pt x="1318" y="4686"/>
                  </a:moveTo>
                  <a:lnTo>
                    <a:pt x="1313" y="4674"/>
                  </a:lnTo>
                  <a:lnTo>
                    <a:pt x="1330" y="4670"/>
                  </a:lnTo>
                  <a:lnTo>
                    <a:pt x="1318" y="4686"/>
                  </a:lnTo>
                  <a:lnTo>
                    <a:pt x="1318" y="4686"/>
                  </a:lnTo>
                  <a:lnTo>
                    <a:pt x="1318" y="4686"/>
                  </a:lnTo>
                  <a:close/>
                  <a:moveTo>
                    <a:pt x="1481" y="4726"/>
                  </a:moveTo>
                  <a:lnTo>
                    <a:pt x="1464" y="4726"/>
                  </a:lnTo>
                  <a:lnTo>
                    <a:pt x="1448" y="4703"/>
                  </a:lnTo>
                  <a:lnTo>
                    <a:pt x="1474" y="4693"/>
                  </a:lnTo>
                  <a:lnTo>
                    <a:pt x="1495" y="4726"/>
                  </a:lnTo>
                  <a:lnTo>
                    <a:pt x="1481" y="4726"/>
                  </a:lnTo>
                  <a:lnTo>
                    <a:pt x="1481" y="4726"/>
                  </a:lnTo>
                  <a:lnTo>
                    <a:pt x="1481" y="4726"/>
                  </a:lnTo>
                  <a:close/>
                  <a:moveTo>
                    <a:pt x="1549" y="4743"/>
                  </a:moveTo>
                  <a:lnTo>
                    <a:pt x="1519" y="4743"/>
                  </a:lnTo>
                  <a:lnTo>
                    <a:pt x="1528" y="4731"/>
                  </a:lnTo>
                  <a:lnTo>
                    <a:pt x="1557" y="4731"/>
                  </a:lnTo>
                  <a:lnTo>
                    <a:pt x="1549" y="4743"/>
                  </a:lnTo>
                  <a:lnTo>
                    <a:pt x="1549" y="4743"/>
                  </a:lnTo>
                  <a:lnTo>
                    <a:pt x="1549" y="4743"/>
                  </a:lnTo>
                  <a:close/>
                  <a:moveTo>
                    <a:pt x="1583" y="4781"/>
                  </a:moveTo>
                  <a:lnTo>
                    <a:pt x="1571" y="4764"/>
                  </a:lnTo>
                  <a:lnTo>
                    <a:pt x="1566" y="4759"/>
                  </a:lnTo>
                  <a:lnTo>
                    <a:pt x="1566" y="4743"/>
                  </a:lnTo>
                  <a:lnTo>
                    <a:pt x="1583" y="4759"/>
                  </a:lnTo>
                  <a:lnTo>
                    <a:pt x="1599" y="4748"/>
                  </a:lnTo>
                  <a:lnTo>
                    <a:pt x="1611" y="4764"/>
                  </a:lnTo>
                  <a:lnTo>
                    <a:pt x="1604" y="4776"/>
                  </a:lnTo>
                  <a:lnTo>
                    <a:pt x="1583" y="4781"/>
                  </a:lnTo>
                  <a:lnTo>
                    <a:pt x="1583" y="4781"/>
                  </a:lnTo>
                  <a:lnTo>
                    <a:pt x="1583" y="4781"/>
                  </a:lnTo>
                  <a:close/>
                  <a:moveTo>
                    <a:pt x="1549" y="4764"/>
                  </a:moveTo>
                  <a:lnTo>
                    <a:pt x="1533" y="4759"/>
                  </a:lnTo>
                  <a:lnTo>
                    <a:pt x="1549" y="4759"/>
                  </a:lnTo>
                  <a:lnTo>
                    <a:pt x="1549" y="4764"/>
                  </a:lnTo>
                  <a:lnTo>
                    <a:pt x="1549" y="4764"/>
                  </a:lnTo>
                  <a:lnTo>
                    <a:pt x="1549" y="4764"/>
                  </a:lnTo>
                  <a:close/>
                  <a:moveTo>
                    <a:pt x="1566" y="4785"/>
                  </a:moveTo>
                  <a:lnTo>
                    <a:pt x="1571" y="4781"/>
                  </a:lnTo>
                  <a:lnTo>
                    <a:pt x="1566" y="4785"/>
                  </a:lnTo>
                  <a:lnTo>
                    <a:pt x="1566" y="4785"/>
                  </a:lnTo>
                  <a:lnTo>
                    <a:pt x="1566" y="4785"/>
                  </a:lnTo>
                  <a:close/>
                  <a:moveTo>
                    <a:pt x="1620" y="4802"/>
                  </a:moveTo>
                  <a:lnTo>
                    <a:pt x="1670" y="4818"/>
                  </a:lnTo>
                  <a:lnTo>
                    <a:pt x="1679" y="4854"/>
                  </a:lnTo>
                  <a:lnTo>
                    <a:pt x="1696" y="4859"/>
                  </a:lnTo>
                  <a:lnTo>
                    <a:pt x="1679" y="4875"/>
                  </a:lnTo>
                  <a:lnTo>
                    <a:pt x="1658" y="4875"/>
                  </a:lnTo>
                  <a:lnTo>
                    <a:pt x="1642" y="4892"/>
                  </a:lnTo>
                  <a:lnTo>
                    <a:pt x="1637" y="4908"/>
                  </a:lnTo>
                  <a:lnTo>
                    <a:pt x="1620" y="4892"/>
                  </a:lnTo>
                  <a:lnTo>
                    <a:pt x="1620" y="4870"/>
                  </a:lnTo>
                  <a:lnTo>
                    <a:pt x="1604" y="4842"/>
                  </a:lnTo>
                  <a:lnTo>
                    <a:pt x="1620" y="4818"/>
                  </a:lnTo>
                  <a:lnTo>
                    <a:pt x="1620" y="4814"/>
                  </a:lnTo>
                  <a:lnTo>
                    <a:pt x="1620" y="4802"/>
                  </a:lnTo>
                  <a:lnTo>
                    <a:pt x="1620" y="4802"/>
                  </a:lnTo>
                  <a:lnTo>
                    <a:pt x="1620" y="480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706" name="Gruppieren 5705">
            <a:extLst>
              <a:ext uri="{FF2B5EF4-FFF2-40B4-BE49-F238E27FC236}">
                <a16:creationId xmlns:a16="http://schemas.microsoft.com/office/drawing/2014/main" id="{BD5D1050-3FFA-4372-BF08-9691A34957C6}"/>
              </a:ext>
            </a:extLst>
          </p:cNvPr>
          <p:cNvGrpSpPr/>
          <p:nvPr/>
        </p:nvGrpSpPr>
        <p:grpSpPr bwMode="gray">
          <a:xfrm>
            <a:off x="52204" y="3171771"/>
            <a:ext cx="11862705" cy="2866142"/>
            <a:chOff x="1738441" y="692696"/>
            <a:chExt cx="10478239" cy="2531642"/>
          </a:xfrm>
          <a:pattFill prst="wdDnDiag">
            <a:fgClr>
              <a:schemeClr val="accent2"/>
            </a:fgClr>
            <a:bgClr>
              <a:schemeClr val="bg1"/>
            </a:bgClr>
          </a:pattFill>
        </p:grpSpPr>
        <p:sp>
          <p:nvSpPr>
            <p:cNvPr id="5707" name="Freeform 534">
              <a:extLst>
                <a:ext uri="{FF2B5EF4-FFF2-40B4-BE49-F238E27FC236}">
                  <a16:creationId xmlns:a16="http://schemas.microsoft.com/office/drawing/2014/main" id="{08776DE0-F2EA-4DF9-96A1-A2062C0D4548}"/>
                </a:ext>
              </a:extLst>
            </p:cNvPr>
            <p:cNvSpPr>
              <a:spLocks noEditPoints="1"/>
            </p:cNvSpPr>
            <p:nvPr/>
          </p:nvSpPr>
          <p:spPr bwMode="gray">
            <a:xfrm>
              <a:off x="5824678" y="2735219"/>
              <a:ext cx="723716" cy="324844"/>
            </a:xfrm>
            <a:custGeom>
              <a:avLst/>
              <a:gdLst>
                <a:gd name="T0" fmla="*/ 1613 w 1758"/>
                <a:gd name="T1" fmla="*/ 0 h 789"/>
                <a:gd name="T2" fmla="*/ 1613 w 1758"/>
                <a:gd name="T3" fmla="*/ 28 h 789"/>
                <a:gd name="T4" fmla="*/ 1651 w 1758"/>
                <a:gd name="T5" fmla="*/ 28 h 789"/>
                <a:gd name="T6" fmla="*/ 1689 w 1758"/>
                <a:gd name="T7" fmla="*/ 28 h 789"/>
                <a:gd name="T8" fmla="*/ 1727 w 1758"/>
                <a:gd name="T9" fmla="*/ 16 h 789"/>
                <a:gd name="T10" fmla="*/ 1758 w 1758"/>
                <a:gd name="T11" fmla="*/ 49 h 789"/>
                <a:gd name="T12" fmla="*/ 1703 w 1758"/>
                <a:gd name="T13" fmla="*/ 99 h 789"/>
                <a:gd name="T14" fmla="*/ 1710 w 1758"/>
                <a:gd name="T15" fmla="*/ 144 h 789"/>
                <a:gd name="T16" fmla="*/ 1703 w 1758"/>
                <a:gd name="T17" fmla="*/ 165 h 789"/>
                <a:gd name="T18" fmla="*/ 1710 w 1758"/>
                <a:gd name="T19" fmla="*/ 182 h 789"/>
                <a:gd name="T20" fmla="*/ 1665 w 1758"/>
                <a:gd name="T21" fmla="*/ 215 h 789"/>
                <a:gd name="T22" fmla="*/ 1703 w 1758"/>
                <a:gd name="T23" fmla="*/ 272 h 789"/>
                <a:gd name="T24" fmla="*/ 1673 w 1758"/>
                <a:gd name="T25" fmla="*/ 321 h 789"/>
                <a:gd name="T26" fmla="*/ 1703 w 1758"/>
                <a:gd name="T27" fmla="*/ 342 h 789"/>
                <a:gd name="T28" fmla="*/ 1677 w 1758"/>
                <a:gd name="T29" fmla="*/ 359 h 789"/>
                <a:gd name="T30" fmla="*/ 1665 w 1758"/>
                <a:gd name="T31" fmla="*/ 387 h 789"/>
                <a:gd name="T32" fmla="*/ 1673 w 1758"/>
                <a:gd name="T33" fmla="*/ 420 h 789"/>
                <a:gd name="T34" fmla="*/ 1580 w 1758"/>
                <a:gd name="T35" fmla="*/ 432 h 789"/>
                <a:gd name="T36" fmla="*/ 1569 w 1758"/>
                <a:gd name="T37" fmla="*/ 404 h 789"/>
                <a:gd name="T38" fmla="*/ 1580 w 1758"/>
                <a:gd name="T39" fmla="*/ 321 h 789"/>
                <a:gd name="T40" fmla="*/ 1547 w 1758"/>
                <a:gd name="T41" fmla="*/ 321 h 789"/>
                <a:gd name="T42" fmla="*/ 1547 w 1758"/>
                <a:gd name="T43" fmla="*/ 305 h 789"/>
                <a:gd name="T44" fmla="*/ 1559 w 1758"/>
                <a:gd name="T45" fmla="*/ 276 h 789"/>
                <a:gd name="T46" fmla="*/ 1526 w 1758"/>
                <a:gd name="T47" fmla="*/ 293 h 789"/>
                <a:gd name="T48" fmla="*/ 1547 w 1758"/>
                <a:gd name="T49" fmla="*/ 222 h 789"/>
                <a:gd name="T50" fmla="*/ 1580 w 1758"/>
                <a:gd name="T51" fmla="*/ 127 h 789"/>
                <a:gd name="T52" fmla="*/ 1580 w 1758"/>
                <a:gd name="T53" fmla="*/ 127 h 789"/>
                <a:gd name="T54" fmla="*/ 1564 w 1758"/>
                <a:gd name="T55" fmla="*/ 33 h 789"/>
                <a:gd name="T56" fmla="*/ 1569 w 1758"/>
                <a:gd name="T57" fmla="*/ 16 h 789"/>
                <a:gd name="T58" fmla="*/ 0 w 1758"/>
                <a:gd name="T59" fmla="*/ 238 h 789"/>
                <a:gd name="T60" fmla="*/ 0 w 1758"/>
                <a:gd name="T61" fmla="*/ 231 h 789"/>
                <a:gd name="T62" fmla="*/ 0 w 1758"/>
                <a:gd name="T63" fmla="*/ 238 h 789"/>
                <a:gd name="T64" fmla="*/ 0 w 1758"/>
                <a:gd name="T65" fmla="*/ 238 h 789"/>
                <a:gd name="T66" fmla="*/ 269 w 1758"/>
                <a:gd name="T67" fmla="*/ 305 h 789"/>
                <a:gd name="T68" fmla="*/ 291 w 1758"/>
                <a:gd name="T69" fmla="*/ 293 h 789"/>
                <a:gd name="T70" fmla="*/ 286 w 1758"/>
                <a:gd name="T71" fmla="*/ 305 h 789"/>
                <a:gd name="T72" fmla="*/ 286 w 1758"/>
                <a:gd name="T73" fmla="*/ 305 h 789"/>
                <a:gd name="T74" fmla="*/ 194 w 1758"/>
                <a:gd name="T75" fmla="*/ 321 h 789"/>
                <a:gd name="T76" fmla="*/ 199 w 1758"/>
                <a:gd name="T77" fmla="*/ 309 h 789"/>
                <a:gd name="T78" fmla="*/ 203 w 1758"/>
                <a:gd name="T79" fmla="*/ 326 h 789"/>
                <a:gd name="T80" fmla="*/ 203 w 1758"/>
                <a:gd name="T81" fmla="*/ 326 h 789"/>
                <a:gd name="T82" fmla="*/ 383 w 1758"/>
                <a:gd name="T83" fmla="*/ 375 h 789"/>
                <a:gd name="T84" fmla="*/ 421 w 1758"/>
                <a:gd name="T85" fmla="*/ 364 h 789"/>
                <a:gd name="T86" fmla="*/ 409 w 1758"/>
                <a:gd name="T87" fmla="*/ 380 h 789"/>
                <a:gd name="T88" fmla="*/ 409 w 1758"/>
                <a:gd name="T89" fmla="*/ 380 h 789"/>
                <a:gd name="T90" fmla="*/ 421 w 1758"/>
                <a:gd name="T91" fmla="*/ 437 h 789"/>
                <a:gd name="T92" fmla="*/ 437 w 1758"/>
                <a:gd name="T93" fmla="*/ 442 h 789"/>
                <a:gd name="T94" fmla="*/ 437 w 1758"/>
                <a:gd name="T95" fmla="*/ 442 h 789"/>
                <a:gd name="T96" fmla="*/ 976 w 1758"/>
                <a:gd name="T97" fmla="*/ 772 h 789"/>
                <a:gd name="T98" fmla="*/ 1018 w 1758"/>
                <a:gd name="T99" fmla="*/ 784 h 789"/>
                <a:gd name="T100" fmla="*/ 1002 w 1758"/>
                <a:gd name="T101" fmla="*/ 789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58" h="789">
                  <a:moveTo>
                    <a:pt x="1569" y="16"/>
                  </a:moveTo>
                  <a:lnTo>
                    <a:pt x="1613" y="0"/>
                  </a:lnTo>
                  <a:lnTo>
                    <a:pt x="1623" y="12"/>
                  </a:lnTo>
                  <a:lnTo>
                    <a:pt x="1613" y="28"/>
                  </a:lnTo>
                  <a:lnTo>
                    <a:pt x="1618" y="33"/>
                  </a:lnTo>
                  <a:lnTo>
                    <a:pt x="1651" y="28"/>
                  </a:lnTo>
                  <a:lnTo>
                    <a:pt x="1673" y="33"/>
                  </a:lnTo>
                  <a:lnTo>
                    <a:pt x="1689" y="28"/>
                  </a:lnTo>
                  <a:lnTo>
                    <a:pt x="1689" y="16"/>
                  </a:lnTo>
                  <a:lnTo>
                    <a:pt x="1727" y="16"/>
                  </a:lnTo>
                  <a:lnTo>
                    <a:pt x="1732" y="45"/>
                  </a:lnTo>
                  <a:lnTo>
                    <a:pt x="1758" y="49"/>
                  </a:lnTo>
                  <a:lnTo>
                    <a:pt x="1741" y="73"/>
                  </a:lnTo>
                  <a:lnTo>
                    <a:pt x="1703" y="99"/>
                  </a:lnTo>
                  <a:lnTo>
                    <a:pt x="1710" y="111"/>
                  </a:lnTo>
                  <a:lnTo>
                    <a:pt x="1710" y="144"/>
                  </a:lnTo>
                  <a:lnTo>
                    <a:pt x="1710" y="160"/>
                  </a:lnTo>
                  <a:lnTo>
                    <a:pt x="1703" y="165"/>
                  </a:lnTo>
                  <a:lnTo>
                    <a:pt x="1694" y="177"/>
                  </a:lnTo>
                  <a:lnTo>
                    <a:pt x="1710" y="182"/>
                  </a:lnTo>
                  <a:lnTo>
                    <a:pt x="1694" y="215"/>
                  </a:lnTo>
                  <a:lnTo>
                    <a:pt x="1665" y="215"/>
                  </a:lnTo>
                  <a:lnTo>
                    <a:pt x="1677" y="255"/>
                  </a:lnTo>
                  <a:lnTo>
                    <a:pt x="1703" y="272"/>
                  </a:lnTo>
                  <a:lnTo>
                    <a:pt x="1677" y="293"/>
                  </a:lnTo>
                  <a:lnTo>
                    <a:pt x="1673" y="321"/>
                  </a:lnTo>
                  <a:lnTo>
                    <a:pt x="1694" y="342"/>
                  </a:lnTo>
                  <a:lnTo>
                    <a:pt x="1703" y="342"/>
                  </a:lnTo>
                  <a:lnTo>
                    <a:pt x="1694" y="347"/>
                  </a:lnTo>
                  <a:lnTo>
                    <a:pt x="1677" y="359"/>
                  </a:lnTo>
                  <a:lnTo>
                    <a:pt x="1665" y="380"/>
                  </a:lnTo>
                  <a:lnTo>
                    <a:pt x="1665" y="387"/>
                  </a:lnTo>
                  <a:lnTo>
                    <a:pt x="1665" y="420"/>
                  </a:lnTo>
                  <a:lnTo>
                    <a:pt x="1673" y="420"/>
                  </a:lnTo>
                  <a:lnTo>
                    <a:pt x="1635" y="437"/>
                  </a:lnTo>
                  <a:lnTo>
                    <a:pt x="1580" y="432"/>
                  </a:lnTo>
                  <a:lnTo>
                    <a:pt x="1559" y="437"/>
                  </a:lnTo>
                  <a:lnTo>
                    <a:pt x="1569" y="404"/>
                  </a:lnTo>
                  <a:lnTo>
                    <a:pt x="1569" y="326"/>
                  </a:lnTo>
                  <a:lnTo>
                    <a:pt x="1580" y="321"/>
                  </a:lnTo>
                  <a:lnTo>
                    <a:pt x="1569" y="309"/>
                  </a:lnTo>
                  <a:lnTo>
                    <a:pt x="1547" y="321"/>
                  </a:lnTo>
                  <a:lnTo>
                    <a:pt x="1543" y="305"/>
                  </a:lnTo>
                  <a:lnTo>
                    <a:pt x="1547" y="305"/>
                  </a:lnTo>
                  <a:lnTo>
                    <a:pt x="1564" y="293"/>
                  </a:lnTo>
                  <a:lnTo>
                    <a:pt x="1559" y="276"/>
                  </a:lnTo>
                  <a:lnTo>
                    <a:pt x="1547" y="293"/>
                  </a:lnTo>
                  <a:lnTo>
                    <a:pt x="1526" y="293"/>
                  </a:lnTo>
                  <a:lnTo>
                    <a:pt x="1531" y="238"/>
                  </a:lnTo>
                  <a:lnTo>
                    <a:pt x="1547" y="222"/>
                  </a:lnTo>
                  <a:lnTo>
                    <a:pt x="1569" y="139"/>
                  </a:lnTo>
                  <a:lnTo>
                    <a:pt x="1580" y="127"/>
                  </a:lnTo>
                  <a:lnTo>
                    <a:pt x="1580" y="123"/>
                  </a:lnTo>
                  <a:lnTo>
                    <a:pt x="1580" y="127"/>
                  </a:lnTo>
                  <a:lnTo>
                    <a:pt x="1580" y="99"/>
                  </a:lnTo>
                  <a:lnTo>
                    <a:pt x="1564" y="33"/>
                  </a:lnTo>
                  <a:lnTo>
                    <a:pt x="1569" y="16"/>
                  </a:lnTo>
                  <a:lnTo>
                    <a:pt x="1569" y="16"/>
                  </a:lnTo>
                  <a:lnTo>
                    <a:pt x="1569" y="16"/>
                  </a:lnTo>
                  <a:close/>
                  <a:moveTo>
                    <a:pt x="0" y="238"/>
                  </a:moveTo>
                  <a:lnTo>
                    <a:pt x="0" y="238"/>
                  </a:lnTo>
                  <a:lnTo>
                    <a:pt x="0" y="231"/>
                  </a:lnTo>
                  <a:lnTo>
                    <a:pt x="5" y="231"/>
                  </a:lnTo>
                  <a:lnTo>
                    <a:pt x="0" y="238"/>
                  </a:lnTo>
                  <a:lnTo>
                    <a:pt x="0" y="238"/>
                  </a:lnTo>
                  <a:lnTo>
                    <a:pt x="0" y="238"/>
                  </a:lnTo>
                  <a:close/>
                  <a:moveTo>
                    <a:pt x="286" y="305"/>
                  </a:moveTo>
                  <a:lnTo>
                    <a:pt x="269" y="305"/>
                  </a:lnTo>
                  <a:lnTo>
                    <a:pt x="269" y="293"/>
                  </a:lnTo>
                  <a:lnTo>
                    <a:pt x="291" y="293"/>
                  </a:lnTo>
                  <a:lnTo>
                    <a:pt x="291" y="293"/>
                  </a:lnTo>
                  <a:lnTo>
                    <a:pt x="286" y="305"/>
                  </a:lnTo>
                  <a:lnTo>
                    <a:pt x="286" y="305"/>
                  </a:lnTo>
                  <a:lnTo>
                    <a:pt x="286" y="305"/>
                  </a:lnTo>
                  <a:close/>
                  <a:moveTo>
                    <a:pt x="203" y="326"/>
                  </a:moveTo>
                  <a:lnTo>
                    <a:pt x="194" y="321"/>
                  </a:lnTo>
                  <a:lnTo>
                    <a:pt x="182" y="309"/>
                  </a:lnTo>
                  <a:lnTo>
                    <a:pt x="199" y="309"/>
                  </a:lnTo>
                  <a:lnTo>
                    <a:pt x="220" y="321"/>
                  </a:lnTo>
                  <a:lnTo>
                    <a:pt x="203" y="326"/>
                  </a:lnTo>
                  <a:lnTo>
                    <a:pt x="203" y="326"/>
                  </a:lnTo>
                  <a:lnTo>
                    <a:pt x="203" y="326"/>
                  </a:lnTo>
                  <a:close/>
                  <a:moveTo>
                    <a:pt x="409" y="380"/>
                  </a:moveTo>
                  <a:lnTo>
                    <a:pt x="383" y="375"/>
                  </a:lnTo>
                  <a:lnTo>
                    <a:pt x="376" y="364"/>
                  </a:lnTo>
                  <a:lnTo>
                    <a:pt x="421" y="364"/>
                  </a:lnTo>
                  <a:lnTo>
                    <a:pt x="421" y="375"/>
                  </a:lnTo>
                  <a:lnTo>
                    <a:pt x="409" y="380"/>
                  </a:lnTo>
                  <a:lnTo>
                    <a:pt x="409" y="380"/>
                  </a:lnTo>
                  <a:lnTo>
                    <a:pt x="409" y="380"/>
                  </a:lnTo>
                  <a:close/>
                  <a:moveTo>
                    <a:pt x="437" y="442"/>
                  </a:moveTo>
                  <a:lnTo>
                    <a:pt x="421" y="437"/>
                  </a:lnTo>
                  <a:lnTo>
                    <a:pt x="430" y="437"/>
                  </a:lnTo>
                  <a:lnTo>
                    <a:pt x="437" y="442"/>
                  </a:lnTo>
                  <a:lnTo>
                    <a:pt x="437" y="442"/>
                  </a:lnTo>
                  <a:lnTo>
                    <a:pt x="437" y="442"/>
                  </a:lnTo>
                  <a:close/>
                  <a:moveTo>
                    <a:pt x="1002" y="789"/>
                  </a:moveTo>
                  <a:lnTo>
                    <a:pt x="976" y="772"/>
                  </a:lnTo>
                  <a:lnTo>
                    <a:pt x="987" y="772"/>
                  </a:lnTo>
                  <a:lnTo>
                    <a:pt x="1018" y="784"/>
                  </a:lnTo>
                  <a:lnTo>
                    <a:pt x="1002" y="789"/>
                  </a:lnTo>
                  <a:lnTo>
                    <a:pt x="1002" y="789"/>
                  </a:lnTo>
                  <a:lnTo>
                    <a:pt x="1002" y="78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5708" name="Gruppieren 5707">
              <a:extLst>
                <a:ext uri="{FF2B5EF4-FFF2-40B4-BE49-F238E27FC236}">
                  <a16:creationId xmlns:a16="http://schemas.microsoft.com/office/drawing/2014/main" id="{77C2BD9B-AB39-4EFD-AE28-9721BB88B64B}"/>
                </a:ext>
              </a:extLst>
            </p:cNvPr>
            <p:cNvGrpSpPr/>
            <p:nvPr/>
          </p:nvGrpSpPr>
          <p:grpSpPr bwMode="gray">
            <a:xfrm>
              <a:off x="1738441" y="692696"/>
              <a:ext cx="10478239" cy="2531642"/>
              <a:chOff x="1738441" y="692696"/>
              <a:chExt cx="10478239" cy="2531642"/>
            </a:xfrm>
            <a:grpFill/>
          </p:grpSpPr>
          <p:sp>
            <p:nvSpPr>
              <p:cNvPr id="5709" name="Freeform 557">
                <a:extLst>
                  <a:ext uri="{FF2B5EF4-FFF2-40B4-BE49-F238E27FC236}">
                    <a16:creationId xmlns:a16="http://schemas.microsoft.com/office/drawing/2014/main" id="{D61E217B-07AA-4627-A57D-CA2E51051A4D}"/>
                  </a:ext>
                </a:extLst>
              </p:cNvPr>
              <p:cNvSpPr>
                <a:spLocks noEditPoints="1"/>
              </p:cNvSpPr>
              <p:nvPr/>
            </p:nvSpPr>
            <p:spPr bwMode="gray">
              <a:xfrm>
                <a:off x="6202180" y="2676755"/>
                <a:ext cx="646322" cy="547583"/>
              </a:xfrm>
              <a:custGeom>
                <a:avLst/>
                <a:gdLst>
                  <a:gd name="T0" fmla="*/ 793 w 1570"/>
                  <a:gd name="T1" fmla="*/ 251 h 1330"/>
                  <a:gd name="T2" fmla="*/ 815 w 1570"/>
                  <a:gd name="T3" fmla="*/ 184 h 1330"/>
                  <a:gd name="T4" fmla="*/ 756 w 1570"/>
                  <a:gd name="T5" fmla="*/ 173 h 1330"/>
                  <a:gd name="T6" fmla="*/ 708 w 1570"/>
                  <a:gd name="T7" fmla="*/ 151 h 1330"/>
                  <a:gd name="T8" fmla="*/ 647 w 1570"/>
                  <a:gd name="T9" fmla="*/ 151 h 1330"/>
                  <a:gd name="T10" fmla="*/ 654 w 1570"/>
                  <a:gd name="T11" fmla="*/ 123 h 1330"/>
                  <a:gd name="T12" fmla="*/ 642 w 1570"/>
                  <a:gd name="T13" fmla="*/ 111 h 1330"/>
                  <a:gd name="T14" fmla="*/ 633 w 1570"/>
                  <a:gd name="T15" fmla="*/ 66 h 1330"/>
                  <a:gd name="T16" fmla="*/ 663 w 1570"/>
                  <a:gd name="T17" fmla="*/ 45 h 1330"/>
                  <a:gd name="T18" fmla="*/ 722 w 1570"/>
                  <a:gd name="T19" fmla="*/ 7 h 1330"/>
                  <a:gd name="T20" fmla="*/ 777 w 1570"/>
                  <a:gd name="T21" fmla="*/ 24 h 1330"/>
                  <a:gd name="T22" fmla="*/ 869 w 1570"/>
                  <a:gd name="T23" fmla="*/ 24 h 1330"/>
                  <a:gd name="T24" fmla="*/ 1063 w 1570"/>
                  <a:gd name="T25" fmla="*/ 28 h 1330"/>
                  <a:gd name="T26" fmla="*/ 1171 w 1570"/>
                  <a:gd name="T27" fmla="*/ 62 h 1330"/>
                  <a:gd name="T28" fmla="*/ 1273 w 1570"/>
                  <a:gd name="T29" fmla="*/ 95 h 1330"/>
                  <a:gd name="T30" fmla="*/ 1372 w 1570"/>
                  <a:gd name="T31" fmla="*/ 99 h 1330"/>
                  <a:gd name="T32" fmla="*/ 1436 w 1570"/>
                  <a:gd name="T33" fmla="*/ 118 h 1330"/>
                  <a:gd name="T34" fmla="*/ 1495 w 1570"/>
                  <a:gd name="T35" fmla="*/ 123 h 1330"/>
                  <a:gd name="T36" fmla="*/ 1495 w 1570"/>
                  <a:gd name="T37" fmla="*/ 168 h 1330"/>
                  <a:gd name="T38" fmla="*/ 1318 w 1570"/>
                  <a:gd name="T39" fmla="*/ 262 h 1330"/>
                  <a:gd name="T40" fmla="*/ 1327 w 1570"/>
                  <a:gd name="T41" fmla="*/ 279 h 1330"/>
                  <a:gd name="T42" fmla="*/ 1263 w 1570"/>
                  <a:gd name="T43" fmla="*/ 411 h 1330"/>
                  <a:gd name="T44" fmla="*/ 1226 w 1570"/>
                  <a:gd name="T45" fmla="*/ 527 h 1330"/>
                  <a:gd name="T46" fmla="*/ 1112 w 1570"/>
                  <a:gd name="T47" fmla="*/ 593 h 1330"/>
                  <a:gd name="T48" fmla="*/ 949 w 1570"/>
                  <a:gd name="T49" fmla="*/ 617 h 1330"/>
                  <a:gd name="T50" fmla="*/ 881 w 1570"/>
                  <a:gd name="T51" fmla="*/ 666 h 1330"/>
                  <a:gd name="T52" fmla="*/ 826 w 1570"/>
                  <a:gd name="T53" fmla="*/ 600 h 1330"/>
                  <a:gd name="T54" fmla="*/ 751 w 1570"/>
                  <a:gd name="T55" fmla="*/ 560 h 1330"/>
                  <a:gd name="T56" fmla="*/ 777 w 1570"/>
                  <a:gd name="T57" fmla="*/ 489 h 1330"/>
                  <a:gd name="T58" fmla="*/ 760 w 1570"/>
                  <a:gd name="T59" fmla="*/ 432 h 1330"/>
                  <a:gd name="T60" fmla="*/ 777 w 1570"/>
                  <a:gd name="T61" fmla="*/ 354 h 1330"/>
                  <a:gd name="T62" fmla="*/ 789 w 1570"/>
                  <a:gd name="T63" fmla="*/ 305 h 1330"/>
                  <a:gd name="T64" fmla="*/ 1544 w 1570"/>
                  <a:gd name="T65" fmla="*/ 321 h 1330"/>
                  <a:gd name="T66" fmla="*/ 1570 w 1570"/>
                  <a:gd name="T67" fmla="*/ 350 h 1330"/>
                  <a:gd name="T68" fmla="*/ 1478 w 1570"/>
                  <a:gd name="T69" fmla="*/ 333 h 1330"/>
                  <a:gd name="T70" fmla="*/ 1495 w 1570"/>
                  <a:gd name="T71" fmla="*/ 378 h 1330"/>
                  <a:gd name="T72" fmla="*/ 1441 w 1570"/>
                  <a:gd name="T73" fmla="*/ 371 h 1330"/>
                  <a:gd name="T74" fmla="*/ 1356 w 1570"/>
                  <a:gd name="T75" fmla="*/ 416 h 1330"/>
                  <a:gd name="T76" fmla="*/ 1365 w 1570"/>
                  <a:gd name="T77" fmla="*/ 428 h 1330"/>
                  <a:gd name="T78" fmla="*/ 1372 w 1570"/>
                  <a:gd name="T79" fmla="*/ 432 h 1330"/>
                  <a:gd name="T80" fmla="*/ 1372 w 1570"/>
                  <a:gd name="T81" fmla="*/ 444 h 1330"/>
                  <a:gd name="T82" fmla="*/ 330 w 1570"/>
                  <a:gd name="T83" fmla="*/ 1202 h 1330"/>
                  <a:gd name="T84" fmla="*/ 309 w 1570"/>
                  <a:gd name="T85" fmla="*/ 1238 h 1330"/>
                  <a:gd name="T86" fmla="*/ 16 w 1570"/>
                  <a:gd name="T87" fmla="*/ 1238 h 1330"/>
                  <a:gd name="T88" fmla="*/ 21 w 1570"/>
                  <a:gd name="T89" fmla="*/ 1259 h 1330"/>
                  <a:gd name="T90" fmla="*/ 293 w 1570"/>
                  <a:gd name="T91" fmla="*/ 1243 h 1330"/>
                  <a:gd name="T92" fmla="*/ 271 w 1570"/>
                  <a:gd name="T93" fmla="*/ 1297 h 1330"/>
                  <a:gd name="T94" fmla="*/ 87 w 1570"/>
                  <a:gd name="T95" fmla="*/ 1276 h 1330"/>
                  <a:gd name="T96" fmla="*/ 125 w 1570"/>
                  <a:gd name="T97" fmla="*/ 1292 h 1330"/>
                  <a:gd name="T98" fmla="*/ 59 w 1570"/>
                  <a:gd name="T99" fmla="*/ 1297 h 1330"/>
                  <a:gd name="T100" fmla="*/ 59 w 1570"/>
                  <a:gd name="T101" fmla="*/ 1297 h 1330"/>
                  <a:gd name="T102" fmla="*/ 163 w 1570"/>
                  <a:gd name="T103" fmla="*/ 1304 h 1330"/>
                  <a:gd name="T104" fmla="*/ 196 w 1570"/>
                  <a:gd name="T105" fmla="*/ 1313 h 1330"/>
                  <a:gd name="T106" fmla="*/ 7 w 1570"/>
                  <a:gd name="T107" fmla="*/ 1330 h 1330"/>
                  <a:gd name="T108" fmla="*/ 7 w 1570"/>
                  <a:gd name="T109" fmla="*/ 133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70" h="1330">
                    <a:moveTo>
                      <a:pt x="789" y="305"/>
                    </a:moveTo>
                    <a:lnTo>
                      <a:pt x="793" y="300"/>
                    </a:lnTo>
                    <a:lnTo>
                      <a:pt x="793" y="284"/>
                    </a:lnTo>
                    <a:lnTo>
                      <a:pt x="793" y="251"/>
                    </a:lnTo>
                    <a:lnTo>
                      <a:pt x="789" y="239"/>
                    </a:lnTo>
                    <a:lnTo>
                      <a:pt x="826" y="210"/>
                    </a:lnTo>
                    <a:lnTo>
                      <a:pt x="843" y="189"/>
                    </a:lnTo>
                    <a:lnTo>
                      <a:pt x="815" y="184"/>
                    </a:lnTo>
                    <a:lnTo>
                      <a:pt x="810" y="156"/>
                    </a:lnTo>
                    <a:lnTo>
                      <a:pt x="772" y="156"/>
                    </a:lnTo>
                    <a:lnTo>
                      <a:pt x="772" y="168"/>
                    </a:lnTo>
                    <a:lnTo>
                      <a:pt x="756" y="173"/>
                    </a:lnTo>
                    <a:lnTo>
                      <a:pt x="734" y="168"/>
                    </a:lnTo>
                    <a:lnTo>
                      <a:pt x="701" y="173"/>
                    </a:lnTo>
                    <a:lnTo>
                      <a:pt x="696" y="168"/>
                    </a:lnTo>
                    <a:lnTo>
                      <a:pt x="708" y="151"/>
                    </a:lnTo>
                    <a:lnTo>
                      <a:pt x="696" y="139"/>
                    </a:lnTo>
                    <a:lnTo>
                      <a:pt x="654" y="156"/>
                    </a:lnTo>
                    <a:lnTo>
                      <a:pt x="647" y="168"/>
                    </a:lnTo>
                    <a:lnTo>
                      <a:pt x="647" y="151"/>
                    </a:lnTo>
                    <a:lnTo>
                      <a:pt x="670" y="123"/>
                    </a:lnTo>
                    <a:lnTo>
                      <a:pt x="647" y="135"/>
                    </a:lnTo>
                    <a:lnTo>
                      <a:pt x="663" y="118"/>
                    </a:lnTo>
                    <a:lnTo>
                      <a:pt x="654" y="123"/>
                    </a:lnTo>
                    <a:lnTo>
                      <a:pt x="647" y="118"/>
                    </a:lnTo>
                    <a:lnTo>
                      <a:pt x="654" y="118"/>
                    </a:lnTo>
                    <a:lnTo>
                      <a:pt x="663" y="95"/>
                    </a:lnTo>
                    <a:lnTo>
                      <a:pt x="642" y="111"/>
                    </a:lnTo>
                    <a:lnTo>
                      <a:pt x="642" y="95"/>
                    </a:lnTo>
                    <a:lnTo>
                      <a:pt x="647" y="83"/>
                    </a:lnTo>
                    <a:lnTo>
                      <a:pt x="633" y="95"/>
                    </a:lnTo>
                    <a:lnTo>
                      <a:pt x="633" y="66"/>
                    </a:lnTo>
                    <a:lnTo>
                      <a:pt x="626" y="78"/>
                    </a:lnTo>
                    <a:lnTo>
                      <a:pt x="626" y="57"/>
                    </a:lnTo>
                    <a:lnTo>
                      <a:pt x="647" y="40"/>
                    </a:lnTo>
                    <a:lnTo>
                      <a:pt x="663" y="45"/>
                    </a:lnTo>
                    <a:lnTo>
                      <a:pt x="685" y="28"/>
                    </a:lnTo>
                    <a:lnTo>
                      <a:pt x="696" y="24"/>
                    </a:lnTo>
                    <a:lnTo>
                      <a:pt x="718" y="0"/>
                    </a:lnTo>
                    <a:lnTo>
                      <a:pt x="722" y="7"/>
                    </a:lnTo>
                    <a:lnTo>
                      <a:pt x="751" y="7"/>
                    </a:lnTo>
                    <a:lnTo>
                      <a:pt x="760" y="24"/>
                    </a:lnTo>
                    <a:lnTo>
                      <a:pt x="777" y="24"/>
                    </a:lnTo>
                    <a:lnTo>
                      <a:pt x="777" y="24"/>
                    </a:lnTo>
                    <a:lnTo>
                      <a:pt x="789" y="12"/>
                    </a:lnTo>
                    <a:lnTo>
                      <a:pt x="848" y="24"/>
                    </a:lnTo>
                    <a:lnTo>
                      <a:pt x="864" y="12"/>
                    </a:lnTo>
                    <a:lnTo>
                      <a:pt x="869" y="24"/>
                    </a:lnTo>
                    <a:lnTo>
                      <a:pt x="956" y="28"/>
                    </a:lnTo>
                    <a:lnTo>
                      <a:pt x="1020" y="24"/>
                    </a:lnTo>
                    <a:lnTo>
                      <a:pt x="1048" y="40"/>
                    </a:lnTo>
                    <a:lnTo>
                      <a:pt x="1063" y="28"/>
                    </a:lnTo>
                    <a:lnTo>
                      <a:pt x="1112" y="45"/>
                    </a:lnTo>
                    <a:lnTo>
                      <a:pt x="1150" y="40"/>
                    </a:lnTo>
                    <a:lnTo>
                      <a:pt x="1171" y="45"/>
                    </a:lnTo>
                    <a:lnTo>
                      <a:pt x="1171" y="62"/>
                    </a:lnTo>
                    <a:lnTo>
                      <a:pt x="1221" y="66"/>
                    </a:lnTo>
                    <a:lnTo>
                      <a:pt x="1237" y="83"/>
                    </a:lnTo>
                    <a:lnTo>
                      <a:pt x="1247" y="83"/>
                    </a:lnTo>
                    <a:lnTo>
                      <a:pt x="1273" y="95"/>
                    </a:lnTo>
                    <a:lnTo>
                      <a:pt x="1318" y="95"/>
                    </a:lnTo>
                    <a:lnTo>
                      <a:pt x="1327" y="78"/>
                    </a:lnTo>
                    <a:lnTo>
                      <a:pt x="1365" y="95"/>
                    </a:lnTo>
                    <a:lnTo>
                      <a:pt x="1372" y="99"/>
                    </a:lnTo>
                    <a:lnTo>
                      <a:pt x="1372" y="118"/>
                    </a:lnTo>
                    <a:lnTo>
                      <a:pt x="1398" y="111"/>
                    </a:lnTo>
                    <a:lnTo>
                      <a:pt x="1410" y="123"/>
                    </a:lnTo>
                    <a:lnTo>
                      <a:pt x="1436" y="118"/>
                    </a:lnTo>
                    <a:lnTo>
                      <a:pt x="1452" y="123"/>
                    </a:lnTo>
                    <a:lnTo>
                      <a:pt x="1478" y="118"/>
                    </a:lnTo>
                    <a:lnTo>
                      <a:pt x="1495" y="118"/>
                    </a:lnTo>
                    <a:lnTo>
                      <a:pt x="1495" y="123"/>
                    </a:lnTo>
                    <a:lnTo>
                      <a:pt x="1507" y="123"/>
                    </a:lnTo>
                    <a:lnTo>
                      <a:pt x="1490" y="135"/>
                    </a:lnTo>
                    <a:lnTo>
                      <a:pt x="1495" y="151"/>
                    </a:lnTo>
                    <a:lnTo>
                      <a:pt x="1495" y="168"/>
                    </a:lnTo>
                    <a:lnTo>
                      <a:pt x="1436" y="206"/>
                    </a:lnTo>
                    <a:lnTo>
                      <a:pt x="1419" y="222"/>
                    </a:lnTo>
                    <a:lnTo>
                      <a:pt x="1344" y="239"/>
                    </a:lnTo>
                    <a:lnTo>
                      <a:pt x="1318" y="262"/>
                    </a:lnTo>
                    <a:lnTo>
                      <a:pt x="1334" y="267"/>
                    </a:lnTo>
                    <a:lnTo>
                      <a:pt x="1318" y="279"/>
                    </a:lnTo>
                    <a:lnTo>
                      <a:pt x="1318" y="279"/>
                    </a:lnTo>
                    <a:lnTo>
                      <a:pt x="1327" y="279"/>
                    </a:lnTo>
                    <a:lnTo>
                      <a:pt x="1311" y="279"/>
                    </a:lnTo>
                    <a:lnTo>
                      <a:pt x="1273" y="321"/>
                    </a:lnTo>
                    <a:lnTo>
                      <a:pt x="1247" y="371"/>
                    </a:lnTo>
                    <a:lnTo>
                      <a:pt x="1263" y="411"/>
                    </a:lnTo>
                    <a:lnTo>
                      <a:pt x="1289" y="432"/>
                    </a:lnTo>
                    <a:lnTo>
                      <a:pt x="1237" y="465"/>
                    </a:lnTo>
                    <a:lnTo>
                      <a:pt x="1209" y="522"/>
                    </a:lnTo>
                    <a:lnTo>
                      <a:pt x="1226" y="527"/>
                    </a:lnTo>
                    <a:lnTo>
                      <a:pt x="1183" y="527"/>
                    </a:lnTo>
                    <a:lnTo>
                      <a:pt x="1155" y="543"/>
                    </a:lnTo>
                    <a:lnTo>
                      <a:pt x="1129" y="600"/>
                    </a:lnTo>
                    <a:lnTo>
                      <a:pt x="1112" y="593"/>
                    </a:lnTo>
                    <a:lnTo>
                      <a:pt x="1079" y="610"/>
                    </a:lnTo>
                    <a:lnTo>
                      <a:pt x="1063" y="600"/>
                    </a:lnTo>
                    <a:lnTo>
                      <a:pt x="966" y="600"/>
                    </a:lnTo>
                    <a:lnTo>
                      <a:pt x="949" y="617"/>
                    </a:lnTo>
                    <a:lnTo>
                      <a:pt x="911" y="626"/>
                    </a:lnTo>
                    <a:lnTo>
                      <a:pt x="902" y="650"/>
                    </a:lnTo>
                    <a:lnTo>
                      <a:pt x="897" y="650"/>
                    </a:lnTo>
                    <a:lnTo>
                      <a:pt x="881" y="666"/>
                    </a:lnTo>
                    <a:lnTo>
                      <a:pt x="848" y="650"/>
                    </a:lnTo>
                    <a:lnTo>
                      <a:pt x="831" y="626"/>
                    </a:lnTo>
                    <a:lnTo>
                      <a:pt x="843" y="617"/>
                    </a:lnTo>
                    <a:lnTo>
                      <a:pt x="826" y="600"/>
                    </a:lnTo>
                    <a:lnTo>
                      <a:pt x="826" y="593"/>
                    </a:lnTo>
                    <a:lnTo>
                      <a:pt x="789" y="560"/>
                    </a:lnTo>
                    <a:lnTo>
                      <a:pt x="756" y="560"/>
                    </a:lnTo>
                    <a:lnTo>
                      <a:pt x="751" y="560"/>
                    </a:lnTo>
                    <a:lnTo>
                      <a:pt x="751" y="527"/>
                    </a:lnTo>
                    <a:lnTo>
                      <a:pt x="751" y="522"/>
                    </a:lnTo>
                    <a:lnTo>
                      <a:pt x="760" y="499"/>
                    </a:lnTo>
                    <a:lnTo>
                      <a:pt x="777" y="489"/>
                    </a:lnTo>
                    <a:lnTo>
                      <a:pt x="789" y="482"/>
                    </a:lnTo>
                    <a:lnTo>
                      <a:pt x="777" y="482"/>
                    </a:lnTo>
                    <a:lnTo>
                      <a:pt x="756" y="461"/>
                    </a:lnTo>
                    <a:lnTo>
                      <a:pt x="760" y="432"/>
                    </a:lnTo>
                    <a:lnTo>
                      <a:pt x="789" y="411"/>
                    </a:lnTo>
                    <a:lnTo>
                      <a:pt x="760" y="395"/>
                    </a:lnTo>
                    <a:lnTo>
                      <a:pt x="751" y="354"/>
                    </a:lnTo>
                    <a:lnTo>
                      <a:pt x="777" y="354"/>
                    </a:lnTo>
                    <a:lnTo>
                      <a:pt x="793" y="321"/>
                    </a:lnTo>
                    <a:lnTo>
                      <a:pt x="777" y="317"/>
                    </a:lnTo>
                    <a:lnTo>
                      <a:pt x="789" y="305"/>
                    </a:lnTo>
                    <a:lnTo>
                      <a:pt x="789" y="305"/>
                    </a:lnTo>
                    <a:lnTo>
                      <a:pt x="789" y="305"/>
                    </a:lnTo>
                    <a:close/>
                    <a:moveTo>
                      <a:pt x="1570" y="350"/>
                    </a:moveTo>
                    <a:lnTo>
                      <a:pt x="1544" y="333"/>
                    </a:lnTo>
                    <a:lnTo>
                      <a:pt x="1544" y="321"/>
                    </a:lnTo>
                    <a:lnTo>
                      <a:pt x="1566" y="321"/>
                    </a:lnTo>
                    <a:lnTo>
                      <a:pt x="1570" y="338"/>
                    </a:lnTo>
                    <a:lnTo>
                      <a:pt x="1570" y="350"/>
                    </a:lnTo>
                    <a:lnTo>
                      <a:pt x="1570" y="350"/>
                    </a:lnTo>
                    <a:lnTo>
                      <a:pt x="1570" y="350"/>
                    </a:lnTo>
                    <a:close/>
                    <a:moveTo>
                      <a:pt x="1441" y="371"/>
                    </a:moveTo>
                    <a:lnTo>
                      <a:pt x="1441" y="362"/>
                    </a:lnTo>
                    <a:lnTo>
                      <a:pt x="1478" y="333"/>
                    </a:lnTo>
                    <a:lnTo>
                      <a:pt x="1490" y="333"/>
                    </a:lnTo>
                    <a:lnTo>
                      <a:pt x="1495" y="350"/>
                    </a:lnTo>
                    <a:lnTo>
                      <a:pt x="1516" y="350"/>
                    </a:lnTo>
                    <a:lnTo>
                      <a:pt x="1495" y="378"/>
                    </a:lnTo>
                    <a:lnTo>
                      <a:pt x="1490" y="388"/>
                    </a:lnTo>
                    <a:lnTo>
                      <a:pt x="1462" y="378"/>
                    </a:lnTo>
                    <a:lnTo>
                      <a:pt x="1457" y="362"/>
                    </a:lnTo>
                    <a:lnTo>
                      <a:pt x="1441" y="371"/>
                    </a:lnTo>
                    <a:lnTo>
                      <a:pt x="1441" y="371"/>
                    </a:lnTo>
                    <a:lnTo>
                      <a:pt x="1441" y="371"/>
                    </a:lnTo>
                    <a:close/>
                    <a:moveTo>
                      <a:pt x="1365" y="428"/>
                    </a:moveTo>
                    <a:lnTo>
                      <a:pt x="1356" y="416"/>
                    </a:lnTo>
                    <a:lnTo>
                      <a:pt x="1365" y="411"/>
                    </a:lnTo>
                    <a:lnTo>
                      <a:pt x="1386" y="406"/>
                    </a:lnTo>
                    <a:lnTo>
                      <a:pt x="1386" y="411"/>
                    </a:lnTo>
                    <a:lnTo>
                      <a:pt x="1365" y="428"/>
                    </a:lnTo>
                    <a:lnTo>
                      <a:pt x="1365" y="428"/>
                    </a:lnTo>
                    <a:lnTo>
                      <a:pt x="1365" y="428"/>
                    </a:lnTo>
                    <a:close/>
                    <a:moveTo>
                      <a:pt x="1372" y="444"/>
                    </a:moveTo>
                    <a:lnTo>
                      <a:pt x="1372" y="432"/>
                    </a:lnTo>
                    <a:lnTo>
                      <a:pt x="1382" y="444"/>
                    </a:lnTo>
                    <a:lnTo>
                      <a:pt x="1372" y="444"/>
                    </a:lnTo>
                    <a:lnTo>
                      <a:pt x="1372" y="444"/>
                    </a:lnTo>
                    <a:lnTo>
                      <a:pt x="1372" y="444"/>
                    </a:lnTo>
                    <a:close/>
                    <a:moveTo>
                      <a:pt x="309" y="1238"/>
                    </a:moveTo>
                    <a:lnTo>
                      <a:pt x="302" y="1226"/>
                    </a:lnTo>
                    <a:lnTo>
                      <a:pt x="309" y="1219"/>
                    </a:lnTo>
                    <a:lnTo>
                      <a:pt x="330" y="1202"/>
                    </a:lnTo>
                    <a:lnTo>
                      <a:pt x="323" y="1226"/>
                    </a:lnTo>
                    <a:lnTo>
                      <a:pt x="309" y="1238"/>
                    </a:lnTo>
                    <a:lnTo>
                      <a:pt x="309" y="1238"/>
                    </a:lnTo>
                    <a:lnTo>
                      <a:pt x="309" y="1238"/>
                    </a:lnTo>
                    <a:close/>
                    <a:moveTo>
                      <a:pt x="21" y="1259"/>
                    </a:moveTo>
                    <a:lnTo>
                      <a:pt x="21" y="1264"/>
                    </a:lnTo>
                    <a:lnTo>
                      <a:pt x="7" y="1243"/>
                    </a:lnTo>
                    <a:lnTo>
                      <a:pt x="16" y="1238"/>
                    </a:lnTo>
                    <a:lnTo>
                      <a:pt x="33" y="1243"/>
                    </a:lnTo>
                    <a:lnTo>
                      <a:pt x="21" y="1259"/>
                    </a:lnTo>
                    <a:lnTo>
                      <a:pt x="21" y="1259"/>
                    </a:lnTo>
                    <a:lnTo>
                      <a:pt x="21" y="1259"/>
                    </a:lnTo>
                    <a:close/>
                    <a:moveTo>
                      <a:pt x="271" y="1297"/>
                    </a:moveTo>
                    <a:lnTo>
                      <a:pt x="264" y="1297"/>
                    </a:lnTo>
                    <a:lnTo>
                      <a:pt x="276" y="1280"/>
                    </a:lnTo>
                    <a:lnTo>
                      <a:pt x="293" y="1243"/>
                    </a:lnTo>
                    <a:lnTo>
                      <a:pt x="302" y="1243"/>
                    </a:lnTo>
                    <a:lnTo>
                      <a:pt x="302" y="1259"/>
                    </a:lnTo>
                    <a:lnTo>
                      <a:pt x="293" y="1280"/>
                    </a:lnTo>
                    <a:lnTo>
                      <a:pt x="271" y="1297"/>
                    </a:lnTo>
                    <a:lnTo>
                      <a:pt x="271" y="1297"/>
                    </a:lnTo>
                    <a:lnTo>
                      <a:pt x="271" y="1297"/>
                    </a:lnTo>
                    <a:close/>
                    <a:moveTo>
                      <a:pt x="104" y="1297"/>
                    </a:moveTo>
                    <a:lnTo>
                      <a:pt x="87" y="1276"/>
                    </a:lnTo>
                    <a:lnTo>
                      <a:pt x="108" y="1264"/>
                    </a:lnTo>
                    <a:lnTo>
                      <a:pt x="125" y="1259"/>
                    </a:lnTo>
                    <a:lnTo>
                      <a:pt x="141" y="1259"/>
                    </a:lnTo>
                    <a:lnTo>
                      <a:pt x="125" y="1292"/>
                    </a:lnTo>
                    <a:lnTo>
                      <a:pt x="104" y="1297"/>
                    </a:lnTo>
                    <a:lnTo>
                      <a:pt x="104" y="1297"/>
                    </a:lnTo>
                    <a:lnTo>
                      <a:pt x="104" y="1297"/>
                    </a:lnTo>
                    <a:close/>
                    <a:moveTo>
                      <a:pt x="59" y="1297"/>
                    </a:moveTo>
                    <a:lnTo>
                      <a:pt x="54" y="1292"/>
                    </a:lnTo>
                    <a:lnTo>
                      <a:pt x="59" y="1280"/>
                    </a:lnTo>
                    <a:lnTo>
                      <a:pt x="75" y="1292"/>
                    </a:lnTo>
                    <a:lnTo>
                      <a:pt x="59" y="1297"/>
                    </a:lnTo>
                    <a:lnTo>
                      <a:pt x="59" y="1297"/>
                    </a:lnTo>
                    <a:lnTo>
                      <a:pt x="59" y="1297"/>
                    </a:lnTo>
                    <a:close/>
                    <a:moveTo>
                      <a:pt x="179" y="1321"/>
                    </a:moveTo>
                    <a:lnTo>
                      <a:pt x="163" y="1304"/>
                    </a:lnTo>
                    <a:lnTo>
                      <a:pt x="167" y="1292"/>
                    </a:lnTo>
                    <a:lnTo>
                      <a:pt x="196" y="1292"/>
                    </a:lnTo>
                    <a:lnTo>
                      <a:pt x="196" y="1297"/>
                    </a:lnTo>
                    <a:lnTo>
                      <a:pt x="196" y="1313"/>
                    </a:lnTo>
                    <a:lnTo>
                      <a:pt x="179" y="1321"/>
                    </a:lnTo>
                    <a:lnTo>
                      <a:pt x="179" y="1321"/>
                    </a:lnTo>
                    <a:lnTo>
                      <a:pt x="179" y="1321"/>
                    </a:lnTo>
                    <a:close/>
                    <a:moveTo>
                      <a:pt x="7" y="1330"/>
                    </a:moveTo>
                    <a:lnTo>
                      <a:pt x="0" y="1321"/>
                    </a:lnTo>
                    <a:lnTo>
                      <a:pt x="16" y="1313"/>
                    </a:lnTo>
                    <a:lnTo>
                      <a:pt x="7" y="1330"/>
                    </a:lnTo>
                    <a:lnTo>
                      <a:pt x="7" y="1330"/>
                    </a:lnTo>
                    <a:lnTo>
                      <a:pt x="7" y="133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5710" name="Gruppieren 5709">
                <a:extLst>
                  <a:ext uri="{FF2B5EF4-FFF2-40B4-BE49-F238E27FC236}">
                    <a16:creationId xmlns:a16="http://schemas.microsoft.com/office/drawing/2014/main" id="{60C8E1D3-56E0-4345-85D4-8D1207405CD6}"/>
                  </a:ext>
                </a:extLst>
              </p:cNvPr>
              <p:cNvGrpSpPr/>
              <p:nvPr/>
            </p:nvGrpSpPr>
            <p:grpSpPr bwMode="gray">
              <a:xfrm>
                <a:off x="1738441" y="692696"/>
                <a:ext cx="10478239" cy="2293259"/>
                <a:chOff x="1738441" y="692696"/>
                <a:chExt cx="10478239" cy="2293259"/>
              </a:xfrm>
              <a:grpFill/>
            </p:grpSpPr>
            <p:sp>
              <p:nvSpPr>
                <p:cNvPr id="5711" name="Freeform 473">
                  <a:extLst>
                    <a:ext uri="{FF2B5EF4-FFF2-40B4-BE49-F238E27FC236}">
                      <a16:creationId xmlns:a16="http://schemas.microsoft.com/office/drawing/2014/main" id="{814E846B-E9CA-41B5-9CEC-42763064AE75}"/>
                    </a:ext>
                  </a:extLst>
                </p:cNvPr>
                <p:cNvSpPr>
                  <a:spLocks noEditPoints="1"/>
                </p:cNvSpPr>
                <p:nvPr/>
              </p:nvSpPr>
              <p:spPr bwMode="gray">
                <a:xfrm>
                  <a:off x="6915603" y="2557357"/>
                  <a:ext cx="344568" cy="370544"/>
                </a:xfrm>
                <a:custGeom>
                  <a:avLst/>
                  <a:gdLst>
                    <a:gd name="T0" fmla="*/ 81 w 837"/>
                    <a:gd name="T1" fmla="*/ 259 h 900"/>
                    <a:gd name="T2" fmla="*/ 34 w 837"/>
                    <a:gd name="T3" fmla="*/ 193 h 900"/>
                    <a:gd name="T4" fmla="*/ 43 w 837"/>
                    <a:gd name="T5" fmla="*/ 148 h 900"/>
                    <a:gd name="T6" fmla="*/ 81 w 837"/>
                    <a:gd name="T7" fmla="*/ 99 h 900"/>
                    <a:gd name="T8" fmla="*/ 135 w 837"/>
                    <a:gd name="T9" fmla="*/ 54 h 900"/>
                    <a:gd name="T10" fmla="*/ 173 w 837"/>
                    <a:gd name="T11" fmla="*/ 111 h 900"/>
                    <a:gd name="T12" fmla="*/ 189 w 837"/>
                    <a:gd name="T13" fmla="*/ 54 h 900"/>
                    <a:gd name="T14" fmla="*/ 248 w 837"/>
                    <a:gd name="T15" fmla="*/ 75 h 900"/>
                    <a:gd name="T16" fmla="*/ 260 w 837"/>
                    <a:gd name="T17" fmla="*/ 37 h 900"/>
                    <a:gd name="T18" fmla="*/ 324 w 837"/>
                    <a:gd name="T19" fmla="*/ 4 h 900"/>
                    <a:gd name="T20" fmla="*/ 411 w 837"/>
                    <a:gd name="T21" fmla="*/ 26 h 900"/>
                    <a:gd name="T22" fmla="*/ 497 w 837"/>
                    <a:gd name="T23" fmla="*/ 75 h 900"/>
                    <a:gd name="T24" fmla="*/ 520 w 837"/>
                    <a:gd name="T25" fmla="*/ 127 h 900"/>
                    <a:gd name="T26" fmla="*/ 482 w 837"/>
                    <a:gd name="T27" fmla="*/ 127 h 900"/>
                    <a:gd name="T28" fmla="*/ 459 w 837"/>
                    <a:gd name="T29" fmla="*/ 127 h 900"/>
                    <a:gd name="T30" fmla="*/ 395 w 837"/>
                    <a:gd name="T31" fmla="*/ 165 h 900"/>
                    <a:gd name="T32" fmla="*/ 411 w 837"/>
                    <a:gd name="T33" fmla="*/ 203 h 900"/>
                    <a:gd name="T34" fmla="*/ 428 w 837"/>
                    <a:gd name="T35" fmla="*/ 276 h 900"/>
                    <a:gd name="T36" fmla="*/ 605 w 837"/>
                    <a:gd name="T37" fmla="*/ 458 h 900"/>
                    <a:gd name="T38" fmla="*/ 660 w 837"/>
                    <a:gd name="T39" fmla="*/ 496 h 900"/>
                    <a:gd name="T40" fmla="*/ 806 w 837"/>
                    <a:gd name="T41" fmla="*/ 623 h 900"/>
                    <a:gd name="T42" fmla="*/ 730 w 837"/>
                    <a:gd name="T43" fmla="*/ 585 h 900"/>
                    <a:gd name="T44" fmla="*/ 747 w 837"/>
                    <a:gd name="T45" fmla="*/ 668 h 900"/>
                    <a:gd name="T46" fmla="*/ 702 w 837"/>
                    <a:gd name="T47" fmla="*/ 751 h 900"/>
                    <a:gd name="T48" fmla="*/ 638 w 837"/>
                    <a:gd name="T49" fmla="*/ 789 h 900"/>
                    <a:gd name="T50" fmla="*/ 648 w 837"/>
                    <a:gd name="T51" fmla="*/ 734 h 900"/>
                    <a:gd name="T52" fmla="*/ 664 w 837"/>
                    <a:gd name="T53" fmla="*/ 668 h 900"/>
                    <a:gd name="T54" fmla="*/ 589 w 837"/>
                    <a:gd name="T55" fmla="*/ 595 h 900"/>
                    <a:gd name="T56" fmla="*/ 551 w 837"/>
                    <a:gd name="T57" fmla="*/ 552 h 900"/>
                    <a:gd name="T58" fmla="*/ 449 w 837"/>
                    <a:gd name="T59" fmla="*/ 512 h 900"/>
                    <a:gd name="T60" fmla="*/ 374 w 837"/>
                    <a:gd name="T61" fmla="*/ 441 h 900"/>
                    <a:gd name="T62" fmla="*/ 319 w 837"/>
                    <a:gd name="T63" fmla="*/ 404 h 900"/>
                    <a:gd name="T64" fmla="*/ 260 w 837"/>
                    <a:gd name="T65" fmla="*/ 292 h 900"/>
                    <a:gd name="T66" fmla="*/ 135 w 837"/>
                    <a:gd name="T67" fmla="*/ 248 h 900"/>
                    <a:gd name="T68" fmla="*/ 67 w 837"/>
                    <a:gd name="T69" fmla="*/ 292 h 900"/>
                    <a:gd name="T70" fmla="*/ 411 w 837"/>
                    <a:gd name="T71" fmla="*/ 276 h 900"/>
                    <a:gd name="T72" fmla="*/ 248 w 837"/>
                    <a:gd name="T73" fmla="*/ 375 h 900"/>
                    <a:gd name="T74" fmla="*/ 270 w 837"/>
                    <a:gd name="T75" fmla="*/ 387 h 900"/>
                    <a:gd name="T76" fmla="*/ 142 w 837"/>
                    <a:gd name="T77" fmla="*/ 541 h 900"/>
                    <a:gd name="T78" fmla="*/ 206 w 837"/>
                    <a:gd name="T79" fmla="*/ 541 h 900"/>
                    <a:gd name="T80" fmla="*/ 218 w 837"/>
                    <a:gd name="T81" fmla="*/ 611 h 900"/>
                    <a:gd name="T82" fmla="*/ 163 w 837"/>
                    <a:gd name="T83" fmla="*/ 706 h 900"/>
                    <a:gd name="T84" fmla="*/ 126 w 837"/>
                    <a:gd name="T85" fmla="*/ 696 h 900"/>
                    <a:gd name="T86" fmla="*/ 135 w 837"/>
                    <a:gd name="T87" fmla="*/ 640 h 900"/>
                    <a:gd name="T88" fmla="*/ 119 w 837"/>
                    <a:gd name="T89" fmla="*/ 569 h 900"/>
                    <a:gd name="T90" fmla="*/ 109 w 837"/>
                    <a:gd name="T91" fmla="*/ 569 h 900"/>
                    <a:gd name="T92" fmla="*/ 513 w 837"/>
                    <a:gd name="T93" fmla="*/ 557 h 900"/>
                    <a:gd name="T94" fmla="*/ 119 w 837"/>
                    <a:gd name="T95" fmla="*/ 685 h 900"/>
                    <a:gd name="T96" fmla="*/ 119 w 837"/>
                    <a:gd name="T97" fmla="*/ 696 h 900"/>
                    <a:gd name="T98" fmla="*/ 445 w 837"/>
                    <a:gd name="T99" fmla="*/ 779 h 900"/>
                    <a:gd name="T100" fmla="*/ 482 w 837"/>
                    <a:gd name="T101" fmla="*/ 779 h 900"/>
                    <a:gd name="T102" fmla="*/ 596 w 837"/>
                    <a:gd name="T103" fmla="*/ 772 h 900"/>
                    <a:gd name="T104" fmla="*/ 596 w 837"/>
                    <a:gd name="T105" fmla="*/ 829 h 900"/>
                    <a:gd name="T106" fmla="*/ 558 w 837"/>
                    <a:gd name="T107" fmla="*/ 890 h 900"/>
                    <a:gd name="T108" fmla="*/ 428 w 837"/>
                    <a:gd name="T109" fmla="*/ 817 h 900"/>
                    <a:gd name="T110" fmla="*/ 378 w 837"/>
                    <a:gd name="T111" fmla="*/ 890 h 900"/>
                    <a:gd name="T112" fmla="*/ 378 w 837"/>
                    <a:gd name="T113" fmla="*/ 89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7" h="900">
                      <a:moveTo>
                        <a:pt x="67" y="292"/>
                      </a:moveTo>
                      <a:lnTo>
                        <a:pt x="67" y="281"/>
                      </a:lnTo>
                      <a:lnTo>
                        <a:pt x="81" y="264"/>
                      </a:lnTo>
                      <a:lnTo>
                        <a:pt x="81" y="259"/>
                      </a:lnTo>
                      <a:lnTo>
                        <a:pt x="55" y="259"/>
                      </a:lnTo>
                      <a:lnTo>
                        <a:pt x="29" y="248"/>
                      </a:lnTo>
                      <a:lnTo>
                        <a:pt x="17" y="226"/>
                      </a:lnTo>
                      <a:lnTo>
                        <a:pt x="34" y="193"/>
                      </a:lnTo>
                      <a:lnTo>
                        <a:pt x="12" y="193"/>
                      </a:lnTo>
                      <a:lnTo>
                        <a:pt x="0" y="170"/>
                      </a:lnTo>
                      <a:lnTo>
                        <a:pt x="43" y="165"/>
                      </a:lnTo>
                      <a:lnTo>
                        <a:pt x="43" y="148"/>
                      </a:lnTo>
                      <a:lnTo>
                        <a:pt x="17" y="115"/>
                      </a:lnTo>
                      <a:lnTo>
                        <a:pt x="34" y="99"/>
                      </a:lnTo>
                      <a:lnTo>
                        <a:pt x="43" y="111"/>
                      </a:lnTo>
                      <a:lnTo>
                        <a:pt x="81" y="99"/>
                      </a:lnTo>
                      <a:lnTo>
                        <a:pt x="88" y="99"/>
                      </a:lnTo>
                      <a:lnTo>
                        <a:pt x="109" y="82"/>
                      </a:lnTo>
                      <a:lnTo>
                        <a:pt x="119" y="54"/>
                      </a:lnTo>
                      <a:lnTo>
                        <a:pt x="135" y="54"/>
                      </a:lnTo>
                      <a:lnTo>
                        <a:pt x="135" y="75"/>
                      </a:lnTo>
                      <a:lnTo>
                        <a:pt x="156" y="82"/>
                      </a:lnTo>
                      <a:lnTo>
                        <a:pt x="156" y="92"/>
                      </a:lnTo>
                      <a:lnTo>
                        <a:pt x="173" y="111"/>
                      </a:lnTo>
                      <a:lnTo>
                        <a:pt x="180" y="99"/>
                      </a:lnTo>
                      <a:lnTo>
                        <a:pt x="173" y="99"/>
                      </a:lnTo>
                      <a:lnTo>
                        <a:pt x="189" y="70"/>
                      </a:lnTo>
                      <a:lnTo>
                        <a:pt x="189" y="54"/>
                      </a:lnTo>
                      <a:lnTo>
                        <a:pt x="206" y="54"/>
                      </a:lnTo>
                      <a:lnTo>
                        <a:pt x="211" y="70"/>
                      </a:lnTo>
                      <a:lnTo>
                        <a:pt x="232" y="59"/>
                      </a:lnTo>
                      <a:lnTo>
                        <a:pt x="248" y="75"/>
                      </a:lnTo>
                      <a:lnTo>
                        <a:pt x="248" y="59"/>
                      </a:lnTo>
                      <a:lnTo>
                        <a:pt x="244" y="54"/>
                      </a:lnTo>
                      <a:lnTo>
                        <a:pt x="244" y="42"/>
                      </a:lnTo>
                      <a:lnTo>
                        <a:pt x="260" y="37"/>
                      </a:lnTo>
                      <a:lnTo>
                        <a:pt x="270" y="42"/>
                      </a:lnTo>
                      <a:lnTo>
                        <a:pt x="270" y="16"/>
                      </a:lnTo>
                      <a:lnTo>
                        <a:pt x="315" y="26"/>
                      </a:lnTo>
                      <a:lnTo>
                        <a:pt x="324" y="4"/>
                      </a:lnTo>
                      <a:lnTo>
                        <a:pt x="369" y="4"/>
                      </a:lnTo>
                      <a:lnTo>
                        <a:pt x="395" y="0"/>
                      </a:lnTo>
                      <a:lnTo>
                        <a:pt x="395" y="16"/>
                      </a:lnTo>
                      <a:lnTo>
                        <a:pt x="411" y="26"/>
                      </a:lnTo>
                      <a:lnTo>
                        <a:pt x="504" y="42"/>
                      </a:lnTo>
                      <a:lnTo>
                        <a:pt x="482" y="70"/>
                      </a:lnTo>
                      <a:lnTo>
                        <a:pt x="482" y="75"/>
                      </a:lnTo>
                      <a:lnTo>
                        <a:pt x="497" y="75"/>
                      </a:lnTo>
                      <a:lnTo>
                        <a:pt x="487" y="92"/>
                      </a:lnTo>
                      <a:lnTo>
                        <a:pt x="497" y="92"/>
                      </a:lnTo>
                      <a:lnTo>
                        <a:pt x="497" y="111"/>
                      </a:lnTo>
                      <a:lnTo>
                        <a:pt x="520" y="127"/>
                      </a:lnTo>
                      <a:lnTo>
                        <a:pt x="504" y="132"/>
                      </a:lnTo>
                      <a:lnTo>
                        <a:pt x="504" y="132"/>
                      </a:lnTo>
                      <a:lnTo>
                        <a:pt x="497" y="115"/>
                      </a:lnTo>
                      <a:lnTo>
                        <a:pt x="482" y="127"/>
                      </a:lnTo>
                      <a:lnTo>
                        <a:pt x="482" y="115"/>
                      </a:lnTo>
                      <a:lnTo>
                        <a:pt x="466" y="115"/>
                      </a:lnTo>
                      <a:lnTo>
                        <a:pt x="459" y="127"/>
                      </a:lnTo>
                      <a:lnTo>
                        <a:pt x="459" y="127"/>
                      </a:lnTo>
                      <a:lnTo>
                        <a:pt x="411" y="148"/>
                      </a:lnTo>
                      <a:lnTo>
                        <a:pt x="421" y="132"/>
                      </a:lnTo>
                      <a:lnTo>
                        <a:pt x="407" y="137"/>
                      </a:lnTo>
                      <a:lnTo>
                        <a:pt x="395" y="165"/>
                      </a:lnTo>
                      <a:lnTo>
                        <a:pt x="421" y="186"/>
                      </a:lnTo>
                      <a:lnTo>
                        <a:pt x="411" y="203"/>
                      </a:lnTo>
                      <a:lnTo>
                        <a:pt x="411" y="193"/>
                      </a:lnTo>
                      <a:lnTo>
                        <a:pt x="411" y="203"/>
                      </a:lnTo>
                      <a:lnTo>
                        <a:pt x="407" y="193"/>
                      </a:lnTo>
                      <a:lnTo>
                        <a:pt x="395" y="210"/>
                      </a:lnTo>
                      <a:lnTo>
                        <a:pt x="407" y="248"/>
                      </a:lnTo>
                      <a:lnTo>
                        <a:pt x="428" y="276"/>
                      </a:lnTo>
                      <a:lnTo>
                        <a:pt x="497" y="314"/>
                      </a:lnTo>
                      <a:lnTo>
                        <a:pt x="520" y="392"/>
                      </a:lnTo>
                      <a:lnTo>
                        <a:pt x="572" y="441"/>
                      </a:lnTo>
                      <a:lnTo>
                        <a:pt x="605" y="458"/>
                      </a:lnTo>
                      <a:lnTo>
                        <a:pt x="676" y="458"/>
                      </a:lnTo>
                      <a:lnTo>
                        <a:pt x="676" y="463"/>
                      </a:lnTo>
                      <a:lnTo>
                        <a:pt x="660" y="479"/>
                      </a:lnTo>
                      <a:lnTo>
                        <a:pt x="660" y="496"/>
                      </a:lnTo>
                      <a:lnTo>
                        <a:pt x="806" y="569"/>
                      </a:lnTo>
                      <a:lnTo>
                        <a:pt x="837" y="607"/>
                      </a:lnTo>
                      <a:lnTo>
                        <a:pt x="827" y="640"/>
                      </a:lnTo>
                      <a:lnTo>
                        <a:pt x="806" y="623"/>
                      </a:lnTo>
                      <a:lnTo>
                        <a:pt x="789" y="590"/>
                      </a:lnTo>
                      <a:lnTo>
                        <a:pt x="747" y="585"/>
                      </a:lnTo>
                      <a:lnTo>
                        <a:pt x="752" y="574"/>
                      </a:lnTo>
                      <a:lnTo>
                        <a:pt x="730" y="585"/>
                      </a:lnTo>
                      <a:lnTo>
                        <a:pt x="702" y="611"/>
                      </a:lnTo>
                      <a:lnTo>
                        <a:pt x="697" y="640"/>
                      </a:lnTo>
                      <a:lnTo>
                        <a:pt x="697" y="647"/>
                      </a:lnTo>
                      <a:lnTo>
                        <a:pt x="747" y="668"/>
                      </a:lnTo>
                      <a:lnTo>
                        <a:pt x="747" y="701"/>
                      </a:lnTo>
                      <a:lnTo>
                        <a:pt x="702" y="718"/>
                      </a:lnTo>
                      <a:lnTo>
                        <a:pt x="697" y="722"/>
                      </a:lnTo>
                      <a:lnTo>
                        <a:pt x="702" y="751"/>
                      </a:lnTo>
                      <a:lnTo>
                        <a:pt x="676" y="772"/>
                      </a:lnTo>
                      <a:lnTo>
                        <a:pt x="664" y="789"/>
                      </a:lnTo>
                      <a:lnTo>
                        <a:pt x="643" y="796"/>
                      </a:lnTo>
                      <a:lnTo>
                        <a:pt x="638" y="789"/>
                      </a:lnTo>
                      <a:lnTo>
                        <a:pt x="638" y="763"/>
                      </a:lnTo>
                      <a:lnTo>
                        <a:pt x="648" y="763"/>
                      </a:lnTo>
                      <a:lnTo>
                        <a:pt x="660" y="739"/>
                      </a:lnTo>
                      <a:lnTo>
                        <a:pt x="648" y="734"/>
                      </a:lnTo>
                      <a:lnTo>
                        <a:pt x="676" y="722"/>
                      </a:lnTo>
                      <a:lnTo>
                        <a:pt x="676" y="706"/>
                      </a:lnTo>
                      <a:lnTo>
                        <a:pt x="664" y="701"/>
                      </a:lnTo>
                      <a:lnTo>
                        <a:pt x="664" y="668"/>
                      </a:lnTo>
                      <a:lnTo>
                        <a:pt x="638" y="611"/>
                      </a:lnTo>
                      <a:lnTo>
                        <a:pt x="626" y="611"/>
                      </a:lnTo>
                      <a:lnTo>
                        <a:pt x="622" y="611"/>
                      </a:lnTo>
                      <a:lnTo>
                        <a:pt x="589" y="595"/>
                      </a:lnTo>
                      <a:lnTo>
                        <a:pt x="589" y="585"/>
                      </a:lnTo>
                      <a:lnTo>
                        <a:pt x="572" y="557"/>
                      </a:lnTo>
                      <a:lnTo>
                        <a:pt x="541" y="569"/>
                      </a:lnTo>
                      <a:lnTo>
                        <a:pt x="551" y="552"/>
                      </a:lnTo>
                      <a:lnTo>
                        <a:pt x="541" y="541"/>
                      </a:lnTo>
                      <a:lnTo>
                        <a:pt x="530" y="552"/>
                      </a:lnTo>
                      <a:lnTo>
                        <a:pt x="504" y="512"/>
                      </a:lnTo>
                      <a:lnTo>
                        <a:pt x="449" y="512"/>
                      </a:lnTo>
                      <a:lnTo>
                        <a:pt x="445" y="496"/>
                      </a:lnTo>
                      <a:lnTo>
                        <a:pt x="421" y="486"/>
                      </a:lnTo>
                      <a:lnTo>
                        <a:pt x="390" y="458"/>
                      </a:lnTo>
                      <a:lnTo>
                        <a:pt x="374" y="441"/>
                      </a:lnTo>
                      <a:lnTo>
                        <a:pt x="357" y="425"/>
                      </a:lnTo>
                      <a:lnTo>
                        <a:pt x="336" y="408"/>
                      </a:lnTo>
                      <a:lnTo>
                        <a:pt x="319" y="413"/>
                      </a:lnTo>
                      <a:lnTo>
                        <a:pt x="319" y="404"/>
                      </a:lnTo>
                      <a:lnTo>
                        <a:pt x="282" y="352"/>
                      </a:lnTo>
                      <a:lnTo>
                        <a:pt x="282" y="335"/>
                      </a:lnTo>
                      <a:lnTo>
                        <a:pt x="265" y="318"/>
                      </a:lnTo>
                      <a:lnTo>
                        <a:pt x="260" y="292"/>
                      </a:lnTo>
                      <a:lnTo>
                        <a:pt x="248" y="276"/>
                      </a:lnTo>
                      <a:lnTo>
                        <a:pt x="189" y="243"/>
                      </a:lnTo>
                      <a:lnTo>
                        <a:pt x="156" y="236"/>
                      </a:lnTo>
                      <a:lnTo>
                        <a:pt x="135" y="248"/>
                      </a:lnTo>
                      <a:lnTo>
                        <a:pt x="104" y="281"/>
                      </a:lnTo>
                      <a:lnTo>
                        <a:pt x="67" y="292"/>
                      </a:lnTo>
                      <a:lnTo>
                        <a:pt x="67" y="292"/>
                      </a:lnTo>
                      <a:lnTo>
                        <a:pt x="67" y="292"/>
                      </a:lnTo>
                      <a:close/>
                      <a:moveTo>
                        <a:pt x="411" y="276"/>
                      </a:moveTo>
                      <a:lnTo>
                        <a:pt x="411" y="281"/>
                      </a:lnTo>
                      <a:lnTo>
                        <a:pt x="421" y="276"/>
                      </a:lnTo>
                      <a:lnTo>
                        <a:pt x="411" y="276"/>
                      </a:lnTo>
                      <a:lnTo>
                        <a:pt x="411" y="276"/>
                      </a:lnTo>
                      <a:lnTo>
                        <a:pt x="411" y="276"/>
                      </a:lnTo>
                      <a:close/>
                      <a:moveTo>
                        <a:pt x="270" y="387"/>
                      </a:moveTo>
                      <a:lnTo>
                        <a:pt x="248" y="375"/>
                      </a:lnTo>
                      <a:lnTo>
                        <a:pt x="270" y="370"/>
                      </a:lnTo>
                      <a:lnTo>
                        <a:pt x="270" y="387"/>
                      </a:lnTo>
                      <a:lnTo>
                        <a:pt x="270" y="387"/>
                      </a:lnTo>
                      <a:lnTo>
                        <a:pt x="270" y="387"/>
                      </a:lnTo>
                      <a:close/>
                      <a:moveTo>
                        <a:pt x="109" y="569"/>
                      </a:moveTo>
                      <a:lnTo>
                        <a:pt x="119" y="536"/>
                      </a:lnTo>
                      <a:lnTo>
                        <a:pt x="126" y="541"/>
                      </a:lnTo>
                      <a:lnTo>
                        <a:pt x="142" y="541"/>
                      </a:lnTo>
                      <a:lnTo>
                        <a:pt x="189" y="512"/>
                      </a:lnTo>
                      <a:lnTo>
                        <a:pt x="211" y="519"/>
                      </a:lnTo>
                      <a:lnTo>
                        <a:pt x="218" y="536"/>
                      </a:lnTo>
                      <a:lnTo>
                        <a:pt x="206" y="541"/>
                      </a:lnTo>
                      <a:lnTo>
                        <a:pt x="211" y="541"/>
                      </a:lnTo>
                      <a:lnTo>
                        <a:pt x="227" y="574"/>
                      </a:lnTo>
                      <a:lnTo>
                        <a:pt x="211" y="595"/>
                      </a:lnTo>
                      <a:lnTo>
                        <a:pt x="218" y="611"/>
                      </a:lnTo>
                      <a:lnTo>
                        <a:pt x="211" y="696"/>
                      </a:lnTo>
                      <a:lnTo>
                        <a:pt x="173" y="680"/>
                      </a:lnTo>
                      <a:lnTo>
                        <a:pt x="173" y="701"/>
                      </a:lnTo>
                      <a:lnTo>
                        <a:pt x="163" y="706"/>
                      </a:lnTo>
                      <a:lnTo>
                        <a:pt x="152" y="706"/>
                      </a:lnTo>
                      <a:lnTo>
                        <a:pt x="135" y="696"/>
                      </a:lnTo>
                      <a:lnTo>
                        <a:pt x="126" y="706"/>
                      </a:lnTo>
                      <a:lnTo>
                        <a:pt x="126" y="696"/>
                      </a:lnTo>
                      <a:lnTo>
                        <a:pt x="135" y="696"/>
                      </a:lnTo>
                      <a:lnTo>
                        <a:pt x="126" y="668"/>
                      </a:lnTo>
                      <a:lnTo>
                        <a:pt x="135" y="640"/>
                      </a:lnTo>
                      <a:lnTo>
                        <a:pt x="135" y="640"/>
                      </a:lnTo>
                      <a:lnTo>
                        <a:pt x="142" y="630"/>
                      </a:lnTo>
                      <a:lnTo>
                        <a:pt x="126" y="630"/>
                      </a:lnTo>
                      <a:lnTo>
                        <a:pt x="135" y="590"/>
                      </a:lnTo>
                      <a:lnTo>
                        <a:pt x="119" y="569"/>
                      </a:lnTo>
                      <a:lnTo>
                        <a:pt x="109" y="569"/>
                      </a:lnTo>
                      <a:lnTo>
                        <a:pt x="109" y="569"/>
                      </a:lnTo>
                      <a:lnTo>
                        <a:pt x="109" y="569"/>
                      </a:lnTo>
                      <a:lnTo>
                        <a:pt x="109" y="569"/>
                      </a:lnTo>
                      <a:close/>
                      <a:moveTo>
                        <a:pt x="513" y="557"/>
                      </a:moveTo>
                      <a:lnTo>
                        <a:pt x="513" y="552"/>
                      </a:lnTo>
                      <a:lnTo>
                        <a:pt x="520" y="557"/>
                      </a:lnTo>
                      <a:lnTo>
                        <a:pt x="513" y="557"/>
                      </a:lnTo>
                      <a:lnTo>
                        <a:pt x="513" y="557"/>
                      </a:lnTo>
                      <a:lnTo>
                        <a:pt x="513" y="557"/>
                      </a:lnTo>
                      <a:close/>
                      <a:moveTo>
                        <a:pt x="119" y="696"/>
                      </a:moveTo>
                      <a:lnTo>
                        <a:pt x="119" y="685"/>
                      </a:lnTo>
                      <a:lnTo>
                        <a:pt x="119" y="685"/>
                      </a:lnTo>
                      <a:lnTo>
                        <a:pt x="119" y="696"/>
                      </a:lnTo>
                      <a:lnTo>
                        <a:pt x="119" y="696"/>
                      </a:lnTo>
                      <a:lnTo>
                        <a:pt x="119" y="696"/>
                      </a:lnTo>
                      <a:close/>
                      <a:moveTo>
                        <a:pt x="411" y="805"/>
                      </a:moveTo>
                      <a:lnTo>
                        <a:pt x="421" y="789"/>
                      </a:lnTo>
                      <a:lnTo>
                        <a:pt x="433" y="772"/>
                      </a:lnTo>
                      <a:lnTo>
                        <a:pt x="445" y="779"/>
                      </a:lnTo>
                      <a:lnTo>
                        <a:pt x="459" y="779"/>
                      </a:lnTo>
                      <a:lnTo>
                        <a:pt x="459" y="772"/>
                      </a:lnTo>
                      <a:lnTo>
                        <a:pt x="475" y="763"/>
                      </a:lnTo>
                      <a:lnTo>
                        <a:pt x="482" y="779"/>
                      </a:lnTo>
                      <a:lnTo>
                        <a:pt x="504" y="789"/>
                      </a:lnTo>
                      <a:lnTo>
                        <a:pt x="558" y="779"/>
                      </a:lnTo>
                      <a:lnTo>
                        <a:pt x="584" y="772"/>
                      </a:lnTo>
                      <a:lnTo>
                        <a:pt x="596" y="772"/>
                      </a:lnTo>
                      <a:lnTo>
                        <a:pt x="626" y="763"/>
                      </a:lnTo>
                      <a:lnTo>
                        <a:pt x="638" y="763"/>
                      </a:lnTo>
                      <a:lnTo>
                        <a:pt x="605" y="805"/>
                      </a:lnTo>
                      <a:lnTo>
                        <a:pt x="596" y="829"/>
                      </a:lnTo>
                      <a:lnTo>
                        <a:pt x="610" y="866"/>
                      </a:lnTo>
                      <a:lnTo>
                        <a:pt x="605" y="871"/>
                      </a:lnTo>
                      <a:lnTo>
                        <a:pt x="596" y="900"/>
                      </a:lnTo>
                      <a:lnTo>
                        <a:pt x="558" y="890"/>
                      </a:lnTo>
                      <a:lnTo>
                        <a:pt x="534" y="866"/>
                      </a:lnTo>
                      <a:lnTo>
                        <a:pt x="513" y="862"/>
                      </a:lnTo>
                      <a:lnTo>
                        <a:pt x="466" y="829"/>
                      </a:lnTo>
                      <a:lnTo>
                        <a:pt x="428" y="817"/>
                      </a:lnTo>
                      <a:lnTo>
                        <a:pt x="411" y="805"/>
                      </a:lnTo>
                      <a:lnTo>
                        <a:pt x="411" y="805"/>
                      </a:lnTo>
                      <a:lnTo>
                        <a:pt x="411" y="805"/>
                      </a:lnTo>
                      <a:close/>
                      <a:moveTo>
                        <a:pt x="378" y="890"/>
                      </a:moveTo>
                      <a:lnTo>
                        <a:pt x="378" y="883"/>
                      </a:lnTo>
                      <a:lnTo>
                        <a:pt x="390" y="883"/>
                      </a:lnTo>
                      <a:lnTo>
                        <a:pt x="378" y="890"/>
                      </a:lnTo>
                      <a:lnTo>
                        <a:pt x="378" y="890"/>
                      </a:lnTo>
                      <a:lnTo>
                        <a:pt x="378" y="89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12" name="Freeform 381">
                  <a:extLst>
                    <a:ext uri="{FF2B5EF4-FFF2-40B4-BE49-F238E27FC236}">
                      <a16:creationId xmlns:a16="http://schemas.microsoft.com/office/drawing/2014/main" id="{C75DA1E9-327A-4149-A26C-FE8DCD776EF3}"/>
                    </a:ext>
                  </a:extLst>
                </p:cNvPr>
                <p:cNvSpPr>
                  <a:spLocks noEditPoints="1"/>
                </p:cNvSpPr>
                <p:nvPr/>
              </p:nvSpPr>
              <p:spPr bwMode="gray">
                <a:xfrm>
                  <a:off x="8018468" y="2745923"/>
                  <a:ext cx="162609" cy="123515"/>
                </a:xfrm>
                <a:custGeom>
                  <a:avLst/>
                  <a:gdLst>
                    <a:gd name="T0" fmla="*/ 118 w 395"/>
                    <a:gd name="T1" fmla="*/ 229 h 300"/>
                    <a:gd name="T2" fmla="*/ 118 w 395"/>
                    <a:gd name="T3" fmla="*/ 212 h 300"/>
                    <a:gd name="T4" fmla="*/ 102 w 395"/>
                    <a:gd name="T5" fmla="*/ 196 h 300"/>
                    <a:gd name="T6" fmla="*/ 64 w 395"/>
                    <a:gd name="T7" fmla="*/ 168 h 300"/>
                    <a:gd name="T8" fmla="*/ 85 w 395"/>
                    <a:gd name="T9" fmla="*/ 139 h 300"/>
                    <a:gd name="T10" fmla="*/ 47 w 395"/>
                    <a:gd name="T11" fmla="*/ 99 h 300"/>
                    <a:gd name="T12" fmla="*/ 26 w 395"/>
                    <a:gd name="T13" fmla="*/ 73 h 300"/>
                    <a:gd name="T14" fmla="*/ 17 w 395"/>
                    <a:gd name="T15" fmla="*/ 45 h 300"/>
                    <a:gd name="T16" fmla="*/ 71 w 395"/>
                    <a:gd name="T17" fmla="*/ 45 h 300"/>
                    <a:gd name="T18" fmla="*/ 102 w 395"/>
                    <a:gd name="T19" fmla="*/ 57 h 300"/>
                    <a:gd name="T20" fmla="*/ 135 w 395"/>
                    <a:gd name="T21" fmla="*/ 61 h 300"/>
                    <a:gd name="T22" fmla="*/ 109 w 395"/>
                    <a:gd name="T23" fmla="*/ 28 h 300"/>
                    <a:gd name="T24" fmla="*/ 118 w 395"/>
                    <a:gd name="T25" fmla="*/ 0 h 300"/>
                    <a:gd name="T26" fmla="*/ 140 w 395"/>
                    <a:gd name="T27" fmla="*/ 0 h 300"/>
                    <a:gd name="T28" fmla="*/ 177 w 395"/>
                    <a:gd name="T29" fmla="*/ 45 h 300"/>
                    <a:gd name="T30" fmla="*/ 227 w 395"/>
                    <a:gd name="T31" fmla="*/ 57 h 300"/>
                    <a:gd name="T32" fmla="*/ 253 w 395"/>
                    <a:gd name="T33" fmla="*/ 23 h 300"/>
                    <a:gd name="T34" fmla="*/ 303 w 395"/>
                    <a:gd name="T35" fmla="*/ 40 h 300"/>
                    <a:gd name="T36" fmla="*/ 336 w 395"/>
                    <a:gd name="T37" fmla="*/ 94 h 300"/>
                    <a:gd name="T38" fmla="*/ 390 w 395"/>
                    <a:gd name="T39" fmla="*/ 118 h 300"/>
                    <a:gd name="T40" fmla="*/ 362 w 395"/>
                    <a:gd name="T41" fmla="*/ 134 h 300"/>
                    <a:gd name="T42" fmla="*/ 319 w 395"/>
                    <a:gd name="T43" fmla="*/ 205 h 300"/>
                    <a:gd name="T44" fmla="*/ 319 w 395"/>
                    <a:gd name="T45" fmla="*/ 222 h 300"/>
                    <a:gd name="T46" fmla="*/ 303 w 395"/>
                    <a:gd name="T47" fmla="*/ 246 h 300"/>
                    <a:gd name="T48" fmla="*/ 298 w 395"/>
                    <a:gd name="T49" fmla="*/ 229 h 300"/>
                    <a:gd name="T50" fmla="*/ 269 w 395"/>
                    <a:gd name="T51" fmla="*/ 300 h 300"/>
                    <a:gd name="T52" fmla="*/ 248 w 395"/>
                    <a:gd name="T53" fmla="*/ 279 h 300"/>
                    <a:gd name="T54" fmla="*/ 232 w 395"/>
                    <a:gd name="T55" fmla="*/ 250 h 300"/>
                    <a:gd name="T56" fmla="*/ 232 w 395"/>
                    <a:gd name="T57" fmla="*/ 222 h 300"/>
                    <a:gd name="T58" fmla="*/ 227 w 395"/>
                    <a:gd name="T59" fmla="*/ 184 h 300"/>
                    <a:gd name="T60" fmla="*/ 123 w 395"/>
                    <a:gd name="T61" fmla="*/ 250 h 300"/>
                    <a:gd name="T62" fmla="*/ 123 w 395"/>
                    <a:gd name="T63" fmla="*/ 250 h 300"/>
                    <a:gd name="T64" fmla="*/ 55 w 395"/>
                    <a:gd name="T65" fmla="*/ 99 h 300"/>
                    <a:gd name="T66" fmla="*/ 55 w 395"/>
                    <a:gd name="T67" fmla="*/ 111 h 300"/>
                    <a:gd name="T68" fmla="*/ 55 w 395"/>
                    <a:gd name="T69" fmla="*/ 111 h 300"/>
                    <a:gd name="T70" fmla="*/ 0 w 395"/>
                    <a:gd name="T71" fmla="*/ 189 h 300"/>
                    <a:gd name="T72" fmla="*/ 47 w 395"/>
                    <a:gd name="T73" fmla="*/ 205 h 300"/>
                    <a:gd name="T74" fmla="*/ 80 w 395"/>
                    <a:gd name="T75" fmla="*/ 212 h 300"/>
                    <a:gd name="T76" fmla="*/ 85 w 395"/>
                    <a:gd name="T77" fmla="*/ 229 h 300"/>
                    <a:gd name="T78" fmla="*/ 47 w 395"/>
                    <a:gd name="T79" fmla="*/ 246 h 300"/>
                    <a:gd name="T80" fmla="*/ 26 w 395"/>
                    <a:gd name="T81" fmla="*/ 229 h 300"/>
                    <a:gd name="T82" fmla="*/ 0 w 395"/>
                    <a:gd name="T83" fmla="*/ 18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5" h="300">
                      <a:moveTo>
                        <a:pt x="123" y="250"/>
                      </a:moveTo>
                      <a:lnTo>
                        <a:pt x="118" y="229"/>
                      </a:lnTo>
                      <a:lnTo>
                        <a:pt x="135" y="229"/>
                      </a:lnTo>
                      <a:lnTo>
                        <a:pt x="118" y="212"/>
                      </a:lnTo>
                      <a:lnTo>
                        <a:pt x="123" y="196"/>
                      </a:lnTo>
                      <a:lnTo>
                        <a:pt x="102" y="196"/>
                      </a:lnTo>
                      <a:lnTo>
                        <a:pt x="71" y="168"/>
                      </a:lnTo>
                      <a:lnTo>
                        <a:pt x="64" y="168"/>
                      </a:lnTo>
                      <a:lnTo>
                        <a:pt x="80" y="156"/>
                      </a:lnTo>
                      <a:lnTo>
                        <a:pt x="85" y="139"/>
                      </a:lnTo>
                      <a:lnTo>
                        <a:pt x="55" y="127"/>
                      </a:lnTo>
                      <a:lnTo>
                        <a:pt x="47" y="99"/>
                      </a:lnTo>
                      <a:lnTo>
                        <a:pt x="64" y="83"/>
                      </a:lnTo>
                      <a:lnTo>
                        <a:pt x="26" y="73"/>
                      </a:lnTo>
                      <a:lnTo>
                        <a:pt x="33" y="61"/>
                      </a:lnTo>
                      <a:lnTo>
                        <a:pt x="17" y="45"/>
                      </a:lnTo>
                      <a:lnTo>
                        <a:pt x="38" y="40"/>
                      </a:lnTo>
                      <a:lnTo>
                        <a:pt x="71" y="45"/>
                      </a:lnTo>
                      <a:lnTo>
                        <a:pt x="80" y="57"/>
                      </a:lnTo>
                      <a:lnTo>
                        <a:pt x="102" y="57"/>
                      </a:lnTo>
                      <a:lnTo>
                        <a:pt x="123" y="73"/>
                      </a:lnTo>
                      <a:lnTo>
                        <a:pt x="135" y="61"/>
                      </a:lnTo>
                      <a:lnTo>
                        <a:pt x="135" y="45"/>
                      </a:lnTo>
                      <a:lnTo>
                        <a:pt x="109" y="28"/>
                      </a:lnTo>
                      <a:lnTo>
                        <a:pt x="102" y="16"/>
                      </a:lnTo>
                      <a:lnTo>
                        <a:pt x="118" y="0"/>
                      </a:lnTo>
                      <a:lnTo>
                        <a:pt x="135" y="5"/>
                      </a:lnTo>
                      <a:lnTo>
                        <a:pt x="140" y="0"/>
                      </a:lnTo>
                      <a:lnTo>
                        <a:pt x="173" y="28"/>
                      </a:lnTo>
                      <a:lnTo>
                        <a:pt x="177" y="45"/>
                      </a:lnTo>
                      <a:lnTo>
                        <a:pt x="210" y="61"/>
                      </a:lnTo>
                      <a:lnTo>
                        <a:pt x="227" y="57"/>
                      </a:lnTo>
                      <a:lnTo>
                        <a:pt x="232" y="40"/>
                      </a:lnTo>
                      <a:lnTo>
                        <a:pt x="253" y="23"/>
                      </a:lnTo>
                      <a:lnTo>
                        <a:pt x="269" y="5"/>
                      </a:lnTo>
                      <a:lnTo>
                        <a:pt x="303" y="40"/>
                      </a:lnTo>
                      <a:lnTo>
                        <a:pt x="307" y="73"/>
                      </a:lnTo>
                      <a:lnTo>
                        <a:pt x="336" y="94"/>
                      </a:lnTo>
                      <a:lnTo>
                        <a:pt x="336" y="99"/>
                      </a:lnTo>
                      <a:lnTo>
                        <a:pt x="390" y="118"/>
                      </a:lnTo>
                      <a:lnTo>
                        <a:pt x="395" y="139"/>
                      </a:lnTo>
                      <a:lnTo>
                        <a:pt x="362" y="134"/>
                      </a:lnTo>
                      <a:lnTo>
                        <a:pt x="336" y="151"/>
                      </a:lnTo>
                      <a:lnTo>
                        <a:pt x="319" y="205"/>
                      </a:lnTo>
                      <a:lnTo>
                        <a:pt x="324" y="212"/>
                      </a:lnTo>
                      <a:lnTo>
                        <a:pt x="319" y="222"/>
                      </a:lnTo>
                      <a:lnTo>
                        <a:pt x="307" y="246"/>
                      </a:lnTo>
                      <a:lnTo>
                        <a:pt x="303" y="246"/>
                      </a:lnTo>
                      <a:lnTo>
                        <a:pt x="307" y="238"/>
                      </a:lnTo>
                      <a:lnTo>
                        <a:pt x="298" y="229"/>
                      </a:lnTo>
                      <a:lnTo>
                        <a:pt x="286" y="295"/>
                      </a:lnTo>
                      <a:lnTo>
                        <a:pt x="269" y="300"/>
                      </a:lnTo>
                      <a:lnTo>
                        <a:pt x="253" y="279"/>
                      </a:lnTo>
                      <a:lnTo>
                        <a:pt x="248" y="279"/>
                      </a:lnTo>
                      <a:lnTo>
                        <a:pt x="232" y="262"/>
                      </a:lnTo>
                      <a:lnTo>
                        <a:pt x="232" y="250"/>
                      </a:lnTo>
                      <a:lnTo>
                        <a:pt x="248" y="246"/>
                      </a:lnTo>
                      <a:lnTo>
                        <a:pt x="232" y="222"/>
                      </a:lnTo>
                      <a:lnTo>
                        <a:pt x="253" y="212"/>
                      </a:lnTo>
                      <a:lnTo>
                        <a:pt x="227" y="184"/>
                      </a:lnTo>
                      <a:lnTo>
                        <a:pt x="147" y="229"/>
                      </a:lnTo>
                      <a:lnTo>
                        <a:pt x="123" y="250"/>
                      </a:lnTo>
                      <a:lnTo>
                        <a:pt x="123" y="250"/>
                      </a:lnTo>
                      <a:lnTo>
                        <a:pt x="123" y="250"/>
                      </a:lnTo>
                      <a:close/>
                      <a:moveTo>
                        <a:pt x="55" y="111"/>
                      </a:moveTo>
                      <a:lnTo>
                        <a:pt x="55" y="99"/>
                      </a:lnTo>
                      <a:lnTo>
                        <a:pt x="55" y="99"/>
                      </a:lnTo>
                      <a:lnTo>
                        <a:pt x="55" y="111"/>
                      </a:lnTo>
                      <a:lnTo>
                        <a:pt x="55" y="111"/>
                      </a:lnTo>
                      <a:lnTo>
                        <a:pt x="55" y="111"/>
                      </a:lnTo>
                      <a:close/>
                      <a:moveTo>
                        <a:pt x="0" y="189"/>
                      </a:moveTo>
                      <a:lnTo>
                        <a:pt x="0" y="189"/>
                      </a:lnTo>
                      <a:lnTo>
                        <a:pt x="26" y="184"/>
                      </a:lnTo>
                      <a:lnTo>
                        <a:pt x="47" y="205"/>
                      </a:lnTo>
                      <a:lnTo>
                        <a:pt x="71" y="196"/>
                      </a:lnTo>
                      <a:lnTo>
                        <a:pt x="80" y="212"/>
                      </a:lnTo>
                      <a:lnTo>
                        <a:pt x="85" y="222"/>
                      </a:lnTo>
                      <a:lnTo>
                        <a:pt x="85" y="229"/>
                      </a:lnTo>
                      <a:lnTo>
                        <a:pt x="102" y="262"/>
                      </a:lnTo>
                      <a:lnTo>
                        <a:pt x="47" y="246"/>
                      </a:lnTo>
                      <a:lnTo>
                        <a:pt x="38" y="229"/>
                      </a:lnTo>
                      <a:lnTo>
                        <a:pt x="26" y="229"/>
                      </a:lnTo>
                      <a:lnTo>
                        <a:pt x="0" y="189"/>
                      </a:lnTo>
                      <a:lnTo>
                        <a:pt x="0" y="189"/>
                      </a:lnTo>
                      <a:lnTo>
                        <a:pt x="0" y="18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13" name="Freeform 382">
                  <a:extLst>
                    <a:ext uri="{FF2B5EF4-FFF2-40B4-BE49-F238E27FC236}">
                      <a16:creationId xmlns:a16="http://schemas.microsoft.com/office/drawing/2014/main" id="{DED21E34-2FAE-498C-BDDC-1BBB50AF3CD6}"/>
                    </a:ext>
                  </a:extLst>
                </p:cNvPr>
                <p:cNvSpPr>
                  <a:spLocks/>
                </p:cNvSpPr>
                <p:nvPr/>
              </p:nvSpPr>
              <p:spPr bwMode="gray">
                <a:xfrm>
                  <a:off x="7281578" y="2717516"/>
                  <a:ext cx="51458" cy="106223"/>
                </a:xfrm>
                <a:custGeom>
                  <a:avLst/>
                  <a:gdLst>
                    <a:gd name="T0" fmla="*/ 7 w 125"/>
                    <a:gd name="T1" fmla="*/ 66 h 258"/>
                    <a:gd name="T2" fmla="*/ 7 w 125"/>
                    <a:gd name="T3" fmla="*/ 50 h 258"/>
                    <a:gd name="T4" fmla="*/ 0 w 125"/>
                    <a:gd name="T5" fmla="*/ 40 h 258"/>
                    <a:gd name="T6" fmla="*/ 33 w 125"/>
                    <a:gd name="T7" fmla="*/ 0 h 258"/>
                    <a:gd name="T8" fmla="*/ 37 w 125"/>
                    <a:gd name="T9" fmla="*/ 0 h 258"/>
                    <a:gd name="T10" fmla="*/ 37 w 125"/>
                    <a:gd name="T11" fmla="*/ 17 h 258"/>
                    <a:gd name="T12" fmla="*/ 54 w 125"/>
                    <a:gd name="T13" fmla="*/ 12 h 258"/>
                    <a:gd name="T14" fmla="*/ 71 w 125"/>
                    <a:gd name="T15" fmla="*/ 22 h 258"/>
                    <a:gd name="T16" fmla="*/ 92 w 125"/>
                    <a:gd name="T17" fmla="*/ 33 h 258"/>
                    <a:gd name="T18" fmla="*/ 92 w 125"/>
                    <a:gd name="T19" fmla="*/ 66 h 258"/>
                    <a:gd name="T20" fmla="*/ 87 w 125"/>
                    <a:gd name="T21" fmla="*/ 95 h 258"/>
                    <a:gd name="T22" fmla="*/ 92 w 125"/>
                    <a:gd name="T23" fmla="*/ 107 h 258"/>
                    <a:gd name="T24" fmla="*/ 87 w 125"/>
                    <a:gd name="T25" fmla="*/ 111 h 258"/>
                    <a:gd name="T26" fmla="*/ 96 w 125"/>
                    <a:gd name="T27" fmla="*/ 152 h 258"/>
                    <a:gd name="T28" fmla="*/ 108 w 125"/>
                    <a:gd name="T29" fmla="*/ 152 h 258"/>
                    <a:gd name="T30" fmla="*/ 125 w 125"/>
                    <a:gd name="T31" fmla="*/ 152 h 258"/>
                    <a:gd name="T32" fmla="*/ 125 w 125"/>
                    <a:gd name="T33" fmla="*/ 180 h 258"/>
                    <a:gd name="T34" fmla="*/ 108 w 125"/>
                    <a:gd name="T35" fmla="*/ 196 h 258"/>
                    <a:gd name="T36" fmla="*/ 96 w 125"/>
                    <a:gd name="T37" fmla="*/ 218 h 258"/>
                    <a:gd name="T38" fmla="*/ 75 w 125"/>
                    <a:gd name="T39" fmla="*/ 237 h 258"/>
                    <a:gd name="T40" fmla="*/ 87 w 125"/>
                    <a:gd name="T41" fmla="*/ 241 h 258"/>
                    <a:gd name="T42" fmla="*/ 71 w 125"/>
                    <a:gd name="T43" fmla="*/ 253 h 258"/>
                    <a:gd name="T44" fmla="*/ 75 w 125"/>
                    <a:gd name="T45" fmla="*/ 253 h 258"/>
                    <a:gd name="T46" fmla="*/ 71 w 125"/>
                    <a:gd name="T47" fmla="*/ 258 h 258"/>
                    <a:gd name="T48" fmla="*/ 54 w 125"/>
                    <a:gd name="T49" fmla="*/ 258 h 258"/>
                    <a:gd name="T50" fmla="*/ 45 w 125"/>
                    <a:gd name="T51" fmla="*/ 225 h 258"/>
                    <a:gd name="T52" fmla="*/ 16 w 125"/>
                    <a:gd name="T53" fmla="*/ 208 h 258"/>
                    <a:gd name="T54" fmla="*/ 0 w 125"/>
                    <a:gd name="T55" fmla="*/ 196 h 258"/>
                    <a:gd name="T56" fmla="*/ 16 w 125"/>
                    <a:gd name="T57" fmla="*/ 201 h 258"/>
                    <a:gd name="T58" fmla="*/ 16 w 125"/>
                    <a:gd name="T59" fmla="*/ 180 h 258"/>
                    <a:gd name="T60" fmla="*/ 7 w 125"/>
                    <a:gd name="T61" fmla="*/ 180 h 258"/>
                    <a:gd name="T62" fmla="*/ 7 w 125"/>
                    <a:gd name="T63" fmla="*/ 152 h 258"/>
                    <a:gd name="T64" fmla="*/ 16 w 125"/>
                    <a:gd name="T65" fmla="*/ 152 h 258"/>
                    <a:gd name="T66" fmla="*/ 16 w 125"/>
                    <a:gd name="T67" fmla="*/ 140 h 258"/>
                    <a:gd name="T68" fmla="*/ 16 w 125"/>
                    <a:gd name="T69" fmla="*/ 123 h 258"/>
                    <a:gd name="T70" fmla="*/ 16 w 125"/>
                    <a:gd name="T71" fmla="*/ 107 h 258"/>
                    <a:gd name="T72" fmla="*/ 21 w 125"/>
                    <a:gd name="T73" fmla="*/ 90 h 258"/>
                    <a:gd name="T74" fmla="*/ 21 w 125"/>
                    <a:gd name="T75" fmla="*/ 74 h 258"/>
                    <a:gd name="T76" fmla="*/ 7 w 125"/>
                    <a:gd name="T77" fmla="*/ 66 h 258"/>
                    <a:gd name="T78" fmla="*/ 7 w 125"/>
                    <a:gd name="T79" fmla="*/ 66 h 258"/>
                    <a:gd name="T80" fmla="*/ 7 w 125"/>
                    <a:gd name="T81" fmla="*/ 6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5" h="258">
                      <a:moveTo>
                        <a:pt x="7" y="66"/>
                      </a:moveTo>
                      <a:lnTo>
                        <a:pt x="7" y="50"/>
                      </a:lnTo>
                      <a:lnTo>
                        <a:pt x="0" y="40"/>
                      </a:lnTo>
                      <a:lnTo>
                        <a:pt x="33" y="0"/>
                      </a:lnTo>
                      <a:lnTo>
                        <a:pt x="37" y="0"/>
                      </a:lnTo>
                      <a:lnTo>
                        <a:pt x="37" y="17"/>
                      </a:lnTo>
                      <a:lnTo>
                        <a:pt x="54" y="12"/>
                      </a:lnTo>
                      <a:lnTo>
                        <a:pt x="71" y="22"/>
                      </a:lnTo>
                      <a:lnTo>
                        <a:pt x="92" y="33"/>
                      </a:lnTo>
                      <a:lnTo>
                        <a:pt x="92" y="66"/>
                      </a:lnTo>
                      <a:lnTo>
                        <a:pt x="87" y="95"/>
                      </a:lnTo>
                      <a:lnTo>
                        <a:pt x="92" y="107"/>
                      </a:lnTo>
                      <a:lnTo>
                        <a:pt x="87" y="111"/>
                      </a:lnTo>
                      <a:lnTo>
                        <a:pt x="96" y="152"/>
                      </a:lnTo>
                      <a:lnTo>
                        <a:pt x="108" y="152"/>
                      </a:lnTo>
                      <a:lnTo>
                        <a:pt x="125" y="152"/>
                      </a:lnTo>
                      <a:lnTo>
                        <a:pt x="125" y="180"/>
                      </a:lnTo>
                      <a:lnTo>
                        <a:pt x="108" y="196"/>
                      </a:lnTo>
                      <a:lnTo>
                        <a:pt x="96" y="218"/>
                      </a:lnTo>
                      <a:lnTo>
                        <a:pt x="75" y="237"/>
                      </a:lnTo>
                      <a:lnTo>
                        <a:pt x="87" y="241"/>
                      </a:lnTo>
                      <a:lnTo>
                        <a:pt x="71" y="253"/>
                      </a:lnTo>
                      <a:lnTo>
                        <a:pt x="75" y="253"/>
                      </a:lnTo>
                      <a:lnTo>
                        <a:pt x="71" y="258"/>
                      </a:lnTo>
                      <a:lnTo>
                        <a:pt x="54" y="258"/>
                      </a:lnTo>
                      <a:lnTo>
                        <a:pt x="45" y="225"/>
                      </a:lnTo>
                      <a:lnTo>
                        <a:pt x="16" y="208"/>
                      </a:lnTo>
                      <a:lnTo>
                        <a:pt x="0" y="196"/>
                      </a:lnTo>
                      <a:lnTo>
                        <a:pt x="16" y="201"/>
                      </a:lnTo>
                      <a:lnTo>
                        <a:pt x="16" y="180"/>
                      </a:lnTo>
                      <a:lnTo>
                        <a:pt x="7" y="180"/>
                      </a:lnTo>
                      <a:lnTo>
                        <a:pt x="7" y="152"/>
                      </a:lnTo>
                      <a:lnTo>
                        <a:pt x="16" y="152"/>
                      </a:lnTo>
                      <a:lnTo>
                        <a:pt x="16" y="140"/>
                      </a:lnTo>
                      <a:lnTo>
                        <a:pt x="16" y="123"/>
                      </a:lnTo>
                      <a:lnTo>
                        <a:pt x="16" y="107"/>
                      </a:lnTo>
                      <a:lnTo>
                        <a:pt x="21" y="90"/>
                      </a:lnTo>
                      <a:lnTo>
                        <a:pt x="21" y="74"/>
                      </a:lnTo>
                      <a:lnTo>
                        <a:pt x="7" y="66"/>
                      </a:lnTo>
                      <a:lnTo>
                        <a:pt x="7" y="66"/>
                      </a:lnTo>
                      <a:lnTo>
                        <a:pt x="7" y="6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14" name="Freeform 383">
                  <a:extLst>
                    <a:ext uri="{FF2B5EF4-FFF2-40B4-BE49-F238E27FC236}">
                      <a16:creationId xmlns:a16="http://schemas.microsoft.com/office/drawing/2014/main" id="{3CD740A9-71BF-4945-88B3-648A1961B41A}"/>
                    </a:ext>
                  </a:extLst>
                </p:cNvPr>
                <p:cNvSpPr>
                  <a:spLocks noEditPoints="1"/>
                </p:cNvSpPr>
                <p:nvPr/>
              </p:nvSpPr>
              <p:spPr bwMode="gray">
                <a:xfrm>
                  <a:off x="7979772" y="2763216"/>
                  <a:ext cx="93037" cy="90577"/>
                </a:xfrm>
                <a:custGeom>
                  <a:avLst/>
                  <a:gdLst>
                    <a:gd name="T0" fmla="*/ 217 w 226"/>
                    <a:gd name="T1" fmla="*/ 208 h 220"/>
                    <a:gd name="T2" fmla="*/ 193 w 226"/>
                    <a:gd name="T3" fmla="*/ 220 h 220"/>
                    <a:gd name="T4" fmla="*/ 177 w 226"/>
                    <a:gd name="T5" fmla="*/ 187 h 220"/>
                    <a:gd name="T6" fmla="*/ 177 w 226"/>
                    <a:gd name="T7" fmla="*/ 180 h 220"/>
                    <a:gd name="T8" fmla="*/ 172 w 226"/>
                    <a:gd name="T9" fmla="*/ 170 h 220"/>
                    <a:gd name="T10" fmla="*/ 163 w 226"/>
                    <a:gd name="T11" fmla="*/ 152 h 220"/>
                    <a:gd name="T12" fmla="*/ 139 w 226"/>
                    <a:gd name="T13" fmla="*/ 163 h 220"/>
                    <a:gd name="T14" fmla="*/ 118 w 226"/>
                    <a:gd name="T15" fmla="*/ 142 h 220"/>
                    <a:gd name="T16" fmla="*/ 92 w 226"/>
                    <a:gd name="T17" fmla="*/ 147 h 220"/>
                    <a:gd name="T18" fmla="*/ 63 w 226"/>
                    <a:gd name="T19" fmla="*/ 114 h 220"/>
                    <a:gd name="T20" fmla="*/ 33 w 226"/>
                    <a:gd name="T21" fmla="*/ 114 h 220"/>
                    <a:gd name="T22" fmla="*/ 16 w 226"/>
                    <a:gd name="T23" fmla="*/ 107 h 220"/>
                    <a:gd name="T24" fmla="*/ 16 w 226"/>
                    <a:gd name="T25" fmla="*/ 107 h 220"/>
                    <a:gd name="T26" fmla="*/ 9 w 226"/>
                    <a:gd name="T27" fmla="*/ 85 h 220"/>
                    <a:gd name="T28" fmla="*/ 21 w 226"/>
                    <a:gd name="T29" fmla="*/ 52 h 220"/>
                    <a:gd name="T30" fmla="*/ 0 w 226"/>
                    <a:gd name="T31" fmla="*/ 17 h 220"/>
                    <a:gd name="T32" fmla="*/ 101 w 226"/>
                    <a:gd name="T33" fmla="*/ 12 h 220"/>
                    <a:gd name="T34" fmla="*/ 108 w 226"/>
                    <a:gd name="T35" fmla="*/ 0 h 220"/>
                    <a:gd name="T36" fmla="*/ 125 w 226"/>
                    <a:gd name="T37" fmla="*/ 17 h 220"/>
                    <a:gd name="T38" fmla="*/ 118 w 226"/>
                    <a:gd name="T39" fmla="*/ 29 h 220"/>
                    <a:gd name="T40" fmla="*/ 156 w 226"/>
                    <a:gd name="T41" fmla="*/ 41 h 220"/>
                    <a:gd name="T42" fmla="*/ 139 w 226"/>
                    <a:gd name="T43" fmla="*/ 57 h 220"/>
                    <a:gd name="T44" fmla="*/ 146 w 226"/>
                    <a:gd name="T45" fmla="*/ 85 h 220"/>
                    <a:gd name="T46" fmla="*/ 177 w 226"/>
                    <a:gd name="T47" fmla="*/ 97 h 220"/>
                    <a:gd name="T48" fmla="*/ 172 w 226"/>
                    <a:gd name="T49" fmla="*/ 114 h 220"/>
                    <a:gd name="T50" fmla="*/ 156 w 226"/>
                    <a:gd name="T51" fmla="*/ 126 h 220"/>
                    <a:gd name="T52" fmla="*/ 163 w 226"/>
                    <a:gd name="T53" fmla="*/ 126 h 220"/>
                    <a:gd name="T54" fmla="*/ 193 w 226"/>
                    <a:gd name="T55" fmla="*/ 152 h 220"/>
                    <a:gd name="T56" fmla="*/ 217 w 226"/>
                    <a:gd name="T57" fmla="*/ 152 h 220"/>
                    <a:gd name="T58" fmla="*/ 210 w 226"/>
                    <a:gd name="T59" fmla="*/ 170 h 220"/>
                    <a:gd name="T60" fmla="*/ 226 w 226"/>
                    <a:gd name="T61" fmla="*/ 187 h 220"/>
                    <a:gd name="T62" fmla="*/ 210 w 226"/>
                    <a:gd name="T63" fmla="*/ 187 h 220"/>
                    <a:gd name="T64" fmla="*/ 217 w 226"/>
                    <a:gd name="T65" fmla="*/ 208 h 220"/>
                    <a:gd name="T66" fmla="*/ 217 w 226"/>
                    <a:gd name="T67" fmla="*/ 208 h 220"/>
                    <a:gd name="T68" fmla="*/ 217 w 226"/>
                    <a:gd name="T69" fmla="*/ 208 h 220"/>
                    <a:gd name="T70" fmla="*/ 146 w 226"/>
                    <a:gd name="T71" fmla="*/ 69 h 220"/>
                    <a:gd name="T72" fmla="*/ 146 w 226"/>
                    <a:gd name="T73" fmla="*/ 57 h 220"/>
                    <a:gd name="T74" fmla="*/ 146 w 226"/>
                    <a:gd name="T75" fmla="*/ 57 h 220"/>
                    <a:gd name="T76" fmla="*/ 146 w 226"/>
                    <a:gd name="T77" fmla="*/ 69 h 220"/>
                    <a:gd name="T78" fmla="*/ 146 w 226"/>
                    <a:gd name="T79" fmla="*/ 69 h 220"/>
                    <a:gd name="T80" fmla="*/ 146 w 226"/>
                    <a:gd name="T81" fmla="*/ 6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6" h="220">
                      <a:moveTo>
                        <a:pt x="217" y="208"/>
                      </a:moveTo>
                      <a:lnTo>
                        <a:pt x="193" y="220"/>
                      </a:lnTo>
                      <a:lnTo>
                        <a:pt x="177" y="187"/>
                      </a:lnTo>
                      <a:lnTo>
                        <a:pt x="177" y="180"/>
                      </a:lnTo>
                      <a:lnTo>
                        <a:pt x="172" y="170"/>
                      </a:lnTo>
                      <a:lnTo>
                        <a:pt x="163" y="152"/>
                      </a:lnTo>
                      <a:lnTo>
                        <a:pt x="139" y="163"/>
                      </a:lnTo>
                      <a:lnTo>
                        <a:pt x="118" y="142"/>
                      </a:lnTo>
                      <a:lnTo>
                        <a:pt x="92" y="147"/>
                      </a:lnTo>
                      <a:lnTo>
                        <a:pt x="63" y="114"/>
                      </a:lnTo>
                      <a:lnTo>
                        <a:pt x="33" y="114"/>
                      </a:lnTo>
                      <a:lnTo>
                        <a:pt x="16" y="107"/>
                      </a:lnTo>
                      <a:lnTo>
                        <a:pt x="16" y="107"/>
                      </a:lnTo>
                      <a:lnTo>
                        <a:pt x="9" y="85"/>
                      </a:lnTo>
                      <a:lnTo>
                        <a:pt x="21" y="52"/>
                      </a:lnTo>
                      <a:lnTo>
                        <a:pt x="0" y="17"/>
                      </a:lnTo>
                      <a:lnTo>
                        <a:pt x="101" y="12"/>
                      </a:lnTo>
                      <a:lnTo>
                        <a:pt x="108" y="0"/>
                      </a:lnTo>
                      <a:lnTo>
                        <a:pt x="125" y="17"/>
                      </a:lnTo>
                      <a:lnTo>
                        <a:pt x="118" y="29"/>
                      </a:lnTo>
                      <a:lnTo>
                        <a:pt x="156" y="41"/>
                      </a:lnTo>
                      <a:lnTo>
                        <a:pt x="139" y="57"/>
                      </a:lnTo>
                      <a:lnTo>
                        <a:pt x="146" y="85"/>
                      </a:lnTo>
                      <a:lnTo>
                        <a:pt x="177" y="97"/>
                      </a:lnTo>
                      <a:lnTo>
                        <a:pt x="172" y="114"/>
                      </a:lnTo>
                      <a:lnTo>
                        <a:pt x="156" y="126"/>
                      </a:lnTo>
                      <a:lnTo>
                        <a:pt x="163" y="126"/>
                      </a:lnTo>
                      <a:lnTo>
                        <a:pt x="193" y="152"/>
                      </a:lnTo>
                      <a:lnTo>
                        <a:pt x="217" y="152"/>
                      </a:lnTo>
                      <a:lnTo>
                        <a:pt x="210" y="170"/>
                      </a:lnTo>
                      <a:lnTo>
                        <a:pt x="226" y="187"/>
                      </a:lnTo>
                      <a:lnTo>
                        <a:pt x="210" y="187"/>
                      </a:lnTo>
                      <a:lnTo>
                        <a:pt x="217" y="208"/>
                      </a:lnTo>
                      <a:lnTo>
                        <a:pt x="217" y="208"/>
                      </a:lnTo>
                      <a:lnTo>
                        <a:pt x="217" y="208"/>
                      </a:lnTo>
                      <a:close/>
                      <a:moveTo>
                        <a:pt x="146" y="69"/>
                      </a:moveTo>
                      <a:lnTo>
                        <a:pt x="146" y="57"/>
                      </a:lnTo>
                      <a:lnTo>
                        <a:pt x="146" y="57"/>
                      </a:lnTo>
                      <a:lnTo>
                        <a:pt x="146" y="69"/>
                      </a:lnTo>
                      <a:lnTo>
                        <a:pt x="146" y="69"/>
                      </a:lnTo>
                      <a:lnTo>
                        <a:pt x="146" y="6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15" name="Freeform 384">
                  <a:extLst>
                    <a:ext uri="{FF2B5EF4-FFF2-40B4-BE49-F238E27FC236}">
                      <a16:creationId xmlns:a16="http://schemas.microsoft.com/office/drawing/2014/main" id="{DE9D5D61-2845-4123-BF3A-7863D2242E94}"/>
                    </a:ext>
                  </a:extLst>
                </p:cNvPr>
                <p:cNvSpPr>
                  <a:spLocks/>
                </p:cNvSpPr>
                <p:nvPr/>
              </p:nvSpPr>
              <p:spPr bwMode="gray">
                <a:xfrm>
                  <a:off x="6766167" y="2717516"/>
                  <a:ext cx="12350" cy="6999"/>
                </a:xfrm>
                <a:custGeom>
                  <a:avLst/>
                  <a:gdLst>
                    <a:gd name="T0" fmla="*/ 0 w 30"/>
                    <a:gd name="T1" fmla="*/ 0 h 17"/>
                    <a:gd name="T2" fmla="*/ 30 w 30"/>
                    <a:gd name="T3" fmla="*/ 0 h 17"/>
                    <a:gd name="T4" fmla="*/ 30 w 30"/>
                    <a:gd name="T5" fmla="*/ 12 h 17"/>
                    <a:gd name="T6" fmla="*/ 0 w 30"/>
                    <a:gd name="T7" fmla="*/ 17 h 17"/>
                    <a:gd name="T8" fmla="*/ 0 w 30"/>
                    <a:gd name="T9" fmla="*/ 0 h 17"/>
                    <a:gd name="T10" fmla="*/ 0 w 30"/>
                    <a:gd name="T11" fmla="*/ 0 h 17"/>
                    <a:gd name="T12" fmla="*/ 0 w 30"/>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30" h="17">
                      <a:moveTo>
                        <a:pt x="0" y="0"/>
                      </a:moveTo>
                      <a:lnTo>
                        <a:pt x="30" y="0"/>
                      </a:lnTo>
                      <a:lnTo>
                        <a:pt x="30" y="12"/>
                      </a:lnTo>
                      <a:lnTo>
                        <a:pt x="0" y="17"/>
                      </a:lnTo>
                      <a:lnTo>
                        <a:pt x="0" y="0"/>
                      </a:lnTo>
                      <a:lnTo>
                        <a:pt x="0" y="0"/>
                      </a:lnTo>
                      <a:lnTo>
                        <a:pt x="0"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16" name="Freeform 393">
                  <a:extLst>
                    <a:ext uri="{FF2B5EF4-FFF2-40B4-BE49-F238E27FC236}">
                      <a16:creationId xmlns:a16="http://schemas.microsoft.com/office/drawing/2014/main" id="{6BFAA9A5-8A5B-4B2D-B955-1E94FB96F4D9}"/>
                    </a:ext>
                  </a:extLst>
                </p:cNvPr>
                <p:cNvSpPr>
                  <a:spLocks/>
                </p:cNvSpPr>
                <p:nvPr/>
              </p:nvSpPr>
              <p:spPr bwMode="gray">
                <a:xfrm>
                  <a:off x="6799101" y="2384849"/>
                  <a:ext cx="111975" cy="79874"/>
                </a:xfrm>
                <a:custGeom>
                  <a:avLst/>
                  <a:gdLst>
                    <a:gd name="T0" fmla="*/ 255 w 272"/>
                    <a:gd name="T1" fmla="*/ 128 h 194"/>
                    <a:gd name="T2" fmla="*/ 239 w 272"/>
                    <a:gd name="T3" fmla="*/ 128 h 194"/>
                    <a:gd name="T4" fmla="*/ 222 w 272"/>
                    <a:gd name="T5" fmla="*/ 145 h 194"/>
                    <a:gd name="T6" fmla="*/ 222 w 272"/>
                    <a:gd name="T7" fmla="*/ 161 h 194"/>
                    <a:gd name="T8" fmla="*/ 239 w 272"/>
                    <a:gd name="T9" fmla="*/ 178 h 194"/>
                    <a:gd name="T10" fmla="*/ 227 w 272"/>
                    <a:gd name="T11" fmla="*/ 185 h 194"/>
                    <a:gd name="T12" fmla="*/ 206 w 272"/>
                    <a:gd name="T13" fmla="*/ 194 h 194"/>
                    <a:gd name="T14" fmla="*/ 189 w 272"/>
                    <a:gd name="T15" fmla="*/ 178 h 194"/>
                    <a:gd name="T16" fmla="*/ 163 w 272"/>
                    <a:gd name="T17" fmla="*/ 161 h 194"/>
                    <a:gd name="T18" fmla="*/ 163 w 272"/>
                    <a:gd name="T19" fmla="*/ 145 h 194"/>
                    <a:gd name="T20" fmla="*/ 163 w 272"/>
                    <a:gd name="T21" fmla="*/ 128 h 194"/>
                    <a:gd name="T22" fmla="*/ 163 w 272"/>
                    <a:gd name="T23" fmla="*/ 128 h 194"/>
                    <a:gd name="T24" fmla="*/ 137 w 272"/>
                    <a:gd name="T25" fmla="*/ 156 h 194"/>
                    <a:gd name="T26" fmla="*/ 113 w 272"/>
                    <a:gd name="T27" fmla="*/ 145 h 194"/>
                    <a:gd name="T28" fmla="*/ 113 w 272"/>
                    <a:gd name="T29" fmla="*/ 123 h 194"/>
                    <a:gd name="T30" fmla="*/ 83 w 272"/>
                    <a:gd name="T31" fmla="*/ 112 h 194"/>
                    <a:gd name="T32" fmla="*/ 76 w 272"/>
                    <a:gd name="T33" fmla="*/ 102 h 194"/>
                    <a:gd name="T34" fmla="*/ 54 w 272"/>
                    <a:gd name="T35" fmla="*/ 102 h 194"/>
                    <a:gd name="T36" fmla="*/ 45 w 272"/>
                    <a:gd name="T37" fmla="*/ 69 h 194"/>
                    <a:gd name="T38" fmla="*/ 21 w 272"/>
                    <a:gd name="T39" fmla="*/ 74 h 194"/>
                    <a:gd name="T40" fmla="*/ 7 w 272"/>
                    <a:gd name="T41" fmla="*/ 69 h 194"/>
                    <a:gd name="T42" fmla="*/ 0 w 272"/>
                    <a:gd name="T43" fmla="*/ 45 h 194"/>
                    <a:gd name="T44" fmla="*/ 59 w 272"/>
                    <a:gd name="T45" fmla="*/ 12 h 194"/>
                    <a:gd name="T46" fmla="*/ 59 w 272"/>
                    <a:gd name="T47" fmla="*/ 29 h 194"/>
                    <a:gd name="T48" fmla="*/ 76 w 272"/>
                    <a:gd name="T49" fmla="*/ 17 h 194"/>
                    <a:gd name="T50" fmla="*/ 92 w 272"/>
                    <a:gd name="T51" fmla="*/ 29 h 194"/>
                    <a:gd name="T52" fmla="*/ 120 w 272"/>
                    <a:gd name="T53" fmla="*/ 17 h 194"/>
                    <a:gd name="T54" fmla="*/ 120 w 272"/>
                    <a:gd name="T55" fmla="*/ 29 h 194"/>
                    <a:gd name="T56" fmla="*/ 120 w 272"/>
                    <a:gd name="T57" fmla="*/ 12 h 194"/>
                    <a:gd name="T58" fmla="*/ 130 w 272"/>
                    <a:gd name="T59" fmla="*/ 17 h 194"/>
                    <a:gd name="T60" fmla="*/ 130 w 272"/>
                    <a:gd name="T61" fmla="*/ 12 h 194"/>
                    <a:gd name="T62" fmla="*/ 137 w 272"/>
                    <a:gd name="T63" fmla="*/ 0 h 194"/>
                    <a:gd name="T64" fmla="*/ 146 w 272"/>
                    <a:gd name="T65" fmla="*/ 12 h 194"/>
                    <a:gd name="T66" fmla="*/ 163 w 272"/>
                    <a:gd name="T67" fmla="*/ 0 h 194"/>
                    <a:gd name="T68" fmla="*/ 168 w 272"/>
                    <a:gd name="T69" fmla="*/ 12 h 194"/>
                    <a:gd name="T70" fmla="*/ 175 w 272"/>
                    <a:gd name="T71" fmla="*/ 0 h 194"/>
                    <a:gd name="T72" fmla="*/ 189 w 272"/>
                    <a:gd name="T73" fmla="*/ 29 h 194"/>
                    <a:gd name="T74" fmla="*/ 206 w 272"/>
                    <a:gd name="T75" fmla="*/ 17 h 194"/>
                    <a:gd name="T76" fmla="*/ 227 w 272"/>
                    <a:gd name="T77" fmla="*/ 34 h 194"/>
                    <a:gd name="T78" fmla="*/ 217 w 272"/>
                    <a:gd name="T79" fmla="*/ 69 h 194"/>
                    <a:gd name="T80" fmla="*/ 222 w 272"/>
                    <a:gd name="T81" fmla="*/ 74 h 194"/>
                    <a:gd name="T82" fmla="*/ 243 w 272"/>
                    <a:gd name="T83" fmla="*/ 74 h 194"/>
                    <a:gd name="T84" fmla="*/ 260 w 272"/>
                    <a:gd name="T85" fmla="*/ 86 h 194"/>
                    <a:gd name="T86" fmla="*/ 272 w 272"/>
                    <a:gd name="T87" fmla="*/ 112 h 194"/>
                    <a:gd name="T88" fmla="*/ 255 w 272"/>
                    <a:gd name="T89" fmla="*/ 123 h 194"/>
                    <a:gd name="T90" fmla="*/ 255 w 272"/>
                    <a:gd name="T91" fmla="*/ 128 h 194"/>
                    <a:gd name="T92" fmla="*/ 255 w 272"/>
                    <a:gd name="T93" fmla="*/ 128 h 194"/>
                    <a:gd name="T94" fmla="*/ 255 w 272"/>
                    <a:gd name="T95" fmla="*/ 12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194">
                      <a:moveTo>
                        <a:pt x="255" y="128"/>
                      </a:moveTo>
                      <a:lnTo>
                        <a:pt x="239" y="128"/>
                      </a:lnTo>
                      <a:lnTo>
                        <a:pt x="222" y="145"/>
                      </a:lnTo>
                      <a:lnTo>
                        <a:pt x="222" y="161"/>
                      </a:lnTo>
                      <a:lnTo>
                        <a:pt x="239" y="178"/>
                      </a:lnTo>
                      <a:lnTo>
                        <a:pt x="227" y="185"/>
                      </a:lnTo>
                      <a:lnTo>
                        <a:pt x="206" y="194"/>
                      </a:lnTo>
                      <a:lnTo>
                        <a:pt x="189" y="178"/>
                      </a:lnTo>
                      <a:lnTo>
                        <a:pt x="163" y="161"/>
                      </a:lnTo>
                      <a:lnTo>
                        <a:pt x="163" y="145"/>
                      </a:lnTo>
                      <a:lnTo>
                        <a:pt x="163" y="128"/>
                      </a:lnTo>
                      <a:lnTo>
                        <a:pt x="163" y="128"/>
                      </a:lnTo>
                      <a:lnTo>
                        <a:pt x="137" y="156"/>
                      </a:lnTo>
                      <a:lnTo>
                        <a:pt x="113" y="145"/>
                      </a:lnTo>
                      <a:lnTo>
                        <a:pt x="113" y="123"/>
                      </a:lnTo>
                      <a:lnTo>
                        <a:pt x="83" y="112"/>
                      </a:lnTo>
                      <a:lnTo>
                        <a:pt x="76" y="102"/>
                      </a:lnTo>
                      <a:lnTo>
                        <a:pt x="54" y="102"/>
                      </a:lnTo>
                      <a:lnTo>
                        <a:pt x="45" y="69"/>
                      </a:lnTo>
                      <a:lnTo>
                        <a:pt x="21" y="74"/>
                      </a:lnTo>
                      <a:lnTo>
                        <a:pt x="7" y="69"/>
                      </a:lnTo>
                      <a:lnTo>
                        <a:pt x="0" y="45"/>
                      </a:lnTo>
                      <a:lnTo>
                        <a:pt x="59" y="12"/>
                      </a:lnTo>
                      <a:lnTo>
                        <a:pt x="59" y="29"/>
                      </a:lnTo>
                      <a:lnTo>
                        <a:pt x="76" y="17"/>
                      </a:lnTo>
                      <a:lnTo>
                        <a:pt x="92" y="29"/>
                      </a:lnTo>
                      <a:lnTo>
                        <a:pt x="120" y="17"/>
                      </a:lnTo>
                      <a:lnTo>
                        <a:pt x="120" y="29"/>
                      </a:lnTo>
                      <a:lnTo>
                        <a:pt x="120" y="12"/>
                      </a:lnTo>
                      <a:lnTo>
                        <a:pt x="130" y="17"/>
                      </a:lnTo>
                      <a:lnTo>
                        <a:pt x="130" y="12"/>
                      </a:lnTo>
                      <a:lnTo>
                        <a:pt x="137" y="0"/>
                      </a:lnTo>
                      <a:lnTo>
                        <a:pt x="146" y="12"/>
                      </a:lnTo>
                      <a:lnTo>
                        <a:pt x="163" y="0"/>
                      </a:lnTo>
                      <a:lnTo>
                        <a:pt x="168" y="12"/>
                      </a:lnTo>
                      <a:lnTo>
                        <a:pt x="175" y="0"/>
                      </a:lnTo>
                      <a:lnTo>
                        <a:pt x="189" y="29"/>
                      </a:lnTo>
                      <a:lnTo>
                        <a:pt x="206" y="17"/>
                      </a:lnTo>
                      <a:lnTo>
                        <a:pt x="227" y="34"/>
                      </a:lnTo>
                      <a:lnTo>
                        <a:pt x="217" y="69"/>
                      </a:lnTo>
                      <a:lnTo>
                        <a:pt x="222" y="74"/>
                      </a:lnTo>
                      <a:lnTo>
                        <a:pt x="243" y="74"/>
                      </a:lnTo>
                      <a:lnTo>
                        <a:pt x="260" y="86"/>
                      </a:lnTo>
                      <a:lnTo>
                        <a:pt x="272" y="112"/>
                      </a:lnTo>
                      <a:lnTo>
                        <a:pt x="255" y="123"/>
                      </a:lnTo>
                      <a:lnTo>
                        <a:pt x="255" y="128"/>
                      </a:lnTo>
                      <a:lnTo>
                        <a:pt x="255" y="128"/>
                      </a:lnTo>
                      <a:lnTo>
                        <a:pt x="255" y="12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17" name="Freeform 397">
                  <a:extLst>
                    <a:ext uri="{FF2B5EF4-FFF2-40B4-BE49-F238E27FC236}">
                      <a16:creationId xmlns:a16="http://schemas.microsoft.com/office/drawing/2014/main" id="{C9E036BB-9E70-4681-B626-548EC5D6E005}"/>
                    </a:ext>
                  </a:extLst>
                </p:cNvPr>
                <p:cNvSpPr>
                  <a:spLocks/>
                </p:cNvSpPr>
                <p:nvPr/>
              </p:nvSpPr>
              <p:spPr bwMode="gray">
                <a:xfrm>
                  <a:off x="7179484" y="2626114"/>
                  <a:ext cx="110739" cy="96341"/>
                </a:xfrm>
                <a:custGeom>
                  <a:avLst/>
                  <a:gdLst>
                    <a:gd name="T0" fmla="*/ 130 w 269"/>
                    <a:gd name="T1" fmla="*/ 192 h 234"/>
                    <a:gd name="T2" fmla="*/ 139 w 269"/>
                    <a:gd name="T3" fmla="*/ 192 h 234"/>
                    <a:gd name="T4" fmla="*/ 130 w 269"/>
                    <a:gd name="T5" fmla="*/ 187 h 234"/>
                    <a:gd name="T6" fmla="*/ 108 w 269"/>
                    <a:gd name="T7" fmla="*/ 170 h 234"/>
                    <a:gd name="T8" fmla="*/ 108 w 269"/>
                    <a:gd name="T9" fmla="*/ 154 h 234"/>
                    <a:gd name="T10" fmla="*/ 87 w 269"/>
                    <a:gd name="T11" fmla="*/ 137 h 234"/>
                    <a:gd name="T12" fmla="*/ 54 w 269"/>
                    <a:gd name="T13" fmla="*/ 109 h 234"/>
                    <a:gd name="T14" fmla="*/ 33 w 269"/>
                    <a:gd name="T15" fmla="*/ 92 h 234"/>
                    <a:gd name="T16" fmla="*/ 33 w 269"/>
                    <a:gd name="T17" fmla="*/ 76 h 234"/>
                    <a:gd name="T18" fmla="*/ 33 w 269"/>
                    <a:gd name="T19" fmla="*/ 59 h 234"/>
                    <a:gd name="T20" fmla="*/ 0 w 269"/>
                    <a:gd name="T21" fmla="*/ 38 h 234"/>
                    <a:gd name="T22" fmla="*/ 4 w 269"/>
                    <a:gd name="T23" fmla="*/ 5 h 234"/>
                    <a:gd name="T24" fmla="*/ 21 w 269"/>
                    <a:gd name="T25" fmla="*/ 0 h 234"/>
                    <a:gd name="T26" fmla="*/ 37 w 269"/>
                    <a:gd name="T27" fmla="*/ 22 h 234"/>
                    <a:gd name="T28" fmla="*/ 54 w 269"/>
                    <a:gd name="T29" fmla="*/ 0 h 234"/>
                    <a:gd name="T30" fmla="*/ 75 w 269"/>
                    <a:gd name="T31" fmla="*/ 0 h 234"/>
                    <a:gd name="T32" fmla="*/ 87 w 269"/>
                    <a:gd name="T33" fmla="*/ 0 h 234"/>
                    <a:gd name="T34" fmla="*/ 101 w 269"/>
                    <a:gd name="T35" fmla="*/ 5 h 234"/>
                    <a:gd name="T36" fmla="*/ 146 w 269"/>
                    <a:gd name="T37" fmla="*/ 17 h 234"/>
                    <a:gd name="T38" fmla="*/ 177 w 269"/>
                    <a:gd name="T39" fmla="*/ 5 h 234"/>
                    <a:gd name="T40" fmla="*/ 200 w 269"/>
                    <a:gd name="T41" fmla="*/ 17 h 234"/>
                    <a:gd name="T42" fmla="*/ 215 w 269"/>
                    <a:gd name="T43" fmla="*/ 22 h 234"/>
                    <a:gd name="T44" fmla="*/ 215 w 269"/>
                    <a:gd name="T45" fmla="*/ 26 h 234"/>
                    <a:gd name="T46" fmla="*/ 231 w 269"/>
                    <a:gd name="T47" fmla="*/ 26 h 234"/>
                    <a:gd name="T48" fmla="*/ 252 w 269"/>
                    <a:gd name="T49" fmla="*/ 26 h 234"/>
                    <a:gd name="T50" fmla="*/ 238 w 269"/>
                    <a:gd name="T51" fmla="*/ 76 h 234"/>
                    <a:gd name="T52" fmla="*/ 269 w 269"/>
                    <a:gd name="T53" fmla="*/ 97 h 234"/>
                    <a:gd name="T54" fmla="*/ 264 w 269"/>
                    <a:gd name="T55" fmla="*/ 109 h 234"/>
                    <a:gd name="T56" fmla="*/ 248 w 269"/>
                    <a:gd name="T57" fmla="*/ 109 h 234"/>
                    <a:gd name="T58" fmla="*/ 264 w 269"/>
                    <a:gd name="T59" fmla="*/ 130 h 234"/>
                    <a:gd name="T60" fmla="*/ 264 w 269"/>
                    <a:gd name="T61" fmla="*/ 147 h 234"/>
                    <a:gd name="T62" fmla="*/ 248 w 269"/>
                    <a:gd name="T63" fmla="*/ 147 h 234"/>
                    <a:gd name="T64" fmla="*/ 222 w 269"/>
                    <a:gd name="T65" fmla="*/ 147 h 234"/>
                    <a:gd name="T66" fmla="*/ 238 w 269"/>
                    <a:gd name="T67" fmla="*/ 163 h 234"/>
                    <a:gd name="T68" fmla="*/ 231 w 269"/>
                    <a:gd name="T69" fmla="*/ 170 h 234"/>
                    <a:gd name="T70" fmla="*/ 222 w 269"/>
                    <a:gd name="T71" fmla="*/ 163 h 234"/>
                    <a:gd name="T72" fmla="*/ 210 w 269"/>
                    <a:gd name="T73" fmla="*/ 170 h 234"/>
                    <a:gd name="T74" fmla="*/ 210 w 269"/>
                    <a:gd name="T75" fmla="*/ 187 h 234"/>
                    <a:gd name="T76" fmla="*/ 193 w 269"/>
                    <a:gd name="T77" fmla="*/ 192 h 234"/>
                    <a:gd name="T78" fmla="*/ 193 w 269"/>
                    <a:gd name="T79" fmla="*/ 208 h 234"/>
                    <a:gd name="T80" fmla="*/ 200 w 269"/>
                    <a:gd name="T81" fmla="*/ 225 h 234"/>
                    <a:gd name="T82" fmla="*/ 193 w 269"/>
                    <a:gd name="T83" fmla="*/ 234 h 234"/>
                    <a:gd name="T84" fmla="*/ 146 w 269"/>
                    <a:gd name="T85" fmla="*/ 203 h 234"/>
                    <a:gd name="T86" fmla="*/ 130 w 269"/>
                    <a:gd name="T87" fmla="*/ 203 h 234"/>
                    <a:gd name="T88" fmla="*/ 130 w 269"/>
                    <a:gd name="T89" fmla="*/ 192 h 234"/>
                    <a:gd name="T90" fmla="*/ 130 w 269"/>
                    <a:gd name="T91" fmla="*/ 192 h 234"/>
                    <a:gd name="T92" fmla="*/ 130 w 269"/>
                    <a:gd name="T93" fmla="*/ 19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9" h="234">
                      <a:moveTo>
                        <a:pt x="130" y="192"/>
                      </a:moveTo>
                      <a:lnTo>
                        <a:pt x="139" y="192"/>
                      </a:lnTo>
                      <a:lnTo>
                        <a:pt x="130" y="187"/>
                      </a:lnTo>
                      <a:lnTo>
                        <a:pt x="108" y="170"/>
                      </a:lnTo>
                      <a:lnTo>
                        <a:pt x="108" y="154"/>
                      </a:lnTo>
                      <a:lnTo>
                        <a:pt x="87" y="137"/>
                      </a:lnTo>
                      <a:lnTo>
                        <a:pt x="54" y="109"/>
                      </a:lnTo>
                      <a:lnTo>
                        <a:pt x="33" y="92"/>
                      </a:lnTo>
                      <a:lnTo>
                        <a:pt x="33" y="76"/>
                      </a:lnTo>
                      <a:lnTo>
                        <a:pt x="33" y="59"/>
                      </a:lnTo>
                      <a:lnTo>
                        <a:pt x="0" y="38"/>
                      </a:lnTo>
                      <a:lnTo>
                        <a:pt x="4" y="5"/>
                      </a:lnTo>
                      <a:lnTo>
                        <a:pt x="21" y="0"/>
                      </a:lnTo>
                      <a:lnTo>
                        <a:pt x="37" y="22"/>
                      </a:lnTo>
                      <a:lnTo>
                        <a:pt x="54" y="0"/>
                      </a:lnTo>
                      <a:lnTo>
                        <a:pt x="75" y="0"/>
                      </a:lnTo>
                      <a:lnTo>
                        <a:pt x="87" y="0"/>
                      </a:lnTo>
                      <a:lnTo>
                        <a:pt x="101" y="5"/>
                      </a:lnTo>
                      <a:lnTo>
                        <a:pt x="146" y="17"/>
                      </a:lnTo>
                      <a:lnTo>
                        <a:pt x="177" y="5"/>
                      </a:lnTo>
                      <a:lnTo>
                        <a:pt x="200" y="17"/>
                      </a:lnTo>
                      <a:lnTo>
                        <a:pt x="215" y="22"/>
                      </a:lnTo>
                      <a:lnTo>
                        <a:pt x="215" y="26"/>
                      </a:lnTo>
                      <a:lnTo>
                        <a:pt x="231" y="26"/>
                      </a:lnTo>
                      <a:lnTo>
                        <a:pt x="252" y="26"/>
                      </a:lnTo>
                      <a:lnTo>
                        <a:pt x="238" y="76"/>
                      </a:lnTo>
                      <a:lnTo>
                        <a:pt x="269" y="97"/>
                      </a:lnTo>
                      <a:lnTo>
                        <a:pt x="264" y="109"/>
                      </a:lnTo>
                      <a:lnTo>
                        <a:pt x="248" y="109"/>
                      </a:lnTo>
                      <a:lnTo>
                        <a:pt x="264" y="130"/>
                      </a:lnTo>
                      <a:lnTo>
                        <a:pt x="264" y="147"/>
                      </a:lnTo>
                      <a:lnTo>
                        <a:pt x="248" y="147"/>
                      </a:lnTo>
                      <a:lnTo>
                        <a:pt x="222" y="147"/>
                      </a:lnTo>
                      <a:lnTo>
                        <a:pt x="238" y="163"/>
                      </a:lnTo>
                      <a:lnTo>
                        <a:pt x="231" y="170"/>
                      </a:lnTo>
                      <a:lnTo>
                        <a:pt x="222" y="163"/>
                      </a:lnTo>
                      <a:lnTo>
                        <a:pt x="210" y="170"/>
                      </a:lnTo>
                      <a:lnTo>
                        <a:pt x="210" y="187"/>
                      </a:lnTo>
                      <a:lnTo>
                        <a:pt x="193" y="192"/>
                      </a:lnTo>
                      <a:lnTo>
                        <a:pt x="193" y="208"/>
                      </a:lnTo>
                      <a:lnTo>
                        <a:pt x="200" y="225"/>
                      </a:lnTo>
                      <a:lnTo>
                        <a:pt x="193" y="234"/>
                      </a:lnTo>
                      <a:lnTo>
                        <a:pt x="146" y="203"/>
                      </a:lnTo>
                      <a:lnTo>
                        <a:pt x="130" y="203"/>
                      </a:lnTo>
                      <a:lnTo>
                        <a:pt x="130" y="192"/>
                      </a:lnTo>
                      <a:lnTo>
                        <a:pt x="130" y="192"/>
                      </a:lnTo>
                      <a:lnTo>
                        <a:pt x="130" y="19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18" name="Freeform 401">
                  <a:extLst>
                    <a:ext uri="{FF2B5EF4-FFF2-40B4-BE49-F238E27FC236}">
                      <a16:creationId xmlns:a16="http://schemas.microsoft.com/office/drawing/2014/main" id="{E7161E91-AB7D-4E0D-862E-27DF8CDABCEC}"/>
                    </a:ext>
                  </a:extLst>
                </p:cNvPr>
                <p:cNvSpPr>
                  <a:spLocks/>
                </p:cNvSpPr>
                <p:nvPr/>
              </p:nvSpPr>
              <p:spPr bwMode="gray">
                <a:xfrm>
                  <a:off x="7395200" y="2198342"/>
                  <a:ext cx="279112" cy="197212"/>
                </a:xfrm>
                <a:custGeom>
                  <a:avLst/>
                  <a:gdLst>
                    <a:gd name="T0" fmla="*/ 26 w 678"/>
                    <a:gd name="T1" fmla="*/ 442 h 479"/>
                    <a:gd name="T2" fmla="*/ 0 w 678"/>
                    <a:gd name="T3" fmla="*/ 376 h 479"/>
                    <a:gd name="T4" fmla="*/ 52 w 678"/>
                    <a:gd name="T5" fmla="*/ 338 h 479"/>
                    <a:gd name="T6" fmla="*/ 26 w 678"/>
                    <a:gd name="T7" fmla="*/ 220 h 479"/>
                    <a:gd name="T8" fmla="*/ 85 w 678"/>
                    <a:gd name="T9" fmla="*/ 227 h 479"/>
                    <a:gd name="T10" fmla="*/ 118 w 678"/>
                    <a:gd name="T11" fmla="*/ 220 h 479"/>
                    <a:gd name="T12" fmla="*/ 135 w 678"/>
                    <a:gd name="T13" fmla="*/ 203 h 479"/>
                    <a:gd name="T14" fmla="*/ 172 w 678"/>
                    <a:gd name="T15" fmla="*/ 187 h 479"/>
                    <a:gd name="T16" fmla="*/ 177 w 678"/>
                    <a:gd name="T17" fmla="*/ 194 h 479"/>
                    <a:gd name="T18" fmla="*/ 161 w 678"/>
                    <a:gd name="T19" fmla="*/ 177 h 479"/>
                    <a:gd name="T20" fmla="*/ 177 w 678"/>
                    <a:gd name="T21" fmla="*/ 120 h 479"/>
                    <a:gd name="T22" fmla="*/ 215 w 678"/>
                    <a:gd name="T23" fmla="*/ 99 h 479"/>
                    <a:gd name="T24" fmla="*/ 253 w 678"/>
                    <a:gd name="T25" fmla="*/ 83 h 479"/>
                    <a:gd name="T26" fmla="*/ 243 w 678"/>
                    <a:gd name="T27" fmla="*/ 45 h 479"/>
                    <a:gd name="T28" fmla="*/ 265 w 678"/>
                    <a:gd name="T29" fmla="*/ 28 h 479"/>
                    <a:gd name="T30" fmla="*/ 307 w 678"/>
                    <a:gd name="T31" fmla="*/ 21 h 479"/>
                    <a:gd name="T32" fmla="*/ 352 w 678"/>
                    <a:gd name="T33" fmla="*/ 0 h 479"/>
                    <a:gd name="T34" fmla="*/ 378 w 678"/>
                    <a:gd name="T35" fmla="*/ 5 h 479"/>
                    <a:gd name="T36" fmla="*/ 411 w 678"/>
                    <a:gd name="T37" fmla="*/ 12 h 479"/>
                    <a:gd name="T38" fmla="*/ 444 w 678"/>
                    <a:gd name="T39" fmla="*/ 21 h 479"/>
                    <a:gd name="T40" fmla="*/ 444 w 678"/>
                    <a:gd name="T41" fmla="*/ 45 h 479"/>
                    <a:gd name="T42" fmla="*/ 498 w 678"/>
                    <a:gd name="T43" fmla="*/ 28 h 479"/>
                    <a:gd name="T44" fmla="*/ 536 w 678"/>
                    <a:gd name="T45" fmla="*/ 54 h 479"/>
                    <a:gd name="T46" fmla="*/ 541 w 678"/>
                    <a:gd name="T47" fmla="*/ 78 h 479"/>
                    <a:gd name="T48" fmla="*/ 553 w 678"/>
                    <a:gd name="T49" fmla="*/ 111 h 479"/>
                    <a:gd name="T50" fmla="*/ 557 w 678"/>
                    <a:gd name="T51" fmla="*/ 149 h 479"/>
                    <a:gd name="T52" fmla="*/ 569 w 678"/>
                    <a:gd name="T53" fmla="*/ 170 h 479"/>
                    <a:gd name="T54" fmla="*/ 612 w 678"/>
                    <a:gd name="T55" fmla="*/ 203 h 479"/>
                    <a:gd name="T56" fmla="*/ 628 w 678"/>
                    <a:gd name="T57" fmla="*/ 231 h 479"/>
                    <a:gd name="T58" fmla="*/ 661 w 678"/>
                    <a:gd name="T59" fmla="*/ 243 h 479"/>
                    <a:gd name="T60" fmla="*/ 650 w 678"/>
                    <a:gd name="T61" fmla="*/ 260 h 479"/>
                    <a:gd name="T62" fmla="*/ 666 w 678"/>
                    <a:gd name="T63" fmla="*/ 276 h 479"/>
                    <a:gd name="T64" fmla="*/ 579 w 678"/>
                    <a:gd name="T65" fmla="*/ 288 h 479"/>
                    <a:gd name="T66" fmla="*/ 591 w 678"/>
                    <a:gd name="T67" fmla="*/ 331 h 479"/>
                    <a:gd name="T68" fmla="*/ 591 w 678"/>
                    <a:gd name="T69" fmla="*/ 354 h 479"/>
                    <a:gd name="T70" fmla="*/ 607 w 678"/>
                    <a:gd name="T71" fmla="*/ 397 h 479"/>
                    <a:gd name="T72" fmla="*/ 541 w 678"/>
                    <a:gd name="T73" fmla="*/ 409 h 479"/>
                    <a:gd name="T74" fmla="*/ 520 w 678"/>
                    <a:gd name="T75" fmla="*/ 442 h 479"/>
                    <a:gd name="T76" fmla="*/ 520 w 678"/>
                    <a:gd name="T77" fmla="*/ 479 h 479"/>
                    <a:gd name="T78" fmla="*/ 465 w 678"/>
                    <a:gd name="T79" fmla="*/ 463 h 479"/>
                    <a:gd name="T80" fmla="*/ 432 w 678"/>
                    <a:gd name="T81" fmla="*/ 463 h 479"/>
                    <a:gd name="T82" fmla="*/ 395 w 678"/>
                    <a:gd name="T83" fmla="*/ 446 h 479"/>
                    <a:gd name="T84" fmla="*/ 378 w 678"/>
                    <a:gd name="T85" fmla="*/ 446 h 479"/>
                    <a:gd name="T86" fmla="*/ 357 w 678"/>
                    <a:gd name="T87" fmla="*/ 442 h 479"/>
                    <a:gd name="T88" fmla="*/ 324 w 678"/>
                    <a:gd name="T89" fmla="*/ 442 h 479"/>
                    <a:gd name="T90" fmla="*/ 319 w 678"/>
                    <a:gd name="T91" fmla="*/ 453 h 479"/>
                    <a:gd name="T92" fmla="*/ 286 w 678"/>
                    <a:gd name="T93" fmla="*/ 446 h 479"/>
                    <a:gd name="T94" fmla="*/ 177 w 678"/>
                    <a:gd name="T95" fmla="*/ 413 h 479"/>
                    <a:gd name="T96" fmla="*/ 64 w 678"/>
                    <a:gd name="T97" fmla="*/ 446 h 479"/>
                    <a:gd name="T98" fmla="*/ 31 w 678"/>
                    <a:gd name="T99" fmla="*/ 453 h 479"/>
                    <a:gd name="T100" fmla="*/ 31 w 678"/>
                    <a:gd name="T101" fmla="*/ 45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8" h="479">
                      <a:moveTo>
                        <a:pt x="31" y="453"/>
                      </a:moveTo>
                      <a:lnTo>
                        <a:pt x="26" y="442"/>
                      </a:lnTo>
                      <a:lnTo>
                        <a:pt x="31" y="397"/>
                      </a:lnTo>
                      <a:lnTo>
                        <a:pt x="0" y="376"/>
                      </a:lnTo>
                      <a:lnTo>
                        <a:pt x="14" y="359"/>
                      </a:lnTo>
                      <a:lnTo>
                        <a:pt x="52" y="338"/>
                      </a:lnTo>
                      <a:lnTo>
                        <a:pt x="52" y="305"/>
                      </a:lnTo>
                      <a:lnTo>
                        <a:pt x="26" y="220"/>
                      </a:lnTo>
                      <a:lnTo>
                        <a:pt x="69" y="220"/>
                      </a:lnTo>
                      <a:lnTo>
                        <a:pt x="85" y="227"/>
                      </a:lnTo>
                      <a:lnTo>
                        <a:pt x="102" y="210"/>
                      </a:lnTo>
                      <a:lnTo>
                        <a:pt x="118" y="220"/>
                      </a:lnTo>
                      <a:lnTo>
                        <a:pt x="118" y="194"/>
                      </a:lnTo>
                      <a:lnTo>
                        <a:pt x="135" y="203"/>
                      </a:lnTo>
                      <a:lnTo>
                        <a:pt x="161" y="177"/>
                      </a:lnTo>
                      <a:lnTo>
                        <a:pt x="172" y="187"/>
                      </a:lnTo>
                      <a:lnTo>
                        <a:pt x="161" y="194"/>
                      </a:lnTo>
                      <a:lnTo>
                        <a:pt x="177" y="194"/>
                      </a:lnTo>
                      <a:lnTo>
                        <a:pt x="177" y="177"/>
                      </a:lnTo>
                      <a:lnTo>
                        <a:pt x="161" y="177"/>
                      </a:lnTo>
                      <a:lnTo>
                        <a:pt x="177" y="153"/>
                      </a:lnTo>
                      <a:lnTo>
                        <a:pt x="177" y="120"/>
                      </a:lnTo>
                      <a:lnTo>
                        <a:pt x="210" y="116"/>
                      </a:lnTo>
                      <a:lnTo>
                        <a:pt x="215" y="99"/>
                      </a:lnTo>
                      <a:lnTo>
                        <a:pt x="232" y="99"/>
                      </a:lnTo>
                      <a:lnTo>
                        <a:pt x="253" y="83"/>
                      </a:lnTo>
                      <a:lnTo>
                        <a:pt x="232" y="78"/>
                      </a:lnTo>
                      <a:lnTo>
                        <a:pt x="243" y="45"/>
                      </a:lnTo>
                      <a:lnTo>
                        <a:pt x="253" y="45"/>
                      </a:lnTo>
                      <a:lnTo>
                        <a:pt x="265" y="28"/>
                      </a:lnTo>
                      <a:lnTo>
                        <a:pt x="307" y="38"/>
                      </a:lnTo>
                      <a:lnTo>
                        <a:pt x="307" y="21"/>
                      </a:lnTo>
                      <a:lnTo>
                        <a:pt x="335" y="0"/>
                      </a:lnTo>
                      <a:lnTo>
                        <a:pt x="352" y="0"/>
                      </a:lnTo>
                      <a:lnTo>
                        <a:pt x="357" y="5"/>
                      </a:lnTo>
                      <a:lnTo>
                        <a:pt x="378" y="5"/>
                      </a:lnTo>
                      <a:lnTo>
                        <a:pt x="390" y="21"/>
                      </a:lnTo>
                      <a:lnTo>
                        <a:pt x="411" y="12"/>
                      </a:lnTo>
                      <a:lnTo>
                        <a:pt x="432" y="21"/>
                      </a:lnTo>
                      <a:lnTo>
                        <a:pt x="444" y="21"/>
                      </a:lnTo>
                      <a:lnTo>
                        <a:pt x="432" y="38"/>
                      </a:lnTo>
                      <a:lnTo>
                        <a:pt x="444" y="45"/>
                      </a:lnTo>
                      <a:lnTo>
                        <a:pt x="470" y="28"/>
                      </a:lnTo>
                      <a:lnTo>
                        <a:pt x="498" y="28"/>
                      </a:lnTo>
                      <a:lnTo>
                        <a:pt x="515" y="28"/>
                      </a:lnTo>
                      <a:lnTo>
                        <a:pt x="536" y="54"/>
                      </a:lnTo>
                      <a:lnTo>
                        <a:pt x="541" y="54"/>
                      </a:lnTo>
                      <a:lnTo>
                        <a:pt x="541" y="78"/>
                      </a:lnTo>
                      <a:lnTo>
                        <a:pt x="536" y="83"/>
                      </a:lnTo>
                      <a:lnTo>
                        <a:pt x="553" y="111"/>
                      </a:lnTo>
                      <a:lnTo>
                        <a:pt x="536" y="132"/>
                      </a:lnTo>
                      <a:lnTo>
                        <a:pt x="557" y="149"/>
                      </a:lnTo>
                      <a:lnTo>
                        <a:pt x="557" y="165"/>
                      </a:lnTo>
                      <a:lnTo>
                        <a:pt x="569" y="170"/>
                      </a:lnTo>
                      <a:lnTo>
                        <a:pt x="574" y="187"/>
                      </a:lnTo>
                      <a:lnTo>
                        <a:pt x="612" y="203"/>
                      </a:lnTo>
                      <a:lnTo>
                        <a:pt x="607" y="231"/>
                      </a:lnTo>
                      <a:lnTo>
                        <a:pt x="628" y="231"/>
                      </a:lnTo>
                      <a:lnTo>
                        <a:pt x="650" y="243"/>
                      </a:lnTo>
                      <a:lnTo>
                        <a:pt x="661" y="243"/>
                      </a:lnTo>
                      <a:lnTo>
                        <a:pt x="650" y="248"/>
                      </a:lnTo>
                      <a:lnTo>
                        <a:pt x="650" y="260"/>
                      </a:lnTo>
                      <a:lnTo>
                        <a:pt x="678" y="265"/>
                      </a:lnTo>
                      <a:lnTo>
                        <a:pt x="666" y="276"/>
                      </a:lnTo>
                      <a:lnTo>
                        <a:pt x="633" y="298"/>
                      </a:lnTo>
                      <a:lnTo>
                        <a:pt x="579" y="288"/>
                      </a:lnTo>
                      <a:lnTo>
                        <a:pt x="569" y="305"/>
                      </a:lnTo>
                      <a:lnTo>
                        <a:pt x="591" y="331"/>
                      </a:lnTo>
                      <a:lnTo>
                        <a:pt x="579" y="338"/>
                      </a:lnTo>
                      <a:lnTo>
                        <a:pt x="591" y="354"/>
                      </a:lnTo>
                      <a:lnTo>
                        <a:pt x="591" y="376"/>
                      </a:lnTo>
                      <a:lnTo>
                        <a:pt x="607" y="397"/>
                      </a:lnTo>
                      <a:lnTo>
                        <a:pt x="541" y="397"/>
                      </a:lnTo>
                      <a:lnTo>
                        <a:pt x="541" y="409"/>
                      </a:lnTo>
                      <a:lnTo>
                        <a:pt x="524" y="425"/>
                      </a:lnTo>
                      <a:lnTo>
                        <a:pt x="520" y="442"/>
                      </a:lnTo>
                      <a:lnTo>
                        <a:pt x="524" y="470"/>
                      </a:lnTo>
                      <a:lnTo>
                        <a:pt x="520" y="479"/>
                      </a:lnTo>
                      <a:lnTo>
                        <a:pt x="487" y="453"/>
                      </a:lnTo>
                      <a:lnTo>
                        <a:pt x="465" y="463"/>
                      </a:lnTo>
                      <a:lnTo>
                        <a:pt x="461" y="453"/>
                      </a:lnTo>
                      <a:lnTo>
                        <a:pt x="432" y="463"/>
                      </a:lnTo>
                      <a:lnTo>
                        <a:pt x="416" y="442"/>
                      </a:lnTo>
                      <a:lnTo>
                        <a:pt x="395" y="446"/>
                      </a:lnTo>
                      <a:lnTo>
                        <a:pt x="390" y="463"/>
                      </a:lnTo>
                      <a:lnTo>
                        <a:pt x="378" y="446"/>
                      </a:lnTo>
                      <a:lnTo>
                        <a:pt x="357" y="446"/>
                      </a:lnTo>
                      <a:lnTo>
                        <a:pt x="357" y="442"/>
                      </a:lnTo>
                      <a:lnTo>
                        <a:pt x="340" y="446"/>
                      </a:lnTo>
                      <a:lnTo>
                        <a:pt x="324" y="442"/>
                      </a:lnTo>
                      <a:lnTo>
                        <a:pt x="319" y="453"/>
                      </a:lnTo>
                      <a:lnTo>
                        <a:pt x="319" y="453"/>
                      </a:lnTo>
                      <a:lnTo>
                        <a:pt x="319" y="446"/>
                      </a:lnTo>
                      <a:lnTo>
                        <a:pt x="286" y="446"/>
                      </a:lnTo>
                      <a:lnTo>
                        <a:pt x="281" y="430"/>
                      </a:lnTo>
                      <a:lnTo>
                        <a:pt x="177" y="413"/>
                      </a:lnTo>
                      <a:lnTo>
                        <a:pt x="85" y="413"/>
                      </a:lnTo>
                      <a:lnTo>
                        <a:pt x="64" y="446"/>
                      </a:lnTo>
                      <a:lnTo>
                        <a:pt x="31" y="442"/>
                      </a:lnTo>
                      <a:lnTo>
                        <a:pt x="31" y="453"/>
                      </a:lnTo>
                      <a:lnTo>
                        <a:pt x="31" y="453"/>
                      </a:lnTo>
                      <a:lnTo>
                        <a:pt x="31" y="45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19" name="Freeform 405">
                  <a:extLst>
                    <a:ext uri="{FF2B5EF4-FFF2-40B4-BE49-F238E27FC236}">
                      <a16:creationId xmlns:a16="http://schemas.microsoft.com/office/drawing/2014/main" id="{1FFF075C-1C53-42EF-A27F-6D8463654C79}"/>
                    </a:ext>
                  </a:extLst>
                </p:cNvPr>
                <p:cNvSpPr>
                  <a:spLocks/>
                </p:cNvSpPr>
                <p:nvPr/>
              </p:nvSpPr>
              <p:spPr bwMode="gray">
                <a:xfrm>
                  <a:off x="7371735" y="2659464"/>
                  <a:ext cx="179900" cy="109928"/>
                </a:xfrm>
                <a:custGeom>
                  <a:avLst/>
                  <a:gdLst>
                    <a:gd name="T0" fmla="*/ 400 w 437"/>
                    <a:gd name="T1" fmla="*/ 200 h 267"/>
                    <a:gd name="T2" fmla="*/ 366 w 437"/>
                    <a:gd name="T3" fmla="*/ 210 h 267"/>
                    <a:gd name="T4" fmla="*/ 345 w 437"/>
                    <a:gd name="T5" fmla="*/ 193 h 267"/>
                    <a:gd name="T6" fmla="*/ 329 w 437"/>
                    <a:gd name="T7" fmla="*/ 193 h 267"/>
                    <a:gd name="T8" fmla="*/ 324 w 437"/>
                    <a:gd name="T9" fmla="*/ 200 h 267"/>
                    <a:gd name="T10" fmla="*/ 303 w 437"/>
                    <a:gd name="T11" fmla="*/ 200 h 267"/>
                    <a:gd name="T12" fmla="*/ 291 w 437"/>
                    <a:gd name="T13" fmla="*/ 217 h 267"/>
                    <a:gd name="T14" fmla="*/ 286 w 437"/>
                    <a:gd name="T15" fmla="*/ 217 h 267"/>
                    <a:gd name="T16" fmla="*/ 286 w 437"/>
                    <a:gd name="T17" fmla="*/ 226 h 267"/>
                    <a:gd name="T18" fmla="*/ 260 w 437"/>
                    <a:gd name="T19" fmla="*/ 226 h 267"/>
                    <a:gd name="T20" fmla="*/ 270 w 437"/>
                    <a:gd name="T21" fmla="*/ 238 h 267"/>
                    <a:gd name="T22" fmla="*/ 270 w 437"/>
                    <a:gd name="T23" fmla="*/ 255 h 267"/>
                    <a:gd name="T24" fmla="*/ 206 w 437"/>
                    <a:gd name="T25" fmla="*/ 267 h 267"/>
                    <a:gd name="T26" fmla="*/ 140 w 437"/>
                    <a:gd name="T27" fmla="*/ 238 h 267"/>
                    <a:gd name="T28" fmla="*/ 92 w 437"/>
                    <a:gd name="T29" fmla="*/ 255 h 267"/>
                    <a:gd name="T30" fmla="*/ 43 w 437"/>
                    <a:gd name="T31" fmla="*/ 255 h 267"/>
                    <a:gd name="T32" fmla="*/ 43 w 437"/>
                    <a:gd name="T33" fmla="*/ 217 h 267"/>
                    <a:gd name="T34" fmla="*/ 38 w 437"/>
                    <a:gd name="T35" fmla="*/ 200 h 267"/>
                    <a:gd name="T36" fmla="*/ 17 w 437"/>
                    <a:gd name="T37" fmla="*/ 184 h 267"/>
                    <a:gd name="T38" fmla="*/ 0 w 437"/>
                    <a:gd name="T39" fmla="*/ 165 h 267"/>
                    <a:gd name="T40" fmla="*/ 17 w 437"/>
                    <a:gd name="T41" fmla="*/ 160 h 267"/>
                    <a:gd name="T42" fmla="*/ 5 w 437"/>
                    <a:gd name="T43" fmla="*/ 144 h 267"/>
                    <a:gd name="T44" fmla="*/ 5 w 437"/>
                    <a:gd name="T45" fmla="*/ 127 h 267"/>
                    <a:gd name="T46" fmla="*/ 33 w 437"/>
                    <a:gd name="T47" fmla="*/ 122 h 267"/>
                    <a:gd name="T48" fmla="*/ 43 w 437"/>
                    <a:gd name="T49" fmla="*/ 99 h 267"/>
                    <a:gd name="T50" fmla="*/ 17 w 437"/>
                    <a:gd name="T51" fmla="*/ 73 h 267"/>
                    <a:gd name="T52" fmla="*/ 0 w 437"/>
                    <a:gd name="T53" fmla="*/ 44 h 267"/>
                    <a:gd name="T54" fmla="*/ 5 w 437"/>
                    <a:gd name="T55" fmla="*/ 28 h 267"/>
                    <a:gd name="T56" fmla="*/ 22 w 437"/>
                    <a:gd name="T57" fmla="*/ 0 h 267"/>
                    <a:gd name="T58" fmla="*/ 43 w 437"/>
                    <a:gd name="T59" fmla="*/ 16 h 267"/>
                    <a:gd name="T60" fmla="*/ 38 w 437"/>
                    <a:gd name="T61" fmla="*/ 28 h 267"/>
                    <a:gd name="T62" fmla="*/ 38 w 437"/>
                    <a:gd name="T63" fmla="*/ 44 h 267"/>
                    <a:gd name="T64" fmla="*/ 76 w 437"/>
                    <a:gd name="T65" fmla="*/ 33 h 267"/>
                    <a:gd name="T66" fmla="*/ 130 w 437"/>
                    <a:gd name="T67" fmla="*/ 49 h 267"/>
                    <a:gd name="T68" fmla="*/ 152 w 437"/>
                    <a:gd name="T69" fmla="*/ 44 h 267"/>
                    <a:gd name="T70" fmla="*/ 215 w 437"/>
                    <a:gd name="T71" fmla="*/ 56 h 267"/>
                    <a:gd name="T72" fmla="*/ 239 w 437"/>
                    <a:gd name="T73" fmla="*/ 49 h 267"/>
                    <a:gd name="T74" fmla="*/ 270 w 437"/>
                    <a:gd name="T75" fmla="*/ 28 h 267"/>
                    <a:gd name="T76" fmla="*/ 329 w 437"/>
                    <a:gd name="T77" fmla="*/ 11 h 267"/>
                    <a:gd name="T78" fmla="*/ 345 w 437"/>
                    <a:gd name="T79" fmla="*/ 11 h 267"/>
                    <a:gd name="T80" fmla="*/ 357 w 437"/>
                    <a:gd name="T81" fmla="*/ 28 h 267"/>
                    <a:gd name="T82" fmla="*/ 366 w 437"/>
                    <a:gd name="T83" fmla="*/ 16 h 267"/>
                    <a:gd name="T84" fmla="*/ 378 w 437"/>
                    <a:gd name="T85" fmla="*/ 28 h 267"/>
                    <a:gd name="T86" fmla="*/ 395 w 437"/>
                    <a:gd name="T87" fmla="*/ 28 h 267"/>
                    <a:gd name="T88" fmla="*/ 400 w 437"/>
                    <a:gd name="T89" fmla="*/ 44 h 267"/>
                    <a:gd name="T90" fmla="*/ 437 w 437"/>
                    <a:gd name="T91" fmla="*/ 49 h 267"/>
                    <a:gd name="T92" fmla="*/ 437 w 437"/>
                    <a:gd name="T93" fmla="*/ 73 h 267"/>
                    <a:gd name="T94" fmla="*/ 411 w 437"/>
                    <a:gd name="T95" fmla="*/ 73 h 267"/>
                    <a:gd name="T96" fmla="*/ 395 w 437"/>
                    <a:gd name="T97" fmla="*/ 99 h 267"/>
                    <a:gd name="T98" fmla="*/ 395 w 437"/>
                    <a:gd name="T99" fmla="*/ 139 h 267"/>
                    <a:gd name="T100" fmla="*/ 378 w 437"/>
                    <a:gd name="T101" fmla="*/ 139 h 267"/>
                    <a:gd name="T102" fmla="*/ 362 w 437"/>
                    <a:gd name="T103" fmla="*/ 160 h 267"/>
                    <a:gd name="T104" fmla="*/ 378 w 437"/>
                    <a:gd name="T105" fmla="*/ 160 h 267"/>
                    <a:gd name="T106" fmla="*/ 400 w 437"/>
                    <a:gd name="T107" fmla="*/ 200 h 267"/>
                    <a:gd name="T108" fmla="*/ 400 w 437"/>
                    <a:gd name="T109" fmla="*/ 200 h 267"/>
                    <a:gd name="T110" fmla="*/ 400 w 437"/>
                    <a:gd name="T111" fmla="*/ 20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7" h="267">
                      <a:moveTo>
                        <a:pt x="400" y="200"/>
                      </a:moveTo>
                      <a:lnTo>
                        <a:pt x="366" y="210"/>
                      </a:lnTo>
                      <a:lnTo>
                        <a:pt x="345" y="193"/>
                      </a:lnTo>
                      <a:lnTo>
                        <a:pt x="329" y="193"/>
                      </a:lnTo>
                      <a:lnTo>
                        <a:pt x="324" y="200"/>
                      </a:lnTo>
                      <a:lnTo>
                        <a:pt x="303" y="200"/>
                      </a:lnTo>
                      <a:lnTo>
                        <a:pt x="291" y="217"/>
                      </a:lnTo>
                      <a:lnTo>
                        <a:pt x="286" y="217"/>
                      </a:lnTo>
                      <a:lnTo>
                        <a:pt x="286" y="226"/>
                      </a:lnTo>
                      <a:lnTo>
                        <a:pt x="260" y="226"/>
                      </a:lnTo>
                      <a:lnTo>
                        <a:pt x="270" y="238"/>
                      </a:lnTo>
                      <a:lnTo>
                        <a:pt x="270" y="255"/>
                      </a:lnTo>
                      <a:lnTo>
                        <a:pt x="206" y="267"/>
                      </a:lnTo>
                      <a:lnTo>
                        <a:pt x="140" y="238"/>
                      </a:lnTo>
                      <a:lnTo>
                        <a:pt x="92" y="255"/>
                      </a:lnTo>
                      <a:lnTo>
                        <a:pt x="43" y="255"/>
                      </a:lnTo>
                      <a:lnTo>
                        <a:pt x="43" y="217"/>
                      </a:lnTo>
                      <a:lnTo>
                        <a:pt x="38" y="200"/>
                      </a:lnTo>
                      <a:lnTo>
                        <a:pt x="17" y="184"/>
                      </a:lnTo>
                      <a:lnTo>
                        <a:pt x="0" y="165"/>
                      </a:lnTo>
                      <a:lnTo>
                        <a:pt x="17" y="160"/>
                      </a:lnTo>
                      <a:lnTo>
                        <a:pt x="5" y="144"/>
                      </a:lnTo>
                      <a:lnTo>
                        <a:pt x="5" y="127"/>
                      </a:lnTo>
                      <a:lnTo>
                        <a:pt x="33" y="122"/>
                      </a:lnTo>
                      <a:lnTo>
                        <a:pt x="43" y="99"/>
                      </a:lnTo>
                      <a:lnTo>
                        <a:pt x="17" y="73"/>
                      </a:lnTo>
                      <a:lnTo>
                        <a:pt x="0" y="44"/>
                      </a:lnTo>
                      <a:lnTo>
                        <a:pt x="5" y="28"/>
                      </a:lnTo>
                      <a:lnTo>
                        <a:pt x="22" y="0"/>
                      </a:lnTo>
                      <a:lnTo>
                        <a:pt x="43" y="16"/>
                      </a:lnTo>
                      <a:lnTo>
                        <a:pt x="38" y="28"/>
                      </a:lnTo>
                      <a:lnTo>
                        <a:pt x="38" y="44"/>
                      </a:lnTo>
                      <a:lnTo>
                        <a:pt x="76" y="33"/>
                      </a:lnTo>
                      <a:lnTo>
                        <a:pt x="130" y="49"/>
                      </a:lnTo>
                      <a:lnTo>
                        <a:pt x="152" y="44"/>
                      </a:lnTo>
                      <a:lnTo>
                        <a:pt x="215" y="56"/>
                      </a:lnTo>
                      <a:lnTo>
                        <a:pt x="239" y="49"/>
                      </a:lnTo>
                      <a:lnTo>
                        <a:pt x="270" y="28"/>
                      </a:lnTo>
                      <a:lnTo>
                        <a:pt x="329" y="11"/>
                      </a:lnTo>
                      <a:lnTo>
                        <a:pt x="345" y="11"/>
                      </a:lnTo>
                      <a:lnTo>
                        <a:pt x="357" y="28"/>
                      </a:lnTo>
                      <a:lnTo>
                        <a:pt x="366" y="16"/>
                      </a:lnTo>
                      <a:lnTo>
                        <a:pt x="378" y="28"/>
                      </a:lnTo>
                      <a:lnTo>
                        <a:pt x="395" y="28"/>
                      </a:lnTo>
                      <a:lnTo>
                        <a:pt x="400" y="44"/>
                      </a:lnTo>
                      <a:lnTo>
                        <a:pt x="437" y="49"/>
                      </a:lnTo>
                      <a:lnTo>
                        <a:pt x="437" y="73"/>
                      </a:lnTo>
                      <a:lnTo>
                        <a:pt x="411" y="73"/>
                      </a:lnTo>
                      <a:lnTo>
                        <a:pt x="395" y="99"/>
                      </a:lnTo>
                      <a:lnTo>
                        <a:pt x="395" y="139"/>
                      </a:lnTo>
                      <a:lnTo>
                        <a:pt x="378" y="139"/>
                      </a:lnTo>
                      <a:lnTo>
                        <a:pt x="362" y="160"/>
                      </a:lnTo>
                      <a:lnTo>
                        <a:pt x="378" y="160"/>
                      </a:lnTo>
                      <a:lnTo>
                        <a:pt x="400" y="200"/>
                      </a:lnTo>
                      <a:lnTo>
                        <a:pt x="400" y="200"/>
                      </a:lnTo>
                      <a:lnTo>
                        <a:pt x="400" y="20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20" name="Freeform 425">
                  <a:extLst>
                    <a:ext uri="{FF2B5EF4-FFF2-40B4-BE49-F238E27FC236}">
                      <a16:creationId xmlns:a16="http://schemas.microsoft.com/office/drawing/2014/main" id="{C872204B-CB11-4B8C-BA4C-F661464E46EF}"/>
                    </a:ext>
                  </a:extLst>
                </p:cNvPr>
                <p:cNvSpPr>
                  <a:spLocks noEditPoints="1"/>
                </p:cNvSpPr>
                <p:nvPr/>
              </p:nvSpPr>
              <p:spPr bwMode="gray">
                <a:xfrm>
                  <a:off x="6960476" y="2129173"/>
                  <a:ext cx="204188" cy="132161"/>
                </a:xfrm>
                <a:custGeom>
                  <a:avLst/>
                  <a:gdLst>
                    <a:gd name="T0" fmla="*/ 10 w 496"/>
                    <a:gd name="T1" fmla="*/ 111 h 321"/>
                    <a:gd name="T2" fmla="*/ 123 w 496"/>
                    <a:gd name="T3" fmla="*/ 12 h 321"/>
                    <a:gd name="T4" fmla="*/ 156 w 496"/>
                    <a:gd name="T5" fmla="*/ 78 h 321"/>
                    <a:gd name="T6" fmla="*/ 43 w 496"/>
                    <a:gd name="T7" fmla="*/ 83 h 321"/>
                    <a:gd name="T8" fmla="*/ 206 w 496"/>
                    <a:gd name="T9" fmla="*/ 57 h 321"/>
                    <a:gd name="T10" fmla="*/ 206 w 496"/>
                    <a:gd name="T11" fmla="*/ 57 h 321"/>
                    <a:gd name="T12" fmla="*/ 43 w 496"/>
                    <a:gd name="T13" fmla="*/ 267 h 321"/>
                    <a:gd name="T14" fmla="*/ 43 w 496"/>
                    <a:gd name="T15" fmla="*/ 267 h 321"/>
                    <a:gd name="T16" fmla="*/ 0 w 496"/>
                    <a:gd name="T17" fmla="*/ 177 h 321"/>
                    <a:gd name="T18" fmla="*/ 0 w 496"/>
                    <a:gd name="T19" fmla="*/ 173 h 321"/>
                    <a:gd name="T20" fmla="*/ 47 w 496"/>
                    <a:gd name="T21" fmla="*/ 123 h 321"/>
                    <a:gd name="T22" fmla="*/ 64 w 496"/>
                    <a:gd name="T23" fmla="*/ 123 h 321"/>
                    <a:gd name="T24" fmla="*/ 85 w 496"/>
                    <a:gd name="T25" fmla="*/ 111 h 321"/>
                    <a:gd name="T26" fmla="*/ 135 w 496"/>
                    <a:gd name="T27" fmla="*/ 66 h 321"/>
                    <a:gd name="T28" fmla="*/ 156 w 496"/>
                    <a:gd name="T29" fmla="*/ 111 h 321"/>
                    <a:gd name="T30" fmla="*/ 206 w 496"/>
                    <a:gd name="T31" fmla="*/ 133 h 321"/>
                    <a:gd name="T32" fmla="*/ 156 w 496"/>
                    <a:gd name="T33" fmla="*/ 156 h 321"/>
                    <a:gd name="T34" fmla="*/ 151 w 496"/>
                    <a:gd name="T35" fmla="*/ 177 h 321"/>
                    <a:gd name="T36" fmla="*/ 135 w 496"/>
                    <a:gd name="T37" fmla="*/ 210 h 321"/>
                    <a:gd name="T38" fmla="*/ 106 w 496"/>
                    <a:gd name="T39" fmla="*/ 260 h 321"/>
                    <a:gd name="T40" fmla="*/ 102 w 496"/>
                    <a:gd name="T41" fmla="*/ 288 h 321"/>
                    <a:gd name="T42" fmla="*/ 43 w 496"/>
                    <a:gd name="T43" fmla="*/ 111 h 321"/>
                    <a:gd name="T44" fmla="*/ 47 w 496"/>
                    <a:gd name="T45" fmla="*/ 99 h 321"/>
                    <a:gd name="T46" fmla="*/ 243 w 496"/>
                    <a:gd name="T47" fmla="*/ 111 h 321"/>
                    <a:gd name="T48" fmla="*/ 243 w 496"/>
                    <a:gd name="T49" fmla="*/ 111 h 321"/>
                    <a:gd name="T50" fmla="*/ 210 w 496"/>
                    <a:gd name="T51" fmla="*/ 210 h 321"/>
                    <a:gd name="T52" fmla="*/ 215 w 496"/>
                    <a:gd name="T53" fmla="*/ 177 h 321"/>
                    <a:gd name="T54" fmla="*/ 265 w 496"/>
                    <a:gd name="T55" fmla="*/ 189 h 321"/>
                    <a:gd name="T56" fmla="*/ 269 w 496"/>
                    <a:gd name="T57" fmla="*/ 189 h 321"/>
                    <a:gd name="T58" fmla="*/ 312 w 496"/>
                    <a:gd name="T59" fmla="*/ 189 h 321"/>
                    <a:gd name="T60" fmla="*/ 269 w 496"/>
                    <a:gd name="T61" fmla="*/ 267 h 321"/>
                    <a:gd name="T62" fmla="*/ 260 w 496"/>
                    <a:gd name="T63" fmla="*/ 279 h 321"/>
                    <a:gd name="T64" fmla="*/ 243 w 496"/>
                    <a:gd name="T65" fmla="*/ 260 h 321"/>
                    <a:gd name="T66" fmla="*/ 173 w 496"/>
                    <a:gd name="T67" fmla="*/ 206 h 321"/>
                    <a:gd name="T68" fmla="*/ 177 w 496"/>
                    <a:gd name="T69" fmla="*/ 189 h 321"/>
                    <a:gd name="T70" fmla="*/ 319 w 496"/>
                    <a:gd name="T71" fmla="*/ 210 h 321"/>
                    <a:gd name="T72" fmla="*/ 173 w 496"/>
                    <a:gd name="T73" fmla="*/ 279 h 321"/>
                    <a:gd name="T74" fmla="*/ 161 w 496"/>
                    <a:gd name="T75" fmla="*/ 227 h 321"/>
                    <a:gd name="T76" fmla="*/ 177 w 496"/>
                    <a:gd name="T77" fmla="*/ 222 h 321"/>
                    <a:gd name="T78" fmla="*/ 173 w 496"/>
                    <a:gd name="T79" fmla="*/ 279 h 321"/>
                    <a:gd name="T80" fmla="*/ 26 w 496"/>
                    <a:gd name="T81" fmla="*/ 234 h 321"/>
                    <a:gd name="T82" fmla="*/ 487 w 496"/>
                    <a:gd name="T83" fmla="*/ 284 h 321"/>
                    <a:gd name="T84" fmla="*/ 487 w 496"/>
                    <a:gd name="T85" fmla="*/ 284 h 321"/>
                    <a:gd name="T86" fmla="*/ 177 w 496"/>
                    <a:gd name="T87" fmla="*/ 288 h 321"/>
                    <a:gd name="T88" fmla="*/ 177 w 496"/>
                    <a:gd name="T89" fmla="*/ 305 h 321"/>
                    <a:gd name="T90" fmla="*/ 118 w 496"/>
                    <a:gd name="T91" fmla="*/ 288 h 321"/>
                    <a:gd name="T92" fmla="*/ 106 w 496"/>
                    <a:gd name="T93" fmla="*/ 279 h 321"/>
                    <a:gd name="T94" fmla="*/ 173 w 496"/>
                    <a:gd name="T95" fmla="*/ 284 h 321"/>
                    <a:gd name="T96" fmla="*/ 173 w 496"/>
                    <a:gd name="T97" fmla="*/ 284 h 321"/>
                    <a:gd name="T98" fmla="*/ 298 w 496"/>
                    <a:gd name="T99" fmla="*/ 279 h 321"/>
                    <a:gd name="T100" fmla="*/ 286 w 496"/>
                    <a:gd name="T101" fmla="*/ 288 h 321"/>
                    <a:gd name="T102" fmla="*/ 269 w 496"/>
                    <a:gd name="T103" fmla="*/ 321 h 321"/>
                    <a:gd name="T104" fmla="*/ 265 w 496"/>
                    <a:gd name="T105" fmla="*/ 284 h 321"/>
                    <a:gd name="T106" fmla="*/ 243 w 496"/>
                    <a:gd name="T107" fmla="*/ 300 h 321"/>
                    <a:gd name="T108" fmla="*/ 206 w 496"/>
                    <a:gd name="T109" fmla="*/ 30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6" h="321">
                      <a:moveTo>
                        <a:pt x="26" y="111"/>
                      </a:moveTo>
                      <a:lnTo>
                        <a:pt x="31" y="116"/>
                      </a:lnTo>
                      <a:lnTo>
                        <a:pt x="31" y="116"/>
                      </a:lnTo>
                      <a:lnTo>
                        <a:pt x="10" y="111"/>
                      </a:lnTo>
                      <a:lnTo>
                        <a:pt x="10" y="99"/>
                      </a:lnTo>
                      <a:lnTo>
                        <a:pt x="31" y="62"/>
                      </a:lnTo>
                      <a:lnTo>
                        <a:pt x="85" y="62"/>
                      </a:lnTo>
                      <a:lnTo>
                        <a:pt x="123" y="12"/>
                      </a:lnTo>
                      <a:lnTo>
                        <a:pt x="177" y="0"/>
                      </a:lnTo>
                      <a:lnTo>
                        <a:pt x="161" y="12"/>
                      </a:lnTo>
                      <a:lnTo>
                        <a:pt x="173" y="57"/>
                      </a:lnTo>
                      <a:lnTo>
                        <a:pt x="156" y="78"/>
                      </a:lnTo>
                      <a:lnTo>
                        <a:pt x="135" y="66"/>
                      </a:lnTo>
                      <a:lnTo>
                        <a:pt x="80" y="78"/>
                      </a:lnTo>
                      <a:lnTo>
                        <a:pt x="69" y="66"/>
                      </a:lnTo>
                      <a:lnTo>
                        <a:pt x="43" y="83"/>
                      </a:lnTo>
                      <a:lnTo>
                        <a:pt x="26" y="111"/>
                      </a:lnTo>
                      <a:lnTo>
                        <a:pt x="26" y="111"/>
                      </a:lnTo>
                      <a:lnTo>
                        <a:pt x="26" y="111"/>
                      </a:lnTo>
                      <a:close/>
                      <a:moveTo>
                        <a:pt x="206" y="57"/>
                      </a:moveTo>
                      <a:lnTo>
                        <a:pt x="194" y="57"/>
                      </a:lnTo>
                      <a:lnTo>
                        <a:pt x="215" y="45"/>
                      </a:lnTo>
                      <a:lnTo>
                        <a:pt x="206" y="57"/>
                      </a:lnTo>
                      <a:lnTo>
                        <a:pt x="206" y="57"/>
                      </a:lnTo>
                      <a:lnTo>
                        <a:pt x="206" y="57"/>
                      </a:lnTo>
                      <a:close/>
                      <a:moveTo>
                        <a:pt x="97" y="300"/>
                      </a:moveTo>
                      <a:lnTo>
                        <a:pt x="43" y="288"/>
                      </a:lnTo>
                      <a:lnTo>
                        <a:pt x="43" y="267"/>
                      </a:lnTo>
                      <a:lnTo>
                        <a:pt x="26" y="279"/>
                      </a:lnTo>
                      <a:lnTo>
                        <a:pt x="26" y="267"/>
                      </a:lnTo>
                      <a:lnTo>
                        <a:pt x="26" y="260"/>
                      </a:lnTo>
                      <a:lnTo>
                        <a:pt x="43" y="267"/>
                      </a:lnTo>
                      <a:lnTo>
                        <a:pt x="31" y="234"/>
                      </a:lnTo>
                      <a:lnTo>
                        <a:pt x="0" y="227"/>
                      </a:lnTo>
                      <a:lnTo>
                        <a:pt x="0" y="206"/>
                      </a:lnTo>
                      <a:lnTo>
                        <a:pt x="0" y="177"/>
                      </a:lnTo>
                      <a:lnTo>
                        <a:pt x="0" y="194"/>
                      </a:lnTo>
                      <a:lnTo>
                        <a:pt x="14" y="189"/>
                      </a:lnTo>
                      <a:lnTo>
                        <a:pt x="10" y="173"/>
                      </a:lnTo>
                      <a:lnTo>
                        <a:pt x="0" y="173"/>
                      </a:lnTo>
                      <a:lnTo>
                        <a:pt x="0" y="177"/>
                      </a:lnTo>
                      <a:lnTo>
                        <a:pt x="0" y="111"/>
                      </a:lnTo>
                      <a:lnTo>
                        <a:pt x="43" y="133"/>
                      </a:lnTo>
                      <a:lnTo>
                        <a:pt x="47" y="123"/>
                      </a:lnTo>
                      <a:lnTo>
                        <a:pt x="43" y="116"/>
                      </a:lnTo>
                      <a:lnTo>
                        <a:pt x="69" y="99"/>
                      </a:lnTo>
                      <a:lnTo>
                        <a:pt x="69" y="111"/>
                      </a:lnTo>
                      <a:lnTo>
                        <a:pt x="64" y="123"/>
                      </a:lnTo>
                      <a:lnTo>
                        <a:pt x="80" y="116"/>
                      </a:lnTo>
                      <a:lnTo>
                        <a:pt x="85" y="123"/>
                      </a:lnTo>
                      <a:lnTo>
                        <a:pt x="85" y="123"/>
                      </a:lnTo>
                      <a:lnTo>
                        <a:pt x="85" y="111"/>
                      </a:lnTo>
                      <a:lnTo>
                        <a:pt x="69" y="111"/>
                      </a:lnTo>
                      <a:lnTo>
                        <a:pt x="69" y="83"/>
                      </a:lnTo>
                      <a:lnTo>
                        <a:pt x="80" y="78"/>
                      </a:lnTo>
                      <a:lnTo>
                        <a:pt x="135" y="66"/>
                      </a:lnTo>
                      <a:lnTo>
                        <a:pt x="156" y="78"/>
                      </a:lnTo>
                      <a:lnTo>
                        <a:pt x="156" y="99"/>
                      </a:lnTo>
                      <a:lnTo>
                        <a:pt x="123" y="116"/>
                      </a:lnTo>
                      <a:lnTo>
                        <a:pt x="156" y="111"/>
                      </a:lnTo>
                      <a:lnTo>
                        <a:pt x="151" y="133"/>
                      </a:lnTo>
                      <a:lnTo>
                        <a:pt x="156" y="123"/>
                      </a:lnTo>
                      <a:lnTo>
                        <a:pt x="194" y="123"/>
                      </a:lnTo>
                      <a:lnTo>
                        <a:pt x="206" y="133"/>
                      </a:lnTo>
                      <a:lnTo>
                        <a:pt x="189" y="168"/>
                      </a:lnTo>
                      <a:lnTo>
                        <a:pt x="177" y="156"/>
                      </a:lnTo>
                      <a:lnTo>
                        <a:pt x="173" y="173"/>
                      </a:lnTo>
                      <a:lnTo>
                        <a:pt x="156" y="156"/>
                      </a:lnTo>
                      <a:lnTo>
                        <a:pt x="161" y="156"/>
                      </a:lnTo>
                      <a:lnTo>
                        <a:pt x="161" y="149"/>
                      </a:lnTo>
                      <a:lnTo>
                        <a:pt x="151" y="168"/>
                      </a:lnTo>
                      <a:lnTo>
                        <a:pt x="151" y="177"/>
                      </a:lnTo>
                      <a:lnTo>
                        <a:pt x="151" y="194"/>
                      </a:lnTo>
                      <a:lnTo>
                        <a:pt x="123" y="194"/>
                      </a:lnTo>
                      <a:lnTo>
                        <a:pt x="135" y="194"/>
                      </a:lnTo>
                      <a:lnTo>
                        <a:pt x="135" y="210"/>
                      </a:lnTo>
                      <a:lnTo>
                        <a:pt x="102" y="210"/>
                      </a:lnTo>
                      <a:lnTo>
                        <a:pt x="118" y="222"/>
                      </a:lnTo>
                      <a:lnTo>
                        <a:pt x="102" y="234"/>
                      </a:lnTo>
                      <a:lnTo>
                        <a:pt x="106" y="260"/>
                      </a:lnTo>
                      <a:lnTo>
                        <a:pt x="97" y="267"/>
                      </a:lnTo>
                      <a:lnTo>
                        <a:pt x="118" y="288"/>
                      </a:lnTo>
                      <a:lnTo>
                        <a:pt x="106" y="300"/>
                      </a:lnTo>
                      <a:lnTo>
                        <a:pt x="102" y="288"/>
                      </a:lnTo>
                      <a:lnTo>
                        <a:pt x="97" y="300"/>
                      </a:lnTo>
                      <a:lnTo>
                        <a:pt x="97" y="300"/>
                      </a:lnTo>
                      <a:lnTo>
                        <a:pt x="97" y="300"/>
                      </a:lnTo>
                      <a:close/>
                      <a:moveTo>
                        <a:pt x="43" y="111"/>
                      </a:moveTo>
                      <a:lnTo>
                        <a:pt x="26" y="99"/>
                      </a:lnTo>
                      <a:lnTo>
                        <a:pt x="31" y="99"/>
                      </a:lnTo>
                      <a:lnTo>
                        <a:pt x="54" y="83"/>
                      </a:lnTo>
                      <a:lnTo>
                        <a:pt x="47" y="99"/>
                      </a:lnTo>
                      <a:lnTo>
                        <a:pt x="43" y="111"/>
                      </a:lnTo>
                      <a:lnTo>
                        <a:pt x="43" y="111"/>
                      </a:lnTo>
                      <a:lnTo>
                        <a:pt x="43" y="111"/>
                      </a:lnTo>
                      <a:close/>
                      <a:moveTo>
                        <a:pt x="243" y="111"/>
                      </a:moveTo>
                      <a:lnTo>
                        <a:pt x="243" y="111"/>
                      </a:lnTo>
                      <a:lnTo>
                        <a:pt x="248" y="111"/>
                      </a:lnTo>
                      <a:lnTo>
                        <a:pt x="243" y="111"/>
                      </a:lnTo>
                      <a:lnTo>
                        <a:pt x="243" y="111"/>
                      </a:lnTo>
                      <a:lnTo>
                        <a:pt x="243" y="111"/>
                      </a:lnTo>
                      <a:close/>
                      <a:moveTo>
                        <a:pt x="243" y="260"/>
                      </a:moveTo>
                      <a:lnTo>
                        <a:pt x="215" y="260"/>
                      </a:lnTo>
                      <a:lnTo>
                        <a:pt x="210" y="210"/>
                      </a:lnTo>
                      <a:lnTo>
                        <a:pt x="194" y="206"/>
                      </a:lnTo>
                      <a:lnTo>
                        <a:pt x="215" y="210"/>
                      </a:lnTo>
                      <a:lnTo>
                        <a:pt x="243" y="194"/>
                      </a:lnTo>
                      <a:lnTo>
                        <a:pt x="215" y="177"/>
                      </a:lnTo>
                      <a:lnTo>
                        <a:pt x="260" y="177"/>
                      </a:lnTo>
                      <a:lnTo>
                        <a:pt x="248" y="194"/>
                      </a:lnTo>
                      <a:lnTo>
                        <a:pt x="260" y="210"/>
                      </a:lnTo>
                      <a:lnTo>
                        <a:pt x="265" y="189"/>
                      </a:lnTo>
                      <a:lnTo>
                        <a:pt x="281" y="206"/>
                      </a:lnTo>
                      <a:lnTo>
                        <a:pt x="269" y="210"/>
                      </a:lnTo>
                      <a:lnTo>
                        <a:pt x="281" y="210"/>
                      </a:lnTo>
                      <a:lnTo>
                        <a:pt x="269" y="189"/>
                      </a:lnTo>
                      <a:lnTo>
                        <a:pt x="265" y="177"/>
                      </a:lnTo>
                      <a:lnTo>
                        <a:pt x="298" y="168"/>
                      </a:lnTo>
                      <a:lnTo>
                        <a:pt x="319" y="173"/>
                      </a:lnTo>
                      <a:lnTo>
                        <a:pt x="312" y="189"/>
                      </a:lnTo>
                      <a:lnTo>
                        <a:pt x="319" y="210"/>
                      </a:lnTo>
                      <a:lnTo>
                        <a:pt x="286" y="234"/>
                      </a:lnTo>
                      <a:lnTo>
                        <a:pt x="302" y="251"/>
                      </a:lnTo>
                      <a:lnTo>
                        <a:pt x="269" y="267"/>
                      </a:lnTo>
                      <a:lnTo>
                        <a:pt x="286" y="267"/>
                      </a:lnTo>
                      <a:lnTo>
                        <a:pt x="286" y="284"/>
                      </a:lnTo>
                      <a:lnTo>
                        <a:pt x="265" y="284"/>
                      </a:lnTo>
                      <a:lnTo>
                        <a:pt x="260" y="279"/>
                      </a:lnTo>
                      <a:lnTo>
                        <a:pt x="260" y="267"/>
                      </a:lnTo>
                      <a:lnTo>
                        <a:pt x="260" y="260"/>
                      </a:lnTo>
                      <a:lnTo>
                        <a:pt x="243" y="260"/>
                      </a:lnTo>
                      <a:lnTo>
                        <a:pt x="243" y="260"/>
                      </a:lnTo>
                      <a:lnTo>
                        <a:pt x="243" y="260"/>
                      </a:lnTo>
                      <a:close/>
                      <a:moveTo>
                        <a:pt x="177" y="189"/>
                      </a:moveTo>
                      <a:lnTo>
                        <a:pt x="173" y="206"/>
                      </a:lnTo>
                      <a:lnTo>
                        <a:pt x="173" y="206"/>
                      </a:lnTo>
                      <a:lnTo>
                        <a:pt x="173" y="177"/>
                      </a:lnTo>
                      <a:lnTo>
                        <a:pt x="177" y="189"/>
                      </a:lnTo>
                      <a:lnTo>
                        <a:pt x="177" y="189"/>
                      </a:lnTo>
                      <a:lnTo>
                        <a:pt x="177" y="189"/>
                      </a:lnTo>
                      <a:close/>
                      <a:moveTo>
                        <a:pt x="319" y="222"/>
                      </a:moveTo>
                      <a:lnTo>
                        <a:pt x="319" y="222"/>
                      </a:lnTo>
                      <a:lnTo>
                        <a:pt x="312" y="222"/>
                      </a:lnTo>
                      <a:lnTo>
                        <a:pt x="319" y="210"/>
                      </a:lnTo>
                      <a:lnTo>
                        <a:pt x="319" y="222"/>
                      </a:lnTo>
                      <a:lnTo>
                        <a:pt x="319" y="222"/>
                      </a:lnTo>
                      <a:lnTo>
                        <a:pt x="319" y="222"/>
                      </a:lnTo>
                      <a:close/>
                      <a:moveTo>
                        <a:pt x="173" y="279"/>
                      </a:moveTo>
                      <a:lnTo>
                        <a:pt x="139" y="279"/>
                      </a:lnTo>
                      <a:lnTo>
                        <a:pt x="106" y="227"/>
                      </a:lnTo>
                      <a:lnTo>
                        <a:pt x="156" y="222"/>
                      </a:lnTo>
                      <a:lnTo>
                        <a:pt x="161" y="227"/>
                      </a:lnTo>
                      <a:lnTo>
                        <a:pt x="161" y="234"/>
                      </a:lnTo>
                      <a:lnTo>
                        <a:pt x="161" y="234"/>
                      </a:lnTo>
                      <a:lnTo>
                        <a:pt x="173" y="227"/>
                      </a:lnTo>
                      <a:lnTo>
                        <a:pt x="177" y="222"/>
                      </a:lnTo>
                      <a:lnTo>
                        <a:pt x="189" y="251"/>
                      </a:lnTo>
                      <a:lnTo>
                        <a:pt x="189" y="279"/>
                      </a:lnTo>
                      <a:lnTo>
                        <a:pt x="173" y="279"/>
                      </a:lnTo>
                      <a:lnTo>
                        <a:pt x="173" y="279"/>
                      </a:lnTo>
                      <a:lnTo>
                        <a:pt x="173" y="279"/>
                      </a:lnTo>
                      <a:close/>
                      <a:moveTo>
                        <a:pt x="26" y="244"/>
                      </a:moveTo>
                      <a:lnTo>
                        <a:pt x="14" y="234"/>
                      </a:lnTo>
                      <a:lnTo>
                        <a:pt x="26" y="234"/>
                      </a:lnTo>
                      <a:lnTo>
                        <a:pt x="26" y="244"/>
                      </a:lnTo>
                      <a:lnTo>
                        <a:pt x="26" y="244"/>
                      </a:lnTo>
                      <a:lnTo>
                        <a:pt x="26" y="244"/>
                      </a:lnTo>
                      <a:close/>
                      <a:moveTo>
                        <a:pt x="487" y="284"/>
                      </a:moveTo>
                      <a:lnTo>
                        <a:pt x="458" y="267"/>
                      </a:lnTo>
                      <a:lnTo>
                        <a:pt x="465" y="251"/>
                      </a:lnTo>
                      <a:lnTo>
                        <a:pt x="496" y="267"/>
                      </a:lnTo>
                      <a:lnTo>
                        <a:pt x="487" y="284"/>
                      </a:lnTo>
                      <a:lnTo>
                        <a:pt x="487" y="284"/>
                      </a:lnTo>
                      <a:lnTo>
                        <a:pt x="487" y="284"/>
                      </a:lnTo>
                      <a:close/>
                      <a:moveTo>
                        <a:pt x="177" y="305"/>
                      </a:moveTo>
                      <a:lnTo>
                        <a:pt x="177" y="288"/>
                      </a:lnTo>
                      <a:lnTo>
                        <a:pt x="206" y="267"/>
                      </a:lnTo>
                      <a:lnTo>
                        <a:pt x="177" y="305"/>
                      </a:lnTo>
                      <a:lnTo>
                        <a:pt x="177" y="305"/>
                      </a:lnTo>
                      <a:lnTo>
                        <a:pt x="177" y="305"/>
                      </a:lnTo>
                      <a:close/>
                      <a:moveTo>
                        <a:pt x="135" y="284"/>
                      </a:moveTo>
                      <a:lnTo>
                        <a:pt x="139" y="288"/>
                      </a:lnTo>
                      <a:lnTo>
                        <a:pt x="123" y="288"/>
                      </a:lnTo>
                      <a:lnTo>
                        <a:pt x="118" y="288"/>
                      </a:lnTo>
                      <a:lnTo>
                        <a:pt x="118" y="284"/>
                      </a:lnTo>
                      <a:lnTo>
                        <a:pt x="118" y="284"/>
                      </a:lnTo>
                      <a:lnTo>
                        <a:pt x="118" y="279"/>
                      </a:lnTo>
                      <a:lnTo>
                        <a:pt x="106" y="279"/>
                      </a:lnTo>
                      <a:lnTo>
                        <a:pt x="135" y="284"/>
                      </a:lnTo>
                      <a:lnTo>
                        <a:pt x="135" y="284"/>
                      </a:lnTo>
                      <a:lnTo>
                        <a:pt x="135" y="284"/>
                      </a:lnTo>
                      <a:close/>
                      <a:moveTo>
                        <a:pt x="173" y="284"/>
                      </a:moveTo>
                      <a:lnTo>
                        <a:pt x="161" y="284"/>
                      </a:lnTo>
                      <a:lnTo>
                        <a:pt x="177" y="284"/>
                      </a:lnTo>
                      <a:lnTo>
                        <a:pt x="173" y="284"/>
                      </a:lnTo>
                      <a:lnTo>
                        <a:pt x="173" y="284"/>
                      </a:lnTo>
                      <a:lnTo>
                        <a:pt x="173" y="284"/>
                      </a:lnTo>
                      <a:close/>
                      <a:moveTo>
                        <a:pt x="286" y="288"/>
                      </a:moveTo>
                      <a:lnTo>
                        <a:pt x="281" y="284"/>
                      </a:lnTo>
                      <a:lnTo>
                        <a:pt x="298" y="279"/>
                      </a:lnTo>
                      <a:lnTo>
                        <a:pt x="312" y="284"/>
                      </a:lnTo>
                      <a:lnTo>
                        <a:pt x="286" y="288"/>
                      </a:lnTo>
                      <a:lnTo>
                        <a:pt x="286" y="288"/>
                      </a:lnTo>
                      <a:lnTo>
                        <a:pt x="286" y="288"/>
                      </a:lnTo>
                      <a:close/>
                      <a:moveTo>
                        <a:pt x="265" y="284"/>
                      </a:moveTo>
                      <a:lnTo>
                        <a:pt x="286" y="300"/>
                      </a:lnTo>
                      <a:lnTo>
                        <a:pt x="269" y="317"/>
                      </a:lnTo>
                      <a:lnTo>
                        <a:pt x="269" y="321"/>
                      </a:lnTo>
                      <a:lnTo>
                        <a:pt x="248" y="288"/>
                      </a:lnTo>
                      <a:lnTo>
                        <a:pt x="265" y="284"/>
                      </a:lnTo>
                      <a:lnTo>
                        <a:pt x="265" y="284"/>
                      </a:lnTo>
                      <a:lnTo>
                        <a:pt x="265" y="284"/>
                      </a:lnTo>
                      <a:close/>
                      <a:moveTo>
                        <a:pt x="206" y="300"/>
                      </a:moveTo>
                      <a:lnTo>
                        <a:pt x="210" y="288"/>
                      </a:lnTo>
                      <a:lnTo>
                        <a:pt x="215" y="284"/>
                      </a:lnTo>
                      <a:lnTo>
                        <a:pt x="243" y="300"/>
                      </a:lnTo>
                      <a:lnTo>
                        <a:pt x="248" y="288"/>
                      </a:lnTo>
                      <a:lnTo>
                        <a:pt x="265" y="317"/>
                      </a:lnTo>
                      <a:lnTo>
                        <a:pt x="232" y="317"/>
                      </a:lnTo>
                      <a:lnTo>
                        <a:pt x="206" y="300"/>
                      </a:lnTo>
                      <a:lnTo>
                        <a:pt x="206" y="300"/>
                      </a:lnTo>
                      <a:lnTo>
                        <a:pt x="206" y="30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21" name="Freeform 431">
                  <a:extLst>
                    <a:ext uri="{FF2B5EF4-FFF2-40B4-BE49-F238E27FC236}">
                      <a16:creationId xmlns:a16="http://schemas.microsoft.com/office/drawing/2014/main" id="{4EF59457-429D-40F4-AB0D-A902D337B750}"/>
                    </a:ext>
                  </a:extLst>
                </p:cNvPr>
                <p:cNvSpPr>
                  <a:spLocks noEditPoints="1"/>
                </p:cNvSpPr>
                <p:nvPr/>
              </p:nvSpPr>
              <p:spPr bwMode="gray">
                <a:xfrm>
                  <a:off x="6424894" y="2230456"/>
                  <a:ext cx="125147" cy="158511"/>
                </a:xfrm>
                <a:custGeom>
                  <a:avLst/>
                  <a:gdLst>
                    <a:gd name="T0" fmla="*/ 198 w 304"/>
                    <a:gd name="T1" fmla="*/ 59 h 385"/>
                    <a:gd name="T2" fmla="*/ 193 w 304"/>
                    <a:gd name="T3" fmla="*/ 75 h 385"/>
                    <a:gd name="T4" fmla="*/ 181 w 304"/>
                    <a:gd name="T5" fmla="*/ 116 h 385"/>
                    <a:gd name="T6" fmla="*/ 236 w 304"/>
                    <a:gd name="T7" fmla="*/ 92 h 385"/>
                    <a:gd name="T8" fmla="*/ 288 w 304"/>
                    <a:gd name="T9" fmla="*/ 125 h 385"/>
                    <a:gd name="T10" fmla="*/ 283 w 304"/>
                    <a:gd name="T11" fmla="*/ 132 h 385"/>
                    <a:gd name="T12" fmla="*/ 304 w 304"/>
                    <a:gd name="T13" fmla="*/ 182 h 385"/>
                    <a:gd name="T14" fmla="*/ 304 w 304"/>
                    <a:gd name="T15" fmla="*/ 220 h 385"/>
                    <a:gd name="T16" fmla="*/ 288 w 304"/>
                    <a:gd name="T17" fmla="*/ 264 h 385"/>
                    <a:gd name="T18" fmla="*/ 274 w 304"/>
                    <a:gd name="T19" fmla="*/ 298 h 385"/>
                    <a:gd name="T20" fmla="*/ 283 w 304"/>
                    <a:gd name="T21" fmla="*/ 314 h 385"/>
                    <a:gd name="T22" fmla="*/ 236 w 304"/>
                    <a:gd name="T23" fmla="*/ 298 h 385"/>
                    <a:gd name="T24" fmla="*/ 198 w 304"/>
                    <a:gd name="T25" fmla="*/ 319 h 385"/>
                    <a:gd name="T26" fmla="*/ 181 w 304"/>
                    <a:gd name="T27" fmla="*/ 331 h 385"/>
                    <a:gd name="T28" fmla="*/ 160 w 304"/>
                    <a:gd name="T29" fmla="*/ 347 h 385"/>
                    <a:gd name="T30" fmla="*/ 155 w 304"/>
                    <a:gd name="T31" fmla="*/ 335 h 385"/>
                    <a:gd name="T32" fmla="*/ 144 w 304"/>
                    <a:gd name="T33" fmla="*/ 335 h 385"/>
                    <a:gd name="T34" fmla="*/ 122 w 304"/>
                    <a:gd name="T35" fmla="*/ 368 h 385"/>
                    <a:gd name="T36" fmla="*/ 70 w 304"/>
                    <a:gd name="T37" fmla="*/ 373 h 385"/>
                    <a:gd name="T38" fmla="*/ 59 w 304"/>
                    <a:gd name="T39" fmla="*/ 368 h 385"/>
                    <a:gd name="T40" fmla="*/ 70 w 304"/>
                    <a:gd name="T41" fmla="*/ 364 h 385"/>
                    <a:gd name="T42" fmla="*/ 21 w 304"/>
                    <a:gd name="T43" fmla="*/ 368 h 385"/>
                    <a:gd name="T44" fmla="*/ 21 w 304"/>
                    <a:gd name="T45" fmla="*/ 352 h 385"/>
                    <a:gd name="T46" fmla="*/ 4 w 304"/>
                    <a:gd name="T47" fmla="*/ 352 h 385"/>
                    <a:gd name="T48" fmla="*/ 16 w 304"/>
                    <a:gd name="T49" fmla="*/ 331 h 385"/>
                    <a:gd name="T50" fmla="*/ 0 w 304"/>
                    <a:gd name="T51" fmla="*/ 319 h 385"/>
                    <a:gd name="T52" fmla="*/ 21 w 304"/>
                    <a:gd name="T53" fmla="*/ 298 h 385"/>
                    <a:gd name="T54" fmla="*/ 49 w 304"/>
                    <a:gd name="T55" fmla="*/ 290 h 385"/>
                    <a:gd name="T56" fmla="*/ 113 w 304"/>
                    <a:gd name="T57" fmla="*/ 264 h 385"/>
                    <a:gd name="T58" fmla="*/ 92 w 304"/>
                    <a:gd name="T59" fmla="*/ 264 h 385"/>
                    <a:gd name="T60" fmla="*/ 70 w 304"/>
                    <a:gd name="T61" fmla="*/ 253 h 385"/>
                    <a:gd name="T62" fmla="*/ 70 w 304"/>
                    <a:gd name="T63" fmla="*/ 236 h 385"/>
                    <a:gd name="T64" fmla="*/ 106 w 304"/>
                    <a:gd name="T65" fmla="*/ 220 h 385"/>
                    <a:gd name="T66" fmla="*/ 59 w 304"/>
                    <a:gd name="T67" fmla="*/ 208 h 385"/>
                    <a:gd name="T68" fmla="*/ 49 w 304"/>
                    <a:gd name="T69" fmla="*/ 203 h 385"/>
                    <a:gd name="T70" fmla="*/ 49 w 304"/>
                    <a:gd name="T71" fmla="*/ 187 h 385"/>
                    <a:gd name="T72" fmla="*/ 16 w 304"/>
                    <a:gd name="T73" fmla="*/ 182 h 385"/>
                    <a:gd name="T74" fmla="*/ 37 w 304"/>
                    <a:gd name="T75" fmla="*/ 170 h 385"/>
                    <a:gd name="T76" fmla="*/ 59 w 304"/>
                    <a:gd name="T77" fmla="*/ 153 h 385"/>
                    <a:gd name="T78" fmla="*/ 37 w 304"/>
                    <a:gd name="T79" fmla="*/ 149 h 385"/>
                    <a:gd name="T80" fmla="*/ 49 w 304"/>
                    <a:gd name="T81" fmla="*/ 142 h 385"/>
                    <a:gd name="T82" fmla="*/ 21 w 304"/>
                    <a:gd name="T83" fmla="*/ 125 h 385"/>
                    <a:gd name="T84" fmla="*/ 33 w 304"/>
                    <a:gd name="T85" fmla="*/ 99 h 385"/>
                    <a:gd name="T86" fmla="*/ 49 w 304"/>
                    <a:gd name="T87" fmla="*/ 99 h 385"/>
                    <a:gd name="T88" fmla="*/ 92 w 304"/>
                    <a:gd name="T89" fmla="*/ 116 h 385"/>
                    <a:gd name="T90" fmla="*/ 139 w 304"/>
                    <a:gd name="T91" fmla="*/ 109 h 385"/>
                    <a:gd name="T92" fmla="*/ 155 w 304"/>
                    <a:gd name="T93" fmla="*/ 87 h 385"/>
                    <a:gd name="T94" fmla="*/ 127 w 304"/>
                    <a:gd name="T95" fmla="*/ 75 h 385"/>
                    <a:gd name="T96" fmla="*/ 144 w 304"/>
                    <a:gd name="T97" fmla="*/ 42 h 385"/>
                    <a:gd name="T98" fmla="*/ 144 w 304"/>
                    <a:gd name="T99" fmla="*/ 38 h 385"/>
                    <a:gd name="T100" fmla="*/ 144 w 304"/>
                    <a:gd name="T101" fmla="*/ 21 h 385"/>
                    <a:gd name="T102" fmla="*/ 193 w 304"/>
                    <a:gd name="T103" fmla="*/ 33 h 385"/>
                    <a:gd name="T104" fmla="*/ 181 w 304"/>
                    <a:gd name="T105" fmla="*/ 16 h 385"/>
                    <a:gd name="T106" fmla="*/ 207 w 304"/>
                    <a:gd name="T107" fmla="*/ 21 h 385"/>
                    <a:gd name="T108" fmla="*/ 207 w 304"/>
                    <a:gd name="T109" fmla="*/ 33 h 385"/>
                    <a:gd name="T110" fmla="*/ 215 w 304"/>
                    <a:gd name="T111" fmla="*/ 5 h 385"/>
                    <a:gd name="T112" fmla="*/ 245 w 304"/>
                    <a:gd name="T113" fmla="*/ 16 h 385"/>
                    <a:gd name="T114" fmla="*/ 219 w 304"/>
                    <a:gd name="T115" fmla="*/ 33 h 385"/>
                    <a:gd name="T116" fmla="*/ 21 w 304"/>
                    <a:gd name="T117" fmla="*/ 132 h 385"/>
                    <a:gd name="T118" fmla="*/ 37 w 304"/>
                    <a:gd name="T119" fmla="*/ 149 h 385"/>
                    <a:gd name="T120" fmla="*/ 21 w 304"/>
                    <a:gd name="T121" fmla="*/ 132 h 385"/>
                    <a:gd name="T122" fmla="*/ 21 w 304"/>
                    <a:gd name="T123" fmla="*/ 132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4" h="385">
                      <a:moveTo>
                        <a:pt x="219" y="33"/>
                      </a:moveTo>
                      <a:lnTo>
                        <a:pt x="198" y="59"/>
                      </a:lnTo>
                      <a:lnTo>
                        <a:pt x="177" y="71"/>
                      </a:lnTo>
                      <a:lnTo>
                        <a:pt x="193" y="75"/>
                      </a:lnTo>
                      <a:lnTo>
                        <a:pt x="160" y="92"/>
                      </a:lnTo>
                      <a:lnTo>
                        <a:pt x="181" y="116"/>
                      </a:lnTo>
                      <a:lnTo>
                        <a:pt x="219" y="125"/>
                      </a:lnTo>
                      <a:lnTo>
                        <a:pt x="236" y="92"/>
                      </a:lnTo>
                      <a:lnTo>
                        <a:pt x="266" y="132"/>
                      </a:lnTo>
                      <a:lnTo>
                        <a:pt x="288" y="125"/>
                      </a:lnTo>
                      <a:lnTo>
                        <a:pt x="304" y="132"/>
                      </a:lnTo>
                      <a:lnTo>
                        <a:pt x="283" y="132"/>
                      </a:lnTo>
                      <a:lnTo>
                        <a:pt x="283" y="142"/>
                      </a:lnTo>
                      <a:lnTo>
                        <a:pt x="304" y="182"/>
                      </a:lnTo>
                      <a:lnTo>
                        <a:pt x="288" y="198"/>
                      </a:lnTo>
                      <a:lnTo>
                        <a:pt x="304" y="220"/>
                      </a:lnTo>
                      <a:lnTo>
                        <a:pt x="304" y="236"/>
                      </a:lnTo>
                      <a:lnTo>
                        <a:pt x="288" y="264"/>
                      </a:lnTo>
                      <a:lnTo>
                        <a:pt x="300" y="274"/>
                      </a:lnTo>
                      <a:lnTo>
                        <a:pt x="274" y="298"/>
                      </a:lnTo>
                      <a:lnTo>
                        <a:pt x="288" y="307"/>
                      </a:lnTo>
                      <a:lnTo>
                        <a:pt x="283" y="314"/>
                      </a:lnTo>
                      <a:lnTo>
                        <a:pt x="245" y="314"/>
                      </a:lnTo>
                      <a:lnTo>
                        <a:pt x="236" y="298"/>
                      </a:lnTo>
                      <a:lnTo>
                        <a:pt x="236" y="314"/>
                      </a:lnTo>
                      <a:lnTo>
                        <a:pt x="198" y="319"/>
                      </a:lnTo>
                      <a:lnTo>
                        <a:pt x="198" y="331"/>
                      </a:lnTo>
                      <a:lnTo>
                        <a:pt x="181" y="331"/>
                      </a:lnTo>
                      <a:lnTo>
                        <a:pt x="177" y="335"/>
                      </a:lnTo>
                      <a:lnTo>
                        <a:pt x="160" y="347"/>
                      </a:lnTo>
                      <a:lnTo>
                        <a:pt x="155" y="347"/>
                      </a:lnTo>
                      <a:lnTo>
                        <a:pt x="155" y="335"/>
                      </a:lnTo>
                      <a:lnTo>
                        <a:pt x="139" y="335"/>
                      </a:lnTo>
                      <a:lnTo>
                        <a:pt x="144" y="335"/>
                      </a:lnTo>
                      <a:lnTo>
                        <a:pt x="144" y="352"/>
                      </a:lnTo>
                      <a:lnTo>
                        <a:pt x="122" y="368"/>
                      </a:lnTo>
                      <a:lnTo>
                        <a:pt x="85" y="373"/>
                      </a:lnTo>
                      <a:lnTo>
                        <a:pt x="70" y="373"/>
                      </a:lnTo>
                      <a:lnTo>
                        <a:pt x="49" y="385"/>
                      </a:lnTo>
                      <a:lnTo>
                        <a:pt x="59" y="368"/>
                      </a:lnTo>
                      <a:lnTo>
                        <a:pt x="49" y="368"/>
                      </a:lnTo>
                      <a:lnTo>
                        <a:pt x="70" y="364"/>
                      </a:lnTo>
                      <a:lnTo>
                        <a:pt x="59" y="352"/>
                      </a:lnTo>
                      <a:lnTo>
                        <a:pt x="21" y="368"/>
                      </a:lnTo>
                      <a:lnTo>
                        <a:pt x="59" y="335"/>
                      </a:lnTo>
                      <a:lnTo>
                        <a:pt x="21" y="352"/>
                      </a:lnTo>
                      <a:lnTo>
                        <a:pt x="16" y="347"/>
                      </a:lnTo>
                      <a:lnTo>
                        <a:pt x="4" y="352"/>
                      </a:lnTo>
                      <a:lnTo>
                        <a:pt x="4" y="335"/>
                      </a:lnTo>
                      <a:lnTo>
                        <a:pt x="16" y="331"/>
                      </a:lnTo>
                      <a:lnTo>
                        <a:pt x="49" y="314"/>
                      </a:lnTo>
                      <a:lnTo>
                        <a:pt x="0" y="319"/>
                      </a:lnTo>
                      <a:lnTo>
                        <a:pt x="0" y="314"/>
                      </a:lnTo>
                      <a:lnTo>
                        <a:pt x="21" y="298"/>
                      </a:lnTo>
                      <a:lnTo>
                        <a:pt x="49" y="307"/>
                      </a:lnTo>
                      <a:lnTo>
                        <a:pt x="49" y="290"/>
                      </a:lnTo>
                      <a:lnTo>
                        <a:pt x="54" y="274"/>
                      </a:lnTo>
                      <a:lnTo>
                        <a:pt x="113" y="264"/>
                      </a:lnTo>
                      <a:lnTo>
                        <a:pt x="101" y="257"/>
                      </a:lnTo>
                      <a:lnTo>
                        <a:pt x="92" y="264"/>
                      </a:lnTo>
                      <a:lnTo>
                        <a:pt x="37" y="274"/>
                      </a:lnTo>
                      <a:lnTo>
                        <a:pt x="70" y="253"/>
                      </a:lnTo>
                      <a:lnTo>
                        <a:pt x="75" y="241"/>
                      </a:lnTo>
                      <a:lnTo>
                        <a:pt x="70" y="236"/>
                      </a:lnTo>
                      <a:lnTo>
                        <a:pt x="85" y="220"/>
                      </a:lnTo>
                      <a:lnTo>
                        <a:pt x="106" y="220"/>
                      </a:lnTo>
                      <a:lnTo>
                        <a:pt x="106" y="203"/>
                      </a:lnTo>
                      <a:lnTo>
                        <a:pt x="59" y="208"/>
                      </a:lnTo>
                      <a:lnTo>
                        <a:pt x="59" y="198"/>
                      </a:lnTo>
                      <a:lnTo>
                        <a:pt x="49" y="203"/>
                      </a:lnTo>
                      <a:lnTo>
                        <a:pt x="37" y="203"/>
                      </a:lnTo>
                      <a:lnTo>
                        <a:pt x="49" y="187"/>
                      </a:lnTo>
                      <a:lnTo>
                        <a:pt x="21" y="198"/>
                      </a:lnTo>
                      <a:lnTo>
                        <a:pt x="16" y="182"/>
                      </a:lnTo>
                      <a:lnTo>
                        <a:pt x="54" y="170"/>
                      </a:lnTo>
                      <a:lnTo>
                        <a:pt x="37" y="170"/>
                      </a:lnTo>
                      <a:lnTo>
                        <a:pt x="37" y="153"/>
                      </a:lnTo>
                      <a:lnTo>
                        <a:pt x="59" y="153"/>
                      </a:lnTo>
                      <a:lnTo>
                        <a:pt x="59" y="149"/>
                      </a:lnTo>
                      <a:lnTo>
                        <a:pt x="37" y="149"/>
                      </a:lnTo>
                      <a:lnTo>
                        <a:pt x="37" y="142"/>
                      </a:lnTo>
                      <a:lnTo>
                        <a:pt x="49" y="142"/>
                      </a:lnTo>
                      <a:lnTo>
                        <a:pt x="33" y="109"/>
                      </a:lnTo>
                      <a:lnTo>
                        <a:pt x="21" y="125"/>
                      </a:lnTo>
                      <a:lnTo>
                        <a:pt x="21" y="109"/>
                      </a:lnTo>
                      <a:lnTo>
                        <a:pt x="33" y="99"/>
                      </a:lnTo>
                      <a:lnTo>
                        <a:pt x="37" y="116"/>
                      </a:lnTo>
                      <a:lnTo>
                        <a:pt x="49" y="99"/>
                      </a:lnTo>
                      <a:lnTo>
                        <a:pt x="75" y="99"/>
                      </a:lnTo>
                      <a:lnTo>
                        <a:pt x="92" y="116"/>
                      </a:lnTo>
                      <a:lnTo>
                        <a:pt x="101" y="109"/>
                      </a:lnTo>
                      <a:lnTo>
                        <a:pt x="139" y="109"/>
                      </a:lnTo>
                      <a:lnTo>
                        <a:pt x="122" y="99"/>
                      </a:lnTo>
                      <a:lnTo>
                        <a:pt x="155" y="87"/>
                      </a:lnTo>
                      <a:lnTo>
                        <a:pt x="160" y="71"/>
                      </a:lnTo>
                      <a:lnTo>
                        <a:pt x="127" y="75"/>
                      </a:lnTo>
                      <a:lnTo>
                        <a:pt x="113" y="71"/>
                      </a:lnTo>
                      <a:lnTo>
                        <a:pt x="144" y="42"/>
                      </a:lnTo>
                      <a:lnTo>
                        <a:pt x="139" y="38"/>
                      </a:lnTo>
                      <a:lnTo>
                        <a:pt x="144" y="38"/>
                      </a:lnTo>
                      <a:lnTo>
                        <a:pt x="139" y="38"/>
                      </a:lnTo>
                      <a:lnTo>
                        <a:pt x="144" y="21"/>
                      </a:lnTo>
                      <a:lnTo>
                        <a:pt x="181" y="16"/>
                      </a:lnTo>
                      <a:lnTo>
                        <a:pt x="193" y="33"/>
                      </a:lnTo>
                      <a:lnTo>
                        <a:pt x="193" y="16"/>
                      </a:lnTo>
                      <a:lnTo>
                        <a:pt x="181" y="16"/>
                      </a:lnTo>
                      <a:lnTo>
                        <a:pt x="193" y="5"/>
                      </a:lnTo>
                      <a:lnTo>
                        <a:pt x="207" y="21"/>
                      </a:lnTo>
                      <a:lnTo>
                        <a:pt x="193" y="38"/>
                      </a:lnTo>
                      <a:lnTo>
                        <a:pt x="207" y="33"/>
                      </a:lnTo>
                      <a:lnTo>
                        <a:pt x="198" y="16"/>
                      </a:lnTo>
                      <a:lnTo>
                        <a:pt x="215" y="5"/>
                      </a:lnTo>
                      <a:lnTo>
                        <a:pt x="215" y="0"/>
                      </a:lnTo>
                      <a:lnTo>
                        <a:pt x="245" y="16"/>
                      </a:lnTo>
                      <a:lnTo>
                        <a:pt x="219" y="33"/>
                      </a:lnTo>
                      <a:lnTo>
                        <a:pt x="219" y="33"/>
                      </a:lnTo>
                      <a:lnTo>
                        <a:pt x="219" y="33"/>
                      </a:lnTo>
                      <a:close/>
                      <a:moveTo>
                        <a:pt x="21" y="132"/>
                      </a:moveTo>
                      <a:lnTo>
                        <a:pt x="33" y="132"/>
                      </a:lnTo>
                      <a:lnTo>
                        <a:pt x="37" y="149"/>
                      </a:lnTo>
                      <a:lnTo>
                        <a:pt x="16" y="142"/>
                      </a:lnTo>
                      <a:lnTo>
                        <a:pt x="21" y="132"/>
                      </a:lnTo>
                      <a:lnTo>
                        <a:pt x="21" y="132"/>
                      </a:lnTo>
                      <a:lnTo>
                        <a:pt x="21" y="13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22" name="Freeform 433">
                  <a:extLst>
                    <a:ext uri="{FF2B5EF4-FFF2-40B4-BE49-F238E27FC236}">
                      <a16:creationId xmlns:a16="http://schemas.microsoft.com/office/drawing/2014/main" id="{EF0E75A6-DBEA-4E86-963E-BB3F71245C69}"/>
                    </a:ext>
                  </a:extLst>
                </p:cNvPr>
                <p:cNvSpPr>
                  <a:spLocks noEditPoints="1"/>
                </p:cNvSpPr>
                <p:nvPr/>
              </p:nvSpPr>
              <p:spPr bwMode="gray">
                <a:xfrm>
                  <a:off x="7356503" y="2048477"/>
                  <a:ext cx="182782" cy="89755"/>
                </a:xfrm>
                <a:custGeom>
                  <a:avLst/>
                  <a:gdLst>
                    <a:gd name="T0" fmla="*/ 359 w 444"/>
                    <a:gd name="T1" fmla="*/ 208 h 218"/>
                    <a:gd name="T2" fmla="*/ 295 w 444"/>
                    <a:gd name="T3" fmla="*/ 184 h 218"/>
                    <a:gd name="T4" fmla="*/ 240 w 444"/>
                    <a:gd name="T5" fmla="*/ 168 h 218"/>
                    <a:gd name="T6" fmla="*/ 177 w 444"/>
                    <a:gd name="T7" fmla="*/ 184 h 218"/>
                    <a:gd name="T8" fmla="*/ 177 w 444"/>
                    <a:gd name="T9" fmla="*/ 130 h 218"/>
                    <a:gd name="T10" fmla="*/ 132 w 444"/>
                    <a:gd name="T11" fmla="*/ 130 h 218"/>
                    <a:gd name="T12" fmla="*/ 122 w 444"/>
                    <a:gd name="T13" fmla="*/ 97 h 218"/>
                    <a:gd name="T14" fmla="*/ 111 w 444"/>
                    <a:gd name="T15" fmla="*/ 88 h 218"/>
                    <a:gd name="T16" fmla="*/ 127 w 444"/>
                    <a:gd name="T17" fmla="*/ 71 h 218"/>
                    <a:gd name="T18" fmla="*/ 127 w 444"/>
                    <a:gd name="T19" fmla="*/ 71 h 218"/>
                    <a:gd name="T20" fmla="*/ 111 w 444"/>
                    <a:gd name="T21" fmla="*/ 43 h 218"/>
                    <a:gd name="T22" fmla="*/ 160 w 444"/>
                    <a:gd name="T23" fmla="*/ 21 h 218"/>
                    <a:gd name="T24" fmla="*/ 177 w 444"/>
                    <a:gd name="T25" fmla="*/ 14 h 218"/>
                    <a:gd name="T26" fmla="*/ 203 w 444"/>
                    <a:gd name="T27" fmla="*/ 5 h 218"/>
                    <a:gd name="T28" fmla="*/ 257 w 444"/>
                    <a:gd name="T29" fmla="*/ 0 h 218"/>
                    <a:gd name="T30" fmla="*/ 274 w 444"/>
                    <a:gd name="T31" fmla="*/ 0 h 218"/>
                    <a:gd name="T32" fmla="*/ 418 w 444"/>
                    <a:gd name="T33" fmla="*/ 21 h 218"/>
                    <a:gd name="T34" fmla="*/ 444 w 444"/>
                    <a:gd name="T35" fmla="*/ 26 h 218"/>
                    <a:gd name="T36" fmla="*/ 429 w 444"/>
                    <a:gd name="T37" fmla="*/ 38 h 218"/>
                    <a:gd name="T38" fmla="*/ 392 w 444"/>
                    <a:gd name="T39" fmla="*/ 88 h 218"/>
                    <a:gd name="T40" fmla="*/ 396 w 444"/>
                    <a:gd name="T41" fmla="*/ 147 h 218"/>
                    <a:gd name="T42" fmla="*/ 396 w 444"/>
                    <a:gd name="T43" fmla="*/ 184 h 218"/>
                    <a:gd name="T44" fmla="*/ 392 w 444"/>
                    <a:gd name="T45" fmla="*/ 218 h 218"/>
                    <a:gd name="T46" fmla="*/ 52 w 444"/>
                    <a:gd name="T47" fmla="*/ 97 h 218"/>
                    <a:gd name="T48" fmla="*/ 35 w 444"/>
                    <a:gd name="T49" fmla="*/ 76 h 218"/>
                    <a:gd name="T50" fmla="*/ 35 w 444"/>
                    <a:gd name="T51" fmla="*/ 71 h 218"/>
                    <a:gd name="T52" fmla="*/ 73 w 444"/>
                    <a:gd name="T53" fmla="*/ 71 h 218"/>
                    <a:gd name="T54" fmla="*/ 68 w 444"/>
                    <a:gd name="T55" fmla="*/ 88 h 218"/>
                    <a:gd name="T56" fmla="*/ 52 w 444"/>
                    <a:gd name="T57" fmla="*/ 97 h 218"/>
                    <a:gd name="T58" fmla="*/ 96 w 444"/>
                    <a:gd name="T59" fmla="*/ 59 h 218"/>
                    <a:gd name="T60" fmla="*/ 89 w 444"/>
                    <a:gd name="T61" fmla="*/ 71 h 218"/>
                    <a:gd name="T62" fmla="*/ 96 w 444"/>
                    <a:gd name="T63" fmla="*/ 59 h 218"/>
                    <a:gd name="T64" fmla="*/ 96 w 444"/>
                    <a:gd name="T65" fmla="*/ 59 h 218"/>
                    <a:gd name="T66" fmla="*/ 111 w 444"/>
                    <a:gd name="T67" fmla="*/ 114 h 218"/>
                    <a:gd name="T68" fmla="*/ 96 w 444"/>
                    <a:gd name="T69" fmla="*/ 97 h 218"/>
                    <a:gd name="T70" fmla="*/ 96 w 444"/>
                    <a:gd name="T71" fmla="*/ 97 h 218"/>
                    <a:gd name="T72" fmla="*/ 14 w 444"/>
                    <a:gd name="T73" fmla="*/ 168 h 218"/>
                    <a:gd name="T74" fmla="*/ 4 w 444"/>
                    <a:gd name="T75" fmla="*/ 142 h 218"/>
                    <a:gd name="T76" fmla="*/ 0 w 444"/>
                    <a:gd name="T77" fmla="*/ 114 h 218"/>
                    <a:gd name="T78" fmla="*/ 106 w 444"/>
                    <a:gd name="T79" fmla="*/ 125 h 218"/>
                    <a:gd name="T80" fmla="*/ 68 w 444"/>
                    <a:gd name="T81" fmla="*/ 147 h 218"/>
                    <a:gd name="T82" fmla="*/ 26 w 444"/>
                    <a:gd name="T83" fmla="*/ 168 h 218"/>
                    <a:gd name="T84" fmla="*/ 14 w 444"/>
                    <a:gd name="T85" fmla="*/ 18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4" h="218">
                      <a:moveTo>
                        <a:pt x="392" y="218"/>
                      </a:moveTo>
                      <a:lnTo>
                        <a:pt x="359" y="208"/>
                      </a:lnTo>
                      <a:lnTo>
                        <a:pt x="326" y="218"/>
                      </a:lnTo>
                      <a:lnTo>
                        <a:pt x="295" y="184"/>
                      </a:lnTo>
                      <a:lnTo>
                        <a:pt x="240" y="163"/>
                      </a:lnTo>
                      <a:lnTo>
                        <a:pt x="240" y="168"/>
                      </a:lnTo>
                      <a:lnTo>
                        <a:pt x="229" y="163"/>
                      </a:lnTo>
                      <a:lnTo>
                        <a:pt x="177" y="184"/>
                      </a:lnTo>
                      <a:lnTo>
                        <a:pt x="186" y="142"/>
                      </a:lnTo>
                      <a:lnTo>
                        <a:pt x="177" y="130"/>
                      </a:lnTo>
                      <a:lnTo>
                        <a:pt x="160" y="147"/>
                      </a:lnTo>
                      <a:lnTo>
                        <a:pt x="132" y="130"/>
                      </a:lnTo>
                      <a:lnTo>
                        <a:pt x="122" y="109"/>
                      </a:lnTo>
                      <a:lnTo>
                        <a:pt x="122" y="97"/>
                      </a:lnTo>
                      <a:lnTo>
                        <a:pt x="144" y="92"/>
                      </a:lnTo>
                      <a:lnTo>
                        <a:pt x="111" y="88"/>
                      </a:lnTo>
                      <a:lnTo>
                        <a:pt x="111" y="76"/>
                      </a:lnTo>
                      <a:lnTo>
                        <a:pt x="127" y="71"/>
                      </a:lnTo>
                      <a:lnTo>
                        <a:pt x="122" y="59"/>
                      </a:lnTo>
                      <a:lnTo>
                        <a:pt x="127" y="71"/>
                      </a:lnTo>
                      <a:lnTo>
                        <a:pt x="111" y="59"/>
                      </a:lnTo>
                      <a:lnTo>
                        <a:pt x="111" y="43"/>
                      </a:lnTo>
                      <a:lnTo>
                        <a:pt x="148" y="38"/>
                      </a:lnTo>
                      <a:lnTo>
                        <a:pt x="160" y="21"/>
                      </a:lnTo>
                      <a:lnTo>
                        <a:pt x="165" y="26"/>
                      </a:lnTo>
                      <a:lnTo>
                        <a:pt x="177" y="14"/>
                      </a:lnTo>
                      <a:lnTo>
                        <a:pt x="203" y="21"/>
                      </a:lnTo>
                      <a:lnTo>
                        <a:pt x="203" y="5"/>
                      </a:lnTo>
                      <a:lnTo>
                        <a:pt x="252" y="14"/>
                      </a:lnTo>
                      <a:lnTo>
                        <a:pt x="257" y="0"/>
                      </a:lnTo>
                      <a:lnTo>
                        <a:pt x="266" y="5"/>
                      </a:lnTo>
                      <a:lnTo>
                        <a:pt x="274" y="0"/>
                      </a:lnTo>
                      <a:lnTo>
                        <a:pt x="359" y="21"/>
                      </a:lnTo>
                      <a:lnTo>
                        <a:pt x="418" y="21"/>
                      </a:lnTo>
                      <a:lnTo>
                        <a:pt x="434" y="14"/>
                      </a:lnTo>
                      <a:lnTo>
                        <a:pt x="444" y="26"/>
                      </a:lnTo>
                      <a:lnTo>
                        <a:pt x="444" y="38"/>
                      </a:lnTo>
                      <a:lnTo>
                        <a:pt x="429" y="38"/>
                      </a:lnTo>
                      <a:lnTo>
                        <a:pt x="418" y="59"/>
                      </a:lnTo>
                      <a:lnTo>
                        <a:pt x="392" y="88"/>
                      </a:lnTo>
                      <a:lnTo>
                        <a:pt x="396" y="130"/>
                      </a:lnTo>
                      <a:lnTo>
                        <a:pt x="396" y="147"/>
                      </a:lnTo>
                      <a:lnTo>
                        <a:pt x="418" y="184"/>
                      </a:lnTo>
                      <a:lnTo>
                        <a:pt x="396" y="184"/>
                      </a:lnTo>
                      <a:lnTo>
                        <a:pt x="392" y="218"/>
                      </a:lnTo>
                      <a:lnTo>
                        <a:pt x="392" y="218"/>
                      </a:lnTo>
                      <a:lnTo>
                        <a:pt x="392" y="218"/>
                      </a:lnTo>
                      <a:close/>
                      <a:moveTo>
                        <a:pt x="52" y="97"/>
                      </a:moveTo>
                      <a:lnTo>
                        <a:pt x="42" y="97"/>
                      </a:lnTo>
                      <a:lnTo>
                        <a:pt x="35" y="76"/>
                      </a:lnTo>
                      <a:lnTo>
                        <a:pt x="14" y="76"/>
                      </a:lnTo>
                      <a:lnTo>
                        <a:pt x="35" y="71"/>
                      </a:lnTo>
                      <a:lnTo>
                        <a:pt x="52" y="59"/>
                      </a:lnTo>
                      <a:lnTo>
                        <a:pt x="73" y="71"/>
                      </a:lnTo>
                      <a:lnTo>
                        <a:pt x="89" y="88"/>
                      </a:lnTo>
                      <a:lnTo>
                        <a:pt x="68" y="88"/>
                      </a:lnTo>
                      <a:lnTo>
                        <a:pt x="52" y="97"/>
                      </a:lnTo>
                      <a:lnTo>
                        <a:pt x="52" y="97"/>
                      </a:lnTo>
                      <a:lnTo>
                        <a:pt x="52" y="97"/>
                      </a:lnTo>
                      <a:close/>
                      <a:moveTo>
                        <a:pt x="96" y="59"/>
                      </a:moveTo>
                      <a:lnTo>
                        <a:pt x="111" y="71"/>
                      </a:lnTo>
                      <a:lnTo>
                        <a:pt x="89" y="71"/>
                      </a:lnTo>
                      <a:lnTo>
                        <a:pt x="89" y="59"/>
                      </a:lnTo>
                      <a:lnTo>
                        <a:pt x="96" y="59"/>
                      </a:lnTo>
                      <a:lnTo>
                        <a:pt x="96" y="59"/>
                      </a:lnTo>
                      <a:lnTo>
                        <a:pt x="96" y="59"/>
                      </a:lnTo>
                      <a:close/>
                      <a:moveTo>
                        <a:pt x="96" y="97"/>
                      </a:moveTo>
                      <a:lnTo>
                        <a:pt x="111" y="114"/>
                      </a:lnTo>
                      <a:lnTo>
                        <a:pt x="89" y="109"/>
                      </a:lnTo>
                      <a:lnTo>
                        <a:pt x="96" y="97"/>
                      </a:lnTo>
                      <a:lnTo>
                        <a:pt x="96" y="97"/>
                      </a:lnTo>
                      <a:lnTo>
                        <a:pt x="96" y="97"/>
                      </a:lnTo>
                      <a:close/>
                      <a:moveTo>
                        <a:pt x="14" y="180"/>
                      </a:moveTo>
                      <a:lnTo>
                        <a:pt x="14" y="168"/>
                      </a:lnTo>
                      <a:lnTo>
                        <a:pt x="26" y="151"/>
                      </a:lnTo>
                      <a:lnTo>
                        <a:pt x="4" y="142"/>
                      </a:lnTo>
                      <a:lnTo>
                        <a:pt x="14" y="130"/>
                      </a:lnTo>
                      <a:lnTo>
                        <a:pt x="0" y="114"/>
                      </a:lnTo>
                      <a:lnTo>
                        <a:pt x="73" y="109"/>
                      </a:lnTo>
                      <a:lnTo>
                        <a:pt x="106" y="125"/>
                      </a:lnTo>
                      <a:lnTo>
                        <a:pt x="89" y="125"/>
                      </a:lnTo>
                      <a:lnTo>
                        <a:pt x="68" y="147"/>
                      </a:lnTo>
                      <a:lnTo>
                        <a:pt x="35" y="151"/>
                      </a:lnTo>
                      <a:lnTo>
                        <a:pt x="26" y="168"/>
                      </a:lnTo>
                      <a:lnTo>
                        <a:pt x="14" y="180"/>
                      </a:lnTo>
                      <a:lnTo>
                        <a:pt x="14" y="180"/>
                      </a:lnTo>
                      <a:lnTo>
                        <a:pt x="14" y="18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23" name="Freeform 437">
                  <a:extLst>
                    <a:ext uri="{FF2B5EF4-FFF2-40B4-BE49-F238E27FC236}">
                      <a16:creationId xmlns:a16="http://schemas.microsoft.com/office/drawing/2014/main" id="{23E4BF0C-3BC3-4F15-AD9E-845E07E8C4B1}"/>
                    </a:ext>
                  </a:extLst>
                </p:cNvPr>
                <p:cNvSpPr>
                  <a:spLocks/>
                </p:cNvSpPr>
                <p:nvPr/>
              </p:nvSpPr>
              <p:spPr bwMode="gray">
                <a:xfrm>
                  <a:off x="7075332" y="2403375"/>
                  <a:ext cx="194308" cy="95519"/>
                </a:xfrm>
                <a:custGeom>
                  <a:avLst/>
                  <a:gdLst>
                    <a:gd name="T0" fmla="*/ 340 w 472"/>
                    <a:gd name="T1" fmla="*/ 225 h 232"/>
                    <a:gd name="T2" fmla="*/ 340 w 472"/>
                    <a:gd name="T3" fmla="*/ 220 h 232"/>
                    <a:gd name="T4" fmla="*/ 309 w 472"/>
                    <a:gd name="T5" fmla="*/ 208 h 232"/>
                    <a:gd name="T6" fmla="*/ 276 w 472"/>
                    <a:gd name="T7" fmla="*/ 220 h 232"/>
                    <a:gd name="T8" fmla="*/ 205 w 472"/>
                    <a:gd name="T9" fmla="*/ 187 h 232"/>
                    <a:gd name="T10" fmla="*/ 201 w 472"/>
                    <a:gd name="T11" fmla="*/ 208 h 232"/>
                    <a:gd name="T12" fmla="*/ 194 w 472"/>
                    <a:gd name="T13" fmla="*/ 208 h 232"/>
                    <a:gd name="T14" fmla="*/ 184 w 472"/>
                    <a:gd name="T15" fmla="*/ 232 h 232"/>
                    <a:gd name="T16" fmla="*/ 146 w 472"/>
                    <a:gd name="T17" fmla="*/ 225 h 232"/>
                    <a:gd name="T18" fmla="*/ 125 w 472"/>
                    <a:gd name="T19" fmla="*/ 208 h 232"/>
                    <a:gd name="T20" fmla="*/ 59 w 472"/>
                    <a:gd name="T21" fmla="*/ 166 h 232"/>
                    <a:gd name="T22" fmla="*/ 38 w 472"/>
                    <a:gd name="T23" fmla="*/ 154 h 232"/>
                    <a:gd name="T24" fmla="*/ 21 w 472"/>
                    <a:gd name="T25" fmla="*/ 133 h 232"/>
                    <a:gd name="T26" fmla="*/ 31 w 472"/>
                    <a:gd name="T27" fmla="*/ 109 h 232"/>
                    <a:gd name="T28" fmla="*/ 5 w 472"/>
                    <a:gd name="T29" fmla="*/ 92 h 232"/>
                    <a:gd name="T30" fmla="*/ 0 w 472"/>
                    <a:gd name="T31" fmla="*/ 67 h 232"/>
                    <a:gd name="T32" fmla="*/ 16 w 472"/>
                    <a:gd name="T33" fmla="*/ 76 h 232"/>
                    <a:gd name="T34" fmla="*/ 31 w 472"/>
                    <a:gd name="T35" fmla="*/ 59 h 232"/>
                    <a:gd name="T36" fmla="*/ 59 w 472"/>
                    <a:gd name="T37" fmla="*/ 59 h 232"/>
                    <a:gd name="T38" fmla="*/ 97 w 472"/>
                    <a:gd name="T39" fmla="*/ 26 h 232"/>
                    <a:gd name="T40" fmla="*/ 151 w 472"/>
                    <a:gd name="T41" fmla="*/ 10 h 232"/>
                    <a:gd name="T42" fmla="*/ 163 w 472"/>
                    <a:gd name="T43" fmla="*/ 10 h 232"/>
                    <a:gd name="T44" fmla="*/ 151 w 472"/>
                    <a:gd name="T45" fmla="*/ 5 h 232"/>
                    <a:gd name="T46" fmla="*/ 151 w 472"/>
                    <a:gd name="T47" fmla="*/ 0 h 232"/>
                    <a:gd name="T48" fmla="*/ 168 w 472"/>
                    <a:gd name="T49" fmla="*/ 5 h 232"/>
                    <a:gd name="T50" fmla="*/ 177 w 472"/>
                    <a:gd name="T51" fmla="*/ 22 h 232"/>
                    <a:gd name="T52" fmla="*/ 194 w 472"/>
                    <a:gd name="T53" fmla="*/ 22 h 232"/>
                    <a:gd name="T54" fmla="*/ 201 w 472"/>
                    <a:gd name="T55" fmla="*/ 22 h 232"/>
                    <a:gd name="T56" fmla="*/ 201 w 472"/>
                    <a:gd name="T57" fmla="*/ 5 h 232"/>
                    <a:gd name="T58" fmla="*/ 217 w 472"/>
                    <a:gd name="T59" fmla="*/ 5 h 232"/>
                    <a:gd name="T60" fmla="*/ 231 w 472"/>
                    <a:gd name="T61" fmla="*/ 26 h 232"/>
                    <a:gd name="T62" fmla="*/ 286 w 472"/>
                    <a:gd name="T63" fmla="*/ 38 h 232"/>
                    <a:gd name="T64" fmla="*/ 302 w 472"/>
                    <a:gd name="T65" fmla="*/ 43 h 232"/>
                    <a:gd name="T66" fmla="*/ 286 w 472"/>
                    <a:gd name="T67" fmla="*/ 59 h 232"/>
                    <a:gd name="T68" fmla="*/ 314 w 472"/>
                    <a:gd name="T69" fmla="*/ 92 h 232"/>
                    <a:gd name="T70" fmla="*/ 347 w 472"/>
                    <a:gd name="T71" fmla="*/ 76 h 232"/>
                    <a:gd name="T72" fmla="*/ 340 w 472"/>
                    <a:gd name="T73" fmla="*/ 59 h 232"/>
                    <a:gd name="T74" fmla="*/ 368 w 472"/>
                    <a:gd name="T75" fmla="*/ 76 h 232"/>
                    <a:gd name="T76" fmla="*/ 394 w 472"/>
                    <a:gd name="T77" fmla="*/ 67 h 232"/>
                    <a:gd name="T78" fmla="*/ 394 w 472"/>
                    <a:gd name="T79" fmla="*/ 76 h 232"/>
                    <a:gd name="T80" fmla="*/ 385 w 472"/>
                    <a:gd name="T81" fmla="*/ 83 h 232"/>
                    <a:gd name="T82" fmla="*/ 394 w 472"/>
                    <a:gd name="T83" fmla="*/ 92 h 232"/>
                    <a:gd name="T84" fmla="*/ 411 w 472"/>
                    <a:gd name="T85" fmla="*/ 100 h 232"/>
                    <a:gd name="T86" fmla="*/ 418 w 472"/>
                    <a:gd name="T87" fmla="*/ 92 h 232"/>
                    <a:gd name="T88" fmla="*/ 456 w 472"/>
                    <a:gd name="T89" fmla="*/ 109 h 232"/>
                    <a:gd name="T90" fmla="*/ 456 w 472"/>
                    <a:gd name="T91" fmla="*/ 121 h 232"/>
                    <a:gd name="T92" fmla="*/ 472 w 472"/>
                    <a:gd name="T93" fmla="*/ 133 h 232"/>
                    <a:gd name="T94" fmla="*/ 472 w 472"/>
                    <a:gd name="T95" fmla="*/ 149 h 232"/>
                    <a:gd name="T96" fmla="*/ 456 w 472"/>
                    <a:gd name="T97" fmla="*/ 149 h 232"/>
                    <a:gd name="T98" fmla="*/ 432 w 472"/>
                    <a:gd name="T99" fmla="*/ 166 h 232"/>
                    <a:gd name="T100" fmla="*/ 418 w 472"/>
                    <a:gd name="T101" fmla="*/ 187 h 232"/>
                    <a:gd name="T102" fmla="*/ 394 w 472"/>
                    <a:gd name="T103" fmla="*/ 204 h 232"/>
                    <a:gd name="T104" fmla="*/ 357 w 472"/>
                    <a:gd name="T105" fmla="*/ 204 h 232"/>
                    <a:gd name="T106" fmla="*/ 340 w 472"/>
                    <a:gd name="T107" fmla="*/ 225 h 232"/>
                    <a:gd name="T108" fmla="*/ 340 w 472"/>
                    <a:gd name="T109" fmla="*/ 225 h 232"/>
                    <a:gd name="T110" fmla="*/ 340 w 472"/>
                    <a:gd name="T111" fmla="*/ 22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2" h="232">
                      <a:moveTo>
                        <a:pt x="340" y="225"/>
                      </a:moveTo>
                      <a:lnTo>
                        <a:pt x="340" y="220"/>
                      </a:lnTo>
                      <a:lnTo>
                        <a:pt x="309" y="208"/>
                      </a:lnTo>
                      <a:lnTo>
                        <a:pt x="276" y="220"/>
                      </a:lnTo>
                      <a:lnTo>
                        <a:pt x="205" y="187"/>
                      </a:lnTo>
                      <a:lnTo>
                        <a:pt x="201" y="208"/>
                      </a:lnTo>
                      <a:lnTo>
                        <a:pt x="194" y="208"/>
                      </a:lnTo>
                      <a:lnTo>
                        <a:pt x="184" y="232"/>
                      </a:lnTo>
                      <a:lnTo>
                        <a:pt x="146" y="225"/>
                      </a:lnTo>
                      <a:lnTo>
                        <a:pt x="125" y="208"/>
                      </a:lnTo>
                      <a:lnTo>
                        <a:pt x="59" y="166"/>
                      </a:lnTo>
                      <a:lnTo>
                        <a:pt x="38" y="154"/>
                      </a:lnTo>
                      <a:lnTo>
                        <a:pt x="21" y="133"/>
                      </a:lnTo>
                      <a:lnTo>
                        <a:pt x="31" y="109"/>
                      </a:lnTo>
                      <a:lnTo>
                        <a:pt x="5" y="92"/>
                      </a:lnTo>
                      <a:lnTo>
                        <a:pt x="0" y="67"/>
                      </a:lnTo>
                      <a:lnTo>
                        <a:pt x="16" y="76"/>
                      </a:lnTo>
                      <a:lnTo>
                        <a:pt x="31" y="59"/>
                      </a:lnTo>
                      <a:lnTo>
                        <a:pt x="59" y="59"/>
                      </a:lnTo>
                      <a:lnTo>
                        <a:pt x="97" y="26"/>
                      </a:lnTo>
                      <a:lnTo>
                        <a:pt x="151" y="10"/>
                      </a:lnTo>
                      <a:lnTo>
                        <a:pt x="163" y="10"/>
                      </a:lnTo>
                      <a:lnTo>
                        <a:pt x="151" y="5"/>
                      </a:lnTo>
                      <a:lnTo>
                        <a:pt x="151" y="0"/>
                      </a:lnTo>
                      <a:lnTo>
                        <a:pt x="168" y="5"/>
                      </a:lnTo>
                      <a:lnTo>
                        <a:pt x="177" y="22"/>
                      </a:lnTo>
                      <a:lnTo>
                        <a:pt x="194" y="22"/>
                      </a:lnTo>
                      <a:lnTo>
                        <a:pt x="201" y="22"/>
                      </a:lnTo>
                      <a:lnTo>
                        <a:pt x="201" y="5"/>
                      </a:lnTo>
                      <a:lnTo>
                        <a:pt x="217" y="5"/>
                      </a:lnTo>
                      <a:lnTo>
                        <a:pt x="231" y="26"/>
                      </a:lnTo>
                      <a:lnTo>
                        <a:pt x="286" y="38"/>
                      </a:lnTo>
                      <a:lnTo>
                        <a:pt x="302" y="43"/>
                      </a:lnTo>
                      <a:lnTo>
                        <a:pt x="286" y="59"/>
                      </a:lnTo>
                      <a:lnTo>
                        <a:pt x="314" y="92"/>
                      </a:lnTo>
                      <a:lnTo>
                        <a:pt x="347" y="76"/>
                      </a:lnTo>
                      <a:lnTo>
                        <a:pt x="340" y="59"/>
                      </a:lnTo>
                      <a:lnTo>
                        <a:pt x="368" y="76"/>
                      </a:lnTo>
                      <a:lnTo>
                        <a:pt x="394" y="67"/>
                      </a:lnTo>
                      <a:lnTo>
                        <a:pt x="394" y="76"/>
                      </a:lnTo>
                      <a:lnTo>
                        <a:pt x="385" y="83"/>
                      </a:lnTo>
                      <a:lnTo>
                        <a:pt x="394" y="92"/>
                      </a:lnTo>
                      <a:lnTo>
                        <a:pt x="411" y="100"/>
                      </a:lnTo>
                      <a:lnTo>
                        <a:pt x="418" y="92"/>
                      </a:lnTo>
                      <a:lnTo>
                        <a:pt x="456" y="109"/>
                      </a:lnTo>
                      <a:lnTo>
                        <a:pt x="456" y="121"/>
                      </a:lnTo>
                      <a:lnTo>
                        <a:pt x="472" y="133"/>
                      </a:lnTo>
                      <a:lnTo>
                        <a:pt x="472" y="149"/>
                      </a:lnTo>
                      <a:lnTo>
                        <a:pt x="456" y="149"/>
                      </a:lnTo>
                      <a:lnTo>
                        <a:pt x="432" y="166"/>
                      </a:lnTo>
                      <a:lnTo>
                        <a:pt x="418" y="187"/>
                      </a:lnTo>
                      <a:lnTo>
                        <a:pt x="394" y="204"/>
                      </a:lnTo>
                      <a:lnTo>
                        <a:pt x="357" y="204"/>
                      </a:lnTo>
                      <a:lnTo>
                        <a:pt x="340" y="225"/>
                      </a:lnTo>
                      <a:lnTo>
                        <a:pt x="340" y="225"/>
                      </a:lnTo>
                      <a:lnTo>
                        <a:pt x="340" y="22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24" name="Freeform 439">
                  <a:extLst>
                    <a:ext uri="{FF2B5EF4-FFF2-40B4-BE49-F238E27FC236}">
                      <a16:creationId xmlns:a16="http://schemas.microsoft.com/office/drawing/2014/main" id="{80C50B57-B5EE-4B82-BE7E-431DF1494287}"/>
                    </a:ext>
                  </a:extLst>
                </p:cNvPr>
                <p:cNvSpPr>
                  <a:spLocks noEditPoints="1"/>
                </p:cNvSpPr>
                <p:nvPr/>
              </p:nvSpPr>
              <p:spPr bwMode="gray">
                <a:xfrm>
                  <a:off x="7289401" y="1544949"/>
                  <a:ext cx="349097" cy="495706"/>
                </a:xfrm>
                <a:custGeom>
                  <a:avLst/>
                  <a:gdLst>
                    <a:gd name="T0" fmla="*/ 290 w 848"/>
                    <a:gd name="T1" fmla="*/ 448 h 1204"/>
                    <a:gd name="T2" fmla="*/ 290 w 848"/>
                    <a:gd name="T3" fmla="*/ 349 h 1204"/>
                    <a:gd name="T4" fmla="*/ 290 w 848"/>
                    <a:gd name="T5" fmla="*/ 267 h 1204"/>
                    <a:gd name="T6" fmla="*/ 113 w 848"/>
                    <a:gd name="T7" fmla="*/ 115 h 1204"/>
                    <a:gd name="T8" fmla="*/ 205 w 848"/>
                    <a:gd name="T9" fmla="*/ 172 h 1204"/>
                    <a:gd name="T10" fmla="*/ 399 w 848"/>
                    <a:gd name="T11" fmla="*/ 155 h 1204"/>
                    <a:gd name="T12" fmla="*/ 491 w 848"/>
                    <a:gd name="T13" fmla="*/ 16 h 1204"/>
                    <a:gd name="T14" fmla="*/ 685 w 848"/>
                    <a:gd name="T15" fmla="*/ 70 h 1204"/>
                    <a:gd name="T16" fmla="*/ 654 w 848"/>
                    <a:gd name="T17" fmla="*/ 155 h 1204"/>
                    <a:gd name="T18" fmla="*/ 739 w 848"/>
                    <a:gd name="T19" fmla="*/ 300 h 1204"/>
                    <a:gd name="T20" fmla="*/ 746 w 848"/>
                    <a:gd name="T21" fmla="*/ 538 h 1204"/>
                    <a:gd name="T22" fmla="*/ 729 w 848"/>
                    <a:gd name="T23" fmla="*/ 611 h 1204"/>
                    <a:gd name="T24" fmla="*/ 755 w 848"/>
                    <a:gd name="T25" fmla="*/ 666 h 1204"/>
                    <a:gd name="T26" fmla="*/ 777 w 848"/>
                    <a:gd name="T27" fmla="*/ 727 h 1204"/>
                    <a:gd name="T28" fmla="*/ 685 w 848"/>
                    <a:gd name="T29" fmla="*/ 1044 h 1204"/>
                    <a:gd name="T30" fmla="*/ 491 w 848"/>
                    <a:gd name="T31" fmla="*/ 1133 h 1204"/>
                    <a:gd name="T32" fmla="*/ 458 w 848"/>
                    <a:gd name="T33" fmla="*/ 1133 h 1204"/>
                    <a:gd name="T34" fmla="*/ 437 w 848"/>
                    <a:gd name="T35" fmla="*/ 1150 h 1204"/>
                    <a:gd name="T36" fmla="*/ 361 w 848"/>
                    <a:gd name="T37" fmla="*/ 1171 h 1204"/>
                    <a:gd name="T38" fmla="*/ 257 w 848"/>
                    <a:gd name="T39" fmla="*/ 1195 h 1204"/>
                    <a:gd name="T40" fmla="*/ 252 w 848"/>
                    <a:gd name="T41" fmla="*/ 1183 h 1204"/>
                    <a:gd name="T42" fmla="*/ 215 w 848"/>
                    <a:gd name="T43" fmla="*/ 1155 h 1204"/>
                    <a:gd name="T44" fmla="*/ 144 w 848"/>
                    <a:gd name="T45" fmla="*/ 1126 h 1204"/>
                    <a:gd name="T46" fmla="*/ 151 w 848"/>
                    <a:gd name="T47" fmla="*/ 1015 h 1204"/>
                    <a:gd name="T48" fmla="*/ 113 w 848"/>
                    <a:gd name="T49" fmla="*/ 892 h 1204"/>
                    <a:gd name="T50" fmla="*/ 134 w 848"/>
                    <a:gd name="T51" fmla="*/ 822 h 1204"/>
                    <a:gd name="T52" fmla="*/ 189 w 848"/>
                    <a:gd name="T53" fmla="*/ 800 h 1204"/>
                    <a:gd name="T54" fmla="*/ 236 w 848"/>
                    <a:gd name="T55" fmla="*/ 760 h 1204"/>
                    <a:gd name="T56" fmla="*/ 340 w 848"/>
                    <a:gd name="T57" fmla="*/ 670 h 1204"/>
                    <a:gd name="T58" fmla="*/ 399 w 848"/>
                    <a:gd name="T59" fmla="*/ 628 h 1204"/>
                    <a:gd name="T60" fmla="*/ 361 w 848"/>
                    <a:gd name="T61" fmla="*/ 543 h 1204"/>
                    <a:gd name="T62" fmla="*/ 328 w 848"/>
                    <a:gd name="T63" fmla="*/ 522 h 1204"/>
                    <a:gd name="T64" fmla="*/ 382 w 848"/>
                    <a:gd name="T65" fmla="*/ 616 h 1204"/>
                    <a:gd name="T66" fmla="*/ 236 w 848"/>
                    <a:gd name="T67" fmla="*/ 748 h 1204"/>
                    <a:gd name="T68" fmla="*/ 122 w 848"/>
                    <a:gd name="T69" fmla="*/ 817 h 1204"/>
                    <a:gd name="T70" fmla="*/ 189 w 848"/>
                    <a:gd name="T71" fmla="*/ 822 h 1204"/>
                    <a:gd name="T72" fmla="*/ 189 w 848"/>
                    <a:gd name="T73" fmla="*/ 822 h 1204"/>
                    <a:gd name="T74" fmla="*/ 122 w 848"/>
                    <a:gd name="T75" fmla="*/ 833 h 1204"/>
                    <a:gd name="T76" fmla="*/ 129 w 848"/>
                    <a:gd name="T77" fmla="*/ 1081 h 1204"/>
                    <a:gd name="T78" fmla="*/ 134 w 848"/>
                    <a:gd name="T79" fmla="*/ 1126 h 1204"/>
                    <a:gd name="T80" fmla="*/ 160 w 848"/>
                    <a:gd name="T81" fmla="*/ 1138 h 1204"/>
                    <a:gd name="T82" fmla="*/ 26 w 848"/>
                    <a:gd name="T83" fmla="*/ 1183 h 1204"/>
                    <a:gd name="T84" fmla="*/ 26 w 848"/>
                    <a:gd name="T85" fmla="*/ 1150 h 1204"/>
                    <a:gd name="T86" fmla="*/ 42 w 848"/>
                    <a:gd name="T87" fmla="*/ 1155 h 1204"/>
                    <a:gd name="T88" fmla="*/ 26 w 848"/>
                    <a:gd name="T89" fmla="*/ 1183 h 1204"/>
                    <a:gd name="T90" fmla="*/ 198 w 848"/>
                    <a:gd name="T91" fmla="*/ 1150 h 1204"/>
                    <a:gd name="T92" fmla="*/ 198 w 848"/>
                    <a:gd name="T93" fmla="*/ 1150 h 1204"/>
                    <a:gd name="T94" fmla="*/ 432 w 848"/>
                    <a:gd name="T95" fmla="*/ 1150 h 1204"/>
                    <a:gd name="T96" fmla="*/ 59 w 848"/>
                    <a:gd name="T97" fmla="*/ 1166 h 1204"/>
                    <a:gd name="T98" fmla="*/ 59 w 848"/>
                    <a:gd name="T99" fmla="*/ 1166 h 1204"/>
                    <a:gd name="T100" fmla="*/ 4 w 848"/>
                    <a:gd name="T101" fmla="*/ 1171 h 1204"/>
                    <a:gd name="T102" fmla="*/ 205 w 848"/>
                    <a:gd name="T103" fmla="*/ 1155 h 1204"/>
                    <a:gd name="T104" fmla="*/ 215 w 848"/>
                    <a:gd name="T105" fmla="*/ 1183 h 1204"/>
                    <a:gd name="T106" fmla="*/ 177 w 848"/>
                    <a:gd name="T107" fmla="*/ 1166 h 1204"/>
                    <a:gd name="T108" fmla="*/ 160 w 848"/>
                    <a:gd name="T109" fmla="*/ 1171 h 1204"/>
                    <a:gd name="T110" fmla="*/ 59 w 848"/>
                    <a:gd name="T111" fmla="*/ 1171 h 1204"/>
                    <a:gd name="T112" fmla="*/ 52 w 848"/>
                    <a:gd name="T113" fmla="*/ 1171 h 1204"/>
                    <a:gd name="T114" fmla="*/ 42 w 848"/>
                    <a:gd name="T115" fmla="*/ 1171 h 1204"/>
                    <a:gd name="T116" fmla="*/ 205 w 848"/>
                    <a:gd name="T117" fmla="*/ 1171 h 1204"/>
                    <a:gd name="T118" fmla="*/ 243 w 848"/>
                    <a:gd name="T119" fmla="*/ 1195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8" h="1204">
                      <a:moveTo>
                        <a:pt x="328" y="522"/>
                      </a:moveTo>
                      <a:lnTo>
                        <a:pt x="311" y="489"/>
                      </a:lnTo>
                      <a:lnTo>
                        <a:pt x="297" y="481"/>
                      </a:lnTo>
                      <a:lnTo>
                        <a:pt x="290" y="465"/>
                      </a:lnTo>
                      <a:lnTo>
                        <a:pt x="290" y="448"/>
                      </a:lnTo>
                      <a:lnTo>
                        <a:pt x="307" y="432"/>
                      </a:lnTo>
                      <a:lnTo>
                        <a:pt x="307" y="411"/>
                      </a:lnTo>
                      <a:lnTo>
                        <a:pt x="311" y="404"/>
                      </a:lnTo>
                      <a:lnTo>
                        <a:pt x="285" y="361"/>
                      </a:lnTo>
                      <a:lnTo>
                        <a:pt x="290" y="349"/>
                      </a:lnTo>
                      <a:lnTo>
                        <a:pt x="297" y="349"/>
                      </a:lnTo>
                      <a:lnTo>
                        <a:pt x="297" y="333"/>
                      </a:lnTo>
                      <a:lnTo>
                        <a:pt x="274" y="321"/>
                      </a:lnTo>
                      <a:lnTo>
                        <a:pt x="274" y="276"/>
                      </a:lnTo>
                      <a:lnTo>
                        <a:pt x="290" y="267"/>
                      </a:lnTo>
                      <a:lnTo>
                        <a:pt x="236" y="210"/>
                      </a:lnTo>
                      <a:lnTo>
                        <a:pt x="177" y="193"/>
                      </a:lnTo>
                      <a:lnTo>
                        <a:pt x="75" y="127"/>
                      </a:lnTo>
                      <a:lnTo>
                        <a:pt x="106" y="132"/>
                      </a:lnTo>
                      <a:lnTo>
                        <a:pt x="113" y="115"/>
                      </a:lnTo>
                      <a:lnTo>
                        <a:pt x="106" y="111"/>
                      </a:lnTo>
                      <a:lnTo>
                        <a:pt x="129" y="94"/>
                      </a:lnTo>
                      <a:lnTo>
                        <a:pt x="151" y="99"/>
                      </a:lnTo>
                      <a:lnTo>
                        <a:pt x="198" y="155"/>
                      </a:lnTo>
                      <a:lnTo>
                        <a:pt x="205" y="172"/>
                      </a:lnTo>
                      <a:lnTo>
                        <a:pt x="257" y="181"/>
                      </a:lnTo>
                      <a:lnTo>
                        <a:pt x="311" y="155"/>
                      </a:lnTo>
                      <a:lnTo>
                        <a:pt x="382" y="189"/>
                      </a:lnTo>
                      <a:lnTo>
                        <a:pt x="394" y="181"/>
                      </a:lnTo>
                      <a:lnTo>
                        <a:pt x="399" y="155"/>
                      </a:lnTo>
                      <a:lnTo>
                        <a:pt x="432" y="148"/>
                      </a:lnTo>
                      <a:lnTo>
                        <a:pt x="437" y="132"/>
                      </a:lnTo>
                      <a:lnTo>
                        <a:pt x="437" y="99"/>
                      </a:lnTo>
                      <a:lnTo>
                        <a:pt x="453" y="44"/>
                      </a:lnTo>
                      <a:lnTo>
                        <a:pt x="491" y="16"/>
                      </a:lnTo>
                      <a:lnTo>
                        <a:pt x="529" y="21"/>
                      </a:lnTo>
                      <a:lnTo>
                        <a:pt x="595" y="0"/>
                      </a:lnTo>
                      <a:lnTo>
                        <a:pt x="621" y="28"/>
                      </a:lnTo>
                      <a:lnTo>
                        <a:pt x="675" y="44"/>
                      </a:lnTo>
                      <a:lnTo>
                        <a:pt x="685" y="70"/>
                      </a:lnTo>
                      <a:lnTo>
                        <a:pt x="654" y="99"/>
                      </a:lnTo>
                      <a:lnTo>
                        <a:pt x="654" y="115"/>
                      </a:lnTo>
                      <a:lnTo>
                        <a:pt x="663" y="127"/>
                      </a:lnTo>
                      <a:lnTo>
                        <a:pt x="621" y="148"/>
                      </a:lnTo>
                      <a:lnTo>
                        <a:pt x="654" y="155"/>
                      </a:lnTo>
                      <a:lnTo>
                        <a:pt x="633" y="193"/>
                      </a:lnTo>
                      <a:lnTo>
                        <a:pt x="647" y="238"/>
                      </a:lnTo>
                      <a:lnTo>
                        <a:pt x="692" y="250"/>
                      </a:lnTo>
                      <a:lnTo>
                        <a:pt x="718" y="283"/>
                      </a:lnTo>
                      <a:lnTo>
                        <a:pt x="739" y="300"/>
                      </a:lnTo>
                      <a:lnTo>
                        <a:pt x="729" y="316"/>
                      </a:lnTo>
                      <a:lnTo>
                        <a:pt x="675" y="378"/>
                      </a:lnTo>
                      <a:lnTo>
                        <a:pt x="670" y="394"/>
                      </a:lnTo>
                      <a:lnTo>
                        <a:pt x="729" y="489"/>
                      </a:lnTo>
                      <a:lnTo>
                        <a:pt x="746" y="538"/>
                      </a:lnTo>
                      <a:lnTo>
                        <a:pt x="725" y="543"/>
                      </a:lnTo>
                      <a:lnTo>
                        <a:pt x="718" y="576"/>
                      </a:lnTo>
                      <a:lnTo>
                        <a:pt x="708" y="592"/>
                      </a:lnTo>
                      <a:lnTo>
                        <a:pt x="725" y="592"/>
                      </a:lnTo>
                      <a:lnTo>
                        <a:pt x="729" y="611"/>
                      </a:lnTo>
                      <a:lnTo>
                        <a:pt x="708" y="611"/>
                      </a:lnTo>
                      <a:lnTo>
                        <a:pt x="708" y="633"/>
                      </a:lnTo>
                      <a:lnTo>
                        <a:pt x="725" y="637"/>
                      </a:lnTo>
                      <a:lnTo>
                        <a:pt x="746" y="649"/>
                      </a:lnTo>
                      <a:lnTo>
                        <a:pt x="755" y="666"/>
                      </a:lnTo>
                      <a:lnTo>
                        <a:pt x="739" y="670"/>
                      </a:lnTo>
                      <a:lnTo>
                        <a:pt x="746" y="682"/>
                      </a:lnTo>
                      <a:lnTo>
                        <a:pt x="739" y="687"/>
                      </a:lnTo>
                      <a:lnTo>
                        <a:pt x="777" y="711"/>
                      </a:lnTo>
                      <a:lnTo>
                        <a:pt x="777" y="727"/>
                      </a:lnTo>
                      <a:lnTo>
                        <a:pt x="739" y="765"/>
                      </a:lnTo>
                      <a:lnTo>
                        <a:pt x="826" y="822"/>
                      </a:lnTo>
                      <a:lnTo>
                        <a:pt x="848" y="859"/>
                      </a:lnTo>
                      <a:lnTo>
                        <a:pt x="826" y="904"/>
                      </a:lnTo>
                      <a:lnTo>
                        <a:pt x="685" y="1044"/>
                      </a:lnTo>
                      <a:lnTo>
                        <a:pt x="583" y="1126"/>
                      </a:lnTo>
                      <a:lnTo>
                        <a:pt x="562" y="1133"/>
                      </a:lnTo>
                      <a:lnTo>
                        <a:pt x="540" y="1117"/>
                      </a:lnTo>
                      <a:lnTo>
                        <a:pt x="524" y="1133"/>
                      </a:lnTo>
                      <a:lnTo>
                        <a:pt x="491" y="1133"/>
                      </a:lnTo>
                      <a:lnTo>
                        <a:pt x="503" y="1117"/>
                      </a:lnTo>
                      <a:lnTo>
                        <a:pt x="507" y="1117"/>
                      </a:lnTo>
                      <a:lnTo>
                        <a:pt x="503" y="1110"/>
                      </a:lnTo>
                      <a:lnTo>
                        <a:pt x="486" y="1138"/>
                      </a:lnTo>
                      <a:lnTo>
                        <a:pt x="458" y="1133"/>
                      </a:lnTo>
                      <a:lnTo>
                        <a:pt x="458" y="1150"/>
                      </a:lnTo>
                      <a:lnTo>
                        <a:pt x="458" y="1150"/>
                      </a:lnTo>
                      <a:lnTo>
                        <a:pt x="448" y="1138"/>
                      </a:lnTo>
                      <a:lnTo>
                        <a:pt x="453" y="1155"/>
                      </a:lnTo>
                      <a:lnTo>
                        <a:pt x="437" y="1150"/>
                      </a:lnTo>
                      <a:lnTo>
                        <a:pt x="448" y="1155"/>
                      </a:lnTo>
                      <a:lnTo>
                        <a:pt x="437" y="1155"/>
                      </a:lnTo>
                      <a:lnTo>
                        <a:pt x="432" y="1138"/>
                      </a:lnTo>
                      <a:lnTo>
                        <a:pt x="420" y="1155"/>
                      </a:lnTo>
                      <a:lnTo>
                        <a:pt x="361" y="1171"/>
                      </a:lnTo>
                      <a:lnTo>
                        <a:pt x="349" y="1183"/>
                      </a:lnTo>
                      <a:lnTo>
                        <a:pt x="340" y="1171"/>
                      </a:lnTo>
                      <a:lnTo>
                        <a:pt x="274" y="1188"/>
                      </a:lnTo>
                      <a:lnTo>
                        <a:pt x="285" y="1171"/>
                      </a:lnTo>
                      <a:lnTo>
                        <a:pt x="257" y="1195"/>
                      </a:lnTo>
                      <a:lnTo>
                        <a:pt x="236" y="1204"/>
                      </a:lnTo>
                      <a:lnTo>
                        <a:pt x="269" y="1183"/>
                      </a:lnTo>
                      <a:lnTo>
                        <a:pt x="252" y="1188"/>
                      </a:lnTo>
                      <a:lnTo>
                        <a:pt x="257" y="1183"/>
                      </a:lnTo>
                      <a:lnTo>
                        <a:pt x="252" y="1183"/>
                      </a:lnTo>
                      <a:lnTo>
                        <a:pt x="243" y="1171"/>
                      </a:lnTo>
                      <a:lnTo>
                        <a:pt x="243" y="1171"/>
                      </a:lnTo>
                      <a:lnTo>
                        <a:pt x="236" y="1166"/>
                      </a:lnTo>
                      <a:lnTo>
                        <a:pt x="252" y="1150"/>
                      </a:lnTo>
                      <a:lnTo>
                        <a:pt x="215" y="1155"/>
                      </a:lnTo>
                      <a:lnTo>
                        <a:pt x="205" y="1155"/>
                      </a:lnTo>
                      <a:lnTo>
                        <a:pt x="219" y="1138"/>
                      </a:lnTo>
                      <a:lnTo>
                        <a:pt x="160" y="1133"/>
                      </a:lnTo>
                      <a:lnTo>
                        <a:pt x="160" y="1117"/>
                      </a:lnTo>
                      <a:lnTo>
                        <a:pt x="144" y="1126"/>
                      </a:lnTo>
                      <a:lnTo>
                        <a:pt x="129" y="1110"/>
                      </a:lnTo>
                      <a:lnTo>
                        <a:pt x="129" y="1081"/>
                      </a:lnTo>
                      <a:lnTo>
                        <a:pt x="144" y="1039"/>
                      </a:lnTo>
                      <a:lnTo>
                        <a:pt x="134" y="1015"/>
                      </a:lnTo>
                      <a:lnTo>
                        <a:pt x="151" y="1015"/>
                      </a:lnTo>
                      <a:lnTo>
                        <a:pt x="122" y="966"/>
                      </a:lnTo>
                      <a:lnTo>
                        <a:pt x="129" y="944"/>
                      </a:lnTo>
                      <a:lnTo>
                        <a:pt x="129" y="928"/>
                      </a:lnTo>
                      <a:lnTo>
                        <a:pt x="113" y="911"/>
                      </a:lnTo>
                      <a:lnTo>
                        <a:pt x="113" y="892"/>
                      </a:lnTo>
                      <a:lnTo>
                        <a:pt x="113" y="876"/>
                      </a:lnTo>
                      <a:lnTo>
                        <a:pt x="129" y="859"/>
                      </a:lnTo>
                      <a:lnTo>
                        <a:pt x="134" y="850"/>
                      </a:lnTo>
                      <a:lnTo>
                        <a:pt x="151" y="850"/>
                      </a:lnTo>
                      <a:lnTo>
                        <a:pt x="134" y="822"/>
                      </a:lnTo>
                      <a:lnTo>
                        <a:pt x="167" y="822"/>
                      </a:lnTo>
                      <a:lnTo>
                        <a:pt x="177" y="833"/>
                      </a:lnTo>
                      <a:lnTo>
                        <a:pt x="198" y="822"/>
                      </a:lnTo>
                      <a:lnTo>
                        <a:pt x="198" y="817"/>
                      </a:lnTo>
                      <a:lnTo>
                        <a:pt x="189" y="800"/>
                      </a:lnTo>
                      <a:lnTo>
                        <a:pt x="198" y="793"/>
                      </a:lnTo>
                      <a:lnTo>
                        <a:pt x="205" y="800"/>
                      </a:lnTo>
                      <a:lnTo>
                        <a:pt x="215" y="765"/>
                      </a:lnTo>
                      <a:lnTo>
                        <a:pt x="231" y="781"/>
                      </a:lnTo>
                      <a:lnTo>
                        <a:pt x="236" y="760"/>
                      </a:lnTo>
                      <a:lnTo>
                        <a:pt x="269" y="748"/>
                      </a:lnTo>
                      <a:lnTo>
                        <a:pt x="274" y="727"/>
                      </a:lnTo>
                      <a:lnTo>
                        <a:pt x="290" y="727"/>
                      </a:lnTo>
                      <a:lnTo>
                        <a:pt x="311" y="687"/>
                      </a:lnTo>
                      <a:lnTo>
                        <a:pt x="340" y="670"/>
                      </a:lnTo>
                      <a:lnTo>
                        <a:pt x="349" y="637"/>
                      </a:lnTo>
                      <a:lnTo>
                        <a:pt x="394" y="633"/>
                      </a:lnTo>
                      <a:lnTo>
                        <a:pt x="403" y="637"/>
                      </a:lnTo>
                      <a:lnTo>
                        <a:pt x="415" y="633"/>
                      </a:lnTo>
                      <a:lnTo>
                        <a:pt x="399" y="628"/>
                      </a:lnTo>
                      <a:lnTo>
                        <a:pt x="415" y="628"/>
                      </a:lnTo>
                      <a:lnTo>
                        <a:pt x="403" y="600"/>
                      </a:lnTo>
                      <a:lnTo>
                        <a:pt x="415" y="571"/>
                      </a:lnTo>
                      <a:lnTo>
                        <a:pt x="403" y="559"/>
                      </a:lnTo>
                      <a:lnTo>
                        <a:pt x="361" y="543"/>
                      </a:lnTo>
                      <a:lnTo>
                        <a:pt x="349" y="526"/>
                      </a:lnTo>
                      <a:lnTo>
                        <a:pt x="361" y="517"/>
                      </a:lnTo>
                      <a:lnTo>
                        <a:pt x="344" y="526"/>
                      </a:lnTo>
                      <a:lnTo>
                        <a:pt x="328" y="522"/>
                      </a:lnTo>
                      <a:lnTo>
                        <a:pt x="328" y="522"/>
                      </a:lnTo>
                      <a:lnTo>
                        <a:pt x="328" y="522"/>
                      </a:lnTo>
                      <a:close/>
                      <a:moveTo>
                        <a:pt x="382" y="616"/>
                      </a:moveTo>
                      <a:lnTo>
                        <a:pt x="366" y="628"/>
                      </a:lnTo>
                      <a:lnTo>
                        <a:pt x="349" y="616"/>
                      </a:lnTo>
                      <a:lnTo>
                        <a:pt x="382" y="616"/>
                      </a:lnTo>
                      <a:lnTo>
                        <a:pt x="382" y="616"/>
                      </a:lnTo>
                      <a:lnTo>
                        <a:pt x="382" y="616"/>
                      </a:lnTo>
                      <a:close/>
                      <a:moveTo>
                        <a:pt x="236" y="760"/>
                      </a:moveTo>
                      <a:lnTo>
                        <a:pt x="219" y="760"/>
                      </a:lnTo>
                      <a:lnTo>
                        <a:pt x="236" y="748"/>
                      </a:lnTo>
                      <a:lnTo>
                        <a:pt x="236" y="760"/>
                      </a:lnTo>
                      <a:lnTo>
                        <a:pt x="236" y="760"/>
                      </a:lnTo>
                      <a:lnTo>
                        <a:pt x="236" y="760"/>
                      </a:lnTo>
                      <a:close/>
                      <a:moveTo>
                        <a:pt x="129" y="817"/>
                      </a:moveTo>
                      <a:lnTo>
                        <a:pt x="122" y="817"/>
                      </a:lnTo>
                      <a:lnTo>
                        <a:pt x="129" y="817"/>
                      </a:lnTo>
                      <a:lnTo>
                        <a:pt x="129" y="817"/>
                      </a:lnTo>
                      <a:lnTo>
                        <a:pt x="129" y="817"/>
                      </a:lnTo>
                      <a:lnTo>
                        <a:pt x="129" y="817"/>
                      </a:lnTo>
                      <a:close/>
                      <a:moveTo>
                        <a:pt x="189" y="822"/>
                      </a:moveTo>
                      <a:lnTo>
                        <a:pt x="177" y="817"/>
                      </a:lnTo>
                      <a:lnTo>
                        <a:pt x="189" y="817"/>
                      </a:lnTo>
                      <a:lnTo>
                        <a:pt x="189" y="822"/>
                      </a:lnTo>
                      <a:lnTo>
                        <a:pt x="189" y="822"/>
                      </a:lnTo>
                      <a:lnTo>
                        <a:pt x="189" y="822"/>
                      </a:lnTo>
                      <a:close/>
                      <a:moveTo>
                        <a:pt x="122" y="833"/>
                      </a:moveTo>
                      <a:lnTo>
                        <a:pt x="113" y="817"/>
                      </a:lnTo>
                      <a:lnTo>
                        <a:pt x="134" y="822"/>
                      </a:lnTo>
                      <a:lnTo>
                        <a:pt x="122" y="833"/>
                      </a:lnTo>
                      <a:lnTo>
                        <a:pt x="122" y="833"/>
                      </a:lnTo>
                      <a:lnTo>
                        <a:pt x="122" y="833"/>
                      </a:lnTo>
                      <a:close/>
                      <a:moveTo>
                        <a:pt x="129" y="1081"/>
                      </a:moveTo>
                      <a:lnTo>
                        <a:pt x="122" y="1077"/>
                      </a:lnTo>
                      <a:lnTo>
                        <a:pt x="129" y="1081"/>
                      </a:lnTo>
                      <a:lnTo>
                        <a:pt x="129" y="1081"/>
                      </a:lnTo>
                      <a:lnTo>
                        <a:pt x="129" y="1081"/>
                      </a:lnTo>
                      <a:lnTo>
                        <a:pt x="129" y="1081"/>
                      </a:lnTo>
                      <a:close/>
                      <a:moveTo>
                        <a:pt x="134" y="1133"/>
                      </a:moveTo>
                      <a:lnTo>
                        <a:pt x="129" y="1126"/>
                      </a:lnTo>
                      <a:lnTo>
                        <a:pt x="134" y="1126"/>
                      </a:lnTo>
                      <a:lnTo>
                        <a:pt x="134" y="1133"/>
                      </a:lnTo>
                      <a:lnTo>
                        <a:pt x="134" y="1133"/>
                      </a:lnTo>
                      <a:lnTo>
                        <a:pt x="134" y="1133"/>
                      </a:lnTo>
                      <a:close/>
                      <a:moveTo>
                        <a:pt x="177" y="1150"/>
                      </a:moveTo>
                      <a:lnTo>
                        <a:pt x="160" y="1138"/>
                      </a:lnTo>
                      <a:lnTo>
                        <a:pt x="160" y="1133"/>
                      </a:lnTo>
                      <a:lnTo>
                        <a:pt x="177" y="1150"/>
                      </a:lnTo>
                      <a:lnTo>
                        <a:pt x="177" y="1150"/>
                      </a:lnTo>
                      <a:lnTo>
                        <a:pt x="177" y="1150"/>
                      </a:lnTo>
                      <a:close/>
                      <a:moveTo>
                        <a:pt x="26" y="1183"/>
                      </a:moveTo>
                      <a:lnTo>
                        <a:pt x="21" y="1171"/>
                      </a:lnTo>
                      <a:lnTo>
                        <a:pt x="14" y="1155"/>
                      </a:lnTo>
                      <a:lnTo>
                        <a:pt x="21" y="1150"/>
                      </a:lnTo>
                      <a:lnTo>
                        <a:pt x="21" y="1166"/>
                      </a:lnTo>
                      <a:lnTo>
                        <a:pt x="26" y="1150"/>
                      </a:lnTo>
                      <a:lnTo>
                        <a:pt x="21" y="1138"/>
                      </a:lnTo>
                      <a:lnTo>
                        <a:pt x="26" y="1138"/>
                      </a:lnTo>
                      <a:lnTo>
                        <a:pt x="52" y="1150"/>
                      </a:lnTo>
                      <a:lnTo>
                        <a:pt x="42" y="1166"/>
                      </a:lnTo>
                      <a:lnTo>
                        <a:pt x="42" y="1155"/>
                      </a:lnTo>
                      <a:lnTo>
                        <a:pt x="37" y="1150"/>
                      </a:lnTo>
                      <a:lnTo>
                        <a:pt x="26" y="1155"/>
                      </a:lnTo>
                      <a:lnTo>
                        <a:pt x="37" y="1171"/>
                      </a:lnTo>
                      <a:lnTo>
                        <a:pt x="26" y="1183"/>
                      </a:lnTo>
                      <a:lnTo>
                        <a:pt x="26" y="1183"/>
                      </a:lnTo>
                      <a:lnTo>
                        <a:pt x="26" y="1183"/>
                      </a:lnTo>
                      <a:close/>
                      <a:moveTo>
                        <a:pt x="198" y="1150"/>
                      </a:moveTo>
                      <a:lnTo>
                        <a:pt x="198" y="1150"/>
                      </a:lnTo>
                      <a:lnTo>
                        <a:pt x="205" y="1150"/>
                      </a:lnTo>
                      <a:lnTo>
                        <a:pt x="198" y="1150"/>
                      </a:lnTo>
                      <a:lnTo>
                        <a:pt x="198" y="1150"/>
                      </a:lnTo>
                      <a:lnTo>
                        <a:pt x="198" y="1150"/>
                      </a:lnTo>
                      <a:close/>
                      <a:moveTo>
                        <a:pt x="189" y="1155"/>
                      </a:moveTo>
                      <a:lnTo>
                        <a:pt x="181" y="1150"/>
                      </a:lnTo>
                      <a:lnTo>
                        <a:pt x="198" y="1150"/>
                      </a:lnTo>
                      <a:lnTo>
                        <a:pt x="189" y="1155"/>
                      </a:lnTo>
                      <a:lnTo>
                        <a:pt x="189" y="1155"/>
                      </a:lnTo>
                      <a:lnTo>
                        <a:pt x="189" y="1155"/>
                      </a:lnTo>
                      <a:close/>
                      <a:moveTo>
                        <a:pt x="432" y="1166"/>
                      </a:moveTo>
                      <a:lnTo>
                        <a:pt x="432" y="1150"/>
                      </a:lnTo>
                      <a:lnTo>
                        <a:pt x="432" y="1155"/>
                      </a:lnTo>
                      <a:lnTo>
                        <a:pt x="432" y="1166"/>
                      </a:lnTo>
                      <a:lnTo>
                        <a:pt x="432" y="1166"/>
                      </a:lnTo>
                      <a:lnTo>
                        <a:pt x="432" y="1166"/>
                      </a:lnTo>
                      <a:close/>
                      <a:moveTo>
                        <a:pt x="59" y="1166"/>
                      </a:moveTo>
                      <a:lnTo>
                        <a:pt x="59" y="1155"/>
                      </a:lnTo>
                      <a:lnTo>
                        <a:pt x="68" y="1155"/>
                      </a:lnTo>
                      <a:lnTo>
                        <a:pt x="59" y="1166"/>
                      </a:lnTo>
                      <a:lnTo>
                        <a:pt x="59" y="1166"/>
                      </a:lnTo>
                      <a:lnTo>
                        <a:pt x="59" y="1166"/>
                      </a:lnTo>
                      <a:close/>
                      <a:moveTo>
                        <a:pt x="4" y="1171"/>
                      </a:moveTo>
                      <a:lnTo>
                        <a:pt x="0" y="1166"/>
                      </a:lnTo>
                      <a:lnTo>
                        <a:pt x="4" y="1155"/>
                      </a:lnTo>
                      <a:lnTo>
                        <a:pt x="14" y="1166"/>
                      </a:lnTo>
                      <a:lnTo>
                        <a:pt x="4" y="1171"/>
                      </a:lnTo>
                      <a:lnTo>
                        <a:pt x="4" y="1171"/>
                      </a:lnTo>
                      <a:lnTo>
                        <a:pt x="4" y="1171"/>
                      </a:lnTo>
                      <a:close/>
                      <a:moveTo>
                        <a:pt x="215" y="1183"/>
                      </a:moveTo>
                      <a:lnTo>
                        <a:pt x="205" y="1183"/>
                      </a:lnTo>
                      <a:lnTo>
                        <a:pt x="205" y="1155"/>
                      </a:lnTo>
                      <a:lnTo>
                        <a:pt x="236" y="1155"/>
                      </a:lnTo>
                      <a:lnTo>
                        <a:pt x="236" y="1171"/>
                      </a:lnTo>
                      <a:lnTo>
                        <a:pt x="215" y="1183"/>
                      </a:lnTo>
                      <a:lnTo>
                        <a:pt x="215" y="1183"/>
                      </a:lnTo>
                      <a:lnTo>
                        <a:pt x="215" y="1183"/>
                      </a:lnTo>
                      <a:close/>
                      <a:moveTo>
                        <a:pt x="177" y="1166"/>
                      </a:moveTo>
                      <a:lnTo>
                        <a:pt x="167" y="1166"/>
                      </a:lnTo>
                      <a:lnTo>
                        <a:pt x="181" y="1166"/>
                      </a:lnTo>
                      <a:lnTo>
                        <a:pt x="177" y="1166"/>
                      </a:lnTo>
                      <a:lnTo>
                        <a:pt x="177" y="1166"/>
                      </a:lnTo>
                      <a:lnTo>
                        <a:pt x="177" y="1166"/>
                      </a:lnTo>
                      <a:close/>
                      <a:moveTo>
                        <a:pt x="160" y="1171"/>
                      </a:moveTo>
                      <a:lnTo>
                        <a:pt x="151" y="1166"/>
                      </a:lnTo>
                      <a:lnTo>
                        <a:pt x="167" y="1166"/>
                      </a:lnTo>
                      <a:lnTo>
                        <a:pt x="160" y="1171"/>
                      </a:lnTo>
                      <a:lnTo>
                        <a:pt x="160" y="1171"/>
                      </a:lnTo>
                      <a:lnTo>
                        <a:pt x="160" y="1171"/>
                      </a:lnTo>
                      <a:close/>
                      <a:moveTo>
                        <a:pt x="52" y="1171"/>
                      </a:moveTo>
                      <a:lnTo>
                        <a:pt x="52" y="1166"/>
                      </a:lnTo>
                      <a:lnTo>
                        <a:pt x="59" y="1171"/>
                      </a:lnTo>
                      <a:lnTo>
                        <a:pt x="52" y="1171"/>
                      </a:lnTo>
                      <a:lnTo>
                        <a:pt x="52" y="1171"/>
                      </a:lnTo>
                      <a:lnTo>
                        <a:pt x="52" y="1171"/>
                      </a:lnTo>
                      <a:close/>
                      <a:moveTo>
                        <a:pt x="42" y="1171"/>
                      </a:moveTo>
                      <a:lnTo>
                        <a:pt x="52" y="1171"/>
                      </a:lnTo>
                      <a:lnTo>
                        <a:pt x="52" y="1183"/>
                      </a:lnTo>
                      <a:lnTo>
                        <a:pt x="37" y="1171"/>
                      </a:lnTo>
                      <a:lnTo>
                        <a:pt x="42" y="1171"/>
                      </a:lnTo>
                      <a:lnTo>
                        <a:pt x="42" y="1171"/>
                      </a:lnTo>
                      <a:lnTo>
                        <a:pt x="42" y="1171"/>
                      </a:lnTo>
                      <a:close/>
                      <a:moveTo>
                        <a:pt x="205" y="1171"/>
                      </a:moveTo>
                      <a:lnTo>
                        <a:pt x="198" y="1183"/>
                      </a:lnTo>
                      <a:lnTo>
                        <a:pt x="198" y="1171"/>
                      </a:lnTo>
                      <a:lnTo>
                        <a:pt x="205" y="1171"/>
                      </a:lnTo>
                      <a:lnTo>
                        <a:pt x="205" y="1171"/>
                      </a:lnTo>
                      <a:lnTo>
                        <a:pt x="205" y="1171"/>
                      </a:lnTo>
                      <a:close/>
                      <a:moveTo>
                        <a:pt x="243" y="1195"/>
                      </a:moveTo>
                      <a:lnTo>
                        <a:pt x="231" y="1188"/>
                      </a:lnTo>
                      <a:lnTo>
                        <a:pt x="252" y="1188"/>
                      </a:lnTo>
                      <a:lnTo>
                        <a:pt x="243" y="1195"/>
                      </a:lnTo>
                      <a:lnTo>
                        <a:pt x="243" y="1195"/>
                      </a:lnTo>
                      <a:lnTo>
                        <a:pt x="243" y="119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25" name="Freeform 443">
                  <a:extLst>
                    <a:ext uri="{FF2B5EF4-FFF2-40B4-BE49-F238E27FC236}">
                      <a16:creationId xmlns:a16="http://schemas.microsoft.com/office/drawing/2014/main" id="{4A8962EF-DB0E-4DCB-8B43-EDC1997ECCDC}"/>
                    </a:ext>
                  </a:extLst>
                </p:cNvPr>
                <p:cNvSpPr>
                  <a:spLocks noEditPoints="1"/>
                </p:cNvSpPr>
                <p:nvPr/>
              </p:nvSpPr>
              <p:spPr bwMode="gray">
                <a:xfrm>
                  <a:off x="6511344" y="1926197"/>
                  <a:ext cx="30053" cy="40760"/>
                </a:xfrm>
                <a:custGeom>
                  <a:avLst/>
                  <a:gdLst>
                    <a:gd name="T0" fmla="*/ 64 w 73"/>
                    <a:gd name="T1" fmla="*/ 16 h 99"/>
                    <a:gd name="T2" fmla="*/ 56 w 73"/>
                    <a:gd name="T3" fmla="*/ 4 h 99"/>
                    <a:gd name="T4" fmla="*/ 64 w 73"/>
                    <a:gd name="T5" fmla="*/ 0 h 99"/>
                    <a:gd name="T6" fmla="*/ 73 w 73"/>
                    <a:gd name="T7" fmla="*/ 4 h 99"/>
                    <a:gd name="T8" fmla="*/ 64 w 73"/>
                    <a:gd name="T9" fmla="*/ 16 h 99"/>
                    <a:gd name="T10" fmla="*/ 64 w 73"/>
                    <a:gd name="T11" fmla="*/ 16 h 99"/>
                    <a:gd name="T12" fmla="*/ 64 w 73"/>
                    <a:gd name="T13" fmla="*/ 16 h 99"/>
                    <a:gd name="T14" fmla="*/ 52 w 73"/>
                    <a:gd name="T15" fmla="*/ 33 h 99"/>
                    <a:gd name="T16" fmla="*/ 26 w 73"/>
                    <a:gd name="T17" fmla="*/ 0 h 99"/>
                    <a:gd name="T18" fmla="*/ 56 w 73"/>
                    <a:gd name="T19" fmla="*/ 16 h 99"/>
                    <a:gd name="T20" fmla="*/ 52 w 73"/>
                    <a:gd name="T21" fmla="*/ 33 h 99"/>
                    <a:gd name="T22" fmla="*/ 52 w 73"/>
                    <a:gd name="T23" fmla="*/ 33 h 99"/>
                    <a:gd name="T24" fmla="*/ 52 w 73"/>
                    <a:gd name="T25" fmla="*/ 33 h 99"/>
                    <a:gd name="T26" fmla="*/ 52 w 73"/>
                    <a:gd name="T27" fmla="*/ 44 h 99"/>
                    <a:gd name="T28" fmla="*/ 12 w 73"/>
                    <a:gd name="T29" fmla="*/ 16 h 99"/>
                    <a:gd name="T30" fmla="*/ 12 w 73"/>
                    <a:gd name="T31" fmla="*/ 4 h 99"/>
                    <a:gd name="T32" fmla="*/ 26 w 73"/>
                    <a:gd name="T33" fmla="*/ 4 h 99"/>
                    <a:gd name="T34" fmla="*/ 42 w 73"/>
                    <a:gd name="T35" fmla="*/ 21 h 99"/>
                    <a:gd name="T36" fmla="*/ 52 w 73"/>
                    <a:gd name="T37" fmla="*/ 44 h 99"/>
                    <a:gd name="T38" fmla="*/ 52 w 73"/>
                    <a:gd name="T39" fmla="*/ 44 h 99"/>
                    <a:gd name="T40" fmla="*/ 52 w 73"/>
                    <a:gd name="T41" fmla="*/ 44 h 99"/>
                    <a:gd name="T42" fmla="*/ 21 w 73"/>
                    <a:gd name="T43" fmla="*/ 33 h 99"/>
                    <a:gd name="T44" fmla="*/ 0 w 73"/>
                    <a:gd name="T45" fmla="*/ 21 h 99"/>
                    <a:gd name="T46" fmla="*/ 26 w 73"/>
                    <a:gd name="T47" fmla="*/ 21 h 99"/>
                    <a:gd name="T48" fmla="*/ 21 w 73"/>
                    <a:gd name="T49" fmla="*/ 33 h 99"/>
                    <a:gd name="T50" fmla="*/ 21 w 73"/>
                    <a:gd name="T51" fmla="*/ 33 h 99"/>
                    <a:gd name="T52" fmla="*/ 21 w 73"/>
                    <a:gd name="T53" fmla="*/ 33 h 99"/>
                    <a:gd name="T54" fmla="*/ 56 w 73"/>
                    <a:gd name="T55" fmla="*/ 61 h 99"/>
                    <a:gd name="T56" fmla="*/ 38 w 73"/>
                    <a:gd name="T57" fmla="*/ 44 h 99"/>
                    <a:gd name="T58" fmla="*/ 56 w 73"/>
                    <a:gd name="T59" fmla="*/ 54 h 99"/>
                    <a:gd name="T60" fmla="*/ 56 w 73"/>
                    <a:gd name="T61" fmla="*/ 61 h 99"/>
                    <a:gd name="T62" fmla="*/ 56 w 73"/>
                    <a:gd name="T63" fmla="*/ 61 h 99"/>
                    <a:gd name="T64" fmla="*/ 56 w 73"/>
                    <a:gd name="T65" fmla="*/ 61 h 99"/>
                    <a:gd name="T66" fmla="*/ 52 w 73"/>
                    <a:gd name="T67" fmla="*/ 99 h 99"/>
                    <a:gd name="T68" fmla="*/ 38 w 73"/>
                    <a:gd name="T69" fmla="*/ 78 h 99"/>
                    <a:gd name="T70" fmla="*/ 52 w 73"/>
                    <a:gd name="T71" fmla="*/ 87 h 99"/>
                    <a:gd name="T72" fmla="*/ 52 w 73"/>
                    <a:gd name="T73" fmla="*/ 99 h 99"/>
                    <a:gd name="T74" fmla="*/ 52 w 73"/>
                    <a:gd name="T75" fmla="*/ 99 h 99"/>
                    <a:gd name="T76" fmla="*/ 52 w 73"/>
                    <a:gd name="T77"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99">
                      <a:moveTo>
                        <a:pt x="64" y="16"/>
                      </a:moveTo>
                      <a:lnTo>
                        <a:pt x="56" y="4"/>
                      </a:lnTo>
                      <a:lnTo>
                        <a:pt x="64" y="0"/>
                      </a:lnTo>
                      <a:lnTo>
                        <a:pt x="73" y="4"/>
                      </a:lnTo>
                      <a:lnTo>
                        <a:pt x="64" y="16"/>
                      </a:lnTo>
                      <a:lnTo>
                        <a:pt x="64" y="16"/>
                      </a:lnTo>
                      <a:lnTo>
                        <a:pt x="64" y="16"/>
                      </a:lnTo>
                      <a:close/>
                      <a:moveTo>
                        <a:pt x="52" y="33"/>
                      </a:moveTo>
                      <a:lnTo>
                        <a:pt x="26" y="0"/>
                      </a:lnTo>
                      <a:lnTo>
                        <a:pt x="56" y="16"/>
                      </a:lnTo>
                      <a:lnTo>
                        <a:pt x="52" y="33"/>
                      </a:lnTo>
                      <a:lnTo>
                        <a:pt x="52" y="33"/>
                      </a:lnTo>
                      <a:lnTo>
                        <a:pt x="52" y="33"/>
                      </a:lnTo>
                      <a:close/>
                      <a:moveTo>
                        <a:pt x="52" y="44"/>
                      </a:moveTo>
                      <a:lnTo>
                        <a:pt x="12" y="16"/>
                      </a:lnTo>
                      <a:lnTo>
                        <a:pt x="12" y="4"/>
                      </a:lnTo>
                      <a:lnTo>
                        <a:pt x="26" y="4"/>
                      </a:lnTo>
                      <a:lnTo>
                        <a:pt x="42" y="21"/>
                      </a:lnTo>
                      <a:lnTo>
                        <a:pt x="52" y="44"/>
                      </a:lnTo>
                      <a:lnTo>
                        <a:pt x="52" y="44"/>
                      </a:lnTo>
                      <a:lnTo>
                        <a:pt x="52" y="44"/>
                      </a:lnTo>
                      <a:close/>
                      <a:moveTo>
                        <a:pt x="21" y="33"/>
                      </a:moveTo>
                      <a:lnTo>
                        <a:pt x="0" y="21"/>
                      </a:lnTo>
                      <a:lnTo>
                        <a:pt x="26" y="21"/>
                      </a:lnTo>
                      <a:lnTo>
                        <a:pt x="21" y="33"/>
                      </a:lnTo>
                      <a:lnTo>
                        <a:pt x="21" y="33"/>
                      </a:lnTo>
                      <a:lnTo>
                        <a:pt x="21" y="33"/>
                      </a:lnTo>
                      <a:close/>
                      <a:moveTo>
                        <a:pt x="56" y="61"/>
                      </a:moveTo>
                      <a:lnTo>
                        <a:pt x="38" y="44"/>
                      </a:lnTo>
                      <a:lnTo>
                        <a:pt x="56" y="54"/>
                      </a:lnTo>
                      <a:lnTo>
                        <a:pt x="56" y="61"/>
                      </a:lnTo>
                      <a:lnTo>
                        <a:pt x="56" y="61"/>
                      </a:lnTo>
                      <a:lnTo>
                        <a:pt x="56" y="61"/>
                      </a:lnTo>
                      <a:close/>
                      <a:moveTo>
                        <a:pt x="52" y="99"/>
                      </a:moveTo>
                      <a:lnTo>
                        <a:pt x="38" y="78"/>
                      </a:lnTo>
                      <a:lnTo>
                        <a:pt x="52" y="87"/>
                      </a:lnTo>
                      <a:lnTo>
                        <a:pt x="52" y="99"/>
                      </a:lnTo>
                      <a:lnTo>
                        <a:pt x="52" y="99"/>
                      </a:lnTo>
                      <a:lnTo>
                        <a:pt x="52" y="9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26" name="Freeform 445">
                  <a:extLst>
                    <a:ext uri="{FF2B5EF4-FFF2-40B4-BE49-F238E27FC236}">
                      <a16:creationId xmlns:a16="http://schemas.microsoft.com/office/drawing/2014/main" id="{DE24ABEB-1507-442D-8166-35DBA6464392}"/>
                    </a:ext>
                  </a:extLst>
                </p:cNvPr>
                <p:cNvSpPr>
                  <a:spLocks noEditPoints="1"/>
                </p:cNvSpPr>
                <p:nvPr/>
              </p:nvSpPr>
              <p:spPr bwMode="gray">
                <a:xfrm>
                  <a:off x="6589149" y="2403375"/>
                  <a:ext cx="413317" cy="359839"/>
                </a:xfrm>
                <a:custGeom>
                  <a:avLst/>
                  <a:gdLst>
                    <a:gd name="T0" fmla="*/ 557 w 1004"/>
                    <a:gd name="T1" fmla="*/ 22 h 874"/>
                    <a:gd name="T2" fmla="*/ 626 w 1004"/>
                    <a:gd name="T3" fmla="*/ 76 h 874"/>
                    <a:gd name="T4" fmla="*/ 675 w 1004"/>
                    <a:gd name="T5" fmla="*/ 83 h 874"/>
                    <a:gd name="T6" fmla="*/ 718 w 1004"/>
                    <a:gd name="T7" fmla="*/ 149 h 874"/>
                    <a:gd name="T8" fmla="*/ 789 w 1004"/>
                    <a:gd name="T9" fmla="*/ 154 h 874"/>
                    <a:gd name="T10" fmla="*/ 848 w 1004"/>
                    <a:gd name="T11" fmla="*/ 178 h 874"/>
                    <a:gd name="T12" fmla="*/ 874 w 1004"/>
                    <a:gd name="T13" fmla="*/ 248 h 874"/>
                    <a:gd name="T14" fmla="*/ 864 w 1004"/>
                    <a:gd name="T15" fmla="*/ 322 h 874"/>
                    <a:gd name="T16" fmla="*/ 827 w 1004"/>
                    <a:gd name="T17" fmla="*/ 343 h 874"/>
                    <a:gd name="T18" fmla="*/ 767 w 1004"/>
                    <a:gd name="T19" fmla="*/ 416 h 874"/>
                    <a:gd name="T20" fmla="*/ 751 w 1004"/>
                    <a:gd name="T21" fmla="*/ 449 h 874"/>
                    <a:gd name="T22" fmla="*/ 805 w 1004"/>
                    <a:gd name="T23" fmla="*/ 426 h 874"/>
                    <a:gd name="T24" fmla="*/ 810 w 1004"/>
                    <a:gd name="T25" fmla="*/ 487 h 874"/>
                    <a:gd name="T26" fmla="*/ 805 w 1004"/>
                    <a:gd name="T27" fmla="*/ 565 h 874"/>
                    <a:gd name="T28" fmla="*/ 848 w 1004"/>
                    <a:gd name="T29" fmla="*/ 631 h 874"/>
                    <a:gd name="T30" fmla="*/ 860 w 1004"/>
                    <a:gd name="T31" fmla="*/ 664 h 874"/>
                    <a:gd name="T32" fmla="*/ 793 w 1004"/>
                    <a:gd name="T33" fmla="*/ 704 h 874"/>
                    <a:gd name="T34" fmla="*/ 767 w 1004"/>
                    <a:gd name="T35" fmla="*/ 726 h 874"/>
                    <a:gd name="T36" fmla="*/ 713 w 1004"/>
                    <a:gd name="T37" fmla="*/ 709 h 874"/>
                    <a:gd name="T38" fmla="*/ 685 w 1004"/>
                    <a:gd name="T39" fmla="*/ 685 h 874"/>
                    <a:gd name="T40" fmla="*/ 664 w 1004"/>
                    <a:gd name="T41" fmla="*/ 704 h 874"/>
                    <a:gd name="T42" fmla="*/ 567 w 1004"/>
                    <a:gd name="T43" fmla="*/ 709 h 874"/>
                    <a:gd name="T44" fmla="*/ 557 w 1004"/>
                    <a:gd name="T45" fmla="*/ 780 h 874"/>
                    <a:gd name="T46" fmla="*/ 470 w 1004"/>
                    <a:gd name="T47" fmla="*/ 787 h 874"/>
                    <a:gd name="T48" fmla="*/ 427 w 1004"/>
                    <a:gd name="T49" fmla="*/ 759 h 874"/>
                    <a:gd name="T50" fmla="*/ 307 w 1004"/>
                    <a:gd name="T51" fmla="*/ 747 h 874"/>
                    <a:gd name="T52" fmla="*/ 231 w 1004"/>
                    <a:gd name="T53" fmla="*/ 709 h 874"/>
                    <a:gd name="T54" fmla="*/ 248 w 1004"/>
                    <a:gd name="T55" fmla="*/ 593 h 874"/>
                    <a:gd name="T56" fmla="*/ 255 w 1004"/>
                    <a:gd name="T57" fmla="*/ 504 h 874"/>
                    <a:gd name="T58" fmla="*/ 248 w 1004"/>
                    <a:gd name="T59" fmla="*/ 499 h 874"/>
                    <a:gd name="T60" fmla="*/ 189 w 1004"/>
                    <a:gd name="T61" fmla="*/ 392 h 874"/>
                    <a:gd name="T62" fmla="*/ 210 w 1004"/>
                    <a:gd name="T63" fmla="*/ 355 h 874"/>
                    <a:gd name="T64" fmla="*/ 156 w 1004"/>
                    <a:gd name="T65" fmla="*/ 338 h 874"/>
                    <a:gd name="T66" fmla="*/ 134 w 1004"/>
                    <a:gd name="T67" fmla="*/ 331 h 874"/>
                    <a:gd name="T68" fmla="*/ 118 w 1004"/>
                    <a:gd name="T69" fmla="*/ 331 h 874"/>
                    <a:gd name="T70" fmla="*/ 28 w 1004"/>
                    <a:gd name="T71" fmla="*/ 289 h 874"/>
                    <a:gd name="T72" fmla="*/ 16 w 1004"/>
                    <a:gd name="T73" fmla="*/ 265 h 874"/>
                    <a:gd name="T74" fmla="*/ 0 w 1004"/>
                    <a:gd name="T75" fmla="*/ 248 h 874"/>
                    <a:gd name="T76" fmla="*/ 87 w 1004"/>
                    <a:gd name="T77" fmla="*/ 211 h 874"/>
                    <a:gd name="T78" fmla="*/ 193 w 1004"/>
                    <a:gd name="T79" fmla="*/ 232 h 874"/>
                    <a:gd name="T80" fmla="*/ 243 w 1004"/>
                    <a:gd name="T81" fmla="*/ 227 h 874"/>
                    <a:gd name="T82" fmla="*/ 201 w 1004"/>
                    <a:gd name="T83" fmla="*/ 133 h 874"/>
                    <a:gd name="T84" fmla="*/ 255 w 1004"/>
                    <a:gd name="T85" fmla="*/ 154 h 874"/>
                    <a:gd name="T86" fmla="*/ 340 w 1004"/>
                    <a:gd name="T87" fmla="*/ 137 h 874"/>
                    <a:gd name="T88" fmla="*/ 449 w 1004"/>
                    <a:gd name="T89" fmla="*/ 59 h 874"/>
                    <a:gd name="T90" fmla="*/ 512 w 1004"/>
                    <a:gd name="T91" fmla="*/ 0 h 874"/>
                    <a:gd name="T92" fmla="*/ 118 w 1004"/>
                    <a:gd name="T93" fmla="*/ 355 h 874"/>
                    <a:gd name="T94" fmla="*/ 231 w 1004"/>
                    <a:gd name="T95" fmla="*/ 466 h 874"/>
                    <a:gd name="T96" fmla="*/ 248 w 1004"/>
                    <a:gd name="T97" fmla="*/ 487 h 874"/>
                    <a:gd name="T98" fmla="*/ 945 w 1004"/>
                    <a:gd name="T99" fmla="*/ 796 h 874"/>
                    <a:gd name="T100" fmla="*/ 982 w 1004"/>
                    <a:gd name="T101" fmla="*/ 759 h 874"/>
                    <a:gd name="T102" fmla="*/ 999 w 1004"/>
                    <a:gd name="T103" fmla="*/ 820 h 874"/>
                    <a:gd name="T104" fmla="*/ 956 w 1004"/>
                    <a:gd name="T105" fmla="*/ 848 h 874"/>
                    <a:gd name="T106" fmla="*/ 945 w 1004"/>
                    <a:gd name="T107" fmla="*/ 820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4" h="874">
                      <a:moveTo>
                        <a:pt x="512" y="0"/>
                      </a:moveTo>
                      <a:lnTo>
                        <a:pt x="519" y="22"/>
                      </a:lnTo>
                      <a:lnTo>
                        <a:pt x="534" y="26"/>
                      </a:lnTo>
                      <a:lnTo>
                        <a:pt x="557" y="22"/>
                      </a:lnTo>
                      <a:lnTo>
                        <a:pt x="567" y="55"/>
                      </a:lnTo>
                      <a:lnTo>
                        <a:pt x="588" y="55"/>
                      </a:lnTo>
                      <a:lnTo>
                        <a:pt x="595" y="67"/>
                      </a:lnTo>
                      <a:lnTo>
                        <a:pt x="626" y="76"/>
                      </a:lnTo>
                      <a:lnTo>
                        <a:pt x="626" y="100"/>
                      </a:lnTo>
                      <a:lnTo>
                        <a:pt x="647" y="111"/>
                      </a:lnTo>
                      <a:lnTo>
                        <a:pt x="675" y="83"/>
                      </a:lnTo>
                      <a:lnTo>
                        <a:pt x="675" y="83"/>
                      </a:lnTo>
                      <a:lnTo>
                        <a:pt x="675" y="100"/>
                      </a:lnTo>
                      <a:lnTo>
                        <a:pt x="675" y="116"/>
                      </a:lnTo>
                      <a:lnTo>
                        <a:pt x="701" y="133"/>
                      </a:lnTo>
                      <a:lnTo>
                        <a:pt x="718" y="149"/>
                      </a:lnTo>
                      <a:lnTo>
                        <a:pt x="739" y="137"/>
                      </a:lnTo>
                      <a:lnTo>
                        <a:pt x="751" y="149"/>
                      </a:lnTo>
                      <a:lnTo>
                        <a:pt x="784" y="149"/>
                      </a:lnTo>
                      <a:lnTo>
                        <a:pt x="789" y="154"/>
                      </a:lnTo>
                      <a:lnTo>
                        <a:pt x="805" y="178"/>
                      </a:lnTo>
                      <a:lnTo>
                        <a:pt x="822" y="170"/>
                      </a:lnTo>
                      <a:lnTo>
                        <a:pt x="843" y="178"/>
                      </a:lnTo>
                      <a:lnTo>
                        <a:pt x="848" y="178"/>
                      </a:lnTo>
                      <a:lnTo>
                        <a:pt x="874" y="187"/>
                      </a:lnTo>
                      <a:lnTo>
                        <a:pt x="912" y="194"/>
                      </a:lnTo>
                      <a:lnTo>
                        <a:pt x="881" y="232"/>
                      </a:lnTo>
                      <a:lnTo>
                        <a:pt x="874" y="248"/>
                      </a:lnTo>
                      <a:lnTo>
                        <a:pt x="864" y="277"/>
                      </a:lnTo>
                      <a:lnTo>
                        <a:pt x="864" y="289"/>
                      </a:lnTo>
                      <a:lnTo>
                        <a:pt x="860" y="315"/>
                      </a:lnTo>
                      <a:lnTo>
                        <a:pt x="864" y="322"/>
                      </a:lnTo>
                      <a:lnTo>
                        <a:pt x="848" y="338"/>
                      </a:lnTo>
                      <a:lnTo>
                        <a:pt x="827" y="331"/>
                      </a:lnTo>
                      <a:lnTo>
                        <a:pt x="822" y="343"/>
                      </a:lnTo>
                      <a:lnTo>
                        <a:pt x="827" y="343"/>
                      </a:lnTo>
                      <a:lnTo>
                        <a:pt x="822" y="355"/>
                      </a:lnTo>
                      <a:lnTo>
                        <a:pt x="789" y="392"/>
                      </a:lnTo>
                      <a:lnTo>
                        <a:pt x="784" y="400"/>
                      </a:lnTo>
                      <a:lnTo>
                        <a:pt x="767" y="416"/>
                      </a:lnTo>
                      <a:lnTo>
                        <a:pt x="756" y="426"/>
                      </a:lnTo>
                      <a:lnTo>
                        <a:pt x="767" y="433"/>
                      </a:lnTo>
                      <a:lnTo>
                        <a:pt x="767" y="442"/>
                      </a:lnTo>
                      <a:lnTo>
                        <a:pt x="751" y="449"/>
                      </a:lnTo>
                      <a:lnTo>
                        <a:pt x="756" y="454"/>
                      </a:lnTo>
                      <a:lnTo>
                        <a:pt x="772" y="449"/>
                      </a:lnTo>
                      <a:lnTo>
                        <a:pt x="772" y="433"/>
                      </a:lnTo>
                      <a:lnTo>
                        <a:pt x="805" y="426"/>
                      </a:lnTo>
                      <a:lnTo>
                        <a:pt x="810" y="433"/>
                      </a:lnTo>
                      <a:lnTo>
                        <a:pt x="810" y="454"/>
                      </a:lnTo>
                      <a:lnTo>
                        <a:pt x="827" y="470"/>
                      </a:lnTo>
                      <a:lnTo>
                        <a:pt x="810" y="487"/>
                      </a:lnTo>
                      <a:lnTo>
                        <a:pt x="836" y="520"/>
                      </a:lnTo>
                      <a:lnTo>
                        <a:pt x="836" y="537"/>
                      </a:lnTo>
                      <a:lnTo>
                        <a:pt x="793" y="544"/>
                      </a:lnTo>
                      <a:lnTo>
                        <a:pt x="805" y="565"/>
                      </a:lnTo>
                      <a:lnTo>
                        <a:pt x="827" y="565"/>
                      </a:lnTo>
                      <a:lnTo>
                        <a:pt x="810" y="598"/>
                      </a:lnTo>
                      <a:lnTo>
                        <a:pt x="822" y="619"/>
                      </a:lnTo>
                      <a:lnTo>
                        <a:pt x="848" y="631"/>
                      </a:lnTo>
                      <a:lnTo>
                        <a:pt x="874" y="631"/>
                      </a:lnTo>
                      <a:lnTo>
                        <a:pt x="874" y="636"/>
                      </a:lnTo>
                      <a:lnTo>
                        <a:pt x="860" y="652"/>
                      </a:lnTo>
                      <a:lnTo>
                        <a:pt x="860" y="664"/>
                      </a:lnTo>
                      <a:lnTo>
                        <a:pt x="860" y="669"/>
                      </a:lnTo>
                      <a:lnTo>
                        <a:pt x="848" y="669"/>
                      </a:lnTo>
                      <a:lnTo>
                        <a:pt x="836" y="676"/>
                      </a:lnTo>
                      <a:lnTo>
                        <a:pt x="793" y="704"/>
                      </a:lnTo>
                      <a:lnTo>
                        <a:pt x="805" y="709"/>
                      </a:lnTo>
                      <a:lnTo>
                        <a:pt x="793" y="721"/>
                      </a:lnTo>
                      <a:lnTo>
                        <a:pt x="767" y="721"/>
                      </a:lnTo>
                      <a:lnTo>
                        <a:pt x="767" y="726"/>
                      </a:lnTo>
                      <a:lnTo>
                        <a:pt x="751" y="726"/>
                      </a:lnTo>
                      <a:lnTo>
                        <a:pt x="739" y="726"/>
                      </a:lnTo>
                      <a:lnTo>
                        <a:pt x="734" y="721"/>
                      </a:lnTo>
                      <a:lnTo>
                        <a:pt x="713" y="709"/>
                      </a:lnTo>
                      <a:lnTo>
                        <a:pt x="701" y="704"/>
                      </a:lnTo>
                      <a:lnTo>
                        <a:pt x="685" y="704"/>
                      </a:lnTo>
                      <a:lnTo>
                        <a:pt x="701" y="692"/>
                      </a:lnTo>
                      <a:lnTo>
                        <a:pt x="685" y="685"/>
                      </a:lnTo>
                      <a:lnTo>
                        <a:pt x="685" y="692"/>
                      </a:lnTo>
                      <a:lnTo>
                        <a:pt x="675" y="704"/>
                      </a:lnTo>
                      <a:lnTo>
                        <a:pt x="664" y="676"/>
                      </a:lnTo>
                      <a:lnTo>
                        <a:pt x="664" y="704"/>
                      </a:lnTo>
                      <a:lnTo>
                        <a:pt x="659" y="704"/>
                      </a:lnTo>
                      <a:lnTo>
                        <a:pt x="647" y="692"/>
                      </a:lnTo>
                      <a:lnTo>
                        <a:pt x="609" y="685"/>
                      </a:lnTo>
                      <a:lnTo>
                        <a:pt x="567" y="709"/>
                      </a:lnTo>
                      <a:lnTo>
                        <a:pt x="550" y="726"/>
                      </a:lnTo>
                      <a:lnTo>
                        <a:pt x="541" y="747"/>
                      </a:lnTo>
                      <a:lnTo>
                        <a:pt x="550" y="775"/>
                      </a:lnTo>
                      <a:lnTo>
                        <a:pt x="557" y="780"/>
                      </a:lnTo>
                      <a:lnTo>
                        <a:pt x="541" y="780"/>
                      </a:lnTo>
                      <a:lnTo>
                        <a:pt x="512" y="787"/>
                      </a:lnTo>
                      <a:lnTo>
                        <a:pt x="496" y="780"/>
                      </a:lnTo>
                      <a:lnTo>
                        <a:pt x="470" y="787"/>
                      </a:lnTo>
                      <a:lnTo>
                        <a:pt x="458" y="775"/>
                      </a:lnTo>
                      <a:lnTo>
                        <a:pt x="458" y="763"/>
                      </a:lnTo>
                      <a:lnTo>
                        <a:pt x="432" y="763"/>
                      </a:lnTo>
                      <a:lnTo>
                        <a:pt x="427" y="759"/>
                      </a:lnTo>
                      <a:lnTo>
                        <a:pt x="390" y="742"/>
                      </a:lnTo>
                      <a:lnTo>
                        <a:pt x="378" y="759"/>
                      </a:lnTo>
                      <a:lnTo>
                        <a:pt x="335" y="759"/>
                      </a:lnTo>
                      <a:lnTo>
                        <a:pt x="307" y="747"/>
                      </a:lnTo>
                      <a:lnTo>
                        <a:pt x="297" y="747"/>
                      </a:lnTo>
                      <a:lnTo>
                        <a:pt x="281" y="730"/>
                      </a:lnTo>
                      <a:lnTo>
                        <a:pt x="231" y="726"/>
                      </a:lnTo>
                      <a:lnTo>
                        <a:pt x="231" y="709"/>
                      </a:lnTo>
                      <a:lnTo>
                        <a:pt x="210" y="704"/>
                      </a:lnTo>
                      <a:lnTo>
                        <a:pt x="227" y="692"/>
                      </a:lnTo>
                      <a:lnTo>
                        <a:pt x="231" y="676"/>
                      </a:lnTo>
                      <a:lnTo>
                        <a:pt x="248" y="593"/>
                      </a:lnTo>
                      <a:lnTo>
                        <a:pt x="264" y="581"/>
                      </a:lnTo>
                      <a:lnTo>
                        <a:pt x="248" y="577"/>
                      </a:lnTo>
                      <a:lnTo>
                        <a:pt x="248" y="581"/>
                      </a:lnTo>
                      <a:lnTo>
                        <a:pt x="255" y="504"/>
                      </a:lnTo>
                      <a:lnTo>
                        <a:pt x="281" y="525"/>
                      </a:lnTo>
                      <a:lnTo>
                        <a:pt x="297" y="565"/>
                      </a:lnTo>
                      <a:lnTo>
                        <a:pt x="281" y="508"/>
                      </a:lnTo>
                      <a:lnTo>
                        <a:pt x="248" y="499"/>
                      </a:lnTo>
                      <a:lnTo>
                        <a:pt x="255" y="470"/>
                      </a:lnTo>
                      <a:lnTo>
                        <a:pt x="255" y="442"/>
                      </a:lnTo>
                      <a:lnTo>
                        <a:pt x="210" y="426"/>
                      </a:lnTo>
                      <a:lnTo>
                        <a:pt x="189" y="392"/>
                      </a:lnTo>
                      <a:lnTo>
                        <a:pt x="193" y="371"/>
                      </a:lnTo>
                      <a:lnTo>
                        <a:pt x="179" y="359"/>
                      </a:lnTo>
                      <a:lnTo>
                        <a:pt x="189" y="355"/>
                      </a:lnTo>
                      <a:lnTo>
                        <a:pt x="210" y="355"/>
                      </a:lnTo>
                      <a:lnTo>
                        <a:pt x="193" y="343"/>
                      </a:lnTo>
                      <a:lnTo>
                        <a:pt x="172" y="355"/>
                      </a:lnTo>
                      <a:lnTo>
                        <a:pt x="156" y="343"/>
                      </a:lnTo>
                      <a:lnTo>
                        <a:pt x="156" y="338"/>
                      </a:lnTo>
                      <a:lnTo>
                        <a:pt x="163" y="338"/>
                      </a:lnTo>
                      <a:lnTo>
                        <a:pt x="156" y="331"/>
                      </a:lnTo>
                      <a:lnTo>
                        <a:pt x="172" y="331"/>
                      </a:lnTo>
                      <a:lnTo>
                        <a:pt x="134" y="331"/>
                      </a:lnTo>
                      <a:lnTo>
                        <a:pt x="142" y="331"/>
                      </a:lnTo>
                      <a:lnTo>
                        <a:pt x="142" y="322"/>
                      </a:lnTo>
                      <a:lnTo>
                        <a:pt x="118" y="322"/>
                      </a:lnTo>
                      <a:lnTo>
                        <a:pt x="118" y="331"/>
                      </a:lnTo>
                      <a:lnTo>
                        <a:pt x="108" y="315"/>
                      </a:lnTo>
                      <a:lnTo>
                        <a:pt x="54" y="298"/>
                      </a:lnTo>
                      <a:lnTo>
                        <a:pt x="28" y="305"/>
                      </a:lnTo>
                      <a:lnTo>
                        <a:pt x="28" y="289"/>
                      </a:lnTo>
                      <a:lnTo>
                        <a:pt x="0" y="281"/>
                      </a:lnTo>
                      <a:lnTo>
                        <a:pt x="33" y="277"/>
                      </a:lnTo>
                      <a:lnTo>
                        <a:pt x="28" y="265"/>
                      </a:lnTo>
                      <a:lnTo>
                        <a:pt x="16" y="265"/>
                      </a:lnTo>
                      <a:lnTo>
                        <a:pt x="12" y="260"/>
                      </a:lnTo>
                      <a:lnTo>
                        <a:pt x="16" y="248"/>
                      </a:lnTo>
                      <a:lnTo>
                        <a:pt x="38" y="260"/>
                      </a:lnTo>
                      <a:lnTo>
                        <a:pt x="0" y="248"/>
                      </a:lnTo>
                      <a:lnTo>
                        <a:pt x="0" y="232"/>
                      </a:lnTo>
                      <a:lnTo>
                        <a:pt x="28" y="227"/>
                      </a:lnTo>
                      <a:lnTo>
                        <a:pt x="80" y="220"/>
                      </a:lnTo>
                      <a:lnTo>
                        <a:pt x="87" y="211"/>
                      </a:lnTo>
                      <a:lnTo>
                        <a:pt x="108" y="204"/>
                      </a:lnTo>
                      <a:lnTo>
                        <a:pt x="146" y="244"/>
                      </a:lnTo>
                      <a:lnTo>
                        <a:pt x="172" y="220"/>
                      </a:lnTo>
                      <a:lnTo>
                        <a:pt x="193" y="232"/>
                      </a:lnTo>
                      <a:lnTo>
                        <a:pt x="193" y="220"/>
                      </a:lnTo>
                      <a:lnTo>
                        <a:pt x="201" y="220"/>
                      </a:lnTo>
                      <a:lnTo>
                        <a:pt x="201" y="227"/>
                      </a:lnTo>
                      <a:lnTo>
                        <a:pt x="243" y="227"/>
                      </a:lnTo>
                      <a:lnTo>
                        <a:pt x="227" y="220"/>
                      </a:lnTo>
                      <a:lnTo>
                        <a:pt x="217" y="170"/>
                      </a:lnTo>
                      <a:lnTo>
                        <a:pt x="210" y="154"/>
                      </a:lnTo>
                      <a:lnTo>
                        <a:pt x="201" y="133"/>
                      </a:lnTo>
                      <a:lnTo>
                        <a:pt x="193" y="121"/>
                      </a:lnTo>
                      <a:lnTo>
                        <a:pt x="248" y="133"/>
                      </a:lnTo>
                      <a:lnTo>
                        <a:pt x="243" y="137"/>
                      </a:lnTo>
                      <a:lnTo>
                        <a:pt x="255" y="154"/>
                      </a:lnTo>
                      <a:lnTo>
                        <a:pt x="319" y="166"/>
                      </a:lnTo>
                      <a:lnTo>
                        <a:pt x="361" y="149"/>
                      </a:lnTo>
                      <a:lnTo>
                        <a:pt x="361" y="149"/>
                      </a:lnTo>
                      <a:lnTo>
                        <a:pt x="340" y="137"/>
                      </a:lnTo>
                      <a:lnTo>
                        <a:pt x="352" y="121"/>
                      </a:lnTo>
                      <a:lnTo>
                        <a:pt x="411" y="111"/>
                      </a:lnTo>
                      <a:lnTo>
                        <a:pt x="432" y="83"/>
                      </a:lnTo>
                      <a:lnTo>
                        <a:pt x="449" y="59"/>
                      </a:lnTo>
                      <a:lnTo>
                        <a:pt x="449" y="10"/>
                      </a:lnTo>
                      <a:lnTo>
                        <a:pt x="512" y="0"/>
                      </a:lnTo>
                      <a:lnTo>
                        <a:pt x="512" y="0"/>
                      </a:lnTo>
                      <a:lnTo>
                        <a:pt x="512" y="0"/>
                      </a:lnTo>
                      <a:close/>
                      <a:moveTo>
                        <a:pt x="118" y="355"/>
                      </a:moveTo>
                      <a:lnTo>
                        <a:pt x="108" y="343"/>
                      </a:lnTo>
                      <a:lnTo>
                        <a:pt x="104" y="338"/>
                      </a:lnTo>
                      <a:lnTo>
                        <a:pt x="118" y="355"/>
                      </a:lnTo>
                      <a:lnTo>
                        <a:pt x="118" y="355"/>
                      </a:lnTo>
                      <a:lnTo>
                        <a:pt x="118" y="355"/>
                      </a:lnTo>
                      <a:close/>
                      <a:moveTo>
                        <a:pt x="248" y="487"/>
                      </a:moveTo>
                      <a:lnTo>
                        <a:pt x="231" y="466"/>
                      </a:lnTo>
                      <a:lnTo>
                        <a:pt x="248" y="470"/>
                      </a:lnTo>
                      <a:lnTo>
                        <a:pt x="248" y="487"/>
                      </a:lnTo>
                      <a:lnTo>
                        <a:pt x="248" y="487"/>
                      </a:lnTo>
                      <a:lnTo>
                        <a:pt x="248" y="487"/>
                      </a:lnTo>
                      <a:close/>
                      <a:moveTo>
                        <a:pt x="945" y="820"/>
                      </a:moveTo>
                      <a:lnTo>
                        <a:pt x="945" y="813"/>
                      </a:lnTo>
                      <a:lnTo>
                        <a:pt x="935" y="796"/>
                      </a:lnTo>
                      <a:lnTo>
                        <a:pt x="945" y="796"/>
                      </a:lnTo>
                      <a:lnTo>
                        <a:pt x="935" y="787"/>
                      </a:lnTo>
                      <a:lnTo>
                        <a:pt x="945" y="775"/>
                      </a:lnTo>
                      <a:lnTo>
                        <a:pt x="973" y="759"/>
                      </a:lnTo>
                      <a:lnTo>
                        <a:pt x="982" y="759"/>
                      </a:lnTo>
                      <a:lnTo>
                        <a:pt x="987" y="730"/>
                      </a:lnTo>
                      <a:lnTo>
                        <a:pt x="999" y="730"/>
                      </a:lnTo>
                      <a:lnTo>
                        <a:pt x="1004" y="803"/>
                      </a:lnTo>
                      <a:lnTo>
                        <a:pt x="999" y="820"/>
                      </a:lnTo>
                      <a:lnTo>
                        <a:pt x="987" y="848"/>
                      </a:lnTo>
                      <a:lnTo>
                        <a:pt x="982" y="874"/>
                      </a:lnTo>
                      <a:lnTo>
                        <a:pt x="949" y="858"/>
                      </a:lnTo>
                      <a:lnTo>
                        <a:pt x="956" y="848"/>
                      </a:lnTo>
                      <a:lnTo>
                        <a:pt x="945" y="848"/>
                      </a:lnTo>
                      <a:lnTo>
                        <a:pt x="949" y="829"/>
                      </a:lnTo>
                      <a:lnTo>
                        <a:pt x="935" y="829"/>
                      </a:lnTo>
                      <a:lnTo>
                        <a:pt x="945" y="820"/>
                      </a:lnTo>
                      <a:lnTo>
                        <a:pt x="945" y="820"/>
                      </a:lnTo>
                      <a:lnTo>
                        <a:pt x="945" y="82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27" name="Freeform 449">
                  <a:extLst>
                    <a:ext uri="{FF2B5EF4-FFF2-40B4-BE49-F238E27FC236}">
                      <a16:creationId xmlns:a16="http://schemas.microsoft.com/office/drawing/2014/main" id="{CE5CF79D-929D-4343-97AA-98662B783367}"/>
                    </a:ext>
                  </a:extLst>
                </p:cNvPr>
                <p:cNvSpPr>
                  <a:spLocks/>
                </p:cNvSpPr>
                <p:nvPr/>
              </p:nvSpPr>
              <p:spPr bwMode="gray">
                <a:xfrm>
                  <a:off x="7882206" y="2682519"/>
                  <a:ext cx="190603" cy="93459"/>
                </a:xfrm>
                <a:custGeom>
                  <a:avLst/>
                  <a:gdLst>
                    <a:gd name="T0" fmla="*/ 0 w 463"/>
                    <a:gd name="T1" fmla="*/ 26 h 227"/>
                    <a:gd name="T2" fmla="*/ 0 w 463"/>
                    <a:gd name="T3" fmla="*/ 10 h 227"/>
                    <a:gd name="T4" fmla="*/ 17 w 463"/>
                    <a:gd name="T5" fmla="*/ 0 h 227"/>
                    <a:gd name="T6" fmla="*/ 43 w 463"/>
                    <a:gd name="T7" fmla="*/ 10 h 227"/>
                    <a:gd name="T8" fmla="*/ 109 w 463"/>
                    <a:gd name="T9" fmla="*/ 33 h 227"/>
                    <a:gd name="T10" fmla="*/ 199 w 463"/>
                    <a:gd name="T11" fmla="*/ 43 h 227"/>
                    <a:gd name="T12" fmla="*/ 220 w 463"/>
                    <a:gd name="T13" fmla="*/ 66 h 227"/>
                    <a:gd name="T14" fmla="*/ 258 w 463"/>
                    <a:gd name="T15" fmla="*/ 83 h 227"/>
                    <a:gd name="T16" fmla="*/ 258 w 463"/>
                    <a:gd name="T17" fmla="*/ 88 h 227"/>
                    <a:gd name="T18" fmla="*/ 270 w 463"/>
                    <a:gd name="T19" fmla="*/ 88 h 227"/>
                    <a:gd name="T20" fmla="*/ 312 w 463"/>
                    <a:gd name="T21" fmla="*/ 71 h 227"/>
                    <a:gd name="T22" fmla="*/ 329 w 463"/>
                    <a:gd name="T23" fmla="*/ 88 h 227"/>
                    <a:gd name="T24" fmla="*/ 345 w 463"/>
                    <a:gd name="T25" fmla="*/ 71 h 227"/>
                    <a:gd name="T26" fmla="*/ 362 w 463"/>
                    <a:gd name="T27" fmla="*/ 83 h 227"/>
                    <a:gd name="T28" fmla="*/ 367 w 463"/>
                    <a:gd name="T29" fmla="*/ 100 h 227"/>
                    <a:gd name="T30" fmla="*/ 400 w 463"/>
                    <a:gd name="T31" fmla="*/ 100 h 227"/>
                    <a:gd name="T32" fmla="*/ 393 w 463"/>
                    <a:gd name="T33" fmla="*/ 128 h 227"/>
                    <a:gd name="T34" fmla="*/ 447 w 463"/>
                    <a:gd name="T35" fmla="*/ 154 h 227"/>
                    <a:gd name="T36" fmla="*/ 430 w 463"/>
                    <a:gd name="T37" fmla="*/ 170 h 227"/>
                    <a:gd name="T38" fmla="*/ 437 w 463"/>
                    <a:gd name="T39" fmla="*/ 182 h 227"/>
                    <a:gd name="T40" fmla="*/ 463 w 463"/>
                    <a:gd name="T41" fmla="*/ 199 h 227"/>
                    <a:gd name="T42" fmla="*/ 463 w 463"/>
                    <a:gd name="T43" fmla="*/ 215 h 227"/>
                    <a:gd name="T44" fmla="*/ 454 w 463"/>
                    <a:gd name="T45" fmla="*/ 227 h 227"/>
                    <a:gd name="T46" fmla="*/ 430 w 463"/>
                    <a:gd name="T47" fmla="*/ 211 h 227"/>
                    <a:gd name="T48" fmla="*/ 409 w 463"/>
                    <a:gd name="T49" fmla="*/ 211 h 227"/>
                    <a:gd name="T50" fmla="*/ 400 w 463"/>
                    <a:gd name="T51" fmla="*/ 199 h 227"/>
                    <a:gd name="T52" fmla="*/ 367 w 463"/>
                    <a:gd name="T53" fmla="*/ 194 h 227"/>
                    <a:gd name="T54" fmla="*/ 345 w 463"/>
                    <a:gd name="T55" fmla="*/ 199 h 227"/>
                    <a:gd name="T56" fmla="*/ 341 w 463"/>
                    <a:gd name="T57" fmla="*/ 211 h 227"/>
                    <a:gd name="T58" fmla="*/ 237 w 463"/>
                    <a:gd name="T59" fmla="*/ 215 h 227"/>
                    <a:gd name="T60" fmla="*/ 232 w 463"/>
                    <a:gd name="T61" fmla="*/ 215 h 227"/>
                    <a:gd name="T62" fmla="*/ 220 w 463"/>
                    <a:gd name="T63" fmla="*/ 215 h 227"/>
                    <a:gd name="T64" fmla="*/ 194 w 463"/>
                    <a:gd name="T65" fmla="*/ 177 h 227"/>
                    <a:gd name="T66" fmla="*/ 178 w 463"/>
                    <a:gd name="T67" fmla="*/ 177 h 227"/>
                    <a:gd name="T68" fmla="*/ 168 w 463"/>
                    <a:gd name="T69" fmla="*/ 194 h 227"/>
                    <a:gd name="T70" fmla="*/ 140 w 463"/>
                    <a:gd name="T71" fmla="*/ 182 h 227"/>
                    <a:gd name="T72" fmla="*/ 123 w 463"/>
                    <a:gd name="T73" fmla="*/ 194 h 227"/>
                    <a:gd name="T74" fmla="*/ 109 w 463"/>
                    <a:gd name="T75" fmla="*/ 182 h 227"/>
                    <a:gd name="T76" fmla="*/ 123 w 463"/>
                    <a:gd name="T77" fmla="*/ 154 h 227"/>
                    <a:gd name="T78" fmla="*/ 97 w 463"/>
                    <a:gd name="T79" fmla="*/ 83 h 227"/>
                    <a:gd name="T80" fmla="*/ 76 w 463"/>
                    <a:gd name="T81" fmla="*/ 71 h 227"/>
                    <a:gd name="T82" fmla="*/ 71 w 463"/>
                    <a:gd name="T83" fmla="*/ 55 h 227"/>
                    <a:gd name="T84" fmla="*/ 55 w 463"/>
                    <a:gd name="T85" fmla="*/ 50 h 227"/>
                    <a:gd name="T86" fmla="*/ 22 w 463"/>
                    <a:gd name="T87" fmla="*/ 43 h 227"/>
                    <a:gd name="T88" fmla="*/ 17 w 463"/>
                    <a:gd name="T89" fmla="*/ 26 h 227"/>
                    <a:gd name="T90" fmla="*/ 0 w 463"/>
                    <a:gd name="T91" fmla="*/ 26 h 227"/>
                    <a:gd name="T92" fmla="*/ 0 w 463"/>
                    <a:gd name="T93" fmla="*/ 26 h 227"/>
                    <a:gd name="T94" fmla="*/ 0 w 463"/>
                    <a:gd name="T95" fmla="*/ 2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63" h="227">
                      <a:moveTo>
                        <a:pt x="0" y="26"/>
                      </a:moveTo>
                      <a:lnTo>
                        <a:pt x="0" y="10"/>
                      </a:lnTo>
                      <a:lnTo>
                        <a:pt x="17" y="0"/>
                      </a:lnTo>
                      <a:lnTo>
                        <a:pt x="43" y="10"/>
                      </a:lnTo>
                      <a:lnTo>
                        <a:pt x="109" y="33"/>
                      </a:lnTo>
                      <a:lnTo>
                        <a:pt x="199" y="43"/>
                      </a:lnTo>
                      <a:lnTo>
                        <a:pt x="220" y="66"/>
                      </a:lnTo>
                      <a:lnTo>
                        <a:pt x="258" y="83"/>
                      </a:lnTo>
                      <a:lnTo>
                        <a:pt x="258" y="88"/>
                      </a:lnTo>
                      <a:lnTo>
                        <a:pt x="270" y="88"/>
                      </a:lnTo>
                      <a:lnTo>
                        <a:pt x="312" y="71"/>
                      </a:lnTo>
                      <a:lnTo>
                        <a:pt x="329" y="88"/>
                      </a:lnTo>
                      <a:lnTo>
                        <a:pt x="345" y="71"/>
                      </a:lnTo>
                      <a:lnTo>
                        <a:pt x="362" y="83"/>
                      </a:lnTo>
                      <a:lnTo>
                        <a:pt x="367" y="100"/>
                      </a:lnTo>
                      <a:lnTo>
                        <a:pt x="400" y="100"/>
                      </a:lnTo>
                      <a:lnTo>
                        <a:pt x="393" y="128"/>
                      </a:lnTo>
                      <a:lnTo>
                        <a:pt x="447" y="154"/>
                      </a:lnTo>
                      <a:lnTo>
                        <a:pt x="430" y="170"/>
                      </a:lnTo>
                      <a:lnTo>
                        <a:pt x="437" y="182"/>
                      </a:lnTo>
                      <a:lnTo>
                        <a:pt x="463" y="199"/>
                      </a:lnTo>
                      <a:lnTo>
                        <a:pt x="463" y="215"/>
                      </a:lnTo>
                      <a:lnTo>
                        <a:pt x="454" y="227"/>
                      </a:lnTo>
                      <a:lnTo>
                        <a:pt x="430" y="211"/>
                      </a:lnTo>
                      <a:lnTo>
                        <a:pt x="409" y="211"/>
                      </a:lnTo>
                      <a:lnTo>
                        <a:pt x="400" y="199"/>
                      </a:lnTo>
                      <a:lnTo>
                        <a:pt x="367" y="194"/>
                      </a:lnTo>
                      <a:lnTo>
                        <a:pt x="345" y="199"/>
                      </a:lnTo>
                      <a:lnTo>
                        <a:pt x="341" y="211"/>
                      </a:lnTo>
                      <a:lnTo>
                        <a:pt x="237" y="215"/>
                      </a:lnTo>
                      <a:lnTo>
                        <a:pt x="232" y="215"/>
                      </a:lnTo>
                      <a:lnTo>
                        <a:pt x="220" y="215"/>
                      </a:lnTo>
                      <a:lnTo>
                        <a:pt x="194" y="177"/>
                      </a:lnTo>
                      <a:lnTo>
                        <a:pt x="178" y="177"/>
                      </a:lnTo>
                      <a:lnTo>
                        <a:pt x="168" y="194"/>
                      </a:lnTo>
                      <a:lnTo>
                        <a:pt x="140" y="182"/>
                      </a:lnTo>
                      <a:lnTo>
                        <a:pt x="123" y="194"/>
                      </a:lnTo>
                      <a:lnTo>
                        <a:pt x="109" y="182"/>
                      </a:lnTo>
                      <a:lnTo>
                        <a:pt x="123" y="154"/>
                      </a:lnTo>
                      <a:lnTo>
                        <a:pt x="97" y="83"/>
                      </a:lnTo>
                      <a:lnTo>
                        <a:pt x="76" y="71"/>
                      </a:lnTo>
                      <a:lnTo>
                        <a:pt x="71" y="55"/>
                      </a:lnTo>
                      <a:lnTo>
                        <a:pt x="55" y="50"/>
                      </a:lnTo>
                      <a:lnTo>
                        <a:pt x="22" y="43"/>
                      </a:lnTo>
                      <a:lnTo>
                        <a:pt x="17" y="26"/>
                      </a:lnTo>
                      <a:lnTo>
                        <a:pt x="0" y="26"/>
                      </a:lnTo>
                      <a:lnTo>
                        <a:pt x="0" y="26"/>
                      </a:lnTo>
                      <a:lnTo>
                        <a:pt x="0" y="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28" name="Freeform 452">
                  <a:extLst>
                    <a:ext uri="{FF2B5EF4-FFF2-40B4-BE49-F238E27FC236}">
                      <a16:creationId xmlns:a16="http://schemas.microsoft.com/office/drawing/2014/main" id="{A168FFAB-75F8-4240-8458-57D38359056B}"/>
                    </a:ext>
                  </a:extLst>
                </p:cNvPr>
                <p:cNvSpPr>
                  <a:spLocks noEditPoints="1"/>
                </p:cNvSpPr>
                <p:nvPr/>
              </p:nvSpPr>
              <p:spPr bwMode="gray">
                <a:xfrm>
                  <a:off x="4618073" y="692696"/>
                  <a:ext cx="1754949" cy="1347958"/>
                </a:xfrm>
                <a:custGeom>
                  <a:avLst/>
                  <a:gdLst>
                    <a:gd name="T0" fmla="*/ 1604 w 4263"/>
                    <a:gd name="T1" fmla="*/ 2143 h 3274"/>
                    <a:gd name="T2" fmla="*/ 1549 w 4263"/>
                    <a:gd name="T3" fmla="*/ 1949 h 3274"/>
                    <a:gd name="T4" fmla="*/ 1240 w 4263"/>
                    <a:gd name="T5" fmla="*/ 1892 h 3274"/>
                    <a:gd name="T6" fmla="*/ 1219 w 4263"/>
                    <a:gd name="T7" fmla="*/ 1555 h 3274"/>
                    <a:gd name="T8" fmla="*/ 756 w 4263"/>
                    <a:gd name="T9" fmla="*/ 1205 h 3274"/>
                    <a:gd name="T10" fmla="*/ 236 w 4263"/>
                    <a:gd name="T11" fmla="*/ 1099 h 3274"/>
                    <a:gd name="T12" fmla="*/ 16 w 4263"/>
                    <a:gd name="T13" fmla="*/ 893 h 3274"/>
                    <a:gd name="T14" fmla="*/ 718 w 4263"/>
                    <a:gd name="T15" fmla="*/ 501 h 3274"/>
                    <a:gd name="T16" fmla="*/ 1516 w 4263"/>
                    <a:gd name="T17" fmla="*/ 305 h 3274"/>
                    <a:gd name="T18" fmla="*/ 2315 w 4263"/>
                    <a:gd name="T19" fmla="*/ 189 h 3274"/>
                    <a:gd name="T20" fmla="*/ 2482 w 4263"/>
                    <a:gd name="T21" fmla="*/ 24 h 3274"/>
                    <a:gd name="T22" fmla="*/ 3439 w 4263"/>
                    <a:gd name="T23" fmla="*/ 123 h 3274"/>
                    <a:gd name="T24" fmla="*/ 3439 w 4263"/>
                    <a:gd name="T25" fmla="*/ 506 h 3274"/>
                    <a:gd name="T26" fmla="*/ 3633 w 4263"/>
                    <a:gd name="T27" fmla="*/ 527 h 3274"/>
                    <a:gd name="T28" fmla="*/ 3746 w 4263"/>
                    <a:gd name="T29" fmla="*/ 749 h 3274"/>
                    <a:gd name="T30" fmla="*/ 3789 w 4263"/>
                    <a:gd name="T31" fmla="*/ 1054 h 3274"/>
                    <a:gd name="T32" fmla="*/ 3734 w 4263"/>
                    <a:gd name="T33" fmla="*/ 1259 h 3274"/>
                    <a:gd name="T34" fmla="*/ 3578 w 4263"/>
                    <a:gd name="T35" fmla="*/ 1489 h 3274"/>
                    <a:gd name="T36" fmla="*/ 3297 w 4263"/>
                    <a:gd name="T37" fmla="*/ 1637 h 3274"/>
                    <a:gd name="T38" fmla="*/ 3493 w 4263"/>
                    <a:gd name="T39" fmla="*/ 1814 h 3274"/>
                    <a:gd name="T40" fmla="*/ 3531 w 4263"/>
                    <a:gd name="T41" fmla="*/ 1982 h 3274"/>
                    <a:gd name="T42" fmla="*/ 3137 w 4263"/>
                    <a:gd name="T43" fmla="*/ 2015 h 3274"/>
                    <a:gd name="T44" fmla="*/ 3326 w 4263"/>
                    <a:gd name="T45" fmla="*/ 2197 h 3274"/>
                    <a:gd name="T46" fmla="*/ 2839 w 4263"/>
                    <a:gd name="T47" fmla="*/ 2275 h 3274"/>
                    <a:gd name="T48" fmla="*/ 2532 w 4263"/>
                    <a:gd name="T49" fmla="*/ 2592 h 3274"/>
                    <a:gd name="T50" fmla="*/ 2272 w 4263"/>
                    <a:gd name="T51" fmla="*/ 2670 h 3274"/>
                    <a:gd name="T52" fmla="*/ 2154 w 4263"/>
                    <a:gd name="T53" fmla="*/ 2941 h 3274"/>
                    <a:gd name="T54" fmla="*/ 2067 w 4263"/>
                    <a:gd name="T55" fmla="*/ 3163 h 3274"/>
                    <a:gd name="T56" fmla="*/ 1927 w 4263"/>
                    <a:gd name="T57" fmla="*/ 3203 h 3274"/>
                    <a:gd name="T58" fmla="*/ 1743 w 4263"/>
                    <a:gd name="T59" fmla="*/ 3163 h 3274"/>
                    <a:gd name="T60" fmla="*/ 1672 w 4263"/>
                    <a:gd name="T61" fmla="*/ 3031 h 3274"/>
                    <a:gd name="T62" fmla="*/ 1511 w 4263"/>
                    <a:gd name="T63" fmla="*/ 2821 h 3274"/>
                    <a:gd name="T64" fmla="*/ 1533 w 4263"/>
                    <a:gd name="T65" fmla="*/ 2736 h 3274"/>
                    <a:gd name="T66" fmla="*/ 1424 w 4263"/>
                    <a:gd name="T67" fmla="*/ 2632 h 3274"/>
                    <a:gd name="T68" fmla="*/ 1353 w 4263"/>
                    <a:gd name="T69" fmla="*/ 2514 h 3274"/>
                    <a:gd name="T70" fmla="*/ 1566 w 4263"/>
                    <a:gd name="T71" fmla="*/ 2393 h 3274"/>
                    <a:gd name="T72" fmla="*/ 1386 w 4263"/>
                    <a:gd name="T73" fmla="*/ 2320 h 3274"/>
                    <a:gd name="T74" fmla="*/ 2272 w 4263"/>
                    <a:gd name="T75" fmla="*/ 67 h 3274"/>
                    <a:gd name="T76" fmla="*/ 2298 w 4263"/>
                    <a:gd name="T77" fmla="*/ 173 h 3274"/>
                    <a:gd name="T78" fmla="*/ 3666 w 4263"/>
                    <a:gd name="T79" fmla="*/ 267 h 3274"/>
                    <a:gd name="T80" fmla="*/ 3881 w 4263"/>
                    <a:gd name="T81" fmla="*/ 749 h 3274"/>
                    <a:gd name="T82" fmla="*/ 3649 w 4263"/>
                    <a:gd name="T83" fmla="*/ 917 h 3274"/>
                    <a:gd name="T84" fmla="*/ 3881 w 4263"/>
                    <a:gd name="T85" fmla="*/ 962 h 3274"/>
                    <a:gd name="T86" fmla="*/ 3741 w 4263"/>
                    <a:gd name="T87" fmla="*/ 1127 h 3274"/>
                    <a:gd name="T88" fmla="*/ 215 w 4263"/>
                    <a:gd name="T89" fmla="*/ 1184 h 3274"/>
                    <a:gd name="T90" fmla="*/ 3864 w 4263"/>
                    <a:gd name="T91" fmla="*/ 1337 h 3274"/>
                    <a:gd name="T92" fmla="*/ 1133 w 4263"/>
                    <a:gd name="T93" fmla="*/ 1460 h 3274"/>
                    <a:gd name="T94" fmla="*/ 1164 w 4263"/>
                    <a:gd name="T95" fmla="*/ 1600 h 3274"/>
                    <a:gd name="T96" fmla="*/ 1202 w 4263"/>
                    <a:gd name="T97" fmla="*/ 1633 h 3274"/>
                    <a:gd name="T98" fmla="*/ 1240 w 4263"/>
                    <a:gd name="T99" fmla="*/ 1687 h 3274"/>
                    <a:gd name="T100" fmla="*/ 1209 w 4263"/>
                    <a:gd name="T101" fmla="*/ 1703 h 3274"/>
                    <a:gd name="T102" fmla="*/ 1226 w 4263"/>
                    <a:gd name="T103" fmla="*/ 1838 h 3274"/>
                    <a:gd name="T104" fmla="*/ 3342 w 4263"/>
                    <a:gd name="T105" fmla="*/ 1933 h 3274"/>
                    <a:gd name="T106" fmla="*/ 1353 w 4263"/>
                    <a:gd name="T107" fmla="*/ 2143 h 3274"/>
                    <a:gd name="T108" fmla="*/ 3486 w 4263"/>
                    <a:gd name="T109" fmla="*/ 2126 h 3274"/>
                    <a:gd name="T110" fmla="*/ 1457 w 4263"/>
                    <a:gd name="T111" fmla="*/ 2308 h 3274"/>
                    <a:gd name="T112" fmla="*/ 1370 w 4263"/>
                    <a:gd name="T113" fmla="*/ 2476 h 3274"/>
                    <a:gd name="T114" fmla="*/ 2504 w 4263"/>
                    <a:gd name="T115" fmla="*/ 2599 h 3274"/>
                    <a:gd name="T116" fmla="*/ 1408 w 4263"/>
                    <a:gd name="T117" fmla="*/ 2641 h 3274"/>
                    <a:gd name="T118" fmla="*/ 1511 w 4263"/>
                    <a:gd name="T119" fmla="*/ 2764 h 3274"/>
                    <a:gd name="T120" fmla="*/ 1566 w 4263"/>
                    <a:gd name="T121" fmla="*/ 2903 h 3274"/>
                    <a:gd name="T122" fmla="*/ 1776 w 4263"/>
                    <a:gd name="T123" fmla="*/ 3163 h 3274"/>
                    <a:gd name="T124" fmla="*/ 2071 w 4263"/>
                    <a:gd name="T125" fmla="*/ 3258 h 3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63" h="3274">
                      <a:moveTo>
                        <a:pt x="1441" y="2308"/>
                      </a:moveTo>
                      <a:lnTo>
                        <a:pt x="1436" y="2299"/>
                      </a:lnTo>
                      <a:lnTo>
                        <a:pt x="1408" y="2299"/>
                      </a:lnTo>
                      <a:lnTo>
                        <a:pt x="1424" y="2292"/>
                      </a:lnTo>
                      <a:lnTo>
                        <a:pt x="1382" y="2299"/>
                      </a:lnTo>
                      <a:lnTo>
                        <a:pt x="1382" y="2292"/>
                      </a:lnTo>
                      <a:lnTo>
                        <a:pt x="1398" y="2292"/>
                      </a:lnTo>
                      <a:lnTo>
                        <a:pt x="1441" y="2259"/>
                      </a:lnTo>
                      <a:lnTo>
                        <a:pt x="1478" y="2259"/>
                      </a:lnTo>
                      <a:lnTo>
                        <a:pt x="1490" y="2259"/>
                      </a:lnTo>
                      <a:lnTo>
                        <a:pt x="1478" y="2259"/>
                      </a:lnTo>
                      <a:lnTo>
                        <a:pt x="1504" y="2266"/>
                      </a:lnTo>
                      <a:lnTo>
                        <a:pt x="1559" y="2254"/>
                      </a:lnTo>
                      <a:lnTo>
                        <a:pt x="1559" y="2242"/>
                      </a:lnTo>
                      <a:lnTo>
                        <a:pt x="1542" y="2237"/>
                      </a:lnTo>
                      <a:lnTo>
                        <a:pt x="1570" y="2225"/>
                      </a:lnTo>
                      <a:lnTo>
                        <a:pt x="1528" y="2237"/>
                      </a:lnTo>
                      <a:lnTo>
                        <a:pt x="1549" y="2209"/>
                      </a:lnTo>
                      <a:lnTo>
                        <a:pt x="1533" y="2209"/>
                      </a:lnTo>
                      <a:lnTo>
                        <a:pt x="1542" y="2188"/>
                      </a:lnTo>
                      <a:lnTo>
                        <a:pt x="1559" y="2188"/>
                      </a:lnTo>
                      <a:lnTo>
                        <a:pt x="1542" y="2204"/>
                      </a:lnTo>
                      <a:lnTo>
                        <a:pt x="1566" y="2197"/>
                      </a:lnTo>
                      <a:lnTo>
                        <a:pt x="1587" y="2221"/>
                      </a:lnTo>
                      <a:lnTo>
                        <a:pt x="1596" y="2209"/>
                      </a:lnTo>
                      <a:lnTo>
                        <a:pt x="1580" y="2204"/>
                      </a:lnTo>
                      <a:lnTo>
                        <a:pt x="1596" y="2197"/>
                      </a:lnTo>
                      <a:lnTo>
                        <a:pt x="1596" y="2204"/>
                      </a:lnTo>
                      <a:lnTo>
                        <a:pt x="1604" y="2209"/>
                      </a:lnTo>
                      <a:lnTo>
                        <a:pt x="1596" y="2197"/>
                      </a:lnTo>
                      <a:lnTo>
                        <a:pt x="1566" y="2188"/>
                      </a:lnTo>
                      <a:lnTo>
                        <a:pt x="1604" y="2181"/>
                      </a:lnTo>
                      <a:lnTo>
                        <a:pt x="1580" y="2181"/>
                      </a:lnTo>
                      <a:lnTo>
                        <a:pt x="1580" y="2164"/>
                      </a:lnTo>
                      <a:lnTo>
                        <a:pt x="1587" y="2164"/>
                      </a:lnTo>
                      <a:lnTo>
                        <a:pt x="1549" y="2181"/>
                      </a:lnTo>
                      <a:lnTo>
                        <a:pt x="1533" y="2181"/>
                      </a:lnTo>
                      <a:lnTo>
                        <a:pt x="1559" y="2148"/>
                      </a:lnTo>
                      <a:lnTo>
                        <a:pt x="1604" y="2143"/>
                      </a:lnTo>
                      <a:lnTo>
                        <a:pt x="1549" y="2143"/>
                      </a:lnTo>
                      <a:lnTo>
                        <a:pt x="1559" y="2126"/>
                      </a:lnTo>
                      <a:lnTo>
                        <a:pt x="1587" y="2131"/>
                      </a:lnTo>
                      <a:lnTo>
                        <a:pt x="1559" y="2114"/>
                      </a:lnTo>
                      <a:lnTo>
                        <a:pt x="1570" y="2110"/>
                      </a:lnTo>
                      <a:lnTo>
                        <a:pt x="1604" y="2110"/>
                      </a:lnTo>
                      <a:lnTo>
                        <a:pt x="1596" y="2093"/>
                      </a:lnTo>
                      <a:lnTo>
                        <a:pt x="1570" y="2086"/>
                      </a:lnTo>
                      <a:lnTo>
                        <a:pt x="1596" y="2077"/>
                      </a:lnTo>
                      <a:lnTo>
                        <a:pt x="1528" y="2086"/>
                      </a:lnTo>
                      <a:lnTo>
                        <a:pt x="1559" y="2077"/>
                      </a:lnTo>
                      <a:lnTo>
                        <a:pt x="1528" y="2070"/>
                      </a:lnTo>
                      <a:lnTo>
                        <a:pt x="1511" y="2086"/>
                      </a:lnTo>
                      <a:lnTo>
                        <a:pt x="1452" y="2070"/>
                      </a:lnTo>
                      <a:lnTo>
                        <a:pt x="1424" y="2044"/>
                      </a:lnTo>
                      <a:lnTo>
                        <a:pt x="1344" y="2032"/>
                      </a:lnTo>
                      <a:lnTo>
                        <a:pt x="1289" y="1987"/>
                      </a:lnTo>
                      <a:lnTo>
                        <a:pt x="1327" y="1966"/>
                      </a:lnTo>
                      <a:lnTo>
                        <a:pt x="1424" y="1982"/>
                      </a:lnTo>
                      <a:lnTo>
                        <a:pt x="1504" y="2020"/>
                      </a:lnTo>
                      <a:lnTo>
                        <a:pt x="1570" y="2037"/>
                      </a:lnTo>
                      <a:lnTo>
                        <a:pt x="1580" y="2032"/>
                      </a:lnTo>
                      <a:lnTo>
                        <a:pt x="1566" y="2020"/>
                      </a:lnTo>
                      <a:lnTo>
                        <a:pt x="1580" y="2015"/>
                      </a:lnTo>
                      <a:lnTo>
                        <a:pt x="1549" y="2020"/>
                      </a:lnTo>
                      <a:lnTo>
                        <a:pt x="1516" y="2003"/>
                      </a:lnTo>
                      <a:lnTo>
                        <a:pt x="1528" y="1999"/>
                      </a:lnTo>
                      <a:lnTo>
                        <a:pt x="1549" y="2015"/>
                      </a:lnTo>
                      <a:lnTo>
                        <a:pt x="1566" y="2003"/>
                      </a:lnTo>
                      <a:lnTo>
                        <a:pt x="1542" y="1999"/>
                      </a:lnTo>
                      <a:lnTo>
                        <a:pt x="1570" y="1999"/>
                      </a:lnTo>
                      <a:lnTo>
                        <a:pt x="1511" y="1982"/>
                      </a:lnTo>
                      <a:lnTo>
                        <a:pt x="1528" y="1975"/>
                      </a:lnTo>
                      <a:lnTo>
                        <a:pt x="1570" y="1982"/>
                      </a:lnTo>
                      <a:lnTo>
                        <a:pt x="1549" y="1975"/>
                      </a:lnTo>
                      <a:lnTo>
                        <a:pt x="1559" y="1966"/>
                      </a:lnTo>
                      <a:lnTo>
                        <a:pt x="1533" y="1966"/>
                      </a:lnTo>
                      <a:lnTo>
                        <a:pt x="1478" y="1942"/>
                      </a:lnTo>
                      <a:lnTo>
                        <a:pt x="1549" y="1949"/>
                      </a:lnTo>
                      <a:lnTo>
                        <a:pt x="1511" y="1942"/>
                      </a:lnTo>
                      <a:lnTo>
                        <a:pt x="1528" y="1926"/>
                      </a:lnTo>
                      <a:lnTo>
                        <a:pt x="1457" y="1933"/>
                      </a:lnTo>
                      <a:lnTo>
                        <a:pt x="1511" y="1909"/>
                      </a:lnTo>
                      <a:lnTo>
                        <a:pt x="1504" y="1904"/>
                      </a:lnTo>
                      <a:lnTo>
                        <a:pt x="1436" y="1926"/>
                      </a:lnTo>
                      <a:lnTo>
                        <a:pt x="1457" y="1909"/>
                      </a:lnTo>
                      <a:lnTo>
                        <a:pt x="1457" y="1904"/>
                      </a:lnTo>
                      <a:lnTo>
                        <a:pt x="1516" y="1888"/>
                      </a:lnTo>
                      <a:lnTo>
                        <a:pt x="1495" y="1876"/>
                      </a:lnTo>
                      <a:lnTo>
                        <a:pt x="1441" y="1892"/>
                      </a:lnTo>
                      <a:lnTo>
                        <a:pt x="1403" y="1892"/>
                      </a:lnTo>
                      <a:lnTo>
                        <a:pt x="1441" y="1871"/>
                      </a:lnTo>
                      <a:lnTo>
                        <a:pt x="1490" y="1871"/>
                      </a:lnTo>
                      <a:lnTo>
                        <a:pt x="1504" y="1855"/>
                      </a:lnTo>
                      <a:lnTo>
                        <a:pt x="1462" y="1864"/>
                      </a:lnTo>
                      <a:lnTo>
                        <a:pt x="1386" y="1855"/>
                      </a:lnTo>
                      <a:lnTo>
                        <a:pt x="1424" y="1814"/>
                      </a:lnTo>
                      <a:lnTo>
                        <a:pt x="1408" y="1822"/>
                      </a:lnTo>
                      <a:lnTo>
                        <a:pt x="1403" y="1831"/>
                      </a:lnTo>
                      <a:lnTo>
                        <a:pt x="1382" y="1838"/>
                      </a:lnTo>
                      <a:lnTo>
                        <a:pt x="1382" y="1810"/>
                      </a:lnTo>
                      <a:lnTo>
                        <a:pt x="1353" y="1798"/>
                      </a:lnTo>
                      <a:lnTo>
                        <a:pt x="1344" y="1765"/>
                      </a:lnTo>
                      <a:lnTo>
                        <a:pt x="1365" y="1765"/>
                      </a:lnTo>
                      <a:lnTo>
                        <a:pt x="1332" y="1765"/>
                      </a:lnTo>
                      <a:lnTo>
                        <a:pt x="1382" y="1831"/>
                      </a:lnTo>
                      <a:lnTo>
                        <a:pt x="1353" y="1848"/>
                      </a:lnTo>
                      <a:lnTo>
                        <a:pt x="1344" y="1848"/>
                      </a:lnTo>
                      <a:lnTo>
                        <a:pt x="1348" y="1855"/>
                      </a:lnTo>
                      <a:lnTo>
                        <a:pt x="1348" y="1864"/>
                      </a:lnTo>
                      <a:lnTo>
                        <a:pt x="1327" y="1855"/>
                      </a:lnTo>
                      <a:lnTo>
                        <a:pt x="1327" y="1864"/>
                      </a:lnTo>
                      <a:lnTo>
                        <a:pt x="1344" y="1871"/>
                      </a:lnTo>
                      <a:lnTo>
                        <a:pt x="1344" y="1888"/>
                      </a:lnTo>
                      <a:lnTo>
                        <a:pt x="1278" y="1904"/>
                      </a:lnTo>
                      <a:lnTo>
                        <a:pt x="1247" y="1876"/>
                      </a:lnTo>
                      <a:lnTo>
                        <a:pt x="1256" y="1892"/>
                      </a:lnTo>
                      <a:lnTo>
                        <a:pt x="1240" y="1892"/>
                      </a:lnTo>
                      <a:lnTo>
                        <a:pt x="1219" y="1864"/>
                      </a:lnTo>
                      <a:lnTo>
                        <a:pt x="1226" y="1864"/>
                      </a:lnTo>
                      <a:lnTo>
                        <a:pt x="1202" y="1855"/>
                      </a:lnTo>
                      <a:lnTo>
                        <a:pt x="1240" y="1831"/>
                      </a:lnTo>
                      <a:lnTo>
                        <a:pt x="1278" y="1822"/>
                      </a:lnTo>
                      <a:lnTo>
                        <a:pt x="1294" y="1810"/>
                      </a:lnTo>
                      <a:lnTo>
                        <a:pt x="1311" y="1781"/>
                      </a:lnTo>
                      <a:lnTo>
                        <a:pt x="1273" y="1822"/>
                      </a:lnTo>
                      <a:lnTo>
                        <a:pt x="1240" y="1822"/>
                      </a:lnTo>
                      <a:lnTo>
                        <a:pt x="1226" y="1814"/>
                      </a:lnTo>
                      <a:lnTo>
                        <a:pt x="1273" y="1781"/>
                      </a:lnTo>
                      <a:lnTo>
                        <a:pt x="1263" y="1765"/>
                      </a:lnTo>
                      <a:lnTo>
                        <a:pt x="1289" y="1765"/>
                      </a:lnTo>
                      <a:lnTo>
                        <a:pt x="1263" y="1760"/>
                      </a:lnTo>
                      <a:lnTo>
                        <a:pt x="1273" y="1760"/>
                      </a:lnTo>
                      <a:lnTo>
                        <a:pt x="1247" y="1765"/>
                      </a:lnTo>
                      <a:lnTo>
                        <a:pt x="1219" y="1748"/>
                      </a:lnTo>
                      <a:lnTo>
                        <a:pt x="1235" y="1744"/>
                      </a:lnTo>
                      <a:lnTo>
                        <a:pt x="1311" y="1748"/>
                      </a:lnTo>
                      <a:lnTo>
                        <a:pt x="1263" y="1744"/>
                      </a:lnTo>
                      <a:lnTo>
                        <a:pt x="1273" y="1727"/>
                      </a:lnTo>
                      <a:lnTo>
                        <a:pt x="1289" y="1727"/>
                      </a:lnTo>
                      <a:lnTo>
                        <a:pt x="1273" y="1727"/>
                      </a:lnTo>
                      <a:lnTo>
                        <a:pt x="1289" y="1711"/>
                      </a:lnTo>
                      <a:lnTo>
                        <a:pt x="1273" y="1711"/>
                      </a:lnTo>
                      <a:lnTo>
                        <a:pt x="1294" y="1703"/>
                      </a:lnTo>
                      <a:lnTo>
                        <a:pt x="1273" y="1670"/>
                      </a:lnTo>
                      <a:lnTo>
                        <a:pt x="1219" y="1666"/>
                      </a:lnTo>
                      <a:lnTo>
                        <a:pt x="1256" y="1649"/>
                      </a:lnTo>
                      <a:lnTo>
                        <a:pt x="1235" y="1637"/>
                      </a:lnTo>
                      <a:lnTo>
                        <a:pt x="1247" y="1626"/>
                      </a:lnTo>
                      <a:lnTo>
                        <a:pt x="1256" y="1626"/>
                      </a:lnTo>
                      <a:lnTo>
                        <a:pt x="1188" y="1583"/>
                      </a:lnTo>
                      <a:lnTo>
                        <a:pt x="1202" y="1583"/>
                      </a:lnTo>
                      <a:lnTo>
                        <a:pt x="1193" y="1583"/>
                      </a:lnTo>
                      <a:lnTo>
                        <a:pt x="1193" y="1571"/>
                      </a:lnTo>
                      <a:lnTo>
                        <a:pt x="1219" y="1576"/>
                      </a:lnTo>
                      <a:lnTo>
                        <a:pt x="1193" y="1559"/>
                      </a:lnTo>
                      <a:lnTo>
                        <a:pt x="1219" y="1555"/>
                      </a:lnTo>
                      <a:lnTo>
                        <a:pt x="1188" y="1538"/>
                      </a:lnTo>
                      <a:lnTo>
                        <a:pt x="1193" y="1538"/>
                      </a:lnTo>
                      <a:lnTo>
                        <a:pt x="1164" y="1526"/>
                      </a:lnTo>
                      <a:lnTo>
                        <a:pt x="1188" y="1498"/>
                      </a:lnTo>
                      <a:lnTo>
                        <a:pt x="1100" y="1522"/>
                      </a:lnTo>
                      <a:lnTo>
                        <a:pt x="1171" y="1498"/>
                      </a:lnTo>
                      <a:lnTo>
                        <a:pt x="1138" y="1489"/>
                      </a:lnTo>
                      <a:lnTo>
                        <a:pt x="1188" y="1481"/>
                      </a:lnTo>
                      <a:lnTo>
                        <a:pt x="1138" y="1472"/>
                      </a:lnTo>
                      <a:lnTo>
                        <a:pt x="1181" y="1472"/>
                      </a:lnTo>
                      <a:lnTo>
                        <a:pt x="1181" y="1460"/>
                      </a:lnTo>
                      <a:lnTo>
                        <a:pt x="1155" y="1460"/>
                      </a:lnTo>
                      <a:lnTo>
                        <a:pt x="1133" y="1444"/>
                      </a:lnTo>
                      <a:lnTo>
                        <a:pt x="1126" y="1444"/>
                      </a:lnTo>
                      <a:lnTo>
                        <a:pt x="1112" y="1427"/>
                      </a:lnTo>
                      <a:lnTo>
                        <a:pt x="1133" y="1427"/>
                      </a:lnTo>
                      <a:lnTo>
                        <a:pt x="1126" y="1411"/>
                      </a:lnTo>
                      <a:lnTo>
                        <a:pt x="1041" y="1387"/>
                      </a:lnTo>
                      <a:lnTo>
                        <a:pt x="1058" y="1370"/>
                      </a:lnTo>
                      <a:lnTo>
                        <a:pt x="1030" y="1354"/>
                      </a:lnTo>
                      <a:lnTo>
                        <a:pt x="1030" y="1337"/>
                      </a:lnTo>
                      <a:lnTo>
                        <a:pt x="1004" y="1349"/>
                      </a:lnTo>
                      <a:lnTo>
                        <a:pt x="1041" y="1333"/>
                      </a:lnTo>
                      <a:lnTo>
                        <a:pt x="1041" y="1321"/>
                      </a:lnTo>
                      <a:lnTo>
                        <a:pt x="1025" y="1316"/>
                      </a:lnTo>
                      <a:lnTo>
                        <a:pt x="1030" y="1300"/>
                      </a:lnTo>
                      <a:lnTo>
                        <a:pt x="1008" y="1300"/>
                      </a:lnTo>
                      <a:lnTo>
                        <a:pt x="1025" y="1295"/>
                      </a:lnTo>
                      <a:lnTo>
                        <a:pt x="975" y="1295"/>
                      </a:lnTo>
                      <a:lnTo>
                        <a:pt x="971" y="1283"/>
                      </a:lnTo>
                      <a:lnTo>
                        <a:pt x="971" y="1276"/>
                      </a:lnTo>
                      <a:lnTo>
                        <a:pt x="971" y="1266"/>
                      </a:lnTo>
                      <a:lnTo>
                        <a:pt x="933" y="1283"/>
                      </a:lnTo>
                      <a:lnTo>
                        <a:pt x="937" y="1259"/>
                      </a:lnTo>
                      <a:lnTo>
                        <a:pt x="878" y="1238"/>
                      </a:lnTo>
                      <a:lnTo>
                        <a:pt x="862" y="1250"/>
                      </a:lnTo>
                      <a:lnTo>
                        <a:pt x="857" y="1226"/>
                      </a:lnTo>
                      <a:lnTo>
                        <a:pt x="760" y="1222"/>
                      </a:lnTo>
                      <a:lnTo>
                        <a:pt x="756" y="1205"/>
                      </a:lnTo>
                      <a:lnTo>
                        <a:pt x="722" y="1210"/>
                      </a:lnTo>
                      <a:lnTo>
                        <a:pt x="718" y="1222"/>
                      </a:lnTo>
                      <a:lnTo>
                        <a:pt x="706" y="1205"/>
                      </a:lnTo>
                      <a:lnTo>
                        <a:pt x="680" y="1193"/>
                      </a:lnTo>
                      <a:lnTo>
                        <a:pt x="652" y="1222"/>
                      </a:lnTo>
                      <a:lnTo>
                        <a:pt x="630" y="1226"/>
                      </a:lnTo>
                      <a:lnTo>
                        <a:pt x="614" y="1222"/>
                      </a:lnTo>
                      <a:lnTo>
                        <a:pt x="626" y="1205"/>
                      </a:lnTo>
                      <a:lnTo>
                        <a:pt x="597" y="1193"/>
                      </a:lnTo>
                      <a:lnTo>
                        <a:pt x="609" y="1205"/>
                      </a:lnTo>
                      <a:lnTo>
                        <a:pt x="597" y="1222"/>
                      </a:lnTo>
                      <a:lnTo>
                        <a:pt x="588" y="1210"/>
                      </a:lnTo>
                      <a:lnTo>
                        <a:pt x="588" y="1226"/>
                      </a:lnTo>
                      <a:lnTo>
                        <a:pt x="593" y="1226"/>
                      </a:lnTo>
                      <a:lnTo>
                        <a:pt x="538" y="1226"/>
                      </a:lnTo>
                      <a:lnTo>
                        <a:pt x="538" y="1238"/>
                      </a:lnTo>
                      <a:lnTo>
                        <a:pt x="534" y="1243"/>
                      </a:lnTo>
                      <a:lnTo>
                        <a:pt x="500" y="1238"/>
                      </a:lnTo>
                      <a:lnTo>
                        <a:pt x="517" y="1222"/>
                      </a:lnTo>
                      <a:lnTo>
                        <a:pt x="508" y="1222"/>
                      </a:lnTo>
                      <a:lnTo>
                        <a:pt x="522" y="1210"/>
                      </a:lnTo>
                      <a:lnTo>
                        <a:pt x="508" y="1210"/>
                      </a:lnTo>
                      <a:lnTo>
                        <a:pt x="479" y="1205"/>
                      </a:lnTo>
                      <a:lnTo>
                        <a:pt x="463" y="1238"/>
                      </a:lnTo>
                      <a:lnTo>
                        <a:pt x="425" y="1210"/>
                      </a:lnTo>
                      <a:lnTo>
                        <a:pt x="399" y="1226"/>
                      </a:lnTo>
                      <a:lnTo>
                        <a:pt x="463" y="1259"/>
                      </a:lnTo>
                      <a:lnTo>
                        <a:pt x="311" y="1238"/>
                      </a:lnTo>
                      <a:lnTo>
                        <a:pt x="323" y="1226"/>
                      </a:lnTo>
                      <a:lnTo>
                        <a:pt x="290" y="1226"/>
                      </a:lnTo>
                      <a:lnTo>
                        <a:pt x="302" y="1222"/>
                      </a:lnTo>
                      <a:lnTo>
                        <a:pt x="236" y="1193"/>
                      </a:lnTo>
                      <a:lnTo>
                        <a:pt x="302" y="1165"/>
                      </a:lnTo>
                      <a:lnTo>
                        <a:pt x="356" y="1165"/>
                      </a:lnTo>
                      <a:lnTo>
                        <a:pt x="356" y="1148"/>
                      </a:lnTo>
                      <a:lnTo>
                        <a:pt x="269" y="1148"/>
                      </a:lnTo>
                      <a:lnTo>
                        <a:pt x="205" y="1132"/>
                      </a:lnTo>
                      <a:lnTo>
                        <a:pt x="248" y="1099"/>
                      </a:lnTo>
                      <a:lnTo>
                        <a:pt x="236" y="1099"/>
                      </a:lnTo>
                      <a:lnTo>
                        <a:pt x="177" y="1132"/>
                      </a:lnTo>
                      <a:lnTo>
                        <a:pt x="144" y="1115"/>
                      </a:lnTo>
                      <a:lnTo>
                        <a:pt x="160" y="1111"/>
                      </a:lnTo>
                      <a:lnTo>
                        <a:pt x="130" y="1111"/>
                      </a:lnTo>
                      <a:lnTo>
                        <a:pt x="113" y="1094"/>
                      </a:lnTo>
                      <a:lnTo>
                        <a:pt x="151" y="1077"/>
                      </a:lnTo>
                      <a:lnTo>
                        <a:pt x="144" y="1073"/>
                      </a:lnTo>
                      <a:lnTo>
                        <a:pt x="198" y="1061"/>
                      </a:lnTo>
                      <a:lnTo>
                        <a:pt x="463" y="1077"/>
                      </a:lnTo>
                      <a:lnTo>
                        <a:pt x="479" y="1073"/>
                      </a:lnTo>
                      <a:lnTo>
                        <a:pt x="432" y="1077"/>
                      </a:lnTo>
                      <a:lnTo>
                        <a:pt x="274" y="1061"/>
                      </a:lnTo>
                      <a:lnTo>
                        <a:pt x="378" y="1037"/>
                      </a:lnTo>
                      <a:lnTo>
                        <a:pt x="479" y="1061"/>
                      </a:lnTo>
                      <a:lnTo>
                        <a:pt x="446" y="1037"/>
                      </a:lnTo>
                      <a:lnTo>
                        <a:pt x="484" y="1021"/>
                      </a:lnTo>
                      <a:lnTo>
                        <a:pt x="470" y="1004"/>
                      </a:lnTo>
                      <a:lnTo>
                        <a:pt x="437" y="1000"/>
                      </a:lnTo>
                      <a:lnTo>
                        <a:pt x="415" y="1000"/>
                      </a:lnTo>
                      <a:lnTo>
                        <a:pt x="382" y="1021"/>
                      </a:lnTo>
                      <a:lnTo>
                        <a:pt x="328" y="1021"/>
                      </a:lnTo>
                      <a:lnTo>
                        <a:pt x="302" y="1000"/>
                      </a:lnTo>
                      <a:lnTo>
                        <a:pt x="290" y="1000"/>
                      </a:lnTo>
                      <a:lnTo>
                        <a:pt x="307" y="1021"/>
                      </a:lnTo>
                      <a:lnTo>
                        <a:pt x="257" y="1028"/>
                      </a:lnTo>
                      <a:lnTo>
                        <a:pt x="193" y="1016"/>
                      </a:lnTo>
                      <a:lnTo>
                        <a:pt x="248" y="1000"/>
                      </a:lnTo>
                      <a:lnTo>
                        <a:pt x="248" y="983"/>
                      </a:lnTo>
                      <a:lnTo>
                        <a:pt x="167" y="1000"/>
                      </a:lnTo>
                      <a:lnTo>
                        <a:pt x="215" y="971"/>
                      </a:lnTo>
                      <a:lnTo>
                        <a:pt x="122" y="983"/>
                      </a:lnTo>
                      <a:lnTo>
                        <a:pt x="113" y="983"/>
                      </a:lnTo>
                      <a:lnTo>
                        <a:pt x="130" y="966"/>
                      </a:lnTo>
                      <a:lnTo>
                        <a:pt x="75" y="966"/>
                      </a:lnTo>
                      <a:lnTo>
                        <a:pt x="42" y="945"/>
                      </a:lnTo>
                      <a:lnTo>
                        <a:pt x="54" y="945"/>
                      </a:lnTo>
                      <a:lnTo>
                        <a:pt x="0" y="917"/>
                      </a:lnTo>
                      <a:lnTo>
                        <a:pt x="37" y="905"/>
                      </a:lnTo>
                      <a:lnTo>
                        <a:pt x="16" y="893"/>
                      </a:lnTo>
                      <a:lnTo>
                        <a:pt x="30" y="877"/>
                      </a:lnTo>
                      <a:lnTo>
                        <a:pt x="30" y="872"/>
                      </a:lnTo>
                      <a:lnTo>
                        <a:pt x="30" y="860"/>
                      </a:lnTo>
                      <a:lnTo>
                        <a:pt x="97" y="851"/>
                      </a:lnTo>
                      <a:lnTo>
                        <a:pt x="151" y="851"/>
                      </a:lnTo>
                      <a:lnTo>
                        <a:pt x="160" y="839"/>
                      </a:lnTo>
                      <a:lnTo>
                        <a:pt x="269" y="806"/>
                      </a:lnTo>
                      <a:lnTo>
                        <a:pt x="302" y="815"/>
                      </a:lnTo>
                      <a:lnTo>
                        <a:pt x="269" y="799"/>
                      </a:lnTo>
                      <a:lnTo>
                        <a:pt x="328" y="778"/>
                      </a:lnTo>
                      <a:lnTo>
                        <a:pt x="371" y="782"/>
                      </a:lnTo>
                      <a:lnTo>
                        <a:pt x="382" y="766"/>
                      </a:lnTo>
                      <a:lnTo>
                        <a:pt x="491" y="778"/>
                      </a:lnTo>
                      <a:lnTo>
                        <a:pt x="576" y="704"/>
                      </a:lnTo>
                      <a:lnTo>
                        <a:pt x="555" y="655"/>
                      </a:lnTo>
                      <a:lnTo>
                        <a:pt x="559" y="638"/>
                      </a:lnTo>
                      <a:lnTo>
                        <a:pt x="555" y="629"/>
                      </a:lnTo>
                      <a:lnTo>
                        <a:pt x="647" y="600"/>
                      </a:lnTo>
                      <a:lnTo>
                        <a:pt x="626" y="600"/>
                      </a:lnTo>
                      <a:lnTo>
                        <a:pt x="614" y="584"/>
                      </a:lnTo>
                      <a:lnTo>
                        <a:pt x="609" y="600"/>
                      </a:lnTo>
                      <a:lnTo>
                        <a:pt x="571" y="617"/>
                      </a:lnTo>
                      <a:lnTo>
                        <a:pt x="415" y="617"/>
                      </a:lnTo>
                      <a:lnTo>
                        <a:pt x="408" y="600"/>
                      </a:lnTo>
                      <a:lnTo>
                        <a:pt x="382" y="596"/>
                      </a:lnTo>
                      <a:lnTo>
                        <a:pt x="394" y="572"/>
                      </a:lnTo>
                      <a:lnTo>
                        <a:pt x="437" y="555"/>
                      </a:lnTo>
                      <a:lnTo>
                        <a:pt x="437" y="539"/>
                      </a:lnTo>
                      <a:lnTo>
                        <a:pt x="522" y="518"/>
                      </a:lnTo>
                      <a:lnTo>
                        <a:pt x="517" y="506"/>
                      </a:lnTo>
                      <a:lnTo>
                        <a:pt x="555" y="501"/>
                      </a:lnTo>
                      <a:lnTo>
                        <a:pt x="559" y="489"/>
                      </a:lnTo>
                      <a:lnTo>
                        <a:pt x="559" y="485"/>
                      </a:lnTo>
                      <a:lnTo>
                        <a:pt x="588" y="473"/>
                      </a:lnTo>
                      <a:lnTo>
                        <a:pt x="576" y="461"/>
                      </a:lnTo>
                      <a:lnTo>
                        <a:pt x="652" y="433"/>
                      </a:lnTo>
                      <a:lnTo>
                        <a:pt x="668" y="444"/>
                      </a:lnTo>
                      <a:lnTo>
                        <a:pt x="680" y="466"/>
                      </a:lnTo>
                      <a:lnTo>
                        <a:pt x="718" y="501"/>
                      </a:lnTo>
                      <a:lnTo>
                        <a:pt x="722" y="501"/>
                      </a:lnTo>
                      <a:lnTo>
                        <a:pt x="685" y="466"/>
                      </a:lnTo>
                      <a:lnTo>
                        <a:pt x="680" y="433"/>
                      </a:lnTo>
                      <a:lnTo>
                        <a:pt x="718" y="416"/>
                      </a:lnTo>
                      <a:lnTo>
                        <a:pt x="803" y="449"/>
                      </a:lnTo>
                      <a:lnTo>
                        <a:pt x="841" y="444"/>
                      </a:lnTo>
                      <a:lnTo>
                        <a:pt x="848" y="433"/>
                      </a:lnTo>
                      <a:lnTo>
                        <a:pt x="824" y="395"/>
                      </a:lnTo>
                      <a:lnTo>
                        <a:pt x="862" y="374"/>
                      </a:lnTo>
                      <a:lnTo>
                        <a:pt x="810" y="333"/>
                      </a:lnTo>
                      <a:lnTo>
                        <a:pt x="857" y="305"/>
                      </a:lnTo>
                      <a:lnTo>
                        <a:pt x="911" y="300"/>
                      </a:lnTo>
                      <a:lnTo>
                        <a:pt x="992" y="305"/>
                      </a:lnTo>
                      <a:lnTo>
                        <a:pt x="1008" y="350"/>
                      </a:lnTo>
                      <a:lnTo>
                        <a:pt x="1079" y="355"/>
                      </a:lnTo>
                      <a:lnTo>
                        <a:pt x="1112" y="390"/>
                      </a:lnTo>
                      <a:lnTo>
                        <a:pt x="1155" y="407"/>
                      </a:lnTo>
                      <a:lnTo>
                        <a:pt x="1164" y="407"/>
                      </a:lnTo>
                      <a:lnTo>
                        <a:pt x="1046" y="350"/>
                      </a:lnTo>
                      <a:lnTo>
                        <a:pt x="1020" y="305"/>
                      </a:lnTo>
                      <a:lnTo>
                        <a:pt x="949" y="296"/>
                      </a:lnTo>
                      <a:lnTo>
                        <a:pt x="1155" y="244"/>
                      </a:lnTo>
                      <a:lnTo>
                        <a:pt x="1171" y="263"/>
                      </a:lnTo>
                      <a:lnTo>
                        <a:pt x="1202" y="244"/>
                      </a:lnTo>
                      <a:lnTo>
                        <a:pt x="1247" y="244"/>
                      </a:lnTo>
                      <a:lnTo>
                        <a:pt x="1240" y="251"/>
                      </a:lnTo>
                      <a:lnTo>
                        <a:pt x="1256" y="263"/>
                      </a:lnTo>
                      <a:lnTo>
                        <a:pt x="1247" y="239"/>
                      </a:lnTo>
                      <a:lnTo>
                        <a:pt x="1226" y="239"/>
                      </a:lnTo>
                      <a:lnTo>
                        <a:pt x="1301" y="222"/>
                      </a:lnTo>
                      <a:lnTo>
                        <a:pt x="1365" y="267"/>
                      </a:lnTo>
                      <a:lnTo>
                        <a:pt x="1370" y="305"/>
                      </a:lnTo>
                      <a:lnTo>
                        <a:pt x="1348" y="338"/>
                      </a:lnTo>
                      <a:lnTo>
                        <a:pt x="1348" y="362"/>
                      </a:lnTo>
                      <a:lnTo>
                        <a:pt x="1370" y="374"/>
                      </a:lnTo>
                      <a:lnTo>
                        <a:pt x="1365" y="350"/>
                      </a:lnTo>
                      <a:lnTo>
                        <a:pt x="1408" y="317"/>
                      </a:lnTo>
                      <a:lnTo>
                        <a:pt x="1403" y="284"/>
                      </a:lnTo>
                      <a:lnTo>
                        <a:pt x="1516" y="305"/>
                      </a:lnTo>
                      <a:lnTo>
                        <a:pt x="1618" y="355"/>
                      </a:lnTo>
                      <a:lnTo>
                        <a:pt x="1641" y="350"/>
                      </a:lnTo>
                      <a:lnTo>
                        <a:pt x="1542" y="300"/>
                      </a:lnTo>
                      <a:lnTo>
                        <a:pt x="1625" y="305"/>
                      </a:lnTo>
                      <a:lnTo>
                        <a:pt x="1656" y="300"/>
                      </a:lnTo>
                      <a:lnTo>
                        <a:pt x="1566" y="251"/>
                      </a:lnTo>
                      <a:lnTo>
                        <a:pt x="1533" y="194"/>
                      </a:lnTo>
                      <a:lnTo>
                        <a:pt x="1672" y="206"/>
                      </a:lnTo>
                      <a:lnTo>
                        <a:pt x="1785" y="263"/>
                      </a:lnTo>
                      <a:lnTo>
                        <a:pt x="1873" y="279"/>
                      </a:lnTo>
                      <a:lnTo>
                        <a:pt x="1894" y="284"/>
                      </a:lnTo>
                      <a:lnTo>
                        <a:pt x="1889" y="300"/>
                      </a:lnTo>
                      <a:lnTo>
                        <a:pt x="1991" y="333"/>
                      </a:lnTo>
                      <a:lnTo>
                        <a:pt x="2019" y="317"/>
                      </a:lnTo>
                      <a:lnTo>
                        <a:pt x="1982" y="300"/>
                      </a:lnTo>
                      <a:lnTo>
                        <a:pt x="2003" y="296"/>
                      </a:lnTo>
                      <a:lnTo>
                        <a:pt x="1974" y="296"/>
                      </a:lnTo>
                      <a:lnTo>
                        <a:pt x="1996" y="279"/>
                      </a:lnTo>
                      <a:lnTo>
                        <a:pt x="1982" y="251"/>
                      </a:lnTo>
                      <a:lnTo>
                        <a:pt x="1991" y="239"/>
                      </a:lnTo>
                      <a:lnTo>
                        <a:pt x="2154" y="251"/>
                      </a:lnTo>
                      <a:lnTo>
                        <a:pt x="2050" y="227"/>
                      </a:lnTo>
                      <a:lnTo>
                        <a:pt x="2045" y="222"/>
                      </a:lnTo>
                      <a:lnTo>
                        <a:pt x="2050" y="222"/>
                      </a:lnTo>
                      <a:lnTo>
                        <a:pt x="1911" y="152"/>
                      </a:lnTo>
                      <a:lnTo>
                        <a:pt x="2163" y="152"/>
                      </a:lnTo>
                      <a:lnTo>
                        <a:pt x="2175" y="156"/>
                      </a:lnTo>
                      <a:lnTo>
                        <a:pt x="2163" y="168"/>
                      </a:lnTo>
                      <a:lnTo>
                        <a:pt x="2192" y="173"/>
                      </a:lnTo>
                      <a:lnTo>
                        <a:pt x="2192" y="194"/>
                      </a:lnTo>
                      <a:lnTo>
                        <a:pt x="2196" y="206"/>
                      </a:lnTo>
                      <a:lnTo>
                        <a:pt x="2208" y="194"/>
                      </a:lnTo>
                      <a:lnTo>
                        <a:pt x="2208" y="173"/>
                      </a:lnTo>
                      <a:lnTo>
                        <a:pt x="2180" y="156"/>
                      </a:lnTo>
                      <a:lnTo>
                        <a:pt x="2208" y="156"/>
                      </a:lnTo>
                      <a:lnTo>
                        <a:pt x="2298" y="189"/>
                      </a:lnTo>
                      <a:lnTo>
                        <a:pt x="2322" y="222"/>
                      </a:lnTo>
                      <a:lnTo>
                        <a:pt x="2336" y="222"/>
                      </a:lnTo>
                      <a:lnTo>
                        <a:pt x="2315" y="189"/>
                      </a:lnTo>
                      <a:lnTo>
                        <a:pt x="2326" y="178"/>
                      </a:lnTo>
                      <a:lnTo>
                        <a:pt x="2322" y="173"/>
                      </a:lnTo>
                      <a:lnTo>
                        <a:pt x="2305" y="168"/>
                      </a:lnTo>
                      <a:lnTo>
                        <a:pt x="2159" y="135"/>
                      </a:lnTo>
                      <a:lnTo>
                        <a:pt x="1958" y="123"/>
                      </a:lnTo>
                      <a:lnTo>
                        <a:pt x="1974" y="135"/>
                      </a:lnTo>
                      <a:lnTo>
                        <a:pt x="1894" y="140"/>
                      </a:lnTo>
                      <a:lnTo>
                        <a:pt x="1835" y="116"/>
                      </a:lnTo>
                      <a:lnTo>
                        <a:pt x="1894" y="123"/>
                      </a:lnTo>
                      <a:lnTo>
                        <a:pt x="1840" y="111"/>
                      </a:lnTo>
                      <a:lnTo>
                        <a:pt x="1894" y="95"/>
                      </a:lnTo>
                      <a:lnTo>
                        <a:pt x="1958" y="123"/>
                      </a:lnTo>
                      <a:lnTo>
                        <a:pt x="2083" y="123"/>
                      </a:lnTo>
                      <a:lnTo>
                        <a:pt x="1974" y="111"/>
                      </a:lnTo>
                      <a:lnTo>
                        <a:pt x="1927" y="83"/>
                      </a:lnTo>
                      <a:lnTo>
                        <a:pt x="1937" y="83"/>
                      </a:lnTo>
                      <a:lnTo>
                        <a:pt x="2109" y="95"/>
                      </a:lnTo>
                      <a:lnTo>
                        <a:pt x="2033" y="67"/>
                      </a:lnTo>
                      <a:lnTo>
                        <a:pt x="2109" y="67"/>
                      </a:lnTo>
                      <a:lnTo>
                        <a:pt x="2083" y="67"/>
                      </a:lnTo>
                      <a:lnTo>
                        <a:pt x="2126" y="62"/>
                      </a:lnTo>
                      <a:lnTo>
                        <a:pt x="2196" y="78"/>
                      </a:lnTo>
                      <a:lnTo>
                        <a:pt x="2180" y="95"/>
                      </a:lnTo>
                      <a:lnTo>
                        <a:pt x="2208" y="83"/>
                      </a:lnTo>
                      <a:lnTo>
                        <a:pt x="2272" y="116"/>
                      </a:lnTo>
                      <a:lnTo>
                        <a:pt x="2352" y="116"/>
                      </a:lnTo>
                      <a:lnTo>
                        <a:pt x="2411" y="156"/>
                      </a:lnTo>
                      <a:lnTo>
                        <a:pt x="2423" y="140"/>
                      </a:lnTo>
                      <a:lnTo>
                        <a:pt x="2374" y="116"/>
                      </a:lnTo>
                      <a:lnTo>
                        <a:pt x="2504" y="111"/>
                      </a:lnTo>
                      <a:lnTo>
                        <a:pt x="2397" y="100"/>
                      </a:lnTo>
                      <a:lnTo>
                        <a:pt x="2537" y="83"/>
                      </a:lnTo>
                      <a:lnTo>
                        <a:pt x="2407" y="67"/>
                      </a:lnTo>
                      <a:lnTo>
                        <a:pt x="2397" y="62"/>
                      </a:lnTo>
                      <a:lnTo>
                        <a:pt x="2397" y="29"/>
                      </a:lnTo>
                      <a:lnTo>
                        <a:pt x="2466" y="45"/>
                      </a:lnTo>
                      <a:lnTo>
                        <a:pt x="2478" y="45"/>
                      </a:lnTo>
                      <a:lnTo>
                        <a:pt x="2449" y="29"/>
                      </a:lnTo>
                      <a:lnTo>
                        <a:pt x="2482" y="24"/>
                      </a:lnTo>
                      <a:lnTo>
                        <a:pt x="2570" y="45"/>
                      </a:lnTo>
                      <a:lnTo>
                        <a:pt x="2537" y="24"/>
                      </a:lnTo>
                      <a:lnTo>
                        <a:pt x="2714" y="0"/>
                      </a:lnTo>
                      <a:lnTo>
                        <a:pt x="2747" y="29"/>
                      </a:lnTo>
                      <a:lnTo>
                        <a:pt x="2752" y="24"/>
                      </a:lnTo>
                      <a:lnTo>
                        <a:pt x="2730" y="5"/>
                      </a:lnTo>
                      <a:lnTo>
                        <a:pt x="2990" y="0"/>
                      </a:lnTo>
                      <a:lnTo>
                        <a:pt x="3125" y="24"/>
                      </a:lnTo>
                      <a:lnTo>
                        <a:pt x="3092" y="24"/>
                      </a:lnTo>
                      <a:lnTo>
                        <a:pt x="3115" y="41"/>
                      </a:lnTo>
                      <a:lnTo>
                        <a:pt x="3200" y="24"/>
                      </a:lnTo>
                      <a:lnTo>
                        <a:pt x="3326" y="57"/>
                      </a:lnTo>
                      <a:lnTo>
                        <a:pt x="3233" y="83"/>
                      </a:lnTo>
                      <a:lnTo>
                        <a:pt x="3016" y="78"/>
                      </a:lnTo>
                      <a:lnTo>
                        <a:pt x="2882" y="100"/>
                      </a:lnTo>
                      <a:lnTo>
                        <a:pt x="2775" y="83"/>
                      </a:lnTo>
                      <a:lnTo>
                        <a:pt x="2844" y="100"/>
                      </a:lnTo>
                      <a:lnTo>
                        <a:pt x="2624" y="123"/>
                      </a:lnTo>
                      <a:lnTo>
                        <a:pt x="2645" y="135"/>
                      </a:lnTo>
                      <a:lnTo>
                        <a:pt x="2629" y="152"/>
                      </a:lnTo>
                      <a:lnTo>
                        <a:pt x="2638" y="156"/>
                      </a:lnTo>
                      <a:lnTo>
                        <a:pt x="2645" y="140"/>
                      </a:lnTo>
                      <a:lnTo>
                        <a:pt x="2676" y="123"/>
                      </a:lnTo>
                      <a:lnTo>
                        <a:pt x="2747" y="123"/>
                      </a:lnTo>
                      <a:lnTo>
                        <a:pt x="2752" y="140"/>
                      </a:lnTo>
                      <a:lnTo>
                        <a:pt x="2737" y="152"/>
                      </a:lnTo>
                      <a:lnTo>
                        <a:pt x="2747" y="152"/>
                      </a:lnTo>
                      <a:lnTo>
                        <a:pt x="2768" y="116"/>
                      </a:lnTo>
                      <a:lnTo>
                        <a:pt x="2877" y="111"/>
                      </a:lnTo>
                      <a:lnTo>
                        <a:pt x="2898" y="123"/>
                      </a:lnTo>
                      <a:lnTo>
                        <a:pt x="3016" y="83"/>
                      </a:lnTo>
                      <a:lnTo>
                        <a:pt x="3146" y="100"/>
                      </a:lnTo>
                      <a:lnTo>
                        <a:pt x="3352" y="78"/>
                      </a:lnTo>
                      <a:lnTo>
                        <a:pt x="3380" y="95"/>
                      </a:lnTo>
                      <a:lnTo>
                        <a:pt x="3368" y="95"/>
                      </a:lnTo>
                      <a:lnTo>
                        <a:pt x="3385" y="111"/>
                      </a:lnTo>
                      <a:lnTo>
                        <a:pt x="3352" y="140"/>
                      </a:lnTo>
                      <a:lnTo>
                        <a:pt x="3309" y="152"/>
                      </a:lnTo>
                      <a:lnTo>
                        <a:pt x="3439" y="123"/>
                      </a:lnTo>
                      <a:lnTo>
                        <a:pt x="3448" y="135"/>
                      </a:lnTo>
                      <a:lnTo>
                        <a:pt x="3439" y="135"/>
                      </a:lnTo>
                      <a:lnTo>
                        <a:pt x="3439" y="156"/>
                      </a:lnTo>
                      <a:lnTo>
                        <a:pt x="3477" y="135"/>
                      </a:lnTo>
                      <a:lnTo>
                        <a:pt x="3628" y="178"/>
                      </a:lnTo>
                      <a:lnTo>
                        <a:pt x="3545" y="227"/>
                      </a:lnTo>
                      <a:lnTo>
                        <a:pt x="3363" y="263"/>
                      </a:lnTo>
                      <a:lnTo>
                        <a:pt x="3028" y="267"/>
                      </a:lnTo>
                      <a:lnTo>
                        <a:pt x="2910" y="251"/>
                      </a:lnTo>
                      <a:lnTo>
                        <a:pt x="3023" y="267"/>
                      </a:lnTo>
                      <a:lnTo>
                        <a:pt x="2801" y="322"/>
                      </a:lnTo>
                      <a:lnTo>
                        <a:pt x="2806" y="350"/>
                      </a:lnTo>
                      <a:lnTo>
                        <a:pt x="2898" y="317"/>
                      </a:lnTo>
                      <a:lnTo>
                        <a:pt x="3040" y="300"/>
                      </a:lnTo>
                      <a:lnTo>
                        <a:pt x="3028" y="305"/>
                      </a:lnTo>
                      <a:lnTo>
                        <a:pt x="3044" y="305"/>
                      </a:lnTo>
                      <a:lnTo>
                        <a:pt x="3082" y="296"/>
                      </a:lnTo>
                      <a:lnTo>
                        <a:pt x="3352" y="296"/>
                      </a:lnTo>
                      <a:lnTo>
                        <a:pt x="3347" y="317"/>
                      </a:lnTo>
                      <a:lnTo>
                        <a:pt x="3342" y="333"/>
                      </a:lnTo>
                      <a:lnTo>
                        <a:pt x="3184" y="378"/>
                      </a:lnTo>
                      <a:lnTo>
                        <a:pt x="3217" y="390"/>
                      </a:lnTo>
                      <a:lnTo>
                        <a:pt x="3184" y="395"/>
                      </a:lnTo>
                      <a:lnTo>
                        <a:pt x="3205" y="395"/>
                      </a:lnTo>
                      <a:lnTo>
                        <a:pt x="3368" y="338"/>
                      </a:lnTo>
                      <a:lnTo>
                        <a:pt x="3422" y="338"/>
                      </a:lnTo>
                      <a:lnTo>
                        <a:pt x="3432" y="333"/>
                      </a:lnTo>
                      <a:lnTo>
                        <a:pt x="3432" y="300"/>
                      </a:lnTo>
                      <a:lnTo>
                        <a:pt x="3439" y="284"/>
                      </a:lnTo>
                      <a:lnTo>
                        <a:pt x="3557" y="279"/>
                      </a:lnTo>
                      <a:lnTo>
                        <a:pt x="3578" y="300"/>
                      </a:lnTo>
                      <a:lnTo>
                        <a:pt x="3578" y="333"/>
                      </a:lnTo>
                      <a:lnTo>
                        <a:pt x="3562" y="378"/>
                      </a:lnTo>
                      <a:lnTo>
                        <a:pt x="3541" y="407"/>
                      </a:lnTo>
                      <a:lnTo>
                        <a:pt x="3507" y="411"/>
                      </a:lnTo>
                      <a:lnTo>
                        <a:pt x="3524" y="411"/>
                      </a:lnTo>
                      <a:lnTo>
                        <a:pt x="3448" y="473"/>
                      </a:lnTo>
                      <a:lnTo>
                        <a:pt x="3456" y="489"/>
                      </a:lnTo>
                      <a:lnTo>
                        <a:pt x="3439" y="506"/>
                      </a:lnTo>
                      <a:lnTo>
                        <a:pt x="3406" y="518"/>
                      </a:lnTo>
                      <a:lnTo>
                        <a:pt x="3432" y="518"/>
                      </a:lnTo>
                      <a:lnTo>
                        <a:pt x="3401" y="539"/>
                      </a:lnTo>
                      <a:lnTo>
                        <a:pt x="3465" y="506"/>
                      </a:lnTo>
                      <a:lnTo>
                        <a:pt x="3470" y="489"/>
                      </a:lnTo>
                      <a:lnTo>
                        <a:pt x="3470" y="473"/>
                      </a:lnTo>
                      <a:lnTo>
                        <a:pt x="3524" y="461"/>
                      </a:lnTo>
                      <a:lnTo>
                        <a:pt x="3666" y="362"/>
                      </a:lnTo>
                      <a:lnTo>
                        <a:pt x="3725" y="338"/>
                      </a:lnTo>
                      <a:lnTo>
                        <a:pt x="3704" y="355"/>
                      </a:lnTo>
                      <a:lnTo>
                        <a:pt x="3692" y="378"/>
                      </a:lnTo>
                      <a:lnTo>
                        <a:pt x="3772" y="362"/>
                      </a:lnTo>
                      <a:lnTo>
                        <a:pt x="3796" y="378"/>
                      </a:lnTo>
                      <a:lnTo>
                        <a:pt x="3810" y="374"/>
                      </a:lnTo>
                      <a:lnTo>
                        <a:pt x="3855" y="378"/>
                      </a:lnTo>
                      <a:lnTo>
                        <a:pt x="3855" y="362"/>
                      </a:lnTo>
                      <a:lnTo>
                        <a:pt x="3885" y="355"/>
                      </a:lnTo>
                      <a:lnTo>
                        <a:pt x="3864" y="350"/>
                      </a:lnTo>
                      <a:lnTo>
                        <a:pt x="3871" y="333"/>
                      </a:lnTo>
                      <a:lnTo>
                        <a:pt x="3902" y="338"/>
                      </a:lnTo>
                      <a:lnTo>
                        <a:pt x="3897" y="333"/>
                      </a:lnTo>
                      <a:lnTo>
                        <a:pt x="3897" y="317"/>
                      </a:lnTo>
                      <a:lnTo>
                        <a:pt x="3935" y="317"/>
                      </a:lnTo>
                      <a:lnTo>
                        <a:pt x="3952" y="300"/>
                      </a:lnTo>
                      <a:lnTo>
                        <a:pt x="4086" y="300"/>
                      </a:lnTo>
                      <a:lnTo>
                        <a:pt x="4195" y="322"/>
                      </a:lnTo>
                      <a:lnTo>
                        <a:pt x="4263" y="355"/>
                      </a:lnTo>
                      <a:lnTo>
                        <a:pt x="4136" y="433"/>
                      </a:lnTo>
                      <a:lnTo>
                        <a:pt x="4070" y="433"/>
                      </a:lnTo>
                      <a:lnTo>
                        <a:pt x="4060" y="444"/>
                      </a:lnTo>
                      <a:lnTo>
                        <a:pt x="4098" y="466"/>
                      </a:lnTo>
                      <a:lnTo>
                        <a:pt x="4011" y="489"/>
                      </a:lnTo>
                      <a:lnTo>
                        <a:pt x="3994" y="506"/>
                      </a:lnTo>
                      <a:lnTo>
                        <a:pt x="3864" y="489"/>
                      </a:lnTo>
                      <a:lnTo>
                        <a:pt x="3855" y="506"/>
                      </a:lnTo>
                      <a:lnTo>
                        <a:pt x="3817" y="522"/>
                      </a:lnTo>
                      <a:lnTo>
                        <a:pt x="3708" y="518"/>
                      </a:lnTo>
                      <a:lnTo>
                        <a:pt x="3682" y="527"/>
                      </a:lnTo>
                      <a:lnTo>
                        <a:pt x="3633" y="527"/>
                      </a:lnTo>
                      <a:lnTo>
                        <a:pt x="3666" y="544"/>
                      </a:lnTo>
                      <a:lnTo>
                        <a:pt x="3720" y="522"/>
                      </a:lnTo>
                      <a:lnTo>
                        <a:pt x="3826" y="539"/>
                      </a:lnTo>
                      <a:lnTo>
                        <a:pt x="3897" y="522"/>
                      </a:lnTo>
                      <a:lnTo>
                        <a:pt x="3994" y="544"/>
                      </a:lnTo>
                      <a:lnTo>
                        <a:pt x="3961" y="560"/>
                      </a:lnTo>
                      <a:lnTo>
                        <a:pt x="3952" y="560"/>
                      </a:lnTo>
                      <a:lnTo>
                        <a:pt x="3956" y="572"/>
                      </a:lnTo>
                      <a:lnTo>
                        <a:pt x="3918" y="584"/>
                      </a:lnTo>
                      <a:lnTo>
                        <a:pt x="3741" y="577"/>
                      </a:lnTo>
                      <a:lnTo>
                        <a:pt x="3682" y="612"/>
                      </a:lnTo>
                      <a:lnTo>
                        <a:pt x="3692" y="612"/>
                      </a:lnTo>
                      <a:lnTo>
                        <a:pt x="3682" y="629"/>
                      </a:lnTo>
                      <a:lnTo>
                        <a:pt x="3687" y="629"/>
                      </a:lnTo>
                      <a:lnTo>
                        <a:pt x="3666" y="650"/>
                      </a:lnTo>
                      <a:lnTo>
                        <a:pt x="3687" y="650"/>
                      </a:lnTo>
                      <a:lnTo>
                        <a:pt x="3692" y="666"/>
                      </a:lnTo>
                      <a:lnTo>
                        <a:pt x="3725" y="650"/>
                      </a:lnTo>
                      <a:lnTo>
                        <a:pt x="3704" y="655"/>
                      </a:lnTo>
                      <a:lnTo>
                        <a:pt x="3704" y="650"/>
                      </a:lnTo>
                      <a:lnTo>
                        <a:pt x="3720" y="633"/>
                      </a:lnTo>
                      <a:lnTo>
                        <a:pt x="3772" y="612"/>
                      </a:lnTo>
                      <a:lnTo>
                        <a:pt x="3864" y="600"/>
                      </a:lnTo>
                      <a:lnTo>
                        <a:pt x="3897" y="617"/>
                      </a:lnTo>
                      <a:lnTo>
                        <a:pt x="3843" y="666"/>
                      </a:lnTo>
                      <a:lnTo>
                        <a:pt x="3772" y="655"/>
                      </a:lnTo>
                      <a:lnTo>
                        <a:pt x="3746" y="683"/>
                      </a:lnTo>
                      <a:lnTo>
                        <a:pt x="3746" y="695"/>
                      </a:lnTo>
                      <a:lnTo>
                        <a:pt x="3734" y="711"/>
                      </a:lnTo>
                      <a:lnTo>
                        <a:pt x="3741" y="728"/>
                      </a:lnTo>
                      <a:lnTo>
                        <a:pt x="3725" y="761"/>
                      </a:lnTo>
                      <a:lnTo>
                        <a:pt x="3746" y="740"/>
                      </a:lnTo>
                      <a:lnTo>
                        <a:pt x="3779" y="740"/>
                      </a:lnTo>
                      <a:lnTo>
                        <a:pt x="3772" y="749"/>
                      </a:lnTo>
                      <a:lnTo>
                        <a:pt x="3789" y="761"/>
                      </a:lnTo>
                      <a:lnTo>
                        <a:pt x="3763" y="761"/>
                      </a:lnTo>
                      <a:lnTo>
                        <a:pt x="3772" y="744"/>
                      </a:lnTo>
                      <a:lnTo>
                        <a:pt x="3763" y="744"/>
                      </a:lnTo>
                      <a:lnTo>
                        <a:pt x="3746" y="749"/>
                      </a:lnTo>
                      <a:lnTo>
                        <a:pt x="3746" y="766"/>
                      </a:lnTo>
                      <a:lnTo>
                        <a:pt x="3708" y="778"/>
                      </a:lnTo>
                      <a:lnTo>
                        <a:pt x="3725" y="794"/>
                      </a:lnTo>
                      <a:lnTo>
                        <a:pt x="3720" y="806"/>
                      </a:lnTo>
                      <a:lnTo>
                        <a:pt x="3633" y="815"/>
                      </a:lnTo>
                      <a:lnTo>
                        <a:pt x="3654" y="839"/>
                      </a:lnTo>
                      <a:lnTo>
                        <a:pt x="3616" y="851"/>
                      </a:lnTo>
                      <a:lnTo>
                        <a:pt x="3654" y="851"/>
                      </a:lnTo>
                      <a:lnTo>
                        <a:pt x="3628" y="905"/>
                      </a:lnTo>
                      <a:lnTo>
                        <a:pt x="3628" y="910"/>
                      </a:lnTo>
                      <a:lnTo>
                        <a:pt x="3595" y="926"/>
                      </a:lnTo>
                      <a:lnTo>
                        <a:pt x="3616" y="926"/>
                      </a:lnTo>
                      <a:lnTo>
                        <a:pt x="3595" y="945"/>
                      </a:lnTo>
                      <a:lnTo>
                        <a:pt x="3583" y="962"/>
                      </a:lnTo>
                      <a:lnTo>
                        <a:pt x="3611" y="950"/>
                      </a:lnTo>
                      <a:lnTo>
                        <a:pt x="3578" y="1000"/>
                      </a:lnTo>
                      <a:lnTo>
                        <a:pt x="3616" y="1000"/>
                      </a:lnTo>
                      <a:lnTo>
                        <a:pt x="3595" y="1016"/>
                      </a:lnTo>
                      <a:lnTo>
                        <a:pt x="3611" y="1016"/>
                      </a:lnTo>
                      <a:lnTo>
                        <a:pt x="3616" y="1004"/>
                      </a:lnTo>
                      <a:lnTo>
                        <a:pt x="3628" y="971"/>
                      </a:lnTo>
                      <a:lnTo>
                        <a:pt x="3654" y="945"/>
                      </a:lnTo>
                      <a:lnTo>
                        <a:pt x="3692" y="966"/>
                      </a:lnTo>
                      <a:lnTo>
                        <a:pt x="3772" y="983"/>
                      </a:lnTo>
                      <a:lnTo>
                        <a:pt x="3796" y="1004"/>
                      </a:lnTo>
                      <a:lnTo>
                        <a:pt x="3763" y="1016"/>
                      </a:lnTo>
                      <a:lnTo>
                        <a:pt x="3704" y="988"/>
                      </a:lnTo>
                      <a:lnTo>
                        <a:pt x="3654" y="1000"/>
                      </a:lnTo>
                      <a:lnTo>
                        <a:pt x="3704" y="1016"/>
                      </a:lnTo>
                      <a:lnTo>
                        <a:pt x="3670" y="1016"/>
                      </a:lnTo>
                      <a:lnTo>
                        <a:pt x="3692" y="1021"/>
                      </a:lnTo>
                      <a:lnTo>
                        <a:pt x="3649" y="1016"/>
                      </a:lnTo>
                      <a:lnTo>
                        <a:pt x="3720" y="1028"/>
                      </a:lnTo>
                      <a:lnTo>
                        <a:pt x="3666" y="1037"/>
                      </a:lnTo>
                      <a:lnTo>
                        <a:pt x="3741" y="1037"/>
                      </a:lnTo>
                      <a:lnTo>
                        <a:pt x="3763" y="1054"/>
                      </a:lnTo>
                      <a:lnTo>
                        <a:pt x="3758" y="1061"/>
                      </a:lnTo>
                      <a:lnTo>
                        <a:pt x="3789" y="1073"/>
                      </a:lnTo>
                      <a:lnTo>
                        <a:pt x="3789" y="1054"/>
                      </a:lnTo>
                      <a:lnTo>
                        <a:pt x="3796" y="1044"/>
                      </a:lnTo>
                      <a:lnTo>
                        <a:pt x="3833" y="1044"/>
                      </a:lnTo>
                      <a:lnTo>
                        <a:pt x="3843" y="1061"/>
                      </a:lnTo>
                      <a:lnTo>
                        <a:pt x="3848" y="1111"/>
                      </a:lnTo>
                      <a:lnTo>
                        <a:pt x="3843" y="1132"/>
                      </a:lnTo>
                      <a:lnTo>
                        <a:pt x="3826" y="1132"/>
                      </a:lnTo>
                      <a:lnTo>
                        <a:pt x="3826" y="1139"/>
                      </a:lnTo>
                      <a:lnTo>
                        <a:pt x="3796" y="1127"/>
                      </a:lnTo>
                      <a:lnTo>
                        <a:pt x="3670" y="1099"/>
                      </a:lnTo>
                      <a:lnTo>
                        <a:pt x="3649" y="1111"/>
                      </a:lnTo>
                      <a:lnTo>
                        <a:pt x="3682" y="1111"/>
                      </a:lnTo>
                      <a:lnTo>
                        <a:pt x="3595" y="1115"/>
                      </a:lnTo>
                      <a:lnTo>
                        <a:pt x="3654" y="1127"/>
                      </a:lnTo>
                      <a:lnTo>
                        <a:pt x="3628" y="1132"/>
                      </a:lnTo>
                      <a:lnTo>
                        <a:pt x="3611" y="1155"/>
                      </a:lnTo>
                      <a:lnTo>
                        <a:pt x="3562" y="1127"/>
                      </a:lnTo>
                      <a:lnTo>
                        <a:pt x="3545" y="1127"/>
                      </a:lnTo>
                      <a:lnTo>
                        <a:pt x="3545" y="1139"/>
                      </a:lnTo>
                      <a:lnTo>
                        <a:pt x="3524" y="1148"/>
                      </a:lnTo>
                      <a:lnTo>
                        <a:pt x="3557" y="1172"/>
                      </a:lnTo>
                      <a:lnTo>
                        <a:pt x="3557" y="1165"/>
                      </a:lnTo>
                      <a:lnTo>
                        <a:pt x="3562" y="1155"/>
                      </a:lnTo>
                      <a:lnTo>
                        <a:pt x="3595" y="1165"/>
                      </a:lnTo>
                      <a:lnTo>
                        <a:pt x="3600" y="1172"/>
                      </a:lnTo>
                      <a:lnTo>
                        <a:pt x="3578" y="1184"/>
                      </a:lnTo>
                      <a:lnTo>
                        <a:pt x="3600" y="1184"/>
                      </a:lnTo>
                      <a:lnTo>
                        <a:pt x="3541" y="1184"/>
                      </a:lnTo>
                      <a:lnTo>
                        <a:pt x="3611" y="1189"/>
                      </a:lnTo>
                      <a:lnTo>
                        <a:pt x="3600" y="1210"/>
                      </a:lnTo>
                      <a:lnTo>
                        <a:pt x="3637" y="1205"/>
                      </a:lnTo>
                      <a:lnTo>
                        <a:pt x="3682" y="1226"/>
                      </a:lnTo>
                      <a:lnTo>
                        <a:pt x="3687" y="1226"/>
                      </a:lnTo>
                      <a:lnTo>
                        <a:pt x="3637" y="1205"/>
                      </a:lnTo>
                      <a:lnTo>
                        <a:pt x="3734" y="1222"/>
                      </a:lnTo>
                      <a:lnTo>
                        <a:pt x="3741" y="1226"/>
                      </a:lnTo>
                      <a:lnTo>
                        <a:pt x="3741" y="1243"/>
                      </a:lnTo>
                      <a:lnTo>
                        <a:pt x="3692" y="1250"/>
                      </a:lnTo>
                      <a:lnTo>
                        <a:pt x="3578" y="1250"/>
                      </a:lnTo>
                      <a:lnTo>
                        <a:pt x="3734" y="1259"/>
                      </a:lnTo>
                      <a:lnTo>
                        <a:pt x="3746" y="1283"/>
                      </a:lnTo>
                      <a:lnTo>
                        <a:pt x="3746" y="1300"/>
                      </a:lnTo>
                      <a:lnTo>
                        <a:pt x="3763" y="1316"/>
                      </a:lnTo>
                      <a:lnTo>
                        <a:pt x="3763" y="1337"/>
                      </a:lnTo>
                      <a:lnTo>
                        <a:pt x="3758" y="1370"/>
                      </a:lnTo>
                      <a:lnTo>
                        <a:pt x="3725" y="1377"/>
                      </a:lnTo>
                      <a:lnTo>
                        <a:pt x="3720" y="1370"/>
                      </a:lnTo>
                      <a:lnTo>
                        <a:pt x="3725" y="1354"/>
                      </a:lnTo>
                      <a:lnTo>
                        <a:pt x="3708" y="1349"/>
                      </a:lnTo>
                      <a:lnTo>
                        <a:pt x="3670" y="1354"/>
                      </a:lnTo>
                      <a:lnTo>
                        <a:pt x="3616" y="1316"/>
                      </a:lnTo>
                      <a:lnTo>
                        <a:pt x="3562" y="1300"/>
                      </a:lnTo>
                      <a:lnTo>
                        <a:pt x="3616" y="1333"/>
                      </a:lnTo>
                      <a:lnTo>
                        <a:pt x="3541" y="1316"/>
                      </a:lnTo>
                      <a:lnTo>
                        <a:pt x="3616" y="1333"/>
                      </a:lnTo>
                      <a:lnTo>
                        <a:pt x="3682" y="1377"/>
                      </a:lnTo>
                      <a:lnTo>
                        <a:pt x="3633" y="1377"/>
                      </a:lnTo>
                      <a:lnTo>
                        <a:pt x="3595" y="1406"/>
                      </a:lnTo>
                      <a:lnTo>
                        <a:pt x="3545" y="1370"/>
                      </a:lnTo>
                      <a:lnTo>
                        <a:pt x="3595" y="1406"/>
                      </a:lnTo>
                      <a:lnTo>
                        <a:pt x="3637" y="1387"/>
                      </a:lnTo>
                      <a:lnTo>
                        <a:pt x="3670" y="1387"/>
                      </a:lnTo>
                      <a:lnTo>
                        <a:pt x="3666" y="1415"/>
                      </a:lnTo>
                      <a:lnTo>
                        <a:pt x="3682" y="1432"/>
                      </a:lnTo>
                      <a:lnTo>
                        <a:pt x="3637" y="1444"/>
                      </a:lnTo>
                      <a:lnTo>
                        <a:pt x="3704" y="1444"/>
                      </a:lnTo>
                      <a:lnTo>
                        <a:pt x="3734" y="1460"/>
                      </a:lnTo>
                      <a:lnTo>
                        <a:pt x="3763" y="1444"/>
                      </a:lnTo>
                      <a:lnTo>
                        <a:pt x="3772" y="1448"/>
                      </a:lnTo>
                      <a:lnTo>
                        <a:pt x="3772" y="1465"/>
                      </a:lnTo>
                      <a:lnTo>
                        <a:pt x="3789" y="1472"/>
                      </a:lnTo>
                      <a:lnTo>
                        <a:pt x="3763" y="1498"/>
                      </a:lnTo>
                      <a:lnTo>
                        <a:pt x="3741" y="1505"/>
                      </a:lnTo>
                      <a:lnTo>
                        <a:pt x="3708" y="1498"/>
                      </a:lnTo>
                      <a:lnTo>
                        <a:pt x="3692" y="1472"/>
                      </a:lnTo>
                      <a:lnTo>
                        <a:pt x="3600" y="1472"/>
                      </a:lnTo>
                      <a:lnTo>
                        <a:pt x="3574" y="1448"/>
                      </a:lnTo>
                      <a:lnTo>
                        <a:pt x="3595" y="1481"/>
                      </a:lnTo>
                      <a:lnTo>
                        <a:pt x="3578" y="1489"/>
                      </a:lnTo>
                      <a:lnTo>
                        <a:pt x="3545" y="1498"/>
                      </a:lnTo>
                      <a:lnTo>
                        <a:pt x="3574" y="1498"/>
                      </a:lnTo>
                      <a:lnTo>
                        <a:pt x="3562" y="1514"/>
                      </a:lnTo>
                      <a:lnTo>
                        <a:pt x="3562" y="1522"/>
                      </a:lnTo>
                      <a:lnTo>
                        <a:pt x="3541" y="1526"/>
                      </a:lnTo>
                      <a:lnTo>
                        <a:pt x="3578" y="1538"/>
                      </a:lnTo>
                      <a:lnTo>
                        <a:pt x="3595" y="1559"/>
                      </a:lnTo>
                      <a:lnTo>
                        <a:pt x="3595" y="1583"/>
                      </a:lnTo>
                      <a:lnTo>
                        <a:pt x="3600" y="1576"/>
                      </a:lnTo>
                      <a:lnTo>
                        <a:pt x="3583" y="1538"/>
                      </a:lnTo>
                      <a:lnTo>
                        <a:pt x="3595" y="1526"/>
                      </a:lnTo>
                      <a:lnTo>
                        <a:pt x="3704" y="1555"/>
                      </a:lnTo>
                      <a:lnTo>
                        <a:pt x="3704" y="1571"/>
                      </a:lnTo>
                      <a:lnTo>
                        <a:pt x="3682" y="1576"/>
                      </a:lnTo>
                      <a:lnTo>
                        <a:pt x="3687" y="1583"/>
                      </a:lnTo>
                      <a:lnTo>
                        <a:pt x="3682" y="1600"/>
                      </a:lnTo>
                      <a:lnTo>
                        <a:pt x="3692" y="1600"/>
                      </a:lnTo>
                      <a:lnTo>
                        <a:pt x="3687" y="1616"/>
                      </a:lnTo>
                      <a:lnTo>
                        <a:pt x="3611" y="1609"/>
                      </a:lnTo>
                      <a:lnTo>
                        <a:pt x="3600" y="1626"/>
                      </a:lnTo>
                      <a:lnTo>
                        <a:pt x="3557" y="1637"/>
                      </a:lnTo>
                      <a:lnTo>
                        <a:pt x="3470" y="1616"/>
                      </a:lnTo>
                      <a:lnTo>
                        <a:pt x="3439" y="1592"/>
                      </a:lnTo>
                      <a:lnTo>
                        <a:pt x="3439" y="1576"/>
                      </a:lnTo>
                      <a:lnTo>
                        <a:pt x="3470" y="1576"/>
                      </a:lnTo>
                      <a:lnTo>
                        <a:pt x="3531" y="1600"/>
                      </a:lnTo>
                      <a:lnTo>
                        <a:pt x="3562" y="1592"/>
                      </a:lnTo>
                      <a:lnTo>
                        <a:pt x="3524" y="1600"/>
                      </a:lnTo>
                      <a:lnTo>
                        <a:pt x="3432" y="1559"/>
                      </a:lnTo>
                      <a:lnTo>
                        <a:pt x="3406" y="1576"/>
                      </a:lnTo>
                      <a:lnTo>
                        <a:pt x="3406" y="1600"/>
                      </a:lnTo>
                      <a:lnTo>
                        <a:pt x="3368" y="1592"/>
                      </a:lnTo>
                      <a:lnTo>
                        <a:pt x="3368" y="1576"/>
                      </a:lnTo>
                      <a:lnTo>
                        <a:pt x="3314" y="1543"/>
                      </a:lnTo>
                      <a:lnTo>
                        <a:pt x="3330" y="1571"/>
                      </a:lnTo>
                      <a:lnTo>
                        <a:pt x="3394" y="1609"/>
                      </a:lnTo>
                      <a:lnTo>
                        <a:pt x="3347" y="1616"/>
                      </a:lnTo>
                      <a:lnTo>
                        <a:pt x="3314" y="1637"/>
                      </a:lnTo>
                      <a:lnTo>
                        <a:pt x="3297" y="1637"/>
                      </a:lnTo>
                      <a:lnTo>
                        <a:pt x="3238" y="1633"/>
                      </a:lnTo>
                      <a:lnTo>
                        <a:pt x="3200" y="1609"/>
                      </a:lnTo>
                      <a:lnTo>
                        <a:pt x="3191" y="1616"/>
                      </a:lnTo>
                      <a:lnTo>
                        <a:pt x="3271" y="1637"/>
                      </a:lnTo>
                      <a:lnTo>
                        <a:pt x="3243" y="1654"/>
                      </a:lnTo>
                      <a:lnTo>
                        <a:pt x="3222" y="1649"/>
                      </a:lnTo>
                      <a:lnTo>
                        <a:pt x="3179" y="1654"/>
                      </a:lnTo>
                      <a:lnTo>
                        <a:pt x="3200" y="1666"/>
                      </a:lnTo>
                      <a:lnTo>
                        <a:pt x="3200" y="1682"/>
                      </a:lnTo>
                      <a:lnTo>
                        <a:pt x="3191" y="1687"/>
                      </a:lnTo>
                      <a:lnTo>
                        <a:pt x="3205" y="1682"/>
                      </a:lnTo>
                      <a:lnTo>
                        <a:pt x="3205" y="1666"/>
                      </a:lnTo>
                      <a:lnTo>
                        <a:pt x="3255" y="1666"/>
                      </a:lnTo>
                      <a:lnTo>
                        <a:pt x="3271" y="1649"/>
                      </a:lnTo>
                      <a:lnTo>
                        <a:pt x="3363" y="1666"/>
                      </a:lnTo>
                      <a:lnTo>
                        <a:pt x="3368" y="1682"/>
                      </a:lnTo>
                      <a:lnTo>
                        <a:pt x="3352" y="1687"/>
                      </a:lnTo>
                      <a:lnTo>
                        <a:pt x="3314" y="1687"/>
                      </a:lnTo>
                      <a:lnTo>
                        <a:pt x="3293" y="1703"/>
                      </a:lnTo>
                      <a:lnTo>
                        <a:pt x="3243" y="1694"/>
                      </a:lnTo>
                      <a:lnTo>
                        <a:pt x="3200" y="1694"/>
                      </a:lnTo>
                      <a:lnTo>
                        <a:pt x="3271" y="1711"/>
                      </a:lnTo>
                      <a:lnTo>
                        <a:pt x="3243" y="1720"/>
                      </a:lnTo>
                      <a:lnTo>
                        <a:pt x="3276" y="1711"/>
                      </a:lnTo>
                      <a:lnTo>
                        <a:pt x="3259" y="1737"/>
                      </a:lnTo>
                      <a:lnTo>
                        <a:pt x="3330" y="1703"/>
                      </a:lnTo>
                      <a:lnTo>
                        <a:pt x="3380" y="1711"/>
                      </a:lnTo>
                      <a:lnTo>
                        <a:pt x="3385" y="1720"/>
                      </a:lnTo>
                      <a:lnTo>
                        <a:pt x="3385" y="1737"/>
                      </a:lnTo>
                      <a:lnTo>
                        <a:pt x="3394" y="1744"/>
                      </a:lnTo>
                      <a:lnTo>
                        <a:pt x="3297" y="1760"/>
                      </a:lnTo>
                      <a:lnTo>
                        <a:pt x="3347" y="1760"/>
                      </a:lnTo>
                      <a:lnTo>
                        <a:pt x="3330" y="1798"/>
                      </a:lnTo>
                      <a:lnTo>
                        <a:pt x="3342" y="1793"/>
                      </a:lnTo>
                      <a:lnTo>
                        <a:pt x="3342" y="1777"/>
                      </a:lnTo>
                      <a:lnTo>
                        <a:pt x="3352" y="1765"/>
                      </a:lnTo>
                      <a:lnTo>
                        <a:pt x="3394" y="1760"/>
                      </a:lnTo>
                      <a:lnTo>
                        <a:pt x="3503" y="1810"/>
                      </a:lnTo>
                      <a:lnTo>
                        <a:pt x="3493" y="1814"/>
                      </a:lnTo>
                      <a:lnTo>
                        <a:pt x="3541" y="1831"/>
                      </a:lnTo>
                      <a:lnTo>
                        <a:pt x="3503" y="1864"/>
                      </a:lnTo>
                      <a:lnTo>
                        <a:pt x="3545" y="1838"/>
                      </a:lnTo>
                      <a:lnTo>
                        <a:pt x="3531" y="1864"/>
                      </a:lnTo>
                      <a:lnTo>
                        <a:pt x="3531" y="1871"/>
                      </a:lnTo>
                      <a:lnTo>
                        <a:pt x="3562" y="1848"/>
                      </a:lnTo>
                      <a:lnTo>
                        <a:pt x="3583" y="1848"/>
                      </a:lnTo>
                      <a:lnTo>
                        <a:pt x="3562" y="1864"/>
                      </a:lnTo>
                      <a:lnTo>
                        <a:pt x="3574" y="1871"/>
                      </a:lnTo>
                      <a:lnTo>
                        <a:pt x="3541" y="1871"/>
                      </a:lnTo>
                      <a:lnTo>
                        <a:pt x="3545" y="1909"/>
                      </a:lnTo>
                      <a:lnTo>
                        <a:pt x="3557" y="1909"/>
                      </a:lnTo>
                      <a:lnTo>
                        <a:pt x="3557" y="1888"/>
                      </a:lnTo>
                      <a:lnTo>
                        <a:pt x="3595" y="1876"/>
                      </a:lnTo>
                      <a:lnTo>
                        <a:pt x="3600" y="1892"/>
                      </a:lnTo>
                      <a:lnTo>
                        <a:pt x="3595" y="1904"/>
                      </a:lnTo>
                      <a:lnTo>
                        <a:pt x="3611" y="1904"/>
                      </a:lnTo>
                      <a:lnTo>
                        <a:pt x="3578" y="1909"/>
                      </a:lnTo>
                      <a:lnTo>
                        <a:pt x="3595" y="1909"/>
                      </a:lnTo>
                      <a:lnTo>
                        <a:pt x="3600" y="1926"/>
                      </a:lnTo>
                      <a:lnTo>
                        <a:pt x="3557" y="1942"/>
                      </a:lnTo>
                      <a:lnTo>
                        <a:pt x="3600" y="1933"/>
                      </a:lnTo>
                      <a:lnTo>
                        <a:pt x="3611" y="1949"/>
                      </a:lnTo>
                      <a:lnTo>
                        <a:pt x="3600" y="1975"/>
                      </a:lnTo>
                      <a:lnTo>
                        <a:pt x="3583" y="1975"/>
                      </a:lnTo>
                      <a:lnTo>
                        <a:pt x="3600" y="1975"/>
                      </a:lnTo>
                      <a:lnTo>
                        <a:pt x="3611" y="1982"/>
                      </a:lnTo>
                      <a:lnTo>
                        <a:pt x="3595" y="1982"/>
                      </a:lnTo>
                      <a:lnTo>
                        <a:pt x="3600" y="1987"/>
                      </a:lnTo>
                      <a:lnTo>
                        <a:pt x="3595" y="2003"/>
                      </a:lnTo>
                      <a:lnTo>
                        <a:pt x="3616" y="2003"/>
                      </a:lnTo>
                      <a:lnTo>
                        <a:pt x="3578" y="2032"/>
                      </a:lnTo>
                      <a:lnTo>
                        <a:pt x="3583" y="2015"/>
                      </a:lnTo>
                      <a:lnTo>
                        <a:pt x="3578" y="2015"/>
                      </a:lnTo>
                      <a:lnTo>
                        <a:pt x="3557" y="2020"/>
                      </a:lnTo>
                      <a:lnTo>
                        <a:pt x="3545" y="1987"/>
                      </a:lnTo>
                      <a:lnTo>
                        <a:pt x="3545" y="1966"/>
                      </a:lnTo>
                      <a:lnTo>
                        <a:pt x="3541" y="1966"/>
                      </a:lnTo>
                      <a:lnTo>
                        <a:pt x="3531" y="1982"/>
                      </a:lnTo>
                      <a:lnTo>
                        <a:pt x="3541" y="2003"/>
                      </a:lnTo>
                      <a:lnTo>
                        <a:pt x="3531" y="2020"/>
                      </a:lnTo>
                      <a:lnTo>
                        <a:pt x="3486" y="2020"/>
                      </a:lnTo>
                      <a:lnTo>
                        <a:pt x="3439" y="1987"/>
                      </a:lnTo>
                      <a:lnTo>
                        <a:pt x="3422" y="1975"/>
                      </a:lnTo>
                      <a:lnTo>
                        <a:pt x="3422" y="1942"/>
                      </a:lnTo>
                      <a:lnTo>
                        <a:pt x="3385" y="1904"/>
                      </a:lnTo>
                      <a:lnTo>
                        <a:pt x="3363" y="1909"/>
                      </a:lnTo>
                      <a:lnTo>
                        <a:pt x="3326" y="1876"/>
                      </a:lnTo>
                      <a:lnTo>
                        <a:pt x="3233" y="1871"/>
                      </a:lnTo>
                      <a:lnTo>
                        <a:pt x="3179" y="1822"/>
                      </a:lnTo>
                      <a:lnTo>
                        <a:pt x="3115" y="1798"/>
                      </a:lnTo>
                      <a:lnTo>
                        <a:pt x="3108" y="1798"/>
                      </a:lnTo>
                      <a:lnTo>
                        <a:pt x="3130" y="1814"/>
                      </a:lnTo>
                      <a:lnTo>
                        <a:pt x="3125" y="1822"/>
                      </a:lnTo>
                      <a:lnTo>
                        <a:pt x="3167" y="1831"/>
                      </a:lnTo>
                      <a:lnTo>
                        <a:pt x="3205" y="1855"/>
                      </a:lnTo>
                      <a:lnTo>
                        <a:pt x="3200" y="1864"/>
                      </a:lnTo>
                      <a:lnTo>
                        <a:pt x="3125" y="1871"/>
                      </a:lnTo>
                      <a:lnTo>
                        <a:pt x="3200" y="1871"/>
                      </a:lnTo>
                      <a:lnTo>
                        <a:pt x="3217" y="1871"/>
                      </a:lnTo>
                      <a:lnTo>
                        <a:pt x="3205" y="1876"/>
                      </a:lnTo>
                      <a:lnTo>
                        <a:pt x="3205" y="1888"/>
                      </a:lnTo>
                      <a:lnTo>
                        <a:pt x="3309" y="1876"/>
                      </a:lnTo>
                      <a:lnTo>
                        <a:pt x="3342" y="1904"/>
                      </a:lnTo>
                      <a:lnTo>
                        <a:pt x="3330" y="1921"/>
                      </a:lnTo>
                      <a:lnTo>
                        <a:pt x="3314" y="1909"/>
                      </a:lnTo>
                      <a:lnTo>
                        <a:pt x="3326" y="1926"/>
                      </a:lnTo>
                      <a:lnTo>
                        <a:pt x="3259" y="1949"/>
                      </a:lnTo>
                      <a:lnTo>
                        <a:pt x="3191" y="1959"/>
                      </a:lnTo>
                      <a:lnTo>
                        <a:pt x="3167" y="1926"/>
                      </a:lnTo>
                      <a:lnTo>
                        <a:pt x="3163" y="1926"/>
                      </a:lnTo>
                      <a:lnTo>
                        <a:pt x="3184" y="1949"/>
                      </a:lnTo>
                      <a:lnTo>
                        <a:pt x="3130" y="1949"/>
                      </a:lnTo>
                      <a:lnTo>
                        <a:pt x="3163" y="1966"/>
                      </a:lnTo>
                      <a:lnTo>
                        <a:pt x="3137" y="2003"/>
                      </a:lnTo>
                      <a:lnTo>
                        <a:pt x="3070" y="2015"/>
                      </a:lnTo>
                      <a:lnTo>
                        <a:pt x="3070" y="2032"/>
                      </a:lnTo>
                      <a:lnTo>
                        <a:pt x="3137" y="2015"/>
                      </a:lnTo>
                      <a:lnTo>
                        <a:pt x="3130" y="2020"/>
                      </a:lnTo>
                      <a:lnTo>
                        <a:pt x="3137" y="2032"/>
                      </a:lnTo>
                      <a:lnTo>
                        <a:pt x="3243" y="2015"/>
                      </a:lnTo>
                      <a:lnTo>
                        <a:pt x="3276" y="2032"/>
                      </a:lnTo>
                      <a:lnTo>
                        <a:pt x="3243" y="2037"/>
                      </a:lnTo>
                      <a:lnTo>
                        <a:pt x="3233" y="2037"/>
                      </a:lnTo>
                      <a:lnTo>
                        <a:pt x="3167" y="2070"/>
                      </a:lnTo>
                      <a:lnTo>
                        <a:pt x="3115" y="2060"/>
                      </a:lnTo>
                      <a:lnTo>
                        <a:pt x="3125" y="2070"/>
                      </a:lnTo>
                      <a:lnTo>
                        <a:pt x="3191" y="2070"/>
                      </a:lnTo>
                      <a:lnTo>
                        <a:pt x="3191" y="2086"/>
                      </a:lnTo>
                      <a:lnTo>
                        <a:pt x="3200" y="2086"/>
                      </a:lnTo>
                      <a:lnTo>
                        <a:pt x="3217" y="2053"/>
                      </a:lnTo>
                      <a:lnTo>
                        <a:pt x="3233" y="2044"/>
                      </a:lnTo>
                      <a:lnTo>
                        <a:pt x="3276" y="2053"/>
                      </a:lnTo>
                      <a:lnTo>
                        <a:pt x="3352" y="2020"/>
                      </a:lnTo>
                      <a:lnTo>
                        <a:pt x="3347" y="2037"/>
                      </a:lnTo>
                      <a:lnTo>
                        <a:pt x="3363" y="2032"/>
                      </a:lnTo>
                      <a:lnTo>
                        <a:pt x="3470" y="2060"/>
                      </a:lnTo>
                      <a:lnTo>
                        <a:pt x="3574" y="2060"/>
                      </a:lnTo>
                      <a:lnTo>
                        <a:pt x="3557" y="2077"/>
                      </a:lnTo>
                      <a:lnTo>
                        <a:pt x="3486" y="2093"/>
                      </a:lnTo>
                      <a:lnTo>
                        <a:pt x="3519" y="2098"/>
                      </a:lnTo>
                      <a:lnTo>
                        <a:pt x="3507" y="2110"/>
                      </a:lnTo>
                      <a:lnTo>
                        <a:pt x="3486" y="2093"/>
                      </a:lnTo>
                      <a:lnTo>
                        <a:pt x="3493" y="2110"/>
                      </a:lnTo>
                      <a:lnTo>
                        <a:pt x="3439" y="2110"/>
                      </a:lnTo>
                      <a:lnTo>
                        <a:pt x="3470" y="2126"/>
                      </a:lnTo>
                      <a:lnTo>
                        <a:pt x="3448" y="2143"/>
                      </a:lnTo>
                      <a:lnTo>
                        <a:pt x="3418" y="2126"/>
                      </a:lnTo>
                      <a:lnTo>
                        <a:pt x="3432" y="2143"/>
                      </a:lnTo>
                      <a:lnTo>
                        <a:pt x="3406" y="2155"/>
                      </a:lnTo>
                      <a:lnTo>
                        <a:pt x="3394" y="2155"/>
                      </a:lnTo>
                      <a:lnTo>
                        <a:pt x="3394" y="2171"/>
                      </a:lnTo>
                      <a:lnTo>
                        <a:pt x="3352" y="2171"/>
                      </a:lnTo>
                      <a:lnTo>
                        <a:pt x="3347" y="2171"/>
                      </a:lnTo>
                      <a:lnTo>
                        <a:pt x="3368" y="2188"/>
                      </a:lnTo>
                      <a:lnTo>
                        <a:pt x="3347" y="2204"/>
                      </a:lnTo>
                      <a:lnTo>
                        <a:pt x="3326" y="2197"/>
                      </a:lnTo>
                      <a:lnTo>
                        <a:pt x="3342" y="2209"/>
                      </a:lnTo>
                      <a:lnTo>
                        <a:pt x="3314" y="2209"/>
                      </a:lnTo>
                      <a:lnTo>
                        <a:pt x="3326" y="2221"/>
                      </a:lnTo>
                      <a:lnTo>
                        <a:pt x="3271" y="2242"/>
                      </a:lnTo>
                      <a:lnTo>
                        <a:pt x="3200" y="2259"/>
                      </a:lnTo>
                      <a:lnTo>
                        <a:pt x="3205" y="2259"/>
                      </a:lnTo>
                      <a:lnTo>
                        <a:pt x="3184" y="2259"/>
                      </a:lnTo>
                      <a:lnTo>
                        <a:pt x="3179" y="2266"/>
                      </a:lnTo>
                      <a:lnTo>
                        <a:pt x="3184" y="2266"/>
                      </a:lnTo>
                      <a:lnTo>
                        <a:pt x="3153" y="2259"/>
                      </a:lnTo>
                      <a:lnTo>
                        <a:pt x="3153" y="2275"/>
                      </a:lnTo>
                      <a:lnTo>
                        <a:pt x="3125" y="2275"/>
                      </a:lnTo>
                      <a:lnTo>
                        <a:pt x="3099" y="2292"/>
                      </a:lnTo>
                      <a:lnTo>
                        <a:pt x="3078" y="2282"/>
                      </a:lnTo>
                      <a:lnTo>
                        <a:pt x="3078" y="2292"/>
                      </a:lnTo>
                      <a:lnTo>
                        <a:pt x="3061" y="2292"/>
                      </a:lnTo>
                      <a:lnTo>
                        <a:pt x="3061" y="2308"/>
                      </a:lnTo>
                      <a:lnTo>
                        <a:pt x="3028" y="2292"/>
                      </a:lnTo>
                      <a:lnTo>
                        <a:pt x="3028" y="2275"/>
                      </a:lnTo>
                      <a:lnTo>
                        <a:pt x="3002" y="2299"/>
                      </a:lnTo>
                      <a:lnTo>
                        <a:pt x="3016" y="2315"/>
                      </a:lnTo>
                      <a:lnTo>
                        <a:pt x="2990" y="2315"/>
                      </a:lnTo>
                      <a:lnTo>
                        <a:pt x="2990" y="2308"/>
                      </a:lnTo>
                      <a:lnTo>
                        <a:pt x="2969" y="2299"/>
                      </a:lnTo>
                      <a:lnTo>
                        <a:pt x="2964" y="2299"/>
                      </a:lnTo>
                      <a:lnTo>
                        <a:pt x="2985" y="2308"/>
                      </a:lnTo>
                      <a:lnTo>
                        <a:pt x="2985" y="2320"/>
                      </a:lnTo>
                      <a:lnTo>
                        <a:pt x="2948" y="2320"/>
                      </a:lnTo>
                      <a:lnTo>
                        <a:pt x="2915" y="2315"/>
                      </a:lnTo>
                      <a:lnTo>
                        <a:pt x="2919" y="2308"/>
                      </a:lnTo>
                      <a:lnTo>
                        <a:pt x="2910" y="2320"/>
                      </a:lnTo>
                      <a:lnTo>
                        <a:pt x="2898" y="2315"/>
                      </a:lnTo>
                      <a:lnTo>
                        <a:pt x="2893" y="2308"/>
                      </a:lnTo>
                      <a:lnTo>
                        <a:pt x="2910" y="2299"/>
                      </a:lnTo>
                      <a:lnTo>
                        <a:pt x="2877" y="2299"/>
                      </a:lnTo>
                      <a:lnTo>
                        <a:pt x="2844" y="2254"/>
                      </a:lnTo>
                      <a:lnTo>
                        <a:pt x="2844" y="2266"/>
                      </a:lnTo>
                      <a:lnTo>
                        <a:pt x="2839" y="2266"/>
                      </a:lnTo>
                      <a:lnTo>
                        <a:pt x="2839" y="2275"/>
                      </a:lnTo>
                      <a:lnTo>
                        <a:pt x="2860" y="2292"/>
                      </a:lnTo>
                      <a:lnTo>
                        <a:pt x="2865" y="2308"/>
                      </a:lnTo>
                      <a:lnTo>
                        <a:pt x="2844" y="2308"/>
                      </a:lnTo>
                      <a:lnTo>
                        <a:pt x="2877" y="2315"/>
                      </a:lnTo>
                      <a:lnTo>
                        <a:pt x="2865" y="2348"/>
                      </a:lnTo>
                      <a:lnTo>
                        <a:pt x="2839" y="2348"/>
                      </a:lnTo>
                      <a:lnTo>
                        <a:pt x="2822" y="2365"/>
                      </a:lnTo>
                      <a:lnTo>
                        <a:pt x="2789" y="2370"/>
                      </a:lnTo>
                      <a:lnTo>
                        <a:pt x="2806" y="2377"/>
                      </a:lnTo>
                      <a:lnTo>
                        <a:pt x="2789" y="2386"/>
                      </a:lnTo>
                      <a:lnTo>
                        <a:pt x="2789" y="2403"/>
                      </a:lnTo>
                      <a:lnTo>
                        <a:pt x="2768" y="2410"/>
                      </a:lnTo>
                      <a:lnTo>
                        <a:pt x="2785" y="2426"/>
                      </a:lnTo>
                      <a:lnTo>
                        <a:pt x="2752" y="2459"/>
                      </a:lnTo>
                      <a:lnTo>
                        <a:pt x="2737" y="2448"/>
                      </a:lnTo>
                      <a:lnTo>
                        <a:pt x="2730" y="2481"/>
                      </a:lnTo>
                      <a:lnTo>
                        <a:pt x="2714" y="2504"/>
                      </a:lnTo>
                      <a:lnTo>
                        <a:pt x="2704" y="2497"/>
                      </a:lnTo>
                      <a:lnTo>
                        <a:pt x="2704" y="2481"/>
                      </a:lnTo>
                      <a:lnTo>
                        <a:pt x="2704" y="2497"/>
                      </a:lnTo>
                      <a:lnTo>
                        <a:pt x="2704" y="2504"/>
                      </a:lnTo>
                      <a:lnTo>
                        <a:pt x="2683" y="2530"/>
                      </a:lnTo>
                      <a:lnTo>
                        <a:pt x="2667" y="2537"/>
                      </a:lnTo>
                      <a:lnTo>
                        <a:pt x="2662" y="2530"/>
                      </a:lnTo>
                      <a:lnTo>
                        <a:pt x="2662" y="2521"/>
                      </a:lnTo>
                      <a:lnTo>
                        <a:pt x="2650" y="2537"/>
                      </a:lnTo>
                      <a:lnTo>
                        <a:pt x="2662" y="2542"/>
                      </a:lnTo>
                      <a:lnTo>
                        <a:pt x="2650" y="2542"/>
                      </a:lnTo>
                      <a:lnTo>
                        <a:pt x="2607" y="2521"/>
                      </a:lnTo>
                      <a:lnTo>
                        <a:pt x="2629" y="2542"/>
                      </a:lnTo>
                      <a:lnTo>
                        <a:pt x="2624" y="2542"/>
                      </a:lnTo>
                      <a:lnTo>
                        <a:pt x="2624" y="2559"/>
                      </a:lnTo>
                      <a:lnTo>
                        <a:pt x="2574" y="2587"/>
                      </a:lnTo>
                      <a:lnTo>
                        <a:pt x="2570" y="2575"/>
                      </a:lnTo>
                      <a:lnTo>
                        <a:pt x="2574" y="2559"/>
                      </a:lnTo>
                      <a:lnTo>
                        <a:pt x="2558" y="2559"/>
                      </a:lnTo>
                      <a:lnTo>
                        <a:pt x="2558" y="2570"/>
                      </a:lnTo>
                      <a:lnTo>
                        <a:pt x="2558" y="2575"/>
                      </a:lnTo>
                      <a:lnTo>
                        <a:pt x="2532" y="2592"/>
                      </a:lnTo>
                      <a:lnTo>
                        <a:pt x="2520" y="2575"/>
                      </a:lnTo>
                      <a:lnTo>
                        <a:pt x="2520" y="2570"/>
                      </a:lnTo>
                      <a:lnTo>
                        <a:pt x="2515" y="2570"/>
                      </a:lnTo>
                      <a:lnTo>
                        <a:pt x="2520" y="2592"/>
                      </a:lnTo>
                      <a:lnTo>
                        <a:pt x="2515" y="2599"/>
                      </a:lnTo>
                      <a:lnTo>
                        <a:pt x="2478" y="2587"/>
                      </a:lnTo>
                      <a:lnTo>
                        <a:pt x="2466" y="2570"/>
                      </a:lnTo>
                      <a:lnTo>
                        <a:pt x="2515" y="2530"/>
                      </a:lnTo>
                      <a:lnTo>
                        <a:pt x="2449" y="2530"/>
                      </a:lnTo>
                      <a:lnTo>
                        <a:pt x="2445" y="2530"/>
                      </a:lnTo>
                      <a:lnTo>
                        <a:pt x="2478" y="2542"/>
                      </a:lnTo>
                      <a:lnTo>
                        <a:pt x="2461" y="2542"/>
                      </a:lnTo>
                      <a:lnTo>
                        <a:pt x="2466" y="2554"/>
                      </a:lnTo>
                      <a:lnTo>
                        <a:pt x="2449" y="2559"/>
                      </a:lnTo>
                      <a:lnTo>
                        <a:pt x="2461" y="2575"/>
                      </a:lnTo>
                      <a:lnTo>
                        <a:pt x="2449" y="2587"/>
                      </a:lnTo>
                      <a:lnTo>
                        <a:pt x="2445" y="2575"/>
                      </a:lnTo>
                      <a:lnTo>
                        <a:pt x="2445" y="2587"/>
                      </a:lnTo>
                      <a:lnTo>
                        <a:pt x="2435" y="2587"/>
                      </a:lnTo>
                      <a:lnTo>
                        <a:pt x="2423" y="2570"/>
                      </a:lnTo>
                      <a:lnTo>
                        <a:pt x="2423" y="2587"/>
                      </a:lnTo>
                      <a:lnTo>
                        <a:pt x="2449" y="2592"/>
                      </a:lnTo>
                      <a:lnTo>
                        <a:pt x="2435" y="2615"/>
                      </a:lnTo>
                      <a:lnTo>
                        <a:pt x="2407" y="2608"/>
                      </a:lnTo>
                      <a:lnTo>
                        <a:pt x="2411" y="2625"/>
                      </a:lnTo>
                      <a:lnTo>
                        <a:pt x="2381" y="2625"/>
                      </a:lnTo>
                      <a:lnTo>
                        <a:pt x="2359" y="2608"/>
                      </a:lnTo>
                      <a:lnTo>
                        <a:pt x="2374" y="2625"/>
                      </a:lnTo>
                      <a:lnTo>
                        <a:pt x="2359" y="2632"/>
                      </a:lnTo>
                      <a:lnTo>
                        <a:pt x="2336" y="2608"/>
                      </a:lnTo>
                      <a:lnTo>
                        <a:pt x="2326" y="2625"/>
                      </a:lnTo>
                      <a:lnTo>
                        <a:pt x="2326" y="2632"/>
                      </a:lnTo>
                      <a:lnTo>
                        <a:pt x="2305" y="2625"/>
                      </a:lnTo>
                      <a:lnTo>
                        <a:pt x="2298" y="2632"/>
                      </a:lnTo>
                      <a:lnTo>
                        <a:pt x="2326" y="2641"/>
                      </a:lnTo>
                      <a:lnTo>
                        <a:pt x="2322" y="2648"/>
                      </a:lnTo>
                      <a:lnTo>
                        <a:pt x="2336" y="2665"/>
                      </a:lnTo>
                      <a:lnTo>
                        <a:pt x="2298" y="2686"/>
                      </a:lnTo>
                      <a:lnTo>
                        <a:pt x="2272" y="2670"/>
                      </a:lnTo>
                      <a:lnTo>
                        <a:pt x="2267" y="2686"/>
                      </a:lnTo>
                      <a:lnTo>
                        <a:pt x="2246" y="2681"/>
                      </a:lnTo>
                      <a:lnTo>
                        <a:pt x="2234" y="2698"/>
                      </a:lnTo>
                      <a:lnTo>
                        <a:pt x="2272" y="2726"/>
                      </a:lnTo>
                      <a:lnTo>
                        <a:pt x="2272" y="2752"/>
                      </a:lnTo>
                      <a:lnTo>
                        <a:pt x="2289" y="2764"/>
                      </a:lnTo>
                      <a:lnTo>
                        <a:pt x="2260" y="2764"/>
                      </a:lnTo>
                      <a:lnTo>
                        <a:pt x="2208" y="2776"/>
                      </a:lnTo>
                      <a:lnTo>
                        <a:pt x="2218" y="2792"/>
                      </a:lnTo>
                      <a:lnTo>
                        <a:pt x="2272" y="2797"/>
                      </a:lnTo>
                      <a:lnTo>
                        <a:pt x="2260" y="2814"/>
                      </a:lnTo>
                      <a:lnTo>
                        <a:pt x="2272" y="2814"/>
                      </a:lnTo>
                      <a:lnTo>
                        <a:pt x="2284" y="2837"/>
                      </a:lnTo>
                      <a:lnTo>
                        <a:pt x="2251" y="2837"/>
                      </a:lnTo>
                      <a:lnTo>
                        <a:pt x="2213" y="2821"/>
                      </a:lnTo>
                      <a:lnTo>
                        <a:pt x="2208" y="2830"/>
                      </a:lnTo>
                      <a:lnTo>
                        <a:pt x="2251" y="2847"/>
                      </a:lnTo>
                      <a:lnTo>
                        <a:pt x="2267" y="2863"/>
                      </a:lnTo>
                      <a:lnTo>
                        <a:pt x="2246" y="2863"/>
                      </a:lnTo>
                      <a:lnTo>
                        <a:pt x="2246" y="2870"/>
                      </a:lnTo>
                      <a:lnTo>
                        <a:pt x="2234" y="2863"/>
                      </a:lnTo>
                      <a:lnTo>
                        <a:pt x="2246" y="2875"/>
                      </a:lnTo>
                      <a:lnTo>
                        <a:pt x="2234" y="2875"/>
                      </a:lnTo>
                      <a:lnTo>
                        <a:pt x="2218" y="2863"/>
                      </a:lnTo>
                      <a:lnTo>
                        <a:pt x="2230" y="2875"/>
                      </a:lnTo>
                      <a:lnTo>
                        <a:pt x="2208" y="2863"/>
                      </a:lnTo>
                      <a:lnTo>
                        <a:pt x="2234" y="2887"/>
                      </a:lnTo>
                      <a:lnTo>
                        <a:pt x="2196" y="2863"/>
                      </a:lnTo>
                      <a:lnTo>
                        <a:pt x="2180" y="2870"/>
                      </a:lnTo>
                      <a:lnTo>
                        <a:pt x="2213" y="2908"/>
                      </a:lnTo>
                      <a:lnTo>
                        <a:pt x="2208" y="2908"/>
                      </a:lnTo>
                      <a:lnTo>
                        <a:pt x="2175" y="2892"/>
                      </a:lnTo>
                      <a:lnTo>
                        <a:pt x="2208" y="2920"/>
                      </a:lnTo>
                      <a:lnTo>
                        <a:pt x="2196" y="2920"/>
                      </a:lnTo>
                      <a:lnTo>
                        <a:pt x="2163" y="2903"/>
                      </a:lnTo>
                      <a:lnTo>
                        <a:pt x="2175" y="2920"/>
                      </a:lnTo>
                      <a:lnTo>
                        <a:pt x="2208" y="2925"/>
                      </a:lnTo>
                      <a:lnTo>
                        <a:pt x="2192" y="2941"/>
                      </a:lnTo>
                      <a:lnTo>
                        <a:pt x="2154" y="2941"/>
                      </a:lnTo>
                      <a:lnTo>
                        <a:pt x="2154" y="2925"/>
                      </a:lnTo>
                      <a:lnTo>
                        <a:pt x="2142" y="2932"/>
                      </a:lnTo>
                      <a:lnTo>
                        <a:pt x="2142" y="2941"/>
                      </a:lnTo>
                      <a:lnTo>
                        <a:pt x="2137" y="2948"/>
                      </a:lnTo>
                      <a:lnTo>
                        <a:pt x="2100" y="2948"/>
                      </a:lnTo>
                      <a:lnTo>
                        <a:pt x="2100" y="2958"/>
                      </a:lnTo>
                      <a:lnTo>
                        <a:pt x="2154" y="2974"/>
                      </a:lnTo>
                      <a:lnTo>
                        <a:pt x="2154" y="2981"/>
                      </a:lnTo>
                      <a:lnTo>
                        <a:pt x="2137" y="2981"/>
                      </a:lnTo>
                      <a:lnTo>
                        <a:pt x="2163" y="2986"/>
                      </a:lnTo>
                      <a:lnTo>
                        <a:pt x="2104" y="2974"/>
                      </a:lnTo>
                      <a:lnTo>
                        <a:pt x="2159" y="3003"/>
                      </a:lnTo>
                      <a:lnTo>
                        <a:pt x="2154" y="3019"/>
                      </a:lnTo>
                      <a:lnTo>
                        <a:pt x="2137" y="3036"/>
                      </a:lnTo>
                      <a:lnTo>
                        <a:pt x="2163" y="3036"/>
                      </a:lnTo>
                      <a:lnTo>
                        <a:pt x="2159" y="3043"/>
                      </a:lnTo>
                      <a:lnTo>
                        <a:pt x="2142" y="3043"/>
                      </a:lnTo>
                      <a:lnTo>
                        <a:pt x="2159" y="3052"/>
                      </a:lnTo>
                      <a:lnTo>
                        <a:pt x="2154" y="3059"/>
                      </a:lnTo>
                      <a:lnTo>
                        <a:pt x="2109" y="3059"/>
                      </a:lnTo>
                      <a:lnTo>
                        <a:pt x="2154" y="3076"/>
                      </a:lnTo>
                      <a:lnTo>
                        <a:pt x="2142" y="3085"/>
                      </a:lnTo>
                      <a:lnTo>
                        <a:pt x="2100" y="3076"/>
                      </a:lnTo>
                      <a:lnTo>
                        <a:pt x="2137" y="3085"/>
                      </a:lnTo>
                      <a:lnTo>
                        <a:pt x="2142" y="3097"/>
                      </a:lnTo>
                      <a:lnTo>
                        <a:pt x="2142" y="3109"/>
                      </a:lnTo>
                      <a:lnTo>
                        <a:pt x="2126" y="3114"/>
                      </a:lnTo>
                      <a:lnTo>
                        <a:pt x="2088" y="3109"/>
                      </a:lnTo>
                      <a:lnTo>
                        <a:pt x="2126" y="3114"/>
                      </a:lnTo>
                      <a:lnTo>
                        <a:pt x="2137" y="3125"/>
                      </a:lnTo>
                      <a:lnTo>
                        <a:pt x="2100" y="3125"/>
                      </a:lnTo>
                      <a:lnTo>
                        <a:pt x="2126" y="3130"/>
                      </a:lnTo>
                      <a:lnTo>
                        <a:pt x="2067" y="3130"/>
                      </a:lnTo>
                      <a:lnTo>
                        <a:pt x="2126" y="3142"/>
                      </a:lnTo>
                      <a:lnTo>
                        <a:pt x="2126" y="3147"/>
                      </a:lnTo>
                      <a:lnTo>
                        <a:pt x="2104" y="3154"/>
                      </a:lnTo>
                      <a:lnTo>
                        <a:pt x="2071" y="3147"/>
                      </a:lnTo>
                      <a:lnTo>
                        <a:pt x="2121" y="3163"/>
                      </a:lnTo>
                      <a:lnTo>
                        <a:pt x="2067" y="3163"/>
                      </a:lnTo>
                      <a:lnTo>
                        <a:pt x="2121" y="3170"/>
                      </a:lnTo>
                      <a:lnTo>
                        <a:pt x="2100" y="3180"/>
                      </a:lnTo>
                      <a:lnTo>
                        <a:pt x="2121" y="3180"/>
                      </a:lnTo>
                      <a:lnTo>
                        <a:pt x="2109" y="3187"/>
                      </a:lnTo>
                      <a:lnTo>
                        <a:pt x="2121" y="3187"/>
                      </a:lnTo>
                      <a:lnTo>
                        <a:pt x="2100" y="3196"/>
                      </a:lnTo>
                      <a:lnTo>
                        <a:pt x="2083" y="3196"/>
                      </a:lnTo>
                      <a:lnTo>
                        <a:pt x="2100" y="3203"/>
                      </a:lnTo>
                      <a:lnTo>
                        <a:pt x="2088" y="3203"/>
                      </a:lnTo>
                      <a:lnTo>
                        <a:pt x="2067" y="3196"/>
                      </a:lnTo>
                      <a:lnTo>
                        <a:pt x="2057" y="3170"/>
                      </a:lnTo>
                      <a:lnTo>
                        <a:pt x="2057" y="3196"/>
                      </a:lnTo>
                      <a:lnTo>
                        <a:pt x="2019" y="3187"/>
                      </a:lnTo>
                      <a:lnTo>
                        <a:pt x="2083" y="3203"/>
                      </a:lnTo>
                      <a:lnTo>
                        <a:pt x="2067" y="3220"/>
                      </a:lnTo>
                      <a:lnTo>
                        <a:pt x="2100" y="3208"/>
                      </a:lnTo>
                      <a:lnTo>
                        <a:pt x="2100" y="3225"/>
                      </a:lnTo>
                      <a:lnTo>
                        <a:pt x="2083" y="3225"/>
                      </a:lnTo>
                      <a:lnTo>
                        <a:pt x="2100" y="3225"/>
                      </a:lnTo>
                      <a:lnTo>
                        <a:pt x="2100" y="3241"/>
                      </a:lnTo>
                      <a:lnTo>
                        <a:pt x="2029" y="3236"/>
                      </a:lnTo>
                      <a:lnTo>
                        <a:pt x="2033" y="3220"/>
                      </a:lnTo>
                      <a:lnTo>
                        <a:pt x="2029" y="3208"/>
                      </a:lnTo>
                      <a:lnTo>
                        <a:pt x="2029" y="3220"/>
                      </a:lnTo>
                      <a:lnTo>
                        <a:pt x="2003" y="3236"/>
                      </a:lnTo>
                      <a:lnTo>
                        <a:pt x="1991" y="3253"/>
                      </a:lnTo>
                      <a:lnTo>
                        <a:pt x="1948" y="3241"/>
                      </a:lnTo>
                      <a:lnTo>
                        <a:pt x="1958" y="3236"/>
                      </a:lnTo>
                      <a:lnTo>
                        <a:pt x="1974" y="3236"/>
                      </a:lnTo>
                      <a:lnTo>
                        <a:pt x="2003" y="3196"/>
                      </a:lnTo>
                      <a:lnTo>
                        <a:pt x="1974" y="3225"/>
                      </a:lnTo>
                      <a:lnTo>
                        <a:pt x="1948" y="3236"/>
                      </a:lnTo>
                      <a:lnTo>
                        <a:pt x="1991" y="3170"/>
                      </a:lnTo>
                      <a:lnTo>
                        <a:pt x="1948" y="3203"/>
                      </a:lnTo>
                      <a:lnTo>
                        <a:pt x="1944" y="3196"/>
                      </a:lnTo>
                      <a:lnTo>
                        <a:pt x="1958" y="3180"/>
                      </a:lnTo>
                      <a:lnTo>
                        <a:pt x="1927" y="3203"/>
                      </a:lnTo>
                      <a:lnTo>
                        <a:pt x="1944" y="3180"/>
                      </a:lnTo>
                      <a:lnTo>
                        <a:pt x="1927" y="3203"/>
                      </a:lnTo>
                      <a:lnTo>
                        <a:pt x="1911" y="3187"/>
                      </a:lnTo>
                      <a:lnTo>
                        <a:pt x="1920" y="3187"/>
                      </a:lnTo>
                      <a:lnTo>
                        <a:pt x="1894" y="3187"/>
                      </a:lnTo>
                      <a:lnTo>
                        <a:pt x="1920" y="3180"/>
                      </a:lnTo>
                      <a:lnTo>
                        <a:pt x="1906" y="3180"/>
                      </a:lnTo>
                      <a:lnTo>
                        <a:pt x="1948" y="3154"/>
                      </a:lnTo>
                      <a:lnTo>
                        <a:pt x="1937" y="3142"/>
                      </a:lnTo>
                      <a:lnTo>
                        <a:pt x="1920" y="3170"/>
                      </a:lnTo>
                      <a:lnTo>
                        <a:pt x="1906" y="3170"/>
                      </a:lnTo>
                      <a:lnTo>
                        <a:pt x="1911" y="3163"/>
                      </a:lnTo>
                      <a:lnTo>
                        <a:pt x="1906" y="3163"/>
                      </a:lnTo>
                      <a:lnTo>
                        <a:pt x="1889" y="3170"/>
                      </a:lnTo>
                      <a:lnTo>
                        <a:pt x="1882" y="3170"/>
                      </a:lnTo>
                      <a:lnTo>
                        <a:pt x="1894" y="3154"/>
                      </a:lnTo>
                      <a:lnTo>
                        <a:pt x="1927" y="3147"/>
                      </a:lnTo>
                      <a:lnTo>
                        <a:pt x="1948" y="3125"/>
                      </a:lnTo>
                      <a:lnTo>
                        <a:pt x="1937" y="3130"/>
                      </a:lnTo>
                      <a:lnTo>
                        <a:pt x="1927" y="3114"/>
                      </a:lnTo>
                      <a:lnTo>
                        <a:pt x="1927" y="3130"/>
                      </a:lnTo>
                      <a:lnTo>
                        <a:pt x="1920" y="3142"/>
                      </a:lnTo>
                      <a:lnTo>
                        <a:pt x="1889" y="3154"/>
                      </a:lnTo>
                      <a:lnTo>
                        <a:pt x="1889" y="3147"/>
                      </a:lnTo>
                      <a:lnTo>
                        <a:pt x="1920" y="3130"/>
                      </a:lnTo>
                      <a:lnTo>
                        <a:pt x="1906" y="3114"/>
                      </a:lnTo>
                      <a:lnTo>
                        <a:pt x="1911" y="3109"/>
                      </a:lnTo>
                      <a:lnTo>
                        <a:pt x="1894" y="3114"/>
                      </a:lnTo>
                      <a:lnTo>
                        <a:pt x="1906" y="3125"/>
                      </a:lnTo>
                      <a:lnTo>
                        <a:pt x="1906" y="3130"/>
                      </a:lnTo>
                      <a:lnTo>
                        <a:pt x="1882" y="3147"/>
                      </a:lnTo>
                      <a:lnTo>
                        <a:pt x="1868" y="3130"/>
                      </a:lnTo>
                      <a:lnTo>
                        <a:pt x="1856" y="3154"/>
                      </a:lnTo>
                      <a:lnTo>
                        <a:pt x="1835" y="3147"/>
                      </a:lnTo>
                      <a:lnTo>
                        <a:pt x="1840" y="3154"/>
                      </a:lnTo>
                      <a:lnTo>
                        <a:pt x="1835" y="3163"/>
                      </a:lnTo>
                      <a:lnTo>
                        <a:pt x="1830" y="3147"/>
                      </a:lnTo>
                      <a:lnTo>
                        <a:pt x="1764" y="3154"/>
                      </a:lnTo>
                      <a:lnTo>
                        <a:pt x="1802" y="3154"/>
                      </a:lnTo>
                      <a:lnTo>
                        <a:pt x="1797" y="3163"/>
                      </a:lnTo>
                      <a:lnTo>
                        <a:pt x="1743" y="3163"/>
                      </a:lnTo>
                      <a:lnTo>
                        <a:pt x="1731" y="3163"/>
                      </a:lnTo>
                      <a:lnTo>
                        <a:pt x="1776" y="3142"/>
                      </a:lnTo>
                      <a:lnTo>
                        <a:pt x="1726" y="3147"/>
                      </a:lnTo>
                      <a:lnTo>
                        <a:pt x="1764" y="3142"/>
                      </a:lnTo>
                      <a:lnTo>
                        <a:pt x="1764" y="3130"/>
                      </a:lnTo>
                      <a:lnTo>
                        <a:pt x="1748" y="3130"/>
                      </a:lnTo>
                      <a:lnTo>
                        <a:pt x="1743" y="3125"/>
                      </a:lnTo>
                      <a:lnTo>
                        <a:pt x="1759" y="3109"/>
                      </a:lnTo>
                      <a:lnTo>
                        <a:pt x="1748" y="3109"/>
                      </a:lnTo>
                      <a:lnTo>
                        <a:pt x="1731" y="3114"/>
                      </a:lnTo>
                      <a:lnTo>
                        <a:pt x="1743" y="3130"/>
                      </a:lnTo>
                      <a:lnTo>
                        <a:pt x="1726" y="3130"/>
                      </a:lnTo>
                      <a:lnTo>
                        <a:pt x="1726" y="3125"/>
                      </a:lnTo>
                      <a:lnTo>
                        <a:pt x="1731" y="3125"/>
                      </a:lnTo>
                      <a:lnTo>
                        <a:pt x="1710" y="3125"/>
                      </a:lnTo>
                      <a:lnTo>
                        <a:pt x="1726" y="3109"/>
                      </a:lnTo>
                      <a:lnTo>
                        <a:pt x="1679" y="3097"/>
                      </a:lnTo>
                      <a:lnTo>
                        <a:pt x="1743" y="3085"/>
                      </a:lnTo>
                      <a:lnTo>
                        <a:pt x="1726" y="3076"/>
                      </a:lnTo>
                      <a:lnTo>
                        <a:pt x="1689" y="3092"/>
                      </a:lnTo>
                      <a:lnTo>
                        <a:pt x="1667" y="3085"/>
                      </a:lnTo>
                      <a:lnTo>
                        <a:pt x="1710" y="3076"/>
                      </a:lnTo>
                      <a:lnTo>
                        <a:pt x="1689" y="3076"/>
                      </a:lnTo>
                      <a:lnTo>
                        <a:pt x="1679" y="3076"/>
                      </a:lnTo>
                      <a:lnTo>
                        <a:pt x="1679" y="3059"/>
                      </a:lnTo>
                      <a:lnTo>
                        <a:pt x="1672" y="3069"/>
                      </a:lnTo>
                      <a:lnTo>
                        <a:pt x="1679" y="3052"/>
                      </a:lnTo>
                      <a:lnTo>
                        <a:pt x="1705" y="3036"/>
                      </a:lnTo>
                      <a:lnTo>
                        <a:pt x="1689" y="3036"/>
                      </a:lnTo>
                      <a:lnTo>
                        <a:pt x="1672" y="3052"/>
                      </a:lnTo>
                      <a:lnTo>
                        <a:pt x="1667" y="3069"/>
                      </a:lnTo>
                      <a:lnTo>
                        <a:pt x="1656" y="3059"/>
                      </a:lnTo>
                      <a:lnTo>
                        <a:pt x="1672" y="3043"/>
                      </a:lnTo>
                      <a:lnTo>
                        <a:pt x="1656" y="3052"/>
                      </a:lnTo>
                      <a:lnTo>
                        <a:pt x="1656" y="3036"/>
                      </a:lnTo>
                      <a:lnTo>
                        <a:pt x="1693" y="3031"/>
                      </a:lnTo>
                      <a:lnTo>
                        <a:pt x="1679" y="3019"/>
                      </a:lnTo>
                      <a:lnTo>
                        <a:pt x="1679" y="3014"/>
                      </a:lnTo>
                      <a:lnTo>
                        <a:pt x="1672" y="3031"/>
                      </a:lnTo>
                      <a:lnTo>
                        <a:pt x="1634" y="3036"/>
                      </a:lnTo>
                      <a:lnTo>
                        <a:pt x="1634" y="3019"/>
                      </a:lnTo>
                      <a:lnTo>
                        <a:pt x="1656" y="3019"/>
                      </a:lnTo>
                      <a:lnTo>
                        <a:pt x="1667" y="3014"/>
                      </a:lnTo>
                      <a:lnTo>
                        <a:pt x="1641" y="3014"/>
                      </a:lnTo>
                      <a:lnTo>
                        <a:pt x="1656" y="3003"/>
                      </a:lnTo>
                      <a:lnTo>
                        <a:pt x="1625" y="3003"/>
                      </a:lnTo>
                      <a:lnTo>
                        <a:pt x="1596" y="2981"/>
                      </a:lnTo>
                      <a:lnTo>
                        <a:pt x="1596" y="2958"/>
                      </a:lnTo>
                      <a:lnTo>
                        <a:pt x="1618" y="2941"/>
                      </a:lnTo>
                      <a:lnTo>
                        <a:pt x="1596" y="2958"/>
                      </a:lnTo>
                      <a:lnTo>
                        <a:pt x="1604" y="2925"/>
                      </a:lnTo>
                      <a:lnTo>
                        <a:pt x="1634" y="2920"/>
                      </a:lnTo>
                      <a:lnTo>
                        <a:pt x="1604" y="2925"/>
                      </a:lnTo>
                      <a:lnTo>
                        <a:pt x="1587" y="2948"/>
                      </a:lnTo>
                      <a:lnTo>
                        <a:pt x="1587" y="2925"/>
                      </a:lnTo>
                      <a:lnTo>
                        <a:pt x="1604" y="2920"/>
                      </a:lnTo>
                      <a:lnTo>
                        <a:pt x="1570" y="2925"/>
                      </a:lnTo>
                      <a:lnTo>
                        <a:pt x="1570" y="2908"/>
                      </a:lnTo>
                      <a:lnTo>
                        <a:pt x="1613" y="2892"/>
                      </a:lnTo>
                      <a:lnTo>
                        <a:pt x="1549" y="2908"/>
                      </a:lnTo>
                      <a:lnTo>
                        <a:pt x="1559" y="2892"/>
                      </a:lnTo>
                      <a:lnTo>
                        <a:pt x="1542" y="2903"/>
                      </a:lnTo>
                      <a:lnTo>
                        <a:pt x="1533" y="2887"/>
                      </a:lnTo>
                      <a:lnTo>
                        <a:pt x="1596" y="2875"/>
                      </a:lnTo>
                      <a:lnTo>
                        <a:pt x="1542" y="2875"/>
                      </a:lnTo>
                      <a:lnTo>
                        <a:pt x="1528" y="2870"/>
                      </a:lnTo>
                      <a:lnTo>
                        <a:pt x="1566" y="2863"/>
                      </a:lnTo>
                      <a:lnTo>
                        <a:pt x="1542" y="2863"/>
                      </a:lnTo>
                      <a:lnTo>
                        <a:pt x="1533" y="2854"/>
                      </a:lnTo>
                      <a:lnTo>
                        <a:pt x="1570" y="2854"/>
                      </a:lnTo>
                      <a:lnTo>
                        <a:pt x="1580" y="2847"/>
                      </a:lnTo>
                      <a:lnTo>
                        <a:pt x="1542" y="2847"/>
                      </a:lnTo>
                      <a:lnTo>
                        <a:pt x="1533" y="2854"/>
                      </a:lnTo>
                      <a:lnTo>
                        <a:pt x="1533" y="2863"/>
                      </a:lnTo>
                      <a:lnTo>
                        <a:pt x="1504" y="2837"/>
                      </a:lnTo>
                      <a:lnTo>
                        <a:pt x="1549" y="2814"/>
                      </a:lnTo>
                      <a:lnTo>
                        <a:pt x="1511" y="2830"/>
                      </a:lnTo>
                      <a:lnTo>
                        <a:pt x="1511" y="2821"/>
                      </a:lnTo>
                      <a:lnTo>
                        <a:pt x="1516" y="2821"/>
                      </a:lnTo>
                      <a:lnTo>
                        <a:pt x="1516" y="2814"/>
                      </a:lnTo>
                      <a:lnTo>
                        <a:pt x="1495" y="2809"/>
                      </a:lnTo>
                      <a:lnTo>
                        <a:pt x="1613" y="2781"/>
                      </a:lnTo>
                      <a:lnTo>
                        <a:pt x="1570" y="2781"/>
                      </a:lnTo>
                      <a:lnTo>
                        <a:pt x="1580" y="2776"/>
                      </a:lnTo>
                      <a:lnTo>
                        <a:pt x="1511" y="2797"/>
                      </a:lnTo>
                      <a:lnTo>
                        <a:pt x="1495" y="2792"/>
                      </a:lnTo>
                      <a:lnTo>
                        <a:pt x="1516" y="2792"/>
                      </a:lnTo>
                      <a:lnTo>
                        <a:pt x="1490" y="2781"/>
                      </a:lnTo>
                      <a:lnTo>
                        <a:pt x="1549" y="2781"/>
                      </a:lnTo>
                      <a:lnTo>
                        <a:pt x="1559" y="2776"/>
                      </a:lnTo>
                      <a:lnTo>
                        <a:pt x="1542" y="2776"/>
                      </a:lnTo>
                      <a:lnTo>
                        <a:pt x="1559" y="2759"/>
                      </a:lnTo>
                      <a:lnTo>
                        <a:pt x="1587" y="2764"/>
                      </a:lnTo>
                      <a:lnTo>
                        <a:pt x="1604" y="2759"/>
                      </a:lnTo>
                      <a:lnTo>
                        <a:pt x="1570" y="2759"/>
                      </a:lnTo>
                      <a:lnTo>
                        <a:pt x="1570" y="2752"/>
                      </a:lnTo>
                      <a:lnTo>
                        <a:pt x="1580" y="2743"/>
                      </a:lnTo>
                      <a:lnTo>
                        <a:pt x="1549" y="2736"/>
                      </a:lnTo>
                      <a:lnTo>
                        <a:pt x="1580" y="2726"/>
                      </a:lnTo>
                      <a:lnTo>
                        <a:pt x="1566" y="2726"/>
                      </a:lnTo>
                      <a:lnTo>
                        <a:pt x="1580" y="2726"/>
                      </a:lnTo>
                      <a:lnTo>
                        <a:pt x="1596" y="2726"/>
                      </a:lnTo>
                      <a:lnTo>
                        <a:pt x="1604" y="2752"/>
                      </a:lnTo>
                      <a:lnTo>
                        <a:pt x="1641" y="2764"/>
                      </a:lnTo>
                      <a:lnTo>
                        <a:pt x="1613" y="2743"/>
                      </a:lnTo>
                      <a:lnTo>
                        <a:pt x="1604" y="2736"/>
                      </a:lnTo>
                      <a:lnTo>
                        <a:pt x="1618" y="2726"/>
                      </a:lnTo>
                      <a:lnTo>
                        <a:pt x="1596" y="2726"/>
                      </a:lnTo>
                      <a:lnTo>
                        <a:pt x="1613" y="2703"/>
                      </a:lnTo>
                      <a:lnTo>
                        <a:pt x="1596" y="2719"/>
                      </a:lnTo>
                      <a:lnTo>
                        <a:pt x="1570" y="2719"/>
                      </a:lnTo>
                      <a:lnTo>
                        <a:pt x="1566" y="2698"/>
                      </a:lnTo>
                      <a:lnTo>
                        <a:pt x="1549" y="2665"/>
                      </a:lnTo>
                      <a:lnTo>
                        <a:pt x="1549" y="2698"/>
                      </a:lnTo>
                      <a:lnTo>
                        <a:pt x="1566" y="2698"/>
                      </a:lnTo>
                      <a:lnTo>
                        <a:pt x="1570" y="2719"/>
                      </a:lnTo>
                      <a:lnTo>
                        <a:pt x="1533" y="2736"/>
                      </a:lnTo>
                      <a:lnTo>
                        <a:pt x="1528" y="2736"/>
                      </a:lnTo>
                      <a:lnTo>
                        <a:pt x="1542" y="2719"/>
                      </a:lnTo>
                      <a:lnTo>
                        <a:pt x="1528" y="2719"/>
                      </a:lnTo>
                      <a:lnTo>
                        <a:pt x="1495" y="2776"/>
                      </a:lnTo>
                      <a:lnTo>
                        <a:pt x="1474" y="2781"/>
                      </a:lnTo>
                      <a:lnTo>
                        <a:pt x="1474" y="2759"/>
                      </a:lnTo>
                      <a:lnTo>
                        <a:pt x="1462" y="2759"/>
                      </a:lnTo>
                      <a:lnTo>
                        <a:pt x="1474" y="2736"/>
                      </a:lnTo>
                      <a:lnTo>
                        <a:pt x="1462" y="2726"/>
                      </a:lnTo>
                      <a:lnTo>
                        <a:pt x="1504" y="2710"/>
                      </a:lnTo>
                      <a:lnTo>
                        <a:pt x="1528" y="2686"/>
                      </a:lnTo>
                      <a:lnTo>
                        <a:pt x="1495" y="2703"/>
                      </a:lnTo>
                      <a:lnTo>
                        <a:pt x="1504" y="2698"/>
                      </a:lnTo>
                      <a:lnTo>
                        <a:pt x="1495" y="2686"/>
                      </a:lnTo>
                      <a:lnTo>
                        <a:pt x="1478" y="2710"/>
                      </a:lnTo>
                      <a:lnTo>
                        <a:pt x="1462" y="2710"/>
                      </a:lnTo>
                      <a:lnTo>
                        <a:pt x="1478" y="2703"/>
                      </a:lnTo>
                      <a:lnTo>
                        <a:pt x="1474" y="2703"/>
                      </a:lnTo>
                      <a:lnTo>
                        <a:pt x="1457" y="2710"/>
                      </a:lnTo>
                      <a:lnTo>
                        <a:pt x="1457" y="2703"/>
                      </a:lnTo>
                      <a:lnTo>
                        <a:pt x="1474" y="2698"/>
                      </a:lnTo>
                      <a:lnTo>
                        <a:pt x="1457" y="2681"/>
                      </a:lnTo>
                      <a:lnTo>
                        <a:pt x="1462" y="2665"/>
                      </a:lnTo>
                      <a:lnTo>
                        <a:pt x="1452" y="2665"/>
                      </a:lnTo>
                      <a:lnTo>
                        <a:pt x="1457" y="2653"/>
                      </a:lnTo>
                      <a:lnTo>
                        <a:pt x="1441" y="2670"/>
                      </a:lnTo>
                      <a:lnTo>
                        <a:pt x="1436" y="2653"/>
                      </a:lnTo>
                      <a:lnTo>
                        <a:pt x="1495" y="2625"/>
                      </a:lnTo>
                      <a:lnTo>
                        <a:pt x="1478" y="2615"/>
                      </a:lnTo>
                      <a:lnTo>
                        <a:pt x="1495" y="2608"/>
                      </a:lnTo>
                      <a:lnTo>
                        <a:pt x="1528" y="2599"/>
                      </a:lnTo>
                      <a:lnTo>
                        <a:pt x="1580" y="2608"/>
                      </a:lnTo>
                      <a:lnTo>
                        <a:pt x="1511" y="2599"/>
                      </a:lnTo>
                      <a:lnTo>
                        <a:pt x="1478" y="2615"/>
                      </a:lnTo>
                      <a:lnTo>
                        <a:pt x="1478" y="2625"/>
                      </a:lnTo>
                      <a:lnTo>
                        <a:pt x="1441" y="2648"/>
                      </a:lnTo>
                      <a:lnTo>
                        <a:pt x="1436" y="2632"/>
                      </a:lnTo>
                      <a:lnTo>
                        <a:pt x="1441" y="2615"/>
                      </a:lnTo>
                      <a:lnTo>
                        <a:pt x="1424" y="2632"/>
                      </a:lnTo>
                      <a:lnTo>
                        <a:pt x="1419" y="2625"/>
                      </a:lnTo>
                      <a:lnTo>
                        <a:pt x="1436" y="2615"/>
                      </a:lnTo>
                      <a:lnTo>
                        <a:pt x="1419" y="2615"/>
                      </a:lnTo>
                      <a:lnTo>
                        <a:pt x="1424" y="2592"/>
                      </a:lnTo>
                      <a:lnTo>
                        <a:pt x="1419" y="2608"/>
                      </a:lnTo>
                      <a:lnTo>
                        <a:pt x="1386" y="2608"/>
                      </a:lnTo>
                      <a:lnTo>
                        <a:pt x="1408" y="2592"/>
                      </a:lnTo>
                      <a:lnTo>
                        <a:pt x="1386" y="2599"/>
                      </a:lnTo>
                      <a:lnTo>
                        <a:pt x="1424" y="2575"/>
                      </a:lnTo>
                      <a:lnTo>
                        <a:pt x="1452" y="2587"/>
                      </a:lnTo>
                      <a:lnTo>
                        <a:pt x="1478" y="2570"/>
                      </a:lnTo>
                      <a:lnTo>
                        <a:pt x="1490" y="2575"/>
                      </a:lnTo>
                      <a:lnTo>
                        <a:pt x="1490" y="2570"/>
                      </a:lnTo>
                      <a:lnTo>
                        <a:pt x="1452" y="2587"/>
                      </a:lnTo>
                      <a:lnTo>
                        <a:pt x="1436" y="2575"/>
                      </a:lnTo>
                      <a:lnTo>
                        <a:pt x="1398" y="2592"/>
                      </a:lnTo>
                      <a:lnTo>
                        <a:pt x="1386" y="2587"/>
                      </a:lnTo>
                      <a:lnTo>
                        <a:pt x="1408" y="2570"/>
                      </a:lnTo>
                      <a:lnTo>
                        <a:pt x="1386" y="2575"/>
                      </a:lnTo>
                      <a:lnTo>
                        <a:pt x="1370" y="2575"/>
                      </a:lnTo>
                      <a:lnTo>
                        <a:pt x="1398" y="2570"/>
                      </a:lnTo>
                      <a:lnTo>
                        <a:pt x="1370" y="2570"/>
                      </a:lnTo>
                      <a:lnTo>
                        <a:pt x="1474" y="2514"/>
                      </a:lnTo>
                      <a:lnTo>
                        <a:pt x="1478" y="2497"/>
                      </a:lnTo>
                      <a:lnTo>
                        <a:pt x="1528" y="2476"/>
                      </a:lnTo>
                      <a:lnTo>
                        <a:pt x="1587" y="2476"/>
                      </a:lnTo>
                      <a:lnTo>
                        <a:pt x="1542" y="2464"/>
                      </a:lnTo>
                      <a:lnTo>
                        <a:pt x="1566" y="2448"/>
                      </a:lnTo>
                      <a:lnTo>
                        <a:pt x="1613" y="2459"/>
                      </a:lnTo>
                      <a:lnTo>
                        <a:pt x="1570" y="2448"/>
                      </a:lnTo>
                      <a:lnTo>
                        <a:pt x="1587" y="2443"/>
                      </a:lnTo>
                      <a:lnTo>
                        <a:pt x="1533" y="2464"/>
                      </a:lnTo>
                      <a:lnTo>
                        <a:pt x="1403" y="2554"/>
                      </a:lnTo>
                      <a:lnTo>
                        <a:pt x="1370" y="2559"/>
                      </a:lnTo>
                      <a:lnTo>
                        <a:pt x="1353" y="2554"/>
                      </a:lnTo>
                      <a:lnTo>
                        <a:pt x="1398" y="2537"/>
                      </a:lnTo>
                      <a:lnTo>
                        <a:pt x="1365" y="2542"/>
                      </a:lnTo>
                      <a:lnTo>
                        <a:pt x="1353" y="2537"/>
                      </a:lnTo>
                      <a:lnTo>
                        <a:pt x="1353" y="2514"/>
                      </a:lnTo>
                      <a:lnTo>
                        <a:pt x="1441" y="2504"/>
                      </a:lnTo>
                      <a:lnTo>
                        <a:pt x="1386" y="2504"/>
                      </a:lnTo>
                      <a:lnTo>
                        <a:pt x="1370" y="2497"/>
                      </a:lnTo>
                      <a:lnTo>
                        <a:pt x="1436" y="2488"/>
                      </a:lnTo>
                      <a:lnTo>
                        <a:pt x="1386" y="2481"/>
                      </a:lnTo>
                      <a:lnTo>
                        <a:pt x="1419" y="2481"/>
                      </a:lnTo>
                      <a:lnTo>
                        <a:pt x="1398" y="2481"/>
                      </a:lnTo>
                      <a:lnTo>
                        <a:pt x="1403" y="2476"/>
                      </a:lnTo>
                      <a:lnTo>
                        <a:pt x="1457" y="2476"/>
                      </a:lnTo>
                      <a:lnTo>
                        <a:pt x="1441" y="2464"/>
                      </a:lnTo>
                      <a:lnTo>
                        <a:pt x="1353" y="2464"/>
                      </a:lnTo>
                      <a:lnTo>
                        <a:pt x="1348" y="2459"/>
                      </a:lnTo>
                      <a:lnTo>
                        <a:pt x="1386" y="2448"/>
                      </a:lnTo>
                      <a:lnTo>
                        <a:pt x="1348" y="2443"/>
                      </a:lnTo>
                      <a:lnTo>
                        <a:pt x="1382" y="2443"/>
                      </a:lnTo>
                      <a:lnTo>
                        <a:pt x="1332" y="2443"/>
                      </a:lnTo>
                      <a:lnTo>
                        <a:pt x="1348" y="2431"/>
                      </a:lnTo>
                      <a:lnTo>
                        <a:pt x="1382" y="2426"/>
                      </a:lnTo>
                      <a:lnTo>
                        <a:pt x="1365" y="2426"/>
                      </a:lnTo>
                      <a:lnTo>
                        <a:pt x="1462" y="2410"/>
                      </a:lnTo>
                      <a:lnTo>
                        <a:pt x="1511" y="2410"/>
                      </a:lnTo>
                      <a:lnTo>
                        <a:pt x="1533" y="2431"/>
                      </a:lnTo>
                      <a:lnTo>
                        <a:pt x="1587" y="2431"/>
                      </a:lnTo>
                      <a:lnTo>
                        <a:pt x="1533" y="2431"/>
                      </a:lnTo>
                      <a:lnTo>
                        <a:pt x="1511" y="2410"/>
                      </a:lnTo>
                      <a:lnTo>
                        <a:pt x="1533" y="2403"/>
                      </a:lnTo>
                      <a:lnTo>
                        <a:pt x="1386" y="2410"/>
                      </a:lnTo>
                      <a:lnTo>
                        <a:pt x="1348" y="2426"/>
                      </a:lnTo>
                      <a:lnTo>
                        <a:pt x="1344" y="2419"/>
                      </a:lnTo>
                      <a:lnTo>
                        <a:pt x="1353" y="2393"/>
                      </a:lnTo>
                      <a:lnTo>
                        <a:pt x="1408" y="2370"/>
                      </a:lnTo>
                      <a:lnTo>
                        <a:pt x="1398" y="2370"/>
                      </a:lnTo>
                      <a:lnTo>
                        <a:pt x="1403" y="2370"/>
                      </a:lnTo>
                      <a:lnTo>
                        <a:pt x="1436" y="2365"/>
                      </a:lnTo>
                      <a:lnTo>
                        <a:pt x="1419" y="2365"/>
                      </a:lnTo>
                      <a:lnTo>
                        <a:pt x="1441" y="2365"/>
                      </a:lnTo>
                      <a:lnTo>
                        <a:pt x="1490" y="2377"/>
                      </a:lnTo>
                      <a:lnTo>
                        <a:pt x="1516" y="2370"/>
                      </a:lnTo>
                      <a:lnTo>
                        <a:pt x="1566" y="2393"/>
                      </a:lnTo>
                      <a:lnTo>
                        <a:pt x="1604" y="2393"/>
                      </a:lnTo>
                      <a:lnTo>
                        <a:pt x="1613" y="2386"/>
                      </a:lnTo>
                      <a:lnTo>
                        <a:pt x="1570" y="2393"/>
                      </a:lnTo>
                      <a:lnTo>
                        <a:pt x="1559" y="2377"/>
                      </a:lnTo>
                      <a:lnTo>
                        <a:pt x="1596" y="2365"/>
                      </a:lnTo>
                      <a:lnTo>
                        <a:pt x="1618" y="2370"/>
                      </a:lnTo>
                      <a:lnTo>
                        <a:pt x="1596" y="2365"/>
                      </a:lnTo>
                      <a:lnTo>
                        <a:pt x="1542" y="2377"/>
                      </a:lnTo>
                      <a:lnTo>
                        <a:pt x="1528" y="2365"/>
                      </a:lnTo>
                      <a:lnTo>
                        <a:pt x="1587" y="2348"/>
                      </a:lnTo>
                      <a:lnTo>
                        <a:pt x="1559" y="2337"/>
                      </a:lnTo>
                      <a:lnTo>
                        <a:pt x="1559" y="2348"/>
                      </a:lnTo>
                      <a:lnTo>
                        <a:pt x="1566" y="2348"/>
                      </a:lnTo>
                      <a:lnTo>
                        <a:pt x="1533" y="2365"/>
                      </a:lnTo>
                      <a:lnTo>
                        <a:pt x="1516" y="2348"/>
                      </a:lnTo>
                      <a:lnTo>
                        <a:pt x="1549" y="2348"/>
                      </a:lnTo>
                      <a:lnTo>
                        <a:pt x="1542" y="2332"/>
                      </a:lnTo>
                      <a:lnTo>
                        <a:pt x="1504" y="2337"/>
                      </a:lnTo>
                      <a:lnTo>
                        <a:pt x="1516" y="2353"/>
                      </a:lnTo>
                      <a:lnTo>
                        <a:pt x="1495" y="2370"/>
                      </a:lnTo>
                      <a:lnTo>
                        <a:pt x="1490" y="2365"/>
                      </a:lnTo>
                      <a:lnTo>
                        <a:pt x="1504" y="2353"/>
                      </a:lnTo>
                      <a:lnTo>
                        <a:pt x="1452" y="2353"/>
                      </a:lnTo>
                      <a:lnTo>
                        <a:pt x="1504" y="2332"/>
                      </a:lnTo>
                      <a:lnTo>
                        <a:pt x="1403" y="2365"/>
                      </a:lnTo>
                      <a:lnTo>
                        <a:pt x="1365" y="2386"/>
                      </a:lnTo>
                      <a:lnTo>
                        <a:pt x="1353" y="2386"/>
                      </a:lnTo>
                      <a:lnTo>
                        <a:pt x="1348" y="2377"/>
                      </a:lnTo>
                      <a:lnTo>
                        <a:pt x="1365" y="2370"/>
                      </a:lnTo>
                      <a:lnTo>
                        <a:pt x="1353" y="2353"/>
                      </a:lnTo>
                      <a:lnTo>
                        <a:pt x="1382" y="2353"/>
                      </a:lnTo>
                      <a:lnTo>
                        <a:pt x="1370" y="2348"/>
                      </a:lnTo>
                      <a:lnTo>
                        <a:pt x="1386" y="2353"/>
                      </a:lnTo>
                      <a:lnTo>
                        <a:pt x="1403" y="2348"/>
                      </a:lnTo>
                      <a:lnTo>
                        <a:pt x="1386" y="2348"/>
                      </a:lnTo>
                      <a:lnTo>
                        <a:pt x="1386" y="2337"/>
                      </a:lnTo>
                      <a:lnTo>
                        <a:pt x="1408" y="2332"/>
                      </a:lnTo>
                      <a:lnTo>
                        <a:pt x="1386" y="2332"/>
                      </a:lnTo>
                      <a:lnTo>
                        <a:pt x="1386" y="2320"/>
                      </a:lnTo>
                      <a:lnTo>
                        <a:pt x="1457" y="2337"/>
                      </a:lnTo>
                      <a:lnTo>
                        <a:pt x="1474" y="2332"/>
                      </a:lnTo>
                      <a:lnTo>
                        <a:pt x="1424" y="2332"/>
                      </a:lnTo>
                      <a:lnTo>
                        <a:pt x="1398" y="2315"/>
                      </a:lnTo>
                      <a:lnTo>
                        <a:pt x="1370" y="2315"/>
                      </a:lnTo>
                      <a:lnTo>
                        <a:pt x="1382" y="2308"/>
                      </a:lnTo>
                      <a:lnTo>
                        <a:pt x="1452" y="2320"/>
                      </a:lnTo>
                      <a:lnTo>
                        <a:pt x="1419" y="2308"/>
                      </a:lnTo>
                      <a:lnTo>
                        <a:pt x="1490" y="2320"/>
                      </a:lnTo>
                      <a:lnTo>
                        <a:pt x="1533" y="2320"/>
                      </a:lnTo>
                      <a:lnTo>
                        <a:pt x="1570" y="2337"/>
                      </a:lnTo>
                      <a:lnTo>
                        <a:pt x="1604" y="2337"/>
                      </a:lnTo>
                      <a:lnTo>
                        <a:pt x="1511" y="2308"/>
                      </a:lnTo>
                      <a:lnTo>
                        <a:pt x="1549" y="2308"/>
                      </a:lnTo>
                      <a:lnTo>
                        <a:pt x="1528" y="2299"/>
                      </a:lnTo>
                      <a:lnTo>
                        <a:pt x="1533" y="2292"/>
                      </a:lnTo>
                      <a:lnTo>
                        <a:pt x="1533" y="2282"/>
                      </a:lnTo>
                      <a:lnTo>
                        <a:pt x="1559" y="2266"/>
                      </a:lnTo>
                      <a:lnTo>
                        <a:pt x="1504" y="2275"/>
                      </a:lnTo>
                      <a:lnTo>
                        <a:pt x="1528" y="2292"/>
                      </a:lnTo>
                      <a:lnTo>
                        <a:pt x="1441" y="2308"/>
                      </a:lnTo>
                      <a:lnTo>
                        <a:pt x="1441" y="2308"/>
                      </a:lnTo>
                      <a:lnTo>
                        <a:pt x="1441" y="2308"/>
                      </a:lnTo>
                      <a:close/>
                      <a:moveTo>
                        <a:pt x="2343" y="45"/>
                      </a:moveTo>
                      <a:lnTo>
                        <a:pt x="2374" y="41"/>
                      </a:lnTo>
                      <a:lnTo>
                        <a:pt x="2390" y="57"/>
                      </a:lnTo>
                      <a:lnTo>
                        <a:pt x="2343" y="45"/>
                      </a:lnTo>
                      <a:lnTo>
                        <a:pt x="2343" y="45"/>
                      </a:lnTo>
                      <a:lnTo>
                        <a:pt x="2343" y="45"/>
                      </a:lnTo>
                      <a:close/>
                      <a:moveTo>
                        <a:pt x="2390" y="83"/>
                      </a:moveTo>
                      <a:lnTo>
                        <a:pt x="2267" y="62"/>
                      </a:lnTo>
                      <a:lnTo>
                        <a:pt x="2298" y="45"/>
                      </a:lnTo>
                      <a:lnTo>
                        <a:pt x="2411" y="83"/>
                      </a:lnTo>
                      <a:lnTo>
                        <a:pt x="2390" y="83"/>
                      </a:lnTo>
                      <a:lnTo>
                        <a:pt x="2390" y="83"/>
                      </a:lnTo>
                      <a:lnTo>
                        <a:pt x="2390" y="83"/>
                      </a:lnTo>
                      <a:close/>
                      <a:moveTo>
                        <a:pt x="2284" y="67"/>
                      </a:moveTo>
                      <a:lnTo>
                        <a:pt x="2315" y="67"/>
                      </a:lnTo>
                      <a:lnTo>
                        <a:pt x="2272" y="67"/>
                      </a:lnTo>
                      <a:lnTo>
                        <a:pt x="2284" y="67"/>
                      </a:lnTo>
                      <a:lnTo>
                        <a:pt x="2284" y="67"/>
                      </a:lnTo>
                      <a:lnTo>
                        <a:pt x="2284" y="67"/>
                      </a:lnTo>
                      <a:close/>
                      <a:moveTo>
                        <a:pt x="2411" y="83"/>
                      </a:moveTo>
                      <a:lnTo>
                        <a:pt x="2411" y="78"/>
                      </a:lnTo>
                      <a:lnTo>
                        <a:pt x="2449" y="83"/>
                      </a:lnTo>
                      <a:lnTo>
                        <a:pt x="2411" y="83"/>
                      </a:lnTo>
                      <a:lnTo>
                        <a:pt x="2411" y="83"/>
                      </a:lnTo>
                      <a:lnTo>
                        <a:pt x="2411" y="83"/>
                      </a:lnTo>
                      <a:close/>
                      <a:moveTo>
                        <a:pt x="2322" y="116"/>
                      </a:moveTo>
                      <a:lnTo>
                        <a:pt x="2213" y="78"/>
                      </a:lnTo>
                      <a:lnTo>
                        <a:pt x="2260" y="78"/>
                      </a:lnTo>
                      <a:lnTo>
                        <a:pt x="2322" y="116"/>
                      </a:lnTo>
                      <a:lnTo>
                        <a:pt x="2322" y="116"/>
                      </a:lnTo>
                      <a:lnTo>
                        <a:pt x="2322" y="116"/>
                      </a:lnTo>
                      <a:close/>
                      <a:moveTo>
                        <a:pt x="2343" y="111"/>
                      </a:moveTo>
                      <a:lnTo>
                        <a:pt x="2272" y="83"/>
                      </a:lnTo>
                      <a:lnTo>
                        <a:pt x="2369" y="95"/>
                      </a:lnTo>
                      <a:lnTo>
                        <a:pt x="2343" y="111"/>
                      </a:lnTo>
                      <a:lnTo>
                        <a:pt x="2343" y="111"/>
                      </a:lnTo>
                      <a:lnTo>
                        <a:pt x="2343" y="111"/>
                      </a:lnTo>
                      <a:close/>
                      <a:moveTo>
                        <a:pt x="1840" y="140"/>
                      </a:moveTo>
                      <a:lnTo>
                        <a:pt x="1802" y="123"/>
                      </a:lnTo>
                      <a:lnTo>
                        <a:pt x="1868" y="140"/>
                      </a:lnTo>
                      <a:lnTo>
                        <a:pt x="1840" y="140"/>
                      </a:lnTo>
                      <a:lnTo>
                        <a:pt x="1840" y="140"/>
                      </a:lnTo>
                      <a:lnTo>
                        <a:pt x="1840" y="140"/>
                      </a:lnTo>
                      <a:close/>
                      <a:moveTo>
                        <a:pt x="1731" y="152"/>
                      </a:moveTo>
                      <a:lnTo>
                        <a:pt x="1726" y="135"/>
                      </a:lnTo>
                      <a:lnTo>
                        <a:pt x="1797" y="152"/>
                      </a:lnTo>
                      <a:lnTo>
                        <a:pt x="1731" y="152"/>
                      </a:lnTo>
                      <a:lnTo>
                        <a:pt x="1731" y="152"/>
                      </a:lnTo>
                      <a:lnTo>
                        <a:pt x="1731" y="152"/>
                      </a:lnTo>
                      <a:close/>
                      <a:moveTo>
                        <a:pt x="2298" y="173"/>
                      </a:moveTo>
                      <a:lnTo>
                        <a:pt x="2284" y="168"/>
                      </a:lnTo>
                      <a:lnTo>
                        <a:pt x="2305" y="173"/>
                      </a:lnTo>
                      <a:lnTo>
                        <a:pt x="2298" y="173"/>
                      </a:lnTo>
                      <a:lnTo>
                        <a:pt x="2298" y="173"/>
                      </a:lnTo>
                      <a:lnTo>
                        <a:pt x="2298" y="173"/>
                      </a:lnTo>
                      <a:close/>
                      <a:moveTo>
                        <a:pt x="1965" y="279"/>
                      </a:moveTo>
                      <a:lnTo>
                        <a:pt x="1937" y="251"/>
                      </a:lnTo>
                      <a:lnTo>
                        <a:pt x="1830" y="222"/>
                      </a:lnTo>
                      <a:lnTo>
                        <a:pt x="1776" y="178"/>
                      </a:lnTo>
                      <a:lnTo>
                        <a:pt x="1882" y="173"/>
                      </a:lnTo>
                      <a:lnTo>
                        <a:pt x="2003" y="222"/>
                      </a:lnTo>
                      <a:lnTo>
                        <a:pt x="1958" y="251"/>
                      </a:lnTo>
                      <a:lnTo>
                        <a:pt x="1982" y="267"/>
                      </a:lnTo>
                      <a:lnTo>
                        <a:pt x="1965" y="279"/>
                      </a:lnTo>
                      <a:lnTo>
                        <a:pt x="1965" y="279"/>
                      </a:lnTo>
                      <a:lnTo>
                        <a:pt x="1965" y="279"/>
                      </a:lnTo>
                      <a:close/>
                      <a:moveTo>
                        <a:pt x="1731" y="211"/>
                      </a:moveTo>
                      <a:lnTo>
                        <a:pt x="1693" y="194"/>
                      </a:lnTo>
                      <a:lnTo>
                        <a:pt x="1748" y="206"/>
                      </a:lnTo>
                      <a:lnTo>
                        <a:pt x="1731" y="211"/>
                      </a:lnTo>
                      <a:lnTo>
                        <a:pt x="1731" y="211"/>
                      </a:lnTo>
                      <a:lnTo>
                        <a:pt x="1731" y="211"/>
                      </a:lnTo>
                      <a:close/>
                      <a:moveTo>
                        <a:pt x="1528" y="296"/>
                      </a:moveTo>
                      <a:lnTo>
                        <a:pt x="1403" y="267"/>
                      </a:lnTo>
                      <a:lnTo>
                        <a:pt x="1382" y="244"/>
                      </a:lnTo>
                      <a:lnTo>
                        <a:pt x="1398" y="227"/>
                      </a:lnTo>
                      <a:lnTo>
                        <a:pt x="1419" y="239"/>
                      </a:lnTo>
                      <a:lnTo>
                        <a:pt x="1528" y="296"/>
                      </a:lnTo>
                      <a:lnTo>
                        <a:pt x="1528" y="296"/>
                      </a:lnTo>
                      <a:lnTo>
                        <a:pt x="1528" y="296"/>
                      </a:lnTo>
                      <a:close/>
                      <a:moveTo>
                        <a:pt x="1462" y="251"/>
                      </a:moveTo>
                      <a:lnTo>
                        <a:pt x="1457" y="239"/>
                      </a:lnTo>
                      <a:lnTo>
                        <a:pt x="1490" y="251"/>
                      </a:lnTo>
                      <a:lnTo>
                        <a:pt x="1462" y="251"/>
                      </a:lnTo>
                      <a:lnTo>
                        <a:pt x="1462" y="251"/>
                      </a:lnTo>
                      <a:lnTo>
                        <a:pt x="1462" y="251"/>
                      </a:lnTo>
                      <a:close/>
                      <a:moveTo>
                        <a:pt x="3789" y="284"/>
                      </a:moveTo>
                      <a:lnTo>
                        <a:pt x="3763" y="251"/>
                      </a:lnTo>
                      <a:lnTo>
                        <a:pt x="3800" y="296"/>
                      </a:lnTo>
                      <a:lnTo>
                        <a:pt x="3789" y="284"/>
                      </a:lnTo>
                      <a:lnTo>
                        <a:pt x="3789" y="284"/>
                      </a:lnTo>
                      <a:lnTo>
                        <a:pt x="3789" y="284"/>
                      </a:lnTo>
                      <a:close/>
                      <a:moveTo>
                        <a:pt x="3704" y="305"/>
                      </a:moveTo>
                      <a:lnTo>
                        <a:pt x="3666" y="267"/>
                      </a:lnTo>
                      <a:lnTo>
                        <a:pt x="3692" y="267"/>
                      </a:lnTo>
                      <a:lnTo>
                        <a:pt x="3741" y="305"/>
                      </a:lnTo>
                      <a:lnTo>
                        <a:pt x="3704" y="305"/>
                      </a:lnTo>
                      <a:lnTo>
                        <a:pt x="3704" y="305"/>
                      </a:lnTo>
                      <a:lnTo>
                        <a:pt x="3704" y="305"/>
                      </a:lnTo>
                      <a:close/>
                      <a:moveTo>
                        <a:pt x="3817" y="350"/>
                      </a:moveTo>
                      <a:lnTo>
                        <a:pt x="3772" y="322"/>
                      </a:lnTo>
                      <a:lnTo>
                        <a:pt x="3810" y="322"/>
                      </a:lnTo>
                      <a:lnTo>
                        <a:pt x="3843" y="350"/>
                      </a:lnTo>
                      <a:lnTo>
                        <a:pt x="3817" y="350"/>
                      </a:lnTo>
                      <a:lnTo>
                        <a:pt x="3817" y="350"/>
                      </a:lnTo>
                      <a:lnTo>
                        <a:pt x="3817" y="350"/>
                      </a:lnTo>
                      <a:close/>
                      <a:moveTo>
                        <a:pt x="3654" y="355"/>
                      </a:moveTo>
                      <a:lnTo>
                        <a:pt x="3666" y="350"/>
                      </a:lnTo>
                      <a:lnTo>
                        <a:pt x="3649" y="338"/>
                      </a:lnTo>
                      <a:lnTo>
                        <a:pt x="3654" y="333"/>
                      </a:lnTo>
                      <a:lnTo>
                        <a:pt x="3708" y="338"/>
                      </a:lnTo>
                      <a:lnTo>
                        <a:pt x="3654" y="355"/>
                      </a:lnTo>
                      <a:lnTo>
                        <a:pt x="3654" y="355"/>
                      </a:lnTo>
                      <a:lnTo>
                        <a:pt x="3654" y="355"/>
                      </a:lnTo>
                      <a:close/>
                      <a:moveTo>
                        <a:pt x="3789" y="600"/>
                      </a:moveTo>
                      <a:lnTo>
                        <a:pt x="3720" y="612"/>
                      </a:lnTo>
                      <a:lnTo>
                        <a:pt x="3741" y="584"/>
                      </a:lnTo>
                      <a:lnTo>
                        <a:pt x="3789" y="600"/>
                      </a:lnTo>
                      <a:lnTo>
                        <a:pt x="3789" y="600"/>
                      </a:lnTo>
                      <a:lnTo>
                        <a:pt x="3789" y="600"/>
                      </a:lnTo>
                      <a:close/>
                      <a:moveTo>
                        <a:pt x="3763" y="749"/>
                      </a:moveTo>
                      <a:lnTo>
                        <a:pt x="3763" y="766"/>
                      </a:lnTo>
                      <a:lnTo>
                        <a:pt x="3758" y="761"/>
                      </a:lnTo>
                      <a:lnTo>
                        <a:pt x="3763" y="749"/>
                      </a:lnTo>
                      <a:lnTo>
                        <a:pt x="3763" y="749"/>
                      </a:lnTo>
                      <a:lnTo>
                        <a:pt x="3763" y="749"/>
                      </a:lnTo>
                      <a:close/>
                      <a:moveTo>
                        <a:pt x="3881" y="749"/>
                      </a:moveTo>
                      <a:lnTo>
                        <a:pt x="3885" y="761"/>
                      </a:lnTo>
                      <a:lnTo>
                        <a:pt x="3848" y="794"/>
                      </a:lnTo>
                      <a:lnTo>
                        <a:pt x="3855" y="778"/>
                      </a:lnTo>
                      <a:lnTo>
                        <a:pt x="3881" y="749"/>
                      </a:lnTo>
                      <a:lnTo>
                        <a:pt x="3881" y="749"/>
                      </a:lnTo>
                      <a:lnTo>
                        <a:pt x="3881" y="749"/>
                      </a:lnTo>
                      <a:close/>
                      <a:moveTo>
                        <a:pt x="3763" y="834"/>
                      </a:moveTo>
                      <a:lnTo>
                        <a:pt x="3734" y="822"/>
                      </a:lnTo>
                      <a:lnTo>
                        <a:pt x="3779" y="799"/>
                      </a:lnTo>
                      <a:lnTo>
                        <a:pt x="3763" y="815"/>
                      </a:lnTo>
                      <a:lnTo>
                        <a:pt x="3779" y="822"/>
                      </a:lnTo>
                      <a:lnTo>
                        <a:pt x="3758" y="822"/>
                      </a:lnTo>
                      <a:lnTo>
                        <a:pt x="3779" y="822"/>
                      </a:lnTo>
                      <a:lnTo>
                        <a:pt x="3763" y="834"/>
                      </a:lnTo>
                      <a:lnTo>
                        <a:pt x="3763" y="834"/>
                      </a:lnTo>
                      <a:lnTo>
                        <a:pt x="3763" y="834"/>
                      </a:lnTo>
                      <a:close/>
                      <a:moveTo>
                        <a:pt x="3843" y="834"/>
                      </a:moveTo>
                      <a:lnTo>
                        <a:pt x="3843" y="806"/>
                      </a:lnTo>
                      <a:lnTo>
                        <a:pt x="3855" y="815"/>
                      </a:lnTo>
                      <a:lnTo>
                        <a:pt x="3843" y="834"/>
                      </a:lnTo>
                      <a:lnTo>
                        <a:pt x="3843" y="834"/>
                      </a:lnTo>
                      <a:lnTo>
                        <a:pt x="3843" y="834"/>
                      </a:lnTo>
                      <a:close/>
                      <a:moveTo>
                        <a:pt x="3772" y="877"/>
                      </a:moveTo>
                      <a:lnTo>
                        <a:pt x="3789" y="889"/>
                      </a:lnTo>
                      <a:lnTo>
                        <a:pt x="3763" y="893"/>
                      </a:lnTo>
                      <a:lnTo>
                        <a:pt x="3763" y="889"/>
                      </a:lnTo>
                      <a:lnTo>
                        <a:pt x="3772" y="877"/>
                      </a:lnTo>
                      <a:lnTo>
                        <a:pt x="3772" y="877"/>
                      </a:lnTo>
                      <a:lnTo>
                        <a:pt x="3772" y="877"/>
                      </a:lnTo>
                      <a:close/>
                      <a:moveTo>
                        <a:pt x="3746" y="889"/>
                      </a:moveTo>
                      <a:lnTo>
                        <a:pt x="3758" y="893"/>
                      </a:lnTo>
                      <a:lnTo>
                        <a:pt x="3741" y="905"/>
                      </a:lnTo>
                      <a:lnTo>
                        <a:pt x="3741" y="889"/>
                      </a:lnTo>
                      <a:lnTo>
                        <a:pt x="3746" y="889"/>
                      </a:lnTo>
                      <a:lnTo>
                        <a:pt x="3746" y="889"/>
                      </a:lnTo>
                      <a:lnTo>
                        <a:pt x="3746" y="889"/>
                      </a:lnTo>
                      <a:close/>
                      <a:moveTo>
                        <a:pt x="3772" y="910"/>
                      </a:moveTo>
                      <a:lnTo>
                        <a:pt x="3763" y="905"/>
                      </a:lnTo>
                      <a:lnTo>
                        <a:pt x="3796" y="905"/>
                      </a:lnTo>
                      <a:lnTo>
                        <a:pt x="3772" y="910"/>
                      </a:lnTo>
                      <a:lnTo>
                        <a:pt x="3772" y="910"/>
                      </a:lnTo>
                      <a:lnTo>
                        <a:pt x="3772" y="910"/>
                      </a:lnTo>
                      <a:close/>
                      <a:moveTo>
                        <a:pt x="3649" y="917"/>
                      </a:moveTo>
                      <a:lnTo>
                        <a:pt x="3654" y="917"/>
                      </a:lnTo>
                      <a:lnTo>
                        <a:pt x="3649" y="917"/>
                      </a:lnTo>
                      <a:lnTo>
                        <a:pt x="3649" y="917"/>
                      </a:lnTo>
                      <a:lnTo>
                        <a:pt x="3649" y="917"/>
                      </a:lnTo>
                      <a:close/>
                      <a:moveTo>
                        <a:pt x="3796" y="917"/>
                      </a:moveTo>
                      <a:lnTo>
                        <a:pt x="3789" y="933"/>
                      </a:lnTo>
                      <a:lnTo>
                        <a:pt x="3779" y="926"/>
                      </a:lnTo>
                      <a:lnTo>
                        <a:pt x="3796" y="917"/>
                      </a:lnTo>
                      <a:lnTo>
                        <a:pt x="3796" y="917"/>
                      </a:lnTo>
                      <a:lnTo>
                        <a:pt x="3796" y="917"/>
                      </a:lnTo>
                      <a:close/>
                      <a:moveTo>
                        <a:pt x="3772" y="926"/>
                      </a:moveTo>
                      <a:lnTo>
                        <a:pt x="3763" y="926"/>
                      </a:lnTo>
                      <a:lnTo>
                        <a:pt x="3772" y="917"/>
                      </a:lnTo>
                      <a:lnTo>
                        <a:pt x="3772" y="926"/>
                      </a:lnTo>
                      <a:lnTo>
                        <a:pt x="3772" y="926"/>
                      </a:lnTo>
                      <a:lnTo>
                        <a:pt x="3772" y="926"/>
                      </a:lnTo>
                      <a:close/>
                      <a:moveTo>
                        <a:pt x="3637" y="945"/>
                      </a:moveTo>
                      <a:lnTo>
                        <a:pt x="3628" y="966"/>
                      </a:lnTo>
                      <a:lnTo>
                        <a:pt x="3616" y="962"/>
                      </a:lnTo>
                      <a:lnTo>
                        <a:pt x="3637" y="945"/>
                      </a:lnTo>
                      <a:lnTo>
                        <a:pt x="3637" y="945"/>
                      </a:lnTo>
                      <a:lnTo>
                        <a:pt x="3637" y="945"/>
                      </a:lnTo>
                      <a:close/>
                      <a:moveTo>
                        <a:pt x="3734" y="966"/>
                      </a:moveTo>
                      <a:lnTo>
                        <a:pt x="3772" y="971"/>
                      </a:lnTo>
                      <a:lnTo>
                        <a:pt x="3687" y="950"/>
                      </a:lnTo>
                      <a:lnTo>
                        <a:pt x="3725" y="950"/>
                      </a:lnTo>
                      <a:lnTo>
                        <a:pt x="3720" y="950"/>
                      </a:lnTo>
                      <a:lnTo>
                        <a:pt x="3734" y="966"/>
                      </a:lnTo>
                      <a:lnTo>
                        <a:pt x="3734" y="966"/>
                      </a:lnTo>
                      <a:lnTo>
                        <a:pt x="3734" y="966"/>
                      </a:lnTo>
                      <a:close/>
                      <a:moveTo>
                        <a:pt x="3746" y="962"/>
                      </a:moveTo>
                      <a:lnTo>
                        <a:pt x="3741" y="950"/>
                      </a:lnTo>
                      <a:lnTo>
                        <a:pt x="3746" y="962"/>
                      </a:lnTo>
                      <a:lnTo>
                        <a:pt x="3746" y="962"/>
                      </a:lnTo>
                      <a:lnTo>
                        <a:pt x="3746" y="962"/>
                      </a:lnTo>
                      <a:close/>
                      <a:moveTo>
                        <a:pt x="3881" y="962"/>
                      </a:moveTo>
                      <a:lnTo>
                        <a:pt x="3885" y="971"/>
                      </a:lnTo>
                      <a:lnTo>
                        <a:pt x="3881" y="988"/>
                      </a:lnTo>
                      <a:lnTo>
                        <a:pt x="3843" y="1000"/>
                      </a:lnTo>
                      <a:lnTo>
                        <a:pt x="3864" y="966"/>
                      </a:lnTo>
                      <a:lnTo>
                        <a:pt x="3881" y="962"/>
                      </a:lnTo>
                      <a:lnTo>
                        <a:pt x="3881" y="962"/>
                      </a:lnTo>
                      <a:lnTo>
                        <a:pt x="3881" y="962"/>
                      </a:lnTo>
                      <a:close/>
                      <a:moveTo>
                        <a:pt x="3708" y="1000"/>
                      </a:moveTo>
                      <a:lnTo>
                        <a:pt x="3720" y="1004"/>
                      </a:lnTo>
                      <a:lnTo>
                        <a:pt x="3687" y="1004"/>
                      </a:lnTo>
                      <a:lnTo>
                        <a:pt x="3708" y="1000"/>
                      </a:lnTo>
                      <a:lnTo>
                        <a:pt x="3708" y="1000"/>
                      </a:lnTo>
                      <a:lnTo>
                        <a:pt x="3708" y="1000"/>
                      </a:lnTo>
                      <a:close/>
                      <a:moveTo>
                        <a:pt x="432" y="1004"/>
                      </a:moveTo>
                      <a:lnTo>
                        <a:pt x="425" y="1004"/>
                      </a:lnTo>
                      <a:lnTo>
                        <a:pt x="446" y="1004"/>
                      </a:lnTo>
                      <a:lnTo>
                        <a:pt x="432" y="1004"/>
                      </a:lnTo>
                      <a:lnTo>
                        <a:pt x="432" y="1004"/>
                      </a:lnTo>
                      <a:lnTo>
                        <a:pt x="432" y="1004"/>
                      </a:lnTo>
                      <a:close/>
                      <a:moveTo>
                        <a:pt x="479" y="1028"/>
                      </a:moveTo>
                      <a:lnTo>
                        <a:pt x="437" y="1021"/>
                      </a:lnTo>
                      <a:lnTo>
                        <a:pt x="479" y="1021"/>
                      </a:lnTo>
                      <a:lnTo>
                        <a:pt x="479" y="1028"/>
                      </a:lnTo>
                      <a:lnTo>
                        <a:pt x="479" y="1028"/>
                      </a:lnTo>
                      <a:lnTo>
                        <a:pt x="479" y="1028"/>
                      </a:lnTo>
                      <a:close/>
                      <a:moveTo>
                        <a:pt x="122" y="1028"/>
                      </a:moveTo>
                      <a:lnTo>
                        <a:pt x="205" y="1037"/>
                      </a:lnTo>
                      <a:lnTo>
                        <a:pt x="139" y="1044"/>
                      </a:lnTo>
                      <a:lnTo>
                        <a:pt x="122" y="1028"/>
                      </a:lnTo>
                      <a:lnTo>
                        <a:pt x="122" y="1028"/>
                      </a:lnTo>
                      <a:lnTo>
                        <a:pt x="122" y="1028"/>
                      </a:lnTo>
                      <a:close/>
                      <a:moveTo>
                        <a:pt x="54" y="1028"/>
                      </a:moveTo>
                      <a:lnTo>
                        <a:pt x="113" y="1044"/>
                      </a:lnTo>
                      <a:lnTo>
                        <a:pt x="68" y="1054"/>
                      </a:lnTo>
                      <a:lnTo>
                        <a:pt x="30" y="1037"/>
                      </a:lnTo>
                      <a:lnTo>
                        <a:pt x="54" y="1028"/>
                      </a:lnTo>
                      <a:lnTo>
                        <a:pt x="54" y="1028"/>
                      </a:lnTo>
                      <a:lnTo>
                        <a:pt x="54" y="1028"/>
                      </a:lnTo>
                      <a:close/>
                      <a:moveTo>
                        <a:pt x="3741" y="1127"/>
                      </a:moveTo>
                      <a:lnTo>
                        <a:pt x="3746" y="1127"/>
                      </a:lnTo>
                      <a:lnTo>
                        <a:pt x="3734" y="1132"/>
                      </a:lnTo>
                      <a:lnTo>
                        <a:pt x="3741" y="1127"/>
                      </a:lnTo>
                      <a:lnTo>
                        <a:pt x="3741" y="1127"/>
                      </a:lnTo>
                      <a:lnTo>
                        <a:pt x="3741" y="1127"/>
                      </a:lnTo>
                      <a:close/>
                      <a:moveTo>
                        <a:pt x="3810" y="1226"/>
                      </a:moveTo>
                      <a:lnTo>
                        <a:pt x="3817" y="1243"/>
                      </a:lnTo>
                      <a:lnTo>
                        <a:pt x="3817" y="1266"/>
                      </a:lnTo>
                      <a:lnTo>
                        <a:pt x="3817" y="1250"/>
                      </a:lnTo>
                      <a:lnTo>
                        <a:pt x="3779" y="1172"/>
                      </a:lnTo>
                      <a:lnTo>
                        <a:pt x="3800" y="1165"/>
                      </a:lnTo>
                      <a:lnTo>
                        <a:pt x="3789" y="1155"/>
                      </a:lnTo>
                      <a:lnTo>
                        <a:pt x="3789" y="1139"/>
                      </a:lnTo>
                      <a:lnTo>
                        <a:pt x="3810" y="1155"/>
                      </a:lnTo>
                      <a:lnTo>
                        <a:pt x="3810" y="1172"/>
                      </a:lnTo>
                      <a:lnTo>
                        <a:pt x="3817" y="1222"/>
                      </a:lnTo>
                      <a:lnTo>
                        <a:pt x="3810" y="1226"/>
                      </a:lnTo>
                      <a:lnTo>
                        <a:pt x="3810" y="1226"/>
                      </a:lnTo>
                      <a:lnTo>
                        <a:pt x="3810" y="1226"/>
                      </a:lnTo>
                      <a:close/>
                      <a:moveTo>
                        <a:pt x="3741" y="1139"/>
                      </a:moveTo>
                      <a:lnTo>
                        <a:pt x="3746" y="1139"/>
                      </a:lnTo>
                      <a:lnTo>
                        <a:pt x="3725" y="1139"/>
                      </a:lnTo>
                      <a:lnTo>
                        <a:pt x="3741" y="1139"/>
                      </a:lnTo>
                      <a:lnTo>
                        <a:pt x="3741" y="1139"/>
                      </a:lnTo>
                      <a:lnTo>
                        <a:pt x="3741" y="1139"/>
                      </a:lnTo>
                      <a:close/>
                      <a:moveTo>
                        <a:pt x="3633" y="1165"/>
                      </a:moveTo>
                      <a:lnTo>
                        <a:pt x="3611" y="1155"/>
                      </a:lnTo>
                      <a:lnTo>
                        <a:pt x="3649" y="1155"/>
                      </a:lnTo>
                      <a:lnTo>
                        <a:pt x="3633" y="1165"/>
                      </a:lnTo>
                      <a:lnTo>
                        <a:pt x="3633" y="1165"/>
                      </a:lnTo>
                      <a:lnTo>
                        <a:pt x="3633" y="1165"/>
                      </a:lnTo>
                      <a:close/>
                      <a:moveTo>
                        <a:pt x="236" y="1155"/>
                      </a:moveTo>
                      <a:lnTo>
                        <a:pt x="252" y="1165"/>
                      </a:lnTo>
                      <a:lnTo>
                        <a:pt x="205" y="1165"/>
                      </a:lnTo>
                      <a:lnTo>
                        <a:pt x="236" y="1155"/>
                      </a:lnTo>
                      <a:lnTo>
                        <a:pt x="236" y="1155"/>
                      </a:lnTo>
                      <a:lnTo>
                        <a:pt x="236" y="1155"/>
                      </a:lnTo>
                      <a:close/>
                      <a:moveTo>
                        <a:pt x="3670" y="1172"/>
                      </a:moveTo>
                      <a:lnTo>
                        <a:pt x="3666" y="1189"/>
                      </a:lnTo>
                      <a:lnTo>
                        <a:pt x="3637" y="1184"/>
                      </a:lnTo>
                      <a:lnTo>
                        <a:pt x="3670" y="1172"/>
                      </a:lnTo>
                      <a:lnTo>
                        <a:pt x="3670" y="1172"/>
                      </a:lnTo>
                      <a:lnTo>
                        <a:pt x="3670" y="1172"/>
                      </a:lnTo>
                      <a:close/>
                      <a:moveTo>
                        <a:pt x="215" y="1184"/>
                      </a:moveTo>
                      <a:lnTo>
                        <a:pt x="219" y="1189"/>
                      </a:lnTo>
                      <a:lnTo>
                        <a:pt x="198" y="1184"/>
                      </a:lnTo>
                      <a:lnTo>
                        <a:pt x="215" y="1184"/>
                      </a:lnTo>
                      <a:lnTo>
                        <a:pt x="215" y="1184"/>
                      </a:lnTo>
                      <a:lnTo>
                        <a:pt x="215" y="1184"/>
                      </a:lnTo>
                      <a:close/>
                      <a:moveTo>
                        <a:pt x="3708" y="1193"/>
                      </a:moveTo>
                      <a:lnTo>
                        <a:pt x="3692" y="1210"/>
                      </a:lnTo>
                      <a:lnTo>
                        <a:pt x="3670" y="1193"/>
                      </a:lnTo>
                      <a:lnTo>
                        <a:pt x="3708" y="1193"/>
                      </a:lnTo>
                      <a:lnTo>
                        <a:pt x="3708" y="1193"/>
                      </a:lnTo>
                      <a:lnTo>
                        <a:pt x="3708" y="1193"/>
                      </a:lnTo>
                      <a:close/>
                      <a:moveTo>
                        <a:pt x="630" y="1226"/>
                      </a:moveTo>
                      <a:lnTo>
                        <a:pt x="630" y="1243"/>
                      </a:lnTo>
                      <a:lnTo>
                        <a:pt x="626" y="1238"/>
                      </a:lnTo>
                      <a:lnTo>
                        <a:pt x="630" y="1226"/>
                      </a:lnTo>
                      <a:lnTo>
                        <a:pt x="630" y="1226"/>
                      </a:lnTo>
                      <a:lnTo>
                        <a:pt x="630" y="1226"/>
                      </a:lnTo>
                      <a:close/>
                      <a:moveTo>
                        <a:pt x="559" y="1238"/>
                      </a:moveTo>
                      <a:lnTo>
                        <a:pt x="559" y="1243"/>
                      </a:lnTo>
                      <a:lnTo>
                        <a:pt x="545" y="1243"/>
                      </a:lnTo>
                      <a:lnTo>
                        <a:pt x="559" y="1238"/>
                      </a:lnTo>
                      <a:lnTo>
                        <a:pt x="559" y="1238"/>
                      </a:lnTo>
                      <a:lnTo>
                        <a:pt x="559" y="1238"/>
                      </a:lnTo>
                      <a:close/>
                      <a:moveTo>
                        <a:pt x="3864" y="1337"/>
                      </a:moveTo>
                      <a:lnTo>
                        <a:pt x="3871" y="1354"/>
                      </a:lnTo>
                      <a:lnTo>
                        <a:pt x="3843" y="1361"/>
                      </a:lnTo>
                      <a:lnTo>
                        <a:pt x="3881" y="1387"/>
                      </a:lnTo>
                      <a:lnTo>
                        <a:pt x="3909" y="1377"/>
                      </a:lnTo>
                      <a:lnTo>
                        <a:pt x="3902" y="1394"/>
                      </a:lnTo>
                      <a:lnTo>
                        <a:pt x="3885" y="1406"/>
                      </a:lnTo>
                      <a:lnTo>
                        <a:pt x="3885" y="1394"/>
                      </a:lnTo>
                      <a:lnTo>
                        <a:pt x="3871" y="1394"/>
                      </a:lnTo>
                      <a:lnTo>
                        <a:pt x="3796" y="1394"/>
                      </a:lnTo>
                      <a:lnTo>
                        <a:pt x="3800" y="1349"/>
                      </a:lnTo>
                      <a:lnTo>
                        <a:pt x="3817" y="1337"/>
                      </a:lnTo>
                      <a:lnTo>
                        <a:pt x="3843" y="1354"/>
                      </a:lnTo>
                      <a:lnTo>
                        <a:pt x="3848" y="1333"/>
                      </a:lnTo>
                      <a:lnTo>
                        <a:pt x="3864" y="1337"/>
                      </a:lnTo>
                      <a:lnTo>
                        <a:pt x="3864" y="1337"/>
                      </a:lnTo>
                      <a:lnTo>
                        <a:pt x="3864" y="1337"/>
                      </a:lnTo>
                      <a:close/>
                      <a:moveTo>
                        <a:pt x="3704" y="1387"/>
                      </a:moveTo>
                      <a:lnTo>
                        <a:pt x="3725" y="1394"/>
                      </a:lnTo>
                      <a:lnTo>
                        <a:pt x="3708" y="1411"/>
                      </a:lnTo>
                      <a:lnTo>
                        <a:pt x="3741" y="1415"/>
                      </a:lnTo>
                      <a:lnTo>
                        <a:pt x="3708" y="1444"/>
                      </a:lnTo>
                      <a:lnTo>
                        <a:pt x="3670" y="1427"/>
                      </a:lnTo>
                      <a:lnTo>
                        <a:pt x="3682" y="1411"/>
                      </a:lnTo>
                      <a:lnTo>
                        <a:pt x="3682" y="1394"/>
                      </a:lnTo>
                      <a:lnTo>
                        <a:pt x="3704" y="1387"/>
                      </a:lnTo>
                      <a:lnTo>
                        <a:pt x="3704" y="1387"/>
                      </a:lnTo>
                      <a:lnTo>
                        <a:pt x="3704" y="1387"/>
                      </a:lnTo>
                      <a:close/>
                      <a:moveTo>
                        <a:pt x="1084" y="1432"/>
                      </a:moveTo>
                      <a:lnTo>
                        <a:pt x="1096" y="1432"/>
                      </a:lnTo>
                      <a:lnTo>
                        <a:pt x="1074" y="1432"/>
                      </a:lnTo>
                      <a:lnTo>
                        <a:pt x="1084" y="1432"/>
                      </a:lnTo>
                      <a:lnTo>
                        <a:pt x="1084" y="1432"/>
                      </a:lnTo>
                      <a:lnTo>
                        <a:pt x="1084" y="1432"/>
                      </a:lnTo>
                      <a:close/>
                      <a:moveTo>
                        <a:pt x="3833" y="1444"/>
                      </a:moveTo>
                      <a:lnTo>
                        <a:pt x="3833" y="1448"/>
                      </a:lnTo>
                      <a:lnTo>
                        <a:pt x="3826" y="1448"/>
                      </a:lnTo>
                      <a:lnTo>
                        <a:pt x="3817" y="1432"/>
                      </a:lnTo>
                      <a:lnTo>
                        <a:pt x="3833" y="1444"/>
                      </a:lnTo>
                      <a:lnTo>
                        <a:pt x="3833" y="1444"/>
                      </a:lnTo>
                      <a:lnTo>
                        <a:pt x="3833" y="1444"/>
                      </a:lnTo>
                      <a:close/>
                      <a:moveTo>
                        <a:pt x="3810" y="1448"/>
                      </a:moveTo>
                      <a:lnTo>
                        <a:pt x="3800" y="1460"/>
                      </a:lnTo>
                      <a:lnTo>
                        <a:pt x="3772" y="1460"/>
                      </a:lnTo>
                      <a:lnTo>
                        <a:pt x="3800" y="1444"/>
                      </a:lnTo>
                      <a:lnTo>
                        <a:pt x="3810" y="1448"/>
                      </a:lnTo>
                      <a:lnTo>
                        <a:pt x="3810" y="1448"/>
                      </a:lnTo>
                      <a:lnTo>
                        <a:pt x="3810" y="1448"/>
                      </a:lnTo>
                      <a:close/>
                      <a:moveTo>
                        <a:pt x="1117" y="1448"/>
                      </a:moveTo>
                      <a:lnTo>
                        <a:pt x="1100" y="1460"/>
                      </a:lnTo>
                      <a:lnTo>
                        <a:pt x="1117" y="1448"/>
                      </a:lnTo>
                      <a:lnTo>
                        <a:pt x="1117" y="1448"/>
                      </a:lnTo>
                      <a:lnTo>
                        <a:pt x="1117" y="1448"/>
                      </a:lnTo>
                      <a:close/>
                      <a:moveTo>
                        <a:pt x="1126" y="1448"/>
                      </a:moveTo>
                      <a:lnTo>
                        <a:pt x="1133" y="1460"/>
                      </a:lnTo>
                      <a:lnTo>
                        <a:pt x="1117" y="1460"/>
                      </a:lnTo>
                      <a:lnTo>
                        <a:pt x="1126" y="1448"/>
                      </a:lnTo>
                      <a:lnTo>
                        <a:pt x="1126" y="1448"/>
                      </a:lnTo>
                      <a:lnTo>
                        <a:pt x="1126" y="1448"/>
                      </a:lnTo>
                      <a:close/>
                      <a:moveTo>
                        <a:pt x="1100" y="1465"/>
                      </a:moveTo>
                      <a:lnTo>
                        <a:pt x="1164" y="1465"/>
                      </a:lnTo>
                      <a:lnTo>
                        <a:pt x="1084" y="1465"/>
                      </a:lnTo>
                      <a:lnTo>
                        <a:pt x="1100" y="1465"/>
                      </a:lnTo>
                      <a:lnTo>
                        <a:pt x="1100" y="1465"/>
                      </a:lnTo>
                      <a:lnTo>
                        <a:pt x="1100" y="1465"/>
                      </a:lnTo>
                      <a:close/>
                      <a:moveTo>
                        <a:pt x="3649" y="1472"/>
                      </a:moveTo>
                      <a:lnTo>
                        <a:pt x="3682" y="1481"/>
                      </a:lnTo>
                      <a:lnTo>
                        <a:pt x="3687" y="1498"/>
                      </a:lnTo>
                      <a:lnTo>
                        <a:pt x="3708" y="1514"/>
                      </a:lnTo>
                      <a:lnTo>
                        <a:pt x="3633" y="1526"/>
                      </a:lnTo>
                      <a:lnTo>
                        <a:pt x="3578" y="1505"/>
                      </a:lnTo>
                      <a:lnTo>
                        <a:pt x="3611" y="1481"/>
                      </a:lnTo>
                      <a:lnTo>
                        <a:pt x="3649" y="1472"/>
                      </a:lnTo>
                      <a:lnTo>
                        <a:pt x="3649" y="1472"/>
                      </a:lnTo>
                      <a:lnTo>
                        <a:pt x="3649" y="1472"/>
                      </a:lnTo>
                      <a:close/>
                      <a:moveTo>
                        <a:pt x="3708" y="1543"/>
                      </a:moveTo>
                      <a:lnTo>
                        <a:pt x="3720" y="1555"/>
                      </a:lnTo>
                      <a:lnTo>
                        <a:pt x="3704" y="1555"/>
                      </a:lnTo>
                      <a:lnTo>
                        <a:pt x="3708" y="1543"/>
                      </a:lnTo>
                      <a:lnTo>
                        <a:pt x="3708" y="1543"/>
                      </a:lnTo>
                      <a:lnTo>
                        <a:pt x="3708" y="1543"/>
                      </a:lnTo>
                      <a:close/>
                      <a:moveTo>
                        <a:pt x="1171" y="1571"/>
                      </a:moveTo>
                      <a:lnTo>
                        <a:pt x="1138" y="1555"/>
                      </a:lnTo>
                      <a:lnTo>
                        <a:pt x="1193" y="1559"/>
                      </a:lnTo>
                      <a:lnTo>
                        <a:pt x="1171" y="1571"/>
                      </a:lnTo>
                      <a:lnTo>
                        <a:pt x="1171" y="1571"/>
                      </a:lnTo>
                      <a:lnTo>
                        <a:pt x="1171" y="1571"/>
                      </a:lnTo>
                      <a:close/>
                      <a:moveTo>
                        <a:pt x="1155" y="1583"/>
                      </a:moveTo>
                      <a:lnTo>
                        <a:pt x="1171" y="1583"/>
                      </a:lnTo>
                      <a:lnTo>
                        <a:pt x="1126" y="1583"/>
                      </a:lnTo>
                      <a:lnTo>
                        <a:pt x="1155" y="1583"/>
                      </a:lnTo>
                      <a:lnTo>
                        <a:pt x="1155" y="1583"/>
                      </a:lnTo>
                      <a:lnTo>
                        <a:pt x="1155" y="1583"/>
                      </a:lnTo>
                      <a:close/>
                      <a:moveTo>
                        <a:pt x="1164" y="1600"/>
                      </a:moveTo>
                      <a:lnTo>
                        <a:pt x="1155" y="1600"/>
                      </a:lnTo>
                      <a:lnTo>
                        <a:pt x="1171" y="1583"/>
                      </a:lnTo>
                      <a:lnTo>
                        <a:pt x="1181" y="1592"/>
                      </a:lnTo>
                      <a:lnTo>
                        <a:pt x="1164" y="1600"/>
                      </a:lnTo>
                      <a:lnTo>
                        <a:pt x="1164" y="1600"/>
                      </a:lnTo>
                      <a:lnTo>
                        <a:pt x="1164" y="1600"/>
                      </a:lnTo>
                      <a:close/>
                      <a:moveTo>
                        <a:pt x="1193" y="1600"/>
                      </a:moveTo>
                      <a:lnTo>
                        <a:pt x="1235" y="1616"/>
                      </a:lnTo>
                      <a:lnTo>
                        <a:pt x="1209" y="1626"/>
                      </a:lnTo>
                      <a:lnTo>
                        <a:pt x="1219" y="1609"/>
                      </a:lnTo>
                      <a:lnTo>
                        <a:pt x="1188" y="1600"/>
                      </a:lnTo>
                      <a:lnTo>
                        <a:pt x="1193" y="1600"/>
                      </a:lnTo>
                      <a:lnTo>
                        <a:pt x="1193" y="1600"/>
                      </a:lnTo>
                      <a:lnTo>
                        <a:pt x="1193" y="1600"/>
                      </a:lnTo>
                      <a:close/>
                      <a:moveTo>
                        <a:pt x="1193" y="1609"/>
                      </a:moveTo>
                      <a:lnTo>
                        <a:pt x="1209" y="1616"/>
                      </a:lnTo>
                      <a:lnTo>
                        <a:pt x="1188" y="1616"/>
                      </a:lnTo>
                      <a:lnTo>
                        <a:pt x="1193" y="1609"/>
                      </a:lnTo>
                      <a:lnTo>
                        <a:pt x="1193" y="1609"/>
                      </a:lnTo>
                      <a:lnTo>
                        <a:pt x="1193" y="1609"/>
                      </a:lnTo>
                      <a:close/>
                      <a:moveTo>
                        <a:pt x="3406" y="1616"/>
                      </a:moveTo>
                      <a:lnTo>
                        <a:pt x="3493" y="1649"/>
                      </a:lnTo>
                      <a:lnTo>
                        <a:pt x="3368" y="1633"/>
                      </a:lnTo>
                      <a:lnTo>
                        <a:pt x="3507" y="1654"/>
                      </a:lnTo>
                      <a:lnTo>
                        <a:pt x="3406" y="1670"/>
                      </a:lnTo>
                      <a:lnTo>
                        <a:pt x="3314" y="1649"/>
                      </a:lnTo>
                      <a:lnTo>
                        <a:pt x="3352" y="1626"/>
                      </a:lnTo>
                      <a:lnTo>
                        <a:pt x="3406" y="1616"/>
                      </a:lnTo>
                      <a:lnTo>
                        <a:pt x="3406" y="1616"/>
                      </a:lnTo>
                      <a:lnTo>
                        <a:pt x="3406" y="1616"/>
                      </a:lnTo>
                      <a:close/>
                      <a:moveTo>
                        <a:pt x="1193" y="1626"/>
                      </a:moveTo>
                      <a:lnTo>
                        <a:pt x="1202" y="1626"/>
                      </a:lnTo>
                      <a:lnTo>
                        <a:pt x="1188" y="1633"/>
                      </a:lnTo>
                      <a:lnTo>
                        <a:pt x="1193" y="1626"/>
                      </a:lnTo>
                      <a:lnTo>
                        <a:pt x="1193" y="1626"/>
                      </a:lnTo>
                      <a:lnTo>
                        <a:pt x="1193" y="1626"/>
                      </a:lnTo>
                      <a:close/>
                      <a:moveTo>
                        <a:pt x="1209" y="1626"/>
                      </a:moveTo>
                      <a:lnTo>
                        <a:pt x="1219" y="1633"/>
                      </a:lnTo>
                      <a:lnTo>
                        <a:pt x="1202" y="1633"/>
                      </a:lnTo>
                      <a:lnTo>
                        <a:pt x="1209" y="1626"/>
                      </a:lnTo>
                      <a:lnTo>
                        <a:pt x="1209" y="1626"/>
                      </a:lnTo>
                      <a:lnTo>
                        <a:pt x="1209" y="1626"/>
                      </a:lnTo>
                      <a:close/>
                      <a:moveTo>
                        <a:pt x="1202" y="1637"/>
                      </a:moveTo>
                      <a:lnTo>
                        <a:pt x="1188" y="1666"/>
                      </a:lnTo>
                      <a:lnTo>
                        <a:pt x="1193" y="1649"/>
                      </a:lnTo>
                      <a:lnTo>
                        <a:pt x="1202" y="1637"/>
                      </a:lnTo>
                      <a:lnTo>
                        <a:pt x="1202" y="1637"/>
                      </a:lnTo>
                      <a:lnTo>
                        <a:pt x="1202" y="1637"/>
                      </a:lnTo>
                      <a:close/>
                      <a:moveTo>
                        <a:pt x="1181" y="1649"/>
                      </a:moveTo>
                      <a:lnTo>
                        <a:pt x="1181" y="1654"/>
                      </a:lnTo>
                      <a:lnTo>
                        <a:pt x="1171" y="1654"/>
                      </a:lnTo>
                      <a:lnTo>
                        <a:pt x="1181" y="1649"/>
                      </a:lnTo>
                      <a:lnTo>
                        <a:pt x="1181" y="1649"/>
                      </a:lnTo>
                      <a:lnTo>
                        <a:pt x="1181" y="1649"/>
                      </a:lnTo>
                      <a:close/>
                      <a:moveTo>
                        <a:pt x="3583" y="1720"/>
                      </a:moveTo>
                      <a:lnTo>
                        <a:pt x="3541" y="1720"/>
                      </a:lnTo>
                      <a:lnTo>
                        <a:pt x="3503" y="1694"/>
                      </a:lnTo>
                      <a:lnTo>
                        <a:pt x="3401" y="1687"/>
                      </a:lnTo>
                      <a:lnTo>
                        <a:pt x="3394" y="1682"/>
                      </a:lnTo>
                      <a:lnTo>
                        <a:pt x="3493" y="1670"/>
                      </a:lnTo>
                      <a:lnTo>
                        <a:pt x="3545" y="1682"/>
                      </a:lnTo>
                      <a:lnTo>
                        <a:pt x="3583" y="1687"/>
                      </a:lnTo>
                      <a:lnTo>
                        <a:pt x="3562" y="1703"/>
                      </a:lnTo>
                      <a:lnTo>
                        <a:pt x="3578" y="1711"/>
                      </a:lnTo>
                      <a:lnTo>
                        <a:pt x="3583" y="1720"/>
                      </a:lnTo>
                      <a:lnTo>
                        <a:pt x="3583" y="1720"/>
                      </a:lnTo>
                      <a:lnTo>
                        <a:pt x="3583" y="1720"/>
                      </a:lnTo>
                      <a:close/>
                      <a:moveTo>
                        <a:pt x="1209" y="1670"/>
                      </a:moveTo>
                      <a:lnTo>
                        <a:pt x="1219" y="1670"/>
                      </a:lnTo>
                      <a:lnTo>
                        <a:pt x="1202" y="1670"/>
                      </a:lnTo>
                      <a:lnTo>
                        <a:pt x="1209" y="1670"/>
                      </a:lnTo>
                      <a:lnTo>
                        <a:pt x="1209" y="1670"/>
                      </a:lnTo>
                      <a:lnTo>
                        <a:pt x="1209" y="1670"/>
                      </a:lnTo>
                      <a:close/>
                      <a:moveTo>
                        <a:pt x="1240" y="1687"/>
                      </a:moveTo>
                      <a:lnTo>
                        <a:pt x="1219" y="1682"/>
                      </a:lnTo>
                      <a:lnTo>
                        <a:pt x="1226" y="1670"/>
                      </a:lnTo>
                      <a:lnTo>
                        <a:pt x="1256" y="1682"/>
                      </a:lnTo>
                      <a:lnTo>
                        <a:pt x="1240" y="1687"/>
                      </a:lnTo>
                      <a:lnTo>
                        <a:pt x="1240" y="1687"/>
                      </a:lnTo>
                      <a:lnTo>
                        <a:pt x="1240" y="1687"/>
                      </a:lnTo>
                      <a:close/>
                      <a:moveTo>
                        <a:pt x="3385" y="1687"/>
                      </a:moveTo>
                      <a:lnTo>
                        <a:pt x="3380" y="1711"/>
                      </a:lnTo>
                      <a:lnTo>
                        <a:pt x="3352" y="1703"/>
                      </a:lnTo>
                      <a:lnTo>
                        <a:pt x="3385" y="1687"/>
                      </a:lnTo>
                      <a:lnTo>
                        <a:pt x="3385" y="1687"/>
                      </a:lnTo>
                      <a:lnTo>
                        <a:pt x="3385" y="1687"/>
                      </a:lnTo>
                      <a:close/>
                      <a:moveTo>
                        <a:pt x="1226" y="1694"/>
                      </a:moveTo>
                      <a:lnTo>
                        <a:pt x="1240" y="1694"/>
                      </a:lnTo>
                      <a:lnTo>
                        <a:pt x="1226" y="1703"/>
                      </a:lnTo>
                      <a:lnTo>
                        <a:pt x="1226" y="1694"/>
                      </a:lnTo>
                      <a:lnTo>
                        <a:pt x="1226" y="1694"/>
                      </a:lnTo>
                      <a:lnTo>
                        <a:pt x="1226" y="1694"/>
                      </a:lnTo>
                      <a:close/>
                      <a:moveTo>
                        <a:pt x="3557" y="1798"/>
                      </a:moveTo>
                      <a:lnTo>
                        <a:pt x="3439" y="1748"/>
                      </a:lnTo>
                      <a:lnTo>
                        <a:pt x="3406" y="1737"/>
                      </a:lnTo>
                      <a:lnTo>
                        <a:pt x="3401" y="1703"/>
                      </a:lnTo>
                      <a:lnTo>
                        <a:pt x="3503" y="1694"/>
                      </a:lnTo>
                      <a:lnTo>
                        <a:pt x="3531" y="1727"/>
                      </a:lnTo>
                      <a:lnTo>
                        <a:pt x="3583" y="1748"/>
                      </a:lnTo>
                      <a:lnTo>
                        <a:pt x="3578" y="1760"/>
                      </a:lnTo>
                      <a:lnTo>
                        <a:pt x="3524" y="1748"/>
                      </a:lnTo>
                      <a:lnTo>
                        <a:pt x="3574" y="1777"/>
                      </a:lnTo>
                      <a:lnTo>
                        <a:pt x="3574" y="1793"/>
                      </a:lnTo>
                      <a:lnTo>
                        <a:pt x="3557" y="1798"/>
                      </a:lnTo>
                      <a:lnTo>
                        <a:pt x="3557" y="1798"/>
                      </a:lnTo>
                      <a:lnTo>
                        <a:pt x="3557" y="1798"/>
                      </a:lnTo>
                      <a:close/>
                      <a:moveTo>
                        <a:pt x="1247" y="1694"/>
                      </a:moveTo>
                      <a:lnTo>
                        <a:pt x="1263" y="1703"/>
                      </a:lnTo>
                      <a:lnTo>
                        <a:pt x="1226" y="1737"/>
                      </a:lnTo>
                      <a:lnTo>
                        <a:pt x="1235" y="1727"/>
                      </a:lnTo>
                      <a:lnTo>
                        <a:pt x="1202" y="1727"/>
                      </a:lnTo>
                      <a:lnTo>
                        <a:pt x="1219" y="1711"/>
                      </a:lnTo>
                      <a:lnTo>
                        <a:pt x="1247" y="1694"/>
                      </a:lnTo>
                      <a:lnTo>
                        <a:pt x="1247" y="1694"/>
                      </a:lnTo>
                      <a:lnTo>
                        <a:pt x="1247" y="1694"/>
                      </a:lnTo>
                      <a:close/>
                      <a:moveTo>
                        <a:pt x="1202" y="1703"/>
                      </a:moveTo>
                      <a:lnTo>
                        <a:pt x="1209" y="1703"/>
                      </a:lnTo>
                      <a:lnTo>
                        <a:pt x="1193" y="1703"/>
                      </a:lnTo>
                      <a:lnTo>
                        <a:pt x="1202" y="1703"/>
                      </a:lnTo>
                      <a:lnTo>
                        <a:pt x="1202" y="1703"/>
                      </a:lnTo>
                      <a:lnTo>
                        <a:pt x="1202" y="1703"/>
                      </a:lnTo>
                      <a:close/>
                      <a:moveTo>
                        <a:pt x="1219" y="1711"/>
                      </a:moveTo>
                      <a:lnTo>
                        <a:pt x="1193" y="1727"/>
                      </a:lnTo>
                      <a:lnTo>
                        <a:pt x="1181" y="1720"/>
                      </a:lnTo>
                      <a:lnTo>
                        <a:pt x="1219" y="1711"/>
                      </a:lnTo>
                      <a:lnTo>
                        <a:pt x="1219" y="1711"/>
                      </a:lnTo>
                      <a:lnTo>
                        <a:pt x="1219" y="1711"/>
                      </a:lnTo>
                      <a:close/>
                      <a:moveTo>
                        <a:pt x="1263" y="1711"/>
                      </a:moveTo>
                      <a:lnTo>
                        <a:pt x="1278" y="1720"/>
                      </a:lnTo>
                      <a:lnTo>
                        <a:pt x="1256" y="1720"/>
                      </a:lnTo>
                      <a:lnTo>
                        <a:pt x="1263" y="1711"/>
                      </a:lnTo>
                      <a:lnTo>
                        <a:pt x="1263" y="1711"/>
                      </a:lnTo>
                      <a:lnTo>
                        <a:pt x="1263" y="1711"/>
                      </a:lnTo>
                      <a:close/>
                      <a:moveTo>
                        <a:pt x="1263" y="1720"/>
                      </a:moveTo>
                      <a:lnTo>
                        <a:pt x="1263" y="1727"/>
                      </a:lnTo>
                      <a:lnTo>
                        <a:pt x="1247" y="1737"/>
                      </a:lnTo>
                      <a:lnTo>
                        <a:pt x="1247" y="1720"/>
                      </a:lnTo>
                      <a:lnTo>
                        <a:pt x="1263" y="1720"/>
                      </a:lnTo>
                      <a:lnTo>
                        <a:pt x="1263" y="1720"/>
                      </a:lnTo>
                      <a:lnTo>
                        <a:pt x="1263" y="1720"/>
                      </a:lnTo>
                      <a:close/>
                      <a:moveTo>
                        <a:pt x="1202" y="1737"/>
                      </a:moveTo>
                      <a:lnTo>
                        <a:pt x="1193" y="1737"/>
                      </a:lnTo>
                      <a:lnTo>
                        <a:pt x="1219" y="1737"/>
                      </a:lnTo>
                      <a:lnTo>
                        <a:pt x="1202" y="1737"/>
                      </a:lnTo>
                      <a:lnTo>
                        <a:pt x="1202" y="1737"/>
                      </a:lnTo>
                      <a:lnTo>
                        <a:pt x="1202" y="1737"/>
                      </a:lnTo>
                      <a:close/>
                      <a:moveTo>
                        <a:pt x="1263" y="1760"/>
                      </a:moveTo>
                      <a:lnTo>
                        <a:pt x="1263" y="1777"/>
                      </a:lnTo>
                      <a:lnTo>
                        <a:pt x="1240" y="1793"/>
                      </a:lnTo>
                      <a:lnTo>
                        <a:pt x="1219" y="1793"/>
                      </a:lnTo>
                      <a:lnTo>
                        <a:pt x="1263" y="1760"/>
                      </a:lnTo>
                      <a:lnTo>
                        <a:pt x="1263" y="1760"/>
                      </a:lnTo>
                      <a:lnTo>
                        <a:pt x="1263" y="1760"/>
                      </a:lnTo>
                      <a:close/>
                      <a:moveTo>
                        <a:pt x="1226" y="1822"/>
                      </a:moveTo>
                      <a:lnTo>
                        <a:pt x="1235" y="1831"/>
                      </a:lnTo>
                      <a:lnTo>
                        <a:pt x="1226" y="1838"/>
                      </a:lnTo>
                      <a:lnTo>
                        <a:pt x="1209" y="1831"/>
                      </a:lnTo>
                      <a:lnTo>
                        <a:pt x="1226" y="1822"/>
                      </a:lnTo>
                      <a:lnTo>
                        <a:pt x="1226" y="1822"/>
                      </a:lnTo>
                      <a:lnTo>
                        <a:pt x="1226" y="1822"/>
                      </a:lnTo>
                      <a:close/>
                      <a:moveTo>
                        <a:pt x="1386" y="1876"/>
                      </a:moveTo>
                      <a:lnTo>
                        <a:pt x="1370" y="1871"/>
                      </a:lnTo>
                      <a:lnTo>
                        <a:pt x="1370" y="1864"/>
                      </a:lnTo>
                      <a:lnTo>
                        <a:pt x="1419" y="1864"/>
                      </a:lnTo>
                      <a:lnTo>
                        <a:pt x="1386" y="1876"/>
                      </a:lnTo>
                      <a:lnTo>
                        <a:pt x="1386" y="1876"/>
                      </a:lnTo>
                      <a:lnTo>
                        <a:pt x="1386" y="1876"/>
                      </a:lnTo>
                      <a:close/>
                      <a:moveTo>
                        <a:pt x="1398" y="1904"/>
                      </a:moveTo>
                      <a:lnTo>
                        <a:pt x="1441" y="1904"/>
                      </a:lnTo>
                      <a:lnTo>
                        <a:pt x="1452" y="1909"/>
                      </a:lnTo>
                      <a:lnTo>
                        <a:pt x="1408" y="1926"/>
                      </a:lnTo>
                      <a:lnTo>
                        <a:pt x="1398" y="1921"/>
                      </a:lnTo>
                      <a:lnTo>
                        <a:pt x="1398" y="1904"/>
                      </a:lnTo>
                      <a:lnTo>
                        <a:pt x="1398" y="1904"/>
                      </a:lnTo>
                      <a:lnTo>
                        <a:pt x="1398" y="1904"/>
                      </a:lnTo>
                      <a:close/>
                      <a:moveTo>
                        <a:pt x="1365" y="1909"/>
                      </a:moveTo>
                      <a:lnTo>
                        <a:pt x="1382" y="1926"/>
                      </a:lnTo>
                      <a:lnTo>
                        <a:pt x="1370" y="1942"/>
                      </a:lnTo>
                      <a:lnTo>
                        <a:pt x="1353" y="1942"/>
                      </a:lnTo>
                      <a:lnTo>
                        <a:pt x="1332" y="1933"/>
                      </a:lnTo>
                      <a:lnTo>
                        <a:pt x="1365" y="1909"/>
                      </a:lnTo>
                      <a:lnTo>
                        <a:pt x="1365" y="1909"/>
                      </a:lnTo>
                      <a:lnTo>
                        <a:pt x="1365" y="1909"/>
                      </a:lnTo>
                      <a:close/>
                      <a:moveTo>
                        <a:pt x="3347" y="1921"/>
                      </a:moveTo>
                      <a:lnTo>
                        <a:pt x="3347" y="1926"/>
                      </a:lnTo>
                      <a:lnTo>
                        <a:pt x="3330" y="1926"/>
                      </a:lnTo>
                      <a:lnTo>
                        <a:pt x="3347" y="1921"/>
                      </a:lnTo>
                      <a:lnTo>
                        <a:pt x="3347" y="1921"/>
                      </a:lnTo>
                      <a:lnTo>
                        <a:pt x="3347" y="1921"/>
                      </a:lnTo>
                      <a:close/>
                      <a:moveTo>
                        <a:pt x="3342" y="1933"/>
                      </a:moveTo>
                      <a:lnTo>
                        <a:pt x="3347" y="1942"/>
                      </a:lnTo>
                      <a:lnTo>
                        <a:pt x="3326" y="1933"/>
                      </a:lnTo>
                      <a:lnTo>
                        <a:pt x="3342" y="1933"/>
                      </a:lnTo>
                      <a:lnTo>
                        <a:pt x="3342" y="1933"/>
                      </a:lnTo>
                      <a:lnTo>
                        <a:pt x="3342" y="1933"/>
                      </a:lnTo>
                      <a:close/>
                      <a:moveTo>
                        <a:pt x="3288" y="2003"/>
                      </a:moveTo>
                      <a:lnTo>
                        <a:pt x="3146" y="2020"/>
                      </a:lnTo>
                      <a:lnTo>
                        <a:pt x="3153" y="1999"/>
                      </a:lnTo>
                      <a:lnTo>
                        <a:pt x="3179" y="1987"/>
                      </a:lnTo>
                      <a:lnTo>
                        <a:pt x="3217" y="1966"/>
                      </a:lnTo>
                      <a:lnTo>
                        <a:pt x="3276" y="1959"/>
                      </a:lnTo>
                      <a:lnTo>
                        <a:pt x="3314" y="1933"/>
                      </a:lnTo>
                      <a:lnTo>
                        <a:pt x="3314" y="1949"/>
                      </a:lnTo>
                      <a:lnTo>
                        <a:pt x="3342" y="1959"/>
                      </a:lnTo>
                      <a:lnTo>
                        <a:pt x="3347" y="1987"/>
                      </a:lnTo>
                      <a:lnTo>
                        <a:pt x="3288" y="2003"/>
                      </a:lnTo>
                      <a:lnTo>
                        <a:pt x="3288" y="2003"/>
                      </a:lnTo>
                      <a:lnTo>
                        <a:pt x="3288" y="2003"/>
                      </a:lnTo>
                      <a:close/>
                      <a:moveTo>
                        <a:pt x="1478" y="1949"/>
                      </a:moveTo>
                      <a:lnTo>
                        <a:pt x="1504" y="1966"/>
                      </a:lnTo>
                      <a:lnTo>
                        <a:pt x="1462" y="1959"/>
                      </a:lnTo>
                      <a:lnTo>
                        <a:pt x="1478" y="1949"/>
                      </a:lnTo>
                      <a:lnTo>
                        <a:pt x="1478" y="1949"/>
                      </a:lnTo>
                      <a:lnTo>
                        <a:pt x="1478" y="1949"/>
                      </a:lnTo>
                      <a:close/>
                      <a:moveTo>
                        <a:pt x="3205" y="1966"/>
                      </a:moveTo>
                      <a:lnTo>
                        <a:pt x="3179" y="1982"/>
                      </a:lnTo>
                      <a:lnTo>
                        <a:pt x="3179" y="1966"/>
                      </a:lnTo>
                      <a:lnTo>
                        <a:pt x="3205" y="1966"/>
                      </a:lnTo>
                      <a:lnTo>
                        <a:pt x="3205" y="1966"/>
                      </a:lnTo>
                      <a:lnTo>
                        <a:pt x="3205" y="1966"/>
                      </a:lnTo>
                      <a:close/>
                      <a:moveTo>
                        <a:pt x="1263" y="2015"/>
                      </a:moveTo>
                      <a:lnTo>
                        <a:pt x="1289" y="2032"/>
                      </a:lnTo>
                      <a:lnTo>
                        <a:pt x="1273" y="2032"/>
                      </a:lnTo>
                      <a:lnTo>
                        <a:pt x="1263" y="2020"/>
                      </a:lnTo>
                      <a:lnTo>
                        <a:pt x="1263" y="2015"/>
                      </a:lnTo>
                      <a:lnTo>
                        <a:pt x="1263" y="2015"/>
                      </a:lnTo>
                      <a:lnTo>
                        <a:pt x="1263" y="2015"/>
                      </a:lnTo>
                      <a:close/>
                      <a:moveTo>
                        <a:pt x="1315" y="2155"/>
                      </a:moveTo>
                      <a:lnTo>
                        <a:pt x="1382" y="2148"/>
                      </a:lnTo>
                      <a:lnTo>
                        <a:pt x="1365" y="2148"/>
                      </a:lnTo>
                      <a:lnTo>
                        <a:pt x="1382" y="2131"/>
                      </a:lnTo>
                      <a:lnTo>
                        <a:pt x="1348" y="2148"/>
                      </a:lnTo>
                      <a:lnTo>
                        <a:pt x="1344" y="2148"/>
                      </a:lnTo>
                      <a:lnTo>
                        <a:pt x="1353" y="2143"/>
                      </a:lnTo>
                      <a:lnTo>
                        <a:pt x="1332" y="2143"/>
                      </a:lnTo>
                      <a:lnTo>
                        <a:pt x="1344" y="2131"/>
                      </a:lnTo>
                      <a:lnTo>
                        <a:pt x="1344" y="2126"/>
                      </a:lnTo>
                      <a:lnTo>
                        <a:pt x="1327" y="2131"/>
                      </a:lnTo>
                      <a:lnTo>
                        <a:pt x="1278" y="2126"/>
                      </a:lnTo>
                      <a:lnTo>
                        <a:pt x="1263" y="2114"/>
                      </a:lnTo>
                      <a:lnTo>
                        <a:pt x="1289" y="2110"/>
                      </a:lnTo>
                      <a:lnTo>
                        <a:pt x="1311" y="2114"/>
                      </a:lnTo>
                      <a:lnTo>
                        <a:pt x="1273" y="2098"/>
                      </a:lnTo>
                      <a:lnTo>
                        <a:pt x="1273" y="2086"/>
                      </a:lnTo>
                      <a:lnTo>
                        <a:pt x="1315" y="2086"/>
                      </a:lnTo>
                      <a:lnTo>
                        <a:pt x="1278" y="2070"/>
                      </a:lnTo>
                      <a:lnTo>
                        <a:pt x="1278" y="2053"/>
                      </a:lnTo>
                      <a:lnTo>
                        <a:pt x="1311" y="2037"/>
                      </a:lnTo>
                      <a:lnTo>
                        <a:pt x="1370" y="2044"/>
                      </a:lnTo>
                      <a:lnTo>
                        <a:pt x="1424" y="2086"/>
                      </a:lnTo>
                      <a:lnTo>
                        <a:pt x="1478" y="2098"/>
                      </a:lnTo>
                      <a:lnTo>
                        <a:pt x="1478" y="2110"/>
                      </a:lnTo>
                      <a:lnTo>
                        <a:pt x="1474" y="2114"/>
                      </a:lnTo>
                      <a:lnTo>
                        <a:pt x="1490" y="2126"/>
                      </a:lnTo>
                      <a:lnTo>
                        <a:pt x="1457" y="2148"/>
                      </a:lnTo>
                      <a:lnTo>
                        <a:pt x="1365" y="2171"/>
                      </a:lnTo>
                      <a:lnTo>
                        <a:pt x="1315" y="2155"/>
                      </a:lnTo>
                      <a:lnTo>
                        <a:pt x="1315" y="2155"/>
                      </a:lnTo>
                      <a:lnTo>
                        <a:pt x="1315" y="2155"/>
                      </a:lnTo>
                      <a:close/>
                      <a:moveTo>
                        <a:pt x="1542" y="2086"/>
                      </a:moveTo>
                      <a:lnTo>
                        <a:pt x="1570" y="2098"/>
                      </a:lnTo>
                      <a:lnTo>
                        <a:pt x="1549" y="2114"/>
                      </a:lnTo>
                      <a:lnTo>
                        <a:pt x="1549" y="2131"/>
                      </a:lnTo>
                      <a:lnTo>
                        <a:pt x="1528" y="2143"/>
                      </a:lnTo>
                      <a:lnTo>
                        <a:pt x="1516" y="2114"/>
                      </a:lnTo>
                      <a:lnTo>
                        <a:pt x="1542" y="2093"/>
                      </a:lnTo>
                      <a:lnTo>
                        <a:pt x="1516" y="2093"/>
                      </a:lnTo>
                      <a:lnTo>
                        <a:pt x="1542" y="2086"/>
                      </a:lnTo>
                      <a:lnTo>
                        <a:pt x="1542" y="2086"/>
                      </a:lnTo>
                      <a:lnTo>
                        <a:pt x="1542" y="2086"/>
                      </a:lnTo>
                      <a:close/>
                      <a:moveTo>
                        <a:pt x="3493" y="2110"/>
                      </a:moveTo>
                      <a:lnTo>
                        <a:pt x="3493" y="2114"/>
                      </a:lnTo>
                      <a:lnTo>
                        <a:pt x="3486" y="2126"/>
                      </a:lnTo>
                      <a:lnTo>
                        <a:pt x="3470" y="2114"/>
                      </a:lnTo>
                      <a:lnTo>
                        <a:pt x="3493" y="2110"/>
                      </a:lnTo>
                      <a:lnTo>
                        <a:pt x="3493" y="2110"/>
                      </a:lnTo>
                      <a:lnTo>
                        <a:pt x="3493" y="2110"/>
                      </a:lnTo>
                      <a:close/>
                      <a:moveTo>
                        <a:pt x="1462" y="2242"/>
                      </a:moveTo>
                      <a:lnTo>
                        <a:pt x="1398" y="2259"/>
                      </a:lnTo>
                      <a:lnTo>
                        <a:pt x="1436" y="2242"/>
                      </a:lnTo>
                      <a:lnTo>
                        <a:pt x="1462" y="2242"/>
                      </a:lnTo>
                      <a:lnTo>
                        <a:pt x="1462" y="2242"/>
                      </a:lnTo>
                      <a:lnTo>
                        <a:pt x="1462" y="2242"/>
                      </a:lnTo>
                      <a:close/>
                      <a:moveTo>
                        <a:pt x="1533" y="2242"/>
                      </a:moveTo>
                      <a:lnTo>
                        <a:pt x="1542" y="2254"/>
                      </a:lnTo>
                      <a:lnTo>
                        <a:pt x="1528" y="2254"/>
                      </a:lnTo>
                      <a:lnTo>
                        <a:pt x="1533" y="2242"/>
                      </a:lnTo>
                      <a:lnTo>
                        <a:pt x="1533" y="2242"/>
                      </a:lnTo>
                      <a:lnTo>
                        <a:pt x="1533" y="2242"/>
                      </a:lnTo>
                      <a:close/>
                      <a:moveTo>
                        <a:pt x="1436" y="2259"/>
                      </a:moveTo>
                      <a:lnTo>
                        <a:pt x="1441" y="2259"/>
                      </a:lnTo>
                      <a:lnTo>
                        <a:pt x="1424" y="2259"/>
                      </a:lnTo>
                      <a:lnTo>
                        <a:pt x="1436" y="2259"/>
                      </a:lnTo>
                      <a:lnTo>
                        <a:pt x="1436" y="2259"/>
                      </a:lnTo>
                      <a:lnTo>
                        <a:pt x="1436" y="2259"/>
                      </a:lnTo>
                      <a:close/>
                      <a:moveTo>
                        <a:pt x="1419" y="2259"/>
                      </a:moveTo>
                      <a:lnTo>
                        <a:pt x="1419" y="2266"/>
                      </a:lnTo>
                      <a:lnTo>
                        <a:pt x="1408" y="2259"/>
                      </a:lnTo>
                      <a:lnTo>
                        <a:pt x="1419" y="2259"/>
                      </a:lnTo>
                      <a:lnTo>
                        <a:pt x="1419" y="2259"/>
                      </a:lnTo>
                      <a:lnTo>
                        <a:pt x="1419" y="2259"/>
                      </a:lnTo>
                      <a:close/>
                      <a:moveTo>
                        <a:pt x="1403" y="2266"/>
                      </a:moveTo>
                      <a:lnTo>
                        <a:pt x="1408" y="2275"/>
                      </a:lnTo>
                      <a:lnTo>
                        <a:pt x="1386" y="2282"/>
                      </a:lnTo>
                      <a:lnTo>
                        <a:pt x="1403" y="2266"/>
                      </a:lnTo>
                      <a:lnTo>
                        <a:pt x="1403" y="2266"/>
                      </a:lnTo>
                      <a:lnTo>
                        <a:pt x="1403" y="2266"/>
                      </a:lnTo>
                      <a:close/>
                      <a:moveTo>
                        <a:pt x="1457" y="2308"/>
                      </a:moveTo>
                      <a:lnTo>
                        <a:pt x="1511" y="2299"/>
                      </a:lnTo>
                      <a:lnTo>
                        <a:pt x="1474" y="2315"/>
                      </a:lnTo>
                      <a:lnTo>
                        <a:pt x="1457" y="2308"/>
                      </a:lnTo>
                      <a:lnTo>
                        <a:pt x="1457" y="2308"/>
                      </a:lnTo>
                      <a:lnTo>
                        <a:pt x="1457" y="2308"/>
                      </a:lnTo>
                      <a:close/>
                      <a:moveTo>
                        <a:pt x="3040" y="2299"/>
                      </a:moveTo>
                      <a:lnTo>
                        <a:pt x="3028" y="2315"/>
                      </a:lnTo>
                      <a:lnTo>
                        <a:pt x="3016" y="2308"/>
                      </a:lnTo>
                      <a:lnTo>
                        <a:pt x="3040" y="2299"/>
                      </a:lnTo>
                      <a:lnTo>
                        <a:pt x="3040" y="2299"/>
                      </a:lnTo>
                      <a:lnTo>
                        <a:pt x="3040" y="2299"/>
                      </a:lnTo>
                      <a:close/>
                      <a:moveTo>
                        <a:pt x="2893" y="2308"/>
                      </a:moveTo>
                      <a:lnTo>
                        <a:pt x="2898" y="2308"/>
                      </a:lnTo>
                      <a:lnTo>
                        <a:pt x="2877" y="2308"/>
                      </a:lnTo>
                      <a:lnTo>
                        <a:pt x="2893" y="2308"/>
                      </a:lnTo>
                      <a:lnTo>
                        <a:pt x="2893" y="2308"/>
                      </a:lnTo>
                      <a:lnTo>
                        <a:pt x="2893" y="2308"/>
                      </a:lnTo>
                      <a:close/>
                      <a:moveTo>
                        <a:pt x="1478" y="2315"/>
                      </a:moveTo>
                      <a:lnTo>
                        <a:pt x="1533" y="2315"/>
                      </a:lnTo>
                      <a:lnTo>
                        <a:pt x="1474" y="2320"/>
                      </a:lnTo>
                      <a:lnTo>
                        <a:pt x="1478" y="2315"/>
                      </a:lnTo>
                      <a:lnTo>
                        <a:pt x="1478" y="2315"/>
                      </a:lnTo>
                      <a:lnTo>
                        <a:pt x="1478" y="2315"/>
                      </a:lnTo>
                      <a:close/>
                      <a:moveTo>
                        <a:pt x="1370" y="2320"/>
                      </a:moveTo>
                      <a:lnTo>
                        <a:pt x="1386" y="2320"/>
                      </a:lnTo>
                      <a:lnTo>
                        <a:pt x="1382" y="2332"/>
                      </a:lnTo>
                      <a:lnTo>
                        <a:pt x="1370" y="2320"/>
                      </a:lnTo>
                      <a:lnTo>
                        <a:pt x="1370" y="2320"/>
                      </a:lnTo>
                      <a:lnTo>
                        <a:pt x="1370" y="2320"/>
                      </a:lnTo>
                      <a:close/>
                      <a:moveTo>
                        <a:pt x="1353" y="2370"/>
                      </a:moveTo>
                      <a:lnTo>
                        <a:pt x="1348" y="2353"/>
                      </a:lnTo>
                      <a:lnTo>
                        <a:pt x="1365" y="2365"/>
                      </a:lnTo>
                      <a:lnTo>
                        <a:pt x="1353" y="2370"/>
                      </a:lnTo>
                      <a:lnTo>
                        <a:pt x="1353" y="2370"/>
                      </a:lnTo>
                      <a:lnTo>
                        <a:pt x="1353" y="2370"/>
                      </a:lnTo>
                      <a:close/>
                      <a:moveTo>
                        <a:pt x="2789" y="2410"/>
                      </a:moveTo>
                      <a:lnTo>
                        <a:pt x="2789" y="2419"/>
                      </a:lnTo>
                      <a:lnTo>
                        <a:pt x="2785" y="2410"/>
                      </a:lnTo>
                      <a:lnTo>
                        <a:pt x="2789" y="2410"/>
                      </a:lnTo>
                      <a:lnTo>
                        <a:pt x="2789" y="2410"/>
                      </a:lnTo>
                      <a:lnTo>
                        <a:pt x="2789" y="2410"/>
                      </a:lnTo>
                      <a:close/>
                      <a:moveTo>
                        <a:pt x="1408" y="2464"/>
                      </a:moveTo>
                      <a:lnTo>
                        <a:pt x="1370" y="2476"/>
                      </a:lnTo>
                      <a:lnTo>
                        <a:pt x="1382" y="2464"/>
                      </a:lnTo>
                      <a:lnTo>
                        <a:pt x="1408" y="2464"/>
                      </a:lnTo>
                      <a:lnTo>
                        <a:pt x="1408" y="2464"/>
                      </a:lnTo>
                      <a:lnTo>
                        <a:pt x="1408" y="2464"/>
                      </a:lnTo>
                      <a:close/>
                      <a:moveTo>
                        <a:pt x="2747" y="2464"/>
                      </a:moveTo>
                      <a:lnTo>
                        <a:pt x="2747" y="2476"/>
                      </a:lnTo>
                      <a:lnTo>
                        <a:pt x="2737" y="2481"/>
                      </a:lnTo>
                      <a:lnTo>
                        <a:pt x="2747" y="2464"/>
                      </a:lnTo>
                      <a:lnTo>
                        <a:pt x="2747" y="2464"/>
                      </a:lnTo>
                      <a:lnTo>
                        <a:pt x="2747" y="2464"/>
                      </a:lnTo>
                      <a:close/>
                      <a:moveTo>
                        <a:pt x="2629" y="2554"/>
                      </a:moveTo>
                      <a:lnTo>
                        <a:pt x="2629" y="2542"/>
                      </a:lnTo>
                      <a:lnTo>
                        <a:pt x="2638" y="2542"/>
                      </a:lnTo>
                      <a:lnTo>
                        <a:pt x="2629" y="2554"/>
                      </a:lnTo>
                      <a:lnTo>
                        <a:pt x="2629" y="2554"/>
                      </a:lnTo>
                      <a:lnTo>
                        <a:pt x="2629" y="2554"/>
                      </a:lnTo>
                      <a:close/>
                      <a:moveTo>
                        <a:pt x="1353" y="2570"/>
                      </a:moveTo>
                      <a:lnTo>
                        <a:pt x="1353" y="2559"/>
                      </a:lnTo>
                      <a:lnTo>
                        <a:pt x="1370" y="2559"/>
                      </a:lnTo>
                      <a:lnTo>
                        <a:pt x="1353" y="2570"/>
                      </a:lnTo>
                      <a:lnTo>
                        <a:pt x="1353" y="2570"/>
                      </a:lnTo>
                      <a:lnTo>
                        <a:pt x="1353" y="2570"/>
                      </a:lnTo>
                      <a:close/>
                      <a:moveTo>
                        <a:pt x="2541" y="2599"/>
                      </a:moveTo>
                      <a:lnTo>
                        <a:pt x="2541" y="2587"/>
                      </a:lnTo>
                      <a:lnTo>
                        <a:pt x="2558" y="2575"/>
                      </a:lnTo>
                      <a:lnTo>
                        <a:pt x="2541" y="2599"/>
                      </a:lnTo>
                      <a:lnTo>
                        <a:pt x="2541" y="2599"/>
                      </a:lnTo>
                      <a:lnTo>
                        <a:pt x="2541" y="2599"/>
                      </a:lnTo>
                      <a:close/>
                      <a:moveTo>
                        <a:pt x="2570" y="2592"/>
                      </a:moveTo>
                      <a:lnTo>
                        <a:pt x="2574" y="2587"/>
                      </a:lnTo>
                      <a:lnTo>
                        <a:pt x="2586" y="2587"/>
                      </a:lnTo>
                      <a:lnTo>
                        <a:pt x="2570" y="2592"/>
                      </a:lnTo>
                      <a:lnTo>
                        <a:pt x="2570" y="2592"/>
                      </a:lnTo>
                      <a:lnTo>
                        <a:pt x="2570" y="2592"/>
                      </a:lnTo>
                      <a:close/>
                      <a:moveTo>
                        <a:pt x="2478" y="2625"/>
                      </a:moveTo>
                      <a:lnTo>
                        <a:pt x="2461" y="2625"/>
                      </a:lnTo>
                      <a:lnTo>
                        <a:pt x="2461" y="2599"/>
                      </a:lnTo>
                      <a:lnTo>
                        <a:pt x="2482" y="2587"/>
                      </a:lnTo>
                      <a:lnTo>
                        <a:pt x="2504" y="2599"/>
                      </a:lnTo>
                      <a:lnTo>
                        <a:pt x="2487" y="2592"/>
                      </a:lnTo>
                      <a:lnTo>
                        <a:pt x="2504" y="2608"/>
                      </a:lnTo>
                      <a:lnTo>
                        <a:pt x="2482" y="2625"/>
                      </a:lnTo>
                      <a:lnTo>
                        <a:pt x="2478" y="2615"/>
                      </a:lnTo>
                      <a:lnTo>
                        <a:pt x="2482" y="2625"/>
                      </a:lnTo>
                      <a:lnTo>
                        <a:pt x="2478" y="2625"/>
                      </a:lnTo>
                      <a:lnTo>
                        <a:pt x="2478" y="2625"/>
                      </a:lnTo>
                      <a:lnTo>
                        <a:pt x="2478" y="2625"/>
                      </a:lnTo>
                      <a:close/>
                      <a:moveTo>
                        <a:pt x="2537" y="2608"/>
                      </a:moveTo>
                      <a:lnTo>
                        <a:pt x="2532" y="2592"/>
                      </a:lnTo>
                      <a:lnTo>
                        <a:pt x="2541" y="2592"/>
                      </a:lnTo>
                      <a:lnTo>
                        <a:pt x="2537" y="2608"/>
                      </a:lnTo>
                      <a:lnTo>
                        <a:pt x="2537" y="2608"/>
                      </a:lnTo>
                      <a:lnTo>
                        <a:pt x="2537" y="2608"/>
                      </a:lnTo>
                      <a:close/>
                      <a:moveTo>
                        <a:pt x="2520" y="2625"/>
                      </a:moveTo>
                      <a:lnTo>
                        <a:pt x="2515" y="2608"/>
                      </a:lnTo>
                      <a:lnTo>
                        <a:pt x="2520" y="2608"/>
                      </a:lnTo>
                      <a:lnTo>
                        <a:pt x="2532" y="2615"/>
                      </a:lnTo>
                      <a:lnTo>
                        <a:pt x="2520" y="2625"/>
                      </a:lnTo>
                      <a:lnTo>
                        <a:pt x="2520" y="2625"/>
                      </a:lnTo>
                      <a:lnTo>
                        <a:pt x="2520" y="2625"/>
                      </a:lnTo>
                      <a:close/>
                      <a:moveTo>
                        <a:pt x="1386" y="2625"/>
                      </a:moveTo>
                      <a:lnTo>
                        <a:pt x="1419" y="2615"/>
                      </a:lnTo>
                      <a:lnTo>
                        <a:pt x="1403" y="2625"/>
                      </a:lnTo>
                      <a:lnTo>
                        <a:pt x="1386" y="2625"/>
                      </a:lnTo>
                      <a:lnTo>
                        <a:pt x="1386" y="2625"/>
                      </a:lnTo>
                      <a:lnTo>
                        <a:pt x="1386" y="2625"/>
                      </a:lnTo>
                      <a:close/>
                      <a:moveTo>
                        <a:pt x="2390" y="2632"/>
                      </a:moveTo>
                      <a:lnTo>
                        <a:pt x="2397" y="2625"/>
                      </a:lnTo>
                      <a:lnTo>
                        <a:pt x="2407" y="2625"/>
                      </a:lnTo>
                      <a:lnTo>
                        <a:pt x="2390" y="2632"/>
                      </a:lnTo>
                      <a:lnTo>
                        <a:pt x="2390" y="2632"/>
                      </a:lnTo>
                      <a:lnTo>
                        <a:pt x="2390" y="2632"/>
                      </a:lnTo>
                      <a:close/>
                      <a:moveTo>
                        <a:pt x="1408" y="2641"/>
                      </a:moveTo>
                      <a:lnTo>
                        <a:pt x="1398" y="2632"/>
                      </a:lnTo>
                      <a:lnTo>
                        <a:pt x="1408" y="2632"/>
                      </a:lnTo>
                      <a:lnTo>
                        <a:pt x="1408" y="2641"/>
                      </a:lnTo>
                      <a:lnTo>
                        <a:pt x="1408" y="2641"/>
                      </a:lnTo>
                      <a:lnTo>
                        <a:pt x="1408" y="2641"/>
                      </a:lnTo>
                      <a:close/>
                      <a:moveTo>
                        <a:pt x="2369" y="2641"/>
                      </a:moveTo>
                      <a:lnTo>
                        <a:pt x="2359" y="2632"/>
                      </a:lnTo>
                      <a:lnTo>
                        <a:pt x="2369" y="2632"/>
                      </a:lnTo>
                      <a:lnTo>
                        <a:pt x="2369" y="2641"/>
                      </a:lnTo>
                      <a:lnTo>
                        <a:pt x="2369" y="2641"/>
                      </a:lnTo>
                      <a:lnTo>
                        <a:pt x="2369" y="2641"/>
                      </a:lnTo>
                      <a:close/>
                      <a:moveTo>
                        <a:pt x="2343" y="2653"/>
                      </a:moveTo>
                      <a:lnTo>
                        <a:pt x="2326" y="2648"/>
                      </a:lnTo>
                      <a:lnTo>
                        <a:pt x="2352" y="2653"/>
                      </a:lnTo>
                      <a:lnTo>
                        <a:pt x="2343" y="2653"/>
                      </a:lnTo>
                      <a:lnTo>
                        <a:pt x="2343" y="2653"/>
                      </a:lnTo>
                      <a:lnTo>
                        <a:pt x="2343" y="2653"/>
                      </a:lnTo>
                      <a:close/>
                      <a:moveTo>
                        <a:pt x="2305" y="2759"/>
                      </a:moveTo>
                      <a:lnTo>
                        <a:pt x="2284" y="2752"/>
                      </a:lnTo>
                      <a:lnTo>
                        <a:pt x="2272" y="2726"/>
                      </a:lnTo>
                      <a:lnTo>
                        <a:pt x="2251" y="2703"/>
                      </a:lnTo>
                      <a:lnTo>
                        <a:pt x="2272" y="2710"/>
                      </a:lnTo>
                      <a:lnTo>
                        <a:pt x="2289" y="2743"/>
                      </a:lnTo>
                      <a:lnTo>
                        <a:pt x="2305" y="2752"/>
                      </a:lnTo>
                      <a:lnTo>
                        <a:pt x="2305" y="2759"/>
                      </a:lnTo>
                      <a:lnTo>
                        <a:pt x="2305" y="2759"/>
                      </a:lnTo>
                      <a:lnTo>
                        <a:pt x="2305" y="2759"/>
                      </a:lnTo>
                      <a:close/>
                      <a:moveTo>
                        <a:pt x="1533" y="2743"/>
                      </a:moveTo>
                      <a:lnTo>
                        <a:pt x="1528" y="2759"/>
                      </a:lnTo>
                      <a:lnTo>
                        <a:pt x="1516" y="2759"/>
                      </a:lnTo>
                      <a:lnTo>
                        <a:pt x="1528" y="2743"/>
                      </a:lnTo>
                      <a:lnTo>
                        <a:pt x="1533" y="2743"/>
                      </a:lnTo>
                      <a:lnTo>
                        <a:pt x="1533" y="2743"/>
                      </a:lnTo>
                      <a:lnTo>
                        <a:pt x="1533" y="2743"/>
                      </a:lnTo>
                      <a:close/>
                      <a:moveTo>
                        <a:pt x="1559" y="2752"/>
                      </a:moveTo>
                      <a:lnTo>
                        <a:pt x="1533" y="2776"/>
                      </a:lnTo>
                      <a:lnTo>
                        <a:pt x="1516" y="2781"/>
                      </a:lnTo>
                      <a:lnTo>
                        <a:pt x="1542" y="2743"/>
                      </a:lnTo>
                      <a:lnTo>
                        <a:pt x="1559" y="2752"/>
                      </a:lnTo>
                      <a:lnTo>
                        <a:pt x="1559" y="2752"/>
                      </a:lnTo>
                      <a:lnTo>
                        <a:pt x="1559" y="2752"/>
                      </a:lnTo>
                      <a:close/>
                      <a:moveTo>
                        <a:pt x="1516" y="2764"/>
                      </a:moveTo>
                      <a:lnTo>
                        <a:pt x="1504" y="2776"/>
                      </a:lnTo>
                      <a:lnTo>
                        <a:pt x="1511" y="2764"/>
                      </a:lnTo>
                      <a:lnTo>
                        <a:pt x="1516" y="2764"/>
                      </a:lnTo>
                      <a:lnTo>
                        <a:pt x="1516" y="2764"/>
                      </a:lnTo>
                      <a:lnTo>
                        <a:pt x="1516" y="2764"/>
                      </a:lnTo>
                      <a:close/>
                      <a:moveTo>
                        <a:pt x="2234" y="2776"/>
                      </a:moveTo>
                      <a:lnTo>
                        <a:pt x="2218" y="2776"/>
                      </a:lnTo>
                      <a:lnTo>
                        <a:pt x="2234" y="2776"/>
                      </a:lnTo>
                      <a:lnTo>
                        <a:pt x="2234" y="2776"/>
                      </a:lnTo>
                      <a:lnTo>
                        <a:pt x="2234" y="2776"/>
                      </a:lnTo>
                      <a:close/>
                      <a:moveTo>
                        <a:pt x="2246" y="2781"/>
                      </a:moveTo>
                      <a:lnTo>
                        <a:pt x="2251" y="2776"/>
                      </a:lnTo>
                      <a:lnTo>
                        <a:pt x="2267" y="2776"/>
                      </a:lnTo>
                      <a:lnTo>
                        <a:pt x="2267" y="2781"/>
                      </a:lnTo>
                      <a:lnTo>
                        <a:pt x="2246" y="2781"/>
                      </a:lnTo>
                      <a:lnTo>
                        <a:pt x="2246" y="2781"/>
                      </a:lnTo>
                      <a:lnTo>
                        <a:pt x="2246" y="2781"/>
                      </a:lnTo>
                      <a:close/>
                      <a:moveTo>
                        <a:pt x="2234" y="2903"/>
                      </a:moveTo>
                      <a:lnTo>
                        <a:pt x="2213" y="2892"/>
                      </a:lnTo>
                      <a:lnTo>
                        <a:pt x="2180" y="2870"/>
                      </a:lnTo>
                      <a:lnTo>
                        <a:pt x="2196" y="2863"/>
                      </a:lnTo>
                      <a:lnTo>
                        <a:pt x="2230" y="2887"/>
                      </a:lnTo>
                      <a:lnTo>
                        <a:pt x="2234" y="2903"/>
                      </a:lnTo>
                      <a:lnTo>
                        <a:pt x="2234" y="2903"/>
                      </a:lnTo>
                      <a:lnTo>
                        <a:pt x="2234" y="2903"/>
                      </a:lnTo>
                      <a:close/>
                      <a:moveTo>
                        <a:pt x="2230" y="2908"/>
                      </a:moveTo>
                      <a:lnTo>
                        <a:pt x="2213" y="2903"/>
                      </a:lnTo>
                      <a:lnTo>
                        <a:pt x="2230" y="2903"/>
                      </a:lnTo>
                      <a:lnTo>
                        <a:pt x="2230" y="2908"/>
                      </a:lnTo>
                      <a:lnTo>
                        <a:pt x="2230" y="2908"/>
                      </a:lnTo>
                      <a:lnTo>
                        <a:pt x="2230" y="2908"/>
                      </a:lnTo>
                      <a:close/>
                      <a:moveTo>
                        <a:pt x="1580" y="2903"/>
                      </a:moveTo>
                      <a:lnTo>
                        <a:pt x="1566" y="2908"/>
                      </a:lnTo>
                      <a:lnTo>
                        <a:pt x="1580" y="2903"/>
                      </a:lnTo>
                      <a:lnTo>
                        <a:pt x="1580" y="2903"/>
                      </a:lnTo>
                      <a:lnTo>
                        <a:pt x="1580" y="2903"/>
                      </a:lnTo>
                      <a:close/>
                      <a:moveTo>
                        <a:pt x="1566" y="2903"/>
                      </a:moveTo>
                      <a:lnTo>
                        <a:pt x="1566" y="2908"/>
                      </a:lnTo>
                      <a:lnTo>
                        <a:pt x="1549" y="2908"/>
                      </a:lnTo>
                      <a:lnTo>
                        <a:pt x="1566" y="2903"/>
                      </a:lnTo>
                      <a:lnTo>
                        <a:pt x="1566" y="2903"/>
                      </a:lnTo>
                      <a:lnTo>
                        <a:pt x="1566" y="2903"/>
                      </a:lnTo>
                      <a:close/>
                      <a:moveTo>
                        <a:pt x="2208" y="2932"/>
                      </a:moveTo>
                      <a:lnTo>
                        <a:pt x="2208" y="2920"/>
                      </a:lnTo>
                      <a:lnTo>
                        <a:pt x="2213" y="2920"/>
                      </a:lnTo>
                      <a:lnTo>
                        <a:pt x="2208" y="2932"/>
                      </a:lnTo>
                      <a:lnTo>
                        <a:pt x="2208" y="2932"/>
                      </a:lnTo>
                      <a:lnTo>
                        <a:pt x="2208" y="2932"/>
                      </a:lnTo>
                      <a:close/>
                      <a:moveTo>
                        <a:pt x="2154" y="2958"/>
                      </a:moveTo>
                      <a:lnTo>
                        <a:pt x="2142" y="2948"/>
                      </a:lnTo>
                      <a:lnTo>
                        <a:pt x="2154" y="2941"/>
                      </a:lnTo>
                      <a:lnTo>
                        <a:pt x="2180" y="2948"/>
                      </a:lnTo>
                      <a:lnTo>
                        <a:pt x="2154" y="2958"/>
                      </a:lnTo>
                      <a:lnTo>
                        <a:pt x="2154" y="2958"/>
                      </a:lnTo>
                      <a:lnTo>
                        <a:pt x="2154" y="2958"/>
                      </a:lnTo>
                      <a:close/>
                      <a:moveTo>
                        <a:pt x="2163" y="2981"/>
                      </a:moveTo>
                      <a:lnTo>
                        <a:pt x="2154" y="2965"/>
                      </a:lnTo>
                      <a:lnTo>
                        <a:pt x="2163" y="2974"/>
                      </a:lnTo>
                      <a:lnTo>
                        <a:pt x="2163" y="2981"/>
                      </a:lnTo>
                      <a:lnTo>
                        <a:pt x="2163" y="2981"/>
                      </a:lnTo>
                      <a:lnTo>
                        <a:pt x="2163" y="2981"/>
                      </a:lnTo>
                      <a:close/>
                      <a:moveTo>
                        <a:pt x="2159" y="3059"/>
                      </a:moveTo>
                      <a:lnTo>
                        <a:pt x="2163" y="3043"/>
                      </a:lnTo>
                      <a:lnTo>
                        <a:pt x="2163" y="3059"/>
                      </a:lnTo>
                      <a:lnTo>
                        <a:pt x="2159" y="3059"/>
                      </a:lnTo>
                      <a:lnTo>
                        <a:pt x="2159" y="3059"/>
                      </a:lnTo>
                      <a:lnTo>
                        <a:pt x="2159" y="3059"/>
                      </a:lnTo>
                      <a:close/>
                      <a:moveTo>
                        <a:pt x="1743" y="3130"/>
                      </a:moveTo>
                      <a:lnTo>
                        <a:pt x="1748" y="3142"/>
                      </a:lnTo>
                      <a:lnTo>
                        <a:pt x="1726" y="3130"/>
                      </a:lnTo>
                      <a:lnTo>
                        <a:pt x="1743" y="3130"/>
                      </a:lnTo>
                      <a:lnTo>
                        <a:pt x="1743" y="3130"/>
                      </a:lnTo>
                      <a:lnTo>
                        <a:pt x="1743" y="3130"/>
                      </a:lnTo>
                      <a:close/>
                      <a:moveTo>
                        <a:pt x="1882" y="3154"/>
                      </a:moveTo>
                      <a:lnTo>
                        <a:pt x="1835" y="3170"/>
                      </a:lnTo>
                      <a:lnTo>
                        <a:pt x="1882" y="3147"/>
                      </a:lnTo>
                      <a:lnTo>
                        <a:pt x="1882" y="3154"/>
                      </a:lnTo>
                      <a:lnTo>
                        <a:pt x="1882" y="3154"/>
                      </a:lnTo>
                      <a:lnTo>
                        <a:pt x="1882" y="3154"/>
                      </a:lnTo>
                      <a:close/>
                      <a:moveTo>
                        <a:pt x="1776" y="3163"/>
                      </a:moveTo>
                      <a:lnTo>
                        <a:pt x="1764" y="3170"/>
                      </a:lnTo>
                      <a:lnTo>
                        <a:pt x="1781" y="3170"/>
                      </a:lnTo>
                      <a:lnTo>
                        <a:pt x="1764" y="3180"/>
                      </a:lnTo>
                      <a:lnTo>
                        <a:pt x="1731" y="3163"/>
                      </a:lnTo>
                      <a:lnTo>
                        <a:pt x="1776" y="3163"/>
                      </a:lnTo>
                      <a:lnTo>
                        <a:pt x="1776" y="3163"/>
                      </a:lnTo>
                      <a:lnTo>
                        <a:pt x="1776" y="3163"/>
                      </a:lnTo>
                      <a:close/>
                      <a:moveTo>
                        <a:pt x="1873" y="3170"/>
                      </a:moveTo>
                      <a:lnTo>
                        <a:pt x="1873" y="3180"/>
                      </a:lnTo>
                      <a:lnTo>
                        <a:pt x="1856" y="3180"/>
                      </a:lnTo>
                      <a:lnTo>
                        <a:pt x="1873" y="3170"/>
                      </a:lnTo>
                      <a:lnTo>
                        <a:pt x="1873" y="3170"/>
                      </a:lnTo>
                      <a:lnTo>
                        <a:pt x="1873" y="3170"/>
                      </a:lnTo>
                      <a:close/>
                      <a:moveTo>
                        <a:pt x="1958" y="3208"/>
                      </a:moveTo>
                      <a:lnTo>
                        <a:pt x="1948" y="3225"/>
                      </a:lnTo>
                      <a:lnTo>
                        <a:pt x="1937" y="3236"/>
                      </a:lnTo>
                      <a:lnTo>
                        <a:pt x="1944" y="3208"/>
                      </a:lnTo>
                      <a:lnTo>
                        <a:pt x="1958" y="3208"/>
                      </a:lnTo>
                      <a:lnTo>
                        <a:pt x="1958" y="3208"/>
                      </a:lnTo>
                      <a:lnTo>
                        <a:pt x="1958" y="3208"/>
                      </a:lnTo>
                      <a:close/>
                      <a:moveTo>
                        <a:pt x="2067" y="3258"/>
                      </a:moveTo>
                      <a:lnTo>
                        <a:pt x="2045" y="3253"/>
                      </a:lnTo>
                      <a:lnTo>
                        <a:pt x="2029" y="3236"/>
                      </a:lnTo>
                      <a:lnTo>
                        <a:pt x="2100" y="3241"/>
                      </a:lnTo>
                      <a:lnTo>
                        <a:pt x="2088" y="3253"/>
                      </a:lnTo>
                      <a:lnTo>
                        <a:pt x="2067" y="3241"/>
                      </a:lnTo>
                      <a:lnTo>
                        <a:pt x="2071" y="3253"/>
                      </a:lnTo>
                      <a:lnTo>
                        <a:pt x="2067" y="3258"/>
                      </a:lnTo>
                      <a:lnTo>
                        <a:pt x="2067" y="3258"/>
                      </a:lnTo>
                      <a:lnTo>
                        <a:pt x="2067" y="3258"/>
                      </a:lnTo>
                      <a:close/>
                      <a:moveTo>
                        <a:pt x="2019" y="3241"/>
                      </a:moveTo>
                      <a:lnTo>
                        <a:pt x="2019" y="3253"/>
                      </a:lnTo>
                      <a:lnTo>
                        <a:pt x="2012" y="3258"/>
                      </a:lnTo>
                      <a:lnTo>
                        <a:pt x="1996" y="3253"/>
                      </a:lnTo>
                      <a:lnTo>
                        <a:pt x="2003" y="3236"/>
                      </a:lnTo>
                      <a:lnTo>
                        <a:pt x="2019" y="3241"/>
                      </a:lnTo>
                      <a:lnTo>
                        <a:pt x="2019" y="3241"/>
                      </a:lnTo>
                      <a:lnTo>
                        <a:pt x="2019" y="3241"/>
                      </a:lnTo>
                      <a:close/>
                      <a:moveTo>
                        <a:pt x="2071" y="3258"/>
                      </a:moveTo>
                      <a:lnTo>
                        <a:pt x="2071" y="3253"/>
                      </a:lnTo>
                      <a:lnTo>
                        <a:pt x="2083" y="3253"/>
                      </a:lnTo>
                      <a:lnTo>
                        <a:pt x="2071" y="3258"/>
                      </a:lnTo>
                      <a:lnTo>
                        <a:pt x="2071" y="3258"/>
                      </a:lnTo>
                      <a:lnTo>
                        <a:pt x="2071" y="3258"/>
                      </a:lnTo>
                      <a:close/>
                      <a:moveTo>
                        <a:pt x="2029" y="3265"/>
                      </a:moveTo>
                      <a:lnTo>
                        <a:pt x="2012" y="3258"/>
                      </a:lnTo>
                      <a:lnTo>
                        <a:pt x="2019" y="3253"/>
                      </a:lnTo>
                      <a:lnTo>
                        <a:pt x="2033" y="3253"/>
                      </a:lnTo>
                      <a:lnTo>
                        <a:pt x="2029" y="3265"/>
                      </a:lnTo>
                      <a:lnTo>
                        <a:pt x="2029" y="3265"/>
                      </a:lnTo>
                      <a:lnTo>
                        <a:pt x="2029" y="3265"/>
                      </a:lnTo>
                      <a:close/>
                      <a:moveTo>
                        <a:pt x="2083" y="3258"/>
                      </a:moveTo>
                      <a:lnTo>
                        <a:pt x="2083" y="3253"/>
                      </a:lnTo>
                      <a:lnTo>
                        <a:pt x="2088" y="3258"/>
                      </a:lnTo>
                      <a:lnTo>
                        <a:pt x="2083" y="3258"/>
                      </a:lnTo>
                      <a:lnTo>
                        <a:pt x="2083" y="3258"/>
                      </a:lnTo>
                      <a:lnTo>
                        <a:pt x="2083" y="3258"/>
                      </a:lnTo>
                      <a:close/>
                      <a:moveTo>
                        <a:pt x="2045" y="3274"/>
                      </a:moveTo>
                      <a:lnTo>
                        <a:pt x="2029" y="3265"/>
                      </a:lnTo>
                      <a:lnTo>
                        <a:pt x="2033" y="3258"/>
                      </a:lnTo>
                      <a:lnTo>
                        <a:pt x="2057" y="3265"/>
                      </a:lnTo>
                      <a:lnTo>
                        <a:pt x="2045" y="3274"/>
                      </a:lnTo>
                      <a:lnTo>
                        <a:pt x="2045" y="3274"/>
                      </a:lnTo>
                      <a:lnTo>
                        <a:pt x="2045" y="327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29" name="Freeform 456">
                  <a:extLst>
                    <a:ext uri="{FF2B5EF4-FFF2-40B4-BE49-F238E27FC236}">
                      <a16:creationId xmlns:a16="http://schemas.microsoft.com/office/drawing/2014/main" id="{4B0BD945-326E-4C19-AD22-E089984A34A4}"/>
                    </a:ext>
                  </a:extLst>
                </p:cNvPr>
                <p:cNvSpPr>
                  <a:spLocks noEditPoints="1"/>
                </p:cNvSpPr>
                <p:nvPr/>
              </p:nvSpPr>
              <p:spPr bwMode="gray">
                <a:xfrm>
                  <a:off x="7295987" y="2752512"/>
                  <a:ext cx="243297" cy="233443"/>
                </a:xfrm>
                <a:custGeom>
                  <a:avLst/>
                  <a:gdLst>
                    <a:gd name="T0" fmla="*/ 76 w 591"/>
                    <a:gd name="T1" fmla="*/ 111 h 567"/>
                    <a:gd name="T2" fmla="*/ 227 w 591"/>
                    <a:gd name="T3" fmla="*/ 29 h 567"/>
                    <a:gd name="T4" fmla="*/ 484 w 591"/>
                    <a:gd name="T5" fmla="*/ 7 h 567"/>
                    <a:gd name="T6" fmla="*/ 350 w 591"/>
                    <a:gd name="T7" fmla="*/ 69 h 567"/>
                    <a:gd name="T8" fmla="*/ 324 w 591"/>
                    <a:gd name="T9" fmla="*/ 135 h 567"/>
                    <a:gd name="T10" fmla="*/ 274 w 591"/>
                    <a:gd name="T11" fmla="*/ 123 h 567"/>
                    <a:gd name="T12" fmla="*/ 227 w 591"/>
                    <a:gd name="T13" fmla="*/ 102 h 567"/>
                    <a:gd name="T14" fmla="*/ 220 w 591"/>
                    <a:gd name="T15" fmla="*/ 213 h 567"/>
                    <a:gd name="T16" fmla="*/ 307 w 591"/>
                    <a:gd name="T17" fmla="*/ 300 h 567"/>
                    <a:gd name="T18" fmla="*/ 253 w 591"/>
                    <a:gd name="T19" fmla="*/ 357 h 567"/>
                    <a:gd name="T20" fmla="*/ 215 w 591"/>
                    <a:gd name="T21" fmla="*/ 345 h 567"/>
                    <a:gd name="T22" fmla="*/ 189 w 591"/>
                    <a:gd name="T23" fmla="*/ 452 h 567"/>
                    <a:gd name="T24" fmla="*/ 135 w 591"/>
                    <a:gd name="T25" fmla="*/ 374 h 567"/>
                    <a:gd name="T26" fmla="*/ 227 w 591"/>
                    <a:gd name="T27" fmla="*/ 317 h 567"/>
                    <a:gd name="T28" fmla="*/ 128 w 591"/>
                    <a:gd name="T29" fmla="*/ 284 h 567"/>
                    <a:gd name="T30" fmla="*/ 76 w 591"/>
                    <a:gd name="T31" fmla="*/ 222 h 567"/>
                    <a:gd name="T32" fmla="*/ 21 w 591"/>
                    <a:gd name="T33" fmla="*/ 173 h 567"/>
                    <a:gd name="T34" fmla="*/ 345 w 591"/>
                    <a:gd name="T35" fmla="*/ 95 h 567"/>
                    <a:gd name="T36" fmla="*/ 413 w 591"/>
                    <a:gd name="T37" fmla="*/ 102 h 567"/>
                    <a:gd name="T38" fmla="*/ 397 w 591"/>
                    <a:gd name="T39" fmla="*/ 140 h 567"/>
                    <a:gd name="T40" fmla="*/ 26 w 591"/>
                    <a:gd name="T41" fmla="*/ 196 h 567"/>
                    <a:gd name="T42" fmla="*/ 468 w 591"/>
                    <a:gd name="T43" fmla="*/ 206 h 567"/>
                    <a:gd name="T44" fmla="*/ 468 w 591"/>
                    <a:gd name="T45" fmla="*/ 206 h 567"/>
                    <a:gd name="T46" fmla="*/ 258 w 591"/>
                    <a:gd name="T47" fmla="*/ 222 h 567"/>
                    <a:gd name="T48" fmla="*/ 274 w 591"/>
                    <a:gd name="T49" fmla="*/ 279 h 567"/>
                    <a:gd name="T50" fmla="*/ 333 w 591"/>
                    <a:gd name="T51" fmla="*/ 300 h 567"/>
                    <a:gd name="T52" fmla="*/ 333 w 591"/>
                    <a:gd name="T53" fmla="*/ 230 h 567"/>
                    <a:gd name="T54" fmla="*/ 59 w 591"/>
                    <a:gd name="T55" fmla="*/ 246 h 567"/>
                    <a:gd name="T56" fmla="*/ 404 w 591"/>
                    <a:gd name="T57" fmla="*/ 267 h 567"/>
                    <a:gd name="T58" fmla="*/ 442 w 591"/>
                    <a:gd name="T59" fmla="*/ 300 h 567"/>
                    <a:gd name="T60" fmla="*/ 59 w 591"/>
                    <a:gd name="T61" fmla="*/ 279 h 567"/>
                    <a:gd name="T62" fmla="*/ 350 w 591"/>
                    <a:gd name="T63" fmla="*/ 317 h 567"/>
                    <a:gd name="T64" fmla="*/ 64 w 591"/>
                    <a:gd name="T65" fmla="*/ 324 h 567"/>
                    <a:gd name="T66" fmla="*/ 489 w 591"/>
                    <a:gd name="T67" fmla="*/ 333 h 567"/>
                    <a:gd name="T68" fmla="*/ 258 w 591"/>
                    <a:gd name="T69" fmla="*/ 341 h 567"/>
                    <a:gd name="T70" fmla="*/ 435 w 591"/>
                    <a:gd name="T71" fmla="*/ 357 h 567"/>
                    <a:gd name="T72" fmla="*/ 383 w 591"/>
                    <a:gd name="T73" fmla="*/ 345 h 567"/>
                    <a:gd name="T74" fmla="*/ 366 w 591"/>
                    <a:gd name="T75" fmla="*/ 362 h 567"/>
                    <a:gd name="T76" fmla="*/ 397 w 591"/>
                    <a:gd name="T77" fmla="*/ 362 h 567"/>
                    <a:gd name="T78" fmla="*/ 333 w 591"/>
                    <a:gd name="T79" fmla="*/ 390 h 567"/>
                    <a:gd name="T80" fmla="*/ 387 w 591"/>
                    <a:gd name="T81" fmla="*/ 390 h 567"/>
                    <a:gd name="T82" fmla="*/ 387 w 591"/>
                    <a:gd name="T83" fmla="*/ 390 h 567"/>
                    <a:gd name="T84" fmla="*/ 506 w 591"/>
                    <a:gd name="T85" fmla="*/ 402 h 567"/>
                    <a:gd name="T86" fmla="*/ 376 w 591"/>
                    <a:gd name="T87" fmla="*/ 402 h 567"/>
                    <a:gd name="T88" fmla="*/ 510 w 591"/>
                    <a:gd name="T89" fmla="*/ 411 h 567"/>
                    <a:gd name="T90" fmla="*/ 435 w 591"/>
                    <a:gd name="T91" fmla="*/ 411 h 567"/>
                    <a:gd name="T92" fmla="*/ 397 w 591"/>
                    <a:gd name="T93" fmla="*/ 428 h 567"/>
                    <a:gd name="T94" fmla="*/ 324 w 591"/>
                    <a:gd name="T95" fmla="*/ 428 h 567"/>
                    <a:gd name="T96" fmla="*/ 458 w 591"/>
                    <a:gd name="T97" fmla="*/ 435 h 567"/>
                    <a:gd name="T98" fmla="*/ 404 w 591"/>
                    <a:gd name="T99" fmla="*/ 444 h 567"/>
                    <a:gd name="T100" fmla="*/ 539 w 591"/>
                    <a:gd name="T101" fmla="*/ 452 h 567"/>
                    <a:gd name="T102" fmla="*/ 591 w 591"/>
                    <a:gd name="T103" fmla="*/ 444 h 567"/>
                    <a:gd name="T104" fmla="*/ 421 w 591"/>
                    <a:gd name="T105" fmla="*/ 452 h 567"/>
                    <a:gd name="T106" fmla="*/ 522 w 591"/>
                    <a:gd name="T107" fmla="*/ 529 h 567"/>
                    <a:gd name="T108" fmla="*/ 269 w 591"/>
                    <a:gd name="T109" fmla="*/ 513 h 567"/>
                    <a:gd name="T110" fmla="*/ 397 w 591"/>
                    <a:gd name="T111" fmla="*/ 539 h 567"/>
                    <a:gd name="T112" fmla="*/ 350 w 591"/>
                    <a:gd name="T113" fmla="*/ 567 h 567"/>
                    <a:gd name="T114" fmla="*/ 510 w 591"/>
                    <a:gd name="T115" fmla="*/ 522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91" h="567">
                      <a:moveTo>
                        <a:pt x="21" y="173"/>
                      </a:moveTo>
                      <a:lnTo>
                        <a:pt x="38" y="173"/>
                      </a:lnTo>
                      <a:lnTo>
                        <a:pt x="43" y="168"/>
                      </a:lnTo>
                      <a:lnTo>
                        <a:pt x="38" y="168"/>
                      </a:lnTo>
                      <a:lnTo>
                        <a:pt x="54" y="156"/>
                      </a:lnTo>
                      <a:lnTo>
                        <a:pt x="43" y="152"/>
                      </a:lnTo>
                      <a:lnTo>
                        <a:pt x="64" y="135"/>
                      </a:lnTo>
                      <a:lnTo>
                        <a:pt x="76" y="111"/>
                      </a:lnTo>
                      <a:lnTo>
                        <a:pt x="92" y="95"/>
                      </a:lnTo>
                      <a:lnTo>
                        <a:pt x="92" y="69"/>
                      </a:lnTo>
                      <a:lnTo>
                        <a:pt x="128" y="69"/>
                      </a:lnTo>
                      <a:lnTo>
                        <a:pt x="144" y="62"/>
                      </a:lnTo>
                      <a:lnTo>
                        <a:pt x="161" y="45"/>
                      </a:lnTo>
                      <a:lnTo>
                        <a:pt x="215" y="45"/>
                      </a:lnTo>
                      <a:lnTo>
                        <a:pt x="215" y="29"/>
                      </a:lnTo>
                      <a:lnTo>
                        <a:pt x="227" y="29"/>
                      </a:lnTo>
                      <a:lnTo>
                        <a:pt x="274" y="29"/>
                      </a:lnTo>
                      <a:lnTo>
                        <a:pt x="324" y="12"/>
                      </a:lnTo>
                      <a:lnTo>
                        <a:pt x="387" y="41"/>
                      </a:lnTo>
                      <a:lnTo>
                        <a:pt x="451" y="29"/>
                      </a:lnTo>
                      <a:lnTo>
                        <a:pt x="451" y="12"/>
                      </a:lnTo>
                      <a:lnTo>
                        <a:pt x="442" y="0"/>
                      </a:lnTo>
                      <a:lnTo>
                        <a:pt x="468" y="0"/>
                      </a:lnTo>
                      <a:lnTo>
                        <a:pt x="484" y="7"/>
                      </a:lnTo>
                      <a:lnTo>
                        <a:pt x="484" y="29"/>
                      </a:lnTo>
                      <a:lnTo>
                        <a:pt x="458" y="41"/>
                      </a:lnTo>
                      <a:lnTo>
                        <a:pt x="468" y="62"/>
                      </a:lnTo>
                      <a:lnTo>
                        <a:pt x="442" y="85"/>
                      </a:lnTo>
                      <a:lnTo>
                        <a:pt x="442" y="78"/>
                      </a:lnTo>
                      <a:lnTo>
                        <a:pt x="383" y="62"/>
                      </a:lnTo>
                      <a:lnTo>
                        <a:pt x="383" y="62"/>
                      </a:lnTo>
                      <a:lnTo>
                        <a:pt x="350" y="69"/>
                      </a:lnTo>
                      <a:lnTo>
                        <a:pt x="328" y="62"/>
                      </a:lnTo>
                      <a:lnTo>
                        <a:pt x="307" y="85"/>
                      </a:lnTo>
                      <a:lnTo>
                        <a:pt x="279" y="78"/>
                      </a:lnTo>
                      <a:lnTo>
                        <a:pt x="274" y="85"/>
                      </a:lnTo>
                      <a:lnTo>
                        <a:pt x="291" y="111"/>
                      </a:lnTo>
                      <a:lnTo>
                        <a:pt x="312" y="118"/>
                      </a:lnTo>
                      <a:lnTo>
                        <a:pt x="328" y="135"/>
                      </a:lnTo>
                      <a:lnTo>
                        <a:pt x="324" y="135"/>
                      </a:lnTo>
                      <a:lnTo>
                        <a:pt x="312" y="118"/>
                      </a:lnTo>
                      <a:lnTo>
                        <a:pt x="291" y="118"/>
                      </a:lnTo>
                      <a:lnTo>
                        <a:pt x="279" y="118"/>
                      </a:lnTo>
                      <a:lnTo>
                        <a:pt x="279" y="123"/>
                      </a:lnTo>
                      <a:lnTo>
                        <a:pt x="295" y="135"/>
                      </a:lnTo>
                      <a:lnTo>
                        <a:pt x="295" y="140"/>
                      </a:lnTo>
                      <a:lnTo>
                        <a:pt x="295" y="152"/>
                      </a:lnTo>
                      <a:lnTo>
                        <a:pt x="274" y="123"/>
                      </a:lnTo>
                      <a:lnTo>
                        <a:pt x="253" y="123"/>
                      </a:lnTo>
                      <a:lnTo>
                        <a:pt x="253" y="135"/>
                      </a:lnTo>
                      <a:lnTo>
                        <a:pt x="279" y="152"/>
                      </a:lnTo>
                      <a:lnTo>
                        <a:pt x="258" y="152"/>
                      </a:lnTo>
                      <a:lnTo>
                        <a:pt x="253" y="123"/>
                      </a:lnTo>
                      <a:lnTo>
                        <a:pt x="220" y="111"/>
                      </a:lnTo>
                      <a:lnTo>
                        <a:pt x="220" y="102"/>
                      </a:lnTo>
                      <a:lnTo>
                        <a:pt x="227" y="102"/>
                      </a:lnTo>
                      <a:lnTo>
                        <a:pt x="227" y="95"/>
                      </a:lnTo>
                      <a:lnTo>
                        <a:pt x="199" y="102"/>
                      </a:lnTo>
                      <a:lnTo>
                        <a:pt x="199" y="140"/>
                      </a:lnTo>
                      <a:lnTo>
                        <a:pt x="253" y="213"/>
                      </a:lnTo>
                      <a:lnTo>
                        <a:pt x="236" y="222"/>
                      </a:lnTo>
                      <a:lnTo>
                        <a:pt x="241" y="213"/>
                      </a:lnTo>
                      <a:lnTo>
                        <a:pt x="227" y="196"/>
                      </a:lnTo>
                      <a:lnTo>
                        <a:pt x="220" y="213"/>
                      </a:lnTo>
                      <a:lnTo>
                        <a:pt x="236" y="230"/>
                      </a:lnTo>
                      <a:lnTo>
                        <a:pt x="220" y="234"/>
                      </a:lnTo>
                      <a:lnTo>
                        <a:pt x="199" y="246"/>
                      </a:lnTo>
                      <a:lnTo>
                        <a:pt x="227" y="251"/>
                      </a:lnTo>
                      <a:lnTo>
                        <a:pt x="236" y="263"/>
                      </a:lnTo>
                      <a:lnTo>
                        <a:pt x="253" y="263"/>
                      </a:lnTo>
                      <a:lnTo>
                        <a:pt x="253" y="267"/>
                      </a:lnTo>
                      <a:lnTo>
                        <a:pt x="307" y="300"/>
                      </a:lnTo>
                      <a:lnTo>
                        <a:pt x="295" y="307"/>
                      </a:lnTo>
                      <a:lnTo>
                        <a:pt x="307" y="333"/>
                      </a:lnTo>
                      <a:lnTo>
                        <a:pt x="295" y="341"/>
                      </a:lnTo>
                      <a:lnTo>
                        <a:pt x="269" y="307"/>
                      </a:lnTo>
                      <a:lnTo>
                        <a:pt x="227" y="324"/>
                      </a:lnTo>
                      <a:lnTo>
                        <a:pt x="236" y="324"/>
                      </a:lnTo>
                      <a:lnTo>
                        <a:pt x="241" y="345"/>
                      </a:lnTo>
                      <a:lnTo>
                        <a:pt x="253" y="357"/>
                      </a:lnTo>
                      <a:lnTo>
                        <a:pt x="253" y="345"/>
                      </a:lnTo>
                      <a:lnTo>
                        <a:pt x="258" y="345"/>
                      </a:lnTo>
                      <a:lnTo>
                        <a:pt x="269" y="362"/>
                      </a:lnTo>
                      <a:lnTo>
                        <a:pt x="253" y="362"/>
                      </a:lnTo>
                      <a:lnTo>
                        <a:pt x="241" y="374"/>
                      </a:lnTo>
                      <a:lnTo>
                        <a:pt x="236" y="362"/>
                      </a:lnTo>
                      <a:lnTo>
                        <a:pt x="236" y="362"/>
                      </a:lnTo>
                      <a:lnTo>
                        <a:pt x="215" y="345"/>
                      </a:lnTo>
                      <a:lnTo>
                        <a:pt x="236" y="418"/>
                      </a:lnTo>
                      <a:lnTo>
                        <a:pt x="227" y="428"/>
                      </a:lnTo>
                      <a:lnTo>
                        <a:pt x="241" y="444"/>
                      </a:lnTo>
                      <a:lnTo>
                        <a:pt x="227" y="435"/>
                      </a:lnTo>
                      <a:lnTo>
                        <a:pt x="215" y="411"/>
                      </a:lnTo>
                      <a:lnTo>
                        <a:pt x="203" y="411"/>
                      </a:lnTo>
                      <a:lnTo>
                        <a:pt x="189" y="428"/>
                      </a:lnTo>
                      <a:lnTo>
                        <a:pt x="189" y="452"/>
                      </a:lnTo>
                      <a:lnTo>
                        <a:pt x="165" y="395"/>
                      </a:lnTo>
                      <a:lnTo>
                        <a:pt x="151" y="395"/>
                      </a:lnTo>
                      <a:lnTo>
                        <a:pt x="161" y="411"/>
                      </a:lnTo>
                      <a:lnTo>
                        <a:pt x="151" y="418"/>
                      </a:lnTo>
                      <a:lnTo>
                        <a:pt x="135" y="411"/>
                      </a:lnTo>
                      <a:lnTo>
                        <a:pt x="135" y="402"/>
                      </a:lnTo>
                      <a:lnTo>
                        <a:pt x="128" y="390"/>
                      </a:lnTo>
                      <a:lnTo>
                        <a:pt x="135" y="374"/>
                      </a:lnTo>
                      <a:lnTo>
                        <a:pt x="135" y="362"/>
                      </a:lnTo>
                      <a:lnTo>
                        <a:pt x="97" y="324"/>
                      </a:lnTo>
                      <a:lnTo>
                        <a:pt x="113" y="307"/>
                      </a:lnTo>
                      <a:lnTo>
                        <a:pt x="113" y="291"/>
                      </a:lnTo>
                      <a:lnTo>
                        <a:pt x="135" y="300"/>
                      </a:lnTo>
                      <a:lnTo>
                        <a:pt x="151" y="284"/>
                      </a:lnTo>
                      <a:lnTo>
                        <a:pt x="220" y="317"/>
                      </a:lnTo>
                      <a:lnTo>
                        <a:pt x="227" y="317"/>
                      </a:lnTo>
                      <a:lnTo>
                        <a:pt x="220" y="307"/>
                      </a:lnTo>
                      <a:lnTo>
                        <a:pt x="241" y="307"/>
                      </a:lnTo>
                      <a:lnTo>
                        <a:pt x="241" y="300"/>
                      </a:lnTo>
                      <a:lnTo>
                        <a:pt x="215" y="291"/>
                      </a:lnTo>
                      <a:lnTo>
                        <a:pt x="189" y="279"/>
                      </a:lnTo>
                      <a:lnTo>
                        <a:pt x="182" y="284"/>
                      </a:lnTo>
                      <a:lnTo>
                        <a:pt x="161" y="279"/>
                      </a:lnTo>
                      <a:lnTo>
                        <a:pt x="128" y="284"/>
                      </a:lnTo>
                      <a:lnTo>
                        <a:pt x="113" y="279"/>
                      </a:lnTo>
                      <a:lnTo>
                        <a:pt x="97" y="284"/>
                      </a:lnTo>
                      <a:lnTo>
                        <a:pt x="92" y="263"/>
                      </a:lnTo>
                      <a:lnTo>
                        <a:pt x="64" y="246"/>
                      </a:lnTo>
                      <a:lnTo>
                        <a:pt x="76" y="234"/>
                      </a:lnTo>
                      <a:lnTo>
                        <a:pt x="97" y="246"/>
                      </a:lnTo>
                      <a:lnTo>
                        <a:pt x="97" y="230"/>
                      </a:lnTo>
                      <a:lnTo>
                        <a:pt x="76" y="222"/>
                      </a:lnTo>
                      <a:lnTo>
                        <a:pt x="76" y="230"/>
                      </a:lnTo>
                      <a:lnTo>
                        <a:pt x="76" y="234"/>
                      </a:lnTo>
                      <a:lnTo>
                        <a:pt x="64" y="234"/>
                      </a:lnTo>
                      <a:lnTo>
                        <a:pt x="54" y="206"/>
                      </a:lnTo>
                      <a:lnTo>
                        <a:pt x="38" y="206"/>
                      </a:lnTo>
                      <a:lnTo>
                        <a:pt x="38" y="180"/>
                      </a:lnTo>
                      <a:lnTo>
                        <a:pt x="21" y="173"/>
                      </a:lnTo>
                      <a:lnTo>
                        <a:pt x="21" y="173"/>
                      </a:lnTo>
                      <a:lnTo>
                        <a:pt x="21" y="173"/>
                      </a:lnTo>
                      <a:close/>
                      <a:moveTo>
                        <a:pt x="345" y="95"/>
                      </a:moveTo>
                      <a:lnTo>
                        <a:pt x="333" y="85"/>
                      </a:lnTo>
                      <a:lnTo>
                        <a:pt x="345" y="78"/>
                      </a:lnTo>
                      <a:lnTo>
                        <a:pt x="350" y="78"/>
                      </a:lnTo>
                      <a:lnTo>
                        <a:pt x="350" y="95"/>
                      </a:lnTo>
                      <a:lnTo>
                        <a:pt x="345" y="95"/>
                      </a:lnTo>
                      <a:lnTo>
                        <a:pt x="345" y="95"/>
                      </a:lnTo>
                      <a:lnTo>
                        <a:pt x="345" y="95"/>
                      </a:lnTo>
                      <a:close/>
                      <a:moveTo>
                        <a:pt x="413" y="102"/>
                      </a:moveTo>
                      <a:lnTo>
                        <a:pt x="421" y="111"/>
                      </a:lnTo>
                      <a:lnTo>
                        <a:pt x="413" y="111"/>
                      </a:lnTo>
                      <a:lnTo>
                        <a:pt x="397" y="102"/>
                      </a:lnTo>
                      <a:lnTo>
                        <a:pt x="413" y="102"/>
                      </a:lnTo>
                      <a:lnTo>
                        <a:pt x="413" y="102"/>
                      </a:lnTo>
                      <a:lnTo>
                        <a:pt x="413" y="102"/>
                      </a:lnTo>
                      <a:close/>
                      <a:moveTo>
                        <a:pt x="397" y="140"/>
                      </a:moveTo>
                      <a:lnTo>
                        <a:pt x="397" y="168"/>
                      </a:lnTo>
                      <a:lnTo>
                        <a:pt x="387" y="152"/>
                      </a:lnTo>
                      <a:lnTo>
                        <a:pt x="383" y="156"/>
                      </a:lnTo>
                      <a:lnTo>
                        <a:pt x="383" y="168"/>
                      </a:lnTo>
                      <a:lnTo>
                        <a:pt x="376" y="156"/>
                      </a:lnTo>
                      <a:lnTo>
                        <a:pt x="376" y="152"/>
                      </a:lnTo>
                      <a:lnTo>
                        <a:pt x="397" y="140"/>
                      </a:lnTo>
                      <a:lnTo>
                        <a:pt x="397" y="140"/>
                      </a:lnTo>
                      <a:lnTo>
                        <a:pt x="397" y="140"/>
                      </a:lnTo>
                      <a:close/>
                      <a:moveTo>
                        <a:pt x="5" y="156"/>
                      </a:moveTo>
                      <a:lnTo>
                        <a:pt x="10" y="168"/>
                      </a:lnTo>
                      <a:lnTo>
                        <a:pt x="5" y="173"/>
                      </a:lnTo>
                      <a:lnTo>
                        <a:pt x="10" y="189"/>
                      </a:lnTo>
                      <a:lnTo>
                        <a:pt x="21" y="189"/>
                      </a:lnTo>
                      <a:lnTo>
                        <a:pt x="26" y="196"/>
                      </a:lnTo>
                      <a:lnTo>
                        <a:pt x="10" y="189"/>
                      </a:lnTo>
                      <a:lnTo>
                        <a:pt x="0" y="173"/>
                      </a:lnTo>
                      <a:lnTo>
                        <a:pt x="0" y="168"/>
                      </a:lnTo>
                      <a:lnTo>
                        <a:pt x="5" y="156"/>
                      </a:lnTo>
                      <a:lnTo>
                        <a:pt x="5" y="156"/>
                      </a:lnTo>
                      <a:lnTo>
                        <a:pt x="5" y="156"/>
                      </a:lnTo>
                      <a:close/>
                      <a:moveTo>
                        <a:pt x="468" y="206"/>
                      </a:moveTo>
                      <a:lnTo>
                        <a:pt x="468" y="206"/>
                      </a:lnTo>
                      <a:lnTo>
                        <a:pt x="484" y="230"/>
                      </a:lnTo>
                      <a:lnTo>
                        <a:pt x="458" y="230"/>
                      </a:lnTo>
                      <a:lnTo>
                        <a:pt x="442" y="222"/>
                      </a:lnTo>
                      <a:lnTo>
                        <a:pt x="458" y="213"/>
                      </a:lnTo>
                      <a:lnTo>
                        <a:pt x="442" y="222"/>
                      </a:lnTo>
                      <a:lnTo>
                        <a:pt x="430" y="213"/>
                      </a:lnTo>
                      <a:lnTo>
                        <a:pt x="451" y="196"/>
                      </a:lnTo>
                      <a:lnTo>
                        <a:pt x="468" y="206"/>
                      </a:lnTo>
                      <a:lnTo>
                        <a:pt x="468" y="206"/>
                      </a:lnTo>
                      <a:lnTo>
                        <a:pt x="468" y="206"/>
                      </a:lnTo>
                      <a:close/>
                      <a:moveTo>
                        <a:pt x="258" y="222"/>
                      </a:moveTo>
                      <a:lnTo>
                        <a:pt x="258" y="213"/>
                      </a:lnTo>
                      <a:lnTo>
                        <a:pt x="269" y="213"/>
                      </a:lnTo>
                      <a:lnTo>
                        <a:pt x="258" y="222"/>
                      </a:lnTo>
                      <a:lnTo>
                        <a:pt x="258" y="222"/>
                      </a:lnTo>
                      <a:lnTo>
                        <a:pt x="258" y="222"/>
                      </a:lnTo>
                      <a:close/>
                      <a:moveTo>
                        <a:pt x="279" y="222"/>
                      </a:moveTo>
                      <a:lnTo>
                        <a:pt x="269" y="213"/>
                      </a:lnTo>
                      <a:lnTo>
                        <a:pt x="279" y="222"/>
                      </a:lnTo>
                      <a:lnTo>
                        <a:pt x="279" y="222"/>
                      </a:lnTo>
                      <a:lnTo>
                        <a:pt x="279" y="222"/>
                      </a:lnTo>
                      <a:lnTo>
                        <a:pt x="279" y="222"/>
                      </a:lnTo>
                      <a:close/>
                      <a:moveTo>
                        <a:pt x="307" y="284"/>
                      </a:moveTo>
                      <a:lnTo>
                        <a:pt x="274" y="279"/>
                      </a:lnTo>
                      <a:lnTo>
                        <a:pt x="274" y="267"/>
                      </a:lnTo>
                      <a:lnTo>
                        <a:pt x="241" y="246"/>
                      </a:lnTo>
                      <a:lnTo>
                        <a:pt x="220" y="246"/>
                      </a:lnTo>
                      <a:lnTo>
                        <a:pt x="253" y="230"/>
                      </a:lnTo>
                      <a:lnTo>
                        <a:pt x="269" y="251"/>
                      </a:lnTo>
                      <a:lnTo>
                        <a:pt x="312" y="263"/>
                      </a:lnTo>
                      <a:lnTo>
                        <a:pt x="312" y="291"/>
                      </a:lnTo>
                      <a:lnTo>
                        <a:pt x="333" y="300"/>
                      </a:lnTo>
                      <a:lnTo>
                        <a:pt x="333" y="317"/>
                      </a:lnTo>
                      <a:lnTo>
                        <a:pt x="328" y="317"/>
                      </a:lnTo>
                      <a:lnTo>
                        <a:pt x="307" y="284"/>
                      </a:lnTo>
                      <a:lnTo>
                        <a:pt x="307" y="284"/>
                      </a:lnTo>
                      <a:lnTo>
                        <a:pt x="307" y="284"/>
                      </a:lnTo>
                      <a:close/>
                      <a:moveTo>
                        <a:pt x="333" y="251"/>
                      </a:moveTo>
                      <a:lnTo>
                        <a:pt x="328" y="234"/>
                      </a:lnTo>
                      <a:lnTo>
                        <a:pt x="333" y="230"/>
                      </a:lnTo>
                      <a:lnTo>
                        <a:pt x="345" y="246"/>
                      </a:lnTo>
                      <a:lnTo>
                        <a:pt x="333" y="251"/>
                      </a:lnTo>
                      <a:lnTo>
                        <a:pt x="333" y="251"/>
                      </a:lnTo>
                      <a:lnTo>
                        <a:pt x="333" y="251"/>
                      </a:lnTo>
                      <a:close/>
                      <a:moveTo>
                        <a:pt x="64" y="246"/>
                      </a:moveTo>
                      <a:lnTo>
                        <a:pt x="64" y="263"/>
                      </a:lnTo>
                      <a:lnTo>
                        <a:pt x="59" y="267"/>
                      </a:lnTo>
                      <a:lnTo>
                        <a:pt x="59" y="246"/>
                      </a:lnTo>
                      <a:lnTo>
                        <a:pt x="64" y="246"/>
                      </a:lnTo>
                      <a:lnTo>
                        <a:pt x="64" y="246"/>
                      </a:lnTo>
                      <a:lnTo>
                        <a:pt x="64" y="246"/>
                      </a:lnTo>
                      <a:close/>
                      <a:moveTo>
                        <a:pt x="404" y="267"/>
                      </a:moveTo>
                      <a:lnTo>
                        <a:pt x="404" y="263"/>
                      </a:lnTo>
                      <a:lnTo>
                        <a:pt x="413" y="263"/>
                      </a:lnTo>
                      <a:lnTo>
                        <a:pt x="404" y="267"/>
                      </a:lnTo>
                      <a:lnTo>
                        <a:pt x="404" y="267"/>
                      </a:lnTo>
                      <a:lnTo>
                        <a:pt x="404" y="267"/>
                      </a:lnTo>
                      <a:close/>
                      <a:moveTo>
                        <a:pt x="442" y="300"/>
                      </a:moveTo>
                      <a:lnTo>
                        <a:pt x="430" y="291"/>
                      </a:lnTo>
                      <a:lnTo>
                        <a:pt x="435" y="284"/>
                      </a:lnTo>
                      <a:lnTo>
                        <a:pt x="430" y="267"/>
                      </a:lnTo>
                      <a:lnTo>
                        <a:pt x="451" y="267"/>
                      </a:lnTo>
                      <a:lnTo>
                        <a:pt x="451" y="291"/>
                      </a:lnTo>
                      <a:lnTo>
                        <a:pt x="442" y="300"/>
                      </a:lnTo>
                      <a:lnTo>
                        <a:pt x="442" y="300"/>
                      </a:lnTo>
                      <a:lnTo>
                        <a:pt x="442" y="300"/>
                      </a:lnTo>
                      <a:close/>
                      <a:moveTo>
                        <a:pt x="59" y="279"/>
                      </a:moveTo>
                      <a:lnTo>
                        <a:pt x="76" y="307"/>
                      </a:lnTo>
                      <a:lnTo>
                        <a:pt x="43" y="300"/>
                      </a:lnTo>
                      <a:lnTo>
                        <a:pt x="59" y="279"/>
                      </a:lnTo>
                      <a:lnTo>
                        <a:pt x="59" y="279"/>
                      </a:lnTo>
                      <a:lnTo>
                        <a:pt x="59" y="279"/>
                      </a:lnTo>
                      <a:close/>
                      <a:moveTo>
                        <a:pt x="269" y="317"/>
                      </a:moveTo>
                      <a:lnTo>
                        <a:pt x="269" y="324"/>
                      </a:lnTo>
                      <a:lnTo>
                        <a:pt x="258" y="324"/>
                      </a:lnTo>
                      <a:lnTo>
                        <a:pt x="269" y="317"/>
                      </a:lnTo>
                      <a:lnTo>
                        <a:pt x="269" y="317"/>
                      </a:lnTo>
                      <a:lnTo>
                        <a:pt x="269" y="317"/>
                      </a:lnTo>
                      <a:close/>
                      <a:moveTo>
                        <a:pt x="366" y="341"/>
                      </a:moveTo>
                      <a:lnTo>
                        <a:pt x="350" y="317"/>
                      </a:lnTo>
                      <a:lnTo>
                        <a:pt x="350" y="317"/>
                      </a:lnTo>
                      <a:lnTo>
                        <a:pt x="366" y="324"/>
                      </a:lnTo>
                      <a:lnTo>
                        <a:pt x="366" y="341"/>
                      </a:lnTo>
                      <a:lnTo>
                        <a:pt x="366" y="341"/>
                      </a:lnTo>
                      <a:lnTo>
                        <a:pt x="366" y="341"/>
                      </a:lnTo>
                      <a:close/>
                      <a:moveTo>
                        <a:pt x="76" y="341"/>
                      </a:moveTo>
                      <a:lnTo>
                        <a:pt x="64" y="333"/>
                      </a:lnTo>
                      <a:lnTo>
                        <a:pt x="64" y="324"/>
                      </a:lnTo>
                      <a:lnTo>
                        <a:pt x="92" y="341"/>
                      </a:lnTo>
                      <a:lnTo>
                        <a:pt x="80" y="341"/>
                      </a:lnTo>
                      <a:lnTo>
                        <a:pt x="76" y="341"/>
                      </a:lnTo>
                      <a:lnTo>
                        <a:pt x="76" y="341"/>
                      </a:lnTo>
                      <a:lnTo>
                        <a:pt x="76" y="341"/>
                      </a:lnTo>
                      <a:close/>
                      <a:moveTo>
                        <a:pt x="494" y="345"/>
                      </a:moveTo>
                      <a:lnTo>
                        <a:pt x="484" y="341"/>
                      </a:lnTo>
                      <a:lnTo>
                        <a:pt x="489" y="333"/>
                      </a:lnTo>
                      <a:lnTo>
                        <a:pt x="510" y="341"/>
                      </a:lnTo>
                      <a:lnTo>
                        <a:pt x="494" y="345"/>
                      </a:lnTo>
                      <a:lnTo>
                        <a:pt x="494" y="345"/>
                      </a:lnTo>
                      <a:lnTo>
                        <a:pt x="494" y="345"/>
                      </a:lnTo>
                      <a:close/>
                      <a:moveTo>
                        <a:pt x="258" y="341"/>
                      </a:moveTo>
                      <a:lnTo>
                        <a:pt x="258" y="333"/>
                      </a:lnTo>
                      <a:lnTo>
                        <a:pt x="269" y="333"/>
                      </a:lnTo>
                      <a:lnTo>
                        <a:pt x="258" y="341"/>
                      </a:lnTo>
                      <a:lnTo>
                        <a:pt x="258" y="341"/>
                      </a:lnTo>
                      <a:lnTo>
                        <a:pt x="258" y="341"/>
                      </a:lnTo>
                      <a:close/>
                      <a:moveTo>
                        <a:pt x="435" y="357"/>
                      </a:moveTo>
                      <a:lnTo>
                        <a:pt x="442" y="345"/>
                      </a:lnTo>
                      <a:lnTo>
                        <a:pt x="468" y="341"/>
                      </a:lnTo>
                      <a:lnTo>
                        <a:pt x="435" y="357"/>
                      </a:lnTo>
                      <a:lnTo>
                        <a:pt x="435" y="357"/>
                      </a:lnTo>
                      <a:lnTo>
                        <a:pt x="435" y="357"/>
                      </a:lnTo>
                      <a:close/>
                      <a:moveTo>
                        <a:pt x="324" y="357"/>
                      </a:moveTo>
                      <a:lnTo>
                        <a:pt x="324" y="341"/>
                      </a:lnTo>
                      <a:lnTo>
                        <a:pt x="328" y="341"/>
                      </a:lnTo>
                      <a:lnTo>
                        <a:pt x="324" y="357"/>
                      </a:lnTo>
                      <a:lnTo>
                        <a:pt x="324" y="357"/>
                      </a:lnTo>
                      <a:lnTo>
                        <a:pt x="324" y="357"/>
                      </a:lnTo>
                      <a:close/>
                      <a:moveTo>
                        <a:pt x="376" y="341"/>
                      </a:moveTo>
                      <a:lnTo>
                        <a:pt x="383" y="345"/>
                      </a:lnTo>
                      <a:lnTo>
                        <a:pt x="383" y="357"/>
                      </a:lnTo>
                      <a:lnTo>
                        <a:pt x="366" y="341"/>
                      </a:lnTo>
                      <a:lnTo>
                        <a:pt x="376" y="341"/>
                      </a:lnTo>
                      <a:lnTo>
                        <a:pt x="376" y="341"/>
                      </a:lnTo>
                      <a:lnTo>
                        <a:pt x="376" y="341"/>
                      </a:lnTo>
                      <a:close/>
                      <a:moveTo>
                        <a:pt x="359" y="362"/>
                      </a:moveTo>
                      <a:lnTo>
                        <a:pt x="359" y="357"/>
                      </a:lnTo>
                      <a:lnTo>
                        <a:pt x="366" y="362"/>
                      </a:lnTo>
                      <a:lnTo>
                        <a:pt x="359" y="362"/>
                      </a:lnTo>
                      <a:lnTo>
                        <a:pt x="359" y="362"/>
                      </a:lnTo>
                      <a:lnTo>
                        <a:pt x="359" y="362"/>
                      </a:lnTo>
                      <a:close/>
                      <a:moveTo>
                        <a:pt x="397" y="362"/>
                      </a:moveTo>
                      <a:lnTo>
                        <a:pt x="387" y="357"/>
                      </a:lnTo>
                      <a:lnTo>
                        <a:pt x="397" y="357"/>
                      </a:lnTo>
                      <a:lnTo>
                        <a:pt x="397" y="362"/>
                      </a:lnTo>
                      <a:lnTo>
                        <a:pt x="397" y="362"/>
                      </a:lnTo>
                      <a:lnTo>
                        <a:pt x="397" y="362"/>
                      </a:lnTo>
                      <a:close/>
                      <a:moveTo>
                        <a:pt x="328" y="357"/>
                      </a:moveTo>
                      <a:lnTo>
                        <a:pt x="333" y="362"/>
                      </a:lnTo>
                      <a:lnTo>
                        <a:pt x="328" y="374"/>
                      </a:lnTo>
                      <a:lnTo>
                        <a:pt x="328" y="357"/>
                      </a:lnTo>
                      <a:lnTo>
                        <a:pt x="328" y="357"/>
                      </a:lnTo>
                      <a:lnTo>
                        <a:pt x="328" y="357"/>
                      </a:lnTo>
                      <a:close/>
                      <a:moveTo>
                        <a:pt x="333" y="390"/>
                      </a:moveTo>
                      <a:lnTo>
                        <a:pt x="328" y="390"/>
                      </a:lnTo>
                      <a:lnTo>
                        <a:pt x="328" y="378"/>
                      </a:lnTo>
                      <a:lnTo>
                        <a:pt x="333" y="378"/>
                      </a:lnTo>
                      <a:lnTo>
                        <a:pt x="333" y="390"/>
                      </a:lnTo>
                      <a:lnTo>
                        <a:pt x="333" y="390"/>
                      </a:lnTo>
                      <a:lnTo>
                        <a:pt x="333" y="390"/>
                      </a:lnTo>
                      <a:close/>
                      <a:moveTo>
                        <a:pt x="397" y="402"/>
                      </a:moveTo>
                      <a:lnTo>
                        <a:pt x="387" y="390"/>
                      </a:lnTo>
                      <a:lnTo>
                        <a:pt x="404" y="378"/>
                      </a:lnTo>
                      <a:lnTo>
                        <a:pt x="413" y="395"/>
                      </a:lnTo>
                      <a:lnTo>
                        <a:pt x="397" y="402"/>
                      </a:lnTo>
                      <a:lnTo>
                        <a:pt x="397" y="402"/>
                      </a:lnTo>
                      <a:lnTo>
                        <a:pt x="397" y="402"/>
                      </a:lnTo>
                      <a:close/>
                      <a:moveTo>
                        <a:pt x="383" y="395"/>
                      </a:moveTo>
                      <a:lnTo>
                        <a:pt x="376" y="395"/>
                      </a:lnTo>
                      <a:lnTo>
                        <a:pt x="387" y="390"/>
                      </a:lnTo>
                      <a:lnTo>
                        <a:pt x="383" y="395"/>
                      </a:lnTo>
                      <a:lnTo>
                        <a:pt x="383" y="395"/>
                      </a:lnTo>
                      <a:lnTo>
                        <a:pt x="383" y="395"/>
                      </a:lnTo>
                      <a:close/>
                      <a:moveTo>
                        <a:pt x="506" y="402"/>
                      </a:moveTo>
                      <a:lnTo>
                        <a:pt x="494" y="390"/>
                      </a:lnTo>
                      <a:lnTo>
                        <a:pt x="510" y="395"/>
                      </a:lnTo>
                      <a:lnTo>
                        <a:pt x="506" y="402"/>
                      </a:lnTo>
                      <a:lnTo>
                        <a:pt x="506" y="402"/>
                      </a:lnTo>
                      <a:lnTo>
                        <a:pt x="506" y="402"/>
                      </a:lnTo>
                      <a:close/>
                      <a:moveTo>
                        <a:pt x="350" y="402"/>
                      </a:moveTo>
                      <a:lnTo>
                        <a:pt x="345" y="395"/>
                      </a:lnTo>
                      <a:lnTo>
                        <a:pt x="350" y="402"/>
                      </a:lnTo>
                      <a:lnTo>
                        <a:pt x="350" y="402"/>
                      </a:lnTo>
                      <a:lnTo>
                        <a:pt x="350" y="402"/>
                      </a:lnTo>
                      <a:lnTo>
                        <a:pt x="350" y="402"/>
                      </a:lnTo>
                      <a:close/>
                      <a:moveTo>
                        <a:pt x="376" y="402"/>
                      </a:moveTo>
                      <a:lnTo>
                        <a:pt x="366" y="395"/>
                      </a:lnTo>
                      <a:lnTo>
                        <a:pt x="376" y="395"/>
                      </a:lnTo>
                      <a:lnTo>
                        <a:pt x="376" y="402"/>
                      </a:lnTo>
                      <a:lnTo>
                        <a:pt x="376" y="402"/>
                      </a:lnTo>
                      <a:lnTo>
                        <a:pt x="376" y="402"/>
                      </a:lnTo>
                      <a:close/>
                      <a:moveTo>
                        <a:pt x="506" y="428"/>
                      </a:moveTo>
                      <a:lnTo>
                        <a:pt x="506" y="418"/>
                      </a:lnTo>
                      <a:lnTo>
                        <a:pt x="510" y="411"/>
                      </a:lnTo>
                      <a:lnTo>
                        <a:pt x="539" y="411"/>
                      </a:lnTo>
                      <a:lnTo>
                        <a:pt x="506" y="418"/>
                      </a:lnTo>
                      <a:lnTo>
                        <a:pt x="506" y="428"/>
                      </a:lnTo>
                      <a:lnTo>
                        <a:pt x="506" y="428"/>
                      </a:lnTo>
                      <a:lnTo>
                        <a:pt x="506" y="428"/>
                      </a:lnTo>
                      <a:close/>
                      <a:moveTo>
                        <a:pt x="430" y="418"/>
                      </a:moveTo>
                      <a:lnTo>
                        <a:pt x="421" y="411"/>
                      </a:lnTo>
                      <a:lnTo>
                        <a:pt x="435" y="411"/>
                      </a:lnTo>
                      <a:lnTo>
                        <a:pt x="430" y="418"/>
                      </a:lnTo>
                      <a:lnTo>
                        <a:pt x="430" y="418"/>
                      </a:lnTo>
                      <a:lnTo>
                        <a:pt x="430" y="418"/>
                      </a:lnTo>
                      <a:close/>
                      <a:moveTo>
                        <a:pt x="397" y="428"/>
                      </a:moveTo>
                      <a:lnTo>
                        <a:pt x="387" y="411"/>
                      </a:lnTo>
                      <a:lnTo>
                        <a:pt x="397" y="418"/>
                      </a:lnTo>
                      <a:lnTo>
                        <a:pt x="397" y="428"/>
                      </a:lnTo>
                      <a:lnTo>
                        <a:pt x="397" y="428"/>
                      </a:lnTo>
                      <a:lnTo>
                        <a:pt x="397" y="428"/>
                      </a:lnTo>
                      <a:close/>
                      <a:moveTo>
                        <a:pt x="324" y="428"/>
                      </a:moveTo>
                      <a:lnTo>
                        <a:pt x="324" y="418"/>
                      </a:lnTo>
                      <a:lnTo>
                        <a:pt x="333" y="418"/>
                      </a:lnTo>
                      <a:lnTo>
                        <a:pt x="333" y="428"/>
                      </a:lnTo>
                      <a:lnTo>
                        <a:pt x="324" y="428"/>
                      </a:lnTo>
                      <a:lnTo>
                        <a:pt x="324" y="428"/>
                      </a:lnTo>
                      <a:lnTo>
                        <a:pt x="324" y="428"/>
                      </a:lnTo>
                      <a:close/>
                      <a:moveTo>
                        <a:pt x="565" y="435"/>
                      </a:moveTo>
                      <a:lnTo>
                        <a:pt x="560" y="435"/>
                      </a:lnTo>
                      <a:lnTo>
                        <a:pt x="565" y="428"/>
                      </a:lnTo>
                      <a:lnTo>
                        <a:pt x="565" y="435"/>
                      </a:lnTo>
                      <a:lnTo>
                        <a:pt x="565" y="435"/>
                      </a:lnTo>
                      <a:lnTo>
                        <a:pt x="565" y="435"/>
                      </a:lnTo>
                      <a:close/>
                      <a:moveTo>
                        <a:pt x="473" y="435"/>
                      </a:moveTo>
                      <a:lnTo>
                        <a:pt x="458" y="435"/>
                      </a:lnTo>
                      <a:lnTo>
                        <a:pt x="458" y="435"/>
                      </a:lnTo>
                      <a:lnTo>
                        <a:pt x="468" y="428"/>
                      </a:lnTo>
                      <a:lnTo>
                        <a:pt x="473" y="435"/>
                      </a:lnTo>
                      <a:lnTo>
                        <a:pt x="473" y="435"/>
                      </a:lnTo>
                      <a:lnTo>
                        <a:pt x="473" y="435"/>
                      </a:lnTo>
                      <a:close/>
                      <a:moveTo>
                        <a:pt x="397" y="452"/>
                      </a:moveTo>
                      <a:lnTo>
                        <a:pt x="397" y="444"/>
                      </a:lnTo>
                      <a:lnTo>
                        <a:pt x="404" y="444"/>
                      </a:lnTo>
                      <a:lnTo>
                        <a:pt x="397" y="452"/>
                      </a:lnTo>
                      <a:lnTo>
                        <a:pt x="397" y="452"/>
                      </a:lnTo>
                      <a:lnTo>
                        <a:pt x="397" y="452"/>
                      </a:lnTo>
                      <a:close/>
                      <a:moveTo>
                        <a:pt x="539" y="452"/>
                      </a:moveTo>
                      <a:lnTo>
                        <a:pt x="527" y="444"/>
                      </a:lnTo>
                      <a:lnTo>
                        <a:pt x="543" y="444"/>
                      </a:lnTo>
                      <a:lnTo>
                        <a:pt x="539" y="452"/>
                      </a:lnTo>
                      <a:lnTo>
                        <a:pt x="539" y="452"/>
                      </a:lnTo>
                      <a:lnTo>
                        <a:pt x="539" y="452"/>
                      </a:lnTo>
                      <a:close/>
                      <a:moveTo>
                        <a:pt x="591" y="444"/>
                      </a:moveTo>
                      <a:lnTo>
                        <a:pt x="581" y="468"/>
                      </a:lnTo>
                      <a:lnTo>
                        <a:pt x="565" y="485"/>
                      </a:lnTo>
                      <a:lnTo>
                        <a:pt x="560" y="489"/>
                      </a:lnTo>
                      <a:lnTo>
                        <a:pt x="560" y="468"/>
                      </a:lnTo>
                      <a:lnTo>
                        <a:pt x="565" y="456"/>
                      </a:lnTo>
                      <a:lnTo>
                        <a:pt x="591" y="444"/>
                      </a:lnTo>
                      <a:lnTo>
                        <a:pt x="591" y="444"/>
                      </a:lnTo>
                      <a:lnTo>
                        <a:pt x="591" y="444"/>
                      </a:lnTo>
                      <a:close/>
                      <a:moveTo>
                        <a:pt x="421" y="452"/>
                      </a:moveTo>
                      <a:lnTo>
                        <a:pt x="421" y="444"/>
                      </a:lnTo>
                      <a:lnTo>
                        <a:pt x="430" y="452"/>
                      </a:lnTo>
                      <a:lnTo>
                        <a:pt x="421" y="452"/>
                      </a:lnTo>
                      <a:lnTo>
                        <a:pt x="421" y="452"/>
                      </a:lnTo>
                      <a:lnTo>
                        <a:pt x="421" y="452"/>
                      </a:lnTo>
                      <a:close/>
                      <a:moveTo>
                        <a:pt x="227" y="452"/>
                      </a:moveTo>
                      <a:lnTo>
                        <a:pt x="236" y="456"/>
                      </a:lnTo>
                      <a:lnTo>
                        <a:pt x="236" y="468"/>
                      </a:lnTo>
                      <a:lnTo>
                        <a:pt x="220" y="468"/>
                      </a:lnTo>
                      <a:lnTo>
                        <a:pt x="227" y="452"/>
                      </a:lnTo>
                      <a:lnTo>
                        <a:pt x="227" y="452"/>
                      </a:lnTo>
                      <a:lnTo>
                        <a:pt x="227" y="452"/>
                      </a:lnTo>
                      <a:close/>
                      <a:moveTo>
                        <a:pt x="522" y="529"/>
                      </a:moveTo>
                      <a:lnTo>
                        <a:pt x="510" y="513"/>
                      </a:lnTo>
                      <a:lnTo>
                        <a:pt x="527" y="489"/>
                      </a:lnTo>
                      <a:lnTo>
                        <a:pt x="522" y="529"/>
                      </a:lnTo>
                      <a:lnTo>
                        <a:pt x="522" y="529"/>
                      </a:lnTo>
                      <a:lnTo>
                        <a:pt x="522" y="529"/>
                      </a:lnTo>
                      <a:close/>
                      <a:moveTo>
                        <a:pt x="274" y="546"/>
                      </a:moveTo>
                      <a:lnTo>
                        <a:pt x="269" y="539"/>
                      </a:lnTo>
                      <a:lnTo>
                        <a:pt x="269" y="513"/>
                      </a:lnTo>
                      <a:lnTo>
                        <a:pt x="279" y="522"/>
                      </a:lnTo>
                      <a:lnTo>
                        <a:pt x="279" y="506"/>
                      </a:lnTo>
                      <a:lnTo>
                        <a:pt x="291" y="522"/>
                      </a:lnTo>
                      <a:lnTo>
                        <a:pt x="312" y="513"/>
                      </a:lnTo>
                      <a:lnTo>
                        <a:pt x="307" y="522"/>
                      </a:lnTo>
                      <a:lnTo>
                        <a:pt x="324" y="529"/>
                      </a:lnTo>
                      <a:lnTo>
                        <a:pt x="350" y="529"/>
                      </a:lnTo>
                      <a:lnTo>
                        <a:pt x="397" y="539"/>
                      </a:lnTo>
                      <a:lnTo>
                        <a:pt x="421" y="539"/>
                      </a:lnTo>
                      <a:lnTo>
                        <a:pt x="421" y="546"/>
                      </a:lnTo>
                      <a:lnTo>
                        <a:pt x="430" y="555"/>
                      </a:lnTo>
                      <a:lnTo>
                        <a:pt x="458" y="539"/>
                      </a:lnTo>
                      <a:lnTo>
                        <a:pt x="458" y="555"/>
                      </a:lnTo>
                      <a:lnTo>
                        <a:pt x="442" y="563"/>
                      </a:lnTo>
                      <a:lnTo>
                        <a:pt x="366" y="567"/>
                      </a:lnTo>
                      <a:lnTo>
                        <a:pt x="350" y="567"/>
                      </a:lnTo>
                      <a:lnTo>
                        <a:pt x="350" y="555"/>
                      </a:lnTo>
                      <a:lnTo>
                        <a:pt x="328" y="546"/>
                      </a:lnTo>
                      <a:lnTo>
                        <a:pt x="274" y="546"/>
                      </a:lnTo>
                      <a:lnTo>
                        <a:pt x="274" y="546"/>
                      </a:lnTo>
                      <a:lnTo>
                        <a:pt x="274" y="546"/>
                      </a:lnTo>
                      <a:close/>
                      <a:moveTo>
                        <a:pt x="494" y="529"/>
                      </a:moveTo>
                      <a:lnTo>
                        <a:pt x="506" y="529"/>
                      </a:lnTo>
                      <a:lnTo>
                        <a:pt x="510" y="522"/>
                      </a:lnTo>
                      <a:lnTo>
                        <a:pt x="494" y="529"/>
                      </a:lnTo>
                      <a:lnTo>
                        <a:pt x="494" y="529"/>
                      </a:lnTo>
                      <a:lnTo>
                        <a:pt x="494" y="52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30" name="Freeform 464">
                  <a:extLst>
                    <a:ext uri="{FF2B5EF4-FFF2-40B4-BE49-F238E27FC236}">
                      <a16:creationId xmlns:a16="http://schemas.microsoft.com/office/drawing/2014/main" id="{1622589E-9554-4554-92A9-4E37217730CA}"/>
                    </a:ext>
                  </a:extLst>
                </p:cNvPr>
                <p:cNvSpPr>
                  <a:spLocks noEditPoints="1"/>
                </p:cNvSpPr>
                <p:nvPr/>
              </p:nvSpPr>
              <p:spPr bwMode="gray">
                <a:xfrm>
                  <a:off x="7115264" y="2574650"/>
                  <a:ext cx="174136" cy="149864"/>
                </a:xfrm>
                <a:custGeom>
                  <a:avLst/>
                  <a:gdLst>
                    <a:gd name="T0" fmla="*/ 82 w 423"/>
                    <a:gd name="T1" fmla="*/ 83 h 364"/>
                    <a:gd name="T2" fmla="*/ 125 w 423"/>
                    <a:gd name="T3" fmla="*/ 95 h 364"/>
                    <a:gd name="T4" fmla="*/ 125 w 423"/>
                    <a:gd name="T5" fmla="*/ 71 h 364"/>
                    <a:gd name="T6" fmla="*/ 151 w 423"/>
                    <a:gd name="T7" fmla="*/ 38 h 364"/>
                    <a:gd name="T8" fmla="*/ 196 w 423"/>
                    <a:gd name="T9" fmla="*/ 0 h 364"/>
                    <a:gd name="T10" fmla="*/ 264 w 423"/>
                    <a:gd name="T11" fmla="*/ 54 h 364"/>
                    <a:gd name="T12" fmla="*/ 340 w 423"/>
                    <a:gd name="T13" fmla="*/ 71 h 364"/>
                    <a:gd name="T14" fmla="*/ 378 w 423"/>
                    <a:gd name="T15" fmla="*/ 88 h 364"/>
                    <a:gd name="T16" fmla="*/ 389 w 423"/>
                    <a:gd name="T17" fmla="*/ 104 h 364"/>
                    <a:gd name="T18" fmla="*/ 389 w 423"/>
                    <a:gd name="T19" fmla="*/ 149 h 364"/>
                    <a:gd name="T20" fmla="*/ 356 w 423"/>
                    <a:gd name="T21" fmla="*/ 137 h 364"/>
                    <a:gd name="T22" fmla="*/ 260 w 423"/>
                    <a:gd name="T23" fmla="*/ 128 h 364"/>
                    <a:gd name="T24" fmla="*/ 212 w 423"/>
                    <a:gd name="T25" fmla="*/ 121 h 364"/>
                    <a:gd name="T26" fmla="*/ 163 w 423"/>
                    <a:gd name="T27" fmla="*/ 128 h 364"/>
                    <a:gd name="T28" fmla="*/ 189 w 423"/>
                    <a:gd name="T29" fmla="*/ 199 h 364"/>
                    <a:gd name="T30" fmla="*/ 243 w 423"/>
                    <a:gd name="T31" fmla="*/ 260 h 364"/>
                    <a:gd name="T32" fmla="*/ 286 w 423"/>
                    <a:gd name="T33" fmla="*/ 310 h 364"/>
                    <a:gd name="T34" fmla="*/ 243 w 423"/>
                    <a:gd name="T35" fmla="*/ 276 h 364"/>
                    <a:gd name="T36" fmla="*/ 175 w 423"/>
                    <a:gd name="T37" fmla="*/ 253 h 364"/>
                    <a:gd name="T38" fmla="*/ 108 w 423"/>
                    <a:gd name="T39" fmla="*/ 203 h 364"/>
                    <a:gd name="T40" fmla="*/ 141 w 423"/>
                    <a:gd name="T41" fmla="*/ 203 h 364"/>
                    <a:gd name="T42" fmla="*/ 104 w 423"/>
                    <a:gd name="T43" fmla="*/ 144 h 364"/>
                    <a:gd name="T44" fmla="*/ 54 w 423"/>
                    <a:gd name="T45" fmla="*/ 111 h 364"/>
                    <a:gd name="T46" fmla="*/ 12 w 423"/>
                    <a:gd name="T47" fmla="*/ 128 h 364"/>
                    <a:gd name="T48" fmla="*/ 12 w 423"/>
                    <a:gd name="T49" fmla="*/ 95 h 364"/>
                    <a:gd name="T50" fmla="*/ 66 w 423"/>
                    <a:gd name="T51" fmla="*/ 137 h 364"/>
                    <a:gd name="T52" fmla="*/ 87 w 423"/>
                    <a:gd name="T53" fmla="*/ 144 h 364"/>
                    <a:gd name="T54" fmla="*/ 71 w 423"/>
                    <a:gd name="T55" fmla="*/ 177 h 364"/>
                    <a:gd name="T56" fmla="*/ 54 w 423"/>
                    <a:gd name="T57" fmla="*/ 128 h 364"/>
                    <a:gd name="T58" fmla="*/ 71 w 423"/>
                    <a:gd name="T59" fmla="*/ 177 h 364"/>
                    <a:gd name="T60" fmla="*/ 87 w 423"/>
                    <a:gd name="T61" fmla="*/ 165 h 364"/>
                    <a:gd name="T62" fmla="*/ 87 w 423"/>
                    <a:gd name="T63" fmla="*/ 165 h 364"/>
                    <a:gd name="T64" fmla="*/ 120 w 423"/>
                    <a:gd name="T65" fmla="*/ 236 h 364"/>
                    <a:gd name="T66" fmla="*/ 120 w 423"/>
                    <a:gd name="T67" fmla="*/ 236 h 364"/>
                    <a:gd name="T68" fmla="*/ 226 w 423"/>
                    <a:gd name="T69" fmla="*/ 293 h 364"/>
                    <a:gd name="T70" fmla="*/ 243 w 423"/>
                    <a:gd name="T71" fmla="*/ 288 h 364"/>
                    <a:gd name="T72" fmla="*/ 226 w 423"/>
                    <a:gd name="T73" fmla="*/ 293 h 364"/>
                    <a:gd name="T74" fmla="*/ 260 w 423"/>
                    <a:gd name="T75" fmla="*/ 305 h 364"/>
                    <a:gd name="T76" fmla="*/ 248 w 423"/>
                    <a:gd name="T77" fmla="*/ 310 h 364"/>
                    <a:gd name="T78" fmla="*/ 196 w 423"/>
                    <a:gd name="T79" fmla="*/ 310 h 364"/>
                    <a:gd name="T80" fmla="*/ 179 w 423"/>
                    <a:gd name="T81" fmla="*/ 314 h 364"/>
                    <a:gd name="T82" fmla="*/ 352 w 423"/>
                    <a:gd name="T83" fmla="*/ 359 h 364"/>
                    <a:gd name="T84" fmla="*/ 314 w 423"/>
                    <a:gd name="T85" fmla="*/ 331 h 364"/>
                    <a:gd name="T86" fmla="*/ 286 w 423"/>
                    <a:gd name="T87" fmla="*/ 326 h 364"/>
                    <a:gd name="T88" fmla="*/ 217 w 423"/>
                    <a:gd name="T89" fmla="*/ 314 h 364"/>
                    <a:gd name="T90" fmla="*/ 234 w 423"/>
                    <a:gd name="T91" fmla="*/ 326 h 364"/>
                    <a:gd name="T92" fmla="*/ 234 w 423"/>
                    <a:gd name="T93" fmla="*/ 331 h 364"/>
                    <a:gd name="T94" fmla="*/ 243 w 423"/>
                    <a:gd name="T95" fmla="*/ 343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3" h="364">
                      <a:moveTo>
                        <a:pt x="12" y="95"/>
                      </a:moveTo>
                      <a:lnTo>
                        <a:pt x="66" y="95"/>
                      </a:lnTo>
                      <a:lnTo>
                        <a:pt x="82" y="83"/>
                      </a:lnTo>
                      <a:lnTo>
                        <a:pt x="99" y="95"/>
                      </a:lnTo>
                      <a:lnTo>
                        <a:pt x="120" y="104"/>
                      </a:lnTo>
                      <a:lnTo>
                        <a:pt x="125" y="95"/>
                      </a:lnTo>
                      <a:lnTo>
                        <a:pt x="137" y="83"/>
                      </a:lnTo>
                      <a:lnTo>
                        <a:pt x="125" y="83"/>
                      </a:lnTo>
                      <a:lnTo>
                        <a:pt x="125" y="71"/>
                      </a:lnTo>
                      <a:lnTo>
                        <a:pt x="158" y="66"/>
                      </a:lnTo>
                      <a:lnTo>
                        <a:pt x="158" y="50"/>
                      </a:lnTo>
                      <a:lnTo>
                        <a:pt x="151" y="38"/>
                      </a:lnTo>
                      <a:lnTo>
                        <a:pt x="151" y="33"/>
                      </a:lnTo>
                      <a:lnTo>
                        <a:pt x="196" y="17"/>
                      </a:lnTo>
                      <a:lnTo>
                        <a:pt x="196" y="0"/>
                      </a:lnTo>
                      <a:lnTo>
                        <a:pt x="217" y="12"/>
                      </a:lnTo>
                      <a:lnTo>
                        <a:pt x="260" y="33"/>
                      </a:lnTo>
                      <a:lnTo>
                        <a:pt x="264" y="54"/>
                      </a:lnTo>
                      <a:lnTo>
                        <a:pt x="286" y="54"/>
                      </a:lnTo>
                      <a:lnTo>
                        <a:pt x="297" y="66"/>
                      </a:lnTo>
                      <a:lnTo>
                        <a:pt x="340" y="71"/>
                      </a:lnTo>
                      <a:lnTo>
                        <a:pt x="373" y="54"/>
                      </a:lnTo>
                      <a:lnTo>
                        <a:pt x="378" y="71"/>
                      </a:lnTo>
                      <a:lnTo>
                        <a:pt x="378" y="88"/>
                      </a:lnTo>
                      <a:lnTo>
                        <a:pt x="394" y="95"/>
                      </a:lnTo>
                      <a:lnTo>
                        <a:pt x="389" y="95"/>
                      </a:lnTo>
                      <a:lnTo>
                        <a:pt x="389" y="104"/>
                      </a:lnTo>
                      <a:lnTo>
                        <a:pt x="423" y="121"/>
                      </a:lnTo>
                      <a:lnTo>
                        <a:pt x="394" y="121"/>
                      </a:lnTo>
                      <a:lnTo>
                        <a:pt x="389" y="149"/>
                      </a:lnTo>
                      <a:lnTo>
                        <a:pt x="373" y="149"/>
                      </a:lnTo>
                      <a:lnTo>
                        <a:pt x="373" y="144"/>
                      </a:lnTo>
                      <a:lnTo>
                        <a:pt x="356" y="137"/>
                      </a:lnTo>
                      <a:lnTo>
                        <a:pt x="335" y="128"/>
                      </a:lnTo>
                      <a:lnTo>
                        <a:pt x="302" y="137"/>
                      </a:lnTo>
                      <a:lnTo>
                        <a:pt x="260" y="128"/>
                      </a:lnTo>
                      <a:lnTo>
                        <a:pt x="243" y="121"/>
                      </a:lnTo>
                      <a:lnTo>
                        <a:pt x="234" y="121"/>
                      </a:lnTo>
                      <a:lnTo>
                        <a:pt x="212" y="121"/>
                      </a:lnTo>
                      <a:lnTo>
                        <a:pt x="196" y="144"/>
                      </a:lnTo>
                      <a:lnTo>
                        <a:pt x="179" y="121"/>
                      </a:lnTo>
                      <a:lnTo>
                        <a:pt x="163" y="128"/>
                      </a:lnTo>
                      <a:lnTo>
                        <a:pt x="158" y="161"/>
                      </a:lnTo>
                      <a:lnTo>
                        <a:pt x="189" y="182"/>
                      </a:lnTo>
                      <a:lnTo>
                        <a:pt x="189" y="199"/>
                      </a:lnTo>
                      <a:lnTo>
                        <a:pt x="189" y="215"/>
                      </a:lnTo>
                      <a:lnTo>
                        <a:pt x="212" y="232"/>
                      </a:lnTo>
                      <a:lnTo>
                        <a:pt x="243" y="260"/>
                      </a:lnTo>
                      <a:lnTo>
                        <a:pt x="264" y="276"/>
                      </a:lnTo>
                      <a:lnTo>
                        <a:pt x="264" y="293"/>
                      </a:lnTo>
                      <a:lnTo>
                        <a:pt x="286" y="310"/>
                      </a:lnTo>
                      <a:lnTo>
                        <a:pt x="297" y="314"/>
                      </a:lnTo>
                      <a:lnTo>
                        <a:pt x="286" y="314"/>
                      </a:lnTo>
                      <a:lnTo>
                        <a:pt x="243" y="276"/>
                      </a:lnTo>
                      <a:lnTo>
                        <a:pt x="205" y="272"/>
                      </a:lnTo>
                      <a:lnTo>
                        <a:pt x="175" y="272"/>
                      </a:lnTo>
                      <a:lnTo>
                        <a:pt x="175" y="253"/>
                      </a:lnTo>
                      <a:lnTo>
                        <a:pt x="137" y="236"/>
                      </a:lnTo>
                      <a:lnTo>
                        <a:pt x="120" y="215"/>
                      </a:lnTo>
                      <a:lnTo>
                        <a:pt x="108" y="203"/>
                      </a:lnTo>
                      <a:lnTo>
                        <a:pt x="125" y="203"/>
                      </a:lnTo>
                      <a:lnTo>
                        <a:pt x="125" y="199"/>
                      </a:lnTo>
                      <a:lnTo>
                        <a:pt x="141" y="203"/>
                      </a:lnTo>
                      <a:lnTo>
                        <a:pt x="104" y="177"/>
                      </a:lnTo>
                      <a:lnTo>
                        <a:pt x="99" y="165"/>
                      </a:lnTo>
                      <a:lnTo>
                        <a:pt x="104" y="144"/>
                      </a:lnTo>
                      <a:lnTo>
                        <a:pt x="99" y="128"/>
                      </a:lnTo>
                      <a:lnTo>
                        <a:pt x="71" y="111"/>
                      </a:lnTo>
                      <a:lnTo>
                        <a:pt x="54" y="111"/>
                      </a:lnTo>
                      <a:lnTo>
                        <a:pt x="49" y="144"/>
                      </a:lnTo>
                      <a:lnTo>
                        <a:pt x="28" y="161"/>
                      </a:lnTo>
                      <a:lnTo>
                        <a:pt x="12" y="128"/>
                      </a:lnTo>
                      <a:lnTo>
                        <a:pt x="0" y="95"/>
                      </a:lnTo>
                      <a:lnTo>
                        <a:pt x="12" y="95"/>
                      </a:lnTo>
                      <a:lnTo>
                        <a:pt x="12" y="95"/>
                      </a:lnTo>
                      <a:lnTo>
                        <a:pt x="12" y="95"/>
                      </a:lnTo>
                      <a:close/>
                      <a:moveTo>
                        <a:pt x="87" y="144"/>
                      </a:moveTo>
                      <a:lnTo>
                        <a:pt x="66" y="137"/>
                      </a:lnTo>
                      <a:lnTo>
                        <a:pt x="71" y="121"/>
                      </a:lnTo>
                      <a:lnTo>
                        <a:pt x="99" y="144"/>
                      </a:lnTo>
                      <a:lnTo>
                        <a:pt x="87" y="144"/>
                      </a:lnTo>
                      <a:lnTo>
                        <a:pt x="87" y="144"/>
                      </a:lnTo>
                      <a:lnTo>
                        <a:pt x="87" y="144"/>
                      </a:lnTo>
                      <a:close/>
                      <a:moveTo>
                        <a:pt x="71" y="177"/>
                      </a:moveTo>
                      <a:lnTo>
                        <a:pt x="54" y="149"/>
                      </a:lnTo>
                      <a:lnTo>
                        <a:pt x="66" y="149"/>
                      </a:lnTo>
                      <a:lnTo>
                        <a:pt x="54" y="128"/>
                      </a:lnTo>
                      <a:lnTo>
                        <a:pt x="54" y="128"/>
                      </a:lnTo>
                      <a:lnTo>
                        <a:pt x="71" y="144"/>
                      </a:lnTo>
                      <a:lnTo>
                        <a:pt x="71" y="177"/>
                      </a:lnTo>
                      <a:lnTo>
                        <a:pt x="71" y="177"/>
                      </a:lnTo>
                      <a:lnTo>
                        <a:pt x="71" y="177"/>
                      </a:lnTo>
                      <a:close/>
                      <a:moveTo>
                        <a:pt x="87" y="165"/>
                      </a:moveTo>
                      <a:lnTo>
                        <a:pt x="125" y="199"/>
                      </a:lnTo>
                      <a:lnTo>
                        <a:pt x="108" y="199"/>
                      </a:lnTo>
                      <a:lnTo>
                        <a:pt x="87" y="165"/>
                      </a:lnTo>
                      <a:lnTo>
                        <a:pt x="87" y="165"/>
                      </a:lnTo>
                      <a:lnTo>
                        <a:pt x="87" y="165"/>
                      </a:lnTo>
                      <a:close/>
                      <a:moveTo>
                        <a:pt x="120" y="236"/>
                      </a:moveTo>
                      <a:lnTo>
                        <a:pt x="99" y="215"/>
                      </a:lnTo>
                      <a:lnTo>
                        <a:pt x="108" y="220"/>
                      </a:lnTo>
                      <a:lnTo>
                        <a:pt x="120" y="236"/>
                      </a:lnTo>
                      <a:lnTo>
                        <a:pt x="120" y="236"/>
                      </a:lnTo>
                      <a:lnTo>
                        <a:pt x="120" y="236"/>
                      </a:lnTo>
                      <a:close/>
                      <a:moveTo>
                        <a:pt x="226" y="293"/>
                      </a:moveTo>
                      <a:lnTo>
                        <a:pt x="205" y="288"/>
                      </a:lnTo>
                      <a:lnTo>
                        <a:pt x="205" y="288"/>
                      </a:lnTo>
                      <a:lnTo>
                        <a:pt x="243" y="288"/>
                      </a:lnTo>
                      <a:lnTo>
                        <a:pt x="226" y="293"/>
                      </a:lnTo>
                      <a:lnTo>
                        <a:pt x="226" y="293"/>
                      </a:lnTo>
                      <a:lnTo>
                        <a:pt x="226" y="293"/>
                      </a:lnTo>
                      <a:close/>
                      <a:moveTo>
                        <a:pt x="248" y="310"/>
                      </a:moveTo>
                      <a:lnTo>
                        <a:pt x="205" y="305"/>
                      </a:lnTo>
                      <a:lnTo>
                        <a:pt x="260" y="305"/>
                      </a:lnTo>
                      <a:lnTo>
                        <a:pt x="248" y="310"/>
                      </a:lnTo>
                      <a:lnTo>
                        <a:pt x="248" y="310"/>
                      </a:lnTo>
                      <a:lnTo>
                        <a:pt x="248" y="310"/>
                      </a:lnTo>
                      <a:close/>
                      <a:moveTo>
                        <a:pt x="179" y="314"/>
                      </a:moveTo>
                      <a:lnTo>
                        <a:pt x="179" y="310"/>
                      </a:lnTo>
                      <a:lnTo>
                        <a:pt x="196" y="310"/>
                      </a:lnTo>
                      <a:lnTo>
                        <a:pt x="179" y="314"/>
                      </a:lnTo>
                      <a:lnTo>
                        <a:pt x="179" y="314"/>
                      </a:lnTo>
                      <a:lnTo>
                        <a:pt x="179" y="314"/>
                      </a:lnTo>
                      <a:close/>
                      <a:moveTo>
                        <a:pt x="286" y="326"/>
                      </a:moveTo>
                      <a:lnTo>
                        <a:pt x="302" y="326"/>
                      </a:lnTo>
                      <a:lnTo>
                        <a:pt x="352" y="359"/>
                      </a:lnTo>
                      <a:lnTo>
                        <a:pt x="352" y="364"/>
                      </a:lnTo>
                      <a:lnTo>
                        <a:pt x="352" y="364"/>
                      </a:lnTo>
                      <a:lnTo>
                        <a:pt x="314" y="331"/>
                      </a:lnTo>
                      <a:lnTo>
                        <a:pt x="248" y="310"/>
                      </a:lnTo>
                      <a:lnTo>
                        <a:pt x="286" y="326"/>
                      </a:lnTo>
                      <a:lnTo>
                        <a:pt x="286" y="326"/>
                      </a:lnTo>
                      <a:lnTo>
                        <a:pt x="286" y="326"/>
                      </a:lnTo>
                      <a:close/>
                      <a:moveTo>
                        <a:pt x="234" y="326"/>
                      </a:moveTo>
                      <a:lnTo>
                        <a:pt x="217" y="314"/>
                      </a:lnTo>
                      <a:lnTo>
                        <a:pt x="260" y="326"/>
                      </a:lnTo>
                      <a:lnTo>
                        <a:pt x="234" y="326"/>
                      </a:lnTo>
                      <a:lnTo>
                        <a:pt x="234" y="326"/>
                      </a:lnTo>
                      <a:lnTo>
                        <a:pt x="234" y="326"/>
                      </a:lnTo>
                      <a:close/>
                      <a:moveTo>
                        <a:pt x="243" y="343"/>
                      </a:moveTo>
                      <a:lnTo>
                        <a:pt x="234" y="331"/>
                      </a:lnTo>
                      <a:lnTo>
                        <a:pt x="243" y="331"/>
                      </a:lnTo>
                      <a:lnTo>
                        <a:pt x="243" y="343"/>
                      </a:lnTo>
                      <a:lnTo>
                        <a:pt x="243" y="343"/>
                      </a:lnTo>
                      <a:lnTo>
                        <a:pt x="243" y="34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31" name="Freeform 465">
                  <a:extLst>
                    <a:ext uri="{FF2B5EF4-FFF2-40B4-BE49-F238E27FC236}">
                      <a16:creationId xmlns:a16="http://schemas.microsoft.com/office/drawing/2014/main" id="{C23965DE-1A54-45C1-A1F4-6396232CDAD4}"/>
                    </a:ext>
                  </a:extLst>
                </p:cNvPr>
                <p:cNvSpPr>
                  <a:spLocks/>
                </p:cNvSpPr>
                <p:nvPr/>
              </p:nvSpPr>
              <p:spPr bwMode="gray">
                <a:xfrm>
                  <a:off x="7188130" y="2498894"/>
                  <a:ext cx="197190" cy="105811"/>
                </a:xfrm>
                <a:custGeom>
                  <a:avLst/>
                  <a:gdLst>
                    <a:gd name="T0" fmla="*/ 298 w 479"/>
                    <a:gd name="T1" fmla="*/ 224 h 257"/>
                    <a:gd name="T2" fmla="*/ 248 w 479"/>
                    <a:gd name="T3" fmla="*/ 217 h 257"/>
                    <a:gd name="T4" fmla="*/ 227 w 479"/>
                    <a:gd name="T5" fmla="*/ 234 h 257"/>
                    <a:gd name="T6" fmla="*/ 215 w 479"/>
                    <a:gd name="T7" fmla="*/ 234 h 257"/>
                    <a:gd name="T8" fmla="*/ 194 w 479"/>
                    <a:gd name="T9" fmla="*/ 241 h 257"/>
                    <a:gd name="T10" fmla="*/ 163 w 479"/>
                    <a:gd name="T11" fmla="*/ 257 h 257"/>
                    <a:gd name="T12" fmla="*/ 118 w 479"/>
                    <a:gd name="T13" fmla="*/ 250 h 257"/>
                    <a:gd name="T14" fmla="*/ 109 w 479"/>
                    <a:gd name="T15" fmla="*/ 241 h 257"/>
                    <a:gd name="T16" fmla="*/ 87 w 479"/>
                    <a:gd name="T17" fmla="*/ 241 h 257"/>
                    <a:gd name="T18" fmla="*/ 80 w 479"/>
                    <a:gd name="T19" fmla="*/ 217 h 257"/>
                    <a:gd name="T20" fmla="*/ 38 w 479"/>
                    <a:gd name="T21" fmla="*/ 196 h 257"/>
                    <a:gd name="T22" fmla="*/ 16 w 479"/>
                    <a:gd name="T23" fmla="*/ 168 h 257"/>
                    <a:gd name="T24" fmla="*/ 26 w 479"/>
                    <a:gd name="T25" fmla="*/ 160 h 257"/>
                    <a:gd name="T26" fmla="*/ 0 w 479"/>
                    <a:gd name="T27" fmla="*/ 156 h 257"/>
                    <a:gd name="T28" fmla="*/ 16 w 479"/>
                    <a:gd name="T29" fmla="*/ 144 h 257"/>
                    <a:gd name="T30" fmla="*/ 33 w 479"/>
                    <a:gd name="T31" fmla="*/ 144 h 257"/>
                    <a:gd name="T32" fmla="*/ 26 w 479"/>
                    <a:gd name="T33" fmla="*/ 123 h 257"/>
                    <a:gd name="T34" fmla="*/ 33 w 479"/>
                    <a:gd name="T35" fmla="*/ 123 h 257"/>
                    <a:gd name="T36" fmla="*/ 33 w 479"/>
                    <a:gd name="T37" fmla="*/ 106 h 257"/>
                    <a:gd name="T38" fmla="*/ 49 w 479"/>
                    <a:gd name="T39" fmla="*/ 99 h 257"/>
                    <a:gd name="T40" fmla="*/ 33 w 479"/>
                    <a:gd name="T41" fmla="*/ 83 h 257"/>
                    <a:gd name="T42" fmla="*/ 38 w 479"/>
                    <a:gd name="T43" fmla="*/ 73 h 257"/>
                    <a:gd name="T44" fmla="*/ 49 w 479"/>
                    <a:gd name="T45" fmla="*/ 83 h 257"/>
                    <a:gd name="T46" fmla="*/ 71 w 479"/>
                    <a:gd name="T47" fmla="*/ 83 h 257"/>
                    <a:gd name="T48" fmla="*/ 80 w 479"/>
                    <a:gd name="T49" fmla="*/ 49 h 257"/>
                    <a:gd name="T50" fmla="*/ 92 w 479"/>
                    <a:gd name="T51" fmla="*/ 49 h 257"/>
                    <a:gd name="T52" fmla="*/ 125 w 479"/>
                    <a:gd name="T53" fmla="*/ 73 h 257"/>
                    <a:gd name="T54" fmla="*/ 156 w 479"/>
                    <a:gd name="T55" fmla="*/ 73 h 257"/>
                    <a:gd name="T56" fmla="*/ 194 w 479"/>
                    <a:gd name="T57" fmla="*/ 66 h 257"/>
                    <a:gd name="T58" fmla="*/ 194 w 479"/>
                    <a:gd name="T59" fmla="*/ 54 h 257"/>
                    <a:gd name="T60" fmla="*/ 210 w 479"/>
                    <a:gd name="T61" fmla="*/ 49 h 257"/>
                    <a:gd name="T62" fmla="*/ 243 w 479"/>
                    <a:gd name="T63" fmla="*/ 45 h 257"/>
                    <a:gd name="T64" fmla="*/ 248 w 479"/>
                    <a:gd name="T65" fmla="*/ 33 h 257"/>
                    <a:gd name="T66" fmla="*/ 269 w 479"/>
                    <a:gd name="T67" fmla="*/ 45 h 257"/>
                    <a:gd name="T68" fmla="*/ 302 w 479"/>
                    <a:gd name="T69" fmla="*/ 28 h 257"/>
                    <a:gd name="T70" fmla="*/ 319 w 479"/>
                    <a:gd name="T71" fmla="*/ 0 h 257"/>
                    <a:gd name="T72" fmla="*/ 323 w 479"/>
                    <a:gd name="T73" fmla="*/ 0 h 257"/>
                    <a:gd name="T74" fmla="*/ 357 w 479"/>
                    <a:gd name="T75" fmla="*/ 0 h 257"/>
                    <a:gd name="T76" fmla="*/ 378 w 479"/>
                    <a:gd name="T77" fmla="*/ 0 h 257"/>
                    <a:gd name="T78" fmla="*/ 404 w 479"/>
                    <a:gd name="T79" fmla="*/ 16 h 257"/>
                    <a:gd name="T80" fmla="*/ 427 w 479"/>
                    <a:gd name="T81" fmla="*/ 16 h 257"/>
                    <a:gd name="T82" fmla="*/ 432 w 479"/>
                    <a:gd name="T83" fmla="*/ 16 h 257"/>
                    <a:gd name="T84" fmla="*/ 465 w 479"/>
                    <a:gd name="T85" fmla="*/ 45 h 257"/>
                    <a:gd name="T86" fmla="*/ 475 w 479"/>
                    <a:gd name="T87" fmla="*/ 45 h 257"/>
                    <a:gd name="T88" fmla="*/ 479 w 479"/>
                    <a:gd name="T89" fmla="*/ 54 h 257"/>
                    <a:gd name="T90" fmla="*/ 465 w 479"/>
                    <a:gd name="T91" fmla="*/ 73 h 257"/>
                    <a:gd name="T92" fmla="*/ 442 w 479"/>
                    <a:gd name="T93" fmla="*/ 83 h 257"/>
                    <a:gd name="T94" fmla="*/ 420 w 479"/>
                    <a:gd name="T95" fmla="*/ 99 h 257"/>
                    <a:gd name="T96" fmla="*/ 420 w 479"/>
                    <a:gd name="T97" fmla="*/ 111 h 257"/>
                    <a:gd name="T98" fmla="*/ 394 w 479"/>
                    <a:gd name="T99" fmla="*/ 144 h 257"/>
                    <a:gd name="T100" fmla="*/ 390 w 479"/>
                    <a:gd name="T101" fmla="*/ 168 h 257"/>
                    <a:gd name="T102" fmla="*/ 373 w 479"/>
                    <a:gd name="T103" fmla="*/ 179 h 257"/>
                    <a:gd name="T104" fmla="*/ 366 w 479"/>
                    <a:gd name="T105" fmla="*/ 212 h 257"/>
                    <a:gd name="T106" fmla="*/ 335 w 479"/>
                    <a:gd name="T107" fmla="*/ 212 h 257"/>
                    <a:gd name="T108" fmla="*/ 323 w 479"/>
                    <a:gd name="T109" fmla="*/ 224 h 257"/>
                    <a:gd name="T110" fmla="*/ 314 w 479"/>
                    <a:gd name="T111" fmla="*/ 217 h 257"/>
                    <a:gd name="T112" fmla="*/ 298 w 479"/>
                    <a:gd name="T113" fmla="*/ 224 h 257"/>
                    <a:gd name="T114" fmla="*/ 298 w 479"/>
                    <a:gd name="T115" fmla="*/ 224 h 257"/>
                    <a:gd name="T116" fmla="*/ 298 w 479"/>
                    <a:gd name="T117" fmla="*/ 224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9" h="257">
                      <a:moveTo>
                        <a:pt x="298" y="224"/>
                      </a:moveTo>
                      <a:lnTo>
                        <a:pt x="248" y="217"/>
                      </a:lnTo>
                      <a:lnTo>
                        <a:pt x="227" y="234"/>
                      </a:lnTo>
                      <a:lnTo>
                        <a:pt x="215" y="234"/>
                      </a:lnTo>
                      <a:lnTo>
                        <a:pt x="194" y="241"/>
                      </a:lnTo>
                      <a:lnTo>
                        <a:pt x="163" y="257"/>
                      </a:lnTo>
                      <a:lnTo>
                        <a:pt x="118" y="250"/>
                      </a:lnTo>
                      <a:lnTo>
                        <a:pt x="109" y="241"/>
                      </a:lnTo>
                      <a:lnTo>
                        <a:pt x="87" y="241"/>
                      </a:lnTo>
                      <a:lnTo>
                        <a:pt x="80" y="217"/>
                      </a:lnTo>
                      <a:lnTo>
                        <a:pt x="38" y="196"/>
                      </a:lnTo>
                      <a:lnTo>
                        <a:pt x="16" y="168"/>
                      </a:lnTo>
                      <a:lnTo>
                        <a:pt x="26" y="160"/>
                      </a:lnTo>
                      <a:lnTo>
                        <a:pt x="0" y="156"/>
                      </a:lnTo>
                      <a:lnTo>
                        <a:pt x="16" y="144"/>
                      </a:lnTo>
                      <a:lnTo>
                        <a:pt x="33" y="144"/>
                      </a:lnTo>
                      <a:lnTo>
                        <a:pt x="26" y="123"/>
                      </a:lnTo>
                      <a:lnTo>
                        <a:pt x="33" y="123"/>
                      </a:lnTo>
                      <a:lnTo>
                        <a:pt x="33" y="106"/>
                      </a:lnTo>
                      <a:lnTo>
                        <a:pt x="49" y="99"/>
                      </a:lnTo>
                      <a:lnTo>
                        <a:pt x="33" y="83"/>
                      </a:lnTo>
                      <a:lnTo>
                        <a:pt x="38" y="73"/>
                      </a:lnTo>
                      <a:lnTo>
                        <a:pt x="49" y="83"/>
                      </a:lnTo>
                      <a:lnTo>
                        <a:pt x="71" y="83"/>
                      </a:lnTo>
                      <a:lnTo>
                        <a:pt x="80" y="49"/>
                      </a:lnTo>
                      <a:lnTo>
                        <a:pt x="92" y="49"/>
                      </a:lnTo>
                      <a:lnTo>
                        <a:pt x="125" y="73"/>
                      </a:lnTo>
                      <a:lnTo>
                        <a:pt x="156" y="73"/>
                      </a:lnTo>
                      <a:lnTo>
                        <a:pt x="194" y="66"/>
                      </a:lnTo>
                      <a:lnTo>
                        <a:pt x="194" y="54"/>
                      </a:lnTo>
                      <a:lnTo>
                        <a:pt x="210" y="49"/>
                      </a:lnTo>
                      <a:lnTo>
                        <a:pt x="243" y="45"/>
                      </a:lnTo>
                      <a:lnTo>
                        <a:pt x="248" y="33"/>
                      </a:lnTo>
                      <a:lnTo>
                        <a:pt x="269" y="45"/>
                      </a:lnTo>
                      <a:lnTo>
                        <a:pt x="302" y="28"/>
                      </a:lnTo>
                      <a:lnTo>
                        <a:pt x="319" y="0"/>
                      </a:lnTo>
                      <a:lnTo>
                        <a:pt x="323" y="0"/>
                      </a:lnTo>
                      <a:lnTo>
                        <a:pt x="357" y="0"/>
                      </a:lnTo>
                      <a:lnTo>
                        <a:pt x="378" y="0"/>
                      </a:lnTo>
                      <a:lnTo>
                        <a:pt x="404" y="16"/>
                      </a:lnTo>
                      <a:lnTo>
                        <a:pt x="427" y="16"/>
                      </a:lnTo>
                      <a:lnTo>
                        <a:pt x="432" y="16"/>
                      </a:lnTo>
                      <a:lnTo>
                        <a:pt x="465" y="45"/>
                      </a:lnTo>
                      <a:lnTo>
                        <a:pt x="475" y="45"/>
                      </a:lnTo>
                      <a:lnTo>
                        <a:pt x="479" y="54"/>
                      </a:lnTo>
                      <a:lnTo>
                        <a:pt x="465" y="73"/>
                      </a:lnTo>
                      <a:lnTo>
                        <a:pt x="442" y="83"/>
                      </a:lnTo>
                      <a:lnTo>
                        <a:pt x="420" y="99"/>
                      </a:lnTo>
                      <a:lnTo>
                        <a:pt x="420" y="111"/>
                      </a:lnTo>
                      <a:lnTo>
                        <a:pt x="394" y="144"/>
                      </a:lnTo>
                      <a:lnTo>
                        <a:pt x="390" y="168"/>
                      </a:lnTo>
                      <a:lnTo>
                        <a:pt x="373" y="179"/>
                      </a:lnTo>
                      <a:lnTo>
                        <a:pt x="366" y="212"/>
                      </a:lnTo>
                      <a:lnTo>
                        <a:pt x="335" y="212"/>
                      </a:lnTo>
                      <a:lnTo>
                        <a:pt x="323" y="224"/>
                      </a:lnTo>
                      <a:lnTo>
                        <a:pt x="314" y="217"/>
                      </a:lnTo>
                      <a:lnTo>
                        <a:pt x="298" y="224"/>
                      </a:lnTo>
                      <a:lnTo>
                        <a:pt x="298" y="224"/>
                      </a:lnTo>
                      <a:lnTo>
                        <a:pt x="298" y="22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32" name="Freeform 466">
                  <a:extLst>
                    <a:ext uri="{FF2B5EF4-FFF2-40B4-BE49-F238E27FC236}">
                      <a16:creationId xmlns:a16="http://schemas.microsoft.com/office/drawing/2014/main" id="{3B4377DF-4B41-4FDA-AF81-5DD5265D0CCC}"/>
                    </a:ext>
                  </a:extLst>
                </p:cNvPr>
                <p:cNvSpPr>
                  <a:spLocks/>
                </p:cNvSpPr>
                <p:nvPr/>
              </p:nvSpPr>
              <p:spPr bwMode="gray">
                <a:xfrm>
                  <a:off x="6017340" y="1722809"/>
                  <a:ext cx="317809" cy="153570"/>
                </a:xfrm>
                <a:custGeom>
                  <a:avLst/>
                  <a:gdLst>
                    <a:gd name="T0" fmla="*/ 215 w 772"/>
                    <a:gd name="T1" fmla="*/ 241 h 373"/>
                    <a:gd name="T2" fmla="*/ 160 w 772"/>
                    <a:gd name="T3" fmla="*/ 250 h 373"/>
                    <a:gd name="T4" fmla="*/ 156 w 772"/>
                    <a:gd name="T5" fmla="*/ 224 h 373"/>
                    <a:gd name="T6" fmla="*/ 47 w 772"/>
                    <a:gd name="T7" fmla="*/ 224 h 373"/>
                    <a:gd name="T8" fmla="*/ 90 w 772"/>
                    <a:gd name="T9" fmla="*/ 184 h 373"/>
                    <a:gd name="T10" fmla="*/ 172 w 772"/>
                    <a:gd name="T11" fmla="*/ 179 h 373"/>
                    <a:gd name="T12" fmla="*/ 156 w 772"/>
                    <a:gd name="T13" fmla="*/ 127 h 373"/>
                    <a:gd name="T14" fmla="*/ 101 w 772"/>
                    <a:gd name="T15" fmla="*/ 123 h 373"/>
                    <a:gd name="T16" fmla="*/ 14 w 772"/>
                    <a:gd name="T17" fmla="*/ 111 h 373"/>
                    <a:gd name="T18" fmla="*/ 52 w 772"/>
                    <a:gd name="T19" fmla="*/ 111 h 373"/>
                    <a:gd name="T20" fmla="*/ 68 w 772"/>
                    <a:gd name="T21" fmla="*/ 111 h 373"/>
                    <a:gd name="T22" fmla="*/ 90 w 772"/>
                    <a:gd name="T23" fmla="*/ 94 h 373"/>
                    <a:gd name="T24" fmla="*/ 52 w 772"/>
                    <a:gd name="T25" fmla="*/ 85 h 373"/>
                    <a:gd name="T26" fmla="*/ 52 w 772"/>
                    <a:gd name="T27" fmla="*/ 68 h 373"/>
                    <a:gd name="T28" fmla="*/ 75 w 772"/>
                    <a:gd name="T29" fmla="*/ 49 h 373"/>
                    <a:gd name="T30" fmla="*/ 139 w 772"/>
                    <a:gd name="T31" fmla="*/ 73 h 373"/>
                    <a:gd name="T32" fmla="*/ 144 w 772"/>
                    <a:gd name="T33" fmla="*/ 90 h 373"/>
                    <a:gd name="T34" fmla="*/ 106 w 772"/>
                    <a:gd name="T35" fmla="*/ 40 h 373"/>
                    <a:gd name="T36" fmla="*/ 106 w 772"/>
                    <a:gd name="T37" fmla="*/ 16 h 373"/>
                    <a:gd name="T38" fmla="*/ 194 w 772"/>
                    <a:gd name="T39" fmla="*/ 49 h 373"/>
                    <a:gd name="T40" fmla="*/ 210 w 772"/>
                    <a:gd name="T41" fmla="*/ 73 h 373"/>
                    <a:gd name="T42" fmla="*/ 210 w 772"/>
                    <a:gd name="T43" fmla="*/ 106 h 373"/>
                    <a:gd name="T44" fmla="*/ 227 w 772"/>
                    <a:gd name="T45" fmla="*/ 123 h 373"/>
                    <a:gd name="T46" fmla="*/ 248 w 772"/>
                    <a:gd name="T47" fmla="*/ 139 h 373"/>
                    <a:gd name="T48" fmla="*/ 269 w 772"/>
                    <a:gd name="T49" fmla="*/ 123 h 373"/>
                    <a:gd name="T50" fmla="*/ 302 w 772"/>
                    <a:gd name="T51" fmla="*/ 94 h 373"/>
                    <a:gd name="T52" fmla="*/ 345 w 772"/>
                    <a:gd name="T53" fmla="*/ 94 h 373"/>
                    <a:gd name="T54" fmla="*/ 354 w 772"/>
                    <a:gd name="T55" fmla="*/ 73 h 373"/>
                    <a:gd name="T56" fmla="*/ 387 w 772"/>
                    <a:gd name="T57" fmla="*/ 49 h 373"/>
                    <a:gd name="T58" fmla="*/ 425 w 772"/>
                    <a:gd name="T59" fmla="*/ 73 h 373"/>
                    <a:gd name="T60" fmla="*/ 453 w 772"/>
                    <a:gd name="T61" fmla="*/ 90 h 373"/>
                    <a:gd name="T62" fmla="*/ 463 w 772"/>
                    <a:gd name="T63" fmla="*/ 49 h 373"/>
                    <a:gd name="T64" fmla="*/ 517 w 772"/>
                    <a:gd name="T65" fmla="*/ 40 h 373"/>
                    <a:gd name="T66" fmla="*/ 571 w 772"/>
                    <a:gd name="T67" fmla="*/ 33 h 373"/>
                    <a:gd name="T68" fmla="*/ 614 w 772"/>
                    <a:gd name="T69" fmla="*/ 28 h 373"/>
                    <a:gd name="T70" fmla="*/ 668 w 772"/>
                    <a:gd name="T71" fmla="*/ 28 h 373"/>
                    <a:gd name="T72" fmla="*/ 668 w 772"/>
                    <a:gd name="T73" fmla="*/ 49 h 373"/>
                    <a:gd name="T74" fmla="*/ 680 w 772"/>
                    <a:gd name="T75" fmla="*/ 106 h 373"/>
                    <a:gd name="T76" fmla="*/ 701 w 772"/>
                    <a:gd name="T77" fmla="*/ 127 h 373"/>
                    <a:gd name="T78" fmla="*/ 765 w 772"/>
                    <a:gd name="T79" fmla="*/ 127 h 373"/>
                    <a:gd name="T80" fmla="*/ 734 w 772"/>
                    <a:gd name="T81" fmla="*/ 168 h 373"/>
                    <a:gd name="T82" fmla="*/ 765 w 772"/>
                    <a:gd name="T83" fmla="*/ 196 h 373"/>
                    <a:gd name="T84" fmla="*/ 734 w 772"/>
                    <a:gd name="T85" fmla="*/ 196 h 373"/>
                    <a:gd name="T86" fmla="*/ 739 w 772"/>
                    <a:gd name="T87" fmla="*/ 224 h 373"/>
                    <a:gd name="T88" fmla="*/ 711 w 772"/>
                    <a:gd name="T89" fmla="*/ 224 h 373"/>
                    <a:gd name="T90" fmla="*/ 701 w 772"/>
                    <a:gd name="T91" fmla="*/ 257 h 373"/>
                    <a:gd name="T92" fmla="*/ 642 w 772"/>
                    <a:gd name="T93" fmla="*/ 262 h 373"/>
                    <a:gd name="T94" fmla="*/ 560 w 772"/>
                    <a:gd name="T95" fmla="*/ 319 h 373"/>
                    <a:gd name="T96" fmla="*/ 522 w 772"/>
                    <a:gd name="T97" fmla="*/ 328 h 373"/>
                    <a:gd name="T98" fmla="*/ 468 w 772"/>
                    <a:gd name="T99" fmla="*/ 352 h 373"/>
                    <a:gd name="T100" fmla="*/ 302 w 772"/>
                    <a:gd name="T101" fmla="*/ 364 h 373"/>
                    <a:gd name="T102" fmla="*/ 290 w 772"/>
                    <a:gd name="T103" fmla="*/ 335 h 373"/>
                    <a:gd name="T104" fmla="*/ 279 w 772"/>
                    <a:gd name="T105" fmla="*/ 328 h 373"/>
                    <a:gd name="T106" fmla="*/ 231 w 772"/>
                    <a:gd name="T107" fmla="*/ 319 h 373"/>
                    <a:gd name="T108" fmla="*/ 123 w 772"/>
                    <a:gd name="T109" fmla="*/ 328 h 373"/>
                    <a:gd name="T110" fmla="*/ 177 w 772"/>
                    <a:gd name="T111" fmla="*/ 295 h 373"/>
                    <a:gd name="T112" fmla="*/ 198 w 772"/>
                    <a:gd name="T113" fmla="*/ 279 h 373"/>
                    <a:gd name="T114" fmla="*/ 227 w 772"/>
                    <a:gd name="T115" fmla="*/ 262 h 373"/>
                    <a:gd name="T116" fmla="*/ 177 w 772"/>
                    <a:gd name="T117" fmla="*/ 257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72" h="373">
                      <a:moveTo>
                        <a:pt x="177" y="257"/>
                      </a:moveTo>
                      <a:lnTo>
                        <a:pt x="198" y="234"/>
                      </a:lnTo>
                      <a:lnTo>
                        <a:pt x="215" y="241"/>
                      </a:lnTo>
                      <a:lnTo>
                        <a:pt x="198" y="234"/>
                      </a:lnTo>
                      <a:lnTo>
                        <a:pt x="210" y="234"/>
                      </a:lnTo>
                      <a:lnTo>
                        <a:pt x="160" y="250"/>
                      </a:lnTo>
                      <a:lnTo>
                        <a:pt x="156" y="241"/>
                      </a:lnTo>
                      <a:lnTo>
                        <a:pt x="144" y="234"/>
                      </a:lnTo>
                      <a:lnTo>
                        <a:pt x="156" y="224"/>
                      </a:lnTo>
                      <a:lnTo>
                        <a:pt x="144" y="208"/>
                      </a:lnTo>
                      <a:lnTo>
                        <a:pt x="75" y="208"/>
                      </a:lnTo>
                      <a:lnTo>
                        <a:pt x="47" y="224"/>
                      </a:lnTo>
                      <a:lnTo>
                        <a:pt x="31" y="201"/>
                      </a:lnTo>
                      <a:lnTo>
                        <a:pt x="64" y="201"/>
                      </a:lnTo>
                      <a:lnTo>
                        <a:pt x="90" y="184"/>
                      </a:lnTo>
                      <a:lnTo>
                        <a:pt x="182" y="184"/>
                      </a:lnTo>
                      <a:lnTo>
                        <a:pt x="194" y="163"/>
                      </a:lnTo>
                      <a:lnTo>
                        <a:pt x="172" y="179"/>
                      </a:lnTo>
                      <a:lnTo>
                        <a:pt x="139" y="168"/>
                      </a:lnTo>
                      <a:lnTo>
                        <a:pt x="198" y="139"/>
                      </a:lnTo>
                      <a:lnTo>
                        <a:pt x="156" y="127"/>
                      </a:lnTo>
                      <a:lnTo>
                        <a:pt x="172" y="123"/>
                      </a:lnTo>
                      <a:lnTo>
                        <a:pt x="144" y="127"/>
                      </a:lnTo>
                      <a:lnTo>
                        <a:pt x="101" y="123"/>
                      </a:lnTo>
                      <a:lnTo>
                        <a:pt x="47" y="139"/>
                      </a:lnTo>
                      <a:lnTo>
                        <a:pt x="0" y="127"/>
                      </a:lnTo>
                      <a:lnTo>
                        <a:pt x="14" y="111"/>
                      </a:lnTo>
                      <a:lnTo>
                        <a:pt x="52" y="127"/>
                      </a:lnTo>
                      <a:lnTo>
                        <a:pt x="31" y="111"/>
                      </a:lnTo>
                      <a:lnTo>
                        <a:pt x="52" y="111"/>
                      </a:lnTo>
                      <a:lnTo>
                        <a:pt x="31" y="106"/>
                      </a:lnTo>
                      <a:lnTo>
                        <a:pt x="31" y="90"/>
                      </a:lnTo>
                      <a:lnTo>
                        <a:pt x="68" y="111"/>
                      </a:lnTo>
                      <a:lnTo>
                        <a:pt x="85" y="111"/>
                      </a:lnTo>
                      <a:lnTo>
                        <a:pt x="68" y="106"/>
                      </a:lnTo>
                      <a:lnTo>
                        <a:pt x="90" y="94"/>
                      </a:lnTo>
                      <a:lnTo>
                        <a:pt x="52" y="94"/>
                      </a:lnTo>
                      <a:lnTo>
                        <a:pt x="47" y="90"/>
                      </a:lnTo>
                      <a:lnTo>
                        <a:pt x="52" y="85"/>
                      </a:lnTo>
                      <a:lnTo>
                        <a:pt x="90" y="90"/>
                      </a:lnTo>
                      <a:lnTo>
                        <a:pt x="47" y="68"/>
                      </a:lnTo>
                      <a:lnTo>
                        <a:pt x="52" y="68"/>
                      </a:lnTo>
                      <a:lnTo>
                        <a:pt x="85" y="73"/>
                      </a:lnTo>
                      <a:lnTo>
                        <a:pt x="64" y="57"/>
                      </a:lnTo>
                      <a:lnTo>
                        <a:pt x="75" y="49"/>
                      </a:lnTo>
                      <a:lnTo>
                        <a:pt x="123" y="73"/>
                      </a:lnTo>
                      <a:lnTo>
                        <a:pt x="127" y="68"/>
                      </a:lnTo>
                      <a:lnTo>
                        <a:pt x="139" y="73"/>
                      </a:lnTo>
                      <a:lnTo>
                        <a:pt x="127" y="90"/>
                      </a:lnTo>
                      <a:lnTo>
                        <a:pt x="139" y="73"/>
                      </a:lnTo>
                      <a:lnTo>
                        <a:pt x="144" y="90"/>
                      </a:lnTo>
                      <a:lnTo>
                        <a:pt x="144" y="73"/>
                      </a:lnTo>
                      <a:lnTo>
                        <a:pt x="139" y="57"/>
                      </a:lnTo>
                      <a:lnTo>
                        <a:pt x="106" y="40"/>
                      </a:lnTo>
                      <a:lnTo>
                        <a:pt x="144" y="40"/>
                      </a:lnTo>
                      <a:lnTo>
                        <a:pt x="90" y="28"/>
                      </a:lnTo>
                      <a:lnTo>
                        <a:pt x="106" y="16"/>
                      </a:lnTo>
                      <a:lnTo>
                        <a:pt x="144" y="16"/>
                      </a:lnTo>
                      <a:lnTo>
                        <a:pt x="160" y="33"/>
                      </a:lnTo>
                      <a:lnTo>
                        <a:pt x="194" y="49"/>
                      </a:lnTo>
                      <a:lnTo>
                        <a:pt x="198" y="68"/>
                      </a:lnTo>
                      <a:lnTo>
                        <a:pt x="215" y="68"/>
                      </a:lnTo>
                      <a:lnTo>
                        <a:pt x="210" y="73"/>
                      </a:lnTo>
                      <a:lnTo>
                        <a:pt x="227" y="85"/>
                      </a:lnTo>
                      <a:lnTo>
                        <a:pt x="227" y="106"/>
                      </a:lnTo>
                      <a:lnTo>
                        <a:pt x="210" y="106"/>
                      </a:lnTo>
                      <a:lnTo>
                        <a:pt x="194" y="94"/>
                      </a:lnTo>
                      <a:lnTo>
                        <a:pt x="198" y="111"/>
                      </a:lnTo>
                      <a:lnTo>
                        <a:pt x="227" y="123"/>
                      </a:lnTo>
                      <a:lnTo>
                        <a:pt x="236" y="168"/>
                      </a:lnTo>
                      <a:lnTo>
                        <a:pt x="236" y="139"/>
                      </a:lnTo>
                      <a:lnTo>
                        <a:pt x="248" y="139"/>
                      </a:lnTo>
                      <a:lnTo>
                        <a:pt x="253" y="123"/>
                      </a:lnTo>
                      <a:lnTo>
                        <a:pt x="269" y="106"/>
                      </a:lnTo>
                      <a:lnTo>
                        <a:pt x="269" y="123"/>
                      </a:lnTo>
                      <a:lnTo>
                        <a:pt x="286" y="127"/>
                      </a:lnTo>
                      <a:lnTo>
                        <a:pt x="290" y="111"/>
                      </a:lnTo>
                      <a:lnTo>
                        <a:pt x="302" y="94"/>
                      </a:lnTo>
                      <a:lnTo>
                        <a:pt x="286" y="57"/>
                      </a:lnTo>
                      <a:lnTo>
                        <a:pt x="307" y="57"/>
                      </a:lnTo>
                      <a:lnTo>
                        <a:pt x="345" y="94"/>
                      </a:lnTo>
                      <a:lnTo>
                        <a:pt x="354" y="106"/>
                      </a:lnTo>
                      <a:lnTo>
                        <a:pt x="361" y="90"/>
                      </a:lnTo>
                      <a:lnTo>
                        <a:pt x="354" y="73"/>
                      </a:lnTo>
                      <a:lnTo>
                        <a:pt x="354" y="68"/>
                      </a:lnTo>
                      <a:lnTo>
                        <a:pt x="387" y="57"/>
                      </a:lnTo>
                      <a:lnTo>
                        <a:pt x="387" y="49"/>
                      </a:lnTo>
                      <a:lnTo>
                        <a:pt x="399" y="49"/>
                      </a:lnTo>
                      <a:lnTo>
                        <a:pt x="416" y="57"/>
                      </a:lnTo>
                      <a:lnTo>
                        <a:pt x="425" y="73"/>
                      </a:lnTo>
                      <a:lnTo>
                        <a:pt x="442" y="85"/>
                      </a:lnTo>
                      <a:lnTo>
                        <a:pt x="453" y="111"/>
                      </a:lnTo>
                      <a:lnTo>
                        <a:pt x="453" y="90"/>
                      </a:lnTo>
                      <a:lnTo>
                        <a:pt x="442" y="68"/>
                      </a:lnTo>
                      <a:lnTo>
                        <a:pt x="442" y="49"/>
                      </a:lnTo>
                      <a:lnTo>
                        <a:pt x="463" y="49"/>
                      </a:lnTo>
                      <a:lnTo>
                        <a:pt x="484" y="73"/>
                      </a:lnTo>
                      <a:lnTo>
                        <a:pt x="501" y="73"/>
                      </a:lnTo>
                      <a:lnTo>
                        <a:pt x="517" y="40"/>
                      </a:lnTo>
                      <a:lnTo>
                        <a:pt x="555" y="57"/>
                      </a:lnTo>
                      <a:lnTo>
                        <a:pt x="550" y="49"/>
                      </a:lnTo>
                      <a:lnTo>
                        <a:pt x="571" y="33"/>
                      </a:lnTo>
                      <a:lnTo>
                        <a:pt x="555" y="12"/>
                      </a:lnTo>
                      <a:lnTo>
                        <a:pt x="593" y="0"/>
                      </a:lnTo>
                      <a:lnTo>
                        <a:pt x="614" y="28"/>
                      </a:lnTo>
                      <a:lnTo>
                        <a:pt x="614" y="40"/>
                      </a:lnTo>
                      <a:lnTo>
                        <a:pt x="642" y="49"/>
                      </a:lnTo>
                      <a:lnTo>
                        <a:pt x="668" y="28"/>
                      </a:lnTo>
                      <a:lnTo>
                        <a:pt x="685" y="28"/>
                      </a:lnTo>
                      <a:lnTo>
                        <a:pt x="668" y="33"/>
                      </a:lnTo>
                      <a:lnTo>
                        <a:pt x="668" y="49"/>
                      </a:lnTo>
                      <a:lnTo>
                        <a:pt x="657" y="57"/>
                      </a:lnTo>
                      <a:lnTo>
                        <a:pt x="697" y="73"/>
                      </a:lnTo>
                      <a:lnTo>
                        <a:pt x="680" y="106"/>
                      </a:lnTo>
                      <a:lnTo>
                        <a:pt x="718" y="94"/>
                      </a:lnTo>
                      <a:lnTo>
                        <a:pt x="718" y="111"/>
                      </a:lnTo>
                      <a:lnTo>
                        <a:pt x="701" y="127"/>
                      </a:lnTo>
                      <a:lnTo>
                        <a:pt x="718" y="111"/>
                      </a:lnTo>
                      <a:lnTo>
                        <a:pt x="765" y="123"/>
                      </a:lnTo>
                      <a:lnTo>
                        <a:pt x="765" y="127"/>
                      </a:lnTo>
                      <a:lnTo>
                        <a:pt x="756" y="151"/>
                      </a:lnTo>
                      <a:lnTo>
                        <a:pt x="772" y="163"/>
                      </a:lnTo>
                      <a:lnTo>
                        <a:pt x="734" y="168"/>
                      </a:lnTo>
                      <a:lnTo>
                        <a:pt x="765" y="168"/>
                      </a:lnTo>
                      <a:lnTo>
                        <a:pt x="772" y="179"/>
                      </a:lnTo>
                      <a:lnTo>
                        <a:pt x="765" y="196"/>
                      </a:lnTo>
                      <a:lnTo>
                        <a:pt x="739" y="179"/>
                      </a:lnTo>
                      <a:lnTo>
                        <a:pt x="756" y="201"/>
                      </a:lnTo>
                      <a:lnTo>
                        <a:pt x="734" y="196"/>
                      </a:lnTo>
                      <a:lnTo>
                        <a:pt x="756" y="201"/>
                      </a:lnTo>
                      <a:lnTo>
                        <a:pt x="734" y="217"/>
                      </a:lnTo>
                      <a:lnTo>
                        <a:pt x="739" y="224"/>
                      </a:lnTo>
                      <a:lnTo>
                        <a:pt x="718" y="224"/>
                      </a:lnTo>
                      <a:lnTo>
                        <a:pt x="701" y="208"/>
                      </a:lnTo>
                      <a:lnTo>
                        <a:pt x="711" y="224"/>
                      </a:lnTo>
                      <a:lnTo>
                        <a:pt x="697" y="241"/>
                      </a:lnTo>
                      <a:lnTo>
                        <a:pt x="711" y="241"/>
                      </a:lnTo>
                      <a:lnTo>
                        <a:pt x="701" y="257"/>
                      </a:lnTo>
                      <a:lnTo>
                        <a:pt x="685" y="257"/>
                      </a:lnTo>
                      <a:lnTo>
                        <a:pt x="668" y="274"/>
                      </a:lnTo>
                      <a:lnTo>
                        <a:pt x="642" y="262"/>
                      </a:lnTo>
                      <a:lnTo>
                        <a:pt x="642" y="274"/>
                      </a:lnTo>
                      <a:lnTo>
                        <a:pt x="593" y="290"/>
                      </a:lnTo>
                      <a:lnTo>
                        <a:pt x="560" y="319"/>
                      </a:lnTo>
                      <a:lnTo>
                        <a:pt x="538" y="328"/>
                      </a:lnTo>
                      <a:lnTo>
                        <a:pt x="534" y="312"/>
                      </a:lnTo>
                      <a:lnTo>
                        <a:pt x="522" y="328"/>
                      </a:lnTo>
                      <a:lnTo>
                        <a:pt x="468" y="335"/>
                      </a:lnTo>
                      <a:lnTo>
                        <a:pt x="463" y="345"/>
                      </a:lnTo>
                      <a:lnTo>
                        <a:pt x="468" y="352"/>
                      </a:lnTo>
                      <a:lnTo>
                        <a:pt x="463" y="364"/>
                      </a:lnTo>
                      <a:lnTo>
                        <a:pt x="408" y="373"/>
                      </a:lnTo>
                      <a:lnTo>
                        <a:pt x="302" y="364"/>
                      </a:lnTo>
                      <a:lnTo>
                        <a:pt x="279" y="335"/>
                      </a:lnTo>
                      <a:lnTo>
                        <a:pt x="290" y="335"/>
                      </a:lnTo>
                      <a:lnTo>
                        <a:pt x="290" y="335"/>
                      </a:lnTo>
                      <a:lnTo>
                        <a:pt x="279" y="335"/>
                      </a:lnTo>
                      <a:lnTo>
                        <a:pt x="269" y="335"/>
                      </a:lnTo>
                      <a:lnTo>
                        <a:pt x="279" y="328"/>
                      </a:lnTo>
                      <a:lnTo>
                        <a:pt x="269" y="319"/>
                      </a:lnTo>
                      <a:lnTo>
                        <a:pt x="253" y="328"/>
                      </a:lnTo>
                      <a:lnTo>
                        <a:pt x="231" y="319"/>
                      </a:lnTo>
                      <a:lnTo>
                        <a:pt x="248" y="312"/>
                      </a:lnTo>
                      <a:lnTo>
                        <a:pt x="198" y="328"/>
                      </a:lnTo>
                      <a:lnTo>
                        <a:pt x="123" y="328"/>
                      </a:lnTo>
                      <a:lnTo>
                        <a:pt x="127" y="295"/>
                      </a:lnTo>
                      <a:lnTo>
                        <a:pt x="139" y="307"/>
                      </a:lnTo>
                      <a:lnTo>
                        <a:pt x="177" y="295"/>
                      </a:lnTo>
                      <a:lnTo>
                        <a:pt x="182" y="295"/>
                      </a:lnTo>
                      <a:lnTo>
                        <a:pt x="177" y="290"/>
                      </a:lnTo>
                      <a:lnTo>
                        <a:pt x="198" y="279"/>
                      </a:lnTo>
                      <a:lnTo>
                        <a:pt x="182" y="279"/>
                      </a:lnTo>
                      <a:lnTo>
                        <a:pt x="194" y="262"/>
                      </a:lnTo>
                      <a:lnTo>
                        <a:pt x="227" y="262"/>
                      </a:lnTo>
                      <a:lnTo>
                        <a:pt x="172" y="274"/>
                      </a:lnTo>
                      <a:lnTo>
                        <a:pt x="177" y="257"/>
                      </a:lnTo>
                      <a:lnTo>
                        <a:pt x="177" y="257"/>
                      </a:lnTo>
                      <a:lnTo>
                        <a:pt x="177" y="25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33" name="Freeform 468">
                  <a:extLst>
                    <a:ext uri="{FF2B5EF4-FFF2-40B4-BE49-F238E27FC236}">
                      <a16:creationId xmlns:a16="http://schemas.microsoft.com/office/drawing/2014/main" id="{270D884F-318A-47E3-95A6-D0E54EFDF713}"/>
                    </a:ext>
                  </a:extLst>
                </p:cNvPr>
                <p:cNvSpPr>
                  <a:spLocks/>
                </p:cNvSpPr>
                <p:nvPr/>
              </p:nvSpPr>
              <p:spPr bwMode="gray">
                <a:xfrm>
                  <a:off x="6589149" y="2269157"/>
                  <a:ext cx="12350" cy="15645"/>
                </a:xfrm>
                <a:custGeom>
                  <a:avLst/>
                  <a:gdLst>
                    <a:gd name="T0" fmla="*/ 0 w 30"/>
                    <a:gd name="T1" fmla="*/ 38 h 38"/>
                    <a:gd name="T2" fmla="*/ 0 w 30"/>
                    <a:gd name="T3" fmla="*/ 22 h 38"/>
                    <a:gd name="T4" fmla="*/ 26 w 30"/>
                    <a:gd name="T5" fmla="*/ 0 h 38"/>
                    <a:gd name="T6" fmla="*/ 30 w 30"/>
                    <a:gd name="T7" fmla="*/ 17 h 38"/>
                    <a:gd name="T8" fmla="*/ 26 w 30"/>
                    <a:gd name="T9" fmla="*/ 22 h 38"/>
                    <a:gd name="T10" fmla="*/ 0 w 30"/>
                    <a:gd name="T11" fmla="*/ 38 h 38"/>
                    <a:gd name="T12" fmla="*/ 0 w 30"/>
                    <a:gd name="T13" fmla="*/ 38 h 38"/>
                    <a:gd name="T14" fmla="*/ 0 w 30"/>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8">
                      <a:moveTo>
                        <a:pt x="0" y="38"/>
                      </a:moveTo>
                      <a:lnTo>
                        <a:pt x="0" y="22"/>
                      </a:lnTo>
                      <a:lnTo>
                        <a:pt x="26" y="0"/>
                      </a:lnTo>
                      <a:lnTo>
                        <a:pt x="30" y="17"/>
                      </a:lnTo>
                      <a:lnTo>
                        <a:pt x="26" y="22"/>
                      </a:lnTo>
                      <a:lnTo>
                        <a:pt x="0" y="38"/>
                      </a:lnTo>
                      <a:lnTo>
                        <a:pt x="0" y="38"/>
                      </a:lnTo>
                      <a:lnTo>
                        <a:pt x="0" y="3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34" name="Freeform 477">
                  <a:extLst>
                    <a:ext uri="{FF2B5EF4-FFF2-40B4-BE49-F238E27FC236}">
                      <a16:creationId xmlns:a16="http://schemas.microsoft.com/office/drawing/2014/main" id="{C45F145E-04AB-4841-8DBA-A383530578D9}"/>
                    </a:ext>
                  </a:extLst>
                </p:cNvPr>
                <p:cNvSpPr>
                  <a:spLocks/>
                </p:cNvSpPr>
                <p:nvPr/>
              </p:nvSpPr>
              <p:spPr bwMode="gray">
                <a:xfrm>
                  <a:off x="6662016" y="2473368"/>
                  <a:ext cx="6587" cy="4117"/>
                </a:xfrm>
                <a:custGeom>
                  <a:avLst/>
                  <a:gdLst>
                    <a:gd name="T0" fmla="*/ 9 w 16"/>
                    <a:gd name="T1" fmla="*/ 10 h 10"/>
                    <a:gd name="T2" fmla="*/ 0 w 16"/>
                    <a:gd name="T3" fmla="*/ 0 h 10"/>
                    <a:gd name="T4" fmla="*/ 16 w 16"/>
                    <a:gd name="T5" fmla="*/ 0 h 10"/>
                    <a:gd name="T6" fmla="*/ 9 w 16"/>
                    <a:gd name="T7" fmla="*/ 10 h 10"/>
                    <a:gd name="T8" fmla="*/ 9 w 16"/>
                    <a:gd name="T9" fmla="*/ 10 h 10"/>
                    <a:gd name="T10" fmla="*/ 9 w 16"/>
                    <a:gd name="T11" fmla="*/ 10 h 10"/>
                  </a:gdLst>
                  <a:ahLst/>
                  <a:cxnLst>
                    <a:cxn ang="0">
                      <a:pos x="T0" y="T1"/>
                    </a:cxn>
                    <a:cxn ang="0">
                      <a:pos x="T2" y="T3"/>
                    </a:cxn>
                    <a:cxn ang="0">
                      <a:pos x="T4" y="T5"/>
                    </a:cxn>
                    <a:cxn ang="0">
                      <a:pos x="T6" y="T7"/>
                    </a:cxn>
                    <a:cxn ang="0">
                      <a:pos x="T8" y="T9"/>
                    </a:cxn>
                    <a:cxn ang="0">
                      <a:pos x="T10" y="T11"/>
                    </a:cxn>
                  </a:cxnLst>
                  <a:rect l="0" t="0" r="r" b="b"/>
                  <a:pathLst>
                    <a:path w="16" h="10">
                      <a:moveTo>
                        <a:pt x="9" y="10"/>
                      </a:moveTo>
                      <a:lnTo>
                        <a:pt x="0" y="0"/>
                      </a:lnTo>
                      <a:lnTo>
                        <a:pt x="16" y="0"/>
                      </a:lnTo>
                      <a:lnTo>
                        <a:pt x="9" y="10"/>
                      </a:lnTo>
                      <a:lnTo>
                        <a:pt x="9" y="10"/>
                      </a:lnTo>
                      <a:lnTo>
                        <a:pt x="9" y="1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35" name="Freeform 479">
                  <a:extLst>
                    <a:ext uri="{FF2B5EF4-FFF2-40B4-BE49-F238E27FC236}">
                      <a16:creationId xmlns:a16="http://schemas.microsoft.com/office/drawing/2014/main" id="{A4A01AF7-5931-45E9-A5CC-0B7D741EC688}"/>
                    </a:ext>
                  </a:extLst>
                </p:cNvPr>
                <p:cNvSpPr>
                  <a:spLocks/>
                </p:cNvSpPr>
                <p:nvPr/>
              </p:nvSpPr>
              <p:spPr bwMode="gray">
                <a:xfrm>
                  <a:off x="6461531" y="1486484"/>
                  <a:ext cx="36227" cy="19351"/>
                </a:xfrm>
                <a:custGeom>
                  <a:avLst/>
                  <a:gdLst>
                    <a:gd name="T0" fmla="*/ 12 w 88"/>
                    <a:gd name="T1" fmla="*/ 47 h 47"/>
                    <a:gd name="T2" fmla="*/ 0 w 88"/>
                    <a:gd name="T3" fmla="*/ 35 h 47"/>
                    <a:gd name="T4" fmla="*/ 50 w 88"/>
                    <a:gd name="T5" fmla="*/ 14 h 47"/>
                    <a:gd name="T6" fmla="*/ 55 w 88"/>
                    <a:gd name="T7" fmla="*/ 0 h 47"/>
                    <a:gd name="T8" fmla="*/ 88 w 88"/>
                    <a:gd name="T9" fmla="*/ 0 h 47"/>
                    <a:gd name="T10" fmla="*/ 76 w 88"/>
                    <a:gd name="T11" fmla="*/ 14 h 47"/>
                    <a:gd name="T12" fmla="*/ 38 w 88"/>
                    <a:gd name="T13" fmla="*/ 21 h 47"/>
                    <a:gd name="T14" fmla="*/ 12 w 88"/>
                    <a:gd name="T15" fmla="*/ 47 h 47"/>
                    <a:gd name="T16" fmla="*/ 12 w 88"/>
                    <a:gd name="T17" fmla="*/ 47 h 47"/>
                    <a:gd name="T18" fmla="*/ 12 w 88"/>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47">
                      <a:moveTo>
                        <a:pt x="12" y="47"/>
                      </a:moveTo>
                      <a:lnTo>
                        <a:pt x="0" y="35"/>
                      </a:lnTo>
                      <a:lnTo>
                        <a:pt x="50" y="14"/>
                      </a:lnTo>
                      <a:lnTo>
                        <a:pt x="55" y="0"/>
                      </a:lnTo>
                      <a:lnTo>
                        <a:pt x="88" y="0"/>
                      </a:lnTo>
                      <a:lnTo>
                        <a:pt x="76" y="14"/>
                      </a:lnTo>
                      <a:lnTo>
                        <a:pt x="38" y="21"/>
                      </a:lnTo>
                      <a:lnTo>
                        <a:pt x="12" y="47"/>
                      </a:lnTo>
                      <a:lnTo>
                        <a:pt x="12" y="47"/>
                      </a:lnTo>
                      <a:lnTo>
                        <a:pt x="12" y="4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36" name="Freeform 482">
                  <a:extLst>
                    <a:ext uri="{FF2B5EF4-FFF2-40B4-BE49-F238E27FC236}">
                      <a16:creationId xmlns:a16="http://schemas.microsoft.com/office/drawing/2014/main" id="{2CFB8DE5-741E-4084-96B1-AEE4B62D5076}"/>
                    </a:ext>
                  </a:extLst>
                </p:cNvPr>
                <p:cNvSpPr>
                  <a:spLocks/>
                </p:cNvSpPr>
                <p:nvPr/>
              </p:nvSpPr>
              <p:spPr bwMode="gray">
                <a:xfrm>
                  <a:off x="8726540" y="2696106"/>
                  <a:ext cx="314928" cy="143277"/>
                </a:xfrm>
                <a:custGeom>
                  <a:avLst/>
                  <a:gdLst>
                    <a:gd name="T0" fmla="*/ 397 w 765"/>
                    <a:gd name="T1" fmla="*/ 255 h 348"/>
                    <a:gd name="T2" fmla="*/ 359 w 765"/>
                    <a:gd name="T3" fmla="*/ 272 h 348"/>
                    <a:gd name="T4" fmla="*/ 321 w 765"/>
                    <a:gd name="T5" fmla="*/ 305 h 348"/>
                    <a:gd name="T6" fmla="*/ 321 w 765"/>
                    <a:gd name="T7" fmla="*/ 326 h 348"/>
                    <a:gd name="T8" fmla="*/ 271 w 765"/>
                    <a:gd name="T9" fmla="*/ 331 h 348"/>
                    <a:gd name="T10" fmla="*/ 212 w 765"/>
                    <a:gd name="T11" fmla="*/ 348 h 348"/>
                    <a:gd name="T12" fmla="*/ 168 w 765"/>
                    <a:gd name="T13" fmla="*/ 343 h 348"/>
                    <a:gd name="T14" fmla="*/ 158 w 765"/>
                    <a:gd name="T15" fmla="*/ 326 h 348"/>
                    <a:gd name="T16" fmla="*/ 125 w 765"/>
                    <a:gd name="T17" fmla="*/ 326 h 348"/>
                    <a:gd name="T18" fmla="*/ 104 w 765"/>
                    <a:gd name="T19" fmla="*/ 331 h 348"/>
                    <a:gd name="T20" fmla="*/ 87 w 765"/>
                    <a:gd name="T21" fmla="*/ 315 h 348"/>
                    <a:gd name="T22" fmla="*/ 0 w 765"/>
                    <a:gd name="T23" fmla="*/ 293 h 348"/>
                    <a:gd name="T24" fmla="*/ 7 w 765"/>
                    <a:gd name="T25" fmla="*/ 289 h 348"/>
                    <a:gd name="T26" fmla="*/ 16 w 765"/>
                    <a:gd name="T27" fmla="*/ 272 h 348"/>
                    <a:gd name="T28" fmla="*/ 87 w 765"/>
                    <a:gd name="T29" fmla="*/ 277 h 348"/>
                    <a:gd name="T30" fmla="*/ 92 w 765"/>
                    <a:gd name="T31" fmla="*/ 289 h 348"/>
                    <a:gd name="T32" fmla="*/ 113 w 765"/>
                    <a:gd name="T33" fmla="*/ 272 h 348"/>
                    <a:gd name="T34" fmla="*/ 146 w 765"/>
                    <a:gd name="T35" fmla="*/ 255 h 348"/>
                    <a:gd name="T36" fmla="*/ 196 w 765"/>
                    <a:gd name="T37" fmla="*/ 260 h 348"/>
                    <a:gd name="T38" fmla="*/ 201 w 765"/>
                    <a:gd name="T39" fmla="*/ 248 h 348"/>
                    <a:gd name="T40" fmla="*/ 217 w 765"/>
                    <a:gd name="T41" fmla="*/ 232 h 348"/>
                    <a:gd name="T42" fmla="*/ 250 w 765"/>
                    <a:gd name="T43" fmla="*/ 222 h 348"/>
                    <a:gd name="T44" fmla="*/ 234 w 765"/>
                    <a:gd name="T45" fmla="*/ 206 h 348"/>
                    <a:gd name="T46" fmla="*/ 201 w 765"/>
                    <a:gd name="T47" fmla="*/ 199 h 348"/>
                    <a:gd name="T48" fmla="*/ 184 w 765"/>
                    <a:gd name="T49" fmla="*/ 182 h 348"/>
                    <a:gd name="T50" fmla="*/ 168 w 765"/>
                    <a:gd name="T51" fmla="*/ 149 h 348"/>
                    <a:gd name="T52" fmla="*/ 146 w 765"/>
                    <a:gd name="T53" fmla="*/ 166 h 348"/>
                    <a:gd name="T54" fmla="*/ 108 w 765"/>
                    <a:gd name="T55" fmla="*/ 178 h 348"/>
                    <a:gd name="T56" fmla="*/ 87 w 765"/>
                    <a:gd name="T57" fmla="*/ 161 h 348"/>
                    <a:gd name="T58" fmla="*/ 104 w 765"/>
                    <a:gd name="T59" fmla="*/ 123 h 348"/>
                    <a:gd name="T60" fmla="*/ 108 w 765"/>
                    <a:gd name="T61" fmla="*/ 107 h 348"/>
                    <a:gd name="T62" fmla="*/ 125 w 765"/>
                    <a:gd name="T63" fmla="*/ 78 h 348"/>
                    <a:gd name="T64" fmla="*/ 108 w 765"/>
                    <a:gd name="T65" fmla="*/ 78 h 348"/>
                    <a:gd name="T66" fmla="*/ 168 w 765"/>
                    <a:gd name="T67" fmla="*/ 41 h 348"/>
                    <a:gd name="T68" fmla="*/ 293 w 765"/>
                    <a:gd name="T69" fmla="*/ 74 h 348"/>
                    <a:gd name="T70" fmla="*/ 305 w 765"/>
                    <a:gd name="T71" fmla="*/ 17 h 348"/>
                    <a:gd name="T72" fmla="*/ 385 w 765"/>
                    <a:gd name="T73" fmla="*/ 24 h 348"/>
                    <a:gd name="T74" fmla="*/ 456 w 765"/>
                    <a:gd name="T75" fmla="*/ 24 h 348"/>
                    <a:gd name="T76" fmla="*/ 543 w 765"/>
                    <a:gd name="T77" fmla="*/ 24 h 348"/>
                    <a:gd name="T78" fmla="*/ 699 w 765"/>
                    <a:gd name="T79" fmla="*/ 41 h 348"/>
                    <a:gd name="T80" fmla="*/ 711 w 765"/>
                    <a:gd name="T81" fmla="*/ 74 h 348"/>
                    <a:gd name="T82" fmla="*/ 765 w 765"/>
                    <a:gd name="T83" fmla="*/ 95 h 348"/>
                    <a:gd name="T84" fmla="*/ 742 w 765"/>
                    <a:gd name="T85" fmla="*/ 111 h 348"/>
                    <a:gd name="T86" fmla="*/ 704 w 765"/>
                    <a:gd name="T87" fmla="*/ 128 h 348"/>
                    <a:gd name="T88" fmla="*/ 635 w 765"/>
                    <a:gd name="T89" fmla="*/ 178 h 348"/>
                    <a:gd name="T90" fmla="*/ 536 w 765"/>
                    <a:gd name="T91" fmla="*/ 199 h 348"/>
                    <a:gd name="T92" fmla="*/ 520 w 765"/>
                    <a:gd name="T93" fmla="*/ 232 h 348"/>
                    <a:gd name="T94" fmla="*/ 482 w 765"/>
                    <a:gd name="T95" fmla="*/ 248 h 348"/>
                    <a:gd name="T96" fmla="*/ 439 w 765"/>
                    <a:gd name="T97" fmla="*/ 232 h 348"/>
                    <a:gd name="T98" fmla="*/ 385 w 765"/>
                    <a:gd name="T99" fmla="*/ 239 h 348"/>
                    <a:gd name="T100" fmla="*/ 385 w 765"/>
                    <a:gd name="T101" fmla="*/ 23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5" h="348">
                      <a:moveTo>
                        <a:pt x="385" y="239"/>
                      </a:moveTo>
                      <a:lnTo>
                        <a:pt x="397" y="255"/>
                      </a:lnTo>
                      <a:lnTo>
                        <a:pt x="380" y="255"/>
                      </a:lnTo>
                      <a:lnTo>
                        <a:pt x="359" y="272"/>
                      </a:lnTo>
                      <a:lnTo>
                        <a:pt x="331" y="277"/>
                      </a:lnTo>
                      <a:lnTo>
                        <a:pt x="321" y="305"/>
                      </a:lnTo>
                      <a:lnTo>
                        <a:pt x="326" y="315"/>
                      </a:lnTo>
                      <a:lnTo>
                        <a:pt x="321" y="326"/>
                      </a:lnTo>
                      <a:lnTo>
                        <a:pt x="309" y="326"/>
                      </a:lnTo>
                      <a:lnTo>
                        <a:pt x="271" y="331"/>
                      </a:lnTo>
                      <a:lnTo>
                        <a:pt x="217" y="331"/>
                      </a:lnTo>
                      <a:lnTo>
                        <a:pt x="212" y="348"/>
                      </a:lnTo>
                      <a:lnTo>
                        <a:pt x="196" y="331"/>
                      </a:lnTo>
                      <a:lnTo>
                        <a:pt x="168" y="343"/>
                      </a:lnTo>
                      <a:lnTo>
                        <a:pt x="168" y="326"/>
                      </a:lnTo>
                      <a:lnTo>
                        <a:pt x="158" y="326"/>
                      </a:lnTo>
                      <a:lnTo>
                        <a:pt x="158" y="315"/>
                      </a:lnTo>
                      <a:lnTo>
                        <a:pt x="125" y="326"/>
                      </a:lnTo>
                      <a:lnTo>
                        <a:pt x="113" y="331"/>
                      </a:lnTo>
                      <a:lnTo>
                        <a:pt x="104" y="331"/>
                      </a:lnTo>
                      <a:lnTo>
                        <a:pt x="92" y="315"/>
                      </a:lnTo>
                      <a:lnTo>
                        <a:pt x="87" y="315"/>
                      </a:lnTo>
                      <a:lnTo>
                        <a:pt x="0" y="315"/>
                      </a:lnTo>
                      <a:lnTo>
                        <a:pt x="0" y="293"/>
                      </a:lnTo>
                      <a:lnTo>
                        <a:pt x="0" y="277"/>
                      </a:lnTo>
                      <a:lnTo>
                        <a:pt x="7" y="289"/>
                      </a:lnTo>
                      <a:lnTo>
                        <a:pt x="16" y="289"/>
                      </a:lnTo>
                      <a:lnTo>
                        <a:pt x="16" y="272"/>
                      </a:lnTo>
                      <a:lnTo>
                        <a:pt x="54" y="260"/>
                      </a:lnTo>
                      <a:lnTo>
                        <a:pt x="87" y="277"/>
                      </a:lnTo>
                      <a:lnTo>
                        <a:pt x="87" y="289"/>
                      </a:lnTo>
                      <a:lnTo>
                        <a:pt x="92" y="289"/>
                      </a:lnTo>
                      <a:lnTo>
                        <a:pt x="92" y="272"/>
                      </a:lnTo>
                      <a:lnTo>
                        <a:pt x="113" y="272"/>
                      </a:lnTo>
                      <a:lnTo>
                        <a:pt x="113" y="260"/>
                      </a:lnTo>
                      <a:lnTo>
                        <a:pt x="146" y="255"/>
                      </a:lnTo>
                      <a:lnTo>
                        <a:pt x="168" y="272"/>
                      </a:lnTo>
                      <a:lnTo>
                        <a:pt x="196" y="260"/>
                      </a:lnTo>
                      <a:lnTo>
                        <a:pt x="196" y="255"/>
                      </a:lnTo>
                      <a:lnTo>
                        <a:pt x="201" y="248"/>
                      </a:lnTo>
                      <a:lnTo>
                        <a:pt x="217" y="248"/>
                      </a:lnTo>
                      <a:lnTo>
                        <a:pt x="217" y="232"/>
                      </a:lnTo>
                      <a:lnTo>
                        <a:pt x="234" y="239"/>
                      </a:lnTo>
                      <a:lnTo>
                        <a:pt x="250" y="222"/>
                      </a:lnTo>
                      <a:lnTo>
                        <a:pt x="271" y="215"/>
                      </a:lnTo>
                      <a:lnTo>
                        <a:pt x="234" y="206"/>
                      </a:lnTo>
                      <a:lnTo>
                        <a:pt x="217" y="194"/>
                      </a:lnTo>
                      <a:lnTo>
                        <a:pt x="201" y="199"/>
                      </a:lnTo>
                      <a:lnTo>
                        <a:pt x="201" y="182"/>
                      </a:lnTo>
                      <a:lnTo>
                        <a:pt x="184" y="182"/>
                      </a:lnTo>
                      <a:lnTo>
                        <a:pt x="184" y="166"/>
                      </a:lnTo>
                      <a:lnTo>
                        <a:pt x="168" y="149"/>
                      </a:lnTo>
                      <a:lnTo>
                        <a:pt x="163" y="166"/>
                      </a:lnTo>
                      <a:lnTo>
                        <a:pt x="146" y="166"/>
                      </a:lnTo>
                      <a:lnTo>
                        <a:pt x="146" y="182"/>
                      </a:lnTo>
                      <a:lnTo>
                        <a:pt x="108" y="178"/>
                      </a:lnTo>
                      <a:lnTo>
                        <a:pt x="104" y="161"/>
                      </a:lnTo>
                      <a:lnTo>
                        <a:pt x="87" y="161"/>
                      </a:lnTo>
                      <a:lnTo>
                        <a:pt x="61" y="149"/>
                      </a:lnTo>
                      <a:lnTo>
                        <a:pt x="104" y="123"/>
                      </a:lnTo>
                      <a:lnTo>
                        <a:pt x="108" y="123"/>
                      </a:lnTo>
                      <a:lnTo>
                        <a:pt x="108" y="107"/>
                      </a:lnTo>
                      <a:lnTo>
                        <a:pt x="142" y="95"/>
                      </a:lnTo>
                      <a:lnTo>
                        <a:pt x="125" y="78"/>
                      </a:lnTo>
                      <a:lnTo>
                        <a:pt x="113" y="90"/>
                      </a:lnTo>
                      <a:lnTo>
                        <a:pt x="108" y="78"/>
                      </a:lnTo>
                      <a:lnTo>
                        <a:pt x="130" y="50"/>
                      </a:lnTo>
                      <a:lnTo>
                        <a:pt x="168" y="41"/>
                      </a:lnTo>
                      <a:lnTo>
                        <a:pt x="212" y="41"/>
                      </a:lnTo>
                      <a:lnTo>
                        <a:pt x="293" y="74"/>
                      </a:lnTo>
                      <a:lnTo>
                        <a:pt x="293" y="57"/>
                      </a:lnTo>
                      <a:lnTo>
                        <a:pt x="305" y="17"/>
                      </a:lnTo>
                      <a:lnTo>
                        <a:pt x="347" y="0"/>
                      </a:lnTo>
                      <a:lnTo>
                        <a:pt x="385" y="24"/>
                      </a:lnTo>
                      <a:lnTo>
                        <a:pt x="451" y="41"/>
                      </a:lnTo>
                      <a:lnTo>
                        <a:pt x="456" y="24"/>
                      </a:lnTo>
                      <a:lnTo>
                        <a:pt x="520" y="33"/>
                      </a:lnTo>
                      <a:lnTo>
                        <a:pt x="543" y="24"/>
                      </a:lnTo>
                      <a:lnTo>
                        <a:pt x="557" y="33"/>
                      </a:lnTo>
                      <a:lnTo>
                        <a:pt x="699" y="41"/>
                      </a:lnTo>
                      <a:lnTo>
                        <a:pt x="699" y="50"/>
                      </a:lnTo>
                      <a:lnTo>
                        <a:pt x="711" y="74"/>
                      </a:lnTo>
                      <a:lnTo>
                        <a:pt x="753" y="74"/>
                      </a:lnTo>
                      <a:lnTo>
                        <a:pt x="765" y="95"/>
                      </a:lnTo>
                      <a:lnTo>
                        <a:pt x="765" y="107"/>
                      </a:lnTo>
                      <a:lnTo>
                        <a:pt x="742" y="111"/>
                      </a:lnTo>
                      <a:lnTo>
                        <a:pt x="737" y="123"/>
                      </a:lnTo>
                      <a:lnTo>
                        <a:pt x="704" y="128"/>
                      </a:lnTo>
                      <a:lnTo>
                        <a:pt x="645" y="161"/>
                      </a:lnTo>
                      <a:lnTo>
                        <a:pt x="635" y="178"/>
                      </a:lnTo>
                      <a:lnTo>
                        <a:pt x="619" y="194"/>
                      </a:lnTo>
                      <a:lnTo>
                        <a:pt x="536" y="199"/>
                      </a:lnTo>
                      <a:lnTo>
                        <a:pt x="520" y="215"/>
                      </a:lnTo>
                      <a:lnTo>
                        <a:pt x="520" y="232"/>
                      </a:lnTo>
                      <a:lnTo>
                        <a:pt x="494" y="255"/>
                      </a:lnTo>
                      <a:lnTo>
                        <a:pt x="482" y="248"/>
                      </a:lnTo>
                      <a:lnTo>
                        <a:pt x="451" y="255"/>
                      </a:lnTo>
                      <a:lnTo>
                        <a:pt x="439" y="232"/>
                      </a:lnTo>
                      <a:lnTo>
                        <a:pt x="418" y="248"/>
                      </a:lnTo>
                      <a:lnTo>
                        <a:pt x="385" y="239"/>
                      </a:lnTo>
                      <a:lnTo>
                        <a:pt x="385" y="239"/>
                      </a:lnTo>
                      <a:lnTo>
                        <a:pt x="385" y="23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37" name="Freeform 483">
                  <a:extLst>
                    <a:ext uri="{FF2B5EF4-FFF2-40B4-BE49-F238E27FC236}">
                      <a16:creationId xmlns:a16="http://schemas.microsoft.com/office/drawing/2014/main" id="{C5A2C6A9-173F-4CD8-B8B8-61C47C2CCD44}"/>
                    </a:ext>
                  </a:extLst>
                </p:cNvPr>
                <p:cNvSpPr>
                  <a:spLocks/>
                </p:cNvSpPr>
                <p:nvPr/>
              </p:nvSpPr>
              <p:spPr bwMode="gray">
                <a:xfrm>
                  <a:off x="10314352" y="2705165"/>
                  <a:ext cx="184016" cy="187742"/>
                </a:xfrm>
                <a:custGeom>
                  <a:avLst/>
                  <a:gdLst>
                    <a:gd name="T0" fmla="*/ 45 w 447"/>
                    <a:gd name="T1" fmla="*/ 217 h 456"/>
                    <a:gd name="T2" fmla="*/ 55 w 447"/>
                    <a:gd name="T3" fmla="*/ 217 h 456"/>
                    <a:gd name="T4" fmla="*/ 104 w 447"/>
                    <a:gd name="T5" fmla="*/ 184 h 456"/>
                    <a:gd name="T6" fmla="*/ 156 w 447"/>
                    <a:gd name="T7" fmla="*/ 144 h 456"/>
                    <a:gd name="T8" fmla="*/ 189 w 447"/>
                    <a:gd name="T9" fmla="*/ 106 h 456"/>
                    <a:gd name="T10" fmla="*/ 270 w 447"/>
                    <a:gd name="T11" fmla="*/ 144 h 456"/>
                    <a:gd name="T12" fmla="*/ 270 w 447"/>
                    <a:gd name="T13" fmla="*/ 106 h 456"/>
                    <a:gd name="T14" fmla="*/ 324 w 447"/>
                    <a:gd name="T15" fmla="*/ 89 h 456"/>
                    <a:gd name="T16" fmla="*/ 357 w 447"/>
                    <a:gd name="T17" fmla="*/ 49 h 456"/>
                    <a:gd name="T18" fmla="*/ 378 w 447"/>
                    <a:gd name="T19" fmla="*/ 49 h 456"/>
                    <a:gd name="T20" fmla="*/ 421 w 447"/>
                    <a:gd name="T21" fmla="*/ 11 h 456"/>
                    <a:gd name="T22" fmla="*/ 442 w 447"/>
                    <a:gd name="T23" fmla="*/ 45 h 456"/>
                    <a:gd name="T24" fmla="*/ 447 w 447"/>
                    <a:gd name="T25" fmla="*/ 66 h 456"/>
                    <a:gd name="T26" fmla="*/ 378 w 447"/>
                    <a:gd name="T27" fmla="*/ 122 h 456"/>
                    <a:gd name="T28" fmla="*/ 388 w 447"/>
                    <a:gd name="T29" fmla="*/ 144 h 456"/>
                    <a:gd name="T30" fmla="*/ 350 w 447"/>
                    <a:gd name="T31" fmla="*/ 200 h 456"/>
                    <a:gd name="T32" fmla="*/ 303 w 447"/>
                    <a:gd name="T33" fmla="*/ 238 h 456"/>
                    <a:gd name="T34" fmla="*/ 286 w 447"/>
                    <a:gd name="T35" fmla="*/ 255 h 456"/>
                    <a:gd name="T36" fmla="*/ 260 w 447"/>
                    <a:gd name="T37" fmla="*/ 271 h 456"/>
                    <a:gd name="T38" fmla="*/ 232 w 447"/>
                    <a:gd name="T39" fmla="*/ 323 h 456"/>
                    <a:gd name="T40" fmla="*/ 218 w 447"/>
                    <a:gd name="T41" fmla="*/ 311 h 456"/>
                    <a:gd name="T42" fmla="*/ 248 w 447"/>
                    <a:gd name="T43" fmla="*/ 340 h 456"/>
                    <a:gd name="T44" fmla="*/ 281 w 447"/>
                    <a:gd name="T45" fmla="*/ 394 h 456"/>
                    <a:gd name="T46" fmla="*/ 206 w 447"/>
                    <a:gd name="T47" fmla="*/ 406 h 456"/>
                    <a:gd name="T48" fmla="*/ 163 w 447"/>
                    <a:gd name="T49" fmla="*/ 451 h 456"/>
                    <a:gd name="T50" fmla="*/ 135 w 447"/>
                    <a:gd name="T51" fmla="*/ 451 h 456"/>
                    <a:gd name="T52" fmla="*/ 121 w 447"/>
                    <a:gd name="T53" fmla="*/ 439 h 456"/>
                    <a:gd name="T54" fmla="*/ 109 w 447"/>
                    <a:gd name="T55" fmla="*/ 432 h 456"/>
                    <a:gd name="T56" fmla="*/ 104 w 447"/>
                    <a:gd name="T57" fmla="*/ 439 h 456"/>
                    <a:gd name="T58" fmla="*/ 88 w 447"/>
                    <a:gd name="T59" fmla="*/ 439 h 456"/>
                    <a:gd name="T60" fmla="*/ 71 w 447"/>
                    <a:gd name="T61" fmla="*/ 422 h 456"/>
                    <a:gd name="T62" fmla="*/ 45 w 447"/>
                    <a:gd name="T63" fmla="*/ 406 h 456"/>
                    <a:gd name="T64" fmla="*/ 83 w 447"/>
                    <a:gd name="T65" fmla="*/ 366 h 456"/>
                    <a:gd name="T66" fmla="*/ 66 w 447"/>
                    <a:gd name="T67" fmla="*/ 361 h 456"/>
                    <a:gd name="T68" fmla="*/ 71 w 447"/>
                    <a:gd name="T69" fmla="*/ 304 h 456"/>
                    <a:gd name="T70" fmla="*/ 55 w 447"/>
                    <a:gd name="T71" fmla="*/ 295 h 456"/>
                    <a:gd name="T72" fmla="*/ 33 w 447"/>
                    <a:gd name="T73" fmla="*/ 288 h 456"/>
                    <a:gd name="T74" fmla="*/ 17 w 447"/>
                    <a:gd name="T75" fmla="*/ 283 h 456"/>
                    <a:gd name="T76" fmla="*/ 12 w 447"/>
                    <a:gd name="T77" fmla="*/ 250 h 456"/>
                    <a:gd name="T78" fmla="*/ 12 w 447"/>
                    <a:gd name="T79" fmla="*/ 25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47" h="456">
                      <a:moveTo>
                        <a:pt x="12" y="250"/>
                      </a:moveTo>
                      <a:lnTo>
                        <a:pt x="45" y="217"/>
                      </a:lnTo>
                      <a:lnTo>
                        <a:pt x="55" y="229"/>
                      </a:lnTo>
                      <a:lnTo>
                        <a:pt x="55" y="217"/>
                      </a:lnTo>
                      <a:lnTo>
                        <a:pt x="83" y="200"/>
                      </a:lnTo>
                      <a:lnTo>
                        <a:pt x="104" y="184"/>
                      </a:lnTo>
                      <a:lnTo>
                        <a:pt x="125" y="184"/>
                      </a:lnTo>
                      <a:lnTo>
                        <a:pt x="156" y="144"/>
                      </a:lnTo>
                      <a:lnTo>
                        <a:pt x="163" y="122"/>
                      </a:lnTo>
                      <a:lnTo>
                        <a:pt x="189" y="106"/>
                      </a:lnTo>
                      <a:lnTo>
                        <a:pt x="210" y="139"/>
                      </a:lnTo>
                      <a:lnTo>
                        <a:pt x="270" y="144"/>
                      </a:lnTo>
                      <a:lnTo>
                        <a:pt x="281" y="122"/>
                      </a:lnTo>
                      <a:lnTo>
                        <a:pt x="270" y="106"/>
                      </a:lnTo>
                      <a:lnTo>
                        <a:pt x="265" y="89"/>
                      </a:lnTo>
                      <a:lnTo>
                        <a:pt x="324" y="89"/>
                      </a:lnTo>
                      <a:lnTo>
                        <a:pt x="350" y="66"/>
                      </a:lnTo>
                      <a:lnTo>
                        <a:pt x="357" y="49"/>
                      </a:lnTo>
                      <a:lnTo>
                        <a:pt x="366" y="56"/>
                      </a:lnTo>
                      <a:lnTo>
                        <a:pt x="378" y="49"/>
                      </a:lnTo>
                      <a:lnTo>
                        <a:pt x="395" y="0"/>
                      </a:lnTo>
                      <a:lnTo>
                        <a:pt x="421" y="11"/>
                      </a:lnTo>
                      <a:lnTo>
                        <a:pt x="421" y="28"/>
                      </a:lnTo>
                      <a:lnTo>
                        <a:pt x="442" y="45"/>
                      </a:lnTo>
                      <a:lnTo>
                        <a:pt x="442" y="49"/>
                      </a:lnTo>
                      <a:lnTo>
                        <a:pt x="447" y="66"/>
                      </a:lnTo>
                      <a:lnTo>
                        <a:pt x="433" y="56"/>
                      </a:lnTo>
                      <a:lnTo>
                        <a:pt x="378" y="122"/>
                      </a:lnTo>
                      <a:lnTo>
                        <a:pt x="378" y="139"/>
                      </a:lnTo>
                      <a:lnTo>
                        <a:pt x="388" y="144"/>
                      </a:lnTo>
                      <a:lnTo>
                        <a:pt x="378" y="193"/>
                      </a:lnTo>
                      <a:lnTo>
                        <a:pt x="350" y="200"/>
                      </a:lnTo>
                      <a:lnTo>
                        <a:pt x="340" y="217"/>
                      </a:lnTo>
                      <a:lnTo>
                        <a:pt x="303" y="238"/>
                      </a:lnTo>
                      <a:lnTo>
                        <a:pt x="303" y="250"/>
                      </a:lnTo>
                      <a:lnTo>
                        <a:pt x="286" y="255"/>
                      </a:lnTo>
                      <a:lnTo>
                        <a:pt x="265" y="255"/>
                      </a:lnTo>
                      <a:lnTo>
                        <a:pt x="260" y="271"/>
                      </a:lnTo>
                      <a:lnTo>
                        <a:pt x="227" y="283"/>
                      </a:lnTo>
                      <a:lnTo>
                        <a:pt x="232" y="323"/>
                      </a:lnTo>
                      <a:lnTo>
                        <a:pt x="227" y="311"/>
                      </a:lnTo>
                      <a:lnTo>
                        <a:pt x="218" y="311"/>
                      </a:lnTo>
                      <a:lnTo>
                        <a:pt x="218" y="328"/>
                      </a:lnTo>
                      <a:lnTo>
                        <a:pt x="248" y="340"/>
                      </a:lnTo>
                      <a:lnTo>
                        <a:pt x="286" y="378"/>
                      </a:lnTo>
                      <a:lnTo>
                        <a:pt x="281" y="394"/>
                      </a:lnTo>
                      <a:lnTo>
                        <a:pt x="265" y="399"/>
                      </a:lnTo>
                      <a:lnTo>
                        <a:pt x="206" y="406"/>
                      </a:lnTo>
                      <a:lnTo>
                        <a:pt x="173" y="439"/>
                      </a:lnTo>
                      <a:lnTo>
                        <a:pt x="163" y="451"/>
                      </a:lnTo>
                      <a:lnTo>
                        <a:pt x="151" y="439"/>
                      </a:lnTo>
                      <a:lnTo>
                        <a:pt x="135" y="451"/>
                      </a:lnTo>
                      <a:lnTo>
                        <a:pt x="135" y="456"/>
                      </a:lnTo>
                      <a:lnTo>
                        <a:pt x="121" y="439"/>
                      </a:lnTo>
                      <a:lnTo>
                        <a:pt x="121" y="451"/>
                      </a:lnTo>
                      <a:lnTo>
                        <a:pt x="109" y="432"/>
                      </a:lnTo>
                      <a:lnTo>
                        <a:pt x="97" y="422"/>
                      </a:lnTo>
                      <a:lnTo>
                        <a:pt x="104" y="439"/>
                      </a:lnTo>
                      <a:lnTo>
                        <a:pt x="71" y="456"/>
                      </a:lnTo>
                      <a:lnTo>
                        <a:pt x="88" y="439"/>
                      </a:lnTo>
                      <a:lnTo>
                        <a:pt x="50" y="432"/>
                      </a:lnTo>
                      <a:lnTo>
                        <a:pt x="71" y="422"/>
                      </a:lnTo>
                      <a:lnTo>
                        <a:pt x="29" y="415"/>
                      </a:lnTo>
                      <a:lnTo>
                        <a:pt x="45" y="406"/>
                      </a:lnTo>
                      <a:lnTo>
                        <a:pt x="50" y="382"/>
                      </a:lnTo>
                      <a:lnTo>
                        <a:pt x="83" y="366"/>
                      </a:lnTo>
                      <a:lnTo>
                        <a:pt x="97" y="378"/>
                      </a:lnTo>
                      <a:lnTo>
                        <a:pt x="66" y="361"/>
                      </a:lnTo>
                      <a:lnTo>
                        <a:pt x="83" y="323"/>
                      </a:lnTo>
                      <a:lnTo>
                        <a:pt x="71" y="304"/>
                      </a:lnTo>
                      <a:lnTo>
                        <a:pt x="83" y="295"/>
                      </a:lnTo>
                      <a:lnTo>
                        <a:pt x="55" y="295"/>
                      </a:lnTo>
                      <a:lnTo>
                        <a:pt x="33" y="283"/>
                      </a:lnTo>
                      <a:lnTo>
                        <a:pt x="33" y="288"/>
                      </a:lnTo>
                      <a:lnTo>
                        <a:pt x="29" y="295"/>
                      </a:lnTo>
                      <a:lnTo>
                        <a:pt x="17" y="283"/>
                      </a:lnTo>
                      <a:lnTo>
                        <a:pt x="0" y="267"/>
                      </a:lnTo>
                      <a:lnTo>
                        <a:pt x="12" y="250"/>
                      </a:lnTo>
                      <a:lnTo>
                        <a:pt x="12" y="250"/>
                      </a:lnTo>
                      <a:lnTo>
                        <a:pt x="12" y="25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38" name="Freeform 488">
                  <a:extLst>
                    <a:ext uri="{FF2B5EF4-FFF2-40B4-BE49-F238E27FC236}">
                      <a16:creationId xmlns:a16="http://schemas.microsoft.com/office/drawing/2014/main" id="{98EABC1F-EC84-47BC-91A7-8602E114490F}"/>
                    </a:ext>
                  </a:extLst>
                </p:cNvPr>
                <p:cNvSpPr>
                  <a:spLocks noEditPoints="1"/>
                </p:cNvSpPr>
                <p:nvPr/>
              </p:nvSpPr>
              <p:spPr bwMode="gray">
                <a:xfrm>
                  <a:off x="8069103" y="2224692"/>
                  <a:ext cx="1178611" cy="566933"/>
                </a:xfrm>
                <a:custGeom>
                  <a:avLst/>
                  <a:gdLst>
                    <a:gd name="T0" fmla="*/ 456 w 2863"/>
                    <a:gd name="T1" fmla="*/ 1240 h 1377"/>
                    <a:gd name="T2" fmla="*/ 364 w 2863"/>
                    <a:gd name="T3" fmla="*/ 1155 h 1377"/>
                    <a:gd name="T4" fmla="*/ 267 w 2863"/>
                    <a:gd name="T5" fmla="*/ 1015 h 1377"/>
                    <a:gd name="T6" fmla="*/ 309 w 2863"/>
                    <a:gd name="T7" fmla="*/ 994 h 1377"/>
                    <a:gd name="T8" fmla="*/ 465 w 2863"/>
                    <a:gd name="T9" fmla="*/ 878 h 1377"/>
                    <a:gd name="T10" fmla="*/ 394 w 2863"/>
                    <a:gd name="T11" fmla="*/ 829 h 1377"/>
                    <a:gd name="T12" fmla="*/ 196 w 2863"/>
                    <a:gd name="T13" fmla="*/ 850 h 1377"/>
                    <a:gd name="T14" fmla="*/ 158 w 2863"/>
                    <a:gd name="T15" fmla="*/ 834 h 1377"/>
                    <a:gd name="T16" fmla="*/ 0 w 2863"/>
                    <a:gd name="T17" fmla="*/ 678 h 1377"/>
                    <a:gd name="T18" fmla="*/ 71 w 2863"/>
                    <a:gd name="T19" fmla="*/ 493 h 1377"/>
                    <a:gd name="T20" fmla="*/ 158 w 2863"/>
                    <a:gd name="T21" fmla="*/ 510 h 1377"/>
                    <a:gd name="T22" fmla="*/ 272 w 2863"/>
                    <a:gd name="T23" fmla="*/ 399 h 1377"/>
                    <a:gd name="T24" fmla="*/ 335 w 2863"/>
                    <a:gd name="T25" fmla="*/ 382 h 1377"/>
                    <a:gd name="T26" fmla="*/ 411 w 2863"/>
                    <a:gd name="T27" fmla="*/ 366 h 1377"/>
                    <a:gd name="T28" fmla="*/ 562 w 2863"/>
                    <a:gd name="T29" fmla="*/ 456 h 1377"/>
                    <a:gd name="T30" fmla="*/ 574 w 2863"/>
                    <a:gd name="T31" fmla="*/ 434 h 1377"/>
                    <a:gd name="T32" fmla="*/ 713 w 2863"/>
                    <a:gd name="T33" fmla="*/ 434 h 1377"/>
                    <a:gd name="T34" fmla="*/ 827 w 2863"/>
                    <a:gd name="T35" fmla="*/ 423 h 1377"/>
                    <a:gd name="T36" fmla="*/ 914 w 2863"/>
                    <a:gd name="T37" fmla="*/ 489 h 1377"/>
                    <a:gd name="T38" fmla="*/ 1061 w 2863"/>
                    <a:gd name="T39" fmla="*/ 418 h 1377"/>
                    <a:gd name="T40" fmla="*/ 952 w 2863"/>
                    <a:gd name="T41" fmla="*/ 349 h 1377"/>
                    <a:gd name="T42" fmla="*/ 1006 w 2863"/>
                    <a:gd name="T43" fmla="*/ 278 h 1377"/>
                    <a:gd name="T44" fmla="*/ 1028 w 2863"/>
                    <a:gd name="T45" fmla="*/ 217 h 1377"/>
                    <a:gd name="T46" fmla="*/ 1037 w 2863"/>
                    <a:gd name="T47" fmla="*/ 167 h 1377"/>
                    <a:gd name="T48" fmla="*/ 1129 w 2863"/>
                    <a:gd name="T49" fmla="*/ 160 h 1377"/>
                    <a:gd name="T50" fmla="*/ 1226 w 2863"/>
                    <a:gd name="T51" fmla="*/ 111 h 1377"/>
                    <a:gd name="T52" fmla="*/ 1368 w 2863"/>
                    <a:gd name="T53" fmla="*/ 89 h 1377"/>
                    <a:gd name="T54" fmla="*/ 1561 w 2863"/>
                    <a:gd name="T55" fmla="*/ 12 h 1377"/>
                    <a:gd name="T56" fmla="*/ 1687 w 2863"/>
                    <a:gd name="T57" fmla="*/ 16 h 1377"/>
                    <a:gd name="T58" fmla="*/ 1729 w 2863"/>
                    <a:gd name="T59" fmla="*/ 111 h 1377"/>
                    <a:gd name="T60" fmla="*/ 1795 w 2863"/>
                    <a:gd name="T61" fmla="*/ 106 h 1377"/>
                    <a:gd name="T62" fmla="*/ 1838 w 2863"/>
                    <a:gd name="T63" fmla="*/ 156 h 1377"/>
                    <a:gd name="T64" fmla="*/ 1918 w 2863"/>
                    <a:gd name="T65" fmla="*/ 139 h 1377"/>
                    <a:gd name="T66" fmla="*/ 1946 w 2863"/>
                    <a:gd name="T67" fmla="*/ 184 h 1377"/>
                    <a:gd name="T68" fmla="*/ 2027 w 2863"/>
                    <a:gd name="T69" fmla="*/ 139 h 1377"/>
                    <a:gd name="T70" fmla="*/ 2119 w 2863"/>
                    <a:gd name="T71" fmla="*/ 127 h 1377"/>
                    <a:gd name="T72" fmla="*/ 2376 w 2863"/>
                    <a:gd name="T73" fmla="*/ 423 h 1377"/>
                    <a:gd name="T74" fmla="*/ 2523 w 2863"/>
                    <a:gd name="T75" fmla="*/ 460 h 1377"/>
                    <a:gd name="T76" fmla="*/ 2702 w 2863"/>
                    <a:gd name="T77" fmla="*/ 534 h 1377"/>
                    <a:gd name="T78" fmla="*/ 2825 w 2863"/>
                    <a:gd name="T79" fmla="*/ 550 h 1377"/>
                    <a:gd name="T80" fmla="*/ 2837 w 2863"/>
                    <a:gd name="T81" fmla="*/ 612 h 1377"/>
                    <a:gd name="T82" fmla="*/ 2750 w 2863"/>
                    <a:gd name="T83" fmla="*/ 777 h 1377"/>
                    <a:gd name="T84" fmla="*/ 2627 w 2863"/>
                    <a:gd name="T85" fmla="*/ 810 h 1377"/>
                    <a:gd name="T86" fmla="*/ 2485 w 2863"/>
                    <a:gd name="T87" fmla="*/ 978 h 1377"/>
                    <a:gd name="T88" fmla="*/ 2376 w 2863"/>
                    <a:gd name="T89" fmla="*/ 1027 h 1377"/>
                    <a:gd name="T90" fmla="*/ 2362 w 2863"/>
                    <a:gd name="T91" fmla="*/ 1200 h 1377"/>
                    <a:gd name="T92" fmla="*/ 2157 w 2863"/>
                    <a:gd name="T93" fmla="*/ 1178 h 1377"/>
                    <a:gd name="T94" fmla="*/ 1902 w 2863"/>
                    <a:gd name="T95" fmla="*/ 1162 h 1377"/>
                    <a:gd name="T96" fmla="*/ 1713 w 2863"/>
                    <a:gd name="T97" fmla="*/ 1233 h 1377"/>
                    <a:gd name="T98" fmla="*/ 1583 w 2863"/>
                    <a:gd name="T99" fmla="*/ 1323 h 1377"/>
                    <a:gd name="T100" fmla="*/ 1422 w 2863"/>
                    <a:gd name="T101" fmla="*/ 1327 h 1377"/>
                    <a:gd name="T102" fmla="*/ 1292 w 2863"/>
                    <a:gd name="T103" fmla="*/ 1105 h 1377"/>
                    <a:gd name="T104" fmla="*/ 666 w 2863"/>
                    <a:gd name="T105" fmla="*/ 1311 h 1377"/>
                    <a:gd name="T106" fmla="*/ 456 w 2863"/>
                    <a:gd name="T107" fmla="*/ 883 h 1377"/>
                    <a:gd name="T108" fmla="*/ 267 w 2863"/>
                    <a:gd name="T109" fmla="*/ 994 h 1377"/>
                    <a:gd name="T110" fmla="*/ 255 w 2863"/>
                    <a:gd name="T111" fmla="*/ 999 h 1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63" h="1377">
                      <a:moveTo>
                        <a:pt x="666" y="1311"/>
                      </a:moveTo>
                      <a:lnTo>
                        <a:pt x="628" y="1323"/>
                      </a:lnTo>
                      <a:lnTo>
                        <a:pt x="595" y="1273"/>
                      </a:lnTo>
                      <a:lnTo>
                        <a:pt x="595" y="1266"/>
                      </a:lnTo>
                      <a:lnTo>
                        <a:pt x="541" y="1221"/>
                      </a:lnTo>
                      <a:lnTo>
                        <a:pt x="487" y="1233"/>
                      </a:lnTo>
                      <a:lnTo>
                        <a:pt x="456" y="1240"/>
                      </a:lnTo>
                      <a:lnTo>
                        <a:pt x="418" y="1282"/>
                      </a:lnTo>
                      <a:lnTo>
                        <a:pt x="418" y="1266"/>
                      </a:lnTo>
                      <a:lnTo>
                        <a:pt x="411" y="1249"/>
                      </a:lnTo>
                      <a:lnTo>
                        <a:pt x="432" y="1195"/>
                      </a:lnTo>
                      <a:lnTo>
                        <a:pt x="394" y="1178"/>
                      </a:lnTo>
                      <a:lnTo>
                        <a:pt x="380" y="1183"/>
                      </a:lnTo>
                      <a:lnTo>
                        <a:pt x="364" y="1155"/>
                      </a:lnTo>
                      <a:lnTo>
                        <a:pt x="335" y="1155"/>
                      </a:lnTo>
                      <a:lnTo>
                        <a:pt x="335" y="1129"/>
                      </a:lnTo>
                      <a:lnTo>
                        <a:pt x="319" y="1100"/>
                      </a:lnTo>
                      <a:lnTo>
                        <a:pt x="305" y="1067"/>
                      </a:lnTo>
                      <a:lnTo>
                        <a:pt x="267" y="1051"/>
                      </a:lnTo>
                      <a:lnTo>
                        <a:pt x="267" y="1027"/>
                      </a:lnTo>
                      <a:lnTo>
                        <a:pt x="267" y="1015"/>
                      </a:lnTo>
                      <a:lnTo>
                        <a:pt x="305" y="1027"/>
                      </a:lnTo>
                      <a:lnTo>
                        <a:pt x="326" y="1034"/>
                      </a:lnTo>
                      <a:lnTo>
                        <a:pt x="357" y="1034"/>
                      </a:lnTo>
                      <a:lnTo>
                        <a:pt x="335" y="1027"/>
                      </a:lnTo>
                      <a:lnTo>
                        <a:pt x="335" y="1015"/>
                      </a:lnTo>
                      <a:lnTo>
                        <a:pt x="309" y="999"/>
                      </a:lnTo>
                      <a:lnTo>
                        <a:pt x="309" y="994"/>
                      </a:lnTo>
                      <a:lnTo>
                        <a:pt x="335" y="978"/>
                      </a:lnTo>
                      <a:lnTo>
                        <a:pt x="343" y="956"/>
                      </a:lnTo>
                      <a:lnTo>
                        <a:pt x="418" y="956"/>
                      </a:lnTo>
                      <a:lnTo>
                        <a:pt x="470" y="961"/>
                      </a:lnTo>
                      <a:lnTo>
                        <a:pt x="432" y="940"/>
                      </a:lnTo>
                      <a:lnTo>
                        <a:pt x="465" y="900"/>
                      </a:lnTo>
                      <a:lnTo>
                        <a:pt x="465" y="878"/>
                      </a:lnTo>
                      <a:lnTo>
                        <a:pt x="456" y="862"/>
                      </a:lnTo>
                      <a:lnTo>
                        <a:pt x="470" y="845"/>
                      </a:lnTo>
                      <a:lnTo>
                        <a:pt x="470" y="834"/>
                      </a:lnTo>
                      <a:lnTo>
                        <a:pt x="456" y="822"/>
                      </a:lnTo>
                      <a:lnTo>
                        <a:pt x="449" y="810"/>
                      </a:lnTo>
                      <a:lnTo>
                        <a:pt x="418" y="810"/>
                      </a:lnTo>
                      <a:lnTo>
                        <a:pt x="394" y="829"/>
                      </a:lnTo>
                      <a:lnTo>
                        <a:pt x="373" y="822"/>
                      </a:lnTo>
                      <a:lnTo>
                        <a:pt x="357" y="805"/>
                      </a:lnTo>
                      <a:lnTo>
                        <a:pt x="326" y="805"/>
                      </a:lnTo>
                      <a:lnTo>
                        <a:pt x="305" y="822"/>
                      </a:lnTo>
                      <a:lnTo>
                        <a:pt x="272" y="822"/>
                      </a:lnTo>
                      <a:lnTo>
                        <a:pt x="234" y="850"/>
                      </a:lnTo>
                      <a:lnTo>
                        <a:pt x="196" y="850"/>
                      </a:lnTo>
                      <a:lnTo>
                        <a:pt x="201" y="867"/>
                      </a:lnTo>
                      <a:lnTo>
                        <a:pt x="196" y="862"/>
                      </a:lnTo>
                      <a:lnTo>
                        <a:pt x="184" y="867"/>
                      </a:lnTo>
                      <a:lnTo>
                        <a:pt x="142" y="850"/>
                      </a:lnTo>
                      <a:lnTo>
                        <a:pt x="142" y="834"/>
                      </a:lnTo>
                      <a:lnTo>
                        <a:pt x="158" y="834"/>
                      </a:lnTo>
                      <a:lnTo>
                        <a:pt x="158" y="834"/>
                      </a:lnTo>
                      <a:lnTo>
                        <a:pt x="180" y="829"/>
                      </a:lnTo>
                      <a:lnTo>
                        <a:pt x="120" y="751"/>
                      </a:lnTo>
                      <a:lnTo>
                        <a:pt x="66" y="734"/>
                      </a:lnTo>
                      <a:lnTo>
                        <a:pt x="66" y="751"/>
                      </a:lnTo>
                      <a:lnTo>
                        <a:pt x="50" y="734"/>
                      </a:lnTo>
                      <a:lnTo>
                        <a:pt x="38" y="694"/>
                      </a:lnTo>
                      <a:lnTo>
                        <a:pt x="0" y="678"/>
                      </a:lnTo>
                      <a:lnTo>
                        <a:pt x="17" y="628"/>
                      </a:lnTo>
                      <a:lnTo>
                        <a:pt x="38" y="612"/>
                      </a:lnTo>
                      <a:lnTo>
                        <a:pt x="17" y="600"/>
                      </a:lnTo>
                      <a:lnTo>
                        <a:pt x="33" y="550"/>
                      </a:lnTo>
                      <a:lnTo>
                        <a:pt x="54" y="529"/>
                      </a:lnTo>
                      <a:lnTo>
                        <a:pt x="54" y="501"/>
                      </a:lnTo>
                      <a:lnTo>
                        <a:pt x="71" y="493"/>
                      </a:lnTo>
                      <a:lnTo>
                        <a:pt x="76" y="489"/>
                      </a:lnTo>
                      <a:lnTo>
                        <a:pt x="104" y="510"/>
                      </a:lnTo>
                      <a:lnTo>
                        <a:pt x="125" y="545"/>
                      </a:lnTo>
                      <a:lnTo>
                        <a:pt x="130" y="550"/>
                      </a:lnTo>
                      <a:lnTo>
                        <a:pt x="163" y="545"/>
                      </a:lnTo>
                      <a:lnTo>
                        <a:pt x="175" y="529"/>
                      </a:lnTo>
                      <a:lnTo>
                        <a:pt x="158" y="510"/>
                      </a:lnTo>
                      <a:lnTo>
                        <a:pt x="158" y="477"/>
                      </a:lnTo>
                      <a:lnTo>
                        <a:pt x="201" y="456"/>
                      </a:lnTo>
                      <a:lnTo>
                        <a:pt x="201" y="439"/>
                      </a:lnTo>
                      <a:lnTo>
                        <a:pt x="213" y="423"/>
                      </a:lnTo>
                      <a:lnTo>
                        <a:pt x="234" y="434"/>
                      </a:lnTo>
                      <a:lnTo>
                        <a:pt x="272" y="406"/>
                      </a:lnTo>
                      <a:lnTo>
                        <a:pt x="272" y="399"/>
                      </a:lnTo>
                      <a:lnTo>
                        <a:pt x="288" y="389"/>
                      </a:lnTo>
                      <a:lnTo>
                        <a:pt x="288" y="378"/>
                      </a:lnTo>
                      <a:lnTo>
                        <a:pt x="305" y="382"/>
                      </a:lnTo>
                      <a:lnTo>
                        <a:pt x="305" y="366"/>
                      </a:lnTo>
                      <a:lnTo>
                        <a:pt x="343" y="378"/>
                      </a:lnTo>
                      <a:lnTo>
                        <a:pt x="343" y="382"/>
                      </a:lnTo>
                      <a:lnTo>
                        <a:pt x="335" y="382"/>
                      </a:lnTo>
                      <a:lnTo>
                        <a:pt x="335" y="389"/>
                      </a:lnTo>
                      <a:lnTo>
                        <a:pt x="364" y="389"/>
                      </a:lnTo>
                      <a:lnTo>
                        <a:pt x="373" y="389"/>
                      </a:lnTo>
                      <a:lnTo>
                        <a:pt x="373" y="382"/>
                      </a:lnTo>
                      <a:lnTo>
                        <a:pt x="380" y="378"/>
                      </a:lnTo>
                      <a:lnTo>
                        <a:pt x="394" y="378"/>
                      </a:lnTo>
                      <a:lnTo>
                        <a:pt x="411" y="366"/>
                      </a:lnTo>
                      <a:lnTo>
                        <a:pt x="428" y="389"/>
                      </a:lnTo>
                      <a:lnTo>
                        <a:pt x="487" y="389"/>
                      </a:lnTo>
                      <a:lnTo>
                        <a:pt x="503" y="399"/>
                      </a:lnTo>
                      <a:lnTo>
                        <a:pt x="503" y="418"/>
                      </a:lnTo>
                      <a:lnTo>
                        <a:pt x="524" y="423"/>
                      </a:lnTo>
                      <a:lnTo>
                        <a:pt x="553" y="444"/>
                      </a:lnTo>
                      <a:lnTo>
                        <a:pt x="562" y="456"/>
                      </a:lnTo>
                      <a:lnTo>
                        <a:pt x="557" y="472"/>
                      </a:lnTo>
                      <a:lnTo>
                        <a:pt x="562" y="489"/>
                      </a:lnTo>
                      <a:lnTo>
                        <a:pt x="574" y="477"/>
                      </a:lnTo>
                      <a:lnTo>
                        <a:pt x="574" y="444"/>
                      </a:lnTo>
                      <a:lnTo>
                        <a:pt x="562" y="444"/>
                      </a:lnTo>
                      <a:lnTo>
                        <a:pt x="562" y="439"/>
                      </a:lnTo>
                      <a:lnTo>
                        <a:pt x="574" y="434"/>
                      </a:lnTo>
                      <a:lnTo>
                        <a:pt x="645" y="489"/>
                      </a:lnTo>
                      <a:lnTo>
                        <a:pt x="671" y="460"/>
                      </a:lnTo>
                      <a:lnTo>
                        <a:pt x="683" y="444"/>
                      </a:lnTo>
                      <a:lnTo>
                        <a:pt x="687" y="444"/>
                      </a:lnTo>
                      <a:lnTo>
                        <a:pt x="704" y="434"/>
                      </a:lnTo>
                      <a:lnTo>
                        <a:pt x="720" y="439"/>
                      </a:lnTo>
                      <a:lnTo>
                        <a:pt x="713" y="434"/>
                      </a:lnTo>
                      <a:lnTo>
                        <a:pt x="720" y="434"/>
                      </a:lnTo>
                      <a:lnTo>
                        <a:pt x="742" y="434"/>
                      </a:lnTo>
                      <a:lnTo>
                        <a:pt x="772" y="456"/>
                      </a:lnTo>
                      <a:lnTo>
                        <a:pt x="789" y="444"/>
                      </a:lnTo>
                      <a:lnTo>
                        <a:pt x="789" y="434"/>
                      </a:lnTo>
                      <a:lnTo>
                        <a:pt x="822" y="434"/>
                      </a:lnTo>
                      <a:lnTo>
                        <a:pt x="827" y="423"/>
                      </a:lnTo>
                      <a:lnTo>
                        <a:pt x="848" y="434"/>
                      </a:lnTo>
                      <a:lnTo>
                        <a:pt x="843" y="444"/>
                      </a:lnTo>
                      <a:lnTo>
                        <a:pt x="848" y="456"/>
                      </a:lnTo>
                      <a:lnTo>
                        <a:pt x="876" y="472"/>
                      </a:lnTo>
                      <a:lnTo>
                        <a:pt x="914" y="472"/>
                      </a:lnTo>
                      <a:lnTo>
                        <a:pt x="919" y="477"/>
                      </a:lnTo>
                      <a:lnTo>
                        <a:pt x="914" y="489"/>
                      </a:lnTo>
                      <a:lnTo>
                        <a:pt x="914" y="489"/>
                      </a:lnTo>
                      <a:lnTo>
                        <a:pt x="935" y="477"/>
                      </a:lnTo>
                      <a:lnTo>
                        <a:pt x="952" y="456"/>
                      </a:lnTo>
                      <a:lnTo>
                        <a:pt x="968" y="472"/>
                      </a:lnTo>
                      <a:lnTo>
                        <a:pt x="994" y="472"/>
                      </a:lnTo>
                      <a:lnTo>
                        <a:pt x="1044" y="460"/>
                      </a:lnTo>
                      <a:lnTo>
                        <a:pt x="1061" y="418"/>
                      </a:lnTo>
                      <a:lnTo>
                        <a:pt x="1065" y="418"/>
                      </a:lnTo>
                      <a:lnTo>
                        <a:pt x="1049" y="399"/>
                      </a:lnTo>
                      <a:lnTo>
                        <a:pt x="1011" y="389"/>
                      </a:lnTo>
                      <a:lnTo>
                        <a:pt x="1011" y="382"/>
                      </a:lnTo>
                      <a:lnTo>
                        <a:pt x="973" y="378"/>
                      </a:lnTo>
                      <a:lnTo>
                        <a:pt x="985" y="361"/>
                      </a:lnTo>
                      <a:lnTo>
                        <a:pt x="952" y="349"/>
                      </a:lnTo>
                      <a:lnTo>
                        <a:pt x="940" y="345"/>
                      </a:lnTo>
                      <a:lnTo>
                        <a:pt x="985" y="328"/>
                      </a:lnTo>
                      <a:lnTo>
                        <a:pt x="994" y="328"/>
                      </a:lnTo>
                      <a:lnTo>
                        <a:pt x="1023" y="312"/>
                      </a:lnTo>
                      <a:lnTo>
                        <a:pt x="1011" y="295"/>
                      </a:lnTo>
                      <a:lnTo>
                        <a:pt x="1006" y="288"/>
                      </a:lnTo>
                      <a:lnTo>
                        <a:pt x="1006" y="278"/>
                      </a:lnTo>
                      <a:lnTo>
                        <a:pt x="994" y="278"/>
                      </a:lnTo>
                      <a:lnTo>
                        <a:pt x="1023" y="250"/>
                      </a:lnTo>
                      <a:lnTo>
                        <a:pt x="1049" y="238"/>
                      </a:lnTo>
                      <a:lnTo>
                        <a:pt x="1082" y="250"/>
                      </a:lnTo>
                      <a:lnTo>
                        <a:pt x="1098" y="250"/>
                      </a:lnTo>
                      <a:lnTo>
                        <a:pt x="1098" y="234"/>
                      </a:lnTo>
                      <a:lnTo>
                        <a:pt x="1028" y="217"/>
                      </a:lnTo>
                      <a:lnTo>
                        <a:pt x="1037" y="193"/>
                      </a:lnTo>
                      <a:lnTo>
                        <a:pt x="1044" y="201"/>
                      </a:lnTo>
                      <a:lnTo>
                        <a:pt x="1061" y="193"/>
                      </a:lnTo>
                      <a:lnTo>
                        <a:pt x="1049" y="184"/>
                      </a:lnTo>
                      <a:lnTo>
                        <a:pt x="1011" y="184"/>
                      </a:lnTo>
                      <a:lnTo>
                        <a:pt x="1023" y="184"/>
                      </a:lnTo>
                      <a:lnTo>
                        <a:pt x="1037" y="167"/>
                      </a:lnTo>
                      <a:lnTo>
                        <a:pt x="1023" y="160"/>
                      </a:lnTo>
                      <a:lnTo>
                        <a:pt x="1023" y="156"/>
                      </a:lnTo>
                      <a:lnTo>
                        <a:pt x="1044" y="139"/>
                      </a:lnTo>
                      <a:lnTo>
                        <a:pt x="1091" y="156"/>
                      </a:lnTo>
                      <a:lnTo>
                        <a:pt x="1091" y="144"/>
                      </a:lnTo>
                      <a:lnTo>
                        <a:pt x="1113" y="144"/>
                      </a:lnTo>
                      <a:lnTo>
                        <a:pt x="1129" y="160"/>
                      </a:lnTo>
                      <a:lnTo>
                        <a:pt x="1129" y="144"/>
                      </a:lnTo>
                      <a:lnTo>
                        <a:pt x="1167" y="139"/>
                      </a:lnTo>
                      <a:lnTo>
                        <a:pt x="1167" y="127"/>
                      </a:lnTo>
                      <a:lnTo>
                        <a:pt x="1205" y="123"/>
                      </a:lnTo>
                      <a:lnTo>
                        <a:pt x="1221" y="127"/>
                      </a:lnTo>
                      <a:lnTo>
                        <a:pt x="1226" y="123"/>
                      </a:lnTo>
                      <a:lnTo>
                        <a:pt x="1226" y="111"/>
                      </a:lnTo>
                      <a:lnTo>
                        <a:pt x="1292" y="106"/>
                      </a:lnTo>
                      <a:lnTo>
                        <a:pt x="1313" y="111"/>
                      </a:lnTo>
                      <a:lnTo>
                        <a:pt x="1313" y="99"/>
                      </a:lnTo>
                      <a:lnTo>
                        <a:pt x="1330" y="82"/>
                      </a:lnTo>
                      <a:lnTo>
                        <a:pt x="1351" y="89"/>
                      </a:lnTo>
                      <a:lnTo>
                        <a:pt x="1368" y="73"/>
                      </a:lnTo>
                      <a:lnTo>
                        <a:pt x="1368" y="89"/>
                      </a:lnTo>
                      <a:lnTo>
                        <a:pt x="1476" y="66"/>
                      </a:lnTo>
                      <a:lnTo>
                        <a:pt x="1507" y="49"/>
                      </a:lnTo>
                      <a:lnTo>
                        <a:pt x="1524" y="49"/>
                      </a:lnTo>
                      <a:lnTo>
                        <a:pt x="1528" y="45"/>
                      </a:lnTo>
                      <a:lnTo>
                        <a:pt x="1524" y="28"/>
                      </a:lnTo>
                      <a:lnTo>
                        <a:pt x="1552" y="28"/>
                      </a:lnTo>
                      <a:lnTo>
                        <a:pt x="1561" y="12"/>
                      </a:lnTo>
                      <a:lnTo>
                        <a:pt x="1578" y="16"/>
                      </a:lnTo>
                      <a:lnTo>
                        <a:pt x="1578" y="0"/>
                      </a:lnTo>
                      <a:lnTo>
                        <a:pt x="1594" y="16"/>
                      </a:lnTo>
                      <a:lnTo>
                        <a:pt x="1599" y="12"/>
                      </a:lnTo>
                      <a:lnTo>
                        <a:pt x="1620" y="12"/>
                      </a:lnTo>
                      <a:lnTo>
                        <a:pt x="1670" y="33"/>
                      </a:lnTo>
                      <a:lnTo>
                        <a:pt x="1687" y="16"/>
                      </a:lnTo>
                      <a:lnTo>
                        <a:pt x="1708" y="16"/>
                      </a:lnTo>
                      <a:lnTo>
                        <a:pt x="1708" y="16"/>
                      </a:lnTo>
                      <a:lnTo>
                        <a:pt x="1713" y="45"/>
                      </a:lnTo>
                      <a:lnTo>
                        <a:pt x="1724" y="66"/>
                      </a:lnTo>
                      <a:lnTo>
                        <a:pt x="1741" y="82"/>
                      </a:lnTo>
                      <a:lnTo>
                        <a:pt x="1729" y="89"/>
                      </a:lnTo>
                      <a:lnTo>
                        <a:pt x="1729" y="111"/>
                      </a:lnTo>
                      <a:lnTo>
                        <a:pt x="1713" y="111"/>
                      </a:lnTo>
                      <a:lnTo>
                        <a:pt x="1729" y="139"/>
                      </a:lnTo>
                      <a:lnTo>
                        <a:pt x="1746" y="127"/>
                      </a:lnTo>
                      <a:lnTo>
                        <a:pt x="1762" y="139"/>
                      </a:lnTo>
                      <a:lnTo>
                        <a:pt x="1767" y="123"/>
                      </a:lnTo>
                      <a:lnTo>
                        <a:pt x="1800" y="139"/>
                      </a:lnTo>
                      <a:lnTo>
                        <a:pt x="1795" y="106"/>
                      </a:lnTo>
                      <a:lnTo>
                        <a:pt x="1800" y="111"/>
                      </a:lnTo>
                      <a:lnTo>
                        <a:pt x="1817" y="123"/>
                      </a:lnTo>
                      <a:lnTo>
                        <a:pt x="1809" y="127"/>
                      </a:lnTo>
                      <a:lnTo>
                        <a:pt x="1821" y="127"/>
                      </a:lnTo>
                      <a:lnTo>
                        <a:pt x="1817" y="156"/>
                      </a:lnTo>
                      <a:lnTo>
                        <a:pt x="1821" y="156"/>
                      </a:lnTo>
                      <a:lnTo>
                        <a:pt x="1838" y="156"/>
                      </a:lnTo>
                      <a:lnTo>
                        <a:pt x="1838" y="139"/>
                      </a:lnTo>
                      <a:lnTo>
                        <a:pt x="1821" y="144"/>
                      </a:lnTo>
                      <a:lnTo>
                        <a:pt x="1833" y="127"/>
                      </a:lnTo>
                      <a:lnTo>
                        <a:pt x="1854" y="139"/>
                      </a:lnTo>
                      <a:lnTo>
                        <a:pt x="1864" y="144"/>
                      </a:lnTo>
                      <a:lnTo>
                        <a:pt x="1876" y="156"/>
                      </a:lnTo>
                      <a:lnTo>
                        <a:pt x="1918" y="139"/>
                      </a:lnTo>
                      <a:lnTo>
                        <a:pt x="1909" y="160"/>
                      </a:lnTo>
                      <a:lnTo>
                        <a:pt x="1892" y="160"/>
                      </a:lnTo>
                      <a:lnTo>
                        <a:pt x="1876" y="184"/>
                      </a:lnTo>
                      <a:lnTo>
                        <a:pt x="1892" y="201"/>
                      </a:lnTo>
                      <a:lnTo>
                        <a:pt x="1909" y="184"/>
                      </a:lnTo>
                      <a:lnTo>
                        <a:pt x="1923" y="184"/>
                      </a:lnTo>
                      <a:lnTo>
                        <a:pt x="1946" y="184"/>
                      </a:lnTo>
                      <a:lnTo>
                        <a:pt x="1961" y="201"/>
                      </a:lnTo>
                      <a:lnTo>
                        <a:pt x="1961" y="177"/>
                      </a:lnTo>
                      <a:lnTo>
                        <a:pt x="1977" y="177"/>
                      </a:lnTo>
                      <a:lnTo>
                        <a:pt x="1984" y="160"/>
                      </a:lnTo>
                      <a:lnTo>
                        <a:pt x="1998" y="167"/>
                      </a:lnTo>
                      <a:lnTo>
                        <a:pt x="2031" y="144"/>
                      </a:lnTo>
                      <a:lnTo>
                        <a:pt x="2027" y="139"/>
                      </a:lnTo>
                      <a:lnTo>
                        <a:pt x="2031" y="139"/>
                      </a:lnTo>
                      <a:lnTo>
                        <a:pt x="2086" y="123"/>
                      </a:lnTo>
                      <a:lnTo>
                        <a:pt x="2086" y="111"/>
                      </a:lnTo>
                      <a:lnTo>
                        <a:pt x="2102" y="111"/>
                      </a:lnTo>
                      <a:lnTo>
                        <a:pt x="2124" y="106"/>
                      </a:lnTo>
                      <a:lnTo>
                        <a:pt x="2135" y="123"/>
                      </a:lnTo>
                      <a:lnTo>
                        <a:pt x="2119" y="127"/>
                      </a:lnTo>
                      <a:lnTo>
                        <a:pt x="2102" y="127"/>
                      </a:lnTo>
                      <a:lnTo>
                        <a:pt x="2107" y="144"/>
                      </a:lnTo>
                      <a:lnTo>
                        <a:pt x="2199" y="217"/>
                      </a:lnTo>
                      <a:lnTo>
                        <a:pt x="2355" y="460"/>
                      </a:lnTo>
                      <a:lnTo>
                        <a:pt x="2355" y="456"/>
                      </a:lnTo>
                      <a:lnTo>
                        <a:pt x="2388" y="439"/>
                      </a:lnTo>
                      <a:lnTo>
                        <a:pt x="2376" y="423"/>
                      </a:lnTo>
                      <a:lnTo>
                        <a:pt x="2393" y="418"/>
                      </a:lnTo>
                      <a:lnTo>
                        <a:pt x="2405" y="406"/>
                      </a:lnTo>
                      <a:lnTo>
                        <a:pt x="2431" y="423"/>
                      </a:lnTo>
                      <a:lnTo>
                        <a:pt x="2426" y="444"/>
                      </a:lnTo>
                      <a:lnTo>
                        <a:pt x="2447" y="439"/>
                      </a:lnTo>
                      <a:lnTo>
                        <a:pt x="2459" y="460"/>
                      </a:lnTo>
                      <a:lnTo>
                        <a:pt x="2523" y="460"/>
                      </a:lnTo>
                      <a:lnTo>
                        <a:pt x="2539" y="456"/>
                      </a:lnTo>
                      <a:lnTo>
                        <a:pt x="2539" y="444"/>
                      </a:lnTo>
                      <a:lnTo>
                        <a:pt x="2594" y="439"/>
                      </a:lnTo>
                      <a:lnTo>
                        <a:pt x="2627" y="456"/>
                      </a:lnTo>
                      <a:lnTo>
                        <a:pt x="2657" y="510"/>
                      </a:lnTo>
                      <a:lnTo>
                        <a:pt x="2702" y="529"/>
                      </a:lnTo>
                      <a:lnTo>
                        <a:pt x="2702" y="534"/>
                      </a:lnTo>
                      <a:lnTo>
                        <a:pt x="2702" y="545"/>
                      </a:lnTo>
                      <a:lnTo>
                        <a:pt x="2712" y="545"/>
                      </a:lnTo>
                      <a:lnTo>
                        <a:pt x="2717" y="571"/>
                      </a:lnTo>
                      <a:lnTo>
                        <a:pt x="2750" y="571"/>
                      </a:lnTo>
                      <a:lnTo>
                        <a:pt x="2787" y="583"/>
                      </a:lnTo>
                      <a:lnTo>
                        <a:pt x="2809" y="550"/>
                      </a:lnTo>
                      <a:lnTo>
                        <a:pt x="2825" y="550"/>
                      </a:lnTo>
                      <a:lnTo>
                        <a:pt x="2825" y="555"/>
                      </a:lnTo>
                      <a:lnTo>
                        <a:pt x="2809" y="571"/>
                      </a:lnTo>
                      <a:lnTo>
                        <a:pt x="2837" y="583"/>
                      </a:lnTo>
                      <a:lnTo>
                        <a:pt x="2837" y="600"/>
                      </a:lnTo>
                      <a:lnTo>
                        <a:pt x="2863" y="604"/>
                      </a:lnTo>
                      <a:lnTo>
                        <a:pt x="2863" y="623"/>
                      </a:lnTo>
                      <a:lnTo>
                        <a:pt x="2837" y="612"/>
                      </a:lnTo>
                      <a:lnTo>
                        <a:pt x="2820" y="628"/>
                      </a:lnTo>
                      <a:lnTo>
                        <a:pt x="2825" y="656"/>
                      </a:lnTo>
                      <a:lnTo>
                        <a:pt x="2809" y="666"/>
                      </a:lnTo>
                      <a:lnTo>
                        <a:pt x="2754" y="682"/>
                      </a:lnTo>
                      <a:lnTo>
                        <a:pt x="2740" y="723"/>
                      </a:lnTo>
                      <a:lnTo>
                        <a:pt x="2740" y="767"/>
                      </a:lnTo>
                      <a:lnTo>
                        <a:pt x="2750" y="777"/>
                      </a:lnTo>
                      <a:lnTo>
                        <a:pt x="2750" y="789"/>
                      </a:lnTo>
                      <a:lnTo>
                        <a:pt x="2740" y="805"/>
                      </a:lnTo>
                      <a:lnTo>
                        <a:pt x="2717" y="805"/>
                      </a:lnTo>
                      <a:lnTo>
                        <a:pt x="2686" y="829"/>
                      </a:lnTo>
                      <a:lnTo>
                        <a:pt x="2686" y="822"/>
                      </a:lnTo>
                      <a:lnTo>
                        <a:pt x="2679" y="810"/>
                      </a:lnTo>
                      <a:lnTo>
                        <a:pt x="2627" y="810"/>
                      </a:lnTo>
                      <a:lnTo>
                        <a:pt x="2565" y="789"/>
                      </a:lnTo>
                      <a:lnTo>
                        <a:pt x="2565" y="810"/>
                      </a:lnTo>
                      <a:lnTo>
                        <a:pt x="2513" y="940"/>
                      </a:lnTo>
                      <a:lnTo>
                        <a:pt x="2535" y="956"/>
                      </a:lnTo>
                      <a:lnTo>
                        <a:pt x="2535" y="978"/>
                      </a:lnTo>
                      <a:lnTo>
                        <a:pt x="2513" y="973"/>
                      </a:lnTo>
                      <a:lnTo>
                        <a:pt x="2485" y="978"/>
                      </a:lnTo>
                      <a:lnTo>
                        <a:pt x="2468" y="961"/>
                      </a:lnTo>
                      <a:lnTo>
                        <a:pt x="2355" y="989"/>
                      </a:lnTo>
                      <a:lnTo>
                        <a:pt x="2339" y="999"/>
                      </a:lnTo>
                      <a:lnTo>
                        <a:pt x="2350" y="1011"/>
                      </a:lnTo>
                      <a:lnTo>
                        <a:pt x="2372" y="1011"/>
                      </a:lnTo>
                      <a:lnTo>
                        <a:pt x="2388" y="1015"/>
                      </a:lnTo>
                      <a:lnTo>
                        <a:pt x="2376" y="1027"/>
                      </a:lnTo>
                      <a:lnTo>
                        <a:pt x="2376" y="1067"/>
                      </a:lnTo>
                      <a:lnTo>
                        <a:pt x="2405" y="1129"/>
                      </a:lnTo>
                      <a:lnTo>
                        <a:pt x="2409" y="1155"/>
                      </a:lnTo>
                      <a:lnTo>
                        <a:pt x="2376" y="1167"/>
                      </a:lnTo>
                      <a:lnTo>
                        <a:pt x="2393" y="1178"/>
                      </a:lnTo>
                      <a:lnTo>
                        <a:pt x="2372" y="1183"/>
                      </a:lnTo>
                      <a:lnTo>
                        <a:pt x="2362" y="1200"/>
                      </a:lnTo>
                      <a:lnTo>
                        <a:pt x="2372" y="1233"/>
                      </a:lnTo>
                      <a:lnTo>
                        <a:pt x="2362" y="1240"/>
                      </a:lnTo>
                      <a:lnTo>
                        <a:pt x="2350" y="1216"/>
                      </a:lnTo>
                      <a:lnTo>
                        <a:pt x="2308" y="1216"/>
                      </a:lnTo>
                      <a:lnTo>
                        <a:pt x="2296" y="1195"/>
                      </a:lnTo>
                      <a:lnTo>
                        <a:pt x="2296" y="1183"/>
                      </a:lnTo>
                      <a:lnTo>
                        <a:pt x="2157" y="1178"/>
                      </a:lnTo>
                      <a:lnTo>
                        <a:pt x="2140" y="1167"/>
                      </a:lnTo>
                      <a:lnTo>
                        <a:pt x="2119" y="1178"/>
                      </a:lnTo>
                      <a:lnTo>
                        <a:pt x="2053" y="1167"/>
                      </a:lnTo>
                      <a:lnTo>
                        <a:pt x="2048" y="1183"/>
                      </a:lnTo>
                      <a:lnTo>
                        <a:pt x="1984" y="1167"/>
                      </a:lnTo>
                      <a:lnTo>
                        <a:pt x="1946" y="1145"/>
                      </a:lnTo>
                      <a:lnTo>
                        <a:pt x="1902" y="1162"/>
                      </a:lnTo>
                      <a:lnTo>
                        <a:pt x="1892" y="1200"/>
                      </a:lnTo>
                      <a:lnTo>
                        <a:pt x="1892" y="1216"/>
                      </a:lnTo>
                      <a:lnTo>
                        <a:pt x="1809" y="1183"/>
                      </a:lnTo>
                      <a:lnTo>
                        <a:pt x="1767" y="1183"/>
                      </a:lnTo>
                      <a:lnTo>
                        <a:pt x="1729" y="1195"/>
                      </a:lnTo>
                      <a:lnTo>
                        <a:pt x="1708" y="1221"/>
                      </a:lnTo>
                      <a:lnTo>
                        <a:pt x="1713" y="1233"/>
                      </a:lnTo>
                      <a:lnTo>
                        <a:pt x="1703" y="1240"/>
                      </a:lnTo>
                      <a:lnTo>
                        <a:pt x="1691" y="1256"/>
                      </a:lnTo>
                      <a:lnTo>
                        <a:pt x="1675" y="1249"/>
                      </a:lnTo>
                      <a:lnTo>
                        <a:pt x="1649" y="1282"/>
                      </a:lnTo>
                      <a:lnTo>
                        <a:pt x="1620" y="1282"/>
                      </a:lnTo>
                      <a:lnTo>
                        <a:pt x="1583" y="1311"/>
                      </a:lnTo>
                      <a:lnTo>
                        <a:pt x="1583" y="1323"/>
                      </a:lnTo>
                      <a:lnTo>
                        <a:pt x="1552" y="1351"/>
                      </a:lnTo>
                      <a:lnTo>
                        <a:pt x="1552" y="1377"/>
                      </a:lnTo>
                      <a:lnTo>
                        <a:pt x="1540" y="1377"/>
                      </a:lnTo>
                      <a:lnTo>
                        <a:pt x="1514" y="1360"/>
                      </a:lnTo>
                      <a:lnTo>
                        <a:pt x="1524" y="1339"/>
                      </a:lnTo>
                      <a:lnTo>
                        <a:pt x="1507" y="1327"/>
                      </a:lnTo>
                      <a:lnTo>
                        <a:pt x="1422" y="1327"/>
                      </a:lnTo>
                      <a:lnTo>
                        <a:pt x="1405" y="1256"/>
                      </a:lnTo>
                      <a:lnTo>
                        <a:pt x="1368" y="1256"/>
                      </a:lnTo>
                      <a:lnTo>
                        <a:pt x="1377" y="1167"/>
                      </a:lnTo>
                      <a:lnTo>
                        <a:pt x="1351" y="1178"/>
                      </a:lnTo>
                      <a:lnTo>
                        <a:pt x="1335" y="1138"/>
                      </a:lnTo>
                      <a:lnTo>
                        <a:pt x="1313" y="1129"/>
                      </a:lnTo>
                      <a:lnTo>
                        <a:pt x="1292" y="1105"/>
                      </a:lnTo>
                      <a:lnTo>
                        <a:pt x="1259" y="1122"/>
                      </a:lnTo>
                      <a:lnTo>
                        <a:pt x="1174" y="1110"/>
                      </a:lnTo>
                      <a:lnTo>
                        <a:pt x="1091" y="1122"/>
                      </a:lnTo>
                      <a:lnTo>
                        <a:pt x="1028" y="1056"/>
                      </a:lnTo>
                      <a:lnTo>
                        <a:pt x="843" y="940"/>
                      </a:lnTo>
                      <a:lnTo>
                        <a:pt x="666" y="994"/>
                      </a:lnTo>
                      <a:lnTo>
                        <a:pt x="666" y="1311"/>
                      </a:lnTo>
                      <a:lnTo>
                        <a:pt x="666" y="1311"/>
                      </a:lnTo>
                      <a:lnTo>
                        <a:pt x="666" y="1311"/>
                      </a:lnTo>
                      <a:close/>
                      <a:moveTo>
                        <a:pt x="456" y="883"/>
                      </a:moveTo>
                      <a:lnTo>
                        <a:pt x="449" y="878"/>
                      </a:lnTo>
                      <a:lnTo>
                        <a:pt x="456" y="867"/>
                      </a:lnTo>
                      <a:lnTo>
                        <a:pt x="465" y="878"/>
                      </a:lnTo>
                      <a:lnTo>
                        <a:pt x="456" y="883"/>
                      </a:lnTo>
                      <a:lnTo>
                        <a:pt x="456" y="883"/>
                      </a:lnTo>
                      <a:lnTo>
                        <a:pt x="456" y="883"/>
                      </a:lnTo>
                      <a:close/>
                      <a:moveTo>
                        <a:pt x="267" y="994"/>
                      </a:moveTo>
                      <a:lnTo>
                        <a:pt x="267" y="989"/>
                      </a:lnTo>
                      <a:lnTo>
                        <a:pt x="272" y="989"/>
                      </a:lnTo>
                      <a:lnTo>
                        <a:pt x="267" y="994"/>
                      </a:lnTo>
                      <a:lnTo>
                        <a:pt x="267" y="994"/>
                      </a:lnTo>
                      <a:lnTo>
                        <a:pt x="267" y="994"/>
                      </a:lnTo>
                      <a:close/>
                      <a:moveTo>
                        <a:pt x="255" y="1011"/>
                      </a:moveTo>
                      <a:lnTo>
                        <a:pt x="239" y="994"/>
                      </a:lnTo>
                      <a:lnTo>
                        <a:pt x="250" y="989"/>
                      </a:lnTo>
                      <a:lnTo>
                        <a:pt x="255" y="989"/>
                      </a:lnTo>
                      <a:lnTo>
                        <a:pt x="250" y="994"/>
                      </a:lnTo>
                      <a:lnTo>
                        <a:pt x="255" y="999"/>
                      </a:lnTo>
                      <a:lnTo>
                        <a:pt x="255" y="1011"/>
                      </a:lnTo>
                      <a:lnTo>
                        <a:pt x="255" y="1011"/>
                      </a:lnTo>
                      <a:lnTo>
                        <a:pt x="255" y="101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39" name="Freeform 491">
                  <a:extLst>
                    <a:ext uri="{FF2B5EF4-FFF2-40B4-BE49-F238E27FC236}">
                      <a16:creationId xmlns:a16="http://schemas.microsoft.com/office/drawing/2014/main" id="{ABC43D2E-EEC0-41DE-9A6A-9EA85A5BCD88}"/>
                    </a:ext>
                  </a:extLst>
                </p:cNvPr>
                <p:cNvSpPr>
                  <a:spLocks/>
                </p:cNvSpPr>
                <p:nvPr/>
              </p:nvSpPr>
              <p:spPr bwMode="gray">
                <a:xfrm>
                  <a:off x="7333037" y="2115586"/>
                  <a:ext cx="209952" cy="100047"/>
                </a:xfrm>
                <a:custGeom>
                  <a:avLst/>
                  <a:gdLst>
                    <a:gd name="T0" fmla="*/ 234 w 510"/>
                    <a:gd name="T1" fmla="*/ 21 h 243"/>
                    <a:gd name="T2" fmla="*/ 288 w 510"/>
                    <a:gd name="T3" fmla="*/ 0 h 243"/>
                    <a:gd name="T4" fmla="*/ 297 w 510"/>
                    <a:gd name="T5" fmla="*/ 5 h 243"/>
                    <a:gd name="T6" fmla="*/ 297 w 510"/>
                    <a:gd name="T7" fmla="*/ 0 h 243"/>
                    <a:gd name="T8" fmla="*/ 352 w 510"/>
                    <a:gd name="T9" fmla="*/ 21 h 243"/>
                    <a:gd name="T10" fmla="*/ 385 w 510"/>
                    <a:gd name="T11" fmla="*/ 55 h 243"/>
                    <a:gd name="T12" fmla="*/ 418 w 510"/>
                    <a:gd name="T13" fmla="*/ 43 h 243"/>
                    <a:gd name="T14" fmla="*/ 451 w 510"/>
                    <a:gd name="T15" fmla="*/ 55 h 243"/>
                    <a:gd name="T16" fmla="*/ 456 w 510"/>
                    <a:gd name="T17" fmla="*/ 55 h 243"/>
                    <a:gd name="T18" fmla="*/ 456 w 510"/>
                    <a:gd name="T19" fmla="*/ 59 h 243"/>
                    <a:gd name="T20" fmla="*/ 477 w 510"/>
                    <a:gd name="T21" fmla="*/ 76 h 243"/>
                    <a:gd name="T22" fmla="*/ 472 w 510"/>
                    <a:gd name="T23" fmla="*/ 116 h 243"/>
                    <a:gd name="T24" fmla="*/ 489 w 510"/>
                    <a:gd name="T25" fmla="*/ 128 h 243"/>
                    <a:gd name="T26" fmla="*/ 510 w 510"/>
                    <a:gd name="T27" fmla="*/ 182 h 243"/>
                    <a:gd name="T28" fmla="*/ 505 w 510"/>
                    <a:gd name="T29" fmla="*/ 199 h 243"/>
                    <a:gd name="T30" fmla="*/ 489 w 510"/>
                    <a:gd name="T31" fmla="*/ 199 h 243"/>
                    <a:gd name="T32" fmla="*/ 460 w 510"/>
                    <a:gd name="T33" fmla="*/ 222 h 243"/>
                    <a:gd name="T34" fmla="*/ 460 w 510"/>
                    <a:gd name="T35" fmla="*/ 239 h 243"/>
                    <a:gd name="T36" fmla="*/ 418 w 510"/>
                    <a:gd name="T37" fmla="*/ 227 h 243"/>
                    <a:gd name="T38" fmla="*/ 406 w 510"/>
                    <a:gd name="T39" fmla="*/ 243 h 243"/>
                    <a:gd name="T40" fmla="*/ 397 w 510"/>
                    <a:gd name="T41" fmla="*/ 243 h 243"/>
                    <a:gd name="T42" fmla="*/ 368 w 510"/>
                    <a:gd name="T43" fmla="*/ 239 h 243"/>
                    <a:gd name="T44" fmla="*/ 331 w 510"/>
                    <a:gd name="T45" fmla="*/ 199 h 243"/>
                    <a:gd name="T46" fmla="*/ 288 w 510"/>
                    <a:gd name="T47" fmla="*/ 189 h 243"/>
                    <a:gd name="T48" fmla="*/ 271 w 510"/>
                    <a:gd name="T49" fmla="*/ 166 h 243"/>
                    <a:gd name="T50" fmla="*/ 243 w 510"/>
                    <a:gd name="T51" fmla="*/ 182 h 243"/>
                    <a:gd name="T52" fmla="*/ 222 w 510"/>
                    <a:gd name="T53" fmla="*/ 189 h 243"/>
                    <a:gd name="T54" fmla="*/ 163 w 510"/>
                    <a:gd name="T55" fmla="*/ 170 h 243"/>
                    <a:gd name="T56" fmla="*/ 146 w 510"/>
                    <a:gd name="T57" fmla="*/ 182 h 243"/>
                    <a:gd name="T58" fmla="*/ 134 w 510"/>
                    <a:gd name="T59" fmla="*/ 170 h 243"/>
                    <a:gd name="T60" fmla="*/ 113 w 510"/>
                    <a:gd name="T61" fmla="*/ 170 h 243"/>
                    <a:gd name="T62" fmla="*/ 75 w 510"/>
                    <a:gd name="T63" fmla="*/ 170 h 243"/>
                    <a:gd name="T64" fmla="*/ 21 w 510"/>
                    <a:gd name="T65" fmla="*/ 189 h 243"/>
                    <a:gd name="T66" fmla="*/ 16 w 510"/>
                    <a:gd name="T67" fmla="*/ 206 h 243"/>
                    <a:gd name="T68" fmla="*/ 0 w 510"/>
                    <a:gd name="T69" fmla="*/ 206 h 243"/>
                    <a:gd name="T70" fmla="*/ 0 w 510"/>
                    <a:gd name="T71" fmla="*/ 170 h 243"/>
                    <a:gd name="T72" fmla="*/ 0 w 510"/>
                    <a:gd name="T73" fmla="*/ 154 h 243"/>
                    <a:gd name="T74" fmla="*/ 5 w 510"/>
                    <a:gd name="T75" fmla="*/ 166 h 243"/>
                    <a:gd name="T76" fmla="*/ 0 w 510"/>
                    <a:gd name="T77" fmla="*/ 128 h 243"/>
                    <a:gd name="T78" fmla="*/ 21 w 510"/>
                    <a:gd name="T79" fmla="*/ 111 h 243"/>
                    <a:gd name="T80" fmla="*/ 26 w 510"/>
                    <a:gd name="T81" fmla="*/ 76 h 243"/>
                    <a:gd name="T82" fmla="*/ 54 w 510"/>
                    <a:gd name="T83" fmla="*/ 55 h 243"/>
                    <a:gd name="T84" fmla="*/ 113 w 510"/>
                    <a:gd name="T85" fmla="*/ 33 h 243"/>
                    <a:gd name="T86" fmla="*/ 113 w 510"/>
                    <a:gd name="T87" fmla="*/ 43 h 243"/>
                    <a:gd name="T88" fmla="*/ 146 w 510"/>
                    <a:gd name="T89" fmla="*/ 71 h 243"/>
                    <a:gd name="T90" fmla="*/ 151 w 510"/>
                    <a:gd name="T91" fmla="*/ 99 h 243"/>
                    <a:gd name="T92" fmla="*/ 189 w 510"/>
                    <a:gd name="T93" fmla="*/ 111 h 243"/>
                    <a:gd name="T94" fmla="*/ 238 w 510"/>
                    <a:gd name="T95" fmla="*/ 88 h 243"/>
                    <a:gd name="T96" fmla="*/ 234 w 510"/>
                    <a:gd name="T97" fmla="*/ 21 h 243"/>
                    <a:gd name="T98" fmla="*/ 234 w 510"/>
                    <a:gd name="T99" fmla="*/ 21 h 243"/>
                    <a:gd name="T100" fmla="*/ 234 w 510"/>
                    <a:gd name="T101" fmla="*/ 21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0" h="243">
                      <a:moveTo>
                        <a:pt x="234" y="21"/>
                      </a:moveTo>
                      <a:lnTo>
                        <a:pt x="288" y="0"/>
                      </a:lnTo>
                      <a:lnTo>
                        <a:pt x="297" y="5"/>
                      </a:lnTo>
                      <a:lnTo>
                        <a:pt x="297" y="0"/>
                      </a:lnTo>
                      <a:lnTo>
                        <a:pt x="352" y="21"/>
                      </a:lnTo>
                      <a:lnTo>
                        <a:pt x="385" y="55"/>
                      </a:lnTo>
                      <a:lnTo>
                        <a:pt x="418" y="43"/>
                      </a:lnTo>
                      <a:lnTo>
                        <a:pt x="451" y="55"/>
                      </a:lnTo>
                      <a:lnTo>
                        <a:pt x="456" y="55"/>
                      </a:lnTo>
                      <a:lnTo>
                        <a:pt x="456" y="59"/>
                      </a:lnTo>
                      <a:lnTo>
                        <a:pt x="477" y="76"/>
                      </a:lnTo>
                      <a:lnTo>
                        <a:pt x="472" y="116"/>
                      </a:lnTo>
                      <a:lnTo>
                        <a:pt x="489" y="128"/>
                      </a:lnTo>
                      <a:lnTo>
                        <a:pt x="510" y="182"/>
                      </a:lnTo>
                      <a:lnTo>
                        <a:pt x="505" y="199"/>
                      </a:lnTo>
                      <a:lnTo>
                        <a:pt x="489" y="199"/>
                      </a:lnTo>
                      <a:lnTo>
                        <a:pt x="460" y="222"/>
                      </a:lnTo>
                      <a:lnTo>
                        <a:pt x="460" y="239"/>
                      </a:lnTo>
                      <a:lnTo>
                        <a:pt x="418" y="227"/>
                      </a:lnTo>
                      <a:lnTo>
                        <a:pt x="406" y="243"/>
                      </a:lnTo>
                      <a:lnTo>
                        <a:pt x="397" y="243"/>
                      </a:lnTo>
                      <a:lnTo>
                        <a:pt x="368" y="239"/>
                      </a:lnTo>
                      <a:lnTo>
                        <a:pt x="331" y="199"/>
                      </a:lnTo>
                      <a:lnTo>
                        <a:pt x="288" y="189"/>
                      </a:lnTo>
                      <a:lnTo>
                        <a:pt x="271" y="166"/>
                      </a:lnTo>
                      <a:lnTo>
                        <a:pt x="243" y="182"/>
                      </a:lnTo>
                      <a:lnTo>
                        <a:pt x="222" y="189"/>
                      </a:lnTo>
                      <a:lnTo>
                        <a:pt x="163" y="170"/>
                      </a:lnTo>
                      <a:lnTo>
                        <a:pt x="146" y="182"/>
                      </a:lnTo>
                      <a:lnTo>
                        <a:pt x="134" y="170"/>
                      </a:lnTo>
                      <a:lnTo>
                        <a:pt x="113" y="170"/>
                      </a:lnTo>
                      <a:lnTo>
                        <a:pt x="75" y="170"/>
                      </a:lnTo>
                      <a:lnTo>
                        <a:pt x="21" y="189"/>
                      </a:lnTo>
                      <a:lnTo>
                        <a:pt x="16" y="206"/>
                      </a:lnTo>
                      <a:lnTo>
                        <a:pt x="0" y="206"/>
                      </a:lnTo>
                      <a:lnTo>
                        <a:pt x="0" y="170"/>
                      </a:lnTo>
                      <a:lnTo>
                        <a:pt x="0" y="154"/>
                      </a:lnTo>
                      <a:lnTo>
                        <a:pt x="5" y="166"/>
                      </a:lnTo>
                      <a:lnTo>
                        <a:pt x="0" y="128"/>
                      </a:lnTo>
                      <a:lnTo>
                        <a:pt x="21" y="111"/>
                      </a:lnTo>
                      <a:lnTo>
                        <a:pt x="26" y="76"/>
                      </a:lnTo>
                      <a:lnTo>
                        <a:pt x="54" y="55"/>
                      </a:lnTo>
                      <a:lnTo>
                        <a:pt x="113" y="33"/>
                      </a:lnTo>
                      <a:lnTo>
                        <a:pt x="113" y="43"/>
                      </a:lnTo>
                      <a:lnTo>
                        <a:pt x="146" y="71"/>
                      </a:lnTo>
                      <a:lnTo>
                        <a:pt x="151" y="99"/>
                      </a:lnTo>
                      <a:lnTo>
                        <a:pt x="189" y="111"/>
                      </a:lnTo>
                      <a:lnTo>
                        <a:pt x="238" y="88"/>
                      </a:lnTo>
                      <a:lnTo>
                        <a:pt x="234" y="21"/>
                      </a:lnTo>
                      <a:lnTo>
                        <a:pt x="234" y="21"/>
                      </a:lnTo>
                      <a:lnTo>
                        <a:pt x="234" y="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40" name="Freeform 492">
                  <a:extLst>
                    <a:ext uri="{FF2B5EF4-FFF2-40B4-BE49-F238E27FC236}">
                      <a16:creationId xmlns:a16="http://schemas.microsoft.com/office/drawing/2014/main" id="{BF1D81EE-BE22-4125-A401-FC5641DBBEF9}"/>
                    </a:ext>
                  </a:extLst>
                </p:cNvPr>
                <p:cNvSpPr>
                  <a:spLocks noEditPoints="1"/>
                </p:cNvSpPr>
                <p:nvPr/>
              </p:nvSpPr>
              <p:spPr bwMode="gray">
                <a:xfrm>
                  <a:off x="7328921" y="2183931"/>
                  <a:ext cx="172078" cy="107870"/>
                </a:xfrm>
                <a:custGeom>
                  <a:avLst/>
                  <a:gdLst>
                    <a:gd name="T0" fmla="*/ 137 w 418"/>
                    <a:gd name="T1" fmla="*/ 212 h 262"/>
                    <a:gd name="T2" fmla="*/ 126 w 418"/>
                    <a:gd name="T3" fmla="*/ 200 h 262"/>
                    <a:gd name="T4" fmla="*/ 137 w 418"/>
                    <a:gd name="T5" fmla="*/ 184 h 262"/>
                    <a:gd name="T6" fmla="*/ 142 w 418"/>
                    <a:gd name="T7" fmla="*/ 167 h 262"/>
                    <a:gd name="T8" fmla="*/ 121 w 418"/>
                    <a:gd name="T9" fmla="*/ 146 h 262"/>
                    <a:gd name="T10" fmla="*/ 88 w 418"/>
                    <a:gd name="T11" fmla="*/ 146 h 262"/>
                    <a:gd name="T12" fmla="*/ 33 w 418"/>
                    <a:gd name="T13" fmla="*/ 118 h 262"/>
                    <a:gd name="T14" fmla="*/ 29 w 418"/>
                    <a:gd name="T15" fmla="*/ 129 h 262"/>
                    <a:gd name="T16" fmla="*/ 29 w 418"/>
                    <a:gd name="T17" fmla="*/ 113 h 262"/>
                    <a:gd name="T18" fmla="*/ 29 w 418"/>
                    <a:gd name="T19" fmla="*/ 113 h 262"/>
                    <a:gd name="T20" fmla="*/ 29 w 418"/>
                    <a:gd name="T21" fmla="*/ 101 h 262"/>
                    <a:gd name="T22" fmla="*/ 12 w 418"/>
                    <a:gd name="T23" fmla="*/ 73 h 262"/>
                    <a:gd name="T24" fmla="*/ 12 w 418"/>
                    <a:gd name="T25" fmla="*/ 40 h 262"/>
                    <a:gd name="T26" fmla="*/ 29 w 418"/>
                    <a:gd name="T27" fmla="*/ 40 h 262"/>
                    <a:gd name="T28" fmla="*/ 33 w 418"/>
                    <a:gd name="T29" fmla="*/ 23 h 262"/>
                    <a:gd name="T30" fmla="*/ 88 w 418"/>
                    <a:gd name="T31" fmla="*/ 7 h 262"/>
                    <a:gd name="T32" fmla="*/ 126 w 418"/>
                    <a:gd name="T33" fmla="*/ 7 h 262"/>
                    <a:gd name="T34" fmla="*/ 147 w 418"/>
                    <a:gd name="T35" fmla="*/ 7 h 262"/>
                    <a:gd name="T36" fmla="*/ 159 w 418"/>
                    <a:gd name="T37" fmla="*/ 16 h 262"/>
                    <a:gd name="T38" fmla="*/ 175 w 418"/>
                    <a:gd name="T39" fmla="*/ 7 h 262"/>
                    <a:gd name="T40" fmla="*/ 234 w 418"/>
                    <a:gd name="T41" fmla="*/ 23 h 262"/>
                    <a:gd name="T42" fmla="*/ 256 w 418"/>
                    <a:gd name="T43" fmla="*/ 16 h 262"/>
                    <a:gd name="T44" fmla="*/ 281 w 418"/>
                    <a:gd name="T45" fmla="*/ 0 h 262"/>
                    <a:gd name="T46" fmla="*/ 298 w 418"/>
                    <a:gd name="T47" fmla="*/ 23 h 262"/>
                    <a:gd name="T48" fmla="*/ 341 w 418"/>
                    <a:gd name="T49" fmla="*/ 35 h 262"/>
                    <a:gd name="T50" fmla="*/ 378 w 418"/>
                    <a:gd name="T51" fmla="*/ 73 h 262"/>
                    <a:gd name="T52" fmla="*/ 407 w 418"/>
                    <a:gd name="T53" fmla="*/ 77 h 262"/>
                    <a:gd name="T54" fmla="*/ 395 w 418"/>
                    <a:gd name="T55" fmla="*/ 113 h 262"/>
                    <a:gd name="T56" fmla="*/ 418 w 418"/>
                    <a:gd name="T57" fmla="*/ 118 h 262"/>
                    <a:gd name="T58" fmla="*/ 395 w 418"/>
                    <a:gd name="T59" fmla="*/ 134 h 262"/>
                    <a:gd name="T60" fmla="*/ 378 w 418"/>
                    <a:gd name="T61" fmla="*/ 134 h 262"/>
                    <a:gd name="T62" fmla="*/ 374 w 418"/>
                    <a:gd name="T63" fmla="*/ 151 h 262"/>
                    <a:gd name="T64" fmla="*/ 341 w 418"/>
                    <a:gd name="T65" fmla="*/ 155 h 262"/>
                    <a:gd name="T66" fmla="*/ 341 w 418"/>
                    <a:gd name="T67" fmla="*/ 191 h 262"/>
                    <a:gd name="T68" fmla="*/ 326 w 418"/>
                    <a:gd name="T69" fmla="*/ 212 h 262"/>
                    <a:gd name="T70" fmla="*/ 341 w 418"/>
                    <a:gd name="T71" fmla="*/ 212 h 262"/>
                    <a:gd name="T72" fmla="*/ 341 w 418"/>
                    <a:gd name="T73" fmla="*/ 229 h 262"/>
                    <a:gd name="T74" fmla="*/ 326 w 418"/>
                    <a:gd name="T75" fmla="*/ 229 h 262"/>
                    <a:gd name="T76" fmla="*/ 336 w 418"/>
                    <a:gd name="T77" fmla="*/ 224 h 262"/>
                    <a:gd name="T78" fmla="*/ 326 w 418"/>
                    <a:gd name="T79" fmla="*/ 212 h 262"/>
                    <a:gd name="T80" fmla="*/ 298 w 418"/>
                    <a:gd name="T81" fmla="*/ 240 h 262"/>
                    <a:gd name="T82" fmla="*/ 281 w 418"/>
                    <a:gd name="T83" fmla="*/ 229 h 262"/>
                    <a:gd name="T84" fmla="*/ 281 w 418"/>
                    <a:gd name="T85" fmla="*/ 257 h 262"/>
                    <a:gd name="T86" fmla="*/ 265 w 418"/>
                    <a:gd name="T87" fmla="*/ 245 h 262"/>
                    <a:gd name="T88" fmla="*/ 251 w 418"/>
                    <a:gd name="T89" fmla="*/ 262 h 262"/>
                    <a:gd name="T90" fmla="*/ 234 w 418"/>
                    <a:gd name="T91" fmla="*/ 257 h 262"/>
                    <a:gd name="T92" fmla="*/ 189 w 418"/>
                    <a:gd name="T93" fmla="*/ 257 h 262"/>
                    <a:gd name="T94" fmla="*/ 180 w 418"/>
                    <a:gd name="T95" fmla="*/ 240 h 262"/>
                    <a:gd name="T96" fmla="*/ 175 w 418"/>
                    <a:gd name="T97" fmla="*/ 224 h 262"/>
                    <a:gd name="T98" fmla="*/ 147 w 418"/>
                    <a:gd name="T99" fmla="*/ 207 h 262"/>
                    <a:gd name="T100" fmla="*/ 137 w 418"/>
                    <a:gd name="T101" fmla="*/ 212 h 262"/>
                    <a:gd name="T102" fmla="*/ 137 w 418"/>
                    <a:gd name="T103" fmla="*/ 212 h 262"/>
                    <a:gd name="T104" fmla="*/ 137 w 418"/>
                    <a:gd name="T105" fmla="*/ 212 h 262"/>
                    <a:gd name="T106" fmla="*/ 12 w 418"/>
                    <a:gd name="T107" fmla="*/ 118 h 262"/>
                    <a:gd name="T108" fmla="*/ 0 w 418"/>
                    <a:gd name="T109" fmla="*/ 118 h 262"/>
                    <a:gd name="T110" fmla="*/ 17 w 418"/>
                    <a:gd name="T111" fmla="*/ 94 h 262"/>
                    <a:gd name="T112" fmla="*/ 17 w 418"/>
                    <a:gd name="T113" fmla="*/ 77 h 262"/>
                    <a:gd name="T114" fmla="*/ 17 w 418"/>
                    <a:gd name="T115" fmla="*/ 101 h 262"/>
                    <a:gd name="T116" fmla="*/ 12 w 418"/>
                    <a:gd name="T117" fmla="*/ 118 h 262"/>
                    <a:gd name="T118" fmla="*/ 12 w 418"/>
                    <a:gd name="T119" fmla="*/ 118 h 262"/>
                    <a:gd name="T120" fmla="*/ 12 w 418"/>
                    <a:gd name="T121" fmla="*/ 11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8" h="262">
                      <a:moveTo>
                        <a:pt x="137" y="212"/>
                      </a:moveTo>
                      <a:lnTo>
                        <a:pt x="126" y="200"/>
                      </a:lnTo>
                      <a:lnTo>
                        <a:pt x="137" y="184"/>
                      </a:lnTo>
                      <a:lnTo>
                        <a:pt x="142" y="167"/>
                      </a:lnTo>
                      <a:lnTo>
                        <a:pt x="121" y="146"/>
                      </a:lnTo>
                      <a:lnTo>
                        <a:pt x="88" y="146"/>
                      </a:lnTo>
                      <a:lnTo>
                        <a:pt x="33" y="118"/>
                      </a:lnTo>
                      <a:lnTo>
                        <a:pt x="29" y="129"/>
                      </a:lnTo>
                      <a:lnTo>
                        <a:pt x="29" y="113"/>
                      </a:lnTo>
                      <a:lnTo>
                        <a:pt x="29" y="113"/>
                      </a:lnTo>
                      <a:lnTo>
                        <a:pt x="29" y="101"/>
                      </a:lnTo>
                      <a:lnTo>
                        <a:pt x="12" y="73"/>
                      </a:lnTo>
                      <a:lnTo>
                        <a:pt x="12" y="40"/>
                      </a:lnTo>
                      <a:lnTo>
                        <a:pt x="29" y="40"/>
                      </a:lnTo>
                      <a:lnTo>
                        <a:pt x="33" y="23"/>
                      </a:lnTo>
                      <a:lnTo>
                        <a:pt x="88" y="7"/>
                      </a:lnTo>
                      <a:lnTo>
                        <a:pt x="126" y="7"/>
                      </a:lnTo>
                      <a:lnTo>
                        <a:pt x="147" y="7"/>
                      </a:lnTo>
                      <a:lnTo>
                        <a:pt x="159" y="16"/>
                      </a:lnTo>
                      <a:lnTo>
                        <a:pt x="175" y="7"/>
                      </a:lnTo>
                      <a:lnTo>
                        <a:pt x="234" y="23"/>
                      </a:lnTo>
                      <a:lnTo>
                        <a:pt x="256" y="16"/>
                      </a:lnTo>
                      <a:lnTo>
                        <a:pt x="281" y="0"/>
                      </a:lnTo>
                      <a:lnTo>
                        <a:pt x="298" y="23"/>
                      </a:lnTo>
                      <a:lnTo>
                        <a:pt x="341" y="35"/>
                      </a:lnTo>
                      <a:lnTo>
                        <a:pt x="378" y="73"/>
                      </a:lnTo>
                      <a:lnTo>
                        <a:pt x="407" y="77"/>
                      </a:lnTo>
                      <a:lnTo>
                        <a:pt x="395" y="113"/>
                      </a:lnTo>
                      <a:lnTo>
                        <a:pt x="418" y="118"/>
                      </a:lnTo>
                      <a:lnTo>
                        <a:pt x="395" y="134"/>
                      </a:lnTo>
                      <a:lnTo>
                        <a:pt x="378" y="134"/>
                      </a:lnTo>
                      <a:lnTo>
                        <a:pt x="374" y="151"/>
                      </a:lnTo>
                      <a:lnTo>
                        <a:pt x="341" y="155"/>
                      </a:lnTo>
                      <a:lnTo>
                        <a:pt x="341" y="191"/>
                      </a:lnTo>
                      <a:lnTo>
                        <a:pt x="326" y="212"/>
                      </a:lnTo>
                      <a:lnTo>
                        <a:pt x="341" y="212"/>
                      </a:lnTo>
                      <a:lnTo>
                        <a:pt x="341" y="229"/>
                      </a:lnTo>
                      <a:lnTo>
                        <a:pt x="326" y="229"/>
                      </a:lnTo>
                      <a:lnTo>
                        <a:pt x="336" y="224"/>
                      </a:lnTo>
                      <a:lnTo>
                        <a:pt x="326" y="212"/>
                      </a:lnTo>
                      <a:lnTo>
                        <a:pt x="298" y="240"/>
                      </a:lnTo>
                      <a:lnTo>
                        <a:pt x="281" y="229"/>
                      </a:lnTo>
                      <a:lnTo>
                        <a:pt x="281" y="257"/>
                      </a:lnTo>
                      <a:lnTo>
                        <a:pt x="265" y="245"/>
                      </a:lnTo>
                      <a:lnTo>
                        <a:pt x="251" y="262"/>
                      </a:lnTo>
                      <a:lnTo>
                        <a:pt x="234" y="257"/>
                      </a:lnTo>
                      <a:lnTo>
                        <a:pt x="189" y="257"/>
                      </a:lnTo>
                      <a:lnTo>
                        <a:pt x="180" y="240"/>
                      </a:lnTo>
                      <a:lnTo>
                        <a:pt x="175" y="224"/>
                      </a:lnTo>
                      <a:lnTo>
                        <a:pt x="147" y="207"/>
                      </a:lnTo>
                      <a:lnTo>
                        <a:pt x="137" y="212"/>
                      </a:lnTo>
                      <a:lnTo>
                        <a:pt x="137" y="212"/>
                      </a:lnTo>
                      <a:lnTo>
                        <a:pt x="137" y="212"/>
                      </a:lnTo>
                      <a:close/>
                      <a:moveTo>
                        <a:pt x="12" y="118"/>
                      </a:moveTo>
                      <a:lnTo>
                        <a:pt x="0" y="118"/>
                      </a:lnTo>
                      <a:lnTo>
                        <a:pt x="17" y="94"/>
                      </a:lnTo>
                      <a:lnTo>
                        <a:pt x="17" y="77"/>
                      </a:lnTo>
                      <a:lnTo>
                        <a:pt x="17" y="101"/>
                      </a:lnTo>
                      <a:lnTo>
                        <a:pt x="12" y="118"/>
                      </a:lnTo>
                      <a:lnTo>
                        <a:pt x="12" y="118"/>
                      </a:lnTo>
                      <a:lnTo>
                        <a:pt x="12" y="11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41" name="Freeform 494">
                  <a:extLst>
                    <a:ext uri="{FF2B5EF4-FFF2-40B4-BE49-F238E27FC236}">
                      <a16:creationId xmlns:a16="http://schemas.microsoft.com/office/drawing/2014/main" id="{8B640237-32CF-4FC7-B77A-117AB3CC3D02}"/>
                    </a:ext>
                  </a:extLst>
                </p:cNvPr>
                <p:cNvSpPr>
                  <a:spLocks/>
                </p:cNvSpPr>
                <p:nvPr/>
              </p:nvSpPr>
              <p:spPr bwMode="gray">
                <a:xfrm>
                  <a:off x="7211595" y="2459781"/>
                  <a:ext cx="165080" cy="69169"/>
                </a:xfrm>
                <a:custGeom>
                  <a:avLst/>
                  <a:gdLst>
                    <a:gd name="T0" fmla="*/ 155 w 401"/>
                    <a:gd name="T1" fmla="*/ 144 h 168"/>
                    <a:gd name="T2" fmla="*/ 139 w 401"/>
                    <a:gd name="T3" fmla="*/ 152 h 168"/>
                    <a:gd name="T4" fmla="*/ 139 w 401"/>
                    <a:gd name="T5" fmla="*/ 161 h 168"/>
                    <a:gd name="T6" fmla="*/ 101 w 401"/>
                    <a:gd name="T7" fmla="*/ 168 h 168"/>
                    <a:gd name="T8" fmla="*/ 68 w 401"/>
                    <a:gd name="T9" fmla="*/ 168 h 168"/>
                    <a:gd name="T10" fmla="*/ 37 w 401"/>
                    <a:gd name="T11" fmla="*/ 144 h 168"/>
                    <a:gd name="T12" fmla="*/ 26 w 401"/>
                    <a:gd name="T13" fmla="*/ 144 h 168"/>
                    <a:gd name="T14" fmla="*/ 0 w 401"/>
                    <a:gd name="T15" fmla="*/ 111 h 168"/>
                    <a:gd name="T16" fmla="*/ 9 w 401"/>
                    <a:gd name="T17" fmla="*/ 90 h 168"/>
                    <a:gd name="T18" fmla="*/ 26 w 401"/>
                    <a:gd name="T19" fmla="*/ 67 h 168"/>
                    <a:gd name="T20" fmla="*/ 63 w 401"/>
                    <a:gd name="T21" fmla="*/ 67 h 168"/>
                    <a:gd name="T22" fmla="*/ 85 w 401"/>
                    <a:gd name="T23" fmla="*/ 50 h 168"/>
                    <a:gd name="T24" fmla="*/ 101 w 401"/>
                    <a:gd name="T25" fmla="*/ 29 h 168"/>
                    <a:gd name="T26" fmla="*/ 122 w 401"/>
                    <a:gd name="T27" fmla="*/ 12 h 168"/>
                    <a:gd name="T28" fmla="*/ 139 w 401"/>
                    <a:gd name="T29" fmla="*/ 12 h 168"/>
                    <a:gd name="T30" fmla="*/ 144 w 401"/>
                    <a:gd name="T31" fmla="*/ 12 h 168"/>
                    <a:gd name="T32" fmla="*/ 155 w 401"/>
                    <a:gd name="T33" fmla="*/ 17 h 168"/>
                    <a:gd name="T34" fmla="*/ 160 w 401"/>
                    <a:gd name="T35" fmla="*/ 17 h 168"/>
                    <a:gd name="T36" fmla="*/ 186 w 401"/>
                    <a:gd name="T37" fmla="*/ 0 h 168"/>
                    <a:gd name="T38" fmla="*/ 203 w 401"/>
                    <a:gd name="T39" fmla="*/ 17 h 168"/>
                    <a:gd name="T40" fmla="*/ 207 w 401"/>
                    <a:gd name="T41" fmla="*/ 17 h 168"/>
                    <a:gd name="T42" fmla="*/ 207 w 401"/>
                    <a:gd name="T43" fmla="*/ 33 h 168"/>
                    <a:gd name="T44" fmla="*/ 224 w 401"/>
                    <a:gd name="T45" fmla="*/ 38 h 168"/>
                    <a:gd name="T46" fmla="*/ 229 w 401"/>
                    <a:gd name="T47" fmla="*/ 29 h 168"/>
                    <a:gd name="T48" fmla="*/ 245 w 401"/>
                    <a:gd name="T49" fmla="*/ 17 h 168"/>
                    <a:gd name="T50" fmla="*/ 278 w 401"/>
                    <a:gd name="T51" fmla="*/ 17 h 168"/>
                    <a:gd name="T52" fmla="*/ 283 w 401"/>
                    <a:gd name="T53" fmla="*/ 29 h 168"/>
                    <a:gd name="T54" fmla="*/ 300 w 401"/>
                    <a:gd name="T55" fmla="*/ 17 h 168"/>
                    <a:gd name="T56" fmla="*/ 337 w 401"/>
                    <a:gd name="T57" fmla="*/ 17 h 168"/>
                    <a:gd name="T58" fmla="*/ 363 w 401"/>
                    <a:gd name="T59" fmla="*/ 29 h 168"/>
                    <a:gd name="T60" fmla="*/ 363 w 401"/>
                    <a:gd name="T61" fmla="*/ 33 h 168"/>
                    <a:gd name="T62" fmla="*/ 401 w 401"/>
                    <a:gd name="T63" fmla="*/ 50 h 168"/>
                    <a:gd name="T64" fmla="*/ 387 w 401"/>
                    <a:gd name="T65" fmla="*/ 83 h 168"/>
                    <a:gd name="T66" fmla="*/ 370 w 401"/>
                    <a:gd name="T67" fmla="*/ 95 h 168"/>
                    <a:gd name="T68" fmla="*/ 370 w 401"/>
                    <a:gd name="T69" fmla="*/ 111 h 168"/>
                    <a:gd name="T70" fmla="*/ 349 w 401"/>
                    <a:gd name="T71" fmla="*/ 111 h 168"/>
                    <a:gd name="T72" fmla="*/ 321 w 401"/>
                    <a:gd name="T73" fmla="*/ 95 h 168"/>
                    <a:gd name="T74" fmla="*/ 300 w 401"/>
                    <a:gd name="T75" fmla="*/ 95 h 168"/>
                    <a:gd name="T76" fmla="*/ 266 w 401"/>
                    <a:gd name="T77" fmla="*/ 95 h 168"/>
                    <a:gd name="T78" fmla="*/ 262 w 401"/>
                    <a:gd name="T79" fmla="*/ 95 h 168"/>
                    <a:gd name="T80" fmla="*/ 245 w 401"/>
                    <a:gd name="T81" fmla="*/ 123 h 168"/>
                    <a:gd name="T82" fmla="*/ 215 w 401"/>
                    <a:gd name="T83" fmla="*/ 140 h 168"/>
                    <a:gd name="T84" fmla="*/ 193 w 401"/>
                    <a:gd name="T85" fmla="*/ 128 h 168"/>
                    <a:gd name="T86" fmla="*/ 186 w 401"/>
                    <a:gd name="T87" fmla="*/ 140 h 168"/>
                    <a:gd name="T88" fmla="*/ 155 w 401"/>
                    <a:gd name="T89" fmla="*/ 144 h 168"/>
                    <a:gd name="T90" fmla="*/ 155 w 401"/>
                    <a:gd name="T91" fmla="*/ 144 h 168"/>
                    <a:gd name="T92" fmla="*/ 155 w 401"/>
                    <a:gd name="T93" fmla="*/ 14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1" h="168">
                      <a:moveTo>
                        <a:pt x="155" y="144"/>
                      </a:moveTo>
                      <a:lnTo>
                        <a:pt x="139" y="152"/>
                      </a:lnTo>
                      <a:lnTo>
                        <a:pt x="139" y="161"/>
                      </a:lnTo>
                      <a:lnTo>
                        <a:pt x="101" y="168"/>
                      </a:lnTo>
                      <a:lnTo>
                        <a:pt x="68" y="168"/>
                      </a:lnTo>
                      <a:lnTo>
                        <a:pt x="37" y="144"/>
                      </a:lnTo>
                      <a:lnTo>
                        <a:pt x="26" y="144"/>
                      </a:lnTo>
                      <a:lnTo>
                        <a:pt x="0" y="111"/>
                      </a:lnTo>
                      <a:lnTo>
                        <a:pt x="9" y="90"/>
                      </a:lnTo>
                      <a:lnTo>
                        <a:pt x="26" y="67"/>
                      </a:lnTo>
                      <a:lnTo>
                        <a:pt x="63" y="67"/>
                      </a:lnTo>
                      <a:lnTo>
                        <a:pt x="85" y="50"/>
                      </a:lnTo>
                      <a:lnTo>
                        <a:pt x="101" y="29"/>
                      </a:lnTo>
                      <a:lnTo>
                        <a:pt x="122" y="12"/>
                      </a:lnTo>
                      <a:lnTo>
                        <a:pt x="139" y="12"/>
                      </a:lnTo>
                      <a:lnTo>
                        <a:pt x="144" y="12"/>
                      </a:lnTo>
                      <a:lnTo>
                        <a:pt x="155" y="17"/>
                      </a:lnTo>
                      <a:lnTo>
                        <a:pt x="160" y="17"/>
                      </a:lnTo>
                      <a:lnTo>
                        <a:pt x="186" y="0"/>
                      </a:lnTo>
                      <a:lnTo>
                        <a:pt x="203" y="17"/>
                      </a:lnTo>
                      <a:lnTo>
                        <a:pt x="207" y="17"/>
                      </a:lnTo>
                      <a:lnTo>
                        <a:pt x="207" y="33"/>
                      </a:lnTo>
                      <a:lnTo>
                        <a:pt x="224" y="38"/>
                      </a:lnTo>
                      <a:lnTo>
                        <a:pt x="229" y="29"/>
                      </a:lnTo>
                      <a:lnTo>
                        <a:pt x="245" y="17"/>
                      </a:lnTo>
                      <a:lnTo>
                        <a:pt x="278" y="17"/>
                      </a:lnTo>
                      <a:lnTo>
                        <a:pt x="283" y="29"/>
                      </a:lnTo>
                      <a:lnTo>
                        <a:pt x="300" y="17"/>
                      </a:lnTo>
                      <a:lnTo>
                        <a:pt x="337" y="17"/>
                      </a:lnTo>
                      <a:lnTo>
                        <a:pt x="363" y="29"/>
                      </a:lnTo>
                      <a:lnTo>
                        <a:pt x="363" y="33"/>
                      </a:lnTo>
                      <a:lnTo>
                        <a:pt x="401" y="50"/>
                      </a:lnTo>
                      <a:lnTo>
                        <a:pt x="387" y="83"/>
                      </a:lnTo>
                      <a:lnTo>
                        <a:pt x="370" y="95"/>
                      </a:lnTo>
                      <a:lnTo>
                        <a:pt x="370" y="111"/>
                      </a:lnTo>
                      <a:lnTo>
                        <a:pt x="349" y="111"/>
                      </a:lnTo>
                      <a:lnTo>
                        <a:pt x="321" y="95"/>
                      </a:lnTo>
                      <a:lnTo>
                        <a:pt x="300" y="95"/>
                      </a:lnTo>
                      <a:lnTo>
                        <a:pt x="266" y="95"/>
                      </a:lnTo>
                      <a:lnTo>
                        <a:pt x="262" y="95"/>
                      </a:lnTo>
                      <a:lnTo>
                        <a:pt x="245" y="123"/>
                      </a:lnTo>
                      <a:lnTo>
                        <a:pt x="215" y="140"/>
                      </a:lnTo>
                      <a:lnTo>
                        <a:pt x="193" y="128"/>
                      </a:lnTo>
                      <a:lnTo>
                        <a:pt x="186" y="140"/>
                      </a:lnTo>
                      <a:lnTo>
                        <a:pt x="155" y="144"/>
                      </a:lnTo>
                      <a:lnTo>
                        <a:pt x="155" y="144"/>
                      </a:lnTo>
                      <a:lnTo>
                        <a:pt x="155" y="14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42" name="Freeform 495">
                  <a:extLst>
                    <a:ext uri="{FF2B5EF4-FFF2-40B4-BE49-F238E27FC236}">
                      <a16:creationId xmlns:a16="http://schemas.microsoft.com/office/drawing/2014/main" id="{3C7A37E4-7459-4C14-A01E-F553291025D6}"/>
                    </a:ext>
                  </a:extLst>
                </p:cNvPr>
                <p:cNvSpPr>
                  <a:spLocks/>
                </p:cNvSpPr>
                <p:nvPr/>
              </p:nvSpPr>
              <p:spPr bwMode="gray">
                <a:xfrm>
                  <a:off x="6999585" y="2549535"/>
                  <a:ext cx="2882" cy="7823"/>
                </a:xfrm>
                <a:custGeom>
                  <a:avLst/>
                  <a:gdLst>
                    <a:gd name="T0" fmla="*/ 7 w 7"/>
                    <a:gd name="T1" fmla="*/ 0 h 19"/>
                    <a:gd name="T2" fmla="*/ 7 w 7"/>
                    <a:gd name="T3" fmla="*/ 19 h 19"/>
                    <a:gd name="T4" fmla="*/ 0 w 7"/>
                    <a:gd name="T5" fmla="*/ 19 h 19"/>
                    <a:gd name="T6" fmla="*/ 7 w 7"/>
                    <a:gd name="T7" fmla="*/ 0 h 19"/>
                    <a:gd name="T8" fmla="*/ 7 w 7"/>
                    <a:gd name="T9" fmla="*/ 0 h 19"/>
                    <a:gd name="T10" fmla="*/ 7 w 7"/>
                    <a:gd name="T11" fmla="*/ 0 h 19"/>
                  </a:gdLst>
                  <a:ahLst/>
                  <a:cxnLst>
                    <a:cxn ang="0">
                      <a:pos x="T0" y="T1"/>
                    </a:cxn>
                    <a:cxn ang="0">
                      <a:pos x="T2" y="T3"/>
                    </a:cxn>
                    <a:cxn ang="0">
                      <a:pos x="T4" y="T5"/>
                    </a:cxn>
                    <a:cxn ang="0">
                      <a:pos x="T6" y="T7"/>
                    </a:cxn>
                    <a:cxn ang="0">
                      <a:pos x="T8" y="T9"/>
                    </a:cxn>
                    <a:cxn ang="0">
                      <a:pos x="T10" y="T11"/>
                    </a:cxn>
                  </a:cxnLst>
                  <a:rect l="0" t="0" r="r" b="b"/>
                  <a:pathLst>
                    <a:path w="7" h="19">
                      <a:moveTo>
                        <a:pt x="7" y="0"/>
                      </a:moveTo>
                      <a:lnTo>
                        <a:pt x="7" y="19"/>
                      </a:lnTo>
                      <a:lnTo>
                        <a:pt x="0" y="19"/>
                      </a:lnTo>
                      <a:lnTo>
                        <a:pt x="7" y="0"/>
                      </a:lnTo>
                      <a:lnTo>
                        <a:pt x="7" y="0"/>
                      </a:lnTo>
                      <a:lnTo>
                        <a:pt x="7"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43" name="Freeform 497">
                  <a:extLst>
                    <a:ext uri="{FF2B5EF4-FFF2-40B4-BE49-F238E27FC236}">
                      <a16:creationId xmlns:a16="http://schemas.microsoft.com/office/drawing/2014/main" id="{2984046F-25C7-4842-9DE9-DFE9400404B4}"/>
                    </a:ext>
                  </a:extLst>
                </p:cNvPr>
                <p:cNvSpPr>
                  <a:spLocks/>
                </p:cNvSpPr>
                <p:nvPr/>
              </p:nvSpPr>
              <p:spPr bwMode="gray">
                <a:xfrm>
                  <a:off x="6891315" y="2438373"/>
                  <a:ext cx="21406" cy="26350"/>
                </a:xfrm>
                <a:custGeom>
                  <a:avLst/>
                  <a:gdLst>
                    <a:gd name="T0" fmla="*/ 45 w 52"/>
                    <a:gd name="T1" fmla="*/ 64 h 64"/>
                    <a:gd name="T2" fmla="*/ 45 w 52"/>
                    <a:gd name="T3" fmla="*/ 64 h 64"/>
                    <a:gd name="T4" fmla="*/ 15 w 52"/>
                    <a:gd name="T5" fmla="*/ 64 h 64"/>
                    <a:gd name="T6" fmla="*/ 5 w 52"/>
                    <a:gd name="T7" fmla="*/ 55 h 64"/>
                    <a:gd name="T8" fmla="*/ 15 w 52"/>
                    <a:gd name="T9" fmla="*/ 48 h 64"/>
                    <a:gd name="T10" fmla="*/ 0 w 52"/>
                    <a:gd name="T11" fmla="*/ 33 h 64"/>
                    <a:gd name="T12" fmla="*/ 0 w 52"/>
                    <a:gd name="T13" fmla="*/ 17 h 64"/>
                    <a:gd name="T14" fmla="*/ 15 w 52"/>
                    <a:gd name="T15" fmla="*/ 0 h 64"/>
                    <a:gd name="T16" fmla="*/ 31 w 52"/>
                    <a:gd name="T17" fmla="*/ 0 h 64"/>
                    <a:gd name="T18" fmla="*/ 36 w 52"/>
                    <a:gd name="T19" fmla="*/ 26 h 64"/>
                    <a:gd name="T20" fmla="*/ 52 w 52"/>
                    <a:gd name="T21" fmla="*/ 33 h 64"/>
                    <a:gd name="T22" fmla="*/ 45 w 52"/>
                    <a:gd name="T23" fmla="*/ 64 h 64"/>
                    <a:gd name="T24" fmla="*/ 45 w 52"/>
                    <a:gd name="T25" fmla="*/ 64 h 64"/>
                    <a:gd name="T26" fmla="*/ 45 w 52"/>
                    <a:gd name="T2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64">
                      <a:moveTo>
                        <a:pt x="45" y="64"/>
                      </a:moveTo>
                      <a:lnTo>
                        <a:pt x="45" y="64"/>
                      </a:lnTo>
                      <a:lnTo>
                        <a:pt x="15" y="64"/>
                      </a:lnTo>
                      <a:lnTo>
                        <a:pt x="5" y="55"/>
                      </a:lnTo>
                      <a:lnTo>
                        <a:pt x="15" y="48"/>
                      </a:lnTo>
                      <a:lnTo>
                        <a:pt x="0" y="33"/>
                      </a:lnTo>
                      <a:lnTo>
                        <a:pt x="0" y="17"/>
                      </a:lnTo>
                      <a:lnTo>
                        <a:pt x="15" y="0"/>
                      </a:lnTo>
                      <a:lnTo>
                        <a:pt x="31" y="0"/>
                      </a:lnTo>
                      <a:lnTo>
                        <a:pt x="36" y="26"/>
                      </a:lnTo>
                      <a:lnTo>
                        <a:pt x="52" y="33"/>
                      </a:lnTo>
                      <a:lnTo>
                        <a:pt x="45" y="64"/>
                      </a:lnTo>
                      <a:lnTo>
                        <a:pt x="45" y="64"/>
                      </a:lnTo>
                      <a:lnTo>
                        <a:pt x="45" y="6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44" name="Freeform 501">
                  <a:extLst>
                    <a:ext uri="{FF2B5EF4-FFF2-40B4-BE49-F238E27FC236}">
                      <a16:creationId xmlns:a16="http://schemas.microsoft.com/office/drawing/2014/main" id="{5A1D6839-21FD-4C49-B3DB-F32CF2BB8238}"/>
                    </a:ext>
                  </a:extLst>
                </p:cNvPr>
                <p:cNvSpPr>
                  <a:spLocks/>
                </p:cNvSpPr>
                <p:nvPr/>
              </p:nvSpPr>
              <p:spPr bwMode="gray">
                <a:xfrm>
                  <a:off x="7495236" y="2503835"/>
                  <a:ext cx="101271" cy="114456"/>
                </a:xfrm>
                <a:custGeom>
                  <a:avLst/>
                  <a:gdLst>
                    <a:gd name="T0" fmla="*/ 0 w 246"/>
                    <a:gd name="T1" fmla="*/ 16 h 278"/>
                    <a:gd name="T2" fmla="*/ 5 w 246"/>
                    <a:gd name="T3" fmla="*/ 7 h 278"/>
                    <a:gd name="T4" fmla="*/ 76 w 246"/>
                    <a:gd name="T5" fmla="*/ 0 h 278"/>
                    <a:gd name="T6" fmla="*/ 97 w 246"/>
                    <a:gd name="T7" fmla="*/ 16 h 278"/>
                    <a:gd name="T8" fmla="*/ 97 w 246"/>
                    <a:gd name="T9" fmla="*/ 23 h 278"/>
                    <a:gd name="T10" fmla="*/ 152 w 246"/>
                    <a:gd name="T11" fmla="*/ 33 h 278"/>
                    <a:gd name="T12" fmla="*/ 168 w 246"/>
                    <a:gd name="T13" fmla="*/ 45 h 278"/>
                    <a:gd name="T14" fmla="*/ 175 w 246"/>
                    <a:gd name="T15" fmla="*/ 45 h 278"/>
                    <a:gd name="T16" fmla="*/ 185 w 246"/>
                    <a:gd name="T17" fmla="*/ 61 h 278"/>
                    <a:gd name="T18" fmla="*/ 175 w 246"/>
                    <a:gd name="T19" fmla="*/ 89 h 278"/>
                    <a:gd name="T20" fmla="*/ 175 w 246"/>
                    <a:gd name="T21" fmla="*/ 94 h 278"/>
                    <a:gd name="T22" fmla="*/ 192 w 246"/>
                    <a:gd name="T23" fmla="*/ 111 h 278"/>
                    <a:gd name="T24" fmla="*/ 208 w 246"/>
                    <a:gd name="T25" fmla="*/ 101 h 278"/>
                    <a:gd name="T26" fmla="*/ 208 w 246"/>
                    <a:gd name="T27" fmla="*/ 146 h 278"/>
                    <a:gd name="T28" fmla="*/ 229 w 246"/>
                    <a:gd name="T29" fmla="*/ 151 h 278"/>
                    <a:gd name="T30" fmla="*/ 229 w 246"/>
                    <a:gd name="T31" fmla="*/ 172 h 278"/>
                    <a:gd name="T32" fmla="*/ 229 w 246"/>
                    <a:gd name="T33" fmla="*/ 172 h 278"/>
                    <a:gd name="T34" fmla="*/ 246 w 246"/>
                    <a:gd name="T35" fmla="*/ 189 h 278"/>
                    <a:gd name="T36" fmla="*/ 229 w 246"/>
                    <a:gd name="T37" fmla="*/ 189 h 278"/>
                    <a:gd name="T38" fmla="*/ 218 w 246"/>
                    <a:gd name="T39" fmla="*/ 184 h 278"/>
                    <a:gd name="T40" fmla="*/ 208 w 246"/>
                    <a:gd name="T41" fmla="*/ 189 h 278"/>
                    <a:gd name="T42" fmla="*/ 201 w 246"/>
                    <a:gd name="T43" fmla="*/ 184 h 278"/>
                    <a:gd name="T44" fmla="*/ 185 w 246"/>
                    <a:gd name="T45" fmla="*/ 189 h 278"/>
                    <a:gd name="T46" fmla="*/ 175 w 246"/>
                    <a:gd name="T47" fmla="*/ 172 h 278"/>
                    <a:gd name="T48" fmla="*/ 168 w 246"/>
                    <a:gd name="T49" fmla="*/ 184 h 278"/>
                    <a:gd name="T50" fmla="*/ 163 w 246"/>
                    <a:gd name="T51" fmla="*/ 200 h 278"/>
                    <a:gd name="T52" fmla="*/ 168 w 246"/>
                    <a:gd name="T53" fmla="*/ 208 h 278"/>
                    <a:gd name="T54" fmla="*/ 163 w 246"/>
                    <a:gd name="T55" fmla="*/ 224 h 278"/>
                    <a:gd name="T56" fmla="*/ 147 w 246"/>
                    <a:gd name="T57" fmla="*/ 229 h 278"/>
                    <a:gd name="T58" fmla="*/ 147 w 246"/>
                    <a:gd name="T59" fmla="*/ 241 h 278"/>
                    <a:gd name="T60" fmla="*/ 130 w 246"/>
                    <a:gd name="T61" fmla="*/ 257 h 278"/>
                    <a:gd name="T62" fmla="*/ 130 w 246"/>
                    <a:gd name="T63" fmla="*/ 269 h 278"/>
                    <a:gd name="T64" fmla="*/ 114 w 246"/>
                    <a:gd name="T65" fmla="*/ 269 h 278"/>
                    <a:gd name="T66" fmla="*/ 109 w 246"/>
                    <a:gd name="T67" fmla="*/ 278 h 278"/>
                    <a:gd name="T68" fmla="*/ 97 w 246"/>
                    <a:gd name="T69" fmla="*/ 262 h 278"/>
                    <a:gd name="T70" fmla="*/ 109 w 246"/>
                    <a:gd name="T71" fmla="*/ 257 h 278"/>
                    <a:gd name="T72" fmla="*/ 97 w 246"/>
                    <a:gd name="T73" fmla="*/ 212 h 278"/>
                    <a:gd name="T74" fmla="*/ 114 w 246"/>
                    <a:gd name="T75" fmla="*/ 184 h 278"/>
                    <a:gd name="T76" fmla="*/ 97 w 246"/>
                    <a:gd name="T77" fmla="*/ 134 h 278"/>
                    <a:gd name="T78" fmla="*/ 83 w 246"/>
                    <a:gd name="T79" fmla="*/ 118 h 278"/>
                    <a:gd name="T80" fmla="*/ 43 w 246"/>
                    <a:gd name="T81" fmla="*/ 73 h 278"/>
                    <a:gd name="T82" fmla="*/ 22 w 246"/>
                    <a:gd name="T83" fmla="*/ 33 h 278"/>
                    <a:gd name="T84" fmla="*/ 0 w 246"/>
                    <a:gd name="T85" fmla="*/ 16 h 278"/>
                    <a:gd name="T86" fmla="*/ 0 w 246"/>
                    <a:gd name="T87" fmla="*/ 16 h 278"/>
                    <a:gd name="T88" fmla="*/ 0 w 246"/>
                    <a:gd name="T89" fmla="*/ 1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6" h="278">
                      <a:moveTo>
                        <a:pt x="0" y="16"/>
                      </a:moveTo>
                      <a:lnTo>
                        <a:pt x="5" y="7"/>
                      </a:lnTo>
                      <a:lnTo>
                        <a:pt x="76" y="0"/>
                      </a:lnTo>
                      <a:lnTo>
                        <a:pt x="97" y="16"/>
                      </a:lnTo>
                      <a:lnTo>
                        <a:pt x="97" y="23"/>
                      </a:lnTo>
                      <a:lnTo>
                        <a:pt x="152" y="33"/>
                      </a:lnTo>
                      <a:lnTo>
                        <a:pt x="168" y="45"/>
                      </a:lnTo>
                      <a:lnTo>
                        <a:pt x="175" y="45"/>
                      </a:lnTo>
                      <a:lnTo>
                        <a:pt x="185" y="61"/>
                      </a:lnTo>
                      <a:lnTo>
                        <a:pt x="175" y="89"/>
                      </a:lnTo>
                      <a:lnTo>
                        <a:pt x="175" y="94"/>
                      </a:lnTo>
                      <a:lnTo>
                        <a:pt x="192" y="111"/>
                      </a:lnTo>
                      <a:lnTo>
                        <a:pt x="208" y="101"/>
                      </a:lnTo>
                      <a:lnTo>
                        <a:pt x="208" y="146"/>
                      </a:lnTo>
                      <a:lnTo>
                        <a:pt x="229" y="151"/>
                      </a:lnTo>
                      <a:lnTo>
                        <a:pt x="229" y="172"/>
                      </a:lnTo>
                      <a:lnTo>
                        <a:pt x="229" y="172"/>
                      </a:lnTo>
                      <a:lnTo>
                        <a:pt x="246" y="189"/>
                      </a:lnTo>
                      <a:lnTo>
                        <a:pt x="229" y="189"/>
                      </a:lnTo>
                      <a:lnTo>
                        <a:pt x="218" y="184"/>
                      </a:lnTo>
                      <a:lnTo>
                        <a:pt x="208" y="189"/>
                      </a:lnTo>
                      <a:lnTo>
                        <a:pt x="201" y="184"/>
                      </a:lnTo>
                      <a:lnTo>
                        <a:pt x="185" y="189"/>
                      </a:lnTo>
                      <a:lnTo>
                        <a:pt x="175" y="172"/>
                      </a:lnTo>
                      <a:lnTo>
                        <a:pt x="168" y="184"/>
                      </a:lnTo>
                      <a:lnTo>
                        <a:pt x="163" y="200"/>
                      </a:lnTo>
                      <a:lnTo>
                        <a:pt x="168" y="208"/>
                      </a:lnTo>
                      <a:lnTo>
                        <a:pt x="163" y="224"/>
                      </a:lnTo>
                      <a:lnTo>
                        <a:pt x="147" y="229"/>
                      </a:lnTo>
                      <a:lnTo>
                        <a:pt x="147" y="241"/>
                      </a:lnTo>
                      <a:lnTo>
                        <a:pt x="130" y="257"/>
                      </a:lnTo>
                      <a:lnTo>
                        <a:pt x="130" y="269"/>
                      </a:lnTo>
                      <a:lnTo>
                        <a:pt x="114" y="269"/>
                      </a:lnTo>
                      <a:lnTo>
                        <a:pt x="109" y="278"/>
                      </a:lnTo>
                      <a:lnTo>
                        <a:pt x="97" y="262"/>
                      </a:lnTo>
                      <a:lnTo>
                        <a:pt x="109" y="257"/>
                      </a:lnTo>
                      <a:lnTo>
                        <a:pt x="97" y="212"/>
                      </a:lnTo>
                      <a:lnTo>
                        <a:pt x="114" y="184"/>
                      </a:lnTo>
                      <a:lnTo>
                        <a:pt x="97" y="134"/>
                      </a:lnTo>
                      <a:lnTo>
                        <a:pt x="83" y="118"/>
                      </a:lnTo>
                      <a:lnTo>
                        <a:pt x="43" y="73"/>
                      </a:lnTo>
                      <a:lnTo>
                        <a:pt x="22" y="33"/>
                      </a:lnTo>
                      <a:lnTo>
                        <a:pt x="0" y="16"/>
                      </a:lnTo>
                      <a:lnTo>
                        <a:pt x="0" y="16"/>
                      </a:lnTo>
                      <a:lnTo>
                        <a:pt x="0" y="1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45" name="Freeform 503">
                  <a:extLst>
                    <a:ext uri="{FF2B5EF4-FFF2-40B4-BE49-F238E27FC236}">
                      <a16:creationId xmlns:a16="http://schemas.microsoft.com/office/drawing/2014/main" id="{7757821A-D159-4817-A4E6-E344C66E4EE9}"/>
                    </a:ext>
                  </a:extLst>
                </p:cNvPr>
                <p:cNvSpPr>
                  <a:spLocks/>
                </p:cNvSpPr>
                <p:nvPr/>
              </p:nvSpPr>
              <p:spPr bwMode="gray">
                <a:xfrm>
                  <a:off x="9260477" y="2360558"/>
                  <a:ext cx="927492" cy="394012"/>
                </a:xfrm>
                <a:custGeom>
                  <a:avLst/>
                  <a:gdLst>
                    <a:gd name="T0" fmla="*/ 1993 w 2253"/>
                    <a:gd name="T1" fmla="*/ 603 h 957"/>
                    <a:gd name="T2" fmla="*/ 1875 w 2253"/>
                    <a:gd name="T3" fmla="*/ 643 h 957"/>
                    <a:gd name="T4" fmla="*/ 1729 w 2253"/>
                    <a:gd name="T5" fmla="*/ 659 h 957"/>
                    <a:gd name="T6" fmla="*/ 1658 w 2253"/>
                    <a:gd name="T7" fmla="*/ 719 h 957"/>
                    <a:gd name="T8" fmla="*/ 1632 w 2253"/>
                    <a:gd name="T9" fmla="*/ 808 h 957"/>
                    <a:gd name="T10" fmla="*/ 1382 w 2253"/>
                    <a:gd name="T11" fmla="*/ 886 h 957"/>
                    <a:gd name="T12" fmla="*/ 1209 w 2253"/>
                    <a:gd name="T13" fmla="*/ 957 h 957"/>
                    <a:gd name="T14" fmla="*/ 1171 w 2253"/>
                    <a:gd name="T15" fmla="*/ 936 h 957"/>
                    <a:gd name="T16" fmla="*/ 1048 w 2253"/>
                    <a:gd name="T17" fmla="*/ 907 h 957"/>
                    <a:gd name="T18" fmla="*/ 919 w 2253"/>
                    <a:gd name="T19" fmla="*/ 863 h 957"/>
                    <a:gd name="T20" fmla="*/ 654 w 2253"/>
                    <a:gd name="T21" fmla="*/ 853 h 957"/>
                    <a:gd name="T22" fmla="*/ 571 w 2253"/>
                    <a:gd name="T23" fmla="*/ 813 h 957"/>
                    <a:gd name="T24" fmla="*/ 534 w 2253"/>
                    <a:gd name="T25" fmla="*/ 726 h 957"/>
                    <a:gd name="T26" fmla="*/ 411 w 2253"/>
                    <a:gd name="T27" fmla="*/ 664 h 957"/>
                    <a:gd name="T28" fmla="*/ 200 w 2253"/>
                    <a:gd name="T29" fmla="*/ 615 h 957"/>
                    <a:gd name="T30" fmla="*/ 222 w 2253"/>
                    <a:gd name="T31" fmla="*/ 548 h 957"/>
                    <a:gd name="T32" fmla="*/ 210 w 2253"/>
                    <a:gd name="T33" fmla="*/ 475 h 957"/>
                    <a:gd name="T34" fmla="*/ 163 w 2253"/>
                    <a:gd name="T35" fmla="*/ 409 h 957"/>
                    <a:gd name="T36" fmla="*/ 125 w 2253"/>
                    <a:gd name="T37" fmla="*/ 388 h 957"/>
                    <a:gd name="T38" fmla="*/ 54 w 2253"/>
                    <a:gd name="T39" fmla="*/ 355 h 957"/>
                    <a:gd name="T40" fmla="*/ 0 w 2253"/>
                    <a:gd name="T41" fmla="*/ 310 h 957"/>
                    <a:gd name="T42" fmla="*/ 21 w 2253"/>
                    <a:gd name="T43" fmla="*/ 277 h 957"/>
                    <a:gd name="T44" fmla="*/ 75 w 2253"/>
                    <a:gd name="T45" fmla="*/ 260 h 957"/>
                    <a:gd name="T46" fmla="*/ 101 w 2253"/>
                    <a:gd name="T47" fmla="*/ 256 h 957"/>
                    <a:gd name="T48" fmla="*/ 139 w 2253"/>
                    <a:gd name="T49" fmla="*/ 227 h 957"/>
                    <a:gd name="T50" fmla="*/ 163 w 2253"/>
                    <a:gd name="T51" fmla="*/ 199 h 957"/>
                    <a:gd name="T52" fmla="*/ 252 w 2253"/>
                    <a:gd name="T53" fmla="*/ 161 h 957"/>
                    <a:gd name="T54" fmla="*/ 319 w 2253"/>
                    <a:gd name="T55" fmla="*/ 128 h 957"/>
                    <a:gd name="T56" fmla="*/ 361 w 2253"/>
                    <a:gd name="T57" fmla="*/ 128 h 957"/>
                    <a:gd name="T58" fmla="*/ 453 w 2253"/>
                    <a:gd name="T59" fmla="*/ 149 h 957"/>
                    <a:gd name="T60" fmla="*/ 503 w 2253"/>
                    <a:gd name="T61" fmla="*/ 199 h 957"/>
                    <a:gd name="T62" fmla="*/ 562 w 2253"/>
                    <a:gd name="T63" fmla="*/ 206 h 957"/>
                    <a:gd name="T64" fmla="*/ 616 w 2253"/>
                    <a:gd name="T65" fmla="*/ 222 h 957"/>
                    <a:gd name="T66" fmla="*/ 697 w 2253"/>
                    <a:gd name="T67" fmla="*/ 206 h 957"/>
                    <a:gd name="T68" fmla="*/ 739 w 2253"/>
                    <a:gd name="T69" fmla="*/ 161 h 957"/>
                    <a:gd name="T70" fmla="*/ 718 w 2253"/>
                    <a:gd name="T71" fmla="*/ 128 h 957"/>
                    <a:gd name="T72" fmla="*/ 734 w 2253"/>
                    <a:gd name="T73" fmla="*/ 62 h 957"/>
                    <a:gd name="T74" fmla="*/ 777 w 2253"/>
                    <a:gd name="T75" fmla="*/ 0 h 957"/>
                    <a:gd name="T76" fmla="*/ 956 w 2253"/>
                    <a:gd name="T77" fmla="*/ 71 h 957"/>
                    <a:gd name="T78" fmla="*/ 1011 w 2253"/>
                    <a:gd name="T79" fmla="*/ 95 h 957"/>
                    <a:gd name="T80" fmla="*/ 1025 w 2253"/>
                    <a:gd name="T81" fmla="*/ 133 h 957"/>
                    <a:gd name="T82" fmla="*/ 1079 w 2253"/>
                    <a:gd name="T83" fmla="*/ 173 h 957"/>
                    <a:gd name="T84" fmla="*/ 1129 w 2253"/>
                    <a:gd name="T85" fmla="*/ 189 h 957"/>
                    <a:gd name="T86" fmla="*/ 1237 w 2253"/>
                    <a:gd name="T87" fmla="*/ 161 h 957"/>
                    <a:gd name="T88" fmla="*/ 1330 w 2253"/>
                    <a:gd name="T89" fmla="*/ 173 h 957"/>
                    <a:gd name="T90" fmla="*/ 1419 w 2253"/>
                    <a:gd name="T91" fmla="*/ 215 h 957"/>
                    <a:gd name="T92" fmla="*/ 1507 w 2253"/>
                    <a:gd name="T93" fmla="*/ 260 h 957"/>
                    <a:gd name="T94" fmla="*/ 1653 w 2253"/>
                    <a:gd name="T95" fmla="*/ 272 h 957"/>
                    <a:gd name="T96" fmla="*/ 1859 w 2253"/>
                    <a:gd name="T97" fmla="*/ 173 h 957"/>
                    <a:gd name="T98" fmla="*/ 1960 w 2253"/>
                    <a:gd name="T99" fmla="*/ 215 h 957"/>
                    <a:gd name="T100" fmla="*/ 2031 w 2253"/>
                    <a:gd name="T101" fmla="*/ 222 h 957"/>
                    <a:gd name="T102" fmla="*/ 1965 w 2253"/>
                    <a:gd name="T103" fmla="*/ 367 h 957"/>
                    <a:gd name="T104" fmla="*/ 1977 w 2253"/>
                    <a:gd name="T105" fmla="*/ 421 h 957"/>
                    <a:gd name="T106" fmla="*/ 2074 w 2253"/>
                    <a:gd name="T107" fmla="*/ 421 h 957"/>
                    <a:gd name="T108" fmla="*/ 2178 w 2253"/>
                    <a:gd name="T109" fmla="*/ 409 h 957"/>
                    <a:gd name="T110" fmla="*/ 2237 w 2253"/>
                    <a:gd name="T111" fmla="*/ 466 h 957"/>
                    <a:gd name="T112" fmla="*/ 2237 w 2253"/>
                    <a:gd name="T113" fmla="*/ 520 h 957"/>
                    <a:gd name="T114" fmla="*/ 2178 w 2253"/>
                    <a:gd name="T115" fmla="*/ 515 h 957"/>
                    <a:gd name="T116" fmla="*/ 2074 w 2253"/>
                    <a:gd name="T117" fmla="*/ 520 h 957"/>
                    <a:gd name="T118" fmla="*/ 2031 w 2253"/>
                    <a:gd name="T119" fmla="*/ 548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3" h="957">
                      <a:moveTo>
                        <a:pt x="2031" y="548"/>
                      </a:moveTo>
                      <a:lnTo>
                        <a:pt x="2010" y="560"/>
                      </a:lnTo>
                      <a:lnTo>
                        <a:pt x="1993" y="603"/>
                      </a:lnTo>
                      <a:lnTo>
                        <a:pt x="1944" y="626"/>
                      </a:lnTo>
                      <a:lnTo>
                        <a:pt x="1875" y="626"/>
                      </a:lnTo>
                      <a:lnTo>
                        <a:pt x="1875" y="643"/>
                      </a:lnTo>
                      <a:lnTo>
                        <a:pt x="1814" y="681"/>
                      </a:lnTo>
                      <a:lnTo>
                        <a:pt x="1762" y="669"/>
                      </a:lnTo>
                      <a:lnTo>
                        <a:pt x="1729" y="659"/>
                      </a:lnTo>
                      <a:lnTo>
                        <a:pt x="1708" y="648"/>
                      </a:lnTo>
                      <a:lnTo>
                        <a:pt x="1686" y="664"/>
                      </a:lnTo>
                      <a:lnTo>
                        <a:pt x="1658" y="719"/>
                      </a:lnTo>
                      <a:lnTo>
                        <a:pt x="1691" y="754"/>
                      </a:lnTo>
                      <a:lnTo>
                        <a:pt x="1696" y="775"/>
                      </a:lnTo>
                      <a:lnTo>
                        <a:pt x="1632" y="808"/>
                      </a:lnTo>
                      <a:lnTo>
                        <a:pt x="1587" y="853"/>
                      </a:lnTo>
                      <a:lnTo>
                        <a:pt x="1511" y="886"/>
                      </a:lnTo>
                      <a:lnTo>
                        <a:pt x="1382" y="886"/>
                      </a:lnTo>
                      <a:lnTo>
                        <a:pt x="1263" y="924"/>
                      </a:lnTo>
                      <a:lnTo>
                        <a:pt x="1226" y="952"/>
                      </a:lnTo>
                      <a:lnTo>
                        <a:pt x="1209" y="957"/>
                      </a:lnTo>
                      <a:lnTo>
                        <a:pt x="1204" y="957"/>
                      </a:lnTo>
                      <a:lnTo>
                        <a:pt x="1171" y="952"/>
                      </a:lnTo>
                      <a:lnTo>
                        <a:pt x="1171" y="936"/>
                      </a:lnTo>
                      <a:lnTo>
                        <a:pt x="1129" y="941"/>
                      </a:lnTo>
                      <a:lnTo>
                        <a:pt x="1096" y="936"/>
                      </a:lnTo>
                      <a:lnTo>
                        <a:pt x="1048" y="907"/>
                      </a:lnTo>
                      <a:lnTo>
                        <a:pt x="1004" y="903"/>
                      </a:lnTo>
                      <a:lnTo>
                        <a:pt x="987" y="879"/>
                      </a:lnTo>
                      <a:lnTo>
                        <a:pt x="919" y="863"/>
                      </a:lnTo>
                      <a:lnTo>
                        <a:pt x="881" y="863"/>
                      </a:lnTo>
                      <a:lnTo>
                        <a:pt x="826" y="879"/>
                      </a:lnTo>
                      <a:lnTo>
                        <a:pt x="654" y="853"/>
                      </a:lnTo>
                      <a:lnTo>
                        <a:pt x="600" y="863"/>
                      </a:lnTo>
                      <a:lnTo>
                        <a:pt x="600" y="846"/>
                      </a:lnTo>
                      <a:lnTo>
                        <a:pt x="571" y="813"/>
                      </a:lnTo>
                      <a:lnTo>
                        <a:pt x="545" y="754"/>
                      </a:lnTo>
                      <a:lnTo>
                        <a:pt x="534" y="754"/>
                      </a:lnTo>
                      <a:lnTo>
                        <a:pt x="534" y="726"/>
                      </a:lnTo>
                      <a:lnTo>
                        <a:pt x="508" y="726"/>
                      </a:lnTo>
                      <a:lnTo>
                        <a:pt x="486" y="719"/>
                      </a:lnTo>
                      <a:lnTo>
                        <a:pt x="411" y="664"/>
                      </a:lnTo>
                      <a:lnTo>
                        <a:pt x="264" y="659"/>
                      </a:lnTo>
                      <a:lnTo>
                        <a:pt x="215" y="643"/>
                      </a:lnTo>
                      <a:lnTo>
                        <a:pt x="200" y="615"/>
                      </a:lnTo>
                      <a:lnTo>
                        <a:pt x="210" y="593"/>
                      </a:lnTo>
                      <a:lnTo>
                        <a:pt x="231" y="570"/>
                      </a:lnTo>
                      <a:lnTo>
                        <a:pt x="222" y="548"/>
                      </a:lnTo>
                      <a:lnTo>
                        <a:pt x="231" y="520"/>
                      </a:lnTo>
                      <a:lnTo>
                        <a:pt x="222" y="492"/>
                      </a:lnTo>
                      <a:lnTo>
                        <a:pt x="210" y="475"/>
                      </a:lnTo>
                      <a:lnTo>
                        <a:pt x="193" y="449"/>
                      </a:lnTo>
                      <a:lnTo>
                        <a:pt x="184" y="437"/>
                      </a:lnTo>
                      <a:lnTo>
                        <a:pt x="163" y="409"/>
                      </a:lnTo>
                      <a:lnTo>
                        <a:pt x="163" y="404"/>
                      </a:lnTo>
                      <a:lnTo>
                        <a:pt x="139" y="404"/>
                      </a:lnTo>
                      <a:lnTo>
                        <a:pt x="125" y="388"/>
                      </a:lnTo>
                      <a:lnTo>
                        <a:pt x="92" y="388"/>
                      </a:lnTo>
                      <a:lnTo>
                        <a:pt x="59" y="371"/>
                      </a:lnTo>
                      <a:lnTo>
                        <a:pt x="54" y="355"/>
                      </a:lnTo>
                      <a:lnTo>
                        <a:pt x="16" y="338"/>
                      </a:lnTo>
                      <a:lnTo>
                        <a:pt x="21" y="326"/>
                      </a:lnTo>
                      <a:lnTo>
                        <a:pt x="0" y="310"/>
                      </a:lnTo>
                      <a:lnTo>
                        <a:pt x="4" y="300"/>
                      </a:lnTo>
                      <a:lnTo>
                        <a:pt x="4" y="282"/>
                      </a:lnTo>
                      <a:lnTo>
                        <a:pt x="21" y="277"/>
                      </a:lnTo>
                      <a:lnTo>
                        <a:pt x="21" y="260"/>
                      </a:lnTo>
                      <a:lnTo>
                        <a:pt x="33" y="256"/>
                      </a:lnTo>
                      <a:lnTo>
                        <a:pt x="75" y="260"/>
                      </a:lnTo>
                      <a:lnTo>
                        <a:pt x="75" y="244"/>
                      </a:lnTo>
                      <a:lnTo>
                        <a:pt x="87" y="256"/>
                      </a:lnTo>
                      <a:lnTo>
                        <a:pt x="101" y="256"/>
                      </a:lnTo>
                      <a:lnTo>
                        <a:pt x="101" y="239"/>
                      </a:lnTo>
                      <a:lnTo>
                        <a:pt x="108" y="244"/>
                      </a:lnTo>
                      <a:lnTo>
                        <a:pt x="139" y="227"/>
                      </a:lnTo>
                      <a:lnTo>
                        <a:pt x="130" y="215"/>
                      </a:lnTo>
                      <a:lnTo>
                        <a:pt x="156" y="206"/>
                      </a:lnTo>
                      <a:lnTo>
                        <a:pt x="163" y="199"/>
                      </a:lnTo>
                      <a:lnTo>
                        <a:pt x="210" y="182"/>
                      </a:lnTo>
                      <a:lnTo>
                        <a:pt x="222" y="166"/>
                      </a:lnTo>
                      <a:lnTo>
                        <a:pt x="252" y="161"/>
                      </a:lnTo>
                      <a:lnTo>
                        <a:pt x="276" y="145"/>
                      </a:lnTo>
                      <a:lnTo>
                        <a:pt x="307" y="133"/>
                      </a:lnTo>
                      <a:lnTo>
                        <a:pt x="319" y="128"/>
                      </a:lnTo>
                      <a:lnTo>
                        <a:pt x="340" y="145"/>
                      </a:lnTo>
                      <a:lnTo>
                        <a:pt x="356" y="128"/>
                      </a:lnTo>
                      <a:lnTo>
                        <a:pt x="361" y="128"/>
                      </a:lnTo>
                      <a:lnTo>
                        <a:pt x="361" y="145"/>
                      </a:lnTo>
                      <a:lnTo>
                        <a:pt x="373" y="149"/>
                      </a:lnTo>
                      <a:lnTo>
                        <a:pt x="453" y="149"/>
                      </a:lnTo>
                      <a:lnTo>
                        <a:pt x="465" y="182"/>
                      </a:lnTo>
                      <a:lnTo>
                        <a:pt x="479" y="206"/>
                      </a:lnTo>
                      <a:lnTo>
                        <a:pt x="503" y="199"/>
                      </a:lnTo>
                      <a:lnTo>
                        <a:pt x="508" y="206"/>
                      </a:lnTo>
                      <a:lnTo>
                        <a:pt x="541" y="215"/>
                      </a:lnTo>
                      <a:lnTo>
                        <a:pt x="562" y="206"/>
                      </a:lnTo>
                      <a:lnTo>
                        <a:pt x="571" y="215"/>
                      </a:lnTo>
                      <a:lnTo>
                        <a:pt x="578" y="206"/>
                      </a:lnTo>
                      <a:lnTo>
                        <a:pt x="616" y="222"/>
                      </a:lnTo>
                      <a:lnTo>
                        <a:pt x="647" y="215"/>
                      </a:lnTo>
                      <a:lnTo>
                        <a:pt x="671" y="227"/>
                      </a:lnTo>
                      <a:lnTo>
                        <a:pt x="697" y="206"/>
                      </a:lnTo>
                      <a:lnTo>
                        <a:pt x="722" y="199"/>
                      </a:lnTo>
                      <a:lnTo>
                        <a:pt x="739" y="173"/>
                      </a:lnTo>
                      <a:lnTo>
                        <a:pt x="739" y="161"/>
                      </a:lnTo>
                      <a:lnTo>
                        <a:pt x="718" y="145"/>
                      </a:lnTo>
                      <a:lnTo>
                        <a:pt x="718" y="133"/>
                      </a:lnTo>
                      <a:lnTo>
                        <a:pt x="718" y="128"/>
                      </a:lnTo>
                      <a:lnTo>
                        <a:pt x="701" y="111"/>
                      </a:lnTo>
                      <a:lnTo>
                        <a:pt x="718" y="62"/>
                      </a:lnTo>
                      <a:lnTo>
                        <a:pt x="734" y="62"/>
                      </a:lnTo>
                      <a:lnTo>
                        <a:pt x="739" y="38"/>
                      </a:lnTo>
                      <a:lnTo>
                        <a:pt x="760" y="34"/>
                      </a:lnTo>
                      <a:lnTo>
                        <a:pt x="777" y="0"/>
                      </a:lnTo>
                      <a:lnTo>
                        <a:pt x="859" y="38"/>
                      </a:lnTo>
                      <a:lnTo>
                        <a:pt x="897" y="38"/>
                      </a:lnTo>
                      <a:lnTo>
                        <a:pt x="956" y="71"/>
                      </a:lnTo>
                      <a:lnTo>
                        <a:pt x="973" y="62"/>
                      </a:lnTo>
                      <a:lnTo>
                        <a:pt x="1011" y="78"/>
                      </a:lnTo>
                      <a:lnTo>
                        <a:pt x="1011" y="95"/>
                      </a:lnTo>
                      <a:lnTo>
                        <a:pt x="1020" y="111"/>
                      </a:lnTo>
                      <a:lnTo>
                        <a:pt x="1011" y="128"/>
                      </a:lnTo>
                      <a:lnTo>
                        <a:pt x="1025" y="133"/>
                      </a:lnTo>
                      <a:lnTo>
                        <a:pt x="1020" y="149"/>
                      </a:lnTo>
                      <a:lnTo>
                        <a:pt x="1063" y="173"/>
                      </a:lnTo>
                      <a:lnTo>
                        <a:pt x="1079" y="173"/>
                      </a:lnTo>
                      <a:lnTo>
                        <a:pt x="1086" y="189"/>
                      </a:lnTo>
                      <a:lnTo>
                        <a:pt x="1117" y="189"/>
                      </a:lnTo>
                      <a:lnTo>
                        <a:pt x="1129" y="189"/>
                      </a:lnTo>
                      <a:lnTo>
                        <a:pt x="1141" y="189"/>
                      </a:lnTo>
                      <a:lnTo>
                        <a:pt x="1167" y="173"/>
                      </a:lnTo>
                      <a:lnTo>
                        <a:pt x="1237" y="161"/>
                      </a:lnTo>
                      <a:lnTo>
                        <a:pt x="1280" y="166"/>
                      </a:lnTo>
                      <a:lnTo>
                        <a:pt x="1297" y="173"/>
                      </a:lnTo>
                      <a:lnTo>
                        <a:pt x="1330" y="173"/>
                      </a:lnTo>
                      <a:lnTo>
                        <a:pt x="1351" y="189"/>
                      </a:lnTo>
                      <a:lnTo>
                        <a:pt x="1356" y="206"/>
                      </a:lnTo>
                      <a:lnTo>
                        <a:pt x="1419" y="215"/>
                      </a:lnTo>
                      <a:lnTo>
                        <a:pt x="1415" y="239"/>
                      </a:lnTo>
                      <a:lnTo>
                        <a:pt x="1457" y="272"/>
                      </a:lnTo>
                      <a:lnTo>
                        <a:pt x="1507" y="260"/>
                      </a:lnTo>
                      <a:lnTo>
                        <a:pt x="1528" y="277"/>
                      </a:lnTo>
                      <a:lnTo>
                        <a:pt x="1615" y="282"/>
                      </a:lnTo>
                      <a:lnTo>
                        <a:pt x="1653" y="272"/>
                      </a:lnTo>
                      <a:lnTo>
                        <a:pt x="1776" y="244"/>
                      </a:lnTo>
                      <a:lnTo>
                        <a:pt x="1783" y="222"/>
                      </a:lnTo>
                      <a:lnTo>
                        <a:pt x="1859" y="173"/>
                      </a:lnTo>
                      <a:lnTo>
                        <a:pt x="1901" y="182"/>
                      </a:lnTo>
                      <a:lnTo>
                        <a:pt x="1939" y="215"/>
                      </a:lnTo>
                      <a:lnTo>
                        <a:pt x="1960" y="215"/>
                      </a:lnTo>
                      <a:lnTo>
                        <a:pt x="1998" y="206"/>
                      </a:lnTo>
                      <a:lnTo>
                        <a:pt x="2019" y="215"/>
                      </a:lnTo>
                      <a:lnTo>
                        <a:pt x="2031" y="222"/>
                      </a:lnTo>
                      <a:lnTo>
                        <a:pt x="1982" y="317"/>
                      </a:lnTo>
                      <a:lnTo>
                        <a:pt x="1965" y="338"/>
                      </a:lnTo>
                      <a:lnTo>
                        <a:pt x="1965" y="367"/>
                      </a:lnTo>
                      <a:lnTo>
                        <a:pt x="1944" y="383"/>
                      </a:lnTo>
                      <a:lnTo>
                        <a:pt x="1956" y="393"/>
                      </a:lnTo>
                      <a:lnTo>
                        <a:pt x="1977" y="421"/>
                      </a:lnTo>
                      <a:lnTo>
                        <a:pt x="1998" y="404"/>
                      </a:lnTo>
                      <a:lnTo>
                        <a:pt x="2048" y="404"/>
                      </a:lnTo>
                      <a:lnTo>
                        <a:pt x="2074" y="421"/>
                      </a:lnTo>
                      <a:lnTo>
                        <a:pt x="2107" y="388"/>
                      </a:lnTo>
                      <a:lnTo>
                        <a:pt x="2161" y="388"/>
                      </a:lnTo>
                      <a:lnTo>
                        <a:pt x="2178" y="409"/>
                      </a:lnTo>
                      <a:lnTo>
                        <a:pt x="2199" y="421"/>
                      </a:lnTo>
                      <a:lnTo>
                        <a:pt x="2199" y="437"/>
                      </a:lnTo>
                      <a:lnTo>
                        <a:pt x="2237" y="466"/>
                      </a:lnTo>
                      <a:lnTo>
                        <a:pt x="2253" y="492"/>
                      </a:lnTo>
                      <a:lnTo>
                        <a:pt x="2253" y="504"/>
                      </a:lnTo>
                      <a:lnTo>
                        <a:pt x="2237" y="520"/>
                      </a:lnTo>
                      <a:lnTo>
                        <a:pt x="2215" y="515"/>
                      </a:lnTo>
                      <a:lnTo>
                        <a:pt x="2182" y="504"/>
                      </a:lnTo>
                      <a:lnTo>
                        <a:pt x="2178" y="515"/>
                      </a:lnTo>
                      <a:lnTo>
                        <a:pt x="2145" y="504"/>
                      </a:lnTo>
                      <a:lnTo>
                        <a:pt x="2107" y="520"/>
                      </a:lnTo>
                      <a:lnTo>
                        <a:pt x="2074" y="520"/>
                      </a:lnTo>
                      <a:lnTo>
                        <a:pt x="2074" y="537"/>
                      </a:lnTo>
                      <a:lnTo>
                        <a:pt x="2036" y="537"/>
                      </a:lnTo>
                      <a:lnTo>
                        <a:pt x="2031" y="548"/>
                      </a:lnTo>
                      <a:lnTo>
                        <a:pt x="2031" y="548"/>
                      </a:lnTo>
                      <a:lnTo>
                        <a:pt x="2031" y="54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46" name="Freeform 506">
                  <a:extLst>
                    <a:ext uri="{FF2B5EF4-FFF2-40B4-BE49-F238E27FC236}">
                      <a16:creationId xmlns:a16="http://schemas.microsoft.com/office/drawing/2014/main" id="{09647E8A-2FC5-49C0-BD61-0689D989F6BE}"/>
                    </a:ext>
                  </a:extLst>
                </p:cNvPr>
                <p:cNvSpPr>
                  <a:spLocks/>
                </p:cNvSpPr>
                <p:nvPr/>
              </p:nvSpPr>
              <p:spPr bwMode="gray">
                <a:xfrm>
                  <a:off x="7317394" y="2728220"/>
                  <a:ext cx="72043" cy="51876"/>
                </a:xfrm>
                <a:custGeom>
                  <a:avLst/>
                  <a:gdLst>
                    <a:gd name="T0" fmla="*/ 21 w 175"/>
                    <a:gd name="T1" fmla="*/ 126 h 126"/>
                    <a:gd name="T2" fmla="*/ 9 w 175"/>
                    <a:gd name="T3" fmla="*/ 126 h 126"/>
                    <a:gd name="T4" fmla="*/ 0 w 175"/>
                    <a:gd name="T5" fmla="*/ 88 h 126"/>
                    <a:gd name="T6" fmla="*/ 5 w 175"/>
                    <a:gd name="T7" fmla="*/ 81 h 126"/>
                    <a:gd name="T8" fmla="*/ 0 w 175"/>
                    <a:gd name="T9" fmla="*/ 71 h 126"/>
                    <a:gd name="T10" fmla="*/ 5 w 175"/>
                    <a:gd name="T11" fmla="*/ 43 h 126"/>
                    <a:gd name="T12" fmla="*/ 9 w 175"/>
                    <a:gd name="T13" fmla="*/ 43 h 126"/>
                    <a:gd name="T14" fmla="*/ 21 w 175"/>
                    <a:gd name="T15" fmla="*/ 26 h 126"/>
                    <a:gd name="T16" fmla="*/ 43 w 175"/>
                    <a:gd name="T17" fmla="*/ 17 h 126"/>
                    <a:gd name="T18" fmla="*/ 59 w 175"/>
                    <a:gd name="T19" fmla="*/ 17 h 126"/>
                    <a:gd name="T20" fmla="*/ 66 w 175"/>
                    <a:gd name="T21" fmla="*/ 10 h 126"/>
                    <a:gd name="T22" fmla="*/ 80 w 175"/>
                    <a:gd name="T23" fmla="*/ 10 h 126"/>
                    <a:gd name="T24" fmla="*/ 97 w 175"/>
                    <a:gd name="T25" fmla="*/ 0 h 126"/>
                    <a:gd name="T26" fmla="*/ 130 w 175"/>
                    <a:gd name="T27" fmla="*/ 0 h 126"/>
                    <a:gd name="T28" fmla="*/ 147 w 175"/>
                    <a:gd name="T29" fmla="*/ 17 h 126"/>
                    <a:gd name="T30" fmla="*/ 170 w 175"/>
                    <a:gd name="T31" fmla="*/ 33 h 126"/>
                    <a:gd name="T32" fmla="*/ 175 w 175"/>
                    <a:gd name="T33" fmla="*/ 50 h 126"/>
                    <a:gd name="T34" fmla="*/ 175 w 175"/>
                    <a:gd name="T35" fmla="*/ 88 h 126"/>
                    <a:gd name="T36" fmla="*/ 163 w 175"/>
                    <a:gd name="T37" fmla="*/ 88 h 126"/>
                    <a:gd name="T38" fmla="*/ 163 w 175"/>
                    <a:gd name="T39" fmla="*/ 102 h 126"/>
                    <a:gd name="T40" fmla="*/ 109 w 175"/>
                    <a:gd name="T41" fmla="*/ 102 h 126"/>
                    <a:gd name="T42" fmla="*/ 92 w 175"/>
                    <a:gd name="T43" fmla="*/ 118 h 126"/>
                    <a:gd name="T44" fmla="*/ 76 w 175"/>
                    <a:gd name="T45" fmla="*/ 126 h 126"/>
                    <a:gd name="T46" fmla="*/ 38 w 175"/>
                    <a:gd name="T47" fmla="*/ 126 h 126"/>
                    <a:gd name="T48" fmla="*/ 21 w 175"/>
                    <a:gd name="T49" fmla="*/ 126 h 126"/>
                    <a:gd name="T50" fmla="*/ 21 w 175"/>
                    <a:gd name="T51" fmla="*/ 126 h 126"/>
                    <a:gd name="T52" fmla="*/ 21 w 175"/>
                    <a:gd name="T53"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26">
                      <a:moveTo>
                        <a:pt x="21" y="126"/>
                      </a:moveTo>
                      <a:lnTo>
                        <a:pt x="9" y="126"/>
                      </a:lnTo>
                      <a:lnTo>
                        <a:pt x="0" y="88"/>
                      </a:lnTo>
                      <a:lnTo>
                        <a:pt x="5" y="81"/>
                      </a:lnTo>
                      <a:lnTo>
                        <a:pt x="0" y="71"/>
                      </a:lnTo>
                      <a:lnTo>
                        <a:pt x="5" y="43"/>
                      </a:lnTo>
                      <a:lnTo>
                        <a:pt x="9" y="43"/>
                      </a:lnTo>
                      <a:lnTo>
                        <a:pt x="21" y="26"/>
                      </a:lnTo>
                      <a:lnTo>
                        <a:pt x="43" y="17"/>
                      </a:lnTo>
                      <a:lnTo>
                        <a:pt x="59" y="17"/>
                      </a:lnTo>
                      <a:lnTo>
                        <a:pt x="66" y="10"/>
                      </a:lnTo>
                      <a:lnTo>
                        <a:pt x="80" y="10"/>
                      </a:lnTo>
                      <a:lnTo>
                        <a:pt x="97" y="0"/>
                      </a:lnTo>
                      <a:lnTo>
                        <a:pt x="130" y="0"/>
                      </a:lnTo>
                      <a:lnTo>
                        <a:pt x="147" y="17"/>
                      </a:lnTo>
                      <a:lnTo>
                        <a:pt x="170" y="33"/>
                      </a:lnTo>
                      <a:lnTo>
                        <a:pt x="175" y="50"/>
                      </a:lnTo>
                      <a:lnTo>
                        <a:pt x="175" y="88"/>
                      </a:lnTo>
                      <a:lnTo>
                        <a:pt x="163" y="88"/>
                      </a:lnTo>
                      <a:lnTo>
                        <a:pt x="163" y="102"/>
                      </a:lnTo>
                      <a:lnTo>
                        <a:pt x="109" y="102"/>
                      </a:lnTo>
                      <a:lnTo>
                        <a:pt x="92" y="118"/>
                      </a:lnTo>
                      <a:lnTo>
                        <a:pt x="76" y="126"/>
                      </a:lnTo>
                      <a:lnTo>
                        <a:pt x="38" y="126"/>
                      </a:lnTo>
                      <a:lnTo>
                        <a:pt x="21" y="126"/>
                      </a:lnTo>
                      <a:lnTo>
                        <a:pt x="21" y="126"/>
                      </a:lnTo>
                      <a:lnTo>
                        <a:pt x="21" y="1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47" name="Freeform 511">
                  <a:extLst>
                    <a:ext uri="{FF2B5EF4-FFF2-40B4-BE49-F238E27FC236}">
                      <a16:creationId xmlns:a16="http://schemas.microsoft.com/office/drawing/2014/main" id="{864DB3C2-C30B-4D65-B01C-50768868DB73}"/>
                    </a:ext>
                  </a:extLst>
                </p:cNvPr>
                <p:cNvSpPr>
                  <a:spLocks noEditPoints="1"/>
                </p:cNvSpPr>
                <p:nvPr/>
              </p:nvSpPr>
              <p:spPr bwMode="gray">
                <a:xfrm>
                  <a:off x="7134612" y="2947253"/>
                  <a:ext cx="9880" cy="10705"/>
                </a:xfrm>
                <a:custGeom>
                  <a:avLst/>
                  <a:gdLst>
                    <a:gd name="T0" fmla="*/ 7 w 24"/>
                    <a:gd name="T1" fmla="*/ 12 h 26"/>
                    <a:gd name="T2" fmla="*/ 0 w 24"/>
                    <a:gd name="T3" fmla="*/ 0 h 26"/>
                    <a:gd name="T4" fmla="*/ 7 w 24"/>
                    <a:gd name="T5" fmla="*/ 0 h 26"/>
                    <a:gd name="T6" fmla="*/ 7 w 24"/>
                    <a:gd name="T7" fmla="*/ 12 h 26"/>
                    <a:gd name="T8" fmla="*/ 7 w 24"/>
                    <a:gd name="T9" fmla="*/ 12 h 26"/>
                    <a:gd name="T10" fmla="*/ 7 w 24"/>
                    <a:gd name="T11" fmla="*/ 12 h 26"/>
                    <a:gd name="T12" fmla="*/ 24 w 24"/>
                    <a:gd name="T13" fmla="*/ 26 h 26"/>
                    <a:gd name="T14" fmla="*/ 7 w 24"/>
                    <a:gd name="T15" fmla="*/ 16 h 26"/>
                    <a:gd name="T16" fmla="*/ 7 w 24"/>
                    <a:gd name="T17" fmla="*/ 12 h 26"/>
                    <a:gd name="T18" fmla="*/ 24 w 24"/>
                    <a:gd name="T19" fmla="*/ 16 h 26"/>
                    <a:gd name="T20" fmla="*/ 24 w 24"/>
                    <a:gd name="T21" fmla="*/ 26 h 26"/>
                    <a:gd name="T22" fmla="*/ 24 w 24"/>
                    <a:gd name="T23" fmla="*/ 26 h 26"/>
                    <a:gd name="T24" fmla="*/ 24 w 24"/>
                    <a:gd name="T2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6">
                      <a:moveTo>
                        <a:pt x="7" y="12"/>
                      </a:moveTo>
                      <a:lnTo>
                        <a:pt x="0" y="0"/>
                      </a:lnTo>
                      <a:lnTo>
                        <a:pt x="7" y="0"/>
                      </a:lnTo>
                      <a:lnTo>
                        <a:pt x="7" y="12"/>
                      </a:lnTo>
                      <a:lnTo>
                        <a:pt x="7" y="12"/>
                      </a:lnTo>
                      <a:lnTo>
                        <a:pt x="7" y="12"/>
                      </a:lnTo>
                      <a:close/>
                      <a:moveTo>
                        <a:pt x="24" y="26"/>
                      </a:moveTo>
                      <a:lnTo>
                        <a:pt x="7" y="16"/>
                      </a:lnTo>
                      <a:lnTo>
                        <a:pt x="7" y="12"/>
                      </a:lnTo>
                      <a:lnTo>
                        <a:pt x="24" y="16"/>
                      </a:lnTo>
                      <a:lnTo>
                        <a:pt x="24" y="26"/>
                      </a:lnTo>
                      <a:lnTo>
                        <a:pt x="24" y="26"/>
                      </a:lnTo>
                      <a:lnTo>
                        <a:pt x="24" y="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48" name="Freeform 513">
                  <a:extLst>
                    <a:ext uri="{FF2B5EF4-FFF2-40B4-BE49-F238E27FC236}">
                      <a16:creationId xmlns:a16="http://schemas.microsoft.com/office/drawing/2014/main" id="{9C2383DE-14CD-4343-BF6B-8ECD6E393065}"/>
                    </a:ext>
                  </a:extLst>
                </p:cNvPr>
                <p:cNvSpPr>
                  <a:spLocks/>
                </p:cNvSpPr>
                <p:nvPr/>
              </p:nvSpPr>
              <p:spPr bwMode="gray">
                <a:xfrm>
                  <a:off x="7260171" y="2685402"/>
                  <a:ext cx="53518" cy="60523"/>
                </a:xfrm>
                <a:custGeom>
                  <a:avLst/>
                  <a:gdLst>
                    <a:gd name="T0" fmla="*/ 0 w 130"/>
                    <a:gd name="T1" fmla="*/ 90 h 147"/>
                    <a:gd name="T2" fmla="*/ 7 w 130"/>
                    <a:gd name="T3" fmla="*/ 81 h 147"/>
                    <a:gd name="T4" fmla="*/ 0 w 130"/>
                    <a:gd name="T5" fmla="*/ 62 h 147"/>
                    <a:gd name="T6" fmla="*/ 0 w 130"/>
                    <a:gd name="T7" fmla="*/ 45 h 147"/>
                    <a:gd name="T8" fmla="*/ 16 w 130"/>
                    <a:gd name="T9" fmla="*/ 41 h 147"/>
                    <a:gd name="T10" fmla="*/ 16 w 130"/>
                    <a:gd name="T11" fmla="*/ 24 h 147"/>
                    <a:gd name="T12" fmla="*/ 28 w 130"/>
                    <a:gd name="T13" fmla="*/ 17 h 147"/>
                    <a:gd name="T14" fmla="*/ 37 w 130"/>
                    <a:gd name="T15" fmla="*/ 24 h 147"/>
                    <a:gd name="T16" fmla="*/ 45 w 130"/>
                    <a:gd name="T17" fmla="*/ 17 h 147"/>
                    <a:gd name="T18" fmla="*/ 28 w 130"/>
                    <a:gd name="T19" fmla="*/ 0 h 147"/>
                    <a:gd name="T20" fmla="*/ 54 w 130"/>
                    <a:gd name="T21" fmla="*/ 0 h 147"/>
                    <a:gd name="T22" fmla="*/ 87 w 130"/>
                    <a:gd name="T23" fmla="*/ 36 h 147"/>
                    <a:gd name="T24" fmla="*/ 130 w 130"/>
                    <a:gd name="T25" fmla="*/ 57 h 147"/>
                    <a:gd name="T26" fmla="*/ 130 w 130"/>
                    <a:gd name="T27" fmla="*/ 62 h 147"/>
                    <a:gd name="T28" fmla="*/ 125 w 130"/>
                    <a:gd name="T29" fmla="*/ 62 h 147"/>
                    <a:gd name="T30" fmla="*/ 108 w 130"/>
                    <a:gd name="T31" fmla="*/ 74 h 147"/>
                    <a:gd name="T32" fmla="*/ 113 w 130"/>
                    <a:gd name="T33" fmla="*/ 81 h 147"/>
                    <a:gd name="T34" fmla="*/ 108 w 130"/>
                    <a:gd name="T35" fmla="*/ 90 h 147"/>
                    <a:gd name="T36" fmla="*/ 92 w 130"/>
                    <a:gd name="T37" fmla="*/ 97 h 147"/>
                    <a:gd name="T38" fmla="*/ 92 w 130"/>
                    <a:gd name="T39" fmla="*/ 81 h 147"/>
                    <a:gd name="T40" fmla="*/ 87 w 130"/>
                    <a:gd name="T41" fmla="*/ 81 h 147"/>
                    <a:gd name="T42" fmla="*/ 54 w 130"/>
                    <a:gd name="T43" fmla="*/ 118 h 147"/>
                    <a:gd name="T44" fmla="*/ 59 w 130"/>
                    <a:gd name="T45" fmla="*/ 130 h 147"/>
                    <a:gd name="T46" fmla="*/ 59 w 130"/>
                    <a:gd name="T47" fmla="*/ 147 h 147"/>
                    <a:gd name="T48" fmla="*/ 45 w 130"/>
                    <a:gd name="T49" fmla="*/ 135 h 147"/>
                    <a:gd name="T50" fmla="*/ 28 w 130"/>
                    <a:gd name="T51" fmla="*/ 114 h 147"/>
                    <a:gd name="T52" fmla="*/ 7 w 130"/>
                    <a:gd name="T53" fmla="*/ 97 h 147"/>
                    <a:gd name="T54" fmla="*/ 16 w 130"/>
                    <a:gd name="T55" fmla="*/ 102 h 147"/>
                    <a:gd name="T56" fmla="*/ 16 w 130"/>
                    <a:gd name="T57" fmla="*/ 97 h 147"/>
                    <a:gd name="T58" fmla="*/ 0 w 130"/>
                    <a:gd name="T59" fmla="*/ 97 h 147"/>
                    <a:gd name="T60" fmla="*/ 0 w 130"/>
                    <a:gd name="T61" fmla="*/ 90 h 147"/>
                    <a:gd name="T62" fmla="*/ 0 w 130"/>
                    <a:gd name="T63" fmla="*/ 90 h 147"/>
                    <a:gd name="T64" fmla="*/ 0 w 130"/>
                    <a:gd name="T65" fmla="*/ 9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0" h="147">
                      <a:moveTo>
                        <a:pt x="0" y="90"/>
                      </a:moveTo>
                      <a:lnTo>
                        <a:pt x="7" y="81"/>
                      </a:lnTo>
                      <a:lnTo>
                        <a:pt x="0" y="62"/>
                      </a:lnTo>
                      <a:lnTo>
                        <a:pt x="0" y="45"/>
                      </a:lnTo>
                      <a:lnTo>
                        <a:pt x="16" y="41"/>
                      </a:lnTo>
                      <a:lnTo>
                        <a:pt x="16" y="24"/>
                      </a:lnTo>
                      <a:lnTo>
                        <a:pt x="28" y="17"/>
                      </a:lnTo>
                      <a:lnTo>
                        <a:pt x="37" y="24"/>
                      </a:lnTo>
                      <a:lnTo>
                        <a:pt x="45" y="17"/>
                      </a:lnTo>
                      <a:lnTo>
                        <a:pt x="28" y="0"/>
                      </a:lnTo>
                      <a:lnTo>
                        <a:pt x="54" y="0"/>
                      </a:lnTo>
                      <a:lnTo>
                        <a:pt x="87" y="36"/>
                      </a:lnTo>
                      <a:lnTo>
                        <a:pt x="130" y="57"/>
                      </a:lnTo>
                      <a:lnTo>
                        <a:pt x="130" y="62"/>
                      </a:lnTo>
                      <a:lnTo>
                        <a:pt x="125" y="62"/>
                      </a:lnTo>
                      <a:lnTo>
                        <a:pt x="108" y="74"/>
                      </a:lnTo>
                      <a:lnTo>
                        <a:pt x="113" y="81"/>
                      </a:lnTo>
                      <a:lnTo>
                        <a:pt x="108" y="90"/>
                      </a:lnTo>
                      <a:lnTo>
                        <a:pt x="92" y="97"/>
                      </a:lnTo>
                      <a:lnTo>
                        <a:pt x="92" y="81"/>
                      </a:lnTo>
                      <a:lnTo>
                        <a:pt x="87" y="81"/>
                      </a:lnTo>
                      <a:lnTo>
                        <a:pt x="54" y="118"/>
                      </a:lnTo>
                      <a:lnTo>
                        <a:pt x="59" y="130"/>
                      </a:lnTo>
                      <a:lnTo>
                        <a:pt x="59" y="147"/>
                      </a:lnTo>
                      <a:lnTo>
                        <a:pt x="45" y="135"/>
                      </a:lnTo>
                      <a:lnTo>
                        <a:pt x="28" y="114"/>
                      </a:lnTo>
                      <a:lnTo>
                        <a:pt x="7" y="97"/>
                      </a:lnTo>
                      <a:lnTo>
                        <a:pt x="16" y="102"/>
                      </a:lnTo>
                      <a:lnTo>
                        <a:pt x="16" y="97"/>
                      </a:lnTo>
                      <a:lnTo>
                        <a:pt x="0" y="97"/>
                      </a:lnTo>
                      <a:lnTo>
                        <a:pt x="0" y="90"/>
                      </a:lnTo>
                      <a:lnTo>
                        <a:pt x="0" y="90"/>
                      </a:lnTo>
                      <a:lnTo>
                        <a:pt x="0" y="9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49" name="Freeform 522">
                  <a:extLst>
                    <a:ext uri="{FF2B5EF4-FFF2-40B4-BE49-F238E27FC236}">
                      <a16:creationId xmlns:a16="http://schemas.microsoft.com/office/drawing/2014/main" id="{64A9E520-F866-4BAB-BFB5-F75647C29C51}"/>
                    </a:ext>
                  </a:extLst>
                </p:cNvPr>
                <p:cNvSpPr>
                  <a:spLocks noEditPoints="1"/>
                </p:cNvSpPr>
                <p:nvPr/>
              </p:nvSpPr>
              <p:spPr bwMode="gray">
                <a:xfrm>
                  <a:off x="6824213" y="2308270"/>
                  <a:ext cx="111151" cy="107046"/>
                </a:xfrm>
                <a:custGeom>
                  <a:avLst/>
                  <a:gdLst>
                    <a:gd name="T0" fmla="*/ 156 w 270"/>
                    <a:gd name="T1" fmla="*/ 0 h 260"/>
                    <a:gd name="T2" fmla="*/ 161 w 270"/>
                    <a:gd name="T3" fmla="*/ 0 h 260"/>
                    <a:gd name="T4" fmla="*/ 161 w 270"/>
                    <a:gd name="T5" fmla="*/ 0 h 260"/>
                    <a:gd name="T6" fmla="*/ 270 w 270"/>
                    <a:gd name="T7" fmla="*/ 49 h 260"/>
                    <a:gd name="T8" fmla="*/ 237 w 270"/>
                    <a:gd name="T9" fmla="*/ 78 h 260"/>
                    <a:gd name="T10" fmla="*/ 253 w 270"/>
                    <a:gd name="T11" fmla="*/ 104 h 260"/>
                    <a:gd name="T12" fmla="*/ 232 w 270"/>
                    <a:gd name="T13" fmla="*/ 132 h 260"/>
                    <a:gd name="T14" fmla="*/ 178 w 270"/>
                    <a:gd name="T15" fmla="*/ 161 h 260"/>
                    <a:gd name="T16" fmla="*/ 199 w 270"/>
                    <a:gd name="T17" fmla="*/ 205 h 260"/>
                    <a:gd name="T18" fmla="*/ 185 w 270"/>
                    <a:gd name="T19" fmla="*/ 222 h 260"/>
                    <a:gd name="T20" fmla="*/ 185 w 270"/>
                    <a:gd name="T21" fmla="*/ 243 h 260"/>
                    <a:gd name="T22" fmla="*/ 161 w 270"/>
                    <a:gd name="T23" fmla="*/ 260 h 260"/>
                    <a:gd name="T24" fmla="*/ 168 w 270"/>
                    <a:gd name="T25" fmla="*/ 222 h 260"/>
                    <a:gd name="T26" fmla="*/ 130 w 270"/>
                    <a:gd name="T27" fmla="*/ 217 h 260"/>
                    <a:gd name="T28" fmla="*/ 109 w 270"/>
                    <a:gd name="T29" fmla="*/ 198 h 260"/>
                    <a:gd name="T30" fmla="*/ 85 w 270"/>
                    <a:gd name="T31" fmla="*/ 198 h 260"/>
                    <a:gd name="T32" fmla="*/ 69 w 270"/>
                    <a:gd name="T33" fmla="*/ 198 h 260"/>
                    <a:gd name="T34" fmla="*/ 59 w 270"/>
                    <a:gd name="T35" fmla="*/ 198 h 260"/>
                    <a:gd name="T36" fmla="*/ 0 w 270"/>
                    <a:gd name="T37" fmla="*/ 189 h 260"/>
                    <a:gd name="T38" fmla="*/ 31 w 270"/>
                    <a:gd name="T39" fmla="*/ 182 h 260"/>
                    <a:gd name="T40" fmla="*/ 55 w 270"/>
                    <a:gd name="T41" fmla="*/ 198 h 260"/>
                    <a:gd name="T42" fmla="*/ 38 w 270"/>
                    <a:gd name="T43" fmla="*/ 182 h 260"/>
                    <a:gd name="T44" fmla="*/ 22 w 270"/>
                    <a:gd name="T45" fmla="*/ 165 h 260"/>
                    <a:gd name="T46" fmla="*/ 31 w 270"/>
                    <a:gd name="T47" fmla="*/ 161 h 260"/>
                    <a:gd name="T48" fmla="*/ 38 w 270"/>
                    <a:gd name="T49" fmla="*/ 144 h 260"/>
                    <a:gd name="T50" fmla="*/ 85 w 270"/>
                    <a:gd name="T51" fmla="*/ 94 h 260"/>
                    <a:gd name="T52" fmla="*/ 168 w 270"/>
                    <a:gd name="T53" fmla="*/ 94 h 260"/>
                    <a:gd name="T54" fmla="*/ 156 w 270"/>
                    <a:gd name="T55" fmla="*/ 78 h 260"/>
                    <a:gd name="T56" fmla="*/ 161 w 270"/>
                    <a:gd name="T57" fmla="*/ 66 h 260"/>
                    <a:gd name="T58" fmla="*/ 140 w 270"/>
                    <a:gd name="T59" fmla="*/ 38 h 260"/>
                    <a:gd name="T60" fmla="*/ 123 w 270"/>
                    <a:gd name="T61" fmla="*/ 66 h 260"/>
                    <a:gd name="T62" fmla="*/ 114 w 270"/>
                    <a:gd name="T63" fmla="*/ 78 h 260"/>
                    <a:gd name="T64" fmla="*/ 114 w 270"/>
                    <a:gd name="T65" fmla="*/ 104 h 260"/>
                    <a:gd name="T66" fmla="*/ 93 w 270"/>
                    <a:gd name="T67" fmla="*/ 49 h 260"/>
                    <a:gd name="T68" fmla="*/ 114 w 270"/>
                    <a:gd name="T69" fmla="*/ 49 h 260"/>
                    <a:gd name="T70" fmla="*/ 178 w 270"/>
                    <a:gd name="T71" fmla="*/ 9 h 260"/>
                    <a:gd name="T72" fmla="*/ 270 w 270"/>
                    <a:gd name="T73" fmla="*/ 21 h 260"/>
                    <a:gd name="T74" fmla="*/ 270 w 270"/>
                    <a:gd name="T75" fmla="*/ 21 h 260"/>
                    <a:gd name="T76" fmla="*/ 93 w 270"/>
                    <a:gd name="T77" fmla="*/ 38 h 260"/>
                    <a:gd name="T78" fmla="*/ 109 w 270"/>
                    <a:gd name="T79" fmla="*/ 38 h 260"/>
                    <a:gd name="T80" fmla="*/ 93 w 270"/>
                    <a:gd name="T81" fmla="*/ 49 h 260"/>
                    <a:gd name="T82" fmla="*/ 114 w 270"/>
                    <a:gd name="T83" fmla="*/ 104 h 260"/>
                    <a:gd name="T84" fmla="*/ 130 w 270"/>
                    <a:gd name="T85" fmla="*/ 71 h 260"/>
                    <a:gd name="T86" fmla="*/ 123 w 270"/>
                    <a:gd name="T87" fmla="*/ 104 h 260"/>
                    <a:gd name="T88" fmla="*/ 114 w 270"/>
                    <a:gd name="T89" fmla="*/ 104 h 260"/>
                    <a:gd name="T90" fmla="*/ 114 w 270"/>
                    <a:gd name="T91" fmla="*/ 104 h 260"/>
                    <a:gd name="T92" fmla="*/ 140 w 270"/>
                    <a:gd name="T93" fmla="*/ 120 h 260"/>
                    <a:gd name="T94" fmla="*/ 156 w 270"/>
                    <a:gd name="T95" fmla="*/ 87 h 260"/>
                    <a:gd name="T96" fmla="*/ 168 w 270"/>
                    <a:gd name="T97" fmla="*/ 104 h 260"/>
                    <a:gd name="T98" fmla="*/ 156 w 270"/>
                    <a:gd name="T99" fmla="*/ 104 h 260"/>
                    <a:gd name="T100" fmla="*/ 59 w 270"/>
                    <a:gd name="T101" fmla="*/ 205 h 260"/>
                    <a:gd name="T102" fmla="*/ 17 w 270"/>
                    <a:gd name="T103" fmla="*/ 205 h 260"/>
                    <a:gd name="T104" fmla="*/ 0 w 270"/>
                    <a:gd name="T105" fmla="*/ 198 h 260"/>
                    <a:gd name="T106" fmla="*/ 59 w 270"/>
                    <a:gd name="T107" fmla="*/ 20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0" h="260">
                      <a:moveTo>
                        <a:pt x="161" y="0"/>
                      </a:moveTo>
                      <a:lnTo>
                        <a:pt x="156" y="0"/>
                      </a:lnTo>
                      <a:lnTo>
                        <a:pt x="178" y="0"/>
                      </a:lnTo>
                      <a:lnTo>
                        <a:pt x="161" y="0"/>
                      </a:lnTo>
                      <a:lnTo>
                        <a:pt x="161" y="0"/>
                      </a:lnTo>
                      <a:lnTo>
                        <a:pt x="161" y="0"/>
                      </a:lnTo>
                      <a:close/>
                      <a:moveTo>
                        <a:pt x="270" y="21"/>
                      </a:moveTo>
                      <a:lnTo>
                        <a:pt x="270" y="49"/>
                      </a:lnTo>
                      <a:lnTo>
                        <a:pt x="253" y="78"/>
                      </a:lnTo>
                      <a:lnTo>
                        <a:pt x="237" y="78"/>
                      </a:lnTo>
                      <a:lnTo>
                        <a:pt x="232" y="87"/>
                      </a:lnTo>
                      <a:lnTo>
                        <a:pt x="253" y="104"/>
                      </a:lnTo>
                      <a:lnTo>
                        <a:pt x="253" y="120"/>
                      </a:lnTo>
                      <a:lnTo>
                        <a:pt x="232" y="132"/>
                      </a:lnTo>
                      <a:lnTo>
                        <a:pt x="237" y="144"/>
                      </a:lnTo>
                      <a:lnTo>
                        <a:pt x="178" y="161"/>
                      </a:lnTo>
                      <a:lnTo>
                        <a:pt x="199" y="189"/>
                      </a:lnTo>
                      <a:lnTo>
                        <a:pt x="199" y="205"/>
                      </a:lnTo>
                      <a:lnTo>
                        <a:pt x="185" y="217"/>
                      </a:lnTo>
                      <a:lnTo>
                        <a:pt x="185" y="222"/>
                      </a:lnTo>
                      <a:lnTo>
                        <a:pt x="168" y="234"/>
                      </a:lnTo>
                      <a:lnTo>
                        <a:pt x="185" y="243"/>
                      </a:lnTo>
                      <a:lnTo>
                        <a:pt x="185" y="260"/>
                      </a:lnTo>
                      <a:lnTo>
                        <a:pt x="161" y="260"/>
                      </a:lnTo>
                      <a:lnTo>
                        <a:pt x="156" y="255"/>
                      </a:lnTo>
                      <a:lnTo>
                        <a:pt x="168" y="222"/>
                      </a:lnTo>
                      <a:lnTo>
                        <a:pt x="147" y="205"/>
                      </a:lnTo>
                      <a:lnTo>
                        <a:pt x="130" y="217"/>
                      </a:lnTo>
                      <a:lnTo>
                        <a:pt x="114" y="189"/>
                      </a:lnTo>
                      <a:lnTo>
                        <a:pt x="109" y="198"/>
                      </a:lnTo>
                      <a:lnTo>
                        <a:pt x="102" y="189"/>
                      </a:lnTo>
                      <a:lnTo>
                        <a:pt x="85" y="198"/>
                      </a:lnTo>
                      <a:lnTo>
                        <a:pt x="76" y="189"/>
                      </a:lnTo>
                      <a:lnTo>
                        <a:pt x="69" y="198"/>
                      </a:lnTo>
                      <a:lnTo>
                        <a:pt x="69" y="205"/>
                      </a:lnTo>
                      <a:lnTo>
                        <a:pt x="59" y="198"/>
                      </a:lnTo>
                      <a:lnTo>
                        <a:pt x="31" y="198"/>
                      </a:lnTo>
                      <a:lnTo>
                        <a:pt x="0" y="189"/>
                      </a:lnTo>
                      <a:lnTo>
                        <a:pt x="31" y="182"/>
                      </a:lnTo>
                      <a:lnTo>
                        <a:pt x="31" y="182"/>
                      </a:lnTo>
                      <a:lnTo>
                        <a:pt x="31" y="182"/>
                      </a:lnTo>
                      <a:lnTo>
                        <a:pt x="55" y="198"/>
                      </a:lnTo>
                      <a:lnTo>
                        <a:pt x="59" y="198"/>
                      </a:lnTo>
                      <a:lnTo>
                        <a:pt x="38" y="182"/>
                      </a:lnTo>
                      <a:lnTo>
                        <a:pt x="55" y="182"/>
                      </a:lnTo>
                      <a:lnTo>
                        <a:pt x="22" y="165"/>
                      </a:lnTo>
                      <a:lnTo>
                        <a:pt x="55" y="177"/>
                      </a:lnTo>
                      <a:lnTo>
                        <a:pt x="31" y="161"/>
                      </a:lnTo>
                      <a:lnTo>
                        <a:pt x="48" y="161"/>
                      </a:lnTo>
                      <a:lnTo>
                        <a:pt x="38" y="144"/>
                      </a:lnTo>
                      <a:lnTo>
                        <a:pt x="69" y="127"/>
                      </a:lnTo>
                      <a:lnTo>
                        <a:pt x="85" y="94"/>
                      </a:lnTo>
                      <a:lnTo>
                        <a:pt x="140" y="120"/>
                      </a:lnTo>
                      <a:lnTo>
                        <a:pt x="168" y="94"/>
                      </a:lnTo>
                      <a:lnTo>
                        <a:pt x="168" y="78"/>
                      </a:lnTo>
                      <a:lnTo>
                        <a:pt x="156" y="78"/>
                      </a:lnTo>
                      <a:lnTo>
                        <a:pt x="156" y="71"/>
                      </a:lnTo>
                      <a:lnTo>
                        <a:pt x="161" y="66"/>
                      </a:lnTo>
                      <a:lnTo>
                        <a:pt x="140" y="54"/>
                      </a:lnTo>
                      <a:lnTo>
                        <a:pt x="140" y="38"/>
                      </a:lnTo>
                      <a:lnTo>
                        <a:pt x="114" y="49"/>
                      </a:lnTo>
                      <a:lnTo>
                        <a:pt x="123" y="66"/>
                      </a:lnTo>
                      <a:lnTo>
                        <a:pt x="130" y="71"/>
                      </a:lnTo>
                      <a:lnTo>
                        <a:pt x="114" y="78"/>
                      </a:lnTo>
                      <a:lnTo>
                        <a:pt x="114" y="94"/>
                      </a:lnTo>
                      <a:lnTo>
                        <a:pt x="114" y="104"/>
                      </a:lnTo>
                      <a:lnTo>
                        <a:pt x="85" y="94"/>
                      </a:lnTo>
                      <a:lnTo>
                        <a:pt x="93" y="49"/>
                      </a:lnTo>
                      <a:lnTo>
                        <a:pt x="102" y="54"/>
                      </a:lnTo>
                      <a:lnTo>
                        <a:pt x="114" y="49"/>
                      </a:lnTo>
                      <a:lnTo>
                        <a:pt x="156" y="16"/>
                      </a:lnTo>
                      <a:lnTo>
                        <a:pt x="178" y="9"/>
                      </a:lnTo>
                      <a:lnTo>
                        <a:pt x="232" y="0"/>
                      </a:lnTo>
                      <a:lnTo>
                        <a:pt x="270" y="21"/>
                      </a:lnTo>
                      <a:lnTo>
                        <a:pt x="270" y="21"/>
                      </a:lnTo>
                      <a:lnTo>
                        <a:pt x="270" y="21"/>
                      </a:lnTo>
                      <a:close/>
                      <a:moveTo>
                        <a:pt x="93" y="49"/>
                      </a:moveTo>
                      <a:lnTo>
                        <a:pt x="93" y="38"/>
                      </a:lnTo>
                      <a:lnTo>
                        <a:pt x="102" y="21"/>
                      </a:lnTo>
                      <a:lnTo>
                        <a:pt x="109" y="38"/>
                      </a:lnTo>
                      <a:lnTo>
                        <a:pt x="93" y="49"/>
                      </a:lnTo>
                      <a:lnTo>
                        <a:pt x="93" y="49"/>
                      </a:lnTo>
                      <a:lnTo>
                        <a:pt x="93" y="49"/>
                      </a:lnTo>
                      <a:close/>
                      <a:moveTo>
                        <a:pt x="114" y="104"/>
                      </a:moveTo>
                      <a:lnTo>
                        <a:pt x="114" y="78"/>
                      </a:lnTo>
                      <a:lnTo>
                        <a:pt x="130" y="71"/>
                      </a:lnTo>
                      <a:lnTo>
                        <a:pt x="147" y="87"/>
                      </a:lnTo>
                      <a:lnTo>
                        <a:pt x="123" y="104"/>
                      </a:lnTo>
                      <a:lnTo>
                        <a:pt x="114" y="104"/>
                      </a:lnTo>
                      <a:lnTo>
                        <a:pt x="114" y="104"/>
                      </a:lnTo>
                      <a:lnTo>
                        <a:pt x="114" y="104"/>
                      </a:lnTo>
                      <a:lnTo>
                        <a:pt x="114" y="104"/>
                      </a:lnTo>
                      <a:close/>
                      <a:moveTo>
                        <a:pt x="156" y="104"/>
                      </a:moveTo>
                      <a:lnTo>
                        <a:pt x="140" y="120"/>
                      </a:lnTo>
                      <a:lnTo>
                        <a:pt x="123" y="104"/>
                      </a:lnTo>
                      <a:lnTo>
                        <a:pt x="156" y="87"/>
                      </a:lnTo>
                      <a:lnTo>
                        <a:pt x="168" y="87"/>
                      </a:lnTo>
                      <a:lnTo>
                        <a:pt x="168" y="104"/>
                      </a:lnTo>
                      <a:lnTo>
                        <a:pt x="156" y="104"/>
                      </a:lnTo>
                      <a:lnTo>
                        <a:pt x="156" y="104"/>
                      </a:lnTo>
                      <a:lnTo>
                        <a:pt x="156" y="104"/>
                      </a:lnTo>
                      <a:close/>
                      <a:moveTo>
                        <a:pt x="59" y="205"/>
                      </a:moveTo>
                      <a:lnTo>
                        <a:pt x="31" y="217"/>
                      </a:lnTo>
                      <a:lnTo>
                        <a:pt x="17" y="205"/>
                      </a:lnTo>
                      <a:lnTo>
                        <a:pt x="0" y="217"/>
                      </a:lnTo>
                      <a:lnTo>
                        <a:pt x="0" y="198"/>
                      </a:lnTo>
                      <a:lnTo>
                        <a:pt x="59" y="205"/>
                      </a:lnTo>
                      <a:lnTo>
                        <a:pt x="59" y="205"/>
                      </a:lnTo>
                      <a:lnTo>
                        <a:pt x="59" y="20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50" name="Freeform 523">
                  <a:extLst>
                    <a:ext uri="{FF2B5EF4-FFF2-40B4-BE49-F238E27FC236}">
                      <a16:creationId xmlns:a16="http://schemas.microsoft.com/office/drawing/2014/main" id="{3DCA15C1-C33B-415C-AD14-EEBAA3391AED}"/>
                    </a:ext>
                  </a:extLst>
                </p:cNvPr>
                <p:cNvSpPr>
                  <a:spLocks noEditPoints="1"/>
                </p:cNvSpPr>
                <p:nvPr/>
              </p:nvSpPr>
              <p:spPr bwMode="gray">
                <a:xfrm>
                  <a:off x="6866204" y="1486484"/>
                  <a:ext cx="758296" cy="631983"/>
                </a:xfrm>
                <a:custGeom>
                  <a:avLst/>
                  <a:gdLst>
                    <a:gd name="T0" fmla="*/ 1713 w 1842"/>
                    <a:gd name="T1" fmla="*/ 238 h 1535"/>
                    <a:gd name="T2" fmla="*/ 1285 w 1842"/>
                    <a:gd name="T3" fmla="*/ 326 h 1535"/>
                    <a:gd name="T4" fmla="*/ 919 w 1842"/>
                    <a:gd name="T5" fmla="*/ 411 h 1535"/>
                    <a:gd name="T6" fmla="*/ 546 w 1842"/>
                    <a:gd name="T7" fmla="*/ 886 h 1535"/>
                    <a:gd name="T8" fmla="*/ 470 w 1842"/>
                    <a:gd name="T9" fmla="*/ 1441 h 1535"/>
                    <a:gd name="T10" fmla="*/ 399 w 1842"/>
                    <a:gd name="T11" fmla="*/ 1403 h 1535"/>
                    <a:gd name="T12" fmla="*/ 92 w 1842"/>
                    <a:gd name="T13" fmla="*/ 1453 h 1535"/>
                    <a:gd name="T14" fmla="*/ 54 w 1842"/>
                    <a:gd name="T15" fmla="*/ 1386 h 1535"/>
                    <a:gd name="T16" fmla="*/ 163 w 1842"/>
                    <a:gd name="T17" fmla="*/ 1268 h 1535"/>
                    <a:gd name="T18" fmla="*/ 54 w 1842"/>
                    <a:gd name="T19" fmla="*/ 1242 h 1535"/>
                    <a:gd name="T20" fmla="*/ 189 w 1842"/>
                    <a:gd name="T21" fmla="*/ 1164 h 1535"/>
                    <a:gd name="T22" fmla="*/ 21 w 1842"/>
                    <a:gd name="T23" fmla="*/ 1148 h 1535"/>
                    <a:gd name="T24" fmla="*/ 97 w 1842"/>
                    <a:gd name="T25" fmla="*/ 1058 h 1535"/>
                    <a:gd name="T26" fmla="*/ 206 w 1842"/>
                    <a:gd name="T27" fmla="*/ 1049 h 1535"/>
                    <a:gd name="T28" fmla="*/ 227 w 1842"/>
                    <a:gd name="T29" fmla="*/ 980 h 1535"/>
                    <a:gd name="T30" fmla="*/ 361 w 1842"/>
                    <a:gd name="T31" fmla="*/ 947 h 1535"/>
                    <a:gd name="T32" fmla="*/ 352 w 1842"/>
                    <a:gd name="T33" fmla="*/ 938 h 1535"/>
                    <a:gd name="T34" fmla="*/ 470 w 1842"/>
                    <a:gd name="T35" fmla="*/ 815 h 1535"/>
                    <a:gd name="T36" fmla="*/ 541 w 1842"/>
                    <a:gd name="T37" fmla="*/ 720 h 1535"/>
                    <a:gd name="T38" fmla="*/ 567 w 1842"/>
                    <a:gd name="T39" fmla="*/ 626 h 1535"/>
                    <a:gd name="T40" fmla="*/ 659 w 1842"/>
                    <a:gd name="T41" fmla="*/ 503 h 1535"/>
                    <a:gd name="T42" fmla="*/ 692 w 1842"/>
                    <a:gd name="T43" fmla="*/ 465 h 1535"/>
                    <a:gd name="T44" fmla="*/ 702 w 1842"/>
                    <a:gd name="T45" fmla="*/ 420 h 1535"/>
                    <a:gd name="T46" fmla="*/ 801 w 1842"/>
                    <a:gd name="T47" fmla="*/ 387 h 1535"/>
                    <a:gd name="T48" fmla="*/ 848 w 1842"/>
                    <a:gd name="T49" fmla="*/ 338 h 1535"/>
                    <a:gd name="T50" fmla="*/ 994 w 1842"/>
                    <a:gd name="T51" fmla="*/ 243 h 1535"/>
                    <a:gd name="T52" fmla="*/ 1049 w 1842"/>
                    <a:gd name="T53" fmla="*/ 189 h 1535"/>
                    <a:gd name="T54" fmla="*/ 1172 w 1842"/>
                    <a:gd name="T55" fmla="*/ 111 h 1535"/>
                    <a:gd name="T56" fmla="*/ 1318 w 1842"/>
                    <a:gd name="T57" fmla="*/ 94 h 1535"/>
                    <a:gd name="T58" fmla="*/ 1431 w 1842"/>
                    <a:gd name="T59" fmla="*/ 104 h 1535"/>
                    <a:gd name="T60" fmla="*/ 1557 w 1842"/>
                    <a:gd name="T61" fmla="*/ 71 h 1535"/>
                    <a:gd name="T62" fmla="*/ 1625 w 1842"/>
                    <a:gd name="T63" fmla="*/ 94 h 1535"/>
                    <a:gd name="T64" fmla="*/ 1826 w 1842"/>
                    <a:gd name="T65" fmla="*/ 94 h 1535"/>
                    <a:gd name="T66" fmla="*/ 1798 w 1842"/>
                    <a:gd name="T67" fmla="*/ 189 h 1535"/>
                    <a:gd name="T68" fmla="*/ 1205 w 1842"/>
                    <a:gd name="T69" fmla="*/ 61 h 1535"/>
                    <a:gd name="T70" fmla="*/ 1351 w 1842"/>
                    <a:gd name="T71" fmla="*/ 71 h 1535"/>
                    <a:gd name="T72" fmla="*/ 1188 w 1842"/>
                    <a:gd name="T73" fmla="*/ 116 h 1535"/>
                    <a:gd name="T74" fmla="*/ 999 w 1842"/>
                    <a:gd name="T75" fmla="*/ 132 h 1535"/>
                    <a:gd name="T76" fmla="*/ 1124 w 1842"/>
                    <a:gd name="T77" fmla="*/ 132 h 1535"/>
                    <a:gd name="T78" fmla="*/ 1124 w 1842"/>
                    <a:gd name="T79" fmla="*/ 160 h 1535"/>
                    <a:gd name="T80" fmla="*/ 1750 w 1842"/>
                    <a:gd name="T81" fmla="*/ 182 h 1535"/>
                    <a:gd name="T82" fmla="*/ 940 w 1842"/>
                    <a:gd name="T83" fmla="*/ 198 h 1535"/>
                    <a:gd name="T84" fmla="*/ 919 w 1842"/>
                    <a:gd name="T85" fmla="*/ 238 h 1535"/>
                    <a:gd name="T86" fmla="*/ 876 w 1842"/>
                    <a:gd name="T87" fmla="*/ 276 h 1535"/>
                    <a:gd name="T88" fmla="*/ 676 w 1842"/>
                    <a:gd name="T89" fmla="*/ 326 h 1535"/>
                    <a:gd name="T90" fmla="*/ 768 w 1842"/>
                    <a:gd name="T91" fmla="*/ 349 h 1535"/>
                    <a:gd name="T92" fmla="*/ 709 w 1842"/>
                    <a:gd name="T93" fmla="*/ 293 h 1535"/>
                    <a:gd name="T94" fmla="*/ 794 w 1842"/>
                    <a:gd name="T95" fmla="*/ 354 h 1535"/>
                    <a:gd name="T96" fmla="*/ 654 w 1842"/>
                    <a:gd name="T97" fmla="*/ 371 h 1535"/>
                    <a:gd name="T98" fmla="*/ 583 w 1842"/>
                    <a:gd name="T99" fmla="*/ 404 h 1535"/>
                    <a:gd name="T100" fmla="*/ 725 w 1842"/>
                    <a:gd name="T101" fmla="*/ 411 h 1535"/>
                    <a:gd name="T102" fmla="*/ 529 w 1842"/>
                    <a:gd name="T103" fmla="*/ 666 h 1535"/>
                    <a:gd name="T104" fmla="*/ 498 w 1842"/>
                    <a:gd name="T105" fmla="*/ 753 h 1535"/>
                    <a:gd name="T106" fmla="*/ 454 w 1842"/>
                    <a:gd name="T107" fmla="*/ 810 h 1535"/>
                    <a:gd name="T108" fmla="*/ 255 w 1842"/>
                    <a:gd name="T109" fmla="*/ 942 h 1535"/>
                    <a:gd name="T110" fmla="*/ 260 w 1842"/>
                    <a:gd name="T111" fmla="*/ 959 h 1535"/>
                    <a:gd name="T112" fmla="*/ 239 w 1842"/>
                    <a:gd name="T113" fmla="*/ 975 h 1535"/>
                    <a:gd name="T114" fmla="*/ 135 w 1842"/>
                    <a:gd name="T115" fmla="*/ 1020 h 1535"/>
                    <a:gd name="T116" fmla="*/ 66 w 1842"/>
                    <a:gd name="T117" fmla="*/ 1075 h 1535"/>
                    <a:gd name="T118" fmla="*/ 7 w 1842"/>
                    <a:gd name="T119" fmla="*/ 1131 h 1535"/>
                    <a:gd name="T120" fmla="*/ 21 w 1842"/>
                    <a:gd name="T121" fmla="*/ 1280 h 1535"/>
                    <a:gd name="T122" fmla="*/ 28 w 1842"/>
                    <a:gd name="T123" fmla="*/ 1325 h 1535"/>
                    <a:gd name="T124" fmla="*/ 38 w 1842"/>
                    <a:gd name="T125" fmla="*/ 1353 h 1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42" h="1535">
                      <a:moveTo>
                        <a:pt x="1457" y="33"/>
                      </a:moveTo>
                      <a:lnTo>
                        <a:pt x="1443" y="21"/>
                      </a:lnTo>
                      <a:lnTo>
                        <a:pt x="1448" y="16"/>
                      </a:lnTo>
                      <a:lnTo>
                        <a:pt x="1431" y="16"/>
                      </a:lnTo>
                      <a:lnTo>
                        <a:pt x="1465" y="0"/>
                      </a:lnTo>
                      <a:lnTo>
                        <a:pt x="1486" y="5"/>
                      </a:lnTo>
                      <a:lnTo>
                        <a:pt x="1481" y="21"/>
                      </a:lnTo>
                      <a:lnTo>
                        <a:pt x="1495" y="16"/>
                      </a:lnTo>
                      <a:lnTo>
                        <a:pt x="1457" y="33"/>
                      </a:lnTo>
                      <a:lnTo>
                        <a:pt x="1457" y="33"/>
                      </a:lnTo>
                      <a:lnTo>
                        <a:pt x="1457" y="33"/>
                      </a:lnTo>
                      <a:close/>
                      <a:moveTo>
                        <a:pt x="1826" y="172"/>
                      </a:moveTo>
                      <a:lnTo>
                        <a:pt x="1826" y="189"/>
                      </a:lnTo>
                      <a:lnTo>
                        <a:pt x="1826" y="205"/>
                      </a:lnTo>
                      <a:lnTo>
                        <a:pt x="1805" y="205"/>
                      </a:lnTo>
                      <a:lnTo>
                        <a:pt x="1772" y="198"/>
                      </a:lnTo>
                      <a:lnTo>
                        <a:pt x="1772" y="205"/>
                      </a:lnTo>
                      <a:lnTo>
                        <a:pt x="1772" y="215"/>
                      </a:lnTo>
                      <a:lnTo>
                        <a:pt x="1713" y="238"/>
                      </a:lnTo>
                      <a:lnTo>
                        <a:pt x="1713" y="260"/>
                      </a:lnTo>
                      <a:lnTo>
                        <a:pt x="1691" y="272"/>
                      </a:lnTo>
                      <a:lnTo>
                        <a:pt x="1680" y="260"/>
                      </a:lnTo>
                      <a:lnTo>
                        <a:pt x="1680" y="243"/>
                      </a:lnTo>
                      <a:lnTo>
                        <a:pt x="1713" y="215"/>
                      </a:lnTo>
                      <a:lnTo>
                        <a:pt x="1701" y="189"/>
                      </a:lnTo>
                      <a:lnTo>
                        <a:pt x="1646" y="172"/>
                      </a:lnTo>
                      <a:lnTo>
                        <a:pt x="1620" y="144"/>
                      </a:lnTo>
                      <a:lnTo>
                        <a:pt x="1557" y="165"/>
                      </a:lnTo>
                      <a:lnTo>
                        <a:pt x="1519" y="160"/>
                      </a:lnTo>
                      <a:lnTo>
                        <a:pt x="1481" y="189"/>
                      </a:lnTo>
                      <a:lnTo>
                        <a:pt x="1465" y="243"/>
                      </a:lnTo>
                      <a:lnTo>
                        <a:pt x="1465" y="276"/>
                      </a:lnTo>
                      <a:lnTo>
                        <a:pt x="1457" y="293"/>
                      </a:lnTo>
                      <a:lnTo>
                        <a:pt x="1427" y="300"/>
                      </a:lnTo>
                      <a:lnTo>
                        <a:pt x="1420" y="326"/>
                      </a:lnTo>
                      <a:lnTo>
                        <a:pt x="1410" y="333"/>
                      </a:lnTo>
                      <a:lnTo>
                        <a:pt x="1339" y="300"/>
                      </a:lnTo>
                      <a:lnTo>
                        <a:pt x="1285" y="326"/>
                      </a:lnTo>
                      <a:lnTo>
                        <a:pt x="1231" y="316"/>
                      </a:lnTo>
                      <a:lnTo>
                        <a:pt x="1226" y="300"/>
                      </a:lnTo>
                      <a:lnTo>
                        <a:pt x="1179" y="243"/>
                      </a:lnTo>
                      <a:lnTo>
                        <a:pt x="1155" y="238"/>
                      </a:lnTo>
                      <a:lnTo>
                        <a:pt x="1134" y="255"/>
                      </a:lnTo>
                      <a:lnTo>
                        <a:pt x="1141" y="260"/>
                      </a:lnTo>
                      <a:lnTo>
                        <a:pt x="1134" y="276"/>
                      </a:lnTo>
                      <a:lnTo>
                        <a:pt x="1103" y="272"/>
                      </a:lnTo>
                      <a:lnTo>
                        <a:pt x="1070" y="272"/>
                      </a:lnTo>
                      <a:lnTo>
                        <a:pt x="1087" y="283"/>
                      </a:lnTo>
                      <a:lnTo>
                        <a:pt x="1087" y="300"/>
                      </a:lnTo>
                      <a:lnTo>
                        <a:pt x="1054" y="333"/>
                      </a:lnTo>
                      <a:lnTo>
                        <a:pt x="1080" y="338"/>
                      </a:lnTo>
                      <a:lnTo>
                        <a:pt x="1054" y="366"/>
                      </a:lnTo>
                      <a:lnTo>
                        <a:pt x="983" y="338"/>
                      </a:lnTo>
                      <a:lnTo>
                        <a:pt x="924" y="338"/>
                      </a:lnTo>
                      <a:lnTo>
                        <a:pt x="924" y="349"/>
                      </a:lnTo>
                      <a:lnTo>
                        <a:pt x="928" y="383"/>
                      </a:lnTo>
                      <a:lnTo>
                        <a:pt x="919" y="411"/>
                      </a:lnTo>
                      <a:lnTo>
                        <a:pt x="869" y="387"/>
                      </a:lnTo>
                      <a:lnTo>
                        <a:pt x="831" y="411"/>
                      </a:lnTo>
                      <a:lnTo>
                        <a:pt x="815" y="449"/>
                      </a:lnTo>
                      <a:lnTo>
                        <a:pt x="784" y="477"/>
                      </a:lnTo>
                      <a:lnTo>
                        <a:pt x="810" y="498"/>
                      </a:lnTo>
                      <a:lnTo>
                        <a:pt x="810" y="522"/>
                      </a:lnTo>
                      <a:lnTo>
                        <a:pt x="739" y="588"/>
                      </a:lnTo>
                      <a:lnTo>
                        <a:pt x="746" y="609"/>
                      </a:lnTo>
                      <a:lnTo>
                        <a:pt x="713" y="626"/>
                      </a:lnTo>
                      <a:lnTo>
                        <a:pt x="676" y="631"/>
                      </a:lnTo>
                      <a:lnTo>
                        <a:pt x="687" y="666"/>
                      </a:lnTo>
                      <a:lnTo>
                        <a:pt x="676" y="699"/>
                      </a:lnTo>
                      <a:lnTo>
                        <a:pt x="676" y="725"/>
                      </a:lnTo>
                      <a:lnTo>
                        <a:pt x="617" y="815"/>
                      </a:lnTo>
                      <a:lnTo>
                        <a:pt x="650" y="827"/>
                      </a:lnTo>
                      <a:lnTo>
                        <a:pt x="654" y="853"/>
                      </a:lnTo>
                      <a:lnTo>
                        <a:pt x="638" y="881"/>
                      </a:lnTo>
                      <a:lnTo>
                        <a:pt x="567" y="869"/>
                      </a:lnTo>
                      <a:lnTo>
                        <a:pt x="546" y="886"/>
                      </a:lnTo>
                      <a:lnTo>
                        <a:pt x="508" y="926"/>
                      </a:lnTo>
                      <a:lnTo>
                        <a:pt x="513" y="938"/>
                      </a:lnTo>
                      <a:lnTo>
                        <a:pt x="498" y="964"/>
                      </a:lnTo>
                      <a:lnTo>
                        <a:pt x="513" y="992"/>
                      </a:lnTo>
                      <a:lnTo>
                        <a:pt x="498" y="1004"/>
                      </a:lnTo>
                      <a:lnTo>
                        <a:pt x="508" y="1037"/>
                      </a:lnTo>
                      <a:lnTo>
                        <a:pt x="524" y="1075"/>
                      </a:lnTo>
                      <a:lnTo>
                        <a:pt x="508" y="1131"/>
                      </a:lnTo>
                      <a:lnTo>
                        <a:pt x="562" y="1181"/>
                      </a:lnTo>
                      <a:lnTo>
                        <a:pt x="546" y="1214"/>
                      </a:lnTo>
                      <a:lnTo>
                        <a:pt x="513" y="1214"/>
                      </a:lnTo>
                      <a:lnTo>
                        <a:pt x="546" y="1275"/>
                      </a:lnTo>
                      <a:lnTo>
                        <a:pt x="529" y="1313"/>
                      </a:lnTo>
                      <a:lnTo>
                        <a:pt x="508" y="1337"/>
                      </a:lnTo>
                      <a:lnTo>
                        <a:pt x="487" y="1337"/>
                      </a:lnTo>
                      <a:lnTo>
                        <a:pt x="491" y="1353"/>
                      </a:lnTo>
                      <a:lnTo>
                        <a:pt x="475" y="1370"/>
                      </a:lnTo>
                      <a:lnTo>
                        <a:pt x="487" y="1403"/>
                      </a:lnTo>
                      <a:lnTo>
                        <a:pt x="470" y="1441"/>
                      </a:lnTo>
                      <a:lnTo>
                        <a:pt x="461" y="1441"/>
                      </a:lnTo>
                      <a:lnTo>
                        <a:pt x="461" y="1436"/>
                      </a:lnTo>
                      <a:lnTo>
                        <a:pt x="454" y="1420"/>
                      </a:lnTo>
                      <a:lnTo>
                        <a:pt x="416" y="1408"/>
                      </a:lnTo>
                      <a:lnTo>
                        <a:pt x="399" y="1353"/>
                      </a:lnTo>
                      <a:lnTo>
                        <a:pt x="406" y="1337"/>
                      </a:lnTo>
                      <a:lnTo>
                        <a:pt x="416" y="1346"/>
                      </a:lnTo>
                      <a:lnTo>
                        <a:pt x="406" y="1330"/>
                      </a:lnTo>
                      <a:lnTo>
                        <a:pt x="390" y="1337"/>
                      </a:lnTo>
                      <a:lnTo>
                        <a:pt x="399" y="1370"/>
                      </a:lnTo>
                      <a:lnTo>
                        <a:pt x="399" y="1379"/>
                      </a:lnTo>
                      <a:lnTo>
                        <a:pt x="390" y="1379"/>
                      </a:lnTo>
                      <a:lnTo>
                        <a:pt x="385" y="1353"/>
                      </a:lnTo>
                      <a:lnTo>
                        <a:pt x="378" y="1353"/>
                      </a:lnTo>
                      <a:lnTo>
                        <a:pt x="390" y="1370"/>
                      </a:lnTo>
                      <a:lnTo>
                        <a:pt x="385" y="1379"/>
                      </a:lnTo>
                      <a:lnTo>
                        <a:pt x="378" y="1370"/>
                      </a:lnTo>
                      <a:lnTo>
                        <a:pt x="390" y="1386"/>
                      </a:lnTo>
                      <a:lnTo>
                        <a:pt x="399" y="1403"/>
                      </a:lnTo>
                      <a:lnTo>
                        <a:pt x="385" y="1403"/>
                      </a:lnTo>
                      <a:lnTo>
                        <a:pt x="378" y="1424"/>
                      </a:lnTo>
                      <a:lnTo>
                        <a:pt x="352" y="1436"/>
                      </a:lnTo>
                      <a:lnTo>
                        <a:pt x="331" y="1420"/>
                      </a:lnTo>
                      <a:lnTo>
                        <a:pt x="335" y="1436"/>
                      </a:lnTo>
                      <a:lnTo>
                        <a:pt x="255" y="1507"/>
                      </a:lnTo>
                      <a:lnTo>
                        <a:pt x="239" y="1514"/>
                      </a:lnTo>
                      <a:lnTo>
                        <a:pt x="239" y="1519"/>
                      </a:lnTo>
                      <a:lnTo>
                        <a:pt x="151" y="1535"/>
                      </a:lnTo>
                      <a:lnTo>
                        <a:pt x="135" y="1531"/>
                      </a:lnTo>
                      <a:lnTo>
                        <a:pt x="120" y="1531"/>
                      </a:lnTo>
                      <a:lnTo>
                        <a:pt x="130" y="1514"/>
                      </a:lnTo>
                      <a:lnTo>
                        <a:pt x="109" y="1507"/>
                      </a:lnTo>
                      <a:lnTo>
                        <a:pt x="83" y="1497"/>
                      </a:lnTo>
                      <a:lnTo>
                        <a:pt x="76" y="1490"/>
                      </a:lnTo>
                      <a:lnTo>
                        <a:pt x="59" y="1490"/>
                      </a:lnTo>
                      <a:lnTo>
                        <a:pt x="45" y="1457"/>
                      </a:lnTo>
                      <a:lnTo>
                        <a:pt x="45" y="1424"/>
                      </a:lnTo>
                      <a:lnTo>
                        <a:pt x="92" y="1453"/>
                      </a:lnTo>
                      <a:lnTo>
                        <a:pt x="97" y="1453"/>
                      </a:lnTo>
                      <a:lnTo>
                        <a:pt x="83" y="1441"/>
                      </a:lnTo>
                      <a:lnTo>
                        <a:pt x="92" y="1436"/>
                      </a:lnTo>
                      <a:lnTo>
                        <a:pt x="120" y="1424"/>
                      </a:lnTo>
                      <a:lnTo>
                        <a:pt x="92" y="1436"/>
                      </a:lnTo>
                      <a:lnTo>
                        <a:pt x="83" y="1441"/>
                      </a:lnTo>
                      <a:lnTo>
                        <a:pt x="66" y="1424"/>
                      </a:lnTo>
                      <a:lnTo>
                        <a:pt x="92" y="1403"/>
                      </a:lnTo>
                      <a:lnTo>
                        <a:pt x="113" y="1391"/>
                      </a:lnTo>
                      <a:lnTo>
                        <a:pt x="92" y="1403"/>
                      </a:lnTo>
                      <a:lnTo>
                        <a:pt x="76" y="1391"/>
                      </a:lnTo>
                      <a:lnTo>
                        <a:pt x="97" y="1379"/>
                      </a:lnTo>
                      <a:lnTo>
                        <a:pt x="113" y="1370"/>
                      </a:lnTo>
                      <a:lnTo>
                        <a:pt x="97" y="1370"/>
                      </a:lnTo>
                      <a:lnTo>
                        <a:pt x="76" y="1391"/>
                      </a:lnTo>
                      <a:lnTo>
                        <a:pt x="76" y="1386"/>
                      </a:lnTo>
                      <a:lnTo>
                        <a:pt x="92" y="1379"/>
                      </a:lnTo>
                      <a:lnTo>
                        <a:pt x="66" y="1379"/>
                      </a:lnTo>
                      <a:lnTo>
                        <a:pt x="54" y="1386"/>
                      </a:lnTo>
                      <a:lnTo>
                        <a:pt x="66" y="1386"/>
                      </a:lnTo>
                      <a:lnTo>
                        <a:pt x="66" y="1391"/>
                      </a:lnTo>
                      <a:lnTo>
                        <a:pt x="59" y="1403"/>
                      </a:lnTo>
                      <a:lnTo>
                        <a:pt x="54" y="1391"/>
                      </a:lnTo>
                      <a:lnTo>
                        <a:pt x="45" y="1403"/>
                      </a:lnTo>
                      <a:lnTo>
                        <a:pt x="28" y="1391"/>
                      </a:lnTo>
                      <a:lnTo>
                        <a:pt x="21" y="1379"/>
                      </a:lnTo>
                      <a:lnTo>
                        <a:pt x="45" y="1353"/>
                      </a:lnTo>
                      <a:lnTo>
                        <a:pt x="45" y="1379"/>
                      </a:lnTo>
                      <a:lnTo>
                        <a:pt x="54" y="1363"/>
                      </a:lnTo>
                      <a:lnTo>
                        <a:pt x="97" y="1337"/>
                      </a:lnTo>
                      <a:lnTo>
                        <a:pt x="76" y="1353"/>
                      </a:lnTo>
                      <a:lnTo>
                        <a:pt x="59" y="1337"/>
                      </a:lnTo>
                      <a:lnTo>
                        <a:pt x="76" y="1330"/>
                      </a:lnTo>
                      <a:lnTo>
                        <a:pt x="92" y="1292"/>
                      </a:lnTo>
                      <a:lnTo>
                        <a:pt x="120" y="1280"/>
                      </a:lnTo>
                      <a:lnTo>
                        <a:pt x="113" y="1313"/>
                      </a:lnTo>
                      <a:lnTo>
                        <a:pt x="120" y="1280"/>
                      </a:lnTo>
                      <a:lnTo>
                        <a:pt x="163" y="1268"/>
                      </a:lnTo>
                      <a:lnTo>
                        <a:pt x="146" y="1268"/>
                      </a:lnTo>
                      <a:lnTo>
                        <a:pt x="151" y="1259"/>
                      </a:lnTo>
                      <a:lnTo>
                        <a:pt x="130" y="1275"/>
                      </a:lnTo>
                      <a:lnTo>
                        <a:pt x="97" y="1280"/>
                      </a:lnTo>
                      <a:lnTo>
                        <a:pt x="92" y="1297"/>
                      </a:lnTo>
                      <a:lnTo>
                        <a:pt x="76" y="1297"/>
                      </a:lnTo>
                      <a:lnTo>
                        <a:pt x="66" y="1325"/>
                      </a:lnTo>
                      <a:lnTo>
                        <a:pt x="59" y="1325"/>
                      </a:lnTo>
                      <a:lnTo>
                        <a:pt x="54" y="1308"/>
                      </a:lnTo>
                      <a:lnTo>
                        <a:pt x="45" y="1308"/>
                      </a:lnTo>
                      <a:lnTo>
                        <a:pt x="59" y="1280"/>
                      </a:lnTo>
                      <a:lnTo>
                        <a:pt x="38" y="1308"/>
                      </a:lnTo>
                      <a:lnTo>
                        <a:pt x="21" y="1297"/>
                      </a:lnTo>
                      <a:lnTo>
                        <a:pt x="28" y="1297"/>
                      </a:lnTo>
                      <a:lnTo>
                        <a:pt x="21" y="1292"/>
                      </a:lnTo>
                      <a:lnTo>
                        <a:pt x="28" y="1268"/>
                      </a:lnTo>
                      <a:lnTo>
                        <a:pt x="54" y="1280"/>
                      </a:lnTo>
                      <a:lnTo>
                        <a:pt x="59" y="1252"/>
                      </a:lnTo>
                      <a:lnTo>
                        <a:pt x="54" y="1242"/>
                      </a:lnTo>
                      <a:lnTo>
                        <a:pt x="28" y="1268"/>
                      </a:lnTo>
                      <a:lnTo>
                        <a:pt x="12" y="1252"/>
                      </a:lnTo>
                      <a:lnTo>
                        <a:pt x="28" y="1259"/>
                      </a:lnTo>
                      <a:lnTo>
                        <a:pt x="21" y="1242"/>
                      </a:lnTo>
                      <a:lnTo>
                        <a:pt x="7" y="1235"/>
                      </a:lnTo>
                      <a:lnTo>
                        <a:pt x="38" y="1259"/>
                      </a:lnTo>
                      <a:lnTo>
                        <a:pt x="28" y="1242"/>
                      </a:lnTo>
                      <a:lnTo>
                        <a:pt x="45" y="1226"/>
                      </a:lnTo>
                      <a:lnTo>
                        <a:pt x="12" y="1235"/>
                      </a:lnTo>
                      <a:lnTo>
                        <a:pt x="12" y="1214"/>
                      </a:lnTo>
                      <a:lnTo>
                        <a:pt x="76" y="1202"/>
                      </a:lnTo>
                      <a:lnTo>
                        <a:pt x="109" y="1214"/>
                      </a:lnTo>
                      <a:lnTo>
                        <a:pt x="135" y="1202"/>
                      </a:lnTo>
                      <a:lnTo>
                        <a:pt x="163" y="1226"/>
                      </a:lnTo>
                      <a:lnTo>
                        <a:pt x="163" y="1219"/>
                      </a:lnTo>
                      <a:lnTo>
                        <a:pt x="151" y="1202"/>
                      </a:lnTo>
                      <a:lnTo>
                        <a:pt x="184" y="1197"/>
                      </a:lnTo>
                      <a:lnTo>
                        <a:pt x="168" y="1181"/>
                      </a:lnTo>
                      <a:lnTo>
                        <a:pt x="189" y="1164"/>
                      </a:lnTo>
                      <a:lnTo>
                        <a:pt x="168" y="1181"/>
                      </a:lnTo>
                      <a:lnTo>
                        <a:pt x="172" y="1197"/>
                      </a:lnTo>
                      <a:lnTo>
                        <a:pt x="146" y="1202"/>
                      </a:lnTo>
                      <a:lnTo>
                        <a:pt x="120" y="1186"/>
                      </a:lnTo>
                      <a:lnTo>
                        <a:pt x="130" y="1169"/>
                      </a:lnTo>
                      <a:lnTo>
                        <a:pt x="109" y="1202"/>
                      </a:lnTo>
                      <a:lnTo>
                        <a:pt x="59" y="1197"/>
                      </a:lnTo>
                      <a:lnTo>
                        <a:pt x="38" y="1214"/>
                      </a:lnTo>
                      <a:lnTo>
                        <a:pt x="12" y="1197"/>
                      </a:lnTo>
                      <a:lnTo>
                        <a:pt x="28" y="1197"/>
                      </a:lnTo>
                      <a:lnTo>
                        <a:pt x="7" y="1186"/>
                      </a:lnTo>
                      <a:lnTo>
                        <a:pt x="54" y="1181"/>
                      </a:lnTo>
                      <a:lnTo>
                        <a:pt x="12" y="1181"/>
                      </a:lnTo>
                      <a:lnTo>
                        <a:pt x="7" y="1169"/>
                      </a:lnTo>
                      <a:lnTo>
                        <a:pt x="66" y="1164"/>
                      </a:lnTo>
                      <a:lnTo>
                        <a:pt x="21" y="1164"/>
                      </a:lnTo>
                      <a:lnTo>
                        <a:pt x="21" y="1160"/>
                      </a:lnTo>
                      <a:lnTo>
                        <a:pt x="28" y="1160"/>
                      </a:lnTo>
                      <a:lnTo>
                        <a:pt x="21" y="1148"/>
                      </a:lnTo>
                      <a:lnTo>
                        <a:pt x="38" y="1148"/>
                      </a:lnTo>
                      <a:lnTo>
                        <a:pt x="7" y="1141"/>
                      </a:lnTo>
                      <a:lnTo>
                        <a:pt x="38" y="1115"/>
                      </a:lnTo>
                      <a:lnTo>
                        <a:pt x="113" y="1124"/>
                      </a:lnTo>
                      <a:lnTo>
                        <a:pt x="130" y="1115"/>
                      </a:lnTo>
                      <a:lnTo>
                        <a:pt x="21" y="1115"/>
                      </a:lnTo>
                      <a:lnTo>
                        <a:pt x="21" y="1108"/>
                      </a:lnTo>
                      <a:lnTo>
                        <a:pt x="38" y="1103"/>
                      </a:lnTo>
                      <a:lnTo>
                        <a:pt x="12" y="1086"/>
                      </a:lnTo>
                      <a:lnTo>
                        <a:pt x="21" y="1086"/>
                      </a:lnTo>
                      <a:lnTo>
                        <a:pt x="45" y="1108"/>
                      </a:lnTo>
                      <a:lnTo>
                        <a:pt x="45" y="1091"/>
                      </a:lnTo>
                      <a:lnTo>
                        <a:pt x="38" y="1091"/>
                      </a:lnTo>
                      <a:lnTo>
                        <a:pt x="38" y="1086"/>
                      </a:lnTo>
                      <a:lnTo>
                        <a:pt x="66" y="1086"/>
                      </a:lnTo>
                      <a:lnTo>
                        <a:pt x="76" y="1091"/>
                      </a:lnTo>
                      <a:lnTo>
                        <a:pt x="109" y="1103"/>
                      </a:lnTo>
                      <a:lnTo>
                        <a:pt x="76" y="1086"/>
                      </a:lnTo>
                      <a:lnTo>
                        <a:pt x="97" y="1058"/>
                      </a:lnTo>
                      <a:lnTo>
                        <a:pt x="113" y="1091"/>
                      </a:lnTo>
                      <a:lnTo>
                        <a:pt x="120" y="1091"/>
                      </a:lnTo>
                      <a:lnTo>
                        <a:pt x="109" y="1058"/>
                      </a:lnTo>
                      <a:lnTo>
                        <a:pt x="130" y="1053"/>
                      </a:lnTo>
                      <a:lnTo>
                        <a:pt x="146" y="1058"/>
                      </a:lnTo>
                      <a:lnTo>
                        <a:pt x="151" y="1075"/>
                      </a:lnTo>
                      <a:lnTo>
                        <a:pt x="146" y="1091"/>
                      </a:lnTo>
                      <a:lnTo>
                        <a:pt x="151" y="1091"/>
                      </a:lnTo>
                      <a:lnTo>
                        <a:pt x="146" y="1091"/>
                      </a:lnTo>
                      <a:lnTo>
                        <a:pt x="151" y="1075"/>
                      </a:lnTo>
                      <a:lnTo>
                        <a:pt x="172" y="1075"/>
                      </a:lnTo>
                      <a:lnTo>
                        <a:pt x="146" y="1070"/>
                      </a:lnTo>
                      <a:lnTo>
                        <a:pt x="135" y="1053"/>
                      </a:lnTo>
                      <a:lnTo>
                        <a:pt x="97" y="1053"/>
                      </a:lnTo>
                      <a:lnTo>
                        <a:pt x="120" y="1053"/>
                      </a:lnTo>
                      <a:lnTo>
                        <a:pt x="97" y="1037"/>
                      </a:lnTo>
                      <a:lnTo>
                        <a:pt x="151" y="1032"/>
                      </a:lnTo>
                      <a:lnTo>
                        <a:pt x="189" y="1053"/>
                      </a:lnTo>
                      <a:lnTo>
                        <a:pt x="206" y="1049"/>
                      </a:lnTo>
                      <a:lnTo>
                        <a:pt x="172" y="1037"/>
                      </a:lnTo>
                      <a:lnTo>
                        <a:pt x="206" y="1020"/>
                      </a:lnTo>
                      <a:lnTo>
                        <a:pt x="227" y="1032"/>
                      </a:lnTo>
                      <a:lnTo>
                        <a:pt x="222" y="1020"/>
                      </a:lnTo>
                      <a:lnTo>
                        <a:pt x="172" y="1020"/>
                      </a:lnTo>
                      <a:lnTo>
                        <a:pt x="201" y="1013"/>
                      </a:lnTo>
                      <a:lnTo>
                        <a:pt x="189" y="1013"/>
                      </a:lnTo>
                      <a:lnTo>
                        <a:pt x="146" y="1020"/>
                      </a:lnTo>
                      <a:lnTo>
                        <a:pt x="146" y="997"/>
                      </a:lnTo>
                      <a:lnTo>
                        <a:pt x="168" y="992"/>
                      </a:lnTo>
                      <a:lnTo>
                        <a:pt x="184" y="1004"/>
                      </a:lnTo>
                      <a:lnTo>
                        <a:pt x="222" y="997"/>
                      </a:lnTo>
                      <a:lnTo>
                        <a:pt x="227" y="1013"/>
                      </a:lnTo>
                      <a:lnTo>
                        <a:pt x="260" y="1032"/>
                      </a:lnTo>
                      <a:lnTo>
                        <a:pt x="260" y="1020"/>
                      </a:lnTo>
                      <a:lnTo>
                        <a:pt x="227" y="1013"/>
                      </a:lnTo>
                      <a:lnTo>
                        <a:pt x="227" y="997"/>
                      </a:lnTo>
                      <a:lnTo>
                        <a:pt x="217" y="992"/>
                      </a:lnTo>
                      <a:lnTo>
                        <a:pt x="227" y="980"/>
                      </a:lnTo>
                      <a:lnTo>
                        <a:pt x="243" y="1004"/>
                      </a:lnTo>
                      <a:lnTo>
                        <a:pt x="260" y="1013"/>
                      </a:lnTo>
                      <a:lnTo>
                        <a:pt x="255" y="997"/>
                      </a:lnTo>
                      <a:lnTo>
                        <a:pt x="272" y="997"/>
                      </a:lnTo>
                      <a:lnTo>
                        <a:pt x="243" y="997"/>
                      </a:lnTo>
                      <a:lnTo>
                        <a:pt x="227" y="980"/>
                      </a:lnTo>
                      <a:lnTo>
                        <a:pt x="281" y="975"/>
                      </a:lnTo>
                      <a:lnTo>
                        <a:pt x="260" y="975"/>
                      </a:lnTo>
                      <a:lnTo>
                        <a:pt x="255" y="959"/>
                      </a:lnTo>
                      <a:lnTo>
                        <a:pt x="276" y="959"/>
                      </a:lnTo>
                      <a:lnTo>
                        <a:pt x="272" y="947"/>
                      </a:lnTo>
                      <a:lnTo>
                        <a:pt x="293" y="942"/>
                      </a:lnTo>
                      <a:lnTo>
                        <a:pt x="309" y="947"/>
                      </a:lnTo>
                      <a:lnTo>
                        <a:pt x="324" y="947"/>
                      </a:lnTo>
                      <a:lnTo>
                        <a:pt x="309" y="947"/>
                      </a:lnTo>
                      <a:lnTo>
                        <a:pt x="298" y="942"/>
                      </a:lnTo>
                      <a:lnTo>
                        <a:pt x="331" y="926"/>
                      </a:lnTo>
                      <a:lnTo>
                        <a:pt x="335" y="921"/>
                      </a:lnTo>
                      <a:lnTo>
                        <a:pt x="361" y="947"/>
                      </a:lnTo>
                      <a:lnTo>
                        <a:pt x="378" y="964"/>
                      </a:lnTo>
                      <a:lnTo>
                        <a:pt x="378" y="959"/>
                      </a:lnTo>
                      <a:lnTo>
                        <a:pt x="361" y="947"/>
                      </a:lnTo>
                      <a:lnTo>
                        <a:pt x="423" y="942"/>
                      </a:lnTo>
                      <a:lnTo>
                        <a:pt x="416" y="938"/>
                      </a:lnTo>
                      <a:lnTo>
                        <a:pt x="423" y="926"/>
                      </a:lnTo>
                      <a:lnTo>
                        <a:pt x="406" y="938"/>
                      </a:lnTo>
                      <a:lnTo>
                        <a:pt x="432" y="909"/>
                      </a:lnTo>
                      <a:lnTo>
                        <a:pt x="461" y="905"/>
                      </a:lnTo>
                      <a:lnTo>
                        <a:pt x="437" y="893"/>
                      </a:lnTo>
                      <a:lnTo>
                        <a:pt x="461" y="881"/>
                      </a:lnTo>
                      <a:lnTo>
                        <a:pt x="454" y="881"/>
                      </a:lnTo>
                      <a:lnTo>
                        <a:pt x="454" y="864"/>
                      </a:lnTo>
                      <a:lnTo>
                        <a:pt x="399" y="905"/>
                      </a:lnTo>
                      <a:lnTo>
                        <a:pt x="423" y="893"/>
                      </a:lnTo>
                      <a:lnTo>
                        <a:pt x="437" y="893"/>
                      </a:lnTo>
                      <a:lnTo>
                        <a:pt x="423" y="909"/>
                      </a:lnTo>
                      <a:lnTo>
                        <a:pt x="361" y="938"/>
                      </a:lnTo>
                      <a:lnTo>
                        <a:pt x="352" y="938"/>
                      </a:lnTo>
                      <a:lnTo>
                        <a:pt x="347" y="921"/>
                      </a:lnTo>
                      <a:lnTo>
                        <a:pt x="368" y="909"/>
                      </a:lnTo>
                      <a:lnTo>
                        <a:pt x="331" y="921"/>
                      </a:lnTo>
                      <a:lnTo>
                        <a:pt x="331" y="909"/>
                      </a:lnTo>
                      <a:lnTo>
                        <a:pt x="378" y="886"/>
                      </a:lnTo>
                      <a:lnTo>
                        <a:pt x="361" y="881"/>
                      </a:lnTo>
                      <a:lnTo>
                        <a:pt x="368" y="853"/>
                      </a:lnTo>
                      <a:lnTo>
                        <a:pt x="390" y="836"/>
                      </a:lnTo>
                      <a:lnTo>
                        <a:pt x="406" y="836"/>
                      </a:lnTo>
                      <a:lnTo>
                        <a:pt x="390" y="831"/>
                      </a:lnTo>
                      <a:lnTo>
                        <a:pt x="423" y="836"/>
                      </a:lnTo>
                      <a:lnTo>
                        <a:pt x="406" y="831"/>
                      </a:lnTo>
                      <a:lnTo>
                        <a:pt x="423" y="827"/>
                      </a:lnTo>
                      <a:lnTo>
                        <a:pt x="432" y="810"/>
                      </a:lnTo>
                      <a:lnTo>
                        <a:pt x="444" y="827"/>
                      </a:lnTo>
                      <a:lnTo>
                        <a:pt x="444" y="836"/>
                      </a:lnTo>
                      <a:lnTo>
                        <a:pt x="470" y="815"/>
                      </a:lnTo>
                      <a:lnTo>
                        <a:pt x="487" y="815"/>
                      </a:lnTo>
                      <a:lnTo>
                        <a:pt x="470" y="815"/>
                      </a:lnTo>
                      <a:lnTo>
                        <a:pt x="461" y="798"/>
                      </a:lnTo>
                      <a:lnTo>
                        <a:pt x="491" y="782"/>
                      </a:lnTo>
                      <a:lnTo>
                        <a:pt x="475" y="782"/>
                      </a:lnTo>
                      <a:lnTo>
                        <a:pt x="487" y="777"/>
                      </a:lnTo>
                      <a:lnTo>
                        <a:pt x="513" y="770"/>
                      </a:lnTo>
                      <a:lnTo>
                        <a:pt x="498" y="770"/>
                      </a:lnTo>
                      <a:lnTo>
                        <a:pt x="444" y="794"/>
                      </a:lnTo>
                      <a:lnTo>
                        <a:pt x="454" y="782"/>
                      </a:lnTo>
                      <a:lnTo>
                        <a:pt x="444" y="782"/>
                      </a:lnTo>
                      <a:lnTo>
                        <a:pt x="475" y="777"/>
                      </a:lnTo>
                      <a:lnTo>
                        <a:pt x="444" y="782"/>
                      </a:lnTo>
                      <a:lnTo>
                        <a:pt x="454" y="777"/>
                      </a:lnTo>
                      <a:lnTo>
                        <a:pt x="546" y="742"/>
                      </a:lnTo>
                      <a:lnTo>
                        <a:pt x="567" y="725"/>
                      </a:lnTo>
                      <a:lnTo>
                        <a:pt x="529" y="742"/>
                      </a:lnTo>
                      <a:lnTo>
                        <a:pt x="524" y="742"/>
                      </a:lnTo>
                      <a:lnTo>
                        <a:pt x="546" y="737"/>
                      </a:lnTo>
                      <a:lnTo>
                        <a:pt x="513" y="737"/>
                      </a:lnTo>
                      <a:lnTo>
                        <a:pt x="541" y="720"/>
                      </a:lnTo>
                      <a:lnTo>
                        <a:pt x="529" y="716"/>
                      </a:lnTo>
                      <a:lnTo>
                        <a:pt x="546" y="716"/>
                      </a:lnTo>
                      <a:lnTo>
                        <a:pt x="529" y="699"/>
                      </a:lnTo>
                      <a:lnTo>
                        <a:pt x="524" y="687"/>
                      </a:lnTo>
                      <a:lnTo>
                        <a:pt x="541" y="683"/>
                      </a:lnTo>
                      <a:lnTo>
                        <a:pt x="550" y="687"/>
                      </a:lnTo>
                      <a:lnTo>
                        <a:pt x="541" y="671"/>
                      </a:lnTo>
                      <a:lnTo>
                        <a:pt x="546" y="659"/>
                      </a:lnTo>
                      <a:lnTo>
                        <a:pt x="562" y="649"/>
                      </a:lnTo>
                      <a:lnTo>
                        <a:pt x="583" y="666"/>
                      </a:lnTo>
                      <a:lnTo>
                        <a:pt x="579" y="649"/>
                      </a:lnTo>
                      <a:lnTo>
                        <a:pt x="567" y="649"/>
                      </a:lnTo>
                      <a:lnTo>
                        <a:pt x="567" y="642"/>
                      </a:lnTo>
                      <a:lnTo>
                        <a:pt x="546" y="642"/>
                      </a:lnTo>
                      <a:lnTo>
                        <a:pt x="605" y="614"/>
                      </a:lnTo>
                      <a:lnTo>
                        <a:pt x="605" y="631"/>
                      </a:lnTo>
                      <a:lnTo>
                        <a:pt x="617" y="614"/>
                      </a:lnTo>
                      <a:lnTo>
                        <a:pt x="654" y="609"/>
                      </a:lnTo>
                      <a:lnTo>
                        <a:pt x="567" y="626"/>
                      </a:lnTo>
                      <a:lnTo>
                        <a:pt x="605" y="609"/>
                      </a:lnTo>
                      <a:lnTo>
                        <a:pt x="567" y="609"/>
                      </a:lnTo>
                      <a:lnTo>
                        <a:pt x="583" y="593"/>
                      </a:lnTo>
                      <a:lnTo>
                        <a:pt x="567" y="588"/>
                      </a:lnTo>
                      <a:lnTo>
                        <a:pt x="621" y="572"/>
                      </a:lnTo>
                      <a:lnTo>
                        <a:pt x="583" y="576"/>
                      </a:lnTo>
                      <a:lnTo>
                        <a:pt x="583" y="572"/>
                      </a:lnTo>
                      <a:lnTo>
                        <a:pt x="605" y="572"/>
                      </a:lnTo>
                      <a:lnTo>
                        <a:pt x="583" y="560"/>
                      </a:lnTo>
                      <a:lnTo>
                        <a:pt x="621" y="560"/>
                      </a:lnTo>
                      <a:lnTo>
                        <a:pt x="633" y="560"/>
                      </a:lnTo>
                      <a:lnTo>
                        <a:pt x="605" y="560"/>
                      </a:lnTo>
                      <a:lnTo>
                        <a:pt x="621" y="555"/>
                      </a:lnTo>
                      <a:lnTo>
                        <a:pt x="605" y="555"/>
                      </a:lnTo>
                      <a:lnTo>
                        <a:pt x="638" y="555"/>
                      </a:lnTo>
                      <a:lnTo>
                        <a:pt x="605" y="531"/>
                      </a:lnTo>
                      <a:lnTo>
                        <a:pt x="687" y="522"/>
                      </a:lnTo>
                      <a:lnTo>
                        <a:pt x="659" y="515"/>
                      </a:lnTo>
                      <a:lnTo>
                        <a:pt x="659" y="503"/>
                      </a:lnTo>
                      <a:lnTo>
                        <a:pt x="692" y="503"/>
                      </a:lnTo>
                      <a:lnTo>
                        <a:pt x="676" y="503"/>
                      </a:lnTo>
                      <a:lnTo>
                        <a:pt x="676" y="498"/>
                      </a:lnTo>
                      <a:lnTo>
                        <a:pt x="709" y="498"/>
                      </a:lnTo>
                      <a:lnTo>
                        <a:pt x="702" y="503"/>
                      </a:lnTo>
                      <a:lnTo>
                        <a:pt x="709" y="515"/>
                      </a:lnTo>
                      <a:lnTo>
                        <a:pt x="709" y="503"/>
                      </a:lnTo>
                      <a:lnTo>
                        <a:pt x="709" y="498"/>
                      </a:lnTo>
                      <a:lnTo>
                        <a:pt x="730" y="503"/>
                      </a:lnTo>
                      <a:lnTo>
                        <a:pt x="746" y="515"/>
                      </a:lnTo>
                      <a:lnTo>
                        <a:pt x="739" y="498"/>
                      </a:lnTo>
                      <a:lnTo>
                        <a:pt x="763" y="503"/>
                      </a:lnTo>
                      <a:lnTo>
                        <a:pt x="713" y="498"/>
                      </a:lnTo>
                      <a:lnTo>
                        <a:pt x="725" y="494"/>
                      </a:lnTo>
                      <a:lnTo>
                        <a:pt x="687" y="498"/>
                      </a:lnTo>
                      <a:lnTo>
                        <a:pt x="671" y="498"/>
                      </a:lnTo>
                      <a:lnTo>
                        <a:pt x="687" y="477"/>
                      </a:lnTo>
                      <a:lnTo>
                        <a:pt x="709" y="477"/>
                      </a:lnTo>
                      <a:lnTo>
                        <a:pt x="692" y="465"/>
                      </a:lnTo>
                      <a:lnTo>
                        <a:pt x="713" y="460"/>
                      </a:lnTo>
                      <a:lnTo>
                        <a:pt x="725" y="460"/>
                      </a:lnTo>
                      <a:lnTo>
                        <a:pt x="709" y="465"/>
                      </a:lnTo>
                      <a:lnTo>
                        <a:pt x="739" y="465"/>
                      </a:lnTo>
                      <a:lnTo>
                        <a:pt x="756" y="494"/>
                      </a:lnTo>
                      <a:lnTo>
                        <a:pt x="763" y="494"/>
                      </a:lnTo>
                      <a:lnTo>
                        <a:pt x="746" y="465"/>
                      </a:lnTo>
                      <a:lnTo>
                        <a:pt x="777" y="460"/>
                      </a:lnTo>
                      <a:lnTo>
                        <a:pt x="730" y="460"/>
                      </a:lnTo>
                      <a:lnTo>
                        <a:pt x="725" y="449"/>
                      </a:lnTo>
                      <a:lnTo>
                        <a:pt x="730" y="437"/>
                      </a:lnTo>
                      <a:lnTo>
                        <a:pt x="768" y="444"/>
                      </a:lnTo>
                      <a:lnTo>
                        <a:pt x="739" y="427"/>
                      </a:lnTo>
                      <a:lnTo>
                        <a:pt x="692" y="444"/>
                      </a:lnTo>
                      <a:lnTo>
                        <a:pt x="692" y="437"/>
                      </a:lnTo>
                      <a:lnTo>
                        <a:pt x="713" y="437"/>
                      </a:lnTo>
                      <a:lnTo>
                        <a:pt x="692" y="427"/>
                      </a:lnTo>
                      <a:lnTo>
                        <a:pt x="713" y="420"/>
                      </a:lnTo>
                      <a:lnTo>
                        <a:pt x="702" y="420"/>
                      </a:lnTo>
                      <a:lnTo>
                        <a:pt x="709" y="420"/>
                      </a:lnTo>
                      <a:lnTo>
                        <a:pt x="768" y="411"/>
                      </a:lnTo>
                      <a:lnTo>
                        <a:pt x="777" y="404"/>
                      </a:lnTo>
                      <a:lnTo>
                        <a:pt x="730" y="394"/>
                      </a:lnTo>
                      <a:lnTo>
                        <a:pt x="746" y="387"/>
                      </a:lnTo>
                      <a:lnTo>
                        <a:pt x="763" y="387"/>
                      </a:lnTo>
                      <a:lnTo>
                        <a:pt x="756" y="394"/>
                      </a:lnTo>
                      <a:lnTo>
                        <a:pt x="768" y="387"/>
                      </a:lnTo>
                      <a:lnTo>
                        <a:pt x="777" y="371"/>
                      </a:lnTo>
                      <a:lnTo>
                        <a:pt x="784" y="383"/>
                      </a:lnTo>
                      <a:lnTo>
                        <a:pt x="794" y="420"/>
                      </a:lnTo>
                      <a:lnTo>
                        <a:pt x="815" y="427"/>
                      </a:lnTo>
                      <a:lnTo>
                        <a:pt x="801" y="420"/>
                      </a:lnTo>
                      <a:lnTo>
                        <a:pt x="794" y="404"/>
                      </a:lnTo>
                      <a:lnTo>
                        <a:pt x="815" y="411"/>
                      </a:lnTo>
                      <a:lnTo>
                        <a:pt x="810" y="394"/>
                      </a:lnTo>
                      <a:lnTo>
                        <a:pt x="831" y="394"/>
                      </a:lnTo>
                      <a:lnTo>
                        <a:pt x="810" y="394"/>
                      </a:lnTo>
                      <a:lnTo>
                        <a:pt x="801" y="387"/>
                      </a:lnTo>
                      <a:lnTo>
                        <a:pt x="815" y="383"/>
                      </a:lnTo>
                      <a:lnTo>
                        <a:pt x="794" y="383"/>
                      </a:lnTo>
                      <a:lnTo>
                        <a:pt x="801" y="371"/>
                      </a:lnTo>
                      <a:lnTo>
                        <a:pt x="784" y="371"/>
                      </a:lnTo>
                      <a:lnTo>
                        <a:pt x="815" y="371"/>
                      </a:lnTo>
                      <a:lnTo>
                        <a:pt x="839" y="387"/>
                      </a:lnTo>
                      <a:lnTo>
                        <a:pt x="794" y="366"/>
                      </a:lnTo>
                      <a:lnTo>
                        <a:pt x="801" y="354"/>
                      </a:lnTo>
                      <a:lnTo>
                        <a:pt x="865" y="354"/>
                      </a:lnTo>
                      <a:lnTo>
                        <a:pt x="876" y="383"/>
                      </a:lnTo>
                      <a:lnTo>
                        <a:pt x="876" y="371"/>
                      </a:lnTo>
                      <a:lnTo>
                        <a:pt x="865" y="354"/>
                      </a:lnTo>
                      <a:lnTo>
                        <a:pt x="891" y="354"/>
                      </a:lnTo>
                      <a:lnTo>
                        <a:pt x="876" y="349"/>
                      </a:lnTo>
                      <a:lnTo>
                        <a:pt x="891" y="349"/>
                      </a:lnTo>
                      <a:lnTo>
                        <a:pt x="891" y="338"/>
                      </a:lnTo>
                      <a:lnTo>
                        <a:pt x="853" y="349"/>
                      </a:lnTo>
                      <a:lnTo>
                        <a:pt x="853" y="338"/>
                      </a:lnTo>
                      <a:lnTo>
                        <a:pt x="848" y="338"/>
                      </a:lnTo>
                      <a:lnTo>
                        <a:pt x="815" y="349"/>
                      </a:lnTo>
                      <a:lnTo>
                        <a:pt x="815" y="338"/>
                      </a:lnTo>
                      <a:lnTo>
                        <a:pt x="822" y="333"/>
                      </a:lnTo>
                      <a:lnTo>
                        <a:pt x="822" y="326"/>
                      </a:lnTo>
                      <a:lnTo>
                        <a:pt x="848" y="316"/>
                      </a:lnTo>
                      <a:lnTo>
                        <a:pt x="902" y="326"/>
                      </a:lnTo>
                      <a:lnTo>
                        <a:pt x="869" y="309"/>
                      </a:lnTo>
                      <a:lnTo>
                        <a:pt x="886" y="300"/>
                      </a:lnTo>
                      <a:lnTo>
                        <a:pt x="907" y="309"/>
                      </a:lnTo>
                      <a:lnTo>
                        <a:pt x="886" y="300"/>
                      </a:lnTo>
                      <a:lnTo>
                        <a:pt x="907" y="293"/>
                      </a:lnTo>
                      <a:lnTo>
                        <a:pt x="876" y="293"/>
                      </a:lnTo>
                      <a:lnTo>
                        <a:pt x="891" y="260"/>
                      </a:lnTo>
                      <a:lnTo>
                        <a:pt x="928" y="260"/>
                      </a:lnTo>
                      <a:lnTo>
                        <a:pt x="924" y="243"/>
                      </a:lnTo>
                      <a:lnTo>
                        <a:pt x="940" y="215"/>
                      </a:lnTo>
                      <a:lnTo>
                        <a:pt x="973" y="243"/>
                      </a:lnTo>
                      <a:lnTo>
                        <a:pt x="978" y="238"/>
                      </a:lnTo>
                      <a:lnTo>
                        <a:pt x="994" y="243"/>
                      </a:lnTo>
                      <a:lnTo>
                        <a:pt x="957" y="222"/>
                      </a:lnTo>
                      <a:lnTo>
                        <a:pt x="957" y="215"/>
                      </a:lnTo>
                      <a:lnTo>
                        <a:pt x="978" y="205"/>
                      </a:lnTo>
                      <a:lnTo>
                        <a:pt x="994" y="227"/>
                      </a:lnTo>
                      <a:lnTo>
                        <a:pt x="1016" y="238"/>
                      </a:lnTo>
                      <a:lnTo>
                        <a:pt x="999" y="243"/>
                      </a:lnTo>
                      <a:lnTo>
                        <a:pt x="1028" y="243"/>
                      </a:lnTo>
                      <a:lnTo>
                        <a:pt x="1028" y="238"/>
                      </a:lnTo>
                      <a:lnTo>
                        <a:pt x="994" y="222"/>
                      </a:lnTo>
                      <a:lnTo>
                        <a:pt x="1011" y="215"/>
                      </a:lnTo>
                      <a:lnTo>
                        <a:pt x="1011" y="205"/>
                      </a:lnTo>
                      <a:lnTo>
                        <a:pt x="994" y="215"/>
                      </a:lnTo>
                      <a:lnTo>
                        <a:pt x="983" y="198"/>
                      </a:lnTo>
                      <a:lnTo>
                        <a:pt x="1011" y="182"/>
                      </a:lnTo>
                      <a:lnTo>
                        <a:pt x="1049" y="172"/>
                      </a:lnTo>
                      <a:lnTo>
                        <a:pt x="1042" y="198"/>
                      </a:lnTo>
                      <a:lnTo>
                        <a:pt x="1032" y="227"/>
                      </a:lnTo>
                      <a:lnTo>
                        <a:pt x="1042" y="222"/>
                      </a:lnTo>
                      <a:lnTo>
                        <a:pt x="1049" y="189"/>
                      </a:lnTo>
                      <a:lnTo>
                        <a:pt x="1087" y="160"/>
                      </a:lnTo>
                      <a:lnTo>
                        <a:pt x="1096" y="165"/>
                      </a:lnTo>
                      <a:lnTo>
                        <a:pt x="1080" y="222"/>
                      </a:lnTo>
                      <a:lnTo>
                        <a:pt x="1054" y="243"/>
                      </a:lnTo>
                      <a:lnTo>
                        <a:pt x="1096" y="205"/>
                      </a:lnTo>
                      <a:lnTo>
                        <a:pt x="1124" y="215"/>
                      </a:lnTo>
                      <a:lnTo>
                        <a:pt x="1096" y="198"/>
                      </a:lnTo>
                      <a:lnTo>
                        <a:pt x="1103" y="182"/>
                      </a:lnTo>
                      <a:lnTo>
                        <a:pt x="1141" y="160"/>
                      </a:lnTo>
                      <a:lnTo>
                        <a:pt x="1124" y="165"/>
                      </a:lnTo>
                      <a:lnTo>
                        <a:pt x="1134" y="172"/>
                      </a:lnTo>
                      <a:lnTo>
                        <a:pt x="1155" y="149"/>
                      </a:lnTo>
                      <a:lnTo>
                        <a:pt x="1209" y="182"/>
                      </a:lnTo>
                      <a:lnTo>
                        <a:pt x="1188" y="144"/>
                      </a:lnTo>
                      <a:lnTo>
                        <a:pt x="1209" y="132"/>
                      </a:lnTo>
                      <a:lnTo>
                        <a:pt x="1162" y="132"/>
                      </a:lnTo>
                      <a:lnTo>
                        <a:pt x="1150" y="127"/>
                      </a:lnTo>
                      <a:lnTo>
                        <a:pt x="1155" y="116"/>
                      </a:lnTo>
                      <a:lnTo>
                        <a:pt x="1172" y="111"/>
                      </a:lnTo>
                      <a:lnTo>
                        <a:pt x="1188" y="116"/>
                      </a:lnTo>
                      <a:lnTo>
                        <a:pt x="1205" y="111"/>
                      </a:lnTo>
                      <a:lnTo>
                        <a:pt x="1226" y="111"/>
                      </a:lnTo>
                      <a:lnTo>
                        <a:pt x="1226" y="127"/>
                      </a:lnTo>
                      <a:lnTo>
                        <a:pt x="1243" y="132"/>
                      </a:lnTo>
                      <a:lnTo>
                        <a:pt x="1226" y="127"/>
                      </a:lnTo>
                      <a:lnTo>
                        <a:pt x="1231" y="116"/>
                      </a:lnTo>
                      <a:lnTo>
                        <a:pt x="1268" y="127"/>
                      </a:lnTo>
                      <a:lnTo>
                        <a:pt x="1259" y="132"/>
                      </a:lnTo>
                      <a:lnTo>
                        <a:pt x="1226" y="144"/>
                      </a:lnTo>
                      <a:lnTo>
                        <a:pt x="1264" y="132"/>
                      </a:lnTo>
                      <a:lnTo>
                        <a:pt x="1297" y="160"/>
                      </a:lnTo>
                      <a:lnTo>
                        <a:pt x="1313" y="149"/>
                      </a:lnTo>
                      <a:lnTo>
                        <a:pt x="1285" y="144"/>
                      </a:lnTo>
                      <a:lnTo>
                        <a:pt x="1297" y="132"/>
                      </a:lnTo>
                      <a:lnTo>
                        <a:pt x="1297" y="116"/>
                      </a:lnTo>
                      <a:lnTo>
                        <a:pt x="1313" y="116"/>
                      </a:lnTo>
                      <a:lnTo>
                        <a:pt x="1302" y="116"/>
                      </a:lnTo>
                      <a:lnTo>
                        <a:pt x="1318" y="94"/>
                      </a:lnTo>
                      <a:lnTo>
                        <a:pt x="1339" y="87"/>
                      </a:lnTo>
                      <a:lnTo>
                        <a:pt x="1368" y="94"/>
                      </a:lnTo>
                      <a:lnTo>
                        <a:pt x="1356" y="78"/>
                      </a:lnTo>
                      <a:lnTo>
                        <a:pt x="1368" y="61"/>
                      </a:lnTo>
                      <a:lnTo>
                        <a:pt x="1394" y="71"/>
                      </a:lnTo>
                      <a:lnTo>
                        <a:pt x="1377" y="54"/>
                      </a:lnTo>
                      <a:lnTo>
                        <a:pt x="1356" y="49"/>
                      </a:lnTo>
                      <a:lnTo>
                        <a:pt x="1372" y="38"/>
                      </a:lnTo>
                      <a:lnTo>
                        <a:pt x="1389" y="49"/>
                      </a:lnTo>
                      <a:lnTo>
                        <a:pt x="1389" y="21"/>
                      </a:lnTo>
                      <a:lnTo>
                        <a:pt x="1405" y="33"/>
                      </a:lnTo>
                      <a:lnTo>
                        <a:pt x="1410" y="21"/>
                      </a:lnTo>
                      <a:lnTo>
                        <a:pt x="1431" y="49"/>
                      </a:lnTo>
                      <a:lnTo>
                        <a:pt x="1443" y="38"/>
                      </a:lnTo>
                      <a:lnTo>
                        <a:pt x="1443" y="21"/>
                      </a:lnTo>
                      <a:lnTo>
                        <a:pt x="1481" y="33"/>
                      </a:lnTo>
                      <a:lnTo>
                        <a:pt x="1420" y="87"/>
                      </a:lnTo>
                      <a:lnTo>
                        <a:pt x="1431" y="87"/>
                      </a:lnTo>
                      <a:lnTo>
                        <a:pt x="1431" y="104"/>
                      </a:lnTo>
                      <a:lnTo>
                        <a:pt x="1420" y="104"/>
                      </a:lnTo>
                      <a:lnTo>
                        <a:pt x="1420" y="116"/>
                      </a:lnTo>
                      <a:lnTo>
                        <a:pt x="1410" y="116"/>
                      </a:lnTo>
                      <a:lnTo>
                        <a:pt x="1410" y="144"/>
                      </a:lnTo>
                      <a:lnTo>
                        <a:pt x="1420" y="144"/>
                      </a:lnTo>
                      <a:lnTo>
                        <a:pt x="1420" y="132"/>
                      </a:lnTo>
                      <a:lnTo>
                        <a:pt x="1420" y="144"/>
                      </a:lnTo>
                      <a:lnTo>
                        <a:pt x="1427" y="144"/>
                      </a:lnTo>
                      <a:lnTo>
                        <a:pt x="1448" y="116"/>
                      </a:lnTo>
                      <a:lnTo>
                        <a:pt x="1443" y="104"/>
                      </a:lnTo>
                      <a:lnTo>
                        <a:pt x="1528" y="33"/>
                      </a:lnTo>
                      <a:lnTo>
                        <a:pt x="1533" y="33"/>
                      </a:lnTo>
                      <a:lnTo>
                        <a:pt x="1533" y="54"/>
                      </a:lnTo>
                      <a:lnTo>
                        <a:pt x="1502" y="71"/>
                      </a:lnTo>
                      <a:lnTo>
                        <a:pt x="1528" y="71"/>
                      </a:lnTo>
                      <a:lnTo>
                        <a:pt x="1519" y="104"/>
                      </a:lnTo>
                      <a:lnTo>
                        <a:pt x="1557" y="87"/>
                      </a:lnTo>
                      <a:lnTo>
                        <a:pt x="1550" y="78"/>
                      </a:lnTo>
                      <a:lnTo>
                        <a:pt x="1557" y="71"/>
                      </a:lnTo>
                      <a:lnTo>
                        <a:pt x="1571" y="78"/>
                      </a:lnTo>
                      <a:lnTo>
                        <a:pt x="1566" y="71"/>
                      </a:lnTo>
                      <a:lnTo>
                        <a:pt x="1566" y="54"/>
                      </a:lnTo>
                      <a:lnTo>
                        <a:pt x="1571" y="38"/>
                      </a:lnTo>
                      <a:lnTo>
                        <a:pt x="1594" y="49"/>
                      </a:lnTo>
                      <a:lnTo>
                        <a:pt x="1566" y="21"/>
                      </a:lnTo>
                      <a:lnTo>
                        <a:pt x="1594" y="5"/>
                      </a:lnTo>
                      <a:lnTo>
                        <a:pt x="1609" y="16"/>
                      </a:lnTo>
                      <a:lnTo>
                        <a:pt x="1637" y="5"/>
                      </a:lnTo>
                      <a:lnTo>
                        <a:pt x="1663" y="21"/>
                      </a:lnTo>
                      <a:lnTo>
                        <a:pt x="1642" y="49"/>
                      </a:lnTo>
                      <a:lnTo>
                        <a:pt x="1604" y="49"/>
                      </a:lnTo>
                      <a:lnTo>
                        <a:pt x="1637" y="54"/>
                      </a:lnTo>
                      <a:lnTo>
                        <a:pt x="1594" y="71"/>
                      </a:lnTo>
                      <a:lnTo>
                        <a:pt x="1642" y="54"/>
                      </a:lnTo>
                      <a:lnTo>
                        <a:pt x="1642" y="71"/>
                      </a:lnTo>
                      <a:lnTo>
                        <a:pt x="1609" y="87"/>
                      </a:lnTo>
                      <a:lnTo>
                        <a:pt x="1637" y="87"/>
                      </a:lnTo>
                      <a:lnTo>
                        <a:pt x="1625" y="94"/>
                      </a:lnTo>
                      <a:lnTo>
                        <a:pt x="1637" y="94"/>
                      </a:lnTo>
                      <a:lnTo>
                        <a:pt x="1646" y="87"/>
                      </a:lnTo>
                      <a:lnTo>
                        <a:pt x="1637" y="104"/>
                      </a:lnTo>
                      <a:lnTo>
                        <a:pt x="1637" y="127"/>
                      </a:lnTo>
                      <a:lnTo>
                        <a:pt x="1625" y="144"/>
                      </a:lnTo>
                      <a:lnTo>
                        <a:pt x="1642" y="127"/>
                      </a:lnTo>
                      <a:lnTo>
                        <a:pt x="1642" y="104"/>
                      </a:lnTo>
                      <a:lnTo>
                        <a:pt x="1658" y="54"/>
                      </a:lnTo>
                      <a:lnTo>
                        <a:pt x="1675" y="38"/>
                      </a:lnTo>
                      <a:lnTo>
                        <a:pt x="1696" y="38"/>
                      </a:lnTo>
                      <a:lnTo>
                        <a:pt x="1713" y="38"/>
                      </a:lnTo>
                      <a:lnTo>
                        <a:pt x="1717" y="61"/>
                      </a:lnTo>
                      <a:lnTo>
                        <a:pt x="1750" y="54"/>
                      </a:lnTo>
                      <a:lnTo>
                        <a:pt x="1746" y="71"/>
                      </a:lnTo>
                      <a:lnTo>
                        <a:pt x="1772" y="54"/>
                      </a:lnTo>
                      <a:lnTo>
                        <a:pt x="1788" y="71"/>
                      </a:lnTo>
                      <a:lnTo>
                        <a:pt x="1767" y="78"/>
                      </a:lnTo>
                      <a:lnTo>
                        <a:pt x="1805" y="78"/>
                      </a:lnTo>
                      <a:lnTo>
                        <a:pt x="1826" y="94"/>
                      </a:lnTo>
                      <a:lnTo>
                        <a:pt x="1842" y="111"/>
                      </a:lnTo>
                      <a:lnTo>
                        <a:pt x="1798" y="116"/>
                      </a:lnTo>
                      <a:lnTo>
                        <a:pt x="1772" y="144"/>
                      </a:lnTo>
                      <a:lnTo>
                        <a:pt x="1675" y="127"/>
                      </a:lnTo>
                      <a:lnTo>
                        <a:pt x="1663" y="127"/>
                      </a:lnTo>
                      <a:lnTo>
                        <a:pt x="1675" y="127"/>
                      </a:lnTo>
                      <a:lnTo>
                        <a:pt x="1663" y="132"/>
                      </a:lnTo>
                      <a:lnTo>
                        <a:pt x="1746" y="160"/>
                      </a:lnTo>
                      <a:lnTo>
                        <a:pt x="1717" y="165"/>
                      </a:lnTo>
                      <a:lnTo>
                        <a:pt x="1746" y="165"/>
                      </a:lnTo>
                      <a:lnTo>
                        <a:pt x="1750" y="172"/>
                      </a:lnTo>
                      <a:lnTo>
                        <a:pt x="1729" y="198"/>
                      </a:lnTo>
                      <a:lnTo>
                        <a:pt x="1755" y="182"/>
                      </a:lnTo>
                      <a:lnTo>
                        <a:pt x="1772" y="189"/>
                      </a:lnTo>
                      <a:lnTo>
                        <a:pt x="1772" y="182"/>
                      </a:lnTo>
                      <a:lnTo>
                        <a:pt x="1772" y="165"/>
                      </a:lnTo>
                      <a:lnTo>
                        <a:pt x="1788" y="172"/>
                      </a:lnTo>
                      <a:lnTo>
                        <a:pt x="1788" y="189"/>
                      </a:lnTo>
                      <a:lnTo>
                        <a:pt x="1798" y="189"/>
                      </a:lnTo>
                      <a:lnTo>
                        <a:pt x="1798" y="172"/>
                      </a:lnTo>
                      <a:lnTo>
                        <a:pt x="1826" y="172"/>
                      </a:lnTo>
                      <a:lnTo>
                        <a:pt x="1826" y="172"/>
                      </a:lnTo>
                      <a:lnTo>
                        <a:pt x="1826" y="172"/>
                      </a:lnTo>
                      <a:close/>
                      <a:moveTo>
                        <a:pt x="1394" y="16"/>
                      </a:moveTo>
                      <a:lnTo>
                        <a:pt x="1389" y="5"/>
                      </a:lnTo>
                      <a:lnTo>
                        <a:pt x="1405" y="5"/>
                      </a:lnTo>
                      <a:lnTo>
                        <a:pt x="1394" y="16"/>
                      </a:lnTo>
                      <a:lnTo>
                        <a:pt x="1394" y="16"/>
                      </a:lnTo>
                      <a:lnTo>
                        <a:pt x="1394" y="16"/>
                      </a:lnTo>
                      <a:close/>
                      <a:moveTo>
                        <a:pt x="1351" y="33"/>
                      </a:moveTo>
                      <a:lnTo>
                        <a:pt x="1335" y="21"/>
                      </a:lnTo>
                      <a:lnTo>
                        <a:pt x="1356" y="21"/>
                      </a:lnTo>
                      <a:lnTo>
                        <a:pt x="1351" y="33"/>
                      </a:lnTo>
                      <a:lnTo>
                        <a:pt x="1351" y="33"/>
                      </a:lnTo>
                      <a:lnTo>
                        <a:pt x="1351" y="33"/>
                      </a:lnTo>
                      <a:close/>
                      <a:moveTo>
                        <a:pt x="1217" y="87"/>
                      </a:moveTo>
                      <a:lnTo>
                        <a:pt x="1217" y="71"/>
                      </a:lnTo>
                      <a:lnTo>
                        <a:pt x="1205" y="61"/>
                      </a:lnTo>
                      <a:lnTo>
                        <a:pt x="1243" y="54"/>
                      </a:lnTo>
                      <a:lnTo>
                        <a:pt x="1247" y="61"/>
                      </a:lnTo>
                      <a:lnTo>
                        <a:pt x="1247" y="71"/>
                      </a:lnTo>
                      <a:lnTo>
                        <a:pt x="1259" y="71"/>
                      </a:lnTo>
                      <a:lnTo>
                        <a:pt x="1259" y="54"/>
                      </a:lnTo>
                      <a:lnTo>
                        <a:pt x="1268" y="61"/>
                      </a:lnTo>
                      <a:lnTo>
                        <a:pt x="1285" y="49"/>
                      </a:lnTo>
                      <a:lnTo>
                        <a:pt x="1297" y="49"/>
                      </a:lnTo>
                      <a:lnTo>
                        <a:pt x="1297" y="38"/>
                      </a:lnTo>
                      <a:lnTo>
                        <a:pt x="1302" y="49"/>
                      </a:lnTo>
                      <a:lnTo>
                        <a:pt x="1280" y="78"/>
                      </a:lnTo>
                      <a:lnTo>
                        <a:pt x="1217" y="87"/>
                      </a:lnTo>
                      <a:lnTo>
                        <a:pt x="1217" y="87"/>
                      </a:lnTo>
                      <a:lnTo>
                        <a:pt x="1217" y="87"/>
                      </a:lnTo>
                      <a:close/>
                      <a:moveTo>
                        <a:pt x="1335" y="87"/>
                      </a:moveTo>
                      <a:lnTo>
                        <a:pt x="1323" y="78"/>
                      </a:lnTo>
                      <a:lnTo>
                        <a:pt x="1318" y="61"/>
                      </a:lnTo>
                      <a:lnTo>
                        <a:pt x="1335" y="54"/>
                      </a:lnTo>
                      <a:lnTo>
                        <a:pt x="1351" y="71"/>
                      </a:lnTo>
                      <a:lnTo>
                        <a:pt x="1335" y="87"/>
                      </a:lnTo>
                      <a:lnTo>
                        <a:pt x="1335" y="87"/>
                      </a:lnTo>
                      <a:lnTo>
                        <a:pt x="1335" y="87"/>
                      </a:lnTo>
                      <a:close/>
                      <a:moveTo>
                        <a:pt x="1280" y="116"/>
                      </a:moveTo>
                      <a:lnTo>
                        <a:pt x="1264" y="94"/>
                      </a:lnTo>
                      <a:lnTo>
                        <a:pt x="1302" y="78"/>
                      </a:lnTo>
                      <a:lnTo>
                        <a:pt x="1302" y="71"/>
                      </a:lnTo>
                      <a:lnTo>
                        <a:pt x="1318" y="87"/>
                      </a:lnTo>
                      <a:lnTo>
                        <a:pt x="1313" y="104"/>
                      </a:lnTo>
                      <a:lnTo>
                        <a:pt x="1280" y="116"/>
                      </a:lnTo>
                      <a:lnTo>
                        <a:pt x="1280" y="116"/>
                      </a:lnTo>
                      <a:lnTo>
                        <a:pt x="1280" y="116"/>
                      </a:lnTo>
                      <a:close/>
                      <a:moveTo>
                        <a:pt x="1268" y="116"/>
                      </a:moveTo>
                      <a:lnTo>
                        <a:pt x="1226" y="111"/>
                      </a:lnTo>
                      <a:lnTo>
                        <a:pt x="1247" y="104"/>
                      </a:lnTo>
                      <a:lnTo>
                        <a:pt x="1268" y="116"/>
                      </a:lnTo>
                      <a:lnTo>
                        <a:pt x="1268" y="116"/>
                      </a:lnTo>
                      <a:lnTo>
                        <a:pt x="1268" y="116"/>
                      </a:lnTo>
                      <a:close/>
                      <a:moveTo>
                        <a:pt x="1188" y="116"/>
                      </a:moveTo>
                      <a:lnTo>
                        <a:pt x="1179" y="104"/>
                      </a:lnTo>
                      <a:lnTo>
                        <a:pt x="1193" y="104"/>
                      </a:lnTo>
                      <a:lnTo>
                        <a:pt x="1188" y="116"/>
                      </a:lnTo>
                      <a:lnTo>
                        <a:pt x="1188" y="116"/>
                      </a:lnTo>
                      <a:lnTo>
                        <a:pt x="1188" y="116"/>
                      </a:lnTo>
                      <a:close/>
                      <a:moveTo>
                        <a:pt x="1054" y="144"/>
                      </a:moveTo>
                      <a:lnTo>
                        <a:pt x="1049" y="144"/>
                      </a:lnTo>
                      <a:lnTo>
                        <a:pt x="1032" y="116"/>
                      </a:lnTo>
                      <a:lnTo>
                        <a:pt x="1042" y="111"/>
                      </a:lnTo>
                      <a:lnTo>
                        <a:pt x="1070" y="132"/>
                      </a:lnTo>
                      <a:lnTo>
                        <a:pt x="1054" y="144"/>
                      </a:lnTo>
                      <a:lnTo>
                        <a:pt x="1054" y="144"/>
                      </a:lnTo>
                      <a:lnTo>
                        <a:pt x="1054" y="144"/>
                      </a:lnTo>
                      <a:close/>
                      <a:moveTo>
                        <a:pt x="999" y="132"/>
                      </a:moveTo>
                      <a:lnTo>
                        <a:pt x="994" y="127"/>
                      </a:lnTo>
                      <a:lnTo>
                        <a:pt x="1011" y="116"/>
                      </a:lnTo>
                      <a:lnTo>
                        <a:pt x="1011" y="132"/>
                      </a:lnTo>
                      <a:lnTo>
                        <a:pt x="999" y="132"/>
                      </a:lnTo>
                      <a:lnTo>
                        <a:pt x="999" y="132"/>
                      </a:lnTo>
                      <a:lnTo>
                        <a:pt x="999" y="132"/>
                      </a:lnTo>
                      <a:close/>
                      <a:moveTo>
                        <a:pt x="1103" y="144"/>
                      </a:moveTo>
                      <a:lnTo>
                        <a:pt x="1087" y="144"/>
                      </a:lnTo>
                      <a:lnTo>
                        <a:pt x="1096" y="127"/>
                      </a:lnTo>
                      <a:lnTo>
                        <a:pt x="1103" y="116"/>
                      </a:lnTo>
                      <a:lnTo>
                        <a:pt x="1117" y="127"/>
                      </a:lnTo>
                      <a:lnTo>
                        <a:pt x="1117" y="144"/>
                      </a:lnTo>
                      <a:lnTo>
                        <a:pt x="1103" y="144"/>
                      </a:lnTo>
                      <a:lnTo>
                        <a:pt x="1103" y="144"/>
                      </a:lnTo>
                      <a:lnTo>
                        <a:pt x="1103" y="144"/>
                      </a:lnTo>
                      <a:close/>
                      <a:moveTo>
                        <a:pt x="1032" y="132"/>
                      </a:moveTo>
                      <a:lnTo>
                        <a:pt x="1016" y="132"/>
                      </a:lnTo>
                      <a:lnTo>
                        <a:pt x="1028" y="127"/>
                      </a:lnTo>
                      <a:lnTo>
                        <a:pt x="1032" y="132"/>
                      </a:lnTo>
                      <a:lnTo>
                        <a:pt x="1032" y="132"/>
                      </a:lnTo>
                      <a:lnTo>
                        <a:pt x="1032" y="132"/>
                      </a:lnTo>
                      <a:close/>
                      <a:moveTo>
                        <a:pt x="1124" y="144"/>
                      </a:moveTo>
                      <a:lnTo>
                        <a:pt x="1117" y="132"/>
                      </a:lnTo>
                      <a:lnTo>
                        <a:pt x="1124" y="132"/>
                      </a:lnTo>
                      <a:lnTo>
                        <a:pt x="1124" y="144"/>
                      </a:lnTo>
                      <a:lnTo>
                        <a:pt x="1124" y="144"/>
                      </a:lnTo>
                      <a:lnTo>
                        <a:pt x="1124" y="144"/>
                      </a:lnTo>
                      <a:close/>
                      <a:moveTo>
                        <a:pt x="973" y="149"/>
                      </a:moveTo>
                      <a:lnTo>
                        <a:pt x="973" y="132"/>
                      </a:lnTo>
                      <a:lnTo>
                        <a:pt x="994" y="144"/>
                      </a:lnTo>
                      <a:lnTo>
                        <a:pt x="973" y="149"/>
                      </a:lnTo>
                      <a:lnTo>
                        <a:pt x="973" y="149"/>
                      </a:lnTo>
                      <a:lnTo>
                        <a:pt x="973" y="149"/>
                      </a:lnTo>
                      <a:close/>
                      <a:moveTo>
                        <a:pt x="999" y="172"/>
                      </a:moveTo>
                      <a:lnTo>
                        <a:pt x="973" y="160"/>
                      </a:lnTo>
                      <a:lnTo>
                        <a:pt x="1011" y="132"/>
                      </a:lnTo>
                      <a:lnTo>
                        <a:pt x="1016" y="149"/>
                      </a:lnTo>
                      <a:lnTo>
                        <a:pt x="1032" y="144"/>
                      </a:lnTo>
                      <a:lnTo>
                        <a:pt x="1042" y="149"/>
                      </a:lnTo>
                      <a:lnTo>
                        <a:pt x="999" y="172"/>
                      </a:lnTo>
                      <a:lnTo>
                        <a:pt x="999" y="172"/>
                      </a:lnTo>
                      <a:lnTo>
                        <a:pt x="999" y="172"/>
                      </a:lnTo>
                      <a:close/>
                      <a:moveTo>
                        <a:pt x="1124" y="160"/>
                      </a:moveTo>
                      <a:lnTo>
                        <a:pt x="1117" y="149"/>
                      </a:lnTo>
                      <a:lnTo>
                        <a:pt x="1141" y="149"/>
                      </a:lnTo>
                      <a:lnTo>
                        <a:pt x="1124" y="160"/>
                      </a:lnTo>
                      <a:lnTo>
                        <a:pt x="1124" y="160"/>
                      </a:lnTo>
                      <a:lnTo>
                        <a:pt x="1124" y="160"/>
                      </a:lnTo>
                      <a:close/>
                      <a:moveTo>
                        <a:pt x="1028" y="172"/>
                      </a:moveTo>
                      <a:lnTo>
                        <a:pt x="1049" y="149"/>
                      </a:lnTo>
                      <a:lnTo>
                        <a:pt x="1054" y="160"/>
                      </a:lnTo>
                      <a:lnTo>
                        <a:pt x="1049" y="165"/>
                      </a:lnTo>
                      <a:lnTo>
                        <a:pt x="1028" y="172"/>
                      </a:lnTo>
                      <a:lnTo>
                        <a:pt x="1028" y="172"/>
                      </a:lnTo>
                      <a:lnTo>
                        <a:pt x="1028" y="172"/>
                      </a:lnTo>
                      <a:close/>
                      <a:moveTo>
                        <a:pt x="1750" y="182"/>
                      </a:moveTo>
                      <a:lnTo>
                        <a:pt x="1746" y="182"/>
                      </a:lnTo>
                      <a:lnTo>
                        <a:pt x="1750" y="165"/>
                      </a:lnTo>
                      <a:lnTo>
                        <a:pt x="1767" y="172"/>
                      </a:lnTo>
                      <a:lnTo>
                        <a:pt x="1750" y="182"/>
                      </a:lnTo>
                      <a:lnTo>
                        <a:pt x="1750" y="182"/>
                      </a:lnTo>
                      <a:lnTo>
                        <a:pt x="1750" y="182"/>
                      </a:lnTo>
                      <a:close/>
                      <a:moveTo>
                        <a:pt x="1103" y="172"/>
                      </a:moveTo>
                      <a:lnTo>
                        <a:pt x="1103" y="165"/>
                      </a:lnTo>
                      <a:lnTo>
                        <a:pt x="1117" y="165"/>
                      </a:lnTo>
                      <a:lnTo>
                        <a:pt x="1117" y="172"/>
                      </a:lnTo>
                      <a:lnTo>
                        <a:pt x="1103" y="172"/>
                      </a:lnTo>
                      <a:lnTo>
                        <a:pt x="1103" y="172"/>
                      </a:lnTo>
                      <a:lnTo>
                        <a:pt x="1103" y="172"/>
                      </a:lnTo>
                      <a:close/>
                      <a:moveTo>
                        <a:pt x="945" y="189"/>
                      </a:moveTo>
                      <a:lnTo>
                        <a:pt x="961" y="189"/>
                      </a:lnTo>
                      <a:lnTo>
                        <a:pt x="945" y="189"/>
                      </a:lnTo>
                      <a:lnTo>
                        <a:pt x="945" y="172"/>
                      </a:lnTo>
                      <a:lnTo>
                        <a:pt x="978" y="189"/>
                      </a:lnTo>
                      <a:lnTo>
                        <a:pt x="973" y="165"/>
                      </a:lnTo>
                      <a:lnTo>
                        <a:pt x="994" y="182"/>
                      </a:lnTo>
                      <a:lnTo>
                        <a:pt x="978" y="189"/>
                      </a:lnTo>
                      <a:lnTo>
                        <a:pt x="978" y="205"/>
                      </a:lnTo>
                      <a:lnTo>
                        <a:pt x="973" y="205"/>
                      </a:lnTo>
                      <a:lnTo>
                        <a:pt x="924" y="205"/>
                      </a:lnTo>
                      <a:lnTo>
                        <a:pt x="940" y="198"/>
                      </a:lnTo>
                      <a:lnTo>
                        <a:pt x="928" y="189"/>
                      </a:lnTo>
                      <a:lnTo>
                        <a:pt x="945" y="189"/>
                      </a:lnTo>
                      <a:lnTo>
                        <a:pt x="945" y="189"/>
                      </a:lnTo>
                      <a:lnTo>
                        <a:pt x="945" y="189"/>
                      </a:lnTo>
                      <a:close/>
                      <a:moveTo>
                        <a:pt x="839" y="255"/>
                      </a:moveTo>
                      <a:lnTo>
                        <a:pt x="865" y="243"/>
                      </a:lnTo>
                      <a:lnTo>
                        <a:pt x="848" y="238"/>
                      </a:lnTo>
                      <a:lnTo>
                        <a:pt x="853" y="238"/>
                      </a:lnTo>
                      <a:lnTo>
                        <a:pt x="839" y="227"/>
                      </a:lnTo>
                      <a:lnTo>
                        <a:pt x="848" y="227"/>
                      </a:lnTo>
                      <a:lnTo>
                        <a:pt x="886" y="222"/>
                      </a:lnTo>
                      <a:lnTo>
                        <a:pt x="865" y="215"/>
                      </a:lnTo>
                      <a:lnTo>
                        <a:pt x="891" y="222"/>
                      </a:lnTo>
                      <a:lnTo>
                        <a:pt x="886" y="205"/>
                      </a:lnTo>
                      <a:lnTo>
                        <a:pt x="902" y="215"/>
                      </a:lnTo>
                      <a:lnTo>
                        <a:pt x="891" y="205"/>
                      </a:lnTo>
                      <a:lnTo>
                        <a:pt x="907" y="205"/>
                      </a:lnTo>
                      <a:lnTo>
                        <a:pt x="928" y="227"/>
                      </a:lnTo>
                      <a:lnTo>
                        <a:pt x="919" y="238"/>
                      </a:lnTo>
                      <a:lnTo>
                        <a:pt x="919" y="243"/>
                      </a:lnTo>
                      <a:lnTo>
                        <a:pt x="924" y="255"/>
                      </a:lnTo>
                      <a:lnTo>
                        <a:pt x="886" y="255"/>
                      </a:lnTo>
                      <a:lnTo>
                        <a:pt x="853" y="276"/>
                      </a:lnTo>
                      <a:lnTo>
                        <a:pt x="865" y="272"/>
                      </a:lnTo>
                      <a:lnTo>
                        <a:pt x="831" y="272"/>
                      </a:lnTo>
                      <a:lnTo>
                        <a:pt x="865" y="255"/>
                      </a:lnTo>
                      <a:lnTo>
                        <a:pt x="839" y="255"/>
                      </a:lnTo>
                      <a:lnTo>
                        <a:pt x="839" y="255"/>
                      </a:lnTo>
                      <a:lnTo>
                        <a:pt x="839" y="255"/>
                      </a:lnTo>
                      <a:close/>
                      <a:moveTo>
                        <a:pt x="746" y="293"/>
                      </a:moveTo>
                      <a:lnTo>
                        <a:pt x="739" y="276"/>
                      </a:lnTo>
                      <a:lnTo>
                        <a:pt x="746" y="272"/>
                      </a:lnTo>
                      <a:lnTo>
                        <a:pt x="794" y="243"/>
                      </a:lnTo>
                      <a:lnTo>
                        <a:pt x="784" y="260"/>
                      </a:lnTo>
                      <a:lnTo>
                        <a:pt x="746" y="293"/>
                      </a:lnTo>
                      <a:lnTo>
                        <a:pt x="746" y="293"/>
                      </a:lnTo>
                      <a:lnTo>
                        <a:pt x="746" y="293"/>
                      </a:lnTo>
                      <a:close/>
                      <a:moveTo>
                        <a:pt x="876" y="276"/>
                      </a:moveTo>
                      <a:lnTo>
                        <a:pt x="876" y="272"/>
                      </a:lnTo>
                      <a:lnTo>
                        <a:pt x="891" y="272"/>
                      </a:lnTo>
                      <a:lnTo>
                        <a:pt x="876" y="276"/>
                      </a:lnTo>
                      <a:lnTo>
                        <a:pt x="876" y="276"/>
                      </a:lnTo>
                      <a:lnTo>
                        <a:pt x="876" y="276"/>
                      </a:lnTo>
                      <a:close/>
                      <a:moveTo>
                        <a:pt x="676" y="326"/>
                      </a:moveTo>
                      <a:lnTo>
                        <a:pt x="671" y="316"/>
                      </a:lnTo>
                      <a:lnTo>
                        <a:pt x="676" y="300"/>
                      </a:lnTo>
                      <a:lnTo>
                        <a:pt x="702" y="309"/>
                      </a:lnTo>
                      <a:lnTo>
                        <a:pt x="709" y="293"/>
                      </a:lnTo>
                      <a:lnTo>
                        <a:pt x="725" y="300"/>
                      </a:lnTo>
                      <a:lnTo>
                        <a:pt x="709" y="283"/>
                      </a:lnTo>
                      <a:lnTo>
                        <a:pt x="713" y="276"/>
                      </a:lnTo>
                      <a:lnTo>
                        <a:pt x="739" y="300"/>
                      </a:lnTo>
                      <a:lnTo>
                        <a:pt x="739" y="316"/>
                      </a:lnTo>
                      <a:lnTo>
                        <a:pt x="713" y="333"/>
                      </a:lnTo>
                      <a:lnTo>
                        <a:pt x="702" y="326"/>
                      </a:lnTo>
                      <a:lnTo>
                        <a:pt x="725" y="309"/>
                      </a:lnTo>
                      <a:lnTo>
                        <a:pt x="676" y="326"/>
                      </a:lnTo>
                      <a:lnTo>
                        <a:pt x="676" y="326"/>
                      </a:lnTo>
                      <a:lnTo>
                        <a:pt x="676" y="326"/>
                      </a:lnTo>
                      <a:close/>
                      <a:moveTo>
                        <a:pt x="815" y="293"/>
                      </a:moveTo>
                      <a:lnTo>
                        <a:pt x="801" y="283"/>
                      </a:lnTo>
                      <a:lnTo>
                        <a:pt x="822" y="283"/>
                      </a:lnTo>
                      <a:lnTo>
                        <a:pt x="815" y="293"/>
                      </a:lnTo>
                      <a:lnTo>
                        <a:pt x="815" y="293"/>
                      </a:lnTo>
                      <a:lnTo>
                        <a:pt x="815" y="293"/>
                      </a:lnTo>
                      <a:close/>
                      <a:moveTo>
                        <a:pt x="777" y="283"/>
                      </a:moveTo>
                      <a:lnTo>
                        <a:pt x="768" y="300"/>
                      </a:lnTo>
                      <a:lnTo>
                        <a:pt x="777" y="309"/>
                      </a:lnTo>
                      <a:lnTo>
                        <a:pt x="763" y="338"/>
                      </a:lnTo>
                      <a:lnTo>
                        <a:pt x="794" y="293"/>
                      </a:lnTo>
                      <a:lnTo>
                        <a:pt x="815" y="300"/>
                      </a:lnTo>
                      <a:lnTo>
                        <a:pt x="822" y="326"/>
                      </a:lnTo>
                      <a:lnTo>
                        <a:pt x="815" y="333"/>
                      </a:lnTo>
                      <a:lnTo>
                        <a:pt x="794" y="333"/>
                      </a:lnTo>
                      <a:lnTo>
                        <a:pt x="777" y="354"/>
                      </a:lnTo>
                      <a:lnTo>
                        <a:pt x="768" y="349"/>
                      </a:lnTo>
                      <a:lnTo>
                        <a:pt x="756" y="366"/>
                      </a:lnTo>
                      <a:lnTo>
                        <a:pt x="730" y="366"/>
                      </a:lnTo>
                      <a:lnTo>
                        <a:pt x="756" y="338"/>
                      </a:lnTo>
                      <a:lnTo>
                        <a:pt x="746" y="338"/>
                      </a:lnTo>
                      <a:lnTo>
                        <a:pt x="709" y="371"/>
                      </a:lnTo>
                      <a:lnTo>
                        <a:pt x="730" y="338"/>
                      </a:lnTo>
                      <a:lnTo>
                        <a:pt x="725" y="338"/>
                      </a:lnTo>
                      <a:lnTo>
                        <a:pt x="746" y="326"/>
                      </a:lnTo>
                      <a:lnTo>
                        <a:pt x="739" y="309"/>
                      </a:lnTo>
                      <a:lnTo>
                        <a:pt x="763" y="316"/>
                      </a:lnTo>
                      <a:lnTo>
                        <a:pt x="739" y="309"/>
                      </a:lnTo>
                      <a:lnTo>
                        <a:pt x="756" y="283"/>
                      </a:lnTo>
                      <a:lnTo>
                        <a:pt x="777" y="283"/>
                      </a:lnTo>
                      <a:lnTo>
                        <a:pt x="777" y="283"/>
                      </a:lnTo>
                      <a:lnTo>
                        <a:pt x="777" y="283"/>
                      </a:lnTo>
                      <a:close/>
                      <a:moveTo>
                        <a:pt x="709" y="293"/>
                      </a:moveTo>
                      <a:lnTo>
                        <a:pt x="702" y="283"/>
                      </a:lnTo>
                      <a:lnTo>
                        <a:pt x="709" y="283"/>
                      </a:lnTo>
                      <a:lnTo>
                        <a:pt x="709" y="293"/>
                      </a:lnTo>
                      <a:lnTo>
                        <a:pt x="709" y="293"/>
                      </a:lnTo>
                      <a:lnTo>
                        <a:pt x="709" y="293"/>
                      </a:lnTo>
                      <a:close/>
                      <a:moveTo>
                        <a:pt x="869" y="300"/>
                      </a:moveTo>
                      <a:lnTo>
                        <a:pt x="853" y="293"/>
                      </a:lnTo>
                      <a:lnTo>
                        <a:pt x="886" y="293"/>
                      </a:lnTo>
                      <a:lnTo>
                        <a:pt x="869" y="300"/>
                      </a:lnTo>
                      <a:lnTo>
                        <a:pt x="869" y="300"/>
                      </a:lnTo>
                      <a:lnTo>
                        <a:pt x="869" y="300"/>
                      </a:lnTo>
                      <a:close/>
                      <a:moveTo>
                        <a:pt x="839" y="316"/>
                      </a:moveTo>
                      <a:lnTo>
                        <a:pt x="848" y="293"/>
                      </a:lnTo>
                      <a:lnTo>
                        <a:pt x="865" y="309"/>
                      </a:lnTo>
                      <a:lnTo>
                        <a:pt x="839" y="316"/>
                      </a:lnTo>
                      <a:lnTo>
                        <a:pt x="839" y="316"/>
                      </a:lnTo>
                      <a:lnTo>
                        <a:pt x="839" y="316"/>
                      </a:lnTo>
                      <a:close/>
                      <a:moveTo>
                        <a:pt x="794" y="354"/>
                      </a:moveTo>
                      <a:lnTo>
                        <a:pt x="801" y="338"/>
                      </a:lnTo>
                      <a:lnTo>
                        <a:pt x="815" y="349"/>
                      </a:lnTo>
                      <a:lnTo>
                        <a:pt x="794" y="354"/>
                      </a:lnTo>
                      <a:lnTo>
                        <a:pt x="794" y="354"/>
                      </a:lnTo>
                      <a:lnTo>
                        <a:pt x="794" y="354"/>
                      </a:lnTo>
                      <a:close/>
                      <a:moveTo>
                        <a:pt x="654" y="387"/>
                      </a:moveTo>
                      <a:lnTo>
                        <a:pt x="659" y="366"/>
                      </a:lnTo>
                      <a:lnTo>
                        <a:pt x="676" y="366"/>
                      </a:lnTo>
                      <a:lnTo>
                        <a:pt x="671" y="354"/>
                      </a:lnTo>
                      <a:lnTo>
                        <a:pt x="676" y="354"/>
                      </a:lnTo>
                      <a:lnTo>
                        <a:pt x="702" y="349"/>
                      </a:lnTo>
                      <a:lnTo>
                        <a:pt x="692" y="366"/>
                      </a:lnTo>
                      <a:lnTo>
                        <a:pt x="725" y="349"/>
                      </a:lnTo>
                      <a:lnTo>
                        <a:pt x="702" y="371"/>
                      </a:lnTo>
                      <a:lnTo>
                        <a:pt x="654" y="387"/>
                      </a:lnTo>
                      <a:lnTo>
                        <a:pt x="654" y="387"/>
                      </a:lnTo>
                      <a:lnTo>
                        <a:pt x="654" y="387"/>
                      </a:lnTo>
                      <a:close/>
                      <a:moveTo>
                        <a:pt x="654" y="371"/>
                      </a:moveTo>
                      <a:lnTo>
                        <a:pt x="650" y="366"/>
                      </a:lnTo>
                      <a:lnTo>
                        <a:pt x="654" y="366"/>
                      </a:lnTo>
                      <a:lnTo>
                        <a:pt x="654" y="371"/>
                      </a:lnTo>
                      <a:lnTo>
                        <a:pt x="654" y="371"/>
                      </a:lnTo>
                      <a:lnTo>
                        <a:pt x="654" y="371"/>
                      </a:lnTo>
                      <a:close/>
                      <a:moveTo>
                        <a:pt x="638" y="371"/>
                      </a:moveTo>
                      <a:lnTo>
                        <a:pt x="633" y="366"/>
                      </a:lnTo>
                      <a:lnTo>
                        <a:pt x="638" y="366"/>
                      </a:lnTo>
                      <a:lnTo>
                        <a:pt x="638" y="371"/>
                      </a:lnTo>
                      <a:lnTo>
                        <a:pt x="638" y="371"/>
                      </a:lnTo>
                      <a:lnTo>
                        <a:pt x="638" y="371"/>
                      </a:lnTo>
                      <a:close/>
                      <a:moveTo>
                        <a:pt x="605" y="394"/>
                      </a:moveTo>
                      <a:lnTo>
                        <a:pt x="600" y="394"/>
                      </a:lnTo>
                      <a:lnTo>
                        <a:pt x="605" y="371"/>
                      </a:lnTo>
                      <a:lnTo>
                        <a:pt x="650" y="371"/>
                      </a:lnTo>
                      <a:lnTo>
                        <a:pt x="605" y="394"/>
                      </a:lnTo>
                      <a:lnTo>
                        <a:pt x="605" y="394"/>
                      </a:lnTo>
                      <a:lnTo>
                        <a:pt x="605" y="394"/>
                      </a:lnTo>
                      <a:close/>
                      <a:moveTo>
                        <a:pt x="583" y="404"/>
                      </a:moveTo>
                      <a:lnTo>
                        <a:pt x="583" y="394"/>
                      </a:lnTo>
                      <a:lnTo>
                        <a:pt x="595" y="387"/>
                      </a:lnTo>
                      <a:lnTo>
                        <a:pt x="600" y="387"/>
                      </a:lnTo>
                      <a:lnTo>
                        <a:pt x="583" y="404"/>
                      </a:lnTo>
                      <a:lnTo>
                        <a:pt x="583" y="404"/>
                      </a:lnTo>
                      <a:lnTo>
                        <a:pt x="583" y="404"/>
                      </a:lnTo>
                      <a:close/>
                      <a:moveTo>
                        <a:pt x="550" y="427"/>
                      </a:moveTo>
                      <a:lnTo>
                        <a:pt x="579" y="387"/>
                      </a:lnTo>
                      <a:lnTo>
                        <a:pt x="583" y="394"/>
                      </a:lnTo>
                      <a:lnTo>
                        <a:pt x="579" y="411"/>
                      </a:lnTo>
                      <a:lnTo>
                        <a:pt x="550" y="427"/>
                      </a:lnTo>
                      <a:lnTo>
                        <a:pt x="550" y="427"/>
                      </a:lnTo>
                      <a:lnTo>
                        <a:pt x="550" y="427"/>
                      </a:lnTo>
                      <a:close/>
                      <a:moveTo>
                        <a:pt x="756" y="404"/>
                      </a:moveTo>
                      <a:lnTo>
                        <a:pt x="746" y="404"/>
                      </a:lnTo>
                      <a:lnTo>
                        <a:pt x="777" y="404"/>
                      </a:lnTo>
                      <a:lnTo>
                        <a:pt x="756" y="404"/>
                      </a:lnTo>
                      <a:lnTo>
                        <a:pt x="756" y="404"/>
                      </a:lnTo>
                      <a:lnTo>
                        <a:pt x="756" y="404"/>
                      </a:lnTo>
                      <a:close/>
                      <a:moveTo>
                        <a:pt x="725" y="411"/>
                      </a:moveTo>
                      <a:lnTo>
                        <a:pt x="709" y="411"/>
                      </a:lnTo>
                      <a:lnTo>
                        <a:pt x="730" y="411"/>
                      </a:lnTo>
                      <a:lnTo>
                        <a:pt x="725" y="411"/>
                      </a:lnTo>
                      <a:lnTo>
                        <a:pt x="725" y="411"/>
                      </a:lnTo>
                      <a:lnTo>
                        <a:pt x="725" y="411"/>
                      </a:lnTo>
                      <a:close/>
                      <a:moveTo>
                        <a:pt x="654" y="522"/>
                      </a:moveTo>
                      <a:lnTo>
                        <a:pt x="638" y="515"/>
                      </a:lnTo>
                      <a:lnTo>
                        <a:pt x="659" y="503"/>
                      </a:lnTo>
                      <a:lnTo>
                        <a:pt x="654" y="522"/>
                      </a:lnTo>
                      <a:lnTo>
                        <a:pt x="654" y="522"/>
                      </a:lnTo>
                      <a:lnTo>
                        <a:pt x="654" y="522"/>
                      </a:lnTo>
                      <a:close/>
                      <a:moveTo>
                        <a:pt x="550" y="614"/>
                      </a:moveTo>
                      <a:lnTo>
                        <a:pt x="562" y="609"/>
                      </a:lnTo>
                      <a:lnTo>
                        <a:pt x="550" y="614"/>
                      </a:lnTo>
                      <a:lnTo>
                        <a:pt x="550" y="614"/>
                      </a:lnTo>
                      <a:lnTo>
                        <a:pt x="550" y="614"/>
                      </a:lnTo>
                      <a:close/>
                      <a:moveTo>
                        <a:pt x="524" y="642"/>
                      </a:moveTo>
                      <a:lnTo>
                        <a:pt x="541" y="614"/>
                      </a:lnTo>
                      <a:lnTo>
                        <a:pt x="546" y="631"/>
                      </a:lnTo>
                      <a:lnTo>
                        <a:pt x="524" y="642"/>
                      </a:lnTo>
                      <a:lnTo>
                        <a:pt x="524" y="642"/>
                      </a:lnTo>
                      <a:lnTo>
                        <a:pt x="524" y="642"/>
                      </a:lnTo>
                      <a:close/>
                      <a:moveTo>
                        <a:pt x="529" y="666"/>
                      </a:moveTo>
                      <a:lnTo>
                        <a:pt x="541" y="649"/>
                      </a:lnTo>
                      <a:lnTo>
                        <a:pt x="562" y="642"/>
                      </a:lnTo>
                      <a:lnTo>
                        <a:pt x="529" y="666"/>
                      </a:lnTo>
                      <a:lnTo>
                        <a:pt x="529" y="666"/>
                      </a:lnTo>
                      <a:lnTo>
                        <a:pt x="529" y="666"/>
                      </a:lnTo>
                      <a:close/>
                      <a:moveTo>
                        <a:pt x="491" y="699"/>
                      </a:moveTo>
                      <a:lnTo>
                        <a:pt x="487" y="687"/>
                      </a:lnTo>
                      <a:lnTo>
                        <a:pt x="498" y="683"/>
                      </a:lnTo>
                      <a:lnTo>
                        <a:pt x="491" y="699"/>
                      </a:lnTo>
                      <a:lnTo>
                        <a:pt x="491" y="699"/>
                      </a:lnTo>
                      <a:lnTo>
                        <a:pt x="491" y="699"/>
                      </a:lnTo>
                      <a:close/>
                      <a:moveTo>
                        <a:pt x="508" y="737"/>
                      </a:moveTo>
                      <a:lnTo>
                        <a:pt x="513" y="699"/>
                      </a:lnTo>
                      <a:lnTo>
                        <a:pt x="541" y="720"/>
                      </a:lnTo>
                      <a:lnTo>
                        <a:pt x="508" y="737"/>
                      </a:lnTo>
                      <a:lnTo>
                        <a:pt x="508" y="737"/>
                      </a:lnTo>
                      <a:lnTo>
                        <a:pt x="508" y="737"/>
                      </a:lnTo>
                      <a:close/>
                      <a:moveTo>
                        <a:pt x="508" y="758"/>
                      </a:moveTo>
                      <a:lnTo>
                        <a:pt x="498" y="753"/>
                      </a:lnTo>
                      <a:lnTo>
                        <a:pt x="513" y="737"/>
                      </a:lnTo>
                      <a:lnTo>
                        <a:pt x="524" y="753"/>
                      </a:lnTo>
                      <a:lnTo>
                        <a:pt x="508" y="758"/>
                      </a:lnTo>
                      <a:lnTo>
                        <a:pt x="508" y="758"/>
                      </a:lnTo>
                      <a:lnTo>
                        <a:pt x="508" y="758"/>
                      </a:lnTo>
                      <a:close/>
                      <a:moveTo>
                        <a:pt x="470" y="758"/>
                      </a:moveTo>
                      <a:lnTo>
                        <a:pt x="470" y="753"/>
                      </a:lnTo>
                      <a:lnTo>
                        <a:pt x="487" y="753"/>
                      </a:lnTo>
                      <a:lnTo>
                        <a:pt x="470" y="758"/>
                      </a:lnTo>
                      <a:lnTo>
                        <a:pt x="470" y="758"/>
                      </a:lnTo>
                      <a:lnTo>
                        <a:pt x="470" y="758"/>
                      </a:lnTo>
                      <a:close/>
                      <a:moveTo>
                        <a:pt x="437" y="782"/>
                      </a:moveTo>
                      <a:lnTo>
                        <a:pt x="416" y="782"/>
                      </a:lnTo>
                      <a:lnTo>
                        <a:pt x="437" y="770"/>
                      </a:lnTo>
                      <a:lnTo>
                        <a:pt x="444" y="777"/>
                      </a:lnTo>
                      <a:lnTo>
                        <a:pt x="437" y="782"/>
                      </a:lnTo>
                      <a:lnTo>
                        <a:pt x="437" y="782"/>
                      </a:lnTo>
                      <a:lnTo>
                        <a:pt x="437" y="782"/>
                      </a:lnTo>
                      <a:close/>
                      <a:moveTo>
                        <a:pt x="454" y="810"/>
                      </a:moveTo>
                      <a:lnTo>
                        <a:pt x="444" y="810"/>
                      </a:lnTo>
                      <a:lnTo>
                        <a:pt x="454" y="798"/>
                      </a:lnTo>
                      <a:lnTo>
                        <a:pt x="454" y="810"/>
                      </a:lnTo>
                      <a:lnTo>
                        <a:pt x="454" y="810"/>
                      </a:lnTo>
                      <a:lnTo>
                        <a:pt x="454" y="810"/>
                      </a:lnTo>
                      <a:close/>
                      <a:moveTo>
                        <a:pt x="461" y="827"/>
                      </a:moveTo>
                      <a:lnTo>
                        <a:pt x="444" y="827"/>
                      </a:lnTo>
                      <a:lnTo>
                        <a:pt x="432" y="810"/>
                      </a:lnTo>
                      <a:lnTo>
                        <a:pt x="461" y="815"/>
                      </a:lnTo>
                      <a:lnTo>
                        <a:pt x="461" y="827"/>
                      </a:lnTo>
                      <a:lnTo>
                        <a:pt x="461" y="827"/>
                      </a:lnTo>
                      <a:lnTo>
                        <a:pt x="461" y="827"/>
                      </a:lnTo>
                      <a:close/>
                      <a:moveTo>
                        <a:pt x="243" y="921"/>
                      </a:moveTo>
                      <a:lnTo>
                        <a:pt x="276" y="905"/>
                      </a:lnTo>
                      <a:lnTo>
                        <a:pt x="276" y="909"/>
                      </a:lnTo>
                      <a:lnTo>
                        <a:pt x="243" y="921"/>
                      </a:lnTo>
                      <a:lnTo>
                        <a:pt x="243" y="921"/>
                      </a:lnTo>
                      <a:lnTo>
                        <a:pt x="243" y="921"/>
                      </a:lnTo>
                      <a:close/>
                      <a:moveTo>
                        <a:pt x="255" y="942"/>
                      </a:moveTo>
                      <a:lnTo>
                        <a:pt x="239" y="942"/>
                      </a:lnTo>
                      <a:lnTo>
                        <a:pt x="281" y="921"/>
                      </a:lnTo>
                      <a:lnTo>
                        <a:pt x="298" y="926"/>
                      </a:lnTo>
                      <a:lnTo>
                        <a:pt x="255" y="942"/>
                      </a:lnTo>
                      <a:lnTo>
                        <a:pt x="255" y="942"/>
                      </a:lnTo>
                      <a:lnTo>
                        <a:pt x="255" y="942"/>
                      </a:lnTo>
                      <a:close/>
                      <a:moveTo>
                        <a:pt x="222" y="959"/>
                      </a:moveTo>
                      <a:lnTo>
                        <a:pt x="206" y="947"/>
                      </a:lnTo>
                      <a:lnTo>
                        <a:pt x="222" y="942"/>
                      </a:lnTo>
                      <a:lnTo>
                        <a:pt x="227" y="947"/>
                      </a:lnTo>
                      <a:lnTo>
                        <a:pt x="222" y="959"/>
                      </a:lnTo>
                      <a:lnTo>
                        <a:pt x="222" y="959"/>
                      </a:lnTo>
                      <a:lnTo>
                        <a:pt x="222" y="959"/>
                      </a:lnTo>
                      <a:close/>
                      <a:moveTo>
                        <a:pt x="260" y="959"/>
                      </a:moveTo>
                      <a:lnTo>
                        <a:pt x="255" y="959"/>
                      </a:lnTo>
                      <a:lnTo>
                        <a:pt x="272" y="959"/>
                      </a:lnTo>
                      <a:lnTo>
                        <a:pt x="260" y="959"/>
                      </a:lnTo>
                      <a:lnTo>
                        <a:pt x="260" y="959"/>
                      </a:lnTo>
                      <a:lnTo>
                        <a:pt x="260" y="959"/>
                      </a:lnTo>
                      <a:close/>
                      <a:moveTo>
                        <a:pt x="243" y="975"/>
                      </a:moveTo>
                      <a:lnTo>
                        <a:pt x="239" y="964"/>
                      </a:lnTo>
                      <a:lnTo>
                        <a:pt x="255" y="959"/>
                      </a:lnTo>
                      <a:lnTo>
                        <a:pt x="260" y="975"/>
                      </a:lnTo>
                      <a:lnTo>
                        <a:pt x="243" y="975"/>
                      </a:lnTo>
                      <a:lnTo>
                        <a:pt x="243" y="975"/>
                      </a:lnTo>
                      <a:lnTo>
                        <a:pt x="243" y="975"/>
                      </a:lnTo>
                      <a:close/>
                      <a:moveTo>
                        <a:pt x="222" y="975"/>
                      </a:moveTo>
                      <a:lnTo>
                        <a:pt x="217" y="975"/>
                      </a:lnTo>
                      <a:lnTo>
                        <a:pt x="222" y="964"/>
                      </a:lnTo>
                      <a:lnTo>
                        <a:pt x="227" y="975"/>
                      </a:lnTo>
                      <a:lnTo>
                        <a:pt x="222" y="975"/>
                      </a:lnTo>
                      <a:lnTo>
                        <a:pt x="222" y="975"/>
                      </a:lnTo>
                      <a:lnTo>
                        <a:pt x="222" y="975"/>
                      </a:lnTo>
                      <a:close/>
                      <a:moveTo>
                        <a:pt x="239" y="975"/>
                      </a:moveTo>
                      <a:lnTo>
                        <a:pt x="227" y="964"/>
                      </a:lnTo>
                      <a:lnTo>
                        <a:pt x="243" y="975"/>
                      </a:lnTo>
                      <a:lnTo>
                        <a:pt x="239" y="975"/>
                      </a:lnTo>
                      <a:lnTo>
                        <a:pt x="239" y="975"/>
                      </a:lnTo>
                      <a:lnTo>
                        <a:pt x="239" y="975"/>
                      </a:lnTo>
                      <a:close/>
                      <a:moveTo>
                        <a:pt x="206" y="992"/>
                      </a:moveTo>
                      <a:lnTo>
                        <a:pt x="201" y="992"/>
                      </a:lnTo>
                      <a:lnTo>
                        <a:pt x="217" y="980"/>
                      </a:lnTo>
                      <a:lnTo>
                        <a:pt x="206" y="992"/>
                      </a:lnTo>
                      <a:lnTo>
                        <a:pt x="206" y="992"/>
                      </a:lnTo>
                      <a:lnTo>
                        <a:pt x="206" y="992"/>
                      </a:lnTo>
                      <a:close/>
                      <a:moveTo>
                        <a:pt x="184" y="997"/>
                      </a:moveTo>
                      <a:lnTo>
                        <a:pt x="172" y="997"/>
                      </a:lnTo>
                      <a:lnTo>
                        <a:pt x="172" y="992"/>
                      </a:lnTo>
                      <a:lnTo>
                        <a:pt x="189" y="980"/>
                      </a:lnTo>
                      <a:lnTo>
                        <a:pt x="201" y="992"/>
                      </a:lnTo>
                      <a:lnTo>
                        <a:pt x="184" y="997"/>
                      </a:lnTo>
                      <a:lnTo>
                        <a:pt x="184" y="997"/>
                      </a:lnTo>
                      <a:lnTo>
                        <a:pt x="184" y="997"/>
                      </a:lnTo>
                      <a:close/>
                      <a:moveTo>
                        <a:pt x="135" y="1020"/>
                      </a:moveTo>
                      <a:lnTo>
                        <a:pt x="135" y="1013"/>
                      </a:lnTo>
                      <a:lnTo>
                        <a:pt x="146" y="1013"/>
                      </a:lnTo>
                      <a:lnTo>
                        <a:pt x="135" y="1020"/>
                      </a:lnTo>
                      <a:lnTo>
                        <a:pt x="135" y="1020"/>
                      </a:lnTo>
                      <a:lnTo>
                        <a:pt x="135" y="1020"/>
                      </a:lnTo>
                      <a:close/>
                      <a:moveTo>
                        <a:pt x="130" y="1032"/>
                      </a:moveTo>
                      <a:lnTo>
                        <a:pt x="130" y="1020"/>
                      </a:lnTo>
                      <a:lnTo>
                        <a:pt x="146" y="1032"/>
                      </a:lnTo>
                      <a:lnTo>
                        <a:pt x="130" y="1032"/>
                      </a:lnTo>
                      <a:lnTo>
                        <a:pt x="130" y="1032"/>
                      </a:lnTo>
                      <a:lnTo>
                        <a:pt x="130" y="1032"/>
                      </a:lnTo>
                      <a:close/>
                      <a:moveTo>
                        <a:pt x="97" y="1058"/>
                      </a:moveTo>
                      <a:lnTo>
                        <a:pt x="83" y="1053"/>
                      </a:lnTo>
                      <a:lnTo>
                        <a:pt x="109" y="1058"/>
                      </a:lnTo>
                      <a:lnTo>
                        <a:pt x="97" y="1058"/>
                      </a:lnTo>
                      <a:lnTo>
                        <a:pt x="97" y="1058"/>
                      </a:lnTo>
                      <a:lnTo>
                        <a:pt x="97" y="1058"/>
                      </a:lnTo>
                      <a:close/>
                      <a:moveTo>
                        <a:pt x="66" y="1075"/>
                      </a:moveTo>
                      <a:lnTo>
                        <a:pt x="66" y="1058"/>
                      </a:lnTo>
                      <a:lnTo>
                        <a:pt x="83" y="1070"/>
                      </a:lnTo>
                      <a:lnTo>
                        <a:pt x="66" y="1075"/>
                      </a:lnTo>
                      <a:lnTo>
                        <a:pt x="66" y="1075"/>
                      </a:lnTo>
                      <a:lnTo>
                        <a:pt x="66" y="1075"/>
                      </a:lnTo>
                      <a:close/>
                      <a:moveTo>
                        <a:pt x="54" y="1086"/>
                      </a:moveTo>
                      <a:lnTo>
                        <a:pt x="45" y="1086"/>
                      </a:lnTo>
                      <a:lnTo>
                        <a:pt x="45" y="1075"/>
                      </a:lnTo>
                      <a:lnTo>
                        <a:pt x="66" y="1075"/>
                      </a:lnTo>
                      <a:lnTo>
                        <a:pt x="54" y="1086"/>
                      </a:lnTo>
                      <a:lnTo>
                        <a:pt x="54" y="1086"/>
                      </a:lnTo>
                      <a:lnTo>
                        <a:pt x="54" y="1086"/>
                      </a:lnTo>
                      <a:close/>
                      <a:moveTo>
                        <a:pt x="12" y="1115"/>
                      </a:moveTo>
                      <a:lnTo>
                        <a:pt x="12" y="1103"/>
                      </a:lnTo>
                      <a:lnTo>
                        <a:pt x="12" y="1115"/>
                      </a:lnTo>
                      <a:lnTo>
                        <a:pt x="12" y="1115"/>
                      </a:lnTo>
                      <a:lnTo>
                        <a:pt x="12" y="1115"/>
                      </a:lnTo>
                      <a:close/>
                      <a:moveTo>
                        <a:pt x="7" y="1131"/>
                      </a:moveTo>
                      <a:lnTo>
                        <a:pt x="0" y="1124"/>
                      </a:lnTo>
                      <a:lnTo>
                        <a:pt x="7" y="1115"/>
                      </a:lnTo>
                      <a:lnTo>
                        <a:pt x="21" y="1124"/>
                      </a:lnTo>
                      <a:lnTo>
                        <a:pt x="7" y="1131"/>
                      </a:lnTo>
                      <a:lnTo>
                        <a:pt x="7" y="1131"/>
                      </a:lnTo>
                      <a:lnTo>
                        <a:pt x="7" y="1131"/>
                      </a:lnTo>
                      <a:close/>
                      <a:moveTo>
                        <a:pt x="0" y="1214"/>
                      </a:moveTo>
                      <a:lnTo>
                        <a:pt x="0" y="1197"/>
                      </a:lnTo>
                      <a:lnTo>
                        <a:pt x="7" y="1197"/>
                      </a:lnTo>
                      <a:lnTo>
                        <a:pt x="7" y="1202"/>
                      </a:lnTo>
                      <a:lnTo>
                        <a:pt x="0" y="1214"/>
                      </a:lnTo>
                      <a:lnTo>
                        <a:pt x="0" y="1214"/>
                      </a:lnTo>
                      <a:lnTo>
                        <a:pt x="0" y="1214"/>
                      </a:lnTo>
                      <a:close/>
                      <a:moveTo>
                        <a:pt x="45" y="1275"/>
                      </a:moveTo>
                      <a:lnTo>
                        <a:pt x="38" y="1268"/>
                      </a:lnTo>
                      <a:lnTo>
                        <a:pt x="59" y="1252"/>
                      </a:lnTo>
                      <a:lnTo>
                        <a:pt x="59" y="1275"/>
                      </a:lnTo>
                      <a:lnTo>
                        <a:pt x="45" y="1275"/>
                      </a:lnTo>
                      <a:lnTo>
                        <a:pt x="45" y="1275"/>
                      </a:lnTo>
                      <a:lnTo>
                        <a:pt x="45" y="1275"/>
                      </a:lnTo>
                      <a:close/>
                      <a:moveTo>
                        <a:pt x="21" y="1280"/>
                      </a:moveTo>
                      <a:lnTo>
                        <a:pt x="7" y="1268"/>
                      </a:lnTo>
                      <a:lnTo>
                        <a:pt x="21" y="1275"/>
                      </a:lnTo>
                      <a:lnTo>
                        <a:pt x="21" y="1280"/>
                      </a:lnTo>
                      <a:lnTo>
                        <a:pt x="21" y="1280"/>
                      </a:lnTo>
                      <a:lnTo>
                        <a:pt x="21" y="1280"/>
                      </a:lnTo>
                      <a:close/>
                      <a:moveTo>
                        <a:pt x="12" y="1308"/>
                      </a:moveTo>
                      <a:lnTo>
                        <a:pt x="7" y="1297"/>
                      </a:lnTo>
                      <a:lnTo>
                        <a:pt x="7" y="1275"/>
                      </a:lnTo>
                      <a:lnTo>
                        <a:pt x="12" y="1292"/>
                      </a:lnTo>
                      <a:lnTo>
                        <a:pt x="12" y="1308"/>
                      </a:lnTo>
                      <a:lnTo>
                        <a:pt x="12" y="1308"/>
                      </a:lnTo>
                      <a:lnTo>
                        <a:pt x="12" y="1308"/>
                      </a:lnTo>
                      <a:close/>
                      <a:moveTo>
                        <a:pt x="76" y="1313"/>
                      </a:moveTo>
                      <a:lnTo>
                        <a:pt x="76" y="1308"/>
                      </a:lnTo>
                      <a:lnTo>
                        <a:pt x="83" y="1308"/>
                      </a:lnTo>
                      <a:lnTo>
                        <a:pt x="76" y="1313"/>
                      </a:lnTo>
                      <a:lnTo>
                        <a:pt x="76" y="1313"/>
                      </a:lnTo>
                      <a:lnTo>
                        <a:pt x="76" y="1313"/>
                      </a:lnTo>
                      <a:close/>
                      <a:moveTo>
                        <a:pt x="28" y="1325"/>
                      </a:moveTo>
                      <a:lnTo>
                        <a:pt x="21" y="1325"/>
                      </a:lnTo>
                      <a:lnTo>
                        <a:pt x="21" y="1313"/>
                      </a:lnTo>
                      <a:lnTo>
                        <a:pt x="28" y="1325"/>
                      </a:lnTo>
                      <a:lnTo>
                        <a:pt x="28" y="1325"/>
                      </a:lnTo>
                      <a:lnTo>
                        <a:pt x="28" y="1325"/>
                      </a:lnTo>
                      <a:close/>
                      <a:moveTo>
                        <a:pt x="45" y="1337"/>
                      </a:moveTo>
                      <a:lnTo>
                        <a:pt x="38" y="1325"/>
                      </a:lnTo>
                      <a:lnTo>
                        <a:pt x="54" y="1313"/>
                      </a:lnTo>
                      <a:lnTo>
                        <a:pt x="45" y="1337"/>
                      </a:lnTo>
                      <a:lnTo>
                        <a:pt x="45" y="1337"/>
                      </a:lnTo>
                      <a:lnTo>
                        <a:pt x="45" y="1337"/>
                      </a:lnTo>
                      <a:close/>
                      <a:moveTo>
                        <a:pt x="38" y="1353"/>
                      </a:moveTo>
                      <a:lnTo>
                        <a:pt x="28" y="1346"/>
                      </a:lnTo>
                      <a:lnTo>
                        <a:pt x="28" y="1330"/>
                      </a:lnTo>
                      <a:lnTo>
                        <a:pt x="45" y="1337"/>
                      </a:lnTo>
                      <a:lnTo>
                        <a:pt x="38" y="1353"/>
                      </a:lnTo>
                      <a:lnTo>
                        <a:pt x="38" y="1353"/>
                      </a:lnTo>
                      <a:lnTo>
                        <a:pt x="38" y="1353"/>
                      </a:lnTo>
                      <a:close/>
                      <a:moveTo>
                        <a:pt x="21" y="1370"/>
                      </a:moveTo>
                      <a:lnTo>
                        <a:pt x="12" y="1346"/>
                      </a:lnTo>
                      <a:lnTo>
                        <a:pt x="21" y="1337"/>
                      </a:lnTo>
                      <a:lnTo>
                        <a:pt x="38" y="1353"/>
                      </a:lnTo>
                      <a:lnTo>
                        <a:pt x="21" y="1353"/>
                      </a:lnTo>
                      <a:lnTo>
                        <a:pt x="21" y="1370"/>
                      </a:lnTo>
                      <a:lnTo>
                        <a:pt x="21" y="1370"/>
                      </a:lnTo>
                      <a:lnTo>
                        <a:pt x="21" y="1370"/>
                      </a:lnTo>
                      <a:close/>
                      <a:moveTo>
                        <a:pt x="21" y="1420"/>
                      </a:moveTo>
                      <a:lnTo>
                        <a:pt x="21" y="1386"/>
                      </a:lnTo>
                      <a:lnTo>
                        <a:pt x="28" y="1408"/>
                      </a:lnTo>
                      <a:lnTo>
                        <a:pt x="21" y="1420"/>
                      </a:lnTo>
                      <a:lnTo>
                        <a:pt x="21" y="1420"/>
                      </a:lnTo>
                      <a:lnTo>
                        <a:pt x="21" y="142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51" name="Freeform 532">
                  <a:extLst>
                    <a:ext uri="{FF2B5EF4-FFF2-40B4-BE49-F238E27FC236}">
                      <a16:creationId xmlns:a16="http://schemas.microsoft.com/office/drawing/2014/main" id="{BFCE623E-D3D7-4C61-B9BA-F83A47B4D152}"/>
                    </a:ext>
                  </a:extLst>
                </p:cNvPr>
                <p:cNvSpPr>
                  <a:spLocks/>
                </p:cNvSpPr>
                <p:nvPr/>
              </p:nvSpPr>
              <p:spPr bwMode="gray">
                <a:xfrm>
                  <a:off x="7134612" y="2252688"/>
                  <a:ext cx="288992" cy="229738"/>
                </a:xfrm>
                <a:custGeom>
                  <a:avLst/>
                  <a:gdLst>
                    <a:gd name="T0" fmla="*/ 87 w 702"/>
                    <a:gd name="T1" fmla="*/ 392 h 558"/>
                    <a:gd name="T2" fmla="*/ 54 w 702"/>
                    <a:gd name="T3" fmla="*/ 371 h 558"/>
                    <a:gd name="T4" fmla="*/ 50 w 702"/>
                    <a:gd name="T5" fmla="*/ 388 h 558"/>
                    <a:gd name="T6" fmla="*/ 54 w 702"/>
                    <a:gd name="T7" fmla="*/ 321 h 558"/>
                    <a:gd name="T8" fmla="*/ 40 w 702"/>
                    <a:gd name="T9" fmla="*/ 310 h 558"/>
                    <a:gd name="T10" fmla="*/ 40 w 702"/>
                    <a:gd name="T11" fmla="*/ 265 h 558"/>
                    <a:gd name="T12" fmla="*/ 24 w 702"/>
                    <a:gd name="T13" fmla="*/ 239 h 558"/>
                    <a:gd name="T14" fmla="*/ 0 w 702"/>
                    <a:gd name="T15" fmla="*/ 189 h 558"/>
                    <a:gd name="T16" fmla="*/ 16 w 702"/>
                    <a:gd name="T17" fmla="*/ 166 h 558"/>
                    <a:gd name="T18" fmla="*/ 7 w 702"/>
                    <a:gd name="T19" fmla="*/ 111 h 558"/>
                    <a:gd name="T20" fmla="*/ 33 w 702"/>
                    <a:gd name="T21" fmla="*/ 99 h 558"/>
                    <a:gd name="T22" fmla="*/ 0 w 702"/>
                    <a:gd name="T23" fmla="*/ 90 h 558"/>
                    <a:gd name="T24" fmla="*/ 163 w 702"/>
                    <a:gd name="T25" fmla="*/ 24 h 558"/>
                    <a:gd name="T26" fmla="*/ 293 w 702"/>
                    <a:gd name="T27" fmla="*/ 0 h 558"/>
                    <a:gd name="T28" fmla="*/ 326 w 702"/>
                    <a:gd name="T29" fmla="*/ 24 h 558"/>
                    <a:gd name="T30" fmla="*/ 309 w 702"/>
                    <a:gd name="T31" fmla="*/ 40 h 558"/>
                    <a:gd name="T32" fmla="*/ 380 w 702"/>
                    <a:gd name="T33" fmla="*/ 33 h 558"/>
                    <a:gd name="T34" fmla="*/ 359 w 702"/>
                    <a:gd name="T35" fmla="*/ 45 h 558"/>
                    <a:gd name="T36" fmla="*/ 397 w 702"/>
                    <a:gd name="T37" fmla="*/ 40 h 558"/>
                    <a:gd name="T38" fmla="*/ 609 w 702"/>
                    <a:gd name="T39" fmla="*/ 45 h 558"/>
                    <a:gd name="T40" fmla="*/ 647 w 702"/>
                    <a:gd name="T41" fmla="*/ 57 h 558"/>
                    <a:gd name="T42" fmla="*/ 664 w 702"/>
                    <a:gd name="T43" fmla="*/ 90 h 558"/>
                    <a:gd name="T44" fmla="*/ 690 w 702"/>
                    <a:gd name="T45" fmla="*/ 206 h 558"/>
                    <a:gd name="T46" fmla="*/ 635 w 702"/>
                    <a:gd name="T47" fmla="*/ 244 h 558"/>
                    <a:gd name="T48" fmla="*/ 664 w 702"/>
                    <a:gd name="T49" fmla="*/ 310 h 558"/>
                    <a:gd name="T50" fmla="*/ 673 w 702"/>
                    <a:gd name="T51" fmla="*/ 350 h 558"/>
                    <a:gd name="T52" fmla="*/ 690 w 702"/>
                    <a:gd name="T53" fmla="*/ 388 h 558"/>
                    <a:gd name="T54" fmla="*/ 690 w 702"/>
                    <a:gd name="T55" fmla="*/ 425 h 558"/>
                    <a:gd name="T56" fmla="*/ 647 w 702"/>
                    <a:gd name="T57" fmla="*/ 458 h 558"/>
                    <a:gd name="T58" fmla="*/ 609 w 702"/>
                    <a:gd name="T59" fmla="*/ 532 h 558"/>
                    <a:gd name="T60" fmla="*/ 614 w 702"/>
                    <a:gd name="T61" fmla="*/ 553 h 558"/>
                    <a:gd name="T62" fmla="*/ 593 w 702"/>
                    <a:gd name="T63" fmla="*/ 553 h 558"/>
                    <a:gd name="T64" fmla="*/ 555 w 702"/>
                    <a:gd name="T65" fmla="*/ 532 h 558"/>
                    <a:gd name="T66" fmla="*/ 489 w 702"/>
                    <a:gd name="T67" fmla="*/ 520 h 558"/>
                    <a:gd name="T68" fmla="*/ 468 w 702"/>
                    <a:gd name="T69" fmla="*/ 520 h 558"/>
                    <a:gd name="T70" fmla="*/ 418 w 702"/>
                    <a:gd name="T71" fmla="*/ 532 h 558"/>
                    <a:gd name="T72" fmla="*/ 397 w 702"/>
                    <a:gd name="T73" fmla="*/ 536 h 558"/>
                    <a:gd name="T74" fmla="*/ 392 w 702"/>
                    <a:gd name="T75" fmla="*/ 520 h 558"/>
                    <a:gd name="T76" fmla="*/ 347 w 702"/>
                    <a:gd name="T77" fmla="*/ 520 h 558"/>
                    <a:gd name="T78" fmla="*/ 331 w 702"/>
                    <a:gd name="T79" fmla="*/ 515 h 558"/>
                    <a:gd name="T80" fmla="*/ 326 w 702"/>
                    <a:gd name="T81" fmla="*/ 499 h 558"/>
                    <a:gd name="T82" fmla="*/ 309 w 702"/>
                    <a:gd name="T83" fmla="*/ 475 h 558"/>
                    <a:gd name="T84" fmla="*/ 267 w 702"/>
                    <a:gd name="T85" fmla="*/ 466 h 558"/>
                    <a:gd name="T86" fmla="*/ 239 w 702"/>
                    <a:gd name="T87" fmla="*/ 449 h 558"/>
                    <a:gd name="T88" fmla="*/ 250 w 702"/>
                    <a:gd name="T89" fmla="*/ 433 h 558"/>
                    <a:gd name="T90" fmla="*/ 196 w 702"/>
                    <a:gd name="T91" fmla="*/ 425 h 558"/>
                    <a:gd name="T92" fmla="*/ 170 w 702"/>
                    <a:gd name="T93" fmla="*/ 458 h 558"/>
                    <a:gd name="T94" fmla="*/ 158 w 702"/>
                    <a:gd name="T95" fmla="*/ 409 h 558"/>
                    <a:gd name="T96" fmla="*/ 142 w 702"/>
                    <a:gd name="T97" fmla="*/ 40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2" h="558">
                      <a:moveTo>
                        <a:pt x="142" y="404"/>
                      </a:moveTo>
                      <a:lnTo>
                        <a:pt x="87" y="392"/>
                      </a:lnTo>
                      <a:lnTo>
                        <a:pt x="71" y="371"/>
                      </a:lnTo>
                      <a:lnTo>
                        <a:pt x="54" y="371"/>
                      </a:lnTo>
                      <a:lnTo>
                        <a:pt x="54" y="388"/>
                      </a:lnTo>
                      <a:lnTo>
                        <a:pt x="50" y="388"/>
                      </a:lnTo>
                      <a:lnTo>
                        <a:pt x="61" y="350"/>
                      </a:lnTo>
                      <a:lnTo>
                        <a:pt x="54" y="321"/>
                      </a:lnTo>
                      <a:lnTo>
                        <a:pt x="40" y="321"/>
                      </a:lnTo>
                      <a:lnTo>
                        <a:pt x="40" y="310"/>
                      </a:lnTo>
                      <a:lnTo>
                        <a:pt x="33" y="293"/>
                      </a:lnTo>
                      <a:lnTo>
                        <a:pt x="40" y="265"/>
                      </a:lnTo>
                      <a:lnTo>
                        <a:pt x="40" y="255"/>
                      </a:lnTo>
                      <a:lnTo>
                        <a:pt x="24" y="239"/>
                      </a:lnTo>
                      <a:lnTo>
                        <a:pt x="33" y="222"/>
                      </a:lnTo>
                      <a:lnTo>
                        <a:pt x="0" y="189"/>
                      </a:lnTo>
                      <a:lnTo>
                        <a:pt x="0" y="182"/>
                      </a:lnTo>
                      <a:lnTo>
                        <a:pt x="16" y="166"/>
                      </a:lnTo>
                      <a:lnTo>
                        <a:pt x="16" y="144"/>
                      </a:lnTo>
                      <a:lnTo>
                        <a:pt x="7" y="111"/>
                      </a:lnTo>
                      <a:lnTo>
                        <a:pt x="24" y="111"/>
                      </a:lnTo>
                      <a:lnTo>
                        <a:pt x="33" y="99"/>
                      </a:lnTo>
                      <a:lnTo>
                        <a:pt x="0" y="95"/>
                      </a:lnTo>
                      <a:lnTo>
                        <a:pt x="0" y="90"/>
                      </a:lnTo>
                      <a:lnTo>
                        <a:pt x="142" y="57"/>
                      </a:lnTo>
                      <a:lnTo>
                        <a:pt x="163" y="24"/>
                      </a:lnTo>
                      <a:lnTo>
                        <a:pt x="267" y="0"/>
                      </a:lnTo>
                      <a:lnTo>
                        <a:pt x="293" y="0"/>
                      </a:lnTo>
                      <a:lnTo>
                        <a:pt x="321" y="17"/>
                      </a:lnTo>
                      <a:lnTo>
                        <a:pt x="326" y="24"/>
                      </a:lnTo>
                      <a:lnTo>
                        <a:pt x="293" y="7"/>
                      </a:lnTo>
                      <a:lnTo>
                        <a:pt x="309" y="40"/>
                      </a:lnTo>
                      <a:lnTo>
                        <a:pt x="326" y="45"/>
                      </a:lnTo>
                      <a:lnTo>
                        <a:pt x="380" y="33"/>
                      </a:lnTo>
                      <a:lnTo>
                        <a:pt x="392" y="40"/>
                      </a:lnTo>
                      <a:lnTo>
                        <a:pt x="359" y="45"/>
                      </a:lnTo>
                      <a:lnTo>
                        <a:pt x="364" y="57"/>
                      </a:lnTo>
                      <a:lnTo>
                        <a:pt x="397" y="40"/>
                      </a:lnTo>
                      <a:lnTo>
                        <a:pt x="510" y="45"/>
                      </a:lnTo>
                      <a:lnTo>
                        <a:pt x="609" y="45"/>
                      </a:lnTo>
                      <a:lnTo>
                        <a:pt x="619" y="40"/>
                      </a:lnTo>
                      <a:lnTo>
                        <a:pt x="647" y="57"/>
                      </a:lnTo>
                      <a:lnTo>
                        <a:pt x="652" y="73"/>
                      </a:lnTo>
                      <a:lnTo>
                        <a:pt x="664" y="90"/>
                      </a:lnTo>
                      <a:lnTo>
                        <a:pt x="690" y="173"/>
                      </a:lnTo>
                      <a:lnTo>
                        <a:pt x="690" y="206"/>
                      </a:lnTo>
                      <a:lnTo>
                        <a:pt x="652" y="227"/>
                      </a:lnTo>
                      <a:lnTo>
                        <a:pt x="635" y="244"/>
                      </a:lnTo>
                      <a:lnTo>
                        <a:pt x="668" y="265"/>
                      </a:lnTo>
                      <a:lnTo>
                        <a:pt x="664" y="310"/>
                      </a:lnTo>
                      <a:lnTo>
                        <a:pt x="668" y="321"/>
                      </a:lnTo>
                      <a:lnTo>
                        <a:pt x="673" y="350"/>
                      </a:lnTo>
                      <a:lnTo>
                        <a:pt x="702" y="388"/>
                      </a:lnTo>
                      <a:lnTo>
                        <a:pt x="690" y="388"/>
                      </a:lnTo>
                      <a:lnTo>
                        <a:pt x="702" y="409"/>
                      </a:lnTo>
                      <a:lnTo>
                        <a:pt x="690" y="425"/>
                      </a:lnTo>
                      <a:lnTo>
                        <a:pt x="673" y="425"/>
                      </a:lnTo>
                      <a:lnTo>
                        <a:pt x="647" y="458"/>
                      </a:lnTo>
                      <a:lnTo>
                        <a:pt x="598" y="503"/>
                      </a:lnTo>
                      <a:lnTo>
                        <a:pt x="609" y="532"/>
                      </a:lnTo>
                      <a:lnTo>
                        <a:pt x="598" y="541"/>
                      </a:lnTo>
                      <a:lnTo>
                        <a:pt x="614" y="553"/>
                      </a:lnTo>
                      <a:lnTo>
                        <a:pt x="614" y="558"/>
                      </a:lnTo>
                      <a:lnTo>
                        <a:pt x="593" y="553"/>
                      </a:lnTo>
                      <a:lnTo>
                        <a:pt x="555" y="536"/>
                      </a:lnTo>
                      <a:lnTo>
                        <a:pt x="555" y="532"/>
                      </a:lnTo>
                      <a:lnTo>
                        <a:pt x="527" y="520"/>
                      </a:lnTo>
                      <a:lnTo>
                        <a:pt x="489" y="520"/>
                      </a:lnTo>
                      <a:lnTo>
                        <a:pt x="472" y="532"/>
                      </a:lnTo>
                      <a:lnTo>
                        <a:pt x="468" y="520"/>
                      </a:lnTo>
                      <a:lnTo>
                        <a:pt x="435" y="520"/>
                      </a:lnTo>
                      <a:lnTo>
                        <a:pt x="418" y="532"/>
                      </a:lnTo>
                      <a:lnTo>
                        <a:pt x="413" y="541"/>
                      </a:lnTo>
                      <a:lnTo>
                        <a:pt x="397" y="536"/>
                      </a:lnTo>
                      <a:lnTo>
                        <a:pt x="397" y="520"/>
                      </a:lnTo>
                      <a:lnTo>
                        <a:pt x="392" y="520"/>
                      </a:lnTo>
                      <a:lnTo>
                        <a:pt x="376" y="503"/>
                      </a:lnTo>
                      <a:lnTo>
                        <a:pt x="347" y="520"/>
                      </a:lnTo>
                      <a:lnTo>
                        <a:pt x="342" y="520"/>
                      </a:lnTo>
                      <a:lnTo>
                        <a:pt x="331" y="515"/>
                      </a:lnTo>
                      <a:lnTo>
                        <a:pt x="326" y="515"/>
                      </a:lnTo>
                      <a:lnTo>
                        <a:pt x="326" y="499"/>
                      </a:lnTo>
                      <a:lnTo>
                        <a:pt x="309" y="487"/>
                      </a:lnTo>
                      <a:lnTo>
                        <a:pt x="309" y="475"/>
                      </a:lnTo>
                      <a:lnTo>
                        <a:pt x="272" y="458"/>
                      </a:lnTo>
                      <a:lnTo>
                        <a:pt x="267" y="466"/>
                      </a:lnTo>
                      <a:lnTo>
                        <a:pt x="250" y="458"/>
                      </a:lnTo>
                      <a:lnTo>
                        <a:pt x="239" y="449"/>
                      </a:lnTo>
                      <a:lnTo>
                        <a:pt x="250" y="442"/>
                      </a:lnTo>
                      <a:lnTo>
                        <a:pt x="250" y="433"/>
                      </a:lnTo>
                      <a:lnTo>
                        <a:pt x="224" y="442"/>
                      </a:lnTo>
                      <a:lnTo>
                        <a:pt x="196" y="425"/>
                      </a:lnTo>
                      <a:lnTo>
                        <a:pt x="201" y="442"/>
                      </a:lnTo>
                      <a:lnTo>
                        <a:pt x="170" y="458"/>
                      </a:lnTo>
                      <a:lnTo>
                        <a:pt x="142" y="425"/>
                      </a:lnTo>
                      <a:lnTo>
                        <a:pt x="158" y="409"/>
                      </a:lnTo>
                      <a:lnTo>
                        <a:pt x="142" y="404"/>
                      </a:lnTo>
                      <a:lnTo>
                        <a:pt x="142" y="404"/>
                      </a:lnTo>
                      <a:lnTo>
                        <a:pt x="142" y="40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52" name="Freeform 540">
                  <a:extLst>
                    <a:ext uri="{FF2B5EF4-FFF2-40B4-BE49-F238E27FC236}">
                      <a16:creationId xmlns:a16="http://schemas.microsoft.com/office/drawing/2014/main" id="{F5EAAD2C-1274-4C90-AB74-9F14B68A6ECA}"/>
                    </a:ext>
                  </a:extLst>
                </p:cNvPr>
                <p:cNvSpPr>
                  <a:spLocks/>
                </p:cNvSpPr>
                <p:nvPr/>
              </p:nvSpPr>
              <p:spPr bwMode="gray">
                <a:xfrm>
                  <a:off x="7311631" y="2510422"/>
                  <a:ext cx="272114" cy="172098"/>
                </a:xfrm>
                <a:custGeom>
                  <a:avLst/>
                  <a:gdLst>
                    <a:gd name="T0" fmla="*/ 151 w 661"/>
                    <a:gd name="T1" fmla="*/ 340 h 418"/>
                    <a:gd name="T2" fmla="*/ 151 w 661"/>
                    <a:gd name="T3" fmla="*/ 324 h 418"/>
                    <a:gd name="T4" fmla="*/ 130 w 661"/>
                    <a:gd name="T5" fmla="*/ 340 h 418"/>
                    <a:gd name="T6" fmla="*/ 97 w 661"/>
                    <a:gd name="T7" fmla="*/ 324 h 418"/>
                    <a:gd name="T8" fmla="*/ 80 w 661"/>
                    <a:gd name="T9" fmla="*/ 317 h 418"/>
                    <a:gd name="T10" fmla="*/ 92 w 661"/>
                    <a:gd name="T11" fmla="*/ 307 h 418"/>
                    <a:gd name="T12" fmla="*/ 92 w 661"/>
                    <a:gd name="T13" fmla="*/ 284 h 418"/>
                    <a:gd name="T14" fmla="*/ 38 w 661"/>
                    <a:gd name="T15" fmla="*/ 229 h 418"/>
                    <a:gd name="T16" fmla="*/ 0 w 661"/>
                    <a:gd name="T17" fmla="*/ 196 h 418"/>
                    <a:gd name="T18" fmla="*/ 28 w 661"/>
                    <a:gd name="T19" fmla="*/ 196 h 418"/>
                    <a:gd name="T20" fmla="*/ 71 w 661"/>
                    <a:gd name="T21" fmla="*/ 184 h 418"/>
                    <a:gd name="T22" fmla="*/ 92 w 661"/>
                    <a:gd name="T23" fmla="*/ 140 h 418"/>
                    <a:gd name="T24" fmla="*/ 123 w 661"/>
                    <a:gd name="T25" fmla="*/ 85 h 418"/>
                    <a:gd name="T26" fmla="*/ 146 w 661"/>
                    <a:gd name="T27" fmla="*/ 57 h 418"/>
                    <a:gd name="T28" fmla="*/ 182 w 661"/>
                    <a:gd name="T29" fmla="*/ 29 h 418"/>
                    <a:gd name="T30" fmla="*/ 220 w 661"/>
                    <a:gd name="T31" fmla="*/ 29 h 418"/>
                    <a:gd name="T32" fmla="*/ 295 w 661"/>
                    <a:gd name="T33" fmla="*/ 29 h 418"/>
                    <a:gd name="T34" fmla="*/ 349 w 661"/>
                    <a:gd name="T35" fmla="*/ 29 h 418"/>
                    <a:gd name="T36" fmla="*/ 420 w 661"/>
                    <a:gd name="T37" fmla="*/ 7 h 418"/>
                    <a:gd name="T38" fmla="*/ 468 w 661"/>
                    <a:gd name="T39" fmla="*/ 19 h 418"/>
                    <a:gd name="T40" fmla="*/ 527 w 661"/>
                    <a:gd name="T41" fmla="*/ 102 h 418"/>
                    <a:gd name="T42" fmla="*/ 560 w 661"/>
                    <a:gd name="T43" fmla="*/ 168 h 418"/>
                    <a:gd name="T44" fmla="*/ 553 w 661"/>
                    <a:gd name="T45" fmla="*/ 239 h 418"/>
                    <a:gd name="T46" fmla="*/ 553 w 661"/>
                    <a:gd name="T47" fmla="*/ 262 h 418"/>
                    <a:gd name="T48" fmla="*/ 590 w 661"/>
                    <a:gd name="T49" fmla="*/ 279 h 418"/>
                    <a:gd name="T50" fmla="*/ 649 w 661"/>
                    <a:gd name="T51" fmla="*/ 267 h 418"/>
                    <a:gd name="T52" fmla="*/ 649 w 661"/>
                    <a:gd name="T53" fmla="*/ 317 h 418"/>
                    <a:gd name="T54" fmla="*/ 612 w 661"/>
                    <a:gd name="T55" fmla="*/ 307 h 418"/>
                    <a:gd name="T56" fmla="*/ 612 w 661"/>
                    <a:gd name="T57" fmla="*/ 300 h 418"/>
                    <a:gd name="T58" fmla="*/ 607 w 661"/>
                    <a:gd name="T59" fmla="*/ 317 h 418"/>
                    <a:gd name="T60" fmla="*/ 612 w 661"/>
                    <a:gd name="T61" fmla="*/ 324 h 418"/>
                    <a:gd name="T62" fmla="*/ 590 w 661"/>
                    <a:gd name="T63" fmla="*/ 340 h 418"/>
                    <a:gd name="T64" fmla="*/ 581 w 661"/>
                    <a:gd name="T65" fmla="*/ 357 h 418"/>
                    <a:gd name="T66" fmla="*/ 581 w 661"/>
                    <a:gd name="T67" fmla="*/ 411 h 418"/>
                    <a:gd name="T68" fmla="*/ 538 w 661"/>
                    <a:gd name="T69" fmla="*/ 390 h 418"/>
                    <a:gd name="T70" fmla="*/ 510 w 661"/>
                    <a:gd name="T71" fmla="*/ 378 h 418"/>
                    <a:gd name="T72" fmla="*/ 489 w 661"/>
                    <a:gd name="T73" fmla="*/ 373 h 418"/>
                    <a:gd name="T74" fmla="*/ 413 w 661"/>
                    <a:gd name="T75" fmla="*/ 390 h 418"/>
                    <a:gd name="T76" fmla="*/ 361 w 661"/>
                    <a:gd name="T77" fmla="*/ 418 h 418"/>
                    <a:gd name="T78" fmla="*/ 274 w 661"/>
                    <a:gd name="T79" fmla="*/ 411 h 418"/>
                    <a:gd name="T80" fmla="*/ 182 w 661"/>
                    <a:gd name="T81" fmla="*/ 406 h 418"/>
                    <a:gd name="T82" fmla="*/ 189 w 661"/>
                    <a:gd name="T83" fmla="*/ 378 h 418"/>
                    <a:gd name="T84" fmla="*/ 168 w 661"/>
                    <a:gd name="T85" fmla="*/ 36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1" h="418">
                      <a:moveTo>
                        <a:pt x="168" y="362"/>
                      </a:moveTo>
                      <a:lnTo>
                        <a:pt x="151" y="340"/>
                      </a:lnTo>
                      <a:lnTo>
                        <a:pt x="177" y="340"/>
                      </a:lnTo>
                      <a:lnTo>
                        <a:pt x="151" y="324"/>
                      </a:lnTo>
                      <a:lnTo>
                        <a:pt x="146" y="324"/>
                      </a:lnTo>
                      <a:lnTo>
                        <a:pt x="130" y="340"/>
                      </a:lnTo>
                      <a:lnTo>
                        <a:pt x="123" y="333"/>
                      </a:lnTo>
                      <a:lnTo>
                        <a:pt x="97" y="324"/>
                      </a:lnTo>
                      <a:lnTo>
                        <a:pt x="92" y="317"/>
                      </a:lnTo>
                      <a:lnTo>
                        <a:pt x="80" y="317"/>
                      </a:lnTo>
                      <a:lnTo>
                        <a:pt x="75" y="307"/>
                      </a:lnTo>
                      <a:lnTo>
                        <a:pt x="92" y="307"/>
                      </a:lnTo>
                      <a:lnTo>
                        <a:pt x="75" y="300"/>
                      </a:lnTo>
                      <a:lnTo>
                        <a:pt x="92" y="284"/>
                      </a:lnTo>
                      <a:lnTo>
                        <a:pt x="38" y="251"/>
                      </a:lnTo>
                      <a:lnTo>
                        <a:pt x="38" y="229"/>
                      </a:lnTo>
                      <a:lnTo>
                        <a:pt x="28" y="229"/>
                      </a:lnTo>
                      <a:lnTo>
                        <a:pt x="0" y="196"/>
                      </a:lnTo>
                      <a:lnTo>
                        <a:pt x="16" y="189"/>
                      </a:lnTo>
                      <a:lnTo>
                        <a:pt x="28" y="196"/>
                      </a:lnTo>
                      <a:lnTo>
                        <a:pt x="38" y="184"/>
                      </a:lnTo>
                      <a:lnTo>
                        <a:pt x="71" y="184"/>
                      </a:lnTo>
                      <a:lnTo>
                        <a:pt x="75" y="151"/>
                      </a:lnTo>
                      <a:lnTo>
                        <a:pt x="92" y="140"/>
                      </a:lnTo>
                      <a:lnTo>
                        <a:pt x="97" y="118"/>
                      </a:lnTo>
                      <a:lnTo>
                        <a:pt x="123" y="85"/>
                      </a:lnTo>
                      <a:lnTo>
                        <a:pt x="123" y="73"/>
                      </a:lnTo>
                      <a:lnTo>
                        <a:pt x="146" y="57"/>
                      </a:lnTo>
                      <a:lnTo>
                        <a:pt x="168" y="45"/>
                      </a:lnTo>
                      <a:lnTo>
                        <a:pt x="182" y="29"/>
                      </a:lnTo>
                      <a:lnTo>
                        <a:pt x="205" y="19"/>
                      </a:lnTo>
                      <a:lnTo>
                        <a:pt x="220" y="29"/>
                      </a:lnTo>
                      <a:lnTo>
                        <a:pt x="274" y="29"/>
                      </a:lnTo>
                      <a:lnTo>
                        <a:pt x="295" y="29"/>
                      </a:lnTo>
                      <a:lnTo>
                        <a:pt x="328" y="57"/>
                      </a:lnTo>
                      <a:lnTo>
                        <a:pt x="349" y="29"/>
                      </a:lnTo>
                      <a:lnTo>
                        <a:pt x="413" y="29"/>
                      </a:lnTo>
                      <a:lnTo>
                        <a:pt x="420" y="7"/>
                      </a:lnTo>
                      <a:lnTo>
                        <a:pt x="446" y="0"/>
                      </a:lnTo>
                      <a:lnTo>
                        <a:pt x="468" y="19"/>
                      </a:lnTo>
                      <a:lnTo>
                        <a:pt x="489" y="57"/>
                      </a:lnTo>
                      <a:lnTo>
                        <a:pt x="527" y="102"/>
                      </a:lnTo>
                      <a:lnTo>
                        <a:pt x="543" y="118"/>
                      </a:lnTo>
                      <a:lnTo>
                        <a:pt x="560" y="168"/>
                      </a:lnTo>
                      <a:lnTo>
                        <a:pt x="543" y="196"/>
                      </a:lnTo>
                      <a:lnTo>
                        <a:pt x="553" y="239"/>
                      </a:lnTo>
                      <a:lnTo>
                        <a:pt x="543" y="246"/>
                      </a:lnTo>
                      <a:lnTo>
                        <a:pt x="553" y="262"/>
                      </a:lnTo>
                      <a:lnTo>
                        <a:pt x="564" y="267"/>
                      </a:lnTo>
                      <a:lnTo>
                        <a:pt x="590" y="279"/>
                      </a:lnTo>
                      <a:lnTo>
                        <a:pt x="635" y="262"/>
                      </a:lnTo>
                      <a:lnTo>
                        <a:pt x="649" y="267"/>
                      </a:lnTo>
                      <a:lnTo>
                        <a:pt x="661" y="279"/>
                      </a:lnTo>
                      <a:lnTo>
                        <a:pt x="649" y="317"/>
                      </a:lnTo>
                      <a:lnTo>
                        <a:pt x="612" y="317"/>
                      </a:lnTo>
                      <a:lnTo>
                        <a:pt x="612" y="307"/>
                      </a:lnTo>
                      <a:lnTo>
                        <a:pt x="619" y="300"/>
                      </a:lnTo>
                      <a:lnTo>
                        <a:pt x="612" y="300"/>
                      </a:lnTo>
                      <a:lnTo>
                        <a:pt x="598" y="300"/>
                      </a:lnTo>
                      <a:lnTo>
                        <a:pt x="607" y="317"/>
                      </a:lnTo>
                      <a:lnTo>
                        <a:pt x="598" y="333"/>
                      </a:lnTo>
                      <a:lnTo>
                        <a:pt x="612" y="324"/>
                      </a:lnTo>
                      <a:lnTo>
                        <a:pt x="590" y="333"/>
                      </a:lnTo>
                      <a:lnTo>
                        <a:pt x="590" y="340"/>
                      </a:lnTo>
                      <a:lnTo>
                        <a:pt x="607" y="333"/>
                      </a:lnTo>
                      <a:lnTo>
                        <a:pt x="581" y="357"/>
                      </a:lnTo>
                      <a:lnTo>
                        <a:pt x="590" y="390"/>
                      </a:lnTo>
                      <a:lnTo>
                        <a:pt x="581" y="411"/>
                      </a:lnTo>
                      <a:lnTo>
                        <a:pt x="543" y="406"/>
                      </a:lnTo>
                      <a:lnTo>
                        <a:pt x="538" y="390"/>
                      </a:lnTo>
                      <a:lnTo>
                        <a:pt x="522" y="390"/>
                      </a:lnTo>
                      <a:lnTo>
                        <a:pt x="510" y="378"/>
                      </a:lnTo>
                      <a:lnTo>
                        <a:pt x="501" y="390"/>
                      </a:lnTo>
                      <a:lnTo>
                        <a:pt x="489" y="373"/>
                      </a:lnTo>
                      <a:lnTo>
                        <a:pt x="472" y="373"/>
                      </a:lnTo>
                      <a:lnTo>
                        <a:pt x="413" y="390"/>
                      </a:lnTo>
                      <a:lnTo>
                        <a:pt x="383" y="411"/>
                      </a:lnTo>
                      <a:lnTo>
                        <a:pt x="361" y="418"/>
                      </a:lnTo>
                      <a:lnTo>
                        <a:pt x="295" y="406"/>
                      </a:lnTo>
                      <a:lnTo>
                        <a:pt x="274" y="411"/>
                      </a:lnTo>
                      <a:lnTo>
                        <a:pt x="220" y="395"/>
                      </a:lnTo>
                      <a:lnTo>
                        <a:pt x="182" y="406"/>
                      </a:lnTo>
                      <a:lnTo>
                        <a:pt x="182" y="390"/>
                      </a:lnTo>
                      <a:lnTo>
                        <a:pt x="189" y="378"/>
                      </a:lnTo>
                      <a:lnTo>
                        <a:pt x="168" y="362"/>
                      </a:lnTo>
                      <a:lnTo>
                        <a:pt x="168" y="362"/>
                      </a:lnTo>
                      <a:lnTo>
                        <a:pt x="168" y="36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53" name="Freeform 543">
                  <a:extLst>
                    <a:ext uri="{FF2B5EF4-FFF2-40B4-BE49-F238E27FC236}">
                      <a16:creationId xmlns:a16="http://schemas.microsoft.com/office/drawing/2014/main" id="{DEE5396D-5F02-44D5-AC45-24BE91A3DA66}"/>
                    </a:ext>
                  </a:extLst>
                </p:cNvPr>
                <p:cNvSpPr>
                  <a:spLocks noEditPoints="1"/>
                </p:cNvSpPr>
                <p:nvPr/>
              </p:nvSpPr>
              <p:spPr bwMode="gray">
                <a:xfrm>
                  <a:off x="1738441" y="824034"/>
                  <a:ext cx="10478239" cy="1947006"/>
                </a:xfrm>
                <a:custGeom>
                  <a:avLst/>
                  <a:gdLst>
                    <a:gd name="T0" fmla="*/ 24366 w 25453"/>
                    <a:gd name="T1" fmla="*/ 2721 h 4729"/>
                    <a:gd name="T2" fmla="*/ 23563 w 25453"/>
                    <a:gd name="T3" fmla="*/ 3031 h 4729"/>
                    <a:gd name="T4" fmla="*/ 23076 w 25453"/>
                    <a:gd name="T5" fmla="*/ 3692 h 4729"/>
                    <a:gd name="T6" fmla="*/ 23331 w 25453"/>
                    <a:gd name="T7" fmla="*/ 2809 h 4729"/>
                    <a:gd name="T8" fmla="*/ 22391 w 25453"/>
                    <a:gd name="T9" fmla="*/ 2993 h 4729"/>
                    <a:gd name="T10" fmla="*/ 22018 w 25453"/>
                    <a:gd name="T11" fmla="*/ 3643 h 4729"/>
                    <a:gd name="T12" fmla="*/ 21312 w 25453"/>
                    <a:gd name="T13" fmla="*/ 4578 h 4729"/>
                    <a:gd name="T14" fmla="*/ 20955 w 25453"/>
                    <a:gd name="T15" fmla="*/ 3676 h 4729"/>
                    <a:gd name="T16" fmla="*/ 19167 w 25453"/>
                    <a:gd name="T17" fmla="*/ 3768 h 4729"/>
                    <a:gd name="T18" fmla="*/ 18078 w 25453"/>
                    <a:gd name="T19" fmla="*/ 3936 h 4729"/>
                    <a:gd name="T20" fmla="*/ 17117 w 25453"/>
                    <a:gd name="T21" fmla="*/ 3487 h 4729"/>
                    <a:gd name="T22" fmla="*/ 16424 w 25453"/>
                    <a:gd name="T23" fmla="*/ 3803 h 4729"/>
                    <a:gd name="T24" fmla="*/ 15550 w 25453"/>
                    <a:gd name="T25" fmla="*/ 3931 h 4729"/>
                    <a:gd name="T26" fmla="*/ 15425 w 25453"/>
                    <a:gd name="T27" fmla="*/ 4694 h 4729"/>
                    <a:gd name="T28" fmla="*/ 14821 w 25453"/>
                    <a:gd name="T29" fmla="*/ 4191 h 4729"/>
                    <a:gd name="T30" fmla="*/ 14388 w 25453"/>
                    <a:gd name="T31" fmla="*/ 3581 h 4729"/>
                    <a:gd name="T32" fmla="*/ 14169 w 25453"/>
                    <a:gd name="T33" fmla="*/ 2792 h 4729"/>
                    <a:gd name="T34" fmla="*/ 14471 w 25453"/>
                    <a:gd name="T35" fmla="*/ 1862 h 4729"/>
                    <a:gd name="T36" fmla="*/ 14660 w 25453"/>
                    <a:gd name="T37" fmla="*/ 2488 h 4729"/>
                    <a:gd name="T38" fmla="*/ 15395 w 25453"/>
                    <a:gd name="T39" fmla="*/ 2018 h 4729"/>
                    <a:gd name="T40" fmla="*/ 16278 w 25453"/>
                    <a:gd name="T41" fmla="*/ 1918 h 4729"/>
                    <a:gd name="T42" fmla="*/ 16991 w 25453"/>
                    <a:gd name="T43" fmla="*/ 1368 h 4729"/>
                    <a:gd name="T44" fmla="*/ 17298 w 25453"/>
                    <a:gd name="T45" fmla="*/ 2105 h 4729"/>
                    <a:gd name="T46" fmla="*/ 17407 w 25453"/>
                    <a:gd name="T47" fmla="*/ 1545 h 4729"/>
                    <a:gd name="T48" fmla="*/ 17969 w 25453"/>
                    <a:gd name="T49" fmla="*/ 1718 h 4729"/>
                    <a:gd name="T50" fmla="*/ 18272 w 25453"/>
                    <a:gd name="T51" fmla="*/ 1075 h 4729"/>
                    <a:gd name="T52" fmla="*/ 19103 w 25453"/>
                    <a:gd name="T53" fmla="*/ 891 h 4729"/>
                    <a:gd name="T54" fmla="*/ 20065 w 25453"/>
                    <a:gd name="T55" fmla="*/ 981 h 4729"/>
                    <a:gd name="T56" fmla="*/ 20074 w 25453"/>
                    <a:gd name="T57" fmla="*/ 1290 h 4729"/>
                    <a:gd name="T58" fmla="*/ 21782 w 25453"/>
                    <a:gd name="T59" fmla="*/ 1573 h 4729"/>
                    <a:gd name="T60" fmla="*/ 22644 w 25453"/>
                    <a:gd name="T61" fmla="*/ 1552 h 4729"/>
                    <a:gd name="T62" fmla="*/ 24227 w 25453"/>
                    <a:gd name="T63" fmla="*/ 1767 h 4729"/>
                    <a:gd name="T64" fmla="*/ 25053 w 25453"/>
                    <a:gd name="T65" fmla="*/ 2046 h 4729"/>
                    <a:gd name="T66" fmla="*/ 25205 w 25453"/>
                    <a:gd name="T67" fmla="*/ 2400 h 4729"/>
                    <a:gd name="T68" fmla="*/ 16188 w 25453"/>
                    <a:gd name="T69" fmla="*/ 5 h 4729"/>
                    <a:gd name="T70" fmla="*/ 18557 w 25453"/>
                    <a:gd name="T71" fmla="*/ 236 h 4729"/>
                    <a:gd name="T72" fmla="*/ 16198 w 25453"/>
                    <a:gd name="T73" fmla="*/ 116 h 4729"/>
                    <a:gd name="T74" fmla="*/ 15593 w 25453"/>
                    <a:gd name="T75" fmla="*/ 203 h 4729"/>
                    <a:gd name="T76" fmla="*/ 15345 w 25453"/>
                    <a:gd name="T77" fmla="*/ 236 h 4729"/>
                    <a:gd name="T78" fmla="*/ 15933 w 25453"/>
                    <a:gd name="T79" fmla="*/ 236 h 4729"/>
                    <a:gd name="T80" fmla="*/ 18650 w 25453"/>
                    <a:gd name="T81" fmla="*/ 404 h 4729"/>
                    <a:gd name="T82" fmla="*/ 16252 w 25453"/>
                    <a:gd name="T83" fmla="*/ 322 h 4729"/>
                    <a:gd name="T84" fmla="*/ 19221 w 25453"/>
                    <a:gd name="T85" fmla="*/ 598 h 4729"/>
                    <a:gd name="T86" fmla="*/ 23093 w 25453"/>
                    <a:gd name="T87" fmla="*/ 758 h 4729"/>
                    <a:gd name="T88" fmla="*/ 16727 w 25453"/>
                    <a:gd name="T89" fmla="*/ 832 h 4729"/>
                    <a:gd name="T90" fmla="*/ 18978 w 25453"/>
                    <a:gd name="T91" fmla="*/ 815 h 4729"/>
                    <a:gd name="T92" fmla="*/ 18898 w 25453"/>
                    <a:gd name="T93" fmla="*/ 886 h 4729"/>
                    <a:gd name="T94" fmla="*/ 22046 w 25453"/>
                    <a:gd name="T95" fmla="*/ 931 h 4729"/>
                    <a:gd name="T96" fmla="*/ 16257 w 25453"/>
                    <a:gd name="T97" fmla="*/ 947 h 4729"/>
                    <a:gd name="T98" fmla="*/ 17700 w 25453"/>
                    <a:gd name="T99" fmla="*/ 1129 h 4729"/>
                    <a:gd name="T100" fmla="*/ 18125 w 25453"/>
                    <a:gd name="T101" fmla="*/ 1195 h 4729"/>
                    <a:gd name="T102" fmla="*/ 20700 w 25453"/>
                    <a:gd name="T103" fmla="*/ 1363 h 4729"/>
                    <a:gd name="T104" fmla="*/ 17133 w 25453"/>
                    <a:gd name="T105" fmla="*/ 1314 h 4729"/>
                    <a:gd name="T106" fmla="*/ 15858 w 25453"/>
                    <a:gd name="T107" fmla="*/ 1363 h 4729"/>
                    <a:gd name="T108" fmla="*/ 17693 w 25453"/>
                    <a:gd name="T109" fmla="*/ 1392 h 4729"/>
                    <a:gd name="T110" fmla="*/ 21775 w 25453"/>
                    <a:gd name="T111" fmla="*/ 1552 h 4729"/>
                    <a:gd name="T112" fmla="*/ 16257 w 25453"/>
                    <a:gd name="T113" fmla="*/ 1696 h 4729"/>
                    <a:gd name="T114" fmla="*/ 15534 w 25453"/>
                    <a:gd name="T115" fmla="*/ 1923 h 4729"/>
                    <a:gd name="T116" fmla="*/ 0 w 25453"/>
                    <a:gd name="T117" fmla="*/ 2400 h 4729"/>
                    <a:gd name="T118" fmla="*/ 13590 w 25453"/>
                    <a:gd name="T119" fmla="*/ 3421 h 4729"/>
                    <a:gd name="T120" fmla="*/ 22169 w 25453"/>
                    <a:gd name="T121" fmla="*/ 3659 h 4729"/>
                    <a:gd name="T122" fmla="*/ 23001 w 25453"/>
                    <a:gd name="T123" fmla="*/ 3903 h 4729"/>
                    <a:gd name="T124" fmla="*/ 22483 w 25453"/>
                    <a:gd name="T125" fmla="*/ 4373 h 4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453" h="4729">
                      <a:moveTo>
                        <a:pt x="24735" y="2360"/>
                      </a:moveTo>
                      <a:lnTo>
                        <a:pt x="24706" y="2388"/>
                      </a:lnTo>
                      <a:lnTo>
                        <a:pt x="24638" y="2421"/>
                      </a:lnTo>
                      <a:lnTo>
                        <a:pt x="24654" y="2405"/>
                      </a:lnTo>
                      <a:lnTo>
                        <a:pt x="24572" y="2405"/>
                      </a:lnTo>
                      <a:lnTo>
                        <a:pt x="24562" y="2384"/>
                      </a:lnTo>
                      <a:lnTo>
                        <a:pt x="24517" y="2360"/>
                      </a:lnTo>
                      <a:lnTo>
                        <a:pt x="24479" y="2367"/>
                      </a:lnTo>
                      <a:lnTo>
                        <a:pt x="24529" y="2367"/>
                      </a:lnTo>
                      <a:lnTo>
                        <a:pt x="24550" y="2388"/>
                      </a:lnTo>
                      <a:lnTo>
                        <a:pt x="24529" y="2400"/>
                      </a:lnTo>
                      <a:lnTo>
                        <a:pt x="24508" y="2384"/>
                      </a:lnTo>
                      <a:lnTo>
                        <a:pt x="24491" y="2388"/>
                      </a:lnTo>
                      <a:lnTo>
                        <a:pt x="24465" y="2377"/>
                      </a:lnTo>
                      <a:lnTo>
                        <a:pt x="24442" y="2400"/>
                      </a:lnTo>
                      <a:lnTo>
                        <a:pt x="24352" y="2405"/>
                      </a:lnTo>
                      <a:lnTo>
                        <a:pt x="24437" y="2400"/>
                      </a:lnTo>
                      <a:lnTo>
                        <a:pt x="24465" y="2384"/>
                      </a:lnTo>
                      <a:lnTo>
                        <a:pt x="24491" y="2405"/>
                      </a:lnTo>
                      <a:lnTo>
                        <a:pt x="24465" y="2417"/>
                      </a:lnTo>
                      <a:lnTo>
                        <a:pt x="24465" y="2421"/>
                      </a:lnTo>
                      <a:lnTo>
                        <a:pt x="24491" y="2405"/>
                      </a:lnTo>
                      <a:lnTo>
                        <a:pt x="24513" y="2421"/>
                      </a:lnTo>
                      <a:lnTo>
                        <a:pt x="24529" y="2405"/>
                      </a:lnTo>
                      <a:lnTo>
                        <a:pt x="24567" y="2400"/>
                      </a:lnTo>
                      <a:lnTo>
                        <a:pt x="24550" y="2421"/>
                      </a:lnTo>
                      <a:lnTo>
                        <a:pt x="24572" y="2445"/>
                      </a:lnTo>
                      <a:lnTo>
                        <a:pt x="24605" y="2462"/>
                      </a:lnTo>
                      <a:lnTo>
                        <a:pt x="24621" y="2445"/>
                      </a:lnTo>
                      <a:lnTo>
                        <a:pt x="24626" y="2455"/>
                      </a:lnTo>
                      <a:lnTo>
                        <a:pt x="24638" y="2478"/>
                      </a:lnTo>
                      <a:lnTo>
                        <a:pt x="24626" y="2495"/>
                      </a:lnTo>
                      <a:lnTo>
                        <a:pt x="24642" y="2495"/>
                      </a:lnTo>
                      <a:lnTo>
                        <a:pt x="24654" y="2528"/>
                      </a:lnTo>
                      <a:lnTo>
                        <a:pt x="24642" y="2528"/>
                      </a:lnTo>
                      <a:lnTo>
                        <a:pt x="24621" y="2532"/>
                      </a:lnTo>
                      <a:lnTo>
                        <a:pt x="24654" y="2532"/>
                      </a:lnTo>
                      <a:lnTo>
                        <a:pt x="24654" y="2549"/>
                      </a:lnTo>
                      <a:lnTo>
                        <a:pt x="24642" y="2556"/>
                      </a:lnTo>
                      <a:lnTo>
                        <a:pt x="24659" y="2549"/>
                      </a:lnTo>
                      <a:lnTo>
                        <a:pt x="24654" y="2532"/>
                      </a:lnTo>
                      <a:lnTo>
                        <a:pt x="24668" y="2566"/>
                      </a:lnTo>
                      <a:lnTo>
                        <a:pt x="24659" y="2556"/>
                      </a:lnTo>
                      <a:lnTo>
                        <a:pt x="24659" y="2566"/>
                      </a:lnTo>
                      <a:lnTo>
                        <a:pt x="24697" y="2582"/>
                      </a:lnTo>
                      <a:lnTo>
                        <a:pt x="24697" y="2599"/>
                      </a:lnTo>
                      <a:lnTo>
                        <a:pt x="24680" y="2606"/>
                      </a:lnTo>
                      <a:lnTo>
                        <a:pt x="24706" y="2622"/>
                      </a:lnTo>
                      <a:lnTo>
                        <a:pt x="24706" y="2643"/>
                      </a:lnTo>
                      <a:lnTo>
                        <a:pt x="24676" y="2660"/>
                      </a:lnTo>
                      <a:lnTo>
                        <a:pt x="24680" y="2677"/>
                      </a:lnTo>
                      <a:lnTo>
                        <a:pt x="24676" y="2681"/>
                      </a:lnTo>
                      <a:lnTo>
                        <a:pt x="24600" y="2655"/>
                      </a:lnTo>
                      <a:lnTo>
                        <a:pt x="24550" y="2643"/>
                      </a:lnTo>
                      <a:lnTo>
                        <a:pt x="24550" y="2627"/>
                      </a:lnTo>
                      <a:lnTo>
                        <a:pt x="24562" y="2622"/>
                      </a:lnTo>
                      <a:lnTo>
                        <a:pt x="24546" y="2639"/>
                      </a:lnTo>
                      <a:lnTo>
                        <a:pt x="24529" y="2610"/>
                      </a:lnTo>
                      <a:lnTo>
                        <a:pt x="24529" y="2639"/>
                      </a:lnTo>
                      <a:lnTo>
                        <a:pt x="24550" y="2643"/>
                      </a:lnTo>
                      <a:lnTo>
                        <a:pt x="24508" y="2655"/>
                      </a:lnTo>
                      <a:lnTo>
                        <a:pt x="24479" y="2677"/>
                      </a:lnTo>
                      <a:lnTo>
                        <a:pt x="24373" y="2721"/>
                      </a:lnTo>
                      <a:lnTo>
                        <a:pt x="24357" y="2717"/>
                      </a:lnTo>
                      <a:lnTo>
                        <a:pt x="24366" y="2721"/>
                      </a:lnTo>
                      <a:lnTo>
                        <a:pt x="24357" y="2733"/>
                      </a:lnTo>
                      <a:lnTo>
                        <a:pt x="24328" y="2733"/>
                      </a:lnTo>
                      <a:lnTo>
                        <a:pt x="24319" y="2738"/>
                      </a:lnTo>
                      <a:lnTo>
                        <a:pt x="24302" y="2750"/>
                      </a:lnTo>
                      <a:lnTo>
                        <a:pt x="24290" y="2738"/>
                      </a:lnTo>
                      <a:lnTo>
                        <a:pt x="24281" y="2766"/>
                      </a:lnTo>
                      <a:lnTo>
                        <a:pt x="24276" y="2766"/>
                      </a:lnTo>
                      <a:lnTo>
                        <a:pt x="24260" y="2776"/>
                      </a:lnTo>
                      <a:lnTo>
                        <a:pt x="24243" y="2771"/>
                      </a:lnTo>
                      <a:lnTo>
                        <a:pt x="24227" y="2776"/>
                      </a:lnTo>
                      <a:lnTo>
                        <a:pt x="24243" y="2788"/>
                      </a:lnTo>
                      <a:lnTo>
                        <a:pt x="24227" y="2788"/>
                      </a:lnTo>
                      <a:lnTo>
                        <a:pt x="24239" y="2792"/>
                      </a:lnTo>
                      <a:lnTo>
                        <a:pt x="24222" y="2804"/>
                      </a:lnTo>
                      <a:lnTo>
                        <a:pt x="24205" y="2792"/>
                      </a:lnTo>
                      <a:lnTo>
                        <a:pt x="24205" y="2809"/>
                      </a:lnTo>
                      <a:lnTo>
                        <a:pt x="24210" y="2821"/>
                      </a:lnTo>
                      <a:lnTo>
                        <a:pt x="24194" y="2821"/>
                      </a:lnTo>
                      <a:lnTo>
                        <a:pt x="24184" y="2809"/>
                      </a:lnTo>
                      <a:lnTo>
                        <a:pt x="24189" y="2828"/>
                      </a:lnTo>
                      <a:lnTo>
                        <a:pt x="24184" y="2844"/>
                      </a:lnTo>
                      <a:lnTo>
                        <a:pt x="24172" y="2828"/>
                      </a:lnTo>
                      <a:lnTo>
                        <a:pt x="24172" y="2844"/>
                      </a:lnTo>
                      <a:lnTo>
                        <a:pt x="24151" y="2844"/>
                      </a:lnTo>
                      <a:lnTo>
                        <a:pt x="24151" y="2849"/>
                      </a:lnTo>
                      <a:lnTo>
                        <a:pt x="24135" y="2849"/>
                      </a:lnTo>
                      <a:lnTo>
                        <a:pt x="24135" y="2866"/>
                      </a:lnTo>
                      <a:lnTo>
                        <a:pt x="24080" y="2887"/>
                      </a:lnTo>
                      <a:lnTo>
                        <a:pt x="24080" y="2899"/>
                      </a:lnTo>
                      <a:lnTo>
                        <a:pt x="24076" y="2903"/>
                      </a:lnTo>
                      <a:lnTo>
                        <a:pt x="24064" y="2936"/>
                      </a:lnTo>
                      <a:lnTo>
                        <a:pt x="24059" y="2936"/>
                      </a:lnTo>
                      <a:lnTo>
                        <a:pt x="24033" y="2920"/>
                      </a:lnTo>
                      <a:lnTo>
                        <a:pt x="24021" y="2887"/>
                      </a:lnTo>
                      <a:lnTo>
                        <a:pt x="23979" y="2866"/>
                      </a:lnTo>
                      <a:lnTo>
                        <a:pt x="23979" y="2877"/>
                      </a:lnTo>
                      <a:lnTo>
                        <a:pt x="23913" y="2866"/>
                      </a:lnTo>
                      <a:lnTo>
                        <a:pt x="23832" y="2899"/>
                      </a:lnTo>
                      <a:lnTo>
                        <a:pt x="23761" y="2953"/>
                      </a:lnTo>
                      <a:lnTo>
                        <a:pt x="23773" y="2887"/>
                      </a:lnTo>
                      <a:lnTo>
                        <a:pt x="23778" y="2882"/>
                      </a:lnTo>
                      <a:lnTo>
                        <a:pt x="23757" y="2882"/>
                      </a:lnTo>
                      <a:lnTo>
                        <a:pt x="23702" y="2920"/>
                      </a:lnTo>
                      <a:lnTo>
                        <a:pt x="23686" y="2915"/>
                      </a:lnTo>
                      <a:lnTo>
                        <a:pt x="23702" y="2932"/>
                      </a:lnTo>
                      <a:lnTo>
                        <a:pt x="23681" y="2953"/>
                      </a:lnTo>
                      <a:lnTo>
                        <a:pt x="23665" y="2936"/>
                      </a:lnTo>
                      <a:lnTo>
                        <a:pt x="23648" y="2920"/>
                      </a:lnTo>
                      <a:lnTo>
                        <a:pt x="23643" y="2920"/>
                      </a:lnTo>
                      <a:lnTo>
                        <a:pt x="23643" y="2932"/>
                      </a:lnTo>
                      <a:lnTo>
                        <a:pt x="23627" y="2936"/>
                      </a:lnTo>
                      <a:lnTo>
                        <a:pt x="23627" y="2943"/>
                      </a:lnTo>
                      <a:lnTo>
                        <a:pt x="23617" y="2943"/>
                      </a:lnTo>
                      <a:lnTo>
                        <a:pt x="23627" y="2936"/>
                      </a:lnTo>
                      <a:lnTo>
                        <a:pt x="23617" y="2932"/>
                      </a:lnTo>
                      <a:lnTo>
                        <a:pt x="23596" y="2932"/>
                      </a:lnTo>
                      <a:lnTo>
                        <a:pt x="23601" y="2936"/>
                      </a:lnTo>
                      <a:lnTo>
                        <a:pt x="23596" y="2943"/>
                      </a:lnTo>
                      <a:lnTo>
                        <a:pt x="23572" y="2953"/>
                      </a:lnTo>
                      <a:lnTo>
                        <a:pt x="23572" y="2972"/>
                      </a:lnTo>
                      <a:lnTo>
                        <a:pt x="23558" y="2977"/>
                      </a:lnTo>
                      <a:lnTo>
                        <a:pt x="23572" y="2998"/>
                      </a:lnTo>
                      <a:lnTo>
                        <a:pt x="23563" y="3010"/>
                      </a:lnTo>
                      <a:lnTo>
                        <a:pt x="23546" y="3010"/>
                      </a:lnTo>
                      <a:lnTo>
                        <a:pt x="23563" y="3031"/>
                      </a:lnTo>
                      <a:lnTo>
                        <a:pt x="23546" y="3026"/>
                      </a:lnTo>
                      <a:lnTo>
                        <a:pt x="23542" y="3026"/>
                      </a:lnTo>
                      <a:lnTo>
                        <a:pt x="23546" y="3043"/>
                      </a:lnTo>
                      <a:lnTo>
                        <a:pt x="23504" y="3071"/>
                      </a:lnTo>
                      <a:lnTo>
                        <a:pt x="23487" y="3099"/>
                      </a:lnTo>
                      <a:lnTo>
                        <a:pt x="23471" y="3137"/>
                      </a:lnTo>
                      <a:lnTo>
                        <a:pt x="23487" y="3158"/>
                      </a:lnTo>
                      <a:lnTo>
                        <a:pt x="23504" y="3170"/>
                      </a:lnTo>
                      <a:lnTo>
                        <a:pt x="23504" y="3175"/>
                      </a:lnTo>
                      <a:lnTo>
                        <a:pt x="23520" y="3154"/>
                      </a:lnTo>
                      <a:lnTo>
                        <a:pt x="23563" y="3158"/>
                      </a:lnTo>
                      <a:lnTo>
                        <a:pt x="23563" y="3170"/>
                      </a:lnTo>
                      <a:lnTo>
                        <a:pt x="23558" y="3192"/>
                      </a:lnTo>
                      <a:lnTo>
                        <a:pt x="23525" y="3208"/>
                      </a:lnTo>
                      <a:lnTo>
                        <a:pt x="23535" y="3236"/>
                      </a:lnTo>
                      <a:lnTo>
                        <a:pt x="23535" y="3269"/>
                      </a:lnTo>
                      <a:lnTo>
                        <a:pt x="23542" y="3281"/>
                      </a:lnTo>
                      <a:lnTo>
                        <a:pt x="23563" y="3269"/>
                      </a:lnTo>
                      <a:lnTo>
                        <a:pt x="23572" y="3326"/>
                      </a:lnTo>
                      <a:lnTo>
                        <a:pt x="23546" y="3347"/>
                      </a:lnTo>
                      <a:lnTo>
                        <a:pt x="23525" y="3336"/>
                      </a:lnTo>
                      <a:lnTo>
                        <a:pt x="23525" y="3319"/>
                      </a:lnTo>
                      <a:lnTo>
                        <a:pt x="23558" y="3293"/>
                      </a:lnTo>
                      <a:lnTo>
                        <a:pt x="23546" y="3293"/>
                      </a:lnTo>
                      <a:lnTo>
                        <a:pt x="23542" y="3303"/>
                      </a:lnTo>
                      <a:lnTo>
                        <a:pt x="23525" y="3303"/>
                      </a:lnTo>
                      <a:lnTo>
                        <a:pt x="23504" y="3310"/>
                      </a:lnTo>
                      <a:lnTo>
                        <a:pt x="23520" y="3326"/>
                      </a:lnTo>
                      <a:lnTo>
                        <a:pt x="23483" y="3343"/>
                      </a:lnTo>
                      <a:lnTo>
                        <a:pt x="23454" y="3397"/>
                      </a:lnTo>
                      <a:lnTo>
                        <a:pt x="23466" y="3437"/>
                      </a:lnTo>
                      <a:lnTo>
                        <a:pt x="23487" y="3458"/>
                      </a:lnTo>
                      <a:lnTo>
                        <a:pt x="23487" y="3475"/>
                      </a:lnTo>
                      <a:lnTo>
                        <a:pt x="23454" y="3503"/>
                      </a:lnTo>
                      <a:lnTo>
                        <a:pt x="23428" y="3503"/>
                      </a:lnTo>
                      <a:lnTo>
                        <a:pt x="23416" y="3491"/>
                      </a:lnTo>
                      <a:lnTo>
                        <a:pt x="23383" y="3503"/>
                      </a:lnTo>
                      <a:lnTo>
                        <a:pt x="23341" y="3541"/>
                      </a:lnTo>
                      <a:lnTo>
                        <a:pt x="23324" y="3581"/>
                      </a:lnTo>
                      <a:lnTo>
                        <a:pt x="23331" y="3586"/>
                      </a:lnTo>
                      <a:lnTo>
                        <a:pt x="23331" y="3603"/>
                      </a:lnTo>
                      <a:lnTo>
                        <a:pt x="23324" y="3598"/>
                      </a:lnTo>
                      <a:lnTo>
                        <a:pt x="23341" y="3619"/>
                      </a:lnTo>
                      <a:lnTo>
                        <a:pt x="23341" y="3636"/>
                      </a:lnTo>
                      <a:lnTo>
                        <a:pt x="23308" y="3619"/>
                      </a:lnTo>
                      <a:lnTo>
                        <a:pt x="23270" y="3643"/>
                      </a:lnTo>
                      <a:lnTo>
                        <a:pt x="23249" y="3659"/>
                      </a:lnTo>
                      <a:lnTo>
                        <a:pt x="23239" y="3643"/>
                      </a:lnTo>
                      <a:lnTo>
                        <a:pt x="23223" y="3643"/>
                      </a:lnTo>
                      <a:lnTo>
                        <a:pt x="23223" y="3659"/>
                      </a:lnTo>
                      <a:lnTo>
                        <a:pt x="23239" y="3659"/>
                      </a:lnTo>
                      <a:lnTo>
                        <a:pt x="23232" y="3680"/>
                      </a:lnTo>
                      <a:lnTo>
                        <a:pt x="23223" y="3680"/>
                      </a:lnTo>
                      <a:lnTo>
                        <a:pt x="23232" y="3692"/>
                      </a:lnTo>
                      <a:lnTo>
                        <a:pt x="23232" y="3714"/>
                      </a:lnTo>
                      <a:lnTo>
                        <a:pt x="23218" y="3730"/>
                      </a:lnTo>
                      <a:lnTo>
                        <a:pt x="23218" y="3751"/>
                      </a:lnTo>
                      <a:lnTo>
                        <a:pt x="23105" y="3846"/>
                      </a:lnTo>
                      <a:lnTo>
                        <a:pt x="23109" y="3836"/>
                      </a:lnTo>
                      <a:lnTo>
                        <a:pt x="23093" y="3808"/>
                      </a:lnTo>
                      <a:lnTo>
                        <a:pt x="23093" y="3751"/>
                      </a:lnTo>
                      <a:lnTo>
                        <a:pt x="23076" y="3692"/>
                      </a:lnTo>
                      <a:lnTo>
                        <a:pt x="23088" y="3697"/>
                      </a:lnTo>
                      <a:lnTo>
                        <a:pt x="23088" y="3692"/>
                      </a:lnTo>
                      <a:lnTo>
                        <a:pt x="23076" y="3692"/>
                      </a:lnTo>
                      <a:lnTo>
                        <a:pt x="23060" y="3669"/>
                      </a:lnTo>
                      <a:lnTo>
                        <a:pt x="23022" y="3421"/>
                      </a:lnTo>
                      <a:lnTo>
                        <a:pt x="23034" y="3359"/>
                      </a:lnTo>
                      <a:lnTo>
                        <a:pt x="23055" y="3281"/>
                      </a:lnTo>
                      <a:lnTo>
                        <a:pt x="23088" y="3253"/>
                      </a:lnTo>
                      <a:lnTo>
                        <a:pt x="23093" y="3236"/>
                      </a:lnTo>
                      <a:lnTo>
                        <a:pt x="23105" y="3236"/>
                      </a:lnTo>
                      <a:lnTo>
                        <a:pt x="23126" y="3208"/>
                      </a:lnTo>
                      <a:lnTo>
                        <a:pt x="23126" y="3182"/>
                      </a:lnTo>
                      <a:lnTo>
                        <a:pt x="23109" y="3175"/>
                      </a:lnTo>
                      <a:lnTo>
                        <a:pt x="23126" y="3158"/>
                      </a:lnTo>
                      <a:lnTo>
                        <a:pt x="23142" y="3170"/>
                      </a:lnTo>
                      <a:lnTo>
                        <a:pt x="23157" y="3170"/>
                      </a:lnTo>
                      <a:lnTo>
                        <a:pt x="23168" y="3142"/>
                      </a:lnTo>
                      <a:lnTo>
                        <a:pt x="23218" y="3142"/>
                      </a:lnTo>
                      <a:lnTo>
                        <a:pt x="23320" y="3059"/>
                      </a:lnTo>
                      <a:lnTo>
                        <a:pt x="23324" y="3031"/>
                      </a:lnTo>
                      <a:lnTo>
                        <a:pt x="23362" y="2998"/>
                      </a:lnTo>
                      <a:lnTo>
                        <a:pt x="23374" y="2977"/>
                      </a:lnTo>
                      <a:lnTo>
                        <a:pt x="23395" y="2972"/>
                      </a:lnTo>
                      <a:lnTo>
                        <a:pt x="23438" y="2920"/>
                      </a:lnTo>
                      <a:lnTo>
                        <a:pt x="23466" y="2915"/>
                      </a:lnTo>
                      <a:lnTo>
                        <a:pt x="23471" y="2903"/>
                      </a:lnTo>
                      <a:lnTo>
                        <a:pt x="23471" y="2882"/>
                      </a:lnTo>
                      <a:lnTo>
                        <a:pt x="23535" y="2861"/>
                      </a:lnTo>
                      <a:lnTo>
                        <a:pt x="23542" y="2849"/>
                      </a:lnTo>
                      <a:lnTo>
                        <a:pt x="23596" y="2832"/>
                      </a:lnTo>
                      <a:lnTo>
                        <a:pt x="23596" y="2828"/>
                      </a:lnTo>
                      <a:lnTo>
                        <a:pt x="23579" y="2821"/>
                      </a:lnTo>
                      <a:lnTo>
                        <a:pt x="23617" y="2788"/>
                      </a:lnTo>
                      <a:lnTo>
                        <a:pt x="23617" y="2776"/>
                      </a:lnTo>
                      <a:lnTo>
                        <a:pt x="23601" y="2771"/>
                      </a:lnTo>
                      <a:lnTo>
                        <a:pt x="23610" y="2755"/>
                      </a:lnTo>
                      <a:lnTo>
                        <a:pt x="23617" y="2750"/>
                      </a:lnTo>
                      <a:lnTo>
                        <a:pt x="23627" y="2681"/>
                      </a:lnTo>
                      <a:lnTo>
                        <a:pt x="23655" y="2660"/>
                      </a:lnTo>
                      <a:lnTo>
                        <a:pt x="23698" y="2665"/>
                      </a:lnTo>
                      <a:lnTo>
                        <a:pt x="23709" y="2677"/>
                      </a:lnTo>
                      <a:lnTo>
                        <a:pt x="23698" y="2660"/>
                      </a:lnTo>
                      <a:lnTo>
                        <a:pt x="23735" y="2660"/>
                      </a:lnTo>
                      <a:lnTo>
                        <a:pt x="23686" y="2655"/>
                      </a:lnTo>
                      <a:lnTo>
                        <a:pt x="23643" y="2639"/>
                      </a:lnTo>
                      <a:lnTo>
                        <a:pt x="23563" y="2655"/>
                      </a:lnTo>
                      <a:lnTo>
                        <a:pt x="23558" y="2660"/>
                      </a:lnTo>
                      <a:lnTo>
                        <a:pt x="23572" y="2677"/>
                      </a:lnTo>
                      <a:lnTo>
                        <a:pt x="23558" y="2681"/>
                      </a:lnTo>
                      <a:lnTo>
                        <a:pt x="23558" y="2710"/>
                      </a:lnTo>
                      <a:lnTo>
                        <a:pt x="23542" y="2733"/>
                      </a:lnTo>
                      <a:lnTo>
                        <a:pt x="23572" y="2738"/>
                      </a:lnTo>
                      <a:lnTo>
                        <a:pt x="23563" y="2750"/>
                      </a:lnTo>
                      <a:lnTo>
                        <a:pt x="23546" y="2766"/>
                      </a:lnTo>
                      <a:lnTo>
                        <a:pt x="23535" y="2750"/>
                      </a:lnTo>
                      <a:lnTo>
                        <a:pt x="23525" y="2750"/>
                      </a:lnTo>
                      <a:lnTo>
                        <a:pt x="23535" y="2755"/>
                      </a:lnTo>
                      <a:lnTo>
                        <a:pt x="23504" y="2750"/>
                      </a:lnTo>
                      <a:lnTo>
                        <a:pt x="23400" y="2832"/>
                      </a:lnTo>
                      <a:lnTo>
                        <a:pt x="23395" y="2849"/>
                      </a:lnTo>
                      <a:lnTo>
                        <a:pt x="23362" y="2849"/>
                      </a:lnTo>
                      <a:lnTo>
                        <a:pt x="23346" y="2866"/>
                      </a:lnTo>
                      <a:lnTo>
                        <a:pt x="23357" y="2849"/>
                      </a:lnTo>
                      <a:lnTo>
                        <a:pt x="23346" y="2844"/>
                      </a:lnTo>
                      <a:lnTo>
                        <a:pt x="23362" y="2821"/>
                      </a:lnTo>
                      <a:lnTo>
                        <a:pt x="23346" y="2821"/>
                      </a:lnTo>
                      <a:lnTo>
                        <a:pt x="23324" y="2828"/>
                      </a:lnTo>
                      <a:lnTo>
                        <a:pt x="23331" y="2809"/>
                      </a:lnTo>
                      <a:lnTo>
                        <a:pt x="23331" y="2792"/>
                      </a:lnTo>
                      <a:lnTo>
                        <a:pt x="23324" y="2792"/>
                      </a:lnTo>
                      <a:lnTo>
                        <a:pt x="23362" y="2738"/>
                      </a:lnTo>
                      <a:lnTo>
                        <a:pt x="23362" y="2717"/>
                      </a:lnTo>
                      <a:lnTo>
                        <a:pt x="23303" y="2750"/>
                      </a:lnTo>
                      <a:lnTo>
                        <a:pt x="23294" y="2721"/>
                      </a:lnTo>
                      <a:lnTo>
                        <a:pt x="23287" y="2721"/>
                      </a:lnTo>
                      <a:lnTo>
                        <a:pt x="23202" y="2738"/>
                      </a:lnTo>
                      <a:lnTo>
                        <a:pt x="23164" y="2733"/>
                      </a:lnTo>
                      <a:lnTo>
                        <a:pt x="23109" y="2766"/>
                      </a:lnTo>
                      <a:lnTo>
                        <a:pt x="23105" y="2804"/>
                      </a:lnTo>
                      <a:lnTo>
                        <a:pt x="23060" y="2821"/>
                      </a:lnTo>
                      <a:lnTo>
                        <a:pt x="23055" y="2832"/>
                      </a:lnTo>
                      <a:lnTo>
                        <a:pt x="23050" y="2849"/>
                      </a:lnTo>
                      <a:lnTo>
                        <a:pt x="22984" y="2887"/>
                      </a:lnTo>
                      <a:lnTo>
                        <a:pt x="22963" y="2915"/>
                      </a:lnTo>
                      <a:lnTo>
                        <a:pt x="22946" y="2936"/>
                      </a:lnTo>
                      <a:lnTo>
                        <a:pt x="22930" y="2943"/>
                      </a:lnTo>
                      <a:lnTo>
                        <a:pt x="22942" y="2972"/>
                      </a:lnTo>
                      <a:lnTo>
                        <a:pt x="22925" y="2988"/>
                      </a:lnTo>
                      <a:lnTo>
                        <a:pt x="22925" y="2993"/>
                      </a:lnTo>
                      <a:lnTo>
                        <a:pt x="22953" y="2993"/>
                      </a:lnTo>
                      <a:lnTo>
                        <a:pt x="22946" y="2977"/>
                      </a:lnTo>
                      <a:lnTo>
                        <a:pt x="22984" y="2988"/>
                      </a:lnTo>
                      <a:lnTo>
                        <a:pt x="23001" y="2998"/>
                      </a:lnTo>
                      <a:lnTo>
                        <a:pt x="22996" y="3014"/>
                      </a:lnTo>
                      <a:lnTo>
                        <a:pt x="22968" y="3026"/>
                      </a:lnTo>
                      <a:lnTo>
                        <a:pt x="22946" y="3014"/>
                      </a:lnTo>
                      <a:lnTo>
                        <a:pt x="22942" y="3014"/>
                      </a:lnTo>
                      <a:lnTo>
                        <a:pt x="22930" y="3031"/>
                      </a:lnTo>
                      <a:lnTo>
                        <a:pt x="22916" y="3031"/>
                      </a:lnTo>
                      <a:lnTo>
                        <a:pt x="22899" y="3014"/>
                      </a:lnTo>
                      <a:lnTo>
                        <a:pt x="22871" y="3010"/>
                      </a:lnTo>
                      <a:lnTo>
                        <a:pt x="22861" y="3026"/>
                      </a:lnTo>
                      <a:lnTo>
                        <a:pt x="22845" y="3031"/>
                      </a:lnTo>
                      <a:lnTo>
                        <a:pt x="22840" y="3047"/>
                      </a:lnTo>
                      <a:lnTo>
                        <a:pt x="22802" y="3031"/>
                      </a:lnTo>
                      <a:lnTo>
                        <a:pt x="22786" y="3043"/>
                      </a:lnTo>
                      <a:lnTo>
                        <a:pt x="22779" y="3047"/>
                      </a:lnTo>
                      <a:lnTo>
                        <a:pt x="22731" y="3059"/>
                      </a:lnTo>
                      <a:lnTo>
                        <a:pt x="22710" y="3026"/>
                      </a:lnTo>
                      <a:lnTo>
                        <a:pt x="22791" y="3014"/>
                      </a:lnTo>
                      <a:lnTo>
                        <a:pt x="22765" y="3010"/>
                      </a:lnTo>
                      <a:lnTo>
                        <a:pt x="22748" y="2988"/>
                      </a:lnTo>
                      <a:lnTo>
                        <a:pt x="22731" y="2977"/>
                      </a:lnTo>
                      <a:lnTo>
                        <a:pt x="22698" y="2977"/>
                      </a:lnTo>
                      <a:lnTo>
                        <a:pt x="22698" y="2988"/>
                      </a:lnTo>
                      <a:lnTo>
                        <a:pt x="22682" y="2993"/>
                      </a:lnTo>
                      <a:lnTo>
                        <a:pt x="22682" y="2988"/>
                      </a:lnTo>
                      <a:lnTo>
                        <a:pt x="22665" y="2988"/>
                      </a:lnTo>
                      <a:lnTo>
                        <a:pt x="22682" y="2977"/>
                      </a:lnTo>
                      <a:lnTo>
                        <a:pt x="22606" y="2953"/>
                      </a:lnTo>
                      <a:lnTo>
                        <a:pt x="22568" y="2972"/>
                      </a:lnTo>
                      <a:lnTo>
                        <a:pt x="22576" y="2993"/>
                      </a:lnTo>
                      <a:lnTo>
                        <a:pt x="22559" y="2993"/>
                      </a:lnTo>
                      <a:lnTo>
                        <a:pt x="22552" y="2977"/>
                      </a:lnTo>
                      <a:lnTo>
                        <a:pt x="22547" y="2988"/>
                      </a:lnTo>
                      <a:lnTo>
                        <a:pt x="22547" y="2998"/>
                      </a:lnTo>
                      <a:lnTo>
                        <a:pt x="22559" y="2998"/>
                      </a:lnTo>
                      <a:lnTo>
                        <a:pt x="22559" y="3010"/>
                      </a:lnTo>
                      <a:lnTo>
                        <a:pt x="22521" y="3010"/>
                      </a:lnTo>
                      <a:lnTo>
                        <a:pt x="22521" y="2993"/>
                      </a:lnTo>
                      <a:lnTo>
                        <a:pt x="22505" y="2993"/>
                      </a:lnTo>
                      <a:lnTo>
                        <a:pt x="22462" y="3010"/>
                      </a:lnTo>
                      <a:lnTo>
                        <a:pt x="22391" y="2993"/>
                      </a:lnTo>
                      <a:lnTo>
                        <a:pt x="22375" y="2993"/>
                      </a:lnTo>
                      <a:lnTo>
                        <a:pt x="22375" y="3014"/>
                      </a:lnTo>
                      <a:lnTo>
                        <a:pt x="22354" y="3026"/>
                      </a:lnTo>
                      <a:lnTo>
                        <a:pt x="22337" y="3010"/>
                      </a:lnTo>
                      <a:lnTo>
                        <a:pt x="22342" y="2993"/>
                      </a:lnTo>
                      <a:lnTo>
                        <a:pt x="22207" y="2993"/>
                      </a:lnTo>
                      <a:lnTo>
                        <a:pt x="22160" y="2998"/>
                      </a:lnTo>
                      <a:lnTo>
                        <a:pt x="22084" y="3031"/>
                      </a:lnTo>
                      <a:lnTo>
                        <a:pt x="22051" y="3071"/>
                      </a:lnTo>
                      <a:lnTo>
                        <a:pt x="21980" y="3121"/>
                      </a:lnTo>
                      <a:lnTo>
                        <a:pt x="21964" y="3158"/>
                      </a:lnTo>
                      <a:lnTo>
                        <a:pt x="21938" y="3175"/>
                      </a:lnTo>
                      <a:lnTo>
                        <a:pt x="21900" y="3215"/>
                      </a:lnTo>
                      <a:lnTo>
                        <a:pt x="21872" y="3225"/>
                      </a:lnTo>
                      <a:lnTo>
                        <a:pt x="21857" y="3248"/>
                      </a:lnTo>
                      <a:lnTo>
                        <a:pt x="21834" y="3248"/>
                      </a:lnTo>
                      <a:lnTo>
                        <a:pt x="21803" y="3293"/>
                      </a:lnTo>
                      <a:lnTo>
                        <a:pt x="21803" y="3303"/>
                      </a:lnTo>
                      <a:lnTo>
                        <a:pt x="21775" y="3336"/>
                      </a:lnTo>
                      <a:lnTo>
                        <a:pt x="21683" y="3397"/>
                      </a:lnTo>
                      <a:lnTo>
                        <a:pt x="21668" y="3421"/>
                      </a:lnTo>
                      <a:lnTo>
                        <a:pt x="21619" y="3437"/>
                      </a:lnTo>
                      <a:lnTo>
                        <a:pt x="21598" y="3458"/>
                      </a:lnTo>
                      <a:lnTo>
                        <a:pt x="21602" y="3475"/>
                      </a:lnTo>
                      <a:lnTo>
                        <a:pt x="21635" y="3491"/>
                      </a:lnTo>
                      <a:lnTo>
                        <a:pt x="21711" y="3487"/>
                      </a:lnTo>
                      <a:lnTo>
                        <a:pt x="21711" y="3491"/>
                      </a:lnTo>
                      <a:lnTo>
                        <a:pt x="21706" y="3508"/>
                      </a:lnTo>
                      <a:lnTo>
                        <a:pt x="21711" y="3532"/>
                      </a:lnTo>
                      <a:lnTo>
                        <a:pt x="21694" y="3558"/>
                      </a:lnTo>
                      <a:lnTo>
                        <a:pt x="21706" y="3569"/>
                      </a:lnTo>
                      <a:lnTo>
                        <a:pt x="21737" y="3565"/>
                      </a:lnTo>
                      <a:lnTo>
                        <a:pt x="21744" y="3548"/>
                      </a:lnTo>
                      <a:lnTo>
                        <a:pt x="21728" y="3532"/>
                      </a:lnTo>
                      <a:lnTo>
                        <a:pt x="21737" y="3532"/>
                      </a:lnTo>
                      <a:lnTo>
                        <a:pt x="21775" y="3515"/>
                      </a:lnTo>
                      <a:lnTo>
                        <a:pt x="21744" y="3541"/>
                      </a:lnTo>
                      <a:lnTo>
                        <a:pt x="21744" y="3548"/>
                      </a:lnTo>
                      <a:lnTo>
                        <a:pt x="21765" y="3558"/>
                      </a:lnTo>
                      <a:lnTo>
                        <a:pt x="21782" y="3558"/>
                      </a:lnTo>
                      <a:lnTo>
                        <a:pt x="21765" y="3565"/>
                      </a:lnTo>
                      <a:lnTo>
                        <a:pt x="21758" y="3581"/>
                      </a:lnTo>
                      <a:lnTo>
                        <a:pt x="21737" y="3586"/>
                      </a:lnTo>
                      <a:lnTo>
                        <a:pt x="21744" y="3598"/>
                      </a:lnTo>
                      <a:lnTo>
                        <a:pt x="21791" y="3598"/>
                      </a:lnTo>
                      <a:lnTo>
                        <a:pt x="21813" y="3581"/>
                      </a:lnTo>
                      <a:lnTo>
                        <a:pt x="21820" y="3565"/>
                      </a:lnTo>
                      <a:lnTo>
                        <a:pt x="21834" y="3548"/>
                      </a:lnTo>
                      <a:lnTo>
                        <a:pt x="21834" y="3569"/>
                      </a:lnTo>
                      <a:lnTo>
                        <a:pt x="21813" y="3598"/>
                      </a:lnTo>
                      <a:lnTo>
                        <a:pt x="21829" y="3598"/>
                      </a:lnTo>
                      <a:lnTo>
                        <a:pt x="21834" y="3581"/>
                      </a:lnTo>
                      <a:lnTo>
                        <a:pt x="21850" y="3548"/>
                      </a:lnTo>
                      <a:lnTo>
                        <a:pt x="21846" y="3525"/>
                      </a:lnTo>
                      <a:lnTo>
                        <a:pt x="21834" y="3525"/>
                      </a:lnTo>
                      <a:lnTo>
                        <a:pt x="21888" y="3532"/>
                      </a:lnTo>
                      <a:lnTo>
                        <a:pt x="21909" y="3515"/>
                      </a:lnTo>
                      <a:lnTo>
                        <a:pt x="21954" y="3548"/>
                      </a:lnTo>
                      <a:lnTo>
                        <a:pt x="21954" y="3565"/>
                      </a:lnTo>
                      <a:lnTo>
                        <a:pt x="21976" y="3586"/>
                      </a:lnTo>
                      <a:lnTo>
                        <a:pt x="22009" y="3598"/>
                      </a:lnTo>
                      <a:lnTo>
                        <a:pt x="21997" y="3603"/>
                      </a:lnTo>
                      <a:lnTo>
                        <a:pt x="22035" y="3619"/>
                      </a:lnTo>
                      <a:lnTo>
                        <a:pt x="22035" y="3636"/>
                      </a:lnTo>
                      <a:lnTo>
                        <a:pt x="22018" y="3643"/>
                      </a:lnTo>
                      <a:lnTo>
                        <a:pt x="22018" y="3652"/>
                      </a:lnTo>
                      <a:lnTo>
                        <a:pt x="21980" y="3636"/>
                      </a:lnTo>
                      <a:lnTo>
                        <a:pt x="22018" y="3669"/>
                      </a:lnTo>
                      <a:lnTo>
                        <a:pt x="22030" y="3680"/>
                      </a:lnTo>
                      <a:lnTo>
                        <a:pt x="22013" y="3709"/>
                      </a:lnTo>
                      <a:lnTo>
                        <a:pt x="22046" y="3725"/>
                      </a:lnTo>
                      <a:lnTo>
                        <a:pt x="22030" y="3747"/>
                      </a:lnTo>
                      <a:lnTo>
                        <a:pt x="22035" y="3751"/>
                      </a:lnTo>
                      <a:lnTo>
                        <a:pt x="21997" y="3780"/>
                      </a:lnTo>
                      <a:lnTo>
                        <a:pt x="21997" y="3791"/>
                      </a:lnTo>
                      <a:lnTo>
                        <a:pt x="21992" y="3803"/>
                      </a:lnTo>
                      <a:lnTo>
                        <a:pt x="21997" y="3803"/>
                      </a:lnTo>
                      <a:lnTo>
                        <a:pt x="21997" y="3808"/>
                      </a:lnTo>
                      <a:lnTo>
                        <a:pt x="21980" y="3808"/>
                      </a:lnTo>
                      <a:lnTo>
                        <a:pt x="21980" y="3846"/>
                      </a:lnTo>
                      <a:lnTo>
                        <a:pt x="21976" y="3858"/>
                      </a:lnTo>
                      <a:lnTo>
                        <a:pt x="21964" y="3862"/>
                      </a:lnTo>
                      <a:lnTo>
                        <a:pt x="21964" y="3919"/>
                      </a:lnTo>
                      <a:lnTo>
                        <a:pt x="21976" y="3931"/>
                      </a:lnTo>
                      <a:lnTo>
                        <a:pt x="21980" y="3931"/>
                      </a:lnTo>
                      <a:lnTo>
                        <a:pt x="21959" y="3947"/>
                      </a:lnTo>
                      <a:lnTo>
                        <a:pt x="21976" y="3973"/>
                      </a:lnTo>
                      <a:lnTo>
                        <a:pt x="21959" y="4006"/>
                      </a:lnTo>
                      <a:lnTo>
                        <a:pt x="21959" y="4030"/>
                      </a:lnTo>
                      <a:lnTo>
                        <a:pt x="21954" y="4047"/>
                      </a:lnTo>
                      <a:lnTo>
                        <a:pt x="21942" y="4080"/>
                      </a:lnTo>
                      <a:lnTo>
                        <a:pt x="21883" y="4141"/>
                      </a:lnTo>
                      <a:lnTo>
                        <a:pt x="21867" y="4174"/>
                      </a:lnTo>
                      <a:lnTo>
                        <a:pt x="21834" y="4207"/>
                      </a:lnTo>
                      <a:lnTo>
                        <a:pt x="21820" y="4252"/>
                      </a:lnTo>
                      <a:lnTo>
                        <a:pt x="21796" y="4285"/>
                      </a:lnTo>
                      <a:lnTo>
                        <a:pt x="21683" y="4413"/>
                      </a:lnTo>
                      <a:lnTo>
                        <a:pt x="21668" y="4434"/>
                      </a:lnTo>
                      <a:lnTo>
                        <a:pt x="21640" y="4451"/>
                      </a:lnTo>
                      <a:lnTo>
                        <a:pt x="21631" y="4474"/>
                      </a:lnTo>
                      <a:lnTo>
                        <a:pt x="21614" y="4484"/>
                      </a:lnTo>
                      <a:lnTo>
                        <a:pt x="21619" y="4491"/>
                      </a:lnTo>
                      <a:lnTo>
                        <a:pt x="21619" y="4500"/>
                      </a:lnTo>
                      <a:lnTo>
                        <a:pt x="21586" y="4524"/>
                      </a:lnTo>
                      <a:lnTo>
                        <a:pt x="21527" y="4562"/>
                      </a:lnTo>
                      <a:lnTo>
                        <a:pt x="21505" y="4578"/>
                      </a:lnTo>
                      <a:lnTo>
                        <a:pt x="21456" y="4595"/>
                      </a:lnTo>
                      <a:lnTo>
                        <a:pt x="21442" y="4595"/>
                      </a:lnTo>
                      <a:lnTo>
                        <a:pt x="21442" y="4583"/>
                      </a:lnTo>
                      <a:lnTo>
                        <a:pt x="21435" y="4595"/>
                      </a:lnTo>
                      <a:lnTo>
                        <a:pt x="21425" y="4578"/>
                      </a:lnTo>
                      <a:lnTo>
                        <a:pt x="21413" y="4583"/>
                      </a:lnTo>
                      <a:lnTo>
                        <a:pt x="21404" y="4578"/>
                      </a:lnTo>
                      <a:lnTo>
                        <a:pt x="21397" y="4583"/>
                      </a:lnTo>
                      <a:lnTo>
                        <a:pt x="21397" y="4545"/>
                      </a:lnTo>
                      <a:lnTo>
                        <a:pt x="21371" y="4562"/>
                      </a:lnTo>
                      <a:lnTo>
                        <a:pt x="21366" y="4562"/>
                      </a:lnTo>
                      <a:lnTo>
                        <a:pt x="21380" y="4540"/>
                      </a:lnTo>
                      <a:lnTo>
                        <a:pt x="21359" y="4540"/>
                      </a:lnTo>
                      <a:lnTo>
                        <a:pt x="21333" y="4578"/>
                      </a:lnTo>
                      <a:lnTo>
                        <a:pt x="21317" y="4583"/>
                      </a:lnTo>
                      <a:lnTo>
                        <a:pt x="21317" y="4611"/>
                      </a:lnTo>
                      <a:lnTo>
                        <a:pt x="21312" y="4602"/>
                      </a:lnTo>
                      <a:lnTo>
                        <a:pt x="21279" y="4595"/>
                      </a:lnTo>
                      <a:lnTo>
                        <a:pt x="21295" y="4611"/>
                      </a:lnTo>
                      <a:lnTo>
                        <a:pt x="21279" y="4635"/>
                      </a:lnTo>
                      <a:lnTo>
                        <a:pt x="21274" y="4618"/>
                      </a:lnTo>
                      <a:lnTo>
                        <a:pt x="21274" y="4602"/>
                      </a:lnTo>
                      <a:lnTo>
                        <a:pt x="21262" y="4595"/>
                      </a:lnTo>
                      <a:lnTo>
                        <a:pt x="21312" y="4578"/>
                      </a:lnTo>
                      <a:lnTo>
                        <a:pt x="21312" y="4562"/>
                      </a:lnTo>
                      <a:lnTo>
                        <a:pt x="21328" y="4540"/>
                      </a:lnTo>
                      <a:lnTo>
                        <a:pt x="21317" y="4524"/>
                      </a:lnTo>
                      <a:lnTo>
                        <a:pt x="21328" y="4474"/>
                      </a:lnTo>
                      <a:lnTo>
                        <a:pt x="21312" y="4417"/>
                      </a:lnTo>
                      <a:lnTo>
                        <a:pt x="21295" y="4401"/>
                      </a:lnTo>
                      <a:lnTo>
                        <a:pt x="21333" y="4396"/>
                      </a:lnTo>
                      <a:lnTo>
                        <a:pt x="21366" y="4363"/>
                      </a:lnTo>
                      <a:lnTo>
                        <a:pt x="21371" y="4373"/>
                      </a:lnTo>
                      <a:lnTo>
                        <a:pt x="21435" y="4389"/>
                      </a:lnTo>
                      <a:lnTo>
                        <a:pt x="21451" y="4380"/>
                      </a:lnTo>
                      <a:lnTo>
                        <a:pt x="21451" y="4356"/>
                      </a:lnTo>
                      <a:lnTo>
                        <a:pt x="21472" y="4340"/>
                      </a:lnTo>
                      <a:lnTo>
                        <a:pt x="21472" y="4318"/>
                      </a:lnTo>
                      <a:lnTo>
                        <a:pt x="21505" y="4278"/>
                      </a:lnTo>
                      <a:lnTo>
                        <a:pt x="21510" y="4269"/>
                      </a:lnTo>
                      <a:lnTo>
                        <a:pt x="21505" y="4262"/>
                      </a:lnTo>
                      <a:lnTo>
                        <a:pt x="21510" y="4245"/>
                      </a:lnTo>
                      <a:lnTo>
                        <a:pt x="21522" y="4207"/>
                      </a:lnTo>
                      <a:lnTo>
                        <a:pt x="21527" y="4207"/>
                      </a:lnTo>
                      <a:lnTo>
                        <a:pt x="21527" y="4179"/>
                      </a:lnTo>
                      <a:lnTo>
                        <a:pt x="21548" y="4167"/>
                      </a:lnTo>
                      <a:lnTo>
                        <a:pt x="21565" y="4151"/>
                      </a:lnTo>
                      <a:lnTo>
                        <a:pt x="21548" y="4117"/>
                      </a:lnTo>
                      <a:lnTo>
                        <a:pt x="21565" y="4096"/>
                      </a:lnTo>
                      <a:lnTo>
                        <a:pt x="21543" y="4084"/>
                      </a:lnTo>
                      <a:lnTo>
                        <a:pt x="21494" y="4096"/>
                      </a:lnTo>
                      <a:lnTo>
                        <a:pt x="21479" y="4117"/>
                      </a:lnTo>
                      <a:lnTo>
                        <a:pt x="21451" y="4113"/>
                      </a:lnTo>
                      <a:lnTo>
                        <a:pt x="21418" y="4134"/>
                      </a:lnTo>
                      <a:lnTo>
                        <a:pt x="21413" y="4151"/>
                      </a:lnTo>
                      <a:lnTo>
                        <a:pt x="21305" y="4151"/>
                      </a:lnTo>
                      <a:lnTo>
                        <a:pt x="21295" y="4125"/>
                      </a:lnTo>
                      <a:lnTo>
                        <a:pt x="21279" y="4113"/>
                      </a:lnTo>
                      <a:lnTo>
                        <a:pt x="21291" y="4096"/>
                      </a:lnTo>
                      <a:lnTo>
                        <a:pt x="21274" y="4063"/>
                      </a:lnTo>
                      <a:lnTo>
                        <a:pt x="21279" y="4040"/>
                      </a:lnTo>
                      <a:lnTo>
                        <a:pt x="21253" y="4040"/>
                      </a:lnTo>
                      <a:lnTo>
                        <a:pt x="21224" y="4023"/>
                      </a:lnTo>
                      <a:lnTo>
                        <a:pt x="21208" y="4006"/>
                      </a:lnTo>
                      <a:lnTo>
                        <a:pt x="21203" y="4002"/>
                      </a:lnTo>
                      <a:lnTo>
                        <a:pt x="21198" y="3990"/>
                      </a:lnTo>
                      <a:lnTo>
                        <a:pt x="21170" y="4002"/>
                      </a:lnTo>
                      <a:lnTo>
                        <a:pt x="21149" y="3973"/>
                      </a:lnTo>
                      <a:lnTo>
                        <a:pt x="21078" y="3973"/>
                      </a:lnTo>
                      <a:lnTo>
                        <a:pt x="21057" y="3952"/>
                      </a:lnTo>
                      <a:lnTo>
                        <a:pt x="21057" y="3931"/>
                      </a:lnTo>
                      <a:lnTo>
                        <a:pt x="21064" y="3914"/>
                      </a:lnTo>
                      <a:lnTo>
                        <a:pt x="21047" y="3903"/>
                      </a:lnTo>
                      <a:lnTo>
                        <a:pt x="21040" y="3891"/>
                      </a:lnTo>
                      <a:lnTo>
                        <a:pt x="21047" y="3879"/>
                      </a:lnTo>
                      <a:lnTo>
                        <a:pt x="21040" y="3862"/>
                      </a:lnTo>
                      <a:lnTo>
                        <a:pt x="21019" y="3836"/>
                      </a:lnTo>
                      <a:lnTo>
                        <a:pt x="21019" y="3808"/>
                      </a:lnTo>
                      <a:lnTo>
                        <a:pt x="21009" y="3820"/>
                      </a:lnTo>
                      <a:lnTo>
                        <a:pt x="21019" y="3803"/>
                      </a:lnTo>
                      <a:lnTo>
                        <a:pt x="21009" y="3803"/>
                      </a:lnTo>
                      <a:lnTo>
                        <a:pt x="21002" y="3768"/>
                      </a:lnTo>
                      <a:lnTo>
                        <a:pt x="20981" y="3747"/>
                      </a:lnTo>
                      <a:lnTo>
                        <a:pt x="20993" y="3730"/>
                      </a:lnTo>
                      <a:lnTo>
                        <a:pt x="20972" y="3730"/>
                      </a:lnTo>
                      <a:lnTo>
                        <a:pt x="20981" y="3709"/>
                      </a:lnTo>
                      <a:lnTo>
                        <a:pt x="20965" y="3692"/>
                      </a:lnTo>
                      <a:lnTo>
                        <a:pt x="20950" y="3692"/>
                      </a:lnTo>
                      <a:lnTo>
                        <a:pt x="20955" y="3676"/>
                      </a:lnTo>
                      <a:lnTo>
                        <a:pt x="20927" y="3659"/>
                      </a:lnTo>
                      <a:lnTo>
                        <a:pt x="20934" y="3652"/>
                      </a:lnTo>
                      <a:lnTo>
                        <a:pt x="20927" y="3643"/>
                      </a:lnTo>
                      <a:lnTo>
                        <a:pt x="20896" y="3624"/>
                      </a:lnTo>
                      <a:lnTo>
                        <a:pt x="20875" y="3636"/>
                      </a:lnTo>
                      <a:lnTo>
                        <a:pt x="20846" y="3624"/>
                      </a:lnTo>
                      <a:lnTo>
                        <a:pt x="20830" y="3614"/>
                      </a:lnTo>
                      <a:lnTo>
                        <a:pt x="20820" y="3614"/>
                      </a:lnTo>
                      <a:lnTo>
                        <a:pt x="20787" y="3598"/>
                      </a:lnTo>
                      <a:lnTo>
                        <a:pt x="20587" y="3619"/>
                      </a:lnTo>
                      <a:lnTo>
                        <a:pt x="20535" y="3669"/>
                      </a:lnTo>
                      <a:lnTo>
                        <a:pt x="20539" y="3692"/>
                      </a:lnTo>
                      <a:lnTo>
                        <a:pt x="20561" y="3680"/>
                      </a:lnTo>
                      <a:lnTo>
                        <a:pt x="20577" y="3692"/>
                      </a:lnTo>
                      <a:lnTo>
                        <a:pt x="20577" y="3714"/>
                      </a:lnTo>
                      <a:lnTo>
                        <a:pt x="20587" y="3730"/>
                      </a:lnTo>
                      <a:lnTo>
                        <a:pt x="20577" y="3751"/>
                      </a:lnTo>
                      <a:lnTo>
                        <a:pt x="20539" y="3780"/>
                      </a:lnTo>
                      <a:lnTo>
                        <a:pt x="20518" y="3836"/>
                      </a:lnTo>
                      <a:lnTo>
                        <a:pt x="20502" y="3846"/>
                      </a:lnTo>
                      <a:lnTo>
                        <a:pt x="20497" y="3862"/>
                      </a:lnTo>
                      <a:lnTo>
                        <a:pt x="20468" y="3895"/>
                      </a:lnTo>
                      <a:lnTo>
                        <a:pt x="20485" y="3903"/>
                      </a:lnTo>
                      <a:lnTo>
                        <a:pt x="20485" y="3931"/>
                      </a:lnTo>
                      <a:lnTo>
                        <a:pt x="20468" y="3936"/>
                      </a:lnTo>
                      <a:lnTo>
                        <a:pt x="20431" y="3947"/>
                      </a:lnTo>
                      <a:lnTo>
                        <a:pt x="20388" y="3985"/>
                      </a:lnTo>
                      <a:lnTo>
                        <a:pt x="20301" y="3952"/>
                      </a:lnTo>
                      <a:lnTo>
                        <a:pt x="20291" y="3947"/>
                      </a:lnTo>
                      <a:lnTo>
                        <a:pt x="20270" y="3936"/>
                      </a:lnTo>
                      <a:lnTo>
                        <a:pt x="20232" y="3947"/>
                      </a:lnTo>
                      <a:lnTo>
                        <a:pt x="20209" y="3947"/>
                      </a:lnTo>
                      <a:lnTo>
                        <a:pt x="20171" y="3914"/>
                      </a:lnTo>
                      <a:lnTo>
                        <a:pt x="20128" y="3903"/>
                      </a:lnTo>
                      <a:lnTo>
                        <a:pt x="20053" y="3952"/>
                      </a:lnTo>
                      <a:lnTo>
                        <a:pt x="20048" y="3973"/>
                      </a:lnTo>
                      <a:lnTo>
                        <a:pt x="19923" y="4002"/>
                      </a:lnTo>
                      <a:lnTo>
                        <a:pt x="19885" y="4014"/>
                      </a:lnTo>
                      <a:lnTo>
                        <a:pt x="19800" y="4006"/>
                      </a:lnTo>
                      <a:lnTo>
                        <a:pt x="19779" y="3990"/>
                      </a:lnTo>
                      <a:lnTo>
                        <a:pt x="19729" y="4002"/>
                      </a:lnTo>
                      <a:lnTo>
                        <a:pt x="19687" y="3969"/>
                      </a:lnTo>
                      <a:lnTo>
                        <a:pt x="19691" y="3947"/>
                      </a:lnTo>
                      <a:lnTo>
                        <a:pt x="19628" y="3936"/>
                      </a:lnTo>
                      <a:lnTo>
                        <a:pt x="19620" y="3919"/>
                      </a:lnTo>
                      <a:lnTo>
                        <a:pt x="19599" y="3903"/>
                      </a:lnTo>
                      <a:lnTo>
                        <a:pt x="19566" y="3903"/>
                      </a:lnTo>
                      <a:lnTo>
                        <a:pt x="19552" y="3895"/>
                      </a:lnTo>
                      <a:lnTo>
                        <a:pt x="19507" y="3891"/>
                      </a:lnTo>
                      <a:lnTo>
                        <a:pt x="19439" y="3903"/>
                      </a:lnTo>
                      <a:lnTo>
                        <a:pt x="19410" y="3919"/>
                      </a:lnTo>
                      <a:lnTo>
                        <a:pt x="19401" y="3919"/>
                      </a:lnTo>
                      <a:lnTo>
                        <a:pt x="19389" y="3919"/>
                      </a:lnTo>
                      <a:lnTo>
                        <a:pt x="19356" y="3919"/>
                      </a:lnTo>
                      <a:lnTo>
                        <a:pt x="19351" y="3903"/>
                      </a:lnTo>
                      <a:lnTo>
                        <a:pt x="19335" y="3903"/>
                      </a:lnTo>
                      <a:lnTo>
                        <a:pt x="19292" y="3879"/>
                      </a:lnTo>
                      <a:lnTo>
                        <a:pt x="19297" y="3862"/>
                      </a:lnTo>
                      <a:lnTo>
                        <a:pt x="19280" y="3858"/>
                      </a:lnTo>
                      <a:lnTo>
                        <a:pt x="19292" y="3841"/>
                      </a:lnTo>
                      <a:lnTo>
                        <a:pt x="19280" y="3825"/>
                      </a:lnTo>
                      <a:lnTo>
                        <a:pt x="19280" y="3808"/>
                      </a:lnTo>
                      <a:lnTo>
                        <a:pt x="19243" y="3791"/>
                      </a:lnTo>
                      <a:lnTo>
                        <a:pt x="19226" y="3803"/>
                      </a:lnTo>
                      <a:lnTo>
                        <a:pt x="19167" y="3768"/>
                      </a:lnTo>
                      <a:lnTo>
                        <a:pt x="19129" y="3768"/>
                      </a:lnTo>
                      <a:lnTo>
                        <a:pt x="19049" y="3730"/>
                      </a:lnTo>
                      <a:lnTo>
                        <a:pt x="19032" y="3763"/>
                      </a:lnTo>
                      <a:lnTo>
                        <a:pt x="19011" y="3768"/>
                      </a:lnTo>
                      <a:lnTo>
                        <a:pt x="19006" y="3791"/>
                      </a:lnTo>
                      <a:lnTo>
                        <a:pt x="18990" y="3791"/>
                      </a:lnTo>
                      <a:lnTo>
                        <a:pt x="18973" y="3841"/>
                      </a:lnTo>
                      <a:lnTo>
                        <a:pt x="18990" y="3858"/>
                      </a:lnTo>
                      <a:lnTo>
                        <a:pt x="18990" y="3862"/>
                      </a:lnTo>
                      <a:lnTo>
                        <a:pt x="18990" y="3874"/>
                      </a:lnTo>
                      <a:lnTo>
                        <a:pt x="19011" y="3891"/>
                      </a:lnTo>
                      <a:lnTo>
                        <a:pt x="19011" y="3903"/>
                      </a:lnTo>
                      <a:lnTo>
                        <a:pt x="18994" y="3931"/>
                      </a:lnTo>
                      <a:lnTo>
                        <a:pt x="18969" y="3936"/>
                      </a:lnTo>
                      <a:lnTo>
                        <a:pt x="18940" y="3957"/>
                      </a:lnTo>
                      <a:lnTo>
                        <a:pt x="18919" y="3947"/>
                      </a:lnTo>
                      <a:lnTo>
                        <a:pt x="18886" y="3952"/>
                      </a:lnTo>
                      <a:lnTo>
                        <a:pt x="18848" y="3936"/>
                      </a:lnTo>
                      <a:lnTo>
                        <a:pt x="18843" y="3947"/>
                      </a:lnTo>
                      <a:lnTo>
                        <a:pt x="18834" y="3936"/>
                      </a:lnTo>
                      <a:lnTo>
                        <a:pt x="18810" y="3947"/>
                      </a:lnTo>
                      <a:lnTo>
                        <a:pt x="18780" y="3936"/>
                      </a:lnTo>
                      <a:lnTo>
                        <a:pt x="18772" y="3931"/>
                      </a:lnTo>
                      <a:lnTo>
                        <a:pt x="18751" y="3936"/>
                      </a:lnTo>
                      <a:lnTo>
                        <a:pt x="18735" y="3914"/>
                      </a:lnTo>
                      <a:lnTo>
                        <a:pt x="18725" y="3879"/>
                      </a:lnTo>
                      <a:lnTo>
                        <a:pt x="18645" y="3879"/>
                      </a:lnTo>
                      <a:lnTo>
                        <a:pt x="18633" y="3874"/>
                      </a:lnTo>
                      <a:lnTo>
                        <a:pt x="18633" y="3858"/>
                      </a:lnTo>
                      <a:lnTo>
                        <a:pt x="18628" y="3858"/>
                      </a:lnTo>
                      <a:lnTo>
                        <a:pt x="18612" y="3874"/>
                      </a:lnTo>
                      <a:lnTo>
                        <a:pt x="18591" y="3858"/>
                      </a:lnTo>
                      <a:lnTo>
                        <a:pt x="18579" y="3862"/>
                      </a:lnTo>
                      <a:lnTo>
                        <a:pt x="18546" y="3874"/>
                      </a:lnTo>
                      <a:lnTo>
                        <a:pt x="18524" y="3891"/>
                      </a:lnTo>
                      <a:lnTo>
                        <a:pt x="18494" y="3895"/>
                      </a:lnTo>
                      <a:lnTo>
                        <a:pt x="18482" y="3914"/>
                      </a:lnTo>
                      <a:lnTo>
                        <a:pt x="18432" y="3931"/>
                      </a:lnTo>
                      <a:lnTo>
                        <a:pt x="18428" y="3936"/>
                      </a:lnTo>
                      <a:lnTo>
                        <a:pt x="18402" y="3947"/>
                      </a:lnTo>
                      <a:lnTo>
                        <a:pt x="18411" y="3957"/>
                      </a:lnTo>
                      <a:lnTo>
                        <a:pt x="18380" y="3973"/>
                      </a:lnTo>
                      <a:lnTo>
                        <a:pt x="18373" y="3969"/>
                      </a:lnTo>
                      <a:lnTo>
                        <a:pt x="18373" y="3985"/>
                      </a:lnTo>
                      <a:lnTo>
                        <a:pt x="18357" y="3985"/>
                      </a:lnTo>
                      <a:lnTo>
                        <a:pt x="18347" y="3973"/>
                      </a:lnTo>
                      <a:lnTo>
                        <a:pt x="18347" y="3990"/>
                      </a:lnTo>
                      <a:lnTo>
                        <a:pt x="18305" y="3985"/>
                      </a:lnTo>
                      <a:lnTo>
                        <a:pt x="18293" y="3990"/>
                      </a:lnTo>
                      <a:lnTo>
                        <a:pt x="18293" y="4006"/>
                      </a:lnTo>
                      <a:lnTo>
                        <a:pt x="18276" y="4014"/>
                      </a:lnTo>
                      <a:lnTo>
                        <a:pt x="18239" y="4023"/>
                      </a:lnTo>
                      <a:lnTo>
                        <a:pt x="18239" y="4006"/>
                      </a:lnTo>
                      <a:lnTo>
                        <a:pt x="18213" y="4002"/>
                      </a:lnTo>
                      <a:lnTo>
                        <a:pt x="18213" y="3985"/>
                      </a:lnTo>
                      <a:lnTo>
                        <a:pt x="18184" y="3973"/>
                      </a:lnTo>
                      <a:lnTo>
                        <a:pt x="18201" y="3957"/>
                      </a:lnTo>
                      <a:lnTo>
                        <a:pt x="18201" y="3952"/>
                      </a:lnTo>
                      <a:lnTo>
                        <a:pt x="18184" y="3952"/>
                      </a:lnTo>
                      <a:lnTo>
                        <a:pt x="18163" y="3985"/>
                      </a:lnTo>
                      <a:lnTo>
                        <a:pt x="18125" y="3973"/>
                      </a:lnTo>
                      <a:lnTo>
                        <a:pt x="18092" y="3973"/>
                      </a:lnTo>
                      <a:lnTo>
                        <a:pt x="18087" y="3947"/>
                      </a:lnTo>
                      <a:lnTo>
                        <a:pt x="18078" y="3947"/>
                      </a:lnTo>
                      <a:lnTo>
                        <a:pt x="18078" y="3936"/>
                      </a:lnTo>
                      <a:lnTo>
                        <a:pt x="18078" y="3931"/>
                      </a:lnTo>
                      <a:lnTo>
                        <a:pt x="18033" y="3914"/>
                      </a:lnTo>
                      <a:lnTo>
                        <a:pt x="18002" y="3858"/>
                      </a:lnTo>
                      <a:lnTo>
                        <a:pt x="17969" y="3841"/>
                      </a:lnTo>
                      <a:lnTo>
                        <a:pt x="17915" y="3846"/>
                      </a:lnTo>
                      <a:lnTo>
                        <a:pt x="17915" y="3858"/>
                      </a:lnTo>
                      <a:lnTo>
                        <a:pt x="17898" y="3862"/>
                      </a:lnTo>
                      <a:lnTo>
                        <a:pt x="17835" y="3862"/>
                      </a:lnTo>
                      <a:lnTo>
                        <a:pt x="17823" y="3841"/>
                      </a:lnTo>
                      <a:lnTo>
                        <a:pt x="17802" y="3846"/>
                      </a:lnTo>
                      <a:lnTo>
                        <a:pt x="17806" y="3825"/>
                      </a:lnTo>
                      <a:lnTo>
                        <a:pt x="17780" y="3808"/>
                      </a:lnTo>
                      <a:lnTo>
                        <a:pt x="17769" y="3820"/>
                      </a:lnTo>
                      <a:lnTo>
                        <a:pt x="17752" y="3825"/>
                      </a:lnTo>
                      <a:lnTo>
                        <a:pt x="17764" y="3841"/>
                      </a:lnTo>
                      <a:lnTo>
                        <a:pt x="17731" y="3858"/>
                      </a:lnTo>
                      <a:lnTo>
                        <a:pt x="17731" y="3862"/>
                      </a:lnTo>
                      <a:lnTo>
                        <a:pt x="17575" y="3619"/>
                      </a:lnTo>
                      <a:lnTo>
                        <a:pt x="17483" y="3548"/>
                      </a:lnTo>
                      <a:lnTo>
                        <a:pt x="17478" y="3532"/>
                      </a:lnTo>
                      <a:lnTo>
                        <a:pt x="17495" y="3532"/>
                      </a:lnTo>
                      <a:lnTo>
                        <a:pt x="17511" y="3525"/>
                      </a:lnTo>
                      <a:lnTo>
                        <a:pt x="17499" y="3508"/>
                      </a:lnTo>
                      <a:lnTo>
                        <a:pt x="17478" y="3515"/>
                      </a:lnTo>
                      <a:lnTo>
                        <a:pt x="17461" y="3515"/>
                      </a:lnTo>
                      <a:lnTo>
                        <a:pt x="17461" y="3525"/>
                      </a:lnTo>
                      <a:lnTo>
                        <a:pt x="17407" y="3541"/>
                      </a:lnTo>
                      <a:lnTo>
                        <a:pt x="17402" y="3541"/>
                      </a:lnTo>
                      <a:lnTo>
                        <a:pt x="17407" y="3548"/>
                      </a:lnTo>
                      <a:lnTo>
                        <a:pt x="17374" y="3569"/>
                      </a:lnTo>
                      <a:lnTo>
                        <a:pt x="17360" y="3565"/>
                      </a:lnTo>
                      <a:lnTo>
                        <a:pt x="17353" y="3581"/>
                      </a:lnTo>
                      <a:lnTo>
                        <a:pt x="17336" y="3581"/>
                      </a:lnTo>
                      <a:lnTo>
                        <a:pt x="17336" y="3603"/>
                      </a:lnTo>
                      <a:lnTo>
                        <a:pt x="17322" y="3586"/>
                      </a:lnTo>
                      <a:lnTo>
                        <a:pt x="17298" y="3586"/>
                      </a:lnTo>
                      <a:lnTo>
                        <a:pt x="17284" y="3586"/>
                      </a:lnTo>
                      <a:lnTo>
                        <a:pt x="17268" y="3603"/>
                      </a:lnTo>
                      <a:lnTo>
                        <a:pt x="17251" y="3586"/>
                      </a:lnTo>
                      <a:lnTo>
                        <a:pt x="17268" y="3565"/>
                      </a:lnTo>
                      <a:lnTo>
                        <a:pt x="17284" y="3565"/>
                      </a:lnTo>
                      <a:lnTo>
                        <a:pt x="17294" y="3541"/>
                      </a:lnTo>
                      <a:lnTo>
                        <a:pt x="17251" y="3558"/>
                      </a:lnTo>
                      <a:lnTo>
                        <a:pt x="17239" y="3548"/>
                      </a:lnTo>
                      <a:lnTo>
                        <a:pt x="17230" y="3541"/>
                      </a:lnTo>
                      <a:lnTo>
                        <a:pt x="17209" y="3532"/>
                      </a:lnTo>
                      <a:lnTo>
                        <a:pt x="17197" y="3548"/>
                      </a:lnTo>
                      <a:lnTo>
                        <a:pt x="17213" y="3541"/>
                      </a:lnTo>
                      <a:lnTo>
                        <a:pt x="17213" y="3558"/>
                      </a:lnTo>
                      <a:lnTo>
                        <a:pt x="17197" y="3558"/>
                      </a:lnTo>
                      <a:lnTo>
                        <a:pt x="17192" y="3558"/>
                      </a:lnTo>
                      <a:lnTo>
                        <a:pt x="17197" y="3532"/>
                      </a:lnTo>
                      <a:lnTo>
                        <a:pt x="17185" y="3532"/>
                      </a:lnTo>
                      <a:lnTo>
                        <a:pt x="17192" y="3525"/>
                      </a:lnTo>
                      <a:lnTo>
                        <a:pt x="17176" y="3515"/>
                      </a:lnTo>
                      <a:lnTo>
                        <a:pt x="17171" y="3508"/>
                      </a:lnTo>
                      <a:lnTo>
                        <a:pt x="17176" y="3541"/>
                      </a:lnTo>
                      <a:lnTo>
                        <a:pt x="17143" y="3525"/>
                      </a:lnTo>
                      <a:lnTo>
                        <a:pt x="17138" y="3541"/>
                      </a:lnTo>
                      <a:lnTo>
                        <a:pt x="17121" y="3532"/>
                      </a:lnTo>
                      <a:lnTo>
                        <a:pt x="17105" y="3541"/>
                      </a:lnTo>
                      <a:lnTo>
                        <a:pt x="17088" y="3515"/>
                      </a:lnTo>
                      <a:lnTo>
                        <a:pt x="17105" y="3515"/>
                      </a:lnTo>
                      <a:lnTo>
                        <a:pt x="17105" y="3491"/>
                      </a:lnTo>
                      <a:lnTo>
                        <a:pt x="17117" y="3487"/>
                      </a:lnTo>
                      <a:lnTo>
                        <a:pt x="17100" y="3470"/>
                      </a:lnTo>
                      <a:lnTo>
                        <a:pt x="17088" y="3447"/>
                      </a:lnTo>
                      <a:lnTo>
                        <a:pt x="17083" y="3421"/>
                      </a:lnTo>
                      <a:lnTo>
                        <a:pt x="17062" y="3421"/>
                      </a:lnTo>
                      <a:lnTo>
                        <a:pt x="17046" y="3437"/>
                      </a:lnTo>
                      <a:lnTo>
                        <a:pt x="16996" y="3414"/>
                      </a:lnTo>
                      <a:lnTo>
                        <a:pt x="16975" y="3414"/>
                      </a:lnTo>
                      <a:lnTo>
                        <a:pt x="16970" y="3421"/>
                      </a:lnTo>
                      <a:lnTo>
                        <a:pt x="16954" y="3404"/>
                      </a:lnTo>
                      <a:lnTo>
                        <a:pt x="16954" y="3421"/>
                      </a:lnTo>
                      <a:lnTo>
                        <a:pt x="16937" y="3414"/>
                      </a:lnTo>
                      <a:lnTo>
                        <a:pt x="16928" y="3430"/>
                      </a:lnTo>
                      <a:lnTo>
                        <a:pt x="16899" y="3430"/>
                      </a:lnTo>
                      <a:lnTo>
                        <a:pt x="16906" y="3447"/>
                      </a:lnTo>
                      <a:lnTo>
                        <a:pt x="16899" y="3454"/>
                      </a:lnTo>
                      <a:lnTo>
                        <a:pt x="16883" y="3454"/>
                      </a:lnTo>
                      <a:lnTo>
                        <a:pt x="16852" y="3470"/>
                      </a:lnTo>
                      <a:lnTo>
                        <a:pt x="16743" y="3491"/>
                      </a:lnTo>
                      <a:lnTo>
                        <a:pt x="16743" y="3475"/>
                      </a:lnTo>
                      <a:lnTo>
                        <a:pt x="16727" y="3491"/>
                      </a:lnTo>
                      <a:lnTo>
                        <a:pt x="16706" y="3487"/>
                      </a:lnTo>
                      <a:lnTo>
                        <a:pt x="16689" y="3503"/>
                      </a:lnTo>
                      <a:lnTo>
                        <a:pt x="16689" y="3515"/>
                      </a:lnTo>
                      <a:lnTo>
                        <a:pt x="16668" y="3508"/>
                      </a:lnTo>
                      <a:lnTo>
                        <a:pt x="16604" y="3515"/>
                      </a:lnTo>
                      <a:lnTo>
                        <a:pt x="16604" y="3525"/>
                      </a:lnTo>
                      <a:lnTo>
                        <a:pt x="16597" y="3532"/>
                      </a:lnTo>
                      <a:lnTo>
                        <a:pt x="16580" y="3525"/>
                      </a:lnTo>
                      <a:lnTo>
                        <a:pt x="16543" y="3532"/>
                      </a:lnTo>
                      <a:lnTo>
                        <a:pt x="16543" y="3541"/>
                      </a:lnTo>
                      <a:lnTo>
                        <a:pt x="16505" y="3548"/>
                      </a:lnTo>
                      <a:lnTo>
                        <a:pt x="16505" y="3565"/>
                      </a:lnTo>
                      <a:lnTo>
                        <a:pt x="16491" y="3548"/>
                      </a:lnTo>
                      <a:lnTo>
                        <a:pt x="16467" y="3548"/>
                      </a:lnTo>
                      <a:lnTo>
                        <a:pt x="16467" y="3558"/>
                      </a:lnTo>
                      <a:lnTo>
                        <a:pt x="16420" y="3541"/>
                      </a:lnTo>
                      <a:lnTo>
                        <a:pt x="16398" y="3558"/>
                      </a:lnTo>
                      <a:lnTo>
                        <a:pt x="16398" y="3565"/>
                      </a:lnTo>
                      <a:lnTo>
                        <a:pt x="16415" y="3569"/>
                      </a:lnTo>
                      <a:lnTo>
                        <a:pt x="16398" y="3586"/>
                      </a:lnTo>
                      <a:lnTo>
                        <a:pt x="16387" y="3586"/>
                      </a:lnTo>
                      <a:lnTo>
                        <a:pt x="16424" y="3586"/>
                      </a:lnTo>
                      <a:lnTo>
                        <a:pt x="16436" y="3598"/>
                      </a:lnTo>
                      <a:lnTo>
                        <a:pt x="16420" y="3603"/>
                      </a:lnTo>
                      <a:lnTo>
                        <a:pt x="16415" y="3598"/>
                      </a:lnTo>
                      <a:lnTo>
                        <a:pt x="16403" y="3619"/>
                      </a:lnTo>
                      <a:lnTo>
                        <a:pt x="16474" y="3636"/>
                      </a:lnTo>
                      <a:lnTo>
                        <a:pt x="16474" y="3652"/>
                      </a:lnTo>
                      <a:lnTo>
                        <a:pt x="16458" y="3652"/>
                      </a:lnTo>
                      <a:lnTo>
                        <a:pt x="16424" y="3643"/>
                      </a:lnTo>
                      <a:lnTo>
                        <a:pt x="16398" y="3652"/>
                      </a:lnTo>
                      <a:lnTo>
                        <a:pt x="16370" y="3680"/>
                      </a:lnTo>
                      <a:lnTo>
                        <a:pt x="16382" y="3680"/>
                      </a:lnTo>
                      <a:lnTo>
                        <a:pt x="16382" y="3692"/>
                      </a:lnTo>
                      <a:lnTo>
                        <a:pt x="16387" y="3697"/>
                      </a:lnTo>
                      <a:lnTo>
                        <a:pt x="16398" y="3714"/>
                      </a:lnTo>
                      <a:lnTo>
                        <a:pt x="16370" y="3730"/>
                      </a:lnTo>
                      <a:lnTo>
                        <a:pt x="16361" y="3730"/>
                      </a:lnTo>
                      <a:lnTo>
                        <a:pt x="16316" y="3747"/>
                      </a:lnTo>
                      <a:lnTo>
                        <a:pt x="16328" y="3751"/>
                      </a:lnTo>
                      <a:lnTo>
                        <a:pt x="16361" y="3763"/>
                      </a:lnTo>
                      <a:lnTo>
                        <a:pt x="16349" y="3780"/>
                      </a:lnTo>
                      <a:lnTo>
                        <a:pt x="16387" y="3787"/>
                      </a:lnTo>
                      <a:lnTo>
                        <a:pt x="16387" y="3791"/>
                      </a:lnTo>
                      <a:lnTo>
                        <a:pt x="16424" y="3803"/>
                      </a:lnTo>
                      <a:lnTo>
                        <a:pt x="16441" y="3820"/>
                      </a:lnTo>
                      <a:lnTo>
                        <a:pt x="16436" y="3820"/>
                      </a:lnTo>
                      <a:lnTo>
                        <a:pt x="16420" y="3862"/>
                      </a:lnTo>
                      <a:lnTo>
                        <a:pt x="16370" y="3874"/>
                      </a:lnTo>
                      <a:lnTo>
                        <a:pt x="16344" y="3874"/>
                      </a:lnTo>
                      <a:lnTo>
                        <a:pt x="16328" y="3858"/>
                      </a:lnTo>
                      <a:lnTo>
                        <a:pt x="16311" y="3879"/>
                      </a:lnTo>
                      <a:lnTo>
                        <a:pt x="16290" y="3891"/>
                      </a:lnTo>
                      <a:lnTo>
                        <a:pt x="16295" y="3879"/>
                      </a:lnTo>
                      <a:lnTo>
                        <a:pt x="16290" y="3874"/>
                      </a:lnTo>
                      <a:lnTo>
                        <a:pt x="16252" y="3874"/>
                      </a:lnTo>
                      <a:lnTo>
                        <a:pt x="16226" y="3858"/>
                      </a:lnTo>
                      <a:lnTo>
                        <a:pt x="16219" y="3846"/>
                      </a:lnTo>
                      <a:lnTo>
                        <a:pt x="16226" y="3836"/>
                      </a:lnTo>
                      <a:lnTo>
                        <a:pt x="16202" y="3825"/>
                      </a:lnTo>
                      <a:lnTo>
                        <a:pt x="16198" y="3836"/>
                      </a:lnTo>
                      <a:lnTo>
                        <a:pt x="16165" y="3836"/>
                      </a:lnTo>
                      <a:lnTo>
                        <a:pt x="16165" y="3846"/>
                      </a:lnTo>
                      <a:lnTo>
                        <a:pt x="16150" y="3858"/>
                      </a:lnTo>
                      <a:lnTo>
                        <a:pt x="16117" y="3836"/>
                      </a:lnTo>
                      <a:lnTo>
                        <a:pt x="16096" y="3836"/>
                      </a:lnTo>
                      <a:lnTo>
                        <a:pt x="16089" y="3836"/>
                      </a:lnTo>
                      <a:lnTo>
                        <a:pt x="16096" y="3841"/>
                      </a:lnTo>
                      <a:lnTo>
                        <a:pt x="16080" y="3836"/>
                      </a:lnTo>
                      <a:lnTo>
                        <a:pt x="16063" y="3846"/>
                      </a:lnTo>
                      <a:lnTo>
                        <a:pt x="16058" y="3846"/>
                      </a:lnTo>
                      <a:lnTo>
                        <a:pt x="16047" y="3862"/>
                      </a:lnTo>
                      <a:lnTo>
                        <a:pt x="16021" y="3891"/>
                      </a:lnTo>
                      <a:lnTo>
                        <a:pt x="15950" y="3836"/>
                      </a:lnTo>
                      <a:lnTo>
                        <a:pt x="15938" y="3841"/>
                      </a:lnTo>
                      <a:lnTo>
                        <a:pt x="15938" y="3846"/>
                      </a:lnTo>
                      <a:lnTo>
                        <a:pt x="15950" y="3846"/>
                      </a:lnTo>
                      <a:lnTo>
                        <a:pt x="15950" y="3879"/>
                      </a:lnTo>
                      <a:lnTo>
                        <a:pt x="15938" y="3891"/>
                      </a:lnTo>
                      <a:lnTo>
                        <a:pt x="15933" y="3874"/>
                      </a:lnTo>
                      <a:lnTo>
                        <a:pt x="15938" y="3858"/>
                      </a:lnTo>
                      <a:lnTo>
                        <a:pt x="15928" y="3846"/>
                      </a:lnTo>
                      <a:lnTo>
                        <a:pt x="15900" y="3825"/>
                      </a:lnTo>
                      <a:lnTo>
                        <a:pt x="15879" y="3820"/>
                      </a:lnTo>
                      <a:lnTo>
                        <a:pt x="15879" y="3803"/>
                      </a:lnTo>
                      <a:lnTo>
                        <a:pt x="15862" y="3791"/>
                      </a:lnTo>
                      <a:lnTo>
                        <a:pt x="15803" y="3791"/>
                      </a:lnTo>
                      <a:lnTo>
                        <a:pt x="15787" y="3768"/>
                      </a:lnTo>
                      <a:lnTo>
                        <a:pt x="15772" y="3780"/>
                      </a:lnTo>
                      <a:lnTo>
                        <a:pt x="15756" y="3780"/>
                      </a:lnTo>
                      <a:lnTo>
                        <a:pt x="15749" y="3787"/>
                      </a:lnTo>
                      <a:lnTo>
                        <a:pt x="15749" y="3791"/>
                      </a:lnTo>
                      <a:lnTo>
                        <a:pt x="15739" y="3791"/>
                      </a:lnTo>
                      <a:lnTo>
                        <a:pt x="15711" y="3791"/>
                      </a:lnTo>
                      <a:lnTo>
                        <a:pt x="15711" y="3787"/>
                      </a:lnTo>
                      <a:lnTo>
                        <a:pt x="15718" y="3787"/>
                      </a:lnTo>
                      <a:lnTo>
                        <a:pt x="15718" y="3780"/>
                      </a:lnTo>
                      <a:lnTo>
                        <a:pt x="15680" y="3768"/>
                      </a:lnTo>
                      <a:lnTo>
                        <a:pt x="15680" y="3787"/>
                      </a:lnTo>
                      <a:lnTo>
                        <a:pt x="15664" y="3780"/>
                      </a:lnTo>
                      <a:lnTo>
                        <a:pt x="15664" y="3791"/>
                      </a:lnTo>
                      <a:lnTo>
                        <a:pt x="15647" y="3803"/>
                      </a:lnTo>
                      <a:lnTo>
                        <a:pt x="15647" y="3808"/>
                      </a:lnTo>
                      <a:lnTo>
                        <a:pt x="15609" y="3836"/>
                      </a:lnTo>
                      <a:lnTo>
                        <a:pt x="15588" y="3825"/>
                      </a:lnTo>
                      <a:lnTo>
                        <a:pt x="15576" y="3841"/>
                      </a:lnTo>
                      <a:lnTo>
                        <a:pt x="15576" y="3858"/>
                      </a:lnTo>
                      <a:lnTo>
                        <a:pt x="15534" y="3879"/>
                      </a:lnTo>
                      <a:lnTo>
                        <a:pt x="15534" y="3914"/>
                      </a:lnTo>
                      <a:lnTo>
                        <a:pt x="15550" y="3931"/>
                      </a:lnTo>
                      <a:lnTo>
                        <a:pt x="15539" y="3947"/>
                      </a:lnTo>
                      <a:lnTo>
                        <a:pt x="15508" y="3952"/>
                      </a:lnTo>
                      <a:lnTo>
                        <a:pt x="15501" y="3947"/>
                      </a:lnTo>
                      <a:lnTo>
                        <a:pt x="15480" y="3914"/>
                      </a:lnTo>
                      <a:lnTo>
                        <a:pt x="15454" y="3891"/>
                      </a:lnTo>
                      <a:lnTo>
                        <a:pt x="15447" y="3895"/>
                      </a:lnTo>
                      <a:lnTo>
                        <a:pt x="15432" y="3903"/>
                      </a:lnTo>
                      <a:lnTo>
                        <a:pt x="15432" y="3931"/>
                      </a:lnTo>
                      <a:lnTo>
                        <a:pt x="15409" y="3952"/>
                      </a:lnTo>
                      <a:lnTo>
                        <a:pt x="15395" y="4002"/>
                      </a:lnTo>
                      <a:lnTo>
                        <a:pt x="15416" y="4014"/>
                      </a:lnTo>
                      <a:lnTo>
                        <a:pt x="15395" y="4030"/>
                      </a:lnTo>
                      <a:lnTo>
                        <a:pt x="15378" y="4080"/>
                      </a:lnTo>
                      <a:lnTo>
                        <a:pt x="15416" y="4096"/>
                      </a:lnTo>
                      <a:lnTo>
                        <a:pt x="15425" y="4134"/>
                      </a:lnTo>
                      <a:lnTo>
                        <a:pt x="15442" y="4151"/>
                      </a:lnTo>
                      <a:lnTo>
                        <a:pt x="15442" y="4134"/>
                      </a:lnTo>
                      <a:lnTo>
                        <a:pt x="15496" y="4151"/>
                      </a:lnTo>
                      <a:lnTo>
                        <a:pt x="15555" y="4228"/>
                      </a:lnTo>
                      <a:lnTo>
                        <a:pt x="15534" y="4236"/>
                      </a:lnTo>
                      <a:lnTo>
                        <a:pt x="15517" y="4236"/>
                      </a:lnTo>
                      <a:lnTo>
                        <a:pt x="15517" y="4252"/>
                      </a:lnTo>
                      <a:lnTo>
                        <a:pt x="15560" y="4269"/>
                      </a:lnTo>
                      <a:lnTo>
                        <a:pt x="15572" y="4278"/>
                      </a:lnTo>
                      <a:lnTo>
                        <a:pt x="15560" y="4278"/>
                      </a:lnTo>
                      <a:lnTo>
                        <a:pt x="15550" y="4290"/>
                      </a:lnTo>
                      <a:lnTo>
                        <a:pt x="15522" y="4290"/>
                      </a:lnTo>
                      <a:lnTo>
                        <a:pt x="15534" y="4302"/>
                      </a:lnTo>
                      <a:lnTo>
                        <a:pt x="15534" y="4318"/>
                      </a:lnTo>
                      <a:lnTo>
                        <a:pt x="15522" y="4306"/>
                      </a:lnTo>
                      <a:lnTo>
                        <a:pt x="15496" y="4323"/>
                      </a:lnTo>
                      <a:lnTo>
                        <a:pt x="15470" y="4335"/>
                      </a:lnTo>
                      <a:lnTo>
                        <a:pt x="15447" y="4323"/>
                      </a:lnTo>
                      <a:lnTo>
                        <a:pt x="15454" y="4340"/>
                      </a:lnTo>
                      <a:lnTo>
                        <a:pt x="15442" y="4323"/>
                      </a:lnTo>
                      <a:lnTo>
                        <a:pt x="15447" y="4340"/>
                      </a:lnTo>
                      <a:lnTo>
                        <a:pt x="15447" y="4356"/>
                      </a:lnTo>
                      <a:lnTo>
                        <a:pt x="15416" y="4413"/>
                      </a:lnTo>
                      <a:lnTo>
                        <a:pt x="15416" y="4401"/>
                      </a:lnTo>
                      <a:lnTo>
                        <a:pt x="15395" y="4417"/>
                      </a:lnTo>
                      <a:lnTo>
                        <a:pt x="15387" y="4434"/>
                      </a:lnTo>
                      <a:lnTo>
                        <a:pt x="15395" y="4446"/>
                      </a:lnTo>
                      <a:lnTo>
                        <a:pt x="15416" y="4451"/>
                      </a:lnTo>
                      <a:lnTo>
                        <a:pt x="15432" y="4484"/>
                      </a:lnTo>
                      <a:lnTo>
                        <a:pt x="15447" y="4500"/>
                      </a:lnTo>
                      <a:lnTo>
                        <a:pt x="15442" y="4512"/>
                      </a:lnTo>
                      <a:lnTo>
                        <a:pt x="15442" y="4524"/>
                      </a:lnTo>
                      <a:lnTo>
                        <a:pt x="15447" y="4491"/>
                      </a:lnTo>
                      <a:lnTo>
                        <a:pt x="15463" y="4491"/>
                      </a:lnTo>
                      <a:lnTo>
                        <a:pt x="15447" y="4528"/>
                      </a:lnTo>
                      <a:lnTo>
                        <a:pt x="15447" y="4540"/>
                      </a:lnTo>
                      <a:lnTo>
                        <a:pt x="15454" y="4545"/>
                      </a:lnTo>
                      <a:lnTo>
                        <a:pt x="15447" y="4557"/>
                      </a:lnTo>
                      <a:lnTo>
                        <a:pt x="15442" y="4566"/>
                      </a:lnTo>
                      <a:lnTo>
                        <a:pt x="15463" y="4578"/>
                      </a:lnTo>
                      <a:lnTo>
                        <a:pt x="15463" y="4602"/>
                      </a:lnTo>
                      <a:lnTo>
                        <a:pt x="15484" y="4623"/>
                      </a:lnTo>
                      <a:lnTo>
                        <a:pt x="15508" y="4668"/>
                      </a:lnTo>
                      <a:lnTo>
                        <a:pt x="15522" y="4673"/>
                      </a:lnTo>
                      <a:lnTo>
                        <a:pt x="15508" y="4689"/>
                      </a:lnTo>
                      <a:lnTo>
                        <a:pt x="15484" y="4706"/>
                      </a:lnTo>
                      <a:lnTo>
                        <a:pt x="15480" y="4722"/>
                      </a:lnTo>
                      <a:lnTo>
                        <a:pt x="15463" y="4729"/>
                      </a:lnTo>
                      <a:lnTo>
                        <a:pt x="15432" y="4710"/>
                      </a:lnTo>
                      <a:lnTo>
                        <a:pt x="15425" y="4694"/>
                      </a:lnTo>
                      <a:lnTo>
                        <a:pt x="15395" y="4668"/>
                      </a:lnTo>
                      <a:lnTo>
                        <a:pt x="15387" y="4673"/>
                      </a:lnTo>
                      <a:lnTo>
                        <a:pt x="15371" y="4668"/>
                      </a:lnTo>
                      <a:lnTo>
                        <a:pt x="15319" y="4639"/>
                      </a:lnTo>
                      <a:lnTo>
                        <a:pt x="15324" y="4611"/>
                      </a:lnTo>
                      <a:lnTo>
                        <a:pt x="15291" y="4611"/>
                      </a:lnTo>
                      <a:lnTo>
                        <a:pt x="15286" y="4595"/>
                      </a:lnTo>
                      <a:lnTo>
                        <a:pt x="15269" y="4583"/>
                      </a:lnTo>
                      <a:lnTo>
                        <a:pt x="15253" y="4602"/>
                      </a:lnTo>
                      <a:lnTo>
                        <a:pt x="15236" y="4583"/>
                      </a:lnTo>
                      <a:lnTo>
                        <a:pt x="15194" y="4602"/>
                      </a:lnTo>
                      <a:lnTo>
                        <a:pt x="15182" y="4602"/>
                      </a:lnTo>
                      <a:lnTo>
                        <a:pt x="15182" y="4595"/>
                      </a:lnTo>
                      <a:lnTo>
                        <a:pt x="15144" y="4578"/>
                      </a:lnTo>
                      <a:lnTo>
                        <a:pt x="15123" y="4557"/>
                      </a:lnTo>
                      <a:lnTo>
                        <a:pt x="15031" y="4545"/>
                      </a:lnTo>
                      <a:lnTo>
                        <a:pt x="14967" y="4524"/>
                      </a:lnTo>
                      <a:lnTo>
                        <a:pt x="14941" y="4512"/>
                      </a:lnTo>
                      <a:lnTo>
                        <a:pt x="14924" y="4524"/>
                      </a:lnTo>
                      <a:lnTo>
                        <a:pt x="14924" y="4540"/>
                      </a:lnTo>
                      <a:lnTo>
                        <a:pt x="14832" y="4458"/>
                      </a:lnTo>
                      <a:lnTo>
                        <a:pt x="14795" y="4446"/>
                      </a:lnTo>
                      <a:lnTo>
                        <a:pt x="14766" y="4417"/>
                      </a:lnTo>
                      <a:lnTo>
                        <a:pt x="14766" y="4429"/>
                      </a:lnTo>
                      <a:lnTo>
                        <a:pt x="14745" y="4417"/>
                      </a:lnTo>
                      <a:lnTo>
                        <a:pt x="14724" y="4396"/>
                      </a:lnTo>
                      <a:lnTo>
                        <a:pt x="14686" y="4380"/>
                      </a:lnTo>
                      <a:lnTo>
                        <a:pt x="14707" y="4363"/>
                      </a:lnTo>
                      <a:lnTo>
                        <a:pt x="14691" y="4356"/>
                      </a:lnTo>
                      <a:lnTo>
                        <a:pt x="14686" y="4363"/>
                      </a:lnTo>
                      <a:lnTo>
                        <a:pt x="14698" y="4356"/>
                      </a:lnTo>
                      <a:lnTo>
                        <a:pt x="14714" y="4363"/>
                      </a:lnTo>
                      <a:lnTo>
                        <a:pt x="14714" y="4373"/>
                      </a:lnTo>
                      <a:lnTo>
                        <a:pt x="14745" y="4356"/>
                      </a:lnTo>
                      <a:lnTo>
                        <a:pt x="14761" y="4363"/>
                      </a:lnTo>
                      <a:lnTo>
                        <a:pt x="14761" y="4340"/>
                      </a:lnTo>
                      <a:lnTo>
                        <a:pt x="14752" y="4340"/>
                      </a:lnTo>
                      <a:lnTo>
                        <a:pt x="14752" y="4356"/>
                      </a:lnTo>
                      <a:lnTo>
                        <a:pt x="14752" y="4340"/>
                      </a:lnTo>
                      <a:lnTo>
                        <a:pt x="14761" y="4340"/>
                      </a:lnTo>
                      <a:lnTo>
                        <a:pt x="14752" y="4335"/>
                      </a:lnTo>
                      <a:lnTo>
                        <a:pt x="14766" y="4323"/>
                      </a:lnTo>
                      <a:lnTo>
                        <a:pt x="14778" y="4302"/>
                      </a:lnTo>
                      <a:lnTo>
                        <a:pt x="14783" y="4302"/>
                      </a:lnTo>
                      <a:lnTo>
                        <a:pt x="14783" y="4306"/>
                      </a:lnTo>
                      <a:lnTo>
                        <a:pt x="14795" y="4290"/>
                      </a:lnTo>
                      <a:lnTo>
                        <a:pt x="14816" y="4302"/>
                      </a:lnTo>
                      <a:lnTo>
                        <a:pt x="14821" y="4290"/>
                      </a:lnTo>
                      <a:lnTo>
                        <a:pt x="14783" y="4269"/>
                      </a:lnTo>
                      <a:lnTo>
                        <a:pt x="14778" y="4269"/>
                      </a:lnTo>
                      <a:lnTo>
                        <a:pt x="14761" y="4245"/>
                      </a:lnTo>
                      <a:lnTo>
                        <a:pt x="14783" y="4245"/>
                      </a:lnTo>
                      <a:lnTo>
                        <a:pt x="14799" y="4236"/>
                      </a:lnTo>
                      <a:lnTo>
                        <a:pt x="14821" y="4245"/>
                      </a:lnTo>
                      <a:lnTo>
                        <a:pt x="14816" y="4236"/>
                      </a:lnTo>
                      <a:lnTo>
                        <a:pt x="14804" y="4236"/>
                      </a:lnTo>
                      <a:lnTo>
                        <a:pt x="14804" y="4228"/>
                      </a:lnTo>
                      <a:lnTo>
                        <a:pt x="14854" y="4212"/>
                      </a:lnTo>
                      <a:lnTo>
                        <a:pt x="14870" y="4212"/>
                      </a:lnTo>
                      <a:lnTo>
                        <a:pt x="14870" y="4207"/>
                      </a:lnTo>
                      <a:lnTo>
                        <a:pt x="14870" y="4191"/>
                      </a:lnTo>
                      <a:lnTo>
                        <a:pt x="14854" y="4191"/>
                      </a:lnTo>
                      <a:lnTo>
                        <a:pt x="14821" y="4207"/>
                      </a:lnTo>
                      <a:lnTo>
                        <a:pt x="14816" y="4195"/>
                      </a:lnTo>
                      <a:lnTo>
                        <a:pt x="14821" y="4191"/>
                      </a:lnTo>
                      <a:lnTo>
                        <a:pt x="14832" y="4191"/>
                      </a:lnTo>
                      <a:lnTo>
                        <a:pt x="14799" y="4207"/>
                      </a:lnTo>
                      <a:lnTo>
                        <a:pt x="14799" y="4158"/>
                      </a:lnTo>
                      <a:lnTo>
                        <a:pt x="14832" y="4151"/>
                      </a:lnTo>
                      <a:lnTo>
                        <a:pt x="14837" y="4134"/>
                      </a:lnTo>
                      <a:lnTo>
                        <a:pt x="14908" y="4134"/>
                      </a:lnTo>
                      <a:lnTo>
                        <a:pt x="14908" y="4117"/>
                      </a:lnTo>
                      <a:lnTo>
                        <a:pt x="14924" y="4096"/>
                      </a:lnTo>
                      <a:lnTo>
                        <a:pt x="14908" y="4068"/>
                      </a:lnTo>
                      <a:lnTo>
                        <a:pt x="14903" y="4063"/>
                      </a:lnTo>
                      <a:lnTo>
                        <a:pt x="14908" y="4047"/>
                      </a:lnTo>
                      <a:lnTo>
                        <a:pt x="14924" y="4047"/>
                      </a:lnTo>
                      <a:lnTo>
                        <a:pt x="14924" y="4040"/>
                      </a:lnTo>
                      <a:lnTo>
                        <a:pt x="14908" y="4040"/>
                      </a:lnTo>
                      <a:lnTo>
                        <a:pt x="14903" y="4030"/>
                      </a:lnTo>
                      <a:lnTo>
                        <a:pt x="14913" y="4023"/>
                      </a:lnTo>
                      <a:lnTo>
                        <a:pt x="14929" y="4006"/>
                      </a:lnTo>
                      <a:lnTo>
                        <a:pt x="14924" y="3985"/>
                      </a:lnTo>
                      <a:lnTo>
                        <a:pt x="14929" y="3973"/>
                      </a:lnTo>
                      <a:lnTo>
                        <a:pt x="14908" y="3973"/>
                      </a:lnTo>
                      <a:lnTo>
                        <a:pt x="14891" y="3957"/>
                      </a:lnTo>
                      <a:lnTo>
                        <a:pt x="14870" y="3957"/>
                      </a:lnTo>
                      <a:lnTo>
                        <a:pt x="14858" y="3947"/>
                      </a:lnTo>
                      <a:lnTo>
                        <a:pt x="14849" y="3952"/>
                      </a:lnTo>
                      <a:lnTo>
                        <a:pt x="14799" y="3931"/>
                      </a:lnTo>
                      <a:lnTo>
                        <a:pt x="14795" y="3931"/>
                      </a:lnTo>
                      <a:lnTo>
                        <a:pt x="14783" y="3947"/>
                      </a:lnTo>
                      <a:lnTo>
                        <a:pt x="14761" y="3931"/>
                      </a:lnTo>
                      <a:lnTo>
                        <a:pt x="14745" y="3895"/>
                      </a:lnTo>
                      <a:lnTo>
                        <a:pt x="14686" y="3914"/>
                      </a:lnTo>
                      <a:lnTo>
                        <a:pt x="14660" y="3903"/>
                      </a:lnTo>
                      <a:lnTo>
                        <a:pt x="14653" y="3895"/>
                      </a:lnTo>
                      <a:lnTo>
                        <a:pt x="14615" y="3895"/>
                      </a:lnTo>
                      <a:lnTo>
                        <a:pt x="14601" y="3874"/>
                      </a:lnTo>
                      <a:lnTo>
                        <a:pt x="14606" y="3874"/>
                      </a:lnTo>
                      <a:lnTo>
                        <a:pt x="14589" y="3841"/>
                      </a:lnTo>
                      <a:lnTo>
                        <a:pt x="14601" y="3836"/>
                      </a:lnTo>
                      <a:lnTo>
                        <a:pt x="14584" y="3836"/>
                      </a:lnTo>
                      <a:lnTo>
                        <a:pt x="14577" y="3820"/>
                      </a:lnTo>
                      <a:lnTo>
                        <a:pt x="14551" y="3825"/>
                      </a:lnTo>
                      <a:lnTo>
                        <a:pt x="14530" y="3820"/>
                      </a:lnTo>
                      <a:lnTo>
                        <a:pt x="14509" y="3780"/>
                      </a:lnTo>
                      <a:lnTo>
                        <a:pt x="14530" y="3768"/>
                      </a:lnTo>
                      <a:lnTo>
                        <a:pt x="14530" y="3763"/>
                      </a:lnTo>
                      <a:lnTo>
                        <a:pt x="14509" y="3747"/>
                      </a:lnTo>
                      <a:lnTo>
                        <a:pt x="14509" y="3730"/>
                      </a:lnTo>
                      <a:lnTo>
                        <a:pt x="14492" y="3709"/>
                      </a:lnTo>
                      <a:lnTo>
                        <a:pt x="14443" y="3709"/>
                      </a:lnTo>
                      <a:lnTo>
                        <a:pt x="14421" y="3725"/>
                      </a:lnTo>
                      <a:lnTo>
                        <a:pt x="14384" y="3714"/>
                      </a:lnTo>
                      <a:lnTo>
                        <a:pt x="14374" y="3735"/>
                      </a:lnTo>
                      <a:lnTo>
                        <a:pt x="14346" y="3735"/>
                      </a:lnTo>
                      <a:lnTo>
                        <a:pt x="14329" y="3714"/>
                      </a:lnTo>
                      <a:lnTo>
                        <a:pt x="14329" y="3692"/>
                      </a:lnTo>
                      <a:lnTo>
                        <a:pt x="14320" y="3676"/>
                      </a:lnTo>
                      <a:lnTo>
                        <a:pt x="14329" y="3669"/>
                      </a:lnTo>
                      <a:lnTo>
                        <a:pt x="14308" y="3643"/>
                      </a:lnTo>
                      <a:lnTo>
                        <a:pt x="14320" y="3624"/>
                      </a:lnTo>
                      <a:lnTo>
                        <a:pt x="14374" y="3636"/>
                      </a:lnTo>
                      <a:lnTo>
                        <a:pt x="14405" y="3614"/>
                      </a:lnTo>
                      <a:lnTo>
                        <a:pt x="14417" y="3603"/>
                      </a:lnTo>
                      <a:lnTo>
                        <a:pt x="14388" y="3598"/>
                      </a:lnTo>
                      <a:lnTo>
                        <a:pt x="14388" y="3586"/>
                      </a:lnTo>
                      <a:lnTo>
                        <a:pt x="14400" y="3581"/>
                      </a:lnTo>
                      <a:lnTo>
                        <a:pt x="14388" y="3581"/>
                      </a:lnTo>
                      <a:lnTo>
                        <a:pt x="14367" y="3569"/>
                      </a:lnTo>
                      <a:lnTo>
                        <a:pt x="14346" y="3569"/>
                      </a:lnTo>
                      <a:lnTo>
                        <a:pt x="14350" y="3541"/>
                      </a:lnTo>
                      <a:lnTo>
                        <a:pt x="14313" y="3525"/>
                      </a:lnTo>
                      <a:lnTo>
                        <a:pt x="14308" y="3508"/>
                      </a:lnTo>
                      <a:lnTo>
                        <a:pt x="14298" y="3503"/>
                      </a:lnTo>
                      <a:lnTo>
                        <a:pt x="14298" y="3487"/>
                      </a:lnTo>
                      <a:lnTo>
                        <a:pt x="14275" y="3470"/>
                      </a:lnTo>
                      <a:lnTo>
                        <a:pt x="14291" y="3447"/>
                      </a:lnTo>
                      <a:lnTo>
                        <a:pt x="14275" y="3421"/>
                      </a:lnTo>
                      <a:lnTo>
                        <a:pt x="14282" y="3414"/>
                      </a:lnTo>
                      <a:lnTo>
                        <a:pt x="14282" y="3392"/>
                      </a:lnTo>
                      <a:lnTo>
                        <a:pt x="14275" y="3392"/>
                      </a:lnTo>
                      <a:lnTo>
                        <a:pt x="14254" y="3364"/>
                      </a:lnTo>
                      <a:lnTo>
                        <a:pt x="14237" y="3364"/>
                      </a:lnTo>
                      <a:lnTo>
                        <a:pt x="14211" y="3364"/>
                      </a:lnTo>
                      <a:lnTo>
                        <a:pt x="14185" y="3380"/>
                      </a:lnTo>
                      <a:lnTo>
                        <a:pt x="14173" y="3376"/>
                      </a:lnTo>
                      <a:lnTo>
                        <a:pt x="14185" y="3359"/>
                      </a:lnTo>
                      <a:lnTo>
                        <a:pt x="14173" y="3359"/>
                      </a:lnTo>
                      <a:lnTo>
                        <a:pt x="14152" y="3347"/>
                      </a:lnTo>
                      <a:lnTo>
                        <a:pt x="14131" y="3359"/>
                      </a:lnTo>
                      <a:lnTo>
                        <a:pt x="14119" y="3343"/>
                      </a:lnTo>
                      <a:lnTo>
                        <a:pt x="14098" y="3343"/>
                      </a:lnTo>
                      <a:lnTo>
                        <a:pt x="14093" y="3336"/>
                      </a:lnTo>
                      <a:lnTo>
                        <a:pt x="14098" y="3319"/>
                      </a:lnTo>
                      <a:lnTo>
                        <a:pt x="14076" y="3265"/>
                      </a:lnTo>
                      <a:lnTo>
                        <a:pt x="14060" y="3253"/>
                      </a:lnTo>
                      <a:lnTo>
                        <a:pt x="14065" y="3215"/>
                      </a:lnTo>
                      <a:lnTo>
                        <a:pt x="14043" y="3199"/>
                      </a:lnTo>
                      <a:lnTo>
                        <a:pt x="14043" y="3192"/>
                      </a:lnTo>
                      <a:lnTo>
                        <a:pt x="14039" y="3192"/>
                      </a:lnTo>
                      <a:lnTo>
                        <a:pt x="14043" y="3158"/>
                      </a:lnTo>
                      <a:lnTo>
                        <a:pt x="14065" y="3158"/>
                      </a:lnTo>
                      <a:lnTo>
                        <a:pt x="14043" y="3121"/>
                      </a:lnTo>
                      <a:lnTo>
                        <a:pt x="14043" y="3104"/>
                      </a:lnTo>
                      <a:lnTo>
                        <a:pt x="14039" y="3059"/>
                      </a:lnTo>
                      <a:lnTo>
                        <a:pt x="14065" y="3031"/>
                      </a:lnTo>
                      <a:lnTo>
                        <a:pt x="14076" y="3010"/>
                      </a:lnTo>
                      <a:lnTo>
                        <a:pt x="14093" y="3010"/>
                      </a:lnTo>
                      <a:lnTo>
                        <a:pt x="14093" y="2998"/>
                      </a:lnTo>
                      <a:lnTo>
                        <a:pt x="14081" y="2988"/>
                      </a:lnTo>
                      <a:lnTo>
                        <a:pt x="14081" y="2977"/>
                      </a:lnTo>
                      <a:lnTo>
                        <a:pt x="14076" y="2960"/>
                      </a:lnTo>
                      <a:lnTo>
                        <a:pt x="14081" y="2953"/>
                      </a:lnTo>
                      <a:lnTo>
                        <a:pt x="14102" y="2972"/>
                      </a:lnTo>
                      <a:lnTo>
                        <a:pt x="14114" y="2943"/>
                      </a:lnTo>
                      <a:lnTo>
                        <a:pt x="14136" y="2953"/>
                      </a:lnTo>
                      <a:lnTo>
                        <a:pt x="14157" y="2932"/>
                      </a:lnTo>
                      <a:lnTo>
                        <a:pt x="14228" y="2943"/>
                      </a:lnTo>
                      <a:lnTo>
                        <a:pt x="14237" y="2936"/>
                      </a:lnTo>
                      <a:lnTo>
                        <a:pt x="14211" y="2932"/>
                      </a:lnTo>
                      <a:lnTo>
                        <a:pt x="14211" y="2915"/>
                      </a:lnTo>
                      <a:lnTo>
                        <a:pt x="14199" y="2915"/>
                      </a:lnTo>
                      <a:lnTo>
                        <a:pt x="14152" y="2915"/>
                      </a:lnTo>
                      <a:lnTo>
                        <a:pt x="14119" y="2887"/>
                      </a:lnTo>
                      <a:lnTo>
                        <a:pt x="14114" y="2877"/>
                      </a:lnTo>
                      <a:lnTo>
                        <a:pt x="14131" y="2882"/>
                      </a:lnTo>
                      <a:lnTo>
                        <a:pt x="14131" y="2866"/>
                      </a:lnTo>
                      <a:lnTo>
                        <a:pt x="14119" y="2866"/>
                      </a:lnTo>
                      <a:lnTo>
                        <a:pt x="14131" y="2866"/>
                      </a:lnTo>
                      <a:lnTo>
                        <a:pt x="14131" y="2849"/>
                      </a:lnTo>
                      <a:lnTo>
                        <a:pt x="14093" y="2877"/>
                      </a:lnTo>
                      <a:lnTo>
                        <a:pt x="14065" y="2877"/>
                      </a:lnTo>
                      <a:lnTo>
                        <a:pt x="14169" y="2792"/>
                      </a:lnTo>
                      <a:lnTo>
                        <a:pt x="14308" y="2655"/>
                      </a:lnTo>
                      <a:lnTo>
                        <a:pt x="14329" y="2610"/>
                      </a:lnTo>
                      <a:lnTo>
                        <a:pt x="14308" y="2573"/>
                      </a:lnTo>
                      <a:lnTo>
                        <a:pt x="14223" y="2516"/>
                      </a:lnTo>
                      <a:lnTo>
                        <a:pt x="14261" y="2478"/>
                      </a:lnTo>
                      <a:lnTo>
                        <a:pt x="14261" y="2462"/>
                      </a:lnTo>
                      <a:lnTo>
                        <a:pt x="14223" y="2438"/>
                      </a:lnTo>
                      <a:lnTo>
                        <a:pt x="14228" y="2433"/>
                      </a:lnTo>
                      <a:lnTo>
                        <a:pt x="14223" y="2421"/>
                      </a:lnTo>
                      <a:lnTo>
                        <a:pt x="14237" y="2417"/>
                      </a:lnTo>
                      <a:lnTo>
                        <a:pt x="14228" y="2400"/>
                      </a:lnTo>
                      <a:lnTo>
                        <a:pt x="14206" y="2388"/>
                      </a:lnTo>
                      <a:lnTo>
                        <a:pt x="14190" y="2384"/>
                      </a:lnTo>
                      <a:lnTo>
                        <a:pt x="14190" y="2360"/>
                      </a:lnTo>
                      <a:lnTo>
                        <a:pt x="14211" y="2360"/>
                      </a:lnTo>
                      <a:lnTo>
                        <a:pt x="14206" y="2343"/>
                      </a:lnTo>
                      <a:lnTo>
                        <a:pt x="14190" y="2343"/>
                      </a:lnTo>
                      <a:lnTo>
                        <a:pt x="14199" y="2327"/>
                      </a:lnTo>
                      <a:lnTo>
                        <a:pt x="14206" y="2294"/>
                      </a:lnTo>
                      <a:lnTo>
                        <a:pt x="14228" y="2289"/>
                      </a:lnTo>
                      <a:lnTo>
                        <a:pt x="14211" y="2240"/>
                      </a:lnTo>
                      <a:lnTo>
                        <a:pt x="14152" y="2145"/>
                      </a:lnTo>
                      <a:lnTo>
                        <a:pt x="14157" y="2129"/>
                      </a:lnTo>
                      <a:lnTo>
                        <a:pt x="14211" y="2067"/>
                      </a:lnTo>
                      <a:lnTo>
                        <a:pt x="14223" y="2051"/>
                      </a:lnTo>
                      <a:lnTo>
                        <a:pt x="14199" y="2034"/>
                      </a:lnTo>
                      <a:lnTo>
                        <a:pt x="14173" y="2001"/>
                      </a:lnTo>
                      <a:lnTo>
                        <a:pt x="14131" y="1989"/>
                      </a:lnTo>
                      <a:lnTo>
                        <a:pt x="14114" y="1944"/>
                      </a:lnTo>
                      <a:lnTo>
                        <a:pt x="14136" y="1906"/>
                      </a:lnTo>
                      <a:lnTo>
                        <a:pt x="14102" y="1902"/>
                      </a:lnTo>
                      <a:lnTo>
                        <a:pt x="14147" y="1878"/>
                      </a:lnTo>
                      <a:lnTo>
                        <a:pt x="14169" y="1866"/>
                      </a:lnTo>
                      <a:lnTo>
                        <a:pt x="14169" y="1845"/>
                      </a:lnTo>
                      <a:lnTo>
                        <a:pt x="14228" y="1824"/>
                      </a:lnTo>
                      <a:lnTo>
                        <a:pt x="14228" y="1812"/>
                      </a:lnTo>
                      <a:lnTo>
                        <a:pt x="14228" y="1807"/>
                      </a:lnTo>
                      <a:lnTo>
                        <a:pt x="14261" y="1812"/>
                      </a:lnTo>
                      <a:lnTo>
                        <a:pt x="14282" y="1812"/>
                      </a:lnTo>
                      <a:lnTo>
                        <a:pt x="14282" y="1795"/>
                      </a:lnTo>
                      <a:lnTo>
                        <a:pt x="14282" y="1779"/>
                      </a:lnTo>
                      <a:lnTo>
                        <a:pt x="14346" y="1795"/>
                      </a:lnTo>
                      <a:lnTo>
                        <a:pt x="14336" y="1791"/>
                      </a:lnTo>
                      <a:lnTo>
                        <a:pt x="14336" y="1779"/>
                      </a:lnTo>
                      <a:lnTo>
                        <a:pt x="14367" y="1779"/>
                      </a:lnTo>
                      <a:lnTo>
                        <a:pt x="14350" y="1767"/>
                      </a:lnTo>
                      <a:lnTo>
                        <a:pt x="14400" y="1791"/>
                      </a:lnTo>
                      <a:lnTo>
                        <a:pt x="14438" y="1791"/>
                      </a:lnTo>
                      <a:lnTo>
                        <a:pt x="14438" y="1807"/>
                      </a:lnTo>
                      <a:lnTo>
                        <a:pt x="14421" y="1812"/>
                      </a:lnTo>
                      <a:lnTo>
                        <a:pt x="14362" y="1807"/>
                      </a:lnTo>
                      <a:lnTo>
                        <a:pt x="14388" y="1824"/>
                      </a:lnTo>
                      <a:lnTo>
                        <a:pt x="14374" y="1829"/>
                      </a:lnTo>
                      <a:lnTo>
                        <a:pt x="14426" y="1829"/>
                      </a:lnTo>
                      <a:lnTo>
                        <a:pt x="14417" y="1845"/>
                      </a:lnTo>
                      <a:lnTo>
                        <a:pt x="14426" y="1833"/>
                      </a:lnTo>
                      <a:lnTo>
                        <a:pt x="14471" y="1829"/>
                      </a:lnTo>
                      <a:lnTo>
                        <a:pt x="14443" y="1850"/>
                      </a:lnTo>
                      <a:lnTo>
                        <a:pt x="14459" y="1850"/>
                      </a:lnTo>
                      <a:lnTo>
                        <a:pt x="14471" y="1862"/>
                      </a:lnTo>
                      <a:lnTo>
                        <a:pt x="14426" y="1878"/>
                      </a:lnTo>
                      <a:lnTo>
                        <a:pt x="14426" y="1890"/>
                      </a:lnTo>
                      <a:lnTo>
                        <a:pt x="14426" y="1878"/>
                      </a:lnTo>
                      <a:lnTo>
                        <a:pt x="14459" y="1878"/>
                      </a:lnTo>
                      <a:lnTo>
                        <a:pt x="14471" y="1862"/>
                      </a:lnTo>
                      <a:lnTo>
                        <a:pt x="14471" y="1845"/>
                      </a:lnTo>
                      <a:lnTo>
                        <a:pt x="14480" y="1845"/>
                      </a:lnTo>
                      <a:lnTo>
                        <a:pt x="14639" y="1862"/>
                      </a:lnTo>
                      <a:lnTo>
                        <a:pt x="14761" y="1923"/>
                      </a:lnTo>
                      <a:lnTo>
                        <a:pt x="14804" y="1973"/>
                      </a:lnTo>
                      <a:lnTo>
                        <a:pt x="14821" y="1961"/>
                      </a:lnTo>
                      <a:lnTo>
                        <a:pt x="14887" y="2001"/>
                      </a:lnTo>
                      <a:lnTo>
                        <a:pt x="14908" y="2001"/>
                      </a:lnTo>
                      <a:lnTo>
                        <a:pt x="14903" y="1989"/>
                      </a:lnTo>
                      <a:lnTo>
                        <a:pt x="14908" y="1989"/>
                      </a:lnTo>
                      <a:lnTo>
                        <a:pt x="14946" y="2018"/>
                      </a:lnTo>
                      <a:lnTo>
                        <a:pt x="14946" y="2029"/>
                      </a:lnTo>
                      <a:lnTo>
                        <a:pt x="14955" y="2046"/>
                      </a:lnTo>
                      <a:lnTo>
                        <a:pt x="14993" y="2046"/>
                      </a:lnTo>
                      <a:lnTo>
                        <a:pt x="14993" y="2072"/>
                      </a:lnTo>
                      <a:lnTo>
                        <a:pt x="15000" y="2084"/>
                      </a:lnTo>
                      <a:lnTo>
                        <a:pt x="15000" y="2105"/>
                      </a:lnTo>
                      <a:lnTo>
                        <a:pt x="15017" y="2105"/>
                      </a:lnTo>
                      <a:lnTo>
                        <a:pt x="15017" y="2112"/>
                      </a:lnTo>
                      <a:lnTo>
                        <a:pt x="15010" y="2157"/>
                      </a:lnTo>
                      <a:lnTo>
                        <a:pt x="14962" y="2199"/>
                      </a:lnTo>
                      <a:lnTo>
                        <a:pt x="14924" y="2216"/>
                      </a:lnTo>
                      <a:lnTo>
                        <a:pt x="14821" y="2249"/>
                      </a:lnTo>
                      <a:lnTo>
                        <a:pt x="14606" y="2211"/>
                      </a:lnTo>
                      <a:lnTo>
                        <a:pt x="14563" y="2178"/>
                      </a:lnTo>
                      <a:lnTo>
                        <a:pt x="14530" y="2183"/>
                      </a:lnTo>
                      <a:lnTo>
                        <a:pt x="14525" y="2178"/>
                      </a:lnTo>
                      <a:lnTo>
                        <a:pt x="14530" y="2178"/>
                      </a:lnTo>
                      <a:lnTo>
                        <a:pt x="14492" y="2166"/>
                      </a:lnTo>
                      <a:lnTo>
                        <a:pt x="14471" y="2157"/>
                      </a:lnTo>
                      <a:lnTo>
                        <a:pt x="14476" y="2162"/>
                      </a:lnTo>
                      <a:lnTo>
                        <a:pt x="14471" y="2166"/>
                      </a:lnTo>
                      <a:lnTo>
                        <a:pt x="14443" y="2157"/>
                      </a:lnTo>
                      <a:lnTo>
                        <a:pt x="14405" y="2121"/>
                      </a:lnTo>
                      <a:lnTo>
                        <a:pt x="14350" y="2112"/>
                      </a:lnTo>
                      <a:lnTo>
                        <a:pt x="14374" y="2112"/>
                      </a:lnTo>
                      <a:lnTo>
                        <a:pt x="14400" y="2129"/>
                      </a:lnTo>
                      <a:lnTo>
                        <a:pt x="14400" y="2145"/>
                      </a:lnTo>
                      <a:lnTo>
                        <a:pt x="14421" y="2162"/>
                      </a:lnTo>
                      <a:lnTo>
                        <a:pt x="14417" y="2166"/>
                      </a:lnTo>
                      <a:lnTo>
                        <a:pt x="14454" y="2178"/>
                      </a:lnTo>
                      <a:lnTo>
                        <a:pt x="14421" y="2183"/>
                      </a:lnTo>
                      <a:lnTo>
                        <a:pt x="14443" y="2178"/>
                      </a:lnTo>
                      <a:lnTo>
                        <a:pt x="14471" y="2195"/>
                      </a:lnTo>
                      <a:lnTo>
                        <a:pt x="14421" y="2195"/>
                      </a:lnTo>
                      <a:lnTo>
                        <a:pt x="14480" y="2199"/>
                      </a:lnTo>
                      <a:lnTo>
                        <a:pt x="14454" y="2216"/>
                      </a:lnTo>
                      <a:lnTo>
                        <a:pt x="14509" y="2223"/>
                      </a:lnTo>
                      <a:lnTo>
                        <a:pt x="14563" y="2266"/>
                      </a:lnTo>
                      <a:lnTo>
                        <a:pt x="14568" y="2289"/>
                      </a:lnTo>
                      <a:lnTo>
                        <a:pt x="14547" y="2273"/>
                      </a:lnTo>
                      <a:lnTo>
                        <a:pt x="14551" y="2306"/>
                      </a:lnTo>
                      <a:lnTo>
                        <a:pt x="14547" y="2322"/>
                      </a:lnTo>
                      <a:lnTo>
                        <a:pt x="14530" y="2327"/>
                      </a:lnTo>
                      <a:lnTo>
                        <a:pt x="14547" y="2343"/>
                      </a:lnTo>
                      <a:lnTo>
                        <a:pt x="14568" y="2388"/>
                      </a:lnTo>
                      <a:lnTo>
                        <a:pt x="14568" y="2417"/>
                      </a:lnTo>
                      <a:lnTo>
                        <a:pt x="14551" y="2421"/>
                      </a:lnTo>
                      <a:lnTo>
                        <a:pt x="14589" y="2445"/>
                      </a:lnTo>
                      <a:lnTo>
                        <a:pt x="14606" y="2438"/>
                      </a:lnTo>
                      <a:lnTo>
                        <a:pt x="14622" y="2445"/>
                      </a:lnTo>
                      <a:lnTo>
                        <a:pt x="14639" y="2462"/>
                      </a:lnTo>
                      <a:lnTo>
                        <a:pt x="14643" y="2462"/>
                      </a:lnTo>
                      <a:lnTo>
                        <a:pt x="14660" y="2471"/>
                      </a:lnTo>
                      <a:lnTo>
                        <a:pt x="14660" y="2488"/>
                      </a:lnTo>
                      <a:lnTo>
                        <a:pt x="14740" y="2511"/>
                      </a:lnTo>
                      <a:lnTo>
                        <a:pt x="14783" y="2488"/>
                      </a:lnTo>
                      <a:lnTo>
                        <a:pt x="14783" y="2471"/>
                      </a:lnTo>
                      <a:lnTo>
                        <a:pt x="14778" y="2462"/>
                      </a:lnTo>
                      <a:lnTo>
                        <a:pt x="14778" y="2445"/>
                      </a:lnTo>
                      <a:lnTo>
                        <a:pt x="14766" y="2438"/>
                      </a:lnTo>
                      <a:lnTo>
                        <a:pt x="14728" y="2445"/>
                      </a:lnTo>
                      <a:lnTo>
                        <a:pt x="14724" y="2438"/>
                      </a:lnTo>
                      <a:lnTo>
                        <a:pt x="14691" y="2405"/>
                      </a:lnTo>
                      <a:lnTo>
                        <a:pt x="14676" y="2400"/>
                      </a:lnTo>
                      <a:lnTo>
                        <a:pt x="14669" y="2377"/>
                      </a:lnTo>
                      <a:lnTo>
                        <a:pt x="14698" y="2377"/>
                      </a:lnTo>
                      <a:lnTo>
                        <a:pt x="14698" y="2351"/>
                      </a:lnTo>
                      <a:lnTo>
                        <a:pt x="14714" y="2343"/>
                      </a:lnTo>
                      <a:lnTo>
                        <a:pt x="14761" y="2367"/>
                      </a:lnTo>
                      <a:lnTo>
                        <a:pt x="14778" y="2384"/>
                      </a:lnTo>
                      <a:lnTo>
                        <a:pt x="14804" y="2384"/>
                      </a:lnTo>
                      <a:lnTo>
                        <a:pt x="14783" y="2400"/>
                      </a:lnTo>
                      <a:lnTo>
                        <a:pt x="14783" y="2417"/>
                      </a:lnTo>
                      <a:lnTo>
                        <a:pt x="14816" y="2388"/>
                      </a:lnTo>
                      <a:lnTo>
                        <a:pt x="14891" y="2421"/>
                      </a:lnTo>
                      <a:lnTo>
                        <a:pt x="14913" y="2417"/>
                      </a:lnTo>
                      <a:lnTo>
                        <a:pt x="14908" y="2417"/>
                      </a:lnTo>
                      <a:lnTo>
                        <a:pt x="14908" y="2405"/>
                      </a:lnTo>
                      <a:lnTo>
                        <a:pt x="14955" y="2421"/>
                      </a:lnTo>
                      <a:lnTo>
                        <a:pt x="14946" y="2377"/>
                      </a:lnTo>
                      <a:lnTo>
                        <a:pt x="14903" y="2327"/>
                      </a:lnTo>
                      <a:lnTo>
                        <a:pt x="14903" y="2306"/>
                      </a:lnTo>
                      <a:lnTo>
                        <a:pt x="14946" y="2277"/>
                      </a:lnTo>
                      <a:lnTo>
                        <a:pt x="14967" y="2256"/>
                      </a:lnTo>
                      <a:lnTo>
                        <a:pt x="15021" y="2240"/>
                      </a:lnTo>
                      <a:lnTo>
                        <a:pt x="15069" y="2195"/>
                      </a:lnTo>
                      <a:lnTo>
                        <a:pt x="15106" y="2211"/>
                      </a:lnTo>
                      <a:lnTo>
                        <a:pt x="15156" y="2199"/>
                      </a:lnTo>
                      <a:lnTo>
                        <a:pt x="15177" y="2223"/>
                      </a:lnTo>
                      <a:lnTo>
                        <a:pt x="15156" y="2240"/>
                      </a:lnTo>
                      <a:lnTo>
                        <a:pt x="15156" y="2249"/>
                      </a:lnTo>
                      <a:lnTo>
                        <a:pt x="15172" y="2256"/>
                      </a:lnTo>
                      <a:lnTo>
                        <a:pt x="15172" y="2249"/>
                      </a:lnTo>
                      <a:lnTo>
                        <a:pt x="15156" y="2240"/>
                      </a:lnTo>
                      <a:lnTo>
                        <a:pt x="15194" y="2232"/>
                      </a:lnTo>
                      <a:lnTo>
                        <a:pt x="15198" y="2240"/>
                      </a:lnTo>
                      <a:lnTo>
                        <a:pt x="15198" y="2249"/>
                      </a:lnTo>
                      <a:lnTo>
                        <a:pt x="15215" y="2266"/>
                      </a:lnTo>
                      <a:lnTo>
                        <a:pt x="15210" y="2232"/>
                      </a:lnTo>
                      <a:lnTo>
                        <a:pt x="15232" y="2166"/>
                      </a:lnTo>
                      <a:lnTo>
                        <a:pt x="15227" y="2162"/>
                      </a:lnTo>
                      <a:lnTo>
                        <a:pt x="15236" y="2145"/>
                      </a:lnTo>
                      <a:lnTo>
                        <a:pt x="15210" y="2112"/>
                      </a:lnTo>
                      <a:lnTo>
                        <a:pt x="15182" y="2105"/>
                      </a:lnTo>
                      <a:lnTo>
                        <a:pt x="15182" y="2100"/>
                      </a:lnTo>
                      <a:lnTo>
                        <a:pt x="15210" y="2051"/>
                      </a:lnTo>
                      <a:lnTo>
                        <a:pt x="15210" y="2029"/>
                      </a:lnTo>
                      <a:lnTo>
                        <a:pt x="15215" y="2018"/>
                      </a:lnTo>
                      <a:lnTo>
                        <a:pt x="15210" y="2018"/>
                      </a:lnTo>
                      <a:lnTo>
                        <a:pt x="15215" y="1977"/>
                      </a:lnTo>
                      <a:lnTo>
                        <a:pt x="15156" y="1940"/>
                      </a:lnTo>
                      <a:lnTo>
                        <a:pt x="15156" y="1923"/>
                      </a:lnTo>
                      <a:lnTo>
                        <a:pt x="15210" y="1940"/>
                      </a:lnTo>
                      <a:lnTo>
                        <a:pt x="15291" y="1940"/>
                      </a:lnTo>
                      <a:lnTo>
                        <a:pt x="15333" y="1944"/>
                      </a:lnTo>
                      <a:lnTo>
                        <a:pt x="15340" y="1973"/>
                      </a:lnTo>
                      <a:lnTo>
                        <a:pt x="15378" y="1994"/>
                      </a:lnTo>
                      <a:lnTo>
                        <a:pt x="15378" y="2013"/>
                      </a:lnTo>
                      <a:lnTo>
                        <a:pt x="15395" y="2018"/>
                      </a:lnTo>
                      <a:lnTo>
                        <a:pt x="15395" y="2034"/>
                      </a:lnTo>
                      <a:lnTo>
                        <a:pt x="15302" y="2046"/>
                      </a:lnTo>
                      <a:lnTo>
                        <a:pt x="15291" y="2051"/>
                      </a:lnTo>
                      <a:lnTo>
                        <a:pt x="15291" y="2055"/>
                      </a:lnTo>
                      <a:lnTo>
                        <a:pt x="15269" y="2067"/>
                      </a:lnTo>
                      <a:lnTo>
                        <a:pt x="15265" y="2088"/>
                      </a:lnTo>
                      <a:lnTo>
                        <a:pt x="15319" y="2112"/>
                      </a:lnTo>
                      <a:lnTo>
                        <a:pt x="15324" y="2145"/>
                      </a:lnTo>
                      <a:lnTo>
                        <a:pt x="15340" y="2157"/>
                      </a:lnTo>
                      <a:lnTo>
                        <a:pt x="15387" y="2157"/>
                      </a:lnTo>
                      <a:lnTo>
                        <a:pt x="15371" y="2162"/>
                      </a:lnTo>
                      <a:lnTo>
                        <a:pt x="15463" y="2138"/>
                      </a:lnTo>
                      <a:lnTo>
                        <a:pt x="15463" y="2121"/>
                      </a:lnTo>
                      <a:lnTo>
                        <a:pt x="15454" y="2105"/>
                      </a:lnTo>
                      <a:lnTo>
                        <a:pt x="15480" y="2072"/>
                      </a:lnTo>
                      <a:lnTo>
                        <a:pt x="15470" y="2055"/>
                      </a:lnTo>
                      <a:lnTo>
                        <a:pt x="15480" y="2051"/>
                      </a:lnTo>
                      <a:lnTo>
                        <a:pt x="15534" y="2046"/>
                      </a:lnTo>
                      <a:lnTo>
                        <a:pt x="15555" y="2055"/>
                      </a:lnTo>
                      <a:lnTo>
                        <a:pt x="15522" y="2018"/>
                      </a:lnTo>
                      <a:lnTo>
                        <a:pt x="15572" y="2029"/>
                      </a:lnTo>
                      <a:lnTo>
                        <a:pt x="15626" y="1994"/>
                      </a:lnTo>
                      <a:lnTo>
                        <a:pt x="15609" y="2013"/>
                      </a:lnTo>
                      <a:lnTo>
                        <a:pt x="15614" y="2001"/>
                      </a:lnTo>
                      <a:lnTo>
                        <a:pt x="15680" y="1961"/>
                      </a:lnTo>
                      <a:lnTo>
                        <a:pt x="15697" y="1961"/>
                      </a:lnTo>
                      <a:lnTo>
                        <a:pt x="15765" y="1940"/>
                      </a:lnTo>
                      <a:lnTo>
                        <a:pt x="15787" y="1944"/>
                      </a:lnTo>
                      <a:lnTo>
                        <a:pt x="15772" y="1961"/>
                      </a:lnTo>
                      <a:lnTo>
                        <a:pt x="15777" y="1973"/>
                      </a:lnTo>
                      <a:lnTo>
                        <a:pt x="15810" y="1956"/>
                      </a:lnTo>
                      <a:lnTo>
                        <a:pt x="15794" y="1940"/>
                      </a:lnTo>
                      <a:lnTo>
                        <a:pt x="15810" y="1935"/>
                      </a:lnTo>
                      <a:lnTo>
                        <a:pt x="15777" y="1935"/>
                      </a:lnTo>
                      <a:lnTo>
                        <a:pt x="15886" y="1890"/>
                      </a:lnTo>
                      <a:lnTo>
                        <a:pt x="15938" y="1885"/>
                      </a:lnTo>
                      <a:lnTo>
                        <a:pt x="15874" y="1902"/>
                      </a:lnTo>
                      <a:lnTo>
                        <a:pt x="15900" y="1902"/>
                      </a:lnTo>
                      <a:lnTo>
                        <a:pt x="15879" y="1935"/>
                      </a:lnTo>
                      <a:lnTo>
                        <a:pt x="15895" y="1961"/>
                      </a:lnTo>
                      <a:lnTo>
                        <a:pt x="15886" y="1973"/>
                      </a:lnTo>
                      <a:lnTo>
                        <a:pt x="15874" y="1956"/>
                      </a:lnTo>
                      <a:lnTo>
                        <a:pt x="15879" y="1973"/>
                      </a:lnTo>
                      <a:lnTo>
                        <a:pt x="15862" y="1961"/>
                      </a:lnTo>
                      <a:lnTo>
                        <a:pt x="15848" y="1977"/>
                      </a:lnTo>
                      <a:lnTo>
                        <a:pt x="15917" y="1989"/>
                      </a:lnTo>
                      <a:lnTo>
                        <a:pt x="15933" y="1973"/>
                      </a:lnTo>
                      <a:lnTo>
                        <a:pt x="15954" y="1989"/>
                      </a:lnTo>
                      <a:lnTo>
                        <a:pt x="15966" y="1977"/>
                      </a:lnTo>
                      <a:lnTo>
                        <a:pt x="15966" y="1973"/>
                      </a:lnTo>
                      <a:lnTo>
                        <a:pt x="15966" y="1961"/>
                      </a:lnTo>
                      <a:lnTo>
                        <a:pt x="15992" y="1940"/>
                      </a:lnTo>
                      <a:lnTo>
                        <a:pt x="16042" y="1923"/>
                      </a:lnTo>
                      <a:lnTo>
                        <a:pt x="16134" y="1940"/>
                      </a:lnTo>
                      <a:lnTo>
                        <a:pt x="16155" y="1918"/>
                      </a:lnTo>
                      <a:lnTo>
                        <a:pt x="16181" y="1918"/>
                      </a:lnTo>
                      <a:lnTo>
                        <a:pt x="16181" y="1906"/>
                      </a:lnTo>
                      <a:lnTo>
                        <a:pt x="16198" y="1902"/>
                      </a:lnTo>
                      <a:lnTo>
                        <a:pt x="16209" y="1918"/>
                      </a:lnTo>
                      <a:lnTo>
                        <a:pt x="16202" y="1906"/>
                      </a:lnTo>
                      <a:lnTo>
                        <a:pt x="16202" y="1902"/>
                      </a:lnTo>
                      <a:lnTo>
                        <a:pt x="16240" y="1885"/>
                      </a:lnTo>
                      <a:lnTo>
                        <a:pt x="16273" y="1885"/>
                      </a:lnTo>
                      <a:lnTo>
                        <a:pt x="16240" y="1890"/>
                      </a:lnTo>
                      <a:lnTo>
                        <a:pt x="16278" y="1918"/>
                      </a:lnTo>
                      <a:lnTo>
                        <a:pt x="16257" y="1935"/>
                      </a:lnTo>
                      <a:lnTo>
                        <a:pt x="16257" y="1956"/>
                      </a:lnTo>
                      <a:lnTo>
                        <a:pt x="16311" y="1961"/>
                      </a:lnTo>
                      <a:lnTo>
                        <a:pt x="16316" y="1956"/>
                      </a:lnTo>
                      <a:lnTo>
                        <a:pt x="16306" y="1935"/>
                      </a:lnTo>
                      <a:lnTo>
                        <a:pt x="16311" y="1923"/>
                      </a:lnTo>
                      <a:lnTo>
                        <a:pt x="16361" y="1923"/>
                      </a:lnTo>
                      <a:lnTo>
                        <a:pt x="16387" y="1902"/>
                      </a:lnTo>
                      <a:lnTo>
                        <a:pt x="16387" y="1866"/>
                      </a:lnTo>
                      <a:lnTo>
                        <a:pt x="16365" y="1866"/>
                      </a:lnTo>
                      <a:lnTo>
                        <a:pt x="16361" y="1845"/>
                      </a:lnTo>
                      <a:lnTo>
                        <a:pt x="16332" y="1812"/>
                      </a:lnTo>
                      <a:lnTo>
                        <a:pt x="16344" y="1795"/>
                      </a:lnTo>
                      <a:lnTo>
                        <a:pt x="16365" y="1795"/>
                      </a:lnTo>
                      <a:lnTo>
                        <a:pt x="16370" y="1779"/>
                      </a:lnTo>
                      <a:lnTo>
                        <a:pt x="16382" y="1774"/>
                      </a:lnTo>
                      <a:lnTo>
                        <a:pt x="16543" y="1795"/>
                      </a:lnTo>
                      <a:lnTo>
                        <a:pt x="16613" y="1812"/>
                      </a:lnTo>
                      <a:lnTo>
                        <a:pt x="16672" y="1845"/>
                      </a:lnTo>
                      <a:lnTo>
                        <a:pt x="16656" y="1850"/>
                      </a:lnTo>
                      <a:lnTo>
                        <a:pt x="16656" y="1866"/>
                      </a:lnTo>
                      <a:lnTo>
                        <a:pt x="16684" y="1850"/>
                      </a:lnTo>
                      <a:lnTo>
                        <a:pt x="16739" y="1866"/>
                      </a:lnTo>
                      <a:lnTo>
                        <a:pt x="16722" y="1878"/>
                      </a:lnTo>
                      <a:lnTo>
                        <a:pt x="16819" y="1906"/>
                      </a:lnTo>
                      <a:lnTo>
                        <a:pt x="16814" y="1906"/>
                      </a:lnTo>
                      <a:lnTo>
                        <a:pt x="16831" y="1923"/>
                      </a:lnTo>
                      <a:lnTo>
                        <a:pt x="16899" y="1956"/>
                      </a:lnTo>
                      <a:lnTo>
                        <a:pt x="16906" y="1973"/>
                      </a:lnTo>
                      <a:lnTo>
                        <a:pt x="16899" y="1977"/>
                      </a:lnTo>
                      <a:lnTo>
                        <a:pt x="16906" y="1989"/>
                      </a:lnTo>
                      <a:lnTo>
                        <a:pt x="16916" y="1977"/>
                      </a:lnTo>
                      <a:lnTo>
                        <a:pt x="16958" y="1902"/>
                      </a:lnTo>
                      <a:lnTo>
                        <a:pt x="16954" y="1902"/>
                      </a:lnTo>
                      <a:lnTo>
                        <a:pt x="16970" y="1890"/>
                      </a:lnTo>
                      <a:lnTo>
                        <a:pt x="16937" y="1902"/>
                      </a:lnTo>
                      <a:lnTo>
                        <a:pt x="16916" y="1885"/>
                      </a:lnTo>
                      <a:lnTo>
                        <a:pt x="16890" y="1850"/>
                      </a:lnTo>
                      <a:lnTo>
                        <a:pt x="16890" y="1812"/>
                      </a:lnTo>
                      <a:lnTo>
                        <a:pt x="16883" y="1824"/>
                      </a:lnTo>
                      <a:lnTo>
                        <a:pt x="16814" y="1795"/>
                      </a:lnTo>
                      <a:lnTo>
                        <a:pt x="16814" y="1824"/>
                      </a:lnTo>
                      <a:lnTo>
                        <a:pt x="16798" y="1812"/>
                      </a:lnTo>
                      <a:lnTo>
                        <a:pt x="16798" y="1791"/>
                      </a:lnTo>
                      <a:lnTo>
                        <a:pt x="16807" y="1758"/>
                      </a:lnTo>
                      <a:lnTo>
                        <a:pt x="16814" y="1751"/>
                      </a:lnTo>
                      <a:lnTo>
                        <a:pt x="16814" y="1767"/>
                      </a:lnTo>
                      <a:lnTo>
                        <a:pt x="16831" y="1758"/>
                      </a:lnTo>
                      <a:lnTo>
                        <a:pt x="16835" y="1739"/>
                      </a:lnTo>
                      <a:lnTo>
                        <a:pt x="16819" y="1734"/>
                      </a:lnTo>
                      <a:lnTo>
                        <a:pt x="16835" y="1663"/>
                      </a:lnTo>
                      <a:lnTo>
                        <a:pt x="16819" y="1647"/>
                      </a:lnTo>
                      <a:lnTo>
                        <a:pt x="16793" y="1663"/>
                      </a:lnTo>
                      <a:lnTo>
                        <a:pt x="16793" y="1640"/>
                      </a:lnTo>
                      <a:lnTo>
                        <a:pt x="16807" y="1614"/>
                      </a:lnTo>
                      <a:lnTo>
                        <a:pt x="16798" y="1630"/>
                      </a:lnTo>
                      <a:lnTo>
                        <a:pt x="16793" y="1623"/>
                      </a:lnTo>
                      <a:lnTo>
                        <a:pt x="16807" y="1590"/>
                      </a:lnTo>
                      <a:lnTo>
                        <a:pt x="16883" y="1557"/>
                      </a:lnTo>
                      <a:lnTo>
                        <a:pt x="16916" y="1519"/>
                      </a:lnTo>
                      <a:lnTo>
                        <a:pt x="16954" y="1401"/>
                      </a:lnTo>
                      <a:lnTo>
                        <a:pt x="16970" y="1384"/>
                      </a:lnTo>
                      <a:lnTo>
                        <a:pt x="16975" y="1368"/>
                      </a:lnTo>
                      <a:lnTo>
                        <a:pt x="17013" y="1363"/>
                      </a:lnTo>
                      <a:lnTo>
                        <a:pt x="16991" y="1368"/>
                      </a:lnTo>
                      <a:lnTo>
                        <a:pt x="16996" y="1375"/>
                      </a:lnTo>
                      <a:lnTo>
                        <a:pt x="17138" y="1368"/>
                      </a:lnTo>
                      <a:lnTo>
                        <a:pt x="17171" y="1384"/>
                      </a:lnTo>
                      <a:lnTo>
                        <a:pt x="17154" y="1384"/>
                      </a:lnTo>
                      <a:lnTo>
                        <a:pt x="17223" y="1401"/>
                      </a:lnTo>
                      <a:lnTo>
                        <a:pt x="17213" y="1418"/>
                      </a:lnTo>
                      <a:lnTo>
                        <a:pt x="17230" y="1458"/>
                      </a:lnTo>
                      <a:lnTo>
                        <a:pt x="17197" y="1503"/>
                      </a:lnTo>
                      <a:lnTo>
                        <a:pt x="17192" y="1512"/>
                      </a:lnTo>
                      <a:lnTo>
                        <a:pt x="17192" y="1536"/>
                      </a:lnTo>
                      <a:lnTo>
                        <a:pt x="17154" y="1569"/>
                      </a:lnTo>
                      <a:lnTo>
                        <a:pt x="17171" y="1590"/>
                      </a:lnTo>
                      <a:lnTo>
                        <a:pt x="17209" y="1614"/>
                      </a:lnTo>
                      <a:lnTo>
                        <a:pt x="17209" y="1623"/>
                      </a:lnTo>
                      <a:lnTo>
                        <a:pt x="17223" y="1647"/>
                      </a:lnTo>
                      <a:lnTo>
                        <a:pt x="17213" y="1680"/>
                      </a:lnTo>
                      <a:lnTo>
                        <a:pt x="17223" y="1701"/>
                      </a:lnTo>
                      <a:lnTo>
                        <a:pt x="17192" y="1722"/>
                      </a:lnTo>
                      <a:lnTo>
                        <a:pt x="17209" y="1734"/>
                      </a:lnTo>
                      <a:lnTo>
                        <a:pt x="17197" y="1751"/>
                      </a:lnTo>
                      <a:lnTo>
                        <a:pt x="17213" y="1774"/>
                      </a:lnTo>
                      <a:lnTo>
                        <a:pt x="17197" y="1807"/>
                      </a:lnTo>
                      <a:lnTo>
                        <a:pt x="17209" y="1829"/>
                      </a:lnTo>
                      <a:lnTo>
                        <a:pt x="17197" y="1866"/>
                      </a:lnTo>
                      <a:lnTo>
                        <a:pt x="17209" y="1890"/>
                      </a:lnTo>
                      <a:lnTo>
                        <a:pt x="17213" y="1906"/>
                      </a:lnTo>
                      <a:lnTo>
                        <a:pt x="17268" y="1940"/>
                      </a:lnTo>
                      <a:lnTo>
                        <a:pt x="17284" y="1956"/>
                      </a:lnTo>
                      <a:lnTo>
                        <a:pt x="17268" y="1944"/>
                      </a:lnTo>
                      <a:lnTo>
                        <a:pt x="17246" y="1989"/>
                      </a:lnTo>
                      <a:lnTo>
                        <a:pt x="17239" y="1994"/>
                      </a:lnTo>
                      <a:lnTo>
                        <a:pt x="17251" y="2029"/>
                      </a:lnTo>
                      <a:lnTo>
                        <a:pt x="17239" y="2046"/>
                      </a:lnTo>
                      <a:lnTo>
                        <a:pt x="17209" y="2055"/>
                      </a:lnTo>
                      <a:lnTo>
                        <a:pt x="17209" y="2067"/>
                      </a:lnTo>
                      <a:lnTo>
                        <a:pt x="17192" y="2072"/>
                      </a:lnTo>
                      <a:lnTo>
                        <a:pt x="17197" y="2084"/>
                      </a:lnTo>
                      <a:lnTo>
                        <a:pt x="17192" y="2088"/>
                      </a:lnTo>
                      <a:lnTo>
                        <a:pt x="17171" y="2100"/>
                      </a:lnTo>
                      <a:lnTo>
                        <a:pt x="17185" y="2112"/>
                      </a:lnTo>
                      <a:lnTo>
                        <a:pt x="17176" y="2105"/>
                      </a:lnTo>
                      <a:lnTo>
                        <a:pt x="17154" y="2138"/>
                      </a:lnTo>
                      <a:lnTo>
                        <a:pt x="17121" y="2138"/>
                      </a:lnTo>
                      <a:lnTo>
                        <a:pt x="17138" y="2166"/>
                      </a:lnTo>
                      <a:lnTo>
                        <a:pt x="17138" y="2178"/>
                      </a:lnTo>
                      <a:lnTo>
                        <a:pt x="17100" y="2178"/>
                      </a:lnTo>
                      <a:lnTo>
                        <a:pt x="17088" y="2183"/>
                      </a:lnTo>
                      <a:lnTo>
                        <a:pt x="17079" y="2195"/>
                      </a:lnTo>
                      <a:lnTo>
                        <a:pt x="17046" y="2178"/>
                      </a:lnTo>
                      <a:lnTo>
                        <a:pt x="17079" y="2162"/>
                      </a:lnTo>
                      <a:lnTo>
                        <a:pt x="17046" y="2166"/>
                      </a:lnTo>
                      <a:lnTo>
                        <a:pt x="17013" y="2157"/>
                      </a:lnTo>
                      <a:lnTo>
                        <a:pt x="16954" y="2157"/>
                      </a:lnTo>
                      <a:lnTo>
                        <a:pt x="16958" y="2162"/>
                      </a:lnTo>
                      <a:lnTo>
                        <a:pt x="16958" y="2178"/>
                      </a:lnTo>
                      <a:lnTo>
                        <a:pt x="16982" y="2195"/>
                      </a:lnTo>
                      <a:lnTo>
                        <a:pt x="17050" y="2216"/>
                      </a:lnTo>
                      <a:lnTo>
                        <a:pt x="17133" y="2211"/>
                      </a:lnTo>
                      <a:lnTo>
                        <a:pt x="17171" y="2223"/>
                      </a:lnTo>
                      <a:lnTo>
                        <a:pt x="17192" y="2216"/>
                      </a:lnTo>
                      <a:lnTo>
                        <a:pt x="17192" y="2195"/>
                      </a:lnTo>
                      <a:lnTo>
                        <a:pt x="17197" y="2178"/>
                      </a:lnTo>
                      <a:lnTo>
                        <a:pt x="17230" y="2178"/>
                      </a:lnTo>
                      <a:lnTo>
                        <a:pt x="17294" y="2138"/>
                      </a:lnTo>
                      <a:lnTo>
                        <a:pt x="17298" y="2105"/>
                      </a:lnTo>
                      <a:lnTo>
                        <a:pt x="17298" y="2100"/>
                      </a:lnTo>
                      <a:lnTo>
                        <a:pt x="17353" y="2051"/>
                      </a:lnTo>
                      <a:lnTo>
                        <a:pt x="17360" y="2018"/>
                      </a:lnTo>
                      <a:lnTo>
                        <a:pt x="17353" y="1994"/>
                      </a:lnTo>
                      <a:lnTo>
                        <a:pt x="17332" y="1961"/>
                      </a:lnTo>
                      <a:lnTo>
                        <a:pt x="17336" y="1944"/>
                      </a:lnTo>
                      <a:lnTo>
                        <a:pt x="17336" y="1923"/>
                      </a:lnTo>
                      <a:lnTo>
                        <a:pt x="17353" y="1918"/>
                      </a:lnTo>
                      <a:lnTo>
                        <a:pt x="17483" y="1890"/>
                      </a:lnTo>
                      <a:lnTo>
                        <a:pt x="17495" y="1902"/>
                      </a:lnTo>
                      <a:lnTo>
                        <a:pt x="17495" y="1918"/>
                      </a:lnTo>
                      <a:lnTo>
                        <a:pt x="17537" y="1944"/>
                      </a:lnTo>
                      <a:lnTo>
                        <a:pt x="17537" y="1961"/>
                      </a:lnTo>
                      <a:lnTo>
                        <a:pt x="17532" y="1973"/>
                      </a:lnTo>
                      <a:lnTo>
                        <a:pt x="17537" y="1977"/>
                      </a:lnTo>
                      <a:lnTo>
                        <a:pt x="17532" y="2013"/>
                      </a:lnTo>
                      <a:lnTo>
                        <a:pt x="17537" y="2018"/>
                      </a:lnTo>
                      <a:lnTo>
                        <a:pt x="17520" y="2034"/>
                      </a:lnTo>
                      <a:lnTo>
                        <a:pt x="17570" y="2067"/>
                      </a:lnTo>
                      <a:lnTo>
                        <a:pt x="17662" y="2067"/>
                      </a:lnTo>
                      <a:lnTo>
                        <a:pt x="17646" y="2051"/>
                      </a:lnTo>
                      <a:lnTo>
                        <a:pt x="17624" y="2055"/>
                      </a:lnTo>
                      <a:lnTo>
                        <a:pt x="17617" y="2055"/>
                      </a:lnTo>
                      <a:lnTo>
                        <a:pt x="17629" y="2051"/>
                      </a:lnTo>
                      <a:lnTo>
                        <a:pt x="17549" y="2046"/>
                      </a:lnTo>
                      <a:lnTo>
                        <a:pt x="17554" y="1994"/>
                      </a:lnTo>
                      <a:lnTo>
                        <a:pt x="17601" y="1977"/>
                      </a:lnTo>
                      <a:lnTo>
                        <a:pt x="17587" y="1961"/>
                      </a:lnTo>
                      <a:lnTo>
                        <a:pt x="17587" y="1944"/>
                      </a:lnTo>
                      <a:lnTo>
                        <a:pt x="17570" y="1944"/>
                      </a:lnTo>
                      <a:lnTo>
                        <a:pt x="17563" y="1902"/>
                      </a:lnTo>
                      <a:lnTo>
                        <a:pt x="17445" y="1850"/>
                      </a:lnTo>
                      <a:lnTo>
                        <a:pt x="17407" y="1850"/>
                      </a:lnTo>
                      <a:lnTo>
                        <a:pt x="17360" y="1878"/>
                      </a:lnTo>
                      <a:lnTo>
                        <a:pt x="17332" y="1866"/>
                      </a:lnTo>
                      <a:lnTo>
                        <a:pt x="17298" y="1878"/>
                      </a:lnTo>
                      <a:lnTo>
                        <a:pt x="17284" y="1862"/>
                      </a:lnTo>
                      <a:lnTo>
                        <a:pt x="17298" y="1829"/>
                      </a:lnTo>
                      <a:lnTo>
                        <a:pt x="17268" y="1791"/>
                      </a:lnTo>
                      <a:lnTo>
                        <a:pt x="17294" y="1751"/>
                      </a:lnTo>
                      <a:lnTo>
                        <a:pt x="17284" y="1739"/>
                      </a:lnTo>
                      <a:lnTo>
                        <a:pt x="17332" y="1696"/>
                      </a:lnTo>
                      <a:lnTo>
                        <a:pt x="17332" y="1668"/>
                      </a:lnTo>
                      <a:lnTo>
                        <a:pt x="17298" y="1647"/>
                      </a:lnTo>
                      <a:lnTo>
                        <a:pt x="17298" y="1630"/>
                      </a:lnTo>
                      <a:lnTo>
                        <a:pt x="17268" y="1590"/>
                      </a:lnTo>
                      <a:lnTo>
                        <a:pt x="17239" y="1573"/>
                      </a:lnTo>
                      <a:lnTo>
                        <a:pt x="17268" y="1545"/>
                      </a:lnTo>
                      <a:lnTo>
                        <a:pt x="17268" y="1529"/>
                      </a:lnTo>
                      <a:lnTo>
                        <a:pt x="17268" y="1519"/>
                      </a:lnTo>
                      <a:lnTo>
                        <a:pt x="17369" y="1479"/>
                      </a:lnTo>
                      <a:lnTo>
                        <a:pt x="17386" y="1462"/>
                      </a:lnTo>
                      <a:lnTo>
                        <a:pt x="17386" y="1441"/>
                      </a:lnTo>
                      <a:lnTo>
                        <a:pt x="17374" y="1408"/>
                      </a:lnTo>
                      <a:lnTo>
                        <a:pt x="17360" y="1384"/>
                      </a:lnTo>
                      <a:lnTo>
                        <a:pt x="17374" y="1375"/>
                      </a:lnTo>
                      <a:lnTo>
                        <a:pt x="17402" y="1384"/>
                      </a:lnTo>
                      <a:lnTo>
                        <a:pt x="17412" y="1392"/>
                      </a:lnTo>
                      <a:lnTo>
                        <a:pt x="17402" y="1401"/>
                      </a:lnTo>
                      <a:lnTo>
                        <a:pt x="17424" y="1418"/>
                      </a:lnTo>
                      <a:lnTo>
                        <a:pt x="17412" y="1425"/>
                      </a:lnTo>
                      <a:lnTo>
                        <a:pt x="17428" y="1458"/>
                      </a:lnTo>
                      <a:lnTo>
                        <a:pt x="17391" y="1512"/>
                      </a:lnTo>
                      <a:lnTo>
                        <a:pt x="17391" y="1529"/>
                      </a:lnTo>
                      <a:lnTo>
                        <a:pt x="17407" y="1545"/>
                      </a:lnTo>
                      <a:lnTo>
                        <a:pt x="17407" y="1557"/>
                      </a:lnTo>
                      <a:lnTo>
                        <a:pt x="17391" y="1569"/>
                      </a:lnTo>
                      <a:lnTo>
                        <a:pt x="17391" y="1573"/>
                      </a:lnTo>
                      <a:lnTo>
                        <a:pt x="17428" y="1590"/>
                      </a:lnTo>
                      <a:lnTo>
                        <a:pt x="17511" y="1602"/>
                      </a:lnTo>
                      <a:lnTo>
                        <a:pt x="17511" y="1614"/>
                      </a:lnTo>
                      <a:lnTo>
                        <a:pt x="17516" y="1607"/>
                      </a:lnTo>
                      <a:lnTo>
                        <a:pt x="17563" y="1607"/>
                      </a:lnTo>
                      <a:lnTo>
                        <a:pt x="17575" y="1614"/>
                      </a:lnTo>
                      <a:lnTo>
                        <a:pt x="17587" y="1630"/>
                      </a:lnTo>
                      <a:lnTo>
                        <a:pt x="17617" y="1640"/>
                      </a:lnTo>
                      <a:lnTo>
                        <a:pt x="17662" y="1630"/>
                      </a:lnTo>
                      <a:lnTo>
                        <a:pt x="17624" y="1630"/>
                      </a:lnTo>
                      <a:lnTo>
                        <a:pt x="17617" y="1630"/>
                      </a:lnTo>
                      <a:lnTo>
                        <a:pt x="17624" y="1614"/>
                      </a:lnTo>
                      <a:lnTo>
                        <a:pt x="17608" y="1614"/>
                      </a:lnTo>
                      <a:lnTo>
                        <a:pt x="17624" y="1623"/>
                      </a:lnTo>
                      <a:lnTo>
                        <a:pt x="17617" y="1623"/>
                      </a:lnTo>
                      <a:lnTo>
                        <a:pt x="17601" y="1614"/>
                      </a:lnTo>
                      <a:lnTo>
                        <a:pt x="17608" y="1590"/>
                      </a:lnTo>
                      <a:lnTo>
                        <a:pt x="17575" y="1590"/>
                      </a:lnTo>
                      <a:lnTo>
                        <a:pt x="17587" y="1573"/>
                      </a:lnTo>
                      <a:lnTo>
                        <a:pt x="17570" y="1590"/>
                      </a:lnTo>
                      <a:lnTo>
                        <a:pt x="17549" y="1585"/>
                      </a:lnTo>
                      <a:lnTo>
                        <a:pt x="17554" y="1590"/>
                      </a:lnTo>
                      <a:lnTo>
                        <a:pt x="17461" y="1552"/>
                      </a:lnTo>
                      <a:lnTo>
                        <a:pt x="17445" y="1512"/>
                      </a:lnTo>
                      <a:lnTo>
                        <a:pt x="17457" y="1503"/>
                      </a:lnTo>
                      <a:lnTo>
                        <a:pt x="17511" y="1491"/>
                      </a:lnTo>
                      <a:lnTo>
                        <a:pt x="17554" y="1519"/>
                      </a:lnTo>
                      <a:lnTo>
                        <a:pt x="17591" y="1512"/>
                      </a:lnTo>
                      <a:lnTo>
                        <a:pt x="17601" y="1495"/>
                      </a:lnTo>
                      <a:lnTo>
                        <a:pt x="17587" y="1479"/>
                      </a:lnTo>
                      <a:lnTo>
                        <a:pt x="17537" y="1479"/>
                      </a:lnTo>
                      <a:lnTo>
                        <a:pt x="17549" y="1462"/>
                      </a:lnTo>
                      <a:lnTo>
                        <a:pt x="17563" y="1474"/>
                      </a:lnTo>
                      <a:lnTo>
                        <a:pt x="17575" y="1446"/>
                      </a:lnTo>
                      <a:lnTo>
                        <a:pt x="17624" y="1441"/>
                      </a:lnTo>
                      <a:lnTo>
                        <a:pt x="17693" y="1446"/>
                      </a:lnTo>
                      <a:lnTo>
                        <a:pt x="17785" y="1479"/>
                      </a:lnTo>
                      <a:lnTo>
                        <a:pt x="17785" y="1491"/>
                      </a:lnTo>
                      <a:lnTo>
                        <a:pt x="17769" y="1491"/>
                      </a:lnTo>
                      <a:lnTo>
                        <a:pt x="17839" y="1536"/>
                      </a:lnTo>
                      <a:lnTo>
                        <a:pt x="17927" y="1529"/>
                      </a:lnTo>
                      <a:lnTo>
                        <a:pt x="17953" y="1536"/>
                      </a:lnTo>
                      <a:lnTo>
                        <a:pt x="17941" y="1552"/>
                      </a:lnTo>
                      <a:lnTo>
                        <a:pt x="17932" y="1569"/>
                      </a:lnTo>
                      <a:lnTo>
                        <a:pt x="17889" y="1590"/>
                      </a:lnTo>
                      <a:lnTo>
                        <a:pt x="17894" y="1614"/>
                      </a:lnTo>
                      <a:lnTo>
                        <a:pt x="17877" y="1630"/>
                      </a:lnTo>
                      <a:lnTo>
                        <a:pt x="17894" y="1656"/>
                      </a:lnTo>
                      <a:lnTo>
                        <a:pt x="17872" y="1684"/>
                      </a:lnTo>
                      <a:lnTo>
                        <a:pt x="17894" y="1734"/>
                      </a:lnTo>
                      <a:lnTo>
                        <a:pt x="17877" y="1684"/>
                      </a:lnTo>
                      <a:lnTo>
                        <a:pt x="17898" y="1680"/>
                      </a:lnTo>
                      <a:lnTo>
                        <a:pt x="17898" y="1656"/>
                      </a:lnTo>
                      <a:lnTo>
                        <a:pt x="17910" y="1630"/>
                      </a:lnTo>
                      <a:lnTo>
                        <a:pt x="17948" y="1640"/>
                      </a:lnTo>
                      <a:lnTo>
                        <a:pt x="17941" y="1701"/>
                      </a:lnTo>
                      <a:lnTo>
                        <a:pt x="17910" y="1722"/>
                      </a:lnTo>
                      <a:lnTo>
                        <a:pt x="17910" y="1734"/>
                      </a:lnTo>
                      <a:lnTo>
                        <a:pt x="17948" y="1751"/>
                      </a:lnTo>
                      <a:lnTo>
                        <a:pt x="17948" y="1739"/>
                      </a:lnTo>
                      <a:lnTo>
                        <a:pt x="17932" y="1718"/>
                      </a:lnTo>
                      <a:lnTo>
                        <a:pt x="17969" y="1718"/>
                      </a:lnTo>
                      <a:lnTo>
                        <a:pt x="17986" y="1701"/>
                      </a:lnTo>
                      <a:lnTo>
                        <a:pt x="17969" y="1640"/>
                      </a:lnTo>
                      <a:lnTo>
                        <a:pt x="17948" y="1602"/>
                      </a:lnTo>
                      <a:lnTo>
                        <a:pt x="17979" y="1545"/>
                      </a:lnTo>
                      <a:lnTo>
                        <a:pt x="17965" y="1519"/>
                      </a:lnTo>
                      <a:lnTo>
                        <a:pt x="17915" y="1512"/>
                      </a:lnTo>
                      <a:lnTo>
                        <a:pt x="17877" y="1479"/>
                      </a:lnTo>
                      <a:lnTo>
                        <a:pt x="17889" y="1474"/>
                      </a:lnTo>
                      <a:lnTo>
                        <a:pt x="17877" y="1458"/>
                      </a:lnTo>
                      <a:lnTo>
                        <a:pt x="17806" y="1446"/>
                      </a:lnTo>
                      <a:lnTo>
                        <a:pt x="17780" y="1425"/>
                      </a:lnTo>
                      <a:lnTo>
                        <a:pt x="17785" y="1408"/>
                      </a:lnTo>
                      <a:lnTo>
                        <a:pt x="17769" y="1392"/>
                      </a:lnTo>
                      <a:lnTo>
                        <a:pt x="17785" y="1375"/>
                      </a:lnTo>
                      <a:lnTo>
                        <a:pt x="17785" y="1363"/>
                      </a:lnTo>
                      <a:lnTo>
                        <a:pt x="17752" y="1347"/>
                      </a:lnTo>
                      <a:lnTo>
                        <a:pt x="17764" y="1335"/>
                      </a:lnTo>
                      <a:lnTo>
                        <a:pt x="17738" y="1335"/>
                      </a:lnTo>
                      <a:lnTo>
                        <a:pt x="17764" y="1330"/>
                      </a:lnTo>
                      <a:lnTo>
                        <a:pt x="17747" y="1314"/>
                      </a:lnTo>
                      <a:lnTo>
                        <a:pt x="17769" y="1290"/>
                      </a:lnTo>
                      <a:lnTo>
                        <a:pt x="17764" y="1290"/>
                      </a:lnTo>
                      <a:lnTo>
                        <a:pt x="17764" y="1281"/>
                      </a:lnTo>
                      <a:lnTo>
                        <a:pt x="18054" y="1252"/>
                      </a:lnTo>
                      <a:lnTo>
                        <a:pt x="18092" y="1257"/>
                      </a:lnTo>
                      <a:lnTo>
                        <a:pt x="18146" y="1240"/>
                      </a:lnTo>
                      <a:lnTo>
                        <a:pt x="18222" y="1240"/>
                      </a:lnTo>
                      <a:lnTo>
                        <a:pt x="18217" y="1252"/>
                      </a:lnTo>
                      <a:lnTo>
                        <a:pt x="18130" y="1297"/>
                      </a:lnTo>
                      <a:lnTo>
                        <a:pt x="18130" y="1314"/>
                      </a:lnTo>
                      <a:lnTo>
                        <a:pt x="18196" y="1347"/>
                      </a:lnTo>
                      <a:lnTo>
                        <a:pt x="18201" y="1363"/>
                      </a:lnTo>
                      <a:lnTo>
                        <a:pt x="18196" y="1335"/>
                      </a:lnTo>
                      <a:lnTo>
                        <a:pt x="18142" y="1314"/>
                      </a:lnTo>
                      <a:lnTo>
                        <a:pt x="18130" y="1290"/>
                      </a:lnTo>
                      <a:lnTo>
                        <a:pt x="18234" y="1273"/>
                      </a:lnTo>
                      <a:lnTo>
                        <a:pt x="18267" y="1236"/>
                      </a:lnTo>
                      <a:lnTo>
                        <a:pt x="18239" y="1240"/>
                      </a:lnTo>
                      <a:lnTo>
                        <a:pt x="18217" y="1219"/>
                      </a:lnTo>
                      <a:lnTo>
                        <a:pt x="18250" y="1219"/>
                      </a:lnTo>
                      <a:lnTo>
                        <a:pt x="18239" y="1207"/>
                      </a:lnTo>
                      <a:lnTo>
                        <a:pt x="18213" y="1207"/>
                      </a:lnTo>
                      <a:lnTo>
                        <a:pt x="18201" y="1186"/>
                      </a:lnTo>
                      <a:lnTo>
                        <a:pt x="18184" y="1186"/>
                      </a:lnTo>
                      <a:lnTo>
                        <a:pt x="18142" y="1179"/>
                      </a:lnTo>
                      <a:lnTo>
                        <a:pt x="18142" y="1170"/>
                      </a:lnTo>
                      <a:lnTo>
                        <a:pt x="18168" y="1179"/>
                      </a:lnTo>
                      <a:lnTo>
                        <a:pt x="18146" y="1162"/>
                      </a:lnTo>
                      <a:lnTo>
                        <a:pt x="18180" y="1153"/>
                      </a:lnTo>
                      <a:lnTo>
                        <a:pt x="18213" y="1162"/>
                      </a:lnTo>
                      <a:lnTo>
                        <a:pt x="18196" y="1179"/>
                      </a:lnTo>
                      <a:lnTo>
                        <a:pt x="18222" y="1170"/>
                      </a:lnTo>
                      <a:lnTo>
                        <a:pt x="18184" y="1146"/>
                      </a:lnTo>
                      <a:lnTo>
                        <a:pt x="18196" y="1141"/>
                      </a:lnTo>
                      <a:lnTo>
                        <a:pt x="18184" y="1141"/>
                      </a:lnTo>
                      <a:lnTo>
                        <a:pt x="18130" y="1129"/>
                      </a:lnTo>
                      <a:lnTo>
                        <a:pt x="18158" y="1113"/>
                      </a:lnTo>
                      <a:lnTo>
                        <a:pt x="18146" y="1108"/>
                      </a:lnTo>
                      <a:lnTo>
                        <a:pt x="18213" y="1129"/>
                      </a:lnTo>
                      <a:lnTo>
                        <a:pt x="18213" y="1125"/>
                      </a:lnTo>
                      <a:lnTo>
                        <a:pt x="18201" y="1125"/>
                      </a:lnTo>
                      <a:lnTo>
                        <a:pt x="18239" y="1087"/>
                      </a:lnTo>
                      <a:lnTo>
                        <a:pt x="18234" y="1075"/>
                      </a:lnTo>
                      <a:lnTo>
                        <a:pt x="18255" y="1087"/>
                      </a:lnTo>
                      <a:lnTo>
                        <a:pt x="18272" y="1075"/>
                      </a:lnTo>
                      <a:lnTo>
                        <a:pt x="18213" y="1070"/>
                      </a:lnTo>
                      <a:lnTo>
                        <a:pt x="18217" y="1051"/>
                      </a:lnTo>
                      <a:lnTo>
                        <a:pt x="18288" y="1058"/>
                      </a:lnTo>
                      <a:lnTo>
                        <a:pt x="18373" y="1002"/>
                      </a:lnTo>
                      <a:lnTo>
                        <a:pt x="18395" y="1014"/>
                      </a:lnTo>
                      <a:lnTo>
                        <a:pt x="18428" y="997"/>
                      </a:lnTo>
                      <a:lnTo>
                        <a:pt x="18487" y="981"/>
                      </a:lnTo>
                      <a:lnTo>
                        <a:pt x="18541" y="981"/>
                      </a:lnTo>
                      <a:lnTo>
                        <a:pt x="18546" y="976"/>
                      </a:lnTo>
                      <a:lnTo>
                        <a:pt x="18720" y="943"/>
                      </a:lnTo>
                      <a:lnTo>
                        <a:pt x="18671" y="943"/>
                      </a:lnTo>
                      <a:lnTo>
                        <a:pt x="18666" y="947"/>
                      </a:lnTo>
                      <a:lnTo>
                        <a:pt x="18654" y="931"/>
                      </a:lnTo>
                      <a:lnTo>
                        <a:pt x="18645" y="943"/>
                      </a:lnTo>
                      <a:lnTo>
                        <a:pt x="18645" y="947"/>
                      </a:lnTo>
                      <a:lnTo>
                        <a:pt x="18628" y="943"/>
                      </a:lnTo>
                      <a:lnTo>
                        <a:pt x="18633" y="924"/>
                      </a:lnTo>
                      <a:lnTo>
                        <a:pt x="18654" y="924"/>
                      </a:lnTo>
                      <a:lnTo>
                        <a:pt x="18650" y="919"/>
                      </a:lnTo>
                      <a:lnTo>
                        <a:pt x="18666" y="919"/>
                      </a:lnTo>
                      <a:lnTo>
                        <a:pt x="18654" y="924"/>
                      </a:lnTo>
                      <a:lnTo>
                        <a:pt x="18666" y="931"/>
                      </a:lnTo>
                      <a:lnTo>
                        <a:pt x="18709" y="924"/>
                      </a:lnTo>
                      <a:lnTo>
                        <a:pt x="18683" y="907"/>
                      </a:lnTo>
                      <a:lnTo>
                        <a:pt x="18735" y="907"/>
                      </a:lnTo>
                      <a:lnTo>
                        <a:pt x="18742" y="924"/>
                      </a:lnTo>
                      <a:lnTo>
                        <a:pt x="18758" y="919"/>
                      </a:lnTo>
                      <a:lnTo>
                        <a:pt x="18742" y="907"/>
                      </a:lnTo>
                      <a:lnTo>
                        <a:pt x="18751" y="907"/>
                      </a:lnTo>
                      <a:lnTo>
                        <a:pt x="18865" y="919"/>
                      </a:lnTo>
                      <a:lnTo>
                        <a:pt x="18817" y="947"/>
                      </a:lnTo>
                      <a:lnTo>
                        <a:pt x="18827" y="947"/>
                      </a:lnTo>
                      <a:lnTo>
                        <a:pt x="18843" y="943"/>
                      </a:lnTo>
                      <a:lnTo>
                        <a:pt x="18881" y="931"/>
                      </a:lnTo>
                      <a:lnTo>
                        <a:pt x="18886" y="943"/>
                      </a:lnTo>
                      <a:lnTo>
                        <a:pt x="18881" y="947"/>
                      </a:lnTo>
                      <a:lnTo>
                        <a:pt x="18935" y="924"/>
                      </a:lnTo>
                      <a:lnTo>
                        <a:pt x="18940" y="924"/>
                      </a:lnTo>
                      <a:lnTo>
                        <a:pt x="18924" y="943"/>
                      </a:lnTo>
                      <a:lnTo>
                        <a:pt x="18973" y="931"/>
                      </a:lnTo>
                      <a:lnTo>
                        <a:pt x="18957" y="924"/>
                      </a:lnTo>
                      <a:lnTo>
                        <a:pt x="18994" y="919"/>
                      </a:lnTo>
                      <a:lnTo>
                        <a:pt x="19006" y="919"/>
                      </a:lnTo>
                      <a:lnTo>
                        <a:pt x="18978" y="907"/>
                      </a:lnTo>
                      <a:lnTo>
                        <a:pt x="19044" y="891"/>
                      </a:lnTo>
                      <a:lnTo>
                        <a:pt x="19032" y="903"/>
                      </a:lnTo>
                      <a:lnTo>
                        <a:pt x="19082" y="903"/>
                      </a:lnTo>
                      <a:lnTo>
                        <a:pt x="19065" y="907"/>
                      </a:lnTo>
                      <a:lnTo>
                        <a:pt x="19098" y="907"/>
                      </a:lnTo>
                      <a:lnTo>
                        <a:pt x="19087" y="919"/>
                      </a:lnTo>
                      <a:lnTo>
                        <a:pt x="19113" y="924"/>
                      </a:lnTo>
                      <a:lnTo>
                        <a:pt x="19103" y="959"/>
                      </a:lnTo>
                      <a:lnTo>
                        <a:pt x="19075" y="964"/>
                      </a:lnTo>
                      <a:lnTo>
                        <a:pt x="19065" y="997"/>
                      </a:lnTo>
                      <a:lnTo>
                        <a:pt x="19103" y="1014"/>
                      </a:lnTo>
                      <a:lnTo>
                        <a:pt x="19141" y="1051"/>
                      </a:lnTo>
                      <a:lnTo>
                        <a:pt x="19136" y="1035"/>
                      </a:lnTo>
                      <a:lnTo>
                        <a:pt x="19113" y="1018"/>
                      </a:lnTo>
                      <a:lnTo>
                        <a:pt x="19120" y="1014"/>
                      </a:lnTo>
                      <a:lnTo>
                        <a:pt x="19075" y="997"/>
                      </a:lnTo>
                      <a:lnTo>
                        <a:pt x="19082" y="964"/>
                      </a:lnTo>
                      <a:lnTo>
                        <a:pt x="19103" y="964"/>
                      </a:lnTo>
                      <a:lnTo>
                        <a:pt x="19120" y="947"/>
                      </a:lnTo>
                      <a:lnTo>
                        <a:pt x="19120" y="919"/>
                      </a:lnTo>
                      <a:lnTo>
                        <a:pt x="19103" y="891"/>
                      </a:lnTo>
                      <a:lnTo>
                        <a:pt x="19061" y="874"/>
                      </a:lnTo>
                      <a:lnTo>
                        <a:pt x="19044" y="865"/>
                      </a:lnTo>
                      <a:lnTo>
                        <a:pt x="19188" y="853"/>
                      </a:lnTo>
                      <a:lnTo>
                        <a:pt x="19280" y="874"/>
                      </a:lnTo>
                      <a:lnTo>
                        <a:pt x="19188" y="848"/>
                      </a:lnTo>
                      <a:lnTo>
                        <a:pt x="19205" y="848"/>
                      </a:lnTo>
                      <a:lnTo>
                        <a:pt x="19212" y="820"/>
                      </a:lnTo>
                      <a:lnTo>
                        <a:pt x="19188" y="799"/>
                      </a:lnTo>
                      <a:lnTo>
                        <a:pt x="19195" y="780"/>
                      </a:lnTo>
                      <a:lnTo>
                        <a:pt x="19212" y="780"/>
                      </a:lnTo>
                      <a:lnTo>
                        <a:pt x="19212" y="763"/>
                      </a:lnTo>
                      <a:lnTo>
                        <a:pt x="19276" y="721"/>
                      </a:lnTo>
                      <a:lnTo>
                        <a:pt x="19292" y="725"/>
                      </a:lnTo>
                      <a:lnTo>
                        <a:pt x="19351" y="681"/>
                      </a:lnTo>
                      <a:lnTo>
                        <a:pt x="19427" y="671"/>
                      </a:lnTo>
                      <a:lnTo>
                        <a:pt x="19439" y="671"/>
                      </a:lnTo>
                      <a:lnTo>
                        <a:pt x="19427" y="681"/>
                      </a:lnTo>
                      <a:lnTo>
                        <a:pt x="19460" y="671"/>
                      </a:lnTo>
                      <a:lnTo>
                        <a:pt x="19476" y="697"/>
                      </a:lnTo>
                      <a:lnTo>
                        <a:pt x="19507" y="697"/>
                      </a:lnTo>
                      <a:lnTo>
                        <a:pt x="19535" y="697"/>
                      </a:lnTo>
                      <a:lnTo>
                        <a:pt x="19552" y="721"/>
                      </a:lnTo>
                      <a:lnTo>
                        <a:pt x="19566" y="725"/>
                      </a:lnTo>
                      <a:lnTo>
                        <a:pt x="19528" y="725"/>
                      </a:lnTo>
                      <a:lnTo>
                        <a:pt x="19514" y="742"/>
                      </a:lnTo>
                      <a:lnTo>
                        <a:pt x="19422" y="763"/>
                      </a:lnTo>
                      <a:lnTo>
                        <a:pt x="19545" y="758"/>
                      </a:lnTo>
                      <a:lnTo>
                        <a:pt x="19535" y="775"/>
                      </a:lnTo>
                      <a:lnTo>
                        <a:pt x="19514" y="780"/>
                      </a:lnTo>
                      <a:lnTo>
                        <a:pt x="19604" y="775"/>
                      </a:lnTo>
                      <a:lnTo>
                        <a:pt x="19654" y="792"/>
                      </a:lnTo>
                      <a:lnTo>
                        <a:pt x="19637" y="799"/>
                      </a:lnTo>
                      <a:lnTo>
                        <a:pt x="19642" y="799"/>
                      </a:lnTo>
                      <a:lnTo>
                        <a:pt x="19590" y="848"/>
                      </a:lnTo>
                      <a:lnTo>
                        <a:pt x="19573" y="848"/>
                      </a:lnTo>
                      <a:lnTo>
                        <a:pt x="19573" y="853"/>
                      </a:lnTo>
                      <a:lnTo>
                        <a:pt x="19687" y="853"/>
                      </a:lnTo>
                      <a:lnTo>
                        <a:pt x="19691" y="836"/>
                      </a:lnTo>
                      <a:lnTo>
                        <a:pt x="19687" y="832"/>
                      </a:lnTo>
                      <a:lnTo>
                        <a:pt x="19687" y="820"/>
                      </a:lnTo>
                      <a:lnTo>
                        <a:pt x="19831" y="832"/>
                      </a:lnTo>
                      <a:lnTo>
                        <a:pt x="19906" y="820"/>
                      </a:lnTo>
                      <a:lnTo>
                        <a:pt x="19982" y="865"/>
                      </a:lnTo>
                      <a:lnTo>
                        <a:pt x="19961" y="874"/>
                      </a:lnTo>
                      <a:lnTo>
                        <a:pt x="19994" y="865"/>
                      </a:lnTo>
                      <a:lnTo>
                        <a:pt x="20020" y="886"/>
                      </a:lnTo>
                      <a:lnTo>
                        <a:pt x="20015" y="903"/>
                      </a:lnTo>
                      <a:lnTo>
                        <a:pt x="20010" y="891"/>
                      </a:lnTo>
                      <a:lnTo>
                        <a:pt x="20031" y="907"/>
                      </a:lnTo>
                      <a:lnTo>
                        <a:pt x="20010" y="924"/>
                      </a:lnTo>
                      <a:lnTo>
                        <a:pt x="20065" y="907"/>
                      </a:lnTo>
                      <a:lnTo>
                        <a:pt x="20036" y="891"/>
                      </a:lnTo>
                      <a:lnTo>
                        <a:pt x="20065" y="891"/>
                      </a:lnTo>
                      <a:lnTo>
                        <a:pt x="20074" y="907"/>
                      </a:lnTo>
                      <a:lnTo>
                        <a:pt x="20074" y="947"/>
                      </a:lnTo>
                      <a:lnTo>
                        <a:pt x="20091" y="943"/>
                      </a:lnTo>
                      <a:lnTo>
                        <a:pt x="20102" y="959"/>
                      </a:lnTo>
                      <a:lnTo>
                        <a:pt x="20091" y="985"/>
                      </a:lnTo>
                      <a:lnTo>
                        <a:pt x="20074" y="997"/>
                      </a:lnTo>
                      <a:lnTo>
                        <a:pt x="20069" y="997"/>
                      </a:lnTo>
                      <a:lnTo>
                        <a:pt x="20086" y="981"/>
                      </a:lnTo>
                      <a:lnTo>
                        <a:pt x="19994" y="959"/>
                      </a:lnTo>
                      <a:lnTo>
                        <a:pt x="20031" y="976"/>
                      </a:lnTo>
                      <a:lnTo>
                        <a:pt x="20031" y="997"/>
                      </a:lnTo>
                      <a:lnTo>
                        <a:pt x="20065" y="981"/>
                      </a:lnTo>
                      <a:lnTo>
                        <a:pt x="20065" y="997"/>
                      </a:lnTo>
                      <a:lnTo>
                        <a:pt x="20086" y="1002"/>
                      </a:lnTo>
                      <a:lnTo>
                        <a:pt x="20091" y="1018"/>
                      </a:lnTo>
                      <a:lnTo>
                        <a:pt x="20074" y="1018"/>
                      </a:lnTo>
                      <a:lnTo>
                        <a:pt x="20086" y="1030"/>
                      </a:lnTo>
                      <a:lnTo>
                        <a:pt x="20031" y="1075"/>
                      </a:lnTo>
                      <a:lnTo>
                        <a:pt x="19977" y="1092"/>
                      </a:lnTo>
                      <a:lnTo>
                        <a:pt x="19956" y="1125"/>
                      </a:lnTo>
                      <a:lnTo>
                        <a:pt x="19930" y="1125"/>
                      </a:lnTo>
                      <a:lnTo>
                        <a:pt x="19902" y="1141"/>
                      </a:lnTo>
                      <a:lnTo>
                        <a:pt x="19854" y="1153"/>
                      </a:lnTo>
                      <a:lnTo>
                        <a:pt x="19859" y="1153"/>
                      </a:lnTo>
                      <a:lnTo>
                        <a:pt x="19847" y="1170"/>
                      </a:lnTo>
                      <a:lnTo>
                        <a:pt x="19800" y="1170"/>
                      </a:lnTo>
                      <a:lnTo>
                        <a:pt x="19831" y="1179"/>
                      </a:lnTo>
                      <a:lnTo>
                        <a:pt x="19821" y="1195"/>
                      </a:lnTo>
                      <a:lnTo>
                        <a:pt x="19767" y="1219"/>
                      </a:lnTo>
                      <a:lnTo>
                        <a:pt x="19708" y="1264"/>
                      </a:lnTo>
                      <a:lnTo>
                        <a:pt x="19628" y="1273"/>
                      </a:lnTo>
                      <a:lnTo>
                        <a:pt x="19628" y="1281"/>
                      </a:lnTo>
                      <a:lnTo>
                        <a:pt x="19604" y="1314"/>
                      </a:lnTo>
                      <a:lnTo>
                        <a:pt x="19552" y="1318"/>
                      </a:lnTo>
                      <a:lnTo>
                        <a:pt x="19535" y="1363"/>
                      </a:lnTo>
                      <a:lnTo>
                        <a:pt x="19498" y="1392"/>
                      </a:lnTo>
                      <a:lnTo>
                        <a:pt x="19566" y="1363"/>
                      </a:lnTo>
                      <a:lnTo>
                        <a:pt x="19561" y="1347"/>
                      </a:lnTo>
                      <a:lnTo>
                        <a:pt x="19573" y="1330"/>
                      </a:lnTo>
                      <a:lnTo>
                        <a:pt x="19604" y="1335"/>
                      </a:lnTo>
                      <a:lnTo>
                        <a:pt x="19713" y="1330"/>
                      </a:lnTo>
                      <a:lnTo>
                        <a:pt x="19708" y="1318"/>
                      </a:lnTo>
                      <a:lnTo>
                        <a:pt x="19779" y="1307"/>
                      </a:lnTo>
                      <a:lnTo>
                        <a:pt x="19779" y="1290"/>
                      </a:lnTo>
                      <a:lnTo>
                        <a:pt x="19793" y="1297"/>
                      </a:lnTo>
                      <a:lnTo>
                        <a:pt x="19779" y="1281"/>
                      </a:lnTo>
                      <a:lnTo>
                        <a:pt x="19817" y="1297"/>
                      </a:lnTo>
                      <a:lnTo>
                        <a:pt x="19892" y="1264"/>
                      </a:lnTo>
                      <a:lnTo>
                        <a:pt x="19892" y="1252"/>
                      </a:lnTo>
                      <a:lnTo>
                        <a:pt x="19876" y="1252"/>
                      </a:lnTo>
                      <a:lnTo>
                        <a:pt x="19817" y="1264"/>
                      </a:lnTo>
                      <a:lnTo>
                        <a:pt x="19800" y="1252"/>
                      </a:lnTo>
                      <a:lnTo>
                        <a:pt x="19821" y="1224"/>
                      </a:lnTo>
                      <a:lnTo>
                        <a:pt x="19847" y="1219"/>
                      </a:lnTo>
                      <a:lnTo>
                        <a:pt x="19902" y="1236"/>
                      </a:lnTo>
                      <a:lnTo>
                        <a:pt x="19906" y="1219"/>
                      </a:lnTo>
                      <a:lnTo>
                        <a:pt x="19939" y="1207"/>
                      </a:lnTo>
                      <a:lnTo>
                        <a:pt x="19913" y="1224"/>
                      </a:lnTo>
                      <a:lnTo>
                        <a:pt x="19930" y="1240"/>
                      </a:lnTo>
                      <a:lnTo>
                        <a:pt x="19982" y="1257"/>
                      </a:lnTo>
                      <a:lnTo>
                        <a:pt x="20031" y="1252"/>
                      </a:lnTo>
                      <a:lnTo>
                        <a:pt x="20036" y="1240"/>
                      </a:lnTo>
                      <a:lnTo>
                        <a:pt x="20031" y="1224"/>
                      </a:lnTo>
                      <a:lnTo>
                        <a:pt x="20069" y="1264"/>
                      </a:lnTo>
                      <a:lnTo>
                        <a:pt x="20053" y="1297"/>
                      </a:lnTo>
                      <a:lnTo>
                        <a:pt x="20074" y="1314"/>
                      </a:lnTo>
                      <a:lnTo>
                        <a:pt x="20074" y="1363"/>
                      </a:lnTo>
                      <a:lnTo>
                        <a:pt x="20048" y="1375"/>
                      </a:lnTo>
                      <a:lnTo>
                        <a:pt x="20053" y="1392"/>
                      </a:lnTo>
                      <a:lnTo>
                        <a:pt x="20119" y="1418"/>
                      </a:lnTo>
                      <a:lnTo>
                        <a:pt x="20069" y="1401"/>
                      </a:lnTo>
                      <a:lnTo>
                        <a:pt x="20053" y="1384"/>
                      </a:lnTo>
                      <a:lnTo>
                        <a:pt x="20074" y="1363"/>
                      </a:lnTo>
                      <a:lnTo>
                        <a:pt x="20074" y="1318"/>
                      </a:lnTo>
                      <a:lnTo>
                        <a:pt x="20119" y="1314"/>
                      </a:lnTo>
                      <a:lnTo>
                        <a:pt x="20091" y="1314"/>
                      </a:lnTo>
                      <a:lnTo>
                        <a:pt x="20074" y="1290"/>
                      </a:lnTo>
                      <a:lnTo>
                        <a:pt x="20216" y="1257"/>
                      </a:lnTo>
                      <a:lnTo>
                        <a:pt x="20443" y="1281"/>
                      </a:lnTo>
                      <a:lnTo>
                        <a:pt x="20464" y="1290"/>
                      </a:lnTo>
                      <a:lnTo>
                        <a:pt x="20426" y="1290"/>
                      </a:lnTo>
                      <a:lnTo>
                        <a:pt x="20414" y="1297"/>
                      </a:lnTo>
                      <a:lnTo>
                        <a:pt x="20414" y="1330"/>
                      </a:lnTo>
                      <a:lnTo>
                        <a:pt x="20502" y="1351"/>
                      </a:lnTo>
                      <a:lnTo>
                        <a:pt x="20518" y="1368"/>
                      </a:lnTo>
                      <a:lnTo>
                        <a:pt x="20572" y="1375"/>
                      </a:lnTo>
                      <a:lnTo>
                        <a:pt x="20518" y="1363"/>
                      </a:lnTo>
                      <a:lnTo>
                        <a:pt x="20662" y="1363"/>
                      </a:lnTo>
                      <a:lnTo>
                        <a:pt x="20766" y="1392"/>
                      </a:lnTo>
                      <a:lnTo>
                        <a:pt x="20792" y="1392"/>
                      </a:lnTo>
                      <a:lnTo>
                        <a:pt x="20863" y="1408"/>
                      </a:lnTo>
                      <a:lnTo>
                        <a:pt x="20965" y="1458"/>
                      </a:lnTo>
                      <a:lnTo>
                        <a:pt x="20981" y="1446"/>
                      </a:lnTo>
                      <a:lnTo>
                        <a:pt x="21035" y="1512"/>
                      </a:lnTo>
                      <a:lnTo>
                        <a:pt x="21026" y="1529"/>
                      </a:lnTo>
                      <a:lnTo>
                        <a:pt x="21040" y="1573"/>
                      </a:lnTo>
                      <a:lnTo>
                        <a:pt x="21040" y="1569"/>
                      </a:lnTo>
                      <a:lnTo>
                        <a:pt x="21035" y="1529"/>
                      </a:lnTo>
                      <a:lnTo>
                        <a:pt x="21047" y="1512"/>
                      </a:lnTo>
                      <a:lnTo>
                        <a:pt x="21019" y="1491"/>
                      </a:lnTo>
                      <a:lnTo>
                        <a:pt x="21019" y="1458"/>
                      </a:lnTo>
                      <a:lnTo>
                        <a:pt x="21002" y="1441"/>
                      </a:lnTo>
                      <a:lnTo>
                        <a:pt x="21073" y="1446"/>
                      </a:lnTo>
                      <a:lnTo>
                        <a:pt x="21111" y="1479"/>
                      </a:lnTo>
                      <a:lnTo>
                        <a:pt x="21144" y="1529"/>
                      </a:lnTo>
                      <a:lnTo>
                        <a:pt x="21170" y="1519"/>
                      </a:lnTo>
                      <a:lnTo>
                        <a:pt x="21165" y="1495"/>
                      </a:lnTo>
                      <a:lnTo>
                        <a:pt x="21203" y="1536"/>
                      </a:lnTo>
                      <a:lnTo>
                        <a:pt x="21154" y="1536"/>
                      </a:lnTo>
                      <a:lnTo>
                        <a:pt x="21149" y="1545"/>
                      </a:lnTo>
                      <a:lnTo>
                        <a:pt x="21149" y="1552"/>
                      </a:lnTo>
                      <a:lnTo>
                        <a:pt x="21170" y="1552"/>
                      </a:lnTo>
                      <a:lnTo>
                        <a:pt x="21187" y="1585"/>
                      </a:lnTo>
                      <a:lnTo>
                        <a:pt x="21208" y="1590"/>
                      </a:lnTo>
                      <a:lnTo>
                        <a:pt x="21208" y="1614"/>
                      </a:lnTo>
                      <a:lnTo>
                        <a:pt x="21236" y="1614"/>
                      </a:lnTo>
                      <a:lnTo>
                        <a:pt x="21253" y="1630"/>
                      </a:lnTo>
                      <a:lnTo>
                        <a:pt x="21241" y="1630"/>
                      </a:lnTo>
                      <a:lnTo>
                        <a:pt x="21274" y="1647"/>
                      </a:lnTo>
                      <a:lnTo>
                        <a:pt x="21291" y="1630"/>
                      </a:lnTo>
                      <a:lnTo>
                        <a:pt x="21295" y="1663"/>
                      </a:lnTo>
                      <a:lnTo>
                        <a:pt x="21312" y="1663"/>
                      </a:lnTo>
                      <a:lnTo>
                        <a:pt x="21342" y="1647"/>
                      </a:lnTo>
                      <a:lnTo>
                        <a:pt x="21366" y="1602"/>
                      </a:lnTo>
                      <a:lnTo>
                        <a:pt x="21387" y="1602"/>
                      </a:lnTo>
                      <a:lnTo>
                        <a:pt x="21371" y="1590"/>
                      </a:lnTo>
                      <a:lnTo>
                        <a:pt x="21387" y="1536"/>
                      </a:lnTo>
                      <a:lnTo>
                        <a:pt x="21425" y="1503"/>
                      </a:lnTo>
                      <a:lnTo>
                        <a:pt x="21425" y="1529"/>
                      </a:lnTo>
                      <a:lnTo>
                        <a:pt x="21489" y="1569"/>
                      </a:lnTo>
                      <a:lnTo>
                        <a:pt x="21543" y="1585"/>
                      </a:lnTo>
                      <a:lnTo>
                        <a:pt x="21640" y="1545"/>
                      </a:lnTo>
                      <a:lnTo>
                        <a:pt x="21758" y="1585"/>
                      </a:lnTo>
                      <a:lnTo>
                        <a:pt x="21749" y="1590"/>
                      </a:lnTo>
                      <a:lnTo>
                        <a:pt x="21765" y="1590"/>
                      </a:lnTo>
                      <a:lnTo>
                        <a:pt x="21782" y="1614"/>
                      </a:lnTo>
                      <a:lnTo>
                        <a:pt x="21796" y="1607"/>
                      </a:lnTo>
                      <a:lnTo>
                        <a:pt x="21775" y="1602"/>
                      </a:lnTo>
                      <a:lnTo>
                        <a:pt x="21813" y="1590"/>
                      </a:lnTo>
                      <a:lnTo>
                        <a:pt x="21791" y="1590"/>
                      </a:lnTo>
                      <a:lnTo>
                        <a:pt x="21813" y="1585"/>
                      </a:lnTo>
                      <a:lnTo>
                        <a:pt x="21782" y="1573"/>
                      </a:lnTo>
                      <a:lnTo>
                        <a:pt x="21796" y="1552"/>
                      </a:lnTo>
                      <a:lnTo>
                        <a:pt x="21829" y="1545"/>
                      </a:lnTo>
                      <a:lnTo>
                        <a:pt x="21820" y="1552"/>
                      </a:lnTo>
                      <a:lnTo>
                        <a:pt x="21829" y="1557"/>
                      </a:lnTo>
                      <a:lnTo>
                        <a:pt x="21846" y="1545"/>
                      </a:lnTo>
                      <a:lnTo>
                        <a:pt x="21867" y="1552"/>
                      </a:lnTo>
                      <a:lnTo>
                        <a:pt x="21872" y="1573"/>
                      </a:lnTo>
                      <a:lnTo>
                        <a:pt x="21883" y="1573"/>
                      </a:lnTo>
                      <a:lnTo>
                        <a:pt x="21900" y="1557"/>
                      </a:lnTo>
                      <a:lnTo>
                        <a:pt x="21926" y="1569"/>
                      </a:lnTo>
                      <a:lnTo>
                        <a:pt x="21909" y="1536"/>
                      </a:lnTo>
                      <a:lnTo>
                        <a:pt x="21909" y="1512"/>
                      </a:lnTo>
                      <a:lnTo>
                        <a:pt x="21888" y="1503"/>
                      </a:lnTo>
                      <a:lnTo>
                        <a:pt x="21905" y="1503"/>
                      </a:lnTo>
                      <a:lnTo>
                        <a:pt x="21926" y="1474"/>
                      </a:lnTo>
                      <a:lnTo>
                        <a:pt x="21938" y="1479"/>
                      </a:lnTo>
                      <a:lnTo>
                        <a:pt x="21954" y="1462"/>
                      </a:lnTo>
                      <a:lnTo>
                        <a:pt x="21905" y="1462"/>
                      </a:lnTo>
                      <a:lnTo>
                        <a:pt x="21888" y="1479"/>
                      </a:lnTo>
                      <a:lnTo>
                        <a:pt x="21867" y="1462"/>
                      </a:lnTo>
                      <a:lnTo>
                        <a:pt x="21905" y="1425"/>
                      </a:lnTo>
                      <a:lnTo>
                        <a:pt x="21976" y="1425"/>
                      </a:lnTo>
                      <a:lnTo>
                        <a:pt x="22009" y="1418"/>
                      </a:lnTo>
                      <a:lnTo>
                        <a:pt x="22009" y="1401"/>
                      </a:lnTo>
                      <a:lnTo>
                        <a:pt x="21976" y="1375"/>
                      </a:lnTo>
                      <a:lnTo>
                        <a:pt x="21992" y="1375"/>
                      </a:lnTo>
                      <a:lnTo>
                        <a:pt x="22072" y="1392"/>
                      </a:lnTo>
                      <a:lnTo>
                        <a:pt x="22316" y="1425"/>
                      </a:lnTo>
                      <a:lnTo>
                        <a:pt x="22413" y="1446"/>
                      </a:lnTo>
                      <a:lnTo>
                        <a:pt x="22316" y="1446"/>
                      </a:lnTo>
                      <a:lnTo>
                        <a:pt x="22283" y="1429"/>
                      </a:lnTo>
                      <a:lnTo>
                        <a:pt x="22266" y="1441"/>
                      </a:lnTo>
                      <a:lnTo>
                        <a:pt x="22250" y="1462"/>
                      </a:lnTo>
                      <a:lnTo>
                        <a:pt x="22224" y="1458"/>
                      </a:lnTo>
                      <a:lnTo>
                        <a:pt x="22245" y="1474"/>
                      </a:lnTo>
                      <a:lnTo>
                        <a:pt x="22424" y="1458"/>
                      </a:lnTo>
                      <a:lnTo>
                        <a:pt x="22354" y="1512"/>
                      </a:lnTo>
                      <a:lnTo>
                        <a:pt x="22354" y="1491"/>
                      </a:lnTo>
                      <a:lnTo>
                        <a:pt x="22375" y="1479"/>
                      </a:lnTo>
                      <a:lnTo>
                        <a:pt x="22358" y="1474"/>
                      </a:lnTo>
                      <a:lnTo>
                        <a:pt x="22354" y="1491"/>
                      </a:lnTo>
                      <a:lnTo>
                        <a:pt x="22342" y="1462"/>
                      </a:lnTo>
                      <a:lnTo>
                        <a:pt x="22332" y="1462"/>
                      </a:lnTo>
                      <a:lnTo>
                        <a:pt x="22337" y="1462"/>
                      </a:lnTo>
                      <a:lnTo>
                        <a:pt x="22332" y="1491"/>
                      </a:lnTo>
                      <a:lnTo>
                        <a:pt x="22337" y="1491"/>
                      </a:lnTo>
                      <a:lnTo>
                        <a:pt x="22342" y="1503"/>
                      </a:lnTo>
                      <a:lnTo>
                        <a:pt x="22304" y="1512"/>
                      </a:lnTo>
                      <a:lnTo>
                        <a:pt x="22283" y="1503"/>
                      </a:lnTo>
                      <a:lnTo>
                        <a:pt x="22299" y="1519"/>
                      </a:lnTo>
                      <a:lnTo>
                        <a:pt x="22278" y="1529"/>
                      </a:lnTo>
                      <a:lnTo>
                        <a:pt x="22278" y="1536"/>
                      </a:lnTo>
                      <a:lnTo>
                        <a:pt x="22304" y="1545"/>
                      </a:lnTo>
                      <a:lnTo>
                        <a:pt x="22358" y="1519"/>
                      </a:lnTo>
                      <a:lnTo>
                        <a:pt x="22439" y="1446"/>
                      </a:lnTo>
                      <a:lnTo>
                        <a:pt x="22576" y="1462"/>
                      </a:lnTo>
                      <a:lnTo>
                        <a:pt x="22613" y="1479"/>
                      </a:lnTo>
                      <a:lnTo>
                        <a:pt x="22639" y="1512"/>
                      </a:lnTo>
                      <a:lnTo>
                        <a:pt x="22613" y="1529"/>
                      </a:lnTo>
                      <a:lnTo>
                        <a:pt x="22590" y="1503"/>
                      </a:lnTo>
                      <a:lnTo>
                        <a:pt x="22576" y="1529"/>
                      </a:lnTo>
                      <a:lnTo>
                        <a:pt x="22552" y="1519"/>
                      </a:lnTo>
                      <a:lnTo>
                        <a:pt x="22568" y="1529"/>
                      </a:lnTo>
                      <a:lnTo>
                        <a:pt x="22552" y="1536"/>
                      </a:lnTo>
                      <a:lnTo>
                        <a:pt x="22644" y="1552"/>
                      </a:lnTo>
                      <a:lnTo>
                        <a:pt x="22628" y="1552"/>
                      </a:lnTo>
                      <a:lnTo>
                        <a:pt x="22623" y="1569"/>
                      </a:lnTo>
                      <a:lnTo>
                        <a:pt x="22682" y="1557"/>
                      </a:lnTo>
                      <a:lnTo>
                        <a:pt x="22665" y="1585"/>
                      </a:lnTo>
                      <a:lnTo>
                        <a:pt x="22639" y="1602"/>
                      </a:lnTo>
                      <a:lnTo>
                        <a:pt x="22682" y="1573"/>
                      </a:lnTo>
                      <a:lnTo>
                        <a:pt x="22677" y="1590"/>
                      </a:lnTo>
                      <a:lnTo>
                        <a:pt x="22710" y="1573"/>
                      </a:lnTo>
                      <a:lnTo>
                        <a:pt x="22736" y="1585"/>
                      </a:lnTo>
                      <a:lnTo>
                        <a:pt x="22786" y="1630"/>
                      </a:lnTo>
                      <a:lnTo>
                        <a:pt x="22753" y="1630"/>
                      </a:lnTo>
                      <a:lnTo>
                        <a:pt x="22816" y="1647"/>
                      </a:lnTo>
                      <a:lnTo>
                        <a:pt x="22892" y="1647"/>
                      </a:lnTo>
                      <a:lnTo>
                        <a:pt x="23055" y="1614"/>
                      </a:lnTo>
                      <a:lnTo>
                        <a:pt x="23194" y="1623"/>
                      </a:lnTo>
                      <a:lnTo>
                        <a:pt x="23270" y="1647"/>
                      </a:lnTo>
                      <a:lnTo>
                        <a:pt x="23320" y="1668"/>
                      </a:lnTo>
                      <a:lnTo>
                        <a:pt x="23341" y="1701"/>
                      </a:lnTo>
                      <a:lnTo>
                        <a:pt x="23341" y="1722"/>
                      </a:lnTo>
                      <a:lnTo>
                        <a:pt x="23331" y="1739"/>
                      </a:lnTo>
                      <a:lnTo>
                        <a:pt x="23324" y="1739"/>
                      </a:lnTo>
                      <a:lnTo>
                        <a:pt x="23324" y="1751"/>
                      </a:lnTo>
                      <a:lnTo>
                        <a:pt x="23320" y="1774"/>
                      </a:lnTo>
                      <a:lnTo>
                        <a:pt x="23320" y="1779"/>
                      </a:lnTo>
                      <a:lnTo>
                        <a:pt x="23412" y="1812"/>
                      </a:lnTo>
                      <a:lnTo>
                        <a:pt x="23400" y="1829"/>
                      </a:lnTo>
                      <a:lnTo>
                        <a:pt x="23412" y="1862"/>
                      </a:lnTo>
                      <a:lnTo>
                        <a:pt x="23400" y="1878"/>
                      </a:lnTo>
                      <a:lnTo>
                        <a:pt x="23433" y="1885"/>
                      </a:lnTo>
                      <a:lnTo>
                        <a:pt x="23412" y="1940"/>
                      </a:lnTo>
                      <a:lnTo>
                        <a:pt x="23383" y="1940"/>
                      </a:lnTo>
                      <a:lnTo>
                        <a:pt x="23395" y="1944"/>
                      </a:lnTo>
                      <a:lnTo>
                        <a:pt x="23416" y="1940"/>
                      </a:lnTo>
                      <a:lnTo>
                        <a:pt x="23433" y="1906"/>
                      </a:lnTo>
                      <a:lnTo>
                        <a:pt x="23450" y="1890"/>
                      </a:lnTo>
                      <a:lnTo>
                        <a:pt x="23438" y="1862"/>
                      </a:lnTo>
                      <a:lnTo>
                        <a:pt x="23438" y="1833"/>
                      </a:lnTo>
                      <a:lnTo>
                        <a:pt x="23504" y="1807"/>
                      </a:lnTo>
                      <a:lnTo>
                        <a:pt x="23589" y="1795"/>
                      </a:lnTo>
                      <a:lnTo>
                        <a:pt x="23617" y="1791"/>
                      </a:lnTo>
                      <a:lnTo>
                        <a:pt x="23655" y="1807"/>
                      </a:lnTo>
                      <a:lnTo>
                        <a:pt x="23816" y="1824"/>
                      </a:lnTo>
                      <a:lnTo>
                        <a:pt x="23882" y="1791"/>
                      </a:lnTo>
                      <a:lnTo>
                        <a:pt x="23920" y="1812"/>
                      </a:lnTo>
                      <a:lnTo>
                        <a:pt x="23913" y="1833"/>
                      </a:lnTo>
                      <a:lnTo>
                        <a:pt x="23920" y="1850"/>
                      </a:lnTo>
                      <a:lnTo>
                        <a:pt x="23995" y="1878"/>
                      </a:lnTo>
                      <a:lnTo>
                        <a:pt x="24005" y="1906"/>
                      </a:lnTo>
                      <a:lnTo>
                        <a:pt x="24012" y="1918"/>
                      </a:lnTo>
                      <a:lnTo>
                        <a:pt x="24064" y="1906"/>
                      </a:lnTo>
                      <a:lnTo>
                        <a:pt x="24080" y="1918"/>
                      </a:lnTo>
                      <a:lnTo>
                        <a:pt x="24064" y="1906"/>
                      </a:lnTo>
                      <a:lnTo>
                        <a:pt x="24080" y="1902"/>
                      </a:lnTo>
                      <a:lnTo>
                        <a:pt x="24087" y="1906"/>
                      </a:lnTo>
                      <a:lnTo>
                        <a:pt x="24087" y="1890"/>
                      </a:lnTo>
                      <a:lnTo>
                        <a:pt x="24113" y="1878"/>
                      </a:lnTo>
                      <a:lnTo>
                        <a:pt x="24102" y="1845"/>
                      </a:lnTo>
                      <a:lnTo>
                        <a:pt x="24080" y="1812"/>
                      </a:lnTo>
                      <a:lnTo>
                        <a:pt x="24050" y="1807"/>
                      </a:lnTo>
                      <a:lnTo>
                        <a:pt x="24059" y="1791"/>
                      </a:lnTo>
                      <a:lnTo>
                        <a:pt x="24080" y="1791"/>
                      </a:lnTo>
                      <a:lnTo>
                        <a:pt x="24080" y="1751"/>
                      </a:lnTo>
                      <a:lnTo>
                        <a:pt x="24064" y="1739"/>
                      </a:lnTo>
                      <a:lnTo>
                        <a:pt x="24076" y="1739"/>
                      </a:lnTo>
                      <a:lnTo>
                        <a:pt x="24227" y="1767"/>
                      </a:lnTo>
                      <a:lnTo>
                        <a:pt x="24260" y="1774"/>
                      </a:lnTo>
                      <a:lnTo>
                        <a:pt x="24264" y="1791"/>
                      </a:lnTo>
                      <a:lnTo>
                        <a:pt x="24281" y="1779"/>
                      </a:lnTo>
                      <a:lnTo>
                        <a:pt x="24260" y="1767"/>
                      </a:lnTo>
                      <a:lnTo>
                        <a:pt x="24281" y="1767"/>
                      </a:lnTo>
                      <a:lnTo>
                        <a:pt x="24314" y="1779"/>
                      </a:lnTo>
                      <a:lnTo>
                        <a:pt x="24465" y="1774"/>
                      </a:lnTo>
                      <a:lnTo>
                        <a:pt x="24513" y="1795"/>
                      </a:lnTo>
                      <a:lnTo>
                        <a:pt x="24654" y="1833"/>
                      </a:lnTo>
                      <a:lnTo>
                        <a:pt x="24676" y="1845"/>
                      </a:lnTo>
                      <a:lnTo>
                        <a:pt x="24654" y="1833"/>
                      </a:lnTo>
                      <a:lnTo>
                        <a:pt x="24642" y="1845"/>
                      </a:lnTo>
                      <a:lnTo>
                        <a:pt x="24692" y="1850"/>
                      </a:lnTo>
                      <a:lnTo>
                        <a:pt x="24735" y="1885"/>
                      </a:lnTo>
                      <a:lnTo>
                        <a:pt x="24706" y="1866"/>
                      </a:lnTo>
                      <a:lnTo>
                        <a:pt x="24723" y="1885"/>
                      </a:lnTo>
                      <a:lnTo>
                        <a:pt x="24735" y="1885"/>
                      </a:lnTo>
                      <a:lnTo>
                        <a:pt x="24735" y="1944"/>
                      </a:lnTo>
                      <a:lnTo>
                        <a:pt x="24735" y="2013"/>
                      </a:lnTo>
                      <a:lnTo>
                        <a:pt x="24735" y="2067"/>
                      </a:lnTo>
                      <a:lnTo>
                        <a:pt x="24735" y="2129"/>
                      </a:lnTo>
                      <a:lnTo>
                        <a:pt x="24735" y="2183"/>
                      </a:lnTo>
                      <a:lnTo>
                        <a:pt x="24735" y="2249"/>
                      </a:lnTo>
                      <a:lnTo>
                        <a:pt x="24735" y="2306"/>
                      </a:lnTo>
                      <a:lnTo>
                        <a:pt x="24735" y="2360"/>
                      </a:lnTo>
                      <a:lnTo>
                        <a:pt x="24735" y="2360"/>
                      </a:lnTo>
                      <a:lnTo>
                        <a:pt x="24735" y="2360"/>
                      </a:lnTo>
                      <a:close/>
                      <a:moveTo>
                        <a:pt x="24735" y="1557"/>
                      </a:moveTo>
                      <a:lnTo>
                        <a:pt x="24739" y="1552"/>
                      </a:lnTo>
                      <a:lnTo>
                        <a:pt x="24836" y="1552"/>
                      </a:lnTo>
                      <a:lnTo>
                        <a:pt x="24912" y="1602"/>
                      </a:lnTo>
                      <a:lnTo>
                        <a:pt x="24874" y="1623"/>
                      </a:lnTo>
                      <a:lnTo>
                        <a:pt x="24782" y="1640"/>
                      </a:lnTo>
                      <a:lnTo>
                        <a:pt x="24735" y="1630"/>
                      </a:lnTo>
                      <a:lnTo>
                        <a:pt x="24735" y="1590"/>
                      </a:lnTo>
                      <a:lnTo>
                        <a:pt x="24735" y="1557"/>
                      </a:lnTo>
                      <a:lnTo>
                        <a:pt x="24735" y="1557"/>
                      </a:lnTo>
                      <a:lnTo>
                        <a:pt x="24735" y="1557"/>
                      </a:lnTo>
                      <a:close/>
                      <a:moveTo>
                        <a:pt x="24735" y="1630"/>
                      </a:moveTo>
                      <a:lnTo>
                        <a:pt x="24654" y="1656"/>
                      </a:lnTo>
                      <a:lnTo>
                        <a:pt x="24642" y="1623"/>
                      </a:lnTo>
                      <a:lnTo>
                        <a:pt x="24659" y="1602"/>
                      </a:lnTo>
                      <a:lnTo>
                        <a:pt x="24735" y="1557"/>
                      </a:lnTo>
                      <a:lnTo>
                        <a:pt x="24735" y="1590"/>
                      </a:lnTo>
                      <a:lnTo>
                        <a:pt x="24735" y="1630"/>
                      </a:lnTo>
                      <a:lnTo>
                        <a:pt x="24735" y="1630"/>
                      </a:lnTo>
                      <a:lnTo>
                        <a:pt x="24735" y="1630"/>
                      </a:lnTo>
                      <a:close/>
                      <a:moveTo>
                        <a:pt x="24735" y="1885"/>
                      </a:moveTo>
                      <a:lnTo>
                        <a:pt x="24756" y="1902"/>
                      </a:lnTo>
                      <a:lnTo>
                        <a:pt x="24768" y="1890"/>
                      </a:lnTo>
                      <a:lnTo>
                        <a:pt x="24772" y="1906"/>
                      </a:lnTo>
                      <a:lnTo>
                        <a:pt x="24805" y="1918"/>
                      </a:lnTo>
                      <a:lnTo>
                        <a:pt x="24836" y="1940"/>
                      </a:lnTo>
                      <a:lnTo>
                        <a:pt x="24820" y="1935"/>
                      </a:lnTo>
                      <a:lnTo>
                        <a:pt x="24820" y="1940"/>
                      </a:lnTo>
                      <a:lnTo>
                        <a:pt x="24864" y="1956"/>
                      </a:lnTo>
                      <a:lnTo>
                        <a:pt x="24874" y="1973"/>
                      </a:lnTo>
                      <a:lnTo>
                        <a:pt x="24890" y="1973"/>
                      </a:lnTo>
                      <a:lnTo>
                        <a:pt x="24843" y="1940"/>
                      </a:lnTo>
                      <a:lnTo>
                        <a:pt x="24895" y="1973"/>
                      </a:lnTo>
                      <a:lnTo>
                        <a:pt x="24890" y="1977"/>
                      </a:lnTo>
                      <a:lnTo>
                        <a:pt x="24895" y="1977"/>
                      </a:lnTo>
                      <a:lnTo>
                        <a:pt x="24919" y="1977"/>
                      </a:lnTo>
                      <a:lnTo>
                        <a:pt x="24928" y="1994"/>
                      </a:lnTo>
                      <a:lnTo>
                        <a:pt x="25053" y="2046"/>
                      </a:lnTo>
                      <a:lnTo>
                        <a:pt x="25063" y="2072"/>
                      </a:lnTo>
                      <a:lnTo>
                        <a:pt x="25058" y="2088"/>
                      </a:lnTo>
                      <a:lnTo>
                        <a:pt x="25075" y="2088"/>
                      </a:lnTo>
                      <a:lnTo>
                        <a:pt x="25079" y="2084"/>
                      </a:lnTo>
                      <a:lnTo>
                        <a:pt x="25096" y="2084"/>
                      </a:lnTo>
                      <a:lnTo>
                        <a:pt x="25096" y="2100"/>
                      </a:lnTo>
                      <a:lnTo>
                        <a:pt x="25091" y="2100"/>
                      </a:lnTo>
                      <a:lnTo>
                        <a:pt x="25079" y="2121"/>
                      </a:lnTo>
                      <a:lnTo>
                        <a:pt x="25096" y="2162"/>
                      </a:lnTo>
                      <a:lnTo>
                        <a:pt x="25079" y="2166"/>
                      </a:lnTo>
                      <a:lnTo>
                        <a:pt x="25117" y="2183"/>
                      </a:lnTo>
                      <a:lnTo>
                        <a:pt x="25117" y="2216"/>
                      </a:lnTo>
                      <a:lnTo>
                        <a:pt x="25150" y="2195"/>
                      </a:lnTo>
                      <a:lnTo>
                        <a:pt x="25146" y="2223"/>
                      </a:lnTo>
                      <a:lnTo>
                        <a:pt x="25150" y="2223"/>
                      </a:lnTo>
                      <a:lnTo>
                        <a:pt x="25167" y="2199"/>
                      </a:lnTo>
                      <a:lnTo>
                        <a:pt x="25129" y="2183"/>
                      </a:lnTo>
                      <a:lnTo>
                        <a:pt x="25150" y="2166"/>
                      </a:lnTo>
                      <a:lnTo>
                        <a:pt x="25146" y="2138"/>
                      </a:lnTo>
                      <a:lnTo>
                        <a:pt x="25108" y="2121"/>
                      </a:lnTo>
                      <a:lnTo>
                        <a:pt x="25172" y="2112"/>
                      </a:lnTo>
                      <a:lnTo>
                        <a:pt x="25214" y="2121"/>
                      </a:lnTo>
                      <a:lnTo>
                        <a:pt x="25198" y="2138"/>
                      </a:lnTo>
                      <a:lnTo>
                        <a:pt x="25198" y="2157"/>
                      </a:lnTo>
                      <a:lnTo>
                        <a:pt x="25214" y="2157"/>
                      </a:lnTo>
                      <a:lnTo>
                        <a:pt x="25205" y="2138"/>
                      </a:lnTo>
                      <a:lnTo>
                        <a:pt x="25214" y="2129"/>
                      </a:lnTo>
                      <a:lnTo>
                        <a:pt x="25235" y="2145"/>
                      </a:lnTo>
                      <a:lnTo>
                        <a:pt x="25259" y="2138"/>
                      </a:lnTo>
                      <a:lnTo>
                        <a:pt x="25221" y="2121"/>
                      </a:lnTo>
                      <a:lnTo>
                        <a:pt x="25311" y="2138"/>
                      </a:lnTo>
                      <a:lnTo>
                        <a:pt x="25311" y="2157"/>
                      </a:lnTo>
                      <a:lnTo>
                        <a:pt x="25335" y="2162"/>
                      </a:lnTo>
                      <a:lnTo>
                        <a:pt x="25335" y="2178"/>
                      </a:lnTo>
                      <a:lnTo>
                        <a:pt x="25398" y="2216"/>
                      </a:lnTo>
                      <a:lnTo>
                        <a:pt x="25387" y="2223"/>
                      </a:lnTo>
                      <a:lnTo>
                        <a:pt x="25403" y="2216"/>
                      </a:lnTo>
                      <a:lnTo>
                        <a:pt x="25420" y="2223"/>
                      </a:lnTo>
                      <a:lnTo>
                        <a:pt x="25415" y="2232"/>
                      </a:lnTo>
                      <a:lnTo>
                        <a:pt x="25441" y="2232"/>
                      </a:lnTo>
                      <a:lnTo>
                        <a:pt x="25453" y="2249"/>
                      </a:lnTo>
                      <a:lnTo>
                        <a:pt x="25453" y="2256"/>
                      </a:lnTo>
                      <a:lnTo>
                        <a:pt x="25420" y="2249"/>
                      </a:lnTo>
                      <a:lnTo>
                        <a:pt x="25387" y="2273"/>
                      </a:lnTo>
                      <a:lnTo>
                        <a:pt x="25398" y="2273"/>
                      </a:lnTo>
                      <a:lnTo>
                        <a:pt x="25398" y="2289"/>
                      </a:lnTo>
                      <a:lnTo>
                        <a:pt x="25387" y="2294"/>
                      </a:lnTo>
                      <a:lnTo>
                        <a:pt x="25323" y="2273"/>
                      </a:lnTo>
                      <a:lnTo>
                        <a:pt x="25361" y="2306"/>
                      </a:lnTo>
                      <a:lnTo>
                        <a:pt x="25349" y="2310"/>
                      </a:lnTo>
                      <a:lnTo>
                        <a:pt x="25335" y="2306"/>
                      </a:lnTo>
                      <a:lnTo>
                        <a:pt x="25290" y="2310"/>
                      </a:lnTo>
                      <a:lnTo>
                        <a:pt x="25306" y="2310"/>
                      </a:lnTo>
                      <a:lnTo>
                        <a:pt x="25273" y="2306"/>
                      </a:lnTo>
                      <a:lnTo>
                        <a:pt x="25268" y="2294"/>
                      </a:lnTo>
                      <a:lnTo>
                        <a:pt x="25235" y="2289"/>
                      </a:lnTo>
                      <a:lnTo>
                        <a:pt x="25259" y="2306"/>
                      </a:lnTo>
                      <a:lnTo>
                        <a:pt x="25268" y="2322"/>
                      </a:lnTo>
                      <a:lnTo>
                        <a:pt x="25280" y="2322"/>
                      </a:lnTo>
                      <a:lnTo>
                        <a:pt x="25273" y="2343"/>
                      </a:lnTo>
                      <a:lnTo>
                        <a:pt x="25242" y="2343"/>
                      </a:lnTo>
                      <a:lnTo>
                        <a:pt x="25273" y="2343"/>
                      </a:lnTo>
                      <a:lnTo>
                        <a:pt x="25280" y="2360"/>
                      </a:lnTo>
                      <a:lnTo>
                        <a:pt x="25259" y="2384"/>
                      </a:lnTo>
                      <a:lnTo>
                        <a:pt x="25205" y="2400"/>
                      </a:lnTo>
                      <a:lnTo>
                        <a:pt x="25226" y="2388"/>
                      </a:lnTo>
                      <a:lnTo>
                        <a:pt x="25235" y="2400"/>
                      </a:lnTo>
                      <a:lnTo>
                        <a:pt x="25214" y="2405"/>
                      </a:lnTo>
                      <a:lnTo>
                        <a:pt x="25259" y="2421"/>
                      </a:lnTo>
                      <a:lnTo>
                        <a:pt x="25268" y="2433"/>
                      </a:lnTo>
                      <a:lnTo>
                        <a:pt x="25252" y="2438"/>
                      </a:lnTo>
                      <a:lnTo>
                        <a:pt x="25235" y="2421"/>
                      </a:lnTo>
                      <a:lnTo>
                        <a:pt x="25221" y="2433"/>
                      </a:lnTo>
                      <a:lnTo>
                        <a:pt x="25226" y="2438"/>
                      </a:lnTo>
                      <a:lnTo>
                        <a:pt x="25226" y="2445"/>
                      </a:lnTo>
                      <a:lnTo>
                        <a:pt x="25205" y="2455"/>
                      </a:lnTo>
                      <a:lnTo>
                        <a:pt x="25188" y="2445"/>
                      </a:lnTo>
                      <a:lnTo>
                        <a:pt x="25205" y="2433"/>
                      </a:lnTo>
                      <a:lnTo>
                        <a:pt x="25188" y="2417"/>
                      </a:lnTo>
                      <a:lnTo>
                        <a:pt x="25198" y="2433"/>
                      </a:lnTo>
                      <a:lnTo>
                        <a:pt x="25172" y="2445"/>
                      </a:lnTo>
                      <a:lnTo>
                        <a:pt x="25150" y="2438"/>
                      </a:lnTo>
                      <a:lnTo>
                        <a:pt x="25146" y="2421"/>
                      </a:lnTo>
                      <a:lnTo>
                        <a:pt x="25091" y="2400"/>
                      </a:lnTo>
                      <a:lnTo>
                        <a:pt x="25053" y="2400"/>
                      </a:lnTo>
                      <a:lnTo>
                        <a:pt x="25053" y="2388"/>
                      </a:lnTo>
                      <a:lnTo>
                        <a:pt x="25020" y="2367"/>
                      </a:lnTo>
                      <a:lnTo>
                        <a:pt x="25025" y="2351"/>
                      </a:lnTo>
                      <a:lnTo>
                        <a:pt x="25020" y="2327"/>
                      </a:lnTo>
                      <a:lnTo>
                        <a:pt x="25004" y="2310"/>
                      </a:lnTo>
                      <a:lnTo>
                        <a:pt x="24933" y="2294"/>
                      </a:lnTo>
                      <a:lnTo>
                        <a:pt x="24902" y="2310"/>
                      </a:lnTo>
                      <a:lnTo>
                        <a:pt x="24836" y="2310"/>
                      </a:lnTo>
                      <a:lnTo>
                        <a:pt x="24843" y="2289"/>
                      </a:lnTo>
                      <a:lnTo>
                        <a:pt x="24827" y="2277"/>
                      </a:lnTo>
                      <a:lnTo>
                        <a:pt x="24810" y="2256"/>
                      </a:lnTo>
                      <a:lnTo>
                        <a:pt x="24820" y="2249"/>
                      </a:lnTo>
                      <a:lnTo>
                        <a:pt x="24836" y="2232"/>
                      </a:lnTo>
                      <a:lnTo>
                        <a:pt x="24836" y="2199"/>
                      </a:lnTo>
                      <a:lnTo>
                        <a:pt x="24810" y="2232"/>
                      </a:lnTo>
                      <a:lnTo>
                        <a:pt x="24794" y="2232"/>
                      </a:lnTo>
                      <a:lnTo>
                        <a:pt x="24789" y="2199"/>
                      </a:lnTo>
                      <a:lnTo>
                        <a:pt x="24789" y="2216"/>
                      </a:lnTo>
                      <a:lnTo>
                        <a:pt x="24772" y="2211"/>
                      </a:lnTo>
                      <a:lnTo>
                        <a:pt x="24789" y="2232"/>
                      </a:lnTo>
                      <a:lnTo>
                        <a:pt x="24782" y="2232"/>
                      </a:lnTo>
                      <a:lnTo>
                        <a:pt x="24756" y="2240"/>
                      </a:lnTo>
                      <a:lnTo>
                        <a:pt x="24751" y="2232"/>
                      </a:lnTo>
                      <a:lnTo>
                        <a:pt x="24756" y="2232"/>
                      </a:lnTo>
                      <a:lnTo>
                        <a:pt x="24751" y="2232"/>
                      </a:lnTo>
                      <a:lnTo>
                        <a:pt x="24739" y="2266"/>
                      </a:lnTo>
                      <a:lnTo>
                        <a:pt x="24782" y="2294"/>
                      </a:lnTo>
                      <a:lnTo>
                        <a:pt x="24782" y="2306"/>
                      </a:lnTo>
                      <a:lnTo>
                        <a:pt x="24768" y="2322"/>
                      </a:lnTo>
                      <a:lnTo>
                        <a:pt x="24768" y="2343"/>
                      </a:lnTo>
                      <a:lnTo>
                        <a:pt x="24751" y="2351"/>
                      </a:lnTo>
                      <a:lnTo>
                        <a:pt x="24735" y="2360"/>
                      </a:lnTo>
                      <a:lnTo>
                        <a:pt x="24735" y="2306"/>
                      </a:lnTo>
                      <a:lnTo>
                        <a:pt x="24735" y="2249"/>
                      </a:lnTo>
                      <a:lnTo>
                        <a:pt x="24735" y="2183"/>
                      </a:lnTo>
                      <a:lnTo>
                        <a:pt x="24735" y="2129"/>
                      </a:lnTo>
                      <a:lnTo>
                        <a:pt x="24735" y="2067"/>
                      </a:lnTo>
                      <a:lnTo>
                        <a:pt x="24735" y="2013"/>
                      </a:lnTo>
                      <a:lnTo>
                        <a:pt x="24735" y="1944"/>
                      </a:lnTo>
                      <a:lnTo>
                        <a:pt x="24735" y="1885"/>
                      </a:lnTo>
                      <a:lnTo>
                        <a:pt x="24735" y="1885"/>
                      </a:lnTo>
                      <a:lnTo>
                        <a:pt x="24735" y="1885"/>
                      </a:lnTo>
                      <a:close/>
                      <a:moveTo>
                        <a:pt x="16188" y="22"/>
                      </a:moveTo>
                      <a:lnTo>
                        <a:pt x="16172" y="22"/>
                      </a:lnTo>
                      <a:lnTo>
                        <a:pt x="16188" y="5"/>
                      </a:lnTo>
                      <a:lnTo>
                        <a:pt x="16278" y="0"/>
                      </a:lnTo>
                      <a:lnTo>
                        <a:pt x="16264" y="17"/>
                      </a:lnTo>
                      <a:lnTo>
                        <a:pt x="16188" y="22"/>
                      </a:lnTo>
                      <a:lnTo>
                        <a:pt x="16188" y="22"/>
                      </a:lnTo>
                      <a:lnTo>
                        <a:pt x="16188" y="22"/>
                      </a:lnTo>
                      <a:close/>
                      <a:moveTo>
                        <a:pt x="16474" y="22"/>
                      </a:moveTo>
                      <a:lnTo>
                        <a:pt x="16550" y="22"/>
                      </a:lnTo>
                      <a:lnTo>
                        <a:pt x="16592" y="33"/>
                      </a:lnTo>
                      <a:lnTo>
                        <a:pt x="16566" y="43"/>
                      </a:lnTo>
                      <a:lnTo>
                        <a:pt x="16474" y="33"/>
                      </a:lnTo>
                      <a:lnTo>
                        <a:pt x="16474" y="22"/>
                      </a:lnTo>
                      <a:lnTo>
                        <a:pt x="16474" y="22"/>
                      </a:lnTo>
                      <a:lnTo>
                        <a:pt x="16474" y="22"/>
                      </a:lnTo>
                      <a:close/>
                      <a:moveTo>
                        <a:pt x="16202" y="38"/>
                      </a:moveTo>
                      <a:lnTo>
                        <a:pt x="16235" y="38"/>
                      </a:lnTo>
                      <a:lnTo>
                        <a:pt x="16198" y="43"/>
                      </a:lnTo>
                      <a:lnTo>
                        <a:pt x="16202" y="38"/>
                      </a:lnTo>
                      <a:lnTo>
                        <a:pt x="16202" y="38"/>
                      </a:lnTo>
                      <a:lnTo>
                        <a:pt x="16202" y="38"/>
                      </a:lnTo>
                      <a:close/>
                      <a:moveTo>
                        <a:pt x="16453" y="38"/>
                      </a:moveTo>
                      <a:lnTo>
                        <a:pt x="16474" y="43"/>
                      </a:lnTo>
                      <a:lnTo>
                        <a:pt x="16441" y="38"/>
                      </a:lnTo>
                      <a:lnTo>
                        <a:pt x="16453" y="38"/>
                      </a:lnTo>
                      <a:lnTo>
                        <a:pt x="16453" y="38"/>
                      </a:lnTo>
                      <a:lnTo>
                        <a:pt x="16453" y="38"/>
                      </a:lnTo>
                      <a:close/>
                      <a:moveTo>
                        <a:pt x="16188" y="76"/>
                      </a:moveTo>
                      <a:lnTo>
                        <a:pt x="16096" y="59"/>
                      </a:lnTo>
                      <a:lnTo>
                        <a:pt x="16165" y="43"/>
                      </a:lnTo>
                      <a:lnTo>
                        <a:pt x="16219" y="71"/>
                      </a:lnTo>
                      <a:lnTo>
                        <a:pt x="16188" y="76"/>
                      </a:lnTo>
                      <a:lnTo>
                        <a:pt x="16188" y="76"/>
                      </a:lnTo>
                      <a:lnTo>
                        <a:pt x="16188" y="76"/>
                      </a:lnTo>
                      <a:close/>
                      <a:moveTo>
                        <a:pt x="16209" y="88"/>
                      </a:moveTo>
                      <a:lnTo>
                        <a:pt x="16252" y="71"/>
                      </a:lnTo>
                      <a:lnTo>
                        <a:pt x="16278" y="88"/>
                      </a:lnTo>
                      <a:lnTo>
                        <a:pt x="16209" y="88"/>
                      </a:lnTo>
                      <a:lnTo>
                        <a:pt x="16209" y="88"/>
                      </a:lnTo>
                      <a:lnTo>
                        <a:pt x="16209" y="88"/>
                      </a:lnTo>
                      <a:close/>
                      <a:moveTo>
                        <a:pt x="16009" y="99"/>
                      </a:moveTo>
                      <a:lnTo>
                        <a:pt x="16021" y="92"/>
                      </a:lnTo>
                      <a:lnTo>
                        <a:pt x="16004" y="92"/>
                      </a:lnTo>
                      <a:lnTo>
                        <a:pt x="16089" y="99"/>
                      </a:lnTo>
                      <a:lnTo>
                        <a:pt x="16063" y="76"/>
                      </a:lnTo>
                      <a:lnTo>
                        <a:pt x="16172" y="92"/>
                      </a:lnTo>
                      <a:lnTo>
                        <a:pt x="16075" y="116"/>
                      </a:lnTo>
                      <a:lnTo>
                        <a:pt x="16009" y="99"/>
                      </a:lnTo>
                      <a:lnTo>
                        <a:pt x="16009" y="99"/>
                      </a:lnTo>
                      <a:lnTo>
                        <a:pt x="16009" y="99"/>
                      </a:lnTo>
                      <a:close/>
                      <a:moveTo>
                        <a:pt x="15917" y="92"/>
                      </a:moveTo>
                      <a:lnTo>
                        <a:pt x="15912" y="88"/>
                      </a:lnTo>
                      <a:lnTo>
                        <a:pt x="15933" y="92"/>
                      </a:lnTo>
                      <a:lnTo>
                        <a:pt x="15917" y="92"/>
                      </a:lnTo>
                      <a:lnTo>
                        <a:pt x="15917" y="92"/>
                      </a:lnTo>
                      <a:lnTo>
                        <a:pt x="15917" y="92"/>
                      </a:lnTo>
                      <a:close/>
                      <a:moveTo>
                        <a:pt x="16311" y="92"/>
                      </a:moveTo>
                      <a:lnTo>
                        <a:pt x="16365" y="92"/>
                      </a:lnTo>
                      <a:lnTo>
                        <a:pt x="16306" y="92"/>
                      </a:lnTo>
                      <a:lnTo>
                        <a:pt x="16311" y="92"/>
                      </a:lnTo>
                      <a:lnTo>
                        <a:pt x="16311" y="92"/>
                      </a:lnTo>
                      <a:lnTo>
                        <a:pt x="16311" y="92"/>
                      </a:lnTo>
                      <a:close/>
                      <a:moveTo>
                        <a:pt x="18654" y="265"/>
                      </a:moveTo>
                      <a:lnTo>
                        <a:pt x="18524" y="260"/>
                      </a:lnTo>
                      <a:lnTo>
                        <a:pt x="18546" y="244"/>
                      </a:lnTo>
                      <a:lnTo>
                        <a:pt x="18612" y="244"/>
                      </a:lnTo>
                      <a:lnTo>
                        <a:pt x="18557" y="236"/>
                      </a:lnTo>
                      <a:lnTo>
                        <a:pt x="18617" y="220"/>
                      </a:lnTo>
                      <a:lnTo>
                        <a:pt x="18628" y="203"/>
                      </a:lnTo>
                      <a:lnTo>
                        <a:pt x="18654" y="170"/>
                      </a:lnTo>
                      <a:lnTo>
                        <a:pt x="18600" y="182"/>
                      </a:lnTo>
                      <a:lnTo>
                        <a:pt x="18617" y="166"/>
                      </a:lnTo>
                      <a:lnTo>
                        <a:pt x="18650" y="154"/>
                      </a:lnTo>
                      <a:lnTo>
                        <a:pt x="18645" y="144"/>
                      </a:lnTo>
                      <a:lnTo>
                        <a:pt x="18817" y="99"/>
                      </a:lnTo>
                      <a:lnTo>
                        <a:pt x="18780" y="99"/>
                      </a:lnTo>
                      <a:lnTo>
                        <a:pt x="18789" y="92"/>
                      </a:lnTo>
                      <a:lnTo>
                        <a:pt x="18834" y="92"/>
                      </a:lnTo>
                      <a:lnTo>
                        <a:pt x="18898" y="149"/>
                      </a:lnTo>
                      <a:lnTo>
                        <a:pt x="18990" y="187"/>
                      </a:lnTo>
                      <a:lnTo>
                        <a:pt x="18924" y="199"/>
                      </a:lnTo>
                      <a:lnTo>
                        <a:pt x="18919" y="220"/>
                      </a:lnTo>
                      <a:lnTo>
                        <a:pt x="18924" y="227"/>
                      </a:lnTo>
                      <a:lnTo>
                        <a:pt x="18935" y="255"/>
                      </a:lnTo>
                      <a:lnTo>
                        <a:pt x="18952" y="260"/>
                      </a:lnTo>
                      <a:lnTo>
                        <a:pt x="18924" y="265"/>
                      </a:lnTo>
                      <a:lnTo>
                        <a:pt x="18763" y="281"/>
                      </a:lnTo>
                      <a:lnTo>
                        <a:pt x="18687" y="310"/>
                      </a:lnTo>
                      <a:lnTo>
                        <a:pt x="18574" y="281"/>
                      </a:lnTo>
                      <a:lnTo>
                        <a:pt x="18628" y="281"/>
                      </a:lnTo>
                      <a:lnTo>
                        <a:pt x="18579" y="260"/>
                      </a:lnTo>
                      <a:lnTo>
                        <a:pt x="18654" y="265"/>
                      </a:lnTo>
                      <a:lnTo>
                        <a:pt x="18654" y="265"/>
                      </a:lnTo>
                      <a:lnTo>
                        <a:pt x="18654" y="265"/>
                      </a:lnTo>
                      <a:close/>
                      <a:moveTo>
                        <a:pt x="16117" y="109"/>
                      </a:moveTo>
                      <a:lnTo>
                        <a:pt x="16188" y="109"/>
                      </a:lnTo>
                      <a:lnTo>
                        <a:pt x="16150" y="128"/>
                      </a:lnTo>
                      <a:lnTo>
                        <a:pt x="16113" y="116"/>
                      </a:lnTo>
                      <a:lnTo>
                        <a:pt x="16117" y="109"/>
                      </a:lnTo>
                      <a:lnTo>
                        <a:pt x="16117" y="109"/>
                      </a:lnTo>
                      <a:lnTo>
                        <a:pt x="16117" y="109"/>
                      </a:lnTo>
                      <a:close/>
                      <a:moveTo>
                        <a:pt x="18503" y="133"/>
                      </a:moveTo>
                      <a:lnTo>
                        <a:pt x="18428" y="128"/>
                      </a:lnTo>
                      <a:lnTo>
                        <a:pt x="18418" y="109"/>
                      </a:lnTo>
                      <a:lnTo>
                        <a:pt x="18503" y="99"/>
                      </a:lnTo>
                      <a:lnTo>
                        <a:pt x="18541" y="116"/>
                      </a:lnTo>
                      <a:lnTo>
                        <a:pt x="18503" y="133"/>
                      </a:lnTo>
                      <a:lnTo>
                        <a:pt x="18503" y="133"/>
                      </a:lnTo>
                      <a:lnTo>
                        <a:pt x="18503" y="133"/>
                      </a:lnTo>
                      <a:close/>
                      <a:moveTo>
                        <a:pt x="16505" y="166"/>
                      </a:moveTo>
                      <a:lnTo>
                        <a:pt x="16543" y="149"/>
                      </a:lnTo>
                      <a:lnTo>
                        <a:pt x="16613" y="144"/>
                      </a:lnTo>
                      <a:lnTo>
                        <a:pt x="16618" y="116"/>
                      </a:lnTo>
                      <a:lnTo>
                        <a:pt x="16646" y="109"/>
                      </a:lnTo>
                      <a:lnTo>
                        <a:pt x="16689" y="116"/>
                      </a:lnTo>
                      <a:lnTo>
                        <a:pt x="16706" y="144"/>
                      </a:lnTo>
                      <a:lnTo>
                        <a:pt x="16706" y="154"/>
                      </a:lnTo>
                      <a:lnTo>
                        <a:pt x="16646" y="182"/>
                      </a:lnTo>
                      <a:lnTo>
                        <a:pt x="16550" y="199"/>
                      </a:lnTo>
                      <a:lnTo>
                        <a:pt x="16495" y="170"/>
                      </a:lnTo>
                      <a:lnTo>
                        <a:pt x="16505" y="166"/>
                      </a:lnTo>
                      <a:lnTo>
                        <a:pt x="16505" y="166"/>
                      </a:lnTo>
                      <a:lnTo>
                        <a:pt x="16505" y="166"/>
                      </a:lnTo>
                      <a:close/>
                      <a:moveTo>
                        <a:pt x="15647" y="133"/>
                      </a:moveTo>
                      <a:lnTo>
                        <a:pt x="15659" y="133"/>
                      </a:lnTo>
                      <a:lnTo>
                        <a:pt x="15647" y="128"/>
                      </a:lnTo>
                      <a:lnTo>
                        <a:pt x="15659" y="116"/>
                      </a:lnTo>
                      <a:lnTo>
                        <a:pt x="15685" y="128"/>
                      </a:lnTo>
                      <a:lnTo>
                        <a:pt x="15647" y="133"/>
                      </a:lnTo>
                      <a:lnTo>
                        <a:pt x="15647" y="133"/>
                      </a:lnTo>
                      <a:lnTo>
                        <a:pt x="15647" y="133"/>
                      </a:lnTo>
                      <a:close/>
                      <a:moveTo>
                        <a:pt x="16198" y="116"/>
                      </a:moveTo>
                      <a:lnTo>
                        <a:pt x="16226" y="116"/>
                      </a:lnTo>
                      <a:lnTo>
                        <a:pt x="16198" y="116"/>
                      </a:lnTo>
                      <a:lnTo>
                        <a:pt x="16198" y="116"/>
                      </a:lnTo>
                      <a:lnTo>
                        <a:pt x="16198" y="116"/>
                      </a:lnTo>
                      <a:close/>
                      <a:moveTo>
                        <a:pt x="16328" y="144"/>
                      </a:moveTo>
                      <a:lnTo>
                        <a:pt x="16370" y="128"/>
                      </a:lnTo>
                      <a:lnTo>
                        <a:pt x="16441" y="128"/>
                      </a:lnTo>
                      <a:lnTo>
                        <a:pt x="16398" y="154"/>
                      </a:lnTo>
                      <a:lnTo>
                        <a:pt x="16328" y="144"/>
                      </a:lnTo>
                      <a:lnTo>
                        <a:pt x="16328" y="144"/>
                      </a:lnTo>
                      <a:lnTo>
                        <a:pt x="16328" y="144"/>
                      </a:lnTo>
                      <a:close/>
                      <a:moveTo>
                        <a:pt x="15933" y="144"/>
                      </a:moveTo>
                      <a:lnTo>
                        <a:pt x="15950" y="128"/>
                      </a:lnTo>
                      <a:lnTo>
                        <a:pt x="16009" y="144"/>
                      </a:lnTo>
                      <a:lnTo>
                        <a:pt x="16047" y="133"/>
                      </a:lnTo>
                      <a:lnTo>
                        <a:pt x="16165" y="182"/>
                      </a:lnTo>
                      <a:lnTo>
                        <a:pt x="16113" y="199"/>
                      </a:lnTo>
                      <a:lnTo>
                        <a:pt x="16089" y="170"/>
                      </a:lnTo>
                      <a:lnTo>
                        <a:pt x="15933" y="144"/>
                      </a:lnTo>
                      <a:lnTo>
                        <a:pt x="15933" y="144"/>
                      </a:lnTo>
                      <a:lnTo>
                        <a:pt x="15933" y="144"/>
                      </a:lnTo>
                      <a:close/>
                      <a:moveTo>
                        <a:pt x="16047" y="128"/>
                      </a:moveTo>
                      <a:lnTo>
                        <a:pt x="16150" y="133"/>
                      </a:lnTo>
                      <a:lnTo>
                        <a:pt x="16202" y="154"/>
                      </a:lnTo>
                      <a:lnTo>
                        <a:pt x="16155" y="166"/>
                      </a:lnTo>
                      <a:lnTo>
                        <a:pt x="16047" y="128"/>
                      </a:lnTo>
                      <a:lnTo>
                        <a:pt x="16047" y="128"/>
                      </a:lnTo>
                      <a:lnTo>
                        <a:pt x="16047" y="128"/>
                      </a:lnTo>
                      <a:close/>
                      <a:moveTo>
                        <a:pt x="16172" y="133"/>
                      </a:moveTo>
                      <a:lnTo>
                        <a:pt x="16188" y="128"/>
                      </a:lnTo>
                      <a:lnTo>
                        <a:pt x="16235" y="144"/>
                      </a:lnTo>
                      <a:lnTo>
                        <a:pt x="16209" y="149"/>
                      </a:lnTo>
                      <a:lnTo>
                        <a:pt x="16172" y="133"/>
                      </a:lnTo>
                      <a:lnTo>
                        <a:pt x="16172" y="133"/>
                      </a:lnTo>
                      <a:lnTo>
                        <a:pt x="16172" y="133"/>
                      </a:lnTo>
                      <a:close/>
                      <a:moveTo>
                        <a:pt x="17672" y="149"/>
                      </a:moveTo>
                      <a:lnTo>
                        <a:pt x="17752" y="154"/>
                      </a:lnTo>
                      <a:lnTo>
                        <a:pt x="17714" y="170"/>
                      </a:lnTo>
                      <a:lnTo>
                        <a:pt x="17655" y="170"/>
                      </a:lnTo>
                      <a:lnTo>
                        <a:pt x="17672" y="149"/>
                      </a:lnTo>
                      <a:lnTo>
                        <a:pt x="17672" y="149"/>
                      </a:lnTo>
                      <a:lnTo>
                        <a:pt x="17672" y="149"/>
                      </a:lnTo>
                      <a:close/>
                      <a:moveTo>
                        <a:pt x="15534" y="260"/>
                      </a:moveTo>
                      <a:lnTo>
                        <a:pt x="15555" y="277"/>
                      </a:lnTo>
                      <a:lnTo>
                        <a:pt x="15517" y="277"/>
                      </a:lnTo>
                      <a:lnTo>
                        <a:pt x="15517" y="281"/>
                      </a:lnTo>
                      <a:lnTo>
                        <a:pt x="15508" y="293"/>
                      </a:lnTo>
                      <a:lnTo>
                        <a:pt x="15454" y="298"/>
                      </a:lnTo>
                      <a:lnTo>
                        <a:pt x="15454" y="293"/>
                      </a:lnTo>
                      <a:lnTo>
                        <a:pt x="15463" y="281"/>
                      </a:lnTo>
                      <a:lnTo>
                        <a:pt x="15484" y="277"/>
                      </a:lnTo>
                      <a:lnTo>
                        <a:pt x="15447" y="265"/>
                      </a:lnTo>
                      <a:lnTo>
                        <a:pt x="15416" y="281"/>
                      </a:lnTo>
                      <a:lnTo>
                        <a:pt x="15387" y="260"/>
                      </a:lnTo>
                      <a:lnTo>
                        <a:pt x="15416" y="244"/>
                      </a:lnTo>
                      <a:lnTo>
                        <a:pt x="15496" y="255"/>
                      </a:lnTo>
                      <a:lnTo>
                        <a:pt x="15454" y="244"/>
                      </a:lnTo>
                      <a:lnTo>
                        <a:pt x="15501" y="236"/>
                      </a:lnTo>
                      <a:lnTo>
                        <a:pt x="15484" y="227"/>
                      </a:lnTo>
                      <a:lnTo>
                        <a:pt x="15442" y="236"/>
                      </a:lnTo>
                      <a:lnTo>
                        <a:pt x="15508" y="210"/>
                      </a:lnTo>
                      <a:lnTo>
                        <a:pt x="15560" y="220"/>
                      </a:lnTo>
                      <a:lnTo>
                        <a:pt x="15576" y="210"/>
                      </a:lnTo>
                      <a:lnTo>
                        <a:pt x="15572" y="203"/>
                      </a:lnTo>
                      <a:lnTo>
                        <a:pt x="15593" y="203"/>
                      </a:lnTo>
                      <a:lnTo>
                        <a:pt x="15605" y="187"/>
                      </a:lnTo>
                      <a:lnTo>
                        <a:pt x="15550" y="187"/>
                      </a:lnTo>
                      <a:lnTo>
                        <a:pt x="15631" y="154"/>
                      </a:lnTo>
                      <a:lnTo>
                        <a:pt x="15659" y="154"/>
                      </a:lnTo>
                      <a:lnTo>
                        <a:pt x="15626" y="166"/>
                      </a:lnTo>
                      <a:lnTo>
                        <a:pt x="15680" y="154"/>
                      </a:lnTo>
                      <a:lnTo>
                        <a:pt x="15697" y="166"/>
                      </a:lnTo>
                      <a:lnTo>
                        <a:pt x="15643" y="187"/>
                      </a:lnTo>
                      <a:lnTo>
                        <a:pt x="15711" y="182"/>
                      </a:lnTo>
                      <a:lnTo>
                        <a:pt x="15739" y="187"/>
                      </a:lnTo>
                      <a:lnTo>
                        <a:pt x="15685" y="220"/>
                      </a:lnTo>
                      <a:lnTo>
                        <a:pt x="15605" y="227"/>
                      </a:lnTo>
                      <a:lnTo>
                        <a:pt x="15609" y="244"/>
                      </a:lnTo>
                      <a:lnTo>
                        <a:pt x="15539" y="244"/>
                      </a:lnTo>
                      <a:lnTo>
                        <a:pt x="15522" y="260"/>
                      </a:lnTo>
                      <a:lnTo>
                        <a:pt x="15534" y="260"/>
                      </a:lnTo>
                      <a:lnTo>
                        <a:pt x="15534" y="260"/>
                      </a:lnTo>
                      <a:lnTo>
                        <a:pt x="15534" y="260"/>
                      </a:lnTo>
                      <a:close/>
                      <a:moveTo>
                        <a:pt x="16181" y="170"/>
                      </a:moveTo>
                      <a:lnTo>
                        <a:pt x="16235" y="154"/>
                      </a:lnTo>
                      <a:lnTo>
                        <a:pt x="16257" y="170"/>
                      </a:lnTo>
                      <a:lnTo>
                        <a:pt x="16219" y="187"/>
                      </a:lnTo>
                      <a:lnTo>
                        <a:pt x="16172" y="170"/>
                      </a:lnTo>
                      <a:lnTo>
                        <a:pt x="16181" y="170"/>
                      </a:lnTo>
                      <a:lnTo>
                        <a:pt x="16181" y="170"/>
                      </a:lnTo>
                      <a:lnTo>
                        <a:pt x="16181" y="170"/>
                      </a:lnTo>
                      <a:close/>
                      <a:moveTo>
                        <a:pt x="15900" y="170"/>
                      </a:moveTo>
                      <a:lnTo>
                        <a:pt x="15983" y="154"/>
                      </a:lnTo>
                      <a:lnTo>
                        <a:pt x="16042" y="170"/>
                      </a:lnTo>
                      <a:lnTo>
                        <a:pt x="15966" y="187"/>
                      </a:lnTo>
                      <a:lnTo>
                        <a:pt x="15900" y="170"/>
                      </a:lnTo>
                      <a:lnTo>
                        <a:pt x="15900" y="170"/>
                      </a:lnTo>
                      <a:lnTo>
                        <a:pt x="15900" y="170"/>
                      </a:lnTo>
                      <a:close/>
                      <a:moveTo>
                        <a:pt x="16273" y="220"/>
                      </a:moveTo>
                      <a:lnTo>
                        <a:pt x="16278" y="210"/>
                      </a:lnTo>
                      <a:lnTo>
                        <a:pt x="16264" y="203"/>
                      </a:lnTo>
                      <a:lnTo>
                        <a:pt x="16273" y="199"/>
                      </a:lnTo>
                      <a:lnTo>
                        <a:pt x="16306" y="170"/>
                      </a:lnTo>
                      <a:lnTo>
                        <a:pt x="16453" y="166"/>
                      </a:lnTo>
                      <a:lnTo>
                        <a:pt x="16479" y="182"/>
                      </a:lnTo>
                      <a:lnTo>
                        <a:pt x="16467" y="199"/>
                      </a:lnTo>
                      <a:lnTo>
                        <a:pt x="16474" y="203"/>
                      </a:lnTo>
                      <a:lnTo>
                        <a:pt x="16441" y="210"/>
                      </a:lnTo>
                      <a:lnTo>
                        <a:pt x="16398" y="244"/>
                      </a:lnTo>
                      <a:lnTo>
                        <a:pt x="16344" y="227"/>
                      </a:lnTo>
                      <a:lnTo>
                        <a:pt x="16295" y="236"/>
                      </a:lnTo>
                      <a:lnTo>
                        <a:pt x="16273" y="220"/>
                      </a:lnTo>
                      <a:lnTo>
                        <a:pt x="16273" y="220"/>
                      </a:lnTo>
                      <a:lnTo>
                        <a:pt x="16273" y="220"/>
                      </a:lnTo>
                      <a:close/>
                      <a:moveTo>
                        <a:pt x="15345" y="236"/>
                      </a:moveTo>
                      <a:lnTo>
                        <a:pt x="15340" y="210"/>
                      </a:lnTo>
                      <a:lnTo>
                        <a:pt x="15307" y="220"/>
                      </a:lnTo>
                      <a:lnTo>
                        <a:pt x="15265" y="203"/>
                      </a:lnTo>
                      <a:lnTo>
                        <a:pt x="15409" y="182"/>
                      </a:lnTo>
                      <a:lnTo>
                        <a:pt x="15447" y="166"/>
                      </a:lnTo>
                      <a:lnTo>
                        <a:pt x="15517" y="182"/>
                      </a:lnTo>
                      <a:lnTo>
                        <a:pt x="15522" y="182"/>
                      </a:lnTo>
                      <a:lnTo>
                        <a:pt x="15508" y="187"/>
                      </a:lnTo>
                      <a:lnTo>
                        <a:pt x="15534" y="203"/>
                      </a:lnTo>
                      <a:lnTo>
                        <a:pt x="15484" y="199"/>
                      </a:lnTo>
                      <a:lnTo>
                        <a:pt x="15463" y="182"/>
                      </a:lnTo>
                      <a:lnTo>
                        <a:pt x="15432" y="199"/>
                      </a:lnTo>
                      <a:lnTo>
                        <a:pt x="15442" y="210"/>
                      </a:lnTo>
                      <a:lnTo>
                        <a:pt x="15425" y="203"/>
                      </a:lnTo>
                      <a:lnTo>
                        <a:pt x="15345" y="236"/>
                      </a:lnTo>
                      <a:lnTo>
                        <a:pt x="15345" y="236"/>
                      </a:lnTo>
                      <a:lnTo>
                        <a:pt x="15345" y="236"/>
                      </a:lnTo>
                      <a:close/>
                      <a:moveTo>
                        <a:pt x="16009" y="187"/>
                      </a:moveTo>
                      <a:lnTo>
                        <a:pt x="16080" y="182"/>
                      </a:lnTo>
                      <a:lnTo>
                        <a:pt x="16113" y="199"/>
                      </a:lnTo>
                      <a:lnTo>
                        <a:pt x="16037" y="203"/>
                      </a:lnTo>
                      <a:lnTo>
                        <a:pt x="16004" y="187"/>
                      </a:lnTo>
                      <a:lnTo>
                        <a:pt x="16009" y="187"/>
                      </a:lnTo>
                      <a:lnTo>
                        <a:pt x="16009" y="187"/>
                      </a:lnTo>
                      <a:lnTo>
                        <a:pt x="16009" y="187"/>
                      </a:lnTo>
                      <a:close/>
                      <a:moveTo>
                        <a:pt x="15848" y="220"/>
                      </a:moveTo>
                      <a:lnTo>
                        <a:pt x="15858" y="210"/>
                      </a:lnTo>
                      <a:lnTo>
                        <a:pt x="15841" y="203"/>
                      </a:lnTo>
                      <a:lnTo>
                        <a:pt x="15858" y="203"/>
                      </a:lnTo>
                      <a:lnTo>
                        <a:pt x="15874" y="220"/>
                      </a:lnTo>
                      <a:lnTo>
                        <a:pt x="15848" y="220"/>
                      </a:lnTo>
                      <a:lnTo>
                        <a:pt x="15848" y="220"/>
                      </a:lnTo>
                      <a:lnTo>
                        <a:pt x="15848" y="220"/>
                      </a:lnTo>
                      <a:close/>
                      <a:moveTo>
                        <a:pt x="16134" y="203"/>
                      </a:moveTo>
                      <a:lnTo>
                        <a:pt x="16188" y="203"/>
                      </a:lnTo>
                      <a:lnTo>
                        <a:pt x="16165" y="220"/>
                      </a:lnTo>
                      <a:lnTo>
                        <a:pt x="16127" y="210"/>
                      </a:lnTo>
                      <a:lnTo>
                        <a:pt x="16134" y="203"/>
                      </a:lnTo>
                      <a:lnTo>
                        <a:pt x="16134" y="203"/>
                      </a:lnTo>
                      <a:lnTo>
                        <a:pt x="16134" y="203"/>
                      </a:lnTo>
                      <a:close/>
                      <a:moveTo>
                        <a:pt x="15886" y="227"/>
                      </a:moveTo>
                      <a:lnTo>
                        <a:pt x="15900" y="220"/>
                      </a:lnTo>
                      <a:lnTo>
                        <a:pt x="15895" y="210"/>
                      </a:lnTo>
                      <a:lnTo>
                        <a:pt x="15900" y="203"/>
                      </a:lnTo>
                      <a:lnTo>
                        <a:pt x="15928" y="210"/>
                      </a:lnTo>
                      <a:lnTo>
                        <a:pt x="15912" y="220"/>
                      </a:lnTo>
                      <a:lnTo>
                        <a:pt x="15933" y="227"/>
                      </a:lnTo>
                      <a:lnTo>
                        <a:pt x="15917" y="236"/>
                      </a:lnTo>
                      <a:lnTo>
                        <a:pt x="15886" y="227"/>
                      </a:lnTo>
                      <a:lnTo>
                        <a:pt x="15886" y="227"/>
                      </a:lnTo>
                      <a:lnTo>
                        <a:pt x="15886" y="227"/>
                      </a:lnTo>
                      <a:close/>
                      <a:moveTo>
                        <a:pt x="15950" y="220"/>
                      </a:moveTo>
                      <a:lnTo>
                        <a:pt x="15971" y="210"/>
                      </a:lnTo>
                      <a:lnTo>
                        <a:pt x="15983" y="227"/>
                      </a:lnTo>
                      <a:lnTo>
                        <a:pt x="15950" y="220"/>
                      </a:lnTo>
                      <a:lnTo>
                        <a:pt x="15950" y="220"/>
                      </a:lnTo>
                      <a:lnTo>
                        <a:pt x="15950" y="220"/>
                      </a:lnTo>
                      <a:close/>
                      <a:moveTo>
                        <a:pt x="16155" y="293"/>
                      </a:moveTo>
                      <a:lnTo>
                        <a:pt x="16134" y="281"/>
                      </a:lnTo>
                      <a:lnTo>
                        <a:pt x="16134" y="244"/>
                      </a:lnTo>
                      <a:lnTo>
                        <a:pt x="16113" y="227"/>
                      </a:lnTo>
                      <a:lnTo>
                        <a:pt x="16209" y="227"/>
                      </a:lnTo>
                      <a:lnTo>
                        <a:pt x="16273" y="255"/>
                      </a:lnTo>
                      <a:lnTo>
                        <a:pt x="16209" y="260"/>
                      </a:lnTo>
                      <a:lnTo>
                        <a:pt x="16188" y="265"/>
                      </a:lnTo>
                      <a:lnTo>
                        <a:pt x="16219" y="265"/>
                      </a:lnTo>
                      <a:lnTo>
                        <a:pt x="16209" y="281"/>
                      </a:lnTo>
                      <a:lnTo>
                        <a:pt x="16181" y="277"/>
                      </a:lnTo>
                      <a:lnTo>
                        <a:pt x="16172" y="281"/>
                      </a:lnTo>
                      <a:lnTo>
                        <a:pt x="16181" y="293"/>
                      </a:lnTo>
                      <a:lnTo>
                        <a:pt x="16155" y="293"/>
                      </a:lnTo>
                      <a:lnTo>
                        <a:pt x="16155" y="293"/>
                      </a:lnTo>
                      <a:lnTo>
                        <a:pt x="16155" y="293"/>
                      </a:lnTo>
                      <a:close/>
                      <a:moveTo>
                        <a:pt x="15933" y="236"/>
                      </a:moveTo>
                      <a:lnTo>
                        <a:pt x="15950" y="227"/>
                      </a:lnTo>
                      <a:lnTo>
                        <a:pt x="15966" y="236"/>
                      </a:lnTo>
                      <a:lnTo>
                        <a:pt x="15928" y="244"/>
                      </a:lnTo>
                      <a:lnTo>
                        <a:pt x="15933" y="236"/>
                      </a:lnTo>
                      <a:lnTo>
                        <a:pt x="15933" y="236"/>
                      </a:lnTo>
                      <a:lnTo>
                        <a:pt x="15933" y="236"/>
                      </a:lnTo>
                      <a:close/>
                      <a:moveTo>
                        <a:pt x="15983" y="236"/>
                      </a:moveTo>
                      <a:lnTo>
                        <a:pt x="15992" y="236"/>
                      </a:lnTo>
                      <a:lnTo>
                        <a:pt x="15971" y="236"/>
                      </a:lnTo>
                      <a:lnTo>
                        <a:pt x="15983" y="236"/>
                      </a:lnTo>
                      <a:lnTo>
                        <a:pt x="15983" y="236"/>
                      </a:lnTo>
                      <a:lnTo>
                        <a:pt x="15983" y="236"/>
                      </a:lnTo>
                      <a:close/>
                      <a:moveTo>
                        <a:pt x="15787" y="277"/>
                      </a:moveTo>
                      <a:lnTo>
                        <a:pt x="15772" y="265"/>
                      </a:lnTo>
                      <a:lnTo>
                        <a:pt x="15824" y="244"/>
                      </a:lnTo>
                      <a:lnTo>
                        <a:pt x="15858" y="244"/>
                      </a:lnTo>
                      <a:lnTo>
                        <a:pt x="15895" y="265"/>
                      </a:lnTo>
                      <a:lnTo>
                        <a:pt x="15862" y="281"/>
                      </a:lnTo>
                      <a:lnTo>
                        <a:pt x="15787" y="277"/>
                      </a:lnTo>
                      <a:lnTo>
                        <a:pt x="15787" y="277"/>
                      </a:lnTo>
                      <a:lnTo>
                        <a:pt x="15787" y="277"/>
                      </a:lnTo>
                      <a:close/>
                      <a:moveTo>
                        <a:pt x="16025" y="293"/>
                      </a:moveTo>
                      <a:lnTo>
                        <a:pt x="16042" y="277"/>
                      </a:lnTo>
                      <a:lnTo>
                        <a:pt x="16042" y="265"/>
                      </a:lnTo>
                      <a:lnTo>
                        <a:pt x="16042" y="255"/>
                      </a:lnTo>
                      <a:lnTo>
                        <a:pt x="16117" y="260"/>
                      </a:lnTo>
                      <a:lnTo>
                        <a:pt x="16117" y="293"/>
                      </a:lnTo>
                      <a:lnTo>
                        <a:pt x="16113" y="298"/>
                      </a:lnTo>
                      <a:lnTo>
                        <a:pt x="16021" y="293"/>
                      </a:lnTo>
                      <a:lnTo>
                        <a:pt x="16025" y="293"/>
                      </a:lnTo>
                      <a:lnTo>
                        <a:pt x="16025" y="293"/>
                      </a:lnTo>
                      <a:lnTo>
                        <a:pt x="16025" y="293"/>
                      </a:lnTo>
                      <a:close/>
                      <a:moveTo>
                        <a:pt x="15966" y="265"/>
                      </a:moveTo>
                      <a:lnTo>
                        <a:pt x="15992" y="255"/>
                      </a:lnTo>
                      <a:lnTo>
                        <a:pt x="16009" y="260"/>
                      </a:lnTo>
                      <a:lnTo>
                        <a:pt x="15983" y="277"/>
                      </a:lnTo>
                      <a:lnTo>
                        <a:pt x="15966" y="265"/>
                      </a:lnTo>
                      <a:lnTo>
                        <a:pt x="15966" y="265"/>
                      </a:lnTo>
                      <a:lnTo>
                        <a:pt x="15966" y="265"/>
                      </a:lnTo>
                      <a:close/>
                      <a:moveTo>
                        <a:pt x="15917" y="277"/>
                      </a:moveTo>
                      <a:lnTo>
                        <a:pt x="15912" y="260"/>
                      </a:lnTo>
                      <a:lnTo>
                        <a:pt x="15917" y="255"/>
                      </a:lnTo>
                      <a:lnTo>
                        <a:pt x="15933" y="260"/>
                      </a:lnTo>
                      <a:lnTo>
                        <a:pt x="15917" y="277"/>
                      </a:lnTo>
                      <a:lnTo>
                        <a:pt x="15917" y="277"/>
                      </a:lnTo>
                      <a:lnTo>
                        <a:pt x="15917" y="277"/>
                      </a:lnTo>
                      <a:close/>
                      <a:moveTo>
                        <a:pt x="15609" y="298"/>
                      </a:moveTo>
                      <a:lnTo>
                        <a:pt x="15588" y="281"/>
                      </a:lnTo>
                      <a:lnTo>
                        <a:pt x="15614" y="265"/>
                      </a:lnTo>
                      <a:lnTo>
                        <a:pt x="15647" y="281"/>
                      </a:lnTo>
                      <a:lnTo>
                        <a:pt x="15609" y="298"/>
                      </a:lnTo>
                      <a:lnTo>
                        <a:pt x="15609" y="298"/>
                      </a:lnTo>
                      <a:lnTo>
                        <a:pt x="15609" y="298"/>
                      </a:lnTo>
                      <a:close/>
                      <a:moveTo>
                        <a:pt x="19098" y="425"/>
                      </a:moveTo>
                      <a:lnTo>
                        <a:pt x="19061" y="425"/>
                      </a:lnTo>
                      <a:lnTo>
                        <a:pt x="19120" y="459"/>
                      </a:lnTo>
                      <a:lnTo>
                        <a:pt x="19129" y="482"/>
                      </a:lnTo>
                      <a:lnTo>
                        <a:pt x="19087" y="499"/>
                      </a:lnTo>
                      <a:lnTo>
                        <a:pt x="19011" y="503"/>
                      </a:lnTo>
                      <a:lnTo>
                        <a:pt x="18935" y="499"/>
                      </a:lnTo>
                      <a:lnTo>
                        <a:pt x="18898" y="475"/>
                      </a:lnTo>
                      <a:lnTo>
                        <a:pt x="18827" y="475"/>
                      </a:lnTo>
                      <a:lnTo>
                        <a:pt x="18817" y="449"/>
                      </a:lnTo>
                      <a:lnTo>
                        <a:pt x="18780" y="466"/>
                      </a:lnTo>
                      <a:lnTo>
                        <a:pt x="18735" y="433"/>
                      </a:lnTo>
                      <a:lnTo>
                        <a:pt x="18735" y="392"/>
                      </a:lnTo>
                      <a:lnTo>
                        <a:pt x="18687" y="392"/>
                      </a:lnTo>
                      <a:lnTo>
                        <a:pt x="18704" y="392"/>
                      </a:lnTo>
                      <a:lnTo>
                        <a:pt x="18687" y="388"/>
                      </a:lnTo>
                      <a:lnTo>
                        <a:pt x="18697" y="371"/>
                      </a:lnTo>
                      <a:lnTo>
                        <a:pt x="18650" y="404"/>
                      </a:lnTo>
                      <a:lnTo>
                        <a:pt x="18650" y="392"/>
                      </a:lnTo>
                      <a:lnTo>
                        <a:pt x="18654" y="388"/>
                      </a:lnTo>
                      <a:lnTo>
                        <a:pt x="18628" y="376"/>
                      </a:lnTo>
                      <a:lnTo>
                        <a:pt x="18654" y="388"/>
                      </a:lnTo>
                      <a:lnTo>
                        <a:pt x="18709" y="347"/>
                      </a:lnTo>
                      <a:lnTo>
                        <a:pt x="18751" y="338"/>
                      </a:lnTo>
                      <a:lnTo>
                        <a:pt x="18725" y="322"/>
                      </a:lnTo>
                      <a:lnTo>
                        <a:pt x="18772" y="293"/>
                      </a:lnTo>
                      <a:lnTo>
                        <a:pt x="18796" y="310"/>
                      </a:lnTo>
                      <a:lnTo>
                        <a:pt x="18817" y="293"/>
                      </a:lnTo>
                      <a:lnTo>
                        <a:pt x="18957" y="281"/>
                      </a:lnTo>
                      <a:lnTo>
                        <a:pt x="18990" y="298"/>
                      </a:lnTo>
                      <a:lnTo>
                        <a:pt x="18957" y="347"/>
                      </a:lnTo>
                      <a:lnTo>
                        <a:pt x="18935" y="355"/>
                      </a:lnTo>
                      <a:lnTo>
                        <a:pt x="18969" y="347"/>
                      </a:lnTo>
                      <a:lnTo>
                        <a:pt x="18978" y="322"/>
                      </a:lnTo>
                      <a:lnTo>
                        <a:pt x="19011" y="331"/>
                      </a:lnTo>
                      <a:lnTo>
                        <a:pt x="19028" y="314"/>
                      </a:lnTo>
                      <a:lnTo>
                        <a:pt x="19023" y="310"/>
                      </a:lnTo>
                      <a:lnTo>
                        <a:pt x="19028" y="298"/>
                      </a:lnTo>
                      <a:lnTo>
                        <a:pt x="19075" y="298"/>
                      </a:lnTo>
                      <a:lnTo>
                        <a:pt x="19136" y="347"/>
                      </a:lnTo>
                      <a:lnTo>
                        <a:pt x="19113" y="371"/>
                      </a:lnTo>
                      <a:lnTo>
                        <a:pt x="19103" y="392"/>
                      </a:lnTo>
                      <a:lnTo>
                        <a:pt x="19113" y="409"/>
                      </a:lnTo>
                      <a:lnTo>
                        <a:pt x="19098" y="425"/>
                      </a:lnTo>
                      <a:lnTo>
                        <a:pt x="19098" y="425"/>
                      </a:lnTo>
                      <a:lnTo>
                        <a:pt x="19098" y="425"/>
                      </a:lnTo>
                      <a:close/>
                      <a:moveTo>
                        <a:pt x="16240" y="310"/>
                      </a:moveTo>
                      <a:lnTo>
                        <a:pt x="16278" y="293"/>
                      </a:lnTo>
                      <a:lnTo>
                        <a:pt x="16311" y="293"/>
                      </a:lnTo>
                      <a:lnTo>
                        <a:pt x="16311" y="310"/>
                      </a:lnTo>
                      <a:lnTo>
                        <a:pt x="16278" y="322"/>
                      </a:lnTo>
                      <a:lnTo>
                        <a:pt x="16240" y="310"/>
                      </a:lnTo>
                      <a:lnTo>
                        <a:pt x="16240" y="310"/>
                      </a:lnTo>
                      <a:lnTo>
                        <a:pt x="16240" y="310"/>
                      </a:lnTo>
                      <a:close/>
                      <a:moveTo>
                        <a:pt x="15626" y="314"/>
                      </a:moveTo>
                      <a:lnTo>
                        <a:pt x="15659" y="314"/>
                      </a:lnTo>
                      <a:lnTo>
                        <a:pt x="15697" y="293"/>
                      </a:lnTo>
                      <a:lnTo>
                        <a:pt x="15723" y="322"/>
                      </a:lnTo>
                      <a:lnTo>
                        <a:pt x="15626" y="314"/>
                      </a:lnTo>
                      <a:lnTo>
                        <a:pt x="15626" y="314"/>
                      </a:lnTo>
                      <a:lnTo>
                        <a:pt x="15626" y="314"/>
                      </a:lnTo>
                      <a:close/>
                      <a:moveTo>
                        <a:pt x="18503" y="298"/>
                      </a:moveTo>
                      <a:lnTo>
                        <a:pt x="18487" y="298"/>
                      </a:lnTo>
                      <a:lnTo>
                        <a:pt x="18633" y="310"/>
                      </a:lnTo>
                      <a:lnTo>
                        <a:pt x="18697" y="322"/>
                      </a:lnTo>
                      <a:lnTo>
                        <a:pt x="18645" y="355"/>
                      </a:lnTo>
                      <a:lnTo>
                        <a:pt x="18562" y="364"/>
                      </a:lnTo>
                      <a:lnTo>
                        <a:pt x="18595" y="355"/>
                      </a:lnTo>
                      <a:lnTo>
                        <a:pt x="18574" y="338"/>
                      </a:lnTo>
                      <a:lnTo>
                        <a:pt x="18503" y="331"/>
                      </a:lnTo>
                      <a:lnTo>
                        <a:pt x="18508" y="322"/>
                      </a:lnTo>
                      <a:lnTo>
                        <a:pt x="18503" y="298"/>
                      </a:lnTo>
                      <a:lnTo>
                        <a:pt x="18503" y="298"/>
                      </a:lnTo>
                      <a:lnTo>
                        <a:pt x="18503" y="298"/>
                      </a:lnTo>
                      <a:close/>
                      <a:moveTo>
                        <a:pt x="18704" y="310"/>
                      </a:moveTo>
                      <a:lnTo>
                        <a:pt x="18735" y="310"/>
                      </a:lnTo>
                      <a:lnTo>
                        <a:pt x="18704" y="314"/>
                      </a:lnTo>
                      <a:lnTo>
                        <a:pt x="18704" y="310"/>
                      </a:lnTo>
                      <a:lnTo>
                        <a:pt x="18704" y="310"/>
                      </a:lnTo>
                      <a:lnTo>
                        <a:pt x="18704" y="310"/>
                      </a:lnTo>
                      <a:close/>
                      <a:moveTo>
                        <a:pt x="16209" y="314"/>
                      </a:moveTo>
                      <a:lnTo>
                        <a:pt x="16226" y="314"/>
                      </a:lnTo>
                      <a:lnTo>
                        <a:pt x="16252" y="322"/>
                      </a:lnTo>
                      <a:lnTo>
                        <a:pt x="16202" y="322"/>
                      </a:lnTo>
                      <a:lnTo>
                        <a:pt x="16209" y="314"/>
                      </a:lnTo>
                      <a:lnTo>
                        <a:pt x="16209" y="314"/>
                      </a:lnTo>
                      <a:lnTo>
                        <a:pt x="16209" y="314"/>
                      </a:lnTo>
                      <a:close/>
                      <a:moveTo>
                        <a:pt x="18541" y="364"/>
                      </a:moveTo>
                      <a:lnTo>
                        <a:pt x="18503" y="355"/>
                      </a:lnTo>
                      <a:lnTo>
                        <a:pt x="18557" y="364"/>
                      </a:lnTo>
                      <a:lnTo>
                        <a:pt x="18541" y="364"/>
                      </a:lnTo>
                      <a:lnTo>
                        <a:pt x="18541" y="364"/>
                      </a:lnTo>
                      <a:lnTo>
                        <a:pt x="18541" y="364"/>
                      </a:lnTo>
                      <a:close/>
                      <a:moveTo>
                        <a:pt x="19129" y="376"/>
                      </a:moveTo>
                      <a:lnTo>
                        <a:pt x="19129" y="364"/>
                      </a:lnTo>
                      <a:lnTo>
                        <a:pt x="19150" y="364"/>
                      </a:lnTo>
                      <a:lnTo>
                        <a:pt x="19129" y="376"/>
                      </a:lnTo>
                      <a:lnTo>
                        <a:pt x="19129" y="376"/>
                      </a:lnTo>
                      <a:lnTo>
                        <a:pt x="19129" y="376"/>
                      </a:lnTo>
                      <a:close/>
                      <a:moveTo>
                        <a:pt x="17495" y="388"/>
                      </a:moveTo>
                      <a:lnTo>
                        <a:pt x="17445" y="371"/>
                      </a:lnTo>
                      <a:lnTo>
                        <a:pt x="17563" y="388"/>
                      </a:lnTo>
                      <a:lnTo>
                        <a:pt x="17499" y="392"/>
                      </a:lnTo>
                      <a:lnTo>
                        <a:pt x="17495" y="388"/>
                      </a:lnTo>
                      <a:lnTo>
                        <a:pt x="17495" y="388"/>
                      </a:lnTo>
                      <a:lnTo>
                        <a:pt x="17495" y="388"/>
                      </a:lnTo>
                      <a:close/>
                      <a:moveTo>
                        <a:pt x="18494" y="388"/>
                      </a:moveTo>
                      <a:lnTo>
                        <a:pt x="18536" y="392"/>
                      </a:lnTo>
                      <a:lnTo>
                        <a:pt x="18482" y="376"/>
                      </a:lnTo>
                      <a:lnTo>
                        <a:pt x="18494" y="388"/>
                      </a:lnTo>
                      <a:lnTo>
                        <a:pt x="18494" y="388"/>
                      </a:lnTo>
                      <a:lnTo>
                        <a:pt x="18494" y="388"/>
                      </a:lnTo>
                      <a:close/>
                      <a:moveTo>
                        <a:pt x="19129" y="392"/>
                      </a:moveTo>
                      <a:lnTo>
                        <a:pt x="19129" y="404"/>
                      </a:lnTo>
                      <a:lnTo>
                        <a:pt x="19120" y="404"/>
                      </a:lnTo>
                      <a:lnTo>
                        <a:pt x="19129" y="392"/>
                      </a:lnTo>
                      <a:lnTo>
                        <a:pt x="19129" y="392"/>
                      </a:lnTo>
                      <a:lnTo>
                        <a:pt x="19129" y="392"/>
                      </a:lnTo>
                      <a:close/>
                      <a:moveTo>
                        <a:pt x="19136" y="553"/>
                      </a:moveTo>
                      <a:lnTo>
                        <a:pt x="19157" y="503"/>
                      </a:lnTo>
                      <a:lnTo>
                        <a:pt x="19212" y="515"/>
                      </a:lnTo>
                      <a:lnTo>
                        <a:pt x="19183" y="487"/>
                      </a:lnTo>
                      <a:lnTo>
                        <a:pt x="19195" y="466"/>
                      </a:lnTo>
                      <a:lnTo>
                        <a:pt x="19243" y="475"/>
                      </a:lnTo>
                      <a:lnTo>
                        <a:pt x="19195" y="459"/>
                      </a:lnTo>
                      <a:lnTo>
                        <a:pt x="19212" y="433"/>
                      </a:lnTo>
                      <a:lnTo>
                        <a:pt x="19250" y="409"/>
                      </a:lnTo>
                      <a:lnTo>
                        <a:pt x="19264" y="425"/>
                      </a:lnTo>
                      <a:lnTo>
                        <a:pt x="19280" y="433"/>
                      </a:lnTo>
                      <a:lnTo>
                        <a:pt x="19280" y="409"/>
                      </a:lnTo>
                      <a:lnTo>
                        <a:pt x="19297" y="404"/>
                      </a:lnTo>
                      <a:lnTo>
                        <a:pt x="19351" y="421"/>
                      </a:lnTo>
                      <a:lnTo>
                        <a:pt x="19330" y="433"/>
                      </a:lnTo>
                      <a:lnTo>
                        <a:pt x="19297" y="499"/>
                      </a:lnTo>
                      <a:lnTo>
                        <a:pt x="19335" y="466"/>
                      </a:lnTo>
                      <a:lnTo>
                        <a:pt x="19406" y="449"/>
                      </a:lnTo>
                      <a:lnTo>
                        <a:pt x="19410" y="475"/>
                      </a:lnTo>
                      <a:lnTo>
                        <a:pt x="19439" y="475"/>
                      </a:lnTo>
                      <a:lnTo>
                        <a:pt x="19453" y="499"/>
                      </a:lnTo>
                      <a:lnTo>
                        <a:pt x="19453" y="503"/>
                      </a:lnTo>
                      <a:lnTo>
                        <a:pt x="19460" y="499"/>
                      </a:lnTo>
                      <a:lnTo>
                        <a:pt x="19491" y="499"/>
                      </a:lnTo>
                      <a:lnTo>
                        <a:pt x="19507" y="536"/>
                      </a:lnTo>
                      <a:lnTo>
                        <a:pt x="19460" y="577"/>
                      </a:lnTo>
                      <a:lnTo>
                        <a:pt x="19335" y="593"/>
                      </a:lnTo>
                      <a:lnTo>
                        <a:pt x="19318" y="598"/>
                      </a:lnTo>
                      <a:lnTo>
                        <a:pt x="19302" y="593"/>
                      </a:lnTo>
                      <a:lnTo>
                        <a:pt x="19221" y="598"/>
                      </a:lnTo>
                      <a:lnTo>
                        <a:pt x="19129" y="631"/>
                      </a:lnTo>
                      <a:lnTo>
                        <a:pt x="19087" y="643"/>
                      </a:lnTo>
                      <a:lnTo>
                        <a:pt x="19082" y="626"/>
                      </a:lnTo>
                      <a:lnTo>
                        <a:pt x="19136" y="553"/>
                      </a:lnTo>
                      <a:lnTo>
                        <a:pt x="19136" y="553"/>
                      </a:lnTo>
                      <a:lnTo>
                        <a:pt x="19136" y="553"/>
                      </a:lnTo>
                      <a:close/>
                      <a:moveTo>
                        <a:pt x="19561" y="598"/>
                      </a:moveTo>
                      <a:lnTo>
                        <a:pt x="19552" y="593"/>
                      </a:lnTo>
                      <a:lnTo>
                        <a:pt x="19583" y="577"/>
                      </a:lnTo>
                      <a:lnTo>
                        <a:pt x="19604" y="586"/>
                      </a:lnTo>
                      <a:lnTo>
                        <a:pt x="19561" y="598"/>
                      </a:lnTo>
                      <a:lnTo>
                        <a:pt x="19561" y="598"/>
                      </a:lnTo>
                      <a:lnTo>
                        <a:pt x="19561" y="598"/>
                      </a:lnTo>
                      <a:close/>
                      <a:moveTo>
                        <a:pt x="19654" y="626"/>
                      </a:moveTo>
                      <a:lnTo>
                        <a:pt x="19583" y="598"/>
                      </a:lnTo>
                      <a:lnTo>
                        <a:pt x="19670" y="610"/>
                      </a:lnTo>
                      <a:lnTo>
                        <a:pt x="19654" y="626"/>
                      </a:lnTo>
                      <a:lnTo>
                        <a:pt x="19654" y="626"/>
                      </a:lnTo>
                      <a:lnTo>
                        <a:pt x="19654" y="626"/>
                      </a:lnTo>
                      <a:close/>
                      <a:moveTo>
                        <a:pt x="18562" y="688"/>
                      </a:moveTo>
                      <a:lnTo>
                        <a:pt x="18546" y="681"/>
                      </a:lnTo>
                      <a:lnTo>
                        <a:pt x="18574" y="688"/>
                      </a:lnTo>
                      <a:lnTo>
                        <a:pt x="18562" y="688"/>
                      </a:lnTo>
                      <a:lnTo>
                        <a:pt x="18562" y="688"/>
                      </a:lnTo>
                      <a:lnTo>
                        <a:pt x="18562" y="688"/>
                      </a:lnTo>
                      <a:close/>
                      <a:moveTo>
                        <a:pt x="19642" y="754"/>
                      </a:moveTo>
                      <a:lnTo>
                        <a:pt x="19637" y="742"/>
                      </a:lnTo>
                      <a:lnTo>
                        <a:pt x="19654" y="725"/>
                      </a:lnTo>
                      <a:lnTo>
                        <a:pt x="19670" y="737"/>
                      </a:lnTo>
                      <a:lnTo>
                        <a:pt x="19670" y="742"/>
                      </a:lnTo>
                      <a:lnTo>
                        <a:pt x="19642" y="754"/>
                      </a:lnTo>
                      <a:lnTo>
                        <a:pt x="19642" y="754"/>
                      </a:lnTo>
                      <a:lnTo>
                        <a:pt x="19642" y="754"/>
                      </a:lnTo>
                      <a:close/>
                      <a:moveTo>
                        <a:pt x="18373" y="758"/>
                      </a:moveTo>
                      <a:lnTo>
                        <a:pt x="18364" y="742"/>
                      </a:lnTo>
                      <a:lnTo>
                        <a:pt x="18373" y="737"/>
                      </a:lnTo>
                      <a:lnTo>
                        <a:pt x="18402" y="742"/>
                      </a:lnTo>
                      <a:lnTo>
                        <a:pt x="18373" y="758"/>
                      </a:lnTo>
                      <a:lnTo>
                        <a:pt x="18373" y="758"/>
                      </a:lnTo>
                      <a:lnTo>
                        <a:pt x="18373" y="758"/>
                      </a:lnTo>
                      <a:close/>
                      <a:moveTo>
                        <a:pt x="19535" y="742"/>
                      </a:moveTo>
                      <a:lnTo>
                        <a:pt x="19552" y="737"/>
                      </a:lnTo>
                      <a:lnTo>
                        <a:pt x="19535" y="742"/>
                      </a:lnTo>
                      <a:lnTo>
                        <a:pt x="19535" y="742"/>
                      </a:lnTo>
                      <a:lnTo>
                        <a:pt x="19535" y="742"/>
                      </a:lnTo>
                      <a:close/>
                      <a:moveTo>
                        <a:pt x="18881" y="754"/>
                      </a:moveTo>
                      <a:lnTo>
                        <a:pt x="18886" y="758"/>
                      </a:lnTo>
                      <a:lnTo>
                        <a:pt x="18860" y="780"/>
                      </a:lnTo>
                      <a:lnTo>
                        <a:pt x="18796" y="780"/>
                      </a:lnTo>
                      <a:lnTo>
                        <a:pt x="18881" y="754"/>
                      </a:lnTo>
                      <a:lnTo>
                        <a:pt x="18881" y="754"/>
                      </a:lnTo>
                      <a:lnTo>
                        <a:pt x="18881" y="754"/>
                      </a:lnTo>
                      <a:close/>
                      <a:moveTo>
                        <a:pt x="18357" y="758"/>
                      </a:moveTo>
                      <a:lnTo>
                        <a:pt x="18331" y="763"/>
                      </a:lnTo>
                      <a:lnTo>
                        <a:pt x="18347" y="763"/>
                      </a:lnTo>
                      <a:lnTo>
                        <a:pt x="18343" y="780"/>
                      </a:lnTo>
                      <a:lnTo>
                        <a:pt x="18331" y="763"/>
                      </a:lnTo>
                      <a:lnTo>
                        <a:pt x="18357" y="758"/>
                      </a:lnTo>
                      <a:lnTo>
                        <a:pt x="18357" y="758"/>
                      </a:lnTo>
                      <a:lnTo>
                        <a:pt x="18357" y="758"/>
                      </a:lnTo>
                      <a:close/>
                      <a:moveTo>
                        <a:pt x="23093" y="758"/>
                      </a:moveTo>
                      <a:lnTo>
                        <a:pt x="23109" y="758"/>
                      </a:lnTo>
                      <a:lnTo>
                        <a:pt x="23088" y="758"/>
                      </a:lnTo>
                      <a:lnTo>
                        <a:pt x="23093" y="758"/>
                      </a:lnTo>
                      <a:lnTo>
                        <a:pt x="23093" y="758"/>
                      </a:lnTo>
                      <a:lnTo>
                        <a:pt x="23093" y="758"/>
                      </a:lnTo>
                      <a:close/>
                      <a:moveTo>
                        <a:pt x="16101" y="1314"/>
                      </a:moveTo>
                      <a:lnTo>
                        <a:pt x="16096" y="1307"/>
                      </a:lnTo>
                      <a:lnTo>
                        <a:pt x="16096" y="1318"/>
                      </a:lnTo>
                      <a:lnTo>
                        <a:pt x="16047" y="1318"/>
                      </a:lnTo>
                      <a:lnTo>
                        <a:pt x="16037" y="1297"/>
                      </a:lnTo>
                      <a:lnTo>
                        <a:pt x="16042" y="1314"/>
                      </a:lnTo>
                      <a:lnTo>
                        <a:pt x="15971" y="1297"/>
                      </a:lnTo>
                      <a:lnTo>
                        <a:pt x="15917" y="1314"/>
                      </a:lnTo>
                      <a:lnTo>
                        <a:pt x="15900" y="1307"/>
                      </a:lnTo>
                      <a:lnTo>
                        <a:pt x="15928" y="1297"/>
                      </a:lnTo>
                      <a:lnTo>
                        <a:pt x="15928" y="1290"/>
                      </a:lnTo>
                      <a:lnTo>
                        <a:pt x="15917" y="1290"/>
                      </a:lnTo>
                      <a:lnTo>
                        <a:pt x="15928" y="1281"/>
                      </a:lnTo>
                      <a:lnTo>
                        <a:pt x="15987" y="1257"/>
                      </a:lnTo>
                      <a:lnTo>
                        <a:pt x="15900" y="1273"/>
                      </a:lnTo>
                      <a:lnTo>
                        <a:pt x="15879" y="1252"/>
                      </a:lnTo>
                      <a:lnTo>
                        <a:pt x="15954" y="1224"/>
                      </a:lnTo>
                      <a:lnTo>
                        <a:pt x="15938" y="1219"/>
                      </a:lnTo>
                      <a:lnTo>
                        <a:pt x="15971" y="1195"/>
                      </a:lnTo>
                      <a:lnTo>
                        <a:pt x="16037" y="1203"/>
                      </a:lnTo>
                      <a:lnTo>
                        <a:pt x="15983" y="1179"/>
                      </a:lnTo>
                      <a:lnTo>
                        <a:pt x="16025" y="1179"/>
                      </a:lnTo>
                      <a:lnTo>
                        <a:pt x="15987" y="1170"/>
                      </a:lnTo>
                      <a:lnTo>
                        <a:pt x="15992" y="1153"/>
                      </a:lnTo>
                      <a:lnTo>
                        <a:pt x="16063" y="1146"/>
                      </a:lnTo>
                      <a:lnTo>
                        <a:pt x="16009" y="1141"/>
                      </a:lnTo>
                      <a:lnTo>
                        <a:pt x="16009" y="1125"/>
                      </a:lnTo>
                      <a:lnTo>
                        <a:pt x="16113" y="1125"/>
                      </a:lnTo>
                      <a:lnTo>
                        <a:pt x="16089" y="1125"/>
                      </a:lnTo>
                      <a:lnTo>
                        <a:pt x="16075" y="1108"/>
                      </a:lnTo>
                      <a:lnTo>
                        <a:pt x="16037" y="1108"/>
                      </a:lnTo>
                      <a:lnTo>
                        <a:pt x="16089" y="1087"/>
                      </a:lnTo>
                      <a:lnTo>
                        <a:pt x="16063" y="1087"/>
                      </a:lnTo>
                      <a:lnTo>
                        <a:pt x="16075" y="1075"/>
                      </a:lnTo>
                      <a:lnTo>
                        <a:pt x="16037" y="1075"/>
                      </a:lnTo>
                      <a:lnTo>
                        <a:pt x="16042" y="1070"/>
                      </a:lnTo>
                      <a:lnTo>
                        <a:pt x="16025" y="1070"/>
                      </a:lnTo>
                      <a:lnTo>
                        <a:pt x="16025" y="1058"/>
                      </a:lnTo>
                      <a:lnTo>
                        <a:pt x="16063" y="1051"/>
                      </a:lnTo>
                      <a:lnTo>
                        <a:pt x="16075" y="1070"/>
                      </a:lnTo>
                      <a:lnTo>
                        <a:pt x="16101" y="1042"/>
                      </a:lnTo>
                      <a:lnTo>
                        <a:pt x="16096" y="1035"/>
                      </a:lnTo>
                      <a:lnTo>
                        <a:pt x="16101" y="1030"/>
                      </a:lnTo>
                      <a:lnTo>
                        <a:pt x="16165" y="1030"/>
                      </a:lnTo>
                      <a:lnTo>
                        <a:pt x="16150" y="1002"/>
                      </a:lnTo>
                      <a:lnTo>
                        <a:pt x="16198" y="997"/>
                      </a:lnTo>
                      <a:lnTo>
                        <a:pt x="16181" y="985"/>
                      </a:lnTo>
                      <a:lnTo>
                        <a:pt x="16235" y="959"/>
                      </a:lnTo>
                      <a:lnTo>
                        <a:pt x="16349" y="931"/>
                      </a:lnTo>
                      <a:lnTo>
                        <a:pt x="16328" y="924"/>
                      </a:lnTo>
                      <a:lnTo>
                        <a:pt x="16344" y="919"/>
                      </a:lnTo>
                      <a:lnTo>
                        <a:pt x="16382" y="919"/>
                      </a:lnTo>
                      <a:lnTo>
                        <a:pt x="16361" y="931"/>
                      </a:lnTo>
                      <a:lnTo>
                        <a:pt x="16370" y="931"/>
                      </a:lnTo>
                      <a:lnTo>
                        <a:pt x="16403" y="907"/>
                      </a:lnTo>
                      <a:lnTo>
                        <a:pt x="16387" y="907"/>
                      </a:lnTo>
                      <a:lnTo>
                        <a:pt x="16398" y="891"/>
                      </a:lnTo>
                      <a:lnTo>
                        <a:pt x="16441" y="886"/>
                      </a:lnTo>
                      <a:lnTo>
                        <a:pt x="16495" y="903"/>
                      </a:lnTo>
                      <a:lnTo>
                        <a:pt x="16580" y="874"/>
                      </a:lnTo>
                      <a:lnTo>
                        <a:pt x="16613" y="886"/>
                      </a:lnTo>
                      <a:lnTo>
                        <a:pt x="16710" y="848"/>
                      </a:lnTo>
                      <a:lnTo>
                        <a:pt x="16743" y="853"/>
                      </a:lnTo>
                      <a:lnTo>
                        <a:pt x="16727" y="832"/>
                      </a:lnTo>
                      <a:lnTo>
                        <a:pt x="16852" y="780"/>
                      </a:lnTo>
                      <a:lnTo>
                        <a:pt x="16921" y="792"/>
                      </a:lnTo>
                      <a:lnTo>
                        <a:pt x="16954" y="815"/>
                      </a:lnTo>
                      <a:lnTo>
                        <a:pt x="16937" y="848"/>
                      </a:lnTo>
                      <a:lnTo>
                        <a:pt x="16944" y="853"/>
                      </a:lnTo>
                      <a:lnTo>
                        <a:pt x="16899" y="886"/>
                      </a:lnTo>
                      <a:lnTo>
                        <a:pt x="16906" y="886"/>
                      </a:lnTo>
                      <a:lnTo>
                        <a:pt x="16684" y="959"/>
                      </a:lnTo>
                      <a:lnTo>
                        <a:pt x="16592" y="981"/>
                      </a:lnTo>
                      <a:lnTo>
                        <a:pt x="16576" y="976"/>
                      </a:lnTo>
                      <a:lnTo>
                        <a:pt x="16559" y="985"/>
                      </a:lnTo>
                      <a:lnTo>
                        <a:pt x="16441" y="1018"/>
                      </a:lnTo>
                      <a:lnTo>
                        <a:pt x="16424" y="1042"/>
                      </a:lnTo>
                      <a:lnTo>
                        <a:pt x="16415" y="1030"/>
                      </a:lnTo>
                      <a:lnTo>
                        <a:pt x="16403" y="1042"/>
                      </a:lnTo>
                      <a:lnTo>
                        <a:pt x="16370" y="1058"/>
                      </a:lnTo>
                      <a:lnTo>
                        <a:pt x="16382" y="1070"/>
                      </a:lnTo>
                      <a:lnTo>
                        <a:pt x="16370" y="1075"/>
                      </a:lnTo>
                      <a:lnTo>
                        <a:pt x="16361" y="1058"/>
                      </a:lnTo>
                      <a:lnTo>
                        <a:pt x="16361" y="1075"/>
                      </a:lnTo>
                      <a:lnTo>
                        <a:pt x="16316" y="1075"/>
                      </a:lnTo>
                      <a:lnTo>
                        <a:pt x="16370" y="1087"/>
                      </a:lnTo>
                      <a:lnTo>
                        <a:pt x="16332" y="1096"/>
                      </a:lnTo>
                      <a:lnTo>
                        <a:pt x="16349" y="1108"/>
                      </a:lnTo>
                      <a:lnTo>
                        <a:pt x="16344" y="1113"/>
                      </a:lnTo>
                      <a:lnTo>
                        <a:pt x="16316" y="1113"/>
                      </a:lnTo>
                      <a:lnTo>
                        <a:pt x="16290" y="1108"/>
                      </a:lnTo>
                      <a:lnTo>
                        <a:pt x="16311" y="1125"/>
                      </a:lnTo>
                      <a:lnTo>
                        <a:pt x="16306" y="1141"/>
                      </a:lnTo>
                      <a:lnTo>
                        <a:pt x="16264" y="1113"/>
                      </a:lnTo>
                      <a:lnTo>
                        <a:pt x="16273" y="1129"/>
                      </a:lnTo>
                      <a:lnTo>
                        <a:pt x="16257" y="1141"/>
                      </a:lnTo>
                      <a:lnTo>
                        <a:pt x="16264" y="1153"/>
                      </a:lnTo>
                      <a:lnTo>
                        <a:pt x="16198" y="1141"/>
                      </a:lnTo>
                      <a:lnTo>
                        <a:pt x="16226" y="1153"/>
                      </a:lnTo>
                      <a:lnTo>
                        <a:pt x="16235" y="1179"/>
                      </a:lnTo>
                      <a:lnTo>
                        <a:pt x="16219" y="1195"/>
                      </a:lnTo>
                      <a:lnTo>
                        <a:pt x="16202" y="1186"/>
                      </a:lnTo>
                      <a:lnTo>
                        <a:pt x="16209" y="1203"/>
                      </a:lnTo>
                      <a:lnTo>
                        <a:pt x="16198" y="1203"/>
                      </a:lnTo>
                      <a:lnTo>
                        <a:pt x="16198" y="1219"/>
                      </a:lnTo>
                      <a:lnTo>
                        <a:pt x="16165" y="1207"/>
                      </a:lnTo>
                      <a:lnTo>
                        <a:pt x="16150" y="1195"/>
                      </a:lnTo>
                      <a:lnTo>
                        <a:pt x="16143" y="1195"/>
                      </a:lnTo>
                      <a:lnTo>
                        <a:pt x="16150" y="1207"/>
                      </a:lnTo>
                      <a:lnTo>
                        <a:pt x="16134" y="1207"/>
                      </a:lnTo>
                      <a:lnTo>
                        <a:pt x="16172" y="1236"/>
                      </a:lnTo>
                      <a:lnTo>
                        <a:pt x="16181" y="1252"/>
                      </a:lnTo>
                      <a:lnTo>
                        <a:pt x="16165" y="1257"/>
                      </a:lnTo>
                      <a:lnTo>
                        <a:pt x="16143" y="1240"/>
                      </a:lnTo>
                      <a:lnTo>
                        <a:pt x="16080" y="1236"/>
                      </a:lnTo>
                      <a:lnTo>
                        <a:pt x="16134" y="1240"/>
                      </a:lnTo>
                      <a:lnTo>
                        <a:pt x="16155" y="1264"/>
                      </a:lnTo>
                      <a:lnTo>
                        <a:pt x="16134" y="1281"/>
                      </a:lnTo>
                      <a:lnTo>
                        <a:pt x="16096" y="1264"/>
                      </a:lnTo>
                      <a:lnTo>
                        <a:pt x="16096" y="1273"/>
                      </a:lnTo>
                      <a:lnTo>
                        <a:pt x="16127" y="1290"/>
                      </a:lnTo>
                      <a:lnTo>
                        <a:pt x="16101" y="1314"/>
                      </a:lnTo>
                      <a:lnTo>
                        <a:pt x="16101" y="1314"/>
                      </a:lnTo>
                      <a:lnTo>
                        <a:pt x="16101" y="1314"/>
                      </a:lnTo>
                      <a:close/>
                      <a:moveTo>
                        <a:pt x="18978" y="815"/>
                      </a:moveTo>
                      <a:lnTo>
                        <a:pt x="18969" y="808"/>
                      </a:lnTo>
                      <a:lnTo>
                        <a:pt x="18978" y="808"/>
                      </a:lnTo>
                      <a:lnTo>
                        <a:pt x="18978" y="815"/>
                      </a:lnTo>
                      <a:lnTo>
                        <a:pt x="18978" y="815"/>
                      </a:lnTo>
                      <a:lnTo>
                        <a:pt x="18978" y="815"/>
                      </a:lnTo>
                      <a:close/>
                      <a:moveTo>
                        <a:pt x="22521" y="836"/>
                      </a:moveTo>
                      <a:lnTo>
                        <a:pt x="22547" y="820"/>
                      </a:lnTo>
                      <a:lnTo>
                        <a:pt x="22585" y="820"/>
                      </a:lnTo>
                      <a:lnTo>
                        <a:pt x="22576" y="836"/>
                      </a:lnTo>
                      <a:lnTo>
                        <a:pt x="22521" y="836"/>
                      </a:lnTo>
                      <a:lnTo>
                        <a:pt x="22521" y="836"/>
                      </a:lnTo>
                      <a:lnTo>
                        <a:pt x="22521" y="836"/>
                      </a:lnTo>
                      <a:close/>
                      <a:moveTo>
                        <a:pt x="18957" y="848"/>
                      </a:moveTo>
                      <a:lnTo>
                        <a:pt x="18940" y="836"/>
                      </a:lnTo>
                      <a:lnTo>
                        <a:pt x="18952" y="820"/>
                      </a:lnTo>
                      <a:lnTo>
                        <a:pt x="18957" y="836"/>
                      </a:lnTo>
                      <a:lnTo>
                        <a:pt x="18957" y="848"/>
                      </a:lnTo>
                      <a:lnTo>
                        <a:pt x="18957" y="848"/>
                      </a:lnTo>
                      <a:lnTo>
                        <a:pt x="18957" y="848"/>
                      </a:lnTo>
                      <a:close/>
                      <a:moveTo>
                        <a:pt x="18827" y="832"/>
                      </a:moveTo>
                      <a:lnTo>
                        <a:pt x="18834" y="832"/>
                      </a:lnTo>
                      <a:lnTo>
                        <a:pt x="18806" y="832"/>
                      </a:lnTo>
                      <a:lnTo>
                        <a:pt x="18827" y="832"/>
                      </a:lnTo>
                      <a:lnTo>
                        <a:pt x="18827" y="832"/>
                      </a:lnTo>
                      <a:lnTo>
                        <a:pt x="18827" y="832"/>
                      </a:lnTo>
                      <a:close/>
                      <a:moveTo>
                        <a:pt x="18789" y="820"/>
                      </a:moveTo>
                      <a:lnTo>
                        <a:pt x="18806" y="832"/>
                      </a:lnTo>
                      <a:lnTo>
                        <a:pt x="18763" y="836"/>
                      </a:lnTo>
                      <a:lnTo>
                        <a:pt x="18789" y="820"/>
                      </a:lnTo>
                      <a:lnTo>
                        <a:pt x="18789" y="820"/>
                      </a:lnTo>
                      <a:lnTo>
                        <a:pt x="18789" y="820"/>
                      </a:lnTo>
                      <a:close/>
                      <a:moveTo>
                        <a:pt x="18881" y="832"/>
                      </a:moveTo>
                      <a:lnTo>
                        <a:pt x="18865" y="836"/>
                      </a:lnTo>
                      <a:lnTo>
                        <a:pt x="18843" y="836"/>
                      </a:lnTo>
                      <a:lnTo>
                        <a:pt x="18881" y="832"/>
                      </a:lnTo>
                      <a:lnTo>
                        <a:pt x="18881" y="832"/>
                      </a:lnTo>
                      <a:lnTo>
                        <a:pt x="18881" y="832"/>
                      </a:lnTo>
                      <a:close/>
                      <a:moveTo>
                        <a:pt x="20010" y="865"/>
                      </a:moveTo>
                      <a:lnTo>
                        <a:pt x="19968" y="836"/>
                      </a:lnTo>
                      <a:lnTo>
                        <a:pt x="20010" y="836"/>
                      </a:lnTo>
                      <a:lnTo>
                        <a:pt x="20020" y="853"/>
                      </a:lnTo>
                      <a:lnTo>
                        <a:pt x="20010" y="865"/>
                      </a:lnTo>
                      <a:lnTo>
                        <a:pt x="20010" y="865"/>
                      </a:lnTo>
                      <a:lnTo>
                        <a:pt x="20010" y="865"/>
                      </a:lnTo>
                      <a:close/>
                      <a:moveTo>
                        <a:pt x="18704" y="836"/>
                      </a:moveTo>
                      <a:lnTo>
                        <a:pt x="18735" y="848"/>
                      </a:lnTo>
                      <a:lnTo>
                        <a:pt x="18697" y="848"/>
                      </a:lnTo>
                      <a:lnTo>
                        <a:pt x="18704" y="836"/>
                      </a:lnTo>
                      <a:lnTo>
                        <a:pt x="18704" y="836"/>
                      </a:lnTo>
                      <a:lnTo>
                        <a:pt x="18704" y="836"/>
                      </a:lnTo>
                      <a:close/>
                      <a:moveTo>
                        <a:pt x="20048" y="874"/>
                      </a:moveTo>
                      <a:lnTo>
                        <a:pt x="20065" y="870"/>
                      </a:lnTo>
                      <a:lnTo>
                        <a:pt x="20069" y="874"/>
                      </a:lnTo>
                      <a:lnTo>
                        <a:pt x="20048" y="874"/>
                      </a:lnTo>
                      <a:lnTo>
                        <a:pt x="20048" y="874"/>
                      </a:lnTo>
                      <a:lnTo>
                        <a:pt x="20048" y="874"/>
                      </a:lnTo>
                      <a:close/>
                      <a:moveTo>
                        <a:pt x="18902" y="907"/>
                      </a:moveTo>
                      <a:lnTo>
                        <a:pt x="18898" y="903"/>
                      </a:lnTo>
                      <a:lnTo>
                        <a:pt x="18902" y="874"/>
                      </a:lnTo>
                      <a:lnTo>
                        <a:pt x="18919" y="886"/>
                      </a:lnTo>
                      <a:lnTo>
                        <a:pt x="18902" y="907"/>
                      </a:lnTo>
                      <a:lnTo>
                        <a:pt x="18902" y="907"/>
                      </a:lnTo>
                      <a:lnTo>
                        <a:pt x="18902" y="907"/>
                      </a:lnTo>
                      <a:close/>
                      <a:moveTo>
                        <a:pt x="18898" y="886"/>
                      </a:moveTo>
                      <a:lnTo>
                        <a:pt x="18872" y="886"/>
                      </a:lnTo>
                      <a:lnTo>
                        <a:pt x="18902" y="886"/>
                      </a:lnTo>
                      <a:lnTo>
                        <a:pt x="18898" y="886"/>
                      </a:lnTo>
                      <a:lnTo>
                        <a:pt x="18898" y="886"/>
                      </a:lnTo>
                      <a:lnTo>
                        <a:pt x="18898" y="886"/>
                      </a:lnTo>
                      <a:close/>
                      <a:moveTo>
                        <a:pt x="18872" y="919"/>
                      </a:moveTo>
                      <a:lnTo>
                        <a:pt x="18796" y="903"/>
                      </a:lnTo>
                      <a:lnTo>
                        <a:pt x="18806" y="886"/>
                      </a:lnTo>
                      <a:lnTo>
                        <a:pt x="18898" y="891"/>
                      </a:lnTo>
                      <a:lnTo>
                        <a:pt x="18886" y="907"/>
                      </a:lnTo>
                      <a:lnTo>
                        <a:pt x="18886" y="891"/>
                      </a:lnTo>
                      <a:lnTo>
                        <a:pt x="18872" y="891"/>
                      </a:lnTo>
                      <a:lnTo>
                        <a:pt x="18872" y="903"/>
                      </a:lnTo>
                      <a:lnTo>
                        <a:pt x="18872" y="907"/>
                      </a:lnTo>
                      <a:lnTo>
                        <a:pt x="18872" y="919"/>
                      </a:lnTo>
                      <a:lnTo>
                        <a:pt x="18872" y="919"/>
                      </a:lnTo>
                      <a:lnTo>
                        <a:pt x="18872" y="919"/>
                      </a:lnTo>
                      <a:close/>
                      <a:moveTo>
                        <a:pt x="18758" y="891"/>
                      </a:moveTo>
                      <a:lnTo>
                        <a:pt x="18780" y="891"/>
                      </a:lnTo>
                      <a:lnTo>
                        <a:pt x="18763" y="903"/>
                      </a:lnTo>
                      <a:lnTo>
                        <a:pt x="18735" y="903"/>
                      </a:lnTo>
                      <a:lnTo>
                        <a:pt x="18763" y="903"/>
                      </a:lnTo>
                      <a:lnTo>
                        <a:pt x="18758" y="891"/>
                      </a:lnTo>
                      <a:lnTo>
                        <a:pt x="18758" y="891"/>
                      </a:lnTo>
                      <a:lnTo>
                        <a:pt x="18758" y="891"/>
                      </a:lnTo>
                      <a:close/>
                      <a:moveTo>
                        <a:pt x="18780" y="903"/>
                      </a:moveTo>
                      <a:lnTo>
                        <a:pt x="18789" y="907"/>
                      </a:lnTo>
                      <a:lnTo>
                        <a:pt x="18780" y="907"/>
                      </a:lnTo>
                      <a:lnTo>
                        <a:pt x="18780" y="903"/>
                      </a:lnTo>
                      <a:lnTo>
                        <a:pt x="18780" y="903"/>
                      </a:lnTo>
                      <a:lnTo>
                        <a:pt x="18780" y="903"/>
                      </a:lnTo>
                      <a:close/>
                      <a:moveTo>
                        <a:pt x="22105" y="1108"/>
                      </a:moveTo>
                      <a:lnTo>
                        <a:pt x="22072" y="1087"/>
                      </a:lnTo>
                      <a:lnTo>
                        <a:pt x="22098" y="1087"/>
                      </a:lnTo>
                      <a:lnTo>
                        <a:pt x="22089" y="1075"/>
                      </a:lnTo>
                      <a:lnTo>
                        <a:pt x="21938" y="1096"/>
                      </a:lnTo>
                      <a:lnTo>
                        <a:pt x="21909" y="1087"/>
                      </a:lnTo>
                      <a:lnTo>
                        <a:pt x="21900" y="1087"/>
                      </a:lnTo>
                      <a:lnTo>
                        <a:pt x="21905" y="1096"/>
                      </a:lnTo>
                      <a:lnTo>
                        <a:pt x="21900" y="1113"/>
                      </a:lnTo>
                      <a:lnTo>
                        <a:pt x="21867" y="1125"/>
                      </a:lnTo>
                      <a:lnTo>
                        <a:pt x="21791" y="1096"/>
                      </a:lnTo>
                      <a:lnTo>
                        <a:pt x="21782" y="1087"/>
                      </a:lnTo>
                      <a:lnTo>
                        <a:pt x="21737" y="1058"/>
                      </a:lnTo>
                      <a:lnTo>
                        <a:pt x="21711" y="1030"/>
                      </a:lnTo>
                      <a:lnTo>
                        <a:pt x="21749" y="1030"/>
                      </a:lnTo>
                      <a:lnTo>
                        <a:pt x="21749" y="1018"/>
                      </a:lnTo>
                      <a:lnTo>
                        <a:pt x="21737" y="1018"/>
                      </a:lnTo>
                      <a:lnTo>
                        <a:pt x="21744" y="985"/>
                      </a:lnTo>
                      <a:lnTo>
                        <a:pt x="21720" y="985"/>
                      </a:lnTo>
                      <a:lnTo>
                        <a:pt x="21737" y="981"/>
                      </a:lnTo>
                      <a:lnTo>
                        <a:pt x="21728" y="976"/>
                      </a:lnTo>
                      <a:lnTo>
                        <a:pt x="21737" y="964"/>
                      </a:lnTo>
                      <a:lnTo>
                        <a:pt x="21775" y="964"/>
                      </a:lnTo>
                      <a:lnTo>
                        <a:pt x="21749" y="943"/>
                      </a:lnTo>
                      <a:lnTo>
                        <a:pt x="21820" y="907"/>
                      </a:lnTo>
                      <a:lnTo>
                        <a:pt x="21829" y="924"/>
                      </a:lnTo>
                      <a:lnTo>
                        <a:pt x="21829" y="903"/>
                      </a:lnTo>
                      <a:lnTo>
                        <a:pt x="21850" y="903"/>
                      </a:lnTo>
                      <a:lnTo>
                        <a:pt x="21872" y="919"/>
                      </a:lnTo>
                      <a:lnTo>
                        <a:pt x="21921" y="931"/>
                      </a:lnTo>
                      <a:lnTo>
                        <a:pt x="21926" y="943"/>
                      </a:lnTo>
                      <a:lnTo>
                        <a:pt x="21921" y="947"/>
                      </a:lnTo>
                      <a:lnTo>
                        <a:pt x="21926" y="959"/>
                      </a:lnTo>
                      <a:lnTo>
                        <a:pt x="21964" y="964"/>
                      </a:lnTo>
                      <a:lnTo>
                        <a:pt x="21964" y="981"/>
                      </a:lnTo>
                      <a:lnTo>
                        <a:pt x="22009" y="981"/>
                      </a:lnTo>
                      <a:lnTo>
                        <a:pt x="21997" y="976"/>
                      </a:lnTo>
                      <a:lnTo>
                        <a:pt x="22009" y="924"/>
                      </a:lnTo>
                      <a:lnTo>
                        <a:pt x="22046" y="931"/>
                      </a:lnTo>
                      <a:lnTo>
                        <a:pt x="22030" y="903"/>
                      </a:lnTo>
                      <a:lnTo>
                        <a:pt x="22115" y="947"/>
                      </a:lnTo>
                      <a:lnTo>
                        <a:pt x="22207" y="959"/>
                      </a:lnTo>
                      <a:lnTo>
                        <a:pt x="22316" y="1002"/>
                      </a:lnTo>
                      <a:lnTo>
                        <a:pt x="22266" y="1014"/>
                      </a:lnTo>
                      <a:lnTo>
                        <a:pt x="22261" y="1030"/>
                      </a:lnTo>
                      <a:lnTo>
                        <a:pt x="22283" y="1035"/>
                      </a:lnTo>
                      <a:lnTo>
                        <a:pt x="22245" y="1070"/>
                      </a:lnTo>
                      <a:lnTo>
                        <a:pt x="22212" y="1075"/>
                      </a:lnTo>
                      <a:lnTo>
                        <a:pt x="22136" y="1058"/>
                      </a:lnTo>
                      <a:lnTo>
                        <a:pt x="22105" y="1030"/>
                      </a:lnTo>
                      <a:lnTo>
                        <a:pt x="22115" y="1014"/>
                      </a:lnTo>
                      <a:lnTo>
                        <a:pt x="22143" y="985"/>
                      </a:lnTo>
                      <a:lnTo>
                        <a:pt x="22143" y="981"/>
                      </a:lnTo>
                      <a:lnTo>
                        <a:pt x="22105" y="976"/>
                      </a:lnTo>
                      <a:lnTo>
                        <a:pt x="22084" y="985"/>
                      </a:lnTo>
                      <a:lnTo>
                        <a:pt x="22084" y="1018"/>
                      </a:lnTo>
                      <a:lnTo>
                        <a:pt x="22115" y="1058"/>
                      </a:lnTo>
                      <a:lnTo>
                        <a:pt x="22191" y="1087"/>
                      </a:lnTo>
                      <a:lnTo>
                        <a:pt x="22122" y="1092"/>
                      </a:lnTo>
                      <a:lnTo>
                        <a:pt x="22105" y="1108"/>
                      </a:lnTo>
                      <a:lnTo>
                        <a:pt x="22105" y="1108"/>
                      </a:lnTo>
                      <a:lnTo>
                        <a:pt x="22105" y="1108"/>
                      </a:lnTo>
                      <a:close/>
                      <a:moveTo>
                        <a:pt x="22816" y="907"/>
                      </a:moveTo>
                      <a:lnTo>
                        <a:pt x="22807" y="907"/>
                      </a:lnTo>
                      <a:lnTo>
                        <a:pt x="22833" y="907"/>
                      </a:lnTo>
                      <a:lnTo>
                        <a:pt x="22816" y="907"/>
                      </a:lnTo>
                      <a:lnTo>
                        <a:pt x="22816" y="907"/>
                      </a:lnTo>
                      <a:lnTo>
                        <a:pt x="22816" y="907"/>
                      </a:lnTo>
                      <a:close/>
                      <a:moveTo>
                        <a:pt x="16316" y="907"/>
                      </a:moveTo>
                      <a:lnTo>
                        <a:pt x="16361" y="903"/>
                      </a:lnTo>
                      <a:lnTo>
                        <a:pt x="16311" y="919"/>
                      </a:lnTo>
                      <a:lnTo>
                        <a:pt x="16316" y="907"/>
                      </a:lnTo>
                      <a:lnTo>
                        <a:pt x="16316" y="907"/>
                      </a:lnTo>
                      <a:lnTo>
                        <a:pt x="16316" y="907"/>
                      </a:lnTo>
                      <a:close/>
                      <a:moveTo>
                        <a:pt x="21997" y="924"/>
                      </a:moveTo>
                      <a:lnTo>
                        <a:pt x="21992" y="919"/>
                      </a:lnTo>
                      <a:lnTo>
                        <a:pt x="21997" y="907"/>
                      </a:lnTo>
                      <a:lnTo>
                        <a:pt x="22013" y="919"/>
                      </a:lnTo>
                      <a:lnTo>
                        <a:pt x="21997" y="924"/>
                      </a:lnTo>
                      <a:lnTo>
                        <a:pt x="21997" y="924"/>
                      </a:lnTo>
                      <a:lnTo>
                        <a:pt x="21997" y="924"/>
                      </a:lnTo>
                      <a:close/>
                      <a:moveTo>
                        <a:pt x="17932" y="943"/>
                      </a:moveTo>
                      <a:lnTo>
                        <a:pt x="17889" y="943"/>
                      </a:lnTo>
                      <a:lnTo>
                        <a:pt x="17953" y="943"/>
                      </a:lnTo>
                      <a:lnTo>
                        <a:pt x="17932" y="943"/>
                      </a:lnTo>
                      <a:lnTo>
                        <a:pt x="17932" y="943"/>
                      </a:lnTo>
                      <a:lnTo>
                        <a:pt x="17932" y="943"/>
                      </a:lnTo>
                      <a:close/>
                      <a:moveTo>
                        <a:pt x="16240" y="943"/>
                      </a:moveTo>
                      <a:lnTo>
                        <a:pt x="16273" y="931"/>
                      </a:lnTo>
                      <a:lnTo>
                        <a:pt x="16235" y="947"/>
                      </a:lnTo>
                      <a:lnTo>
                        <a:pt x="16240" y="943"/>
                      </a:lnTo>
                      <a:lnTo>
                        <a:pt x="16240" y="943"/>
                      </a:lnTo>
                      <a:lnTo>
                        <a:pt x="16240" y="943"/>
                      </a:lnTo>
                      <a:close/>
                      <a:moveTo>
                        <a:pt x="17839" y="943"/>
                      </a:moveTo>
                      <a:lnTo>
                        <a:pt x="17889" y="947"/>
                      </a:lnTo>
                      <a:lnTo>
                        <a:pt x="17835" y="943"/>
                      </a:lnTo>
                      <a:lnTo>
                        <a:pt x="17839" y="943"/>
                      </a:lnTo>
                      <a:lnTo>
                        <a:pt x="17839" y="943"/>
                      </a:lnTo>
                      <a:lnTo>
                        <a:pt x="17839" y="943"/>
                      </a:lnTo>
                      <a:close/>
                      <a:moveTo>
                        <a:pt x="16257" y="947"/>
                      </a:moveTo>
                      <a:lnTo>
                        <a:pt x="16273" y="943"/>
                      </a:lnTo>
                      <a:lnTo>
                        <a:pt x="16252" y="947"/>
                      </a:lnTo>
                      <a:lnTo>
                        <a:pt x="16257" y="947"/>
                      </a:lnTo>
                      <a:lnTo>
                        <a:pt x="16257" y="947"/>
                      </a:lnTo>
                      <a:lnTo>
                        <a:pt x="16257" y="947"/>
                      </a:lnTo>
                      <a:close/>
                      <a:moveTo>
                        <a:pt x="21614" y="1018"/>
                      </a:moveTo>
                      <a:lnTo>
                        <a:pt x="21631" y="997"/>
                      </a:lnTo>
                      <a:lnTo>
                        <a:pt x="21619" y="981"/>
                      </a:lnTo>
                      <a:lnTo>
                        <a:pt x="21635" y="959"/>
                      </a:lnTo>
                      <a:lnTo>
                        <a:pt x="21640" y="981"/>
                      </a:lnTo>
                      <a:lnTo>
                        <a:pt x="21668" y="985"/>
                      </a:lnTo>
                      <a:lnTo>
                        <a:pt x="21652" y="1002"/>
                      </a:lnTo>
                      <a:lnTo>
                        <a:pt x="21657" y="1014"/>
                      </a:lnTo>
                      <a:lnTo>
                        <a:pt x="21652" y="1018"/>
                      </a:lnTo>
                      <a:lnTo>
                        <a:pt x="21614" y="1018"/>
                      </a:lnTo>
                      <a:lnTo>
                        <a:pt x="21614" y="1018"/>
                      </a:lnTo>
                      <a:lnTo>
                        <a:pt x="21614" y="1018"/>
                      </a:lnTo>
                      <a:close/>
                      <a:moveTo>
                        <a:pt x="22391" y="985"/>
                      </a:moveTo>
                      <a:lnTo>
                        <a:pt x="22408" y="1002"/>
                      </a:lnTo>
                      <a:lnTo>
                        <a:pt x="22396" y="1014"/>
                      </a:lnTo>
                      <a:lnTo>
                        <a:pt x="22424" y="1030"/>
                      </a:lnTo>
                      <a:lnTo>
                        <a:pt x="22450" y="1030"/>
                      </a:lnTo>
                      <a:lnTo>
                        <a:pt x="22439" y="1030"/>
                      </a:lnTo>
                      <a:lnTo>
                        <a:pt x="22450" y="1014"/>
                      </a:lnTo>
                      <a:lnTo>
                        <a:pt x="22521" y="1018"/>
                      </a:lnTo>
                      <a:lnTo>
                        <a:pt x="22538" y="1018"/>
                      </a:lnTo>
                      <a:lnTo>
                        <a:pt x="22531" y="1035"/>
                      </a:lnTo>
                      <a:lnTo>
                        <a:pt x="22538" y="1042"/>
                      </a:lnTo>
                      <a:lnTo>
                        <a:pt x="22590" y="1035"/>
                      </a:lnTo>
                      <a:lnTo>
                        <a:pt x="22644" y="1042"/>
                      </a:lnTo>
                      <a:lnTo>
                        <a:pt x="22665" y="1070"/>
                      </a:lnTo>
                      <a:lnTo>
                        <a:pt x="22698" y="1058"/>
                      </a:lnTo>
                      <a:lnTo>
                        <a:pt x="22682" y="1075"/>
                      </a:lnTo>
                      <a:lnTo>
                        <a:pt x="22677" y="1092"/>
                      </a:lnTo>
                      <a:lnTo>
                        <a:pt x="22613" y="1113"/>
                      </a:lnTo>
                      <a:lnTo>
                        <a:pt x="22514" y="1108"/>
                      </a:lnTo>
                      <a:lnTo>
                        <a:pt x="22358" y="1042"/>
                      </a:lnTo>
                      <a:lnTo>
                        <a:pt x="22387" y="997"/>
                      </a:lnTo>
                      <a:lnTo>
                        <a:pt x="22391" y="985"/>
                      </a:lnTo>
                      <a:lnTo>
                        <a:pt x="22391" y="985"/>
                      </a:lnTo>
                      <a:lnTo>
                        <a:pt x="22391" y="985"/>
                      </a:lnTo>
                      <a:close/>
                      <a:moveTo>
                        <a:pt x="17877" y="1002"/>
                      </a:moveTo>
                      <a:lnTo>
                        <a:pt x="17872" y="1014"/>
                      </a:lnTo>
                      <a:lnTo>
                        <a:pt x="17889" y="1030"/>
                      </a:lnTo>
                      <a:lnTo>
                        <a:pt x="17872" y="1030"/>
                      </a:lnTo>
                      <a:lnTo>
                        <a:pt x="17872" y="1051"/>
                      </a:lnTo>
                      <a:lnTo>
                        <a:pt x="17856" y="1042"/>
                      </a:lnTo>
                      <a:lnTo>
                        <a:pt x="17856" y="1035"/>
                      </a:lnTo>
                      <a:lnTo>
                        <a:pt x="17844" y="1035"/>
                      </a:lnTo>
                      <a:lnTo>
                        <a:pt x="17835" y="1030"/>
                      </a:lnTo>
                      <a:lnTo>
                        <a:pt x="17877" y="1002"/>
                      </a:lnTo>
                      <a:lnTo>
                        <a:pt x="17877" y="1002"/>
                      </a:lnTo>
                      <a:lnTo>
                        <a:pt x="17877" y="1002"/>
                      </a:lnTo>
                      <a:close/>
                      <a:moveTo>
                        <a:pt x="18217" y="1075"/>
                      </a:moveTo>
                      <a:lnTo>
                        <a:pt x="18222" y="1087"/>
                      </a:lnTo>
                      <a:lnTo>
                        <a:pt x="18196" y="1092"/>
                      </a:lnTo>
                      <a:lnTo>
                        <a:pt x="18201" y="1096"/>
                      </a:lnTo>
                      <a:lnTo>
                        <a:pt x="18163" y="1092"/>
                      </a:lnTo>
                      <a:lnTo>
                        <a:pt x="18217" y="1075"/>
                      </a:lnTo>
                      <a:lnTo>
                        <a:pt x="18217" y="1075"/>
                      </a:lnTo>
                      <a:lnTo>
                        <a:pt x="18217" y="1075"/>
                      </a:lnTo>
                      <a:close/>
                      <a:moveTo>
                        <a:pt x="18109" y="1108"/>
                      </a:moveTo>
                      <a:lnTo>
                        <a:pt x="18125" y="1113"/>
                      </a:lnTo>
                      <a:lnTo>
                        <a:pt x="18087" y="1113"/>
                      </a:lnTo>
                      <a:lnTo>
                        <a:pt x="18109" y="1108"/>
                      </a:lnTo>
                      <a:lnTo>
                        <a:pt x="18109" y="1108"/>
                      </a:lnTo>
                      <a:lnTo>
                        <a:pt x="18109" y="1108"/>
                      </a:lnTo>
                      <a:close/>
                      <a:moveTo>
                        <a:pt x="17672" y="1129"/>
                      </a:moveTo>
                      <a:lnTo>
                        <a:pt x="17700" y="1129"/>
                      </a:lnTo>
                      <a:lnTo>
                        <a:pt x="17693" y="1146"/>
                      </a:lnTo>
                      <a:lnTo>
                        <a:pt x="17672" y="1129"/>
                      </a:lnTo>
                      <a:lnTo>
                        <a:pt x="17672" y="1129"/>
                      </a:lnTo>
                      <a:lnTo>
                        <a:pt x="17672" y="1129"/>
                      </a:lnTo>
                      <a:close/>
                      <a:moveTo>
                        <a:pt x="18125" y="1141"/>
                      </a:moveTo>
                      <a:lnTo>
                        <a:pt x="18104" y="1153"/>
                      </a:lnTo>
                      <a:lnTo>
                        <a:pt x="18087" y="1146"/>
                      </a:lnTo>
                      <a:lnTo>
                        <a:pt x="18125" y="1141"/>
                      </a:lnTo>
                      <a:lnTo>
                        <a:pt x="18125" y="1141"/>
                      </a:lnTo>
                      <a:lnTo>
                        <a:pt x="18125" y="1141"/>
                      </a:lnTo>
                      <a:close/>
                      <a:moveTo>
                        <a:pt x="18142" y="1153"/>
                      </a:moveTo>
                      <a:lnTo>
                        <a:pt x="18125" y="1153"/>
                      </a:lnTo>
                      <a:lnTo>
                        <a:pt x="18130" y="1141"/>
                      </a:lnTo>
                      <a:lnTo>
                        <a:pt x="18163" y="1146"/>
                      </a:lnTo>
                      <a:lnTo>
                        <a:pt x="18142" y="1153"/>
                      </a:lnTo>
                      <a:lnTo>
                        <a:pt x="18142" y="1153"/>
                      </a:lnTo>
                      <a:lnTo>
                        <a:pt x="18142" y="1153"/>
                      </a:lnTo>
                      <a:close/>
                      <a:moveTo>
                        <a:pt x="20020" y="1207"/>
                      </a:moveTo>
                      <a:lnTo>
                        <a:pt x="19982" y="1203"/>
                      </a:lnTo>
                      <a:lnTo>
                        <a:pt x="19930" y="1170"/>
                      </a:lnTo>
                      <a:lnTo>
                        <a:pt x="19961" y="1170"/>
                      </a:lnTo>
                      <a:lnTo>
                        <a:pt x="19977" y="1141"/>
                      </a:lnTo>
                      <a:lnTo>
                        <a:pt x="20069" y="1162"/>
                      </a:lnTo>
                      <a:lnTo>
                        <a:pt x="20053" y="1186"/>
                      </a:lnTo>
                      <a:lnTo>
                        <a:pt x="20020" y="1207"/>
                      </a:lnTo>
                      <a:lnTo>
                        <a:pt x="20020" y="1207"/>
                      </a:lnTo>
                      <a:lnTo>
                        <a:pt x="20020" y="1207"/>
                      </a:lnTo>
                      <a:close/>
                      <a:moveTo>
                        <a:pt x="18054" y="1146"/>
                      </a:moveTo>
                      <a:lnTo>
                        <a:pt x="18071" y="1153"/>
                      </a:lnTo>
                      <a:lnTo>
                        <a:pt x="18050" y="1153"/>
                      </a:lnTo>
                      <a:lnTo>
                        <a:pt x="18054" y="1162"/>
                      </a:lnTo>
                      <a:lnTo>
                        <a:pt x="18033" y="1153"/>
                      </a:lnTo>
                      <a:lnTo>
                        <a:pt x="18054" y="1146"/>
                      </a:lnTo>
                      <a:lnTo>
                        <a:pt x="18054" y="1146"/>
                      </a:lnTo>
                      <a:lnTo>
                        <a:pt x="18054" y="1146"/>
                      </a:lnTo>
                      <a:close/>
                      <a:moveTo>
                        <a:pt x="20246" y="1179"/>
                      </a:moveTo>
                      <a:lnTo>
                        <a:pt x="20246" y="1162"/>
                      </a:lnTo>
                      <a:lnTo>
                        <a:pt x="20263" y="1179"/>
                      </a:lnTo>
                      <a:lnTo>
                        <a:pt x="20246" y="1179"/>
                      </a:lnTo>
                      <a:lnTo>
                        <a:pt x="20246" y="1179"/>
                      </a:lnTo>
                      <a:lnTo>
                        <a:pt x="20246" y="1179"/>
                      </a:lnTo>
                      <a:close/>
                      <a:moveTo>
                        <a:pt x="21964" y="1236"/>
                      </a:moveTo>
                      <a:lnTo>
                        <a:pt x="21942" y="1219"/>
                      </a:lnTo>
                      <a:lnTo>
                        <a:pt x="21942" y="1195"/>
                      </a:lnTo>
                      <a:lnTo>
                        <a:pt x="21980" y="1179"/>
                      </a:lnTo>
                      <a:lnTo>
                        <a:pt x="22013" y="1195"/>
                      </a:lnTo>
                      <a:lnTo>
                        <a:pt x="22009" y="1219"/>
                      </a:lnTo>
                      <a:lnTo>
                        <a:pt x="21964" y="1236"/>
                      </a:lnTo>
                      <a:lnTo>
                        <a:pt x="21964" y="1236"/>
                      </a:lnTo>
                      <a:lnTo>
                        <a:pt x="21964" y="1236"/>
                      </a:lnTo>
                      <a:close/>
                      <a:moveTo>
                        <a:pt x="21614" y="1186"/>
                      </a:moveTo>
                      <a:lnTo>
                        <a:pt x="21657" y="1207"/>
                      </a:lnTo>
                      <a:lnTo>
                        <a:pt x="21673" y="1224"/>
                      </a:lnTo>
                      <a:lnTo>
                        <a:pt x="21657" y="1236"/>
                      </a:lnTo>
                      <a:lnTo>
                        <a:pt x="21614" y="1195"/>
                      </a:lnTo>
                      <a:lnTo>
                        <a:pt x="21614" y="1186"/>
                      </a:lnTo>
                      <a:lnTo>
                        <a:pt x="21614" y="1186"/>
                      </a:lnTo>
                      <a:lnTo>
                        <a:pt x="21614" y="1186"/>
                      </a:lnTo>
                      <a:close/>
                      <a:moveTo>
                        <a:pt x="18125" y="1195"/>
                      </a:moveTo>
                      <a:lnTo>
                        <a:pt x="18109" y="1203"/>
                      </a:lnTo>
                      <a:lnTo>
                        <a:pt x="18116" y="1195"/>
                      </a:lnTo>
                      <a:lnTo>
                        <a:pt x="18104" y="1195"/>
                      </a:lnTo>
                      <a:lnTo>
                        <a:pt x="18125" y="1195"/>
                      </a:lnTo>
                      <a:lnTo>
                        <a:pt x="18125" y="1195"/>
                      </a:lnTo>
                      <a:lnTo>
                        <a:pt x="18125" y="1195"/>
                      </a:lnTo>
                      <a:close/>
                      <a:moveTo>
                        <a:pt x="17910" y="1195"/>
                      </a:moveTo>
                      <a:lnTo>
                        <a:pt x="17915" y="1203"/>
                      </a:lnTo>
                      <a:lnTo>
                        <a:pt x="17889" y="1203"/>
                      </a:lnTo>
                      <a:lnTo>
                        <a:pt x="17910" y="1195"/>
                      </a:lnTo>
                      <a:lnTo>
                        <a:pt x="17910" y="1195"/>
                      </a:lnTo>
                      <a:lnTo>
                        <a:pt x="17910" y="1195"/>
                      </a:lnTo>
                      <a:close/>
                      <a:moveTo>
                        <a:pt x="17927" y="1207"/>
                      </a:moveTo>
                      <a:lnTo>
                        <a:pt x="17948" y="1195"/>
                      </a:lnTo>
                      <a:lnTo>
                        <a:pt x="17979" y="1207"/>
                      </a:lnTo>
                      <a:lnTo>
                        <a:pt x="17927" y="1207"/>
                      </a:lnTo>
                      <a:lnTo>
                        <a:pt x="17927" y="1207"/>
                      </a:lnTo>
                      <a:lnTo>
                        <a:pt x="17927" y="1207"/>
                      </a:lnTo>
                      <a:close/>
                      <a:moveTo>
                        <a:pt x="18002" y="1219"/>
                      </a:moveTo>
                      <a:lnTo>
                        <a:pt x="18033" y="1207"/>
                      </a:lnTo>
                      <a:lnTo>
                        <a:pt x="18033" y="1224"/>
                      </a:lnTo>
                      <a:lnTo>
                        <a:pt x="18002" y="1219"/>
                      </a:lnTo>
                      <a:lnTo>
                        <a:pt x="18002" y="1219"/>
                      </a:lnTo>
                      <a:lnTo>
                        <a:pt x="18002" y="1219"/>
                      </a:lnTo>
                      <a:close/>
                      <a:moveTo>
                        <a:pt x="20846" y="1240"/>
                      </a:moveTo>
                      <a:lnTo>
                        <a:pt x="20830" y="1236"/>
                      </a:lnTo>
                      <a:lnTo>
                        <a:pt x="20858" y="1236"/>
                      </a:lnTo>
                      <a:lnTo>
                        <a:pt x="20846" y="1240"/>
                      </a:lnTo>
                      <a:lnTo>
                        <a:pt x="20846" y="1240"/>
                      </a:lnTo>
                      <a:lnTo>
                        <a:pt x="20846" y="1240"/>
                      </a:lnTo>
                      <a:close/>
                      <a:moveTo>
                        <a:pt x="22013" y="1236"/>
                      </a:moveTo>
                      <a:lnTo>
                        <a:pt x="22072" y="1236"/>
                      </a:lnTo>
                      <a:lnTo>
                        <a:pt x="22115" y="1240"/>
                      </a:lnTo>
                      <a:lnTo>
                        <a:pt x="22174" y="1290"/>
                      </a:lnTo>
                      <a:lnTo>
                        <a:pt x="22181" y="1297"/>
                      </a:lnTo>
                      <a:lnTo>
                        <a:pt x="22174" y="1307"/>
                      </a:lnTo>
                      <a:lnTo>
                        <a:pt x="22181" y="1330"/>
                      </a:lnTo>
                      <a:lnTo>
                        <a:pt x="22098" y="1318"/>
                      </a:lnTo>
                      <a:lnTo>
                        <a:pt x="21992" y="1297"/>
                      </a:lnTo>
                      <a:lnTo>
                        <a:pt x="21926" y="1314"/>
                      </a:lnTo>
                      <a:lnTo>
                        <a:pt x="21909" y="1307"/>
                      </a:lnTo>
                      <a:lnTo>
                        <a:pt x="21964" y="1290"/>
                      </a:lnTo>
                      <a:lnTo>
                        <a:pt x="22013" y="1236"/>
                      </a:lnTo>
                      <a:lnTo>
                        <a:pt x="22013" y="1236"/>
                      </a:lnTo>
                      <a:lnTo>
                        <a:pt x="22013" y="1236"/>
                      </a:lnTo>
                      <a:close/>
                      <a:moveTo>
                        <a:pt x="20776" y="1330"/>
                      </a:moveTo>
                      <a:lnTo>
                        <a:pt x="20754" y="1307"/>
                      </a:lnTo>
                      <a:lnTo>
                        <a:pt x="20754" y="1281"/>
                      </a:lnTo>
                      <a:lnTo>
                        <a:pt x="20771" y="1264"/>
                      </a:lnTo>
                      <a:lnTo>
                        <a:pt x="20809" y="1273"/>
                      </a:lnTo>
                      <a:lnTo>
                        <a:pt x="20804" y="1252"/>
                      </a:lnTo>
                      <a:lnTo>
                        <a:pt x="20820" y="1264"/>
                      </a:lnTo>
                      <a:lnTo>
                        <a:pt x="20842" y="1252"/>
                      </a:lnTo>
                      <a:lnTo>
                        <a:pt x="20880" y="1273"/>
                      </a:lnTo>
                      <a:lnTo>
                        <a:pt x="20896" y="1264"/>
                      </a:lnTo>
                      <a:lnTo>
                        <a:pt x="20901" y="1281"/>
                      </a:lnTo>
                      <a:lnTo>
                        <a:pt x="20927" y="1281"/>
                      </a:lnTo>
                      <a:lnTo>
                        <a:pt x="20917" y="1297"/>
                      </a:lnTo>
                      <a:lnTo>
                        <a:pt x="20917" y="1307"/>
                      </a:lnTo>
                      <a:lnTo>
                        <a:pt x="20972" y="1281"/>
                      </a:lnTo>
                      <a:lnTo>
                        <a:pt x="20981" y="1290"/>
                      </a:lnTo>
                      <a:lnTo>
                        <a:pt x="20965" y="1307"/>
                      </a:lnTo>
                      <a:lnTo>
                        <a:pt x="20988" y="1307"/>
                      </a:lnTo>
                      <a:lnTo>
                        <a:pt x="21002" y="1347"/>
                      </a:lnTo>
                      <a:lnTo>
                        <a:pt x="20972" y="1375"/>
                      </a:lnTo>
                      <a:lnTo>
                        <a:pt x="20981" y="1384"/>
                      </a:lnTo>
                      <a:lnTo>
                        <a:pt x="20972" y="1425"/>
                      </a:lnTo>
                      <a:lnTo>
                        <a:pt x="20981" y="1441"/>
                      </a:lnTo>
                      <a:lnTo>
                        <a:pt x="20965" y="1458"/>
                      </a:lnTo>
                      <a:lnTo>
                        <a:pt x="20863" y="1401"/>
                      </a:lnTo>
                      <a:lnTo>
                        <a:pt x="20700" y="1363"/>
                      </a:lnTo>
                      <a:lnTo>
                        <a:pt x="20717" y="1351"/>
                      </a:lnTo>
                      <a:lnTo>
                        <a:pt x="20754" y="1368"/>
                      </a:lnTo>
                      <a:lnTo>
                        <a:pt x="20766" y="1363"/>
                      </a:lnTo>
                      <a:lnTo>
                        <a:pt x="20771" y="1335"/>
                      </a:lnTo>
                      <a:lnTo>
                        <a:pt x="20787" y="1330"/>
                      </a:lnTo>
                      <a:lnTo>
                        <a:pt x="20776" y="1330"/>
                      </a:lnTo>
                      <a:lnTo>
                        <a:pt x="20776" y="1330"/>
                      </a:lnTo>
                      <a:lnTo>
                        <a:pt x="20776" y="1330"/>
                      </a:lnTo>
                      <a:close/>
                      <a:moveTo>
                        <a:pt x="18213" y="1264"/>
                      </a:moveTo>
                      <a:lnTo>
                        <a:pt x="18201" y="1273"/>
                      </a:lnTo>
                      <a:lnTo>
                        <a:pt x="18168" y="1273"/>
                      </a:lnTo>
                      <a:lnTo>
                        <a:pt x="18213" y="1264"/>
                      </a:lnTo>
                      <a:lnTo>
                        <a:pt x="18213" y="1264"/>
                      </a:lnTo>
                      <a:lnTo>
                        <a:pt x="18213" y="1264"/>
                      </a:lnTo>
                      <a:close/>
                      <a:moveTo>
                        <a:pt x="17747" y="1290"/>
                      </a:moveTo>
                      <a:lnTo>
                        <a:pt x="17731" y="1281"/>
                      </a:lnTo>
                      <a:lnTo>
                        <a:pt x="17752" y="1281"/>
                      </a:lnTo>
                      <a:lnTo>
                        <a:pt x="17747" y="1290"/>
                      </a:lnTo>
                      <a:lnTo>
                        <a:pt x="17747" y="1290"/>
                      </a:lnTo>
                      <a:lnTo>
                        <a:pt x="17747" y="1290"/>
                      </a:lnTo>
                      <a:close/>
                      <a:moveTo>
                        <a:pt x="17402" y="1297"/>
                      </a:moveTo>
                      <a:lnTo>
                        <a:pt x="17412" y="1281"/>
                      </a:lnTo>
                      <a:lnTo>
                        <a:pt x="17457" y="1281"/>
                      </a:lnTo>
                      <a:lnTo>
                        <a:pt x="17440" y="1297"/>
                      </a:lnTo>
                      <a:lnTo>
                        <a:pt x="17407" y="1297"/>
                      </a:lnTo>
                      <a:lnTo>
                        <a:pt x="17412" y="1290"/>
                      </a:lnTo>
                      <a:lnTo>
                        <a:pt x="17402" y="1297"/>
                      </a:lnTo>
                      <a:lnTo>
                        <a:pt x="17402" y="1297"/>
                      </a:lnTo>
                      <a:lnTo>
                        <a:pt x="17402" y="1297"/>
                      </a:lnTo>
                      <a:close/>
                      <a:moveTo>
                        <a:pt x="21002" y="1347"/>
                      </a:moveTo>
                      <a:lnTo>
                        <a:pt x="21002" y="1335"/>
                      </a:lnTo>
                      <a:lnTo>
                        <a:pt x="20993" y="1318"/>
                      </a:lnTo>
                      <a:lnTo>
                        <a:pt x="20993" y="1307"/>
                      </a:lnTo>
                      <a:lnTo>
                        <a:pt x="21002" y="1297"/>
                      </a:lnTo>
                      <a:lnTo>
                        <a:pt x="21009" y="1307"/>
                      </a:lnTo>
                      <a:lnTo>
                        <a:pt x="21019" y="1290"/>
                      </a:lnTo>
                      <a:lnTo>
                        <a:pt x="21009" y="1290"/>
                      </a:lnTo>
                      <a:lnTo>
                        <a:pt x="21026" y="1281"/>
                      </a:lnTo>
                      <a:lnTo>
                        <a:pt x="21090" y="1290"/>
                      </a:lnTo>
                      <a:lnTo>
                        <a:pt x="21094" y="1307"/>
                      </a:lnTo>
                      <a:lnTo>
                        <a:pt x="21116" y="1314"/>
                      </a:lnTo>
                      <a:lnTo>
                        <a:pt x="21111" y="1318"/>
                      </a:lnTo>
                      <a:lnTo>
                        <a:pt x="21154" y="1335"/>
                      </a:lnTo>
                      <a:lnTo>
                        <a:pt x="21149" y="1351"/>
                      </a:lnTo>
                      <a:lnTo>
                        <a:pt x="21170" y="1347"/>
                      </a:lnTo>
                      <a:lnTo>
                        <a:pt x="21154" y="1363"/>
                      </a:lnTo>
                      <a:lnTo>
                        <a:pt x="21111" y="1368"/>
                      </a:lnTo>
                      <a:lnTo>
                        <a:pt x="21111" y="1384"/>
                      </a:lnTo>
                      <a:lnTo>
                        <a:pt x="20993" y="1425"/>
                      </a:lnTo>
                      <a:lnTo>
                        <a:pt x="20988" y="1429"/>
                      </a:lnTo>
                      <a:lnTo>
                        <a:pt x="20993" y="1441"/>
                      </a:lnTo>
                      <a:lnTo>
                        <a:pt x="20972" y="1425"/>
                      </a:lnTo>
                      <a:lnTo>
                        <a:pt x="20981" y="1401"/>
                      </a:lnTo>
                      <a:lnTo>
                        <a:pt x="20988" y="1384"/>
                      </a:lnTo>
                      <a:lnTo>
                        <a:pt x="20981" y="1368"/>
                      </a:lnTo>
                      <a:lnTo>
                        <a:pt x="21002" y="1347"/>
                      </a:lnTo>
                      <a:lnTo>
                        <a:pt x="21002" y="1347"/>
                      </a:lnTo>
                      <a:lnTo>
                        <a:pt x="21002" y="1347"/>
                      </a:lnTo>
                      <a:close/>
                      <a:moveTo>
                        <a:pt x="17013" y="1351"/>
                      </a:moveTo>
                      <a:lnTo>
                        <a:pt x="17029" y="1330"/>
                      </a:lnTo>
                      <a:lnTo>
                        <a:pt x="17024" y="1307"/>
                      </a:lnTo>
                      <a:lnTo>
                        <a:pt x="17062" y="1290"/>
                      </a:lnTo>
                      <a:lnTo>
                        <a:pt x="17117" y="1297"/>
                      </a:lnTo>
                      <a:lnTo>
                        <a:pt x="17088" y="1318"/>
                      </a:lnTo>
                      <a:lnTo>
                        <a:pt x="17133" y="1314"/>
                      </a:lnTo>
                      <a:lnTo>
                        <a:pt x="17143" y="1330"/>
                      </a:lnTo>
                      <a:lnTo>
                        <a:pt x="17050" y="1351"/>
                      </a:lnTo>
                      <a:lnTo>
                        <a:pt x="17013" y="1351"/>
                      </a:lnTo>
                      <a:lnTo>
                        <a:pt x="17013" y="1351"/>
                      </a:lnTo>
                      <a:lnTo>
                        <a:pt x="17013" y="1351"/>
                      </a:lnTo>
                      <a:close/>
                      <a:moveTo>
                        <a:pt x="16134" y="1684"/>
                      </a:moveTo>
                      <a:lnTo>
                        <a:pt x="16089" y="1680"/>
                      </a:lnTo>
                      <a:lnTo>
                        <a:pt x="16080" y="1668"/>
                      </a:lnTo>
                      <a:lnTo>
                        <a:pt x="16080" y="1663"/>
                      </a:lnTo>
                      <a:lnTo>
                        <a:pt x="16058" y="1668"/>
                      </a:lnTo>
                      <a:lnTo>
                        <a:pt x="16075" y="1668"/>
                      </a:lnTo>
                      <a:lnTo>
                        <a:pt x="16089" y="1684"/>
                      </a:lnTo>
                      <a:lnTo>
                        <a:pt x="16075" y="1684"/>
                      </a:lnTo>
                      <a:lnTo>
                        <a:pt x="16063" y="1684"/>
                      </a:lnTo>
                      <a:lnTo>
                        <a:pt x="16080" y="1684"/>
                      </a:lnTo>
                      <a:lnTo>
                        <a:pt x="16037" y="1668"/>
                      </a:lnTo>
                      <a:lnTo>
                        <a:pt x="16047" y="1684"/>
                      </a:lnTo>
                      <a:lnTo>
                        <a:pt x="16037" y="1684"/>
                      </a:lnTo>
                      <a:lnTo>
                        <a:pt x="16021" y="1680"/>
                      </a:lnTo>
                      <a:lnTo>
                        <a:pt x="16025" y="1668"/>
                      </a:lnTo>
                      <a:lnTo>
                        <a:pt x="16004" y="1663"/>
                      </a:lnTo>
                      <a:lnTo>
                        <a:pt x="15983" y="1684"/>
                      </a:lnTo>
                      <a:lnTo>
                        <a:pt x="15938" y="1656"/>
                      </a:lnTo>
                      <a:lnTo>
                        <a:pt x="15933" y="1663"/>
                      </a:lnTo>
                      <a:lnTo>
                        <a:pt x="15954" y="1668"/>
                      </a:lnTo>
                      <a:lnTo>
                        <a:pt x="15928" y="1656"/>
                      </a:lnTo>
                      <a:lnTo>
                        <a:pt x="15862" y="1656"/>
                      </a:lnTo>
                      <a:lnTo>
                        <a:pt x="15858" y="1647"/>
                      </a:lnTo>
                      <a:lnTo>
                        <a:pt x="15879" y="1647"/>
                      </a:lnTo>
                      <a:lnTo>
                        <a:pt x="15886" y="1640"/>
                      </a:lnTo>
                      <a:lnTo>
                        <a:pt x="15862" y="1614"/>
                      </a:lnTo>
                      <a:lnTo>
                        <a:pt x="15917" y="1607"/>
                      </a:lnTo>
                      <a:lnTo>
                        <a:pt x="15862" y="1602"/>
                      </a:lnTo>
                      <a:lnTo>
                        <a:pt x="15862" y="1590"/>
                      </a:lnTo>
                      <a:lnTo>
                        <a:pt x="15879" y="1573"/>
                      </a:lnTo>
                      <a:lnTo>
                        <a:pt x="15895" y="1569"/>
                      </a:lnTo>
                      <a:lnTo>
                        <a:pt x="15862" y="1590"/>
                      </a:lnTo>
                      <a:lnTo>
                        <a:pt x="15848" y="1569"/>
                      </a:lnTo>
                      <a:lnTo>
                        <a:pt x="15862" y="1557"/>
                      </a:lnTo>
                      <a:lnTo>
                        <a:pt x="15858" y="1552"/>
                      </a:lnTo>
                      <a:lnTo>
                        <a:pt x="15824" y="1573"/>
                      </a:lnTo>
                      <a:lnTo>
                        <a:pt x="15803" y="1557"/>
                      </a:lnTo>
                      <a:lnTo>
                        <a:pt x="15803" y="1552"/>
                      </a:lnTo>
                      <a:lnTo>
                        <a:pt x="15787" y="1569"/>
                      </a:lnTo>
                      <a:lnTo>
                        <a:pt x="15777" y="1552"/>
                      </a:lnTo>
                      <a:lnTo>
                        <a:pt x="15772" y="1557"/>
                      </a:lnTo>
                      <a:lnTo>
                        <a:pt x="15777" y="1557"/>
                      </a:lnTo>
                      <a:lnTo>
                        <a:pt x="15749" y="1569"/>
                      </a:lnTo>
                      <a:lnTo>
                        <a:pt x="15735" y="1552"/>
                      </a:lnTo>
                      <a:lnTo>
                        <a:pt x="15718" y="1512"/>
                      </a:lnTo>
                      <a:lnTo>
                        <a:pt x="15735" y="1491"/>
                      </a:lnTo>
                      <a:lnTo>
                        <a:pt x="15749" y="1474"/>
                      </a:lnTo>
                      <a:lnTo>
                        <a:pt x="15787" y="1491"/>
                      </a:lnTo>
                      <a:lnTo>
                        <a:pt x="15787" y="1462"/>
                      </a:lnTo>
                      <a:lnTo>
                        <a:pt x="15820" y="1446"/>
                      </a:lnTo>
                      <a:lnTo>
                        <a:pt x="15810" y="1429"/>
                      </a:lnTo>
                      <a:lnTo>
                        <a:pt x="15841" y="1418"/>
                      </a:lnTo>
                      <a:lnTo>
                        <a:pt x="15810" y="1418"/>
                      </a:lnTo>
                      <a:lnTo>
                        <a:pt x="15820" y="1408"/>
                      </a:lnTo>
                      <a:lnTo>
                        <a:pt x="15848" y="1408"/>
                      </a:lnTo>
                      <a:lnTo>
                        <a:pt x="15787" y="1392"/>
                      </a:lnTo>
                      <a:lnTo>
                        <a:pt x="15832" y="1368"/>
                      </a:lnTo>
                      <a:lnTo>
                        <a:pt x="15858" y="1375"/>
                      </a:lnTo>
                      <a:lnTo>
                        <a:pt x="15841" y="1363"/>
                      </a:lnTo>
                      <a:lnTo>
                        <a:pt x="15858" y="1363"/>
                      </a:lnTo>
                      <a:lnTo>
                        <a:pt x="15841" y="1347"/>
                      </a:lnTo>
                      <a:lnTo>
                        <a:pt x="15858" y="1330"/>
                      </a:lnTo>
                      <a:lnTo>
                        <a:pt x="15886" y="1314"/>
                      </a:lnTo>
                      <a:lnTo>
                        <a:pt x="15917" y="1318"/>
                      </a:lnTo>
                      <a:lnTo>
                        <a:pt x="15966" y="1297"/>
                      </a:lnTo>
                      <a:lnTo>
                        <a:pt x="16075" y="1330"/>
                      </a:lnTo>
                      <a:lnTo>
                        <a:pt x="16080" y="1335"/>
                      </a:lnTo>
                      <a:lnTo>
                        <a:pt x="16025" y="1351"/>
                      </a:lnTo>
                      <a:lnTo>
                        <a:pt x="16075" y="1351"/>
                      </a:lnTo>
                      <a:lnTo>
                        <a:pt x="16063" y="1363"/>
                      </a:lnTo>
                      <a:lnTo>
                        <a:pt x="16021" y="1363"/>
                      </a:lnTo>
                      <a:lnTo>
                        <a:pt x="16058" y="1363"/>
                      </a:lnTo>
                      <a:lnTo>
                        <a:pt x="16047" y="1384"/>
                      </a:lnTo>
                      <a:lnTo>
                        <a:pt x="16004" y="1384"/>
                      </a:lnTo>
                      <a:lnTo>
                        <a:pt x="16042" y="1401"/>
                      </a:lnTo>
                      <a:lnTo>
                        <a:pt x="16025" y="1408"/>
                      </a:lnTo>
                      <a:lnTo>
                        <a:pt x="16021" y="1425"/>
                      </a:lnTo>
                      <a:lnTo>
                        <a:pt x="15987" y="1418"/>
                      </a:lnTo>
                      <a:lnTo>
                        <a:pt x="16009" y="1425"/>
                      </a:lnTo>
                      <a:lnTo>
                        <a:pt x="15983" y="1429"/>
                      </a:lnTo>
                      <a:lnTo>
                        <a:pt x="16004" y="1429"/>
                      </a:lnTo>
                      <a:lnTo>
                        <a:pt x="16004" y="1458"/>
                      </a:lnTo>
                      <a:lnTo>
                        <a:pt x="16009" y="1474"/>
                      </a:lnTo>
                      <a:lnTo>
                        <a:pt x="15987" y="1503"/>
                      </a:lnTo>
                      <a:lnTo>
                        <a:pt x="16009" y="1512"/>
                      </a:lnTo>
                      <a:lnTo>
                        <a:pt x="16021" y="1545"/>
                      </a:lnTo>
                      <a:lnTo>
                        <a:pt x="16058" y="1602"/>
                      </a:lnTo>
                      <a:lnTo>
                        <a:pt x="16117" y="1647"/>
                      </a:lnTo>
                      <a:lnTo>
                        <a:pt x="16155" y="1663"/>
                      </a:lnTo>
                      <a:lnTo>
                        <a:pt x="16143" y="1680"/>
                      </a:lnTo>
                      <a:lnTo>
                        <a:pt x="16096" y="1668"/>
                      </a:lnTo>
                      <a:lnTo>
                        <a:pt x="16134" y="1684"/>
                      </a:lnTo>
                      <a:lnTo>
                        <a:pt x="16134" y="1684"/>
                      </a:lnTo>
                      <a:lnTo>
                        <a:pt x="16134" y="1684"/>
                      </a:lnTo>
                      <a:close/>
                      <a:moveTo>
                        <a:pt x="17105" y="1314"/>
                      </a:moveTo>
                      <a:lnTo>
                        <a:pt x="17121" y="1307"/>
                      </a:lnTo>
                      <a:lnTo>
                        <a:pt x="17105" y="1318"/>
                      </a:lnTo>
                      <a:lnTo>
                        <a:pt x="17105" y="1314"/>
                      </a:lnTo>
                      <a:lnTo>
                        <a:pt x="17105" y="1314"/>
                      </a:lnTo>
                      <a:lnTo>
                        <a:pt x="17105" y="1314"/>
                      </a:lnTo>
                      <a:close/>
                      <a:moveTo>
                        <a:pt x="17461" y="1335"/>
                      </a:moveTo>
                      <a:lnTo>
                        <a:pt x="17457" y="1330"/>
                      </a:lnTo>
                      <a:lnTo>
                        <a:pt x="17499" y="1335"/>
                      </a:lnTo>
                      <a:lnTo>
                        <a:pt x="17461" y="1335"/>
                      </a:lnTo>
                      <a:lnTo>
                        <a:pt x="17461" y="1335"/>
                      </a:lnTo>
                      <a:lnTo>
                        <a:pt x="17461" y="1335"/>
                      </a:lnTo>
                      <a:close/>
                      <a:moveTo>
                        <a:pt x="20535" y="1351"/>
                      </a:moveTo>
                      <a:lnTo>
                        <a:pt x="20506" y="1347"/>
                      </a:lnTo>
                      <a:lnTo>
                        <a:pt x="20523" y="1335"/>
                      </a:lnTo>
                      <a:lnTo>
                        <a:pt x="20549" y="1347"/>
                      </a:lnTo>
                      <a:lnTo>
                        <a:pt x="20535" y="1351"/>
                      </a:lnTo>
                      <a:lnTo>
                        <a:pt x="20535" y="1351"/>
                      </a:lnTo>
                      <a:lnTo>
                        <a:pt x="20535" y="1351"/>
                      </a:lnTo>
                      <a:close/>
                      <a:moveTo>
                        <a:pt x="17315" y="1351"/>
                      </a:moveTo>
                      <a:lnTo>
                        <a:pt x="17336" y="1335"/>
                      </a:lnTo>
                      <a:lnTo>
                        <a:pt x="17369" y="1351"/>
                      </a:lnTo>
                      <a:lnTo>
                        <a:pt x="17353" y="1347"/>
                      </a:lnTo>
                      <a:lnTo>
                        <a:pt x="17353" y="1375"/>
                      </a:lnTo>
                      <a:lnTo>
                        <a:pt x="17315" y="1351"/>
                      </a:lnTo>
                      <a:lnTo>
                        <a:pt x="17315" y="1351"/>
                      </a:lnTo>
                      <a:lnTo>
                        <a:pt x="17315" y="1351"/>
                      </a:lnTo>
                      <a:close/>
                      <a:moveTo>
                        <a:pt x="17629" y="1368"/>
                      </a:moveTo>
                      <a:lnTo>
                        <a:pt x="17672" y="1347"/>
                      </a:lnTo>
                      <a:lnTo>
                        <a:pt x="17693" y="1368"/>
                      </a:lnTo>
                      <a:lnTo>
                        <a:pt x="17693" y="1392"/>
                      </a:lnTo>
                      <a:lnTo>
                        <a:pt x="17683" y="1401"/>
                      </a:lnTo>
                      <a:lnTo>
                        <a:pt x="17629" y="1384"/>
                      </a:lnTo>
                      <a:lnTo>
                        <a:pt x="17629" y="1368"/>
                      </a:lnTo>
                      <a:lnTo>
                        <a:pt x="17629" y="1368"/>
                      </a:lnTo>
                      <a:lnTo>
                        <a:pt x="17629" y="1368"/>
                      </a:lnTo>
                      <a:close/>
                      <a:moveTo>
                        <a:pt x="20695" y="1368"/>
                      </a:moveTo>
                      <a:lnTo>
                        <a:pt x="20787" y="1392"/>
                      </a:lnTo>
                      <a:lnTo>
                        <a:pt x="20724" y="1384"/>
                      </a:lnTo>
                      <a:lnTo>
                        <a:pt x="20695" y="1368"/>
                      </a:lnTo>
                      <a:lnTo>
                        <a:pt x="20695" y="1368"/>
                      </a:lnTo>
                      <a:lnTo>
                        <a:pt x="20695" y="1368"/>
                      </a:lnTo>
                      <a:close/>
                      <a:moveTo>
                        <a:pt x="21170" y="1384"/>
                      </a:moveTo>
                      <a:lnTo>
                        <a:pt x="21111" y="1375"/>
                      </a:lnTo>
                      <a:lnTo>
                        <a:pt x="21149" y="1375"/>
                      </a:lnTo>
                      <a:lnTo>
                        <a:pt x="21182" y="1384"/>
                      </a:lnTo>
                      <a:lnTo>
                        <a:pt x="21170" y="1384"/>
                      </a:lnTo>
                      <a:lnTo>
                        <a:pt x="21170" y="1384"/>
                      </a:lnTo>
                      <a:lnTo>
                        <a:pt x="21170" y="1384"/>
                      </a:lnTo>
                      <a:close/>
                      <a:moveTo>
                        <a:pt x="21040" y="1408"/>
                      </a:moveTo>
                      <a:lnTo>
                        <a:pt x="21111" y="1384"/>
                      </a:lnTo>
                      <a:lnTo>
                        <a:pt x="21187" y="1401"/>
                      </a:lnTo>
                      <a:lnTo>
                        <a:pt x="21040" y="1408"/>
                      </a:lnTo>
                      <a:lnTo>
                        <a:pt x="21040" y="1408"/>
                      </a:lnTo>
                      <a:lnTo>
                        <a:pt x="21040" y="1408"/>
                      </a:lnTo>
                      <a:close/>
                      <a:moveTo>
                        <a:pt x="17223" y="1401"/>
                      </a:moveTo>
                      <a:lnTo>
                        <a:pt x="17239" y="1401"/>
                      </a:lnTo>
                      <a:lnTo>
                        <a:pt x="17239" y="1408"/>
                      </a:lnTo>
                      <a:lnTo>
                        <a:pt x="17223" y="1401"/>
                      </a:lnTo>
                      <a:lnTo>
                        <a:pt x="17223" y="1401"/>
                      </a:lnTo>
                      <a:lnTo>
                        <a:pt x="17223" y="1401"/>
                      </a:lnTo>
                      <a:close/>
                      <a:moveTo>
                        <a:pt x="21102" y="1408"/>
                      </a:moveTo>
                      <a:lnTo>
                        <a:pt x="21144" y="1401"/>
                      </a:lnTo>
                      <a:lnTo>
                        <a:pt x="21154" y="1418"/>
                      </a:lnTo>
                      <a:lnTo>
                        <a:pt x="21144" y="1425"/>
                      </a:lnTo>
                      <a:lnTo>
                        <a:pt x="21102" y="1408"/>
                      </a:lnTo>
                      <a:lnTo>
                        <a:pt x="21102" y="1408"/>
                      </a:lnTo>
                      <a:lnTo>
                        <a:pt x="21102" y="1408"/>
                      </a:lnTo>
                      <a:close/>
                      <a:moveTo>
                        <a:pt x="21002" y="1429"/>
                      </a:moveTo>
                      <a:lnTo>
                        <a:pt x="21002" y="1425"/>
                      </a:lnTo>
                      <a:lnTo>
                        <a:pt x="21078" y="1408"/>
                      </a:lnTo>
                      <a:lnTo>
                        <a:pt x="21144" y="1429"/>
                      </a:lnTo>
                      <a:lnTo>
                        <a:pt x="21182" y="1429"/>
                      </a:lnTo>
                      <a:lnTo>
                        <a:pt x="21198" y="1446"/>
                      </a:lnTo>
                      <a:lnTo>
                        <a:pt x="21187" y="1458"/>
                      </a:lnTo>
                      <a:lnTo>
                        <a:pt x="21203" y="1462"/>
                      </a:lnTo>
                      <a:lnTo>
                        <a:pt x="21182" y="1474"/>
                      </a:lnTo>
                      <a:lnTo>
                        <a:pt x="21198" y="1479"/>
                      </a:lnTo>
                      <a:lnTo>
                        <a:pt x="21187" y="1479"/>
                      </a:lnTo>
                      <a:lnTo>
                        <a:pt x="21149" y="1491"/>
                      </a:lnTo>
                      <a:lnTo>
                        <a:pt x="21064" y="1429"/>
                      </a:lnTo>
                      <a:lnTo>
                        <a:pt x="21002" y="1429"/>
                      </a:lnTo>
                      <a:lnTo>
                        <a:pt x="21002" y="1429"/>
                      </a:lnTo>
                      <a:lnTo>
                        <a:pt x="21002" y="1429"/>
                      </a:lnTo>
                      <a:close/>
                      <a:moveTo>
                        <a:pt x="17511" y="1446"/>
                      </a:moveTo>
                      <a:lnTo>
                        <a:pt x="17563" y="1408"/>
                      </a:lnTo>
                      <a:lnTo>
                        <a:pt x="17617" y="1425"/>
                      </a:lnTo>
                      <a:lnTo>
                        <a:pt x="17570" y="1458"/>
                      </a:lnTo>
                      <a:lnTo>
                        <a:pt x="17520" y="1458"/>
                      </a:lnTo>
                      <a:lnTo>
                        <a:pt x="17511" y="1446"/>
                      </a:lnTo>
                      <a:lnTo>
                        <a:pt x="17511" y="1446"/>
                      </a:lnTo>
                      <a:lnTo>
                        <a:pt x="17511" y="1446"/>
                      </a:lnTo>
                      <a:close/>
                      <a:moveTo>
                        <a:pt x="21791" y="1557"/>
                      </a:moveTo>
                      <a:lnTo>
                        <a:pt x="21775" y="1573"/>
                      </a:lnTo>
                      <a:lnTo>
                        <a:pt x="21720" y="1557"/>
                      </a:lnTo>
                      <a:lnTo>
                        <a:pt x="21775" y="1552"/>
                      </a:lnTo>
                      <a:lnTo>
                        <a:pt x="21791" y="1557"/>
                      </a:lnTo>
                      <a:lnTo>
                        <a:pt x="21791" y="1557"/>
                      </a:lnTo>
                      <a:lnTo>
                        <a:pt x="21791" y="1557"/>
                      </a:lnTo>
                      <a:close/>
                      <a:moveTo>
                        <a:pt x="15832" y="1630"/>
                      </a:moveTo>
                      <a:lnTo>
                        <a:pt x="15810" y="1602"/>
                      </a:lnTo>
                      <a:lnTo>
                        <a:pt x="15777" y="1585"/>
                      </a:lnTo>
                      <a:lnTo>
                        <a:pt x="15810" y="1573"/>
                      </a:lnTo>
                      <a:lnTo>
                        <a:pt x="15832" y="1590"/>
                      </a:lnTo>
                      <a:lnTo>
                        <a:pt x="15810" y="1573"/>
                      </a:lnTo>
                      <a:lnTo>
                        <a:pt x="15820" y="1590"/>
                      </a:lnTo>
                      <a:lnTo>
                        <a:pt x="15848" y="1590"/>
                      </a:lnTo>
                      <a:lnTo>
                        <a:pt x="15848" y="1607"/>
                      </a:lnTo>
                      <a:lnTo>
                        <a:pt x="15832" y="1614"/>
                      </a:lnTo>
                      <a:lnTo>
                        <a:pt x="15841" y="1630"/>
                      </a:lnTo>
                      <a:lnTo>
                        <a:pt x="15832" y="1630"/>
                      </a:lnTo>
                      <a:lnTo>
                        <a:pt x="15832" y="1630"/>
                      </a:lnTo>
                      <a:lnTo>
                        <a:pt x="15832" y="1630"/>
                      </a:lnTo>
                      <a:close/>
                      <a:moveTo>
                        <a:pt x="15848" y="1585"/>
                      </a:moveTo>
                      <a:lnTo>
                        <a:pt x="15841" y="1585"/>
                      </a:lnTo>
                      <a:lnTo>
                        <a:pt x="15858" y="1590"/>
                      </a:lnTo>
                      <a:lnTo>
                        <a:pt x="15848" y="1585"/>
                      </a:lnTo>
                      <a:lnTo>
                        <a:pt x="15848" y="1585"/>
                      </a:lnTo>
                      <a:lnTo>
                        <a:pt x="15848" y="1585"/>
                      </a:lnTo>
                      <a:close/>
                      <a:moveTo>
                        <a:pt x="23383" y="1656"/>
                      </a:moveTo>
                      <a:lnTo>
                        <a:pt x="23374" y="1647"/>
                      </a:lnTo>
                      <a:lnTo>
                        <a:pt x="23362" y="1640"/>
                      </a:lnTo>
                      <a:lnTo>
                        <a:pt x="23383" y="1656"/>
                      </a:lnTo>
                      <a:lnTo>
                        <a:pt x="23383" y="1656"/>
                      </a:lnTo>
                      <a:lnTo>
                        <a:pt x="23383" y="1656"/>
                      </a:lnTo>
                      <a:close/>
                      <a:moveTo>
                        <a:pt x="17941" y="1701"/>
                      </a:moveTo>
                      <a:lnTo>
                        <a:pt x="17948" y="1656"/>
                      </a:lnTo>
                      <a:lnTo>
                        <a:pt x="17953" y="1647"/>
                      </a:lnTo>
                      <a:lnTo>
                        <a:pt x="17969" y="1663"/>
                      </a:lnTo>
                      <a:lnTo>
                        <a:pt x="17953" y="1668"/>
                      </a:lnTo>
                      <a:lnTo>
                        <a:pt x="17953" y="1696"/>
                      </a:lnTo>
                      <a:lnTo>
                        <a:pt x="17941" y="1701"/>
                      </a:lnTo>
                      <a:lnTo>
                        <a:pt x="17941" y="1701"/>
                      </a:lnTo>
                      <a:lnTo>
                        <a:pt x="17941" y="1701"/>
                      </a:lnTo>
                      <a:close/>
                      <a:moveTo>
                        <a:pt x="16117" y="1696"/>
                      </a:moveTo>
                      <a:lnTo>
                        <a:pt x="16101" y="1680"/>
                      </a:lnTo>
                      <a:lnTo>
                        <a:pt x="16127" y="1684"/>
                      </a:lnTo>
                      <a:lnTo>
                        <a:pt x="16117" y="1696"/>
                      </a:lnTo>
                      <a:lnTo>
                        <a:pt x="16117" y="1696"/>
                      </a:lnTo>
                      <a:lnTo>
                        <a:pt x="16117" y="1696"/>
                      </a:lnTo>
                      <a:close/>
                      <a:moveTo>
                        <a:pt x="17979" y="1701"/>
                      </a:moveTo>
                      <a:lnTo>
                        <a:pt x="17965" y="1713"/>
                      </a:lnTo>
                      <a:lnTo>
                        <a:pt x="17979" y="1684"/>
                      </a:lnTo>
                      <a:lnTo>
                        <a:pt x="17979" y="1696"/>
                      </a:lnTo>
                      <a:lnTo>
                        <a:pt x="17979" y="1701"/>
                      </a:lnTo>
                      <a:lnTo>
                        <a:pt x="17979" y="1701"/>
                      </a:lnTo>
                      <a:lnTo>
                        <a:pt x="17979" y="1701"/>
                      </a:lnTo>
                      <a:close/>
                      <a:moveTo>
                        <a:pt x="16316" y="1795"/>
                      </a:moveTo>
                      <a:lnTo>
                        <a:pt x="16295" y="1795"/>
                      </a:lnTo>
                      <a:lnTo>
                        <a:pt x="16290" y="1791"/>
                      </a:lnTo>
                      <a:lnTo>
                        <a:pt x="16295" y="1779"/>
                      </a:lnTo>
                      <a:lnTo>
                        <a:pt x="16278" y="1774"/>
                      </a:lnTo>
                      <a:lnTo>
                        <a:pt x="16252" y="1767"/>
                      </a:lnTo>
                      <a:lnTo>
                        <a:pt x="16264" y="1774"/>
                      </a:lnTo>
                      <a:lnTo>
                        <a:pt x="16257" y="1774"/>
                      </a:lnTo>
                      <a:lnTo>
                        <a:pt x="16226" y="1751"/>
                      </a:lnTo>
                      <a:lnTo>
                        <a:pt x="16226" y="1734"/>
                      </a:lnTo>
                      <a:lnTo>
                        <a:pt x="16209" y="1722"/>
                      </a:lnTo>
                      <a:lnTo>
                        <a:pt x="16240" y="1734"/>
                      </a:lnTo>
                      <a:lnTo>
                        <a:pt x="16226" y="1718"/>
                      </a:lnTo>
                      <a:lnTo>
                        <a:pt x="16257" y="1696"/>
                      </a:lnTo>
                      <a:lnTo>
                        <a:pt x="16349" y="1767"/>
                      </a:lnTo>
                      <a:lnTo>
                        <a:pt x="16361" y="1779"/>
                      </a:lnTo>
                      <a:lnTo>
                        <a:pt x="16316" y="1795"/>
                      </a:lnTo>
                      <a:lnTo>
                        <a:pt x="16316" y="1795"/>
                      </a:lnTo>
                      <a:lnTo>
                        <a:pt x="16316" y="1795"/>
                      </a:lnTo>
                      <a:close/>
                      <a:moveTo>
                        <a:pt x="17927" y="1734"/>
                      </a:moveTo>
                      <a:lnTo>
                        <a:pt x="17932" y="1722"/>
                      </a:lnTo>
                      <a:lnTo>
                        <a:pt x="17948" y="1739"/>
                      </a:lnTo>
                      <a:lnTo>
                        <a:pt x="17927" y="1734"/>
                      </a:lnTo>
                      <a:lnTo>
                        <a:pt x="17927" y="1734"/>
                      </a:lnTo>
                      <a:lnTo>
                        <a:pt x="17927" y="1734"/>
                      </a:lnTo>
                      <a:close/>
                      <a:moveTo>
                        <a:pt x="23995" y="1791"/>
                      </a:moveTo>
                      <a:lnTo>
                        <a:pt x="23988" y="1791"/>
                      </a:lnTo>
                      <a:lnTo>
                        <a:pt x="23988" y="1807"/>
                      </a:lnTo>
                      <a:lnTo>
                        <a:pt x="23979" y="1812"/>
                      </a:lnTo>
                      <a:lnTo>
                        <a:pt x="23957" y="1812"/>
                      </a:lnTo>
                      <a:lnTo>
                        <a:pt x="23882" y="1779"/>
                      </a:lnTo>
                      <a:lnTo>
                        <a:pt x="23920" y="1758"/>
                      </a:lnTo>
                      <a:lnTo>
                        <a:pt x="23995" y="1774"/>
                      </a:lnTo>
                      <a:lnTo>
                        <a:pt x="23995" y="1791"/>
                      </a:lnTo>
                      <a:lnTo>
                        <a:pt x="23995" y="1791"/>
                      </a:lnTo>
                      <a:lnTo>
                        <a:pt x="23995" y="1791"/>
                      </a:lnTo>
                      <a:close/>
                      <a:moveTo>
                        <a:pt x="24050" y="1795"/>
                      </a:moveTo>
                      <a:lnTo>
                        <a:pt x="24033" y="1791"/>
                      </a:lnTo>
                      <a:lnTo>
                        <a:pt x="24050" y="1779"/>
                      </a:lnTo>
                      <a:lnTo>
                        <a:pt x="24050" y="1795"/>
                      </a:lnTo>
                      <a:lnTo>
                        <a:pt x="24050" y="1795"/>
                      </a:lnTo>
                      <a:lnTo>
                        <a:pt x="24050" y="1795"/>
                      </a:lnTo>
                      <a:close/>
                      <a:moveTo>
                        <a:pt x="23433" y="1833"/>
                      </a:moveTo>
                      <a:lnTo>
                        <a:pt x="23433" y="1812"/>
                      </a:lnTo>
                      <a:lnTo>
                        <a:pt x="23450" y="1812"/>
                      </a:lnTo>
                      <a:lnTo>
                        <a:pt x="23450" y="1829"/>
                      </a:lnTo>
                      <a:lnTo>
                        <a:pt x="23433" y="1833"/>
                      </a:lnTo>
                      <a:lnTo>
                        <a:pt x="23433" y="1833"/>
                      </a:lnTo>
                      <a:lnTo>
                        <a:pt x="23433" y="1833"/>
                      </a:lnTo>
                      <a:close/>
                      <a:moveTo>
                        <a:pt x="16814" y="1824"/>
                      </a:moveTo>
                      <a:lnTo>
                        <a:pt x="16835" y="1812"/>
                      </a:lnTo>
                      <a:lnTo>
                        <a:pt x="16831" y="1829"/>
                      </a:lnTo>
                      <a:lnTo>
                        <a:pt x="16814" y="1824"/>
                      </a:lnTo>
                      <a:lnTo>
                        <a:pt x="16814" y="1824"/>
                      </a:lnTo>
                      <a:lnTo>
                        <a:pt x="16814" y="1824"/>
                      </a:lnTo>
                      <a:close/>
                      <a:moveTo>
                        <a:pt x="23433" y="1902"/>
                      </a:moveTo>
                      <a:lnTo>
                        <a:pt x="23438" y="1885"/>
                      </a:lnTo>
                      <a:lnTo>
                        <a:pt x="23416" y="1878"/>
                      </a:lnTo>
                      <a:lnTo>
                        <a:pt x="23416" y="1845"/>
                      </a:lnTo>
                      <a:lnTo>
                        <a:pt x="23412" y="1833"/>
                      </a:lnTo>
                      <a:lnTo>
                        <a:pt x="23416" y="1829"/>
                      </a:lnTo>
                      <a:lnTo>
                        <a:pt x="23433" y="1824"/>
                      </a:lnTo>
                      <a:lnTo>
                        <a:pt x="23428" y="1829"/>
                      </a:lnTo>
                      <a:lnTo>
                        <a:pt x="23433" y="1833"/>
                      </a:lnTo>
                      <a:lnTo>
                        <a:pt x="23433" y="1850"/>
                      </a:lnTo>
                      <a:lnTo>
                        <a:pt x="23438" y="1890"/>
                      </a:lnTo>
                      <a:lnTo>
                        <a:pt x="23433" y="1902"/>
                      </a:lnTo>
                      <a:lnTo>
                        <a:pt x="23433" y="1902"/>
                      </a:lnTo>
                      <a:lnTo>
                        <a:pt x="23433" y="1902"/>
                      </a:lnTo>
                      <a:close/>
                      <a:moveTo>
                        <a:pt x="15496" y="1878"/>
                      </a:moveTo>
                      <a:lnTo>
                        <a:pt x="15508" y="1845"/>
                      </a:lnTo>
                      <a:lnTo>
                        <a:pt x="15555" y="1824"/>
                      </a:lnTo>
                      <a:lnTo>
                        <a:pt x="15631" y="1850"/>
                      </a:lnTo>
                      <a:lnTo>
                        <a:pt x="15647" y="1866"/>
                      </a:lnTo>
                      <a:lnTo>
                        <a:pt x="15631" y="1885"/>
                      </a:lnTo>
                      <a:lnTo>
                        <a:pt x="15643" y="1866"/>
                      </a:lnTo>
                      <a:lnTo>
                        <a:pt x="15631" y="1866"/>
                      </a:lnTo>
                      <a:lnTo>
                        <a:pt x="15588" y="1906"/>
                      </a:lnTo>
                      <a:lnTo>
                        <a:pt x="15534" y="1923"/>
                      </a:lnTo>
                      <a:lnTo>
                        <a:pt x="15496" y="1902"/>
                      </a:lnTo>
                      <a:lnTo>
                        <a:pt x="15496" y="1878"/>
                      </a:lnTo>
                      <a:lnTo>
                        <a:pt x="15496" y="1878"/>
                      </a:lnTo>
                      <a:lnTo>
                        <a:pt x="15496" y="1878"/>
                      </a:lnTo>
                      <a:close/>
                      <a:moveTo>
                        <a:pt x="16814" y="1833"/>
                      </a:moveTo>
                      <a:lnTo>
                        <a:pt x="16814" y="1829"/>
                      </a:lnTo>
                      <a:lnTo>
                        <a:pt x="16831" y="1833"/>
                      </a:lnTo>
                      <a:lnTo>
                        <a:pt x="16814" y="1833"/>
                      </a:lnTo>
                      <a:lnTo>
                        <a:pt x="16814" y="1833"/>
                      </a:lnTo>
                      <a:lnTo>
                        <a:pt x="16814" y="1833"/>
                      </a:lnTo>
                      <a:close/>
                      <a:moveTo>
                        <a:pt x="14513" y="1833"/>
                      </a:moveTo>
                      <a:lnTo>
                        <a:pt x="14530" y="1845"/>
                      </a:lnTo>
                      <a:lnTo>
                        <a:pt x="14497" y="1833"/>
                      </a:lnTo>
                      <a:lnTo>
                        <a:pt x="14513" y="1833"/>
                      </a:lnTo>
                      <a:lnTo>
                        <a:pt x="14513" y="1833"/>
                      </a:lnTo>
                      <a:lnTo>
                        <a:pt x="14513" y="1833"/>
                      </a:lnTo>
                      <a:close/>
                      <a:moveTo>
                        <a:pt x="16273" y="1866"/>
                      </a:moveTo>
                      <a:lnTo>
                        <a:pt x="16235" y="1845"/>
                      </a:lnTo>
                      <a:lnTo>
                        <a:pt x="16264" y="1850"/>
                      </a:lnTo>
                      <a:lnTo>
                        <a:pt x="16273" y="1866"/>
                      </a:lnTo>
                      <a:lnTo>
                        <a:pt x="16273" y="1866"/>
                      </a:lnTo>
                      <a:lnTo>
                        <a:pt x="16273" y="1866"/>
                      </a:lnTo>
                      <a:close/>
                      <a:moveTo>
                        <a:pt x="16134" y="1918"/>
                      </a:moveTo>
                      <a:lnTo>
                        <a:pt x="16181" y="1906"/>
                      </a:lnTo>
                      <a:lnTo>
                        <a:pt x="16127" y="1923"/>
                      </a:lnTo>
                      <a:lnTo>
                        <a:pt x="16134" y="1918"/>
                      </a:lnTo>
                      <a:lnTo>
                        <a:pt x="16134" y="1918"/>
                      </a:lnTo>
                      <a:lnTo>
                        <a:pt x="16134" y="1918"/>
                      </a:lnTo>
                      <a:close/>
                      <a:moveTo>
                        <a:pt x="17013" y="2195"/>
                      </a:moveTo>
                      <a:lnTo>
                        <a:pt x="16982" y="2162"/>
                      </a:lnTo>
                      <a:lnTo>
                        <a:pt x="16958" y="2162"/>
                      </a:lnTo>
                      <a:lnTo>
                        <a:pt x="17029" y="2166"/>
                      </a:lnTo>
                      <a:lnTo>
                        <a:pt x="17029" y="2195"/>
                      </a:lnTo>
                      <a:lnTo>
                        <a:pt x="17013" y="2195"/>
                      </a:lnTo>
                      <a:lnTo>
                        <a:pt x="17013" y="2195"/>
                      </a:lnTo>
                      <a:lnTo>
                        <a:pt x="17013" y="2195"/>
                      </a:lnTo>
                      <a:close/>
                      <a:moveTo>
                        <a:pt x="15102" y="2162"/>
                      </a:moveTo>
                      <a:lnTo>
                        <a:pt x="15106" y="2166"/>
                      </a:lnTo>
                      <a:lnTo>
                        <a:pt x="15092" y="2162"/>
                      </a:lnTo>
                      <a:lnTo>
                        <a:pt x="15102" y="2162"/>
                      </a:lnTo>
                      <a:lnTo>
                        <a:pt x="15102" y="2162"/>
                      </a:lnTo>
                      <a:lnTo>
                        <a:pt x="15102" y="2162"/>
                      </a:lnTo>
                      <a:close/>
                      <a:moveTo>
                        <a:pt x="16975" y="2166"/>
                      </a:moveTo>
                      <a:lnTo>
                        <a:pt x="16975" y="2178"/>
                      </a:lnTo>
                      <a:lnTo>
                        <a:pt x="16975" y="2166"/>
                      </a:lnTo>
                      <a:lnTo>
                        <a:pt x="16975" y="2166"/>
                      </a:lnTo>
                      <a:lnTo>
                        <a:pt x="16975" y="2166"/>
                      </a:lnTo>
                      <a:close/>
                      <a:moveTo>
                        <a:pt x="253" y="2277"/>
                      </a:moveTo>
                      <a:lnTo>
                        <a:pt x="253" y="2273"/>
                      </a:lnTo>
                      <a:lnTo>
                        <a:pt x="265" y="2273"/>
                      </a:lnTo>
                      <a:lnTo>
                        <a:pt x="253" y="2277"/>
                      </a:lnTo>
                      <a:lnTo>
                        <a:pt x="253" y="2277"/>
                      </a:lnTo>
                      <a:lnTo>
                        <a:pt x="253" y="2277"/>
                      </a:lnTo>
                      <a:close/>
                      <a:moveTo>
                        <a:pt x="14632" y="2351"/>
                      </a:moveTo>
                      <a:lnTo>
                        <a:pt x="14632" y="2367"/>
                      </a:lnTo>
                      <a:lnTo>
                        <a:pt x="14622" y="2377"/>
                      </a:lnTo>
                      <a:lnTo>
                        <a:pt x="14606" y="2351"/>
                      </a:lnTo>
                      <a:lnTo>
                        <a:pt x="14632" y="2351"/>
                      </a:lnTo>
                      <a:lnTo>
                        <a:pt x="14632" y="2351"/>
                      </a:lnTo>
                      <a:lnTo>
                        <a:pt x="14632" y="2351"/>
                      </a:lnTo>
                      <a:close/>
                      <a:moveTo>
                        <a:pt x="0" y="2400"/>
                      </a:moveTo>
                      <a:lnTo>
                        <a:pt x="17" y="2384"/>
                      </a:lnTo>
                      <a:lnTo>
                        <a:pt x="38" y="2400"/>
                      </a:lnTo>
                      <a:lnTo>
                        <a:pt x="0" y="2400"/>
                      </a:lnTo>
                      <a:lnTo>
                        <a:pt x="0" y="2400"/>
                      </a:lnTo>
                      <a:lnTo>
                        <a:pt x="0" y="2400"/>
                      </a:lnTo>
                      <a:close/>
                      <a:moveTo>
                        <a:pt x="14946" y="2400"/>
                      </a:moveTo>
                      <a:lnTo>
                        <a:pt x="14955" y="2421"/>
                      </a:lnTo>
                      <a:lnTo>
                        <a:pt x="14913" y="2405"/>
                      </a:lnTo>
                      <a:lnTo>
                        <a:pt x="14941" y="2417"/>
                      </a:lnTo>
                      <a:lnTo>
                        <a:pt x="14929" y="2400"/>
                      </a:lnTo>
                      <a:lnTo>
                        <a:pt x="14946" y="2400"/>
                      </a:lnTo>
                      <a:lnTo>
                        <a:pt x="14946" y="2400"/>
                      </a:lnTo>
                      <a:lnTo>
                        <a:pt x="14946" y="2400"/>
                      </a:lnTo>
                      <a:close/>
                      <a:moveTo>
                        <a:pt x="14639" y="2438"/>
                      </a:moveTo>
                      <a:lnTo>
                        <a:pt x="14643" y="2445"/>
                      </a:lnTo>
                      <a:lnTo>
                        <a:pt x="14632" y="2438"/>
                      </a:lnTo>
                      <a:lnTo>
                        <a:pt x="14639" y="2438"/>
                      </a:lnTo>
                      <a:lnTo>
                        <a:pt x="14639" y="2438"/>
                      </a:lnTo>
                      <a:lnTo>
                        <a:pt x="14639" y="2438"/>
                      </a:lnTo>
                      <a:close/>
                      <a:moveTo>
                        <a:pt x="14119" y="2899"/>
                      </a:moveTo>
                      <a:lnTo>
                        <a:pt x="14131" y="2899"/>
                      </a:lnTo>
                      <a:lnTo>
                        <a:pt x="14119" y="2887"/>
                      </a:lnTo>
                      <a:lnTo>
                        <a:pt x="14119" y="2899"/>
                      </a:lnTo>
                      <a:lnTo>
                        <a:pt x="14119" y="2899"/>
                      </a:lnTo>
                      <a:lnTo>
                        <a:pt x="14119" y="2899"/>
                      </a:lnTo>
                      <a:close/>
                      <a:moveTo>
                        <a:pt x="23572" y="3088"/>
                      </a:moveTo>
                      <a:lnTo>
                        <a:pt x="23596" y="3064"/>
                      </a:lnTo>
                      <a:lnTo>
                        <a:pt x="23610" y="3043"/>
                      </a:lnTo>
                      <a:lnTo>
                        <a:pt x="23596" y="3031"/>
                      </a:lnTo>
                      <a:lnTo>
                        <a:pt x="23655" y="3014"/>
                      </a:lnTo>
                      <a:lnTo>
                        <a:pt x="23665" y="3031"/>
                      </a:lnTo>
                      <a:lnTo>
                        <a:pt x="23665" y="3047"/>
                      </a:lnTo>
                      <a:lnTo>
                        <a:pt x="23627" y="3059"/>
                      </a:lnTo>
                      <a:lnTo>
                        <a:pt x="23579" y="3099"/>
                      </a:lnTo>
                      <a:lnTo>
                        <a:pt x="23572" y="3088"/>
                      </a:lnTo>
                      <a:lnTo>
                        <a:pt x="23572" y="3088"/>
                      </a:lnTo>
                      <a:lnTo>
                        <a:pt x="23572" y="3088"/>
                      </a:lnTo>
                      <a:close/>
                      <a:moveTo>
                        <a:pt x="22665" y="3031"/>
                      </a:moveTo>
                      <a:lnTo>
                        <a:pt x="22682" y="3026"/>
                      </a:lnTo>
                      <a:lnTo>
                        <a:pt x="22665" y="3031"/>
                      </a:lnTo>
                      <a:lnTo>
                        <a:pt x="22665" y="3031"/>
                      </a:lnTo>
                      <a:lnTo>
                        <a:pt x="22665" y="3031"/>
                      </a:lnTo>
                      <a:close/>
                      <a:moveTo>
                        <a:pt x="23773" y="3421"/>
                      </a:moveTo>
                      <a:lnTo>
                        <a:pt x="23773" y="3437"/>
                      </a:lnTo>
                      <a:lnTo>
                        <a:pt x="23806" y="3470"/>
                      </a:lnTo>
                      <a:lnTo>
                        <a:pt x="23806" y="3487"/>
                      </a:lnTo>
                      <a:lnTo>
                        <a:pt x="23778" y="3470"/>
                      </a:lnTo>
                      <a:lnTo>
                        <a:pt x="23752" y="3421"/>
                      </a:lnTo>
                      <a:lnTo>
                        <a:pt x="23773" y="3421"/>
                      </a:lnTo>
                      <a:lnTo>
                        <a:pt x="23773" y="3421"/>
                      </a:lnTo>
                      <a:lnTo>
                        <a:pt x="23773" y="3421"/>
                      </a:lnTo>
                      <a:close/>
                      <a:moveTo>
                        <a:pt x="13606" y="3430"/>
                      </a:moveTo>
                      <a:lnTo>
                        <a:pt x="13611" y="3421"/>
                      </a:lnTo>
                      <a:lnTo>
                        <a:pt x="13665" y="3447"/>
                      </a:lnTo>
                      <a:lnTo>
                        <a:pt x="13699" y="3447"/>
                      </a:lnTo>
                      <a:lnTo>
                        <a:pt x="13720" y="3470"/>
                      </a:lnTo>
                      <a:lnTo>
                        <a:pt x="13715" y="3487"/>
                      </a:lnTo>
                      <a:lnTo>
                        <a:pt x="13703" y="3503"/>
                      </a:lnTo>
                      <a:lnTo>
                        <a:pt x="13715" y="3515"/>
                      </a:lnTo>
                      <a:lnTo>
                        <a:pt x="13618" y="3515"/>
                      </a:lnTo>
                      <a:lnTo>
                        <a:pt x="13505" y="3508"/>
                      </a:lnTo>
                      <a:lnTo>
                        <a:pt x="13552" y="3487"/>
                      </a:lnTo>
                      <a:lnTo>
                        <a:pt x="13526" y="3487"/>
                      </a:lnTo>
                      <a:lnTo>
                        <a:pt x="13519" y="3475"/>
                      </a:lnTo>
                      <a:lnTo>
                        <a:pt x="13510" y="3487"/>
                      </a:lnTo>
                      <a:lnTo>
                        <a:pt x="13519" y="3454"/>
                      </a:lnTo>
                      <a:lnTo>
                        <a:pt x="13552" y="3454"/>
                      </a:lnTo>
                      <a:lnTo>
                        <a:pt x="13580" y="3421"/>
                      </a:lnTo>
                      <a:lnTo>
                        <a:pt x="13590" y="3421"/>
                      </a:lnTo>
                      <a:lnTo>
                        <a:pt x="13557" y="3454"/>
                      </a:lnTo>
                      <a:lnTo>
                        <a:pt x="13606" y="3458"/>
                      </a:lnTo>
                      <a:lnTo>
                        <a:pt x="13606" y="3437"/>
                      </a:lnTo>
                      <a:lnTo>
                        <a:pt x="13606" y="3430"/>
                      </a:lnTo>
                      <a:lnTo>
                        <a:pt x="13606" y="3430"/>
                      </a:lnTo>
                      <a:lnTo>
                        <a:pt x="13606" y="3430"/>
                      </a:lnTo>
                      <a:close/>
                      <a:moveTo>
                        <a:pt x="21744" y="3475"/>
                      </a:moveTo>
                      <a:lnTo>
                        <a:pt x="21765" y="3430"/>
                      </a:lnTo>
                      <a:lnTo>
                        <a:pt x="21803" y="3447"/>
                      </a:lnTo>
                      <a:lnTo>
                        <a:pt x="21775" y="3491"/>
                      </a:lnTo>
                      <a:lnTo>
                        <a:pt x="21758" y="3458"/>
                      </a:lnTo>
                      <a:lnTo>
                        <a:pt x="21744" y="3475"/>
                      </a:lnTo>
                      <a:lnTo>
                        <a:pt x="21744" y="3475"/>
                      </a:lnTo>
                      <a:lnTo>
                        <a:pt x="21744" y="3475"/>
                      </a:lnTo>
                      <a:close/>
                      <a:moveTo>
                        <a:pt x="21694" y="3458"/>
                      </a:moveTo>
                      <a:lnTo>
                        <a:pt x="21737" y="3437"/>
                      </a:lnTo>
                      <a:lnTo>
                        <a:pt x="21728" y="3458"/>
                      </a:lnTo>
                      <a:lnTo>
                        <a:pt x="21694" y="3458"/>
                      </a:lnTo>
                      <a:lnTo>
                        <a:pt x="21694" y="3458"/>
                      </a:lnTo>
                      <a:lnTo>
                        <a:pt x="21694" y="3458"/>
                      </a:lnTo>
                      <a:close/>
                      <a:moveTo>
                        <a:pt x="13498" y="3508"/>
                      </a:moveTo>
                      <a:lnTo>
                        <a:pt x="13488" y="3503"/>
                      </a:lnTo>
                      <a:lnTo>
                        <a:pt x="13510" y="3487"/>
                      </a:lnTo>
                      <a:lnTo>
                        <a:pt x="13498" y="3508"/>
                      </a:lnTo>
                      <a:lnTo>
                        <a:pt x="13498" y="3508"/>
                      </a:lnTo>
                      <a:lnTo>
                        <a:pt x="13498" y="3508"/>
                      </a:lnTo>
                      <a:close/>
                      <a:moveTo>
                        <a:pt x="21765" y="3508"/>
                      </a:moveTo>
                      <a:lnTo>
                        <a:pt x="21758" y="3503"/>
                      </a:lnTo>
                      <a:lnTo>
                        <a:pt x="21765" y="3491"/>
                      </a:lnTo>
                      <a:lnTo>
                        <a:pt x="21765" y="3508"/>
                      </a:lnTo>
                      <a:lnTo>
                        <a:pt x="21765" y="3508"/>
                      </a:lnTo>
                      <a:lnTo>
                        <a:pt x="21765" y="3508"/>
                      </a:lnTo>
                      <a:close/>
                      <a:moveTo>
                        <a:pt x="22072" y="4080"/>
                      </a:moveTo>
                      <a:lnTo>
                        <a:pt x="22068" y="4058"/>
                      </a:lnTo>
                      <a:lnTo>
                        <a:pt x="22072" y="4030"/>
                      </a:lnTo>
                      <a:lnTo>
                        <a:pt x="22084" y="3973"/>
                      </a:lnTo>
                      <a:lnTo>
                        <a:pt x="22084" y="3903"/>
                      </a:lnTo>
                      <a:lnTo>
                        <a:pt x="22072" y="3891"/>
                      </a:lnTo>
                      <a:lnTo>
                        <a:pt x="22089" y="3825"/>
                      </a:lnTo>
                      <a:lnTo>
                        <a:pt x="22084" y="3791"/>
                      </a:lnTo>
                      <a:lnTo>
                        <a:pt x="22051" y="3751"/>
                      </a:lnTo>
                      <a:lnTo>
                        <a:pt x="22051" y="3714"/>
                      </a:lnTo>
                      <a:lnTo>
                        <a:pt x="22061" y="3692"/>
                      </a:lnTo>
                      <a:lnTo>
                        <a:pt x="22068" y="3643"/>
                      </a:lnTo>
                      <a:lnTo>
                        <a:pt x="22061" y="3614"/>
                      </a:lnTo>
                      <a:lnTo>
                        <a:pt x="22089" y="3598"/>
                      </a:lnTo>
                      <a:lnTo>
                        <a:pt x="22089" y="3614"/>
                      </a:lnTo>
                      <a:lnTo>
                        <a:pt x="22105" y="3614"/>
                      </a:lnTo>
                      <a:lnTo>
                        <a:pt x="22122" y="3598"/>
                      </a:lnTo>
                      <a:lnTo>
                        <a:pt x="22115" y="3598"/>
                      </a:lnTo>
                      <a:lnTo>
                        <a:pt x="22105" y="3581"/>
                      </a:lnTo>
                      <a:lnTo>
                        <a:pt x="22122" y="3586"/>
                      </a:lnTo>
                      <a:lnTo>
                        <a:pt x="22127" y="3581"/>
                      </a:lnTo>
                      <a:lnTo>
                        <a:pt x="22127" y="3565"/>
                      </a:lnTo>
                      <a:lnTo>
                        <a:pt x="22115" y="3581"/>
                      </a:lnTo>
                      <a:lnTo>
                        <a:pt x="22122" y="3558"/>
                      </a:lnTo>
                      <a:lnTo>
                        <a:pt x="22098" y="3525"/>
                      </a:lnTo>
                      <a:lnTo>
                        <a:pt x="22122" y="3525"/>
                      </a:lnTo>
                      <a:lnTo>
                        <a:pt x="22122" y="3508"/>
                      </a:lnTo>
                      <a:lnTo>
                        <a:pt x="22143" y="3541"/>
                      </a:lnTo>
                      <a:lnTo>
                        <a:pt x="22136" y="3569"/>
                      </a:lnTo>
                      <a:lnTo>
                        <a:pt x="22153" y="3598"/>
                      </a:lnTo>
                      <a:lnTo>
                        <a:pt x="22153" y="3614"/>
                      </a:lnTo>
                      <a:lnTo>
                        <a:pt x="22160" y="3619"/>
                      </a:lnTo>
                      <a:lnTo>
                        <a:pt x="22169" y="3659"/>
                      </a:lnTo>
                      <a:lnTo>
                        <a:pt x="22169" y="3697"/>
                      </a:lnTo>
                      <a:lnTo>
                        <a:pt x="22160" y="3714"/>
                      </a:lnTo>
                      <a:lnTo>
                        <a:pt x="22160" y="3692"/>
                      </a:lnTo>
                      <a:lnTo>
                        <a:pt x="22153" y="3709"/>
                      </a:lnTo>
                      <a:lnTo>
                        <a:pt x="22153" y="3747"/>
                      </a:lnTo>
                      <a:lnTo>
                        <a:pt x="22169" y="3768"/>
                      </a:lnTo>
                      <a:lnTo>
                        <a:pt x="22160" y="3791"/>
                      </a:lnTo>
                      <a:lnTo>
                        <a:pt x="22169" y="3791"/>
                      </a:lnTo>
                      <a:lnTo>
                        <a:pt x="22169" y="3780"/>
                      </a:lnTo>
                      <a:lnTo>
                        <a:pt x="22174" y="3808"/>
                      </a:lnTo>
                      <a:lnTo>
                        <a:pt x="22169" y="3808"/>
                      </a:lnTo>
                      <a:lnTo>
                        <a:pt x="22181" y="3820"/>
                      </a:lnTo>
                      <a:lnTo>
                        <a:pt x="22198" y="3903"/>
                      </a:lnTo>
                      <a:lnTo>
                        <a:pt x="22212" y="3936"/>
                      </a:lnTo>
                      <a:lnTo>
                        <a:pt x="22245" y="4023"/>
                      </a:lnTo>
                      <a:lnTo>
                        <a:pt x="22261" y="4040"/>
                      </a:lnTo>
                      <a:lnTo>
                        <a:pt x="22266" y="4063"/>
                      </a:lnTo>
                      <a:lnTo>
                        <a:pt x="22245" y="4030"/>
                      </a:lnTo>
                      <a:lnTo>
                        <a:pt x="22212" y="4006"/>
                      </a:lnTo>
                      <a:lnTo>
                        <a:pt x="22169" y="3990"/>
                      </a:lnTo>
                      <a:lnTo>
                        <a:pt x="22169" y="4002"/>
                      </a:lnTo>
                      <a:lnTo>
                        <a:pt x="22191" y="4002"/>
                      </a:lnTo>
                      <a:lnTo>
                        <a:pt x="22160" y="4006"/>
                      </a:lnTo>
                      <a:lnTo>
                        <a:pt x="22143" y="4023"/>
                      </a:lnTo>
                      <a:lnTo>
                        <a:pt x="22143" y="4040"/>
                      </a:lnTo>
                      <a:lnTo>
                        <a:pt x="22115" y="4117"/>
                      </a:lnTo>
                      <a:lnTo>
                        <a:pt x="22115" y="4141"/>
                      </a:lnTo>
                      <a:lnTo>
                        <a:pt x="22122" y="4158"/>
                      </a:lnTo>
                      <a:lnTo>
                        <a:pt x="22143" y="4191"/>
                      </a:lnTo>
                      <a:lnTo>
                        <a:pt x="22160" y="4236"/>
                      </a:lnTo>
                      <a:lnTo>
                        <a:pt x="22169" y="4245"/>
                      </a:lnTo>
                      <a:lnTo>
                        <a:pt x="22169" y="4228"/>
                      </a:lnTo>
                      <a:lnTo>
                        <a:pt x="22174" y="4228"/>
                      </a:lnTo>
                      <a:lnTo>
                        <a:pt x="22181" y="4269"/>
                      </a:lnTo>
                      <a:lnTo>
                        <a:pt x="22174" y="4302"/>
                      </a:lnTo>
                      <a:lnTo>
                        <a:pt x="22169" y="4252"/>
                      </a:lnTo>
                      <a:lnTo>
                        <a:pt x="22127" y="4252"/>
                      </a:lnTo>
                      <a:lnTo>
                        <a:pt x="22122" y="4236"/>
                      </a:lnTo>
                      <a:lnTo>
                        <a:pt x="22105" y="4252"/>
                      </a:lnTo>
                      <a:lnTo>
                        <a:pt x="22084" y="4306"/>
                      </a:lnTo>
                      <a:lnTo>
                        <a:pt x="22068" y="4302"/>
                      </a:lnTo>
                      <a:lnTo>
                        <a:pt x="22061" y="4252"/>
                      </a:lnTo>
                      <a:lnTo>
                        <a:pt x="22072" y="4207"/>
                      </a:lnTo>
                      <a:lnTo>
                        <a:pt x="22072" y="4158"/>
                      </a:lnTo>
                      <a:lnTo>
                        <a:pt x="22089" y="4125"/>
                      </a:lnTo>
                      <a:lnTo>
                        <a:pt x="22084" y="4096"/>
                      </a:lnTo>
                      <a:lnTo>
                        <a:pt x="22072" y="4080"/>
                      </a:lnTo>
                      <a:lnTo>
                        <a:pt x="22072" y="4080"/>
                      </a:lnTo>
                      <a:lnTo>
                        <a:pt x="22072" y="4080"/>
                      </a:lnTo>
                      <a:close/>
                      <a:moveTo>
                        <a:pt x="23017" y="3846"/>
                      </a:moveTo>
                      <a:lnTo>
                        <a:pt x="23022" y="3846"/>
                      </a:lnTo>
                      <a:lnTo>
                        <a:pt x="23034" y="3858"/>
                      </a:lnTo>
                      <a:lnTo>
                        <a:pt x="23022" y="3858"/>
                      </a:lnTo>
                      <a:lnTo>
                        <a:pt x="23017" y="3846"/>
                      </a:lnTo>
                      <a:lnTo>
                        <a:pt x="23017" y="3846"/>
                      </a:lnTo>
                      <a:lnTo>
                        <a:pt x="23017" y="3846"/>
                      </a:lnTo>
                      <a:close/>
                      <a:moveTo>
                        <a:pt x="23088" y="3874"/>
                      </a:moveTo>
                      <a:lnTo>
                        <a:pt x="23072" y="3874"/>
                      </a:lnTo>
                      <a:lnTo>
                        <a:pt x="23072" y="3862"/>
                      </a:lnTo>
                      <a:lnTo>
                        <a:pt x="23088" y="3858"/>
                      </a:lnTo>
                      <a:lnTo>
                        <a:pt x="23088" y="3874"/>
                      </a:lnTo>
                      <a:lnTo>
                        <a:pt x="23088" y="3874"/>
                      </a:lnTo>
                      <a:lnTo>
                        <a:pt x="23088" y="3874"/>
                      </a:lnTo>
                      <a:close/>
                      <a:moveTo>
                        <a:pt x="23001" y="3931"/>
                      </a:moveTo>
                      <a:lnTo>
                        <a:pt x="23001" y="3903"/>
                      </a:lnTo>
                      <a:lnTo>
                        <a:pt x="23034" y="3895"/>
                      </a:lnTo>
                      <a:lnTo>
                        <a:pt x="23050" y="3874"/>
                      </a:lnTo>
                      <a:lnTo>
                        <a:pt x="23060" y="3862"/>
                      </a:lnTo>
                      <a:lnTo>
                        <a:pt x="23072" y="3891"/>
                      </a:lnTo>
                      <a:lnTo>
                        <a:pt x="23050" y="3914"/>
                      </a:lnTo>
                      <a:lnTo>
                        <a:pt x="23001" y="3931"/>
                      </a:lnTo>
                      <a:lnTo>
                        <a:pt x="23001" y="3931"/>
                      </a:lnTo>
                      <a:lnTo>
                        <a:pt x="23001" y="3931"/>
                      </a:lnTo>
                      <a:close/>
                      <a:moveTo>
                        <a:pt x="22946" y="3957"/>
                      </a:moveTo>
                      <a:lnTo>
                        <a:pt x="22946" y="3952"/>
                      </a:lnTo>
                      <a:lnTo>
                        <a:pt x="22946" y="3957"/>
                      </a:lnTo>
                      <a:lnTo>
                        <a:pt x="22946" y="3957"/>
                      </a:lnTo>
                      <a:lnTo>
                        <a:pt x="22946" y="3957"/>
                      </a:lnTo>
                      <a:close/>
                      <a:moveTo>
                        <a:pt x="22953" y="4002"/>
                      </a:moveTo>
                      <a:lnTo>
                        <a:pt x="22968" y="3973"/>
                      </a:lnTo>
                      <a:lnTo>
                        <a:pt x="22979" y="3969"/>
                      </a:lnTo>
                      <a:lnTo>
                        <a:pt x="22968" y="3990"/>
                      </a:lnTo>
                      <a:lnTo>
                        <a:pt x="22968" y="4002"/>
                      </a:lnTo>
                      <a:lnTo>
                        <a:pt x="22953" y="4002"/>
                      </a:lnTo>
                      <a:lnTo>
                        <a:pt x="22953" y="4002"/>
                      </a:lnTo>
                      <a:lnTo>
                        <a:pt x="22953" y="4002"/>
                      </a:lnTo>
                      <a:close/>
                      <a:moveTo>
                        <a:pt x="22946" y="4014"/>
                      </a:moveTo>
                      <a:lnTo>
                        <a:pt x="22953" y="4014"/>
                      </a:lnTo>
                      <a:lnTo>
                        <a:pt x="22953" y="4023"/>
                      </a:lnTo>
                      <a:lnTo>
                        <a:pt x="22946" y="4014"/>
                      </a:lnTo>
                      <a:lnTo>
                        <a:pt x="22946" y="4014"/>
                      </a:lnTo>
                      <a:lnTo>
                        <a:pt x="22946" y="4014"/>
                      </a:lnTo>
                      <a:close/>
                      <a:moveTo>
                        <a:pt x="22916" y="4058"/>
                      </a:moveTo>
                      <a:lnTo>
                        <a:pt x="22925" y="4040"/>
                      </a:lnTo>
                      <a:lnTo>
                        <a:pt x="22930" y="4040"/>
                      </a:lnTo>
                      <a:lnTo>
                        <a:pt x="22916" y="4058"/>
                      </a:lnTo>
                      <a:lnTo>
                        <a:pt x="22916" y="4058"/>
                      </a:lnTo>
                      <a:lnTo>
                        <a:pt x="22916" y="4058"/>
                      </a:lnTo>
                      <a:close/>
                      <a:moveTo>
                        <a:pt x="22861" y="4117"/>
                      </a:moveTo>
                      <a:lnTo>
                        <a:pt x="22854" y="4113"/>
                      </a:lnTo>
                      <a:lnTo>
                        <a:pt x="22861" y="4113"/>
                      </a:lnTo>
                      <a:lnTo>
                        <a:pt x="22861" y="4117"/>
                      </a:lnTo>
                      <a:lnTo>
                        <a:pt x="22861" y="4117"/>
                      </a:lnTo>
                      <a:lnTo>
                        <a:pt x="22861" y="4117"/>
                      </a:lnTo>
                      <a:close/>
                      <a:moveTo>
                        <a:pt x="22807" y="4179"/>
                      </a:moveTo>
                      <a:lnTo>
                        <a:pt x="22816" y="4179"/>
                      </a:lnTo>
                      <a:lnTo>
                        <a:pt x="22807" y="4179"/>
                      </a:lnTo>
                      <a:lnTo>
                        <a:pt x="22807" y="4179"/>
                      </a:lnTo>
                      <a:lnTo>
                        <a:pt x="22807" y="4179"/>
                      </a:lnTo>
                      <a:close/>
                      <a:moveTo>
                        <a:pt x="22791" y="4195"/>
                      </a:moveTo>
                      <a:lnTo>
                        <a:pt x="22779" y="4224"/>
                      </a:lnTo>
                      <a:lnTo>
                        <a:pt x="22753" y="4228"/>
                      </a:lnTo>
                      <a:lnTo>
                        <a:pt x="22791" y="4195"/>
                      </a:lnTo>
                      <a:lnTo>
                        <a:pt x="22791" y="4195"/>
                      </a:lnTo>
                      <a:lnTo>
                        <a:pt x="22791" y="4195"/>
                      </a:lnTo>
                      <a:close/>
                      <a:moveTo>
                        <a:pt x="22602" y="4340"/>
                      </a:moveTo>
                      <a:lnTo>
                        <a:pt x="22613" y="4318"/>
                      </a:lnTo>
                      <a:lnTo>
                        <a:pt x="22628" y="4302"/>
                      </a:lnTo>
                      <a:lnTo>
                        <a:pt x="22661" y="4285"/>
                      </a:lnTo>
                      <a:lnTo>
                        <a:pt x="22665" y="4285"/>
                      </a:lnTo>
                      <a:lnTo>
                        <a:pt x="22644" y="4306"/>
                      </a:lnTo>
                      <a:lnTo>
                        <a:pt x="22613" y="4335"/>
                      </a:lnTo>
                      <a:lnTo>
                        <a:pt x="22602" y="4340"/>
                      </a:lnTo>
                      <a:lnTo>
                        <a:pt x="22602" y="4340"/>
                      </a:lnTo>
                      <a:lnTo>
                        <a:pt x="22602" y="4340"/>
                      </a:lnTo>
                      <a:close/>
                      <a:moveTo>
                        <a:pt x="22413" y="4446"/>
                      </a:moveTo>
                      <a:lnTo>
                        <a:pt x="22413" y="4434"/>
                      </a:lnTo>
                      <a:lnTo>
                        <a:pt x="22439" y="4417"/>
                      </a:lnTo>
                      <a:lnTo>
                        <a:pt x="22429" y="4413"/>
                      </a:lnTo>
                      <a:lnTo>
                        <a:pt x="22483" y="4373"/>
                      </a:lnTo>
                      <a:lnTo>
                        <a:pt x="22483" y="4363"/>
                      </a:lnTo>
                      <a:lnTo>
                        <a:pt x="22493" y="4356"/>
                      </a:lnTo>
                      <a:lnTo>
                        <a:pt x="22500" y="4373"/>
                      </a:lnTo>
                      <a:lnTo>
                        <a:pt x="22514" y="4373"/>
                      </a:lnTo>
                      <a:lnTo>
                        <a:pt x="22547" y="4347"/>
                      </a:lnTo>
                      <a:lnTo>
                        <a:pt x="22552" y="4347"/>
                      </a:lnTo>
                      <a:lnTo>
                        <a:pt x="22552" y="4363"/>
                      </a:lnTo>
                      <a:lnTo>
                        <a:pt x="22514" y="4373"/>
                      </a:lnTo>
                      <a:lnTo>
                        <a:pt x="22476" y="4396"/>
                      </a:lnTo>
                      <a:lnTo>
                        <a:pt x="22467" y="4396"/>
                      </a:lnTo>
                      <a:lnTo>
                        <a:pt x="22462" y="4413"/>
                      </a:lnTo>
                      <a:lnTo>
                        <a:pt x="22413" y="4446"/>
                      </a:lnTo>
                      <a:lnTo>
                        <a:pt x="22413" y="4446"/>
                      </a:lnTo>
                      <a:lnTo>
                        <a:pt x="22413" y="4446"/>
                      </a:lnTo>
                      <a:close/>
                      <a:moveTo>
                        <a:pt x="22370" y="4434"/>
                      </a:moveTo>
                      <a:lnTo>
                        <a:pt x="22391" y="4446"/>
                      </a:lnTo>
                      <a:lnTo>
                        <a:pt x="22354" y="4467"/>
                      </a:lnTo>
                      <a:lnTo>
                        <a:pt x="22337" y="4491"/>
                      </a:lnTo>
                      <a:lnTo>
                        <a:pt x="22332" y="4491"/>
                      </a:lnTo>
                      <a:lnTo>
                        <a:pt x="22320" y="4512"/>
                      </a:lnTo>
                      <a:lnTo>
                        <a:pt x="22316" y="4507"/>
                      </a:lnTo>
                      <a:lnTo>
                        <a:pt x="22316" y="4500"/>
                      </a:lnTo>
                      <a:lnTo>
                        <a:pt x="22337" y="4474"/>
                      </a:lnTo>
                      <a:lnTo>
                        <a:pt x="22370" y="4434"/>
                      </a:lnTo>
                      <a:lnTo>
                        <a:pt x="22370" y="4434"/>
                      </a:lnTo>
                      <a:lnTo>
                        <a:pt x="22370" y="4434"/>
                      </a:lnTo>
                      <a:close/>
                      <a:moveTo>
                        <a:pt x="15463" y="4484"/>
                      </a:moveTo>
                      <a:lnTo>
                        <a:pt x="15454" y="4484"/>
                      </a:lnTo>
                      <a:lnTo>
                        <a:pt x="15463" y="4484"/>
                      </a:lnTo>
                      <a:lnTo>
                        <a:pt x="15463" y="4484"/>
                      </a:lnTo>
                      <a:lnTo>
                        <a:pt x="15463" y="4484"/>
                      </a:lnTo>
                      <a:close/>
                      <a:moveTo>
                        <a:pt x="22413" y="4491"/>
                      </a:moveTo>
                      <a:lnTo>
                        <a:pt x="22408" y="4507"/>
                      </a:lnTo>
                      <a:lnTo>
                        <a:pt x="22396" y="4507"/>
                      </a:lnTo>
                      <a:lnTo>
                        <a:pt x="22396" y="4500"/>
                      </a:lnTo>
                      <a:lnTo>
                        <a:pt x="22413" y="4491"/>
                      </a:lnTo>
                      <a:lnTo>
                        <a:pt x="22413" y="4491"/>
                      </a:lnTo>
                      <a:lnTo>
                        <a:pt x="22413" y="4491"/>
                      </a:lnTo>
                      <a:close/>
                      <a:moveTo>
                        <a:pt x="22370" y="4524"/>
                      </a:moveTo>
                      <a:lnTo>
                        <a:pt x="22370" y="4528"/>
                      </a:lnTo>
                      <a:lnTo>
                        <a:pt x="22358" y="4524"/>
                      </a:lnTo>
                      <a:lnTo>
                        <a:pt x="22370" y="4524"/>
                      </a:lnTo>
                      <a:lnTo>
                        <a:pt x="22370" y="4524"/>
                      </a:lnTo>
                      <a:lnTo>
                        <a:pt x="22370" y="4524"/>
                      </a:lnTo>
                      <a:close/>
                      <a:moveTo>
                        <a:pt x="21366" y="4566"/>
                      </a:moveTo>
                      <a:lnTo>
                        <a:pt x="21359" y="4566"/>
                      </a:lnTo>
                      <a:lnTo>
                        <a:pt x="21366" y="4562"/>
                      </a:lnTo>
                      <a:lnTo>
                        <a:pt x="21366" y="4566"/>
                      </a:lnTo>
                      <a:lnTo>
                        <a:pt x="21366" y="4566"/>
                      </a:lnTo>
                      <a:lnTo>
                        <a:pt x="21366" y="456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54" name="Freeform 546">
                  <a:extLst>
                    <a:ext uri="{FF2B5EF4-FFF2-40B4-BE49-F238E27FC236}">
                      <a16:creationId xmlns:a16="http://schemas.microsoft.com/office/drawing/2014/main" id="{AECC7822-CA70-4DCA-AE82-40DD4A9F28B6}"/>
                    </a:ext>
                  </a:extLst>
                </p:cNvPr>
                <p:cNvSpPr>
                  <a:spLocks/>
                </p:cNvSpPr>
                <p:nvPr/>
              </p:nvSpPr>
              <p:spPr bwMode="gray">
                <a:xfrm>
                  <a:off x="5096433" y="2557357"/>
                  <a:ext cx="6587" cy="8646"/>
                </a:xfrm>
                <a:custGeom>
                  <a:avLst/>
                  <a:gdLst>
                    <a:gd name="T0" fmla="*/ 5 w 16"/>
                    <a:gd name="T1" fmla="*/ 0 h 21"/>
                    <a:gd name="T2" fmla="*/ 5 w 16"/>
                    <a:gd name="T3" fmla="*/ 4 h 21"/>
                    <a:gd name="T4" fmla="*/ 5 w 16"/>
                    <a:gd name="T5" fmla="*/ 4 h 21"/>
                    <a:gd name="T6" fmla="*/ 16 w 16"/>
                    <a:gd name="T7" fmla="*/ 21 h 21"/>
                    <a:gd name="T8" fmla="*/ 5 w 16"/>
                    <a:gd name="T9" fmla="*/ 21 h 21"/>
                    <a:gd name="T10" fmla="*/ 0 w 16"/>
                    <a:gd name="T11" fmla="*/ 0 h 21"/>
                    <a:gd name="T12" fmla="*/ 5 w 16"/>
                    <a:gd name="T13" fmla="*/ 0 h 21"/>
                    <a:gd name="T14" fmla="*/ 5 w 16"/>
                    <a:gd name="T15" fmla="*/ 0 h 21"/>
                    <a:gd name="T16" fmla="*/ 5 w 16"/>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1">
                      <a:moveTo>
                        <a:pt x="5" y="0"/>
                      </a:moveTo>
                      <a:lnTo>
                        <a:pt x="5" y="4"/>
                      </a:lnTo>
                      <a:lnTo>
                        <a:pt x="5" y="4"/>
                      </a:lnTo>
                      <a:lnTo>
                        <a:pt x="16" y="21"/>
                      </a:lnTo>
                      <a:lnTo>
                        <a:pt x="5" y="21"/>
                      </a:lnTo>
                      <a:lnTo>
                        <a:pt x="0" y="0"/>
                      </a:lnTo>
                      <a:lnTo>
                        <a:pt x="5" y="0"/>
                      </a:lnTo>
                      <a:lnTo>
                        <a:pt x="5" y="0"/>
                      </a:lnTo>
                      <a:lnTo>
                        <a:pt x="5"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55" name="Freeform 552">
                  <a:extLst>
                    <a:ext uri="{FF2B5EF4-FFF2-40B4-BE49-F238E27FC236}">
                      <a16:creationId xmlns:a16="http://schemas.microsoft.com/office/drawing/2014/main" id="{CF9D54EF-4A2E-4CB3-9DEB-7D3586FE2B01}"/>
                    </a:ext>
                  </a:extLst>
                </p:cNvPr>
                <p:cNvSpPr>
                  <a:spLocks/>
                </p:cNvSpPr>
                <p:nvPr/>
              </p:nvSpPr>
              <p:spPr bwMode="gray">
                <a:xfrm>
                  <a:off x="7114029" y="2563945"/>
                  <a:ext cx="89745" cy="54346"/>
                </a:xfrm>
                <a:custGeom>
                  <a:avLst/>
                  <a:gdLst>
                    <a:gd name="T0" fmla="*/ 22 w 218"/>
                    <a:gd name="T1" fmla="*/ 28 h 132"/>
                    <a:gd name="T2" fmla="*/ 74 w 218"/>
                    <a:gd name="T3" fmla="*/ 45 h 132"/>
                    <a:gd name="T4" fmla="*/ 102 w 218"/>
                    <a:gd name="T5" fmla="*/ 38 h 132"/>
                    <a:gd name="T6" fmla="*/ 102 w 218"/>
                    <a:gd name="T7" fmla="*/ 21 h 132"/>
                    <a:gd name="T8" fmla="*/ 166 w 218"/>
                    <a:gd name="T9" fmla="*/ 12 h 132"/>
                    <a:gd name="T10" fmla="*/ 180 w 218"/>
                    <a:gd name="T11" fmla="*/ 0 h 132"/>
                    <a:gd name="T12" fmla="*/ 208 w 218"/>
                    <a:gd name="T13" fmla="*/ 5 h 132"/>
                    <a:gd name="T14" fmla="*/ 196 w 218"/>
                    <a:gd name="T15" fmla="*/ 12 h 132"/>
                    <a:gd name="T16" fmla="*/ 218 w 218"/>
                    <a:gd name="T17" fmla="*/ 38 h 132"/>
                    <a:gd name="T18" fmla="*/ 196 w 218"/>
                    <a:gd name="T19" fmla="*/ 28 h 132"/>
                    <a:gd name="T20" fmla="*/ 196 w 218"/>
                    <a:gd name="T21" fmla="*/ 45 h 132"/>
                    <a:gd name="T22" fmla="*/ 154 w 218"/>
                    <a:gd name="T23" fmla="*/ 62 h 132"/>
                    <a:gd name="T24" fmla="*/ 154 w 218"/>
                    <a:gd name="T25" fmla="*/ 66 h 132"/>
                    <a:gd name="T26" fmla="*/ 159 w 218"/>
                    <a:gd name="T27" fmla="*/ 78 h 132"/>
                    <a:gd name="T28" fmla="*/ 159 w 218"/>
                    <a:gd name="T29" fmla="*/ 95 h 132"/>
                    <a:gd name="T30" fmla="*/ 128 w 218"/>
                    <a:gd name="T31" fmla="*/ 99 h 132"/>
                    <a:gd name="T32" fmla="*/ 128 w 218"/>
                    <a:gd name="T33" fmla="*/ 111 h 132"/>
                    <a:gd name="T34" fmla="*/ 137 w 218"/>
                    <a:gd name="T35" fmla="*/ 111 h 132"/>
                    <a:gd name="T36" fmla="*/ 128 w 218"/>
                    <a:gd name="T37" fmla="*/ 123 h 132"/>
                    <a:gd name="T38" fmla="*/ 123 w 218"/>
                    <a:gd name="T39" fmla="*/ 132 h 132"/>
                    <a:gd name="T40" fmla="*/ 102 w 218"/>
                    <a:gd name="T41" fmla="*/ 123 h 132"/>
                    <a:gd name="T42" fmla="*/ 85 w 218"/>
                    <a:gd name="T43" fmla="*/ 111 h 132"/>
                    <a:gd name="T44" fmla="*/ 69 w 218"/>
                    <a:gd name="T45" fmla="*/ 123 h 132"/>
                    <a:gd name="T46" fmla="*/ 15 w 218"/>
                    <a:gd name="T47" fmla="*/ 123 h 132"/>
                    <a:gd name="T48" fmla="*/ 22 w 218"/>
                    <a:gd name="T49" fmla="*/ 116 h 132"/>
                    <a:gd name="T50" fmla="*/ 22 w 218"/>
                    <a:gd name="T51" fmla="*/ 116 h 132"/>
                    <a:gd name="T52" fmla="*/ 36 w 218"/>
                    <a:gd name="T53" fmla="*/ 111 h 132"/>
                    <a:gd name="T54" fmla="*/ 15 w 218"/>
                    <a:gd name="T55" fmla="*/ 95 h 132"/>
                    <a:gd name="T56" fmla="*/ 15 w 218"/>
                    <a:gd name="T57" fmla="*/ 78 h 132"/>
                    <a:gd name="T58" fmla="*/ 5 w 218"/>
                    <a:gd name="T59" fmla="*/ 78 h 132"/>
                    <a:gd name="T60" fmla="*/ 15 w 218"/>
                    <a:gd name="T61" fmla="*/ 62 h 132"/>
                    <a:gd name="T62" fmla="*/ 0 w 218"/>
                    <a:gd name="T63" fmla="*/ 62 h 132"/>
                    <a:gd name="T64" fmla="*/ 0 w 218"/>
                    <a:gd name="T65" fmla="*/ 54 h 132"/>
                    <a:gd name="T66" fmla="*/ 22 w 218"/>
                    <a:gd name="T67" fmla="*/ 28 h 132"/>
                    <a:gd name="T68" fmla="*/ 22 w 218"/>
                    <a:gd name="T69" fmla="*/ 28 h 132"/>
                    <a:gd name="T70" fmla="*/ 22 w 218"/>
                    <a:gd name="T71" fmla="*/ 2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8" h="132">
                      <a:moveTo>
                        <a:pt x="22" y="28"/>
                      </a:moveTo>
                      <a:lnTo>
                        <a:pt x="74" y="45"/>
                      </a:lnTo>
                      <a:lnTo>
                        <a:pt x="102" y="38"/>
                      </a:lnTo>
                      <a:lnTo>
                        <a:pt x="102" y="21"/>
                      </a:lnTo>
                      <a:lnTo>
                        <a:pt x="166" y="12"/>
                      </a:lnTo>
                      <a:lnTo>
                        <a:pt x="180" y="0"/>
                      </a:lnTo>
                      <a:lnTo>
                        <a:pt x="208" y="5"/>
                      </a:lnTo>
                      <a:lnTo>
                        <a:pt x="196" y="12"/>
                      </a:lnTo>
                      <a:lnTo>
                        <a:pt x="218" y="38"/>
                      </a:lnTo>
                      <a:lnTo>
                        <a:pt x="196" y="28"/>
                      </a:lnTo>
                      <a:lnTo>
                        <a:pt x="196" y="45"/>
                      </a:lnTo>
                      <a:lnTo>
                        <a:pt x="154" y="62"/>
                      </a:lnTo>
                      <a:lnTo>
                        <a:pt x="154" y="66"/>
                      </a:lnTo>
                      <a:lnTo>
                        <a:pt x="159" y="78"/>
                      </a:lnTo>
                      <a:lnTo>
                        <a:pt x="159" y="95"/>
                      </a:lnTo>
                      <a:lnTo>
                        <a:pt x="128" y="99"/>
                      </a:lnTo>
                      <a:lnTo>
                        <a:pt x="128" y="111"/>
                      </a:lnTo>
                      <a:lnTo>
                        <a:pt x="137" y="111"/>
                      </a:lnTo>
                      <a:lnTo>
                        <a:pt x="128" y="123"/>
                      </a:lnTo>
                      <a:lnTo>
                        <a:pt x="123" y="132"/>
                      </a:lnTo>
                      <a:lnTo>
                        <a:pt x="102" y="123"/>
                      </a:lnTo>
                      <a:lnTo>
                        <a:pt x="85" y="111"/>
                      </a:lnTo>
                      <a:lnTo>
                        <a:pt x="69" y="123"/>
                      </a:lnTo>
                      <a:lnTo>
                        <a:pt x="15" y="123"/>
                      </a:lnTo>
                      <a:lnTo>
                        <a:pt x="22" y="116"/>
                      </a:lnTo>
                      <a:lnTo>
                        <a:pt x="22" y="116"/>
                      </a:lnTo>
                      <a:lnTo>
                        <a:pt x="36" y="111"/>
                      </a:lnTo>
                      <a:lnTo>
                        <a:pt x="15" y="95"/>
                      </a:lnTo>
                      <a:lnTo>
                        <a:pt x="15" y="78"/>
                      </a:lnTo>
                      <a:lnTo>
                        <a:pt x="5" y="78"/>
                      </a:lnTo>
                      <a:lnTo>
                        <a:pt x="15" y="62"/>
                      </a:lnTo>
                      <a:lnTo>
                        <a:pt x="0" y="62"/>
                      </a:lnTo>
                      <a:lnTo>
                        <a:pt x="0" y="54"/>
                      </a:lnTo>
                      <a:lnTo>
                        <a:pt x="22" y="28"/>
                      </a:lnTo>
                      <a:lnTo>
                        <a:pt x="22" y="28"/>
                      </a:lnTo>
                      <a:lnTo>
                        <a:pt x="22" y="2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56" name="Freeform 554">
                  <a:extLst>
                    <a:ext uri="{FF2B5EF4-FFF2-40B4-BE49-F238E27FC236}">
                      <a16:creationId xmlns:a16="http://schemas.microsoft.com/office/drawing/2014/main" id="{2F2DC04A-64C4-4E76-BFBB-5B2370180912}"/>
                    </a:ext>
                  </a:extLst>
                </p:cNvPr>
                <p:cNvSpPr>
                  <a:spLocks/>
                </p:cNvSpPr>
                <p:nvPr/>
              </p:nvSpPr>
              <p:spPr bwMode="gray">
                <a:xfrm>
                  <a:off x="7083977" y="2670169"/>
                  <a:ext cx="4940" cy="3706"/>
                </a:xfrm>
                <a:custGeom>
                  <a:avLst/>
                  <a:gdLst>
                    <a:gd name="T0" fmla="*/ 0 w 12"/>
                    <a:gd name="T1" fmla="*/ 0 h 9"/>
                    <a:gd name="T2" fmla="*/ 12 w 12"/>
                    <a:gd name="T3" fmla="*/ 0 h 9"/>
                    <a:gd name="T4" fmla="*/ 0 w 12"/>
                    <a:gd name="T5" fmla="*/ 9 h 9"/>
                    <a:gd name="T6" fmla="*/ 0 w 12"/>
                    <a:gd name="T7" fmla="*/ 0 h 9"/>
                    <a:gd name="T8" fmla="*/ 0 w 12"/>
                    <a:gd name="T9" fmla="*/ 0 h 9"/>
                    <a:gd name="T10" fmla="*/ 0 w 12"/>
                    <a:gd name="T11" fmla="*/ 0 h 9"/>
                  </a:gdLst>
                  <a:ahLst/>
                  <a:cxnLst>
                    <a:cxn ang="0">
                      <a:pos x="T0" y="T1"/>
                    </a:cxn>
                    <a:cxn ang="0">
                      <a:pos x="T2" y="T3"/>
                    </a:cxn>
                    <a:cxn ang="0">
                      <a:pos x="T4" y="T5"/>
                    </a:cxn>
                    <a:cxn ang="0">
                      <a:pos x="T6" y="T7"/>
                    </a:cxn>
                    <a:cxn ang="0">
                      <a:pos x="T8" y="T9"/>
                    </a:cxn>
                    <a:cxn ang="0">
                      <a:pos x="T10" y="T11"/>
                    </a:cxn>
                  </a:cxnLst>
                  <a:rect l="0" t="0" r="r" b="b"/>
                  <a:pathLst>
                    <a:path w="12" h="9">
                      <a:moveTo>
                        <a:pt x="0" y="0"/>
                      </a:moveTo>
                      <a:lnTo>
                        <a:pt x="12" y="0"/>
                      </a:lnTo>
                      <a:lnTo>
                        <a:pt x="0" y="9"/>
                      </a:lnTo>
                      <a:lnTo>
                        <a:pt x="0" y="0"/>
                      </a:lnTo>
                      <a:lnTo>
                        <a:pt x="0" y="0"/>
                      </a:lnTo>
                      <a:lnTo>
                        <a:pt x="0"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57" name="Freeform 558">
                  <a:extLst>
                    <a:ext uri="{FF2B5EF4-FFF2-40B4-BE49-F238E27FC236}">
                      <a16:creationId xmlns:a16="http://schemas.microsoft.com/office/drawing/2014/main" id="{22BB5B9B-3D0D-4A12-8661-15D556B79DB4}"/>
                    </a:ext>
                  </a:extLst>
                </p:cNvPr>
                <p:cNvSpPr>
                  <a:spLocks/>
                </p:cNvSpPr>
                <p:nvPr/>
              </p:nvSpPr>
              <p:spPr bwMode="gray">
                <a:xfrm>
                  <a:off x="7269639" y="2588237"/>
                  <a:ext cx="119796" cy="157688"/>
                </a:xfrm>
                <a:custGeom>
                  <a:avLst/>
                  <a:gdLst>
                    <a:gd name="T0" fmla="*/ 90 w 291"/>
                    <a:gd name="T1" fmla="*/ 317 h 383"/>
                    <a:gd name="T2" fmla="*/ 102 w 291"/>
                    <a:gd name="T3" fmla="*/ 300 h 383"/>
                    <a:gd name="T4" fmla="*/ 107 w 291"/>
                    <a:gd name="T5" fmla="*/ 295 h 383"/>
                    <a:gd name="T6" fmla="*/ 31 w 291"/>
                    <a:gd name="T7" fmla="*/ 239 h 383"/>
                    <a:gd name="T8" fmla="*/ 48 w 291"/>
                    <a:gd name="T9" fmla="*/ 222 h 383"/>
                    <a:gd name="T10" fmla="*/ 48 w 291"/>
                    <a:gd name="T11" fmla="*/ 201 h 383"/>
                    <a:gd name="T12" fmla="*/ 22 w 291"/>
                    <a:gd name="T13" fmla="*/ 168 h 383"/>
                    <a:gd name="T14" fmla="*/ 14 w 291"/>
                    <a:gd name="T15" fmla="*/ 118 h 383"/>
                    <a:gd name="T16" fmla="*/ 48 w 291"/>
                    <a:gd name="T17" fmla="*/ 90 h 383"/>
                    <a:gd name="T18" fmla="*/ 14 w 291"/>
                    <a:gd name="T19" fmla="*/ 62 h 383"/>
                    <a:gd name="T20" fmla="*/ 5 w 291"/>
                    <a:gd name="T21" fmla="*/ 57 h 383"/>
                    <a:gd name="T22" fmla="*/ 0 w 291"/>
                    <a:gd name="T23" fmla="*/ 24 h 383"/>
                    <a:gd name="T24" fmla="*/ 31 w 291"/>
                    <a:gd name="T25" fmla="*/ 17 h 383"/>
                    <a:gd name="T26" fmla="*/ 102 w 291"/>
                    <a:gd name="T27" fmla="*/ 7 h 383"/>
                    <a:gd name="T28" fmla="*/ 140 w 291"/>
                    <a:gd name="T29" fmla="*/ 40 h 383"/>
                    <a:gd name="T30" fmla="*/ 194 w 291"/>
                    <a:gd name="T31" fmla="*/ 95 h 383"/>
                    <a:gd name="T32" fmla="*/ 194 w 291"/>
                    <a:gd name="T33" fmla="*/ 118 h 383"/>
                    <a:gd name="T34" fmla="*/ 182 w 291"/>
                    <a:gd name="T35" fmla="*/ 128 h 383"/>
                    <a:gd name="T36" fmla="*/ 199 w 291"/>
                    <a:gd name="T37" fmla="*/ 135 h 383"/>
                    <a:gd name="T38" fmla="*/ 232 w 291"/>
                    <a:gd name="T39" fmla="*/ 151 h 383"/>
                    <a:gd name="T40" fmla="*/ 253 w 291"/>
                    <a:gd name="T41" fmla="*/ 135 h 383"/>
                    <a:gd name="T42" fmla="*/ 253 w 291"/>
                    <a:gd name="T43" fmla="*/ 151 h 383"/>
                    <a:gd name="T44" fmla="*/ 253 w 291"/>
                    <a:gd name="T45" fmla="*/ 201 h 383"/>
                    <a:gd name="T46" fmla="*/ 265 w 291"/>
                    <a:gd name="T47" fmla="*/ 246 h 383"/>
                    <a:gd name="T48" fmla="*/ 279 w 291"/>
                    <a:gd name="T49" fmla="*/ 295 h 383"/>
                    <a:gd name="T50" fmla="*/ 253 w 291"/>
                    <a:gd name="T51" fmla="*/ 317 h 383"/>
                    <a:gd name="T52" fmla="*/ 248 w 291"/>
                    <a:gd name="T53" fmla="*/ 338 h 383"/>
                    <a:gd name="T54" fmla="*/ 199 w 291"/>
                    <a:gd name="T55" fmla="*/ 350 h 383"/>
                    <a:gd name="T56" fmla="*/ 177 w 291"/>
                    <a:gd name="T57" fmla="*/ 354 h 383"/>
                    <a:gd name="T58" fmla="*/ 140 w 291"/>
                    <a:gd name="T59" fmla="*/ 366 h 383"/>
                    <a:gd name="T60" fmla="*/ 123 w 291"/>
                    <a:gd name="T61" fmla="*/ 383 h 383"/>
                    <a:gd name="T62" fmla="*/ 102 w 291"/>
                    <a:gd name="T63" fmla="*/ 338 h 383"/>
                    <a:gd name="T64" fmla="*/ 85 w 291"/>
                    <a:gd name="T65" fmla="*/ 32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1" h="383">
                      <a:moveTo>
                        <a:pt x="85" y="329"/>
                      </a:moveTo>
                      <a:lnTo>
                        <a:pt x="90" y="317"/>
                      </a:lnTo>
                      <a:lnTo>
                        <a:pt x="85" y="312"/>
                      </a:lnTo>
                      <a:lnTo>
                        <a:pt x="102" y="300"/>
                      </a:lnTo>
                      <a:lnTo>
                        <a:pt x="107" y="300"/>
                      </a:lnTo>
                      <a:lnTo>
                        <a:pt x="107" y="295"/>
                      </a:lnTo>
                      <a:lnTo>
                        <a:pt x="64" y="272"/>
                      </a:lnTo>
                      <a:lnTo>
                        <a:pt x="31" y="239"/>
                      </a:lnTo>
                      <a:lnTo>
                        <a:pt x="48" y="239"/>
                      </a:lnTo>
                      <a:lnTo>
                        <a:pt x="48" y="222"/>
                      </a:lnTo>
                      <a:lnTo>
                        <a:pt x="31" y="201"/>
                      </a:lnTo>
                      <a:lnTo>
                        <a:pt x="48" y="201"/>
                      </a:lnTo>
                      <a:lnTo>
                        <a:pt x="52" y="189"/>
                      </a:lnTo>
                      <a:lnTo>
                        <a:pt x="22" y="168"/>
                      </a:lnTo>
                      <a:lnTo>
                        <a:pt x="38" y="118"/>
                      </a:lnTo>
                      <a:lnTo>
                        <a:pt x="14" y="118"/>
                      </a:lnTo>
                      <a:lnTo>
                        <a:pt x="22" y="90"/>
                      </a:lnTo>
                      <a:lnTo>
                        <a:pt x="48" y="90"/>
                      </a:lnTo>
                      <a:lnTo>
                        <a:pt x="14" y="73"/>
                      </a:lnTo>
                      <a:lnTo>
                        <a:pt x="14" y="62"/>
                      </a:lnTo>
                      <a:lnTo>
                        <a:pt x="22" y="62"/>
                      </a:lnTo>
                      <a:lnTo>
                        <a:pt x="5" y="57"/>
                      </a:lnTo>
                      <a:lnTo>
                        <a:pt x="5" y="40"/>
                      </a:lnTo>
                      <a:lnTo>
                        <a:pt x="0" y="24"/>
                      </a:lnTo>
                      <a:lnTo>
                        <a:pt x="22" y="17"/>
                      </a:lnTo>
                      <a:lnTo>
                        <a:pt x="31" y="17"/>
                      </a:lnTo>
                      <a:lnTo>
                        <a:pt x="52" y="0"/>
                      </a:lnTo>
                      <a:lnTo>
                        <a:pt x="102" y="7"/>
                      </a:lnTo>
                      <a:lnTo>
                        <a:pt x="128" y="40"/>
                      </a:lnTo>
                      <a:lnTo>
                        <a:pt x="140" y="40"/>
                      </a:lnTo>
                      <a:lnTo>
                        <a:pt x="140" y="62"/>
                      </a:lnTo>
                      <a:lnTo>
                        <a:pt x="194" y="95"/>
                      </a:lnTo>
                      <a:lnTo>
                        <a:pt x="177" y="111"/>
                      </a:lnTo>
                      <a:lnTo>
                        <a:pt x="194" y="118"/>
                      </a:lnTo>
                      <a:lnTo>
                        <a:pt x="177" y="118"/>
                      </a:lnTo>
                      <a:lnTo>
                        <a:pt x="182" y="128"/>
                      </a:lnTo>
                      <a:lnTo>
                        <a:pt x="194" y="128"/>
                      </a:lnTo>
                      <a:lnTo>
                        <a:pt x="199" y="135"/>
                      </a:lnTo>
                      <a:lnTo>
                        <a:pt x="227" y="144"/>
                      </a:lnTo>
                      <a:lnTo>
                        <a:pt x="232" y="151"/>
                      </a:lnTo>
                      <a:lnTo>
                        <a:pt x="248" y="135"/>
                      </a:lnTo>
                      <a:lnTo>
                        <a:pt x="253" y="135"/>
                      </a:lnTo>
                      <a:lnTo>
                        <a:pt x="279" y="151"/>
                      </a:lnTo>
                      <a:lnTo>
                        <a:pt x="253" y="151"/>
                      </a:lnTo>
                      <a:lnTo>
                        <a:pt x="270" y="173"/>
                      </a:lnTo>
                      <a:lnTo>
                        <a:pt x="253" y="201"/>
                      </a:lnTo>
                      <a:lnTo>
                        <a:pt x="248" y="217"/>
                      </a:lnTo>
                      <a:lnTo>
                        <a:pt x="265" y="246"/>
                      </a:lnTo>
                      <a:lnTo>
                        <a:pt x="291" y="272"/>
                      </a:lnTo>
                      <a:lnTo>
                        <a:pt x="279" y="295"/>
                      </a:lnTo>
                      <a:lnTo>
                        <a:pt x="253" y="300"/>
                      </a:lnTo>
                      <a:lnTo>
                        <a:pt x="253" y="317"/>
                      </a:lnTo>
                      <a:lnTo>
                        <a:pt x="265" y="333"/>
                      </a:lnTo>
                      <a:lnTo>
                        <a:pt x="248" y="338"/>
                      </a:lnTo>
                      <a:lnTo>
                        <a:pt x="215" y="338"/>
                      </a:lnTo>
                      <a:lnTo>
                        <a:pt x="199" y="350"/>
                      </a:lnTo>
                      <a:lnTo>
                        <a:pt x="182" y="350"/>
                      </a:lnTo>
                      <a:lnTo>
                        <a:pt x="177" y="354"/>
                      </a:lnTo>
                      <a:lnTo>
                        <a:pt x="161" y="354"/>
                      </a:lnTo>
                      <a:lnTo>
                        <a:pt x="140" y="366"/>
                      </a:lnTo>
                      <a:lnTo>
                        <a:pt x="128" y="383"/>
                      </a:lnTo>
                      <a:lnTo>
                        <a:pt x="123" y="383"/>
                      </a:lnTo>
                      <a:lnTo>
                        <a:pt x="123" y="350"/>
                      </a:lnTo>
                      <a:lnTo>
                        <a:pt x="102" y="338"/>
                      </a:lnTo>
                      <a:lnTo>
                        <a:pt x="85" y="329"/>
                      </a:lnTo>
                      <a:lnTo>
                        <a:pt x="85" y="329"/>
                      </a:lnTo>
                      <a:lnTo>
                        <a:pt x="85" y="32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58" name="Freeform 560">
                  <a:extLst>
                    <a:ext uri="{FF2B5EF4-FFF2-40B4-BE49-F238E27FC236}">
                      <a16:creationId xmlns:a16="http://schemas.microsoft.com/office/drawing/2014/main" id="{9F496C91-95E3-4C82-B738-48E03E3BE476}"/>
                    </a:ext>
                  </a:extLst>
                </p:cNvPr>
                <p:cNvSpPr>
                  <a:spLocks noEditPoints="1"/>
                </p:cNvSpPr>
                <p:nvPr/>
              </p:nvSpPr>
              <p:spPr bwMode="gray">
                <a:xfrm>
                  <a:off x="7027578" y="899789"/>
                  <a:ext cx="761590" cy="406775"/>
                </a:xfrm>
                <a:custGeom>
                  <a:avLst/>
                  <a:gdLst>
                    <a:gd name="T0" fmla="*/ 749 w 1850"/>
                    <a:gd name="T1" fmla="*/ 22 h 988"/>
                    <a:gd name="T2" fmla="*/ 706 w 1850"/>
                    <a:gd name="T3" fmla="*/ 17 h 988"/>
                    <a:gd name="T4" fmla="*/ 678 w 1850"/>
                    <a:gd name="T5" fmla="*/ 38 h 988"/>
                    <a:gd name="T6" fmla="*/ 959 w 1850"/>
                    <a:gd name="T7" fmla="*/ 43 h 988"/>
                    <a:gd name="T8" fmla="*/ 834 w 1850"/>
                    <a:gd name="T9" fmla="*/ 60 h 988"/>
                    <a:gd name="T10" fmla="*/ 905 w 1850"/>
                    <a:gd name="T11" fmla="*/ 71 h 988"/>
                    <a:gd name="T12" fmla="*/ 933 w 1850"/>
                    <a:gd name="T13" fmla="*/ 78 h 988"/>
                    <a:gd name="T14" fmla="*/ 1013 w 1850"/>
                    <a:gd name="T15" fmla="*/ 78 h 988"/>
                    <a:gd name="T16" fmla="*/ 1082 w 1850"/>
                    <a:gd name="T17" fmla="*/ 187 h 988"/>
                    <a:gd name="T18" fmla="*/ 921 w 1850"/>
                    <a:gd name="T19" fmla="*/ 260 h 988"/>
                    <a:gd name="T20" fmla="*/ 690 w 1850"/>
                    <a:gd name="T21" fmla="*/ 187 h 988"/>
                    <a:gd name="T22" fmla="*/ 586 w 1850"/>
                    <a:gd name="T23" fmla="*/ 128 h 988"/>
                    <a:gd name="T24" fmla="*/ 657 w 1850"/>
                    <a:gd name="T25" fmla="*/ 95 h 988"/>
                    <a:gd name="T26" fmla="*/ 728 w 1850"/>
                    <a:gd name="T27" fmla="*/ 78 h 988"/>
                    <a:gd name="T28" fmla="*/ 825 w 1850"/>
                    <a:gd name="T29" fmla="*/ 133 h 988"/>
                    <a:gd name="T30" fmla="*/ 980 w 1850"/>
                    <a:gd name="T31" fmla="*/ 60 h 988"/>
                    <a:gd name="T32" fmla="*/ 586 w 1850"/>
                    <a:gd name="T33" fmla="*/ 78 h 988"/>
                    <a:gd name="T34" fmla="*/ 1481 w 1850"/>
                    <a:gd name="T35" fmla="*/ 116 h 988"/>
                    <a:gd name="T36" fmla="*/ 1219 w 1850"/>
                    <a:gd name="T37" fmla="*/ 100 h 988"/>
                    <a:gd name="T38" fmla="*/ 1843 w 1850"/>
                    <a:gd name="T39" fmla="*/ 100 h 988"/>
                    <a:gd name="T40" fmla="*/ 85 w 1850"/>
                    <a:gd name="T41" fmla="*/ 334 h 988"/>
                    <a:gd name="T42" fmla="*/ 118 w 1850"/>
                    <a:gd name="T43" fmla="*/ 244 h 988"/>
                    <a:gd name="T44" fmla="*/ 31 w 1850"/>
                    <a:gd name="T45" fmla="*/ 227 h 988"/>
                    <a:gd name="T46" fmla="*/ 85 w 1850"/>
                    <a:gd name="T47" fmla="*/ 154 h 988"/>
                    <a:gd name="T48" fmla="*/ 139 w 1850"/>
                    <a:gd name="T49" fmla="*/ 194 h 988"/>
                    <a:gd name="T50" fmla="*/ 295 w 1850"/>
                    <a:gd name="T51" fmla="*/ 154 h 988"/>
                    <a:gd name="T52" fmla="*/ 388 w 1850"/>
                    <a:gd name="T53" fmla="*/ 239 h 988"/>
                    <a:gd name="T54" fmla="*/ 458 w 1850"/>
                    <a:gd name="T55" fmla="*/ 133 h 988"/>
                    <a:gd name="T56" fmla="*/ 555 w 1850"/>
                    <a:gd name="T57" fmla="*/ 187 h 988"/>
                    <a:gd name="T58" fmla="*/ 652 w 1850"/>
                    <a:gd name="T59" fmla="*/ 350 h 988"/>
                    <a:gd name="T60" fmla="*/ 555 w 1850"/>
                    <a:gd name="T61" fmla="*/ 442 h 988"/>
                    <a:gd name="T62" fmla="*/ 480 w 1850"/>
                    <a:gd name="T63" fmla="*/ 598 h 988"/>
                    <a:gd name="T64" fmla="*/ 350 w 1850"/>
                    <a:gd name="T65" fmla="*/ 598 h 988"/>
                    <a:gd name="T66" fmla="*/ 286 w 1850"/>
                    <a:gd name="T67" fmla="*/ 520 h 988"/>
                    <a:gd name="T68" fmla="*/ 248 w 1850"/>
                    <a:gd name="T69" fmla="*/ 487 h 988"/>
                    <a:gd name="T70" fmla="*/ 265 w 1850"/>
                    <a:gd name="T71" fmla="*/ 433 h 988"/>
                    <a:gd name="T72" fmla="*/ 480 w 1850"/>
                    <a:gd name="T73" fmla="*/ 376 h 988"/>
                    <a:gd name="T74" fmla="*/ 350 w 1850"/>
                    <a:gd name="T75" fmla="*/ 350 h 988"/>
                    <a:gd name="T76" fmla="*/ 286 w 1850"/>
                    <a:gd name="T77" fmla="*/ 355 h 988"/>
                    <a:gd name="T78" fmla="*/ 227 w 1850"/>
                    <a:gd name="T79" fmla="*/ 416 h 988"/>
                    <a:gd name="T80" fmla="*/ 662 w 1850"/>
                    <a:gd name="T81" fmla="*/ 249 h 988"/>
                    <a:gd name="T82" fmla="*/ 673 w 1850"/>
                    <a:gd name="T83" fmla="*/ 282 h 988"/>
                    <a:gd name="T84" fmla="*/ 732 w 1850"/>
                    <a:gd name="T85" fmla="*/ 282 h 988"/>
                    <a:gd name="T86" fmla="*/ 1396 w 1850"/>
                    <a:gd name="T87" fmla="*/ 293 h 988"/>
                    <a:gd name="T88" fmla="*/ 1354 w 1850"/>
                    <a:gd name="T89" fmla="*/ 305 h 988"/>
                    <a:gd name="T90" fmla="*/ 47 w 1850"/>
                    <a:gd name="T91" fmla="*/ 371 h 988"/>
                    <a:gd name="T92" fmla="*/ 97 w 1850"/>
                    <a:gd name="T93" fmla="*/ 376 h 988"/>
                    <a:gd name="T94" fmla="*/ 1136 w 1850"/>
                    <a:gd name="T95" fmla="*/ 315 h 988"/>
                    <a:gd name="T96" fmla="*/ 813 w 1850"/>
                    <a:gd name="T97" fmla="*/ 355 h 988"/>
                    <a:gd name="T98" fmla="*/ 678 w 1850"/>
                    <a:gd name="T99" fmla="*/ 371 h 988"/>
                    <a:gd name="T100" fmla="*/ 841 w 1850"/>
                    <a:gd name="T101" fmla="*/ 537 h 988"/>
                    <a:gd name="T102" fmla="*/ 732 w 1850"/>
                    <a:gd name="T103" fmla="*/ 433 h 988"/>
                    <a:gd name="T104" fmla="*/ 1013 w 1850"/>
                    <a:gd name="T105" fmla="*/ 482 h 988"/>
                    <a:gd name="T106" fmla="*/ 879 w 1850"/>
                    <a:gd name="T107" fmla="*/ 560 h 988"/>
                    <a:gd name="T108" fmla="*/ 1068 w 1850"/>
                    <a:gd name="T109" fmla="*/ 648 h 988"/>
                    <a:gd name="T110" fmla="*/ 602 w 1850"/>
                    <a:gd name="T111" fmla="*/ 988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50" h="988">
                      <a:moveTo>
                        <a:pt x="728" y="17"/>
                      </a:moveTo>
                      <a:lnTo>
                        <a:pt x="711" y="0"/>
                      </a:lnTo>
                      <a:lnTo>
                        <a:pt x="744" y="5"/>
                      </a:lnTo>
                      <a:lnTo>
                        <a:pt x="728" y="17"/>
                      </a:lnTo>
                      <a:lnTo>
                        <a:pt x="728" y="17"/>
                      </a:lnTo>
                      <a:lnTo>
                        <a:pt x="728" y="17"/>
                      </a:lnTo>
                      <a:close/>
                      <a:moveTo>
                        <a:pt x="749" y="22"/>
                      </a:moveTo>
                      <a:lnTo>
                        <a:pt x="744" y="17"/>
                      </a:lnTo>
                      <a:lnTo>
                        <a:pt x="765" y="17"/>
                      </a:lnTo>
                      <a:lnTo>
                        <a:pt x="749" y="22"/>
                      </a:lnTo>
                      <a:lnTo>
                        <a:pt x="749" y="22"/>
                      </a:lnTo>
                      <a:lnTo>
                        <a:pt x="749" y="22"/>
                      </a:lnTo>
                      <a:close/>
                      <a:moveTo>
                        <a:pt x="716" y="22"/>
                      </a:moveTo>
                      <a:lnTo>
                        <a:pt x="706" y="17"/>
                      </a:lnTo>
                      <a:lnTo>
                        <a:pt x="728" y="22"/>
                      </a:lnTo>
                      <a:lnTo>
                        <a:pt x="716" y="22"/>
                      </a:lnTo>
                      <a:lnTo>
                        <a:pt x="716" y="22"/>
                      </a:lnTo>
                      <a:lnTo>
                        <a:pt x="716" y="22"/>
                      </a:lnTo>
                      <a:close/>
                      <a:moveTo>
                        <a:pt x="673" y="43"/>
                      </a:moveTo>
                      <a:lnTo>
                        <a:pt x="657" y="43"/>
                      </a:lnTo>
                      <a:lnTo>
                        <a:pt x="678" y="38"/>
                      </a:lnTo>
                      <a:lnTo>
                        <a:pt x="673" y="43"/>
                      </a:lnTo>
                      <a:lnTo>
                        <a:pt x="673" y="43"/>
                      </a:lnTo>
                      <a:lnTo>
                        <a:pt x="673" y="43"/>
                      </a:lnTo>
                      <a:close/>
                      <a:moveTo>
                        <a:pt x="959" y="43"/>
                      </a:moveTo>
                      <a:lnTo>
                        <a:pt x="976" y="43"/>
                      </a:lnTo>
                      <a:lnTo>
                        <a:pt x="947" y="43"/>
                      </a:lnTo>
                      <a:lnTo>
                        <a:pt x="959" y="43"/>
                      </a:lnTo>
                      <a:lnTo>
                        <a:pt x="959" y="43"/>
                      </a:lnTo>
                      <a:lnTo>
                        <a:pt x="959" y="43"/>
                      </a:lnTo>
                      <a:close/>
                      <a:moveTo>
                        <a:pt x="834" y="128"/>
                      </a:moveTo>
                      <a:lnTo>
                        <a:pt x="841" y="83"/>
                      </a:lnTo>
                      <a:lnTo>
                        <a:pt x="851" y="78"/>
                      </a:lnTo>
                      <a:lnTo>
                        <a:pt x="834" y="71"/>
                      </a:lnTo>
                      <a:lnTo>
                        <a:pt x="834" y="60"/>
                      </a:lnTo>
                      <a:lnTo>
                        <a:pt x="858" y="55"/>
                      </a:lnTo>
                      <a:lnTo>
                        <a:pt x="858" y="71"/>
                      </a:lnTo>
                      <a:lnTo>
                        <a:pt x="867" y="71"/>
                      </a:lnTo>
                      <a:lnTo>
                        <a:pt x="872" y="43"/>
                      </a:lnTo>
                      <a:lnTo>
                        <a:pt x="905" y="55"/>
                      </a:lnTo>
                      <a:lnTo>
                        <a:pt x="888" y="60"/>
                      </a:lnTo>
                      <a:lnTo>
                        <a:pt x="905" y="71"/>
                      </a:lnTo>
                      <a:lnTo>
                        <a:pt x="888" y="83"/>
                      </a:lnTo>
                      <a:lnTo>
                        <a:pt x="879" y="100"/>
                      </a:lnTo>
                      <a:lnTo>
                        <a:pt x="888" y="112"/>
                      </a:lnTo>
                      <a:lnTo>
                        <a:pt x="910" y="95"/>
                      </a:lnTo>
                      <a:lnTo>
                        <a:pt x="926" y="100"/>
                      </a:lnTo>
                      <a:lnTo>
                        <a:pt x="933" y="95"/>
                      </a:lnTo>
                      <a:lnTo>
                        <a:pt x="933" y="78"/>
                      </a:lnTo>
                      <a:lnTo>
                        <a:pt x="980" y="78"/>
                      </a:lnTo>
                      <a:lnTo>
                        <a:pt x="964" y="71"/>
                      </a:lnTo>
                      <a:lnTo>
                        <a:pt x="997" y="78"/>
                      </a:lnTo>
                      <a:lnTo>
                        <a:pt x="980" y="83"/>
                      </a:lnTo>
                      <a:lnTo>
                        <a:pt x="985" y="83"/>
                      </a:lnTo>
                      <a:lnTo>
                        <a:pt x="1013" y="71"/>
                      </a:lnTo>
                      <a:lnTo>
                        <a:pt x="1013" y="78"/>
                      </a:lnTo>
                      <a:lnTo>
                        <a:pt x="1002" y="83"/>
                      </a:lnTo>
                      <a:lnTo>
                        <a:pt x="1039" y="78"/>
                      </a:lnTo>
                      <a:lnTo>
                        <a:pt x="1035" y="83"/>
                      </a:lnTo>
                      <a:lnTo>
                        <a:pt x="1174" y="112"/>
                      </a:lnTo>
                      <a:lnTo>
                        <a:pt x="1165" y="133"/>
                      </a:lnTo>
                      <a:lnTo>
                        <a:pt x="1181" y="138"/>
                      </a:lnTo>
                      <a:lnTo>
                        <a:pt x="1082" y="187"/>
                      </a:lnTo>
                      <a:lnTo>
                        <a:pt x="1089" y="206"/>
                      </a:lnTo>
                      <a:lnTo>
                        <a:pt x="1073" y="223"/>
                      </a:lnTo>
                      <a:lnTo>
                        <a:pt x="1035" y="239"/>
                      </a:lnTo>
                      <a:lnTo>
                        <a:pt x="1002" y="227"/>
                      </a:lnTo>
                      <a:lnTo>
                        <a:pt x="976" y="239"/>
                      </a:lnTo>
                      <a:lnTo>
                        <a:pt x="959" y="260"/>
                      </a:lnTo>
                      <a:lnTo>
                        <a:pt x="921" y="260"/>
                      </a:lnTo>
                      <a:lnTo>
                        <a:pt x="858" y="239"/>
                      </a:lnTo>
                      <a:lnTo>
                        <a:pt x="872" y="223"/>
                      </a:lnTo>
                      <a:lnTo>
                        <a:pt x="728" y="227"/>
                      </a:lnTo>
                      <a:lnTo>
                        <a:pt x="728" y="211"/>
                      </a:lnTo>
                      <a:lnTo>
                        <a:pt x="690" y="211"/>
                      </a:lnTo>
                      <a:lnTo>
                        <a:pt x="640" y="187"/>
                      </a:lnTo>
                      <a:lnTo>
                        <a:pt x="690" y="187"/>
                      </a:lnTo>
                      <a:lnTo>
                        <a:pt x="749" y="194"/>
                      </a:lnTo>
                      <a:lnTo>
                        <a:pt x="706" y="182"/>
                      </a:lnTo>
                      <a:lnTo>
                        <a:pt x="803" y="171"/>
                      </a:lnTo>
                      <a:lnTo>
                        <a:pt x="834" y="154"/>
                      </a:lnTo>
                      <a:lnTo>
                        <a:pt x="586" y="171"/>
                      </a:lnTo>
                      <a:lnTo>
                        <a:pt x="539" y="138"/>
                      </a:lnTo>
                      <a:lnTo>
                        <a:pt x="586" y="128"/>
                      </a:lnTo>
                      <a:lnTo>
                        <a:pt x="517" y="112"/>
                      </a:lnTo>
                      <a:lnTo>
                        <a:pt x="581" y="95"/>
                      </a:lnTo>
                      <a:lnTo>
                        <a:pt x="624" y="112"/>
                      </a:lnTo>
                      <a:lnTo>
                        <a:pt x="640" y="100"/>
                      </a:lnTo>
                      <a:lnTo>
                        <a:pt x="619" y="95"/>
                      </a:lnTo>
                      <a:lnTo>
                        <a:pt x="602" y="71"/>
                      </a:lnTo>
                      <a:lnTo>
                        <a:pt x="657" y="95"/>
                      </a:lnTo>
                      <a:lnTo>
                        <a:pt x="657" y="78"/>
                      </a:lnTo>
                      <a:lnTo>
                        <a:pt x="662" y="60"/>
                      </a:lnTo>
                      <a:lnTo>
                        <a:pt x="636" y="55"/>
                      </a:lnTo>
                      <a:lnTo>
                        <a:pt x="652" y="43"/>
                      </a:lnTo>
                      <a:lnTo>
                        <a:pt x="706" y="60"/>
                      </a:lnTo>
                      <a:lnTo>
                        <a:pt x="711" y="78"/>
                      </a:lnTo>
                      <a:lnTo>
                        <a:pt x="728" y="78"/>
                      </a:lnTo>
                      <a:lnTo>
                        <a:pt x="728" y="83"/>
                      </a:lnTo>
                      <a:lnTo>
                        <a:pt x="728" y="95"/>
                      </a:lnTo>
                      <a:lnTo>
                        <a:pt x="803" y="83"/>
                      </a:lnTo>
                      <a:lnTo>
                        <a:pt x="803" y="95"/>
                      </a:lnTo>
                      <a:lnTo>
                        <a:pt x="782" y="112"/>
                      </a:lnTo>
                      <a:lnTo>
                        <a:pt x="803" y="100"/>
                      </a:lnTo>
                      <a:lnTo>
                        <a:pt x="825" y="133"/>
                      </a:lnTo>
                      <a:lnTo>
                        <a:pt x="834" y="128"/>
                      </a:lnTo>
                      <a:lnTo>
                        <a:pt x="834" y="128"/>
                      </a:lnTo>
                      <a:lnTo>
                        <a:pt x="834" y="128"/>
                      </a:lnTo>
                      <a:close/>
                      <a:moveTo>
                        <a:pt x="976" y="60"/>
                      </a:moveTo>
                      <a:lnTo>
                        <a:pt x="959" y="60"/>
                      </a:lnTo>
                      <a:lnTo>
                        <a:pt x="964" y="55"/>
                      </a:lnTo>
                      <a:lnTo>
                        <a:pt x="980" y="60"/>
                      </a:lnTo>
                      <a:lnTo>
                        <a:pt x="976" y="60"/>
                      </a:lnTo>
                      <a:lnTo>
                        <a:pt x="976" y="60"/>
                      </a:lnTo>
                      <a:lnTo>
                        <a:pt x="976" y="60"/>
                      </a:lnTo>
                      <a:close/>
                      <a:moveTo>
                        <a:pt x="565" y="83"/>
                      </a:moveTo>
                      <a:lnTo>
                        <a:pt x="539" y="78"/>
                      </a:lnTo>
                      <a:lnTo>
                        <a:pt x="555" y="71"/>
                      </a:lnTo>
                      <a:lnTo>
                        <a:pt x="586" y="78"/>
                      </a:lnTo>
                      <a:lnTo>
                        <a:pt x="565" y="83"/>
                      </a:lnTo>
                      <a:lnTo>
                        <a:pt x="565" y="83"/>
                      </a:lnTo>
                      <a:lnTo>
                        <a:pt x="565" y="83"/>
                      </a:lnTo>
                      <a:close/>
                      <a:moveTo>
                        <a:pt x="1481" y="116"/>
                      </a:moveTo>
                      <a:lnTo>
                        <a:pt x="1472" y="112"/>
                      </a:lnTo>
                      <a:lnTo>
                        <a:pt x="1628" y="95"/>
                      </a:lnTo>
                      <a:lnTo>
                        <a:pt x="1481" y="116"/>
                      </a:lnTo>
                      <a:lnTo>
                        <a:pt x="1481" y="116"/>
                      </a:lnTo>
                      <a:lnTo>
                        <a:pt x="1481" y="116"/>
                      </a:lnTo>
                      <a:close/>
                      <a:moveTo>
                        <a:pt x="1219" y="100"/>
                      </a:moveTo>
                      <a:lnTo>
                        <a:pt x="1233" y="100"/>
                      </a:lnTo>
                      <a:lnTo>
                        <a:pt x="1212" y="112"/>
                      </a:lnTo>
                      <a:lnTo>
                        <a:pt x="1219" y="100"/>
                      </a:lnTo>
                      <a:lnTo>
                        <a:pt x="1219" y="100"/>
                      </a:lnTo>
                      <a:lnTo>
                        <a:pt x="1219" y="100"/>
                      </a:lnTo>
                      <a:close/>
                      <a:moveTo>
                        <a:pt x="1843" y="100"/>
                      </a:moveTo>
                      <a:lnTo>
                        <a:pt x="1838" y="100"/>
                      </a:lnTo>
                      <a:lnTo>
                        <a:pt x="1850" y="100"/>
                      </a:lnTo>
                      <a:lnTo>
                        <a:pt x="1843" y="100"/>
                      </a:lnTo>
                      <a:lnTo>
                        <a:pt x="1843" y="100"/>
                      </a:lnTo>
                      <a:lnTo>
                        <a:pt x="1843" y="100"/>
                      </a:lnTo>
                      <a:close/>
                      <a:moveTo>
                        <a:pt x="227" y="416"/>
                      </a:moveTo>
                      <a:lnTo>
                        <a:pt x="177" y="409"/>
                      </a:lnTo>
                      <a:lnTo>
                        <a:pt x="173" y="393"/>
                      </a:lnTo>
                      <a:lnTo>
                        <a:pt x="135" y="371"/>
                      </a:lnTo>
                      <a:lnTo>
                        <a:pt x="194" y="360"/>
                      </a:lnTo>
                      <a:lnTo>
                        <a:pt x="102" y="350"/>
                      </a:lnTo>
                      <a:lnTo>
                        <a:pt x="85" y="334"/>
                      </a:lnTo>
                      <a:lnTo>
                        <a:pt x="102" y="315"/>
                      </a:lnTo>
                      <a:lnTo>
                        <a:pt x="64" y="293"/>
                      </a:lnTo>
                      <a:lnTo>
                        <a:pt x="151" y="298"/>
                      </a:lnTo>
                      <a:lnTo>
                        <a:pt x="139" y="293"/>
                      </a:lnTo>
                      <a:lnTo>
                        <a:pt x="106" y="293"/>
                      </a:lnTo>
                      <a:lnTo>
                        <a:pt x="97" y="277"/>
                      </a:lnTo>
                      <a:lnTo>
                        <a:pt x="118" y="244"/>
                      </a:lnTo>
                      <a:lnTo>
                        <a:pt x="102" y="249"/>
                      </a:lnTo>
                      <a:lnTo>
                        <a:pt x="85" y="239"/>
                      </a:lnTo>
                      <a:lnTo>
                        <a:pt x="80" y="244"/>
                      </a:lnTo>
                      <a:lnTo>
                        <a:pt x="97" y="260"/>
                      </a:lnTo>
                      <a:lnTo>
                        <a:pt x="52" y="277"/>
                      </a:lnTo>
                      <a:lnTo>
                        <a:pt x="47" y="249"/>
                      </a:lnTo>
                      <a:lnTo>
                        <a:pt x="31" y="227"/>
                      </a:lnTo>
                      <a:lnTo>
                        <a:pt x="31" y="211"/>
                      </a:lnTo>
                      <a:lnTo>
                        <a:pt x="14" y="194"/>
                      </a:lnTo>
                      <a:lnTo>
                        <a:pt x="52" y="194"/>
                      </a:lnTo>
                      <a:lnTo>
                        <a:pt x="31" y="194"/>
                      </a:lnTo>
                      <a:lnTo>
                        <a:pt x="64" y="187"/>
                      </a:lnTo>
                      <a:lnTo>
                        <a:pt x="52" y="166"/>
                      </a:lnTo>
                      <a:lnTo>
                        <a:pt x="85" y="154"/>
                      </a:lnTo>
                      <a:lnTo>
                        <a:pt x="135" y="182"/>
                      </a:lnTo>
                      <a:lnTo>
                        <a:pt x="135" y="171"/>
                      </a:lnTo>
                      <a:lnTo>
                        <a:pt x="123" y="154"/>
                      </a:lnTo>
                      <a:lnTo>
                        <a:pt x="156" y="166"/>
                      </a:lnTo>
                      <a:lnTo>
                        <a:pt x="241" y="149"/>
                      </a:lnTo>
                      <a:lnTo>
                        <a:pt x="248" y="166"/>
                      </a:lnTo>
                      <a:lnTo>
                        <a:pt x="139" y="194"/>
                      </a:lnTo>
                      <a:lnTo>
                        <a:pt x="215" y="194"/>
                      </a:lnTo>
                      <a:lnTo>
                        <a:pt x="203" y="211"/>
                      </a:lnTo>
                      <a:lnTo>
                        <a:pt x="227" y="211"/>
                      </a:lnTo>
                      <a:lnTo>
                        <a:pt x="258" y="244"/>
                      </a:lnTo>
                      <a:lnTo>
                        <a:pt x="265" y="239"/>
                      </a:lnTo>
                      <a:lnTo>
                        <a:pt x="241" y="206"/>
                      </a:lnTo>
                      <a:lnTo>
                        <a:pt x="295" y="154"/>
                      </a:lnTo>
                      <a:lnTo>
                        <a:pt x="338" y="187"/>
                      </a:lnTo>
                      <a:lnTo>
                        <a:pt x="354" y="239"/>
                      </a:lnTo>
                      <a:lnTo>
                        <a:pt x="376" y="249"/>
                      </a:lnTo>
                      <a:lnTo>
                        <a:pt x="371" y="265"/>
                      </a:lnTo>
                      <a:lnTo>
                        <a:pt x="376" y="260"/>
                      </a:lnTo>
                      <a:lnTo>
                        <a:pt x="425" y="305"/>
                      </a:lnTo>
                      <a:lnTo>
                        <a:pt x="388" y="239"/>
                      </a:lnTo>
                      <a:lnTo>
                        <a:pt x="366" y="154"/>
                      </a:lnTo>
                      <a:lnTo>
                        <a:pt x="404" y="149"/>
                      </a:lnTo>
                      <a:lnTo>
                        <a:pt x="388" y="133"/>
                      </a:lnTo>
                      <a:lnTo>
                        <a:pt x="409" y="116"/>
                      </a:lnTo>
                      <a:lnTo>
                        <a:pt x="430" y="116"/>
                      </a:lnTo>
                      <a:lnTo>
                        <a:pt x="447" y="149"/>
                      </a:lnTo>
                      <a:lnTo>
                        <a:pt x="458" y="133"/>
                      </a:lnTo>
                      <a:lnTo>
                        <a:pt x="480" y="138"/>
                      </a:lnTo>
                      <a:lnTo>
                        <a:pt x="539" y="171"/>
                      </a:lnTo>
                      <a:lnTo>
                        <a:pt x="517" y="187"/>
                      </a:lnTo>
                      <a:lnTo>
                        <a:pt x="513" y="206"/>
                      </a:lnTo>
                      <a:lnTo>
                        <a:pt x="517" y="223"/>
                      </a:lnTo>
                      <a:lnTo>
                        <a:pt x="501" y="227"/>
                      </a:lnTo>
                      <a:lnTo>
                        <a:pt x="555" y="187"/>
                      </a:lnTo>
                      <a:lnTo>
                        <a:pt x="586" y="211"/>
                      </a:lnTo>
                      <a:lnTo>
                        <a:pt x="593" y="260"/>
                      </a:lnTo>
                      <a:lnTo>
                        <a:pt x="652" y="265"/>
                      </a:lnTo>
                      <a:lnTo>
                        <a:pt x="662" y="282"/>
                      </a:lnTo>
                      <a:lnTo>
                        <a:pt x="782" y="315"/>
                      </a:lnTo>
                      <a:lnTo>
                        <a:pt x="765" y="350"/>
                      </a:lnTo>
                      <a:lnTo>
                        <a:pt x="652" y="350"/>
                      </a:lnTo>
                      <a:lnTo>
                        <a:pt x="640" y="355"/>
                      </a:lnTo>
                      <a:lnTo>
                        <a:pt x="652" y="371"/>
                      </a:lnTo>
                      <a:lnTo>
                        <a:pt x="593" y="371"/>
                      </a:lnTo>
                      <a:lnTo>
                        <a:pt x="602" y="388"/>
                      </a:lnTo>
                      <a:lnTo>
                        <a:pt x="602" y="404"/>
                      </a:lnTo>
                      <a:lnTo>
                        <a:pt x="610" y="433"/>
                      </a:lnTo>
                      <a:lnTo>
                        <a:pt x="555" y="442"/>
                      </a:lnTo>
                      <a:lnTo>
                        <a:pt x="555" y="466"/>
                      </a:lnTo>
                      <a:lnTo>
                        <a:pt x="565" y="482"/>
                      </a:lnTo>
                      <a:lnTo>
                        <a:pt x="548" y="520"/>
                      </a:lnTo>
                      <a:lnTo>
                        <a:pt x="513" y="537"/>
                      </a:lnTo>
                      <a:lnTo>
                        <a:pt x="484" y="593"/>
                      </a:lnTo>
                      <a:lnTo>
                        <a:pt x="463" y="593"/>
                      </a:lnTo>
                      <a:lnTo>
                        <a:pt x="480" y="598"/>
                      </a:lnTo>
                      <a:lnTo>
                        <a:pt x="458" y="631"/>
                      </a:lnTo>
                      <a:lnTo>
                        <a:pt x="475" y="648"/>
                      </a:lnTo>
                      <a:lnTo>
                        <a:pt x="447" y="664"/>
                      </a:lnTo>
                      <a:lnTo>
                        <a:pt x="354" y="615"/>
                      </a:lnTo>
                      <a:lnTo>
                        <a:pt x="425" y="598"/>
                      </a:lnTo>
                      <a:lnTo>
                        <a:pt x="392" y="582"/>
                      </a:lnTo>
                      <a:lnTo>
                        <a:pt x="350" y="598"/>
                      </a:lnTo>
                      <a:lnTo>
                        <a:pt x="324" y="577"/>
                      </a:lnTo>
                      <a:lnTo>
                        <a:pt x="286" y="577"/>
                      </a:lnTo>
                      <a:lnTo>
                        <a:pt x="265" y="553"/>
                      </a:lnTo>
                      <a:lnTo>
                        <a:pt x="241" y="520"/>
                      </a:lnTo>
                      <a:lnTo>
                        <a:pt x="269" y="515"/>
                      </a:lnTo>
                      <a:lnTo>
                        <a:pt x="286" y="515"/>
                      </a:lnTo>
                      <a:lnTo>
                        <a:pt x="286" y="520"/>
                      </a:lnTo>
                      <a:lnTo>
                        <a:pt x="371" y="520"/>
                      </a:lnTo>
                      <a:lnTo>
                        <a:pt x="404" y="537"/>
                      </a:lnTo>
                      <a:lnTo>
                        <a:pt x="409" y="527"/>
                      </a:lnTo>
                      <a:lnTo>
                        <a:pt x="300" y="499"/>
                      </a:lnTo>
                      <a:lnTo>
                        <a:pt x="447" y="471"/>
                      </a:lnTo>
                      <a:lnTo>
                        <a:pt x="463" y="461"/>
                      </a:lnTo>
                      <a:lnTo>
                        <a:pt x="248" y="487"/>
                      </a:lnTo>
                      <a:lnTo>
                        <a:pt x="232" y="482"/>
                      </a:lnTo>
                      <a:lnTo>
                        <a:pt x="241" y="471"/>
                      </a:lnTo>
                      <a:lnTo>
                        <a:pt x="227" y="466"/>
                      </a:lnTo>
                      <a:lnTo>
                        <a:pt x="227" y="442"/>
                      </a:lnTo>
                      <a:lnTo>
                        <a:pt x="248" y="433"/>
                      </a:lnTo>
                      <a:lnTo>
                        <a:pt x="269" y="449"/>
                      </a:lnTo>
                      <a:lnTo>
                        <a:pt x="265" y="433"/>
                      </a:lnTo>
                      <a:lnTo>
                        <a:pt x="317" y="426"/>
                      </a:lnTo>
                      <a:lnTo>
                        <a:pt x="338" y="409"/>
                      </a:lnTo>
                      <a:lnTo>
                        <a:pt x="371" y="409"/>
                      </a:lnTo>
                      <a:lnTo>
                        <a:pt x="366" y="404"/>
                      </a:lnTo>
                      <a:lnTo>
                        <a:pt x="371" y="393"/>
                      </a:lnTo>
                      <a:lnTo>
                        <a:pt x="442" y="393"/>
                      </a:lnTo>
                      <a:lnTo>
                        <a:pt x="480" y="376"/>
                      </a:lnTo>
                      <a:lnTo>
                        <a:pt x="409" y="376"/>
                      </a:lnTo>
                      <a:lnTo>
                        <a:pt x="447" y="338"/>
                      </a:lnTo>
                      <a:lnTo>
                        <a:pt x="425" y="334"/>
                      </a:lnTo>
                      <a:lnTo>
                        <a:pt x="392" y="371"/>
                      </a:lnTo>
                      <a:lnTo>
                        <a:pt x="354" y="376"/>
                      </a:lnTo>
                      <a:lnTo>
                        <a:pt x="333" y="355"/>
                      </a:lnTo>
                      <a:lnTo>
                        <a:pt x="350" y="350"/>
                      </a:lnTo>
                      <a:lnTo>
                        <a:pt x="354" y="322"/>
                      </a:lnTo>
                      <a:lnTo>
                        <a:pt x="350" y="315"/>
                      </a:lnTo>
                      <a:lnTo>
                        <a:pt x="324" y="355"/>
                      </a:lnTo>
                      <a:lnTo>
                        <a:pt x="312" y="350"/>
                      </a:lnTo>
                      <a:lnTo>
                        <a:pt x="312" y="334"/>
                      </a:lnTo>
                      <a:lnTo>
                        <a:pt x="286" y="338"/>
                      </a:lnTo>
                      <a:lnTo>
                        <a:pt x="286" y="355"/>
                      </a:lnTo>
                      <a:lnTo>
                        <a:pt x="279" y="371"/>
                      </a:lnTo>
                      <a:lnTo>
                        <a:pt x="300" y="388"/>
                      </a:lnTo>
                      <a:lnTo>
                        <a:pt x="279" y="388"/>
                      </a:lnTo>
                      <a:lnTo>
                        <a:pt x="269" y="393"/>
                      </a:lnTo>
                      <a:lnTo>
                        <a:pt x="227" y="416"/>
                      </a:lnTo>
                      <a:lnTo>
                        <a:pt x="227" y="416"/>
                      </a:lnTo>
                      <a:lnTo>
                        <a:pt x="227" y="416"/>
                      </a:lnTo>
                      <a:close/>
                      <a:moveTo>
                        <a:pt x="26" y="182"/>
                      </a:moveTo>
                      <a:lnTo>
                        <a:pt x="14" y="171"/>
                      </a:lnTo>
                      <a:lnTo>
                        <a:pt x="47" y="182"/>
                      </a:lnTo>
                      <a:lnTo>
                        <a:pt x="26" y="182"/>
                      </a:lnTo>
                      <a:lnTo>
                        <a:pt x="26" y="182"/>
                      </a:lnTo>
                      <a:lnTo>
                        <a:pt x="26" y="182"/>
                      </a:lnTo>
                      <a:close/>
                      <a:moveTo>
                        <a:pt x="662" y="249"/>
                      </a:moveTo>
                      <a:lnTo>
                        <a:pt x="673" y="239"/>
                      </a:lnTo>
                      <a:lnTo>
                        <a:pt x="678" y="239"/>
                      </a:lnTo>
                      <a:lnTo>
                        <a:pt x="662" y="249"/>
                      </a:lnTo>
                      <a:lnTo>
                        <a:pt x="662" y="249"/>
                      </a:lnTo>
                      <a:lnTo>
                        <a:pt x="662" y="249"/>
                      </a:lnTo>
                      <a:close/>
                      <a:moveTo>
                        <a:pt x="695" y="293"/>
                      </a:moveTo>
                      <a:lnTo>
                        <a:pt x="673" y="282"/>
                      </a:lnTo>
                      <a:lnTo>
                        <a:pt x="690" y="265"/>
                      </a:lnTo>
                      <a:lnTo>
                        <a:pt x="728" y="277"/>
                      </a:lnTo>
                      <a:lnTo>
                        <a:pt x="695" y="293"/>
                      </a:lnTo>
                      <a:lnTo>
                        <a:pt x="695" y="293"/>
                      </a:lnTo>
                      <a:lnTo>
                        <a:pt x="695" y="293"/>
                      </a:lnTo>
                      <a:close/>
                      <a:moveTo>
                        <a:pt x="744" y="282"/>
                      </a:moveTo>
                      <a:lnTo>
                        <a:pt x="732" y="282"/>
                      </a:lnTo>
                      <a:lnTo>
                        <a:pt x="761" y="282"/>
                      </a:lnTo>
                      <a:lnTo>
                        <a:pt x="744" y="282"/>
                      </a:lnTo>
                      <a:lnTo>
                        <a:pt x="744" y="282"/>
                      </a:lnTo>
                      <a:lnTo>
                        <a:pt x="744" y="282"/>
                      </a:lnTo>
                      <a:close/>
                      <a:moveTo>
                        <a:pt x="1391" y="293"/>
                      </a:moveTo>
                      <a:lnTo>
                        <a:pt x="1375" y="293"/>
                      </a:lnTo>
                      <a:lnTo>
                        <a:pt x="1396" y="293"/>
                      </a:lnTo>
                      <a:lnTo>
                        <a:pt x="1391" y="293"/>
                      </a:lnTo>
                      <a:lnTo>
                        <a:pt x="1391" y="293"/>
                      </a:lnTo>
                      <a:lnTo>
                        <a:pt x="1391" y="293"/>
                      </a:lnTo>
                      <a:close/>
                      <a:moveTo>
                        <a:pt x="1233" y="315"/>
                      </a:moveTo>
                      <a:lnTo>
                        <a:pt x="1233" y="305"/>
                      </a:lnTo>
                      <a:lnTo>
                        <a:pt x="1257" y="298"/>
                      </a:lnTo>
                      <a:lnTo>
                        <a:pt x="1354" y="305"/>
                      </a:lnTo>
                      <a:lnTo>
                        <a:pt x="1321" y="315"/>
                      </a:lnTo>
                      <a:lnTo>
                        <a:pt x="1288" y="298"/>
                      </a:lnTo>
                      <a:lnTo>
                        <a:pt x="1233" y="315"/>
                      </a:lnTo>
                      <a:lnTo>
                        <a:pt x="1233" y="315"/>
                      </a:lnTo>
                      <a:lnTo>
                        <a:pt x="1233" y="315"/>
                      </a:lnTo>
                      <a:close/>
                      <a:moveTo>
                        <a:pt x="118" y="416"/>
                      </a:moveTo>
                      <a:lnTo>
                        <a:pt x="47" y="371"/>
                      </a:lnTo>
                      <a:lnTo>
                        <a:pt x="10" y="322"/>
                      </a:lnTo>
                      <a:lnTo>
                        <a:pt x="0" y="305"/>
                      </a:lnTo>
                      <a:lnTo>
                        <a:pt x="43" y="315"/>
                      </a:lnTo>
                      <a:lnTo>
                        <a:pt x="52" y="334"/>
                      </a:lnTo>
                      <a:lnTo>
                        <a:pt x="47" y="334"/>
                      </a:lnTo>
                      <a:lnTo>
                        <a:pt x="52" y="360"/>
                      </a:lnTo>
                      <a:lnTo>
                        <a:pt x="97" y="376"/>
                      </a:lnTo>
                      <a:lnTo>
                        <a:pt x="118" y="404"/>
                      </a:lnTo>
                      <a:lnTo>
                        <a:pt x="118" y="416"/>
                      </a:lnTo>
                      <a:lnTo>
                        <a:pt x="118" y="416"/>
                      </a:lnTo>
                      <a:lnTo>
                        <a:pt x="118" y="416"/>
                      </a:lnTo>
                      <a:close/>
                      <a:moveTo>
                        <a:pt x="1143" y="350"/>
                      </a:moveTo>
                      <a:lnTo>
                        <a:pt x="1120" y="322"/>
                      </a:lnTo>
                      <a:lnTo>
                        <a:pt x="1136" y="315"/>
                      </a:lnTo>
                      <a:lnTo>
                        <a:pt x="1165" y="338"/>
                      </a:lnTo>
                      <a:lnTo>
                        <a:pt x="1143" y="350"/>
                      </a:lnTo>
                      <a:lnTo>
                        <a:pt x="1143" y="350"/>
                      </a:lnTo>
                      <a:lnTo>
                        <a:pt x="1143" y="350"/>
                      </a:lnTo>
                      <a:close/>
                      <a:moveTo>
                        <a:pt x="678" y="371"/>
                      </a:moveTo>
                      <a:lnTo>
                        <a:pt x="761" y="350"/>
                      </a:lnTo>
                      <a:lnTo>
                        <a:pt x="813" y="355"/>
                      </a:lnTo>
                      <a:lnTo>
                        <a:pt x="825" y="371"/>
                      </a:lnTo>
                      <a:lnTo>
                        <a:pt x="825" y="404"/>
                      </a:lnTo>
                      <a:lnTo>
                        <a:pt x="716" y="416"/>
                      </a:lnTo>
                      <a:lnTo>
                        <a:pt x="728" y="404"/>
                      </a:lnTo>
                      <a:lnTo>
                        <a:pt x="706" y="393"/>
                      </a:lnTo>
                      <a:lnTo>
                        <a:pt x="716" y="388"/>
                      </a:lnTo>
                      <a:lnTo>
                        <a:pt x="678" y="371"/>
                      </a:lnTo>
                      <a:lnTo>
                        <a:pt x="678" y="371"/>
                      </a:lnTo>
                      <a:lnTo>
                        <a:pt x="678" y="371"/>
                      </a:lnTo>
                      <a:close/>
                      <a:moveTo>
                        <a:pt x="858" y="560"/>
                      </a:moveTo>
                      <a:lnTo>
                        <a:pt x="841" y="560"/>
                      </a:lnTo>
                      <a:lnTo>
                        <a:pt x="841" y="553"/>
                      </a:lnTo>
                      <a:lnTo>
                        <a:pt x="851" y="544"/>
                      </a:lnTo>
                      <a:lnTo>
                        <a:pt x="841" y="537"/>
                      </a:lnTo>
                      <a:lnTo>
                        <a:pt x="867" y="515"/>
                      </a:lnTo>
                      <a:lnTo>
                        <a:pt x="732" y="527"/>
                      </a:lnTo>
                      <a:lnTo>
                        <a:pt x="732" y="515"/>
                      </a:lnTo>
                      <a:lnTo>
                        <a:pt x="761" y="504"/>
                      </a:lnTo>
                      <a:lnTo>
                        <a:pt x="761" y="487"/>
                      </a:lnTo>
                      <a:lnTo>
                        <a:pt x="787" y="461"/>
                      </a:lnTo>
                      <a:lnTo>
                        <a:pt x="732" y="433"/>
                      </a:lnTo>
                      <a:lnTo>
                        <a:pt x="879" y="409"/>
                      </a:lnTo>
                      <a:lnTo>
                        <a:pt x="910" y="416"/>
                      </a:lnTo>
                      <a:lnTo>
                        <a:pt x="888" y="433"/>
                      </a:lnTo>
                      <a:lnTo>
                        <a:pt x="888" y="449"/>
                      </a:lnTo>
                      <a:lnTo>
                        <a:pt x="926" y="466"/>
                      </a:lnTo>
                      <a:lnTo>
                        <a:pt x="976" y="466"/>
                      </a:lnTo>
                      <a:lnTo>
                        <a:pt x="1013" y="482"/>
                      </a:lnTo>
                      <a:lnTo>
                        <a:pt x="964" y="499"/>
                      </a:lnTo>
                      <a:lnTo>
                        <a:pt x="933" y="527"/>
                      </a:lnTo>
                      <a:lnTo>
                        <a:pt x="858" y="560"/>
                      </a:lnTo>
                      <a:lnTo>
                        <a:pt x="858" y="560"/>
                      </a:lnTo>
                      <a:lnTo>
                        <a:pt x="858" y="560"/>
                      </a:lnTo>
                      <a:close/>
                      <a:moveTo>
                        <a:pt x="888" y="560"/>
                      </a:moveTo>
                      <a:lnTo>
                        <a:pt x="879" y="560"/>
                      </a:lnTo>
                      <a:lnTo>
                        <a:pt x="905" y="560"/>
                      </a:lnTo>
                      <a:lnTo>
                        <a:pt x="888" y="560"/>
                      </a:lnTo>
                      <a:lnTo>
                        <a:pt x="888" y="560"/>
                      </a:lnTo>
                      <a:lnTo>
                        <a:pt x="888" y="560"/>
                      </a:lnTo>
                      <a:close/>
                      <a:moveTo>
                        <a:pt x="1018" y="688"/>
                      </a:moveTo>
                      <a:lnTo>
                        <a:pt x="1018" y="681"/>
                      </a:lnTo>
                      <a:lnTo>
                        <a:pt x="1068" y="648"/>
                      </a:lnTo>
                      <a:lnTo>
                        <a:pt x="1018" y="688"/>
                      </a:lnTo>
                      <a:lnTo>
                        <a:pt x="1018" y="688"/>
                      </a:lnTo>
                      <a:lnTo>
                        <a:pt x="1018" y="688"/>
                      </a:lnTo>
                      <a:close/>
                      <a:moveTo>
                        <a:pt x="602" y="988"/>
                      </a:moveTo>
                      <a:lnTo>
                        <a:pt x="586" y="969"/>
                      </a:lnTo>
                      <a:lnTo>
                        <a:pt x="619" y="969"/>
                      </a:lnTo>
                      <a:lnTo>
                        <a:pt x="602" y="988"/>
                      </a:lnTo>
                      <a:lnTo>
                        <a:pt x="602" y="988"/>
                      </a:lnTo>
                      <a:lnTo>
                        <a:pt x="602" y="98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59" name="Freeform 561">
                  <a:extLst>
                    <a:ext uri="{FF2B5EF4-FFF2-40B4-BE49-F238E27FC236}">
                      <a16:creationId xmlns:a16="http://schemas.microsoft.com/office/drawing/2014/main" id="{987AE83F-8795-4227-90D1-D9631BA103D9}"/>
                    </a:ext>
                  </a:extLst>
                </p:cNvPr>
                <p:cNvSpPr>
                  <a:spLocks noEditPoints="1"/>
                </p:cNvSpPr>
                <p:nvPr/>
              </p:nvSpPr>
              <p:spPr bwMode="gray">
                <a:xfrm>
                  <a:off x="7046927" y="1597236"/>
                  <a:ext cx="377501" cy="633219"/>
                </a:xfrm>
                <a:custGeom>
                  <a:avLst/>
                  <a:gdLst>
                    <a:gd name="T0" fmla="*/ 69 w 917"/>
                    <a:gd name="T1" fmla="*/ 1065 h 1538"/>
                    <a:gd name="T2" fmla="*/ 69 w 917"/>
                    <a:gd name="T3" fmla="*/ 860 h 1538"/>
                    <a:gd name="T4" fmla="*/ 76 w 917"/>
                    <a:gd name="T5" fmla="*/ 666 h 1538"/>
                    <a:gd name="T6" fmla="*/ 211 w 917"/>
                    <a:gd name="T7" fmla="*/ 555 h 1538"/>
                    <a:gd name="T8" fmla="*/ 274 w 917"/>
                    <a:gd name="T9" fmla="*/ 357 h 1538"/>
                    <a:gd name="T10" fmla="*/ 378 w 917"/>
                    <a:gd name="T11" fmla="*/ 177 h 1538"/>
                    <a:gd name="T12" fmla="*/ 485 w 917"/>
                    <a:gd name="T13" fmla="*/ 66 h 1538"/>
                    <a:gd name="T14" fmla="*/ 648 w 917"/>
                    <a:gd name="T15" fmla="*/ 12 h 1538"/>
                    <a:gd name="T16" fmla="*/ 865 w 917"/>
                    <a:gd name="T17" fmla="*/ 151 h 1538"/>
                    <a:gd name="T18" fmla="*/ 903 w 917"/>
                    <a:gd name="T19" fmla="*/ 279 h 1538"/>
                    <a:gd name="T20" fmla="*/ 903 w 917"/>
                    <a:gd name="T21" fmla="*/ 362 h 1538"/>
                    <a:gd name="T22" fmla="*/ 794 w 917"/>
                    <a:gd name="T23" fmla="*/ 395 h 1538"/>
                    <a:gd name="T24" fmla="*/ 778 w 917"/>
                    <a:gd name="T25" fmla="*/ 428 h 1538"/>
                    <a:gd name="T26" fmla="*/ 740 w 917"/>
                    <a:gd name="T27" fmla="*/ 465 h 1538"/>
                    <a:gd name="T28" fmla="*/ 697 w 917"/>
                    <a:gd name="T29" fmla="*/ 510 h 1538"/>
                    <a:gd name="T30" fmla="*/ 697 w 917"/>
                    <a:gd name="T31" fmla="*/ 593 h 1538"/>
                    <a:gd name="T32" fmla="*/ 589 w 917"/>
                    <a:gd name="T33" fmla="*/ 666 h 1538"/>
                    <a:gd name="T34" fmla="*/ 546 w 917"/>
                    <a:gd name="T35" fmla="*/ 695 h 1538"/>
                    <a:gd name="T36" fmla="*/ 501 w 917"/>
                    <a:gd name="T37" fmla="*/ 749 h 1538"/>
                    <a:gd name="T38" fmla="*/ 480 w 917"/>
                    <a:gd name="T39" fmla="*/ 761 h 1538"/>
                    <a:gd name="T40" fmla="*/ 463 w 917"/>
                    <a:gd name="T41" fmla="*/ 806 h 1538"/>
                    <a:gd name="T42" fmla="*/ 447 w 917"/>
                    <a:gd name="T43" fmla="*/ 877 h 1538"/>
                    <a:gd name="T44" fmla="*/ 433 w 917"/>
                    <a:gd name="T45" fmla="*/ 910 h 1538"/>
                    <a:gd name="T46" fmla="*/ 480 w 917"/>
                    <a:gd name="T47" fmla="*/ 988 h 1538"/>
                    <a:gd name="T48" fmla="*/ 539 w 917"/>
                    <a:gd name="T49" fmla="*/ 1044 h 1538"/>
                    <a:gd name="T50" fmla="*/ 555 w 917"/>
                    <a:gd name="T51" fmla="*/ 1082 h 1538"/>
                    <a:gd name="T52" fmla="*/ 470 w 917"/>
                    <a:gd name="T53" fmla="*/ 1110 h 1538"/>
                    <a:gd name="T54" fmla="*/ 454 w 917"/>
                    <a:gd name="T55" fmla="*/ 1099 h 1538"/>
                    <a:gd name="T56" fmla="*/ 454 w 917"/>
                    <a:gd name="T57" fmla="*/ 1110 h 1538"/>
                    <a:gd name="T58" fmla="*/ 395 w 917"/>
                    <a:gd name="T59" fmla="*/ 1110 h 1538"/>
                    <a:gd name="T60" fmla="*/ 437 w 917"/>
                    <a:gd name="T61" fmla="*/ 1132 h 1538"/>
                    <a:gd name="T62" fmla="*/ 534 w 917"/>
                    <a:gd name="T63" fmla="*/ 1122 h 1538"/>
                    <a:gd name="T64" fmla="*/ 454 w 917"/>
                    <a:gd name="T65" fmla="*/ 1172 h 1538"/>
                    <a:gd name="T66" fmla="*/ 383 w 917"/>
                    <a:gd name="T67" fmla="*/ 1205 h 1538"/>
                    <a:gd name="T68" fmla="*/ 383 w 917"/>
                    <a:gd name="T69" fmla="*/ 1266 h 1538"/>
                    <a:gd name="T70" fmla="*/ 383 w 917"/>
                    <a:gd name="T71" fmla="*/ 1304 h 1538"/>
                    <a:gd name="T72" fmla="*/ 371 w 917"/>
                    <a:gd name="T73" fmla="*/ 1403 h 1538"/>
                    <a:gd name="T74" fmla="*/ 215 w 917"/>
                    <a:gd name="T75" fmla="*/ 1486 h 1538"/>
                    <a:gd name="T76" fmla="*/ 130 w 917"/>
                    <a:gd name="T77" fmla="*/ 1538 h 1538"/>
                    <a:gd name="T78" fmla="*/ 123 w 917"/>
                    <a:gd name="T79" fmla="*/ 1427 h 1538"/>
                    <a:gd name="T80" fmla="*/ 69 w 917"/>
                    <a:gd name="T81" fmla="*/ 1321 h 1538"/>
                    <a:gd name="T82" fmla="*/ 55 w 917"/>
                    <a:gd name="T83" fmla="*/ 1299 h 1538"/>
                    <a:gd name="T84" fmla="*/ 5 w 917"/>
                    <a:gd name="T85" fmla="*/ 1226 h 1538"/>
                    <a:gd name="T86" fmla="*/ 31 w 917"/>
                    <a:gd name="T87" fmla="*/ 1172 h 1538"/>
                    <a:gd name="T88" fmla="*/ 485 w 917"/>
                    <a:gd name="T89" fmla="*/ 761 h 1538"/>
                    <a:gd name="T90" fmla="*/ 447 w 917"/>
                    <a:gd name="T91" fmla="*/ 789 h 1538"/>
                    <a:gd name="T92" fmla="*/ 508 w 917"/>
                    <a:gd name="T93" fmla="*/ 999 h 1538"/>
                    <a:gd name="T94" fmla="*/ 534 w 917"/>
                    <a:gd name="T95" fmla="*/ 1099 h 1538"/>
                    <a:gd name="T96" fmla="*/ 433 w 917"/>
                    <a:gd name="T97" fmla="*/ 1115 h 1538"/>
                    <a:gd name="T98" fmla="*/ 447 w 917"/>
                    <a:gd name="T99" fmla="*/ 1115 h 1538"/>
                    <a:gd name="T100" fmla="*/ 522 w 917"/>
                    <a:gd name="T101" fmla="*/ 1132 h 1538"/>
                    <a:gd name="T102" fmla="*/ 577 w 917"/>
                    <a:gd name="T103" fmla="*/ 1226 h 1538"/>
                    <a:gd name="T104" fmla="*/ 38 w 917"/>
                    <a:gd name="T105" fmla="*/ 1238 h 1538"/>
                    <a:gd name="T106" fmla="*/ 48 w 917"/>
                    <a:gd name="T107" fmla="*/ 1259 h 1538"/>
                    <a:gd name="T108" fmla="*/ 560 w 917"/>
                    <a:gd name="T109" fmla="*/ 1283 h 1538"/>
                    <a:gd name="T110" fmla="*/ 560 w 917"/>
                    <a:gd name="T111" fmla="*/ 1283 h 1538"/>
                    <a:gd name="T112" fmla="*/ 508 w 917"/>
                    <a:gd name="T113" fmla="*/ 1354 h 1538"/>
                    <a:gd name="T114" fmla="*/ 555 w 917"/>
                    <a:gd name="T115" fmla="*/ 1276 h 1538"/>
                    <a:gd name="T116" fmla="*/ 426 w 917"/>
                    <a:gd name="T117" fmla="*/ 1337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7" h="1538">
                      <a:moveTo>
                        <a:pt x="31" y="1172"/>
                      </a:moveTo>
                      <a:lnTo>
                        <a:pt x="48" y="1132"/>
                      </a:lnTo>
                      <a:lnTo>
                        <a:pt x="38" y="1099"/>
                      </a:lnTo>
                      <a:lnTo>
                        <a:pt x="55" y="1082"/>
                      </a:lnTo>
                      <a:lnTo>
                        <a:pt x="48" y="1065"/>
                      </a:lnTo>
                      <a:lnTo>
                        <a:pt x="69" y="1065"/>
                      </a:lnTo>
                      <a:lnTo>
                        <a:pt x="92" y="1044"/>
                      </a:lnTo>
                      <a:lnTo>
                        <a:pt x="107" y="1004"/>
                      </a:lnTo>
                      <a:lnTo>
                        <a:pt x="76" y="943"/>
                      </a:lnTo>
                      <a:lnTo>
                        <a:pt x="107" y="943"/>
                      </a:lnTo>
                      <a:lnTo>
                        <a:pt x="123" y="910"/>
                      </a:lnTo>
                      <a:lnTo>
                        <a:pt x="69" y="860"/>
                      </a:lnTo>
                      <a:lnTo>
                        <a:pt x="85" y="806"/>
                      </a:lnTo>
                      <a:lnTo>
                        <a:pt x="69" y="765"/>
                      </a:lnTo>
                      <a:lnTo>
                        <a:pt x="59" y="732"/>
                      </a:lnTo>
                      <a:lnTo>
                        <a:pt x="76" y="721"/>
                      </a:lnTo>
                      <a:lnTo>
                        <a:pt x="59" y="695"/>
                      </a:lnTo>
                      <a:lnTo>
                        <a:pt x="76" y="666"/>
                      </a:lnTo>
                      <a:lnTo>
                        <a:pt x="69" y="654"/>
                      </a:lnTo>
                      <a:lnTo>
                        <a:pt x="107" y="617"/>
                      </a:lnTo>
                      <a:lnTo>
                        <a:pt x="130" y="600"/>
                      </a:lnTo>
                      <a:lnTo>
                        <a:pt x="199" y="612"/>
                      </a:lnTo>
                      <a:lnTo>
                        <a:pt x="215" y="584"/>
                      </a:lnTo>
                      <a:lnTo>
                        <a:pt x="211" y="555"/>
                      </a:lnTo>
                      <a:lnTo>
                        <a:pt x="178" y="543"/>
                      </a:lnTo>
                      <a:lnTo>
                        <a:pt x="237" y="456"/>
                      </a:lnTo>
                      <a:lnTo>
                        <a:pt x="237" y="428"/>
                      </a:lnTo>
                      <a:lnTo>
                        <a:pt x="248" y="395"/>
                      </a:lnTo>
                      <a:lnTo>
                        <a:pt x="237" y="362"/>
                      </a:lnTo>
                      <a:lnTo>
                        <a:pt x="274" y="357"/>
                      </a:lnTo>
                      <a:lnTo>
                        <a:pt x="307" y="338"/>
                      </a:lnTo>
                      <a:lnTo>
                        <a:pt x="303" y="317"/>
                      </a:lnTo>
                      <a:lnTo>
                        <a:pt x="371" y="251"/>
                      </a:lnTo>
                      <a:lnTo>
                        <a:pt x="371" y="229"/>
                      </a:lnTo>
                      <a:lnTo>
                        <a:pt x="345" y="206"/>
                      </a:lnTo>
                      <a:lnTo>
                        <a:pt x="378" y="177"/>
                      </a:lnTo>
                      <a:lnTo>
                        <a:pt x="395" y="140"/>
                      </a:lnTo>
                      <a:lnTo>
                        <a:pt x="433" y="118"/>
                      </a:lnTo>
                      <a:lnTo>
                        <a:pt x="480" y="140"/>
                      </a:lnTo>
                      <a:lnTo>
                        <a:pt x="492" y="111"/>
                      </a:lnTo>
                      <a:lnTo>
                        <a:pt x="485" y="78"/>
                      </a:lnTo>
                      <a:lnTo>
                        <a:pt x="485" y="66"/>
                      </a:lnTo>
                      <a:lnTo>
                        <a:pt x="546" y="66"/>
                      </a:lnTo>
                      <a:lnTo>
                        <a:pt x="615" y="95"/>
                      </a:lnTo>
                      <a:lnTo>
                        <a:pt x="643" y="66"/>
                      </a:lnTo>
                      <a:lnTo>
                        <a:pt x="615" y="62"/>
                      </a:lnTo>
                      <a:lnTo>
                        <a:pt x="648" y="28"/>
                      </a:lnTo>
                      <a:lnTo>
                        <a:pt x="648" y="12"/>
                      </a:lnTo>
                      <a:lnTo>
                        <a:pt x="631" y="0"/>
                      </a:lnTo>
                      <a:lnTo>
                        <a:pt x="664" y="0"/>
                      </a:lnTo>
                      <a:lnTo>
                        <a:pt x="766" y="66"/>
                      </a:lnTo>
                      <a:lnTo>
                        <a:pt x="827" y="83"/>
                      </a:lnTo>
                      <a:lnTo>
                        <a:pt x="879" y="140"/>
                      </a:lnTo>
                      <a:lnTo>
                        <a:pt x="865" y="151"/>
                      </a:lnTo>
                      <a:lnTo>
                        <a:pt x="865" y="194"/>
                      </a:lnTo>
                      <a:lnTo>
                        <a:pt x="886" y="206"/>
                      </a:lnTo>
                      <a:lnTo>
                        <a:pt x="886" y="222"/>
                      </a:lnTo>
                      <a:lnTo>
                        <a:pt x="879" y="222"/>
                      </a:lnTo>
                      <a:lnTo>
                        <a:pt x="874" y="234"/>
                      </a:lnTo>
                      <a:lnTo>
                        <a:pt x="903" y="279"/>
                      </a:lnTo>
                      <a:lnTo>
                        <a:pt x="896" y="284"/>
                      </a:lnTo>
                      <a:lnTo>
                        <a:pt x="896" y="305"/>
                      </a:lnTo>
                      <a:lnTo>
                        <a:pt x="879" y="321"/>
                      </a:lnTo>
                      <a:lnTo>
                        <a:pt x="879" y="338"/>
                      </a:lnTo>
                      <a:lnTo>
                        <a:pt x="886" y="357"/>
                      </a:lnTo>
                      <a:lnTo>
                        <a:pt x="903" y="362"/>
                      </a:lnTo>
                      <a:lnTo>
                        <a:pt x="917" y="395"/>
                      </a:lnTo>
                      <a:lnTo>
                        <a:pt x="848" y="399"/>
                      </a:lnTo>
                      <a:lnTo>
                        <a:pt x="841" y="411"/>
                      </a:lnTo>
                      <a:lnTo>
                        <a:pt x="811" y="390"/>
                      </a:lnTo>
                      <a:lnTo>
                        <a:pt x="811" y="399"/>
                      </a:lnTo>
                      <a:lnTo>
                        <a:pt x="794" y="395"/>
                      </a:lnTo>
                      <a:lnTo>
                        <a:pt x="789" y="395"/>
                      </a:lnTo>
                      <a:lnTo>
                        <a:pt x="778" y="416"/>
                      </a:lnTo>
                      <a:lnTo>
                        <a:pt x="794" y="416"/>
                      </a:lnTo>
                      <a:lnTo>
                        <a:pt x="794" y="428"/>
                      </a:lnTo>
                      <a:lnTo>
                        <a:pt x="752" y="411"/>
                      </a:lnTo>
                      <a:lnTo>
                        <a:pt x="778" y="428"/>
                      </a:lnTo>
                      <a:lnTo>
                        <a:pt x="756" y="432"/>
                      </a:lnTo>
                      <a:lnTo>
                        <a:pt x="766" y="444"/>
                      </a:lnTo>
                      <a:lnTo>
                        <a:pt x="756" y="449"/>
                      </a:lnTo>
                      <a:lnTo>
                        <a:pt x="723" y="449"/>
                      </a:lnTo>
                      <a:lnTo>
                        <a:pt x="740" y="456"/>
                      </a:lnTo>
                      <a:lnTo>
                        <a:pt x="740" y="465"/>
                      </a:lnTo>
                      <a:lnTo>
                        <a:pt x="711" y="449"/>
                      </a:lnTo>
                      <a:lnTo>
                        <a:pt x="740" y="473"/>
                      </a:lnTo>
                      <a:lnTo>
                        <a:pt x="735" y="489"/>
                      </a:lnTo>
                      <a:lnTo>
                        <a:pt x="711" y="501"/>
                      </a:lnTo>
                      <a:lnTo>
                        <a:pt x="711" y="510"/>
                      </a:lnTo>
                      <a:lnTo>
                        <a:pt x="697" y="510"/>
                      </a:lnTo>
                      <a:lnTo>
                        <a:pt x="718" y="522"/>
                      </a:lnTo>
                      <a:lnTo>
                        <a:pt x="718" y="527"/>
                      </a:lnTo>
                      <a:lnTo>
                        <a:pt x="702" y="527"/>
                      </a:lnTo>
                      <a:lnTo>
                        <a:pt x="735" y="543"/>
                      </a:lnTo>
                      <a:lnTo>
                        <a:pt x="735" y="560"/>
                      </a:lnTo>
                      <a:lnTo>
                        <a:pt x="697" y="593"/>
                      </a:lnTo>
                      <a:lnTo>
                        <a:pt x="681" y="621"/>
                      </a:lnTo>
                      <a:lnTo>
                        <a:pt x="659" y="633"/>
                      </a:lnTo>
                      <a:lnTo>
                        <a:pt x="648" y="650"/>
                      </a:lnTo>
                      <a:lnTo>
                        <a:pt x="615" y="654"/>
                      </a:lnTo>
                      <a:lnTo>
                        <a:pt x="605" y="671"/>
                      </a:lnTo>
                      <a:lnTo>
                        <a:pt x="589" y="666"/>
                      </a:lnTo>
                      <a:lnTo>
                        <a:pt x="589" y="671"/>
                      </a:lnTo>
                      <a:lnTo>
                        <a:pt x="572" y="671"/>
                      </a:lnTo>
                      <a:lnTo>
                        <a:pt x="572" y="688"/>
                      </a:lnTo>
                      <a:lnTo>
                        <a:pt x="555" y="695"/>
                      </a:lnTo>
                      <a:lnTo>
                        <a:pt x="555" y="704"/>
                      </a:lnTo>
                      <a:lnTo>
                        <a:pt x="546" y="695"/>
                      </a:lnTo>
                      <a:lnTo>
                        <a:pt x="539" y="695"/>
                      </a:lnTo>
                      <a:lnTo>
                        <a:pt x="546" y="704"/>
                      </a:lnTo>
                      <a:lnTo>
                        <a:pt x="534" y="704"/>
                      </a:lnTo>
                      <a:lnTo>
                        <a:pt x="501" y="721"/>
                      </a:lnTo>
                      <a:lnTo>
                        <a:pt x="522" y="728"/>
                      </a:lnTo>
                      <a:lnTo>
                        <a:pt x="501" y="749"/>
                      </a:lnTo>
                      <a:lnTo>
                        <a:pt x="480" y="744"/>
                      </a:lnTo>
                      <a:lnTo>
                        <a:pt x="470" y="728"/>
                      </a:lnTo>
                      <a:lnTo>
                        <a:pt x="463" y="728"/>
                      </a:lnTo>
                      <a:lnTo>
                        <a:pt x="485" y="749"/>
                      </a:lnTo>
                      <a:lnTo>
                        <a:pt x="485" y="761"/>
                      </a:lnTo>
                      <a:lnTo>
                        <a:pt x="480" y="761"/>
                      </a:lnTo>
                      <a:lnTo>
                        <a:pt x="485" y="765"/>
                      </a:lnTo>
                      <a:lnTo>
                        <a:pt x="463" y="782"/>
                      </a:lnTo>
                      <a:lnTo>
                        <a:pt x="437" y="777"/>
                      </a:lnTo>
                      <a:lnTo>
                        <a:pt x="437" y="782"/>
                      </a:lnTo>
                      <a:lnTo>
                        <a:pt x="437" y="799"/>
                      </a:lnTo>
                      <a:lnTo>
                        <a:pt x="463" y="806"/>
                      </a:lnTo>
                      <a:lnTo>
                        <a:pt x="447" y="806"/>
                      </a:lnTo>
                      <a:lnTo>
                        <a:pt x="447" y="839"/>
                      </a:lnTo>
                      <a:lnTo>
                        <a:pt x="437" y="839"/>
                      </a:lnTo>
                      <a:lnTo>
                        <a:pt x="437" y="855"/>
                      </a:lnTo>
                      <a:lnTo>
                        <a:pt x="447" y="872"/>
                      </a:lnTo>
                      <a:lnTo>
                        <a:pt x="447" y="877"/>
                      </a:lnTo>
                      <a:lnTo>
                        <a:pt x="426" y="872"/>
                      </a:lnTo>
                      <a:lnTo>
                        <a:pt x="433" y="872"/>
                      </a:lnTo>
                      <a:lnTo>
                        <a:pt x="416" y="877"/>
                      </a:lnTo>
                      <a:lnTo>
                        <a:pt x="433" y="893"/>
                      </a:lnTo>
                      <a:lnTo>
                        <a:pt x="416" y="900"/>
                      </a:lnTo>
                      <a:lnTo>
                        <a:pt x="433" y="910"/>
                      </a:lnTo>
                      <a:lnTo>
                        <a:pt x="426" y="950"/>
                      </a:lnTo>
                      <a:lnTo>
                        <a:pt x="433" y="966"/>
                      </a:lnTo>
                      <a:lnTo>
                        <a:pt x="433" y="983"/>
                      </a:lnTo>
                      <a:lnTo>
                        <a:pt x="454" y="988"/>
                      </a:lnTo>
                      <a:lnTo>
                        <a:pt x="463" y="999"/>
                      </a:lnTo>
                      <a:lnTo>
                        <a:pt x="480" y="988"/>
                      </a:lnTo>
                      <a:lnTo>
                        <a:pt x="501" y="1021"/>
                      </a:lnTo>
                      <a:lnTo>
                        <a:pt x="518" y="1021"/>
                      </a:lnTo>
                      <a:lnTo>
                        <a:pt x="522" y="1028"/>
                      </a:lnTo>
                      <a:lnTo>
                        <a:pt x="508" y="1021"/>
                      </a:lnTo>
                      <a:lnTo>
                        <a:pt x="508" y="1037"/>
                      </a:lnTo>
                      <a:lnTo>
                        <a:pt x="539" y="1044"/>
                      </a:lnTo>
                      <a:lnTo>
                        <a:pt x="546" y="1061"/>
                      </a:lnTo>
                      <a:lnTo>
                        <a:pt x="555" y="1065"/>
                      </a:lnTo>
                      <a:lnTo>
                        <a:pt x="555" y="1077"/>
                      </a:lnTo>
                      <a:lnTo>
                        <a:pt x="546" y="1065"/>
                      </a:lnTo>
                      <a:lnTo>
                        <a:pt x="539" y="1077"/>
                      </a:lnTo>
                      <a:lnTo>
                        <a:pt x="555" y="1082"/>
                      </a:lnTo>
                      <a:lnTo>
                        <a:pt x="501" y="1110"/>
                      </a:lnTo>
                      <a:lnTo>
                        <a:pt x="508" y="1115"/>
                      </a:lnTo>
                      <a:lnTo>
                        <a:pt x="492" y="1115"/>
                      </a:lnTo>
                      <a:lnTo>
                        <a:pt x="485" y="1122"/>
                      </a:lnTo>
                      <a:lnTo>
                        <a:pt x="470" y="1115"/>
                      </a:lnTo>
                      <a:lnTo>
                        <a:pt x="470" y="1110"/>
                      </a:lnTo>
                      <a:lnTo>
                        <a:pt x="463" y="1094"/>
                      </a:lnTo>
                      <a:lnTo>
                        <a:pt x="454" y="1094"/>
                      </a:lnTo>
                      <a:lnTo>
                        <a:pt x="463" y="1082"/>
                      </a:lnTo>
                      <a:lnTo>
                        <a:pt x="454" y="1077"/>
                      </a:lnTo>
                      <a:lnTo>
                        <a:pt x="447" y="1094"/>
                      </a:lnTo>
                      <a:lnTo>
                        <a:pt x="454" y="1099"/>
                      </a:lnTo>
                      <a:lnTo>
                        <a:pt x="447" y="1082"/>
                      </a:lnTo>
                      <a:lnTo>
                        <a:pt x="454" y="1082"/>
                      </a:lnTo>
                      <a:lnTo>
                        <a:pt x="454" y="1094"/>
                      </a:lnTo>
                      <a:lnTo>
                        <a:pt x="470" y="1099"/>
                      </a:lnTo>
                      <a:lnTo>
                        <a:pt x="463" y="1115"/>
                      </a:lnTo>
                      <a:lnTo>
                        <a:pt x="454" y="1110"/>
                      </a:lnTo>
                      <a:lnTo>
                        <a:pt x="437" y="1094"/>
                      </a:lnTo>
                      <a:lnTo>
                        <a:pt x="437" y="1110"/>
                      </a:lnTo>
                      <a:lnTo>
                        <a:pt x="378" y="1099"/>
                      </a:lnTo>
                      <a:lnTo>
                        <a:pt x="378" y="1110"/>
                      </a:lnTo>
                      <a:lnTo>
                        <a:pt x="345" y="1110"/>
                      </a:lnTo>
                      <a:lnTo>
                        <a:pt x="395" y="1110"/>
                      </a:lnTo>
                      <a:lnTo>
                        <a:pt x="409" y="1122"/>
                      </a:lnTo>
                      <a:lnTo>
                        <a:pt x="395" y="1110"/>
                      </a:lnTo>
                      <a:lnTo>
                        <a:pt x="400" y="1110"/>
                      </a:lnTo>
                      <a:lnTo>
                        <a:pt x="433" y="1122"/>
                      </a:lnTo>
                      <a:lnTo>
                        <a:pt x="433" y="1132"/>
                      </a:lnTo>
                      <a:lnTo>
                        <a:pt x="437" y="1132"/>
                      </a:lnTo>
                      <a:lnTo>
                        <a:pt x="437" y="1122"/>
                      </a:lnTo>
                      <a:lnTo>
                        <a:pt x="470" y="1132"/>
                      </a:lnTo>
                      <a:lnTo>
                        <a:pt x="501" y="1122"/>
                      </a:lnTo>
                      <a:lnTo>
                        <a:pt x="518" y="1122"/>
                      </a:lnTo>
                      <a:lnTo>
                        <a:pt x="518" y="1115"/>
                      </a:lnTo>
                      <a:lnTo>
                        <a:pt x="534" y="1122"/>
                      </a:lnTo>
                      <a:lnTo>
                        <a:pt x="501" y="1132"/>
                      </a:lnTo>
                      <a:lnTo>
                        <a:pt x="501" y="1148"/>
                      </a:lnTo>
                      <a:lnTo>
                        <a:pt x="485" y="1155"/>
                      </a:lnTo>
                      <a:lnTo>
                        <a:pt x="480" y="1181"/>
                      </a:lnTo>
                      <a:lnTo>
                        <a:pt x="463" y="1139"/>
                      </a:lnTo>
                      <a:lnTo>
                        <a:pt x="454" y="1172"/>
                      </a:lnTo>
                      <a:lnTo>
                        <a:pt x="437" y="1188"/>
                      </a:lnTo>
                      <a:lnTo>
                        <a:pt x="416" y="1188"/>
                      </a:lnTo>
                      <a:lnTo>
                        <a:pt x="426" y="1193"/>
                      </a:lnTo>
                      <a:lnTo>
                        <a:pt x="409" y="1205"/>
                      </a:lnTo>
                      <a:lnTo>
                        <a:pt x="357" y="1205"/>
                      </a:lnTo>
                      <a:lnTo>
                        <a:pt x="383" y="1205"/>
                      </a:lnTo>
                      <a:lnTo>
                        <a:pt x="409" y="1221"/>
                      </a:lnTo>
                      <a:lnTo>
                        <a:pt x="371" y="1221"/>
                      </a:lnTo>
                      <a:lnTo>
                        <a:pt x="395" y="1226"/>
                      </a:lnTo>
                      <a:lnTo>
                        <a:pt x="400" y="1243"/>
                      </a:lnTo>
                      <a:lnTo>
                        <a:pt x="395" y="1266"/>
                      </a:lnTo>
                      <a:lnTo>
                        <a:pt x="383" y="1266"/>
                      </a:lnTo>
                      <a:lnTo>
                        <a:pt x="395" y="1283"/>
                      </a:lnTo>
                      <a:lnTo>
                        <a:pt x="378" y="1266"/>
                      </a:lnTo>
                      <a:lnTo>
                        <a:pt x="395" y="1292"/>
                      </a:lnTo>
                      <a:lnTo>
                        <a:pt x="371" y="1276"/>
                      </a:lnTo>
                      <a:lnTo>
                        <a:pt x="395" y="1299"/>
                      </a:lnTo>
                      <a:lnTo>
                        <a:pt x="383" y="1304"/>
                      </a:lnTo>
                      <a:lnTo>
                        <a:pt x="395" y="1321"/>
                      </a:lnTo>
                      <a:lnTo>
                        <a:pt x="378" y="1337"/>
                      </a:lnTo>
                      <a:lnTo>
                        <a:pt x="378" y="1354"/>
                      </a:lnTo>
                      <a:lnTo>
                        <a:pt x="383" y="1358"/>
                      </a:lnTo>
                      <a:lnTo>
                        <a:pt x="378" y="1370"/>
                      </a:lnTo>
                      <a:lnTo>
                        <a:pt x="371" y="1403"/>
                      </a:lnTo>
                      <a:lnTo>
                        <a:pt x="329" y="1465"/>
                      </a:lnTo>
                      <a:lnTo>
                        <a:pt x="319" y="1460"/>
                      </a:lnTo>
                      <a:lnTo>
                        <a:pt x="253" y="1460"/>
                      </a:lnTo>
                      <a:lnTo>
                        <a:pt x="253" y="1469"/>
                      </a:lnTo>
                      <a:lnTo>
                        <a:pt x="237" y="1465"/>
                      </a:lnTo>
                      <a:lnTo>
                        <a:pt x="215" y="1486"/>
                      </a:lnTo>
                      <a:lnTo>
                        <a:pt x="215" y="1505"/>
                      </a:lnTo>
                      <a:lnTo>
                        <a:pt x="232" y="1521"/>
                      </a:lnTo>
                      <a:lnTo>
                        <a:pt x="215" y="1538"/>
                      </a:lnTo>
                      <a:lnTo>
                        <a:pt x="182" y="1526"/>
                      </a:lnTo>
                      <a:lnTo>
                        <a:pt x="156" y="1538"/>
                      </a:lnTo>
                      <a:lnTo>
                        <a:pt x="130" y="1538"/>
                      </a:lnTo>
                      <a:lnTo>
                        <a:pt x="123" y="1521"/>
                      </a:lnTo>
                      <a:lnTo>
                        <a:pt x="140" y="1505"/>
                      </a:lnTo>
                      <a:lnTo>
                        <a:pt x="92" y="1443"/>
                      </a:lnTo>
                      <a:lnTo>
                        <a:pt x="123" y="1448"/>
                      </a:lnTo>
                      <a:lnTo>
                        <a:pt x="107" y="1432"/>
                      </a:lnTo>
                      <a:lnTo>
                        <a:pt x="123" y="1427"/>
                      </a:lnTo>
                      <a:lnTo>
                        <a:pt x="123" y="1410"/>
                      </a:lnTo>
                      <a:lnTo>
                        <a:pt x="114" y="1410"/>
                      </a:lnTo>
                      <a:lnTo>
                        <a:pt x="102" y="1387"/>
                      </a:lnTo>
                      <a:lnTo>
                        <a:pt x="85" y="1377"/>
                      </a:lnTo>
                      <a:lnTo>
                        <a:pt x="69" y="1349"/>
                      </a:lnTo>
                      <a:lnTo>
                        <a:pt x="69" y="1321"/>
                      </a:lnTo>
                      <a:lnTo>
                        <a:pt x="59" y="1321"/>
                      </a:lnTo>
                      <a:lnTo>
                        <a:pt x="59" y="1337"/>
                      </a:lnTo>
                      <a:lnTo>
                        <a:pt x="55" y="1332"/>
                      </a:lnTo>
                      <a:lnTo>
                        <a:pt x="55" y="1304"/>
                      </a:lnTo>
                      <a:lnTo>
                        <a:pt x="55" y="1299"/>
                      </a:lnTo>
                      <a:lnTo>
                        <a:pt x="55" y="1299"/>
                      </a:lnTo>
                      <a:lnTo>
                        <a:pt x="38" y="1299"/>
                      </a:lnTo>
                      <a:lnTo>
                        <a:pt x="38" y="1283"/>
                      </a:lnTo>
                      <a:lnTo>
                        <a:pt x="55" y="1243"/>
                      </a:lnTo>
                      <a:lnTo>
                        <a:pt x="48" y="1238"/>
                      </a:lnTo>
                      <a:lnTo>
                        <a:pt x="31" y="1243"/>
                      </a:lnTo>
                      <a:lnTo>
                        <a:pt x="5" y="1226"/>
                      </a:lnTo>
                      <a:lnTo>
                        <a:pt x="5" y="1181"/>
                      </a:lnTo>
                      <a:lnTo>
                        <a:pt x="0" y="1165"/>
                      </a:lnTo>
                      <a:lnTo>
                        <a:pt x="15" y="1148"/>
                      </a:lnTo>
                      <a:lnTo>
                        <a:pt x="22" y="1165"/>
                      </a:lnTo>
                      <a:lnTo>
                        <a:pt x="22" y="1172"/>
                      </a:lnTo>
                      <a:lnTo>
                        <a:pt x="31" y="1172"/>
                      </a:lnTo>
                      <a:lnTo>
                        <a:pt x="31" y="1172"/>
                      </a:lnTo>
                      <a:lnTo>
                        <a:pt x="31" y="1172"/>
                      </a:lnTo>
                      <a:close/>
                      <a:moveTo>
                        <a:pt x="485" y="761"/>
                      </a:moveTo>
                      <a:lnTo>
                        <a:pt x="485" y="749"/>
                      </a:lnTo>
                      <a:lnTo>
                        <a:pt x="492" y="749"/>
                      </a:lnTo>
                      <a:lnTo>
                        <a:pt x="485" y="761"/>
                      </a:lnTo>
                      <a:lnTo>
                        <a:pt x="485" y="761"/>
                      </a:lnTo>
                      <a:lnTo>
                        <a:pt x="485" y="761"/>
                      </a:lnTo>
                      <a:close/>
                      <a:moveTo>
                        <a:pt x="447" y="799"/>
                      </a:moveTo>
                      <a:lnTo>
                        <a:pt x="437" y="782"/>
                      </a:lnTo>
                      <a:lnTo>
                        <a:pt x="447" y="782"/>
                      </a:lnTo>
                      <a:lnTo>
                        <a:pt x="447" y="789"/>
                      </a:lnTo>
                      <a:lnTo>
                        <a:pt x="447" y="799"/>
                      </a:lnTo>
                      <a:lnTo>
                        <a:pt x="447" y="799"/>
                      </a:lnTo>
                      <a:lnTo>
                        <a:pt x="447" y="799"/>
                      </a:lnTo>
                      <a:close/>
                      <a:moveTo>
                        <a:pt x="522" y="1021"/>
                      </a:moveTo>
                      <a:lnTo>
                        <a:pt x="508" y="1011"/>
                      </a:lnTo>
                      <a:lnTo>
                        <a:pt x="508" y="999"/>
                      </a:lnTo>
                      <a:lnTo>
                        <a:pt x="522" y="1021"/>
                      </a:lnTo>
                      <a:lnTo>
                        <a:pt x="522" y="1021"/>
                      </a:lnTo>
                      <a:lnTo>
                        <a:pt x="522" y="1021"/>
                      </a:lnTo>
                      <a:close/>
                      <a:moveTo>
                        <a:pt x="522" y="1115"/>
                      </a:moveTo>
                      <a:lnTo>
                        <a:pt x="522" y="1110"/>
                      </a:lnTo>
                      <a:lnTo>
                        <a:pt x="534" y="1099"/>
                      </a:lnTo>
                      <a:lnTo>
                        <a:pt x="522" y="1115"/>
                      </a:lnTo>
                      <a:lnTo>
                        <a:pt x="522" y="1115"/>
                      </a:lnTo>
                      <a:lnTo>
                        <a:pt x="522" y="1115"/>
                      </a:lnTo>
                      <a:close/>
                      <a:moveTo>
                        <a:pt x="433" y="1122"/>
                      </a:moveTo>
                      <a:lnTo>
                        <a:pt x="416" y="1115"/>
                      </a:lnTo>
                      <a:lnTo>
                        <a:pt x="433" y="1115"/>
                      </a:lnTo>
                      <a:lnTo>
                        <a:pt x="433" y="1122"/>
                      </a:lnTo>
                      <a:lnTo>
                        <a:pt x="433" y="1122"/>
                      </a:lnTo>
                      <a:lnTo>
                        <a:pt x="433" y="1122"/>
                      </a:lnTo>
                      <a:close/>
                      <a:moveTo>
                        <a:pt x="470" y="1132"/>
                      </a:moveTo>
                      <a:lnTo>
                        <a:pt x="454" y="1132"/>
                      </a:lnTo>
                      <a:lnTo>
                        <a:pt x="447" y="1115"/>
                      </a:lnTo>
                      <a:lnTo>
                        <a:pt x="470" y="1132"/>
                      </a:lnTo>
                      <a:lnTo>
                        <a:pt x="470" y="1132"/>
                      </a:lnTo>
                      <a:lnTo>
                        <a:pt x="470" y="1132"/>
                      </a:lnTo>
                      <a:close/>
                      <a:moveTo>
                        <a:pt x="518" y="1139"/>
                      </a:moveTo>
                      <a:lnTo>
                        <a:pt x="508" y="1132"/>
                      </a:lnTo>
                      <a:lnTo>
                        <a:pt x="522" y="1132"/>
                      </a:lnTo>
                      <a:lnTo>
                        <a:pt x="518" y="1139"/>
                      </a:lnTo>
                      <a:lnTo>
                        <a:pt x="518" y="1139"/>
                      </a:lnTo>
                      <a:lnTo>
                        <a:pt x="518" y="1139"/>
                      </a:lnTo>
                      <a:close/>
                      <a:moveTo>
                        <a:pt x="572" y="1238"/>
                      </a:moveTo>
                      <a:lnTo>
                        <a:pt x="560" y="1226"/>
                      </a:lnTo>
                      <a:lnTo>
                        <a:pt x="577" y="1226"/>
                      </a:lnTo>
                      <a:lnTo>
                        <a:pt x="572" y="1238"/>
                      </a:lnTo>
                      <a:lnTo>
                        <a:pt x="572" y="1238"/>
                      </a:lnTo>
                      <a:lnTo>
                        <a:pt x="572" y="1238"/>
                      </a:lnTo>
                      <a:close/>
                      <a:moveTo>
                        <a:pt x="22" y="1259"/>
                      </a:moveTo>
                      <a:lnTo>
                        <a:pt x="22" y="1250"/>
                      </a:lnTo>
                      <a:lnTo>
                        <a:pt x="38" y="1238"/>
                      </a:lnTo>
                      <a:lnTo>
                        <a:pt x="48" y="1243"/>
                      </a:lnTo>
                      <a:lnTo>
                        <a:pt x="48" y="1250"/>
                      </a:lnTo>
                      <a:lnTo>
                        <a:pt x="22" y="1259"/>
                      </a:lnTo>
                      <a:lnTo>
                        <a:pt x="22" y="1259"/>
                      </a:lnTo>
                      <a:lnTo>
                        <a:pt x="22" y="1259"/>
                      </a:lnTo>
                      <a:close/>
                      <a:moveTo>
                        <a:pt x="48" y="1259"/>
                      </a:moveTo>
                      <a:lnTo>
                        <a:pt x="31" y="1276"/>
                      </a:lnTo>
                      <a:lnTo>
                        <a:pt x="31" y="1266"/>
                      </a:lnTo>
                      <a:lnTo>
                        <a:pt x="48" y="1259"/>
                      </a:lnTo>
                      <a:lnTo>
                        <a:pt x="48" y="1259"/>
                      </a:lnTo>
                      <a:lnTo>
                        <a:pt x="48" y="1259"/>
                      </a:lnTo>
                      <a:close/>
                      <a:moveTo>
                        <a:pt x="560" y="1283"/>
                      </a:moveTo>
                      <a:lnTo>
                        <a:pt x="555" y="1276"/>
                      </a:lnTo>
                      <a:lnTo>
                        <a:pt x="560" y="1266"/>
                      </a:lnTo>
                      <a:lnTo>
                        <a:pt x="577" y="1266"/>
                      </a:lnTo>
                      <a:lnTo>
                        <a:pt x="560" y="1276"/>
                      </a:lnTo>
                      <a:lnTo>
                        <a:pt x="560" y="1283"/>
                      </a:lnTo>
                      <a:lnTo>
                        <a:pt x="560" y="1283"/>
                      </a:lnTo>
                      <a:lnTo>
                        <a:pt x="560" y="1283"/>
                      </a:lnTo>
                      <a:close/>
                      <a:moveTo>
                        <a:pt x="555" y="1276"/>
                      </a:moveTo>
                      <a:lnTo>
                        <a:pt x="555" y="1283"/>
                      </a:lnTo>
                      <a:lnTo>
                        <a:pt x="539" y="1299"/>
                      </a:lnTo>
                      <a:lnTo>
                        <a:pt x="534" y="1349"/>
                      </a:lnTo>
                      <a:lnTo>
                        <a:pt x="508" y="1354"/>
                      </a:lnTo>
                      <a:lnTo>
                        <a:pt x="501" y="1377"/>
                      </a:lnTo>
                      <a:lnTo>
                        <a:pt x="492" y="1377"/>
                      </a:lnTo>
                      <a:lnTo>
                        <a:pt x="501" y="1370"/>
                      </a:lnTo>
                      <a:lnTo>
                        <a:pt x="492" y="1316"/>
                      </a:lnTo>
                      <a:lnTo>
                        <a:pt x="534" y="1276"/>
                      </a:lnTo>
                      <a:lnTo>
                        <a:pt x="555" y="1276"/>
                      </a:lnTo>
                      <a:lnTo>
                        <a:pt x="555" y="1276"/>
                      </a:lnTo>
                      <a:lnTo>
                        <a:pt x="555" y="1276"/>
                      </a:lnTo>
                      <a:close/>
                      <a:moveTo>
                        <a:pt x="371" y="1448"/>
                      </a:moveTo>
                      <a:lnTo>
                        <a:pt x="371" y="1410"/>
                      </a:lnTo>
                      <a:lnTo>
                        <a:pt x="409" y="1337"/>
                      </a:lnTo>
                      <a:lnTo>
                        <a:pt x="426" y="1337"/>
                      </a:lnTo>
                      <a:lnTo>
                        <a:pt x="371" y="1448"/>
                      </a:lnTo>
                      <a:lnTo>
                        <a:pt x="371" y="1448"/>
                      </a:lnTo>
                      <a:lnTo>
                        <a:pt x="371" y="144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60" name="Freeform 568">
                  <a:extLst>
                    <a:ext uri="{FF2B5EF4-FFF2-40B4-BE49-F238E27FC236}">
                      <a16:creationId xmlns:a16="http://schemas.microsoft.com/office/drawing/2014/main" id="{54DD490B-8706-40B0-9D6C-247C8A8D636A}"/>
                    </a:ext>
                  </a:extLst>
                </p:cNvPr>
                <p:cNvSpPr>
                  <a:spLocks/>
                </p:cNvSpPr>
                <p:nvPr/>
              </p:nvSpPr>
              <p:spPr bwMode="gray">
                <a:xfrm>
                  <a:off x="8668084" y="2775979"/>
                  <a:ext cx="229712" cy="151924"/>
                </a:xfrm>
                <a:custGeom>
                  <a:avLst/>
                  <a:gdLst>
                    <a:gd name="T0" fmla="*/ 520 w 558"/>
                    <a:gd name="T1" fmla="*/ 302 h 369"/>
                    <a:gd name="T2" fmla="*/ 451 w 558"/>
                    <a:gd name="T3" fmla="*/ 319 h 369"/>
                    <a:gd name="T4" fmla="*/ 461 w 558"/>
                    <a:gd name="T5" fmla="*/ 314 h 369"/>
                    <a:gd name="T6" fmla="*/ 418 w 558"/>
                    <a:gd name="T7" fmla="*/ 298 h 369"/>
                    <a:gd name="T8" fmla="*/ 380 w 558"/>
                    <a:gd name="T9" fmla="*/ 335 h 369"/>
                    <a:gd name="T10" fmla="*/ 321 w 558"/>
                    <a:gd name="T11" fmla="*/ 359 h 369"/>
                    <a:gd name="T12" fmla="*/ 305 w 558"/>
                    <a:gd name="T13" fmla="*/ 359 h 369"/>
                    <a:gd name="T14" fmla="*/ 305 w 558"/>
                    <a:gd name="T15" fmla="*/ 265 h 369"/>
                    <a:gd name="T16" fmla="*/ 288 w 558"/>
                    <a:gd name="T17" fmla="*/ 232 h 369"/>
                    <a:gd name="T18" fmla="*/ 246 w 558"/>
                    <a:gd name="T19" fmla="*/ 220 h 369"/>
                    <a:gd name="T20" fmla="*/ 213 w 558"/>
                    <a:gd name="T21" fmla="*/ 281 h 369"/>
                    <a:gd name="T22" fmla="*/ 180 w 558"/>
                    <a:gd name="T23" fmla="*/ 286 h 369"/>
                    <a:gd name="T24" fmla="*/ 147 w 558"/>
                    <a:gd name="T25" fmla="*/ 302 h 369"/>
                    <a:gd name="T26" fmla="*/ 142 w 558"/>
                    <a:gd name="T27" fmla="*/ 331 h 369"/>
                    <a:gd name="T28" fmla="*/ 54 w 558"/>
                    <a:gd name="T29" fmla="*/ 343 h 369"/>
                    <a:gd name="T30" fmla="*/ 33 w 558"/>
                    <a:gd name="T31" fmla="*/ 319 h 369"/>
                    <a:gd name="T32" fmla="*/ 66 w 558"/>
                    <a:gd name="T33" fmla="*/ 260 h 369"/>
                    <a:gd name="T34" fmla="*/ 83 w 558"/>
                    <a:gd name="T35" fmla="*/ 243 h 369"/>
                    <a:gd name="T36" fmla="*/ 54 w 558"/>
                    <a:gd name="T37" fmla="*/ 187 h 369"/>
                    <a:gd name="T38" fmla="*/ 54 w 558"/>
                    <a:gd name="T39" fmla="*/ 170 h 369"/>
                    <a:gd name="T40" fmla="*/ 28 w 558"/>
                    <a:gd name="T41" fmla="*/ 165 h 369"/>
                    <a:gd name="T42" fmla="*/ 0 w 558"/>
                    <a:gd name="T43" fmla="*/ 149 h 369"/>
                    <a:gd name="T44" fmla="*/ 33 w 558"/>
                    <a:gd name="T45" fmla="*/ 116 h 369"/>
                    <a:gd name="T46" fmla="*/ 92 w 558"/>
                    <a:gd name="T47" fmla="*/ 99 h 369"/>
                    <a:gd name="T48" fmla="*/ 104 w 558"/>
                    <a:gd name="T49" fmla="*/ 83 h 369"/>
                    <a:gd name="T50" fmla="*/ 92 w 558"/>
                    <a:gd name="T51" fmla="*/ 78 h 369"/>
                    <a:gd name="T52" fmla="*/ 142 w 558"/>
                    <a:gd name="T53" fmla="*/ 45 h 369"/>
                    <a:gd name="T54" fmla="*/ 147 w 558"/>
                    <a:gd name="T55" fmla="*/ 21 h 369"/>
                    <a:gd name="T56" fmla="*/ 213 w 558"/>
                    <a:gd name="T57" fmla="*/ 12 h 369"/>
                    <a:gd name="T58" fmla="*/ 250 w 558"/>
                    <a:gd name="T59" fmla="*/ 28 h 369"/>
                    <a:gd name="T60" fmla="*/ 217 w 558"/>
                    <a:gd name="T61" fmla="*/ 54 h 369"/>
                    <a:gd name="T62" fmla="*/ 255 w 558"/>
                    <a:gd name="T63" fmla="*/ 66 h 369"/>
                    <a:gd name="T64" fmla="*/ 234 w 558"/>
                    <a:gd name="T65" fmla="*/ 78 h 369"/>
                    <a:gd name="T66" fmla="*/ 229 w 558"/>
                    <a:gd name="T67" fmla="*/ 95 h 369"/>
                    <a:gd name="T68" fmla="*/ 196 w 558"/>
                    <a:gd name="T69" fmla="*/ 66 h 369"/>
                    <a:gd name="T70" fmla="*/ 158 w 558"/>
                    <a:gd name="T71" fmla="*/ 95 h 369"/>
                    <a:gd name="T72" fmla="*/ 142 w 558"/>
                    <a:gd name="T73" fmla="*/ 83 h 369"/>
                    <a:gd name="T74" fmla="*/ 142 w 558"/>
                    <a:gd name="T75" fmla="*/ 121 h 369"/>
                    <a:gd name="T76" fmla="*/ 234 w 558"/>
                    <a:gd name="T77" fmla="*/ 121 h 369"/>
                    <a:gd name="T78" fmla="*/ 255 w 558"/>
                    <a:gd name="T79" fmla="*/ 137 h 369"/>
                    <a:gd name="T80" fmla="*/ 298 w 558"/>
                    <a:gd name="T81" fmla="*/ 121 h 369"/>
                    <a:gd name="T82" fmla="*/ 310 w 558"/>
                    <a:gd name="T83" fmla="*/ 132 h 369"/>
                    <a:gd name="T84" fmla="*/ 336 w 558"/>
                    <a:gd name="T85" fmla="*/ 137 h 369"/>
                    <a:gd name="T86" fmla="*/ 359 w 558"/>
                    <a:gd name="T87" fmla="*/ 137 h 369"/>
                    <a:gd name="T88" fmla="*/ 451 w 558"/>
                    <a:gd name="T89" fmla="*/ 132 h 369"/>
                    <a:gd name="T90" fmla="*/ 461 w 558"/>
                    <a:gd name="T91" fmla="*/ 170 h 369"/>
                    <a:gd name="T92" fmla="*/ 461 w 558"/>
                    <a:gd name="T93" fmla="*/ 203 h 369"/>
                    <a:gd name="T94" fmla="*/ 482 w 558"/>
                    <a:gd name="T95" fmla="*/ 203 h 369"/>
                    <a:gd name="T96" fmla="*/ 536 w 558"/>
                    <a:gd name="T97" fmla="*/ 220 h 369"/>
                    <a:gd name="T98" fmla="*/ 543 w 558"/>
                    <a:gd name="T99" fmla="*/ 276 h 369"/>
                    <a:gd name="T100" fmla="*/ 558 w 558"/>
                    <a:gd name="T101" fmla="*/ 302 h 369"/>
                    <a:gd name="T102" fmla="*/ 536 w 558"/>
                    <a:gd name="T103" fmla="*/ 31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58" h="369">
                      <a:moveTo>
                        <a:pt x="536" y="319"/>
                      </a:moveTo>
                      <a:lnTo>
                        <a:pt x="520" y="302"/>
                      </a:lnTo>
                      <a:lnTo>
                        <a:pt x="489" y="302"/>
                      </a:lnTo>
                      <a:lnTo>
                        <a:pt x="451" y="319"/>
                      </a:lnTo>
                      <a:lnTo>
                        <a:pt x="444" y="314"/>
                      </a:lnTo>
                      <a:lnTo>
                        <a:pt x="461" y="314"/>
                      </a:lnTo>
                      <a:lnTo>
                        <a:pt x="461" y="302"/>
                      </a:lnTo>
                      <a:lnTo>
                        <a:pt x="418" y="298"/>
                      </a:lnTo>
                      <a:lnTo>
                        <a:pt x="390" y="319"/>
                      </a:lnTo>
                      <a:lnTo>
                        <a:pt x="380" y="335"/>
                      </a:lnTo>
                      <a:lnTo>
                        <a:pt x="352" y="335"/>
                      </a:lnTo>
                      <a:lnTo>
                        <a:pt x="321" y="359"/>
                      </a:lnTo>
                      <a:lnTo>
                        <a:pt x="310" y="369"/>
                      </a:lnTo>
                      <a:lnTo>
                        <a:pt x="305" y="359"/>
                      </a:lnTo>
                      <a:lnTo>
                        <a:pt x="288" y="331"/>
                      </a:lnTo>
                      <a:lnTo>
                        <a:pt x="305" y="265"/>
                      </a:lnTo>
                      <a:lnTo>
                        <a:pt x="284" y="265"/>
                      </a:lnTo>
                      <a:lnTo>
                        <a:pt x="288" y="232"/>
                      </a:lnTo>
                      <a:lnTo>
                        <a:pt x="255" y="220"/>
                      </a:lnTo>
                      <a:lnTo>
                        <a:pt x="246" y="220"/>
                      </a:lnTo>
                      <a:lnTo>
                        <a:pt x="201" y="260"/>
                      </a:lnTo>
                      <a:lnTo>
                        <a:pt x="213" y="281"/>
                      </a:lnTo>
                      <a:lnTo>
                        <a:pt x="201" y="298"/>
                      </a:lnTo>
                      <a:lnTo>
                        <a:pt x="180" y="286"/>
                      </a:lnTo>
                      <a:lnTo>
                        <a:pt x="158" y="286"/>
                      </a:lnTo>
                      <a:lnTo>
                        <a:pt x="147" y="302"/>
                      </a:lnTo>
                      <a:lnTo>
                        <a:pt x="147" y="319"/>
                      </a:lnTo>
                      <a:lnTo>
                        <a:pt x="142" y="331"/>
                      </a:lnTo>
                      <a:lnTo>
                        <a:pt x="109" y="314"/>
                      </a:lnTo>
                      <a:lnTo>
                        <a:pt x="54" y="343"/>
                      </a:lnTo>
                      <a:lnTo>
                        <a:pt x="33" y="331"/>
                      </a:lnTo>
                      <a:lnTo>
                        <a:pt x="33" y="319"/>
                      </a:lnTo>
                      <a:lnTo>
                        <a:pt x="38" y="298"/>
                      </a:lnTo>
                      <a:lnTo>
                        <a:pt x="66" y="260"/>
                      </a:lnTo>
                      <a:lnTo>
                        <a:pt x="71" y="260"/>
                      </a:lnTo>
                      <a:lnTo>
                        <a:pt x="83" y="243"/>
                      </a:lnTo>
                      <a:lnTo>
                        <a:pt x="54" y="210"/>
                      </a:lnTo>
                      <a:lnTo>
                        <a:pt x="54" y="187"/>
                      </a:lnTo>
                      <a:lnTo>
                        <a:pt x="66" y="187"/>
                      </a:lnTo>
                      <a:lnTo>
                        <a:pt x="54" y="170"/>
                      </a:lnTo>
                      <a:lnTo>
                        <a:pt x="33" y="170"/>
                      </a:lnTo>
                      <a:lnTo>
                        <a:pt x="28" y="165"/>
                      </a:lnTo>
                      <a:lnTo>
                        <a:pt x="12" y="154"/>
                      </a:lnTo>
                      <a:lnTo>
                        <a:pt x="0" y="149"/>
                      </a:lnTo>
                      <a:lnTo>
                        <a:pt x="12" y="132"/>
                      </a:lnTo>
                      <a:lnTo>
                        <a:pt x="33" y="116"/>
                      </a:lnTo>
                      <a:lnTo>
                        <a:pt x="88" y="121"/>
                      </a:lnTo>
                      <a:lnTo>
                        <a:pt x="92" y="99"/>
                      </a:lnTo>
                      <a:lnTo>
                        <a:pt x="109" y="99"/>
                      </a:lnTo>
                      <a:lnTo>
                        <a:pt x="104" y="83"/>
                      </a:lnTo>
                      <a:lnTo>
                        <a:pt x="121" y="78"/>
                      </a:lnTo>
                      <a:lnTo>
                        <a:pt x="92" y="78"/>
                      </a:lnTo>
                      <a:lnTo>
                        <a:pt x="142" y="66"/>
                      </a:lnTo>
                      <a:lnTo>
                        <a:pt x="142" y="45"/>
                      </a:lnTo>
                      <a:lnTo>
                        <a:pt x="147" y="21"/>
                      </a:lnTo>
                      <a:lnTo>
                        <a:pt x="147" y="21"/>
                      </a:lnTo>
                      <a:lnTo>
                        <a:pt x="175" y="38"/>
                      </a:lnTo>
                      <a:lnTo>
                        <a:pt x="213" y="12"/>
                      </a:lnTo>
                      <a:lnTo>
                        <a:pt x="217" y="0"/>
                      </a:lnTo>
                      <a:lnTo>
                        <a:pt x="250" y="28"/>
                      </a:lnTo>
                      <a:lnTo>
                        <a:pt x="217" y="54"/>
                      </a:lnTo>
                      <a:lnTo>
                        <a:pt x="217" y="54"/>
                      </a:lnTo>
                      <a:lnTo>
                        <a:pt x="234" y="66"/>
                      </a:lnTo>
                      <a:lnTo>
                        <a:pt x="255" y="66"/>
                      </a:lnTo>
                      <a:lnTo>
                        <a:pt x="255" y="78"/>
                      </a:lnTo>
                      <a:lnTo>
                        <a:pt x="234" y="78"/>
                      </a:lnTo>
                      <a:lnTo>
                        <a:pt x="234" y="95"/>
                      </a:lnTo>
                      <a:lnTo>
                        <a:pt x="229" y="95"/>
                      </a:lnTo>
                      <a:lnTo>
                        <a:pt x="229" y="83"/>
                      </a:lnTo>
                      <a:lnTo>
                        <a:pt x="196" y="66"/>
                      </a:lnTo>
                      <a:lnTo>
                        <a:pt x="158" y="78"/>
                      </a:lnTo>
                      <a:lnTo>
                        <a:pt x="158" y="95"/>
                      </a:lnTo>
                      <a:lnTo>
                        <a:pt x="147" y="95"/>
                      </a:lnTo>
                      <a:lnTo>
                        <a:pt x="142" y="83"/>
                      </a:lnTo>
                      <a:lnTo>
                        <a:pt x="142" y="99"/>
                      </a:lnTo>
                      <a:lnTo>
                        <a:pt x="142" y="121"/>
                      </a:lnTo>
                      <a:lnTo>
                        <a:pt x="229" y="121"/>
                      </a:lnTo>
                      <a:lnTo>
                        <a:pt x="234" y="121"/>
                      </a:lnTo>
                      <a:lnTo>
                        <a:pt x="246" y="137"/>
                      </a:lnTo>
                      <a:lnTo>
                        <a:pt x="255" y="137"/>
                      </a:lnTo>
                      <a:lnTo>
                        <a:pt x="267" y="132"/>
                      </a:lnTo>
                      <a:lnTo>
                        <a:pt x="298" y="121"/>
                      </a:lnTo>
                      <a:lnTo>
                        <a:pt x="298" y="132"/>
                      </a:lnTo>
                      <a:lnTo>
                        <a:pt x="310" y="132"/>
                      </a:lnTo>
                      <a:lnTo>
                        <a:pt x="310" y="149"/>
                      </a:lnTo>
                      <a:lnTo>
                        <a:pt x="336" y="137"/>
                      </a:lnTo>
                      <a:lnTo>
                        <a:pt x="352" y="154"/>
                      </a:lnTo>
                      <a:lnTo>
                        <a:pt x="359" y="137"/>
                      </a:lnTo>
                      <a:lnTo>
                        <a:pt x="413" y="137"/>
                      </a:lnTo>
                      <a:lnTo>
                        <a:pt x="451" y="132"/>
                      </a:lnTo>
                      <a:lnTo>
                        <a:pt x="444" y="154"/>
                      </a:lnTo>
                      <a:lnTo>
                        <a:pt x="461" y="170"/>
                      </a:lnTo>
                      <a:lnTo>
                        <a:pt x="451" y="177"/>
                      </a:lnTo>
                      <a:lnTo>
                        <a:pt x="461" y="203"/>
                      </a:lnTo>
                      <a:lnTo>
                        <a:pt x="473" y="210"/>
                      </a:lnTo>
                      <a:lnTo>
                        <a:pt x="482" y="203"/>
                      </a:lnTo>
                      <a:lnTo>
                        <a:pt x="499" y="203"/>
                      </a:lnTo>
                      <a:lnTo>
                        <a:pt x="536" y="220"/>
                      </a:lnTo>
                      <a:lnTo>
                        <a:pt x="527" y="248"/>
                      </a:lnTo>
                      <a:lnTo>
                        <a:pt x="543" y="276"/>
                      </a:lnTo>
                      <a:lnTo>
                        <a:pt x="536" y="281"/>
                      </a:lnTo>
                      <a:lnTo>
                        <a:pt x="558" y="302"/>
                      </a:lnTo>
                      <a:lnTo>
                        <a:pt x="536" y="319"/>
                      </a:lnTo>
                      <a:lnTo>
                        <a:pt x="536" y="319"/>
                      </a:lnTo>
                      <a:lnTo>
                        <a:pt x="536" y="31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61" name="Freeform 574">
                  <a:extLst>
                    <a:ext uri="{FF2B5EF4-FFF2-40B4-BE49-F238E27FC236}">
                      <a16:creationId xmlns:a16="http://schemas.microsoft.com/office/drawing/2014/main" id="{675ACBC3-FC41-42C6-BB8F-7D2DAC99A13C}"/>
                    </a:ext>
                  </a:extLst>
                </p:cNvPr>
                <p:cNvSpPr>
                  <a:spLocks noEditPoints="1"/>
                </p:cNvSpPr>
                <p:nvPr/>
              </p:nvSpPr>
              <p:spPr bwMode="gray">
                <a:xfrm>
                  <a:off x="7467242" y="2738924"/>
                  <a:ext cx="551226" cy="219033"/>
                </a:xfrm>
                <a:custGeom>
                  <a:avLst/>
                  <a:gdLst>
                    <a:gd name="T0" fmla="*/ 71 w 1339"/>
                    <a:gd name="T1" fmla="*/ 62 h 532"/>
                    <a:gd name="T2" fmla="*/ 59 w 1339"/>
                    <a:gd name="T3" fmla="*/ 22 h 532"/>
                    <a:gd name="T4" fmla="*/ 113 w 1339"/>
                    <a:gd name="T5" fmla="*/ 0 h 532"/>
                    <a:gd name="T6" fmla="*/ 168 w 1339"/>
                    <a:gd name="T7" fmla="*/ 38 h 532"/>
                    <a:gd name="T8" fmla="*/ 222 w 1339"/>
                    <a:gd name="T9" fmla="*/ 95 h 532"/>
                    <a:gd name="T10" fmla="*/ 177 w 1339"/>
                    <a:gd name="T11" fmla="*/ 88 h 532"/>
                    <a:gd name="T12" fmla="*/ 75 w 1339"/>
                    <a:gd name="T13" fmla="*/ 144 h 532"/>
                    <a:gd name="T14" fmla="*/ 80 w 1339"/>
                    <a:gd name="T15" fmla="*/ 128 h 532"/>
                    <a:gd name="T16" fmla="*/ 26 w 1339"/>
                    <a:gd name="T17" fmla="*/ 116 h 532"/>
                    <a:gd name="T18" fmla="*/ 1264 w 1339"/>
                    <a:gd name="T19" fmla="*/ 409 h 532"/>
                    <a:gd name="T20" fmla="*/ 1188 w 1339"/>
                    <a:gd name="T21" fmla="*/ 421 h 532"/>
                    <a:gd name="T22" fmla="*/ 1150 w 1339"/>
                    <a:gd name="T23" fmla="*/ 409 h 532"/>
                    <a:gd name="T24" fmla="*/ 957 w 1339"/>
                    <a:gd name="T25" fmla="*/ 461 h 532"/>
                    <a:gd name="T26" fmla="*/ 827 w 1339"/>
                    <a:gd name="T27" fmla="*/ 461 h 532"/>
                    <a:gd name="T28" fmla="*/ 777 w 1339"/>
                    <a:gd name="T29" fmla="*/ 487 h 532"/>
                    <a:gd name="T30" fmla="*/ 739 w 1339"/>
                    <a:gd name="T31" fmla="*/ 532 h 532"/>
                    <a:gd name="T32" fmla="*/ 739 w 1339"/>
                    <a:gd name="T33" fmla="*/ 461 h 532"/>
                    <a:gd name="T34" fmla="*/ 701 w 1339"/>
                    <a:gd name="T35" fmla="*/ 461 h 532"/>
                    <a:gd name="T36" fmla="*/ 583 w 1339"/>
                    <a:gd name="T37" fmla="*/ 487 h 532"/>
                    <a:gd name="T38" fmla="*/ 470 w 1339"/>
                    <a:gd name="T39" fmla="*/ 499 h 532"/>
                    <a:gd name="T40" fmla="*/ 340 w 1339"/>
                    <a:gd name="T41" fmla="*/ 482 h 532"/>
                    <a:gd name="T42" fmla="*/ 243 w 1339"/>
                    <a:gd name="T43" fmla="*/ 482 h 532"/>
                    <a:gd name="T44" fmla="*/ 231 w 1339"/>
                    <a:gd name="T45" fmla="*/ 449 h 532"/>
                    <a:gd name="T46" fmla="*/ 189 w 1339"/>
                    <a:gd name="T47" fmla="*/ 444 h 532"/>
                    <a:gd name="T48" fmla="*/ 168 w 1339"/>
                    <a:gd name="T49" fmla="*/ 461 h 532"/>
                    <a:gd name="T50" fmla="*/ 125 w 1339"/>
                    <a:gd name="T51" fmla="*/ 461 h 532"/>
                    <a:gd name="T52" fmla="*/ 113 w 1339"/>
                    <a:gd name="T53" fmla="*/ 433 h 532"/>
                    <a:gd name="T54" fmla="*/ 134 w 1339"/>
                    <a:gd name="T55" fmla="*/ 409 h 532"/>
                    <a:gd name="T56" fmla="*/ 113 w 1339"/>
                    <a:gd name="T57" fmla="*/ 350 h 532"/>
                    <a:gd name="T58" fmla="*/ 42 w 1339"/>
                    <a:gd name="T59" fmla="*/ 322 h 532"/>
                    <a:gd name="T60" fmla="*/ 54 w 1339"/>
                    <a:gd name="T61" fmla="*/ 310 h 532"/>
                    <a:gd name="T62" fmla="*/ 108 w 1339"/>
                    <a:gd name="T63" fmla="*/ 310 h 532"/>
                    <a:gd name="T64" fmla="*/ 97 w 1339"/>
                    <a:gd name="T65" fmla="*/ 265 h 532"/>
                    <a:gd name="T66" fmla="*/ 92 w 1339"/>
                    <a:gd name="T67" fmla="*/ 222 h 532"/>
                    <a:gd name="T68" fmla="*/ 75 w 1339"/>
                    <a:gd name="T69" fmla="*/ 144 h 532"/>
                    <a:gd name="T70" fmla="*/ 146 w 1339"/>
                    <a:gd name="T71" fmla="*/ 133 h 532"/>
                    <a:gd name="T72" fmla="*/ 163 w 1339"/>
                    <a:gd name="T73" fmla="*/ 149 h 532"/>
                    <a:gd name="T74" fmla="*/ 269 w 1339"/>
                    <a:gd name="T75" fmla="*/ 116 h 532"/>
                    <a:gd name="T76" fmla="*/ 238 w 1339"/>
                    <a:gd name="T77" fmla="*/ 88 h 532"/>
                    <a:gd name="T78" fmla="*/ 361 w 1339"/>
                    <a:gd name="T79" fmla="*/ 88 h 532"/>
                    <a:gd name="T80" fmla="*/ 541 w 1339"/>
                    <a:gd name="T81" fmla="*/ 5 h 532"/>
                    <a:gd name="T82" fmla="*/ 692 w 1339"/>
                    <a:gd name="T83" fmla="*/ 38 h 532"/>
                    <a:gd name="T84" fmla="*/ 756 w 1339"/>
                    <a:gd name="T85" fmla="*/ 71 h 532"/>
                    <a:gd name="T86" fmla="*/ 831 w 1339"/>
                    <a:gd name="T87" fmla="*/ 88 h 532"/>
                    <a:gd name="T88" fmla="*/ 961 w 1339"/>
                    <a:gd name="T89" fmla="*/ 88 h 532"/>
                    <a:gd name="T90" fmla="*/ 1134 w 1339"/>
                    <a:gd name="T91" fmla="*/ 55 h 532"/>
                    <a:gd name="T92" fmla="*/ 1205 w 1339"/>
                    <a:gd name="T93" fmla="*/ 38 h 532"/>
                    <a:gd name="T94" fmla="*/ 1268 w 1339"/>
                    <a:gd name="T95" fmla="*/ 111 h 532"/>
                    <a:gd name="T96" fmla="*/ 1280 w 1339"/>
                    <a:gd name="T97" fmla="*/ 173 h 532"/>
                    <a:gd name="T98" fmla="*/ 1334 w 1339"/>
                    <a:gd name="T99" fmla="*/ 199 h 532"/>
                    <a:gd name="T100" fmla="*/ 1301 w 1339"/>
                    <a:gd name="T101" fmla="*/ 255 h 532"/>
                    <a:gd name="T102" fmla="*/ 1318 w 1339"/>
                    <a:gd name="T103" fmla="*/ 317 h 532"/>
                    <a:gd name="T104" fmla="*/ 1339 w 1339"/>
                    <a:gd name="T105" fmla="*/ 404 h 532"/>
                    <a:gd name="T106" fmla="*/ 1301 w 1339"/>
                    <a:gd name="T107" fmla="*/ 421 h 532"/>
                    <a:gd name="T108" fmla="*/ 1297 w 1339"/>
                    <a:gd name="T109" fmla="*/ 404 h 532"/>
                    <a:gd name="T110" fmla="*/ 134 w 1339"/>
                    <a:gd name="T111" fmla="*/ 128 h 532"/>
                    <a:gd name="T112" fmla="*/ 0 w 1339"/>
                    <a:gd name="T113" fmla="*/ 166 h 532"/>
                    <a:gd name="T114" fmla="*/ 5 w 1339"/>
                    <a:gd name="T115" fmla="*/ 166 h 532"/>
                    <a:gd name="T116" fmla="*/ 21 w 1339"/>
                    <a:gd name="T117" fmla="*/ 189 h 532"/>
                    <a:gd name="T118" fmla="*/ 26 w 1339"/>
                    <a:gd name="T119" fmla="*/ 199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39" h="532">
                      <a:moveTo>
                        <a:pt x="26" y="116"/>
                      </a:moveTo>
                      <a:lnTo>
                        <a:pt x="54" y="95"/>
                      </a:lnTo>
                      <a:lnTo>
                        <a:pt x="42" y="71"/>
                      </a:lnTo>
                      <a:lnTo>
                        <a:pt x="71" y="62"/>
                      </a:lnTo>
                      <a:lnTo>
                        <a:pt x="71" y="38"/>
                      </a:lnTo>
                      <a:lnTo>
                        <a:pt x="54" y="33"/>
                      </a:lnTo>
                      <a:lnTo>
                        <a:pt x="54" y="22"/>
                      </a:lnTo>
                      <a:lnTo>
                        <a:pt x="59" y="22"/>
                      </a:lnTo>
                      <a:lnTo>
                        <a:pt x="71" y="5"/>
                      </a:lnTo>
                      <a:lnTo>
                        <a:pt x="92" y="5"/>
                      </a:lnTo>
                      <a:lnTo>
                        <a:pt x="97" y="0"/>
                      </a:lnTo>
                      <a:lnTo>
                        <a:pt x="113" y="0"/>
                      </a:lnTo>
                      <a:lnTo>
                        <a:pt x="134" y="17"/>
                      </a:lnTo>
                      <a:lnTo>
                        <a:pt x="168" y="5"/>
                      </a:lnTo>
                      <a:lnTo>
                        <a:pt x="163" y="22"/>
                      </a:lnTo>
                      <a:lnTo>
                        <a:pt x="168" y="38"/>
                      </a:lnTo>
                      <a:lnTo>
                        <a:pt x="201" y="55"/>
                      </a:lnTo>
                      <a:lnTo>
                        <a:pt x="238" y="71"/>
                      </a:lnTo>
                      <a:lnTo>
                        <a:pt x="238" y="88"/>
                      </a:lnTo>
                      <a:lnTo>
                        <a:pt x="222" y="95"/>
                      </a:lnTo>
                      <a:lnTo>
                        <a:pt x="205" y="95"/>
                      </a:lnTo>
                      <a:lnTo>
                        <a:pt x="201" y="88"/>
                      </a:lnTo>
                      <a:lnTo>
                        <a:pt x="201" y="95"/>
                      </a:lnTo>
                      <a:lnTo>
                        <a:pt x="177" y="88"/>
                      </a:lnTo>
                      <a:lnTo>
                        <a:pt x="163" y="95"/>
                      </a:lnTo>
                      <a:lnTo>
                        <a:pt x="130" y="95"/>
                      </a:lnTo>
                      <a:lnTo>
                        <a:pt x="113" y="116"/>
                      </a:lnTo>
                      <a:lnTo>
                        <a:pt x="75" y="144"/>
                      </a:lnTo>
                      <a:lnTo>
                        <a:pt x="38" y="173"/>
                      </a:lnTo>
                      <a:lnTo>
                        <a:pt x="42" y="156"/>
                      </a:lnTo>
                      <a:lnTo>
                        <a:pt x="38" y="149"/>
                      </a:lnTo>
                      <a:lnTo>
                        <a:pt x="80" y="128"/>
                      </a:lnTo>
                      <a:lnTo>
                        <a:pt x="75" y="116"/>
                      </a:lnTo>
                      <a:lnTo>
                        <a:pt x="26" y="128"/>
                      </a:lnTo>
                      <a:lnTo>
                        <a:pt x="26" y="116"/>
                      </a:lnTo>
                      <a:lnTo>
                        <a:pt x="26" y="116"/>
                      </a:lnTo>
                      <a:lnTo>
                        <a:pt x="26" y="116"/>
                      </a:lnTo>
                      <a:close/>
                      <a:moveTo>
                        <a:pt x="1297" y="404"/>
                      </a:moveTo>
                      <a:lnTo>
                        <a:pt x="1280" y="409"/>
                      </a:lnTo>
                      <a:lnTo>
                        <a:pt x="1264" y="409"/>
                      </a:lnTo>
                      <a:lnTo>
                        <a:pt x="1226" y="392"/>
                      </a:lnTo>
                      <a:lnTo>
                        <a:pt x="1214" y="404"/>
                      </a:lnTo>
                      <a:lnTo>
                        <a:pt x="1205" y="392"/>
                      </a:lnTo>
                      <a:lnTo>
                        <a:pt x="1188" y="421"/>
                      </a:lnTo>
                      <a:lnTo>
                        <a:pt x="1171" y="421"/>
                      </a:lnTo>
                      <a:lnTo>
                        <a:pt x="1171" y="409"/>
                      </a:lnTo>
                      <a:lnTo>
                        <a:pt x="1155" y="404"/>
                      </a:lnTo>
                      <a:lnTo>
                        <a:pt x="1150" y="409"/>
                      </a:lnTo>
                      <a:lnTo>
                        <a:pt x="1117" y="421"/>
                      </a:lnTo>
                      <a:lnTo>
                        <a:pt x="1063" y="421"/>
                      </a:lnTo>
                      <a:lnTo>
                        <a:pt x="994" y="449"/>
                      </a:lnTo>
                      <a:lnTo>
                        <a:pt x="957" y="461"/>
                      </a:lnTo>
                      <a:lnTo>
                        <a:pt x="919" y="449"/>
                      </a:lnTo>
                      <a:lnTo>
                        <a:pt x="902" y="444"/>
                      </a:lnTo>
                      <a:lnTo>
                        <a:pt x="886" y="433"/>
                      </a:lnTo>
                      <a:lnTo>
                        <a:pt x="827" y="461"/>
                      </a:lnTo>
                      <a:lnTo>
                        <a:pt x="810" y="461"/>
                      </a:lnTo>
                      <a:lnTo>
                        <a:pt x="772" y="444"/>
                      </a:lnTo>
                      <a:lnTo>
                        <a:pt x="760" y="477"/>
                      </a:lnTo>
                      <a:lnTo>
                        <a:pt x="777" y="487"/>
                      </a:lnTo>
                      <a:lnTo>
                        <a:pt x="756" y="487"/>
                      </a:lnTo>
                      <a:lnTo>
                        <a:pt x="756" y="515"/>
                      </a:lnTo>
                      <a:lnTo>
                        <a:pt x="739" y="515"/>
                      </a:lnTo>
                      <a:lnTo>
                        <a:pt x="739" y="532"/>
                      </a:lnTo>
                      <a:lnTo>
                        <a:pt x="723" y="515"/>
                      </a:lnTo>
                      <a:lnTo>
                        <a:pt x="723" y="515"/>
                      </a:lnTo>
                      <a:lnTo>
                        <a:pt x="706" y="482"/>
                      </a:lnTo>
                      <a:lnTo>
                        <a:pt x="739" y="461"/>
                      </a:lnTo>
                      <a:lnTo>
                        <a:pt x="739" y="444"/>
                      </a:lnTo>
                      <a:lnTo>
                        <a:pt x="723" y="433"/>
                      </a:lnTo>
                      <a:lnTo>
                        <a:pt x="692" y="449"/>
                      </a:lnTo>
                      <a:lnTo>
                        <a:pt x="701" y="461"/>
                      </a:lnTo>
                      <a:lnTo>
                        <a:pt x="675" y="466"/>
                      </a:lnTo>
                      <a:lnTo>
                        <a:pt x="631" y="444"/>
                      </a:lnTo>
                      <a:lnTo>
                        <a:pt x="609" y="466"/>
                      </a:lnTo>
                      <a:lnTo>
                        <a:pt x="583" y="487"/>
                      </a:lnTo>
                      <a:lnTo>
                        <a:pt x="579" y="482"/>
                      </a:lnTo>
                      <a:lnTo>
                        <a:pt x="562" y="499"/>
                      </a:lnTo>
                      <a:lnTo>
                        <a:pt x="503" y="503"/>
                      </a:lnTo>
                      <a:lnTo>
                        <a:pt x="470" y="499"/>
                      </a:lnTo>
                      <a:lnTo>
                        <a:pt x="449" y="466"/>
                      </a:lnTo>
                      <a:lnTo>
                        <a:pt x="378" y="444"/>
                      </a:lnTo>
                      <a:lnTo>
                        <a:pt x="345" y="444"/>
                      </a:lnTo>
                      <a:lnTo>
                        <a:pt x="340" y="482"/>
                      </a:lnTo>
                      <a:lnTo>
                        <a:pt x="328" y="499"/>
                      </a:lnTo>
                      <a:lnTo>
                        <a:pt x="323" y="482"/>
                      </a:lnTo>
                      <a:lnTo>
                        <a:pt x="286" y="499"/>
                      </a:lnTo>
                      <a:lnTo>
                        <a:pt x="243" y="482"/>
                      </a:lnTo>
                      <a:lnTo>
                        <a:pt x="243" y="466"/>
                      </a:lnTo>
                      <a:lnTo>
                        <a:pt x="238" y="466"/>
                      </a:lnTo>
                      <a:lnTo>
                        <a:pt x="238" y="461"/>
                      </a:lnTo>
                      <a:lnTo>
                        <a:pt x="231" y="449"/>
                      </a:lnTo>
                      <a:lnTo>
                        <a:pt x="222" y="461"/>
                      </a:lnTo>
                      <a:lnTo>
                        <a:pt x="215" y="449"/>
                      </a:lnTo>
                      <a:lnTo>
                        <a:pt x="201" y="433"/>
                      </a:lnTo>
                      <a:lnTo>
                        <a:pt x="189" y="444"/>
                      </a:lnTo>
                      <a:lnTo>
                        <a:pt x="184" y="444"/>
                      </a:lnTo>
                      <a:lnTo>
                        <a:pt x="184" y="449"/>
                      </a:lnTo>
                      <a:lnTo>
                        <a:pt x="163" y="466"/>
                      </a:lnTo>
                      <a:lnTo>
                        <a:pt x="168" y="461"/>
                      </a:lnTo>
                      <a:lnTo>
                        <a:pt x="163" y="449"/>
                      </a:lnTo>
                      <a:lnTo>
                        <a:pt x="177" y="449"/>
                      </a:lnTo>
                      <a:lnTo>
                        <a:pt x="177" y="444"/>
                      </a:lnTo>
                      <a:lnTo>
                        <a:pt x="125" y="461"/>
                      </a:lnTo>
                      <a:lnTo>
                        <a:pt x="168" y="444"/>
                      </a:lnTo>
                      <a:lnTo>
                        <a:pt x="168" y="433"/>
                      </a:lnTo>
                      <a:lnTo>
                        <a:pt x="189" y="425"/>
                      </a:lnTo>
                      <a:lnTo>
                        <a:pt x="113" y="433"/>
                      </a:lnTo>
                      <a:lnTo>
                        <a:pt x="113" y="425"/>
                      </a:lnTo>
                      <a:lnTo>
                        <a:pt x="113" y="421"/>
                      </a:lnTo>
                      <a:lnTo>
                        <a:pt x="130" y="421"/>
                      </a:lnTo>
                      <a:lnTo>
                        <a:pt x="134" y="409"/>
                      </a:lnTo>
                      <a:lnTo>
                        <a:pt x="125" y="404"/>
                      </a:lnTo>
                      <a:lnTo>
                        <a:pt x="125" y="392"/>
                      </a:lnTo>
                      <a:lnTo>
                        <a:pt x="108" y="404"/>
                      </a:lnTo>
                      <a:lnTo>
                        <a:pt x="113" y="350"/>
                      </a:lnTo>
                      <a:lnTo>
                        <a:pt x="92" y="338"/>
                      </a:lnTo>
                      <a:lnTo>
                        <a:pt x="75" y="322"/>
                      </a:lnTo>
                      <a:lnTo>
                        <a:pt x="71" y="338"/>
                      </a:lnTo>
                      <a:lnTo>
                        <a:pt x="42" y="322"/>
                      </a:lnTo>
                      <a:lnTo>
                        <a:pt x="42" y="317"/>
                      </a:lnTo>
                      <a:lnTo>
                        <a:pt x="54" y="317"/>
                      </a:lnTo>
                      <a:lnTo>
                        <a:pt x="59" y="310"/>
                      </a:lnTo>
                      <a:lnTo>
                        <a:pt x="54" y="310"/>
                      </a:lnTo>
                      <a:lnTo>
                        <a:pt x="54" y="293"/>
                      </a:lnTo>
                      <a:lnTo>
                        <a:pt x="59" y="293"/>
                      </a:lnTo>
                      <a:lnTo>
                        <a:pt x="75" y="317"/>
                      </a:lnTo>
                      <a:lnTo>
                        <a:pt x="108" y="310"/>
                      </a:lnTo>
                      <a:lnTo>
                        <a:pt x="92" y="310"/>
                      </a:lnTo>
                      <a:lnTo>
                        <a:pt x="75" y="293"/>
                      </a:lnTo>
                      <a:lnTo>
                        <a:pt x="75" y="281"/>
                      </a:lnTo>
                      <a:lnTo>
                        <a:pt x="97" y="265"/>
                      </a:lnTo>
                      <a:lnTo>
                        <a:pt x="80" y="265"/>
                      </a:lnTo>
                      <a:lnTo>
                        <a:pt x="80" y="255"/>
                      </a:lnTo>
                      <a:lnTo>
                        <a:pt x="71" y="239"/>
                      </a:lnTo>
                      <a:lnTo>
                        <a:pt x="92" y="222"/>
                      </a:lnTo>
                      <a:lnTo>
                        <a:pt x="92" y="211"/>
                      </a:lnTo>
                      <a:lnTo>
                        <a:pt x="26" y="222"/>
                      </a:lnTo>
                      <a:lnTo>
                        <a:pt x="38" y="182"/>
                      </a:lnTo>
                      <a:lnTo>
                        <a:pt x="75" y="144"/>
                      </a:lnTo>
                      <a:lnTo>
                        <a:pt x="108" y="144"/>
                      </a:lnTo>
                      <a:lnTo>
                        <a:pt x="130" y="149"/>
                      </a:lnTo>
                      <a:lnTo>
                        <a:pt x="151" y="149"/>
                      </a:lnTo>
                      <a:lnTo>
                        <a:pt x="146" y="133"/>
                      </a:lnTo>
                      <a:lnTo>
                        <a:pt x="146" y="133"/>
                      </a:lnTo>
                      <a:lnTo>
                        <a:pt x="168" y="133"/>
                      </a:lnTo>
                      <a:lnTo>
                        <a:pt x="163" y="144"/>
                      </a:lnTo>
                      <a:lnTo>
                        <a:pt x="163" y="149"/>
                      </a:lnTo>
                      <a:lnTo>
                        <a:pt x="238" y="149"/>
                      </a:lnTo>
                      <a:lnTo>
                        <a:pt x="243" y="144"/>
                      </a:lnTo>
                      <a:lnTo>
                        <a:pt x="222" y="133"/>
                      </a:lnTo>
                      <a:lnTo>
                        <a:pt x="269" y="116"/>
                      </a:lnTo>
                      <a:lnTo>
                        <a:pt x="297" y="116"/>
                      </a:lnTo>
                      <a:lnTo>
                        <a:pt x="260" y="111"/>
                      </a:lnTo>
                      <a:lnTo>
                        <a:pt x="243" y="100"/>
                      </a:lnTo>
                      <a:lnTo>
                        <a:pt x="238" y="88"/>
                      </a:lnTo>
                      <a:lnTo>
                        <a:pt x="243" y="71"/>
                      </a:lnTo>
                      <a:lnTo>
                        <a:pt x="307" y="78"/>
                      </a:lnTo>
                      <a:lnTo>
                        <a:pt x="323" y="71"/>
                      </a:lnTo>
                      <a:lnTo>
                        <a:pt x="361" y="88"/>
                      </a:lnTo>
                      <a:lnTo>
                        <a:pt x="394" y="88"/>
                      </a:lnTo>
                      <a:lnTo>
                        <a:pt x="416" y="62"/>
                      </a:lnTo>
                      <a:lnTo>
                        <a:pt x="458" y="33"/>
                      </a:lnTo>
                      <a:lnTo>
                        <a:pt x="541" y="5"/>
                      </a:lnTo>
                      <a:lnTo>
                        <a:pt x="638" y="5"/>
                      </a:lnTo>
                      <a:lnTo>
                        <a:pt x="654" y="0"/>
                      </a:lnTo>
                      <a:lnTo>
                        <a:pt x="675" y="33"/>
                      </a:lnTo>
                      <a:lnTo>
                        <a:pt x="692" y="38"/>
                      </a:lnTo>
                      <a:lnTo>
                        <a:pt x="723" y="33"/>
                      </a:lnTo>
                      <a:lnTo>
                        <a:pt x="730" y="33"/>
                      </a:lnTo>
                      <a:lnTo>
                        <a:pt x="730" y="55"/>
                      </a:lnTo>
                      <a:lnTo>
                        <a:pt x="756" y="71"/>
                      </a:lnTo>
                      <a:lnTo>
                        <a:pt x="782" y="62"/>
                      </a:lnTo>
                      <a:lnTo>
                        <a:pt x="798" y="71"/>
                      </a:lnTo>
                      <a:lnTo>
                        <a:pt x="798" y="78"/>
                      </a:lnTo>
                      <a:lnTo>
                        <a:pt x="831" y="88"/>
                      </a:lnTo>
                      <a:lnTo>
                        <a:pt x="848" y="78"/>
                      </a:lnTo>
                      <a:lnTo>
                        <a:pt x="853" y="95"/>
                      </a:lnTo>
                      <a:lnTo>
                        <a:pt x="890" y="100"/>
                      </a:lnTo>
                      <a:lnTo>
                        <a:pt x="961" y="88"/>
                      </a:lnTo>
                      <a:lnTo>
                        <a:pt x="1016" y="100"/>
                      </a:lnTo>
                      <a:lnTo>
                        <a:pt x="1101" y="62"/>
                      </a:lnTo>
                      <a:lnTo>
                        <a:pt x="1117" y="45"/>
                      </a:lnTo>
                      <a:lnTo>
                        <a:pt x="1134" y="55"/>
                      </a:lnTo>
                      <a:lnTo>
                        <a:pt x="1150" y="45"/>
                      </a:lnTo>
                      <a:lnTo>
                        <a:pt x="1176" y="55"/>
                      </a:lnTo>
                      <a:lnTo>
                        <a:pt x="1188" y="38"/>
                      </a:lnTo>
                      <a:lnTo>
                        <a:pt x="1205" y="38"/>
                      </a:lnTo>
                      <a:lnTo>
                        <a:pt x="1231" y="78"/>
                      </a:lnTo>
                      <a:lnTo>
                        <a:pt x="1242" y="78"/>
                      </a:lnTo>
                      <a:lnTo>
                        <a:pt x="1247" y="78"/>
                      </a:lnTo>
                      <a:lnTo>
                        <a:pt x="1268" y="111"/>
                      </a:lnTo>
                      <a:lnTo>
                        <a:pt x="1259" y="144"/>
                      </a:lnTo>
                      <a:lnTo>
                        <a:pt x="1264" y="166"/>
                      </a:lnTo>
                      <a:lnTo>
                        <a:pt x="1264" y="166"/>
                      </a:lnTo>
                      <a:lnTo>
                        <a:pt x="1280" y="173"/>
                      </a:lnTo>
                      <a:lnTo>
                        <a:pt x="1311" y="173"/>
                      </a:lnTo>
                      <a:lnTo>
                        <a:pt x="1339" y="206"/>
                      </a:lnTo>
                      <a:lnTo>
                        <a:pt x="1339" y="206"/>
                      </a:lnTo>
                      <a:lnTo>
                        <a:pt x="1334" y="199"/>
                      </a:lnTo>
                      <a:lnTo>
                        <a:pt x="1318" y="206"/>
                      </a:lnTo>
                      <a:lnTo>
                        <a:pt x="1318" y="227"/>
                      </a:lnTo>
                      <a:lnTo>
                        <a:pt x="1285" y="227"/>
                      </a:lnTo>
                      <a:lnTo>
                        <a:pt x="1301" y="255"/>
                      </a:lnTo>
                      <a:lnTo>
                        <a:pt x="1301" y="265"/>
                      </a:lnTo>
                      <a:lnTo>
                        <a:pt x="1311" y="277"/>
                      </a:lnTo>
                      <a:lnTo>
                        <a:pt x="1311" y="317"/>
                      </a:lnTo>
                      <a:lnTo>
                        <a:pt x="1318" y="317"/>
                      </a:lnTo>
                      <a:lnTo>
                        <a:pt x="1301" y="355"/>
                      </a:lnTo>
                      <a:lnTo>
                        <a:pt x="1334" y="371"/>
                      </a:lnTo>
                      <a:lnTo>
                        <a:pt x="1323" y="392"/>
                      </a:lnTo>
                      <a:lnTo>
                        <a:pt x="1339" y="404"/>
                      </a:lnTo>
                      <a:lnTo>
                        <a:pt x="1339" y="421"/>
                      </a:lnTo>
                      <a:lnTo>
                        <a:pt x="1334" y="409"/>
                      </a:lnTo>
                      <a:lnTo>
                        <a:pt x="1311" y="433"/>
                      </a:lnTo>
                      <a:lnTo>
                        <a:pt x="1301" y="421"/>
                      </a:lnTo>
                      <a:lnTo>
                        <a:pt x="1301" y="409"/>
                      </a:lnTo>
                      <a:lnTo>
                        <a:pt x="1297" y="404"/>
                      </a:lnTo>
                      <a:lnTo>
                        <a:pt x="1297" y="404"/>
                      </a:lnTo>
                      <a:lnTo>
                        <a:pt x="1297" y="404"/>
                      </a:lnTo>
                      <a:close/>
                      <a:moveTo>
                        <a:pt x="134" y="128"/>
                      </a:moveTo>
                      <a:lnTo>
                        <a:pt x="130" y="128"/>
                      </a:lnTo>
                      <a:lnTo>
                        <a:pt x="146" y="128"/>
                      </a:lnTo>
                      <a:lnTo>
                        <a:pt x="134" y="128"/>
                      </a:lnTo>
                      <a:lnTo>
                        <a:pt x="134" y="128"/>
                      </a:lnTo>
                      <a:lnTo>
                        <a:pt x="134" y="128"/>
                      </a:lnTo>
                      <a:close/>
                      <a:moveTo>
                        <a:pt x="5" y="166"/>
                      </a:moveTo>
                      <a:lnTo>
                        <a:pt x="0" y="166"/>
                      </a:lnTo>
                      <a:lnTo>
                        <a:pt x="5" y="156"/>
                      </a:lnTo>
                      <a:lnTo>
                        <a:pt x="21" y="156"/>
                      </a:lnTo>
                      <a:lnTo>
                        <a:pt x="21" y="166"/>
                      </a:lnTo>
                      <a:lnTo>
                        <a:pt x="5" y="166"/>
                      </a:lnTo>
                      <a:lnTo>
                        <a:pt x="5" y="166"/>
                      </a:lnTo>
                      <a:lnTo>
                        <a:pt x="5" y="166"/>
                      </a:lnTo>
                      <a:close/>
                      <a:moveTo>
                        <a:pt x="26" y="199"/>
                      </a:moveTo>
                      <a:lnTo>
                        <a:pt x="21" y="189"/>
                      </a:lnTo>
                      <a:lnTo>
                        <a:pt x="26" y="189"/>
                      </a:lnTo>
                      <a:lnTo>
                        <a:pt x="26" y="199"/>
                      </a:lnTo>
                      <a:lnTo>
                        <a:pt x="26" y="199"/>
                      </a:lnTo>
                      <a:lnTo>
                        <a:pt x="26" y="19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62" name="Freeform 577">
                  <a:extLst>
                    <a:ext uri="{FF2B5EF4-FFF2-40B4-BE49-F238E27FC236}">
                      <a16:creationId xmlns:a16="http://schemas.microsoft.com/office/drawing/2014/main" id="{CC928735-95DE-41B8-8E5E-125C8D3A3043}"/>
                    </a:ext>
                  </a:extLst>
                </p:cNvPr>
                <p:cNvSpPr>
                  <a:spLocks/>
                </p:cNvSpPr>
                <p:nvPr/>
              </p:nvSpPr>
              <p:spPr bwMode="gray">
                <a:xfrm>
                  <a:off x="8241181" y="2712986"/>
                  <a:ext cx="409611" cy="264321"/>
                </a:xfrm>
                <a:custGeom>
                  <a:avLst/>
                  <a:gdLst>
                    <a:gd name="T0" fmla="*/ 926 w 995"/>
                    <a:gd name="T1" fmla="*/ 453 h 642"/>
                    <a:gd name="T2" fmla="*/ 860 w 995"/>
                    <a:gd name="T3" fmla="*/ 486 h 642"/>
                    <a:gd name="T4" fmla="*/ 806 w 995"/>
                    <a:gd name="T5" fmla="*/ 571 h 642"/>
                    <a:gd name="T6" fmla="*/ 747 w 995"/>
                    <a:gd name="T7" fmla="*/ 609 h 642"/>
                    <a:gd name="T8" fmla="*/ 699 w 995"/>
                    <a:gd name="T9" fmla="*/ 637 h 642"/>
                    <a:gd name="T10" fmla="*/ 640 w 995"/>
                    <a:gd name="T11" fmla="*/ 621 h 642"/>
                    <a:gd name="T12" fmla="*/ 607 w 995"/>
                    <a:gd name="T13" fmla="*/ 526 h 642"/>
                    <a:gd name="T14" fmla="*/ 494 w 995"/>
                    <a:gd name="T15" fmla="*/ 477 h 642"/>
                    <a:gd name="T16" fmla="*/ 409 w 995"/>
                    <a:gd name="T17" fmla="*/ 437 h 642"/>
                    <a:gd name="T18" fmla="*/ 333 w 995"/>
                    <a:gd name="T19" fmla="*/ 387 h 642"/>
                    <a:gd name="T20" fmla="*/ 279 w 995"/>
                    <a:gd name="T21" fmla="*/ 387 h 642"/>
                    <a:gd name="T22" fmla="*/ 262 w 995"/>
                    <a:gd name="T23" fmla="*/ 403 h 642"/>
                    <a:gd name="T24" fmla="*/ 161 w 995"/>
                    <a:gd name="T25" fmla="*/ 453 h 642"/>
                    <a:gd name="T26" fmla="*/ 102 w 995"/>
                    <a:gd name="T27" fmla="*/ 470 h 642"/>
                    <a:gd name="T28" fmla="*/ 106 w 995"/>
                    <a:gd name="T29" fmla="*/ 333 h 642"/>
                    <a:gd name="T30" fmla="*/ 47 w 995"/>
                    <a:gd name="T31" fmla="*/ 292 h 642"/>
                    <a:gd name="T32" fmla="*/ 52 w 995"/>
                    <a:gd name="T33" fmla="*/ 271 h 642"/>
                    <a:gd name="T34" fmla="*/ 90 w 995"/>
                    <a:gd name="T35" fmla="*/ 288 h 642"/>
                    <a:gd name="T36" fmla="*/ 31 w 995"/>
                    <a:gd name="T37" fmla="*/ 248 h 642"/>
                    <a:gd name="T38" fmla="*/ 17 w 995"/>
                    <a:gd name="T39" fmla="*/ 210 h 642"/>
                    <a:gd name="T40" fmla="*/ 47 w 995"/>
                    <a:gd name="T41" fmla="*/ 177 h 642"/>
                    <a:gd name="T42" fmla="*/ 90 w 995"/>
                    <a:gd name="T43" fmla="*/ 193 h 642"/>
                    <a:gd name="T44" fmla="*/ 135 w 995"/>
                    <a:gd name="T45" fmla="*/ 160 h 642"/>
                    <a:gd name="T46" fmla="*/ 161 w 995"/>
                    <a:gd name="T47" fmla="*/ 153 h 642"/>
                    <a:gd name="T48" fmla="*/ 90 w 995"/>
                    <a:gd name="T49" fmla="*/ 54 h 642"/>
                    <a:gd name="T50" fmla="*/ 26 w 995"/>
                    <a:gd name="T51" fmla="*/ 99 h 642"/>
                    <a:gd name="T52" fmla="*/ 31 w 995"/>
                    <a:gd name="T53" fmla="*/ 153 h 642"/>
                    <a:gd name="T54" fmla="*/ 10 w 995"/>
                    <a:gd name="T55" fmla="*/ 103 h 642"/>
                    <a:gd name="T56" fmla="*/ 69 w 995"/>
                    <a:gd name="T57" fmla="*/ 49 h 642"/>
                    <a:gd name="T58" fmla="*/ 177 w 995"/>
                    <a:gd name="T59" fmla="*/ 87 h 642"/>
                    <a:gd name="T60" fmla="*/ 321 w 995"/>
                    <a:gd name="T61" fmla="*/ 137 h 642"/>
                    <a:gd name="T62" fmla="*/ 317 w 995"/>
                    <a:gd name="T63" fmla="*/ 82 h 642"/>
                    <a:gd name="T64" fmla="*/ 392 w 995"/>
                    <a:gd name="T65" fmla="*/ 26 h 642"/>
                    <a:gd name="T66" fmla="*/ 425 w 995"/>
                    <a:gd name="T67" fmla="*/ 49 h 642"/>
                    <a:gd name="T68" fmla="*/ 425 w 995"/>
                    <a:gd name="T69" fmla="*/ 16 h 642"/>
                    <a:gd name="T70" fmla="*/ 468 w 995"/>
                    <a:gd name="T71" fmla="*/ 26 h 642"/>
                    <a:gd name="T72" fmla="*/ 532 w 995"/>
                    <a:gd name="T73" fmla="*/ 49 h 642"/>
                    <a:gd name="T74" fmla="*/ 532 w 995"/>
                    <a:gd name="T75" fmla="*/ 87 h 642"/>
                    <a:gd name="T76" fmla="*/ 539 w 995"/>
                    <a:gd name="T77" fmla="*/ 127 h 642"/>
                    <a:gd name="T78" fmla="*/ 619 w 995"/>
                    <a:gd name="T79" fmla="*/ 144 h 642"/>
                    <a:gd name="T80" fmla="*/ 678 w 995"/>
                    <a:gd name="T81" fmla="*/ 193 h 642"/>
                    <a:gd name="T82" fmla="*/ 780 w 995"/>
                    <a:gd name="T83" fmla="*/ 292 h 642"/>
                    <a:gd name="T84" fmla="*/ 834 w 995"/>
                    <a:gd name="T85" fmla="*/ 326 h 642"/>
                    <a:gd name="T86" fmla="*/ 995 w 995"/>
                    <a:gd name="T87" fmla="*/ 415 h 642"/>
                    <a:gd name="T88" fmla="*/ 985 w 995"/>
                    <a:gd name="T89" fmla="*/ 460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5" h="642">
                      <a:moveTo>
                        <a:pt x="985" y="460"/>
                      </a:moveTo>
                      <a:lnTo>
                        <a:pt x="969" y="470"/>
                      </a:lnTo>
                      <a:lnTo>
                        <a:pt x="926" y="453"/>
                      </a:lnTo>
                      <a:lnTo>
                        <a:pt x="914" y="477"/>
                      </a:lnTo>
                      <a:lnTo>
                        <a:pt x="888" y="477"/>
                      </a:lnTo>
                      <a:lnTo>
                        <a:pt x="860" y="486"/>
                      </a:lnTo>
                      <a:lnTo>
                        <a:pt x="860" y="498"/>
                      </a:lnTo>
                      <a:lnTo>
                        <a:pt x="839" y="552"/>
                      </a:lnTo>
                      <a:lnTo>
                        <a:pt x="806" y="571"/>
                      </a:lnTo>
                      <a:lnTo>
                        <a:pt x="747" y="588"/>
                      </a:lnTo>
                      <a:lnTo>
                        <a:pt x="747" y="604"/>
                      </a:lnTo>
                      <a:lnTo>
                        <a:pt x="747" y="609"/>
                      </a:lnTo>
                      <a:lnTo>
                        <a:pt x="747" y="621"/>
                      </a:lnTo>
                      <a:lnTo>
                        <a:pt x="716" y="637"/>
                      </a:lnTo>
                      <a:lnTo>
                        <a:pt x="699" y="637"/>
                      </a:lnTo>
                      <a:lnTo>
                        <a:pt x="683" y="642"/>
                      </a:lnTo>
                      <a:lnTo>
                        <a:pt x="671" y="621"/>
                      </a:lnTo>
                      <a:lnTo>
                        <a:pt x="640" y="621"/>
                      </a:lnTo>
                      <a:lnTo>
                        <a:pt x="624" y="604"/>
                      </a:lnTo>
                      <a:lnTo>
                        <a:pt x="619" y="609"/>
                      </a:lnTo>
                      <a:lnTo>
                        <a:pt x="607" y="526"/>
                      </a:lnTo>
                      <a:lnTo>
                        <a:pt x="548" y="526"/>
                      </a:lnTo>
                      <a:lnTo>
                        <a:pt x="532" y="493"/>
                      </a:lnTo>
                      <a:lnTo>
                        <a:pt x="494" y="477"/>
                      </a:lnTo>
                      <a:lnTo>
                        <a:pt x="477" y="453"/>
                      </a:lnTo>
                      <a:lnTo>
                        <a:pt x="456" y="437"/>
                      </a:lnTo>
                      <a:lnTo>
                        <a:pt x="409" y="437"/>
                      </a:lnTo>
                      <a:lnTo>
                        <a:pt x="404" y="432"/>
                      </a:lnTo>
                      <a:lnTo>
                        <a:pt x="350" y="415"/>
                      </a:lnTo>
                      <a:lnTo>
                        <a:pt x="333" y="387"/>
                      </a:lnTo>
                      <a:lnTo>
                        <a:pt x="321" y="399"/>
                      </a:lnTo>
                      <a:lnTo>
                        <a:pt x="300" y="387"/>
                      </a:lnTo>
                      <a:lnTo>
                        <a:pt x="279" y="387"/>
                      </a:lnTo>
                      <a:lnTo>
                        <a:pt x="269" y="399"/>
                      </a:lnTo>
                      <a:lnTo>
                        <a:pt x="269" y="403"/>
                      </a:lnTo>
                      <a:lnTo>
                        <a:pt x="262" y="403"/>
                      </a:lnTo>
                      <a:lnTo>
                        <a:pt x="210" y="403"/>
                      </a:lnTo>
                      <a:lnTo>
                        <a:pt x="173" y="432"/>
                      </a:lnTo>
                      <a:lnTo>
                        <a:pt x="161" y="453"/>
                      </a:lnTo>
                      <a:lnTo>
                        <a:pt x="156" y="460"/>
                      </a:lnTo>
                      <a:lnTo>
                        <a:pt x="123" y="470"/>
                      </a:lnTo>
                      <a:lnTo>
                        <a:pt x="102" y="470"/>
                      </a:lnTo>
                      <a:lnTo>
                        <a:pt x="90" y="420"/>
                      </a:lnTo>
                      <a:lnTo>
                        <a:pt x="90" y="366"/>
                      </a:lnTo>
                      <a:lnTo>
                        <a:pt x="106" y="333"/>
                      </a:lnTo>
                      <a:lnTo>
                        <a:pt x="85" y="321"/>
                      </a:lnTo>
                      <a:lnTo>
                        <a:pt x="80" y="304"/>
                      </a:lnTo>
                      <a:lnTo>
                        <a:pt x="47" y="292"/>
                      </a:lnTo>
                      <a:lnTo>
                        <a:pt x="47" y="309"/>
                      </a:lnTo>
                      <a:lnTo>
                        <a:pt x="47" y="288"/>
                      </a:lnTo>
                      <a:lnTo>
                        <a:pt x="52" y="271"/>
                      </a:lnTo>
                      <a:lnTo>
                        <a:pt x="52" y="288"/>
                      </a:lnTo>
                      <a:lnTo>
                        <a:pt x="80" y="288"/>
                      </a:lnTo>
                      <a:lnTo>
                        <a:pt x="90" y="288"/>
                      </a:lnTo>
                      <a:lnTo>
                        <a:pt x="69" y="271"/>
                      </a:lnTo>
                      <a:lnTo>
                        <a:pt x="80" y="248"/>
                      </a:lnTo>
                      <a:lnTo>
                        <a:pt x="31" y="248"/>
                      </a:lnTo>
                      <a:lnTo>
                        <a:pt x="38" y="264"/>
                      </a:lnTo>
                      <a:lnTo>
                        <a:pt x="17" y="238"/>
                      </a:lnTo>
                      <a:lnTo>
                        <a:pt x="17" y="210"/>
                      </a:lnTo>
                      <a:lnTo>
                        <a:pt x="31" y="181"/>
                      </a:lnTo>
                      <a:lnTo>
                        <a:pt x="31" y="153"/>
                      </a:lnTo>
                      <a:lnTo>
                        <a:pt x="47" y="177"/>
                      </a:lnTo>
                      <a:lnTo>
                        <a:pt x="69" y="181"/>
                      </a:lnTo>
                      <a:lnTo>
                        <a:pt x="80" y="165"/>
                      </a:lnTo>
                      <a:lnTo>
                        <a:pt x="90" y="193"/>
                      </a:lnTo>
                      <a:lnTo>
                        <a:pt x="139" y="181"/>
                      </a:lnTo>
                      <a:lnTo>
                        <a:pt x="123" y="165"/>
                      </a:lnTo>
                      <a:lnTo>
                        <a:pt x="135" y="160"/>
                      </a:lnTo>
                      <a:lnTo>
                        <a:pt x="139" y="177"/>
                      </a:lnTo>
                      <a:lnTo>
                        <a:pt x="156" y="165"/>
                      </a:lnTo>
                      <a:lnTo>
                        <a:pt x="161" y="153"/>
                      </a:lnTo>
                      <a:lnTo>
                        <a:pt x="118" y="120"/>
                      </a:lnTo>
                      <a:lnTo>
                        <a:pt x="102" y="66"/>
                      </a:lnTo>
                      <a:lnTo>
                        <a:pt x="90" y="54"/>
                      </a:lnTo>
                      <a:lnTo>
                        <a:pt x="47" y="66"/>
                      </a:lnTo>
                      <a:lnTo>
                        <a:pt x="31" y="70"/>
                      </a:lnTo>
                      <a:lnTo>
                        <a:pt x="26" y="99"/>
                      </a:lnTo>
                      <a:lnTo>
                        <a:pt x="31" y="99"/>
                      </a:lnTo>
                      <a:lnTo>
                        <a:pt x="26" y="120"/>
                      </a:lnTo>
                      <a:lnTo>
                        <a:pt x="31" y="153"/>
                      </a:lnTo>
                      <a:lnTo>
                        <a:pt x="26" y="127"/>
                      </a:lnTo>
                      <a:lnTo>
                        <a:pt x="10" y="111"/>
                      </a:lnTo>
                      <a:lnTo>
                        <a:pt x="10" y="103"/>
                      </a:lnTo>
                      <a:lnTo>
                        <a:pt x="0" y="99"/>
                      </a:lnTo>
                      <a:lnTo>
                        <a:pt x="38" y="54"/>
                      </a:lnTo>
                      <a:lnTo>
                        <a:pt x="69" y="49"/>
                      </a:lnTo>
                      <a:lnTo>
                        <a:pt x="123" y="37"/>
                      </a:lnTo>
                      <a:lnTo>
                        <a:pt x="177" y="82"/>
                      </a:lnTo>
                      <a:lnTo>
                        <a:pt x="177" y="87"/>
                      </a:lnTo>
                      <a:lnTo>
                        <a:pt x="210" y="137"/>
                      </a:lnTo>
                      <a:lnTo>
                        <a:pt x="246" y="127"/>
                      </a:lnTo>
                      <a:lnTo>
                        <a:pt x="321" y="137"/>
                      </a:lnTo>
                      <a:lnTo>
                        <a:pt x="321" y="127"/>
                      </a:lnTo>
                      <a:lnTo>
                        <a:pt x="317" y="99"/>
                      </a:lnTo>
                      <a:lnTo>
                        <a:pt x="317" y="82"/>
                      </a:lnTo>
                      <a:lnTo>
                        <a:pt x="350" y="54"/>
                      </a:lnTo>
                      <a:lnTo>
                        <a:pt x="376" y="54"/>
                      </a:lnTo>
                      <a:lnTo>
                        <a:pt x="392" y="26"/>
                      </a:lnTo>
                      <a:lnTo>
                        <a:pt x="409" y="33"/>
                      </a:lnTo>
                      <a:lnTo>
                        <a:pt x="413" y="49"/>
                      </a:lnTo>
                      <a:lnTo>
                        <a:pt x="425" y="49"/>
                      </a:lnTo>
                      <a:lnTo>
                        <a:pt x="404" y="16"/>
                      </a:lnTo>
                      <a:lnTo>
                        <a:pt x="409" y="9"/>
                      </a:lnTo>
                      <a:lnTo>
                        <a:pt x="425" y="16"/>
                      </a:lnTo>
                      <a:lnTo>
                        <a:pt x="430" y="0"/>
                      </a:lnTo>
                      <a:lnTo>
                        <a:pt x="456" y="26"/>
                      </a:lnTo>
                      <a:lnTo>
                        <a:pt x="468" y="26"/>
                      </a:lnTo>
                      <a:lnTo>
                        <a:pt x="477" y="37"/>
                      </a:lnTo>
                      <a:lnTo>
                        <a:pt x="515" y="37"/>
                      </a:lnTo>
                      <a:lnTo>
                        <a:pt x="532" y="49"/>
                      </a:lnTo>
                      <a:lnTo>
                        <a:pt x="532" y="66"/>
                      </a:lnTo>
                      <a:lnTo>
                        <a:pt x="548" y="87"/>
                      </a:lnTo>
                      <a:lnTo>
                        <a:pt x="532" y="87"/>
                      </a:lnTo>
                      <a:lnTo>
                        <a:pt x="539" y="103"/>
                      </a:lnTo>
                      <a:lnTo>
                        <a:pt x="532" y="120"/>
                      </a:lnTo>
                      <a:lnTo>
                        <a:pt x="539" y="127"/>
                      </a:lnTo>
                      <a:lnTo>
                        <a:pt x="565" y="137"/>
                      </a:lnTo>
                      <a:lnTo>
                        <a:pt x="591" y="137"/>
                      </a:lnTo>
                      <a:lnTo>
                        <a:pt x="619" y="144"/>
                      </a:lnTo>
                      <a:lnTo>
                        <a:pt x="628" y="127"/>
                      </a:lnTo>
                      <a:lnTo>
                        <a:pt x="662" y="144"/>
                      </a:lnTo>
                      <a:lnTo>
                        <a:pt x="678" y="193"/>
                      </a:lnTo>
                      <a:lnTo>
                        <a:pt x="695" y="210"/>
                      </a:lnTo>
                      <a:lnTo>
                        <a:pt x="699" y="238"/>
                      </a:lnTo>
                      <a:lnTo>
                        <a:pt x="780" y="292"/>
                      </a:lnTo>
                      <a:lnTo>
                        <a:pt x="784" y="309"/>
                      </a:lnTo>
                      <a:lnTo>
                        <a:pt x="817" y="333"/>
                      </a:lnTo>
                      <a:lnTo>
                        <a:pt x="834" y="326"/>
                      </a:lnTo>
                      <a:lnTo>
                        <a:pt x="914" y="387"/>
                      </a:lnTo>
                      <a:lnTo>
                        <a:pt x="940" y="387"/>
                      </a:lnTo>
                      <a:lnTo>
                        <a:pt x="995" y="415"/>
                      </a:lnTo>
                      <a:lnTo>
                        <a:pt x="985" y="432"/>
                      </a:lnTo>
                      <a:lnTo>
                        <a:pt x="985" y="460"/>
                      </a:lnTo>
                      <a:lnTo>
                        <a:pt x="985" y="460"/>
                      </a:lnTo>
                      <a:lnTo>
                        <a:pt x="985" y="46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63" name="Freeform 580">
                  <a:extLst>
                    <a:ext uri="{FF2B5EF4-FFF2-40B4-BE49-F238E27FC236}">
                      <a16:creationId xmlns:a16="http://schemas.microsoft.com/office/drawing/2014/main" id="{DCA15418-EAC5-4B91-A187-06F13E9824B3}"/>
                    </a:ext>
                  </a:extLst>
                </p:cNvPr>
                <p:cNvSpPr>
                  <a:spLocks noEditPoints="1"/>
                </p:cNvSpPr>
                <p:nvPr/>
              </p:nvSpPr>
              <p:spPr bwMode="gray">
                <a:xfrm>
                  <a:off x="6489938" y="1994953"/>
                  <a:ext cx="288581" cy="448359"/>
                </a:xfrm>
                <a:custGeom>
                  <a:avLst/>
                  <a:gdLst>
                    <a:gd name="T0" fmla="*/ 494 w 701"/>
                    <a:gd name="T1" fmla="*/ 38 h 1089"/>
                    <a:gd name="T2" fmla="*/ 494 w 701"/>
                    <a:gd name="T3" fmla="*/ 71 h 1089"/>
                    <a:gd name="T4" fmla="*/ 472 w 701"/>
                    <a:gd name="T5" fmla="*/ 71 h 1089"/>
                    <a:gd name="T6" fmla="*/ 489 w 701"/>
                    <a:gd name="T7" fmla="*/ 62 h 1089"/>
                    <a:gd name="T8" fmla="*/ 375 w 701"/>
                    <a:gd name="T9" fmla="*/ 206 h 1089"/>
                    <a:gd name="T10" fmla="*/ 347 w 701"/>
                    <a:gd name="T11" fmla="*/ 222 h 1089"/>
                    <a:gd name="T12" fmla="*/ 375 w 701"/>
                    <a:gd name="T13" fmla="*/ 215 h 1089"/>
                    <a:gd name="T14" fmla="*/ 201 w 701"/>
                    <a:gd name="T15" fmla="*/ 907 h 1089"/>
                    <a:gd name="T16" fmla="*/ 342 w 701"/>
                    <a:gd name="T17" fmla="*/ 770 h 1089"/>
                    <a:gd name="T18" fmla="*/ 375 w 701"/>
                    <a:gd name="T19" fmla="*/ 737 h 1089"/>
                    <a:gd name="T20" fmla="*/ 359 w 701"/>
                    <a:gd name="T21" fmla="*/ 610 h 1089"/>
                    <a:gd name="T22" fmla="*/ 234 w 701"/>
                    <a:gd name="T23" fmla="*/ 643 h 1089"/>
                    <a:gd name="T24" fmla="*/ 234 w 701"/>
                    <a:gd name="T25" fmla="*/ 503 h 1089"/>
                    <a:gd name="T26" fmla="*/ 217 w 701"/>
                    <a:gd name="T27" fmla="*/ 482 h 1089"/>
                    <a:gd name="T28" fmla="*/ 179 w 701"/>
                    <a:gd name="T29" fmla="*/ 499 h 1089"/>
                    <a:gd name="T30" fmla="*/ 196 w 701"/>
                    <a:gd name="T31" fmla="*/ 459 h 1089"/>
                    <a:gd name="T32" fmla="*/ 163 w 701"/>
                    <a:gd name="T33" fmla="*/ 425 h 1089"/>
                    <a:gd name="T34" fmla="*/ 170 w 701"/>
                    <a:gd name="T35" fmla="*/ 392 h 1089"/>
                    <a:gd name="T36" fmla="*/ 163 w 701"/>
                    <a:gd name="T37" fmla="*/ 350 h 1089"/>
                    <a:gd name="T38" fmla="*/ 184 w 701"/>
                    <a:gd name="T39" fmla="*/ 293 h 1089"/>
                    <a:gd name="T40" fmla="*/ 250 w 701"/>
                    <a:gd name="T41" fmla="*/ 239 h 1089"/>
                    <a:gd name="T42" fmla="*/ 288 w 701"/>
                    <a:gd name="T43" fmla="*/ 317 h 1089"/>
                    <a:gd name="T44" fmla="*/ 430 w 701"/>
                    <a:gd name="T45" fmla="*/ 333 h 1089"/>
                    <a:gd name="T46" fmla="*/ 375 w 701"/>
                    <a:gd name="T47" fmla="*/ 459 h 1089"/>
                    <a:gd name="T48" fmla="*/ 456 w 701"/>
                    <a:gd name="T49" fmla="*/ 548 h 1089"/>
                    <a:gd name="T50" fmla="*/ 581 w 701"/>
                    <a:gd name="T51" fmla="*/ 754 h 1089"/>
                    <a:gd name="T52" fmla="*/ 614 w 701"/>
                    <a:gd name="T53" fmla="*/ 808 h 1089"/>
                    <a:gd name="T54" fmla="*/ 668 w 701"/>
                    <a:gd name="T55" fmla="*/ 907 h 1089"/>
                    <a:gd name="T56" fmla="*/ 614 w 701"/>
                    <a:gd name="T57" fmla="*/ 957 h 1089"/>
                    <a:gd name="T58" fmla="*/ 522 w 701"/>
                    <a:gd name="T59" fmla="*/ 1018 h 1089"/>
                    <a:gd name="T60" fmla="*/ 364 w 701"/>
                    <a:gd name="T61" fmla="*/ 1018 h 1089"/>
                    <a:gd name="T62" fmla="*/ 212 w 701"/>
                    <a:gd name="T63" fmla="*/ 1089 h 1089"/>
                    <a:gd name="T64" fmla="*/ 255 w 701"/>
                    <a:gd name="T65" fmla="*/ 1018 h 1089"/>
                    <a:gd name="T66" fmla="*/ 342 w 701"/>
                    <a:gd name="T67" fmla="*/ 957 h 1089"/>
                    <a:gd name="T68" fmla="*/ 217 w 701"/>
                    <a:gd name="T69" fmla="*/ 936 h 1089"/>
                    <a:gd name="T70" fmla="*/ 104 w 701"/>
                    <a:gd name="T71" fmla="*/ 317 h 1089"/>
                    <a:gd name="T72" fmla="*/ 87 w 701"/>
                    <a:gd name="T73" fmla="*/ 277 h 1089"/>
                    <a:gd name="T74" fmla="*/ 142 w 701"/>
                    <a:gd name="T75" fmla="*/ 277 h 1089"/>
                    <a:gd name="T76" fmla="*/ 38 w 701"/>
                    <a:gd name="T77" fmla="*/ 338 h 1089"/>
                    <a:gd name="T78" fmla="*/ 146 w 701"/>
                    <a:gd name="T79" fmla="*/ 388 h 1089"/>
                    <a:gd name="T80" fmla="*/ 108 w 701"/>
                    <a:gd name="T81" fmla="*/ 338 h 1089"/>
                    <a:gd name="T82" fmla="*/ 163 w 701"/>
                    <a:gd name="T83" fmla="*/ 392 h 1089"/>
                    <a:gd name="T84" fmla="*/ 61 w 701"/>
                    <a:gd name="T85" fmla="*/ 392 h 1089"/>
                    <a:gd name="T86" fmla="*/ 49 w 701"/>
                    <a:gd name="T87" fmla="*/ 409 h 1089"/>
                    <a:gd name="T88" fmla="*/ 116 w 701"/>
                    <a:gd name="T89" fmla="*/ 404 h 1089"/>
                    <a:gd name="T90" fmla="*/ 142 w 701"/>
                    <a:gd name="T91" fmla="*/ 421 h 1089"/>
                    <a:gd name="T92" fmla="*/ 146 w 701"/>
                    <a:gd name="T93" fmla="*/ 466 h 1089"/>
                    <a:gd name="T94" fmla="*/ 78 w 701"/>
                    <a:gd name="T95" fmla="*/ 459 h 1089"/>
                    <a:gd name="T96" fmla="*/ 170 w 701"/>
                    <a:gd name="T97" fmla="*/ 492 h 1089"/>
                    <a:gd name="T98" fmla="*/ 142 w 701"/>
                    <a:gd name="T99" fmla="*/ 503 h 1089"/>
                    <a:gd name="T100" fmla="*/ 130 w 701"/>
                    <a:gd name="T101" fmla="*/ 548 h 1089"/>
                    <a:gd name="T102" fmla="*/ 217 w 701"/>
                    <a:gd name="T103" fmla="*/ 536 h 1089"/>
                    <a:gd name="T104" fmla="*/ 212 w 701"/>
                    <a:gd name="T105" fmla="*/ 560 h 1089"/>
                    <a:gd name="T106" fmla="*/ 38 w 701"/>
                    <a:gd name="T107" fmla="*/ 631 h 1089"/>
                    <a:gd name="T108" fmla="*/ 158 w 701"/>
                    <a:gd name="T109" fmla="*/ 647 h 1089"/>
                    <a:gd name="T110" fmla="*/ 158 w 701"/>
                    <a:gd name="T111" fmla="*/ 697 h 1089"/>
                    <a:gd name="T112" fmla="*/ 250 w 701"/>
                    <a:gd name="T113" fmla="*/ 770 h 1089"/>
                    <a:gd name="T114" fmla="*/ 635 w 701"/>
                    <a:gd name="T115" fmla="*/ 957 h 1089"/>
                    <a:gd name="T116" fmla="*/ 484 w 701"/>
                    <a:gd name="T117" fmla="*/ 1035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1" h="1089">
                      <a:moveTo>
                        <a:pt x="510" y="17"/>
                      </a:moveTo>
                      <a:lnTo>
                        <a:pt x="505" y="17"/>
                      </a:lnTo>
                      <a:lnTo>
                        <a:pt x="510" y="0"/>
                      </a:lnTo>
                      <a:lnTo>
                        <a:pt x="522" y="0"/>
                      </a:lnTo>
                      <a:lnTo>
                        <a:pt x="510" y="17"/>
                      </a:lnTo>
                      <a:lnTo>
                        <a:pt x="510" y="17"/>
                      </a:lnTo>
                      <a:lnTo>
                        <a:pt x="510" y="17"/>
                      </a:lnTo>
                      <a:close/>
                      <a:moveTo>
                        <a:pt x="494" y="38"/>
                      </a:moveTo>
                      <a:lnTo>
                        <a:pt x="489" y="22"/>
                      </a:lnTo>
                      <a:lnTo>
                        <a:pt x="505" y="5"/>
                      </a:lnTo>
                      <a:lnTo>
                        <a:pt x="505" y="33"/>
                      </a:lnTo>
                      <a:lnTo>
                        <a:pt x="494" y="38"/>
                      </a:lnTo>
                      <a:lnTo>
                        <a:pt x="494" y="38"/>
                      </a:lnTo>
                      <a:lnTo>
                        <a:pt x="494" y="38"/>
                      </a:lnTo>
                      <a:close/>
                      <a:moveTo>
                        <a:pt x="489" y="62"/>
                      </a:moveTo>
                      <a:lnTo>
                        <a:pt x="494" y="71"/>
                      </a:lnTo>
                      <a:lnTo>
                        <a:pt x="489" y="78"/>
                      </a:lnTo>
                      <a:lnTo>
                        <a:pt x="484" y="99"/>
                      </a:lnTo>
                      <a:lnTo>
                        <a:pt x="472" y="99"/>
                      </a:lnTo>
                      <a:lnTo>
                        <a:pt x="489" y="78"/>
                      </a:lnTo>
                      <a:lnTo>
                        <a:pt x="484" y="62"/>
                      </a:lnTo>
                      <a:lnTo>
                        <a:pt x="472" y="62"/>
                      </a:lnTo>
                      <a:lnTo>
                        <a:pt x="484" y="71"/>
                      </a:lnTo>
                      <a:lnTo>
                        <a:pt x="472" y="71"/>
                      </a:lnTo>
                      <a:lnTo>
                        <a:pt x="456" y="55"/>
                      </a:lnTo>
                      <a:lnTo>
                        <a:pt x="484" y="45"/>
                      </a:lnTo>
                      <a:lnTo>
                        <a:pt x="456" y="38"/>
                      </a:lnTo>
                      <a:lnTo>
                        <a:pt x="484" y="22"/>
                      </a:lnTo>
                      <a:lnTo>
                        <a:pt x="484" y="38"/>
                      </a:lnTo>
                      <a:lnTo>
                        <a:pt x="505" y="38"/>
                      </a:lnTo>
                      <a:lnTo>
                        <a:pt x="489" y="62"/>
                      </a:lnTo>
                      <a:lnTo>
                        <a:pt x="489" y="62"/>
                      </a:lnTo>
                      <a:lnTo>
                        <a:pt x="489" y="62"/>
                      </a:lnTo>
                      <a:close/>
                      <a:moveTo>
                        <a:pt x="385" y="173"/>
                      </a:moveTo>
                      <a:lnTo>
                        <a:pt x="385" y="166"/>
                      </a:lnTo>
                      <a:lnTo>
                        <a:pt x="401" y="166"/>
                      </a:lnTo>
                      <a:lnTo>
                        <a:pt x="385" y="173"/>
                      </a:lnTo>
                      <a:lnTo>
                        <a:pt x="385" y="173"/>
                      </a:lnTo>
                      <a:lnTo>
                        <a:pt x="385" y="173"/>
                      </a:lnTo>
                      <a:close/>
                      <a:moveTo>
                        <a:pt x="375" y="206"/>
                      </a:moveTo>
                      <a:lnTo>
                        <a:pt x="342" y="199"/>
                      </a:lnTo>
                      <a:lnTo>
                        <a:pt x="342" y="182"/>
                      </a:lnTo>
                      <a:lnTo>
                        <a:pt x="359" y="182"/>
                      </a:lnTo>
                      <a:lnTo>
                        <a:pt x="380" y="206"/>
                      </a:lnTo>
                      <a:lnTo>
                        <a:pt x="375" y="206"/>
                      </a:lnTo>
                      <a:lnTo>
                        <a:pt x="375" y="206"/>
                      </a:lnTo>
                      <a:lnTo>
                        <a:pt x="375" y="206"/>
                      </a:lnTo>
                      <a:close/>
                      <a:moveTo>
                        <a:pt x="347" y="222"/>
                      </a:moveTo>
                      <a:lnTo>
                        <a:pt x="331" y="206"/>
                      </a:lnTo>
                      <a:lnTo>
                        <a:pt x="347" y="215"/>
                      </a:lnTo>
                      <a:lnTo>
                        <a:pt x="347" y="222"/>
                      </a:lnTo>
                      <a:lnTo>
                        <a:pt x="347" y="222"/>
                      </a:lnTo>
                      <a:lnTo>
                        <a:pt x="347" y="222"/>
                      </a:lnTo>
                      <a:close/>
                      <a:moveTo>
                        <a:pt x="364" y="222"/>
                      </a:moveTo>
                      <a:lnTo>
                        <a:pt x="359" y="215"/>
                      </a:lnTo>
                      <a:lnTo>
                        <a:pt x="375" y="215"/>
                      </a:lnTo>
                      <a:lnTo>
                        <a:pt x="364" y="222"/>
                      </a:lnTo>
                      <a:lnTo>
                        <a:pt x="364" y="222"/>
                      </a:lnTo>
                      <a:lnTo>
                        <a:pt x="364" y="222"/>
                      </a:lnTo>
                      <a:close/>
                      <a:moveTo>
                        <a:pt x="217" y="936"/>
                      </a:moveTo>
                      <a:lnTo>
                        <a:pt x="234" y="924"/>
                      </a:lnTo>
                      <a:lnTo>
                        <a:pt x="201" y="924"/>
                      </a:lnTo>
                      <a:lnTo>
                        <a:pt x="217" y="924"/>
                      </a:lnTo>
                      <a:lnTo>
                        <a:pt x="201" y="907"/>
                      </a:lnTo>
                      <a:lnTo>
                        <a:pt x="276" y="879"/>
                      </a:lnTo>
                      <a:lnTo>
                        <a:pt x="288" y="853"/>
                      </a:lnTo>
                      <a:lnTo>
                        <a:pt x="276" y="813"/>
                      </a:lnTo>
                      <a:lnTo>
                        <a:pt x="255" y="825"/>
                      </a:lnTo>
                      <a:lnTo>
                        <a:pt x="238" y="825"/>
                      </a:lnTo>
                      <a:lnTo>
                        <a:pt x="238" y="825"/>
                      </a:lnTo>
                      <a:lnTo>
                        <a:pt x="276" y="780"/>
                      </a:lnTo>
                      <a:lnTo>
                        <a:pt x="342" y="770"/>
                      </a:lnTo>
                      <a:lnTo>
                        <a:pt x="359" y="780"/>
                      </a:lnTo>
                      <a:lnTo>
                        <a:pt x="347" y="770"/>
                      </a:lnTo>
                      <a:lnTo>
                        <a:pt x="359" y="770"/>
                      </a:lnTo>
                      <a:lnTo>
                        <a:pt x="375" y="775"/>
                      </a:lnTo>
                      <a:lnTo>
                        <a:pt x="380" y="770"/>
                      </a:lnTo>
                      <a:lnTo>
                        <a:pt x="364" y="770"/>
                      </a:lnTo>
                      <a:lnTo>
                        <a:pt x="359" y="754"/>
                      </a:lnTo>
                      <a:lnTo>
                        <a:pt x="375" y="737"/>
                      </a:lnTo>
                      <a:lnTo>
                        <a:pt x="359" y="725"/>
                      </a:lnTo>
                      <a:lnTo>
                        <a:pt x="359" y="714"/>
                      </a:lnTo>
                      <a:lnTo>
                        <a:pt x="364" y="714"/>
                      </a:lnTo>
                      <a:lnTo>
                        <a:pt x="375" y="681"/>
                      </a:lnTo>
                      <a:lnTo>
                        <a:pt x="347" y="697"/>
                      </a:lnTo>
                      <a:lnTo>
                        <a:pt x="321" y="659"/>
                      </a:lnTo>
                      <a:lnTo>
                        <a:pt x="331" y="614"/>
                      </a:lnTo>
                      <a:lnTo>
                        <a:pt x="359" y="610"/>
                      </a:lnTo>
                      <a:lnTo>
                        <a:pt x="326" y="610"/>
                      </a:lnTo>
                      <a:lnTo>
                        <a:pt x="321" y="614"/>
                      </a:lnTo>
                      <a:lnTo>
                        <a:pt x="293" y="631"/>
                      </a:lnTo>
                      <a:lnTo>
                        <a:pt x="267" y="614"/>
                      </a:lnTo>
                      <a:lnTo>
                        <a:pt x="267" y="643"/>
                      </a:lnTo>
                      <a:lnTo>
                        <a:pt x="234" y="614"/>
                      </a:lnTo>
                      <a:lnTo>
                        <a:pt x="222" y="626"/>
                      </a:lnTo>
                      <a:lnTo>
                        <a:pt x="234" y="643"/>
                      </a:lnTo>
                      <a:lnTo>
                        <a:pt x="222" y="643"/>
                      </a:lnTo>
                      <a:lnTo>
                        <a:pt x="212" y="614"/>
                      </a:lnTo>
                      <a:lnTo>
                        <a:pt x="212" y="610"/>
                      </a:lnTo>
                      <a:lnTo>
                        <a:pt x="250" y="553"/>
                      </a:lnTo>
                      <a:lnTo>
                        <a:pt x="222" y="536"/>
                      </a:lnTo>
                      <a:lnTo>
                        <a:pt x="234" y="515"/>
                      </a:lnTo>
                      <a:lnTo>
                        <a:pt x="255" y="515"/>
                      </a:lnTo>
                      <a:lnTo>
                        <a:pt x="234" y="503"/>
                      </a:lnTo>
                      <a:lnTo>
                        <a:pt x="234" y="492"/>
                      </a:lnTo>
                      <a:lnTo>
                        <a:pt x="222" y="520"/>
                      </a:lnTo>
                      <a:lnTo>
                        <a:pt x="212" y="515"/>
                      </a:lnTo>
                      <a:lnTo>
                        <a:pt x="212" y="520"/>
                      </a:lnTo>
                      <a:lnTo>
                        <a:pt x="201" y="520"/>
                      </a:lnTo>
                      <a:lnTo>
                        <a:pt x="201" y="503"/>
                      </a:lnTo>
                      <a:lnTo>
                        <a:pt x="222" y="482"/>
                      </a:lnTo>
                      <a:lnTo>
                        <a:pt x="217" y="482"/>
                      </a:lnTo>
                      <a:lnTo>
                        <a:pt x="196" y="503"/>
                      </a:lnTo>
                      <a:lnTo>
                        <a:pt x="196" y="532"/>
                      </a:lnTo>
                      <a:lnTo>
                        <a:pt x="184" y="548"/>
                      </a:lnTo>
                      <a:lnTo>
                        <a:pt x="184" y="570"/>
                      </a:lnTo>
                      <a:lnTo>
                        <a:pt x="163" y="577"/>
                      </a:lnTo>
                      <a:lnTo>
                        <a:pt x="179" y="532"/>
                      </a:lnTo>
                      <a:lnTo>
                        <a:pt x="170" y="515"/>
                      </a:lnTo>
                      <a:lnTo>
                        <a:pt x="179" y="499"/>
                      </a:lnTo>
                      <a:lnTo>
                        <a:pt x="170" y="503"/>
                      </a:lnTo>
                      <a:lnTo>
                        <a:pt x="184" y="492"/>
                      </a:lnTo>
                      <a:lnTo>
                        <a:pt x="179" y="492"/>
                      </a:lnTo>
                      <a:lnTo>
                        <a:pt x="179" y="475"/>
                      </a:lnTo>
                      <a:lnTo>
                        <a:pt x="217" y="449"/>
                      </a:lnTo>
                      <a:lnTo>
                        <a:pt x="217" y="449"/>
                      </a:lnTo>
                      <a:lnTo>
                        <a:pt x="212" y="459"/>
                      </a:lnTo>
                      <a:lnTo>
                        <a:pt x="196" y="459"/>
                      </a:lnTo>
                      <a:lnTo>
                        <a:pt x="201" y="449"/>
                      </a:lnTo>
                      <a:lnTo>
                        <a:pt x="196" y="442"/>
                      </a:lnTo>
                      <a:lnTo>
                        <a:pt x="212" y="421"/>
                      </a:lnTo>
                      <a:lnTo>
                        <a:pt x="170" y="459"/>
                      </a:lnTo>
                      <a:lnTo>
                        <a:pt x="146" y="442"/>
                      </a:lnTo>
                      <a:lnTo>
                        <a:pt x="184" y="437"/>
                      </a:lnTo>
                      <a:lnTo>
                        <a:pt x="130" y="437"/>
                      </a:lnTo>
                      <a:lnTo>
                        <a:pt x="163" y="425"/>
                      </a:lnTo>
                      <a:lnTo>
                        <a:pt x="163" y="425"/>
                      </a:lnTo>
                      <a:lnTo>
                        <a:pt x="163" y="421"/>
                      </a:lnTo>
                      <a:lnTo>
                        <a:pt x="179" y="421"/>
                      </a:lnTo>
                      <a:lnTo>
                        <a:pt x="158" y="409"/>
                      </a:lnTo>
                      <a:lnTo>
                        <a:pt x="163" y="404"/>
                      </a:lnTo>
                      <a:lnTo>
                        <a:pt x="184" y="404"/>
                      </a:lnTo>
                      <a:lnTo>
                        <a:pt x="163" y="392"/>
                      </a:lnTo>
                      <a:lnTo>
                        <a:pt x="170" y="392"/>
                      </a:lnTo>
                      <a:lnTo>
                        <a:pt x="196" y="392"/>
                      </a:lnTo>
                      <a:lnTo>
                        <a:pt x="179" y="388"/>
                      </a:lnTo>
                      <a:lnTo>
                        <a:pt x="179" y="383"/>
                      </a:lnTo>
                      <a:lnTo>
                        <a:pt x="196" y="383"/>
                      </a:lnTo>
                      <a:lnTo>
                        <a:pt x="179" y="371"/>
                      </a:lnTo>
                      <a:lnTo>
                        <a:pt x="184" y="366"/>
                      </a:lnTo>
                      <a:lnTo>
                        <a:pt x="163" y="366"/>
                      </a:lnTo>
                      <a:lnTo>
                        <a:pt x="163" y="350"/>
                      </a:lnTo>
                      <a:lnTo>
                        <a:pt x="184" y="350"/>
                      </a:lnTo>
                      <a:lnTo>
                        <a:pt x="163" y="338"/>
                      </a:lnTo>
                      <a:lnTo>
                        <a:pt x="163" y="317"/>
                      </a:lnTo>
                      <a:lnTo>
                        <a:pt x="170" y="317"/>
                      </a:lnTo>
                      <a:lnTo>
                        <a:pt x="179" y="326"/>
                      </a:lnTo>
                      <a:lnTo>
                        <a:pt x="179" y="310"/>
                      </a:lnTo>
                      <a:lnTo>
                        <a:pt x="217" y="317"/>
                      </a:lnTo>
                      <a:lnTo>
                        <a:pt x="184" y="293"/>
                      </a:lnTo>
                      <a:lnTo>
                        <a:pt x="201" y="293"/>
                      </a:lnTo>
                      <a:lnTo>
                        <a:pt x="196" y="277"/>
                      </a:lnTo>
                      <a:lnTo>
                        <a:pt x="217" y="277"/>
                      </a:lnTo>
                      <a:lnTo>
                        <a:pt x="212" y="260"/>
                      </a:lnTo>
                      <a:lnTo>
                        <a:pt x="222" y="239"/>
                      </a:lnTo>
                      <a:lnTo>
                        <a:pt x="238" y="244"/>
                      </a:lnTo>
                      <a:lnTo>
                        <a:pt x="238" y="255"/>
                      </a:lnTo>
                      <a:lnTo>
                        <a:pt x="250" y="239"/>
                      </a:lnTo>
                      <a:lnTo>
                        <a:pt x="271" y="244"/>
                      </a:lnTo>
                      <a:lnTo>
                        <a:pt x="359" y="227"/>
                      </a:lnTo>
                      <a:lnTo>
                        <a:pt x="359" y="255"/>
                      </a:lnTo>
                      <a:lnTo>
                        <a:pt x="347" y="272"/>
                      </a:lnTo>
                      <a:lnTo>
                        <a:pt x="293" y="310"/>
                      </a:lnTo>
                      <a:lnTo>
                        <a:pt x="288" y="317"/>
                      </a:lnTo>
                      <a:lnTo>
                        <a:pt x="267" y="310"/>
                      </a:lnTo>
                      <a:lnTo>
                        <a:pt x="288" y="317"/>
                      </a:lnTo>
                      <a:lnTo>
                        <a:pt x="309" y="317"/>
                      </a:lnTo>
                      <a:lnTo>
                        <a:pt x="293" y="333"/>
                      </a:lnTo>
                      <a:lnTo>
                        <a:pt x="271" y="333"/>
                      </a:lnTo>
                      <a:lnTo>
                        <a:pt x="267" y="350"/>
                      </a:lnTo>
                      <a:lnTo>
                        <a:pt x="288" y="338"/>
                      </a:lnTo>
                      <a:lnTo>
                        <a:pt x="276" y="355"/>
                      </a:lnTo>
                      <a:lnTo>
                        <a:pt x="326" y="333"/>
                      </a:lnTo>
                      <a:lnTo>
                        <a:pt x="430" y="333"/>
                      </a:lnTo>
                      <a:lnTo>
                        <a:pt x="439" y="333"/>
                      </a:lnTo>
                      <a:lnTo>
                        <a:pt x="451" y="355"/>
                      </a:lnTo>
                      <a:lnTo>
                        <a:pt x="434" y="371"/>
                      </a:lnTo>
                      <a:lnTo>
                        <a:pt x="418" y="421"/>
                      </a:lnTo>
                      <a:lnTo>
                        <a:pt x="397" y="437"/>
                      </a:lnTo>
                      <a:lnTo>
                        <a:pt x="397" y="449"/>
                      </a:lnTo>
                      <a:lnTo>
                        <a:pt x="342" y="466"/>
                      </a:lnTo>
                      <a:lnTo>
                        <a:pt x="375" y="459"/>
                      </a:lnTo>
                      <a:lnTo>
                        <a:pt x="397" y="482"/>
                      </a:lnTo>
                      <a:lnTo>
                        <a:pt x="331" y="503"/>
                      </a:lnTo>
                      <a:lnTo>
                        <a:pt x="309" y="503"/>
                      </a:lnTo>
                      <a:lnTo>
                        <a:pt x="359" y="515"/>
                      </a:lnTo>
                      <a:lnTo>
                        <a:pt x="385" y="499"/>
                      </a:lnTo>
                      <a:lnTo>
                        <a:pt x="430" y="520"/>
                      </a:lnTo>
                      <a:lnTo>
                        <a:pt x="439" y="548"/>
                      </a:lnTo>
                      <a:lnTo>
                        <a:pt x="456" y="548"/>
                      </a:lnTo>
                      <a:lnTo>
                        <a:pt x="484" y="631"/>
                      </a:lnTo>
                      <a:lnTo>
                        <a:pt x="489" y="643"/>
                      </a:lnTo>
                      <a:lnTo>
                        <a:pt x="538" y="659"/>
                      </a:lnTo>
                      <a:lnTo>
                        <a:pt x="548" y="681"/>
                      </a:lnTo>
                      <a:lnTo>
                        <a:pt x="564" y="697"/>
                      </a:lnTo>
                      <a:lnTo>
                        <a:pt x="560" y="702"/>
                      </a:lnTo>
                      <a:lnTo>
                        <a:pt x="581" y="742"/>
                      </a:lnTo>
                      <a:lnTo>
                        <a:pt x="581" y="754"/>
                      </a:lnTo>
                      <a:lnTo>
                        <a:pt x="560" y="737"/>
                      </a:lnTo>
                      <a:lnTo>
                        <a:pt x="522" y="737"/>
                      </a:lnTo>
                      <a:lnTo>
                        <a:pt x="548" y="737"/>
                      </a:lnTo>
                      <a:lnTo>
                        <a:pt x="593" y="770"/>
                      </a:lnTo>
                      <a:lnTo>
                        <a:pt x="597" y="792"/>
                      </a:lnTo>
                      <a:lnTo>
                        <a:pt x="576" y="813"/>
                      </a:lnTo>
                      <a:lnTo>
                        <a:pt x="597" y="825"/>
                      </a:lnTo>
                      <a:lnTo>
                        <a:pt x="614" y="808"/>
                      </a:lnTo>
                      <a:lnTo>
                        <a:pt x="635" y="808"/>
                      </a:lnTo>
                      <a:lnTo>
                        <a:pt x="668" y="813"/>
                      </a:lnTo>
                      <a:lnTo>
                        <a:pt x="690" y="829"/>
                      </a:lnTo>
                      <a:lnTo>
                        <a:pt x="701" y="853"/>
                      </a:lnTo>
                      <a:lnTo>
                        <a:pt x="685" y="891"/>
                      </a:lnTo>
                      <a:lnTo>
                        <a:pt x="668" y="907"/>
                      </a:lnTo>
                      <a:lnTo>
                        <a:pt x="657" y="903"/>
                      </a:lnTo>
                      <a:lnTo>
                        <a:pt x="668" y="907"/>
                      </a:lnTo>
                      <a:lnTo>
                        <a:pt x="657" y="919"/>
                      </a:lnTo>
                      <a:lnTo>
                        <a:pt x="647" y="919"/>
                      </a:lnTo>
                      <a:lnTo>
                        <a:pt x="619" y="924"/>
                      </a:lnTo>
                      <a:lnTo>
                        <a:pt x="635" y="924"/>
                      </a:lnTo>
                      <a:lnTo>
                        <a:pt x="647" y="940"/>
                      </a:lnTo>
                      <a:lnTo>
                        <a:pt x="597" y="957"/>
                      </a:lnTo>
                      <a:lnTo>
                        <a:pt x="619" y="947"/>
                      </a:lnTo>
                      <a:lnTo>
                        <a:pt x="614" y="957"/>
                      </a:lnTo>
                      <a:lnTo>
                        <a:pt x="635" y="964"/>
                      </a:lnTo>
                      <a:lnTo>
                        <a:pt x="673" y="957"/>
                      </a:lnTo>
                      <a:lnTo>
                        <a:pt x="673" y="981"/>
                      </a:lnTo>
                      <a:lnTo>
                        <a:pt x="647" y="990"/>
                      </a:lnTo>
                      <a:lnTo>
                        <a:pt x="647" y="1002"/>
                      </a:lnTo>
                      <a:lnTo>
                        <a:pt x="593" y="1018"/>
                      </a:lnTo>
                      <a:lnTo>
                        <a:pt x="560" y="1014"/>
                      </a:lnTo>
                      <a:lnTo>
                        <a:pt x="522" y="1018"/>
                      </a:lnTo>
                      <a:lnTo>
                        <a:pt x="510" y="1014"/>
                      </a:lnTo>
                      <a:lnTo>
                        <a:pt x="494" y="1014"/>
                      </a:lnTo>
                      <a:lnTo>
                        <a:pt x="494" y="1018"/>
                      </a:lnTo>
                      <a:lnTo>
                        <a:pt x="430" y="1018"/>
                      </a:lnTo>
                      <a:lnTo>
                        <a:pt x="434" y="1035"/>
                      </a:lnTo>
                      <a:lnTo>
                        <a:pt x="401" y="1030"/>
                      </a:lnTo>
                      <a:lnTo>
                        <a:pt x="401" y="1035"/>
                      </a:lnTo>
                      <a:lnTo>
                        <a:pt x="364" y="1018"/>
                      </a:lnTo>
                      <a:lnTo>
                        <a:pt x="331" y="1035"/>
                      </a:lnTo>
                      <a:lnTo>
                        <a:pt x="309" y="1068"/>
                      </a:lnTo>
                      <a:lnTo>
                        <a:pt x="276" y="1051"/>
                      </a:lnTo>
                      <a:lnTo>
                        <a:pt x="267" y="1056"/>
                      </a:lnTo>
                      <a:lnTo>
                        <a:pt x="238" y="1056"/>
                      </a:lnTo>
                      <a:lnTo>
                        <a:pt x="217" y="1073"/>
                      </a:lnTo>
                      <a:lnTo>
                        <a:pt x="217" y="1084"/>
                      </a:lnTo>
                      <a:lnTo>
                        <a:pt x="212" y="1089"/>
                      </a:lnTo>
                      <a:lnTo>
                        <a:pt x="184" y="1073"/>
                      </a:lnTo>
                      <a:lnTo>
                        <a:pt x="170" y="1084"/>
                      </a:lnTo>
                      <a:lnTo>
                        <a:pt x="170" y="1073"/>
                      </a:lnTo>
                      <a:lnTo>
                        <a:pt x="196" y="1073"/>
                      </a:lnTo>
                      <a:lnTo>
                        <a:pt x="217" y="1051"/>
                      </a:lnTo>
                      <a:lnTo>
                        <a:pt x="217" y="1035"/>
                      </a:lnTo>
                      <a:lnTo>
                        <a:pt x="238" y="1035"/>
                      </a:lnTo>
                      <a:lnTo>
                        <a:pt x="255" y="1018"/>
                      </a:lnTo>
                      <a:lnTo>
                        <a:pt x="255" y="997"/>
                      </a:lnTo>
                      <a:lnTo>
                        <a:pt x="271" y="997"/>
                      </a:lnTo>
                      <a:lnTo>
                        <a:pt x="276" y="990"/>
                      </a:lnTo>
                      <a:lnTo>
                        <a:pt x="276" y="981"/>
                      </a:lnTo>
                      <a:lnTo>
                        <a:pt x="359" y="973"/>
                      </a:lnTo>
                      <a:lnTo>
                        <a:pt x="364" y="957"/>
                      </a:lnTo>
                      <a:lnTo>
                        <a:pt x="401" y="924"/>
                      </a:lnTo>
                      <a:lnTo>
                        <a:pt x="342" y="957"/>
                      </a:lnTo>
                      <a:lnTo>
                        <a:pt x="326" y="957"/>
                      </a:lnTo>
                      <a:lnTo>
                        <a:pt x="305" y="936"/>
                      </a:lnTo>
                      <a:lnTo>
                        <a:pt x="276" y="947"/>
                      </a:lnTo>
                      <a:lnTo>
                        <a:pt x="271" y="940"/>
                      </a:lnTo>
                      <a:lnTo>
                        <a:pt x="288" y="936"/>
                      </a:lnTo>
                      <a:lnTo>
                        <a:pt x="267" y="924"/>
                      </a:lnTo>
                      <a:lnTo>
                        <a:pt x="217" y="936"/>
                      </a:lnTo>
                      <a:lnTo>
                        <a:pt x="217" y="936"/>
                      </a:lnTo>
                      <a:lnTo>
                        <a:pt x="217" y="936"/>
                      </a:lnTo>
                      <a:close/>
                      <a:moveTo>
                        <a:pt x="116" y="310"/>
                      </a:moveTo>
                      <a:lnTo>
                        <a:pt x="104" y="310"/>
                      </a:lnTo>
                      <a:lnTo>
                        <a:pt x="104" y="298"/>
                      </a:lnTo>
                      <a:lnTo>
                        <a:pt x="108" y="293"/>
                      </a:lnTo>
                      <a:lnTo>
                        <a:pt x="104" y="293"/>
                      </a:lnTo>
                      <a:lnTo>
                        <a:pt x="104" y="298"/>
                      </a:lnTo>
                      <a:lnTo>
                        <a:pt x="104" y="317"/>
                      </a:lnTo>
                      <a:lnTo>
                        <a:pt x="87" y="333"/>
                      </a:lnTo>
                      <a:lnTo>
                        <a:pt x="71" y="317"/>
                      </a:lnTo>
                      <a:lnTo>
                        <a:pt x="92" y="310"/>
                      </a:lnTo>
                      <a:lnTo>
                        <a:pt x="71" y="298"/>
                      </a:lnTo>
                      <a:lnTo>
                        <a:pt x="78" y="298"/>
                      </a:lnTo>
                      <a:lnTo>
                        <a:pt x="71" y="281"/>
                      </a:lnTo>
                      <a:lnTo>
                        <a:pt x="78" y="277"/>
                      </a:lnTo>
                      <a:lnTo>
                        <a:pt x="87" y="277"/>
                      </a:lnTo>
                      <a:lnTo>
                        <a:pt x="92" y="293"/>
                      </a:lnTo>
                      <a:lnTo>
                        <a:pt x="92" y="281"/>
                      </a:lnTo>
                      <a:lnTo>
                        <a:pt x="104" y="277"/>
                      </a:lnTo>
                      <a:lnTo>
                        <a:pt x="92" y="272"/>
                      </a:lnTo>
                      <a:lnTo>
                        <a:pt x="130" y="244"/>
                      </a:lnTo>
                      <a:lnTo>
                        <a:pt x="142" y="255"/>
                      </a:lnTo>
                      <a:lnTo>
                        <a:pt x="125" y="277"/>
                      </a:lnTo>
                      <a:lnTo>
                        <a:pt x="142" y="277"/>
                      </a:lnTo>
                      <a:lnTo>
                        <a:pt x="108" y="293"/>
                      </a:lnTo>
                      <a:lnTo>
                        <a:pt x="125" y="293"/>
                      </a:lnTo>
                      <a:lnTo>
                        <a:pt x="125" y="298"/>
                      </a:lnTo>
                      <a:lnTo>
                        <a:pt x="116" y="310"/>
                      </a:lnTo>
                      <a:lnTo>
                        <a:pt x="116" y="310"/>
                      </a:lnTo>
                      <a:lnTo>
                        <a:pt x="116" y="310"/>
                      </a:lnTo>
                      <a:close/>
                      <a:moveTo>
                        <a:pt x="61" y="350"/>
                      </a:moveTo>
                      <a:lnTo>
                        <a:pt x="38" y="338"/>
                      </a:lnTo>
                      <a:lnTo>
                        <a:pt x="71" y="333"/>
                      </a:lnTo>
                      <a:lnTo>
                        <a:pt x="78" y="338"/>
                      </a:lnTo>
                      <a:lnTo>
                        <a:pt x="61" y="350"/>
                      </a:lnTo>
                      <a:lnTo>
                        <a:pt x="61" y="350"/>
                      </a:lnTo>
                      <a:lnTo>
                        <a:pt x="61" y="350"/>
                      </a:lnTo>
                      <a:close/>
                      <a:moveTo>
                        <a:pt x="163" y="392"/>
                      </a:moveTo>
                      <a:lnTo>
                        <a:pt x="146" y="404"/>
                      </a:lnTo>
                      <a:lnTo>
                        <a:pt x="146" y="388"/>
                      </a:lnTo>
                      <a:lnTo>
                        <a:pt x="130" y="388"/>
                      </a:lnTo>
                      <a:lnTo>
                        <a:pt x="116" y="371"/>
                      </a:lnTo>
                      <a:lnTo>
                        <a:pt x="130" y="371"/>
                      </a:lnTo>
                      <a:lnTo>
                        <a:pt x="116" y="366"/>
                      </a:lnTo>
                      <a:lnTo>
                        <a:pt x="108" y="371"/>
                      </a:lnTo>
                      <a:lnTo>
                        <a:pt x="104" y="366"/>
                      </a:lnTo>
                      <a:lnTo>
                        <a:pt x="92" y="355"/>
                      </a:lnTo>
                      <a:lnTo>
                        <a:pt x="108" y="338"/>
                      </a:lnTo>
                      <a:lnTo>
                        <a:pt x="125" y="350"/>
                      </a:lnTo>
                      <a:lnTo>
                        <a:pt x="125" y="338"/>
                      </a:lnTo>
                      <a:lnTo>
                        <a:pt x="130" y="333"/>
                      </a:lnTo>
                      <a:lnTo>
                        <a:pt x="142" y="350"/>
                      </a:lnTo>
                      <a:lnTo>
                        <a:pt x="142" y="371"/>
                      </a:lnTo>
                      <a:lnTo>
                        <a:pt x="179" y="383"/>
                      </a:lnTo>
                      <a:lnTo>
                        <a:pt x="163" y="392"/>
                      </a:lnTo>
                      <a:lnTo>
                        <a:pt x="163" y="392"/>
                      </a:lnTo>
                      <a:lnTo>
                        <a:pt x="163" y="392"/>
                      </a:lnTo>
                      <a:close/>
                      <a:moveTo>
                        <a:pt x="61" y="366"/>
                      </a:moveTo>
                      <a:lnTo>
                        <a:pt x="54" y="355"/>
                      </a:lnTo>
                      <a:lnTo>
                        <a:pt x="61" y="355"/>
                      </a:lnTo>
                      <a:lnTo>
                        <a:pt x="61" y="366"/>
                      </a:lnTo>
                      <a:lnTo>
                        <a:pt x="61" y="366"/>
                      </a:lnTo>
                      <a:lnTo>
                        <a:pt x="61" y="366"/>
                      </a:lnTo>
                      <a:close/>
                      <a:moveTo>
                        <a:pt x="61" y="392"/>
                      </a:moveTo>
                      <a:lnTo>
                        <a:pt x="54" y="392"/>
                      </a:lnTo>
                      <a:lnTo>
                        <a:pt x="54" y="366"/>
                      </a:lnTo>
                      <a:lnTo>
                        <a:pt x="61" y="371"/>
                      </a:lnTo>
                      <a:lnTo>
                        <a:pt x="61" y="371"/>
                      </a:lnTo>
                      <a:lnTo>
                        <a:pt x="61" y="392"/>
                      </a:lnTo>
                      <a:lnTo>
                        <a:pt x="61" y="392"/>
                      </a:lnTo>
                      <a:lnTo>
                        <a:pt x="61" y="392"/>
                      </a:lnTo>
                      <a:close/>
                      <a:moveTo>
                        <a:pt x="49" y="409"/>
                      </a:moveTo>
                      <a:lnTo>
                        <a:pt x="38" y="409"/>
                      </a:lnTo>
                      <a:lnTo>
                        <a:pt x="49" y="392"/>
                      </a:lnTo>
                      <a:lnTo>
                        <a:pt x="54" y="404"/>
                      </a:lnTo>
                      <a:lnTo>
                        <a:pt x="49" y="409"/>
                      </a:lnTo>
                      <a:lnTo>
                        <a:pt x="49" y="409"/>
                      </a:lnTo>
                      <a:lnTo>
                        <a:pt x="49" y="409"/>
                      </a:lnTo>
                      <a:close/>
                      <a:moveTo>
                        <a:pt x="130" y="409"/>
                      </a:moveTo>
                      <a:lnTo>
                        <a:pt x="116" y="404"/>
                      </a:lnTo>
                      <a:lnTo>
                        <a:pt x="130" y="404"/>
                      </a:lnTo>
                      <a:lnTo>
                        <a:pt x="130" y="409"/>
                      </a:lnTo>
                      <a:lnTo>
                        <a:pt x="130" y="409"/>
                      </a:lnTo>
                      <a:lnTo>
                        <a:pt x="130" y="409"/>
                      </a:lnTo>
                      <a:close/>
                      <a:moveTo>
                        <a:pt x="142" y="421"/>
                      </a:moveTo>
                      <a:lnTo>
                        <a:pt x="142" y="409"/>
                      </a:lnTo>
                      <a:lnTo>
                        <a:pt x="142" y="409"/>
                      </a:lnTo>
                      <a:lnTo>
                        <a:pt x="142" y="421"/>
                      </a:lnTo>
                      <a:lnTo>
                        <a:pt x="142" y="421"/>
                      </a:lnTo>
                      <a:lnTo>
                        <a:pt x="142" y="421"/>
                      </a:lnTo>
                      <a:close/>
                      <a:moveTo>
                        <a:pt x="142" y="442"/>
                      </a:moveTo>
                      <a:lnTo>
                        <a:pt x="179" y="466"/>
                      </a:lnTo>
                      <a:lnTo>
                        <a:pt x="163" y="475"/>
                      </a:lnTo>
                      <a:lnTo>
                        <a:pt x="130" y="482"/>
                      </a:lnTo>
                      <a:lnTo>
                        <a:pt x="125" y="475"/>
                      </a:lnTo>
                      <a:lnTo>
                        <a:pt x="146" y="466"/>
                      </a:lnTo>
                      <a:lnTo>
                        <a:pt x="142" y="466"/>
                      </a:lnTo>
                      <a:lnTo>
                        <a:pt x="146" y="459"/>
                      </a:lnTo>
                      <a:lnTo>
                        <a:pt x="125" y="449"/>
                      </a:lnTo>
                      <a:lnTo>
                        <a:pt x="142" y="442"/>
                      </a:lnTo>
                      <a:lnTo>
                        <a:pt x="142" y="442"/>
                      </a:lnTo>
                      <a:lnTo>
                        <a:pt x="142" y="442"/>
                      </a:lnTo>
                      <a:close/>
                      <a:moveTo>
                        <a:pt x="87" y="459"/>
                      </a:moveTo>
                      <a:lnTo>
                        <a:pt x="78" y="459"/>
                      </a:lnTo>
                      <a:lnTo>
                        <a:pt x="104" y="449"/>
                      </a:lnTo>
                      <a:lnTo>
                        <a:pt x="87" y="459"/>
                      </a:lnTo>
                      <a:lnTo>
                        <a:pt x="87" y="459"/>
                      </a:lnTo>
                      <a:lnTo>
                        <a:pt x="87" y="459"/>
                      </a:lnTo>
                      <a:close/>
                      <a:moveTo>
                        <a:pt x="158" y="532"/>
                      </a:moveTo>
                      <a:lnTo>
                        <a:pt x="146" y="520"/>
                      </a:lnTo>
                      <a:lnTo>
                        <a:pt x="146" y="515"/>
                      </a:lnTo>
                      <a:lnTo>
                        <a:pt x="170" y="492"/>
                      </a:lnTo>
                      <a:lnTo>
                        <a:pt x="158" y="532"/>
                      </a:lnTo>
                      <a:lnTo>
                        <a:pt x="158" y="532"/>
                      </a:lnTo>
                      <a:lnTo>
                        <a:pt x="158" y="532"/>
                      </a:lnTo>
                      <a:close/>
                      <a:moveTo>
                        <a:pt x="142" y="503"/>
                      </a:moveTo>
                      <a:lnTo>
                        <a:pt x="130" y="499"/>
                      </a:lnTo>
                      <a:lnTo>
                        <a:pt x="142" y="492"/>
                      </a:lnTo>
                      <a:lnTo>
                        <a:pt x="142" y="503"/>
                      </a:lnTo>
                      <a:lnTo>
                        <a:pt x="142" y="503"/>
                      </a:lnTo>
                      <a:lnTo>
                        <a:pt x="142" y="503"/>
                      </a:lnTo>
                      <a:close/>
                      <a:moveTo>
                        <a:pt x="130" y="548"/>
                      </a:moveTo>
                      <a:lnTo>
                        <a:pt x="130" y="532"/>
                      </a:lnTo>
                      <a:lnTo>
                        <a:pt x="116" y="536"/>
                      </a:lnTo>
                      <a:lnTo>
                        <a:pt x="116" y="520"/>
                      </a:lnTo>
                      <a:lnTo>
                        <a:pt x="142" y="515"/>
                      </a:lnTo>
                      <a:lnTo>
                        <a:pt x="146" y="536"/>
                      </a:lnTo>
                      <a:lnTo>
                        <a:pt x="130" y="548"/>
                      </a:lnTo>
                      <a:lnTo>
                        <a:pt x="130" y="548"/>
                      </a:lnTo>
                      <a:lnTo>
                        <a:pt x="130" y="548"/>
                      </a:lnTo>
                      <a:close/>
                      <a:moveTo>
                        <a:pt x="217" y="536"/>
                      </a:moveTo>
                      <a:lnTo>
                        <a:pt x="212" y="515"/>
                      </a:lnTo>
                      <a:lnTo>
                        <a:pt x="217" y="520"/>
                      </a:lnTo>
                      <a:lnTo>
                        <a:pt x="217" y="536"/>
                      </a:lnTo>
                      <a:lnTo>
                        <a:pt x="217" y="536"/>
                      </a:lnTo>
                      <a:lnTo>
                        <a:pt x="217" y="536"/>
                      </a:lnTo>
                      <a:close/>
                      <a:moveTo>
                        <a:pt x="212" y="560"/>
                      </a:moveTo>
                      <a:lnTo>
                        <a:pt x="196" y="560"/>
                      </a:lnTo>
                      <a:lnTo>
                        <a:pt x="196" y="536"/>
                      </a:lnTo>
                      <a:lnTo>
                        <a:pt x="212" y="536"/>
                      </a:lnTo>
                      <a:lnTo>
                        <a:pt x="217" y="560"/>
                      </a:lnTo>
                      <a:lnTo>
                        <a:pt x="212" y="560"/>
                      </a:lnTo>
                      <a:lnTo>
                        <a:pt x="212" y="560"/>
                      </a:lnTo>
                      <a:lnTo>
                        <a:pt x="212" y="560"/>
                      </a:lnTo>
                      <a:close/>
                      <a:moveTo>
                        <a:pt x="108" y="702"/>
                      </a:moveTo>
                      <a:lnTo>
                        <a:pt x="78" y="664"/>
                      </a:lnTo>
                      <a:lnTo>
                        <a:pt x="61" y="697"/>
                      </a:lnTo>
                      <a:lnTo>
                        <a:pt x="23" y="685"/>
                      </a:lnTo>
                      <a:lnTo>
                        <a:pt x="0" y="664"/>
                      </a:lnTo>
                      <a:lnTo>
                        <a:pt x="33" y="647"/>
                      </a:lnTo>
                      <a:lnTo>
                        <a:pt x="16" y="643"/>
                      </a:lnTo>
                      <a:lnTo>
                        <a:pt x="38" y="631"/>
                      </a:lnTo>
                      <a:lnTo>
                        <a:pt x="61" y="603"/>
                      </a:lnTo>
                      <a:lnTo>
                        <a:pt x="78" y="603"/>
                      </a:lnTo>
                      <a:lnTo>
                        <a:pt x="87" y="593"/>
                      </a:lnTo>
                      <a:lnTo>
                        <a:pt x="116" y="586"/>
                      </a:lnTo>
                      <a:lnTo>
                        <a:pt x="146" y="586"/>
                      </a:lnTo>
                      <a:lnTo>
                        <a:pt x="146" y="603"/>
                      </a:lnTo>
                      <a:lnTo>
                        <a:pt x="170" y="626"/>
                      </a:lnTo>
                      <a:lnTo>
                        <a:pt x="158" y="647"/>
                      </a:lnTo>
                      <a:lnTo>
                        <a:pt x="179" y="643"/>
                      </a:lnTo>
                      <a:lnTo>
                        <a:pt x="196" y="659"/>
                      </a:lnTo>
                      <a:lnTo>
                        <a:pt x="184" y="669"/>
                      </a:lnTo>
                      <a:lnTo>
                        <a:pt x="179" y="659"/>
                      </a:lnTo>
                      <a:lnTo>
                        <a:pt x="170" y="647"/>
                      </a:lnTo>
                      <a:lnTo>
                        <a:pt x="179" y="681"/>
                      </a:lnTo>
                      <a:lnTo>
                        <a:pt x="163" y="681"/>
                      </a:lnTo>
                      <a:lnTo>
                        <a:pt x="158" y="697"/>
                      </a:lnTo>
                      <a:lnTo>
                        <a:pt x="146" y="702"/>
                      </a:lnTo>
                      <a:lnTo>
                        <a:pt x="130" y="697"/>
                      </a:lnTo>
                      <a:lnTo>
                        <a:pt x="108" y="702"/>
                      </a:lnTo>
                      <a:lnTo>
                        <a:pt x="108" y="702"/>
                      </a:lnTo>
                      <a:lnTo>
                        <a:pt x="108" y="702"/>
                      </a:lnTo>
                      <a:close/>
                      <a:moveTo>
                        <a:pt x="267" y="792"/>
                      </a:moveTo>
                      <a:lnTo>
                        <a:pt x="250" y="775"/>
                      </a:lnTo>
                      <a:lnTo>
                        <a:pt x="250" y="770"/>
                      </a:lnTo>
                      <a:lnTo>
                        <a:pt x="271" y="770"/>
                      </a:lnTo>
                      <a:lnTo>
                        <a:pt x="288" y="775"/>
                      </a:lnTo>
                      <a:lnTo>
                        <a:pt x="267" y="792"/>
                      </a:lnTo>
                      <a:lnTo>
                        <a:pt x="267" y="792"/>
                      </a:lnTo>
                      <a:lnTo>
                        <a:pt x="267" y="792"/>
                      </a:lnTo>
                      <a:close/>
                      <a:moveTo>
                        <a:pt x="635" y="964"/>
                      </a:moveTo>
                      <a:lnTo>
                        <a:pt x="631" y="957"/>
                      </a:lnTo>
                      <a:lnTo>
                        <a:pt x="635" y="957"/>
                      </a:lnTo>
                      <a:lnTo>
                        <a:pt x="635" y="964"/>
                      </a:lnTo>
                      <a:lnTo>
                        <a:pt x="635" y="964"/>
                      </a:lnTo>
                      <a:lnTo>
                        <a:pt x="635" y="964"/>
                      </a:lnTo>
                      <a:close/>
                      <a:moveTo>
                        <a:pt x="484" y="1035"/>
                      </a:moveTo>
                      <a:lnTo>
                        <a:pt x="468" y="1030"/>
                      </a:lnTo>
                      <a:lnTo>
                        <a:pt x="484" y="1018"/>
                      </a:lnTo>
                      <a:lnTo>
                        <a:pt x="494" y="1030"/>
                      </a:lnTo>
                      <a:lnTo>
                        <a:pt x="484" y="1035"/>
                      </a:lnTo>
                      <a:lnTo>
                        <a:pt x="484" y="1035"/>
                      </a:lnTo>
                      <a:lnTo>
                        <a:pt x="484" y="103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64" name="Freeform 581">
                  <a:extLst>
                    <a:ext uri="{FF2B5EF4-FFF2-40B4-BE49-F238E27FC236}">
                      <a16:creationId xmlns:a16="http://schemas.microsoft.com/office/drawing/2014/main" id="{45FDE836-502E-4A24-9600-2E871DE77CAF}"/>
                    </a:ext>
                  </a:extLst>
                </p:cNvPr>
                <p:cNvSpPr>
                  <a:spLocks noEditPoints="1"/>
                </p:cNvSpPr>
                <p:nvPr/>
              </p:nvSpPr>
              <p:spPr bwMode="gray">
                <a:xfrm>
                  <a:off x="7365147" y="2349853"/>
                  <a:ext cx="519116" cy="307552"/>
                </a:xfrm>
                <a:custGeom>
                  <a:avLst/>
                  <a:gdLst>
                    <a:gd name="T0" fmla="*/ 463 w 1261"/>
                    <a:gd name="T1" fmla="*/ 669 h 747"/>
                    <a:gd name="T2" fmla="*/ 446 w 1261"/>
                    <a:gd name="T3" fmla="*/ 641 h 747"/>
                    <a:gd name="T4" fmla="*/ 479 w 1261"/>
                    <a:gd name="T5" fmla="*/ 598 h 747"/>
                    <a:gd name="T6" fmla="*/ 489 w 1261"/>
                    <a:gd name="T7" fmla="*/ 546 h 747"/>
                    <a:gd name="T8" fmla="*/ 534 w 1261"/>
                    <a:gd name="T9" fmla="*/ 558 h 747"/>
                    <a:gd name="T10" fmla="*/ 543 w 1261"/>
                    <a:gd name="T11" fmla="*/ 546 h 747"/>
                    <a:gd name="T12" fmla="*/ 505 w 1261"/>
                    <a:gd name="T13" fmla="*/ 485 h 747"/>
                    <a:gd name="T14" fmla="*/ 489 w 1261"/>
                    <a:gd name="T15" fmla="*/ 419 h 747"/>
                    <a:gd name="T16" fmla="*/ 413 w 1261"/>
                    <a:gd name="T17" fmla="*/ 390 h 747"/>
                    <a:gd name="T18" fmla="*/ 290 w 1261"/>
                    <a:gd name="T19" fmla="*/ 397 h 747"/>
                    <a:gd name="T20" fmla="*/ 165 w 1261"/>
                    <a:gd name="T21" fmla="*/ 419 h 747"/>
                    <a:gd name="T22" fmla="*/ 52 w 1261"/>
                    <a:gd name="T23" fmla="*/ 419 h 747"/>
                    <a:gd name="T24" fmla="*/ 0 w 1261"/>
                    <a:gd name="T25" fmla="*/ 381 h 747"/>
                    <a:gd name="T26" fmla="*/ 52 w 1261"/>
                    <a:gd name="T27" fmla="*/ 324 h 747"/>
                    <a:gd name="T28" fmla="*/ 38 w 1261"/>
                    <a:gd name="T29" fmla="*/ 267 h 747"/>
                    <a:gd name="T30" fmla="*/ 139 w 1261"/>
                    <a:gd name="T31" fmla="*/ 173 h 747"/>
                    <a:gd name="T32" fmla="*/ 106 w 1261"/>
                    <a:gd name="T33" fmla="*/ 85 h 747"/>
                    <a:gd name="T34" fmla="*/ 253 w 1261"/>
                    <a:gd name="T35" fmla="*/ 45 h 747"/>
                    <a:gd name="T36" fmla="*/ 392 w 1261"/>
                    <a:gd name="T37" fmla="*/ 85 h 747"/>
                    <a:gd name="T38" fmla="*/ 430 w 1261"/>
                    <a:gd name="T39" fmla="*/ 74 h 747"/>
                    <a:gd name="T40" fmla="*/ 468 w 1261"/>
                    <a:gd name="T41" fmla="*/ 78 h 747"/>
                    <a:gd name="T42" fmla="*/ 538 w 1261"/>
                    <a:gd name="T43" fmla="*/ 95 h 747"/>
                    <a:gd name="T44" fmla="*/ 593 w 1261"/>
                    <a:gd name="T45" fmla="*/ 74 h 747"/>
                    <a:gd name="T46" fmla="*/ 678 w 1261"/>
                    <a:gd name="T47" fmla="*/ 29 h 747"/>
                    <a:gd name="T48" fmla="*/ 775 w 1261"/>
                    <a:gd name="T49" fmla="*/ 0 h 747"/>
                    <a:gd name="T50" fmla="*/ 862 w 1261"/>
                    <a:gd name="T51" fmla="*/ 57 h 747"/>
                    <a:gd name="T52" fmla="*/ 883 w 1261"/>
                    <a:gd name="T53" fmla="*/ 119 h 747"/>
                    <a:gd name="T54" fmla="*/ 921 w 1261"/>
                    <a:gd name="T55" fmla="*/ 135 h 747"/>
                    <a:gd name="T56" fmla="*/ 985 w 1261"/>
                    <a:gd name="T57" fmla="*/ 189 h 747"/>
                    <a:gd name="T58" fmla="*/ 1093 w 1261"/>
                    <a:gd name="T59" fmla="*/ 225 h 747"/>
                    <a:gd name="T60" fmla="*/ 1179 w 1261"/>
                    <a:gd name="T61" fmla="*/ 246 h 747"/>
                    <a:gd name="T62" fmla="*/ 1240 w 1261"/>
                    <a:gd name="T63" fmla="*/ 267 h 747"/>
                    <a:gd name="T64" fmla="*/ 1245 w 1261"/>
                    <a:gd name="T65" fmla="*/ 319 h 747"/>
                    <a:gd name="T66" fmla="*/ 1254 w 1261"/>
                    <a:gd name="T67" fmla="*/ 341 h 747"/>
                    <a:gd name="T68" fmla="*/ 1254 w 1261"/>
                    <a:gd name="T69" fmla="*/ 390 h 747"/>
                    <a:gd name="T70" fmla="*/ 1164 w 1261"/>
                    <a:gd name="T71" fmla="*/ 447 h 747"/>
                    <a:gd name="T72" fmla="*/ 1060 w 1261"/>
                    <a:gd name="T73" fmla="*/ 520 h 747"/>
                    <a:gd name="T74" fmla="*/ 900 w 1261"/>
                    <a:gd name="T75" fmla="*/ 586 h 747"/>
                    <a:gd name="T76" fmla="*/ 879 w 1261"/>
                    <a:gd name="T77" fmla="*/ 579 h 747"/>
                    <a:gd name="T78" fmla="*/ 867 w 1261"/>
                    <a:gd name="T79" fmla="*/ 579 h 747"/>
                    <a:gd name="T80" fmla="*/ 829 w 1261"/>
                    <a:gd name="T81" fmla="*/ 579 h 747"/>
                    <a:gd name="T82" fmla="*/ 824 w 1261"/>
                    <a:gd name="T83" fmla="*/ 598 h 747"/>
                    <a:gd name="T84" fmla="*/ 857 w 1261"/>
                    <a:gd name="T85" fmla="*/ 598 h 747"/>
                    <a:gd name="T86" fmla="*/ 862 w 1261"/>
                    <a:gd name="T87" fmla="*/ 619 h 747"/>
                    <a:gd name="T88" fmla="*/ 900 w 1261"/>
                    <a:gd name="T89" fmla="*/ 652 h 747"/>
                    <a:gd name="T90" fmla="*/ 895 w 1261"/>
                    <a:gd name="T91" fmla="*/ 598 h 747"/>
                    <a:gd name="T92" fmla="*/ 968 w 1261"/>
                    <a:gd name="T93" fmla="*/ 659 h 747"/>
                    <a:gd name="T94" fmla="*/ 1001 w 1261"/>
                    <a:gd name="T95" fmla="*/ 685 h 747"/>
                    <a:gd name="T96" fmla="*/ 900 w 1261"/>
                    <a:gd name="T97" fmla="*/ 697 h 747"/>
                    <a:gd name="T98" fmla="*/ 808 w 1261"/>
                    <a:gd name="T99" fmla="*/ 742 h 747"/>
                    <a:gd name="T100" fmla="*/ 808 w 1261"/>
                    <a:gd name="T101" fmla="*/ 697 h 747"/>
                    <a:gd name="T102" fmla="*/ 732 w 1261"/>
                    <a:gd name="T103" fmla="*/ 659 h 747"/>
                    <a:gd name="T104" fmla="*/ 808 w 1261"/>
                    <a:gd name="T105" fmla="*/ 598 h 747"/>
                    <a:gd name="T106" fmla="*/ 732 w 1261"/>
                    <a:gd name="T107" fmla="*/ 586 h 747"/>
                    <a:gd name="T108" fmla="*/ 652 w 1261"/>
                    <a:gd name="T109" fmla="*/ 546 h 747"/>
                    <a:gd name="T110" fmla="*/ 694 w 1261"/>
                    <a:gd name="T111" fmla="*/ 541 h 747"/>
                    <a:gd name="T112" fmla="*/ 685 w 1261"/>
                    <a:gd name="T113" fmla="*/ 501 h 747"/>
                    <a:gd name="T114" fmla="*/ 685 w 1261"/>
                    <a:gd name="T115" fmla="*/ 541 h 747"/>
                    <a:gd name="T116" fmla="*/ 609 w 1261"/>
                    <a:gd name="T117" fmla="*/ 546 h 747"/>
                    <a:gd name="T118" fmla="*/ 534 w 1261"/>
                    <a:gd name="T119" fmla="*/ 636 h 747"/>
                    <a:gd name="T120" fmla="*/ 534 w 1261"/>
                    <a:gd name="T121" fmla="*/ 669 h 747"/>
                    <a:gd name="T122" fmla="*/ 699 w 1261"/>
                    <a:gd name="T123" fmla="*/ 586 h 747"/>
                    <a:gd name="T124" fmla="*/ 699 w 1261"/>
                    <a:gd name="T125" fmla="*/ 586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1" h="747">
                      <a:moveTo>
                        <a:pt x="534" y="669"/>
                      </a:moveTo>
                      <a:lnTo>
                        <a:pt x="522" y="659"/>
                      </a:lnTo>
                      <a:lnTo>
                        <a:pt x="505" y="652"/>
                      </a:lnTo>
                      <a:lnTo>
                        <a:pt x="463" y="669"/>
                      </a:lnTo>
                      <a:lnTo>
                        <a:pt x="437" y="659"/>
                      </a:lnTo>
                      <a:lnTo>
                        <a:pt x="425" y="652"/>
                      </a:lnTo>
                      <a:lnTo>
                        <a:pt x="430" y="641"/>
                      </a:lnTo>
                      <a:lnTo>
                        <a:pt x="446" y="641"/>
                      </a:lnTo>
                      <a:lnTo>
                        <a:pt x="446" y="631"/>
                      </a:lnTo>
                      <a:lnTo>
                        <a:pt x="463" y="615"/>
                      </a:lnTo>
                      <a:lnTo>
                        <a:pt x="463" y="603"/>
                      </a:lnTo>
                      <a:lnTo>
                        <a:pt x="479" y="598"/>
                      </a:lnTo>
                      <a:lnTo>
                        <a:pt x="484" y="579"/>
                      </a:lnTo>
                      <a:lnTo>
                        <a:pt x="479" y="574"/>
                      </a:lnTo>
                      <a:lnTo>
                        <a:pt x="484" y="558"/>
                      </a:lnTo>
                      <a:lnTo>
                        <a:pt x="489" y="546"/>
                      </a:lnTo>
                      <a:lnTo>
                        <a:pt x="501" y="563"/>
                      </a:lnTo>
                      <a:lnTo>
                        <a:pt x="517" y="558"/>
                      </a:lnTo>
                      <a:lnTo>
                        <a:pt x="522" y="563"/>
                      </a:lnTo>
                      <a:lnTo>
                        <a:pt x="534" y="558"/>
                      </a:lnTo>
                      <a:lnTo>
                        <a:pt x="543" y="563"/>
                      </a:lnTo>
                      <a:lnTo>
                        <a:pt x="560" y="563"/>
                      </a:lnTo>
                      <a:lnTo>
                        <a:pt x="543" y="546"/>
                      </a:lnTo>
                      <a:lnTo>
                        <a:pt x="543" y="546"/>
                      </a:lnTo>
                      <a:lnTo>
                        <a:pt x="543" y="525"/>
                      </a:lnTo>
                      <a:lnTo>
                        <a:pt x="522" y="520"/>
                      </a:lnTo>
                      <a:lnTo>
                        <a:pt x="522" y="475"/>
                      </a:lnTo>
                      <a:lnTo>
                        <a:pt x="505" y="485"/>
                      </a:lnTo>
                      <a:lnTo>
                        <a:pt x="489" y="468"/>
                      </a:lnTo>
                      <a:lnTo>
                        <a:pt x="489" y="463"/>
                      </a:lnTo>
                      <a:lnTo>
                        <a:pt x="501" y="435"/>
                      </a:lnTo>
                      <a:lnTo>
                        <a:pt x="489" y="419"/>
                      </a:lnTo>
                      <a:lnTo>
                        <a:pt x="484" y="419"/>
                      </a:lnTo>
                      <a:lnTo>
                        <a:pt x="468" y="407"/>
                      </a:lnTo>
                      <a:lnTo>
                        <a:pt x="413" y="397"/>
                      </a:lnTo>
                      <a:lnTo>
                        <a:pt x="413" y="390"/>
                      </a:lnTo>
                      <a:lnTo>
                        <a:pt x="392" y="374"/>
                      </a:lnTo>
                      <a:lnTo>
                        <a:pt x="323" y="381"/>
                      </a:lnTo>
                      <a:lnTo>
                        <a:pt x="316" y="390"/>
                      </a:lnTo>
                      <a:lnTo>
                        <a:pt x="290" y="397"/>
                      </a:lnTo>
                      <a:lnTo>
                        <a:pt x="286" y="419"/>
                      </a:lnTo>
                      <a:lnTo>
                        <a:pt x="219" y="419"/>
                      </a:lnTo>
                      <a:lnTo>
                        <a:pt x="198" y="447"/>
                      </a:lnTo>
                      <a:lnTo>
                        <a:pt x="165" y="419"/>
                      </a:lnTo>
                      <a:lnTo>
                        <a:pt x="144" y="419"/>
                      </a:lnTo>
                      <a:lnTo>
                        <a:pt x="90" y="419"/>
                      </a:lnTo>
                      <a:lnTo>
                        <a:pt x="75" y="407"/>
                      </a:lnTo>
                      <a:lnTo>
                        <a:pt x="52" y="419"/>
                      </a:lnTo>
                      <a:lnTo>
                        <a:pt x="47" y="407"/>
                      </a:lnTo>
                      <a:lnTo>
                        <a:pt x="38" y="407"/>
                      </a:lnTo>
                      <a:lnTo>
                        <a:pt x="5" y="381"/>
                      </a:lnTo>
                      <a:lnTo>
                        <a:pt x="0" y="381"/>
                      </a:lnTo>
                      <a:lnTo>
                        <a:pt x="0" y="362"/>
                      </a:lnTo>
                      <a:lnTo>
                        <a:pt x="14" y="352"/>
                      </a:lnTo>
                      <a:lnTo>
                        <a:pt x="31" y="319"/>
                      </a:lnTo>
                      <a:lnTo>
                        <a:pt x="52" y="324"/>
                      </a:lnTo>
                      <a:lnTo>
                        <a:pt x="52" y="319"/>
                      </a:lnTo>
                      <a:lnTo>
                        <a:pt x="38" y="308"/>
                      </a:lnTo>
                      <a:lnTo>
                        <a:pt x="47" y="296"/>
                      </a:lnTo>
                      <a:lnTo>
                        <a:pt x="38" y="267"/>
                      </a:lnTo>
                      <a:lnTo>
                        <a:pt x="85" y="225"/>
                      </a:lnTo>
                      <a:lnTo>
                        <a:pt x="113" y="189"/>
                      </a:lnTo>
                      <a:lnTo>
                        <a:pt x="127" y="189"/>
                      </a:lnTo>
                      <a:lnTo>
                        <a:pt x="139" y="173"/>
                      </a:lnTo>
                      <a:lnTo>
                        <a:pt x="127" y="152"/>
                      </a:lnTo>
                      <a:lnTo>
                        <a:pt x="139" y="152"/>
                      </a:lnTo>
                      <a:lnTo>
                        <a:pt x="113" y="111"/>
                      </a:lnTo>
                      <a:lnTo>
                        <a:pt x="106" y="85"/>
                      </a:lnTo>
                      <a:lnTo>
                        <a:pt x="106" y="74"/>
                      </a:lnTo>
                      <a:lnTo>
                        <a:pt x="139" y="78"/>
                      </a:lnTo>
                      <a:lnTo>
                        <a:pt x="160" y="45"/>
                      </a:lnTo>
                      <a:lnTo>
                        <a:pt x="253" y="45"/>
                      </a:lnTo>
                      <a:lnTo>
                        <a:pt x="354" y="62"/>
                      </a:lnTo>
                      <a:lnTo>
                        <a:pt x="361" y="78"/>
                      </a:lnTo>
                      <a:lnTo>
                        <a:pt x="392" y="78"/>
                      </a:lnTo>
                      <a:lnTo>
                        <a:pt x="392" y="85"/>
                      </a:lnTo>
                      <a:lnTo>
                        <a:pt x="392" y="85"/>
                      </a:lnTo>
                      <a:lnTo>
                        <a:pt x="399" y="74"/>
                      </a:lnTo>
                      <a:lnTo>
                        <a:pt x="413" y="78"/>
                      </a:lnTo>
                      <a:lnTo>
                        <a:pt x="430" y="74"/>
                      </a:lnTo>
                      <a:lnTo>
                        <a:pt x="430" y="78"/>
                      </a:lnTo>
                      <a:lnTo>
                        <a:pt x="451" y="78"/>
                      </a:lnTo>
                      <a:lnTo>
                        <a:pt x="463" y="95"/>
                      </a:lnTo>
                      <a:lnTo>
                        <a:pt x="468" y="78"/>
                      </a:lnTo>
                      <a:lnTo>
                        <a:pt x="489" y="74"/>
                      </a:lnTo>
                      <a:lnTo>
                        <a:pt x="505" y="95"/>
                      </a:lnTo>
                      <a:lnTo>
                        <a:pt x="534" y="85"/>
                      </a:lnTo>
                      <a:lnTo>
                        <a:pt x="538" y="95"/>
                      </a:lnTo>
                      <a:lnTo>
                        <a:pt x="560" y="85"/>
                      </a:lnTo>
                      <a:lnTo>
                        <a:pt x="593" y="111"/>
                      </a:lnTo>
                      <a:lnTo>
                        <a:pt x="597" y="102"/>
                      </a:lnTo>
                      <a:lnTo>
                        <a:pt x="593" y="74"/>
                      </a:lnTo>
                      <a:lnTo>
                        <a:pt x="597" y="57"/>
                      </a:lnTo>
                      <a:lnTo>
                        <a:pt x="614" y="41"/>
                      </a:lnTo>
                      <a:lnTo>
                        <a:pt x="614" y="29"/>
                      </a:lnTo>
                      <a:lnTo>
                        <a:pt x="678" y="29"/>
                      </a:lnTo>
                      <a:lnTo>
                        <a:pt x="706" y="29"/>
                      </a:lnTo>
                      <a:lnTo>
                        <a:pt x="716" y="8"/>
                      </a:lnTo>
                      <a:lnTo>
                        <a:pt x="753" y="17"/>
                      </a:lnTo>
                      <a:lnTo>
                        <a:pt x="775" y="0"/>
                      </a:lnTo>
                      <a:lnTo>
                        <a:pt x="824" y="0"/>
                      </a:lnTo>
                      <a:lnTo>
                        <a:pt x="841" y="24"/>
                      </a:lnTo>
                      <a:lnTo>
                        <a:pt x="841" y="41"/>
                      </a:lnTo>
                      <a:lnTo>
                        <a:pt x="862" y="57"/>
                      </a:lnTo>
                      <a:lnTo>
                        <a:pt x="862" y="62"/>
                      </a:lnTo>
                      <a:lnTo>
                        <a:pt x="841" y="74"/>
                      </a:lnTo>
                      <a:lnTo>
                        <a:pt x="862" y="111"/>
                      </a:lnTo>
                      <a:lnTo>
                        <a:pt x="883" y="119"/>
                      </a:lnTo>
                      <a:lnTo>
                        <a:pt x="909" y="111"/>
                      </a:lnTo>
                      <a:lnTo>
                        <a:pt x="916" y="128"/>
                      </a:lnTo>
                      <a:lnTo>
                        <a:pt x="933" y="128"/>
                      </a:lnTo>
                      <a:lnTo>
                        <a:pt x="921" y="135"/>
                      </a:lnTo>
                      <a:lnTo>
                        <a:pt x="938" y="168"/>
                      </a:lnTo>
                      <a:lnTo>
                        <a:pt x="933" y="168"/>
                      </a:lnTo>
                      <a:lnTo>
                        <a:pt x="947" y="189"/>
                      </a:lnTo>
                      <a:lnTo>
                        <a:pt x="985" y="189"/>
                      </a:lnTo>
                      <a:lnTo>
                        <a:pt x="992" y="197"/>
                      </a:lnTo>
                      <a:lnTo>
                        <a:pt x="1018" y="206"/>
                      </a:lnTo>
                      <a:lnTo>
                        <a:pt x="1077" y="189"/>
                      </a:lnTo>
                      <a:lnTo>
                        <a:pt x="1093" y="225"/>
                      </a:lnTo>
                      <a:lnTo>
                        <a:pt x="1115" y="241"/>
                      </a:lnTo>
                      <a:lnTo>
                        <a:pt x="1127" y="225"/>
                      </a:lnTo>
                      <a:lnTo>
                        <a:pt x="1131" y="225"/>
                      </a:lnTo>
                      <a:lnTo>
                        <a:pt x="1179" y="246"/>
                      </a:lnTo>
                      <a:lnTo>
                        <a:pt x="1190" y="241"/>
                      </a:lnTo>
                      <a:lnTo>
                        <a:pt x="1202" y="251"/>
                      </a:lnTo>
                      <a:lnTo>
                        <a:pt x="1223" y="251"/>
                      </a:lnTo>
                      <a:lnTo>
                        <a:pt x="1240" y="267"/>
                      </a:lnTo>
                      <a:lnTo>
                        <a:pt x="1261" y="267"/>
                      </a:lnTo>
                      <a:lnTo>
                        <a:pt x="1254" y="279"/>
                      </a:lnTo>
                      <a:lnTo>
                        <a:pt x="1261" y="303"/>
                      </a:lnTo>
                      <a:lnTo>
                        <a:pt x="1245" y="319"/>
                      </a:lnTo>
                      <a:lnTo>
                        <a:pt x="1233" y="324"/>
                      </a:lnTo>
                      <a:lnTo>
                        <a:pt x="1240" y="336"/>
                      </a:lnTo>
                      <a:lnTo>
                        <a:pt x="1254" y="336"/>
                      </a:lnTo>
                      <a:lnTo>
                        <a:pt x="1254" y="341"/>
                      </a:lnTo>
                      <a:lnTo>
                        <a:pt x="1240" y="341"/>
                      </a:lnTo>
                      <a:lnTo>
                        <a:pt x="1233" y="357"/>
                      </a:lnTo>
                      <a:lnTo>
                        <a:pt x="1240" y="362"/>
                      </a:lnTo>
                      <a:lnTo>
                        <a:pt x="1254" y="390"/>
                      </a:lnTo>
                      <a:lnTo>
                        <a:pt x="1240" y="414"/>
                      </a:lnTo>
                      <a:lnTo>
                        <a:pt x="1240" y="430"/>
                      </a:lnTo>
                      <a:lnTo>
                        <a:pt x="1169" y="430"/>
                      </a:lnTo>
                      <a:lnTo>
                        <a:pt x="1164" y="447"/>
                      </a:lnTo>
                      <a:lnTo>
                        <a:pt x="1131" y="452"/>
                      </a:lnTo>
                      <a:lnTo>
                        <a:pt x="1131" y="501"/>
                      </a:lnTo>
                      <a:lnTo>
                        <a:pt x="1077" y="501"/>
                      </a:lnTo>
                      <a:lnTo>
                        <a:pt x="1060" y="520"/>
                      </a:lnTo>
                      <a:lnTo>
                        <a:pt x="1056" y="520"/>
                      </a:lnTo>
                      <a:lnTo>
                        <a:pt x="985" y="541"/>
                      </a:lnTo>
                      <a:lnTo>
                        <a:pt x="964" y="541"/>
                      </a:lnTo>
                      <a:lnTo>
                        <a:pt x="900" y="586"/>
                      </a:lnTo>
                      <a:lnTo>
                        <a:pt x="921" y="574"/>
                      </a:lnTo>
                      <a:lnTo>
                        <a:pt x="916" y="558"/>
                      </a:lnTo>
                      <a:lnTo>
                        <a:pt x="909" y="574"/>
                      </a:lnTo>
                      <a:lnTo>
                        <a:pt x="879" y="579"/>
                      </a:lnTo>
                      <a:lnTo>
                        <a:pt x="867" y="598"/>
                      </a:lnTo>
                      <a:lnTo>
                        <a:pt x="862" y="598"/>
                      </a:lnTo>
                      <a:lnTo>
                        <a:pt x="867" y="586"/>
                      </a:lnTo>
                      <a:lnTo>
                        <a:pt x="867" y="579"/>
                      </a:lnTo>
                      <a:lnTo>
                        <a:pt x="857" y="579"/>
                      </a:lnTo>
                      <a:lnTo>
                        <a:pt x="845" y="574"/>
                      </a:lnTo>
                      <a:lnTo>
                        <a:pt x="841" y="586"/>
                      </a:lnTo>
                      <a:lnTo>
                        <a:pt x="829" y="579"/>
                      </a:lnTo>
                      <a:lnTo>
                        <a:pt x="808" y="579"/>
                      </a:lnTo>
                      <a:lnTo>
                        <a:pt x="812" y="586"/>
                      </a:lnTo>
                      <a:lnTo>
                        <a:pt x="824" y="579"/>
                      </a:lnTo>
                      <a:lnTo>
                        <a:pt x="824" y="598"/>
                      </a:lnTo>
                      <a:lnTo>
                        <a:pt x="829" y="586"/>
                      </a:lnTo>
                      <a:lnTo>
                        <a:pt x="841" y="603"/>
                      </a:lnTo>
                      <a:lnTo>
                        <a:pt x="845" y="598"/>
                      </a:lnTo>
                      <a:lnTo>
                        <a:pt x="857" y="598"/>
                      </a:lnTo>
                      <a:lnTo>
                        <a:pt x="862" y="603"/>
                      </a:lnTo>
                      <a:lnTo>
                        <a:pt x="857" y="615"/>
                      </a:lnTo>
                      <a:lnTo>
                        <a:pt x="879" y="603"/>
                      </a:lnTo>
                      <a:lnTo>
                        <a:pt x="862" y="619"/>
                      </a:lnTo>
                      <a:lnTo>
                        <a:pt x="879" y="619"/>
                      </a:lnTo>
                      <a:lnTo>
                        <a:pt x="900" y="631"/>
                      </a:lnTo>
                      <a:lnTo>
                        <a:pt x="909" y="641"/>
                      </a:lnTo>
                      <a:lnTo>
                        <a:pt x="900" y="652"/>
                      </a:lnTo>
                      <a:lnTo>
                        <a:pt x="909" y="659"/>
                      </a:lnTo>
                      <a:lnTo>
                        <a:pt x="921" y="659"/>
                      </a:lnTo>
                      <a:lnTo>
                        <a:pt x="879" y="586"/>
                      </a:lnTo>
                      <a:lnTo>
                        <a:pt x="895" y="598"/>
                      </a:lnTo>
                      <a:lnTo>
                        <a:pt x="909" y="631"/>
                      </a:lnTo>
                      <a:lnTo>
                        <a:pt x="938" y="659"/>
                      </a:lnTo>
                      <a:lnTo>
                        <a:pt x="964" y="652"/>
                      </a:lnTo>
                      <a:lnTo>
                        <a:pt x="968" y="659"/>
                      </a:lnTo>
                      <a:lnTo>
                        <a:pt x="985" y="641"/>
                      </a:lnTo>
                      <a:lnTo>
                        <a:pt x="1018" y="652"/>
                      </a:lnTo>
                      <a:lnTo>
                        <a:pt x="1001" y="659"/>
                      </a:lnTo>
                      <a:lnTo>
                        <a:pt x="1001" y="685"/>
                      </a:lnTo>
                      <a:lnTo>
                        <a:pt x="964" y="693"/>
                      </a:lnTo>
                      <a:lnTo>
                        <a:pt x="938" y="676"/>
                      </a:lnTo>
                      <a:lnTo>
                        <a:pt x="909" y="709"/>
                      </a:lnTo>
                      <a:lnTo>
                        <a:pt x="900" y="697"/>
                      </a:lnTo>
                      <a:lnTo>
                        <a:pt x="867" y="709"/>
                      </a:lnTo>
                      <a:lnTo>
                        <a:pt x="857" y="730"/>
                      </a:lnTo>
                      <a:lnTo>
                        <a:pt x="829" y="747"/>
                      </a:lnTo>
                      <a:lnTo>
                        <a:pt x="808" y="742"/>
                      </a:lnTo>
                      <a:lnTo>
                        <a:pt x="786" y="726"/>
                      </a:lnTo>
                      <a:lnTo>
                        <a:pt x="803" y="726"/>
                      </a:lnTo>
                      <a:lnTo>
                        <a:pt x="803" y="709"/>
                      </a:lnTo>
                      <a:lnTo>
                        <a:pt x="808" y="697"/>
                      </a:lnTo>
                      <a:lnTo>
                        <a:pt x="803" y="676"/>
                      </a:lnTo>
                      <a:lnTo>
                        <a:pt x="775" y="676"/>
                      </a:lnTo>
                      <a:lnTo>
                        <a:pt x="753" y="659"/>
                      </a:lnTo>
                      <a:lnTo>
                        <a:pt x="732" y="659"/>
                      </a:lnTo>
                      <a:lnTo>
                        <a:pt x="720" y="652"/>
                      </a:lnTo>
                      <a:lnTo>
                        <a:pt x="753" y="631"/>
                      </a:lnTo>
                      <a:lnTo>
                        <a:pt x="812" y="603"/>
                      </a:lnTo>
                      <a:lnTo>
                        <a:pt x="808" y="598"/>
                      </a:lnTo>
                      <a:lnTo>
                        <a:pt x="808" y="586"/>
                      </a:lnTo>
                      <a:lnTo>
                        <a:pt x="791" y="598"/>
                      </a:lnTo>
                      <a:lnTo>
                        <a:pt x="775" y="579"/>
                      </a:lnTo>
                      <a:lnTo>
                        <a:pt x="732" y="586"/>
                      </a:lnTo>
                      <a:lnTo>
                        <a:pt x="678" y="574"/>
                      </a:lnTo>
                      <a:lnTo>
                        <a:pt x="694" y="563"/>
                      </a:lnTo>
                      <a:lnTo>
                        <a:pt x="668" y="558"/>
                      </a:lnTo>
                      <a:lnTo>
                        <a:pt x="652" y="546"/>
                      </a:lnTo>
                      <a:lnTo>
                        <a:pt x="716" y="558"/>
                      </a:lnTo>
                      <a:lnTo>
                        <a:pt x="737" y="541"/>
                      </a:lnTo>
                      <a:lnTo>
                        <a:pt x="716" y="546"/>
                      </a:lnTo>
                      <a:lnTo>
                        <a:pt x="694" y="541"/>
                      </a:lnTo>
                      <a:lnTo>
                        <a:pt x="685" y="530"/>
                      </a:lnTo>
                      <a:lnTo>
                        <a:pt x="694" y="508"/>
                      </a:lnTo>
                      <a:lnTo>
                        <a:pt x="678" y="485"/>
                      </a:lnTo>
                      <a:lnTo>
                        <a:pt x="685" y="501"/>
                      </a:lnTo>
                      <a:lnTo>
                        <a:pt x="685" y="508"/>
                      </a:lnTo>
                      <a:lnTo>
                        <a:pt x="694" y="520"/>
                      </a:lnTo>
                      <a:lnTo>
                        <a:pt x="685" y="525"/>
                      </a:lnTo>
                      <a:lnTo>
                        <a:pt x="685" y="541"/>
                      </a:lnTo>
                      <a:lnTo>
                        <a:pt x="652" y="541"/>
                      </a:lnTo>
                      <a:lnTo>
                        <a:pt x="661" y="525"/>
                      </a:lnTo>
                      <a:lnTo>
                        <a:pt x="652" y="541"/>
                      </a:lnTo>
                      <a:lnTo>
                        <a:pt x="609" y="546"/>
                      </a:lnTo>
                      <a:lnTo>
                        <a:pt x="609" y="563"/>
                      </a:lnTo>
                      <a:lnTo>
                        <a:pt x="571" y="615"/>
                      </a:lnTo>
                      <a:lnTo>
                        <a:pt x="543" y="615"/>
                      </a:lnTo>
                      <a:lnTo>
                        <a:pt x="534" y="636"/>
                      </a:lnTo>
                      <a:lnTo>
                        <a:pt x="522" y="615"/>
                      </a:lnTo>
                      <a:lnTo>
                        <a:pt x="522" y="636"/>
                      </a:lnTo>
                      <a:lnTo>
                        <a:pt x="538" y="652"/>
                      </a:lnTo>
                      <a:lnTo>
                        <a:pt x="534" y="669"/>
                      </a:lnTo>
                      <a:lnTo>
                        <a:pt x="534" y="669"/>
                      </a:lnTo>
                      <a:lnTo>
                        <a:pt x="534" y="669"/>
                      </a:lnTo>
                      <a:lnTo>
                        <a:pt x="534" y="669"/>
                      </a:lnTo>
                      <a:close/>
                      <a:moveTo>
                        <a:pt x="699" y="586"/>
                      </a:moveTo>
                      <a:lnTo>
                        <a:pt x="661" y="574"/>
                      </a:lnTo>
                      <a:lnTo>
                        <a:pt x="652" y="563"/>
                      </a:lnTo>
                      <a:lnTo>
                        <a:pt x="661" y="574"/>
                      </a:lnTo>
                      <a:lnTo>
                        <a:pt x="699" y="586"/>
                      </a:lnTo>
                      <a:lnTo>
                        <a:pt x="699" y="586"/>
                      </a:lnTo>
                      <a:lnTo>
                        <a:pt x="699" y="58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65" name="Freeform 585">
                  <a:extLst>
                    <a:ext uri="{FF2B5EF4-FFF2-40B4-BE49-F238E27FC236}">
                      <a16:creationId xmlns:a16="http://schemas.microsoft.com/office/drawing/2014/main" id="{A782CF92-322F-452E-841C-2EC70554D7B5}"/>
                    </a:ext>
                  </a:extLst>
                </p:cNvPr>
                <p:cNvSpPr>
                  <a:spLocks/>
                </p:cNvSpPr>
                <p:nvPr/>
              </p:nvSpPr>
              <p:spPr bwMode="gray">
                <a:xfrm>
                  <a:off x="8341217" y="2611704"/>
                  <a:ext cx="496885" cy="296436"/>
                </a:xfrm>
                <a:custGeom>
                  <a:avLst/>
                  <a:gdLst>
                    <a:gd name="T0" fmla="*/ 827 w 1207"/>
                    <a:gd name="T1" fmla="*/ 515 h 720"/>
                    <a:gd name="T2" fmla="*/ 806 w 1207"/>
                    <a:gd name="T3" fmla="*/ 555 h 720"/>
                    <a:gd name="T4" fmla="*/ 851 w 1207"/>
                    <a:gd name="T5" fmla="*/ 572 h 720"/>
                    <a:gd name="T6" fmla="*/ 851 w 1207"/>
                    <a:gd name="T7" fmla="*/ 609 h 720"/>
                    <a:gd name="T8" fmla="*/ 860 w 1207"/>
                    <a:gd name="T9" fmla="*/ 659 h 720"/>
                    <a:gd name="T10" fmla="*/ 813 w 1207"/>
                    <a:gd name="T11" fmla="*/ 716 h 720"/>
                    <a:gd name="T12" fmla="*/ 742 w 1207"/>
                    <a:gd name="T13" fmla="*/ 704 h 720"/>
                    <a:gd name="T14" fmla="*/ 700 w 1207"/>
                    <a:gd name="T15" fmla="*/ 633 h 720"/>
                    <a:gd name="T16" fmla="*/ 574 w 1207"/>
                    <a:gd name="T17" fmla="*/ 576 h 720"/>
                    <a:gd name="T18" fmla="*/ 456 w 1207"/>
                    <a:gd name="T19" fmla="*/ 482 h 720"/>
                    <a:gd name="T20" fmla="*/ 419 w 1207"/>
                    <a:gd name="T21" fmla="*/ 387 h 720"/>
                    <a:gd name="T22" fmla="*/ 348 w 1207"/>
                    <a:gd name="T23" fmla="*/ 383 h 720"/>
                    <a:gd name="T24" fmla="*/ 289 w 1207"/>
                    <a:gd name="T25" fmla="*/ 366 h 720"/>
                    <a:gd name="T26" fmla="*/ 303 w 1207"/>
                    <a:gd name="T27" fmla="*/ 333 h 720"/>
                    <a:gd name="T28" fmla="*/ 272 w 1207"/>
                    <a:gd name="T29" fmla="*/ 283 h 720"/>
                    <a:gd name="T30" fmla="*/ 213 w 1207"/>
                    <a:gd name="T31" fmla="*/ 272 h 720"/>
                    <a:gd name="T32" fmla="*/ 163 w 1207"/>
                    <a:gd name="T33" fmla="*/ 255 h 720"/>
                    <a:gd name="T34" fmla="*/ 168 w 1207"/>
                    <a:gd name="T35" fmla="*/ 293 h 720"/>
                    <a:gd name="T36" fmla="*/ 130 w 1207"/>
                    <a:gd name="T37" fmla="*/ 300 h 720"/>
                    <a:gd name="T38" fmla="*/ 71 w 1207"/>
                    <a:gd name="T39" fmla="*/ 345 h 720"/>
                    <a:gd name="T40" fmla="*/ 0 w 1207"/>
                    <a:gd name="T41" fmla="*/ 371 h 720"/>
                    <a:gd name="T42" fmla="*/ 364 w 1207"/>
                    <a:gd name="T43" fmla="*/ 116 h 720"/>
                    <a:gd name="T44" fmla="*/ 596 w 1207"/>
                    <a:gd name="T45" fmla="*/ 182 h 720"/>
                    <a:gd name="T46" fmla="*/ 671 w 1207"/>
                    <a:gd name="T47" fmla="*/ 201 h 720"/>
                    <a:gd name="T48" fmla="*/ 704 w 1207"/>
                    <a:gd name="T49" fmla="*/ 316 h 720"/>
                    <a:gd name="T50" fmla="*/ 844 w 1207"/>
                    <a:gd name="T51" fmla="*/ 387 h 720"/>
                    <a:gd name="T52" fmla="*/ 877 w 1207"/>
                    <a:gd name="T53" fmla="*/ 437 h 720"/>
                    <a:gd name="T54" fmla="*/ 919 w 1207"/>
                    <a:gd name="T55" fmla="*/ 383 h 720"/>
                    <a:gd name="T56" fmla="*/ 985 w 1207"/>
                    <a:gd name="T57" fmla="*/ 345 h 720"/>
                    <a:gd name="T58" fmla="*/ 1040 w 1207"/>
                    <a:gd name="T59" fmla="*/ 300 h 720"/>
                    <a:gd name="T60" fmla="*/ 1078 w 1207"/>
                    <a:gd name="T61" fmla="*/ 300 h 720"/>
                    <a:gd name="T62" fmla="*/ 1040 w 1207"/>
                    <a:gd name="T63" fmla="*/ 328 h 720"/>
                    <a:gd name="T64" fmla="*/ 1040 w 1207"/>
                    <a:gd name="T65" fmla="*/ 366 h 720"/>
                    <a:gd name="T66" fmla="*/ 1082 w 1207"/>
                    <a:gd name="T67" fmla="*/ 371 h 720"/>
                    <a:gd name="T68" fmla="*/ 1120 w 1207"/>
                    <a:gd name="T69" fmla="*/ 371 h 720"/>
                    <a:gd name="T70" fmla="*/ 1137 w 1207"/>
                    <a:gd name="T71" fmla="*/ 404 h 720"/>
                    <a:gd name="T72" fmla="*/ 1207 w 1207"/>
                    <a:gd name="T73" fmla="*/ 420 h 720"/>
                    <a:gd name="T74" fmla="*/ 1153 w 1207"/>
                    <a:gd name="T75" fmla="*/ 437 h 720"/>
                    <a:gd name="T76" fmla="*/ 1132 w 1207"/>
                    <a:gd name="T77" fmla="*/ 460 h 720"/>
                    <a:gd name="T78" fmla="*/ 1082 w 1207"/>
                    <a:gd name="T79" fmla="*/ 460 h 720"/>
                    <a:gd name="T80" fmla="*/ 1011 w 1207"/>
                    <a:gd name="T81" fmla="*/ 456 h 720"/>
                    <a:gd name="T82" fmla="*/ 1011 w 1207"/>
                    <a:gd name="T83" fmla="*/ 399 h 720"/>
                    <a:gd name="T84" fmla="*/ 943 w 1207"/>
                    <a:gd name="T85" fmla="*/ 420 h 720"/>
                    <a:gd name="T86" fmla="*/ 936 w 1207"/>
                    <a:gd name="T87" fmla="*/ 465 h 720"/>
                    <a:gd name="T88" fmla="*/ 898 w 1207"/>
                    <a:gd name="T89" fmla="*/ 482 h 720"/>
                    <a:gd name="T90" fmla="*/ 889 w 1207"/>
                    <a:gd name="T91" fmla="*/ 49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07" h="720">
                      <a:moveTo>
                        <a:pt x="889" y="498"/>
                      </a:moveTo>
                      <a:lnTo>
                        <a:pt x="882" y="522"/>
                      </a:lnTo>
                      <a:lnTo>
                        <a:pt x="827" y="515"/>
                      </a:lnTo>
                      <a:lnTo>
                        <a:pt x="806" y="531"/>
                      </a:lnTo>
                      <a:lnTo>
                        <a:pt x="796" y="548"/>
                      </a:lnTo>
                      <a:lnTo>
                        <a:pt x="806" y="555"/>
                      </a:lnTo>
                      <a:lnTo>
                        <a:pt x="822" y="564"/>
                      </a:lnTo>
                      <a:lnTo>
                        <a:pt x="827" y="572"/>
                      </a:lnTo>
                      <a:lnTo>
                        <a:pt x="851" y="572"/>
                      </a:lnTo>
                      <a:lnTo>
                        <a:pt x="860" y="588"/>
                      </a:lnTo>
                      <a:lnTo>
                        <a:pt x="851" y="588"/>
                      </a:lnTo>
                      <a:lnTo>
                        <a:pt x="851" y="609"/>
                      </a:lnTo>
                      <a:lnTo>
                        <a:pt x="877" y="642"/>
                      </a:lnTo>
                      <a:lnTo>
                        <a:pt x="867" y="659"/>
                      </a:lnTo>
                      <a:lnTo>
                        <a:pt x="860" y="659"/>
                      </a:lnTo>
                      <a:lnTo>
                        <a:pt x="834" y="699"/>
                      </a:lnTo>
                      <a:lnTo>
                        <a:pt x="827" y="720"/>
                      </a:lnTo>
                      <a:lnTo>
                        <a:pt x="813" y="716"/>
                      </a:lnTo>
                      <a:lnTo>
                        <a:pt x="789" y="720"/>
                      </a:lnTo>
                      <a:lnTo>
                        <a:pt x="775" y="704"/>
                      </a:lnTo>
                      <a:lnTo>
                        <a:pt x="742" y="704"/>
                      </a:lnTo>
                      <a:lnTo>
                        <a:pt x="742" y="675"/>
                      </a:lnTo>
                      <a:lnTo>
                        <a:pt x="752" y="659"/>
                      </a:lnTo>
                      <a:lnTo>
                        <a:pt x="700" y="633"/>
                      </a:lnTo>
                      <a:lnTo>
                        <a:pt x="671" y="633"/>
                      </a:lnTo>
                      <a:lnTo>
                        <a:pt x="591" y="572"/>
                      </a:lnTo>
                      <a:lnTo>
                        <a:pt x="574" y="576"/>
                      </a:lnTo>
                      <a:lnTo>
                        <a:pt x="541" y="555"/>
                      </a:lnTo>
                      <a:lnTo>
                        <a:pt x="537" y="538"/>
                      </a:lnTo>
                      <a:lnTo>
                        <a:pt x="456" y="482"/>
                      </a:lnTo>
                      <a:lnTo>
                        <a:pt x="449" y="456"/>
                      </a:lnTo>
                      <a:lnTo>
                        <a:pt x="433" y="437"/>
                      </a:lnTo>
                      <a:lnTo>
                        <a:pt x="419" y="387"/>
                      </a:lnTo>
                      <a:lnTo>
                        <a:pt x="385" y="371"/>
                      </a:lnTo>
                      <a:lnTo>
                        <a:pt x="374" y="387"/>
                      </a:lnTo>
                      <a:lnTo>
                        <a:pt x="348" y="383"/>
                      </a:lnTo>
                      <a:lnTo>
                        <a:pt x="319" y="383"/>
                      </a:lnTo>
                      <a:lnTo>
                        <a:pt x="293" y="371"/>
                      </a:lnTo>
                      <a:lnTo>
                        <a:pt x="289" y="366"/>
                      </a:lnTo>
                      <a:lnTo>
                        <a:pt x="293" y="349"/>
                      </a:lnTo>
                      <a:lnTo>
                        <a:pt x="289" y="333"/>
                      </a:lnTo>
                      <a:lnTo>
                        <a:pt x="303" y="333"/>
                      </a:lnTo>
                      <a:lnTo>
                        <a:pt x="289" y="309"/>
                      </a:lnTo>
                      <a:lnTo>
                        <a:pt x="289" y="293"/>
                      </a:lnTo>
                      <a:lnTo>
                        <a:pt x="272" y="283"/>
                      </a:lnTo>
                      <a:lnTo>
                        <a:pt x="234" y="283"/>
                      </a:lnTo>
                      <a:lnTo>
                        <a:pt x="222" y="272"/>
                      </a:lnTo>
                      <a:lnTo>
                        <a:pt x="213" y="272"/>
                      </a:lnTo>
                      <a:lnTo>
                        <a:pt x="185" y="243"/>
                      </a:lnTo>
                      <a:lnTo>
                        <a:pt x="180" y="260"/>
                      </a:lnTo>
                      <a:lnTo>
                        <a:pt x="163" y="255"/>
                      </a:lnTo>
                      <a:lnTo>
                        <a:pt x="159" y="260"/>
                      </a:lnTo>
                      <a:lnTo>
                        <a:pt x="180" y="293"/>
                      </a:lnTo>
                      <a:lnTo>
                        <a:pt x="168" y="293"/>
                      </a:lnTo>
                      <a:lnTo>
                        <a:pt x="163" y="276"/>
                      </a:lnTo>
                      <a:lnTo>
                        <a:pt x="147" y="272"/>
                      </a:lnTo>
                      <a:lnTo>
                        <a:pt x="130" y="300"/>
                      </a:lnTo>
                      <a:lnTo>
                        <a:pt x="104" y="300"/>
                      </a:lnTo>
                      <a:lnTo>
                        <a:pt x="71" y="328"/>
                      </a:lnTo>
                      <a:lnTo>
                        <a:pt x="71" y="345"/>
                      </a:lnTo>
                      <a:lnTo>
                        <a:pt x="76" y="371"/>
                      </a:lnTo>
                      <a:lnTo>
                        <a:pt x="76" y="383"/>
                      </a:lnTo>
                      <a:lnTo>
                        <a:pt x="0" y="371"/>
                      </a:lnTo>
                      <a:lnTo>
                        <a:pt x="0" y="54"/>
                      </a:lnTo>
                      <a:lnTo>
                        <a:pt x="180" y="0"/>
                      </a:lnTo>
                      <a:lnTo>
                        <a:pt x="364" y="116"/>
                      </a:lnTo>
                      <a:lnTo>
                        <a:pt x="428" y="182"/>
                      </a:lnTo>
                      <a:lnTo>
                        <a:pt x="508" y="172"/>
                      </a:lnTo>
                      <a:lnTo>
                        <a:pt x="596" y="182"/>
                      </a:lnTo>
                      <a:lnTo>
                        <a:pt x="629" y="165"/>
                      </a:lnTo>
                      <a:lnTo>
                        <a:pt x="650" y="189"/>
                      </a:lnTo>
                      <a:lnTo>
                        <a:pt x="671" y="201"/>
                      </a:lnTo>
                      <a:lnTo>
                        <a:pt x="688" y="238"/>
                      </a:lnTo>
                      <a:lnTo>
                        <a:pt x="714" y="227"/>
                      </a:lnTo>
                      <a:lnTo>
                        <a:pt x="704" y="316"/>
                      </a:lnTo>
                      <a:lnTo>
                        <a:pt x="742" y="316"/>
                      </a:lnTo>
                      <a:lnTo>
                        <a:pt x="759" y="387"/>
                      </a:lnTo>
                      <a:lnTo>
                        <a:pt x="844" y="387"/>
                      </a:lnTo>
                      <a:lnTo>
                        <a:pt x="860" y="399"/>
                      </a:lnTo>
                      <a:lnTo>
                        <a:pt x="851" y="420"/>
                      </a:lnTo>
                      <a:lnTo>
                        <a:pt x="877" y="437"/>
                      </a:lnTo>
                      <a:lnTo>
                        <a:pt x="889" y="437"/>
                      </a:lnTo>
                      <a:lnTo>
                        <a:pt x="889" y="411"/>
                      </a:lnTo>
                      <a:lnTo>
                        <a:pt x="919" y="383"/>
                      </a:lnTo>
                      <a:lnTo>
                        <a:pt x="919" y="371"/>
                      </a:lnTo>
                      <a:lnTo>
                        <a:pt x="957" y="345"/>
                      </a:lnTo>
                      <a:lnTo>
                        <a:pt x="985" y="345"/>
                      </a:lnTo>
                      <a:lnTo>
                        <a:pt x="1011" y="309"/>
                      </a:lnTo>
                      <a:lnTo>
                        <a:pt x="1028" y="316"/>
                      </a:lnTo>
                      <a:lnTo>
                        <a:pt x="1040" y="300"/>
                      </a:lnTo>
                      <a:lnTo>
                        <a:pt x="1049" y="293"/>
                      </a:lnTo>
                      <a:lnTo>
                        <a:pt x="1061" y="283"/>
                      </a:lnTo>
                      <a:lnTo>
                        <a:pt x="1078" y="300"/>
                      </a:lnTo>
                      <a:lnTo>
                        <a:pt x="1044" y="309"/>
                      </a:lnTo>
                      <a:lnTo>
                        <a:pt x="1044" y="328"/>
                      </a:lnTo>
                      <a:lnTo>
                        <a:pt x="1040" y="328"/>
                      </a:lnTo>
                      <a:lnTo>
                        <a:pt x="995" y="354"/>
                      </a:lnTo>
                      <a:lnTo>
                        <a:pt x="1023" y="366"/>
                      </a:lnTo>
                      <a:lnTo>
                        <a:pt x="1040" y="366"/>
                      </a:lnTo>
                      <a:lnTo>
                        <a:pt x="1044" y="383"/>
                      </a:lnTo>
                      <a:lnTo>
                        <a:pt x="1082" y="387"/>
                      </a:lnTo>
                      <a:lnTo>
                        <a:pt x="1082" y="371"/>
                      </a:lnTo>
                      <a:lnTo>
                        <a:pt x="1099" y="371"/>
                      </a:lnTo>
                      <a:lnTo>
                        <a:pt x="1104" y="354"/>
                      </a:lnTo>
                      <a:lnTo>
                        <a:pt x="1120" y="371"/>
                      </a:lnTo>
                      <a:lnTo>
                        <a:pt x="1120" y="387"/>
                      </a:lnTo>
                      <a:lnTo>
                        <a:pt x="1137" y="387"/>
                      </a:lnTo>
                      <a:lnTo>
                        <a:pt x="1137" y="404"/>
                      </a:lnTo>
                      <a:lnTo>
                        <a:pt x="1153" y="399"/>
                      </a:lnTo>
                      <a:lnTo>
                        <a:pt x="1170" y="411"/>
                      </a:lnTo>
                      <a:lnTo>
                        <a:pt x="1207" y="420"/>
                      </a:lnTo>
                      <a:lnTo>
                        <a:pt x="1186" y="427"/>
                      </a:lnTo>
                      <a:lnTo>
                        <a:pt x="1170" y="444"/>
                      </a:lnTo>
                      <a:lnTo>
                        <a:pt x="1153" y="437"/>
                      </a:lnTo>
                      <a:lnTo>
                        <a:pt x="1153" y="456"/>
                      </a:lnTo>
                      <a:lnTo>
                        <a:pt x="1137" y="456"/>
                      </a:lnTo>
                      <a:lnTo>
                        <a:pt x="1132" y="460"/>
                      </a:lnTo>
                      <a:lnTo>
                        <a:pt x="1132" y="465"/>
                      </a:lnTo>
                      <a:lnTo>
                        <a:pt x="1104" y="477"/>
                      </a:lnTo>
                      <a:lnTo>
                        <a:pt x="1082" y="460"/>
                      </a:lnTo>
                      <a:lnTo>
                        <a:pt x="1049" y="465"/>
                      </a:lnTo>
                      <a:lnTo>
                        <a:pt x="1028" y="465"/>
                      </a:lnTo>
                      <a:lnTo>
                        <a:pt x="1011" y="456"/>
                      </a:lnTo>
                      <a:lnTo>
                        <a:pt x="1011" y="456"/>
                      </a:lnTo>
                      <a:lnTo>
                        <a:pt x="1044" y="427"/>
                      </a:lnTo>
                      <a:lnTo>
                        <a:pt x="1011" y="399"/>
                      </a:lnTo>
                      <a:lnTo>
                        <a:pt x="1007" y="411"/>
                      </a:lnTo>
                      <a:lnTo>
                        <a:pt x="969" y="437"/>
                      </a:lnTo>
                      <a:lnTo>
                        <a:pt x="943" y="420"/>
                      </a:lnTo>
                      <a:lnTo>
                        <a:pt x="943" y="420"/>
                      </a:lnTo>
                      <a:lnTo>
                        <a:pt x="936" y="444"/>
                      </a:lnTo>
                      <a:lnTo>
                        <a:pt x="936" y="465"/>
                      </a:lnTo>
                      <a:lnTo>
                        <a:pt x="889" y="477"/>
                      </a:lnTo>
                      <a:lnTo>
                        <a:pt x="915" y="477"/>
                      </a:lnTo>
                      <a:lnTo>
                        <a:pt x="898" y="482"/>
                      </a:lnTo>
                      <a:lnTo>
                        <a:pt x="905" y="498"/>
                      </a:lnTo>
                      <a:lnTo>
                        <a:pt x="889" y="498"/>
                      </a:lnTo>
                      <a:lnTo>
                        <a:pt x="889" y="498"/>
                      </a:lnTo>
                      <a:lnTo>
                        <a:pt x="889" y="49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sp>
        <p:nvSpPr>
          <p:cNvPr id="5777" name="Freeform 476">
            <a:extLst>
              <a:ext uri="{FF2B5EF4-FFF2-40B4-BE49-F238E27FC236}">
                <a16:creationId xmlns:a16="http://schemas.microsoft.com/office/drawing/2014/main" id="{FD6B63A1-0734-4EC6-AD3D-EDE3323C9506}"/>
              </a:ext>
            </a:extLst>
          </p:cNvPr>
          <p:cNvSpPr>
            <a:spLocks noEditPoints="1"/>
          </p:cNvSpPr>
          <p:nvPr/>
        </p:nvSpPr>
        <p:spPr bwMode="gray">
          <a:xfrm>
            <a:off x="9739326" y="5346664"/>
            <a:ext cx="726592" cy="813372"/>
          </a:xfrm>
          <a:custGeom>
            <a:avLst/>
            <a:gdLst>
              <a:gd name="T0" fmla="*/ 1521 w 1559"/>
              <a:gd name="T1" fmla="*/ 193 h 1745"/>
              <a:gd name="T2" fmla="*/ 1483 w 1559"/>
              <a:gd name="T3" fmla="*/ 215 h 1745"/>
              <a:gd name="T4" fmla="*/ 1207 w 1559"/>
              <a:gd name="T5" fmla="*/ 267 h 1745"/>
              <a:gd name="T6" fmla="*/ 1181 w 1559"/>
              <a:gd name="T7" fmla="*/ 337 h 1745"/>
              <a:gd name="T8" fmla="*/ 1191 w 1559"/>
              <a:gd name="T9" fmla="*/ 222 h 1745"/>
              <a:gd name="T10" fmla="*/ 1278 w 1559"/>
              <a:gd name="T11" fmla="*/ 82 h 1745"/>
              <a:gd name="T12" fmla="*/ 1450 w 1559"/>
              <a:gd name="T13" fmla="*/ 139 h 1745"/>
              <a:gd name="T14" fmla="*/ 1245 w 1559"/>
              <a:gd name="T15" fmla="*/ 33 h 1745"/>
              <a:gd name="T16" fmla="*/ 1115 w 1559"/>
              <a:gd name="T17" fmla="*/ 292 h 1745"/>
              <a:gd name="T18" fmla="*/ 1136 w 1559"/>
              <a:gd name="T19" fmla="*/ 897 h 1745"/>
              <a:gd name="T20" fmla="*/ 1127 w 1559"/>
              <a:gd name="T21" fmla="*/ 876 h 1745"/>
              <a:gd name="T22" fmla="*/ 1072 w 1559"/>
              <a:gd name="T23" fmla="*/ 897 h 1745"/>
              <a:gd name="T24" fmla="*/ 943 w 1559"/>
              <a:gd name="T25" fmla="*/ 914 h 1745"/>
              <a:gd name="T26" fmla="*/ 938 w 1559"/>
              <a:gd name="T27" fmla="*/ 947 h 1745"/>
              <a:gd name="T28" fmla="*/ 801 w 1559"/>
              <a:gd name="T29" fmla="*/ 987 h 1745"/>
              <a:gd name="T30" fmla="*/ 737 w 1559"/>
              <a:gd name="T31" fmla="*/ 930 h 1745"/>
              <a:gd name="T32" fmla="*/ 666 w 1559"/>
              <a:gd name="T33" fmla="*/ 954 h 1745"/>
              <a:gd name="T34" fmla="*/ 574 w 1559"/>
              <a:gd name="T35" fmla="*/ 975 h 1745"/>
              <a:gd name="T36" fmla="*/ 633 w 1559"/>
              <a:gd name="T37" fmla="*/ 864 h 1745"/>
              <a:gd name="T38" fmla="*/ 829 w 1559"/>
              <a:gd name="T39" fmla="*/ 859 h 1745"/>
              <a:gd name="T40" fmla="*/ 921 w 1559"/>
              <a:gd name="T41" fmla="*/ 753 h 1745"/>
              <a:gd name="T42" fmla="*/ 943 w 1559"/>
              <a:gd name="T43" fmla="*/ 732 h 1745"/>
              <a:gd name="T44" fmla="*/ 1136 w 1559"/>
              <a:gd name="T45" fmla="*/ 581 h 1745"/>
              <a:gd name="T46" fmla="*/ 1169 w 1559"/>
              <a:gd name="T47" fmla="*/ 415 h 1745"/>
              <a:gd name="T48" fmla="*/ 1235 w 1559"/>
              <a:gd name="T49" fmla="*/ 375 h 1745"/>
              <a:gd name="T50" fmla="*/ 1283 w 1559"/>
              <a:gd name="T51" fmla="*/ 543 h 1745"/>
              <a:gd name="T52" fmla="*/ 1212 w 1559"/>
              <a:gd name="T53" fmla="*/ 654 h 1745"/>
              <a:gd name="T54" fmla="*/ 1051 w 1559"/>
              <a:gd name="T55" fmla="*/ 642 h 1745"/>
              <a:gd name="T56" fmla="*/ 683 w 1559"/>
              <a:gd name="T57" fmla="*/ 786 h 1745"/>
              <a:gd name="T58" fmla="*/ 1106 w 1559"/>
              <a:gd name="T59" fmla="*/ 918 h 1745"/>
              <a:gd name="T60" fmla="*/ 411 w 1559"/>
              <a:gd name="T61" fmla="*/ 918 h 1745"/>
              <a:gd name="T62" fmla="*/ 780 w 1559"/>
              <a:gd name="T63" fmla="*/ 959 h 1745"/>
              <a:gd name="T64" fmla="*/ 725 w 1559"/>
              <a:gd name="T65" fmla="*/ 1025 h 1745"/>
              <a:gd name="T66" fmla="*/ 628 w 1559"/>
              <a:gd name="T67" fmla="*/ 1041 h 1745"/>
              <a:gd name="T68" fmla="*/ 720 w 1559"/>
              <a:gd name="T69" fmla="*/ 954 h 1745"/>
              <a:gd name="T70" fmla="*/ 402 w 1559"/>
              <a:gd name="T71" fmla="*/ 959 h 1745"/>
              <a:gd name="T72" fmla="*/ 657 w 1559"/>
              <a:gd name="T73" fmla="*/ 954 h 1745"/>
              <a:gd name="T74" fmla="*/ 628 w 1559"/>
              <a:gd name="T75" fmla="*/ 970 h 1745"/>
              <a:gd name="T76" fmla="*/ 565 w 1559"/>
              <a:gd name="T77" fmla="*/ 1008 h 1745"/>
              <a:gd name="T78" fmla="*/ 527 w 1559"/>
              <a:gd name="T79" fmla="*/ 1181 h 1745"/>
              <a:gd name="T80" fmla="*/ 489 w 1559"/>
              <a:gd name="T81" fmla="*/ 1174 h 1745"/>
              <a:gd name="T82" fmla="*/ 489 w 1559"/>
              <a:gd name="T83" fmla="*/ 1081 h 1745"/>
              <a:gd name="T84" fmla="*/ 456 w 1559"/>
              <a:gd name="T85" fmla="*/ 1098 h 1745"/>
              <a:gd name="T86" fmla="*/ 435 w 1559"/>
              <a:gd name="T87" fmla="*/ 1070 h 1745"/>
              <a:gd name="T88" fmla="*/ 472 w 1559"/>
              <a:gd name="T89" fmla="*/ 1008 h 1745"/>
              <a:gd name="T90" fmla="*/ 423 w 1559"/>
              <a:gd name="T91" fmla="*/ 1004 h 1745"/>
              <a:gd name="T92" fmla="*/ 418 w 1559"/>
              <a:gd name="T93" fmla="*/ 1029 h 1745"/>
              <a:gd name="T94" fmla="*/ 385 w 1559"/>
              <a:gd name="T95" fmla="*/ 1058 h 1745"/>
              <a:gd name="T96" fmla="*/ 359 w 1559"/>
              <a:gd name="T97" fmla="*/ 1081 h 1745"/>
              <a:gd name="T98" fmla="*/ 465 w 1559"/>
              <a:gd name="T99" fmla="*/ 1103 h 1745"/>
              <a:gd name="T100" fmla="*/ 456 w 1559"/>
              <a:gd name="T101" fmla="*/ 1124 h 1745"/>
              <a:gd name="T102" fmla="*/ 527 w 1559"/>
              <a:gd name="T103" fmla="*/ 1230 h 1745"/>
              <a:gd name="T104" fmla="*/ 489 w 1559"/>
              <a:gd name="T105" fmla="*/ 1280 h 1745"/>
              <a:gd name="T106" fmla="*/ 385 w 1559"/>
              <a:gd name="T107" fmla="*/ 1436 h 1745"/>
              <a:gd name="T108" fmla="*/ 397 w 1559"/>
              <a:gd name="T109" fmla="*/ 1436 h 1745"/>
              <a:gd name="T110" fmla="*/ 359 w 1559"/>
              <a:gd name="T111" fmla="*/ 1502 h 1745"/>
              <a:gd name="T112" fmla="*/ 293 w 1559"/>
              <a:gd name="T113" fmla="*/ 1596 h 1745"/>
              <a:gd name="T114" fmla="*/ 217 w 1559"/>
              <a:gd name="T115" fmla="*/ 1580 h 1745"/>
              <a:gd name="T116" fmla="*/ 116 w 1559"/>
              <a:gd name="T117" fmla="*/ 1696 h 1745"/>
              <a:gd name="T118" fmla="*/ 33 w 1559"/>
              <a:gd name="T119" fmla="*/ 1729 h 1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59" h="1745">
                <a:moveTo>
                  <a:pt x="1450" y="139"/>
                </a:moveTo>
                <a:lnTo>
                  <a:pt x="1483" y="144"/>
                </a:lnTo>
                <a:lnTo>
                  <a:pt x="1521" y="104"/>
                </a:lnTo>
                <a:lnTo>
                  <a:pt x="1531" y="111"/>
                </a:lnTo>
                <a:lnTo>
                  <a:pt x="1505" y="155"/>
                </a:lnTo>
                <a:lnTo>
                  <a:pt x="1517" y="165"/>
                </a:lnTo>
                <a:lnTo>
                  <a:pt x="1521" y="177"/>
                </a:lnTo>
                <a:lnTo>
                  <a:pt x="1517" y="165"/>
                </a:lnTo>
                <a:lnTo>
                  <a:pt x="1521" y="193"/>
                </a:lnTo>
                <a:lnTo>
                  <a:pt x="1521" y="193"/>
                </a:lnTo>
                <a:lnTo>
                  <a:pt x="1538" y="198"/>
                </a:lnTo>
                <a:lnTo>
                  <a:pt x="1547" y="193"/>
                </a:lnTo>
                <a:lnTo>
                  <a:pt x="1559" y="193"/>
                </a:lnTo>
                <a:lnTo>
                  <a:pt x="1547" y="193"/>
                </a:lnTo>
                <a:lnTo>
                  <a:pt x="1538" y="210"/>
                </a:lnTo>
                <a:lnTo>
                  <a:pt x="1517" y="210"/>
                </a:lnTo>
                <a:lnTo>
                  <a:pt x="1500" y="222"/>
                </a:lnTo>
                <a:lnTo>
                  <a:pt x="1483" y="215"/>
                </a:lnTo>
                <a:lnTo>
                  <a:pt x="1479" y="231"/>
                </a:lnTo>
                <a:lnTo>
                  <a:pt x="1450" y="222"/>
                </a:lnTo>
                <a:lnTo>
                  <a:pt x="1429" y="231"/>
                </a:lnTo>
                <a:lnTo>
                  <a:pt x="1391" y="271"/>
                </a:lnTo>
                <a:lnTo>
                  <a:pt x="1375" y="321"/>
                </a:lnTo>
                <a:lnTo>
                  <a:pt x="1278" y="255"/>
                </a:lnTo>
                <a:lnTo>
                  <a:pt x="1250" y="267"/>
                </a:lnTo>
                <a:lnTo>
                  <a:pt x="1224" y="288"/>
                </a:lnTo>
                <a:lnTo>
                  <a:pt x="1207" y="267"/>
                </a:lnTo>
                <a:lnTo>
                  <a:pt x="1181" y="267"/>
                </a:lnTo>
                <a:lnTo>
                  <a:pt x="1174" y="271"/>
                </a:lnTo>
                <a:lnTo>
                  <a:pt x="1169" y="288"/>
                </a:lnTo>
                <a:lnTo>
                  <a:pt x="1191" y="304"/>
                </a:lnTo>
                <a:lnTo>
                  <a:pt x="1198" y="304"/>
                </a:lnTo>
                <a:lnTo>
                  <a:pt x="1235" y="326"/>
                </a:lnTo>
                <a:lnTo>
                  <a:pt x="1224" y="337"/>
                </a:lnTo>
                <a:lnTo>
                  <a:pt x="1198" y="326"/>
                </a:lnTo>
                <a:lnTo>
                  <a:pt x="1181" y="337"/>
                </a:lnTo>
                <a:lnTo>
                  <a:pt x="1181" y="349"/>
                </a:lnTo>
                <a:lnTo>
                  <a:pt x="1169" y="359"/>
                </a:lnTo>
                <a:lnTo>
                  <a:pt x="1153" y="359"/>
                </a:lnTo>
                <a:lnTo>
                  <a:pt x="1153" y="342"/>
                </a:lnTo>
                <a:lnTo>
                  <a:pt x="1157" y="309"/>
                </a:lnTo>
                <a:lnTo>
                  <a:pt x="1136" y="288"/>
                </a:lnTo>
                <a:lnTo>
                  <a:pt x="1136" y="255"/>
                </a:lnTo>
                <a:lnTo>
                  <a:pt x="1174" y="238"/>
                </a:lnTo>
                <a:lnTo>
                  <a:pt x="1191" y="222"/>
                </a:lnTo>
                <a:lnTo>
                  <a:pt x="1174" y="198"/>
                </a:lnTo>
                <a:lnTo>
                  <a:pt x="1181" y="193"/>
                </a:lnTo>
                <a:lnTo>
                  <a:pt x="1207" y="210"/>
                </a:lnTo>
                <a:lnTo>
                  <a:pt x="1228" y="210"/>
                </a:lnTo>
                <a:lnTo>
                  <a:pt x="1250" y="193"/>
                </a:lnTo>
                <a:lnTo>
                  <a:pt x="1245" y="160"/>
                </a:lnTo>
                <a:lnTo>
                  <a:pt x="1266" y="139"/>
                </a:lnTo>
                <a:lnTo>
                  <a:pt x="1266" y="111"/>
                </a:lnTo>
                <a:lnTo>
                  <a:pt x="1278" y="82"/>
                </a:lnTo>
                <a:lnTo>
                  <a:pt x="1261" y="28"/>
                </a:lnTo>
                <a:lnTo>
                  <a:pt x="1266" y="11"/>
                </a:lnTo>
                <a:lnTo>
                  <a:pt x="1287" y="0"/>
                </a:lnTo>
                <a:lnTo>
                  <a:pt x="1370" y="87"/>
                </a:lnTo>
                <a:lnTo>
                  <a:pt x="1408" y="111"/>
                </a:lnTo>
                <a:lnTo>
                  <a:pt x="1413" y="127"/>
                </a:lnTo>
                <a:lnTo>
                  <a:pt x="1446" y="127"/>
                </a:lnTo>
                <a:lnTo>
                  <a:pt x="1450" y="139"/>
                </a:lnTo>
                <a:lnTo>
                  <a:pt x="1450" y="139"/>
                </a:lnTo>
                <a:lnTo>
                  <a:pt x="1450" y="139"/>
                </a:lnTo>
                <a:close/>
                <a:moveTo>
                  <a:pt x="1224" y="11"/>
                </a:moveTo>
                <a:lnTo>
                  <a:pt x="1228" y="11"/>
                </a:lnTo>
                <a:lnTo>
                  <a:pt x="1224" y="28"/>
                </a:lnTo>
                <a:lnTo>
                  <a:pt x="1224" y="11"/>
                </a:lnTo>
                <a:lnTo>
                  <a:pt x="1224" y="11"/>
                </a:lnTo>
                <a:lnTo>
                  <a:pt x="1224" y="11"/>
                </a:lnTo>
                <a:close/>
                <a:moveTo>
                  <a:pt x="1228" y="28"/>
                </a:moveTo>
                <a:lnTo>
                  <a:pt x="1245" y="33"/>
                </a:lnTo>
                <a:lnTo>
                  <a:pt x="1228" y="33"/>
                </a:lnTo>
                <a:lnTo>
                  <a:pt x="1228" y="28"/>
                </a:lnTo>
                <a:lnTo>
                  <a:pt x="1228" y="28"/>
                </a:lnTo>
                <a:lnTo>
                  <a:pt x="1228" y="28"/>
                </a:lnTo>
                <a:close/>
                <a:moveTo>
                  <a:pt x="1115" y="292"/>
                </a:moveTo>
                <a:lnTo>
                  <a:pt x="1120" y="288"/>
                </a:lnTo>
                <a:lnTo>
                  <a:pt x="1115" y="304"/>
                </a:lnTo>
                <a:lnTo>
                  <a:pt x="1115" y="292"/>
                </a:lnTo>
                <a:lnTo>
                  <a:pt x="1115" y="292"/>
                </a:lnTo>
                <a:lnTo>
                  <a:pt x="1115" y="292"/>
                </a:lnTo>
                <a:close/>
                <a:moveTo>
                  <a:pt x="1207" y="748"/>
                </a:moveTo>
                <a:lnTo>
                  <a:pt x="1191" y="791"/>
                </a:lnTo>
                <a:lnTo>
                  <a:pt x="1207" y="843"/>
                </a:lnTo>
                <a:lnTo>
                  <a:pt x="1181" y="859"/>
                </a:lnTo>
                <a:lnTo>
                  <a:pt x="1174" y="892"/>
                </a:lnTo>
                <a:lnTo>
                  <a:pt x="1157" y="892"/>
                </a:lnTo>
                <a:lnTo>
                  <a:pt x="1143" y="902"/>
                </a:lnTo>
                <a:lnTo>
                  <a:pt x="1136" y="897"/>
                </a:lnTo>
                <a:lnTo>
                  <a:pt x="1143" y="897"/>
                </a:lnTo>
                <a:lnTo>
                  <a:pt x="1136" y="876"/>
                </a:lnTo>
                <a:lnTo>
                  <a:pt x="1157" y="848"/>
                </a:lnTo>
                <a:lnTo>
                  <a:pt x="1143" y="843"/>
                </a:lnTo>
                <a:lnTo>
                  <a:pt x="1136" y="843"/>
                </a:lnTo>
                <a:lnTo>
                  <a:pt x="1136" y="859"/>
                </a:lnTo>
                <a:lnTo>
                  <a:pt x="1127" y="859"/>
                </a:lnTo>
                <a:lnTo>
                  <a:pt x="1127" y="876"/>
                </a:lnTo>
                <a:lnTo>
                  <a:pt x="1127" y="876"/>
                </a:lnTo>
                <a:lnTo>
                  <a:pt x="1127" y="892"/>
                </a:lnTo>
                <a:lnTo>
                  <a:pt x="1120" y="876"/>
                </a:lnTo>
                <a:lnTo>
                  <a:pt x="1089" y="881"/>
                </a:lnTo>
                <a:lnTo>
                  <a:pt x="1082" y="892"/>
                </a:lnTo>
                <a:lnTo>
                  <a:pt x="1089" y="902"/>
                </a:lnTo>
                <a:lnTo>
                  <a:pt x="1068" y="930"/>
                </a:lnTo>
                <a:lnTo>
                  <a:pt x="1061" y="918"/>
                </a:lnTo>
                <a:lnTo>
                  <a:pt x="1068" y="897"/>
                </a:lnTo>
                <a:lnTo>
                  <a:pt x="1072" y="897"/>
                </a:lnTo>
                <a:lnTo>
                  <a:pt x="1061" y="892"/>
                </a:lnTo>
                <a:lnTo>
                  <a:pt x="1051" y="892"/>
                </a:lnTo>
                <a:lnTo>
                  <a:pt x="1035" y="902"/>
                </a:lnTo>
                <a:lnTo>
                  <a:pt x="1018" y="930"/>
                </a:lnTo>
                <a:lnTo>
                  <a:pt x="980" y="918"/>
                </a:lnTo>
                <a:lnTo>
                  <a:pt x="943" y="930"/>
                </a:lnTo>
                <a:lnTo>
                  <a:pt x="964" y="918"/>
                </a:lnTo>
                <a:lnTo>
                  <a:pt x="959" y="914"/>
                </a:lnTo>
                <a:lnTo>
                  <a:pt x="943" y="914"/>
                </a:lnTo>
                <a:lnTo>
                  <a:pt x="938" y="902"/>
                </a:lnTo>
                <a:lnTo>
                  <a:pt x="938" y="914"/>
                </a:lnTo>
                <a:lnTo>
                  <a:pt x="938" y="918"/>
                </a:lnTo>
                <a:lnTo>
                  <a:pt x="926" y="918"/>
                </a:lnTo>
                <a:lnTo>
                  <a:pt x="926" y="892"/>
                </a:lnTo>
                <a:lnTo>
                  <a:pt x="909" y="897"/>
                </a:lnTo>
                <a:lnTo>
                  <a:pt x="905" y="918"/>
                </a:lnTo>
                <a:lnTo>
                  <a:pt x="905" y="930"/>
                </a:lnTo>
                <a:lnTo>
                  <a:pt x="938" y="947"/>
                </a:lnTo>
                <a:lnTo>
                  <a:pt x="938" y="954"/>
                </a:lnTo>
                <a:lnTo>
                  <a:pt x="909" y="954"/>
                </a:lnTo>
                <a:lnTo>
                  <a:pt x="900" y="959"/>
                </a:lnTo>
                <a:lnTo>
                  <a:pt x="888" y="987"/>
                </a:lnTo>
                <a:lnTo>
                  <a:pt x="850" y="1025"/>
                </a:lnTo>
                <a:lnTo>
                  <a:pt x="829" y="1013"/>
                </a:lnTo>
                <a:lnTo>
                  <a:pt x="817" y="1008"/>
                </a:lnTo>
                <a:lnTo>
                  <a:pt x="829" y="1004"/>
                </a:lnTo>
                <a:lnTo>
                  <a:pt x="801" y="987"/>
                </a:lnTo>
                <a:lnTo>
                  <a:pt x="813" y="970"/>
                </a:lnTo>
                <a:lnTo>
                  <a:pt x="801" y="959"/>
                </a:lnTo>
                <a:lnTo>
                  <a:pt x="801" y="954"/>
                </a:lnTo>
                <a:lnTo>
                  <a:pt x="829" y="930"/>
                </a:lnTo>
                <a:lnTo>
                  <a:pt x="817" y="918"/>
                </a:lnTo>
                <a:lnTo>
                  <a:pt x="801" y="930"/>
                </a:lnTo>
                <a:lnTo>
                  <a:pt x="775" y="914"/>
                </a:lnTo>
                <a:lnTo>
                  <a:pt x="742" y="918"/>
                </a:lnTo>
                <a:lnTo>
                  <a:pt x="737" y="930"/>
                </a:lnTo>
                <a:lnTo>
                  <a:pt x="725" y="930"/>
                </a:lnTo>
                <a:lnTo>
                  <a:pt x="737" y="930"/>
                </a:lnTo>
                <a:lnTo>
                  <a:pt x="725" y="947"/>
                </a:lnTo>
                <a:lnTo>
                  <a:pt x="704" y="937"/>
                </a:lnTo>
                <a:lnTo>
                  <a:pt x="683" y="954"/>
                </a:lnTo>
                <a:lnTo>
                  <a:pt x="671" y="947"/>
                </a:lnTo>
                <a:lnTo>
                  <a:pt x="671" y="954"/>
                </a:lnTo>
                <a:lnTo>
                  <a:pt x="666" y="959"/>
                </a:lnTo>
                <a:lnTo>
                  <a:pt x="666" y="954"/>
                </a:lnTo>
                <a:lnTo>
                  <a:pt x="650" y="954"/>
                </a:lnTo>
                <a:lnTo>
                  <a:pt x="628" y="959"/>
                </a:lnTo>
                <a:lnTo>
                  <a:pt x="628" y="954"/>
                </a:lnTo>
                <a:lnTo>
                  <a:pt x="612" y="954"/>
                </a:lnTo>
                <a:lnTo>
                  <a:pt x="602" y="959"/>
                </a:lnTo>
                <a:lnTo>
                  <a:pt x="595" y="992"/>
                </a:lnTo>
                <a:lnTo>
                  <a:pt x="586" y="1004"/>
                </a:lnTo>
                <a:lnTo>
                  <a:pt x="586" y="987"/>
                </a:lnTo>
                <a:lnTo>
                  <a:pt x="574" y="975"/>
                </a:lnTo>
                <a:lnTo>
                  <a:pt x="532" y="987"/>
                </a:lnTo>
                <a:lnTo>
                  <a:pt x="520" y="975"/>
                </a:lnTo>
                <a:lnTo>
                  <a:pt x="510" y="987"/>
                </a:lnTo>
                <a:lnTo>
                  <a:pt x="510" y="947"/>
                </a:lnTo>
                <a:lnTo>
                  <a:pt x="548" y="947"/>
                </a:lnTo>
                <a:lnTo>
                  <a:pt x="557" y="930"/>
                </a:lnTo>
                <a:lnTo>
                  <a:pt x="579" y="918"/>
                </a:lnTo>
                <a:lnTo>
                  <a:pt x="633" y="876"/>
                </a:lnTo>
                <a:lnTo>
                  <a:pt x="633" y="864"/>
                </a:lnTo>
                <a:lnTo>
                  <a:pt x="666" y="848"/>
                </a:lnTo>
                <a:lnTo>
                  <a:pt x="687" y="859"/>
                </a:lnTo>
                <a:lnTo>
                  <a:pt x="742" y="848"/>
                </a:lnTo>
                <a:lnTo>
                  <a:pt x="763" y="843"/>
                </a:lnTo>
                <a:lnTo>
                  <a:pt x="796" y="843"/>
                </a:lnTo>
                <a:lnTo>
                  <a:pt x="813" y="836"/>
                </a:lnTo>
                <a:lnTo>
                  <a:pt x="817" y="843"/>
                </a:lnTo>
                <a:lnTo>
                  <a:pt x="813" y="848"/>
                </a:lnTo>
                <a:lnTo>
                  <a:pt x="829" y="859"/>
                </a:lnTo>
                <a:lnTo>
                  <a:pt x="817" y="848"/>
                </a:lnTo>
                <a:lnTo>
                  <a:pt x="829" y="848"/>
                </a:lnTo>
                <a:lnTo>
                  <a:pt x="834" y="859"/>
                </a:lnTo>
                <a:lnTo>
                  <a:pt x="850" y="859"/>
                </a:lnTo>
                <a:lnTo>
                  <a:pt x="872" y="836"/>
                </a:lnTo>
                <a:lnTo>
                  <a:pt x="872" y="843"/>
                </a:lnTo>
                <a:lnTo>
                  <a:pt x="872" y="836"/>
                </a:lnTo>
                <a:lnTo>
                  <a:pt x="867" y="819"/>
                </a:lnTo>
                <a:lnTo>
                  <a:pt x="921" y="753"/>
                </a:lnTo>
                <a:lnTo>
                  <a:pt x="921" y="737"/>
                </a:lnTo>
                <a:lnTo>
                  <a:pt x="921" y="715"/>
                </a:lnTo>
                <a:lnTo>
                  <a:pt x="926" y="699"/>
                </a:lnTo>
                <a:lnTo>
                  <a:pt x="964" y="692"/>
                </a:lnTo>
                <a:lnTo>
                  <a:pt x="964" y="699"/>
                </a:lnTo>
                <a:lnTo>
                  <a:pt x="943" y="715"/>
                </a:lnTo>
                <a:lnTo>
                  <a:pt x="938" y="715"/>
                </a:lnTo>
                <a:lnTo>
                  <a:pt x="926" y="725"/>
                </a:lnTo>
                <a:lnTo>
                  <a:pt x="943" y="732"/>
                </a:lnTo>
                <a:lnTo>
                  <a:pt x="943" y="748"/>
                </a:lnTo>
                <a:lnTo>
                  <a:pt x="959" y="753"/>
                </a:lnTo>
                <a:lnTo>
                  <a:pt x="976" y="737"/>
                </a:lnTo>
                <a:lnTo>
                  <a:pt x="1030" y="715"/>
                </a:lnTo>
                <a:lnTo>
                  <a:pt x="1051" y="699"/>
                </a:lnTo>
                <a:lnTo>
                  <a:pt x="1068" y="670"/>
                </a:lnTo>
                <a:lnTo>
                  <a:pt x="1115" y="637"/>
                </a:lnTo>
                <a:lnTo>
                  <a:pt x="1115" y="614"/>
                </a:lnTo>
                <a:lnTo>
                  <a:pt x="1136" y="581"/>
                </a:lnTo>
                <a:lnTo>
                  <a:pt x="1153" y="531"/>
                </a:lnTo>
                <a:lnTo>
                  <a:pt x="1153" y="503"/>
                </a:lnTo>
                <a:lnTo>
                  <a:pt x="1127" y="486"/>
                </a:lnTo>
                <a:lnTo>
                  <a:pt x="1127" y="486"/>
                </a:lnTo>
                <a:lnTo>
                  <a:pt x="1143" y="486"/>
                </a:lnTo>
                <a:lnTo>
                  <a:pt x="1153" y="460"/>
                </a:lnTo>
                <a:lnTo>
                  <a:pt x="1136" y="432"/>
                </a:lnTo>
                <a:lnTo>
                  <a:pt x="1153" y="415"/>
                </a:lnTo>
                <a:lnTo>
                  <a:pt x="1169" y="415"/>
                </a:lnTo>
                <a:lnTo>
                  <a:pt x="1174" y="375"/>
                </a:lnTo>
                <a:lnTo>
                  <a:pt x="1198" y="382"/>
                </a:lnTo>
                <a:lnTo>
                  <a:pt x="1198" y="415"/>
                </a:lnTo>
                <a:lnTo>
                  <a:pt x="1207" y="404"/>
                </a:lnTo>
                <a:lnTo>
                  <a:pt x="1212" y="399"/>
                </a:lnTo>
                <a:lnTo>
                  <a:pt x="1228" y="404"/>
                </a:lnTo>
                <a:lnTo>
                  <a:pt x="1235" y="404"/>
                </a:lnTo>
                <a:lnTo>
                  <a:pt x="1235" y="382"/>
                </a:lnTo>
                <a:lnTo>
                  <a:pt x="1235" y="375"/>
                </a:lnTo>
                <a:lnTo>
                  <a:pt x="1207" y="382"/>
                </a:lnTo>
                <a:lnTo>
                  <a:pt x="1212" y="349"/>
                </a:lnTo>
                <a:lnTo>
                  <a:pt x="1235" y="366"/>
                </a:lnTo>
                <a:lnTo>
                  <a:pt x="1250" y="366"/>
                </a:lnTo>
                <a:lnTo>
                  <a:pt x="1245" y="382"/>
                </a:lnTo>
                <a:lnTo>
                  <a:pt x="1250" y="432"/>
                </a:lnTo>
                <a:lnTo>
                  <a:pt x="1278" y="460"/>
                </a:lnTo>
                <a:lnTo>
                  <a:pt x="1299" y="515"/>
                </a:lnTo>
                <a:lnTo>
                  <a:pt x="1283" y="543"/>
                </a:lnTo>
                <a:lnTo>
                  <a:pt x="1283" y="564"/>
                </a:lnTo>
                <a:lnTo>
                  <a:pt x="1266" y="564"/>
                </a:lnTo>
                <a:lnTo>
                  <a:pt x="1266" y="571"/>
                </a:lnTo>
                <a:lnTo>
                  <a:pt x="1261" y="581"/>
                </a:lnTo>
                <a:lnTo>
                  <a:pt x="1261" y="626"/>
                </a:lnTo>
                <a:lnTo>
                  <a:pt x="1245" y="614"/>
                </a:lnTo>
                <a:lnTo>
                  <a:pt x="1228" y="621"/>
                </a:lnTo>
                <a:lnTo>
                  <a:pt x="1212" y="637"/>
                </a:lnTo>
                <a:lnTo>
                  <a:pt x="1212" y="654"/>
                </a:lnTo>
                <a:lnTo>
                  <a:pt x="1224" y="675"/>
                </a:lnTo>
                <a:lnTo>
                  <a:pt x="1224" y="699"/>
                </a:lnTo>
                <a:lnTo>
                  <a:pt x="1224" y="732"/>
                </a:lnTo>
                <a:lnTo>
                  <a:pt x="1207" y="748"/>
                </a:lnTo>
                <a:lnTo>
                  <a:pt x="1207" y="748"/>
                </a:lnTo>
                <a:lnTo>
                  <a:pt x="1207" y="748"/>
                </a:lnTo>
                <a:close/>
                <a:moveTo>
                  <a:pt x="1044" y="626"/>
                </a:moveTo>
                <a:lnTo>
                  <a:pt x="1035" y="642"/>
                </a:lnTo>
                <a:lnTo>
                  <a:pt x="1051" y="642"/>
                </a:lnTo>
                <a:lnTo>
                  <a:pt x="1044" y="659"/>
                </a:lnTo>
                <a:lnTo>
                  <a:pt x="1030" y="670"/>
                </a:lnTo>
                <a:lnTo>
                  <a:pt x="1035" y="654"/>
                </a:lnTo>
                <a:lnTo>
                  <a:pt x="1030" y="654"/>
                </a:lnTo>
                <a:lnTo>
                  <a:pt x="1030" y="642"/>
                </a:lnTo>
                <a:lnTo>
                  <a:pt x="1044" y="626"/>
                </a:lnTo>
                <a:lnTo>
                  <a:pt x="1044" y="626"/>
                </a:lnTo>
                <a:lnTo>
                  <a:pt x="1044" y="626"/>
                </a:lnTo>
                <a:close/>
                <a:moveTo>
                  <a:pt x="683" y="786"/>
                </a:moveTo>
                <a:lnTo>
                  <a:pt x="687" y="803"/>
                </a:lnTo>
                <a:lnTo>
                  <a:pt x="671" y="803"/>
                </a:lnTo>
                <a:lnTo>
                  <a:pt x="671" y="791"/>
                </a:lnTo>
                <a:lnTo>
                  <a:pt x="683" y="786"/>
                </a:lnTo>
                <a:lnTo>
                  <a:pt x="683" y="786"/>
                </a:lnTo>
                <a:lnTo>
                  <a:pt x="683" y="786"/>
                </a:lnTo>
                <a:close/>
                <a:moveTo>
                  <a:pt x="1106" y="914"/>
                </a:moveTo>
                <a:lnTo>
                  <a:pt x="1115" y="918"/>
                </a:lnTo>
                <a:lnTo>
                  <a:pt x="1106" y="918"/>
                </a:lnTo>
                <a:lnTo>
                  <a:pt x="1106" y="914"/>
                </a:lnTo>
                <a:lnTo>
                  <a:pt x="1106" y="914"/>
                </a:lnTo>
                <a:lnTo>
                  <a:pt x="1106" y="914"/>
                </a:lnTo>
                <a:close/>
                <a:moveTo>
                  <a:pt x="411" y="918"/>
                </a:moveTo>
                <a:lnTo>
                  <a:pt x="402" y="954"/>
                </a:lnTo>
                <a:lnTo>
                  <a:pt x="397" y="954"/>
                </a:lnTo>
                <a:lnTo>
                  <a:pt x="397" y="930"/>
                </a:lnTo>
                <a:lnTo>
                  <a:pt x="411" y="918"/>
                </a:lnTo>
                <a:lnTo>
                  <a:pt x="411" y="918"/>
                </a:lnTo>
                <a:lnTo>
                  <a:pt x="411" y="918"/>
                </a:lnTo>
                <a:close/>
                <a:moveTo>
                  <a:pt x="780" y="959"/>
                </a:moveTo>
                <a:lnTo>
                  <a:pt x="775" y="954"/>
                </a:lnTo>
                <a:lnTo>
                  <a:pt x="796" y="930"/>
                </a:lnTo>
                <a:lnTo>
                  <a:pt x="791" y="947"/>
                </a:lnTo>
                <a:lnTo>
                  <a:pt x="796" y="959"/>
                </a:lnTo>
                <a:lnTo>
                  <a:pt x="780" y="959"/>
                </a:lnTo>
                <a:lnTo>
                  <a:pt x="780" y="959"/>
                </a:lnTo>
                <a:lnTo>
                  <a:pt x="780" y="959"/>
                </a:lnTo>
                <a:close/>
                <a:moveTo>
                  <a:pt x="758" y="937"/>
                </a:moveTo>
                <a:lnTo>
                  <a:pt x="746" y="947"/>
                </a:lnTo>
                <a:lnTo>
                  <a:pt x="742" y="937"/>
                </a:lnTo>
                <a:lnTo>
                  <a:pt x="758" y="937"/>
                </a:lnTo>
                <a:lnTo>
                  <a:pt x="758" y="937"/>
                </a:lnTo>
                <a:lnTo>
                  <a:pt x="758" y="937"/>
                </a:lnTo>
                <a:close/>
                <a:moveTo>
                  <a:pt x="746" y="1013"/>
                </a:moveTo>
                <a:lnTo>
                  <a:pt x="742" y="1041"/>
                </a:lnTo>
                <a:lnTo>
                  <a:pt x="725" y="1025"/>
                </a:lnTo>
                <a:lnTo>
                  <a:pt x="709" y="1013"/>
                </a:lnTo>
                <a:lnTo>
                  <a:pt x="683" y="1029"/>
                </a:lnTo>
                <a:lnTo>
                  <a:pt x="671" y="1041"/>
                </a:lnTo>
                <a:lnTo>
                  <a:pt x="657" y="1058"/>
                </a:lnTo>
                <a:lnTo>
                  <a:pt x="657" y="1081"/>
                </a:lnTo>
                <a:lnTo>
                  <a:pt x="633" y="1081"/>
                </a:lnTo>
                <a:lnTo>
                  <a:pt x="640" y="1065"/>
                </a:lnTo>
                <a:lnTo>
                  <a:pt x="619" y="1065"/>
                </a:lnTo>
                <a:lnTo>
                  <a:pt x="628" y="1041"/>
                </a:lnTo>
                <a:lnTo>
                  <a:pt x="612" y="1029"/>
                </a:lnTo>
                <a:lnTo>
                  <a:pt x="612" y="1025"/>
                </a:lnTo>
                <a:lnTo>
                  <a:pt x="586" y="1029"/>
                </a:lnTo>
                <a:lnTo>
                  <a:pt x="633" y="1008"/>
                </a:lnTo>
                <a:lnTo>
                  <a:pt x="650" y="970"/>
                </a:lnTo>
                <a:lnTo>
                  <a:pt x="666" y="987"/>
                </a:lnTo>
                <a:lnTo>
                  <a:pt x="694" y="987"/>
                </a:lnTo>
                <a:lnTo>
                  <a:pt x="704" y="959"/>
                </a:lnTo>
                <a:lnTo>
                  <a:pt x="720" y="954"/>
                </a:lnTo>
                <a:lnTo>
                  <a:pt x="737" y="947"/>
                </a:lnTo>
                <a:lnTo>
                  <a:pt x="758" y="959"/>
                </a:lnTo>
                <a:lnTo>
                  <a:pt x="763" y="959"/>
                </a:lnTo>
                <a:lnTo>
                  <a:pt x="775" y="975"/>
                </a:lnTo>
                <a:lnTo>
                  <a:pt x="780" y="992"/>
                </a:lnTo>
                <a:lnTo>
                  <a:pt x="746" y="1013"/>
                </a:lnTo>
                <a:lnTo>
                  <a:pt x="746" y="1013"/>
                </a:lnTo>
                <a:lnTo>
                  <a:pt x="746" y="1013"/>
                </a:lnTo>
                <a:close/>
                <a:moveTo>
                  <a:pt x="402" y="959"/>
                </a:moveTo>
                <a:lnTo>
                  <a:pt x="385" y="970"/>
                </a:lnTo>
                <a:lnTo>
                  <a:pt x="397" y="954"/>
                </a:lnTo>
                <a:lnTo>
                  <a:pt x="402" y="959"/>
                </a:lnTo>
                <a:lnTo>
                  <a:pt x="402" y="959"/>
                </a:lnTo>
                <a:lnTo>
                  <a:pt x="402" y="959"/>
                </a:lnTo>
                <a:close/>
                <a:moveTo>
                  <a:pt x="657" y="954"/>
                </a:moveTo>
                <a:lnTo>
                  <a:pt x="666" y="959"/>
                </a:lnTo>
                <a:lnTo>
                  <a:pt x="657" y="959"/>
                </a:lnTo>
                <a:lnTo>
                  <a:pt x="657" y="954"/>
                </a:lnTo>
                <a:lnTo>
                  <a:pt x="657" y="954"/>
                </a:lnTo>
                <a:lnTo>
                  <a:pt x="657" y="954"/>
                </a:lnTo>
                <a:close/>
                <a:moveTo>
                  <a:pt x="628" y="959"/>
                </a:moveTo>
                <a:lnTo>
                  <a:pt x="619" y="970"/>
                </a:lnTo>
                <a:lnTo>
                  <a:pt x="619" y="959"/>
                </a:lnTo>
                <a:lnTo>
                  <a:pt x="628" y="959"/>
                </a:lnTo>
                <a:lnTo>
                  <a:pt x="628" y="959"/>
                </a:lnTo>
                <a:lnTo>
                  <a:pt x="628" y="959"/>
                </a:lnTo>
                <a:close/>
                <a:moveTo>
                  <a:pt x="628" y="970"/>
                </a:moveTo>
                <a:lnTo>
                  <a:pt x="628" y="975"/>
                </a:lnTo>
                <a:lnTo>
                  <a:pt x="619" y="970"/>
                </a:lnTo>
                <a:lnTo>
                  <a:pt x="628" y="970"/>
                </a:lnTo>
                <a:lnTo>
                  <a:pt x="628" y="970"/>
                </a:lnTo>
                <a:lnTo>
                  <a:pt x="628" y="970"/>
                </a:lnTo>
                <a:close/>
                <a:moveTo>
                  <a:pt x="532" y="1008"/>
                </a:moveTo>
                <a:lnTo>
                  <a:pt x="548" y="1013"/>
                </a:lnTo>
                <a:lnTo>
                  <a:pt x="557" y="1008"/>
                </a:lnTo>
                <a:lnTo>
                  <a:pt x="565" y="1008"/>
                </a:lnTo>
                <a:lnTo>
                  <a:pt x="574" y="1025"/>
                </a:lnTo>
                <a:lnTo>
                  <a:pt x="557" y="1029"/>
                </a:lnTo>
                <a:lnTo>
                  <a:pt x="557" y="1041"/>
                </a:lnTo>
                <a:lnTo>
                  <a:pt x="579" y="1041"/>
                </a:lnTo>
                <a:lnTo>
                  <a:pt x="574" y="1046"/>
                </a:lnTo>
                <a:lnTo>
                  <a:pt x="586" y="1070"/>
                </a:lnTo>
                <a:lnTo>
                  <a:pt x="565" y="1098"/>
                </a:lnTo>
                <a:lnTo>
                  <a:pt x="541" y="1190"/>
                </a:lnTo>
                <a:lnTo>
                  <a:pt x="527" y="1181"/>
                </a:lnTo>
                <a:lnTo>
                  <a:pt x="520" y="1190"/>
                </a:lnTo>
                <a:lnTo>
                  <a:pt x="527" y="1197"/>
                </a:lnTo>
                <a:lnTo>
                  <a:pt x="494" y="1226"/>
                </a:lnTo>
                <a:lnTo>
                  <a:pt x="503" y="1190"/>
                </a:lnTo>
                <a:lnTo>
                  <a:pt x="489" y="1174"/>
                </a:lnTo>
                <a:lnTo>
                  <a:pt x="503" y="1174"/>
                </a:lnTo>
                <a:lnTo>
                  <a:pt x="503" y="1169"/>
                </a:lnTo>
                <a:lnTo>
                  <a:pt x="494" y="1157"/>
                </a:lnTo>
                <a:lnTo>
                  <a:pt x="489" y="1174"/>
                </a:lnTo>
                <a:lnTo>
                  <a:pt x="494" y="1209"/>
                </a:lnTo>
                <a:lnTo>
                  <a:pt x="465" y="1197"/>
                </a:lnTo>
                <a:lnTo>
                  <a:pt x="472" y="1169"/>
                </a:lnTo>
                <a:lnTo>
                  <a:pt x="456" y="1157"/>
                </a:lnTo>
                <a:lnTo>
                  <a:pt x="456" y="1136"/>
                </a:lnTo>
                <a:lnTo>
                  <a:pt x="489" y="1103"/>
                </a:lnTo>
                <a:lnTo>
                  <a:pt x="489" y="1086"/>
                </a:lnTo>
                <a:lnTo>
                  <a:pt x="477" y="1086"/>
                </a:lnTo>
                <a:lnTo>
                  <a:pt x="489" y="1081"/>
                </a:lnTo>
                <a:lnTo>
                  <a:pt x="477" y="1065"/>
                </a:lnTo>
                <a:lnTo>
                  <a:pt x="477" y="1058"/>
                </a:lnTo>
                <a:lnTo>
                  <a:pt x="465" y="1046"/>
                </a:lnTo>
                <a:lnTo>
                  <a:pt x="456" y="1046"/>
                </a:lnTo>
                <a:lnTo>
                  <a:pt x="465" y="1065"/>
                </a:lnTo>
                <a:lnTo>
                  <a:pt x="456" y="1070"/>
                </a:lnTo>
                <a:lnTo>
                  <a:pt x="472" y="1070"/>
                </a:lnTo>
                <a:lnTo>
                  <a:pt x="472" y="1086"/>
                </a:lnTo>
                <a:lnTo>
                  <a:pt x="456" y="1098"/>
                </a:lnTo>
                <a:lnTo>
                  <a:pt x="456" y="1086"/>
                </a:lnTo>
                <a:lnTo>
                  <a:pt x="465" y="1081"/>
                </a:lnTo>
                <a:lnTo>
                  <a:pt x="456" y="1081"/>
                </a:lnTo>
                <a:lnTo>
                  <a:pt x="435" y="1098"/>
                </a:lnTo>
                <a:lnTo>
                  <a:pt x="439" y="1081"/>
                </a:lnTo>
                <a:lnTo>
                  <a:pt x="423" y="1070"/>
                </a:lnTo>
                <a:lnTo>
                  <a:pt x="423" y="1058"/>
                </a:lnTo>
                <a:lnTo>
                  <a:pt x="435" y="1065"/>
                </a:lnTo>
                <a:lnTo>
                  <a:pt x="435" y="1070"/>
                </a:lnTo>
                <a:lnTo>
                  <a:pt x="451" y="1070"/>
                </a:lnTo>
                <a:lnTo>
                  <a:pt x="439" y="1058"/>
                </a:lnTo>
                <a:lnTo>
                  <a:pt x="418" y="1041"/>
                </a:lnTo>
                <a:lnTo>
                  <a:pt x="418" y="1029"/>
                </a:lnTo>
                <a:lnTo>
                  <a:pt x="435" y="1029"/>
                </a:lnTo>
                <a:lnTo>
                  <a:pt x="439" y="1013"/>
                </a:lnTo>
                <a:lnTo>
                  <a:pt x="451" y="1025"/>
                </a:lnTo>
                <a:lnTo>
                  <a:pt x="465" y="1008"/>
                </a:lnTo>
                <a:lnTo>
                  <a:pt x="472" y="1008"/>
                </a:lnTo>
                <a:lnTo>
                  <a:pt x="477" y="992"/>
                </a:lnTo>
                <a:lnTo>
                  <a:pt x="494" y="987"/>
                </a:lnTo>
                <a:lnTo>
                  <a:pt x="520" y="987"/>
                </a:lnTo>
                <a:lnTo>
                  <a:pt x="527" y="1008"/>
                </a:lnTo>
                <a:lnTo>
                  <a:pt x="532" y="1008"/>
                </a:lnTo>
                <a:lnTo>
                  <a:pt x="532" y="1008"/>
                </a:lnTo>
                <a:lnTo>
                  <a:pt x="532" y="1008"/>
                </a:lnTo>
                <a:close/>
                <a:moveTo>
                  <a:pt x="423" y="1004"/>
                </a:moveTo>
                <a:lnTo>
                  <a:pt x="423" y="1004"/>
                </a:lnTo>
                <a:lnTo>
                  <a:pt x="423" y="992"/>
                </a:lnTo>
                <a:lnTo>
                  <a:pt x="435" y="1004"/>
                </a:lnTo>
                <a:lnTo>
                  <a:pt x="423" y="1004"/>
                </a:lnTo>
                <a:lnTo>
                  <a:pt x="423" y="1004"/>
                </a:lnTo>
                <a:lnTo>
                  <a:pt x="423" y="1004"/>
                </a:lnTo>
                <a:close/>
                <a:moveTo>
                  <a:pt x="418" y="1029"/>
                </a:moveTo>
                <a:lnTo>
                  <a:pt x="402" y="1046"/>
                </a:lnTo>
                <a:lnTo>
                  <a:pt x="418" y="1025"/>
                </a:lnTo>
                <a:lnTo>
                  <a:pt x="418" y="1029"/>
                </a:lnTo>
                <a:lnTo>
                  <a:pt x="418" y="1029"/>
                </a:lnTo>
                <a:lnTo>
                  <a:pt x="418" y="1029"/>
                </a:lnTo>
                <a:close/>
                <a:moveTo>
                  <a:pt x="385" y="1058"/>
                </a:moveTo>
                <a:lnTo>
                  <a:pt x="385" y="1065"/>
                </a:lnTo>
                <a:lnTo>
                  <a:pt x="385" y="1065"/>
                </a:lnTo>
                <a:lnTo>
                  <a:pt x="380" y="1070"/>
                </a:lnTo>
                <a:lnTo>
                  <a:pt x="380" y="1065"/>
                </a:lnTo>
                <a:lnTo>
                  <a:pt x="385" y="1046"/>
                </a:lnTo>
                <a:lnTo>
                  <a:pt x="385" y="1058"/>
                </a:lnTo>
                <a:lnTo>
                  <a:pt x="385" y="1058"/>
                </a:lnTo>
                <a:lnTo>
                  <a:pt x="385" y="1058"/>
                </a:lnTo>
                <a:close/>
                <a:moveTo>
                  <a:pt x="359" y="1081"/>
                </a:moveTo>
                <a:lnTo>
                  <a:pt x="359" y="1081"/>
                </a:lnTo>
                <a:lnTo>
                  <a:pt x="364" y="1081"/>
                </a:lnTo>
                <a:lnTo>
                  <a:pt x="369" y="1086"/>
                </a:lnTo>
                <a:lnTo>
                  <a:pt x="347" y="1086"/>
                </a:lnTo>
                <a:lnTo>
                  <a:pt x="359" y="1081"/>
                </a:lnTo>
                <a:lnTo>
                  <a:pt x="359" y="1081"/>
                </a:lnTo>
                <a:lnTo>
                  <a:pt x="359" y="1081"/>
                </a:lnTo>
                <a:close/>
                <a:moveTo>
                  <a:pt x="451" y="1124"/>
                </a:moveTo>
                <a:lnTo>
                  <a:pt x="451" y="1103"/>
                </a:lnTo>
                <a:lnTo>
                  <a:pt x="456" y="1098"/>
                </a:lnTo>
                <a:lnTo>
                  <a:pt x="465" y="1115"/>
                </a:lnTo>
                <a:lnTo>
                  <a:pt x="451" y="1124"/>
                </a:lnTo>
                <a:lnTo>
                  <a:pt x="451" y="1124"/>
                </a:lnTo>
                <a:lnTo>
                  <a:pt x="451" y="1124"/>
                </a:lnTo>
                <a:close/>
                <a:moveTo>
                  <a:pt x="465" y="1103"/>
                </a:moveTo>
                <a:lnTo>
                  <a:pt x="477" y="1098"/>
                </a:lnTo>
                <a:lnTo>
                  <a:pt x="472" y="1115"/>
                </a:lnTo>
                <a:lnTo>
                  <a:pt x="465" y="1103"/>
                </a:lnTo>
                <a:lnTo>
                  <a:pt x="465" y="1103"/>
                </a:lnTo>
                <a:lnTo>
                  <a:pt x="465" y="1103"/>
                </a:lnTo>
                <a:close/>
                <a:moveTo>
                  <a:pt x="456" y="1124"/>
                </a:moveTo>
                <a:lnTo>
                  <a:pt x="465" y="1124"/>
                </a:lnTo>
                <a:lnTo>
                  <a:pt x="456" y="1124"/>
                </a:lnTo>
                <a:lnTo>
                  <a:pt x="456" y="1124"/>
                </a:lnTo>
                <a:lnTo>
                  <a:pt x="456" y="1124"/>
                </a:lnTo>
                <a:lnTo>
                  <a:pt x="456" y="1124"/>
                </a:lnTo>
                <a:close/>
                <a:moveTo>
                  <a:pt x="423" y="1169"/>
                </a:moveTo>
                <a:lnTo>
                  <a:pt x="435" y="1157"/>
                </a:lnTo>
                <a:lnTo>
                  <a:pt x="423" y="1169"/>
                </a:lnTo>
                <a:lnTo>
                  <a:pt x="423" y="1169"/>
                </a:lnTo>
                <a:lnTo>
                  <a:pt x="423" y="1169"/>
                </a:lnTo>
                <a:lnTo>
                  <a:pt x="423" y="1169"/>
                </a:lnTo>
                <a:close/>
                <a:moveTo>
                  <a:pt x="527" y="1230"/>
                </a:moveTo>
                <a:lnTo>
                  <a:pt x="520" y="1268"/>
                </a:lnTo>
                <a:lnTo>
                  <a:pt x="510" y="1268"/>
                </a:lnTo>
                <a:lnTo>
                  <a:pt x="510" y="1247"/>
                </a:lnTo>
                <a:lnTo>
                  <a:pt x="527" y="1230"/>
                </a:lnTo>
                <a:lnTo>
                  <a:pt x="527" y="1230"/>
                </a:lnTo>
                <a:lnTo>
                  <a:pt x="527" y="1230"/>
                </a:lnTo>
                <a:close/>
                <a:moveTo>
                  <a:pt x="489" y="1263"/>
                </a:moveTo>
                <a:lnTo>
                  <a:pt x="494" y="1268"/>
                </a:lnTo>
                <a:lnTo>
                  <a:pt x="489" y="1280"/>
                </a:lnTo>
                <a:lnTo>
                  <a:pt x="477" y="1280"/>
                </a:lnTo>
                <a:lnTo>
                  <a:pt x="472" y="1268"/>
                </a:lnTo>
                <a:lnTo>
                  <a:pt x="489" y="1263"/>
                </a:lnTo>
                <a:lnTo>
                  <a:pt x="489" y="1263"/>
                </a:lnTo>
                <a:lnTo>
                  <a:pt x="489" y="1263"/>
                </a:lnTo>
                <a:close/>
                <a:moveTo>
                  <a:pt x="423" y="1412"/>
                </a:moveTo>
                <a:lnTo>
                  <a:pt x="423" y="1419"/>
                </a:lnTo>
                <a:lnTo>
                  <a:pt x="402" y="1445"/>
                </a:lnTo>
                <a:lnTo>
                  <a:pt x="385" y="1436"/>
                </a:lnTo>
                <a:lnTo>
                  <a:pt x="423" y="1412"/>
                </a:lnTo>
                <a:lnTo>
                  <a:pt x="423" y="1412"/>
                </a:lnTo>
                <a:lnTo>
                  <a:pt x="423" y="1412"/>
                </a:lnTo>
                <a:close/>
                <a:moveTo>
                  <a:pt x="397" y="1436"/>
                </a:moveTo>
                <a:lnTo>
                  <a:pt x="402" y="1445"/>
                </a:lnTo>
                <a:lnTo>
                  <a:pt x="397" y="1445"/>
                </a:lnTo>
                <a:lnTo>
                  <a:pt x="397" y="1436"/>
                </a:lnTo>
                <a:lnTo>
                  <a:pt x="397" y="1436"/>
                </a:lnTo>
                <a:lnTo>
                  <a:pt x="397" y="1436"/>
                </a:lnTo>
                <a:close/>
                <a:moveTo>
                  <a:pt x="369" y="1457"/>
                </a:moveTo>
                <a:lnTo>
                  <a:pt x="380" y="1474"/>
                </a:lnTo>
                <a:lnTo>
                  <a:pt x="369" y="1485"/>
                </a:lnTo>
                <a:lnTo>
                  <a:pt x="369" y="1469"/>
                </a:lnTo>
                <a:lnTo>
                  <a:pt x="369" y="1457"/>
                </a:lnTo>
                <a:lnTo>
                  <a:pt x="369" y="1457"/>
                </a:lnTo>
                <a:lnTo>
                  <a:pt x="369" y="1457"/>
                </a:lnTo>
                <a:close/>
                <a:moveTo>
                  <a:pt x="347" y="1502"/>
                </a:moveTo>
                <a:lnTo>
                  <a:pt x="359" y="1502"/>
                </a:lnTo>
                <a:lnTo>
                  <a:pt x="347" y="1507"/>
                </a:lnTo>
                <a:lnTo>
                  <a:pt x="347" y="1502"/>
                </a:lnTo>
                <a:lnTo>
                  <a:pt x="347" y="1502"/>
                </a:lnTo>
                <a:lnTo>
                  <a:pt x="347" y="1502"/>
                </a:lnTo>
                <a:close/>
                <a:moveTo>
                  <a:pt x="326" y="1547"/>
                </a:moveTo>
                <a:lnTo>
                  <a:pt x="331" y="1547"/>
                </a:lnTo>
                <a:lnTo>
                  <a:pt x="326" y="1556"/>
                </a:lnTo>
                <a:lnTo>
                  <a:pt x="293" y="1580"/>
                </a:lnTo>
                <a:lnTo>
                  <a:pt x="293" y="1596"/>
                </a:lnTo>
                <a:lnTo>
                  <a:pt x="288" y="1601"/>
                </a:lnTo>
                <a:lnTo>
                  <a:pt x="288" y="1580"/>
                </a:lnTo>
                <a:lnTo>
                  <a:pt x="305" y="1568"/>
                </a:lnTo>
                <a:lnTo>
                  <a:pt x="305" y="1556"/>
                </a:lnTo>
                <a:lnTo>
                  <a:pt x="309" y="1563"/>
                </a:lnTo>
                <a:lnTo>
                  <a:pt x="326" y="1547"/>
                </a:lnTo>
                <a:lnTo>
                  <a:pt x="326" y="1547"/>
                </a:lnTo>
                <a:lnTo>
                  <a:pt x="326" y="1547"/>
                </a:lnTo>
                <a:close/>
                <a:moveTo>
                  <a:pt x="217" y="1580"/>
                </a:moveTo>
                <a:lnTo>
                  <a:pt x="222" y="1585"/>
                </a:lnTo>
                <a:lnTo>
                  <a:pt x="217" y="1580"/>
                </a:lnTo>
                <a:lnTo>
                  <a:pt x="217" y="1580"/>
                </a:lnTo>
                <a:lnTo>
                  <a:pt x="217" y="1580"/>
                </a:lnTo>
                <a:lnTo>
                  <a:pt x="217" y="1580"/>
                </a:lnTo>
                <a:close/>
                <a:moveTo>
                  <a:pt x="116" y="1696"/>
                </a:moveTo>
                <a:lnTo>
                  <a:pt x="125" y="1707"/>
                </a:lnTo>
                <a:lnTo>
                  <a:pt x="116" y="1707"/>
                </a:lnTo>
                <a:lnTo>
                  <a:pt x="116" y="1696"/>
                </a:lnTo>
                <a:lnTo>
                  <a:pt x="116" y="1696"/>
                </a:lnTo>
                <a:lnTo>
                  <a:pt x="116" y="1696"/>
                </a:lnTo>
                <a:close/>
                <a:moveTo>
                  <a:pt x="33" y="1729"/>
                </a:moveTo>
                <a:lnTo>
                  <a:pt x="40" y="1729"/>
                </a:lnTo>
                <a:lnTo>
                  <a:pt x="45" y="1724"/>
                </a:lnTo>
                <a:lnTo>
                  <a:pt x="40" y="1736"/>
                </a:lnTo>
                <a:lnTo>
                  <a:pt x="33" y="1736"/>
                </a:lnTo>
                <a:lnTo>
                  <a:pt x="33" y="1729"/>
                </a:lnTo>
                <a:lnTo>
                  <a:pt x="33" y="1729"/>
                </a:lnTo>
                <a:lnTo>
                  <a:pt x="33" y="1729"/>
                </a:lnTo>
                <a:close/>
                <a:moveTo>
                  <a:pt x="7" y="1729"/>
                </a:moveTo>
                <a:lnTo>
                  <a:pt x="24" y="1736"/>
                </a:lnTo>
                <a:lnTo>
                  <a:pt x="17" y="1745"/>
                </a:lnTo>
                <a:lnTo>
                  <a:pt x="0" y="1736"/>
                </a:lnTo>
                <a:lnTo>
                  <a:pt x="7" y="1729"/>
                </a:lnTo>
                <a:lnTo>
                  <a:pt x="7" y="1729"/>
                </a:lnTo>
                <a:lnTo>
                  <a:pt x="7" y="1729"/>
                </a:lnTo>
                <a:close/>
              </a:path>
            </a:pathLst>
          </a:custGeom>
          <a:pattFill prst="lt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78" name="Freeform 485">
            <a:extLst>
              <a:ext uri="{FF2B5EF4-FFF2-40B4-BE49-F238E27FC236}">
                <a16:creationId xmlns:a16="http://schemas.microsoft.com/office/drawing/2014/main" id="{386F8417-2CFA-4009-9ABF-ADCF17993093}"/>
              </a:ext>
            </a:extLst>
          </p:cNvPr>
          <p:cNvSpPr>
            <a:spLocks noEditPoints="1"/>
          </p:cNvSpPr>
          <p:nvPr/>
        </p:nvSpPr>
        <p:spPr bwMode="gray">
          <a:xfrm>
            <a:off x="9773349" y="5626334"/>
            <a:ext cx="205069" cy="205557"/>
          </a:xfrm>
          <a:custGeom>
            <a:avLst/>
            <a:gdLst>
              <a:gd name="T0" fmla="*/ 239 w 440"/>
              <a:gd name="T1" fmla="*/ 23 h 441"/>
              <a:gd name="T2" fmla="*/ 277 w 440"/>
              <a:gd name="T3" fmla="*/ 40 h 441"/>
              <a:gd name="T4" fmla="*/ 340 w 440"/>
              <a:gd name="T5" fmla="*/ 155 h 441"/>
              <a:gd name="T6" fmla="*/ 347 w 440"/>
              <a:gd name="T7" fmla="*/ 210 h 441"/>
              <a:gd name="T8" fmla="*/ 314 w 440"/>
              <a:gd name="T9" fmla="*/ 292 h 441"/>
              <a:gd name="T10" fmla="*/ 260 w 440"/>
              <a:gd name="T11" fmla="*/ 297 h 441"/>
              <a:gd name="T12" fmla="*/ 260 w 440"/>
              <a:gd name="T13" fmla="*/ 297 h 441"/>
              <a:gd name="T14" fmla="*/ 206 w 440"/>
              <a:gd name="T15" fmla="*/ 304 h 441"/>
              <a:gd name="T16" fmla="*/ 206 w 440"/>
              <a:gd name="T17" fmla="*/ 333 h 441"/>
              <a:gd name="T18" fmla="*/ 201 w 440"/>
              <a:gd name="T19" fmla="*/ 333 h 441"/>
              <a:gd name="T20" fmla="*/ 189 w 440"/>
              <a:gd name="T21" fmla="*/ 333 h 441"/>
              <a:gd name="T22" fmla="*/ 163 w 440"/>
              <a:gd name="T23" fmla="*/ 349 h 441"/>
              <a:gd name="T24" fmla="*/ 114 w 440"/>
              <a:gd name="T25" fmla="*/ 321 h 441"/>
              <a:gd name="T26" fmla="*/ 130 w 440"/>
              <a:gd name="T27" fmla="*/ 333 h 441"/>
              <a:gd name="T28" fmla="*/ 137 w 440"/>
              <a:gd name="T29" fmla="*/ 314 h 441"/>
              <a:gd name="T30" fmla="*/ 125 w 440"/>
              <a:gd name="T31" fmla="*/ 314 h 441"/>
              <a:gd name="T32" fmla="*/ 114 w 440"/>
              <a:gd name="T33" fmla="*/ 292 h 441"/>
              <a:gd name="T34" fmla="*/ 125 w 440"/>
              <a:gd name="T35" fmla="*/ 281 h 441"/>
              <a:gd name="T36" fmla="*/ 147 w 440"/>
              <a:gd name="T37" fmla="*/ 248 h 441"/>
              <a:gd name="T38" fmla="*/ 137 w 440"/>
              <a:gd name="T39" fmla="*/ 226 h 441"/>
              <a:gd name="T40" fmla="*/ 147 w 440"/>
              <a:gd name="T41" fmla="*/ 222 h 441"/>
              <a:gd name="T42" fmla="*/ 125 w 440"/>
              <a:gd name="T43" fmla="*/ 155 h 441"/>
              <a:gd name="T44" fmla="*/ 109 w 440"/>
              <a:gd name="T45" fmla="*/ 155 h 441"/>
              <a:gd name="T46" fmla="*/ 125 w 440"/>
              <a:gd name="T47" fmla="*/ 148 h 441"/>
              <a:gd name="T48" fmla="*/ 130 w 440"/>
              <a:gd name="T49" fmla="*/ 148 h 441"/>
              <a:gd name="T50" fmla="*/ 151 w 440"/>
              <a:gd name="T51" fmla="*/ 155 h 441"/>
              <a:gd name="T52" fmla="*/ 151 w 440"/>
              <a:gd name="T53" fmla="*/ 115 h 441"/>
              <a:gd name="T54" fmla="*/ 151 w 440"/>
              <a:gd name="T55" fmla="*/ 111 h 441"/>
              <a:gd name="T56" fmla="*/ 130 w 440"/>
              <a:gd name="T57" fmla="*/ 73 h 441"/>
              <a:gd name="T58" fmla="*/ 147 w 440"/>
              <a:gd name="T59" fmla="*/ 61 h 441"/>
              <a:gd name="T60" fmla="*/ 7 w 440"/>
              <a:gd name="T61" fmla="*/ 61 h 441"/>
              <a:gd name="T62" fmla="*/ 7 w 440"/>
              <a:gd name="T63" fmla="*/ 56 h 441"/>
              <a:gd name="T64" fmla="*/ 130 w 440"/>
              <a:gd name="T65" fmla="*/ 82 h 441"/>
              <a:gd name="T66" fmla="*/ 130 w 440"/>
              <a:gd name="T67" fmla="*/ 73 h 441"/>
              <a:gd name="T68" fmla="*/ 440 w 440"/>
              <a:gd name="T69" fmla="*/ 94 h 441"/>
              <a:gd name="T70" fmla="*/ 440 w 440"/>
              <a:gd name="T71" fmla="*/ 94 h 441"/>
              <a:gd name="T72" fmla="*/ 125 w 440"/>
              <a:gd name="T73" fmla="*/ 181 h 441"/>
              <a:gd name="T74" fmla="*/ 125 w 440"/>
              <a:gd name="T75" fmla="*/ 181 h 441"/>
              <a:gd name="T76" fmla="*/ 288 w 440"/>
              <a:gd name="T77" fmla="*/ 304 h 441"/>
              <a:gd name="T78" fmla="*/ 277 w 440"/>
              <a:gd name="T79" fmla="*/ 314 h 441"/>
              <a:gd name="T80" fmla="*/ 288 w 440"/>
              <a:gd name="T81" fmla="*/ 304 h 441"/>
              <a:gd name="T82" fmla="*/ 234 w 440"/>
              <a:gd name="T83" fmla="*/ 314 h 441"/>
              <a:gd name="T84" fmla="*/ 222 w 440"/>
              <a:gd name="T85" fmla="*/ 321 h 441"/>
              <a:gd name="T86" fmla="*/ 234 w 440"/>
              <a:gd name="T87" fmla="*/ 304 h 441"/>
              <a:gd name="T88" fmla="*/ 222 w 440"/>
              <a:gd name="T89" fmla="*/ 333 h 441"/>
              <a:gd name="T90" fmla="*/ 222 w 440"/>
              <a:gd name="T91" fmla="*/ 333 h 441"/>
              <a:gd name="T92" fmla="*/ 114 w 440"/>
              <a:gd name="T93" fmla="*/ 349 h 441"/>
              <a:gd name="T94" fmla="*/ 125 w 440"/>
              <a:gd name="T95" fmla="*/ 337 h 441"/>
              <a:gd name="T96" fmla="*/ 222 w 440"/>
              <a:gd name="T97" fmla="*/ 337 h 441"/>
              <a:gd name="T98" fmla="*/ 222 w 440"/>
              <a:gd name="T99" fmla="*/ 337 h 441"/>
              <a:gd name="T100" fmla="*/ 184 w 440"/>
              <a:gd name="T101" fmla="*/ 337 h 441"/>
              <a:gd name="T102" fmla="*/ 184 w 440"/>
              <a:gd name="T103" fmla="*/ 337 h 441"/>
              <a:gd name="T104" fmla="*/ 147 w 440"/>
              <a:gd name="T105" fmla="*/ 349 h 441"/>
              <a:gd name="T106" fmla="*/ 147 w 440"/>
              <a:gd name="T107" fmla="*/ 349 h 441"/>
              <a:gd name="T108" fmla="*/ 151 w 440"/>
              <a:gd name="T109" fmla="*/ 415 h 441"/>
              <a:gd name="T110" fmla="*/ 114 w 440"/>
              <a:gd name="T111" fmla="*/ 441 h 441"/>
              <a:gd name="T112" fmla="*/ 151 w 440"/>
              <a:gd name="T113" fmla="*/ 415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0" h="441">
                <a:moveTo>
                  <a:pt x="147" y="61"/>
                </a:moveTo>
                <a:lnTo>
                  <a:pt x="180" y="28"/>
                </a:lnTo>
                <a:lnTo>
                  <a:pt x="239" y="23"/>
                </a:lnTo>
                <a:lnTo>
                  <a:pt x="255" y="16"/>
                </a:lnTo>
                <a:lnTo>
                  <a:pt x="260" y="0"/>
                </a:lnTo>
                <a:lnTo>
                  <a:pt x="277" y="40"/>
                </a:lnTo>
                <a:lnTo>
                  <a:pt x="310" y="78"/>
                </a:lnTo>
                <a:lnTo>
                  <a:pt x="340" y="132"/>
                </a:lnTo>
                <a:lnTo>
                  <a:pt x="340" y="155"/>
                </a:lnTo>
                <a:lnTo>
                  <a:pt x="331" y="210"/>
                </a:lnTo>
                <a:lnTo>
                  <a:pt x="340" y="222"/>
                </a:lnTo>
                <a:lnTo>
                  <a:pt x="347" y="210"/>
                </a:lnTo>
                <a:lnTo>
                  <a:pt x="347" y="210"/>
                </a:lnTo>
                <a:lnTo>
                  <a:pt x="340" y="248"/>
                </a:lnTo>
                <a:lnTo>
                  <a:pt x="314" y="292"/>
                </a:lnTo>
                <a:lnTo>
                  <a:pt x="293" y="292"/>
                </a:lnTo>
                <a:lnTo>
                  <a:pt x="277" y="281"/>
                </a:lnTo>
                <a:lnTo>
                  <a:pt x="260" y="297"/>
                </a:lnTo>
                <a:lnTo>
                  <a:pt x="272" y="297"/>
                </a:lnTo>
                <a:lnTo>
                  <a:pt x="272" y="314"/>
                </a:lnTo>
                <a:lnTo>
                  <a:pt x="260" y="297"/>
                </a:lnTo>
                <a:lnTo>
                  <a:pt x="255" y="304"/>
                </a:lnTo>
                <a:lnTo>
                  <a:pt x="239" y="297"/>
                </a:lnTo>
                <a:lnTo>
                  <a:pt x="206" y="304"/>
                </a:lnTo>
                <a:lnTo>
                  <a:pt x="206" y="314"/>
                </a:lnTo>
                <a:lnTo>
                  <a:pt x="222" y="314"/>
                </a:lnTo>
                <a:lnTo>
                  <a:pt x="206" y="333"/>
                </a:lnTo>
                <a:lnTo>
                  <a:pt x="201" y="304"/>
                </a:lnTo>
                <a:lnTo>
                  <a:pt x="189" y="321"/>
                </a:lnTo>
                <a:lnTo>
                  <a:pt x="201" y="333"/>
                </a:lnTo>
                <a:lnTo>
                  <a:pt x="189" y="337"/>
                </a:lnTo>
                <a:lnTo>
                  <a:pt x="180" y="337"/>
                </a:lnTo>
                <a:lnTo>
                  <a:pt x="189" y="333"/>
                </a:lnTo>
                <a:lnTo>
                  <a:pt x="189" y="321"/>
                </a:lnTo>
                <a:lnTo>
                  <a:pt x="168" y="333"/>
                </a:lnTo>
                <a:lnTo>
                  <a:pt x="163" y="349"/>
                </a:lnTo>
                <a:lnTo>
                  <a:pt x="151" y="333"/>
                </a:lnTo>
                <a:lnTo>
                  <a:pt x="137" y="354"/>
                </a:lnTo>
                <a:lnTo>
                  <a:pt x="114" y="321"/>
                </a:lnTo>
                <a:lnTo>
                  <a:pt x="114" y="321"/>
                </a:lnTo>
                <a:lnTo>
                  <a:pt x="130" y="333"/>
                </a:lnTo>
                <a:lnTo>
                  <a:pt x="130" y="333"/>
                </a:lnTo>
                <a:lnTo>
                  <a:pt x="137" y="333"/>
                </a:lnTo>
                <a:lnTo>
                  <a:pt x="130" y="321"/>
                </a:lnTo>
                <a:lnTo>
                  <a:pt x="137" y="314"/>
                </a:lnTo>
                <a:lnTo>
                  <a:pt x="130" y="304"/>
                </a:lnTo>
                <a:lnTo>
                  <a:pt x="130" y="314"/>
                </a:lnTo>
                <a:lnTo>
                  <a:pt x="125" y="314"/>
                </a:lnTo>
                <a:lnTo>
                  <a:pt x="125" y="297"/>
                </a:lnTo>
                <a:lnTo>
                  <a:pt x="114" y="304"/>
                </a:lnTo>
                <a:lnTo>
                  <a:pt x="114" y="292"/>
                </a:lnTo>
                <a:lnTo>
                  <a:pt x="125" y="281"/>
                </a:lnTo>
                <a:lnTo>
                  <a:pt x="125" y="297"/>
                </a:lnTo>
                <a:lnTo>
                  <a:pt x="125" y="281"/>
                </a:lnTo>
                <a:lnTo>
                  <a:pt x="125" y="264"/>
                </a:lnTo>
                <a:lnTo>
                  <a:pt x="130" y="259"/>
                </a:lnTo>
                <a:lnTo>
                  <a:pt x="147" y="248"/>
                </a:lnTo>
                <a:lnTo>
                  <a:pt x="130" y="243"/>
                </a:lnTo>
                <a:lnTo>
                  <a:pt x="151" y="226"/>
                </a:lnTo>
                <a:lnTo>
                  <a:pt x="137" y="226"/>
                </a:lnTo>
                <a:lnTo>
                  <a:pt x="137" y="222"/>
                </a:lnTo>
                <a:lnTo>
                  <a:pt x="151" y="210"/>
                </a:lnTo>
                <a:lnTo>
                  <a:pt x="147" y="222"/>
                </a:lnTo>
                <a:lnTo>
                  <a:pt x="130" y="205"/>
                </a:lnTo>
                <a:lnTo>
                  <a:pt x="130" y="155"/>
                </a:lnTo>
                <a:lnTo>
                  <a:pt x="125" y="155"/>
                </a:lnTo>
                <a:lnTo>
                  <a:pt x="114" y="172"/>
                </a:lnTo>
                <a:lnTo>
                  <a:pt x="114" y="155"/>
                </a:lnTo>
                <a:lnTo>
                  <a:pt x="109" y="155"/>
                </a:lnTo>
                <a:lnTo>
                  <a:pt x="114" y="139"/>
                </a:lnTo>
                <a:lnTo>
                  <a:pt x="114" y="148"/>
                </a:lnTo>
                <a:lnTo>
                  <a:pt x="125" y="148"/>
                </a:lnTo>
                <a:lnTo>
                  <a:pt x="125" y="132"/>
                </a:lnTo>
                <a:lnTo>
                  <a:pt x="125" y="132"/>
                </a:lnTo>
                <a:lnTo>
                  <a:pt x="130" y="148"/>
                </a:lnTo>
                <a:lnTo>
                  <a:pt x="130" y="132"/>
                </a:lnTo>
                <a:lnTo>
                  <a:pt x="151" y="139"/>
                </a:lnTo>
                <a:lnTo>
                  <a:pt x="151" y="155"/>
                </a:lnTo>
                <a:lnTo>
                  <a:pt x="168" y="139"/>
                </a:lnTo>
                <a:lnTo>
                  <a:pt x="147" y="132"/>
                </a:lnTo>
                <a:lnTo>
                  <a:pt x="151" y="115"/>
                </a:lnTo>
                <a:lnTo>
                  <a:pt x="137" y="127"/>
                </a:lnTo>
                <a:lnTo>
                  <a:pt x="137" y="115"/>
                </a:lnTo>
                <a:lnTo>
                  <a:pt x="151" y="111"/>
                </a:lnTo>
                <a:lnTo>
                  <a:pt x="147" y="111"/>
                </a:lnTo>
                <a:lnTo>
                  <a:pt x="130" y="78"/>
                </a:lnTo>
                <a:lnTo>
                  <a:pt x="130" y="73"/>
                </a:lnTo>
                <a:lnTo>
                  <a:pt x="147" y="78"/>
                </a:lnTo>
                <a:lnTo>
                  <a:pt x="147" y="61"/>
                </a:lnTo>
                <a:lnTo>
                  <a:pt x="147" y="61"/>
                </a:lnTo>
                <a:lnTo>
                  <a:pt x="147" y="61"/>
                </a:lnTo>
                <a:close/>
                <a:moveTo>
                  <a:pt x="7" y="56"/>
                </a:moveTo>
                <a:lnTo>
                  <a:pt x="7" y="61"/>
                </a:lnTo>
                <a:lnTo>
                  <a:pt x="0" y="56"/>
                </a:lnTo>
                <a:lnTo>
                  <a:pt x="7" y="56"/>
                </a:lnTo>
                <a:lnTo>
                  <a:pt x="7" y="56"/>
                </a:lnTo>
                <a:lnTo>
                  <a:pt x="7" y="56"/>
                </a:lnTo>
                <a:close/>
                <a:moveTo>
                  <a:pt x="130" y="73"/>
                </a:moveTo>
                <a:lnTo>
                  <a:pt x="130" y="82"/>
                </a:lnTo>
                <a:lnTo>
                  <a:pt x="125" y="82"/>
                </a:lnTo>
                <a:lnTo>
                  <a:pt x="125" y="73"/>
                </a:lnTo>
                <a:lnTo>
                  <a:pt x="130" y="73"/>
                </a:lnTo>
                <a:lnTo>
                  <a:pt x="130" y="73"/>
                </a:lnTo>
                <a:lnTo>
                  <a:pt x="130" y="73"/>
                </a:lnTo>
                <a:close/>
                <a:moveTo>
                  <a:pt x="440" y="94"/>
                </a:moveTo>
                <a:lnTo>
                  <a:pt x="440" y="99"/>
                </a:lnTo>
                <a:lnTo>
                  <a:pt x="433" y="94"/>
                </a:lnTo>
                <a:lnTo>
                  <a:pt x="440" y="94"/>
                </a:lnTo>
                <a:lnTo>
                  <a:pt x="440" y="94"/>
                </a:lnTo>
                <a:lnTo>
                  <a:pt x="440" y="94"/>
                </a:lnTo>
                <a:close/>
                <a:moveTo>
                  <a:pt x="125" y="181"/>
                </a:moveTo>
                <a:lnTo>
                  <a:pt x="125" y="181"/>
                </a:lnTo>
                <a:lnTo>
                  <a:pt x="125" y="165"/>
                </a:lnTo>
                <a:lnTo>
                  <a:pt x="125" y="181"/>
                </a:lnTo>
                <a:lnTo>
                  <a:pt x="125" y="181"/>
                </a:lnTo>
                <a:lnTo>
                  <a:pt x="125" y="181"/>
                </a:lnTo>
                <a:close/>
                <a:moveTo>
                  <a:pt x="288" y="304"/>
                </a:moveTo>
                <a:lnTo>
                  <a:pt x="288" y="314"/>
                </a:lnTo>
                <a:lnTo>
                  <a:pt x="277" y="321"/>
                </a:lnTo>
                <a:lnTo>
                  <a:pt x="277" y="314"/>
                </a:lnTo>
                <a:lnTo>
                  <a:pt x="272" y="304"/>
                </a:lnTo>
                <a:lnTo>
                  <a:pt x="288" y="304"/>
                </a:lnTo>
                <a:lnTo>
                  <a:pt x="288" y="304"/>
                </a:lnTo>
                <a:lnTo>
                  <a:pt x="288" y="304"/>
                </a:lnTo>
                <a:close/>
                <a:moveTo>
                  <a:pt x="234" y="304"/>
                </a:moveTo>
                <a:lnTo>
                  <a:pt x="234" y="314"/>
                </a:lnTo>
                <a:lnTo>
                  <a:pt x="239" y="314"/>
                </a:lnTo>
                <a:lnTo>
                  <a:pt x="239" y="321"/>
                </a:lnTo>
                <a:lnTo>
                  <a:pt x="222" y="321"/>
                </a:lnTo>
                <a:lnTo>
                  <a:pt x="222" y="304"/>
                </a:lnTo>
                <a:lnTo>
                  <a:pt x="234" y="304"/>
                </a:lnTo>
                <a:lnTo>
                  <a:pt x="234" y="304"/>
                </a:lnTo>
                <a:lnTo>
                  <a:pt x="234" y="304"/>
                </a:lnTo>
                <a:close/>
                <a:moveTo>
                  <a:pt x="222" y="333"/>
                </a:moveTo>
                <a:lnTo>
                  <a:pt x="222" y="333"/>
                </a:lnTo>
                <a:lnTo>
                  <a:pt x="218" y="333"/>
                </a:lnTo>
                <a:lnTo>
                  <a:pt x="222" y="333"/>
                </a:lnTo>
                <a:lnTo>
                  <a:pt x="222" y="333"/>
                </a:lnTo>
                <a:lnTo>
                  <a:pt x="222" y="333"/>
                </a:lnTo>
                <a:close/>
                <a:moveTo>
                  <a:pt x="125" y="337"/>
                </a:moveTo>
                <a:lnTo>
                  <a:pt x="114" y="349"/>
                </a:lnTo>
                <a:lnTo>
                  <a:pt x="99" y="349"/>
                </a:lnTo>
                <a:lnTo>
                  <a:pt x="114" y="333"/>
                </a:lnTo>
                <a:lnTo>
                  <a:pt x="125" y="337"/>
                </a:lnTo>
                <a:lnTo>
                  <a:pt x="125" y="337"/>
                </a:lnTo>
                <a:lnTo>
                  <a:pt x="125" y="337"/>
                </a:lnTo>
                <a:close/>
                <a:moveTo>
                  <a:pt x="222" y="337"/>
                </a:moveTo>
                <a:lnTo>
                  <a:pt x="222" y="337"/>
                </a:lnTo>
                <a:lnTo>
                  <a:pt x="218" y="337"/>
                </a:lnTo>
                <a:lnTo>
                  <a:pt x="222" y="337"/>
                </a:lnTo>
                <a:lnTo>
                  <a:pt x="222" y="337"/>
                </a:lnTo>
                <a:lnTo>
                  <a:pt x="222" y="337"/>
                </a:lnTo>
                <a:close/>
                <a:moveTo>
                  <a:pt x="184" y="337"/>
                </a:moveTo>
                <a:lnTo>
                  <a:pt x="184" y="349"/>
                </a:lnTo>
                <a:lnTo>
                  <a:pt x="180" y="349"/>
                </a:lnTo>
                <a:lnTo>
                  <a:pt x="184" y="337"/>
                </a:lnTo>
                <a:lnTo>
                  <a:pt x="184" y="337"/>
                </a:lnTo>
                <a:lnTo>
                  <a:pt x="184" y="337"/>
                </a:lnTo>
                <a:close/>
                <a:moveTo>
                  <a:pt x="147" y="349"/>
                </a:moveTo>
                <a:lnTo>
                  <a:pt x="147" y="354"/>
                </a:lnTo>
                <a:lnTo>
                  <a:pt x="137" y="354"/>
                </a:lnTo>
                <a:lnTo>
                  <a:pt x="147" y="349"/>
                </a:lnTo>
                <a:lnTo>
                  <a:pt x="147" y="349"/>
                </a:lnTo>
                <a:lnTo>
                  <a:pt x="147" y="349"/>
                </a:lnTo>
                <a:close/>
                <a:moveTo>
                  <a:pt x="151" y="415"/>
                </a:moveTo>
                <a:lnTo>
                  <a:pt x="163" y="425"/>
                </a:lnTo>
                <a:lnTo>
                  <a:pt x="151" y="432"/>
                </a:lnTo>
                <a:lnTo>
                  <a:pt x="114" y="441"/>
                </a:lnTo>
                <a:lnTo>
                  <a:pt x="109" y="441"/>
                </a:lnTo>
                <a:lnTo>
                  <a:pt x="114" y="425"/>
                </a:lnTo>
                <a:lnTo>
                  <a:pt x="151" y="415"/>
                </a:lnTo>
                <a:lnTo>
                  <a:pt x="151" y="415"/>
                </a:lnTo>
                <a:lnTo>
                  <a:pt x="151" y="415"/>
                </a:lnTo>
                <a:close/>
              </a:path>
            </a:pathLst>
          </a:custGeom>
          <a:pattFill prst="lt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5" name="Gruppieren 14">
            <a:extLst>
              <a:ext uri="{FF2B5EF4-FFF2-40B4-BE49-F238E27FC236}">
                <a16:creationId xmlns:a16="http://schemas.microsoft.com/office/drawing/2014/main" id="{268023C0-C5BB-41F3-A3BD-DB25EDAF6A88}"/>
              </a:ext>
            </a:extLst>
          </p:cNvPr>
          <p:cNvGrpSpPr/>
          <p:nvPr/>
        </p:nvGrpSpPr>
        <p:grpSpPr bwMode="gray">
          <a:xfrm>
            <a:off x="1830233" y="5850536"/>
            <a:ext cx="3127752" cy="2315660"/>
            <a:chOff x="1830233" y="5850536"/>
            <a:chExt cx="3127752" cy="2315660"/>
          </a:xfrm>
          <a:pattFill prst="ltUpDiag">
            <a:fgClr>
              <a:schemeClr val="bg2">
                <a:lumMod val="90000"/>
              </a:schemeClr>
            </a:fgClr>
            <a:bgClr>
              <a:schemeClr val="bg1"/>
            </a:bgClr>
          </a:pattFill>
        </p:grpSpPr>
        <p:sp>
          <p:nvSpPr>
            <p:cNvPr id="5791" name="Freeform 377">
              <a:extLst>
                <a:ext uri="{FF2B5EF4-FFF2-40B4-BE49-F238E27FC236}">
                  <a16:creationId xmlns:a16="http://schemas.microsoft.com/office/drawing/2014/main" id="{EBD25C06-D41D-461C-B452-573A5CA638FA}"/>
                </a:ext>
              </a:extLst>
            </p:cNvPr>
            <p:cNvSpPr>
              <a:spLocks/>
            </p:cNvSpPr>
            <p:nvPr/>
          </p:nvSpPr>
          <p:spPr bwMode="gray">
            <a:xfrm>
              <a:off x="3405528" y="6564158"/>
              <a:ext cx="7923" cy="7924"/>
            </a:xfrm>
            <a:custGeom>
              <a:avLst/>
              <a:gdLst>
                <a:gd name="T0" fmla="*/ 17 w 17"/>
                <a:gd name="T1" fmla="*/ 17 h 17"/>
                <a:gd name="T2" fmla="*/ 0 w 17"/>
                <a:gd name="T3" fmla="*/ 7 h 17"/>
                <a:gd name="T4" fmla="*/ 0 w 17"/>
                <a:gd name="T5" fmla="*/ 0 h 17"/>
                <a:gd name="T6" fmla="*/ 17 w 17"/>
                <a:gd name="T7" fmla="*/ 17 h 17"/>
                <a:gd name="T8" fmla="*/ 17 w 17"/>
                <a:gd name="T9" fmla="*/ 17 h 17"/>
                <a:gd name="T10" fmla="*/ 17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17" y="17"/>
                  </a:moveTo>
                  <a:lnTo>
                    <a:pt x="0" y="7"/>
                  </a:lnTo>
                  <a:lnTo>
                    <a:pt x="0" y="0"/>
                  </a:lnTo>
                  <a:lnTo>
                    <a:pt x="17" y="17"/>
                  </a:lnTo>
                  <a:lnTo>
                    <a:pt x="17" y="17"/>
                  </a:lnTo>
                  <a:lnTo>
                    <a:pt x="17"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92" name="Freeform 378">
              <a:extLst>
                <a:ext uri="{FF2B5EF4-FFF2-40B4-BE49-F238E27FC236}">
                  <a16:creationId xmlns:a16="http://schemas.microsoft.com/office/drawing/2014/main" id="{328BBBBB-60AC-4DD0-81B2-D265FE9B04D2}"/>
                </a:ext>
              </a:extLst>
            </p:cNvPr>
            <p:cNvSpPr>
              <a:spLocks noEditPoints="1"/>
            </p:cNvSpPr>
            <p:nvPr/>
          </p:nvSpPr>
          <p:spPr bwMode="gray">
            <a:xfrm>
              <a:off x="3674447" y="6390296"/>
              <a:ext cx="7457" cy="26569"/>
            </a:xfrm>
            <a:custGeom>
              <a:avLst/>
              <a:gdLst>
                <a:gd name="T0" fmla="*/ 16 w 16"/>
                <a:gd name="T1" fmla="*/ 12 h 57"/>
                <a:gd name="T2" fmla="*/ 9 w 16"/>
                <a:gd name="T3" fmla="*/ 5 h 57"/>
                <a:gd name="T4" fmla="*/ 9 w 16"/>
                <a:gd name="T5" fmla="*/ 0 h 57"/>
                <a:gd name="T6" fmla="*/ 16 w 16"/>
                <a:gd name="T7" fmla="*/ 5 h 57"/>
                <a:gd name="T8" fmla="*/ 16 w 16"/>
                <a:gd name="T9" fmla="*/ 12 h 57"/>
                <a:gd name="T10" fmla="*/ 16 w 16"/>
                <a:gd name="T11" fmla="*/ 12 h 57"/>
                <a:gd name="T12" fmla="*/ 16 w 16"/>
                <a:gd name="T13" fmla="*/ 12 h 57"/>
                <a:gd name="T14" fmla="*/ 16 w 16"/>
                <a:gd name="T15" fmla="*/ 57 h 57"/>
                <a:gd name="T16" fmla="*/ 0 w 16"/>
                <a:gd name="T17" fmla="*/ 45 h 57"/>
                <a:gd name="T18" fmla="*/ 9 w 16"/>
                <a:gd name="T19" fmla="*/ 40 h 57"/>
                <a:gd name="T20" fmla="*/ 16 w 16"/>
                <a:gd name="T21" fmla="*/ 45 h 57"/>
                <a:gd name="T22" fmla="*/ 16 w 16"/>
                <a:gd name="T23" fmla="*/ 57 h 57"/>
                <a:gd name="T24" fmla="*/ 16 w 16"/>
                <a:gd name="T25" fmla="*/ 57 h 57"/>
                <a:gd name="T26" fmla="*/ 16 w 16"/>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57">
                  <a:moveTo>
                    <a:pt x="16" y="12"/>
                  </a:moveTo>
                  <a:lnTo>
                    <a:pt x="9" y="5"/>
                  </a:lnTo>
                  <a:lnTo>
                    <a:pt x="9" y="0"/>
                  </a:lnTo>
                  <a:lnTo>
                    <a:pt x="16" y="5"/>
                  </a:lnTo>
                  <a:lnTo>
                    <a:pt x="16" y="12"/>
                  </a:lnTo>
                  <a:lnTo>
                    <a:pt x="16" y="12"/>
                  </a:lnTo>
                  <a:lnTo>
                    <a:pt x="16" y="12"/>
                  </a:lnTo>
                  <a:close/>
                  <a:moveTo>
                    <a:pt x="16" y="57"/>
                  </a:moveTo>
                  <a:lnTo>
                    <a:pt x="0" y="45"/>
                  </a:lnTo>
                  <a:lnTo>
                    <a:pt x="9" y="40"/>
                  </a:lnTo>
                  <a:lnTo>
                    <a:pt x="16" y="45"/>
                  </a:lnTo>
                  <a:lnTo>
                    <a:pt x="16" y="57"/>
                  </a:lnTo>
                  <a:lnTo>
                    <a:pt x="16" y="57"/>
                  </a:lnTo>
                  <a:lnTo>
                    <a:pt x="16" y="5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94" name="Freeform 391">
              <a:extLst>
                <a:ext uri="{FF2B5EF4-FFF2-40B4-BE49-F238E27FC236}">
                  <a16:creationId xmlns:a16="http://schemas.microsoft.com/office/drawing/2014/main" id="{650B260A-319D-40D9-BABD-5E676202C70D}"/>
                </a:ext>
              </a:extLst>
            </p:cNvPr>
            <p:cNvSpPr>
              <a:spLocks/>
            </p:cNvSpPr>
            <p:nvPr/>
          </p:nvSpPr>
          <p:spPr bwMode="gray">
            <a:xfrm>
              <a:off x="3750413" y="6539918"/>
              <a:ext cx="5593" cy="8857"/>
            </a:xfrm>
            <a:custGeom>
              <a:avLst/>
              <a:gdLst>
                <a:gd name="T0" fmla="*/ 7 w 12"/>
                <a:gd name="T1" fmla="*/ 19 h 19"/>
                <a:gd name="T2" fmla="*/ 0 w 12"/>
                <a:gd name="T3" fmla="*/ 19 h 19"/>
                <a:gd name="T4" fmla="*/ 0 w 12"/>
                <a:gd name="T5" fmla="*/ 0 h 19"/>
                <a:gd name="T6" fmla="*/ 12 w 12"/>
                <a:gd name="T7" fmla="*/ 12 h 19"/>
                <a:gd name="T8" fmla="*/ 7 w 12"/>
                <a:gd name="T9" fmla="*/ 19 h 19"/>
                <a:gd name="T10" fmla="*/ 7 w 12"/>
                <a:gd name="T11" fmla="*/ 19 h 19"/>
                <a:gd name="T12" fmla="*/ 7 w 12"/>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2" h="19">
                  <a:moveTo>
                    <a:pt x="7" y="19"/>
                  </a:moveTo>
                  <a:lnTo>
                    <a:pt x="0" y="19"/>
                  </a:lnTo>
                  <a:lnTo>
                    <a:pt x="0" y="0"/>
                  </a:lnTo>
                  <a:lnTo>
                    <a:pt x="12" y="12"/>
                  </a:lnTo>
                  <a:lnTo>
                    <a:pt x="7" y="19"/>
                  </a:lnTo>
                  <a:lnTo>
                    <a:pt x="7" y="19"/>
                  </a:lnTo>
                  <a:lnTo>
                    <a:pt x="7" y="1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95" name="Freeform 396">
              <a:extLst>
                <a:ext uri="{FF2B5EF4-FFF2-40B4-BE49-F238E27FC236}">
                  <a16:creationId xmlns:a16="http://schemas.microsoft.com/office/drawing/2014/main" id="{E32A0F64-F68C-410D-8AAD-D97C2DC87384}"/>
                </a:ext>
              </a:extLst>
            </p:cNvPr>
            <p:cNvSpPr>
              <a:spLocks noEditPoints="1"/>
            </p:cNvSpPr>
            <p:nvPr/>
          </p:nvSpPr>
          <p:spPr bwMode="gray">
            <a:xfrm>
              <a:off x="2781469" y="6365125"/>
              <a:ext cx="44275" cy="86697"/>
            </a:xfrm>
            <a:custGeom>
              <a:avLst/>
              <a:gdLst>
                <a:gd name="T0" fmla="*/ 24 w 95"/>
                <a:gd name="T1" fmla="*/ 186 h 186"/>
                <a:gd name="T2" fmla="*/ 0 w 95"/>
                <a:gd name="T3" fmla="*/ 186 h 186"/>
                <a:gd name="T4" fmla="*/ 7 w 95"/>
                <a:gd name="T5" fmla="*/ 42 h 186"/>
                <a:gd name="T6" fmla="*/ 7 w 95"/>
                <a:gd name="T7" fmla="*/ 37 h 186"/>
                <a:gd name="T8" fmla="*/ 17 w 95"/>
                <a:gd name="T9" fmla="*/ 26 h 186"/>
                <a:gd name="T10" fmla="*/ 24 w 95"/>
                <a:gd name="T11" fmla="*/ 37 h 186"/>
                <a:gd name="T12" fmla="*/ 57 w 95"/>
                <a:gd name="T13" fmla="*/ 0 h 186"/>
                <a:gd name="T14" fmla="*/ 62 w 95"/>
                <a:gd name="T15" fmla="*/ 0 h 186"/>
                <a:gd name="T16" fmla="*/ 62 w 95"/>
                <a:gd name="T17" fmla="*/ 4 h 186"/>
                <a:gd name="T18" fmla="*/ 78 w 95"/>
                <a:gd name="T19" fmla="*/ 4 h 186"/>
                <a:gd name="T20" fmla="*/ 78 w 95"/>
                <a:gd name="T21" fmla="*/ 9 h 186"/>
                <a:gd name="T22" fmla="*/ 62 w 95"/>
                <a:gd name="T23" fmla="*/ 59 h 186"/>
                <a:gd name="T24" fmla="*/ 62 w 95"/>
                <a:gd name="T25" fmla="*/ 92 h 186"/>
                <a:gd name="T26" fmla="*/ 73 w 95"/>
                <a:gd name="T27" fmla="*/ 111 h 186"/>
                <a:gd name="T28" fmla="*/ 62 w 95"/>
                <a:gd name="T29" fmla="*/ 137 h 186"/>
                <a:gd name="T30" fmla="*/ 62 w 95"/>
                <a:gd name="T31" fmla="*/ 132 h 186"/>
                <a:gd name="T32" fmla="*/ 45 w 95"/>
                <a:gd name="T33" fmla="*/ 153 h 186"/>
                <a:gd name="T34" fmla="*/ 33 w 95"/>
                <a:gd name="T35" fmla="*/ 165 h 186"/>
                <a:gd name="T36" fmla="*/ 24 w 95"/>
                <a:gd name="T37" fmla="*/ 177 h 186"/>
                <a:gd name="T38" fmla="*/ 24 w 95"/>
                <a:gd name="T39" fmla="*/ 186 h 186"/>
                <a:gd name="T40" fmla="*/ 24 w 95"/>
                <a:gd name="T41" fmla="*/ 186 h 186"/>
                <a:gd name="T42" fmla="*/ 24 w 95"/>
                <a:gd name="T43" fmla="*/ 186 h 186"/>
                <a:gd name="T44" fmla="*/ 95 w 95"/>
                <a:gd name="T45" fmla="*/ 26 h 186"/>
                <a:gd name="T46" fmla="*/ 90 w 95"/>
                <a:gd name="T47" fmla="*/ 37 h 186"/>
                <a:gd name="T48" fmla="*/ 95 w 95"/>
                <a:gd name="T49" fmla="*/ 21 h 186"/>
                <a:gd name="T50" fmla="*/ 95 w 95"/>
                <a:gd name="T51" fmla="*/ 26 h 186"/>
                <a:gd name="T52" fmla="*/ 95 w 95"/>
                <a:gd name="T53" fmla="*/ 26 h 186"/>
                <a:gd name="T54" fmla="*/ 95 w 95"/>
                <a:gd name="T55" fmla="*/ 2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5" h="186">
                  <a:moveTo>
                    <a:pt x="24" y="186"/>
                  </a:moveTo>
                  <a:lnTo>
                    <a:pt x="0" y="186"/>
                  </a:lnTo>
                  <a:lnTo>
                    <a:pt x="7" y="42"/>
                  </a:lnTo>
                  <a:lnTo>
                    <a:pt x="7" y="37"/>
                  </a:lnTo>
                  <a:lnTo>
                    <a:pt x="17" y="26"/>
                  </a:lnTo>
                  <a:lnTo>
                    <a:pt x="24" y="37"/>
                  </a:lnTo>
                  <a:lnTo>
                    <a:pt x="57" y="0"/>
                  </a:lnTo>
                  <a:lnTo>
                    <a:pt x="62" y="0"/>
                  </a:lnTo>
                  <a:lnTo>
                    <a:pt x="62" y="4"/>
                  </a:lnTo>
                  <a:lnTo>
                    <a:pt x="78" y="4"/>
                  </a:lnTo>
                  <a:lnTo>
                    <a:pt x="78" y="9"/>
                  </a:lnTo>
                  <a:lnTo>
                    <a:pt x="62" y="59"/>
                  </a:lnTo>
                  <a:lnTo>
                    <a:pt x="62" y="92"/>
                  </a:lnTo>
                  <a:lnTo>
                    <a:pt x="73" y="111"/>
                  </a:lnTo>
                  <a:lnTo>
                    <a:pt x="62" y="137"/>
                  </a:lnTo>
                  <a:lnTo>
                    <a:pt x="62" y="132"/>
                  </a:lnTo>
                  <a:lnTo>
                    <a:pt x="45" y="153"/>
                  </a:lnTo>
                  <a:lnTo>
                    <a:pt x="33" y="165"/>
                  </a:lnTo>
                  <a:lnTo>
                    <a:pt x="24" y="177"/>
                  </a:lnTo>
                  <a:lnTo>
                    <a:pt x="24" y="186"/>
                  </a:lnTo>
                  <a:lnTo>
                    <a:pt x="24" y="186"/>
                  </a:lnTo>
                  <a:lnTo>
                    <a:pt x="24" y="186"/>
                  </a:lnTo>
                  <a:close/>
                  <a:moveTo>
                    <a:pt x="95" y="26"/>
                  </a:moveTo>
                  <a:lnTo>
                    <a:pt x="90" y="37"/>
                  </a:lnTo>
                  <a:lnTo>
                    <a:pt x="95" y="21"/>
                  </a:lnTo>
                  <a:lnTo>
                    <a:pt x="95" y="26"/>
                  </a:lnTo>
                  <a:lnTo>
                    <a:pt x="95" y="26"/>
                  </a:lnTo>
                  <a:lnTo>
                    <a:pt x="95" y="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97" name="Freeform 403">
              <a:extLst>
                <a:ext uri="{FF2B5EF4-FFF2-40B4-BE49-F238E27FC236}">
                  <a16:creationId xmlns:a16="http://schemas.microsoft.com/office/drawing/2014/main" id="{9B9C992A-5A53-407C-8A79-3CDAE1F9A8E9}"/>
                </a:ext>
              </a:extLst>
            </p:cNvPr>
            <p:cNvSpPr>
              <a:spLocks noEditPoints="1"/>
            </p:cNvSpPr>
            <p:nvPr/>
          </p:nvSpPr>
          <p:spPr bwMode="gray">
            <a:xfrm>
              <a:off x="3277827" y="6813995"/>
              <a:ext cx="1284004" cy="1352201"/>
            </a:xfrm>
            <a:custGeom>
              <a:avLst/>
              <a:gdLst>
                <a:gd name="T0" fmla="*/ 291 w 2755"/>
                <a:gd name="T1" fmla="*/ 255 h 2901"/>
                <a:gd name="T2" fmla="*/ 593 w 2755"/>
                <a:gd name="T3" fmla="*/ 312 h 2901"/>
                <a:gd name="T4" fmla="*/ 702 w 2755"/>
                <a:gd name="T5" fmla="*/ 201 h 2901"/>
                <a:gd name="T6" fmla="*/ 794 w 2755"/>
                <a:gd name="T7" fmla="*/ 90 h 2901"/>
                <a:gd name="T8" fmla="*/ 967 w 2755"/>
                <a:gd name="T9" fmla="*/ 0 h 2901"/>
                <a:gd name="T10" fmla="*/ 1009 w 2755"/>
                <a:gd name="T11" fmla="*/ 246 h 2901"/>
                <a:gd name="T12" fmla="*/ 1172 w 2755"/>
                <a:gd name="T13" fmla="*/ 239 h 2901"/>
                <a:gd name="T14" fmla="*/ 1366 w 2755"/>
                <a:gd name="T15" fmla="*/ 206 h 2901"/>
                <a:gd name="T16" fmla="*/ 1604 w 2755"/>
                <a:gd name="T17" fmla="*/ 95 h 2901"/>
                <a:gd name="T18" fmla="*/ 1600 w 2755"/>
                <a:gd name="T19" fmla="*/ 390 h 2901"/>
                <a:gd name="T20" fmla="*/ 1637 w 2755"/>
                <a:gd name="T21" fmla="*/ 506 h 2901"/>
                <a:gd name="T22" fmla="*/ 1637 w 2755"/>
                <a:gd name="T23" fmla="*/ 539 h 2901"/>
                <a:gd name="T24" fmla="*/ 1784 w 2755"/>
                <a:gd name="T25" fmla="*/ 485 h 2901"/>
                <a:gd name="T26" fmla="*/ 1869 w 2755"/>
                <a:gd name="T27" fmla="*/ 423 h 2901"/>
                <a:gd name="T28" fmla="*/ 1982 w 2755"/>
                <a:gd name="T29" fmla="*/ 461 h 2901"/>
                <a:gd name="T30" fmla="*/ 2063 w 2755"/>
                <a:gd name="T31" fmla="*/ 506 h 2901"/>
                <a:gd name="T32" fmla="*/ 2091 w 2755"/>
                <a:gd name="T33" fmla="*/ 577 h 2901"/>
                <a:gd name="T34" fmla="*/ 2301 w 2755"/>
                <a:gd name="T35" fmla="*/ 589 h 2901"/>
                <a:gd name="T36" fmla="*/ 2750 w 2755"/>
                <a:gd name="T37" fmla="*/ 884 h 2901"/>
                <a:gd name="T38" fmla="*/ 2594 w 2755"/>
                <a:gd name="T39" fmla="*/ 1172 h 2901"/>
                <a:gd name="T40" fmla="*/ 2469 w 2755"/>
                <a:gd name="T41" fmla="*/ 1309 h 2901"/>
                <a:gd name="T42" fmla="*/ 2448 w 2755"/>
                <a:gd name="T43" fmla="*/ 1625 h 2901"/>
                <a:gd name="T44" fmla="*/ 2322 w 2755"/>
                <a:gd name="T45" fmla="*/ 1937 h 2901"/>
                <a:gd name="T46" fmla="*/ 2117 w 2755"/>
                <a:gd name="T47" fmla="*/ 2053 h 2901"/>
                <a:gd name="T48" fmla="*/ 1944 w 2755"/>
                <a:gd name="T49" fmla="*/ 2143 h 2901"/>
                <a:gd name="T50" fmla="*/ 1777 w 2755"/>
                <a:gd name="T51" fmla="*/ 2287 h 2901"/>
                <a:gd name="T52" fmla="*/ 1767 w 2755"/>
                <a:gd name="T53" fmla="*/ 2476 h 2901"/>
                <a:gd name="T54" fmla="*/ 1600 w 2755"/>
                <a:gd name="T55" fmla="*/ 2719 h 2901"/>
                <a:gd name="T56" fmla="*/ 1604 w 2755"/>
                <a:gd name="T57" fmla="*/ 2625 h 2901"/>
                <a:gd name="T58" fmla="*/ 1496 w 2755"/>
                <a:gd name="T59" fmla="*/ 2851 h 2901"/>
                <a:gd name="T60" fmla="*/ 1210 w 2755"/>
                <a:gd name="T61" fmla="*/ 2620 h 2901"/>
                <a:gd name="T62" fmla="*/ 1281 w 2755"/>
                <a:gd name="T63" fmla="*/ 2464 h 2901"/>
                <a:gd name="T64" fmla="*/ 1366 w 2755"/>
                <a:gd name="T65" fmla="*/ 2259 h 2901"/>
                <a:gd name="T66" fmla="*/ 1238 w 2755"/>
                <a:gd name="T67" fmla="*/ 1992 h 2901"/>
                <a:gd name="T68" fmla="*/ 1146 w 2755"/>
                <a:gd name="T69" fmla="*/ 1659 h 2901"/>
                <a:gd name="T70" fmla="*/ 858 w 2755"/>
                <a:gd name="T71" fmla="*/ 1366 h 2901"/>
                <a:gd name="T72" fmla="*/ 631 w 2755"/>
                <a:gd name="T73" fmla="*/ 1243 h 2901"/>
                <a:gd name="T74" fmla="*/ 471 w 2755"/>
                <a:gd name="T75" fmla="*/ 1127 h 2901"/>
                <a:gd name="T76" fmla="*/ 248 w 2755"/>
                <a:gd name="T77" fmla="*/ 1061 h 2901"/>
                <a:gd name="T78" fmla="*/ 17 w 2755"/>
                <a:gd name="T79" fmla="*/ 888 h 2901"/>
                <a:gd name="T80" fmla="*/ 286 w 2755"/>
                <a:gd name="T81" fmla="*/ 683 h 2901"/>
                <a:gd name="T82" fmla="*/ 1685 w 2755"/>
                <a:gd name="T83" fmla="*/ 312 h 2901"/>
                <a:gd name="T84" fmla="*/ 1685 w 2755"/>
                <a:gd name="T85" fmla="*/ 333 h 2901"/>
                <a:gd name="T86" fmla="*/ 1706 w 2755"/>
                <a:gd name="T87" fmla="*/ 357 h 2901"/>
                <a:gd name="T88" fmla="*/ 1706 w 2755"/>
                <a:gd name="T89" fmla="*/ 390 h 2901"/>
                <a:gd name="T90" fmla="*/ 1621 w 2755"/>
                <a:gd name="T91" fmla="*/ 383 h 2901"/>
                <a:gd name="T92" fmla="*/ 1637 w 2755"/>
                <a:gd name="T93" fmla="*/ 411 h 2901"/>
                <a:gd name="T94" fmla="*/ 1685 w 2755"/>
                <a:gd name="T95" fmla="*/ 501 h 2901"/>
                <a:gd name="T96" fmla="*/ 1621 w 2755"/>
                <a:gd name="T97" fmla="*/ 407 h 2901"/>
                <a:gd name="T98" fmla="*/ 1630 w 2755"/>
                <a:gd name="T99" fmla="*/ 407 h 2901"/>
                <a:gd name="T100" fmla="*/ 1550 w 2755"/>
                <a:gd name="T101" fmla="*/ 485 h 2901"/>
                <a:gd name="T102" fmla="*/ 1831 w 2755"/>
                <a:gd name="T103" fmla="*/ 428 h 2901"/>
                <a:gd name="T104" fmla="*/ 1928 w 2755"/>
                <a:gd name="T105" fmla="*/ 449 h 2901"/>
                <a:gd name="T106" fmla="*/ 2037 w 2755"/>
                <a:gd name="T107" fmla="*/ 468 h 2901"/>
                <a:gd name="T108" fmla="*/ 1529 w 2755"/>
                <a:gd name="T109" fmla="*/ 501 h 2901"/>
                <a:gd name="T110" fmla="*/ 1760 w 2755"/>
                <a:gd name="T111" fmla="*/ 506 h 2901"/>
                <a:gd name="T112" fmla="*/ 2247 w 2755"/>
                <a:gd name="T113" fmla="*/ 577 h 2901"/>
                <a:gd name="T114" fmla="*/ 2485 w 2755"/>
                <a:gd name="T115" fmla="*/ 1309 h 2901"/>
                <a:gd name="T116" fmla="*/ 2464 w 2755"/>
                <a:gd name="T117" fmla="*/ 1370 h 2901"/>
                <a:gd name="T118" fmla="*/ 2020 w 2755"/>
                <a:gd name="T119" fmla="*/ 2143 h 2901"/>
                <a:gd name="T120" fmla="*/ 1777 w 2755"/>
                <a:gd name="T121" fmla="*/ 2313 h 2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55" h="2901">
                  <a:moveTo>
                    <a:pt x="286" y="683"/>
                  </a:moveTo>
                  <a:lnTo>
                    <a:pt x="324" y="477"/>
                  </a:lnTo>
                  <a:lnTo>
                    <a:pt x="324" y="449"/>
                  </a:lnTo>
                  <a:lnTo>
                    <a:pt x="308" y="428"/>
                  </a:lnTo>
                  <a:lnTo>
                    <a:pt x="308" y="411"/>
                  </a:lnTo>
                  <a:lnTo>
                    <a:pt x="274" y="390"/>
                  </a:lnTo>
                  <a:lnTo>
                    <a:pt x="274" y="333"/>
                  </a:lnTo>
                  <a:lnTo>
                    <a:pt x="324" y="329"/>
                  </a:lnTo>
                  <a:lnTo>
                    <a:pt x="329" y="333"/>
                  </a:lnTo>
                  <a:lnTo>
                    <a:pt x="345" y="333"/>
                  </a:lnTo>
                  <a:lnTo>
                    <a:pt x="341" y="317"/>
                  </a:lnTo>
                  <a:lnTo>
                    <a:pt x="329" y="300"/>
                  </a:lnTo>
                  <a:lnTo>
                    <a:pt x="291" y="300"/>
                  </a:lnTo>
                  <a:lnTo>
                    <a:pt x="291" y="255"/>
                  </a:lnTo>
                  <a:lnTo>
                    <a:pt x="319" y="246"/>
                  </a:lnTo>
                  <a:lnTo>
                    <a:pt x="411" y="255"/>
                  </a:lnTo>
                  <a:lnTo>
                    <a:pt x="400" y="246"/>
                  </a:lnTo>
                  <a:lnTo>
                    <a:pt x="411" y="239"/>
                  </a:lnTo>
                  <a:lnTo>
                    <a:pt x="433" y="255"/>
                  </a:lnTo>
                  <a:lnTo>
                    <a:pt x="466" y="222"/>
                  </a:lnTo>
                  <a:lnTo>
                    <a:pt x="471" y="222"/>
                  </a:lnTo>
                  <a:lnTo>
                    <a:pt x="487" y="263"/>
                  </a:lnTo>
                  <a:lnTo>
                    <a:pt x="487" y="296"/>
                  </a:lnTo>
                  <a:lnTo>
                    <a:pt x="504" y="296"/>
                  </a:lnTo>
                  <a:lnTo>
                    <a:pt x="541" y="329"/>
                  </a:lnTo>
                  <a:lnTo>
                    <a:pt x="556" y="329"/>
                  </a:lnTo>
                  <a:lnTo>
                    <a:pt x="579" y="312"/>
                  </a:lnTo>
                  <a:lnTo>
                    <a:pt x="593" y="312"/>
                  </a:lnTo>
                  <a:lnTo>
                    <a:pt x="593" y="329"/>
                  </a:lnTo>
                  <a:lnTo>
                    <a:pt x="593" y="333"/>
                  </a:lnTo>
                  <a:lnTo>
                    <a:pt x="610" y="312"/>
                  </a:lnTo>
                  <a:lnTo>
                    <a:pt x="617" y="312"/>
                  </a:lnTo>
                  <a:lnTo>
                    <a:pt x="626" y="296"/>
                  </a:lnTo>
                  <a:lnTo>
                    <a:pt x="648" y="284"/>
                  </a:lnTo>
                  <a:lnTo>
                    <a:pt x="659" y="284"/>
                  </a:lnTo>
                  <a:lnTo>
                    <a:pt x="681" y="267"/>
                  </a:lnTo>
                  <a:lnTo>
                    <a:pt x="685" y="267"/>
                  </a:lnTo>
                  <a:lnTo>
                    <a:pt x="697" y="263"/>
                  </a:lnTo>
                  <a:lnTo>
                    <a:pt x="702" y="239"/>
                  </a:lnTo>
                  <a:lnTo>
                    <a:pt x="752" y="222"/>
                  </a:lnTo>
                  <a:lnTo>
                    <a:pt x="752" y="206"/>
                  </a:lnTo>
                  <a:lnTo>
                    <a:pt x="702" y="201"/>
                  </a:lnTo>
                  <a:lnTo>
                    <a:pt x="702" y="185"/>
                  </a:lnTo>
                  <a:lnTo>
                    <a:pt x="685" y="152"/>
                  </a:lnTo>
                  <a:lnTo>
                    <a:pt x="685" y="118"/>
                  </a:lnTo>
                  <a:lnTo>
                    <a:pt x="659" y="90"/>
                  </a:lnTo>
                  <a:lnTo>
                    <a:pt x="648" y="74"/>
                  </a:lnTo>
                  <a:lnTo>
                    <a:pt x="664" y="78"/>
                  </a:lnTo>
                  <a:lnTo>
                    <a:pt x="697" y="78"/>
                  </a:lnTo>
                  <a:lnTo>
                    <a:pt x="702" y="95"/>
                  </a:lnTo>
                  <a:lnTo>
                    <a:pt x="719" y="95"/>
                  </a:lnTo>
                  <a:lnTo>
                    <a:pt x="740" y="102"/>
                  </a:lnTo>
                  <a:lnTo>
                    <a:pt x="752" y="95"/>
                  </a:lnTo>
                  <a:lnTo>
                    <a:pt x="778" y="118"/>
                  </a:lnTo>
                  <a:lnTo>
                    <a:pt x="794" y="111"/>
                  </a:lnTo>
                  <a:lnTo>
                    <a:pt x="794" y="90"/>
                  </a:lnTo>
                  <a:lnTo>
                    <a:pt x="806" y="90"/>
                  </a:lnTo>
                  <a:lnTo>
                    <a:pt x="811" y="78"/>
                  </a:lnTo>
                  <a:lnTo>
                    <a:pt x="832" y="78"/>
                  </a:lnTo>
                  <a:lnTo>
                    <a:pt x="858" y="78"/>
                  </a:lnTo>
                  <a:lnTo>
                    <a:pt x="865" y="74"/>
                  </a:lnTo>
                  <a:lnTo>
                    <a:pt x="874" y="74"/>
                  </a:lnTo>
                  <a:lnTo>
                    <a:pt x="882" y="62"/>
                  </a:lnTo>
                  <a:lnTo>
                    <a:pt x="896" y="57"/>
                  </a:lnTo>
                  <a:lnTo>
                    <a:pt x="919" y="45"/>
                  </a:lnTo>
                  <a:lnTo>
                    <a:pt x="929" y="40"/>
                  </a:lnTo>
                  <a:lnTo>
                    <a:pt x="941" y="24"/>
                  </a:lnTo>
                  <a:lnTo>
                    <a:pt x="941" y="7"/>
                  </a:lnTo>
                  <a:lnTo>
                    <a:pt x="933" y="0"/>
                  </a:lnTo>
                  <a:lnTo>
                    <a:pt x="967" y="0"/>
                  </a:lnTo>
                  <a:lnTo>
                    <a:pt x="971" y="0"/>
                  </a:lnTo>
                  <a:lnTo>
                    <a:pt x="983" y="7"/>
                  </a:lnTo>
                  <a:lnTo>
                    <a:pt x="988" y="17"/>
                  </a:lnTo>
                  <a:lnTo>
                    <a:pt x="983" y="40"/>
                  </a:lnTo>
                  <a:lnTo>
                    <a:pt x="971" y="57"/>
                  </a:lnTo>
                  <a:lnTo>
                    <a:pt x="1004" y="62"/>
                  </a:lnTo>
                  <a:lnTo>
                    <a:pt x="1004" y="74"/>
                  </a:lnTo>
                  <a:lnTo>
                    <a:pt x="1009" y="95"/>
                  </a:lnTo>
                  <a:lnTo>
                    <a:pt x="995" y="128"/>
                  </a:lnTo>
                  <a:lnTo>
                    <a:pt x="988" y="185"/>
                  </a:lnTo>
                  <a:lnTo>
                    <a:pt x="995" y="206"/>
                  </a:lnTo>
                  <a:lnTo>
                    <a:pt x="1004" y="211"/>
                  </a:lnTo>
                  <a:lnTo>
                    <a:pt x="1004" y="246"/>
                  </a:lnTo>
                  <a:lnTo>
                    <a:pt x="1009" y="246"/>
                  </a:lnTo>
                  <a:lnTo>
                    <a:pt x="1009" y="255"/>
                  </a:lnTo>
                  <a:lnTo>
                    <a:pt x="1021" y="255"/>
                  </a:lnTo>
                  <a:lnTo>
                    <a:pt x="1037" y="279"/>
                  </a:lnTo>
                  <a:lnTo>
                    <a:pt x="1059" y="284"/>
                  </a:lnTo>
                  <a:lnTo>
                    <a:pt x="1063" y="296"/>
                  </a:lnTo>
                  <a:lnTo>
                    <a:pt x="1075" y="284"/>
                  </a:lnTo>
                  <a:lnTo>
                    <a:pt x="1092" y="284"/>
                  </a:lnTo>
                  <a:lnTo>
                    <a:pt x="1092" y="267"/>
                  </a:lnTo>
                  <a:lnTo>
                    <a:pt x="1101" y="263"/>
                  </a:lnTo>
                  <a:lnTo>
                    <a:pt x="1130" y="267"/>
                  </a:lnTo>
                  <a:lnTo>
                    <a:pt x="1130" y="263"/>
                  </a:lnTo>
                  <a:lnTo>
                    <a:pt x="1146" y="255"/>
                  </a:lnTo>
                  <a:lnTo>
                    <a:pt x="1156" y="255"/>
                  </a:lnTo>
                  <a:lnTo>
                    <a:pt x="1172" y="239"/>
                  </a:lnTo>
                  <a:lnTo>
                    <a:pt x="1189" y="229"/>
                  </a:lnTo>
                  <a:lnTo>
                    <a:pt x="1210" y="246"/>
                  </a:lnTo>
                  <a:lnTo>
                    <a:pt x="1238" y="239"/>
                  </a:lnTo>
                  <a:lnTo>
                    <a:pt x="1264" y="246"/>
                  </a:lnTo>
                  <a:lnTo>
                    <a:pt x="1276" y="239"/>
                  </a:lnTo>
                  <a:lnTo>
                    <a:pt x="1276" y="229"/>
                  </a:lnTo>
                  <a:lnTo>
                    <a:pt x="1259" y="211"/>
                  </a:lnTo>
                  <a:lnTo>
                    <a:pt x="1264" y="201"/>
                  </a:lnTo>
                  <a:lnTo>
                    <a:pt x="1290" y="206"/>
                  </a:lnTo>
                  <a:lnTo>
                    <a:pt x="1335" y="189"/>
                  </a:lnTo>
                  <a:lnTo>
                    <a:pt x="1345" y="201"/>
                  </a:lnTo>
                  <a:lnTo>
                    <a:pt x="1361" y="201"/>
                  </a:lnTo>
                  <a:lnTo>
                    <a:pt x="1361" y="206"/>
                  </a:lnTo>
                  <a:lnTo>
                    <a:pt x="1366" y="206"/>
                  </a:lnTo>
                  <a:lnTo>
                    <a:pt x="1399" y="222"/>
                  </a:lnTo>
                  <a:lnTo>
                    <a:pt x="1420" y="206"/>
                  </a:lnTo>
                  <a:lnTo>
                    <a:pt x="1437" y="211"/>
                  </a:lnTo>
                  <a:lnTo>
                    <a:pt x="1453" y="206"/>
                  </a:lnTo>
                  <a:lnTo>
                    <a:pt x="1458" y="222"/>
                  </a:lnTo>
                  <a:lnTo>
                    <a:pt x="1479" y="222"/>
                  </a:lnTo>
                  <a:lnTo>
                    <a:pt x="1507" y="201"/>
                  </a:lnTo>
                  <a:lnTo>
                    <a:pt x="1524" y="152"/>
                  </a:lnTo>
                  <a:lnTo>
                    <a:pt x="1567" y="90"/>
                  </a:lnTo>
                  <a:lnTo>
                    <a:pt x="1578" y="78"/>
                  </a:lnTo>
                  <a:lnTo>
                    <a:pt x="1583" y="90"/>
                  </a:lnTo>
                  <a:lnTo>
                    <a:pt x="1578" y="62"/>
                  </a:lnTo>
                  <a:lnTo>
                    <a:pt x="1600" y="78"/>
                  </a:lnTo>
                  <a:lnTo>
                    <a:pt x="1604" y="95"/>
                  </a:lnTo>
                  <a:lnTo>
                    <a:pt x="1616" y="95"/>
                  </a:lnTo>
                  <a:lnTo>
                    <a:pt x="1616" y="152"/>
                  </a:lnTo>
                  <a:lnTo>
                    <a:pt x="1637" y="222"/>
                  </a:lnTo>
                  <a:lnTo>
                    <a:pt x="1654" y="246"/>
                  </a:lnTo>
                  <a:lnTo>
                    <a:pt x="1675" y="246"/>
                  </a:lnTo>
                  <a:lnTo>
                    <a:pt x="1692" y="255"/>
                  </a:lnTo>
                  <a:lnTo>
                    <a:pt x="1692" y="284"/>
                  </a:lnTo>
                  <a:lnTo>
                    <a:pt x="1675" y="296"/>
                  </a:lnTo>
                  <a:lnTo>
                    <a:pt x="1692" y="284"/>
                  </a:lnTo>
                  <a:lnTo>
                    <a:pt x="1692" y="296"/>
                  </a:lnTo>
                  <a:lnTo>
                    <a:pt x="1654" y="333"/>
                  </a:lnTo>
                  <a:lnTo>
                    <a:pt x="1630" y="366"/>
                  </a:lnTo>
                  <a:lnTo>
                    <a:pt x="1621" y="366"/>
                  </a:lnTo>
                  <a:lnTo>
                    <a:pt x="1600" y="390"/>
                  </a:lnTo>
                  <a:lnTo>
                    <a:pt x="1567" y="428"/>
                  </a:lnTo>
                  <a:lnTo>
                    <a:pt x="1567" y="449"/>
                  </a:lnTo>
                  <a:lnTo>
                    <a:pt x="1550" y="461"/>
                  </a:lnTo>
                  <a:lnTo>
                    <a:pt x="1550" y="477"/>
                  </a:lnTo>
                  <a:lnTo>
                    <a:pt x="1545" y="485"/>
                  </a:lnTo>
                  <a:lnTo>
                    <a:pt x="1529" y="477"/>
                  </a:lnTo>
                  <a:lnTo>
                    <a:pt x="1496" y="494"/>
                  </a:lnTo>
                  <a:lnTo>
                    <a:pt x="1529" y="494"/>
                  </a:lnTo>
                  <a:lnTo>
                    <a:pt x="1529" y="501"/>
                  </a:lnTo>
                  <a:lnTo>
                    <a:pt x="1600" y="468"/>
                  </a:lnTo>
                  <a:lnTo>
                    <a:pt x="1616" y="444"/>
                  </a:lnTo>
                  <a:lnTo>
                    <a:pt x="1630" y="444"/>
                  </a:lnTo>
                  <a:lnTo>
                    <a:pt x="1630" y="485"/>
                  </a:lnTo>
                  <a:lnTo>
                    <a:pt x="1637" y="506"/>
                  </a:lnTo>
                  <a:lnTo>
                    <a:pt x="1630" y="518"/>
                  </a:lnTo>
                  <a:lnTo>
                    <a:pt x="1604" y="506"/>
                  </a:lnTo>
                  <a:lnTo>
                    <a:pt x="1588" y="501"/>
                  </a:lnTo>
                  <a:lnTo>
                    <a:pt x="1583" y="522"/>
                  </a:lnTo>
                  <a:lnTo>
                    <a:pt x="1583" y="539"/>
                  </a:lnTo>
                  <a:lnTo>
                    <a:pt x="1588" y="551"/>
                  </a:lnTo>
                  <a:lnTo>
                    <a:pt x="1583" y="522"/>
                  </a:lnTo>
                  <a:lnTo>
                    <a:pt x="1600" y="506"/>
                  </a:lnTo>
                  <a:lnTo>
                    <a:pt x="1616" y="522"/>
                  </a:lnTo>
                  <a:lnTo>
                    <a:pt x="1616" y="551"/>
                  </a:lnTo>
                  <a:lnTo>
                    <a:pt x="1630" y="555"/>
                  </a:lnTo>
                  <a:lnTo>
                    <a:pt x="1616" y="551"/>
                  </a:lnTo>
                  <a:lnTo>
                    <a:pt x="1621" y="522"/>
                  </a:lnTo>
                  <a:lnTo>
                    <a:pt x="1637" y="539"/>
                  </a:lnTo>
                  <a:lnTo>
                    <a:pt x="1630" y="518"/>
                  </a:lnTo>
                  <a:lnTo>
                    <a:pt x="1637" y="506"/>
                  </a:lnTo>
                  <a:lnTo>
                    <a:pt x="1654" y="506"/>
                  </a:lnTo>
                  <a:lnTo>
                    <a:pt x="1659" y="518"/>
                  </a:lnTo>
                  <a:lnTo>
                    <a:pt x="1685" y="506"/>
                  </a:lnTo>
                  <a:lnTo>
                    <a:pt x="1696" y="518"/>
                  </a:lnTo>
                  <a:lnTo>
                    <a:pt x="1713" y="518"/>
                  </a:lnTo>
                  <a:lnTo>
                    <a:pt x="1739" y="501"/>
                  </a:lnTo>
                  <a:lnTo>
                    <a:pt x="1722" y="539"/>
                  </a:lnTo>
                  <a:lnTo>
                    <a:pt x="1722" y="560"/>
                  </a:lnTo>
                  <a:lnTo>
                    <a:pt x="1744" y="518"/>
                  </a:lnTo>
                  <a:lnTo>
                    <a:pt x="1760" y="506"/>
                  </a:lnTo>
                  <a:lnTo>
                    <a:pt x="1777" y="485"/>
                  </a:lnTo>
                  <a:lnTo>
                    <a:pt x="1784" y="485"/>
                  </a:lnTo>
                  <a:lnTo>
                    <a:pt x="1798" y="501"/>
                  </a:lnTo>
                  <a:lnTo>
                    <a:pt x="1798" y="485"/>
                  </a:lnTo>
                  <a:lnTo>
                    <a:pt x="1815" y="485"/>
                  </a:lnTo>
                  <a:lnTo>
                    <a:pt x="1793" y="485"/>
                  </a:lnTo>
                  <a:lnTo>
                    <a:pt x="1793" y="468"/>
                  </a:lnTo>
                  <a:lnTo>
                    <a:pt x="1805" y="477"/>
                  </a:lnTo>
                  <a:lnTo>
                    <a:pt x="1805" y="444"/>
                  </a:lnTo>
                  <a:lnTo>
                    <a:pt x="1822" y="428"/>
                  </a:lnTo>
                  <a:lnTo>
                    <a:pt x="1831" y="440"/>
                  </a:lnTo>
                  <a:lnTo>
                    <a:pt x="1848" y="423"/>
                  </a:lnTo>
                  <a:lnTo>
                    <a:pt x="1848" y="440"/>
                  </a:lnTo>
                  <a:lnTo>
                    <a:pt x="1859" y="423"/>
                  </a:lnTo>
                  <a:lnTo>
                    <a:pt x="1869" y="440"/>
                  </a:lnTo>
                  <a:lnTo>
                    <a:pt x="1869" y="423"/>
                  </a:lnTo>
                  <a:lnTo>
                    <a:pt x="1890" y="428"/>
                  </a:lnTo>
                  <a:lnTo>
                    <a:pt x="1902" y="428"/>
                  </a:lnTo>
                  <a:lnTo>
                    <a:pt x="1902" y="444"/>
                  </a:lnTo>
                  <a:lnTo>
                    <a:pt x="1907" y="428"/>
                  </a:lnTo>
                  <a:lnTo>
                    <a:pt x="1911" y="440"/>
                  </a:lnTo>
                  <a:lnTo>
                    <a:pt x="1923" y="440"/>
                  </a:lnTo>
                  <a:lnTo>
                    <a:pt x="1923" y="449"/>
                  </a:lnTo>
                  <a:lnTo>
                    <a:pt x="1956" y="444"/>
                  </a:lnTo>
                  <a:lnTo>
                    <a:pt x="1944" y="461"/>
                  </a:lnTo>
                  <a:lnTo>
                    <a:pt x="1961" y="461"/>
                  </a:lnTo>
                  <a:lnTo>
                    <a:pt x="1961" y="468"/>
                  </a:lnTo>
                  <a:lnTo>
                    <a:pt x="1966" y="449"/>
                  </a:lnTo>
                  <a:lnTo>
                    <a:pt x="1978" y="468"/>
                  </a:lnTo>
                  <a:lnTo>
                    <a:pt x="1982" y="461"/>
                  </a:lnTo>
                  <a:lnTo>
                    <a:pt x="1994" y="477"/>
                  </a:lnTo>
                  <a:lnTo>
                    <a:pt x="1994" y="468"/>
                  </a:lnTo>
                  <a:lnTo>
                    <a:pt x="2011" y="477"/>
                  </a:lnTo>
                  <a:lnTo>
                    <a:pt x="2011" y="494"/>
                  </a:lnTo>
                  <a:lnTo>
                    <a:pt x="2015" y="477"/>
                  </a:lnTo>
                  <a:lnTo>
                    <a:pt x="2015" y="501"/>
                  </a:lnTo>
                  <a:lnTo>
                    <a:pt x="2020" y="501"/>
                  </a:lnTo>
                  <a:lnTo>
                    <a:pt x="2020" y="485"/>
                  </a:lnTo>
                  <a:lnTo>
                    <a:pt x="2037" y="485"/>
                  </a:lnTo>
                  <a:lnTo>
                    <a:pt x="2048" y="485"/>
                  </a:lnTo>
                  <a:lnTo>
                    <a:pt x="2037" y="494"/>
                  </a:lnTo>
                  <a:lnTo>
                    <a:pt x="2053" y="494"/>
                  </a:lnTo>
                  <a:lnTo>
                    <a:pt x="2053" y="501"/>
                  </a:lnTo>
                  <a:lnTo>
                    <a:pt x="2063" y="506"/>
                  </a:lnTo>
                  <a:lnTo>
                    <a:pt x="2070" y="506"/>
                  </a:lnTo>
                  <a:lnTo>
                    <a:pt x="2074" y="522"/>
                  </a:lnTo>
                  <a:lnTo>
                    <a:pt x="2063" y="551"/>
                  </a:lnTo>
                  <a:lnTo>
                    <a:pt x="2074" y="534"/>
                  </a:lnTo>
                  <a:lnTo>
                    <a:pt x="2086" y="551"/>
                  </a:lnTo>
                  <a:lnTo>
                    <a:pt x="2070" y="560"/>
                  </a:lnTo>
                  <a:lnTo>
                    <a:pt x="2063" y="596"/>
                  </a:lnTo>
                  <a:lnTo>
                    <a:pt x="2053" y="617"/>
                  </a:lnTo>
                  <a:lnTo>
                    <a:pt x="2074" y="589"/>
                  </a:lnTo>
                  <a:lnTo>
                    <a:pt x="2086" y="560"/>
                  </a:lnTo>
                  <a:lnTo>
                    <a:pt x="2100" y="551"/>
                  </a:lnTo>
                  <a:lnTo>
                    <a:pt x="2107" y="560"/>
                  </a:lnTo>
                  <a:lnTo>
                    <a:pt x="2086" y="577"/>
                  </a:lnTo>
                  <a:lnTo>
                    <a:pt x="2091" y="577"/>
                  </a:lnTo>
                  <a:lnTo>
                    <a:pt x="2091" y="589"/>
                  </a:lnTo>
                  <a:lnTo>
                    <a:pt x="2117" y="560"/>
                  </a:lnTo>
                  <a:lnTo>
                    <a:pt x="2145" y="560"/>
                  </a:lnTo>
                  <a:lnTo>
                    <a:pt x="2145" y="551"/>
                  </a:lnTo>
                  <a:lnTo>
                    <a:pt x="2155" y="551"/>
                  </a:lnTo>
                  <a:lnTo>
                    <a:pt x="2200" y="560"/>
                  </a:lnTo>
                  <a:lnTo>
                    <a:pt x="2230" y="577"/>
                  </a:lnTo>
                  <a:lnTo>
                    <a:pt x="2252" y="577"/>
                  </a:lnTo>
                  <a:lnTo>
                    <a:pt x="2247" y="577"/>
                  </a:lnTo>
                  <a:lnTo>
                    <a:pt x="2263" y="572"/>
                  </a:lnTo>
                  <a:lnTo>
                    <a:pt x="2268" y="589"/>
                  </a:lnTo>
                  <a:lnTo>
                    <a:pt x="2289" y="589"/>
                  </a:lnTo>
                  <a:lnTo>
                    <a:pt x="2301" y="596"/>
                  </a:lnTo>
                  <a:lnTo>
                    <a:pt x="2301" y="589"/>
                  </a:lnTo>
                  <a:lnTo>
                    <a:pt x="2356" y="577"/>
                  </a:lnTo>
                  <a:lnTo>
                    <a:pt x="2389" y="577"/>
                  </a:lnTo>
                  <a:lnTo>
                    <a:pt x="2495" y="645"/>
                  </a:lnTo>
                  <a:lnTo>
                    <a:pt x="2556" y="704"/>
                  </a:lnTo>
                  <a:lnTo>
                    <a:pt x="2578" y="716"/>
                  </a:lnTo>
                  <a:lnTo>
                    <a:pt x="2587" y="728"/>
                  </a:lnTo>
                  <a:lnTo>
                    <a:pt x="2608" y="740"/>
                  </a:lnTo>
                  <a:lnTo>
                    <a:pt x="2615" y="744"/>
                  </a:lnTo>
                  <a:lnTo>
                    <a:pt x="2670" y="744"/>
                  </a:lnTo>
                  <a:lnTo>
                    <a:pt x="2712" y="756"/>
                  </a:lnTo>
                  <a:lnTo>
                    <a:pt x="2738" y="839"/>
                  </a:lnTo>
                  <a:lnTo>
                    <a:pt x="2750" y="884"/>
                  </a:lnTo>
                  <a:lnTo>
                    <a:pt x="2750" y="893"/>
                  </a:lnTo>
                  <a:lnTo>
                    <a:pt x="2750" y="884"/>
                  </a:lnTo>
                  <a:lnTo>
                    <a:pt x="2755" y="922"/>
                  </a:lnTo>
                  <a:lnTo>
                    <a:pt x="2750" y="922"/>
                  </a:lnTo>
                  <a:lnTo>
                    <a:pt x="2755" y="926"/>
                  </a:lnTo>
                  <a:lnTo>
                    <a:pt x="2750" y="943"/>
                  </a:lnTo>
                  <a:lnTo>
                    <a:pt x="2750" y="950"/>
                  </a:lnTo>
                  <a:lnTo>
                    <a:pt x="2750" y="959"/>
                  </a:lnTo>
                  <a:lnTo>
                    <a:pt x="2717" y="1037"/>
                  </a:lnTo>
                  <a:lnTo>
                    <a:pt x="2684" y="1077"/>
                  </a:lnTo>
                  <a:lnTo>
                    <a:pt x="2641" y="1132"/>
                  </a:lnTo>
                  <a:lnTo>
                    <a:pt x="2608" y="1160"/>
                  </a:lnTo>
                  <a:lnTo>
                    <a:pt x="2594" y="1165"/>
                  </a:lnTo>
                  <a:lnTo>
                    <a:pt x="2587" y="1160"/>
                  </a:lnTo>
                  <a:lnTo>
                    <a:pt x="2594" y="1165"/>
                  </a:lnTo>
                  <a:lnTo>
                    <a:pt x="2594" y="1172"/>
                  </a:lnTo>
                  <a:lnTo>
                    <a:pt x="2587" y="1181"/>
                  </a:lnTo>
                  <a:lnTo>
                    <a:pt x="2578" y="1172"/>
                  </a:lnTo>
                  <a:lnTo>
                    <a:pt x="2587" y="1181"/>
                  </a:lnTo>
                  <a:lnTo>
                    <a:pt x="2587" y="1188"/>
                  </a:lnTo>
                  <a:lnTo>
                    <a:pt x="2570" y="1205"/>
                  </a:lnTo>
                  <a:lnTo>
                    <a:pt x="2578" y="1188"/>
                  </a:lnTo>
                  <a:lnTo>
                    <a:pt x="2570" y="1188"/>
                  </a:lnTo>
                  <a:lnTo>
                    <a:pt x="2556" y="1243"/>
                  </a:lnTo>
                  <a:lnTo>
                    <a:pt x="2523" y="1292"/>
                  </a:lnTo>
                  <a:lnTo>
                    <a:pt x="2495" y="1325"/>
                  </a:lnTo>
                  <a:lnTo>
                    <a:pt x="2495" y="1300"/>
                  </a:lnTo>
                  <a:lnTo>
                    <a:pt x="2485" y="1300"/>
                  </a:lnTo>
                  <a:lnTo>
                    <a:pt x="2481" y="1292"/>
                  </a:lnTo>
                  <a:lnTo>
                    <a:pt x="2469" y="1309"/>
                  </a:lnTo>
                  <a:lnTo>
                    <a:pt x="2469" y="1292"/>
                  </a:lnTo>
                  <a:lnTo>
                    <a:pt x="2464" y="1300"/>
                  </a:lnTo>
                  <a:lnTo>
                    <a:pt x="2469" y="1309"/>
                  </a:lnTo>
                  <a:lnTo>
                    <a:pt x="2481" y="1309"/>
                  </a:lnTo>
                  <a:lnTo>
                    <a:pt x="2464" y="1349"/>
                  </a:lnTo>
                  <a:lnTo>
                    <a:pt x="2452" y="1349"/>
                  </a:lnTo>
                  <a:lnTo>
                    <a:pt x="2452" y="1354"/>
                  </a:lnTo>
                  <a:lnTo>
                    <a:pt x="2464" y="1370"/>
                  </a:lnTo>
                  <a:lnTo>
                    <a:pt x="2452" y="1403"/>
                  </a:lnTo>
                  <a:lnTo>
                    <a:pt x="2464" y="1394"/>
                  </a:lnTo>
                  <a:lnTo>
                    <a:pt x="2464" y="1387"/>
                  </a:lnTo>
                  <a:lnTo>
                    <a:pt x="2452" y="1444"/>
                  </a:lnTo>
                  <a:lnTo>
                    <a:pt x="2469" y="1531"/>
                  </a:lnTo>
                  <a:lnTo>
                    <a:pt x="2448" y="1625"/>
                  </a:lnTo>
                  <a:lnTo>
                    <a:pt x="2448" y="1666"/>
                  </a:lnTo>
                  <a:lnTo>
                    <a:pt x="2415" y="1703"/>
                  </a:lnTo>
                  <a:lnTo>
                    <a:pt x="2410" y="1744"/>
                  </a:lnTo>
                  <a:lnTo>
                    <a:pt x="2410" y="1793"/>
                  </a:lnTo>
                  <a:lnTo>
                    <a:pt x="2398" y="1810"/>
                  </a:lnTo>
                  <a:lnTo>
                    <a:pt x="2389" y="1814"/>
                  </a:lnTo>
                  <a:lnTo>
                    <a:pt x="2372" y="1864"/>
                  </a:lnTo>
                  <a:lnTo>
                    <a:pt x="2360" y="1855"/>
                  </a:lnTo>
                  <a:lnTo>
                    <a:pt x="2360" y="1864"/>
                  </a:lnTo>
                  <a:lnTo>
                    <a:pt x="2372" y="1864"/>
                  </a:lnTo>
                  <a:lnTo>
                    <a:pt x="2360" y="1888"/>
                  </a:lnTo>
                  <a:lnTo>
                    <a:pt x="2344" y="1904"/>
                  </a:lnTo>
                  <a:lnTo>
                    <a:pt x="2334" y="1904"/>
                  </a:lnTo>
                  <a:lnTo>
                    <a:pt x="2322" y="1937"/>
                  </a:lnTo>
                  <a:lnTo>
                    <a:pt x="2318" y="1959"/>
                  </a:lnTo>
                  <a:lnTo>
                    <a:pt x="2322" y="1992"/>
                  </a:lnTo>
                  <a:lnTo>
                    <a:pt x="2263" y="2015"/>
                  </a:lnTo>
                  <a:lnTo>
                    <a:pt x="2247" y="2032"/>
                  </a:lnTo>
                  <a:lnTo>
                    <a:pt x="2247" y="2065"/>
                  </a:lnTo>
                  <a:lnTo>
                    <a:pt x="2171" y="2065"/>
                  </a:lnTo>
                  <a:lnTo>
                    <a:pt x="2176" y="2048"/>
                  </a:lnTo>
                  <a:lnTo>
                    <a:pt x="2171" y="2036"/>
                  </a:lnTo>
                  <a:lnTo>
                    <a:pt x="2162" y="2048"/>
                  </a:lnTo>
                  <a:lnTo>
                    <a:pt x="2171" y="2065"/>
                  </a:lnTo>
                  <a:lnTo>
                    <a:pt x="2162" y="2065"/>
                  </a:lnTo>
                  <a:lnTo>
                    <a:pt x="2107" y="2070"/>
                  </a:lnTo>
                  <a:lnTo>
                    <a:pt x="2138" y="2070"/>
                  </a:lnTo>
                  <a:lnTo>
                    <a:pt x="2117" y="2053"/>
                  </a:lnTo>
                  <a:lnTo>
                    <a:pt x="2091" y="2070"/>
                  </a:lnTo>
                  <a:lnTo>
                    <a:pt x="2086" y="2065"/>
                  </a:lnTo>
                  <a:lnTo>
                    <a:pt x="2063" y="2070"/>
                  </a:lnTo>
                  <a:lnTo>
                    <a:pt x="2063" y="2086"/>
                  </a:lnTo>
                  <a:lnTo>
                    <a:pt x="2070" y="2086"/>
                  </a:lnTo>
                  <a:lnTo>
                    <a:pt x="2070" y="2093"/>
                  </a:lnTo>
                  <a:lnTo>
                    <a:pt x="2048" y="2093"/>
                  </a:lnTo>
                  <a:lnTo>
                    <a:pt x="2032" y="2103"/>
                  </a:lnTo>
                  <a:lnTo>
                    <a:pt x="2011" y="2110"/>
                  </a:lnTo>
                  <a:lnTo>
                    <a:pt x="2011" y="2126"/>
                  </a:lnTo>
                  <a:lnTo>
                    <a:pt x="1978" y="2126"/>
                  </a:lnTo>
                  <a:lnTo>
                    <a:pt x="1956" y="2131"/>
                  </a:lnTo>
                  <a:lnTo>
                    <a:pt x="1961" y="2131"/>
                  </a:lnTo>
                  <a:lnTo>
                    <a:pt x="1944" y="2143"/>
                  </a:lnTo>
                  <a:lnTo>
                    <a:pt x="1940" y="2131"/>
                  </a:lnTo>
                  <a:lnTo>
                    <a:pt x="1940" y="2143"/>
                  </a:lnTo>
                  <a:lnTo>
                    <a:pt x="1822" y="2221"/>
                  </a:lnTo>
                  <a:lnTo>
                    <a:pt x="1836" y="2221"/>
                  </a:lnTo>
                  <a:lnTo>
                    <a:pt x="1831" y="2230"/>
                  </a:lnTo>
                  <a:lnTo>
                    <a:pt x="1815" y="2254"/>
                  </a:lnTo>
                  <a:lnTo>
                    <a:pt x="1815" y="2242"/>
                  </a:lnTo>
                  <a:lnTo>
                    <a:pt x="1815" y="2237"/>
                  </a:lnTo>
                  <a:lnTo>
                    <a:pt x="1798" y="2242"/>
                  </a:lnTo>
                  <a:lnTo>
                    <a:pt x="1793" y="2254"/>
                  </a:lnTo>
                  <a:lnTo>
                    <a:pt x="1777" y="2254"/>
                  </a:lnTo>
                  <a:lnTo>
                    <a:pt x="1798" y="2259"/>
                  </a:lnTo>
                  <a:lnTo>
                    <a:pt x="1793" y="2275"/>
                  </a:lnTo>
                  <a:lnTo>
                    <a:pt x="1777" y="2287"/>
                  </a:lnTo>
                  <a:lnTo>
                    <a:pt x="1784" y="2287"/>
                  </a:lnTo>
                  <a:lnTo>
                    <a:pt x="1784" y="2308"/>
                  </a:lnTo>
                  <a:lnTo>
                    <a:pt x="1777" y="2313"/>
                  </a:lnTo>
                  <a:lnTo>
                    <a:pt x="1767" y="2296"/>
                  </a:lnTo>
                  <a:lnTo>
                    <a:pt x="1777" y="2313"/>
                  </a:lnTo>
                  <a:lnTo>
                    <a:pt x="1784" y="2329"/>
                  </a:lnTo>
                  <a:lnTo>
                    <a:pt x="1777" y="2348"/>
                  </a:lnTo>
                  <a:lnTo>
                    <a:pt x="1784" y="2381"/>
                  </a:lnTo>
                  <a:lnTo>
                    <a:pt x="1793" y="2386"/>
                  </a:lnTo>
                  <a:lnTo>
                    <a:pt x="1784" y="2386"/>
                  </a:lnTo>
                  <a:lnTo>
                    <a:pt x="1784" y="2419"/>
                  </a:lnTo>
                  <a:lnTo>
                    <a:pt x="1784" y="2440"/>
                  </a:lnTo>
                  <a:lnTo>
                    <a:pt x="1777" y="2492"/>
                  </a:lnTo>
                  <a:lnTo>
                    <a:pt x="1767" y="2476"/>
                  </a:lnTo>
                  <a:lnTo>
                    <a:pt x="1777" y="2492"/>
                  </a:lnTo>
                  <a:lnTo>
                    <a:pt x="1730" y="2530"/>
                  </a:lnTo>
                  <a:lnTo>
                    <a:pt x="1706" y="2551"/>
                  </a:lnTo>
                  <a:lnTo>
                    <a:pt x="1685" y="2592"/>
                  </a:lnTo>
                  <a:lnTo>
                    <a:pt x="1668" y="2641"/>
                  </a:lnTo>
                  <a:lnTo>
                    <a:pt x="1637" y="2686"/>
                  </a:lnTo>
                  <a:lnTo>
                    <a:pt x="1583" y="2740"/>
                  </a:lnTo>
                  <a:lnTo>
                    <a:pt x="1550" y="2757"/>
                  </a:lnTo>
                  <a:lnTo>
                    <a:pt x="1545" y="2773"/>
                  </a:lnTo>
                  <a:lnTo>
                    <a:pt x="1545" y="2757"/>
                  </a:lnTo>
                  <a:lnTo>
                    <a:pt x="1533" y="2752"/>
                  </a:lnTo>
                  <a:lnTo>
                    <a:pt x="1562" y="2752"/>
                  </a:lnTo>
                  <a:lnTo>
                    <a:pt x="1588" y="2731"/>
                  </a:lnTo>
                  <a:lnTo>
                    <a:pt x="1600" y="2719"/>
                  </a:lnTo>
                  <a:lnTo>
                    <a:pt x="1604" y="2686"/>
                  </a:lnTo>
                  <a:lnTo>
                    <a:pt x="1621" y="2696"/>
                  </a:lnTo>
                  <a:lnTo>
                    <a:pt x="1621" y="2679"/>
                  </a:lnTo>
                  <a:lnTo>
                    <a:pt x="1637" y="2662"/>
                  </a:lnTo>
                  <a:lnTo>
                    <a:pt x="1637" y="2641"/>
                  </a:lnTo>
                  <a:lnTo>
                    <a:pt x="1642" y="2641"/>
                  </a:lnTo>
                  <a:lnTo>
                    <a:pt x="1654" y="2625"/>
                  </a:lnTo>
                  <a:lnTo>
                    <a:pt x="1642" y="2625"/>
                  </a:lnTo>
                  <a:lnTo>
                    <a:pt x="1637" y="2629"/>
                  </a:lnTo>
                  <a:lnTo>
                    <a:pt x="1621" y="2629"/>
                  </a:lnTo>
                  <a:lnTo>
                    <a:pt x="1621" y="2641"/>
                  </a:lnTo>
                  <a:lnTo>
                    <a:pt x="1616" y="2641"/>
                  </a:lnTo>
                  <a:lnTo>
                    <a:pt x="1616" y="2625"/>
                  </a:lnTo>
                  <a:lnTo>
                    <a:pt x="1604" y="2625"/>
                  </a:lnTo>
                  <a:lnTo>
                    <a:pt x="1600" y="2608"/>
                  </a:lnTo>
                  <a:lnTo>
                    <a:pt x="1600" y="2620"/>
                  </a:lnTo>
                  <a:lnTo>
                    <a:pt x="1604" y="2641"/>
                  </a:lnTo>
                  <a:lnTo>
                    <a:pt x="1600" y="2674"/>
                  </a:lnTo>
                  <a:lnTo>
                    <a:pt x="1588" y="2658"/>
                  </a:lnTo>
                  <a:lnTo>
                    <a:pt x="1583" y="2686"/>
                  </a:lnTo>
                  <a:lnTo>
                    <a:pt x="1550" y="2712"/>
                  </a:lnTo>
                  <a:lnTo>
                    <a:pt x="1545" y="2736"/>
                  </a:lnTo>
                  <a:lnTo>
                    <a:pt x="1529" y="2740"/>
                  </a:lnTo>
                  <a:lnTo>
                    <a:pt x="1533" y="2757"/>
                  </a:lnTo>
                  <a:lnTo>
                    <a:pt x="1529" y="2769"/>
                  </a:lnTo>
                  <a:lnTo>
                    <a:pt x="1533" y="2773"/>
                  </a:lnTo>
                  <a:lnTo>
                    <a:pt x="1524" y="2807"/>
                  </a:lnTo>
                  <a:lnTo>
                    <a:pt x="1496" y="2851"/>
                  </a:lnTo>
                  <a:lnTo>
                    <a:pt x="1453" y="2901"/>
                  </a:lnTo>
                  <a:lnTo>
                    <a:pt x="1437" y="2901"/>
                  </a:lnTo>
                  <a:lnTo>
                    <a:pt x="1437" y="2851"/>
                  </a:lnTo>
                  <a:lnTo>
                    <a:pt x="1470" y="2823"/>
                  </a:lnTo>
                  <a:lnTo>
                    <a:pt x="1437" y="2797"/>
                  </a:lnTo>
                  <a:lnTo>
                    <a:pt x="1415" y="2757"/>
                  </a:lnTo>
                  <a:lnTo>
                    <a:pt x="1382" y="2752"/>
                  </a:lnTo>
                  <a:lnTo>
                    <a:pt x="1366" y="2719"/>
                  </a:lnTo>
                  <a:lnTo>
                    <a:pt x="1319" y="2703"/>
                  </a:lnTo>
                  <a:lnTo>
                    <a:pt x="1297" y="2674"/>
                  </a:lnTo>
                  <a:lnTo>
                    <a:pt x="1276" y="2686"/>
                  </a:lnTo>
                  <a:lnTo>
                    <a:pt x="1264" y="2686"/>
                  </a:lnTo>
                  <a:lnTo>
                    <a:pt x="1264" y="2674"/>
                  </a:lnTo>
                  <a:lnTo>
                    <a:pt x="1210" y="2620"/>
                  </a:lnTo>
                  <a:lnTo>
                    <a:pt x="1189" y="2620"/>
                  </a:lnTo>
                  <a:lnTo>
                    <a:pt x="1184" y="2629"/>
                  </a:lnTo>
                  <a:lnTo>
                    <a:pt x="1156" y="2625"/>
                  </a:lnTo>
                  <a:lnTo>
                    <a:pt x="1151" y="2625"/>
                  </a:lnTo>
                  <a:lnTo>
                    <a:pt x="1172" y="2608"/>
                  </a:lnTo>
                  <a:lnTo>
                    <a:pt x="1172" y="2592"/>
                  </a:lnTo>
                  <a:lnTo>
                    <a:pt x="1189" y="2585"/>
                  </a:lnTo>
                  <a:lnTo>
                    <a:pt x="1222" y="2535"/>
                  </a:lnTo>
                  <a:lnTo>
                    <a:pt x="1238" y="2535"/>
                  </a:lnTo>
                  <a:lnTo>
                    <a:pt x="1243" y="2514"/>
                  </a:lnTo>
                  <a:lnTo>
                    <a:pt x="1276" y="2481"/>
                  </a:lnTo>
                  <a:lnTo>
                    <a:pt x="1290" y="2481"/>
                  </a:lnTo>
                  <a:lnTo>
                    <a:pt x="1290" y="2476"/>
                  </a:lnTo>
                  <a:lnTo>
                    <a:pt x="1281" y="2464"/>
                  </a:lnTo>
                  <a:lnTo>
                    <a:pt x="1307" y="2457"/>
                  </a:lnTo>
                  <a:lnTo>
                    <a:pt x="1314" y="2440"/>
                  </a:lnTo>
                  <a:lnTo>
                    <a:pt x="1335" y="2436"/>
                  </a:lnTo>
                  <a:lnTo>
                    <a:pt x="1352" y="2407"/>
                  </a:lnTo>
                  <a:lnTo>
                    <a:pt x="1382" y="2403"/>
                  </a:lnTo>
                  <a:lnTo>
                    <a:pt x="1420" y="2381"/>
                  </a:lnTo>
                  <a:lnTo>
                    <a:pt x="1427" y="2365"/>
                  </a:lnTo>
                  <a:lnTo>
                    <a:pt x="1427" y="2325"/>
                  </a:lnTo>
                  <a:lnTo>
                    <a:pt x="1427" y="2313"/>
                  </a:lnTo>
                  <a:lnTo>
                    <a:pt x="1420" y="2292"/>
                  </a:lnTo>
                  <a:lnTo>
                    <a:pt x="1415" y="2270"/>
                  </a:lnTo>
                  <a:lnTo>
                    <a:pt x="1399" y="2254"/>
                  </a:lnTo>
                  <a:lnTo>
                    <a:pt x="1373" y="2270"/>
                  </a:lnTo>
                  <a:lnTo>
                    <a:pt x="1366" y="2259"/>
                  </a:lnTo>
                  <a:lnTo>
                    <a:pt x="1361" y="2254"/>
                  </a:lnTo>
                  <a:lnTo>
                    <a:pt x="1373" y="2230"/>
                  </a:lnTo>
                  <a:lnTo>
                    <a:pt x="1373" y="2221"/>
                  </a:lnTo>
                  <a:lnTo>
                    <a:pt x="1389" y="2164"/>
                  </a:lnTo>
                  <a:lnTo>
                    <a:pt x="1382" y="2148"/>
                  </a:lnTo>
                  <a:lnTo>
                    <a:pt x="1389" y="2148"/>
                  </a:lnTo>
                  <a:lnTo>
                    <a:pt x="1361" y="2126"/>
                  </a:lnTo>
                  <a:lnTo>
                    <a:pt x="1335" y="2143"/>
                  </a:lnTo>
                  <a:lnTo>
                    <a:pt x="1307" y="2143"/>
                  </a:lnTo>
                  <a:lnTo>
                    <a:pt x="1290" y="2053"/>
                  </a:lnTo>
                  <a:lnTo>
                    <a:pt x="1290" y="2036"/>
                  </a:lnTo>
                  <a:lnTo>
                    <a:pt x="1276" y="2015"/>
                  </a:lnTo>
                  <a:lnTo>
                    <a:pt x="1252" y="2008"/>
                  </a:lnTo>
                  <a:lnTo>
                    <a:pt x="1238" y="1992"/>
                  </a:lnTo>
                  <a:lnTo>
                    <a:pt x="1222" y="2008"/>
                  </a:lnTo>
                  <a:lnTo>
                    <a:pt x="1205" y="2008"/>
                  </a:lnTo>
                  <a:lnTo>
                    <a:pt x="1130" y="1999"/>
                  </a:lnTo>
                  <a:lnTo>
                    <a:pt x="1130" y="1954"/>
                  </a:lnTo>
                  <a:lnTo>
                    <a:pt x="1134" y="1942"/>
                  </a:lnTo>
                  <a:lnTo>
                    <a:pt x="1134" y="1909"/>
                  </a:lnTo>
                  <a:lnTo>
                    <a:pt x="1113" y="1848"/>
                  </a:lnTo>
                  <a:lnTo>
                    <a:pt x="1134" y="1836"/>
                  </a:lnTo>
                  <a:lnTo>
                    <a:pt x="1118" y="1814"/>
                  </a:lnTo>
                  <a:lnTo>
                    <a:pt x="1146" y="1770"/>
                  </a:lnTo>
                  <a:lnTo>
                    <a:pt x="1146" y="1760"/>
                  </a:lnTo>
                  <a:lnTo>
                    <a:pt x="1156" y="1703"/>
                  </a:lnTo>
                  <a:lnTo>
                    <a:pt x="1146" y="1682"/>
                  </a:lnTo>
                  <a:lnTo>
                    <a:pt x="1146" y="1659"/>
                  </a:lnTo>
                  <a:lnTo>
                    <a:pt x="1096" y="1633"/>
                  </a:lnTo>
                  <a:lnTo>
                    <a:pt x="1092" y="1592"/>
                  </a:lnTo>
                  <a:lnTo>
                    <a:pt x="1101" y="1576"/>
                  </a:lnTo>
                  <a:lnTo>
                    <a:pt x="1101" y="1559"/>
                  </a:lnTo>
                  <a:lnTo>
                    <a:pt x="971" y="1559"/>
                  </a:lnTo>
                  <a:lnTo>
                    <a:pt x="967" y="1498"/>
                  </a:lnTo>
                  <a:lnTo>
                    <a:pt x="941" y="1477"/>
                  </a:lnTo>
                  <a:lnTo>
                    <a:pt x="967" y="1477"/>
                  </a:lnTo>
                  <a:lnTo>
                    <a:pt x="967" y="1437"/>
                  </a:lnTo>
                  <a:lnTo>
                    <a:pt x="950" y="1403"/>
                  </a:lnTo>
                  <a:lnTo>
                    <a:pt x="957" y="1394"/>
                  </a:lnTo>
                  <a:lnTo>
                    <a:pt x="950" y="1382"/>
                  </a:lnTo>
                  <a:lnTo>
                    <a:pt x="912" y="1354"/>
                  </a:lnTo>
                  <a:lnTo>
                    <a:pt x="858" y="1366"/>
                  </a:lnTo>
                  <a:lnTo>
                    <a:pt x="832" y="1333"/>
                  </a:lnTo>
                  <a:lnTo>
                    <a:pt x="820" y="1333"/>
                  </a:lnTo>
                  <a:lnTo>
                    <a:pt x="794" y="1316"/>
                  </a:lnTo>
                  <a:lnTo>
                    <a:pt x="789" y="1325"/>
                  </a:lnTo>
                  <a:lnTo>
                    <a:pt x="773" y="1309"/>
                  </a:lnTo>
                  <a:lnTo>
                    <a:pt x="773" y="1292"/>
                  </a:lnTo>
                  <a:lnTo>
                    <a:pt x="752" y="1300"/>
                  </a:lnTo>
                  <a:lnTo>
                    <a:pt x="723" y="1283"/>
                  </a:lnTo>
                  <a:lnTo>
                    <a:pt x="714" y="1283"/>
                  </a:lnTo>
                  <a:lnTo>
                    <a:pt x="681" y="1283"/>
                  </a:lnTo>
                  <a:lnTo>
                    <a:pt x="669" y="1259"/>
                  </a:lnTo>
                  <a:lnTo>
                    <a:pt x="648" y="1259"/>
                  </a:lnTo>
                  <a:lnTo>
                    <a:pt x="648" y="1243"/>
                  </a:lnTo>
                  <a:lnTo>
                    <a:pt x="631" y="1243"/>
                  </a:lnTo>
                  <a:lnTo>
                    <a:pt x="631" y="1226"/>
                  </a:lnTo>
                  <a:lnTo>
                    <a:pt x="617" y="1226"/>
                  </a:lnTo>
                  <a:lnTo>
                    <a:pt x="626" y="1222"/>
                  </a:lnTo>
                  <a:lnTo>
                    <a:pt x="610" y="1205"/>
                  </a:lnTo>
                  <a:lnTo>
                    <a:pt x="610" y="1188"/>
                  </a:lnTo>
                  <a:lnTo>
                    <a:pt x="610" y="1172"/>
                  </a:lnTo>
                  <a:lnTo>
                    <a:pt x="605" y="1132"/>
                  </a:lnTo>
                  <a:lnTo>
                    <a:pt x="610" y="1115"/>
                  </a:lnTo>
                  <a:lnTo>
                    <a:pt x="610" y="1077"/>
                  </a:lnTo>
                  <a:lnTo>
                    <a:pt x="593" y="1087"/>
                  </a:lnTo>
                  <a:lnTo>
                    <a:pt x="556" y="1087"/>
                  </a:lnTo>
                  <a:lnTo>
                    <a:pt x="518" y="1094"/>
                  </a:lnTo>
                  <a:lnTo>
                    <a:pt x="487" y="1115"/>
                  </a:lnTo>
                  <a:lnTo>
                    <a:pt x="471" y="1127"/>
                  </a:lnTo>
                  <a:lnTo>
                    <a:pt x="454" y="1132"/>
                  </a:lnTo>
                  <a:lnTo>
                    <a:pt x="442" y="1148"/>
                  </a:lnTo>
                  <a:lnTo>
                    <a:pt x="416" y="1148"/>
                  </a:lnTo>
                  <a:lnTo>
                    <a:pt x="400" y="1172"/>
                  </a:lnTo>
                  <a:lnTo>
                    <a:pt x="378" y="1181"/>
                  </a:lnTo>
                  <a:lnTo>
                    <a:pt x="374" y="1181"/>
                  </a:lnTo>
                  <a:lnTo>
                    <a:pt x="362" y="1172"/>
                  </a:lnTo>
                  <a:lnTo>
                    <a:pt x="319" y="1172"/>
                  </a:lnTo>
                  <a:lnTo>
                    <a:pt x="286" y="1165"/>
                  </a:lnTo>
                  <a:lnTo>
                    <a:pt x="265" y="1181"/>
                  </a:lnTo>
                  <a:lnTo>
                    <a:pt x="248" y="1165"/>
                  </a:lnTo>
                  <a:lnTo>
                    <a:pt x="237" y="1172"/>
                  </a:lnTo>
                  <a:lnTo>
                    <a:pt x="237" y="1087"/>
                  </a:lnTo>
                  <a:lnTo>
                    <a:pt x="248" y="1061"/>
                  </a:lnTo>
                  <a:lnTo>
                    <a:pt x="194" y="1106"/>
                  </a:lnTo>
                  <a:lnTo>
                    <a:pt x="130" y="1106"/>
                  </a:lnTo>
                  <a:lnTo>
                    <a:pt x="114" y="1061"/>
                  </a:lnTo>
                  <a:lnTo>
                    <a:pt x="55" y="1054"/>
                  </a:lnTo>
                  <a:lnTo>
                    <a:pt x="76" y="1037"/>
                  </a:lnTo>
                  <a:lnTo>
                    <a:pt x="76" y="1021"/>
                  </a:lnTo>
                  <a:lnTo>
                    <a:pt x="38" y="983"/>
                  </a:lnTo>
                  <a:lnTo>
                    <a:pt x="33" y="959"/>
                  </a:lnTo>
                  <a:lnTo>
                    <a:pt x="17" y="950"/>
                  </a:lnTo>
                  <a:lnTo>
                    <a:pt x="22" y="938"/>
                  </a:lnTo>
                  <a:lnTo>
                    <a:pt x="0" y="922"/>
                  </a:lnTo>
                  <a:lnTo>
                    <a:pt x="5" y="910"/>
                  </a:lnTo>
                  <a:lnTo>
                    <a:pt x="22" y="905"/>
                  </a:lnTo>
                  <a:lnTo>
                    <a:pt x="17" y="888"/>
                  </a:lnTo>
                  <a:lnTo>
                    <a:pt x="22" y="872"/>
                  </a:lnTo>
                  <a:lnTo>
                    <a:pt x="59" y="839"/>
                  </a:lnTo>
                  <a:lnTo>
                    <a:pt x="55" y="815"/>
                  </a:lnTo>
                  <a:lnTo>
                    <a:pt x="76" y="782"/>
                  </a:lnTo>
                  <a:lnTo>
                    <a:pt x="85" y="744"/>
                  </a:lnTo>
                  <a:lnTo>
                    <a:pt x="147" y="704"/>
                  </a:lnTo>
                  <a:lnTo>
                    <a:pt x="199" y="688"/>
                  </a:lnTo>
                  <a:lnTo>
                    <a:pt x="215" y="688"/>
                  </a:lnTo>
                  <a:lnTo>
                    <a:pt x="232" y="671"/>
                  </a:lnTo>
                  <a:lnTo>
                    <a:pt x="265" y="671"/>
                  </a:lnTo>
                  <a:lnTo>
                    <a:pt x="270" y="688"/>
                  </a:lnTo>
                  <a:lnTo>
                    <a:pt x="274" y="688"/>
                  </a:lnTo>
                  <a:lnTo>
                    <a:pt x="286" y="683"/>
                  </a:lnTo>
                  <a:lnTo>
                    <a:pt x="286" y="683"/>
                  </a:lnTo>
                  <a:lnTo>
                    <a:pt x="286" y="683"/>
                  </a:lnTo>
                  <a:close/>
                  <a:moveTo>
                    <a:pt x="1654" y="222"/>
                  </a:moveTo>
                  <a:lnTo>
                    <a:pt x="1659" y="222"/>
                  </a:lnTo>
                  <a:lnTo>
                    <a:pt x="1654" y="222"/>
                  </a:lnTo>
                  <a:lnTo>
                    <a:pt x="1654" y="222"/>
                  </a:lnTo>
                  <a:lnTo>
                    <a:pt x="1654" y="222"/>
                  </a:lnTo>
                  <a:close/>
                  <a:moveTo>
                    <a:pt x="1659" y="246"/>
                  </a:moveTo>
                  <a:lnTo>
                    <a:pt x="1654" y="229"/>
                  </a:lnTo>
                  <a:lnTo>
                    <a:pt x="1659" y="222"/>
                  </a:lnTo>
                  <a:lnTo>
                    <a:pt x="1668" y="239"/>
                  </a:lnTo>
                  <a:lnTo>
                    <a:pt x="1659" y="246"/>
                  </a:lnTo>
                  <a:lnTo>
                    <a:pt x="1659" y="246"/>
                  </a:lnTo>
                  <a:lnTo>
                    <a:pt x="1659" y="246"/>
                  </a:lnTo>
                  <a:close/>
                  <a:moveTo>
                    <a:pt x="1685" y="312"/>
                  </a:moveTo>
                  <a:lnTo>
                    <a:pt x="1692" y="300"/>
                  </a:lnTo>
                  <a:lnTo>
                    <a:pt x="1685" y="312"/>
                  </a:lnTo>
                  <a:lnTo>
                    <a:pt x="1685" y="312"/>
                  </a:lnTo>
                  <a:lnTo>
                    <a:pt x="1685" y="312"/>
                  </a:lnTo>
                  <a:close/>
                  <a:moveTo>
                    <a:pt x="1668" y="329"/>
                  </a:moveTo>
                  <a:lnTo>
                    <a:pt x="1675" y="317"/>
                  </a:lnTo>
                  <a:lnTo>
                    <a:pt x="1685" y="312"/>
                  </a:lnTo>
                  <a:lnTo>
                    <a:pt x="1685" y="317"/>
                  </a:lnTo>
                  <a:lnTo>
                    <a:pt x="1668" y="329"/>
                  </a:lnTo>
                  <a:lnTo>
                    <a:pt x="1668" y="329"/>
                  </a:lnTo>
                  <a:lnTo>
                    <a:pt x="1668" y="329"/>
                  </a:lnTo>
                  <a:close/>
                  <a:moveTo>
                    <a:pt x="1668" y="357"/>
                  </a:moveTo>
                  <a:lnTo>
                    <a:pt x="1668" y="338"/>
                  </a:lnTo>
                  <a:lnTo>
                    <a:pt x="1685" y="333"/>
                  </a:lnTo>
                  <a:lnTo>
                    <a:pt x="1685" y="338"/>
                  </a:lnTo>
                  <a:lnTo>
                    <a:pt x="1668" y="357"/>
                  </a:lnTo>
                  <a:lnTo>
                    <a:pt x="1668" y="357"/>
                  </a:lnTo>
                  <a:lnTo>
                    <a:pt x="1668" y="357"/>
                  </a:lnTo>
                  <a:close/>
                  <a:moveTo>
                    <a:pt x="1654" y="366"/>
                  </a:moveTo>
                  <a:lnTo>
                    <a:pt x="1659" y="333"/>
                  </a:lnTo>
                  <a:lnTo>
                    <a:pt x="1668" y="357"/>
                  </a:lnTo>
                  <a:lnTo>
                    <a:pt x="1654" y="366"/>
                  </a:lnTo>
                  <a:lnTo>
                    <a:pt x="1654" y="366"/>
                  </a:lnTo>
                  <a:lnTo>
                    <a:pt x="1654" y="366"/>
                  </a:lnTo>
                  <a:close/>
                  <a:moveTo>
                    <a:pt x="1685" y="383"/>
                  </a:moveTo>
                  <a:lnTo>
                    <a:pt x="1659" y="374"/>
                  </a:lnTo>
                  <a:lnTo>
                    <a:pt x="1659" y="366"/>
                  </a:lnTo>
                  <a:lnTo>
                    <a:pt x="1706" y="357"/>
                  </a:lnTo>
                  <a:lnTo>
                    <a:pt x="1713" y="366"/>
                  </a:lnTo>
                  <a:lnTo>
                    <a:pt x="1685" y="383"/>
                  </a:lnTo>
                  <a:lnTo>
                    <a:pt x="1685" y="383"/>
                  </a:lnTo>
                  <a:lnTo>
                    <a:pt x="1685" y="383"/>
                  </a:lnTo>
                  <a:close/>
                  <a:moveTo>
                    <a:pt x="1654" y="383"/>
                  </a:moveTo>
                  <a:lnTo>
                    <a:pt x="1642" y="366"/>
                  </a:lnTo>
                  <a:lnTo>
                    <a:pt x="1654" y="366"/>
                  </a:lnTo>
                  <a:lnTo>
                    <a:pt x="1654" y="383"/>
                  </a:lnTo>
                  <a:lnTo>
                    <a:pt x="1654" y="383"/>
                  </a:lnTo>
                  <a:lnTo>
                    <a:pt x="1654" y="383"/>
                  </a:lnTo>
                  <a:close/>
                  <a:moveTo>
                    <a:pt x="1730" y="383"/>
                  </a:moveTo>
                  <a:lnTo>
                    <a:pt x="1730" y="390"/>
                  </a:lnTo>
                  <a:lnTo>
                    <a:pt x="1722" y="390"/>
                  </a:lnTo>
                  <a:lnTo>
                    <a:pt x="1706" y="390"/>
                  </a:lnTo>
                  <a:lnTo>
                    <a:pt x="1696" y="383"/>
                  </a:lnTo>
                  <a:lnTo>
                    <a:pt x="1713" y="374"/>
                  </a:lnTo>
                  <a:lnTo>
                    <a:pt x="1730" y="383"/>
                  </a:lnTo>
                  <a:lnTo>
                    <a:pt x="1730" y="383"/>
                  </a:lnTo>
                  <a:lnTo>
                    <a:pt x="1730" y="383"/>
                  </a:lnTo>
                  <a:close/>
                  <a:moveTo>
                    <a:pt x="1621" y="383"/>
                  </a:moveTo>
                  <a:lnTo>
                    <a:pt x="1630" y="374"/>
                  </a:lnTo>
                  <a:lnTo>
                    <a:pt x="1637" y="374"/>
                  </a:lnTo>
                  <a:lnTo>
                    <a:pt x="1621" y="383"/>
                  </a:lnTo>
                  <a:lnTo>
                    <a:pt x="1621" y="383"/>
                  </a:lnTo>
                  <a:lnTo>
                    <a:pt x="1621" y="383"/>
                  </a:lnTo>
                  <a:close/>
                  <a:moveTo>
                    <a:pt x="1630" y="395"/>
                  </a:moveTo>
                  <a:lnTo>
                    <a:pt x="1616" y="395"/>
                  </a:lnTo>
                  <a:lnTo>
                    <a:pt x="1621" y="383"/>
                  </a:lnTo>
                  <a:lnTo>
                    <a:pt x="1637" y="383"/>
                  </a:lnTo>
                  <a:lnTo>
                    <a:pt x="1642" y="383"/>
                  </a:lnTo>
                  <a:lnTo>
                    <a:pt x="1630" y="395"/>
                  </a:lnTo>
                  <a:lnTo>
                    <a:pt x="1630" y="395"/>
                  </a:lnTo>
                  <a:lnTo>
                    <a:pt x="1630" y="395"/>
                  </a:lnTo>
                  <a:close/>
                  <a:moveTo>
                    <a:pt x="1630" y="485"/>
                  </a:moveTo>
                  <a:lnTo>
                    <a:pt x="1630" y="461"/>
                  </a:lnTo>
                  <a:lnTo>
                    <a:pt x="1642" y="449"/>
                  </a:lnTo>
                  <a:lnTo>
                    <a:pt x="1630" y="449"/>
                  </a:lnTo>
                  <a:lnTo>
                    <a:pt x="1630" y="428"/>
                  </a:lnTo>
                  <a:lnTo>
                    <a:pt x="1637" y="423"/>
                  </a:lnTo>
                  <a:lnTo>
                    <a:pt x="1654" y="428"/>
                  </a:lnTo>
                  <a:lnTo>
                    <a:pt x="1637" y="423"/>
                  </a:lnTo>
                  <a:lnTo>
                    <a:pt x="1637" y="411"/>
                  </a:lnTo>
                  <a:lnTo>
                    <a:pt x="1637" y="395"/>
                  </a:lnTo>
                  <a:lnTo>
                    <a:pt x="1654" y="390"/>
                  </a:lnTo>
                  <a:lnTo>
                    <a:pt x="1659" y="390"/>
                  </a:lnTo>
                  <a:lnTo>
                    <a:pt x="1713" y="395"/>
                  </a:lnTo>
                  <a:lnTo>
                    <a:pt x="1744" y="390"/>
                  </a:lnTo>
                  <a:lnTo>
                    <a:pt x="1798" y="395"/>
                  </a:lnTo>
                  <a:lnTo>
                    <a:pt x="1793" y="444"/>
                  </a:lnTo>
                  <a:lnTo>
                    <a:pt x="1760" y="485"/>
                  </a:lnTo>
                  <a:lnTo>
                    <a:pt x="1744" y="494"/>
                  </a:lnTo>
                  <a:lnTo>
                    <a:pt x="1722" y="494"/>
                  </a:lnTo>
                  <a:lnTo>
                    <a:pt x="1706" y="506"/>
                  </a:lnTo>
                  <a:lnTo>
                    <a:pt x="1706" y="494"/>
                  </a:lnTo>
                  <a:lnTo>
                    <a:pt x="1696" y="506"/>
                  </a:lnTo>
                  <a:lnTo>
                    <a:pt x="1685" y="501"/>
                  </a:lnTo>
                  <a:lnTo>
                    <a:pt x="1659" y="506"/>
                  </a:lnTo>
                  <a:lnTo>
                    <a:pt x="1642" y="506"/>
                  </a:lnTo>
                  <a:lnTo>
                    <a:pt x="1630" y="485"/>
                  </a:lnTo>
                  <a:lnTo>
                    <a:pt x="1630" y="485"/>
                  </a:lnTo>
                  <a:lnTo>
                    <a:pt x="1630" y="485"/>
                  </a:lnTo>
                  <a:close/>
                  <a:moveTo>
                    <a:pt x="1588" y="411"/>
                  </a:moveTo>
                  <a:lnTo>
                    <a:pt x="1600" y="390"/>
                  </a:lnTo>
                  <a:lnTo>
                    <a:pt x="1604" y="390"/>
                  </a:lnTo>
                  <a:lnTo>
                    <a:pt x="1604" y="395"/>
                  </a:lnTo>
                  <a:lnTo>
                    <a:pt x="1588" y="411"/>
                  </a:lnTo>
                  <a:lnTo>
                    <a:pt x="1588" y="411"/>
                  </a:lnTo>
                  <a:lnTo>
                    <a:pt x="1588" y="411"/>
                  </a:lnTo>
                  <a:close/>
                  <a:moveTo>
                    <a:pt x="1630" y="407"/>
                  </a:moveTo>
                  <a:lnTo>
                    <a:pt x="1621" y="407"/>
                  </a:lnTo>
                  <a:lnTo>
                    <a:pt x="1637" y="395"/>
                  </a:lnTo>
                  <a:lnTo>
                    <a:pt x="1630" y="407"/>
                  </a:lnTo>
                  <a:lnTo>
                    <a:pt x="1630" y="407"/>
                  </a:lnTo>
                  <a:lnTo>
                    <a:pt x="1630" y="407"/>
                  </a:lnTo>
                  <a:close/>
                  <a:moveTo>
                    <a:pt x="1604" y="423"/>
                  </a:moveTo>
                  <a:lnTo>
                    <a:pt x="1604" y="407"/>
                  </a:lnTo>
                  <a:lnTo>
                    <a:pt x="1616" y="395"/>
                  </a:lnTo>
                  <a:lnTo>
                    <a:pt x="1621" y="407"/>
                  </a:lnTo>
                  <a:lnTo>
                    <a:pt x="1604" y="423"/>
                  </a:lnTo>
                  <a:lnTo>
                    <a:pt x="1604" y="423"/>
                  </a:lnTo>
                  <a:lnTo>
                    <a:pt x="1604" y="423"/>
                  </a:lnTo>
                  <a:close/>
                  <a:moveTo>
                    <a:pt x="1621" y="423"/>
                  </a:moveTo>
                  <a:lnTo>
                    <a:pt x="1621" y="407"/>
                  </a:lnTo>
                  <a:lnTo>
                    <a:pt x="1630" y="407"/>
                  </a:lnTo>
                  <a:lnTo>
                    <a:pt x="1630" y="411"/>
                  </a:lnTo>
                  <a:lnTo>
                    <a:pt x="1621" y="423"/>
                  </a:lnTo>
                  <a:lnTo>
                    <a:pt x="1621" y="423"/>
                  </a:lnTo>
                  <a:lnTo>
                    <a:pt x="1621" y="423"/>
                  </a:lnTo>
                  <a:close/>
                  <a:moveTo>
                    <a:pt x="1550" y="485"/>
                  </a:moveTo>
                  <a:lnTo>
                    <a:pt x="1550" y="461"/>
                  </a:lnTo>
                  <a:lnTo>
                    <a:pt x="1567" y="449"/>
                  </a:lnTo>
                  <a:lnTo>
                    <a:pt x="1578" y="428"/>
                  </a:lnTo>
                  <a:lnTo>
                    <a:pt x="1588" y="423"/>
                  </a:lnTo>
                  <a:lnTo>
                    <a:pt x="1604" y="411"/>
                  </a:lnTo>
                  <a:lnTo>
                    <a:pt x="1604" y="428"/>
                  </a:lnTo>
                  <a:lnTo>
                    <a:pt x="1600" y="449"/>
                  </a:lnTo>
                  <a:lnTo>
                    <a:pt x="1583" y="468"/>
                  </a:lnTo>
                  <a:lnTo>
                    <a:pt x="1550" y="485"/>
                  </a:lnTo>
                  <a:lnTo>
                    <a:pt x="1550" y="485"/>
                  </a:lnTo>
                  <a:lnTo>
                    <a:pt x="1550" y="485"/>
                  </a:lnTo>
                  <a:close/>
                  <a:moveTo>
                    <a:pt x="1604" y="444"/>
                  </a:moveTo>
                  <a:lnTo>
                    <a:pt x="1616" y="428"/>
                  </a:lnTo>
                  <a:lnTo>
                    <a:pt x="1630" y="423"/>
                  </a:lnTo>
                  <a:lnTo>
                    <a:pt x="1630" y="428"/>
                  </a:lnTo>
                  <a:lnTo>
                    <a:pt x="1604" y="444"/>
                  </a:lnTo>
                  <a:lnTo>
                    <a:pt x="1604" y="444"/>
                  </a:lnTo>
                  <a:lnTo>
                    <a:pt x="1604" y="444"/>
                  </a:lnTo>
                  <a:close/>
                  <a:moveTo>
                    <a:pt x="1831" y="428"/>
                  </a:moveTo>
                  <a:lnTo>
                    <a:pt x="1831" y="423"/>
                  </a:lnTo>
                  <a:lnTo>
                    <a:pt x="1836" y="428"/>
                  </a:lnTo>
                  <a:lnTo>
                    <a:pt x="1831" y="428"/>
                  </a:lnTo>
                  <a:lnTo>
                    <a:pt x="1831" y="428"/>
                  </a:lnTo>
                  <a:lnTo>
                    <a:pt x="1831" y="428"/>
                  </a:lnTo>
                  <a:close/>
                  <a:moveTo>
                    <a:pt x="1621" y="440"/>
                  </a:moveTo>
                  <a:lnTo>
                    <a:pt x="1621" y="428"/>
                  </a:lnTo>
                  <a:lnTo>
                    <a:pt x="1630" y="428"/>
                  </a:lnTo>
                  <a:lnTo>
                    <a:pt x="1621" y="440"/>
                  </a:lnTo>
                  <a:lnTo>
                    <a:pt x="1621" y="440"/>
                  </a:lnTo>
                  <a:lnTo>
                    <a:pt x="1621" y="440"/>
                  </a:lnTo>
                  <a:close/>
                  <a:moveTo>
                    <a:pt x="1588" y="468"/>
                  </a:moveTo>
                  <a:lnTo>
                    <a:pt x="1604" y="440"/>
                  </a:lnTo>
                  <a:lnTo>
                    <a:pt x="1600" y="461"/>
                  </a:lnTo>
                  <a:lnTo>
                    <a:pt x="1588" y="468"/>
                  </a:lnTo>
                  <a:lnTo>
                    <a:pt x="1588" y="468"/>
                  </a:lnTo>
                  <a:lnTo>
                    <a:pt x="1588" y="468"/>
                  </a:lnTo>
                  <a:close/>
                  <a:moveTo>
                    <a:pt x="1928" y="449"/>
                  </a:moveTo>
                  <a:lnTo>
                    <a:pt x="1940" y="444"/>
                  </a:lnTo>
                  <a:lnTo>
                    <a:pt x="1940" y="449"/>
                  </a:lnTo>
                  <a:lnTo>
                    <a:pt x="1928" y="449"/>
                  </a:lnTo>
                  <a:lnTo>
                    <a:pt x="1928" y="449"/>
                  </a:lnTo>
                  <a:lnTo>
                    <a:pt x="1928" y="449"/>
                  </a:lnTo>
                  <a:close/>
                  <a:moveTo>
                    <a:pt x="1798" y="468"/>
                  </a:moveTo>
                  <a:lnTo>
                    <a:pt x="1793" y="461"/>
                  </a:lnTo>
                  <a:lnTo>
                    <a:pt x="1798" y="449"/>
                  </a:lnTo>
                  <a:lnTo>
                    <a:pt x="1805" y="449"/>
                  </a:lnTo>
                  <a:lnTo>
                    <a:pt x="1798" y="468"/>
                  </a:lnTo>
                  <a:lnTo>
                    <a:pt x="1798" y="468"/>
                  </a:lnTo>
                  <a:lnTo>
                    <a:pt x="1798" y="468"/>
                  </a:lnTo>
                  <a:close/>
                  <a:moveTo>
                    <a:pt x="2037" y="477"/>
                  </a:moveTo>
                  <a:lnTo>
                    <a:pt x="2037" y="468"/>
                  </a:lnTo>
                  <a:lnTo>
                    <a:pt x="2048" y="468"/>
                  </a:lnTo>
                  <a:lnTo>
                    <a:pt x="2037" y="477"/>
                  </a:lnTo>
                  <a:lnTo>
                    <a:pt x="2037" y="477"/>
                  </a:lnTo>
                  <a:lnTo>
                    <a:pt x="2037" y="477"/>
                  </a:lnTo>
                  <a:close/>
                  <a:moveTo>
                    <a:pt x="1512" y="485"/>
                  </a:moveTo>
                  <a:lnTo>
                    <a:pt x="1533" y="477"/>
                  </a:lnTo>
                  <a:lnTo>
                    <a:pt x="1512" y="485"/>
                  </a:lnTo>
                  <a:lnTo>
                    <a:pt x="1512" y="485"/>
                  </a:lnTo>
                  <a:lnTo>
                    <a:pt x="1512" y="485"/>
                  </a:lnTo>
                  <a:close/>
                  <a:moveTo>
                    <a:pt x="1529" y="501"/>
                  </a:moveTo>
                  <a:lnTo>
                    <a:pt x="1533" y="485"/>
                  </a:lnTo>
                  <a:lnTo>
                    <a:pt x="1545" y="485"/>
                  </a:lnTo>
                  <a:lnTo>
                    <a:pt x="1550" y="485"/>
                  </a:lnTo>
                  <a:lnTo>
                    <a:pt x="1529" y="501"/>
                  </a:lnTo>
                  <a:lnTo>
                    <a:pt x="1529" y="501"/>
                  </a:lnTo>
                  <a:lnTo>
                    <a:pt x="1529" y="501"/>
                  </a:lnTo>
                  <a:close/>
                  <a:moveTo>
                    <a:pt x="2053" y="501"/>
                  </a:moveTo>
                  <a:lnTo>
                    <a:pt x="2063" y="494"/>
                  </a:lnTo>
                  <a:lnTo>
                    <a:pt x="2063" y="501"/>
                  </a:lnTo>
                  <a:lnTo>
                    <a:pt x="2053" y="501"/>
                  </a:lnTo>
                  <a:lnTo>
                    <a:pt x="2053" y="501"/>
                  </a:lnTo>
                  <a:lnTo>
                    <a:pt x="2053" y="501"/>
                  </a:lnTo>
                  <a:close/>
                  <a:moveTo>
                    <a:pt x="1760" y="506"/>
                  </a:moveTo>
                  <a:lnTo>
                    <a:pt x="1751" y="501"/>
                  </a:lnTo>
                  <a:lnTo>
                    <a:pt x="1760" y="494"/>
                  </a:lnTo>
                  <a:lnTo>
                    <a:pt x="1760" y="506"/>
                  </a:lnTo>
                  <a:lnTo>
                    <a:pt x="1760" y="506"/>
                  </a:lnTo>
                  <a:lnTo>
                    <a:pt x="1760" y="506"/>
                  </a:lnTo>
                  <a:close/>
                  <a:moveTo>
                    <a:pt x="1744" y="518"/>
                  </a:moveTo>
                  <a:lnTo>
                    <a:pt x="1751" y="501"/>
                  </a:lnTo>
                  <a:lnTo>
                    <a:pt x="1751" y="506"/>
                  </a:lnTo>
                  <a:lnTo>
                    <a:pt x="1744" y="518"/>
                  </a:lnTo>
                  <a:lnTo>
                    <a:pt x="1744" y="518"/>
                  </a:lnTo>
                  <a:lnTo>
                    <a:pt x="1744" y="518"/>
                  </a:lnTo>
                  <a:close/>
                  <a:moveTo>
                    <a:pt x="1630" y="522"/>
                  </a:moveTo>
                  <a:lnTo>
                    <a:pt x="1616" y="522"/>
                  </a:lnTo>
                  <a:lnTo>
                    <a:pt x="1604" y="506"/>
                  </a:lnTo>
                  <a:lnTo>
                    <a:pt x="1630" y="518"/>
                  </a:lnTo>
                  <a:lnTo>
                    <a:pt x="1630" y="522"/>
                  </a:lnTo>
                  <a:lnTo>
                    <a:pt x="1630" y="522"/>
                  </a:lnTo>
                  <a:lnTo>
                    <a:pt x="1630" y="522"/>
                  </a:lnTo>
                  <a:close/>
                  <a:moveTo>
                    <a:pt x="2247" y="577"/>
                  </a:moveTo>
                  <a:lnTo>
                    <a:pt x="2237" y="572"/>
                  </a:lnTo>
                  <a:lnTo>
                    <a:pt x="2247" y="572"/>
                  </a:lnTo>
                  <a:lnTo>
                    <a:pt x="2247" y="577"/>
                  </a:lnTo>
                  <a:lnTo>
                    <a:pt x="2247" y="577"/>
                  </a:lnTo>
                  <a:lnTo>
                    <a:pt x="2247" y="577"/>
                  </a:lnTo>
                  <a:close/>
                  <a:moveTo>
                    <a:pt x="2070" y="596"/>
                  </a:moveTo>
                  <a:lnTo>
                    <a:pt x="2070" y="577"/>
                  </a:lnTo>
                  <a:lnTo>
                    <a:pt x="2074" y="572"/>
                  </a:lnTo>
                  <a:lnTo>
                    <a:pt x="2070" y="589"/>
                  </a:lnTo>
                  <a:lnTo>
                    <a:pt x="2070" y="596"/>
                  </a:lnTo>
                  <a:lnTo>
                    <a:pt x="2070" y="596"/>
                  </a:lnTo>
                  <a:lnTo>
                    <a:pt x="2070" y="596"/>
                  </a:lnTo>
                  <a:close/>
                  <a:moveTo>
                    <a:pt x="2469" y="1333"/>
                  </a:moveTo>
                  <a:lnTo>
                    <a:pt x="2485" y="1309"/>
                  </a:lnTo>
                  <a:lnTo>
                    <a:pt x="2485" y="1316"/>
                  </a:lnTo>
                  <a:lnTo>
                    <a:pt x="2469" y="1333"/>
                  </a:lnTo>
                  <a:lnTo>
                    <a:pt x="2469" y="1333"/>
                  </a:lnTo>
                  <a:lnTo>
                    <a:pt x="2469" y="1333"/>
                  </a:lnTo>
                  <a:close/>
                  <a:moveTo>
                    <a:pt x="2464" y="1366"/>
                  </a:moveTo>
                  <a:lnTo>
                    <a:pt x="2452" y="1349"/>
                  </a:lnTo>
                  <a:lnTo>
                    <a:pt x="2464" y="1349"/>
                  </a:lnTo>
                  <a:lnTo>
                    <a:pt x="2464" y="1366"/>
                  </a:lnTo>
                  <a:lnTo>
                    <a:pt x="2464" y="1366"/>
                  </a:lnTo>
                  <a:lnTo>
                    <a:pt x="2464" y="1366"/>
                  </a:lnTo>
                  <a:close/>
                  <a:moveTo>
                    <a:pt x="2464" y="1370"/>
                  </a:moveTo>
                  <a:lnTo>
                    <a:pt x="2464" y="1366"/>
                  </a:lnTo>
                  <a:lnTo>
                    <a:pt x="2464" y="1370"/>
                  </a:lnTo>
                  <a:lnTo>
                    <a:pt x="2464" y="1370"/>
                  </a:lnTo>
                  <a:lnTo>
                    <a:pt x="2464" y="1370"/>
                  </a:lnTo>
                  <a:close/>
                  <a:moveTo>
                    <a:pt x="2086" y="2086"/>
                  </a:moveTo>
                  <a:lnTo>
                    <a:pt x="2086" y="2074"/>
                  </a:lnTo>
                  <a:lnTo>
                    <a:pt x="2091" y="2070"/>
                  </a:lnTo>
                  <a:lnTo>
                    <a:pt x="2100" y="2074"/>
                  </a:lnTo>
                  <a:lnTo>
                    <a:pt x="2086" y="2086"/>
                  </a:lnTo>
                  <a:lnTo>
                    <a:pt x="2086" y="2086"/>
                  </a:lnTo>
                  <a:lnTo>
                    <a:pt x="2086" y="2086"/>
                  </a:lnTo>
                  <a:close/>
                  <a:moveTo>
                    <a:pt x="2020" y="2143"/>
                  </a:moveTo>
                  <a:lnTo>
                    <a:pt x="2011" y="2131"/>
                  </a:lnTo>
                  <a:lnTo>
                    <a:pt x="2015" y="2119"/>
                  </a:lnTo>
                  <a:lnTo>
                    <a:pt x="2020" y="2126"/>
                  </a:lnTo>
                  <a:lnTo>
                    <a:pt x="2020" y="2143"/>
                  </a:lnTo>
                  <a:lnTo>
                    <a:pt x="2020" y="2143"/>
                  </a:lnTo>
                  <a:lnTo>
                    <a:pt x="2020" y="2143"/>
                  </a:lnTo>
                  <a:close/>
                  <a:moveTo>
                    <a:pt x="1836" y="2221"/>
                  </a:moveTo>
                  <a:lnTo>
                    <a:pt x="1836" y="2214"/>
                  </a:lnTo>
                  <a:lnTo>
                    <a:pt x="1852" y="2202"/>
                  </a:lnTo>
                  <a:lnTo>
                    <a:pt x="1836" y="2221"/>
                  </a:lnTo>
                  <a:lnTo>
                    <a:pt x="1836" y="2221"/>
                  </a:lnTo>
                  <a:lnTo>
                    <a:pt x="1836" y="2221"/>
                  </a:lnTo>
                  <a:close/>
                  <a:moveTo>
                    <a:pt x="1805" y="2254"/>
                  </a:moveTo>
                  <a:lnTo>
                    <a:pt x="1805" y="2242"/>
                  </a:lnTo>
                  <a:lnTo>
                    <a:pt x="1805" y="2254"/>
                  </a:lnTo>
                  <a:lnTo>
                    <a:pt x="1805" y="2254"/>
                  </a:lnTo>
                  <a:lnTo>
                    <a:pt x="1805" y="2254"/>
                  </a:lnTo>
                  <a:close/>
                  <a:moveTo>
                    <a:pt x="1784" y="2329"/>
                  </a:moveTo>
                  <a:lnTo>
                    <a:pt x="1777" y="2313"/>
                  </a:lnTo>
                  <a:lnTo>
                    <a:pt x="1793" y="2308"/>
                  </a:lnTo>
                  <a:lnTo>
                    <a:pt x="1793" y="2313"/>
                  </a:lnTo>
                  <a:lnTo>
                    <a:pt x="1784" y="2329"/>
                  </a:lnTo>
                  <a:lnTo>
                    <a:pt x="1784" y="2329"/>
                  </a:lnTo>
                  <a:lnTo>
                    <a:pt x="1784" y="2329"/>
                  </a:lnTo>
                  <a:close/>
                  <a:moveTo>
                    <a:pt x="1793" y="2436"/>
                  </a:moveTo>
                  <a:lnTo>
                    <a:pt x="1793" y="2403"/>
                  </a:lnTo>
                  <a:lnTo>
                    <a:pt x="1798" y="2403"/>
                  </a:lnTo>
                  <a:lnTo>
                    <a:pt x="1798" y="2419"/>
                  </a:lnTo>
                  <a:lnTo>
                    <a:pt x="1793" y="2436"/>
                  </a:lnTo>
                  <a:lnTo>
                    <a:pt x="1793" y="2436"/>
                  </a:lnTo>
                  <a:lnTo>
                    <a:pt x="1793" y="243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99" name="Freeform 418">
              <a:extLst>
                <a:ext uri="{FF2B5EF4-FFF2-40B4-BE49-F238E27FC236}">
                  <a16:creationId xmlns:a16="http://schemas.microsoft.com/office/drawing/2014/main" id="{21478B3F-A829-4D4B-926E-D06CC9B61F8B}"/>
                </a:ext>
              </a:extLst>
            </p:cNvPr>
            <p:cNvSpPr>
              <a:spLocks noEditPoints="1"/>
            </p:cNvSpPr>
            <p:nvPr/>
          </p:nvSpPr>
          <p:spPr bwMode="gray">
            <a:xfrm>
              <a:off x="3111907" y="6572080"/>
              <a:ext cx="399416" cy="560271"/>
            </a:xfrm>
            <a:custGeom>
              <a:avLst/>
              <a:gdLst>
                <a:gd name="T0" fmla="*/ 92 w 857"/>
                <a:gd name="T1" fmla="*/ 337 h 1202"/>
                <a:gd name="T2" fmla="*/ 134 w 857"/>
                <a:gd name="T3" fmla="*/ 321 h 1202"/>
                <a:gd name="T4" fmla="*/ 146 w 857"/>
                <a:gd name="T5" fmla="*/ 304 h 1202"/>
                <a:gd name="T6" fmla="*/ 163 w 857"/>
                <a:gd name="T7" fmla="*/ 288 h 1202"/>
                <a:gd name="T8" fmla="*/ 243 w 857"/>
                <a:gd name="T9" fmla="*/ 212 h 1202"/>
                <a:gd name="T10" fmla="*/ 269 w 857"/>
                <a:gd name="T11" fmla="*/ 122 h 1202"/>
                <a:gd name="T12" fmla="*/ 323 w 857"/>
                <a:gd name="T13" fmla="*/ 101 h 1202"/>
                <a:gd name="T14" fmla="*/ 335 w 857"/>
                <a:gd name="T15" fmla="*/ 122 h 1202"/>
                <a:gd name="T16" fmla="*/ 479 w 857"/>
                <a:gd name="T17" fmla="*/ 40 h 1202"/>
                <a:gd name="T18" fmla="*/ 496 w 857"/>
                <a:gd name="T19" fmla="*/ 11 h 1202"/>
                <a:gd name="T20" fmla="*/ 517 w 857"/>
                <a:gd name="T21" fmla="*/ 0 h 1202"/>
                <a:gd name="T22" fmla="*/ 503 w 857"/>
                <a:gd name="T23" fmla="*/ 56 h 1202"/>
                <a:gd name="T24" fmla="*/ 427 w 857"/>
                <a:gd name="T25" fmla="*/ 193 h 1202"/>
                <a:gd name="T26" fmla="*/ 441 w 857"/>
                <a:gd name="T27" fmla="*/ 245 h 1202"/>
                <a:gd name="T28" fmla="*/ 465 w 857"/>
                <a:gd name="T29" fmla="*/ 321 h 1202"/>
                <a:gd name="T30" fmla="*/ 524 w 857"/>
                <a:gd name="T31" fmla="*/ 389 h 1202"/>
                <a:gd name="T32" fmla="*/ 630 w 857"/>
                <a:gd name="T33" fmla="*/ 394 h 1202"/>
                <a:gd name="T34" fmla="*/ 701 w 857"/>
                <a:gd name="T35" fmla="*/ 448 h 1202"/>
                <a:gd name="T36" fmla="*/ 819 w 857"/>
                <a:gd name="T37" fmla="*/ 448 h 1202"/>
                <a:gd name="T38" fmla="*/ 789 w 857"/>
                <a:gd name="T39" fmla="*/ 510 h 1202"/>
                <a:gd name="T40" fmla="*/ 827 w 857"/>
                <a:gd name="T41" fmla="*/ 654 h 1202"/>
                <a:gd name="T42" fmla="*/ 836 w 857"/>
                <a:gd name="T43" fmla="*/ 732 h 1202"/>
                <a:gd name="T44" fmla="*/ 827 w 857"/>
                <a:gd name="T45" fmla="*/ 744 h 1202"/>
                <a:gd name="T46" fmla="*/ 756 w 857"/>
                <a:gd name="T47" fmla="*/ 765 h 1202"/>
                <a:gd name="T48" fmla="*/ 647 w 857"/>
                <a:gd name="T49" fmla="*/ 819 h 1202"/>
                <a:gd name="T50" fmla="*/ 685 w 857"/>
                <a:gd name="T51" fmla="*/ 852 h 1202"/>
                <a:gd name="T52" fmla="*/ 664 w 857"/>
                <a:gd name="T53" fmla="*/ 930 h 1202"/>
                <a:gd name="T54" fmla="*/ 642 w 857"/>
                <a:gd name="T55" fmla="*/ 1202 h 1202"/>
                <a:gd name="T56" fmla="*/ 630 w 857"/>
                <a:gd name="T57" fmla="*/ 1098 h 1202"/>
                <a:gd name="T58" fmla="*/ 541 w 857"/>
                <a:gd name="T59" fmla="*/ 1070 h 1202"/>
                <a:gd name="T60" fmla="*/ 479 w 857"/>
                <a:gd name="T61" fmla="*/ 1074 h 1202"/>
                <a:gd name="T62" fmla="*/ 415 w 857"/>
                <a:gd name="T63" fmla="*/ 1070 h 1202"/>
                <a:gd name="T64" fmla="*/ 411 w 857"/>
                <a:gd name="T65" fmla="*/ 1037 h 1202"/>
                <a:gd name="T66" fmla="*/ 340 w 857"/>
                <a:gd name="T67" fmla="*/ 970 h 1202"/>
                <a:gd name="T68" fmla="*/ 297 w 857"/>
                <a:gd name="T69" fmla="*/ 914 h 1202"/>
                <a:gd name="T70" fmla="*/ 215 w 857"/>
                <a:gd name="T71" fmla="*/ 876 h 1202"/>
                <a:gd name="T72" fmla="*/ 177 w 857"/>
                <a:gd name="T73" fmla="*/ 888 h 1202"/>
                <a:gd name="T74" fmla="*/ 101 w 857"/>
                <a:gd name="T75" fmla="*/ 836 h 1202"/>
                <a:gd name="T76" fmla="*/ 16 w 857"/>
                <a:gd name="T77" fmla="*/ 786 h 1202"/>
                <a:gd name="T78" fmla="*/ 38 w 857"/>
                <a:gd name="T79" fmla="*/ 760 h 1202"/>
                <a:gd name="T80" fmla="*/ 54 w 857"/>
                <a:gd name="T81" fmla="*/ 720 h 1202"/>
                <a:gd name="T82" fmla="*/ 87 w 857"/>
                <a:gd name="T83" fmla="*/ 708 h 1202"/>
                <a:gd name="T84" fmla="*/ 118 w 857"/>
                <a:gd name="T85" fmla="*/ 654 h 1202"/>
                <a:gd name="T86" fmla="*/ 125 w 857"/>
                <a:gd name="T87" fmla="*/ 616 h 1202"/>
                <a:gd name="T88" fmla="*/ 118 w 857"/>
                <a:gd name="T89" fmla="*/ 609 h 1202"/>
                <a:gd name="T90" fmla="*/ 125 w 857"/>
                <a:gd name="T91" fmla="*/ 567 h 1202"/>
                <a:gd name="T92" fmla="*/ 134 w 857"/>
                <a:gd name="T93" fmla="*/ 482 h 1202"/>
                <a:gd name="T94" fmla="*/ 125 w 857"/>
                <a:gd name="T95" fmla="*/ 427 h 1202"/>
                <a:gd name="T96" fmla="*/ 118 w 857"/>
                <a:gd name="T97" fmla="*/ 583 h 1202"/>
                <a:gd name="T98" fmla="*/ 118 w 857"/>
                <a:gd name="T99" fmla="*/ 583 h 1202"/>
                <a:gd name="T100" fmla="*/ 118 w 857"/>
                <a:gd name="T101" fmla="*/ 609 h 1202"/>
                <a:gd name="T102" fmla="*/ 118 w 857"/>
                <a:gd name="T103" fmla="*/ 666 h 1202"/>
                <a:gd name="T104" fmla="*/ 118 w 857"/>
                <a:gd name="T105" fmla="*/ 666 h 1202"/>
                <a:gd name="T106" fmla="*/ 108 w 857"/>
                <a:gd name="T107" fmla="*/ 675 h 1202"/>
                <a:gd name="T108" fmla="*/ 108 w 857"/>
                <a:gd name="T109" fmla="*/ 671 h 1202"/>
                <a:gd name="T110" fmla="*/ 87 w 857"/>
                <a:gd name="T111" fmla="*/ 708 h 1202"/>
                <a:gd name="T112" fmla="*/ 71 w 857"/>
                <a:gd name="T113" fmla="*/ 708 h 1202"/>
                <a:gd name="T114" fmla="*/ 80 w 857"/>
                <a:gd name="T115" fmla="*/ 720 h 1202"/>
                <a:gd name="T116" fmla="*/ 71 w 857"/>
                <a:gd name="T117" fmla="*/ 720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7" h="1202">
                  <a:moveTo>
                    <a:pt x="87" y="378"/>
                  </a:moveTo>
                  <a:lnTo>
                    <a:pt x="92" y="361"/>
                  </a:lnTo>
                  <a:lnTo>
                    <a:pt x="92" y="354"/>
                  </a:lnTo>
                  <a:lnTo>
                    <a:pt x="92" y="337"/>
                  </a:lnTo>
                  <a:lnTo>
                    <a:pt x="108" y="354"/>
                  </a:lnTo>
                  <a:lnTo>
                    <a:pt x="125" y="345"/>
                  </a:lnTo>
                  <a:lnTo>
                    <a:pt x="125" y="337"/>
                  </a:lnTo>
                  <a:lnTo>
                    <a:pt x="134" y="321"/>
                  </a:lnTo>
                  <a:lnTo>
                    <a:pt x="134" y="316"/>
                  </a:lnTo>
                  <a:lnTo>
                    <a:pt x="118" y="283"/>
                  </a:lnTo>
                  <a:lnTo>
                    <a:pt x="125" y="278"/>
                  </a:lnTo>
                  <a:lnTo>
                    <a:pt x="146" y="304"/>
                  </a:lnTo>
                  <a:lnTo>
                    <a:pt x="156" y="316"/>
                  </a:lnTo>
                  <a:lnTo>
                    <a:pt x="156" y="321"/>
                  </a:lnTo>
                  <a:lnTo>
                    <a:pt x="163" y="333"/>
                  </a:lnTo>
                  <a:lnTo>
                    <a:pt x="163" y="288"/>
                  </a:lnTo>
                  <a:lnTo>
                    <a:pt x="156" y="283"/>
                  </a:lnTo>
                  <a:lnTo>
                    <a:pt x="193" y="250"/>
                  </a:lnTo>
                  <a:lnTo>
                    <a:pt x="210" y="229"/>
                  </a:lnTo>
                  <a:lnTo>
                    <a:pt x="243" y="212"/>
                  </a:lnTo>
                  <a:lnTo>
                    <a:pt x="248" y="205"/>
                  </a:lnTo>
                  <a:lnTo>
                    <a:pt x="243" y="193"/>
                  </a:lnTo>
                  <a:lnTo>
                    <a:pt x="252" y="134"/>
                  </a:lnTo>
                  <a:lnTo>
                    <a:pt x="269" y="122"/>
                  </a:lnTo>
                  <a:lnTo>
                    <a:pt x="269" y="118"/>
                  </a:lnTo>
                  <a:lnTo>
                    <a:pt x="286" y="111"/>
                  </a:lnTo>
                  <a:lnTo>
                    <a:pt x="297" y="94"/>
                  </a:lnTo>
                  <a:lnTo>
                    <a:pt x="323" y="101"/>
                  </a:lnTo>
                  <a:lnTo>
                    <a:pt x="340" y="101"/>
                  </a:lnTo>
                  <a:lnTo>
                    <a:pt x="319" y="111"/>
                  </a:lnTo>
                  <a:lnTo>
                    <a:pt x="319" y="118"/>
                  </a:lnTo>
                  <a:lnTo>
                    <a:pt x="335" y="122"/>
                  </a:lnTo>
                  <a:lnTo>
                    <a:pt x="352" y="78"/>
                  </a:lnTo>
                  <a:lnTo>
                    <a:pt x="411" y="85"/>
                  </a:lnTo>
                  <a:lnTo>
                    <a:pt x="449" y="56"/>
                  </a:lnTo>
                  <a:lnTo>
                    <a:pt x="479" y="40"/>
                  </a:lnTo>
                  <a:lnTo>
                    <a:pt x="486" y="23"/>
                  </a:lnTo>
                  <a:lnTo>
                    <a:pt x="486" y="11"/>
                  </a:lnTo>
                  <a:lnTo>
                    <a:pt x="503" y="11"/>
                  </a:lnTo>
                  <a:lnTo>
                    <a:pt x="496" y="11"/>
                  </a:lnTo>
                  <a:lnTo>
                    <a:pt x="503" y="23"/>
                  </a:lnTo>
                  <a:lnTo>
                    <a:pt x="524" y="0"/>
                  </a:lnTo>
                  <a:lnTo>
                    <a:pt x="517" y="0"/>
                  </a:lnTo>
                  <a:lnTo>
                    <a:pt x="517" y="0"/>
                  </a:lnTo>
                  <a:lnTo>
                    <a:pt x="555" y="7"/>
                  </a:lnTo>
                  <a:lnTo>
                    <a:pt x="555" y="28"/>
                  </a:lnTo>
                  <a:lnTo>
                    <a:pt x="550" y="40"/>
                  </a:lnTo>
                  <a:lnTo>
                    <a:pt x="503" y="56"/>
                  </a:lnTo>
                  <a:lnTo>
                    <a:pt x="486" y="85"/>
                  </a:lnTo>
                  <a:lnTo>
                    <a:pt x="465" y="94"/>
                  </a:lnTo>
                  <a:lnTo>
                    <a:pt x="432" y="139"/>
                  </a:lnTo>
                  <a:lnTo>
                    <a:pt x="427" y="193"/>
                  </a:lnTo>
                  <a:lnTo>
                    <a:pt x="404" y="234"/>
                  </a:lnTo>
                  <a:lnTo>
                    <a:pt x="427" y="229"/>
                  </a:lnTo>
                  <a:lnTo>
                    <a:pt x="432" y="234"/>
                  </a:lnTo>
                  <a:lnTo>
                    <a:pt x="441" y="245"/>
                  </a:lnTo>
                  <a:lnTo>
                    <a:pt x="449" y="278"/>
                  </a:lnTo>
                  <a:lnTo>
                    <a:pt x="470" y="288"/>
                  </a:lnTo>
                  <a:lnTo>
                    <a:pt x="470" y="316"/>
                  </a:lnTo>
                  <a:lnTo>
                    <a:pt x="465" y="321"/>
                  </a:lnTo>
                  <a:lnTo>
                    <a:pt x="465" y="354"/>
                  </a:lnTo>
                  <a:lnTo>
                    <a:pt x="486" y="373"/>
                  </a:lnTo>
                  <a:lnTo>
                    <a:pt x="496" y="394"/>
                  </a:lnTo>
                  <a:lnTo>
                    <a:pt x="524" y="389"/>
                  </a:lnTo>
                  <a:lnTo>
                    <a:pt x="555" y="394"/>
                  </a:lnTo>
                  <a:lnTo>
                    <a:pt x="588" y="389"/>
                  </a:lnTo>
                  <a:lnTo>
                    <a:pt x="621" y="394"/>
                  </a:lnTo>
                  <a:lnTo>
                    <a:pt x="630" y="394"/>
                  </a:lnTo>
                  <a:lnTo>
                    <a:pt x="680" y="456"/>
                  </a:lnTo>
                  <a:lnTo>
                    <a:pt x="685" y="456"/>
                  </a:lnTo>
                  <a:lnTo>
                    <a:pt x="697" y="456"/>
                  </a:lnTo>
                  <a:lnTo>
                    <a:pt x="701" y="448"/>
                  </a:lnTo>
                  <a:lnTo>
                    <a:pt x="734" y="456"/>
                  </a:lnTo>
                  <a:lnTo>
                    <a:pt x="782" y="448"/>
                  </a:lnTo>
                  <a:lnTo>
                    <a:pt x="789" y="444"/>
                  </a:lnTo>
                  <a:lnTo>
                    <a:pt x="819" y="448"/>
                  </a:lnTo>
                  <a:lnTo>
                    <a:pt x="819" y="465"/>
                  </a:lnTo>
                  <a:lnTo>
                    <a:pt x="805" y="482"/>
                  </a:lnTo>
                  <a:lnTo>
                    <a:pt x="805" y="498"/>
                  </a:lnTo>
                  <a:lnTo>
                    <a:pt x="789" y="510"/>
                  </a:lnTo>
                  <a:lnTo>
                    <a:pt x="789" y="567"/>
                  </a:lnTo>
                  <a:lnTo>
                    <a:pt x="805" y="621"/>
                  </a:lnTo>
                  <a:lnTo>
                    <a:pt x="810" y="633"/>
                  </a:lnTo>
                  <a:lnTo>
                    <a:pt x="827" y="654"/>
                  </a:lnTo>
                  <a:lnTo>
                    <a:pt x="789" y="692"/>
                  </a:lnTo>
                  <a:lnTo>
                    <a:pt x="805" y="692"/>
                  </a:lnTo>
                  <a:lnTo>
                    <a:pt x="836" y="727"/>
                  </a:lnTo>
                  <a:lnTo>
                    <a:pt x="836" y="732"/>
                  </a:lnTo>
                  <a:lnTo>
                    <a:pt x="857" y="815"/>
                  </a:lnTo>
                  <a:lnTo>
                    <a:pt x="843" y="815"/>
                  </a:lnTo>
                  <a:lnTo>
                    <a:pt x="843" y="782"/>
                  </a:lnTo>
                  <a:lnTo>
                    <a:pt x="827" y="744"/>
                  </a:lnTo>
                  <a:lnTo>
                    <a:pt x="819" y="744"/>
                  </a:lnTo>
                  <a:lnTo>
                    <a:pt x="789" y="777"/>
                  </a:lnTo>
                  <a:lnTo>
                    <a:pt x="767" y="760"/>
                  </a:lnTo>
                  <a:lnTo>
                    <a:pt x="756" y="765"/>
                  </a:lnTo>
                  <a:lnTo>
                    <a:pt x="767" y="777"/>
                  </a:lnTo>
                  <a:lnTo>
                    <a:pt x="675" y="765"/>
                  </a:lnTo>
                  <a:lnTo>
                    <a:pt x="647" y="777"/>
                  </a:lnTo>
                  <a:lnTo>
                    <a:pt x="647" y="819"/>
                  </a:lnTo>
                  <a:lnTo>
                    <a:pt x="685" y="819"/>
                  </a:lnTo>
                  <a:lnTo>
                    <a:pt x="697" y="836"/>
                  </a:lnTo>
                  <a:lnTo>
                    <a:pt x="701" y="852"/>
                  </a:lnTo>
                  <a:lnTo>
                    <a:pt x="685" y="852"/>
                  </a:lnTo>
                  <a:lnTo>
                    <a:pt x="680" y="848"/>
                  </a:lnTo>
                  <a:lnTo>
                    <a:pt x="630" y="852"/>
                  </a:lnTo>
                  <a:lnTo>
                    <a:pt x="630" y="909"/>
                  </a:lnTo>
                  <a:lnTo>
                    <a:pt x="664" y="930"/>
                  </a:lnTo>
                  <a:lnTo>
                    <a:pt x="664" y="947"/>
                  </a:lnTo>
                  <a:lnTo>
                    <a:pt x="680" y="970"/>
                  </a:lnTo>
                  <a:lnTo>
                    <a:pt x="680" y="996"/>
                  </a:lnTo>
                  <a:lnTo>
                    <a:pt x="642" y="1202"/>
                  </a:lnTo>
                  <a:lnTo>
                    <a:pt x="621" y="1169"/>
                  </a:lnTo>
                  <a:lnTo>
                    <a:pt x="604" y="1181"/>
                  </a:lnTo>
                  <a:lnTo>
                    <a:pt x="588" y="1169"/>
                  </a:lnTo>
                  <a:lnTo>
                    <a:pt x="630" y="1098"/>
                  </a:lnTo>
                  <a:lnTo>
                    <a:pt x="621" y="1074"/>
                  </a:lnTo>
                  <a:lnTo>
                    <a:pt x="593" y="1074"/>
                  </a:lnTo>
                  <a:lnTo>
                    <a:pt x="578" y="1058"/>
                  </a:lnTo>
                  <a:lnTo>
                    <a:pt x="541" y="1070"/>
                  </a:lnTo>
                  <a:lnTo>
                    <a:pt x="517" y="1058"/>
                  </a:lnTo>
                  <a:lnTo>
                    <a:pt x="517" y="1053"/>
                  </a:lnTo>
                  <a:lnTo>
                    <a:pt x="503" y="1070"/>
                  </a:lnTo>
                  <a:lnTo>
                    <a:pt x="479" y="1074"/>
                  </a:lnTo>
                  <a:lnTo>
                    <a:pt x="458" y="1070"/>
                  </a:lnTo>
                  <a:lnTo>
                    <a:pt x="432" y="1074"/>
                  </a:lnTo>
                  <a:lnTo>
                    <a:pt x="432" y="1070"/>
                  </a:lnTo>
                  <a:lnTo>
                    <a:pt x="415" y="1070"/>
                  </a:lnTo>
                  <a:lnTo>
                    <a:pt x="427" y="1053"/>
                  </a:lnTo>
                  <a:lnTo>
                    <a:pt x="415" y="1025"/>
                  </a:lnTo>
                  <a:lnTo>
                    <a:pt x="415" y="1025"/>
                  </a:lnTo>
                  <a:lnTo>
                    <a:pt x="411" y="1037"/>
                  </a:lnTo>
                  <a:lnTo>
                    <a:pt x="394" y="1020"/>
                  </a:lnTo>
                  <a:lnTo>
                    <a:pt x="394" y="1013"/>
                  </a:lnTo>
                  <a:lnTo>
                    <a:pt x="389" y="996"/>
                  </a:lnTo>
                  <a:lnTo>
                    <a:pt x="340" y="970"/>
                  </a:lnTo>
                  <a:lnTo>
                    <a:pt x="335" y="942"/>
                  </a:lnTo>
                  <a:lnTo>
                    <a:pt x="307" y="926"/>
                  </a:lnTo>
                  <a:lnTo>
                    <a:pt x="302" y="909"/>
                  </a:lnTo>
                  <a:lnTo>
                    <a:pt x="297" y="914"/>
                  </a:lnTo>
                  <a:lnTo>
                    <a:pt x="269" y="904"/>
                  </a:lnTo>
                  <a:lnTo>
                    <a:pt x="269" y="909"/>
                  </a:lnTo>
                  <a:lnTo>
                    <a:pt x="231" y="893"/>
                  </a:lnTo>
                  <a:lnTo>
                    <a:pt x="215" y="876"/>
                  </a:lnTo>
                  <a:lnTo>
                    <a:pt x="201" y="869"/>
                  </a:lnTo>
                  <a:lnTo>
                    <a:pt x="189" y="869"/>
                  </a:lnTo>
                  <a:lnTo>
                    <a:pt x="189" y="876"/>
                  </a:lnTo>
                  <a:lnTo>
                    <a:pt x="177" y="888"/>
                  </a:lnTo>
                  <a:lnTo>
                    <a:pt x="125" y="869"/>
                  </a:lnTo>
                  <a:lnTo>
                    <a:pt x="118" y="852"/>
                  </a:lnTo>
                  <a:lnTo>
                    <a:pt x="101" y="848"/>
                  </a:lnTo>
                  <a:lnTo>
                    <a:pt x="101" y="836"/>
                  </a:lnTo>
                  <a:lnTo>
                    <a:pt x="87" y="836"/>
                  </a:lnTo>
                  <a:lnTo>
                    <a:pt x="71" y="831"/>
                  </a:lnTo>
                  <a:lnTo>
                    <a:pt x="26" y="798"/>
                  </a:lnTo>
                  <a:lnTo>
                    <a:pt x="16" y="786"/>
                  </a:lnTo>
                  <a:lnTo>
                    <a:pt x="0" y="782"/>
                  </a:lnTo>
                  <a:lnTo>
                    <a:pt x="16" y="765"/>
                  </a:lnTo>
                  <a:lnTo>
                    <a:pt x="38" y="777"/>
                  </a:lnTo>
                  <a:lnTo>
                    <a:pt x="38" y="760"/>
                  </a:lnTo>
                  <a:lnTo>
                    <a:pt x="33" y="744"/>
                  </a:lnTo>
                  <a:lnTo>
                    <a:pt x="38" y="727"/>
                  </a:lnTo>
                  <a:lnTo>
                    <a:pt x="49" y="720"/>
                  </a:lnTo>
                  <a:lnTo>
                    <a:pt x="54" y="720"/>
                  </a:lnTo>
                  <a:lnTo>
                    <a:pt x="64" y="720"/>
                  </a:lnTo>
                  <a:lnTo>
                    <a:pt x="80" y="720"/>
                  </a:lnTo>
                  <a:lnTo>
                    <a:pt x="80" y="704"/>
                  </a:lnTo>
                  <a:lnTo>
                    <a:pt x="87" y="708"/>
                  </a:lnTo>
                  <a:lnTo>
                    <a:pt x="92" y="708"/>
                  </a:lnTo>
                  <a:lnTo>
                    <a:pt x="92" y="704"/>
                  </a:lnTo>
                  <a:lnTo>
                    <a:pt x="118" y="666"/>
                  </a:lnTo>
                  <a:lnTo>
                    <a:pt x="118" y="654"/>
                  </a:lnTo>
                  <a:lnTo>
                    <a:pt x="139" y="633"/>
                  </a:lnTo>
                  <a:lnTo>
                    <a:pt x="146" y="616"/>
                  </a:lnTo>
                  <a:lnTo>
                    <a:pt x="134" y="621"/>
                  </a:lnTo>
                  <a:lnTo>
                    <a:pt x="125" y="616"/>
                  </a:lnTo>
                  <a:lnTo>
                    <a:pt x="134" y="609"/>
                  </a:lnTo>
                  <a:lnTo>
                    <a:pt x="134" y="600"/>
                  </a:lnTo>
                  <a:lnTo>
                    <a:pt x="125" y="616"/>
                  </a:lnTo>
                  <a:lnTo>
                    <a:pt x="118" y="609"/>
                  </a:lnTo>
                  <a:lnTo>
                    <a:pt x="118" y="600"/>
                  </a:lnTo>
                  <a:lnTo>
                    <a:pt x="134" y="593"/>
                  </a:lnTo>
                  <a:lnTo>
                    <a:pt x="118" y="583"/>
                  </a:lnTo>
                  <a:lnTo>
                    <a:pt x="125" y="567"/>
                  </a:lnTo>
                  <a:lnTo>
                    <a:pt x="125" y="522"/>
                  </a:lnTo>
                  <a:lnTo>
                    <a:pt x="118" y="505"/>
                  </a:lnTo>
                  <a:lnTo>
                    <a:pt x="108" y="498"/>
                  </a:lnTo>
                  <a:lnTo>
                    <a:pt x="134" y="482"/>
                  </a:lnTo>
                  <a:lnTo>
                    <a:pt x="118" y="448"/>
                  </a:lnTo>
                  <a:lnTo>
                    <a:pt x="118" y="444"/>
                  </a:lnTo>
                  <a:lnTo>
                    <a:pt x="118" y="448"/>
                  </a:lnTo>
                  <a:lnTo>
                    <a:pt x="125" y="427"/>
                  </a:lnTo>
                  <a:lnTo>
                    <a:pt x="87" y="378"/>
                  </a:lnTo>
                  <a:lnTo>
                    <a:pt x="87" y="378"/>
                  </a:lnTo>
                  <a:lnTo>
                    <a:pt x="87" y="378"/>
                  </a:lnTo>
                  <a:close/>
                  <a:moveTo>
                    <a:pt x="118" y="583"/>
                  </a:moveTo>
                  <a:lnTo>
                    <a:pt x="125" y="593"/>
                  </a:lnTo>
                  <a:lnTo>
                    <a:pt x="108" y="593"/>
                  </a:lnTo>
                  <a:lnTo>
                    <a:pt x="118" y="583"/>
                  </a:lnTo>
                  <a:lnTo>
                    <a:pt x="118" y="583"/>
                  </a:lnTo>
                  <a:lnTo>
                    <a:pt x="118" y="583"/>
                  </a:lnTo>
                  <a:close/>
                  <a:moveTo>
                    <a:pt x="108" y="600"/>
                  </a:moveTo>
                  <a:lnTo>
                    <a:pt x="118" y="600"/>
                  </a:lnTo>
                  <a:lnTo>
                    <a:pt x="118" y="609"/>
                  </a:lnTo>
                  <a:lnTo>
                    <a:pt x="108" y="600"/>
                  </a:lnTo>
                  <a:lnTo>
                    <a:pt x="108" y="600"/>
                  </a:lnTo>
                  <a:lnTo>
                    <a:pt x="108" y="600"/>
                  </a:lnTo>
                  <a:close/>
                  <a:moveTo>
                    <a:pt x="118" y="666"/>
                  </a:moveTo>
                  <a:lnTo>
                    <a:pt x="108" y="666"/>
                  </a:lnTo>
                  <a:lnTo>
                    <a:pt x="118" y="666"/>
                  </a:lnTo>
                  <a:lnTo>
                    <a:pt x="118" y="666"/>
                  </a:lnTo>
                  <a:lnTo>
                    <a:pt x="118" y="666"/>
                  </a:lnTo>
                  <a:lnTo>
                    <a:pt x="118" y="666"/>
                  </a:lnTo>
                  <a:close/>
                  <a:moveTo>
                    <a:pt x="108" y="671"/>
                  </a:moveTo>
                  <a:lnTo>
                    <a:pt x="108" y="666"/>
                  </a:lnTo>
                  <a:lnTo>
                    <a:pt x="108" y="675"/>
                  </a:lnTo>
                  <a:lnTo>
                    <a:pt x="101" y="675"/>
                  </a:lnTo>
                  <a:lnTo>
                    <a:pt x="108" y="671"/>
                  </a:lnTo>
                  <a:lnTo>
                    <a:pt x="108" y="671"/>
                  </a:lnTo>
                  <a:lnTo>
                    <a:pt x="108" y="671"/>
                  </a:lnTo>
                  <a:close/>
                  <a:moveTo>
                    <a:pt x="87" y="708"/>
                  </a:moveTo>
                  <a:lnTo>
                    <a:pt x="87" y="704"/>
                  </a:lnTo>
                  <a:lnTo>
                    <a:pt x="92" y="708"/>
                  </a:lnTo>
                  <a:lnTo>
                    <a:pt x="87" y="708"/>
                  </a:lnTo>
                  <a:lnTo>
                    <a:pt x="87" y="708"/>
                  </a:lnTo>
                  <a:lnTo>
                    <a:pt x="87" y="708"/>
                  </a:lnTo>
                  <a:close/>
                  <a:moveTo>
                    <a:pt x="80" y="720"/>
                  </a:moveTo>
                  <a:lnTo>
                    <a:pt x="71" y="708"/>
                  </a:lnTo>
                  <a:lnTo>
                    <a:pt x="80" y="704"/>
                  </a:lnTo>
                  <a:lnTo>
                    <a:pt x="80" y="720"/>
                  </a:lnTo>
                  <a:lnTo>
                    <a:pt x="80" y="720"/>
                  </a:lnTo>
                  <a:lnTo>
                    <a:pt x="80" y="720"/>
                  </a:lnTo>
                  <a:close/>
                  <a:moveTo>
                    <a:pt x="71" y="720"/>
                  </a:moveTo>
                  <a:lnTo>
                    <a:pt x="64" y="708"/>
                  </a:lnTo>
                  <a:lnTo>
                    <a:pt x="71" y="708"/>
                  </a:lnTo>
                  <a:lnTo>
                    <a:pt x="71" y="720"/>
                  </a:lnTo>
                  <a:lnTo>
                    <a:pt x="71" y="720"/>
                  </a:lnTo>
                  <a:lnTo>
                    <a:pt x="71" y="72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00" name="Freeform 420">
              <a:extLst>
                <a:ext uri="{FF2B5EF4-FFF2-40B4-BE49-F238E27FC236}">
                  <a16:creationId xmlns:a16="http://schemas.microsoft.com/office/drawing/2014/main" id="{2F975918-F98D-4E91-9A8C-B55818952AB2}"/>
                </a:ext>
              </a:extLst>
            </p:cNvPr>
            <p:cNvSpPr>
              <a:spLocks/>
            </p:cNvSpPr>
            <p:nvPr/>
          </p:nvSpPr>
          <p:spPr bwMode="gray">
            <a:xfrm>
              <a:off x="2891460" y="6610302"/>
              <a:ext cx="108127" cy="108140"/>
            </a:xfrm>
            <a:custGeom>
              <a:avLst/>
              <a:gdLst>
                <a:gd name="T0" fmla="*/ 232 w 232"/>
                <a:gd name="T1" fmla="*/ 121 h 232"/>
                <a:gd name="T2" fmla="*/ 232 w 232"/>
                <a:gd name="T3" fmla="*/ 128 h 232"/>
                <a:gd name="T4" fmla="*/ 215 w 232"/>
                <a:gd name="T5" fmla="*/ 121 h 232"/>
                <a:gd name="T6" fmla="*/ 206 w 232"/>
                <a:gd name="T7" fmla="*/ 128 h 232"/>
                <a:gd name="T8" fmla="*/ 206 w 232"/>
                <a:gd name="T9" fmla="*/ 161 h 232"/>
                <a:gd name="T10" fmla="*/ 222 w 232"/>
                <a:gd name="T11" fmla="*/ 166 h 232"/>
                <a:gd name="T12" fmla="*/ 206 w 232"/>
                <a:gd name="T13" fmla="*/ 182 h 232"/>
                <a:gd name="T14" fmla="*/ 215 w 232"/>
                <a:gd name="T15" fmla="*/ 199 h 232"/>
                <a:gd name="T16" fmla="*/ 201 w 232"/>
                <a:gd name="T17" fmla="*/ 215 h 232"/>
                <a:gd name="T18" fmla="*/ 206 w 232"/>
                <a:gd name="T19" fmla="*/ 215 h 232"/>
                <a:gd name="T20" fmla="*/ 206 w 232"/>
                <a:gd name="T21" fmla="*/ 232 h 232"/>
                <a:gd name="T22" fmla="*/ 206 w 232"/>
                <a:gd name="T23" fmla="*/ 220 h 232"/>
                <a:gd name="T24" fmla="*/ 189 w 232"/>
                <a:gd name="T25" fmla="*/ 203 h 232"/>
                <a:gd name="T26" fmla="*/ 201 w 232"/>
                <a:gd name="T27" fmla="*/ 203 h 232"/>
                <a:gd name="T28" fmla="*/ 189 w 232"/>
                <a:gd name="T29" fmla="*/ 194 h 232"/>
                <a:gd name="T30" fmla="*/ 180 w 232"/>
                <a:gd name="T31" fmla="*/ 182 h 232"/>
                <a:gd name="T32" fmla="*/ 168 w 232"/>
                <a:gd name="T33" fmla="*/ 182 h 232"/>
                <a:gd name="T34" fmla="*/ 185 w 232"/>
                <a:gd name="T35" fmla="*/ 199 h 232"/>
                <a:gd name="T36" fmla="*/ 185 w 232"/>
                <a:gd name="T37" fmla="*/ 203 h 232"/>
                <a:gd name="T38" fmla="*/ 151 w 232"/>
                <a:gd name="T39" fmla="*/ 194 h 232"/>
                <a:gd name="T40" fmla="*/ 163 w 232"/>
                <a:gd name="T41" fmla="*/ 177 h 232"/>
                <a:gd name="T42" fmla="*/ 163 w 232"/>
                <a:gd name="T43" fmla="*/ 161 h 232"/>
                <a:gd name="T44" fmla="*/ 114 w 232"/>
                <a:gd name="T45" fmla="*/ 128 h 232"/>
                <a:gd name="T46" fmla="*/ 92 w 232"/>
                <a:gd name="T47" fmla="*/ 121 h 232"/>
                <a:gd name="T48" fmla="*/ 81 w 232"/>
                <a:gd name="T49" fmla="*/ 95 h 232"/>
                <a:gd name="T50" fmla="*/ 43 w 232"/>
                <a:gd name="T51" fmla="*/ 83 h 232"/>
                <a:gd name="T52" fmla="*/ 43 w 232"/>
                <a:gd name="T53" fmla="*/ 88 h 232"/>
                <a:gd name="T54" fmla="*/ 71 w 232"/>
                <a:gd name="T55" fmla="*/ 104 h 232"/>
                <a:gd name="T56" fmla="*/ 55 w 232"/>
                <a:gd name="T57" fmla="*/ 121 h 232"/>
                <a:gd name="T58" fmla="*/ 38 w 232"/>
                <a:gd name="T59" fmla="*/ 104 h 232"/>
                <a:gd name="T60" fmla="*/ 17 w 232"/>
                <a:gd name="T61" fmla="*/ 95 h 232"/>
                <a:gd name="T62" fmla="*/ 0 w 232"/>
                <a:gd name="T63" fmla="*/ 66 h 232"/>
                <a:gd name="T64" fmla="*/ 22 w 232"/>
                <a:gd name="T65" fmla="*/ 50 h 232"/>
                <a:gd name="T66" fmla="*/ 17 w 232"/>
                <a:gd name="T67" fmla="*/ 33 h 232"/>
                <a:gd name="T68" fmla="*/ 0 w 232"/>
                <a:gd name="T69" fmla="*/ 29 h 232"/>
                <a:gd name="T70" fmla="*/ 17 w 232"/>
                <a:gd name="T71" fmla="*/ 29 h 232"/>
                <a:gd name="T72" fmla="*/ 17 w 232"/>
                <a:gd name="T73" fmla="*/ 17 h 232"/>
                <a:gd name="T74" fmla="*/ 22 w 232"/>
                <a:gd name="T75" fmla="*/ 0 h 232"/>
                <a:gd name="T76" fmla="*/ 71 w 232"/>
                <a:gd name="T77" fmla="*/ 29 h 232"/>
                <a:gd name="T78" fmla="*/ 81 w 232"/>
                <a:gd name="T79" fmla="*/ 17 h 232"/>
                <a:gd name="T80" fmla="*/ 135 w 232"/>
                <a:gd name="T81" fmla="*/ 38 h 232"/>
                <a:gd name="T82" fmla="*/ 151 w 232"/>
                <a:gd name="T83" fmla="*/ 33 h 232"/>
                <a:gd name="T84" fmla="*/ 163 w 232"/>
                <a:gd name="T85" fmla="*/ 29 h 232"/>
                <a:gd name="T86" fmla="*/ 180 w 232"/>
                <a:gd name="T87" fmla="*/ 71 h 232"/>
                <a:gd name="T88" fmla="*/ 222 w 232"/>
                <a:gd name="T89" fmla="*/ 121 h 232"/>
                <a:gd name="T90" fmla="*/ 232 w 232"/>
                <a:gd name="T91" fmla="*/ 121 h 232"/>
                <a:gd name="T92" fmla="*/ 232 w 232"/>
                <a:gd name="T93" fmla="*/ 121 h 232"/>
                <a:gd name="T94" fmla="*/ 232 w 232"/>
                <a:gd name="T95" fmla="*/ 12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2" h="232">
                  <a:moveTo>
                    <a:pt x="232" y="121"/>
                  </a:moveTo>
                  <a:lnTo>
                    <a:pt x="232" y="128"/>
                  </a:lnTo>
                  <a:lnTo>
                    <a:pt x="215" y="121"/>
                  </a:lnTo>
                  <a:lnTo>
                    <a:pt x="206" y="128"/>
                  </a:lnTo>
                  <a:lnTo>
                    <a:pt x="206" y="161"/>
                  </a:lnTo>
                  <a:lnTo>
                    <a:pt x="222" y="166"/>
                  </a:lnTo>
                  <a:lnTo>
                    <a:pt x="206" y="182"/>
                  </a:lnTo>
                  <a:lnTo>
                    <a:pt x="215" y="199"/>
                  </a:lnTo>
                  <a:lnTo>
                    <a:pt x="201" y="215"/>
                  </a:lnTo>
                  <a:lnTo>
                    <a:pt x="206" y="215"/>
                  </a:lnTo>
                  <a:lnTo>
                    <a:pt x="206" y="232"/>
                  </a:lnTo>
                  <a:lnTo>
                    <a:pt x="206" y="220"/>
                  </a:lnTo>
                  <a:lnTo>
                    <a:pt x="189" y="203"/>
                  </a:lnTo>
                  <a:lnTo>
                    <a:pt x="201" y="203"/>
                  </a:lnTo>
                  <a:lnTo>
                    <a:pt x="189" y="194"/>
                  </a:lnTo>
                  <a:lnTo>
                    <a:pt x="180" y="182"/>
                  </a:lnTo>
                  <a:lnTo>
                    <a:pt x="168" y="182"/>
                  </a:lnTo>
                  <a:lnTo>
                    <a:pt x="185" y="199"/>
                  </a:lnTo>
                  <a:lnTo>
                    <a:pt x="185" y="203"/>
                  </a:lnTo>
                  <a:lnTo>
                    <a:pt x="151" y="194"/>
                  </a:lnTo>
                  <a:lnTo>
                    <a:pt x="163" y="177"/>
                  </a:lnTo>
                  <a:lnTo>
                    <a:pt x="163" y="161"/>
                  </a:lnTo>
                  <a:lnTo>
                    <a:pt x="114" y="128"/>
                  </a:lnTo>
                  <a:lnTo>
                    <a:pt x="92" y="121"/>
                  </a:lnTo>
                  <a:lnTo>
                    <a:pt x="81" y="95"/>
                  </a:lnTo>
                  <a:lnTo>
                    <a:pt x="43" y="83"/>
                  </a:lnTo>
                  <a:lnTo>
                    <a:pt x="43" y="88"/>
                  </a:lnTo>
                  <a:lnTo>
                    <a:pt x="71" y="104"/>
                  </a:lnTo>
                  <a:lnTo>
                    <a:pt x="55" y="121"/>
                  </a:lnTo>
                  <a:lnTo>
                    <a:pt x="38" y="104"/>
                  </a:lnTo>
                  <a:lnTo>
                    <a:pt x="17" y="95"/>
                  </a:lnTo>
                  <a:lnTo>
                    <a:pt x="0" y="66"/>
                  </a:lnTo>
                  <a:lnTo>
                    <a:pt x="22" y="50"/>
                  </a:lnTo>
                  <a:lnTo>
                    <a:pt x="17" y="33"/>
                  </a:lnTo>
                  <a:lnTo>
                    <a:pt x="0" y="29"/>
                  </a:lnTo>
                  <a:lnTo>
                    <a:pt x="17" y="29"/>
                  </a:lnTo>
                  <a:lnTo>
                    <a:pt x="17" y="17"/>
                  </a:lnTo>
                  <a:lnTo>
                    <a:pt x="22" y="0"/>
                  </a:lnTo>
                  <a:lnTo>
                    <a:pt x="71" y="29"/>
                  </a:lnTo>
                  <a:lnTo>
                    <a:pt x="81" y="17"/>
                  </a:lnTo>
                  <a:lnTo>
                    <a:pt x="135" y="38"/>
                  </a:lnTo>
                  <a:lnTo>
                    <a:pt x="151" y="33"/>
                  </a:lnTo>
                  <a:lnTo>
                    <a:pt x="163" y="29"/>
                  </a:lnTo>
                  <a:lnTo>
                    <a:pt x="180" y="71"/>
                  </a:lnTo>
                  <a:lnTo>
                    <a:pt x="222" y="121"/>
                  </a:lnTo>
                  <a:lnTo>
                    <a:pt x="232" y="121"/>
                  </a:lnTo>
                  <a:lnTo>
                    <a:pt x="232" y="121"/>
                  </a:lnTo>
                  <a:lnTo>
                    <a:pt x="232" y="1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01" name="Freeform 422">
              <a:extLst>
                <a:ext uri="{FF2B5EF4-FFF2-40B4-BE49-F238E27FC236}">
                  <a16:creationId xmlns:a16="http://schemas.microsoft.com/office/drawing/2014/main" id="{7C4E879D-6AA7-441B-8280-199DB03B9D7B}"/>
                </a:ext>
              </a:extLst>
            </p:cNvPr>
            <p:cNvSpPr>
              <a:spLocks noEditPoints="1"/>
            </p:cNvSpPr>
            <p:nvPr/>
          </p:nvSpPr>
          <p:spPr bwMode="gray">
            <a:xfrm>
              <a:off x="2923618" y="6196393"/>
              <a:ext cx="352344" cy="120258"/>
            </a:xfrm>
            <a:custGeom>
              <a:avLst/>
              <a:gdLst>
                <a:gd name="T0" fmla="*/ 685 w 756"/>
                <a:gd name="T1" fmla="*/ 241 h 258"/>
                <a:gd name="T2" fmla="*/ 605 w 756"/>
                <a:gd name="T3" fmla="*/ 241 h 258"/>
                <a:gd name="T4" fmla="*/ 545 w 756"/>
                <a:gd name="T5" fmla="*/ 217 h 258"/>
                <a:gd name="T6" fmla="*/ 475 w 756"/>
                <a:gd name="T7" fmla="*/ 196 h 258"/>
                <a:gd name="T8" fmla="*/ 432 w 756"/>
                <a:gd name="T9" fmla="*/ 123 h 258"/>
                <a:gd name="T10" fmla="*/ 314 w 756"/>
                <a:gd name="T11" fmla="*/ 95 h 258"/>
                <a:gd name="T12" fmla="*/ 281 w 756"/>
                <a:gd name="T13" fmla="*/ 90 h 258"/>
                <a:gd name="T14" fmla="*/ 243 w 756"/>
                <a:gd name="T15" fmla="*/ 83 h 258"/>
                <a:gd name="T16" fmla="*/ 227 w 756"/>
                <a:gd name="T17" fmla="*/ 57 h 258"/>
                <a:gd name="T18" fmla="*/ 151 w 756"/>
                <a:gd name="T19" fmla="*/ 40 h 258"/>
                <a:gd name="T20" fmla="*/ 59 w 756"/>
                <a:gd name="T21" fmla="*/ 95 h 258"/>
                <a:gd name="T22" fmla="*/ 28 w 756"/>
                <a:gd name="T23" fmla="*/ 95 h 258"/>
                <a:gd name="T24" fmla="*/ 28 w 756"/>
                <a:gd name="T25" fmla="*/ 90 h 258"/>
                <a:gd name="T26" fmla="*/ 54 w 756"/>
                <a:gd name="T27" fmla="*/ 50 h 258"/>
                <a:gd name="T28" fmla="*/ 189 w 756"/>
                <a:gd name="T29" fmla="*/ 0 h 258"/>
                <a:gd name="T30" fmla="*/ 260 w 756"/>
                <a:gd name="T31" fmla="*/ 0 h 258"/>
                <a:gd name="T32" fmla="*/ 297 w 756"/>
                <a:gd name="T33" fmla="*/ 12 h 258"/>
                <a:gd name="T34" fmla="*/ 368 w 756"/>
                <a:gd name="T35" fmla="*/ 33 h 258"/>
                <a:gd name="T36" fmla="*/ 444 w 756"/>
                <a:gd name="T37" fmla="*/ 66 h 258"/>
                <a:gd name="T38" fmla="*/ 524 w 756"/>
                <a:gd name="T39" fmla="*/ 111 h 258"/>
                <a:gd name="T40" fmla="*/ 508 w 756"/>
                <a:gd name="T41" fmla="*/ 106 h 258"/>
                <a:gd name="T42" fmla="*/ 545 w 756"/>
                <a:gd name="T43" fmla="*/ 123 h 258"/>
                <a:gd name="T44" fmla="*/ 545 w 756"/>
                <a:gd name="T45" fmla="*/ 123 h 258"/>
                <a:gd name="T46" fmla="*/ 567 w 756"/>
                <a:gd name="T47" fmla="*/ 140 h 258"/>
                <a:gd name="T48" fmla="*/ 595 w 756"/>
                <a:gd name="T49" fmla="*/ 151 h 258"/>
                <a:gd name="T50" fmla="*/ 621 w 756"/>
                <a:gd name="T51" fmla="*/ 163 h 258"/>
                <a:gd name="T52" fmla="*/ 647 w 756"/>
                <a:gd name="T53" fmla="*/ 180 h 258"/>
                <a:gd name="T54" fmla="*/ 701 w 756"/>
                <a:gd name="T55" fmla="*/ 196 h 258"/>
                <a:gd name="T56" fmla="*/ 744 w 756"/>
                <a:gd name="T57" fmla="*/ 241 h 258"/>
                <a:gd name="T58" fmla="*/ 685 w 756"/>
                <a:gd name="T59" fmla="*/ 253 h 258"/>
                <a:gd name="T60" fmla="*/ 437 w 756"/>
                <a:gd name="T61" fmla="*/ 50 h 258"/>
                <a:gd name="T62" fmla="*/ 453 w 756"/>
                <a:gd name="T63" fmla="*/ 57 h 258"/>
                <a:gd name="T64" fmla="*/ 486 w 756"/>
                <a:gd name="T65" fmla="*/ 73 h 258"/>
                <a:gd name="T66" fmla="*/ 486 w 756"/>
                <a:gd name="T67" fmla="*/ 73 h 258"/>
                <a:gd name="T68" fmla="*/ 491 w 756"/>
                <a:gd name="T69" fmla="*/ 83 h 258"/>
                <a:gd name="T70" fmla="*/ 491 w 756"/>
                <a:gd name="T71" fmla="*/ 73 h 258"/>
                <a:gd name="T72" fmla="*/ 491 w 756"/>
                <a:gd name="T73" fmla="*/ 83 h 258"/>
                <a:gd name="T74" fmla="*/ 508 w 756"/>
                <a:gd name="T75" fmla="*/ 90 h 258"/>
                <a:gd name="T76" fmla="*/ 508 w 756"/>
                <a:gd name="T77" fmla="*/ 95 h 258"/>
                <a:gd name="T78" fmla="*/ 120 w 756"/>
                <a:gd name="T79" fmla="*/ 123 h 258"/>
                <a:gd name="T80" fmla="*/ 130 w 756"/>
                <a:gd name="T81" fmla="*/ 106 h 258"/>
                <a:gd name="T82" fmla="*/ 168 w 756"/>
                <a:gd name="T83" fmla="*/ 123 h 258"/>
                <a:gd name="T84" fmla="*/ 134 w 756"/>
                <a:gd name="T85" fmla="*/ 14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56" h="258">
                  <a:moveTo>
                    <a:pt x="685" y="253"/>
                  </a:moveTo>
                  <a:lnTo>
                    <a:pt x="685" y="253"/>
                  </a:lnTo>
                  <a:lnTo>
                    <a:pt x="685" y="241"/>
                  </a:lnTo>
                  <a:lnTo>
                    <a:pt x="685" y="253"/>
                  </a:lnTo>
                  <a:lnTo>
                    <a:pt x="675" y="253"/>
                  </a:lnTo>
                  <a:lnTo>
                    <a:pt x="605" y="241"/>
                  </a:lnTo>
                  <a:lnTo>
                    <a:pt x="496" y="258"/>
                  </a:lnTo>
                  <a:lnTo>
                    <a:pt x="512" y="241"/>
                  </a:lnTo>
                  <a:lnTo>
                    <a:pt x="545" y="217"/>
                  </a:lnTo>
                  <a:lnTo>
                    <a:pt x="545" y="208"/>
                  </a:lnTo>
                  <a:lnTo>
                    <a:pt x="541" y="196"/>
                  </a:lnTo>
                  <a:lnTo>
                    <a:pt x="475" y="196"/>
                  </a:lnTo>
                  <a:lnTo>
                    <a:pt x="444" y="168"/>
                  </a:lnTo>
                  <a:lnTo>
                    <a:pt x="437" y="128"/>
                  </a:lnTo>
                  <a:lnTo>
                    <a:pt x="432" y="123"/>
                  </a:lnTo>
                  <a:lnTo>
                    <a:pt x="399" y="128"/>
                  </a:lnTo>
                  <a:lnTo>
                    <a:pt x="345" y="111"/>
                  </a:lnTo>
                  <a:lnTo>
                    <a:pt x="314" y="95"/>
                  </a:lnTo>
                  <a:lnTo>
                    <a:pt x="307" y="83"/>
                  </a:lnTo>
                  <a:lnTo>
                    <a:pt x="297" y="90"/>
                  </a:lnTo>
                  <a:lnTo>
                    <a:pt x="281" y="90"/>
                  </a:lnTo>
                  <a:lnTo>
                    <a:pt x="260" y="83"/>
                  </a:lnTo>
                  <a:lnTo>
                    <a:pt x="243" y="90"/>
                  </a:lnTo>
                  <a:lnTo>
                    <a:pt x="243" y="83"/>
                  </a:lnTo>
                  <a:lnTo>
                    <a:pt x="217" y="83"/>
                  </a:lnTo>
                  <a:lnTo>
                    <a:pt x="189" y="66"/>
                  </a:lnTo>
                  <a:lnTo>
                    <a:pt x="227" y="57"/>
                  </a:lnTo>
                  <a:lnTo>
                    <a:pt x="227" y="50"/>
                  </a:lnTo>
                  <a:lnTo>
                    <a:pt x="217" y="40"/>
                  </a:lnTo>
                  <a:lnTo>
                    <a:pt x="151" y="40"/>
                  </a:lnTo>
                  <a:lnTo>
                    <a:pt x="108" y="73"/>
                  </a:lnTo>
                  <a:lnTo>
                    <a:pt x="66" y="83"/>
                  </a:lnTo>
                  <a:lnTo>
                    <a:pt x="59" y="95"/>
                  </a:lnTo>
                  <a:lnTo>
                    <a:pt x="45" y="95"/>
                  </a:lnTo>
                  <a:lnTo>
                    <a:pt x="28" y="111"/>
                  </a:lnTo>
                  <a:lnTo>
                    <a:pt x="28" y="95"/>
                  </a:lnTo>
                  <a:lnTo>
                    <a:pt x="7" y="106"/>
                  </a:lnTo>
                  <a:lnTo>
                    <a:pt x="0" y="106"/>
                  </a:lnTo>
                  <a:lnTo>
                    <a:pt x="28" y="90"/>
                  </a:lnTo>
                  <a:lnTo>
                    <a:pt x="38" y="90"/>
                  </a:lnTo>
                  <a:lnTo>
                    <a:pt x="28" y="73"/>
                  </a:lnTo>
                  <a:lnTo>
                    <a:pt x="54" y="50"/>
                  </a:lnTo>
                  <a:lnTo>
                    <a:pt x="113" y="17"/>
                  </a:lnTo>
                  <a:lnTo>
                    <a:pt x="134" y="17"/>
                  </a:lnTo>
                  <a:lnTo>
                    <a:pt x="189" y="0"/>
                  </a:lnTo>
                  <a:lnTo>
                    <a:pt x="227" y="0"/>
                  </a:lnTo>
                  <a:lnTo>
                    <a:pt x="238" y="12"/>
                  </a:lnTo>
                  <a:lnTo>
                    <a:pt x="260" y="0"/>
                  </a:lnTo>
                  <a:lnTo>
                    <a:pt x="255" y="12"/>
                  </a:lnTo>
                  <a:lnTo>
                    <a:pt x="260" y="17"/>
                  </a:lnTo>
                  <a:lnTo>
                    <a:pt x="297" y="12"/>
                  </a:lnTo>
                  <a:lnTo>
                    <a:pt x="323" y="21"/>
                  </a:lnTo>
                  <a:lnTo>
                    <a:pt x="335" y="17"/>
                  </a:lnTo>
                  <a:lnTo>
                    <a:pt x="368" y="33"/>
                  </a:lnTo>
                  <a:lnTo>
                    <a:pt x="390" y="66"/>
                  </a:lnTo>
                  <a:lnTo>
                    <a:pt x="420" y="66"/>
                  </a:lnTo>
                  <a:lnTo>
                    <a:pt x="444" y="66"/>
                  </a:lnTo>
                  <a:lnTo>
                    <a:pt x="475" y="90"/>
                  </a:lnTo>
                  <a:lnTo>
                    <a:pt x="496" y="106"/>
                  </a:lnTo>
                  <a:lnTo>
                    <a:pt x="524" y="111"/>
                  </a:lnTo>
                  <a:lnTo>
                    <a:pt x="524" y="123"/>
                  </a:lnTo>
                  <a:lnTo>
                    <a:pt x="529" y="123"/>
                  </a:lnTo>
                  <a:lnTo>
                    <a:pt x="508" y="106"/>
                  </a:lnTo>
                  <a:lnTo>
                    <a:pt x="512" y="95"/>
                  </a:lnTo>
                  <a:lnTo>
                    <a:pt x="545" y="123"/>
                  </a:lnTo>
                  <a:lnTo>
                    <a:pt x="545" y="123"/>
                  </a:lnTo>
                  <a:lnTo>
                    <a:pt x="529" y="123"/>
                  </a:lnTo>
                  <a:lnTo>
                    <a:pt x="541" y="128"/>
                  </a:lnTo>
                  <a:lnTo>
                    <a:pt x="545" y="123"/>
                  </a:lnTo>
                  <a:lnTo>
                    <a:pt x="562" y="140"/>
                  </a:lnTo>
                  <a:lnTo>
                    <a:pt x="562" y="147"/>
                  </a:lnTo>
                  <a:lnTo>
                    <a:pt x="567" y="140"/>
                  </a:lnTo>
                  <a:lnTo>
                    <a:pt x="579" y="147"/>
                  </a:lnTo>
                  <a:lnTo>
                    <a:pt x="583" y="151"/>
                  </a:lnTo>
                  <a:lnTo>
                    <a:pt x="595" y="151"/>
                  </a:lnTo>
                  <a:lnTo>
                    <a:pt x="595" y="147"/>
                  </a:lnTo>
                  <a:lnTo>
                    <a:pt x="600" y="147"/>
                  </a:lnTo>
                  <a:lnTo>
                    <a:pt x="621" y="163"/>
                  </a:lnTo>
                  <a:lnTo>
                    <a:pt x="647" y="163"/>
                  </a:lnTo>
                  <a:lnTo>
                    <a:pt x="654" y="168"/>
                  </a:lnTo>
                  <a:lnTo>
                    <a:pt x="647" y="180"/>
                  </a:lnTo>
                  <a:lnTo>
                    <a:pt x="638" y="184"/>
                  </a:lnTo>
                  <a:lnTo>
                    <a:pt x="638" y="196"/>
                  </a:lnTo>
                  <a:lnTo>
                    <a:pt x="701" y="196"/>
                  </a:lnTo>
                  <a:lnTo>
                    <a:pt x="730" y="217"/>
                  </a:lnTo>
                  <a:lnTo>
                    <a:pt x="756" y="225"/>
                  </a:lnTo>
                  <a:lnTo>
                    <a:pt x="744" y="241"/>
                  </a:lnTo>
                  <a:lnTo>
                    <a:pt x="706" y="241"/>
                  </a:lnTo>
                  <a:lnTo>
                    <a:pt x="685" y="253"/>
                  </a:lnTo>
                  <a:lnTo>
                    <a:pt x="685" y="253"/>
                  </a:lnTo>
                  <a:lnTo>
                    <a:pt x="685" y="253"/>
                  </a:lnTo>
                  <a:close/>
                  <a:moveTo>
                    <a:pt x="453" y="57"/>
                  </a:moveTo>
                  <a:lnTo>
                    <a:pt x="437" y="50"/>
                  </a:lnTo>
                  <a:lnTo>
                    <a:pt x="453" y="50"/>
                  </a:lnTo>
                  <a:lnTo>
                    <a:pt x="458" y="57"/>
                  </a:lnTo>
                  <a:lnTo>
                    <a:pt x="453" y="57"/>
                  </a:lnTo>
                  <a:lnTo>
                    <a:pt x="453" y="57"/>
                  </a:lnTo>
                  <a:lnTo>
                    <a:pt x="453" y="57"/>
                  </a:lnTo>
                  <a:close/>
                  <a:moveTo>
                    <a:pt x="486" y="73"/>
                  </a:moveTo>
                  <a:lnTo>
                    <a:pt x="458" y="57"/>
                  </a:lnTo>
                  <a:lnTo>
                    <a:pt x="475" y="57"/>
                  </a:lnTo>
                  <a:lnTo>
                    <a:pt x="486" y="73"/>
                  </a:lnTo>
                  <a:lnTo>
                    <a:pt x="486" y="73"/>
                  </a:lnTo>
                  <a:lnTo>
                    <a:pt x="486" y="73"/>
                  </a:lnTo>
                  <a:close/>
                  <a:moveTo>
                    <a:pt x="491" y="83"/>
                  </a:moveTo>
                  <a:lnTo>
                    <a:pt x="475" y="83"/>
                  </a:lnTo>
                  <a:lnTo>
                    <a:pt x="486" y="73"/>
                  </a:lnTo>
                  <a:lnTo>
                    <a:pt x="491" y="73"/>
                  </a:lnTo>
                  <a:lnTo>
                    <a:pt x="491" y="83"/>
                  </a:lnTo>
                  <a:lnTo>
                    <a:pt x="491" y="83"/>
                  </a:lnTo>
                  <a:lnTo>
                    <a:pt x="491" y="83"/>
                  </a:lnTo>
                  <a:close/>
                  <a:moveTo>
                    <a:pt x="508" y="95"/>
                  </a:moveTo>
                  <a:lnTo>
                    <a:pt x="486" y="83"/>
                  </a:lnTo>
                  <a:lnTo>
                    <a:pt x="508" y="90"/>
                  </a:lnTo>
                  <a:lnTo>
                    <a:pt x="508" y="95"/>
                  </a:lnTo>
                  <a:lnTo>
                    <a:pt x="508" y="95"/>
                  </a:lnTo>
                  <a:lnTo>
                    <a:pt x="508" y="95"/>
                  </a:lnTo>
                  <a:close/>
                  <a:moveTo>
                    <a:pt x="134" y="140"/>
                  </a:moveTo>
                  <a:lnTo>
                    <a:pt x="130" y="140"/>
                  </a:lnTo>
                  <a:lnTo>
                    <a:pt x="120" y="123"/>
                  </a:lnTo>
                  <a:lnTo>
                    <a:pt x="130" y="128"/>
                  </a:lnTo>
                  <a:lnTo>
                    <a:pt x="134" y="123"/>
                  </a:lnTo>
                  <a:lnTo>
                    <a:pt x="130" y="106"/>
                  </a:lnTo>
                  <a:lnTo>
                    <a:pt x="134" y="95"/>
                  </a:lnTo>
                  <a:lnTo>
                    <a:pt x="151" y="95"/>
                  </a:lnTo>
                  <a:lnTo>
                    <a:pt x="168" y="123"/>
                  </a:lnTo>
                  <a:lnTo>
                    <a:pt x="134" y="140"/>
                  </a:lnTo>
                  <a:lnTo>
                    <a:pt x="134" y="140"/>
                  </a:lnTo>
                  <a:lnTo>
                    <a:pt x="134" y="14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02" name="Freeform 427">
              <a:extLst>
                <a:ext uri="{FF2B5EF4-FFF2-40B4-BE49-F238E27FC236}">
                  <a16:creationId xmlns:a16="http://schemas.microsoft.com/office/drawing/2014/main" id="{462BE6C5-DE8B-4102-B0CD-8D99656AC45C}"/>
                </a:ext>
              </a:extLst>
            </p:cNvPr>
            <p:cNvSpPr>
              <a:spLocks/>
            </p:cNvSpPr>
            <p:nvPr/>
          </p:nvSpPr>
          <p:spPr bwMode="gray">
            <a:xfrm>
              <a:off x="3687495" y="6460679"/>
              <a:ext cx="8856" cy="12119"/>
            </a:xfrm>
            <a:custGeom>
              <a:avLst/>
              <a:gdLst>
                <a:gd name="T0" fmla="*/ 7 w 19"/>
                <a:gd name="T1" fmla="*/ 26 h 26"/>
                <a:gd name="T2" fmla="*/ 0 w 19"/>
                <a:gd name="T3" fmla="*/ 5 h 26"/>
                <a:gd name="T4" fmla="*/ 0 w 19"/>
                <a:gd name="T5" fmla="*/ 0 h 26"/>
                <a:gd name="T6" fmla="*/ 19 w 19"/>
                <a:gd name="T7" fmla="*/ 14 h 26"/>
                <a:gd name="T8" fmla="*/ 19 w 19"/>
                <a:gd name="T9" fmla="*/ 26 h 26"/>
                <a:gd name="T10" fmla="*/ 7 w 19"/>
                <a:gd name="T11" fmla="*/ 26 h 26"/>
                <a:gd name="T12" fmla="*/ 7 w 19"/>
                <a:gd name="T13" fmla="*/ 26 h 26"/>
                <a:gd name="T14" fmla="*/ 7 w 19"/>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26">
                  <a:moveTo>
                    <a:pt x="7" y="26"/>
                  </a:moveTo>
                  <a:lnTo>
                    <a:pt x="0" y="5"/>
                  </a:lnTo>
                  <a:lnTo>
                    <a:pt x="0" y="0"/>
                  </a:lnTo>
                  <a:lnTo>
                    <a:pt x="19" y="14"/>
                  </a:lnTo>
                  <a:lnTo>
                    <a:pt x="19" y="26"/>
                  </a:lnTo>
                  <a:lnTo>
                    <a:pt x="7" y="26"/>
                  </a:lnTo>
                  <a:lnTo>
                    <a:pt x="7" y="26"/>
                  </a:lnTo>
                  <a:lnTo>
                    <a:pt x="7" y="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03" name="Freeform 428">
              <a:extLst>
                <a:ext uri="{FF2B5EF4-FFF2-40B4-BE49-F238E27FC236}">
                  <a16:creationId xmlns:a16="http://schemas.microsoft.com/office/drawing/2014/main" id="{29286E28-5B02-40F9-81B6-5807434FC3CE}"/>
                </a:ext>
              </a:extLst>
            </p:cNvPr>
            <p:cNvSpPr>
              <a:spLocks noEditPoints="1"/>
            </p:cNvSpPr>
            <p:nvPr/>
          </p:nvSpPr>
          <p:spPr bwMode="gray">
            <a:xfrm>
              <a:off x="3344007" y="6311988"/>
              <a:ext cx="120246" cy="84834"/>
            </a:xfrm>
            <a:custGeom>
              <a:avLst/>
              <a:gdLst>
                <a:gd name="T0" fmla="*/ 21 w 258"/>
                <a:gd name="T1" fmla="*/ 142 h 182"/>
                <a:gd name="T2" fmla="*/ 21 w 258"/>
                <a:gd name="T3" fmla="*/ 118 h 182"/>
                <a:gd name="T4" fmla="*/ 5 w 258"/>
                <a:gd name="T5" fmla="*/ 114 h 182"/>
                <a:gd name="T6" fmla="*/ 0 w 258"/>
                <a:gd name="T7" fmla="*/ 102 h 182"/>
                <a:gd name="T8" fmla="*/ 17 w 258"/>
                <a:gd name="T9" fmla="*/ 97 h 182"/>
                <a:gd name="T10" fmla="*/ 21 w 258"/>
                <a:gd name="T11" fmla="*/ 85 h 182"/>
                <a:gd name="T12" fmla="*/ 17 w 258"/>
                <a:gd name="T13" fmla="*/ 69 h 182"/>
                <a:gd name="T14" fmla="*/ 26 w 258"/>
                <a:gd name="T15" fmla="*/ 57 h 182"/>
                <a:gd name="T16" fmla="*/ 21 w 258"/>
                <a:gd name="T17" fmla="*/ 45 h 182"/>
                <a:gd name="T18" fmla="*/ 21 w 258"/>
                <a:gd name="T19" fmla="*/ 29 h 182"/>
                <a:gd name="T20" fmla="*/ 21 w 258"/>
                <a:gd name="T21" fmla="*/ 12 h 182"/>
                <a:gd name="T22" fmla="*/ 21 w 258"/>
                <a:gd name="T23" fmla="*/ 0 h 182"/>
                <a:gd name="T24" fmla="*/ 52 w 258"/>
                <a:gd name="T25" fmla="*/ 7 h 182"/>
                <a:gd name="T26" fmla="*/ 76 w 258"/>
                <a:gd name="T27" fmla="*/ 0 h 182"/>
                <a:gd name="T28" fmla="*/ 97 w 258"/>
                <a:gd name="T29" fmla="*/ 12 h 182"/>
                <a:gd name="T30" fmla="*/ 106 w 258"/>
                <a:gd name="T31" fmla="*/ 7 h 182"/>
                <a:gd name="T32" fmla="*/ 123 w 258"/>
                <a:gd name="T33" fmla="*/ 24 h 182"/>
                <a:gd name="T34" fmla="*/ 144 w 258"/>
                <a:gd name="T35" fmla="*/ 12 h 182"/>
                <a:gd name="T36" fmla="*/ 161 w 258"/>
                <a:gd name="T37" fmla="*/ 45 h 182"/>
                <a:gd name="T38" fmla="*/ 199 w 258"/>
                <a:gd name="T39" fmla="*/ 40 h 182"/>
                <a:gd name="T40" fmla="*/ 199 w 258"/>
                <a:gd name="T41" fmla="*/ 45 h 182"/>
                <a:gd name="T42" fmla="*/ 199 w 258"/>
                <a:gd name="T43" fmla="*/ 57 h 182"/>
                <a:gd name="T44" fmla="*/ 166 w 258"/>
                <a:gd name="T45" fmla="*/ 57 h 182"/>
                <a:gd name="T46" fmla="*/ 166 w 258"/>
                <a:gd name="T47" fmla="*/ 64 h 182"/>
                <a:gd name="T48" fmla="*/ 215 w 258"/>
                <a:gd name="T49" fmla="*/ 69 h 182"/>
                <a:gd name="T50" fmla="*/ 258 w 258"/>
                <a:gd name="T51" fmla="*/ 102 h 182"/>
                <a:gd name="T52" fmla="*/ 253 w 258"/>
                <a:gd name="T53" fmla="*/ 118 h 182"/>
                <a:gd name="T54" fmla="*/ 236 w 258"/>
                <a:gd name="T55" fmla="*/ 118 h 182"/>
                <a:gd name="T56" fmla="*/ 236 w 258"/>
                <a:gd name="T57" fmla="*/ 125 h 182"/>
                <a:gd name="T58" fmla="*/ 229 w 258"/>
                <a:gd name="T59" fmla="*/ 125 h 182"/>
                <a:gd name="T60" fmla="*/ 220 w 258"/>
                <a:gd name="T61" fmla="*/ 114 h 182"/>
                <a:gd name="T62" fmla="*/ 149 w 258"/>
                <a:gd name="T63" fmla="*/ 114 h 182"/>
                <a:gd name="T64" fmla="*/ 128 w 258"/>
                <a:gd name="T65" fmla="*/ 125 h 182"/>
                <a:gd name="T66" fmla="*/ 106 w 258"/>
                <a:gd name="T67" fmla="*/ 125 h 182"/>
                <a:gd name="T68" fmla="*/ 97 w 258"/>
                <a:gd name="T69" fmla="*/ 114 h 182"/>
                <a:gd name="T70" fmla="*/ 90 w 258"/>
                <a:gd name="T71" fmla="*/ 114 h 182"/>
                <a:gd name="T72" fmla="*/ 76 w 258"/>
                <a:gd name="T73" fmla="*/ 125 h 182"/>
                <a:gd name="T74" fmla="*/ 69 w 258"/>
                <a:gd name="T75" fmla="*/ 118 h 182"/>
                <a:gd name="T76" fmla="*/ 69 w 258"/>
                <a:gd name="T77" fmla="*/ 137 h 182"/>
                <a:gd name="T78" fmla="*/ 43 w 258"/>
                <a:gd name="T79" fmla="*/ 175 h 182"/>
                <a:gd name="T80" fmla="*/ 21 w 258"/>
                <a:gd name="T81" fmla="*/ 142 h 182"/>
                <a:gd name="T82" fmla="*/ 21 w 258"/>
                <a:gd name="T83" fmla="*/ 142 h 182"/>
                <a:gd name="T84" fmla="*/ 21 w 258"/>
                <a:gd name="T85" fmla="*/ 142 h 182"/>
                <a:gd name="T86" fmla="*/ 38 w 258"/>
                <a:gd name="T87" fmla="*/ 182 h 182"/>
                <a:gd name="T88" fmla="*/ 38 w 258"/>
                <a:gd name="T89" fmla="*/ 175 h 182"/>
                <a:gd name="T90" fmla="*/ 38 w 258"/>
                <a:gd name="T91" fmla="*/ 175 h 182"/>
                <a:gd name="T92" fmla="*/ 38 w 258"/>
                <a:gd name="T93" fmla="*/ 182 h 182"/>
                <a:gd name="T94" fmla="*/ 38 w 258"/>
                <a:gd name="T95" fmla="*/ 182 h 182"/>
                <a:gd name="T96" fmla="*/ 38 w 258"/>
                <a:gd name="T9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8" h="182">
                  <a:moveTo>
                    <a:pt x="21" y="142"/>
                  </a:moveTo>
                  <a:lnTo>
                    <a:pt x="21" y="118"/>
                  </a:lnTo>
                  <a:lnTo>
                    <a:pt x="5" y="114"/>
                  </a:lnTo>
                  <a:lnTo>
                    <a:pt x="0" y="102"/>
                  </a:lnTo>
                  <a:lnTo>
                    <a:pt x="17" y="97"/>
                  </a:lnTo>
                  <a:lnTo>
                    <a:pt x="21" y="85"/>
                  </a:lnTo>
                  <a:lnTo>
                    <a:pt x="17" y="69"/>
                  </a:lnTo>
                  <a:lnTo>
                    <a:pt x="26" y="57"/>
                  </a:lnTo>
                  <a:lnTo>
                    <a:pt x="21" y="45"/>
                  </a:lnTo>
                  <a:lnTo>
                    <a:pt x="21" y="29"/>
                  </a:lnTo>
                  <a:lnTo>
                    <a:pt x="21" y="12"/>
                  </a:lnTo>
                  <a:lnTo>
                    <a:pt x="21" y="0"/>
                  </a:lnTo>
                  <a:lnTo>
                    <a:pt x="52" y="7"/>
                  </a:lnTo>
                  <a:lnTo>
                    <a:pt x="76" y="0"/>
                  </a:lnTo>
                  <a:lnTo>
                    <a:pt x="97" y="12"/>
                  </a:lnTo>
                  <a:lnTo>
                    <a:pt x="106" y="7"/>
                  </a:lnTo>
                  <a:lnTo>
                    <a:pt x="123" y="24"/>
                  </a:lnTo>
                  <a:lnTo>
                    <a:pt x="144" y="12"/>
                  </a:lnTo>
                  <a:lnTo>
                    <a:pt x="161" y="45"/>
                  </a:lnTo>
                  <a:lnTo>
                    <a:pt x="199" y="40"/>
                  </a:lnTo>
                  <a:lnTo>
                    <a:pt x="199" y="45"/>
                  </a:lnTo>
                  <a:lnTo>
                    <a:pt x="199" y="57"/>
                  </a:lnTo>
                  <a:lnTo>
                    <a:pt x="166" y="57"/>
                  </a:lnTo>
                  <a:lnTo>
                    <a:pt x="166" y="64"/>
                  </a:lnTo>
                  <a:lnTo>
                    <a:pt x="215" y="69"/>
                  </a:lnTo>
                  <a:lnTo>
                    <a:pt x="258" y="102"/>
                  </a:lnTo>
                  <a:lnTo>
                    <a:pt x="253" y="118"/>
                  </a:lnTo>
                  <a:lnTo>
                    <a:pt x="236" y="118"/>
                  </a:lnTo>
                  <a:lnTo>
                    <a:pt x="236" y="125"/>
                  </a:lnTo>
                  <a:lnTo>
                    <a:pt x="229" y="125"/>
                  </a:lnTo>
                  <a:lnTo>
                    <a:pt x="220" y="114"/>
                  </a:lnTo>
                  <a:lnTo>
                    <a:pt x="149" y="114"/>
                  </a:lnTo>
                  <a:lnTo>
                    <a:pt x="128" y="125"/>
                  </a:lnTo>
                  <a:lnTo>
                    <a:pt x="106" y="125"/>
                  </a:lnTo>
                  <a:lnTo>
                    <a:pt x="97" y="114"/>
                  </a:lnTo>
                  <a:lnTo>
                    <a:pt x="90" y="114"/>
                  </a:lnTo>
                  <a:lnTo>
                    <a:pt x="76" y="125"/>
                  </a:lnTo>
                  <a:lnTo>
                    <a:pt x="69" y="118"/>
                  </a:lnTo>
                  <a:lnTo>
                    <a:pt x="69" y="137"/>
                  </a:lnTo>
                  <a:lnTo>
                    <a:pt x="43" y="175"/>
                  </a:lnTo>
                  <a:lnTo>
                    <a:pt x="21" y="142"/>
                  </a:lnTo>
                  <a:lnTo>
                    <a:pt x="21" y="142"/>
                  </a:lnTo>
                  <a:lnTo>
                    <a:pt x="21" y="142"/>
                  </a:lnTo>
                  <a:close/>
                  <a:moveTo>
                    <a:pt x="38" y="182"/>
                  </a:moveTo>
                  <a:lnTo>
                    <a:pt x="38" y="175"/>
                  </a:lnTo>
                  <a:lnTo>
                    <a:pt x="38" y="175"/>
                  </a:lnTo>
                  <a:lnTo>
                    <a:pt x="38" y="182"/>
                  </a:lnTo>
                  <a:lnTo>
                    <a:pt x="38" y="182"/>
                  </a:lnTo>
                  <a:lnTo>
                    <a:pt x="38" y="18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04" name="Freeform 429">
              <a:extLst>
                <a:ext uri="{FF2B5EF4-FFF2-40B4-BE49-F238E27FC236}">
                  <a16:creationId xmlns:a16="http://schemas.microsoft.com/office/drawing/2014/main" id="{FC61A443-02F8-4B8D-81AD-E0090CD8D2D9}"/>
                </a:ext>
              </a:extLst>
            </p:cNvPr>
            <p:cNvSpPr>
              <a:spLocks noEditPoints="1"/>
            </p:cNvSpPr>
            <p:nvPr/>
          </p:nvSpPr>
          <p:spPr bwMode="gray">
            <a:xfrm>
              <a:off x="2702237" y="6944040"/>
              <a:ext cx="535972" cy="214879"/>
            </a:xfrm>
            <a:custGeom>
              <a:avLst/>
              <a:gdLst>
                <a:gd name="T0" fmla="*/ 966 w 1150"/>
                <a:gd name="T1" fmla="*/ 40 h 461"/>
                <a:gd name="T2" fmla="*/ 999 w 1150"/>
                <a:gd name="T3" fmla="*/ 57 h 461"/>
                <a:gd name="T4" fmla="*/ 1068 w 1150"/>
                <a:gd name="T5" fmla="*/ 78 h 461"/>
                <a:gd name="T6" fmla="*/ 1096 w 1150"/>
                <a:gd name="T7" fmla="*/ 78 h 461"/>
                <a:gd name="T8" fmla="*/ 1122 w 1150"/>
                <a:gd name="T9" fmla="*/ 111 h 461"/>
                <a:gd name="T10" fmla="*/ 1150 w 1150"/>
                <a:gd name="T11" fmla="*/ 168 h 461"/>
                <a:gd name="T12" fmla="*/ 1089 w 1150"/>
                <a:gd name="T13" fmla="*/ 255 h 461"/>
                <a:gd name="T14" fmla="*/ 945 w 1150"/>
                <a:gd name="T15" fmla="*/ 338 h 461"/>
                <a:gd name="T16" fmla="*/ 928 w 1150"/>
                <a:gd name="T17" fmla="*/ 371 h 461"/>
                <a:gd name="T18" fmla="*/ 895 w 1150"/>
                <a:gd name="T19" fmla="*/ 437 h 461"/>
                <a:gd name="T20" fmla="*/ 841 w 1150"/>
                <a:gd name="T21" fmla="*/ 421 h 461"/>
                <a:gd name="T22" fmla="*/ 787 w 1150"/>
                <a:gd name="T23" fmla="*/ 421 h 461"/>
                <a:gd name="T24" fmla="*/ 782 w 1150"/>
                <a:gd name="T25" fmla="*/ 404 h 461"/>
                <a:gd name="T26" fmla="*/ 803 w 1150"/>
                <a:gd name="T27" fmla="*/ 383 h 461"/>
                <a:gd name="T28" fmla="*/ 820 w 1150"/>
                <a:gd name="T29" fmla="*/ 333 h 461"/>
                <a:gd name="T30" fmla="*/ 836 w 1150"/>
                <a:gd name="T31" fmla="*/ 243 h 461"/>
                <a:gd name="T32" fmla="*/ 810 w 1150"/>
                <a:gd name="T33" fmla="*/ 284 h 461"/>
                <a:gd name="T34" fmla="*/ 798 w 1150"/>
                <a:gd name="T35" fmla="*/ 293 h 461"/>
                <a:gd name="T36" fmla="*/ 765 w 1150"/>
                <a:gd name="T37" fmla="*/ 255 h 461"/>
                <a:gd name="T38" fmla="*/ 765 w 1150"/>
                <a:gd name="T39" fmla="*/ 201 h 461"/>
                <a:gd name="T40" fmla="*/ 772 w 1150"/>
                <a:gd name="T41" fmla="*/ 168 h 461"/>
                <a:gd name="T42" fmla="*/ 787 w 1150"/>
                <a:gd name="T43" fmla="*/ 144 h 461"/>
                <a:gd name="T44" fmla="*/ 820 w 1150"/>
                <a:gd name="T45" fmla="*/ 73 h 461"/>
                <a:gd name="T46" fmla="*/ 891 w 1150"/>
                <a:gd name="T47" fmla="*/ 17 h 461"/>
                <a:gd name="T48" fmla="*/ 907 w 1150"/>
                <a:gd name="T49" fmla="*/ 0 h 461"/>
                <a:gd name="T50" fmla="*/ 895 w 1150"/>
                <a:gd name="T51" fmla="*/ 0 h 461"/>
                <a:gd name="T52" fmla="*/ 891 w 1150"/>
                <a:gd name="T53" fmla="*/ 7 h 461"/>
                <a:gd name="T54" fmla="*/ 80 w 1150"/>
                <a:gd name="T55" fmla="*/ 73 h 461"/>
                <a:gd name="T56" fmla="*/ 80 w 1150"/>
                <a:gd name="T57" fmla="*/ 78 h 461"/>
                <a:gd name="T58" fmla="*/ 14 w 1150"/>
                <a:gd name="T59" fmla="*/ 172 h 461"/>
                <a:gd name="T60" fmla="*/ 31 w 1150"/>
                <a:gd name="T61" fmla="*/ 151 h 461"/>
                <a:gd name="T62" fmla="*/ 14 w 1150"/>
                <a:gd name="T63" fmla="*/ 106 h 461"/>
                <a:gd name="T64" fmla="*/ 31 w 1150"/>
                <a:gd name="T65" fmla="*/ 106 h 461"/>
                <a:gd name="T66" fmla="*/ 47 w 1150"/>
                <a:gd name="T67" fmla="*/ 144 h 461"/>
                <a:gd name="T68" fmla="*/ 31 w 1150"/>
                <a:gd name="T69" fmla="*/ 172 h 461"/>
                <a:gd name="T70" fmla="*/ 69 w 1150"/>
                <a:gd name="T71" fmla="*/ 128 h 461"/>
                <a:gd name="T72" fmla="*/ 69 w 1150"/>
                <a:gd name="T73" fmla="*/ 118 h 461"/>
                <a:gd name="T74" fmla="*/ 69 w 1150"/>
                <a:gd name="T75" fmla="*/ 128 h 461"/>
                <a:gd name="T76" fmla="*/ 0 w 1150"/>
                <a:gd name="T77" fmla="*/ 128 h 461"/>
                <a:gd name="T78" fmla="*/ 9 w 1150"/>
                <a:gd name="T79" fmla="*/ 135 h 461"/>
                <a:gd name="T80" fmla="*/ 97 w 1150"/>
                <a:gd name="T81" fmla="*/ 161 h 461"/>
                <a:gd name="T82" fmla="*/ 102 w 1150"/>
                <a:gd name="T83" fmla="*/ 144 h 461"/>
                <a:gd name="T84" fmla="*/ 97 w 1150"/>
                <a:gd name="T85" fmla="*/ 161 h 461"/>
                <a:gd name="T86" fmla="*/ 139 w 1150"/>
                <a:gd name="T87" fmla="*/ 168 h 461"/>
                <a:gd name="T88" fmla="*/ 151 w 1150"/>
                <a:gd name="T89" fmla="*/ 168 h 461"/>
                <a:gd name="T90" fmla="*/ 85 w 1150"/>
                <a:gd name="T91" fmla="*/ 201 h 461"/>
                <a:gd name="T92" fmla="*/ 85 w 1150"/>
                <a:gd name="T93" fmla="*/ 189 h 461"/>
                <a:gd name="T94" fmla="*/ 85 w 1150"/>
                <a:gd name="T95" fmla="*/ 201 h 461"/>
                <a:gd name="T96" fmla="*/ 803 w 1150"/>
                <a:gd name="T97" fmla="*/ 293 h 461"/>
                <a:gd name="T98" fmla="*/ 803 w 1150"/>
                <a:gd name="T99" fmla="*/ 317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50" h="461">
                  <a:moveTo>
                    <a:pt x="907" y="0"/>
                  </a:moveTo>
                  <a:lnTo>
                    <a:pt x="950" y="33"/>
                  </a:lnTo>
                  <a:lnTo>
                    <a:pt x="966" y="40"/>
                  </a:lnTo>
                  <a:lnTo>
                    <a:pt x="983" y="40"/>
                  </a:lnTo>
                  <a:lnTo>
                    <a:pt x="983" y="50"/>
                  </a:lnTo>
                  <a:lnTo>
                    <a:pt x="999" y="57"/>
                  </a:lnTo>
                  <a:lnTo>
                    <a:pt x="1004" y="73"/>
                  </a:lnTo>
                  <a:lnTo>
                    <a:pt x="1058" y="90"/>
                  </a:lnTo>
                  <a:lnTo>
                    <a:pt x="1068" y="78"/>
                  </a:lnTo>
                  <a:lnTo>
                    <a:pt x="1068" y="73"/>
                  </a:lnTo>
                  <a:lnTo>
                    <a:pt x="1080" y="73"/>
                  </a:lnTo>
                  <a:lnTo>
                    <a:pt x="1096" y="78"/>
                  </a:lnTo>
                  <a:lnTo>
                    <a:pt x="1113" y="95"/>
                  </a:lnTo>
                  <a:lnTo>
                    <a:pt x="1150" y="111"/>
                  </a:lnTo>
                  <a:lnTo>
                    <a:pt x="1122" y="111"/>
                  </a:lnTo>
                  <a:lnTo>
                    <a:pt x="1150" y="144"/>
                  </a:lnTo>
                  <a:lnTo>
                    <a:pt x="1150" y="151"/>
                  </a:lnTo>
                  <a:lnTo>
                    <a:pt x="1150" y="168"/>
                  </a:lnTo>
                  <a:lnTo>
                    <a:pt x="1143" y="168"/>
                  </a:lnTo>
                  <a:lnTo>
                    <a:pt x="1127" y="217"/>
                  </a:lnTo>
                  <a:lnTo>
                    <a:pt x="1089" y="255"/>
                  </a:lnTo>
                  <a:lnTo>
                    <a:pt x="1051" y="284"/>
                  </a:lnTo>
                  <a:lnTo>
                    <a:pt x="966" y="317"/>
                  </a:lnTo>
                  <a:lnTo>
                    <a:pt x="945" y="338"/>
                  </a:lnTo>
                  <a:lnTo>
                    <a:pt x="945" y="354"/>
                  </a:lnTo>
                  <a:lnTo>
                    <a:pt x="933" y="350"/>
                  </a:lnTo>
                  <a:lnTo>
                    <a:pt x="928" y="371"/>
                  </a:lnTo>
                  <a:lnTo>
                    <a:pt x="912" y="411"/>
                  </a:lnTo>
                  <a:lnTo>
                    <a:pt x="912" y="428"/>
                  </a:lnTo>
                  <a:lnTo>
                    <a:pt x="895" y="437"/>
                  </a:lnTo>
                  <a:lnTo>
                    <a:pt x="879" y="461"/>
                  </a:lnTo>
                  <a:lnTo>
                    <a:pt x="862" y="461"/>
                  </a:lnTo>
                  <a:lnTo>
                    <a:pt x="841" y="421"/>
                  </a:lnTo>
                  <a:lnTo>
                    <a:pt x="824" y="421"/>
                  </a:lnTo>
                  <a:lnTo>
                    <a:pt x="803" y="411"/>
                  </a:lnTo>
                  <a:lnTo>
                    <a:pt x="787" y="421"/>
                  </a:lnTo>
                  <a:lnTo>
                    <a:pt x="782" y="421"/>
                  </a:lnTo>
                  <a:lnTo>
                    <a:pt x="798" y="404"/>
                  </a:lnTo>
                  <a:lnTo>
                    <a:pt x="782" y="404"/>
                  </a:lnTo>
                  <a:lnTo>
                    <a:pt x="782" y="387"/>
                  </a:lnTo>
                  <a:lnTo>
                    <a:pt x="798" y="387"/>
                  </a:lnTo>
                  <a:lnTo>
                    <a:pt x="803" y="383"/>
                  </a:lnTo>
                  <a:lnTo>
                    <a:pt x="798" y="350"/>
                  </a:lnTo>
                  <a:lnTo>
                    <a:pt x="798" y="338"/>
                  </a:lnTo>
                  <a:lnTo>
                    <a:pt x="820" y="333"/>
                  </a:lnTo>
                  <a:lnTo>
                    <a:pt x="836" y="284"/>
                  </a:lnTo>
                  <a:lnTo>
                    <a:pt x="824" y="272"/>
                  </a:lnTo>
                  <a:lnTo>
                    <a:pt x="836" y="243"/>
                  </a:lnTo>
                  <a:lnTo>
                    <a:pt x="824" y="255"/>
                  </a:lnTo>
                  <a:lnTo>
                    <a:pt x="824" y="284"/>
                  </a:lnTo>
                  <a:lnTo>
                    <a:pt x="810" y="284"/>
                  </a:lnTo>
                  <a:lnTo>
                    <a:pt x="820" y="272"/>
                  </a:lnTo>
                  <a:lnTo>
                    <a:pt x="820" y="272"/>
                  </a:lnTo>
                  <a:lnTo>
                    <a:pt x="798" y="293"/>
                  </a:lnTo>
                  <a:lnTo>
                    <a:pt x="756" y="272"/>
                  </a:lnTo>
                  <a:lnTo>
                    <a:pt x="749" y="255"/>
                  </a:lnTo>
                  <a:lnTo>
                    <a:pt x="765" y="255"/>
                  </a:lnTo>
                  <a:lnTo>
                    <a:pt x="765" y="239"/>
                  </a:lnTo>
                  <a:lnTo>
                    <a:pt x="756" y="217"/>
                  </a:lnTo>
                  <a:lnTo>
                    <a:pt x="765" y="201"/>
                  </a:lnTo>
                  <a:lnTo>
                    <a:pt x="749" y="172"/>
                  </a:lnTo>
                  <a:lnTo>
                    <a:pt x="756" y="168"/>
                  </a:lnTo>
                  <a:lnTo>
                    <a:pt x="772" y="168"/>
                  </a:lnTo>
                  <a:lnTo>
                    <a:pt x="787" y="144"/>
                  </a:lnTo>
                  <a:lnTo>
                    <a:pt x="798" y="144"/>
                  </a:lnTo>
                  <a:lnTo>
                    <a:pt x="787" y="144"/>
                  </a:lnTo>
                  <a:lnTo>
                    <a:pt x="782" y="128"/>
                  </a:lnTo>
                  <a:lnTo>
                    <a:pt x="810" y="95"/>
                  </a:lnTo>
                  <a:lnTo>
                    <a:pt x="820" y="73"/>
                  </a:lnTo>
                  <a:lnTo>
                    <a:pt x="810" y="50"/>
                  </a:lnTo>
                  <a:lnTo>
                    <a:pt x="810" y="40"/>
                  </a:lnTo>
                  <a:lnTo>
                    <a:pt x="891" y="17"/>
                  </a:lnTo>
                  <a:lnTo>
                    <a:pt x="907" y="0"/>
                  </a:lnTo>
                  <a:lnTo>
                    <a:pt x="907" y="0"/>
                  </a:lnTo>
                  <a:lnTo>
                    <a:pt x="907" y="0"/>
                  </a:lnTo>
                  <a:close/>
                  <a:moveTo>
                    <a:pt x="891" y="7"/>
                  </a:moveTo>
                  <a:lnTo>
                    <a:pt x="891" y="7"/>
                  </a:lnTo>
                  <a:lnTo>
                    <a:pt x="895" y="0"/>
                  </a:lnTo>
                  <a:lnTo>
                    <a:pt x="891" y="7"/>
                  </a:lnTo>
                  <a:lnTo>
                    <a:pt x="891" y="7"/>
                  </a:lnTo>
                  <a:lnTo>
                    <a:pt x="891" y="7"/>
                  </a:lnTo>
                  <a:close/>
                  <a:moveTo>
                    <a:pt x="80" y="78"/>
                  </a:moveTo>
                  <a:lnTo>
                    <a:pt x="80" y="78"/>
                  </a:lnTo>
                  <a:lnTo>
                    <a:pt x="80" y="73"/>
                  </a:lnTo>
                  <a:lnTo>
                    <a:pt x="85" y="78"/>
                  </a:lnTo>
                  <a:lnTo>
                    <a:pt x="80" y="78"/>
                  </a:lnTo>
                  <a:lnTo>
                    <a:pt x="80" y="78"/>
                  </a:lnTo>
                  <a:lnTo>
                    <a:pt x="80" y="78"/>
                  </a:lnTo>
                  <a:close/>
                  <a:moveTo>
                    <a:pt x="31" y="172"/>
                  </a:moveTo>
                  <a:lnTo>
                    <a:pt x="14" y="172"/>
                  </a:lnTo>
                  <a:lnTo>
                    <a:pt x="9" y="168"/>
                  </a:lnTo>
                  <a:lnTo>
                    <a:pt x="26" y="151"/>
                  </a:lnTo>
                  <a:lnTo>
                    <a:pt x="31" y="151"/>
                  </a:lnTo>
                  <a:lnTo>
                    <a:pt x="43" y="144"/>
                  </a:lnTo>
                  <a:lnTo>
                    <a:pt x="14" y="118"/>
                  </a:lnTo>
                  <a:lnTo>
                    <a:pt x="14" y="106"/>
                  </a:lnTo>
                  <a:lnTo>
                    <a:pt x="0" y="106"/>
                  </a:lnTo>
                  <a:lnTo>
                    <a:pt x="14" y="90"/>
                  </a:lnTo>
                  <a:lnTo>
                    <a:pt x="31" y="106"/>
                  </a:lnTo>
                  <a:lnTo>
                    <a:pt x="31" y="118"/>
                  </a:lnTo>
                  <a:lnTo>
                    <a:pt x="47" y="128"/>
                  </a:lnTo>
                  <a:lnTo>
                    <a:pt x="47" y="144"/>
                  </a:lnTo>
                  <a:lnTo>
                    <a:pt x="52" y="151"/>
                  </a:lnTo>
                  <a:lnTo>
                    <a:pt x="47" y="168"/>
                  </a:lnTo>
                  <a:lnTo>
                    <a:pt x="31" y="172"/>
                  </a:lnTo>
                  <a:lnTo>
                    <a:pt x="31" y="172"/>
                  </a:lnTo>
                  <a:lnTo>
                    <a:pt x="31" y="172"/>
                  </a:lnTo>
                  <a:close/>
                  <a:moveTo>
                    <a:pt x="69" y="128"/>
                  </a:moveTo>
                  <a:lnTo>
                    <a:pt x="52" y="128"/>
                  </a:lnTo>
                  <a:lnTo>
                    <a:pt x="52" y="111"/>
                  </a:lnTo>
                  <a:lnTo>
                    <a:pt x="69" y="118"/>
                  </a:lnTo>
                  <a:lnTo>
                    <a:pt x="80" y="118"/>
                  </a:lnTo>
                  <a:lnTo>
                    <a:pt x="69" y="128"/>
                  </a:lnTo>
                  <a:lnTo>
                    <a:pt x="69" y="128"/>
                  </a:lnTo>
                  <a:lnTo>
                    <a:pt x="69" y="128"/>
                  </a:lnTo>
                  <a:close/>
                  <a:moveTo>
                    <a:pt x="9" y="135"/>
                  </a:moveTo>
                  <a:lnTo>
                    <a:pt x="0" y="128"/>
                  </a:lnTo>
                  <a:lnTo>
                    <a:pt x="9" y="118"/>
                  </a:lnTo>
                  <a:lnTo>
                    <a:pt x="14" y="135"/>
                  </a:lnTo>
                  <a:lnTo>
                    <a:pt x="9" y="135"/>
                  </a:lnTo>
                  <a:lnTo>
                    <a:pt x="9" y="135"/>
                  </a:lnTo>
                  <a:lnTo>
                    <a:pt x="9" y="135"/>
                  </a:lnTo>
                  <a:close/>
                  <a:moveTo>
                    <a:pt x="97" y="161"/>
                  </a:moveTo>
                  <a:lnTo>
                    <a:pt x="80" y="151"/>
                  </a:lnTo>
                  <a:lnTo>
                    <a:pt x="80" y="135"/>
                  </a:lnTo>
                  <a:lnTo>
                    <a:pt x="102" y="144"/>
                  </a:lnTo>
                  <a:lnTo>
                    <a:pt x="102" y="151"/>
                  </a:lnTo>
                  <a:lnTo>
                    <a:pt x="97" y="161"/>
                  </a:lnTo>
                  <a:lnTo>
                    <a:pt x="97" y="161"/>
                  </a:lnTo>
                  <a:lnTo>
                    <a:pt x="97" y="161"/>
                  </a:lnTo>
                  <a:close/>
                  <a:moveTo>
                    <a:pt x="151" y="168"/>
                  </a:moveTo>
                  <a:lnTo>
                    <a:pt x="139" y="168"/>
                  </a:lnTo>
                  <a:lnTo>
                    <a:pt x="172" y="151"/>
                  </a:lnTo>
                  <a:lnTo>
                    <a:pt x="156" y="168"/>
                  </a:lnTo>
                  <a:lnTo>
                    <a:pt x="151" y="168"/>
                  </a:lnTo>
                  <a:lnTo>
                    <a:pt x="151" y="168"/>
                  </a:lnTo>
                  <a:lnTo>
                    <a:pt x="151" y="168"/>
                  </a:lnTo>
                  <a:close/>
                  <a:moveTo>
                    <a:pt x="85" y="201"/>
                  </a:moveTo>
                  <a:lnTo>
                    <a:pt x="80" y="189"/>
                  </a:lnTo>
                  <a:lnTo>
                    <a:pt x="80" y="189"/>
                  </a:lnTo>
                  <a:lnTo>
                    <a:pt x="85" y="189"/>
                  </a:lnTo>
                  <a:lnTo>
                    <a:pt x="85" y="201"/>
                  </a:lnTo>
                  <a:lnTo>
                    <a:pt x="85" y="201"/>
                  </a:lnTo>
                  <a:lnTo>
                    <a:pt x="85" y="201"/>
                  </a:lnTo>
                  <a:close/>
                  <a:moveTo>
                    <a:pt x="803" y="317"/>
                  </a:moveTo>
                  <a:lnTo>
                    <a:pt x="798" y="317"/>
                  </a:lnTo>
                  <a:lnTo>
                    <a:pt x="803" y="293"/>
                  </a:lnTo>
                  <a:lnTo>
                    <a:pt x="820" y="293"/>
                  </a:lnTo>
                  <a:lnTo>
                    <a:pt x="824" y="293"/>
                  </a:lnTo>
                  <a:lnTo>
                    <a:pt x="803" y="317"/>
                  </a:lnTo>
                  <a:lnTo>
                    <a:pt x="803" y="317"/>
                  </a:lnTo>
                  <a:lnTo>
                    <a:pt x="803" y="3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05" name="Freeform 435">
              <a:extLst>
                <a:ext uri="{FF2B5EF4-FFF2-40B4-BE49-F238E27FC236}">
                  <a16:creationId xmlns:a16="http://schemas.microsoft.com/office/drawing/2014/main" id="{B1D52D1F-5602-45C4-850A-51A0BB4BD514}"/>
                </a:ext>
              </a:extLst>
            </p:cNvPr>
            <p:cNvSpPr>
              <a:spLocks/>
            </p:cNvSpPr>
            <p:nvPr/>
          </p:nvSpPr>
          <p:spPr bwMode="gray">
            <a:xfrm>
              <a:off x="2751641" y="6504961"/>
              <a:ext cx="82492" cy="41486"/>
            </a:xfrm>
            <a:custGeom>
              <a:avLst/>
              <a:gdLst>
                <a:gd name="T0" fmla="*/ 0 w 177"/>
                <a:gd name="T1" fmla="*/ 44 h 89"/>
                <a:gd name="T2" fmla="*/ 12 w 177"/>
                <a:gd name="T3" fmla="*/ 33 h 89"/>
                <a:gd name="T4" fmla="*/ 45 w 177"/>
                <a:gd name="T5" fmla="*/ 4 h 89"/>
                <a:gd name="T6" fmla="*/ 45 w 177"/>
                <a:gd name="T7" fmla="*/ 0 h 89"/>
                <a:gd name="T8" fmla="*/ 55 w 177"/>
                <a:gd name="T9" fmla="*/ 0 h 89"/>
                <a:gd name="T10" fmla="*/ 83 w 177"/>
                <a:gd name="T11" fmla="*/ 0 h 89"/>
                <a:gd name="T12" fmla="*/ 100 w 177"/>
                <a:gd name="T13" fmla="*/ 21 h 89"/>
                <a:gd name="T14" fmla="*/ 100 w 177"/>
                <a:gd name="T15" fmla="*/ 16 h 89"/>
                <a:gd name="T16" fmla="*/ 111 w 177"/>
                <a:gd name="T17" fmla="*/ 33 h 89"/>
                <a:gd name="T18" fmla="*/ 121 w 177"/>
                <a:gd name="T19" fmla="*/ 37 h 89"/>
                <a:gd name="T20" fmla="*/ 144 w 177"/>
                <a:gd name="T21" fmla="*/ 33 h 89"/>
                <a:gd name="T22" fmla="*/ 154 w 177"/>
                <a:gd name="T23" fmla="*/ 37 h 89"/>
                <a:gd name="T24" fmla="*/ 166 w 177"/>
                <a:gd name="T25" fmla="*/ 33 h 89"/>
                <a:gd name="T26" fmla="*/ 177 w 177"/>
                <a:gd name="T27" fmla="*/ 37 h 89"/>
                <a:gd name="T28" fmla="*/ 166 w 177"/>
                <a:gd name="T29" fmla="*/ 61 h 89"/>
                <a:gd name="T30" fmla="*/ 177 w 177"/>
                <a:gd name="T31" fmla="*/ 61 h 89"/>
                <a:gd name="T32" fmla="*/ 166 w 177"/>
                <a:gd name="T33" fmla="*/ 73 h 89"/>
                <a:gd name="T34" fmla="*/ 161 w 177"/>
                <a:gd name="T35" fmla="*/ 73 h 89"/>
                <a:gd name="T36" fmla="*/ 166 w 177"/>
                <a:gd name="T37" fmla="*/ 78 h 89"/>
                <a:gd name="T38" fmla="*/ 161 w 177"/>
                <a:gd name="T39" fmla="*/ 89 h 89"/>
                <a:gd name="T40" fmla="*/ 100 w 177"/>
                <a:gd name="T41" fmla="*/ 78 h 89"/>
                <a:gd name="T42" fmla="*/ 111 w 177"/>
                <a:gd name="T43" fmla="*/ 89 h 89"/>
                <a:gd name="T44" fmla="*/ 55 w 177"/>
                <a:gd name="T45" fmla="*/ 61 h 89"/>
                <a:gd name="T46" fmla="*/ 29 w 177"/>
                <a:gd name="T47" fmla="*/ 61 h 89"/>
                <a:gd name="T48" fmla="*/ 0 w 177"/>
                <a:gd name="T49" fmla="*/ 44 h 89"/>
                <a:gd name="T50" fmla="*/ 0 w 177"/>
                <a:gd name="T51" fmla="*/ 44 h 89"/>
                <a:gd name="T52" fmla="*/ 0 w 177"/>
                <a:gd name="T53"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7" h="89">
                  <a:moveTo>
                    <a:pt x="0" y="44"/>
                  </a:moveTo>
                  <a:lnTo>
                    <a:pt x="12" y="33"/>
                  </a:lnTo>
                  <a:lnTo>
                    <a:pt x="45" y="4"/>
                  </a:lnTo>
                  <a:lnTo>
                    <a:pt x="45" y="0"/>
                  </a:lnTo>
                  <a:lnTo>
                    <a:pt x="55" y="0"/>
                  </a:lnTo>
                  <a:lnTo>
                    <a:pt x="83" y="0"/>
                  </a:lnTo>
                  <a:lnTo>
                    <a:pt x="100" y="21"/>
                  </a:lnTo>
                  <a:lnTo>
                    <a:pt x="100" y="16"/>
                  </a:lnTo>
                  <a:lnTo>
                    <a:pt x="111" y="33"/>
                  </a:lnTo>
                  <a:lnTo>
                    <a:pt x="121" y="37"/>
                  </a:lnTo>
                  <a:lnTo>
                    <a:pt x="144" y="33"/>
                  </a:lnTo>
                  <a:lnTo>
                    <a:pt x="154" y="37"/>
                  </a:lnTo>
                  <a:lnTo>
                    <a:pt x="166" y="33"/>
                  </a:lnTo>
                  <a:lnTo>
                    <a:pt x="177" y="37"/>
                  </a:lnTo>
                  <a:lnTo>
                    <a:pt x="166" y="61"/>
                  </a:lnTo>
                  <a:lnTo>
                    <a:pt x="177" y="61"/>
                  </a:lnTo>
                  <a:lnTo>
                    <a:pt x="166" y="73"/>
                  </a:lnTo>
                  <a:lnTo>
                    <a:pt x="161" y="73"/>
                  </a:lnTo>
                  <a:lnTo>
                    <a:pt x="166" y="78"/>
                  </a:lnTo>
                  <a:lnTo>
                    <a:pt x="161" y="89"/>
                  </a:lnTo>
                  <a:lnTo>
                    <a:pt x="100" y="78"/>
                  </a:lnTo>
                  <a:lnTo>
                    <a:pt x="111" y="89"/>
                  </a:lnTo>
                  <a:lnTo>
                    <a:pt x="55" y="61"/>
                  </a:lnTo>
                  <a:lnTo>
                    <a:pt x="29" y="61"/>
                  </a:lnTo>
                  <a:lnTo>
                    <a:pt x="0" y="44"/>
                  </a:lnTo>
                  <a:lnTo>
                    <a:pt x="0" y="44"/>
                  </a:lnTo>
                  <a:lnTo>
                    <a:pt x="0" y="4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06" name="Freeform 438">
              <a:extLst>
                <a:ext uri="{FF2B5EF4-FFF2-40B4-BE49-F238E27FC236}">
                  <a16:creationId xmlns:a16="http://schemas.microsoft.com/office/drawing/2014/main" id="{6C9C9596-1A62-4262-9279-2BDEBA524EDD}"/>
                </a:ext>
              </a:extLst>
            </p:cNvPr>
            <p:cNvSpPr>
              <a:spLocks/>
            </p:cNvSpPr>
            <p:nvPr/>
          </p:nvSpPr>
          <p:spPr bwMode="gray">
            <a:xfrm>
              <a:off x="3915401" y="6796749"/>
              <a:ext cx="92746" cy="122123"/>
            </a:xfrm>
            <a:custGeom>
              <a:avLst/>
              <a:gdLst>
                <a:gd name="T0" fmla="*/ 0 w 199"/>
                <a:gd name="T1" fmla="*/ 245 h 262"/>
                <a:gd name="T2" fmla="*/ 17 w 199"/>
                <a:gd name="T3" fmla="*/ 238 h 262"/>
                <a:gd name="T4" fmla="*/ 21 w 199"/>
                <a:gd name="T5" fmla="*/ 212 h 262"/>
                <a:gd name="T6" fmla="*/ 21 w 199"/>
                <a:gd name="T7" fmla="*/ 189 h 262"/>
                <a:gd name="T8" fmla="*/ 33 w 199"/>
                <a:gd name="T9" fmla="*/ 184 h 262"/>
                <a:gd name="T10" fmla="*/ 38 w 199"/>
                <a:gd name="T11" fmla="*/ 155 h 262"/>
                <a:gd name="T12" fmla="*/ 17 w 199"/>
                <a:gd name="T13" fmla="*/ 127 h 262"/>
                <a:gd name="T14" fmla="*/ 7 w 199"/>
                <a:gd name="T15" fmla="*/ 73 h 262"/>
                <a:gd name="T16" fmla="*/ 7 w 199"/>
                <a:gd name="T17" fmla="*/ 54 h 262"/>
                <a:gd name="T18" fmla="*/ 33 w 199"/>
                <a:gd name="T19" fmla="*/ 28 h 262"/>
                <a:gd name="T20" fmla="*/ 38 w 199"/>
                <a:gd name="T21" fmla="*/ 4 h 262"/>
                <a:gd name="T22" fmla="*/ 50 w 199"/>
                <a:gd name="T23" fmla="*/ 0 h 262"/>
                <a:gd name="T24" fmla="*/ 76 w 199"/>
                <a:gd name="T25" fmla="*/ 16 h 262"/>
                <a:gd name="T26" fmla="*/ 114 w 199"/>
                <a:gd name="T27" fmla="*/ 21 h 262"/>
                <a:gd name="T28" fmla="*/ 177 w 199"/>
                <a:gd name="T29" fmla="*/ 77 h 262"/>
                <a:gd name="T30" fmla="*/ 182 w 199"/>
                <a:gd name="T31" fmla="*/ 94 h 262"/>
                <a:gd name="T32" fmla="*/ 177 w 199"/>
                <a:gd name="T33" fmla="*/ 99 h 262"/>
                <a:gd name="T34" fmla="*/ 182 w 199"/>
                <a:gd name="T35" fmla="*/ 99 h 262"/>
                <a:gd name="T36" fmla="*/ 182 w 199"/>
                <a:gd name="T37" fmla="*/ 77 h 262"/>
                <a:gd name="T38" fmla="*/ 194 w 199"/>
                <a:gd name="T39" fmla="*/ 82 h 262"/>
                <a:gd name="T40" fmla="*/ 199 w 199"/>
                <a:gd name="T41" fmla="*/ 111 h 262"/>
                <a:gd name="T42" fmla="*/ 199 w 199"/>
                <a:gd name="T43" fmla="*/ 127 h 262"/>
                <a:gd name="T44" fmla="*/ 156 w 199"/>
                <a:gd name="T45" fmla="*/ 189 h 262"/>
                <a:gd name="T46" fmla="*/ 139 w 199"/>
                <a:gd name="T47" fmla="*/ 238 h 262"/>
                <a:gd name="T48" fmla="*/ 114 w 199"/>
                <a:gd name="T49" fmla="*/ 262 h 262"/>
                <a:gd name="T50" fmla="*/ 92 w 199"/>
                <a:gd name="T51" fmla="*/ 262 h 262"/>
                <a:gd name="T52" fmla="*/ 85 w 199"/>
                <a:gd name="T53" fmla="*/ 245 h 262"/>
                <a:gd name="T54" fmla="*/ 71 w 199"/>
                <a:gd name="T55" fmla="*/ 250 h 262"/>
                <a:gd name="T56" fmla="*/ 54 w 199"/>
                <a:gd name="T57" fmla="*/ 245 h 262"/>
                <a:gd name="T58" fmla="*/ 33 w 199"/>
                <a:gd name="T59" fmla="*/ 262 h 262"/>
                <a:gd name="T60" fmla="*/ 0 w 199"/>
                <a:gd name="T61" fmla="*/ 245 h 262"/>
                <a:gd name="T62" fmla="*/ 0 w 199"/>
                <a:gd name="T63" fmla="*/ 245 h 262"/>
                <a:gd name="T64" fmla="*/ 0 w 199"/>
                <a:gd name="T65" fmla="*/ 24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9" h="262">
                  <a:moveTo>
                    <a:pt x="0" y="245"/>
                  </a:moveTo>
                  <a:lnTo>
                    <a:pt x="17" y="238"/>
                  </a:lnTo>
                  <a:lnTo>
                    <a:pt x="21" y="212"/>
                  </a:lnTo>
                  <a:lnTo>
                    <a:pt x="21" y="189"/>
                  </a:lnTo>
                  <a:lnTo>
                    <a:pt x="33" y="184"/>
                  </a:lnTo>
                  <a:lnTo>
                    <a:pt x="38" y="155"/>
                  </a:lnTo>
                  <a:lnTo>
                    <a:pt x="17" y="127"/>
                  </a:lnTo>
                  <a:lnTo>
                    <a:pt x="7" y="73"/>
                  </a:lnTo>
                  <a:lnTo>
                    <a:pt x="7" y="54"/>
                  </a:lnTo>
                  <a:lnTo>
                    <a:pt x="33" y="28"/>
                  </a:lnTo>
                  <a:lnTo>
                    <a:pt x="38" y="4"/>
                  </a:lnTo>
                  <a:lnTo>
                    <a:pt x="50" y="0"/>
                  </a:lnTo>
                  <a:lnTo>
                    <a:pt x="76" y="16"/>
                  </a:lnTo>
                  <a:lnTo>
                    <a:pt x="114" y="21"/>
                  </a:lnTo>
                  <a:lnTo>
                    <a:pt x="177" y="77"/>
                  </a:lnTo>
                  <a:lnTo>
                    <a:pt x="182" y="94"/>
                  </a:lnTo>
                  <a:lnTo>
                    <a:pt x="177" y="99"/>
                  </a:lnTo>
                  <a:lnTo>
                    <a:pt x="182" y="99"/>
                  </a:lnTo>
                  <a:lnTo>
                    <a:pt x="182" y="77"/>
                  </a:lnTo>
                  <a:lnTo>
                    <a:pt x="194" y="82"/>
                  </a:lnTo>
                  <a:lnTo>
                    <a:pt x="199" y="111"/>
                  </a:lnTo>
                  <a:lnTo>
                    <a:pt x="199" y="127"/>
                  </a:lnTo>
                  <a:lnTo>
                    <a:pt x="156" y="189"/>
                  </a:lnTo>
                  <a:lnTo>
                    <a:pt x="139" y="238"/>
                  </a:lnTo>
                  <a:lnTo>
                    <a:pt x="114" y="262"/>
                  </a:lnTo>
                  <a:lnTo>
                    <a:pt x="92" y="262"/>
                  </a:lnTo>
                  <a:lnTo>
                    <a:pt x="85" y="245"/>
                  </a:lnTo>
                  <a:lnTo>
                    <a:pt x="71" y="250"/>
                  </a:lnTo>
                  <a:lnTo>
                    <a:pt x="54" y="245"/>
                  </a:lnTo>
                  <a:lnTo>
                    <a:pt x="33" y="262"/>
                  </a:lnTo>
                  <a:lnTo>
                    <a:pt x="0" y="245"/>
                  </a:lnTo>
                  <a:lnTo>
                    <a:pt x="0" y="245"/>
                  </a:lnTo>
                  <a:lnTo>
                    <a:pt x="0" y="24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07" name="Freeform 451">
              <a:extLst>
                <a:ext uri="{FF2B5EF4-FFF2-40B4-BE49-F238E27FC236}">
                  <a16:creationId xmlns:a16="http://schemas.microsoft.com/office/drawing/2014/main" id="{45CCEBCE-824E-45DB-9E9A-B24B425AC6DB}"/>
                </a:ext>
              </a:extLst>
            </p:cNvPr>
            <p:cNvSpPr>
              <a:spLocks/>
            </p:cNvSpPr>
            <p:nvPr/>
          </p:nvSpPr>
          <p:spPr bwMode="gray">
            <a:xfrm>
              <a:off x="3677708" y="6576276"/>
              <a:ext cx="7457" cy="7924"/>
            </a:xfrm>
            <a:custGeom>
              <a:avLst/>
              <a:gdLst>
                <a:gd name="T0" fmla="*/ 16 w 16"/>
                <a:gd name="T1" fmla="*/ 0 h 17"/>
                <a:gd name="T2" fmla="*/ 16 w 16"/>
                <a:gd name="T3" fmla="*/ 17 h 17"/>
                <a:gd name="T4" fmla="*/ 0 w 16"/>
                <a:gd name="T5" fmla="*/ 17 h 17"/>
                <a:gd name="T6" fmla="*/ 7 w 16"/>
                <a:gd name="T7" fmla="*/ 0 h 17"/>
                <a:gd name="T8" fmla="*/ 16 w 16"/>
                <a:gd name="T9" fmla="*/ 0 h 17"/>
                <a:gd name="T10" fmla="*/ 16 w 16"/>
                <a:gd name="T11" fmla="*/ 0 h 17"/>
                <a:gd name="T12" fmla="*/ 16 w 16"/>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16" y="0"/>
                  </a:moveTo>
                  <a:lnTo>
                    <a:pt x="16" y="17"/>
                  </a:lnTo>
                  <a:lnTo>
                    <a:pt x="0" y="17"/>
                  </a:lnTo>
                  <a:lnTo>
                    <a:pt x="7" y="0"/>
                  </a:lnTo>
                  <a:lnTo>
                    <a:pt x="16" y="0"/>
                  </a:lnTo>
                  <a:lnTo>
                    <a:pt x="16" y="0"/>
                  </a:lnTo>
                  <a:lnTo>
                    <a:pt x="16"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08" name="Freeform 454">
              <a:extLst>
                <a:ext uri="{FF2B5EF4-FFF2-40B4-BE49-F238E27FC236}">
                  <a16:creationId xmlns:a16="http://schemas.microsoft.com/office/drawing/2014/main" id="{CE832ED0-8384-459D-9831-3C23097CF00C}"/>
                </a:ext>
              </a:extLst>
            </p:cNvPr>
            <p:cNvSpPr>
              <a:spLocks noEditPoints="1"/>
            </p:cNvSpPr>
            <p:nvPr/>
          </p:nvSpPr>
          <p:spPr bwMode="gray">
            <a:xfrm>
              <a:off x="3635762" y="6374914"/>
              <a:ext cx="61521" cy="76909"/>
            </a:xfrm>
            <a:custGeom>
              <a:avLst/>
              <a:gdLst>
                <a:gd name="T0" fmla="*/ 5 w 132"/>
                <a:gd name="T1" fmla="*/ 5 h 165"/>
                <a:gd name="T2" fmla="*/ 0 w 132"/>
                <a:gd name="T3" fmla="*/ 5 h 165"/>
                <a:gd name="T4" fmla="*/ 5 w 132"/>
                <a:gd name="T5" fmla="*/ 0 h 165"/>
                <a:gd name="T6" fmla="*/ 5 w 132"/>
                <a:gd name="T7" fmla="*/ 5 h 165"/>
                <a:gd name="T8" fmla="*/ 5 w 132"/>
                <a:gd name="T9" fmla="*/ 5 h 165"/>
                <a:gd name="T10" fmla="*/ 5 w 132"/>
                <a:gd name="T11" fmla="*/ 5 h 165"/>
                <a:gd name="T12" fmla="*/ 21 w 132"/>
                <a:gd name="T13" fmla="*/ 16 h 165"/>
                <a:gd name="T14" fmla="*/ 12 w 132"/>
                <a:gd name="T15" fmla="*/ 16 h 165"/>
                <a:gd name="T16" fmla="*/ 21 w 132"/>
                <a:gd name="T17" fmla="*/ 16 h 165"/>
                <a:gd name="T18" fmla="*/ 21 w 132"/>
                <a:gd name="T19" fmla="*/ 16 h 165"/>
                <a:gd name="T20" fmla="*/ 21 w 132"/>
                <a:gd name="T21" fmla="*/ 16 h 165"/>
                <a:gd name="T22" fmla="*/ 21 w 132"/>
                <a:gd name="T23" fmla="*/ 16 h 165"/>
                <a:gd name="T24" fmla="*/ 111 w 132"/>
                <a:gd name="T25" fmla="*/ 132 h 165"/>
                <a:gd name="T26" fmla="*/ 111 w 132"/>
                <a:gd name="T27" fmla="*/ 116 h 165"/>
                <a:gd name="T28" fmla="*/ 118 w 132"/>
                <a:gd name="T29" fmla="*/ 132 h 165"/>
                <a:gd name="T30" fmla="*/ 132 w 132"/>
                <a:gd name="T31" fmla="*/ 132 h 165"/>
                <a:gd name="T32" fmla="*/ 106 w 132"/>
                <a:gd name="T33" fmla="*/ 144 h 165"/>
                <a:gd name="T34" fmla="*/ 106 w 132"/>
                <a:gd name="T35" fmla="*/ 156 h 165"/>
                <a:gd name="T36" fmla="*/ 97 w 132"/>
                <a:gd name="T37" fmla="*/ 156 h 165"/>
                <a:gd name="T38" fmla="*/ 90 w 132"/>
                <a:gd name="T39" fmla="*/ 132 h 165"/>
                <a:gd name="T40" fmla="*/ 111 w 132"/>
                <a:gd name="T41" fmla="*/ 132 h 165"/>
                <a:gd name="T42" fmla="*/ 111 w 132"/>
                <a:gd name="T43" fmla="*/ 132 h 165"/>
                <a:gd name="T44" fmla="*/ 111 w 132"/>
                <a:gd name="T45" fmla="*/ 132 h 165"/>
                <a:gd name="T46" fmla="*/ 128 w 132"/>
                <a:gd name="T47" fmla="*/ 165 h 165"/>
                <a:gd name="T48" fmla="*/ 118 w 132"/>
                <a:gd name="T49" fmla="*/ 165 h 165"/>
                <a:gd name="T50" fmla="*/ 128 w 132"/>
                <a:gd name="T51" fmla="*/ 156 h 165"/>
                <a:gd name="T52" fmla="*/ 132 w 132"/>
                <a:gd name="T53" fmla="*/ 165 h 165"/>
                <a:gd name="T54" fmla="*/ 128 w 132"/>
                <a:gd name="T55" fmla="*/ 165 h 165"/>
                <a:gd name="T56" fmla="*/ 128 w 132"/>
                <a:gd name="T57" fmla="*/ 165 h 165"/>
                <a:gd name="T58" fmla="*/ 128 w 132"/>
                <a:gd name="T59"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2" h="165">
                  <a:moveTo>
                    <a:pt x="5" y="5"/>
                  </a:moveTo>
                  <a:lnTo>
                    <a:pt x="0" y="5"/>
                  </a:lnTo>
                  <a:lnTo>
                    <a:pt x="5" y="0"/>
                  </a:lnTo>
                  <a:lnTo>
                    <a:pt x="5" y="5"/>
                  </a:lnTo>
                  <a:lnTo>
                    <a:pt x="5" y="5"/>
                  </a:lnTo>
                  <a:lnTo>
                    <a:pt x="5" y="5"/>
                  </a:lnTo>
                  <a:close/>
                  <a:moveTo>
                    <a:pt x="21" y="16"/>
                  </a:moveTo>
                  <a:lnTo>
                    <a:pt x="12" y="16"/>
                  </a:lnTo>
                  <a:lnTo>
                    <a:pt x="21" y="16"/>
                  </a:lnTo>
                  <a:lnTo>
                    <a:pt x="21" y="16"/>
                  </a:lnTo>
                  <a:lnTo>
                    <a:pt x="21" y="16"/>
                  </a:lnTo>
                  <a:lnTo>
                    <a:pt x="21" y="16"/>
                  </a:lnTo>
                  <a:close/>
                  <a:moveTo>
                    <a:pt x="111" y="132"/>
                  </a:moveTo>
                  <a:lnTo>
                    <a:pt x="111" y="116"/>
                  </a:lnTo>
                  <a:lnTo>
                    <a:pt x="118" y="132"/>
                  </a:lnTo>
                  <a:lnTo>
                    <a:pt x="132" y="132"/>
                  </a:lnTo>
                  <a:lnTo>
                    <a:pt x="106" y="144"/>
                  </a:lnTo>
                  <a:lnTo>
                    <a:pt x="106" y="156"/>
                  </a:lnTo>
                  <a:lnTo>
                    <a:pt x="97" y="156"/>
                  </a:lnTo>
                  <a:lnTo>
                    <a:pt x="90" y="132"/>
                  </a:lnTo>
                  <a:lnTo>
                    <a:pt x="111" y="132"/>
                  </a:lnTo>
                  <a:lnTo>
                    <a:pt x="111" y="132"/>
                  </a:lnTo>
                  <a:lnTo>
                    <a:pt x="111" y="132"/>
                  </a:lnTo>
                  <a:close/>
                  <a:moveTo>
                    <a:pt x="128" y="165"/>
                  </a:moveTo>
                  <a:lnTo>
                    <a:pt x="118" y="165"/>
                  </a:lnTo>
                  <a:lnTo>
                    <a:pt x="128" y="156"/>
                  </a:lnTo>
                  <a:lnTo>
                    <a:pt x="132" y="165"/>
                  </a:lnTo>
                  <a:lnTo>
                    <a:pt x="128" y="165"/>
                  </a:lnTo>
                  <a:lnTo>
                    <a:pt x="128" y="165"/>
                  </a:lnTo>
                  <a:lnTo>
                    <a:pt x="128" y="16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09" name="Freeform 457">
              <a:extLst>
                <a:ext uri="{FF2B5EF4-FFF2-40B4-BE49-F238E27FC236}">
                  <a16:creationId xmlns:a16="http://schemas.microsoft.com/office/drawing/2014/main" id="{DB027179-4A5E-4AB5-8F7F-CA8BC25C3704}"/>
                </a:ext>
              </a:extLst>
            </p:cNvPr>
            <p:cNvSpPr>
              <a:spLocks/>
            </p:cNvSpPr>
            <p:nvPr/>
          </p:nvSpPr>
          <p:spPr bwMode="gray">
            <a:xfrm>
              <a:off x="2681266" y="6384703"/>
              <a:ext cx="134226" cy="139835"/>
            </a:xfrm>
            <a:custGeom>
              <a:avLst/>
              <a:gdLst>
                <a:gd name="T0" fmla="*/ 0 w 288"/>
                <a:gd name="T1" fmla="*/ 239 h 300"/>
                <a:gd name="T2" fmla="*/ 17 w 288"/>
                <a:gd name="T3" fmla="*/ 206 h 300"/>
                <a:gd name="T4" fmla="*/ 7 w 288"/>
                <a:gd name="T5" fmla="*/ 189 h 300"/>
                <a:gd name="T6" fmla="*/ 40 w 288"/>
                <a:gd name="T7" fmla="*/ 128 h 300"/>
                <a:gd name="T8" fmla="*/ 132 w 288"/>
                <a:gd name="T9" fmla="*/ 128 h 300"/>
                <a:gd name="T10" fmla="*/ 132 w 288"/>
                <a:gd name="T11" fmla="*/ 104 h 300"/>
                <a:gd name="T12" fmla="*/ 116 w 288"/>
                <a:gd name="T13" fmla="*/ 104 h 300"/>
                <a:gd name="T14" fmla="*/ 109 w 288"/>
                <a:gd name="T15" fmla="*/ 78 h 300"/>
                <a:gd name="T16" fmla="*/ 62 w 288"/>
                <a:gd name="T17" fmla="*/ 38 h 300"/>
                <a:gd name="T18" fmla="*/ 95 w 288"/>
                <a:gd name="T19" fmla="*/ 38 h 300"/>
                <a:gd name="T20" fmla="*/ 95 w 288"/>
                <a:gd name="T21" fmla="*/ 0 h 300"/>
                <a:gd name="T22" fmla="*/ 225 w 288"/>
                <a:gd name="T23" fmla="*/ 0 h 300"/>
                <a:gd name="T24" fmla="*/ 217 w 288"/>
                <a:gd name="T25" fmla="*/ 144 h 300"/>
                <a:gd name="T26" fmla="*/ 241 w 288"/>
                <a:gd name="T27" fmla="*/ 144 h 300"/>
                <a:gd name="T28" fmla="*/ 255 w 288"/>
                <a:gd name="T29" fmla="*/ 161 h 300"/>
                <a:gd name="T30" fmla="*/ 272 w 288"/>
                <a:gd name="T31" fmla="*/ 144 h 300"/>
                <a:gd name="T32" fmla="*/ 262 w 288"/>
                <a:gd name="T33" fmla="*/ 132 h 300"/>
                <a:gd name="T34" fmla="*/ 288 w 288"/>
                <a:gd name="T35" fmla="*/ 161 h 300"/>
                <a:gd name="T36" fmla="*/ 225 w 288"/>
                <a:gd name="T37" fmla="*/ 206 h 300"/>
                <a:gd name="T38" fmla="*/ 217 w 288"/>
                <a:gd name="T39" fmla="*/ 222 h 300"/>
                <a:gd name="T40" fmla="*/ 225 w 288"/>
                <a:gd name="T41" fmla="*/ 234 h 300"/>
                <a:gd name="T42" fmla="*/ 208 w 288"/>
                <a:gd name="T43" fmla="*/ 255 h 300"/>
                <a:gd name="T44" fmla="*/ 196 w 288"/>
                <a:gd name="T45" fmla="*/ 255 h 300"/>
                <a:gd name="T46" fmla="*/ 196 w 288"/>
                <a:gd name="T47" fmla="*/ 260 h 300"/>
                <a:gd name="T48" fmla="*/ 163 w 288"/>
                <a:gd name="T49" fmla="*/ 288 h 300"/>
                <a:gd name="T50" fmla="*/ 154 w 288"/>
                <a:gd name="T51" fmla="*/ 300 h 300"/>
                <a:gd name="T52" fmla="*/ 116 w 288"/>
                <a:gd name="T53" fmla="*/ 288 h 300"/>
                <a:gd name="T54" fmla="*/ 62 w 288"/>
                <a:gd name="T55" fmla="*/ 288 h 300"/>
                <a:gd name="T56" fmla="*/ 0 w 288"/>
                <a:gd name="T57" fmla="*/ 239 h 300"/>
                <a:gd name="T58" fmla="*/ 0 w 288"/>
                <a:gd name="T59" fmla="*/ 239 h 300"/>
                <a:gd name="T60" fmla="*/ 0 w 288"/>
                <a:gd name="T61" fmla="*/ 23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8" h="300">
                  <a:moveTo>
                    <a:pt x="0" y="239"/>
                  </a:moveTo>
                  <a:lnTo>
                    <a:pt x="17" y="206"/>
                  </a:lnTo>
                  <a:lnTo>
                    <a:pt x="7" y="189"/>
                  </a:lnTo>
                  <a:lnTo>
                    <a:pt x="40" y="128"/>
                  </a:lnTo>
                  <a:lnTo>
                    <a:pt x="132" y="128"/>
                  </a:lnTo>
                  <a:lnTo>
                    <a:pt x="132" y="104"/>
                  </a:lnTo>
                  <a:lnTo>
                    <a:pt x="116" y="104"/>
                  </a:lnTo>
                  <a:lnTo>
                    <a:pt x="109" y="78"/>
                  </a:lnTo>
                  <a:lnTo>
                    <a:pt x="62" y="38"/>
                  </a:lnTo>
                  <a:lnTo>
                    <a:pt x="95" y="38"/>
                  </a:lnTo>
                  <a:lnTo>
                    <a:pt x="95" y="0"/>
                  </a:lnTo>
                  <a:lnTo>
                    <a:pt x="225" y="0"/>
                  </a:lnTo>
                  <a:lnTo>
                    <a:pt x="217" y="144"/>
                  </a:lnTo>
                  <a:lnTo>
                    <a:pt x="241" y="144"/>
                  </a:lnTo>
                  <a:lnTo>
                    <a:pt x="255" y="161"/>
                  </a:lnTo>
                  <a:lnTo>
                    <a:pt x="272" y="144"/>
                  </a:lnTo>
                  <a:lnTo>
                    <a:pt x="262" y="132"/>
                  </a:lnTo>
                  <a:lnTo>
                    <a:pt x="288" y="161"/>
                  </a:lnTo>
                  <a:lnTo>
                    <a:pt x="225" y="206"/>
                  </a:lnTo>
                  <a:lnTo>
                    <a:pt x="217" y="222"/>
                  </a:lnTo>
                  <a:lnTo>
                    <a:pt x="225" y="234"/>
                  </a:lnTo>
                  <a:lnTo>
                    <a:pt x="208" y="255"/>
                  </a:lnTo>
                  <a:lnTo>
                    <a:pt x="196" y="255"/>
                  </a:lnTo>
                  <a:lnTo>
                    <a:pt x="196" y="260"/>
                  </a:lnTo>
                  <a:lnTo>
                    <a:pt x="163" y="288"/>
                  </a:lnTo>
                  <a:lnTo>
                    <a:pt x="154" y="300"/>
                  </a:lnTo>
                  <a:lnTo>
                    <a:pt x="116" y="288"/>
                  </a:lnTo>
                  <a:lnTo>
                    <a:pt x="62" y="288"/>
                  </a:lnTo>
                  <a:lnTo>
                    <a:pt x="0" y="239"/>
                  </a:lnTo>
                  <a:lnTo>
                    <a:pt x="0" y="239"/>
                  </a:lnTo>
                  <a:lnTo>
                    <a:pt x="0" y="23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10" name="Freeform 459">
              <a:extLst>
                <a:ext uri="{FF2B5EF4-FFF2-40B4-BE49-F238E27FC236}">
                  <a16:creationId xmlns:a16="http://schemas.microsoft.com/office/drawing/2014/main" id="{A5E4DBB0-F592-47EF-BCB8-8C56CB313166}"/>
                </a:ext>
              </a:extLst>
            </p:cNvPr>
            <p:cNvSpPr>
              <a:spLocks/>
            </p:cNvSpPr>
            <p:nvPr/>
          </p:nvSpPr>
          <p:spPr bwMode="gray">
            <a:xfrm>
              <a:off x="3692156" y="6703060"/>
              <a:ext cx="161723" cy="247508"/>
            </a:xfrm>
            <a:custGeom>
              <a:avLst/>
              <a:gdLst>
                <a:gd name="T0" fmla="*/ 85 w 347"/>
                <a:gd name="T1" fmla="*/ 236 h 531"/>
                <a:gd name="T2" fmla="*/ 47 w 347"/>
                <a:gd name="T3" fmla="*/ 236 h 531"/>
                <a:gd name="T4" fmla="*/ 16 w 347"/>
                <a:gd name="T5" fmla="*/ 165 h 531"/>
                <a:gd name="T6" fmla="*/ 16 w 347"/>
                <a:gd name="T7" fmla="*/ 127 h 531"/>
                <a:gd name="T8" fmla="*/ 80 w 347"/>
                <a:gd name="T9" fmla="*/ 104 h 531"/>
                <a:gd name="T10" fmla="*/ 63 w 347"/>
                <a:gd name="T11" fmla="*/ 104 h 531"/>
                <a:gd name="T12" fmla="*/ 54 w 347"/>
                <a:gd name="T13" fmla="*/ 87 h 531"/>
                <a:gd name="T14" fmla="*/ 63 w 347"/>
                <a:gd name="T15" fmla="*/ 49 h 531"/>
                <a:gd name="T16" fmla="*/ 101 w 347"/>
                <a:gd name="T17" fmla="*/ 21 h 531"/>
                <a:gd name="T18" fmla="*/ 101 w 347"/>
                <a:gd name="T19" fmla="*/ 0 h 531"/>
                <a:gd name="T20" fmla="*/ 118 w 347"/>
                <a:gd name="T21" fmla="*/ 4 h 531"/>
                <a:gd name="T22" fmla="*/ 203 w 347"/>
                <a:gd name="T23" fmla="*/ 87 h 531"/>
                <a:gd name="T24" fmla="*/ 203 w 347"/>
                <a:gd name="T25" fmla="*/ 115 h 531"/>
                <a:gd name="T26" fmla="*/ 207 w 347"/>
                <a:gd name="T27" fmla="*/ 115 h 531"/>
                <a:gd name="T28" fmla="*/ 241 w 347"/>
                <a:gd name="T29" fmla="*/ 127 h 531"/>
                <a:gd name="T30" fmla="*/ 267 w 347"/>
                <a:gd name="T31" fmla="*/ 165 h 531"/>
                <a:gd name="T32" fmla="*/ 293 w 347"/>
                <a:gd name="T33" fmla="*/ 170 h 531"/>
                <a:gd name="T34" fmla="*/ 293 w 347"/>
                <a:gd name="T35" fmla="*/ 219 h 531"/>
                <a:gd name="T36" fmla="*/ 293 w 347"/>
                <a:gd name="T37" fmla="*/ 243 h 531"/>
                <a:gd name="T38" fmla="*/ 283 w 347"/>
                <a:gd name="T39" fmla="*/ 253 h 531"/>
                <a:gd name="T40" fmla="*/ 241 w 347"/>
                <a:gd name="T41" fmla="*/ 271 h 531"/>
                <a:gd name="T42" fmla="*/ 229 w 347"/>
                <a:gd name="T43" fmla="*/ 314 h 531"/>
                <a:gd name="T44" fmla="*/ 262 w 347"/>
                <a:gd name="T45" fmla="*/ 364 h 531"/>
                <a:gd name="T46" fmla="*/ 283 w 347"/>
                <a:gd name="T47" fmla="*/ 371 h 531"/>
                <a:gd name="T48" fmla="*/ 330 w 347"/>
                <a:gd name="T49" fmla="*/ 465 h 531"/>
                <a:gd name="T50" fmla="*/ 321 w 347"/>
                <a:gd name="T51" fmla="*/ 482 h 531"/>
                <a:gd name="T52" fmla="*/ 283 w 347"/>
                <a:gd name="T53" fmla="*/ 475 h 531"/>
                <a:gd name="T54" fmla="*/ 257 w 347"/>
                <a:gd name="T55" fmla="*/ 491 h 531"/>
                <a:gd name="T56" fmla="*/ 241 w 347"/>
                <a:gd name="T57" fmla="*/ 503 h 531"/>
                <a:gd name="T58" fmla="*/ 203 w 347"/>
                <a:gd name="T59" fmla="*/ 503 h 531"/>
                <a:gd name="T60" fmla="*/ 186 w 347"/>
                <a:gd name="T61" fmla="*/ 519 h 531"/>
                <a:gd name="T62" fmla="*/ 170 w 347"/>
                <a:gd name="T63" fmla="*/ 519 h 531"/>
                <a:gd name="T64" fmla="*/ 132 w 347"/>
                <a:gd name="T65" fmla="*/ 491 h 531"/>
                <a:gd name="T66" fmla="*/ 122 w 347"/>
                <a:gd name="T67" fmla="*/ 482 h 531"/>
                <a:gd name="T68" fmla="*/ 118 w 347"/>
                <a:gd name="T69" fmla="*/ 449 h 531"/>
                <a:gd name="T70" fmla="*/ 101 w 347"/>
                <a:gd name="T71" fmla="*/ 420 h 531"/>
                <a:gd name="T72" fmla="*/ 122 w 347"/>
                <a:gd name="T73" fmla="*/ 330 h 531"/>
                <a:gd name="T74" fmla="*/ 118 w 347"/>
                <a:gd name="T75" fmla="*/ 297 h 531"/>
                <a:gd name="T76" fmla="*/ 96 w 347"/>
                <a:gd name="T77" fmla="*/ 276 h 531"/>
                <a:gd name="T78" fmla="*/ 96 w 347"/>
                <a:gd name="T79" fmla="*/ 243 h 531"/>
                <a:gd name="T80" fmla="*/ 96 w 347"/>
                <a:gd name="T81" fmla="*/ 243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7" h="531">
                  <a:moveTo>
                    <a:pt x="96" y="243"/>
                  </a:moveTo>
                  <a:lnTo>
                    <a:pt x="85" y="236"/>
                  </a:lnTo>
                  <a:lnTo>
                    <a:pt x="80" y="236"/>
                  </a:lnTo>
                  <a:lnTo>
                    <a:pt x="47" y="236"/>
                  </a:lnTo>
                  <a:lnTo>
                    <a:pt x="0" y="186"/>
                  </a:lnTo>
                  <a:lnTo>
                    <a:pt x="16" y="165"/>
                  </a:lnTo>
                  <a:lnTo>
                    <a:pt x="16" y="144"/>
                  </a:lnTo>
                  <a:lnTo>
                    <a:pt x="16" y="127"/>
                  </a:lnTo>
                  <a:lnTo>
                    <a:pt x="47" y="127"/>
                  </a:lnTo>
                  <a:lnTo>
                    <a:pt x="80" y="104"/>
                  </a:lnTo>
                  <a:lnTo>
                    <a:pt x="68" y="92"/>
                  </a:lnTo>
                  <a:lnTo>
                    <a:pt x="63" y="104"/>
                  </a:lnTo>
                  <a:lnTo>
                    <a:pt x="54" y="92"/>
                  </a:lnTo>
                  <a:lnTo>
                    <a:pt x="54" y="87"/>
                  </a:lnTo>
                  <a:lnTo>
                    <a:pt x="47" y="71"/>
                  </a:lnTo>
                  <a:lnTo>
                    <a:pt x="63" y="49"/>
                  </a:lnTo>
                  <a:lnTo>
                    <a:pt x="96" y="33"/>
                  </a:lnTo>
                  <a:lnTo>
                    <a:pt x="101" y="21"/>
                  </a:lnTo>
                  <a:lnTo>
                    <a:pt x="106" y="21"/>
                  </a:lnTo>
                  <a:lnTo>
                    <a:pt x="101" y="0"/>
                  </a:lnTo>
                  <a:lnTo>
                    <a:pt x="106" y="4"/>
                  </a:lnTo>
                  <a:lnTo>
                    <a:pt x="118" y="4"/>
                  </a:lnTo>
                  <a:lnTo>
                    <a:pt x="160" y="33"/>
                  </a:lnTo>
                  <a:lnTo>
                    <a:pt x="203" y="87"/>
                  </a:lnTo>
                  <a:lnTo>
                    <a:pt x="203" y="108"/>
                  </a:lnTo>
                  <a:lnTo>
                    <a:pt x="203" y="115"/>
                  </a:lnTo>
                  <a:lnTo>
                    <a:pt x="191" y="149"/>
                  </a:lnTo>
                  <a:lnTo>
                    <a:pt x="207" y="115"/>
                  </a:lnTo>
                  <a:lnTo>
                    <a:pt x="212" y="115"/>
                  </a:lnTo>
                  <a:lnTo>
                    <a:pt x="241" y="127"/>
                  </a:lnTo>
                  <a:lnTo>
                    <a:pt x="262" y="149"/>
                  </a:lnTo>
                  <a:lnTo>
                    <a:pt x="267" y="165"/>
                  </a:lnTo>
                  <a:lnTo>
                    <a:pt x="278" y="160"/>
                  </a:lnTo>
                  <a:lnTo>
                    <a:pt x="293" y="170"/>
                  </a:lnTo>
                  <a:lnTo>
                    <a:pt x="300" y="182"/>
                  </a:lnTo>
                  <a:lnTo>
                    <a:pt x="293" y="219"/>
                  </a:lnTo>
                  <a:lnTo>
                    <a:pt x="283" y="227"/>
                  </a:lnTo>
                  <a:lnTo>
                    <a:pt x="293" y="243"/>
                  </a:lnTo>
                  <a:lnTo>
                    <a:pt x="283" y="243"/>
                  </a:lnTo>
                  <a:lnTo>
                    <a:pt x="283" y="253"/>
                  </a:lnTo>
                  <a:lnTo>
                    <a:pt x="262" y="253"/>
                  </a:lnTo>
                  <a:lnTo>
                    <a:pt x="241" y="271"/>
                  </a:lnTo>
                  <a:lnTo>
                    <a:pt x="245" y="276"/>
                  </a:lnTo>
                  <a:lnTo>
                    <a:pt x="229" y="314"/>
                  </a:lnTo>
                  <a:lnTo>
                    <a:pt x="229" y="326"/>
                  </a:lnTo>
                  <a:lnTo>
                    <a:pt x="262" y="364"/>
                  </a:lnTo>
                  <a:lnTo>
                    <a:pt x="262" y="371"/>
                  </a:lnTo>
                  <a:lnTo>
                    <a:pt x="283" y="371"/>
                  </a:lnTo>
                  <a:lnTo>
                    <a:pt x="293" y="408"/>
                  </a:lnTo>
                  <a:lnTo>
                    <a:pt x="330" y="465"/>
                  </a:lnTo>
                  <a:lnTo>
                    <a:pt x="347" y="475"/>
                  </a:lnTo>
                  <a:lnTo>
                    <a:pt x="321" y="482"/>
                  </a:lnTo>
                  <a:lnTo>
                    <a:pt x="300" y="465"/>
                  </a:lnTo>
                  <a:lnTo>
                    <a:pt x="283" y="475"/>
                  </a:lnTo>
                  <a:lnTo>
                    <a:pt x="267" y="491"/>
                  </a:lnTo>
                  <a:lnTo>
                    <a:pt x="257" y="491"/>
                  </a:lnTo>
                  <a:lnTo>
                    <a:pt x="241" y="498"/>
                  </a:lnTo>
                  <a:lnTo>
                    <a:pt x="241" y="503"/>
                  </a:lnTo>
                  <a:lnTo>
                    <a:pt x="212" y="498"/>
                  </a:lnTo>
                  <a:lnTo>
                    <a:pt x="203" y="503"/>
                  </a:lnTo>
                  <a:lnTo>
                    <a:pt x="203" y="519"/>
                  </a:lnTo>
                  <a:lnTo>
                    <a:pt x="186" y="519"/>
                  </a:lnTo>
                  <a:lnTo>
                    <a:pt x="177" y="531"/>
                  </a:lnTo>
                  <a:lnTo>
                    <a:pt x="170" y="519"/>
                  </a:lnTo>
                  <a:lnTo>
                    <a:pt x="148" y="515"/>
                  </a:lnTo>
                  <a:lnTo>
                    <a:pt x="132" y="491"/>
                  </a:lnTo>
                  <a:lnTo>
                    <a:pt x="122" y="491"/>
                  </a:lnTo>
                  <a:lnTo>
                    <a:pt x="122" y="482"/>
                  </a:lnTo>
                  <a:lnTo>
                    <a:pt x="118" y="482"/>
                  </a:lnTo>
                  <a:lnTo>
                    <a:pt x="118" y="449"/>
                  </a:lnTo>
                  <a:lnTo>
                    <a:pt x="106" y="441"/>
                  </a:lnTo>
                  <a:lnTo>
                    <a:pt x="101" y="420"/>
                  </a:lnTo>
                  <a:lnTo>
                    <a:pt x="106" y="364"/>
                  </a:lnTo>
                  <a:lnTo>
                    <a:pt x="122" y="330"/>
                  </a:lnTo>
                  <a:lnTo>
                    <a:pt x="118" y="309"/>
                  </a:lnTo>
                  <a:lnTo>
                    <a:pt x="118" y="297"/>
                  </a:lnTo>
                  <a:lnTo>
                    <a:pt x="85" y="293"/>
                  </a:lnTo>
                  <a:lnTo>
                    <a:pt x="96" y="276"/>
                  </a:lnTo>
                  <a:lnTo>
                    <a:pt x="101" y="253"/>
                  </a:lnTo>
                  <a:lnTo>
                    <a:pt x="96" y="243"/>
                  </a:lnTo>
                  <a:lnTo>
                    <a:pt x="96" y="243"/>
                  </a:lnTo>
                  <a:lnTo>
                    <a:pt x="96" y="24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11" name="Freeform 461">
              <a:extLst>
                <a:ext uri="{FF2B5EF4-FFF2-40B4-BE49-F238E27FC236}">
                  <a16:creationId xmlns:a16="http://schemas.microsoft.com/office/drawing/2014/main" id="{13704D2D-29A2-47E2-A94C-CF8E2749B8D6}"/>
                </a:ext>
              </a:extLst>
            </p:cNvPr>
            <p:cNvSpPr>
              <a:spLocks noEditPoints="1"/>
            </p:cNvSpPr>
            <p:nvPr/>
          </p:nvSpPr>
          <p:spPr bwMode="gray">
            <a:xfrm>
              <a:off x="3263845" y="6308726"/>
              <a:ext cx="92281" cy="69451"/>
            </a:xfrm>
            <a:custGeom>
              <a:avLst/>
              <a:gdLst>
                <a:gd name="T0" fmla="*/ 134 w 198"/>
                <a:gd name="T1" fmla="*/ 10 h 149"/>
                <a:gd name="T2" fmla="*/ 106 w 198"/>
                <a:gd name="T3" fmla="*/ 0 h 149"/>
                <a:gd name="T4" fmla="*/ 118 w 198"/>
                <a:gd name="T5" fmla="*/ 0 h 149"/>
                <a:gd name="T6" fmla="*/ 134 w 198"/>
                <a:gd name="T7" fmla="*/ 10 h 149"/>
                <a:gd name="T8" fmla="*/ 134 w 198"/>
                <a:gd name="T9" fmla="*/ 10 h 149"/>
                <a:gd name="T10" fmla="*/ 134 w 198"/>
                <a:gd name="T11" fmla="*/ 10 h 149"/>
                <a:gd name="T12" fmla="*/ 191 w 198"/>
                <a:gd name="T13" fmla="*/ 21 h 149"/>
                <a:gd name="T14" fmla="*/ 191 w 198"/>
                <a:gd name="T15" fmla="*/ 38 h 149"/>
                <a:gd name="T16" fmla="*/ 191 w 198"/>
                <a:gd name="T17" fmla="*/ 54 h 149"/>
                <a:gd name="T18" fmla="*/ 198 w 198"/>
                <a:gd name="T19" fmla="*/ 66 h 149"/>
                <a:gd name="T20" fmla="*/ 186 w 198"/>
                <a:gd name="T21" fmla="*/ 78 h 149"/>
                <a:gd name="T22" fmla="*/ 191 w 198"/>
                <a:gd name="T23" fmla="*/ 95 h 149"/>
                <a:gd name="T24" fmla="*/ 186 w 198"/>
                <a:gd name="T25" fmla="*/ 104 h 149"/>
                <a:gd name="T26" fmla="*/ 170 w 198"/>
                <a:gd name="T27" fmla="*/ 111 h 149"/>
                <a:gd name="T28" fmla="*/ 177 w 198"/>
                <a:gd name="T29" fmla="*/ 121 h 149"/>
                <a:gd name="T30" fmla="*/ 191 w 198"/>
                <a:gd name="T31" fmla="*/ 128 h 149"/>
                <a:gd name="T32" fmla="*/ 191 w 198"/>
                <a:gd name="T33" fmla="*/ 149 h 149"/>
                <a:gd name="T34" fmla="*/ 170 w 198"/>
                <a:gd name="T35" fmla="*/ 132 h 149"/>
                <a:gd name="T36" fmla="*/ 118 w 198"/>
                <a:gd name="T37" fmla="*/ 144 h 149"/>
                <a:gd name="T38" fmla="*/ 80 w 198"/>
                <a:gd name="T39" fmla="*/ 132 h 149"/>
                <a:gd name="T40" fmla="*/ 47 w 198"/>
                <a:gd name="T41" fmla="*/ 144 h 149"/>
                <a:gd name="T42" fmla="*/ 47 w 198"/>
                <a:gd name="T43" fmla="*/ 149 h 149"/>
                <a:gd name="T44" fmla="*/ 38 w 198"/>
                <a:gd name="T45" fmla="*/ 149 h 149"/>
                <a:gd name="T46" fmla="*/ 26 w 198"/>
                <a:gd name="T47" fmla="*/ 132 h 149"/>
                <a:gd name="T48" fmla="*/ 0 w 198"/>
                <a:gd name="T49" fmla="*/ 128 h 149"/>
                <a:gd name="T50" fmla="*/ 0 w 198"/>
                <a:gd name="T51" fmla="*/ 121 h 149"/>
                <a:gd name="T52" fmla="*/ 0 w 198"/>
                <a:gd name="T53" fmla="*/ 104 h 149"/>
                <a:gd name="T54" fmla="*/ 16 w 198"/>
                <a:gd name="T55" fmla="*/ 104 h 149"/>
                <a:gd name="T56" fmla="*/ 47 w 198"/>
                <a:gd name="T57" fmla="*/ 111 h 149"/>
                <a:gd name="T58" fmla="*/ 63 w 198"/>
                <a:gd name="T59" fmla="*/ 111 h 149"/>
                <a:gd name="T60" fmla="*/ 54 w 198"/>
                <a:gd name="T61" fmla="*/ 111 h 149"/>
                <a:gd name="T62" fmla="*/ 54 w 198"/>
                <a:gd name="T63" fmla="*/ 121 h 149"/>
                <a:gd name="T64" fmla="*/ 123 w 198"/>
                <a:gd name="T65" fmla="*/ 121 h 149"/>
                <a:gd name="T66" fmla="*/ 134 w 198"/>
                <a:gd name="T67" fmla="*/ 111 h 149"/>
                <a:gd name="T68" fmla="*/ 144 w 198"/>
                <a:gd name="T69" fmla="*/ 111 h 149"/>
                <a:gd name="T70" fmla="*/ 144 w 198"/>
                <a:gd name="T71" fmla="*/ 104 h 149"/>
                <a:gd name="T72" fmla="*/ 118 w 198"/>
                <a:gd name="T73" fmla="*/ 71 h 149"/>
                <a:gd name="T74" fmla="*/ 123 w 198"/>
                <a:gd name="T75" fmla="*/ 50 h 149"/>
                <a:gd name="T76" fmla="*/ 92 w 198"/>
                <a:gd name="T77" fmla="*/ 33 h 149"/>
                <a:gd name="T78" fmla="*/ 80 w 198"/>
                <a:gd name="T79" fmla="*/ 33 h 149"/>
                <a:gd name="T80" fmla="*/ 80 w 198"/>
                <a:gd name="T81" fmla="*/ 17 h 149"/>
                <a:gd name="T82" fmla="*/ 118 w 198"/>
                <a:gd name="T83" fmla="*/ 10 h 149"/>
                <a:gd name="T84" fmla="*/ 156 w 198"/>
                <a:gd name="T85" fmla="*/ 21 h 149"/>
                <a:gd name="T86" fmla="*/ 191 w 198"/>
                <a:gd name="T87" fmla="*/ 21 h 149"/>
                <a:gd name="T88" fmla="*/ 191 w 198"/>
                <a:gd name="T89" fmla="*/ 21 h 149"/>
                <a:gd name="T90" fmla="*/ 191 w 198"/>
                <a:gd name="T91" fmla="*/ 21 h 149"/>
                <a:gd name="T92" fmla="*/ 118 w 198"/>
                <a:gd name="T93" fmla="*/ 104 h 149"/>
                <a:gd name="T94" fmla="*/ 85 w 198"/>
                <a:gd name="T95" fmla="*/ 88 h 149"/>
                <a:gd name="T96" fmla="*/ 92 w 198"/>
                <a:gd name="T97" fmla="*/ 78 h 149"/>
                <a:gd name="T98" fmla="*/ 118 w 198"/>
                <a:gd name="T99" fmla="*/ 88 h 149"/>
                <a:gd name="T100" fmla="*/ 118 w 198"/>
                <a:gd name="T101" fmla="*/ 104 h 149"/>
                <a:gd name="T102" fmla="*/ 118 w 198"/>
                <a:gd name="T103" fmla="*/ 104 h 149"/>
                <a:gd name="T104" fmla="*/ 118 w 198"/>
                <a:gd name="T105" fmla="*/ 104 h 149"/>
                <a:gd name="T106" fmla="*/ 54 w 198"/>
                <a:gd name="T107" fmla="*/ 111 h 149"/>
                <a:gd name="T108" fmla="*/ 47 w 198"/>
                <a:gd name="T109" fmla="*/ 104 h 149"/>
                <a:gd name="T110" fmla="*/ 54 w 198"/>
                <a:gd name="T111" fmla="*/ 104 h 149"/>
                <a:gd name="T112" fmla="*/ 54 w 198"/>
                <a:gd name="T113" fmla="*/ 111 h 149"/>
                <a:gd name="T114" fmla="*/ 54 w 198"/>
                <a:gd name="T115" fmla="*/ 111 h 149"/>
                <a:gd name="T116" fmla="*/ 54 w 198"/>
                <a:gd name="T117" fmla="*/ 11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 h="149">
                  <a:moveTo>
                    <a:pt x="134" y="10"/>
                  </a:moveTo>
                  <a:lnTo>
                    <a:pt x="106" y="0"/>
                  </a:lnTo>
                  <a:lnTo>
                    <a:pt x="118" y="0"/>
                  </a:lnTo>
                  <a:lnTo>
                    <a:pt x="134" y="10"/>
                  </a:lnTo>
                  <a:lnTo>
                    <a:pt x="134" y="10"/>
                  </a:lnTo>
                  <a:lnTo>
                    <a:pt x="134" y="10"/>
                  </a:lnTo>
                  <a:close/>
                  <a:moveTo>
                    <a:pt x="191" y="21"/>
                  </a:moveTo>
                  <a:lnTo>
                    <a:pt x="191" y="38"/>
                  </a:lnTo>
                  <a:lnTo>
                    <a:pt x="191" y="54"/>
                  </a:lnTo>
                  <a:lnTo>
                    <a:pt x="198" y="66"/>
                  </a:lnTo>
                  <a:lnTo>
                    <a:pt x="186" y="78"/>
                  </a:lnTo>
                  <a:lnTo>
                    <a:pt x="191" y="95"/>
                  </a:lnTo>
                  <a:lnTo>
                    <a:pt x="186" y="104"/>
                  </a:lnTo>
                  <a:lnTo>
                    <a:pt x="170" y="111"/>
                  </a:lnTo>
                  <a:lnTo>
                    <a:pt x="177" y="121"/>
                  </a:lnTo>
                  <a:lnTo>
                    <a:pt x="191" y="128"/>
                  </a:lnTo>
                  <a:lnTo>
                    <a:pt x="191" y="149"/>
                  </a:lnTo>
                  <a:lnTo>
                    <a:pt x="170" y="132"/>
                  </a:lnTo>
                  <a:lnTo>
                    <a:pt x="118" y="144"/>
                  </a:lnTo>
                  <a:lnTo>
                    <a:pt x="80" y="132"/>
                  </a:lnTo>
                  <a:lnTo>
                    <a:pt x="47" y="144"/>
                  </a:lnTo>
                  <a:lnTo>
                    <a:pt x="47" y="149"/>
                  </a:lnTo>
                  <a:lnTo>
                    <a:pt x="38" y="149"/>
                  </a:lnTo>
                  <a:lnTo>
                    <a:pt x="26" y="132"/>
                  </a:lnTo>
                  <a:lnTo>
                    <a:pt x="0" y="128"/>
                  </a:lnTo>
                  <a:lnTo>
                    <a:pt x="0" y="121"/>
                  </a:lnTo>
                  <a:lnTo>
                    <a:pt x="0" y="104"/>
                  </a:lnTo>
                  <a:lnTo>
                    <a:pt x="16" y="104"/>
                  </a:lnTo>
                  <a:lnTo>
                    <a:pt x="47" y="111"/>
                  </a:lnTo>
                  <a:lnTo>
                    <a:pt x="63" y="111"/>
                  </a:lnTo>
                  <a:lnTo>
                    <a:pt x="54" y="111"/>
                  </a:lnTo>
                  <a:lnTo>
                    <a:pt x="54" y="121"/>
                  </a:lnTo>
                  <a:lnTo>
                    <a:pt x="123" y="121"/>
                  </a:lnTo>
                  <a:lnTo>
                    <a:pt x="134" y="111"/>
                  </a:lnTo>
                  <a:lnTo>
                    <a:pt x="144" y="111"/>
                  </a:lnTo>
                  <a:lnTo>
                    <a:pt x="144" y="104"/>
                  </a:lnTo>
                  <a:lnTo>
                    <a:pt x="118" y="71"/>
                  </a:lnTo>
                  <a:lnTo>
                    <a:pt x="123" y="50"/>
                  </a:lnTo>
                  <a:lnTo>
                    <a:pt x="92" y="33"/>
                  </a:lnTo>
                  <a:lnTo>
                    <a:pt x="80" y="33"/>
                  </a:lnTo>
                  <a:lnTo>
                    <a:pt x="80" y="17"/>
                  </a:lnTo>
                  <a:lnTo>
                    <a:pt x="118" y="10"/>
                  </a:lnTo>
                  <a:lnTo>
                    <a:pt x="156" y="21"/>
                  </a:lnTo>
                  <a:lnTo>
                    <a:pt x="191" y="21"/>
                  </a:lnTo>
                  <a:lnTo>
                    <a:pt x="191" y="21"/>
                  </a:lnTo>
                  <a:lnTo>
                    <a:pt x="191" y="21"/>
                  </a:lnTo>
                  <a:close/>
                  <a:moveTo>
                    <a:pt x="118" y="104"/>
                  </a:moveTo>
                  <a:lnTo>
                    <a:pt x="85" y="88"/>
                  </a:lnTo>
                  <a:lnTo>
                    <a:pt x="92" y="78"/>
                  </a:lnTo>
                  <a:lnTo>
                    <a:pt x="118" y="88"/>
                  </a:lnTo>
                  <a:lnTo>
                    <a:pt x="118" y="104"/>
                  </a:lnTo>
                  <a:lnTo>
                    <a:pt x="118" y="104"/>
                  </a:lnTo>
                  <a:lnTo>
                    <a:pt x="118" y="104"/>
                  </a:lnTo>
                  <a:close/>
                  <a:moveTo>
                    <a:pt x="54" y="111"/>
                  </a:moveTo>
                  <a:lnTo>
                    <a:pt x="47" y="104"/>
                  </a:lnTo>
                  <a:lnTo>
                    <a:pt x="54" y="104"/>
                  </a:lnTo>
                  <a:lnTo>
                    <a:pt x="54" y="111"/>
                  </a:lnTo>
                  <a:lnTo>
                    <a:pt x="54" y="111"/>
                  </a:lnTo>
                  <a:lnTo>
                    <a:pt x="54" y="11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12" name="Freeform 463">
              <a:extLst>
                <a:ext uri="{FF2B5EF4-FFF2-40B4-BE49-F238E27FC236}">
                  <a16:creationId xmlns:a16="http://schemas.microsoft.com/office/drawing/2014/main" id="{DB2AB8D4-4B3D-46EE-AC29-5C3601D31BA7}"/>
                </a:ext>
              </a:extLst>
            </p:cNvPr>
            <p:cNvSpPr>
              <a:spLocks noEditPoints="1"/>
            </p:cNvSpPr>
            <p:nvPr/>
          </p:nvSpPr>
          <p:spPr bwMode="gray">
            <a:xfrm>
              <a:off x="2778207" y="6434110"/>
              <a:ext cx="201340" cy="115597"/>
            </a:xfrm>
            <a:custGeom>
              <a:avLst/>
              <a:gdLst>
                <a:gd name="T0" fmla="*/ 206 w 432"/>
                <a:gd name="T1" fmla="*/ 0 h 248"/>
                <a:gd name="T2" fmla="*/ 189 w 432"/>
                <a:gd name="T3" fmla="*/ 5 h 248"/>
                <a:gd name="T4" fmla="*/ 189 w 432"/>
                <a:gd name="T5" fmla="*/ 5 h 248"/>
                <a:gd name="T6" fmla="*/ 43 w 432"/>
                <a:gd name="T7" fmla="*/ 166 h 248"/>
                <a:gd name="T8" fmla="*/ 26 w 432"/>
                <a:gd name="T9" fmla="*/ 149 h 248"/>
                <a:gd name="T10" fmla="*/ 17 w 432"/>
                <a:gd name="T11" fmla="*/ 128 h 248"/>
                <a:gd name="T12" fmla="*/ 17 w 432"/>
                <a:gd name="T13" fmla="*/ 100 h 248"/>
                <a:gd name="T14" fmla="*/ 85 w 432"/>
                <a:gd name="T15" fmla="*/ 57 h 248"/>
                <a:gd name="T16" fmla="*/ 135 w 432"/>
                <a:gd name="T17" fmla="*/ 45 h 248"/>
                <a:gd name="T18" fmla="*/ 210 w 432"/>
                <a:gd name="T19" fmla="*/ 45 h 248"/>
                <a:gd name="T20" fmla="*/ 243 w 432"/>
                <a:gd name="T21" fmla="*/ 29 h 248"/>
                <a:gd name="T22" fmla="*/ 269 w 432"/>
                <a:gd name="T23" fmla="*/ 38 h 248"/>
                <a:gd name="T24" fmla="*/ 324 w 432"/>
                <a:gd name="T25" fmla="*/ 38 h 248"/>
                <a:gd name="T26" fmla="*/ 340 w 432"/>
                <a:gd name="T27" fmla="*/ 45 h 248"/>
                <a:gd name="T28" fmla="*/ 357 w 432"/>
                <a:gd name="T29" fmla="*/ 45 h 248"/>
                <a:gd name="T30" fmla="*/ 357 w 432"/>
                <a:gd name="T31" fmla="*/ 62 h 248"/>
                <a:gd name="T32" fmla="*/ 390 w 432"/>
                <a:gd name="T33" fmla="*/ 83 h 248"/>
                <a:gd name="T34" fmla="*/ 378 w 432"/>
                <a:gd name="T35" fmla="*/ 74 h 248"/>
                <a:gd name="T36" fmla="*/ 411 w 432"/>
                <a:gd name="T37" fmla="*/ 83 h 248"/>
                <a:gd name="T38" fmla="*/ 406 w 432"/>
                <a:gd name="T39" fmla="*/ 95 h 248"/>
                <a:gd name="T40" fmla="*/ 406 w 432"/>
                <a:gd name="T41" fmla="*/ 78 h 248"/>
                <a:gd name="T42" fmla="*/ 428 w 432"/>
                <a:gd name="T43" fmla="*/ 100 h 248"/>
                <a:gd name="T44" fmla="*/ 411 w 432"/>
                <a:gd name="T45" fmla="*/ 100 h 248"/>
                <a:gd name="T46" fmla="*/ 340 w 432"/>
                <a:gd name="T47" fmla="*/ 133 h 248"/>
                <a:gd name="T48" fmla="*/ 298 w 432"/>
                <a:gd name="T49" fmla="*/ 149 h 248"/>
                <a:gd name="T50" fmla="*/ 260 w 432"/>
                <a:gd name="T51" fmla="*/ 182 h 248"/>
                <a:gd name="T52" fmla="*/ 231 w 432"/>
                <a:gd name="T53" fmla="*/ 173 h 248"/>
                <a:gd name="T54" fmla="*/ 177 w 432"/>
                <a:gd name="T55" fmla="*/ 194 h 248"/>
                <a:gd name="T56" fmla="*/ 172 w 432"/>
                <a:gd name="T57" fmla="*/ 239 h 248"/>
                <a:gd name="T58" fmla="*/ 139 w 432"/>
                <a:gd name="T59" fmla="*/ 248 h 248"/>
                <a:gd name="T60" fmla="*/ 135 w 432"/>
                <a:gd name="T61" fmla="*/ 222 h 248"/>
                <a:gd name="T62" fmla="*/ 118 w 432"/>
                <a:gd name="T63" fmla="*/ 222 h 248"/>
                <a:gd name="T64" fmla="*/ 109 w 432"/>
                <a:gd name="T65" fmla="*/ 222 h 248"/>
                <a:gd name="T66" fmla="*/ 109 w 432"/>
                <a:gd name="T67" fmla="*/ 211 h 248"/>
                <a:gd name="T68" fmla="*/ 109 w 432"/>
                <a:gd name="T69" fmla="*/ 182 h 248"/>
                <a:gd name="T70" fmla="*/ 85 w 432"/>
                <a:gd name="T71" fmla="*/ 182 h 248"/>
                <a:gd name="T72" fmla="*/ 54 w 432"/>
                <a:gd name="T73" fmla="*/ 182 h 248"/>
                <a:gd name="T74" fmla="*/ 54 w 432"/>
                <a:gd name="T75" fmla="*/ 182 h 248"/>
                <a:gd name="T76" fmla="*/ 118 w 432"/>
                <a:gd name="T77" fmla="*/ 222 h 248"/>
                <a:gd name="T78" fmla="*/ 123 w 432"/>
                <a:gd name="T79" fmla="*/ 227 h 248"/>
                <a:gd name="T80" fmla="*/ 123 w 432"/>
                <a:gd name="T81" fmla="*/ 2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2" h="248">
                  <a:moveTo>
                    <a:pt x="189" y="5"/>
                  </a:moveTo>
                  <a:lnTo>
                    <a:pt x="206" y="0"/>
                  </a:lnTo>
                  <a:lnTo>
                    <a:pt x="215" y="0"/>
                  </a:lnTo>
                  <a:lnTo>
                    <a:pt x="189" y="5"/>
                  </a:lnTo>
                  <a:lnTo>
                    <a:pt x="189" y="5"/>
                  </a:lnTo>
                  <a:lnTo>
                    <a:pt x="189" y="5"/>
                  </a:lnTo>
                  <a:close/>
                  <a:moveTo>
                    <a:pt x="54" y="182"/>
                  </a:moveTo>
                  <a:lnTo>
                    <a:pt x="43" y="166"/>
                  </a:lnTo>
                  <a:lnTo>
                    <a:pt x="43" y="173"/>
                  </a:lnTo>
                  <a:lnTo>
                    <a:pt x="26" y="149"/>
                  </a:lnTo>
                  <a:lnTo>
                    <a:pt x="0" y="149"/>
                  </a:lnTo>
                  <a:lnTo>
                    <a:pt x="17" y="128"/>
                  </a:lnTo>
                  <a:lnTo>
                    <a:pt x="9" y="116"/>
                  </a:lnTo>
                  <a:lnTo>
                    <a:pt x="17" y="100"/>
                  </a:lnTo>
                  <a:lnTo>
                    <a:pt x="80" y="57"/>
                  </a:lnTo>
                  <a:lnTo>
                    <a:pt x="85" y="57"/>
                  </a:lnTo>
                  <a:lnTo>
                    <a:pt x="118" y="38"/>
                  </a:lnTo>
                  <a:lnTo>
                    <a:pt x="135" y="45"/>
                  </a:lnTo>
                  <a:lnTo>
                    <a:pt x="139" y="38"/>
                  </a:lnTo>
                  <a:lnTo>
                    <a:pt x="210" y="45"/>
                  </a:lnTo>
                  <a:lnTo>
                    <a:pt x="243" y="38"/>
                  </a:lnTo>
                  <a:lnTo>
                    <a:pt x="243" y="29"/>
                  </a:lnTo>
                  <a:lnTo>
                    <a:pt x="231" y="29"/>
                  </a:lnTo>
                  <a:lnTo>
                    <a:pt x="269" y="38"/>
                  </a:lnTo>
                  <a:lnTo>
                    <a:pt x="302" y="29"/>
                  </a:lnTo>
                  <a:lnTo>
                    <a:pt x="324" y="38"/>
                  </a:lnTo>
                  <a:lnTo>
                    <a:pt x="335" y="45"/>
                  </a:lnTo>
                  <a:lnTo>
                    <a:pt x="340" y="45"/>
                  </a:lnTo>
                  <a:lnTo>
                    <a:pt x="340" y="38"/>
                  </a:lnTo>
                  <a:lnTo>
                    <a:pt x="357" y="45"/>
                  </a:lnTo>
                  <a:lnTo>
                    <a:pt x="390" y="74"/>
                  </a:lnTo>
                  <a:lnTo>
                    <a:pt x="357" y="62"/>
                  </a:lnTo>
                  <a:lnTo>
                    <a:pt x="373" y="78"/>
                  </a:lnTo>
                  <a:lnTo>
                    <a:pt x="390" y="83"/>
                  </a:lnTo>
                  <a:lnTo>
                    <a:pt x="373" y="78"/>
                  </a:lnTo>
                  <a:lnTo>
                    <a:pt x="378" y="74"/>
                  </a:lnTo>
                  <a:lnTo>
                    <a:pt x="394" y="83"/>
                  </a:lnTo>
                  <a:lnTo>
                    <a:pt x="411" y="83"/>
                  </a:lnTo>
                  <a:lnTo>
                    <a:pt x="406" y="83"/>
                  </a:lnTo>
                  <a:lnTo>
                    <a:pt x="406" y="95"/>
                  </a:lnTo>
                  <a:lnTo>
                    <a:pt x="411" y="83"/>
                  </a:lnTo>
                  <a:lnTo>
                    <a:pt x="406" y="78"/>
                  </a:lnTo>
                  <a:lnTo>
                    <a:pt x="423" y="83"/>
                  </a:lnTo>
                  <a:lnTo>
                    <a:pt x="428" y="100"/>
                  </a:lnTo>
                  <a:lnTo>
                    <a:pt x="432" y="100"/>
                  </a:lnTo>
                  <a:lnTo>
                    <a:pt x="411" y="100"/>
                  </a:lnTo>
                  <a:lnTo>
                    <a:pt x="390" y="116"/>
                  </a:lnTo>
                  <a:lnTo>
                    <a:pt x="340" y="133"/>
                  </a:lnTo>
                  <a:lnTo>
                    <a:pt x="314" y="116"/>
                  </a:lnTo>
                  <a:lnTo>
                    <a:pt x="298" y="149"/>
                  </a:lnTo>
                  <a:lnTo>
                    <a:pt x="298" y="149"/>
                  </a:lnTo>
                  <a:lnTo>
                    <a:pt x="260" y="182"/>
                  </a:lnTo>
                  <a:lnTo>
                    <a:pt x="260" y="189"/>
                  </a:lnTo>
                  <a:lnTo>
                    <a:pt x="231" y="173"/>
                  </a:lnTo>
                  <a:lnTo>
                    <a:pt x="210" y="194"/>
                  </a:lnTo>
                  <a:lnTo>
                    <a:pt x="177" y="194"/>
                  </a:lnTo>
                  <a:lnTo>
                    <a:pt x="189" y="227"/>
                  </a:lnTo>
                  <a:lnTo>
                    <a:pt x="172" y="239"/>
                  </a:lnTo>
                  <a:lnTo>
                    <a:pt x="161" y="248"/>
                  </a:lnTo>
                  <a:lnTo>
                    <a:pt x="139" y="248"/>
                  </a:lnTo>
                  <a:lnTo>
                    <a:pt x="123" y="227"/>
                  </a:lnTo>
                  <a:lnTo>
                    <a:pt x="135" y="222"/>
                  </a:lnTo>
                  <a:lnTo>
                    <a:pt x="123" y="227"/>
                  </a:lnTo>
                  <a:lnTo>
                    <a:pt x="118" y="222"/>
                  </a:lnTo>
                  <a:lnTo>
                    <a:pt x="118" y="222"/>
                  </a:lnTo>
                  <a:lnTo>
                    <a:pt x="109" y="222"/>
                  </a:lnTo>
                  <a:lnTo>
                    <a:pt x="118" y="211"/>
                  </a:lnTo>
                  <a:lnTo>
                    <a:pt x="109" y="211"/>
                  </a:lnTo>
                  <a:lnTo>
                    <a:pt x="118" y="189"/>
                  </a:lnTo>
                  <a:lnTo>
                    <a:pt x="109" y="182"/>
                  </a:lnTo>
                  <a:lnTo>
                    <a:pt x="97" y="189"/>
                  </a:lnTo>
                  <a:lnTo>
                    <a:pt x="85" y="182"/>
                  </a:lnTo>
                  <a:lnTo>
                    <a:pt x="64" y="189"/>
                  </a:lnTo>
                  <a:lnTo>
                    <a:pt x="54" y="182"/>
                  </a:lnTo>
                  <a:lnTo>
                    <a:pt x="54" y="182"/>
                  </a:lnTo>
                  <a:lnTo>
                    <a:pt x="54" y="182"/>
                  </a:lnTo>
                  <a:close/>
                  <a:moveTo>
                    <a:pt x="123" y="227"/>
                  </a:moveTo>
                  <a:lnTo>
                    <a:pt x="118" y="222"/>
                  </a:lnTo>
                  <a:lnTo>
                    <a:pt x="123" y="222"/>
                  </a:lnTo>
                  <a:lnTo>
                    <a:pt x="123" y="227"/>
                  </a:lnTo>
                  <a:lnTo>
                    <a:pt x="123" y="227"/>
                  </a:lnTo>
                  <a:lnTo>
                    <a:pt x="123" y="22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13" name="Freeform 500">
              <a:extLst>
                <a:ext uri="{FF2B5EF4-FFF2-40B4-BE49-F238E27FC236}">
                  <a16:creationId xmlns:a16="http://schemas.microsoft.com/office/drawing/2014/main" id="{3BCBFE04-7E96-447D-9A8E-41543709A0A0}"/>
                </a:ext>
              </a:extLst>
            </p:cNvPr>
            <p:cNvSpPr>
              <a:spLocks/>
            </p:cNvSpPr>
            <p:nvPr/>
          </p:nvSpPr>
          <p:spPr bwMode="gray">
            <a:xfrm>
              <a:off x="3696351" y="6485850"/>
              <a:ext cx="15380" cy="19110"/>
            </a:xfrm>
            <a:custGeom>
              <a:avLst/>
              <a:gdLst>
                <a:gd name="T0" fmla="*/ 33 w 33"/>
                <a:gd name="T1" fmla="*/ 41 h 41"/>
                <a:gd name="T2" fmla="*/ 17 w 33"/>
                <a:gd name="T3" fmla="*/ 29 h 41"/>
                <a:gd name="T4" fmla="*/ 0 w 33"/>
                <a:gd name="T5" fmla="*/ 7 h 41"/>
                <a:gd name="T6" fmla="*/ 5 w 33"/>
                <a:gd name="T7" fmla="*/ 0 h 41"/>
                <a:gd name="T8" fmla="*/ 21 w 33"/>
                <a:gd name="T9" fmla="*/ 17 h 41"/>
                <a:gd name="T10" fmla="*/ 33 w 33"/>
                <a:gd name="T11" fmla="*/ 24 h 41"/>
                <a:gd name="T12" fmla="*/ 33 w 33"/>
                <a:gd name="T13" fmla="*/ 41 h 41"/>
                <a:gd name="T14" fmla="*/ 33 w 33"/>
                <a:gd name="T15" fmla="*/ 41 h 41"/>
                <a:gd name="T16" fmla="*/ 33 w 33"/>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1">
                  <a:moveTo>
                    <a:pt x="33" y="41"/>
                  </a:moveTo>
                  <a:lnTo>
                    <a:pt x="17" y="29"/>
                  </a:lnTo>
                  <a:lnTo>
                    <a:pt x="0" y="7"/>
                  </a:lnTo>
                  <a:lnTo>
                    <a:pt x="5" y="0"/>
                  </a:lnTo>
                  <a:lnTo>
                    <a:pt x="21" y="17"/>
                  </a:lnTo>
                  <a:lnTo>
                    <a:pt x="33" y="24"/>
                  </a:lnTo>
                  <a:lnTo>
                    <a:pt x="33" y="41"/>
                  </a:lnTo>
                  <a:lnTo>
                    <a:pt x="33" y="41"/>
                  </a:lnTo>
                  <a:lnTo>
                    <a:pt x="33" y="4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14" name="Freeform 504">
              <a:extLst>
                <a:ext uri="{FF2B5EF4-FFF2-40B4-BE49-F238E27FC236}">
                  <a16:creationId xmlns:a16="http://schemas.microsoft.com/office/drawing/2014/main" id="{8B61EB50-AC9A-49CC-964E-AD17EAEDBDFD}"/>
                </a:ext>
              </a:extLst>
            </p:cNvPr>
            <p:cNvSpPr>
              <a:spLocks/>
            </p:cNvSpPr>
            <p:nvPr/>
          </p:nvSpPr>
          <p:spPr bwMode="gray">
            <a:xfrm>
              <a:off x="3663261" y="6418729"/>
              <a:ext cx="2330" cy="7924"/>
            </a:xfrm>
            <a:custGeom>
              <a:avLst/>
              <a:gdLst>
                <a:gd name="T0" fmla="*/ 5 w 5"/>
                <a:gd name="T1" fmla="*/ 17 h 17"/>
                <a:gd name="T2" fmla="*/ 0 w 5"/>
                <a:gd name="T3" fmla="*/ 5 h 17"/>
                <a:gd name="T4" fmla="*/ 5 w 5"/>
                <a:gd name="T5" fmla="*/ 0 h 17"/>
                <a:gd name="T6" fmla="*/ 5 w 5"/>
                <a:gd name="T7" fmla="*/ 17 h 17"/>
                <a:gd name="T8" fmla="*/ 5 w 5"/>
                <a:gd name="T9" fmla="*/ 17 h 17"/>
                <a:gd name="T10" fmla="*/ 5 w 5"/>
                <a:gd name="T11" fmla="*/ 17 h 17"/>
              </a:gdLst>
              <a:ahLst/>
              <a:cxnLst>
                <a:cxn ang="0">
                  <a:pos x="T0" y="T1"/>
                </a:cxn>
                <a:cxn ang="0">
                  <a:pos x="T2" y="T3"/>
                </a:cxn>
                <a:cxn ang="0">
                  <a:pos x="T4" y="T5"/>
                </a:cxn>
                <a:cxn ang="0">
                  <a:pos x="T6" y="T7"/>
                </a:cxn>
                <a:cxn ang="0">
                  <a:pos x="T8" y="T9"/>
                </a:cxn>
                <a:cxn ang="0">
                  <a:pos x="T10" y="T11"/>
                </a:cxn>
              </a:cxnLst>
              <a:rect l="0" t="0" r="r" b="b"/>
              <a:pathLst>
                <a:path w="5" h="17">
                  <a:moveTo>
                    <a:pt x="5" y="17"/>
                  </a:moveTo>
                  <a:lnTo>
                    <a:pt x="0" y="5"/>
                  </a:lnTo>
                  <a:lnTo>
                    <a:pt x="5" y="0"/>
                  </a:lnTo>
                  <a:lnTo>
                    <a:pt x="5" y="17"/>
                  </a:lnTo>
                  <a:lnTo>
                    <a:pt x="5" y="17"/>
                  </a:lnTo>
                  <a:lnTo>
                    <a:pt x="5"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15" name="Freeform 514">
              <a:extLst>
                <a:ext uri="{FF2B5EF4-FFF2-40B4-BE49-F238E27FC236}">
                  <a16:creationId xmlns:a16="http://schemas.microsoft.com/office/drawing/2014/main" id="{CF9A7AEE-3670-4A16-BF63-BCBFB1EFA306}"/>
                </a:ext>
              </a:extLst>
            </p:cNvPr>
            <p:cNvSpPr>
              <a:spLocks noEditPoints="1"/>
            </p:cNvSpPr>
            <p:nvPr/>
          </p:nvSpPr>
          <p:spPr bwMode="gray">
            <a:xfrm>
              <a:off x="1830233" y="5850536"/>
              <a:ext cx="1029533" cy="645570"/>
            </a:xfrm>
            <a:custGeom>
              <a:avLst/>
              <a:gdLst>
                <a:gd name="T0" fmla="*/ 1918 w 2209"/>
                <a:gd name="T1" fmla="*/ 1146 h 1385"/>
                <a:gd name="T2" fmla="*/ 1864 w 2209"/>
                <a:gd name="T3" fmla="*/ 1274 h 1385"/>
                <a:gd name="T4" fmla="*/ 1708 w 2209"/>
                <a:gd name="T5" fmla="*/ 1274 h 1385"/>
                <a:gd name="T6" fmla="*/ 1649 w 2209"/>
                <a:gd name="T7" fmla="*/ 1269 h 1385"/>
                <a:gd name="T8" fmla="*/ 1481 w 2209"/>
                <a:gd name="T9" fmla="*/ 1293 h 1385"/>
                <a:gd name="T10" fmla="*/ 1217 w 2209"/>
                <a:gd name="T11" fmla="*/ 1186 h 1385"/>
                <a:gd name="T12" fmla="*/ 900 w 2209"/>
                <a:gd name="T13" fmla="*/ 993 h 1385"/>
                <a:gd name="T14" fmla="*/ 900 w 2209"/>
                <a:gd name="T15" fmla="*/ 865 h 1385"/>
                <a:gd name="T16" fmla="*/ 754 w 2209"/>
                <a:gd name="T17" fmla="*/ 648 h 1385"/>
                <a:gd name="T18" fmla="*/ 728 w 2209"/>
                <a:gd name="T19" fmla="*/ 610 h 1385"/>
                <a:gd name="T20" fmla="*/ 695 w 2209"/>
                <a:gd name="T21" fmla="*/ 586 h 1385"/>
                <a:gd name="T22" fmla="*/ 673 w 2209"/>
                <a:gd name="T23" fmla="*/ 544 h 1385"/>
                <a:gd name="T24" fmla="*/ 624 w 2209"/>
                <a:gd name="T25" fmla="*/ 475 h 1385"/>
                <a:gd name="T26" fmla="*/ 548 w 2209"/>
                <a:gd name="T27" fmla="*/ 388 h 1385"/>
                <a:gd name="T28" fmla="*/ 430 w 2209"/>
                <a:gd name="T29" fmla="*/ 298 h 1385"/>
                <a:gd name="T30" fmla="*/ 371 w 2209"/>
                <a:gd name="T31" fmla="*/ 116 h 1385"/>
                <a:gd name="T32" fmla="*/ 253 w 2209"/>
                <a:gd name="T33" fmla="*/ 88 h 1385"/>
                <a:gd name="T34" fmla="*/ 345 w 2209"/>
                <a:gd name="T35" fmla="*/ 298 h 1385"/>
                <a:gd name="T36" fmla="*/ 392 w 2209"/>
                <a:gd name="T37" fmla="*/ 388 h 1385"/>
                <a:gd name="T38" fmla="*/ 458 w 2209"/>
                <a:gd name="T39" fmla="*/ 459 h 1385"/>
                <a:gd name="T40" fmla="*/ 522 w 2209"/>
                <a:gd name="T41" fmla="*/ 593 h 1385"/>
                <a:gd name="T42" fmla="*/ 569 w 2209"/>
                <a:gd name="T43" fmla="*/ 664 h 1385"/>
                <a:gd name="T44" fmla="*/ 593 w 2209"/>
                <a:gd name="T45" fmla="*/ 766 h 1385"/>
                <a:gd name="T46" fmla="*/ 442 w 2209"/>
                <a:gd name="T47" fmla="*/ 626 h 1385"/>
                <a:gd name="T48" fmla="*/ 397 w 2209"/>
                <a:gd name="T49" fmla="*/ 504 h 1385"/>
                <a:gd name="T50" fmla="*/ 307 w 2209"/>
                <a:gd name="T51" fmla="*/ 449 h 1385"/>
                <a:gd name="T52" fmla="*/ 300 w 2209"/>
                <a:gd name="T53" fmla="*/ 393 h 1385"/>
                <a:gd name="T54" fmla="*/ 182 w 2209"/>
                <a:gd name="T55" fmla="*/ 239 h 1385"/>
                <a:gd name="T56" fmla="*/ 140 w 2209"/>
                <a:gd name="T57" fmla="*/ 116 h 1385"/>
                <a:gd name="T58" fmla="*/ 510 w 2209"/>
                <a:gd name="T59" fmla="*/ 111 h 1385"/>
                <a:gd name="T60" fmla="*/ 952 w 2209"/>
                <a:gd name="T61" fmla="*/ 222 h 1385"/>
                <a:gd name="T62" fmla="*/ 1125 w 2209"/>
                <a:gd name="T63" fmla="*/ 227 h 1385"/>
                <a:gd name="T64" fmla="*/ 1292 w 2209"/>
                <a:gd name="T65" fmla="*/ 393 h 1385"/>
                <a:gd name="T66" fmla="*/ 1448 w 2209"/>
                <a:gd name="T67" fmla="*/ 532 h 1385"/>
                <a:gd name="T68" fmla="*/ 1472 w 2209"/>
                <a:gd name="T69" fmla="*/ 870 h 1385"/>
                <a:gd name="T70" fmla="*/ 1536 w 2209"/>
                <a:gd name="T71" fmla="*/ 997 h 1385"/>
                <a:gd name="T72" fmla="*/ 1649 w 2209"/>
                <a:gd name="T73" fmla="*/ 1092 h 1385"/>
                <a:gd name="T74" fmla="*/ 1762 w 2209"/>
                <a:gd name="T75" fmla="*/ 1108 h 1385"/>
                <a:gd name="T76" fmla="*/ 1864 w 2209"/>
                <a:gd name="T77" fmla="*/ 1104 h 1385"/>
                <a:gd name="T78" fmla="*/ 1935 w 2209"/>
                <a:gd name="T79" fmla="*/ 1037 h 1385"/>
                <a:gd name="T80" fmla="*/ 2095 w 2209"/>
                <a:gd name="T81" fmla="*/ 870 h 1385"/>
                <a:gd name="T82" fmla="*/ 2209 w 2209"/>
                <a:gd name="T83" fmla="*/ 893 h 1385"/>
                <a:gd name="T84" fmla="*/ 2150 w 2209"/>
                <a:gd name="T85" fmla="*/ 1021 h 1385"/>
                <a:gd name="T86" fmla="*/ 2133 w 2209"/>
                <a:gd name="T87" fmla="*/ 1104 h 1385"/>
                <a:gd name="T88" fmla="*/ 359 w 2209"/>
                <a:gd name="T89" fmla="*/ 293 h 1385"/>
                <a:gd name="T90" fmla="*/ 359 w 2209"/>
                <a:gd name="T91" fmla="*/ 293 h 1385"/>
                <a:gd name="T92" fmla="*/ 425 w 2209"/>
                <a:gd name="T93" fmla="*/ 315 h 1385"/>
                <a:gd name="T94" fmla="*/ 0 w 2209"/>
                <a:gd name="T95" fmla="*/ 298 h 1385"/>
                <a:gd name="T96" fmla="*/ 225 w 2209"/>
                <a:gd name="T97" fmla="*/ 371 h 1385"/>
                <a:gd name="T98" fmla="*/ 501 w 2209"/>
                <a:gd name="T99" fmla="*/ 544 h 1385"/>
                <a:gd name="T100" fmla="*/ 442 w 2209"/>
                <a:gd name="T101" fmla="*/ 586 h 1385"/>
                <a:gd name="T102" fmla="*/ 539 w 2209"/>
                <a:gd name="T103" fmla="*/ 598 h 1385"/>
                <a:gd name="T104" fmla="*/ 463 w 2209"/>
                <a:gd name="T105" fmla="*/ 655 h 1385"/>
                <a:gd name="T106" fmla="*/ 825 w 2209"/>
                <a:gd name="T107" fmla="*/ 870 h 1385"/>
                <a:gd name="T108" fmla="*/ 855 w 2209"/>
                <a:gd name="T109" fmla="*/ 886 h 1385"/>
                <a:gd name="T110" fmla="*/ 2204 w 2209"/>
                <a:gd name="T111" fmla="*/ 943 h 1385"/>
                <a:gd name="T112" fmla="*/ 517 w 2209"/>
                <a:gd name="T113" fmla="*/ 1071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9" h="1385">
                  <a:moveTo>
                    <a:pt x="2103" y="1104"/>
                  </a:moveTo>
                  <a:lnTo>
                    <a:pt x="2095" y="1104"/>
                  </a:lnTo>
                  <a:lnTo>
                    <a:pt x="2065" y="1141"/>
                  </a:lnTo>
                  <a:lnTo>
                    <a:pt x="2058" y="1130"/>
                  </a:lnTo>
                  <a:lnTo>
                    <a:pt x="2048" y="1141"/>
                  </a:lnTo>
                  <a:lnTo>
                    <a:pt x="2048" y="1146"/>
                  </a:lnTo>
                  <a:lnTo>
                    <a:pt x="1918" y="1146"/>
                  </a:lnTo>
                  <a:lnTo>
                    <a:pt x="1918" y="1186"/>
                  </a:lnTo>
                  <a:lnTo>
                    <a:pt x="1885" y="1186"/>
                  </a:lnTo>
                  <a:lnTo>
                    <a:pt x="1935" y="1224"/>
                  </a:lnTo>
                  <a:lnTo>
                    <a:pt x="1940" y="1252"/>
                  </a:lnTo>
                  <a:lnTo>
                    <a:pt x="1956" y="1252"/>
                  </a:lnTo>
                  <a:lnTo>
                    <a:pt x="1956" y="1274"/>
                  </a:lnTo>
                  <a:lnTo>
                    <a:pt x="1864" y="1274"/>
                  </a:lnTo>
                  <a:lnTo>
                    <a:pt x="1831" y="1335"/>
                  </a:lnTo>
                  <a:lnTo>
                    <a:pt x="1843" y="1352"/>
                  </a:lnTo>
                  <a:lnTo>
                    <a:pt x="1826" y="1385"/>
                  </a:lnTo>
                  <a:lnTo>
                    <a:pt x="1793" y="1352"/>
                  </a:lnTo>
                  <a:lnTo>
                    <a:pt x="1793" y="1347"/>
                  </a:lnTo>
                  <a:lnTo>
                    <a:pt x="1779" y="1335"/>
                  </a:lnTo>
                  <a:lnTo>
                    <a:pt x="1708" y="1274"/>
                  </a:lnTo>
                  <a:lnTo>
                    <a:pt x="1682" y="1257"/>
                  </a:lnTo>
                  <a:lnTo>
                    <a:pt x="1682" y="1269"/>
                  </a:lnTo>
                  <a:lnTo>
                    <a:pt x="1703" y="1281"/>
                  </a:lnTo>
                  <a:lnTo>
                    <a:pt x="1654" y="1269"/>
                  </a:lnTo>
                  <a:lnTo>
                    <a:pt x="1666" y="1257"/>
                  </a:lnTo>
                  <a:lnTo>
                    <a:pt x="1654" y="1257"/>
                  </a:lnTo>
                  <a:lnTo>
                    <a:pt x="1649" y="1269"/>
                  </a:lnTo>
                  <a:lnTo>
                    <a:pt x="1649" y="1252"/>
                  </a:lnTo>
                  <a:lnTo>
                    <a:pt x="1632" y="1257"/>
                  </a:lnTo>
                  <a:lnTo>
                    <a:pt x="1649" y="1269"/>
                  </a:lnTo>
                  <a:lnTo>
                    <a:pt x="1616" y="1269"/>
                  </a:lnTo>
                  <a:lnTo>
                    <a:pt x="1611" y="1281"/>
                  </a:lnTo>
                  <a:lnTo>
                    <a:pt x="1536" y="1309"/>
                  </a:lnTo>
                  <a:lnTo>
                    <a:pt x="1481" y="1293"/>
                  </a:lnTo>
                  <a:lnTo>
                    <a:pt x="1439" y="1281"/>
                  </a:lnTo>
                  <a:lnTo>
                    <a:pt x="1417" y="1269"/>
                  </a:lnTo>
                  <a:lnTo>
                    <a:pt x="1384" y="1257"/>
                  </a:lnTo>
                  <a:lnTo>
                    <a:pt x="1373" y="1241"/>
                  </a:lnTo>
                  <a:lnTo>
                    <a:pt x="1309" y="1224"/>
                  </a:lnTo>
                  <a:lnTo>
                    <a:pt x="1292" y="1219"/>
                  </a:lnTo>
                  <a:lnTo>
                    <a:pt x="1217" y="1186"/>
                  </a:lnTo>
                  <a:lnTo>
                    <a:pt x="1169" y="1158"/>
                  </a:lnTo>
                  <a:lnTo>
                    <a:pt x="1148" y="1130"/>
                  </a:lnTo>
                  <a:lnTo>
                    <a:pt x="1132" y="1141"/>
                  </a:lnTo>
                  <a:lnTo>
                    <a:pt x="1051" y="1108"/>
                  </a:lnTo>
                  <a:lnTo>
                    <a:pt x="1006" y="1071"/>
                  </a:lnTo>
                  <a:lnTo>
                    <a:pt x="943" y="1037"/>
                  </a:lnTo>
                  <a:lnTo>
                    <a:pt x="900" y="993"/>
                  </a:lnTo>
                  <a:lnTo>
                    <a:pt x="888" y="959"/>
                  </a:lnTo>
                  <a:lnTo>
                    <a:pt x="914" y="943"/>
                  </a:lnTo>
                  <a:lnTo>
                    <a:pt x="910" y="926"/>
                  </a:lnTo>
                  <a:lnTo>
                    <a:pt x="893" y="926"/>
                  </a:lnTo>
                  <a:lnTo>
                    <a:pt x="914" y="903"/>
                  </a:lnTo>
                  <a:lnTo>
                    <a:pt x="926" y="882"/>
                  </a:lnTo>
                  <a:lnTo>
                    <a:pt x="900" y="865"/>
                  </a:lnTo>
                  <a:lnTo>
                    <a:pt x="893" y="837"/>
                  </a:lnTo>
                  <a:lnTo>
                    <a:pt x="893" y="808"/>
                  </a:lnTo>
                  <a:lnTo>
                    <a:pt x="879" y="782"/>
                  </a:lnTo>
                  <a:lnTo>
                    <a:pt x="841" y="742"/>
                  </a:lnTo>
                  <a:lnTo>
                    <a:pt x="791" y="688"/>
                  </a:lnTo>
                  <a:lnTo>
                    <a:pt x="749" y="648"/>
                  </a:lnTo>
                  <a:lnTo>
                    <a:pt x="754" y="648"/>
                  </a:lnTo>
                  <a:lnTo>
                    <a:pt x="754" y="643"/>
                  </a:lnTo>
                  <a:lnTo>
                    <a:pt x="749" y="648"/>
                  </a:lnTo>
                  <a:lnTo>
                    <a:pt x="732" y="631"/>
                  </a:lnTo>
                  <a:lnTo>
                    <a:pt x="737" y="643"/>
                  </a:lnTo>
                  <a:lnTo>
                    <a:pt x="728" y="631"/>
                  </a:lnTo>
                  <a:lnTo>
                    <a:pt x="728" y="610"/>
                  </a:lnTo>
                  <a:lnTo>
                    <a:pt x="728" y="610"/>
                  </a:lnTo>
                  <a:lnTo>
                    <a:pt x="728" y="615"/>
                  </a:lnTo>
                  <a:lnTo>
                    <a:pt x="716" y="615"/>
                  </a:lnTo>
                  <a:lnTo>
                    <a:pt x="711" y="598"/>
                  </a:lnTo>
                  <a:lnTo>
                    <a:pt x="728" y="610"/>
                  </a:lnTo>
                  <a:lnTo>
                    <a:pt x="728" y="598"/>
                  </a:lnTo>
                  <a:lnTo>
                    <a:pt x="699" y="593"/>
                  </a:lnTo>
                  <a:lnTo>
                    <a:pt x="695" y="586"/>
                  </a:lnTo>
                  <a:lnTo>
                    <a:pt x="678" y="577"/>
                  </a:lnTo>
                  <a:lnTo>
                    <a:pt x="673" y="560"/>
                  </a:lnTo>
                  <a:lnTo>
                    <a:pt x="662" y="560"/>
                  </a:lnTo>
                  <a:lnTo>
                    <a:pt x="662" y="570"/>
                  </a:lnTo>
                  <a:lnTo>
                    <a:pt x="645" y="560"/>
                  </a:lnTo>
                  <a:lnTo>
                    <a:pt x="657" y="560"/>
                  </a:lnTo>
                  <a:lnTo>
                    <a:pt x="673" y="544"/>
                  </a:lnTo>
                  <a:lnTo>
                    <a:pt x="645" y="560"/>
                  </a:lnTo>
                  <a:lnTo>
                    <a:pt x="631" y="544"/>
                  </a:lnTo>
                  <a:lnTo>
                    <a:pt x="624" y="532"/>
                  </a:lnTo>
                  <a:lnTo>
                    <a:pt x="640" y="504"/>
                  </a:lnTo>
                  <a:lnTo>
                    <a:pt x="645" y="515"/>
                  </a:lnTo>
                  <a:lnTo>
                    <a:pt x="645" y="504"/>
                  </a:lnTo>
                  <a:lnTo>
                    <a:pt x="624" y="475"/>
                  </a:lnTo>
                  <a:lnTo>
                    <a:pt x="619" y="466"/>
                  </a:lnTo>
                  <a:lnTo>
                    <a:pt x="603" y="475"/>
                  </a:lnTo>
                  <a:lnTo>
                    <a:pt x="586" y="442"/>
                  </a:lnTo>
                  <a:lnTo>
                    <a:pt x="565" y="442"/>
                  </a:lnTo>
                  <a:lnTo>
                    <a:pt x="548" y="426"/>
                  </a:lnTo>
                  <a:lnTo>
                    <a:pt x="539" y="404"/>
                  </a:lnTo>
                  <a:lnTo>
                    <a:pt x="548" y="388"/>
                  </a:lnTo>
                  <a:lnTo>
                    <a:pt x="532" y="376"/>
                  </a:lnTo>
                  <a:lnTo>
                    <a:pt x="522" y="388"/>
                  </a:lnTo>
                  <a:lnTo>
                    <a:pt x="510" y="376"/>
                  </a:lnTo>
                  <a:lnTo>
                    <a:pt x="484" y="350"/>
                  </a:lnTo>
                  <a:lnTo>
                    <a:pt x="468" y="338"/>
                  </a:lnTo>
                  <a:lnTo>
                    <a:pt x="458" y="310"/>
                  </a:lnTo>
                  <a:lnTo>
                    <a:pt x="430" y="298"/>
                  </a:lnTo>
                  <a:lnTo>
                    <a:pt x="430" y="265"/>
                  </a:lnTo>
                  <a:lnTo>
                    <a:pt x="414" y="260"/>
                  </a:lnTo>
                  <a:lnTo>
                    <a:pt x="414" y="260"/>
                  </a:lnTo>
                  <a:lnTo>
                    <a:pt x="392" y="222"/>
                  </a:lnTo>
                  <a:lnTo>
                    <a:pt x="392" y="199"/>
                  </a:lnTo>
                  <a:lnTo>
                    <a:pt x="371" y="166"/>
                  </a:lnTo>
                  <a:lnTo>
                    <a:pt x="371" y="116"/>
                  </a:lnTo>
                  <a:lnTo>
                    <a:pt x="333" y="111"/>
                  </a:lnTo>
                  <a:lnTo>
                    <a:pt x="333" y="95"/>
                  </a:lnTo>
                  <a:lnTo>
                    <a:pt x="307" y="88"/>
                  </a:lnTo>
                  <a:lnTo>
                    <a:pt x="300" y="100"/>
                  </a:lnTo>
                  <a:lnTo>
                    <a:pt x="291" y="95"/>
                  </a:lnTo>
                  <a:lnTo>
                    <a:pt x="232" y="60"/>
                  </a:lnTo>
                  <a:lnTo>
                    <a:pt x="253" y="88"/>
                  </a:lnTo>
                  <a:lnTo>
                    <a:pt x="248" y="128"/>
                  </a:lnTo>
                  <a:lnTo>
                    <a:pt x="253" y="145"/>
                  </a:lnTo>
                  <a:lnTo>
                    <a:pt x="262" y="204"/>
                  </a:lnTo>
                  <a:lnTo>
                    <a:pt x="269" y="222"/>
                  </a:lnTo>
                  <a:lnTo>
                    <a:pt x="333" y="277"/>
                  </a:lnTo>
                  <a:lnTo>
                    <a:pt x="338" y="310"/>
                  </a:lnTo>
                  <a:lnTo>
                    <a:pt x="345" y="298"/>
                  </a:lnTo>
                  <a:lnTo>
                    <a:pt x="354" y="310"/>
                  </a:lnTo>
                  <a:lnTo>
                    <a:pt x="359" y="310"/>
                  </a:lnTo>
                  <a:lnTo>
                    <a:pt x="371" y="338"/>
                  </a:lnTo>
                  <a:lnTo>
                    <a:pt x="388" y="338"/>
                  </a:lnTo>
                  <a:lnTo>
                    <a:pt x="388" y="355"/>
                  </a:lnTo>
                  <a:lnTo>
                    <a:pt x="392" y="371"/>
                  </a:lnTo>
                  <a:lnTo>
                    <a:pt x="392" y="388"/>
                  </a:lnTo>
                  <a:lnTo>
                    <a:pt x="409" y="404"/>
                  </a:lnTo>
                  <a:lnTo>
                    <a:pt x="425" y="409"/>
                  </a:lnTo>
                  <a:lnTo>
                    <a:pt x="458" y="475"/>
                  </a:lnTo>
                  <a:lnTo>
                    <a:pt x="463" y="487"/>
                  </a:lnTo>
                  <a:lnTo>
                    <a:pt x="468" y="482"/>
                  </a:lnTo>
                  <a:lnTo>
                    <a:pt x="458" y="466"/>
                  </a:lnTo>
                  <a:lnTo>
                    <a:pt x="458" y="459"/>
                  </a:lnTo>
                  <a:lnTo>
                    <a:pt x="480" y="475"/>
                  </a:lnTo>
                  <a:lnTo>
                    <a:pt x="480" y="482"/>
                  </a:lnTo>
                  <a:lnTo>
                    <a:pt x="484" y="504"/>
                  </a:lnTo>
                  <a:lnTo>
                    <a:pt x="496" y="544"/>
                  </a:lnTo>
                  <a:lnTo>
                    <a:pt x="501" y="560"/>
                  </a:lnTo>
                  <a:lnTo>
                    <a:pt x="517" y="570"/>
                  </a:lnTo>
                  <a:lnTo>
                    <a:pt x="522" y="593"/>
                  </a:lnTo>
                  <a:lnTo>
                    <a:pt x="539" y="615"/>
                  </a:lnTo>
                  <a:lnTo>
                    <a:pt x="532" y="643"/>
                  </a:lnTo>
                  <a:lnTo>
                    <a:pt x="539" y="655"/>
                  </a:lnTo>
                  <a:lnTo>
                    <a:pt x="565" y="664"/>
                  </a:lnTo>
                  <a:lnTo>
                    <a:pt x="555" y="664"/>
                  </a:lnTo>
                  <a:lnTo>
                    <a:pt x="565" y="671"/>
                  </a:lnTo>
                  <a:lnTo>
                    <a:pt x="569" y="664"/>
                  </a:lnTo>
                  <a:lnTo>
                    <a:pt x="565" y="655"/>
                  </a:lnTo>
                  <a:lnTo>
                    <a:pt x="569" y="655"/>
                  </a:lnTo>
                  <a:lnTo>
                    <a:pt x="603" y="681"/>
                  </a:lnTo>
                  <a:lnTo>
                    <a:pt x="607" y="704"/>
                  </a:lnTo>
                  <a:lnTo>
                    <a:pt x="624" y="721"/>
                  </a:lnTo>
                  <a:lnTo>
                    <a:pt x="619" y="754"/>
                  </a:lnTo>
                  <a:lnTo>
                    <a:pt x="593" y="766"/>
                  </a:lnTo>
                  <a:lnTo>
                    <a:pt x="586" y="766"/>
                  </a:lnTo>
                  <a:lnTo>
                    <a:pt x="565" y="709"/>
                  </a:lnTo>
                  <a:lnTo>
                    <a:pt x="484" y="655"/>
                  </a:lnTo>
                  <a:lnTo>
                    <a:pt x="468" y="643"/>
                  </a:lnTo>
                  <a:lnTo>
                    <a:pt x="463" y="643"/>
                  </a:lnTo>
                  <a:lnTo>
                    <a:pt x="447" y="626"/>
                  </a:lnTo>
                  <a:lnTo>
                    <a:pt x="442" y="626"/>
                  </a:lnTo>
                  <a:lnTo>
                    <a:pt x="442" y="598"/>
                  </a:lnTo>
                  <a:lnTo>
                    <a:pt x="430" y="615"/>
                  </a:lnTo>
                  <a:lnTo>
                    <a:pt x="442" y="560"/>
                  </a:lnTo>
                  <a:lnTo>
                    <a:pt x="442" y="570"/>
                  </a:lnTo>
                  <a:lnTo>
                    <a:pt x="442" y="544"/>
                  </a:lnTo>
                  <a:lnTo>
                    <a:pt x="414" y="504"/>
                  </a:lnTo>
                  <a:lnTo>
                    <a:pt x="397" y="504"/>
                  </a:lnTo>
                  <a:lnTo>
                    <a:pt x="359" y="475"/>
                  </a:lnTo>
                  <a:lnTo>
                    <a:pt x="371" y="459"/>
                  </a:lnTo>
                  <a:lnTo>
                    <a:pt x="354" y="466"/>
                  </a:lnTo>
                  <a:lnTo>
                    <a:pt x="345" y="466"/>
                  </a:lnTo>
                  <a:lnTo>
                    <a:pt x="333" y="475"/>
                  </a:lnTo>
                  <a:lnTo>
                    <a:pt x="317" y="449"/>
                  </a:lnTo>
                  <a:lnTo>
                    <a:pt x="307" y="449"/>
                  </a:lnTo>
                  <a:lnTo>
                    <a:pt x="291" y="442"/>
                  </a:lnTo>
                  <a:lnTo>
                    <a:pt x="269" y="433"/>
                  </a:lnTo>
                  <a:lnTo>
                    <a:pt x="269" y="421"/>
                  </a:lnTo>
                  <a:lnTo>
                    <a:pt x="236" y="393"/>
                  </a:lnTo>
                  <a:lnTo>
                    <a:pt x="232" y="388"/>
                  </a:lnTo>
                  <a:lnTo>
                    <a:pt x="307" y="393"/>
                  </a:lnTo>
                  <a:lnTo>
                    <a:pt x="300" y="393"/>
                  </a:lnTo>
                  <a:lnTo>
                    <a:pt x="291" y="393"/>
                  </a:lnTo>
                  <a:lnTo>
                    <a:pt x="286" y="388"/>
                  </a:lnTo>
                  <a:lnTo>
                    <a:pt x="291" y="371"/>
                  </a:lnTo>
                  <a:lnTo>
                    <a:pt x="300" y="331"/>
                  </a:lnTo>
                  <a:lnTo>
                    <a:pt x="236" y="265"/>
                  </a:lnTo>
                  <a:lnTo>
                    <a:pt x="225" y="260"/>
                  </a:lnTo>
                  <a:lnTo>
                    <a:pt x="182" y="239"/>
                  </a:lnTo>
                  <a:lnTo>
                    <a:pt x="177" y="187"/>
                  </a:lnTo>
                  <a:lnTo>
                    <a:pt x="173" y="182"/>
                  </a:lnTo>
                  <a:lnTo>
                    <a:pt x="173" y="187"/>
                  </a:lnTo>
                  <a:lnTo>
                    <a:pt x="161" y="182"/>
                  </a:lnTo>
                  <a:lnTo>
                    <a:pt x="161" y="154"/>
                  </a:lnTo>
                  <a:lnTo>
                    <a:pt x="144" y="145"/>
                  </a:lnTo>
                  <a:lnTo>
                    <a:pt x="140" y="116"/>
                  </a:lnTo>
                  <a:lnTo>
                    <a:pt x="118" y="95"/>
                  </a:lnTo>
                  <a:lnTo>
                    <a:pt x="123" y="71"/>
                  </a:lnTo>
                  <a:lnTo>
                    <a:pt x="106" y="60"/>
                  </a:lnTo>
                  <a:lnTo>
                    <a:pt x="85" y="17"/>
                  </a:lnTo>
                  <a:lnTo>
                    <a:pt x="253" y="0"/>
                  </a:lnTo>
                  <a:lnTo>
                    <a:pt x="248" y="17"/>
                  </a:lnTo>
                  <a:lnTo>
                    <a:pt x="510" y="111"/>
                  </a:lnTo>
                  <a:lnTo>
                    <a:pt x="711" y="111"/>
                  </a:lnTo>
                  <a:lnTo>
                    <a:pt x="711" y="76"/>
                  </a:lnTo>
                  <a:lnTo>
                    <a:pt x="841" y="76"/>
                  </a:lnTo>
                  <a:lnTo>
                    <a:pt x="846" y="100"/>
                  </a:lnTo>
                  <a:lnTo>
                    <a:pt x="943" y="171"/>
                  </a:lnTo>
                  <a:lnTo>
                    <a:pt x="952" y="204"/>
                  </a:lnTo>
                  <a:lnTo>
                    <a:pt x="952" y="222"/>
                  </a:lnTo>
                  <a:lnTo>
                    <a:pt x="969" y="244"/>
                  </a:lnTo>
                  <a:lnTo>
                    <a:pt x="1002" y="265"/>
                  </a:lnTo>
                  <a:lnTo>
                    <a:pt x="1051" y="293"/>
                  </a:lnTo>
                  <a:lnTo>
                    <a:pt x="1061" y="298"/>
                  </a:lnTo>
                  <a:lnTo>
                    <a:pt x="1089" y="277"/>
                  </a:lnTo>
                  <a:lnTo>
                    <a:pt x="1103" y="239"/>
                  </a:lnTo>
                  <a:lnTo>
                    <a:pt x="1125" y="227"/>
                  </a:lnTo>
                  <a:lnTo>
                    <a:pt x="1141" y="239"/>
                  </a:lnTo>
                  <a:lnTo>
                    <a:pt x="1186" y="239"/>
                  </a:lnTo>
                  <a:lnTo>
                    <a:pt x="1195" y="244"/>
                  </a:lnTo>
                  <a:lnTo>
                    <a:pt x="1238" y="282"/>
                  </a:lnTo>
                  <a:lnTo>
                    <a:pt x="1266" y="355"/>
                  </a:lnTo>
                  <a:lnTo>
                    <a:pt x="1276" y="367"/>
                  </a:lnTo>
                  <a:lnTo>
                    <a:pt x="1292" y="393"/>
                  </a:lnTo>
                  <a:lnTo>
                    <a:pt x="1321" y="409"/>
                  </a:lnTo>
                  <a:lnTo>
                    <a:pt x="1325" y="449"/>
                  </a:lnTo>
                  <a:lnTo>
                    <a:pt x="1342" y="466"/>
                  </a:lnTo>
                  <a:lnTo>
                    <a:pt x="1347" y="499"/>
                  </a:lnTo>
                  <a:lnTo>
                    <a:pt x="1396" y="515"/>
                  </a:lnTo>
                  <a:lnTo>
                    <a:pt x="1410" y="520"/>
                  </a:lnTo>
                  <a:lnTo>
                    <a:pt x="1448" y="532"/>
                  </a:lnTo>
                  <a:lnTo>
                    <a:pt x="1465" y="537"/>
                  </a:lnTo>
                  <a:lnTo>
                    <a:pt x="1486" y="532"/>
                  </a:lnTo>
                  <a:lnTo>
                    <a:pt x="1448" y="643"/>
                  </a:lnTo>
                  <a:lnTo>
                    <a:pt x="1439" y="766"/>
                  </a:lnTo>
                  <a:lnTo>
                    <a:pt x="1434" y="792"/>
                  </a:lnTo>
                  <a:lnTo>
                    <a:pt x="1448" y="837"/>
                  </a:lnTo>
                  <a:lnTo>
                    <a:pt x="1472" y="870"/>
                  </a:lnTo>
                  <a:lnTo>
                    <a:pt x="1465" y="886"/>
                  </a:lnTo>
                  <a:lnTo>
                    <a:pt x="1465" y="882"/>
                  </a:lnTo>
                  <a:lnTo>
                    <a:pt x="1472" y="870"/>
                  </a:lnTo>
                  <a:lnTo>
                    <a:pt x="1439" y="832"/>
                  </a:lnTo>
                  <a:lnTo>
                    <a:pt x="1448" y="865"/>
                  </a:lnTo>
                  <a:lnTo>
                    <a:pt x="1486" y="936"/>
                  </a:lnTo>
                  <a:lnTo>
                    <a:pt x="1536" y="997"/>
                  </a:lnTo>
                  <a:lnTo>
                    <a:pt x="1545" y="1037"/>
                  </a:lnTo>
                  <a:lnTo>
                    <a:pt x="1573" y="1059"/>
                  </a:lnTo>
                  <a:lnTo>
                    <a:pt x="1573" y="1071"/>
                  </a:lnTo>
                  <a:lnTo>
                    <a:pt x="1578" y="1075"/>
                  </a:lnTo>
                  <a:lnTo>
                    <a:pt x="1628" y="1087"/>
                  </a:lnTo>
                  <a:lnTo>
                    <a:pt x="1632" y="1092"/>
                  </a:lnTo>
                  <a:lnTo>
                    <a:pt x="1649" y="1092"/>
                  </a:lnTo>
                  <a:lnTo>
                    <a:pt x="1670" y="1125"/>
                  </a:lnTo>
                  <a:lnTo>
                    <a:pt x="1720" y="1113"/>
                  </a:lnTo>
                  <a:lnTo>
                    <a:pt x="1734" y="1104"/>
                  </a:lnTo>
                  <a:lnTo>
                    <a:pt x="1720" y="1108"/>
                  </a:lnTo>
                  <a:lnTo>
                    <a:pt x="1734" y="1104"/>
                  </a:lnTo>
                  <a:lnTo>
                    <a:pt x="1762" y="1104"/>
                  </a:lnTo>
                  <a:lnTo>
                    <a:pt x="1762" y="1108"/>
                  </a:lnTo>
                  <a:lnTo>
                    <a:pt x="1805" y="1087"/>
                  </a:lnTo>
                  <a:lnTo>
                    <a:pt x="1847" y="1075"/>
                  </a:lnTo>
                  <a:lnTo>
                    <a:pt x="1859" y="1087"/>
                  </a:lnTo>
                  <a:lnTo>
                    <a:pt x="1843" y="1092"/>
                  </a:lnTo>
                  <a:lnTo>
                    <a:pt x="1859" y="1092"/>
                  </a:lnTo>
                  <a:lnTo>
                    <a:pt x="1859" y="1108"/>
                  </a:lnTo>
                  <a:lnTo>
                    <a:pt x="1864" y="1104"/>
                  </a:lnTo>
                  <a:lnTo>
                    <a:pt x="1880" y="1104"/>
                  </a:lnTo>
                  <a:lnTo>
                    <a:pt x="1885" y="1092"/>
                  </a:lnTo>
                  <a:lnTo>
                    <a:pt x="1902" y="1087"/>
                  </a:lnTo>
                  <a:lnTo>
                    <a:pt x="1885" y="1075"/>
                  </a:lnTo>
                  <a:lnTo>
                    <a:pt x="1897" y="1071"/>
                  </a:lnTo>
                  <a:lnTo>
                    <a:pt x="1885" y="1071"/>
                  </a:lnTo>
                  <a:lnTo>
                    <a:pt x="1935" y="1037"/>
                  </a:lnTo>
                  <a:lnTo>
                    <a:pt x="1940" y="1002"/>
                  </a:lnTo>
                  <a:lnTo>
                    <a:pt x="1956" y="993"/>
                  </a:lnTo>
                  <a:lnTo>
                    <a:pt x="1951" y="943"/>
                  </a:lnTo>
                  <a:lnTo>
                    <a:pt x="1965" y="910"/>
                  </a:lnTo>
                  <a:lnTo>
                    <a:pt x="1994" y="886"/>
                  </a:lnTo>
                  <a:lnTo>
                    <a:pt x="2065" y="882"/>
                  </a:lnTo>
                  <a:lnTo>
                    <a:pt x="2095" y="870"/>
                  </a:lnTo>
                  <a:lnTo>
                    <a:pt x="2128" y="865"/>
                  </a:lnTo>
                  <a:lnTo>
                    <a:pt x="2183" y="882"/>
                  </a:lnTo>
                  <a:lnTo>
                    <a:pt x="2188" y="870"/>
                  </a:lnTo>
                  <a:lnTo>
                    <a:pt x="2166" y="870"/>
                  </a:lnTo>
                  <a:lnTo>
                    <a:pt x="2192" y="865"/>
                  </a:lnTo>
                  <a:lnTo>
                    <a:pt x="2209" y="882"/>
                  </a:lnTo>
                  <a:lnTo>
                    <a:pt x="2209" y="893"/>
                  </a:lnTo>
                  <a:lnTo>
                    <a:pt x="2204" y="926"/>
                  </a:lnTo>
                  <a:lnTo>
                    <a:pt x="2166" y="964"/>
                  </a:lnTo>
                  <a:lnTo>
                    <a:pt x="2166" y="997"/>
                  </a:lnTo>
                  <a:lnTo>
                    <a:pt x="2166" y="993"/>
                  </a:lnTo>
                  <a:lnTo>
                    <a:pt x="2154" y="997"/>
                  </a:lnTo>
                  <a:lnTo>
                    <a:pt x="2138" y="1002"/>
                  </a:lnTo>
                  <a:lnTo>
                    <a:pt x="2150" y="1021"/>
                  </a:lnTo>
                  <a:lnTo>
                    <a:pt x="2166" y="1014"/>
                  </a:lnTo>
                  <a:lnTo>
                    <a:pt x="2166" y="1030"/>
                  </a:lnTo>
                  <a:lnTo>
                    <a:pt x="2150" y="1037"/>
                  </a:lnTo>
                  <a:lnTo>
                    <a:pt x="2150" y="1047"/>
                  </a:lnTo>
                  <a:lnTo>
                    <a:pt x="2166" y="1037"/>
                  </a:lnTo>
                  <a:lnTo>
                    <a:pt x="2133" y="1113"/>
                  </a:lnTo>
                  <a:lnTo>
                    <a:pt x="2133" y="1104"/>
                  </a:lnTo>
                  <a:lnTo>
                    <a:pt x="2117" y="1092"/>
                  </a:lnTo>
                  <a:lnTo>
                    <a:pt x="2128" y="1087"/>
                  </a:lnTo>
                  <a:lnTo>
                    <a:pt x="2128" y="1071"/>
                  </a:lnTo>
                  <a:lnTo>
                    <a:pt x="2103" y="1104"/>
                  </a:lnTo>
                  <a:lnTo>
                    <a:pt x="2103" y="1104"/>
                  </a:lnTo>
                  <a:lnTo>
                    <a:pt x="2103" y="1104"/>
                  </a:lnTo>
                  <a:close/>
                  <a:moveTo>
                    <a:pt x="359" y="293"/>
                  </a:moveTo>
                  <a:lnTo>
                    <a:pt x="333" y="260"/>
                  </a:lnTo>
                  <a:lnTo>
                    <a:pt x="333" y="256"/>
                  </a:lnTo>
                  <a:lnTo>
                    <a:pt x="345" y="260"/>
                  </a:lnTo>
                  <a:lnTo>
                    <a:pt x="345" y="265"/>
                  </a:lnTo>
                  <a:lnTo>
                    <a:pt x="359" y="277"/>
                  </a:lnTo>
                  <a:lnTo>
                    <a:pt x="359" y="293"/>
                  </a:lnTo>
                  <a:lnTo>
                    <a:pt x="359" y="293"/>
                  </a:lnTo>
                  <a:lnTo>
                    <a:pt x="359" y="293"/>
                  </a:lnTo>
                  <a:close/>
                  <a:moveTo>
                    <a:pt x="425" y="315"/>
                  </a:moveTo>
                  <a:lnTo>
                    <a:pt x="409" y="310"/>
                  </a:lnTo>
                  <a:lnTo>
                    <a:pt x="414" y="282"/>
                  </a:lnTo>
                  <a:lnTo>
                    <a:pt x="425" y="277"/>
                  </a:lnTo>
                  <a:lnTo>
                    <a:pt x="430" y="298"/>
                  </a:lnTo>
                  <a:lnTo>
                    <a:pt x="425" y="315"/>
                  </a:lnTo>
                  <a:lnTo>
                    <a:pt x="425" y="315"/>
                  </a:lnTo>
                  <a:lnTo>
                    <a:pt x="425" y="315"/>
                  </a:lnTo>
                  <a:close/>
                  <a:moveTo>
                    <a:pt x="0" y="298"/>
                  </a:moveTo>
                  <a:lnTo>
                    <a:pt x="0" y="282"/>
                  </a:lnTo>
                  <a:lnTo>
                    <a:pt x="0" y="282"/>
                  </a:lnTo>
                  <a:lnTo>
                    <a:pt x="10" y="293"/>
                  </a:lnTo>
                  <a:lnTo>
                    <a:pt x="0" y="298"/>
                  </a:lnTo>
                  <a:lnTo>
                    <a:pt x="0" y="298"/>
                  </a:lnTo>
                  <a:lnTo>
                    <a:pt x="0" y="298"/>
                  </a:lnTo>
                  <a:close/>
                  <a:moveTo>
                    <a:pt x="225" y="371"/>
                  </a:moveTo>
                  <a:lnTo>
                    <a:pt x="215" y="367"/>
                  </a:lnTo>
                  <a:lnTo>
                    <a:pt x="215" y="350"/>
                  </a:lnTo>
                  <a:lnTo>
                    <a:pt x="225" y="367"/>
                  </a:lnTo>
                  <a:lnTo>
                    <a:pt x="225" y="371"/>
                  </a:lnTo>
                  <a:lnTo>
                    <a:pt x="225" y="371"/>
                  </a:lnTo>
                  <a:lnTo>
                    <a:pt x="225" y="371"/>
                  </a:lnTo>
                  <a:close/>
                  <a:moveTo>
                    <a:pt x="501" y="544"/>
                  </a:moveTo>
                  <a:lnTo>
                    <a:pt x="501" y="532"/>
                  </a:lnTo>
                  <a:lnTo>
                    <a:pt x="510" y="520"/>
                  </a:lnTo>
                  <a:lnTo>
                    <a:pt x="501" y="544"/>
                  </a:lnTo>
                  <a:lnTo>
                    <a:pt x="501" y="544"/>
                  </a:lnTo>
                  <a:lnTo>
                    <a:pt x="501" y="544"/>
                  </a:lnTo>
                  <a:close/>
                  <a:moveTo>
                    <a:pt x="442" y="586"/>
                  </a:moveTo>
                  <a:lnTo>
                    <a:pt x="430" y="615"/>
                  </a:lnTo>
                  <a:lnTo>
                    <a:pt x="442" y="643"/>
                  </a:lnTo>
                  <a:lnTo>
                    <a:pt x="430" y="615"/>
                  </a:lnTo>
                  <a:lnTo>
                    <a:pt x="442" y="586"/>
                  </a:lnTo>
                  <a:lnTo>
                    <a:pt x="442" y="586"/>
                  </a:lnTo>
                  <a:lnTo>
                    <a:pt x="442" y="586"/>
                  </a:lnTo>
                  <a:close/>
                  <a:moveTo>
                    <a:pt x="539" y="598"/>
                  </a:moveTo>
                  <a:lnTo>
                    <a:pt x="548" y="598"/>
                  </a:lnTo>
                  <a:lnTo>
                    <a:pt x="548" y="615"/>
                  </a:lnTo>
                  <a:lnTo>
                    <a:pt x="539" y="610"/>
                  </a:lnTo>
                  <a:lnTo>
                    <a:pt x="539" y="598"/>
                  </a:lnTo>
                  <a:lnTo>
                    <a:pt x="539" y="598"/>
                  </a:lnTo>
                  <a:lnTo>
                    <a:pt x="539" y="598"/>
                  </a:lnTo>
                  <a:close/>
                  <a:moveTo>
                    <a:pt x="463" y="655"/>
                  </a:moveTo>
                  <a:lnTo>
                    <a:pt x="447" y="643"/>
                  </a:lnTo>
                  <a:lnTo>
                    <a:pt x="458" y="643"/>
                  </a:lnTo>
                  <a:lnTo>
                    <a:pt x="463" y="655"/>
                  </a:lnTo>
                  <a:lnTo>
                    <a:pt x="463" y="655"/>
                  </a:lnTo>
                  <a:lnTo>
                    <a:pt x="463" y="655"/>
                  </a:lnTo>
                  <a:close/>
                  <a:moveTo>
                    <a:pt x="825" y="870"/>
                  </a:moveTo>
                  <a:lnTo>
                    <a:pt x="817" y="853"/>
                  </a:lnTo>
                  <a:lnTo>
                    <a:pt x="834" y="853"/>
                  </a:lnTo>
                  <a:lnTo>
                    <a:pt x="834" y="870"/>
                  </a:lnTo>
                  <a:lnTo>
                    <a:pt x="825" y="870"/>
                  </a:lnTo>
                  <a:lnTo>
                    <a:pt x="825" y="870"/>
                  </a:lnTo>
                  <a:lnTo>
                    <a:pt x="825" y="870"/>
                  </a:lnTo>
                  <a:close/>
                  <a:moveTo>
                    <a:pt x="841" y="882"/>
                  </a:moveTo>
                  <a:lnTo>
                    <a:pt x="834" y="882"/>
                  </a:lnTo>
                  <a:lnTo>
                    <a:pt x="841" y="870"/>
                  </a:lnTo>
                  <a:lnTo>
                    <a:pt x="841" y="882"/>
                  </a:lnTo>
                  <a:lnTo>
                    <a:pt x="841" y="882"/>
                  </a:lnTo>
                  <a:lnTo>
                    <a:pt x="841" y="882"/>
                  </a:lnTo>
                  <a:close/>
                  <a:moveTo>
                    <a:pt x="855" y="886"/>
                  </a:moveTo>
                  <a:lnTo>
                    <a:pt x="846" y="886"/>
                  </a:lnTo>
                  <a:lnTo>
                    <a:pt x="855" y="886"/>
                  </a:lnTo>
                  <a:lnTo>
                    <a:pt x="855" y="886"/>
                  </a:lnTo>
                  <a:lnTo>
                    <a:pt x="855" y="886"/>
                  </a:lnTo>
                  <a:lnTo>
                    <a:pt x="855" y="886"/>
                  </a:lnTo>
                  <a:close/>
                  <a:moveTo>
                    <a:pt x="2192" y="964"/>
                  </a:moveTo>
                  <a:lnTo>
                    <a:pt x="2204" y="943"/>
                  </a:lnTo>
                  <a:lnTo>
                    <a:pt x="2209" y="943"/>
                  </a:lnTo>
                  <a:lnTo>
                    <a:pt x="2192" y="964"/>
                  </a:lnTo>
                  <a:lnTo>
                    <a:pt x="2192" y="964"/>
                  </a:lnTo>
                  <a:lnTo>
                    <a:pt x="2192" y="964"/>
                  </a:lnTo>
                  <a:close/>
                  <a:moveTo>
                    <a:pt x="517" y="1075"/>
                  </a:moveTo>
                  <a:lnTo>
                    <a:pt x="510" y="1075"/>
                  </a:lnTo>
                  <a:lnTo>
                    <a:pt x="517" y="1071"/>
                  </a:lnTo>
                  <a:lnTo>
                    <a:pt x="522" y="1075"/>
                  </a:lnTo>
                  <a:lnTo>
                    <a:pt x="517" y="1075"/>
                  </a:lnTo>
                  <a:lnTo>
                    <a:pt x="517" y="1075"/>
                  </a:lnTo>
                  <a:lnTo>
                    <a:pt x="517" y="107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16" name="Freeform 525">
              <a:extLst>
                <a:ext uri="{FF2B5EF4-FFF2-40B4-BE49-F238E27FC236}">
                  <a16:creationId xmlns:a16="http://schemas.microsoft.com/office/drawing/2014/main" id="{D8639390-9E25-46BE-B1E6-04EEBE47A455}"/>
                </a:ext>
              </a:extLst>
            </p:cNvPr>
            <p:cNvSpPr>
              <a:spLocks/>
            </p:cNvSpPr>
            <p:nvPr/>
          </p:nvSpPr>
          <p:spPr bwMode="gray">
            <a:xfrm>
              <a:off x="3799817" y="6788825"/>
              <a:ext cx="132362" cy="139835"/>
            </a:xfrm>
            <a:custGeom>
              <a:avLst/>
              <a:gdLst>
                <a:gd name="T0" fmla="*/ 279 w 284"/>
                <a:gd name="T1" fmla="*/ 198 h 300"/>
                <a:gd name="T2" fmla="*/ 267 w 284"/>
                <a:gd name="T3" fmla="*/ 206 h 300"/>
                <a:gd name="T4" fmla="*/ 267 w 284"/>
                <a:gd name="T5" fmla="*/ 227 h 300"/>
                <a:gd name="T6" fmla="*/ 262 w 284"/>
                <a:gd name="T7" fmla="*/ 255 h 300"/>
                <a:gd name="T8" fmla="*/ 246 w 284"/>
                <a:gd name="T9" fmla="*/ 260 h 300"/>
                <a:gd name="T10" fmla="*/ 241 w 284"/>
                <a:gd name="T11" fmla="*/ 260 h 300"/>
                <a:gd name="T12" fmla="*/ 241 w 284"/>
                <a:gd name="T13" fmla="*/ 255 h 300"/>
                <a:gd name="T14" fmla="*/ 225 w 284"/>
                <a:gd name="T15" fmla="*/ 255 h 300"/>
                <a:gd name="T16" fmla="*/ 213 w 284"/>
                <a:gd name="T17" fmla="*/ 243 h 300"/>
                <a:gd name="T18" fmla="*/ 170 w 284"/>
                <a:gd name="T19" fmla="*/ 260 h 300"/>
                <a:gd name="T20" fmla="*/ 144 w 284"/>
                <a:gd name="T21" fmla="*/ 255 h 300"/>
                <a:gd name="T22" fmla="*/ 139 w 284"/>
                <a:gd name="T23" fmla="*/ 267 h 300"/>
                <a:gd name="T24" fmla="*/ 156 w 284"/>
                <a:gd name="T25" fmla="*/ 283 h 300"/>
                <a:gd name="T26" fmla="*/ 156 w 284"/>
                <a:gd name="T27" fmla="*/ 293 h 300"/>
                <a:gd name="T28" fmla="*/ 144 w 284"/>
                <a:gd name="T29" fmla="*/ 300 h 300"/>
                <a:gd name="T30" fmla="*/ 118 w 284"/>
                <a:gd name="T31" fmla="*/ 293 h 300"/>
                <a:gd name="T32" fmla="*/ 102 w 284"/>
                <a:gd name="T33" fmla="*/ 283 h 300"/>
                <a:gd name="T34" fmla="*/ 64 w 284"/>
                <a:gd name="T35" fmla="*/ 227 h 300"/>
                <a:gd name="T36" fmla="*/ 54 w 284"/>
                <a:gd name="T37" fmla="*/ 189 h 300"/>
                <a:gd name="T38" fmla="*/ 33 w 284"/>
                <a:gd name="T39" fmla="*/ 189 h 300"/>
                <a:gd name="T40" fmla="*/ 33 w 284"/>
                <a:gd name="T41" fmla="*/ 182 h 300"/>
                <a:gd name="T42" fmla="*/ 0 w 284"/>
                <a:gd name="T43" fmla="*/ 144 h 300"/>
                <a:gd name="T44" fmla="*/ 0 w 284"/>
                <a:gd name="T45" fmla="*/ 132 h 300"/>
                <a:gd name="T46" fmla="*/ 17 w 284"/>
                <a:gd name="T47" fmla="*/ 94 h 300"/>
                <a:gd name="T48" fmla="*/ 12 w 284"/>
                <a:gd name="T49" fmla="*/ 87 h 300"/>
                <a:gd name="T50" fmla="*/ 33 w 284"/>
                <a:gd name="T51" fmla="*/ 71 h 300"/>
                <a:gd name="T52" fmla="*/ 54 w 284"/>
                <a:gd name="T53" fmla="*/ 71 h 300"/>
                <a:gd name="T54" fmla="*/ 54 w 284"/>
                <a:gd name="T55" fmla="*/ 61 h 300"/>
                <a:gd name="T56" fmla="*/ 64 w 284"/>
                <a:gd name="T57" fmla="*/ 61 h 300"/>
                <a:gd name="T58" fmla="*/ 54 w 284"/>
                <a:gd name="T59" fmla="*/ 43 h 300"/>
                <a:gd name="T60" fmla="*/ 64 w 284"/>
                <a:gd name="T61" fmla="*/ 38 h 300"/>
                <a:gd name="T62" fmla="*/ 64 w 284"/>
                <a:gd name="T63" fmla="*/ 33 h 300"/>
                <a:gd name="T64" fmla="*/ 69 w 284"/>
                <a:gd name="T65" fmla="*/ 5 h 300"/>
                <a:gd name="T66" fmla="*/ 80 w 284"/>
                <a:gd name="T67" fmla="*/ 0 h 300"/>
                <a:gd name="T68" fmla="*/ 144 w 284"/>
                <a:gd name="T69" fmla="*/ 17 h 300"/>
                <a:gd name="T70" fmla="*/ 156 w 284"/>
                <a:gd name="T71" fmla="*/ 17 h 300"/>
                <a:gd name="T72" fmla="*/ 156 w 284"/>
                <a:gd name="T73" fmla="*/ 21 h 300"/>
                <a:gd name="T74" fmla="*/ 156 w 284"/>
                <a:gd name="T75" fmla="*/ 5 h 300"/>
                <a:gd name="T76" fmla="*/ 156 w 284"/>
                <a:gd name="T77" fmla="*/ 0 h 300"/>
                <a:gd name="T78" fmla="*/ 191 w 284"/>
                <a:gd name="T79" fmla="*/ 0 h 300"/>
                <a:gd name="T80" fmla="*/ 208 w 284"/>
                <a:gd name="T81" fmla="*/ 5 h 300"/>
                <a:gd name="T82" fmla="*/ 208 w 284"/>
                <a:gd name="T83" fmla="*/ 17 h 300"/>
                <a:gd name="T84" fmla="*/ 225 w 284"/>
                <a:gd name="T85" fmla="*/ 5 h 300"/>
                <a:gd name="T86" fmla="*/ 208 w 284"/>
                <a:gd name="T87" fmla="*/ 0 h 300"/>
                <a:gd name="T88" fmla="*/ 213 w 284"/>
                <a:gd name="T89" fmla="*/ 0 h 300"/>
                <a:gd name="T90" fmla="*/ 284 w 284"/>
                <a:gd name="T91" fmla="*/ 17 h 300"/>
                <a:gd name="T92" fmla="*/ 284 w 284"/>
                <a:gd name="T93" fmla="*/ 33 h 300"/>
                <a:gd name="T94" fmla="*/ 279 w 284"/>
                <a:gd name="T95" fmla="*/ 43 h 300"/>
                <a:gd name="T96" fmla="*/ 250 w 284"/>
                <a:gd name="T97" fmla="*/ 71 h 300"/>
                <a:gd name="T98" fmla="*/ 250 w 284"/>
                <a:gd name="T99" fmla="*/ 87 h 300"/>
                <a:gd name="T100" fmla="*/ 262 w 284"/>
                <a:gd name="T101" fmla="*/ 144 h 300"/>
                <a:gd name="T102" fmla="*/ 284 w 284"/>
                <a:gd name="T103" fmla="*/ 172 h 300"/>
                <a:gd name="T104" fmla="*/ 279 w 284"/>
                <a:gd name="T105" fmla="*/ 198 h 300"/>
                <a:gd name="T106" fmla="*/ 279 w 284"/>
                <a:gd name="T107" fmla="*/ 198 h 300"/>
                <a:gd name="T108" fmla="*/ 279 w 284"/>
                <a:gd name="T109" fmla="*/ 19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4" h="300">
                  <a:moveTo>
                    <a:pt x="279" y="198"/>
                  </a:moveTo>
                  <a:lnTo>
                    <a:pt x="267" y="206"/>
                  </a:lnTo>
                  <a:lnTo>
                    <a:pt x="267" y="227"/>
                  </a:lnTo>
                  <a:lnTo>
                    <a:pt x="262" y="255"/>
                  </a:lnTo>
                  <a:lnTo>
                    <a:pt x="246" y="260"/>
                  </a:lnTo>
                  <a:lnTo>
                    <a:pt x="241" y="260"/>
                  </a:lnTo>
                  <a:lnTo>
                    <a:pt x="241" y="255"/>
                  </a:lnTo>
                  <a:lnTo>
                    <a:pt x="225" y="255"/>
                  </a:lnTo>
                  <a:lnTo>
                    <a:pt x="213" y="243"/>
                  </a:lnTo>
                  <a:lnTo>
                    <a:pt x="170" y="260"/>
                  </a:lnTo>
                  <a:lnTo>
                    <a:pt x="144" y="255"/>
                  </a:lnTo>
                  <a:lnTo>
                    <a:pt x="139" y="267"/>
                  </a:lnTo>
                  <a:lnTo>
                    <a:pt x="156" y="283"/>
                  </a:lnTo>
                  <a:lnTo>
                    <a:pt x="156" y="293"/>
                  </a:lnTo>
                  <a:lnTo>
                    <a:pt x="144" y="300"/>
                  </a:lnTo>
                  <a:lnTo>
                    <a:pt x="118" y="293"/>
                  </a:lnTo>
                  <a:lnTo>
                    <a:pt x="102" y="283"/>
                  </a:lnTo>
                  <a:lnTo>
                    <a:pt x="64" y="227"/>
                  </a:lnTo>
                  <a:lnTo>
                    <a:pt x="54" y="189"/>
                  </a:lnTo>
                  <a:lnTo>
                    <a:pt x="33" y="189"/>
                  </a:lnTo>
                  <a:lnTo>
                    <a:pt x="33" y="182"/>
                  </a:lnTo>
                  <a:lnTo>
                    <a:pt x="0" y="144"/>
                  </a:lnTo>
                  <a:lnTo>
                    <a:pt x="0" y="132"/>
                  </a:lnTo>
                  <a:lnTo>
                    <a:pt x="17" y="94"/>
                  </a:lnTo>
                  <a:lnTo>
                    <a:pt x="12" y="87"/>
                  </a:lnTo>
                  <a:lnTo>
                    <a:pt x="33" y="71"/>
                  </a:lnTo>
                  <a:lnTo>
                    <a:pt x="54" y="71"/>
                  </a:lnTo>
                  <a:lnTo>
                    <a:pt x="54" y="61"/>
                  </a:lnTo>
                  <a:lnTo>
                    <a:pt x="64" y="61"/>
                  </a:lnTo>
                  <a:lnTo>
                    <a:pt x="54" y="43"/>
                  </a:lnTo>
                  <a:lnTo>
                    <a:pt x="64" y="38"/>
                  </a:lnTo>
                  <a:lnTo>
                    <a:pt x="64" y="33"/>
                  </a:lnTo>
                  <a:lnTo>
                    <a:pt x="69" y="5"/>
                  </a:lnTo>
                  <a:lnTo>
                    <a:pt x="80" y="0"/>
                  </a:lnTo>
                  <a:lnTo>
                    <a:pt x="144" y="17"/>
                  </a:lnTo>
                  <a:lnTo>
                    <a:pt x="156" y="17"/>
                  </a:lnTo>
                  <a:lnTo>
                    <a:pt x="156" y="21"/>
                  </a:lnTo>
                  <a:lnTo>
                    <a:pt x="156" y="5"/>
                  </a:lnTo>
                  <a:lnTo>
                    <a:pt x="156" y="0"/>
                  </a:lnTo>
                  <a:lnTo>
                    <a:pt x="191" y="0"/>
                  </a:lnTo>
                  <a:lnTo>
                    <a:pt x="208" y="5"/>
                  </a:lnTo>
                  <a:lnTo>
                    <a:pt x="208" y="17"/>
                  </a:lnTo>
                  <a:lnTo>
                    <a:pt x="225" y="5"/>
                  </a:lnTo>
                  <a:lnTo>
                    <a:pt x="208" y="0"/>
                  </a:lnTo>
                  <a:lnTo>
                    <a:pt x="213" y="0"/>
                  </a:lnTo>
                  <a:lnTo>
                    <a:pt x="284" y="17"/>
                  </a:lnTo>
                  <a:lnTo>
                    <a:pt x="284" y="33"/>
                  </a:lnTo>
                  <a:lnTo>
                    <a:pt x="279" y="43"/>
                  </a:lnTo>
                  <a:lnTo>
                    <a:pt x="250" y="71"/>
                  </a:lnTo>
                  <a:lnTo>
                    <a:pt x="250" y="87"/>
                  </a:lnTo>
                  <a:lnTo>
                    <a:pt x="262" y="144"/>
                  </a:lnTo>
                  <a:lnTo>
                    <a:pt x="284" y="172"/>
                  </a:lnTo>
                  <a:lnTo>
                    <a:pt x="279" y="198"/>
                  </a:lnTo>
                  <a:lnTo>
                    <a:pt x="279" y="198"/>
                  </a:lnTo>
                  <a:lnTo>
                    <a:pt x="279" y="19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17" name="Freeform 526">
              <a:extLst>
                <a:ext uri="{FF2B5EF4-FFF2-40B4-BE49-F238E27FC236}">
                  <a16:creationId xmlns:a16="http://schemas.microsoft.com/office/drawing/2014/main" id="{3CE8F6D2-1F51-4EC8-B038-C1B46310F424}"/>
                </a:ext>
              </a:extLst>
            </p:cNvPr>
            <p:cNvSpPr>
              <a:spLocks noEditPoints="1"/>
            </p:cNvSpPr>
            <p:nvPr/>
          </p:nvSpPr>
          <p:spPr bwMode="gray">
            <a:xfrm>
              <a:off x="3437686" y="6573946"/>
              <a:ext cx="31692" cy="10255"/>
            </a:xfrm>
            <a:custGeom>
              <a:avLst/>
              <a:gdLst>
                <a:gd name="T0" fmla="*/ 33 w 68"/>
                <a:gd name="T1" fmla="*/ 22 h 22"/>
                <a:gd name="T2" fmla="*/ 5 w 68"/>
                <a:gd name="T3" fmla="*/ 7 h 22"/>
                <a:gd name="T4" fmla="*/ 0 w 68"/>
                <a:gd name="T5" fmla="*/ 0 h 22"/>
                <a:gd name="T6" fmla="*/ 33 w 68"/>
                <a:gd name="T7" fmla="*/ 22 h 22"/>
                <a:gd name="T8" fmla="*/ 33 w 68"/>
                <a:gd name="T9" fmla="*/ 22 h 22"/>
                <a:gd name="T10" fmla="*/ 33 w 68"/>
                <a:gd name="T11" fmla="*/ 22 h 22"/>
                <a:gd name="T12" fmla="*/ 68 w 68"/>
                <a:gd name="T13" fmla="*/ 22 h 22"/>
                <a:gd name="T14" fmla="*/ 54 w 68"/>
                <a:gd name="T15" fmla="*/ 0 h 22"/>
                <a:gd name="T16" fmla="*/ 68 w 68"/>
                <a:gd name="T17" fmla="*/ 7 h 22"/>
                <a:gd name="T18" fmla="*/ 68 w 68"/>
                <a:gd name="T19" fmla="*/ 22 h 22"/>
                <a:gd name="T20" fmla="*/ 68 w 68"/>
                <a:gd name="T21" fmla="*/ 22 h 22"/>
                <a:gd name="T22" fmla="*/ 68 w 68"/>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22">
                  <a:moveTo>
                    <a:pt x="33" y="22"/>
                  </a:moveTo>
                  <a:lnTo>
                    <a:pt x="5" y="7"/>
                  </a:lnTo>
                  <a:lnTo>
                    <a:pt x="0" y="0"/>
                  </a:lnTo>
                  <a:lnTo>
                    <a:pt x="33" y="22"/>
                  </a:lnTo>
                  <a:lnTo>
                    <a:pt x="33" y="22"/>
                  </a:lnTo>
                  <a:lnTo>
                    <a:pt x="33" y="22"/>
                  </a:lnTo>
                  <a:close/>
                  <a:moveTo>
                    <a:pt x="68" y="22"/>
                  </a:moveTo>
                  <a:lnTo>
                    <a:pt x="54" y="0"/>
                  </a:lnTo>
                  <a:lnTo>
                    <a:pt x="68" y="7"/>
                  </a:lnTo>
                  <a:lnTo>
                    <a:pt x="68" y="22"/>
                  </a:lnTo>
                  <a:lnTo>
                    <a:pt x="68" y="22"/>
                  </a:lnTo>
                  <a:lnTo>
                    <a:pt x="68" y="2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18" name="Freeform 527">
              <a:extLst>
                <a:ext uri="{FF2B5EF4-FFF2-40B4-BE49-F238E27FC236}">
                  <a16:creationId xmlns:a16="http://schemas.microsoft.com/office/drawing/2014/main" id="{2C6A782E-99BD-4E1C-B4EF-85A6CA44F37F}"/>
                </a:ext>
              </a:extLst>
            </p:cNvPr>
            <p:cNvSpPr>
              <a:spLocks/>
            </p:cNvSpPr>
            <p:nvPr/>
          </p:nvSpPr>
          <p:spPr bwMode="gray">
            <a:xfrm>
              <a:off x="2834134" y="6480723"/>
              <a:ext cx="145412" cy="147293"/>
            </a:xfrm>
            <a:custGeom>
              <a:avLst/>
              <a:gdLst>
                <a:gd name="T0" fmla="*/ 22 w 312"/>
                <a:gd name="T1" fmla="*/ 151 h 316"/>
                <a:gd name="T2" fmla="*/ 43 w 312"/>
                <a:gd name="T3" fmla="*/ 151 h 316"/>
                <a:gd name="T4" fmla="*/ 52 w 312"/>
                <a:gd name="T5" fmla="*/ 139 h 316"/>
                <a:gd name="T6" fmla="*/ 69 w 312"/>
                <a:gd name="T7" fmla="*/ 127 h 316"/>
                <a:gd name="T8" fmla="*/ 60 w 312"/>
                <a:gd name="T9" fmla="*/ 94 h 316"/>
                <a:gd name="T10" fmla="*/ 90 w 312"/>
                <a:gd name="T11" fmla="*/ 94 h 316"/>
                <a:gd name="T12" fmla="*/ 114 w 312"/>
                <a:gd name="T13" fmla="*/ 73 h 316"/>
                <a:gd name="T14" fmla="*/ 140 w 312"/>
                <a:gd name="T15" fmla="*/ 89 h 316"/>
                <a:gd name="T16" fmla="*/ 140 w 312"/>
                <a:gd name="T17" fmla="*/ 82 h 316"/>
                <a:gd name="T18" fmla="*/ 178 w 312"/>
                <a:gd name="T19" fmla="*/ 49 h 316"/>
                <a:gd name="T20" fmla="*/ 178 w 312"/>
                <a:gd name="T21" fmla="*/ 49 h 316"/>
                <a:gd name="T22" fmla="*/ 194 w 312"/>
                <a:gd name="T23" fmla="*/ 16 h 316"/>
                <a:gd name="T24" fmla="*/ 220 w 312"/>
                <a:gd name="T25" fmla="*/ 33 h 316"/>
                <a:gd name="T26" fmla="*/ 270 w 312"/>
                <a:gd name="T27" fmla="*/ 16 h 316"/>
                <a:gd name="T28" fmla="*/ 291 w 312"/>
                <a:gd name="T29" fmla="*/ 0 h 316"/>
                <a:gd name="T30" fmla="*/ 312 w 312"/>
                <a:gd name="T31" fmla="*/ 0 h 316"/>
                <a:gd name="T32" fmla="*/ 303 w 312"/>
                <a:gd name="T33" fmla="*/ 16 h 316"/>
                <a:gd name="T34" fmla="*/ 308 w 312"/>
                <a:gd name="T35" fmla="*/ 28 h 316"/>
                <a:gd name="T36" fmla="*/ 312 w 312"/>
                <a:gd name="T37" fmla="*/ 54 h 316"/>
                <a:gd name="T38" fmla="*/ 303 w 312"/>
                <a:gd name="T39" fmla="*/ 82 h 316"/>
                <a:gd name="T40" fmla="*/ 286 w 312"/>
                <a:gd name="T41" fmla="*/ 122 h 316"/>
                <a:gd name="T42" fmla="*/ 291 w 312"/>
                <a:gd name="T43" fmla="*/ 193 h 316"/>
                <a:gd name="T44" fmla="*/ 286 w 312"/>
                <a:gd name="T45" fmla="*/ 193 h 316"/>
                <a:gd name="T46" fmla="*/ 291 w 312"/>
                <a:gd name="T47" fmla="*/ 167 h 316"/>
                <a:gd name="T48" fmla="*/ 286 w 312"/>
                <a:gd name="T49" fmla="*/ 160 h 316"/>
                <a:gd name="T50" fmla="*/ 286 w 312"/>
                <a:gd name="T51" fmla="*/ 177 h 316"/>
                <a:gd name="T52" fmla="*/ 274 w 312"/>
                <a:gd name="T53" fmla="*/ 193 h 316"/>
                <a:gd name="T54" fmla="*/ 274 w 312"/>
                <a:gd name="T55" fmla="*/ 222 h 316"/>
                <a:gd name="T56" fmla="*/ 270 w 312"/>
                <a:gd name="T57" fmla="*/ 233 h 316"/>
                <a:gd name="T58" fmla="*/ 270 w 312"/>
                <a:gd name="T59" fmla="*/ 238 h 316"/>
                <a:gd name="T60" fmla="*/ 274 w 312"/>
                <a:gd name="T61" fmla="*/ 233 h 316"/>
                <a:gd name="T62" fmla="*/ 286 w 312"/>
                <a:gd name="T63" fmla="*/ 255 h 316"/>
                <a:gd name="T64" fmla="*/ 270 w 312"/>
                <a:gd name="T65" fmla="*/ 271 h 316"/>
                <a:gd name="T66" fmla="*/ 270 w 312"/>
                <a:gd name="T67" fmla="*/ 290 h 316"/>
                <a:gd name="T68" fmla="*/ 286 w 312"/>
                <a:gd name="T69" fmla="*/ 307 h 316"/>
                <a:gd name="T70" fmla="*/ 274 w 312"/>
                <a:gd name="T71" fmla="*/ 311 h 316"/>
                <a:gd name="T72" fmla="*/ 258 w 312"/>
                <a:gd name="T73" fmla="*/ 316 h 316"/>
                <a:gd name="T74" fmla="*/ 204 w 312"/>
                <a:gd name="T75" fmla="*/ 295 h 316"/>
                <a:gd name="T76" fmla="*/ 194 w 312"/>
                <a:gd name="T77" fmla="*/ 307 h 316"/>
                <a:gd name="T78" fmla="*/ 145 w 312"/>
                <a:gd name="T79" fmla="*/ 278 h 316"/>
                <a:gd name="T80" fmla="*/ 140 w 312"/>
                <a:gd name="T81" fmla="*/ 295 h 316"/>
                <a:gd name="T82" fmla="*/ 86 w 312"/>
                <a:gd name="T83" fmla="*/ 238 h 316"/>
                <a:gd name="T84" fmla="*/ 60 w 312"/>
                <a:gd name="T85" fmla="*/ 205 h 316"/>
                <a:gd name="T86" fmla="*/ 0 w 312"/>
                <a:gd name="T87" fmla="*/ 160 h 316"/>
                <a:gd name="T88" fmla="*/ 5 w 312"/>
                <a:gd name="T89" fmla="*/ 144 h 316"/>
                <a:gd name="T90" fmla="*/ 22 w 312"/>
                <a:gd name="T91" fmla="*/ 160 h 316"/>
                <a:gd name="T92" fmla="*/ 22 w 312"/>
                <a:gd name="T93" fmla="*/ 160 h 316"/>
                <a:gd name="T94" fmla="*/ 22 w 312"/>
                <a:gd name="T95" fmla="*/ 151 h 316"/>
                <a:gd name="T96" fmla="*/ 22 w 312"/>
                <a:gd name="T97" fmla="*/ 151 h 316"/>
                <a:gd name="T98" fmla="*/ 22 w 312"/>
                <a:gd name="T99" fmla="*/ 15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2" h="316">
                  <a:moveTo>
                    <a:pt x="22" y="151"/>
                  </a:moveTo>
                  <a:lnTo>
                    <a:pt x="43" y="151"/>
                  </a:lnTo>
                  <a:lnTo>
                    <a:pt x="52" y="139"/>
                  </a:lnTo>
                  <a:lnTo>
                    <a:pt x="69" y="127"/>
                  </a:lnTo>
                  <a:lnTo>
                    <a:pt x="60" y="94"/>
                  </a:lnTo>
                  <a:lnTo>
                    <a:pt x="90" y="94"/>
                  </a:lnTo>
                  <a:lnTo>
                    <a:pt x="114" y="73"/>
                  </a:lnTo>
                  <a:lnTo>
                    <a:pt x="140" y="89"/>
                  </a:lnTo>
                  <a:lnTo>
                    <a:pt x="140" y="82"/>
                  </a:lnTo>
                  <a:lnTo>
                    <a:pt x="178" y="49"/>
                  </a:lnTo>
                  <a:lnTo>
                    <a:pt x="178" y="49"/>
                  </a:lnTo>
                  <a:lnTo>
                    <a:pt x="194" y="16"/>
                  </a:lnTo>
                  <a:lnTo>
                    <a:pt x="220" y="33"/>
                  </a:lnTo>
                  <a:lnTo>
                    <a:pt x="270" y="16"/>
                  </a:lnTo>
                  <a:lnTo>
                    <a:pt x="291" y="0"/>
                  </a:lnTo>
                  <a:lnTo>
                    <a:pt x="312" y="0"/>
                  </a:lnTo>
                  <a:lnTo>
                    <a:pt x="303" y="16"/>
                  </a:lnTo>
                  <a:lnTo>
                    <a:pt x="308" y="28"/>
                  </a:lnTo>
                  <a:lnTo>
                    <a:pt x="312" y="54"/>
                  </a:lnTo>
                  <a:lnTo>
                    <a:pt x="303" y="82"/>
                  </a:lnTo>
                  <a:lnTo>
                    <a:pt x="286" y="122"/>
                  </a:lnTo>
                  <a:lnTo>
                    <a:pt x="291" y="193"/>
                  </a:lnTo>
                  <a:lnTo>
                    <a:pt x="286" y="193"/>
                  </a:lnTo>
                  <a:lnTo>
                    <a:pt x="291" y="167"/>
                  </a:lnTo>
                  <a:lnTo>
                    <a:pt x="286" y="160"/>
                  </a:lnTo>
                  <a:lnTo>
                    <a:pt x="286" y="177"/>
                  </a:lnTo>
                  <a:lnTo>
                    <a:pt x="274" y="193"/>
                  </a:lnTo>
                  <a:lnTo>
                    <a:pt x="274" y="222"/>
                  </a:lnTo>
                  <a:lnTo>
                    <a:pt x="270" y="233"/>
                  </a:lnTo>
                  <a:lnTo>
                    <a:pt x="270" y="238"/>
                  </a:lnTo>
                  <a:lnTo>
                    <a:pt x="274" y="233"/>
                  </a:lnTo>
                  <a:lnTo>
                    <a:pt x="286" y="255"/>
                  </a:lnTo>
                  <a:lnTo>
                    <a:pt x="270" y="271"/>
                  </a:lnTo>
                  <a:lnTo>
                    <a:pt x="270" y="290"/>
                  </a:lnTo>
                  <a:lnTo>
                    <a:pt x="286" y="307"/>
                  </a:lnTo>
                  <a:lnTo>
                    <a:pt x="274" y="311"/>
                  </a:lnTo>
                  <a:lnTo>
                    <a:pt x="258" y="316"/>
                  </a:lnTo>
                  <a:lnTo>
                    <a:pt x="204" y="295"/>
                  </a:lnTo>
                  <a:lnTo>
                    <a:pt x="194" y="307"/>
                  </a:lnTo>
                  <a:lnTo>
                    <a:pt x="145" y="278"/>
                  </a:lnTo>
                  <a:lnTo>
                    <a:pt x="140" y="295"/>
                  </a:lnTo>
                  <a:lnTo>
                    <a:pt x="86" y="238"/>
                  </a:lnTo>
                  <a:lnTo>
                    <a:pt x="60" y="205"/>
                  </a:lnTo>
                  <a:lnTo>
                    <a:pt x="0" y="160"/>
                  </a:lnTo>
                  <a:lnTo>
                    <a:pt x="5" y="144"/>
                  </a:lnTo>
                  <a:lnTo>
                    <a:pt x="22" y="160"/>
                  </a:lnTo>
                  <a:lnTo>
                    <a:pt x="22" y="160"/>
                  </a:lnTo>
                  <a:lnTo>
                    <a:pt x="22" y="151"/>
                  </a:lnTo>
                  <a:lnTo>
                    <a:pt x="22" y="151"/>
                  </a:lnTo>
                  <a:lnTo>
                    <a:pt x="22" y="15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20" name="Freeform 530">
              <a:extLst>
                <a:ext uri="{FF2B5EF4-FFF2-40B4-BE49-F238E27FC236}">
                  <a16:creationId xmlns:a16="http://schemas.microsoft.com/office/drawing/2014/main" id="{05AB4829-2EF3-4CF1-9AA7-DC4690496DAE}"/>
                </a:ext>
              </a:extLst>
            </p:cNvPr>
            <p:cNvSpPr>
              <a:spLocks/>
            </p:cNvSpPr>
            <p:nvPr/>
          </p:nvSpPr>
          <p:spPr bwMode="gray">
            <a:xfrm>
              <a:off x="3037804" y="6992516"/>
              <a:ext cx="416194" cy="619934"/>
            </a:xfrm>
            <a:custGeom>
              <a:avLst/>
              <a:gdLst>
                <a:gd name="T0" fmla="*/ 872 w 893"/>
                <a:gd name="T1" fmla="*/ 926 h 1330"/>
                <a:gd name="T2" fmla="*/ 877 w 893"/>
                <a:gd name="T3" fmla="*/ 1025 h 1330"/>
                <a:gd name="T4" fmla="*/ 839 w 893"/>
                <a:gd name="T5" fmla="*/ 1063 h 1330"/>
                <a:gd name="T6" fmla="*/ 844 w 893"/>
                <a:gd name="T7" fmla="*/ 1108 h 1330"/>
                <a:gd name="T8" fmla="*/ 872 w 893"/>
                <a:gd name="T9" fmla="*/ 1169 h 1330"/>
                <a:gd name="T10" fmla="*/ 872 w 893"/>
                <a:gd name="T11" fmla="*/ 1202 h 1330"/>
                <a:gd name="T12" fmla="*/ 834 w 893"/>
                <a:gd name="T13" fmla="*/ 1259 h 1330"/>
                <a:gd name="T14" fmla="*/ 806 w 893"/>
                <a:gd name="T15" fmla="*/ 1280 h 1330"/>
                <a:gd name="T16" fmla="*/ 768 w 893"/>
                <a:gd name="T17" fmla="*/ 1330 h 1330"/>
                <a:gd name="T18" fmla="*/ 671 w 893"/>
                <a:gd name="T19" fmla="*/ 1242 h 1330"/>
                <a:gd name="T20" fmla="*/ 515 w 893"/>
                <a:gd name="T21" fmla="*/ 1153 h 1330"/>
                <a:gd name="T22" fmla="*/ 388 w 893"/>
                <a:gd name="T23" fmla="*/ 1058 h 1330"/>
                <a:gd name="T24" fmla="*/ 350 w 893"/>
                <a:gd name="T25" fmla="*/ 1004 h 1330"/>
                <a:gd name="T26" fmla="*/ 360 w 893"/>
                <a:gd name="T27" fmla="*/ 964 h 1330"/>
                <a:gd name="T28" fmla="*/ 300 w 893"/>
                <a:gd name="T29" fmla="*/ 869 h 1330"/>
                <a:gd name="T30" fmla="*/ 263 w 893"/>
                <a:gd name="T31" fmla="*/ 782 h 1330"/>
                <a:gd name="T32" fmla="*/ 194 w 893"/>
                <a:gd name="T33" fmla="*/ 647 h 1330"/>
                <a:gd name="T34" fmla="*/ 145 w 893"/>
                <a:gd name="T35" fmla="*/ 565 h 1330"/>
                <a:gd name="T36" fmla="*/ 17 w 893"/>
                <a:gd name="T37" fmla="*/ 432 h 1330"/>
                <a:gd name="T38" fmla="*/ 38 w 893"/>
                <a:gd name="T39" fmla="*/ 399 h 1330"/>
                <a:gd name="T40" fmla="*/ 26 w 893"/>
                <a:gd name="T41" fmla="*/ 354 h 1330"/>
                <a:gd name="T42" fmla="*/ 38 w 893"/>
                <a:gd name="T43" fmla="*/ 267 h 1330"/>
                <a:gd name="T44" fmla="*/ 86 w 893"/>
                <a:gd name="T45" fmla="*/ 276 h 1330"/>
                <a:gd name="T46" fmla="*/ 64 w 893"/>
                <a:gd name="T47" fmla="*/ 300 h 1330"/>
                <a:gd name="T48" fmla="*/ 69 w 893"/>
                <a:gd name="T49" fmla="*/ 317 h 1330"/>
                <a:gd name="T50" fmla="*/ 123 w 893"/>
                <a:gd name="T51" fmla="*/ 317 h 1330"/>
                <a:gd name="T52" fmla="*/ 178 w 893"/>
                <a:gd name="T53" fmla="*/ 333 h 1330"/>
                <a:gd name="T54" fmla="*/ 211 w 893"/>
                <a:gd name="T55" fmla="*/ 267 h 1330"/>
                <a:gd name="T56" fmla="*/ 225 w 893"/>
                <a:gd name="T57" fmla="*/ 234 h 1330"/>
                <a:gd name="T58" fmla="*/ 371 w 893"/>
                <a:gd name="T59" fmla="*/ 149 h 1330"/>
                <a:gd name="T60" fmla="*/ 430 w 893"/>
                <a:gd name="T61" fmla="*/ 61 h 1330"/>
                <a:gd name="T62" fmla="*/ 404 w 893"/>
                <a:gd name="T63" fmla="*/ 5 h 1330"/>
                <a:gd name="T64" fmla="*/ 456 w 893"/>
                <a:gd name="T65" fmla="*/ 12 h 1330"/>
                <a:gd name="T66" fmla="*/ 494 w 893"/>
                <a:gd name="T67" fmla="*/ 38 h 1330"/>
                <a:gd name="T68" fmla="*/ 553 w 893"/>
                <a:gd name="T69" fmla="*/ 111 h 1330"/>
                <a:gd name="T70" fmla="*/ 574 w 893"/>
                <a:gd name="T71" fmla="*/ 123 h 1330"/>
                <a:gd name="T72" fmla="*/ 574 w 893"/>
                <a:gd name="T73" fmla="*/ 165 h 1330"/>
                <a:gd name="T74" fmla="*/ 619 w 893"/>
                <a:gd name="T75" fmla="*/ 165 h 1330"/>
                <a:gd name="T76" fmla="*/ 678 w 893"/>
                <a:gd name="T77" fmla="*/ 149 h 1330"/>
                <a:gd name="T78" fmla="*/ 737 w 893"/>
                <a:gd name="T79" fmla="*/ 156 h 1330"/>
                <a:gd name="T80" fmla="*/ 789 w 893"/>
                <a:gd name="T81" fmla="*/ 194 h 1330"/>
                <a:gd name="T82" fmla="*/ 780 w 893"/>
                <a:gd name="T83" fmla="*/ 267 h 1330"/>
                <a:gd name="T84" fmla="*/ 785 w 893"/>
                <a:gd name="T85" fmla="*/ 305 h 1330"/>
                <a:gd name="T86" fmla="*/ 730 w 893"/>
                <a:gd name="T87" fmla="*/ 305 h 1330"/>
                <a:gd name="T88" fmla="*/ 603 w 893"/>
                <a:gd name="T89" fmla="*/ 359 h 1330"/>
                <a:gd name="T90" fmla="*/ 574 w 893"/>
                <a:gd name="T91" fmla="*/ 454 h 1330"/>
                <a:gd name="T92" fmla="*/ 537 w 893"/>
                <a:gd name="T93" fmla="*/ 522 h 1330"/>
                <a:gd name="T94" fmla="*/ 537 w 893"/>
                <a:gd name="T95" fmla="*/ 555 h 1330"/>
                <a:gd name="T96" fmla="*/ 553 w 893"/>
                <a:gd name="T97" fmla="*/ 598 h 1330"/>
                <a:gd name="T98" fmla="*/ 570 w 893"/>
                <a:gd name="T99" fmla="*/ 671 h 1330"/>
                <a:gd name="T100" fmla="*/ 709 w 893"/>
                <a:gd name="T101" fmla="*/ 720 h 1330"/>
                <a:gd name="T102" fmla="*/ 754 w 893"/>
                <a:gd name="T103" fmla="*/ 787 h 1330"/>
                <a:gd name="T104" fmla="*/ 801 w 893"/>
                <a:gd name="T105" fmla="*/ 782 h 1330"/>
                <a:gd name="T106" fmla="*/ 834 w 893"/>
                <a:gd name="T107" fmla="*/ 787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3" h="1330">
                  <a:moveTo>
                    <a:pt x="834" y="787"/>
                  </a:moveTo>
                  <a:lnTo>
                    <a:pt x="893" y="898"/>
                  </a:lnTo>
                  <a:lnTo>
                    <a:pt x="872" y="926"/>
                  </a:lnTo>
                  <a:lnTo>
                    <a:pt x="872" y="971"/>
                  </a:lnTo>
                  <a:lnTo>
                    <a:pt x="860" y="987"/>
                  </a:lnTo>
                  <a:lnTo>
                    <a:pt x="877" y="1025"/>
                  </a:lnTo>
                  <a:lnTo>
                    <a:pt x="872" y="1025"/>
                  </a:lnTo>
                  <a:lnTo>
                    <a:pt x="872" y="1037"/>
                  </a:lnTo>
                  <a:lnTo>
                    <a:pt x="839" y="1063"/>
                  </a:lnTo>
                  <a:lnTo>
                    <a:pt x="839" y="1082"/>
                  </a:lnTo>
                  <a:lnTo>
                    <a:pt x="856" y="1098"/>
                  </a:lnTo>
                  <a:lnTo>
                    <a:pt x="844" y="1108"/>
                  </a:lnTo>
                  <a:lnTo>
                    <a:pt x="839" y="1131"/>
                  </a:lnTo>
                  <a:lnTo>
                    <a:pt x="856" y="1169"/>
                  </a:lnTo>
                  <a:lnTo>
                    <a:pt x="872" y="1169"/>
                  </a:lnTo>
                  <a:lnTo>
                    <a:pt x="877" y="1174"/>
                  </a:lnTo>
                  <a:lnTo>
                    <a:pt x="860" y="1191"/>
                  </a:lnTo>
                  <a:lnTo>
                    <a:pt x="872" y="1202"/>
                  </a:lnTo>
                  <a:lnTo>
                    <a:pt x="823" y="1247"/>
                  </a:lnTo>
                  <a:lnTo>
                    <a:pt x="823" y="1247"/>
                  </a:lnTo>
                  <a:lnTo>
                    <a:pt x="834" y="1259"/>
                  </a:lnTo>
                  <a:lnTo>
                    <a:pt x="834" y="1264"/>
                  </a:lnTo>
                  <a:lnTo>
                    <a:pt x="823" y="1280"/>
                  </a:lnTo>
                  <a:lnTo>
                    <a:pt x="806" y="1280"/>
                  </a:lnTo>
                  <a:lnTo>
                    <a:pt x="818" y="1302"/>
                  </a:lnTo>
                  <a:lnTo>
                    <a:pt x="801" y="1318"/>
                  </a:lnTo>
                  <a:lnTo>
                    <a:pt x="768" y="1330"/>
                  </a:lnTo>
                  <a:lnTo>
                    <a:pt x="709" y="1280"/>
                  </a:lnTo>
                  <a:lnTo>
                    <a:pt x="693" y="1247"/>
                  </a:lnTo>
                  <a:lnTo>
                    <a:pt x="671" y="1242"/>
                  </a:lnTo>
                  <a:lnTo>
                    <a:pt x="624" y="1207"/>
                  </a:lnTo>
                  <a:lnTo>
                    <a:pt x="532" y="1169"/>
                  </a:lnTo>
                  <a:lnTo>
                    <a:pt x="515" y="1153"/>
                  </a:lnTo>
                  <a:lnTo>
                    <a:pt x="447" y="1115"/>
                  </a:lnTo>
                  <a:lnTo>
                    <a:pt x="409" y="1075"/>
                  </a:lnTo>
                  <a:lnTo>
                    <a:pt x="388" y="1058"/>
                  </a:lnTo>
                  <a:lnTo>
                    <a:pt x="360" y="1020"/>
                  </a:lnTo>
                  <a:lnTo>
                    <a:pt x="355" y="1004"/>
                  </a:lnTo>
                  <a:lnTo>
                    <a:pt x="350" y="1004"/>
                  </a:lnTo>
                  <a:lnTo>
                    <a:pt x="355" y="997"/>
                  </a:lnTo>
                  <a:lnTo>
                    <a:pt x="360" y="997"/>
                  </a:lnTo>
                  <a:lnTo>
                    <a:pt x="360" y="964"/>
                  </a:lnTo>
                  <a:lnTo>
                    <a:pt x="350" y="942"/>
                  </a:lnTo>
                  <a:lnTo>
                    <a:pt x="322" y="893"/>
                  </a:lnTo>
                  <a:lnTo>
                    <a:pt x="300" y="869"/>
                  </a:lnTo>
                  <a:lnTo>
                    <a:pt x="296" y="836"/>
                  </a:lnTo>
                  <a:lnTo>
                    <a:pt x="263" y="815"/>
                  </a:lnTo>
                  <a:lnTo>
                    <a:pt x="263" y="782"/>
                  </a:lnTo>
                  <a:lnTo>
                    <a:pt x="232" y="742"/>
                  </a:lnTo>
                  <a:lnTo>
                    <a:pt x="199" y="654"/>
                  </a:lnTo>
                  <a:lnTo>
                    <a:pt x="194" y="647"/>
                  </a:lnTo>
                  <a:lnTo>
                    <a:pt x="189" y="614"/>
                  </a:lnTo>
                  <a:lnTo>
                    <a:pt x="173" y="593"/>
                  </a:lnTo>
                  <a:lnTo>
                    <a:pt x="145" y="565"/>
                  </a:lnTo>
                  <a:lnTo>
                    <a:pt x="119" y="503"/>
                  </a:lnTo>
                  <a:lnTo>
                    <a:pt x="102" y="482"/>
                  </a:lnTo>
                  <a:lnTo>
                    <a:pt x="17" y="432"/>
                  </a:lnTo>
                  <a:lnTo>
                    <a:pt x="17" y="416"/>
                  </a:lnTo>
                  <a:lnTo>
                    <a:pt x="31" y="416"/>
                  </a:lnTo>
                  <a:lnTo>
                    <a:pt x="38" y="399"/>
                  </a:lnTo>
                  <a:lnTo>
                    <a:pt x="31" y="387"/>
                  </a:lnTo>
                  <a:lnTo>
                    <a:pt x="17" y="371"/>
                  </a:lnTo>
                  <a:lnTo>
                    <a:pt x="26" y="354"/>
                  </a:lnTo>
                  <a:lnTo>
                    <a:pt x="0" y="333"/>
                  </a:lnTo>
                  <a:lnTo>
                    <a:pt x="10" y="305"/>
                  </a:lnTo>
                  <a:lnTo>
                    <a:pt x="38" y="267"/>
                  </a:lnTo>
                  <a:lnTo>
                    <a:pt x="81" y="234"/>
                  </a:lnTo>
                  <a:lnTo>
                    <a:pt x="81" y="243"/>
                  </a:lnTo>
                  <a:lnTo>
                    <a:pt x="86" y="276"/>
                  </a:lnTo>
                  <a:lnTo>
                    <a:pt x="81" y="283"/>
                  </a:lnTo>
                  <a:lnTo>
                    <a:pt x="64" y="283"/>
                  </a:lnTo>
                  <a:lnTo>
                    <a:pt x="64" y="300"/>
                  </a:lnTo>
                  <a:lnTo>
                    <a:pt x="81" y="300"/>
                  </a:lnTo>
                  <a:lnTo>
                    <a:pt x="64" y="317"/>
                  </a:lnTo>
                  <a:lnTo>
                    <a:pt x="69" y="317"/>
                  </a:lnTo>
                  <a:lnTo>
                    <a:pt x="86" y="305"/>
                  </a:lnTo>
                  <a:lnTo>
                    <a:pt x="107" y="317"/>
                  </a:lnTo>
                  <a:lnTo>
                    <a:pt x="123" y="317"/>
                  </a:lnTo>
                  <a:lnTo>
                    <a:pt x="145" y="354"/>
                  </a:lnTo>
                  <a:lnTo>
                    <a:pt x="161" y="354"/>
                  </a:lnTo>
                  <a:lnTo>
                    <a:pt x="178" y="333"/>
                  </a:lnTo>
                  <a:lnTo>
                    <a:pt x="194" y="321"/>
                  </a:lnTo>
                  <a:lnTo>
                    <a:pt x="194" y="305"/>
                  </a:lnTo>
                  <a:lnTo>
                    <a:pt x="211" y="267"/>
                  </a:lnTo>
                  <a:lnTo>
                    <a:pt x="215" y="243"/>
                  </a:lnTo>
                  <a:lnTo>
                    <a:pt x="225" y="250"/>
                  </a:lnTo>
                  <a:lnTo>
                    <a:pt x="225" y="234"/>
                  </a:lnTo>
                  <a:lnTo>
                    <a:pt x="249" y="210"/>
                  </a:lnTo>
                  <a:lnTo>
                    <a:pt x="334" y="177"/>
                  </a:lnTo>
                  <a:lnTo>
                    <a:pt x="371" y="149"/>
                  </a:lnTo>
                  <a:lnTo>
                    <a:pt x="409" y="111"/>
                  </a:lnTo>
                  <a:lnTo>
                    <a:pt x="426" y="61"/>
                  </a:lnTo>
                  <a:lnTo>
                    <a:pt x="430" y="61"/>
                  </a:lnTo>
                  <a:lnTo>
                    <a:pt x="430" y="45"/>
                  </a:lnTo>
                  <a:lnTo>
                    <a:pt x="430" y="38"/>
                  </a:lnTo>
                  <a:lnTo>
                    <a:pt x="404" y="5"/>
                  </a:lnTo>
                  <a:lnTo>
                    <a:pt x="430" y="5"/>
                  </a:lnTo>
                  <a:lnTo>
                    <a:pt x="430" y="0"/>
                  </a:lnTo>
                  <a:lnTo>
                    <a:pt x="456" y="12"/>
                  </a:lnTo>
                  <a:lnTo>
                    <a:pt x="463" y="5"/>
                  </a:lnTo>
                  <a:lnTo>
                    <a:pt x="468" y="21"/>
                  </a:lnTo>
                  <a:lnTo>
                    <a:pt x="494" y="38"/>
                  </a:lnTo>
                  <a:lnTo>
                    <a:pt x="501" y="66"/>
                  </a:lnTo>
                  <a:lnTo>
                    <a:pt x="548" y="94"/>
                  </a:lnTo>
                  <a:lnTo>
                    <a:pt x="553" y="111"/>
                  </a:lnTo>
                  <a:lnTo>
                    <a:pt x="553" y="116"/>
                  </a:lnTo>
                  <a:lnTo>
                    <a:pt x="570" y="132"/>
                  </a:lnTo>
                  <a:lnTo>
                    <a:pt x="574" y="123"/>
                  </a:lnTo>
                  <a:lnTo>
                    <a:pt x="574" y="123"/>
                  </a:lnTo>
                  <a:lnTo>
                    <a:pt x="586" y="149"/>
                  </a:lnTo>
                  <a:lnTo>
                    <a:pt x="574" y="165"/>
                  </a:lnTo>
                  <a:lnTo>
                    <a:pt x="591" y="165"/>
                  </a:lnTo>
                  <a:lnTo>
                    <a:pt x="591" y="172"/>
                  </a:lnTo>
                  <a:lnTo>
                    <a:pt x="619" y="165"/>
                  </a:lnTo>
                  <a:lnTo>
                    <a:pt x="641" y="172"/>
                  </a:lnTo>
                  <a:lnTo>
                    <a:pt x="662" y="165"/>
                  </a:lnTo>
                  <a:lnTo>
                    <a:pt x="678" y="149"/>
                  </a:lnTo>
                  <a:lnTo>
                    <a:pt x="678" y="156"/>
                  </a:lnTo>
                  <a:lnTo>
                    <a:pt x="700" y="165"/>
                  </a:lnTo>
                  <a:lnTo>
                    <a:pt x="737" y="156"/>
                  </a:lnTo>
                  <a:lnTo>
                    <a:pt x="754" y="172"/>
                  </a:lnTo>
                  <a:lnTo>
                    <a:pt x="780" y="172"/>
                  </a:lnTo>
                  <a:lnTo>
                    <a:pt x="789" y="194"/>
                  </a:lnTo>
                  <a:lnTo>
                    <a:pt x="747" y="267"/>
                  </a:lnTo>
                  <a:lnTo>
                    <a:pt x="763" y="276"/>
                  </a:lnTo>
                  <a:lnTo>
                    <a:pt x="780" y="267"/>
                  </a:lnTo>
                  <a:lnTo>
                    <a:pt x="801" y="300"/>
                  </a:lnTo>
                  <a:lnTo>
                    <a:pt x="789" y="305"/>
                  </a:lnTo>
                  <a:lnTo>
                    <a:pt x="785" y="305"/>
                  </a:lnTo>
                  <a:lnTo>
                    <a:pt x="780" y="288"/>
                  </a:lnTo>
                  <a:lnTo>
                    <a:pt x="747" y="288"/>
                  </a:lnTo>
                  <a:lnTo>
                    <a:pt x="730" y="305"/>
                  </a:lnTo>
                  <a:lnTo>
                    <a:pt x="716" y="305"/>
                  </a:lnTo>
                  <a:lnTo>
                    <a:pt x="662" y="321"/>
                  </a:lnTo>
                  <a:lnTo>
                    <a:pt x="603" y="359"/>
                  </a:lnTo>
                  <a:lnTo>
                    <a:pt x="591" y="399"/>
                  </a:lnTo>
                  <a:lnTo>
                    <a:pt x="570" y="432"/>
                  </a:lnTo>
                  <a:lnTo>
                    <a:pt x="574" y="454"/>
                  </a:lnTo>
                  <a:lnTo>
                    <a:pt x="537" y="487"/>
                  </a:lnTo>
                  <a:lnTo>
                    <a:pt x="532" y="503"/>
                  </a:lnTo>
                  <a:lnTo>
                    <a:pt x="537" y="522"/>
                  </a:lnTo>
                  <a:lnTo>
                    <a:pt x="523" y="527"/>
                  </a:lnTo>
                  <a:lnTo>
                    <a:pt x="515" y="539"/>
                  </a:lnTo>
                  <a:lnTo>
                    <a:pt x="537" y="555"/>
                  </a:lnTo>
                  <a:lnTo>
                    <a:pt x="532" y="565"/>
                  </a:lnTo>
                  <a:lnTo>
                    <a:pt x="548" y="576"/>
                  </a:lnTo>
                  <a:lnTo>
                    <a:pt x="553" y="598"/>
                  </a:lnTo>
                  <a:lnTo>
                    <a:pt x="591" y="638"/>
                  </a:lnTo>
                  <a:lnTo>
                    <a:pt x="591" y="654"/>
                  </a:lnTo>
                  <a:lnTo>
                    <a:pt x="570" y="671"/>
                  </a:lnTo>
                  <a:lnTo>
                    <a:pt x="629" y="676"/>
                  </a:lnTo>
                  <a:lnTo>
                    <a:pt x="645" y="720"/>
                  </a:lnTo>
                  <a:lnTo>
                    <a:pt x="709" y="720"/>
                  </a:lnTo>
                  <a:lnTo>
                    <a:pt x="763" y="676"/>
                  </a:lnTo>
                  <a:lnTo>
                    <a:pt x="754" y="704"/>
                  </a:lnTo>
                  <a:lnTo>
                    <a:pt x="754" y="787"/>
                  </a:lnTo>
                  <a:lnTo>
                    <a:pt x="763" y="782"/>
                  </a:lnTo>
                  <a:lnTo>
                    <a:pt x="780" y="798"/>
                  </a:lnTo>
                  <a:lnTo>
                    <a:pt x="801" y="782"/>
                  </a:lnTo>
                  <a:lnTo>
                    <a:pt x="834" y="787"/>
                  </a:lnTo>
                  <a:lnTo>
                    <a:pt x="834" y="787"/>
                  </a:lnTo>
                  <a:lnTo>
                    <a:pt x="834" y="78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21" name="Freeform 533">
              <a:extLst>
                <a:ext uri="{FF2B5EF4-FFF2-40B4-BE49-F238E27FC236}">
                  <a16:creationId xmlns:a16="http://schemas.microsoft.com/office/drawing/2014/main" id="{CEF276BF-DBB3-42DE-B501-54DF4CBDD2F8}"/>
                </a:ext>
              </a:extLst>
            </p:cNvPr>
            <p:cNvSpPr>
              <a:spLocks noEditPoints="1"/>
            </p:cNvSpPr>
            <p:nvPr/>
          </p:nvSpPr>
          <p:spPr bwMode="gray">
            <a:xfrm>
              <a:off x="2984206" y="6666703"/>
              <a:ext cx="191553" cy="79239"/>
            </a:xfrm>
            <a:custGeom>
              <a:avLst/>
              <a:gdLst>
                <a:gd name="T0" fmla="*/ 4 w 411"/>
                <a:gd name="T1" fmla="*/ 94 h 170"/>
                <a:gd name="T2" fmla="*/ 16 w 411"/>
                <a:gd name="T3" fmla="*/ 78 h 170"/>
                <a:gd name="T4" fmla="*/ 21 w 411"/>
                <a:gd name="T5" fmla="*/ 45 h 170"/>
                <a:gd name="T6" fmla="*/ 4 w 411"/>
                <a:gd name="T7" fmla="*/ 5 h 170"/>
                <a:gd name="T8" fmla="*/ 33 w 411"/>
                <a:gd name="T9" fmla="*/ 5 h 170"/>
                <a:gd name="T10" fmla="*/ 42 w 411"/>
                <a:gd name="T11" fmla="*/ 16 h 170"/>
                <a:gd name="T12" fmla="*/ 87 w 411"/>
                <a:gd name="T13" fmla="*/ 45 h 170"/>
                <a:gd name="T14" fmla="*/ 108 w 411"/>
                <a:gd name="T15" fmla="*/ 54 h 170"/>
                <a:gd name="T16" fmla="*/ 205 w 411"/>
                <a:gd name="T17" fmla="*/ 28 h 170"/>
                <a:gd name="T18" fmla="*/ 286 w 411"/>
                <a:gd name="T19" fmla="*/ 5 h 170"/>
                <a:gd name="T20" fmla="*/ 314 w 411"/>
                <a:gd name="T21" fmla="*/ 16 h 170"/>
                <a:gd name="T22" fmla="*/ 385 w 411"/>
                <a:gd name="T23" fmla="*/ 61 h 170"/>
                <a:gd name="T24" fmla="*/ 394 w 411"/>
                <a:gd name="T25" fmla="*/ 78 h 170"/>
                <a:gd name="T26" fmla="*/ 411 w 411"/>
                <a:gd name="T27" fmla="*/ 116 h 170"/>
                <a:gd name="T28" fmla="*/ 401 w 411"/>
                <a:gd name="T29" fmla="*/ 137 h 170"/>
                <a:gd name="T30" fmla="*/ 368 w 411"/>
                <a:gd name="T31" fmla="*/ 132 h 170"/>
                <a:gd name="T32" fmla="*/ 368 w 411"/>
                <a:gd name="T33" fmla="*/ 153 h 170"/>
                <a:gd name="T34" fmla="*/ 340 w 411"/>
                <a:gd name="T35" fmla="*/ 149 h 170"/>
                <a:gd name="T36" fmla="*/ 340 w 411"/>
                <a:gd name="T37" fmla="*/ 111 h 170"/>
                <a:gd name="T38" fmla="*/ 347 w 411"/>
                <a:gd name="T39" fmla="*/ 82 h 170"/>
                <a:gd name="T40" fmla="*/ 368 w 411"/>
                <a:gd name="T41" fmla="*/ 99 h 170"/>
                <a:gd name="T42" fmla="*/ 347 w 411"/>
                <a:gd name="T43" fmla="*/ 82 h 170"/>
                <a:gd name="T44" fmla="*/ 314 w 411"/>
                <a:gd name="T45" fmla="*/ 71 h 170"/>
                <a:gd name="T46" fmla="*/ 286 w 411"/>
                <a:gd name="T47" fmla="*/ 28 h 170"/>
                <a:gd name="T48" fmla="*/ 248 w 411"/>
                <a:gd name="T49" fmla="*/ 45 h 170"/>
                <a:gd name="T50" fmla="*/ 231 w 411"/>
                <a:gd name="T51" fmla="*/ 54 h 170"/>
                <a:gd name="T52" fmla="*/ 217 w 411"/>
                <a:gd name="T53" fmla="*/ 82 h 170"/>
                <a:gd name="T54" fmla="*/ 184 w 411"/>
                <a:gd name="T55" fmla="*/ 111 h 170"/>
                <a:gd name="T56" fmla="*/ 193 w 411"/>
                <a:gd name="T57" fmla="*/ 153 h 170"/>
                <a:gd name="T58" fmla="*/ 146 w 411"/>
                <a:gd name="T59" fmla="*/ 170 h 170"/>
                <a:gd name="T60" fmla="*/ 139 w 411"/>
                <a:gd name="T61" fmla="*/ 127 h 170"/>
                <a:gd name="T62" fmla="*/ 130 w 411"/>
                <a:gd name="T63" fmla="*/ 137 h 170"/>
                <a:gd name="T64" fmla="*/ 92 w 411"/>
                <a:gd name="T65" fmla="*/ 99 h 170"/>
                <a:gd name="T66" fmla="*/ 54 w 411"/>
                <a:gd name="T67" fmla="*/ 94 h 170"/>
                <a:gd name="T68" fmla="*/ 16 w 411"/>
                <a:gd name="T69" fmla="*/ 94 h 170"/>
                <a:gd name="T70" fmla="*/ 4 w 411"/>
                <a:gd name="T71" fmla="*/ 111 h 170"/>
                <a:gd name="T72" fmla="*/ 54 w 411"/>
                <a:gd name="T73" fmla="*/ 16 h 170"/>
                <a:gd name="T74" fmla="*/ 54 w 411"/>
                <a:gd name="T75" fmla="*/ 16 h 170"/>
                <a:gd name="T76" fmla="*/ 54 w 411"/>
                <a:gd name="T77" fmla="*/ 16 h 170"/>
                <a:gd name="T78" fmla="*/ 293 w 411"/>
                <a:gd name="T79" fmla="*/ 82 h 170"/>
                <a:gd name="T80" fmla="*/ 293 w 411"/>
                <a:gd name="T81" fmla="*/ 94 h 170"/>
                <a:gd name="T82" fmla="*/ 293 w 411"/>
                <a:gd name="T83" fmla="*/ 82 h 170"/>
                <a:gd name="T84" fmla="*/ 293 w 411"/>
                <a:gd name="T85" fmla="*/ 82 h 170"/>
                <a:gd name="T86" fmla="*/ 92 w 411"/>
                <a:gd name="T87" fmla="*/ 153 h 170"/>
                <a:gd name="T88" fmla="*/ 87 w 411"/>
                <a:gd name="T89" fmla="*/ 153 h 170"/>
                <a:gd name="T90" fmla="*/ 92 w 411"/>
                <a:gd name="T91" fmla="*/ 137 h 170"/>
                <a:gd name="T92" fmla="*/ 92 w 411"/>
                <a:gd name="T93" fmla="*/ 13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1" h="170">
                  <a:moveTo>
                    <a:pt x="4" y="111"/>
                  </a:moveTo>
                  <a:lnTo>
                    <a:pt x="4" y="94"/>
                  </a:lnTo>
                  <a:lnTo>
                    <a:pt x="0" y="94"/>
                  </a:lnTo>
                  <a:lnTo>
                    <a:pt x="16" y="78"/>
                  </a:lnTo>
                  <a:lnTo>
                    <a:pt x="4" y="61"/>
                  </a:lnTo>
                  <a:lnTo>
                    <a:pt x="21" y="45"/>
                  </a:lnTo>
                  <a:lnTo>
                    <a:pt x="4" y="38"/>
                  </a:lnTo>
                  <a:lnTo>
                    <a:pt x="4" y="5"/>
                  </a:lnTo>
                  <a:lnTo>
                    <a:pt x="16" y="0"/>
                  </a:lnTo>
                  <a:lnTo>
                    <a:pt x="33" y="5"/>
                  </a:lnTo>
                  <a:lnTo>
                    <a:pt x="33" y="0"/>
                  </a:lnTo>
                  <a:lnTo>
                    <a:pt x="42" y="16"/>
                  </a:lnTo>
                  <a:lnTo>
                    <a:pt x="54" y="45"/>
                  </a:lnTo>
                  <a:lnTo>
                    <a:pt x="87" y="45"/>
                  </a:lnTo>
                  <a:lnTo>
                    <a:pt x="87" y="28"/>
                  </a:lnTo>
                  <a:lnTo>
                    <a:pt x="108" y="54"/>
                  </a:lnTo>
                  <a:lnTo>
                    <a:pt x="130" y="61"/>
                  </a:lnTo>
                  <a:lnTo>
                    <a:pt x="205" y="28"/>
                  </a:lnTo>
                  <a:lnTo>
                    <a:pt x="238" y="0"/>
                  </a:lnTo>
                  <a:lnTo>
                    <a:pt x="286" y="5"/>
                  </a:lnTo>
                  <a:lnTo>
                    <a:pt x="276" y="16"/>
                  </a:lnTo>
                  <a:lnTo>
                    <a:pt x="314" y="16"/>
                  </a:lnTo>
                  <a:lnTo>
                    <a:pt x="356" y="21"/>
                  </a:lnTo>
                  <a:lnTo>
                    <a:pt x="385" y="61"/>
                  </a:lnTo>
                  <a:lnTo>
                    <a:pt x="401" y="71"/>
                  </a:lnTo>
                  <a:lnTo>
                    <a:pt x="394" y="78"/>
                  </a:lnTo>
                  <a:lnTo>
                    <a:pt x="411" y="111"/>
                  </a:lnTo>
                  <a:lnTo>
                    <a:pt x="411" y="116"/>
                  </a:lnTo>
                  <a:lnTo>
                    <a:pt x="401" y="132"/>
                  </a:lnTo>
                  <a:lnTo>
                    <a:pt x="401" y="137"/>
                  </a:lnTo>
                  <a:lnTo>
                    <a:pt x="385" y="149"/>
                  </a:lnTo>
                  <a:lnTo>
                    <a:pt x="368" y="132"/>
                  </a:lnTo>
                  <a:lnTo>
                    <a:pt x="368" y="149"/>
                  </a:lnTo>
                  <a:lnTo>
                    <a:pt x="368" y="153"/>
                  </a:lnTo>
                  <a:lnTo>
                    <a:pt x="364" y="170"/>
                  </a:lnTo>
                  <a:lnTo>
                    <a:pt x="340" y="149"/>
                  </a:lnTo>
                  <a:lnTo>
                    <a:pt x="323" y="111"/>
                  </a:lnTo>
                  <a:lnTo>
                    <a:pt x="340" y="111"/>
                  </a:lnTo>
                  <a:lnTo>
                    <a:pt x="330" y="94"/>
                  </a:lnTo>
                  <a:lnTo>
                    <a:pt x="347" y="82"/>
                  </a:lnTo>
                  <a:lnTo>
                    <a:pt x="356" y="94"/>
                  </a:lnTo>
                  <a:lnTo>
                    <a:pt x="368" y="99"/>
                  </a:lnTo>
                  <a:lnTo>
                    <a:pt x="356" y="94"/>
                  </a:lnTo>
                  <a:lnTo>
                    <a:pt x="347" y="82"/>
                  </a:lnTo>
                  <a:lnTo>
                    <a:pt x="323" y="94"/>
                  </a:lnTo>
                  <a:lnTo>
                    <a:pt x="314" y="71"/>
                  </a:lnTo>
                  <a:lnTo>
                    <a:pt x="276" y="45"/>
                  </a:lnTo>
                  <a:lnTo>
                    <a:pt x="286" y="28"/>
                  </a:lnTo>
                  <a:lnTo>
                    <a:pt x="276" y="38"/>
                  </a:lnTo>
                  <a:lnTo>
                    <a:pt x="248" y="45"/>
                  </a:lnTo>
                  <a:lnTo>
                    <a:pt x="248" y="45"/>
                  </a:lnTo>
                  <a:lnTo>
                    <a:pt x="231" y="54"/>
                  </a:lnTo>
                  <a:lnTo>
                    <a:pt x="231" y="71"/>
                  </a:lnTo>
                  <a:lnTo>
                    <a:pt x="217" y="82"/>
                  </a:lnTo>
                  <a:lnTo>
                    <a:pt x="179" y="99"/>
                  </a:lnTo>
                  <a:lnTo>
                    <a:pt x="184" y="111"/>
                  </a:lnTo>
                  <a:lnTo>
                    <a:pt x="217" y="149"/>
                  </a:lnTo>
                  <a:lnTo>
                    <a:pt x="193" y="153"/>
                  </a:lnTo>
                  <a:lnTo>
                    <a:pt x="184" y="170"/>
                  </a:lnTo>
                  <a:lnTo>
                    <a:pt x="146" y="170"/>
                  </a:lnTo>
                  <a:lnTo>
                    <a:pt x="151" y="165"/>
                  </a:lnTo>
                  <a:lnTo>
                    <a:pt x="139" y="127"/>
                  </a:lnTo>
                  <a:lnTo>
                    <a:pt x="130" y="127"/>
                  </a:lnTo>
                  <a:lnTo>
                    <a:pt x="130" y="137"/>
                  </a:lnTo>
                  <a:lnTo>
                    <a:pt x="108" y="137"/>
                  </a:lnTo>
                  <a:lnTo>
                    <a:pt x="92" y="99"/>
                  </a:lnTo>
                  <a:lnTo>
                    <a:pt x="59" y="99"/>
                  </a:lnTo>
                  <a:lnTo>
                    <a:pt x="54" y="94"/>
                  </a:lnTo>
                  <a:lnTo>
                    <a:pt x="21" y="94"/>
                  </a:lnTo>
                  <a:lnTo>
                    <a:pt x="16" y="94"/>
                  </a:lnTo>
                  <a:lnTo>
                    <a:pt x="4" y="111"/>
                  </a:lnTo>
                  <a:lnTo>
                    <a:pt x="4" y="111"/>
                  </a:lnTo>
                  <a:lnTo>
                    <a:pt x="4" y="111"/>
                  </a:lnTo>
                  <a:close/>
                  <a:moveTo>
                    <a:pt x="54" y="16"/>
                  </a:moveTo>
                  <a:lnTo>
                    <a:pt x="54" y="21"/>
                  </a:lnTo>
                  <a:lnTo>
                    <a:pt x="54" y="16"/>
                  </a:lnTo>
                  <a:lnTo>
                    <a:pt x="54" y="16"/>
                  </a:lnTo>
                  <a:lnTo>
                    <a:pt x="54" y="16"/>
                  </a:lnTo>
                  <a:lnTo>
                    <a:pt x="54" y="16"/>
                  </a:lnTo>
                  <a:close/>
                  <a:moveTo>
                    <a:pt x="293" y="82"/>
                  </a:moveTo>
                  <a:lnTo>
                    <a:pt x="293" y="94"/>
                  </a:lnTo>
                  <a:lnTo>
                    <a:pt x="293" y="94"/>
                  </a:lnTo>
                  <a:lnTo>
                    <a:pt x="286" y="82"/>
                  </a:lnTo>
                  <a:lnTo>
                    <a:pt x="293" y="82"/>
                  </a:lnTo>
                  <a:lnTo>
                    <a:pt x="293" y="82"/>
                  </a:lnTo>
                  <a:lnTo>
                    <a:pt x="293" y="82"/>
                  </a:lnTo>
                  <a:close/>
                  <a:moveTo>
                    <a:pt x="92" y="137"/>
                  </a:moveTo>
                  <a:lnTo>
                    <a:pt x="92" y="153"/>
                  </a:lnTo>
                  <a:lnTo>
                    <a:pt x="97" y="165"/>
                  </a:lnTo>
                  <a:lnTo>
                    <a:pt x="87" y="153"/>
                  </a:lnTo>
                  <a:lnTo>
                    <a:pt x="87" y="149"/>
                  </a:lnTo>
                  <a:lnTo>
                    <a:pt x="92" y="137"/>
                  </a:lnTo>
                  <a:lnTo>
                    <a:pt x="92" y="137"/>
                  </a:lnTo>
                  <a:lnTo>
                    <a:pt x="92" y="13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22" name="Freeform 547">
              <a:extLst>
                <a:ext uri="{FF2B5EF4-FFF2-40B4-BE49-F238E27FC236}">
                  <a16:creationId xmlns:a16="http://schemas.microsoft.com/office/drawing/2014/main" id="{41DBCDAE-F21E-4739-A99B-716C5F5B4E2A}"/>
                </a:ext>
              </a:extLst>
            </p:cNvPr>
            <p:cNvSpPr>
              <a:spLocks/>
            </p:cNvSpPr>
            <p:nvPr/>
          </p:nvSpPr>
          <p:spPr bwMode="gray">
            <a:xfrm>
              <a:off x="3645550" y="6400083"/>
              <a:ext cx="2330" cy="7924"/>
            </a:xfrm>
            <a:custGeom>
              <a:avLst/>
              <a:gdLst>
                <a:gd name="T0" fmla="*/ 5 w 5"/>
                <a:gd name="T1" fmla="*/ 17 h 17"/>
                <a:gd name="T2" fmla="*/ 0 w 5"/>
                <a:gd name="T3" fmla="*/ 0 h 17"/>
                <a:gd name="T4" fmla="*/ 5 w 5"/>
                <a:gd name="T5" fmla="*/ 0 h 17"/>
                <a:gd name="T6" fmla="*/ 5 w 5"/>
                <a:gd name="T7" fmla="*/ 17 h 17"/>
                <a:gd name="T8" fmla="*/ 5 w 5"/>
                <a:gd name="T9" fmla="*/ 17 h 17"/>
                <a:gd name="T10" fmla="*/ 5 w 5"/>
                <a:gd name="T11" fmla="*/ 17 h 17"/>
              </a:gdLst>
              <a:ahLst/>
              <a:cxnLst>
                <a:cxn ang="0">
                  <a:pos x="T0" y="T1"/>
                </a:cxn>
                <a:cxn ang="0">
                  <a:pos x="T2" y="T3"/>
                </a:cxn>
                <a:cxn ang="0">
                  <a:pos x="T4" y="T5"/>
                </a:cxn>
                <a:cxn ang="0">
                  <a:pos x="T6" y="T7"/>
                </a:cxn>
                <a:cxn ang="0">
                  <a:pos x="T8" y="T9"/>
                </a:cxn>
                <a:cxn ang="0">
                  <a:pos x="T10" y="T11"/>
                </a:cxn>
              </a:cxnLst>
              <a:rect l="0" t="0" r="r" b="b"/>
              <a:pathLst>
                <a:path w="5" h="17">
                  <a:moveTo>
                    <a:pt x="5" y="17"/>
                  </a:moveTo>
                  <a:lnTo>
                    <a:pt x="0" y="0"/>
                  </a:lnTo>
                  <a:lnTo>
                    <a:pt x="5" y="0"/>
                  </a:lnTo>
                  <a:lnTo>
                    <a:pt x="5" y="17"/>
                  </a:lnTo>
                  <a:lnTo>
                    <a:pt x="5" y="17"/>
                  </a:lnTo>
                  <a:lnTo>
                    <a:pt x="5"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23" name="Freeform 559">
              <a:extLst>
                <a:ext uri="{FF2B5EF4-FFF2-40B4-BE49-F238E27FC236}">
                  <a16:creationId xmlns:a16="http://schemas.microsoft.com/office/drawing/2014/main" id="{B6EDB8D7-E279-43CF-855A-7D2ED2A9A3D9}"/>
                </a:ext>
              </a:extLst>
            </p:cNvPr>
            <p:cNvSpPr>
              <a:spLocks/>
            </p:cNvSpPr>
            <p:nvPr/>
          </p:nvSpPr>
          <p:spPr bwMode="gray">
            <a:xfrm>
              <a:off x="3704275" y="6514748"/>
              <a:ext cx="7457" cy="9788"/>
            </a:xfrm>
            <a:custGeom>
              <a:avLst/>
              <a:gdLst>
                <a:gd name="T0" fmla="*/ 4 w 16"/>
                <a:gd name="T1" fmla="*/ 21 h 21"/>
                <a:gd name="T2" fmla="*/ 0 w 16"/>
                <a:gd name="T3" fmla="*/ 16 h 21"/>
                <a:gd name="T4" fmla="*/ 4 w 16"/>
                <a:gd name="T5" fmla="*/ 0 h 21"/>
                <a:gd name="T6" fmla="*/ 16 w 16"/>
                <a:gd name="T7" fmla="*/ 9 h 21"/>
                <a:gd name="T8" fmla="*/ 4 w 16"/>
                <a:gd name="T9" fmla="*/ 21 h 21"/>
                <a:gd name="T10" fmla="*/ 4 w 16"/>
                <a:gd name="T11" fmla="*/ 21 h 21"/>
                <a:gd name="T12" fmla="*/ 4 w 16"/>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6" h="21">
                  <a:moveTo>
                    <a:pt x="4" y="21"/>
                  </a:moveTo>
                  <a:lnTo>
                    <a:pt x="0" y="16"/>
                  </a:lnTo>
                  <a:lnTo>
                    <a:pt x="4" y="0"/>
                  </a:lnTo>
                  <a:lnTo>
                    <a:pt x="16" y="9"/>
                  </a:lnTo>
                  <a:lnTo>
                    <a:pt x="4" y="21"/>
                  </a:lnTo>
                  <a:lnTo>
                    <a:pt x="4" y="21"/>
                  </a:lnTo>
                  <a:lnTo>
                    <a:pt x="4" y="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24" name="Freeform 569">
              <a:extLst>
                <a:ext uri="{FF2B5EF4-FFF2-40B4-BE49-F238E27FC236}">
                  <a16:creationId xmlns:a16="http://schemas.microsoft.com/office/drawing/2014/main" id="{17D9D7EF-85F4-41D7-992F-0BA4CCDA1A84}"/>
                </a:ext>
              </a:extLst>
            </p:cNvPr>
            <p:cNvSpPr>
              <a:spLocks noEditPoints="1"/>
            </p:cNvSpPr>
            <p:nvPr/>
          </p:nvSpPr>
          <p:spPr bwMode="gray">
            <a:xfrm>
              <a:off x="3344007" y="6240673"/>
              <a:ext cx="12118" cy="7458"/>
            </a:xfrm>
            <a:custGeom>
              <a:avLst/>
              <a:gdLst>
                <a:gd name="T0" fmla="*/ 14 w 26"/>
                <a:gd name="T1" fmla="*/ 11 h 16"/>
                <a:gd name="T2" fmla="*/ 0 w 26"/>
                <a:gd name="T3" fmla="*/ 0 h 16"/>
                <a:gd name="T4" fmla="*/ 5 w 26"/>
                <a:gd name="T5" fmla="*/ 0 h 16"/>
                <a:gd name="T6" fmla="*/ 14 w 26"/>
                <a:gd name="T7" fmla="*/ 11 h 16"/>
                <a:gd name="T8" fmla="*/ 14 w 26"/>
                <a:gd name="T9" fmla="*/ 11 h 16"/>
                <a:gd name="T10" fmla="*/ 14 w 26"/>
                <a:gd name="T11" fmla="*/ 11 h 16"/>
                <a:gd name="T12" fmla="*/ 26 w 26"/>
                <a:gd name="T13" fmla="*/ 16 h 16"/>
                <a:gd name="T14" fmla="*/ 14 w 26"/>
                <a:gd name="T15" fmla="*/ 16 h 16"/>
                <a:gd name="T16" fmla="*/ 14 w 26"/>
                <a:gd name="T17" fmla="*/ 11 h 16"/>
                <a:gd name="T18" fmla="*/ 21 w 26"/>
                <a:gd name="T19" fmla="*/ 11 h 16"/>
                <a:gd name="T20" fmla="*/ 26 w 26"/>
                <a:gd name="T21" fmla="*/ 16 h 16"/>
                <a:gd name="T22" fmla="*/ 26 w 26"/>
                <a:gd name="T23" fmla="*/ 16 h 16"/>
                <a:gd name="T24" fmla="*/ 26 w 26"/>
                <a:gd name="T2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6">
                  <a:moveTo>
                    <a:pt x="14" y="11"/>
                  </a:moveTo>
                  <a:lnTo>
                    <a:pt x="0" y="0"/>
                  </a:lnTo>
                  <a:lnTo>
                    <a:pt x="5" y="0"/>
                  </a:lnTo>
                  <a:lnTo>
                    <a:pt x="14" y="11"/>
                  </a:lnTo>
                  <a:lnTo>
                    <a:pt x="14" y="11"/>
                  </a:lnTo>
                  <a:lnTo>
                    <a:pt x="14" y="11"/>
                  </a:lnTo>
                  <a:close/>
                  <a:moveTo>
                    <a:pt x="26" y="16"/>
                  </a:moveTo>
                  <a:lnTo>
                    <a:pt x="14" y="16"/>
                  </a:lnTo>
                  <a:lnTo>
                    <a:pt x="14" y="11"/>
                  </a:lnTo>
                  <a:lnTo>
                    <a:pt x="21" y="11"/>
                  </a:lnTo>
                  <a:lnTo>
                    <a:pt x="26" y="16"/>
                  </a:lnTo>
                  <a:lnTo>
                    <a:pt x="26" y="16"/>
                  </a:lnTo>
                  <a:lnTo>
                    <a:pt x="26" y="1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26" name="Freeform 586">
              <a:extLst>
                <a:ext uri="{FF2B5EF4-FFF2-40B4-BE49-F238E27FC236}">
                  <a16:creationId xmlns:a16="http://schemas.microsoft.com/office/drawing/2014/main" id="{7DF15CAD-C71C-48C2-82BA-4D763440375C}"/>
                </a:ext>
              </a:extLst>
            </p:cNvPr>
            <p:cNvSpPr>
              <a:spLocks/>
            </p:cNvSpPr>
            <p:nvPr/>
          </p:nvSpPr>
          <p:spPr bwMode="gray">
            <a:xfrm>
              <a:off x="3696351" y="6538987"/>
              <a:ext cx="933" cy="9788"/>
            </a:xfrm>
            <a:custGeom>
              <a:avLst/>
              <a:gdLst>
                <a:gd name="T0" fmla="*/ 2 w 2"/>
                <a:gd name="T1" fmla="*/ 21 h 21"/>
                <a:gd name="T2" fmla="*/ 0 w 2"/>
                <a:gd name="T3" fmla="*/ 14 h 21"/>
                <a:gd name="T4" fmla="*/ 2 w 2"/>
                <a:gd name="T5" fmla="*/ 0 h 21"/>
                <a:gd name="T6" fmla="*/ 2 w 2"/>
                <a:gd name="T7" fmla="*/ 5 h 21"/>
                <a:gd name="T8" fmla="*/ 2 w 2"/>
                <a:gd name="T9" fmla="*/ 21 h 21"/>
                <a:gd name="T10" fmla="*/ 2 w 2"/>
                <a:gd name="T11" fmla="*/ 21 h 21"/>
                <a:gd name="T12" fmla="*/ 2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2" y="21"/>
                  </a:moveTo>
                  <a:lnTo>
                    <a:pt x="0" y="14"/>
                  </a:lnTo>
                  <a:lnTo>
                    <a:pt x="2" y="0"/>
                  </a:lnTo>
                  <a:lnTo>
                    <a:pt x="2" y="5"/>
                  </a:lnTo>
                  <a:lnTo>
                    <a:pt x="2" y="21"/>
                  </a:lnTo>
                  <a:lnTo>
                    <a:pt x="2" y="21"/>
                  </a:lnTo>
                  <a:lnTo>
                    <a:pt x="2" y="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27" name="Freeform 587">
              <a:extLst>
                <a:ext uri="{FF2B5EF4-FFF2-40B4-BE49-F238E27FC236}">
                  <a16:creationId xmlns:a16="http://schemas.microsoft.com/office/drawing/2014/main" id="{D5AE8239-33AB-4C01-8AB3-E186BCC576F7}"/>
                </a:ext>
              </a:extLst>
            </p:cNvPr>
            <p:cNvSpPr>
              <a:spLocks noEditPoints="1"/>
            </p:cNvSpPr>
            <p:nvPr/>
          </p:nvSpPr>
          <p:spPr bwMode="gray">
            <a:xfrm>
              <a:off x="3302061" y="6576276"/>
              <a:ext cx="439498" cy="394334"/>
            </a:xfrm>
            <a:custGeom>
              <a:avLst/>
              <a:gdLst>
                <a:gd name="T0" fmla="*/ 900 w 943"/>
                <a:gd name="T1" fmla="*/ 324 h 846"/>
                <a:gd name="T2" fmla="*/ 905 w 943"/>
                <a:gd name="T3" fmla="*/ 366 h 846"/>
                <a:gd name="T4" fmla="*/ 851 w 943"/>
                <a:gd name="T5" fmla="*/ 439 h 846"/>
                <a:gd name="T6" fmla="*/ 879 w 943"/>
                <a:gd name="T7" fmla="*/ 550 h 846"/>
                <a:gd name="T8" fmla="*/ 813 w 943"/>
                <a:gd name="T9" fmla="*/ 584 h 846"/>
                <a:gd name="T10" fmla="*/ 744 w 943"/>
                <a:gd name="T11" fmla="*/ 600 h 846"/>
                <a:gd name="T12" fmla="*/ 669 w 943"/>
                <a:gd name="T13" fmla="*/ 607 h 846"/>
                <a:gd name="T14" fmla="*/ 610 w 943"/>
                <a:gd name="T15" fmla="*/ 600 h 846"/>
                <a:gd name="T16" fmla="*/ 702 w 943"/>
                <a:gd name="T17" fmla="*/ 718 h 846"/>
                <a:gd name="T18" fmla="*/ 631 w 943"/>
                <a:gd name="T19" fmla="*/ 780 h 846"/>
                <a:gd name="T20" fmla="*/ 560 w 943"/>
                <a:gd name="T21" fmla="*/ 824 h 846"/>
                <a:gd name="T22" fmla="*/ 527 w 943"/>
                <a:gd name="T23" fmla="*/ 824 h 846"/>
                <a:gd name="T24" fmla="*/ 430 w 943"/>
                <a:gd name="T25" fmla="*/ 718 h 846"/>
                <a:gd name="T26" fmla="*/ 400 w 943"/>
                <a:gd name="T27" fmla="*/ 612 h 846"/>
                <a:gd name="T28" fmla="*/ 414 w 943"/>
                <a:gd name="T29" fmla="*/ 456 h 846"/>
                <a:gd name="T30" fmla="*/ 296 w 943"/>
                <a:gd name="T31" fmla="*/ 439 h 846"/>
                <a:gd name="T32" fmla="*/ 215 w 943"/>
                <a:gd name="T33" fmla="*/ 385 h 846"/>
                <a:gd name="T34" fmla="*/ 81 w 943"/>
                <a:gd name="T35" fmla="*/ 362 h 846"/>
                <a:gd name="T36" fmla="*/ 43 w 943"/>
                <a:gd name="T37" fmla="*/ 267 h 846"/>
                <a:gd name="T38" fmla="*/ 22 w 943"/>
                <a:gd name="T39" fmla="*/ 184 h 846"/>
                <a:gd name="T40" fmla="*/ 144 w 943"/>
                <a:gd name="T41" fmla="*/ 28 h 846"/>
                <a:gd name="T42" fmla="*/ 81 w 943"/>
                <a:gd name="T43" fmla="*/ 177 h 846"/>
                <a:gd name="T44" fmla="*/ 161 w 943"/>
                <a:gd name="T45" fmla="*/ 213 h 846"/>
                <a:gd name="T46" fmla="*/ 199 w 943"/>
                <a:gd name="T47" fmla="*/ 73 h 846"/>
                <a:gd name="T48" fmla="*/ 241 w 943"/>
                <a:gd name="T49" fmla="*/ 45 h 846"/>
                <a:gd name="T50" fmla="*/ 241 w 943"/>
                <a:gd name="T51" fmla="*/ 12 h 846"/>
                <a:gd name="T52" fmla="*/ 362 w 943"/>
                <a:gd name="T53" fmla="*/ 99 h 846"/>
                <a:gd name="T54" fmla="*/ 506 w 943"/>
                <a:gd name="T55" fmla="*/ 123 h 846"/>
                <a:gd name="T56" fmla="*/ 636 w 943"/>
                <a:gd name="T57" fmla="*/ 128 h 846"/>
                <a:gd name="T58" fmla="*/ 685 w 943"/>
                <a:gd name="T59" fmla="*/ 123 h 846"/>
                <a:gd name="T60" fmla="*/ 770 w 943"/>
                <a:gd name="T61" fmla="*/ 128 h 846"/>
                <a:gd name="T62" fmla="*/ 723 w 943"/>
                <a:gd name="T63" fmla="*/ 139 h 846"/>
                <a:gd name="T64" fmla="*/ 754 w 943"/>
                <a:gd name="T65" fmla="*/ 156 h 846"/>
                <a:gd name="T66" fmla="*/ 770 w 943"/>
                <a:gd name="T67" fmla="*/ 184 h 846"/>
                <a:gd name="T68" fmla="*/ 792 w 943"/>
                <a:gd name="T69" fmla="*/ 177 h 846"/>
                <a:gd name="T70" fmla="*/ 808 w 943"/>
                <a:gd name="T71" fmla="*/ 177 h 846"/>
                <a:gd name="T72" fmla="*/ 879 w 943"/>
                <a:gd name="T73" fmla="*/ 213 h 846"/>
                <a:gd name="T74" fmla="*/ 851 w 943"/>
                <a:gd name="T75" fmla="*/ 267 h 846"/>
                <a:gd name="T76" fmla="*/ 863 w 943"/>
                <a:gd name="T77" fmla="*/ 279 h 846"/>
                <a:gd name="T78" fmla="*/ 938 w 943"/>
                <a:gd name="T79" fmla="*/ 272 h 846"/>
                <a:gd name="T80" fmla="*/ 506 w 943"/>
                <a:gd name="T81" fmla="*/ 33 h 846"/>
                <a:gd name="T82" fmla="*/ 648 w 943"/>
                <a:gd name="T83" fmla="*/ 99 h 846"/>
                <a:gd name="T84" fmla="*/ 664 w 943"/>
                <a:gd name="T85" fmla="*/ 83 h 846"/>
                <a:gd name="T86" fmla="*/ 565 w 943"/>
                <a:gd name="T87" fmla="*/ 99 h 846"/>
                <a:gd name="T88" fmla="*/ 565 w 943"/>
                <a:gd name="T89" fmla="*/ 99 h 846"/>
                <a:gd name="T90" fmla="*/ 879 w 943"/>
                <a:gd name="T91" fmla="*/ 234 h 846"/>
                <a:gd name="T92" fmla="*/ 867 w 943"/>
                <a:gd name="T93" fmla="*/ 250 h 846"/>
                <a:gd name="T94" fmla="*/ 879 w 943"/>
                <a:gd name="T95" fmla="*/ 250 h 846"/>
                <a:gd name="T96" fmla="*/ 867 w 943"/>
                <a:gd name="T97" fmla="*/ 267 h 846"/>
                <a:gd name="T98" fmla="*/ 867 w 943"/>
                <a:gd name="T99" fmla="*/ 267 h 846"/>
                <a:gd name="T100" fmla="*/ 863 w 943"/>
                <a:gd name="T101" fmla="*/ 267 h 846"/>
                <a:gd name="T102" fmla="*/ 851 w 943"/>
                <a:gd name="T103" fmla="*/ 272 h 846"/>
                <a:gd name="T104" fmla="*/ 867 w 943"/>
                <a:gd name="T105" fmla="*/ 267 h 846"/>
                <a:gd name="T106" fmla="*/ 825 w 943"/>
                <a:gd name="T107" fmla="*/ 272 h 846"/>
                <a:gd name="T108" fmla="*/ 846 w 943"/>
                <a:gd name="T109" fmla="*/ 272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43" h="846">
                  <a:moveTo>
                    <a:pt x="938" y="272"/>
                  </a:moveTo>
                  <a:lnTo>
                    <a:pt x="943" y="295"/>
                  </a:lnTo>
                  <a:lnTo>
                    <a:pt x="938" y="295"/>
                  </a:lnTo>
                  <a:lnTo>
                    <a:pt x="933" y="307"/>
                  </a:lnTo>
                  <a:lnTo>
                    <a:pt x="900" y="324"/>
                  </a:lnTo>
                  <a:lnTo>
                    <a:pt x="884" y="345"/>
                  </a:lnTo>
                  <a:lnTo>
                    <a:pt x="889" y="362"/>
                  </a:lnTo>
                  <a:lnTo>
                    <a:pt x="889" y="366"/>
                  </a:lnTo>
                  <a:lnTo>
                    <a:pt x="900" y="378"/>
                  </a:lnTo>
                  <a:lnTo>
                    <a:pt x="905" y="366"/>
                  </a:lnTo>
                  <a:lnTo>
                    <a:pt x="917" y="378"/>
                  </a:lnTo>
                  <a:lnTo>
                    <a:pt x="884" y="402"/>
                  </a:lnTo>
                  <a:lnTo>
                    <a:pt x="851" y="402"/>
                  </a:lnTo>
                  <a:lnTo>
                    <a:pt x="851" y="418"/>
                  </a:lnTo>
                  <a:lnTo>
                    <a:pt x="851" y="439"/>
                  </a:lnTo>
                  <a:lnTo>
                    <a:pt x="837" y="463"/>
                  </a:lnTo>
                  <a:lnTo>
                    <a:pt x="884" y="513"/>
                  </a:lnTo>
                  <a:lnTo>
                    <a:pt x="889" y="517"/>
                  </a:lnTo>
                  <a:lnTo>
                    <a:pt x="889" y="534"/>
                  </a:lnTo>
                  <a:lnTo>
                    <a:pt x="879" y="550"/>
                  </a:lnTo>
                  <a:lnTo>
                    <a:pt x="867" y="558"/>
                  </a:lnTo>
                  <a:lnTo>
                    <a:pt x="846" y="567"/>
                  </a:lnTo>
                  <a:lnTo>
                    <a:pt x="830" y="574"/>
                  </a:lnTo>
                  <a:lnTo>
                    <a:pt x="825" y="584"/>
                  </a:lnTo>
                  <a:lnTo>
                    <a:pt x="813" y="584"/>
                  </a:lnTo>
                  <a:lnTo>
                    <a:pt x="808" y="591"/>
                  </a:lnTo>
                  <a:lnTo>
                    <a:pt x="782" y="591"/>
                  </a:lnTo>
                  <a:lnTo>
                    <a:pt x="761" y="591"/>
                  </a:lnTo>
                  <a:lnTo>
                    <a:pt x="754" y="600"/>
                  </a:lnTo>
                  <a:lnTo>
                    <a:pt x="744" y="600"/>
                  </a:lnTo>
                  <a:lnTo>
                    <a:pt x="744" y="624"/>
                  </a:lnTo>
                  <a:lnTo>
                    <a:pt x="728" y="628"/>
                  </a:lnTo>
                  <a:lnTo>
                    <a:pt x="702" y="607"/>
                  </a:lnTo>
                  <a:lnTo>
                    <a:pt x="690" y="612"/>
                  </a:lnTo>
                  <a:lnTo>
                    <a:pt x="669" y="607"/>
                  </a:lnTo>
                  <a:lnTo>
                    <a:pt x="652" y="607"/>
                  </a:lnTo>
                  <a:lnTo>
                    <a:pt x="648" y="591"/>
                  </a:lnTo>
                  <a:lnTo>
                    <a:pt x="615" y="591"/>
                  </a:lnTo>
                  <a:lnTo>
                    <a:pt x="598" y="584"/>
                  </a:lnTo>
                  <a:lnTo>
                    <a:pt x="610" y="600"/>
                  </a:lnTo>
                  <a:lnTo>
                    <a:pt x="636" y="628"/>
                  </a:lnTo>
                  <a:lnTo>
                    <a:pt x="636" y="662"/>
                  </a:lnTo>
                  <a:lnTo>
                    <a:pt x="652" y="695"/>
                  </a:lnTo>
                  <a:lnTo>
                    <a:pt x="652" y="711"/>
                  </a:lnTo>
                  <a:lnTo>
                    <a:pt x="702" y="718"/>
                  </a:lnTo>
                  <a:lnTo>
                    <a:pt x="702" y="735"/>
                  </a:lnTo>
                  <a:lnTo>
                    <a:pt x="652" y="751"/>
                  </a:lnTo>
                  <a:lnTo>
                    <a:pt x="648" y="773"/>
                  </a:lnTo>
                  <a:lnTo>
                    <a:pt x="636" y="780"/>
                  </a:lnTo>
                  <a:lnTo>
                    <a:pt x="631" y="780"/>
                  </a:lnTo>
                  <a:lnTo>
                    <a:pt x="610" y="796"/>
                  </a:lnTo>
                  <a:lnTo>
                    <a:pt x="598" y="796"/>
                  </a:lnTo>
                  <a:lnTo>
                    <a:pt x="577" y="806"/>
                  </a:lnTo>
                  <a:lnTo>
                    <a:pt x="565" y="824"/>
                  </a:lnTo>
                  <a:lnTo>
                    <a:pt x="560" y="824"/>
                  </a:lnTo>
                  <a:lnTo>
                    <a:pt x="544" y="846"/>
                  </a:lnTo>
                  <a:lnTo>
                    <a:pt x="544" y="841"/>
                  </a:lnTo>
                  <a:lnTo>
                    <a:pt x="544" y="824"/>
                  </a:lnTo>
                  <a:lnTo>
                    <a:pt x="544" y="824"/>
                  </a:lnTo>
                  <a:lnTo>
                    <a:pt x="527" y="824"/>
                  </a:lnTo>
                  <a:lnTo>
                    <a:pt x="506" y="841"/>
                  </a:lnTo>
                  <a:lnTo>
                    <a:pt x="489" y="841"/>
                  </a:lnTo>
                  <a:lnTo>
                    <a:pt x="452" y="806"/>
                  </a:lnTo>
                  <a:lnTo>
                    <a:pt x="430" y="723"/>
                  </a:lnTo>
                  <a:lnTo>
                    <a:pt x="430" y="718"/>
                  </a:lnTo>
                  <a:lnTo>
                    <a:pt x="400" y="685"/>
                  </a:lnTo>
                  <a:lnTo>
                    <a:pt x="383" y="685"/>
                  </a:lnTo>
                  <a:lnTo>
                    <a:pt x="421" y="645"/>
                  </a:lnTo>
                  <a:lnTo>
                    <a:pt x="404" y="624"/>
                  </a:lnTo>
                  <a:lnTo>
                    <a:pt x="400" y="612"/>
                  </a:lnTo>
                  <a:lnTo>
                    <a:pt x="383" y="558"/>
                  </a:lnTo>
                  <a:lnTo>
                    <a:pt x="383" y="501"/>
                  </a:lnTo>
                  <a:lnTo>
                    <a:pt x="400" y="489"/>
                  </a:lnTo>
                  <a:lnTo>
                    <a:pt x="400" y="473"/>
                  </a:lnTo>
                  <a:lnTo>
                    <a:pt x="414" y="456"/>
                  </a:lnTo>
                  <a:lnTo>
                    <a:pt x="414" y="439"/>
                  </a:lnTo>
                  <a:lnTo>
                    <a:pt x="383" y="435"/>
                  </a:lnTo>
                  <a:lnTo>
                    <a:pt x="378" y="439"/>
                  </a:lnTo>
                  <a:lnTo>
                    <a:pt x="329" y="444"/>
                  </a:lnTo>
                  <a:lnTo>
                    <a:pt x="296" y="439"/>
                  </a:lnTo>
                  <a:lnTo>
                    <a:pt x="291" y="444"/>
                  </a:lnTo>
                  <a:lnTo>
                    <a:pt x="279" y="444"/>
                  </a:lnTo>
                  <a:lnTo>
                    <a:pt x="274" y="444"/>
                  </a:lnTo>
                  <a:lnTo>
                    <a:pt x="227" y="385"/>
                  </a:lnTo>
                  <a:lnTo>
                    <a:pt x="215" y="385"/>
                  </a:lnTo>
                  <a:lnTo>
                    <a:pt x="182" y="378"/>
                  </a:lnTo>
                  <a:lnTo>
                    <a:pt x="152" y="385"/>
                  </a:lnTo>
                  <a:lnTo>
                    <a:pt x="119" y="378"/>
                  </a:lnTo>
                  <a:lnTo>
                    <a:pt x="90" y="385"/>
                  </a:lnTo>
                  <a:lnTo>
                    <a:pt x="81" y="362"/>
                  </a:lnTo>
                  <a:lnTo>
                    <a:pt x="59" y="345"/>
                  </a:lnTo>
                  <a:lnTo>
                    <a:pt x="59" y="312"/>
                  </a:lnTo>
                  <a:lnTo>
                    <a:pt x="64" y="307"/>
                  </a:lnTo>
                  <a:lnTo>
                    <a:pt x="64" y="279"/>
                  </a:lnTo>
                  <a:lnTo>
                    <a:pt x="43" y="267"/>
                  </a:lnTo>
                  <a:lnTo>
                    <a:pt x="38" y="234"/>
                  </a:lnTo>
                  <a:lnTo>
                    <a:pt x="26" y="222"/>
                  </a:lnTo>
                  <a:lnTo>
                    <a:pt x="22" y="217"/>
                  </a:lnTo>
                  <a:lnTo>
                    <a:pt x="0" y="222"/>
                  </a:lnTo>
                  <a:lnTo>
                    <a:pt x="22" y="184"/>
                  </a:lnTo>
                  <a:lnTo>
                    <a:pt x="26" y="128"/>
                  </a:lnTo>
                  <a:lnTo>
                    <a:pt x="59" y="83"/>
                  </a:lnTo>
                  <a:lnTo>
                    <a:pt x="81" y="73"/>
                  </a:lnTo>
                  <a:lnTo>
                    <a:pt x="97" y="45"/>
                  </a:lnTo>
                  <a:lnTo>
                    <a:pt x="144" y="28"/>
                  </a:lnTo>
                  <a:lnTo>
                    <a:pt x="135" y="33"/>
                  </a:lnTo>
                  <a:lnTo>
                    <a:pt x="97" y="50"/>
                  </a:lnTo>
                  <a:lnTo>
                    <a:pt x="119" y="111"/>
                  </a:lnTo>
                  <a:lnTo>
                    <a:pt x="119" y="128"/>
                  </a:lnTo>
                  <a:lnTo>
                    <a:pt x="81" y="177"/>
                  </a:lnTo>
                  <a:lnTo>
                    <a:pt x="114" y="213"/>
                  </a:lnTo>
                  <a:lnTo>
                    <a:pt x="114" y="222"/>
                  </a:lnTo>
                  <a:lnTo>
                    <a:pt x="119" y="234"/>
                  </a:lnTo>
                  <a:lnTo>
                    <a:pt x="144" y="222"/>
                  </a:lnTo>
                  <a:lnTo>
                    <a:pt x="161" y="213"/>
                  </a:lnTo>
                  <a:lnTo>
                    <a:pt x="161" y="177"/>
                  </a:lnTo>
                  <a:lnTo>
                    <a:pt x="128" y="123"/>
                  </a:lnTo>
                  <a:lnTo>
                    <a:pt x="128" y="106"/>
                  </a:lnTo>
                  <a:lnTo>
                    <a:pt x="128" y="99"/>
                  </a:lnTo>
                  <a:lnTo>
                    <a:pt x="199" y="73"/>
                  </a:lnTo>
                  <a:lnTo>
                    <a:pt x="227" y="57"/>
                  </a:lnTo>
                  <a:lnTo>
                    <a:pt x="227" y="50"/>
                  </a:lnTo>
                  <a:lnTo>
                    <a:pt x="241" y="57"/>
                  </a:lnTo>
                  <a:lnTo>
                    <a:pt x="253" y="57"/>
                  </a:lnTo>
                  <a:lnTo>
                    <a:pt x="241" y="45"/>
                  </a:lnTo>
                  <a:lnTo>
                    <a:pt x="215" y="45"/>
                  </a:lnTo>
                  <a:lnTo>
                    <a:pt x="215" y="28"/>
                  </a:lnTo>
                  <a:lnTo>
                    <a:pt x="220" y="12"/>
                  </a:lnTo>
                  <a:lnTo>
                    <a:pt x="237" y="0"/>
                  </a:lnTo>
                  <a:lnTo>
                    <a:pt x="241" y="12"/>
                  </a:lnTo>
                  <a:lnTo>
                    <a:pt x="258" y="57"/>
                  </a:lnTo>
                  <a:lnTo>
                    <a:pt x="279" y="50"/>
                  </a:lnTo>
                  <a:lnTo>
                    <a:pt x="312" y="57"/>
                  </a:lnTo>
                  <a:lnTo>
                    <a:pt x="345" y="83"/>
                  </a:lnTo>
                  <a:lnTo>
                    <a:pt x="362" y="99"/>
                  </a:lnTo>
                  <a:lnTo>
                    <a:pt x="350" y="106"/>
                  </a:lnTo>
                  <a:lnTo>
                    <a:pt x="350" y="123"/>
                  </a:lnTo>
                  <a:lnTo>
                    <a:pt x="367" y="128"/>
                  </a:lnTo>
                  <a:lnTo>
                    <a:pt x="501" y="123"/>
                  </a:lnTo>
                  <a:lnTo>
                    <a:pt x="506" y="123"/>
                  </a:lnTo>
                  <a:lnTo>
                    <a:pt x="506" y="128"/>
                  </a:lnTo>
                  <a:lnTo>
                    <a:pt x="527" y="144"/>
                  </a:lnTo>
                  <a:lnTo>
                    <a:pt x="577" y="161"/>
                  </a:lnTo>
                  <a:lnTo>
                    <a:pt x="598" y="161"/>
                  </a:lnTo>
                  <a:lnTo>
                    <a:pt x="636" y="128"/>
                  </a:lnTo>
                  <a:lnTo>
                    <a:pt x="674" y="128"/>
                  </a:lnTo>
                  <a:lnTo>
                    <a:pt x="652" y="123"/>
                  </a:lnTo>
                  <a:lnTo>
                    <a:pt x="636" y="128"/>
                  </a:lnTo>
                  <a:lnTo>
                    <a:pt x="636" y="111"/>
                  </a:lnTo>
                  <a:lnTo>
                    <a:pt x="685" y="123"/>
                  </a:lnTo>
                  <a:lnTo>
                    <a:pt x="716" y="111"/>
                  </a:lnTo>
                  <a:lnTo>
                    <a:pt x="799" y="111"/>
                  </a:lnTo>
                  <a:lnTo>
                    <a:pt x="799" y="111"/>
                  </a:lnTo>
                  <a:lnTo>
                    <a:pt x="778" y="123"/>
                  </a:lnTo>
                  <a:lnTo>
                    <a:pt x="770" y="128"/>
                  </a:lnTo>
                  <a:lnTo>
                    <a:pt x="728" y="128"/>
                  </a:lnTo>
                  <a:lnTo>
                    <a:pt x="723" y="128"/>
                  </a:lnTo>
                  <a:lnTo>
                    <a:pt x="740" y="128"/>
                  </a:lnTo>
                  <a:lnTo>
                    <a:pt x="740" y="139"/>
                  </a:lnTo>
                  <a:lnTo>
                    <a:pt x="723" y="139"/>
                  </a:lnTo>
                  <a:lnTo>
                    <a:pt x="723" y="144"/>
                  </a:lnTo>
                  <a:lnTo>
                    <a:pt x="728" y="144"/>
                  </a:lnTo>
                  <a:lnTo>
                    <a:pt x="728" y="139"/>
                  </a:lnTo>
                  <a:lnTo>
                    <a:pt x="740" y="139"/>
                  </a:lnTo>
                  <a:lnTo>
                    <a:pt x="754" y="156"/>
                  </a:lnTo>
                  <a:lnTo>
                    <a:pt x="723" y="161"/>
                  </a:lnTo>
                  <a:lnTo>
                    <a:pt x="740" y="161"/>
                  </a:lnTo>
                  <a:lnTo>
                    <a:pt x="754" y="161"/>
                  </a:lnTo>
                  <a:lnTo>
                    <a:pt x="754" y="144"/>
                  </a:lnTo>
                  <a:lnTo>
                    <a:pt x="770" y="184"/>
                  </a:lnTo>
                  <a:lnTo>
                    <a:pt x="778" y="168"/>
                  </a:lnTo>
                  <a:lnTo>
                    <a:pt x="778" y="168"/>
                  </a:lnTo>
                  <a:lnTo>
                    <a:pt x="778" y="194"/>
                  </a:lnTo>
                  <a:lnTo>
                    <a:pt x="782" y="177"/>
                  </a:lnTo>
                  <a:lnTo>
                    <a:pt x="792" y="177"/>
                  </a:lnTo>
                  <a:lnTo>
                    <a:pt x="778" y="168"/>
                  </a:lnTo>
                  <a:lnTo>
                    <a:pt x="782" y="161"/>
                  </a:lnTo>
                  <a:lnTo>
                    <a:pt x="799" y="168"/>
                  </a:lnTo>
                  <a:lnTo>
                    <a:pt x="813" y="194"/>
                  </a:lnTo>
                  <a:lnTo>
                    <a:pt x="808" y="177"/>
                  </a:lnTo>
                  <a:lnTo>
                    <a:pt x="825" y="177"/>
                  </a:lnTo>
                  <a:lnTo>
                    <a:pt x="825" y="168"/>
                  </a:lnTo>
                  <a:lnTo>
                    <a:pt x="846" y="194"/>
                  </a:lnTo>
                  <a:lnTo>
                    <a:pt x="863" y="194"/>
                  </a:lnTo>
                  <a:lnTo>
                    <a:pt x="879" y="213"/>
                  </a:lnTo>
                  <a:lnTo>
                    <a:pt x="879" y="217"/>
                  </a:lnTo>
                  <a:lnTo>
                    <a:pt x="863" y="234"/>
                  </a:lnTo>
                  <a:lnTo>
                    <a:pt x="863" y="234"/>
                  </a:lnTo>
                  <a:lnTo>
                    <a:pt x="867" y="222"/>
                  </a:lnTo>
                  <a:lnTo>
                    <a:pt x="851" y="267"/>
                  </a:lnTo>
                  <a:lnTo>
                    <a:pt x="825" y="267"/>
                  </a:lnTo>
                  <a:lnTo>
                    <a:pt x="825" y="272"/>
                  </a:lnTo>
                  <a:lnTo>
                    <a:pt x="837" y="279"/>
                  </a:lnTo>
                  <a:lnTo>
                    <a:pt x="863" y="272"/>
                  </a:lnTo>
                  <a:lnTo>
                    <a:pt x="863" y="279"/>
                  </a:lnTo>
                  <a:lnTo>
                    <a:pt x="867" y="267"/>
                  </a:lnTo>
                  <a:lnTo>
                    <a:pt x="900" y="272"/>
                  </a:lnTo>
                  <a:lnTo>
                    <a:pt x="905" y="267"/>
                  </a:lnTo>
                  <a:lnTo>
                    <a:pt x="917" y="267"/>
                  </a:lnTo>
                  <a:lnTo>
                    <a:pt x="938" y="272"/>
                  </a:lnTo>
                  <a:lnTo>
                    <a:pt x="938" y="272"/>
                  </a:lnTo>
                  <a:lnTo>
                    <a:pt x="938" y="272"/>
                  </a:lnTo>
                  <a:close/>
                  <a:moveTo>
                    <a:pt x="506" y="33"/>
                  </a:moveTo>
                  <a:lnTo>
                    <a:pt x="501" y="33"/>
                  </a:lnTo>
                  <a:lnTo>
                    <a:pt x="506" y="33"/>
                  </a:lnTo>
                  <a:lnTo>
                    <a:pt x="506" y="33"/>
                  </a:lnTo>
                  <a:lnTo>
                    <a:pt x="506" y="33"/>
                  </a:lnTo>
                  <a:lnTo>
                    <a:pt x="506" y="33"/>
                  </a:lnTo>
                  <a:close/>
                  <a:moveTo>
                    <a:pt x="652" y="106"/>
                  </a:moveTo>
                  <a:lnTo>
                    <a:pt x="648" y="99"/>
                  </a:lnTo>
                  <a:lnTo>
                    <a:pt x="631" y="99"/>
                  </a:lnTo>
                  <a:lnTo>
                    <a:pt x="631" y="90"/>
                  </a:lnTo>
                  <a:lnTo>
                    <a:pt x="636" y="83"/>
                  </a:lnTo>
                  <a:lnTo>
                    <a:pt x="652" y="90"/>
                  </a:lnTo>
                  <a:lnTo>
                    <a:pt x="664" y="83"/>
                  </a:lnTo>
                  <a:lnTo>
                    <a:pt x="669" y="90"/>
                  </a:lnTo>
                  <a:lnTo>
                    <a:pt x="652" y="106"/>
                  </a:lnTo>
                  <a:lnTo>
                    <a:pt x="652" y="106"/>
                  </a:lnTo>
                  <a:lnTo>
                    <a:pt x="652" y="106"/>
                  </a:lnTo>
                  <a:close/>
                  <a:moveTo>
                    <a:pt x="565" y="99"/>
                  </a:moveTo>
                  <a:lnTo>
                    <a:pt x="556" y="99"/>
                  </a:lnTo>
                  <a:lnTo>
                    <a:pt x="565" y="99"/>
                  </a:lnTo>
                  <a:lnTo>
                    <a:pt x="565" y="99"/>
                  </a:lnTo>
                  <a:lnTo>
                    <a:pt x="565" y="99"/>
                  </a:lnTo>
                  <a:lnTo>
                    <a:pt x="565" y="99"/>
                  </a:lnTo>
                  <a:close/>
                  <a:moveTo>
                    <a:pt x="879" y="234"/>
                  </a:moveTo>
                  <a:lnTo>
                    <a:pt x="867" y="234"/>
                  </a:lnTo>
                  <a:lnTo>
                    <a:pt x="879" y="222"/>
                  </a:lnTo>
                  <a:lnTo>
                    <a:pt x="879" y="234"/>
                  </a:lnTo>
                  <a:lnTo>
                    <a:pt x="879" y="234"/>
                  </a:lnTo>
                  <a:lnTo>
                    <a:pt x="879" y="234"/>
                  </a:lnTo>
                  <a:close/>
                  <a:moveTo>
                    <a:pt x="867" y="250"/>
                  </a:moveTo>
                  <a:lnTo>
                    <a:pt x="863" y="250"/>
                  </a:lnTo>
                  <a:lnTo>
                    <a:pt x="879" y="234"/>
                  </a:lnTo>
                  <a:lnTo>
                    <a:pt x="867" y="250"/>
                  </a:lnTo>
                  <a:lnTo>
                    <a:pt x="867" y="250"/>
                  </a:lnTo>
                  <a:lnTo>
                    <a:pt x="867" y="250"/>
                  </a:lnTo>
                  <a:close/>
                  <a:moveTo>
                    <a:pt x="851" y="255"/>
                  </a:moveTo>
                  <a:lnTo>
                    <a:pt x="863" y="250"/>
                  </a:lnTo>
                  <a:lnTo>
                    <a:pt x="879" y="250"/>
                  </a:lnTo>
                  <a:lnTo>
                    <a:pt x="867" y="255"/>
                  </a:lnTo>
                  <a:lnTo>
                    <a:pt x="851" y="255"/>
                  </a:lnTo>
                  <a:lnTo>
                    <a:pt x="851" y="255"/>
                  </a:lnTo>
                  <a:lnTo>
                    <a:pt x="851" y="255"/>
                  </a:lnTo>
                  <a:close/>
                  <a:moveTo>
                    <a:pt x="867" y="267"/>
                  </a:moveTo>
                  <a:lnTo>
                    <a:pt x="867" y="267"/>
                  </a:lnTo>
                  <a:lnTo>
                    <a:pt x="879" y="255"/>
                  </a:lnTo>
                  <a:lnTo>
                    <a:pt x="867" y="267"/>
                  </a:lnTo>
                  <a:lnTo>
                    <a:pt x="867" y="267"/>
                  </a:lnTo>
                  <a:lnTo>
                    <a:pt x="867" y="267"/>
                  </a:lnTo>
                  <a:close/>
                  <a:moveTo>
                    <a:pt x="863" y="267"/>
                  </a:moveTo>
                  <a:lnTo>
                    <a:pt x="851" y="267"/>
                  </a:lnTo>
                  <a:lnTo>
                    <a:pt x="867" y="255"/>
                  </a:lnTo>
                  <a:lnTo>
                    <a:pt x="863" y="267"/>
                  </a:lnTo>
                  <a:lnTo>
                    <a:pt x="863" y="267"/>
                  </a:lnTo>
                  <a:lnTo>
                    <a:pt x="863" y="267"/>
                  </a:lnTo>
                  <a:close/>
                  <a:moveTo>
                    <a:pt x="851" y="272"/>
                  </a:moveTo>
                  <a:lnTo>
                    <a:pt x="851" y="267"/>
                  </a:lnTo>
                  <a:lnTo>
                    <a:pt x="863" y="267"/>
                  </a:lnTo>
                  <a:lnTo>
                    <a:pt x="851" y="272"/>
                  </a:lnTo>
                  <a:lnTo>
                    <a:pt x="851" y="272"/>
                  </a:lnTo>
                  <a:lnTo>
                    <a:pt x="851" y="272"/>
                  </a:lnTo>
                  <a:close/>
                  <a:moveTo>
                    <a:pt x="851" y="272"/>
                  </a:moveTo>
                  <a:lnTo>
                    <a:pt x="846" y="272"/>
                  </a:lnTo>
                  <a:lnTo>
                    <a:pt x="867" y="267"/>
                  </a:lnTo>
                  <a:lnTo>
                    <a:pt x="851" y="272"/>
                  </a:lnTo>
                  <a:lnTo>
                    <a:pt x="851" y="272"/>
                  </a:lnTo>
                  <a:lnTo>
                    <a:pt x="851" y="272"/>
                  </a:lnTo>
                  <a:close/>
                  <a:moveTo>
                    <a:pt x="846" y="272"/>
                  </a:moveTo>
                  <a:lnTo>
                    <a:pt x="825" y="272"/>
                  </a:lnTo>
                  <a:lnTo>
                    <a:pt x="846" y="272"/>
                  </a:lnTo>
                  <a:lnTo>
                    <a:pt x="851" y="272"/>
                  </a:lnTo>
                  <a:lnTo>
                    <a:pt x="846" y="272"/>
                  </a:lnTo>
                  <a:lnTo>
                    <a:pt x="846" y="272"/>
                  </a:lnTo>
                  <a:lnTo>
                    <a:pt x="846" y="27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28" name="Freeform 589">
              <a:extLst>
                <a:ext uri="{FF2B5EF4-FFF2-40B4-BE49-F238E27FC236}">
                  <a16:creationId xmlns:a16="http://schemas.microsoft.com/office/drawing/2014/main" id="{EE5AF115-1443-4363-8972-45C591C4A2CD}"/>
                </a:ext>
              </a:extLst>
            </p:cNvPr>
            <p:cNvSpPr>
              <a:spLocks noEditPoints="1"/>
            </p:cNvSpPr>
            <p:nvPr/>
          </p:nvSpPr>
          <p:spPr bwMode="gray">
            <a:xfrm>
              <a:off x="3577505" y="6366058"/>
              <a:ext cx="9787" cy="24238"/>
            </a:xfrm>
            <a:custGeom>
              <a:avLst/>
              <a:gdLst>
                <a:gd name="T0" fmla="*/ 16 w 21"/>
                <a:gd name="T1" fmla="*/ 0 h 52"/>
                <a:gd name="T2" fmla="*/ 7 w 21"/>
                <a:gd name="T3" fmla="*/ 0 h 52"/>
                <a:gd name="T4" fmla="*/ 16 w 21"/>
                <a:gd name="T5" fmla="*/ 0 h 52"/>
                <a:gd name="T6" fmla="*/ 16 w 21"/>
                <a:gd name="T7" fmla="*/ 0 h 52"/>
                <a:gd name="T8" fmla="*/ 16 w 21"/>
                <a:gd name="T9" fmla="*/ 0 h 52"/>
                <a:gd name="T10" fmla="*/ 16 w 21"/>
                <a:gd name="T11" fmla="*/ 0 h 52"/>
                <a:gd name="T12" fmla="*/ 0 w 21"/>
                <a:gd name="T13" fmla="*/ 52 h 52"/>
                <a:gd name="T14" fmla="*/ 0 w 21"/>
                <a:gd name="T15" fmla="*/ 40 h 52"/>
                <a:gd name="T16" fmla="*/ 21 w 21"/>
                <a:gd name="T17" fmla="*/ 52 h 52"/>
                <a:gd name="T18" fmla="*/ 0 w 21"/>
                <a:gd name="T19" fmla="*/ 52 h 52"/>
                <a:gd name="T20" fmla="*/ 0 w 21"/>
                <a:gd name="T21" fmla="*/ 52 h 52"/>
                <a:gd name="T22" fmla="*/ 0 w 21"/>
                <a:gd name="T23"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2">
                  <a:moveTo>
                    <a:pt x="16" y="0"/>
                  </a:moveTo>
                  <a:lnTo>
                    <a:pt x="7" y="0"/>
                  </a:lnTo>
                  <a:lnTo>
                    <a:pt x="16" y="0"/>
                  </a:lnTo>
                  <a:lnTo>
                    <a:pt x="16" y="0"/>
                  </a:lnTo>
                  <a:lnTo>
                    <a:pt x="16" y="0"/>
                  </a:lnTo>
                  <a:lnTo>
                    <a:pt x="16" y="0"/>
                  </a:lnTo>
                  <a:close/>
                  <a:moveTo>
                    <a:pt x="0" y="52"/>
                  </a:moveTo>
                  <a:lnTo>
                    <a:pt x="0" y="40"/>
                  </a:lnTo>
                  <a:lnTo>
                    <a:pt x="21" y="52"/>
                  </a:lnTo>
                  <a:lnTo>
                    <a:pt x="0" y="52"/>
                  </a:lnTo>
                  <a:lnTo>
                    <a:pt x="0" y="52"/>
                  </a:lnTo>
                  <a:lnTo>
                    <a:pt x="0" y="5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43" name="Freeform 423">
              <a:extLst>
                <a:ext uri="{FF2B5EF4-FFF2-40B4-BE49-F238E27FC236}">
                  <a16:creationId xmlns:a16="http://schemas.microsoft.com/office/drawing/2014/main" id="{37F51DAA-4894-49AF-84EE-2EE163F4E5E4}"/>
                </a:ext>
              </a:extLst>
            </p:cNvPr>
            <p:cNvSpPr>
              <a:spLocks noEditPoints="1"/>
            </p:cNvSpPr>
            <p:nvPr/>
          </p:nvSpPr>
          <p:spPr bwMode="gray">
            <a:xfrm>
              <a:off x="4872229" y="6408007"/>
              <a:ext cx="85756" cy="80172"/>
            </a:xfrm>
            <a:custGeom>
              <a:avLst/>
              <a:gdLst>
                <a:gd name="T0" fmla="*/ 0 w 184"/>
                <a:gd name="T1" fmla="*/ 19 h 172"/>
                <a:gd name="T2" fmla="*/ 0 w 184"/>
                <a:gd name="T3" fmla="*/ 7 h 172"/>
                <a:gd name="T4" fmla="*/ 16 w 184"/>
                <a:gd name="T5" fmla="*/ 0 h 172"/>
                <a:gd name="T6" fmla="*/ 21 w 184"/>
                <a:gd name="T7" fmla="*/ 7 h 172"/>
                <a:gd name="T8" fmla="*/ 0 w 184"/>
                <a:gd name="T9" fmla="*/ 19 h 172"/>
                <a:gd name="T10" fmla="*/ 0 w 184"/>
                <a:gd name="T11" fmla="*/ 19 h 172"/>
                <a:gd name="T12" fmla="*/ 0 w 184"/>
                <a:gd name="T13" fmla="*/ 19 h 172"/>
                <a:gd name="T14" fmla="*/ 21 w 184"/>
                <a:gd name="T15" fmla="*/ 28 h 172"/>
                <a:gd name="T16" fmla="*/ 16 w 184"/>
                <a:gd name="T17" fmla="*/ 23 h 172"/>
                <a:gd name="T18" fmla="*/ 21 w 184"/>
                <a:gd name="T19" fmla="*/ 19 h 172"/>
                <a:gd name="T20" fmla="*/ 33 w 184"/>
                <a:gd name="T21" fmla="*/ 23 h 172"/>
                <a:gd name="T22" fmla="*/ 21 w 184"/>
                <a:gd name="T23" fmla="*/ 28 h 172"/>
                <a:gd name="T24" fmla="*/ 21 w 184"/>
                <a:gd name="T25" fmla="*/ 28 h 172"/>
                <a:gd name="T26" fmla="*/ 21 w 184"/>
                <a:gd name="T27" fmla="*/ 28 h 172"/>
                <a:gd name="T28" fmla="*/ 71 w 184"/>
                <a:gd name="T29" fmla="*/ 45 h 172"/>
                <a:gd name="T30" fmla="*/ 59 w 184"/>
                <a:gd name="T31" fmla="*/ 40 h 172"/>
                <a:gd name="T32" fmla="*/ 92 w 184"/>
                <a:gd name="T33" fmla="*/ 45 h 172"/>
                <a:gd name="T34" fmla="*/ 71 w 184"/>
                <a:gd name="T35" fmla="*/ 40 h 172"/>
                <a:gd name="T36" fmla="*/ 71 w 184"/>
                <a:gd name="T37" fmla="*/ 45 h 172"/>
                <a:gd name="T38" fmla="*/ 71 w 184"/>
                <a:gd name="T39" fmla="*/ 45 h 172"/>
                <a:gd name="T40" fmla="*/ 71 w 184"/>
                <a:gd name="T41" fmla="*/ 45 h 172"/>
                <a:gd name="T42" fmla="*/ 179 w 184"/>
                <a:gd name="T43" fmla="*/ 85 h 172"/>
                <a:gd name="T44" fmla="*/ 163 w 184"/>
                <a:gd name="T45" fmla="*/ 85 h 172"/>
                <a:gd name="T46" fmla="*/ 179 w 184"/>
                <a:gd name="T47" fmla="*/ 73 h 172"/>
                <a:gd name="T48" fmla="*/ 184 w 184"/>
                <a:gd name="T49" fmla="*/ 78 h 172"/>
                <a:gd name="T50" fmla="*/ 179 w 184"/>
                <a:gd name="T51" fmla="*/ 85 h 172"/>
                <a:gd name="T52" fmla="*/ 179 w 184"/>
                <a:gd name="T53" fmla="*/ 85 h 172"/>
                <a:gd name="T54" fmla="*/ 179 w 184"/>
                <a:gd name="T55" fmla="*/ 85 h 172"/>
                <a:gd name="T56" fmla="*/ 125 w 184"/>
                <a:gd name="T57" fmla="*/ 167 h 172"/>
                <a:gd name="T58" fmla="*/ 109 w 184"/>
                <a:gd name="T59" fmla="*/ 156 h 172"/>
                <a:gd name="T60" fmla="*/ 118 w 184"/>
                <a:gd name="T61" fmla="*/ 139 h 172"/>
                <a:gd name="T62" fmla="*/ 130 w 184"/>
                <a:gd name="T63" fmla="*/ 156 h 172"/>
                <a:gd name="T64" fmla="*/ 125 w 184"/>
                <a:gd name="T65" fmla="*/ 167 h 172"/>
                <a:gd name="T66" fmla="*/ 125 w 184"/>
                <a:gd name="T67" fmla="*/ 167 h 172"/>
                <a:gd name="T68" fmla="*/ 125 w 184"/>
                <a:gd name="T69" fmla="*/ 167 h 172"/>
                <a:gd name="T70" fmla="*/ 59 w 184"/>
                <a:gd name="T71" fmla="*/ 172 h 172"/>
                <a:gd name="T72" fmla="*/ 54 w 184"/>
                <a:gd name="T73" fmla="*/ 167 h 172"/>
                <a:gd name="T74" fmla="*/ 59 w 184"/>
                <a:gd name="T75" fmla="*/ 156 h 172"/>
                <a:gd name="T76" fmla="*/ 71 w 184"/>
                <a:gd name="T77" fmla="*/ 167 h 172"/>
                <a:gd name="T78" fmla="*/ 59 w 184"/>
                <a:gd name="T79" fmla="*/ 172 h 172"/>
                <a:gd name="T80" fmla="*/ 59 w 184"/>
                <a:gd name="T81" fmla="*/ 172 h 172"/>
                <a:gd name="T82" fmla="*/ 59 w 184"/>
                <a:gd name="T8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4" h="172">
                  <a:moveTo>
                    <a:pt x="0" y="19"/>
                  </a:moveTo>
                  <a:lnTo>
                    <a:pt x="0" y="7"/>
                  </a:lnTo>
                  <a:lnTo>
                    <a:pt x="16" y="0"/>
                  </a:lnTo>
                  <a:lnTo>
                    <a:pt x="21" y="7"/>
                  </a:lnTo>
                  <a:lnTo>
                    <a:pt x="0" y="19"/>
                  </a:lnTo>
                  <a:lnTo>
                    <a:pt x="0" y="19"/>
                  </a:lnTo>
                  <a:lnTo>
                    <a:pt x="0" y="19"/>
                  </a:lnTo>
                  <a:close/>
                  <a:moveTo>
                    <a:pt x="21" y="28"/>
                  </a:moveTo>
                  <a:lnTo>
                    <a:pt x="16" y="23"/>
                  </a:lnTo>
                  <a:lnTo>
                    <a:pt x="21" y="19"/>
                  </a:lnTo>
                  <a:lnTo>
                    <a:pt x="33" y="23"/>
                  </a:lnTo>
                  <a:lnTo>
                    <a:pt x="21" y="28"/>
                  </a:lnTo>
                  <a:lnTo>
                    <a:pt x="21" y="28"/>
                  </a:lnTo>
                  <a:lnTo>
                    <a:pt x="21" y="28"/>
                  </a:lnTo>
                  <a:close/>
                  <a:moveTo>
                    <a:pt x="71" y="45"/>
                  </a:moveTo>
                  <a:lnTo>
                    <a:pt x="59" y="40"/>
                  </a:lnTo>
                  <a:lnTo>
                    <a:pt x="92" y="45"/>
                  </a:lnTo>
                  <a:lnTo>
                    <a:pt x="71" y="40"/>
                  </a:lnTo>
                  <a:lnTo>
                    <a:pt x="71" y="45"/>
                  </a:lnTo>
                  <a:lnTo>
                    <a:pt x="71" y="45"/>
                  </a:lnTo>
                  <a:lnTo>
                    <a:pt x="71" y="45"/>
                  </a:lnTo>
                  <a:close/>
                  <a:moveTo>
                    <a:pt x="179" y="85"/>
                  </a:moveTo>
                  <a:lnTo>
                    <a:pt x="163" y="85"/>
                  </a:lnTo>
                  <a:lnTo>
                    <a:pt x="179" y="73"/>
                  </a:lnTo>
                  <a:lnTo>
                    <a:pt x="184" y="78"/>
                  </a:lnTo>
                  <a:lnTo>
                    <a:pt x="179" y="85"/>
                  </a:lnTo>
                  <a:lnTo>
                    <a:pt x="179" y="85"/>
                  </a:lnTo>
                  <a:lnTo>
                    <a:pt x="179" y="85"/>
                  </a:lnTo>
                  <a:close/>
                  <a:moveTo>
                    <a:pt x="125" y="167"/>
                  </a:moveTo>
                  <a:lnTo>
                    <a:pt x="109" y="156"/>
                  </a:lnTo>
                  <a:lnTo>
                    <a:pt x="118" y="139"/>
                  </a:lnTo>
                  <a:lnTo>
                    <a:pt x="130" y="156"/>
                  </a:lnTo>
                  <a:lnTo>
                    <a:pt x="125" y="167"/>
                  </a:lnTo>
                  <a:lnTo>
                    <a:pt x="125" y="167"/>
                  </a:lnTo>
                  <a:lnTo>
                    <a:pt x="125" y="167"/>
                  </a:lnTo>
                  <a:close/>
                  <a:moveTo>
                    <a:pt x="59" y="172"/>
                  </a:moveTo>
                  <a:lnTo>
                    <a:pt x="54" y="167"/>
                  </a:lnTo>
                  <a:lnTo>
                    <a:pt x="59" y="156"/>
                  </a:lnTo>
                  <a:lnTo>
                    <a:pt x="71" y="167"/>
                  </a:lnTo>
                  <a:lnTo>
                    <a:pt x="59" y="172"/>
                  </a:lnTo>
                  <a:lnTo>
                    <a:pt x="59" y="172"/>
                  </a:lnTo>
                  <a:lnTo>
                    <a:pt x="59" y="17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0" name="Gruppieren 19">
            <a:extLst>
              <a:ext uri="{FF2B5EF4-FFF2-40B4-BE49-F238E27FC236}">
                <a16:creationId xmlns:a16="http://schemas.microsoft.com/office/drawing/2014/main" id="{D4D19626-5646-4023-A884-C574AD7858D2}"/>
              </a:ext>
            </a:extLst>
          </p:cNvPr>
          <p:cNvGrpSpPr/>
          <p:nvPr/>
        </p:nvGrpSpPr>
        <p:grpSpPr bwMode="gray">
          <a:xfrm>
            <a:off x="5127631" y="4998475"/>
            <a:ext cx="5182156" cy="2446640"/>
            <a:chOff x="5127631" y="4998475"/>
            <a:chExt cx="5182156" cy="2446640"/>
          </a:xfrm>
          <a:pattFill prst="ltUpDiag">
            <a:fgClr>
              <a:schemeClr val="bg2">
                <a:lumMod val="90000"/>
              </a:schemeClr>
            </a:fgClr>
            <a:bgClr>
              <a:schemeClr val="bg1"/>
            </a:bgClr>
          </a:pattFill>
        </p:grpSpPr>
        <p:sp>
          <p:nvSpPr>
            <p:cNvPr id="5767" name="Freeform 379">
              <a:extLst>
                <a:ext uri="{FF2B5EF4-FFF2-40B4-BE49-F238E27FC236}">
                  <a16:creationId xmlns:a16="http://schemas.microsoft.com/office/drawing/2014/main" id="{AFB95056-3B82-485B-9AE1-7030A5FA93CE}"/>
                </a:ext>
              </a:extLst>
            </p:cNvPr>
            <p:cNvSpPr>
              <a:spLocks/>
            </p:cNvSpPr>
            <p:nvPr/>
          </p:nvSpPr>
          <p:spPr bwMode="gray">
            <a:xfrm>
              <a:off x="7677462" y="5632859"/>
              <a:ext cx="469792" cy="338866"/>
            </a:xfrm>
            <a:custGeom>
              <a:avLst/>
              <a:gdLst>
                <a:gd name="T0" fmla="*/ 75 w 1008"/>
                <a:gd name="T1" fmla="*/ 243 h 727"/>
                <a:gd name="T2" fmla="*/ 137 w 1008"/>
                <a:gd name="T3" fmla="*/ 260 h 727"/>
                <a:gd name="T4" fmla="*/ 184 w 1008"/>
                <a:gd name="T5" fmla="*/ 234 h 727"/>
                <a:gd name="T6" fmla="*/ 243 w 1008"/>
                <a:gd name="T7" fmla="*/ 193 h 727"/>
                <a:gd name="T8" fmla="*/ 297 w 1008"/>
                <a:gd name="T9" fmla="*/ 111 h 727"/>
                <a:gd name="T10" fmla="*/ 361 w 1008"/>
                <a:gd name="T11" fmla="*/ 78 h 727"/>
                <a:gd name="T12" fmla="*/ 453 w 1008"/>
                <a:gd name="T13" fmla="*/ 82 h 727"/>
                <a:gd name="T14" fmla="*/ 508 w 1008"/>
                <a:gd name="T15" fmla="*/ 99 h 727"/>
                <a:gd name="T16" fmla="*/ 583 w 1008"/>
                <a:gd name="T17" fmla="*/ 94 h 727"/>
                <a:gd name="T18" fmla="*/ 621 w 1008"/>
                <a:gd name="T19" fmla="*/ 82 h 727"/>
                <a:gd name="T20" fmla="*/ 675 w 1008"/>
                <a:gd name="T21" fmla="*/ 78 h 727"/>
                <a:gd name="T22" fmla="*/ 718 w 1008"/>
                <a:gd name="T23" fmla="*/ 0 h 727"/>
                <a:gd name="T24" fmla="*/ 756 w 1008"/>
                <a:gd name="T25" fmla="*/ 42 h 727"/>
                <a:gd name="T26" fmla="*/ 777 w 1008"/>
                <a:gd name="T27" fmla="*/ 139 h 727"/>
                <a:gd name="T28" fmla="*/ 826 w 1008"/>
                <a:gd name="T29" fmla="*/ 115 h 727"/>
                <a:gd name="T30" fmla="*/ 890 w 1008"/>
                <a:gd name="T31" fmla="*/ 78 h 727"/>
                <a:gd name="T32" fmla="*/ 919 w 1008"/>
                <a:gd name="T33" fmla="*/ 94 h 727"/>
                <a:gd name="T34" fmla="*/ 994 w 1008"/>
                <a:gd name="T35" fmla="*/ 82 h 727"/>
                <a:gd name="T36" fmla="*/ 999 w 1008"/>
                <a:gd name="T37" fmla="*/ 94 h 727"/>
                <a:gd name="T38" fmla="*/ 987 w 1008"/>
                <a:gd name="T39" fmla="*/ 120 h 727"/>
                <a:gd name="T40" fmla="*/ 923 w 1008"/>
                <a:gd name="T41" fmla="*/ 120 h 727"/>
                <a:gd name="T42" fmla="*/ 784 w 1008"/>
                <a:gd name="T43" fmla="*/ 165 h 727"/>
                <a:gd name="T44" fmla="*/ 756 w 1008"/>
                <a:gd name="T45" fmla="*/ 189 h 727"/>
                <a:gd name="T46" fmla="*/ 777 w 1008"/>
                <a:gd name="T47" fmla="*/ 250 h 727"/>
                <a:gd name="T48" fmla="*/ 772 w 1008"/>
                <a:gd name="T49" fmla="*/ 283 h 727"/>
                <a:gd name="T50" fmla="*/ 730 w 1008"/>
                <a:gd name="T51" fmla="*/ 321 h 727"/>
                <a:gd name="T52" fmla="*/ 701 w 1008"/>
                <a:gd name="T53" fmla="*/ 373 h 727"/>
                <a:gd name="T54" fmla="*/ 663 w 1008"/>
                <a:gd name="T55" fmla="*/ 390 h 727"/>
                <a:gd name="T56" fmla="*/ 685 w 1008"/>
                <a:gd name="T57" fmla="*/ 415 h 727"/>
                <a:gd name="T58" fmla="*/ 633 w 1008"/>
                <a:gd name="T59" fmla="*/ 456 h 727"/>
                <a:gd name="T60" fmla="*/ 616 w 1008"/>
                <a:gd name="T61" fmla="*/ 489 h 727"/>
                <a:gd name="T62" fmla="*/ 583 w 1008"/>
                <a:gd name="T63" fmla="*/ 562 h 727"/>
                <a:gd name="T64" fmla="*/ 562 w 1008"/>
                <a:gd name="T65" fmla="*/ 545 h 727"/>
                <a:gd name="T66" fmla="*/ 491 w 1008"/>
                <a:gd name="T67" fmla="*/ 562 h 727"/>
                <a:gd name="T68" fmla="*/ 453 w 1008"/>
                <a:gd name="T69" fmla="*/ 578 h 727"/>
                <a:gd name="T70" fmla="*/ 415 w 1008"/>
                <a:gd name="T71" fmla="*/ 612 h 727"/>
                <a:gd name="T72" fmla="*/ 399 w 1008"/>
                <a:gd name="T73" fmla="*/ 678 h 727"/>
                <a:gd name="T74" fmla="*/ 314 w 1008"/>
                <a:gd name="T75" fmla="*/ 723 h 727"/>
                <a:gd name="T76" fmla="*/ 217 w 1008"/>
                <a:gd name="T77" fmla="*/ 723 h 727"/>
                <a:gd name="T78" fmla="*/ 23 w 1008"/>
                <a:gd name="T79" fmla="*/ 694 h 727"/>
                <a:gd name="T80" fmla="*/ 82 w 1008"/>
                <a:gd name="T81" fmla="*/ 578 h 727"/>
                <a:gd name="T82" fmla="*/ 23 w 1008"/>
                <a:gd name="T83" fmla="*/ 505 h 727"/>
                <a:gd name="T84" fmla="*/ 0 w 1008"/>
                <a:gd name="T85" fmla="*/ 394 h 727"/>
                <a:gd name="T86" fmla="*/ 23 w 1008"/>
                <a:gd name="T87" fmla="*/ 338 h 727"/>
                <a:gd name="T88" fmla="*/ 37 w 1008"/>
                <a:gd name="T89" fmla="*/ 300 h 727"/>
                <a:gd name="T90" fmla="*/ 54 w 1008"/>
                <a:gd name="T91" fmla="*/ 23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08" h="727">
                  <a:moveTo>
                    <a:pt x="54" y="234"/>
                  </a:moveTo>
                  <a:lnTo>
                    <a:pt x="61" y="227"/>
                  </a:lnTo>
                  <a:lnTo>
                    <a:pt x="75" y="243"/>
                  </a:lnTo>
                  <a:lnTo>
                    <a:pt x="108" y="243"/>
                  </a:lnTo>
                  <a:lnTo>
                    <a:pt x="120" y="267"/>
                  </a:lnTo>
                  <a:lnTo>
                    <a:pt x="137" y="260"/>
                  </a:lnTo>
                  <a:lnTo>
                    <a:pt x="151" y="260"/>
                  </a:lnTo>
                  <a:lnTo>
                    <a:pt x="184" y="243"/>
                  </a:lnTo>
                  <a:lnTo>
                    <a:pt x="184" y="234"/>
                  </a:lnTo>
                  <a:lnTo>
                    <a:pt x="184" y="227"/>
                  </a:lnTo>
                  <a:lnTo>
                    <a:pt x="184" y="210"/>
                  </a:lnTo>
                  <a:lnTo>
                    <a:pt x="243" y="193"/>
                  </a:lnTo>
                  <a:lnTo>
                    <a:pt x="276" y="177"/>
                  </a:lnTo>
                  <a:lnTo>
                    <a:pt x="297" y="120"/>
                  </a:lnTo>
                  <a:lnTo>
                    <a:pt x="297" y="111"/>
                  </a:lnTo>
                  <a:lnTo>
                    <a:pt x="323" y="99"/>
                  </a:lnTo>
                  <a:lnTo>
                    <a:pt x="352" y="99"/>
                  </a:lnTo>
                  <a:lnTo>
                    <a:pt x="361" y="78"/>
                  </a:lnTo>
                  <a:lnTo>
                    <a:pt x="406" y="94"/>
                  </a:lnTo>
                  <a:lnTo>
                    <a:pt x="422" y="82"/>
                  </a:lnTo>
                  <a:lnTo>
                    <a:pt x="453" y="82"/>
                  </a:lnTo>
                  <a:lnTo>
                    <a:pt x="470" y="99"/>
                  </a:lnTo>
                  <a:lnTo>
                    <a:pt x="491" y="94"/>
                  </a:lnTo>
                  <a:lnTo>
                    <a:pt x="508" y="99"/>
                  </a:lnTo>
                  <a:lnTo>
                    <a:pt x="508" y="111"/>
                  </a:lnTo>
                  <a:lnTo>
                    <a:pt x="529" y="120"/>
                  </a:lnTo>
                  <a:lnTo>
                    <a:pt x="583" y="94"/>
                  </a:lnTo>
                  <a:lnTo>
                    <a:pt x="616" y="111"/>
                  </a:lnTo>
                  <a:lnTo>
                    <a:pt x="621" y="99"/>
                  </a:lnTo>
                  <a:lnTo>
                    <a:pt x="621" y="82"/>
                  </a:lnTo>
                  <a:lnTo>
                    <a:pt x="633" y="66"/>
                  </a:lnTo>
                  <a:lnTo>
                    <a:pt x="654" y="66"/>
                  </a:lnTo>
                  <a:lnTo>
                    <a:pt x="675" y="78"/>
                  </a:lnTo>
                  <a:lnTo>
                    <a:pt x="685" y="61"/>
                  </a:lnTo>
                  <a:lnTo>
                    <a:pt x="675" y="38"/>
                  </a:lnTo>
                  <a:lnTo>
                    <a:pt x="718" y="0"/>
                  </a:lnTo>
                  <a:lnTo>
                    <a:pt x="730" y="0"/>
                  </a:lnTo>
                  <a:lnTo>
                    <a:pt x="760" y="9"/>
                  </a:lnTo>
                  <a:lnTo>
                    <a:pt x="756" y="42"/>
                  </a:lnTo>
                  <a:lnTo>
                    <a:pt x="777" y="42"/>
                  </a:lnTo>
                  <a:lnTo>
                    <a:pt x="760" y="111"/>
                  </a:lnTo>
                  <a:lnTo>
                    <a:pt x="777" y="139"/>
                  </a:lnTo>
                  <a:lnTo>
                    <a:pt x="784" y="149"/>
                  </a:lnTo>
                  <a:lnTo>
                    <a:pt x="793" y="139"/>
                  </a:lnTo>
                  <a:lnTo>
                    <a:pt x="826" y="115"/>
                  </a:lnTo>
                  <a:lnTo>
                    <a:pt x="852" y="115"/>
                  </a:lnTo>
                  <a:lnTo>
                    <a:pt x="864" y="99"/>
                  </a:lnTo>
                  <a:lnTo>
                    <a:pt x="890" y="78"/>
                  </a:lnTo>
                  <a:lnTo>
                    <a:pt x="933" y="82"/>
                  </a:lnTo>
                  <a:lnTo>
                    <a:pt x="933" y="94"/>
                  </a:lnTo>
                  <a:lnTo>
                    <a:pt x="919" y="94"/>
                  </a:lnTo>
                  <a:lnTo>
                    <a:pt x="923" y="99"/>
                  </a:lnTo>
                  <a:lnTo>
                    <a:pt x="961" y="82"/>
                  </a:lnTo>
                  <a:lnTo>
                    <a:pt x="994" y="82"/>
                  </a:lnTo>
                  <a:lnTo>
                    <a:pt x="1008" y="99"/>
                  </a:lnTo>
                  <a:lnTo>
                    <a:pt x="999" y="99"/>
                  </a:lnTo>
                  <a:lnTo>
                    <a:pt x="999" y="94"/>
                  </a:lnTo>
                  <a:lnTo>
                    <a:pt x="971" y="99"/>
                  </a:lnTo>
                  <a:lnTo>
                    <a:pt x="987" y="115"/>
                  </a:lnTo>
                  <a:lnTo>
                    <a:pt x="987" y="120"/>
                  </a:lnTo>
                  <a:lnTo>
                    <a:pt x="978" y="115"/>
                  </a:lnTo>
                  <a:lnTo>
                    <a:pt x="945" y="132"/>
                  </a:lnTo>
                  <a:lnTo>
                    <a:pt x="923" y="120"/>
                  </a:lnTo>
                  <a:lnTo>
                    <a:pt x="848" y="132"/>
                  </a:lnTo>
                  <a:lnTo>
                    <a:pt x="815" y="139"/>
                  </a:lnTo>
                  <a:lnTo>
                    <a:pt x="784" y="165"/>
                  </a:lnTo>
                  <a:lnTo>
                    <a:pt x="777" y="165"/>
                  </a:lnTo>
                  <a:lnTo>
                    <a:pt x="777" y="172"/>
                  </a:lnTo>
                  <a:lnTo>
                    <a:pt x="756" y="189"/>
                  </a:lnTo>
                  <a:lnTo>
                    <a:pt x="746" y="193"/>
                  </a:lnTo>
                  <a:lnTo>
                    <a:pt x="772" y="210"/>
                  </a:lnTo>
                  <a:lnTo>
                    <a:pt x="777" y="250"/>
                  </a:lnTo>
                  <a:lnTo>
                    <a:pt x="772" y="260"/>
                  </a:lnTo>
                  <a:lnTo>
                    <a:pt x="777" y="267"/>
                  </a:lnTo>
                  <a:lnTo>
                    <a:pt x="772" y="283"/>
                  </a:lnTo>
                  <a:lnTo>
                    <a:pt x="739" y="304"/>
                  </a:lnTo>
                  <a:lnTo>
                    <a:pt x="739" y="316"/>
                  </a:lnTo>
                  <a:lnTo>
                    <a:pt x="730" y="321"/>
                  </a:lnTo>
                  <a:lnTo>
                    <a:pt x="746" y="338"/>
                  </a:lnTo>
                  <a:lnTo>
                    <a:pt x="739" y="361"/>
                  </a:lnTo>
                  <a:lnTo>
                    <a:pt x="701" y="373"/>
                  </a:lnTo>
                  <a:lnTo>
                    <a:pt x="654" y="361"/>
                  </a:lnTo>
                  <a:lnTo>
                    <a:pt x="663" y="378"/>
                  </a:lnTo>
                  <a:lnTo>
                    <a:pt x="663" y="390"/>
                  </a:lnTo>
                  <a:lnTo>
                    <a:pt x="675" y="390"/>
                  </a:lnTo>
                  <a:lnTo>
                    <a:pt x="675" y="399"/>
                  </a:lnTo>
                  <a:lnTo>
                    <a:pt x="685" y="415"/>
                  </a:lnTo>
                  <a:lnTo>
                    <a:pt x="671" y="434"/>
                  </a:lnTo>
                  <a:lnTo>
                    <a:pt x="633" y="444"/>
                  </a:lnTo>
                  <a:lnTo>
                    <a:pt x="633" y="456"/>
                  </a:lnTo>
                  <a:lnTo>
                    <a:pt x="621" y="467"/>
                  </a:lnTo>
                  <a:lnTo>
                    <a:pt x="621" y="472"/>
                  </a:lnTo>
                  <a:lnTo>
                    <a:pt x="616" y="489"/>
                  </a:lnTo>
                  <a:lnTo>
                    <a:pt x="616" y="529"/>
                  </a:lnTo>
                  <a:lnTo>
                    <a:pt x="600" y="555"/>
                  </a:lnTo>
                  <a:lnTo>
                    <a:pt x="583" y="562"/>
                  </a:lnTo>
                  <a:lnTo>
                    <a:pt x="562" y="538"/>
                  </a:lnTo>
                  <a:lnTo>
                    <a:pt x="557" y="545"/>
                  </a:lnTo>
                  <a:lnTo>
                    <a:pt x="562" y="545"/>
                  </a:lnTo>
                  <a:lnTo>
                    <a:pt x="541" y="538"/>
                  </a:lnTo>
                  <a:lnTo>
                    <a:pt x="524" y="555"/>
                  </a:lnTo>
                  <a:lnTo>
                    <a:pt x="491" y="562"/>
                  </a:lnTo>
                  <a:lnTo>
                    <a:pt x="508" y="578"/>
                  </a:lnTo>
                  <a:lnTo>
                    <a:pt x="474" y="583"/>
                  </a:lnTo>
                  <a:lnTo>
                    <a:pt x="453" y="578"/>
                  </a:lnTo>
                  <a:lnTo>
                    <a:pt x="437" y="583"/>
                  </a:lnTo>
                  <a:lnTo>
                    <a:pt x="422" y="612"/>
                  </a:lnTo>
                  <a:lnTo>
                    <a:pt x="415" y="612"/>
                  </a:lnTo>
                  <a:lnTo>
                    <a:pt x="406" y="640"/>
                  </a:lnTo>
                  <a:lnTo>
                    <a:pt x="406" y="668"/>
                  </a:lnTo>
                  <a:lnTo>
                    <a:pt x="399" y="678"/>
                  </a:lnTo>
                  <a:lnTo>
                    <a:pt x="406" y="689"/>
                  </a:lnTo>
                  <a:lnTo>
                    <a:pt x="399" y="694"/>
                  </a:lnTo>
                  <a:lnTo>
                    <a:pt x="314" y="723"/>
                  </a:lnTo>
                  <a:lnTo>
                    <a:pt x="271" y="723"/>
                  </a:lnTo>
                  <a:lnTo>
                    <a:pt x="243" y="727"/>
                  </a:lnTo>
                  <a:lnTo>
                    <a:pt x="217" y="723"/>
                  </a:lnTo>
                  <a:lnTo>
                    <a:pt x="189" y="727"/>
                  </a:lnTo>
                  <a:lnTo>
                    <a:pt x="137" y="727"/>
                  </a:lnTo>
                  <a:lnTo>
                    <a:pt x="23" y="694"/>
                  </a:lnTo>
                  <a:lnTo>
                    <a:pt x="82" y="623"/>
                  </a:lnTo>
                  <a:lnTo>
                    <a:pt x="92" y="600"/>
                  </a:lnTo>
                  <a:lnTo>
                    <a:pt x="82" y="578"/>
                  </a:lnTo>
                  <a:lnTo>
                    <a:pt x="23" y="567"/>
                  </a:lnTo>
                  <a:lnTo>
                    <a:pt x="23" y="529"/>
                  </a:lnTo>
                  <a:lnTo>
                    <a:pt x="23" y="505"/>
                  </a:lnTo>
                  <a:lnTo>
                    <a:pt x="7" y="434"/>
                  </a:lnTo>
                  <a:lnTo>
                    <a:pt x="28" y="399"/>
                  </a:lnTo>
                  <a:lnTo>
                    <a:pt x="0" y="394"/>
                  </a:lnTo>
                  <a:lnTo>
                    <a:pt x="0" y="354"/>
                  </a:lnTo>
                  <a:lnTo>
                    <a:pt x="7" y="338"/>
                  </a:lnTo>
                  <a:lnTo>
                    <a:pt x="23" y="338"/>
                  </a:lnTo>
                  <a:lnTo>
                    <a:pt x="11" y="321"/>
                  </a:lnTo>
                  <a:lnTo>
                    <a:pt x="28" y="316"/>
                  </a:lnTo>
                  <a:lnTo>
                    <a:pt x="37" y="300"/>
                  </a:lnTo>
                  <a:lnTo>
                    <a:pt x="37" y="260"/>
                  </a:lnTo>
                  <a:lnTo>
                    <a:pt x="54" y="234"/>
                  </a:lnTo>
                  <a:lnTo>
                    <a:pt x="54" y="234"/>
                  </a:lnTo>
                  <a:lnTo>
                    <a:pt x="54" y="23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74" name="Freeform 414">
              <a:extLst>
                <a:ext uri="{FF2B5EF4-FFF2-40B4-BE49-F238E27FC236}">
                  <a16:creationId xmlns:a16="http://schemas.microsoft.com/office/drawing/2014/main" id="{58D11D4E-4C23-4F2F-8694-07D0A31B04AD}"/>
                </a:ext>
              </a:extLst>
            </p:cNvPr>
            <p:cNvSpPr>
              <a:spLocks noEditPoints="1"/>
            </p:cNvSpPr>
            <p:nvPr/>
          </p:nvSpPr>
          <p:spPr bwMode="gray">
            <a:xfrm>
              <a:off x="8105774" y="4998475"/>
              <a:ext cx="1998013" cy="1376439"/>
            </a:xfrm>
            <a:custGeom>
              <a:avLst/>
              <a:gdLst>
                <a:gd name="T0" fmla="*/ 361 w 4287"/>
                <a:gd name="T1" fmla="*/ 1833 h 2953"/>
                <a:gd name="T2" fmla="*/ 314 w 4287"/>
                <a:gd name="T3" fmla="*/ 1606 h 2953"/>
                <a:gd name="T4" fmla="*/ 54 w 4287"/>
                <a:gd name="T5" fmla="*/ 1462 h 2953"/>
                <a:gd name="T6" fmla="*/ 7 w 4287"/>
                <a:gd name="T7" fmla="*/ 1273 h 2953"/>
                <a:gd name="T8" fmla="*/ 233 w 4287"/>
                <a:gd name="T9" fmla="*/ 1146 h 2953"/>
                <a:gd name="T10" fmla="*/ 474 w 4287"/>
                <a:gd name="T11" fmla="*/ 869 h 2953"/>
                <a:gd name="T12" fmla="*/ 777 w 4287"/>
                <a:gd name="T13" fmla="*/ 614 h 2953"/>
                <a:gd name="T14" fmla="*/ 999 w 4287"/>
                <a:gd name="T15" fmla="*/ 432 h 2953"/>
                <a:gd name="T16" fmla="*/ 1216 w 4287"/>
                <a:gd name="T17" fmla="*/ 680 h 2953"/>
                <a:gd name="T18" fmla="*/ 1821 w 4287"/>
                <a:gd name="T19" fmla="*/ 1014 h 2953"/>
                <a:gd name="T20" fmla="*/ 2581 w 4287"/>
                <a:gd name="T21" fmla="*/ 985 h 2953"/>
                <a:gd name="T22" fmla="*/ 3030 w 4287"/>
                <a:gd name="T23" fmla="*/ 669 h 2953"/>
                <a:gd name="T24" fmla="*/ 3099 w 4287"/>
                <a:gd name="T25" fmla="*/ 520 h 2953"/>
                <a:gd name="T26" fmla="*/ 3191 w 4287"/>
                <a:gd name="T27" fmla="*/ 298 h 2953"/>
                <a:gd name="T28" fmla="*/ 3569 w 4287"/>
                <a:gd name="T29" fmla="*/ 26 h 2953"/>
                <a:gd name="T30" fmla="*/ 3732 w 4287"/>
                <a:gd name="T31" fmla="*/ 222 h 2953"/>
                <a:gd name="T32" fmla="*/ 3947 w 4287"/>
                <a:gd name="T33" fmla="*/ 425 h 2953"/>
                <a:gd name="T34" fmla="*/ 4287 w 4287"/>
                <a:gd name="T35" fmla="*/ 553 h 2953"/>
                <a:gd name="T36" fmla="*/ 4055 w 4287"/>
                <a:gd name="T37" fmla="*/ 796 h 2953"/>
                <a:gd name="T38" fmla="*/ 3921 w 4287"/>
                <a:gd name="T39" fmla="*/ 1025 h 2953"/>
                <a:gd name="T40" fmla="*/ 3607 w 4287"/>
                <a:gd name="T41" fmla="*/ 1195 h 2953"/>
                <a:gd name="T42" fmla="*/ 3363 w 4287"/>
                <a:gd name="T43" fmla="*/ 1295 h 2953"/>
                <a:gd name="T44" fmla="*/ 3283 w 4287"/>
                <a:gd name="T45" fmla="*/ 1207 h 2953"/>
                <a:gd name="T46" fmla="*/ 3203 w 4287"/>
                <a:gd name="T47" fmla="*/ 1472 h 2953"/>
                <a:gd name="T48" fmla="*/ 3408 w 4287"/>
                <a:gd name="T49" fmla="*/ 1495 h 2953"/>
                <a:gd name="T50" fmla="*/ 3278 w 4287"/>
                <a:gd name="T51" fmla="*/ 1540 h 2953"/>
                <a:gd name="T52" fmla="*/ 3354 w 4287"/>
                <a:gd name="T53" fmla="*/ 1862 h 2953"/>
                <a:gd name="T54" fmla="*/ 3300 w 4287"/>
                <a:gd name="T55" fmla="*/ 1888 h 2953"/>
                <a:gd name="T56" fmla="*/ 3370 w 4287"/>
                <a:gd name="T57" fmla="*/ 2048 h 2953"/>
                <a:gd name="T58" fmla="*/ 3363 w 4287"/>
                <a:gd name="T59" fmla="*/ 2105 h 2953"/>
                <a:gd name="T60" fmla="*/ 3295 w 4287"/>
                <a:gd name="T61" fmla="*/ 2199 h 2953"/>
                <a:gd name="T62" fmla="*/ 3245 w 4287"/>
                <a:gd name="T63" fmla="*/ 2294 h 2953"/>
                <a:gd name="T64" fmla="*/ 3191 w 4287"/>
                <a:gd name="T65" fmla="*/ 2343 h 2953"/>
                <a:gd name="T66" fmla="*/ 3170 w 4287"/>
                <a:gd name="T67" fmla="*/ 2426 h 2953"/>
                <a:gd name="T68" fmla="*/ 3120 w 4287"/>
                <a:gd name="T69" fmla="*/ 2492 h 2953"/>
                <a:gd name="T70" fmla="*/ 2938 w 4287"/>
                <a:gd name="T71" fmla="*/ 2608 h 2953"/>
                <a:gd name="T72" fmla="*/ 2841 w 4287"/>
                <a:gd name="T73" fmla="*/ 2624 h 2953"/>
                <a:gd name="T74" fmla="*/ 2787 w 4287"/>
                <a:gd name="T75" fmla="*/ 2653 h 2953"/>
                <a:gd name="T76" fmla="*/ 2624 w 4287"/>
                <a:gd name="T77" fmla="*/ 2698 h 2953"/>
                <a:gd name="T78" fmla="*/ 2591 w 4287"/>
                <a:gd name="T79" fmla="*/ 2776 h 2953"/>
                <a:gd name="T80" fmla="*/ 2522 w 4287"/>
                <a:gd name="T81" fmla="*/ 2698 h 2953"/>
                <a:gd name="T82" fmla="*/ 2430 w 4287"/>
                <a:gd name="T83" fmla="*/ 2691 h 2953"/>
                <a:gd name="T84" fmla="*/ 2241 w 4287"/>
                <a:gd name="T85" fmla="*/ 2580 h 2953"/>
                <a:gd name="T86" fmla="*/ 1972 w 4287"/>
                <a:gd name="T87" fmla="*/ 2624 h 2953"/>
                <a:gd name="T88" fmla="*/ 1851 w 4287"/>
                <a:gd name="T89" fmla="*/ 2681 h 2953"/>
                <a:gd name="T90" fmla="*/ 1691 w 4287"/>
                <a:gd name="T91" fmla="*/ 2525 h 2953"/>
                <a:gd name="T92" fmla="*/ 1766 w 4287"/>
                <a:gd name="T93" fmla="*/ 2294 h 2953"/>
                <a:gd name="T94" fmla="*/ 1582 w 4287"/>
                <a:gd name="T95" fmla="*/ 2126 h 2953"/>
                <a:gd name="T96" fmla="*/ 1313 w 4287"/>
                <a:gd name="T97" fmla="*/ 2216 h 2953"/>
                <a:gd name="T98" fmla="*/ 1015 w 4287"/>
                <a:gd name="T99" fmla="*/ 2204 h 2953"/>
                <a:gd name="T100" fmla="*/ 810 w 4287"/>
                <a:gd name="T101" fmla="*/ 2150 h 2953"/>
                <a:gd name="T102" fmla="*/ 529 w 4287"/>
                <a:gd name="T103" fmla="*/ 2039 h 2953"/>
                <a:gd name="T104" fmla="*/ 3229 w 4287"/>
                <a:gd name="T105" fmla="*/ 1866 h 2953"/>
                <a:gd name="T106" fmla="*/ 3401 w 4287"/>
                <a:gd name="T107" fmla="*/ 2032 h 2953"/>
                <a:gd name="T108" fmla="*/ 3418 w 4287"/>
                <a:gd name="T109" fmla="*/ 2048 h 2953"/>
                <a:gd name="T110" fmla="*/ 3337 w 4287"/>
                <a:gd name="T111" fmla="*/ 2192 h 2953"/>
                <a:gd name="T112" fmla="*/ 3115 w 4287"/>
                <a:gd name="T113" fmla="*/ 2476 h 2953"/>
                <a:gd name="T114" fmla="*/ 2851 w 4287"/>
                <a:gd name="T115" fmla="*/ 2641 h 2953"/>
                <a:gd name="T116" fmla="*/ 2683 w 4287"/>
                <a:gd name="T117" fmla="*/ 2691 h 2953"/>
                <a:gd name="T118" fmla="*/ 2570 w 4287"/>
                <a:gd name="T119" fmla="*/ 2731 h 2953"/>
                <a:gd name="T120" fmla="*/ 2560 w 4287"/>
                <a:gd name="T121" fmla="*/ 2809 h 2953"/>
                <a:gd name="T122" fmla="*/ 2527 w 4287"/>
                <a:gd name="T123" fmla="*/ 2941 h 2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87" h="2953">
                  <a:moveTo>
                    <a:pt x="524" y="2032"/>
                  </a:moveTo>
                  <a:lnTo>
                    <a:pt x="491" y="2010"/>
                  </a:lnTo>
                  <a:lnTo>
                    <a:pt x="460" y="1999"/>
                  </a:lnTo>
                  <a:lnTo>
                    <a:pt x="470" y="1982"/>
                  </a:lnTo>
                  <a:lnTo>
                    <a:pt x="437" y="1973"/>
                  </a:lnTo>
                  <a:lnTo>
                    <a:pt x="415" y="1973"/>
                  </a:lnTo>
                  <a:lnTo>
                    <a:pt x="385" y="1928"/>
                  </a:lnTo>
                  <a:lnTo>
                    <a:pt x="368" y="1944"/>
                  </a:lnTo>
                  <a:lnTo>
                    <a:pt x="361" y="1937"/>
                  </a:lnTo>
                  <a:lnTo>
                    <a:pt x="361" y="1921"/>
                  </a:lnTo>
                  <a:lnTo>
                    <a:pt x="368" y="1916"/>
                  </a:lnTo>
                  <a:lnTo>
                    <a:pt x="352" y="1904"/>
                  </a:lnTo>
                  <a:lnTo>
                    <a:pt x="361" y="1888"/>
                  </a:lnTo>
                  <a:lnTo>
                    <a:pt x="340" y="1866"/>
                  </a:lnTo>
                  <a:lnTo>
                    <a:pt x="340" y="1845"/>
                  </a:lnTo>
                  <a:lnTo>
                    <a:pt x="361" y="1833"/>
                  </a:lnTo>
                  <a:lnTo>
                    <a:pt x="361" y="1850"/>
                  </a:lnTo>
                  <a:lnTo>
                    <a:pt x="378" y="1862"/>
                  </a:lnTo>
                  <a:lnTo>
                    <a:pt x="394" y="1850"/>
                  </a:lnTo>
                  <a:lnTo>
                    <a:pt x="399" y="1850"/>
                  </a:lnTo>
                  <a:lnTo>
                    <a:pt x="415" y="1828"/>
                  </a:lnTo>
                  <a:lnTo>
                    <a:pt x="399" y="1812"/>
                  </a:lnTo>
                  <a:lnTo>
                    <a:pt x="406" y="1795"/>
                  </a:lnTo>
                  <a:lnTo>
                    <a:pt x="378" y="1776"/>
                  </a:lnTo>
                  <a:lnTo>
                    <a:pt x="361" y="1760"/>
                  </a:lnTo>
                  <a:lnTo>
                    <a:pt x="361" y="1717"/>
                  </a:lnTo>
                  <a:lnTo>
                    <a:pt x="378" y="1706"/>
                  </a:lnTo>
                  <a:lnTo>
                    <a:pt x="378" y="1701"/>
                  </a:lnTo>
                  <a:lnTo>
                    <a:pt x="352" y="1684"/>
                  </a:lnTo>
                  <a:lnTo>
                    <a:pt x="330" y="1677"/>
                  </a:lnTo>
                  <a:lnTo>
                    <a:pt x="309" y="1623"/>
                  </a:lnTo>
                  <a:lnTo>
                    <a:pt x="314" y="1606"/>
                  </a:lnTo>
                  <a:lnTo>
                    <a:pt x="297" y="1606"/>
                  </a:lnTo>
                  <a:lnTo>
                    <a:pt x="271" y="1606"/>
                  </a:lnTo>
                  <a:lnTo>
                    <a:pt x="233" y="1595"/>
                  </a:lnTo>
                  <a:lnTo>
                    <a:pt x="205" y="1583"/>
                  </a:lnTo>
                  <a:lnTo>
                    <a:pt x="205" y="1573"/>
                  </a:lnTo>
                  <a:lnTo>
                    <a:pt x="184" y="1583"/>
                  </a:lnTo>
                  <a:lnTo>
                    <a:pt x="179" y="1566"/>
                  </a:lnTo>
                  <a:lnTo>
                    <a:pt x="163" y="1557"/>
                  </a:lnTo>
                  <a:lnTo>
                    <a:pt x="167" y="1540"/>
                  </a:lnTo>
                  <a:lnTo>
                    <a:pt x="163" y="1512"/>
                  </a:lnTo>
                  <a:lnTo>
                    <a:pt x="146" y="1500"/>
                  </a:lnTo>
                  <a:lnTo>
                    <a:pt x="129" y="1500"/>
                  </a:lnTo>
                  <a:lnTo>
                    <a:pt x="125" y="1484"/>
                  </a:lnTo>
                  <a:lnTo>
                    <a:pt x="108" y="1479"/>
                  </a:lnTo>
                  <a:lnTo>
                    <a:pt x="70" y="1479"/>
                  </a:lnTo>
                  <a:lnTo>
                    <a:pt x="54" y="1462"/>
                  </a:lnTo>
                  <a:lnTo>
                    <a:pt x="82" y="1455"/>
                  </a:lnTo>
                  <a:lnTo>
                    <a:pt x="82" y="1462"/>
                  </a:lnTo>
                  <a:lnTo>
                    <a:pt x="92" y="1462"/>
                  </a:lnTo>
                  <a:lnTo>
                    <a:pt x="113" y="1446"/>
                  </a:lnTo>
                  <a:lnTo>
                    <a:pt x="92" y="1422"/>
                  </a:lnTo>
                  <a:lnTo>
                    <a:pt x="96" y="1417"/>
                  </a:lnTo>
                  <a:lnTo>
                    <a:pt x="82" y="1389"/>
                  </a:lnTo>
                  <a:lnTo>
                    <a:pt x="92" y="1363"/>
                  </a:lnTo>
                  <a:lnTo>
                    <a:pt x="54" y="1347"/>
                  </a:lnTo>
                  <a:lnTo>
                    <a:pt x="37" y="1347"/>
                  </a:lnTo>
                  <a:lnTo>
                    <a:pt x="28" y="1351"/>
                  </a:lnTo>
                  <a:lnTo>
                    <a:pt x="16" y="1347"/>
                  </a:lnTo>
                  <a:lnTo>
                    <a:pt x="7" y="1318"/>
                  </a:lnTo>
                  <a:lnTo>
                    <a:pt x="16" y="1311"/>
                  </a:lnTo>
                  <a:lnTo>
                    <a:pt x="0" y="1295"/>
                  </a:lnTo>
                  <a:lnTo>
                    <a:pt x="7" y="1273"/>
                  </a:lnTo>
                  <a:lnTo>
                    <a:pt x="16" y="1273"/>
                  </a:lnTo>
                  <a:lnTo>
                    <a:pt x="21" y="1262"/>
                  </a:lnTo>
                  <a:lnTo>
                    <a:pt x="16" y="1252"/>
                  </a:lnTo>
                  <a:lnTo>
                    <a:pt x="28" y="1224"/>
                  </a:lnTo>
                  <a:lnTo>
                    <a:pt x="54" y="1219"/>
                  </a:lnTo>
                  <a:lnTo>
                    <a:pt x="75" y="1202"/>
                  </a:lnTo>
                  <a:lnTo>
                    <a:pt x="92" y="1202"/>
                  </a:lnTo>
                  <a:lnTo>
                    <a:pt x="82" y="1186"/>
                  </a:lnTo>
                  <a:lnTo>
                    <a:pt x="113" y="1195"/>
                  </a:lnTo>
                  <a:lnTo>
                    <a:pt x="134" y="1179"/>
                  </a:lnTo>
                  <a:lnTo>
                    <a:pt x="146" y="1202"/>
                  </a:lnTo>
                  <a:lnTo>
                    <a:pt x="179" y="1195"/>
                  </a:lnTo>
                  <a:lnTo>
                    <a:pt x="189" y="1202"/>
                  </a:lnTo>
                  <a:lnTo>
                    <a:pt x="217" y="1179"/>
                  </a:lnTo>
                  <a:lnTo>
                    <a:pt x="217" y="1162"/>
                  </a:lnTo>
                  <a:lnTo>
                    <a:pt x="233" y="1146"/>
                  </a:lnTo>
                  <a:lnTo>
                    <a:pt x="314" y="1141"/>
                  </a:lnTo>
                  <a:lnTo>
                    <a:pt x="330" y="1125"/>
                  </a:lnTo>
                  <a:lnTo>
                    <a:pt x="340" y="1108"/>
                  </a:lnTo>
                  <a:lnTo>
                    <a:pt x="399" y="1075"/>
                  </a:lnTo>
                  <a:lnTo>
                    <a:pt x="432" y="1068"/>
                  </a:lnTo>
                  <a:lnTo>
                    <a:pt x="437" y="1058"/>
                  </a:lnTo>
                  <a:lnTo>
                    <a:pt x="460" y="1051"/>
                  </a:lnTo>
                  <a:lnTo>
                    <a:pt x="460" y="1042"/>
                  </a:lnTo>
                  <a:lnTo>
                    <a:pt x="470" y="1035"/>
                  </a:lnTo>
                  <a:lnTo>
                    <a:pt x="460" y="1002"/>
                  </a:lnTo>
                  <a:lnTo>
                    <a:pt x="470" y="985"/>
                  </a:lnTo>
                  <a:lnTo>
                    <a:pt x="491" y="980"/>
                  </a:lnTo>
                  <a:lnTo>
                    <a:pt x="474" y="969"/>
                  </a:lnTo>
                  <a:lnTo>
                    <a:pt x="507" y="957"/>
                  </a:lnTo>
                  <a:lnTo>
                    <a:pt x="503" y="931"/>
                  </a:lnTo>
                  <a:lnTo>
                    <a:pt x="474" y="869"/>
                  </a:lnTo>
                  <a:lnTo>
                    <a:pt x="474" y="829"/>
                  </a:lnTo>
                  <a:lnTo>
                    <a:pt x="486" y="820"/>
                  </a:lnTo>
                  <a:lnTo>
                    <a:pt x="470" y="813"/>
                  </a:lnTo>
                  <a:lnTo>
                    <a:pt x="448" y="813"/>
                  </a:lnTo>
                  <a:lnTo>
                    <a:pt x="437" y="803"/>
                  </a:lnTo>
                  <a:lnTo>
                    <a:pt x="453" y="791"/>
                  </a:lnTo>
                  <a:lnTo>
                    <a:pt x="566" y="763"/>
                  </a:lnTo>
                  <a:lnTo>
                    <a:pt x="583" y="780"/>
                  </a:lnTo>
                  <a:lnTo>
                    <a:pt x="611" y="775"/>
                  </a:lnTo>
                  <a:lnTo>
                    <a:pt x="633" y="780"/>
                  </a:lnTo>
                  <a:lnTo>
                    <a:pt x="633" y="758"/>
                  </a:lnTo>
                  <a:lnTo>
                    <a:pt x="611" y="742"/>
                  </a:lnTo>
                  <a:lnTo>
                    <a:pt x="663" y="614"/>
                  </a:lnTo>
                  <a:lnTo>
                    <a:pt x="663" y="593"/>
                  </a:lnTo>
                  <a:lnTo>
                    <a:pt x="725" y="614"/>
                  </a:lnTo>
                  <a:lnTo>
                    <a:pt x="777" y="614"/>
                  </a:lnTo>
                  <a:lnTo>
                    <a:pt x="784" y="626"/>
                  </a:lnTo>
                  <a:lnTo>
                    <a:pt x="784" y="631"/>
                  </a:lnTo>
                  <a:lnTo>
                    <a:pt x="815" y="610"/>
                  </a:lnTo>
                  <a:lnTo>
                    <a:pt x="838" y="610"/>
                  </a:lnTo>
                  <a:lnTo>
                    <a:pt x="848" y="593"/>
                  </a:lnTo>
                  <a:lnTo>
                    <a:pt x="848" y="581"/>
                  </a:lnTo>
                  <a:lnTo>
                    <a:pt x="838" y="569"/>
                  </a:lnTo>
                  <a:lnTo>
                    <a:pt x="838" y="527"/>
                  </a:lnTo>
                  <a:lnTo>
                    <a:pt x="852" y="487"/>
                  </a:lnTo>
                  <a:lnTo>
                    <a:pt x="907" y="470"/>
                  </a:lnTo>
                  <a:lnTo>
                    <a:pt x="923" y="458"/>
                  </a:lnTo>
                  <a:lnTo>
                    <a:pt x="918" y="432"/>
                  </a:lnTo>
                  <a:lnTo>
                    <a:pt x="935" y="416"/>
                  </a:lnTo>
                  <a:lnTo>
                    <a:pt x="961" y="425"/>
                  </a:lnTo>
                  <a:lnTo>
                    <a:pt x="999" y="416"/>
                  </a:lnTo>
                  <a:lnTo>
                    <a:pt x="999" y="432"/>
                  </a:lnTo>
                  <a:lnTo>
                    <a:pt x="994" y="442"/>
                  </a:lnTo>
                  <a:lnTo>
                    <a:pt x="1015" y="458"/>
                  </a:lnTo>
                  <a:lnTo>
                    <a:pt x="1011" y="470"/>
                  </a:lnTo>
                  <a:lnTo>
                    <a:pt x="1048" y="487"/>
                  </a:lnTo>
                  <a:lnTo>
                    <a:pt x="1053" y="503"/>
                  </a:lnTo>
                  <a:lnTo>
                    <a:pt x="1086" y="520"/>
                  </a:lnTo>
                  <a:lnTo>
                    <a:pt x="1117" y="520"/>
                  </a:lnTo>
                  <a:lnTo>
                    <a:pt x="1133" y="536"/>
                  </a:lnTo>
                  <a:lnTo>
                    <a:pt x="1155" y="536"/>
                  </a:lnTo>
                  <a:lnTo>
                    <a:pt x="1155" y="543"/>
                  </a:lnTo>
                  <a:lnTo>
                    <a:pt x="1178" y="569"/>
                  </a:lnTo>
                  <a:lnTo>
                    <a:pt x="1188" y="581"/>
                  </a:lnTo>
                  <a:lnTo>
                    <a:pt x="1204" y="610"/>
                  </a:lnTo>
                  <a:lnTo>
                    <a:pt x="1216" y="626"/>
                  </a:lnTo>
                  <a:lnTo>
                    <a:pt x="1226" y="652"/>
                  </a:lnTo>
                  <a:lnTo>
                    <a:pt x="1216" y="680"/>
                  </a:lnTo>
                  <a:lnTo>
                    <a:pt x="1226" y="704"/>
                  </a:lnTo>
                  <a:lnTo>
                    <a:pt x="1204" y="725"/>
                  </a:lnTo>
                  <a:lnTo>
                    <a:pt x="1192" y="747"/>
                  </a:lnTo>
                  <a:lnTo>
                    <a:pt x="1209" y="775"/>
                  </a:lnTo>
                  <a:lnTo>
                    <a:pt x="1259" y="791"/>
                  </a:lnTo>
                  <a:lnTo>
                    <a:pt x="1405" y="796"/>
                  </a:lnTo>
                  <a:lnTo>
                    <a:pt x="1481" y="853"/>
                  </a:lnTo>
                  <a:lnTo>
                    <a:pt x="1502" y="858"/>
                  </a:lnTo>
                  <a:lnTo>
                    <a:pt x="1528" y="858"/>
                  </a:lnTo>
                  <a:lnTo>
                    <a:pt x="1528" y="886"/>
                  </a:lnTo>
                  <a:lnTo>
                    <a:pt x="1540" y="886"/>
                  </a:lnTo>
                  <a:lnTo>
                    <a:pt x="1566" y="947"/>
                  </a:lnTo>
                  <a:lnTo>
                    <a:pt x="1594" y="980"/>
                  </a:lnTo>
                  <a:lnTo>
                    <a:pt x="1594" y="997"/>
                  </a:lnTo>
                  <a:lnTo>
                    <a:pt x="1646" y="985"/>
                  </a:lnTo>
                  <a:lnTo>
                    <a:pt x="1821" y="1014"/>
                  </a:lnTo>
                  <a:lnTo>
                    <a:pt x="1873" y="997"/>
                  </a:lnTo>
                  <a:lnTo>
                    <a:pt x="1911" y="997"/>
                  </a:lnTo>
                  <a:lnTo>
                    <a:pt x="1981" y="1014"/>
                  </a:lnTo>
                  <a:lnTo>
                    <a:pt x="1998" y="1035"/>
                  </a:lnTo>
                  <a:lnTo>
                    <a:pt x="2040" y="1042"/>
                  </a:lnTo>
                  <a:lnTo>
                    <a:pt x="2090" y="1068"/>
                  </a:lnTo>
                  <a:lnTo>
                    <a:pt x="2123" y="1075"/>
                  </a:lnTo>
                  <a:lnTo>
                    <a:pt x="2166" y="1068"/>
                  </a:lnTo>
                  <a:lnTo>
                    <a:pt x="2166" y="1084"/>
                  </a:lnTo>
                  <a:lnTo>
                    <a:pt x="2199" y="1091"/>
                  </a:lnTo>
                  <a:lnTo>
                    <a:pt x="2203" y="1091"/>
                  </a:lnTo>
                  <a:lnTo>
                    <a:pt x="2220" y="1084"/>
                  </a:lnTo>
                  <a:lnTo>
                    <a:pt x="2258" y="1058"/>
                  </a:lnTo>
                  <a:lnTo>
                    <a:pt x="2376" y="1018"/>
                  </a:lnTo>
                  <a:lnTo>
                    <a:pt x="2506" y="1018"/>
                  </a:lnTo>
                  <a:lnTo>
                    <a:pt x="2581" y="985"/>
                  </a:lnTo>
                  <a:lnTo>
                    <a:pt x="2624" y="940"/>
                  </a:lnTo>
                  <a:lnTo>
                    <a:pt x="2690" y="907"/>
                  </a:lnTo>
                  <a:lnTo>
                    <a:pt x="2683" y="886"/>
                  </a:lnTo>
                  <a:lnTo>
                    <a:pt x="2652" y="853"/>
                  </a:lnTo>
                  <a:lnTo>
                    <a:pt x="2678" y="796"/>
                  </a:lnTo>
                  <a:lnTo>
                    <a:pt x="2700" y="780"/>
                  </a:lnTo>
                  <a:lnTo>
                    <a:pt x="2721" y="791"/>
                  </a:lnTo>
                  <a:lnTo>
                    <a:pt x="2754" y="803"/>
                  </a:lnTo>
                  <a:lnTo>
                    <a:pt x="2808" y="813"/>
                  </a:lnTo>
                  <a:lnTo>
                    <a:pt x="2867" y="775"/>
                  </a:lnTo>
                  <a:lnTo>
                    <a:pt x="2867" y="758"/>
                  </a:lnTo>
                  <a:lnTo>
                    <a:pt x="2938" y="758"/>
                  </a:lnTo>
                  <a:lnTo>
                    <a:pt x="2985" y="737"/>
                  </a:lnTo>
                  <a:lnTo>
                    <a:pt x="3002" y="692"/>
                  </a:lnTo>
                  <a:lnTo>
                    <a:pt x="3023" y="680"/>
                  </a:lnTo>
                  <a:lnTo>
                    <a:pt x="3030" y="669"/>
                  </a:lnTo>
                  <a:lnTo>
                    <a:pt x="3068" y="669"/>
                  </a:lnTo>
                  <a:lnTo>
                    <a:pt x="3068" y="652"/>
                  </a:lnTo>
                  <a:lnTo>
                    <a:pt x="3099" y="652"/>
                  </a:lnTo>
                  <a:lnTo>
                    <a:pt x="3137" y="636"/>
                  </a:lnTo>
                  <a:lnTo>
                    <a:pt x="3170" y="647"/>
                  </a:lnTo>
                  <a:lnTo>
                    <a:pt x="3174" y="636"/>
                  </a:lnTo>
                  <a:lnTo>
                    <a:pt x="3207" y="647"/>
                  </a:lnTo>
                  <a:lnTo>
                    <a:pt x="3229" y="652"/>
                  </a:lnTo>
                  <a:lnTo>
                    <a:pt x="3245" y="636"/>
                  </a:lnTo>
                  <a:lnTo>
                    <a:pt x="3245" y="626"/>
                  </a:lnTo>
                  <a:lnTo>
                    <a:pt x="3229" y="598"/>
                  </a:lnTo>
                  <a:lnTo>
                    <a:pt x="3191" y="569"/>
                  </a:lnTo>
                  <a:lnTo>
                    <a:pt x="3191" y="553"/>
                  </a:lnTo>
                  <a:lnTo>
                    <a:pt x="3170" y="543"/>
                  </a:lnTo>
                  <a:lnTo>
                    <a:pt x="3153" y="520"/>
                  </a:lnTo>
                  <a:lnTo>
                    <a:pt x="3099" y="520"/>
                  </a:lnTo>
                  <a:lnTo>
                    <a:pt x="3068" y="553"/>
                  </a:lnTo>
                  <a:lnTo>
                    <a:pt x="3040" y="536"/>
                  </a:lnTo>
                  <a:lnTo>
                    <a:pt x="2992" y="536"/>
                  </a:lnTo>
                  <a:lnTo>
                    <a:pt x="2969" y="553"/>
                  </a:lnTo>
                  <a:lnTo>
                    <a:pt x="2948" y="527"/>
                  </a:lnTo>
                  <a:lnTo>
                    <a:pt x="2938" y="515"/>
                  </a:lnTo>
                  <a:lnTo>
                    <a:pt x="2959" y="499"/>
                  </a:lnTo>
                  <a:lnTo>
                    <a:pt x="2959" y="470"/>
                  </a:lnTo>
                  <a:lnTo>
                    <a:pt x="2976" y="449"/>
                  </a:lnTo>
                  <a:lnTo>
                    <a:pt x="3023" y="354"/>
                  </a:lnTo>
                  <a:lnTo>
                    <a:pt x="3111" y="388"/>
                  </a:lnTo>
                  <a:lnTo>
                    <a:pt x="3153" y="347"/>
                  </a:lnTo>
                  <a:lnTo>
                    <a:pt x="3191" y="338"/>
                  </a:lnTo>
                  <a:lnTo>
                    <a:pt x="3207" y="331"/>
                  </a:lnTo>
                  <a:lnTo>
                    <a:pt x="3207" y="305"/>
                  </a:lnTo>
                  <a:lnTo>
                    <a:pt x="3191" y="298"/>
                  </a:lnTo>
                  <a:lnTo>
                    <a:pt x="3219" y="265"/>
                  </a:lnTo>
                  <a:lnTo>
                    <a:pt x="3224" y="248"/>
                  </a:lnTo>
                  <a:lnTo>
                    <a:pt x="3240" y="239"/>
                  </a:lnTo>
                  <a:lnTo>
                    <a:pt x="3262" y="182"/>
                  </a:lnTo>
                  <a:lnTo>
                    <a:pt x="3300" y="154"/>
                  </a:lnTo>
                  <a:lnTo>
                    <a:pt x="3309" y="132"/>
                  </a:lnTo>
                  <a:lnTo>
                    <a:pt x="3300" y="116"/>
                  </a:lnTo>
                  <a:lnTo>
                    <a:pt x="3300" y="95"/>
                  </a:lnTo>
                  <a:lnTo>
                    <a:pt x="3283" y="83"/>
                  </a:lnTo>
                  <a:lnTo>
                    <a:pt x="3262" y="95"/>
                  </a:lnTo>
                  <a:lnTo>
                    <a:pt x="3257" y="71"/>
                  </a:lnTo>
                  <a:lnTo>
                    <a:pt x="3309" y="21"/>
                  </a:lnTo>
                  <a:lnTo>
                    <a:pt x="3510" y="0"/>
                  </a:lnTo>
                  <a:lnTo>
                    <a:pt x="3543" y="17"/>
                  </a:lnTo>
                  <a:lnTo>
                    <a:pt x="3552" y="17"/>
                  </a:lnTo>
                  <a:lnTo>
                    <a:pt x="3569" y="26"/>
                  </a:lnTo>
                  <a:lnTo>
                    <a:pt x="3597" y="38"/>
                  </a:lnTo>
                  <a:lnTo>
                    <a:pt x="3618" y="26"/>
                  </a:lnTo>
                  <a:lnTo>
                    <a:pt x="3649" y="43"/>
                  </a:lnTo>
                  <a:lnTo>
                    <a:pt x="3656" y="54"/>
                  </a:lnTo>
                  <a:lnTo>
                    <a:pt x="3649" y="62"/>
                  </a:lnTo>
                  <a:lnTo>
                    <a:pt x="3677" y="78"/>
                  </a:lnTo>
                  <a:lnTo>
                    <a:pt x="3673" y="95"/>
                  </a:lnTo>
                  <a:lnTo>
                    <a:pt x="3687" y="95"/>
                  </a:lnTo>
                  <a:lnTo>
                    <a:pt x="3703" y="111"/>
                  </a:lnTo>
                  <a:lnTo>
                    <a:pt x="3694" y="132"/>
                  </a:lnTo>
                  <a:lnTo>
                    <a:pt x="3715" y="132"/>
                  </a:lnTo>
                  <a:lnTo>
                    <a:pt x="3703" y="149"/>
                  </a:lnTo>
                  <a:lnTo>
                    <a:pt x="3725" y="170"/>
                  </a:lnTo>
                  <a:lnTo>
                    <a:pt x="3732" y="203"/>
                  </a:lnTo>
                  <a:lnTo>
                    <a:pt x="3741" y="203"/>
                  </a:lnTo>
                  <a:lnTo>
                    <a:pt x="3732" y="222"/>
                  </a:lnTo>
                  <a:lnTo>
                    <a:pt x="3741" y="210"/>
                  </a:lnTo>
                  <a:lnTo>
                    <a:pt x="3741" y="239"/>
                  </a:lnTo>
                  <a:lnTo>
                    <a:pt x="3762" y="265"/>
                  </a:lnTo>
                  <a:lnTo>
                    <a:pt x="3770" y="281"/>
                  </a:lnTo>
                  <a:lnTo>
                    <a:pt x="3762" y="293"/>
                  </a:lnTo>
                  <a:lnTo>
                    <a:pt x="3770" y="305"/>
                  </a:lnTo>
                  <a:lnTo>
                    <a:pt x="3786" y="314"/>
                  </a:lnTo>
                  <a:lnTo>
                    <a:pt x="3779" y="331"/>
                  </a:lnTo>
                  <a:lnTo>
                    <a:pt x="3779" y="354"/>
                  </a:lnTo>
                  <a:lnTo>
                    <a:pt x="3800" y="376"/>
                  </a:lnTo>
                  <a:lnTo>
                    <a:pt x="3871" y="376"/>
                  </a:lnTo>
                  <a:lnTo>
                    <a:pt x="3892" y="404"/>
                  </a:lnTo>
                  <a:lnTo>
                    <a:pt x="3921" y="392"/>
                  </a:lnTo>
                  <a:lnTo>
                    <a:pt x="3925" y="404"/>
                  </a:lnTo>
                  <a:lnTo>
                    <a:pt x="3930" y="409"/>
                  </a:lnTo>
                  <a:lnTo>
                    <a:pt x="3947" y="425"/>
                  </a:lnTo>
                  <a:lnTo>
                    <a:pt x="3975" y="442"/>
                  </a:lnTo>
                  <a:lnTo>
                    <a:pt x="4001" y="442"/>
                  </a:lnTo>
                  <a:lnTo>
                    <a:pt x="3996" y="465"/>
                  </a:lnTo>
                  <a:lnTo>
                    <a:pt x="4013" y="499"/>
                  </a:lnTo>
                  <a:lnTo>
                    <a:pt x="4001" y="515"/>
                  </a:lnTo>
                  <a:lnTo>
                    <a:pt x="4018" y="527"/>
                  </a:lnTo>
                  <a:lnTo>
                    <a:pt x="4027" y="553"/>
                  </a:lnTo>
                  <a:lnTo>
                    <a:pt x="4136" y="553"/>
                  </a:lnTo>
                  <a:lnTo>
                    <a:pt x="4140" y="536"/>
                  </a:lnTo>
                  <a:lnTo>
                    <a:pt x="4174" y="515"/>
                  </a:lnTo>
                  <a:lnTo>
                    <a:pt x="4202" y="520"/>
                  </a:lnTo>
                  <a:lnTo>
                    <a:pt x="4216" y="499"/>
                  </a:lnTo>
                  <a:lnTo>
                    <a:pt x="4266" y="487"/>
                  </a:lnTo>
                  <a:lnTo>
                    <a:pt x="4287" y="499"/>
                  </a:lnTo>
                  <a:lnTo>
                    <a:pt x="4270" y="520"/>
                  </a:lnTo>
                  <a:lnTo>
                    <a:pt x="4287" y="553"/>
                  </a:lnTo>
                  <a:lnTo>
                    <a:pt x="4270" y="569"/>
                  </a:lnTo>
                  <a:lnTo>
                    <a:pt x="4249" y="581"/>
                  </a:lnTo>
                  <a:lnTo>
                    <a:pt x="4249" y="610"/>
                  </a:lnTo>
                  <a:lnTo>
                    <a:pt x="4244" y="610"/>
                  </a:lnTo>
                  <a:lnTo>
                    <a:pt x="4233" y="647"/>
                  </a:lnTo>
                  <a:lnTo>
                    <a:pt x="4228" y="664"/>
                  </a:lnTo>
                  <a:lnTo>
                    <a:pt x="4233" y="669"/>
                  </a:lnTo>
                  <a:lnTo>
                    <a:pt x="4228" y="680"/>
                  </a:lnTo>
                  <a:lnTo>
                    <a:pt x="4195" y="721"/>
                  </a:lnTo>
                  <a:lnTo>
                    <a:pt x="4195" y="742"/>
                  </a:lnTo>
                  <a:lnTo>
                    <a:pt x="4174" y="758"/>
                  </a:lnTo>
                  <a:lnTo>
                    <a:pt x="4174" y="780"/>
                  </a:lnTo>
                  <a:lnTo>
                    <a:pt x="4157" y="791"/>
                  </a:lnTo>
                  <a:lnTo>
                    <a:pt x="4093" y="775"/>
                  </a:lnTo>
                  <a:lnTo>
                    <a:pt x="4088" y="763"/>
                  </a:lnTo>
                  <a:lnTo>
                    <a:pt x="4055" y="796"/>
                  </a:lnTo>
                  <a:lnTo>
                    <a:pt x="4018" y="803"/>
                  </a:lnTo>
                  <a:lnTo>
                    <a:pt x="4034" y="820"/>
                  </a:lnTo>
                  <a:lnTo>
                    <a:pt x="4051" y="874"/>
                  </a:lnTo>
                  <a:lnTo>
                    <a:pt x="4039" y="924"/>
                  </a:lnTo>
                  <a:lnTo>
                    <a:pt x="4051" y="940"/>
                  </a:lnTo>
                  <a:lnTo>
                    <a:pt x="4034" y="964"/>
                  </a:lnTo>
                  <a:lnTo>
                    <a:pt x="4034" y="980"/>
                  </a:lnTo>
                  <a:lnTo>
                    <a:pt x="3985" y="997"/>
                  </a:lnTo>
                  <a:lnTo>
                    <a:pt x="3996" y="1002"/>
                  </a:lnTo>
                  <a:lnTo>
                    <a:pt x="3996" y="1018"/>
                  </a:lnTo>
                  <a:lnTo>
                    <a:pt x="3996" y="1014"/>
                  </a:lnTo>
                  <a:lnTo>
                    <a:pt x="3975" y="997"/>
                  </a:lnTo>
                  <a:lnTo>
                    <a:pt x="3975" y="980"/>
                  </a:lnTo>
                  <a:lnTo>
                    <a:pt x="3947" y="969"/>
                  </a:lnTo>
                  <a:lnTo>
                    <a:pt x="3930" y="1018"/>
                  </a:lnTo>
                  <a:lnTo>
                    <a:pt x="3921" y="1025"/>
                  </a:lnTo>
                  <a:lnTo>
                    <a:pt x="3909" y="1018"/>
                  </a:lnTo>
                  <a:lnTo>
                    <a:pt x="3904" y="1035"/>
                  </a:lnTo>
                  <a:lnTo>
                    <a:pt x="3876" y="1058"/>
                  </a:lnTo>
                  <a:lnTo>
                    <a:pt x="3817" y="1058"/>
                  </a:lnTo>
                  <a:lnTo>
                    <a:pt x="3824" y="1075"/>
                  </a:lnTo>
                  <a:lnTo>
                    <a:pt x="3833" y="1091"/>
                  </a:lnTo>
                  <a:lnTo>
                    <a:pt x="3824" y="1113"/>
                  </a:lnTo>
                  <a:lnTo>
                    <a:pt x="3762" y="1108"/>
                  </a:lnTo>
                  <a:lnTo>
                    <a:pt x="3741" y="1075"/>
                  </a:lnTo>
                  <a:lnTo>
                    <a:pt x="3715" y="1091"/>
                  </a:lnTo>
                  <a:lnTo>
                    <a:pt x="3711" y="1113"/>
                  </a:lnTo>
                  <a:lnTo>
                    <a:pt x="3677" y="1151"/>
                  </a:lnTo>
                  <a:lnTo>
                    <a:pt x="3656" y="1151"/>
                  </a:lnTo>
                  <a:lnTo>
                    <a:pt x="3635" y="1169"/>
                  </a:lnTo>
                  <a:lnTo>
                    <a:pt x="3607" y="1186"/>
                  </a:lnTo>
                  <a:lnTo>
                    <a:pt x="3607" y="1195"/>
                  </a:lnTo>
                  <a:lnTo>
                    <a:pt x="3597" y="1186"/>
                  </a:lnTo>
                  <a:lnTo>
                    <a:pt x="3564" y="1219"/>
                  </a:lnTo>
                  <a:lnTo>
                    <a:pt x="3552" y="1236"/>
                  </a:lnTo>
                  <a:lnTo>
                    <a:pt x="3543" y="1240"/>
                  </a:lnTo>
                  <a:lnTo>
                    <a:pt x="3514" y="1240"/>
                  </a:lnTo>
                  <a:lnTo>
                    <a:pt x="3493" y="1252"/>
                  </a:lnTo>
                  <a:lnTo>
                    <a:pt x="3477" y="1240"/>
                  </a:lnTo>
                  <a:lnTo>
                    <a:pt x="3488" y="1257"/>
                  </a:lnTo>
                  <a:lnTo>
                    <a:pt x="3422" y="1278"/>
                  </a:lnTo>
                  <a:lnTo>
                    <a:pt x="3392" y="1311"/>
                  </a:lnTo>
                  <a:lnTo>
                    <a:pt x="3370" y="1311"/>
                  </a:lnTo>
                  <a:lnTo>
                    <a:pt x="3370" y="1330"/>
                  </a:lnTo>
                  <a:lnTo>
                    <a:pt x="3333" y="1335"/>
                  </a:lnTo>
                  <a:lnTo>
                    <a:pt x="3333" y="1318"/>
                  </a:lnTo>
                  <a:lnTo>
                    <a:pt x="3370" y="1306"/>
                  </a:lnTo>
                  <a:lnTo>
                    <a:pt x="3363" y="1295"/>
                  </a:lnTo>
                  <a:lnTo>
                    <a:pt x="3380" y="1278"/>
                  </a:lnTo>
                  <a:lnTo>
                    <a:pt x="3363" y="1278"/>
                  </a:lnTo>
                  <a:lnTo>
                    <a:pt x="3354" y="1273"/>
                  </a:lnTo>
                  <a:lnTo>
                    <a:pt x="3337" y="1262"/>
                  </a:lnTo>
                  <a:lnTo>
                    <a:pt x="3363" y="1257"/>
                  </a:lnTo>
                  <a:lnTo>
                    <a:pt x="3354" y="1240"/>
                  </a:lnTo>
                  <a:lnTo>
                    <a:pt x="3385" y="1236"/>
                  </a:lnTo>
                  <a:lnTo>
                    <a:pt x="3418" y="1186"/>
                  </a:lnTo>
                  <a:lnTo>
                    <a:pt x="3401" y="1162"/>
                  </a:lnTo>
                  <a:lnTo>
                    <a:pt x="3337" y="1151"/>
                  </a:lnTo>
                  <a:lnTo>
                    <a:pt x="3325" y="1162"/>
                  </a:lnTo>
                  <a:lnTo>
                    <a:pt x="3316" y="1162"/>
                  </a:lnTo>
                  <a:lnTo>
                    <a:pt x="3325" y="1169"/>
                  </a:lnTo>
                  <a:lnTo>
                    <a:pt x="3309" y="1169"/>
                  </a:lnTo>
                  <a:lnTo>
                    <a:pt x="3295" y="1195"/>
                  </a:lnTo>
                  <a:lnTo>
                    <a:pt x="3283" y="1207"/>
                  </a:lnTo>
                  <a:lnTo>
                    <a:pt x="3224" y="1240"/>
                  </a:lnTo>
                  <a:lnTo>
                    <a:pt x="3207" y="1252"/>
                  </a:lnTo>
                  <a:lnTo>
                    <a:pt x="3203" y="1278"/>
                  </a:lnTo>
                  <a:lnTo>
                    <a:pt x="3174" y="1306"/>
                  </a:lnTo>
                  <a:lnTo>
                    <a:pt x="3186" y="1295"/>
                  </a:lnTo>
                  <a:lnTo>
                    <a:pt x="3153" y="1295"/>
                  </a:lnTo>
                  <a:lnTo>
                    <a:pt x="3137" y="1311"/>
                  </a:lnTo>
                  <a:lnTo>
                    <a:pt x="3115" y="1295"/>
                  </a:lnTo>
                  <a:lnTo>
                    <a:pt x="3094" y="1306"/>
                  </a:lnTo>
                  <a:lnTo>
                    <a:pt x="3082" y="1347"/>
                  </a:lnTo>
                  <a:lnTo>
                    <a:pt x="3094" y="1368"/>
                  </a:lnTo>
                  <a:lnTo>
                    <a:pt x="3120" y="1384"/>
                  </a:lnTo>
                  <a:lnTo>
                    <a:pt x="3170" y="1384"/>
                  </a:lnTo>
                  <a:lnTo>
                    <a:pt x="3186" y="1406"/>
                  </a:lnTo>
                  <a:lnTo>
                    <a:pt x="3174" y="1455"/>
                  </a:lnTo>
                  <a:lnTo>
                    <a:pt x="3203" y="1472"/>
                  </a:lnTo>
                  <a:lnTo>
                    <a:pt x="3240" y="1472"/>
                  </a:lnTo>
                  <a:lnTo>
                    <a:pt x="3245" y="1462"/>
                  </a:lnTo>
                  <a:lnTo>
                    <a:pt x="3245" y="1446"/>
                  </a:lnTo>
                  <a:lnTo>
                    <a:pt x="3309" y="1406"/>
                  </a:lnTo>
                  <a:lnTo>
                    <a:pt x="3316" y="1417"/>
                  </a:lnTo>
                  <a:lnTo>
                    <a:pt x="3333" y="1429"/>
                  </a:lnTo>
                  <a:lnTo>
                    <a:pt x="3363" y="1446"/>
                  </a:lnTo>
                  <a:lnTo>
                    <a:pt x="3401" y="1429"/>
                  </a:lnTo>
                  <a:lnTo>
                    <a:pt x="3408" y="1446"/>
                  </a:lnTo>
                  <a:lnTo>
                    <a:pt x="3434" y="1446"/>
                  </a:lnTo>
                  <a:lnTo>
                    <a:pt x="3439" y="1462"/>
                  </a:lnTo>
                  <a:lnTo>
                    <a:pt x="3422" y="1472"/>
                  </a:lnTo>
                  <a:lnTo>
                    <a:pt x="3422" y="1479"/>
                  </a:lnTo>
                  <a:lnTo>
                    <a:pt x="3434" y="1479"/>
                  </a:lnTo>
                  <a:lnTo>
                    <a:pt x="3434" y="1484"/>
                  </a:lnTo>
                  <a:lnTo>
                    <a:pt x="3408" y="1495"/>
                  </a:lnTo>
                  <a:lnTo>
                    <a:pt x="3408" y="1484"/>
                  </a:lnTo>
                  <a:lnTo>
                    <a:pt x="3392" y="1479"/>
                  </a:lnTo>
                  <a:lnTo>
                    <a:pt x="3363" y="1500"/>
                  </a:lnTo>
                  <a:lnTo>
                    <a:pt x="3363" y="1495"/>
                  </a:lnTo>
                  <a:lnTo>
                    <a:pt x="3325" y="1517"/>
                  </a:lnTo>
                  <a:lnTo>
                    <a:pt x="3309" y="1512"/>
                  </a:lnTo>
                  <a:lnTo>
                    <a:pt x="3309" y="1517"/>
                  </a:lnTo>
                  <a:lnTo>
                    <a:pt x="3316" y="1512"/>
                  </a:lnTo>
                  <a:lnTo>
                    <a:pt x="3325" y="1517"/>
                  </a:lnTo>
                  <a:lnTo>
                    <a:pt x="3316" y="1533"/>
                  </a:lnTo>
                  <a:lnTo>
                    <a:pt x="3309" y="1528"/>
                  </a:lnTo>
                  <a:lnTo>
                    <a:pt x="3300" y="1528"/>
                  </a:lnTo>
                  <a:lnTo>
                    <a:pt x="3300" y="1550"/>
                  </a:lnTo>
                  <a:lnTo>
                    <a:pt x="3278" y="1557"/>
                  </a:lnTo>
                  <a:lnTo>
                    <a:pt x="3278" y="1550"/>
                  </a:lnTo>
                  <a:lnTo>
                    <a:pt x="3278" y="1540"/>
                  </a:lnTo>
                  <a:lnTo>
                    <a:pt x="3262" y="1550"/>
                  </a:lnTo>
                  <a:lnTo>
                    <a:pt x="3271" y="1566"/>
                  </a:lnTo>
                  <a:lnTo>
                    <a:pt x="3245" y="1583"/>
                  </a:lnTo>
                  <a:lnTo>
                    <a:pt x="3245" y="1590"/>
                  </a:lnTo>
                  <a:lnTo>
                    <a:pt x="3229" y="1595"/>
                  </a:lnTo>
                  <a:lnTo>
                    <a:pt x="3207" y="1639"/>
                  </a:lnTo>
                  <a:lnTo>
                    <a:pt x="3203" y="1639"/>
                  </a:lnTo>
                  <a:lnTo>
                    <a:pt x="3191" y="1651"/>
                  </a:lnTo>
                  <a:lnTo>
                    <a:pt x="3203" y="1661"/>
                  </a:lnTo>
                  <a:lnTo>
                    <a:pt x="3219" y="1668"/>
                  </a:lnTo>
                  <a:lnTo>
                    <a:pt x="3229" y="1684"/>
                  </a:lnTo>
                  <a:lnTo>
                    <a:pt x="3271" y="1701"/>
                  </a:lnTo>
                  <a:lnTo>
                    <a:pt x="3283" y="1755"/>
                  </a:lnTo>
                  <a:lnTo>
                    <a:pt x="3316" y="1812"/>
                  </a:lnTo>
                  <a:lnTo>
                    <a:pt x="3316" y="1833"/>
                  </a:lnTo>
                  <a:lnTo>
                    <a:pt x="3354" y="1862"/>
                  </a:lnTo>
                  <a:lnTo>
                    <a:pt x="3354" y="1871"/>
                  </a:lnTo>
                  <a:lnTo>
                    <a:pt x="3380" y="1888"/>
                  </a:lnTo>
                  <a:lnTo>
                    <a:pt x="3385" y="1904"/>
                  </a:lnTo>
                  <a:lnTo>
                    <a:pt x="3385" y="1916"/>
                  </a:lnTo>
                  <a:lnTo>
                    <a:pt x="3347" y="1899"/>
                  </a:lnTo>
                  <a:lnTo>
                    <a:pt x="3325" y="1899"/>
                  </a:lnTo>
                  <a:lnTo>
                    <a:pt x="3295" y="1883"/>
                  </a:lnTo>
                  <a:lnTo>
                    <a:pt x="3262" y="1888"/>
                  </a:lnTo>
                  <a:lnTo>
                    <a:pt x="3240" y="1862"/>
                  </a:lnTo>
                  <a:lnTo>
                    <a:pt x="3229" y="1866"/>
                  </a:lnTo>
                  <a:lnTo>
                    <a:pt x="3224" y="1871"/>
                  </a:lnTo>
                  <a:lnTo>
                    <a:pt x="3240" y="1871"/>
                  </a:lnTo>
                  <a:lnTo>
                    <a:pt x="3245" y="1888"/>
                  </a:lnTo>
                  <a:lnTo>
                    <a:pt x="3262" y="1888"/>
                  </a:lnTo>
                  <a:lnTo>
                    <a:pt x="3283" y="1883"/>
                  </a:lnTo>
                  <a:lnTo>
                    <a:pt x="3300" y="1888"/>
                  </a:lnTo>
                  <a:lnTo>
                    <a:pt x="3309" y="1899"/>
                  </a:lnTo>
                  <a:lnTo>
                    <a:pt x="3300" y="1899"/>
                  </a:lnTo>
                  <a:lnTo>
                    <a:pt x="3333" y="1904"/>
                  </a:lnTo>
                  <a:lnTo>
                    <a:pt x="3370" y="1937"/>
                  </a:lnTo>
                  <a:lnTo>
                    <a:pt x="3385" y="1973"/>
                  </a:lnTo>
                  <a:lnTo>
                    <a:pt x="3385" y="1977"/>
                  </a:lnTo>
                  <a:lnTo>
                    <a:pt x="3354" y="1977"/>
                  </a:lnTo>
                  <a:lnTo>
                    <a:pt x="3325" y="1999"/>
                  </a:lnTo>
                  <a:lnTo>
                    <a:pt x="3309" y="2015"/>
                  </a:lnTo>
                  <a:lnTo>
                    <a:pt x="3283" y="2015"/>
                  </a:lnTo>
                  <a:lnTo>
                    <a:pt x="3262" y="2032"/>
                  </a:lnTo>
                  <a:lnTo>
                    <a:pt x="3295" y="2015"/>
                  </a:lnTo>
                  <a:lnTo>
                    <a:pt x="3295" y="2032"/>
                  </a:lnTo>
                  <a:lnTo>
                    <a:pt x="3309" y="2039"/>
                  </a:lnTo>
                  <a:lnTo>
                    <a:pt x="3347" y="2027"/>
                  </a:lnTo>
                  <a:lnTo>
                    <a:pt x="3370" y="2048"/>
                  </a:lnTo>
                  <a:lnTo>
                    <a:pt x="3401" y="2055"/>
                  </a:lnTo>
                  <a:lnTo>
                    <a:pt x="3370" y="2081"/>
                  </a:lnTo>
                  <a:lnTo>
                    <a:pt x="3363" y="2081"/>
                  </a:lnTo>
                  <a:lnTo>
                    <a:pt x="3354" y="2088"/>
                  </a:lnTo>
                  <a:lnTo>
                    <a:pt x="3380" y="2081"/>
                  </a:lnTo>
                  <a:lnTo>
                    <a:pt x="3380" y="2088"/>
                  </a:lnTo>
                  <a:lnTo>
                    <a:pt x="3385" y="2081"/>
                  </a:lnTo>
                  <a:lnTo>
                    <a:pt x="3380" y="2081"/>
                  </a:lnTo>
                  <a:lnTo>
                    <a:pt x="3385" y="2072"/>
                  </a:lnTo>
                  <a:lnTo>
                    <a:pt x="3392" y="2081"/>
                  </a:lnTo>
                  <a:lnTo>
                    <a:pt x="3385" y="2105"/>
                  </a:lnTo>
                  <a:lnTo>
                    <a:pt x="3392" y="2105"/>
                  </a:lnTo>
                  <a:lnTo>
                    <a:pt x="3385" y="2110"/>
                  </a:lnTo>
                  <a:lnTo>
                    <a:pt x="3380" y="2093"/>
                  </a:lnTo>
                  <a:lnTo>
                    <a:pt x="3380" y="2110"/>
                  </a:lnTo>
                  <a:lnTo>
                    <a:pt x="3363" y="2105"/>
                  </a:lnTo>
                  <a:lnTo>
                    <a:pt x="3354" y="2110"/>
                  </a:lnTo>
                  <a:lnTo>
                    <a:pt x="3370" y="2121"/>
                  </a:lnTo>
                  <a:lnTo>
                    <a:pt x="3370" y="2126"/>
                  </a:lnTo>
                  <a:lnTo>
                    <a:pt x="3354" y="2126"/>
                  </a:lnTo>
                  <a:lnTo>
                    <a:pt x="3370" y="2138"/>
                  </a:lnTo>
                  <a:lnTo>
                    <a:pt x="3363" y="2143"/>
                  </a:lnTo>
                  <a:lnTo>
                    <a:pt x="3347" y="2143"/>
                  </a:lnTo>
                  <a:lnTo>
                    <a:pt x="3333" y="2138"/>
                  </a:lnTo>
                  <a:lnTo>
                    <a:pt x="3354" y="2150"/>
                  </a:lnTo>
                  <a:lnTo>
                    <a:pt x="3370" y="2176"/>
                  </a:lnTo>
                  <a:lnTo>
                    <a:pt x="3363" y="2183"/>
                  </a:lnTo>
                  <a:lnTo>
                    <a:pt x="3354" y="2176"/>
                  </a:lnTo>
                  <a:lnTo>
                    <a:pt x="3347" y="2192"/>
                  </a:lnTo>
                  <a:lnTo>
                    <a:pt x="3337" y="2176"/>
                  </a:lnTo>
                  <a:lnTo>
                    <a:pt x="3316" y="2199"/>
                  </a:lnTo>
                  <a:lnTo>
                    <a:pt x="3295" y="2199"/>
                  </a:lnTo>
                  <a:lnTo>
                    <a:pt x="3316" y="2204"/>
                  </a:lnTo>
                  <a:lnTo>
                    <a:pt x="3316" y="2216"/>
                  </a:lnTo>
                  <a:lnTo>
                    <a:pt x="3295" y="2232"/>
                  </a:lnTo>
                  <a:lnTo>
                    <a:pt x="3300" y="2249"/>
                  </a:lnTo>
                  <a:lnTo>
                    <a:pt x="3283" y="2258"/>
                  </a:lnTo>
                  <a:lnTo>
                    <a:pt x="3278" y="2254"/>
                  </a:lnTo>
                  <a:lnTo>
                    <a:pt x="3271" y="2254"/>
                  </a:lnTo>
                  <a:lnTo>
                    <a:pt x="3271" y="2258"/>
                  </a:lnTo>
                  <a:lnTo>
                    <a:pt x="3283" y="2270"/>
                  </a:lnTo>
                  <a:lnTo>
                    <a:pt x="3271" y="2270"/>
                  </a:lnTo>
                  <a:lnTo>
                    <a:pt x="3271" y="2287"/>
                  </a:lnTo>
                  <a:lnTo>
                    <a:pt x="3257" y="2287"/>
                  </a:lnTo>
                  <a:lnTo>
                    <a:pt x="3262" y="2310"/>
                  </a:lnTo>
                  <a:lnTo>
                    <a:pt x="3245" y="2315"/>
                  </a:lnTo>
                  <a:lnTo>
                    <a:pt x="3262" y="2294"/>
                  </a:lnTo>
                  <a:lnTo>
                    <a:pt x="3245" y="2294"/>
                  </a:lnTo>
                  <a:lnTo>
                    <a:pt x="3245" y="2310"/>
                  </a:lnTo>
                  <a:lnTo>
                    <a:pt x="3240" y="2294"/>
                  </a:lnTo>
                  <a:lnTo>
                    <a:pt x="3229" y="2294"/>
                  </a:lnTo>
                  <a:lnTo>
                    <a:pt x="3229" y="2303"/>
                  </a:lnTo>
                  <a:lnTo>
                    <a:pt x="3224" y="2294"/>
                  </a:lnTo>
                  <a:lnTo>
                    <a:pt x="3224" y="2310"/>
                  </a:lnTo>
                  <a:lnTo>
                    <a:pt x="3229" y="2310"/>
                  </a:lnTo>
                  <a:lnTo>
                    <a:pt x="3240" y="2327"/>
                  </a:lnTo>
                  <a:lnTo>
                    <a:pt x="3229" y="2315"/>
                  </a:lnTo>
                  <a:lnTo>
                    <a:pt x="3224" y="2327"/>
                  </a:lnTo>
                  <a:lnTo>
                    <a:pt x="3229" y="2332"/>
                  </a:lnTo>
                  <a:lnTo>
                    <a:pt x="3240" y="2327"/>
                  </a:lnTo>
                  <a:lnTo>
                    <a:pt x="3245" y="2327"/>
                  </a:lnTo>
                  <a:lnTo>
                    <a:pt x="3229" y="2332"/>
                  </a:lnTo>
                  <a:lnTo>
                    <a:pt x="3219" y="2360"/>
                  </a:lnTo>
                  <a:lnTo>
                    <a:pt x="3191" y="2343"/>
                  </a:lnTo>
                  <a:lnTo>
                    <a:pt x="3207" y="2360"/>
                  </a:lnTo>
                  <a:lnTo>
                    <a:pt x="3224" y="2348"/>
                  </a:lnTo>
                  <a:lnTo>
                    <a:pt x="3229" y="2360"/>
                  </a:lnTo>
                  <a:lnTo>
                    <a:pt x="3224" y="2365"/>
                  </a:lnTo>
                  <a:lnTo>
                    <a:pt x="3224" y="2381"/>
                  </a:lnTo>
                  <a:lnTo>
                    <a:pt x="3219" y="2381"/>
                  </a:lnTo>
                  <a:lnTo>
                    <a:pt x="3229" y="2402"/>
                  </a:lnTo>
                  <a:lnTo>
                    <a:pt x="3207" y="2386"/>
                  </a:lnTo>
                  <a:lnTo>
                    <a:pt x="3191" y="2402"/>
                  </a:lnTo>
                  <a:lnTo>
                    <a:pt x="3207" y="2414"/>
                  </a:lnTo>
                  <a:lnTo>
                    <a:pt x="3191" y="2426"/>
                  </a:lnTo>
                  <a:lnTo>
                    <a:pt x="3186" y="2419"/>
                  </a:lnTo>
                  <a:lnTo>
                    <a:pt x="3186" y="2414"/>
                  </a:lnTo>
                  <a:lnTo>
                    <a:pt x="3174" y="2414"/>
                  </a:lnTo>
                  <a:lnTo>
                    <a:pt x="3186" y="2419"/>
                  </a:lnTo>
                  <a:lnTo>
                    <a:pt x="3170" y="2426"/>
                  </a:lnTo>
                  <a:lnTo>
                    <a:pt x="3186" y="2438"/>
                  </a:lnTo>
                  <a:lnTo>
                    <a:pt x="3165" y="2443"/>
                  </a:lnTo>
                  <a:lnTo>
                    <a:pt x="3165" y="2438"/>
                  </a:lnTo>
                  <a:lnTo>
                    <a:pt x="3153" y="2443"/>
                  </a:lnTo>
                  <a:lnTo>
                    <a:pt x="3153" y="2454"/>
                  </a:lnTo>
                  <a:lnTo>
                    <a:pt x="3170" y="2454"/>
                  </a:lnTo>
                  <a:lnTo>
                    <a:pt x="3153" y="2471"/>
                  </a:lnTo>
                  <a:lnTo>
                    <a:pt x="3148" y="2459"/>
                  </a:lnTo>
                  <a:lnTo>
                    <a:pt x="3132" y="2471"/>
                  </a:lnTo>
                  <a:lnTo>
                    <a:pt x="3120" y="2459"/>
                  </a:lnTo>
                  <a:lnTo>
                    <a:pt x="3111" y="2471"/>
                  </a:lnTo>
                  <a:lnTo>
                    <a:pt x="3115" y="2471"/>
                  </a:lnTo>
                  <a:lnTo>
                    <a:pt x="3115" y="2476"/>
                  </a:lnTo>
                  <a:lnTo>
                    <a:pt x="3099" y="2476"/>
                  </a:lnTo>
                  <a:lnTo>
                    <a:pt x="3115" y="2476"/>
                  </a:lnTo>
                  <a:lnTo>
                    <a:pt x="3120" y="2492"/>
                  </a:lnTo>
                  <a:lnTo>
                    <a:pt x="3094" y="2513"/>
                  </a:lnTo>
                  <a:lnTo>
                    <a:pt x="3099" y="2509"/>
                  </a:lnTo>
                  <a:lnTo>
                    <a:pt x="3082" y="2525"/>
                  </a:lnTo>
                  <a:lnTo>
                    <a:pt x="3061" y="2530"/>
                  </a:lnTo>
                  <a:lnTo>
                    <a:pt x="3056" y="2537"/>
                  </a:lnTo>
                  <a:lnTo>
                    <a:pt x="3040" y="2530"/>
                  </a:lnTo>
                  <a:lnTo>
                    <a:pt x="3023" y="2563"/>
                  </a:lnTo>
                  <a:lnTo>
                    <a:pt x="3007" y="2554"/>
                  </a:lnTo>
                  <a:lnTo>
                    <a:pt x="3030" y="2570"/>
                  </a:lnTo>
                  <a:lnTo>
                    <a:pt x="3007" y="2570"/>
                  </a:lnTo>
                  <a:lnTo>
                    <a:pt x="3007" y="2587"/>
                  </a:lnTo>
                  <a:lnTo>
                    <a:pt x="2992" y="2591"/>
                  </a:lnTo>
                  <a:lnTo>
                    <a:pt x="2959" y="2603"/>
                  </a:lnTo>
                  <a:lnTo>
                    <a:pt x="2948" y="2591"/>
                  </a:lnTo>
                  <a:lnTo>
                    <a:pt x="2938" y="2591"/>
                  </a:lnTo>
                  <a:lnTo>
                    <a:pt x="2938" y="2608"/>
                  </a:lnTo>
                  <a:lnTo>
                    <a:pt x="2917" y="2603"/>
                  </a:lnTo>
                  <a:lnTo>
                    <a:pt x="2893" y="2608"/>
                  </a:lnTo>
                  <a:lnTo>
                    <a:pt x="2893" y="2620"/>
                  </a:lnTo>
                  <a:lnTo>
                    <a:pt x="2884" y="2620"/>
                  </a:lnTo>
                  <a:lnTo>
                    <a:pt x="2884" y="2603"/>
                  </a:lnTo>
                  <a:lnTo>
                    <a:pt x="2867" y="2608"/>
                  </a:lnTo>
                  <a:lnTo>
                    <a:pt x="2879" y="2624"/>
                  </a:lnTo>
                  <a:lnTo>
                    <a:pt x="2867" y="2624"/>
                  </a:lnTo>
                  <a:lnTo>
                    <a:pt x="2863" y="2620"/>
                  </a:lnTo>
                  <a:lnTo>
                    <a:pt x="2846" y="2620"/>
                  </a:lnTo>
                  <a:lnTo>
                    <a:pt x="2851" y="2624"/>
                  </a:lnTo>
                  <a:lnTo>
                    <a:pt x="2863" y="2624"/>
                  </a:lnTo>
                  <a:lnTo>
                    <a:pt x="2851" y="2636"/>
                  </a:lnTo>
                  <a:lnTo>
                    <a:pt x="2851" y="2641"/>
                  </a:lnTo>
                  <a:lnTo>
                    <a:pt x="2829" y="2636"/>
                  </a:lnTo>
                  <a:lnTo>
                    <a:pt x="2841" y="2624"/>
                  </a:lnTo>
                  <a:lnTo>
                    <a:pt x="2825" y="2624"/>
                  </a:lnTo>
                  <a:lnTo>
                    <a:pt x="2813" y="2603"/>
                  </a:lnTo>
                  <a:lnTo>
                    <a:pt x="2808" y="2591"/>
                  </a:lnTo>
                  <a:lnTo>
                    <a:pt x="2796" y="2580"/>
                  </a:lnTo>
                  <a:lnTo>
                    <a:pt x="2825" y="2580"/>
                  </a:lnTo>
                  <a:lnTo>
                    <a:pt x="2813" y="2570"/>
                  </a:lnTo>
                  <a:lnTo>
                    <a:pt x="2796" y="2580"/>
                  </a:lnTo>
                  <a:lnTo>
                    <a:pt x="2796" y="2591"/>
                  </a:lnTo>
                  <a:lnTo>
                    <a:pt x="2792" y="2591"/>
                  </a:lnTo>
                  <a:lnTo>
                    <a:pt x="2796" y="2620"/>
                  </a:lnTo>
                  <a:lnTo>
                    <a:pt x="2796" y="2641"/>
                  </a:lnTo>
                  <a:lnTo>
                    <a:pt x="2796" y="2653"/>
                  </a:lnTo>
                  <a:lnTo>
                    <a:pt x="2792" y="2653"/>
                  </a:lnTo>
                  <a:lnTo>
                    <a:pt x="2775" y="2620"/>
                  </a:lnTo>
                  <a:lnTo>
                    <a:pt x="2792" y="2653"/>
                  </a:lnTo>
                  <a:lnTo>
                    <a:pt x="2787" y="2653"/>
                  </a:lnTo>
                  <a:lnTo>
                    <a:pt x="2775" y="2658"/>
                  </a:lnTo>
                  <a:lnTo>
                    <a:pt x="2770" y="2658"/>
                  </a:lnTo>
                  <a:lnTo>
                    <a:pt x="2770" y="2641"/>
                  </a:lnTo>
                  <a:lnTo>
                    <a:pt x="2759" y="2674"/>
                  </a:lnTo>
                  <a:lnTo>
                    <a:pt x="2754" y="2665"/>
                  </a:lnTo>
                  <a:lnTo>
                    <a:pt x="2737" y="2681"/>
                  </a:lnTo>
                  <a:lnTo>
                    <a:pt x="2733" y="2674"/>
                  </a:lnTo>
                  <a:lnTo>
                    <a:pt x="2716" y="2681"/>
                  </a:lnTo>
                  <a:lnTo>
                    <a:pt x="2683" y="2665"/>
                  </a:lnTo>
                  <a:lnTo>
                    <a:pt x="2690" y="2681"/>
                  </a:lnTo>
                  <a:lnTo>
                    <a:pt x="2683" y="2691"/>
                  </a:lnTo>
                  <a:lnTo>
                    <a:pt x="2666" y="2674"/>
                  </a:lnTo>
                  <a:lnTo>
                    <a:pt x="2678" y="2691"/>
                  </a:lnTo>
                  <a:lnTo>
                    <a:pt x="2666" y="2698"/>
                  </a:lnTo>
                  <a:lnTo>
                    <a:pt x="2629" y="2707"/>
                  </a:lnTo>
                  <a:lnTo>
                    <a:pt x="2624" y="2698"/>
                  </a:lnTo>
                  <a:lnTo>
                    <a:pt x="2624" y="2707"/>
                  </a:lnTo>
                  <a:lnTo>
                    <a:pt x="2629" y="2698"/>
                  </a:lnTo>
                  <a:lnTo>
                    <a:pt x="2607" y="2707"/>
                  </a:lnTo>
                  <a:lnTo>
                    <a:pt x="2598" y="2714"/>
                  </a:lnTo>
                  <a:lnTo>
                    <a:pt x="2607" y="2707"/>
                  </a:lnTo>
                  <a:lnTo>
                    <a:pt x="2598" y="2707"/>
                  </a:lnTo>
                  <a:lnTo>
                    <a:pt x="2598" y="2719"/>
                  </a:lnTo>
                  <a:lnTo>
                    <a:pt x="2591" y="2719"/>
                  </a:lnTo>
                  <a:lnTo>
                    <a:pt x="2581" y="2719"/>
                  </a:lnTo>
                  <a:lnTo>
                    <a:pt x="2581" y="2707"/>
                  </a:lnTo>
                  <a:lnTo>
                    <a:pt x="2581" y="2719"/>
                  </a:lnTo>
                  <a:lnTo>
                    <a:pt x="2560" y="2736"/>
                  </a:lnTo>
                  <a:lnTo>
                    <a:pt x="2560" y="2747"/>
                  </a:lnTo>
                  <a:lnTo>
                    <a:pt x="2577" y="2747"/>
                  </a:lnTo>
                  <a:lnTo>
                    <a:pt x="2577" y="2764"/>
                  </a:lnTo>
                  <a:lnTo>
                    <a:pt x="2591" y="2776"/>
                  </a:lnTo>
                  <a:lnTo>
                    <a:pt x="2577" y="2792"/>
                  </a:lnTo>
                  <a:lnTo>
                    <a:pt x="2553" y="2792"/>
                  </a:lnTo>
                  <a:lnTo>
                    <a:pt x="2544" y="2792"/>
                  </a:lnTo>
                  <a:lnTo>
                    <a:pt x="2544" y="2785"/>
                  </a:lnTo>
                  <a:lnTo>
                    <a:pt x="2553" y="2776"/>
                  </a:lnTo>
                  <a:lnTo>
                    <a:pt x="2539" y="2764"/>
                  </a:lnTo>
                  <a:lnTo>
                    <a:pt x="2527" y="2747"/>
                  </a:lnTo>
                  <a:lnTo>
                    <a:pt x="2539" y="2714"/>
                  </a:lnTo>
                  <a:lnTo>
                    <a:pt x="2553" y="2707"/>
                  </a:lnTo>
                  <a:lnTo>
                    <a:pt x="2539" y="2707"/>
                  </a:lnTo>
                  <a:lnTo>
                    <a:pt x="2539" y="2691"/>
                  </a:lnTo>
                  <a:lnTo>
                    <a:pt x="2539" y="2698"/>
                  </a:lnTo>
                  <a:lnTo>
                    <a:pt x="2527" y="2698"/>
                  </a:lnTo>
                  <a:lnTo>
                    <a:pt x="2522" y="2681"/>
                  </a:lnTo>
                  <a:lnTo>
                    <a:pt x="2522" y="2691"/>
                  </a:lnTo>
                  <a:lnTo>
                    <a:pt x="2522" y="2698"/>
                  </a:lnTo>
                  <a:lnTo>
                    <a:pt x="2489" y="2707"/>
                  </a:lnTo>
                  <a:lnTo>
                    <a:pt x="2489" y="2691"/>
                  </a:lnTo>
                  <a:lnTo>
                    <a:pt x="2473" y="2681"/>
                  </a:lnTo>
                  <a:lnTo>
                    <a:pt x="2468" y="2674"/>
                  </a:lnTo>
                  <a:lnTo>
                    <a:pt x="2473" y="2691"/>
                  </a:lnTo>
                  <a:lnTo>
                    <a:pt x="2468" y="2691"/>
                  </a:lnTo>
                  <a:lnTo>
                    <a:pt x="2463" y="2665"/>
                  </a:lnTo>
                  <a:lnTo>
                    <a:pt x="2447" y="2665"/>
                  </a:lnTo>
                  <a:lnTo>
                    <a:pt x="2447" y="2674"/>
                  </a:lnTo>
                  <a:lnTo>
                    <a:pt x="2451" y="2681"/>
                  </a:lnTo>
                  <a:lnTo>
                    <a:pt x="2447" y="2691"/>
                  </a:lnTo>
                  <a:lnTo>
                    <a:pt x="2435" y="2698"/>
                  </a:lnTo>
                  <a:lnTo>
                    <a:pt x="2447" y="2691"/>
                  </a:lnTo>
                  <a:lnTo>
                    <a:pt x="2435" y="2681"/>
                  </a:lnTo>
                  <a:lnTo>
                    <a:pt x="2430" y="2698"/>
                  </a:lnTo>
                  <a:lnTo>
                    <a:pt x="2430" y="2691"/>
                  </a:lnTo>
                  <a:lnTo>
                    <a:pt x="2414" y="2698"/>
                  </a:lnTo>
                  <a:lnTo>
                    <a:pt x="2397" y="2691"/>
                  </a:lnTo>
                  <a:lnTo>
                    <a:pt x="2364" y="2691"/>
                  </a:lnTo>
                  <a:lnTo>
                    <a:pt x="2359" y="2681"/>
                  </a:lnTo>
                  <a:lnTo>
                    <a:pt x="2343" y="2674"/>
                  </a:lnTo>
                  <a:lnTo>
                    <a:pt x="2343" y="2665"/>
                  </a:lnTo>
                  <a:lnTo>
                    <a:pt x="2322" y="2658"/>
                  </a:lnTo>
                  <a:lnTo>
                    <a:pt x="2322" y="2641"/>
                  </a:lnTo>
                  <a:lnTo>
                    <a:pt x="2312" y="2624"/>
                  </a:lnTo>
                  <a:lnTo>
                    <a:pt x="2326" y="2603"/>
                  </a:lnTo>
                  <a:lnTo>
                    <a:pt x="2322" y="2591"/>
                  </a:lnTo>
                  <a:lnTo>
                    <a:pt x="2305" y="2587"/>
                  </a:lnTo>
                  <a:lnTo>
                    <a:pt x="2289" y="2591"/>
                  </a:lnTo>
                  <a:lnTo>
                    <a:pt x="2284" y="2587"/>
                  </a:lnTo>
                  <a:lnTo>
                    <a:pt x="2258" y="2591"/>
                  </a:lnTo>
                  <a:lnTo>
                    <a:pt x="2241" y="2580"/>
                  </a:lnTo>
                  <a:lnTo>
                    <a:pt x="2229" y="2563"/>
                  </a:lnTo>
                  <a:lnTo>
                    <a:pt x="2199" y="2570"/>
                  </a:lnTo>
                  <a:lnTo>
                    <a:pt x="2182" y="2603"/>
                  </a:lnTo>
                  <a:lnTo>
                    <a:pt x="2175" y="2591"/>
                  </a:lnTo>
                  <a:lnTo>
                    <a:pt x="2161" y="2608"/>
                  </a:lnTo>
                  <a:lnTo>
                    <a:pt x="2149" y="2603"/>
                  </a:lnTo>
                  <a:lnTo>
                    <a:pt x="2149" y="2591"/>
                  </a:lnTo>
                  <a:lnTo>
                    <a:pt x="2133" y="2603"/>
                  </a:lnTo>
                  <a:lnTo>
                    <a:pt x="2128" y="2624"/>
                  </a:lnTo>
                  <a:lnTo>
                    <a:pt x="2107" y="2603"/>
                  </a:lnTo>
                  <a:lnTo>
                    <a:pt x="2095" y="2620"/>
                  </a:lnTo>
                  <a:lnTo>
                    <a:pt x="2078" y="2603"/>
                  </a:lnTo>
                  <a:lnTo>
                    <a:pt x="2069" y="2624"/>
                  </a:lnTo>
                  <a:lnTo>
                    <a:pt x="2024" y="2603"/>
                  </a:lnTo>
                  <a:lnTo>
                    <a:pt x="2003" y="2636"/>
                  </a:lnTo>
                  <a:lnTo>
                    <a:pt x="1972" y="2624"/>
                  </a:lnTo>
                  <a:lnTo>
                    <a:pt x="1960" y="2641"/>
                  </a:lnTo>
                  <a:lnTo>
                    <a:pt x="1965" y="2665"/>
                  </a:lnTo>
                  <a:lnTo>
                    <a:pt x="1972" y="2674"/>
                  </a:lnTo>
                  <a:lnTo>
                    <a:pt x="1972" y="2714"/>
                  </a:lnTo>
                  <a:lnTo>
                    <a:pt x="1981" y="2719"/>
                  </a:lnTo>
                  <a:lnTo>
                    <a:pt x="1972" y="2731"/>
                  </a:lnTo>
                  <a:lnTo>
                    <a:pt x="1960" y="2719"/>
                  </a:lnTo>
                  <a:lnTo>
                    <a:pt x="1944" y="2719"/>
                  </a:lnTo>
                  <a:lnTo>
                    <a:pt x="1934" y="2691"/>
                  </a:lnTo>
                  <a:lnTo>
                    <a:pt x="1927" y="2681"/>
                  </a:lnTo>
                  <a:lnTo>
                    <a:pt x="1889" y="2707"/>
                  </a:lnTo>
                  <a:lnTo>
                    <a:pt x="1880" y="2698"/>
                  </a:lnTo>
                  <a:lnTo>
                    <a:pt x="1863" y="2707"/>
                  </a:lnTo>
                  <a:lnTo>
                    <a:pt x="1859" y="2698"/>
                  </a:lnTo>
                  <a:lnTo>
                    <a:pt x="1859" y="2691"/>
                  </a:lnTo>
                  <a:lnTo>
                    <a:pt x="1851" y="2681"/>
                  </a:lnTo>
                  <a:lnTo>
                    <a:pt x="1851" y="2658"/>
                  </a:lnTo>
                  <a:lnTo>
                    <a:pt x="1788" y="2653"/>
                  </a:lnTo>
                  <a:lnTo>
                    <a:pt x="1809" y="2624"/>
                  </a:lnTo>
                  <a:lnTo>
                    <a:pt x="1804" y="2608"/>
                  </a:lnTo>
                  <a:lnTo>
                    <a:pt x="1821" y="2587"/>
                  </a:lnTo>
                  <a:lnTo>
                    <a:pt x="1821" y="2580"/>
                  </a:lnTo>
                  <a:lnTo>
                    <a:pt x="1788" y="2580"/>
                  </a:lnTo>
                  <a:lnTo>
                    <a:pt x="1771" y="2570"/>
                  </a:lnTo>
                  <a:lnTo>
                    <a:pt x="1771" y="2554"/>
                  </a:lnTo>
                  <a:lnTo>
                    <a:pt x="1766" y="2547"/>
                  </a:lnTo>
                  <a:lnTo>
                    <a:pt x="1766" y="2530"/>
                  </a:lnTo>
                  <a:lnTo>
                    <a:pt x="1755" y="2525"/>
                  </a:lnTo>
                  <a:lnTo>
                    <a:pt x="1755" y="2513"/>
                  </a:lnTo>
                  <a:lnTo>
                    <a:pt x="1771" y="2497"/>
                  </a:lnTo>
                  <a:lnTo>
                    <a:pt x="1717" y="2497"/>
                  </a:lnTo>
                  <a:lnTo>
                    <a:pt x="1691" y="2525"/>
                  </a:lnTo>
                  <a:lnTo>
                    <a:pt x="1679" y="2513"/>
                  </a:lnTo>
                  <a:lnTo>
                    <a:pt x="1696" y="2497"/>
                  </a:lnTo>
                  <a:lnTo>
                    <a:pt x="1691" y="2476"/>
                  </a:lnTo>
                  <a:lnTo>
                    <a:pt x="1679" y="2476"/>
                  </a:lnTo>
                  <a:lnTo>
                    <a:pt x="1679" y="2454"/>
                  </a:lnTo>
                  <a:lnTo>
                    <a:pt x="1696" y="2438"/>
                  </a:lnTo>
                  <a:lnTo>
                    <a:pt x="1696" y="2414"/>
                  </a:lnTo>
                  <a:lnTo>
                    <a:pt x="1700" y="2419"/>
                  </a:lnTo>
                  <a:lnTo>
                    <a:pt x="1712" y="2414"/>
                  </a:lnTo>
                  <a:lnTo>
                    <a:pt x="1729" y="2386"/>
                  </a:lnTo>
                  <a:lnTo>
                    <a:pt x="1733" y="2386"/>
                  </a:lnTo>
                  <a:lnTo>
                    <a:pt x="1750" y="2365"/>
                  </a:lnTo>
                  <a:lnTo>
                    <a:pt x="1755" y="2365"/>
                  </a:lnTo>
                  <a:lnTo>
                    <a:pt x="1750" y="2348"/>
                  </a:lnTo>
                  <a:lnTo>
                    <a:pt x="1766" y="2343"/>
                  </a:lnTo>
                  <a:lnTo>
                    <a:pt x="1766" y="2294"/>
                  </a:lnTo>
                  <a:lnTo>
                    <a:pt x="1755" y="2237"/>
                  </a:lnTo>
                  <a:lnTo>
                    <a:pt x="1745" y="2232"/>
                  </a:lnTo>
                  <a:lnTo>
                    <a:pt x="1733" y="2237"/>
                  </a:lnTo>
                  <a:lnTo>
                    <a:pt x="1717" y="2192"/>
                  </a:lnTo>
                  <a:lnTo>
                    <a:pt x="1712" y="2183"/>
                  </a:lnTo>
                  <a:lnTo>
                    <a:pt x="1679" y="2159"/>
                  </a:lnTo>
                  <a:lnTo>
                    <a:pt x="1674" y="2176"/>
                  </a:lnTo>
                  <a:lnTo>
                    <a:pt x="1663" y="2183"/>
                  </a:lnTo>
                  <a:lnTo>
                    <a:pt x="1646" y="2176"/>
                  </a:lnTo>
                  <a:lnTo>
                    <a:pt x="1641" y="2176"/>
                  </a:lnTo>
                  <a:lnTo>
                    <a:pt x="1620" y="2166"/>
                  </a:lnTo>
                  <a:lnTo>
                    <a:pt x="1594" y="2176"/>
                  </a:lnTo>
                  <a:lnTo>
                    <a:pt x="1594" y="2159"/>
                  </a:lnTo>
                  <a:lnTo>
                    <a:pt x="1608" y="2143"/>
                  </a:lnTo>
                  <a:lnTo>
                    <a:pt x="1603" y="2121"/>
                  </a:lnTo>
                  <a:lnTo>
                    <a:pt x="1582" y="2126"/>
                  </a:lnTo>
                  <a:lnTo>
                    <a:pt x="1582" y="2121"/>
                  </a:lnTo>
                  <a:lnTo>
                    <a:pt x="1594" y="2105"/>
                  </a:lnTo>
                  <a:lnTo>
                    <a:pt x="1587" y="2105"/>
                  </a:lnTo>
                  <a:lnTo>
                    <a:pt x="1570" y="2088"/>
                  </a:lnTo>
                  <a:lnTo>
                    <a:pt x="1540" y="2105"/>
                  </a:lnTo>
                  <a:lnTo>
                    <a:pt x="1528" y="2121"/>
                  </a:lnTo>
                  <a:lnTo>
                    <a:pt x="1485" y="2110"/>
                  </a:lnTo>
                  <a:lnTo>
                    <a:pt x="1474" y="2093"/>
                  </a:lnTo>
                  <a:lnTo>
                    <a:pt x="1448" y="2121"/>
                  </a:lnTo>
                  <a:lnTo>
                    <a:pt x="1426" y="2150"/>
                  </a:lnTo>
                  <a:lnTo>
                    <a:pt x="1389" y="2150"/>
                  </a:lnTo>
                  <a:lnTo>
                    <a:pt x="1372" y="2176"/>
                  </a:lnTo>
                  <a:lnTo>
                    <a:pt x="1339" y="2192"/>
                  </a:lnTo>
                  <a:lnTo>
                    <a:pt x="1339" y="2204"/>
                  </a:lnTo>
                  <a:lnTo>
                    <a:pt x="1322" y="2216"/>
                  </a:lnTo>
                  <a:lnTo>
                    <a:pt x="1313" y="2216"/>
                  </a:lnTo>
                  <a:lnTo>
                    <a:pt x="1285" y="2221"/>
                  </a:lnTo>
                  <a:lnTo>
                    <a:pt x="1263" y="2221"/>
                  </a:lnTo>
                  <a:lnTo>
                    <a:pt x="1263" y="2204"/>
                  </a:lnTo>
                  <a:lnTo>
                    <a:pt x="1242" y="2199"/>
                  </a:lnTo>
                  <a:lnTo>
                    <a:pt x="1226" y="2204"/>
                  </a:lnTo>
                  <a:lnTo>
                    <a:pt x="1178" y="2199"/>
                  </a:lnTo>
                  <a:lnTo>
                    <a:pt x="1178" y="2183"/>
                  </a:lnTo>
                  <a:lnTo>
                    <a:pt x="1150" y="2176"/>
                  </a:lnTo>
                  <a:lnTo>
                    <a:pt x="1117" y="2199"/>
                  </a:lnTo>
                  <a:lnTo>
                    <a:pt x="1070" y="2254"/>
                  </a:lnTo>
                  <a:lnTo>
                    <a:pt x="1065" y="2237"/>
                  </a:lnTo>
                  <a:lnTo>
                    <a:pt x="1070" y="2216"/>
                  </a:lnTo>
                  <a:lnTo>
                    <a:pt x="1070" y="2199"/>
                  </a:lnTo>
                  <a:lnTo>
                    <a:pt x="1053" y="2192"/>
                  </a:lnTo>
                  <a:lnTo>
                    <a:pt x="1041" y="2199"/>
                  </a:lnTo>
                  <a:lnTo>
                    <a:pt x="1015" y="2204"/>
                  </a:lnTo>
                  <a:lnTo>
                    <a:pt x="1015" y="2216"/>
                  </a:lnTo>
                  <a:lnTo>
                    <a:pt x="999" y="2204"/>
                  </a:lnTo>
                  <a:lnTo>
                    <a:pt x="989" y="2216"/>
                  </a:lnTo>
                  <a:lnTo>
                    <a:pt x="956" y="2216"/>
                  </a:lnTo>
                  <a:lnTo>
                    <a:pt x="918" y="2192"/>
                  </a:lnTo>
                  <a:lnTo>
                    <a:pt x="907" y="2192"/>
                  </a:lnTo>
                  <a:lnTo>
                    <a:pt x="902" y="2204"/>
                  </a:lnTo>
                  <a:lnTo>
                    <a:pt x="885" y="2199"/>
                  </a:lnTo>
                  <a:lnTo>
                    <a:pt x="885" y="2192"/>
                  </a:lnTo>
                  <a:lnTo>
                    <a:pt x="881" y="2192"/>
                  </a:lnTo>
                  <a:lnTo>
                    <a:pt x="881" y="2204"/>
                  </a:lnTo>
                  <a:lnTo>
                    <a:pt x="869" y="2204"/>
                  </a:lnTo>
                  <a:lnTo>
                    <a:pt x="864" y="2192"/>
                  </a:lnTo>
                  <a:lnTo>
                    <a:pt x="848" y="2183"/>
                  </a:lnTo>
                  <a:lnTo>
                    <a:pt x="810" y="2176"/>
                  </a:lnTo>
                  <a:lnTo>
                    <a:pt x="810" y="2150"/>
                  </a:lnTo>
                  <a:lnTo>
                    <a:pt x="800" y="2150"/>
                  </a:lnTo>
                  <a:lnTo>
                    <a:pt x="784" y="2159"/>
                  </a:lnTo>
                  <a:lnTo>
                    <a:pt x="763" y="2143"/>
                  </a:lnTo>
                  <a:lnTo>
                    <a:pt x="746" y="2126"/>
                  </a:lnTo>
                  <a:lnTo>
                    <a:pt x="739" y="2105"/>
                  </a:lnTo>
                  <a:lnTo>
                    <a:pt x="725" y="2105"/>
                  </a:lnTo>
                  <a:lnTo>
                    <a:pt x="708" y="2110"/>
                  </a:lnTo>
                  <a:lnTo>
                    <a:pt x="701" y="2110"/>
                  </a:lnTo>
                  <a:lnTo>
                    <a:pt x="670" y="2072"/>
                  </a:lnTo>
                  <a:lnTo>
                    <a:pt x="649" y="2072"/>
                  </a:lnTo>
                  <a:lnTo>
                    <a:pt x="616" y="2039"/>
                  </a:lnTo>
                  <a:lnTo>
                    <a:pt x="600" y="2039"/>
                  </a:lnTo>
                  <a:lnTo>
                    <a:pt x="595" y="2015"/>
                  </a:lnTo>
                  <a:lnTo>
                    <a:pt x="545" y="2015"/>
                  </a:lnTo>
                  <a:lnTo>
                    <a:pt x="545" y="2032"/>
                  </a:lnTo>
                  <a:lnTo>
                    <a:pt x="529" y="2039"/>
                  </a:lnTo>
                  <a:lnTo>
                    <a:pt x="524" y="2039"/>
                  </a:lnTo>
                  <a:lnTo>
                    <a:pt x="524" y="2032"/>
                  </a:lnTo>
                  <a:lnTo>
                    <a:pt x="524" y="2032"/>
                  </a:lnTo>
                  <a:lnTo>
                    <a:pt x="524" y="2032"/>
                  </a:lnTo>
                  <a:close/>
                  <a:moveTo>
                    <a:pt x="3354" y="1278"/>
                  </a:moveTo>
                  <a:lnTo>
                    <a:pt x="3337" y="1278"/>
                  </a:lnTo>
                  <a:lnTo>
                    <a:pt x="3354" y="1273"/>
                  </a:lnTo>
                  <a:lnTo>
                    <a:pt x="3354" y="1278"/>
                  </a:lnTo>
                  <a:lnTo>
                    <a:pt x="3354" y="1278"/>
                  </a:lnTo>
                  <a:lnTo>
                    <a:pt x="3354" y="1278"/>
                  </a:lnTo>
                  <a:close/>
                  <a:moveTo>
                    <a:pt x="3229" y="1866"/>
                  </a:moveTo>
                  <a:lnTo>
                    <a:pt x="3240" y="1866"/>
                  </a:lnTo>
                  <a:lnTo>
                    <a:pt x="3245" y="1883"/>
                  </a:lnTo>
                  <a:lnTo>
                    <a:pt x="3229" y="1866"/>
                  </a:lnTo>
                  <a:lnTo>
                    <a:pt x="3229" y="1866"/>
                  </a:lnTo>
                  <a:lnTo>
                    <a:pt x="3229" y="1866"/>
                  </a:lnTo>
                  <a:close/>
                  <a:moveTo>
                    <a:pt x="3337" y="1904"/>
                  </a:moveTo>
                  <a:lnTo>
                    <a:pt x="3347" y="1899"/>
                  </a:lnTo>
                  <a:lnTo>
                    <a:pt x="3385" y="1928"/>
                  </a:lnTo>
                  <a:lnTo>
                    <a:pt x="3363" y="1921"/>
                  </a:lnTo>
                  <a:lnTo>
                    <a:pt x="3337" y="1904"/>
                  </a:lnTo>
                  <a:lnTo>
                    <a:pt x="3337" y="1904"/>
                  </a:lnTo>
                  <a:lnTo>
                    <a:pt x="3337" y="1904"/>
                  </a:lnTo>
                  <a:close/>
                  <a:moveTo>
                    <a:pt x="3401" y="2027"/>
                  </a:moveTo>
                  <a:lnTo>
                    <a:pt x="3408" y="2015"/>
                  </a:lnTo>
                  <a:lnTo>
                    <a:pt x="3408" y="2027"/>
                  </a:lnTo>
                  <a:lnTo>
                    <a:pt x="3401" y="2027"/>
                  </a:lnTo>
                  <a:lnTo>
                    <a:pt x="3401" y="2027"/>
                  </a:lnTo>
                  <a:lnTo>
                    <a:pt x="3401" y="2027"/>
                  </a:lnTo>
                  <a:close/>
                  <a:moveTo>
                    <a:pt x="3392" y="2039"/>
                  </a:moveTo>
                  <a:lnTo>
                    <a:pt x="3392" y="2032"/>
                  </a:lnTo>
                  <a:lnTo>
                    <a:pt x="3401" y="2032"/>
                  </a:lnTo>
                  <a:lnTo>
                    <a:pt x="3418" y="2039"/>
                  </a:lnTo>
                  <a:lnTo>
                    <a:pt x="3418" y="2048"/>
                  </a:lnTo>
                  <a:lnTo>
                    <a:pt x="3392" y="2039"/>
                  </a:lnTo>
                  <a:lnTo>
                    <a:pt x="3392" y="2039"/>
                  </a:lnTo>
                  <a:lnTo>
                    <a:pt x="3392" y="2039"/>
                  </a:lnTo>
                  <a:close/>
                  <a:moveTo>
                    <a:pt x="3385" y="2039"/>
                  </a:moveTo>
                  <a:lnTo>
                    <a:pt x="3385" y="2048"/>
                  </a:lnTo>
                  <a:lnTo>
                    <a:pt x="3385" y="2039"/>
                  </a:lnTo>
                  <a:lnTo>
                    <a:pt x="3385" y="2039"/>
                  </a:lnTo>
                  <a:lnTo>
                    <a:pt x="3385" y="2039"/>
                  </a:lnTo>
                  <a:close/>
                  <a:moveTo>
                    <a:pt x="3418" y="2048"/>
                  </a:moveTo>
                  <a:lnTo>
                    <a:pt x="3422" y="2048"/>
                  </a:lnTo>
                  <a:lnTo>
                    <a:pt x="3422" y="2055"/>
                  </a:lnTo>
                  <a:lnTo>
                    <a:pt x="3418" y="2048"/>
                  </a:lnTo>
                  <a:lnTo>
                    <a:pt x="3418" y="2048"/>
                  </a:lnTo>
                  <a:lnTo>
                    <a:pt x="3418" y="2048"/>
                  </a:lnTo>
                  <a:close/>
                  <a:moveTo>
                    <a:pt x="3401" y="2072"/>
                  </a:moveTo>
                  <a:lnTo>
                    <a:pt x="3392" y="2065"/>
                  </a:lnTo>
                  <a:lnTo>
                    <a:pt x="3401" y="2065"/>
                  </a:lnTo>
                  <a:lnTo>
                    <a:pt x="3408" y="2072"/>
                  </a:lnTo>
                  <a:lnTo>
                    <a:pt x="3401" y="2072"/>
                  </a:lnTo>
                  <a:lnTo>
                    <a:pt x="3401" y="2072"/>
                  </a:lnTo>
                  <a:lnTo>
                    <a:pt x="3401" y="2072"/>
                  </a:lnTo>
                  <a:close/>
                  <a:moveTo>
                    <a:pt x="3385" y="2121"/>
                  </a:moveTo>
                  <a:lnTo>
                    <a:pt x="3385" y="2110"/>
                  </a:lnTo>
                  <a:lnTo>
                    <a:pt x="3392" y="2110"/>
                  </a:lnTo>
                  <a:lnTo>
                    <a:pt x="3385" y="2121"/>
                  </a:lnTo>
                  <a:lnTo>
                    <a:pt x="3385" y="2121"/>
                  </a:lnTo>
                  <a:lnTo>
                    <a:pt x="3385" y="2121"/>
                  </a:lnTo>
                  <a:close/>
                  <a:moveTo>
                    <a:pt x="3333" y="2192"/>
                  </a:moveTo>
                  <a:lnTo>
                    <a:pt x="3337" y="2183"/>
                  </a:lnTo>
                  <a:lnTo>
                    <a:pt x="3337" y="2192"/>
                  </a:lnTo>
                  <a:lnTo>
                    <a:pt x="3337" y="2199"/>
                  </a:lnTo>
                  <a:lnTo>
                    <a:pt x="3333" y="2192"/>
                  </a:lnTo>
                  <a:lnTo>
                    <a:pt x="3333" y="2192"/>
                  </a:lnTo>
                  <a:lnTo>
                    <a:pt x="3333" y="2192"/>
                  </a:lnTo>
                  <a:close/>
                  <a:moveTo>
                    <a:pt x="3229" y="2398"/>
                  </a:moveTo>
                  <a:lnTo>
                    <a:pt x="3229" y="2386"/>
                  </a:lnTo>
                  <a:lnTo>
                    <a:pt x="3240" y="2381"/>
                  </a:lnTo>
                  <a:lnTo>
                    <a:pt x="3240" y="2386"/>
                  </a:lnTo>
                  <a:lnTo>
                    <a:pt x="3240" y="2402"/>
                  </a:lnTo>
                  <a:lnTo>
                    <a:pt x="3229" y="2398"/>
                  </a:lnTo>
                  <a:lnTo>
                    <a:pt x="3229" y="2398"/>
                  </a:lnTo>
                  <a:lnTo>
                    <a:pt x="3229" y="2398"/>
                  </a:lnTo>
                  <a:close/>
                  <a:moveTo>
                    <a:pt x="3115" y="2476"/>
                  </a:moveTo>
                  <a:lnTo>
                    <a:pt x="3120" y="2471"/>
                  </a:lnTo>
                  <a:lnTo>
                    <a:pt x="3115" y="2476"/>
                  </a:lnTo>
                  <a:lnTo>
                    <a:pt x="3115" y="2476"/>
                  </a:lnTo>
                  <a:lnTo>
                    <a:pt x="3115" y="2476"/>
                  </a:lnTo>
                  <a:close/>
                  <a:moveTo>
                    <a:pt x="3077" y="2530"/>
                  </a:moveTo>
                  <a:lnTo>
                    <a:pt x="3068" y="2537"/>
                  </a:lnTo>
                  <a:lnTo>
                    <a:pt x="3061" y="2537"/>
                  </a:lnTo>
                  <a:lnTo>
                    <a:pt x="3068" y="2525"/>
                  </a:lnTo>
                  <a:lnTo>
                    <a:pt x="3077" y="2530"/>
                  </a:lnTo>
                  <a:lnTo>
                    <a:pt x="3077" y="2530"/>
                  </a:lnTo>
                  <a:lnTo>
                    <a:pt x="3077" y="2530"/>
                  </a:lnTo>
                  <a:close/>
                  <a:moveTo>
                    <a:pt x="3056" y="2547"/>
                  </a:moveTo>
                  <a:lnTo>
                    <a:pt x="3056" y="2554"/>
                  </a:lnTo>
                  <a:lnTo>
                    <a:pt x="3040" y="2554"/>
                  </a:lnTo>
                  <a:lnTo>
                    <a:pt x="3056" y="2547"/>
                  </a:lnTo>
                  <a:lnTo>
                    <a:pt x="3056" y="2547"/>
                  </a:lnTo>
                  <a:lnTo>
                    <a:pt x="3056" y="2547"/>
                  </a:lnTo>
                  <a:close/>
                  <a:moveTo>
                    <a:pt x="2846" y="2641"/>
                  </a:moveTo>
                  <a:lnTo>
                    <a:pt x="2851" y="2641"/>
                  </a:lnTo>
                  <a:lnTo>
                    <a:pt x="2846" y="2641"/>
                  </a:lnTo>
                  <a:lnTo>
                    <a:pt x="2846" y="2641"/>
                  </a:lnTo>
                  <a:lnTo>
                    <a:pt x="2846" y="2641"/>
                  </a:lnTo>
                  <a:close/>
                  <a:moveTo>
                    <a:pt x="2792" y="2658"/>
                  </a:moveTo>
                  <a:lnTo>
                    <a:pt x="2787" y="2658"/>
                  </a:lnTo>
                  <a:lnTo>
                    <a:pt x="2792" y="2658"/>
                  </a:lnTo>
                  <a:lnTo>
                    <a:pt x="2792" y="2658"/>
                  </a:lnTo>
                  <a:lnTo>
                    <a:pt x="2792" y="2658"/>
                  </a:lnTo>
                  <a:close/>
                  <a:moveTo>
                    <a:pt x="2742" y="2691"/>
                  </a:moveTo>
                  <a:lnTo>
                    <a:pt x="2742" y="2681"/>
                  </a:lnTo>
                  <a:lnTo>
                    <a:pt x="2754" y="2681"/>
                  </a:lnTo>
                  <a:lnTo>
                    <a:pt x="2742" y="2691"/>
                  </a:lnTo>
                  <a:lnTo>
                    <a:pt x="2742" y="2691"/>
                  </a:lnTo>
                  <a:lnTo>
                    <a:pt x="2742" y="2691"/>
                  </a:lnTo>
                  <a:close/>
                  <a:moveTo>
                    <a:pt x="2683" y="2698"/>
                  </a:moveTo>
                  <a:lnTo>
                    <a:pt x="2683" y="2691"/>
                  </a:lnTo>
                  <a:lnTo>
                    <a:pt x="2690" y="2691"/>
                  </a:lnTo>
                  <a:lnTo>
                    <a:pt x="2683" y="2698"/>
                  </a:lnTo>
                  <a:lnTo>
                    <a:pt x="2683" y="2698"/>
                  </a:lnTo>
                  <a:lnTo>
                    <a:pt x="2683" y="2698"/>
                  </a:lnTo>
                  <a:close/>
                  <a:moveTo>
                    <a:pt x="2591" y="2719"/>
                  </a:moveTo>
                  <a:lnTo>
                    <a:pt x="2598" y="2719"/>
                  </a:lnTo>
                  <a:lnTo>
                    <a:pt x="2591" y="2731"/>
                  </a:lnTo>
                  <a:lnTo>
                    <a:pt x="2581" y="2719"/>
                  </a:lnTo>
                  <a:lnTo>
                    <a:pt x="2591" y="2719"/>
                  </a:lnTo>
                  <a:lnTo>
                    <a:pt x="2591" y="2719"/>
                  </a:lnTo>
                  <a:lnTo>
                    <a:pt x="2591" y="2719"/>
                  </a:lnTo>
                  <a:close/>
                  <a:moveTo>
                    <a:pt x="2581" y="2731"/>
                  </a:moveTo>
                  <a:lnTo>
                    <a:pt x="2591" y="2731"/>
                  </a:lnTo>
                  <a:lnTo>
                    <a:pt x="2591" y="2736"/>
                  </a:lnTo>
                  <a:lnTo>
                    <a:pt x="2570" y="2736"/>
                  </a:lnTo>
                  <a:lnTo>
                    <a:pt x="2570" y="2731"/>
                  </a:lnTo>
                  <a:lnTo>
                    <a:pt x="2581" y="2731"/>
                  </a:lnTo>
                  <a:lnTo>
                    <a:pt x="2581" y="2731"/>
                  </a:lnTo>
                  <a:lnTo>
                    <a:pt x="2581" y="2731"/>
                  </a:lnTo>
                  <a:close/>
                  <a:moveTo>
                    <a:pt x="2527" y="2941"/>
                  </a:moveTo>
                  <a:lnTo>
                    <a:pt x="2522" y="2953"/>
                  </a:lnTo>
                  <a:lnTo>
                    <a:pt x="2515" y="2941"/>
                  </a:lnTo>
                  <a:lnTo>
                    <a:pt x="2463" y="2920"/>
                  </a:lnTo>
                  <a:lnTo>
                    <a:pt x="2451" y="2880"/>
                  </a:lnTo>
                  <a:lnTo>
                    <a:pt x="2463" y="2858"/>
                  </a:lnTo>
                  <a:lnTo>
                    <a:pt x="2506" y="2830"/>
                  </a:lnTo>
                  <a:lnTo>
                    <a:pt x="2489" y="2830"/>
                  </a:lnTo>
                  <a:lnTo>
                    <a:pt x="2506" y="2818"/>
                  </a:lnTo>
                  <a:lnTo>
                    <a:pt x="2515" y="2825"/>
                  </a:lnTo>
                  <a:lnTo>
                    <a:pt x="2522" y="2809"/>
                  </a:lnTo>
                  <a:lnTo>
                    <a:pt x="2553" y="2818"/>
                  </a:lnTo>
                  <a:lnTo>
                    <a:pt x="2560" y="2809"/>
                  </a:lnTo>
                  <a:lnTo>
                    <a:pt x="2591" y="2809"/>
                  </a:lnTo>
                  <a:lnTo>
                    <a:pt x="2598" y="2802"/>
                  </a:lnTo>
                  <a:lnTo>
                    <a:pt x="2607" y="2809"/>
                  </a:lnTo>
                  <a:lnTo>
                    <a:pt x="2614" y="2809"/>
                  </a:lnTo>
                  <a:lnTo>
                    <a:pt x="2624" y="2842"/>
                  </a:lnTo>
                  <a:lnTo>
                    <a:pt x="2607" y="2847"/>
                  </a:lnTo>
                  <a:lnTo>
                    <a:pt x="2591" y="2875"/>
                  </a:lnTo>
                  <a:lnTo>
                    <a:pt x="2581" y="2875"/>
                  </a:lnTo>
                  <a:lnTo>
                    <a:pt x="2591" y="2880"/>
                  </a:lnTo>
                  <a:lnTo>
                    <a:pt x="2591" y="2901"/>
                  </a:lnTo>
                  <a:lnTo>
                    <a:pt x="2560" y="2920"/>
                  </a:lnTo>
                  <a:lnTo>
                    <a:pt x="2553" y="2936"/>
                  </a:lnTo>
                  <a:lnTo>
                    <a:pt x="2539" y="2936"/>
                  </a:lnTo>
                  <a:lnTo>
                    <a:pt x="2527" y="2941"/>
                  </a:lnTo>
                  <a:lnTo>
                    <a:pt x="2527" y="2941"/>
                  </a:lnTo>
                  <a:lnTo>
                    <a:pt x="2527" y="294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58" name="Freeform 471">
              <a:extLst>
                <a:ext uri="{FF2B5EF4-FFF2-40B4-BE49-F238E27FC236}">
                  <a16:creationId xmlns:a16="http://schemas.microsoft.com/office/drawing/2014/main" id="{0CBD6709-BE7E-4328-B38A-FEAA2958AB98}"/>
                </a:ext>
              </a:extLst>
            </p:cNvPr>
            <p:cNvSpPr>
              <a:spLocks noEditPoints="1"/>
            </p:cNvSpPr>
            <p:nvPr/>
          </p:nvSpPr>
          <p:spPr bwMode="gray">
            <a:xfrm>
              <a:off x="7135432" y="5582051"/>
              <a:ext cx="634312" cy="548151"/>
            </a:xfrm>
            <a:custGeom>
              <a:avLst/>
              <a:gdLst>
                <a:gd name="T0" fmla="*/ 1252 w 1361"/>
                <a:gd name="T1" fmla="*/ 711 h 1176"/>
                <a:gd name="T2" fmla="*/ 1238 w 1361"/>
                <a:gd name="T3" fmla="*/ 893 h 1176"/>
                <a:gd name="T4" fmla="*/ 1323 w 1361"/>
                <a:gd name="T5" fmla="*/ 933 h 1176"/>
                <a:gd name="T6" fmla="*/ 1361 w 1361"/>
                <a:gd name="T7" fmla="*/ 1021 h 1176"/>
                <a:gd name="T8" fmla="*/ 1297 w 1361"/>
                <a:gd name="T9" fmla="*/ 1061 h 1176"/>
                <a:gd name="T10" fmla="*/ 1252 w 1361"/>
                <a:gd name="T11" fmla="*/ 1094 h 1176"/>
                <a:gd name="T12" fmla="*/ 1222 w 1361"/>
                <a:gd name="T13" fmla="*/ 1176 h 1176"/>
                <a:gd name="T14" fmla="*/ 1163 w 1361"/>
                <a:gd name="T15" fmla="*/ 1165 h 1176"/>
                <a:gd name="T16" fmla="*/ 1059 w 1361"/>
                <a:gd name="T17" fmla="*/ 1155 h 1176"/>
                <a:gd name="T18" fmla="*/ 983 w 1361"/>
                <a:gd name="T19" fmla="*/ 1132 h 1176"/>
                <a:gd name="T20" fmla="*/ 898 w 1361"/>
                <a:gd name="T21" fmla="*/ 1021 h 1176"/>
                <a:gd name="T22" fmla="*/ 823 w 1361"/>
                <a:gd name="T23" fmla="*/ 1028 h 1176"/>
                <a:gd name="T24" fmla="*/ 730 w 1361"/>
                <a:gd name="T25" fmla="*/ 1054 h 1176"/>
                <a:gd name="T26" fmla="*/ 605 w 1361"/>
                <a:gd name="T27" fmla="*/ 999 h 1176"/>
                <a:gd name="T28" fmla="*/ 525 w 1361"/>
                <a:gd name="T29" fmla="*/ 954 h 1176"/>
                <a:gd name="T30" fmla="*/ 482 w 1361"/>
                <a:gd name="T31" fmla="*/ 876 h 1176"/>
                <a:gd name="T32" fmla="*/ 466 w 1361"/>
                <a:gd name="T33" fmla="*/ 839 h 1176"/>
                <a:gd name="T34" fmla="*/ 390 w 1361"/>
                <a:gd name="T35" fmla="*/ 782 h 1176"/>
                <a:gd name="T36" fmla="*/ 374 w 1361"/>
                <a:gd name="T37" fmla="*/ 761 h 1176"/>
                <a:gd name="T38" fmla="*/ 319 w 1361"/>
                <a:gd name="T39" fmla="*/ 798 h 1176"/>
                <a:gd name="T40" fmla="*/ 286 w 1361"/>
                <a:gd name="T41" fmla="*/ 721 h 1176"/>
                <a:gd name="T42" fmla="*/ 244 w 1361"/>
                <a:gd name="T43" fmla="*/ 610 h 1176"/>
                <a:gd name="T44" fmla="*/ 147 w 1361"/>
                <a:gd name="T45" fmla="*/ 560 h 1176"/>
                <a:gd name="T46" fmla="*/ 142 w 1361"/>
                <a:gd name="T47" fmla="*/ 510 h 1176"/>
                <a:gd name="T48" fmla="*/ 104 w 1361"/>
                <a:gd name="T49" fmla="*/ 473 h 1176"/>
                <a:gd name="T50" fmla="*/ 109 w 1361"/>
                <a:gd name="T51" fmla="*/ 428 h 1176"/>
                <a:gd name="T52" fmla="*/ 142 w 1361"/>
                <a:gd name="T53" fmla="*/ 390 h 1176"/>
                <a:gd name="T54" fmla="*/ 142 w 1361"/>
                <a:gd name="T55" fmla="*/ 338 h 1176"/>
                <a:gd name="T56" fmla="*/ 119 w 1361"/>
                <a:gd name="T57" fmla="*/ 317 h 1176"/>
                <a:gd name="T58" fmla="*/ 71 w 1361"/>
                <a:gd name="T59" fmla="*/ 267 h 1176"/>
                <a:gd name="T60" fmla="*/ 55 w 1361"/>
                <a:gd name="T61" fmla="*/ 222 h 1176"/>
                <a:gd name="T62" fmla="*/ 17 w 1361"/>
                <a:gd name="T63" fmla="*/ 156 h 1176"/>
                <a:gd name="T64" fmla="*/ 17 w 1361"/>
                <a:gd name="T65" fmla="*/ 66 h 1176"/>
                <a:gd name="T66" fmla="*/ 34 w 1361"/>
                <a:gd name="T67" fmla="*/ 7 h 1176"/>
                <a:gd name="T68" fmla="*/ 93 w 1361"/>
                <a:gd name="T69" fmla="*/ 45 h 1176"/>
                <a:gd name="T70" fmla="*/ 201 w 1361"/>
                <a:gd name="T71" fmla="*/ 45 h 1176"/>
                <a:gd name="T72" fmla="*/ 303 w 1361"/>
                <a:gd name="T73" fmla="*/ 62 h 1176"/>
                <a:gd name="T74" fmla="*/ 308 w 1361"/>
                <a:gd name="T75" fmla="*/ 95 h 1176"/>
                <a:gd name="T76" fmla="*/ 357 w 1361"/>
                <a:gd name="T77" fmla="*/ 173 h 1176"/>
                <a:gd name="T78" fmla="*/ 504 w 1361"/>
                <a:gd name="T79" fmla="*/ 250 h 1176"/>
                <a:gd name="T80" fmla="*/ 697 w 1361"/>
                <a:gd name="T81" fmla="*/ 246 h 1176"/>
                <a:gd name="T82" fmla="*/ 719 w 1361"/>
                <a:gd name="T83" fmla="*/ 206 h 1176"/>
                <a:gd name="T84" fmla="*/ 806 w 1361"/>
                <a:gd name="T85" fmla="*/ 139 h 1176"/>
                <a:gd name="T86" fmla="*/ 874 w 1361"/>
                <a:gd name="T87" fmla="*/ 123 h 1176"/>
                <a:gd name="T88" fmla="*/ 945 w 1361"/>
                <a:gd name="T89" fmla="*/ 151 h 1176"/>
                <a:gd name="T90" fmla="*/ 1075 w 1361"/>
                <a:gd name="T91" fmla="*/ 189 h 1176"/>
                <a:gd name="T92" fmla="*/ 1205 w 1361"/>
                <a:gd name="T93" fmla="*/ 262 h 1176"/>
                <a:gd name="T94" fmla="*/ 1189 w 1361"/>
                <a:gd name="T95" fmla="*/ 428 h 1176"/>
                <a:gd name="T96" fmla="*/ 1163 w 1361"/>
                <a:gd name="T97" fmla="*/ 465 h 1176"/>
                <a:gd name="T98" fmla="*/ 1184 w 1361"/>
                <a:gd name="T99" fmla="*/ 617 h 1176"/>
                <a:gd name="T100" fmla="*/ 865 w 1361"/>
                <a:gd name="T101" fmla="*/ 1037 h 1176"/>
                <a:gd name="T102" fmla="*/ 827 w 1361"/>
                <a:gd name="T103" fmla="*/ 1044 h 1176"/>
                <a:gd name="T104" fmla="*/ 865 w 1361"/>
                <a:gd name="T105" fmla="*/ 1037 h 1176"/>
                <a:gd name="T106" fmla="*/ 823 w 1361"/>
                <a:gd name="T107" fmla="*/ 1044 h 1176"/>
                <a:gd name="T108" fmla="*/ 697 w 1361"/>
                <a:gd name="T109" fmla="*/ 1065 h 1176"/>
                <a:gd name="T110" fmla="*/ 702 w 1361"/>
                <a:gd name="T111" fmla="*/ 1065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61" h="1176">
                  <a:moveTo>
                    <a:pt x="1184" y="638"/>
                  </a:moveTo>
                  <a:lnTo>
                    <a:pt x="1184" y="678"/>
                  </a:lnTo>
                  <a:lnTo>
                    <a:pt x="1243" y="687"/>
                  </a:lnTo>
                  <a:lnTo>
                    <a:pt x="1252" y="711"/>
                  </a:lnTo>
                  <a:lnTo>
                    <a:pt x="1243" y="732"/>
                  </a:lnTo>
                  <a:lnTo>
                    <a:pt x="1184" y="806"/>
                  </a:lnTo>
                  <a:lnTo>
                    <a:pt x="1215" y="843"/>
                  </a:lnTo>
                  <a:lnTo>
                    <a:pt x="1238" y="893"/>
                  </a:lnTo>
                  <a:lnTo>
                    <a:pt x="1260" y="910"/>
                  </a:lnTo>
                  <a:lnTo>
                    <a:pt x="1290" y="917"/>
                  </a:lnTo>
                  <a:lnTo>
                    <a:pt x="1307" y="933"/>
                  </a:lnTo>
                  <a:lnTo>
                    <a:pt x="1323" y="933"/>
                  </a:lnTo>
                  <a:lnTo>
                    <a:pt x="1323" y="999"/>
                  </a:lnTo>
                  <a:lnTo>
                    <a:pt x="1323" y="1011"/>
                  </a:lnTo>
                  <a:lnTo>
                    <a:pt x="1349" y="1004"/>
                  </a:lnTo>
                  <a:lnTo>
                    <a:pt x="1361" y="1021"/>
                  </a:lnTo>
                  <a:lnTo>
                    <a:pt x="1349" y="1021"/>
                  </a:lnTo>
                  <a:lnTo>
                    <a:pt x="1345" y="1061"/>
                  </a:lnTo>
                  <a:lnTo>
                    <a:pt x="1323" y="1061"/>
                  </a:lnTo>
                  <a:lnTo>
                    <a:pt x="1297" y="1061"/>
                  </a:lnTo>
                  <a:lnTo>
                    <a:pt x="1281" y="1065"/>
                  </a:lnTo>
                  <a:lnTo>
                    <a:pt x="1281" y="1077"/>
                  </a:lnTo>
                  <a:lnTo>
                    <a:pt x="1276" y="1077"/>
                  </a:lnTo>
                  <a:lnTo>
                    <a:pt x="1252" y="1094"/>
                  </a:lnTo>
                  <a:lnTo>
                    <a:pt x="1252" y="1120"/>
                  </a:lnTo>
                  <a:lnTo>
                    <a:pt x="1243" y="1120"/>
                  </a:lnTo>
                  <a:lnTo>
                    <a:pt x="1238" y="1172"/>
                  </a:lnTo>
                  <a:lnTo>
                    <a:pt x="1222" y="1176"/>
                  </a:lnTo>
                  <a:lnTo>
                    <a:pt x="1167" y="1165"/>
                  </a:lnTo>
                  <a:lnTo>
                    <a:pt x="1163" y="1148"/>
                  </a:lnTo>
                  <a:lnTo>
                    <a:pt x="1151" y="1155"/>
                  </a:lnTo>
                  <a:lnTo>
                    <a:pt x="1163" y="1165"/>
                  </a:lnTo>
                  <a:lnTo>
                    <a:pt x="1146" y="1155"/>
                  </a:lnTo>
                  <a:lnTo>
                    <a:pt x="1097" y="1155"/>
                  </a:lnTo>
                  <a:lnTo>
                    <a:pt x="1092" y="1148"/>
                  </a:lnTo>
                  <a:lnTo>
                    <a:pt x="1059" y="1155"/>
                  </a:lnTo>
                  <a:lnTo>
                    <a:pt x="1042" y="1139"/>
                  </a:lnTo>
                  <a:lnTo>
                    <a:pt x="1011" y="1139"/>
                  </a:lnTo>
                  <a:lnTo>
                    <a:pt x="1000" y="1139"/>
                  </a:lnTo>
                  <a:lnTo>
                    <a:pt x="983" y="1132"/>
                  </a:lnTo>
                  <a:lnTo>
                    <a:pt x="936" y="1120"/>
                  </a:lnTo>
                  <a:lnTo>
                    <a:pt x="929" y="1098"/>
                  </a:lnTo>
                  <a:lnTo>
                    <a:pt x="912" y="1044"/>
                  </a:lnTo>
                  <a:lnTo>
                    <a:pt x="898" y="1021"/>
                  </a:lnTo>
                  <a:lnTo>
                    <a:pt x="891" y="1021"/>
                  </a:lnTo>
                  <a:lnTo>
                    <a:pt x="849" y="1021"/>
                  </a:lnTo>
                  <a:lnTo>
                    <a:pt x="844" y="1028"/>
                  </a:lnTo>
                  <a:lnTo>
                    <a:pt x="823" y="1028"/>
                  </a:lnTo>
                  <a:lnTo>
                    <a:pt x="811" y="1044"/>
                  </a:lnTo>
                  <a:lnTo>
                    <a:pt x="789" y="1044"/>
                  </a:lnTo>
                  <a:lnTo>
                    <a:pt x="756" y="1065"/>
                  </a:lnTo>
                  <a:lnTo>
                    <a:pt x="730" y="1054"/>
                  </a:lnTo>
                  <a:lnTo>
                    <a:pt x="686" y="1054"/>
                  </a:lnTo>
                  <a:lnTo>
                    <a:pt x="660" y="1028"/>
                  </a:lnTo>
                  <a:lnTo>
                    <a:pt x="605" y="1004"/>
                  </a:lnTo>
                  <a:lnTo>
                    <a:pt x="605" y="999"/>
                  </a:lnTo>
                  <a:lnTo>
                    <a:pt x="596" y="983"/>
                  </a:lnTo>
                  <a:lnTo>
                    <a:pt x="567" y="966"/>
                  </a:lnTo>
                  <a:lnTo>
                    <a:pt x="534" y="966"/>
                  </a:lnTo>
                  <a:lnTo>
                    <a:pt x="525" y="954"/>
                  </a:lnTo>
                  <a:lnTo>
                    <a:pt x="497" y="910"/>
                  </a:lnTo>
                  <a:lnTo>
                    <a:pt x="497" y="893"/>
                  </a:lnTo>
                  <a:lnTo>
                    <a:pt x="482" y="876"/>
                  </a:lnTo>
                  <a:lnTo>
                    <a:pt x="482" y="876"/>
                  </a:lnTo>
                  <a:lnTo>
                    <a:pt x="487" y="876"/>
                  </a:lnTo>
                  <a:lnTo>
                    <a:pt x="487" y="872"/>
                  </a:lnTo>
                  <a:lnTo>
                    <a:pt x="466" y="860"/>
                  </a:lnTo>
                  <a:lnTo>
                    <a:pt x="466" y="839"/>
                  </a:lnTo>
                  <a:lnTo>
                    <a:pt x="433" y="798"/>
                  </a:lnTo>
                  <a:lnTo>
                    <a:pt x="428" y="777"/>
                  </a:lnTo>
                  <a:lnTo>
                    <a:pt x="390" y="789"/>
                  </a:lnTo>
                  <a:lnTo>
                    <a:pt x="390" y="782"/>
                  </a:lnTo>
                  <a:lnTo>
                    <a:pt x="357" y="777"/>
                  </a:lnTo>
                  <a:lnTo>
                    <a:pt x="352" y="765"/>
                  </a:lnTo>
                  <a:lnTo>
                    <a:pt x="362" y="765"/>
                  </a:lnTo>
                  <a:lnTo>
                    <a:pt x="374" y="761"/>
                  </a:lnTo>
                  <a:lnTo>
                    <a:pt x="352" y="749"/>
                  </a:lnTo>
                  <a:lnTo>
                    <a:pt x="341" y="765"/>
                  </a:lnTo>
                  <a:lnTo>
                    <a:pt x="352" y="789"/>
                  </a:lnTo>
                  <a:lnTo>
                    <a:pt x="319" y="798"/>
                  </a:lnTo>
                  <a:lnTo>
                    <a:pt x="308" y="798"/>
                  </a:lnTo>
                  <a:lnTo>
                    <a:pt x="308" y="777"/>
                  </a:lnTo>
                  <a:lnTo>
                    <a:pt x="286" y="761"/>
                  </a:lnTo>
                  <a:lnTo>
                    <a:pt x="286" y="721"/>
                  </a:lnTo>
                  <a:lnTo>
                    <a:pt x="265" y="721"/>
                  </a:lnTo>
                  <a:lnTo>
                    <a:pt x="265" y="678"/>
                  </a:lnTo>
                  <a:lnTo>
                    <a:pt x="270" y="654"/>
                  </a:lnTo>
                  <a:lnTo>
                    <a:pt x="244" y="610"/>
                  </a:lnTo>
                  <a:lnTo>
                    <a:pt x="244" y="600"/>
                  </a:lnTo>
                  <a:lnTo>
                    <a:pt x="227" y="600"/>
                  </a:lnTo>
                  <a:lnTo>
                    <a:pt x="173" y="560"/>
                  </a:lnTo>
                  <a:lnTo>
                    <a:pt x="147" y="560"/>
                  </a:lnTo>
                  <a:lnTo>
                    <a:pt x="156" y="539"/>
                  </a:lnTo>
                  <a:lnTo>
                    <a:pt x="142" y="510"/>
                  </a:lnTo>
                  <a:lnTo>
                    <a:pt x="135" y="510"/>
                  </a:lnTo>
                  <a:lnTo>
                    <a:pt x="142" y="510"/>
                  </a:lnTo>
                  <a:lnTo>
                    <a:pt x="135" y="506"/>
                  </a:lnTo>
                  <a:lnTo>
                    <a:pt x="126" y="506"/>
                  </a:lnTo>
                  <a:lnTo>
                    <a:pt x="109" y="482"/>
                  </a:lnTo>
                  <a:lnTo>
                    <a:pt x="104" y="473"/>
                  </a:lnTo>
                  <a:lnTo>
                    <a:pt x="109" y="465"/>
                  </a:lnTo>
                  <a:lnTo>
                    <a:pt x="109" y="449"/>
                  </a:lnTo>
                  <a:lnTo>
                    <a:pt x="104" y="432"/>
                  </a:lnTo>
                  <a:lnTo>
                    <a:pt x="109" y="428"/>
                  </a:lnTo>
                  <a:lnTo>
                    <a:pt x="126" y="432"/>
                  </a:lnTo>
                  <a:lnTo>
                    <a:pt x="119" y="416"/>
                  </a:lnTo>
                  <a:lnTo>
                    <a:pt x="135" y="399"/>
                  </a:lnTo>
                  <a:lnTo>
                    <a:pt x="142" y="390"/>
                  </a:lnTo>
                  <a:lnTo>
                    <a:pt x="156" y="390"/>
                  </a:lnTo>
                  <a:lnTo>
                    <a:pt x="156" y="378"/>
                  </a:lnTo>
                  <a:lnTo>
                    <a:pt x="142" y="354"/>
                  </a:lnTo>
                  <a:lnTo>
                    <a:pt x="142" y="338"/>
                  </a:lnTo>
                  <a:lnTo>
                    <a:pt x="163" y="333"/>
                  </a:lnTo>
                  <a:lnTo>
                    <a:pt x="147" y="321"/>
                  </a:lnTo>
                  <a:lnTo>
                    <a:pt x="126" y="333"/>
                  </a:lnTo>
                  <a:lnTo>
                    <a:pt x="119" y="317"/>
                  </a:lnTo>
                  <a:lnTo>
                    <a:pt x="104" y="317"/>
                  </a:lnTo>
                  <a:lnTo>
                    <a:pt x="93" y="284"/>
                  </a:lnTo>
                  <a:lnTo>
                    <a:pt x="81" y="279"/>
                  </a:lnTo>
                  <a:lnTo>
                    <a:pt x="71" y="267"/>
                  </a:lnTo>
                  <a:lnTo>
                    <a:pt x="81" y="250"/>
                  </a:lnTo>
                  <a:lnTo>
                    <a:pt x="67" y="246"/>
                  </a:lnTo>
                  <a:lnTo>
                    <a:pt x="67" y="227"/>
                  </a:lnTo>
                  <a:lnTo>
                    <a:pt x="55" y="222"/>
                  </a:lnTo>
                  <a:lnTo>
                    <a:pt x="55" y="206"/>
                  </a:lnTo>
                  <a:lnTo>
                    <a:pt x="38" y="194"/>
                  </a:lnTo>
                  <a:lnTo>
                    <a:pt x="50" y="173"/>
                  </a:lnTo>
                  <a:lnTo>
                    <a:pt x="17" y="156"/>
                  </a:lnTo>
                  <a:lnTo>
                    <a:pt x="34" y="118"/>
                  </a:lnTo>
                  <a:lnTo>
                    <a:pt x="29" y="118"/>
                  </a:lnTo>
                  <a:lnTo>
                    <a:pt x="29" y="78"/>
                  </a:lnTo>
                  <a:lnTo>
                    <a:pt x="17" y="66"/>
                  </a:lnTo>
                  <a:lnTo>
                    <a:pt x="17" y="57"/>
                  </a:lnTo>
                  <a:lnTo>
                    <a:pt x="0" y="28"/>
                  </a:lnTo>
                  <a:lnTo>
                    <a:pt x="34" y="28"/>
                  </a:lnTo>
                  <a:lnTo>
                    <a:pt x="34" y="7"/>
                  </a:lnTo>
                  <a:lnTo>
                    <a:pt x="50" y="0"/>
                  </a:lnTo>
                  <a:lnTo>
                    <a:pt x="55" y="7"/>
                  </a:lnTo>
                  <a:lnTo>
                    <a:pt x="81" y="45"/>
                  </a:lnTo>
                  <a:lnTo>
                    <a:pt x="93" y="45"/>
                  </a:lnTo>
                  <a:lnTo>
                    <a:pt x="104" y="62"/>
                  </a:lnTo>
                  <a:lnTo>
                    <a:pt x="156" y="78"/>
                  </a:lnTo>
                  <a:lnTo>
                    <a:pt x="180" y="66"/>
                  </a:lnTo>
                  <a:lnTo>
                    <a:pt x="201" y="45"/>
                  </a:lnTo>
                  <a:lnTo>
                    <a:pt x="282" y="0"/>
                  </a:lnTo>
                  <a:lnTo>
                    <a:pt x="308" y="28"/>
                  </a:lnTo>
                  <a:lnTo>
                    <a:pt x="286" y="40"/>
                  </a:lnTo>
                  <a:lnTo>
                    <a:pt x="303" y="62"/>
                  </a:lnTo>
                  <a:lnTo>
                    <a:pt x="286" y="66"/>
                  </a:lnTo>
                  <a:lnTo>
                    <a:pt x="286" y="78"/>
                  </a:lnTo>
                  <a:lnTo>
                    <a:pt x="303" y="95"/>
                  </a:lnTo>
                  <a:lnTo>
                    <a:pt x="308" y="95"/>
                  </a:lnTo>
                  <a:lnTo>
                    <a:pt x="324" y="118"/>
                  </a:lnTo>
                  <a:lnTo>
                    <a:pt x="341" y="111"/>
                  </a:lnTo>
                  <a:lnTo>
                    <a:pt x="352" y="156"/>
                  </a:lnTo>
                  <a:lnTo>
                    <a:pt x="357" y="173"/>
                  </a:lnTo>
                  <a:lnTo>
                    <a:pt x="378" y="189"/>
                  </a:lnTo>
                  <a:lnTo>
                    <a:pt x="433" y="194"/>
                  </a:lnTo>
                  <a:lnTo>
                    <a:pt x="449" y="222"/>
                  </a:lnTo>
                  <a:lnTo>
                    <a:pt x="504" y="250"/>
                  </a:lnTo>
                  <a:lnTo>
                    <a:pt x="558" y="267"/>
                  </a:lnTo>
                  <a:lnTo>
                    <a:pt x="702" y="234"/>
                  </a:lnTo>
                  <a:lnTo>
                    <a:pt x="676" y="246"/>
                  </a:lnTo>
                  <a:lnTo>
                    <a:pt x="697" y="246"/>
                  </a:lnTo>
                  <a:lnTo>
                    <a:pt x="702" y="246"/>
                  </a:lnTo>
                  <a:lnTo>
                    <a:pt x="702" y="234"/>
                  </a:lnTo>
                  <a:lnTo>
                    <a:pt x="697" y="206"/>
                  </a:lnTo>
                  <a:lnTo>
                    <a:pt x="719" y="206"/>
                  </a:lnTo>
                  <a:lnTo>
                    <a:pt x="752" y="194"/>
                  </a:lnTo>
                  <a:lnTo>
                    <a:pt x="756" y="189"/>
                  </a:lnTo>
                  <a:lnTo>
                    <a:pt x="768" y="168"/>
                  </a:lnTo>
                  <a:lnTo>
                    <a:pt x="806" y="139"/>
                  </a:lnTo>
                  <a:lnTo>
                    <a:pt x="860" y="139"/>
                  </a:lnTo>
                  <a:lnTo>
                    <a:pt x="865" y="139"/>
                  </a:lnTo>
                  <a:lnTo>
                    <a:pt x="865" y="135"/>
                  </a:lnTo>
                  <a:lnTo>
                    <a:pt x="874" y="123"/>
                  </a:lnTo>
                  <a:lnTo>
                    <a:pt x="898" y="123"/>
                  </a:lnTo>
                  <a:lnTo>
                    <a:pt x="919" y="135"/>
                  </a:lnTo>
                  <a:lnTo>
                    <a:pt x="929" y="123"/>
                  </a:lnTo>
                  <a:lnTo>
                    <a:pt x="945" y="151"/>
                  </a:lnTo>
                  <a:lnTo>
                    <a:pt x="1000" y="168"/>
                  </a:lnTo>
                  <a:lnTo>
                    <a:pt x="1004" y="173"/>
                  </a:lnTo>
                  <a:lnTo>
                    <a:pt x="1054" y="173"/>
                  </a:lnTo>
                  <a:lnTo>
                    <a:pt x="1075" y="189"/>
                  </a:lnTo>
                  <a:lnTo>
                    <a:pt x="1092" y="210"/>
                  </a:lnTo>
                  <a:lnTo>
                    <a:pt x="1130" y="227"/>
                  </a:lnTo>
                  <a:lnTo>
                    <a:pt x="1146" y="262"/>
                  </a:lnTo>
                  <a:lnTo>
                    <a:pt x="1205" y="262"/>
                  </a:lnTo>
                  <a:lnTo>
                    <a:pt x="1215" y="345"/>
                  </a:lnTo>
                  <a:lnTo>
                    <a:pt x="1200" y="373"/>
                  </a:lnTo>
                  <a:lnTo>
                    <a:pt x="1200" y="411"/>
                  </a:lnTo>
                  <a:lnTo>
                    <a:pt x="1189" y="428"/>
                  </a:lnTo>
                  <a:lnTo>
                    <a:pt x="1172" y="432"/>
                  </a:lnTo>
                  <a:lnTo>
                    <a:pt x="1184" y="449"/>
                  </a:lnTo>
                  <a:lnTo>
                    <a:pt x="1167" y="449"/>
                  </a:lnTo>
                  <a:lnTo>
                    <a:pt x="1163" y="465"/>
                  </a:lnTo>
                  <a:lnTo>
                    <a:pt x="1163" y="506"/>
                  </a:lnTo>
                  <a:lnTo>
                    <a:pt x="1189" y="510"/>
                  </a:lnTo>
                  <a:lnTo>
                    <a:pt x="1167" y="543"/>
                  </a:lnTo>
                  <a:lnTo>
                    <a:pt x="1184" y="617"/>
                  </a:lnTo>
                  <a:lnTo>
                    <a:pt x="1184" y="638"/>
                  </a:lnTo>
                  <a:lnTo>
                    <a:pt x="1184" y="638"/>
                  </a:lnTo>
                  <a:lnTo>
                    <a:pt x="1184" y="638"/>
                  </a:lnTo>
                  <a:close/>
                  <a:moveTo>
                    <a:pt x="865" y="1037"/>
                  </a:moveTo>
                  <a:lnTo>
                    <a:pt x="844" y="1054"/>
                  </a:lnTo>
                  <a:lnTo>
                    <a:pt x="794" y="1061"/>
                  </a:lnTo>
                  <a:lnTo>
                    <a:pt x="794" y="1054"/>
                  </a:lnTo>
                  <a:lnTo>
                    <a:pt x="827" y="1044"/>
                  </a:lnTo>
                  <a:lnTo>
                    <a:pt x="827" y="1037"/>
                  </a:lnTo>
                  <a:lnTo>
                    <a:pt x="865" y="1037"/>
                  </a:lnTo>
                  <a:lnTo>
                    <a:pt x="865" y="1037"/>
                  </a:lnTo>
                  <a:lnTo>
                    <a:pt x="865" y="1037"/>
                  </a:lnTo>
                  <a:close/>
                  <a:moveTo>
                    <a:pt x="823" y="1044"/>
                  </a:moveTo>
                  <a:lnTo>
                    <a:pt x="823" y="1044"/>
                  </a:lnTo>
                  <a:lnTo>
                    <a:pt x="823" y="1037"/>
                  </a:lnTo>
                  <a:lnTo>
                    <a:pt x="823" y="1044"/>
                  </a:lnTo>
                  <a:lnTo>
                    <a:pt x="823" y="1044"/>
                  </a:lnTo>
                  <a:lnTo>
                    <a:pt x="823" y="1044"/>
                  </a:lnTo>
                  <a:close/>
                  <a:moveTo>
                    <a:pt x="702" y="1065"/>
                  </a:moveTo>
                  <a:lnTo>
                    <a:pt x="697" y="1065"/>
                  </a:lnTo>
                  <a:lnTo>
                    <a:pt x="702" y="1061"/>
                  </a:lnTo>
                  <a:lnTo>
                    <a:pt x="702" y="1065"/>
                  </a:lnTo>
                  <a:lnTo>
                    <a:pt x="702" y="1065"/>
                  </a:lnTo>
                  <a:lnTo>
                    <a:pt x="702" y="106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7" name="Gruppieren 16">
              <a:extLst>
                <a:ext uri="{FF2B5EF4-FFF2-40B4-BE49-F238E27FC236}">
                  <a16:creationId xmlns:a16="http://schemas.microsoft.com/office/drawing/2014/main" id="{F57B31A0-0641-412B-BA90-3041683B75C8}"/>
                </a:ext>
              </a:extLst>
            </p:cNvPr>
            <p:cNvGrpSpPr/>
            <p:nvPr/>
          </p:nvGrpSpPr>
          <p:grpSpPr bwMode="gray">
            <a:xfrm>
              <a:off x="5127631" y="5672477"/>
              <a:ext cx="5182156" cy="1772638"/>
              <a:chOff x="5127631" y="5672477"/>
              <a:chExt cx="5182156" cy="1772638"/>
            </a:xfrm>
            <a:grpFill/>
          </p:grpSpPr>
          <p:sp>
            <p:nvSpPr>
              <p:cNvPr id="5769" name="Freeform 395">
                <a:extLst>
                  <a:ext uri="{FF2B5EF4-FFF2-40B4-BE49-F238E27FC236}">
                    <a16:creationId xmlns:a16="http://schemas.microsoft.com/office/drawing/2014/main" id="{8828F5AB-7B46-4FD5-893D-5334C7B1B4CB}"/>
                  </a:ext>
                </a:extLst>
              </p:cNvPr>
              <p:cNvSpPr>
                <a:spLocks noEditPoints="1"/>
              </p:cNvSpPr>
              <p:nvPr/>
            </p:nvSpPr>
            <p:spPr bwMode="gray">
              <a:xfrm>
                <a:off x="8575567" y="6074269"/>
                <a:ext cx="149606" cy="207887"/>
              </a:xfrm>
              <a:custGeom>
                <a:avLst/>
                <a:gdLst>
                  <a:gd name="T0" fmla="*/ 71 w 321"/>
                  <a:gd name="T1" fmla="*/ 262 h 446"/>
                  <a:gd name="T2" fmla="*/ 38 w 321"/>
                  <a:gd name="T3" fmla="*/ 229 h 446"/>
                  <a:gd name="T4" fmla="*/ 55 w 321"/>
                  <a:gd name="T5" fmla="*/ 184 h 446"/>
                  <a:gd name="T6" fmla="*/ 5 w 321"/>
                  <a:gd name="T7" fmla="*/ 163 h 446"/>
                  <a:gd name="T8" fmla="*/ 5 w 321"/>
                  <a:gd name="T9" fmla="*/ 128 h 446"/>
                  <a:gd name="T10" fmla="*/ 71 w 321"/>
                  <a:gd name="T11" fmla="*/ 111 h 446"/>
                  <a:gd name="T12" fmla="*/ 55 w 321"/>
                  <a:gd name="T13" fmla="*/ 90 h 446"/>
                  <a:gd name="T14" fmla="*/ 5 w 321"/>
                  <a:gd name="T15" fmla="*/ 57 h 446"/>
                  <a:gd name="T16" fmla="*/ 33 w 321"/>
                  <a:gd name="T17" fmla="*/ 5 h 446"/>
                  <a:gd name="T18" fmla="*/ 59 w 321"/>
                  <a:gd name="T19" fmla="*/ 33 h 446"/>
                  <a:gd name="T20" fmla="*/ 71 w 321"/>
                  <a:gd name="T21" fmla="*/ 17 h 446"/>
                  <a:gd name="T22" fmla="*/ 92 w 321"/>
                  <a:gd name="T23" fmla="*/ 50 h 446"/>
                  <a:gd name="T24" fmla="*/ 123 w 321"/>
                  <a:gd name="T25" fmla="*/ 33 h 446"/>
                  <a:gd name="T26" fmla="*/ 168 w 321"/>
                  <a:gd name="T27" fmla="*/ 111 h 446"/>
                  <a:gd name="T28" fmla="*/ 312 w 321"/>
                  <a:gd name="T29" fmla="*/ 135 h 446"/>
                  <a:gd name="T30" fmla="*/ 274 w 321"/>
                  <a:gd name="T31" fmla="*/ 172 h 446"/>
                  <a:gd name="T32" fmla="*/ 232 w 321"/>
                  <a:gd name="T33" fmla="*/ 205 h 446"/>
                  <a:gd name="T34" fmla="*/ 236 w 321"/>
                  <a:gd name="T35" fmla="*/ 274 h 446"/>
                  <a:gd name="T36" fmla="*/ 258 w 321"/>
                  <a:gd name="T37" fmla="*/ 279 h 446"/>
                  <a:gd name="T38" fmla="*/ 274 w 321"/>
                  <a:gd name="T39" fmla="*/ 241 h 446"/>
                  <a:gd name="T40" fmla="*/ 300 w 321"/>
                  <a:gd name="T41" fmla="*/ 224 h 446"/>
                  <a:gd name="T42" fmla="*/ 312 w 321"/>
                  <a:gd name="T43" fmla="*/ 302 h 446"/>
                  <a:gd name="T44" fmla="*/ 321 w 321"/>
                  <a:gd name="T45" fmla="*/ 406 h 446"/>
                  <a:gd name="T46" fmla="*/ 291 w 321"/>
                  <a:gd name="T47" fmla="*/ 406 h 446"/>
                  <a:gd name="T48" fmla="*/ 286 w 321"/>
                  <a:gd name="T49" fmla="*/ 413 h 446"/>
                  <a:gd name="T50" fmla="*/ 269 w 321"/>
                  <a:gd name="T51" fmla="*/ 373 h 446"/>
                  <a:gd name="T52" fmla="*/ 220 w 321"/>
                  <a:gd name="T53" fmla="*/ 312 h 446"/>
                  <a:gd name="T54" fmla="*/ 182 w 321"/>
                  <a:gd name="T55" fmla="*/ 274 h 446"/>
                  <a:gd name="T56" fmla="*/ 182 w 321"/>
                  <a:gd name="T57" fmla="*/ 241 h 446"/>
                  <a:gd name="T58" fmla="*/ 177 w 321"/>
                  <a:gd name="T59" fmla="*/ 241 h 446"/>
                  <a:gd name="T60" fmla="*/ 182 w 321"/>
                  <a:gd name="T61" fmla="*/ 262 h 446"/>
                  <a:gd name="T62" fmla="*/ 168 w 321"/>
                  <a:gd name="T63" fmla="*/ 295 h 446"/>
                  <a:gd name="T64" fmla="*/ 168 w 321"/>
                  <a:gd name="T65" fmla="*/ 352 h 446"/>
                  <a:gd name="T66" fmla="*/ 151 w 321"/>
                  <a:gd name="T67" fmla="*/ 368 h 446"/>
                  <a:gd name="T68" fmla="*/ 144 w 321"/>
                  <a:gd name="T69" fmla="*/ 357 h 446"/>
                  <a:gd name="T70" fmla="*/ 140 w 321"/>
                  <a:gd name="T71" fmla="*/ 352 h 446"/>
                  <a:gd name="T72" fmla="*/ 130 w 321"/>
                  <a:gd name="T73" fmla="*/ 335 h 446"/>
                  <a:gd name="T74" fmla="*/ 109 w 321"/>
                  <a:gd name="T75" fmla="*/ 368 h 446"/>
                  <a:gd name="T76" fmla="*/ 97 w 321"/>
                  <a:gd name="T77" fmla="*/ 335 h 446"/>
                  <a:gd name="T78" fmla="*/ 92 w 321"/>
                  <a:gd name="T79" fmla="*/ 373 h 446"/>
                  <a:gd name="T80" fmla="*/ 76 w 321"/>
                  <a:gd name="T81" fmla="*/ 368 h 446"/>
                  <a:gd name="T82" fmla="*/ 76 w 321"/>
                  <a:gd name="T83" fmla="*/ 347 h 446"/>
                  <a:gd name="T84" fmla="*/ 168 w 321"/>
                  <a:gd name="T85" fmla="*/ 246 h 446"/>
                  <a:gd name="T86" fmla="*/ 177 w 321"/>
                  <a:gd name="T87" fmla="*/ 257 h 446"/>
                  <a:gd name="T88" fmla="*/ 177 w 321"/>
                  <a:gd name="T89" fmla="*/ 274 h 446"/>
                  <a:gd name="T90" fmla="*/ 182 w 321"/>
                  <a:gd name="T91" fmla="*/ 279 h 446"/>
                  <a:gd name="T92" fmla="*/ 182 w 321"/>
                  <a:gd name="T93" fmla="*/ 286 h 446"/>
                  <a:gd name="T94" fmla="*/ 177 w 321"/>
                  <a:gd name="T95" fmla="*/ 302 h 446"/>
                  <a:gd name="T96" fmla="*/ 182 w 321"/>
                  <a:gd name="T97" fmla="*/ 352 h 446"/>
                  <a:gd name="T98" fmla="*/ 182 w 321"/>
                  <a:gd name="T99" fmla="*/ 295 h 446"/>
                  <a:gd name="T100" fmla="*/ 199 w 321"/>
                  <a:gd name="T101" fmla="*/ 347 h 446"/>
                  <a:gd name="T102" fmla="*/ 182 w 321"/>
                  <a:gd name="T103" fmla="*/ 357 h 446"/>
                  <a:gd name="T104" fmla="*/ 236 w 321"/>
                  <a:gd name="T105" fmla="*/ 302 h 446"/>
                  <a:gd name="T106" fmla="*/ 248 w 321"/>
                  <a:gd name="T107" fmla="*/ 328 h 446"/>
                  <a:gd name="T108" fmla="*/ 215 w 321"/>
                  <a:gd name="T109" fmla="*/ 312 h 446"/>
                  <a:gd name="T110" fmla="*/ 215 w 321"/>
                  <a:gd name="T111" fmla="*/ 352 h 446"/>
                  <a:gd name="T112" fmla="*/ 177 w 321"/>
                  <a:gd name="T113" fmla="*/ 352 h 446"/>
                  <a:gd name="T114" fmla="*/ 177 w 321"/>
                  <a:gd name="T115" fmla="*/ 352 h 446"/>
                  <a:gd name="T116" fmla="*/ 168 w 321"/>
                  <a:gd name="T117" fmla="*/ 352 h 446"/>
                  <a:gd name="T118" fmla="*/ 168 w 321"/>
                  <a:gd name="T119" fmla="*/ 357 h 446"/>
                  <a:gd name="T120" fmla="*/ 269 w 321"/>
                  <a:gd name="T121" fmla="*/ 373 h 446"/>
                  <a:gd name="T122" fmla="*/ 269 w 321"/>
                  <a:gd name="T123" fmla="*/ 39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1" h="446">
                    <a:moveTo>
                      <a:pt x="76" y="347"/>
                    </a:moveTo>
                    <a:lnTo>
                      <a:pt x="59" y="279"/>
                    </a:lnTo>
                    <a:lnTo>
                      <a:pt x="71" y="262"/>
                    </a:lnTo>
                    <a:lnTo>
                      <a:pt x="55" y="257"/>
                    </a:lnTo>
                    <a:lnTo>
                      <a:pt x="55" y="241"/>
                    </a:lnTo>
                    <a:lnTo>
                      <a:pt x="38" y="229"/>
                    </a:lnTo>
                    <a:lnTo>
                      <a:pt x="38" y="217"/>
                    </a:lnTo>
                    <a:lnTo>
                      <a:pt x="55" y="205"/>
                    </a:lnTo>
                    <a:lnTo>
                      <a:pt x="55" y="184"/>
                    </a:lnTo>
                    <a:lnTo>
                      <a:pt x="43" y="172"/>
                    </a:lnTo>
                    <a:lnTo>
                      <a:pt x="38" y="172"/>
                    </a:lnTo>
                    <a:lnTo>
                      <a:pt x="5" y="163"/>
                    </a:lnTo>
                    <a:lnTo>
                      <a:pt x="0" y="151"/>
                    </a:lnTo>
                    <a:lnTo>
                      <a:pt x="17" y="135"/>
                    </a:lnTo>
                    <a:lnTo>
                      <a:pt x="5" y="128"/>
                    </a:lnTo>
                    <a:lnTo>
                      <a:pt x="21" y="135"/>
                    </a:lnTo>
                    <a:lnTo>
                      <a:pt x="33" y="111"/>
                    </a:lnTo>
                    <a:lnTo>
                      <a:pt x="71" y="111"/>
                    </a:lnTo>
                    <a:lnTo>
                      <a:pt x="71" y="106"/>
                    </a:lnTo>
                    <a:lnTo>
                      <a:pt x="59" y="94"/>
                    </a:lnTo>
                    <a:lnTo>
                      <a:pt x="55" y="90"/>
                    </a:lnTo>
                    <a:lnTo>
                      <a:pt x="38" y="90"/>
                    </a:lnTo>
                    <a:lnTo>
                      <a:pt x="21" y="61"/>
                    </a:lnTo>
                    <a:lnTo>
                      <a:pt x="5" y="57"/>
                    </a:lnTo>
                    <a:lnTo>
                      <a:pt x="17" y="33"/>
                    </a:lnTo>
                    <a:lnTo>
                      <a:pt x="38" y="17"/>
                    </a:lnTo>
                    <a:lnTo>
                      <a:pt x="33" y="5"/>
                    </a:lnTo>
                    <a:lnTo>
                      <a:pt x="21" y="5"/>
                    </a:lnTo>
                    <a:lnTo>
                      <a:pt x="33" y="0"/>
                    </a:lnTo>
                    <a:lnTo>
                      <a:pt x="59" y="33"/>
                    </a:lnTo>
                    <a:lnTo>
                      <a:pt x="76" y="24"/>
                    </a:lnTo>
                    <a:lnTo>
                      <a:pt x="59" y="17"/>
                    </a:lnTo>
                    <a:lnTo>
                      <a:pt x="71" y="17"/>
                    </a:lnTo>
                    <a:lnTo>
                      <a:pt x="76" y="17"/>
                    </a:lnTo>
                    <a:lnTo>
                      <a:pt x="76" y="33"/>
                    </a:lnTo>
                    <a:lnTo>
                      <a:pt x="92" y="50"/>
                    </a:lnTo>
                    <a:lnTo>
                      <a:pt x="109" y="50"/>
                    </a:lnTo>
                    <a:lnTo>
                      <a:pt x="114" y="33"/>
                    </a:lnTo>
                    <a:lnTo>
                      <a:pt x="123" y="33"/>
                    </a:lnTo>
                    <a:lnTo>
                      <a:pt x="130" y="57"/>
                    </a:lnTo>
                    <a:lnTo>
                      <a:pt x="130" y="106"/>
                    </a:lnTo>
                    <a:lnTo>
                      <a:pt x="168" y="111"/>
                    </a:lnTo>
                    <a:lnTo>
                      <a:pt x="286" y="111"/>
                    </a:lnTo>
                    <a:lnTo>
                      <a:pt x="307" y="118"/>
                    </a:lnTo>
                    <a:lnTo>
                      <a:pt x="312" y="135"/>
                    </a:lnTo>
                    <a:lnTo>
                      <a:pt x="300" y="135"/>
                    </a:lnTo>
                    <a:lnTo>
                      <a:pt x="291" y="168"/>
                    </a:lnTo>
                    <a:lnTo>
                      <a:pt x="274" y="172"/>
                    </a:lnTo>
                    <a:lnTo>
                      <a:pt x="269" y="189"/>
                    </a:lnTo>
                    <a:lnTo>
                      <a:pt x="236" y="189"/>
                    </a:lnTo>
                    <a:lnTo>
                      <a:pt x="232" y="205"/>
                    </a:lnTo>
                    <a:lnTo>
                      <a:pt x="220" y="229"/>
                    </a:lnTo>
                    <a:lnTo>
                      <a:pt x="232" y="274"/>
                    </a:lnTo>
                    <a:lnTo>
                      <a:pt x="236" y="274"/>
                    </a:lnTo>
                    <a:lnTo>
                      <a:pt x="236" y="257"/>
                    </a:lnTo>
                    <a:lnTo>
                      <a:pt x="248" y="279"/>
                    </a:lnTo>
                    <a:lnTo>
                      <a:pt x="258" y="279"/>
                    </a:lnTo>
                    <a:lnTo>
                      <a:pt x="269" y="274"/>
                    </a:lnTo>
                    <a:lnTo>
                      <a:pt x="258" y="257"/>
                    </a:lnTo>
                    <a:lnTo>
                      <a:pt x="274" y="241"/>
                    </a:lnTo>
                    <a:lnTo>
                      <a:pt x="274" y="224"/>
                    </a:lnTo>
                    <a:lnTo>
                      <a:pt x="286" y="229"/>
                    </a:lnTo>
                    <a:lnTo>
                      <a:pt x="300" y="224"/>
                    </a:lnTo>
                    <a:lnTo>
                      <a:pt x="307" y="257"/>
                    </a:lnTo>
                    <a:lnTo>
                      <a:pt x="307" y="279"/>
                    </a:lnTo>
                    <a:lnTo>
                      <a:pt x="312" y="302"/>
                    </a:lnTo>
                    <a:lnTo>
                      <a:pt x="321" y="357"/>
                    </a:lnTo>
                    <a:lnTo>
                      <a:pt x="321" y="406"/>
                    </a:lnTo>
                    <a:lnTo>
                      <a:pt x="321" y="406"/>
                    </a:lnTo>
                    <a:lnTo>
                      <a:pt x="307" y="390"/>
                    </a:lnTo>
                    <a:lnTo>
                      <a:pt x="300" y="402"/>
                    </a:lnTo>
                    <a:lnTo>
                      <a:pt x="291" y="406"/>
                    </a:lnTo>
                    <a:lnTo>
                      <a:pt x="300" y="425"/>
                    </a:lnTo>
                    <a:lnTo>
                      <a:pt x="300" y="446"/>
                    </a:lnTo>
                    <a:lnTo>
                      <a:pt x="286" y="413"/>
                    </a:lnTo>
                    <a:lnTo>
                      <a:pt x="274" y="402"/>
                    </a:lnTo>
                    <a:lnTo>
                      <a:pt x="286" y="385"/>
                    </a:lnTo>
                    <a:lnTo>
                      <a:pt x="269" y="373"/>
                    </a:lnTo>
                    <a:lnTo>
                      <a:pt x="258" y="319"/>
                    </a:lnTo>
                    <a:lnTo>
                      <a:pt x="236" y="295"/>
                    </a:lnTo>
                    <a:lnTo>
                      <a:pt x="220" y="312"/>
                    </a:lnTo>
                    <a:lnTo>
                      <a:pt x="203" y="312"/>
                    </a:lnTo>
                    <a:lnTo>
                      <a:pt x="199" y="302"/>
                    </a:lnTo>
                    <a:lnTo>
                      <a:pt x="182" y="274"/>
                    </a:lnTo>
                    <a:lnTo>
                      <a:pt x="182" y="241"/>
                    </a:lnTo>
                    <a:lnTo>
                      <a:pt x="194" y="241"/>
                    </a:lnTo>
                    <a:lnTo>
                      <a:pt x="182" y="241"/>
                    </a:lnTo>
                    <a:lnTo>
                      <a:pt x="182" y="229"/>
                    </a:lnTo>
                    <a:lnTo>
                      <a:pt x="177" y="229"/>
                    </a:lnTo>
                    <a:lnTo>
                      <a:pt x="177" y="241"/>
                    </a:lnTo>
                    <a:lnTo>
                      <a:pt x="177" y="246"/>
                    </a:lnTo>
                    <a:lnTo>
                      <a:pt x="161" y="246"/>
                    </a:lnTo>
                    <a:lnTo>
                      <a:pt x="182" y="262"/>
                    </a:lnTo>
                    <a:lnTo>
                      <a:pt x="177" y="274"/>
                    </a:lnTo>
                    <a:lnTo>
                      <a:pt x="168" y="274"/>
                    </a:lnTo>
                    <a:lnTo>
                      <a:pt x="168" y="295"/>
                    </a:lnTo>
                    <a:lnTo>
                      <a:pt x="177" y="312"/>
                    </a:lnTo>
                    <a:lnTo>
                      <a:pt x="182" y="328"/>
                    </a:lnTo>
                    <a:lnTo>
                      <a:pt x="168" y="352"/>
                    </a:lnTo>
                    <a:lnTo>
                      <a:pt x="168" y="335"/>
                    </a:lnTo>
                    <a:lnTo>
                      <a:pt x="161" y="368"/>
                    </a:lnTo>
                    <a:lnTo>
                      <a:pt x="151" y="368"/>
                    </a:lnTo>
                    <a:lnTo>
                      <a:pt x="140" y="368"/>
                    </a:lnTo>
                    <a:lnTo>
                      <a:pt x="151" y="347"/>
                    </a:lnTo>
                    <a:lnTo>
                      <a:pt x="144" y="357"/>
                    </a:lnTo>
                    <a:lnTo>
                      <a:pt x="140" y="352"/>
                    </a:lnTo>
                    <a:lnTo>
                      <a:pt x="144" y="347"/>
                    </a:lnTo>
                    <a:lnTo>
                      <a:pt x="140" y="352"/>
                    </a:lnTo>
                    <a:lnTo>
                      <a:pt x="130" y="335"/>
                    </a:lnTo>
                    <a:lnTo>
                      <a:pt x="140" y="319"/>
                    </a:lnTo>
                    <a:lnTo>
                      <a:pt x="130" y="335"/>
                    </a:lnTo>
                    <a:lnTo>
                      <a:pt x="130" y="357"/>
                    </a:lnTo>
                    <a:lnTo>
                      <a:pt x="109" y="373"/>
                    </a:lnTo>
                    <a:lnTo>
                      <a:pt x="109" y="368"/>
                    </a:lnTo>
                    <a:lnTo>
                      <a:pt x="114" y="328"/>
                    </a:lnTo>
                    <a:lnTo>
                      <a:pt x="109" y="357"/>
                    </a:lnTo>
                    <a:lnTo>
                      <a:pt x="97" y="335"/>
                    </a:lnTo>
                    <a:lnTo>
                      <a:pt x="109" y="357"/>
                    </a:lnTo>
                    <a:lnTo>
                      <a:pt x="97" y="373"/>
                    </a:lnTo>
                    <a:lnTo>
                      <a:pt x="92" y="373"/>
                    </a:lnTo>
                    <a:lnTo>
                      <a:pt x="92" y="357"/>
                    </a:lnTo>
                    <a:lnTo>
                      <a:pt x="88" y="385"/>
                    </a:lnTo>
                    <a:lnTo>
                      <a:pt x="76" y="368"/>
                    </a:lnTo>
                    <a:lnTo>
                      <a:pt x="76" y="347"/>
                    </a:lnTo>
                    <a:lnTo>
                      <a:pt x="76" y="347"/>
                    </a:lnTo>
                    <a:lnTo>
                      <a:pt x="76" y="347"/>
                    </a:lnTo>
                    <a:close/>
                    <a:moveTo>
                      <a:pt x="177" y="257"/>
                    </a:moveTo>
                    <a:lnTo>
                      <a:pt x="182" y="257"/>
                    </a:lnTo>
                    <a:lnTo>
                      <a:pt x="168" y="246"/>
                    </a:lnTo>
                    <a:lnTo>
                      <a:pt x="177" y="257"/>
                    </a:lnTo>
                    <a:lnTo>
                      <a:pt x="177" y="257"/>
                    </a:lnTo>
                    <a:lnTo>
                      <a:pt x="177" y="257"/>
                    </a:lnTo>
                    <a:close/>
                    <a:moveTo>
                      <a:pt x="182" y="279"/>
                    </a:moveTo>
                    <a:lnTo>
                      <a:pt x="177" y="279"/>
                    </a:lnTo>
                    <a:lnTo>
                      <a:pt x="177" y="274"/>
                    </a:lnTo>
                    <a:lnTo>
                      <a:pt x="182" y="279"/>
                    </a:lnTo>
                    <a:lnTo>
                      <a:pt x="182" y="279"/>
                    </a:lnTo>
                    <a:lnTo>
                      <a:pt x="182" y="279"/>
                    </a:lnTo>
                    <a:close/>
                    <a:moveTo>
                      <a:pt x="177" y="302"/>
                    </a:moveTo>
                    <a:lnTo>
                      <a:pt x="168" y="286"/>
                    </a:lnTo>
                    <a:lnTo>
                      <a:pt x="182" y="286"/>
                    </a:lnTo>
                    <a:lnTo>
                      <a:pt x="177" y="295"/>
                    </a:lnTo>
                    <a:lnTo>
                      <a:pt x="177" y="302"/>
                    </a:lnTo>
                    <a:lnTo>
                      <a:pt x="177" y="302"/>
                    </a:lnTo>
                    <a:lnTo>
                      <a:pt x="177" y="302"/>
                    </a:lnTo>
                    <a:close/>
                    <a:moveTo>
                      <a:pt x="182" y="357"/>
                    </a:moveTo>
                    <a:lnTo>
                      <a:pt x="182" y="352"/>
                    </a:lnTo>
                    <a:lnTo>
                      <a:pt x="182" y="319"/>
                    </a:lnTo>
                    <a:lnTo>
                      <a:pt x="177" y="302"/>
                    </a:lnTo>
                    <a:lnTo>
                      <a:pt x="182" y="295"/>
                    </a:lnTo>
                    <a:lnTo>
                      <a:pt x="182" y="295"/>
                    </a:lnTo>
                    <a:lnTo>
                      <a:pt x="199" y="319"/>
                    </a:lnTo>
                    <a:lnTo>
                      <a:pt x="199" y="347"/>
                    </a:lnTo>
                    <a:lnTo>
                      <a:pt x="182" y="357"/>
                    </a:lnTo>
                    <a:lnTo>
                      <a:pt x="182" y="357"/>
                    </a:lnTo>
                    <a:lnTo>
                      <a:pt x="182" y="357"/>
                    </a:lnTo>
                    <a:close/>
                    <a:moveTo>
                      <a:pt x="248" y="328"/>
                    </a:moveTo>
                    <a:lnTo>
                      <a:pt x="236" y="319"/>
                    </a:lnTo>
                    <a:lnTo>
                      <a:pt x="236" y="302"/>
                    </a:lnTo>
                    <a:lnTo>
                      <a:pt x="248" y="319"/>
                    </a:lnTo>
                    <a:lnTo>
                      <a:pt x="248" y="328"/>
                    </a:lnTo>
                    <a:lnTo>
                      <a:pt x="248" y="328"/>
                    </a:lnTo>
                    <a:lnTo>
                      <a:pt x="248" y="328"/>
                    </a:lnTo>
                    <a:close/>
                    <a:moveTo>
                      <a:pt x="215" y="352"/>
                    </a:moveTo>
                    <a:lnTo>
                      <a:pt x="215" y="312"/>
                    </a:lnTo>
                    <a:lnTo>
                      <a:pt x="220" y="335"/>
                    </a:lnTo>
                    <a:lnTo>
                      <a:pt x="215" y="352"/>
                    </a:lnTo>
                    <a:lnTo>
                      <a:pt x="215" y="352"/>
                    </a:lnTo>
                    <a:lnTo>
                      <a:pt x="215" y="352"/>
                    </a:lnTo>
                    <a:close/>
                    <a:moveTo>
                      <a:pt x="177" y="352"/>
                    </a:moveTo>
                    <a:lnTo>
                      <a:pt x="177" y="352"/>
                    </a:lnTo>
                    <a:lnTo>
                      <a:pt x="182" y="347"/>
                    </a:lnTo>
                    <a:lnTo>
                      <a:pt x="177" y="352"/>
                    </a:lnTo>
                    <a:lnTo>
                      <a:pt x="177" y="352"/>
                    </a:lnTo>
                    <a:lnTo>
                      <a:pt x="177" y="352"/>
                    </a:lnTo>
                    <a:close/>
                    <a:moveTo>
                      <a:pt x="168" y="357"/>
                    </a:moveTo>
                    <a:lnTo>
                      <a:pt x="168" y="352"/>
                    </a:lnTo>
                    <a:lnTo>
                      <a:pt x="177" y="357"/>
                    </a:lnTo>
                    <a:lnTo>
                      <a:pt x="168" y="357"/>
                    </a:lnTo>
                    <a:lnTo>
                      <a:pt x="168" y="357"/>
                    </a:lnTo>
                    <a:lnTo>
                      <a:pt x="168" y="357"/>
                    </a:lnTo>
                    <a:close/>
                    <a:moveTo>
                      <a:pt x="269" y="390"/>
                    </a:moveTo>
                    <a:lnTo>
                      <a:pt x="269" y="373"/>
                    </a:lnTo>
                    <a:lnTo>
                      <a:pt x="274" y="385"/>
                    </a:lnTo>
                    <a:lnTo>
                      <a:pt x="269" y="390"/>
                    </a:lnTo>
                    <a:lnTo>
                      <a:pt x="269" y="390"/>
                    </a:lnTo>
                    <a:lnTo>
                      <a:pt x="269" y="39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70" name="Freeform 399">
                <a:extLst>
                  <a:ext uri="{FF2B5EF4-FFF2-40B4-BE49-F238E27FC236}">
                    <a16:creationId xmlns:a16="http://schemas.microsoft.com/office/drawing/2014/main" id="{081D9802-09D9-4CCD-BE12-5DA279A69748}"/>
                  </a:ext>
                </a:extLst>
              </p:cNvPr>
              <p:cNvSpPr>
                <a:spLocks noEditPoints="1"/>
              </p:cNvSpPr>
              <p:nvPr/>
            </p:nvSpPr>
            <p:spPr bwMode="gray">
              <a:xfrm>
                <a:off x="8712122" y="6006218"/>
                <a:ext cx="294086" cy="652561"/>
              </a:xfrm>
              <a:custGeom>
                <a:avLst/>
                <a:gdLst>
                  <a:gd name="T0" fmla="*/ 31 w 631"/>
                  <a:gd name="T1" fmla="*/ 552 h 1400"/>
                  <a:gd name="T2" fmla="*/ 64 w 631"/>
                  <a:gd name="T3" fmla="*/ 448 h 1400"/>
                  <a:gd name="T4" fmla="*/ 92 w 631"/>
                  <a:gd name="T5" fmla="*/ 354 h 1400"/>
                  <a:gd name="T6" fmla="*/ 173 w 631"/>
                  <a:gd name="T7" fmla="*/ 243 h 1400"/>
                  <a:gd name="T8" fmla="*/ 286 w 631"/>
                  <a:gd name="T9" fmla="*/ 94 h 1400"/>
                  <a:gd name="T10" fmla="*/ 362 w 631"/>
                  <a:gd name="T11" fmla="*/ 23 h 1400"/>
                  <a:gd name="T12" fmla="*/ 442 w 631"/>
                  <a:gd name="T13" fmla="*/ 73 h 1400"/>
                  <a:gd name="T14" fmla="*/ 447 w 631"/>
                  <a:gd name="T15" fmla="*/ 205 h 1400"/>
                  <a:gd name="T16" fmla="*/ 392 w 631"/>
                  <a:gd name="T17" fmla="*/ 276 h 1400"/>
                  <a:gd name="T18" fmla="*/ 388 w 631"/>
                  <a:gd name="T19" fmla="*/ 366 h 1400"/>
                  <a:gd name="T20" fmla="*/ 463 w 631"/>
                  <a:gd name="T21" fmla="*/ 387 h 1400"/>
                  <a:gd name="T22" fmla="*/ 501 w 631"/>
                  <a:gd name="T23" fmla="*/ 448 h 1400"/>
                  <a:gd name="T24" fmla="*/ 555 w 631"/>
                  <a:gd name="T25" fmla="*/ 536 h 1400"/>
                  <a:gd name="T26" fmla="*/ 614 w 631"/>
                  <a:gd name="T27" fmla="*/ 548 h 1400"/>
                  <a:gd name="T28" fmla="*/ 555 w 631"/>
                  <a:gd name="T29" fmla="*/ 625 h 1400"/>
                  <a:gd name="T30" fmla="*/ 484 w 631"/>
                  <a:gd name="T31" fmla="*/ 647 h 1400"/>
                  <a:gd name="T32" fmla="*/ 399 w 631"/>
                  <a:gd name="T33" fmla="*/ 680 h 1400"/>
                  <a:gd name="T34" fmla="*/ 362 w 631"/>
                  <a:gd name="T35" fmla="*/ 758 h 1400"/>
                  <a:gd name="T36" fmla="*/ 451 w 631"/>
                  <a:gd name="T37" fmla="*/ 923 h 1400"/>
                  <a:gd name="T38" fmla="*/ 442 w 631"/>
                  <a:gd name="T39" fmla="*/ 996 h 1400"/>
                  <a:gd name="T40" fmla="*/ 496 w 631"/>
                  <a:gd name="T41" fmla="*/ 1112 h 1400"/>
                  <a:gd name="T42" fmla="*/ 506 w 631"/>
                  <a:gd name="T43" fmla="*/ 1216 h 1400"/>
                  <a:gd name="T44" fmla="*/ 447 w 631"/>
                  <a:gd name="T45" fmla="*/ 1388 h 1400"/>
                  <a:gd name="T46" fmla="*/ 463 w 631"/>
                  <a:gd name="T47" fmla="*/ 1256 h 1400"/>
                  <a:gd name="T48" fmla="*/ 447 w 631"/>
                  <a:gd name="T49" fmla="*/ 1223 h 1400"/>
                  <a:gd name="T50" fmla="*/ 425 w 631"/>
                  <a:gd name="T51" fmla="*/ 1088 h 1400"/>
                  <a:gd name="T52" fmla="*/ 388 w 631"/>
                  <a:gd name="T53" fmla="*/ 907 h 1400"/>
                  <a:gd name="T54" fmla="*/ 333 w 631"/>
                  <a:gd name="T55" fmla="*/ 869 h 1400"/>
                  <a:gd name="T56" fmla="*/ 286 w 631"/>
                  <a:gd name="T57" fmla="*/ 918 h 1400"/>
                  <a:gd name="T58" fmla="*/ 227 w 631"/>
                  <a:gd name="T59" fmla="*/ 940 h 1400"/>
                  <a:gd name="T60" fmla="*/ 199 w 631"/>
                  <a:gd name="T61" fmla="*/ 963 h 1400"/>
                  <a:gd name="T62" fmla="*/ 182 w 631"/>
                  <a:gd name="T63" fmla="*/ 940 h 1400"/>
                  <a:gd name="T64" fmla="*/ 144 w 631"/>
                  <a:gd name="T65" fmla="*/ 947 h 1400"/>
                  <a:gd name="T66" fmla="*/ 139 w 631"/>
                  <a:gd name="T67" fmla="*/ 737 h 1400"/>
                  <a:gd name="T68" fmla="*/ 102 w 631"/>
                  <a:gd name="T69" fmla="*/ 670 h 1400"/>
                  <a:gd name="T70" fmla="*/ 69 w 631"/>
                  <a:gd name="T71" fmla="*/ 659 h 1400"/>
                  <a:gd name="T72" fmla="*/ 47 w 631"/>
                  <a:gd name="T73" fmla="*/ 642 h 1400"/>
                  <a:gd name="T74" fmla="*/ 17 w 631"/>
                  <a:gd name="T75" fmla="*/ 602 h 1400"/>
                  <a:gd name="T76" fmla="*/ 102 w 631"/>
                  <a:gd name="T77" fmla="*/ 687 h 1400"/>
                  <a:gd name="T78" fmla="*/ 123 w 631"/>
                  <a:gd name="T79" fmla="*/ 725 h 1400"/>
                  <a:gd name="T80" fmla="*/ 118 w 631"/>
                  <a:gd name="T81" fmla="*/ 703 h 1400"/>
                  <a:gd name="T82" fmla="*/ 92 w 631"/>
                  <a:gd name="T83" fmla="*/ 737 h 1400"/>
                  <a:gd name="T84" fmla="*/ 376 w 631"/>
                  <a:gd name="T85" fmla="*/ 935 h 1400"/>
                  <a:gd name="T86" fmla="*/ 173 w 631"/>
                  <a:gd name="T87" fmla="*/ 940 h 1400"/>
                  <a:gd name="T88" fmla="*/ 430 w 631"/>
                  <a:gd name="T89" fmla="*/ 1216 h 1400"/>
                  <a:gd name="T90" fmla="*/ 430 w 631"/>
                  <a:gd name="T91" fmla="*/ 1216 h 1400"/>
                  <a:gd name="T92" fmla="*/ 409 w 631"/>
                  <a:gd name="T93" fmla="*/ 1216 h 1400"/>
                  <a:gd name="T94" fmla="*/ 413 w 631"/>
                  <a:gd name="T95" fmla="*/ 1223 h 1400"/>
                  <a:gd name="T96" fmla="*/ 442 w 631"/>
                  <a:gd name="T97" fmla="*/ 1233 h 1400"/>
                  <a:gd name="T98" fmla="*/ 447 w 631"/>
                  <a:gd name="T99" fmla="*/ 1256 h 1400"/>
                  <a:gd name="T100" fmla="*/ 430 w 631"/>
                  <a:gd name="T101" fmla="*/ 1256 h 1400"/>
                  <a:gd name="T102" fmla="*/ 447 w 631"/>
                  <a:gd name="T103" fmla="*/ 1306 h 1400"/>
                  <a:gd name="T104" fmla="*/ 425 w 631"/>
                  <a:gd name="T105" fmla="*/ 1332 h 1400"/>
                  <a:gd name="T106" fmla="*/ 425 w 631"/>
                  <a:gd name="T107" fmla="*/ 1332 h 1400"/>
                  <a:gd name="T108" fmla="*/ 399 w 631"/>
                  <a:gd name="T109" fmla="*/ 1348 h 1400"/>
                  <a:gd name="T110" fmla="*/ 425 w 631"/>
                  <a:gd name="T111" fmla="*/ 1384 h 1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1400">
                    <a:moveTo>
                      <a:pt x="10" y="569"/>
                    </a:moveTo>
                    <a:lnTo>
                      <a:pt x="0" y="552"/>
                    </a:lnTo>
                    <a:lnTo>
                      <a:pt x="10" y="548"/>
                    </a:lnTo>
                    <a:lnTo>
                      <a:pt x="17" y="536"/>
                    </a:lnTo>
                    <a:lnTo>
                      <a:pt x="31" y="552"/>
                    </a:lnTo>
                    <a:lnTo>
                      <a:pt x="31" y="552"/>
                    </a:lnTo>
                    <a:lnTo>
                      <a:pt x="31" y="503"/>
                    </a:lnTo>
                    <a:lnTo>
                      <a:pt x="38" y="493"/>
                    </a:lnTo>
                    <a:lnTo>
                      <a:pt x="54" y="498"/>
                    </a:lnTo>
                    <a:lnTo>
                      <a:pt x="64" y="481"/>
                    </a:lnTo>
                    <a:lnTo>
                      <a:pt x="69" y="481"/>
                    </a:lnTo>
                    <a:lnTo>
                      <a:pt x="64" y="448"/>
                    </a:lnTo>
                    <a:lnTo>
                      <a:pt x="69" y="420"/>
                    </a:lnTo>
                    <a:lnTo>
                      <a:pt x="76" y="427"/>
                    </a:lnTo>
                    <a:lnTo>
                      <a:pt x="85" y="411"/>
                    </a:lnTo>
                    <a:lnTo>
                      <a:pt x="85" y="370"/>
                    </a:lnTo>
                    <a:lnTo>
                      <a:pt x="85" y="337"/>
                    </a:lnTo>
                    <a:lnTo>
                      <a:pt x="92" y="354"/>
                    </a:lnTo>
                    <a:lnTo>
                      <a:pt x="106" y="349"/>
                    </a:lnTo>
                    <a:lnTo>
                      <a:pt x="139" y="366"/>
                    </a:lnTo>
                    <a:lnTo>
                      <a:pt x="177" y="266"/>
                    </a:lnTo>
                    <a:lnTo>
                      <a:pt x="177" y="259"/>
                    </a:lnTo>
                    <a:lnTo>
                      <a:pt x="173" y="255"/>
                    </a:lnTo>
                    <a:lnTo>
                      <a:pt x="173" y="243"/>
                    </a:lnTo>
                    <a:lnTo>
                      <a:pt x="194" y="226"/>
                    </a:lnTo>
                    <a:lnTo>
                      <a:pt x="210" y="188"/>
                    </a:lnTo>
                    <a:lnTo>
                      <a:pt x="199" y="172"/>
                    </a:lnTo>
                    <a:lnTo>
                      <a:pt x="210" y="151"/>
                    </a:lnTo>
                    <a:lnTo>
                      <a:pt x="232" y="144"/>
                    </a:lnTo>
                    <a:lnTo>
                      <a:pt x="286" y="94"/>
                    </a:lnTo>
                    <a:lnTo>
                      <a:pt x="317" y="94"/>
                    </a:lnTo>
                    <a:lnTo>
                      <a:pt x="333" y="99"/>
                    </a:lnTo>
                    <a:lnTo>
                      <a:pt x="345" y="111"/>
                    </a:lnTo>
                    <a:lnTo>
                      <a:pt x="333" y="73"/>
                    </a:lnTo>
                    <a:lnTo>
                      <a:pt x="362" y="44"/>
                    </a:lnTo>
                    <a:lnTo>
                      <a:pt x="362" y="23"/>
                    </a:lnTo>
                    <a:lnTo>
                      <a:pt x="371" y="16"/>
                    </a:lnTo>
                    <a:lnTo>
                      <a:pt x="376" y="0"/>
                    </a:lnTo>
                    <a:lnTo>
                      <a:pt x="409" y="23"/>
                    </a:lnTo>
                    <a:lnTo>
                      <a:pt x="413" y="33"/>
                    </a:lnTo>
                    <a:lnTo>
                      <a:pt x="430" y="77"/>
                    </a:lnTo>
                    <a:lnTo>
                      <a:pt x="442" y="73"/>
                    </a:lnTo>
                    <a:lnTo>
                      <a:pt x="451" y="77"/>
                    </a:lnTo>
                    <a:lnTo>
                      <a:pt x="463" y="134"/>
                    </a:lnTo>
                    <a:lnTo>
                      <a:pt x="463" y="184"/>
                    </a:lnTo>
                    <a:lnTo>
                      <a:pt x="447" y="188"/>
                    </a:lnTo>
                    <a:lnTo>
                      <a:pt x="451" y="205"/>
                    </a:lnTo>
                    <a:lnTo>
                      <a:pt x="447" y="205"/>
                    </a:lnTo>
                    <a:lnTo>
                      <a:pt x="430" y="226"/>
                    </a:lnTo>
                    <a:lnTo>
                      <a:pt x="425" y="226"/>
                    </a:lnTo>
                    <a:lnTo>
                      <a:pt x="409" y="255"/>
                    </a:lnTo>
                    <a:lnTo>
                      <a:pt x="399" y="259"/>
                    </a:lnTo>
                    <a:lnTo>
                      <a:pt x="392" y="255"/>
                    </a:lnTo>
                    <a:lnTo>
                      <a:pt x="392" y="276"/>
                    </a:lnTo>
                    <a:lnTo>
                      <a:pt x="376" y="292"/>
                    </a:lnTo>
                    <a:lnTo>
                      <a:pt x="376" y="316"/>
                    </a:lnTo>
                    <a:lnTo>
                      <a:pt x="388" y="316"/>
                    </a:lnTo>
                    <a:lnTo>
                      <a:pt x="392" y="337"/>
                    </a:lnTo>
                    <a:lnTo>
                      <a:pt x="376" y="354"/>
                    </a:lnTo>
                    <a:lnTo>
                      <a:pt x="388" y="366"/>
                    </a:lnTo>
                    <a:lnTo>
                      <a:pt x="413" y="337"/>
                    </a:lnTo>
                    <a:lnTo>
                      <a:pt x="468" y="337"/>
                    </a:lnTo>
                    <a:lnTo>
                      <a:pt x="451" y="354"/>
                    </a:lnTo>
                    <a:lnTo>
                      <a:pt x="451" y="366"/>
                    </a:lnTo>
                    <a:lnTo>
                      <a:pt x="463" y="370"/>
                    </a:lnTo>
                    <a:lnTo>
                      <a:pt x="463" y="387"/>
                    </a:lnTo>
                    <a:lnTo>
                      <a:pt x="468" y="394"/>
                    </a:lnTo>
                    <a:lnTo>
                      <a:pt x="468" y="411"/>
                    </a:lnTo>
                    <a:lnTo>
                      <a:pt x="484" y="420"/>
                    </a:lnTo>
                    <a:lnTo>
                      <a:pt x="517" y="420"/>
                    </a:lnTo>
                    <a:lnTo>
                      <a:pt x="517" y="427"/>
                    </a:lnTo>
                    <a:lnTo>
                      <a:pt x="501" y="448"/>
                    </a:lnTo>
                    <a:lnTo>
                      <a:pt x="506" y="465"/>
                    </a:lnTo>
                    <a:lnTo>
                      <a:pt x="484" y="493"/>
                    </a:lnTo>
                    <a:lnTo>
                      <a:pt x="550" y="498"/>
                    </a:lnTo>
                    <a:lnTo>
                      <a:pt x="550" y="519"/>
                    </a:lnTo>
                    <a:lnTo>
                      <a:pt x="555" y="531"/>
                    </a:lnTo>
                    <a:lnTo>
                      <a:pt x="555" y="536"/>
                    </a:lnTo>
                    <a:lnTo>
                      <a:pt x="560" y="548"/>
                    </a:lnTo>
                    <a:lnTo>
                      <a:pt x="576" y="536"/>
                    </a:lnTo>
                    <a:lnTo>
                      <a:pt x="588" y="548"/>
                    </a:lnTo>
                    <a:lnTo>
                      <a:pt x="624" y="519"/>
                    </a:lnTo>
                    <a:lnTo>
                      <a:pt x="631" y="531"/>
                    </a:lnTo>
                    <a:lnTo>
                      <a:pt x="614" y="548"/>
                    </a:lnTo>
                    <a:lnTo>
                      <a:pt x="602" y="552"/>
                    </a:lnTo>
                    <a:lnTo>
                      <a:pt x="588" y="576"/>
                    </a:lnTo>
                    <a:lnTo>
                      <a:pt x="588" y="585"/>
                    </a:lnTo>
                    <a:lnTo>
                      <a:pt x="593" y="585"/>
                    </a:lnTo>
                    <a:lnTo>
                      <a:pt x="560" y="592"/>
                    </a:lnTo>
                    <a:lnTo>
                      <a:pt x="555" y="625"/>
                    </a:lnTo>
                    <a:lnTo>
                      <a:pt x="550" y="614"/>
                    </a:lnTo>
                    <a:lnTo>
                      <a:pt x="534" y="625"/>
                    </a:lnTo>
                    <a:lnTo>
                      <a:pt x="517" y="625"/>
                    </a:lnTo>
                    <a:lnTo>
                      <a:pt x="517" y="642"/>
                    </a:lnTo>
                    <a:lnTo>
                      <a:pt x="506" y="642"/>
                    </a:lnTo>
                    <a:lnTo>
                      <a:pt x="484" y="647"/>
                    </a:lnTo>
                    <a:lnTo>
                      <a:pt x="480" y="663"/>
                    </a:lnTo>
                    <a:lnTo>
                      <a:pt x="468" y="663"/>
                    </a:lnTo>
                    <a:lnTo>
                      <a:pt x="425" y="670"/>
                    </a:lnTo>
                    <a:lnTo>
                      <a:pt x="409" y="663"/>
                    </a:lnTo>
                    <a:lnTo>
                      <a:pt x="409" y="680"/>
                    </a:lnTo>
                    <a:lnTo>
                      <a:pt x="399" y="680"/>
                    </a:lnTo>
                    <a:lnTo>
                      <a:pt x="392" y="696"/>
                    </a:lnTo>
                    <a:lnTo>
                      <a:pt x="392" y="720"/>
                    </a:lnTo>
                    <a:lnTo>
                      <a:pt x="388" y="725"/>
                    </a:lnTo>
                    <a:lnTo>
                      <a:pt x="392" y="758"/>
                    </a:lnTo>
                    <a:lnTo>
                      <a:pt x="371" y="770"/>
                    </a:lnTo>
                    <a:lnTo>
                      <a:pt x="362" y="758"/>
                    </a:lnTo>
                    <a:lnTo>
                      <a:pt x="371" y="779"/>
                    </a:lnTo>
                    <a:lnTo>
                      <a:pt x="388" y="779"/>
                    </a:lnTo>
                    <a:lnTo>
                      <a:pt x="392" y="824"/>
                    </a:lnTo>
                    <a:lnTo>
                      <a:pt x="447" y="881"/>
                    </a:lnTo>
                    <a:lnTo>
                      <a:pt x="442" y="890"/>
                    </a:lnTo>
                    <a:lnTo>
                      <a:pt x="451" y="923"/>
                    </a:lnTo>
                    <a:lnTo>
                      <a:pt x="468" y="918"/>
                    </a:lnTo>
                    <a:lnTo>
                      <a:pt x="468" y="918"/>
                    </a:lnTo>
                    <a:lnTo>
                      <a:pt x="468" y="940"/>
                    </a:lnTo>
                    <a:lnTo>
                      <a:pt x="451" y="947"/>
                    </a:lnTo>
                    <a:lnTo>
                      <a:pt x="447" y="996"/>
                    </a:lnTo>
                    <a:lnTo>
                      <a:pt x="442" y="996"/>
                    </a:lnTo>
                    <a:lnTo>
                      <a:pt x="425" y="1001"/>
                    </a:lnTo>
                    <a:lnTo>
                      <a:pt x="425" y="1018"/>
                    </a:lnTo>
                    <a:lnTo>
                      <a:pt x="430" y="1046"/>
                    </a:lnTo>
                    <a:lnTo>
                      <a:pt x="451" y="1072"/>
                    </a:lnTo>
                    <a:lnTo>
                      <a:pt x="480" y="1088"/>
                    </a:lnTo>
                    <a:lnTo>
                      <a:pt x="496" y="1112"/>
                    </a:lnTo>
                    <a:lnTo>
                      <a:pt x="496" y="1157"/>
                    </a:lnTo>
                    <a:lnTo>
                      <a:pt x="484" y="1157"/>
                    </a:lnTo>
                    <a:lnTo>
                      <a:pt x="484" y="1162"/>
                    </a:lnTo>
                    <a:lnTo>
                      <a:pt x="496" y="1183"/>
                    </a:lnTo>
                    <a:lnTo>
                      <a:pt x="506" y="1199"/>
                    </a:lnTo>
                    <a:lnTo>
                      <a:pt x="506" y="1216"/>
                    </a:lnTo>
                    <a:lnTo>
                      <a:pt x="522" y="1256"/>
                    </a:lnTo>
                    <a:lnTo>
                      <a:pt x="496" y="1311"/>
                    </a:lnTo>
                    <a:lnTo>
                      <a:pt x="463" y="1332"/>
                    </a:lnTo>
                    <a:lnTo>
                      <a:pt x="463" y="1348"/>
                    </a:lnTo>
                    <a:lnTo>
                      <a:pt x="463" y="1360"/>
                    </a:lnTo>
                    <a:lnTo>
                      <a:pt x="447" y="1388"/>
                    </a:lnTo>
                    <a:lnTo>
                      <a:pt x="442" y="1332"/>
                    </a:lnTo>
                    <a:lnTo>
                      <a:pt x="447" y="1332"/>
                    </a:lnTo>
                    <a:lnTo>
                      <a:pt x="451" y="1322"/>
                    </a:lnTo>
                    <a:lnTo>
                      <a:pt x="463" y="1266"/>
                    </a:lnTo>
                    <a:lnTo>
                      <a:pt x="468" y="1266"/>
                    </a:lnTo>
                    <a:lnTo>
                      <a:pt x="463" y="1256"/>
                    </a:lnTo>
                    <a:lnTo>
                      <a:pt x="451" y="1266"/>
                    </a:lnTo>
                    <a:lnTo>
                      <a:pt x="447" y="1256"/>
                    </a:lnTo>
                    <a:lnTo>
                      <a:pt x="451" y="1240"/>
                    </a:lnTo>
                    <a:lnTo>
                      <a:pt x="451" y="1223"/>
                    </a:lnTo>
                    <a:lnTo>
                      <a:pt x="451" y="1223"/>
                    </a:lnTo>
                    <a:lnTo>
                      <a:pt x="447" y="1223"/>
                    </a:lnTo>
                    <a:lnTo>
                      <a:pt x="451" y="1216"/>
                    </a:lnTo>
                    <a:lnTo>
                      <a:pt x="447" y="1211"/>
                    </a:lnTo>
                    <a:lnTo>
                      <a:pt x="451" y="1195"/>
                    </a:lnTo>
                    <a:lnTo>
                      <a:pt x="447" y="1157"/>
                    </a:lnTo>
                    <a:lnTo>
                      <a:pt x="430" y="1112"/>
                    </a:lnTo>
                    <a:lnTo>
                      <a:pt x="425" y="1088"/>
                    </a:lnTo>
                    <a:lnTo>
                      <a:pt x="413" y="1129"/>
                    </a:lnTo>
                    <a:lnTo>
                      <a:pt x="413" y="1084"/>
                    </a:lnTo>
                    <a:lnTo>
                      <a:pt x="392" y="1029"/>
                    </a:lnTo>
                    <a:lnTo>
                      <a:pt x="388" y="956"/>
                    </a:lnTo>
                    <a:lnTo>
                      <a:pt x="376" y="940"/>
                    </a:lnTo>
                    <a:lnTo>
                      <a:pt x="388" y="907"/>
                    </a:lnTo>
                    <a:lnTo>
                      <a:pt x="392" y="907"/>
                    </a:lnTo>
                    <a:lnTo>
                      <a:pt x="362" y="907"/>
                    </a:lnTo>
                    <a:lnTo>
                      <a:pt x="345" y="864"/>
                    </a:lnTo>
                    <a:lnTo>
                      <a:pt x="333" y="836"/>
                    </a:lnTo>
                    <a:lnTo>
                      <a:pt x="324" y="864"/>
                    </a:lnTo>
                    <a:lnTo>
                      <a:pt x="333" y="869"/>
                    </a:lnTo>
                    <a:lnTo>
                      <a:pt x="324" y="890"/>
                    </a:lnTo>
                    <a:lnTo>
                      <a:pt x="307" y="907"/>
                    </a:lnTo>
                    <a:lnTo>
                      <a:pt x="291" y="907"/>
                    </a:lnTo>
                    <a:lnTo>
                      <a:pt x="286" y="902"/>
                    </a:lnTo>
                    <a:lnTo>
                      <a:pt x="286" y="885"/>
                    </a:lnTo>
                    <a:lnTo>
                      <a:pt x="286" y="918"/>
                    </a:lnTo>
                    <a:lnTo>
                      <a:pt x="269" y="918"/>
                    </a:lnTo>
                    <a:lnTo>
                      <a:pt x="269" y="923"/>
                    </a:lnTo>
                    <a:lnTo>
                      <a:pt x="253" y="940"/>
                    </a:lnTo>
                    <a:lnTo>
                      <a:pt x="232" y="963"/>
                    </a:lnTo>
                    <a:lnTo>
                      <a:pt x="215" y="963"/>
                    </a:lnTo>
                    <a:lnTo>
                      <a:pt x="227" y="940"/>
                    </a:lnTo>
                    <a:lnTo>
                      <a:pt x="215" y="963"/>
                    </a:lnTo>
                    <a:lnTo>
                      <a:pt x="210" y="963"/>
                    </a:lnTo>
                    <a:lnTo>
                      <a:pt x="210" y="940"/>
                    </a:lnTo>
                    <a:lnTo>
                      <a:pt x="215" y="940"/>
                    </a:lnTo>
                    <a:lnTo>
                      <a:pt x="210" y="940"/>
                    </a:lnTo>
                    <a:lnTo>
                      <a:pt x="199" y="963"/>
                    </a:lnTo>
                    <a:lnTo>
                      <a:pt x="182" y="963"/>
                    </a:lnTo>
                    <a:lnTo>
                      <a:pt x="182" y="940"/>
                    </a:lnTo>
                    <a:lnTo>
                      <a:pt x="199" y="935"/>
                    </a:lnTo>
                    <a:lnTo>
                      <a:pt x="173" y="956"/>
                    </a:lnTo>
                    <a:lnTo>
                      <a:pt x="173" y="956"/>
                    </a:lnTo>
                    <a:lnTo>
                      <a:pt x="182" y="940"/>
                    </a:lnTo>
                    <a:lnTo>
                      <a:pt x="173" y="947"/>
                    </a:lnTo>
                    <a:lnTo>
                      <a:pt x="177" y="940"/>
                    </a:lnTo>
                    <a:lnTo>
                      <a:pt x="173" y="923"/>
                    </a:lnTo>
                    <a:lnTo>
                      <a:pt x="161" y="923"/>
                    </a:lnTo>
                    <a:lnTo>
                      <a:pt x="161" y="940"/>
                    </a:lnTo>
                    <a:lnTo>
                      <a:pt x="144" y="947"/>
                    </a:lnTo>
                    <a:lnTo>
                      <a:pt x="144" y="923"/>
                    </a:lnTo>
                    <a:lnTo>
                      <a:pt x="173" y="829"/>
                    </a:lnTo>
                    <a:lnTo>
                      <a:pt x="156" y="774"/>
                    </a:lnTo>
                    <a:lnTo>
                      <a:pt x="144" y="758"/>
                    </a:lnTo>
                    <a:lnTo>
                      <a:pt x="144" y="741"/>
                    </a:lnTo>
                    <a:lnTo>
                      <a:pt x="139" y="737"/>
                    </a:lnTo>
                    <a:lnTo>
                      <a:pt x="128" y="737"/>
                    </a:lnTo>
                    <a:lnTo>
                      <a:pt x="128" y="713"/>
                    </a:lnTo>
                    <a:lnTo>
                      <a:pt x="123" y="713"/>
                    </a:lnTo>
                    <a:lnTo>
                      <a:pt x="118" y="703"/>
                    </a:lnTo>
                    <a:lnTo>
                      <a:pt x="123" y="696"/>
                    </a:lnTo>
                    <a:lnTo>
                      <a:pt x="102" y="670"/>
                    </a:lnTo>
                    <a:lnTo>
                      <a:pt x="106" y="659"/>
                    </a:lnTo>
                    <a:lnTo>
                      <a:pt x="102" y="663"/>
                    </a:lnTo>
                    <a:lnTo>
                      <a:pt x="85" y="647"/>
                    </a:lnTo>
                    <a:lnTo>
                      <a:pt x="69" y="647"/>
                    </a:lnTo>
                    <a:lnTo>
                      <a:pt x="76" y="663"/>
                    </a:lnTo>
                    <a:lnTo>
                      <a:pt x="69" y="659"/>
                    </a:lnTo>
                    <a:lnTo>
                      <a:pt x="69" y="663"/>
                    </a:lnTo>
                    <a:lnTo>
                      <a:pt x="54" y="642"/>
                    </a:lnTo>
                    <a:lnTo>
                      <a:pt x="69" y="642"/>
                    </a:lnTo>
                    <a:lnTo>
                      <a:pt x="54" y="642"/>
                    </a:lnTo>
                    <a:lnTo>
                      <a:pt x="64" y="609"/>
                    </a:lnTo>
                    <a:lnTo>
                      <a:pt x="47" y="642"/>
                    </a:lnTo>
                    <a:lnTo>
                      <a:pt x="38" y="630"/>
                    </a:lnTo>
                    <a:lnTo>
                      <a:pt x="47" y="625"/>
                    </a:lnTo>
                    <a:lnTo>
                      <a:pt x="47" y="614"/>
                    </a:lnTo>
                    <a:lnTo>
                      <a:pt x="31" y="602"/>
                    </a:lnTo>
                    <a:lnTo>
                      <a:pt x="38" y="630"/>
                    </a:lnTo>
                    <a:lnTo>
                      <a:pt x="17" y="602"/>
                    </a:lnTo>
                    <a:lnTo>
                      <a:pt x="10" y="569"/>
                    </a:lnTo>
                    <a:lnTo>
                      <a:pt x="10" y="569"/>
                    </a:lnTo>
                    <a:lnTo>
                      <a:pt x="10" y="569"/>
                    </a:lnTo>
                    <a:close/>
                    <a:moveTo>
                      <a:pt x="123" y="696"/>
                    </a:moveTo>
                    <a:lnTo>
                      <a:pt x="118" y="703"/>
                    </a:lnTo>
                    <a:lnTo>
                      <a:pt x="102" y="687"/>
                    </a:lnTo>
                    <a:lnTo>
                      <a:pt x="106" y="687"/>
                    </a:lnTo>
                    <a:lnTo>
                      <a:pt x="123" y="696"/>
                    </a:lnTo>
                    <a:lnTo>
                      <a:pt x="123" y="696"/>
                    </a:lnTo>
                    <a:lnTo>
                      <a:pt x="123" y="696"/>
                    </a:lnTo>
                    <a:close/>
                    <a:moveTo>
                      <a:pt x="118" y="703"/>
                    </a:moveTo>
                    <a:lnTo>
                      <a:pt x="123" y="725"/>
                    </a:lnTo>
                    <a:lnTo>
                      <a:pt x="123" y="737"/>
                    </a:lnTo>
                    <a:lnTo>
                      <a:pt x="106" y="725"/>
                    </a:lnTo>
                    <a:lnTo>
                      <a:pt x="92" y="696"/>
                    </a:lnTo>
                    <a:lnTo>
                      <a:pt x="92" y="696"/>
                    </a:lnTo>
                    <a:lnTo>
                      <a:pt x="106" y="703"/>
                    </a:lnTo>
                    <a:lnTo>
                      <a:pt x="118" y="703"/>
                    </a:lnTo>
                    <a:lnTo>
                      <a:pt x="118" y="703"/>
                    </a:lnTo>
                    <a:lnTo>
                      <a:pt x="118" y="703"/>
                    </a:lnTo>
                    <a:close/>
                    <a:moveTo>
                      <a:pt x="102" y="737"/>
                    </a:moveTo>
                    <a:lnTo>
                      <a:pt x="106" y="737"/>
                    </a:lnTo>
                    <a:lnTo>
                      <a:pt x="106" y="753"/>
                    </a:lnTo>
                    <a:lnTo>
                      <a:pt x="92" y="737"/>
                    </a:lnTo>
                    <a:lnTo>
                      <a:pt x="102" y="737"/>
                    </a:lnTo>
                    <a:lnTo>
                      <a:pt x="102" y="737"/>
                    </a:lnTo>
                    <a:lnTo>
                      <a:pt x="102" y="737"/>
                    </a:lnTo>
                    <a:close/>
                    <a:moveTo>
                      <a:pt x="376" y="907"/>
                    </a:moveTo>
                    <a:lnTo>
                      <a:pt x="376" y="918"/>
                    </a:lnTo>
                    <a:lnTo>
                      <a:pt x="376" y="935"/>
                    </a:lnTo>
                    <a:lnTo>
                      <a:pt x="371" y="923"/>
                    </a:lnTo>
                    <a:lnTo>
                      <a:pt x="376" y="907"/>
                    </a:lnTo>
                    <a:lnTo>
                      <a:pt x="376" y="907"/>
                    </a:lnTo>
                    <a:lnTo>
                      <a:pt x="376" y="907"/>
                    </a:lnTo>
                    <a:close/>
                    <a:moveTo>
                      <a:pt x="173" y="935"/>
                    </a:moveTo>
                    <a:lnTo>
                      <a:pt x="173" y="940"/>
                    </a:lnTo>
                    <a:lnTo>
                      <a:pt x="156" y="956"/>
                    </a:lnTo>
                    <a:lnTo>
                      <a:pt x="156" y="947"/>
                    </a:lnTo>
                    <a:lnTo>
                      <a:pt x="173" y="935"/>
                    </a:lnTo>
                    <a:lnTo>
                      <a:pt x="173" y="935"/>
                    </a:lnTo>
                    <a:lnTo>
                      <a:pt x="173" y="935"/>
                    </a:lnTo>
                    <a:close/>
                    <a:moveTo>
                      <a:pt x="430" y="1216"/>
                    </a:moveTo>
                    <a:lnTo>
                      <a:pt x="430" y="1195"/>
                    </a:lnTo>
                    <a:lnTo>
                      <a:pt x="442" y="1195"/>
                    </a:lnTo>
                    <a:lnTo>
                      <a:pt x="442" y="1211"/>
                    </a:lnTo>
                    <a:lnTo>
                      <a:pt x="430" y="1216"/>
                    </a:lnTo>
                    <a:lnTo>
                      <a:pt x="430" y="1216"/>
                    </a:lnTo>
                    <a:lnTo>
                      <a:pt x="430" y="1216"/>
                    </a:lnTo>
                    <a:lnTo>
                      <a:pt x="430" y="1216"/>
                    </a:lnTo>
                    <a:close/>
                    <a:moveTo>
                      <a:pt x="409" y="1216"/>
                    </a:moveTo>
                    <a:lnTo>
                      <a:pt x="399" y="1216"/>
                    </a:lnTo>
                    <a:lnTo>
                      <a:pt x="413" y="1211"/>
                    </a:lnTo>
                    <a:lnTo>
                      <a:pt x="409" y="1216"/>
                    </a:lnTo>
                    <a:lnTo>
                      <a:pt x="409" y="1216"/>
                    </a:lnTo>
                    <a:lnTo>
                      <a:pt x="409" y="1216"/>
                    </a:lnTo>
                    <a:close/>
                    <a:moveTo>
                      <a:pt x="413" y="1223"/>
                    </a:moveTo>
                    <a:lnTo>
                      <a:pt x="409" y="1216"/>
                    </a:lnTo>
                    <a:lnTo>
                      <a:pt x="413" y="1216"/>
                    </a:lnTo>
                    <a:lnTo>
                      <a:pt x="413" y="1233"/>
                    </a:lnTo>
                    <a:lnTo>
                      <a:pt x="413" y="1223"/>
                    </a:lnTo>
                    <a:lnTo>
                      <a:pt x="413" y="1223"/>
                    </a:lnTo>
                    <a:lnTo>
                      <a:pt x="413" y="1223"/>
                    </a:lnTo>
                    <a:close/>
                    <a:moveTo>
                      <a:pt x="447" y="1240"/>
                    </a:moveTo>
                    <a:lnTo>
                      <a:pt x="451" y="1249"/>
                    </a:lnTo>
                    <a:lnTo>
                      <a:pt x="442" y="1249"/>
                    </a:lnTo>
                    <a:lnTo>
                      <a:pt x="442" y="1233"/>
                    </a:lnTo>
                    <a:lnTo>
                      <a:pt x="447" y="1240"/>
                    </a:lnTo>
                    <a:lnTo>
                      <a:pt x="447" y="1240"/>
                    </a:lnTo>
                    <a:lnTo>
                      <a:pt x="447" y="1240"/>
                    </a:lnTo>
                    <a:close/>
                    <a:moveTo>
                      <a:pt x="442" y="1273"/>
                    </a:moveTo>
                    <a:lnTo>
                      <a:pt x="430" y="1256"/>
                    </a:lnTo>
                    <a:lnTo>
                      <a:pt x="447" y="1256"/>
                    </a:lnTo>
                    <a:lnTo>
                      <a:pt x="447" y="1273"/>
                    </a:lnTo>
                    <a:lnTo>
                      <a:pt x="442" y="1273"/>
                    </a:lnTo>
                    <a:lnTo>
                      <a:pt x="442" y="1273"/>
                    </a:lnTo>
                    <a:lnTo>
                      <a:pt x="442" y="1273"/>
                    </a:lnTo>
                    <a:close/>
                    <a:moveTo>
                      <a:pt x="413" y="1277"/>
                    </a:moveTo>
                    <a:lnTo>
                      <a:pt x="430" y="1256"/>
                    </a:lnTo>
                    <a:lnTo>
                      <a:pt x="425" y="1277"/>
                    </a:lnTo>
                    <a:lnTo>
                      <a:pt x="413" y="1277"/>
                    </a:lnTo>
                    <a:lnTo>
                      <a:pt x="413" y="1277"/>
                    </a:lnTo>
                    <a:lnTo>
                      <a:pt x="413" y="1277"/>
                    </a:lnTo>
                    <a:close/>
                    <a:moveTo>
                      <a:pt x="442" y="1311"/>
                    </a:moveTo>
                    <a:lnTo>
                      <a:pt x="447" y="1306"/>
                    </a:lnTo>
                    <a:lnTo>
                      <a:pt x="447" y="1322"/>
                    </a:lnTo>
                    <a:lnTo>
                      <a:pt x="442" y="1311"/>
                    </a:lnTo>
                    <a:lnTo>
                      <a:pt x="442" y="1311"/>
                    </a:lnTo>
                    <a:lnTo>
                      <a:pt x="442" y="1311"/>
                    </a:lnTo>
                    <a:close/>
                    <a:moveTo>
                      <a:pt x="425" y="1332"/>
                    </a:moveTo>
                    <a:lnTo>
                      <a:pt x="425" y="1332"/>
                    </a:lnTo>
                    <a:lnTo>
                      <a:pt x="413" y="1322"/>
                    </a:lnTo>
                    <a:lnTo>
                      <a:pt x="413" y="1322"/>
                    </a:lnTo>
                    <a:lnTo>
                      <a:pt x="413" y="1311"/>
                    </a:lnTo>
                    <a:lnTo>
                      <a:pt x="425" y="1332"/>
                    </a:lnTo>
                    <a:lnTo>
                      <a:pt x="425" y="1332"/>
                    </a:lnTo>
                    <a:lnTo>
                      <a:pt x="425" y="1332"/>
                    </a:lnTo>
                    <a:close/>
                    <a:moveTo>
                      <a:pt x="399" y="1348"/>
                    </a:moveTo>
                    <a:lnTo>
                      <a:pt x="399" y="1360"/>
                    </a:lnTo>
                    <a:lnTo>
                      <a:pt x="399" y="1348"/>
                    </a:lnTo>
                    <a:lnTo>
                      <a:pt x="399" y="1348"/>
                    </a:lnTo>
                    <a:lnTo>
                      <a:pt x="399" y="1348"/>
                    </a:lnTo>
                    <a:lnTo>
                      <a:pt x="399" y="1348"/>
                    </a:lnTo>
                    <a:close/>
                    <a:moveTo>
                      <a:pt x="425" y="1384"/>
                    </a:moveTo>
                    <a:lnTo>
                      <a:pt x="413" y="1400"/>
                    </a:lnTo>
                    <a:lnTo>
                      <a:pt x="425" y="1384"/>
                    </a:lnTo>
                    <a:lnTo>
                      <a:pt x="425" y="1384"/>
                    </a:lnTo>
                    <a:lnTo>
                      <a:pt x="425" y="1384"/>
                    </a:lnTo>
                    <a:lnTo>
                      <a:pt x="425" y="138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71" name="Freeform 404">
                <a:extLst>
                  <a:ext uri="{FF2B5EF4-FFF2-40B4-BE49-F238E27FC236}">
                    <a16:creationId xmlns:a16="http://schemas.microsoft.com/office/drawing/2014/main" id="{FBACA573-5F29-4CD9-9E61-5D5E11A7663F}"/>
                  </a:ext>
                </a:extLst>
              </p:cNvPr>
              <p:cNvSpPr>
                <a:spLocks/>
              </p:cNvSpPr>
              <p:nvPr/>
            </p:nvSpPr>
            <p:spPr bwMode="gray">
              <a:xfrm>
                <a:off x="8599801" y="6012744"/>
                <a:ext cx="109991" cy="59197"/>
              </a:xfrm>
              <a:custGeom>
                <a:avLst/>
                <a:gdLst>
                  <a:gd name="T0" fmla="*/ 5 w 236"/>
                  <a:gd name="T1" fmla="*/ 78 h 127"/>
                  <a:gd name="T2" fmla="*/ 55 w 236"/>
                  <a:gd name="T3" fmla="*/ 21 h 127"/>
                  <a:gd name="T4" fmla="*/ 88 w 236"/>
                  <a:gd name="T5" fmla="*/ 0 h 127"/>
                  <a:gd name="T6" fmla="*/ 116 w 236"/>
                  <a:gd name="T7" fmla="*/ 4 h 127"/>
                  <a:gd name="T8" fmla="*/ 116 w 236"/>
                  <a:gd name="T9" fmla="*/ 21 h 127"/>
                  <a:gd name="T10" fmla="*/ 166 w 236"/>
                  <a:gd name="T11" fmla="*/ 28 h 127"/>
                  <a:gd name="T12" fmla="*/ 182 w 236"/>
                  <a:gd name="T13" fmla="*/ 21 h 127"/>
                  <a:gd name="T14" fmla="*/ 203 w 236"/>
                  <a:gd name="T15" fmla="*/ 28 h 127"/>
                  <a:gd name="T16" fmla="*/ 203 w 236"/>
                  <a:gd name="T17" fmla="*/ 45 h 127"/>
                  <a:gd name="T18" fmla="*/ 203 w 236"/>
                  <a:gd name="T19" fmla="*/ 54 h 127"/>
                  <a:gd name="T20" fmla="*/ 203 w 236"/>
                  <a:gd name="T21" fmla="*/ 61 h 127"/>
                  <a:gd name="T22" fmla="*/ 225 w 236"/>
                  <a:gd name="T23" fmla="*/ 61 h 127"/>
                  <a:gd name="T24" fmla="*/ 236 w 236"/>
                  <a:gd name="T25" fmla="*/ 78 h 127"/>
                  <a:gd name="T26" fmla="*/ 225 w 236"/>
                  <a:gd name="T27" fmla="*/ 94 h 127"/>
                  <a:gd name="T28" fmla="*/ 236 w 236"/>
                  <a:gd name="T29" fmla="*/ 111 h 127"/>
                  <a:gd name="T30" fmla="*/ 236 w 236"/>
                  <a:gd name="T31" fmla="*/ 111 h 127"/>
                  <a:gd name="T32" fmla="*/ 199 w 236"/>
                  <a:gd name="T33" fmla="*/ 118 h 127"/>
                  <a:gd name="T34" fmla="*/ 187 w 236"/>
                  <a:gd name="T35" fmla="*/ 111 h 127"/>
                  <a:gd name="T36" fmla="*/ 182 w 236"/>
                  <a:gd name="T37" fmla="*/ 118 h 127"/>
                  <a:gd name="T38" fmla="*/ 142 w 236"/>
                  <a:gd name="T39" fmla="*/ 118 h 127"/>
                  <a:gd name="T40" fmla="*/ 116 w 236"/>
                  <a:gd name="T41" fmla="*/ 111 h 127"/>
                  <a:gd name="T42" fmla="*/ 92 w 236"/>
                  <a:gd name="T43" fmla="*/ 127 h 127"/>
                  <a:gd name="T44" fmla="*/ 62 w 236"/>
                  <a:gd name="T45" fmla="*/ 127 h 127"/>
                  <a:gd name="T46" fmla="*/ 38 w 236"/>
                  <a:gd name="T47" fmla="*/ 118 h 127"/>
                  <a:gd name="T48" fmla="*/ 21 w 236"/>
                  <a:gd name="T49" fmla="*/ 118 h 127"/>
                  <a:gd name="T50" fmla="*/ 5 w 236"/>
                  <a:gd name="T51" fmla="*/ 99 h 127"/>
                  <a:gd name="T52" fmla="*/ 0 w 236"/>
                  <a:gd name="T53" fmla="*/ 94 h 127"/>
                  <a:gd name="T54" fmla="*/ 5 w 236"/>
                  <a:gd name="T55" fmla="*/ 78 h 127"/>
                  <a:gd name="T56" fmla="*/ 5 w 236"/>
                  <a:gd name="T57" fmla="*/ 78 h 127"/>
                  <a:gd name="T58" fmla="*/ 5 w 236"/>
                  <a:gd name="T59" fmla="*/ 7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6" h="127">
                    <a:moveTo>
                      <a:pt x="5" y="78"/>
                    </a:moveTo>
                    <a:lnTo>
                      <a:pt x="55" y="21"/>
                    </a:lnTo>
                    <a:lnTo>
                      <a:pt x="88" y="0"/>
                    </a:lnTo>
                    <a:lnTo>
                      <a:pt x="116" y="4"/>
                    </a:lnTo>
                    <a:lnTo>
                      <a:pt x="116" y="21"/>
                    </a:lnTo>
                    <a:lnTo>
                      <a:pt x="166" y="28"/>
                    </a:lnTo>
                    <a:lnTo>
                      <a:pt x="182" y="21"/>
                    </a:lnTo>
                    <a:lnTo>
                      <a:pt x="203" y="28"/>
                    </a:lnTo>
                    <a:lnTo>
                      <a:pt x="203" y="45"/>
                    </a:lnTo>
                    <a:lnTo>
                      <a:pt x="203" y="54"/>
                    </a:lnTo>
                    <a:lnTo>
                      <a:pt x="203" y="61"/>
                    </a:lnTo>
                    <a:lnTo>
                      <a:pt x="225" y="61"/>
                    </a:lnTo>
                    <a:lnTo>
                      <a:pt x="236" y="78"/>
                    </a:lnTo>
                    <a:lnTo>
                      <a:pt x="225" y="94"/>
                    </a:lnTo>
                    <a:lnTo>
                      <a:pt x="236" y="111"/>
                    </a:lnTo>
                    <a:lnTo>
                      <a:pt x="236" y="111"/>
                    </a:lnTo>
                    <a:lnTo>
                      <a:pt x="199" y="118"/>
                    </a:lnTo>
                    <a:lnTo>
                      <a:pt x="187" y="111"/>
                    </a:lnTo>
                    <a:lnTo>
                      <a:pt x="182" y="118"/>
                    </a:lnTo>
                    <a:lnTo>
                      <a:pt x="142" y="118"/>
                    </a:lnTo>
                    <a:lnTo>
                      <a:pt x="116" y="111"/>
                    </a:lnTo>
                    <a:lnTo>
                      <a:pt x="92" y="127"/>
                    </a:lnTo>
                    <a:lnTo>
                      <a:pt x="62" y="127"/>
                    </a:lnTo>
                    <a:lnTo>
                      <a:pt x="38" y="118"/>
                    </a:lnTo>
                    <a:lnTo>
                      <a:pt x="21" y="118"/>
                    </a:lnTo>
                    <a:lnTo>
                      <a:pt x="5" y="99"/>
                    </a:lnTo>
                    <a:lnTo>
                      <a:pt x="0" y="94"/>
                    </a:lnTo>
                    <a:lnTo>
                      <a:pt x="5" y="78"/>
                    </a:lnTo>
                    <a:lnTo>
                      <a:pt x="5" y="78"/>
                    </a:lnTo>
                    <a:lnTo>
                      <a:pt x="5" y="7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72" name="Freeform 406">
                <a:extLst>
                  <a:ext uri="{FF2B5EF4-FFF2-40B4-BE49-F238E27FC236}">
                    <a16:creationId xmlns:a16="http://schemas.microsoft.com/office/drawing/2014/main" id="{62944C58-2332-47BB-9CFC-7B9A7973B4A3}"/>
                  </a:ext>
                </a:extLst>
              </p:cNvPr>
              <p:cNvSpPr>
                <a:spLocks noEditPoints="1"/>
              </p:cNvSpPr>
              <p:nvPr/>
            </p:nvSpPr>
            <p:spPr bwMode="gray">
              <a:xfrm>
                <a:off x="9427995" y="6822850"/>
                <a:ext cx="43810" cy="33094"/>
              </a:xfrm>
              <a:custGeom>
                <a:avLst/>
                <a:gdLst>
                  <a:gd name="T0" fmla="*/ 66 w 94"/>
                  <a:gd name="T1" fmla="*/ 5 h 71"/>
                  <a:gd name="T2" fmla="*/ 56 w 94"/>
                  <a:gd name="T3" fmla="*/ 21 h 71"/>
                  <a:gd name="T4" fmla="*/ 56 w 94"/>
                  <a:gd name="T5" fmla="*/ 45 h 71"/>
                  <a:gd name="T6" fmla="*/ 56 w 94"/>
                  <a:gd name="T7" fmla="*/ 62 h 71"/>
                  <a:gd name="T8" fmla="*/ 40 w 94"/>
                  <a:gd name="T9" fmla="*/ 71 h 71"/>
                  <a:gd name="T10" fmla="*/ 11 w 94"/>
                  <a:gd name="T11" fmla="*/ 26 h 71"/>
                  <a:gd name="T12" fmla="*/ 0 w 94"/>
                  <a:gd name="T13" fmla="*/ 26 h 71"/>
                  <a:gd name="T14" fmla="*/ 28 w 94"/>
                  <a:gd name="T15" fmla="*/ 21 h 71"/>
                  <a:gd name="T16" fmla="*/ 61 w 94"/>
                  <a:gd name="T17" fmla="*/ 0 h 71"/>
                  <a:gd name="T18" fmla="*/ 66 w 94"/>
                  <a:gd name="T19" fmla="*/ 0 h 71"/>
                  <a:gd name="T20" fmla="*/ 66 w 94"/>
                  <a:gd name="T21" fmla="*/ 5 h 71"/>
                  <a:gd name="T22" fmla="*/ 66 w 94"/>
                  <a:gd name="T23" fmla="*/ 5 h 71"/>
                  <a:gd name="T24" fmla="*/ 66 w 94"/>
                  <a:gd name="T25" fmla="*/ 5 h 71"/>
                  <a:gd name="T26" fmla="*/ 77 w 94"/>
                  <a:gd name="T27" fmla="*/ 5 h 71"/>
                  <a:gd name="T28" fmla="*/ 94 w 94"/>
                  <a:gd name="T29" fmla="*/ 45 h 71"/>
                  <a:gd name="T30" fmla="*/ 66 w 94"/>
                  <a:gd name="T31" fmla="*/ 45 h 71"/>
                  <a:gd name="T32" fmla="*/ 66 w 94"/>
                  <a:gd name="T33" fmla="*/ 17 h 71"/>
                  <a:gd name="T34" fmla="*/ 77 w 94"/>
                  <a:gd name="T35" fmla="*/ 5 h 71"/>
                  <a:gd name="T36" fmla="*/ 77 w 94"/>
                  <a:gd name="T37" fmla="*/ 5 h 71"/>
                  <a:gd name="T38" fmla="*/ 77 w 94"/>
                  <a:gd name="T39" fmla="*/ 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71">
                    <a:moveTo>
                      <a:pt x="66" y="5"/>
                    </a:moveTo>
                    <a:lnTo>
                      <a:pt x="56" y="21"/>
                    </a:lnTo>
                    <a:lnTo>
                      <a:pt x="56" y="45"/>
                    </a:lnTo>
                    <a:lnTo>
                      <a:pt x="56" y="62"/>
                    </a:lnTo>
                    <a:lnTo>
                      <a:pt x="40" y="71"/>
                    </a:lnTo>
                    <a:lnTo>
                      <a:pt x="11" y="26"/>
                    </a:lnTo>
                    <a:lnTo>
                      <a:pt x="0" y="26"/>
                    </a:lnTo>
                    <a:lnTo>
                      <a:pt x="28" y="21"/>
                    </a:lnTo>
                    <a:lnTo>
                      <a:pt x="61" y="0"/>
                    </a:lnTo>
                    <a:lnTo>
                      <a:pt x="66" y="0"/>
                    </a:lnTo>
                    <a:lnTo>
                      <a:pt x="66" y="5"/>
                    </a:lnTo>
                    <a:lnTo>
                      <a:pt x="66" y="5"/>
                    </a:lnTo>
                    <a:lnTo>
                      <a:pt x="66" y="5"/>
                    </a:lnTo>
                    <a:close/>
                    <a:moveTo>
                      <a:pt x="77" y="5"/>
                    </a:moveTo>
                    <a:lnTo>
                      <a:pt x="94" y="45"/>
                    </a:lnTo>
                    <a:lnTo>
                      <a:pt x="66" y="45"/>
                    </a:lnTo>
                    <a:lnTo>
                      <a:pt x="66" y="17"/>
                    </a:lnTo>
                    <a:lnTo>
                      <a:pt x="77" y="5"/>
                    </a:lnTo>
                    <a:lnTo>
                      <a:pt x="77" y="5"/>
                    </a:lnTo>
                    <a:lnTo>
                      <a:pt x="77" y="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73" name="Freeform 409">
                <a:extLst>
                  <a:ext uri="{FF2B5EF4-FFF2-40B4-BE49-F238E27FC236}">
                    <a16:creationId xmlns:a16="http://schemas.microsoft.com/office/drawing/2014/main" id="{CD1E8366-FE0F-48B5-8AFB-CBFC4499B907}"/>
                  </a:ext>
                </a:extLst>
              </p:cNvPr>
              <p:cNvSpPr>
                <a:spLocks noEditPoints="1"/>
              </p:cNvSpPr>
              <p:nvPr/>
            </p:nvSpPr>
            <p:spPr bwMode="gray">
              <a:xfrm>
                <a:off x="9043493" y="6494706"/>
                <a:ext cx="170580" cy="145429"/>
              </a:xfrm>
              <a:custGeom>
                <a:avLst/>
                <a:gdLst>
                  <a:gd name="T0" fmla="*/ 28 w 366"/>
                  <a:gd name="T1" fmla="*/ 187 h 312"/>
                  <a:gd name="T2" fmla="*/ 12 w 366"/>
                  <a:gd name="T3" fmla="*/ 147 h 312"/>
                  <a:gd name="T4" fmla="*/ 0 w 366"/>
                  <a:gd name="T5" fmla="*/ 97 h 312"/>
                  <a:gd name="T6" fmla="*/ 21 w 366"/>
                  <a:gd name="T7" fmla="*/ 76 h 312"/>
                  <a:gd name="T8" fmla="*/ 28 w 366"/>
                  <a:gd name="T9" fmla="*/ 66 h 312"/>
                  <a:gd name="T10" fmla="*/ 59 w 366"/>
                  <a:gd name="T11" fmla="*/ 22 h 312"/>
                  <a:gd name="T12" fmla="*/ 114 w 366"/>
                  <a:gd name="T13" fmla="*/ 22 h 312"/>
                  <a:gd name="T14" fmla="*/ 189 w 366"/>
                  <a:gd name="T15" fmla="*/ 22 h 312"/>
                  <a:gd name="T16" fmla="*/ 199 w 366"/>
                  <a:gd name="T17" fmla="*/ 22 h 312"/>
                  <a:gd name="T18" fmla="*/ 227 w 366"/>
                  <a:gd name="T19" fmla="*/ 38 h 312"/>
                  <a:gd name="T20" fmla="*/ 258 w 366"/>
                  <a:gd name="T21" fmla="*/ 55 h 312"/>
                  <a:gd name="T22" fmla="*/ 258 w 366"/>
                  <a:gd name="T23" fmla="*/ 22 h 312"/>
                  <a:gd name="T24" fmla="*/ 274 w 366"/>
                  <a:gd name="T25" fmla="*/ 10 h 312"/>
                  <a:gd name="T26" fmla="*/ 295 w 366"/>
                  <a:gd name="T27" fmla="*/ 5 h 312"/>
                  <a:gd name="T28" fmla="*/ 366 w 366"/>
                  <a:gd name="T29" fmla="*/ 0 h 312"/>
                  <a:gd name="T30" fmla="*/ 359 w 366"/>
                  <a:gd name="T31" fmla="*/ 55 h 312"/>
                  <a:gd name="T32" fmla="*/ 366 w 366"/>
                  <a:gd name="T33" fmla="*/ 81 h 312"/>
                  <a:gd name="T34" fmla="*/ 366 w 366"/>
                  <a:gd name="T35" fmla="*/ 147 h 312"/>
                  <a:gd name="T36" fmla="*/ 359 w 366"/>
                  <a:gd name="T37" fmla="*/ 175 h 312"/>
                  <a:gd name="T38" fmla="*/ 333 w 366"/>
                  <a:gd name="T39" fmla="*/ 170 h 312"/>
                  <a:gd name="T40" fmla="*/ 279 w 366"/>
                  <a:gd name="T41" fmla="*/ 192 h 312"/>
                  <a:gd name="T42" fmla="*/ 258 w 366"/>
                  <a:gd name="T43" fmla="*/ 208 h 312"/>
                  <a:gd name="T44" fmla="*/ 241 w 366"/>
                  <a:gd name="T45" fmla="*/ 225 h 312"/>
                  <a:gd name="T46" fmla="*/ 269 w 366"/>
                  <a:gd name="T47" fmla="*/ 263 h 312"/>
                  <a:gd name="T48" fmla="*/ 241 w 366"/>
                  <a:gd name="T49" fmla="*/ 263 h 312"/>
                  <a:gd name="T50" fmla="*/ 215 w 366"/>
                  <a:gd name="T51" fmla="*/ 274 h 312"/>
                  <a:gd name="T52" fmla="*/ 189 w 366"/>
                  <a:gd name="T53" fmla="*/ 274 h 312"/>
                  <a:gd name="T54" fmla="*/ 182 w 366"/>
                  <a:gd name="T55" fmla="*/ 296 h 312"/>
                  <a:gd name="T56" fmla="*/ 151 w 366"/>
                  <a:gd name="T57" fmla="*/ 312 h 312"/>
                  <a:gd name="T58" fmla="*/ 114 w 366"/>
                  <a:gd name="T59" fmla="*/ 296 h 312"/>
                  <a:gd name="T60" fmla="*/ 80 w 366"/>
                  <a:gd name="T61" fmla="*/ 296 h 312"/>
                  <a:gd name="T62" fmla="*/ 97 w 366"/>
                  <a:gd name="T63" fmla="*/ 274 h 312"/>
                  <a:gd name="T64" fmla="*/ 76 w 366"/>
                  <a:gd name="T65" fmla="*/ 274 h 312"/>
                  <a:gd name="T66" fmla="*/ 54 w 366"/>
                  <a:gd name="T67" fmla="*/ 241 h 312"/>
                  <a:gd name="T68" fmla="*/ 43 w 366"/>
                  <a:gd name="T69" fmla="*/ 220 h 312"/>
                  <a:gd name="T70" fmla="*/ 43 w 366"/>
                  <a:gd name="T71" fmla="*/ 220 h 312"/>
                  <a:gd name="T72" fmla="*/ 43 w 366"/>
                  <a:gd name="T73" fmla="*/ 225 h 312"/>
                  <a:gd name="T74" fmla="*/ 43 w 366"/>
                  <a:gd name="T75" fmla="*/ 220 h 312"/>
                  <a:gd name="T76" fmla="*/ 66 w 366"/>
                  <a:gd name="T77" fmla="*/ 286 h 312"/>
                  <a:gd name="T78" fmla="*/ 66 w 366"/>
                  <a:gd name="T79" fmla="*/ 286 h 312"/>
                  <a:gd name="T80" fmla="*/ 66 w 366"/>
                  <a:gd name="T81" fmla="*/ 286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6" h="312">
                    <a:moveTo>
                      <a:pt x="43" y="220"/>
                    </a:moveTo>
                    <a:lnTo>
                      <a:pt x="28" y="187"/>
                    </a:lnTo>
                    <a:lnTo>
                      <a:pt x="28" y="163"/>
                    </a:lnTo>
                    <a:lnTo>
                      <a:pt x="12" y="147"/>
                    </a:lnTo>
                    <a:lnTo>
                      <a:pt x="12" y="121"/>
                    </a:lnTo>
                    <a:lnTo>
                      <a:pt x="0" y="97"/>
                    </a:lnTo>
                    <a:lnTo>
                      <a:pt x="7" y="76"/>
                    </a:lnTo>
                    <a:lnTo>
                      <a:pt x="21" y="76"/>
                    </a:lnTo>
                    <a:lnTo>
                      <a:pt x="12" y="66"/>
                    </a:lnTo>
                    <a:lnTo>
                      <a:pt x="28" y="66"/>
                    </a:lnTo>
                    <a:lnTo>
                      <a:pt x="43" y="38"/>
                    </a:lnTo>
                    <a:lnTo>
                      <a:pt x="59" y="22"/>
                    </a:lnTo>
                    <a:lnTo>
                      <a:pt x="92" y="10"/>
                    </a:lnTo>
                    <a:lnTo>
                      <a:pt x="114" y="22"/>
                    </a:lnTo>
                    <a:lnTo>
                      <a:pt x="173" y="10"/>
                    </a:lnTo>
                    <a:lnTo>
                      <a:pt x="189" y="22"/>
                    </a:lnTo>
                    <a:lnTo>
                      <a:pt x="189" y="38"/>
                    </a:lnTo>
                    <a:lnTo>
                      <a:pt x="199" y="22"/>
                    </a:lnTo>
                    <a:lnTo>
                      <a:pt x="215" y="43"/>
                    </a:lnTo>
                    <a:lnTo>
                      <a:pt x="227" y="38"/>
                    </a:lnTo>
                    <a:lnTo>
                      <a:pt x="253" y="55"/>
                    </a:lnTo>
                    <a:lnTo>
                      <a:pt x="258" y="55"/>
                    </a:lnTo>
                    <a:lnTo>
                      <a:pt x="269" y="43"/>
                    </a:lnTo>
                    <a:lnTo>
                      <a:pt x="258" y="22"/>
                    </a:lnTo>
                    <a:lnTo>
                      <a:pt x="274" y="22"/>
                    </a:lnTo>
                    <a:lnTo>
                      <a:pt x="274" y="10"/>
                    </a:lnTo>
                    <a:lnTo>
                      <a:pt x="279" y="10"/>
                    </a:lnTo>
                    <a:lnTo>
                      <a:pt x="295" y="5"/>
                    </a:lnTo>
                    <a:lnTo>
                      <a:pt x="312" y="26"/>
                    </a:lnTo>
                    <a:lnTo>
                      <a:pt x="366" y="0"/>
                    </a:lnTo>
                    <a:lnTo>
                      <a:pt x="350" y="38"/>
                    </a:lnTo>
                    <a:lnTo>
                      <a:pt x="359" y="55"/>
                    </a:lnTo>
                    <a:lnTo>
                      <a:pt x="359" y="59"/>
                    </a:lnTo>
                    <a:lnTo>
                      <a:pt x="366" y="81"/>
                    </a:lnTo>
                    <a:lnTo>
                      <a:pt x="359" y="121"/>
                    </a:lnTo>
                    <a:lnTo>
                      <a:pt x="366" y="147"/>
                    </a:lnTo>
                    <a:lnTo>
                      <a:pt x="366" y="170"/>
                    </a:lnTo>
                    <a:lnTo>
                      <a:pt x="359" y="175"/>
                    </a:lnTo>
                    <a:lnTo>
                      <a:pt x="350" y="170"/>
                    </a:lnTo>
                    <a:lnTo>
                      <a:pt x="333" y="170"/>
                    </a:lnTo>
                    <a:lnTo>
                      <a:pt x="307" y="192"/>
                    </a:lnTo>
                    <a:lnTo>
                      <a:pt x="279" y="192"/>
                    </a:lnTo>
                    <a:lnTo>
                      <a:pt x="291" y="220"/>
                    </a:lnTo>
                    <a:lnTo>
                      <a:pt x="258" y="208"/>
                    </a:lnTo>
                    <a:lnTo>
                      <a:pt x="253" y="220"/>
                    </a:lnTo>
                    <a:lnTo>
                      <a:pt x="241" y="225"/>
                    </a:lnTo>
                    <a:lnTo>
                      <a:pt x="241" y="246"/>
                    </a:lnTo>
                    <a:lnTo>
                      <a:pt x="269" y="263"/>
                    </a:lnTo>
                    <a:lnTo>
                      <a:pt x="269" y="279"/>
                    </a:lnTo>
                    <a:lnTo>
                      <a:pt x="241" y="263"/>
                    </a:lnTo>
                    <a:lnTo>
                      <a:pt x="220" y="274"/>
                    </a:lnTo>
                    <a:lnTo>
                      <a:pt x="215" y="274"/>
                    </a:lnTo>
                    <a:lnTo>
                      <a:pt x="199" y="274"/>
                    </a:lnTo>
                    <a:lnTo>
                      <a:pt x="189" y="274"/>
                    </a:lnTo>
                    <a:lnTo>
                      <a:pt x="189" y="286"/>
                    </a:lnTo>
                    <a:lnTo>
                      <a:pt x="182" y="296"/>
                    </a:lnTo>
                    <a:lnTo>
                      <a:pt x="161" y="303"/>
                    </a:lnTo>
                    <a:lnTo>
                      <a:pt x="151" y="312"/>
                    </a:lnTo>
                    <a:lnTo>
                      <a:pt x="135" y="296"/>
                    </a:lnTo>
                    <a:lnTo>
                      <a:pt x="114" y="296"/>
                    </a:lnTo>
                    <a:lnTo>
                      <a:pt x="92" y="303"/>
                    </a:lnTo>
                    <a:lnTo>
                      <a:pt x="80" y="296"/>
                    </a:lnTo>
                    <a:lnTo>
                      <a:pt x="97" y="286"/>
                    </a:lnTo>
                    <a:lnTo>
                      <a:pt x="97" y="274"/>
                    </a:lnTo>
                    <a:lnTo>
                      <a:pt x="80" y="258"/>
                    </a:lnTo>
                    <a:lnTo>
                      <a:pt x="76" y="274"/>
                    </a:lnTo>
                    <a:lnTo>
                      <a:pt x="59" y="274"/>
                    </a:lnTo>
                    <a:lnTo>
                      <a:pt x="54" y="241"/>
                    </a:lnTo>
                    <a:lnTo>
                      <a:pt x="43" y="225"/>
                    </a:lnTo>
                    <a:lnTo>
                      <a:pt x="43" y="220"/>
                    </a:lnTo>
                    <a:lnTo>
                      <a:pt x="54" y="220"/>
                    </a:lnTo>
                    <a:lnTo>
                      <a:pt x="43" y="220"/>
                    </a:lnTo>
                    <a:lnTo>
                      <a:pt x="38" y="208"/>
                    </a:lnTo>
                    <a:lnTo>
                      <a:pt x="43" y="225"/>
                    </a:lnTo>
                    <a:lnTo>
                      <a:pt x="43" y="220"/>
                    </a:lnTo>
                    <a:lnTo>
                      <a:pt x="43" y="220"/>
                    </a:lnTo>
                    <a:lnTo>
                      <a:pt x="43" y="220"/>
                    </a:lnTo>
                    <a:close/>
                    <a:moveTo>
                      <a:pt x="66" y="286"/>
                    </a:moveTo>
                    <a:lnTo>
                      <a:pt x="59" y="279"/>
                    </a:lnTo>
                    <a:lnTo>
                      <a:pt x="66" y="286"/>
                    </a:lnTo>
                    <a:lnTo>
                      <a:pt x="66" y="286"/>
                    </a:lnTo>
                    <a:lnTo>
                      <a:pt x="66" y="286"/>
                    </a:lnTo>
                    <a:lnTo>
                      <a:pt x="66" y="28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75" name="Freeform 467">
                <a:extLst>
                  <a:ext uri="{FF2B5EF4-FFF2-40B4-BE49-F238E27FC236}">
                    <a16:creationId xmlns:a16="http://schemas.microsoft.com/office/drawing/2014/main" id="{DFCC9602-1DAF-418E-A129-32C1C54CE23A}"/>
                  </a:ext>
                </a:extLst>
              </p:cNvPr>
              <p:cNvSpPr>
                <a:spLocks noEditPoints="1"/>
              </p:cNvSpPr>
              <p:nvPr/>
            </p:nvSpPr>
            <p:spPr bwMode="gray">
              <a:xfrm>
                <a:off x="8812326" y="6789757"/>
                <a:ext cx="1497461" cy="567262"/>
              </a:xfrm>
              <a:custGeom>
                <a:avLst/>
                <a:gdLst>
                  <a:gd name="T0" fmla="*/ 647 w 3213"/>
                  <a:gd name="T1" fmla="*/ 629 h 1217"/>
                  <a:gd name="T2" fmla="*/ 392 w 3213"/>
                  <a:gd name="T3" fmla="*/ 600 h 1217"/>
                  <a:gd name="T4" fmla="*/ 123 w 3213"/>
                  <a:gd name="T5" fmla="*/ 52 h 1217"/>
                  <a:gd name="T6" fmla="*/ 2213 w 3213"/>
                  <a:gd name="T7" fmla="*/ 123 h 1217"/>
                  <a:gd name="T8" fmla="*/ 1403 w 3213"/>
                  <a:gd name="T9" fmla="*/ 206 h 1217"/>
                  <a:gd name="T10" fmla="*/ 1592 w 3213"/>
                  <a:gd name="T11" fmla="*/ 345 h 1217"/>
                  <a:gd name="T12" fmla="*/ 1365 w 3213"/>
                  <a:gd name="T13" fmla="*/ 733 h 1217"/>
                  <a:gd name="T14" fmla="*/ 1042 w 3213"/>
                  <a:gd name="T15" fmla="*/ 527 h 1217"/>
                  <a:gd name="T16" fmla="*/ 895 w 3213"/>
                  <a:gd name="T17" fmla="*/ 152 h 1217"/>
                  <a:gd name="T18" fmla="*/ 1545 w 3213"/>
                  <a:gd name="T19" fmla="*/ 180 h 1217"/>
                  <a:gd name="T20" fmla="*/ 735 w 3213"/>
                  <a:gd name="T21" fmla="*/ 222 h 1217"/>
                  <a:gd name="T22" fmla="*/ 2332 w 3213"/>
                  <a:gd name="T23" fmla="*/ 279 h 1217"/>
                  <a:gd name="T24" fmla="*/ 2284 w 3213"/>
                  <a:gd name="T25" fmla="*/ 456 h 1217"/>
                  <a:gd name="T26" fmla="*/ 1852 w 3213"/>
                  <a:gd name="T27" fmla="*/ 723 h 1217"/>
                  <a:gd name="T28" fmla="*/ 1651 w 3213"/>
                  <a:gd name="T29" fmla="*/ 629 h 1217"/>
                  <a:gd name="T30" fmla="*/ 1906 w 3213"/>
                  <a:gd name="T31" fmla="*/ 362 h 1217"/>
                  <a:gd name="T32" fmla="*/ 1781 w 3213"/>
                  <a:gd name="T33" fmla="*/ 527 h 1217"/>
                  <a:gd name="T34" fmla="*/ 1890 w 3213"/>
                  <a:gd name="T35" fmla="*/ 666 h 1217"/>
                  <a:gd name="T36" fmla="*/ 2105 w 3213"/>
                  <a:gd name="T37" fmla="*/ 317 h 1217"/>
                  <a:gd name="T38" fmla="*/ 610 w 3213"/>
                  <a:gd name="T39" fmla="*/ 350 h 1217"/>
                  <a:gd name="T40" fmla="*/ 605 w 3213"/>
                  <a:gd name="T41" fmla="*/ 350 h 1217"/>
                  <a:gd name="T42" fmla="*/ 555 w 3213"/>
                  <a:gd name="T43" fmla="*/ 378 h 1217"/>
                  <a:gd name="T44" fmla="*/ 232 w 3213"/>
                  <a:gd name="T45" fmla="*/ 456 h 1217"/>
                  <a:gd name="T46" fmla="*/ 593 w 3213"/>
                  <a:gd name="T47" fmla="*/ 444 h 1217"/>
                  <a:gd name="T48" fmla="*/ 2284 w 3213"/>
                  <a:gd name="T49" fmla="*/ 478 h 1217"/>
                  <a:gd name="T50" fmla="*/ 3149 w 3213"/>
                  <a:gd name="T51" fmla="*/ 995 h 1217"/>
                  <a:gd name="T52" fmla="*/ 2787 w 3213"/>
                  <a:gd name="T53" fmla="*/ 711 h 1217"/>
                  <a:gd name="T54" fmla="*/ 2575 w 3213"/>
                  <a:gd name="T55" fmla="*/ 629 h 1217"/>
                  <a:gd name="T56" fmla="*/ 2587 w 3213"/>
                  <a:gd name="T57" fmla="*/ 461 h 1217"/>
                  <a:gd name="T58" fmla="*/ 3149 w 3213"/>
                  <a:gd name="T59" fmla="*/ 600 h 1217"/>
                  <a:gd name="T60" fmla="*/ 2872 w 3213"/>
                  <a:gd name="T61" fmla="*/ 518 h 1217"/>
                  <a:gd name="T62" fmla="*/ 236 w 3213"/>
                  <a:gd name="T63" fmla="*/ 494 h 1217"/>
                  <a:gd name="T64" fmla="*/ 1954 w 3213"/>
                  <a:gd name="T65" fmla="*/ 527 h 1217"/>
                  <a:gd name="T66" fmla="*/ 749 w 3213"/>
                  <a:gd name="T67" fmla="*/ 629 h 1217"/>
                  <a:gd name="T68" fmla="*/ 2894 w 3213"/>
                  <a:gd name="T69" fmla="*/ 567 h 1217"/>
                  <a:gd name="T70" fmla="*/ 2117 w 3213"/>
                  <a:gd name="T71" fmla="*/ 555 h 1217"/>
                  <a:gd name="T72" fmla="*/ 345 w 3213"/>
                  <a:gd name="T73" fmla="*/ 629 h 1217"/>
                  <a:gd name="T74" fmla="*/ 2461 w 3213"/>
                  <a:gd name="T75" fmla="*/ 645 h 1217"/>
                  <a:gd name="T76" fmla="*/ 810 w 3213"/>
                  <a:gd name="T77" fmla="*/ 638 h 1217"/>
                  <a:gd name="T78" fmla="*/ 1474 w 3213"/>
                  <a:gd name="T79" fmla="*/ 711 h 1217"/>
                  <a:gd name="T80" fmla="*/ 2306 w 3213"/>
                  <a:gd name="T81" fmla="*/ 695 h 1217"/>
                  <a:gd name="T82" fmla="*/ 1970 w 3213"/>
                  <a:gd name="T83" fmla="*/ 723 h 1217"/>
                  <a:gd name="T84" fmla="*/ 1923 w 3213"/>
                  <a:gd name="T85" fmla="*/ 806 h 1217"/>
                  <a:gd name="T86" fmla="*/ 2662 w 3213"/>
                  <a:gd name="T87" fmla="*/ 811 h 1217"/>
                  <a:gd name="T88" fmla="*/ 1765 w 3213"/>
                  <a:gd name="T89" fmla="*/ 844 h 1217"/>
                  <a:gd name="T90" fmla="*/ 739 w 3213"/>
                  <a:gd name="T91" fmla="*/ 889 h 1217"/>
                  <a:gd name="T92" fmla="*/ 1214 w 3213"/>
                  <a:gd name="T93" fmla="*/ 933 h 1217"/>
                  <a:gd name="T94" fmla="*/ 2733 w 3213"/>
                  <a:gd name="T95" fmla="*/ 860 h 1217"/>
                  <a:gd name="T96" fmla="*/ 697 w 3213"/>
                  <a:gd name="T97" fmla="*/ 905 h 1217"/>
                  <a:gd name="T98" fmla="*/ 1781 w 3213"/>
                  <a:gd name="T99" fmla="*/ 938 h 1217"/>
                  <a:gd name="T100" fmla="*/ 2523 w 3213"/>
                  <a:gd name="T101" fmla="*/ 971 h 1217"/>
                  <a:gd name="T102" fmla="*/ 2511 w 3213"/>
                  <a:gd name="T103" fmla="*/ 962 h 1217"/>
                  <a:gd name="T104" fmla="*/ 1349 w 3213"/>
                  <a:gd name="T105" fmla="*/ 1011 h 1217"/>
                  <a:gd name="T106" fmla="*/ 1944 w 3213"/>
                  <a:gd name="T107" fmla="*/ 1016 h 1217"/>
                  <a:gd name="T108" fmla="*/ 1559 w 3213"/>
                  <a:gd name="T109" fmla="*/ 1044 h 1217"/>
                  <a:gd name="T110" fmla="*/ 2301 w 3213"/>
                  <a:gd name="T111" fmla="*/ 1028 h 1217"/>
                  <a:gd name="T112" fmla="*/ 3061 w 3213"/>
                  <a:gd name="T113" fmla="*/ 1033 h 1217"/>
                  <a:gd name="T114" fmla="*/ 2306 w 3213"/>
                  <a:gd name="T115" fmla="*/ 1016 h 1217"/>
                  <a:gd name="T116" fmla="*/ 2230 w 3213"/>
                  <a:gd name="T117" fmla="*/ 1028 h 1217"/>
                  <a:gd name="T118" fmla="*/ 1961 w 3213"/>
                  <a:gd name="T119" fmla="*/ 1044 h 1217"/>
                  <a:gd name="T120" fmla="*/ 1755 w 3213"/>
                  <a:gd name="T121" fmla="*/ 1127 h 1217"/>
                  <a:gd name="T122" fmla="*/ 1939 w 3213"/>
                  <a:gd name="T123" fmla="*/ 1210 h 1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13" h="1217">
                    <a:moveTo>
                      <a:pt x="10" y="12"/>
                    </a:moveTo>
                    <a:lnTo>
                      <a:pt x="0" y="12"/>
                    </a:lnTo>
                    <a:lnTo>
                      <a:pt x="0" y="0"/>
                    </a:lnTo>
                    <a:lnTo>
                      <a:pt x="10" y="12"/>
                    </a:lnTo>
                    <a:lnTo>
                      <a:pt x="10" y="12"/>
                    </a:lnTo>
                    <a:lnTo>
                      <a:pt x="10" y="12"/>
                    </a:lnTo>
                    <a:close/>
                    <a:moveTo>
                      <a:pt x="539" y="383"/>
                    </a:moveTo>
                    <a:lnTo>
                      <a:pt x="550" y="400"/>
                    </a:lnTo>
                    <a:lnTo>
                      <a:pt x="517" y="418"/>
                    </a:lnTo>
                    <a:lnTo>
                      <a:pt x="501" y="407"/>
                    </a:lnTo>
                    <a:lnTo>
                      <a:pt x="517" y="418"/>
                    </a:lnTo>
                    <a:lnTo>
                      <a:pt x="572" y="390"/>
                    </a:lnTo>
                    <a:lnTo>
                      <a:pt x="593" y="407"/>
                    </a:lnTo>
                    <a:lnTo>
                      <a:pt x="605" y="435"/>
                    </a:lnTo>
                    <a:lnTo>
                      <a:pt x="588" y="435"/>
                    </a:lnTo>
                    <a:lnTo>
                      <a:pt x="560" y="444"/>
                    </a:lnTo>
                    <a:lnTo>
                      <a:pt x="576" y="444"/>
                    </a:lnTo>
                    <a:lnTo>
                      <a:pt x="560" y="456"/>
                    </a:lnTo>
                    <a:lnTo>
                      <a:pt x="588" y="461"/>
                    </a:lnTo>
                    <a:lnTo>
                      <a:pt x="572" y="478"/>
                    </a:lnTo>
                    <a:lnTo>
                      <a:pt x="593" y="501"/>
                    </a:lnTo>
                    <a:lnTo>
                      <a:pt x="643" y="501"/>
                    </a:lnTo>
                    <a:lnTo>
                      <a:pt x="647" y="555"/>
                    </a:lnTo>
                    <a:lnTo>
                      <a:pt x="647" y="567"/>
                    </a:lnTo>
                    <a:lnTo>
                      <a:pt x="659" y="567"/>
                    </a:lnTo>
                    <a:lnTo>
                      <a:pt x="669" y="572"/>
                    </a:lnTo>
                    <a:lnTo>
                      <a:pt x="669" y="584"/>
                    </a:lnTo>
                    <a:lnTo>
                      <a:pt x="664" y="600"/>
                    </a:lnTo>
                    <a:lnTo>
                      <a:pt x="664" y="612"/>
                    </a:lnTo>
                    <a:lnTo>
                      <a:pt x="647" y="629"/>
                    </a:lnTo>
                    <a:lnTo>
                      <a:pt x="664" y="612"/>
                    </a:lnTo>
                    <a:lnTo>
                      <a:pt x="669" y="589"/>
                    </a:lnTo>
                    <a:lnTo>
                      <a:pt x="685" y="600"/>
                    </a:lnTo>
                    <a:lnTo>
                      <a:pt x="723" y="600"/>
                    </a:lnTo>
                    <a:lnTo>
                      <a:pt x="723" y="612"/>
                    </a:lnTo>
                    <a:lnTo>
                      <a:pt x="739" y="622"/>
                    </a:lnTo>
                    <a:lnTo>
                      <a:pt x="739" y="638"/>
                    </a:lnTo>
                    <a:lnTo>
                      <a:pt x="756" y="645"/>
                    </a:lnTo>
                    <a:lnTo>
                      <a:pt x="756" y="662"/>
                    </a:lnTo>
                    <a:lnTo>
                      <a:pt x="749" y="678"/>
                    </a:lnTo>
                    <a:lnTo>
                      <a:pt x="739" y="695"/>
                    </a:lnTo>
                    <a:lnTo>
                      <a:pt x="749" y="711"/>
                    </a:lnTo>
                    <a:lnTo>
                      <a:pt x="739" y="733"/>
                    </a:lnTo>
                    <a:lnTo>
                      <a:pt x="749" y="756"/>
                    </a:lnTo>
                    <a:lnTo>
                      <a:pt x="739" y="834"/>
                    </a:lnTo>
                    <a:lnTo>
                      <a:pt x="735" y="851"/>
                    </a:lnTo>
                    <a:lnTo>
                      <a:pt x="702" y="822"/>
                    </a:lnTo>
                    <a:lnTo>
                      <a:pt x="697" y="834"/>
                    </a:lnTo>
                    <a:lnTo>
                      <a:pt x="702" y="844"/>
                    </a:lnTo>
                    <a:lnTo>
                      <a:pt x="697" y="844"/>
                    </a:lnTo>
                    <a:lnTo>
                      <a:pt x="664" y="827"/>
                    </a:lnTo>
                    <a:lnTo>
                      <a:pt x="647" y="827"/>
                    </a:lnTo>
                    <a:lnTo>
                      <a:pt x="664" y="851"/>
                    </a:lnTo>
                    <a:lnTo>
                      <a:pt x="659" y="860"/>
                    </a:lnTo>
                    <a:lnTo>
                      <a:pt x="605" y="794"/>
                    </a:lnTo>
                    <a:lnTo>
                      <a:pt x="496" y="716"/>
                    </a:lnTo>
                    <a:lnTo>
                      <a:pt x="484" y="695"/>
                    </a:lnTo>
                    <a:lnTo>
                      <a:pt x="447" y="662"/>
                    </a:lnTo>
                    <a:lnTo>
                      <a:pt x="425" y="622"/>
                    </a:lnTo>
                    <a:lnTo>
                      <a:pt x="392" y="600"/>
                    </a:lnTo>
                    <a:lnTo>
                      <a:pt x="392" y="584"/>
                    </a:lnTo>
                    <a:lnTo>
                      <a:pt x="392" y="567"/>
                    </a:lnTo>
                    <a:lnTo>
                      <a:pt x="378" y="546"/>
                    </a:lnTo>
                    <a:lnTo>
                      <a:pt x="371" y="527"/>
                    </a:lnTo>
                    <a:lnTo>
                      <a:pt x="361" y="518"/>
                    </a:lnTo>
                    <a:lnTo>
                      <a:pt x="354" y="489"/>
                    </a:lnTo>
                    <a:lnTo>
                      <a:pt x="317" y="444"/>
                    </a:lnTo>
                    <a:lnTo>
                      <a:pt x="317" y="435"/>
                    </a:lnTo>
                    <a:lnTo>
                      <a:pt x="307" y="423"/>
                    </a:lnTo>
                    <a:lnTo>
                      <a:pt x="269" y="407"/>
                    </a:lnTo>
                    <a:lnTo>
                      <a:pt x="269" y="383"/>
                    </a:lnTo>
                    <a:lnTo>
                      <a:pt x="236" y="312"/>
                    </a:lnTo>
                    <a:lnTo>
                      <a:pt x="248" y="312"/>
                    </a:lnTo>
                    <a:lnTo>
                      <a:pt x="248" y="307"/>
                    </a:lnTo>
                    <a:lnTo>
                      <a:pt x="182" y="263"/>
                    </a:lnTo>
                    <a:lnTo>
                      <a:pt x="177" y="263"/>
                    </a:lnTo>
                    <a:lnTo>
                      <a:pt x="173" y="255"/>
                    </a:lnTo>
                    <a:lnTo>
                      <a:pt x="161" y="222"/>
                    </a:lnTo>
                    <a:lnTo>
                      <a:pt x="144" y="218"/>
                    </a:lnTo>
                    <a:lnTo>
                      <a:pt x="118" y="163"/>
                    </a:lnTo>
                    <a:lnTo>
                      <a:pt x="85" y="152"/>
                    </a:lnTo>
                    <a:lnTo>
                      <a:pt x="14" y="90"/>
                    </a:lnTo>
                    <a:lnTo>
                      <a:pt x="0" y="57"/>
                    </a:lnTo>
                    <a:lnTo>
                      <a:pt x="0" y="29"/>
                    </a:lnTo>
                    <a:lnTo>
                      <a:pt x="10" y="19"/>
                    </a:lnTo>
                    <a:lnTo>
                      <a:pt x="21" y="19"/>
                    </a:lnTo>
                    <a:lnTo>
                      <a:pt x="47" y="36"/>
                    </a:lnTo>
                    <a:lnTo>
                      <a:pt x="52" y="41"/>
                    </a:lnTo>
                    <a:lnTo>
                      <a:pt x="76" y="52"/>
                    </a:lnTo>
                    <a:lnTo>
                      <a:pt x="123" y="52"/>
                    </a:lnTo>
                    <a:lnTo>
                      <a:pt x="139" y="57"/>
                    </a:lnTo>
                    <a:lnTo>
                      <a:pt x="156" y="52"/>
                    </a:lnTo>
                    <a:lnTo>
                      <a:pt x="182" y="74"/>
                    </a:lnTo>
                    <a:lnTo>
                      <a:pt x="194" y="95"/>
                    </a:lnTo>
                    <a:lnTo>
                      <a:pt x="210" y="107"/>
                    </a:lnTo>
                    <a:lnTo>
                      <a:pt x="210" y="128"/>
                    </a:lnTo>
                    <a:lnTo>
                      <a:pt x="333" y="218"/>
                    </a:lnTo>
                    <a:lnTo>
                      <a:pt x="333" y="239"/>
                    </a:lnTo>
                    <a:lnTo>
                      <a:pt x="333" y="234"/>
                    </a:lnTo>
                    <a:lnTo>
                      <a:pt x="340" y="234"/>
                    </a:lnTo>
                    <a:lnTo>
                      <a:pt x="340" y="251"/>
                    </a:lnTo>
                    <a:lnTo>
                      <a:pt x="340" y="234"/>
                    </a:lnTo>
                    <a:lnTo>
                      <a:pt x="345" y="234"/>
                    </a:lnTo>
                    <a:lnTo>
                      <a:pt x="361" y="263"/>
                    </a:lnTo>
                    <a:lnTo>
                      <a:pt x="392" y="279"/>
                    </a:lnTo>
                    <a:lnTo>
                      <a:pt x="399" y="296"/>
                    </a:lnTo>
                    <a:lnTo>
                      <a:pt x="387" y="263"/>
                    </a:lnTo>
                    <a:lnTo>
                      <a:pt x="409" y="263"/>
                    </a:lnTo>
                    <a:lnTo>
                      <a:pt x="425" y="279"/>
                    </a:lnTo>
                    <a:lnTo>
                      <a:pt x="430" y="307"/>
                    </a:lnTo>
                    <a:lnTo>
                      <a:pt x="454" y="312"/>
                    </a:lnTo>
                    <a:lnTo>
                      <a:pt x="484" y="329"/>
                    </a:lnTo>
                    <a:lnTo>
                      <a:pt x="484" y="350"/>
                    </a:lnTo>
                    <a:lnTo>
                      <a:pt x="501" y="366"/>
                    </a:lnTo>
                    <a:lnTo>
                      <a:pt x="534" y="378"/>
                    </a:lnTo>
                    <a:lnTo>
                      <a:pt x="539" y="383"/>
                    </a:lnTo>
                    <a:lnTo>
                      <a:pt x="539" y="383"/>
                    </a:lnTo>
                    <a:lnTo>
                      <a:pt x="539" y="383"/>
                    </a:lnTo>
                    <a:close/>
                    <a:moveTo>
                      <a:pt x="2209" y="140"/>
                    </a:moveTo>
                    <a:lnTo>
                      <a:pt x="2213" y="123"/>
                    </a:lnTo>
                    <a:lnTo>
                      <a:pt x="2209" y="111"/>
                    </a:lnTo>
                    <a:lnTo>
                      <a:pt x="2209" y="95"/>
                    </a:lnTo>
                    <a:lnTo>
                      <a:pt x="2213" y="107"/>
                    </a:lnTo>
                    <a:lnTo>
                      <a:pt x="2225" y="123"/>
                    </a:lnTo>
                    <a:lnTo>
                      <a:pt x="2209" y="140"/>
                    </a:lnTo>
                    <a:lnTo>
                      <a:pt x="2209" y="140"/>
                    </a:lnTo>
                    <a:lnTo>
                      <a:pt x="2209" y="140"/>
                    </a:lnTo>
                    <a:close/>
                    <a:moveTo>
                      <a:pt x="1009" y="279"/>
                    </a:moveTo>
                    <a:lnTo>
                      <a:pt x="1004" y="291"/>
                    </a:lnTo>
                    <a:lnTo>
                      <a:pt x="1009" y="312"/>
                    </a:lnTo>
                    <a:lnTo>
                      <a:pt x="1075" y="366"/>
                    </a:lnTo>
                    <a:lnTo>
                      <a:pt x="1117" y="350"/>
                    </a:lnTo>
                    <a:lnTo>
                      <a:pt x="1167" y="362"/>
                    </a:lnTo>
                    <a:lnTo>
                      <a:pt x="1172" y="345"/>
                    </a:lnTo>
                    <a:lnTo>
                      <a:pt x="1181" y="345"/>
                    </a:lnTo>
                    <a:lnTo>
                      <a:pt x="1188" y="317"/>
                    </a:lnTo>
                    <a:lnTo>
                      <a:pt x="1205" y="312"/>
                    </a:lnTo>
                    <a:lnTo>
                      <a:pt x="1243" y="312"/>
                    </a:lnTo>
                    <a:lnTo>
                      <a:pt x="1252" y="329"/>
                    </a:lnTo>
                    <a:lnTo>
                      <a:pt x="1290" y="333"/>
                    </a:lnTo>
                    <a:lnTo>
                      <a:pt x="1311" y="317"/>
                    </a:lnTo>
                    <a:lnTo>
                      <a:pt x="1344" y="317"/>
                    </a:lnTo>
                    <a:lnTo>
                      <a:pt x="1361" y="329"/>
                    </a:lnTo>
                    <a:lnTo>
                      <a:pt x="1365" y="307"/>
                    </a:lnTo>
                    <a:lnTo>
                      <a:pt x="1377" y="291"/>
                    </a:lnTo>
                    <a:lnTo>
                      <a:pt x="1377" y="263"/>
                    </a:lnTo>
                    <a:lnTo>
                      <a:pt x="1403" y="251"/>
                    </a:lnTo>
                    <a:lnTo>
                      <a:pt x="1387" y="239"/>
                    </a:lnTo>
                    <a:lnTo>
                      <a:pt x="1398" y="218"/>
                    </a:lnTo>
                    <a:lnTo>
                      <a:pt x="1403" y="206"/>
                    </a:lnTo>
                    <a:lnTo>
                      <a:pt x="1420" y="206"/>
                    </a:lnTo>
                    <a:lnTo>
                      <a:pt x="1432" y="180"/>
                    </a:lnTo>
                    <a:lnTo>
                      <a:pt x="1432" y="163"/>
                    </a:lnTo>
                    <a:lnTo>
                      <a:pt x="1432" y="128"/>
                    </a:lnTo>
                    <a:lnTo>
                      <a:pt x="1441" y="111"/>
                    </a:lnTo>
                    <a:lnTo>
                      <a:pt x="1458" y="123"/>
                    </a:lnTo>
                    <a:lnTo>
                      <a:pt x="1469" y="111"/>
                    </a:lnTo>
                    <a:lnTo>
                      <a:pt x="1491" y="123"/>
                    </a:lnTo>
                    <a:lnTo>
                      <a:pt x="1545" y="111"/>
                    </a:lnTo>
                    <a:lnTo>
                      <a:pt x="1566" y="128"/>
                    </a:lnTo>
                    <a:lnTo>
                      <a:pt x="1550" y="128"/>
                    </a:lnTo>
                    <a:lnTo>
                      <a:pt x="1583" y="163"/>
                    </a:lnTo>
                    <a:lnTo>
                      <a:pt x="1576" y="168"/>
                    </a:lnTo>
                    <a:lnTo>
                      <a:pt x="1528" y="168"/>
                    </a:lnTo>
                    <a:lnTo>
                      <a:pt x="1538" y="168"/>
                    </a:lnTo>
                    <a:lnTo>
                      <a:pt x="1545" y="180"/>
                    </a:lnTo>
                    <a:lnTo>
                      <a:pt x="1559" y="180"/>
                    </a:lnTo>
                    <a:lnTo>
                      <a:pt x="1545" y="196"/>
                    </a:lnTo>
                    <a:lnTo>
                      <a:pt x="1566" y="206"/>
                    </a:lnTo>
                    <a:lnTo>
                      <a:pt x="1576" y="222"/>
                    </a:lnTo>
                    <a:lnTo>
                      <a:pt x="1583" y="222"/>
                    </a:lnTo>
                    <a:lnTo>
                      <a:pt x="1604" y="263"/>
                    </a:lnTo>
                    <a:lnTo>
                      <a:pt x="1592" y="279"/>
                    </a:lnTo>
                    <a:lnTo>
                      <a:pt x="1583" y="272"/>
                    </a:lnTo>
                    <a:lnTo>
                      <a:pt x="1592" y="296"/>
                    </a:lnTo>
                    <a:lnTo>
                      <a:pt x="1668" y="362"/>
                    </a:lnTo>
                    <a:lnTo>
                      <a:pt x="1651" y="366"/>
                    </a:lnTo>
                    <a:lnTo>
                      <a:pt x="1621" y="366"/>
                    </a:lnTo>
                    <a:lnTo>
                      <a:pt x="1597" y="362"/>
                    </a:lnTo>
                    <a:lnTo>
                      <a:pt x="1592" y="345"/>
                    </a:lnTo>
                    <a:lnTo>
                      <a:pt x="1597" y="366"/>
                    </a:lnTo>
                    <a:lnTo>
                      <a:pt x="1592" y="366"/>
                    </a:lnTo>
                    <a:lnTo>
                      <a:pt x="1576" y="378"/>
                    </a:lnTo>
                    <a:lnTo>
                      <a:pt x="1559" y="423"/>
                    </a:lnTo>
                    <a:lnTo>
                      <a:pt x="1559" y="435"/>
                    </a:lnTo>
                    <a:lnTo>
                      <a:pt x="1559" y="444"/>
                    </a:lnTo>
                    <a:lnTo>
                      <a:pt x="1559" y="461"/>
                    </a:lnTo>
                    <a:lnTo>
                      <a:pt x="1566" y="456"/>
                    </a:lnTo>
                    <a:lnTo>
                      <a:pt x="1566" y="489"/>
                    </a:lnTo>
                    <a:lnTo>
                      <a:pt x="1559" y="489"/>
                    </a:lnTo>
                    <a:lnTo>
                      <a:pt x="1545" y="489"/>
                    </a:lnTo>
                    <a:lnTo>
                      <a:pt x="1521" y="518"/>
                    </a:lnTo>
                    <a:lnTo>
                      <a:pt x="1512" y="518"/>
                    </a:lnTo>
                    <a:lnTo>
                      <a:pt x="1507" y="501"/>
                    </a:lnTo>
                    <a:lnTo>
                      <a:pt x="1507" y="527"/>
                    </a:lnTo>
                    <a:lnTo>
                      <a:pt x="1491" y="534"/>
                    </a:lnTo>
                    <a:lnTo>
                      <a:pt x="1491" y="546"/>
                    </a:lnTo>
                    <a:lnTo>
                      <a:pt x="1474" y="555"/>
                    </a:lnTo>
                    <a:lnTo>
                      <a:pt x="1491" y="555"/>
                    </a:lnTo>
                    <a:lnTo>
                      <a:pt x="1491" y="572"/>
                    </a:lnTo>
                    <a:lnTo>
                      <a:pt x="1484" y="584"/>
                    </a:lnTo>
                    <a:lnTo>
                      <a:pt x="1495" y="589"/>
                    </a:lnTo>
                    <a:lnTo>
                      <a:pt x="1491" y="612"/>
                    </a:lnTo>
                    <a:lnTo>
                      <a:pt x="1474" y="612"/>
                    </a:lnTo>
                    <a:lnTo>
                      <a:pt x="1484" y="629"/>
                    </a:lnTo>
                    <a:lnTo>
                      <a:pt x="1474" y="645"/>
                    </a:lnTo>
                    <a:lnTo>
                      <a:pt x="1469" y="629"/>
                    </a:lnTo>
                    <a:lnTo>
                      <a:pt x="1474" y="655"/>
                    </a:lnTo>
                    <a:lnTo>
                      <a:pt x="1453" y="683"/>
                    </a:lnTo>
                    <a:lnTo>
                      <a:pt x="1365" y="733"/>
                    </a:lnTo>
                    <a:lnTo>
                      <a:pt x="1361" y="723"/>
                    </a:lnTo>
                    <a:lnTo>
                      <a:pt x="1361" y="695"/>
                    </a:lnTo>
                    <a:lnTo>
                      <a:pt x="1349" y="678"/>
                    </a:lnTo>
                    <a:lnTo>
                      <a:pt x="1323" y="666"/>
                    </a:lnTo>
                    <a:lnTo>
                      <a:pt x="1290" y="678"/>
                    </a:lnTo>
                    <a:lnTo>
                      <a:pt x="1290" y="655"/>
                    </a:lnTo>
                    <a:lnTo>
                      <a:pt x="1273" y="662"/>
                    </a:lnTo>
                    <a:lnTo>
                      <a:pt x="1252" y="645"/>
                    </a:lnTo>
                    <a:lnTo>
                      <a:pt x="1243" y="655"/>
                    </a:lnTo>
                    <a:lnTo>
                      <a:pt x="1243" y="662"/>
                    </a:lnTo>
                    <a:lnTo>
                      <a:pt x="1219" y="678"/>
                    </a:lnTo>
                    <a:lnTo>
                      <a:pt x="1214" y="678"/>
                    </a:lnTo>
                    <a:lnTo>
                      <a:pt x="1188" y="666"/>
                    </a:lnTo>
                    <a:lnTo>
                      <a:pt x="1167" y="683"/>
                    </a:lnTo>
                    <a:lnTo>
                      <a:pt x="1160" y="683"/>
                    </a:lnTo>
                    <a:lnTo>
                      <a:pt x="1167" y="645"/>
                    </a:lnTo>
                    <a:lnTo>
                      <a:pt x="1160" y="629"/>
                    </a:lnTo>
                    <a:lnTo>
                      <a:pt x="1150" y="638"/>
                    </a:lnTo>
                    <a:lnTo>
                      <a:pt x="1143" y="645"/>
                    </a:lnTo>
                    <a:lnTo>
                      <a:pt x="1127" y="638"/>
                    </a:lnTo>
                    <a:lnTo>
                      <a:pt x="1106" y="655"/>
                    </a:lnTo>
                    <a:lnTo>
                      <a:pt x="1089" y="645"/>
                    </a:lnTo>
                    <a:lnTo>
                      <a:pt x="1096" y="638"/>
                    </a:lnTo>
                    <a:lnTo>
                      <a:pt x="1080" y="655"/>
                    </a:lnTo>
                    <a:lnTo>
                      <a:pt x="1075" y="638"/>
                    </a:lnTo>
                    <a:lnTo>
                      <a:pt x="1051" y="645"/>
                    </a:lnTo>
                    <a:lnTo>
                      <a:pt x="1042" y="572"/>
                    </a:lnTo>
                    <a:lnTo>
                      <a:pt x="1025" y="555"/>
                    </a:lnTo>
                    <a:lnTo>
                      <a:pt x="1037" y="551"/>
                    </a:lnTo>
                    <a:lnTo>
                      <a:pt x="1042" y="527"/>
                    </a:lnTo>
                    <a:lnTo>
                      <a:pt x="1021" y="494"/>
                    </a:lnTo>
                    <a:lnTo>
                      <a:pt x="983" y="489"/>
                    </a:lnTo>
                    <a:lnTo>
                      <a:pt x="983" y="478"/>
                    </a:lnTo>
                    <a:lnTo>
                      <a:pt x="1004" y="478"/>
                    </a:lnTo>
                    <a:lnTo>
                      <a:pt x="971" y="461"/>
                    </a:lnTo>
                    <a:lnTo>
                      <a:pt x="966" y="444"/>
                    </a:lnTo>
                    <a:lnTo>
                      <a:pt x="983" y="440"/>
                    </a:lnTo>
                    <a:lnTo>
                      <a:pt x="971" y="423"/>
                    </a:lnTo>
                    <a:lnTo>
                      <a:pt x="966" y="407"/>
                    </a:lnTo>
                    <a:lnTo>
                      <a:pt x="954" y="407"/>
                    </a:lnTo>
                    <a:lnTo>
                      <a:pt x="954" y="383"/>
                    </a:lnTo>
                    <a:lnTo>
                      <a:pt x="954" y="366"/>
                    </a:lnTo>
                    <a:lnTo>
                      <a:pt x="966" y="362"/>
                    </a:lnTo>
                    <a:lnTo>
                      <a:pt x="966" y="345"/>
                    </a:lnTo>
                    <a:lnTo>
                      <a:pt x="983" y="329"/>
                    </a:lnTo>
                    <a:lnTo>
                      <a:pt x="966" y="345"/>
                    </a:lnTo>
                    <a:lnTo>
                      <a:pt x="971" y="317"/>
                    </a:lnTo>
                    <a:lnTo>
                      <a:pt x="983" y="307"/>
                    </a:lnTo>
                    <a:lnTo>
                      <a:pt x="987" y="291"/>
                    </a:lnTo>
                    <a:lnTo>
                      <a:pt x="1009" y="279"/>
                    </a:lnTo>
                    <a:lnTo>
                      <a:pt x="1009" y="279"/>
                    </a:lnTo>
                    <a:lnTo>
                      <a:pt x="1009" y="279"/>
                    </a:lnTo>
                    <a:close/>
                    <a:moveTo>
                      <a:pt x="895" y="152"/>
                    </a:moveTo>
                    <a:lnTo>
                      <a:pt x="895" y="140"/>
                    </a:lnTo>
                    <a:lnTo>
                      <a:pt x="912" y="128"/>
                    </a:lnTo>
                    <a:lnTo>
                      <a:pt x="917" y="140"/>
                    </a:lnTo>
                    <a:lnTo>
                      <a:pt x="917" y="163"/>
                    </a:lnTo>
                    <a:lnTo>
                      <a:pt x="900" y="163"/>
                    </a:lnTo>
                    <a:lnTo>
                      <a:pt x="912" y="152"/>
                    </a:lnTo>
                    <a:lnTo>
                      <a:pt x="895" y="152"/>
                    </a:lnTo>
                    <a:lnTo>
                      <a:pt x="895" y="152"/>
                    </a:lnTo>
                    <a:lnTo>
                      <a:pt x="895" y="152"/>
                    </a:lnTo>
                    <a:close/>
                    <a:moveTo>
                      <a:pt x="1576" y="128"/>
                    </a:moveTo>
                    <a:lnTo>
                      <a:pt x="1592" y="128"/>
                    </a:lnTo>
                    <a:lnTo>
                      <a:pt x="1592" y="140"/>
                    </a:lnTo>
                    <a:lnTo>
                      <a:pt x="1576" y="128"/>
                    </a:lnTo>
                    <a:lnTo>
                      <a:pt x="1576" y="128"/>
                    </a:lnTo>
                    <a:lnTo>
                      <a:pt x="1576" y="128"/>
                    </a:lnTo>
                    <a:close/>
                    <a:moveTo>
                      <a:pt x="1566" y="128"/>
                    </a:moveTo>
                    <a:lnTo>
                      <a:pt x="1576" y="140"/>
                    </a:lnTo>
                    <a:lnTo>
                      <a:pt x="1566" y="140"/>
                    </a:lnTo>
                    <a:lnTo>
                      <a:pt x="1566" y="128"/>
                    </a:lnTo>
                    <a:lnTo>
                      <a:pt x="1566" y="128"/>
                    </a:lnTo>
                    <a:lnTo>
                      <a:pt x="1566" y="128"/>
                    </a:lnTo>
                    <a:close/>
                    <a:moveTo>
                      <a:pt x="2209" y="152"/>
                    </a:moveTo>
                    <a:lnTo>
                      <a:pt x="2197" y="140"/>
                    </a:lnTo>
                    <a:lnTo>
                      <a:pt x="2209" y="147"/>
                    </a:lnTo>
                    <a:lnTo>
                      <a:pt x="2209" y="152"/>
                    </a:lnTo>
                    <a:lnTo>
                      <a:pt x="2209" y="152"/>
                    </a:lnTo>
                    <a:lnTo>
                      <a:pt x="2209" y="152"/>
                    </a:lnTo>
                    <a:close/>
                    <a:moveTo>
                      <a:pt x="2143" y="185"/>
                    </a:moveTo>
                    <a:lnTo>
                      <a:pt x="2133" y="163"/>
                    </a:lnTo>
                    <a:lnTo>
                      <a:pt x="2143" y="163"/>
                    </a:lnTo>
                    <a:lnTo>
                      <a:pt x="2154" y="180"/>
                    </a:lnTo>
                    <a:lnTo>
                      <a:pt x="2143" y="185"/>
                    </a:lnTo>
                    <a:lnTo>
                      <a:pt x="2143" y="185"/>
                    </a:lnTo>
                    <a:lnTo>
                      <a:pt x="2143" y="185"/>
                    </a:lnTo>
                    <a:close/>
                    <a:moveTo>
                      <a:pt x="1545" y="168"/>
                    </a:moveTo>
                    <a:lnTo>
                      <a:pt x="1559" y="180"/>
                    </a:lnTo>
                    <a:lnTo>
                      <a:pt x="1545" y="180"/>
                    </a:lnTo>
                    <a:lnTo>
                      <a:pt x="1545" y="168"/>
                    </a:lnTo>
                    <a:lnTo>
                      <a:pt x="1545" y="168"/>
                    </a:lnTo>
                    <a:lnTo>
                      <a:pt x="1545" y="168"/>
                    </a:lnTo>
                    <a:close/>
                    <a:moveTo>
                      <a:pt x="1566" y="180"/>
                    </a:moveTo>
                    <a:lnTo>
                      <a:pt x="1576" y="185"/>
                    </a:lnTo>
                    <a:lnTo>
                      <a:pt x="1566" y="196"/>
                    </a:lnTo>
                    <a:lnTo>
                      <a:pt x="1566" y="180"/>
                    </a:lnTo>
                    <a:lnTo>
                      <a:pt x="1566" y="180"/>
                    </a:lnTo>
                    <a:lnTo>
                      <a:pt x="1566" y="180"/>
                    </a:lnTo>
                    <a:close/>
                    <a:moveTo>
                      <a:pt x="773" y="196"/>
                    </a:moveTo>
                    <a:lnTo>
                      <a:pt x="773" y="185"/>
                    </a:lnTo>
                    <a:lnTo>
                      <a:pt x="773" y="196"/>
                    </a:lnTo>
                    <a:lnTo>
                      <a:pt x="773" y="196"/>
                    </a:lnTo>
                    <a:lnTo>
                      <a:pt x="773" y="196"/>
                    </a:lnTo>
                    <a:close/>
                    <a:moveTo>
                      <a:pt x="1559" y="185"/>
                    </a:moveTo>
                    <a:lnTo>
                      <a:pt x="1559" y="196"/>
                    </a:lnTo>
                    <a:lnTo>
                      <a:pt x="1559" y="185"/>
                    </a:lnTo>
                    <a:lnTo>
                      <a:pt x="1559" y="185"/>
                    </a:lnTo>
                    <a:lnTo>
                      <a:pt x="1559" y="185"/>
                    </a:lnTo>
                    <a:close/>
                    <a:moveTo>
                      <a:pt x="773" y="201"/>
                    </a:moveTo>
                    <a:lnTo>
                      <a:pt x="773" y="196"/>
                    </a:lnTo>
                    <a:lnTo>
                      <a:pt x="773" y="201"/>
                    </a:lnTo>
                    <a:lnTo>
                      <a:pt x="773" y="201"/>
                    </a:lnTo>
                    <a:lnTo>
                      <a:pt x="773" y="201"/>
                    </a:lnTo>
                    <a:close/>
                    <a:moveTo>
                      <a:pt x="735" y="222"/>
                    </a:moveTo>
                    <a:lnTo>
                      <a:pt x="735" y="206"/>
                    </a:lnTo>
                    <a:lnTo>
                      <a:pt x="739" y="218"/>
                    </a:lnTo>
                    <a:lnTo>
                      <a:pt x="735" y="222"/>
                    </a:lnTo>
                    <a:lnTo>
                      <a:pt x="735" y="222"/>
                    </a:lnTo>
                    <a:lnTo>
                      <a:pt x="735" y="222"/>
                    </a:lnTo>
                    <a:close/>
                    <a:moveTo>
                      <a:pt x="950" y="218"/>
                    </a:moveTo>
                    <a:lnTo>
                      <a:pt x="954" y="206"/>
                    </a:lnTo>
                    <a:lnTo>
                      <a:pt x="954" y="218"/>
                    </a:lnTo>
                    <a:lnTo>
                      <a:pt x="950" y="218"/>
                    </a:lnTo>
                    <a:lnTo>
                      <a:pt x="950" y="218"/>
                    </a:lnTo>
                    <a:lnTo>
                      <a:pt x="950" y="218"/>
                    </a:lnTo>
                    <a:close/>
                    <a:moveTo>
                      <a:pt x="85" y="255"/>
                    </a:moveTo>
                    <a:lnTo>
                      <a:pt x="76" y="255"/>
                    </a:lnTo>
                    <a:lnTo>
                      <a:pt x="52" y="239"/>
                    </a:lnTo>
                    <a:lnTo>
                      <a:pt x="38" y="234"/>
                    </a:lnTo>
                    <a:lnTo>
                      <a:pt x="31" y="222"/>
                    </a:lnTo>
                    <a:lnTo>
                      <a:pt x="38" y="218"/>
                    </a:lnTo>
                    <a:lnTo>
                      <a:pt x="47" y="218"/>
                    </a:lnTo>
                    <a:lnTo>
                      <a:pt x="85" y="251"/>
                    </a:lnTo>
                    <a:lnTo>
                      <a:pt x="85" y="255"/>
                    </a:lnTo>
                    <a:lnTo>
                      <a:pt x="85" y="255"/>
                    </a:lnTo>
                    <a:lnTo>
                      <a:pt x="85" y="255"/>
                    </a:lnTo>
                    <a:close/>
                    <a:moveTo>
                      <a:pt x="2117" y="234"/>
                    </a:moveTo>
                    <a:lnTo>
                      <a:pt x="2117" y="239"/>
                    </a:lnTo>
                    <a:lnTo>
                      <a:pt x="2117" y="222"/>
                    </a:lnTo>
                    <a:lnTo>
                      <a:pt x="2117" y="234"/>
                    </a:lnTo>
                    <a:lnTo>
                      <a:pt x="2117" y="234"/>
                    </a:lnTo>
                    <a:lnTo>
                      <a:pt x="2117" y="234"/>
                    </a:lnTo>
                    <a:close/>
                    <a:moveTo>
                      <a:pt x="2317" y="279"/>
                    </a:moveTo>
                    <a:lnTo>
                      <a:pt x="2317" y="263"/>
                    </a:lnTo>
                    <a:lnTo>
                      <a:pt x="2332" y="239"/>
                    </a:lnTo>
                    <a:lnTo>
                      <a:pt x="2339" y="239"/>
                    </a:lnTo>
                    <a:lnTo>
                      <a:pt x="2348" y="251"/>
                    </a:lnTo>
                    <a:lnTo>
                      <a:pt x="2339" y="263"/>
                    </a:lnTo>
                    <a:lnTo>
                      <a:pt x="2332" y="279"/>
                    </a:lnTo>
                    <a:lnTo>
                      <a:pt x="2317" y="279"/>
                    </a:lnTo>
                    <a:lnTo>
                      <a:pt x="2317" y="279"/>
                    </a:lnTo>
                    <a:lnTo>
                      <a:pt x="2317" y="279"/>
                    </a:lnTo>
                    <a:close/>
                    <a:moveTo>
                      <a:pt x="144" y="279"/>
                    </a:moveTo>
                    <a:lnTo>
                      <a:pt x="128" y="263"/>
                    </a:lnTo>
                    <a:lnTo>
                      <a:pt x="139" y="263"/>
                    </a:lnTo>
                    <a:lnTo>
                      <a:pt x="144" y="279"/>
                    </a:lnTo>
                    <a:lnTo>
                      <a:pt x="144" y="279"/>
                    </a:lnTo>
                    <a:lnTo>
                      <a:pt x="144" y="279"/>
                    </a:lnTo>
                    <a:close/>
                    <a:moveTo>
                      <a:pt x="2284" y="366"/>
                    </a:moveTo>
                    <a:lnTo>
                      <a:pt x="2294" y="366"/>
                    </a:lnTo>
                    <a:lnTo>
                      <a:pt x="2294" y="350"/>
                    </a:lnTo>
                    <a:lnTo>
                      <a:pt x="2306" y="345"/>
                    </a:lnTo>
                    <a:lnTo>
                      <a:pt x="2306" y="329"/>
                    </a:lnTo>
                    <a:lnTo>
                      <a:pt x="2332" y="317"/>
                    </a:lnTo>
                    <a:lnTo>
                      <a:pt x="2348" y="312"/>
                    </a:lnTo>
                    <a:lnTo>
                      <a:pt x="2348" y="350"/>
                    </a:lnTo>
                    <a:lnTo>
                      <a:pt x="2317" y="366"/>
                    </a:lnTo>
                    <a:lnTo>
                      <a:pt x="2322" y="383"/>
                    </a:lnTo>
                    <a:lnTo>
                      <a:pt x="2348" y="390"/>
                    </a:lnTo>
                    <a:lnTo>
                      <a:pt x="2348" y="400"/>
                    </a:lnTo>
                    <a:lnTo>
                      <a:pt x="2360" y="418"/>
                    </a:lnTo>
                    <a:lnTo>
                      <a:pt x="2301" y="390"/>
                    </a:lnTo>
                    <a:lnTo>
                      <a:pt x="2294" y="400"/>
                    </a:lnTo>
                    <a:lnTo>
                      <a:pt x="2294" y="407"/>
                    </a:lnTo>
                    <a:lnTo>
                      <a:pt x="2294" y="435"/>
                    </a:lnTo>
                    <a:lnTo>
                      <a:pt x="2301" y="456"/>
                    </a:lnTo>
                    <a:lnTo>
                      <a:pt x="2322" y="494"/>
                    </a:lnTo>
                    <a:lnTo>
                      <a:pt x="2301" y="478"/>
                    </a:lnTo>
                    <a:lnTo>
                      <a:pt x="2284" y="456"/>
                    </a:lnTo>
                    <a:lnTo>
                      <a:pt x="2280" y="444"/>
                    </a:lnTo>
                    <a:lnTo>
                      <a:pt x="2280" y="418"/>
                    </a:lnTo>
                    <a:lnTo>
                      <a:pt x="2263" y="383"/>
                    </a:lnTo>
                    <a:lnTo>
                      <a:pt x="2268" y="366"/>
                    </a:lnTo>
                    <a:lnTo>
                      <a:pt x="2263" y="366"/>
                    </a:lnTo>
                    <a:lnTo>
                      <a:pt x="2263" y="350"/>
                    </a:lnTo>
                    <a:lnTo>
                      <a:pt x="2251" y="350"/>
                    </a:lnTo>
                    <a:lnTo>
                      <a:pt x="2268" y="307"/>
                    </a:lnTo>
                    <a:lnTo>
                      <a:pt x="2294" y="272"/>
                    </a:lnTo>
                    <a:lnTo>
                      <a:pt x="2301" y="272"/>
                    </a:lnTo>
                    <a:lnTo>
                      <a:pt x="2284" y="291"/>
                    </a:lnTo>
                    <a:lnTo>
                      <a:pt x="2301" y="307"/>
                    </a:lnTo>
                    <a:lnTo>
                      <a:pt x="2301" y="329"/>
                    </a:lnTo>
                    <a:lnTo>
                      <a:pt x="2268" y="362"/>
                    </a:lnTo>
                    <a:lnTo>
                      <a:pt x="2284" y="366"/>
                    </a:lnTo>
                    <a:lnTo>
                      <a:pt x="2284" y="366"/>
                    </a:lnTo>
                    <a:lnTo>
                      <a:pt x="2284" y="366"/>
                    </a:lnTo>
                    <a:close/>
                    <a:moveTo>
                      <a:pt x="454" y="291"/>
                    </a:moveTo>
                    <a:lnTo>
                      <a:pt x="447" y="307"/>
                    </a:lnTo>
                    <a:lnTo>
                      <a:pt x="430" y="307"/>
                    </a:lnTo>
                    <a:lnTo>
                      <a:pt x="430" y="291"/>
                    </a:lnTo>
                    <a:lnTo>
                      <a:pt x="430" y="279"/>
                    </a:lnTo>
                    <a:lnTo>
                      <a:pt x="447" y="272"/>
                    </a:lnTo>
                    <a:lnTo>
                      <a:pt x="454" y="291"/>
                    </a:lnTo>
                    <a:lnTo>
                      <a:pt x="454" y="291"/>
                    </a:lnTo>
                    <a:lnTo>
                      <a:pt x="454" y="291"/>
                    </a:lnTo>
                    <a:close/>
                    <a:moveTo>
                      <a:pt x="1873" y="778"/>
                    </a:moveTo>
                    <a:lnTo>
                      <a:pt x="1852" y="778"/>
                    </a:lnTo>
                    <a:lnTo>
                      <a:pt x="1835" y="766"/>
                    </a:lnTo>
                    <a:lnTo>
                      <a:pt x="1852" y="723"/>
                    </a:lnTo>
                    <a:lnTo>
                      <a:pt x="1831" y="716"/>
                    </a:lnTo>
                    <a:lnTo>
                      <a:pt x="1798" y="683"/>
                    </a:lnTo>
                    <a:lnTo>
                      <a:pt x="1798" y="666"/>
                    </a:lnTo>
                    <a:lnTo>
                      <a:pt x="1814" y="662"/>
                    </a:lnTo>
                    <a:lnTo>
                      <a:pt x="1814" y="629"/>
                    </a:lnTo>
                    <a:lnTo>
                      <a:pt x="1809" y="622"/>
                    </a:lnTo>
                    <a:lnTo>
                      <a:pt x="1793" y="612"/>
                    </a:lnTo>
                    <a:lnTo>
                      <a:pt x="1755" y="645"/>
                    </a:lnTo>
                    <a:lnTo>
                      <a:pt x="1765" y="662"/>
                    </a:lnTo>
                    <a:lnTo>
                      <a:pt x="1765" y="695"/>
                    </a:lnTo>
                    <a:lnTo>
                      <a:pt x="1760" y="723"/>
                    </a:lnTo>
                    <a:lnTo>
                      <a:pt x="1765" y="766"/>
                    </a:lnTo>
                    <a:lnTo>
                      <a:pt x="1755" y="794"/>
                    </a:lnTo>
                    <a:lnTo>
                      <a:pt x="1765" y="834"/>
                    </a:lnTo>
                    <a:lnTo>
                      <a:pt x="1760" y="827"/>
                    </a:lnTo>
                    <a:lnTo>
                      <a:pt x="1743" y="834"/>
                    </a:lnTo>
                    <a:lnTo>
                      <a:pt x="1727" y="827"/>
                    </a:lnTo>
                    <a:lnTo>
                      <a:pt x="1722" y="844"/>
                    </a:lnTo>
                    <a:lnTo>
                      <a:pt x="1710" y="844"/>
                    </a:lnTo>
                    <a:lnTo>
                      <a:pt x="1689" y="822"/>
                    </a:lnTo>
                    <a:lnTo>
                      <a:pt x="1706" y="740"/>
                    </a:lnTo>
                    <a:lnTo>
                      <a:pt x="1706" y="716"/>
                    </a:lnTo>
                    <a:lnTo>
                      <a:pt x="1701" y="695"/>
                    </a:lnTo>
                    <a:lnTo>
                      <a:pt x="1706" y="683"/>
                    </a:lnTo>
                    <a:lnTo>
                      <a:pt x="1689" y="678"/>
                    </a:lnTo>
                    <a:lnTo>
                      <a:pt x="1658" y="683"/>
                    </a:lnTo>
                    <a:lnTo>
                      <a:pt x="1651" y="666"/>
                    </a:lnTo>
                    <a:lnTo>
                      <a:pt x="1658" y="638"/>
                    </a:lnTo>
                    <a:lnTo>
                      <a:pt x="1651" y="638"/>
                    </a:lnTo>
                    <a:lnTo>
                      <a:pt x="1651" y="629"/>
                    </a:lnTo>
                    <a:lnTo>
                      <a:pt x="1651" y="612"/>
                    </a:lnTo>
                    <a:lnTo>
                      <a:pt x="1658" y="622"/>
                    </a:lnTo>
                    <a:lnTo>
                      <a:pt x="1672" y="605"/>
                    </a:lnTo>
                    <a:lnTo>
                      <a:pt x="1684" y="572"/>
                    </a:lnTo>
                    <a:lnTo>
                      <a:pt x="1689" y="567"/>
                    </a:lnTo>
                    <a:lnTo>
                      <a:pt x="1689" y="518"/>
                    </a:lnTo>
                    <a:lnTo>
                      <a:pt x="1706" y="494"/>
                    </a:lnTo>
                    <a:lnTo>
                      <a:pt x="1710" y="478"/>
                    </a:lnTo>
                    <a:lnTo>
                      <a:pt x="1727" y="489"/>
                    </a:lnTo>
                    <a:lnTo>
                      <a:pt x="1722" y="461"/>
                    </a:lnTo>
                    <a:lnTo>
                      <a:pt x="1722" y="440"/>
                    </a:lnTo>
                    <a:lnTo>
                      <a:pt x="1710" y="440"/>
                    </a:lnTo>
                    <a:lnTo>
                      <a:pt x="1706" y="435"/>
                    </a:lnTo>
                    <a:lnTo>
                      <a:pt x="1722" y="440"/>
                    </a:lnTo>
                    <a:lnTo>
                      <a:pt x="1727" y="423"/>
                    </a:lnTo>
                    <a:lnTo>
                      <a:pt x="1722" y="418"/>
                    </a:lnTo>
                    <a:lnTo>
                      <a:pt x="1727" y="390"/>
                    </a:lnTo>
                    <a:lnTo>
                      <a:pt x="1739" y="390"/>
                    </a:lnTo>
                    <a:lnTo>
                      <a:pt x="1739" y="378"/>
                    </a:lnTo>
                    <a:lnTo>
                      <a:pt x="1755" y="366"/>
                    </a:lnTo>
                    <a:lnTo>
                      <a:pt x="1760" y="362"/>
                    </a:lnTo>
                    <a:lnTo>
                      <a:pt x="1760" y="366"/>
                    </a:lnTo>
                    <a:lnTo>
                      <a:pt x="1776" y="378"/>
                    </a:lnTo>
                    <a:lnTo>
                      <a:pt x="1793" y="350"/>
                    </a:lnTo>
                    <a:lnTo>
                      <a:pt x="1793" y="333"/>
                    </a:lnTo>
                    <a:lnTo>
                      <a:pt x="1835" y="333"/>
                    </a:lnTo>
                    <a:lnTo>
                      <a:pt x="1847" y="350"/>
                    </a:lnTo>
                    <a:lnTo>
                      <a:pt x="1869" y="350"/>
                    </a:lnTo>
                    <a:lnTo>
                      <a:pt x="1873" y="350"/>
                    </a:lnTo>
                    <a:lnTo>
                      <a:pt x="1906" y="362"/>
                    </a:lnTo>
                    <a:lnTo>
                      <a:pt x="1939" y="366"/>
                    </a:lnTo>
                    <a:lnTo>
                      <a:pt x="1944" y="362"/>
                    </a:lnTo>
                    <a:lnTo>
                      <a:pt x="1961" y="362"/>
                    </a:lnTo>
                    <a:lnTo>
                      <a:pt x="2015" y="366"/>
                    </a:lnTo>
                    <a:lnTo>
                      <a:pt x="2036" y="350"/>
                    </a:lnTo>
                    <a:lnTo>
                      <a:pt x="2046" y="345"/>
                    </a:lnTo>
                    <a:lnTo>
                      <a:pt x="2062" y="345"/>
                    </a:lnTo>
                    <a:lnTo>
                      <a:pt x="2053" y="329"/>
                    </a:lnTo>
                    <a:lnTo>
                      <a:pt x="2079" y="317"/>
                    </a:lnTo>
                    <a:lnTo>
                      <a:pt x="2079" y="312"/>
                    </a:lnTo>
                    <a:lnTo>
                      <a:pt x="2084" y="307"/>
                    </a:lnTo>
                    <a:lnTo>
                      <a:pt x="2100" y="307"/>
                    </a:lnTo>
                    <a:lnTo>
                      <a:pt x="2105" y="317"/>
                    </a:lnTo>
                    <a:lnTo>
                      <a:pt x="2091" y="329"/>
                    </a:lnTo>
                    <a:lnTo>
                      <a:pt x="2079" y="362"/>
                    </a:lnTo>
                    <a:lnTo>
                      <a:pt x="2036" y="400"/>
                    </a:lnTo>
                    <a:lnTo>
                      <a:pt x="1991" y="407"/>
                    </a:lnTo>
                    <a:lnTo>
                      <a:pt x="1970" y="407"/>
                    </a:lnTo>
                    <a:lnTo>
                      <a:pt x="1954" y="390"/>
                    </a:lnTo>
                    <a:lnTo>
                      <a:pt x="1864" y="400"/>
                    </a:lnTo>
                    <a:lnTo>
                      <a:pt x="1847" y="390"/>
                    </a:lnTo>
                    <a:lnTo>
                      <a:pt x="1814" y="400"/>
                    </a:lnTo>
                    <a:lnTo>
                      <a:pt x="1776" y="390"/>
                    </a:lnTo>
                    <a:lnTo>
                      <a:pt x="1760" y="390"/>
                    </a:lnTo>
                    <a:lnTo>
                      <a:pt x="1743" y="418"/>
                    </a:lnTo>
                    <a:lnTo>
                      <a:pt x="1739" y="440"/>
                    </a:lnTo>
                    <a:lnTo>
                      <a:pt x="1743" y="473"/>
                    </a:lnTo>
                    <a:lnTo>
                      <a:pt x="1755" y="494"/>
                    </a:lnTo>
                    <a:lnTo>
                      <a:pt x="1776" y="501"/>
                    </a:lnTo>
                    <a:lnTo>
                      <a:pt x="1781" y="527"/>
                    </a:lnTo>
                    <a:lnTo>
                      <a:pt x="1793" y="527"/>
                    </a:lnTo>
                    <a:lnTo>
                      <a:pt x="1814" y="534"/>
                    </a:lnTo>
                    <a:lnTo>
                      <a:pt x="1835" y="494"/>
                    </a:lnTo>
                    <a:lnTo>
                      <a:pt x="1852" y="489"/>
                    </a:lnTo>
                    <a:lnTo>
                      <a:pt x="1852" y="494"/>
                    </a:lnTo>
                    <a:lnTo>
                      <a:pt x="1869" y="494"/>
                    </a:lnTo>
                    <a:lnTo>
                      <a:pt x="1885" y="494"/>
                    </a:lnTo>
                    <a:lnTo>
                      <a:pt x="1890" y="489"/>
                    </a:lnTo>
                    <a:lnTo>
                      <a:pt x="1939" y="489"/>
                    </a:lnTo>
                    <a:lnTo>
                      <a:pt x="1944" y="478"/>
                    </a:lnTo>
                    <a:lnTo>
                      <a:pt x="1928" y="478"/>
                    </a:lnTo>
                    <a:lnTo>
                      <a:pt x="1954" y="473"/>
                    </a:lnTo>
                    <a:lnTo>
                      <a:pt x="1970" y="473"/>
                    </a:lnTo>
                    <a:lnTo>
                      <a:pt x="1977" y="489"/>
                    </a:lnTo>
                    <a:lnTo>
                      <a:pt x="1970" y="501"/>
                    </a:lnTo>
                    <a:lnTo>
                      <a:pt x="1961" y="494"/>
                    </a:lnTo>
                    <a:lnTo>
                      <a:pt x="1939" y="494"/>
                    </a:lnTo>
                    <a:lnTo>
                      <a:pt x="1906" y="534"/>
                    </a:lnTo>
                    <a:lnTo>
                      <a:pt x="1869" y="551"/>
                    </a:lnTo>
                    <a:lnTo>
                      <a:pt x="1852" y="567"/>
                    </a:lnTo>
                    <a:lnTo>
                      <a:pt x="1831" y="555"/>
                    </a:lnTo>
                    <a:lnTo>
                      <a:pt x="1831" y="572"/>
                    </a:lnTo>
                    <a:lnTo>
                      <a:pt x="1835" y="572"/>
                    </a:lnTo>
                    <a:lnTo>
                      <a:pt x="1847" y="584"/>
                    </a:lnTo>
                    <a:lnTo>
                      <a:pt x="1869" y="600"/>
                    </a:lnTo>
                    <a:lnTo>
                      <a:pt x="1873" y="622"/>
                    </a:lnTo>
                    <a:lnTo>
                      <a:pt x="1902" y="638"/>
                    </a:lnTo>
                    <a:lnTo>
                      <a:pt x="1902" y="645"/>
                    </a:lnTo>
                    <a:lnTo>
                      <a:pt x="1906" y="655"/>
                    </a:lnTo>
                    <a:lnTo>
                      <a:pt x="1890" y="666"/>
                    </a:lnTo>
                    <a:lnTo>
                      <a:pt x="1890" y="695"/>
                    </a:lnTo>
                    <a:lnTo>
                      <a:pt x="1923" y="711"/>
                    </a:lnTo>
                    <a:lnTo>
                      <a:pt x="1923" y="723"/>
                    </a:lnTo>
                    <a:lnTo>
                      <a:pt x="1939" y="723"/>
                    </a:lnTo>
                    <a:lnTo>
                      <a:pt x="1928" y="716"/>
                    </a:lnTo>
                    <a:lnTo>
                      <a:pt x="1939" y="733"/>
                    </a:lnTo>
                    <a:lnTo>
                      <a:pt x="1939" y="749"/>
                    </a:lnTo>
                    <a:lnTo>
                      <a:pt x="1928" y="749"/>
                    </a:lnTo>
                    <a:lnTo>
                      <a:pt x="1916" y="749"/>
                    </a:lnTo>
                    <a:lnTo>
                      <a:pt x="1885" y="756"/>
                    </a:lnTo>
                    <a:lnTo>
                      <a:pt x="1873" y="766"/>
                    </a:lnTo>
                    <a:lnTo>
                      <a:pt x="1885" y="773"/>
                    </a:lnTo>
                    <a:lnTo>
                      <a:pt x="1873" y="778"/>
                    </a:lnTo>
                    <a:lnTo>
                      <a:pt x="1873" y="778"/>
                    </a:lnTo>
                    <a:lnTo>
                      <a:pt x="1873" y="778"/>
                    </a:lnTo>
                    <a:close/>
                    <a:moveTo>
                      <a:pt x="508" y="329"/>
                    </a:moveTo>
                    <a:lnTo>
                      <a:pt x="508" y="333"/>
                    </a:lnTo>
                    <a:lnTo>
                      <a:pt x="496" y="329"/>
                    </a:lnTo>
                    <a:lnTo>
                      <a:pt x="480" y="317"/>
                    </a:lnTo>
                    <a:lnTo>
                      <a:pt x="470" y="312"/>
                    </a:lnTo>
                    <a:lnTo>
                      <a:pt x="501" y="317"/>
                    </a:lnTo>
                    <a:lnTo>
                      <a:pt x="508" y="329"/>
                    </a:lnTo>
                    <a:lnTo>
                      <a:pt x="508" y="329"/>
                    </a:lnTo>
                    <a:lnTo>
                      <a:pt x="508" y="329"/>
                    </a:lnTo>
                    <a:close/>
                    <a:moveTo>
                      <a:pt x="2105" y="317"/>
                    </a:moveTo>
                    <a:lnTo>
                      <a:pt x="2105" y="329"/>
                    </a:lnTo>
                    <a:lnTo>
                      <a:pt x="2100" y="329"/>
                    </a:lnTo>
                    <a:lnTo>
                      <a:pt x="2105" y="317"/>
                    </a:lnTo>
                    <a:lnTo>
                      <a:pt x="2105" y="317"/>
                    </a:lnTo>
                    <a:lnTo>
                      <a:pt x="2105" y="317"/>
                    </a:lnTo>
                    <a:close/>
                    <a:moveTo>
                      <a:pt x="177" y="390"/>
                    </a:moveTo>
                    <a:lnTo>
                      <a:pt x="173" y="383"/>
                    </a:lnTo>
                    <a:lnTo>
                      <a:pt x="161" y="366"/>
                    </a:lnTo>
                    <a:lnTo>
                      <a:pt x="128" y="329"/>
                    </a:lnTo>
                    <a:lnTo>
                      <a:pt x="144" y="317"/>
                    </a:lnTo>
                    <a:lnTo>
                      <a:pt x="156" y="317"/>
                    </a:lnTo>
                    <a:lnTo>
                      <a:pt x="173" y="345"/>
                    </a:lnTo>
                    <a:lnTo>
                      <a:pt x="182" y="350"/>
                    </a:lnTo>
                    <a:lnTo>
                      <a:pt x="182" y="383"/>
                    </a:lnTo>
                    <a:lnTo>
                      <a:pt x="177" y="390"/>
                    </a:lnTo>
                    <a:lnTo>
                      <a:pt x="177" y="390"/>
                    </a:lnTo>
                    <a:lnTo>
                      <a:pt x="177" y="390"/>
                    </a:lnTo>
                    <a:close/>
                    <a:moveTo>
                      <a:pt x="508" y="345"/>
                    </a:moveTo>
                    <a:lnTo>
                      <a:pt x="508" y="362"/>
                    </a:lnTo>
                    <a:lnTo>
                      <a:pt x="501" y="362"/>
                    </a:lnTo>
                    <a:lnTo>
                      <a:pt x="484" y="350"/>
                    </a:lnTo>
                    <a:lnTo>
                      <a:pt x="484" y="329"/>
                    </a:lnTo>
                    <a:lnTo>
                      <a:pt x="508" y="345"/>
                    </a:lnTo>
                    <a:lnTo>
                      <a:pt x="508" y="345"/>
                    </a:lnTo>
                    <a:lnTo>
                      <a:pt x="508" y="345"/>
                    </a:lnTo>
                    <a:close/>
                    <a:moveTo>
                      <a:pt x="664" y="350"/>
                    </a:moveTo>
                    <a:lnTo>
                      <a:pt x="659" y="366"/>
                    </a:lnTo>
                    <a:lnTo>
                      <a:pt x="631" y="350"/>
                    </a:lnTo>
                    <a:lnTo>
                      <a:pt x="643" y="345"/>
                    </a:lnTo>
                    <a:lnTo>
                      <a:pt x="664" y="350"/>
                    </a:lnTo>
                    <a:lnTo>
                      <a:pt x="664" y="350"/>
                    </a:lnTo>
                    <a:lnTo>
                      <a:pt x="664" y="350"/>
                    </a:lnTo>
                    <a:close/>
                    <a:moveTo>
                      <a:pt x="626" y="345"/>
                    </a:moveTo>
                    <a:lnTo>
                      <a:pt x="614" y="362"/>
                    </a:lnTo>
                    <a:lnTo>
                      <a:pt x="610" y="350"/>
                    </a:lnTo>
                    <a:lnTo>
                      <a:pt x="614" y="345"/>
                    </a:lnTo>
                    <a:lnTo>
                      <a:pt x="626" y="345"/>
                    </a:lnTo>
                    <a:lnTo>
                      <a:pt x="626" y="345"/>
                    </a:lnTo>
                    <a:lnTo>
                      <a:pt x="626" y="345"/>
                    </a:lnTo>
                    <a:close/>
                    <a:moveTo>
                      <a:pt x="550" y="366"/>
                    </a:moveTo>
                    <a:lnTo>
                      <a:pt x="522" y="350"/>
                    </a:lnTo>
                    <a:lnTo>
                      <a:pt x="522" y="345"/>
                    </a:lnTo>
                    <a:lnTo>
                      <a:pt x="550" y="350"/>
                    </a:lnTo>
                    <a:lnTo>
                      <a:pt x="555" y="366"/>
                    </a:lnTo>
                    <a:lnTo>
                      <a:pt x="550" y="366"/>
                    </a:lnTo>
                    <a:lnTo>
                      <a:pt x="550" y="366"/>
                    </a:lnTo>
                    <a:lnTo>
                      <a:pt x="550" y="366"/>
                    </a:lnTo>
                    <a:close/>
                    <a:moveTo>
                      <a:pt x="539" y="378"/>
                    </a:moveTo>
                    <a:lnTo>
                      <a:pt x="534" y="366"/>
                    </a:lnTo>
                    <a:lnTo>
                      <a:pt x="508" y="366"/>
                    </a:lnTo>
                    <a:lnTo>
                      <a:pt x="501" y="366"/>
                    </a:lnTo>
                    <a:lnTo>
                      <a:pt x="508" y="362"/>
                    </a:lnTo>
                    <a:lnTo>
                      <a:pt x="508" y="345"/>
                    </a:lnTo>
                    <a:lnTo>
                      <a:pt x="550" y="366"/>
                    </a:lnTo>
                    <a:lnTo>
                      <a:pt x="539" y="378"/>
                    </a:lnTo>
                    <a:lnTo>
                      <a:pt x="539" y="378"/>
                    </a:lnTo>
                    <a:lnTo>
                      <a:pt x="539" y="378"/>
                    </a:lnTo>
                    <a:close/>
                    <a:moveTo>
                      <a:pt x="572" y="350"/>
                    </a:moveTo>
                    <a:lnTo>
                      <a:pt x="572" y="362"/>
                    </a:lnTo>
                    <a:lnTo>
                      <a:pt x="560" y="345"/>
                    </a:lnTo>
                    <a:lnTo>
                      <a:pt x="572" y="350"/>
                    </a:lnTo>
                    <a:lnTo>
                      <a:pt x="572" y="350"/>
                    </a:lnTo>
                    <a:lnTo>
                      <a:pt x="572" y="350"/>
                    </a:lnTo>
                    <a:close/>
                    <a:moveTo>
                      <a:pt x="610" y="362"/>
                    </a:moveTo>
                    <a:lnTo>
                      <a:pt x="605" y="350"/>
                    </a:lnTo>
                    <a:lnTo>
                      <a:pt x="610" y="362"/>
                    </a:lnTo>
                    <a:lnTo>
                      <a:pt x="610" y="362"/>
                    </a:lnTo>
                    <a:lnTo>
                      <a:pt x="610" y="362"/>
                    </a:lnTo>
                    <a:close/>
                    <a:moveTo>
                      <a:pt x="626" y="366"/>
                    </a:moveTo>
                    <a:lnTo>
                      <a:pt x="614" y="362"/>
                    </a:lnTo>
                    <a:lnTo>
                      <a:pt x="631" y="366"/>
                    </a:lnTo>
                    <a:lnTo>
                      <a:pt x="626" y="366"/>
                    </a:lnTo>
                    <a:lnTo>
                      <a:pt x="626" y="366"/>
                    </a:lnTo>
                    <a:lnTo>
                      <a:pt x="626" y="366"/>
                    </a:lnTo>
                    <a:close/>
                    <a:moveTo>
                      <a:pt x="576" y="378"/>
                    </a:moveTo>
                    <a:lnTo>
                      <a:pt x="572" y="383"/>
                    </a:lnTo>
                    <a:lnTo>
                      <a:pt x="572" y="366"/>
                    </a:lnTo>
                    <a:lnTo>
                      <a:pt x="576" y="378"/>
                    </a:lnTo>
                    <a:lnTo>
                      <a:pt x="576" y="378"/>
                    </a:lnTo>
                    <a:lnTo>
                      <a:pt x="576" y="378"/>
                    </a:lnTo>
                    <a:close/>
                    <a:moveTo>
                      <a:pt x="631" y="378"/>
                    </a:moveTo>
                    <a:lnTo>
                      <a:pt x="626" y="378"/>
                    </a:lnTo>
                    <a:lnTo>
                      <a:pt x="631" y="366"/>
                    </a:lnTo>
                    <a:lnTo>
                      <a:pt x="631" y="378"/>
                    </a:lnTo>
                    <a:lnTo>
                      <a:pt x="631" y="378"/>
                    </a:lnTo>
                    <a:lnTo>
                      <a:pt x="631" y="378"/>
                    </a:lnTo>
                    <a:close/>
                    <a:moveTo>
                      <a:pt x="2263" y="378"/>
                    </a:moveTo>
                    <a:lnTo>
                      <a:pt x="2251" y="383"/>
                    </a:lnTo>
                    <a:lnTo>
                      <a:pt x="2251" y="378"/>
                    </a:lnTo>
                    <a:lnTo>
                      <a:pt x="2263" y="378"/>
                    </a:lnTo>
                    <a:lnTo>
                      <a:pt x="2263" y="378"/>
                    </a:lnTo>
                    <a:lnTo>
                      <a:pt x="2263" y="378"/>
                    </a:lnTo>
                    <a:close/>
                    <a:moveTo>
                      <a:pt x="560" y="383"/>
                    </a:moveTo>
                    <a:lnTo>
                      <a:pt x="555" y="390"/>
                    </a:lnTo>
                    <a:lnTo>
                      <a:pt x="555" y="378"/>
                    </a:lnTo>
                    <a:lnTo>
                      <a:pt x="560" y="383"/>
                    </a:lnTo>
                    <a:lnTo>
                      <a:pt x="560" y="383"/>
                    </a:lnTo>
                    <a:lnTo>
                      <a:pt x="560" y="383"/>
                    </a:lnTo>
                    <a:close/>
                    <a:moveTo>
                      <a:pt x="2251" y="400"/>
                    </a:moveTo>
                    <a:lnTo>
                      <a:pt x="2251" y="407"/>
                    </a:lnTo>
                    <a:lnTo>
                      <a:pt x="2251" y="400"/>
                    </a:lnTo>
                    <a:lnTo>
                      <a:pt x="2251" y="400"/>
                    </a:lnTo>
                    <a:lnTo>
                      <a:pt x="2251" y="400"/>
                    </a:lnTo>
                    <a:close/>
                    <a:moveTo>
                      <a:pt x="248" y="423"/>
                    </a:moveTo>
                    <a:lnTo>
                      <a:pt x="232" y="418"/>
                    </a:lnTo>
                    <a:lnTo>
                      <a:pt x="248" y="418"/>
                    </a:lnTo>
                    <a:lnTo>
                      <a:pt x="248" y="423"/>
                    </a:lnTo>
                    <a:lnTo>
                      <a:pt x="248" y="423"/>
                    </a:lnTo>
                    <a:lnTo>
                      <a:pt x="248" y="423"/>
                    </a:lnTo>
                    <a:close/>
                    <a:moveTo>
                      <a:pt x="2407" y="444"/>
                    </a:moveTo>
                    <a:lnTo>
                      <a:pt x="2386" y="423"/>
                    </a:lnTo>
                    <a:lnTo>
                      <a:pt x="2407" y="440"/>
                    </a:lnTo>
                    <a:lnTo>
                      <a:pt x="2407" y="444"/>
                    </a:lnTo>
                    <a:lnTo>
                      <a:pt x="2407" y="444"/>
                    </a:lnTo>
                    <a:lnTo>
                      <a:pt x="2407" y="444"/>
                    </a:lnTo>
                    <a:close/>
                    <a:moveTo>
                      <a:pt x="680" y="456"/>
                    </a:moveTo>
                    <a:lnTo>
                      <a:pt x="664" y="444"/>
                    </a:lnTo>
                    <a:lnTo>
                      <a:pt x="647" y="444"/>
                    </a:lnTo>
                    <a:lnTo>
                      <a:pt x="643" y="444"/>
                    </a:lnTo>
                    <a:lnTo>
                      <a:pt x="647" y="435"/>
                    </a:lnTo>
                    <a:lnTo>
                      <a:pt x="680" y="440"/>
                    </a:lnTo>
                    <a:lnTo>
                      <a:pt x="680" y="456"/>
                    </a:lnTo>
                    <a:lnTo>
                      <a:pt x="680" y="456"/>
                    </a:lnTo>
                    <a:lnTo>
                      <a:pt x="680" y="456"/>
                    </a:lnTo>
                    <a:close/>
                    <a:moveTo>
                      <a:pt x="232" y="456"/>
                    </a:moveTo>
                    <a:lnTo>
                      <a:pt x="215" y="435"/>
                    </a:lnTo>
                    <a:lnTo>
                      <a:pt x="227" y="435"/>
                    </a:lnTo>
                    <a:lnTo>
                      <a:pt x="232" y="456"/>
                    </a:lnTo>
                    <a:lnTo>
                      <a:pt x="232" y="456"/>
                    </a:lnTo>
                    <a:lnTo>
                      <a:pt x="232" y="456"/>
                    </a:lnTo>
                    <a:close/>
                    <a:moveTo>
                      <a:pt x="2485" y="435"/>
                    </a:moveTo>
                    <a:lnTo>
                      <a:pt x="2516" y="435"/>
                    </a:lnTo>
                    <a:lnTo>
                      <a:pt x="2532" y="440"/>
                    </a:lnTo>
                    <a:lnTo>
                      <a:pt x="2532" y="444"/>
                    </a:lnTo>
                    <a:lnTo>
                      <a:pt x="2523" y="456"/>
                    </a:lnTo>
                    <a:lnTo>
                      <a:pt x="2511" y="456"/>
                    </a:lnTo>
                    <a:lnTo>
                      <a:pt x="2478" y="435"/>
                    </a:lnTo>
                    <a:lnTo>
                      <a:pt x="2499" y="456"/>
                    </a:lnTo>
                    <a:lnTo>
                      <a:pt x="2495" y="461"/>
                    </a:lnTo>
                    <a:lnTo>
                      <a:pt x="2485" y="444"/>
                    </a:lnTo>
                    <a:lnTo>
                      <a:pt x="2478" y="456"/>
                    </a:lnTo>
                    <a:lnTo>
                      <a:pt x="2478" y="444"/>
                    </a:lnTo>
                    <a:lnTo>
                      <a:pt x="2457" y="444"/>
                    </a:lnTo>
                    <a:lnTo>
                      <a:pt x="2469" y="440"/>
                    </a:lnTo>
                    <a:lnTo>
                      <a:pt x="2461" y="440"/>
                    </a:lnTo>
                    <a:lnTo>
                      <a:pt x="2457" y="440"/>
                    </a:lnTo>
                    <a:lnTo>
                      <a:pt x="2485" y="435"/>
                    </a:lnTo>
                    <a:lnTo>
                      <a:pt x="2485" y="435"/>
                    </a:lnTo>
                    <a:lnTo>
                      <a:pt x="2485" y="435"/>
                    </a:lnTo>
                    <a:close/>
                    <a:moveTo>
                      <a:pt x="1890" y="444"/>
                    </a:moveTo>
                    <a:lnTo>
                      <a:pt x="1885" y="444"/>
                    </a:lnTo>
                    <a:lnTo>
                      <a:pt x="1890" y="444"/>
                    </a:lnTo>
                    <a:lnTo>
                      <a:pt x="1890" y="444"/>
                    </a:lnTo>
                    <a:lnTo>
                      <a:pt x="1890" y="444"/>
                    </a:lnTo>
                    <a:close/>
                    <a:moveTo>
                      <a:pt x="593" y="444"/>
                    </a:moveTo>
                    <a:lnTo>
                      <a:pt x="593" y="456"/>
                    </a:lnTo>
                    <a:lnTo>
                      <a:pt x="572" y="456"/>
                    </a:lnTo>
                    <a:lnTo>
                      <a:pt x="576" y="444"/>
                    </a:lnTo>
                    <a:lnTo>
                      <a:pt x="593" y="444"/>
                    </a:lnTo>
                    <a:lnTo>
                      <a:pt x="593" y="444"/>
                    </a:lnTo>
                    <a:lnTo>
                      <a:pt x="593" y="444"/>
                    </a:lnTo>
                    <a:close/>
                    <a:moveTo>
                      <a:pt x="227" y="461"/>
                    </a:moveTo>
                    <a:lnTo>
                      <a:pt x="227" y="473"/>
                    </a:lnTo>
                    <a:lnTo>
                      <a:pt x="215" y="473"/>
                    </a:lnTo>
                    <a:lnTo>
                      <a:pt x="227" y="444"/>
                    </a:lnTo>
                    <a:lnTo>
                      <a:pt x="227" y="461"/>
                    </a:lnTo>
                    <a:lnTo>
                      <a:pt x="227" y="461"/>
                    </a:lnTo>
                    <a:lnTo>
                      <a:pt x="227" y="461"/>
                    </a:lnTo>
                    <a:close/>
                    <a:moveTo>
                      <a:pt x="2246" y="444"/>
                    </a:moveTo>
                    <a:lnTo>
                      <a:pt x="2246" y="461"/>
                    </a:lnTo>
                    <a:lnTo>
                      <a:pt x="2242" y="461"/>
                    </a:lnTo>
                    <a:lnTo>
                      <a:pt x="2242" y="444"/>
                    </a:lnTo>
                    <a:lnTo>
                      <a:pt x="2246" y="444"/>
                    </a:lnTo>
                    <a:lnTo>
                      <a:pt x="2246" y="444"/>
                    </a:lnTo>
                    <a:lnTo>
                      <a:pt x="2246" y="444"/>
                    </a:lnTo>
                    <a:close/>
                    <a:moveTo>
                      <a:pt x="1885" y="456"/>
                    </a:moveTo>
                    <a:lnTo>
                      <a:pt x="1885" y="444"/>
                    </a:lnTo>
                    <a:lnTo>
                      <a:pt x="1885" y="456"/>
                    </a:lnTo>
                    <a:lnTo>
                      <a:pt x="1885" y="456"/>
                    </a:lnTo>
                    <a:lnTo>
                      <a:pt x="1885" y="456"/>
                    </a:lnTo>
                    <a:close/>
                    <a:moveTo>
                      <a:pt x="2263" y="444"/>
                    </a:moveTo>
                    <a:lnTo>
                      <a:pt x="2280" y="461"/>
                    </a:lnTo>
                    <a:lnTo>
                      <a:pt x="2268" y="473"/>
                    </a:lnTo>
                    <a:lnTo>
                      <a:pt x="2280" y="478"/>
                    </a:lnTo>
                    <a:lnTo>
                      <a:pt x="2284" y="478"/>
                    </a:lnTo>
                    <a:lnTo>
                      <a:pt x="2294" y="489"/>
                    </a:lnTo>
                    <a:lnTo>
                      <a:pt x="2284" y="494"/>
                    </a:lnTo>
                    <a:lnTo>
                      <a:pt x="2268" y="489"/>
                    </a:lnTo>
                    <a:lnTo>
                      <a:pt x="2263" y="489"/>
                    </a:lnTo>
                    <a:lnTo>
                      <a:pt x="2246" y="461"/>
                    </a:lnTo>
                    <a:lnTo>
                      <a:pt x="2246" y="456"/>
                    </a:lnTo>
                    <a:lnTo>
                      <a:pt x="2263" y="444"/>
                    </a:lnTo>
                    <a:lnTo>
                      <a:pt x="2263" y="444"/>
                    </a:lnTo>
                    <a:lnTo>
                      <a:pt x="2263" y="444"/>
                    </a:lnTo>
                    <a:close/>
                    <a:moveTo>
                      <a:pt x="1885" y="456"/>
                    </a:moveTo>
                    <a:lnTo>
                      <a:pt x="1869" y="456"/>
                    </a:lnTo>
                    <a:lnTo>
                      <a:pt x="1873" y="444"/>
                    </a:lnTo>
                    <a:lnTo>
                      <a:pt x="1885" y="456"/>
                    </a:lnTo>
                    <a:lnTo>
                      <a:pt x="1885" y="456"/>
                    </a:lnTo>
                    <a:lnTo>
                      <a:pt x="1885" y="456"/>
                    </a:lnTo>
                    <a:close/>
                    <a:moveTo>
                      <a:pt x="647" y="456"/>
                    </a:moveTo>
                    <a:lnTo>
                      <a:pt x="659" y="461"/>
                    </a:lnTo>
                    <a:lnTo>
                      <a:pt x="647" y="473"/>
                    </a:lnTo>
                    <a:lnTo>
                      <a:pt x="631" y="461"/>
                    </a:lnTo>
                    <a:lnTo>
                      <a:pt x="647" y="456"/>
                    </a:lnTo>
                    <a:lnTo>
                      <a:pt x="647" y="456"/>
                    </a:lnTo>
                    <a:lnTo>
                      <a:pt x="647" y="456"/>
                    </a:lnTo>
                    <a:close/>
                    <a:moveTo>
                      <a:pt x="3213" y="612"/>
                    </a:moveTo>
                    <a:lnTo>
                      <a:pt x="3213" y="884"/>
                    </a:lnTo>
                    <a:lnTo>
                      <a:pt x="3203" y="905"/>
                    </a:lnTo>
                    <a:lnTo>
                      <a:pt x="3203" y="922"/>
                    </a:lnTo>
                    <a:lnTo>
                      <a:pt x="3213" y="922"/>
                    </a:lnTo>
                    <a:lnTo>
                      <a:pt x="3213" y="1089"/>
                    </a:lnTo>
                    <a:lnTo>
                      <a:pt x="3142" y="1016"/>
                    </a:lnTo>
                    <a:lnTo>
                      <a:pt x="3149" y="995"/>
                    </a:lnTo>
                    <a:lnTo>
                      <a:pt x="3132" y="1016"/>
                    </a:lnTo>
                    <a:lnTo>
                      <a:pt x="3095" y="1016"/>
                    </a:lnTo>
                    <a:lnTo>
                      <a:pt x="3090" y="1011"/>
                    </a:lnTo>
                    <a:lnTo>
                      <a:pt x="3061" y="1028"/>
                    </a:lnTo>
                    <a:lnTo>
                      <a:pt x="3057" y="1016"/>
                    </a:lnTo>
                    <a:lnTo>
                      <a:pt x="3078" y="978"/>
                    </a:lnTo>
                    <a:lnTo>
                      <a:pt x="3052" y="945"/>
                    </a:lnTo>
                    <a:lnTo>
                      <a:pt x="3073" y="955"/>
                    </a:lnTo>
                    <a:lnTo>
                      <a:pt x="3090" y="945"/>
                    </a:lnTo>
                    <a:lnTo>
                      <a:pt x="3073" y="945"/>
                    </a:lnTo>
                    <a:lnTo>
                      <a:pt x="3057" y="945"/>
                    </a:lnTo>
                    <a:lnTo>
                      <a:pt x="3040" y="933"/>
                    </a:lnTo>
                    <a:lnTo>
                      <a:pt x="3061" y="922"/>
                    </a:lnTo>
                    <a:lnTo>
                      <a:pt x="3078" y="933"/>
                    </a:lnTo>
                    <a:lnTo>
                      <a:pt x="3052" y="917"/>
                    </a:lnTo>
                    <a:lnTo>
                      <a:pt x="3052" y="905"/>
                    </a:lnTo>
                    <a:lnTo>
                      <a:pt x="3024" y="884"/>
                    </a:lnTo>
                    <a:lnTo>
                      <a:pt x="3019" y="851"/>
                    </a:lnTo>
                    <a:lnTo>
                      <a:pt x="3007" y="844"/>
                    </a:lnTo>
                    <a:lnTo>
                      <a:pt x="3024" y="834"/>
                    </a:lnTo>
                    <a:lnTo>
                      <a:pt x="3002" y="844"/>
                    </a:lnTo>
                    <a:lnTo>
                      <a:pt x="3002" y="822"/>
                    </a:lnTo>
                    <a:lnTo>
                      <a:pt x="2998" y="822"/>
                    </a:lnTo>
                    <a:lnTo>
                      <a:pt x="2948" y="789"/>
                    </a:lnTo>
                    <a:lnTo>
                      <a:pt x="2915" y="778"/>
                    </a:lnTo>
                    <a:lnTo>
                      <a:pt x="2856" y="756"/>
                    </a:lnTo>
                    <a:lnTo>
                      <a:pt x="2802" y="749"/>
                    </a:lnTo>
                    <a:lnTo>
                      <a:pt x="2764" y="723"/>
                    </a:lnTo>
                    <a:lnTo>
                      <a:pt x="2771" y="711"/>
                    </a:lnTo>
                    <a:lnTo>
                      <a:pt x="2787" y="711"/>
                    </a:lnTo>
                    <a:lnTo>
                      <a:pt x="2764" y="711"/>
                    </a:lnTo>
                    <a:lnTo>
                      <a:pt x="2754" y="716"/>
                    </a:lnTo>
                    <a:lnTo>
                      <a:pt x="2750" y="711"/>
                    </a:lnTo>
                    <a:lnTo>
                      <a:pt x="2738" y="716"/>
                    </a:lnTo>
                    <a:lnTo>
                      <a:pt x="2733" y="716"/>
                    </a:lnTo>
                    <a:lnTo>
                      <a:pt x="2733" y="700"/>
                    </a:lnTo>
                    <a:lnTo>
                      <a:pt x="2717" y="700"/>
                    </a:lnTo>
                    <a:lnTo>
                      <a:pt x="2712" y="683"/>
                    </a:lnTo>
                    <a:lnTo>
                      <a:pt x="2700" y="695"/>
                    </a:lnTo>
                    <a:lnTo>
                      <a:pt x="2695" y="678"/>
                    </a:lnTo>
                    <a:lnTo>
                      <a:pt x="2700" y="662"/>
                    </a:lnTo>
                    <a:lnTo>
                      <a:pt x="2712" y="655"/>
                    </a:lnTo>
                    <a:lnTo>
                      <a:pt x="2712" y="645"/>
                    </a:lnTo>
                    <a:lnTo>
                      <a:pt x="2695" y="655"/>
                    </a:lnTo>
                    <a:lnTo>
                      <a:pt x="2695" y="678"/>
                    </a:lnTo>
                    <a:lnTo>
                      <a:pt x="2683" y="678"/>
                    </a:lnTo>
                    <a:lnTo>
                      <a:pt x="2683" y="683"/>
                    </a:lnTo>
                    <a:lnTo>
                      <a:pt x="2679" y="700"/>
                    </a:lnTo>
                    <a:lnTo>
                      <a:pt x="2679" y="711"/>
                    </a:lnTo>
                    <a:lnTo>
                      <a:pt x="2662" y="723"/>
                    </a:lnTo>
                    <a:lnTo>
                      <a:pt x="2641" y="723"/>
                    </a:lnTo>
                    <a:lnTo>
                      <a:pt x="2629" y="695"/>
                    </a:lnTo>
                    <a:lnTo>
                      <a:pt x="2641" y="683"/>
                    </a:lnTo>
                    <a:lnTo>
                      <a:pt x="2641" y="678"/>
                    </a:lnTo>
                    <a:lnTo>
                      <a:pt x="2629" y="666"/>
                    </a:lnTo>
                    <a:lnTo>
                      <a:pt x="2624" y="666"/>
                    </a:lnTo>
                    <a:lnTo>
                      <a:pt x="2620" y="655"/>
                    </a:lnTo>
                    <a:lnTo>
                      <a:pt x="2603" y="638"/>
                    </a:lnTo>
                    <a:lnTo>
                      <a:pt x="2587" y="645"/>
                    </a:lnTo>
                    <a:lnTo>
                      <a:pt x="2575" y="629"/>
                    </a:lnTo>
                    <a:lnTo>
                      <a:pt x="2603" y="622"/>
                    </a:lnTo>
                    <a:lnTo>
                      <a:pt x="2629" y="629"/>
                    </a:lnTo>
                    <a:lnTo>
                      <a:pt x="2646" y="605"/>
                    </a:lnTo>
                    <a:lnTo>
                      <a:pt x="2662" y="605"/>
                    </a:lnTo>
                    <a:lnTo>
                      <a:pt x="2683" y="612"/>
                    </a:lnTo>
                    <a:lnTo>
                      <a:pt x="2695" y="612"/>
                    </a:lnTo>
                    <a:lnTo>
                      <a:pt x="2695" y="622"/>
                    </a:lnTo>
                    <a:lnTo>
                      <a:pt x="2700" y="605"/>
                    </a:lnTo>
                    <a:lnTo>
                      <a:pt x="2712" y="622"/>
                    </a:lnTo>
                    <a:lnTo>
                      <a:pt x="2700" y="605"/>
                    </a:lnTo>
                    <a:lnTo>
                      <a:pt x="2717" y="600"/>
                    </a:lnTo>
                    <a:lnTo>
                      <a:pt x="2717" y="589"/>
                    </a:lnTo>
                    <a:lnTo>
                      <a:pt x="2712" y="600"/>
                    </a:lnTo>
                    <a:lnTo>
                      <a:pt x="2700" y="589"/>
                    </a:lnTo>
                    <a:lnTo>
                      <a:pt x="2717" y="584"/>
                    </a:lnTo>
                    <a:lnTo>
                      <a:pt x="2695" y="589"/>
                    </a:lnTo>
                    <a:lnTo>
                      <a:pt x="2674" y="589"/>
                    </a:lnTo>
                    <a:lnTo>
                      <a:pt x="2624" y="600"/>
                    </a:lnTo>
                    <a:lnTo>
                      <a:pt x="2620" y="589"/>
                    </a:lnTo>
                    <a:lnTo>
                      <a:pt x="2603" y="589"/>
                    </a:lnTo>
                    <a:lnTo>
                      <a:pt x="2575" y="584"/>
                    </a:lnTo>
                    <a:lnTo>
                      <a:pt x="2570" y="551"/>
                    </a:lnTo>
                    <a:lnTo>
                      <a:pt x="2523" y="527"/>
                    </a:lnTo>
                    <a:lnTo>
                      <a:pt x="2532" y="534"/>
                    </a:lnTo>
                    <a:lnTo>
                      <a:pt x="2523" y="534"/>
                    </a:lnTo>
                    <a:lnTo>
                      <a:pt x="2511" y="527"/>
                    </a:lnTo>
                    <a:lnTo>
                      <a:pt x="2523" y="511"/>
                    </a:lnTo>
                    <a:lnTo>
                      <a:pt x="2523" y="489"/>
                    </a:lnTo>
                    <a:lnTo>
                      <a:pt x="2570" y="478"/>
                    </a:lnTo>
                    <a:lnTo>
                      <a:pt x="2587" y="461"/>
                    </a:lnTo>
                    <a:lnTo>
                      <a:pt x="2608" y="456"/>
                    </a:lnTo>
                    <a:lnTo>
                      <a:pt x="2662" y="473"/>
                    </a:lnTo>
                    <a:lnTo>
                      <a:pt x="2679" y="478"/>
                    </a:lnTo>
                    <a:lnTo>
                      <a:pt x="2717" y="478"/>
                    </a:lnTo>
                    <a:lnTo>
                      <a:pt x="2726" y="489"/>
                    </a:lnTo>
                    <a:lnTo>
                      <a:pt x="2717" y="494"/>
                    </a:lnTo>
                    <a:lnTo>
                      <a:pt x="2738" y="527"/>
                    </a:lnTo>
                    <a:lnTo>
                      <a:pt x="2726" y="551"/>
                    </a:lnTo>
                    <a:lnTo>
                      <a:pt x="2733" y="600"/>
                    </a:lnTo>
                    <a:lnTo>
                      <a:pt x="2750" y="638"/>
                    </a:lnTo>
                    <a:lnTo>
                      <a:pt x="2754" y="629"/>
                    </a:lnTo>
                    <a:lnTo>
                      <a:pt x="2754" y="612"/>
                    </a:lnTo>
                    <a:lnTo>
                      <a:pt x="2754" y="605"/>
                    </a:lnTo>
                    <a:lnTo>
                      <a:pt x="2764" y="605"/>
                    </a:lnTo>
                    <a:lnTo>
                      <a:pt x="2771" y="645"/>
                    </a:lnTo>
                    <a:lnTo>
                      <a:pt x="2780" y="638"/>
                    </a:lnTo>
                    <a:lnTo>
                      <a:pt x="2780" y="655"/>
                    </a:lnTo>
                    <a:lnTo>
                      <a:pt x="2780" y="662"/>
                    </a:lnTo>
                    <a:lnTo>
                      <a:pt x="2792" y="666"/>
                    </a:lnTo>
                    <a:lnTo>
                      <a:pt x="2825" y="666"/>
                    </a:lnTo>
                    <a:lnTo>
                      <a:pt x="2856" y="645"/>
                    </a:lnTo>
                    <a:lnTo>
                      <a:pt x="2863" y="622"/>
                    </a:lnTo>
                    <a:lnTo>
                      <a:pt x="2877" y="612"/>
                    </a:lnTo>
                    <a:lnTo>
                      <a:pt x="2889" y="589"/>
                    </a:lnTo>
                    <a:lnTo>
                      <a:pt x="2910" y="589"/>
                    </a:lnTo>
                    <a:lnTo>
                      <a:pt x="2943" y="584"/>
                    </a:lnTo>
                    <a:lnTo>
                      <a:pt x="2943" y="555"/>
                    </a:lnTo>
                    <a:lnTo>
                      <a:pt x="2986" y="534"/>
                    </a:lnTo>
                    <a:lnTo>
                      <a:pt x="3128" y="600"/>
                    </a:lnTo>
                    <a:lnTo>
                      <a:pt x="3149" y="600"/>
                    </a:lnTo>
                    <a:lnTo>
                      <a:pt x="3165" y="605"/>
                    </a:lnTo>
                    <a:lnTo>
                      <a:pt x="3187" y="605"/>
                    </a:lnTo>
                    <a:lnTo>
                      <a:pt x="3187" y="622"/>
                    </a:lnTo>
                    <a:lnTo>
                      <a:pt x="3213" y="612"/>
                    </a:lnTo>
                    <a:lnTo>
                      <a:pt x="3213" y="612"/>
                    </a:lnTo>
                    <a:lnTo>
                      <a:pt x="3213" y="612"/>
                    </a:lnTo>
                    <a:close/>
                    <a:moveTo>
                      <a:pt x="1869" y="461"/>
                    </a:moveTo>
                    <a:lnTo>
                      <a:pt x="1852" y="473"/>
                    </a:lnTo>
                    <a:lnTo>
                      <a:pt x="1864" y="456"/>
                    </a:lnTo>
                    <a:lnTo>
                      <a:pt x="1869" y="461"/>
                    </a:lnTo>
                    <a:lnTo>
                      <a:pt x="1869" y="461"/>
                    </a:lnTo>
                    <a:lnTo>
                      <a:pt x="1869" y="461"/>
                    </a:lnTo>
                    <a:close/>
                    <a:moveTo>
                      <a:pt x="2485" y="456"/>
                    </a:moveTo>
                    <a:lnTo>
                      <a:pt x="2485" y="461"/>
                    </a:lnTo>
                    <a:lnTo>
                      <a:pt x="2469" y="461"/>
                    </a:lnTo>
                    <a:lnTo>
                      <a:pt x="2485" y="456"/>
                    </a:lnTo>
                    <a:lnTo>
                      <a:pt x="2485" y="456"/>
                    </a:lnTo>
                    <a:lnTo>
                      <a:pt x="2485" y="456"/>
                    </a:lnTo>
                    <a:close/>
                    <a:moveTo>
                      <a:pt x="2246" y="473"/>
                    </a:moveTo>
                    <a:lnTo>
                      <a:pt x="2246" y="489"/>
                    </a:lnTo>
                    <a:lnTo>
                      <a:pt x="2242" y="489"/>
                    </a:lnTo>
                    <a:lnTo>
                      <a:pt x="2246" y="473"/>
                    </a:lnTo>
                    <a:lnTo>
                      <a:pt x="2246" y="473"/>
                    </a:lnTo>
                    <a:lnTo>
                      <a:pt x="2246" y="473"/>
                    </a:lnTo>
                    <a:close/>
                    <a:moveTo>
                      <a:pt x="2818" y="478"/>
                    </a:moveTo>
                    <a:lnTo>
                      <a:pt x="2839" y="478"/>
                    </a:lnTo>
                    <a:lnTo>
                      <a:pt x="2846" y="478"/>
                    </a:lnTo>
                    <a:lnTo>
                      <a:pt x="2872" y="501"/>
                    </a:lnTo>
                    <a:lnTo>
                      <a:pt x="2889" y="511"/>
                    </a:lnTo>
                    <a:lnTo>
                      <a:pt x="2872" y="518"/>
                    </a:lnTo>
                    <a:lnTo>
                      <a:pt x="2846" y="511"/>
                    </a:lnTo>
                    <a:lnTo>
                      <a:pt x="2839" y="489"/>
                    </a:lnTo>
                    <a:lnTo>
                      <a:pt x="2835" y="494"/>
                    </a:lnTo>
                    <a:lnTo>
                      <a:pt x="2825" y="489"/>
                    </a:lnTo>
                    <a:lnTo>
                      <a:pt x="2818" y="478"/>
                    </a:lnTo>
                    <a:lnTo>
                      <a:pt x="2818" y="478"/>
                    </a:lnTo>
                    <a:lnTo>
                      <a:pt x="2818" y="478"/>
                    </a:lnTo>
                    <a:close/>
                    <a:moveTo>
                      <a:pt x="2495" y="489"/>
                    </a:moveTo>
                    <a:lnTo>
                      <a:pt x="2499" y="489"/>
                    </a:lnTo>
                    <a:lnTo>
                      <a:pt x="2495" y="489"/>
                    </a:lnTo>
                    <a:lnTo>
                      <a:pt x="2461" y="494"/>
                    </a:lnTo>
                    <a:lnTo>
                      <a:pt x="2469" y="489"/>
                    </a:lnTo>
                    <a:lnTo>
                      <a:pt x="2495" y="489"/>
                    </a:lnTo>
                    <a:lnTo>
                      <a:pt x="2495" y="489"/>
                    </a:lnTo>
                    <a:lnTo>
                      <a:pt x="2495" y="489"/>
                    </a:lnTo>
                    <a:close/>
                    <a:moveTo>
                      <a:pt x="2499" y="494"/>
                    </a:moveTo>
                    <a:lnTo>
                      <a:pt x="2516" y="494"/>
                    </a:lnTo>
                    <a:lnTo>
                      <a:pt x="2511" y="527"/>
                    </a:lnTo>
                    <a:lnTo>
                      <a:pt x="2495" y="518"/>
                    </a:lnTo>
                    <a:lnTo>
                      <a:pt x="2485" y="501"/>
                    </a:lnTo>
                    <a:lnTo>
                      <a:pt x="2499" y="494"/>
                    </a:lnTo>
                    <a:lnTo>
                      <a:pt x="2499" y="494"/>
                    </a:lnTo>
                    <a:lnTo>
                      <a:pt x="2499" y="494"/>
                    </a:lnTo>
                    <a:close/>
                    <a:moveTo>
                      <a:pt x="286" y="551"/>
                    </a:moveTo>
                    <a:lnTo>
                      <a:pt x="279" y="546"/>
                    </a:lnTo>
                    <a:lnTo>
                      <a:pt x="279" y="555"/>
                    </a:lnTo>
                    <a:lnTo>
                      <a:pt x="269" y="555"/>
                    </a:lnTo>
                    <a:lnTo>
                      <a:pt x="248" y="546"/>
                    </a:lnTo>
                    <a:lnTo>
                      <a:pt x="232" y="511"/>
                    </a:lnTo>
                    <a:lnTo>
                      <a:pt x="236" y="494"/>
                    </a:lnTo>
                    <a:lnTo>
                      <a:pt x="253" y="494"/>
                    </a:lnTo>
                    <a:lnTo>
                      <a:pt x="286" y="551"/>
                    </a:lnTo>
                    <a:lnTo>
                      <a:pt x="286" y="551"/>
                    </a:lnTo>
                    <a:lnTo>
                      <a:pt x="286" y="551"/>
                    </a:lnTo>
                    <a:close/>
                    <a:moveTo>
                      <a:pt x="2780" y="494"/>
                    </a:moveTo>
                    <a:lnTo>
                      <a:pt x="2787" y="501"/>
                    </a:lnTo>
                    <a:lnTo>
                      <a:pt x="2780" y="511"/>
                    </a:lnTo>
                    <a:lnTo>
                      <a:pt x="2771" y="501"/>
                    </a:lnTo>
                    <a:lnTo>
                      <a:pt x="2780" y="494"/>
                    </a:lnTo>
                    <a:lnTo>
                      <a:pt x="2780" y="494"/>
                    </a:lnTo>
                    <a:lnTo>
                      <a:pt x="2780" y="494"/>
                    </a:lnTo>
                    <a:close/>
                    <a:moveTo>
                      <a:pt x="1021" y="501"/>
                    </a:moveTo>
                    <a:lnTo>
                      <a:pt x="1021" y="511"/>
                    </a:lnTo>
                    <a:lnTo>
                      <a:pt x="999" y="518"/>
                    </a:lnTo>
                    <a:lnTo>
                      <a:pt x="999" y="501"/>
                    </a:lnTo>
                    <a:lnTo>
                      <a:pt x="1021" y="501"/>
                    </a:lnTo>
                    <a:lnTo>
                      <a:pt x="1021" y="501"/>
                    </a:lnTo>
                    <a:lnTo>
                      <a:pt x="1021" y="501"/>
                    </a:lnTo>
                    <a:close/>
                    <a:moveTo>
                      <a:pt x="2431" y="511"/>
                    </a:moveTo>
                    <a:lnTo>
                      <a:pt x="2414" y="518"/>
                    </a:lnTo>
                    <a:lnTo>
                      <a:pt x="2431" y="511"/>
                    </a:lnTo>
                    <a:lnTo>
                      <a:pt x="2431" y="511"/>
                    </a:lnTo>
                    <a:lnTo>
                      <a:pt x="2431" y="511"/>
                    </a:lnTo>
                    <a:close/>
                    <a:moveTo>
                      <a:pt x="1982" y="518"/>
                    </a:moveTo>
                    <a:lnTo>
                      <a:pt x="1977" y="534"/>
                    </a:lnTo>
                    <a:lnTo>
                      <a:pt x="1970" y="534"/>
                    </a:lnTo>
                    <a:lnTo>
                      <a:pt x="1961" y="546"/>
                    </a:lnTo>
                    <a:lnTo>
                      <a:pt x="1954" y="546"/>
                    </a:lnTo>
                    <a:lnTo>
                      <a:pt x="1961" y="534"/>
                    </a:lnTo>
                    <a:lnTo>
                      <a:pt x="1954" y="527"/>
                    </a:lnTo>
                    <a:lnTo>
                      <a:pt x="1939" y="546"/>
                    </a:lnTo>
                    <a:lnTo>
                      <a:pt x="1928" y="534"/>
                    </a:lnTo>
                    <a:lnTo>
                      <a:pt x="1939" y="511"/>
                    </a:lnTo>
                    <a:lnTo>
                      <a:pt x="1961" y="511"/>
                    </a:lnTo>
                    <a:lnTo>
                      <a:pt x="1961" y="527"/>
                    </a:lnTo>
                    <a:lnTo>
                      <a:pt x="1977" y="518"/>
                    </a:lnTo>
                    <a:lnTo>
                      <a:pt x="1982" y="518"/>
                    </a:lnTo>
                    <a:lnTo>
                      <a:pt x="1982" y="518"/>
                    </a:lnTo>
                    <a:lnTo>
                      <a:pt x="1982" y="518"/>
                    </a:lnTo>
                    <a:close/>
                    <a:moveTo>
                      <a:pt x="2268" y="511"/>
                    </a:moveTo>
                    <a:lnTo>
                      <a:pt x="2268" y="518"/>
                    </a:lnTo>
                    <a:lnTo>
                      <a:pt x="2263" y="518"/>
                    </a:lnTo>
                    <a:lnTo>
                      <a:pt x="2268" y="511"/>
                    </a:lnTo>
                    <a:lnTo>
                      <a:pt x="2268" y="511"/>
                    </a:lnTo>
                    <a:lnTo>
                      <a:pt x="2268" y="511"/>
                    </a:lnTo>
                    <a:close/>
                    <a:moveTo>
                      <a:pt x="2251" y="546"/>
                    </a:moveTo>
                    <a:lnTo>
                      <a:pt x="2263" y="534"/>
                    </a:lnTo>
                    <a:lnTo>
                      <a:pt x="2268" y="527"/>
                    </a:lnTo>
                    <a:lnTo>
                      <a:pt x="2306" y="551"/>
                    </a:lnTo>
                    <a:lnTo>
                      <a:pt x="2301" y="551"/>
                    </a:lnTo>
                    <a:lnTo>
                      <a:pt x="2268" y="551"/>
                    </a:lnTo>
                    <a:lnTo>
                      <a:pt x="2251" y="551"/>
                    </a:lnTo>
                    <a:lnTo>
                      <a:pt x="2251" y="546"/>
                    </a:lnTo>
                    <a:lnTo>
                      <a:pt x="2251" y="546"/>
                    </a:lnTo>
                    <a:lnTo>
                      <a:pt x="2251" y="546"/>
                    </a:lnTo>
                    <a:close/>
                    <a:moveTo>
                      <a:pt x="803" y="645"/>
                    </a:moveTo>
                    <a:lnTo>
                      <a:pt x="803" y="655"/>
                    </a:lnTo>
                    <a:lnTo>
                      <a:pt x="787" y="655"/>
                    </a:lnTo>
                    <a:lnTo>
                      <a:pt x="787" y="645"/>
                    </a:lnTo>
                    <a:lnTo>
                      <a:pt x="749" y="629"/>
                    </a:lnTo>
                    <a:lnTo>
                      <a:pt x="749" y="622"/>
                    </a:lnTo>
                    <a:lnTo>
                      <a:pt x="749" y="605"/>
                    </a:lnTo>
                    <a:lnTo>
                      <a:pt x="739" y="600"/>
                    </a:lnTo>
                    <a:lnTo>
                      <a:pt x="735" y="584"/>
                    </a:lnTo>
                    <a:lnTo>
                      <a:pt x="697" y="572"/>
                    </a:lnTo>
                    <a:lnTo>
                      <a:pt x="697" y="567"/>
                    </a:lnTo>
                    <a:lnTo>
                      <a:pt x="711" y="555"/>
                    </a:lnTo>
                    <a:lnTo>
                      <a:pt x="711" y="551"/>
                    </a:lnTo>
                    <a:lnTo>
                      <a:pt x="711" y="546"/>
                    </a:lnTo>
                    <a:lnTo>
                      <a:pt x="723" y="546"/>
                    </a:lnTo>
                    <a:lnTo>
                      <a:pt x="735" y="551"/>
                    </a:lnTo>
                    <a:lnTo>
                      <a:pt x="739" y="555"/>
                    </a:lnTo>
                    <a:lnTo>
                      <a:pt x="735" y="546"/>
                    </a:lnTo>
                    <a:lnTo>
                      <a:pt x="749" y="534"/>
                    </a:lnTo>
                    <a:lnTo>
                      <a:pt x="756" y="546"/>
                    </a:lnTo>
                    <a:lnTo>
                      <a:pt x="773" y="600"/>
                    </a:lnTo>
                    <a:lnTo>
                      <a:pt x="810" y="612"/>
                    </a:lnTo>
                    <a:lnTo>
                      <a:pt x="794" y="638"/>
                    </a:lnTo>
                    <a:lnTo>
                      <a:pt x="803" y="645"/>
                    </a:lnTo>
                    <a:lnTo>
                      <a:pt x="803" y="645"/>
                    </a:lnTo>
                    <a:lnTo>
                      <a:pt x="803" y="645"/>
                    </a:lnTo>
                    <a:close/>
                    <a:moveTo>
                      <a:pt x="966" y="546"/>
                    </a:moveTo>
                    <a:lnTo>
                      <a:pt x="954" y="551"/>
                    </a:lnTo>
                    <a:lnTo>
                      <a:pt x="950" y="546"/>
                    </a:lnTo>
                    <a:lnTo>
                      <a:pt x="966" y="546"/>
                    </a:lnTo>
                    <a:lnTo>
                      <a:pt x="966" y="546"/>
                    </a:lnTo>
                    <a:lnTo>
                      <a:pt x="966" y="546"/>
                    </a:lnTo>
                    <a:close/>
                    <a:moveTo>
                      <a:pt x="2825" y="546"/>
                    </a:moveTo>
                    <a:lnTo>
                      <a:pt x="2927" y="555"/>
                    </a:lnTo>
                    <a:lnTo>
                      <a:pt x="2894" y="567"/>
                    </a:lnTo>
                    <a:lnTo>
                      <a:pt x="2872" y="567"/>
                    </a:lnTo>
                    <a:lnTo>
                      <a:pt x="2818" y="546"/>
                    </a:lnTo>
                    <a:lnTo>
                      <a:pt x="2825" y="546"/>
                    </a:lnTo>
                    <a:lnTo>
                      <a:pt x="2825" y="546"/>
                    </a:lnTo>
                    <a:lnTo>
                      <a:pt x="2825" y="546"/>
                    </a:lnTo>
                    <a:close/>
                    <a:moveTo>
                      <a:pt x="2046" y="551"/>
                    </a:moveTo>
                    <a:lnTo>
                      <a:pt x="2100" y="551"/>
                    </a:lnTo>
                    <a:lnTo>
                      <a:pt x="2105" y="551"/>
                    </a:lnTo>
                    <a:lnTo>
                      <a:pt x="2105" y="567"/>
                    </a:lnTo>
                    <a:lnTo>
                      <a:pt x="2079" y="567"/>
                    </a:lnTo>
                    <a:lnTo>
                      <a:pt x="2046" y="572"/>
                    </a:lnTo>
                    <a:lnTo>
                      <a:pt x="2036" y="555"/>
                    </a:lnTo>
                    <a:lnTo>
                      <a:pt x="2046" y="551"/>
                    </a:lnTo>
                    <a:lnTo>
                      <a:pt x="2046" y="551"/>
                    </a:lnTo>
                    <a:lnTo>
                      <a:pt x="2046" y="551"/>
                    </a:lnTo>
                    <a:close/>
                    <a:moveTo>
                      <a:pt x="2461" y="551"/>
                    </a:moveTo>
                    <a:lnTo>
                      <a:pt x="2469" y="555"/>
                    </a:lnTo>
                    <a:lnTo>
                      <a:pt x="2461" y="572"/>
                    </a:lnTo>
                    <a:lnTo>
                      <a:pt x="2445" y="572"/>
                    </a:lnTo>
                    <a:lnTo>
                      <a:pt x="2414" y="567"/>
                    </a:lnTo>
                    <a:lnTo>
                      <a:pt x="2461" y="551"/>
                    </a:lnTo>
                    <a:lnTo>
                      <a:pt x="2461" y="551"/>
                    </a:lnTo>
                    <a:lnTo>
                      <a:pt x="2461" y="551"/>
                    </a:lnTo>
                    <a:close/>
                    <a:moveTo>
                      <a:pt x="1961" y="555"/>
                    </a:moveTo>
                    <a:lnTo>
                      <a:pt x="1954" y="567"/>
                    </a:lnTo>
                    <a:lnTo>
                      <a:pt x="1954" y="555"/>
                    </a:lnTo>
                    <a:lnTo>
                      <a:pt x="1961" y="555"/>
                    </a:lnTo>
                    <a:lnTo>
                      <a:pt x="1961" y="555"/>
                    </a:lnTo>
                    <a:lnTo>
                      <a:pt x="1961" y="555"/>
                    </a:lnTo>
                    <a:close/>
                    <a:moveTo>
                      <a:pt x="2117" y="555"/>
                    </a:moveTo>
                    <a:lnTo>
                      <a:pt x="2187" y="555"/>
                    </a:lnTo>
                    <a:lnTo>
                      <a:pt x="2121" y="567"/>
                    </a:lnTo>
                    <a:lnTo>
                      <a:pt x="2105" y="567"/>
                    </a:lnTo>
                    <a:lnTo>
                      <a:pt x="2117" y="555"/>
                    </a:lnTo>
                    <a:lnTo>
                      <a:pt x="2117" y="555"/>
                    </a:lnTo>
                    <a:lnTo>
                      <a:pt x="2117" y="555"/>
                    </a:lnTo>
                    <a:close/>
                    <a:moveTo>
                      <a:pt x="2008" y="567"/>
                    </a:moveTo>
                    <a:lnTo>
                      <a:pt x="2008" y="572"/>
                    </a:lnTo>
                    <a:lnTo>
                      <a:pt x="1998" y="567"/>
                    </a:lnTo>
                    <a:lnTo>
                      <a:pt x="2008" y="567"/>
                    </a:lnTo>
                    <a:lnTo>
                      <a:pt x="2008" y="567"/>
                    </a:lnTo>
                    <a:lnTo>
                      <a:pt x="2008" y="567"/>
                    </a:lnTo>
                    <a:close/>
                    <a:moveTo>
                      <a:pt x="2154" y="572"/>
                    </a:moveTo>
                    <a:lnTo>
                      <a:pt x="2159" y="605"/>
                    </a:lnTo>
                    <a:lnTo>
                      <a:pt x="2143" y="584"/>
                    </a:lnTo>
                    <a:lnTo>
                      <a:pt x="2154" y="572"/>
                    </a:lnTo>
                    <a:lnTo>
                      <a:pt x="2154" y="572"/>
                    </a:lnTo>
                    <a:lnTo>
                      <a:pt x="2154" y="572"/>
                    </a:lnTo>
                    <a:close/>
                    <a:moveTo>
                      <a:pt x="324" y="600"/>
                    </a:moveTo>
                    <a:lnTo>
                      <a:pt x="302" y="589"/>
                    </a:lnTo>
                    <a:lnTo>
                      <a:pt x="302" y="572"/>
                    </a:lnTo>
                    <a:lnTo>
                      <a:pt x="307" y="572"/>
                    </a:lnTo>
                    <a:lnTo>
                      <a:pt x="324" y="600"/>
                    </a:lnTo>
                    <a:lnTo>
                      <a:pt x="324" y="600"/>
                    </a:lnTo>
                    <a:lnTo>
                      <a:pt x="324" y="600"/>
                    </a:lnTo>
                    <a:close/>
                    <a:moveTo>
                      <a:pt x="345" y="629"/>
                    </a:moveTo>
                    <a:lnTo>
                      <a:pt x="333" y="629"/>
                    </a:lnTo>
                    <a:lnTo>
                      <a:pt x="333" y="605"/>
                    </a:lnTo>
                    <a:lnTo>
                      <a:pt x="345" y="629"/>
                    </a:lnTo>
                    <a:lnTo>
                      <a:pt x="345" y="629"/>
                    </a:lnTo>
                    <a:lnTo>
                      <a:pt x="345" y="629"/>
                    </a:lnTo>
                    <a:close/>
                    <a:moveTo>
                      <a:pt x="862" y="629"/>
                    </a:moveTo>
                    <a:lnTo>
                      <a:pt x="874" y="612"/>
                    </a:lnTo>
                    <a:lnTo>
                      <a:pt x="879" y="612"/>
                    </a:lnTo>
                    <a:lnTo>
                      <a:pt x="900" y="612"/>
                    </a:lnTo>
                    <a:lnTo>
                      <a:pt x="917" y="638"/>
                    </a:lnTo>
                    <a:lnTo>
                      <a:pt x="900" y="662"/>
                    </a:lnTo>
                    <a:lnTo>
                      <a:pt x="895" y="662"/>
                    </a:lnTo>
                    <a:lnTo>
                      <a:pt x="891" y="645"/>
                    </a:lnTo>
                    <a:lnTo>
                      <a:pt x="879" y="655"/>
                    </a:lnTo>
                    <a:lnTo>
                      <a:pt x="862" y="662"/>
                    </a:lnTo>
                    <a:lnTo>
                      <a:pt x="862" y="629"/>
                    </a:lnTo>
                    <a:lnTo>
                      <a:pt x="862" y="629"/>
                    </a:lnTo>
                    <a:lnTo>
                      <a:pt x="862" y="629"/>
                    </a:lnTo>
                    <a:close/>
                    <a:moveTo>
                      <a:pt x="361" y="666"/>
                    </a:moveTo>
                    <a:lnTo>
                      <a:pt x="345" y="645"/>
                    </a:lnTo>
                    <a:lnTo>
                      <a:pt x="345" y="629"/>
                    </a:lnTo>
                    <a:lnTo>
                      <a:pt x="361" y="645"/>
                    </a:lnTo>
                    <a:lnTo>
                      <a:pt x="361" y="655"/>
                    </a:lnTo>
                    <a:lnTo>
                      <a:pt x="361" y="666"/>
                    </a:lnTo>
                    <a:lnTo>
                      <a:pt x="361" y="666"/>
                    </a:lnTo>
                    <a:lnTo>
                      <a:pt x="361" y="666"/>
                    </a:lnTo>
                    <a:close/>
                    <a:moveTo>
                      <a:pt x="2294" y="683"/>
                    </a:moveTo>
                    <a:lnTo>
                      <a:pt x="2284" y="662"/>
                    </a:lnTo>
                    <a:lnTo>
                      <a:pt x="2306" y="638"/>
                    </a:lnTo>
                    <a:lnTo>
                      <a:pt x="2360" y="638"/>
                    </a:lnTo>
                    <a:lnTo>
                      <a:pt x="2376" y="645"/>
                    </a:lnTo>
                    <a:lnTo>
                      <a:pt x="2407" y="629"/>
                    </a:lnTo>
                    <a:lnTo>
                      <a:pt x="2440" y="645"/>
                    </a:lnTo>
                    <a:lnTo>
                      <a:pt x="2461" y="645"/>
                    </a:lnTo>
                    <a:lnTo>
                      <a:pt x="2478" y="655"/>
                    </a:lnTo>
                    <a:lnTo>
                      <a:pt x="2485" y="666"/>
                    </a:lnTo>
                    <a:lnTo>
                      <a:pt x="2495" y="678"/>
                    </a:lnTo>
                    <a:lnTo>
                      <a:pt x="2499" y="683"/>
                    </a:lnTo>
                    <a:lnTo>
                      <a:pt x="2495" y="711"/>
                    </a:lnTo>
                    <a:lnTo>
                      <a:pt x="2440" y="678"/>
                    </a:lnTo>
                    <a:lnTo>
                      <a:pt x="2431" y="666"/>
                    </a:lnTo>
                    <a:lnTo>
                      <a:pt x="2402" y="666"/>
                    </a:lnTo>
                    <a:lnTo>
                      <a:pt x="2402" y="678"/>
                    </a:lnTo>
                    <a:lnTo>
                      <a:pt x="2360" y="666"/>
                    </a:lnTo>
                    <a:lnTo>
                      <a:pt x="2369" y="662"/>
                    </a:lnTo>
                    <a:lnTo>
                      <a:pt x="2360" y="662"/>
                    </a:lnTo>
                    <a:lnTo>
                      <a:pt x="2332" y="678"/>
                    </a:lnTo>
                    <a:lnTo>
                      <a:pt x="2306" y="655"/>
                    </a:lnTo>
                    <a:lnTo>
                      <a:pt x="2294" y="683"/>
                    </a:lnTo>
                    <a:lnTo>
                      <a:pt x="2294" y="683"/>
                    </a:lnTo>
                    <a:lnTo>
                      <a:pt x="2294" y="683"/>
                    </a:lnTo>
                    <a:close/>
                    <a:moveTo>
                      <a:pt x="858" y="629"/>
                    </a:moveTo>
                    <a:lnTo>
                      <a:pt x="858" y="638"/>
                    </a:lnTo>
                    <a:lnTo>
                      <a:pt x="848" y="638"/>
                    </a:lnTo>
                    <a:lnTo>
                      <a:pt x="858" y="629"/>
                    </a:lnTo>
                    <a:lnTo>
                      <a:pt x="858" y="629"/>
                    </a:lnTo>
                    <a:lnTo>
                      <a:pt x="858" y="629"/>
                    </a:lnTo>
                    <a:close/>
                    <a:moveTo>
                      <a:pt x="810" y="638"/>
                    </a:moveTo>
                    <a:lnTo>
                      <a:pt x="820" y="638"/>
                    </a:lnTo>
                    <a:lnTo>
                      <a:pt x="820" y="645"/>
                    </a:lnTo>
                    <a:lnTo>
                      <a:pt x="803" y="645"/>
                    </a:lnTo>
                    <a:lnTo>
                      <a:pt x="810" y="638"/>
                    </a:lnTo>
                    <a:lnTo>
                      <a:pt x="810" y="638"/>
                    </a:lnTo>
                    <a:lnTo>
                      <a:pt x="810" y="638"/>
                    </a:lnTo>
                    <a:close/>
                    <a:moveTo>
                      <a:pt x="2294" y="638"/>
                    </a:moveTo>
                    <a:lnTo>
                      <a:pt x="2294" y="645"/>
                    </a:lnTo>
                    <a:lnTo>
                      <a:pt x="2284" y="645"/>
                    </a:lnTo>
                    <a:lnTo>
                      <a:pt x="2294" y="638"/>
                    </a:lnTo>
                    <a:lnTo>
                      <a:pt x="2294" y="638"/>
                    </a:lnTo>
                    <a:lnTo>
                      <a:pt x="2294" y="638"/>
                    </a:lnTo>
                    <a:close/>
                    <a:moveTo>
                      <a:pt x="2171" y="655"/>
                    </a:moveTo>
                    <a:lnTo>
                      <a:pt x="2171" y="662"/>
                    </a:lnTo>
                    <a:lnTo>
                      <a:pt x="2187" y="655"/>
                    </a:lnTo>
                    <a:lnTo>
                      <a:pt x="2209" y="645"/>
                    </a:lnTo>
                    <a:lnTo>
                      <a:pt x="2230" y="655"/>
                    </a:lnTo>
                    <a:lnTo>
                      <a:pt x="2242" y="662"/>
                    </a:lnTo>
                    <a:lnTo>
                      <a:pt x="2230" y="666"/>
                    </a:lnTo>
                    <a:lnTo>
                      <a:pt x="2246" y="666"/>
                    </a:lnTo>
                    <a:lnTo>
                      <a:pt x="2246" y="695"/>
                    </a:lnTo>
                    <a:lnTo>
                      <a:pt x="2209" y="700"/>
                    </a:lnTo>
                    <a:lnTo>
                      <a:pt x="2192" y="700"/>
                    </a:lnTo>
                    <a:lnTo>
                      <a:pt x="2159" y="678"/>
                    </a:lnTo>
                    <a:lnTo>
                      <a:pt x="2159" y="662"/>
                    </a:lnTo>
                    <a:lnTo>
                      <a:pt x="2171" y="655"/>
                    </a:lnTo>
                    <a:lnTo>
                      <a:pt x="2171" y="655"/>
                    </a:lnTo>
                    <a:lnTo>
                      <a:pt x="2171" y="655"/>
                    </a:lnTo>
                    <a:close/>
                    <a:moveTo>
                      <a:pt x="2280" y="655"/>
                    </a:moveTo>
                    <a:lnTo>
                      <a:pt x="2284" y="662"/>
                    </a:lnTo>
                    <a:lnTo>
                      <a:pt x="2268" y="662"/>
                    </a:lnTo>
                    <a:lnTo>
                      <a:pt x="2280" y="655"/>
                    </a:lnTo>
                    <a:lnTo>
                      <a:pt x="2280" y="655"/>
                    </a:lnTo>
                    <a:lnTo>
                      <a:pt x="2280" y="655"/>
                    </a:lnTo>
                    <a:close/>
                    <a:moveTo>
                      <a:pt x="1474" y="662"/>
                    </a:moveTo>
                    <a:lnTo>
                      <a:pt x="1474" y="711"/>
                    </a:lnTo>
                    <a:lnTo>
                      <a:pt x="1458" y="716"/>
                    </a:lnTo>
                    <a:lnTo>
                      <a:pt x="1458" y="695"/>
                    </a:lnTo>
                    <a:lnTo>
                      <a:pt x="1469" y="666"/>
                    </a:lnTo>
                    <a:lnTo>
                      <a:pt x="1474" y="662"/>
                    </a:lnTo>
                    <a:lnTo>
                      <a:pt x="1474" y="662"/>
                    </a:lnTo>
                    <a:lnTo>
                      <a:pt x="1474" y="662"/>
                    </a:lnTo>
                    <a:close/>
                    <a:moveTo>
                      <a:pt x="2268" y="662"/>
                    </a:moveTo>
                    <a:lnTo>
                      <a:pt x="2268" y="666"/>
                    </a:lnTo>
                    <a:lnTo>
                      <a:pt x="2263" y="666"/>
                    </a:lnTo>
                    <a:lnTo>
                      <a:pt x="2268" y="662"/>
                    </a:lnTo>
                    <a:lnTo>
                      <a:pt x="2268" y="662"/>
                    </a:lnTo>
                    <a:lnTo>
                      <a:pt x="2268" y="662"/>
                    </a:lnTo>
                    <a:close/>
                    <a:moveTo>
                      <a:pt x="1484" y="678"/>
                    </a:moveTo>
                    <a:lnTo>
                      <a:pt x="1484" y="695"/>
                    </a:lnTo>
                    <a:lnTo>
                      <a:pt x="1474" y="683"/>
                    </a:lnTo>
                    <a:lnTo>
                      <a:pt x="1484" y="678"/>
                    </a:lnTo>
                    <a:lnTo>
                      <a:pt x="1484" y="678"/>
                    </a:lnTo>
                    <a:lnTo>
                      <a:pt x="1484" y="678"/>
                    </a:lnTo>
                    <a:close/>
                    <a:moveTo>
                      <a:pt x="2339" y="678"/>
                    </a:moveTo>
                    <a:lnTo>
                      <a:pt x="2348" y="678"/>
                    </a:lnTo>
                    <a:lnTo>
                      <a:pt x="2348" y="683"/>
                    </a:lnTo>
                    <a:lnTo>
                      <a:pt x="2339" y="695"/>
                    </a:lnTo>
                    <a:lnTo>
                      <a:pt x="2339" y="678"/>
                    </a:lnTo>
                    <a:lnTo>
                      <a:pt x="2339" y="678"/>
                    </a:lnTo>
                    <a:lnTo>
                      <a:pt x="2339" y="678"/>
                    </a:lnTo>
                    <a:close/>
                    <a:moveTo>
                      <a:pt x="2301" y="683"/>
                    </a:moveTo>
                    <a:lnTo>
                      <a:pt x="2322" y="683"/>
                    </a:lnTo>
                    <a:lnTo>
                      <a:pt x="2317" y="700"/>
                    </a:lnTo>
                    <a:lnTo>
                      <a:pt x="2306" y="700"/>
                    </a:lnTo>
                    <a:lnTo>
                      <a:pt x="2306" y="695"/>
                    </a:lnTo>
                    <a:lnTo>
                      <a:pt x="2294" y="700"/>
                    </a:lnTo>
                    <a:lnTo>
                      <a:pt x="2294" y="695"/>
                    </a:lnTo>
                    <a:lnTo>
                      <a:pt x="2301" y="683"/>
                    </a:lnTo>
                    <a:lnTo>
                      <a:pt x="2301" y="683"/>
                    </a:lnTo>
                    <a:lnTo>
                      <a:pt x="2301" y="683"/>
                    </a:lnTo>
                    <a:close/>
                    <a:moveTo>
                      <a:pt x="2332" y="683"/>
                    </a:moveTo>
                    <a:lnTo>
                      <a:pt x="2339" y="683"/>
                    </a:lnTo>
                    <a:lnTo>
                      <a:pt x="2322" y="695"/>
                    </a:lnTo>
                    <a:lnTo>
                      <a:pt x="2332" y="683"/>
                    </a:lnTo>
                    <a:lnTo>
                      <a:pt x="2332" y="683"/>
                    </a:lnTo>
                    <a:lnTo>
                      <a:pt x="2332" y="683"/>
                    </a:lnTo>
                    <a:close/>
                    <a:moveTo>
                      <a:pt x="1954" y="683"/>
                    </a:moveTo>
                    <a:lnTo>
                      <a:pt x="1961" y="683"/>
                    </a:lnTo>
                    <a:lnTo>
                      <a:pt x="1954" y="695"/>
                    </a:lnTo>
                    <a:lnTo>
                      <a:pt x="1954" y="683"/>
                    </a:lnTo>
                    <a:lnTo>
                      <a:pt x="1954" y="683"/>
                    </a:lnTo>
                    <a:lnTo>
                      <a:pt x="1954" y="683"/>
                    </a:lnTo>
                    <a:close/>
                    <a:moveTo>
                      <a:pt x="2246" y="700"/>
                    </a:moveTo>
                    <a:lnTo>
                      <a:pt x="2246" y="711"/>
                    </a:lnTo>
                    <a:lnTo>
                      <a:pt x="2242" y="711"/>
                    </a:lnTo>
                    <a:lnTo>
                      <a:pt x="2246" y="700"/>
                    </a:lnTo>
                    <a:lnTo>
                      <a:pt x="2246" y="700"/>
                    </a:lnTo>
                    <a:lnTo>
                      <a:pt x="2246" y="700"/>
                    </a:lnTo>
                    <a:close/>
                    <a:moveTo>
                      <a:pt x="2726" y="711"/>
                    </a:moveTo>
                    <a:lnTo>
                      <a:pt x="2733" y="716"/>
                    </a:lnTo>
                    <a:lnTo>
                      <a:pt x="2726" y="711"/>
                    </a:lnTo>
                    <a:lnTo>
                      <a:pt x="2726" y="711"/>
                    </a:lnTo>
                    <a:lnTo>
                      <a:pt x="2726" y="711"/>
                    </a:lnTo>
                    <a:close/>
                    <a:moveTo>
                      <a:pt x="1954" y="716"/>
                    </a:moveTo>
                    <a:lnTo>
                      <a:pt x="1970" y="723"/>
                    </a:lnTo>
                    <a:lnTo>
                      <a:pt x="1961" y="733"/>
                    </a:lnTo>
                    <a:lnTo>
                      <a:pt x="1944" y="723"/>
                    </a:lnTo>
                    <a:lnTo>
                      <a:pt x="1954" y="716"/>
                    </a:lnTo>
                    <a:lnTo>
                      <a:pt x="1954" y="716"/>
                    </a:lnTo>
                    <a:lnTo>
                      <a:pt x="1954" y="716"/>
                    </a:lnTo>
                    <a:close/>
                    <a:moveTo>
                      <a:pt x="2674" y="723"/>
                    </a:moveTo>
                    <a:lnTo>
                      <a:pt x="2695" y="740"/>
                    </a:lnTo>
                    <a:lnTo>
                      <a:pt x="2674" y="733"/>
                    </a:lnTo>
                    <a:lnTo>
                      <a:pt x="2674" y="723"/>
                    </a:lnTo>
                    <a:lnTo>
                      <a:pt x="2674" y="723"/>
                    </a:lnTo>
                    <a:lnTo>
                      <a:pt x="2674" y="723"/>
                    </a:lnTo>
                    <a:close/>
                    <a:moveTo>
                      <a:pt x="1954" y="749"/>
                    </a:moveTo>
                    <a:lnTo>
                      <a:pt x="1961" y="756"/>
                    </a:lnTo>
                    <a:lnTo>
                      <a:pt x="1961" y="778"/>
                    </a:lnTo>
                    <a:lnTo>
                      <a:pt x="1954" y="766"/>
                    </a:lnTo>
                    <a:lnTo>
                      <a:pt x="1954" y="773"/>
                    </a:lnTo>
                    <a:lnTo>
                      <a:pt x="1944" y="794"/>
                    </a:lnTo>
                    <a:lnTo>
                      <a:pt x="1961" y="811"/>
                    </a:lnTo>
                    <a:lnTo>
                      <a:pt x="1939" y="822"/>
                    </a:lnTo>
                    <a:lnTo>
                      <a:pt x="1939" y="834"/>
                    </a:lnTo>
                    <a:lnTo>
                      <a:pt x="1923" y="834"/>
                    </a:lnTo>
                    <a:lnTo>
                      <a:pt x="1916" y="827"/>
                    </a:lnTo>
                    <a:lnTo>
                      <a:pt x="1928" y="794"/>
                    </a:lnTo>
                    <a:lnTo>
                      <a:pt x="1939" y="756"/>
                    </a:lnTo>
                    <a:lnTo>
                      <a:pt x="1954" y="749"/>
                    </a:lnTo>
                    <a:lnTo>
                      <a:pt x="1954" y="749"/>
                    </a:lnTo>
                    <a:lnTo>
                      <a:pt x="1954" y="749"/>
                    </a:lnTo>
                    <a:close/>
                    <a:moveTo>
                      <a:pt x="1928" y="766"/>
                    </a:moveTo>
                    <a:lnTo>
                      <a:pt x="1928" y="789"/>
                    </a:lnTo>
                    <a:lnTo>
                      <a:pt x="1923" y="806"/>
                    </a:lnTo>
                    <a:lnTo>
                      <a:pt x="1923" y="811"/>
                    </a:lnTo>
                    <a:lnTo>
                      <a:pt x="1916" y="822"/>
                    </a:lnTo>
                    <a:lnTo>
                      <a:pt x="1902" y="822"/>
                    </a:lnTo>
                    <a:lnTo>
                      <a:pt x="1906" y="794"/>
                    </a:lnTo>
                    <a:lnTo>
                      <a:pt x="1902" y="778"/>
                    </a:lnTo>
                    <a:lnTo>
                      <a:pt x="1928" y="766"/>
                    </a:lnTo>
                    <a:lnTo>
                      <a:pt x="1928" y="766"/>
                    </a:lnTo>
                    <a:lnTo>
                      <a:pt x="1928" y="766"/>
                    </a:lnTo>
                    <a:close/>
                    <a:moveTo>
                      <a:pt x="1873" y="794"/>
                    </a:moveTo>
                    <a:lnTo>
                      <a:pt x="1885" y="822"/>
                    </a:lnTo>
                    <a:lnTo>
                      <a:pt x="1873" y="822"/>
                    </a:lnTo>
                    <a:lnTo>
                      <a:pt x="1864" y="811"/>
                    </a:lnTo>
                    <a:lnTo>
                      <a:pt x="1869" y="794"/>
                    </a:lnTo>
                    <a:lnTo>
                      <a:pt x="1873" y="794"/>
                    </a:lnTo>
                    <a:lnTo>
                      <a:pt x="1873" y="794"/>
                    </a:lnTo>
                    <a:lnTo>
                      <a:pt x="1873" y="794"/>
                    </a:lnTo>
                    <a:close/>
                    <a:moveTo>
                      <a:pt x="501" y="827"/>
                    </a:moveTo>
                    <a:lnTo>
                      <a:pt x="480" y="811"/>
                    </a:lnTo>
                    <a:lnTo>
                      <a:pt x="484" y="811"/>
                    </a:lnTo>
                    <a:lnTo>
                      <a:pt x="501" y="822"/>
                    </a:lnTo>
                    <a:lnTo>
                      <a:pt x="501" y="827"/>
                    </a:lnTo>
                    <a:lnTo>
                      <a:pt x="501" y="827"/>
                    </a:lnTo>
                    <a:lnTo>
                      <a:pt x="501" y="827"/>
                    </a:lnTo>
                    <a:close/>
                    <a:moveTo>
                      <a:pt x="2662" y="811"/>
                    </a:moveTo>
                    <a:lnTo>
                      <a:pt x="2658" y="834"/>
                    </a:lnTo>
                    <a:lnTo>
                      <a:pt x="2641" y="860"/>
                    </a:lnTo>
                    <a:lnTo>
                      <a:pt x="2658" y="811"/>
                    </a:lnTo>
                    <a:lnTo>
                      <a:pt x="2662" y="811"/>
                    </a:lnTo>
                    <a:lnTo>
                      <a:pt x="2662" y="811"/>
                    </a:lnTo>
                    <a:lnTo>
                      <a:pt x="2662" y="811"/>
                    </a:lnTo>
                    <a:close/>
                    <a:moveTo>
                      <a:pt x="2754" y="822"/>
                    </a:moveTo>
                    <a:lnTo>
                      <a:pt x="2764" y="827"/>
                    </a:lnTo>
                    <a:lnTo>
                      <a:pt x="2771" y="851"/>
                    </a:lnTo>
                    <a:lnTo>
                      <a:pt x="2771" y="860"/>
                    </a:lnTo>
                    <a:lnTo>
                      <a:pt x="2764" y="860"/>
                    </a:lnTo>
                    <a:lnTo>
                      <a:pt x="2738" y="860"/>
                    </a:lnTo>
                    <a:lnTo>
                      <a:pt x="2750" y="844"/>
                    </a:lnTo>
                    <a:lnTo>
                      <a:pt x="2733" y="844"/>
                    </a:lnTo>
                    <a:lnTo>
                      <a:pt x="2738" y="844"/>
                    </a:lnTo>
                    <a:lnTo>
                      <a:pt x="2754" y="822"/>
                    </a:lnTo>
                    <a:lnTo>
                      <a:pt x="2754" y="822"/>
                    </a:lnTo>
                    <a:lnTo>
                      <a:pt x="2754" y="822"/>
                    </a:lnTo>
                    <a:close/>
                    <a:moveTo>
                      <a:pt x="2629" y="834"/>
                    </a:moveTo>
                    <a:lnTo>
                      <a:pt x="2629" y="851"/>
                    </a:lnTo>
                    <a:lnTo>
                      <a:pt x="2629" y="860"/>
                    </a:lnTo>
                    <a:lnTo>
                      <a:pt x="2624" y="834"/>
                    </a:lnTo>
                    <a:lnTo>
                      <a:pt x="2629" y="834"/>
                    </a:lnTo>
                    <a:lnTo>
                      <a:pt x="2629" y="834"/>
                    </a:lnTo>
                    <a:lnTo>
                      <a:pt x="2629" y="834"/>
                    </a:lnTo>
                    <a:close/>
                    <a:moveTo>
                      <a:pt x="1226" y="844"/>
                    </a:moveTo>
                    <a:lnTo>
                      <a:pt x="1226" y="851"/>
                    </a:lnTo>
                    <a:lnTo>
                      <a:pt x="1219" y="851"/>
                    </a:lnTo>
                    <a:lnTo>
                      <a:pt x="1226" y="844"/>
                    </a:lnTo>
                    <a:lnTo>
                      <a:pt x="1226" y="844"/>
                    </a:lnTo>
                    <a:lnTo>
                      <a:pt x="1226" y="844"/>
                    </a:lnTo>
                    <a:close/>
                    <a:moveTo>
                      <a:pt x="1765" y="844"/>
                    </a:moveTo>
                    <a:lnTo>
                      <a:pt x="1776" y="867"/>
                    </a:lnTo>
                    <a:lnTo>
                      <a:pt x="1765" y="900"/>
                    </a:lnTo>
                    <a:lnTo>
                      <a:pt x="1765" y="844"/>
                    </a:lnTo>
                    <a:lnTo>
                      <a:pt x="1765" y="844"/>
                    </a:lnTo>
                    <a:lnTo>
                      <a:pt x="1765" y="844"/>
                    </a:lnTo>
                    <a:close/>
                    <a:moveTo>
                      <a:pt x="1361" y="1066"/>
                    </a:moveTo>
                    <a:lnTo>
                      <a:pt x="1332" y="1049"/>
                    </a:lnTo>
                    <a:lnTo>
                      <a:pt x="1323" y="1049"/>
                    </a:lnTo>
                    <a:lnTo>
                      <a:pt x="1295" y="1044"/>
                    </a:lnTo>
                    <a:lnTo>
                      <a:pt x="1257" y="1028"/>
                    </a:lnTo>
                    <a:lnTo>
                      <a:pt x="1219" y="1033"/>
                    </a:lnTo>
                    <a:lnTo>
                      <a:pt x="1160" y="1028"/>
                    </a:lnTo>
                    <a:lnTo>
                      <a:pt x="1150" y="1033"/>
                    </a:lnTo>
                    <a:lnTo>
                      <a:pt x="1080" y="1016"/>
                    </a:lnTo>
                    <a:lnTo>
                      <a:pt x="1037" y="995"/>
                    </a:lnTo>
                    <a:lnTo>
                      <a:pt x="987" y="988"/>
                    </a:lnTo>
                    <a:lnTo>
                      <a:pt x="966" y="988"/>
                    </a:lnTo>
                    <a:lnTo>
                      <a:pt x="954" y="978"/>
                    </a:lnTo>
                    <a:lnTo>
                      <a:pt x="933" y="988"/>
                    </a:lnTo>
                    <a:lnTo>
                      <a:pt x="928" y="995"/>
                    </a:lnTo>
                    <a:lnTo>
                      <a:pt x="900" y="995"/>
                    </a:lnTo>
                    <a:lnTo>
                      <a:pt x="858" y="971"/>
                    </a:lnTo>
                    <a:lnTo>
                      <a:pt x="777" y="962"/>
                    </a:lnTo>
                    <a:lnTo>
                      <a:pt x="777" y="955"/>
                    </a:lnTo>
                    <a:lnTo>
                      <a:pt x="794" y="938"/>
                    </a:lnTo>
                    <a:lnTo>
                      <a:pt x="787" y="933"/>
                    </a:lnTo>
                    <a:lnTo>
                      <a:pt x="777" y="933"/>
                    </a:lnTo>
                    <a:lnTo>
                      <a:pt x="756" y="922"/>
                    </a:lnTo>
                    <a:lnTo>
                      <a:pt x="718" y="922"/>
                    </a:lnTo>
                    <a:lnTo>
                      <a:pt x="702" y="917"/>
                    </a:lnTo>
                    <a:lnTo>
                      <a:pt x="718" y="922"/>
                    </a:lnTo>
                    <a:lnTo>
                      <a:pt x="723" y="905"/>
                    </a:lnTo>
                    <a:lnTo>
                      <a:pt x="723" y="900"/>
                    </a:lnTo>
                    <a:lnTo>
                      <a:pt x="739" y="889"/>
                    </a:lnTo>
                    <a:lnTo>
                      <a:pt x="739" y="867"/>
                    </a:lnTo>
                    <a:lnTo>
                      <a:pt x="756" y="851"/>
                    </a:lnTo>
                    <a:lnTo>
                      <a:pt x="765" y="860"/>
                    </a:lnTo>
                    <a:lnTo>
                      <a:pt x="773" y="860"/>
                    </a:lnTo>
                    <a:lnTo>
                      <a:pt x="787" y="867"/>
                    </a:lnTo>
                    <a:lnTo>
                      <a:pt x="803" y="860"/>
                    </a:lnTo>
                    <a:lnTo>
                      <a:pt x="810" y="867"/>
                    </a:lnTo>
                    <a:lnTo>
                      <a:pt x="824" y="867"/>
                    </a:lnTo>
                    <a:lnTo>
                      <a:pt x="824" y="851"/>
                    </a:lnTo>
                    <a:lnTo>
                      <a:pt x="848" y="860"/>
                    </a:lnTo>
                    <a:lnTo>
                      <a:pt x="874" y="884"/>
                    </a:lnTo>
                    <a:lnTo>
                      <a:pt x="891" y="877"/>
                    </a:lnTo>
                    <a:lnTo>
                      <a:pt x="900" y="884"/>
                    </a:lnTo>
                    <a:lnTo>
                      <a:pt x="917" y="884"/>
                    </a:lnTo>
                    <a:lnTo>
                      <a:pt x="933" y="900"/>
                    </a:lnTo>
                    <a:lnTo>
                      <a:pt x="933" y="917"/>
                    </a:lnTo>
                    <a:lnTo>
                      <a:pt x="983" y="922"/>
                    </a:lnTo>
                    <a:lnTo>
                      <a:pt x="1004" y="922"/>
                    </a:lnTo>
                    <a:lnTo>
                      <a:pt x="1063" y="933"/>
                    </a:lnTo>
                    <a:lnTo>
                      <a:pt x="1075" y="922"/>
                    </a:lnTo>
                    <a:lnTo>
                      <a:pt x="1089" y="889"/>
                    </a:lnTo>
                    <a:lnTo>
                      <a:pt x="1096" y="889"/>
                    </a:lnTo>
                    <a:lnTo>
                      <a:pt x="1113" y="889"/>
                    </a:lnTo>
                    <a:lnTo>
                      <a:pt x="1113" y="917"/>
                    </a:lnTo>
                    <a:lnTo>
                      <a:pt x="1134" y="917"/>
                    </a:lnTo>
                    <a:lnTo>
                      <a:pt x="1143" y="905"/>
                    </a:lnTo>
                    <a:lnTo>
                      <a:pt x="1160" y="917"/>
                    </a:lnTo>
                    <a:lnTo>
                      <a:pt x="1172" y="917"/>
                    </a:lnTo>
                    <a:lnTo>
                      <a:pt x="1181" y="933"/>
                    </a:lnTo>
                    <a:lnTo>
                      <a:pt x="1214" y="933"/>
                    </a:lnTo>
                    <a:lnTo>
                      <a:pt x="1219" y="945"/>
                    </a:lnTo>
                    <a:lnTo>
                      <a:pt x="1226" y="945"/>
                    </a:lnTo>
                    <a:lnTo>
                      <a:pt x="1235" y="955"/>
                    </a:lnTo>
                    <a:lnTo>
                      <a:pt x="1226" y="971"/>
                    </a:lnTo>
                    <a:lnTo>
                      <a:pt x="1257" y="988"/>
                    </a:lnTo>
                    <a:lnTo>
                      <a:pt x="1295" y="988"/>
                    </a:lnTo>
                    <a:lnTo>
                      <a:pt x="1323" y="978"/>
                    </a:lnTo>
                    <a:lnTo>
                      <a:pt x="1344" y="995"/>
                    </a:lnTo>
                    <a:lnTo>
                      <a:pt x="1344" y="1033"/>
                    </a:lnTo>
                    <a:lnTo>
                      <a:pt x="1349" y="1049"/>
                    </a:lnTo>
                    <a:lnTo>
                      <a:pt x="1361" y="1056"/>
                    </a:lnTo>
                    <a:lnTo>
                      <a:pt x="1361" y="1066"/>
                    </a:lnTo>
                    <a:lnTo>
                      <a:pt x="1361" y="1066"/>
                    </a:lnTo>
                    <a:lnTo>
                      <a:pt x="1361" y="1066"/>
                    </a:lnTo>
                    <a:close/>
                    <a:moveTo>
                      <a:pt x="2754" y="860"/>
                    </a:moveTo>
                    <a:lnTo>
                      <a:pt x="2764" y="860"/>
                    </a:lnTo>
                    <a:lnTo>
                      <a:pt x="2771" y="867"/>
                    </a:lnTo>
                    <a:lnTo>
                      <a:pt x="2771" y="884"/>
                    </a:lnTo>
                    <a:lnTo>
                      <a:pt x="2764" y="889"/>
                    </a:lnTo>
                    <a:lnTo>
                      <a:pt x="2738" y="867"/>
                    </a:lnTo>
                    <a:lnTo>
                      <a:pt x="2754" y="860"/>
                    </a:lnTo>
                    <a:lnTo>
                      <a:pt x="2754" y="860"/>
                    </a:lnTo>
                    <a:lnTo>
                      <a:pt x="2754" y="860"/>
                    </a:lnTo>
                    <a:close/>
                    <a:moveTo>
                      <a:pt x="2733" y="860"/>
                    </a:moveTo>
                    <a:lnTo>
                      <a:pt x="2733" y="867"/>
                    </a:lnTo>
                    <a:lnTo>
                      <a:pt x="2750" y="884"/>
                    </a:lnTo>
                    <a:lnTo>
                      <a:pt x="2738" y="884"/>
                    </a:lnTo>
                    <a:lnTo>
                      <a:pt x="2726" y="867"/>
                    </a:lnTo>
                    <a:lnTo>
                      <a:pt x="2726" y="860"/>
                    </a:lnTo>
                    <a:lnTo>
                      <a:pt x="2733" y="860"/>
                    </a:lnTo>
                    <a:lnTo>
                      <a:pt x="2733" y="860"/>
                    </a:lnTo>
                    <a:lnTo>
                      <a:pt x="2733" y="860"/>
                    </a:lnTo>
                    <a:close/>
                    <a:moveTo>
                      <a:pt x="2726" y="877"/>
                    </a:moveTo>
                    <a:lnTo>
                      <a:pt x="2754" y="905"/>
                    </a:lnTo>
                    <a:lnTo>
                      <a:pt x="2733" y="933"/>
                    </a:lnTo>
                    <a:lnTo>
                      <a:pt x="2726" y="917"/>
                    </a:lnTo>
                    <a:lnTo>
                      <a:pt x="2726" y="877"/>
                    </a:lnTo>
                    <a:lnTo>
                      <a:pt x="2726" y="877"/>
                    </a:lnTo>
                    <a:lnTo>
                      <a:pt x="2726" y="877"/>
                    </a:lnTo>
                    <a:close/>
                    <a:moveTo>
                      <a:pt x="2750" y="884"/>
                    </a:moveTo>
                    <a:lnTo>
                      <a:pt x="2764" y="889"/>
                    </a:lnTo>
                    <a:lnTo>
                      <a:pt x="2754" y="900"/>
                    </a:lnTo>
                    <a:lnTo>
                      <a:pt x="2738" y="889"/>
                    </a:lnTo>
                    <a:lnTo>
                      <a:pt x="2750" y="884"/>
                    </a:lnTo>
                    <a:lnTo>
                      <a:pt x="2750" y="884"/>
                    </a:lnTo>
                    <a:lnTo>
                      <a:pt x="2750" y="884"/>
                    </a:lnTo>
                    <a:close/>
                    <a:moveTo>
                      <a:pt x="2780" y="884"/>
                    </a:moveTo>
                    <a:lnTo>
                      <a:pt x="2780" y="900"/>
                    </a:lnTo>
                    <a:lnTo>
                      <a:pt x="2771" y="889"/>
                    </a:lnTo>
                    <a:lnTo>
                      <a:pt x="2780" y="884"/>
                    </a:lnTo>
                    <a:lnTo>
                      <a:pt x="2780" y="884"/>
                    </a:lnTo>
                    <a:lnTo>
                      <a:pt x="2780" y="884"/>
                    </a:lnTo>
                    <a:close/>
                    <a:moveTo>
                      <a:pt x="2764" y="889"/>
                    </a:moveTo>
                    <a:lnTo>
                      <a:pt x="2771" y="900"/>
                    </a:lnTo>
                    <a:lnTo>
                      <a:pt x="2764" y="900"/>
                    </a:lnTo>
                    <a:lnTo>
                      <a:pt x="2764" y="889"/>
                    </a:lnTo>
                    <a:lnTo>
                      <a:pt x="2764" y="889"/>
                    </a:lnTo>
                    <a:lnTo>
                      <a:pt x="2764" y="889"/>
                    </a:lnTo>
                    <a:close/>
                    <a:moveTo>
                      <a:pt x="702" y="900"/>
                    </a:moveTo>
                    <a:lnTo>
                      <a:pt x="697" y="905"/>
                    </a:lnTo>
                    <a:lnTo>
                      <a:pt x="702" y="900"/>
                    </a:lnTo>
                    <a:lnTo>
                      <a:pt x="702" y="900"/>
                    </a:lnTo>
                    <a:lnTo>
                      <a:pt x="702" y="900"/>
                    </a:lnTo>
                    <a:close/>
                    <a:moveTo>
                      <a:pt x="3040" y="917"/>
                    </a:moveTo>
                    <a:lnTo>
                      <a:pt x="3057" y="922"/>
                    </a:lnTo>
                    <a:lnTo>
                      <a:pt x="3052" y="922"/>
                    </a:lnTo>
                    <a:lnTo>
                      <a:pt x="3040" y="917"/>
                    </a:lnTo>
                    <a:lnTo>
                      <a:pt x="3040" y="917"/>
                    </a:lnTo>
                    <a:lnTo>
                      <a:pt x="3040" y="917"/>
                    </a:lnTo>
                    <a:close/>
                    <a:moveTo>
                      <a:pt x="1403" y="922"/>
                    </a:moveTo>
                    <a:lnTo>
                      <a:pt x="1432" y="933"/>
                    </a:lnTo>
                    <a:lnTo>
                      <a:pt x="1415" y="933"/>
                    </a:lnTo>
                    <a:lnTo>
                      <a:pt x="1403" y="933"/>
                    </a:lnTo>
                    <a:lnTo>
                      <a:pt x="1398" y="933"/>
                    </a:lnTo>
                    <a:lnTo>
                      <a:pt x="1403" y="922"/>
                    </a:lnTo>
                    <a:lnTo>
                      <a:pt x="1403" y="922"/>
                    </a:lnTo>
                    <a:lnTo>
                      <a:pt x="1403" y="922"/>
                    </a:lnTo>
                    <a:close/>
                    <a:moveTo>
                      <a:pt x="1243" y="922"/>
                    </a:moveTo>
                    <a:lnTo>
                      <a:pt x="1311" y="922"/>
                    </a:lnTo>
                    <a:lnTo>
                      <a:pt x="1328" y="933"/>
                    </a:lnTo>
                    <a:lnTo>
                      <a:pt x="1280" y="945"/>
                    </a:lnTo>
                    <a:lnTo>
                      <a:pt x="1226" y="945"/>
                    </a:lnTo>
                    <a:lnTo>
                      <a:pt x="1219" y="938"/>
                    </a:lnTo>
                    <a:lnTo>
                      <a:pt x="1243" y="922"/>
                    </a:lnTo>
                    <a:lnTo>
                      <a:pt x="1243" y="922"/>
                    </a:lnTo>
                    <a:lnTo>
                      <a:pt x="1243" y="922"/>
                    </a:lnTo>
                    <a:close/>
                    <a:moveTo>
                      <a:pt x="1781" y="938"/>
                    </a:moveTo>
                    <a:lnTo>
                      <a:pt x="1793" y="938"/>
                    </a:lnTo>
                    <a:lnTo>
                      <a:pt x="1793" y="945"/>
                    </a:lnTo>
                    <a:lnTo>
                      <a:pt x="1781" y="938"/>
                    </a:lnTo>
                    <a:lnTo>
                      <a:pt x="1781" y="938"/>
                    </a:lnTo>
                    <a:lnTo>
                      <a:pt x="1781" y="938"/>
                    </a:lnTo>
                    <a:close/>
                    <a:moveTo>
                      <a:pt x="1332" y="938"/>
                    </a:moveTo>
                    <a:lnTo>
                      <a:pt x="1344" y="945"/>
                    </a:lnTo>
                    <a:lnTo>
                      <a:pt x="1332" y="945"/>
                    </a:lnTo>
                    <a:lnTo>
                      <a:pt x="1332" y="938"/>
                    </a:lnTo>
                    <a:lnTo>
                      <a:pt x="1332" y="938"/>
                    </a:lnTo>
                    <a:lnTo>
                      <a:pt x="1332" y="938"/>
                    </a:lnTo>
                    <a:close/>
                    <a:moveTo>
                      <a:pt x="2339" y="938"/>
                    </a:moveTo>
                    <a:lnTo>
                      <a:pt x="2348" y="938"/>
                    </a:lnTo>
                    <a:lnTo>
                      <a:pt x="2339" y="945"/>
                    </a:lnTo>
                    <a:lnTo>
                      <a:pt x="2332" y="945"/>
                    </a:lnTo>
                    <a:lnTo>
                      <a:pt x="2339" y="938"/>
                    </a:lnTo>
                    <a:lnTo>
                      <a:pt x="2339" y="938"/>
                    </a:lnTo>
                    <a:lnTo>
                      <a:pt x="2339" y="938"/>
                    </a:lnTo>
                    <a:close/>
                    <a:moveTo>
                      <a:pt x="2565" y="938"/>
                    </a:moveTo>
                    <a:lnTo>
                      <a:pt x="2570" y="938"/>
                    </a:lnTo>
                    <a:lnTo>
                      <a:pt x="2575" y="955"/>
                    </a:lnTo>
                    <a:lnTo>
                      <a:pt x="2565" y="938"/>
                    </a:lnTo>
                    <a:lnTo>
                      <a:pt x="2565" y="938"/>
                    </a:lnTo>
                    <a:lnTo>
                      <a:pt x="2565" y="938"/>
                    </a:lnTo>
                    <a:close/>
                    <a:moveTo>
                      <a:pt x="2554" y="938"/>
                    </a:moveTo>
                    <a:lnTo>
                      <a:pt x="2565" y="945"/>
                    </a:lnTo>
                    <a:lnTo>
                      <a:pt x="2554" y="955"/>
                    </a:lnTo>
                    <a:lnTo>
                      <a:pt x="2554" y="978"/>
                    </a:lnTo>
                    <a:lnTo>
                      <a:pt x="2537" y="995"/>
                    </a:lnTo>
                    <a:lnTo>
                      <a:pt x="2532" y="1011"/>
                    </a:lnTo>
                    <a:lnTo>
                      <a:pt x="2516" y="1011"/>
                    </a:lnTo>
                    <a:lnTo>
                      <a:pt x="2516" y="995"/>
                    </a:lnTo>
                    <a:lnTo>
                      <a:pt x="2523" y="971"/>
                    </a:lnTo>
                    <a:lnTo>
                      <a:pt x="2554" y="938"/>
                    </a:lnTo>
                    <a:lnTo>
                      <a:pt x="2554" y="938"/>
                    </a:lnTo>
                    <a:lnTo>
                      <a:pt x="2554" y="938"/>
                    </a:lnTo>
                    <a:close/>
                    <a:moveTo>
                      <a:pt x="1814" y="955"/>
                    </a:moveTo>
                    <a:lnTo>
                      <a:pt x="1819" y="962"/>
                    </a:lnTo>
                    <a:lnTo>
                      <a:pt x="1814" y="962"/>
                    </a:lnTo>
                    <a:lnTo>
                      <a:pt x="1814" y="955"/>
                    </a:lnTo>
                    <a:lnTo>
                      <a:pt x="1814" y="955"/>
                    </a:lnTo>
                    <a:lnTo>
                      <a:pt x="1814" y="955"/>
                    </a:lnTo>
                    <a:close/>
                    <a:moveTo>
                      <a:pt x="1864" y="962"/>
                    </a:moveTo>
                    <a:lnTo>
                      <a:pt x="1869" y="962"/>
                    </a:lnTo>
                    <a:lnTo>
                      <a:pt x="1864" y="962"/>
                    </a:lnTo>
                    <a:lnTo>
                      <a:pt x="1864" y="962"/>
                    </a:lnTo>
                    <a:lnTo>
                      <a:pt x="1864" y="962"/>
                    </a:lnTo>
                    <a:close/>
                    <a:moveTo>
                      <a:pt x="3040" y="962"/>
                    </a:moveTo>
                    <a:lnTo>
                      <a:pt x="3057" y="962"/>
                    </a:lnTo>
                    <a:lnTo>
                      <a:pt x="3073" y="978"/>
                    </a:lnTo>
                    <a:lnTo>
                      <a:pt x="3057" y="1011"/>
                    </a:lnTo>
                    <a:lnTo>
                      <a:pt x="3024" y="1033"/>
                    </a:lnTo>
                    <a:lnTo>
                      <a:pt x="2986" y="1033"/>
                    </a:lnTo>
                    <a:lnTo>
                      <a:pt x="2969" y="1033"/>
                    </a:lnTo>
                    <a:lnTo>
                      <a:pt x="3002" y="978"/>
                    </a:lnTo>
                    <a:lnTo>
                      <a:pt x="3040" y="962"/>
                    </a:lnTo>
                    <a:lnTo>
                      <a:pt x="3040" y="962"/>
                    </a:lnTo>
                    <a:lnTo>
                      <a:pt x="3040" y="962"/>
                    </a:lnTo>
                    <a:close/>
                    <a:moveTo>
                      <a:pt x="2511" y="962"/>
                    </a:moveTo>
                    <a:lnTo>
                      <a:pt x="2523" y="962"/>
                    </a:lnTo>
                    <a:lnTo>
                      <a:pt x="2511" y="971"/>
                    </a:lnTo>
                    <a:lnTo>
                      <a:pt x="2511" y="962"/>
                    </a:lnTo>
                    <a:lnTo>
                      <a:pt x="2511" y="962"/>
                    </a:lnTo>
                    <a:lnTo>
                      <a:pt x="2511" y="962"/>
                    </a:lnTo>
                    <a:close/>
                    <a:moveTo>
                      <a:pt x="2251" y="971"/>
                    </a:moveTo>
                    <a:lnTo>
                      <a:pt x="2263" y="978"/>
                    </a:lnTo>
                    <a:lnTo>
                      <a:pt x="2251" y="978"/>
                    </a:lnTo>
                    <a:lnTo>
                      <a:pt x="2251" y="971"/>
                    </a:lnTo>
                    <a:lnTo>
                      <a:pt x="2251" y="971"/>
                    </a:lnTo>
                    <a:lnTo>
                      <a:pt x="2251" y="971"/>
                    </a:lnTo>
                    <a:close/>
                    <a:moveTo>
                      <a:pt x="2154" y="978"/>
                    </a:moveTo>
                    <a:lnTo>
                      <a:pt x="2171" y="988"/>
                    </a:lnTo>
                    <a:lnTo>
                      <a:pt x="2197" y="978"/>
                    </a:lnTo>
                    <a:lnTo>
                      <a:pt x="2213" y="988"/>
                    </a:lnTo>
                    <a:lnTo>
                      <a:pt x="2187" y="1000"/>
                    </a:lnTo>
                    <a:lnTo>
                      <a:pt x="2159" y="995"/>
                    </a:lnTo>
                    <a:lnTo>
                      <a:pt x="2138" y="1011"/>
                    </a:lnTo>
                    <a:lnTo>
                      <a:pt x="2154" y="978"/>
                    </a:lnTo>
                    <a:lnTo>
                      <a:pt x="2154" y="978"/>
                    </a:lnTo>
                    <a:lnTo>
                      <a:pt x="2154" y="978"/>
                    </a:lnTo>
                    <a:close/>
                    <a:moveTo>
                      <a:pt x="2407" y="995"/>
                    </a:moveTo>
                    <a:lnTo>
                      <a:pt x="2424" y="995"/>
                    </a:lnTo>
                    <a:lnTo>
                      <a:pt x="2424" y="1011"/>
                    </a:lnTo>
                    <a:lnTo>
                      <a:pt x="2407" y="1000"/>
                    </a:lnTo>
                    <a:lnTo>
                      <a:pt x="2407" y="995"/>
                    </a:lnTo>
                    <a:lnTo>
                      <a:pt x="2407" y="995"/>
                    </a:lnTo>
                    <a:lnTo>
                      <a:pt x="2407" y="995"/>
                    </a:lnTo>
                    <a:close/>
                    <a:moveTo>
                      <a:pt x="2242" y="1011"/>
                    </a:moveTo>
                    <a:lnTo>
                      <a:pt x="2246" y="1011"/>
                    </a:lnTo>
                    <a:lnTo>
                      <a:pt x="2242" y="1011"/>
                    </a:lnTo>
                    <a:lnTo>
                      <a:pt x="2242" y="1011"/>
                    </a:lnTo>
                    <a:lnTo>
                      <a:pt x="2242" y="1011"/>
                    </a:lnTo>
                    <a:close/>
                    <a:moveTo>
                      <a:pt x="1349" y="1011"/>
                    </a:moveTo>
                    <a:lnTo>
                      <a:pt x="1382" y="1016"/>
                    </a:lnTo>
                    <a:lnTo>
                      <a:pt x="1398" y="1011"/>
                    </a:lnTo>
                    <a:lnTo>
                      <a:pt x="1420" y="1016"/>
                    </a:lnTo>
                    <a:lnTo>
                      <a:pt x="1436" y="1033"/>
                    </a:lnTo>
                    <a:lnTo>
                      <a:pt x="1403" y="1049"/>
                    </a:lnTo>
                    <a:lnTo>
                      <a:pt x="1398" y="1056"/>
                    </a:lnTo>
                    <a:lnTo>
                      <a:pt x="1403" y="1066"/>
                    </a:lnTo>
                    <a:lnTo>
                      <a:pt x="1398" y="1066"/>
                    </a:lnTo>
                    <a:lnTo>
                      <a:pt x="1398" y="1056"/>
                    </a:lnTo>
                    <a:lnTo>
                      <a:pt x="1377" y="1044"/>
                    </a:lnTo>
                    <a:lnTo>
                      <a:pt x="1361" y="1033"/>
                    </a:lnTo>
                    <a:lnTo>
                      <a:pt x="1349" y="1016"/>
                    </a:lnTo>
                    <a:lnTo>
                      <a:pt x="1349" y="1011"/>
                    </a:lnTo>
                    <a:lnTo>
                      <a:pt x="1349" y="1011"/>
                    </a:lnTo>
                    <a:lnTo>
                      <a:pt x="1349" y="1011"/>
                    </a:lnTo>
                    <a:close/>
                    <a:moveTo>
                      <a:pt x="1722" y="1056"/>
                    </a:moveTo>
                    <a:lnTo>
                      <a:pt x="1722" y="1049"/>
                    </a:lnTo>
                    <a:lnTo>
                      <a:pt x="1755" y="1028"/>
                    </a:lnTo>
                    <a:lnTo>
                      <a:pt x="1798" y="1033"/>
                    </a:lnTo>
                    <a:lnTo>
                      <a:pt x="1847" y="1049"/>
                    </a:lnTo>
                    <a:lnTo>
                      <a:pt x="1852" y="1044"/>
                    </a:lnTo>
                    <a:lnTo>
                      <a:pt x="1873" y="1044"/>
                    </a:lnTo>
                    <a:lnTo>
                      <a:pt x="1902" y="1049"/>
                    </a:lnTo>
                    <a:lnTo>
                      <a:pt x="1906" y="1049"/>
                    </a:lnTo>
                    <a:lnTo>
                      <a:pt x="1923" y="1033"/>
                    </a:lnTo>
                    <a:lnTo>
                      <a:pt x="1939" y="1028"/>
                    </a:lnTo>
                    <a:lnTo>
                      <a:pt x="1944" y="1016"/>
                    </a:lnTo>
                    <a:lnTo>
                      <a:pt x="1928" y="1028"/>
                    </a:lnTo>
                    <a:lnTo>
                      <a:pt x="1939" y="1011"/>
                    </a:lnTo>
                    <a:lnTo>
                      <a:pt x="1944" y="1016"/>
                    </a:lnTo>
                    <a:lnTo>
                      <a:pt x="1944" y="1028"/>
                    </a:lnTo>
                    <a:lnTo>
                      <a:pt x="1928" y="1033"/>
                    </a:lnTo>
                    <a:lnTo>
                      <a:pt x="1939" y="1049"/>
                    </a:lnTo>
                    <a:lnTo>
                      <a:pt x="1864" y="1073"/>
                    </a:lnTo>
                    <a:lnTo>
                      <a:pt x="1835" y="1066"/>
                    </a:lnTo>
                    <a:lnTo>
                      <a:pt x="1831" y="1073"/>
                    </a:lnTo>
                    <a:lnTo>
                      <a:pt x="1809" y="1073"/>
                    </a:lnTo>
                    <a:lnTo>
                      <a:pt x="1776" y="1066"/>
                    </a:lnTo>
                    <a:lnTo>
                      <a:pt x="1727" y="1066"/>
                    </a:lnTo>
                    <a:lnTo>
                      <a:pt x="1722" y="1056"/>
                    </a:lnTo>
                    <a:lnTo>
                      <a:pt x="1722" y="1056"/>
                    </a:lnTo>
                    <a:lnTo>
                      <a:pt x="1722" y="1056"/>
                    </a:lnTo>
                    <a:close/>
                    <a:moveTo>
                      <a:pt x="1684" y="1056"/>
                    </a:moveTo>
                    <a:lnTo>
                      <a:pt x="1668" y="1066"/>
                    </a:lnTo>
                    <a:lnTo>
                      <a:pt x="1658" y="1056"/>
                    </a:lnTo>
                    <a:lnTo>
                      <a:pt x="1651" y="1056"/>
                    </a:lnTo>
                    <a:lnTo>
                      <a:pt x="1647" y="1056"/>
                    </a:lnTo>
                    <a:lnTo>
                      <a:pt x="1658" y="1066"/>
                    </a:lnTo>
                    <a:lnTo>
                      <a:pt x="1630" y="1066"/>
                    </a:lnTo>
                    <a:lnTo>
                      <a:pt x="1621" y="1066"/>
                    </a:lnTo>
                    <a:lnTo>
                      <a:pt x="1621" y="1049"/>
                    </a:lnTo>
                    <a:lnTo>
                      <a:pt x="1604" y="1066"/>
                    </a:lnTo>
                    <a:lnTo>
                      <a:pt x="1576" y="1073"/>
                    </a:lnTo>
                    <a:lnTo>
                      <a:pt x="1550" y="1082"/>
                    </a:lnTo>
                    <a:lnTo>
                      <a:pt x="1545" y="1082"/>
                    </a:lnTo>
                    <a:lnTo>
                      <a:pt x="1528" y="1089"/>
                    </a:lnTo>
                    <a:lnTo>
                      <a:pt x="1507" y="1073"/>
                    </a:lnTo>
                    <a:lnTo>
                      <a:pt x="1512" y="1049"/>
                    </a:lnTo>
                    <a:lnTo>
                      <a:pt x="1538" y="1033"/>
                    </a:lnTo>
                    <a:lnTo>
                      <a:pt x="1559" y="1044"/>
                    </a:lnTo>
                    <a:lnTo>
                      <a:pt x="1566" y="1033"/>
                    </a:lnTo>
                    <a:lnTo>
                      <a:pt x="1566" y="1044"/>
                    </a:lnTo>
                    <a:lnTo>
                      <a:pt x="1592" y="1056"/>
                    </a:lnTo>
                    <a:lnTo>
                      <a:pt x="1597" y="1056"/>
                    </a:lnTo>
                    <a:lnTo>
                      <a:pt x="1613" y="1056"/>
                    </a:lnTo>
                    <a:lnTo>
                      <a:pt x="1613" y="1049"/>
                    </a:lnTo>
                    <a:lnTo>
                      <a:pt x="1597" y="1044"/>
                    </a:lnTo>
                    <a:lnTo>
                      <a:pt x="1576" y="1028"/>
                    </a:lnTo>
                    <a:lnTo>
                      <a:pt x="1576" y="1016"/>
                    </a:lnTo>
                    <a:lnTo>
                      <a:pt x="1592" y="1011"/>
                    </a:lnTo>
                    <a:lnTo>
                      <a:pt x="1604" y="1016"/>
                    </a:lnTo>
                    <a:lnTo>
                      <a:pt x="1621" y="1033"/>
                    </a:lnTo>
                    <a:lnTo>
                      <a:pt x="1630" y="1028"/>
                    </a:lnTo>
                    <a:lnTo>
                      <a:pt x="1647" y="1028"/>
                    </a:lnTo>
                    <a:lnTo>
                      <a:pt x="1647" y="1049"/>
                    </a:lnTo>
                    <a:lnTo>
                      <a:pt x="1651" y="1028"/>
                    </a:lnTo>
                    <a:lnTo>
                      <a:pt x="1668" y="1028"/>
                    </a:lnTo>
                    <a:lnTo>
                      <a:pt x="1668" y="1049"/>
                    </a:lnTo>
                    <a:lnTo>
                      <a:pt x="1684" y="1056"/>
                    </a:lnTo>
                    <a:lnTo>
                      <a:pt x="1684" y="1056"/>
                    </a:lnTo>
                    <a:lnTo>
                      <a:pt x="1684" y="1056"/>
                    </a:lnTo>
                    <a:close/>
                    <a:moveTo>
                      <a:pt x="2495" y="1033"/>
                    </a:moveTo>
                    <a:lnTo>
                      <a:pt x="2511" y="1011"/>
                    </a:lnTo>
                    <a:lnTo>
                      <a:pt x="2523" y="1016"/>
                    </a:lnTo>
                    <a:lnTo>
                      <a:pt x="2495" y="1033"/>
                    </a:lnTo>
                    <a:lnTo>
                      <a:pt x="2495" y="1033"/>
                    </a:lnTo>
                    <a:lnTo>
                      <a:pt x="2495" y="1033"/>
                    </a:lnTo>
                    <a:close/>
                    <a:moveTo>
                      <a:pt x="2284" y="1011"/>
                    </a:moveTo>
                    <a:lnTo>
                      <a:pt x="2306" y="1016"/>
                    </a:lnTo>
                    <a:lnTo>
                      <a:pt x="2301" y="1028"/>
                    </a:lnTo>
                    <a:lnTo>
                      <a:pt x="2284" y="1016"/>
                    </a:lnTo>
                    <a:lnTo>
                      <a:pt x="2284" y="1011"/>
                    </a:lnTo>
                    <a:lnTo>
                      <a:pt x="2284" y="1011"/>
                    </a:lnTo>
                    <a:lnTo>
                      <a:pt x="2284" y="1011"/>
                    </a:lnTo>
                    <a:close/>
                    <a:moveTo>
                      <a:pt x="2053" y="1016"/>
                    </a:moveTo>
                    <a:lnTo>
                      <a:pt x="2091" y="1016"/>
                    </a:lnTo>
                    <a:lnTo>
                      <a:pt x="2100" y="1028"/>
                    </a:lnTo>
                    <a:lnTo>
                      <a:pt x="2046" y="1044"/>
                    </a:lnTo>
                    <a:lnTo>
                      <a:pt x="2053" y="1016"/>
                    </a:lnTo>
                    <a:lnTo>
                      <a:pt x="2053" y="1016"/>
                    </a:lnTo>
                    <a:lnTo>
                      <a:pt x="2053" y="1016"/>
                    </a:lnTo>
                    <a:close/>
                    <a:moveTo>
                      <a:pt x="1672" y="1016"/>
                    </a:moveTo>
                    <a:lnTo>
                      <a:pt x="1668" y="1028"/>
                    </a:lnTo>
                    <a:lnTo>
                      <a:pt x="1672" y="1016"/>
                    </a:lnTo>
                    <a:lnTo>
                      <a:pt x="1672" y="1016"/>
                    </a:lnTo>
                    <a:lnTo>
                      <a:pt x="1672" y="1016"/>
                    </a:lnTo>
                    <a:close/>
                    <a:moveTo>
                      <a:pt x="1566" y="1033"/>
                    </a:moveTo>
                    <a:lnTo>
                      <a:pt x="1559" y="1016"/>
                    </a:lnTo>
                    <a:lnTo>
                      <a:pt x="1576" y="1016"/>
                    </a:lnTo>
                    <a:lnTo>
                      <a:pt x="1566" y="1033"/>
                    </a:lnTo>
                    <a:lnTo>
                      <a:pt x="1566" y="1033"/>
                    </a:lnTo>
                    <a:lnTo>
                      <a:pt x="1566" y="1033"/>
                    </a:lnTo>
                    <a:close/>
                    <a:moveTo>
                      <a:pt x="2280" y="1016"/>
                    </a:moveTo>
                    <a:lnTo>
                      <a:pt x="2284" y="1016"/>
                    </a:lnTo>
                    <a:lnTo>
                      <a:pt x="2268" y="1028"/>
                    </a:lnTo>
                    <a:lnTo>
                      <a:pt x="2280" y="1016"/>
                    </a:lnTo>
                    <a:lnTo>
                      <a:pt x="2280" y="1016"/>
                    </a:lnTo>
                    <a:lnTo>
                      <a:pt x="2280" y="1016"/>
                    </a:lnTo>
                    <a:close/>
                    <a:moveTo>
                      <a:pt x="3057" y="1016"/>
                    </a:moveTo>
                    <a:lnTo>
                      <a:pt x="3061" y="1033"/>
                    </a:lnTo>
                    <a:lnTo>
                      <a:pt x="3040" y="1033"/>
                    </a:lnTo>
                    <a:lnTo>
                      <a:pt x="3052" y="1016"/>
                    </a:lnTo>
                    <a:lnTo>
                      <a:pt x="3057" y="1016"/>
                    </a:lnTo>
                    <a:lnTo>
                      <a:pt x="3057" y="1016"/>
                    </a:lnTo>
                    <a:lnTo>
                      <a:pt x="3057" y="1016"/>
                    </a:lnTo>
                    <a:close/>
                    <a:moveTo>
                      <a:pt x="2015" y="1033"/>
                    </a:moveTo>
                    <a:lnTo>
                      <a:pt x="2024" y="1033"/>
                    </a:lnTo>
                    <a:lnTo>
                      <a:pt x="2036" y="1016"/>
                    </a:lnTo>
                    <a:lnTo>
                      <a:pt x="2024" y="1049"/>
                    </a:lnTo>
                    <a:lnTo>
                      <a:pt x="2015" y="1033"/>
                    </a:lnTo>
                    <a:lnTo>
                      <a:pt x="2008" y="1044"/>
                    </a:lnTo>
                    <a:lnTo>
                      <a:pt x="2015" y="1033"/>
                    </a:lnTo>
                    <a:lnTo>
                      <a:pt x="2015" y="1033"/>
                    </a:lnTo>
                    <a:lnTo>
                      <a:pt x="2015" y="1033"/>
                    </a:lnTo>
                    <a:close/>
                    <a:moveTo>
                      <a:pt x="1977" y="1049"/>
                    </a:moveTo>
                    <a:lnTo>
                      <a:pt x="1961" y="1044"/>
                    </a:lnTo>
                    <a:lnTo>
                      <a:pt x="1982" y="1033"/>
                    </a:lnTo>
                    <a:lnTo>
                      <a:pt x="1970" y="1028"/>
                    </a:lnTo>
                    <a:lnTo>
                      <a:pt x="1977" y="1028"/>
                    </a:lnTo>
                    <a:lnTo>
                      <a:pt x="1982" y="1028"/>
                    </a:lnTo>
                    <a:lnTo>
                      <a:pt x="1991" y="1033"/>
                    </a:lnTo>
                    <a:lnTo>
                      <a:pt x="1998" y="1016"/>
                    </a:lnTo>
                    <a:lnTo>
                      <a:pt x="2015" y="1028"/>
                    </a:lnTo>
                    <a:lnTo>
                      <a:pt x="1977" y="1049"/>
                    </a:lnTo>
                    <a:lnTo>
                      <a:pt x="1977" y="1049"/>
                    </a:lnTo>
                    <a:lnTo>
                      <a:pt x="1977" y="1049"/>
                    </a:lnTo>
                    <a:close/>
                    <a:moveTo>
                      <a:pt x="2306" y="1016"/>
                    </a:moveTo>
                    <a:lnTo>
                      <a:pt x="2317" y="1028"/>
                    </a:lnTo>
                    <a:lnTo>
                      <a:pt x="2306" y="1028"/>
                    </a:lnTo>
                    <a:lnTo>
                      <a:pt x="2306" y="1016"/>
                    </a:lnTo>
                    <a:lnTo>
                      <a:pt x="2306" y="1016"/>
                    </a:lnTo>
                    <a:lnTo>
                      <a:pt x="2306" y="1016"/>
                    </a:lnTo>
                    <a:close/>
                    <a:moveTo>
                      <a:pt x="1484" y="1016"/>
                    </a:moveTo>
                    <a:lnTo>
                      <a:pt x="1507" y="1033"/>
                    </a:lnTo>
                    <a:lnTo>
                      <a:pt x="1495" y="1066"/>
                    </a:lnTo>
                    <a:lnTo>
                      <a:pt x="1495" y="1073"/>
                    </a:lnTo>
                    <a:lnTo>
                      <a:pt x="1491" y="1073"/>
                    </a:lnTo>
                    <a:lnTo>
                      <a:pt x="1491" y="1066"/>
                    </a:lnTo>
                    <a:lnTo>
                      <a:pt x="1469" y="1073"/>
                    </a:lnTo>
                    <a:lnTo>
                      <a:pt x="1441" y="1066"/>
                    </a:lnTo>
                    <a:lnTo>
                      <a:pt x="1441" y="1056"/>
                    </a:lnTo>
                    <a:lnTo>
                      <a:pt x="1458" y="1056"/>
                    </a:lnTo>
                    <a:lnTo>
                      <a:pt x="1458" y="1033"/>
                    </a:lnTo>
                    <a:lnTo>
                      <a:pt x="1484" y="1016"/>
                    </a:lnTo>
                    <a:lnTo>
                      <a:pt x="1484" y="1016"/>
                    </a:lnTo>
                    <a:lnTo>
                      <a:pt x="1484" y="1016"/>
                    </a:lnTo>
                    <a:close/>
                    <a:moveTo>
                      <a:pt x="1954" y="1028"/>
                    </a:moveTo>
                    <a:lnTo>
                      <a:pt x="1970" y="1028"/>
                    </a:lnTo>
                    <a:lnTo>
                      <a:pt x="1970" y="1033"/>
                    </a:lnTo>
                    <a:lnTo>
                      <a:pt x="1944" y="1033"/>
                    </a:lnTo>
                    <a:lnTo>
                      <a:pt x="1954" y="1028"/>
                    </a:lnTo>
                    <a:lnTo>
                      <a:pt x="1954" y="1028"/>
                    </a:lnTo>
                    <a:lnTo>
                      <a:pt x="1954" y="1028"/>
                    </a:lnTo>
                    <a:close/>
                    <a:moveTo>
                      <a:pt x="2024" y="1106"/>
                    </a:moveTo>
                    <a:lnTo>
                      <a:pt x="2062" y="1089"/>
                    </a:lnTo>
                    <a:lnTo>
                      <a:pt x="2084" y="1073"/>
                    </a:lnTo>
                    <a:lnTo>
                      <a:pt x="2100" y="1049"/>
                    </a:lnTo>
                    <a:lnTo>
                      <a:pt x="2187" y="1033"/>
                    </a:lnTo>
                    <a:lnTo>
                      <a:pt x="2197" y="1044"/>
                    </a:lnTo>
                    <a:lnTo>
                      <a:pt x="2230" y="1028"/>
                    </a:lnTo>
                    <a:lnTo>
                      <a:pt x="2246" y="1033"/>
                    </a:lnTo>
                    <a:lnTo>
                      <a:pt x="2230" y="1056"/>
                    </a:lnTo>
                    <a:lnTo>
                      <a:pt x="2197" y="1066"/>
                    </a:lnTo>
                    <a:lnTo>
                      <a:pt x="2192" y="1073"/>
                    </a:lnTo>
                    <a:lnTo>
                      <a:pt x="2171" y="1082"/>
                    </a:lnTo>
                    <a:lnTo>
                      <a:pt x="2117" y="1099"/>
                    </a:lnTo>
                    <a:lnTo>
                      <a:pt x="2091" y="1111"/>
                    </a:lnTo>
                    <a:lnTo>
                      <a:pt x="2084" y="1127"/>
                    </a:lnTo>
                    <a:lnTo>
                      <a:pt x="2046" y="1160"/>
                    </a:lnTo>
                    <a:lnTo>
                      <a:pt x="2024" y="1160"/>
                    </a:lnTo>
                    <a:lnTo>
                      <a:pt x="2008" y="1177"/>
                    </a:lnTo>
                    <a:lnTo>
                      <a:pt x="1982" y="1177"/>
                    </a:lnTo>
                    <a:lnTo>
                      <a:pt x="1982" y="1165"/>
                    </a:lnTo>
                    <a:lnTo>
                      <a:pt x="1998" y="1160"/>
                    </a:lnTo>
                    <a:lnTo>
                      <a:pt x="1982" y="1155"/>
                    </a:lnTo>
                    <a:lnTo>
                      <a:pt x="1991" y="1127"/>
                    </a:lnTo>
                    <a:lnTo>
                      <a:pt x="2024" y="1106"/>
                    </a:lnTo>
                    <a:lnTo>
                      <a:pt x="2024" y="1106"/>
                    </a:lnTo>
                    <a:lnTo>
                      <a:pt x="2024" y="1106"/>
                    </a:lnTo>
                    <a:close/>
                    <a:moveTo>
                      <a:pt x="1701" y="1033"/>
                    </a:moveTo>
                    <a:lnTo>
                      <a:pt x="1706" y="1049"/>
                    </a:lnTo>
                    <a:lnTo>
                      <a:pt x="1701" y="1049"/>
                    </a:lnTo>
                    <a:lnTo>
                      <a:pt x="1701" y="1056"/>
                    </a:lnTo>
                    <a:lnTo>
                      <a:pt x="1689" y="1056"/>
                    </a:lnTo>
                    <a:lnTo>
                      <a:pt x="1701" y="1033"/>
                    </a:lnTo>
                    <a:lnTo>
                      <a:pt x="1701" y="1033"/>
                    </a:lnTo>
                    <a:lnTo>
                      <a:pt x="1701" y="1033"/>
                    </a:lnTo>
                    <a:close/>
                    <a:moveTo>
                      <a:pt x="1944" y="1049"/>
                    </a:moveTo>
                    <a:lnTo>
                      <a:pt x="1944" y="1044"/>
                    </a:lnTo>
                    <a:lnTo>
                      <a:pt x="1961" y="1044"/>
                    </a:lnTo>
                    <a:lnTo>
                      <a:pt x="1944" y="1049"/>
                    </a:lnTo>
                    <a:lnTo>
                      <a:pt x="1944" y="1049"/>
                    </a:lnTo>
                    <a:lnTo>
                      <a:pt x="1944" y="1049"/>
                    </a:lnTo>
                    <a:close/>
                    <a:moveTo>
                      <a:pt x="1269" y="1044"/>
                    </a:moveTo>
                    <a:lnTo>
                      <a:pt x="1269" y="1033"/>
                    </a:lnTo>
                    <a:lnTo>
                      <a:pt x="1273" y="1044"/>
                    </a:lnTo>
                    <a:lnTo>
                      <a:pt x="1269" y="1044"/>
                    </a:lnTo>
                    <a:lnTo>
                      <a:pt x="1269" y="1044"/>
                    </a:lnTo>
                    <a:lnTo>
                      <a:pt x="1269" y="1044"/>
                    </a:lnTo>
                    <a:close/>
                    <a:moveTo>
                      <a:pt x="1710" y="1056"/>
                    </a:moveTo>
                    <a:lnTo>
                      <a:pt x="1710" y="1066"/>
                    </a:lnTo>
                    <a:lnTo>
                      <a:pt x="1706" y="1066"/>
                    </a:lnTo>
                    <a:lnTo>
                      <a:pt x="1710" y="1049"/>
                    </a:lnTo>
                    <a:lnTo>
                      <a:pt x="1710" y="1056"/>
                    </a:lnTo>
                    <a:lnTo>
                      <a:pt x="1710" y="1056"/>
                    </a:lnTo>
                    <a:lnTo>
                      <a:pt x="1710" y="1056"/>
                    </a:lnTo>
                    <a:close/>
                    <a:moveTo>
                      <a:pt x="1432" y="1066"/>
                    </a:moveTo>
                    <a:lnTo>
                      <a:pt x="1420" y="1056"/>
                    </a:lnTo>
                    <a:lnTo>
                      <a:pt x="1432" y="1056"/>
                    </a:lnTo>
                    <a:lnTo>
                      <a:pt x="1432" y="1066"/>
                    </a:lnTo>
                    <a:lnTo>
                      <a:pt x="1432" y="1066"/>
                    </a:lnTo>
                    <a:lnTo>
                      <a:pt x="1432" y="1066"/>
                    </a:lnTo>
                    <a:close/>
                    <a:moveTo>
                      <a:pt x="1684" y="1139"/>
                    </a:moveTo>
                    <a:lnTo>
                      <a:pt x="1658" y="1122"/>
                    </a:lnTo>
                    <a:lnTo>
                      <a:pt x="1668" y="1111"/>
                    </a:lnTo>
                    <a:lnTo>
                      <a:pt x="1684" y="1106"/>
                    </a:lnTo>
                    <a:lnTo>
                      <a:pt x="1722" y="1106"/>
                    </a:lnTo>
                    <a:lnTo>
                      <a:pt x="1727" y="1099"/>
                    </a:lnTo>
                    <a:lnTo>
                      <a:pt x="1755" y="1111"/>
                    </a:lnTo>
                    <a:lnTo>
                      <a:pt x="1755" y="1127"/>
                    </a:lnTo>
                    <a:lnTo>
                      <a:pt x="1765" y="1122"/>
                    </a:lnTo>
                    <a:lnTo>
                      <a:pt x="1776" y="1127"/>
                    </a:lnTo>
                    <a:lnTo>
                      <a:pt x="1798" y="1160"/>
                    </a:lnTo>
                    <a:lnTo>
                      <a:pt x="1781" y="1165"/>
                    </a:lnTo>
                    <a:lnTo>
                      <a:pt x="1755" y="1165"/>
                    </a:lnTo>
                    <a:lnTo>
                      <a:pt x="1710" y="1139"/>
                    </a:lnTo>
                    <a:lnTo>
                      <a:pt x="1684" y="1139"/>
                    </a:lnTo>
                    <a:lnTo>
                      <a:pt x="1684" y="1139"/>
                    </a:lnTo>
                    <a:lnTo>
                      <a:pt x="1684" y="1139"/>
                    </a:lnTo>
                    <a:close/>
                    <a:moveTo>
                      <a:pt x="1977" y="1160"/>
                    </a:moveTo>
                    <a:lnTo>
                      <a:pt x="1982" y="1165"/>
                    </a:lnTo>
                    <a:lnTo>
                      <a:pt x="1970" y="1177"/>
                    </a:lnTo>
                    <a:lnTo>
                      <a:pt x="1977" y="1160"/>
                    </a:lnTo>
                    <a:lnTo>
                      <a:pt x="1977" y="1160"/>
                    </a:lnTo>
                    <a:lnTo>
                      <a:pt x="1977" y="1160"/>
                    </a:lnTo>
                    <a:close/>
                    <a:moveTo>
                      <a:pt x="1864" y="1193"/>
                    </a:moveTo>
                    <a:lnTo>
                      <a:pt x="1869" y="1181"/>
                    </a:lnTo>
                    <a:lnTo>
                      <a:pt x="1873" y="1181"/>
                    </a:lnTo>
                    <a:lnTo>
                      <a:pt x="1869" y="1193"/>
                    </a:lnTo>
                    <a:lnTo>
                      <a:pt x="1864" y="1193"/>
                    </a:lnTo>
                    <a:lnTo>
                      <a:pt x="1864" y="1193"/>
                    </a:lnTo>
                    <a:lnTo>
                      <a:pt x="1864" y="1193"/>
                    </a:lnTo>
                    <a:close/>
                    <a:moveTo>
                      <a:pt x="1939" y="1210"/>
                    </a:moveTo>
                    <a:lnTo>
                      <a:pt x="1977" y="1181"/>
                    </a:lnTo>
                    <a:lnTo>
                      <a:pt x="1977" y="1200"/>
                    </a:lnTo>
                    <a:lnTo>
                      <a:pt x="1961" y="1210"/>
                    </a:lnTo>
                    <a:lnTo>
                      <a:pt x="1939" y="1217"/>
                    </a:lnTo>
                    <a:lnTo>
                      <a:pt x="1939" y="1210"/>
                    </a:lnTo>
                    <a:lnTo>
                      <a:pt x="1939" y="1210"/>
                    </a:lnTo>
                    <a:lnTo>
                      <a:pt x="1939" y="121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76" name="Freeform 469">
                <a:extLst>
                  <a:ext uri="{FF2B5EF4-FFF2-40B4-BE49-F238E27FC236}">
                    <a16:creationId xmlns:a16="http://schemas.microsoft.com/office/drawing/2014/main" id="{584A5D38-2110-489D-B9CD-25E50F415156}"/>
                  </a:ext>
                </a:extLst>
              </p:cNvPr>
              <p:cNvSpPr>
                <a:spLocks noEditPoints="1"/>
              </p:cNvSpPr>
              <p:nvPr/>
            </p:nvSpPr>
            <p:spPr bwMode="gray">
              <a:xfrm>
                <a:off x="7924010" y="5746124"/>
                <a:ext cx="955430" cy="1016132"/>
              </a:xfrm>
              <a:custGeom>
                <a:avLst/>
                <a:gdLst>
                  <a:gd name="T0" fmla="*/ 1634 w 2050"/>
                  <a:gd name="T1" fmla="*/ 959 h 2180"/>
                  <a:gd name="T2" fmla="*/ 1701 w 2050"/>
                  <a:gd name="T3" fmla="*/ 839 h 2180"/>
                  <a:gd name="T4" fmla="*/ 1507 w 2050"/>
                  <a:gd name="T5" fmla="*/ 756 h 2180"/>
                  <a:gd name="T6" fmla="*/ 1419 w 2050"/>
                  <a:gd name="T7" fmla="*/ 711 h 2180"/>
                  <a:gd name="T8" fmla="*/ 1469 w 2050"/>
                  <a:gd name="T9" fmla="*/ 810 h 2180"/>
                  <a:gd name="T10" fmla="*/ 1441 w 2050"/>
                  <a:gd name="T11" fmla="*/ 876 h 2180"/>
                  <a:gd name="T12" fmla="*/ 1474 w 2050"/>
                  <a:gd name="T13" fmla="*/ 1049 h 2180"/>
                  <a:gd name="T14" fmla="*/ 1431 w 2050"/>
                  <a:gd name="T15" fmla="*/ 1094 h 2180"/>
                  <a:gd name="T16" fmla="*/ 1386 w 2050"/>
                  <a:gd name="T17" fmla="*/ 1020 h 2180"/>
                  <a:gd name="T18" fmla="*/ 1327 w 2050"/>
                  <a:gd name="T19" fmla="*/ 1160 h 2180"/>
                  <a:gd name="T20" fmla="*/ 1219 w 2050"/>
                  <a:gd name="T21" fmla="*/ 1238 h 2180"/>
                  <a:gd name="T22" fmla="*/ 1171 w 2050"/>
                  <a:gd name="T23" fmla="*/ 1276 h 2180"/>
                  <a:gd name="T24" fmla="*/ 954 w 2050"/>
                  <a:gd name="T25" fmla="*/ 1481 h 2180"/>
                  <a:gd name="T26" fmla="*/ 848 w 2050"/>
                  <a:gd name="T27" fmla="*/ 1609 h 2180"/>
                  <a:gd name="T28" fmla="*/ 827 w 2050"/>
                  <a:gd name="T29" fmla="*/ 1864 h 2180"/>
                  <a:gd name="T30" fmla="*/ 765 w 2050"/>
                  <a:gd name="T31" fmla="*/ 1998 h 2180"/>
                  <a:gd name="T32" fmla="*/ 593 w 2050"/>
                  <a:gd name="T33" fmla="*/ 2020 h 2180"/>
                  <a:gd name="T34" fmla="*/ 534 w 2050"/>
                  <a:gd name="T35" fmla="*/ 1835 h 2180"/>
                  <a:gd name="T36" fmla="*/ 404 w 2050"/>
                  <a:gd name="T37" fmla="*/ 1547 h 2180"/>
                  <a:gd name="T38" fmla="*/ 340 w 2050"/>
                  <a:gd name="T39" fmla="*/ 1292 h 2180"/>
                  <a:gd name="T40" fmla="*/ 340 w 2050"/>
                  <a:gd name="T41" fmla="*/ 1148 h 2180"/>
                  <a:gd name="T42" fmla="*/ 356 w 2050"/>
                  <a:gd name="T43" fmla="*/ 1077 h 2180"/>
                  <a:gd name="T44" fmla="*/ 286 w 2050"/>
                  <a:gd name="T45" fmla="*/ 1037 h 2180"/>
                  <a:gd name="T46" fmla="*/ 297 w 2050"/>
                  <a:gd name="T47" fmla="*/ 1087 h 2180"/>
                  <a:gd name="T48" fmla="*/ 172 w 2050"/>
                  <a:gd name="T49" fmla="*/ 983 h 2180"/>
                  <a:gd name="T50" fmla="*/ 26 w 2050"/>
                  <a:gd name="T51" fmla="*/ 933 h 2180"/>
                  <a:gd name="T52" fmla="*/ 64 w 2050"/>
                  <a:gd name="T53" fmla="*/ 888 h 2180"/>
                  <a:gd name="T54" fmla="*/ 198 w 2050"/>
                  <a:gd name="T55" fmla="*/ 872 h 2180"/>
                  <a:gd name="T56" fmla="*/ 125 w 2050"/>
                  <a:gd name="T57" fmla="*/ 704 h 2180"/>
                  <a:gd name="T58" fmla="*/ 286 w 2050"/>
                  <a:gd name="T59" fmla="*/ 560 h 2180"/>
                  <a:gd name="T60" fmla="*/ 458 w 2050"/>
                  <a:gd name="T61" fmla="*/ 354 h 2180"/>
                  <a:gd name="T62" fmla="*/ 486 w 2050"/>
                  <a:gd name="T63" fmla="*/ 243 h 2180"/>
                  <a:gd name="T64" fmla="*/ 411 w 2050"/>
                  <a:gd name="T65" fmla="*/ 111 h 2180"/>
                  <a:gd name="T66" fmla="*/ 621 w 2050"/>
                  <a:gd name="T67" fmla="*/ 61 h 2180"/>
                  <a:gd name="T68" fmla="*/ 751 w 2050"/>
                  <a:gd name="T69" fmla="*/ 111 h 2180"/>
                  <a:gd name="T70" fmla="*/ 751 w 2050"/>
                  <a:gd name="T71" fmla="*/ 243 h 2180"/>
                  <a:gd name="T72" fmla="*/ 756 w 2050"/>
                  <a:gd name="T73" fmla="*/ 338 h 2180"/>
                  <a:gd name="T74" fmla="*/ 864 w 2050"/>
                  <a:gd name="T75" fmla="*/ 477 h 2180"/>
                  <a:gd name="T76" fmla="*/ 982 w 2050"/>
                  <a:gd name="T77" fmla="*/ 600 h 2180"/>
                  <a:gd name="T78" fmla="*/ 1129 w 2050"/>
                  <a:gd name="T79" fmla="*/ 633 h 2180"/>
                  <a:gd name="T80" fmla="*/ 1327 w 2050"/>
                  <a:gd name="T81" fmla="*/ 711 h 2180"/>
                  <a:gd name="T82" fmla="*/ 1403 w 2050"/>
                  <a:gd name="T83" fmla="*/ 600 h 2180"/>
                  <a:gd name="T84" fmla="*/ 1474 w 2050"/>
                  <a:gd name="T85" fmla="*/ 687 h 2180"/>
                  <a:gd name="T86" fmla="*/ 1684 w 2050"/>
                  <a:gd name="T87" fmla="*/ 683 h 2180"/>
                  <a:gd name="T88" fmla="*/ 1710 w 2050"/>
                  <a:gd name="T89" fmla="*/ 609 h 2180"/>
                  <a:gd name="T90" fmla="*/ 1916 w 2050"/>
                  <a:gd name="T91" fmla="*/ 517 h 2180"/>
                  <a:gd name="T92" fmla="*/ 1982 w 2050"/>
                  <a:gd name="T93" fmla="*/ 555 h 2180"/>
                  <a:gd name="T94" fmla="*/ 2024 w 2050"/>
                  <a:gd name="T95" fmla="*/ 654 h 2180"/>
                  <a:gd name="T96" fmla="*/ 1861 w 2050"/>
                  <a:gd name="T97" fmla="*/ 810 h 2180"/>
                  <a:gd name="T98" fmla="*/ 1764 w 2050"/>
                  <a:gd name="T99" fmla="*/ 983 h 2180"/>
                  <a:gd name="T100" fmla="*/ 1705 w 2050"/>
                  <a:gd name="T101" fmla="*/ 983 h 2180"/>
                  <a:gd name="T102" fmla="*/ 1441 w 2050"/>
                  <a:gd name="T103" fmla="*/ 1070 h 2180"/>
                  <a:gd name="T104" fmla="*/ 1743 w 2050"/>
                  <a:gd name="T105" fmla="*/ 1687 h 2180"/>
                  <a:gd name="T106" fmla="*/ 1727 w 2050"/>
                  <a:gd name="T107" fmla="*/ 1743 h 2180"/>
                  <a:gd name="T108" fmla="*/ 1727 w 2050"/>
                  <a:gd name="T109" fmla="*/ 1776 h 2180"/>
                  <a:gd name="T110" fmla="*/ 1727 w 2050"/>
                  <a:gd name="T111" fmla="*/ 1793 h 2180"/>
                  <a:gd name="T112" fmla="*/ 1701 w 2050"/>
                  <a:gd name="T113" fmla="*/ 1831 h 2180"/>
                  <a:gd name="T114" fmla="*/ 1722 w 2050"/>
                  <a:gd name="T115" fmla="*/ 1847 h 2180"/>
                  <a:gd name="T116" fmla="*/ 1710 w 2050"/>
                  <a:gd name="T117" fmla="*/ 1887 h 2180"/>
                  <a:gd name="T118" fmla="*/ 1755 w 2050"/>
                  <a:gd name="T119" fmla="*/ 2069 h 2180"/>
                  <a:gd name="T120" fmla="*/ 1776 w 2050"/>
                  <a:gd name="T121" fmla="*/ 2091 h 2180"/>
                  <a:gd name="T122" fmla="*/ 1793 w 2050"/>
                  <a:gd name="T123" fmla="*/ 2091 h 2180"/>
                  <a:gd name="T124" fmla="*/ 1814 w 2050"/>
                  <a:gd name="T125" fmla="*/ 2164 h 2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50" h="2180">
                    <a:moveTo>
                      <a:pt x="1701" y="926"/>
                    </a:moveTo>
                    <a:lnTo>
                      <a:pt x="1684" y="933"/>
                    </a:lnTo>
                    <a:lnTo>
                      <a:pt x="1672" y="926"/>
                    </a:lnTo>
                    <a:lnTo>
                      <a:pt x="1672" y="943"/>
                    </a:lnTo>
                    <a:lnTo>
                      <a:pt x="1656" y="959"/>
                    </a:lnTo>
                    <a:lnTo>
                      <a:pt x="1667" y="976"/>
                    </a:lnTo>
                    <a:lnTo>
                      <a:pt x="1656" y="983"/>
                    </a:lnTo>
                    <a:lnTo>
                      <a:pt x="1646" y="983"/>
                    </a:lnTo>
                    <a:lnTo>
                      <a:pt x="1634" y="959"/>
                    </a:lnTo>
                    <a:lnTo>
                      <a:pt x="1634" y="976"/>
                    </a:lnTo>
                    <a:lnTo>
                      <a:pt x="1630" y="976"/>
                    </a:lnTo>
                    <a:lnTo>
                      <a:pt x="1618" y="933"/>
                    </a:lnTo>
                    <a:lnTo>
                      <a:pt x="1630" y="909"/>
                    </a:lnTo>
                    <a:lnTo>
                      <a:pt x="1634" y="893"/>
                    </a:lnTo>
                    <a:lnTo>
                      <a:pt x="1667" y="893"/>
                    </a:lnTo>
                    <a:lnTo>
                      <a:pt x="1672" y="876"/>
                    </a:lnTo>
                    <a:lnTo>
                      <a:pt x="1689" y="872"/>
                    </a:lnTo>
                    <a:lnTo>
                      <a:pt x="1701" y="839"/>
                    </a:lnTo>
                    <a:lnTo>
                      <a:pt x="1710" y="839"/>
                    </a:lnTo>
                    <a:lnTo>
                      <a:pt x="1705" y="822"/>
                    </a:lnTo>
                    <a:lnTo>
                      <a:pt x="1684" y="815"/>
                    </a:lnTo>
                    <a:lnTo>
                      <a:pt x="1566" y="815"/>
                    </a:lnTo>
                    <a:lnTo>
                      <a:pt x="1528" y="810"/>
                    </a:lnTo>
                    <a:lnTo>
                      <a:pt x="1528" y="761"/>
                    </a:lnTo>
                    <a:lnTo>
                      <a:pt x="1521" y="737"/>
                    </a:lnTo>
                    <a:lnTo>
                      <a:pt x="1512" y="737"/>
                    </a:lnTo>
                    <a:lnTo>
                      <a:pt x="1507" y="756"/>
                    </a:lnTo>
                    <a:lnTo>
                      <a:pt x="1490" y="756"/>
                    </a:lnTo>
                    <a:lnTo>
                      <a:pt x="1474" y="737"/>
                    </a:lnTo>
                    <a:lnTo>
                      <a:pt x="1474" y="721"/>
                    </a:lnTo>
                    <a:lnTo>
                      <a:pt x="1469" y="721"/>
                    </a:lnTo>
                    <a:lnTo>
                      <a:pt x="1457" y="721"/>
                    </a:lnTo>
                    <a:lnTo>
                      <a:pt x="1474" y="728"/>
                    </a:lnTo>
                    <a:lnTo>
                      <a:pt x="1457" y="737"/>
                    </a:lnTo>
                    <a:lnTo>
                      <a:pt x="1431" y="704"/>
                    </a:lnTo>
                    <a:lnTo>
                      <a:pt x="1419" y="711"/>
                    </a:lnTo>
                    <a:lnTo>
                      <a:pt x="1431" y="711"/>
                    </a:lnTo>
                    <a:lnTo>
                      <a:pt x="1436" y="721"/>
                    </a:lnTo>
                    <a:lnTo>
                      <a:pt x="1415" y="737"/>
                    </a:lnTo>
                    <a:lnTo>
                      <a:pt x="1403" y="761"/>
                    </a:lnTo>
                    <a:lnTo>
                      <a:pt x="1419" y="765"/>
                    </a:lnTo>
                    <a:lnTo>
                      <a:pt x="1436" y="794"/>
                    </a:lnTo>
                    <a:lnTo>
                      <a:pt x="1453" y="794"/>
                    </a:lnTo>
                    <a:lnTo>
                      <a:pt x="1457" y="798"/>
                    </a:lnTo>
                    <a:lnTo>
                      <a:pt x="1469" y="810"/>
                    </a:lnTo>
                    <a:lnTo>
                      <a:pt x="1469" y="815"/>
                    </a:lnTo>
                    <a:lnTo>
                      <a:pt x="1431" y="815"/>
                    </a:lnTo>
                    <a:lnTo>
                      <a:pt x="1419" y="839"/>
                    </a:lnTo>
                    <a:lnTo>
                      <a:pt x="1403" y="832"/>
                    </a:lnTo>
                    <a:lnTo>
                      <a:pt x="1415" y="839"/>
                    </a:lnTo>
                    <a:lnTo>
                      <a:pt x="1398" y="855"/>
                    </a:lnTo>
                    <a:lnTo>
                      <a:pt x="1403" y="865"/>
                    </a:lnTo>
                    <a:lnTo>
                      <a:pt x="1436" y="876"/>
                    </a:lnTo>
                    <a:lnTo>
                      <a:pt x="1441" y="876"/>
                    </a:lnTo>
                    <a:lnTo>
                      <a:pt x="1453" y="888"/>
                    </a:lnTo>
                    <a:lnTo>
                      <a:pt x="1453" y="909"/>
                    </a:lnTo>
                    <a:lnTo>
                      <a:pt x="1436" y="921"/>
                    </a:lnTo>
                    <a:lnTo>
                      <a:pt x="1436" y="933"/>
                    </a:lnTo>
                    <a:lnTo>
                      <a:pt x="1453" y="943"/>
                    </a:lnTo>
                    <a:lnTo>
                      <a:pt x="1453" y="959"/>
                    </a:lnTo>
                    <a:lnTo>
                      <a:pt x="1469" y="966"/>
                    </a:lnTo>
                    <a:lnTo>
                      <a:pt x="1457" y="983"/>
                    </a:lnTo>
                    <a:lnTo>
                      <a:pt x="1474" y="1049"/>
                    </a:lnTo>
                    <a:lnTo>
                      <a:pt x="1469" y="1061"/>
                    </a:lnTo>
                    <a:lnTo>
                      <a:pt x="1474" y="1087"/>
                    </a:lnTo>
                    <a:lnTo>
                      <a:pt x="1441" y="1094"/>
                    </a:lnTo>
                    <a:lnTo>
                      <a:pt x="1453" y="1054"/>
                    </a:lnTo>
                    <a:lnTo>
                      <a:pt x="1441" y="1054"/>
                    </a:lnTo>
                    <a:lnTo>
                      <a:pt x="1441" y="1061"/>
                    </a:lnTo>
                    <a:lnTo>
                      <a:pt x="1441" y="1037"/>
                    </a:lnTo>
                    <a:lnTo>
                      <a:pt x="1436" y="1094"/>
                    </a:lnTo>
                    <a:lnTo>
                      <a:pt x="1431" y="1094"/>
                    </a:lnTo>
                    <a:lnTo>
                      <a:pt x="1436" y="1061"/>
                    </a:lnTo>
                    <a:lnTo>
                      <a:pt x="1431" y="1087"/>
                    </a:lnTo>
                    <a:lnTo>
                      <a:pt x="1419" y="1087"/>
                    </a:lnTo>
                    <a:lnTo>
                      <a:pt x="1415" y="1070"/>
                    </a:lnTo>
                    <a:lnTo>
                      <a:pt x="1415" y="1094"/>
                    </a:lnTo>
                    <a:lnTo>
                      <a:pt x="1403" y="1061"/>
                    </a:lnTo>
                    <a:lnTo>
                      <a:pt x="1415" y="1049"/>
                    </a:lnTo>
                    <a:lnTo>
                      <a:pt x="1398" y="1037"/>
                    </a:lnTo>
                    <a:lnTo>
                      <a:pt x="1386" y="1020"/>
                    </a:lnTo>
                    <a:lnTo>
                      <a:pt x="1398" y="1037"/>
                    </a:lnTo>
                    <a:lnTo>
                      <a:pt x="1415" y="1054"/>
                    </a:lnTo>
                    <a:lnTo>
                      <a:pt x="1382" y="1077"/>
                    </a:lnTo>
                    <a:lnTo>
                      <a:pt x="1344" y="1094"/>
                    </a:lnTo>
                    <a:lnTo>
                      <a:pt x="1327" y="1103"/>
                    </a:lnTo>
                    <a:lnTo>
                      <a:pt x="1311" y="1115"/>
                    </a:lnTo>
                    <a:lnTo>
                      <a:pt x="1327" y="1148"/>
                    </a:lnTo>
                    <a:lnTo>
                      <a:pt x="1323" y="1148"/>
                    </a:lnTo>
                    <a:lnTo>
                      <a:pt x="1327" y="1160"/>
                    </a:lnTo>
                    <a:lnTo>
                      <a:pt x="1311" y="1172"/>
                    </a:lnTo>
                    <a:lnTo>
                      <a:pt x="1306" y="1181"/>
                    </a:lnTo>
                    <a:lnTo>
                      <a:pt x="1311" y="1172"/>
                    </a:lnTo>
                    <a:lnTo>
                      <a:pt x="1311" y="1181"/>
                    </a:lnTo>
                    <a:lnTo>
                      <a:pt x="1290" y="1198"/>
                    </a:lnTo>
                    <a:lnTo>
                      <a:pt x="1290" y="1214"/>
                    </a:lnTo>
                    <a:lnTo>
                      <a:pt x="1273" y="1205"/>
                    </a:lnTo>
                    <a:lnTo>
                      <a:pt x="1280" y="1214"/>
                    </a:lnTo>
                    <a:lnTo>
                      <a:pt x="1219" y="1238"/>
                    </a:lnTo>
                    <a:lnTo>
                      <a:pt x="1226" y="1221"/>
                    </a:lnTo>
                    <a:lnTo>
                      <a:pt x="1219" y="1214"/>
                    </a:lnTo>
                    <a:lnTo>
                      <a:pt x="1205" y="1226"/>
                    </a:lnTo>
                    <a:lnTo>
                      <a:pt x="1197" y="1243"/>
                    </a:lnTo>
                    <a:lnTo>
                      <a:pt x="1205" y="1238"/>
                    </a:lnTo>
                    <a:lnTo>
                      <a:pt x="1214" y="1226"/>
                    </a:lnTo>
                    <a:lnTo>
                      <a:pt x="1214" y="1238"/>
                    </a:lnTo>
                    <a:lnTo>
                      <a:pt x="1167" y="1276"/>
                    </a:lnTo>
                    <a:lnTo>
                      <a:pt x="1171" y="1276"/>
                    </a:lnTo>
                    <a:lnTo>
                      <a:pt x="1167" y="1283"/>
                    </a:lnTo>
                    <a:lnTo>
                      <a:pt x="1129" y="1332"/>
                    </a:lnTo>
                    <a:lnTo>
                      <a:pt x="1091" y="1354"/>
                    </a:lnTo>
                    <a:lnTo>
                      <a:pt x="1063" y="1387"/>
                    </a:lnTo>
                    <a:lnTo>
                      <a:pt x="1004" y="1427"/>
                    </a:lnTo>
                    <a:lnTo>
                      <a:pt x="999" y="1436"/>
                    </a:lnTo>
                    <a:lnTo>
                      <a:pt x="1004" y="1443"/>
                    </a:lnTo>
                    <a:lnTo>
                      <a:pt x="999" y="1460"/>
                    </a:lnTo>
                    <a:lnTo>
                      <a:pt x="954" y="1481"/>
                    </a:lnTo>
                    <a:lnTo>
                      <a:pt x="928" y="1481"/>
                    </a:lnTo>
                    <a:lnTo>
                      <a:pt x="912" y="1521"/>
                    </a:lnTo>
                    <a:lnTo>
                      <a:pt x="895" y="1514"/>
                    </a:lnTo>
                    <a:lnTo>
                      <a:pt x="895" y="1505"/>
                    </a:lnTo>
                    <a:lnTo>
                      <a:pt x="895" y="1521"/>
                    </a:lnTo>
                    <a:lnTo>
                      <a:pt x="890" y="1514"/>
                    </a:lnTo>
                    <a:lnTo>
                      <a:pt x="857" y="1531"/>
                    </a:lnTo>
                    <a:lnTo>
                      <a:pt x="841" y="1576"/>
                    </a:lnTo>
                    <a:lnTo>
                      <a:pt x="848" y="1609"/>
                    </a:lnTo>
                    <a:lnTo>
                      <a:pt x="841" y="1642"/>
                    </a:lnTo>
                    <a:lnTo>
                      <a:pt x="857" y="1698"/>
                    </a:lnTo>
                    <a:lnTo>
                      <a:pt x="848" y="1670"/>
                    </a:lnTo>
                    <a:lnTo>
                      <a:pt x="841" y="1682"/>
                    </a:lnTo>
                    <a:lnTo>
                      <a:pt x="857" y="1703"/>
                    </a:lnTo>
                    <a:lnTo>
                      <a:pt x="848" y="1769"/>
                    </a:lnTo>
                    <a:lnTo>
                      <a:pt x="827" y="1798"/>
                    </a:lnTo>
                    <a:lnTo>
                      <a:pt x="819" y="1826"/>
                    </a:lnTo>
                    <a:lnTo>
                      <a:pt x="827" y="1864"/>
                    </a:lnTo>
                    <a:lnTo>
                      <a:pt x="827" y="1925"/>
                    </a:lnTo>
                    <a:lnTo>
                      <a:pt x="789" y="1925"/>
                    </a:lnTo>
                    <a:lnTo>
                      <a:pt x="782" y="1942"/>
                    </a:lnTo>
                    <a:lnTo>
                      <a:pt x="756" y="1980"/>
                    </a:lnTo>
                    <a:lnTo>
                      <a:pt x="765" y="1998"/>
                    </a:lnTo>
                    <a:lnTo>
                      <a:pt x="789" y="1998"/>
                    </a:lnTo>
                    <a:lnTo>
                      <a:pt x="793" y="2003"/>
                    </a:lnTo>
                    <a:lnTo>
                      <a:pt x="789" y="1998"/>
                    </a:lnTo>
                    <a:lnTo>
                      <a:pt x="765" y="1998"/>
                    </a:lnTo>
                    <a:lnTo>
                      <a:pt x="727" y="2015"/>
                    </a:lnTo>
                    <a:lnTo>
                      <a:pt x="713" y="2020"/>
                    </a:lnTo>
                    <a:lnTo>
                      <a:pt x="701" y="2057"/>
                    </a:lnTo>
                    <a:lnTo>
                      <a:pt x="664" y="2086"/>
                    </a:lnTo>
                    <a:lnTo>
                      <a:pt x="647" y="2086"/>
                    </a:lnTo>
                    <a:lnTo>
                      <a:pt x="626" y="2057"/>
                    </a:lnTo>
                    <a:lnTo>
                      <a:pt x="593" y="2031"/>
                    </a:lnTo>
                    <a:lnTo>
                      <a:pt x="605" y="2020"/>
                    </a:lnTo>
                    <a:lnTo>
                      <a:pt x="593" y="2020"/>
                    </a:lnTo>
                    <a:lnTo>
                      <a:pt x="576" y="1998"/>
                    </a:lnTo>
                    <a:lnTo>
                      <a:pt x="571" y="1946"/>
                    </a:lnTo>
                    <a:lnTo>
                      <a:pt x="576" y="1958"/>
                    </a:lnTo>
                    <a:lnTo>
                      <a:pt x="576" y="1980"/>
                    </a:lnTo>
                    <a:lnTo>
                      <a:pt x="588" y="1980"/>
                    </a:lnTo>
                    <a:lnTo>
                      <a:pt x="571" y="1937"/>
                    </a:lnTo>
                    <a:lnTo>
                      <a:pt x="571" y="1946"/>
                    </a:lnTo>
                    <a:lnTo>
                      <a:pt x="571" y="1942"/>
                    </a:lnTo>
                    <a:lnTo>
                      <a:pt x="534" y="1835"/>
                    </a:lnTo>
                    <a:lnTo>
                      <a:pt x="501" y="1798"/>
                    </a:lnTo>
                    <a:lnTo>
                      <a:pt x="470" y="1736"/>
                    </a:lnTo>
                    <a:lnTo>
                      <a:pt x="442" y="1616"/>
                    </a:lnTo>
                    <a:lnTo>
                      <a:pt x="442" y="1609"/>
                    </a:lnTo>
                    <a:lnTo>
                      <a:pt x="432" y="1616"/>
                    </a:lnTo>
                    <a:lnTo>
                      <a:pt x="432" y="1604"/>
                    </a:lnTo>
                    <a:lnTo>
                      <a:pt x="425" y="1592"/>
                    </a:lnTo>
                    <a:lnTo>
                      <a:pt x="411" y="1554"/>
                    </a:lnTo>
                    <a:lnTo>
                      <a:pt x="404" y="1547"/>
                    </a:lnTo>
                    <a:lnTo>
                      <a:pt x="411" y="1554"/>
                    </a:lnTo>
                    <a:lnTo>
                      <a:pt x="404" y="1547"/>
                    </a:lnTo>
                    <a:lnTo>
                      <a:pt x="378" y="1498"/>
                    </a:lnTo>
                    <a:lnTo>
                      <a:pt x="361" y="1427"/>
                    </a:lnTo>
                    <a:lnTo>
                      <a:pt x="335" y="1309"/>
                    </a:lnTo>
                    <a:lnTo>
                      <a:pt x="335" y="1299"/>
                    </a:lnTo>
                    <a:lnTo>
                      <a:pt x="340" y="1299"/>
                    </a:lnTo>
                    <a:lnTo>
                      <a:pt x="349" y="1299"/>
                    </a:lnTo>
                    <a:lnTo>
                      <a:pt x="340" y="1292"/>
                    </a:lnTo>
                    <a:lnTo>
                      <a:pt x="349" y="1283"/>
                    </a:lnTo>
                    <a:lnTo>
                      <a:pt x="340" y="1276"/>
                    </a:lnTo>
                    <a:lnTo>
                      <a:pt x="335" y="1292"/>
                    </a:lnTo>
                    <a:lnTo>
                      <a:pt x="335" y="1283"/>
                    </a:lnTo>
                    <a:lnTo>
                      <a:pt x="335" y="1259"/>
                    </a:lnTo>
                    <a:lnTo>
                      <a:pt x="349" y="1271"/>
                    </a:lnTo>
                    <a:lnTo>
                      <a:pt x="323" y="1254"/>
                    </a:lnTo>
                    <a:lnTo>
                      <a:pt x="323" y="1221"/>
                    </a:lnTo>
                    <a:lnTo>
                      <a:pt x="340" y="1148"/>
                    </a:lnTo>
                    <a:lnTo>
                      <a:pt x="335" y="1143"/>
                    </a:lnTo>
                    <a:lnTo>
                      <a:pt x="335" y="1127"/>
                    </a:lnTo>
                    <a:lnTo>
                      <a:pt x="319" y="1127"/>
                    </a:lnTo>
                    <a:lnTo>
                      <a:pt x="323" y="1115"/>
                    </a:lnTo>
                    <a:lnTo>
                      <a:pt x="319" y="1103"/>
                    </a:lnTo>
                    <a:lnTo>
                      <a:pt x="323" y="1103"/>
                    </a:lnTo>
                    <a:lnTo>
                      <a:pt x="319" y="1103"/>
                    </a:lnTo>
                    <a:lnTo>
                      <a:pt x="335" y="1087"/>
                    </a:lnTo>
                    <a:lnTo>
                      <a:pt x="356" y="1077"/>
                    </a:lnTo>
                    <a:lnTo>
                      <a:pt x="307" y="1087"/>
                    </a:lnTo>
                    <a:lnTo>
                      <a:pt x="319" y="1070"/>
                    </a:lnTo>
                    <a:lnTo>
                      <a:pt x="323" y="1061"/>
                    </a:lnTo>
                    <a:lnTo>
                      <a:pt x="319" y="1061"/>
                    </a:lnTo>
                    <a:lnTo>
                      <a:pt x="307" y="1061"/>
                    </a:lnTo>
                    <a:lnTo>
                      <a:pt x="319" y="1049"/>
                    </a:lnTo>
                    <a:lnTo>
                      <a:pt x="323" y="1049"/>
                    </a:lnTo>
                    <a:lnTo>
                      <a:pt x="340" y="1037"/>
                    </a:lnTo>
                    <a:lnTo>
                      <a:pt x="286" y="1037"/>
                    </a:lnTo>
                    <a:lnTo>
                      <a:pt x="302" y="1049"/>
                    </a:lnTo>
                    <a:lnTo>
                      <a:pt x="297" y="1054"/>
                    </a:lnTo>
                    <a:lnTo>
                      <a:pt x="281" y="1061"/>
                    </a:lnTo>
                    <a:lnTo>
                      <a:pt x="286" y="1061"/>
                    </a:lnTo>
                    <a:lnTo>
                      <a:pt x="286" y="1070"/>
                    </a:lnTo>
                    <a:lnTo>
                      <a:pt x="281" y="1070"/>
                    </a:lnTo>
                    <a:lnTo>
                      <a:pt x="281" y="1077"/>
                    </a:lnTo>
                    <a:lnTo>
                      <a:pt x="286" y="1070"/>
                    </a:lnTo>
                    <a:lnTo>
                      <a:pt x="297" y="1087"/>
                    </a:lnTo>
                    <a:lnTo>
                      <a:pt x="286" y="1115"/>
                    </a:lnTo>
                    <a:lnTo>
                      <a:pt x="243" y="1143"/>
                    </a:lnTo>
                    <a:lnTo>
                      <a:pt x="193" y="1160"/>
                    </a:lnTo>
                    <a:lnTo>
                      <a:pt x="139" y="1127"/>
                    </a:lnTo>
                    <a:lnTo>
                      <a:pt x="64" y="1037"/>
                    </a:lnTo>
                    <a:lnTo>
                      <a:pt x="71" y="1020"/>
                    </a:lnTo>
                    <a:lnTo>
                      <a:pt x="80" y="1037"/>
                    </a:lnTo>
                    <a:lnTo>
                      <a:pt x="146" y="1016"/>
                    </a:lnTo>
                    <a:lnTo>
                      <a:pt x="172" y="983"/>
                    </a:lnTo>
                    <a:lnTo>
                      <a:pt x="172" y="976"/>
                    </a:lnTo>
                    <a:lnTo>
                      <a:pt x="163" y="976"/>
                    </a:lnTo>
                    <a:lnTo>
                      <a:pt x="163" y="983"/>
                    </a:lnTo>
                    <a:lnTo>
                      <a:pt x="125" y="987"/>
                    </a:lnTo>
                    <a:lnTo>
                      <a:pt x="118" y="999"/>
                    </a:lnTo>
                    <a:lnTo>
                      <a:pt x="80" y="987"/>
                    </a:lnTo>
                    <a:lnTo>
                      <a:pt x="38" y="966"/>
                    </a:lnTo>
                    <a:lnTo>
                      <a:pt x="26" y="950"/>
                    </a:lnTo>
                    <a:lnTo>
                      <a:pt x="26" y="933"/>
                    </a:lnTo>
                    <a:lnTo>
                      <a:pt x="49" y="921"/>
                    </a:lnTo>
                    <a:lnTo>
                      <a:pt x="26" y="926"/>
                    </a:lnTo>
                    <a:lnTo>
                      <a:pt x="16" y="933"/>
                    </a:lnTo>
                    <a:lnTo>
                      <a:pt x="0" y="933"/>
                    </a:lnTo>
                    <a:lnTo>
                      <a:pt x="12" y="921"/>
                    </a:lnTo>
                    <a:lnTo>
                      <a:pt x="16" y="909"/>
                    </a:lnTo>
                    <a:lnTo>
                      <a:pt x="49" y="909"/>
                    </a:lnTo>
                    <a:lnTo>
                      <a:pt x="49" y="876"/>
                    </a:lnTo>
                    <a:lnTo>
                      <a:pt x="64" y="888"/>
                    </a:lnTo>
                    <a:lnTo>
                      <a:pt x="108" y="888"/>
                    </a:lnTo>
                    <a:lnTo>
                      <a:pt x="118" y="893"/>
                    </a:lnTo>
                    <a:lnTo>
                      <a:pt x="134" y="893"/>
                    </a:lnTo>
                    <a:lnTo>
                      <a:pt x="139" y="876"/>
                    </a:lnTo>
                    <a:lnTo>
                      <a:pt x="172" y="872"/>
                    </a:lnTo>
                    <a:lnTo>
                      <a:pt x="177" y="888"/>
                    </a:lnTo>
                    <a:lnTo>
                      <a:pt x="189" y="888"/>
                    </a:lnTo>
                    <a:lnTo>
                      <a:pt x="210" y="872"/>
                    </a:lnTo>
                    <a:lnTo>
                      <a:pt x="198" y="872"/>
                    </a:lnTo>
                    <a:lnTo>
                      <a:pt x="198" y="855"/>
                    </a:lnTo>
                    <a:lnTo>
                      <a:pt x="210" y="855"/>
                    </a:lnTo>
                    <a:lnTo>
                      <a:pt x="193" y="815"/>
                    </a:lnTo>
                    <a:lnTo>
                      <a:pt x="189" y="798"/>
                    </a:lnTo>
                    <a:lnTo>
                      <a:pt x="177" y="777"/>
                    </a:lnTo>
                    <a:lnTo>
                      <a:pt x="156" y="777"/>
                    </a:lnTo>
                    <a:lnTo>
                      <a:pt x="139" y="756"/>
                    </a:lnTo>
                    <a:lnTo>
                      <a:pt x="146" y="711"/>
                    </a:lnTo>
                    <a:lnTo>
                      <a:pt x="125" y="704"/>
                    </a:lnTo>
                    <a:lnTo>
                      <a:pt x="101" y="699"/>
                    </a:lnTo>
                    <a:lnTo>
                      <a:pt x="108" y="654"/>
                    </a:lnTo>
                    <a:lnTo>
                      <a:pt x="163" y="593"/>
                    </a:lnTo>
                    <a:lnTo>
                      <a:pt x="177" y="593"/>
                    </a:lnTo>
                    <a:lnTo>
                      <a:pt x="189" y="617"/>
                    </a:lnTo>
                    <a:lnTo>
                      <a:pt x="193" y="617"/>
                    </a:lnTo>
                    <a:lnTo>
                      <a:pt x="269" y="600"/>
                    </a:lnTo>
                    <a:lnTo>
                      <a:pt x="269" y="588"/>
                    </a:lnTo>
                    <a:lnTo>
                      <a:pt x="286" y="560"/>
                    </a:lnTo>
                    <a:lnTo>
                      <a:pt x="302" y="539"/>
                    </a:lnTo>
                    <a:lnTo>
                      <a:pt x="340" y="517"/>
                    </a:lnTo>
                    <a:lnTo>
                      <a:pt x="373" y="444"/>
                    </a:lnTo>
                    <a:lnTo>
                      <a:pt x="411" y="428"/>
                    </a:lnTo>
                    <a:lnTo>
                      <a:pt x="411" y="411"/>
                    </a:lnTo>
                    <a:lnTo>
                      <a:pt x="442" y="371"/>
                    </a:lnTo>
                    <a:lnTo>
                      <a:pt x="463" y="354"/>
                    </a:lnTo>
                    <a:lnTo>
                      <a:pt x="458" y="350"/>
                    </a:lnTo>
                    <a:lnTo>
                      <a:pt x="458" y="354"/>
                    </a:lnTo>
                    <a:lnTo>
                      <a:pt x="449" y="350"/>
                    </a:lnTo>
                    <a:lnTo>
                      <a:pt x="458" y="321"/>
                    </a:lnTo>
                    <a:lnTo>
                      <a:pt x="449" y="300"/>
                    </a:lnTo>
                    <a:lnTo>
                      <a:pt x="458" y="295"/>
                    </a:lnTo>
                    <a:lnTo>
                      <a:pt x="479" y="279"/>
                    </a:lnTo>
                    <a:lnTo>
                      <a:pt x="501" y="279"/>
                    </a:lnTo>
                    <a:lnTo>
                      <a:pt x="512" y="262"/>
                    </a:lnTo>
                    <a:lnTo>
                      <a:pt x="512" y="255"/>
                    </a:lnTo>
                    <a:lnTo>
                      <a:pt x="486" y="243"/>
                    </a:lnTo>
                    <a:lnTo>
                      <a:pt x="463" y="243"/>
                    </a:lnTo>
                    <a:lnTo>
                      <a:pt x="463" y="222"/>
                    </a:lnTo>
                    <a:lnTo>
                      <a:pt x="442" y="222"/>
                    </a:lnTo>
                    <a:lnTo>
                      <a:pt x="442" y="201"/>
                    </a:lnTo>
                    <a:lnTo>
                      <a:pt x="416" y="189"/>
                    </a:lnTo>
                    <a:lnTo>
                      <a:pt x="425" y="156"/>
                    </a:lnTo>
                    <a:lnTo>
                      <a:pt x="416" y="144"/>
                    </a:lnTo>
                    <a:lnTo>
                      <a:pt x="432" y="116"/>
                    </a:lnTo>
                    <a:lnTo>
                      <a:pt x="411" y="111"/>
                    </a:lnTo>
                    <a:lnTo>
                      <a:pt x="416" y="99"/>
                    </a:lnTo>
                    <a:lnTo>
                      <a:pt x="404" y="90"/>
                    </a:lnTo>
                    <a:lnTo>
                      <a:pt x="411" y="73"/>
                    </a:lnTo>
                    <a:lnTo>
                      <a:pt x="442" y="57"/>
                    </a:lnTo>
                    <a:lnTo>
                      <a:pt x="534" y="78"/>
                    </a:lnTo>
                    <a:lnTo>
                      <a:pt x="555" y="73"/>
                    </a:lnTo>
                    <a:lnTo>
                      <a:pt x="567" y="73"/>
                    </a:lnTo>
                    <a:lnTo>
                      <a:pt x="588" y="57"/>
                    </a:lnTo>
                    <a:lnTo>
                      <a:pt x="621" y="61"/>
                    </a:lnTo>
                    <a:lnTo>
                      <a:pt x="626" y="33"/>
                    </a:lnTo>
                    <a:lnTo>
                      <a:pt x="685" y="0"/>
                    </a:lnTo>
                    <a:lnTo>
                      <a:pt x="701" y="0"/>
                    </a:lnTo>
                    <a:lnTo>
                      <a:pt x="697" y="17"/>
                    </a:lnTo>
                    <a:lnTo>
                      <a:pt x="718" y="73"/>
                    </a:lnTo>
                    <a:lnTo>
                      <a:pt x="739" y="78"/>
                    </a:lnTo>
                    <a:lnTo>
                      <a:pt x="765" y="95"/>
                    </a:lnTo>
                    <a:lnTo>
                      <a:pt x="765" y="99"/>
                    </a:lnTo>
                    <a:lnTo>
                      <a:pt x="751" y="111"/>
                    </a:lnTo>
                    <a:lnTo>
                      <a:pt x="751" y="156"/>
                    </a:lnTo>
                    <a:lnTo>
                      <a:pt x="765" y="172"/>
                    </a:lnTo>
                    <a:lnTo>
                      <a:pt x="793" y="189"/>
                    </a:lnTo>
                    <a:lnTo>
                      <a:pt x="789" y="206"/>
                    </a:lnTo>
                    <a:lnTo>
                      <a:pt x="803" y="222"/>
                    </a:lnTo>
                    <a:lnTo>
                      <a:pt x="789" y="243"/>
                    </a:lnTo>
                    <a:lnTo>
                      <a:pt x="782" y="243"/>
                    </a:lnTo>
                    <a:lnTo>
                      <a:pt x="765" y="255"/>
                    </a:lnTo>
                    <a:lnTo>
                      <a:pt x="751" y="243"/>
                    </a:lnTo>
                    <a:lnTo>
                      <a:pt x="751" y="227"/>
                    </a:lnTo>
                    <a:lnTo>
                      <a:pt x="727" y="239"/>
                    </a:lnTo>
                    <a:lnTo>
                      <a:pt x="727" y="262"/>
                    </a:lnTo>
                    <a:lnTo>
                      <a:pt x="751" y="284"/>
                    </a:lnTo>
                    <a:lnTo>
                      <a:pt x="739" y="300"/>
                    </a:lnTo>
                    <a:lnTo>
                      <a:pt x="756" y="312"/>
                    </a:lnTo>
                    <a:lnTo>
                      <a:pt x="751" y="317"/>
                    </a:lnTo>
                    <a:lnTo>
                      <a:pt x="751" y="333"/>
                    </a:lnTo>
                    <a:lnTo>
                      <a:pt x="756" y="338"/>
                    </a:lnTo>
                    <a:lnTo>
                      <a:pt x="772" y="321"/>
                    </a:lnTo>
                    <a:lnTo>
                      <a:pt x="803" y="366"/>
                    </a:lnTo>
                    <a:lnTo>
                      <a:pt x="827" y="366"/>
                    </a:lnTo>
                    <a:lnTo>
                      <a:pt x="857" y="378"/>
                    </a:lnTo>
                    <a:lnTo>
                      <a:pt x="848" y="395"/>
                    </a:lnTo>
                    <a:lnTo>
                      <a:pt x="879" y="406"/>
                    </a:lnTo>
                    <a:lnTo>
                      <a:pt x="912" y="428"/>
                    </a:lnTo>
                    <a:lnTo>
                      <a:pt x="864" y="461"/>
                    </a:lnTo>
                    <a:lnTo>
                      <a:pt x="864" y="477"/>
                    </a:lnTo>
                    <a:lnTo>
                      <a:pt x="848" y="482"/>
                    </a:lnTo>
                    <a:lnTo>
                      <a:pt x="857" y="501"/>
                    </a:lnTo>
                    <a:lnTo>
                      <a:pt x="841" y="534"/>
                    </a:lnTo>
                    <a:lnTo>
                      <a:pt x="874" y="555"/>
                    </a:lnTo>
                    <a:lnTo>
                      <a:pt x="874" y="543"/>
                    </a:lnTo>
                    <a:lnTo>
                      <a:pt x="916" y="572"/>
                    </a:lnTo>
                    <a:lnTo>
                      <a:pt x="928" y="588"/>
                    </a:lnTo>
                    <a:lnTo>
                      <a:pt x="966" y="609"/>
                    </a:lnTo>
                    <a:lnTo>
                      <a:pt x="982" y="600"/>
                    </a:lnTo>
                    <a:lnTo>
                      <a:pt x="1004" y="628"/>
                    </a:lnTo>
                    <a:lnTo>
                      <a:pt x="1025" y="617"/>
                    </a:lnTo>
                    <a:lnTo>
                      <a:pt x="1025" y="633"/>
                    </a:lnTo>
                    <a:lnTo>
                      <a:pt x="1058" y="645"/>
                    </a:lnTo>
                    <a:lnTo>
                      <a:pt x="1063" y="650"/>
                    </a:lnTo>
                    <a:lnTo>
                      <a:pt x="1075" y="645"/>
                    </a:lnTo>
                    <a:lnTo>
                      <a:pt x="1105" y="650"/>
                    </a:lnTo>
                    <a:lnTo>
                      <a:pt x="1105" y="645"/>
                    </a:lnTo>
                    <a:lnTo>
                      <a:pt x="1129" y="633"/>
                    </a:lnTo>
                    <a:lnTo>
                      <a:pt x="1134" y="645"/>
                    </a:lnTo>
                    <a:lnTo>
                      <a:pt x="1160" y="650"/>
                    </a:lnTo>
                    <a:lnTo>
                      <a:pt x="1167" y="671"/>
                    </a:lnTo>
                    <a:lnTo>
                      <a:pt x="1214" y="699"/>
                    </a:lnTo>
                    <a:lnTo>
                      <a:pt x="1226" y="683"/>
                    </a:lnTo>
                    <a:lnTo>
                      <a:pt x="1252" y="704"/>
                    </a:lnTo>
                    <a:lnTo>
                      <a:pt x="1256" y="699"/>
                    </a:lnTo>
                    <a:lnTo>
                      <a:pt x="1311" y="721"/>
                    </a:lnTo>
                    <a:lnTo>
                      <a:pt x="1327" y="711"/>
                    </a:lnTo>
                    <a:lnTo>
                      <a:pt x="1344" y="721"/>
                    </a:lnTo>
                    <a:lnTo>
                      <a:pt x="1386" y="711"/>
                    </a:lnTo>
                    <a:lnTo>
                      <a:pt x="1398" y="721"/>
                    </a:lnTo>
                    <a:lnTo>
                      <a:pt x="1415" y="699"/>
                    </a:lnTo>
                    <a:lnTo>
                      <a:pt x="1398" y="666"/>
                    </a:lnTo>
                    <a:lnTo>
                      <a:pt x="1403" y="633"/>
                    </a:lnTo>
                    <a:lnTo>
                      <a:pt x="1415" y="609"/>
                    </a:lnTo>
                    <a:lnTo>
                      <a:pt x="1403" y="609"/>
                    </a:lnTo>
                    <a:lnTo>
                      <a:pt x="1403" y="600"/>
                    </a:lnTo>
                    <a:lnTo>
                      <a:pt x="1431" y="593"/>
                    </a:lnTo>
                    <a:lnTo>
                      <a:pt x="1441" y="588"/>
                    </a:lnTo>
                    <a:lnTo>
                      <a:pt x="1457" y="593"/>
                    </a:lnTo>
                    <a:lnTo>
                      <a:pt x="1457" y="609"/>
                    </a:lnTo>
                    <a:lnTo>
                      <a:pt x="1453" y="633"/>
                    </a:lnTo>
                    <a:lnTo>
                      <a:pt x="1457" y="650"/>
                    </a:lnTo>
                    <a:lnTo>
                      <a:pt x="1453" y="666"/>
                    </a:lnTo>
                    <a:lnTo>
                      <a:pt x="1457" y="671"/>
                    </a:lnTo>
                    <a:lnTo>
                      <a:pt x="1474" y="687"/>
                    </a:lnTo>
                    <a:lnTo>
                      <a:pt x="1490" y="687"/>
                    </a:lnTo>
                    <a:lnTo>
                      <a:pt x="1512" y="699"/>
                    </a:lnTo>
                    <a:lnTo>
                      <a:pt x="1545" y="699"/>
                    </a:lnTo>
                    <a:lnTo>
                      <a:pt x="1566" y="683"/>
                    </a:lnTo>
                    <a:lnTo>
                      <a:pt x="1592" y="687"/>
                    </a:lnTo>
                    <a:lnTo>
                      <a:pt x="1630" y="687"/>
                    </a:lnTo>
                    <a:lnTo>
                      <a:pt x="1634" y="683"/>
                    </a:lnTo>
                    <a:lnTo>
                      <a:pt x="1646" y="687"/>
                    </a:lnTo>
                    <a:lnTo>
                      <a:pt x="1684" y="683"/>
                    </a:lnTo>
                    <a:lnTo>
                      <a:pt x="1672" y="666"/>
                    </a:lnTo>
                    <a:lnTo>
                      <a:pt x="1684" y="650"/>
                    </a:lnTo>
                    <a:lnTo>
                      <a:pt x="1672" y="633"/>
                    </a:lnTo>
                    <a:lnTo>
                      <a:pt x="1651" y="633"/>
                    </a:lnTo>
                    <a:lnTo>
                      <a:pt x="1651" y="628"/>
                    </a:lnTo>
                    <a:lnTo>
                      <a:pt x="1651" y="617"/>
                    </a:lnTo>
                    <a:lnTo>
                      <a:pt x="1672" y="617"/>
                    </a:lnTo>
                    <a:lnTo>
                      <a:pt x="1701" y="609"/>
                    </a:lnTo>
                    <a:lnTo>
                      <a:pt x="1710" y="609"/>
                    </a:lnTo>
                    <a:lnTo>
                      <a:pt x="1727" y="600"/>
                    </a:lnTo>
                    <a:lnTo>
                      <a:pt x="1727" y="588"/>
                    </a:lnTo>
                    <a:lnTo>
                      <a:pt x="1760" y="572"/>
                    </a:lnTo>
                    <a:lnTo>
                      <a:pt x="1776" y="543"/>
                    </a:lnTo>
                    <a:lnTo>
                      <a:pt x="1814" y="543"/>
                    </a:lnTo>
                    <a:lnTo>
                      <a:pt x="1835" y="517"/>
                    </a:lnTo>
                    <a:lnTo>
                      <a:pt x="1861" y="489"/>
                    </a:lnTo>
                    <a:lnTo>
                      <a:pt x="1873" y="506"/>
                    </a:lnTo>
                    <a:lnTo>
                      <a:pt x="1916" y="517"/>
                    </a:lnTo>
                    <a:lnTo>
                      <a:pt x="1927" y="501"/>
                    </a:lnTo>
                    <a:lnTo>
                      <a:pt x="1958" y="482"/>
                    </a:lnTo>
                    <a:lnTo>
                      <a:pt x="1975" y="501"/>
                    </a:lnTo>
                    <a:lnTo>
                      <a:pt x="1982" y="501"/>
                    </a:lnTo>
                    <a:lnTo>
                      <a:pt x="1970" y="517"/>
                    </a:lnTo>
                    <a:lnTo>
                      <a:pt x="1970" y="522"/>
                    </a:lnTo>
                    <a:lnTo>
                      <a:pt x="1991" y="517"/>
                    </a:lnTo>
                    <a:lnTo>
                      <a:pt x="1996" y="539"/>
                    </a:lnTo>
                    <a:lnTo>
                      <a:pt x="1982" y="555"/>
                    </a:lnTo>
                    <a:lnTo>
                      <a:pt x="1982" y="572"/>
                    </a:lnTo>
                    <a:lnTo>
                      <a:pt x="2008" y="560"/>
                    </a:lnTo>
                    <a:lnTo>
                      <a:pt x="2029" y="572"/>
                    </a:lnTo>
                    <a:lnTo>
                      <a:pt x="2034" y="572"/>
                    </a:lnTo>
                    <a:lnTo>
                      <a:pt x="2050" y="576"/>
                    </a:lnTo>
                    <a:lnTo>
                      <a:pt x="2050" y="600"/>
                    </a:lnTo>
                    <a:lnTo>
                      <a:pt x="2024" y="628"/>
                    </a:lnTo>
                    <a:lnTo>
                      <a:pt x="2034" y="666"/>
                    </a:lnTo>
                    <a:lnTo>
                      <a:pt x="2024" y="654"/>
                    </a:lnTo>
                    <a:lnTo>
                      <a:pt x="2008" y="650"/>
                    </a:lnTo>
                    <a:lnTo>
                      <a:pt x="1975" y="650"/>
                    </a:lnTo>
                    <a:lnTo>
                      <a:pt x="1920" y="699"/>
                    </a:lnTo>
                    <a:lnTo>
                      <a:pt x="1899" y="704"/>
                    </a:lnTo>
                    <a:lnTo>
                      <a:pt x="1890" y="728"/>
                    </a:lnTo>
                    <a:lnTo>
                      <a:pt x="1899" y="744"/>
                    </a:lnTo>
                    <a:lnTo>
                      <a:pt x="1882" y="782"/>
                    </a:lnTo>
                    <a:lnTo>
                      <a:pt x="1861" y="798"/>
                    </a:lnTo>
                    <a:lnTo>
                      <a:pt x="1861" y="810"/>
                    </a:lnTo>
                    <a:lnTo>
                      <a:pt x="1868" y="815"/>
                    </a:lnTo>
                    <a:lnTo>
                      <a:pt x="1868" y="822"/>
                    </a:lnTo>
                    <a:lnTo>
                      <a:pt x="1830" y="921"/>
                    </a:lnTo>
                    <a:lnTo>
                      <a:pt x="1797" y="905"/>
                    </a:lnTo>
                    <a:lnTo>
                      <a:pt x="1781" y="909"/>
                    </a:lnTo>
                    <a:lnTo>
                      <a:pt x="1776" y="893"/>
                    </a:lnTo>
                    <a:lnTo>
                      <a:pt x="1776" y="926"/>
                    </a:lnTo>
                    <a:lnTo>
                      <a:pt x="1776" y="966"/>
                    </a:lnTo>
                    <a:lnTo>
                      <a:pt x="1764" y="983"/>
                    </a:lnTo>
                    <a:lnTo>
                      <a:pt x="1760" y="976"/>
                    </a:lnTo>
                    <a:lnTo>
                      <a:pt x="1755" y="1004"/>
                    </a:lnTo>
                    <a:lnTo>
                      <a:pt x="1760" y="1037"/>
                    </a:lnTo>
                    <a:lnTo>
                      <a:pt x="1755" y="1037"/>
                    </a:lnTo>
                    <a:lnTo>
                      <a:pt x="1743" y="1054"/>
                    </a:lnTo>
                    <a:lnTo>
                      <a:pt x="1727" y="1049"/>
                    </a:lnTo>
                    <a:lnTo>
                      <a:pt x="1722" y="1061"/>
                    </a:lnTo>
                    <a:lnTo>
                      <a:pt x="1710" y="1004"/>
                    </a:lnTo>
                    <a:lnTo>
                      <a:pt x="1705" y="983"/>
                    </a:lnTo>
                    <a:lnTo>
                      <a:pt x="1705" y="959"/>
                    </a:lnTo>
                    <a:lnTo>
                      <a:pt x="1701" y="926"/>
                    </a:lnTo>
                    <a:lnTo>
                      <a:pt x="1701" y="926"/>
                    </a:lnTo>
                    <a:lnTo>
                      <a:pt x="1701" y="926"/>
                    </a:lnTo>
                    <a:close/>
                    <a:moveTo>
                      <a:pt x="1441" y="1070"/>
                    </a:moveTo>
                    <a:lnTo>
                      <a:pt x="1436" y="1070"/>
                    </a:lnTo>
                    <a:lnTo>
                      <a:pt x="1441" y="1061"/>
                    </a:lnTo>
                    <a:lnTo>
                      <a:pt x="1441" y="1070"/>
                    </a:lnTo>
                    <a:lnTo>
                      <a:pt x="1441" y="1070"/>
                    </a:lnTo>
                    <a:lnTo>
                      <a:pt x="1441" y="1070"/>
                    </a:lnTo>
                    <a:close/>
                    <a:moveTo>
                      <a:pt x="1403" y="1070"/>
                    </a:moveTo>
                    <a:lnTo>
                      <a:pt x="1403" y="1087"/>
                    </a:lnTo>
                    <a:lnTo>
                      <a:pt x="1403" y="1070"/>
                    </a:lnTo>
                    <a:lnTo>
                      <a:pt x="1403" y="1070"/>
                    </a:lnTo>
                    <a:lnTo>
                      <a:pt x="1403" y="1070"/>
                    </a:lnTo>
                    <a:close/>
                    <a:moveTo>
                      <a:pt x="1738" y="1736"/>
                    </a:moveTo>
                    <a:lnTo>
                      <a:pt x="1738" y="1703"/>
                    </a:lnTo>
                    <a:lnTo>
                      <a:pt x="1743" y="1687"/>
                    </a:lnTo>
                    <a:lnTo>
                      <a:pt x="1755" y="1687"/>
                    </a:lnTo>
                    <a:lnTo>
                      <a:pt x="1755" y="1720"/>
                    </a:lnTo>
                    <a:lnTo>
                      <a:pt x="1743" y="1720"/>
                    </a:lnTo>
                    <a:lnTo>
                      <a:pt x="1738" y="1736"/>
                    </a:lnTo>
                    <a:lnTo>
                      <a:pt x="1738" y="1736"/>
                    </a:lnTo>
                    <a:lnTo>
                      <a:pt x="1738" y="1736"/>
                    </a:lnTo>
                    <a:close/>
                    <a:moveTo>
                      <a:pt x="1738" y="1776"/>
                    </a:moveTo>
                    <a:lnTo>
                      <a:pt x="1727" y="1776"/>
                    </a:lnTo>
                    <a:lnTo>
                      <a:pt x="1727" y="1743"/>
                    </a:lnTo>
                    <a:lnTo>
                      <a:pt x="1743" y="1736"/>
                    </a:lnTo>
                    <a:lnTo>
                      <a:pt x="1743" y="1760"/>
                    </a:lnTo>
                    <a:lnTo>
                      <a:pt x="1743" y="1769"/>
                    </a:lnTo>
                    <a:lnTo>
                      <a:pt x="1738" y="1769"/>
                    </a:lnTo>
                    <a:lnTo>
                      <a:pt x="1738" y="1776"/>
                    </a:lnTo>
                    <a:lnTo>
                      <a:pt x="1738" y="1776"/>
                    </a:lnTo>
                    <a:lnTo>
                      <a:pt x="1738" y="1776"/>
                    </a:lnTo>
                    <a:close/>
                    <a:moveTo>
                      <a:pt x="1727" y="1793"/>
                    </a:moveTo>
                    <a:lnTo>
                      <a:pt x="1727" y="1776"/>
                    </a:lnTo>
                    <a:lnTo>
                      <a:pt x="1743" y="1776"/>
                    </a:lnTo>
                    <a:lnTo>
                      <a:pt x="1727" y="1793"/>
                    </a:lnTo>
                    <a:lnTo>
                      <a:pt x="1727" y="1793"/>
                    </a:lnTo>
                    <a:lnTo>
                      <a:pt x="1727" y="1793"/>
                    </a:lnTo>
                    <a:close/>
                    <a:moveTo>
                      <a:pt x="1727" y="1793"/>
                    </a:moveTo>
                    <a:lnTo>
                      <a:pt x="1727" y="1835"/>
                    </a:lnTo>
                    <a:lnTo>
                      <a:pt x="1710" y="1809"/>
                    </a:lnTo>
                    <a:lnTo>
                      <a:pt x="1727" y="1781"/>
                    </a:lnTo>
                    <a:lnTo>
                      <a:pt x="1727" y="1793"/>
                    </a:lnTo>
                    <a:lnTo>
                      <a:pt x="1727" y="1793"/>
                    </a:lnTo>
                    <a:lnTo>
                      <a:pt x="1727" y="1793"/>
                    </a:lnTo>
                    <a:close/>
                    <a:moveTo>
                      <a:pt x="1755" y="1798"/>
                    </a:moveTo>
                    <a:lnTo>
                      <a:pt x="1755" y="1809"/>
                    </a:lnTo>
                    <a:lnTo>
                      <a:pt x="1743" y="1798"/>
                    </a:lnTo>
                    <a:lnTo>
                      <a:pt x="1755" y="1798"/>
                    </a:lnTo>
                    <a:lnTo>
                      <a:pt x="1755" y="1798"/>
                    </a:lnTo>
                    <a:lnTo>
                      <a:pt x="1755" y="1798"/>
                    </a:lnTo>
                    <a:close/>
                    <a:moveTo>
                      <a:pt x="1701" y="1831"/>
                    </a:moveTo>
                    <a:lnTo>
                      <a:pt x="1689" y="1831"/>
                    </a:lnTo>
                    <a:lnTo>
                      <a:pt x="1701" y="1831"/>
                    </a:lnTo>
                    <a:lnTo>
                      <a:pt x="1701" y="1831"/>
                    </a:lnTo>
                    <a:lnTo>
                      <a:pt x="1701" y="1831"/>
                    </a:lnTo>
                    <a:close/>
                    <a:moveTo>
                      <a:pt x="1722" y="1847"/>
                    </a:moveTo>
                    <a:lnTo>
                      <a:pt x="1722" y="1831"/>
                    </a:lnTo>
                    <a:lnTo>
                      <a:pt x="1727" y="1847"/>
                    </a:lnTo>
                    <a:lnTo>
                      <a:pt x="1722" y="1847"/>
                    </a:lnTo>
                    <a:lnTo>
                      <a:pt x="1722" y="1847"/>
                    </a:lnTo>
                    <a:lnTo>
                      <a:pt x="1722" y="1847"/>
                    </a:lnTo>
                    <a:close/>
                    <a:moveTo>
                      <a:pt x="1710" y="1887"/>
                    </a:moveTo>
                    <a:lnTo>
                      <a:pt x="1710" y="1909"/>
                    </a:lnTo>
                    <a:lnTo>
                      <a:pt x="1705" y="1904"/>
                    </a:lnTo>
                    <a:lnTo>
                      <a:pt x="1705" y="1887"/>
                    </a:lnTo>
                    <a:lnTo>
                      <a:pt x="1710" y="1880"/>
                    </a:lnTo>
                    <a:lnTo>
                      <a:pt x="1710" y="1887"/>
                    </a:lnTo>
                    <a:lnTo>
                      <a:pt x="1710" y="1887"/>
                    </a:lnTo>
                    <a:lnTo>
                      <a:pt x="1710" y="1887"/>
                    </a:lnTo>
                    <a:close/>
                    <a:moveTo>
                      <a:pt x="1738" y="1998"/>
                    </a:moveTo>
                    <a:lnTo>
                      <a:pt x="1738" y="2003"/>
                    </a:lnTo>
                    <a:lnTo>
                      <a:pt x="1727" y="2003"/>
                    </a:lnTo>
                    <a:lnTo>
                      <a:pt x="1738" y="1998"/>
                    </a:lnTo>
                    <a:lnTo>
                      <a:pt x="1738" y="1998"/>
                    </a:lnTo>
                    <a:lnTo>
                      <a:pt x="1738" y="1998"/>
                    </a:lnTo>
                    <a:close/>
                    <a:moveTo>
                      <a:pt x="1755" y="2069"/>
                    </a:moveTo>
                    <a:lnTo>
                      <a:pt x="1760" y="2074"/>
                    </a:lnTo>
                    <a:lnTo>
                      <a:pt x="1755" y="2069"/>
                    </a:lnTo>
                    <a:lnTo>
                      <a:pt x="1755" y="2069"/>
                    </a:lnTo>
                    <a:lnTo>
                      <a:pt x="1755" y="2069"/>
                    </a:lnTo>
                    <a:close/>
                    <a:moveTo>
                      <a:pt x="1781" y="2074"/>
                    </a:moveTo>
                    <a:lnTo>
                      <a:pt x="1781" y="2091"/>
                    </a:lnTo>
                    <a:lnTo>
                      <a:pt x="1776" y="2074"/>
                    </a:lnTo>
                    <a:lnTo>
                      <a:pt x="1781" y="2074"/>
                    </a:lnTo>
                    <a:lnTo>
                      <a:pt x="1781" y="2074"/>
                    </a:lnTo>
                    <a:lnTo>
                      <a:pt x="1781" y="2074"/>
                    </a:lnTo>
                    <a:close/>
                    <a:moveTo>
                      <a:pt x="1776" y="2091"/>
                    </a:moveTo>
                    <a:lnTo>
                      <a:pt x="1781" y="2102"/>
                    </a:lnTo>
                    <a:lnTo>
                      <a:pt x="1764" y="2091"/>
                    </a:lnTo>
                    <a:lnTo>
                      <a:pt x="1776" y="2091"/>
                    </a:lnTo>
                    <a:lnTo>
                      <a:pt x="1776" y="2091"/>
                    </a:lnTo>
                    <a:lnTo>
                      <a:pt x="1776" y="2091"/>
                    </a:lnTo>
                    <a:close/>
                    <a:moveTo>
                      <a:pt x="1793" y="2091"/>
                    </a:moveTo>
                    <a:lnTo>
                      <a:pt x="1781" y="2091"/>
                    </a:lnTo>
                    <a:lnTo>
                      <a:pt x="1793" y="2091"/>
                    </a:lnTo>
                    <a:lnTo>
                      <a:pt x="1793" y="2091"/>
                    </a:lnTo>
                    <a:lnTo>
                      <a:pt x="1793" y="2091"/>
                    </a:lnTo>
                    <a:close/>
                    <a:moveTo>
                      <a:pt x="1797" y="2131"/>
                    </a:moveTo>
                    <a:lnTo>
                      <a:pt x="1797" y="2143"/>
                    </a:lnTo>
                    <a:lnTo>
                      <a:pt x="1793" y="2147"/>
                    </a:lnTo>
                    <a:lnTo>
                      <a:pt x="1797" y="2131"/>
                    </a:lnTo>
                    <a:lnTo>
                      <a:pt x="1797" y="2131"/>
                    </a:lnTo>
                    <a:lnTo>
                      <a:pt x="1797" y="2131"/>
                    </a:lnTo>
                    <a:close/>
                    <a:moveTo>
                      <a:pt x="1807" y="2147"/>
                    </a:moveTo>
                    <a:lnTo>
                      <a:pt x="1814" y="2164"/>
                    </a:lnTo>
                    <a:lnTo>
                      <a:pt x="1807" y="2180"/>
                    </a:lnTo>
                    <a:lnTo>
                      <a:pt x="1793" y="2159"/>
                    </a:lnTo>
                    <a:lnTo>
                      <a:pt x="1807" y="2147"/>
                    </a:lnTo>
                    <a:lnTo>
                      <a:pt x="1807" y="2147"/>
                    </a:lnTo>
                    <a:lnTo>
                      <a:pt x="1807" y="214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80" name="Freeform 489">
                <a:extLst>
                  <a:ext uri="{FF2B5EF4-FFF2-40B4-BE49-F238E27FC236}">
                    <a16:creationId xmlns:a16="http://schemas.microsoft.com/office/drawing/2014/main" id="{FE20A2DA-FDBB-418D-A68C-81E8D968E339}"/>
                  </a:ext>
                </a:extLst>
              </p:cNvPr>
              <p:cNvSpPr>
                <a:spLocks/>
              </p:cNvSpPr>
              <p:nvPr/>
            </p:nvSpPr>
            <p:spPr bwMode="gray">
              <a:xfrm>
                <a:off x="8969856" y="6222961"/>
                <a:ext cx="249810" cy="297381"/>
              </a:xfrm>
              <a:custGeom>
                <a:avLst/>
                <a:gdLst>
                  <a:gd name="T0" fmla="*/ 5 w 536"/>
                  <a:gd name="T1" fmla="*/ 127 h 638"/>
                  <a:gd name="T2" fmla="*/ 33 w 536"/>
                  <a:gd name="T3" fmla="*/ 120 h 638"/>
                  <a:gd name="T4" fmla="*/ 49 w 536"/>
                  <a:gd name="T5" fmla="*/ 87 h 638"/>
                  <a:gd name="T6" fmla="*/ 75 w 536"/>
                  <a:gd name="T7" fmla="*/ 66 h 638"/>
                  <a:gd name="T8" fmla="*/ 104 w 536"/>
                  <a:gd name="T9" fmla="*/ 94 h 638"/>
                  <a:gd name="T10" fmla="*/ 125 w 536"/>
                  <a:gd name="T11" fmla="*/ 94 h 638"/>
                  <a:gd name="T12" fmla="*/ 113 w 536"/>
                  <a:gd name="T13" fmla="*/ 49 h 638"/>
                  <a:gd name="T14" fmla="*/ 104 w 536"/>
                  <a:gd name="T15" fmla="*/ 16 h 638"/>
                  <a:gd name="T16" fmla="*/ 146 w 536"/>
                  <a:gd name="T17" fmla="*/ 9 h 638"/>
                  <a:gd name="T18" fmla="*/ 179 w 536"/>
                  <a:gd name="T19" fmla="*/ 66 h 638"/>
                  <a:gd name="T20" fmla="*/ 196 w 536"/>
                  <a:gd name="T21" fmla="*/ 87 h 638"/>
                  <a:gd name="T22" fmla="*/ 255 w 536"/>
                  <a:gd name="T23" fmla="*/ 137 h 638"/>
                  <a:gd name="T24" fmla="*/ 276 w 536"/>
                  <a:gd name="T25" fmla="*/ 111 h 638"/>
                  <a:gd name="T26" fmla="*/ 305 w 536"/>
                  <a:gd name="T27" fmla="*/ 149 h 638"/>
                  <a:gd name="T28" fmla="*/ 342 w 536"/>
                  <a:gd name="T29" fmla="*/ 177 h 638"/>
                  <a:gd name="T30" fmla="*/ 331 w 536"/>
                  <a:gd name="T31" fmla="*/ 194 h 638"/>
                  <a:gd name="T32" fmla="*/ 319 w 536"/>
                  <a:gd name="T33" fmla="*/ 215 h 638"/>
                  <a:gd name="T34" fmla="*/ 276 w 536"/>
                  <a:gd name="T35" fmla="*/ 222 h 638"/>
                  <a:gd name="T36" fmla="*/ 288 w 536"/>
                  <a:gd name="T37" fmla="*/ 248 h 638"/>
                  <a:gd name="T38" fmla="*/ 357 w 536"/>
                  <a:gd name="T39" fmla="*/ 288 h 638"/>
                  <a:gd name="T40" fmla="*/ 357 w 536"/>
                  <a:gd name="T41" fmla="*/ 309 h 638"/>
                  <a:gd name="T42" fmla="*/ 380 w 536"/>
                  <a:gd name="T43" fmla="*/ 326 h 638"/>
                  <a:gd name="T44" fmla="*/ 439 w 536"/>
                  <a:gd name="T45" fmla="*/ 399 h 638"/>
                  <a:gd name="T46" fmla="*/ 456 w 536"/>
                  <a:gd name="T47" fmla="*/ 416 h 638"/>
                  <a:gd name="T48" fmla="*/ 465 w 536"/>
                  <a:gd name="T49" fmla="*/ 456 h 638"/>
                  <a:gd name="T50" fmla="*/ 482 w 536"/>
                  <a:gd name="T51" fmla="*/ 444 h 638"/>
                  <a:gd name="T52" fmla="*/ 494 w 536"/>
                  <a:gd name="T53" fmla="*/ 460 h 638"/>
                  <a:gd name="T54" fmla="*/ 520 w 536"/>
                  <a:gd name="T55" fmla="*/ 477 h 638"/>
                  <a:gd name="T56" fmla="*/ 494 w 536"/>
                  <a:gd name="T57" fmla="*/ 498 h 638"/>
                  <a:gd name="T58" fmla="*/ 527 w 536"/>
                  <a:gd name="T59" fmla="*/ 555 h 638"/>
                  <a:gd name="T60" fmla="*/ 527 w 536"/>
                  <a:gd name="T61" fmla="*/ 583 h 638"/>
                  <a:gd name="T62" fmla="*/ 456 w 536"/>
                  <a:gd name="T63" fmla="*/ 588 h 638"/>
                  <a:gd name="T64" fmla="*/ 435 w 536"/>
                  <a:gd name="T65" fmla="*/ 593 h 638"/>
                  <a:gd name="T66" fmla="*/ 418 w 536"/>
                  <a:gd name="T67" fmla="*/ 605 h 638"/>
                  <a:gd name="T68" fmla="*/ 418 w 536"/>
                  <a:gd name="T69" fmla="*/ 638 h 638"/>
                  <a:gd name="T70" fmla="*/ 385 w 536"/>
                  <a:gd name="T71" fmla="*/ 621 h 638"/>
                  <a:gd name="T72" fmla="*/ 357 w 536"/>
                  <a:gd name="T73" fmla="*/ 605 h 638"/>
                  <a:gd name="T74" fmla="*/ 385 w 536"/>
                  <a:gd name="T75" fmla="*/ 555 h 638"/>
                  <a:gd name="T76" fmla="*/ 385 w 536"/>
                  <a:gd name="T77" fmla="*/ 510 h 638"/>
                  <a:gd name="T78" fmla="*/ 373 w 536"/>
                  <a:gd name="T79" fmla="*/ 494 h 638"/>
                  <a:gd name="T80" fmla="*/ 347 w 536"/>
                  <a:gd name="T81" fmla="*/ 477 h 638"/>
                  <a:gd name="T82" fmla="*/ 331 w 536"/>
                  <a:gd name="T83" fmla="*/ 387 h 638"/>
                  <a:gd name="T84" fmla="*/ 293 w 536"/>
                  <a:gd name="T85" fmla="*/ 349 h 638"/>
                  <a:gd name="T86" fmla="*/ 234 w 536"/>
                  <a:gd name="T87" fmla="*/ 305 h 638"/>
                  <a:gd name="T88" fmla="*/ 222 w 536"/>
                  <a:gd name="T89" fmla="*/ 316 h 638"/>
                  <a:gd name="T90" fmla="*/ 212 w 536"/>
                  <a:gd name="T91" fmla="*/ 333 h 638"/>
                  <a:gd name="T92" fmla="*/ 179 w 536"/>
                  <a:gd name="T93" fmla="*/ 349 h 638"/>
                  <a:gd name="T94" fmla="*/ 163 w 536"/>
                  <a:gd name="T95" fmla="*/ 333 h 638"/>
                  <a:gd name="T96" fmla="*/ 125 w 536"/>
                  <a:gd name="T97" fmla="*/ 333 h 638"/>
                  <a:gd name="T98" fmla="*/ 104 w 536"/>
                  <a:gd name="T99" fmla="*/ 349 h 638"/>
                  <a:gd name="T100" fmla="*/ 59 w 536"/>
                  <a:gd name="T101" fmla="*/ 366 h 638"/>
                  <a:gd name="T102" fmla="*/ 75 w 536"/>
                  <a:gd name="T103" fmla="*/ 309 h 638"/>
                  <a:gd name="T104" fmla="*/ 87 w 536"/>
                  <a:gd name="T105" fmla="*/ 288 h 638"/>
                  <a:gd name="T106" fmla="*/ 87 w 536"/>
                  <a:gd name="T107" fmla="*/ 255 h 638"/>
                  <a:gd name="T108" fmla="*/ 87 w 536"/>
                  <a:gd name="T109" fmla="*/ 222 h 638"/>
                  <a:gd name="T110" fmla="*/ 49 w 536"/>
                  <a:gd name="T111" fmla="*/ 222 h 638"/>
                  <a:gd name="T112" fmla="*/ 21 w 536"/>
                  <a:gd name="T113" fmla="*/ 205 h 638"/>
                  <a:gd name="T114" fmla="*/ 21 w 536"/>
                  <a:gd name="T115" fmla="*/ 177 h 638"/>
                  <a:gd name="T116" fmla="*/ 5 w 536"/>
                  <a:gd name="T117" fmla="*/ 165 h 638"/>
                  <a:gd name="T118" fmla="*/ 0 w 536"/>
                  <a:gd name="T119" fmla="*/ 16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 h="638">
                    <a:moveTo>
                      <a:pt x="0" y="160"/>
                    </a:moveTo>
                    <a:lnTo>
                      <a:pt x="5" y="127"/>
                    </a:lnTo>
                    <a:lnTo>
                      <a:pt x="38" y="120"/>
                    </a:lnTo>
                    <a:lnTo>
                      <a:pt x="33" y="120"/>
                    </a:lnTo>
                    <a:lnTo>
                      <a:pt x="33" y="111"/>
                    </a:lnTo>
                    <a:lnTo>
                      <a:pt x="49" y="87"/>
                    </a:lnTo>
                    <a:lnTo>
                      <a:pt x="59" y="83"/>
                    </a:lnTo>
                    <a:lnTo>
                      <a:pt x="75" y="66"/>
                    </a:lnTo>
                    <a:lnTo>
                      <a:pt x="87" y="94"/>
                    </a:lnTo>
                    <a:lnTo>
                      <a:pt x="104" y="94"/>
                    </a:lnTo>
                    <a:lnTo>
                      <a:pt x="113" y="104"/>
                    </a:lnTo>
                    <a:lnTo>
                      <a:pt x="125" y="94"/>
                    </a:lnTo>
                    <a:lnTo>
                      <a:pt x="113" y="87"/>
                    </a:lnTo>
                    <a:lnTo>
                      <a:pt x="113" y="49"/>
                    </a:lnTo>
                    <a:lnTo>
                      <a:pt x="109" y="38"/>
                    </a:lnTo>
                    <a:lnTo>
                      <a:pt x="104" y="16"/>
                    </a:lnTo>
                    <a:lnTo>
                      <a:pt x="113" y="0"/>
                    </a:lnTo>
                    <a:lnTo>
                      <a:pt x="146" y="9"/>
                    </a:lnTo>
                    <a:lnTo>
                      <a:pt x="179" y="38"/>
                    </a:lnTo>
                    <a:lnTo>
                      <a:pt x="179" y="66"/>
                    </a:lnTo>
                    <a:lnTo>
                      <a:pt x="201" y="54"/>
                    </a:lnTo>
                    <a:lnTo>
                      <a:pt x="196" y="87"/>
                    </a:lnTo>
                    <a:lnTo>
                      <a:pt x="217" y="120"/>
                    </a:lnTo>
                    <a:lnTo>
                      <a:pt x="255" y="137"/>
                    </a:lnTo>
                    <a:lnTo>
                      <a:pt x="264" y="120"/>
                    </a:lnTo>
                    <a:lnTo>
                      <a:pt x="276" y="111"/>
                    </a:lnTo>
                    <a:lnTo>
                      <a:pt x="319" y="137"/>
                    </a:lnTo>
                    <a:lnTo>
                      <a:pt x="305" y="149"/>
                    </a:lnTo>
                    <a:lnTo>
                      <a:pt x="319" y="149"/>
                    </a:lnTo>
                    <a:lnTo>
                      <a:pt x="342" y="177"/>
                    </a:lnTo>
                    <a:lnTo>
                      <a:pt x="342" y="182"/>
                    </a:lnTo>
                    <a:lnTo>
                      <a:pt x="331" y="194"/>
                    </a:lnTo>
                    <a:lnTo>
                      <a:pt x="331" y="198"/>
                    </a:lnTo>
                    <a:lnTo>
                      <a:pt x="319" y="215"/>
                    </a:lnTo>
                    <a:lnTo>
                      <a:pt x="276" y="205"/>
                    </a:lnTo>
                    <a:lnTo>
                      <a:pt x="276" y="222"/>
                    </a:lnTo>
                    <a:lnTo>
                      <a:pt x="264" y="238"/>
                    </a:lnTo>
                    <a:lnTo>
                      <a:pt x="288" y="248"/>
                    </a:lnTo>
                    <a:lnTo>
                      <a:pt x="326" y="276"/>
                    </a:lnTo>
                    <a:lnTo>
                      <a:pt x="357" y="288"/>
                    </a:lnTo>
                    <a:lnTo>
                      <a:pt x="357" y="305"/>
                    </a:lnTo>
                    <a:lnTo>
                      <a:pt x="357" y="309"/>
                    </a:lnTo>
                    <a:lnTo>
                      <a:pt x="373" y="326"/>
                    </a:lnTo>
                    <a:lnTo>
                      <a:pt x="380" y="326"/>
                    </a:lnTo>
                    <a:lnTo>
                      <a:pt x="397" y="361"/>
                    </a:lnTo>
                    <a:lnTo>
                      <a:pt x="439" y="399"/>
                    </a:lnTo>
                    <a:lnTo>
                      <a:pt x="449" y="416"/>
                    </a:lnTo>
                    <a:lnTo>
                      <a:pt x="456" y="416"/>
                    </a:lnTo>
                    <a:lnTo>
                      <a:pt x="456" y="437"/>
                    </a:lnTo>
                    <a:lnTo>
                      <a:pt x="465" y="456"/>
                    </a:lnTo>
                    <a:lnTo>
                      <a:pt x="472" y="456"/>
                    </a:lnTo>
                    <a:lnTo>
                      <a:pt x="482" y="444"/>
                    </a:lnTo>
                    <a:lnTo>
                      <a:pt x="489" y="460"/>
                    </a:lnTo>
                    <a:lnTo>
                      <a:pt x="494" y="460"/>
                    </a:lnTo>
                    <a:lnTo>
                      <a:pt x="510" y="477"/>
                    </a:lnTo>
                    <a:lnTo>
                      <a:pt x="520" y="477"/>
                    </a:lnTo>
                    <a:lnTo>
                      <a:pt x="510" y="494"/>
                    </a:lnTo>
                    <a:lnTo>
                      <a:pt x="494" y="498"/>
                    </a:lnTo>
                    <a:lnTo>
                      <a:pt x="536" y="538"/>
                    </a:lnTo>
                    <a:lnTo>
                      <a:pt x="527" y="555"/>
                    </a:lnTo>
                    <a:lnTo>
                      <a:pt x="520" y="555"/>
                    </a:lnTo>
                    <a:lnTo>
                      <a:pt x="527" y="583"/>
                    </a:lnTo>
                    <a:lnTo>
                      <a:pt x="472" y="609"/>
                    </a:lnTo>
                    <a:lnTo>
                      <a:pt x="456" y="588"/>
                    </a:lnTo>
                    <a:lnTo>
                      <a:pt x="439" y="593"/>
                    </a:lnTo>
                    <a:lnTo>
                      <a:pt x="435" y="593"/>
                    </a:lnTo>
                    <a:lnTo>
                      <a:pt x="435" y="605"/>
                    </a:lnTo>
                    <a:lnTo>
                      <a:pt x="418" y="605"/>
                    </a:lnTo>
                    <a:lnTo>
                      <a:pt x="427" y="628"/>
                    </a:lnTo>
                    <a:lnTo>
                      <a:pt x="418" y="638"/>
                    </a:lnTo>
                    <a:lnTo>
                      <a:pt x="411" y="638"/>
                    </a:lnTo>
                    <a:lnTo>
                      <a:pt x="385" y="621"/>
                    </a:lnTo>
                    <a:lnTo>
                      <a:pt x="373" y="628"/>
                    </a:lnTo>
                    <a:lnTo>
                      <a:pt x="357" y="605"/>
                    </a:lnTo>
                    <a:lnTo>
                      <a:pt x="380" y="588"/>
                    </a:lnTo>
                    <a:lnTo>
                      <a:pt x="385" y="555"/>
                    </a:lnTo>
                    <a:lnTo>
                      <a:pt x="380" y="550"/>
                    </a:lnTo>
                    <a:lnTo>
                      <a:pt x="385" y="510"/>
                    </a:lnTo>
                    <a:lnTo>
                      <a:pt x="373" y="498"/>
                    </a:lnTo>
                    <a:lnTo>
                      <a:pt x="373" y="494"/>
                    </a:lnTo>
                    <a:lnTo>
                      <a:pt x="373" y="482"/>
                    </a:lnTo>
                    <a:lnTo>
                      <a:pt x="347" y="477"/>
                    </a:lnTo>
                    <a:lnTo>
                      <a:pt x="326" y="444"/>
                    </a:lnTo>
                    <a:lnTo>
                      <a:pt x="331" y="387"/>
                    </a:lnTo>
                    <a:lnTo>
                      <a:pt x="326" y="371"/>
                    </a:lnTo>
                    <a:lnTo>
                      <a:pt x="293" y="349"/>
                    </a:lnTo>
                    <a:lnTo>
                      <a:pt x="272" y="309"/>
                    </a:lnTo>
                    <a:lnTo>
                      <a:pt x="234" y="305"/>
                    </a:lnTo>
                    <a:lnTo>
                      <a:pt x="222" y="309"/>
                    </a:lnTo>
                    <a:lnTo>
                      <a:pt x="222" y="316"/>
                    </a:lnTo>
                    <a:lnTo>
                      <a:pt x="212" y="326"/>
                    </a:lnTo>
                    <a:lnTo>
                      <a:pt x="212" y="333"/>
                    </a:lnTo>
                    <a:lnTo>
                      <a:pt x="196" y="333"/>
                    </a:lnTo>
                    <a:lnTo>
                      <a:pt x="179" y="349"/>
                    </a:lnTo>
                    <a:lnTo>
                      <a:pt x="179" y="342"/>
                    </a:lnTo>
                    <a:lnTo>
                      <a:pt x="163" y="333"/>
                    </a:lnTo>
                    <a:lnTo>
                      <a:pt x="142" y="316"/>
                    </a:lnTo>
                    <a:lnTo>
                      <a:pt x="125" y="333"/>
                    </a:lnTo>
                    <a:lnTo>
                      <a:pt x="113" y="333"/>
                    </a:lnTo>
                    <a:lnTo>
                      <a:pt x="104" y="349"/>
                    </a:lnTo>
                    <a:lnTo>
                      <a:pt x="75" y="371"/>
                    </a:lnTo>
                    <a:lnTo>
                      <a:pt x="59" y="366"/>
                    </a:lnTo>
                    <a:lnTo>
                      <a:pt x="75" y="326"/>
                    </a:lnTo>
                    <a:lnTo>
                      <a:pt x="75" y="309"/>
                    </a:lnTo>
                    <a:lnTo>
                      <a:pt x="71" y="305"/>
                    </a:lnTo>
                    <a:lnTo>
                      <a:pt x="87" y="288"/>
                    </a:lnTo>
                    <a:lnTo>
                      <a:pt x="75" y="272"/>
                    </a:lnTo>
                    <a:lnTo>
                      <a:pt x="87" y="255"/>
                    </a:lnTo>
                    <a:lnTo>
                      <a:pt x="75" y="231"/>
                    </a:lnTo>
                    <a:lnTo>
                      <a:pt x="87" y="222"/>
                    </a:lnTo>
                    <a:lnTo>
                      <a:pt x="54" y="215"/>
                    </a:lnTo>
                    <a:lnTo>
                      <a:pt x="49" y="222"/>
                    </a:lnTo>
                    <a:lnTo>
                      <a:pt x="33" y="222"/>
                    </a:lnTo>
                    <a:lnTo>
                      <a:pt x="21" y="205"/>
                    </a:lnTo>
                    <a:lnTo>
                      <a:pt x="33" y="177"/>
                    </a:lnTo>
                    <a:lnTo>
                      <a:pt x="21" y="177"/>
                    </a:lnTo>
                    <a:lnTo>
                      <a:pt x="16" y="160"/>
                    </a:lnTo>
                    <a:lnTo>
                      <a:pt x="5" y="165"/>
                    </a:lnTo>
                    <a:lnTo>
                      <a:pt x="0" y="160"/>
                    </a:lnTo>
                    <a:lnTo>
                      <a:pt x="0" y="160"/>
                    </a:lnTo>
                    <a:lnTo>
                      <a:pt x="0" y="16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81" name="Freeform 515">
                <a:extLst>
                  <a:ext uri="{FF2B5EF4-FFF2-40B4-BE49-F238E27FC236}">
                    <a16:creationId xmlns:a16="http://schemas.microsoft.com/office/drawing/2014/main" id="{705E6243-1103-4113-95BF-81107A0F5FC5}"/>
                  </a:ext>
                </a:extLst>
              </p:cNvPr>
              <p:cNvSpPr>
                <a:spLocks noEditPoints="1"/>
              </p:cNvSpPr>
              <p:nvPr/>
            </p:nvSpPr>
            <p:spPr bwMode="gray">
              <a:xfrm>
                <a:off x="8955407" y="6745010"/>
                <a:ext cx="641768" cy="217676"/>
              </a:xfrm>
              <a:custGeom>
                <a:avLst/>
                <a:gdLst>
                  <a:gd name="T0" fmla="*/ 1205 w 1377"/>
                  <a:gd name="T1" fmla="*/ 4 h 467"/>
                  <a:gd name="T2" fmla="*/ 1238 w 1377"/>
                  <a:gd name="T3" fmla="*/ 0 h 467"/>
                  <a:gd name="T4" fmla="*/ 1233 w 1377"/>
                  <a:gd name="T5" fmla="*/ 0 h 467"/>
                  <a:gd name="T6" fmla="*/ 1184 w 1377"/>
                  <a:gd name="T7" fmla="*/ 222 h 467"/>
                  <a:gd name="T8" fmla="*/ 1125 w 1377"/>
                  <a:gd name="T9" fmla="*/ 226 h 467"/>
                  <a:gd name="T10" fmla="*/ 1099 w 1377"/>
                  <a:gd name="T11" fmla="*/ 304 h 467"/>
                  <a:gd name="T12" fmla="*/ 1070 w 1377"/>
                  <a:gd name="T13" fmla="*/ 361 h 467"/>
                  <a:gd name="T14" fmla="*/ 1037 w 1377"/>
                  <a:gd name="T15" fmla="*/ 415 h 467"/>
                  <a:gd name="T16" fmla="*/ 936 w 1377"/>
                  <a:gd name="T17" fmla="*/ 411 h 467"/>
                  <a:gd name="T18" fmla="*/ 865 w 1377"/>
                  <a:gd name="T19" fmla="*/ 444 h 467"/>
                  <a:gd name="T20" fmla="*/ 704 w 1377"/>
                  <a:gd name="T21" fmla="*/ 411 h 467"/>
                  <a:gd name="T22" fmla="*/ 718 w 1377"/>
                  <a:gd name="T23" fmla="*/ 406 h 467"/>
                  <a:gd name="T24" fmla="*/ 784 w 1377"/>
                  <a:gd name="T25" fmla="*/ 415 h 467"/>
                  <a:gd name="T26" fmla="*/ 827 w 1377"/>
                  <a:gd name="T27" fmla="*/ 427 h 467"/>
                  <a:gd name="T28" fmla="*/ 822 w 1377"/>
                  <a:gd name="T29" fmla="*/ 373 h 467"/>
                  <a:gd name="T30" fmla="*/ 827 w 1377"/>
                  <a:gd name="T31" fmla="*/ 333 h 467"/>
                  <a:gd name="T32" fmla="*/ 1006 w 1377"/>
                  <a:gd name="T33" fmla="*/ 193 h 467"/>
                  <a:gd name="T34" fmla="*/ 1070 w 1377"/>
                  <a:gd name="T35" fmla="*/ 226 h 467"/>
                  <a:gd name="T36" fmla="*/ 1082 w 1377"/>
                  <a:gd name="T37" fmla="*/ 181 h 467"/>
                  <a:gd name="T38" fmla="*/ 1091 w 1377"/>
                  <a:gd name="T39" fmla="*/ 172 h 467"/>
                  <a:gd name="T40" fmla="*/ 1108 w 1377"/>
                  <a:gd name="T41" fmla="*/ 139 h 467"/>
                  <a:gd name="T42" fmla="*/ 1151 w 1377"/>
                  <a:gd name="T43" fmla="*/ 99 h 467"/>
                  <a:gd name="T44" fmla="*/ 1205 w 1377"/>
                  <a:gd name="T45" fmla="*/ 25 h 467"/>
                  <a:gd name="T46" fmla="*/ 1238 w 1377"/>
                  <a:gd name="T47" fmla="*/ 44 h 467"/>
                  <a:gd name="T48" fmla="*/ 1259 w 1377"/>
                  <a:gd name="T49" fmla="*/ 77 h 467"/>
                  <a:gd name="T50" fmla="*/ 1292 w 1377"/>
                  <a:gd name="T51" fmla="*/ 82 h 467"/>
                  <a:gd name="T52" fmla="*/ 1314 w 1377"/>
                  <a:gd name="T53" fmla="*/ 111 h 467"/>
                  <a:gd name="T54" fmla="*/ 1377 w 1377"/>
                  <a:gd name="T55" fmla="*/ 155 h 467"/>
                  <a:gd name="T56" fmla="*/ 1297 w 1377"/>
                  <a:gd name="T57" fmla="*/ 172 h 467"/>
                  <a:gd name="T58" fmla="*/ 1330 w 1377"/>
                  <a:gd name="T59" fmla="*/ 205 h 467"/>
                  <a:gd name="T60" fmla="*/ 1271 w 1377"/>
                  <a:gd name="T61" fmla="*/ 210 h 467"/>
                  <a:gd name="T62" fmla="*/ 1243 w 1377"/>
                  <a:gd name="T63" fmla="*/ 44 h 467"/>
                  <a:gd name="T64" fmla="*/ 1243 w 1377"/>
                  <a:gd name="T65" fmla="*/ 44 h 467"/>
                  <a:gd name="T66" fmla="*/ 38 w 1377"/>
                  <a:gd name="T67" fmla="*/ 44 h 467"/>
                  <a:gd name="T68" fmla="*/ 83 w 1377"/>
                  <a:gd name="T69" fmla="*/ 54 h 467"/>
                  <a:gd name="T70" fmla="*/ 92 w 1377"/>
                  <a:gd name="T71" fmla="*/ 111 h 467"/>
                  <a:gd name="T72" fmla="*/ 158 w 1377"/>
                  <a:gd name="T73" fmla="*/ 111 h 467"/>
                  <a:gd name="T74" fmla="*/ 243 w 1377"/>
                  <a:gd name="T75" fmla="*/ 132 h 467"/>
                  <a:gd name="T76" fmla="*/ 272 w 1377"/>
                  <a:gd name="T77" fmla="*/ 278 h 467"/>
                  <a:gd name="T78" fmla="*/ 326 w 1377"/>
                  <a:gd name="T79" fmla="*/ 406 h 467"/>
                  <a:gd name="T80" fmla="*/ 303 w 1377"/>
                  <a:gd name="T81" fmla="*/ 427 h 467"/>
                  <a:gd name="T82" fmla="*/ 217 w 1377"/>
                  <a:gd name="T83" fmla="*/ 394 h 467"/>
                  <a:gd name="T84" fmla="*/ 121 w 1377"/>
                  <a:gd name="T85" fmla="*/ 321 h 467"/>
                  <a:gd name="T86" fmla="*/ 83 w 1377"/>
                  <a:gd name="T87" fmla="*/ 250 h 467"/>
                  <a:gd name="T88" fmla="*/ 88 w 1377"/>
                  <a:gd name="T89" fmla="*/ 238 h 467"/>
                  <a:gd name="T90" fmla="*/ 54 w 1377"/>
                  <a:gd name="T91" fmla="*/ 148 h 467"/>
                  <a:gd name="T92" fmla="*/ 33 w 1377"/>
                  <a:gd name="T93" fmla="*/ 61 h 467"/>
                  <a:gd name="T94" fmla="*/ 0 w 1377"/>
                  <a:gd name="T95" fmla="*/ 61 h 467"/>
                  <a:gd name="T96" fmla="*/ 50 w 1377"/>
                  <a:gd name="T97" fmla="*/ 132 h 467"/>
                  <a:gd name="T98" fmla="*/ 50 w 1377"/>
                  <a:gd name="T99" fmla="*/ 132 h 467"/>
                  <a:gd name="T100" fmla="*/ 1099 w 1377"/>
                  <a:gd name="T101" fmla="*/ 139 h 467"/>
                  <a:gd name="T102" fmla="*/ 1091 w 1377"/>
                  <a:gd name="T103" fmla="*/ 148 h 467"/>
                  <a:gd name="T104" fmla="*/ 1288 w 1377"/>
                  <a:gd name="T105" fmla="*/ 226 h 467"/>
                  <a:gd name="T106" fmla="*/ 822 w 1377"/>
                  <a:gd name="T107" fmla="*/ 321 h 467"/>
                  <a:gd name="T108" fmla="*/ 822 w 1377"/>
                  <a:gd name="T109" fmla="*/ 349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77" h="467">
                    <a:moveTo>
                      <a:pt x="1205" y="4"/>
                    </a:moveTo>
                    <a:lnTo>
                      <a:pt x="1221" y="0"/>
                    </a:lnTo>
                    <a:lnTo>
                      <a:pt x="1221" y="0"/>
                    </a:lnTo>
                    <a:lnTo>
                      <a:pt x="1205" y="4"/>
                    </a:lnTo>
                    <a:lnTo>
                      <a:pt x="1205" y="4"/>
                    </a:lnTo>
                    <a:lnTo>
                      <a:pt x="1205" y="4"/>
                    </a:lnTo>
                    <a:close/>
                    <a:moveTo>
                      <a:pt x="1233" y="0"/>
                    </a:moveTo>
                    <a:lnTo>
                      <a:pt x="1238" y="0"/>
                    </a:lnTo>
                    <a:lnTo>
                      <a:pt x="1238" y="4"/>
                    </a:lnTo>
                    <a:lnTo>
                      <a:pt x="1221" y="16"/>
                    </a:lnTo>
                    <a:lnTo>
                      <a:pt x="1233" y="0"/>
                    </a:lnTo>
                    <a:lnTo>
                      <a:pt x="1233" y="0"/>
                    </a:lnTo>
                    <a:lnTo>
                      <a:pt x="1233" y="0"/>
                    </a:lnTo>
                    <a:close/>
                    <a:moveTo>
                      <a:pt x="1259" y="226"/>
                    </a:moveTo>
                    <a:lnTo>
                      <a:pt x="1238" y="210"/>
                    </a:lnTo>
                    <a:lnTo>
                      <a:pt x="1184" y="222"/>
                    </a:lnTo>
                    <a:lnTo>
                      <a:pt x="1162" y="210"/>
                    </a:lnTo>
                    <a:lnTo>
                      <a:pt x="1151" y="222"/>
                    </a:lnTo>
                    <a:lnTo>
                      <a:pt x="1136" y="210"/>
                    </a:lnTo>
                    <a:lnTo>
                      <a:pt x="1125" y="226"/>
                    </a:lnTo>
                    <a:lnTo>
                      <a:pt x="1125" y="259"/>
                    </a:lnTo>
                    <a:lnTo>
                      <a:pt x="1125" y="278"/>
                    </a:lnTo>
                    <a:lnTo>
                      <a:pt x="1113" y="304"/>
                    </a:lnTo>
                    <a:lnTo>
                      <a:pt x="1099" y="304"/>
                    </a:lnTo>
                    <a:lnTo>
                      <a:pt x="1091" y="316"/>
                    </a:lnTo>
                    <a:lnTo>
                      <a:pt x="1082" y="337"/>
                    </a:lnTo>
                    <a:lnTo>
                      <a:pt x="1099" y="349"/>
                    </a:lnTo>
                    <a:lnTo>
                      <a:pt x="1070" y="361"/>
                    </a:lnTo>
                    <a:lnTo>
                      <a:pt x="1070" y="389"/>
                    </a:lnTo>
                    <a:lnTo>
                      <a:pt x="1061" y="406"/>
                    </a:lnTo>
                    <a:lnTo>
                      <a:pt x="1054" y="427"/>
                    </a:lnTo>
                    <a:lnTo>
                      <a:pt x="1037" y="415"/>
                    </a:lnTo>
                    <a:lnTo>
                      <a:pt x="1006" y="415"/>
                    </a:lnTo>
                    <a:lnTo>
                      <a:pt x="985" y="434"/>
                    </a:lnTo>
                    <a:lnTo>
                      <a:pt x="947" y="427"/>
                    </a:lnTo>
                    <a:lnTo>
                      <a:pt x="936" y="411"/>
                    </a:lnTo>
                    <a:lnTo>
                      <a:pt x="898" y="411"/>
                    </a:lnTo>
                    <a:lnTo>
                      <a:pt x="881" y="415"/>
                    </a:lnTo>
                    <a:lnTo>
                      <a:pt x="877" y="444"/>
                    </a:lnTo>
                    <a:lnTo>
                      <a:pt x="865" y="444"/>
                    </a:lnTo>
                    <a:lnTo>
                      <a:pt x="860" y="460"/>
                    </a:lnTo>
                    <a:lnTo>
                      <a:pt x="810" y="451"/>
                    </a:lnTo>
                    <a:lnTo>
                      <a:pt x="768" y="467"/>
                    </a:lnTo>
                    <a:lnTo>
                      <a:pt x="704" y="411"/>
                    </a:lnTo>
                    <a:lnTo>
                      <a:pt x="697" y="389"/>
                    </a:lnTo>
                    <a:lnTo>
                      <a:pt x="704" y="377"/>
                    </a:lnTo>
                    <a:lnTo>
                      <a:pt x="704" y="389"/>
                    </a:lnTo>
                    <a:lnTo>
                      <a:pt x="718" y="406"/>
                    </a:lnTo>
                    <a:lnTo>
                      <a:pt x="747" y="406"/>
                    </a:lnTo>
                    <a:lnTo>
                      <a:pt x="751" y="394"/>
                    </a:lnTo>
                    <a:lnTo>
                      <a:pt x="758" y="411"/>
                    </a:lnTo>
                    <a:lnTo>
                      <a:pt x="784" y="415"/>
                    </a:lnTo>
                    <a:lnTo>
                      <a:pt x="773" y="415"/>
                    </a:lnTo>
                    <a:lnTo>
                      <a:pt x="784" y="411"/>
                    </a:lnTo>
                    <a:lnTo>
                      <a:pt x="810" y="427"/>
                    </a:lnTo>
                    <a:lnTo>
                      <a:pt x="827" y="427"/>
                    </a:lnTo>
                    <a:lnTo>
                      <a:pt x="806" y="415"/>
                    </a:lnTo>
                    <a:lnTo>
                      <a:pt x="801" y="411"/>
                    </a:lnTo>
                    <a:lnTo>
                      <a:pt x="810" y="377"/>
                    </a:lnTo>
                    <a:lnTo>
                      <a:pt x="822" y="373"/>
                    </a:lnTo>
                    <a:lnTo>
                      <a:pt x="810" y="373"/>
                    </a:lnTo>
                    <a:lnTo>
                      <a:pt x="810" y="356"/>
                    </a:lnTo>
                    <a:lnTo>
                      <a:pt x="827" y="356"/>
                    </a:lnTo>
                    <a:lnTo>
                      <a:pt x="827" y="333"/>
                    </a:lnTo>
                    <a:lnTo>
                      <a:pt x="843" y="321"/>
                    </a:lnTo>
                    <a:lnTo>
                      <a:pt x="936" y="300"/>
                    </a:lnTo>
                    <a:lnTo>
                      <a:pt x="1006" y="222"/>
                    </a:lnTo>
                    <a:lnTo>
                      <a:pt x="1006" y="193"/>
                    </a:lnTo>
                    <a:lnTo>
                      <a:pt x="1016" y="193"/>
                    </a:lnTo>
                    <a:lnTo>
                      <a:pt x="1028" y="193"/>
                    </a:lnTo>
                    <a:lnTo>
                      <a:pt x="1054" y="238"/>
                    </a:lnTo>
                    <a:lnTo>
                      <a:pt x="1070" y="226"/>
                    </a:lnTo>
                    <a:lnTo>
                      <a:pt x="1070" y="210"/>
                    </a:lnTo>
                    <a:lnTo>
                      <a:pt x="1070" y="188"/>
                    </a:lnTo>
                    <a:lnTo>
                      <a:pt x="1082" y="172"/>
                    </a:lnTo>
                    <a:lnTo>
                      <a:pt x="1082" y="181"/>
                    </a:lnTo>
                    <a:lnTo>
                      <a:pt x="1082" y="210"/>
                    </a:lnTo>
                    <a:lnTo>
                      <a:pt x="1108" y="210"/>
                    </a:lnTo>
                    <a:lnTo>
                      <a:pt x="1091" y="172"/>
                    </a:lnTo>
                    <a:lnTo>
                      <a:pt x="1091" y="172"/>
                    </a:lnTo>
                    <a:lnTo>
                      <a:pt x="1108" y="172"/>
                    </a:lnTo>
                    <a:lnTo>
                      <a:pt x="1113" y="165"/>
                    </a:lnTo>
                    <a:lnTo>
                      <a:pt x="1125" y="148"/>
                    </a:lnTo>
                    <a:lnTo>
                      <a:pt x="1108" y="139"/>
                    </a:lnTo>
                    <a:lnTo>
                      <a:pt x="1108" y="132"/>
                    </a:lnTo>
                    <a:lnTo>
                      <a:pt x="1113" y="127"/>
                    </a:lnTo>
                    <a:lnTo>
                      <a:pt x="1136" y="127"/>
                    </a:lnTo>
                    <a:lnTo>
                      <a:pt x="1151" y="99"/>
                    </a:lnTo>
                    <a:lnTo>
                      <a:pt x="1162" y="82"/>
                    </a:lnTo>
                    <a:lnTo>
                      <a:pt x="1184" y="61"/>
                    </a:lnTo>
                    <a:lnTo>
                      <a:pt x="1200" y="21"/>
                    </a:lnTo>
                    <a:lnTo>
                      <a:pt x="1205" y="25"/>
                    </a:lnTo>
                    <a:lnTo>
                      <a:pt x="1205" y="54"/>
                    </a:lnTo>
                    <a:lnTo>
                      <a:pt x="1233" y="21"/>
                    </a:lnTo>
                    <a:lnTo>
                      <a:pt x="1238" y="21"/>
                    </a:lnTo>
                    <a:lnTo>
                      <a:pt x="1238" y="44"/>
                    </a:lnTo>
                    <a:lnTo>
                      <a:pt x="1271" y="54"/>
                    </a:lnTo>
                    <a:lnTo>
                      <a:pt x="1271" y="61"/>
                    </a:lnTo>
                    <a:lnTo>
                      <a:pt x="1271" y="77"/>
                    </a:lnTo>
                    <a:lnTo>
                      <a:pt x="1259" y="77"/>
                    </a:lnTo>
                    <a:lnTo>
                      <a:pt x="1271" y="94"/>
                    </a:lnTo>
                    <a:lnTo>
                      <a:pt x="1254" y="99"/>
                    </a:lnTo>
                    <a:lnTo>
                      <a:pt x="1276" y="99"/>
                    </a:lnTo>
                    <a:lnTo>
                      <a:pt x="1292" y="82"/>
                    </a:lnTo>
                    <a:lnTo>
                      <a:pt x="1297" y="99"/>
                    </a:lnTo>
                    <a:lnTo>
                      <a:pt x="1288" y="111"/>
                    </a:lnTo>
                    <a:lnTo>
                      <a:pt x="1288" y="115"/>
                    </a:lnTo>
                    <a:lnTo>
                      <a:pt x="1314" y="111"/>
                    </a:lnTo>
                    <a:lnTo>
                      <a:pt x="1351" y="132"/>
                    </a:lnTo>
                    <a:lnTo>
                      <a:pt x="1377" y="132"/>
                    </a:lnTo>
                    <a:lnTo>
                      <a:pt x="1377" y="139"/>
                    </a:lnTo>
                    <a:lnTo>
                      <a:pt x="1377" y="155"/>
                    </a:lnTo>
                    <a:lnTo>
                      <a:pt x="1363" y="155"/>
                    </a:lnTo>
                    <a:lnTo>
                      <a:pt x="1340" y="172"/>
                    </a:lnTo>
                    <a:lnTo>
                      <a:pt x="1314" y="165"/>
                    </a:lnTo>
                    <a:lnTo>
                      <a:pt x="1297" y="172"/>
                    </a:lnTo>
                    <a:lnTo>
                      <a:pt x="1309" y="188"/>
                    </a:lnTo>
                    <a:lnTo>
                      <a:pt x="1325" y="193"/>
                    </a:lnTo>
                    <a:lnTo>
                      <a:pt x="1325" y="205"/>
                    </a:lnTo>
                    <a:lnTo>
                      <a:pt x="1330" y="205"/>
                    </a:lnTo>
                    <a:lnTo>
                      <a:pt x="1340" y="205"/>
                    </a:lnTo>
                    <a:lnTo>
                      <a:pt x="1330" y="210"/>
                    </a:lnTo>
                    <a:lnTo>
                      <a:pt x="1292" y="222"/>
                    </a:lnTo>
                    <a:lnTo>
                      <a:pt x="1271" y="210"/>
                    </a:lnTo>
                    <a:lnTo>
                      <a:pt x="1259" y="226"/>
                    </a:lnTo>
                    <a:lnTo>
                      <a:pt x="1259" y="226"/>
                    </a:lnTo>
                    <a:lnTo>
                      <a:pt x="1259" y="226"/>
                    </a:lnTo>
                    <a:close/>
                    <a:moveTo>
                      <a:pt x="1243" y="44"/>
                    </a:moveTo>
                    <a:lnTo>
                      <a:pt x="1254" y="37"/>
                    </a:lnTo>
                    <a:lnTo>
                      <a:pt x="1254" y="44"/>
                    </a:lnTo>
                    <a:lnTo>
                      <a:pt x="1254" y="44"/>
                    </a:lnTo>
                    <a:lnTo>
                      <a:pt x="1243" y="44"/>
                    </a:lnTo>
                    <a:lnTo>
                      <a:pt x="1243" y="44"/>
                    </a:lnTo>
                    <a:lnTo>
                      <a:pt x="1243" y="44"/>
                    </a:lnTo>
                    <a:close/>
                    <a:moveTo>
                      <a:pt x="33" y="61"/>
                    </a:moveTo>
                    <a:lnTo>
                      <a:pt x="38" y="44"/>
                    </a:lnTo>
                    <a:lnTo>
                      <a:pt x="50" y="44"/>
                    </a:lnTo>
                    <a:lnTo>
                      <a:pt x="54" y="54"/>
                    </a:lnTo>
                    <a:lnTo>
                      <a:pt x="71" y="61"/>
                    </a:lnTo>
                    <a:lnTo>
                      <a:pt x="83" y="54"/>
                    </a:lnTo>
                    <a:lnTo>
                      <a:pt x="88" y="77"/>
                    </a:lnTo>
                    <a:lnTo>
                      <a:pt x="104" y="77"/>
                    </a:lnTo>
                    <a:lnTo>
                      <a:pt x="104" y="94"/>
                    </a:lnTo>
                    <a:lnTo>
                      <a:pt x="92" y="111"/>
                    </a:lnTo>
                    <a:lnTo>
                      <a:pt x="104" y="115"/>
                    </a:lnTo>
                    <a:lnTo>
                      <a:pt x="137" y="99"/>
                    </a:lnTo>
                    <a:lnTo>
                      <a:pt x="142" y="111"/>
                    </a:lnTo>
                    <a:lnTo>
                      <a:pt x="158" y="111"/>
                    </a:lnTo>
                    <a:lnTo>
                      <a:pt x="175" y="77"/>
                    </a:lnTo>
                    <a:lnTo>
                      <a:pt x="189" y="77"/>
                    </a:lnTo>
                    <a:lnTo>
                      <a:pt x="201" y="99"/>
                    </a:lnTo>
                    <a:lnTo>
                      <a:pt x="243" y="132"/>
                    </a:lnTo>
                    <a:lnTo>
                      <a:pt x="265" y="172"/>
                    </a:lnTo>
                    <a:lnTo>
                      <a:pt x="272" y="210"/>
                    </a:lnTo>
                    <a:lnTo>
                      <a:pt x="255" y="259"/>
                    </a:lnTo>
                    <a:lnTo>
                      <a:pt x="272" y="278"/>
                    </a:lnTo>
                    <a:lnTo>
                      <a:pt x="265" y="316"/>
                    </a:lnTo>
                    <a:lnTo>
                      <a:pt x="281" y="333"/>
                    </a:lnTo>
                    <a:lnTo>
                      <a:pt x="298" y="337"/>
                    </a:lnTo>
                    <a:lnTo>
                      <a:pt x="326" y="406"/>
                    </a:lnTo>
                    <a:lnTo>
                      <a:pt x="326" y="427"/>
                    </a:lnTo>
                    <a:lnTo>
                      <a:pt x="310" y="427"/>
                    </a:lnTo>
                    <a:lnTo>
                      <a:pt x="303" y="411"/>
                    </a:lnTo>
                    <a:lnTo>
                      <a:pt x="303" y="427"/>
                    </a:lnTo>
                    <a:lnTo>
                      <a:pt x="288" y="415"/>
                    </a:lnTo>
                    <a:lnTo>
                      <a:pt x="272" y="434"/>
                    </a:lnTo>
                    <a:lnTo>
                      <a:pt x="265" y="415"/>
                    </a:lnTo>
                    <a:lnTo>
                      <a:pt x="217" y="394"/>
                    </a:lnTo>
                    <a:lnTo>
                      <a:pt x="201" y="377"/>
                    </a:lnTo>
                    <a:lnTo>
                      <a:pt x="180" y="361"/>
                    </a:lnTo>
                    <a:lnTo>
                      <a:pt x="147" y="337"/>
                    </a:lnTo>
                    <a:lnTo>
                      <a:pt x="121" y="321"/>
                    </a:lnTo>
                    <a:lnTo>
                      <a:pt x="125" y="304"/>
                    </a:lnTo>
                    <a:lnTo>
                      <a:pt x="121" y="295"/>
                    </a:lnTo>
                    <a:lnTo>
                      <a:pt x="92" y="266"/>
                    </a:lnTo>
                    <a:lnTo>
                      <a:pt x="83" y="250"/>
                    </a:lnTo>
                    <a:lnTo>
                      <a:pt x="88" y="250"/>
                    </a:lnTo>
                    <a:lnTo>
                      <a:pt x="71" y="243"/>
                    </a:lnTo>
                    <a:lnTo>
                      <a:pt x="83" y="238"/>
                    </a:lnTo>
                    <a:lnTo>
                      <a:pt x="88" y="238"/>
                    </a:lnTo>
                    <a:lnTo>
                      <a:pt x="71" y="226"/>
                    </a:lnTo>
                    <a:lnTo>
                      <a:pt x="71" y="181"/>
                    </a:lnTo>
                    <a:lnTo>
                      <a:pt x="50" y="155"/>
                    </a:lnTo>
                    <a:lnTo>
                      <a:pt x="54" y="148"/>
                    </a:lnTo>
                    <a:lnTo>
                      <a:pt x="50" y="94"/>
                    </a:lnTo>
                    <a:lnTo>
                      <a:pt x="33" y="61"/>
                    </a:lnTo>
                    <a:lnTo>
                      <a:pt x="33" y="61"/>
                    </a:lnTo>
                    <a:lnTo>
                      <a:pt x="33" y="61"/>
                    </a:lnTo>
                    <a:close/>
                    <a:moveTo>
                      <a:pt x="17" y="61"/>
                    </a:moveTo>
                    <a:lnTo>
                      <a:pt x="17" y="70"/>
                    </a:lnTo>
                    <a:lnTo>
                      <a:pt x="12" y="77"/>
                    </a:lnTo>
                    <a:lnTo>
                      <a:pt x="0" y="61"/>
                    </a:lnTo>
                    <a:lnTo>
                      <a:pt x="17" y="61"/>
                    </a:lnTo>
                    <a:lnTo>
                      <a:pt x="17" y="61"/>
                    </a:lnTo>
                    <a:lnTo>
                      <a:pt x="17" y="61"/>
                    </a:lnTo>
                    <a:close/>
                    <a:moveTo>
                      <a:pt x="50" y="132"/>
                    </a:moveTo>
                    <a:lnTo>
                      <a:pt x="50" y="148"/>
                    </a:lnTo>
                    <a:lnTo>
                      <a:pt x="38" y="148"/>
                    </a:lnTo>
                    <a:lnTo>
                      <a:pt x="38" y="132"/>
                    </a:lnTo>
                    <a:lnTo>
                      <a:pt x="50" y="132"/>
                    </a:lnTo>
                    <a:lnTo>
                      <a:pt x="50" y="132"/>
                    </a:lnTo>
                    <a:lnTo>
                      <a:pt x="50" y="132"/>
                    </a:lnTo>
                    <a:close/>
                    <a:moveTo>
                      <a:pt x="1091" y="148"/>
                    </a:moveTo>
                    <a:lnTo>
                      <a:pt x="1099" y="139"/>
                    </a:lnTo>
                    <a:lnTo>
                      <a:pt x="1099" y="139"/>
                    </a:lnTo>
                    <a:lnTo>
                      <a:pt x="1091" y="148"/>
                    </a:lnTo>
                    <a:lnTo>
                      <a:pt x="1091" y="148"/>
                    </a:lnTo>
                    <a:lnTo>
                      <a:pt x="1091" y="148"/>
                    </a:lnTo>
                    <a:close/>
                    <a:moveTo>
                      <a:pt x="1288" y="226"/>
                    </a:moveTo>
                    <a:lnTo>
                      <a:pt x="1271" y="226"/>
                    </a:lnTo>
                    <a:lnTo>
                      <a:pt x="1271" y="222"/>
                    </a:lnTo>
                    <a:lnTo>
                      <a:pt x="1288" y="226"/>
                    </a:lnTo>
                    <a:lnTo>
                      <a:pt x="1288" y="226"/>
                    </a:lnTo>
                    <a:lnTo>
                      <a:pt x="1288" y="226"/>
                    </a:lnTo>
                    <a:close/>
                    <a:moveTo>
                      <a:pt x="822" y="349"/>
                    </a:moveTo>
                    <a:lnTo>
                      <a:pt x="822" y="321"/>
                    </a:lnTo>
                    <a:lnTo>
                      <a:pt x="827" y="356"/>
                    </a:lnTo>
                    <a:lnTo>
                      <a:pt x="822" y="349"/>
                    </a:lnTo>
                    <a:lnTo>
                      <a:pt x="822" y="349"/>
                    </a:lnTo>
                    <a:lnTo>
                      <a:pt x="822" y="34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82" name="Freeform 524">
                <a:extLst>
                  <a:ext uri="{FF2B5EF4-FFF2-40B4-BE49-F238E27FC236}">
                    <a16:creationId xmlns:a16="http://schemas.microsoft.com/office/drawing/2014/main" id="{37FABDDC-5EF3-48B5-9B28-554F9364BF9C}"/>
                  </a:ext>
                </a:extLst>
              </p:cNvPr>
              <p:cNvSpPr>
                <a:spLocks/>
              </p:cNvSpPr>
              <p:nvPr/>
            </p:nvSpPr>
            <p:spPr bwMode="gray">
              <a:xfrm>
                <a:off x="8315968" y="5938631"/>
                <a:ext cx="267520" cy="143563"/>
              </a:xfrm>
              <a:custGeom>
                <a:avLst/>
                <a:gdLst>
                  <a:gd name="T0" fmla="*/ 163 w 574"/>
                  <a:gd name="T1" fmla="*/ 215 h 308"/>
                  <a:gd name="T2" fmla="*/ 125 w 574"/>
                  <a:gd name="T3" fmla="*/ 199 h 308"/>
                  <a:gd name="T4" fmla="*/ 75 w 574"/>
                  <a:gd name="T5" fmla="*/ 159 h 308"/>
                  <a:gd name="T6" fmla="*/ 33 w 574"/>
                  <a:gd name="T7" fmla="*/ 142 h 308"/>
                  <a:gd name="T8" fmla="*/ 16 w 574"/>
                  <a:gd name="T9" fmla="*/ 88 h 308"/>
                  <a:gd name="T10" fmla="*/ 21 w 574"/>
                  <a:gd name="T11" fmla="*/ 67 h 308"/>
                  <a:gd name="T12" fmla="*/ 71 w 574"/>
                  <a:gd name="T13" fmla="*/ 17 h 308"/>
                  <a:gd name="T14" fmla="*/ 75 w 574"/>
                  <a:gd name="T15" fmla="*/ 22 h 308"/>
                  <a:gd name="T16" fmla="*/ 92 w 574"/>
                  <a:gd name="T17" fmla="*/ 0 h 308"/>
                  <a:gd name="T18" fmla="*/ 146 w 574"/>
                  <a:gd name="T19" fmla="*/ 22 h 308"/>
                  <a:gd name="T20" fmla="*/ 196 w 574"/>
                  <a:gd name="T21" fmla="*/ 55 h 308"/>
                  <a:gd name="T22" fmla="*/ 250 w 574"/>
                  <a:gd name="T23" fmla="*/ 93 h 308"/>
                  <a:gd name="T24" fmla="*/ 271 w 574"/>
                  <a:gd name="T25" fmla="*/ 88 h 308"/>
                  <a:gd name="T26" fmla="*/ 293 w 574"/>
                  <a:gd name="T27" fmla="*/ 109 h 308"/>
                  <a:gd name="T28" fmla="*/ 330 w 574"/>
                  <a:gd name="T29" fmla="*/ 142 h 308"/>
                  <a:gd name="T30" fmla="*/ 359 w 574"/>
                  <a:gd name="T31" fmla="*/ 133 h 308"/>
                  <a:gd name="T32" fmla="*/ 397 w 574"/>
                  <a:gd name="T33" fmla="*/ 166 h 308"/>
                  <a:gd name="T34" fmla="*/ 418 w 574"/>
                  <a:gd name="T35" fmla="*/ 187 h 308"/>
                  <a:gd name="T36" fmla="*/ 427 w 574"/>
                  <a:gd name="T37" fmla="*/ 175 h 308"/>
                  <a:gd name="T38" fmla="*/ 434 w 574"/>
                  <a:gd name="T39" fmla="*/ 182 h 308"/>
                  <a:gd name="T40" fmla="*/ 456 w 574"/>
                  <a:gd name="T41" fmla="*/ 175 h 308"/>
                  <a:gd name="T42" fmla="*/ 505 w 574"/>
                  <a:gd name="T43" fmla="*/ 199 h 308"/>
                  <a:gd name="T44" fmla="*/ 548 w 574"/>
                  <a:gd name="T45" fmla="*/ 187 h 308"/>
                  <a:gd name="T46" fmla="*/ 574 w 574"/>
                  <a:gd name="T47" fmla="*/ 199 h 308"/>
                  <a:gd name="T48" fmla="*/ 560 w 574"/>
                  <a:gd name="T49" fmla="*/ 253 h 308"/>
                  <a:gd name="T50" fmla="*/ 560 w 574"/>
                  <a:gd name="T51" fmla="*/ 308 h 308"/>
                  <a:gd name="T52" fmla="*/ 505 w 574"/>
                  <a:gd name="T53" fmla="*/ 308 h 308"/>
                  <a:gd name="T54" fmla="*/ 472 w 574"/>
                  <a:gd name="T55" fmla="*/ 308 h 308"/>
                  <a:gd name="T56" fmla="*/ 413 w 574"/>
                  <a:gd name="T57" fmla="*/ 291 h 308"/>
                  <a:gd name="T58" fmla="*/ 373 w 574"/>
                  <a:gd name="T59" fmla="*/ 286 h 308"/>
                  <a:gd name="T60" fmla="*/ 321 w 574"/>
                  <a:gd name="T61" fmla="*/ 237 h 308"/>
                  <a:gd name="T62" fmla="*/ 288 w 574"/>
                  <a:gd name="T63" fmla="*/ 220 h 308"/>
                  <a:gd name="T64" fmla="*/ 267 w 574"/>
                  <a:gd name="T65" fmla="*/ 237 h 308"/>
                  <a:gd name="T66" fmla="*/ 222 w 574"/>
                  <a:gd name="T67" fmla="*/ 237 h 308"/>
                  <a:gd name="T68" fmla="*/ 184 w 574"/>
                  <a:gd name="T69" fmla="*/ 220 h 308"/>
                  <a:gd name="T70" fmla="*/ 184 w 574"/>
                  <a:gd name="T71" fmla="*/ 2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74" h="308">
                    <a:moveTo>
                      <a:pt x="184" y="204"/>
                    </a:moveTo>
                    <a:lnTo>
                      <a:pt x="163" y="215"/>
                    </a:lnTo>
                    <a:lnTo>
                      <a:pt x="141" y="187"/>
                    </a:lnTo>
                    <a:lnTo>
                      <a:pt x="125" y="199"/>
                    </a:lnTo>
                    <a:lnTo>
                      <a:pt x="87" y="175"/>
                    </a:lnTo>
                    <a:lnTo>
                      <a:pt x="75" y="159"/>
                    </a:lnTo>
                    <a:lnTo>
                      <a:pt x="33" y="133"/>
                    </a:lnTo>
                    <a:lnTo>
                      <a:pt x="33" y="142"/>
                    </a:lnTo>
                    <a:lnTo>
                      <a:pt x="0" y="121"/>
                    </a:lnTo>
                    <a:lnTo>
                      <a:pt x="16" y="88"/>
                    </a:lnTo>
                    <a:lnTo>
                      <a:pt x="4" y="71"/>
                    </a:lnTo>
                    <a:lnTo>
                      <a:pt x="21" y="67"/>
                    </a:lnTo>
                    <a:lnTo>
                      <a:pt x="21" y="50"/>
                    </a:lnTo>
                    <a:lnTo>
                      <a:pt x="71" y="17"/>
                    </a:lnTo>
                    <a:lnTo>
                      <a:pt x="71" y="22"/>
                    </a:lnTo>
                    <a:lnTo>
                      <a:pt x="75" y="22"/>
                    </a:lnTo>
                    <a:lnTo>
                      <a:pt x="92" y="17"/>
                    </a:lnTo>
                    <a:lnTo>
                      <a:pt x="92" y="0"/>
                    </a:lnTo>
                    <a:lnTo>
                      <a:pt x="141" y="0"/>
                    </a:lnTo>
                    <a:lnTo>
                      <a:pt x="146" y="22"/>
                    </a:lnTo>
                    <a:lnTo>
                      <a:pt x="163" y="22"/>
                    </a:lnTo>
                    <a:lnTo>
                      <a:pt x="196" y="55"/>
                    </a:lnTo>
                    <a:lnTo>
                      <a:pt x="217" y="55"/>
                    </a:lnTo>
                    <a:lnTo>
                      <a:pt x="250" y="93"/>
                    </a:lnTo>
                    <a:lnTo>
                      <a:pt x="255" y="93"/>
                    </a:lnTo>
                    <a:lnTo>
                      <a:pt x="271" y="88"/>
                    </a:lnTo>
                    <a:lnTo>
                      <a:pt x="288" y="88"/>
                    </a:lnTo>
                    <a:lnTo>
                      <a:pt x="293" y="109"/>
                    </a:lnTo>
                    <a:lnTo>
                      <a:pt x="309" y="126"/>
                    </a:lnTo>
                    <a:lnTo>
                      <a:pt x="330" y="142"/>
                    </a:lnTo>
                    <a:lnTo>
                      <a:pt x="347" y="133"/>
                    </a:lnTo>
                    <a:lnTo>
                      <a:pt x="359" y="133"/>
                    </a:lnTo>
                    <a:lnTo>
                      <a:pt x="359" y="159"/>
                    </a:lnTo>
                    <a:lnTo>
                      <a:pt x="397" y="166"/>
                    </a:lnTo>
                    <a:lnTo>
                      <a:pt x="413" y="175"/>
                    </a:lnTo>
                    <a:lnTo>
                      <a:pt x="418" y="187"/>
                    </a:lnTo>
                    <a:lnTo>
                      <a:pt x="427" y="187"/>
                    </a:lnTo>
                    <a:lnTo>
                      <a:pt x="427" y="175"/>
                    </a:lnTo>
                    <a:lnTo>
                      <a:pt x="434" y="175"/>
                    </a:lnTo>
                    <a:lnTo>
                      <a:pt x="434" y="182"/>
                    </a:lnTo>
                    <a:lnTo>
                      <a:pt x="451" y="187"/>
                    </a:lnTo>
                    <a:lnTo>
                      <a:pt x="456" y="175"/>
                    </a:lnTo>
                    <a:lnTo>
                      <a:pt x="467" y="175"/>
                    </a:lnTo>
                    <a:lnTo>
                      <a:pt x="505" y="199"/>
                    </a:lnTo>
                    <a:lnTo>
                      <a:pt x="536" y="199"/>
                    </a:lnTo>
                    <a:lnTo>
                      <a:pt x="548" y="187"/>
                    </a:lnTo>
                    <a:lnTo>
                      <a:pt x="564" y="199"/>
                    </a:lnTo>
                    <a:lnTo>
                      <a:pt x="574" y="199"/>
                    </a:lnTo>
                    <a:lnTo>
                      <a:pt x="564" y="220"/>
                    </a:lnTo>
                    <a:lnTo>
                      <a:pt x="560" y="253"/>
                    </a:lnTo>
                    <a:lnTo>
                      <a:pt x="574" y="286"/>
                    </a:lnTo>
                    <a:lnTo>
                      <a:pt x="560" y="308"/>
                    </a:lnTo>
                    <a:lnTo>
                      <a:pt x="548" y="298"/>
                    </a:lnTo>
                    <a:lnTo>
                      <a:pt x="505" y="308"/>
                    </a:lnTo>
                    <a:lnTo>
                      <a:pt x="489" y="298"/>
                    </a:lnTo>
                    <a:lnTo>
                      <a:pt x="472" y="308"/>
                    </a:lnTo>
                    <a:lnTo>
                      <a:pt x="418" y="286"/>
                    </a:lnTo>
                    <a:lnTo>
                      <a:pt x="413" y="291"/>
                    </a:lnTo>
                    <a:lnTo>
                      <a:pt x="385" y="270"/>
                    </a:lnTo>
                    <a:lnTo>
                      <a:pt x="373" y="286"/>
                    </a:lnTo>
                    <a:lnTo>
                      <a:pt x="326" y="258"/>
                    </a:lnTo>
                    <a:lnTo>
                      <a:pt x="321" y="237"/>
                    </a:lnTo>
                    <a:lnTo>
                      <a:pt x="293" y="232"/>
                    </a:lnTo>
                    <a:lnTo>
                      <a:pt x="288" y="220"/>
                    </a:lnTo>
                    <a:lnTo>
                      <a:pt x="267" y="232"/>
                    </a:lnTo>
                    <a:lnTo>
                      <a:pt x="267" y="237"/>
                    </a:lnTo>
                    <a:lnTo>
                      <a:pt x="234" y="232"/>
                    </a:lnTo>
                    <a:lnTo>
                      <a:pt x="222" y="237"/>
                    </a:lnTo>
                    <a:lnTo>
                      <a:pt x="217" y="232"/>
                    </a:lnTo>
                    <a:lnTo>
                      <a:pt x="184" y="220"/>
                    </a:lnTo>
                    <a:lnTo>
                      <a:pt x="184" y="204"/>
                    </a:lnTo>
                    <a:lnTo>
                      <a:pt x="184" y="204"/>
                    </a:lnTo>
                    <a:lnTo>
                      <a:pt x="184" y="20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83" name="Freeform 531">
                <a:extLst>
                  <a:ext uri="{FF2B5EF4-FFF2-40B4-BE49-F238E27FC236}">
                    <a16:creationId xmlns:a16="http://schemas.microsoft.com/office/drawing/2014/main" id="{AD8E2FA0-3B6B-474D-8965-E4681BCB5320}"/>
                  </a:ext>
                </a:extLst>
              </p:cNvPr>
              <p:cNvSpPr>
                <a:spLocks noEditPoints="1"/>
              </p:cNvSpPr>
              <p:nvPr/>
            </p:nvSpPr>
            <p:spPr bwMode="gray">
              <a:xfrm>
                <a:off x="7688182" y="5687860"/>
                <a:ext cx="556013" cy="490819"/>
              </a:xfrm>
              <a:custGeom>
                <a:avLst/>
                <a:gdLst>
                  <a:gd name="T0" fmla="*/ 248 w 1193"/>
                  <a:gd name="T1" fmla="*/ 605 h 1053"/>
                  <a:gd name="T2" fmla="*/ 378 w 1193"/>
                  <a:gd name="T3" fmla="*/ 560 h 1053"/>
                  <a:gd name="T4" fmla="*/ 399 w 1193"/>
                  <a:gd name="T5" fmla="*/ 494 h 1053"/>
                  <a:gd name="T6" fmla="*/ 485 w 1193"/>
                  <a:gd name="T7" fmla="*/ 460 h 1053"/>
                  <a:gd name="T8" fmla="*/ 539 w 1193"/>
                  <a:gd name="T9" fmla="*/ 427 h 1053"/>
                  <a:gd name="T10" fmla="*/ 577 w 1193"/>
                  <a:gd name="T11" fmla="*/ 439 h 1053"/>
                  <a:gd name="T12" fmla="*/ 598 w 1193"/>
                  <a:gd name="T13" fmla="*/ 349 h 1053"/>
                  <a:gd name="T14" fmla="*/ 664 w 1193"/>
                  <a:gd name="T15" fmla="*/ 300 h 1053"/>
                  <a:gd name="T16" fmla="*/ 643 w 1193"/>
                  <a:gd name="T17" fmla="*/ 262 h 1053"/>
                  <a:gd name="T18" fmla="*/ 723 w 1193"/>
                  <a:gd name="T19" fmla="*/ 222 h 1053"/>
                  <a:gd name="T20" fmla="*/ 749 w 1193"/>
                  <a:gd name="T21" fmla="*/ 168 h 1053"/>
                  <a:gd name="T22" fmla="*/ 749 w 1193"/>
                  <a:gd name="T23" fmla="*/ 94 h 1053"/>
                  <a:gd name="T24" fmla="*/ 756 w 1193"/>
                  <a:gd name="T25" fmla="*/ 52 h 1053"/>
                  <a:gd name="T26" fmla="*/ 900 w 1193"/>
                  <a:gd name="T27" fmla="*/ 7 h 1053"/>
                  <a:gd name="T28" fmla="*/ 966 w 1193"/>
                  <a:gd name="T29" fmla="*/ 0 h 1053"/>
                  <a:gd name="T30" fmla="*/ 1042 w 1193"/>
                  <a:gd name="T31" fmla="*/ 23 h 1053"/>
                  <a:gd name="T32" fmla="*/ 1073 w 1193"/>
                  <a:gd name="T33" fmla="*/ 90 h 1053"/>
                  <a:gd name="T34" fmla="*/ 1127 w 1193"/>
                  <a:gd name="T35" fmla="*/ 118 h 1053"/>
                  <a:gd name="T36" fmla="*/ 1127 w 1193"/>
                  <a:gd name="T37" fmla="*/ 189 h 1053"/>
                  <a:gd name="T38" fmla="*/ 1042 w 1193"/>
                  <a:gd name="T39" fmla="*/ 205 h 1053"/>
                  <a:gd name="T40" fmla="*/ 922 w 1193"/>
                  <a:gd name="T41" fmla="*/ 229 h 1053"/>
                  <a:gd name="T42" fmla="*/ 933 w 1193"/>
                  <a:gd name="T43" fmla="*/ 283 h 1053"/>
                  <a:gd name="T44" fmla="*/ 971 w 1193"/>
                  <a:gd name="T45" fmla="*/ 349 h 1053"/>
                  <a:gd name="T46" fmla="*/ 1018 w 1193"/>
                  <a:gd name="T47" fmla="*/ 387 h 1053"/>
                  <a:gd name="T48" fmla="*/ 955 w 1193"/>
                  <a:gd name="T49" fmla="*/ 427 h 1053"/>
                  <a:gd name="T50" fmla="*/ 966 w 1193"/>
                  <a:gd name="T51" fmla="*/ 477 h 1053"/>
                  <a:gd name="T52" fmla="*/ 917 w 1193"/>
                  <a:gd name="T53" fmla="*/ 555 h 1053"/>
                  <a:gd name="T54" fmla="*/ 794 w 1193"/>
                  <a:gd name="T55" fmla="*/ 687 h 1053"/>
                  <a:gd name="T56" fmla="*/ 695 w 1193"/>
                  <a:gd name="T57" fmla="*/ 742 h 1053"/>
                  <a:gd name="T58" fmla="*/ 610 w 1193"/>
                  <a:gd name="T59" fmla="*/ 827 h 1053"/>
                  <a:gd name="T60" fmla="*/ 664 w 1193"/>
                  <a:gd name="T61" fmla="*/ 902 h 1053"/>
                  <a:gd name="T62" fmla="*/ 718 w 1193"/>
                  <a:gd name="T63" fmla="*/ 980 h 1053"/>
                  <a:gd name="T64" fmla="*/ 695 w 1193"/>
                  <a:gd name="T65" fmla="*/ 1013 h 1053"/>
                  <a:gd name="T66" fmla="*/ 643 w 1193"/>
                  <a:gd name="T67" fmla="*/ 1020 h 1053"/>
                  <a:gd name="T68" fmla="*/ 555 w 1193"/>
                  <a:gd name="T69" fmla="*/ 1001 h 1053"/>
                  <a:gd name="T70" fmla="*/ 518 w 1193"/>
                  <a:gd name="T71" fmla="*/ 1037 h 1053"/>
                  <a:gd name="T72" fmla="*/ 501 w 1193"/>
                  <a:gd name="T73" fmla="*/ 1046 h 1053"/>
                  <a:gd name="T74" fmla="*/ 468 w 1193"/>
                  <a:gd name="T75" fmla="*/ 1037 h 1053"/>
                  <a:gd name="T76" fmla="*/ 437 w 1193"/>
                  <a:gd name="T77" fmla="*/ 980 h 1053"/>
                  <a:gd name="T78" fmla="*/ 399 w 1193"/>
                  <a:gd name="T79" fmla="*/ 926 h 1053"/>
                  <a:gd name="T80" fmla="*/ 383 w 1193"/>
                  <a:gd name="T81" fmla="*/ 909 h 1053"/>
                  <a:gd name="T82" fmla="*/ 265 w 1193"/>
                  <a:gd name="T83" fmla="*/ 935 h 1053"/>
                  <a:gd name="T84" fmla="*/ 220 w 1193"/>
                  <a:gd name="T85" fmla="*/ 926 h 1053"/>
                  <a:gd name="T86" fmla="*/ 69 w 1193"/>
                  <a:gd name="T87" fmla="*/ 947 h 1053"/>
                  <a:gd name="T88" fmla="*/ 59 w 1193"/>
                  <a:gd name="T89" fmla="*/ 893 h 1053"/>
                  <a:gd name="T90" fmla="*/ 97 w 1193"/>
                  <a:gd name="T91" fmla="*/ 848 h 1053"/>
                  <a:gd name="T92" fmla="*/ 161 w 1193"/>
                  <a:gd name="T93" fmla="*/ 831 h 1053"/>
                  <a:gd name="T94" fmla="*/ 140 w 1193"/>
                  <a:gd name="T95" fmla="*/ 782 h 1053"/>
                  <a:gd name="T96" fmla="*/ 107 w 1193"/>
                  <a:gd name="T97" fmla="*/ 687 h 1053"/>
                  <a:gd name="T98" fmla="*/ 0 w 1193"/>
                  <a:gd name="T99" fmla="*/ 576 h 1053"/>
                  <a:gd name="T100" fmla="*/ 166 w 1193"/>
                  <a:gd name="T101" fmla="*/ 609 h 1053"/>
                  <a:gd name="T102" fmla="*/ 463 w 1193"/>
                  <a:gd name="T103" fmla="*/ 1030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93" h="1053">
                    <a:moveTo>
                      <a:pt x="166" y="609"/>
                    </a:moveTo>
                    <a:lnTo>
                      <a:pt x="194" y="605"/>
                    </a:lnTo>
                    <a:lnTo>
                      <a:pt x="220" y="609"/>
                    </a:lnTo>
                    <a:lnTo>
                      <a:pt x="248" y="605"/>
                    </a:lnTo>
                    <a:lnTo>
                      <a:pt x="291" y="605"/>
                    </a:lnTo>
                    <a:lnTo>
                      <a:pt x="378" y="576"/>
                    </a:lnTo>
                    <a:lnTo>
                      <a:pt x="383" y="571"/>
                    </a:lnTo>
                    <a:lnTo>
                      <a:pt x="378" y="560"/>
                    </a:lnTo>
                    <a:lnTo>
                      <a:pt x="383" y="548"/>
                    </a:lnTo>
                    <a:lnTo>
                      <a:pt x="383" y="522"/>
                    </a:lnTo>
                    <a:lnTo>
                      <a:pt x="392" y="494"/>
                    </a:lnTo>
                    <a:lnTo>
                      <a:pt x="399" y="494"/>
                    </a:lnTo>
                    <a:lnTo>
                      <a:pt x="416" y="465"/>
                    </a:lnTo>
                    <a:lnTo>
                      <a:pt x="430" y="460"/>
                    </a:lnTo>
                    <a:lnTo>
                      <a:pt x="454" y="465"/>
                    </a:lnTo>
                    <a:lnTo>
                      <a:pt x="485" y="460"/>
                    </a:lnTo>
                    <a:lnTo>
                      <a:pt x="468" y="444"/>
                    </a:lnTo>
                    <a:lnTo>
                      <a:pt x="501" y="439"/>
                    </a:lnTo>
                    <a:lnTo>
                      <a:pt x="518" y="423"/>
                    </a:lnTo>
                    <a:lnTo>
                      <a:pt x="539" y="427"/>
                    </a:lnTo>
                    <a:lnTo>
                      <a:pt x="534" y="427"/>
                    </a:lnTo>
                    <a:lnTo>
                      <a:pt x="539" y="423"/>
                    </a:lnTo>
                    <a:lnTo>
                      <a:pt x="560" y="444"/>
                    </a:lnTo>
                    <a:lnTo>
                      <a:pt x="577" y="439"/>
                    </a:lnTo>
                    <a:lnTo>
                      <a:pt x="593" y="411"/>
                    </a:lnTo>
                    <a:lnTo>
                      <a:pt x="593" y="371"/>
                    </a:lnTo>
                    <a:lnTo>
                      <a:pt x="598" y="354"/>
                    </a:lnTo>
                    <a:lnTo>
                      <a:pt x="598" y="349"/>
                    </a:lnTo>
                    <a:lnTo>
                      <a:pt x="610" y="338"/>
                    </a:lnTo>
                    <a:lnTo>
                      <a:pt x="610" y="328"/>
                    </a:lnTo>
                    <a:lnTo>
                      <a:pt x="648" y="316"/>
                    </a:lnTo>
                    <a:lnTo>
                      <a:pt x="664" y="300"/>
                    </a:lnTo>
                    <a:lnTo>
                      <a:pt x="652" y="283"/>
                    </a:lnTo>
                    <a:lnTo>
                      <a:pt x="652" y="272"/>
                    </a:lnTo>
                    <a:lnTo>
                      <a:pt x="643" y="272"/>
                    </a:lnTo>
                    <a:lnTo>
                      <a:pt x="643" y="262"/>
                    </a:lnTo>
                    <a:lnTo>
                      <a:pt x="631" y="246"/>
                    </a:lnTo>
                    <a:lnTo>
                      <a:pt x="681" y="255"/>
                    </a:lnTo>
                    <a:lnTo>
                      <a:pt x="718" y="246"/>
                    </a:lnTo>
                    <a:lnTo>
                      <a:pt x="723" y="222"/>
                    </a:lnTo>
                    <a:lnTo>
                      <a:pt x="707" y="205"/>
                    </a:lnTo>
                    <a:lnTo>
                      <a:pt x="718" y="201"/>
                    </a:lnTo>
                    <a:lnTo>
                      <a:pt x="718" y="189"/>
                    </a:lnTo>
                    <a:lnTo>
                      <a:pt x="749" y="168"/>
                    </a:lnTo>
                    <a:lnTo>
                      <a:pt x="756" y="151"/>
                    </a:lnTo>
                    <a:lnTo>
                      <a:pt x="749" y="144"/>
                    </a:lnTo>
                    <a:lnTo>
                      <a:pt x="756" y="134"/>
                    </a:lnTo>
                    <a:lnTo>
                      <a:pt x="749" y="94"/>
                    </a:lnTo>
                    <a:lnTo>
                      <a:pt x="723" y="78"/>
                    </a:lnTo>
                    <a:lnTo>
                      <a:pt x="733" y="73"/>
                    </a:lnTo>
                    <a:lnTo>
                      <a:pt x="756" y="57"/>
                    </a:lnTo>
                    <a:lnTo>
                      <a:pt x="756" y="52"/>
                    </a:lnTo>
                    <a:lnTo>
                      <a:pt x="761" y="52"/>
                    </a:lnTo>
                    <a:lnTo>
                      <a:pt x="794" y="23"/>
                    </a:lnTo>
                    <a:lnTo>
                      <a:pt x="825" y="19"/>
                    </a:lnTo>
                    <a:lnTo>
                      <a:pt x="900" y="7"/>
                    </a:lnTo>
                    <a:lnTo>
                      <a:pt x="922" y="19"/>
                    </a:lnTo>
                    <a:lnTo>
                      <a:pt x="955" y="0"/>
                    </a:lnTo>
                    <a:lnTo>
                      <a:pt x="966" y="7"/>
                    </a:lnTo>
                    <a:lnTo>
                      <a:pt x="966" y="0"/>
                    </a:lnTo>
                    <a:lnTo>
                      <a:pt x="1004" y="0"/>
                    </a:lnTo>
                    <a:lnTo>
                      <a:pt x="1018" y="7"/>
                    </a:lnTo>
                    <a:lnTo>
                      <a:pt x="1025" y="23"/>
                    </a:lnTo>
                    <a:lnTo>
                      <a:pt x="1042" y="23"/>
                    </a:lnTo>
                    <a:lnTo>
                      <a:pt x="1056" y="35"/>
                    </a:lnTo>
                    <a:lnTo>
                      <a:pt x="1063" y="61"/>
                    </a:lnTo>
                    <a:lnTo>
                      <a:pt x="1056" y="78"/>
                    </a:lnTo>
                    <a:lnTo>
                      <a:pt x="1073" y="90"/>
                    </a:lnTo>
                    <a:lnTo>
                      <a:pt x="1080" y="106"/>
                    </a:lnTo>
                    <a:lnTo>
                      <a:pt x="1101" y="94"/>
                    </a:lnTo>
                    <a:lnTo>
                      <a:pt x="1101" y="106"/>
                    </a:lnTo>
                    <a:lnTo>
                      <a:pt x="1127" y="118"/>
                    </a:lnTo>
                    <a:lnTo>
                      <a:pt x="1165" y="127"/>
                    </a:lnTo>
                    <a:lnTo>
                      <a:pt x="1193" y="127"/>
                    </a:lnTo>
                    <a:lnTo>
                      <a:pt x="1132" y="160"/>
                    </a:lnTo>
                    <a:lnTo>
                      <a:pt x="1127" y="189"/>
                    </a:lnTo>
                    <a:lnTo>
                      <a:pt x="1094" y="184"/>
                    </a:lnTo>
                    <a:lnTo>
                      <a:pt x="1073" y="201"/>
                    </a:lnTo>
                    <a:lnTo>
                      <a:pt x="1063" y="201"/>
                    </a:lnTo>
                    <a:lnTo>
                      <a:pt x="1042" y="205"/>
                    </a:lnTo>
                    <a:lnTo>
                      <a:pt x="950" y="184"/>
                    </a:lnTo>
                    <a:lnTo>
                      <a:pt x="917" y="201"/>
                    </a:lnTo>
                    <a:lnTo>
                      <a:pt x="912" y="217"/>
                    </a:lnTo>
                    <a:lnTo>
                      <a:pt x="922" y="229"/>
                    </a:lnTo>
                    <a:lnTo>
                      <a:pt x="917" y="238"/>
                    </a:lnTo>
                    <a:lnTo>
                      <a:pt x="938" y="246"/>
                    </a:lnTo>
                    <a:lnTo>
                      <a:pt x="922" y="272"/>
                    </a:lnTo>
                    <a:lnTo>
                      <a:pt x="933" y="283"/>
                    </a:lnTo>
                    <a:lnTo>
                      <a:pt x="922" y="316"/>
                    </a:lnTo>
                    <a:lnTo>
                      <a:pt x="950" y="328"/>
                    </a:lnTo>
                    <a:lnTo>
                      <a:pt x="950" y="349"/>
                    </a:lnTo>
                    <a:lnTo>
                      <a:pt x="971" y="349"/>
                    </a:lnTo>
                    <a:lnTo>
                      <a:pt x="971" y="371"/>
                    </a:lnTo>
                    <a:lnTo>
                      <a:pt x="992" y="371"/>
                    </a:lnTo>
                    <a:lnTo>
                      <a:pt x="1018" y="383"/>
                    </a:lnTo>
                    <a:lnTo>
                      <a:pt x="1018" y="387"/>
                    </a:lnTo>
                    <a:lnTo>
                      <a:pt x="1009" y="404"/>
                    </a:lnTo>
                    <a:lnTo>
                      <a:pt x="988" y="404"/>
                    </a:lnTo>
                    <a:lnTo>
                      <a:pt x="966" y="423"/>
                    </a:lnTo>
                    <a:lnTo>
                      <a:pt x="955" y="427"/>
                    </a:lnTo>
                    <a:lnTo>
                      <a:pt x="966" y="449"/>
                    </a:lnTo>
                    <a:lnTo>
                      <a:pt x="955" y="477"/>
                    </a:lnTo>
                    <a:lnTo>
                      <a:pt x="966" y="482"/>
                    </a:lnTo>
                    <a:lnTo>
                      <a:pt x="966" y="477"/>
                    </a:lnTo>
                    <a:lnTo>
                      <a:pt x="971" y="482"/>
                    </a:lnTo>
                    <a:lnTo>
                      <a:pt x="950" y="498"/>
                    </a:lnTo>
                    <a:lnTo>
                      <a:pt x="917" y="538"/>
                    </a:lnTo>
                    <a:lnTo>
                      <a:pt x="917" y="555"/>
                    </a:lnTo>
                    <a:lnTo>
                      <a:pt x="879" y="571"/>
                    </a:lnTo>
                    <a:lnTo>
                      <a:pt x="846" y="642"/>
                    </a:lnTo>
                    <a:lnTo>
                      <a:pt x="808" y="666"/>
                    </a:lnTo>
                    <a:lnTo>
                      <a:pt x="794" y="687"/>
                    </a:lnTo>
                    <a:lnTo>
                      <a:pt x="777" y="716"/>
                    </a:lnTo>
                    <a:lnTo>
                      <a:pt x="777" y="725"/>
                    </a:lnTo>
                    <a:lnTo>
                      <a:pt x="702" y="742"/>
                    </a:lnTo>
                    <a:lnTo>
                      <a:pt x="695" y="742"/>
                    </a:lnTo>
                    <a:lnTo>
                      <a:pt x="685" y="720"/>
                    </a:lnTo>
                    <a:lnTo>
                      <a:pt x="669" y="720"/>
                    </a:lnTo>
                    <a:lnTo>
                      <a:pt x="614" y="782"/>
                    </a:lnTo>
                    <a:lnTo>
                      <a:pt x="610" y="827"/>
                    </a:lnTo>
                    <a:lnTo>
                      <a:pt x="631" y="831"/>
                    </a:lnTo>
                    <a:lnTo>
                      <a:pt x="652" y="836"/>
                    </a:lnTo>
                    <a:lnTo>
                      <a:pt x="648" y="881"/>
                    </a:lnTo>
                    <a:lnTo>
                      <a:pt x="664" y="902"/>
                    </a:lnTo>
                    <a:lnTo>
                      <a:pt x="685" y="902"/>
                    </a:lnTo>
                    <a:lnTo>
                      <a:pt x="695" y="926"/>
                    </a:lnTo>
                    <a:lnTo>
                      <a:pt x="702" y="942"/>
                    </a:lnTo>
                    <a:lnTo>
                      <a:pt x="718" y="980"/>
                    </a:lnTo>
                    <a:lnTo>
                      <a:pt x="707" y="980"/>
                    </a:lnTo>
                    <a:lnTo>
                      <a:pt x="707" y="997"/>
                    </a:lnTo>
                    <a:lnTo>
                      <a:pt x="718" y="997"/>
                    </a:lnTo>
                    <a:lnTo>
                      <a:pt x="695" y="1013"/>
                    </a:lnTo>
                    <a:lnTo>
                      <a:pt x="685" y="1013"/>
                    </a:lnTo>
                    <a:lnTo>
                      <a:pt x="681" y="997"/>
                    </a:lnTo>
                    <a:lnTo>
                      <a:pt x="648" y="1001"/>
                    </a:lnTo>
                    <a:lnTo>
                      <a:pt x="643" y="1020"/>
                    </a:lnTo>
                    <a:lnTo>
                      <a:pt x="626" y="1020"/>
                    </a:lnTo>
                    <a:lnTo>
                      <a:pt x="614" y="1013"/>
                    </a:lnTo>
                    <a:lnTo>
                      <a:pt x="572" y="1013"/>
                    </a:lnTo>
                    <a:lnTo>
                      <a:pt x="555" y="1001"/>
                    </a:lnTo>
                    <a:lnTo>
                      <a:pt x="555" y="1037"/>
                    </a:lnTo>
                    <a:lnTo>
                      <a:pt x="522" y="1037"/>
                    </a:lnTo>
                    <a:lnTo>
                      <a:pt x="518" y="1046"/>
                    </a:lnTo>
                    <a:lnTo>
                      <a:pt x="518" y="1037"/>
                    </a:lnTo>
                    <a:lnTo>
                      <a:pt x="518" y="1053"/>
                    </a:lnTo>
                    <a:lnTo>
                      <a:pt x="506" y="1053"/>
                    </a:lnTo>
                    <a:lnTo>
                      <a:pt x="501" y="1037"/>
                    </a:lnTo>
                    <a:lnTo>
                      <a:pt x="501" y="1046"/>
                    </a:lnTo>
                    <a:lnTo>
                      <a:pt x="492" y="1037"/>
                    </a:lnTo>
                    <a:lnTo>
                      <a:pt x="492" y="1046"/>
                    </a:lnTo>
                    <a:lnTo>
                      <a:pt x="485" y="1046"/>
                    </a:lnTo>
                    <a:lnTo>
                      <a:pt x="468" y="1037"/>
                    </a:lnTo>
                    <a:lnTo>
                      <a:pt x="468" y="1037"/>
                    </a:lnTo>
                    <a:lnTo>
                      <a:pt x="463" y="1030"/>
                    </a:lnTo>
                    <a:lnTo>
                      <a:pt x="454" y="1020"/>
                    </a:lnTo>
                    <a:lnTo>
                      <a:pt x="437" y="980"/>
                    </a:lnTo>
                    <a:lnTo>
                      <a:pt x="447" y="975"/>
                    </a:lnTo>
                    <a:lnTo>
                      <a:pt x="409" y="964"/>
                    </a:lnTo>
                    <a:lnTo>
                      <a:pt x="416" y="942"/>
                    </a:lnTo>
                    <a:lnTo>
                      <a:pt x="399" y="926"/>
                    </a:lnTo>
                    <a:lnTo>
                      <a:pt x="399" y="919"/>
                    </a:lnTo>
                    <a:lnTo>
                      <a:pt x="383" y="909"/>
                    </a:lnTo>
                    <a:lnTo>
                      <a:pt x="371" y="919"/>
                    </a:lnTo>
                    <a:lnTo>
                      <a:pt x="383" y="909"/>
                    </a:lnTo>
                    <a:lnTo>
                      <a:pt x="399" y="926"/>
                    </a:lnTo>
                    <a:lnTo>
                      <a:pt x="274" y="926"/>
                    </a:lnTo>
                    <a:lnTo>
                      <a:pt x="270" y="942"/>
                    </a:lnTo>
                    <a:lnTo>
                      <a:pt x="265" y="935"/>
                    </a:lnTo>
                    <a:lnTo>
                      <a:pt x="232" y="926"/>
                    </a:lnTo>
                    <a:lnTo>
                      <a:pt x="232" y="919"/>
                    </a:lnTo>
                    <a:lnTo>
                      <a:pt x="220" y="926"/>
                    </a:lnTo>
                    <a:lnTo>
                      <a:pt x="220" y="926"/>
                    </a:lnTo>
                    <a:lnTo>
                      <a:pt x="199" y="926"/>
                    </a:lnTo>
                    <a:lnTo>
                      <a:pt x="182" y="935"/>
                    </a:lnTo>
                    <a:lnTo>
                      <a:pt x="90" y="942"/>
                    </a:lnTo>
                    <a:lnTo>
                      <a:pt x="69" y="947"/>
                    </a:lnTo>
                    <a:lnTo>
                      <a:pt x="59" y="947"/>
                    </a:lnTo>
                    <a:lnTo>
                      <a:pt x="69" y="942"/>
                    </a:lnTo>
                    <a:lnTo>
                      <a:pt x="52" y="942"/>
                    </a:lnTo>
                    <a:lnTo>
                      <a:pt x="59" y="893"/>
                    </a:lnTo>
                    <a:lnTo>
                      <a:pt x="69" y="893"/>
                    </a:lnTo>
                    <a:lnTo>
                      <a:pt x="69" y="864"/>
                    </a:lnTo>
                    <a:lnTo>
                      <a:pt x="90" y="848"/>
                    </a:lnTo>
                    <a:lnTo>
                      <a:pt x="97" y="848"/>
                    </a:lnTo>
                    <a:lnTo>
                      <a:pt x="97" y="836"/>
                    </a:lnTo>
                    <a:lnTo>
                      <a:pt x="114" y="831"/>
                    </a:lnTo>
                    <a:lnTo>
                      <a:pt x="140" y="831"/>
                    </a:lnTo>
                    <a:lnTo>
                      <a:pt x="161" y="831"/>
                    </a:lnTo>
                    <a:lnTo>
                      <a:pt x="166" y="791"/>
                    </a:lnTo>
                    <a:lnTo>
                      <a:pt x="177" y="791"/>
                    </a:lnTo>
                    <a:lnTo>
                      <a:pt x="166" y="775"/>
                    </a:lnTo>
                    <a:lnTo>
                      <a:pt x="140" y="782"/>
                    </a:lnTo>
                    <a:lnTo>
                      <a:pt x="140" y="770"/>
                    </a:lnTo>
                    <a:lnTo>
                      <a:pt x="140" y="704"/>
                    </a:lnTo>
                    <a:lnTo>
                      <a:pt x="123" y="704"/>
                    </a:lnTo>
                    <a:lnTo>
                      <a:pt x="107" y="687"/>
                    </a:lnTo>
                    <a:lnTo>
                      <a:pt x="76" y="683"/>
                    </a:lnTo>
                    <a:lnTo>
                      <a:pt x="52" y="666"/>
                    </a:lnTo>
                    <a:lnTo>
                      <a:pt x="31" y="616"/>
                    </a:lnTo>
                    <a:lnTo>
                      <a:pt x="0" y="576"/>
                    </a:lnTo>
                    <a:lnTo>
                      <a:pt x="114" y="609"/>
                    </a:lnTo>
                    <a:lnTo>
                      <a:pt x="166" y="609"/>
                    </a:lnTo>
                    <a:lnTo>
                      <a:pt x="166" y="609"/>
                    </a:lnTo>
                    <a:lnTo>
                      <a:pt x="166" y="609"/>
                    </a:lnTo>
                    <a:close/>
                    <a:moveTo>
                      <a:pt x="463" y="1030"/>
                    </a:moveTo>
                    <a:lnTo>
                      <a:pt x="463" y="1030"/>
                    </a:lnTo>
                    <a:lnTo>
                      <a:pt x="463" y="1030"/>
                    </a:lnTo>
                    <a:lnTo>
                      <a:pt x="463" y="1030"/>
                    </a:lnTo>
                    <a:lnTo>
                      <a:pt x="463" y="1030"/>
                    </a:lnTo>
                    <a:lnTo>
                      <a:pt x="463" y="103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85" name="Freeform 541">
                <a:extLst>
                  <a:ext uri="{FF2B5EF4-FFF2-40B4-BE49-F238E27FC236}">
                    <a16:creationId xmlns:a16="http://schemas.microsoft.com/office/drawing/2014/main" id="{9353C7D3-4F66-4371-ABAC-E80003ABF6BC}"/>
                  </a:ext>
                </a:extLst>
              </p:cNvPr>
              <p:cNvSpPr>
                <a:spLocks noEditPoints="1"/>
              </p:cNvSpPr>
              <p:nvPr/>
            </p:nvSpPr>
            <p:spPr bwMode="gray">
              <a:xfrm>
                <a:off x="9521207" y="6326439"/>
                <a:ext cx="315060" cy="496413"/>
              </a:xfrm>
              <a:custGeom>
                <a:avLst/>
                <a:gdLst>
                  <a:gd name="T0" fmla="*/ 324 w 676"/>
                  <a:gd name="T1" fmla="*/ 16 h 1065"/>
                  <a:gd name="T2" fmla="*/ 310 w 676"/>
                  <a:gd name="T3" fmla="*/ 50 h 1065"/>
                  <a:gd name="T4" fmla="*/ 459 w 676"/>
                  <a:gd name="T5" fmla="*/ 437 h 1065"/>
                  <a:gd name="T6" fmla="*/ 487 w 676"/>
                  <a:gd name="T7" fmla="*/ 494 h 1065"/>
                  <a:gd name="T8" fmla="*/ 395 w 676"/>
                  <a:gd name="T9" fmla="*/ 416 h 1065"/>
                  <a:gd name="T10" fmla="*/ 260 w 676"/>
                  <a:gd name="T11" fmla="*/ 416 h 1065"/>
                  <a:gd name="T12" fmla="*/ 239 w 676"/>
                  <a:gd name="T13" fmla="*/ 349 h 1065"/>
                  <a:gd name="T14" fmla="*/ 244 w 676"/>
                  <a:gd name="T15" fmla="*/ 250 h 1065"/>
                  <a:gd name="T16" fmla="*/ 378 w 676"/>
                  <a:gd name="T17" fmla="*/ 90 h 1065"/>
                  <a:gd name="T18" fmla="*/ 369 w 676"/>
                  <a:gd name="T19" fmla="*/ 250 h 1065"/>
                  <a:gd name="T20" fmla="*/ 369 w 676"/>
                  <a:gd name="T21" fmla="*/ 416 h 1065"/>
                  <a:gd name="T22" fmla="*/ 433 w 676"/>
                  <a:gd name="T23" fmla="*/ 437 h 1065"/>
                  <a:gd name="T24" fmla="*/ 362 w 676"/>
                  <a:gd name="T25" fmla="*/ 342 h 1065"/>
                  <a:gd name="T26" fmla="*/ 369 w 676"/>
                  <a:gd name="T27" fmla="*/ 361 h 1065"/>
                  <a:gd name="T28" fmla="*/ 508 w 676"/>
                  <a:gd name="T29" fmla="*/ 444 h 1065"/>
                  <a:gd name="T30" fmla="*/ 345 w 676"/>
                  <a:gd name="T31" fmla="*/ 461 h 1065"/>
                  <a:gd name="T32" fmla="*/ 239 w 676"/>
                  <a:gd name="T33" fmla="*/ 444 h 1065"/>
                  <a:gd name="T34" fmla="*/ 487 w 676"/>
                  <a:gd name="T35" fmla="*/ 453 h 1065"/>
                  <a:gd name="T36" fmla="*/ 492 w 676"/>
                  <a:gd name="T37" fmla="*/ 470 h 1065"/>
                  <a:gd name="T38" fmla="*/ 362 w 676"/>
                  <a:gd name="T39" fmla="*/ 510 h 1065"/>
                  <a:gd name="T40" fmla="*/ 503 w 676"/>
                  <a:gd name="T41" fmla="*/ 581 h 1065"/>
                  <a:gd name="T42" fmla="*/ 617 w 676"/>
                  <a:gd name="T43" fmla="*/ 626 h 1065"/>
                  <a:gd name="T44" fmla="*/ 584 w 676"/>
                  <a:gd name="T45" fmla="*/ 527 h 1065"/>
                  <a:gd name="T46" fmla="*/ 617 w 676"/>
                  <a:gd name="T47" fmla="*/ 626 h 1065"/>
                  <a:gd name="T48" fmla="*/ 218 w 676"/>
                  <a:gd name="T49" fmla="*/ 555 h 1065"/>
                  <a:gd name="T50" fmla="*/ 293 w 676"/>
                  <a:gd name="T51" fmla="*/ 538 h 1065"/>
                  <a:gd name="T52" fmla="*/ 433 w 676"/>
                  <a:gd name="T53" fmla="*/ 621 h 1065"/>
                  <a:gd name="T54" fmla="*/ 369 w 676"/>
                  <a:gd name="T55" fmla="*/ 572 h 1065"/>
                  <a:gd name="T56" fmla="*/ 529 w 676"/>
                  <a:gd name="T57" fmla="*/ 581 h 1065"/>
                  <a:gd name="T58" fmla="*/ 525 w 676"/>
                  <a:gd name="T59" fmla="*/ 638 h 1065"/>
                  <a:gd name="T60" fmla="*/ 546 w 676"/>
                  <a:gd name="T61" fmla="*/ 692 h 1065"/>
                  <a:gd name="T62" fmla="*/ 189 w 676"/>
                  <a:gd name="T63" fmla="*/ 666 h 1065"/>
                  <a:gd name="T64" fmla="*/ 24 w 676"/>
                  <a:gd name="T65" fmla="*/ 803 h 1065"/>
                  <a:gd name="T66" fmla="*/ 168 w 676"/>
                  <a:gd name="T67" fmla="*/ 659 h 1065"/>
                  <a:gd name="T68" fmla="*/ 185 w 676"/>
                  <a:gd name="T69" fmla="*/ 642 h 1065"/>
                  <a:gd name="T70" fmla="*/ 475 w 676"/>
                  <a:gd name="T71" fmla="*/ 666 h 1065"/>
                  <a:gd name="T72" fmla="*/ 449 w 676"/>
                  <a:gd name="T73" fmla="*/ 675 h 1065"/>
                  <a:gd name="T74" fmla="*/ 416 w 676"/>
                  <a:gd name="T75" fmla="*/ 699 h 1065"/>
                  <a:gd name="T76" fmla="*/ 617 w 676"/>
                  <a:gd name="T77" fmla="*/ 649 h 1065"/>
                  <a:gd name="T78" fmla="*/ 407 w 676"/>
                  <a:gd name="T79" fmla="*/ 659 h 1065"/>
                  <a:gd name="T80" fmla="*/ 513 w 676"/>
                  <a:gd name="T81" fmla="*/ 659 h 1065"/>
                  <a:gd name="T82" fmla="*/ 201 w 676"/>
                  <a:gd name="T83" fmla="*/ 666 h 1065"/>
                  <a:gd name="T84" fmla="*/ 529 w 676"/>
                  <a:gd name="T85" fmla="*/ 699 h 1065"/>
                  <a:gd name="T86" fmla="*/ 529 w 676"/>
                  <a:gd name="T87" fmla="*/ 699 h 1065"/>
                  <a:gd name="T88" fmla="*/ 638 w 676"/>
                  <a:gd name="T89" fmla="*/ 720 h 1065"/>
                  <a:gd name="T90" fmla="*/ 407 w 676"/>
                  <a:gd name="T91" fmla="*/ 886 h 1065"/>
                  <a:gd name="T92" fmla="*/ 421 w 676"/>
                  <a:gd name="T93" fmla="*/ 831 h 1065"/>
                  <a:gd name="T94" fmla="*/ 513 w 676"/>
                  <a:gd name="T95" fmla="*/ 815 h 1065"/>
                  <a:gd name="T96" fmla="*/ 631 w 676"/>
                  <a:gd name="T97" fmla="*/ 737 h 1065"/>
                  <a:gd name="T98" fmla="*/ 664 w 676"/>
                  <a:gd name="T99" fmla="*/ 860 h 1065"/>
                  <a:gd name="T100" fmla="*/ 622 w 676"/>
                  <a:gd name="T101" fmla="*/ 914 h 1065"/>
                  <a:gd name="T102" fmla="*/ 584 w 676"/>
                  <a:gd name="T103" fmla="*/ 1025 h 1065"/>
                  <a:gd name="T104" fmla="*/ 492 w 676"/>
                  <a:gd name="T105" fmla="*/ 869 h 1065"/>
                  <a:gd name="T106" fmla="*/ 454 w 676"/>
                  <a:gd name="T107" fmla="*/ 758 h 1065"/>
                  <a:gd name="T108" fmla="*/ 546 w 676"/>
                  <a:gd name="T109" fmla="*/ 770 h 1065"/>
                  <a:gd name="T110" fmla="*/ 416 w 676"/>
                  <a:gd name="T111" fmla="*/ 898 h 1065"/>
                  <a:gd name="T112" fmla="*/ 622 w 676"/>
                  <a:gd name="T113" fmla="*/ 914 h 1065"/>
                  <a:gd name="T114" fmla="*/ 352 w 676"/>
                  <a:gd name="T115" fmla="*/ 959 h 1065"/>
                  <a:gd name="T116" fmla="*/ 255 w 676"/>
                  <a:gd name="T117" fmla="*/ 959 h 1065"/>
                  <a:gd name="T118" fmla="*/ 310 w 676"/>
                  <a:gd name="T119" fmla="*/ 997 h 1065"/>
                  <a:gd name="T120" fmla="*/ 277 w 676"/>
                  <a:gd name="T121" fmla="*/ 1025 h 1065"/>
                  <a:gd name="T122" fmla="*/ 206 w 676"/>
                  <a:gd name="T123" fmla="*/ 1065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6" h="1065">
                    <a:moveTo>
                      <a:pt x="352" y="0"/>
                    </a:moveTo>
                    <a:lnTo>
                      <a:pt x="345" y="0"/>
                    </a:lnTo>
                    <a:lnTo>
                      <a:pt x="352" y="0"/>
                    </a:lnTo>
                    <a:lnTo>
                      <a:pt x="352" y="0"/>
                    </a:lnTo>
                    <a:lnTo>
                      <a:pt x="352" y="0"/>
                    </a:lnTo>
                    <a:close/>
                    <a:moveTo>
                      <a:pt x="324" y="16"/>
                    </a:moveTo>
                    <a:lnTo>
                      <a:pt x="314" y="12"/>
                    </a:lnTo>
                    <a:lnTo>
                      <a:pt x="324" y="12"/>
                    </a:lnTo>
                    <a:lnTo>
                      <a:pt x="324" y="16"/>
                    </a:lnTo>
                    <a:lnTo>
                      <a:pt x="324" y="16"/>
                    </a:lnTo>
                    <a:lnTo>
                      <a:pt x="324" y="16"/>
                    </a:lnTo>
                    <a:close/>
                    <a:moveTo>
                      <a:pt x="345" y="54"/>
                    </a:moveTo>
                    <a:lnTo>
                      <a:pt x="345" y="38"/>
                    </a:lnTo>
                    <a:lnTo>
                      <a:pt x="352" y="38"/>
                    </a:lnTo>
                    <a:lnTo>
                      <a:pt x="345" y="54"/>
                    </a:lnTo>
                    <a:lnTo>
                      <a:pt x="345" y="54"/>
                    </a:lnTo>
                    <a:lnTo>
                      <a:pt x="345" y="54"/>
                    </a:lnTo>
                    <a:close/>
                    <a:moveTo>
                      <a:pt x="310" y="50"/>
                    </a:moveTo>
                    <a:lnTo>
                      <a:pt x="314" y="50"/>
                    </a:lnTo>
                    <a:lnTo>
                      <a:pt x="310" y="50"/>
                    </a:lnTo>
                    <a:lnTo>
                      <a:pt x="310" y="50"/>
                    </a:lnTo>
                    <a:lnTo>
                      <a:pt x="310" y="50"/>
                    </a:lnTo>
                    <a:close/>
                    <a:moveTo>
                      <a:pt x="433" y="437"/>
                    </a:moveTo>
                    <a:lnTo>
                      <a:pt x="449" y="420"/>
                    </a:lnTo>
                    <a:lnTo>
                      <a:pt x="437" y="404"/>
                    </a:lnTo>
                    <a:lnTo>
                      <a:pt x="449" y="404"/>
                    </a:lnTo>
                    <a:lnTo>
                      <a:pt x="454" y="416"/>
                    </a:lnTo>
                    <a:lnTo>
                      <a:pt x="492" y="427"/>
                    </a:lnTo>
                    <a:lnTo>
                      <a:pt x="459" y="427"/>
                    </a:lnTo>
                    <a:lnTo>
                      <a:pt x="459" y="437"/>
                    </a:lnTo>
                    <a:lnTo>
                      <a:pt x="487" y="470"/>
                    </a:lnTo>
                    <a:lnTo>
                      <a:pt x="475" y="470"/>
                    </a:lnTo>
                    <a:lnTo>
                      <a:pt x="475" y="477"/>
                    </a:lnTo>
                    <a:lnTo>
                      <a:pt x="487" y="470"/>
                    </a:lnTo>
                    <a:lnTo>
                      <a:pt x="503" y="482"/>
                    </a:lnTo>
                    <a:lnTo>
                      <a:pt x="508" y="477"/>
                    </a:lnTo>
                    <a:lnTo>
                      <a:pt x="503" y="515"/>
                    </a:lnTo>
                    <a:lnTo>
                      <a:pt x="492" y="515"/>
                    </a:lnTo>
                    <a:lnTo>
                      <a:pt x="487" y="498"/>
                    </a:lnTo>
                    <a:lnTo>
                      <a:pt x="487" y="494"/>
                    </a:lnTo>
                    <a:lnTo>
                      <a:pt x="492" y="494"/>
                    </a:lnTo>
                    <a:lnTo>
                      <a:pt x="503" y="482"/>
                    </a:lnTo>
                    <a:lnTo>
                      <a:pt x="487" y="482"/>
                    </a:lnTo>
                    <a:lnTo>
                      <a:pt x="475" y="494"/>
                    </a:lnTo>
                    <a:lnTo>
                      <a:pt x="454" y="477"/>
                    </a:lnTo>
                    <a:lnTo>
                      <a:pt x="449" y="482"/>
                    </a:lnTo>
                    <a:lnTo>
                      <a:pt x="437" y="453"/>
                    </a:lnTo>
                    <a:lnTo>
                      <a:pt x="416" y="437"/>
                    </a:lnTo>
                    <a:lnTo>
                      <a:pt x="416" y="427"/>
                    </a:lnTo>
                    <a:lnTo>
                      <a:pt x="395" y="416"/>
                    </a:lnTo>
                    <a:lnTo>
                      <a:pt x="395" y="427"/>
                    </a:lnTo>
                    <a:lnTo>
                      <a:pt x="407" y="470"/>
                    </a:lnTo>
                    <a:lnTo>
                      <a:pt x="400" y="470"/>
                    </a:lnTo>
                    <a:lnTo>
                      <a:pt x="383" y="444"/>
                    </a:lnTo>
                    <a:lnTo>
                      <a:pt x="340" y="416"/>
                    </a:lnTo>
                    <a:lnTo>
                      <a:pt x="314" y="420"/>
                    </a:lnTo>
                    <a:lnTo>
                      <a:pt x="310" y="437"/>
                    </a:lnTo>
                    <a:lnTo>
                      <a:pt x="293" y="437"/>
                    </a:lnTo>
                    <a:lnTo>
                      <a:pt x="277" y="416"/>
                    </a:lnTo>
                    <a:lnTo>
                      <a:pt x="260" y="416"/>
                    </a:lnTo>
                    <a:lnTo>
                      <a:pt x="260" y="427"/>
                    </a:lnTo>
                    <a:lnTo>
                      <a:pt x="255" y="387"/>
                    </a:lnTo>
                    <a:lnTo>
                      <a:pt x="286" y="371"/>
                    </a:lnTo>
                    <a:lnTo>
                      <a:pt x="286" y="366"/>
                    </a:lnTo>
                    <a:lnTo>
                      <a:pt x="277" y="349"/>
                    </a:lnTo>
                    <a:lnTo>
                      <a:pt x="255" y="349"/>
                    </a:lnTo>
                    <a:lnTo>
                      <a:pt x="255" y="371"/>
                    </a:lnTo>
                    <a:lnTo>
                      <a:pt x="244" y="383"/>
                    </a:lnTo>
                    <a:lnTo>
                      <a:pt x="234" y="361"/>
                    </a:lnTo>
                    <a:lnTo>
                      <a:pt x="239" y="349"/>
                    </a:lnTo>
                    <a:lnTo>
                      <a:pt x="222" y="349"/>
                    </a:lnTo>
                    <a:lnTo>
                      <a:pt x="218" y="316"/>
                    </a:lnTo>
                    <a:lnTo>
                      <a:pt x="206" y="305"/>
                    </a:lnTo>
                    <a:lnTo>
                      <a:pt x="206" y="272"/>
                    </a:lnTo>
                    <a:lnTo>
                      <a:pt x="206" y="260"/>
                    </a:lnTo>
                    <a:lnTo>
                      <a:pt x="201" y="272"/>
                    </a:lnTo>
                    <a:lnTo>
                      <a:pt x="201" y="250"/>
                    </a:lnTo>
                    <a:lnTo>
                      <a:pt x="206" y="234"/>
                    </a:lnTo>
                    <a:lnTo>
                      <a:pt x="222" y="260"/>
                    </a:lnTo>
                    <a:lnTo>
                      <a:pt x="244" y="250"/>
                    </a:lnTo>
                    <a:lnTo>
                      <a:pt x="239" y="217"/>
                    </a:lnTo>
                    <a:lnTo>
                      <a:pt x="244" y="194"/>
                    </a:lnTo>
                    <a:lnTo>
                      <a:pt x="244" y="161"/>
                    </a:lnTo>
                    <a:lnTo>
                      <a:pt x="239" y="144"/>
                    </a:lnTo>
                    <a:lnTo>
                      <a:pt x="260" y="73"/>
                    </a:lnTo>
                    <a:lnTo>
                      <a:pt x="293" y="66"/>
                    </a:lnTo>
                    <a:lnTo>
                      <a:pt x="352" y="94"/>
                    </a:lnTo>
                    <a:lnTo>
                      <a:pt x="362" y="90"/>
                    </a:lnTo>
                    <a:lnTo>
                      <a:pt x="369" y="73"/>
                    </a:lnTo>
                    <a:lnTo>
                      <a:pt x="378" y="90"/>
                    </a:lnTo>
                    <a:lnTo>
                      <a:pt x="378" y="94"/>
                    </a:lnTo>
                    <a:lnTo>
                      <a:pt x="369" y="106"/>
                    </a:lnTo>
                    <a:lnTo>
                      <a:pt x="362" y="127"/>
                    </a:lnTo>
                    <a:lnTo>
                      <a:pt x="369" y="161"/>
                    </a:lnTo>
                    <a:lnTo>
                      <a:pt x="383" y="165"/>
                    </a:lnTo>
                    <a:lnTo>
                      <a:pt x="383" y="177"/>
                    </a:lnTo>
                    <a:lnTo>
                      <a:pt x="395" y="177"/>
                    </a:lnTo>
                    <a:lnTo>
                      <a:pt x="383" y="198"/>
                    </a:lnTo>
                    <a:lnTo>
                      <a:pt x="369" y="234"/>
                    </a:lnTo>
                    <a:lnTo>
                      <a:pt x="369" y="250"/>
                    </a:lnTo>
                    <a:lnTo>
                      <a:pt x="362" y="255"/>
                    </a:lnTo>
                    <a:lnTo>
                      <a:pt x="352" y="260"/>
                    </a:lnTo>
                    <a:lnTo>
                      <a:pt x="362" y="250"/>
                    </a:lnTo>
                    <a:lnTo>
                      <a:pt x="324" y="272"/>
                    </a:lnTo>
                    <a:lnTo>
                      <a:pt x="331" y="288"/>
                    </a:lnTo>
                    <a:lnTo>
                      <a:pt x="310" y="309"/>
                    </a:lnTo>
                    <a:lnTo>
                      <a:pt x="331" y="361"/>
                    </a:lnTo>
                    <a:lnTo>
                      <a:pt x="331" y="366"/>
                    </a:lnTo>
                    <a:lnTo>
                      <a:pt x="340" y="399"/>
                    </a:lnTo>
                    <a:lnTo>
                      <a:pt x="369" y="416"/>
                    </a:lnTo>
                    <a:lnTo>
                      <a:pt x="378" y="404"/>
                    </a:lnTo>
                    <a:lnTo>
                      <a:pt x="369" y="399"/>
                    </a:lnTo>
                    <a:lnTo>
                      <a:pt x="369" y="387"/>
                    </a:lnTo>
                    <a:lnTo>
                      <a:pt x="378" y="404"/>
                    </a:lnTo>
                    <a:lnTo>
                      <a:pt x="383" y="383"/>
                    </a:lnTo>
                    <a:lnTo>
                      <a:pt x="407" y="387"/>
                    </a:lnTo>
                    <a:lnTo>
                      <a:pt x="433" y="416"/>
                    </a:lnTo>
                    <a:lnTo>
                      <a:pt x="433" y="437"/>
                    </a:lnTo>
                    <a:lnTo>
                      <a:pt x="433" y="437"/>
                    </a:lnTo>
                    <a:lnTo>
                      <a:pt x="433" y="437"/>
                    </a:lnTo>
                    <a:close/>
                    <a:moveTo>
                      <a:pt x="218" y="250"/>
                    </a:moveTo>
                    <a:lnTo>
                      <a:pt x="206" y="238"/>
                    </a:lnTo>
                    <a:lnTo>
                      <a:pt x="218" y="238"/>
                    </a:lnTo>
                    <a:lnTo>
                      <a:pt x="218" y="250"/>
                    </a:lnTo>
                    <a:lnTo>
                      <a:pt x="218" y="250"/>
                    </a:lnTo>
                    <a:lnTo>
                      <a:pt x="218" y="250"/>
                    </a:lnTo>
                    <a:close/>
                    <a:moveTo>
                      <a:pt x="352" y="366"/>
                    </a:moveTo>
                    <a:lnTo>
                      <a:pt x="340" y="342"/>
                    </a:lnTo>
                    <a:lnTo>
                      <a:pt x="352" y="333"/>
                    </a:lnTo>
                    <a:lnTo>
                      <a:pt x="362" y="342"/>
                    </a:lnTo>
                    <a:lnTo>
                      <a:pt x="352" y="342"/>
                    </a:lnTo>
                    <a:lnTo>
                      <a:pt x="352" y="361"/>
                    </a:lnTo>
                    <a:lnTo>
                      <a:pt x="352" y="366"/>
                    </a:lnTo>
                    <a:lnTo>
                      <a:pt x="352" y="366"/>
                    </a:lnTo>
                    <a:lnTo>
                      <a:pt x="352" y="366"/>
                    </a:lnTo>
                    <a:close/>
                    <a:moveTo>
                      <a:pt x="369" y="361"/>
                    </a:moveTo>
                    <a:lnTo>
                      <a:pt x="362" y="349"/>
                    </a:lnTo>
                    <a:lnTo>
                      <a:pt x="369" y="349"/>
                    </a:lnTo>
                    <a:lnTo>
                      <a:pt x="369" y="361"/>
                    </a:lnTo>
                    <a:lnTo>
                      <a:pt x="369" y="361"/>
                    </a:lnTo>
                    <a:lnTo>
                      <a:pt x="369" y="361"/>
                    </a:lnTo>
                    <a:close/>
                    <a:moveTo>
                      <a:pt x="508" y="444"/>
                    </a:moveTo>
                    <a:lnTo>
                      <a:pt x="503" y="437"/>
                    </a:lnTo>
                    <a:lnTo>
                      <a:pt x="503" y="420"/>
                    </a:lnTo>
                    <a:lnTo>
                      <a:pt x="503" y="404"/>
                    </a:lnTo>
                    <a:lnTo>
                      <a:pt x="508" y="404"/>
                    </a:lnTo>
                    <a:lnTo>
                      <a:pt x="525" y="420"/>
                    </a:lnTo>
                    <a:lnTo>
                      <a:pt x="513" y="444"/>
                    </a:lnTo>
                    <a:lnTo>
                      <a:pt x="513" y="437"/>
                    </a:lnTo>
                    <a:lnTo>
                      <a:pt x="508" y="444"/>
                    </a:lnTo>
                    <a:lnTo>
                      <a:pt x="508" y="444"/>
                    </a:lnTo>
                    <a:lnTo>
                      <a:pt x="508" y="444"/>
                    </a:lnTo>
                    <a:close/>
                    <a:moveTo>
                      <a:pt x="234" y="437"/>
                    </a:moveTo>
                    <a:lnTo>
                      <a:pt x="222" y="420"/>
                    </a:lnTo>
                    <a:lnTo>
                      <a:pt x="234" y="420"/>
                    </a:lnTo>
                    <a:lnTo>
                      <a:pt x="234" y="437"/>
                    </a:lnTo>
                    <a:lnTo>
                      <a:pt x="234" y="437"/>
                    </a:lnTo>
                    <a:lnTo>
                      <a:pt x="234" y="437"/>
                    </a:lnTo>
                    <a:close/>
                    <a:moveTo>
                      <a:pt x="352" y="470"/>
                    </a:moveTo>
                    <a:lnTo>
                      <a:pt x="345" y="461"/>
                    </a:lnTo>
                    <a:lnTo>
                      <a:pt x="345" y="444"/>
                    </a:lnTo>
                    <a:lnTo>
                      <a:pt x="362" y="453"/>
                    </a:lnTo>
                    <a:lnTo>
                      <a:pt x="352" y="470"/>
                    </a:lnTo>
                    <a:lnTo>
                      <a:pt x="352" y="470"/>
                    </a:lnTo>
                    <a:lnTo>
                      <a:pt x="352" y="470"/>
                    </a:lnTo>
                    <a:close/>
                    <a:moveTo>
                      <a:pt x="314" y="531"/>
                    </a:moveTo>
                    <a:lnTo>
                      <a:pt x="293" y="538"/>
                    </a:lnTo>
                    <a:lnTo>
                      <a:pt x="272" y="498"/>
                    </a:lnTo>
                    <a:lnTo>
                      <a:pt x="260" y="477"/>
                    </a:lnTo>
                    <a:lnTo>
                      <a:pt x="239" y="444"/>
                    </a:lnTo>
                    <a:lnTo>
                      <a:pt x="286" y="444"/>
                    </a:lnTo>
                    <a:lnTo>
                      <a:pt x="324" y="470"/>
                    </a:lnTo>
                    <a:lnTo>
                      <a:pt x="314" y="498"/>
                    </a:lnTo>
                    <a:lnTo>
                      <a:pt x="324" y="510"/>
                    </a:lnTo>
                    <a:lnTo>
                      <a:pt x="314" y="527"/>
                    </a:lnTo>
                    <a:lnTo>
                      <a:pt x="314" y="531"/>
                    </a:lnTo>
                    <a:lnTo>
                      <a:pt x="314" y="531"/>
                    </a:lnTo>
                    <a:lnTo>
                      <a:pt x="314" y="531"/>
                    </a:lnTo>
                    <a:close/>
                    <a:moveTo>
                      <a:pt x="487" y="470"/>
                    </a:moveTo>
                    <a:lnTo>
                      <a:pt x="487" y="453"/>
                    </a:lnTo>
                    <a:lnTo>
                      <a:pt x="492" y="461"/>
                    </a:lnTo>
                    <a:lnTo>
                      <a:pt x="487" y="470"/>
                    </a:lnTo>
                    <a:lnTo>
                      <a:pt x="487" y="470"/>
                    </a:lnTo>
                    <a:lnTo>
                      <a:pt x="487" y="470"/>
                    </a:lnTo>
                    <a:close/>
                    <a:moveTo>
                      <a:pt x="492" y="470"/>
                    </a:moveTo>
                    <a:lnTo>
                      <a:pt x="492" y="461"/>
                    </a:lnTo>
                    <a:lnTo>
                      <a:pt x="503" y="461"/>
                    </a:lnTo>
                    <a:lnTo>
                      <a:pt x="492" y="470"/>
                    </a:lnTo>
                    <a:lnTo>
                      <a:pt x="492" y="470"/>
                    </a:lnTo>
                    <a:lnTo>
                      <a:pt x="492" y="470"/>
                    </a:lnTo>
                    <a:close/>
                    <a:moveTo>
                      <a:pt x="454" y="510"/>
                    </a:moveTo>
                    <a:lnTo>
                      <a:pt x="421" y="477"/>
                    </a:lnTo>
                    <a:lnTo>
                      <a:pt x="433" y="477"/>
                    </a:lnTo>
                    <a:lnTo>
                      <a:pt x="454" y="510"/>
                    </a:lnTo>
                    <a:lnTo>
                      <a:pt x="454" y="510"/>
                    </a:lnTo>
                    <a:lnTo>
                      <a:pt x="454" y="510"/>
                    </a:lnTo>
                    <a:close/>
                    <a:moveTo>
                      <a:pt x="352" y="548"/>
                    </a:moveTo>
                    <a:lnTo>
                      <a:pt x="345" y="531"/>
                    </a:lnTo>
                    <a:lnTo>
                      <a:pt x="352" y="515"/>
                    </a:lnTo>
                    <a:lnTo>
                      <a:pt x="362" y="510"/>
                    </a:lnTo>
                    <a:lnTo>
                      <a:pt x="352" y="548"/>
                    </a:lnTo>
                    <a:lnTo>
                      <a:pt x="352" y="548"/>
                    </a:lnTo>
                    <a:lnTo>
                      <a:pt x="352" y="548"/>
                    </a:lnTo>
                    <a:close/>
                    <a:moveTo>
                      <a:pt x="475" y="531"/>
                    </a:moveTo>
                    <a:lnTo>
                      <a:pt x="470" y="510"/>
                    </a:lnTo>
                    <a:lnTo>
                      <a:pt x="475" y="510"/>
                    </a:lnTo>
                    <a:lnTo>
                      <a:pt x="475" y="531"/>
                    </a:lnTo>
                    <a:lnTo>
                      <a:pt x="475" y="531"/>
                    </a:lnTo>
                    <a:lnTo>
                      <a:pt x="475" y="531"/>
                    </a:lnTo>
                    <a:close/>
                    <a:moveTo>
                      <a:pt x="503" y="581"/>
                    </a:moveTo>
                    <a:lnTo>
                      <a:pt x="459" y="538"/>
                    </a:lnTo>
                    <a:lnTo>
                      <a:pt x="437" y="564"/>
                    </a:lnTo>
                    <a:lnTo>
                      <a:pt x="449" y="538"/>
                    </a:lnTo>
                    <a:lnTo>
                      <a:pt x="437" y="510"/>
                    </a:lnTo>
                    <a:lnTo>
                      <a:pt x="492" y="538"/>
                    </a:lnTo>
                    <a:lnTo>
                      <a:pt x="503" y="555"/>
                    </a:lnTo>
                    <a:lnTo>
                      <a:pt x="503" y="581"/>
                    </a:lnTo>
                    <a:lnTo>
                      <a:pt x="503" y="581"/>
                    </a:lnTo>
                    <a:lnTo>
                      <a:pt x="503" y="581"/>
                    </a:lnTo>
                    <a:close/>
                    <a:moveTo>
                      <a:pt x="617" y="626"/>
                    </a:moveTo>
                    <a:lnTo>
                      <a:pt x="610" y="621"/>
                    </a:lnTo>
                    <a:lnTo>
                      <a:pt x="584" y="621"/>
                    </a:lnTo>
                    <a:lnTo>
                      <a:pt x="563" y="593"/>
                    </a:lnTo>
                    <a:lnTo>
                      <a:pt x="555" y="593"/>
                    </a:lnTo>
                    <a:lnTo>
                      <a:pt x="567" y="572"/>
                    </a:lnTo>
                    <a:lnTo>
                      <a:pt x="525" y="538"/>
                    </a:lnTo>
                    <a:lnTo>
                      <a:pt x="513" y="515"/>
                    </a:lnTo>
                    <a:lnTo>
                      <a:pt x="541" y="515"/>
                    </a:lnTo>
                    <a:lnTo>
                      <a:pt x="579" y="515"/>
                    </a:lnTo>
                    <a:lnTo>
                      <a:pt x="584" y="527"/>
                    </a:lnTo>
                    <a:lnTo>
                      <a:pt x="584" y="531"/>
                    </a:lnTo>
                    <a:lnTo>
                      <a:pt x="600" y="538"/>
                    </a:lnTo>
                    <a:lnTo>
                      <a:pt x="593" y="548"/>
                    </a:lnTo>
                    <a:lnTo>
                      <a:pt x="600" y="548"/>
                    </a:lnTo>
                    <a:lnTo>
                      <a:pt x="593" y="555"/>
                    </a:lnTo>
                    <a:lnTo>
                      <a:pt x="593" y="588"/>
                    </a:lnTo>
                    <a:lnTo>
                      <a:pt x="610" y="605"/>
                    </a:lnTo>
                    <a:lnTo>
                      <a:pt x="600" y="609"/>
                    </a:lnTo>
                    <a:lnTo>
                      <a:pt x="610" y="609"/>
                    </a:lnTo>
                    <a:lnTo>
                      <a:pt x="617" y="626"/>
                    </a:lnTo>
                    <a:lnTo>
                      <a:pt x="617" y="626"/>
                    </a:lnTo>
                    <a:lnTo>
                      <a:pt x="617" y="626"/>
                    </a:lnTo>
                    <a:close/>
                    <a:moveTo>
                      <a:pt x="400" y="538"/>
                    </a:moveTo>
                    <a:lnTo>
                      <a:pt x="383" y="527"/>
                    </a:lnTo>
                    <a:lnTo>
                      <a:pt x="400" y="527"/>
                    </a:lnTo>
                    <a:lnTo>
                      <a:pt x="400" y="538"/>
                    </a:lnTo>
                    <a:lnTo>
                      <a:pt x="400" y="538"/>
                    </a:lnTo>
                    <a:lnTo>
                      <a:pt x="400" y="538"/>
                    </a:lnTo>
                    <a:close/>
                    <a:moveTo>
                      <a:pt x="234" y="555"/>
                    </a:moveTo>
                    <a:lnTo>
                      <a:pt x="218" y="555"/>
                    </a:lnTo>
                    <a:lnTo>
                      <a:pt x="206" y="531"/>
                    </a:lnTo>
                    <a:lnTo>
                      <a:pt x="239" y="548"/>
                    </a:lnTo>
                    <a:lnTo>
                      <a:pt x="239" y="555"/>
                    </a:lnTo>
                    <a:lnTo>
                      <a:pt x="234" y="555"/>
                    </a:lnTo>
                    <a:lnTo>
                      <a:pt x="234" y="555"/>
                    </a:lnTo>
                    <a:lnTo>
                      <a:pt x="234" y="555"/>
                    </a:lnTo>
                    <a:close/>
                    <a:moveTo>
                      <a:pt x="293" y="538"/>
                    </a:moveTo>
                    <a:lnTo>
                      <a:pt x="293" y="548"/>
                    </a:lnTo>
                    <a:lnTo>
                      <a:pt x="286" y="538"/>
                    </a:lnTo>
                    <a:lnTo>
                      <a:pt x="293" y="538"/>
                    </a:lnTo>
                    <a:lnTo>
                      <a:pt x="293" y="538"/>
                    </a:lnTo>
                    <a:lnTo>
                      <a:pt x="293" y="538"/>
                    </a:lnTo>
                    <a:close/>
                    <a:moveTo>
                      <a:pt x="206" y="581"/>
                    </a:moveTo>
                    <a:lnTo>
                      <a:pt x="206" y="555"/>
                    </a:lnTo>
                    <a:lnTo>
                      <a:pt x="222" y="564"/>
                    </a:lnTo>
                    <a:lnTo>
                      <a:pt x="206" y="581"/>
                    </a:lnTo>
                    <a:lnTo>
                      <a:pt x="206" y="581"/>
                    </a:lnTo>
                    <a:lnTo>
                      <a:pt x="206" y="581"/>
                    </a:lnTo>
                    <a:close/>
                    <a:moveTo>
                      <a:pt x="433" y="609"/>
                    </a:moveTo>
                    <a:lnTo>
                      <a:pt x="433" y="621"/>
                    </a:lnTo>
                    <a:lnTo>
                      <a:pt x="407" y="638"/>
                    </a:lnTo>
                    <a:lnTo>
                      <a:pt x="407" y="642"/>
                    </a:lnTo>
                    <a:lnTo>
                      <a:pt x="369" y="659"/>
                    </a:lnTo>
                    <a:lnTo>
                      <a:pt x="352" y="675"/>
                    </a:lnTo>
                    <a:lnTo>
                      <a:pt x="345" y="666"/>
                    </a:lnTo>
                    <a:lnTo>
                      <a:pt x="362" y="581"/>
                    </a:lnTo>
                    <a:lnTo>
                      <a:pt x="362" y="572"/>
                    </a:lnTo>
                    <a:lnTo>
                      <a:pt x="345" y="572"/>
                    </a:lnTo>
                    <a:lnTo>
                      <a:pt x="345" y="564"/>
                    </a:lnTo>
                    <a:lnTo>
                      <a:pt x="369" y="572"/>
                    </a:lnTo>
                    <a:lnTo>
                      <a:pt x="395" y="588"/>
                    </a:lnTo>
                    <a:lnTo>
                      <a:pt x="416" y="588"/>
                    </a:lnTo>
                    <a:lnTo>
                      <a:pt x="416" y="593"/>
                    </a:lnTo>
                    <a:lnTo>
                      <a:pt x="437" y="588"/>
                    </a:lnTo>
                    <a:lnTo>
                      <a:pt x="433" y="609"/>
                    </a:lnTo>
                    <a:lnTo>
                      <a:pt x="433" y="609"/>
                    </a:lnTo>
                    <a:lnTo>
                      <a:pt x="433" y="609"/>
                    </a:lnTo>
                    <a:close/>
                    <a:moveTo>
                      <a:pt x="529" y="593"/>
                    </a:moveTo>
                    <a:lnTo>
                      <a:pt x="513" y="581"/>
                    </a:lnTo>
                    <a:lnTo>
                      <a:pt x="529" y="581"/>
                    </a:lnTo>
                    <a:lnTo>
                      <a:pt x="541" y="588"/>
                    </a:lnTo>
                    <a:lnTo>
                      <a:pt x="529" y="593"/>
                    </a:lnTo>
                    <a:lnTo>
                      <a:pt x="529" y="593"/>
                    </a:lnTo>
                    <a:lnTo>
                      <a:pt x="529" y="593"/>
                    </a:lnTo>
                    <a:close/>
                    <a:moveTo>
                      <a:pt x="546" y="659"/>
                    </a:moveTo>
                    <a:lnTo>
                      <a:pt x="555" y="649"/>
                    </a:lnTo>
                    <a:lnTo>
                      <a:pt x="541" y="638"/>
                    </a:lnTo>
                    <a:lnTo>
                      <a:pt x="529" y="626"/>
                    </a:lnTo>
                    <a:lnTo>
                      <a:pt x="529" y="638"/>
                    </a:lnTo>
                    <a:lnTo>
                      <a:pt x="525" y="638"/>
                    </a:lnTo>
                    <a:lnTo>
                      <a:pt x="513" y="588"/>
                    </a:lnTo>
                    <a:lnTo>
                      <a:pt x="541" y="605"/>
                    </a:lnTo>
                    <a:lnTo>
                      <a:pt x="555" y="593"/>
                    </a:lnTo>
                    <a:lnTo>
                      <a:pt x="563" y="605"/>
                    </a:lnTo>
                    <a:lnTo>
                      <a:pt x="563" y="649"/>
                    </a:lnTo>
                    <a:lnTo>
                      <a:pt x="584" y="683"/>
                    </a:lnTo>
                    <a:lnTo>
                      <a:pt x="567" y="692"/>
                    </a:lnTo>
                    <a:lnTo>
                      <a:pt x="563" y="675"/>
                    </a:lnTo>
                    <a:lnTo>
                      <a:pt x="567" y="699"/>
                    </a:lnTo>
                    <a:lnTo>
                      <a:pt x="546" y="692"/>
                    </a:lnTo>
                    <a:lnTo>
                      <a:pt x="546" y="659"/>
                    </a:lnTo>
                    <a:lnTo>
                      <a:pt x="546" y="659"/>
                    </a:lnTo>
                    <a:lnTo>
                      <a:pt x="546" y="659"/>
                    </a:lnTo>
                    <a:close/>
                    <a:moveTo>
                      <a:pt x="201" y="605"/>
                    </a:moveTo>
                    <a:lnTo>
                      <a:pt x="189" y="593"/>
                    </a:lnTo>
                    <a:lnTo>
                      <a:pt x="206" y="593"/>
                    </a:lnTo>
                    <a:lnTo>
                      <a:pt x="201" y="605"/>
                    </a:lnTo>
                    <a:lnTo>
                      <a:pt x="201" y="605"/>
                    </a:lnTo>
                    <a:lnTo>
                      <a:pt x="201" y="605"/>
                    </a:lnTo>
                    <a:close/>
                    <a:moveTo>
                      <a:pt x="189" y="666"/>
                    </a:moveTo>
                    <a:lnTo>
                      <a:pt x="168" y="683"/>
                    </a:lnTo>
                    <a:lnTo>
                      <a:pt x="163" y="699"/>
                    </a:lnTo>
                    <a:lnTo>
                      <a:pt x="130" y="704"/>
                    </a:lnTo>
                    <a:lnTo>
                      <a:pt x="126" y="720"/>
                    </a:lnTo>
                    <a:lnTo>
                      <a:pt x="130" y="732"/>
                    </a:lnTo>
                    <a:lnTo>
                      <a:pt x="100" y="758"/>
                    </a:lnTo>
                    <a:lnTo>
                      <a:pt x="83" y="758"/>
                    </a:lnTo>
                    <a:lnTo>
                      <a:pt x="76" y="786"/>
                    </a:lnTo>
                    <a:lnTo>
                      <a:pt x="17" y="827"/>
                    </a:lnTo>
                    <a:lnTo>
                      <a:pt x="24" y="803"/>
                    </a:lnTo>
                    <a:lnTo>
                      <a:pt x="55" y="770"/>
                    </a:lnTo>
                    <a:lnTo>
                      <a:pt x="71" y="753"/>
                    </a:lnTo>
                    <a:lnTo>
                      <a:pt x="76" y="753"/>
                    </a:lnTo>
                    <a:lnTo>
                      <a:pt x="130" y="692"/>
                    </a:lnTo>
                    <a:lnTo>
                      <a:pt x="130" y="699"/>
                    </a:lnTo>
                    <a:lnTo>
                      <a:pt x="130" y="692"/>
                    </a:lnTo>
                    <a:lnTo>
                      <a:pt x="137" y="692"/>
                    </a:lnTo>
                    <a:lnTo>
                      <a:pt x="147" y="666"/>
                    </a:lnTo>
                    <a:lnTo>
                      <a:pt x="151" y="675"/>
                    </a:lnTo>
                    <a:lnTo>
                      <a:pt x="168" y="659"/>
                    </a:lnTo>
                    <a:lnTo>
                      <a:pt x="168" y="649"/>
                    </a:lnTo>
                    <a:lnTo>
                      <a:pt x="163" y="638"/>
                    </a:lnTo>
                    <a:lnTo>
                      <a:pt x="180" y="649"/>
                    </a:lnTo>
                    <a:lnTo>
                      <a:pt x="168" y="626"/>
                    </a:lnTo>
                    <a:lnTo>
                      <a:pt x="168" y="621"/>
                    </a:lnTo>
                    <a:lnTo>
                      <a:pt x="180" y="626"/>
                    </a:lnTo>
                    <a:lnTo>
                      <a:pt x="180" y="593"/>
                    </a:lnTo>
                    <a:lnTo>
                      <a:pt x="185" y="609"/>
                    </a:lnTo>
                    <a:lnTo>
                      <a:pt x="180" y="638"/>
                    </a:lnTo>
                    <a:lnTo>
                      <a:pt x="185" y="642"/>
                    </a:lnTo>
                    <a:lnTo>
                      <a:pt x="189" y="666"/>
                    </a:lnTo>
                    <a:lnTo>
                      <a:pt x="189" y="666"/>
                    </a:lnTo>
                    <a:lnTo>
                      <a:pt x="189" y="666"/>
                    </a:lnTo>
                    <a:close/>
                    <a:moveTo>
                      <a:pt x="475" y="621"/>
                    </a:moveTo>
                    <a:lnTo>
                      <a:pt x="475" y="605"/>
                    </a:lnTo>
                    <a:lnTo>
                      <a:pt x="475" y="621"/>
                    </a:lnTo>
                    <a:lnTo>
                      <a:pt x="475" y="621"/>
                    </a:lnTo>
                    <a:lnTo>
                      <a:pt x="475" y="621"/>
                    </a:lnTo>
                    <a:close/>
                    <a:moveTo>
                      <a:pt x="454" y="699"/>
                    </a:moveTo>
                    <a:lnTo>
                      <a:pt x="475" y="666"/>
                    </a:lnTo>
                    <a:lnTo>
                      <a:pt x="492" y="621"/>
                    </a:lnTo>
                    <a:lnTo>
                      <a:pt x="503" y="609"/>
                    </a:lnTo>
                    <a:lnTo>
                      <a:pt x="503" y="675"/>
                    </a:lnTo>
                    <a:lnTo>
                      <a:pt x="470" y="699"/>
                    </a:lnTo>
                    <a:lnTo>
                      <a:pt x="459" y="732"/>
                    </a:lnTo>
                    <a:lnTo>
                      <a:pt x="449" y="749"/>
                    </a:lnTo>
                    <a:lnTo>
                      <a:pt x="454" y="699"/>
                    </a:lnTo>
                    <a:lnTo>
                      <a:pt x="454" y="699"/>
                    </a:lnTo>
                    <a:lnTo>
                      <a:pt x="454" y="699"/>
                    </a:lnTo>
                    <a:close/>
                    <a:moveTo>
                      <a:pt x="449" y="675"/>
                    </a:moveTo>
                    <a:lnTo>
                      <a:pt x="433" y="732"/>
                    </a:lnTo>
                    <a:lnTo>
                      <a:pt x="449" y="753"/>
                    </a:lnTo>
                    <a:lnTo>
                      <a:pt x="437" y="770"/>
                    </a:lnTo>
                    <a:lnTo>
                      <a:pt x="421" y="770"/>
                    </a:lnTo>
                    <a:lnTo>
                      <a:pt x="416" y="753"/>
                    </a:lnTo>
                    <a:lnTo>
                      <a:pt x="395" y="737"/>
                    </a:lnTo>
                    <a:lnTo>
                      <a:pt x="383" y="716"/>
                    </a:lnTo>
                    <a:lnTo>
                      <a:pt x="383" y="704"/>
                    </a:lnTo>
                    <a:lnTo>
                      <a:pt x="400" y="704"/>
                    </a:lnTo>
                    <a:lnTo>
                      <a:pt x="416" y="699"/>
                    </a:lnTo>
                    <a:lnTo>
                      <a:pt x="416" y="659"/>
                    </a:lnTo>
                    <a:lnTo>
                      <a:pt x="421" y="649"/>
                    </a:lnTo>
                    <a:lnTo>
                      <a:pt x="421" y="638"/>
                    </a:lnTo>
                    <a:lnTo>
                      <a:pt x="437" y="626"/>
                    </a:lnTo>
                    <a:lnTo>
                      <a:pt x="459" y="638"/>
                    </a:lnTo>
                    <a:lnTo>
                      <a:pt x="459" y="642"/>
                    </a:lnTo>
                    <a:lnTo>
                      <a:pt x="449" y="675"/>
                    </a:lnTo>
                    <a:lnTo>
                      <a:pt x="449" y="675"/>
                    </a:lnTo>
                    <a:lnTo>
                      <a:pt x="449" y="675"/>
                    </a:lnTo>
                    <a:close/>
                    <a:moveTo>
                      <a:pt x="617" y="649"/>
                    </a:moveTo>
                    <a:lnTo>
                      <a:pt x="610" y="642"/>
                    </a:lnTo>
                    <a:lnTo>
                      <a:pt x="617" y="642"/>
                    </a:lnTo>
                    <a:lnTo>
                      <a:pt x="622" y="649"/>
                    </a:lnTo>
                    <a:lnTo>
                      <a:pt x="617" y="649"/>
                    </a:lnTo>
                    <a:lnTo>
                      <a:pt x="617" y="649"/>
                    </a:lnTo>
                    <a:lnTo>
                      <a:pt x="617" y="649"/>
                    </a:lnTo>
                    <a:close/>
                    <a:moveTo>
                      <a:pt x="395" y="675"/>
                    </a:moveTo>
                    <a:lnTo>
                      <a:pt x="383" y="666"/>
                    </a:lnTo>
                    <a:lnTo>
                      <a:pt x="400" y="649"/>
                    </a:lnTo>
                    <a:lnTo>
                      <a:pt x="407" y="659"/>
                    </a:lnTo>
                    <a:lnTo>
                      <a:pt x="395" y="675"/>
                    </a:lnTo>
                    <a:lnTo>
                      <a:pt x="395" y="675"/>
                    </a:lnTo>
                    <a:lnTo>
                      <a:pt x="395" y="675"/>
                    </a:lnTo>
                    <a:close/>
                    <a:moveTo>
                      <a:pt x="525" y="659"/>
                    </a:moveTo>
                    <a:lnTo>
                      <a:pt x="525" y="649"/>
                    </a:lnTo>
                    <a:lnTo>
                      <a:pt x="529" y="649"/>
                    </a:lnTo>
                    <a:lnTo>
                      <a:pt x="525" y="659"/>
                    </a:lnTo>
                    <a:lnTo>
                      <a:pt x="525" y="659"/>
                    </a:lnTo>
                    <a:lnTo>
                      <a:pt x="525" y="659"/>
                    </a:lnTo>
                    <a:close/>
                    <a:moveTo>
                      <a:pt x="513" y="659"/>
                    </a:moveTo>
                    <a:lnTo>
                      <a:pt x="513" y="649"/>
                    </a:lnTo>
                    <a:lnTo>
                      <a:pt x="525" y="659"/>
                    </a:lnTo>
                    <a:lnTo>
                      <a:pt x="513" y="659"/>
                    </a:lnTo>
                    <a:lnTo>
                      <a:pt x="513" y="659"/>
                    </a:lnTo>
                    <a:lnTo>
                      <a:pt x="513" y="659"/>
                    </a:lnTo>
                    <a:close/>
                    <a:moveTo>
                      <a:pt x="201" y="666"/>
                    </a:moveTo>
                    <a:lnTo>
                      <a:pt x="201" y="659"/>
                    </a:lnTo>
                    <a:lnTo>
                      <a:pt x="218" y="659"/>
                    </a:lnTo>
                    <a:lnTo>
                      <a:pt x="201" y="666"/>
                    </a:lnTo>
                    <a:lnTo>
                      <a:pt x="201" y="666"/>
                    </a:lnTo>
                    <a:lnTo>
                      <a:pt x="201" y="666"/>
                    </a:lnTo>
                    <a:close/>
                    <a:moveTo>
                      <a:pt x="610" y="716"/>
                    </a:moveTo>
                    <a:lnTo>
                      <a:pt x="610" y="704"/>
                    </a:lnTo>
                    <a:lnTo>
                      <a:pt x="600" y="692"/>
                    </a:lnTo>
                    <a:lnTo>
                      <a:pt x="610" y="666"/>
                    </a:lnTo>
                    <a:lnTo>
                      <a:pt x="617" y="704"/>
                    </a:lnTo>
                    <a:lnTo>
                      <a:pt x="610" y="716"/>
                    </a:lnTo>
                    <a:lnTo>
                      <a:pt x="610" y="716"/>
                    </a:lnTo>
                    <a:lnTo>
                      <a:pt x="610" y="716"/>
                    </a:lnTo>
                    <a:close/>
                    <a:moveTo>
                      <a:pt x="529" y="699"/>
                    </a:moveTo>
                    <a:lnTo>
                      <a:pt x="529" y="716"/>
                    </a:lnTo>
                    <a:lnTo>
                      <a:pt x="541" y="720"/>
                    </a:lnTo>
                    <a:lnTo>
                      <a:pt x="525" y="732"/>
                    </a:lnTo>
                    <a:lnTo>
                      <a:pt x="492" y="732"/>
                    </a:lnTo>
                    <a:lnTo>
                      <a:pt x="475" y="720"/>
                    </a:lnTo>
                    <a:lnTo>
                      <a:pt x="475" y="716"/>
                    </a:lnTo>
                    <a:lnTo>
                      <a:pt x="508" y="692"/>
                    </a:lnTo>
                    <a:lnTo>
                      <a:pt x="529" y="699"/>
                    </a:lnTo>
                    <a:lnTo>
                      <a:pt x="529" y="699"/>
                    </a:lnTo>
                    <a:lnTo>
                      <a:pt x="529" y="699"/>
                    </a:lnTo>
                    <a:close/>
                    <a:moveTo>
                      <a:pt x="584" y="704"/>
                    </a:moveTo>
                    <a:lnTo>
                      <a:pt x="579" y="692"/>
                    </a:lnTo>
                    <a:lnTo>
                      <a:pt x="584" y="704"/>
                    </a:lnTo>
                    <a:lnTo>
                      <a:pt x="584" y="704"/>
                    </a:lnTo>
                    <a:lnTo>
                      <a:pt x="584" y="704"/>
                    </a:lnTo>
                    <a:close/>
                    <a:moveTo>
                      <a:pt x="638" y="720"/>
                    </a:moveTo>
                    <a:lnTo>
                      <a:pt x="631" y="716"/>
                    </a:lnTo>
                    <a:lnTo>
                      <a:pt x="638" y="699"/>
                    </a:lnTo>
                    <a:lnTo>
                      <a:pt x="648" y="716"/>
                    </a:lnTo>
                    <a:lnTo>
                      <a:pt x="638" y="720"/>
                    </a:lnTo>
                    <a:lnTo>
                      <a:pt x="638" y="720"/>
                    </a:lnTo>
                    <a:lnTo>
                      <a:pt x="638" y="720"/>
                    </a:lnTo>
                    <a:close/>
                    <a:moveTo>
                      <a:pt x="454" y="898"/>
                    </a:moveTo>
                    <a:lnTo>
                      <a:pt x="449" y="881"/>
                    </a:lnTo>
                    <a:lnTo>
                      <a:pt x="437" y="886"/>
                    </a:lnTo>
                    <a:lnTo>
                      <a:pt x="433" y="881"/>
                    </a:lnTo>
                    <a:lnTo>
                      <a:pt x="437" y="881"/>
                    </a:lnTo>
                    <a:lnTo>
                      <a:pt x="433" y="864"/>
                    </a:lnTo>
                    <a:lnTo>
                      <a:pt x="421" y="886"/>
                    </a:lnTo>
                    <a:lnTo>
                      <a:pt x="407" y="886"/>
                    </a:lnTo>
                    <a:lnTo>
                      <a:pt x="416" y="864"/>
                    </a:lnTo>
                    <a:lnTo>
                      <a:pt x="400" y="864"/>
                    </a:lnTo>
                    <a:lnTo>
                      <a:pt x="378" y="886"/>
                    </a:lnTo>
                    <a:lnTo>
                      <a:pt x="383" y="886"/>
                    </a:lnTo>
                    <a:lnTo>
                      <a:pt x="378" y="898"/>
                    </a:lnTo>
                    <a:lnTo>
                      <a:pt x="362" y="926"/>
                    </a:lnTo>
                    <a:lnTo>
                      <a:pt x="352" y="921"/>
                    </a:lnTo>
                    <a:lnTo>
                      <a:pt x="345" y="914"/>
                    </a:lnTo>
                    <a:lnTo>
                      <a:pt x="369" y="848"/>
                    </a:lnTo>
                    <a:lnTo>
                      <a:pt x="421" y="831"/>
                    </a:lnTo>
                    <a:lnTo>
                      <a:pt x="421" y="810"/>
                    </a:lnTo>
                    <a:lnTo>
                      <a:pt x="449" y="810"/>
                    </a:lnTo>
                    <a:lnTo>
                      <a:pt x="454" y="794"/>
                    </a:lnTo>
                    <a:lnTo>
                      <a:pt x="475" y="803"/>
                    </a:lnTo>
                    <a:lnTo>
                      <a:pt x="487" y="810"/>
                    </a:lnTo>
                    <a:lnTo>
                      <a:pt x="487" y="831"/>
                    </a:lnTo>
                    <a:lnTo>
                      <a:pt x="470" y="848"/>
                    </a:lnTo>
                    <a:lnTo>
                      <a:pt x="492" y="831"/>
                    </a:lnTo>
                    <a:lnTo>
                      <a:pt x="508" y="831"/>
                    </a:lnTo>
                    <a:lnTo>
                      <a:pt x="513" y="815"/>
                    </a:lnTo>
                    <a:lnTo>
                      <a:pt x="525" y="803"/>
                    </a:lnTo>
                    <a:lnTo>
                      <a:pt x="546" y="810"/>
                    </a:lnTo>
                    <a:lnTo>
                      <a:pt x="555" y="777"/>
                    </a:lnTo>
                    <a:lnTo>
                      <a:pt x="567" y="786"/>
                    </a:lnTo>
                    <a:lnTo>
                      <a:pt x="584" y="777"/>
                    </a:lnTo>
                    <a:lnTo>
                      <a:pt x="600" y="777"/>
                    </a:lnTo>
                    <a:lnTo>
                      <a:pt x="593" y="732"/>
                    </a:lnTo>
                    <a:lnTo>
                      <a:pt x="593" y="716"/>
                    </a:lnTo>
                    <a:lnTo>
                      <a:pt x="610" y="732"/>
                    </a:lnTo>
                    <a:lnTo>
                      <a:pt x="631" y="737"/>
                    </a:lnTo>
                    <a:lnTo>
                      <a:pt x="638" y="753"/>
                    </a:lnTo>
                    <a:lnTo>
                      <a:pt x="648" y="753"/>
                    </a:lnTo>
                    <a:lnTo>
                      <a:pt x="648" y="770"/>
                    </a:lnTo>
                    <a:lnTo>
                      <a:pt x="664" y="786"/>
                    </a:lnTo>
                    <a:lnTo>
                      <a:pt x="638" y="803"/>
                    </a:lnTo>
                    <a:lnTo>
                      <a:pt x="648" y="810"/>
                    </a:lnTo>
                    <a:lnTo>
                      <a:pt x="664" y="810"/>
                    </a:lnTo>
                    <a:lnTo>
                      <a:pt x="655" y="831"/>
                    </a:lnTo>
                    <a:lnTo>
                      <a:pt x="669" y="831"/>
                    </a:lnTo>
                    <a:lnTo>
                      <a:pt x="664" y="860"/>
                    </a:lnTo>
                    <a:lnTo>
                      <a:pt x="669" y="869"/>
                    </a:lnTo>
                    <a:lnTo>
                      <a:pt x="676" y="898"/>
                    </a:lnTo>
                    <a:lnTo>
                      <a:pt x="655" y="926"/>
                    </a:lnTo>
                    <a:lnTo>
                      <a:pt x="664" y="938"/>
                    </a:lnTo>
                    <a:lnTo>
                      <a:pt x="655" y="926"/>
                    </a:lnTo>
                    <a:lnTo>
                      <a:pt x="648" y="926"/>
                    </a:lnTo>
                    <a:lnTo>
                      <a:pt x="655" y="938"/>
                    </a:lnTo>
                    <a:lnTo>
                      <a:pt x="648" y="975"/>
                    </a:lnTo>
                    <a:lnTo>
                      <a:pt x="638" y="926"/>
                    </a:lnTo>
                    <a:lnTo>
                      <a:pt x="622" y="914"/>
                    </a:lnTo>
                    <a:lnTo>
                      <a:pt x="622" y="898"/>
                    </a:lnTo>
                    <a:lnTo>
                      <a:pt x="610" y="902"/>
                    </a:lnTo>
                    <a:lnTo>
                      <a:pt x="610" y="914"/>
                    </a:lnTo>
                    <a:lnTo>
                      <a:pt x="600" y="921"/>
                    </a:lnTo>
                    <a:lnTo>
                      <a:pt x="593" y="938"/>
                    </a:lnTo>
                    <a:lnTo>
                      <a:pt x="593" y="954"/>
                    </a:lnTo>
                    <a:lnTo>
                      <a:pt x="610" y="959"/>
                    </a:lnTo>
                    <a:lnTo>
                      <a:pt x="617" y="992"/>
                    </a:lnTo>
                    <a:lnTo>
                      <a:pt x="593" y="1025"/>
                    </a:lnTo>
                    <a:lnTo>
                      <a:pt x="584" y="1025"/>
                    </a:lnTo>
                    <a:lnTo>
                      <a:pt x="579" y="1009"/>
                    </a:lnTo>
                    <a:lnTo>
                      <a:pt x="584" y="980"/>
                    </a:lnTo>
                    <a:lnTo>
                      <a:pt x="579" y="980"/>
                    </a:lnTo>
                    <a:lnTo>
                      <a:pt x="567" y="997"/>
                    </a:lnTo>
                    <a:lnTo>
                      <a:pt x="563" y="997"/>
                    </a:lnTo>
                    <a:lnTo>
                      <a:pt x="513" y="980"/>
                    </a:lnTo>
                    <a:lnTo>
                      <a:pt x="503" y="971"/>
                    </a:lnTo>
                    <a:lnTo>
                      <a:pt x="492" y="926"/>
                    </a:lnTo>
                    <a:lnTo>
                      <a:pt x="513" y="886"/>
                    </a:lnTo>
                    <a:lnTo>
                      <a:pt x="492" y="869"/>
                    </a:lnTo>
                    <a:lnTo>
                      <a:pt x="459" y="860"/>
                    </a:lnTo>
                    <a:lnTo>
                      <a:pt x="454" y="860"/>
                    </a:lnTo>
                    <a:lnTo>
                      <a:pt x="454" y="869"/>
                    </a:lnTo>
                    <a:lnTo>
                      <a:pt x="449" y="881"/>
                    </a:lnTo>
                    <a:lnTo>
                      <a:pt x="454" y="886"/>
                    </a:lnTo>
                    <a:lnTo>
                      <a:pt x="454" y="898"/>
                    </a:lnTo>
                    <a:lnTo>
                      <a:pt x="454" y="898"/>
                    </a:lnTo>
                    <a:lnTo>
                      <a:pt x="454" y="898"/>
                    </a:lnTo>
                    <a:close/>
                    <a:moveTo>
                      <a:pt x="470" y="770"/>
                    </a:moveTo>
                    <a:lnTo>
                      <a:pt x="454" y="758"/>
                    </a:lnTo>
                    <a:lnTo>
                      <a:pt x="470" y="753"/>
                    </a:lnTo>
                    <a:lnTo>
                      <a:pt x="475" y="758"/>
                    </a:lnTo>
                    <a:lnTo>
                      <a:pt x="470" y="770"/>
                    </a:lnTo>
                    <a:lnTo>
                      <a:pt x="470" y="770"/>
                    </a:lnTo>
                    <a:lnTo>
                      <a:pt x="470" y="770"/>
                    </a:lnTo>
                    <a:close/>
                    <a:moveTo>
                      <a:pt x="546" y="770"/>
                    </a:moveTo>
                    <a:lnTo>
                      <a:pt x="541" y="758"/>
                    </a:lnTo>
                    <a:lnTo>
                      <a:pt x="541" y="753"/>
                    </a:lnTo>
                    <a:lnTo>
                      <a:pt x="546" y="758"/>
                    </a:lnTo>
                    <a:lnTo>
                      <a:pt x="546" y="770"/>
                    </a:lnTo>
                    <a:lnTo>
                      <a:pt x="546" y="770"/>
                    </a:lnTo>
                    <a:lnTo>
                      <a:pt x="546" y="770"/>
                    </a:lnTo>
                    <a:close/>
                    <a:moveTo>
                      <a:pt x="7" y="864"/>
                    </a:moveTo>
                    <a:lnTo>
                      <a:pt x="0" y="843"/>
                    </a:lnTo>
                    <a:lnTo>
                      <a:pt x="7" y="843"/>
                    </a:lnTo>
                    <a:lnTo>
                      <a:pt x="17" y="860"/>
                    </a:lnTo>
                    <a:lnTo>
                      <a:pt x="7" y="864"/>
                    </a:lnTo>
                    <a:lnTo>
                      <a:pt x="7" y="864"/>
                    </a:lnTo>
                    <a:lnTo>
                      <a:pt x="7" y="864"/>
                    </a:lnTo>
                    <a:close/>
                    <a:moveTo>
                      <a:pt x="416" y="898"/>
                    </a:moveTo>
                    <a:lnTo>
                      <a:pt x="407" y="886"/>
                    </a:lnTo>
                    <a:lnTo>
                      <a:pt x="421" y="886"/>
                    </a:lnTo>
                    <a:lnTo>
                      <a:pt x="421" y="898"/>
                    </a:lnTo>
                    <a:lnTo>
                      <a:pt x="416" y="898"/>
                    </a:lnTo>
                    <a:lnTo>
                      <a:pt x="416" y="898"/>
                    </a:lnTo>
                    <a:lnTo>
                      <a:pt x="416" y="898"/>
                    </a:lnTo>
                    <a:close/>
                    <a:moveTo>
                      <a:pt x="617" y="926"/>
                    </a:moveTo>
                    <a:lnTo>
                      <a:pt x="610" y="914"/>
                    </a:lnTo>
                    <a:lnTo>
                      <a:pt x="617" y="902"/>
                    </a:lnTo>
                    <a:lnTo>
                      <a:pt x="622" y="914"/>
                    </a:lnTo>
                    <a:lnTo>
                      <a:pt x="617" y="926"/>
                    </a:lnTo>
                    <a:lnTo>
                      <a:pt x="617" y="926"/>
                    </a:lnTo>
                    <a:lnTo>
                      <a:pt x="617" y="926"/>
                    </a:lnTo>
                    <a:close/>
                    <a:moveTo>
                      <a:pt x="114" y="921"/>
                    </a:moveTo>
                    <a:lnTo>
                      <a:pt x="109" y="921"/>
                    </a:lnTo>
                    <a:lnTo>
                      <a:pt x="114" y="914"/>
                    </a:lnTo>
                    <a:lnTo>
                      <a:pt x="114" y="921"/>
                    </a:lnTo>
                    <a:lnTo>
                      <a:pt x="114" y="921"/>
                    </a:lnTo>
                    <a:lnTo>
                      <a:pt x="114" y="921"/>
                    </a:lnTo>
                    <a:close/>
                    <a:moveTo>
                      <a:pt x="352" y="959"/>
                    </a:moveTo>
                    <a:lnTo>
                      <a:pt x="340" y="942"/>
                    </a:lnTo>
                    <a:lnTo>
                      <a:pt x="362" y="938"/>
                    </a:lnTo>
                    <a:lnTo>
                      <a:pt x="369" y="954"/>
                    </a:lnTo>
                    <a:lnTo>
                      <a:pt x="369" y="959"/>
                    </a:lnTo>
                    <a:lnTo>
                      <a:pt x="352" y="959"/>
                    </a:lnTo>
                    <a:lnTo>
                      <a:pt x="352" y="959"/>
                    </a:lnTo>
                    <a:lnTo>
                      <a:pt x="352" y="959"/>
                    </a:lnTo>
                    <a:close/>
                    <a:moveTo>
                      <a:pt x="255" y="975"/>
                    </a:moveTo>
                    <a:lnTo>
                      <a:pt x="244" y="975"/>
                    </a:lnTo>
                    <a:lnTo>
                      <a:pt x="255" y="959"/>
                    </a:lnTo>
                    <a:lnTo>
                      <a:pt x="255" y="975"/>
                    </a:lnTo>
                    <a:lnTo>
                      <a:pt x="255" y="975"/>
                    </a:lnTo>
                    <a:lnTo>
                      <a:pt x="255" y="975"/>
                    </a:lnTo>
                    <a:close/>
                    <a:moveTo>
                      <a:pt x="345" y="992"/>
                    </a:moveTo>
                    <a:lnTo>
                      <a:pt x="340" y="980"/>
                    </a:lnTo>
                    <a:lnTo>
                      <a:pt x="352" y="992"/>
                    </a:lnTo>
                    <a:lnTo>
                      <a:pt x="345" y="992"/>
                    </a:lnTo>
                    <a:lnTo>
                      <a:pt x="345" y="992"/>
                    </a:lnTo>
                    <a:lnTo>
                      <a:pt x="345" y="992"/>
                    </a:lnTo>
                    <a:close/>
                    <a:moveTo>
                      <a:pt x="310" y="997"/>
                    </a:moveTo>
                    <a:lnTo>
                      <a:pt x="298" y="997"/>
                    </a:lnTo>
                    <a:lnTo>
                      <a:pt x="277" y="997"/>
                    </a:lnTo>
                    <a:lnTo>
                      <a:pt x="277" y="992"/>
                    </a:lnTo>
                    <a:lnTo>
                      <a:pt x="293" y="980"/>
                    </a:lnTo>
                    <a:lnTo>
                      <a:pt x="314" y="992"/>
                    </a:lnTo>
                    <a:lnTo>
                      <a:pt x="310" y="997"/>
                    </a:lnTo>
                    <a:lnTo>
                      <a:pt x="310" y="997"/>
                    </a:lnTo>
                    <a:lnTo>
                      <a:pt x="310" y="997"/>
                    </a:lnTo>
                    <a:close/>
                    <a:moveTo>
                      <a:pt x="277" y="1030"/>
                    </a:moveTo>
                    <a:lnTo>
                      <a:pt x="277" y="1025"/>
                    </a:lnTo>
                    <a:lnTo>
                      <a:pt x="277" y="1030"/>
                    </a:lnTo>
                    <a:lnTo>
                      <a:pt x="277" y="1030"/>
                    </a:lnTo>
                    <a:lnTo>
                      <a:pt x="277" y="1030"/>
                    </a:lnTo>
                    <a:close/>
                    <a:moveTo>
                      <a:pt x="206" y="1065"/>
                    </a:moveTo>
                    <a:lnTo>
                      <a:pt x="201" y="1053"/>
                    </a:lnTo>
                    <a:lnTo>
                      <a:pt x="234" y="1037"/>
                    </a:lnTo>
                    <a:lnTo>
                      <a:pt x="234" y="1053"/>
                    </a:lnTo>
                    <a:lnTo>
                      <a:pt x="218" y="1046"/>
                    </a:lnTo>
                    <a:lnTo>
                      <a:pt x="206" y="1065"/>
                    </a:lnTo>
                    <a:lnTo>
                      <a:pt x="206" y="1065"/>
                    </a:lnTo>
                    <a:lnTo>
                      <a:pt x="206" y="106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87" name="Freeform 567">
                <a:extLst>
                  <a:ext uri="{FF2B5EF4-FFF2-40B4-BE49-F238E27FC236}">
                    <a16:creationId xmlns:a16="http://schemas.microsoft.com/office/drawing/2014/main" id="{EED9BC37-F937-44C8-A174-E70EF9E33EA7}"/>
                  </a:ext>
                </a:extLst>
              </p:cNvPr>
              <p:cNvSpPr>
                <a:spLocks noEditPoints="1"/>
              </p:cNvSpPr>
              <p:nvPr/>
            </p:nvSpPr>
            <p:spPr bwMode="gray">
              <a:xfrm>
                <a:off x="8879440" y="6292412"/>
                <a:ext cx="270782" cy="506200"/>
              </a:xfrm>
              <a:custGeom>
                <a:avLst/>
                <a:gdLst>
                  <a:gd name="T0" fmla="*/ 298 w 581"/>
                  <a:gd name="T1" fmla="*/ 1070 h 1086"/>
                  <a:gd name="T2" fmla="*/ 267 w 581"/>
                  <a:gd name="T3" fmla="*/ 1046 h 1086"/>
                  <a:gd name="T4" fmla="*/ 217 w 581"/>
                  <a:gd name="T5" fmla="*/ 1025 h 1086"/>
                  <a:gd name="T6" fmla="*/ 196 w 581"/>
                  <a:gd name="T7" fmla="*/ 1025 h 1086"/>
                  <a:gd name="T8" fmla="*/ 147 w 581"/>
                  <a:gd name="T9" fmla="*/ 968 h 1086"/>
                  <a:gd name="T10" fmla="*/ 121 w 581"/>
                  <a:gd name="T11" fmla="*/ 930 h 1086"/>
                  <a:gd name="T12" fmla="*/ 92 w 581"/>
                  <a:gd name="T13" fmla="*/ 885 h 1086"/>
                  <a:gd name="T14" fmla="*/ 66 w 581"/>
                  <a:gd name="T15" fmla="*/ 881 h 1086"/>
                  <a:gd name="T16" fmla="*/ 104 w 581"/>
                  <a:gd name="T17" fmla="*/ 720 h 1086"/>
                  <a:gd name="T18" fmla="*/ 147 w 581"/>
                  <a:gd name="T19" fmla="*/ 588 h 1086"/>
                  <a:gd name="T20" fmla="*/ 137 w 581"/>
                  <a:gd name="T21" fmla="*/ 543 h 1086"/>
                  <a:gd name="T22" fmla="*/ 71 w 581"/>
                  <a:gd name="T23" fmla="*/ 432 h 1086"/>
                  <a:gd name="T24" fmla="*/ 88 w 581"/>
                  <a:gd name="T25" fmla="*/ 382 h 1086"/>
                  <a:gd name="T26" fmla="*/ 109 w 581"/>
                  <a:gd name="T27" fmla="*/ 304 h 1086"/>
                  <a:gd name="T28" fmla="*/ 33 w 581"/>
                  <a:gd name="T29" fmla="*/ 210 h 1086"/>
                  <a:gd name="T30" fmla="*/ 12 w 581"/>
                  <a:gd name="T31" fmla="*/ 156 h 1086"/>
                  <a:gd name="T32" fmla="*/ 33 w 581"/>
                  <a:gd name="T33" fmla="*/ 82 h 1086"/>
                  <a:gd name="T34" fmla="*/ 66 w 581"/>
                  <a:gd name="T35" fmla="*/ 56 h 1086"/>
                  <a:gd name="T36" fmla="*/ 147 w 581"/>
                  <a:gd name="T37" fmla="*/ 28 h 1086"/>
                  <a:gd name="T38" fmla="*/ 191 w 581"/>
                  <a:gd name="T39" fmla="*/ 0 h 1086"/>
                  <a:gd name="T40" fmla="*/ 217 w 581"/>
                  <a:gd name="T41" fmla="*/ 28 h 1086"/>
                  <a:gd name="T42" fmla="*/ 243 w 581"/>
                  <a:gd name="T43" fmla="*/ 73 h 1086"/>
                  <a:gd name="T44" fmla="*/ 281 w 581"/>
                  <a:gd name="T45" fmla="*/ 106 h 1086"/>
                  <a:gd name="T46" fmla="*/ 272 w 581"/>
                  <a:gd name="T47" fmla="*/ 160 h 1086"/>
                  <a:gd name="T48" fmla="*/ 298 w 581"/>
                  <a:gd name="T49" fmla="*/ 200 h 1086"/>
                  <a:gd name="T50" fmla="*/ 359 w 581"/>
                  <a:gd name="T51" fmla="*/ 182 h 1086"/>
                  <a:gd name="T52" fmla="*/ 406 w 581"/>
                  <a:gd name="T53" fmla="*/ 182 h 1086"/>
                  <a:gd name="T54" fmla="*/ 428 w 581"/>
                  <a:gd name="T55" fmla="*/ 156 h 1086"/>
                  <a:gd name="T56" fmla="*/ 527 w 581"/>
                  <a:gd name="T57" fmla="*/ 238 h 1086"/>
                  <a:gd name="T58" fmla="*/ 569 w 581"/>
                  <a:gd name="T59" fmla="*/ 345 h 1086"/>
                  <a:gd name="T60" fmla="*/ 581 w 581"/>
                  <a:gd name="T61" fmla="*/ 404 h 1086"/>
                  <a:gd name="T62" fmla="*/ 543 w 581"/>
                  <a:gd name="T63" fmla="*/ 453 h 1086"/>
                  <a:gd name="T64" fmla="*/ 414 w 581"/>
                  <a:gd name="T65" fmla="*/ 453 h 1086"/>
                  <a:gd name="T66" fmla="*/ 373 w 581"/>
                  <a:gd name="T67" fmla="*/ 510 h 1086"/>
                  <a:gd name="T68" fmla="*/ 364 w 581"/>
                  <a:gd name="T69" fmla="*/ 581 h 1086"/>
                  <a:gd name="T70" fmla="*/ 373 w 581"/>
                  <a:gd name="T71" fmla="*/ 609 h 1086"/>
                  <a:gd name="T72" fmla="*/ 359 w 581"/>
                  <a:gd name="T73" fmla="*/ 604 h 1086"/>
                  <a:gd name="T74" fmla="*/ 310 w 581"/>
                  <a:gd name="T75" fmla="*/ 571 h 1086"/>
                  <a:gd name="T76" fmla="*/ 251 w 581"/>
                  <a:gd name="T77" fmla="*/ 581 h 1086"/>
                  <a:gd name="T78" fmla="*/ 191 w 581"/>
                  <a:gd name="T79" fmla="*/ 531 h 1086"/>
                  <a:gd name="T80" fmla="*/ 163 w 581"/>
                  <a:gd name="T81" fmla="*/ 666 h 1086"/>
                  <a:gd name="T82" fmla="*/ 142 w 581"/>
                  <a:gd name="T83" fmla="*/ 819 h 1086"/>
                  <a:gd name="T84" fmla="*/ 191 w 581"/>
                  <a:gd name="T85" fmla="*/ 876 h 1086"/>
                  <a:gd name="T86" fmla="*/ 201 w 581"/>
                  <a:gd name="T87" fmla="*/ 885 h 1086"/>
                  <a:gd name="T88" fmla="*/ 213 w 581"/>
                  <a:gd name="T89" fmla="*/ 935 h 1086"/>
                  <a:gd name="T90" fmla="*/ 217 w 581"/>
                  <a:gd name="T91" fmla="*/ 975 h 1086"/>
                  <a:gd name="T92" fmla="*/ 281 w 581"/>
                  <a:gd name="T93" fmla="*/ 996 h 1086"/>
                  <a:gd name="T94" fmla="*/ 336 w 581"/>
                  <a:gd name="T95" fmla="*/ 1046 h 1086"/>
                  <a:gd name="T96" fmla="*/ 352 w 581"/>
                  <a:gd name="T97" fmla="*/ 626 h 1086"/>
                  <a:gd name="T98" fmla="*/ 359 w 581"/>
                  <a:gd name="T99" fmla="*/ 626 h 1086"/>
                  <a:gd name="T100" fmla="*/ 364 w 581"/>
                  <a:gd name="T101" fmla="*/ 642 h 1086"/>
                  <a:gd name="T102" fmla="*/ 196 w 581"/>
                  <a:gd name="T103" fmla="*/ 791 h 1086"/>
                  <a:gd name="T104" fmla="*/ 191 w 581"/>
                  <a:gd name="T105" fmla="*/ 786 h 1086"/>
                  <a:gd name="T106" fmla="*/ 196 w 581"/>
                  <a:gd name="T107" fmla="*/ 808 h 1086"/>
                  <a:gd name="T108" fmla="*/ 66 w 581"/>
                  <a:gd name="T109" fmla="*/ 843 h 1086"/>
                  <a:gd name="T110" fmla="*/ 71 w 581"/>
                  <a:gd name="T111" fmla="*/ 843 h 1086"/>
                  <a:gd name="T112" fmla="*/ 66 w 581"/>
                  <a:gd name="T113" fmla="*/ 902 h 1086"/>
                  <a:gd name="T114" fmla="*/ 88 w 581"/>
                  <a:gd name="T115" fmla="*/ 914 h 1086"/>
                  <a:gd name="T116" fmla="*/ 88 w 581"/>
                  <a:gd name="T117" fmla="*/ 914 h 1086"/>
                  <a:gd name="T118" fmla="*/ 158 w 581"/>
                  <a:gd name="T119" fmla="*/ 1025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1" h="1086">
                    <a:moveTo>
                      <a:pt x="336" y="1046"/>
                    </a:moveTo>
                    <a:lnTo>
                      <a:pt x="321" y="1079"/>
                    </a:lnTo>
                    <a:lnTo>
                      <a:pt x="305" y="1079"/>
                    </a:lnTo>
                    <a:lnTo>
                      <a:pt x="298" y="1070"/>
                    </a:lnTo>
                    <a:lnTo>
                      <a:pt x="267" y="1086"/>
                    </a:lnTo>
                    <a:lnTo>
                      <a:pt x="255" y="1079"/>
                    </a:lnTo>
                    <a:lnTo>
                      <a:pt x="267" y="1063"/>
                    </a:lnTo>
                    <a:lnTo>
                      <a:pt x="267" y="1046"/>
                    </a:lnTo>
                    <a:lnTo>
                      <a:pt x="251" y="1046"/>
                    </a:lnTo>
                    <a:lnTo>
                      <a:pt x="243" y="1025"/>
                    </a:lnTo>
                    <a:lnTo>
                      <a:pt x="234" y="1030"/>
                    </a:lnTo>
                    <a:lnTo>
                      <a:pt x="217" y="1025"/>
                    </a:lnTo>
                    <a:lnTo>
                      <a:pt x="213" y="1013"/>
                    </a:lnTo>
                    <a:lnTo>
                      <a:pt x="201" y="1013"/>
                    </a:lnTo>
                    <a:lnTo>
                      <a:pt x="196" y="1030"/>
                    </a:lnTo>
                    <a:lnTo>
                      <a:pt x="196" y="1025"/>
                    </a:lnTo>
                    <a:lnTo>
                      <a:pt x="163" y="996"/>
                    </a:lnTo>
                    <a:lnTo>
                      <a:pt x="175" y="987"/>
                    </a:lnTo>
                    <a:lnTo>
                      <a:pt x="158" y="987"/>
                    </a:lnTo>
                    <a:lnTo>
                      <a:pt x="147" y="968"/>
                    </a:lnTo>
                    <a:lnTo>
                      <a:pt x="137" y="942"/>
                    </a:lnTo>
                    <a:lnTo>
                      <a:pt x="125" y="935"/>
                    </a:lnTo>
                    <a:lnTo>
                      <a:pt x="121" y="935"/>
                    </a:lnTo>
                    <a:lnTo>
                      <a:pt x="121" y="930"/>
                    </a:lnTo>
                    <a:lnTo>
                      <a:pt x="104" y="919"/>
                    </a:lnTo>
                    <a:lnTo>
                      <a:pt x="92" y="897"/>
                    </a:lnTo>
                    <a:lnTo>
                      <a:pt x="92" y="897"/>
                    </a:lnTo>
                    <a:lnTo>
                      <a:pt x="92" y="885"/>
                    </a:lnTo>
                    <a:lnTo>
                      <a:pt x="83" y="897"/>
                    </a:lnTo>
                    <a:lnTo>
                      <a:pt x="83" y="902"/>
                    </a:lnTo>
                    <a:lnTo>
                      <a:pt x="66" y="897"/>
                    </a:lnTo>
                    <a:lnTo>
                      <a:pt x="66" y="881"/>
                    </a:lnTo>
                    <a:lnTo>
                      <a:pt x="71" y="831"/>
                    </a:lnTo>
                    <a:lnTo>
                      <a:pt x="104" y="748"/>
                    </a:lnTo>
                    <a:lnTo>
                      <a:pt x="104" y="737"/>
                    </a:lnTo>
                    <a:lnTo>
                      <a:pt x="104" y="720"/>
                    </a:lnTo>
                    <a:lnTo>
                      <a:pt x="137" y="699"/>
                    </a:lnTo>
                    <a:lnTo>
                      <a:pt x="163" y="642"/>
                    </a:lnTo>
                    <a:lnTo>
                      <a:pt x="147" y="604"/>
                    </a:lnTo>
                    <a:lnTo>
                      <a:pt x="147" y="588"/>
                    </a:lnTo>
                    <a:lnTo>
                      <a:pt x="137" y="571"/>
                    </a:lnTo>
                    <a:lnTo>
                      <a:pt x="125" y="548"/>
                    </a:lnTo>
                    <a:lnTo>
                      <a:pt x="125" y="543"/>
                    </a:lnTo>
                    <a:lnTo>
                      <a:pt x="137" y="543"/>
                    </a:lnTo>
                    <a:lnTo>
                      <a:pt x="137" y="498"/>
                    </a:lnTo>
                    <a:lnTo>
                      <a:pt x="121" y="477"/>
                    </a:lnTo>
                    <a:lnTo>
                      <a:pt x="92" y="460"/>
                    </a:lnTo>
                    <a:lnTo>
                      <a:pt x="71" y="432"/>
                    </a:lnTo>
                    <a:lnTo>
                      <a:pt x="66" y="404"/>
                    </a:lnTo>
                    <a:lnTo>
                      <a:pt x="66" y="387"/>
                    </a:lnTo>
                    <a:lnTo>
                      <a:pt x="83" y="382"/>
                    </a:lnTo>
                    <a:lnTo>
                      <a:pt x="88" y="382"/>
                    </a:lnTo>
                    <a:lnTo>
                      <a:pt x="92" y="333"/>
                    </a:lnTo>
                    <a:lnTo>
                      <a:pt x="109" y="326"/>
                    </a:lnTo>
                    <a:lnTo>
                      <a:pt x="109" y="304"/>
                    </a:lnTo>
                    <a:lnTo>
                      <a:pt x="109" y="304"/>
                    </a:lnTo>
                    <a:lnTo>
                      <a:pt x="92" y="309"/>
                    </a:lnTo>
                    <a:lnTo>
                      <a:pt x="83" y="276"/>
                    </a:lnTo>
                    <a:lnTo>
                      <a:pt x="88" y="267"/>
                    </a:lnTo>
                    <a:lnTo>
                      <a:pt x="33" y="210"/>
                    </a:lnTo>
                    <a:lnTo>
                      <a:pt x="29" y="165"/>
                    </a:lnTo>
                    <a:lnTo>
                      <a:pt x="12" y="165"/>
                    </a:lnTo>
                    <a:lnTo>
                      <a:pt x="0" y="144"/>
                    </a:lnTo>
                    <a:lnTo>
                      <a:pt x="12" y="156"/>
                    </a:lnTo>
                    <a:lnTo>
                      <a:pt x="33" y="144"/>
                    </a:lnTo>
                    <a:lnTo>
                      <a:pt x="29" y="111"/>
                    </a:lnTo>
                    <a:lnTo>
                      <a:pt x="33" y="106"/>
                    </a:lnTo>
                    <a:lnTo>
                      <a:pt x="33" y="82"/>
                    </a:lnTo>
                    <a:lnTo>
                      <a:pt x="38" y="66"/>
                    </a:lnTo>
                    <a:lnTo>
                      <a:pt x="50" y="66"/>
                    </a:lnTo>
                    <a:lnTo>
                      <a:pt x="50" y="49"/>
                    </a:lnTo>
                    <a:lnTo>
                      <a:pt x="66" y="56"/>
                    </a:lnTo>
                    <a:lnTo>
                      <a:pt x="109" y="49"/>
                    </a:lnTo>
                    <a:lnTo>
                      <a:pt x="121" y="49"/>
                    </a:lnTo>
                    <a:lnTo>
                      <a:pt x="125" y="33"/>
                    </a:lnTo>
                    <a:lnTo>
                      <a:pt x="147" y="28"/>
                    </a:lnTo>
                    <a:lnTo>
                      <a:pt x="158" y="28"/>
                    </a:lnTo>
                    <a:lnTo>
                      <a:pt x="158" y="11"/>
                    </a:lnTo>
                    <a:lnTo>
                      <a:pt x="175" y="11"/>
                    </a:lnTo>
                    <a:lnTo>
                      <a:pt x="191" y="0"/>
                    </a:lnTo>
                    <a:lnTo>
                      <a:pt x="196" y="11"/>
                    </a:lnTo>
                    <a:lnTo>
                      <a:pt x="201" y="16"/>
                    </a:lnTo>
                    <a:lnTo>
                      <a:pt x="213" y="11"/>
                    </a:lnTo>
                    <a:lnTo>
                      <a:pt x="217" y="28"/>
                    </a:lnTo>
                    <a:lnTo>
                      <a:pt x="229" y="28"/>
                    </a:lnTo>
                    <a:lnTo>
                      <a:pt x="217" y="56"/>
                    </a:lnTo>
                    <a:lnTo>
                      <a:pt x="229" y="73"/>
                    </a:lnTo>
                    <a:lnTo>
                      <a:pt x="243" y="73"/>
                    </a:lnTo>
                    <a:lnTo>
                      <a:pt x="251" y="66"/>
                    </a:lnTo>
                    <a:lnTo>
                      <a:pt x="281" y="73"/>
                    </a:lnTo>
                    <a:lnTo>
                      <a:pt x="272" y="82"/>
                    </a:lnTo>
                    <a:lnTo>
                      <a:pt x="281" y="106"/>
                    </a:lnTo>
                    <a:lnTo>
                      <a:pt x="272" y="123"/>
                    </a:lnTo>
                    <a:lnTo>
                      <a:pt x="281" y="139"/>
                    </a:lnTo>
                    <a:lnTo>
                      <a:pt x="267" y="156"/>
                    </a:lnTo>
                    <a:lnTo>
                      <a:pt x="272" y="160"/>
                    </a:lnTo>
                    <a:lnTo>
                      <a:pt x="272" y="177"/>
                    </a:lnTo>
                    <a:lnTo>
                      <a:pt x="255" y="217"/>
                    </a:lnTo>
                    <a:lnTo>
                      <a:pt x="272" y="222"/>
                    </a:lnTo>
                    <a:lnTo>
                      <a:pt x="298" y="200"/>
                    </a:lnTo>
                    <a:lnTo>
                      <a:pt x="310" y="182"/>
                    </a:lnTo>
                    <a:lnTo>
                      <a:pt x="321" y="182"/>
                    </a:lnTo>
                    <a:lnTo>
                      <a:pt x="336" y="165"/>
                    </a:lnTo>
                    <a:lnTo>
                      <a:pt x="359" y="182"/>
                    </a:lnTo>
                    <a:lnTo>
                      <a:pt x="373" y="193"/>
                    </a:lnTo>
                    <a:lnTo>
                      <a:pt x="373" y="200"/>
                    </a:lnTo>
                    <a:lnTo>
                      <a:pt x="390" y="182"/>
                    </a:lnTo>
                    <a:lnTo>
                      <a:pt x="406" y="182"/>
                    </a:lnTo>
                    <a:lnTo>
                      <a:pt x="406" y="177"/>
                    </a:lnTo>
                    <a:lnTo>
                      <a:pt x="418" y="165"/>
                    </a:lnTo>
                    <a:lnTo>
                      <a:pt x="418" y="160"/>
                    </a:lnTo>
                    <a:lnTo>
                      <a:pt x="428" y="156"/>
                    </a:lnTo>
                    <a:lnTo>
                      <a:pt x="466" y="160"/>
                    </a:lnTo>
                    <a:lnTo>
                      <a:pt x="489" y="200"/>
                    </a:lnTo>
                    <a:lnTo>
                      <a:pt x="520" y="222"/>
                    </a:lnTo>
                    <a:lnTo>
                      <a:pt x="527" y="238"/>
                    </a:lnTo>
                    <a:lnTo>
                      <a:pt x="520" y="293"/>
                    </a:lnTo>
                    <a:lnTo>
                      <a:pt x="543" y="326"/>
                    </a:lnTo>
                    <a:lnTo>
                      <a:pt x="569" y="333"/>
                    </a:lnTo>
                    <a:lnTo>
                      <a:pt x="569" y="345"/>
                    </a:lnTo>
                    <a:lnTo>
                      <a:pt x="569" y="349"/>
                    </a:lnTo>
                    <a:lnTo>
                      <a:pt x="581" y="361"/>
                    </a:lnTo>
                    <a:lnTo>
                      <a:pt x="574" y="399"/>
                    </a:lnTo>
                    <a:lnTo>
                      <a:pt x="581" y="404"/>
                    </a:lnTo>
                    <a:lnTo>
                      <a:pt x="574" y="437"/>
                    </a:lnTo>
                    <a:lnTo>
                      <a:pt x="553" y="453"/>
                    </a:lnTo>
                    <a:lnTo>
                      <a:pt x="543" y="470"/>
                    </a:lnTo>
                    <a:lnTo>
                      <a:pt x="543" y="453"/>
                    </a:lnTo>
                    <a:lnTo>
                      <a:pt x="527" y="444"/>
                    </a:lnTo>
                    <a:lnTo>
                      <a:pt x="466" y="453"/>
                    </a:lnTo>
                    <a:lnTo>
                      <a:pt x="444" y="444"/>
                    </a:lnTo>
                    <a:lnTo>
                      <a:pt x="414" y="453"/>
                    </a:lnTo>
                    <a:lnTo>
                      <a:pt x="397" y="470"/>
                    </a:lnTo>
                    <a:lnTo>
                      <a:pt x="380" y="498"/>
                    </a:lnTo>
                    <a:lnTo>
                      <a:pt x="364" y="498"/>
                    </a:lnTo>
                    <a:lnTo>
                      <a:pt x="373" y="510"/>
                    </a:lnTo>
                    <a:lnTo>
                      <a:pt x="359" y="510"/>
                    </a:lnTo>
                    <a:lnTo>
                      <a:pt x="352" y="531"/>
                    </a:lnTo>
                    <a:lnTo>
                      <a:pt x="364" y="555"/>
                    </a:lnTo>
                    <a:lnTo>
                      <a:pt x="364" y="581"/>
                    </a:lnTo>
                    <a:lnTo>
                      <a:pt x="380" y="597"/>
                    </a:lnTo>
                    <a:lnTo>
                      <a:pt x="380" y="621"/>
                    </a:lnTo>
                    <a:lnTo>
                      <a:pt x="397" y="654"/>
                    </a:lnTo>
                    <a:lnTo>
                      <a:pt x="373" y="609"/>
                    </a:lnTo>
                    <a:lnTo>
                      <a:pt x="364" y="609"/>
                    </a:lnTo>
                    <a:lnTo>
                      <a:pt x="364" y="621"/>
                    </a:lnTo>
                    <a:lnTo>
                      <a:pt x="352" y="609"/>
                    </a:lnTo>
                    <a:lnTo>
                      <a:pt x="359" y="604"/>
                    </a:lnTo>
                    <a:lnTo>
                      <a:pt x="343" y="604"/>
                    </a:lnTo>
                    <a:lnTo>
                      <a:pt x="336" y="588"/>
                    </a:lnTo>
                    <a:lnTo>
                      <a:pt x="326" y="588"/>
                    </a:lnTo>
                    <a:lnTo>
                      <a:pt x="310" y="571"/>
                    </a:lnTo>
                    <a:lnTo>
                      <a:pt x="288" y="581"/>
                    </a:lnTo>
                    <a:lnTo>
                      <a:pt x="267" y="581"/>
                    </a:lnTo>
                    <a:lnTo>
                      <a:pt x="255" y="588"/>
                    </a:lnTo>
                    <a:lnTo>
                      <a:pt x="251" y="581"/>
                    </a:lnTo>
                    <a:lnTo>
                      <a:pt x="255" y="515"/>
                    </a:lnTo>
                    <a:lnTo>
                      <a:pt x="229" y="515"/>
                    </a:lnTo>
                    <a:lnTo>
                      <a:pt x="196" y="526"/>
                    </a:lnTo>
                    <a:lnTo>
                      <a:pt x="191" y="531"/>
                    </a:lnTo>
                    <a:lnTo>
                      <a:pt x="196" y="548"/>
                    </a:lnTo>
                    <a:lnTo>
                      <a:pt x="191" y="581"/>
                    </a:lnTo>
                    <a:lnTo>
                      <a:pt x="191" y="609"/>
                    </a:lnTo>
                    <a:lnTo>
                      <a:pt x="163" y="666"/>
                    </a:lnTo>
                    <a:lnTo>
                      <a:pt x="158" y="708"/>
                    </a:lnTo>
                    <a:lnTo>
                      <a:pt x="125" y="748"/>
                    </a:lnTo>
                    <a:lnTo>
                      <a:pt x="125" y="791"/>
                    </a:lnTo>
                    <a:lnTo>
                      <a:pt x="142" y="819"/>
                    </a:lnTo>
                    <a:lnTo>
                      <a:pt x="137" y="826"/>
                    </a:lnTo>
                    <a:lnTo>
                      <a:pt x="147" y="831"/>
                    </a:lnTo>
                    <a:lnTo>
                      <a:pt x="180" y="826"/>
                    </a:lnTo>
                    <a:lnTo>
                      <a:pt x="191" y="876"/>
                    </a:lnTo>
                    <a:lnTo>
                      <a:pt x="196" y="885"/>
                    </a:lnTo>
                    <a:lnTo>
                      <a:pt x="201" y="885"/>
                    </a:lnTo>
                    <a:lnTo>
                      <a:pt x="196" y="881"/>
                    </a:lnTo>
                    <a:lnTo>
                      <a:pt x="201" y="885"/>
                    </a:lnTo>
                    <a:lnTo>
                      <a:pt x="217" y="959"/>
                    </a:lnTo>
                    <a:lnTo>
                      <a:pt x="229" y="975"/>
                    </a:lnTo>
                    <a:lnTo>
                      <a:pt x="217" y="968"/>
                    </a:lnTo>
                    <a:lnTo>
                      <a:pt x="213" y="935"/>
                    </a:lnTo>
                    <a:lnTo>
                      <a:pt x="201" y="935"/>
                    </a:lnTo>
                    <a:lnTo>
                      <a:pt x="196" y="935"/>
                    </a:lnTo>
                    <a:lnTo>
                      <a:pt x="201" y="952"/>
                    </a:lnTo>
                    <a:lnTo>
                      <a:pt x="217" y="975"/>
                    </a:lnTo>
                    <a:lnTo>
                      <a:pt x="234" y="975"/>
                    </a:lnTo>
                    <a:lnTo>
                      <a:pt x="243" y="992"/>
                    </a:lnTo>
                    <a:lnTo>
                      <a:pt x="255" y="996"/>
                    </a:lnTo>
                    <a:lnTo>
                      <a:pt x="281" y="996"/>
                    </a:lnTo>
                    <a:lnTo>
                      <a:pt x="281" y="992"/>
                    </a:lnTo>
                    <a:lnTo>
                      <a:pt x="298" y="996"/>
                    </a:lnTo>
                    <a:lnTo>
                      <a:pt x="310" y="1030"/>
                    </a:lnTo>
                    <a:lnTo>
                      <a:pt x="336" y="1046"/>
                    </a:lnTo>
                    <a:lnTo>
                      <a:pt x="336" y="1046"/>
                    </a:lnTo>
                    <a:lnTo>
                      <a:pt x="336" y="1046"/>
                    </a:lnTo>
                    <a:close/>
                    <a:moveTo>
                      <a:pt x="359" y="626"/>
                    </a:moveTo>
                    <a:lnTo>
                      <a:pt x="352" y="626"/>
                    </a:lnTo>
                    <a:lnTo>
                      <a:pt x="352" y="621"/>
                    </a:lnTo>
                    <a:lnTo>
                      <a:pt x="359" y="626"/>
                    </a:lnTo>
                    <a:lnTo>
                      <a:pt x="359" y="626"/>
                    </a:lnTo>
                    <a:lnTo>
                      <a:pt x="359" y="626"/>
                    </a:lnTo>
                    <a:close/>
                    <a:moveTo>
                      <a:pt x="364" y="642"/>
                    </a:moveTo>
                    <a:lnTo>
                      <a:pt x="373" y="659"/>
                    </a:lnTo>
                    <a:lnTo>
                      <a:pt x="364" y="659"/>
                    </a:lnTo>
                    <a:lnTo>
                      <a:pt x="364" y="642"/>
                    </a:lnTo>
                    <a:lnTo>
                      <a:pt x="364" y="642"/>
                    </a:lnTo>
                    <a:lnTo>
                      <a:pt x="364" y="642"/>
                    </a:lnTo>
                    <a:close/>
                    <a:moveTo>
                      <a:pt x="191" y="786"/>
                    </a:moveTo>
                    <a:lnTo>
                      <a:pt x="196" y="791"/>
                    </a:lnTo>
                    <a:lnTo>
                      <a:pt x="191" y="791"/>
                    </a:lnTo>
                    <a:lnTo>
                      <a:pt x="191" y="786"/>
                    </a:lnTo>
                    <a:lnTo>
                      <a:pt x="191" y="786"/>
                    </a:lnTo>
                    <a:lnTo>
                      <a:pt x="191" y="786"/>
                    </a:lnTo>
                    <a:close/>
                    <a:moveTo>
                      <a:pt x="196" y="808"/>
                    </a:moveTo>
                    <a:lnTo>
                      <a:pt x="191" y="819"/>
                    </a:lnTo>
                    <a:lnTo>
                      <a:pt x="191" y="808"/>
                    </a:lnTo>
                    <a:lnTo>
                      <a:pt x="196" y="808"/>
                    </a:lnTo>
                    <a:lnTo>
                      <a:pt x="196" y="808"/>
                    </a:lnTo>
                    <a:lnTo>
                      <a:pt x="196" y="808"/>
                    </a:lnTo>
                    <a:close/>
                    <a:moveTo>
                      <a:pt x="71" y="843"/>
                    </a:moveTo>
                    <a:lnTo>
                      <a:pt x="66" y="843"/>
                    </a:lnTo>
                    <a:lnTo>
                      <a:pt x="66" y="831"/>
                    </a:lnTo>
                    <a:lnTo>
                      <a:pt x="71" y="843"/>
                    </a:lnTo>
                    <a:lnTo>
                      <a:pt x="71" y="843"/>
                    </a:lnTo>
                    <a:lnTo>
                      <a:pt x="71" y="843"/>
                    </a:lnTo>
                    <a:close/>
                    <a:moveTo>
                      <a:pt x="71" y="902"/>
                    </a:moveTo>
                    <a:lnTo>
                      <a:pt x="83" y="930"/>
                    </a:lnTo>
                    <a:lnTo>
                      <a:pt x="71" y="935"/>
                    </a:lnTo>
                    <a:lnTo>
                      <a:pt x="66" y="902"/>
                    </a:lnTo>
                    <a:lnTo>
                      <a:pt x="71" y="902"/>
                    </a:lnTo>
                    <a:lnTo>
                      <a:pt x="71" y="902"/>
                    </a:lnTo>
                    <a:lnTo>
                      <a:pt x="71" y="902"/>
                    </a:lnTo>
                    <a:close/>
                    <a:moveTo>
                      <a:pt x="88" y="914"/>
                    </a:moveTo>
                    <a:lnTo>
                      <a:pt x="88" y="914"/>
                    </a:lnTo>
                    <a:lnTo>
                      <a:pt x="88" y="930"/>
                    </a:lnTo>
                    <a:lnTo>
                      <a:pt x="88" y="914"/>
                    </a:lnTo>
                    <a:lnTo>
                      <a:pt x="88" y="914"/>
                    </a:lnTo>
                    <a:lnTo>
                      <a:pt x="88" y="914"/>
                    </a:lnTo>
                    <a:close/>
                    <a:moveTo>
                      <a:pt x="163" y="1013"/>
                    </a:moveTo>
                    <a:lnTo>
                      <a:pt x="163" y="1030"/>
                    </a:lnTo>
                    <a:lnTo>
                      <a:pt x="158" y="1025"/>
                    </a:lnTo>
                    <a:lnTo>
                      <a:pt x="163" y="1013"/>
                    </a:lnTo>
                    <a:lnTo>
                      <a:pt x="163" y="1013"/>
                    </a:lnTo>
                    <a:lnTo>
                      <a:pt x="163" y="101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88" name="Freeform 575">
                <a:extLst>
                  <a:ext uri="{FF2B5EF4-FFF2-40B4-BE49-F238E27FC236}">
                    <a16:creationId xmlns:a16="http://schemas.microsoft.com/office/drawing/2014/main" id="{97587BA1-6957-4520-9C16-A74C8F38E786}"/>
                  </a:ext>
                </a:extLst>
              </p:cNvPr>
              <p:cNvSpPr>
                <a:spLocks noEditPoints="1"/>
              </p:cNvSpPr>
              <p:nvPr/>
            </p:nvSpPr>
            <p:spPr bwMode="gray">
              <a:xfrm>
                <a:off x="9564086" y="6125077"/>
                <a:ext cx="121176" cy="115597"/>
              </a:xfrm>
              <a:custGeom>
                <a:avLst/>
                <a:gdLst>
                  <a:gd name="T0" fmla="*/ 130 w 260"/>
                  <a:gd name="T1" fmla="*/ 132 h 248"/>
                  <a:gd name="T2" fmla="*/ 142 w 260"/>
                  <a:gd name="T3" fmla="*/ 108 h 248"/>
                  <a:gd name="T4" fmla="*/ 196 w 260"/>
                  <a:gd name="T5" fmla="*/ 21 h 248"/>
                  <a:gd name="T6" fmla="*/ 222 w 260"/>
                  <a:gd name="T7" fmla="*/ 4 h 248"/>
                  <a:gd name="T8" fmla="*/ 222 w 260"/>
                  <a:gd name="T9" fmla="*/ 4 h 248"/>
                  <a:gd name="T10" fmla="*/ 234 w 260"/>
                  <a:gd name="T11" fmla="*/ 0 h 248"/>
                  <a:gd name="T12" fmla="*/ 260 w 260"/>
                  <a:gd name="T13" fmla="*/ 9 h 248"/>
                  <a:gd name="T14" fmla="*/ 251 w 260"/>
                  <a:gd name="T15" fmla="*/ 26 h 248"/>
                  <a:gd name="T16" fmla="*/ 256 w 260"/>
                  <a:gd name="T17" fmla="*/ 59 h 248"/>
                  <a:gd name="T18" fmla="*/ 239 w 260"/>
                  <a:gd name="T19" fmla="*/ 82 h 248"/>
                  <a:gd name="T20" fmla="*/ 222 w 260"/>
                  <a:gd name="T21" fmla="*/ 148 h 248"/>
                  <a:gd name="T22" fmla="*/ 206 w 260"/>
                  <a:gd name="T23" fmla="*/ 174 h 248"/>
                  <a:gd name="T24" fmla="*/ 196 w 260"/>
                  <a:gd name="T25" fmla="*/ 203 h 248"/>
                  <a:gd name="T26" fmla="*/ 180 w 260"/>
                  <a:gd name="T27" fmla="*/ 248 h 248"/>
                  <a:gd name="T28" fmla="*/ 168 w 260"/>
                  <a:gd name="T29" fmla="*/ 248 h 248"/>
                  <a:gd name="T30" fmla="*/ 168 w 260"/>
                  <a:gd name="T31" fmla="*/ 226 h 248"/>
                  <a:gd name="T32" fmla="*/ 147 w 260"/>
                  <a:gd name="T33" fmla="*/ 203 h 248"/>
                  <a:gd name="T34" fmla="*/ 130 w 260"/>
                  <a:gd name="T35" fmla="*/ 170 h 248"/>
                  <a:gd name="T36" fmla="*/ 126 w 260"/>
                  <a:gd name="T37" fmla="*/ 165 h 248"/>
                  <a:gd name="T38" fmla="*/ 130 w 260"/>
                  <a:gd name="T39" fmla="*/ 132 h 248"/>
                  <a:gd name="T40" fmla="*/ 130 w 260"/>
                  <a:gd name="T41" fmla="*/ 132 h 248"/>
                  <a:gd name="T42" fmla="*/ 130 w 260"/>
                  <a:gd name="T43" fmla="*/ 132 h 248"/>
                  <a:gd name="T44" fmla="*/ 0 w 260"/>
                  <a:gd name="T45" fmla="*/ 59 h 248"/>
                  <a:gd name="T46" fmla="*/ 5 w 260"/>
                  <a:gd name="T47" fmla="*/ 54 h 248"/>
                  <a:gd name="T48" fmla="*/ 17 w 260"/>
                  <a:gd name="T49" fmla="*/ 59 h 248"/>
                  <a:gd name="T50" fmla="*/ 17 w 260"/>
                  <a:gd name="T51" fmla="*/ 59 h 248"/>
                  <a:gd name="T52" fmla="*/ 0 w 260"/>
                  <a:gd name="T53" fmla="*/ 59 h 248"/>
                  <a:gd name="T54" fmla="*/ 0 w 260"/>
                  <a:gd name="T55" fmla="*/ 59 h 248"/>
                  <a:gd name="T56" fmla="*/ 0 w 260"/>
                  <a:gd name="T57" fmla="*/ 59 h 248"/>
                  <a:gd name="T58" fmla="*/ 93 w 260"/>
                  <a:gd name="T59" fmla="*/ 132 h 248"/>
                  <a:gd name="T60" fmla="*/ 93 w 260"/>
                  <a:gd name="T61" fmla="*/ 120 h 248"/>
                  <a:gd name="T62" fmla="*/ 97 w 260"/>
                  <a:gd name="T63" fmla="*/ 132 h 248"/>
                  <a:gd name="T64" fmla="*/ 93 w 260"/>
                  <a:gd name="T65" fmla="*/ 132 h 248"/>
                  <a:gd name="T66" fmla="*/ 93 w 260"/>
                  <a:gd name="T67" fmla="*/ 132 h 248"/>
                  <a:gd name="T68" fmla="*/ 93 w 260"/>
                  <a:gd name="T69" fmla="*/ 13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0" h="248">
                    <a:moveTo>
                      <a:pt x="130" y="132"/>
                    </a:moveTo>
                    <a:lnTo>
                      <a:pt x="142" y="108"/>
                    </a:lnTo>
                    <a:lnTo>
                      <a:pt x="196" y="21"/>
                    </a:lnTo>
                    <a:lnTo>
                      <a:pt x="222" y="4"/>
                    </a:lnTo>
                    <a:lnTo>
                      <a:pt x="222" y="4"/>
                    </a:lnTo>
                    <a:lnTo>
                      <a:pt x="234" y="0"/>
                    </a:lnTo>
                    <a:lnTo>
                      <a:pt x="260" y="9"/>
                    </a:lnTo>
                    <a:lnTo>
                      <a:pt x="251" y="26"/>
                    </a:lnTo>
                    <a:lnTo>
                      <a:pt x="256" y="59"/>
                    </a:lnTo>
                    <a:lnTo>
                      <a:pt x="239" y="82"/>
                    </a:lnTo>
                    <a:lnTo>
                      <a:pt x="222" y="148"/>
                    </a:lnTo>
                    <a:lnTo>
                      <a:pt x="206" y="174"/>
                    </a:lnTo>
                    <a:lnTo>
                      <a:pt x="196" y="203"/>
                    </a:lnTo>
                    <a:lnTo>
                      <a:pt x="180" y="248"/>
                    </a:lnTo>
                    <a:lnTo>
                      <a:pt x="168" y="248"/>
                    </a:lnTo>
                    <a:lnTo>
                      <a:pt x="168" y="226"/>
                    </a:lnTo>
                    <a:lnTo>
                      <a:pt x="147" y="203"/>
                    </a:lnTo>
                    <a:lnTo>
                      <a:pt x="130" y="170"/>
                    </a:lnTo>
                    <a:lnTo>
                      <a:pt x="126" y="165"/>
                    </a:lnTo>
                    <a:lnTo>
                      <a:pt x="130" y="132"/>
                    </a:lnTo>
                    <a:lnTo>
                      <a:pt x="130" y="132"/>
                    </a:lnTo>
                    <a:lnTo>
                      <a:pt x="130" y="132"/>
                    </a:lnTo>
                    <a:close/>
                    <a:moveTo>
                      <a:pt x="0" y="59"/>
                    </a:moveTo>
                    <a:lnTo>
                      <a:pt x="5" y="54"/>
                    </a:lnTo>
                    <a:lnTo>
                      <a:pt x="17" y="59"/>
                    </a:lnTo>
                    <a:lnTo>
                      <a:pt x="17" y="59"/>
                    </a:lnTo>
                    <a:lnTo>
                      <a:pt x="0" y="59"/>
                    </a:lnTo>
                    <a:lnTo>
                      <a:pt x="0" y="59"/>
                    </a:lnTo>
                    <a:lnTo>
                      <a:pt x="0" y="59"/>
                    </a:lnTo>
                    <a:close/>
                    <a:moveTo>
                      <a:pt x="93" y="132"/>
                    </a:moveTo>
                    <a:lnTo>
                      <a:pt x="93" y="120"/>
                    </a:lnTo>
                    <a:lnTo>
                      <a:pt x="97" y="132"/>
                    </a:lnTo>
                    <a:lnTo>
                      <a:pt x="93" y="132"/>
                    </a:lnTo>
                    <a:lnTo>
                      <a:pt x="93" y="132"/>
                    </a:lnTo>
                    <a:lnTo>
                      <a:pt x="93" y="13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89" name="Freeform 588">
                <a:extLst>
                  <a:ext uri="{FF2B5EF4-FFF2-40B4-BE49-F238E27FC236}">
                    <a16:creationId xmlns:a16="http://schemas.microsoft.com/office/drawing/2014/main" id="{D561C36B-DE28-41FA-A3A4-247B94E9908F}"/>
                  </a:ext>
                </a:extLst>
              </p:cNvPr>
              <p:cNvSpPr>
                <a:spLocks noEditPoints="1"/>
              </p:cNvSpPr>
              <p:nvPr/>
            </p:nvSpPr>
            <p:spPr bwMode="gray">
              <a:xfrm>
                <a:off x="9037901" y="6194062"/>
                <a:ext cx="240022" cy="506668"/>
              </a:xfrm>
              <a:custGeom>
                <a:avLst/>
                <a:gdLst>
                  <a:gd name="T0" fmla="*/ 374 w 515"/>
                  <a:gd name="T1" fmla="*/ 615 h 1087"/>
                  <a:gd name="T2" fmla="*/ 364 w 515"/>
                  <a:gd name="T3" fmla="*/ 556 h 1087"/>
                  <a:gd name="T4" fmla="*/ 340 w 515"/>
                  <a:gd name="T5" fmla="*/ 522 h 1087"/>
                  <a:gd name="T6" fmla="*/ 310 w 515"/>
                  <a:gd name="T7" fmla="*/ 499 h 1087"/>
                  <a:gd name="T8" fmla="*/ 248 w 515"/>
                  <a:gd name="T9" fmla="*/ 421 h 1087"/>
                  <a:gd name="T10" fmla="*/ 211 w 515"/>
                  <a:gd name="T11" fmla="*/ 367 h 1087"/>
                  <a:gd name="T12" fmla="*/ 118 w 515"/>
                  <a:gd name="T13" fmla="*/ 300 h 1087"/>
                  <a:gd name="T14" fmla="*/ 185 w 515"/>
                  <a:gd name="T15" fmla="*/ 260 h 1087"/>
                  <a:gd name="T16" fmla="*/ 173 w 515"/>
                  <a:gd name="T17" fmla="*/ 211 h 1087"/>
                  <a:gd name="T18" fmla="*/ 118 w 515"/>
                  <a:gd name="T19" fmla="*/ 182 h 1087"/>
                  <a:gd name="T20" fmla="*/ 55 w 515"/>
                  <a:gd name="T21" fmla="*/ 116 h 1087"/>
                  <a:gd name="T22" fmla="*/ 22 w 515"/>
                  <a:gd name="T23" fmla="*/ 41 h 1087"/>
                  <a:gd name="T24" fmla="*/ 102 w 515"/>
                  <a:gd name="T25" fmla="*/ 41 h 1087"/>
                  <a:gd name="T26" fmla="*/ 147 w 515"/>
                  <a:gd name="T27" fmla="*/ 41 h 1087"/>
                  <a:gd name="T28" fmla="*/ 194 w 515"/>
                  <a:gd name="T29" fmla="*/ 5 h 1087"/>
                  <a:gd name="T30" fmla="*/ 281 w 515"/>
                  <a:gd name="T31" fmla="*/ 22 h 1087"/>
                  <a:gd name="T32" fmla="*/ 326 w 515"/>
                  <a:gd name="T33" fmla="*/ 41 h 1087"/>
                  <a:gd name="T34" fmla="*/ 340 w 515"/>
                  <a:gd name="T35" fmla="*/ 100 h 1087"/>
                  <a:gd name="T36" fmla="*/ 395 w 515"/>
                  <a:gd name="T37" fmla="*/ 128 h 1087"/>
                  <a:gd name="T38" fmla="*/ 395 w 515"/>
                  <a:gd name="T39" fmla="*/ 133 h 1087"/>
                  <a:gd name="T40" fmla="*/ 348 w 515"/>
                  <a:gd name="T41" fmla="*/ 182 h 1087"/>
                  <a:gd name="T42" fmla="*/ 336 w 515"/>
                  <a:gd name="T43" fmla="*/ 173 h 1087"/>
                  <a:gd name="T44" fmla="*/ 310 w 515"/>
                  <a:gd name="T45" fmla="*/ 173 h 1087"/>
                  <a:gd name="T46" fmla="*/ 310 w 515"/>
                  <a:gd name="T47" fmla="*/ 201 h 1087"/>
                  <a:gd name="T48" fmla="*/ 265 w 515"/>
                  <a:gd name="T49" fmla="*/ 256 h 1087"/>
                  <a:gd name="T50" fmla="*/ 265 w 515"/>
                  <a:gd name="T51" fmla="*/ 367 h 1087"/>
                  <a:gd name="T52" fmla="*/ 348 w 515"/>
                  <a:gd name="T53" fmla="*/ 466 h 1087"/>
                  <a:gd name="T54" fmla="*/ 390 w 515"/>
                  <a:gd name="T55" fmla="*/ 504 h 1087"/>
                  <a:gd name="T56" fmla="*/ 418 w 515"/>
                  <a:gd name="T57" fmla="*/ 539 h 1087"/>
                  <a:gd name="T58" fmla="*/ 428 w 515"/>
                  <a:gd name="T59" fmla="*/ 539 h 1087"/>
                  <a:gd name="T60" fmla="*/ 503 w 515"/>
                  <a:gd name="T61" fmla="*/ 704 h 1087"/>
                  <a:gd name="T62" fmla="*/ 499 w 515"/>
                  <a:gd name="T63" fmla="*/ 737 h 1087"/>
                  <a:gd name="T64" fmla="*/ 487 w 515"/>
                  <a:gd name="T65" fmla="*/ 808 h 1087"/>
                  <a:gd name="T66" fmla="*/ 487 w 515"/>
                  <a:gd name="T67" fmla="*/ 848 h 1087"/>
                  <a:gd name="T68" fmla="*/ 482 w 515"/>
                  <a:gd name="T69" fmla="*/ 886 h 1087"/>
                  <a:gd name="T70" fmla="*/ 395 w 515"/>
                  <a:gd name="T71" fmla="*/ 931 h 1087"/>
                  <a:gd name="T72" fmla="*/ 336 w 515"/>
                  <a:gd name="T73" fmla="*/ 948 h 1087"/>
                  <a:gd name="T74" fmla="*/ 310 w 515"/>
                  <a:gd name="T75" fmla="*/ 948 h 1087"/>
                  <a:gd name="T76" fmla="*/ 326 w 515"/>
                  <a:gd name="T77" fmla="*/ 976 h 1087"/>
                  <a:gd name="T78" fmla="*/ 319 w 515"/>
                  <a:gd name="T79" fmla="*/ 988 h 1087"/>
                  <a:gd name="T80" fmla="*/ 310 w 515"/>
                  <a:gd name="T81" fmla="*/ 1014 h 1087"/>
                  <a:gd name="T82" fmla="*/ 281 w 515"/>
                  <a:gd name="T83" fmla="*/ 1030 h 1087"/>
                  <a:gd name="T84" fmla="*/ 180 w 515"/>
                  <a:gd name="T85" fmla="*/ 1087 h 1087"/>
                  <a:gd name="T86" fmla="*/ 201 w 515"/>
                  <a:gd name="T87" fmla="*/ 988 h 1087"/>
                  <a:gd name="T88" fmla="*/ 173 w 515"/>
                  <a:gd name="T89" fmla="*/ 976 h 1087"/>
                  <a:gd name="T90" fmla="*/ 201 w 515"/>
                  <a:gd name="T91" fmla="*/ 931 h 1087"/>
                  <a:gd name="T92" fmla="*/ 234 w 515"/>
                  <a:gd name="T93" fmla="*/ 919 h 1087"/>
                  <a:gd name="T94" fmla="*/ 255 w 515"/>
                  <a:gd name="T95" fmla="*/ 893 h 1087"/>
                  <a:gd name="T96" fmla="*/ 303 w 515"/>
                  <a:gd name="T97" fmla="*/ 865 h 1087"/>
                  <a:gd name="T98" fmla="*/ 364 w 515"/>
                  <a:gd name="T99" fmla="*/ 815 h 1087"/>
                  <a:gd name="T100" fmla="*/ 374 w 515"/>
                  <a:gd name="T101" fmla="*/ 766 h 1087"/>
                  <a:gd name="T102" fmla="*/ 374 w 515"/>
                  <a:gd name="T103" fmla="*/ 700 h 1087"/>
                  <a:gd name="T104" fmla="*/ 364 w 515"/>
                  <a:gd name="T105" fmla="*/ 166 h 1087"/>
                  <a:gd name="T106" fmla="*/ 378 w 515"/>
                  <a:gd name="T107" fmla="*/ 173 h 1087"/>
                  <a:gd name="T108" fmla="*/ 378 w 515"/>
                  <a:gd name="T109" fmla="*/ 173 h 1087"/>
                  <a:gd name="T110" fmla="*/ 336 w 515"/>
                  <a:gd name="T111" fmla="*/ 189 h 1087"/>
                  <a:gd name="T112" fmla="*/ 336 w 515"/>
                  <a:gd name="T113" fmla="*/ 182 h 1087"/>
                  <a:gd name="T114" fmla="*/ 336 w 515"/>
                  <a:gd name="T115" fmla="*/ 182 h 1087"/>
                  <a:gd name="T116" fmla="*/ 326 w 515"/>
                  <a:gd name="T117" fmla="*/ 959 h 1087"/>
                  <a:gd name="T118" fmla="*/ 326 w 515"/>
                  <a:gd name="T119" fmla="*/ 931 h 1087"/>
                  <a:gd name="T120" fmla="*/ 336 w 515"/>
                  <a:gd name="T121" fmla="*/ 948 h 1087"/>
                  <a:gd name="T122" fmla="*/ 130 w 515"/>
                  <a:gd name="T123" fmla="*/ 959 h 1087"/>
                  <a:gd name="T124" fmla="*/ 130 w 515"/>
                  <a:gd name="T125" fmla="*/ 948 h 1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5" h="1087">
                    <a:moveTo>
                      <a:pt x="374" y="700"/>
                    </a:moveTo>
                    <a:lnTo>
                      <a:pt x="364" y="683"/>
                    </a:lnTo>
                    <a:lnTo>
                      <a:pt x="378" y="643"/>
                    </a:lnTo>
                    <a:lnTo>
                      <a:pt x="374" y="615"/>
                    </a:lnTo>
                    <a:lnTo>
                      <a:pt x="378" y="615"/>
                    </a:lnTo>
                    <a:lnTo>
                      <a:pt x="390" y="598"/>
                    </a:lnTo>
                    <a:lnTo>
                      <a:pt x="348" y="560"/>
                    </a:lnTo>
                    <a:lnTo>
                      <a:pt x="364" y="556"/>
                    </a:lnTo>
                    <a:lnTo>
                      <a:pt x="374" y="539"/>
                    </a:lnTo>
                    <a:lnTo>
                      <a:pt x="364" y="539"/>
                    </a:lnTo>
                    <a:lnTo>
                      <a:pt x="348" y="522"/>
                    </a:lnTo>
                    <a:lnTo>
                      <a:pt x="340" y="522"/>
                    </a:lnTo>
                    <a:lnTo>
                      <a:pt x="336" y="504"/>
                    </a:lnTo>
                    <a:lnTo>
                      <a:pt x="326" y="515"/>
                    </a:lnTo>
                    <a:lnTo>
                      <a:pt x="319" y="515"/>
                    </a:lnTo>
                    <a:lnTo>
                      <a:pt x="310" y="499"/>
                    </a:lnTo>
                    <a:lnTo>
                      <a:pt x="310" y="478"/>
                    </a:lnTo>
                    <a:lnTo>
                      <a:pt x="303" y="478"/>
                    </a:lnTo>
                    <a:lnTo>
                      <a:pt x="293" y="461"/>
                    </a:lnTo>
                    <a:lnTo>
                      <a:pt x="248" y="421"/>
                    </a:lnTo>
                    <a:lnTo>
                      <a:pt x="234" y="388"/>
                    </a:lnTo>
                    <a:lnTo>
                      <a:pt x="227" y="388"/>
                    </a:lnTo>
                    <a:lnTo>
                      <a:pt x="211" y="371"/>
                    </a:lnTo>
                    <a:lnTo>
                      <a:pt x="211" y="367"/>
                    </a:lnTo>
                    <a:lnTo>
                      <a:pt x="211" y="350"/>
                    </a:lnTo>
                    <a:lnTo>
                      <a:pt x="180" y="338"/>
                    </a:lnTo>
                    <a:lnTo>
                      <a:pt x="140" y="310"/>
                    </a:lnTo>
                    <a:lnTo>
                      <a:pt x="118" y="300"/>
                    </a:lnTo>
                    <a:lnTo>
                      <a:pt x="130" y="284"/>
                    </a:lnTo>
                    <a:lnTo>
                      <a:pt x="130" y="267"/>
                    </a:lnTo>
                    <a:lnTo>
                      <a:pt x="173" y="277"/>
                    </a:lnTo>
                    <a:lnTo>
                      <a:pt x="185" y="260"/>
                    </a:lnTo>
                    <a:lnTo>
                      <a:pt x="185" y="256"/>
                    </a:lnTo>
                    <a:lnTo>
                      <a:pt x="194" y="244"/>
                    </a:lnTo>
                    <a:lnTo>
                      <a:pt x="194" y="239"/>
                    </a:lnTo>
                    <a:lnTo>
                      <a:pt x="173" y="211"/>
                    </a:lnTo>
                    <a:lnTo>
                      <a:pt x="156" y="211"/>
                    </a:lnTo>
                    <a:lnTo>
                      <a:pt x="173" y="201"/>
                    </a:lnTo>
                    <a:lnTo>
                      <a:pt x="130" y="173"/>
                    </a:lnTo>
                    <a:lnTo>
                      <a:pt x="118" y="182"/>
                    </a:lnTo>
                    <a:lnTo>
                      <a:pt x="109" y="201"/>
                    </a:lnTo>
                    <a:lnTo>
                      <a:pt x="71" y="182"/>
                    </a:lnTo>
                    <a:lnTo>
                      <a:pt x="48" y="149"/>
                    </a:lnTo>
                    <a:lnTo>
                      <a:pt x="55" y="116"/>
                    </a:lnTo>
                    <a:lnTo>
                      <a:pt x="33" y="128"/>
                    </a:lnTo>
                    <a:lnTo>
                      <a:pt x="33" y="100"/>
                    </a:lnTo>
                    <a:lnTo>
                      <a:pt x="0" y="74"/>
                    </a:lnTo>
                    <a:lnTo>
                      <a:pt x="22" y="41"/>
                    </a:lnTo>
                    <a:lnTo>
                      <a:pt x="64" y="62"/>
                    </a:lnTo>
                    <a:lnTo>
                      <a:pt x="76" y="41"/>
                    </a:lnTo>
                    <a:lnTo>
                      <a:pt x="92" y="57"/>
                    </a:lnTo>
                    <a:lnTo>
                      <a:pt x="102" y="41"/>
                    </a:lnTo>
                    <a:lnTo>
                      <a:pt x="126" y="62"/>
                    </a:lnTo>
                    <a:lnTo>
                      <a:pt x="130" y="41"/>
                    </a:lnTo>
                    <a:lnTo>
                      <a:pt x="147" y="29"/>
                    </a:lnTo>
                    <a:lnTo>
                      <a:pt x="147" y="41"/>
                    </a:lnTo>
                    <a:lnTo>
                      <a:pt x="156" y="45"/>
                    </a:lnTo>
                    <a:lnTo>
                      <a:pt x="173" y="29"/>
                    </a:lnTo>
                    <a:lnTo>
                      <a:pt x="180" y="41"/>
                    </a:lnTo>
                    <a:lnTo>
                      <a:pt x="194" y="5"/>
                    </a:lnTo>
                    <a:lnTo>
                      <a:pt x="227" y="0"/>
                    </a:lnTo>
                    <a:lnTo>
                      <a:pt x="239" y="17"/>
                    </a:lnTo>
                    <a:lnTo>
                      <a:pt x="255" y="29"/>
                    </a:lnTo>
                    <a:lnTo>
                      <a:pt x="281" y="22"/>
                    </a:lnTo>
                    <a:lnTo>
                      <a:pt x="286" y="29"/>
                    </a:lnTo>
                    <a:lnTo>
                      <a:pt x="303" y="22"/>
                    </a:lnTo>
                    <a:lnTo>
                      <a:pt x="319" y="29"/>
                    </a:lnTo>
                    <a:lnTo>
                      <a:pt x="326" y="41"/>
                    </a:lnTo>
                    <a:lnTo>
                      <a:pt x="310" y="62"/>
                    </a:lnTo>
                    <a:lnTo>
                      <a:pt x="319" y="78"/>
                    </a:lnTo>
                    <a:lnTo>
                      <a:pt x="319" y="95"/>
                    </a:lnTo>
                    <a:lnTo>
                      <a:pt x="340" y="100"/>
                    </a:lnTo>
                    <a:lnTo>
                      <a:pt x="340" y="111"/>
                    </a:lnTo>
                    <a:lnTo>
                      <a:pt x="357" y="116"/>
                    </a:lnTo>
                    <a:lnTo>
                      <a:pt x="364" y="128"/>
                    </a:lnTo>
                    <a:lnTo>
                      <a:pt x="395" y="128"/>
                    </a:lnTo>
                    <a:lnTo>
                      <a:pt x="411" y="133"/>
                    </a:lnTo>
                    <a:lnTo>
                      <a:pt x="411" y="133"/>
                    </a:lnTo>
                    <a:lnTo>
                      <a:pt x="407" y="145"/>
                    </a:lnTo>
                    <a:lnTo>
                      <a:pt x="395" y="133"/>
                    </a:lnTo>
                    <a:lnTo>
                      <a:pt x="378" y="149"/>
                    </a:lnTo>
                    <a:lnTo>
                      <a:pt x="374" y="149"/>
                    </a:lnTo>
                    <a:lnTo>
                      <a:pt x="364" y="173"/>
                    </a:lnTo>
                    <a:lnTo>
                      <a:pt x="348" y="182"/>
                    </a:lnTo>
                    <a:lnTo>
                      <a:pt x="340" y="173"/>
                    </a:lnTo>
                    <a:lnTo>
                      <a:pt x="348" y="173"/>
                    </a:lnTo>
                    <a:lnTo>
                      <a:pt x="340" y="173"/>
                    </a:lnTo>
                    <a:lnTo>
                      <a:pt x="336" y="173"/>
                    </a:lnTo>
                    <a:lnTo>
                      <a:pt x="336" y="182"/>
                    </a:lnTo>
                    <a:lnTo>
                      <a:pt x="326" y="182"/>
                    </a:lnTo>
                    <a:lnTo>
                      <a:pt x="326" y="173"/>
                    </a:lnTo>
                    <a:lnTo>
                      <a:pt x="310" y="173"/>
                    </a:lnTo>
                    <a:lnTo>
                      <a:pt x="326" y="182"/>
                    </a:lnTo>
                    <a:lnTo>
                      <a:pt x="319" y="182"/>
                    </a:lnTo>
                    <a:lnTo>
                      <a:pt x="326" y="201"/>
                    </a:lnTo>
                    <a:lnTo>
                      <a:pt x="310" y="201"/>
                    </a:lnTo>
                    <a:lnTo>
                      <a:pt x="310" y="227"/>
                    </a:lnTo>
                    <a:lnTo>
                      <a:pt x="303" y="227"/>
                    </a:lnTo>
                    <a:lnTo>
                      <a:pt x="310" y="227"/>
                    </a:lnTo>
                    <a:lnTo>
                      <a:pt x="265" y="256"/>
                    </a:lnTo>
                    <a:lnTo>
                      <a:pt x="255" y="277"/>
                    </a:lnTo>
                    <a:lnTo>
                      <a:pt x="255" y="300"/>
                    </a:lnTo>
                    <a:lnTo>
                      <a:pt x="239" y="322"/>
                    </a:lnTo>
                    <a:lnTo>
                      <a:pt x="265" y="367"/>
                    </a:lnTo>
                    <a:lnTo>
                      <a:pt x="303" y="404"/>
                    </a:lnTo>
                    <a:lnTo>
                      <a:pt x="293" y="421"/>
                    </a:lnTo>
                    <a:lnTo>
                      <a:pt x="319" y="445"/>
                    </a:lnTo>
                    <a:lnTo>
                      <a:pt x="348" y="466"/>
                    </a:lnTo>
                    <a:lnTo>
                      <a:pt x="348" y="482"/>
                    </a:lnTo>
                    <a:lnTo>
                      <a:pt x="378" y="499"/>
                    </a:lnTo>
                    <a:lnTo>
                      <a:pt x="374" y="499"/>
                    </a:lnTo>
                    <a:lnTo>
                      <a:pt x="390" y="504"/>
                    </a:lnTo>
                    <a:lnTo>
                      <a:pt x="395" y="522"/>
                    </a:lnTo>
                    <a:lnTo>
                      <a:pt x="411" y="522"/>
                    </a:lnTo>
                    <a:lnTo>
                      <a:pt x="428" y="532"/>
                    </a:lnTo>
                    <a:lnTo>
                      <a:pt x="418" y="539"/>
                    </a:lnTo>
                    <a:lnTo>
                      <a:pt x="428" y="544"/>
                    </a:lnTo>
                    <a:lnTo>
                      <a:pt x="428" y="532"/>
                    </a:lnTo>
                    <a:lnTo>
                      <a:pt x="433" y="539"/>
                    </a:lnTo>
                    <a:lnTo>
                      <a:pt x="428" y="539"/>
                    </a:lnTo>
                    <a:lnTo>
                      <a:pt x="433" y="544"/>
                    </a:lnTo>
                    <a:lnTo>
                      <a:pt x="461" y="589"/>
                    </a:lnTo>
                    <a:lnTo>
                      <a:pt x="466" y="589"/>
                    </a:lnTo>
                    <a:lnTo>
                      <a:pt x="503" y="704"/>
                    </a:lnTo>
                    <a:lnTo>
                      <a:pt x="503" y="709"/>
                    </a:lnTo>
                    <a:lnTo>
                      <a:pt x="499" y="704"/>
                    </a:lnTo>
                    <a:lnTo>
                      <a:pt x="499" y="704"/>
                    </a:lnTo>
                    <a:lnTo>
                      <a:pt x="499" y="737"/>
                    </a:lnTo>
                    <a:lnTo>
                      <a:pt x="515" y="775"/>
                    </a:lnTo>
                    <a:lnTo>
                      <a:pt x="499" y="792"/>
                    </a:lnTo>
                    <a:lnTo>
                      <a:pt x="503" y="815"/>
                    </a:lnTo>
                    <a:lnTo>
                      <a:pt x="487" y="808"/>
                    </a:lnTo>
                    <a:lnTo>
                      <a:pt x="499" y="848"/>
                    </a:lnTo>
                    <a:lnTo>
                      <a:pt x="499" y="832"/>
                    </a:lnTo>
                    <a:lnTo>
                      <a:pt x="499" y="837"/>
                    </a:lnTo>
                    <a:lnTo>
                      <a:pt x="487" y="848"/>
                    </a:lnTo>
                    <a:lnTo>
                      <a:pt x="499" y="853"/>
                    </a:lnTo>
                    <a:lnTo>
                      <a:pt x="487" y="870"/>
                    </a:lnTo>
                    <a:lnTo>
                      <a:pt x="482" y="870"/>
                    </a:lnTo>
                    <a:lnTo>
                      <a:pt x="482" y="886"/>
                    </a:lnTo>
                    <a:lnTo>
                      <a:pt x="466" y="886"/>
                    </a:lnTo>
                    <a:lnTo>
                      <a:pt x="418" y="919"/>
                    </a:lnTo>
                    <a:lnTo>
                      <a:pt x="411" y="931"/>
                    </a:lnTo>
                    <a:lnTo>
                      <a:pt x="395" y="931"/>
                    </a:lnTo>
                    <a:lnTo>
                      <a:pt x="357" y="959"/>
                    </a:lnTo>
                    <a:lnTo>
                      <a:pt x="340" y="948"/>
                    </a:lnTo>
                    <a:lnTo>
                      <a:pt x="340" y="931"/>
                    </a:lnTo>
                    <a:lnTo>
                      <a:pt x="336" y="948"/>
                    </a:lnTo>
                    <a:lnTo>
                      <a:pt x="336" y="943"/>
                    </a:lnTo>
                    <a:lnTo>
                      <a:pt x="319" y="931"/>
                    </a:lnTo>
                    <a:lnTo>
                      <a:pt x="319" y="948"/>
                    </a:lnTo>
                    <a:lnTo>
                      <a:pt x="310" y="948"/>
                    </a:lnTo>
                    <a:lnTo>
                      <a:pt x="319" y="948"/>
                    </a:lnTo>
                    <a:lnTo>
                      <a:pt x="326" y="964"/>
                    </a:lnTo>
                    <a:lnTo>
                      <a:pt x="293" y="964"/>
                    </a:lnTo>
                    <a:lnTo>
                      <a:pt x="326" y="976"/>
                    </a:lnTo>
                    <a:lnTo>
                      <a:pt x="326" y="981"/>
                    </a:lnTo>
                    <a:lnTo>
                      <a:pt x="310" y="988"/>
                    </a:lnTo>
                    <a:lnTo>
                      <a:pt x="286" y="964"/>
                    </a:lnTo>
                    <a:lnTo>
                      <a:pt x="319" y="988"/>
                    </a:lnTo>
                    <a:lnTo>
                      <a:pt x="310" y="997"/>
                    </a:lnTo>
                    <a:lnTo>
                      <a:pt x="281" y="964"/>
                    </a:lnTo>
                    <a:lnTo>
                      <a:pt x="310" y="1004"/>
                    </a:lnTo>
                    <a:lnTo>
                      <a:pt x="310" y="1014"/>
                    </a:lnTo>
                    <a:lnTo>
                      <a:pt x="293" y="1021"/>
                    </a:lnTo>
                    <a:lnTo>
                      <a:pt x="255" y="981"/>
                    </a:lnTo>
                    <a:lnTo>
                      <a:pt x="281" y="1014"/>
                    </a:lnTo>
                    <a:lnTo>
                      <a:pt x="281" y="1030"/>
                    </a:lnTo>
                    <a:lnTo>
                      <a:pt x="234" y="1042"/>
                    </a:lnTo>
                    <a:lnTo>
                      <a:pt x="218" y="1075"/>
                    </a:lnTo>
                    <a:lnTo>
                      <a:pt x="201" y="1087"/>
                    </a:lnTo>
                    <a:lnTo>
                      <a:pt x="180" y="1087"/>
                    </a:lnTo>
                    <a:lnTo>
                      <a:pt x="194" y="1075"/>
                    </a:lnTo>
                    <a:lnTo>
                      <a:pt x="185" y="1070"/>
                    </a:lnTo>
                    <a:lnTo>
                      <a:pt x="185" y="1004"/>
                    </a:lnTo>
                    <a:lnTo>
                      <a:pt x="201" y="988"/>
                    </a:lnTo>
                    <a:lnTo>
                      <a:pt x="211" y="997"/>
                    </a:lnTo>
                    <a:lnTo>
                      <a:pt x="211" y="988"/>
                    </a:lnTo>
                    <a:lnTo>
                      <a:pt x="185" y="964"/>
                    </a:lnTo>
                    <a:lnTo>
                      <a:pt x="173" y="976"/>
                    </a:lnTo>
                    <a:lnTo>
                      <a:pt x="163" y="959"/>
                    </a:lnTo>
                    <a:lnTo>
                      <a:pt x="173" y="948"/>
                    </a:lnTo>
                    <a:lnTo>
                      <a:pt x="194" y="943"/>
                    </a:lnTo>
                    <a:lnTo>
                      <a:pt x="201" y="931"/>
                    </a:lnTo>
                    <a:lnTo>
                      <a:pt x="201" y="919"/>
                    </a:lnTo>
                    <a:lnTo>
                      <a:pt x="211" y="919"/>
                    </a:lnTo>
                    <a:lnTo>
                      <a:pt x="227" y="919"/>
                    </a:lnTo>
                    <a:lnTo>
                      <a:pt x="234" y="919"/>
                    </a:lnTo>
                    <a:lnTo>
                      <a:pt x="255" y="910"/>
                    </a:lnTo>
                    <a:lnTo>
                      <a:pt x="281" y="926"/>
                    </a:lnTo>
                    <a:lnTo>
                      <a:pt x="281" y="910"/>
                    </a:lnTo>
                    <a:lnTo>
                      <a:pt x="255" y="893"/>
                    </a:lnTo>
                    <a:lnTo>
                      <a:pt x="255" y="870"/>
                    </a:lnTo>
                    <a:lnTo>
                      <a:pt x="265" y="865"/>
                    </a:lnTo>
                    <a:lnTo>
                      <a:pt x="272" y="853"/>
                    </a:lnTo>
                    <a:lnTo>
                      <a:pt x="303" y="865"/>
                    </a:lnTo>
                    <a:lnTo>
                      <a:pt x="293" y="837"/>
                    </a:lnTo>
                    <a:lnTo>
                      <a:pt x="319" y="837"/>
                    </a:lnTo>
                    <a:lnTo>
                      <a:pt x="348" y="815"/>
                    </a:lnTo>
                    <a:lnTo>
                      <a:pt x="364" y="815"/>
                    </a:lnTo>
                    <a:lnTo>
                      <a:pt x="374" y="820"/>
                    </a:lnTo>
                    <a:lnTo>
                      <a:pt x="378" y="815"/>
                    </a:lnTo>
                    <a:lnTo>
                      <a:pt x="378" y="792"/>
                    </a:lnTo>
                    <a:lnTo>
                      <a:pt x="374" y="766"/>
                    </a:lnTo>
                    <a:lnTo>
                      <a:pt x="378" y="726"/>
                    </a:lnTo>
                    <a:lnTo>
                      <a:pt x="374" y="704"/>
                    </a:lnTo>
                    <a:lnTo>
                      <a:pt x="374" y="700"/>
                    </a:lnTo>
                    <a:lnTo>
                      <a:pt x="374" y="700"/>
                    </a:lnTo>
                    <a:lnTo>
                      <a:pt x="374" y="700"/>
                    </a:lnTo>
                    <a:close/>
                    <a:moveTo>
                      <a:pt x="374" y="149"/>
                    </a:moveTo>
                    <a:lnTo>
                      <a:pt x="378" y="156"/>
                    </a:lnTo>
                    <a:lnTo>
                      <a:pt x="364" y="166"/>
                    </a:lnTo>
                    <a:lnTo>
                      <a:pt x="374" y="149"/>
                    </a:lnTo>
                    <a:lnTo>
                      <a:pt x="374" y="149"/>
                    </a:lnTo>
                    <a:lnTo>
                      <a:pt x="374" y="149"/>
                    </a:lnTo>
                    <a:close/>
                    <a:moveTo>
                      <a:pt x="378" y="173"/>
                    </a:moveTo>
                    <a:lnTo>
                      <a:pt x="374" y="182"/>
                    </a:lnTo>
                    <a:lnTo>
                      <a:pt x="364" y="182"/>
                    </a:lnTo>
                    <a:lnTo>
                      <a:pt x="378" y="173"/>
                    </a:lnTo>
                    <a:lnTo>
                      <a:pt x="378" y="173"/>
                    </a:lnTo>
                    <a:lnTo>
                      <a:pt x="378" y="173"/>
                    </a:lnTo>
                    <a:close/>
                    <a:moveTo>
                      <a:pt x="326" y="182"/>
                    </a:moveTo>
                    <a:lnTo>
                      <a:pt x="326" y="182"/>
                    </a:lnTo>
                    <a:lnTo>
                      <a:pt x="336" y="189"/>
                    </a:lnTo>
                    <a:lnTo>
                      <a:pt x="326" y="182"/>
                    </a:lnTo>
                    <a:lnTo>
                      <a:pt x="326" y="182"/>
                    </a:lnTo>
                    <a:lnTo>
                      <a:pt x="326" y="182"/>
                    </a:lnTo>
                    <a:close/>
                    <a:moveTo>
                      <a:pt x="336" y="182"/>
                    </a:moveTo>
                    <a:lnTo>
                      <a:pt x="348" y="189"/>
                    </a:lnTo>
                    <a:lnTo>
                      <a:pt x="340" y="201"/>
                    </a:lnTo>
                    <a:lnTo>
                      <a:pt x="336" y="182"/>
                    </a:lnTo>
                    <a:lnTo>
                      <a:pt x="336" y="182"/>
                    </a:lnTo>
                    <a:lnTo>
                      <a:pt x="336" y="182"/>
                    </a:lnTo>
                    <a:close/>
                    <a:moveTo>
                      <a:pt x="326" y="931"/>
                    </a:moveTo>
                    <a:lnTo>
                      <a:pt x="326" y="943"/>
                    </a:lnTo>
                    <a:lnTo>
                      <a:pt x="326" y="959"/>
                    </a:lnTo>
                    <a:lnTo>
                      <a:pt x="326" y="948"/>
                    </a:lnTo>
                    <a:lnTo>
                      <a:pt x="326" y="931"/>
                    </a:lnTo>
                    <a:lnTo>
                      <a:pt x="326" y="931"/>
                    </a:lnTo>
                    <a:lnTo>
                      <a:pt x="326" y="931"/>
                    </a:lnTo>
                    <a:close/>
                    <a:moveTo>
                      <a:pt x="336" y="948"/>
                    </a:moveTo>
                    <a:lnTo>
                      <a:pt x="340" y="959"/>
                    </a:lnTo>
                    <a:lnTo>
                      <a:pt x="336" y="959"/>
                    </a:lnTo>
                    <a:lnTo>
                      <a:pt x="336" y="948"/>
                    </a:lnTo>
                    <a:lnTo>
                      <a:pt x="336" y="948"/>
                    </a:lnTo>
                    <a:lnTo>
                      <a:pt x="336" y="948"/>
                    </a:lnTo>
                    <a:close/>
                    <a:moveTo>
                      <a:pt x="130" y="948"/>
                    </a:moveTo>
                    <a:lnTo>
                      <a:pt x="130" y="959"/>
                    </a:lnTo>
                    <a:lnTo>
                      <a:pt x="130" y="981"/>
                    </a:lnTo>
                    <a:lnTo>
                      <a:pt x="118" y="959"/>
                    </a:lnTo>
                    <a:lnTo>
                      <a:pt x="130" y="948"/>
                    </a:lnTo>
                    <a:lnTo>
                      <a:pt x="130" y="948"/>
                    </a:lnTo>
                    <a:lnTo>
                      <a:pt x="130" y="94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30" name="Freeform 380">
                <a:extLst>
                  <a:ext uri="{FF2B5EF4-FFF2-40B4-BE49-F238E27FC236}">
                    <a16:creationId xmlns:a16="http://schemas.microsoft.com/office/drawing/2014/main" id="{C9A2C5A9-7221-4F3B-AF0E-9ED66B65153F}"/>
                  </a:ext>
                </a:extLst>
              </p:cNvPr>
              <p:cNvSpPr>
                <a:spLocks/>
              </p:cNvSpPr>
              <p:nvPr/>
            </p:nvSpPr>
            <p:spPr bwMode="gray">
              <a:xfrm>
                <a:off x="5416126" y="5684597"/>
                <a:ext cx="673462" cy="659553"/>
              </a:xfrm>
              <a:custGeom>
                <a:avLst/>
                <a:gdLst>
                  <a:gd name="T0" fmla="*/ 399 w 1445"/>
                  <a:gd name="T1" fmla="*/ 427 h 1415"/>
                  <a:gd name="T2" fmla="*/ 446 w 1445"/>
                  <a:gd name="T3" fmla="*/ 399 h 1415"/>
                  <a:gd name="T4" fmla="*/ 522 w 1445"/>
                  <a:gd name="T5" fmla="*/ 399 h 1415"/>
                  <a:gd name="T6" fmla="*/ 522 w 1445"/>
                  <a:gd name="T7" fmla="*/ 387 h 1415"/>
                  <a:gd name="T8" fmla="*/ 508 w 1445"/>
                  <a:gd name="T9" fmla="*/ 354 h 1415"/>
                  <a:gd name="T10" fmla="*/ 508 w 1445"/>
                  <a:gd name="T11" fmla="*/ 333 h 1415"/>
                  <a:gd name="T12" fmla="*/ 491 w 1445"/>
                  <a:gd name="T13" fmla="*/ 283 h 1415"/>
                  <a:gd name="T14" fmla="*/ 491 w 1445"/>
                  <a:gd name="T15" fmla="*/ 243 h 1415"/>
                  <a:gd name="T16" fmla="*/ 491 w 1445"/>
                  <a:gd name="T17" fmla="*/ 210 h 1415"/>
                  <a:gd name="T18" fmla="*/ 484 w 1445"/>
                  <a:gd name="T19" fmla="*/ 193 h 1415"/>
                  <a:gd name="T20" fmla="*/ 484 w 1445"/>
                  <a:gd name="T21" fmla="*/ 165 h 1415"/>
                  <a:gd name="T22" fmla="*/ 538 w 1445"/>
                  <a:gd name="T23" fmla="*/ 116 h 1415"/>
                  <a:gd name="T24" fmla="*/ 560 w 1445"/>
                  <a:gd name="T25" fmla="*/ 116 h 1415"/>
                  <a:gd name="T26" fmla="*/ 597 w 1445"/>
                  <a:gd name="T27" fmla="*/ 111 h 1415"/>
                  <a:gd name="T28" fmla="*/ 690 w 1445"/>
                  <a:gd name="T29" fmla="*/ 45 h 1415"/>
                  <a:gd name="T30" fmla="*/ 786 w 1445"/>
                  <a:gd name="T31" fmla="*/ 45 h 1415"/>
                  <a:gd name="T32" fmla="*/ 853 w 1445"/>
                  <a:gd name="T33" fmla="*/ 28 h 1415"/>
                  <a:gd name="T34" fmla="*/ 938 w 1445"/>
                  <a:gd name="T35" fmla="*/ 12 h 1415"/>
                  <a:gd name="T36" fmla="*/ 1008 w 1445"/>
                  <a:gd name="T37" fmla="*/ 21 h 1415"/>
                  <a:gd name="T38" fmla="*/ 1046 w 1445"/>
                  <a:gd name="T39" fmla="*/ 4 h 1415"/>
                  <a:gd name="T40" fmla="*/ 1067 w 1445"/>
                  <a:gd name="T41" fmla="*/ 12 h 1415"/>
                  <a:gd name="T42" fmla="*/ 1110 w 1445"/>
                  <a:gd name="T43" fmla="*/ 12 h 1415"/>
                  <a:gd name="T44" fmla="*/ 1117 w 1445"/>
                  <a:gd name="T45" fmla="*/ 0 h 1415"/>
                  <a:gd name="T46" fmla="*/ 1164 w 1445"/>
                  <a:gd name="T47" fmla="*/ 21 h 1415"/>
                  <a:gd name="T48" fmla="*/ 1209 w 1445"/>
                  <a:gd name="T49" fmla="*/ 12 h 1415"/>
                  <a:gd name="T50" fmla="*/ 1176 w 1445"/>
                  <a:gd name="T51" fmla="*/ 45 h 1415"/>
                  <a:gd name="T52" fmla="*/ 1186 w 1445"/>
                  <a:gd name="T53" fmla="*/ 99 h 1415"/>
                  <a:gd name="T54" fmla="*/ 1193 w 1445"/>
                  <a:gd name="T55" fmla="*/ 139 h 1415"/>
                  <a:gd name="T56" fmla="*/ 1186 w 1445"/>
                  <a:gd name="T57" fmla="*/ 205 h 1415"/>
                  <a:gd name="T58" fmla="*/ 1155 w 1445"/>
                  <a:gd name="T59" fmla="*/ 234 h 1415"/>
                  <a:gd name="T60" fmla="*/ 1134 w 1445"/>
                  <a:gd name="T61" fmla="*/ 260 h 1415"/>
                  <a:gd name="T62" fmla="*/ 1176 w 1445"/>
                  <a:gd name="T63" fmla="*/ 321 h 1415"/>
                  <a:gd name="T64" fmla="*/ 1193 w 1445"/>
                  <a:gd name="T65" fmla="*/ 371 h 1415"/>
                  <a:gd name="T66" fmla="*/ 1278 w 1445"/>
                  <a:gd name="T67" fmla="*/ 555 h 1415"/>
                  <a:gd name="T68" fmla="*/ 1285 w 1445"/>
                  <a:gd name="T69" fmla="*/ 600 h 1415"/>
                  <a:gd name="T70" fmla="*/ 1294 w 1445"/>
                  <a:gd name="T71" fmla="*/ 711 h 1415"/>
                  <a:gd name="T72" fmla="*/ 1285 w 1445"/>
                  <a:gd name="T73" fmla="*/ 782 h 1415"/>
                  <a:gd name="T74" fmla="*/ 1299 w 1445"/>
                  <a:gd name="T75" fmla="*/ 822 h 1415"/>
                  <a:gd name="T76" fmla="*/ 1273 w 1445"/>
                  <a:gd name="T77" fmla="*/ 855 h 1415"/>
                  <a:gd name="T78" fmla="*/ 1311 w 1445"/>
                  <a:gd name="T79" fmla="*/ 933 h 1415"/>
                  <a:gd name="T80" fmla="*/ 1327 w 1445"/>
                  <a:gd name="T81" fmla="*/ 982 h 1415"/>
                  <a:gd name="T82" fmla="*/ 1337 w 1445"/>
                  <a:gd name="T83" fmla="*/ 1004 h 1415"/>
                  <a:gd name="T84" fmla="*/ 1419 w 1445"/>
                  <a:gd name="T85" fmla="*/ 1011 h 1415"/>
                  <a:gd name="T86" fmla="*/ 1134 w 1445"/>
                  <a:gd name="T87" fmla="*/ 1278 h 1415"/>
                  <a:gd name="T88" fmla="*/ 907 w 1445"/>
                  <a:gd name="T89" fmla="*/ 1405 h 1415"/>
                  <a:gd name="T90" fmla="*/ 824 w 1445"/>
                  <a:gd name="T91" fmla="*/ 1405 h 1415"/>
                  <a:gd name="T92" fmla="*/ 831 w 1445"/>
                  <a:gd name="T93" fmla="*/ 1353 h 1415"/>
                  <a:gd name="T94" fmla="*/ 760 w 1445"/>
                  <a:gd name="T95" fmla="*/ 1320 h 1415"/>
                  <a:gd name="T96" fmla="*/ 734 w 1445"/>
                  <a:gd name="T97" fmla="*/ 1315 h 1415"/>
                  <a:gd name="T98" fmla="*/ 690 w 1445"/>
                  <a:gd name="T99" fmla="*/ 1282 h 1415"/>
                  <a:gd name="T100" fmla="*/ 269 w 1445"/>
                  <a:gd name="T101" fmla="*/ 966 h 1415"/>
                  <a:gd name="T102" fmla="*/ 0 w 1445"/>
                  <a:gd name="T103" fmla="*/ 760 h 1415"/>
                  <a:gd name="T104" fmla="*/ 108 w 1445"/>
                  <a:gd name="T105" fmla="*/ 600 h 1415"/>
                  <a:gd name="T106" fmla="*/ 160 w 1445"/>
                  <a:gd name="T107" fmla="*/ 593 h 1415"/>
                  <a:gd name="T108" fmla="*/ 236 w 1445"/>
                  <a:gd name="T109" fmla="*/ 567 h 1415"/>
                  <a:gd name="T110" fmla="*/ 302 w 1445"/>
                  <a:gd name="T111" fmla="*/ 522 h 1415"/>
                  <a:gd name="T112" fmla="*/ 356 w 1445"/>
                  <a:gd name="T113" fmla="*/ 498 h 1415"/>
                  <a:gd name="T114" fmla="*/ 340 w 1445"/>
                  <a:gd name="T115" fmla="*/ 482 h 1415"/>
                  <a:gd name="T116" fmla="*/ 366 w 1445"/>
                  <a:gd name="T117" fmla="*/ 432 h 1415"/>
                  <a:gd name="T118" fmla="*/ 366 w 1445"/>
                  <a:gd name="T119" fmla="*/ 432 h 1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5" h="1415">
                    <a:moveTo>
                      <a:pt x="366" y="432"/>
                    </a:moveTo>
                    <a:lnTo>
                      <a:pt x="399" y="427"/>
                    </a:lnTo>
                    <a:lnTo>
                      <a:pt x="408" y="411"/>
                    </a:lnTo>
                    <a:lnTo>
                      <a:pt x="446" y="399"/>
                    </a:lnTo>
                    <a:lnTo>
                      <a:pt x="522" y="411"/>
                    </a:lnTo>
                    <a:lnTo>
                      <a:pt x="522" y="399"/>
                    </a:lnTo>
                    <a:lnTo>
                      <a:pt x="517" y="399"/>
                    </a:lnTo>
                    <a:lnTo>
                      <a:pt x="522" y="387"/>
                    </a:lnTo>
                    <a:lnTo>
                      <a:pt x="538" y="371"/>
                    </a:lnTo>
                    <a:lnTo>
                      <a:pt x="508" y="354"/>
                    </a:lnTo>
                    <a:lnTo>
                      <a:pt x="501" y="338"/>
                    </a:lnTo>
                    <a:lnTo>
                      <a:pt x="508" y="333"/>
                    </a:lnTo>
                    <a:lnTo>
                      <a:pt x="491" y="316"/>
                    </a:lnTo>
                    <a:lnTo>
                      <a:pt x="491" y="283"/>
                    </a:lnTo>
                    <a:lnTo>
                      <a:pt x="484" y="276"/>
                    </a:lnTo>
                    <a:lnTo>
                      <a:pt x="491" y="243"/>
                    </a:lnTo>
                    <a:lnTo>
                      <a:pt x="484" y="222"/>
                    </a:lnTo>
                    <a:lnTo>
                      <a:pt x="491" y="210"/>
                    </a:lnTo>
                    <a:lnTo>
                      <a:pt x="475" y="205"/>
                    </a:lnTo>
                    <a:lnTo>
                      <a:pt x="484" y="193"/>
                    </a:lnTo>
                    <a:lnTo>
                      <a:pt x="453" y="165"/>
                    </a:lnTo>
                    <a:lnTo>
                      <a:pt x="484" y="165"/>
                    </a:lnTo>
                    <a:lnTo>
                      <a:pt x="517" y="139"/>
                    </a:lnTo>
                    <a:lnTo>
                      <a:pt x="538" y="116"/>
                    </a:lnTo>
                    <a:lnTo>
                      <a:pt x="555" y="111"/>
                    </a:lnTo>
                    <a:lnTo>
                      <a:pt x="560" y="116"/>
                    </a:lnTo>
                    <a:lnTo>
                      <a:pt x="583" y="99"/>
                    </a:lnTo>
                    <a:lnTo>
                      <a:pt x="597" y="111"/>
                    </a:lnTo>
                    <a:lnTo>
                      <a:pt x="626" y="82"/>
                    </a:lnTo>
                    <a:lnTo>
                      <a:pt x="690" y="45"/>
                    </a:lnTo>
                    <a:lnTo>
                      <a:pt x="772" y="38"/>
                    </a:lnTo>
                    <a:lnTo>
                      <a:pt x="786" y="45"/>
                    </a:lnTo>
                    <a:lnTo>
                      <a:pt x="810" y="21"/>
                    </a:lnTo>
                    <a:lnTo>
                      <a:pt x="853" y="28"/>
                    </a:lnTo>
                    <a:lnTo>
                      <a:pt x="878" y="12"/>
                    </a:lnTo>
                    <a:lnTo>
                      <a:pt x="938" y="12"/>
                    </a:lnTo>
                    <a:lnTo>
                      <a:pt x="975" y="38"/>
                    </a:lnTo>
                    <a:lnTo>
                      <a:pt x="1008" y="21"/>
                    </a:lnTo>
                    <a:lnTo>
                      <a:pt x="1046" y="12"/>
                    </a:lnTo>
                    <a:lnTo>
                      <a:pt x="1046" y="4"/>
                    </a:lnTo>
                    <a:lnTo>
                      <a:pt x="1063" y="0"/>
                    </a:lnTo>
                    <a:lnTo>
                      <a:pt x="1067" y="12"/>
                    </a:lnTo>
                    <a:lnTo>
                      <a:pt x="1096" y="12"/>
                    </a:lnTo>
                    <a:lnTo>
                      <a:pt x="1110" y="12"/>
                    </a:lnTo>
                    <a:lnTo>
                      <a:pt x="1117" y="4"/>
                    </a:lnTo>
                    <a:lnTo>
                      <a:pt x="1117" y="0"/>
                    </a:lnTo>
                    <a:lnTo>
                      <a:pt x="1155" y="12"/>
                    </a:lnTo>
                    <a:lnTo>
                      <a:pt x="1164" y="21"/>
                    </a:lnTo>
                    <a:lnTo>
                      <a:pt x="1186" y="12"/>
                    </a:lnTo>
                    <a:lnTo>
                      <a:pt x="1209" y="12"/>
                    </a:lnTo>
                    <a:lnTo>
                      <a:pt x="1219" y="21"/>
                    </a:lnTo>
                    <a:lnTo>
                      <a:pt x="1176" y="45"/>
                    </a:lnTo>
                    <a:lnTo>
                      <a:pt x="1193" y="54"/>
                    </a:lnTo>
                    <a:lnTo>
                      <a:pt x="1186" y="99"/>
                    </a:lnTo>
                    <a:lnTo>
                      <a:pt x="1193" y="116"/>
                    </a:lnTo>
                    <a:lnTo>
                      <a:pt x="1193" y="139"/>
                    </a:lnTo>
                    <a:lnTo>
                      <a:pt x="1193" y="156"/>
                    </a:lnTo>
                    <a:lnTo>
                      <a:pt x="1186" y="205"/>
                    </a:lnTo>
                    <a:lnTo>
                      <a:pt x="1155" y="222"/>
                    </a:lnTo>
                    <a:lnTo>
                      <a:pt x="1155" y="234"/>
                    </a:lnTo>
                    <a:lnTo>
                      <a:pt x="1134" y="243"/>
                    </a:lnTo>
                    <a:lnTo>
                      <a:pt x="1134" y="260"/>
                    </a:lnTo>
                    <a:lnTo>
                      <a:pt x="1148" y="316"/>
                    </a:lnTo>
                    <a:lnTo>
                      <a:pt x="1176" y="321"/>
                    </a:lnTo>
                    <a:lnTo>
                      <a:pt x="1193" y="345"/>
                    </a:lnTo>
                    <a:lnTo>
                      <a:pt x="1193" y="371"/>
                    </a:lnTo>
                    <a:lnTo>
                      <a:pt x="1240" y="411"/>
                    </a:lnTo>
                    <a:lnTo>
                      <a:pt x="1278" y="555"/>
                    </a:lnTo>
                    <a:lnTo>
                      <a:pt x="1261" y="560"/>
                    </a:lnTo>
                    <a:lnTo>
                      <a:pt x="1285" y="600"/>
                    </a:lnTo>
                    <a:lnTo>
                      <a:pt x="1294" y="638"/>
                    </a:lnTo>
                    <a:lnTo>
                      <a:pt x="1294" y="711"/>
                    </a:lnTo>
                    <a:lnTo>
                      <a:pt x="1311" y="744"/>
                    </a:lnTo>
                    <a:lnTo>
                      <a:pt x="1285" y="782"/>
                    </a:lnTo>
                    <a:lnTo>
                      <a:pt x="1299" y="815"/>
                    </a:lnTo>
                    <a:lnTo>
                      <a:pt x="1299" y="822"/>
                    </a:lnTo>
                    <a:lnTo>
                      <a:pt x="1299" y="843"/>
                    </a:lnTo>
                    <a:lnTo>
                      <a:pt x="1273" y="855"/>
                    </a:lnTo>
                    <a:lnTo>
                      <a:pt x="1261" y="871"/>
                    </a:lnTo>
                    <a:lnTo>
                      <a:pt x="1311" y="933"/>
                    </a:lnTo>
                    <a:lnTo>
                      <a:pt x="1311" y="971"/>
                    </a:lnTo>
                    <a:lnTo>
                      <a:pt x="1327" y="982"/>
                    </a:lnTo>
                    <a:lnTo>
                      <a:pt x="1327" y="987"/>
                    </a:lnTo>
                    <a:lnTo>
                      <a:pt x="1337" y="1004"/>
                    </a:lnTo>
                    <a:lnTo>
                      <a:pt x="1353" y="999"/>
                    </a:lnTo>
                    <a:lnTo>
                      <a:pt x="1419" y="1011"/>
                    </a:lnTo>
                    <a:lnTo>
                      <a:pt x="1445" y="1077"/>
                    </a:lnTo>
                    <a:lnTo>
                      <a:pt x="1134" y="1278"/>
                    </a:lnTo>
                    <a:lnTo>
                      <a:pt x="1013" y="1389"/>
                    </a:lnTo>
                    <a:lnTo>
                      <a:pt x="907" y="1405"/>
                    </a:lnTo>
                    <a:lnTo>
                      <a:pt x="841" y="1415"/>
                    </a:lnTo>
                    <a:lnTo>
                      <a:pt x="824" y="1405"/>
                    </a:lnTo>
                    <a:lnTo>
                      <a:pt x="841" y="1389"/>
                    </a:lnTo>
                    <a:lnTo>
                      <a:pt x="831" y="1353"/>
                    </a:lnTo>
                    <a:lnTo>
                      <a:pt x="777" y="1337"/>
                    </a:lnTo>
                    <a:lnTo>
                      <a:pt x="760" y="1320"/>
                    </a:lnTo>
                    <a:lnTo>
                      <a:pt x="756" y="1320"/>
                    </a:lnTo>
                    <a:lnTo>
                      <a:pt x="734" y="1315"/>
                    </a:lnTo>
                    <a:lnTo>
                      <a:pt x="723" y="1299"/>
                    </a:lnTo>
                    <a:lnTo>
                      <a:pt x="690" y="1282"/>
                    </a:lnTo>
                    <a:lnTo>
                      <a:pt x="690" y="1261"/>
                    </a:lnTo>
                    <a:lnTo>
                      <a:pt x="269" y="966"/>
                    </a:lnTo>
                    <a:lnTo>
                      <a:pt x="0" y="782"/>
                    </a:lnTo>
                    <a:lnTo>
                      <a:pt x="0" y="760"/>
                    </a:lnTo>
                    <a:lnTo>
                      <a:pt x="0" y="671"/>
                    </a:lnTo>
                    <a:lnTo>
                      <a:pt x="108" y="600"/>
                    </a:lnTo>
                    <a:lnTo>
                      <a:pt x="146" y="609"/>
                    </a:lnTo>
                    <a:lnTo>
                      <a:pt x="160" y="593"/>
                    </a:lnTo>
                    <a:lnTo>
                      <a:pt x="222" y="583"/>
                    </a:lnTo>
                    <a:lnTo>
                      <a:pt x="236" y="567"/>
                    </a:lnTo>
                    <a:lnTo>
                      <a:pt x="260" y="538"/>
                    </a:lnTo>
                    <a:lnTo>
                      <a:pt x="302" y="522"/>
                    </a:lnTo>
                    <a:lnTo>
                      <a:pt x="323" y="498"/>
                    </a:lnTo>
                    <a:lnTo>
                      <a:pt x="356" y="498"/>
                    </a:lnTo>
                    <a:lnTo>
                      <a:pt x="356" y="489"/>
                    </a:lnTo>
                    <a:lnTo>
                      <a:pt x="340" y="482"/>
                    </a:lnTo>
                    <a:lnTo>
                      <a:pt x="340" y="444"/>
                    </a:lnTo>
                    <a:lnTo>
                      <a:pt x="366" y="432"/>
                    </a:lnTo>
                    <a:lnTo>
                      <a:pt x="366" y="432"/>
                    </a:lnTo>
                    <a:lnTo>
                      <a:pt x="366" y="43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32" name="Freeform 390">
                <a:extLst>
                  <a:ext uri="{FF2B5EF4-FFF2-40B4-BE49-F238E27FC236}">
                    <a16:creationId xmlns:a16="http://schemas.microsoft.com/office/drawing/2014/main" id="{B4C7A7E5-B698-46BF-B7E7-EC44F94E3D63}"/>
                  </a:ext>
                </a:extLst>
              </p:cNvPr>
              <p:cNvSpPr>
                <a:spLocks/>
              </p:cNvSpPr>
              <p:nvPr/>
            </p:nvSpPr>
            <p:spPr bwMode="gray">
              <a:xfrm>
                <a:off x="7350287" y="6090582"/>
                <a:ext cx="933" cy="13519"/>
              </a:xfrm>
              <a:custGeom>
                <a:avLst/>
                <a:gdLst>
                  <a:gd name="T0" fmla="*/ 2 w 2"/>
                  <a:gd name="T1" fmla="*/ 0 h 29"/>
                  <a:gd name="T2" fmla="*/ 2 w 2"/>
                  <a:gd name="T3" fmla="*/ 29 h 29"/>
                  <a:gd name="T4" fmla="*/ 0 w 2"/>
                  <a:gd name="T5" fmla="*/ 17 h 29"/>
                  <a:gd name="T6" fmla="*/ 0 w 2"/>
                  <a:gd name="T7" fmla="*/ 0 h 29"/>
                  <a:gd name="T8" fmla="*/ 2 w 2"/>
                  <a:gd name="T9" fmla="*/ 0 h 29"/>
                  <a:gd name="T10" fmla="*/ 2 w 2"/>
                  <a:gd name="T11" fmla="*/ 0 h 29"/>
                  <a:gd name="T12" fmla="*/ 2 w 2"/>
                  <a:gd name="T13" fmla="*/ 0 h 29"/>
                  <a:gd name="T14" fmla="*/ 2 w 2"/>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9">
                    <a:moveTo>
                      <a:pt x="2" y="0"/>
                    </a:moveTo>
                    <a:lnTo>
                      <a:pt x="2" y="29"/>
                    </a:lnTo>
                    <a:lnTo>
                      <a:pt x="0" y="17"/>
                    </a:lnTo>
                    <a:lnTo>
                      <a:pt x="0" y="0"/>
                    </a:lnTo>
                    <a:lnTo>
                      <a:pt x="2" y="0"/>
                    </a:lnTo>
                    <a:lnTo>
                      <a:pt x="2" y="0"/>
                    </a:lnTo>
                    <a:lnTo>
                      <a:pt x="2" y="0"/>
                    </a:lnTo>
                    <a:lnTo>
                      <a:pt x="2"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34" name="Freeform 400">
                <a:extLst>
                  <a:ext uri="{FF2B5EF4-FFF2-40B4-BE49-F238E27FC236}">
                    <a16:creationId xmlns:a16="http://schemas.microsoft.com/office/drawing/2014/main" id="{10458454-4C63-40F8-BD15-FA4E1757414A}"/>
                  </a:ext>
                </a:extLst>
              </p:cNvPr>
              <p:cNvSpPr>
                <a:spLocks/>
              </p:cNvSpPr>
              <p:nvPr/>
            </p:nvSpPr>
            <p:spPr bwMode="gray">
              <a:xfrm>
                <a:off x="5724192" y="6572080"/>
                <a:ext cx="101135" cy="207887"/>
              </a:xfrm>
              <a:custGeom>
                <a:avLst/>
                <a:gdLst>
                  <a:gd name="T0" fmla="*/ 59 w 217"/>
                  <a:gd name="T1" fmla="*/ 446 h 446"/>
                  <a:gd name="T2" fmla="*/ 71 w 217"/>
                  <a:gd name="T3" fmla="*/ 441 h 446"/>
                  <a:gd name="T4" fmla="*/ 55 w 217"/>
                  <a:gd name="T5" fmla="*/ 413 h 446"/>
                  <a:gd name="T6" fmla="*/ 55 w 217"/>
                  <a:gd name="T7" fmla="*/ 392 h 446"/>
                  <a:gd name="T8" fmla="*/ 59 w 217"/>
                  <a:gd name="T9" fmla="*/ 392 h 446"/>
                  <a:gd name="T10" fmla="*/ 59 w 217"/>
                  <a:gd name="T11" fmla="*/ 354 h 446"/>
                  <a:gd name="T12" fmla="*/ 59 w 217"/>
                  <a:gd name="T13" fmla="*/ 243 h 446"/>
                  <a:gd name="T14" fmla="*/ 38 w 217"/>
                  <a:gd name="T15" fmla="*/ 210 h 446"/>
                  <a:gd name="T16" fmla="*/ 38 w 217"/>
                  <a:gd name="T17" fmla="*/ 172 h 446"/>
                  <a:gd name="T18" fmla="*/ 0 w 217"/>
                  <a:gd name="T19" fmla="*/ 148 h 446"/>
                  <a:gd name="T20" fmla="*/ 5 w 217"/>
                  <a:gd name="T21" fmla="*/ 99 h 446"/>
                  <a:gd name="T22" fmla="*/ 26 w 217"/>
                  <a:gd name="T23" fmla="*/ 82 h 446"/>
                  <a:gd name="T24" fmla="*/ 38 w 217"/>
                  <a:gd name="T25" fmla="*/ 78 h 446"/>
                  <a:gd name="T26" fmla="*/ 43 w 217"/>
                  <a:gd name="T27" fmla="*/ 66 h 446"/>
                  <a:gd name="T28" fmla="*/ 59 w 217"/>
                  <a:gd name="T29" fmla="*/ 78 h 446"/>
                  <a:gd name="T30" fmla="*/ 80 w 217"/>
                  <a:gd name="T31" fmla="*/ 66 h 446"/>
                  <a:gd name="T32" fmla="*/ 109 w 217"/>
                  <a:gd name="T33" fmla="*/ 56 h 446"/>
                  <a:gd name="T34" fmla="*/ 114 w 217"/>
                  <a:gd name="T35" fmla="*/ 40 h 446"/>
                  <a:gd name="T36" fmla="*/ 114 w 217"/>
                  <a:gd name="T37" fmla="*/ 11 h 446"/>
                  <a:gd name="T38" fmla="*/ 147 w 217"/>
                  <a:gd name="T39" fmla="*/ 0 h 446"/>
                  <a:gd name="T40" fmla="*/ 201 w 217"/>
                  <a:gd name="T41" fmla="*/ 56 h 446"/>
                  <a:gd name="T42" fmla="*/ 192 w 217"/>
                  <a:gd name="T43" fmla="*/ 66 h 446"/>
                  <a:gd name="T44" fmla="*/ 208 w 217"/>
                  <a:gd name="T45" fmla="*/ 94 h 446"/>
                  <a:gd name="T46" fmla="*/ 208 w 217"/>
                  <a:gd name="T47" fmla="*/ 115 h 446"/>
                  <a:gd name="T48" fmla="*/ 217 w 217"/>
                  <a:gd name="T49" fmla="*/ 132 h 446"/>
                  <a:gd name="T50" fmla="*/ 217 w 217"/>
                  <a:gd name="T51" fmla="*/ 148 h 446"/>
                  <a:gd name="T52" fmla="*/ 208 w 217"/>
                  <a:gd name="T53" fmla="*/ 139 h 446"/>
                  <a:gd name="T54" fmla="*/ 201 w 217"/>
                  <a:gd name="T55" fmla="*/ 156 h 446"/>
                  <a:gd name="T56" fmla="*/ 208 w 217"/>
                  <a:gd name="T57" fmla="*/ 165 h 446"/>
                  <a:gd name="T58" fmla="*/ 201 w 217"/>
                  <a:gd name="T59" fmla="*/ 177 h 446"/>
                  <a:gd name="T60" fmla="*/ 180 w 217"/>
                  <a:gd name="T61" fmla="*/ 189 h 446"/>
                  <a:gd name="T62" fmla="*/ 184 w 217"/>
                  <a:gd name="T63" fmla="*/ 193 h 446"/>
                  <a:gd name="T64" fmla="*/ 168 w 217"/>
                  <a:gd name="T65" fmla="*/ 222 h 446"/>
                  <a:gd name="T66" fmla="*/ 163 w 217"/>
                  <a:gd name="T67" fmla="*/ 243 h 446"/>
                  <a:gd name="T68" fmla="*/ 137 w 217"/>
                  <a:gd name="T69" fmla="*/ 243 h 446"/>
                  <a:gd name="T70" fmla="*/ 130 w 217"/>
                  <a:gd name="T71" fmla="*/ 330 h 446"/>
                  <a:gd name="T72" fmla="*/ 137 w 217"/>
                  <a:gd name="T73" fmla="*/ 387 h 446"/>
                  <a:gd name="T74" fmla="*/ 137 w 217"/>
                  <a:gd name="T75" fmla="*/ 441 h 446"/>
                  <a:gd name="T76" fmla="*/ 59 w 217"/>
                  <a:gd name="T77" fmla="*/ 446 h 446"/>
                  <a:gd name="T78" fmla="*/ 59 w 217"/>
                  <a:gd name="T79" fmla="*/ 446 h 446"/>
                  <a:gd name="T80" fmla="*/ 59 w 217"/>
                  <a:gd name="T81"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7" h="446">
                    <a:moveTo>
                      <a:pt x="59" y="446"/>
                    </a:moveTo>
                    <a:lnTo>
                      <a:pt x="71" y="441"/>
                    </a:lnTo>
                    <a:lnTo>
                      <a:pt x="55" y="413"/>
                    </a:lnTo>
                    <a:lnTo>
                      <a:pt x="55" y="392"/>
                    </a:lnTo>
                    <a:lnTo>
                      <a:pt x="59" y="392"/>
                    </a:lnTo>
                    <a:lnTo>
                      <a:pt x="59" y="354"/>
                    </a:lnTo>
                    <a:lnTo>
                      <a:pt x="59" y="243"/>
                    </a:lnTo>
                    <a:lnTo>
                      <a:pt x="38" y="210"/>
                    </a:lnTo>
                    <a:lnTo>
                      <a:pt x="38" y="172"/>
                    </a:lnTo>
                    <a:lnTo>
                      <a:pt x="0" y="148"/>
                    </a:lnTo>
                    <a:lnTo>
                      <a:pt x="5" y="99"/>
                    </a:lnTo>
                    <a:lnTo>
                      <a:pt x="26" y="82"/>
                    </a:lnTo>
                    <a:lnTo>
                      <a:pt x="38" y="78"/>
                    </a:lnTo>
                    <a:lnTo>
                      <a:pt x="43" y="66"/>
                    </a:lnTo>
                    <a:lnTo>
                      <a:pt x="59" y="78"/>
                    </a:lnTo>
                    <a:lnTo>
                      <a:pt x="80" y="66"/>
                    </a:lnTo>
                    <a:lnTo>
                      <a:pt x="109" y="56"/>
                    </a:lnTo>
                    <a:lnTo>
                      <a:pt x="114" y="40"/>
                    </a:lnTo>
                    <a:lnTo>
                      <a:pt x="114" y="11"/>
                    </a:lnTo>
                    <a:lnTo>
                      <a:pt x="147" y="0"/>
                    </a:lnTo>
                    <a:lnTo>
                      <a:pt x="201" y="56"/>
                    </a:lnTo>
                    <a:lnTo>
                      <a:pt x="192" y="66"/>
                    </a:lnTo>
                    <a:lnTo>
                      <a:pt x="208" y="94"/>
                    </a:lnTo>
                    <a:lnTo>
                      <a:pt x="208" y="115"/>
                    </a:lnTo>
                    <a:lnTo>
                      <a:pt x="217" y="132"/>
                    </a:lnTo>
                    <a:lnTo>
                      <a:pt x="217" y="148"/>
                    </a:lnTo>
                    <a:lnTo>
                      <a:pt x="208" y="139"/>
                    </a:lnTo>
                    <a:lnTo>
                      <a:pt x="201" y="156"/>
                    </a:lnTo>
                    <a:lnTo>
                      <a:pt x="208" y="165"/>
                    </a:lnTo>
                    <a:lnTo>
                      <a:pt x="201" y="177"/>
                    </a:lnTo>
                    <a:lnTo>
                      <a:pt x="180" y="189"/>
                    </a:lnTo>
                    <a:lnTo>
                      <a:pt x="184" y="193"/>
                    </a:lnTo>
                    <a:lnTo>
                      <a:pt x="168" y="222"/>
                    </a:lnTo>
                    <a:lnTo>
                      <a:pt x="163" y="243"/>
                    </a:lnTo>
                    <a:lnTo>
                      <a:pt x="137" y="243"/>
                    </a:lnTo>
                    <a:lnTo>
                      <a:pt x="130" y="330"/>
                    </a:lnTo>
                    <a:lnTo>
                      <a:pt x="137" y="387"/>
                    </a:lnTo>
                    <a:lnTo>
                      <a:pt x="137" y="441"/>
                    </a:lnTo>
                    <a:lnTo>
                      <a:pt x="59" y="446"/>
                    </a:lnTo>
                    <a:lnTo>
                      <a:pt x="59" y="446"/>
                    </a:lnTo>
                    <a:lnTo>
                      <a:pt x="59" y="44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36" name="Freeform 410">
                <a:extLst>
                  <a:ext uri="{FF2B5EF4-FFF2-40B4-BE49-F238E27FC236}">
                    <a16:creationId xmlns:a16="http://schemas.microsoft.com/office/drawing/2014/main" id="{1551E951-282B-4119-AFB7-961BEC51ACA1}"/>
                  </a:ext>
                </a:extLst>
              </p:cNvPr>
              <p:cNvSpPr>
                <a:spLocks/>
              </p:cNvSpPr>
              <p:nvPr/>
            </p:nvSpPr>
            <p:spPr bwMode="gray">
              <a:xfrm>
                <a:off x="6138056" y="6188934"/>
                <a:ext cx="343489" cy="547218"/>
              </a:xfrm>
              <a:custGeom>
                <a:avLst/>
                <a:gdLst>
                  <a:gd name="T0" fmla="*/ 17 w 737"/>
                  <a:gd name="T1" fmla="*/ 720 h 1174"/>
                  <a:gd name="T2" fmla="*/ 17 w 737"/>
                  <a:gd name="T3" fmla="*/ 659 h 1174"/>
                  <a:gd name="T4" fmla="*/ 69 w 737"/>
                  <a:gd name="T5" fmla="*/ 569 h 1174"/>
                  <a:gd name="T6" fmla="*/ 161 w 737"/>
                  <a:gd name="T7" fmla="*/ 264 h 1174"/>
                  <a:gd name="T8" fmla="*/ 156 w 737"/>
                  <a:gd name="T9" fmla="*/ 198 h 1174"/>
                  <a:gd name="T10" fmla="*/ 123 w 737"/>
                  <a:gd name="T11" fmla="*/ 144 h 1174"/>
                  <a:gd name="T12" fmla="*/ 107 w 737"/>
                  <a:gd name="T13" fmla="*/ 33 h 1174"/>
                  <a:gd name="T14" fmla="*/ 452 w 737"/>
                  <a:gd name="T15" fmla="*/ 137 h 1174"/>
                  <a:gd name="T16" fmla="*/ 737 w 737"/>
                  <a:gd name="T17" fmla="*/ 581 h 1174"/>
                  <a:gd name="T18" fmla="*/ 666 w 737"/>
                  <a:gd name="T19" fmla="*/ 588 h 1174"/>
                  <a:gd name="T20" fmla="*/ 666 w 737"/>
                  <a:gd name="T21" fmla="*/ 621 h 1174"/>
                  <a:gd name="T22" fmla="*/ 645 w 737"/>
                  <a:gd name="T23" fmla="*/ 654 h 1174"/>
                  <a:gd name="T24" fmla="*/ 641 w 737"/>
                  <a:gd name="T25" fmla="*/ 692 h 1174"/>
                  <a:gd name="T26" fmla="*/ 607 w 737"/>
                  <a:gd name="T27" fmla="*/ 720 h 1174"/>
                  <a:gd name="T28" fmla="*/ 603 w 737"/>
                  <a:gd name="T29" fmla="*/ 770 h 1174"/>
                  <a:gd name="T30" fmla="*/ 603 w 737"/>
                  <a:gd name="T31" fmla="*/ 803 h 1174"/>
                  <a:gd name="T32" fmla="*/ 615 w 737"/>
                  <a:gd name="T33" fmla="*/ 791 h 1174"/>
                  <a:gd name="T34" fmla="*/ 631 w 737"/>
                  <a:gd name="T35" fmla="*/ 819 h 1174"/>
                  <a:gd name="T36" fmla="*/ 641 w 737"/>
                  <a:gd name="T37" fmla="*/ 881 h 1174"/>
                  <a:gd name="T38" fmla="*/ 662 w 737"/>
                  <a:gd name="T39" fmla="*/ 885 h 1174"/>
                  <a:gd name="T40" fmla="*/ 662 w 737"/>
                  <a:gd name="T41" fmla="*/ 930 h 1174"/>
                  <a:gd name="T42" fmla="*/ 577 w 737"/>
                  <a:gd name="T43" fmla="*/ 952 h 1174"/>
                  <a:gd name="T44" fmla="*/ 570 w 737"/>
                  <a:gd name="T45" fmla="*/ 987 h 1174"/>
                  <a:gd name="T46" fmla="*/ 548 w 737"/>
                  <a:gd name="T47" fmla="*/ 996 h 1174"/>
                  <a:gd name="T48" fmla="*/ 494 w 737"/>
                  <a:gd name="T49" fmla="*/ 1046 h 1174"/>
                  <a:gd name="T50" fmla="*/ 463 w 737"/>
                  <a:gd name="T51" fmla="*/ 1053 h 1174"/>
                  <a:gd name="T52" fmla="*/ 392 w 737"/>
                  <a:gd name="T53" fmla="*/ 1070 h 1174"/>
                  <a:gd name="T54" fmla="*/ 397 w 737"/>
                  <a:gd name="T55" fmla="*/ 1098 h 1174"/>
                  <a:gd name="T56" fmla="*/ 291 w 737"/>
                  <a:gd name="T57" fmla="*/ 1141 h 1174"/>
                  <a:gd name="T58" fmla="*/ 220 w 737"/>
                  <a:gd name="T59" fmla="*/ 1157 h 1174"/>
                  <a:gd name="T60" fmla="*/ 211 w 737"/>
                  <a:gd name="T61" fmla="*/ 1164 h 1174"/>
                  <a:gd name="T62" fmla="*/ 144 w 737"/>
                  <a:gd name="T63" fmla="*/ 1174 h 1174"/>
                  <a:gd name="T64" fmla="*/ 144 w 737"/>
                  <a:gd name="T65" fmla="*/ 1152 h 1174"/>
                  <a:gd name="T66" fmla="*/ 59 w 737"/>
                  <a:gd name="T67" fmla="*/ 1053 h 1174"/>
                  <a:gd name="T68" fmla="*/ 52 w 737"/>
                  <a:gd name="T69" fmla="*/ 996 h 1174"/>
                  <a:gd name="T70" fmla="*/ 161 w 737"/>
                  <a:gd name="T71" fmla="*/ 996 h 1174"/>
                  <a:gd name="T72" fmla="*/ 114 w 737"/>
                  <a:gd name="T73" fmla="*/ 935 h 1174"/>
                  <a:gd name="T74" fmla="*/ 114 w 737"/>
                  <a:gd name="T75" fmla="*/ 885 h 1174"/>
                  <a:gd name="T76" fmla="*/ 102 w 737"/>
                  <a:gd name="T77" fmla="*/ 843 h 1174"/>
                  <a:gd name="T78" fmla="*/ 76 w 737"/>
                  <a:gd name="T79" fmla="*/ 791 h 1174"/>
                  <a:gd name="T80" fmla="*/ 48 w 737"/>
                  <a:gd name="T81" fmla="*/ 770 h 1174"/>
                  <a:gd name="T82" fmla="*/ 48 w 737"/>
                  <a:gd name="T83" fmla="*/ 770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37" h="1174">
                    <a:moveTo>
                      <a:pt x="48" y="770"/>
                    </a:moveTo>
                    <a:lnTo>
                      <a:pt x="17" y="720"/>
                    </a:lnTo>
                    <a:lnTo>
                      <a:pt x="0" y="663"/>
                    </a:lnTo>
                    <a:lnTo>
                      <a:pt x="17" y="659"/>
                    </a:lnTo>
                    <a:lnTo>
                      <a:pt x="31" y="626"/>
                    </a:lnTo>
                    <a:lnTo>
                      <a:pt x="69" y="569"/>
                    </a:lnTo>
                    <a:lnTo>
                      <a:pt x="144" y="486"/>
                    </a:lnTo>
                    <a:lnTo>
                      <a:pt x="161" y="264"/>
                    </a:lnTo>
                    <a:lnTo>
                      <a:pt x="178" y="231"/>
                    </a:lnTo>
                    <a:lnTo>
                      <a:pt x="156" y="198"/>
                    </a:lnTo>
                    <a:lnTo>
                      <a:pt x="156" y="182"/>
                    </a:lnTo>
                    <a:lnTo>
                      <a:pt x="123" y="144"/>
                    </a:lnTo>
                    <a:lnTo>
                      <a:pt x="123" y="104"/>
                    </a:lnTo>
                    <a:lnTo>
                      <a:pt x="107" y="33"/>
                    </a:lnTo>
                    <a:lnTo>
                      <a:pt x="178" y="0"/>
                    </a:lnTo>
                    <a:lnTo>
                      <a:pt x="452" y="137"/>
                    </a:lnTo>
                    <a:lnTo>
                      <a:pt x="737" y="293"/>
                    </a:lnTo>
                    <a:lnTo>
                      <a:pt x="737" y="581"/>
                    </a:lnTo>
                    <a:lnTo>
                      <a:pt x="678" y="581"/>
                    </a:lnTo>
                    <a:lnTo>
                      <a:pt x="666" y="588"/>
                    </a:lnTo>
                    <a:lnTo>
                      <a:pt x="666" y="604"/>
                    </a:lnTo>
                    <a:lnTo>
                      <a:pt x="666" y="621"/>
                    </a:lnTo>
                    <a:lnTo>
                      <a:pt x="645" y="642"/>
                    </a:lnTo>
                    <a:lnTo>
                      <a:pt x="645" y="654"/>
                    </a:lnTo>
                    <a:lnTo>
                      <a:pt x="631" y="659"/>
                    </a:lnTo>
                    <a:lnTo>
                      <a:pt x="641" y="692"/>
                    </a:lnTo>
                    <a:lnTo>
                      <a:pt x="615" y="708"/>
                    </a:lnTo>
                    <a:lnTo>
                      <a:pt x="607" y="720"/>
                    </a:lnTo>
                    <a:lnTo>
                      <a:pt x="624" y="748"/>
                    </a:lnTo>
                    <a:lnTo>
                      <a:pt x="603" y="770"/>
                    </a:lnTo>
                    <a:lnTo>
                      <a:pt x="586" y="791"/>
                    </a:lnTo>
                    <a:lnTo>
                      <a:pt x="603" y="803"/>
                    </a:lnTo>
                    <a:lnTo>
                      <a:pt x="607" y="803"/>
                    </a:lnTo>
                    <a:lnTo>
                      <a:pt x="615" y="791"/>
                    </a:lnTo>
                    <a:lnTo>
                      <a:pt x="631" y="803"/>
                    </a:lnTo>
                    <a:lnTo>
                      <a:pt x="631" y="819"/>
                    </a:lnTo>
                    <a:lnTo>
                      <a:pt x="645" y="848"/>
                    </a:lnTo>
                    <a:lnTo>
                      <a:pt x="641" y="881"/>
                    </a:lnTo>
                    <a:lnTo>
                      <a:pt x="657" y="885"/>
                    </a:lnTo>
                    <a:lnTo>
                      <a:pt x="662" y="885"/>
                    </a:lnTo>
                    <a:lnTo>
                      <a:pt x="666" y="902"/>
                    </a:lnTo>
                    <a:lnTo>
                      <a:pt x="662" y="930"/>
                    </a:lnTo>
                    <a:lnTo>
                      <a:pt x="631" y="919"/>
                    </a:lnTo>
                    <a:lnTo>
                      <a:pt x="577" y="952"/>
                    </a:lnTo>
                    <a:lnTo>
                      <a:pt x="577" y="975"/>
                    </a:lnTo>
                    <a:lnTo>
                      <a:pt x="570" y="987"/>
                    </a:lnTo>
                    <a:lnTo>
                      <a:pt x="555" y="996"/>
                    </a:lnTo>
                    <a:lnTo>
                      <a:pt x="548" y="996"/>
                    </a:lnTo>
                    <a:lnTo>
                      <a:pt x="518" y="1041"/>
                    </a:lnTo>
                    <a:lnTo>
                      <a:pt x="494" y="1046"/>
                    </a:lnTo>
                    <a:lnTo>
                      <a:pt x="485" y="1063"/>
                    </a:lnTo>
                    <a:lnTo>
                      <a:pt x="463" y="1053"/>
                    </a:lnTo>
                    <a:lnTo>
                      <a:pt x="452" y="1063"/>
                    </a:lnTo>
                    <a:lnTo>
                      <a:pt x="392" y="1070"/>
                    </a:lnTo>
                    <a:lnTo>
                      <a:pt x="383" y="1079"/>
                    </a:lnTo>
                    <a:lnTo>
                      <a:pt x="397" y="1098"/>
                    </a:lnTo>
                    <a:lnTo>
                      <a:pt x="359" y="1136"/>
                    </a:lnTo>
                    <a:lnTo>
                      <a:pt x="291" y="1141"/>
                    </a:lnTo>
                    <a:lnTo>
                      <a:pt x="237" y="1174"/>
                    </a:lnTo>
                    <a:lnTo>
                      <a:pt x="220" y="1157"/>
                    </a:lnTo>
                    <a:lnTo>
                      <a:pt x="220" y="1152"/>
                    </a:lnTo>
                    <a:lnTo>
                      <a:pt x="211" y="1164"/>
                    </a:lnTo>
                    <a:lnTo>
                      <a:pt x="178" y="1174"/>
                    </a:lnTo>
                    <a:lnTo>
                      <a:pt x="144" y="1174"/>
                    </a:lnTo>
                    <a:lnTo>
                      <a:pt x="156" y="1157"/>
                    </a:lnTo>
                    <a:lnTo>
                      <a:pt x="144" y="1152"/>
                    </a:lnTo>
                    <a:lnTo>
                      <a:pt x="123" y="1103"/>
                    </a:lnTo>
                    <a:lnTo>
                      <a:pt x="59" y="1053"/>
                    </a:lnTo>
                    <a:lnTo>
                      <a:pt x="38" y="1025"/>
                    </a:lnTo>
                    <a:lnTo>
                      <a:pt x="52" y="996"/>
                    </a:lnTo>
                    <a:lnTo>
                      <a:pt x="90" y="996"/>
                    </a:lnTo>
                    <a:lnTo>
                      <a:pt x="161" y="996"/>
                    </a:lnTo>
                    <a:lnTo>
                      <a:pt x="140" y="975"/>
                    </a:lnTo>
                    <a:lnTo>
                      <a:pt x="114" y="935"/>
                    </a:lnTo>
                    <a:lnTo>
                      <a:pt x="114" y="902"/>
                    </a:lnTo>
                    <a:lnTo>
                      <a:pt x="114" y="885"/>
                    </a:lnTo>
                    <a:lnTo>
                      <a:pt x="114" y="843"/>
                    </a:lnTo>
                    <a:lnTo>
                      <a:pt x="102" y="843"/>
                    </a:lnTo>
                    <a:lnTo>
                      <a:pt x="102" y="803"/>
                    </a:lnTo>
                    <a:lnTo>
                      <a:pt x="76" y="791"/>
                    </a:lnTo>
                    <a:lnTo>
                      <a:pt x="69" y="770"/>
                    </a:lnTo>
                    <a:lnTo>
                      <a:pt x="48" y="770"/>
                    </a:lnTo>
                    <a:lnTo>
                      <a:pt x="48" y="770"/>
                    </a:lnTo>
                    <a:lnTo>
                      <a:pt x="48" y="77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37" name="Freeform 411">
                <a:extLst>
                  <a:ext uri="{FF2B5EF4-FFF2-40B4-BE49-F238E27FC236}">
                    <a16:creationId xmlns:a16="http://schemas.microsoft.com/office/drawing/2014/main" id="{2F141D3C-E651-4C36-81CA-294768FEE74E}"/>
                  </a:ext>
                </a:extLst>
              </p:cNvPr>
              <p:cNvSpPr>
                <a:spLocks noEditPoints="1"/>
              </p:cNvSpPr>
              <p:nvPr/>
            </p:nvSpPr>
            <p:spPr bwMode="gray">
              <a:xfrm>
                <a:off x="8301521" y="6658777"/>
                <a:ext cx="72705" cy="130977"/>
              </a:xfrm>
              <a:custGeom>
                <a:avLst/>
                <a:gdLst>
                  <a:gd name="T0" fmla="*/ 17 w 156"/>
                  <a:gd name="T1" fmla="*/ 182 h 281"/>
                  <a:gd name="T2" fmla="*/ 12 w 156"/>
                  <a:gd name="T3" fmla="*/ 116 h 281"/>
                  <a:gd name="T4" fmla="*/ 12 w 156"/>
                  <a:gd name="T5" fmla="*/ 111 h 281"/>
                  <a:gd name="T6" fmla="*/ 12 w 156"/>
                  <a:gd name="T7" fmla="*/ 133 h 281"/>
                  <a:gd name="T8" fmla="*/ 17 w 156"/>
                  <a:gd name="T9" fmla="*/ 133 h 281"/>
                  <a:gd name="T10" fmla="*/ 17 w 156"/>
                  <a:gd name="T11" fmla="*/ 95 h 281"/>
                  <a:gd name="T12" fmla="*/ 28 w 156"/>
                  <a:gd name="T13" fmla="*/ 88 h 281"/>
                  <a:gd name="T14" fmla="*/ 28 w 156"/>
                  <a:gd name="T15" fmla="*/ 59 h 281"/>
                  <a:gd name="T16" fmla="*/ 33 w 156"/>
                  <a:gd name="T17" fmla="*/ 55 h 281"/>
                  <a:gd name="T18" fmla="*/ 33 w 156"/>
                  <a:gd name="T19" fmla="*/ 33 h 281"/>
                  <a:gd name="T20" fmla="*/ 38 w 156"/>
                  <a:gd name="T21" fmla="*/ 22 h 281"/>
                  <a:gd name="T22" fmla="*/ 33 w 156"/>
                  <a:gd name="T23" fmla="*/ 17 h 281"/>
                  <a:gd name="T24" fmla="*/ 71 w 156"/>
                  <a:gd name="T25" fmla="*/ 33 h 281"/>
                  <a:gd name="T26" fmla="*/ 28 w 156"/>
                  <a:gd name="T27" fmla="*/ 5 h 281"/>
                  <a:gd name="T28" fmla="*/ 28 w 156"/>
                  <a:gd name="T29" fmla="*/ 0 h 281"/>
                  <a:gd name="T30" fmla="*/ 33 w 156"/>
                  <a:gd name="T31" fmla="*/ 0 h 281"/>
                  <a:gd name="T32" fmla="*/ 54 w 156"/>
                  <a:gd name="T33" fmla="*/ 17 h 281"/>
                  <a:gd name="T34" fmla="*/ 38 w 156"/>
                  <a:gd name="T35" fmla="*/ 0 h 281"/>
                  <a:gd name="T36" fmla="*/ 50 w 156"/>
                  <a:gd name="T37" fmla="*/ 0 h 281"/>
                  <a:gd name="T38" fmla="*/ 85 w 156"/>
                  <a:gd name="T39" fmla="*/ 38 h 281"/>
                  <a:gd name="T40" fmla="*/ 92 w 156"/>
                  <a:gd name="T41" fmla="*/ 59 h 281"/>
                  <a:gd name="T42" fmla="*/ 102 w 156"/>
                  <a:gd name="T43" fmla="*/ 59 h 281"/>
                  <a:gd name="T44" fmla="*/ 106 w 156"/>
                  <a:gd name="T45" fmla="*/ 88 h 281"/>
                  <a:gd name="T46" fmla="*/ 118 w 156"/>
                  <a:gd name="T47" fmla="*/ 95 h 281"/>
                  <a:gd name="T48" fmla="*/ 106 w 156"/>
                  <a:gd name="T49" fmla="*/ 95 h 281"/>
                  <a:gd name="T50" fmla="*/ 123 w 156"/>
                  <a:gd name="T51" fmla="*/ 95 h 281"/>
                  <a:gd name="T52" fmla="*/ 123 w 156"/>
                  <a:gd name="T53" fmla="*/ 116 h 281"/>
                  <a:gd name="T54" fmla="*/ 156 w 156"/>
                  <a:gd name="T55" fmla="*/ 170 h 281"/>
                  <a:gd name="T56" fmla="*/ 156 w 156"/>
                  <a:gd name="T57" fmla="*/ 206 h 281"/>
                  <a:gd name="T58" fmla="*/ 139 w 156"/>
                  <a:gd name="T59" fmla="*/ 244 h 281"/>
                  <a:gd name="T60" fmla="*/ 118 w 156"/>
                  <a:gd name="T61" fmla="*/ 260 h 281"/>
                  <a:gd name="T62" fmla="*/ 71 w 156"/>
                  <a:gd name="T63" fmla="*/ 281 h 281"/>
                  <a:gd name="T64" fmla="*/ 38 w 156"/>
                  <a:gd name="T65" fmla="*/ 277 h 281"/>
                  <a:gd name="T66" fmla="*/ 33 w 156"/>
                  <a:gd name="T67" fmla="*/ 260 h 281"/>
                  <a:gd name="T68" fmla="*/ 17 w 156"/>
                  <a:gd name="T69" fmla="*/ 222 h 281"/>
                  <a:gd name="T70" fmla="*/ 17 w 156"/>
                  <a:gd name="T71" fmla="*/ 182 h 281"/>
                  <a:gd name="T72" fmla="*/ 17 w 156"/>
                  <a:gd name="T73" fmla="*/ 182 h 281"/>
                  <a:gd name="T74" fmla="*/ 17 w 156"/>
                  <a:gd name="T75" fmla="*/ 182 h 281"/>
                  <a:gd name="T76" fmla="*/ 17 w 156"/>
                  <a:gd name="T77" fmla="*/ 5 h 281"/>
                  <a:gd name="T78" fmla="*/ 28 w 156"/>
                  <a:gd name="T79" fmla="*/ 17 h 281"/>
                  <a:gd name="T80" fmla="*/ 17 w 156"/>
                  <a:gd name="T81" fmla="*/ 5 h 281"/>
                  <a:gd name="T82" fmla="*/ 17 w 156"/>
                  <a:gd name="T83" fmla="*/ 5 h 281"/>
                  <a:gd name="T84" fmla="*/ 17 w 156"/>
                  <a:gd name="T85" fmla="*/ 5 h 281"/>
                  <a:gd name="T86" fmla="*/ 17 w 156"/>
                  <a:gd name="T87" fmla="*/ 5 h 281"/>
                  <a:gd name="T88" fmla="*/ 12 w 156"/>
                  <a:gd name="T89" fmla="*/ 55 h 281"/>
                  <a:gd name="T90" fmla="*/ 17 w 156"/>
                  <a:gd name="T91" fmla="*/ 59 h 281"/>
                  <a:gd name="T92" fmla="*/ 0 w 156"/>
                  <a:gd name="T93" fmla="*/ 55 h 281"/>
                  <a:gd name="T94" fmla="*/ 12 w 156"/>
                  <a:gd name="T95" fmla="*/ 55 h 281"/>
                  <a:gd name="T96" fmla="*/ 12 w 156"/>
                  <a:gd name="T97" fmla="*/ 55 h 281"/>
                  <a:gd name="T98" fmla="*/ 12 w 156"/>
                  <a:gd name="T99" fmla="*/ 55 h 281"/>
                  <a:gd name="T100" fmla="*/ 144 w 156"/>
                  <a:gd name="T101" fmla="*/ 154 h 281"/>
                  <a:gd name="T102" fmla="*/ 156 w 156"/>
                  <a:gd name="T103" fmla="*/ 170 h 281"/>
                  <a:gd name="T104" fmla="*/ 144 w 156"/>
                  <a:gd name="T105" fmla="*/ 149 h 281"/>
                  <a:gd name="T106" fmla="*/ 144 w 156"/>
                  <a:gd name="T107" fmla="*/ 154 h 281"/>
                  <a:gd name="T108" fmla="*/ 144 w 156"/>
                  <a:gd name="T109" fmla="*/ 154 h 281"/>
                  <a:gd name="T110" fmla="*/ 144 w 156"/>
                  <a:gd name="T111" fmla="*/ 15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6" h="281">
                    <a:moveTo>
                      <a:pt x="17" y="182"/>
                    </a:moveTo>
                    <a:lnTo>
                      <a:pt x="12" y="116"/>
                    </a:lnTo>
                    <a:lnTo>
                      <a:pt x="12" y="111"/>
                    </a:lnTo>
                    <a:lnTo>
                      <a:pt x="12" y="133"/>
                    </a:lnTo>
                    <a:lnTo>
                      <a:pt x="17" y="133"/>
                    </a:lnTo>
                    <a:lnTo>
                      <a:pt x="17" y="95"/>
                    </a:lnTo>
                    <a:lnTo>
                      <a:pt x="28" y="88"/>
                    </a:lnTo>
                    <a:lnTo>
                      <a:pt x="28" y="59"/>
                    </a:lnTo>
                    <a:lnTo>
                      <a:pt x="33" y="55"/>
                    </a:lnTo>
                    <a:lnTo>
                      <a:pt x="33" y="33"/>
                    </a:lnTo>
                    <a:lnTo>
                      <a:pt x="38" y="22"/>
                    </a:lnTo>
                    <a:lnTo>
                      <a:pt x="33" y="17"/>
                    </a:lnTo>
                    <a:lnTo>
                      <a:pt x="71" y="33"/>
                    </a:lnTo>
                    <a:lnTo>
                      <a:pt x="28" y="5"/>
                    </a:lnTo>
                    <a:lnTo>
                      <a:pt x="28" y="0"/>
                    </a:lnTo>
                    <a:lnTo>
                      <a:pt x="33" y="0"/>
                    </a:lnTo>
                    <a:lnTo>
                      <a:pt x="54" y="17"/>
                    </a:lnTo>
                    <a:lnTo>
                      <a:pt x="38" y="0"/>
                    </a:lnTo>
                    <a:lnTo>
                      <a:pt x="50" y="0"/>
                    </a:lnTo>
                    <a:lnTo>
                      <a:pt x="85" y="38"/>
                    </a:lnTo>
                    <a:lnTo>
                      <a:pt x="92" y="59"/>
                    </a:lnTo>
                    <a:lnTo>
                      <a:pt x="102" y="59"/>
                    </a:lnTo>
                    <a:lnTo>
                      <a:pt x="106" y="88"/>
                    </a:lnTo>
                    <a:lnTo>
                      <a:pt x="118" y="95"/>
                    </a:lnTo>
                    <a:lnTo>
                      <a:pt x="106" y="95"/>
                    </a:lnTo>
                    <a:lnTo>
                      <a:pt x="123" y="95"/>
                    </a:lnTo>
                    <a:lnTo>
                      <a:pt x="123" y="116"/>
                    </a:lnTo>
                    <a:lnTo>
                      <a:pt x="156" y="170"/>
                    </a:lnTo>
                    <a:lnTo>
                      <a:pt x="156" y="206"/>
                    </a:lnTo>
                    <a:lnTo>
                      <a:pt x="139" y="244"/>
                    </a:lnTo>
                    <a:lnTo>
                      <a:pt x="118" y="260"/>
                    </a:lnTo>
                    <a:lnTo>
                      <a:pt x="71" y="281"/>
                    </a:lnTo>
                    <a:lnTo>
                      <a:pt x="38" y="277"/>
                    </a:lnTo>
                    <a:lnTo>
                      <a:pt x="33" y="260"/>
                    </a:lnTo>
                    <a:lnTo>
                      <a:pt x="17" y="222"/>
                    </a:lnTo>
                    <a:lnTo>
                      <a:pt x="17" y="182"/>
                    </a:lnTo>
                    <a:lnTo>
                      <a:pt x="17" y="182"/>
                    </a:lnTo>
                    <a:lnTo>
                      <a:pt x="17" y="182"/>
                    </a:lnTo>
                    <a:close/>
                    <a:moveTo>
                      <a:pt x="17" y="5"/>
                    </a:moveTo>
                    <a:lnTo>
                      <a:pt x="28" y="17"/>
                    </a:lnTo>
                    <a:lnTo>
                      <a:pt x="17" y="5"/>
                    </a:lnTo>
                    <a:lnTo>
                      <a:pt x="17" y="5"/>
                    </a:lnTo>
                    <a:lnTo>
                      <a:pt x="17" y="5"/>
                    </a:lnTo>
                    <a:lnTo>
                      <a:pt x="17" y="5"/>
                    </a:lnTo>
                    <a:close/>
                    <a:moveTo>
                      <a:pt x="12" y="55"/>
                    </a:moveTo>
                    <a:lnTo>
                      <a:pt x="17" y="59"/>
                    </a:lnTo>
                    <a:lnTo>
                      <a:pt x="0" y="55"/>
                    </a:lnTo>
                    <a:lnTo>
                      <a:pt x="12" y="55"/>
                    </a:lnTo>
                    <a:lnTo>
                      <a:pt x="12" y="55"/>
                    </a:lnTo>
                    <a:lnTo>
                      <a:pt x="12" y="55"/>
                    </a:lnTo>
                    <a:close/>
                    <a:moveTo>
                      <a:pt x="144" y="154"/>
                    </a:moveTo>
                    <a:lnTo>
                      <a:pt x="156" y="170"/>
                    </a:lnTo>
                    <a:lnTo>
                      <a:pt x="144" y="149"/>
                    </a:lnTo>
                    <a:lnTo>
                      <a:pt x="144" y="154"/>
                    </a:lnTo>
                    <a:lnTo>
                      <a:pt x="144" y="154"/>
                    </a:lnTo>
                    <a:lnTo>
                      <a:pt x="144" y="15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38" name="Freeform 412">
                <a:extLst>
                  <a:ext uri="{FF2B5EF4-FFF2-40B4-BE49-F238E27FC236}">
                    <a16:creationId xmlns:a16="http://schemas.microsoft.com/office/drawing/2014/main" id="{5824C339-FEA9-4B7F-AF2B-97B9E40F89D7}"/>
                  </a:ext>
                </a:extLst>
              </p:cNvPr>
              <p:cNvSpPr>
                <a:spLocks/>
              </p:cNvSpPr>
              <p:nvPr/>
            </p:nvSpPr>
            <p:spPr bwMode="gray">
              <a:xfrm>
                <a:off x="6062088" y="6865733"/>
                <a:ext cx="243285" cy="293187"/>
              </a:xfrm>
              <a:custGeom>
                <a:avLst/>
                <a:gdLst>
                  <a:gd name="T0" fmla="*/ 123 w 522"/>
                  <a:gd name="T1" fmla="*/ 589 h 629"/>
                  <a:gd name="T2" fmla="*/ 107 w 522"/>
                  <a:gd name="T3" fmla="*/ 596 h 629"/>
                  <a:gd name="T4" fmla="*/ 85 w 522"/>
                  <a:gd name="T5" fmla="*/ 612 h 629"/>
                  <a:gd name="T6" fmla="*/ 59 w 522"/>
                  <a:gd name="T7" fmla="*/ 629 h 629"/>
                  <a:gd name="T8" fmla="*/ 48 w 522"/>
                  <a:gd name="T9" fmla="*/ 596 h 629"/>
                  <a:gd name="T10" fmla="*/ 5 w 522"/>
                  <a:gd name="T11" fmla="*/ 534 h 629"/>
                  <a:gd name="T12" fmla="*/ 48 w 522"/>
                  <a:gd name="T13" fmla="*/ 534 h 629"/>
                  <a:gd name="T14" fmla="*/ 52 w 522"/>
                  <a:gd name="T15" fmla="*/ 522 h 629"/>
                  <a:gd name="T16" fmla="*/ 38 w 522"/>
                  <a:gd name="T17" fmla="*/ 501 h 629"/>
                  <a:gd name="T18" fmla="*/ 38 w 522"/>
                  <a:gd name="T19" fmla="*/ 468 h 629"/>
                  <a:gd name="T20" fmla="*/ 38 w 522"/>
                  <a:gd name="T21" fmla="*/ 452 h 629"/>
                  <a:gd name="T22" fmla="*/ 48 w 522"/>
                  <a:gd name="T23" fmla="*/ 444 h 629"/>
                  <a:gd name="T24" fmla="*/ 69 w 522"/>
                  <a:gd name="T25" fmla="*/ 444 h 629"/>
                  <a:gd name="T26" fmla="*/ 90 w 522"/>
                  <a:gd name="T27" fmla="*/ 407 h 629"/>
                  <a:gd name="T28" fmla="*/ 107 w 522"/>
                  <a:gd name="T29" fmla="*/ 395 h 629"/>
                  <a:gd name="T30" fmla="*/ 128 w 522"/>
                  <a:gd name="T31" fmla="*/ 440 h 629"/>
                  <a:gd name="T32" fmla="*/ 182 w 522"/>
                  <a:gd name="T33" fmla="*/ 423 h 629"/>
                  <a:gd name="T34" fmla="*/ 211 w 522"/>
                  <a:gd name="T35" fmla="*/ 444 h 629"/>
                  <a:gd name="T36" fmla="*/ 232 w 522"/>
                  <a:gd name="T37" fmla="*/ 407 h 629"/>
                  <a:gd name="T38" fmla="*/ 232 w 522"/>
                  <a:gd name="T39" fmla="*/ 340 h 629"/>
                  <a:gd name="T40" fmla="*/ 232 w 522"/>
                  <a:gd name="T41" fmla="*/ 300 h 629"/>
                  <a:gd name="T42" fmla="*/ 211 w 522"/>
                  <a:gd name="T43" fmla="*/ 284 h 629"/>
                  <a:gd name="T44" fmla="*/ 194 w 522"/>
                  <a:gd name="T45" fmla="*/ 279 h 629"/>
                  <a:gd name="T46" fmla="*/ 211 w 522"/>
                  <a:gd name="T47" fmla="*/ 229 h 629"/>
                  <a:gd name="T48" fmla="*/ 237 w 522"/>
                  <a:gd name="T49" fmla="*/ 201 h 629"/>
                  <a:gd name="T50" fmla="*/ 182 w 522"/>
                  <a:gd name="T51" fmla="*/ 168 h 629"/>
                  <a:gd name="T52" fmla="*/ 144 w 522"/>
                  <a:gd name="T53" fmla="*/ 168 h 629"/>
                  <a:gd name="T54" fmla="*/ 156 w 522"/>
                  <a:gd name="T55" fmla="*/ 111 h 629"/>
                  <a:gd name="T56" fmla="*/ 265 w 522"/>
                  <a:gd name="T57" fmla="*/ 118 h 629"/>
                  <a:gd name="T58" fmla="*/ 345 w 522"/>
                  <a:gd name="T59" fmla="*/ 152 h 629"/>
                  <a:gd name="T60" fmla="*/ 345 w 522"/>
                  <a:gd name="T61" fmla="*/ 111 h 629"/>
                  <a:gd name="T62" fmla="*/ 378 w 522"/>
                  <a:gd name="T63" fmla="*/ 62 h 629"/>
                  <a:gd name="T64" fmla="*/ 383 w 522"/>
                  <a:gd name="T65" fmla="*/ 7 h 629"/>
                  <a:gd name="T66" fmla="*/ 447 w 522"/>
                  <a:gd name="T67" fmla="*/ 0 h 629"/>
                  <a:gd name="T68" fmla="*/ 468 w 522"/>
                  <a:gd name="T69" fmla="*/ 7 h 629"/>
                  <a:gd name="T70" fmla="*/ 492 w 522"/>
                  <a:gd name="T71" fmla="*/ 19 h 629"/>
                  <a:gd name="T72" fmla="*/ 522 w 522"/>
                  <a:gd name="T73" fmla="*/ 19 h 629"/>
                  <a:gd name="T74" fmla="*/ 485 w 522"/>
                  <a:gd name="T75" fmla="*/ 102 h 629"/>
                  <a:gd name="T76" fmla="*/ 480 w 522"/>
                  <a:gd name="T77" fmla="*/ 201 h 629"/>
                  <a:gd name="T78" fmla="*/ 463 w 522"/>
                  <a:gd name="T79" fmla="*/ 279 h 629"/>
                  <a:gd name="T80" fmla="*/ 437 w 522"/>
                  <a:gd name="T81" fmla="*/ 340 h 629"/>
                  <a:gd name="T82" fmla="*/ 378 w 522"/>
                  <a:gd name="T83" fmla="*/ 407 h 629"/>
                  <a:gd name="T84" fmla="*/ 362 w 522"/>
                  <a:gd name="T85" fmla="*/ 506 h 629"/>
                  <a:gd name="T86" fmla="*/ 307 w 522"/>
                  <a:gd name="T87" fmla="*/ 555 h 629"/>
                  <a:gd name="T88" fmla="*/ 286 w 522"/>
                  <a:gd name="T89" fmla="*/ 579 h 629"/>
                  <a:gd name="T90" fmla="*/ 248 w 522"/>
                  <a:gd name="T91" fmla="*/ 617 h 629"/>
                  <a:gd name="T92" fmla="*/ 232 w 522"/>
                  <a:gd name="T93" fmla="*/ 596 h 629"/>
                  <a:gd name="T94" fmla="*/ 232 w 522"/>
                  <a:gd name="T95" fmla="*/ 579 h 629"/>
                  <a:gd name="T96" fmla="*/ 182 w 522"/>
                  <a:gd name="T97" fmla="*/ 589 h 629"/>
                  <a:gd name="T98" fmla="*/ 166 w 522"/>
                  <a:gd name="T99" fmla="*/ 612 h 629"/>
                  <a:gd name="T100" fmla="*/ 140 w 522"/>
                  <a:gd name="T101" fmla="*/ 596 h 629"/>
                  <a:gd name="T102" fmla="*/ 140 w 522"/>
                  <a:gd name="T103" fmla="*/ 605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2" h="629">
                    <a:moveTo>
                      <a:pt x="140" y="605"/>
                    </a:moveTo>
                    <a:lnTo>
                      <a:pt x="123" y="589"/>
                    </a:lnTo>
                    <a:lnTo>
                      <a:pt x="114" y="589"/>
                    </a:lnTo>
                    <a:lnTo>
                      <a:pt x="107" y="596"/>
                    </a:lnTo>
                    <a:lnTo>
                      <a:pt x="90" y="605"/>
                    </a:lnTo>
                    <a:lnTo>
                      <a:pt x="85" y="612"/>
                    </a:lnTo>
                    <a:lnTo>
                      <a:pt x="76" y="612"/>
                    </a:lnTo>
                    <a:lnTo>
                      <a:pt x="59" y="629"/>
                    </a:lnTo>
                    <a:lnTo>
                      <a:pt x="48" y="612"/>
                    </a:lnTo>
                    <a:lnTo>
                      <a:pt x="48" y="596"/>
                    </a:lnTo>
                    <a:lnTo>
                      <a:pt x="0" y="551"/>
                    </a:lnTo>
                    <a:lnTo>
                      <a:pt x="5" y="534"/>
                    </a:lnTo>
                    <a:lnTo>
                      <a:pt x="31" y="522"/>
                    </a:lnTo>
                    <a:lnTo>
                      <a:pt x="48" y="534"/>
                    </a:lnTo>
                    <a:lnTo>
                      <a:pt x="52" y="534"/>
                    </a:lnTo>
                    <a:lnTo>
                      <a:pt x="52" y="522"/>
                    </a:lnTo>
                    <a:lnTo>
                      <a:pt x="59" y="506"/>
                    </a:lnTo>
                    <a:lnTo>
                      <a:pt x="38" y="501"/>
                    </a:lnTo>
                    <a:lnTo>
                      <a:pt x="48" y="485"/>
                    </a:lnTo>
                    <a:lnTo>
                      <a:pt x="38" y="468"/>
                    </a:lnTo>
                    <a:lnTo>
                      <a:pt x="31" y="478"/>
                    </a:lnTo>
                    <a:lnTo>
                      <a:pt x="38" y="452"/>
                    </a:lnTo>
                    <a:lnTo>
                      <a:pt x="31" y="440"/>
                    </a:lnTo>
                    <a:lnTo>
                      <a:pt x="48" y="444"/>
                    </a:lnTo>
                    <a:lnTo>
                      <a:pt x="59" y="440"/>
                    </a:lnTo>
                    <a:lnTo>
                      <a:pt x="69" y="444"/>
                    </a:lnTo>
                    <a:lnTo>
                      <a:pt x="90" y="440"/>
                    </a:lnTo>
                    <a:lnTo>
                      <a:pt x="90" y="407"/>
                    </a:lnTo>
                    <a:lnTo>
                      <a:pt x="102" y="407"/>
                    </a:lnTo>
                    <a:lnTo>
                      <a:pt x="107" y="395"/>
                    </a:lnTo>
                    <a:lnTo>
                      <a:pt x="123" y="407"/>
                    </a:lnTo>
                    <a:lnTo>
                      <a:pt x="128" y="440"/>
                    </a:lnTo>
                    <a:lnTo>
                      <a:pt x="166" y="444"/>
                    </a:lnTo>
                    <a:lnTo>
                      <a:pt x="182" y="423"/>
                    </a:lnTo>
                    <a:lnTo>
                      <a:pt x="194" y="444"/>
                    </a:lnTo>
                    <a:lnTo>
                      <a:pt x="211" y="444"/>
                    </a:lnTo>
                    <a:lnTo>
                      <a:pt x="220" y="411"/>
                    </a:lnTo>
                    <a:lnTo>
                      <a:pt x="232" y="407"/>
                    </a:lnTo>
                    <a:lnTo>
                      <a:pt x="237" y="357"/>
                    </a:lnTo>
                    <a:lnTo>
                      <a:pt x="232" y="340"/>
                    </a:lnTo>
                    <a:lnTo>
                      <a:pt x="237" y="312"/>
                    </a:lnTo>
                    <a:lnTo>
                      <a:pt x="232" y="300"/>
                    </a:lnTo>
                    <a:lnTo>
                      <a:pt x="215" y="300"/>
                    </a:lnTo>
                    <a:lnTo>
                      <a:pt x="211" y="284"/>
                    </a:lnTo>
                    <a:lnTo>
                      <a:pt x="194" y="284"/>
                    </a:lnTo>
                    <a:lnTo>
                      <a:pt x="194" y="279"/>
                    </a:lnTo>
                    <a:lnTo>
                      <a:pt x="199" y="246"/>
                    </a:lnTo>
                    <a:lnTo>
                      <a:pt x="211" y="229"/>
                    </a:lnTo>
                    <a:lnTo>
                      <a:pt x="220" y="222"/>
                    </a:lnTo>
                    <a:lnTo>
                      <a:pt x="237" y="201"/>
                    </a:lnTo>
                    <a:lnTo>
                      <a:pt x="215" y="168"/>
                    </a:lnTo>
                    <a:lnTo>
                      <a:pt x="182" y="168"/>
                    </a:lnTo>
                    <a:lnTo>
                      <a:pt x="144" y="185"/>
                    </a:lnTo>
                    <a:lnTo>
                      <a:pt x="144" y="168"/>
                    </a:lnTo>
                    <a:lnTo>
                      <a:pt x="140" y="147"/>
                    </a:lnTo>
                    <a:lnTo>
                      <a:pt x="156" y="111"/>
                    </a:lnTo>
                    <a:lnTo>
                      <a:pt x="237" y="111"/>
                    </a:lnTo>
                    <a:lnTo>
                      <a:pt x="265" y="118"/>
                    </a:lnTo>
                    <a:lnTo>
                      <a:pt x="324" y="128"/>
                    </a:lnTo>
                    <a:lnTo>
                      <a:pt x="345" y="152"/>
                    </a:lnTo>
                    <a:lnTo>
                      <a:pt x="355" y="147"/>
                    </a:lnTo>
                    <a:lnTo>
                      <a:pt x="345" y="111"/>
                    </a:lnTo>
                    <a:lnTo>
                      <a:pt x="355" y="102"/>
                    </a:lnTo>
                    <a:lnTo>
                      <a:pt x="378" y="62"/>
                    </a:lnTo>
                    <a:lnTo>
                      <a:pt x="378" y="41"/>
                    </a:lnTo>
                    <a:lnTo>
                      <a:pt x="383" y="7"/>
                    </a:lnTo>
                    <a:lnTo>
                      <a:pt x="437" y="7"/>
                    </a:lnTo>
                    <a:lnTo>
                      <a:pt x="447" y="0"/>
                    </a:lnTo>
                    <a:lnTo>
                      <a:pt x="468" y="7"/>
                    </a:lnTo>
                    <a:lnTo>
                      <a:pt x="468" y="7"/>
                    </a:lnTo>
                    <a:lnTo>
                      <a:pt x="492" y="7"/>
                    </a:lnTo>
                    <a:lnTo>
                      <a:pt x="492" y="19"/>
                    </a:lnTo>
                    <a:lnTo>
                      <a:pt x="518" y="0"/>
                    </a:lnTo>
                    <a:lnTo>
                      <a:pt x="522" y="19"/>
                    </a:lnTo>
                    <a:lnTo>
                      <a:pt x="522" y="41"/>
                    </a:lnTo>
                    <a:lnTo>
                      <a:pt x="485" y="102"/>
                    </a:lnTo>
                    <a:lnTo>
                      <a:pt x="485" y="156"/>
                    </a:lnTo>
                    <a:lnTo>
                      <a:pt x="480" y="201"/>
                    </a:lnTo>
                    <a:lnTo>
                      <a:pt x="480" y="239"/>
                    </a:lnTo>
                    <a:lnTo>
                      <a:pt x="463" y="279"/>
                    </a:lnTo>
                    <a:lnTo>
                      <a:pt x="463" y="312"/>
                    </a:lnTo>
                    <a:lnTo>
                      <a:pt x="437" y="340"/>
                    </a:lnTo>
                    <a:lnTo>
                      <a:pt x="400" y="357"/>
                    </a:lnTo>
                    <a:lnTo>
                      <a:pt x="378" y="407"/>
                    </a:lnTo>
                    <a:lnTo>
                      <a:pt x="355" y="423"/>
                    </a:lnTo>
                    <a:lnTo>
                      <a:pt x="362" y="506"/>
                    </a:lnTo>
                    <a:lnTo>
                      <a:pt x="329" y="551"/>
                    </a:lnTo>
                    <a:lnTo>
                      <a:pt x="307" y="555"/>
                    </a:lnTo>
                    <a:lnTo>
                      <a:pt x="307" y="572"/>
                    </a:lnTo>
                    <a:lnTo>
                      <a:pt x="286" y="579"/>
                    </a:lnTo>
                    <a:lnTo>
                      <a:pt x="265" y="612"/>
                    </a:lnTo>
                    <a:lnTo>
                      <a:pt x="248" y="617"/>
                    </a:lnTo>
                    <a:lnTo>
                      <a:pt x="232" y="617"/>
                    </a:lnTo>
                    <a:lnTo>
                      <a:pt x="232" y="596"/>
                    </a:lnTo>
                    <a:lnTo>
                      <a:pt x="237" y="589"/>
                    </a:lnTo>
                    <a:lnTo>
                      <a:pt x="232" y="579"/>
                    </a:lnTo>
                    <a:lnTo>
                      <a:pt x="199" y="589"/>
                    </a:lnTo>
                    <a:lnTo>
                      <a:pt x="182" y="589"/>
                    </a:lnTo>
                    <a:lnTo>
                      <a:pt x="182" y="612"/>
                    </a:lnTo>
                    <a:lnTo>
                      <a:pt x="166" y="612"/>
                    </a:lnTo>
                    <a:lnTo>
                      <a:pt x="161" y="617"/>
                    </a:lnTo>
                    <a:lnTo>
                      <a:pt x="140" y="596"/>
                    </a:lnTo>
                    <a:lnTo>
                      <a:pt x="140" y="605"/>
                    </a:lnTo>
                    <a:lnTo>
                      <a:pt x="140" y="605"/>
                    </a:lnTo>
                    <a:lnTo>
                      <a:pt x="140" y="60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39" name="Freeform 413">
                <a:extLst>
                  <a:ext uri="{FF2B5EF4-FFF2-40B4-BE49-F238E27FC236}">
                    <a16:creationId xmlns:a16="http://schemas.microsoft.com/office/drawing/2014/main" id="{D4267B76-16D0-48C6-AAEE-D7750FB664C6}"/>
                  </a:ext>
                </a:extLst>
              </p:cNvPr>
              <p:cNvSpPr>
                <a:spLocks noEditPoints="1"/>
              </p:cNvSpPr>
              <p:nvPr/>
            </p:nvSpPr>
            <p:spPr bwMode="gray">
              <a:xfrm>
                <a:off x="6097509" y="6808867"/>
                <a:ext cx="626389" cy="636248"/>
              </a:xfrm>
              <a:custGeom>
                <a:avLst/>
                <a:gdLst>
                  <a:gd name="T0" fmla="*/ 38 w 1344"/>
                  <a:gd name="T1" fmla="*/ 819 h 1365"/>
                  <a:gd name="T2" fmla="*/ 28 w 1344"/>
                  <a:gd name="T3" fmla="*/ 748 h 1365"/>
                  <a:gd name="T4" fmla="*/ 87 w 1344"/>
                  <a:gd name="T5" fmla="*/ 737 h 1365"/>
                  <a:gd name="T6" fmla="*/ 125 w 1344"/>
                  <a:gd name="T7" fmla="*/ 708 h 1365"/>
                  <a:gd name="T8" fmla="*/ 158 w 1344"/>
                  <a:gd name="T9" fmla="*/ 737 h 1365"/>
                  <a:gd name="T10" fmla="*/ 234 w 1344"/>
                  <a:gd name="T11" fmla="*/ 692 h 1365"/>
                  <a:gd name="T12" fmla="*/ 281 w 1344"/>
                  <a:gd name="T13" fmla="*/ 543 h 1365"/>
                  <a:gd name="T14" fmla="*/ 390 w 1344"/>
                  <a:gd name="T15" fmla="*/ 432 h 1365"/>
                  <a:gd name="T16" fmla="*/ 411 w 1344"/>
                  <a:gd name="T17" fmla="*/ 276 h 1365"/>
                  <a:gd name="T18" fmla="*/ 458 w 1344"/>
                  <a:gd name="T19" fmla="*/ 99 h 1365"/>
                  <a:gd name="T20" fmla="*/ 503 w 1344"/>
                  <a:gd name="T21" fmla="*/ 16 h 1365"/>
                  <a:gd name="T22" fmla="*/ 588 w 1344"/>
                  <a:gd name="T23" fmla="*/ 70 h 1365"/>
                  <a:gd name="T24" fmla="*/ 713 w 1344"/>
                  <a:gd name="T25" fmla="*/ 87 h 1365"/>
                  <a:gd name="T26" fmla="*/ 751 w 1344"/>
                  <a:gd name="T27" fmla="*/ 44 h 1365"/>
                  <a:gd name="T28" fmla="*/ 857 w 1344"/>
                  <a:gd name="T29" fmla="*/ 16 h 1365"/>
                  <a:gd name="T30" fmla="*/ 933 w 1344"/>
                  <a:gd name="T31" fmla="*/ 0 h 1365"/>
                  <a:gd name="T32" fmla="*/ 1020 w 1344"/>
                  <a:gd name="T33" fmla="*/ 16 h 1365"/>
                  <a:gd name="T34" fmla="*/ 1091 w 1344"/>
                  <a:gd name="T35" fmla="*/ 44 h 1365"/>
                  <a:gd name="T36" fmla="*/ 1198 w 1344"/>
                  <a:gd name="T37" fmla="*/ 70 h 1365"/>
                  <a:gd name="T38" fmla="*/ 1235 w 1344"/>
                  <a:gd name="T39" fmla="*/ 70 h 1365"/>
                  <a:gd name="T40" fmla="*/ 1290 w 1344"/>
                  <a:gd name="T41" fmla="*/ 127 h 1365"/>
                  <a:gd name="T42" fmla="*/ 1311 w 1344"/>
                  <a:gd name="T43" fmla="*/ 144 h 1365"/>
                  <a:gd name="T44" fmla="*/ 1311 w 1344"/>
                  <a:gd name="T45" fmla="*/ 214 h 1365"/>
                  <a:gd name="T46" fmla="*/ 1268 w 1344"/>
                  <a:gd name="T47" fmla="*/ 304 h 1365"/>
                  <a:gd name="T48" fmla="*/ 1231 w 1344"/>
                  <a:gd name="T49" fmla="*/ 382 h 1365"/>
                  <a:gd name="T50" fmla="*/ 1188 w 1344"/>
                  <a:gd name="T51" fmla="*/ 526 h 1365"/>
                  <a:gd name="T52" fmla="*/ 1181 w 1344"/>
                  <a:gd name="T53" fmla="*/ 588 h 1365"/>
                  <a:gd name="T54" fmla="*/ 1205 w 1344"/>
                  <a:gd name="T55" fmla="*/ 682 h 1365"/>
                  <a:gd name="T56" fmla="*/ 1214 w 1344"/>
                  <a:gd name="T57" fmla="*/ 819 h 1365"/>
                  <a:gd name="T58" fmla="*/ 1273 w 1344"/>
                  <a:gd name="T59" fmla="*/ 904 h 1365"/>
                  <a:gd name="T60" fmla="*/ 1167 w 1344"/>
                  <a:gd name="T61" fmla="*/ 1025 h 1365"/>
                  <a:gd name="T62" fmla="*/ 1150 w 1344"/>
                  <a:gd name="T63" fmla="*/ 1126 h 1365"/>
                  <a:gd name="T64" fmla="*/ 1143 w 1344"/>
                  <a:gd name="T65" fmla="*/ 1247 h 1365"/>
                  <a:gd name="T66" fmla="*/ 1214 w 1344"/>
                  <a:gd name="T67" fmla="*/ 1287 h 1365"/>
                  <a:gd name="T68" fmla="*/ 1219 w 1344"/>
                  <a:gd name="T69" fmla="*/ 1358 h 1365"/>
                  <a:gd name="T70" fmla="*/ 1181 w 1344"/>
                  <a:gd name="T71" fmla="*/ 1358 h 1365"/>
                  <a:gd name="T72" fmla="*/ 1096 w 1344"/>
                  <a:gd name="T73" fmla="*/ 1280 h 1365"/>
                  <a:gd name="T74" fmla="*/ 1053 w 1344"/>
                  <a:gd name="T75" fmla="*/ 1225 h 1365"/>
                  <a:gd name="T76" fmla="*/ 966 w 1344"/>
                  <a:gd name="T77" fmla="*/ 1247 h 1365"/>
                  <a:gd name="T78" fmla="*/ 881 w 1344"/>
                  <a:gd name="T79" fmla="*/ 1209 h 1365"/>
                  <a:gd name="T80" fmla="*/ 827 w 1344"/>
                  <a:gd name="T81" fmla="*/ 1176 h 1365"/>
                  <a:gd name="T82" fmla="*/ 730 w 1344"/>
                  <a:gd name="T83" fmla="*/ 1181 h 1365"/>
                  <a:gd name="T84" fmla="*/ 713 w 1344"/>
                  <a:gd name="T85" fmla="*/ 1136 h 1365"/>
                  <a:gd name="T86" fmla="*/ 680 w 1344"/>
                  <a:gd name="T87" fmla="*/ 1003 h 1365"/>
                  <a:gd name="T88" fmla="*/ 588 w 1344"/>
                  <a:gd name="T89" fmla="*/ 914 h 1365"/>
                  <a:gd name="T90" fmla="*/ 520 w 1344"/>
                  <a:gd name="T91" fmla="*/ 892 h 1365"/>
                  <a:gd name="T92" fmla="*/ 444 w 1344"/>
                  <a:gd name="T93" fmla="*/ 959 h 1365"/>
                  <a:gd name="T94" fmla="*/ 406 w 1344"/>
                  <a:gd name="T95" fmla="*/ 970 h 1365"/>
                  <a:gd name="T96" fmla="*/ 319 w 1344"/>
                  <a:gd name="T97" fmla="*/ 848 h 1365"/>
                  <a:gd name="T98" fmla="*/ 272 w 1344"/>
                  <a:gd name="T99" fmla="*/ 810 h 1365"/>
                  <a:gd name="T100" fmla="*/ 54 w 1344"/>
                  <a:gd name="T101" fmla="*/ 810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4" h="1365">
                    <a:moveTo>
                      <a:pt x="272" y="810"/>
                    </a:moveTo>
                    <a:lnTo>
                      <a:pt x="71" y="810"/>
                    </a:lnTo>
                    <a:lnTo>
                      <a:pt x="50" y="810"/>
                    </a:lnTo>
                    <a:lnTo>
                      <a:pt x="38" y="819"/>
                    </a:lnTo>
                    <a:lnTo>
                      <a:pt x="16" y="819"/>
                    </a:lnTo>
                    <a:lnTo>
                      <a:pt x="0" y="803"/>
                    </a:lnTo>
                    <a:lnTo>
                      <a:pt x="28" y="803"/>
                    </a:lnTo>
                    <a:lnTo>
                      <a:pt x="28" y="748"/>
                    </a:lnTo>
                    <a:lnTo>
                      <a:pt x="50" y="732"/>
                    </a:lnTo>
                    <a:lnTo>
                      <a:pt x="66" y="725"/>
                    </a:lnTo>
                    <a:lnTo>
                      <a:pt x="66" y="715"/>
                    </a:lnTo>
                    <a:lnTo>
                      <a:pt x="87" y="737"/>
                    </a:lnTo>
                    <a:lnTo>
                      <a:pt x="92" y="732"/>
                    </a:lnTo>
                    <a:lnTo>
                      <a:pt x="109" y="732"/>
                    </a:lnTo>
                    <a:lnTo>
                      <a:pt x="109" y="708"/>
                    </a:lnTo>
                    <a:lnTo>
                      <a:pt x="125" y="708"/>
                    </a:lnTo>
                    <a:lnTo>
                      <a:pt x="158" y="699"/>
                    </a:lnTo>
                    <a:lnTo>
                      <a:pt x="163" y="708"/>
                    </a:lnTo>
                    <a:lnTo>
                      <a:pt x="158" y="715"/>
                    </a:lnTo>
                    <a:lnTo>
                      <a:pt x="158" y="737"/>
                    </a:lnTo>
                    <a:lnTo>
                      <a:pt x="172" y="737"/>
                    </a:lnTo>
                    <a:lnTo>
                      <a:pt x="189" y="732"/>
                    </a:lnTo>
                    <a:lnTo>
                      <a:pt x="210" y="699"/>
                    </a:lnTo>
                    <a:lnTo>
                      <a:pt x="234" y="692"/>
                    </a:lnTo>
                    <a:lnTo>
                      <a:pt x="234" y="675"/>
                    </a:lnTo>
                    <a:lnTo>
                      <a:pt x="255" y="670"/>
                    </a:lnTo>
                    <a:lnTo>
                      <a:pt x="286" y="625"/>
                    </a:lnTo>
                    <a:lnTo>
                      <a:pt x="281" y="543"/>
                    </a:lnTo>
                    <a:lnTo>
                      <a:pt x="302" y="526"/>
                    </a:lnTo>
                    <a:lnTo>
                      <a:pt x="324" y="477"/>
                    </a:lnTo>
                    <a:lnTo>
                      <a:pt x="361" y="460"/>
                    </a:lnTo>
                    <a:lnTo>
                      <a:pt x="390" y="432"/>
                    </a:lnTo>
                    <a:lnTo>
                      <a:pt x="390" y="399"/>
                    </a:lnTo>
                    <a:lnTo>
                      <a:pt x="406" y="359"/>
                    </a:lnTo>
                    <a:lnTo>
                      <a:pt x="406" y="321"/>
                    </a:lnTo>
                    <a:lnTo>
                      <a:pt x="411" y="276"/>
                    </a:lnTo>
                    <a:lnTo>
                      <a:pt x="411" y="222"/>
                    </a:lnTo>
                    <a:lnTo>
                      <a:pt x="449" y="160"/>
                    </a:lnTo>
                    <a:lnTo>
                      <a:pt x="449" y="139"/>
                    </a:lnTo>
                    <a:lnTo>
                      <a:pt x="458" y="99"/>
                    </a:lnTo>
                    <a:lnTo>
                      <a:pt x="449" y="70"/>
                    </a:lnTo>
                    <a:lnTo>
                      <a:pt x="458" y="70"/>
                    </a:lnTo>
                    <a:lnTo>
                      <a:pt x="482" y="33"/>
                    </a:lnTo>
                    <a:lnTo>
                      <a:pt x="503" y="16"/>
                    </a:lnTo>
                    <a:lnTo>
                      <a:pt x="534" y="16"/>
                    </a:lnTo>
                    <a:lnTo>
                      <a:pt x="572" y="44"/>
                    </a:lnTo>
                    <a:lnTo>
                      <a:pt x="583" y="54"/>
                    </a:lnTo>
                    <a:lnTo>
                      <a:pt x="588" y="70"/>
                    </a:lnTo>
                    <a:lnTo>
                      <a:pt x="621" y="66"/>
                    </a:lnTo>
                    <a:lnTo>
                      <a:pt x="638" y="82"/>
                    </a:lnTo>
                    <a:lnTo>
                      <a:pt x="676" y="82"/>
                    </a:lnTo>
                    <a:lnTo>
                      <a:pt x="713" y="87"/>
                    </a:lnTo>
                    <a:lnTo>
                      <a:pt x="730" y="82"/>
                    </a:lnTo>
                    <a:lnTo>
                      <a:pt x="730" y="66"/>
                    </a:lnTo>
                    <a:lnTo>
                      <a:pt x="735" y="66"/>
                    </a:lnTo>
                    <a:lnTo>
                      <a:pt x="751" y="44"/>
                    </a:lnTo>
                    <a:lnTo>
                      <a:pt x="789" y="54"/>
                    </a:lnTo>
                    <a:lnTo>
                      <a:pt x="798" y="49"/>
                    </a:lnTo>
                    <a:lnTo>
                      <a:pt x="857" y="28"/>
                    </a:lnTo>
                    <a:lnTo>
                      <a:pt x="857" y="16"/>
                    </a:lnTo>
                    <a:lnTo>
                      <a:pt x="881" y="33"/>
                    </a:lnTo>
                    <a:lnTo>
                      <a:pt x="919" y="28"/>
                    </a:lnTo>
                    <a:lnTo>
                      <a:pt x="928" y="0"/>
                    </a:lnTo>
                    <a:lnTo>
                      <a:pt x="933" y="0"/>
                    </a:lnTo>
                    <a:lnTo>
                      <a:pt x="966" y="11"/>
                    </a:lnTo>
                    <a:lnTo>
                      <a:pt x="983" y="11"/>
                    </a:lnTo>
                    <a:lnTo>
                      <a:pt x="1004" y="28"/>
                    </a:lnTo>
                    <a:lnTo>
                      <a:pt x="1020" y="16"/>
                    </a:lnTo>
                    <a:lnTo>
                      <a:pt x="1025" y="28"/>
                    </a:lnTo>
                    <a:lnTo>
                      <a:pt x="1042" y="11"/>
                    </a:lnTo>
                    <a:lnTo>
                      <a:pt x="1075" y="28"/>
                    </a:lnTo>
                    <a:lnTo>
                      <a:pt x="1091" y="44"/>
                    </a:lnTo>
                    <a:lnTo>
                      <a:pt x="1096" y="54"/>
                    </a:lnTo>
                    <a:lnTo>
                      <a:pt x="1134" y="82"/>
                    </a:lnTo>
                    <a:lnTo>
                      <a:pt x="1167" y="54"/>
                    </a:lnTo>
                    <a:lnTo>
                      <a:pt x="1198" y="70"/>
                    </a:lnTo>
                    <a:lnTo>
                      <a:pt x="1214" y="49"/>
                    </a:lnTo>
                    <a:lnTo>
                      <a:pt x="1219" y="49"/>
                    </a:lnTo>
                    <a:lnTo>
                      <a:pt x="1235" y="54"/>
                    </a:lnTo>
                    <a:lnTo>
                      <a:pt x="1235" y="70"/>
                    </a:lnTo>
                    <a:lnTo>
                      <a:pt x="1257" y="87"/>
                    </a:lnTo>
                    <a:lnTo>
                      <a:pt x="1268" y="103"/>
                    </a:lnTo>
                    <a:lnTo>
                      <a:pt x="1290" y="103"/>
                    </a:lnTo>
                    <a:lnTo>
                      <a:pt x="1290" y="127"/>
                    </a:lnTo>
                    <a:lnTo>
                      <a:pt x="1306" y="120"/>
                    </a:lnTo>
                    <a:lnTo>
                      <a:pt x="1311" y="139"/>
                    </a:lnTo>
                    <a:lnTo>
                      <a:pt x="1311" y="139"/>
                    </a:lnTo>
                    <a:lnTo>
                      <a:pt x="1311" y="144"/>
                    </a:lnTo>
                    <a:lnTo>
                      <a:pt x="1306" y="165"/>
                    </a:lnTo>
                    <a:lnTo>
                      <a:pt x="1311" y="181"/>
                    </a:lnTo>
                    <a:lnTo>
                      <a:pt x="1294" y="210"/>
                    </a:lnTo>
                    <a:lnTo>
                      <a:pt x="1311" y="214"/>
                    </a:lnTo>
                    <a:lnTo>
                      <a:pt x="1323" y="214"/>
                    </a:lnTo>
                    <a:lnTo>
                      <a:pt x="1344" y="231"/>
                    </a:lnTo>
                    <a:lnTo>
                      <a:pt x="1285" y="304"/>
                    </a:lnTo>
                    <a:lnTo>
                      <a:pt x="1268" y="304"/>
                    </a:lnTo>
                    <a:lnTo>
                      <a:pt x="1257" y="321"/>
                    </a:lnTo>
                    <a:lnTo>
                      <a:pt x="1242" y="325"/>
                    </a:lnTo>
                    <a:lnTo>
                      <a:pt x="1242" y="349"/>
                    </a:lnTo>
                    <a:lnTo>
                      <a:pt x="1231" y="382"/>
                    </a:lnTo>
                    <a:lnTo>
                      <a:pt x="1219" y="453"/>
                    </a:lnTo>
                    <a:lnTo>
                      <a:pt x="1219" y="486"/>
                    </a:lnTo>
                    <a:lnTo>
                      <a:pt x="1198" y="505"/>
                    </a:lnTo>
                    <a:lnTo>
                      <a:pt x="1188" y="526"/>
                    </a:lnTo>
                    <a:lnTo>
                      <a:pt x="1188" y="548"/>
                    </a:lnTo>
                    <a:lnTo>
                      <a:pt x="1167" y="559"/>
                    </a:lnTo>
                    <a:lnTo>
                      <a:pt x="1176" y="581"/>
                    </a:lnTo>
                    <a:lnTo>
                      <a:pt x="1181" y="588"/>
                    </a:lnTo>
                    <a:lnTo>
                      <a:pt x="1181" y="588"/>
                    </a:lnTo>
                    <a:lnTo>
                      <a:pt x="1198" y="604"/>
                    </a:lnTo>
                    <a:lnTo>
                      <a:pt x="1198" y="670"/>
                    </a:lnTo>
                    <a:lnTo>
                      <a:pt x="1205" y="682"/>
                    </a:lnTo>
                    <a:lnTo>
                      <a:pt x="1205" y="708"/>
                    </a:lnTo>
                    <a:lnTo>
                      <a:pt x="1205" y="748"/>
                    </a:lnTo>
                    <a:lnTo>
                      <a:pt x="1219" y="803"/>
                    </a:lnTo>
                    <a:lnTo>
                      <a:pt x="1214" y="819"/>
                    </a:lnTo>
                    <a:lnTo>
                      <a:pt x="1219" y="843"/>
                    </a:lnTo>
                    <a:lnTo>
                      <a:pt x="1231" y="864"/>
                    </a:lnTo>
                    <a:lnTo>
                      <a:pt x="1252" y="881"/>
                    </a:lnTo>
                    <a:lnTo>
                      <a:pt x="1273" y="904"/>
                    </a:lnTo>
                    <a:lnTo>
                      <a:pt x="1306" y="975"/>
                    </a:lnTo>
                    <a:lnTo>
                      <a:pt x="1176" y="1003"/>
                    </a:lnTo>
                    <a:lnTo>
                      <a:pt x="1176" y="1015"/>
                    </a:lnTo>
                    <a:lnTo>
                      <a:pt x="1167" y="1025"/>
                    </a:lnTo>
                    <a:lnTo>
                      <a:pt x="1134" y="1058"/>
                    </a:lnTo>
                    <a:lnTo>
                      <a:pt x="1143" y="1065"/>
                    </a:lnTo>
                    <a:lnTo>
                      <a:pt x="1160" y="1098"/>
                    </a:lnTo>
                    <a:lnTo>
                      <a:pt x="1150" y="1126"/>
                    </a:lnTo>
                    <a:lnTo>
                      <a:pt x="1160" y="1159"/>
                    </a:lnTo>
                    <a:lnTo>
                      <a:pt x="1150" y="1176"/>
                    </a:lnTo>
                    <a:lnTo>
                      <a:pt x="1134" y="1225"/>
                    </a:lnTo>
                    <a:lnTo>
                      <a:pt x="1143" y="1247"/>
                    </a:lnTo>
                    <a:lnTo>
                      <a:pt x="1167" y="1263"/>
                    </a:lnTo>
                    <a:lnTo>
                      <a:pt x="1181" y="1287"/>
                    </a:lnTo>
                    <a:lnTo>
                      <a:pt x="1198" y="1287"/>
                    </a:lnTo>
                    <a:lnTo>
                      <a:pt x="1214" y="1287"/>
                    </a:lnTo>
                    <a:lnTo>
                      <a:pt x="1214" y="1270"/>
                    </a:lnTo>
                    <a:lnTo>
                      <a:pt x="1235" y="1270"/>
                    </a:lnTo>
                    <a:lnTo>
                      <a:pt x="1235" y="1365"/>
                    </a:lnTo>
                    <a:lnTo>
                      <a:pt x="1219" y="1358"/>
                    </a:lnTo>
                    <a:lnTo>
                      <a:pt x="1231" y="1346"/>
                    </a:lnTo>
                    <a:lnTo>
                      <a:pt x="1219" y="1346"/>
                    </a:lnTo>
                    <a:lnTo>
                      <a:pt x="1188" y="1358"/>
                    </a:lnTo>
                    <a:lnTo>
                      <a:pt x="1181" y="1358"/>
                    </a:lnTo>
                    <a:lnTo>
                      <a:pt x="1160" y="1325"/>
                    </a:lnTo>
                    <a:lnTo>
                      <a:pt x="1150" y="1320"/>
                    </a:lnTo>
                    <a:lnTo>
                      <a:pt x="1143" y="1292"/>
                    </a:lnTo>
                    <a:lnTo>
                      <a:pt x="1096" y="1280"/>
                    </a:lnTo>
                    <a:lnTo>
                      <a:pt x="1079" y="1280"/>
                    </a:lnTo>
                    <a:lnTo>
                      <a:pt x="1075" y="1254"/>
                    </a:lnTo>
                    <a:lnTo>
                      <a:pt x="1058" y="1237"/>
                    </a:lnTo>
                    <a:lnTo>
                      <a:pt x="1053" y="1225"/>
                    </a:lnTo>
                    <a:lnTo>
                      <a:pt x="1042" y="1230"/>
                    </a:lnTo>
                    <a:lnTo>
                      <a:pt x="1037" y="1247"/>
                    </a:lnTo>
                    <a:lnTo>
                      <a:pt x="1025" y="1254"/>
                    </a:lnTo>
                    <a:lnTo>
                      <a:pt x="966" y="1247"/>
                    </a:lnTo>
                    <a:lnTo>
                      <a:pt x="928" y="1230"/>
                    </a:lnTo>
                    <a:lnTo>
                      <a:pt x="919" y="1209"/>
                    </a:lnTo>
                    <a:lnTo>
                      <a:pt x="919" y="1197"/>
                    </a:lnTo>
                    <a:lnTo>
                      <a:pt x="881" y="1209"/>
                    </a:lnTo>
                    <a:lnTo>
                      <a:pt x="857" y="1214"/>
                    </a:lnTo>
                    <a:lnTo>
                      <a:pt x="853" y="1209"/>
                    </a:lnTo>
                    <a:lnTo>
                      <a:pt x="857" y="1192"/>
                    </a:lnTo>
                    <a:lnTo>
                      <a:pt x="827" y="1176"/>
                    </a:lnTo>
                    <a:lnTo>
                      <a:pt x="820" y="1181"/>
                    </a:lnTo>
                    <a:lnTo>
                      <a:pt x="789" y="1181"/>
                    </a:lnTo>
                    <a:lnTo>
                      <a:pt x="768" y="1192"/>
                    </a:lnTo>
                    <a:lnTo>
                      <a:pt x="730" y="1181"/>
                    </a:lnTo>
                    <a:lnTo>
                      <a:pt x="702" y="1197"/>
                    </a:lnTo>
                    <a:lnTo>
                      <a:pt x="702" y="1176"/>
                    </a:lnTo>
                    <a:lnTo>
                      <a:pt x="713" y="1169"/>
                    </a:lnTo>
                    <a:lnTo>
                      <a:pt x="713" y="1136"/>
                    </a:lnTo>
                    <a:lnTo>
                      <a:pt x="697" y="1103"/>
                    </a:lnTo>
                    <a:lnTo>
                      <a:pt x="680" y="1086"/>
                    </a:lnTo>
                    <a:lnTo>
                      <a:pt x="676" y="1065"/>
                    </a:lnTo>
                    <a:lnTo>
                      <a:pt x="680" y="1003"/>
                    </a:lnTo>
                    <a:lnTo>
                      <a:pt x="676" y="959"/>
                    </a:lnTo>
                    <a:lnTo>
                      <a:pt x="680" y="930"/>
                    </a:lnTo>
                    <a:lnTo>
                      <a:pt x="676" y="914"/>
                    </a:lnTo>
                    <a:lnTo>
                      <a:pt x="588" y="914"/>
                    </a:lnTo>
                    <a:lnTo>
                      <a:pt x="595" y="892"/>
                    </a:lnTo>
                    <a:lnTo>
                      <a:pt x="572" y="892"/>
                    </a:lnTo>
                    <a:lnTo>
                      <a:pt x="572" y="892"/>
                    </a:lnTo>
                    <a:lnTo>
                      <a:pt x="520" y="892"/>
                    </a:lnTo>
                    <a:lnTo>
                      <a:pt x="520" y="930"/>
                    </a:lnTo>
                    <a:lnTo>
                      <a:pt x="503" y="937"/>
                    </a:lnTo>
                    <a:lnTo>
                      <a:pt x="503" y="959"/>
                    </a:lnTo>
                    <a:lnTo>
                      <a:pt x="444" y="959"/>
                    </a:lnTo>
                    <a:lnTo>
                      <a:pt x="444" y="959"/>
                    </a:lnTo>
                    <a:lnTo>
                      <a:pt x="416" y="970"/>
                    </a:lnTo>
                    <a:lnTo>
                      <a:pt x="416" y="970"/>
                    </a:lnTo>
                    <a:lnTo>
                      <a:pt x="406" y="970"/>
                    </a:lnTo>
                    <a:lnTo>
                      <a:pt x="378" y="970"/>
                    </a:lnTo>
                    <a:lnTo>
                      <a:pt x="335" y="904"/>
                    </a:lnTo>
                    <a:lnTo>
                      <a:pt x="335" y="892"/>
                    </a:lnTo>
                    <a:lnTo>
                      <a:pt x="319" y="848"/>
                    </a:lnTo>
                    <a:lnTo>
                      <a:pt x="319" y="836"/>
                    </a:lnTo>
                    <a:lnTo>
                      <a:pt x="307" y="819"/>
                    </a:lnTo>
                    <a:lnTo>
                      <a:pt x="272" y="810"/>
                    </a:lnTo>
                    <a:lnTo>
                      <a:pt x="272" y="810"/>
                    </a:lnTo>
                    <a:lnTo>
                      <a:pt x="272" y="810"/>
                    </a:lnTo>
                    <a:close/>
                    <a:moveTo>
                      <a:pt x="38" y="819"/>
                    </a:moveTo>
                    <a:lnTo>
                      <a:pt x="50" y="810"/>
                    </a:lnTo>
                    <a:lnTo>
                      <a:pt x="54" y="810"/>
                    </a:lnTo>
                    <a:lnTo>
                      <a:pt x="38" y="819"/>
                    </a:lnTo>
                    <a:lnTo>
                      <a:pt x="38" y="819"/>
                    </a:lnTo>
                    <a:lnTo>
                      <a:pt x="38" y="81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40" name="Freeform 416">
                <a:extLst>
                  <a:ext uri="{FF2B5EF4-FFF2-40B4-BE49-F238E27FC236}">
                    <a16:creationId xmlns:a16="http://schemas.microsoft.com/office/drawing/2014/main" id="{3879B0FB-DFAF-4533-B7D0-57E831FC182B}"/>
                  </a:ext>
                </a:extLst>
              </p:cNvPr>
              <p:cNvSpPr>
                <a:spLocks/>
              </p:cNvSpPr>
              <p:nvPr/>
            </p:nvSpPr>
            <p:spPr bwMode="gray">
              <a:xfrm>
                <a:off x="5976332" y="6548774"/>
                <a:ext cx="251208" cy="387808"/>
              </a:xfrm>
              <a:custGeom>
                <a:avLst/>
                <a:gdLst>
                  <a:gd name="T0" fmla="*/ 21 w 539"/>
                  <a:gd name="T1" fmla="*/ 572 h 832"/>
                  <a:gd name="T2" fmla="*/ 26 w 539"/>
                  <a:gd name="T3" fmla="*/ 522 h 832"/>
                  <a:gd name="T4" fmla="*/ 80 w 539"/>
                  <a:gd name="T5" fmla="*/ 477 h 832"/>
                  <a:gd name="T6" fmla="*/ 97 w 539"/>
                  <a:gd name="T7" fmla="*/ 461 h 832"/>
                  <a:gd name="T8" fmla="*/ 123 w 539"/>
                  <a:gd name="T9" fmla="*/ 449 h 832"/>
                  <a:gd name="T10" fmla="*/ 144 w 539"/>
                  <a:gd name="T11" fmla="*/ 437 h 832"/>
                  <a:gd name="T12" fmla="*/ 182 w 539"/>
                  <a:gd name="T13" fmla="*/ 482 h 832"/>
                  <a:gd name="T14" fmla="*/ 215 w 539"/>
                  <a:gd name="T15" fmla="*/ 465 h 832"/>
                  <a:gd name="T16" fmla="*/ 236 w 539"/>
                  <a:gd name="T17" fmla="*/ 437 h 832"/>
                  <a:gd name="T18" fmla="*/ 232 w 539"/>
                  <a:gd name="T19" fmla="*/ 421 h 832"/>
                  <a:gd name="T20" fmla="*/ 243 w 539"/>
                  <a:gd name="T21" fmla="*/ 387 h 832"/>
                  <a:gd name="T22" fmla="*/ 258 w 539"/>
                  <a:gd name="T23" fmla="*/ 338 h 832"/>
                  <a:gd name="T24" fmla="*/ 274 w 539"/>
                  <a:gd name="T25" fmla="*/ 326 h 832"/>
                  <a:gd name="T26" fmla="*/ 295 w 539"/>
                  <a:gd name="T27" fmla="*/ 317 h 832"/>
                  <a:gd name="T28" fmla="*/ 328 w 539"/>
                  <a:gd name="T29" fmla="*/ 255 h 832"/>
                  <a:gd name="T30" fmla="*/ 345 w 539"/>
                  <a:gd name="T31" fmla="*/ 215 h 832"/>
                  <a:gd name="T32" fmla="*/ 366 w 539"/>
                  <a:gd name="T33" fmla="*/ 149 h 832"/>
                  <a:gd name="T34" fmla="*/ 399 w 539"/>
                  <a:gd name="T35" fmla="*/ 132 h 832"/>
                  <a:gd name="T36" fmla="*/ 432 w 539"/>
                  <a:gd name="T37" fmla="*/ 95 h 832"/>
                  <a:gd name="T38" fmla="*/ 421 w 539"/>
                  <a:gd name="T39" fmla="*/ 54 h 832"/>
                  <a:gd name="T40" fmla="*/ 395 w 539"/>
                  <a:gd name="T41" fmla="*/ 0 h 832"/>
                  <a:gd name="T42" fmla="*/ 421 w 539"/>
                  <a:gd name="T43" fmla="*/ 21 h 832"/>
                  <a:gd name="T44" fmla="*/ 449 w 539"/>
                  <a:gd name="T45" fmla="*/ 71 h 832"/>
                  <a:gd name="T46" fmla="*/ 458 w 539"/>
                  <a:gd name="T47" fmla="*/ 116 h 832"/>
                  <a:gd name="T48" fmla="*/ 458 w 539"/>
                  <a:gd name="T49" fmla="*/ 165 h 832"/>
                  <a:gd name="T50" fmla="*/ 508 w 539"/>
                  <a:gd name="T51" fmla="*/ 227 h 832"/>
                  <a:gd name="T52" fmla="*/ 399 w 539"/>
                  <a:gd name="T53" fmla="*/ 227 h 832"/>
                  <a:gd name="T54" fmla="*/ 404 w 539"/>
                  <a:gd name="T55" fmla="*/ 281 h 832"/>
                  <a:gd name="T56" fmla="*/ 491 w 539"/>
                  <a:gd name="T57" fmla="*/ 383 h 832"/>
                  <a:gd name="T58" fmla="*/ 491 w 539"/>
                  <a:gd name="T59" fmla="*/ 404 h 832"/>
                  <a:gd name="T60" fmla="*/ 449 w 539"/>
                  <a:gd name="T61" fmla="*/ 494 h 832"/>
                  <a:gd name="T62" fmla="*/ 421 w 539"/>
                  <a:gd name="T63" fmla="*/ 522 h 832"/>
                  <a:gd name="T64" fmla="*/ 432 w 539"/>
                  <a:gd name="T65" fmla="*/ 548 h 832"/>
                  <a:gd name="T66" fmla="*/ 432 w 539"/>
                  <a:gd name="T67" fmla="*/ 572 h 832"/>
                  <a:gd name="T68" fmla="*/ 458 w 539"/>
                  <a:gd name="T69" fmla="*/ 631 h 832"/>
                  <a:gd name="T70" fmla="*/ 458 w 539"/>
                  <a:gd name="T71" fmla="*/ 659 h 832"/>
                  <a:gd name="T72" fmla="*/ 529 w 539"/>
                  <a:gd name="T73" fmla="*/ 737 h 832"/>
                  <a:gd name="T74" fmla="*/ 539 w 539"/>
                  <a:gd name="T75" fmla="*/ 782 h 832"/>
                  <a:gd name="T76" fmla="*/ 539 w 539"/>
                  <a:gd name="T77" fmla="*/ 827 h 832"/>
                  <a:gd name="T78" fmla="*/ 508 w 539"/>
                  <a:gd name="T79" fmla="*/ 810 h 832"/>
                  <a:gd name="T80" fmla="*/ 421 w 539"/>
                  <a:gd name="T81" fmla="*/ 794 h 832"/>
                  <a:gd name="T82" fmla="*/ 328 w 539"/>
                  <a:gd name="T83" fmla="*/ 782 h 832"/>
                  <a:gd name="T84" fmla="*/ 269 w 539"/>
                  <a:gd name="T85" fmla="*/ 782 h 832"/>
                  <a:gd name="T86" fmla="*/ 199 w 539"/>
                  <a:gd name="T87" fmla="*/ 794 h 832"/>
                  <a:gd name="T88" fmla="*/ 90 w 539"/>
                  <a:gd name="T89" fmla="*/ 777 h 832"/>
                  <a:gd name="T90" fmla="*/ 97 w 539"/>
                  <a:gd name="T91" fmla="*/ 716 h 832"/>
                  <a:gd name="T92" fmla="*/ 90 w 539"/>
                  <a:gd name="T93" fmla="*/ 687 h 832"/>
                  <a:gd name="T94" fmla="*/ 76 w 539"/>
                  <a:gd name="T95" fmla="*/ 671 h 832"/>
                  <a:gd name="T96" fmla="*/ 69 w 539"/>
                  <a:gd name="T97" fmla="*/ 650 h 832"/>
                  <a:gd name="T98" fmla="*/ 69 w 539"/>
                  <a:gd name="T99" fmla="*/ 666 h 832"/>
                  <a:gd name="T100" fmla="*/ 26 w 539"/>
                  <a:gd name="T101" fmla="*/ 614 h 832"/>
                  <a:gd name="T102" fmla="*/ 26 w 539"/>
                  <a:gd name="T103" fmla="*/ 614 h 832"/>
                  <a:gd name="T104" fmla="*/ 14 w 539"/>
                  <a:gd name="T105" fmla="*/ 626 h 832"/>
                  <a:gd name="T106" fmla="*/ 5 w 539"/>
                  <a:gd name="T107" fmla="*/ 605 h 832"/>
                  <a:gd name="T108" fmla="*/ 5 w 539"/>
                  <a:gd name="T109" fmla="*/ 605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9" h="832">
                    <a:moveTo>
                      <a:pt x="5" y="605"/>
                    </a:moveTo>
                    <a:lnTo>
                      <a:pt x="21" y="572"/>
                    </a:lnTo>
                    <a:lnTo>
                      <a:pt x="26" y="548"/>
                    </a:lnTo>
                    <a:lnTo>
                      <a:pt x="26" y="522"/>
                    </a:lnTo>
                    <a:lnTo>
                      <a:pt x="59" y="494"/>
                    </a:lnTo>
                    <a:lnTo>
                      <a:pt x="80" y="477"/>
                    </a:lnTo>
                    <a:lnTo>
                      <a:pt x="90" y="461"/>
                    </a:lnTo>
                    <a:lnTo>
                      <a:pt x="97" y="461"/>
                    </a:lnTo>
                    <a:lnTo>
                      <a:pt x="113" y="444"/>
                    </a:lnTo>
                    <a:lnTo>
                      <a:pt x="123" y="449"/>
                    </a:lnTo>
                    <a:lnTo>
                      <a:pt x="144" y="449"/>
                    </a:lnTo>
                    <a:lnTo>
                      <a:pt x="144" y="437"/>
                    </a:lnTo>
                    <a:lnTo>
                      <a:pt x="182" y="461"/>
                    </a:lnTo>
                    <a:lnTo>
                      <a:pt x="182" y="482"/>
                    </a:lnTo>
                    <a:lnTo>
                      <a:pt x="199" y="482"/>
                    </a:lnTo>
                    <a:lnTo>
                      <a:pt x="215" y="465"/>
                    </a:lnTo>
                    <a:lnTo>
                      <a:pt x="215" y="449"/>
                    </a:lnTo>
                    <a:lnTo>
                      <a:pt x="236" y="437"/>
                    </a:lnTo>
                    <a:lnTo>
                      <a:pt x="232" y="421"/>
                    </a:lnTo>
                    <a:lnTo>
                      <a:pt x="232" y="421"/>
                    </a:lnTo>
                    <a:lnTo>
                      <a:pt x="243" y="404"/>
                    </a:lnTo>
                    <a:lnTo>
                      <a:pt x="243" y="387"/>
                    </a:lnTo>
                    <a:lnTo>
                      <a:pt x="258" y="371"/>
                    </a:lnTo>
                    <a:lnTo>
                      <a:pt x="258" y="338"/>
                    </a:lnTo>
                    <a:lnTo>
                      <a:pt x="274" y="333"/>
                    </a:lnTo>
                    <a:lnTo>
                      <a:pt x="274" y="326"/>
                    </a:lnTo>
                    <a:lnTo>
                      <a:pt x="291" y="326"/>
                    </a:lnTo>
                    <a:lnTo>
                      <a:pt x="295" y="317"/>
                    </a:lnTo>
                    <a:lnTo>
                      <a:pt x="307" y="272"/>
                    </a:lnTo>
                    <a:lnTo>
                      <a:pt x="328" y="255"/>
                    </a:lnTo>
                    <a:lnTo>
                      <a:pt x="340" y="222"/>
                    </a:lnTo>
                    <a:lnTo>
                      <a:pt x="345" y="215"/>
                    </a:lnTo>
                    <a:lnTo>
                      <a:pt x="350" y="182"/>
                    </a:lnTo>
                    <a:lnTo>
                      <a:pt x="366" y="149"/>
                    </a:lnTo>
                    <a:lnTo>
                      <a:pt x="383" y="132"/>
                    </a:lnTo>
                    <a:lnTo>
                      <a:pt x="399" y="132"/>
                    </a:lnTo>
                    <a:lnTo>
                      <a:pt x="432" y="111"/>
                    </a:lnTo>
                    <a:lnTo>
                      <a:pt x="432" y="95"/>
                    </a:lnTo>
                    <a:lnTo>
                      <a:pt x="432" y="59"/>
                    </a:lnTo>
                    <a:lnTo>
                      <a:pt x="421" y="54"/>
                    </a:lnTo>
                    <a:lnTo>
                      <a:pt x="399" y="50"/>
                    </a:lnTo>
                    <a:lnTo>
                      <a:pt x="395" y="0"/>
                    </a:lnTo>
                    <a:lnTo>
                      <a:pt x="416" y="0"/>
                    </a:lnTo>
                    <a:lnTo>
                      <a:pt x="421" y="21"/>
                    </a:lnTo>
                    <a:lnTo>
                      <a:pt x="449" y="33"/>
                    </a:lnTo>
                    <a:lnTo>
                      <a:pt x="449" y="71"/>
                    </a:lnTo>
                    <a:lnTo>
                      <a:pt x="458" y="71"/>
                    </a:lnTo>
                    <a:lnTo>
                      <a:pt x="458" y="116"/>
                    </a:lnTo>
                    <a:lnTo>
                      <a:pt x="458" y="132"/>
                    </a:lnTo>
                    <a:lnTo>
                      <a:pt x="458" y="165"/>
                    </a:lnTo>
                    <a:lnTo>
                      <a:pt x="487" y="206"/>
                    </a:lnTo>
                    <a:lnTo>
                      <a:pt x="508" y="227"/>
                    </a:lnTo>
                    <a:lnTo>
                      <a:pt x="437" y="227"/>
                    </a:lnTo>
                    <a:lnTo>
                      <a:pt x="399" y="227"/>
                    </a:lnTo>
                    <a:lnTo>
                      <a:pt x="383" y="255"/>
                    </a:lnTo>
                    <a:lnTo>
                      <a:pt x="404" y="281"/>
                    </a:lnTo>
                    <a:lnTo>
                      <a:pt x="470" y="333"/>
                    </a:lnTo>
                    <a:lnTo>
                      <a:pt x="491" y="383"/>
                    </a:lnTo>
                    <a:lnTo>
                      <a:pt x="501" y="387"/>
                    </a:lnTo>
                    <a:lnTo>
                      <a:pt x="491" y="404"/>
                    </a:lnTo>
                    <a:lnTo>
                      <a:pt x="470" y="428"/>
                    </a:lnTo>
                    <a:lnTo>
                      <a:pt x="449" y="494"/>
                    </a:lnTo>
                    <a:lnTo>
                      <a:pt x="416" y="515"/>
                    </a:lnTo>
                    <a:lnTo>
                      <a:pt x="421" y="522"/>
                    </a:lnTo>
                    <a:lnTo>
                      <a:pt x="432" y="522"/>
                    </a:lnTo>
                    <a:lnTo>
                      <a:pt x="432" y="548"/>
                    </a:lnTo>
                    <a:lnTo>
                      <a:pt x="421" y="560"/>
                    </a:lnTo>
                    <a:lnTo>
                      <a:pt x="432" y="572"/>
                    </a:lnTo>
                    <a:lnTo>
                      <a:pt x="437" y="614"/>
                    </a:lnTo>
                    <a:lnTo>
                      <a:pt x="458" y="631"/>
                    </a:lnTo>
                    <a:lnTo>
                      <a:pt x="470" y="659"/>
                    </a:lnTo>
                    <a:lnTo>
                      <a:pt x="458" y="659"/>
                    </a:lnTo>
                    <a:lnTo>
                      <a:pt x="475" y="683"/>
                    </a:lnTo>
                    <a:lnTo>
                      <a:pt x="529" y="737"/>
                    </a:lnTo>
                    <a:lnTo>
                      <a:pt x="529" y="770"/>
                    </a:lnTo>
                    <a:lnTo>
                      <a:pt x="539" y="782"/>
                    </a:lnTo>
                    <a:lnTo>
                      <a:pt x="529" y="794"/>
                    </a:lnTo>
                    <a:lnTo>
                      <a:pt x="539" y="827"/>
                    </a:lnTo>
                    <a:lnTo>
                      <a:pt x="529" y="832"/>
                    </a:lnTo>
                    <a:lnTo>
                      <a:pt x="508" y="810"/>
                    </a:lnTo>
                    <a:lnTo>
                      <a:pt x="449" y="798"/>
                    </a:lnTo>
                    <a:lnTo>
                      <a:pt x="421" y="794"/>
                    </a:lnTo>
                    <a:lnTo>
                      <a:pt x="340" y="794"/>
                    </a:lnTo>
                    <a:lnTo>
                      <a:pt x="328" y="782"/>
                    </a:lnTo>
                    <a:lnTo>
                      <a:pt x="295" y="782"/>
                    </a:lnTo>
                    <a:lnTo>
                      <a:pt x="269" y="782"/>
                    </a:lnTo>
                    <a:lnTo>
                      <a:pt x="199" y="782"/>
                    </a:lnTo>
                    <a:lnTo>
                      <a:pt x="199" y="794"/>
                    </a:lnTo>
                    <a:lnTo>
                      <a:pt x="106" y="794"/>
                    </a:lnTo>
                    <a:lnTo>
                      <a:pt x="90" y="777"/>
                    </a:lnTo>
                    <a:lnTo>
                      <a:pt x="106" y="725"/>
                    </a:lnTo>
                    <a:lnTo>
                      <a:pt x="97" y="716"/>
                    </a:lnTo>
                    <a:lnTo>
                      <a:pt x="80" y="687"/>
                    </a:lnTo>
                    <a:lnTo>
                      <a:pt x="90" y="687"/>
                    </a:lnTo>
                    <a:lnTo>
                      <a:pt x="80" y="687"/>
                    </a:lnTo>
                    <a:lnTo>
                      <a:pt x="76" y="671"/>
                    </a:lnTo>
                    <a:lnTo>
                      <a:pt x="80" y="666"/>
                    </a:lnTo>
                    <a:lnTo>
                      <a:pt x="69" y="650"/>
                    </a:lnTo>
                    <a:lnTo>
                      <a:pt x="76" y="659"/>
                    </a:lnTo>
                    <a:lnTo>
                      <a:pt x="69" y="666"/>
                    </a:lnTo>
                    <a:lnTo>
                      <a:pt x="38" y="650"/>
                    </a:lnTo>
                    <a:lnTo>
                      <a:pt x="26" y="614"/>
                    </a:lnTo>
                    <a:lnTo>
                      <a:pt x="21" y="609"/>
                    </a:lnTo>
                    <a:lnTo>
                      <a:pt x="26" y="614"/>
                    </a:lnTo>
                    <a:lnTo>
                      <a:pt x="14" y="609"/>
                    </a:lnTo>
                    <a:lnTo>
                      <a:pt x="14" y="626"/>
                    </a:lnTo>
                    <a:lnTo>
                      <a:pt x="0" y="614"/>
                    </a:lnTo>
                    <a:lnTo>
                      <a:pt x="5" y="605"/>
                    </a:lnTo>
                    <a:lnTo>
                      <a:pt x="5" y="605"/>
                    </a:lnTo>
                    <a:lnTo>
                      <a:pt x="5" y="60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42" name="Freeform 421">
                <a:extLst>
                  <a:ext uri="{FF2B5EF4-FFF2-40B4-BE49-F238E27FC236}">
                    <a16:creationId xmlns:a16="http://schemas.microsoft.com/office/drawing/2014/main" id="{C29E4AE2-99C0-4D89-A07A-963E8D352818}"/>
                  </a:ext>
                </a:extLst>
              </p:cNvPr>
              <p:cNvSpPr>
                <a:spLocks/>
              </p:cNvSpPr>
              <p:nvPr/>
            </p:nvSpPr>
            <p:spPr bwMode="gray">
              <a:xfrm>
                <a:off x="6170215" y="6618225"/>
                <a:ext cx="426914" cy="294119"/>
              </a:xfrm>
              <a:custGeom>
                <a:avLst/>
                <a:gdLst>
                  <a:gd name="T0" fmla="*/ 416 w 916"/>
                  <a:gd name="T1" fmla="*/ 453 h 631"/>
                  <a:gd name="T2" fmla="*/ 345 w 916"/>
                  <a:gd name="T3" fmla="*/ 427 h 631"/>
                  <a:gd name="T4" fmla="*/ 302 w 916"/>
                  <a:gd name="T5" fmla="*/ 482 h 631"/>
                  <a:gd name="T6" fmla="*/ 302 w 916"/>
                  <a:gd name="T7" fmla="*/ 510 h 631"/>
                  <a:gd name="T8" fmla="*/ 286 w 916"/>
                  <a:gd name="T9" fmla="*/ 531 h 631"/>
                  <a:gd name="T10" fmla="*/ 260 w 916"/>
                  <a:gd name="T11" fmla="*/ 536 h 631"/>
                  <a:gd name="T12" fmla="*/ 236 w 916"/>
                  <a:gd name="T13" fmla="*/ 536 h 631"/>
                  <a:gd name="T14" fmla="*/ 205 w 916"/>
                  <a:gd name="T15" fmla="*/ 536 h 631"/>
                  <a:gd name="T16" fmla="*/ 144 w 916"/>
                  <a:gd name="T17" fmla="*/ 572 h 631"/>
                  <a:gd name="T18" fmla="*/ 123 w 916"/>
                  <a:gd name="T19" fmla="*/ 631 h 631"/>
                  <a:gd name="T20" fmla="*/ 113 w 916"/>
                  <a:gd name="T21" fmla="*/ 588 h 631"/>
                  <a:gd name="T22" fmla="*/ 42 w 916"/>
                  <a:gd name="T23" fmla="*/ 510 h 631"/>
                  <a:gd name="T24" fmla="*/ 42 w 916"/>
                  <a:gd name="T25" fmla="*/ 482 h 631"/>
                  <a:gd name="T26" fmla="*/ 16 w 916"/>
                  <a:gd name="T27" fmla="*/ 420 h 631"/>
                  <a:gd name="T28" fmla="*/ 16 w 916"/>
                  <a:gd name="T29" fmla="*/ 399 h 631"/>
                  <a:gd name="T30" fmla="*/ 5 w 916"/>
                  <a:gd name="T31" fmla="*/ 371 h 631"/>
                  <a:gd name="T32" fmla="*/ 31 w 916"/>
                  <a:gd name="T33" fmla="*/ 342 h 631"/>
                  <a:gd name="T34" fmla="*/ 75 w 916"/>
                  <a:gd name="T35" fmla="*/ 255 h 631"/>
                  <a:gd name="T36" fmla="*/ 139 w 916"/>
                  <a:gd name="T37" fmla="*/ 243 h 631"/>
                  <a:gd name="T38" fmla="*/ 151 w 916"/>
                  <a:gd name="T39" fmla="*/ 238 h 631"/>
                  <a:gd name="T40" fmla="*/ 220 w 916"/>
                  <a:gd name="T41" fmla="*/ 222 h 631"/>
                  <a:gd name="T42" fmla="*/ 328 w 916"/>
                  <a:gd name="T43" fmla="*/ 177 h 631"/>
                  <a:gd name="T44" fmla="*/ 323 w 916"/>
                  <a:gd name="T45" fmla="*/ 149 h 631"/>
                  <a:gd name="T46" fmla="*/ 394 w 916"/>
                  <a:gd name="T47" fmla="*/ 132 h 631"/>
                  <a:gd name="T48" fmla="*/ 425 w 916"/>
                  <a:gd name="T49" fmla="*/ 127 h 631"/>
                  <a:gd name="T50" fmla="*/ 479 w 916"/>
                  <a:gd name="T51" fmla="*/ 78 h 631"/>
                  <a:gd name="T52" fmla="*/ 501 w 916"/>
                  <a:gd name="T53" fmla="*/ 66 h 631"/>
                  <a:gd name="T54" fmla="*/ 508 w 916"/>
                  <a:gd name="T55" fmla="*/ 33 h 631"/>
                  <a:gd name="T56" fmla="*/ 593 w 916"/>
                  <a:gd name="T57" fmla="*/ 12 h 631"/>
                  <a:gd name="T58" fmla="*/ 647 w 916"/>
                  <a:gd name="T59" fmla="*/ 90 h 631"/>
                  <a:gd name="T60" fmla="*/ 642 w 916"/>
                  <a:gd name="T61" fmla="*/ 132 h 631"/>
                  <a:gd name="T62" fmla="*/ 642 w 916"/>
                  <a:gd name="T63" fmla="*/ 149 h 631"/>
                  <a:gd name="T64" fmla="*/ 685 w 916"/>
                  <a:gd name="T65" fmla="*/ 168 h 631"/>
                  <a:gd name="T66" fmla="*/ 685 w 916"/>
                  <a:gd name="T67" fmla="*/ 184 h 631"/>
                  <a:gd name="T68" fmla="*/ 723 w 916"/>
                  <a:gd name="T69" fmla="*/ 205 h 631"/>
                  <a:gd name="T70" fmla="*/ 760 w 916"/>
                  <a:gd name="T71" fmla="*/ 234 h 631"/>
                  <a:gd name="T72" fmla="*/ 756 w 916"/>
                  <a:gd name="T73" fmla="*/ 255 h 631"/>
                  <a:gd name="T74" fmla="*/ 810 w 916"/>
                  <a:gd name="T75" fmla="*/ 293 h 631"/>
                  <a:gd name="T76" fmla="*/ 841 w 916"/>
                  <a:gd name="T77" fmla="*/ 316 h 631"/>
                  <a:gd name="T78" fmla="*/ 848 w 916"/>
                  <a:gd name="T79" fmla="*/ 349 h 631"/>
                  <a:gd name="T80" fmla="*/ 869 w 916"/>
                  <a:gd name="T81" fmla="*/ 366 h 631"/>
                  <a:gd name="T82" fmla="*/ 902 w 916"/>
                  <a:gd name="T83" fmla="*/ 399 h 631"/>
                  <a:gd name="T84" fmla="*/ 916 w 916"/>
                  <a:gd name="T85" fmla="*/ 437 h 631"/>
                  <a:gd name="T86" fmla="*/ 869 w 916"/>
                  <a:gd name="T87" fmla="*/ 437 h 631"/>
                  <a:gd name="T88" fmla="*/ 848 w 916"/>
                  <a:gd name="T89" fmla="*/ 437 h 631"/>
                  <a:gd name="T90" fmla="*/ 810 w 916"/>
                  <a:gd name="T91" fmla="*/ 420 h 631"/>
                  <a:gd name="T92" fmla="*/ 772 w 916"/>
                  <a:gd name="T93" fmla="*/ 411 h 631"/>
                  <a:gd name="T94" fmla="*/ 723 w 916"/>
                  <a:gd name="T95" fmla="*/ 444 h 631"/>
                  <a:gd name="T96" fmla="*/ 701 w 916"/>
                  <a:gd name="T97" fmla="*/ 437 h 631"/>
                  <a:gd name="T98" fmla="*/ 631 w 916"/>
                  <a:gd name="T99" fmla="*/ 465 h 631"/>
                  <a:gd name="T100" fmla="*/ 576 w 916"/>
                  <a:gd name="T101" fmla="*/ 477 h 631"/>
                  <a:gd name="T102" fmla="*/ 572 w 916"/>
                  <a:gd name="T103" fmla="*/ 494 h 631"/>
                  <a:gd name="T104" fmla="*/ 517 w 916"/>
                  <a:gd name="T105" fmla="*/ 494 h 631"/>
                  <a:gd name="T106" fmla="*/ 463 w 916"/>
                  <a:gd name="T107" fmla="*/ 477 h 631"/>
                  <a:gd name="T108" fmla="*/ 425 w 916"/>
                  <a:gd name="T109" fmla="*/ 465 h 631"/>
                  <a:gd name="T110" fmla="*/ 425 w 916"/>
                  <a:gd name="T111" fmla="*/ 465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16" h="631">
                    <a:moveTo>
                      <a:pt x="425" y="465"/>
                    </a:moveTo>
                    <a:lnTo>
                      <a:pt x="416" y="453"/>
                    </a:lnTo>
                    <a:lnTo>
                      <a:pt x="378" y="427"/>
                    </a:lnTo>
                    <a:lnTo>
                      <a:pt x="345" y="427"/>
                    </a:lnTo>
                    <a:lnTo>
                      <a:pt x="323" y="444"/>
                    </a:lnTo>
                    <a:lnTo>
                      <a:pt x="302" y="482"/>
                    </a:lnTo>
                    <a:lnTo>
                      <a:pt x="290" y="482"/>
                    </a:lnTo>
                    <a:lnTo>
                      <a:pt x="302" y="510"/>
                    </a:lnTo>
                    <a:lnTo>
                      <a:pt x="290" y="548"/>
                    </a:lnTo>
                    <a:lnTo>
                      <a:pt x="286" y="531"/>
                    </a:lnTo>
                    <a:lnTo>
                      <a:pt x="260" y="548"/>
                    </a:lnTo>
                    <a:lnTo>
                      <a:pt x="260" y="536"/>
                    </a:lnTo>
                    <a:lnTo>
                      <a:pt x="236" y="536"/>
                    </a:lnTo>
                    <a:lnTo>
                      <a:pt x="236" y="536"/>
                    </a:lnTo>
                    <a:lnTo>
                      <a:pt x="215" y="531"/>
                    </a:lnTo>
                    <a:lnTo>
                      <a:pt x="205" y="536"/>
                    </a:lnTo>
                    <a:lnTo>
                      <a:pt x="151" y="536"/>
                    </a:lnTo>
                    <a:lnTo>
                      <a:pt x="144" y="572"/>
                    </a:lnTo>
                    <a:lnTo>
                      <a:pt x="144" y="593"/>
                    </a:lnTo>
                    <a:lnTo>
                      <a:pt x="123" y="631"/>
                    </a:lnTo>
                    <a:lnTo>
                      <a:pt x="113" y="621"/>
                    </a:lnTo>
                    <a:lnTo>
                      <a:pt x="113" y="588"/>
                    </a:lnTo>
                    <a:lnTo>
                      <a:pt x="59" y="531"/>
                    </a:lnTo>
                    <a:lnTo>
                      <a:pt x="42" y="510"/>
                    </a:lnTo>
                    <a:lnTo>
                      <a:pt x="54" y="510"/>
                    </a:lnTo>
                    <a:lnTo>
                      <a:pt x="42" y="482"/>
                    </a:lnTo>
                    <a:lnTo>
                      <a:pt x="21" y="465"/>
                    </a:lnTo>
                    <a:lnTo>
                      <a:pt x="16" y="420"/>
                    </a:lnTo>
                    <a:lnTo>
                      <a:pt x="5" y="411"/>
                    </a:lnTo>
                    <a:lnTo>
                      <a:pt x="16" y="399"/>
                    </a:lnTo>
                    <a:lnTo>
                      <a:pt x="16" y="371"/>
                    </a:lnTo>
                    <a:lnTo>
                      <a:pt x="5" y="371"/>
                    </a:lnTo>
                    <a:lnTo>
                      <a:pt x="0" y="366"/>
                    </a:lnTo>
                    <a:lnTo>
                      <a:pt x="31" y="342"/>
                    </a:lnTo>
                    <a:lnTo>
                      <a:pt x="54" y="276"/>
                    </a:lnTo>
                    <a:lnTo>
                      <a:pt x="75" y="255"/>
                    </a:lnTo>
                    <a:lnTo>
                      <a:pt x="106" y="255"/>
                    </a:lnTo>
                    <a:lnTo>
                      <a:pt x="139" y="243"/>
                    </a:lnTo>
                    <a:lnTo>
                      <a:pt x="151" y="234"/>
                    </a:lnTo>
                    <a:lnTo>
                      <a:pt x="151" y="238"/>
                    </a:lnTo>
                    <a:lnTo>
                      <a:pt x="168" y="255"/>
                    </a:lnTo>
                    <a:lnTo>
                      <a:pt x="220" y="222"/>
                    </a:lnTo>
                    <a:lnTo>
                      <a:pt x="290" y="217"/>
                    </a:lnTo>
                    <a:lnTo>
                      <a:pt x="328" y="177"/>
                    </a:lnTo>
                    <a:lnTo>
                      <a:pt x="312" y="160"/>
                    </a:lnTo>
                    <a:lnTo>
                      <a:pt x="323" y="149"/>
                    </a:lnTo>
                    <a:lnTo>
                      <a:pt x="383" y="144"/>
                    </a:lnTo>
                    <a:lnTo>
                      <a:pt x="394" y="132"/>
                    </a:lnTo>
                    <a:lnTo>
                      <a:pt x="416" y="144"/>
                    </a:lnTo>
                    <a:lnTo>
                      <a:pt x="425" y="127"/>
                    </a:lnTo>
                    <a:lnTo>
                      <a:pt x="449" y="123"/>
                    </a:lnTo>
                    <a:lnTo>
                      <a:pt x="479" y="78"/>
                    </a:lnTo>
                    <a:lnTo>
                      <a:pt x="486" y="78"/>
                    </a:lnTo>
                    <a:lnTo>
                      <a:pt x="501" y="66"/>
                    </a:lnTo>
                    <a:lnTo>
                      <a:pt x="508" y="57"/>
                    </a:lnTo>
                    <a:lnTo>
                      <a:pt x="508" y="33"/>
                    </a:lnTo>
                    <a:lnTo>
                      <a:pt x="562" y="0"/>
                    </a:lnTo>
                    <a:lnTo>
                      <a:pt x="593" y="12"/>
                    </a:lnTo>
                    <a:lnTo>
                      <a:pt x="626" y="40"/>
                    </a:lnTo>
                    <a:lnTo>
                      <a:pt x="647" y="90"/>
                    </a:lnTo>
                    <a:lnTo>
                      <a:pt x="647" y="127"/>
                    </a:lnTo>
                    <a:lnTo>
                      <a:pt x="642" y="132"/>
                    </a:lnTo>
                    <a:lnTo>
                      <a:pt x="631" y="144"/>
                    </a:lnTo>
                    <a:lnTo>
                      <a:pt x="642" y="149"/>
                    </a:lnTo>
                    <a:lnTo>
                      <a:pt x="642" y="168"/>
                    </a:lnTo>
                    <a:lnTo>
                      <a:pt x="685" y="168"/>
                    </a:lnTo>
                    <a:lnTo>
                      <a:pt x="697" y="177"/>
                    </a:lnTo>
                    <a:lnTo>
                      <a:pt x="685" y="184"/>
                    </a:lnTo>
                    <a:lnTo>
                      <a:pt x="685" y="201"/>
                    </a:lnTo>
                    <a:lnTo>
                      <a:pt x="723" y="205"/>
                    </a:lnTo>
                    <a:lnTo>
                      <a:pt x="751" y="234"/>
                    </a:lnTo>
                    <a:lnTo>
                      <a:pt x="760" y="234"/>
                    </a:lnTo>
                    <a:lnTo>
                      <a:pt x="760" y="243"/>
                    </a:lnTo>
                    <a:lnTo>
                      <a:pt x="756" y="255"/>
                    </a:lnTo>
                    <a:lnTo>
                      <a:pt x="756" y="255"/>
                    </a:lnTo>
                    <a:lnTo>
                      <a:pt x="810" y="293"/>
                    </a:lnTo>
                    <a:lnTo>
                      <a:pt x="815" y="300"/>
                    </a:lnTo>
                    <a:lnTo>
                      <a:pt x="841" y="316"/>
                    </a:lnTo>
                    <a:lnTo>
                      <a:pt x="831" y="333"/>
                    </a:lnTo>
                    <a:lnTo>
                      <a:pt x="848" y="349"/>
                    </a:lnTo>
                    <a:lnTo>
                      <a:pt x="841" y="354"/>
                    </a:lnTo>
                    <a:lnTo>
                      <a:pt x="869" y="366"/>
                    </a:lnTo>
                    <a:lnTo>
                      <a:pt x="895" y="383"/>
                    </a:lnTo>
                    <a:lnTo>
                      <a:pt x="902" y="399"/>
                    </a:lnTo>
                    <a:lnTo>
                      <a:pt x="902" y="411"/>
                    </a:lnTo>
                    <a:lnTo>
                      <a:pt x="916" y="437"/>
                    </a:lnTo>
                    <a:lnTo>
                      <a:pt x="886" y="420"/>
                    </a:lnTo>
                    <a:lnTo>
                      <a:pt x="869" y="437"/>
                    </a:lnTo>
                    <a:lnTo>
                      <a:pt x="864" y="427"/>
                    </a:lnTo>
                    <a:lnTo>
                      <a:pt x="848" y="437"/>
                    </a:lnTo>
                    <a:lnTo>
                      <a:pt x="827" y="420"/>
                    </a:lnTo>
                    <a:lnTo>
                      <a:pt x="810" y="420"/>
                    </a:lnTo>
                    <a:lnTo>
                      <a:pt x="777" y="411"/>
                    </a:lnTo>
                    <a:lnTo>
                      <a:pt x="772" y="411"/>
                    </a:lnTo>
                    <a:lnTo>
                      <a:pt x="760" y="437"/>
                    </a:lnTo>
                    <a:lnTo>
                      <a:pt x="723" y="444"/>
                    </a:lnTo>
                    <a:lnTo>
                      <a:pt x="701" y="427"/>
                    </a:lnTo>
                    <a:lnTo>
                      <a:pt x="701" y="437"/>
                    </a:lnTo>
                    <a:lnTo>
                      <a:pt x="642" y="460"/>
                    </a:lnTo>
                    <a:lnTo>
                      <a:pt x="631" y="465"/>
                    </a:lnTo>
                    <a:lnTo>
                      <a:pt x="593" y="453"/>
                    </a:lnTo>
                    <a:lnTo>
                      <a:pt x="576" y="477"/>
                    </a:lnTo>
                    <a:lnTo>
                      <a:pt x="572" y="477"/>
                    </a:lnTo>
                    <a:lnTo>
                      <a:pt x="572" y="494"/>
                    </a:lnTo>
                    <a:lnTo>
                      <a:pt x="555" y="498"/>
                    </a:lnTo>
                    <a:lnTo>
                      <a:pt x="517" y="494"/>
                    </a:lnTo>
                    <a:lnTo>
                      <a:pt x="479" y="494"/>
                    </a:lnTo>
                    <a:lnTo>
                      <a:pt x="463" y="477"/>
                    </a:lnTo>
                    <a:lnTo>
                      <a:pt x="432" y="482"/>
                    </a:lnTo>
                    <a:lnTo>
                      <a:pt x="425" y="465"/>
                    </a:lnTo>
                    <a:lnTo>
                      <a:pt x="425" y="465"/>
                    </a:lnTo>
                    <a:lnTo>
                      <a:pt x="425" y="46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44" name="Freeform 424">
                <a:extLst>
                  <a:ext uri="{FF2B5EF4-FFF2-40B4-BE49-F238E27FC236}">
                    <a16:creationId xmlns:a16="http://schemas.microsoft.com/office/drawing/2014/main" id="{0E4AF358-74B5-4C6D-803A-5E2321BB683B}"/>
                  </a:ext>
                </a:extLst>
              </p:cNvPr>
              <p:cNvSpPr>
                <a:spLocks/>
              </p:cNvSpPr>
              <p:nvPr/>
            </p:nvSpPr>
            <p:spPr bwMode="gray">
              <a:xfrm>
                <a:off x="6751396" y="5738666"/>
                <a:ext cx="75037" cy="41486"/>
              </a:xfrm>
              <a:custGeom>
                <a:avLst/>
                <a:gdLst>
                  <a:gd name="T0" fmla="*/ 71 w 161"/>
                  <a:gd name="T1" fmla="*/ 77 h 89"/>
                  <a:gd name="T2" fmla="*/ 64 w 161"/>
                  <a:gd name="T3" fmla="*/ 77 h 89"/>
                  <a:gd name="T4" fmla="*/ 54 w 161"/>
                  <a:gd name="T5" fmla="*/ 89 h 89"/>
                  <a:gd name="T6" fmla="*/ 50 w 161"/>
                  <a:gd name="T7" fmla="*/ 77 h 89"/>
                  <a:gd name="T8" fmla="*/ 17 w 161"/>
                  <a:gd name="T9" fmla="*/ 77 h 89"/>
                  <a:gd name="T10" fmla="*/ 0 w 161"/>
                  <a:gd name="T11" fmla="*/ 49 h 89"/>
                  <a:gd name="T12" fmla="*/ 17 w 161"/>
                  <a:gd name="T13" fmla="*/ 56 h 89"/>
                  <a:gd name="T14" fmla="*/ 33 w 161"/>
                  <a:gd name="T15" fmla="*/ 40 h 89"/>
                  <a:gd name="T16" fmla="*/ 50 w 161"/>
                  <a:gd name="T17" fmla="*/ 40 h 89"/>
                  <a:gd name="T18" fmla="*/ 50 w 161"/>
                  <a:gd name="T19" fmla="*/ 21 h 89"/>
                  <a:gd name="T20" fmla="*/ 102 w 161"/>
                  <a:gd name="T21" fmla="*/ 21 h 89"/>
                  <a:gd name="T22" fmla="*/ 161 w 161"/>
                  <a:gd name="T23" fmla="*/ 0 h 89"/>
                  <a:gd name="T24" fmla="*/ 118 w 161"/>
                  <a:gd name="T25" fmla="*/ 33 h 89"/>
                  <a:gd name="T26" fmla="*/ 118 w 161"/>
                  <a:gd name="T27" fmla="*/ 40 h 89"/>
                  <a:gd name="T28" fmla="*/ 132 w 161"/>
                  <a:gd name="T29" fmla="*/ 56 h 89"/>
                  <a:gd name="T30" fmla="*/ 102 w 161"/>
                  <a:gd name="T31" fmla="*/ 56 h 89"/>
                  <a:gd name="T32" fmla="*/ 102 w 161"/>
                  <a:gd name="T33" fmla="*/ 73 h 89"/>
                  <a:gd name="T34" fmla="*/ 71 w 161"/>
                  <a:gd name="T35" fmla="*/ 77 h 89"/>
                  <a:gd name="T36" fmla="*/ 71 w 161"/>
                  <a:gd name="T37" fmla="*/ 77 h 89"/>
                  <a:gd name="T38" fmla="*/ 71 w 161"/>
                  <a:gd name="T39" fmla="*/ 7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1" h="89">
                    <a:moveTo>
                      <a:pt x="71" y="77"/>
                    </a:moveTo>
                    <a:lnTo>
                      <a:pt x="64" y="77"/>
                    </a:lnTo>
                    <a:lnTo>
                      <a:pt x="54" y="89"/>
                    </a:lnTo>
                    <a:lnTo>
                      <a:pt x="50" y="77"/>
                    </a:lnTo>
                    <a:lnTo>
                      <a:pt x="17" y="77"/>
                    </a:lnTo>
                    <a:lnTo>
                      <a:pt x="0" y="49"/>
                    </a:lnTo>
                    <a:lnTo>
                      <a:pt x="17" y="56"/>
                    </a:lnTo>
                    <a:lnTo>
                      <a:pt x="33" y="40"/>
                    </a:lnTo>
                    <a:lnTo>
                      <a:pt x="50" y="40"/>
                    </a:lnTo>
                    <a:lnTo>
                      <a:pt x="50" y="21"/>
                    </a:lnTo>
                    <a:lnTo>
                      <a:pt x="102" y="21"/>
                    </a:lnTo>
                    <a:lnTo>
                      <a:pt x="161" y="0"/>
                    </a:lnTo>
                    <a:lnTo>
                      <a:pt x="118" y="33"/>
                    </a:lnTo>
                    <a:lnTo>
                      <a:pt x="118" y="40"/>
                    </a:lnTo>
                    <a:lnTo>
                      <a:pt x="132" y="56"/>
                    </a:lnTo>
                    <a:lnTo>
                      <a:pt x="102" y="56"/>
                    </a:lnTo>
                    <a:lnTo>
                      <a:pt x="102" y="73"/>
                    </a:lnTo>
                    <a:lnTo>
                      <a:pt x="71" y="77"/>
                    </a:lnTo>
                    <a:lnTo>
                      <a:pt x="71" y="77"/>
                    </a:lnTo>
                    <a:lnTo>
                      <a:pt x="71" y="7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45" name="Freeform 426">
                <a:extLst>
                  <a:ext uri="{FF2B5EF4-FFF2-40B4-BE49-F238E27FC236}">
                    <a16:creationId xmlns:a16="http://schemas.microsoft.com/office/drawing/2014/main" id="{8AB36FAC-6F11-4D82-B30D-9A8FD62D9747}"/>
                  </a:ext>
                </a:extLst>
              </p:cNvPr>
              <p:cNvSpPr>
                <a:spLocks/>
              </p:cNvSpPr>
              <p:nvPr/>
            </p:nvSpPr>
            <p:spPr bwMode="gray">
              <a:xfrm>
                <a:off x="7066454" y="6558563"/>
                <a:ext cx="51733" cy="63858"/>
              </a:xfrm>
              <a:custGeom>
                <a:avLst/>
                <a:gdLst>
                  <a:gd name="T0" fmla="*/ 73 w 111"/>
                  <a:gd name="T1" fmla="*/ 126 h 137"/>
                  <a:gd name="T2" fmla="*/ 56 w 111"/>
                  <a:gd name="T3" fmla="*/ 121 h 137"/>
                  <a:gd name="T4" fmla="*/ 14 w 111"/>
                  <a:gd name="T5" fmla="*/ 137 h 137"/>
                  <a:gd name="T6" fmla="*/ 0 w 111"/>
                  <a:gd name="T7" fmla="*/ 126 h 137"/>
                  <a:gd name="T8" fmla="*/ 0 w 111"/>
                  <a:gd name="T9" fmla="*/ 92 h 137"/>
                  <a:gd name="T10" fmla="*/ 0 w 111"/>
                  <a:gd name="T11" fmla="*/ 71 h 137"/>
                  <a:gd name="T12" fmla="*/ 35 w 111"/>
                  <a:gd name="T13" fmla="*/ 26 h 137"/>
                  <a:gd name="T14" fmla="*/ 42 w 111"/>
                  <a:gd name="T15" fmla="*/ 17 h 137"/>
                  <a:gd name="T16" fmla="*/ 56 w 111"/>
                  <a:gd name="T17" fmla="*/ 33 h 137"/>
                  <a:gd name="T18" fmla="*/ 68 w 111"/>
                  <a:gd name="T19" fmla="*/ 26 h 137"/>
                  <a:gd name="T20" fmla="*/ 68 w 111"/>
                  <a:gd name="T21" fmla="*/ 17 h 137"/>
                  <a:gd name="T22" fmla="*/ 89 w 111"/>
                  <a:gd name="T23" fmla="*/ 0 h 137"/>
                  <a:gd name="T24" fmla="*/ 106 w 111"/>
                  <a:gd name="T25" fmla="*/ 26 h 137"/>
                  <a:gd name="T26" fmla="*/ 111 w 111"/>
                  <a:gd name="T27" fmla="*/ 55 h 137"/>
                  <a:gd name="T28" fmla="*/ 78 w 111"/>
                  <a:gd name="T29" fmla="*/ 71 h 137"/>
                  <a:gd name="T30" fmla="*/ 68 w 111"/>
                  <a:gd name="T31" fmla="*/ 71 h 137"/>
                  <a:gd name="T32" fmla="*/ 56 w 111"/>
                  <a:gd name="T33" fmla="*/ 88 h 137"/>
                  <a:gd name="T34" fmla="*/ 42 w 111"/>
                  <a:gd name="T35" fmla="*/ 88 h 137"/>
                  <a:gd name="T36" fmla="*/ 52 w 111"/>
                  <a:gd name="T37" fmla="*/ 92 h 137"/>
                  <a:gd name="T38" fmla="*/ 73 w 111"/>
                  <a:gd name="T39" fmla="*/ 88 h 137"/>
                  <a:gd name="T40" fmla="*/ 89 w 111"/>
                  <a:gd name="T41" fmla="*/ 88 h 137"/>
                  <a:gd name="T42" fmla="*/ 94 w 111"/>
                  <a:gd name="T43" fmla="*/ 92 h 137"/>
                  <a:gd name="T44" fmla="*/ 73 w 111"/>
                  <a:gd name="T45" fmla="*/ 126 h 137"/>
                  <a:gd name="T46" fmla="*/ 73 w 111"/>
                  <a:gd name="T47" fmla="*/ 126 h 137"/>
                  <a:gd name="T48" fmla="*/ 73 w 111"/>
                  <a:gd name="T49" fmla="*/ 12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1" h="137">
                    <a:moveTo>
                      <a:pt x="73" y="126"/>
                    </a:moveTo>
                    <a:lnTo>
                      <a:pt x="56" y="121"/>
                    </a:lnTo>
                    <a:lnTo>
                      <a:pt x="14" y="137"/>
                    </a:lnTo>
                    <a:lnTo>
                      <a:pt x="0" y="126"/>
                    </a:lnTo>
                    <a:lnTo>
                      <a:pt x="0" y="92"/>
                    </a:lnTo>
                    <a:lnTo>
                      <a:pt x="0" y="71"/>
                    </a:lnTo>
                    <a:lnTo>
                      <a:pt x="35" y="26"/>
                    </a:lnTo>
                    <a:lnTo>
                      <a:pt x="42" y="17"/>
                    </a:lnTo>
                    <a:lnTo>
                      <a:pt x="56" y="33"/>
                    </a:lnTo>
                    <a:lnTo>
                      <a:pt x="68" y="26"/>
                    </a:lnTo>
                    <a:lnTo>
                      <a:pt x="68" y="17"/>
                    </a:lnTo>
                    <a:lnTo>
                      <a:pt x="89" y="0"/>
                    </a:lnTo>
                    <a:lnTo>
                      <a:pt x="106" y="26"/>
                    </a:lnTo>
                    <a:lnTo>
                      <a:pt x="111" y="55"/>
                    </a:lnTo>
                    <a:lnTo>
                      <a:pt x="78" y="71"/>
                    </a:lnTo>
                    <a:lnTo>
                      <a:pt x="68" y="71"/>
                    </a:lnTo>
                    <a:lnTo>
                      <a:pt x="56" y="88"/>
                    </a:lnTo>
                    <a:lnTo>
                      <a:pt x="42" y="88"/>
                    </a:lnTo>
                    <a:lnTo>
                      <a:pt x="52" y="92"/>
                    </a:lnTo>
                    <a:lnTo>
                      <a:pt x="73" y="88"/>
                    </a:lnTo>
                    <a:lnTo>
                      <a:pt x="89" y="88"/>
                    </a:lnTo>
                    <a:lnTo>
                      <a:pt x="94" y="92"/>
                    </a:lnTo>
                    <a:lnTo>
                      <a:pt x="73" y="126"/>
                    </a:lnTo>
                    <a:lnTo>
                      <a:pt x="73" y="126"/>
                    </a:lnTo>
                    <a:lnTo>
                      <a:pt x="73" y="1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46" name="Freeform 430">
                <a:extLst>
                  <a:ext uri="{FF2B5EF4-FFF2-40B4-BE49-F238E27FC236}">
                    <a16:creationId xmlns:a16="http://schemas.microsoft.com/office/drawing/2014/main" id="{4A3AFA46-0432-4C8A-8760-95323B77F349}"/>
                  </a:ext>
                </a:extLst>
              </p:cNvPr>
              <p:cNvSpPr>
                <a:spLocks/>
              </p:cNvSpPr>
              <p:nvPr/>
            </p:nvSpPr>
            <p:spPr bwMode="gray">
              <a:xfrm>
                <a:off x="6508110" y="5892484"/>
                <a:ext cx="394290" cy="345858"/>
              </a:xfrm>
              <a:custGeom>
                <a:avLst/>
                <a:gdLst>
                  <a:gd name="T0" fmla="*/ 468 w 846"/>
                  <a:gd name="T1" fmla="*/ 742 h 742"/>
                  <a:gd name="T2" fmla="*/ 468 w 846"/>
                  <a:gd name="T3" fmla="*/ 725 h 742"/>
                  <a:gd name="T4" fmla="*/ 17 w 846"/>
                  <a:gd name="T5" fmla="*/ 742 h 742"/>
                  <a:gd name="T6" fmla="*/ 17 w 846"/>
                  <a:gd name="T7" fmla="*/ 189 h 742"/>
                  <a:gd name="T8" fmla="*/ 17 w 846"/>
                  <a:gd name="T9" fmla="*/ 66 h 742"/>
                  <a:gd name="T10" fmla="*/ 31 w 846"/>
                  <a:gd name="T11" fmla="*/ 0 h 742"/>
                  <a:gd name="T12" fmla="*/ 38 w 846"/>
                  <a:gd name="T13" fmla="*/ 10 h 742"/>
                  <a:gd name="T14" fmla="*/ 177 w 846"/>
                  <a:gd name="T15" fmla="*/ 21 h 742"/>
                  <a:gd name="T16" fmla="*/ 198 w 846"/>
                  <a:gd name="T17" fmla="*/ 38 h 742"/>
                  <a:gd name="T18" fmla="*/ 224 w 846"/>
                  <a:gd name="T19" fmla="*/ 45 h 742"/>
                  <a:gd name="T20" fmla="*/ 300 w 846"/>
                  <a:gd name="T21" fmla="*/ 62 h 742"/>
                  <a:gd name="T22" fmla="*/ 371 w 846"/>
                  <a:gd name="T23" fmla="*/ 21 h 742"/>
                  <a:gd name="T24" fmla="*/ 387 w 846"/>
                  <a:gd name="T25" fmla="*/ 29 h 742"/>
                  <a:gd name="T26" fmla="*/ 404 w 846"/>
                  <a:gd name="T27" fmla="*/ 10 h 742"/>
                  <a:gd name="T28" fmla="*/ 409 w 846"/>
                  <a:gd name="T29" fmla="*/ 21 h 742"/>
                  <a:gd name="T30" fmla="*/ 446 w 846"/>
                  <a:gd name="T31" fmla="*/ 10 h 742"/>
                  <a:gd name="T32" fmla="*/ 480 w 846"/>
                  <a:gd name="T33" fmla="*/ 10 h 742"/>
                  <a:gd name="T34" fmla="*/ 522 w 846"/>
                  <a:gd name="T35" fmla="*/ 29 h 742"/>
                  <a:gd name="T36" fmla="*/ 494 w 846"/>
                  <a:gd name="T37" fmla="*/ 29 h 742"/>
                  <a:gd name="T38" fmla="*/ 510 w 846"/>
                  <a:gd name="T39" fmla="*/ 29 h 742"/>
                  <a:gd name="T40" fmla="*/ 532 w 846"/>
                  <a:gd name="T41" fmla="*/ 38 h 742"/>
                  <a:gd name="T42" fmla="*/ 555 w 846"/>
                  <a:gd name="T43" fmla="*/ 45 h 742"/>
                  <a:gd name="T44" fmla="*/ 586 w 846"/>
                  <a:gd name="T45" fmla="*/ 45 h 742"/>
                  <a:gd name="T46" fmla="*/ 628 w 846"/>
                  <a:gd name="T47" fmla="*/ 38 h 742"/>
                  <a:gd name="T48" fmla="*/ 673 w 846"/>
                  <a:gd name="T49" fmla="*/ 29 h 742"/>
                  <a:gd name="T50" fmla="*/ 699 w 846"/>
                  <a:gd name="T51" fmla="*/ 177 h 742"/>
                  <a:gd name="T52" fmla="*/ 678 w 846"/>
                  <a:gd name="T53" fmla="*/ 260 h 742"/>
                  <a:gd name="T54" fmla="*/ 661 w 846"/>
                  <a:gd name="T55" fmla="*/ 305 h 742"/>
                  <a:gd name="T56" fmla="*/ 591 w 846"/>
                  <a:gd name="T57" fmla="*/ 244 h 742"/>
                  <a:gd name="T58" fmla="*/ 565 w 846"/>
                  <a:gd name="T59" fmla="*/ 170 h 742"/>
                  <a:gd name="T60" fmla="*/ 532 w 846"/>
                  <a:gd name="T61" fmla="*/ 166 h 742"/>
                  <a:gd name="T62" fmla="*/ 555 w 846"/>
                  <a:gd name="T63" fmla="*/ 222 h 742"/>
                  <a:gd name="T64" fmla="*/ 619 w 846"/>
                  <a:gd name="T65" fmla="*/ 288 h 742"/>
                  <a:gd name="T66" fmla="*/ 607 w 846"/>
                  <a:gd name="T67" fmla="*/ 298 h 742"/>
                  <a:gd name="T68" fmla="*/ 640 w 846"/>
                  <a:gd name="T69" fmla="*/ 343 h 742"/>
                  <a:gd name="T70" fmla="*/ 645 w 846"/>
                  <a:gd name="T71" fmla="*/ 388 h 742"/>
                  <a:gd name="T72" fmla="*/ 725 w 846"/>
                  <a:gd name="T73" fmla="*/ 553 h 742"/>
                  <a:gd name="T74" fmla="*/ 754 w 846"/>
                  <a:gd name="T75" fmla="*/ 598 h 742"/>
                  <a:gd name="T76" fmla="*/ 763 w 846"/>
                  <a:gd name="T77" fmla="*/ 671 h 742"/>
                  <a:gd name="T78" fmla="*/ 801 w 846"/>
                  <a:gd name="T79" fmla="*/ 692 h 742"/>
                  <a:gd name="T80" fmla="*/ 846 w 846"/>
                  <a:gd name="T81" fmla="*/ 742 h 742"/>
                  <a:gd name="T82" fmla="*/ 846 w 846"/>
                  <a:gd name="T83" fmla="*/ 74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6" h="742">
                    <a:moveTo>
                      <a:pt x="846" y="742"/>
                    </a:moveTo>
                    <a:lnTo>
                      <a:pt x="468" y="742"/>
                    </a:lnTo>
                    <a:lnTo>
                      <a:pt x="480" y="737"/>
                    </a:lnTo>
                    <a:lnTo>
                      <a:pt x="468" y="725"/>
                    </a:lnTo>
                    <a:lnTo>
                      <a:pt x="458" y="742"/>
                    </a:lnTo>
                    <a:lnTo>
                      <a:pt x="17" y="742"/>
                    </a:lnTo>
                    <a:lnTo>
                      <a:pt x="17" y="314"/>
                    </a:lnTo>
                    <a:lnTo>
                      <a:pt x="17" y="189"/>
                    </a:lnTo>
                    <a:lnTo>
                      <a:pt x="0" y="116"/>
                    </a:lnTo>
                    <a:lnTo>
                      <a:pt x="17" y="66"/>
                    </a:lnTo>
                    <a:lnTo>
                      <a:pt x="9" y="21"/>
                    </a:lnTo>
                    <a:lnTo>
                      <a:pt x="31" y="0"/>
                    </a:lnTo>
                    <a:lnTo>
                      <a:pt x="31" y="5"/>
                    </a:lnTo>
                    <a:lnTo>
                      <a:pt x="38" y="10"/>
                    </a:lnTo>
                    <a:lnTo>
                      <a:pt x="85" y="0"/>
                    </a:lnTo>
                    <a:lnTo>
                      <a:pt x="177" y="21"/>
                    </a:lnTo>
                    <a:lnTo>
                      <a:pt x="189" y="29"/>
                    </a:lnTo>
                    <a:lnTo>
                      <a:pt x="198" y="38"/>
                    </a:lnTo>
                    <a:lnTo>
                      <a:pt x="215" y="29"/>
                    </a:lnTo>
                    <a:lnTo>
                      <a:pt x="224" y="45"/>
                    </a:lnTo>
                    <a:lnTo>
                      <a:pt x="253" y="45"/>
                    </a:lnTo>
                    <a:lnTo>
                      <a:pt x="300" y="62"/>
                    </a:lnTo>
                    <a:lnTo>
                      <a:pt x="333" y="55"/>
                    </a:lnTo>
                    <a:lnTo>
                      <a:pt x="371" y="21"/>
                    </a:lnTo>
                    <a:lnTo>
                      <a:pt x="376" y="29"/>
                    </a:lnTo>
                    <a:lnTo>
                      <a:pt x="387" y="29"/>
                    </a:lnTo>
                    <a:lnTo>
                      <a:pt x="392" y="5"/>
                    </a:lnTo>
                    <a:lnTo>
                      <a:pt x="404" y="10"/>
                    </a:lnTo>
                    <a:lnTo>
                      <a:pt x="442" y="5"/>
                    </a:lnTo>
                    <a:lnTo>
                      <a:pt x="409" y="21"/>
                    </a:lnTo>
                    <a:lnTo>
                      <a:pt x="430" y="10"/>
                    </a:lnTo>
                    <a:lnTo>
                      <a:pt x="446" y="10"/>
                    </a:lnTo>
                    <a:lnTo>
                      <a:pt x="442" y="5"/>
                    </a:lnTo>
                    <a:lnTo>
                      <a:pt x="480" y="10"/>
                    </a:lnTo>
                    <a:lnTo>
                      <a:pt x="501" y="5"/>
                    </a:lnTo>
                    <a:lnTo>
                      <a:pt x="522" y="29"/>
                    </a:lnTo>
                    <a:lnTo>
                      <a:pt x="501" y="5"/>
                    </a:lnTo>
                    <a:lnTo>
                      <a:pt x="494" y="29"/>
                    </a:lnTo>
                    <a:lnTo>
                      <a:pt x="501" y="38"/>
                    </a:lnTo>
                    <a:lnTo>
                      <a:pt x="510" y="29"/>
                    </a:lnTo>
                    <a:lnTo>
                      <a:pt x="517" y="45"/>
                    </a:lnTo>
                    <a:lnTo>
                      <a:pt x="532" y="38"/>
                    </a:lnTo>
                    <a:lnTo>
                      <a:pt x="522" y="29"/>
                    </a:lnTo>
                    <a:lnTo>
                      <a:pt x="555" y="45"/>
                    </a:lnTo>
                    <a:lnTo>
                      <a:pt x="586" y="38"/>
                    </a:lnTo>
                    <a:lnTo>
                      <a:pt x="586" y="45"/>
                    </a:lnTo>
                    <a:lnTo>
                      <a:pt x="607" y="38"/>
                    </a:lnTo>
                    <a:lnTo>
                      <a:pt x="628" y="38"/>
                    </a:lnTo>
                    <a:lnTo>
                      <a:pt x="661" y="21"/>
                    </a:lnTo>
                    <a:lnTo>
                      <a:pt x="673" y="29"/>
                    </a:lnTo>
                    <a:lnTo>
                      <a:pt x="711" y="170"/>
                    </a:lnTo>
                    <a:lnTo>
                      <a:pt x="699" y="177"/>
                    </a:lnTo>
                    <a:lnTo>
                      <a:pt x="695" y="227"/>
                    </a:lnTo>
                    <a:lnTo>
                      <a:pt x="678" y="260"/>
                    </a:lnTo>
                    <a:lnTo>
                      <a:pt x="678" y="281"/>
                    </a:lnTo>
                    <a:lnTo>
                      <a:pt x="661" y="305"/>
                    </a:lnTo>
                    <a:lnTo>
                      <a:pt x="628" y="281"/>
                    </a:lnTo>
                    <a:lnTo>
                      <a:pt x="591" y="244"/>
                    </a:lnTo>
                    <a:lnTo>
                      <a:pt x="591" y="206"/>
                    </a:lnTo>
                    <a:lnTo>
                      <a:pt x="565" y="170"/>
                    </a:lnTo>
                    <a:lnTo>
                      <a:pt x="548" y="121"/>
                    </a:lnTo>
                    <a:lnTo>
                      <a:pt x="532" y="166"/>
                    </a:lnTo>
                    <a:lnTo>
                      <a:pt x="548" y="177"/>
                    </a:lnTo>
                    <a:lnTo>
                      <a:pt x="555" y="222"/>
                    </a:lnTo>
                    <a:lnTo>
                      <a:pt x="586" y="265"/>
                    </a:lnTo>
                    <a:lnTo>
                      <a:pt x="619" y="288"/>
                    </a:lnTo>
                    <a:lnTo>
                      <a:pt x="619" y="298"/>
                    </a:lnTo>
                    <a:lnTo>
                      <a:pt x="607" y="298"/>
                    </a:lnTo>
                    <a:lnTo>
                      <a:pt x="607" y="314"/>
                    </a:lnTo>
                    <a:lnTo>
                      <a:pt x="640" y="343"/>
                    </a:lnTo>
                    <a:lnTo>
                      <a:pt x="645" y="371"/>
                    </a:lnTo>
                    <a:lnTo>
                      <a:pt x="645" y="388"/>
                    </a:lnTo>
                    <a:lnTo>
                      <a:pt x="683" y="466"/>
                    </a:lnTo>
                    <a:lnTo>
                      <a:pt x="725" y="553"/>
                    </a:lnTo>
                    <a:lnTo>
                      <a:pt x="780" y="598"/>
                    </a:lnTo>
                    <a:lnTo>
                      <a:pt x="754" y="598"/>
                    </a:lnTo>
                    <a:lnTo>
                      <a:pt x="754" y="631"/>
                    </a:lnTo>
                    <a:lnTo>
                      <a:pt x="763" y="671"/>
                    </a:lnTo>
                    <a:lnTo>
                      <a:pt x="780" y="688"/>
                    </a:lnTo>
                    <a:lnTo>
                      <a:pt x="801" y="692"/>
                    </a:lnTo>
                    <a:lnTo>
                      <a:pt x="824" y="721"/>
                    </a:lnTo>
                    <a:lnTo>
                      <a:pt x="846" y="742"/>
                    </a:lnTo>
                    <a:lnTo>
                      <a:pt x="846" y="742"/>
                    </a:lnTo>
                    <a:lnTo>
                      <a:pt x="846" y="74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47" name="Freeform 432">
                <a:extLst>
                  <a:ext uri="{FF2B5EF4-FFF2-40B4-BE49-F238E27FC236}">
                    <a16:creationId xmlns:a16="http://schemas.microsoft.com/office/drawing/2014/main" id="{24B01349-DD2C-4C9D-B41B-87DE15182EA8}"/>
                  </a:ext>
                </a:extLst>
              </p:cNvPr>
              <p:cNvSpPr>
                <a:spLocks noEditPoints="1"/>
              </p:cNvSpPr>
              <p:nvPr/>
            </p:nvSpPr>
            <p:spPr bwMode="gray">
              <a:xfrm>
                <a:off x="5976332" y="6865733"/>
                <a:ext cx="93679" cy="92756"/>
              </a:xfrm>
              <a:custGeom>
                <a:avLst/>
                <a:gdLst>
                  <a:gd name="T0" fmla="*/ 26 w 201"/>
                  <a:gd name="T1" fmla="*/ 17 h 199"/>
                  <a:gd name="T2" fmla="*/ 14 w 201"/>
                  <a:gd name="T3" fmla="*/ 41 h 199"/>
                  <a:gd name="T4" fmla="*/ 0 w 201"/>
                  <a:gd name="T5" fmla="*/ 33 h 199"/>
                  <a:gd name="T6" fmla="*/ 0 w 201"/>
                  <a:gd name="T7" fmla="*/ 17 h 199"/>
                  <a:gd name="T8" fmla="*/ 5 w 201"/>
                  <a:gd name="T9" fmla="*/ 17 h 199"/>
                  <a:gd name="T10" fmla="*/ 14 w 201"/>
                  <a:gd name="T11" fmla="*/ 0 h 199"/>
                  <a:gd name="T12" fmla="*/ 26 w 201"/>
                  <a:gd name="T13" fmla="*/ 0 h 199"/>
                  <a:gd name="T14" fmla="*/ 26 w 201"/>
                  <a:gd name="T15" fmla="*/ 17 h 199"/>
                  <a:gd name="T16" fmla="*/ 26 w 201"/>
                  <a:gd name="T17" fmla="*/ 17 h 199"/>
                  <a:gd name="T18" fmla="*/ 26 w 201"/>
                  <a:gd name="T19" fmla="*/ 17 h 199"/>
                  <a:gd name="T20" fmla="*/ 92 w 201"/>
                  <a:gd name="T21" fmla="*/ 95 h 199"/>
                  <a:gd name="T22" fmla="*/ 109 w 201"/>
                  <a:gd name="T23" fmla="*/ 111 h 199"/>
                  <a:gd name="T24" fmla="*/ 201 w 201"/>
                  <a:gd name="T25" fmla="*/ 111 h 199"/>
                  <a:gd name="T26" fmla="*/ 201 w 201"/>
                  <a:gd name="T27" fmla="*/ 199 h 199"/>
                  <a:gd name="T28" fmla="*/ 109 w 201"/>
                  <a:gd name="T29" fmla="*/ 199 h 199"/>
                  <a:gd name="T30" fmla="*/ 97 w 201"/>
                  <a:gd name="T31" fmla="*/ 199 h 199"/>
                  <a:gd name="T32" fmla="*/ 92 w 201"/>
                  <a:gd name="T33" fmla="*/ 199 h 199"/>
                  <a:gd name="T34" fmla="*/ 92 w 201"/>
                  <a:gd name="T35" fmla="*/ 187 h 199"/>
                  <a:gd name="T36" fmla="*/ 76 w 201"/>
                  <a:gd name="T37" fmla="*/ 187 h 199"/>
                  <a:gd name="T38" fmla="*/ 59 w 201"/>
                  <a:gd name="T39" fmla="*/ 182 h 199"/>
                  <a:gd name="T40" fmla="*/ 92 w 201"/>
                  <a:gd name="T41" fmla="*/ 128 h 199"/>
                  <a:gd name="T42" fmla="*/ 92 w 201"/>
                  <a:gd name="T43" fmla="*/ 95 h 199"/>
                  <a:gd name="T44" fmla="*/ 92 w 201"/>
                  <a:gd name="T45" fmla="*/ 95 h 199"/>
                  <a:gd name="T46" fmla="*/ 92 w 201"/>
                  <a:gd name="T47" fmla="*/ 9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1" h="199">
                    <a:moveTo>
                      <a:pt x="26" y="17"/>
                    </a:moveTo>
                    <a:lnTo>
                      <a:pt x="14" y="41"/>
                    </a:lnTo>
                    <a:lnTo>
                      <a:pt x="0" y="33"/>
                    </a:lnTo>
                    <a:lnTo>
                      <a:pt x="0" y="17"/>
                    </a:lnTo>
                    <a:lnTo>
                      <a:pt x="5" y="17"/>
                    </a:lnTo>
                    <a:lnTo>
                      <a:pt x="14" y="0"/>
                    </a:lnTo>
                    <a:lnTo>
                      <a:pt x="26" y="0"/>
                    </a:lnTo>
                    <a:lnTo>
                      <a:pt x="26" y="17"/>
                    </a:lnTo>
                    <a:lnTo>
                      <a:pt x="26" y="17"/>
                    </a:lnTo>
                    <a:lnTo>
                      <a:pt x="26" y="17"/>
                    </a:lnTo>
                    <a:close/>
                    <a:moveTo>
                      <a:pt x="92" y="95"/>
                    </a:moveTo>
                    <a:lnTo>
                      <a:pt x="109" y="111"/>
                    </a:lnTo>
                    <a:lnTo>
                      <a:pt x="201" y="111"/>
                    </a:lnTo>
                    <a:lnTo>
                      <a:pt x="201" y="199"/>
                    </a:lnTo>
                    <a:lnTo>
                      <a:pt x="109" y="199"/>
                    </a:lnTo>
                    <a:lnTo>
                      <a:pt x="97" y="199"/>
                    </a:lnTo>
                    <a:lnTo>
                      <a:pt x="92" y="199"/>
                    </a:lnTo>
                    <a:lnTo>
                      <a:pt x="92" y="187"/>
                    </a:lnTo>
                    <a:lnTo>
                      <a:pt x="76" y="187"/>
                    </a:lnTo>
                    <a:lnTo>
                      <a:pt x="59" y="182"/>
                    </a:lnTo>
                    <a:lnTo>
                      <a:pt x="92" y="128"/>
                    </a:lnTo>
                    <a:lnTo>
                      <a:pt x="92" y="95"/>
                    </a:lnTo>
                    <a:lnTo>
                      <a:pt x="92" y="95"/>
                    </a:lnTo>
                    <a:lnTo>
                      <a:pt x="92" y="9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48" name="Freeform 434">
                <a:extLst>
                  <a:ext uri="{FF2B5EF4-FFF2-40B4-BE49-F238E27FC236}">
                    <a16:creationId xmlns:a16="http://schemas.microsoft.com/office/drawing/2014/main" id="{6062B78C-1AD3-44CA-8C71-849F49583674}"/>
                  </a:ext>
                </a:extLst>
              </p:cNvPr>
              <p:cNvSpPr>
                <a:spLocks noEditPoints="1"/>
              </p:cNvSpPr>
              <p:nvPr/>
            </p:nvSpPr>
            <p:spPr bwMode="gray">
              <a:xfrm>
                <a:off x="6890283" y="6378176"/>
                <a:ext cx="217652" cy="195769"/>
              </a:xfrm>
              <a:custGeom>
                <a:avLst/>
                <a:gdLst>
                  <a:gd name="T0" fmla="*/ 446 w 467"/>
                  <a:gd name="T1" fmla="*/ 404 h 420"/>
                  <a:gd name="T2" fmla="*/ 434 w 467"/>
                  <a:gd name="T3" fmla="*/ 420 h 420"/>
                  <a:gd name="T4" fmla="*/ 413 w 467"/>
                  <a:gd name="T5" fmla="*/ 416 h 420"/>
                  <a:gd name="T6" fmla="*/ 380 w 467"/>
                  <a:gd name="T7" fmla="*/ 383 h 420"/>
                  <a:gd name="T8" fmla="*/ 338 w 467"/>
                  <a:gd name="T9" fmla="*/ 326 h 420"/>
                  <a:gd name="T10" fmla="*/ 269 w 467"/>
                  <a:gd name="T11" fmla="*/ 260 h 420"/>
                  <a:gd name="T12" fmla="*/ 215 w 467"/>
                  <a:gd name="T13" fmla="*/ 255 h 420"/>
                  <a:gd name="T14" fmla="*/ 182 w 467"/>
                  <a:gd name="T15" fmla="*/ 250 h 420"/>
                  <a:gd name="T16" fmla="*/ 144 w 467"/>
                  <a:gd name="T17" fmla="*/ 272 h 420"/>
                  <a:gd name="T18" fmla="*/ 113 w 467"/>
                  <a:gd name="T19" fmla="*/ 250 h 420"/>
                  <a:gd name="T20" fmla="*/ 80 w 467"/>
                  <a:gd name="T21" fmla="*/ 293 h 420"/>
                  <a:gd name="T22" fmla="*/ 52 w 467"/>
                  <a:gd name="T23" fmla="*/ 272 h 420"/>
                  <a:gd name="T24" fmla="*/ 26 w 467"/>
                  <a:gd name="T25" fmla="*/ 272 h 420"/>
                  <a:gd name="T26" fmla="*/ 0 w 467"/>
                  <a:gd name="T27" fmla="*/ 217 h 420"/>
                  <a:gd name="T28" fmla="*/ 26 w 467"/>
                  <a:gd name="T29" fmla="*/ 111 h 420"/>
                  <a:gd name="T30" fmla="*/ 38 w 467"/>
                  <a:gd name="T31" fmla="*/ 73 h 420"/>
                  <a:gd name="T32" fmla="*/ 75 w 467"/>
                  <a:gd name="T33" fmla="*/ 57 h 420"/>
                  <a:gd name="T34" fmla="*/ 127 w 467"/>
                  <a:gd name="T35" fmla="*/ 40 h 420"/>
                  <a:gd name="T36" fmla="*/ 182 w 467"/>
                  <a:gd name="T37" fmla="*/ 66 h 420"/>
                  <a:gd name="T38" fmla="*/ 203 w 467"/>
                  <a:gd name="T39" fmla="*/ 168 h 420"/>
                  <a:gd name="T40" fmla="*/ 219 w 467"/>
                  <a:gd name="T41" fmla="*/ 194 h 420"/>
                  <a:gd name="T42" fmla="*/ 236 w 467"/>
                  <a:gd name="T43" fmla="*/ 222 h 420"/>
                  <a:gd name="T44" fmla="*/ 236 w 467"/>
                  <a:gd name="T45" fmla="*/ 201 h 420"/>
                  <a:gd name="T46" fmla="*/ 257 w 467"/>
                  <a:gd name="T47" fmla="*/ 222 h 420"/>
                  <a:gd name="T48" fmla="*/ 283 w 467"/>
                  <a:gd name="T49" fmla="*/ 222 h 420"/>
                  <a:gd name="T50" fmla="*/ 304 w 467"/>
                  <a:gd name="T51" fmla="*/ 250 h 420"/>
                  <a:gd name="T52" fmla="*/ 366 w 467"/>
                  <a:gd name="T53" fmla="*/ 305 h 420"/>
                  <a:gd name="T54" fmla="*/ 397 w 467"/>
                  <a:gd name="T55" fmla="*/ 326 h 420"/>
                  <a:gd name="T56" fmla="*/ 401 w 467"/>
                  <a:gd name="T57" fmla="*/ 326 h 420"/>
                  <a:gd name="T58" fmla="*/ 434 w 467"/>
                  <a:gd name="T59" fmla="*/ 366 h 420"/>
                  <a:gd name="T60" fmla="*/ 451 w 467"/>
                  <a:gd name="T61" fmla="*/ 387 h 420"/>
                  <a:gd name="T62" fmla="*/ 467 w 467"/>
                  <a:gd name="T63" fmla="*/ 387 h 420"/>
                  <a:gd name="T64" fmla="*/ 467 w 467"/>
                  <a:gd name="T65" fmla="*/ 387 h 420"/>
                  <a:gd name="T66" fmla="*/ 252 w 467"/>
                  <a:gd name="T67" fmla="*/ 144 h 420"/>
                  <a:gd name="T68" fmla="*/ 257 w 467"/>
                  <a:gd name="T69" fmla="*/ 149 h 420"/>
                  <a:gd name="T70" fmla="*/ 252 w 467"/>
                  <a:gd name="T71" fmla="*/ 149 h 420"/>
                  <a:gd name="T72" fmla="*/ 252 w 467"/>
                  <a:gd name="T73" fmla="*/ 161 h 420"/>
                  <a:gd name="T74" fmla="*/ 257 w 467"/>
                  <a:gd name="T75" fmla="*/ 177 h 420"/>
                  <a:gd name="T76" fmla="*/ 274 w 467"/>
                  <a:gd name="T77" fmla="*/ 184 h 420"/>
                  <a:gd name="T78" fmla="*/ 241 w 467"/>
                  <a:gd name="T79" fmla="*/ 177 h 420"/>
                  <a:gd name="T80" fmla="*/ 241 w 467"/>
                  <a:gd name="T81" fmla="*/ 168 h 420"/>
                  <a:gd name="T82" fmla="*/ 252 w 467"/>
                  <a:gd name="T83" fmla="*/ 161 h 420"/>
                  <a:gd name="T84" fmla="*/ 252 w 467"/>
                  <a:gd name="T85" fmla="*/ 161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7" h="420">
                    <a:moveTo>
                      <a:pt x="467" y="387"/>
                    </a:moveTo>
                    <a:lnTo>
                      <a:pt x="446" y="404"/>
                    </a:lnTo>
                    <a:lnTo>
                      <a:pt x="446" y="416"/>
                    </a:lnTo>
                    <a:lnTo>
                      <a:pt x="434" y="420"/>
                    </a:lnTo>
                    <a:lnTo>
                      <a:pt x="418" y="404"/>
                    </a:lnTo>
                    <a:lnTo>
                      <a:pt x="413" y="416"/>
                    </a:lnTo>
                    <a:lnTo>
                      <a:pt x="401" y="387"/>
                    </a:lnTo>
                    <a:lnTo>
                      <a:pt x="380" y="383"/>
                    </a:lnTo>
                    <a:lnTo>
                      <a:pt x="375" y="359"/>
                    </a:lnTo>
                    <a:lnTo>
                      <a:pt x="338" y="326"/>
                    </a:lnTo>
                    <a:lnTo>
                      <a:pt x="304" y="288"/>
                    </a:lnTo>
                    <a:lnTo>
                      <a:pt x="269" y="260"/>
                    </a:lnTo>
                    <a:lnTo>
                      <a:pt x="241" y="272"/>
                    </a:lnTo>
                    <a:lnTo>
                      <a:pt x="215" y="255"/>
                    </a:lnTo>
                    <a:lnTo>
                      <a:pt x="198" y="260"/>
                    </a:lnTo>
                    <a:lnTo>
                      <a:pt x="182" y="250"/>
                    </a:lnTo>
                    <a:lnTo>
                      <a:pt x="177" y="260"/>
                    </a:lnTo>
                    <a:lnTo>
                      <a:pt x="144" y="272"/>
                    </a:lnTo>
                    <a:lnTo>
                      <a:pt x="127" y="250"/>
                    </a:lnTo>
                    <a:lnTo>
                      <a:pt x="113" y="250"/>
                    </a:lnTo>
                    <a:lnTo>
                      <a:pt x="106" y="234"/>
                    </a:lnTo>
                    <a:lnTo>
                      <a:pt x="80" y="293"/>
                    </a:lnTo>
                    <a:lnTo>
                      <a:pt x="59" y="260"/>
                    </a:lnTo>
                    <a:lnTo>
                      <a:pt x="52" y="272"/>
                    </a:lnTo>
                    <a:lnTo>
                      <a:pt x="38" y="276"/>
                    </a:lnTo>
                    <a:lnTo>
                      <a:pt x="26" y="272"/>
                    </a:lnTo>
                    <a:lnTo>
                      <a:pt x="4" y="276"/>
                    </a:lnTo>
                    <a:lnTo>
                      <a:pt x="0" y="217"/>
                    </a:lnTo>
                    <a:lnTo>
                      <a:pt x="38" y="127"/>
                    </a:lnTo>
                    <a:lnTo>
                      <a:pt x="26" y="111"/>
                    </a:lnTo>
                    <a:lnTo>
                      <a:pt x="38" y="94"/>
                    </a:lnTo>
                    <a:lnTo>
                      <a:pt x="38" y="73"/>
                    </a:lnTo>
                    <a:lnTo>
                      <a:pt x="68" y="73"/>
                    </a:lnTo>
                    <a:lnTo>
                      <a:pt x="75" y="57"/>
                    </a:lnTo>
                    <a:lnTo>
                      <a:pt x="113" y="33"/>
                    </a:lnTo>
                    <a:lnTo>
                      <a:pt x="127" y="40"/>
                    </a:lnTo>
                    <a:lnTo>
                      <a:pt x="149" y="0"/>
                    </a:lnTo>
                    <a:lnTo>
                      <a:pt x="182" y="66"/>
                    </a:lnTo>
                    <a:lnTo>
                      <a:pt x="198" y="149"/>
                    </a:lnTo>
                    <a:lnTo>
                      <a:pt x="203" y="168"/>
                    </a:lnTo>
                    <a:lnTo>
                      <a:pt x="215" y="184"/>
                    </a:lnTo>
                    <a:lnTo>
                      <a:pt x="219" y="194"/>
                    </a:lnTo>
                    <a:lnTo>
                      <a:pt x="231" y="217"/>
                    </a:lnTo>
                    <a:lnTo>
                      <a:pt x="236" y="222"/>
                    </a:lnTo>
                    <a:lnTo>
                      <a:pt x="236" y="217"/>
                    </a:lnTo>
                    <a:lnTo>
                      <a:pt x="236" y="201"/>
                    </a:lnTo>
                    <a:lnTo>
                      <a:pt x="241" y="194"/>
                    </a:lnTo>
                    <a:lnTo>
                      <a:pt x="257" y="222"/>
                    </a:lnTo>
                    <a:lnTo>
                      <a:pt x="269" y="234"/>
                    </a:lnTo>
                    <a:lnTo>
                      <a:pt x="283" y="222"/>
                    </a:lnTo>
                    <a:lnTo>
                      <a:pt x="295" y="234"/>
                    </a:lnTo>
                    <a:lnTo>
                      <a:pt x="304" y="250"/>
                    </a:lnTo>
                    <a:lnTo>
                      <a:pt x="328" y="255"/>
                    </a:lnTo>
                    <a:lnTo>
                      <a:pt x="366" y="305"/>
                    </a:lnTo>
                    <a:lnTo>
                      <a:pt x="380" y="309"/>
                    </a:lnTo>
                    <a:lnTo>
                      <a:pt x="397" y="326"/>
                    </a:lnTo>
                    <a:lnTo>
                      <a:pt x="397" y="326"/>
                    </a:lnTo>
                    <a:lnTo>
                      <a:pt x="401" y="326"/>
                    </a:lnTo>
                    <a:lnTo>
                      <a:pt x="413" y="359"/>
                    </a:lnTo>
                    <a:lnTo>
                      <a:pt x="434" y="366"/>
                    </a:lnTo>
                    <a:lnTo>
                      <a:pt x="446" y="383"/>
                    </a:lnTo>
                    <a:lnTo>
                      <a:pt x="451" y="387"/>
                    </a:lnTo>
                    <a:lnTo>
                      <a:pt x="456" y="383"/>
                    </a:lnTo>
                    <a:lnTo>
                      <a:pt x="467" y="387"/>
                    </a:lnTo>
                    <a:lnTo>
                      <a:pt x="467" y="387"/>
                    </a:lnTo>
                    <a:lnTo>
                      <a:pt x="467" y="387"/>
                    </a:lnTo>
                    <a:close/>
                    <a:moveTo>
                      <a:pt x="252" y="149"/>
                    </a:moveTo>
                    <a:lnTo>
                      <a:pt x="252" y="144"/>
                    </a:lnTo>
                    <a:lnTo>
                      <a:pt x="257" y="144"/>
                    </a:lnTo>
                    <a:lnTo>
                      <a:pt x="257" y="149"/>
                    </a:lnTo>
                    <a:lnTo>
                      <a:pt x="252" y="149"/>
                    </a:lnTo>
                    <a:lnTo>
                      <a:pt x="252" y="149"/>
                    </a:lnTo>
                    <a:lnTo>
                      <a:pt x="252" y="149"/>
                    </a:lnTo>
                    <a:close/>
                    <a:moveTo>
                      <a:pt x="252" y="161"/>
                    </a:moveTo>
                    <a:lnTo>
                      <a:pt x="257" y="168"/>
                    </a:lnTo>
                    <a:lnTo>
                      <a:pt x="257" y="177"/>
                    </a:lnTo>
                    <a:lnTo>
                      <a:pt x="269" y="177"/>
                    </a:lnTo>
                    <a:lnTo>
                      <a:pt x="274" y="184"/>
                    </a:lnTo>
                    <a:lnTo>
                      <a:pt x="241" y="184"/>
                    </a:lnTo>
                    <a:lnTo>
                      <a:pt x="241" y="177"/>
                    </a:lnTo>
                    <a:lnTo>
                      <a:pt x="252" y="177"/>
                    </a:lnTo>
                    <a:lnTo>
                      <a:pt x="241" y="168"/>
                    </a:lnTo>
                    <a:lnTo>
                      <a:pt x="252" y="168"/>
                    </a:lnTo>
                    <a:lnTo>
                      <a:pt x="252" y="161"/>
                    </a:lnTo>
                    <a:lnTo>
                      <a:pt x="252" y="161"/>
                    </a:lnTo>
                    <a:lnTo>
                      <a:pt x="252" y="16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49" name="Freeform 436">
                <a:extLst>
                  <a:ext uri="{FF2B5EF4-FFF2-40B4-BE49-F238E27FC236}">
                    <a16:creationId xmlns:a16="http://schemas.microsoft.com/office/drawing/2014/main" id="{6A318FD1-634B-4640-87A3-3E9627B59E1A}"/>
                  </a:ext>
                </a:extLst>
              </p:cNvPr>
              <p:cNvSpPr>
                <a:spLocks/>
              </p:cNvSpPr>
              <p:nvPr/>
            </p:nvSpPr>
            <p:spPr bwMode="gray">
              <a:xfrm>
                <a:off x="6775631" y="6485849"/>
                <a:ext cx="492163" cy="391071"/>
              </a:xfrm>
              <a:custGeom>
                <a:avLst/>
                <a:gdLst>
                  <a:gd name="T0" fmla="*/ 628 w 1056"/>
                  <a:gd name="T1" fmla="*/ 794 h 839"/>
                  <a:gd name="T2" fmla="*/ 553 w 1056"/>
                  <a:gd name="T3" fmla="*/ 778 h 839"/>
                  <a:gd name="T4" fmla="*/ 461 w 1056"/>
                  <a:gd name="T5" fmla="*/ 839 h 839"/>
                  <a:gd name="T6" fmla="*/ 369 w 1056"/>
                  <a:gd name="T7" fmla="*/ 822 h 839"/>
                  <a:gd name="T8" fmla="*/ 217 w 1056"/>
                  <a:gd name="T9" fmla="*/ 761 h 839"/>
                  <a:gd name="T10" fmla="*/ 196 w 1056"/>
                  <a:gd name="T11" fmla="*/ 737 h 839"/>
                  <a:gd name="T12" fmla="*/ 180 w 1056"/>
                  <a:gd name="T13" fmla="*/ 688 h 839"/>
                  <a:gd name="T14" fmla="*/ 163 w 1056"/>
                  <a:gd name="T15" fmla="*/ 688 h 839"/>
                  <a:gd name="T16" fmla="*/ 142 w 1056"/>
                  <a:gd name="T17" fmla="*/ 650 h 839"/>
                  <a:gd name="T18" fmla="*/ 109 w 1056"/>
                  <a:gd name="T19" fmla="*/ 593 h 839"/>
                  <a:gd name="T20" fmla="*/ 87 w 1056"/>
                  <a:gd name="T21" fmla="*/ 577 h 839"/>
                  <a:gd name="T22" fmla="*/ 33 w 1056"/>
                  <a:gd name="T23" fmla="*/ 522 h 839"/>
                  <a:gd name="T24" fmla="*/ 0 w 1056"/>
                  <a:gd name="T25" fmla="*/ 506 h 839"/>
                  <a:gd name="T26" fmla="*/ 17 w 1056"/>
                  <a:gd name="T27" fmla="*/ 473 h 839"/>
                  <a:gd name="T28" fmla="*/ 50 w 1056"/>
                  <a:gd name="T29" fmla="*/ 466 h 839"/>
                  <a:gd name="T30" fmla="*/ 83 w 1056"/>
                  <a:gd name="T31" fmla="*/ 461 h 839"/>
                  <a:gd name="T32" fmla="*/ 97 w 1056"/>
                  <a:gd name="T33" fmla="*/ 338 h 839"/>
                  <a:gd name="T34" fmla="*/ 121 w 1056"/>
                  <a:gd name="T35" fmla="*/ 296 h 839"/>
                  <a:gd name="T36" fmla="*/ 142 w 1056"/>
                  <a:gd name="T37" fmla="*/ 296 h 839"/>
                  <a:gd name="T38" fmla="*/ 151 w 1056"/>
                  <a:gd name="T39" fmla="*/ 246 h 839"/>
                  <a:gd name="T40" fmla="*/ 163 w 1056"/>
                  <a:gd name="T41" fmla="*/ 222 h 839"/>
                  <a:gd name="T42" fmla="*/ 227 w 1056"/>
                  <a:gd name="T43" fmla="*/ 156 h 839"/>
                  <a:gd name="T44" fmla="*/ 250 w 1056"/>
                  <a:gd name="T45" fmla="*/ 78 h 839"/>
                  <a:gd name="T46" fmla="*/ 250 w 1056"/>
                  <a:gd name="T47" fmla="*/ 45 h 839"/>
                  <a:gd name="T48" fmla="*/ 281 w 1056"/>
                  <a:gd name="T49" fmla="*/ 45 h 839"/>
                  <a:gd name="T50" fmla="*/ 305 w 1056"/>
                  <a:gd name="T51" fmla="*/ 29 h 839"/>
                  <a:gd name="T52" fmla="*/ 352 w 1056"/>
                  <a:gd name="T53" fmla="*/ 0 h 839"/>
                  <a:gd name="T54" fmla="*/ 373 w 1056"/>
                  <a:gd name="T55" fmla="*/ 17 h 839"/>
                  <a:gd name="T56" fmla="*/ 423 w 1056"/>
                  <a:gd name="T57" fmla="*/ 29 h 839"/>
                  <a:gd name="T58" fmla="*/ 444 w 1056"/>
                  <a:gd name="T59" fmla="*/ 29 h 839"/>
                  <a:gd name="T60" fmla="*/ 487 w 1056"/>
                  <a:gd name="T61" fmla="*/ 41 h 839"/>
                  <a:gd name="T62" fmla="*/ 553 w 1056"/>
                  <a:gd name="T63" fmla="*/ 57 h 839"/>
                  <a:gd name="T64" fmla="*/ 624 w 1056"/>
                  <a:gd name="T65" fmla="*/ 128 h 839"/>
                  <a:gd name="T66" fmla="*/ 650 w 1056"/>
                  <a:gd name="T67" fmla="*/ 156 h 839"/>
                  <a:gd name="T68" fmla="*/ 624 w 1056"/>
                  <a:gd name="T69" fmla="*/ 230 h 839"/>
                  <a:gd name="T70" fmla="*/ 624 w 1056"/>
                  <a:gd name="T71" fmla="*/ 284 h 839"/>
                  <a:gd name="T72" fmla="*/ 683 w 1056"/>
                  <a:gd name="T73" fmla="*/ 279 h 839"/>
                  <a:gd name="T74" fmla="*/ 683 w 1056"/>
                  <a:gd name="T75" fmla="*/ 317 h 839"/>
                  <a:gd name="T76" fmla="*/ 716 w 1056"/>
                  <a:gd name="T77" fmla="*/ 362 h 839"/>
                  <a:gd name="T78" fmla="*/ 737 w 1056"/>
                  <a:gd name="T79" fmla="*/ 407 h 839"/>
                  <a:gd name="T80" fmla="*/ 775 w 1056"/>
                  <a:gd name="T81" fmla="*/ 433 h 839"/>
                  <a:gd name="T82" fmla="*/ 1056 w 1056"/>
                  <a:gd name="T83" fmla="*/ 506 h 839"/>
                  <a:gd name="T84" fmla="*/ 775 w 1056"/>
                  <a:gd name="T85" fmla="*/ 721 h 839"/>
                  <a:gd name="T86" fmla="*/ 716 w 1056"/>
                  <a:gd name="T87" fmla="*/ 744 h 839"/>
                  <a:gd name="T88" fmla="*/ 640 w 1056"/>
                  <a:gd name="T89" fmla="*/ 782 h 839"/>
                  <a:gd name="T90" fmla="*/ 640 w 1056"/>
                  <a:gd name="T91" fmla="*/ 782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56" h="839">
                    <a:moveTo>
                      <a:pt x="640" y="782"/>
                    </a:moveTo>
                    <a:lnTo>
                      <a:pt x="628" y="794"/>
                    </a:lnTo>
                    <a:lnTo>
                      <a:pt x="574" y="799"/>
                    </a:lnTo>
                    <a:lnTo>
                      <a:pt x="553" y="778"/>
                    </a:lnTo>
                    <a:lnTo>
                      <a:pt x="482" y="799"/>
                    </a:lnTo>
                    <a:lnTo>
                      <a:pt x="461" y="839"/>
                    </a:lnTo>
                    <a:lnTo>
                      <a:pt x="390" y="822"/>
                    </a:lnTo>
                    <a:lnTo>
                      <a:pt x="369" y="822"/>
                    </a:lnTo>
                    <a:lnTo>
                      <a:pt x="288" y="766"/>
                    </a:lnTo>
                    <a:lnTo>
                      <a:pt x="217" y="761"/>
                    </a:lnTo>
                    <a:lnTo>
                      <a:pt x="213" y="749"/>
                    </a:lnTo>
                    <a:lnTo>
                      <a:pt x="196" y="737"/>
                    </a:lnTo>
                    <a:lnTo>
                      <a:pt x="206" y="695"/>
                    </a:lnTo>
                    <a:lnTo>
                      <a:pt x="180" y="688"/>
                    </a:lnTo>
                    <a:lnTo>
                      <a:pt x="163" y="695"/>
                    </a:lnTo>
                    <a:lnTo>
                      <a:pt x="163" y="688"/>
                    </a:lnTo>
                    <a:lnTo>
                      <a:pt x="151" y="671"/>
                    </a:lnTo>
                    <a:lnTo>
                      <a:pt x="142" y="650"/>
                    </a:lnTo>
                    <a:lnTo>
                      <a:pt x="125" y="600"/>
                    </a:lnTo>
                    <a:lnTo>
                      <a:pt x="109" y="593"/>
                    </a:lnTo>
                    <a:lnTo>
                      <a:pt x="104" y="584"/>
                    </a:lnTo>
                    <a:lnTo>
                      <a:pt x="87" y="577"/>
                    </a:lnTo>
                    <a:lnTo>
                      <a:pt x="66" y="539"/>
                    </a:lnTo>
                    <a:lnTo>
                      <a:pt x="33" y="522"/>
                    </a:lnTo>
                    <a:lnTo>
                      <a:pt x="0" y="522"/>
                    </a:lnTo>
                    <a:lnTo>
                      <a:pt x="0" y="506"/>
                    </a:lnTo>
                    <a:lnTo>
                      <a:pt x="17" y="489"/>
                    </a:lnTo>
                    <a:lnTo>
                      <a:pt x="17" y="473"/>
                    </a:lnTo>
                    <a:lnTo>
                      <a:pt x="17" y="473"/>
                    </a:lnTo>
                    <a:lnTo>
                      <a:pt x="50" y="466"/>
                    </a:lnTo>
                    <a:lnTo>
                      <a:pt x="54" y="473"/>
                    </a:lnTo>
                    <a:lnTo>
                      <a:pt x="83" y="461"/>
                    </a:lnTo>
                    <a:lnTo>
                      <a:pt x="83" y="395"/>
                    </a:lnTo>
                    <a:lnTo>
                      <a:pt x="97" y="338"/>
                    </a:lnTo>
                    <a:lnTo>
                      <a:pt x="97" y="317"/>
                    </a:lnTo>
                    <a:lnTo>
                      <a:pt x="121" y="296"/>
                    </a:lnTo>
                    <a:lnTo>
                      <a:pt x="135" y="305"/>
                    </a:lnTo>
                    <a:lnTo>
                      <a:pt x="142" y="296"/>
                    </a:lnTo>
                    <a:lnTo>
                      <a:pt x="142" y="267"/>
                    </a:lnTo>
                    <a:lnTo>
                      <a:pt x="151" y="246"/>
                    </a:lnTo>
                    <a:lnTo>
                      <a:pt x="151" y="230"/>
                    </a:lnTo>
                    <a:lnTo>
                      <a:pt x="163" y="222"/>
                    </a:lnTo>
                    <a:lnTo>
                      <a:pt x="196" y="168"/>
                    </a:lnTo>
                    <a:lnTo>
                      <a:pt x="227" y="156"/>
                    </a:lnTo>
                    <a:lnTo>
                      <a:pt x="227" y="135"/>
                    </a:lnTo>
                    <a:lnTo>
                      <a:pt x="250" y="78"/>
                    </a:lnTo>
                    <a:lnTo>
                      <a:pt x="243" y="74"/>
                    </a:lnTo>
                    <a:lnTo>
                      <a:pt x="250" y="45"/>
                    </a:lnTo>
                    <a:lnTo>
                      <a:pt x="272" y="41"/>
                    </a:lnTo>
                    <a:lnTo>
                      <a:pt x="281" y="45"/>
                    </a:lnTo>
                    <a:lnTo>
                      <a:pt x="298" y="41"/>
                    </a:lnTo>
                    <a:lnTo>
                      <a:pt x="305" y="29"/>
                    </a:lnTo>
                    <a:lnTo>
                      <a:pt x="326" y="62"/>
                    </a:lnTo>
                    <a:lnTo>
                      <a:pt x="352" y="0"/>
                    </a:lnTo>
                    <a:lnTo>
                      <a:pt x="357" y="17"/>
                    </a:lnTo>
                    <a:lnTo>
                      <a:pt x="373" y="17"/>
                    </a:lnTo>
                    <a:lnTo>
                      <a:pt x="390" y="41"/>
                    </a:lnTo>
                    <a:lnTo>
                      <a:pt x="423" y="29"/>
                    </a:lnTo>
                    <a:lnTo>
                      <a:pt x="428" y="17"/>
                    </a:lnTo>
                    <a:lnTo>
                      <a:pt x="444" y="29"/>
                    </a:lnTo>
                    <a:lnTo>
                      <a:pt x="461" y="24"/>
                    </a:lnTo>
                    <a:lnTo>
                      <a:pt x="487" y="41"/>
                    </a:lnTo>
                    <a:lnTo>
                      <a:pt x="515" y="29"/>
                    </a:lnTo>
                    <a:lnTo>
                      <a:pt x="553" y="57"/>
                    </a:lnTo>
                    <a:lnTo>
                      <a:pt x="586" y="95"/>
                    </a:lnTo>
                    <a:lnTo>
                      <a:pt x="624" y="128"/>
                    </a:lnTo>
                    <a:lnTo>
                      <a:pt x="628" y="152"/>
                    </a:lnTo>
                    <a:lnTo>
                      <a:pt x="650" y="156"/>
                    </a:lnTo>
                    <a:lnTo>
                      <a:pt x="661" y="185"/>
                    </a:lnTo>
                    <a:lnTo>
                      <a:pt x="624" y="230"/>
                    </a:lnTo>
                    <a:lnTo>
                      <a:pt x="624" y="251"/>
                    </a:lnTo>
                    <a:lnTo>
                      <a:pt x="624" y="284"/>
                    </a:lnTo>
                    <a:lnTo>
                      <a:pt x="640" y="296"/>
                    </a:lnTo>
                    <a:lnTo>
                      <a:pt x="683" y="279"/>
                    </a:lnTo>
                    <a:lnTo>
                      <a:pt x="699" y="284"/>
                    </a:lnTo>
                    <a:lnTo>
                      <a:pt x="683" y="317"/>
                    </a:lnTo>
                    <a:lnTo>
                      <a:pt x="699" y="338"/>
                    </a:lnTo>
                    <a:lnTo>
                      <a:pt x="716" y="362"/>
                    </a:lnTo>
                    <a:lnTo>
                      <a:pt x="721" y="362"/>
                    </a:lnTo>
                    <a:lnTo>
                      <a:pt x="737" y="407"/>
                    </a:lnTo>
                    <a:lnTo>
                      <a:pt x="754" y="407"/>
                    </a:lnTo>
                    <a:lnTo>
                      <a:pt x="775" y="433"/>
                    </a:lnTo>
                    <a:lnTo>
                      <a:pt x="985" y="506"/>
                    </a:lnTo>
                    <a:lnTo>
                      <a:pt x="1056" y="506"/>
                    </a:lnTo>
                    <a:lnTo>
                      <a:pt x="846" y="728"/>
                    </a:lnTo>
                    <a:lnTo>
                      <a:pt x="775" y="721"/>
                    </a:lnTo>
                    <a:lnTo>
                      <a:pt x="754" y="728"/>
                    </a:lnTo>
                    <a:lnTo>
                      <a:pt x="716" y="744"/>
                    </a:lnTo>
                    <a:lnTo>
                      <a:pt x="699" y="766"/>
                    </a:lnTo>
                    <a:lnTo>
                      <a:pt x="640" y="782"/>
                    </a:lnTo>
                    <a:lnTo>
                      <a:pt x="640" y="782"/>
                    </a:lnTo>
                    <a:lnTo>
                      <a:pt x="640" y="78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51" name="Freeform 447">
                <a:extLst>
                  <a:ext uri="{FF2B5EF4-FFF2-40B4-BE49-F238E27FC236}">
                    <a16:creationId xmlns:a16="http://schemas.microsoft.com/office/drawing/2014/main" id="{34AB8C23-BC4C-47C7-B5AF-7A64AED9D037}"/>
                  </a:ext>
                </a:extLst>
              </p:cNvPr>
              <p:cNvSpPr>
                <a:spLocks/>
              </p:cNvSpPr>
              <p:nvPr/>
            </p:nvSpPr>
            <p:spPr bwMode="gray">
              <a:xfrm>
                <a:off x="5147207" y="6522206"/>
                <a:ext cx="102533" cy="26569"/>
              </a:xfrm>
              <a:custGeom>
                <a:avLst/>
                <a:gdLst>
                  <a:gd name="T0" fmla="*/ 17 w 220"/>
                  <a:gd name="T1" fmla="*/ 17 h 57"/>
                  <a:gd name="T2" fmla="*/ 95 w 220"/>
                  <a:gd name="T3" fmla="*/ 17 h 57"/>
                  <a:gd name="T4" fmla="*/ 104 w 220"/>
                  <a:gd name="T5" fmla="*/ 5 h 57"/>
                  <a:gd name="T6" fmla="*/ 128 w 220"/>
                  <a:gd name="T7" fmla="*/ 0 h 57"/>
                  <a:gd name="T8" fmla="*/ 144 w 220"/>
                  <a:gd name="T9" fmla="*/ 5 h 57"/>
                  <a:gd name="T10" fmla="*/ 149 w 220"/>
                  <a:gd name="T11" fmla="*/ 17 h 57"/>
                  <a:gd name="T12" fmla="*/ 166 w 220"/>
                  <a:gd name="T13" fmla="*/ 17 h 57"/>
                  <a:gd name="T14" fmla="*/ 182 w 220"/>
                  <a:gd name="T15" fmla="*/ 33 h 57"/>
                  <a:gd name="T16" fmla="*/ 204 w 220"/>
                  <a:gd name="T17" fmla="*/ 17 h 57"/>
                  <a:gd name="T18" fmla="*/ 220 w 220"/>
                  <a:gd name="T19" fmla="*/ 33 h 57"/>
                  <a:gd name="T20" fmla="*/ 215 w 220"/>
                  <a:gd name="T21" fmla="*/ 41 h 57"/>
                  <a:gd name="T22" fmla="*/ 182 w 220"/>
                  <a:gd name="T23" fmla="*/ 50 h 57"/>
                  <a:gd name="T24" fmla="*/ 128 w 220"/>
                  <a:gd name="T25" fmla="*/ 17 h 57"/>
                  <a:gd name="T26" fmla="*/ 111 w 220"/>
                  <a:gd name="T27" fmla="*/ 33 h 57"/>
                  <a:gd name="T28" fmla="*/ 74 w 220"/>
                  <a:gd name="T29" fmla="*/ 41 h 57"/>
                  <a:gd name="T30" fmla="*/ 74 w 220"/>
                  <a:gd name="T31" fmla="*/ 50 h 57"/>
                  <a:gd name="T32" fmla="*/ 12 w 220"/>
                  <a:gd name="T33" fmla="*/ 50 h 57"/>
                  <a:gd name="T34" fmla="*/ 12 w 220"/>
                  <a:gd name="T35" fmla="*/ 57 h 57"/>
                  <a:gd name="T36" fmla="*/ 0 w 220"/>
                  <a:gd name="T37" fmla="*/ 33 h 57"/>
                  <a:gd name="T38" fmla="*/ 12 w 220"/>
                  <a:gd name="T39" fmla="*/ 22 h 57"/>
                  <a:gd name="T40" fmla="*/ 17 w 220"/>
                  <a:gd name="T41" fmla="*/ 33 h 57"/>
                  <a:gd name="T42" fmla="*/ 24 w 220"/>
                  <a:gd name="T43" fmla="*/ 41 h 57"/>
                  <a:gd name="T44" fmla="*/ 41 w 220"/>
                  <a:gd name="T45" fmla="*/ 41 h 57"/>
                  <a:gd name="T46" fmla="*/ 50 w 220"/>
                  <a:gd name="T47" fmla="*/ 41 h 57"/>
                  <a:gd name="T48" fmla="*/ 50 w 220"/>
                  <a:gd name="T49" fmla="*/ 41 h 57"/>
                  <a:gd name="T50" fmla="*/ 41 w 220"/>
                  <a:gd name="T51" fmla="*/ 41 h 57"/>
                  <a:gd name="T52" fmla="*/ 50 w 220"/>
                  <a:gd name="T53" fmla="*/ 33 h 57"/>
                  <a:gd name="T54" fmla="*/ 111 w 220"/>
                  <a:gd name="T55" fmla="*/ 22 h 57"/>
                  <a:gd name="T56" fmla="*/ 95 w 220"/>
                  <a:gd name="T57" fmla="*/ 22 h 57"/>
                  <a:gd name="T58" fmla="*/ 50 w 220"/>
                  <a:gd name="T59" fmla="*/ 33 h 57"/>
                  <a:gd name="T60" fmla="*/ 33 w 220"/>
                  <a:gd name="T61" fmla="*/ 41 h 57"/>
                  <a:gd name="T62" fmla="*/ 24 w 220"/>
                  <a:gd name="T63" fmla="*/ 33 h 57"/>
                  <a:gd name="T64" fmla="*/ 17 w 220"/>
                  <a:gd name="T65" fmla="*/ 17 h 57"/>
                  <a:gd name="T66" fmla="*/ 17 w 220"/>
                  <a:gd name="T67" fmla="*/ 17 h 57"/>
                  <a:gd name="T68" fmla="*/ 17 w 220"/>
                  <a:gd name="T69" fmla="*/ 1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0" h="57">
                    <a:moveTo>
                      <a:pt x="17" y="17"/>
                    </a:moveTo>
                    <a:lnTo>
                      <a:pt x="95" y="17"/>
                    </a:lnTo>
                    <a:lnTo>
                      <a:pt x="104" y="5"/>
                    </a:lnTo>
                    <a:lnTo>
                      <a:pt x="128" y="0"/>
                    </a:lnTo>
                    <a:lnTo>
                      <a:pt x="144" y="5"/>
                    </a:lnTo>
                    <a:lnTo>
                      <a:pt x="149" y="17"/>
                    </a:lnTo>
                    <a:lnTo>
                      <a:pt x="166" y="17"/>
                    </a:lnTo>
                    <a:lnTo>
                      <a:pt x="182" y="33"/>
                    </a:lnTo>
                    <a:lnTo>
                      <a:pt x="204" y="17"/>
                    </a:lnTo>
                    <a:lnTo>
                      <a:pt x="220" y="33"/>
                    </a:lnTo>
                    <a:lnTo>
                      <a:pt x="215" y="41"/>
                    </a:lnTo>
                    <a:lnTo>
                      <a:pt x="182" y="50"/>
                    </a:lnTo>
                    <a:lnTo>
                      <a:pt x="128" y="17"/>
                    </a:lnTo>
                    <a:lnTo>
                      <a:pt x="111" y="33"/>
                    </a:lnTo>
                    <a:lnTo>
                      <a:pt x="74" y="41"/>
                    </a:lnTo>
                    <a:lnTo>
                      <a:pt x="74" y="50"/>
                    </a:lnTo>
                    <a:lnTo>
                      <a:pt x="12" y="50"/>
                    </a:lnTo>
                    <a:lnTo>
                      <a:pt x="12" y="57"/>
                    </a:lnTo>
                    <a:lnTo>
                      <a:pt x="0" y="33"/>
                    </a:lnTo>
                    <a:lnTo>
                      <a:pt x="12" y="22"/>
                    </a:lnTo>
                    <a:lnTo>
                      <a:pt x="17" y="33"/>
                    </a:lnTo>
                    <a:lnTo>
                      <a:pt x="24" y="41"/>
                    </a:lnTo>
                    <a:lnTo>
                      <a:pt x="41" y="41"/>
                    </a:lnTo>
                    <a:lnTo>
                      <a:pt x="50" y="41"/>
                    </a:lnTo>
                    <a:lnTo>
                      <a:pt x="50" y="41"/>
                    </a:lnTo>
                    <a:lnTo>
                      <a:pt x="41" y="41"/>
                    </a:lnTo>
                    <a:lnTo>
                      <a:pt x="50" y="33"/>
                    </a:lnTo>
                    <a:lnTo>
                      <a:pt x="111" y="22"/>
                    </a:lnTo>
                    <a:lnTo>
                      <a:pt x="95" y="22"/>
                    </a:lnTo>
                    <a:lnTo>
                      <a:pt x="50" y="33"/>
                    </a:lnTo>
                    <a:lnTo>
                      <a:pt x="33" y="41"/>
                    </a:lnTo>
                    <a:lnTo>
                      <a:pt x="24" y="33"/>
                    </a:lnTo>
                    <a:lnTo>
                      <a:pt x="17" y="17"/>
                    </a:lnTo>
                    <a:lnTo>
                      <a:pt x="17" y="17"/>
                    </a:lnTo>
                    <a:lnTo>
                      <a:pt x="17"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52" name="Freeform 448">
                <a:extLst>
                  <a:ext uri="{FF2B5EF4-FFF2-40B4-BE49-F238E27FC236}">
                    <a16:creationId xmlns:a16="http://schemas.microsoft.com/office/drawing/2014/main" id="{FD1B9024-27EB-4507-A4FB-F6207BFD043F}"/>
                  </a:ext>
                </a:extLst>
              </p:cNvPr>
              <p:cNvSpPr>
                <a:spLocks noEditPoints="1"/>
              </p:cNvSpPr>
              <p:nvPr/>
            </p:nvSpPr>
            <p:spPr bwMode="gray">
              <a:xfrm>
                <a:off x="5984256" y="6912344"/>
                <a:ext cx="188290" cy="210218"/>
              </a:xfrm>
              <a:custGeom>
                <a:avLst/>
                <a:gdLst>
                  <a:gd name="T0" fmla="*/ 359 w 404"/>
                  <a:gd name="T1" fmla="*/ 184 h 451"/>
                  <a:gd name="T2" fmla="*/ 380 w 404"/>
                  <a:gd name="T3" fmla="*/ 200 h 451"/>
                  <a:gd name="T4" fmla="*/ 404 w 404"/>
                  <a:gd name="T5" fmla="*/ 212 h 451"/>
                  <a:gd name="T6" fmla="*/ 404 w 404"/>
                  <a:gd name="T7" fmla="*/ 257 h 451"/>
                  <a:gd name="T8" fmla="*/ 387 w 404"/>
                  <a:gd name="T9" fmla="*/ 311 h 451"/>
                  <a:gd name="T10" fmla="*/ 359 w 404"/>
                  <a:gd name="T11" fmla="*/ 344 h 451"/>
                  <a:gd name="T12" fmla="*/ 333 w 404"/>
                  <a:gd name="T13" fmla="*/ 344 h 451"/>
                  <a:gd name="T14" fmla="*/ 290 w 404"/>
                  <a:gd name="T15" fmla="*/ 307 h 451"/>
                  <a:gd name="T16" fmla="*/ 269 w 404"/>
                  <a:gd name="T17" fmla="*/ 307 h 451"/>
                  <a:gd name="T18" fmla="*/ 257 w 404"/>
                  <a:gd name="T19" fmla="*/ 340 h 451"/>
                  <a:gd name="T20" fmla="*/ 224 w 404"/>
                  <a:gd name="T21" fmla="*/ 340 h 451"/>
                  <a:gd name="T22" fmla="*/ 198 w 404"/>
                  <a:gd name="T23" fmla="*/ 340 h 451"/>
                  <a:gd name="T24" fmla="*/ 198 w 404"/>
                  <a:gd name="T25" fmla="*/ 378 h 451"/>
                  <a:gd name="T26" fmla="*/ 215 w 404"/>
                  <a:gd name="T27" fmla="*/ 385 h 451"/>
                  <a:gd name="T28" fmla="*/ 224 w 404"/>
                  <a:gd name="T29" fmla="*/ 406 h 451"/>
                  <a:gd name="T30" fmla="*/ 219 w 404"/>
                  <a:gd name="T31" fmla="*/ 434 h 451"/>
                  <a:gd name="T32" fmla="*/ 198 w 404"/>
                  <a:gd name="T33" fmla="*/ 422 h 451"/>
                  <a:gd name="T34" fmla="*/ 165 w 404"/>
                  <a:gd name="T35" fmla="*/ 451 h 451"/>
                  <a:gd name="T36" fmla="*/ 63 w 404"/>
                  <a:gd name="T37" fmla="*/ 344 h 451"/>
                  <a:gd name="T38" fmla="*/ 96 w 404"/>
                  <a:gd name="T39" fmla="*/ 352 h 451"/>
                  <a:gd name="T40" fmla="*/ 89 w 404"/>
                  <a:gd name="T41" fmla="*/ 352 h 451"/>
                  <a:gd name="T42" fmla="*/ 75 w 404"/>
                  <a:gd name="T43" fmla="*/ 344 h 451"/>
                  <a:gd name="T44" fmla="*/ 42 w 404"/>
                  <a:gd name="T45" fmla="*/ 307 h 451"/>
                  <a:gd name="T46" fmla="*/ 59 w 404"/>
                  <a:gd name="T47" fmla="*/ 311 h 451"/>
                  <a:gd name="T48" fmla="*/ 37 w 404"/>
                  <a:gd name="T49" fmla="*/ 295 h 451"/>
                  <a:gd name="T50" fmla="*/ 21 w 404"/>
                  <a:gd name="T51" fmla="*/ 257 h 451"/>
                  <a:gd name="T52" fmla="*/ 54 w 404"/>
                  <a:gd name="T53" fmla="*/ 290 h 451"/>
                  <a:gd name="T54" fmla="*/ 54 w 404"/>
                  <a:gd name="T55" fmla="*/ 274 h 451"/>
                  <a:gd name="T56" fmla="*/ 42 w 404"/>
                  <a:gd name="T57" fmla="*/ 257 h 451"/>
                  <a:gd name="T58" fmla="*/ 21 w 404"/>
                  <a:gd name="T59" fmla="*/ 257 h 451"/>
                  <a:gd name="T60" fmla="*/ 0 w 404"/>
                  <a:gd name="T61" fmla="*/ 212 h 451"/>
                  <a:gd name="T62" fmla="*/ 42 w 404"/>
                  <a:gd name="T63" fmla="*/ 196 h 451"/>
                  <a:gd name="T64" fmla="*/ 54 w 404"/>
                  <a:gd name="T65" fmla="*/ 155 h 451"/>
                  <a:gd name="T66" fmla="*/ 80 w 404"/>
                  <a:gd name="T67" fmla="*/ 155 h 451"/>
                  <a:gd name="T68" fmla="*/ 42 w 404"/>
                  <a:gd name="T69" fmla="*/ 127 h 451"/>
                  <a:gd name="T70" fmla="*/ 59 w 404"/>
                  <a:gd name="T71" fmla="*/ 118 h 451"/>
                  <a:gd name="T72" fmla="*/ 59 w 404"/>
                  <a:gd name="T73" fmla="*/ 101 h 451"/>
                  <a:gd name="T74" fmla="*/ 75 w 404"/>
                  <a:gd name="T75" fmla="*/ 101 h 451"/>
                  <a:gd name="T76" fmla="*/ 89 w 404"/>
                  <a:gd name="T77" fmla="*/ 101 h 451"/>
                  <a:gd name="T78" fmla="*/ 182 w 404"/>
                  <a:gd name="T79" fmla="*/ 11 h 451"/>
                  <a:gd name="T80" fmla="*/ 252 w 404"/>
                  <a:gd name="T81" fmla="*/ 0 h 451"/>
                  <a:gd name="T82" fmla="*/ 311 w 404"/>
                  <a:gd name="T83" fmla="*/ 0 h 451"/>
                  <a:gd name="T84" fmla="*/ 307 w 404"/>
                  <a:gd name="T85" fmla="*/ 44 h 451"/>
                  <a:gd name="T86" fmla="*/ 311 w 404"/>
                  <a:gd name="T87" fmla="*/ 85 h 451"/>
                  <a:gd name="T88" fmla="*/ 380 w 404"/>
                  <a:gd name="T89" fmla="*/ 68 h 451"/>
                  <a:gd name="T90" fmla="*/ 387 w 404"/>
                  <a:gd name="T91" fmla="*/ 122 h 451"/>
                  <a:gd name="T92" fmla="*/ 366 w 404"/>
                  <a:gd name="T93" fmla="*/ 146 h 451"/>
                  <a:gd name="T94" fmla="*/ 359 w 404"/>
                  <a:gd name="T95" fmla="*/ 179 h 451"/>
                  <a:gd name="T96" fmla="*/ 21 w 404"/>
                  <a:gd name="T97" fmla="*/ 229 h 451"/>
                  <a:gd name="T98" fmla="*/ 21 w 404"/>
                  <a:gd name="T99" fmla="*/ 212 h 451"/>
                  <a:gd name="T100" fmla="*/ 21 w 404"/>
                  <a:gd name="T101" fmla="*/ 229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4" h="451">
                    <a:moveTo>
                      <a:pt x="359" y="179"/>
                    </a:moveTo>
                    <a:lnTo>
                      <a:pt x="359" y="184"/>
                    </a:lnTo>
                    <a:lnTo>
                      <a:pt x="375" y="184"/>
                    </a:lnTo>
                    <a:lnTo>
                      <a:pt x="380" y="200"/>
                    </a:lnTo>
                    <a:lnTo>
                      <a:pt x="396" y="200"/>
                    </a:lnTo>
                    <a:lnTo>
                      <a:pt x="404" y="212"/>
                    </a:lnTo>
                    <a:lnTo>
                      <a:pt x="396" y="240"/>
                    </a:lnTo>
                    <a:lnTo>
                      <a:pt x="404" y="257"/>
                    </a:lnTo>
                    <a:lnTo>
                      <a:pt x="396" y="307"/>
                    </a:lnTo>
                    <a:lnTo>
                      <a:pt x="387" y="311"/>
                    </a:lnTo>
                    <a:lnTo>
                      <a:pt x="375" y="344"/>
                    </a:lnTo>
                    <a:lnTo>
                      <a:pt x="359" y="344"/>
                    </a:lnTo>
                    <a:lnTo>
                      <a:pt x="349" y="323"/>
                    </a:lnTo>
                    <a:lnTo>
                      <a:pt x="333" y="344"/>
                    </a:lnTo>
                    <a:lnTo>
                      <a:pt x="295" y="340"/>
                    </a:lnTo>
                    <a:lnTo>
                      <a:pt x="290" y="307"/>
                    </a:lnTo>
                    <a:lnTo>
                      <a:pt x="274" y="295"/>
                    </a:lnTo>
                    <a:lnTo>
                      <a:pt x="269" y="307"/>
                    </a:lnTo>
                    <a:lnTo>
                      <a:pt x="257" y="307"/>
                    </a:lnTo>
                    <a:lnTo>
                      <a:pt x="257" y="340"/>
                    </a:lnTo>
                    <a:lnTo>
                      <a:pt x="236" y="344"/>
                    </a:lnTo>
                    <a:lnTo>
                      <a:pt x="224" y="340"/>
                    </a:lnTo>
                    <a:lnTo>
                      <a:pt x="215" y="344"/>
                    </a:lnTo>
                    <a:lnTo>
                      <a:pt x="198" y="340"/>
                    </a:lnTo>
                    <a:lnTo>
                      <a:pt x="203" y="352"/>
                    </a:lnTo>
                    <a:lnTo>
                      <a:pt x="198" y="378"/>
                    </a:lnTo>
                    <a:lnTo>
                      <a:pt x="203" y="368"/>
                    </a:lnTo>
                    <a:lnTo>
                      <a:pt x="215" y="385"/>
                    </a:lnTo>
                    <a:lnTo>
                      <a:pt x="203" y="401"/>
                    </a:lnTo>
                    <a:lnTo>
                      <a:pt x="224" y="406"/>
                    </a:lnTo>
                    <a:lnTo>
                      <a:pt x="219" y="422"/>
                    </a:lnTo>
                    <a:lnTo>
                      <a:pt x="219" y="434"/>
                    </a:lnTo>
                    <a:lnTo>
                      <a:pt x="215" y="434"/>
                    </a:lnTo>
                    <a:lnTo>
                      <a:pt x="198" y="422"/>
                    </a:lnTo>
                    <a:lnTo>
                      <a:pt x="172" y="434"/>
                    </a:lnTo>
                    <a:lnTo>
                      <a:pt x="165" y="451"/>
                    </a:lnTo>
                    <a:lnTo>
                      <a:pt x="118" y="394"/>
                    </a:lnTo>
                    <a:lnTo>
                      <a:pt x="63" y="344"/>
                    </a:lnTo>
                    <a:lnTo>
                      <a:pt x="89" y="361"/>
                    </a:lnTo>
                    <a:lnTo>
                      <a:pt x="96" y="352"/>
                    </a:lnTo>
                    <a:lnTo>
                      <a:pt x="96" y="352"/>
                    </a:lnTo>
                    <a:lnTo>
                      <a:pt x="89" y="352"/>
                    </a:lnTo>
                    <a:lnTo>
                      <a:pt x="80" y="344"/>
                    </a:lnTo>
                    <a:lnTo>
                      <a:pt x="75" y="344"/>
                    </a:lnTo>
                    <a:lnTo>
                      <a:pt x="59" y="340"/>
                    </a:lnTo>
                    <a:lnTo>
                      <a:pt x="42" y="307"/>
                    </a:lnTo>
                    <a:lnTo>
                      <a:pt x="54" y="307"/>
                    </a:lnTo>
                    <a:lnTo>
                      <a:pt x="59" y="311"/>
                    </a:lnTo>
                    <a:lnTo>
                      <a:pt x="54" y="307"/>
                    </a:lnTo>
                    <a:lnTo>
                      <a:pt x="37" y="295"/>
                    </a:lnTo>
                    <a:lnTo>
                      <a:pt x="37" y="283"/>
                    </a:lnTo>
                    <a:lnTo>
                      <a:pt x="21" y="257"/>
                    </a:lnTo>
                    <a:lnTo>
                      <a:pt x="37" y="290"/>
                    </a:lnTo>
                    <a:lnTo>
                      <a:pt x="54" y="290"/>
                    </a:lnTo>
                    <a:lnTo>
                      <a:pt x="54" y="283"/>
                    </a:lnTo>
                    <a:lnTo>
                      <a:pt x="54" y="274"/>
                    </a:lnTo>
                    <a:lnTo>
                      <a:pt x="37" y="283"/>
                    </a:lnTo>
                    <a:lnTo>
                      <a:pt x="42" y="257"/>
                    </a:lnTo>
                    <a:lnTo>
                      <a:pt x="37" y="266"/>
                    </a:lnTo>
                    <a:lnTo>
                      <a:pt x="21" y="257"/>
                    </a:lnTo>
                    <a:lnTo>
                      <a:pt x="0" y="212"/>
                    </a:lnTo>
                    <a:lnTo>
                      <a:pt x="0" y="212"/>
                    </a:lnTo>
                    <a:lnTo>
                      <a:pt x="21" y="229"/>
                    </a:lnTo>
                    <a:lnTo>
                      <a:pt x="42" y="196"/>
                    </a:lnTo>
                    <a:lnTo>
                      <a:pt x="42" y="139"/>
                    </a:lnTo>
                    <a:lnTo>
                      <a:pt x="54" y="155"/>
                    </a:lnTo>
                    <a:lnTo>
                      <a:pt x="75" y="163"/>
                    </a:lnTo>
                    <a:lnTo>
                      <a:pt x="80" y="155"/>
                    </a:lnTo>
                    <a:lnTo>
                      <a:pt x="54" y="146"/>
                    </a:lnTo>
                    <a:lnTo>
                      <a:pt x="42" y="127"/>
                    </a:lnTo>
                    <a:lnTo>
                      <a:pt x="42" y="122"/>
                    </a:lnTo>
                    <a:lnTo>
                      <a:pt x="59" y="118"/>
                    </a:lnTo>
                    <a:lnTo>
                      <a:pt x="59" y="127"/>
                    </a:lnTo>
                    <a:lnTo>
                      <a:pt x="59" y="101"/>
                    </a:lnTo>
                    <a:lnTo>
                      <a:pt x="63" y="89"/>
                    </a:lnTo>
                    <a:lnTo>
                      <a:pt x="75" y="101"/>
                    </a:lnTo>
                    <a:lnTo>
                      <a:pt x="80" y="101"/>
                    </a:lnTo>
                    <a:lnTo>
                      <a:pt x="89" y="101"/>
                    </a:lnTo>
                    <a:lnTo>
                      <a:pt x="182" y="101"/>
                    </a:lnTo>
                    <a:lnTo>
                      <a:pt x="182" y="11"/>
                    </a:lnTo>
                    <a:lnTo>
                      <a:pt x="182" y="0"/>
                    </a:lnTo>
                    <a:lnTo>
                      <a:pt x="252" y="0"/>
                    </a:lnTo>
                    <a:lnTo>
                      <a:pt x="278" y="0"/>
                    </a:lnTo>
                    <a:lnTo>
                      <a:pt x="311" y="0"/>
                    </a:lnTo>
                    <a:lnTo>
                      <a:pt x="321" y="11"/>
                    </a:lnTo>
                    <a:lnTo>
                      <a:pt x="307" y="44"/>
                    </a:lnTo>
                    <a:lnTo>
                      <a:pt x="311" y="68"/>
                    </a:lnTo>
                    <a:lnTo>
                      <a:pt x="311" y="85"/>
                    </a:lnTo>
                    <a:lnTo>
                      <a:pt x="349" y="68"/>
                    </a:lnTo>
                    <a:lnTo>
                      <a:pt x="380" y="68"/>
                    </a:lnTo>
                    <a:lnTo>
                      <a:pt x="404" y="101"/>
                    </a:lnTo>
                    <a:lnTo>
                      <a:pt x="387" y="122"/>
                    </a:lnTo>
                    <a:lnTo>
                      <a:pt x="375" y="127"/>
                    </a:lnTo>
                    <a:lnTo>
                      <a:pt x="366" y="146"/>
                    </a:lnTo>
                    <a:lnTo>
                      <a:pt x="359" y="179"/>
                    </a:lnTo>
                    <a:lnTo>
                      <a:pt x="359" y="179"/>
                    </a:lnTo>
                    <a:lnTo>
                      <a:pt x="359" y="179"/>
                    </a:lnTo>
                    <a:close/>
                    <a:moveTo>
                      <a:pt x="21" y="229"/>
                    </a:moveTo>
                    <a:lnTo>
                      <a:pt x="9" y="217"/>
                    </a:lnTo>
                    <a:lnTo>
                      <a:pt x="21" y="212"/>
                    </a:lnTo>
                    <a:lnTo>
                      <a:pt x="21" y="229"/>
                    </a:lnTo>
                    <a:lnTo>
                      <a:pt x="21" y="229"/>
                    </a:lnTo>
                    <a:lnTo>
                      <a:pt x="21" y="22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53" name="Freeform 450">
                <a:extLst>
                  <a:ext uri="{FF2B5EF4-FFF2-40B4-BE49-F238E27FC236}">
                    <a16:creationId xmlns:a16="http://schemas.microsoft.com/office/drawing/2014/main" id="{A99403D1-A4DB-474B-8F8A-00F9972F4D0F}"/>
                  </a:ext>
                </a:extLst>
              </p:cNvPr>
              <p:cNvSpPr>
                <a:spLocks/>
              </p:cNvSpPr>
              <p:nvPr/>
            </p:nvSpPr>
            <p:spPr bwMode="gray">
              <a:xfrm>
                <a:off x="5592297" y="6614964"/>
                <a:ext cx="145412" cy="217676"/>
              </a:xfrm>
              <a:custGeom>
                <a:avLst/>
                <a:gdLst>
                  <a:gd name="T0" fmla="*/ 16 w 312"/>
                  <a:gd name="T1" fmla="*/ 432 h 467"/>
                  <a:gd name="T2" fmla="*/ 16 w 312"/>
                  <a:gd name="T3" fmla="*/ 432 h 467"/>
                  <a:gd name="T4" fmla="*/ 21 w 312"/>
                  <a:gd name="T5" fmla="*/ 432 h 467"/>
                  <a:gd name="T6" fmla="*/ 38 w 312"/>
                  <a:gd name="T7" fmla="*/ 432 h 467"/>
                  <a:gd name="T8" fmla="*/ 38 w 312"/>
                  <a:gd name="T9" fmla="*/ 406 h 467"/>
                  <a:gd name="T10" fmla="*/ 21 w 312"/>
                  <a:gd name="T11" fmla="*/ 394 h 467"/>
                  <a:gd name="T12" fmla="*/ 0 w 312"/>
                  <a:gd name="T13" fmla="*/ 321 h 467"/>
                  <a:gd name="T14" fmla="*/ 4 w 312"/>
                  <a:gd name="T15" fmla="*/ 316 h 467"/>
                  <a:gd name="T16" fmla="*/ 21 w 312"/>
                  <a:gd name="T17" fmla="*/ 295 h 467"/>
                  <a:gd name="T18" fmla="*/ 38 w 312"/>
                  <a:gd name="T19" fmla="*/ 227 h 467"/>
                  <a:gd name="T20" fmla="*/ 54 w 312"/>
                  <a:gd name="T21" fmla="*/ 210 h 467"/>
                  <a:gd name="T22" fmla="*/ 42 w 312"/>
                  <a:gd name="T23" fmla="*/ 156 h 467"/>
                  <a:gd name="T24" fmla="*/ 38 w 312"/>
                  <a:gd name="T25" fmla="*/ 149 h 467"/>
                  <a:gd name="T26" fmla="*/ 42 w 312"/>
                  <a:gd name="T27" fmla="*/ 116 h 467"/>
                  <a:gd name="T28" fmla="*/ 38 w 312"/>
                  <a:gd name="T29" fmla="*/ 111 h 467"/>
                  <a:gd name="T30" fmla="*/ 38 w 312"/>
                  <a:gd name="T31" fmla="*/ 61 h 467"/>
                  <a:gd name="T32" fmla="*/ 21 w 312"/>
                  <a:gd name="T33" fmla="*/ 26 h 467"/>
                  <a:gd name="T34" fmla="*/ 30 w 312"/>
                  <a:gd name="T35" fmla="*/ 5 h 467"/>
                  <a:gd name="T36" fmla="*/ 160 w 312"/>
                  <a:gd name="T37" fmla="*/ 5 h 467"/>
                  <a:gd name="T38" fmla="*/ 182 w 312"/>
                  <a:gd name="T39" fmla="*/ 5 h 467"/>
                  <a:gd name="T40" fmla="*/ 182 w 312"/>
                  <a:gd name="T41" fmla="*/ 16 h 467"/>
                  <a:gd name="T42" fmla="*/ 205 w 312"/>
                  <a:gd name="T43" fmla="*/ 0 h 467"/>
                  <a:gd name="T44" fmla="*/ 219 w 312"/>
                  <a:gd name="T45" fmla="*/ 0 h 467"/>
                  <a:gd name="T46" fmla="*/ 231 w 312"/>
                  <a:gd name="T47" fmla="*/ 5 h 467"/>
                  <a:gd name="T48" fmla="*/ 219 w 312"/>
                  <a:gd name="T49" fmla="*/ 26 h 467"/>
                  <a:gd name="T50" fmla="*/ 252 w 312"/>
                  <a:gd name="T51" fmla="*/ 54 h 467"/>
                  <a:gd name="T52" fmla="*/ 252 w 312"/>
                  <a:gd name="T53" fmla="*/ 61 h 467"/>
                  <a:gd name="T54" fmla="*/ 257 w 312"/>
                  <a:gd name="T55" fmla="*/ 78 h 467"/>
                  <a:gd name="T56" fmla="*/ 248 w 312"/>
                  <a:gd name="T57" fmla="*/ 116 h 467"/>
                  <a:gd name="T58" fmla="*/ 257 w 312"/>
                  <a:gd name="T59" fmla="*/ 116 h 467"/>
                  <a:gd name="T60" fmla="*/ 269 w 312"/>
                  <a:gd name="T61" fmla="*/ 127 h 467"/>
                  <a:gd name="T62" fmla="*/ 257 w 312"/>
                  <a:gd name="T63" fmla="*/ 149 h 467"/>
                  <a:gd name="T64" fmla="*/ 269 w 312"/>
                  <a:gd name="T65" fmla="*/ 165 h 467"/>
                  <a:gd name="T66" fmla="*/ 252 w 312"/>
                  <a:gd name="T67" fmla="*/ 172 h 467"/>
                  <a:gd name="T68" fmla="*/ 286 w 312"/>
                  <a:gd name="T69" fmla="*/ 205 h 467"/>
                  <a:gd name="T70" fmla="*/ 274 w 312"/>
                  <a:gd name="T71" fmla="*/ 210 h 467"/>
                  <a:gd name="T72" fmla="*/ 269 w 312"/>
                  <a:gd name="T73" fmla="*/ 243 h 467"/>
                  <a:gd name="T74" fmla="*/ 269 w 312"/>
                  <a:gd name="T75" fmla="*/ 260 h 467"/>
                  <a:gd name="T76" fmla="*/ 269 w 312"/>
                  <a:gd name="T77" fmla="*/ 267 h 467"/>
                  <a:gd name="T78" fmla="*/ 274 w 312"/>
                  <a:gd name="T79" fmla="*/ 276 h 467"/>
                  <a:gd name="T80" fmla="*/ 274 w 312"/>
                  <a:gd name="T81" fmla="*/ 300 h 467"/>
                  <a:gd name="T82" fmla="*/ 269 w 312"/>
                  <a:gd name="T83" fmla="*/ 300 h 467"/>
                  <a:gd name="T84" fmla="*/ 286 w 312"/>
                  <a:gd name="T85" fmla="*/ 338 h 467"/>
                  <a:gd name="T86" fmla="*/ 302 w 312"/>
                  <a:gd name="T87" fmla="*/ 349 h 467"/>
                  <a:gd name="T88" fmla="*/ 312 w 312"/>
                  <a:gd name="T89" fmla="*/ 361 h 467"/>
                  <a:gd name="T90" fmla="*/ 302 w 312"/>
                  <a:gd name="T91" fmla="*/ 390 h 467"/>
                  <a:gd name="T92" fmla="*/ 274 w 312"/>
                  <a:gd name="T93" fmla="*/ 390 h 467"/>
                  <a:gd name="T94" fmla="*/ 269 w 312"/>
                  <a:gd name="T95" fmla="*/ 373 h 467"/>
                  <a:gd name="T96" fmla="*/ 248 w 312"/>
                  <a:gd name="T97" fmla="*/ 361 h 467"/>
                  <a:gd name="T98" fmla="*/ 269 w 312"/>
                  <a:gd name="T99" fmla="*/ 373 h 467"/>
                  <a:gd name="T100" fmla="*/ 274 w 312"/>
                  <a:gd name="T101" fmla="*/ 390 h 467"/>
                  <a:gd name="T102" fmla="*/ 248 w 312"/>
                  <a:gd name="T103" fmla="*/ 390 h 467"/>
                  <a:gd name="T104" fmla="*/ 177 w 312"/>
                  <a:gd name="T105" fmla="*/ 427 h 467"/>
                  <a:gd name="T106" fmla="*/ 113 w 312"/>
                  <a:gd name="T107" fmla="*/ 444 h 467"/>
                  <a:gd name="T108" fmla="*/ 85 w 312"/>
                  <a:gd name="T109" fmla="*/ 467 h 467"/>
                  <a:gd name="T110" fmla="*/ 68 w 312"/>
                  <a:gd name="T111" fmla="*/ 451 h 467"/>
                  <a:gd name="T112" fmla="*/ 16 w 312"/>
                  <a:gd name="T113" fmla="*/ 432 h 467"/>
                  <a:gd name="T114" fmla="*/ 16 w 312"/>
                  <a:gd name="T115" fmla="*/ 432 h 467"/>
                  <a:gd name="T116" fmla="*/ 16 w 312"/>
                  <a:gd name="T117" fmla="*/ 432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2" h="467">
                    <a:moveTo>
                      <a:pt x="16" y="432"/>
                    </a:moveTo>
                    <a:lnTo>
                      <a:pt x="16" y="432"/>
                    </a:lnTo>
                    <a:lnTo>
                      <a:pt x="21" y="432"/>
                    </a:lnTo>
                    <a:lnTo>
                      <a:pt x="38" y="432"/>
                    </a:lnTo>
                    <a:lnTo>
                      <a:pt x="38" y="406"/>
                    </a:lnTo>
                    <a:lnTo>
                      <a:pt x="21" y="394"/>
                    </a:lnTo>
                    <a:lnTo>
                      <a:pt x="0" y="321"/>
                    </a:lnTo>
                    <a:lnTo>
                      <a:pt x="4" y="316"/>
                    </a:lnTo>
                    <a:lnTo>
                      <a:pt x="21" y="295"/>
                    </a:lnTo>
                    <a:lnTo>
                      <a:pt x="38" y="227"/>
                    </a:lnTo>
                    <a:lnTo>
                      <a:pt x="54" y="210"/>
                    </a:lnTo>
                    <a:lnTo>
                      <a:pt x="42" y="156"/>
                    </a:lnTo>
                    <a:lnTo>
                      <a:pt x="38" y="149"/>
                    </a:lnTo>
                    <a:lnTo>
                      <a:pt x="42" y="116"/>
                    </a:lnTo>
                    <a:lnTo>
                      <a:pt x="38" y="111"/>
                    </a:lnTo>
                    <a:lnTo>
                      <a:pt x="38" y="61"/>
                    </a:lnTo>
                    <a:lnTo>
                      <a:pt x="21" y="26"/>
                    </a:lnTo>
                    <a:lnTo>
                      <a:pt x="30" y="5"/>
                    </a:lnTo>
                    <a:lnTo>
                      <a:pt x="160" y="5"/>
                    </a:lnTo>
                    <a:lnTo>
                      <a:pt x="182" y="5"/>
                    </a:lnTo>
                    <a:lnTo>
                      <a:pt x="182" y="16"/>
                    </a:lnTo>
                    <a:lnTo>
                      <a:pt x="205" y="0"/>
                    </a:lnTo>
                    <a:lnTo>
                      <a:pt x="219" y="0"/>
                    </a:lnTo>
                    <a:lnTo>
                      <a:pt x="231" y="5"/>
                    </a:lnTo>
                    <a:lnTo>
                      <a:pt x="219" y="26"/>
                    </a:lnTo>
                    <a:lnTo>
                      <a:pt x="252" y="54"/>
                    </a:lnTo>
                    <a:lnTo>
                      <a:pt x="252" y="61"/>
                    </a:lnTo>
                    <a:lnTo>
                      <a:pt x="257" y="78"/>
                    </a:lnTo>
                    <a:lnTo>
                      <a:pt x="248" y="116"/>
                    </a:lnTo>
                    <a:lnTo>
                      <a:pt x="257" y="116"/>
                    </a:lnTo>
                    <a:lnTo>
                      <a:pt x="269" y="127"/>
                    </a:lnTo>
                    <a:lnTo>
                      <a:pt x="257" y="149"/>
                    </a:lnTo>
                    <a:lnTo>
                      <a:pt x="269" y="165"/>
                    </a:lnTo>
                    <a:lnTo>
                      <a:pt x="252" y="172"/>
                    </a:lnTo>
                    <a:lnTo>
                      <a:pt x="286" y="205"/>
                    </a:lnTo>
                    <a:lnTo>
                      <a:pt x="274" y="210"/>
                    </a:lnTo>
                    <a:lnTo>
                      <a:pt x="269" y="243"/>
                    </a:lnTo>
                    <a:lnTo>
                      <a:pt x="269" y="260"/>
                    </a:lnTo>
                    <a:lnTo>
                      <a:pt x="269" y="267"/>
                    </a:lnTo>
                    <a:lnTo>
                      <a:pt x="274" y="276"/>
                    </a:lnTo>
                    <a:lnTo>
                      <a:pt x="274" y="300"/>
                    </a:lnTo>
                    <a:lnTo>
                      <a:pt x="269" y="300"/>
                    </a:lnTo>
                    <a:lnTo>
                      <a:pt x="286" y="338"/>
                    </a:lnTo>
                    <a:lnTo>
                      <a:pt x="302" y="349"/>
                    </a:lnTo>
                    <a:lnTo>
                      <a:pt x="312" y="361"/>
                    </a:lnTo>
                    <a:lnTo>
                      <a:pt x="302" y="390"/>
                    </a:lnTo>
                    <a:lnTo>
                      <a:pt x="274" y="390"/>
                    </a:lnTo>
                    <a:lnTo>
                      <a:pt x="269" y="373"/>
                    </a:lnTo>
                    <a:lnTo>
                      <a:pt x="248" y="361"/>
                    </a:lnTo>
                    <a:lnTo>
                      <a:pt x="269" y="373"/>
                    </a:lnTo>
                    <a:lnTo>
                      <a:pt x="274" y="390"/>
                    </a:lnTo>
                    <a:lnTo>
                      <a:pt x="248" y="390"/>
                    </a:lnTo>
                    <a:lnTo>
                      <a:pt x="177" y="427"/>
                    </a:lnTo>
                    <a:lnTo>
                      <a:pt x="113" y="444"/>
                    </a:lnTo>
                    <a:lnTo>
                      <a:pt x="85" y="467"/>
                    </a:lnTo>
                    <a:lnTo>
                      <a:pt x="68" y="451"/>
                    </a:lnTo>
                    <a:lnTo>
                      <a:pt x="16" y="432"/>
                    </a:lnTo>
                    <a:lnTo>
                      <a:pt x="16" y="432"/>
                    </a:lnTo>
                    <a:lnTo>
                      <a:pt x="16" y="43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54" name="Freeform 458">
                <a:extLst>
                  <a:ext uri="{FF2B5EF4-FFF2-40B4-BE49-F238E27FC236}">
                    <a16:creationId xmlns:a16="http://schemas.microsoft.com/office/drawing/2014/main" id="{68D65DFD-9C08-41C5-9D79-27986A68A2B0}"/>
                  </a:ext>
                </a:extLst>
              </p:cNvPr>
              <p:cNvSpPr>
                <a:spLocks/>
              </p:cNvSpPr>
              <p:nvPr/>
            </p:nvSpPr>
            <p:spPr bwMode="gray">
              <a:xfrm>
                <a:off x="5205930" y="6564157"/>
                <a:ext cx="241887" cy="181786"/>
              </a:xfrm>
              <a:custGeom>
                <a:avLst/>
                <a:gdLst>
                  <a:gd name="T0" fmla="*/ 21 w 519"/>
                  <a:gd name="T1" fmla="*/ 83 h 390"/>
                  <a:gd name="T2" fmla="*/ 54 w 519"/>
                  <a:gd name="T3" fmla="*/ 71 h 390"/>
                  <a:gd name="T4" fmla="*/ 92 w 519"/>
                  <a:gd name="T5" fmla="*/ 71 h 390"/>
                  <a:gd name="T6" fmla="*/ 75 w 519"/>
                  <a:gd name="T7" fmla="*/ 38 h 390"/>
                  <a:gd name="T8" fmla="*/ 92 w 519"/>
                  <a:gd name="T9" fmla="*/ 0 h 390"/>
                  <a:gd name="T10" fmla="*/ 141 w 519"/>
                  <a:gd name="T11" fmla="*/ 17 h 390"/>
                  <a:gd name="T12" fmla="*/ 196 w 519"/>
                  <a:gd name="T13" fmla="*/ 21 h 390"/>
                  <a:gd name="T14" fmla="*/ 264 w 519"/>
                  <a:gd name="T15" fmla="*/ 17 h 390"/>
                  <a:gd name="T16" fmla="*/ 271 w 519"/>
                  <a:gd name="T17" fmla="*/ 45 h 390"/>
                  <a:gd name="T18" fmla="*/ 309 w 519"/>
                  <a:gd name="T19" fmla="*/ 54 h 390"/>
                  <a:gd name="T20" fmla="*/ 363 w 519"/>
                  <a:gd name="T21" fmla="*/ 45 h 390"/>
                  <a:gd name="T22" fmla="*/ 378 w 519"/>
                  <a:gd name="T23" fmla="*/ 38 h 390"/>
                  <a:gd name="T24" fmla="*/ 401 w 519"/>
                  <a:gd name="T25" fmla="*/ 17 h 390"/>
                  <a:gd name="T26" fmla="*/ 427 w 519"/>
                  <a:gd name="T27" fmla="*/ 28 h 390"/>
                  <a:gd name="T28" fmla="*/ 439 w 519"/>
                  <a:gd name="T29" fmla="*/ 71 h 390"/>
                  <a:gd name="T30" fmla="*/ 448 w 519"/>
                  <a:gd name="T31" fmla="*/ 83 h 390"/>
                  <a:gd name="T32" fmla="*/ 448 w 519"/>
                  <a:gd name="T33" fmla="*/ 128 h 390"/>
                  <a:gd name="T34" fmla="*/ 481 w 519"/>
                  <a:gd name="T35" fmla="*/ 116 h 390"/>
                  <a:gd name="T36" fmla="*/ 491 w 519"/>
                  <a:gd name="T37" fmla="*/ 165 h 390"/>
                  <a:gd name="T38" fmla="*/ 486 w 519"/>
                  <a:gd name="T39" fmla="*/ 194 h 390"/>
                  <a:gd name="T40" fmla="*/ 491 w 519"/>
                  <a:gd name="T41" fmla="*/ 236 h 390"/>
                  <a:gd name="T42" fmla="*/ 503 w 519"/>
                  <a:gd name="T43" fmla="*/ 248 h 390"/>
                  <a:gd name="T44" fmla="*/ 503 w 519"/>
                  <a:gd name="T45" fmla="*/ 260 h 390"/>
                  <a:gd name="T46" fmla="*/ 519 w 519"/>
                  <a:gd name="T47" fmla="*/ 293 h 390"/>
                  <a:gd name="T48" fmla="*/ 519 w 519"/>
                  <a:gd name="T49" fmla="*/ 302 h 390"/>
                  <a:gd name="T50" fmla="*/ 481 w 519"/>
                  <a:gd name="T51" fmla="*/ 298 h 390"/>
                  <a:gd name="T52" fmla="*/ 491 w 519"/>
                  <a:gd name="T53" fmla="*/ 319 h 390"/>
                  <a:gd name="T54" fmla="*/ 491 w 519"/>
                  <a:gd name="T55" fmla="*/ 331 h 390"/>
                  <a:gd name="T56" fmla="*/ 470 w 519"/>
                  <a:gd name="T57" fmla="*/ 359 h 390"/>
                  <a:gd name="T58" fmla="*/ 453 w 519"/>
                  <a:gd name="T59" fmla="*/ 359 h 390"/>
                  <a:gd name="T60" fmla="*/ 439 w 519"/>
                  <a:gd name="T61" fmla="*/ 385 h 390"/>
                  <a:gd name="T62" fmla="*/ 401 w 519"/>
                  <a:gd name="T63" fmla="*/ 376 h 390"/>
                  <a:gd name="T64" fmla="*/ 401 w 519"/>
                  <a:gd name="T65" fmla="*/ 352 h 390"/>
                  <a:gd name="T66" fmla="*/ 373 w 519"/>
                  <a:gd name="T67" fmla="*/ 298 h 390"/>
                  <a:gd name="T68" fmla="*/ 309 w 519"/>
                  <a:gd name="T69" fmla="*/ 314 h 390"/>
                  <a:gd name="T70" fmla="*/ 318 w 519"/>
                  <a:gd name="T71" fmla="*/ 276 h 390"/>
                  <a:gd name="T72" fmla="*/ 302 w 519"/>
                  <a:gd name="T73" fmla="*/ 260 h 390"/>
                  <a:gd name="T74" fmla="*/ 271 w 519"/>
                  <a:gd name="T75" fmla="*/ 187 h 390"/>
                  <a:gd name="T76" fmla="*/ 222 w 519"/>
                  <a:gd name="T77" fmla="*/ 194 h 390"/>
                  <a:gd name="T78" fmla="*/ 200 w 519"/>
                  <a:gd name="T79" fmla="*/ 194 h 390"/>
                  <a:gd name="T80" fmla="*/ 167 w 519"/>
                  <a:gd name="T81" fmla="*/ 236 h 390"/>
                  <a:gd name="T82" fmla="*/ 141 w 519"/>
                  <a:gd name="T83" fmla="*/ 260 h 390"/>
                  <a:gd name="T84" fmla="*/ 125 w 519"/>
                  <a:gd name="T85" fmla="*/ 248 h 390"/>
                  <a:gd name="T86" fmla="*/ 108 w 519"/>
                  <a:gd name="T87" fmla="*/ 220 h 390"/>
                  <a:gd name="T88" fmla="*/ 104 w 519"/>
                  <a:gd name="T89" fmla="*/ 220 h 390"/>
                  <a:gd name="T90" fmla="*/ 104 w 519"/>
                  <a:gd name="T91" fmla="*/ 203 h 390"/>
                  <a:gd name="T92" fmla="*/ 92 w 519"/>
                  <a:gd name="T93" fmla="*/ 210 h 390"/>
                  <a:gd name="T94" fmla="*/ 87 w 519"/>
                  <a:gd name="T95" fmla="*/ 203 h 390"/>
                  <a:gd name="T96" fmla="*/ 37 w 519"/>
                  <a:gd name="T97" fmla="*/ 154 h 390"/>
                  <a:gd name="T98" fmla="*/ 37 w 519"/>
                  <a:gd name="T99" fmla="*/ 132 h 390"/>
                  <a:gd name="T100" fmla="*/ 16 w 519"/>
                  <a:gd name="T101" fmla="*/ 128 h 390"/>
                  <a:gd name="T102" fmla="*/ 16 w 519"/>
                  <a:gd name="T103" fmla="*/ 116 h 390"/>
                  <a:gd name="T104" fmla="*/ 0 w 519"/>
                  <a:gd name="T105" fmla="*/ 132 h 390"/>
                  <a:gd name="T106" fmla="*/ 0 w 519"/>
                  <a:gd name="T107" fmla="*/ 128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9" h="390">
                    <a:moveTo>
                      <a:pt x="0" y="128"/>
                    </a:moveTo>
                    <a:lnTo>
                      <a:pt x="21" y="83"/>
                    </a:lnTo>
                    <a:lnTo>
                      <a:pt x="37" y="78"/>
                    </a:lnTo>
                    <a:lnTo>
                      <a:pt x="54" y="71"/>
                    </a:lnTo>
                    <a:lnTo>
                      <a:pt x="75" y="71"/>
                    </a:lnTo>
                    <a:lnTo>
                      <a:pt x="92" y="71"/>
                    </a:lnTo>
                    <a:lnTo>
                      <a:pt x="92" y="45"/>
                    </a:lnTo>
                    <a:lnTo>
                      <a:pt x="75" y="38"/>
                    </a:lnTo>
                    <a:lnTo>
                      <a:pt x="104" y="21"/>
                    </a:lnTo>
                    <a:lnTo>
                      <a:pt x="92" y="0"/>
                    </a:lnTo>
                    <a:lnTo>
                      <a:pt x="141" y="0"/>
                    </a:lnTo>
                    <a:lnTo>
                      <a:pt x="141" y="17"/>
                    </a:lnTo>
                    <a:lnTo>
                      <a:pt x="158" y="7"/>
                    </a:lnTo>
                    <a:lnTo>
                      <a:pt x="196" y="21"/>
                    </a:lnTo>
                    <a:lnTo>
                      <a:pt x="217" y="17"/>
                    </a:lnTo>
                    <a:lnTo>
                      <a:pt x="264" y="17"/>
                    </a:lnTo>
                    <a:lnTo>
                      <a:pt x="255" y="28"/>
                    </a:lnTo>
                    <a:lnTo>
                      <a:pt x="271" y="45"/>
                    </a:lnTo>
                    <a:lnTo>
                      <a:pt x="285" y="28"/>
                    </a:lnTo>
                    <a:lnTo>
                      <a:pt x="309" y="54"/>
                    </a:lnTo>
                    <a:lnTo>
                      <a:pt x="330" y="28"/>
                    </a:lnTo>
                    <a:lnTo>
                      <a:pt x="363" y="45"/>
                    </a:lnTo>
                    <a:lnTo>
                      <a:pt x="378" y="45"/>
                    </a:lnTo>
                    <a:lnTo>
                      <a:pt x="378" y="38"/>
                    </a:lnTo>
                    <a:lnTo>
                      <a:pt x="401" y="28"/>
                    </a:lnTo>
                    <a:lnTo>
                      <a:pt x="401" y="17"/>
                    </a:lnTo>
                    <a:lnTo>
                      <a:pt x="427" y="17"/>
                    </a:lnTo>
                    <a:lnTo>
                      <a:pt x="427" y="28"/>
                    </a:lnTo>
                    <a:lnTo>
                      <a:pt x="439" y="54"/>
                    </a:lnTo>
                    <a:lnTo>
                      <a:pt x="439" y="71"/>
                    </a:lnTo>
                    <a:lnTo>
                      <a:pt x="448" y="71"/>
                    </a:lnTo>
                    <a:lnTo>
                      <a:pt x="448" y="83"/>
                    </a:lnTo>
                    <a:lnTo>
                      <a:pt x="470" y="95"/>
                    </a:lnTo>
                    <a:lnTo>
                      <a:pt x="448" y="128"/>
                    </a:lnTo>
                    <a:lnTo>
                      <a:pt x="465" y="116"/>
                    </a:lnTo>
                    <a:lnTo>
                      <a:pt x="481" y="116"/>
                    </a:lnTo>
                    <a:lnTo>
                      <a:pt x="481" y="154"/>
                    </a:lnTo>
                    <a:lnTo>
                      <a:pt x="491" y="165"/>
                    </a:lnTo>
                    <a:lnTo>
                      <a:pt x="491" y="182"/>
                    </a:lnTo>
                    <a:lnTo>
                      <a:pt x="486" y="194"/>
                    </a:lnTo>
                    <a:lnTo>
                      <a:pt x="486" y="227"/>
                    </a:lnTo>
                    <a:lnTo>
                      <a:pt x="491" y="236"/>
                    </a:lnTo>
                    <a:lnTo>
                      <a:pt x="503" y="236"/>
                    </a:lnTo>
                    <a:lnTo>
                      <a:pt x="503" y="248"/>
                    </a:lnTo>
                    <a:lnTo>
                      <a:pt x="519" y="260"/>
                    </a:lnTo>
                    <a:lnTo>
                      <a:pt x="503" y="260"/>
                    </a:lnTo>
                    <a:lnTo>
                      <a:pt x="503" y="276"/>
                    </a:lnTo>
                    <a:lnTo>
                      <a:pt x="519" y="293"/>
                    </a:lnTo>
                    <a:lnTo>
                      <a:pt x="519" y="302"/>
                    </a:lnTo>
                    <a:lnTo>
                      <a:pt x="519" y="302"/>
                    </a:lnTo>
                    <a:lnTo>
                      <a:pt x="507" y="298"/>
                    </a:lnTo>
                    <a:lnTo>
                      <a:pt x="481" y="298"/>
                    </a:lnTo>
                    <a:lnTo>
                      <a:pt x="481" y="319"/>
                    </a:lnTo>
                    <a:lnTo>
                      <a:pt x="491" y="319"/>
                    </a:lnTo>
                    <a:lnTo>
                      <a:pt x="503" y="336"/>
                    </a:lnTo>
                    <a:lnTo>
                      <a:pt x="491" y="331"/>
                    </a:lnTo>
                    <a:lnTo>
                      <a:pt x="481" y="369"/>
                    </a:lnTo>
                    <a:lnTo>
                      <a:pt x="470" y="359"/>
                    </a:lnTo>
                    <a:lnTo>
                      <a:pt x="465" y="369"/>
                    </a:lnTo>
                    <a:lnTo>
                      <a:pt x="453" y="359"/>
                    </a:lnTo>
                    <a:lnTo>
                      <a:pt x="448" y="359"/>
                    </a:lnTo>
                    <a:lnTo>
                      <a:pt x="439" y="385"/>
                    </a:lnTo>
                    <a:lnTo>
                      <a:pt x="415" y="390"/>
                    </a:lnTo>
                    <a:lnTo>
                      <a:pt x="401" y="376"/>
                    </a:lnTo>
                    <a:lnTo>
                      <a:pt x="394" y="385"/>
                    </a:lnTo>
                    <a:lnTo>
                      <a:pt x="401" y="352"/>
                    </a:lnTo>
                    <a:lnTo>
                      <a:pt x="394" y="314"/>
                    </a:lnTo>
                    <a:lnTo>
                      <a:pt x="373" y="298"/>
                    </a:lnTo>
                    <a:lnTo>
                      <a:pt x="340" y="298"/>
                    </a:lnTo>
                    <a:lnTo>
                      <a:pt x="309" y="314"/>
                    </a:lnTo>
                    <a:lnTo>
                      <a:pt x="323" y="281"/>
                    </a:lnTo>
                    <a:lnTo>
                      <a:pt x="318" y="276"/>
                    </a:lnTo>
                    <a:lnTo>
                      <a:pt x="318" y="260"/>
                    </a:lnTo>
                    <a:lnTo>
                      <a:pt x="302" y="260"/>
                    </a:lnTo>
                    <a:lnTo>
                      <a:pt x="309" y="243"/>
                    </a:lnTo>
                    <a:lnTo>
                      <a:pt x="271" y="187"/>
                    </a:lnTo>
                    <a:lnTo>
                      <a:pt x="222" y="187"/>
                    </a:lnTo>
                    <a:lnTo>
                      <a:pt x="222" y="194"/>
                    </a:lnTo>
                    <a:lnTo>
                      <a:pt x="210" y="203"/>
                    </a:lnTo>
                    <a:lnTo>
                      <a:pt x="200" y="194"/>
                    </a:lnTo>
                    <a:lnTo>
                      <a:pt x="184" y="194"/>
                    </a:lnTo>
                    <a:lnTo>
                      <a:pt x="167" y="236"/>
                    </a:lnTo>
                    <a:lnTo>
                      <a:pt x="146" y="243"/>
                    </a:lnTo>
                    <a:lnTo>
                      <a:pt x="141" y="260"/>
                    </a:lnTo>
                    <a:lnTo>
                      <a:pt x="125" y="260"/>
                    </a:lnTo>
                    <a:lnTo>
                      <a:pt x="125" y="248"/>
                    </a:lnTo>
                    <a:lnTo>
                      <a:pt x="108" y="227"/>
                    </a:lnTo>
                    <a:lnTo>
                      <a:pt x="108" y="220"/>
                    </a:lnTo>
                    <a:lnTo>
                      <a:pt x="108" y="227"/>
                    </a:lnTo>
                    <a:lnTo>
                      <a:pt x="104" y="220"/>
                    </a:lnTo>
                    <a:lnTo>
                      <a:pt x="104" y="210"/>
                    </a:lnTo>
                    <a:lnTo>
                      <a:pt x="104" y="203"/>
                    </a:lnTo>
                    <a:lnTo>
                      <a:pt x="104" y="210"/>
                    </a:lnTo>
                    <a:lnTo>
                      <a:pt x="92" y="210"/>
                    </a:lnTo>
                    <a:lnTo>
                      <a:pt x="104" y="194"/>
                    </a:lnTo>
                    <a:lnTo>
                      <a:pt x="87" y="203"/>
                    </a:lnTo>
                    <a:lnTo>
                      <a:pt x="49" y="170"/>
                    </a:lnTo>
                    <a:lnTo>
                      <a:pt x="37" y="154"/>
                    </a:lnTo>
                    <a:lnTo>
                      <a:pt x="33" y="154"/>
                    </a:lnTo>
                    <a:lnTo>
                      <a:pt x="37" y="132"/>
                    </a:lnTo>
                    <a:lnTo>
                      <a:pt x="21" y="149"/>
                    </a:lnTo>
                    <a:lnTo>
                      <a:pt x="16" y="128"/>
                    </a:lnTo>
                    <a:lnTo>
                      <a:pt x="21" y="116"/>
                    </a:lnTo>
                    <a:lnTo>
                      <a:pt x="16" y="116"/>
                    </a:lnTo>
                    <a:lnTo>
                      <a:pt x="4" y="132"/>
                    </a:lnTo>
                    <a:lnTo>
                      <a:pt x="0" y="132"/>
                    </a:lnTo>
                    <a:lnTo>
                      <a:pt x="0" y="128"/>
                    </a:lnTo>
                    <a:lnTo>
                      <a:pt x="0" y="128"/>
                    </a:lnTo>
                    <a:lnTo>
                      <a:pt x="0" y="12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55" name="Freeform 460">
                <a:extLst>
                  <a:ext uri="{FF2B5EF4-FFF2-40B4-BE49-F238E27FC236}">
                    <a16:creationId xmlns:a16="http://schemas.microsoft.com/office/drawing/2014/main" id="{E30F1A6E-0F2B-48D8-97A0-58DD28E34310}"/>
                  </a:ext>
                </a:extLst>
              </p:cNvPr>
              <p:cNvSpPr>
                <a:spLocks/>
              </p:cNvSpPr>
              <p:nvPr/>
            </p:nvSpPr>
            <p:spPr bwMode="gray">
              <a:xfrm>
                <a:off x="6816178" y="5894815"/>
                <a:ext cx="10254" cy="9788"/>
              </a:xfrm>
              <a:custGeom>
                <a:avLst/>
                <a:gdLst>
                  <a:gd name="T0" fmla="*/ 22 w 22"/>
                  <a:gd name="T1" fmla="*/ 0 h 21"/>
                  <a:gd name="T2" fmla="*/ 22 w 22"/>
                  <a:gd name="T3" fmla="*/ 0 h 21"/>
                  <a:gd name="T4" fmla="*/ 10 w 22"/>
                  <a:gd name="T5" fmla="*/ 21 h 21"/>
                  <a:gd name="T6" fmla="*/ 0 w 22"/>
                  <a:gd name="T7" fmla="*/ 14 h 21"/>
                  <a:gd name="T8" fmla="*/ 22 w 22"/>
                  <a:gd name="T9" fmla="*/ 0 h 21"/>
                  <a:gd name="T10" fmla="*/ 22 w 22"/>
                  <a:gd name="T11" fmla="*/ 0 h 21"/>
                  <a:gd name="T12" fmla="*/ 22 w 2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22" y="0"/>
                    </a:moveTo>
                    <a:lnTo>
                      <a:pt x="22" y="0"/>
                    </a:lnTo>
                    <a:lnTo>
                      <a:pt x="10" y="21"/>
                    </a:lnTo>
                    <a:lnTo>
                      <a:pt x="0" y="14"/>
                    </a:lnTo>
                    <a:lnTo>
                      <a:pt x="22" y="0"/>
                    </a:lnTo>
                    <a:lnTo>
                      <a:pt x="22" y="0"/>
                    </a:lnTo>
                    <a:lnTo>
                      <a:pt x="22"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59" name="Freeform 472">
                <a:extLst>
                  <a:ext uri="{FF2B5EF4-FFF2-40B4-BE49-F238E27FC236}">
                    <a16:creationId xmlns:a16="http://schemas.microsoft.com/office/drawing/2014/main" id="{3543A2C5-878C-46E7-8CDF-C8C5CE648C20}"/>
                  </a:ext>
                </a:extLst>
              </p:cNvPr>
              <p:cNvSpPr>
                <a:spLocks/>
              </p:cNvSpPr>
              <p:nvPr/>
            </p:nvSpPr>
            <p:spPr bwMode="gray">
              <a:xfrm>
                <a:off x="6821770" y="5831890"/>
                <a:ext cx="41945" cy="139835"/>
              </a:xfrm>
              <a:custGeom>
                <a:avLst/>
                <a:gdLst>
                  <a:gd name="T0" fmla="*/ 52 w 90"/>
                  <a:gd name="T1" fmla="*/ 7 h 300"/>
                  <a:gd name="T2" fmla="*/ 73 w 90"/>
                  <a:gd name="T3" fmla="*/ 17 h 300"/>
                  <a:gd name="T4" fmla="*/ 90 w 90"/>
                  <a:gd name="T5" fmla="*/ 0 h 300"/>
                  <a:gd name="T6" fmla="*/ 90 w 90"/>
                  <a:gd name="T7" fmla="*/ 0 h 300"/>
                  <a:gd name="T8" fmla="*/ 90 w 90"/>
                  <a:gd name="T9" fmla="*/ 45 h 300"/>
                  <a:gd name="T10" fmla="*/ 81 w 90"/>
                  <a:gd name="T11" fmla="*/ 45 h 300"/>
                  <a:gd name="T12" fmla="*/ 81 w 90"/>
                  <a:gd name="T13" fmla="*/ 74 h 300"/>
                  <a:gd name="T14" fmla="*/ 59 w 90"/>
                  <a:gd name="T15" fmla="*/ 57 h 300"/>
                  <a:gd name="T16" fmla="*/ 52 w 90"/>
                  <a:gd name="T17" fmla="*/ 62 h 300"/>
                  <a:gd name="T18" fmla="*/ 43 w 90"/>
                  <a:gd name="T19" fmla="*/ 111 h 300"/>
                  <a:gd name="T20" fmla="*/ 59 w 90"/>
                  <a:gd name="T21" fmla="*/ 118 h 300"/>
                  <a:gd name="T22" fmla="*/ 43 w 90"/>
                  <a:gd name="T23" fmla="*/ 128 h 300"/>
                  <a:gd name="T24" fmla="*/ 38 w 90"/>
                  <a:gd name="T25" fmla="*/ 151 h 300"/>
                  <a:gd name="T26" fmla="*/ 52 w 90"/>
                  <a:gd name="T27" fmla="*/ 151 h 300"/>
                  <a:gd name="T28" fmla="*/ 81 w 90"/>
                  <a:gd name="T29" fmla="*/ 140 h 300"/>
                  <a:gd name="T30" fmla="*/ 73 w 90"/>
                  <a:gd name="T31" fmla="*/ 156 h 300"/>
                  <a:gd name="T32" fmla="*/ 73 w 90"/>
                  <a:gd name="T33" fmla="*/ 168 h 300"/>
                  <a:gd name="T34" fmla="*/ 59 w 90"/>
                  <a:gd name="T35" fmla="*/ 222 h 300"/>
                  <a:gd name="T36" fmla="*/ 59 w 90"/>
                  <a:gd name="T37" fmla="*/ 246 h 300"/>
                  <a:gd name="T38" fmla="*/ 43 w 90"/>
                  <a:gd name="T39" fmla="*/ 296 h 300"/>
                  <a:gd name="T40" fmla="*/ 38 w 90"/>
                  <a:gd name="T41" fmla="*/ 300 h 300"/>
                  <a:gd name="T42" fmla="*/ 0 w 90"/>
                  <a:gd name="T43" fmla="*/ 156 h 300"/>
                  <a:gd name="T44" fmla="*/ 10 w 90"/>
                  <a:gd name="T45" fmla="*/ 135 h 300"/>
                  <a:gd name="T46" fmla="*/ 10 w 90"/>
                  <a:gd name="T47" fmla="*/ 135 h 300"/>
                  <a:gd name="T48" fmla="*/ 26 w 90"/>
                  <a:gd name="T49" fmla="*/ 102 h 300"/>
                  <a:gd name="T50" fmla="*/ 43 w 90"/>
                  <a:gd name="T51" fmla="*/ 29 h 300"/>
                  <a:gd name="T52" fmla="*/ 52 w 90"/>
                  <a:gd name="T53" fmla="*/ 29 h 300"/>
                  <a:gd name="T54" fmla="*/ 52 w 90"/>
                  <a:gd name="T55" fmla="*/ 7 h 300"/>
                  <a:gd name="T56" fmla="*/ 52 w 90"/>
                  <a:gd name="T57" fmla="*/ 7 h 300"/>
                  <a:gd name="T58" fmla="*/ 52 w 90"/>
                  <a:gd name="T59" fmla="*/ 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 h="300">
                    <a:moveTo>
                      <a:pt x="52" y="7"/>
                    </a:moveTo>
                    <a:lnTo>
                      <a:pt x="73" y="17"/>
                    </a:lnTo>
                    <a:lnTo>
                      <a:pt x="90" y="0"/>
                    </a:lnTo>
                    <a:lnTo>
                      <a:pt x="90" y="0"/>
                    </a:lnTo>
                    <a:lnTo>
                      <a:pt x="90" y="45"/>
                    </a:lnTo>
                    <a:lnTo>
                      <a:pt x="81" y="45"/>
                    </a:lnTo>
                    <a:lnTo>
                      <a:pt x="81" y="74"/>
                    </a:lnTo>
                    <a:lnTo>
                      <a:pt x="59" y="57"/>
                    </a:lnTo>
                    <a:lnTo>
                      <a:pt x="52" y="62"/>
                    </a:lnTo>
                    <a:lnTo>
                      <a:pt x="43" y="111"/>
                    </a:lnTo>
                    <a:lnTo>
                      <a:pt x="59" y="118"/>
                    </a:lnTo>
                    <a:lnTo>
                      <a:pt x="43" y="128"/>
                    </a:lnTo>
                    <a:lnTo>
                      <a:pt x="38" y="151"/>
                    </a:lnTo>
                    <a:lnTo>
                      <a:pt x="52" y="151"/>
                    </a:lnTo>
                    <a:lnTo>
                      <a:pt x="81" y="140"/>
                    </a:lnTo>
                    <a:lnTo>
                      <a:pt x="73" y="156"/>
                    </a:lnTo>
                    <a:lnTo>
                      <a:pt x="73" y="168"/>
                    </a:lnTo>
                    <a:lnTo>
                      <a:pt x="59" y="222"/>
                    </a:lnTo>
                    <a:lnTo>
                      <a:pt x="59" y="246"/>
                    </a:lnTo>
                    <a:lnTo>
                      <a:pt x="43" y="296"/>
                    </a:lnTo>
                    <a:lnTo>
                      <a:pt x="38" y="300"/>
                    </a:lnTo>
                    <a:lnTo>
                      <a:pt x="0" y="156"/>
                    </a:lnTo>
                    <a:lnTo>
                      <a:pt x="10" y="135"/>
                    </a:lnTo>
                    <a:lnTo>
                      <a:pt x="10" y="135"/>
                    </a:lnTo>
                    <a:lnTo>
                      <a:pt x="26" y="102"/>
                    </a:lnTo>
                    <a:lnTo>
                      <a:pt x="43" y="29"/>
                    </a:lnTo>
                    <a:lnTo>
                      <a:pt x="52" y="29"/>
                    </a:lnTo>
                    <a:lnTo>
                      <a:pt x="52" y="7"/>
                    </a:lnTo>
                    <a:lnTo>
                      <a:pt x="52" y="7"/>
                    </a:lnTo>
                    <a:lnTo>
                      <a:pt x="52" y="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60" name="Freeform 474">
                <a:extLst>
                  <a:ext uri="{FF2B5EF4-FFF2-40B4-BE49-F238E27FC236}">
                    <a16:creationId xmlns:a16="http://schemas.microsoft.com/office/drawing/2014/main" id="{FA734311-6B16-432B-AD05-BD3785EC9F26}"/>
                  </a:ext>
                </a:extLst>
              </p:cNvPr>
              <p:cNvSpPr>
                <a:spLocks noEditPoints="1"/>
              </p:cNvSpPr>
              <p:nvPr/>
            </p:nvSpPr>
            <p:spPr bwMode="gray">
              <a:xfrm>
                <a:off x="5417989" y="6628014"/>
                <a:ext cx="198542" cy="214879"/>
              </a:xfrm>
              <a:custGeom>
                <a:avLst/>
                <a:gdLst>
                  <a:gd name="T0" fmla="*/ 69 w 426"/>
                  <a:gd name="T1" fmla="*/ 421 h 461"/>
                  <a:gd name="T2" fmla="*/ 81 w 426"/>
                  <a:gd name="T3" fmla="*/ 383 h 461"/>
                  <a:gd name="T4" fmla="*/ 86 w 426"/>
                  <a:gd name="T5" fmla="*/ 350 h 461"/>
                  <a:gd name="T6" fmla="*/ 48 w 426"/>
                  <a:gd name="T7" fmla="*/ 326 h 461"/>
                  <a:gd name="T8" fmla="*/ 0 w 426"/>
                  <a:gd name="T9" fmla="*/ 305 h 461"/>
                  <a:gd name="T10" fmla="*/ 26 w 426"/>
                  <a:gd name="T11" fmla="*/ 255 h 461"/>
                  <a:gd name="T12" fmla="*/ 15 w 426"/>
                  <a:gd name="T13" fmla="*/ 222 h 461"/>
                  <a:gd name="T14" fmla="*/ 38 w 426"/>
                  <a:gd name="T15" fmla="*/ 194 h 461"/>
                  <a:gd name="T16" fmla="*/ 38 w 426"/>
                  <a:gd name="T17" fmla="*/ 184 h 461"/>
                  <a:gd name="T18" fmla="*/ 26 w 426"/>
                  <a:gd name="T19" fmla="*/ 161 h 461"/>
                  <a:gd name="T20" fmla="*/ 64 w 426"/>
                  <a:gd name="T21" fmla="*/ 168 h 461"/>
                  <a:gd name="T22" fmla="*/ 64 w 426"/>
                  <a:gd name="T23" fmla="*/ 156 h 461"/>
                  <a:gd name="T24" fmla="*/ 48 w 426"/>
                  <a:gd name="T25" fmla="*/ 123 h 461"/>
                  <a:gd name="T26" fmla="*/ 48 w 426"/>
                  <a:gd name="T27" fmla="*/ 111 h 461"/>
                  <a:gd name="T28" fmla="*/ 38 w 426"/>
                  <a:gd name="T29" fmla="*/ 99 h 461"/>
                  <a:gd name="T30" fmla="*/ 31 w 426"/>
                  <a:gd name="T31" fmla="*/ 57 h 461"/>
                  <a:gd name="T32" fmla="*/ 52 w 426"/>
                  <a:gd name="T33" fmla="*/ 45 h 461"/>
                  <a:gd name="T34" fmla="*/ 107 w 426"/>
                  <a:gd name="T35" fmla="*/ 45 h 461"/>
                  <a:gd name="T36" fmla="*/ 140 w 426"/>
                  <a:gd name="T37" fmla="*/ 28 h 461"/>
                  <a:gd name="T38" fmla="*/ 156 w 426"/>
                  <a:gd name="T39" fmla="*/ 12 h 461"/>
                  <a:gd name="T40" fmla="*/ 161 w 426"/>
                  <a:gd name="T41" fmla="*/ 0 h 461"/>
                  <a:gd name="T42" fmla="*/ 173 w 426"/>
                  <a:gd name="T43" fmla="*/ 45 h 461"/>
                  <a:gd name="T44" fmla="*/ 194 w 426"/>
                  <a:gd name="T45" fmla="*/ 28 h 461"/>
                  <a:gd name="T46" fmla="*/ 225 w 426"/>
                  <a:gd name="T47" fmla="*/ 33 h 461"/>
                  <a:gd name="T48" fmla="*/ 253 w 426"/>
                  <a:gd name="T49" fmla="*/ 57 h 461"/>
                  <a:gd name="T50" fmla="*/ 300 w 426"/>
                  <a:gd name="T51" fmla="*/ 83 h 461"/>
                  <a:gd name="T52" fmla="*/ 350 w 426"/>
                  <a:gd name="T53" fmla="*/ 57 h 461"/>
                  <a:gd name="T54" fmla="*/ 409 w 426"/>
                  <a:gd name="T55" fmla="*/ 99 h 461"/>
                  <a:gd name="T56" fmla="*/ 409 w 426"/>
                  <a:gd name="T57" fmla="*/ 123 h 461"/>
                  <a:gd name="T58" fmla="*/ 426 w 426"/>
                  <a:gd name="T59" fmla="*/ 184 h 461"/>
                  <a:gd name="T60" fmla="*/ 393 w 426"/>
                  <a:gd name="T61" fmla="*/ 267 h 461"/>
                  <a:gd name="T62" fmla="*/ 371 w 426"/>
                  <a:gd name="T63" fmla="*/ 293 h 461"/>
                  <a:gd name="T64" fmla="*/ 409 w 426"/>
                  <a:gd name="T65" fmla="*/ 378 h 461"/>
                  <a:gd name="T66" fmla="*/ 393 w 426"/>
                  <a:gd name="T67" fmla="*/ 404 h 461"/>
                  <a:gd name="T68" fmla="*/ 393 w 426"/>
                  <a:gd name="T69" fmla="*/ 404 h 461"/>
                  <a:gd name="T70" fmla="*/ 376 w 426"/>
                  <a:gd name="T71" fmla="*/ 388 h 461"/>
                  <a:gd name="T72" fmla="*/ 371 w 426"/>
                  <a:gd name="T73" fmla="*/ 404 h 461"/>
                  <a:gd name="T74" fmla="*/ 338 w 426"/>
                  <a:gd name="T75" fmla="*/ 399 h 461"/>
                  <a:gd name="T76" fmla="*/ 338 w 426"/>
                  <a:gd name="T77" fmla="*/ 399 h 461"/>
                  <a:gd name="T78" fmla="*/ 263 w 426"/>
                  <a:gd name="T79" fmla="*/ 404 h 461"/>
                  <a:gd name="T80" fmla="*/ 232 w 426"/>
                  <a:gd name="T81" fmla="*/ 399 h 461"/>
                  <a:gd name="T82" fmla="*/ 232 w 426"/>
                  <a:gd name="T83" fmla="*/ 404 h 461"/>
                  <a:gd name="T84" fmla="*/ 253 w 426"/>
                  <a:gd name="T85" fmla="*/ 404 h 461"/>
                  <a:gd name="T86" fmla="*/ 81 w 426"/>
                  <a:gd name="T87" fmla="*/ 461 h 461"/>
                  <a:gd name="T88" fmla="*/ 81 w 426"/>
                  <a:gd name="T89" fmla="*/ 461 h 461"/>
                  <a:gd name="T90" fmla="*/ 305 w 426"/>
                  <a:gd name="T91" fmla="*/ 399 h 461"/>
                  <a:gd name="T92" fmla="*/ 263 w 426"/>
                  <a:gd name="T93" fmla="*/ 404 h 461"/>
                  <a:gd name="T94" fmla="*/ 263 w 426"/>
                  <a:gd name="T95" fmla="*/ 404 h 461"/>
                  <a:gd name="T96" fmla="*/ 388 w 426"/>
                  <a:gd name="T97" fmla="*/ 404 h 461"/>
                  <a:gd name="T98" fmla="*/ 388 w 426"/>
                  <a:gd name="T99" fmla="*/ 404 h 461"/>
                  <a:gd name="T100" fmla="*/ 388 w 426"/>
                  <a:gd name="T101" fmla="*/ 404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6" h="461">
                    <a:moveTo>
                      <a:pt x="81" y="461"/>
                    </a:moveTo>
                    <a:lnTo>
                      <a:pt x="69" y="421"/>
                    </a:lnTo>
                    <a:lnTo>
                      <a:pt x="86" y="388"/>
                    </a:lnTo>
                    <a:lnTo>
                      <a:pt x="81" y="383"/>
                    </a:lnTo>
                    <a:lnTo>
                      <a:pt x="86" y="378"/>
                    </a:lnTo>
                    <a:lnTo>
                      <a:pt x="86" y="350"/>
                    </a:lnTo>
                    <a:lnTo>
                      <a:pt x="52" y="350"/>
                    </a:lnTo>
                    <a:lnTo>
                      <a:pt x="48" y="326"/>
                    </a:lnTo>
                    <a:lnTo>
                      <a:pt x="31" y="326"/>
                    </a:lnTo>
                    <a:lnTo>
                      <a:pt x="0" y="305"/>
                    </a:lnTo>
                    <a:lnTo>
                      <a:pt x="15" y="276"/>
                    </a:lnTo>
                    <a:lnTo>
                      <a:pt x="26" y="255"/>
                    </a:lnTo>
                    <a:lnTo>
                      <a:pt x="10" y="234"/>
                    </a:lnTo>
                    <a:lnTo>
                      <a:pt x="15" y="222"/>
                    </a:lnTo>
                    <a:lnTo>
                      <a:pt x="26" y="234"/>
                    </a:lnTo>
                    <a:lnTo>
                      <a:pt x="38" y="194"/>
                    </a:lnTo>
                    <a:lnTo>
                      <a:pt x="48" y="201"/>
                    </a:lnTo>
                    <a:lnTo>
                      <a:pt x="38" y="184"/>
                    </a:lnTo>
                    <a:lnTo>
                      <a:pt x="26" y="184"/>
                    </a:lnTo>
                    <a:lnTo>
                      <a:pt x="26" y="161"/>
                    </a:lnTo>
                    <a:lnTo>
                      <a:pt x="52" y="161"/>
                    </a:lnTo>
                    <a:lnTo>
                      <a:pt x="64" y="168"/>
                    </a:lnTo>
                    <a:lnTo>
                      <a:pt x="64" y="168"/>
                    </a:lnTo>
                    <a:lnTo>
                      <a:pt x="64" y="156"/>
                    </a:lnTo>
                    <a:lnTo>
                      <a:pt x="48" y="139"/>
                    </a:lnTo>
                    <a:lnTo>
                      <a:pt x="48" y="123"/>
                    </a:lnTo>
                    <a:lnTo>
                      <a:pt x="64" y="123"/>
                    </a:lnTo>
                    <a:lnTo>
                      <a:pt x="48" y="111"/>
                    </a:lnTo>
                    <a:lnTo>
                      <a:pt x="48" y="99"/>
                    </a:lnTo>
                    <a:lnTo>
                      <a:pt x="38" y="99"/>
                    </a:lnTo>
                    <a:lnTo>
                      <a:pt x="31" y="90"/>
                    </a:lnTo>
                    <a:lnTo>
                      <a:pt x="31" y="57"/>
                    </a:lnTo>
                    <a:lnTo>
                      <a:pt x="38" y="45"/>
                    </a:lnTo>
                    <a:lnTo>
                      <a:pt x="52" y="45"/>
                    </a:lnTo>
                    <a:lnTo>
                      <a:pt x="69" y="17"/>
                    </a:lnTo>
                    <a:lnTo>
                      <a:pt x="107" y="45"/>
                    </a:lnTo>
                    <a:lnTo>
                      <a:pt x="119" y="28"/>
                    </a:lnTo>
                    <a:lnTo>
                      <a:pt x="140" y="28"/>
                    </a:lnTo>
                    <a:lnTo>
                      <a:pt x="140" y="0"/>
                    </a:lnTo>
                    <a:lnTo>
                      <a:pt x="156" y="12"/>
                    </a:lnTo>
                    <a:lnTo>
                      <a:pt x="156" y="0"/>
                    </a:lnTo>
                    <a:lnTo>
                      <a:pt x="161" y="0"/>
                    </a:lnTo>
                    <a:lnTo>
                      <a:pt x="173" y="33"/>
                    </a:lnTo>
                    <a:lnTo>
                      <a:pt x="173" y="45"/>
                    </a:lnTo>
                    <a:lnTo>
                      <a:pt x="178" y="45"/>
                    </a:lnTo>
                    <a:lnTo>
                      <a:pt x="194" y="28"/>
                    </a:lnTo>
                    <a:lnTo>
                      <a:pt x="215" y="17"/>
                    </a:lnTo>
                    <a:lnTo>
                      <a:pt x="225" y="33"/>
                    </a:lnTo>
                    <a:lnTo>
                      <a:pt x="241" y="33"/>
                    </a:lnTo>
                    <a:lnTo>
                      <a:pt x="253" y="57"/>
                    </a:lnTo>
                    <a:lnTo>
                      <a:pt x="267" y="73"/>
                    </a:lnTo>
                    <a:lnTo>
                      <a:pt x="300" y="83"/>
                    </a:lnTo>
                    <a:lnTo>
                      <a:pt x="305" y="66"/>
                    </a:lnTo>
                    <a:lnTo>
                      <a:pt x="350" y="57"/>
                    </a:lnTo>
                    <a:lnTo>
                      <a:pt x="376" y="57"/>
                    </a:lnTo>
                    <a:lnTo>
                      <a:pt x="409" y="99"/>
                    </a:lnTo>
                    <a:lnTo>
                      <a:pt x="414" y="90"/>
                    </a:lnTo>
                    <a:lnTo>
                      <a:pt x="409" y="123"/>
                    </a:lnTo>
                    <a:lnTo>
                      <a:pt x="414" y="128"/>
                    </a:lnTo>
                    <a:lnTo>
                      <a:pt x="426" y="184"/>
                    </a:lnTo>
                    <a:lnTo>
                      <a:pt x="409" y="201"/>
                    </a:lnTo>
                    <a:lnTo>
                      <a:pt x="393" y="267"/>
                    </a:lnTo>
                    <a:lnTo>
                      <a:pt x="376" y="288"/>
                    </a:lnTo>
                    <a:lnTo>
                      <a:pt x="371" y="293"/>
                    </a:lnTo>
                    <a:lnTo>
                      <a:pt x="393" y="366"/>
                    </a:lnTo>
                    <a:lnTo>
                      <a:pt x="409" y="378"/>
                    </a:lnTo>
                    <a:lnTo>
                      <a:pt x="409" y="404"/>
                    </a:lnTo>
                    <a:lnTo>
                      <a:pt x="393" y="404"/>
                    </a:lnTo>
                    <a:lnTo>
                      <a:pt x="402" y="399"/>
                    </a:lnTo>
                    <a:lnTo>
                      <a:pt x="393" y="404"/>
                    </a:lnTo>
                    <a:lnTo>
                      <a:pt x="376" y="399"/>
                    </a:lnTo>
                    <a:lnTo>
                      <a:pt x="376" y="388"/>
                    </a:lnTo>
                    <a:lnTo>
                      <a:pt x="371" y="388"/>
                    </a:lnTo>
                    <a:lnTo>
                      <a:pt x="371" y="404"/>
                    </a:lnTo>
                    <a:lnTo>
                      <a:pt x="322" y="399"/>
                    </a:lnTo>
                    <a:lnTo>
                      <a:pt x="338" y="399"/>
                    </a:lnTo>
                    <a:lnTo>
                      <a:pt x="334" y="388"/>
                    </a:lnTo>
                    <a:lnTo>
                      <a:pt x="338" y="399"/>
                    </a:lnTo>
                    <a:lnTo>
                      <a:pt x="284" y="388"/>
                    </a:lnTo>
                    <a:lnTo>
                      <a:pt x="263" y="404"/>
                    </a:lnTo>
                    <a:lnTo>
                      <a:pt x="253" y="399"/>
                    </a:lnTo>
                    <a:lnTo>
                      <a:pt x="232" y="399"/>
                    </a:lnTo>
                    <a:lnTo>
                      <a:pt x="225" y="404"/>
                    </a:lnTo>
                    <a:lnTo>
                      <a:pt x="232" y="404"/>
                    </a:lnTo>
                    <a:lnTo>
                      <a:pt x="232" y="399"/>
                    </a:lnTo>
                    <a:lnTo>
                      <a:pt x="253" y="404"/>
                    </a:lnTo>
                    <a:lnTo>
                      <a:pt x="187" y="416"/>
                    </a:lnTo>
                    <a:lnTo>
                      <a:pt x="81" y="461"/>
                    </a:lnTo>
                    <a:lnTo>
                      <a:pt x="81" y="461"/>
                    </a:lnTo>
                    <a:lnTo>
                      <a:pt x="81" y="461"/>
                    </a:lnTo>
                    <a:close/>
                    <a:moveTo>
                      <a:pt x="263" y="404"/>
                    </a:moveTo>
                    <a:lnTo>
                      <a:pt x="305" y="399"/>
                    </a:lnTo>
                    <a:lnTo>
                      <a:pt x="322" y="399"/>
                    </a:lnTo>
                    <a:lnTo>
                      <a:pt x="263" y="404"/>
                    </a:lnTo>
                    <a:lnTo>
                      <a:pt x="263" y="404"/>
                    </a:lnTo>
                    <a:lnTo>
                      <a:pt x="263" y="404"/>
                    </a:lnTo>
                    <a:close/>
                    <a:moveTo>
                      <a:pt x="388" y="404"/>
                    </a:moveTo>
                    <a:lnTo>
                      <a:pt x="388" y="404"/>
                    </a:lnTo>
                    <a:lnTo>
                      <a:pt x="376" y="404"/>
                    </a:lnTo>
                    <a:lnTo>
                      <a:pt x="388" y="404"/>
                    </a:lnTo>
                    <a:lnTo>
                      <a:pt x="388" y="404"/>
                    </a:lnTo>
                    <a:lnTo>
                      <a:pt x="388" y="40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61" name="Freeform 475">
                <a:extLst>
                  <a:ext uri="{FF2B5EF4-FFF2-40B4-BE49-F238E27FC236}">
                    <a16:creationId xmlns:a16="http://schemas.microsoft.com/office/drawing/2014/main" id="{CEF4D91E-79C3-4D9A-9A17-3D027A9BBBC6}"/>
                  </a:ext>
                </a:extLst>
              </p:cNvPr>
              <p:cNvSpPr>
                <a:spLocks/>
              </p:cNvSpPr>
              <p:nvPr/>
            </p:nvSpPr>
            <p:spPr bwMode="gray">
              <a:xfrm>
                <a:off x="6968114" y="5672477"/>
                <a:ext cx="315990" cy="310433"/>
              </a:xfrm>
              <a:custGeom>
                <a:avLst/>
                <a:gdLst>
                  <a:gd name="T0" fmla="*/ 31 w 678"/>
                  <a:gd name="T1" fmla="*/ 420 h 666"/>
                  <a:gd name="T2" fmla="*/ 15 w 678"/>
                  <a:gd name="T3" fmla="*/ 416 h 666"/>
                  <a:gd name="T4" fmla="*/ 15 w 678"/>
                  <a:gd name="T5" fmla="*/ 399 h 666"/>
                  <a:gd name="T6" fmla="*/ 156 w 678"/>
                  <a:gd name="T7" fmla="*/ 250 h 666"/>
                  <a:gd name="T8" fmla="*/ 171 w 678"/>
                  <a:gd name="T9" fmla="*/ 182 h 666"/>
                  <a:gd name="T10" fmla="*/ 178 w 678"/>
                  <a:gd name="T11" fmla="*/ 127 h 666"/>
                  <a:gd name="T12" fmla="*/ 171 w 678"/>
                  <a:gd name="T13" fmla="*/ 87 h 666"/>
                  <a:gd name="T14" fmla="*/ 208 w 678"/>
                  <a:gd name="T15" fmla="*/ 66 h 666"/>
                  <a:gd name="T16" fmla="*/ 263 w 678"/>
                  <a:gd name="T17" fmla="*/ 28 h 666"/>
                  <a:gd name="T18" fmla="*/ 291 w 678"/>
                  <a:gd name="T19" fmla="*/ 12 h 666"/>
                  <a:gd name="T20" fmla="*/ 338 w 678"/>
                  <a:gd name="T21" fmla="*/ 16 h 666"/>
                  <a:gd name="T22" fmla="*/ 371 w 678"/>
                  <a:gd name="T23" fmla="*/ 12 h 666"/>
                  <a:gd name="T24" fmla="*/ 376 w 678"/>
                  <a:gd name="T25" fmla="*/ 28 h 666"/>
                  <a:gd name="T26" fmla="*/ 409 w 678"/>
                  <a:gd name="T27" fmla="*/ 16 h 666"/>
                  <a:gd name="T28" fmla="*/ 426 w 678"/>
                  <a:gd name="T29" fmla="*/ 33 h 666"/>
                  <a:gd name="T30" fmla="*/ 440 w 678"/>
                  <a:gd name="T31" fmla="*/ 54 h 666"/>
                  <a:gd name="T32" fmla="*/ 440 w 678"/>
                  <a:gd name="T33" fmla="*/ 82 h 666"/>
                  <a:gd name="T34" fmla="*/ 461 w 678"/>
                  <a:gd name="T35" fmla="*/ 123 h 666"/>
                  <a:gd name="T36" fmla="*/ 485 w 678"/>
                  <a:gd name="T37" fmla="*/ 139 h 666"/>
                  <a:gd name="T38" fmla="*/ 522 w 678"/>
                  <a:gd name="T39" fmla="*/ 139 h 666"/>
                  <a:gd name="T40" fmla="*/ 499 w 678"/>
                  <a:gd name="T41" fmla="*/ 160 h 666"/>
                  <a:gd name="T42" fmla="*/ 515 w 678"/>
                  <a:gd name="T43" fmla="*/ 193 h 666"/>
                  <a:gd name="T44" fmla="*/ 494 w 678"/>
                  <a:gd name="T45" fmla="*/ 205 h 666"/>
                  <a:gd name="T46" fmla="*/ 485 w 678"/>
                  <a:gd name="T47" fmla="*/ 238 h 666"/>
                  <a:gd name="T48" fmla="*/ 461 w 678"/>
                  <a:gd name="T49" fmla="*/ 238 h 666"/>
                  <a:gd name="T50" fmla="*/ 468 w 678"/>
                  <a:gd name="T51" fmla="*/ 271 h 666"/>
                  <a:gd name="T52" fmla="*/ 468 w 678"/>
                  <a:gd name="T53" fmla="*/ 288 h 666"/>
                  <a:gd name="T54" fmla="*/ 494 w 678"/>
                  <a:gd name="T55" fmla="*/ 309 h 666"/>
                  <a:gd name="T56" fmla="*/ 494 w 678"/>
                  <a:gd name="T57" fmla="*/ 316 h 666"/>
                  <a:gd name="T58" fmla="*/ 515 w 678"/>
                  <a:gd name="T59" fmla="*/ 342 h 666"/>
                  <a:gd name="T60" fmla="*/ 532 w 678"/>
                  <a:gd name="T61" fmla="*/ 366 h 666"/>
                  <a:gd name="T62" fmla="*/ 603 w 678"/>
                  <a:gd name="T63" fmla="*/ 404 h 666"/>
                  <a:gd name="T64" fmla="*/ 629 w 678"/>
                  <a:gd name="T65" fmla="*/ 460 h 666"/>
                  <a:gd name="T66" fmla="*/ 624 w 678"/>
                  <a:gd name="T67" fmla="*/ 527 h 666"/>
                  <a:gd name="T68" fmla="*/ 645 w 678"/>
                  <a:gd name="T69" fmla="*/ 564 h 666"/>
                  <a:gd name="T70" fmla="*/ 667 w 678"/>
                  <a:gd name="T71" fmla="*/ 604 h 666"/>
                  <a:gd name="T72" fmla="*/ 641 w 678"/>
                  <a:gd name="T73" fmla="*/ 593 h 666"/>
                  <a:gd name="T74" fmla="*/ 586 w 678"/>
                  <a:gd name="T75" fmla="*/ 593 h 666"/>
                  <a:gd name="T76" fmla="*/ 537 w 678"/>
                  <a:gd name="T77" fmla="*/ 666 h 666"/>
                  <a:gd name="T78" fmla="*/ 414 w 678"/>
                  <a:gd name="T79" fmla="*/ 666 h 666"/>
                  <a:gd name="T80" fmla="*/ 182 w 678"/>
                  <a:gd name="T81" fmla="*/ 493 h 666"/>
                  <a:gd name="T82" fmla="*/ 22 w 678"/>
                  <a:gd name="T83" fmla="*/ 427 h 666"/>
                  <a:gd name="T84" fmla="*/ 22 w 678"/>
                  <a:gd name="T85" fmla="*/ 427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8" h="666">
                    <a:moveTo>
                      <a:pt x="22" y="427"/>
                    </a:moveTo>
                    <a:lnTo>
                      <a:pt x="31" y="420"/>
                    </a:lnTo>
                    <a:lnTo>
                      <a:pt x="31" y="416"/>
                    </a:lnTo>
                    <a:lnTo>
                      <a:pt x="15" y="416"/>
                    </a:lnTo>
                    <a:lnTo>
                      <a:pt x="10" y="404"/>
                    </a:lnTo>
                    <a:lnTo>
                      <a:pt x="15" y="399"/>
                    </a:lnTo>
                    <a:lnTo>
                      <a:pt x="0" y="333"/>
                    </a:lnTo>
                    <a:lnTo>
                      <a:pt x="156" y="250"/>
                    </a:lnTo>
                    <a:lnTo>
                      <a:pt x="171" y="215"/>
                    </a:lnTo>
                    <a:lnTo>
                      <a:pt x="171" y="182"/>
                    </a:lnTo>
                    <a:lnTo>
                      <a:pt x="178" y="149"/>
                    </a:lnTo>
                    <a:lnTo>
                      <a:pt x="178" y="127"/>
                    </a:lnTo>
                    <a:lnTo>
                      <a:pt x="171" y="111"/>
                    </a:lnTo>
                    <a:lnTo>
                      <a:pt x="171" y="87"/>
                    </a:lnTo>
                    <a:lnTo>
                      <a:pt x="178" y="71"/>
                    </a:lnTo>
                    <a:lnTo>
                      <a:pt x="208" y="66"/>
                    </a:lnTo>
                    <a:lnTo>
                      <a:pt x="246" y="28"/>
                    </a:lnTo>
                    <a:lnTo>
                      <a:pt x="263" y="28"/>
                    </a:lnTo>
                    <a:lnTo>
                      <a:pt x="279" y="0"/>
                    </a:lnTo>
                    <a:lnTo>
                      <a:pt x="291" y="12"/>
                    </a:lnTo>
                    <a:lnTo>
                      <a:pt x="300" y="0"/>
                    </a:lnTo>
                    <a:lnTo>
                      <a:pt x="338" y="16"/>
                    </a:lnTo>
                    <a:lnTo>
                      <a:pt x="355" y="16"/>
                    </a:lnTo>
                    <a:lnTo>
                      <a:pt x="371" y="12"/>
                    </a:lnTo>
                    <a:lnTo>
                      <a:pt x="376" y="16"/>
                    </a:lnTo>
                    <a:lnTo>
                      <a:pt x="376" y="28"/>
                    </a:lnTo>
                    <a:lnTo>
                      <a:pt x="388" y="38"/>
                    </a:lnTo>
                    <a:lnTo>
                      <a:pt x="409" y="16"/>
                    </a:lnTo>
                    <a:lnTo>
                      <a:pt x="414" y="28"/>
                    </a:lnTo>
                    <a:lnTo>
                      <a:pt x="426" y="33"/>
                    </a:lnTo>
                    <a:lnTo>
                      <a:pt x="426" y="49"/>
                    </a:lnTo>
                    <a:lnTo>
                      <a:pt x="440" y="54"/>
                    </a:lnTo>
                    <a:lnTo>
                      <a:pt x="430" y="71"/>
                    </a:lnTo>
                    <a:lnTo>
                      <a:pt x="440" y="82"/>
                    </a:lnTo>
                    <a:lnTo>
                      <a:pt x="452" y="87"/>
                    </a:lnTo>
                    <a:lnTo>
                      <a:pt x="461" y="123"/>
                    </a:lnTo>
                    <a:lnTo>
                      <a:pt x="478" y="123"/>
                    </a:lnTo>
                    <a:lnTo>
                      <a:pt x="485" y="139"/>
                    </a:lnTo>
                    <a:lnTo>
                      <a:pt x="506" y="127"/>
                    </a:lnTo>
                    <a:lnTo>
                      <a:pt x="522" y="139"/>
                    </a:lnTo>
                    <a:lnTo>
                      <a:pt x="499" y="144"/>
                    </a:lnTo>
                    <a:lnTo>
                      <a:pt x="499" y="160"/>
                    </a:lnTo>
                    <a:lnTo>
                      <a:pt x="515" y="182"/>
                    </a:lnTo>
                    <a:lnTo>
                      <a:pt x="515" y="193"/>
                    </a:lnTo>
                    <a:lnTo>
                      <a:pt x="499" y="193"/>
                    </a:lnTo>
                    <a:lnTo>
                      <a:pt x="494" y="205"/>
                    </a:lnTo>
                    <a:lnTo>
                      <a:pt x="478" y="222"/>
                    </a:lnTo>
                    <a:lnTo>
                      <a:pt x="485" y="238"/>
                    </a:lnTo>
                    <a:lnTo>
                      <a:pt x="468" y="234"/>
                    </a:lnTo>
                    <a:lnTo>
                      <a:pt x="461" y="238"/>
                    </a:lnTo>
                    <a:lnTo>
                      <a:pt x="468" y="255"/>
                    </a:lnTo>
                    <a:lnTo>
                      <a:pt x="468" y="271"/>
                    </a:lnTo>
                    <a:lnTo>
                      <a:pt x="461" y="276"/>
                    </a:lnTo>
                    <a:lnTo>
                      <a:pt x="468" y="288"/>
                    </a:lnTo>
                    <a:lnTo>
                      <a:pt x="485" y="309"/>
                    </a:lnTo>
                    <a:lnTo>
                      <a:pt x="494" y="309"/>
                    </a:lnTo>
                    <a:lnTo>
                      <a:pt x="499" y="316"/>
                    </a:lnTo>
                    <a:lnTo>
                      <a:pt x="494" y="316"/>
                    </a:lnTo>
                    <a:lnTo>
                      <a:pt x="499" y="316"/>
                    </a:lnTo>
                    <a:lnTo>
                      <a:pt x="515" y="342"/>
                    </a:lnTo>
                    <a:lnTo>
                      <a:pt x="506" y="366"/>
                    </a:lnTo>
                    <a:lnTo>
                      <a:pt x="532" y="366"/>
                    </a:lnTo>
                    <a:lnTo>
                      <a:pt x="586" y="404"/>
                    </a:lnTo>
                    <a:lnTo>
                      <a:pt x="603" y="404"/>
                    </a:lnTo>
                    <a:lnTo>
                      <a:pt x="603" y="416"/>
                    </a:lnTo>
                    <a:lnTo>
                      <a:pt x="629" y="460"/>
                    </a:lnTo>
                    <a:lnTo>
                      <a:pt x="624" y="482"/>
                    </a:lnTo>
                    <a:lnTo>
                      <a:pt x="624" y="527"/>
                    </a:lnTo>
                    <a:lnTo>
                      <a:pt x="645" y="527"/>
                    </a:lnTo>
                    <a:lnTo>
                      <a:pt x="645" y="564"/>
                    </a:lnTo>
                    <a:lnTo>
                      <a:pt x="667" y="581"/>
                    </a:lnTo>
                    <a:lnTo>
                      <a:pt x="667" y="604"/>
                    </a:lnTo>
                    <a:lnTo>
                      <a:pt x="678" y="604"/>
                    </a:lnTo>
                    <a:lnTo>
                      <a:pt x="641" y="593"/>
                    </a:lnTo>
                    <a:lnTo>
                      <a:pt x="624" y="593"/>
                    </a:lnTo>
                    <a:lnTo>
                      <a:pt x="586" y="593"/>
                    </a:lnTo>
                    <a:lnTo>
                      <a:pt x="570" y="638"/>
                    </a:lnTo>
                    <a:lnTo>
                      <a:pt x="537" y="666"/>
                    </a:lnTo>
                    <a:lnTo>
                      <a:pt x="537" y="666"/>
                    </a:lnTo>
                    <a:lnTo>
                      <a:pt x="414" y="666"/>
                    </a:lnTo>
                    <a:lnTo>
                      <a:pt x="232" y="510"/>
                    </a:lnTo>
                    <a:lnTo>
                      <a:pt x="182" y="493"/>
                    </a:lnTo>
                    <a:lnTo>
                      <a:pt x="107" y="444"/>
                    </a:lnTo>
                    <a:lnTo>
                      <a:pt x="22" y="427"/>
                    </a:lnTo>
                    <a:lnTo>
                      <a:pt x="22" y="427"/>
                    </a:lnTo>
                    <a:lnTo>
                      <a:pt x="22" y="42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62" name="Freeform 480">
                <a:extLst>
                  <a:ext uri="{FF2B5EF4-FFF2-40B4-BE49-F238E27FC236}">
                    <a16:creationId xmlns:a16="http://schemas.microsoft.com/office/drawing/2014/main" id="{581ED743-F6CA-4077-AEE8-44F7D26C5BEF}"/>
                  </a:ext>
                </a:extLst>
              </p:cNvPr>
              <p:cNvSpPr>
                <a:spLocks/>
              </p:cNvSpPr>
              <p:nvPr/>
            </p:nvSpPr>
            <p:spPr bwMode="gray">
              <a:xfrm>
                <a:off x="6841811" y="5826295"/>
                <a:ext cx="139819" cy="156615"/>
              </a:xfrm>
              <a:custGeom>
                <a:avLst/>
                <a:gdLst>
                  <a:gd name="T0" fmla="*/ 38 w 300"/>
                  <a:gd name="T1" fmla="*/ 152 h 336"/>
                  <a:gd name="T2" fmla="*/ 38 w 300"/>
                  <a:gd name="T3" fmla="*/ 90 h 336"/>
                  <a:gd name="T4" fmla="*/ 38 w 300"/>
                  <a:gd name="T5" fmla="*/ 83 h 336"/>
                  <a:gd name="T6" fmla="*/ 38 w 300"/>
                  <a:gd name="T7" fmla="*/ 55 h 336"/>
                  <a:gd name="T8" fmla="*/ 49 w 300"/>
                  <a:gd name="T9" fmla="*/ 55 h 336"/>
                  <a:gd name="T10" fmla="*/ 71 w 300"/>
                  <a:gd name="T11" fmla="*/ 50 h 336"/>
                  <a:gd name="T12" fmla="*/ 75 w 300"/>
                  <a:gd name="T13" fmla="*/ 67 h 336"/>
                  <a:gd name="T14" fmla="*/ 101 w 300"/>
                  <a:gd name="T15" fmla="*/ 83 h 336"/>
                  <a:gd name="T16" fmla="*/ 130 w 300"/>
                  <a:gd name="T17" fmla="*/ 83 h 336"/>
                  <a:gd name="T18" fmla="*/ 269 w 300"/>
                  <a:gd name="T19" fmla="*/ 0 h 336"/>
                  <a:gd name="T20" fmla="*/ 283 w 300"/>
                  <a:gd name="T21" fmla="*/ 67 h 336"/>
                  <a:gd name="T22" fmla="*/ 279 w 300"/>
                  <a:gd name="T23" fmla="*/ 74 h 336"/>
                  <a:gd name="T24" fmla="*/ 283 w 300"/>
                  <a:gd name="T25" fmla="*/ 83 h 336"/>
                  <a:gd name="T26" fmla="*/ 300 w 300"/>
                  <a:gd name="T27" fmla="*/ 83 h 336"/>
                  <a:gd name="T28" fmla="*/ 300 w 300"/>
                  <a:gd name="T29" fmla="*/ 90 h 336"/>
                  <a:gd name="T30" fmla="*/ 290 w 300"/>
                  <a:gd name="T31" fmla="*/ 95 h 336"/>
                  <a:gd name="T32" fmla="*/ 283 w 300"/>
                  <a:gd name="T33" fmla="*/ 107 h 336"/>
                  <a:gd name="T34" fmla="*/ 139 w 300"/>
                  <a:gd name="T35" fmla="*/ 145 h 336"/>
                  <a:gd name="T36" fmla="*/ 210 w 300"/>
                  <a:gd name="T37" fmla="*/ 234 h 336"/>
                  <a:gd name="T38" fmla="*/ 182 w 300"/>
                  <a:gd name="T39" fmla="*/ 239 h 336"/>
                  <a:gd name="T40" fmla="*/ 177 w 300"/>
                  <a:gd name="T41" fmla="*/ 274 h 336"/>
                  <a:gd name="T42" fmla="*/ 123 w 300"/>
                  <a:gd name="T43" fmla="*/ 279 h 336"/>
                  <a:gd name="T44" fmla="*/ 108 w 300"/>
                  <a:gd name="T45" fmla="*/ 312 h 336"/>
                  <a:gd name="T46" fmla="*/ 75 w 300"/>
                  <a:gd name="T47" fmla="*/ 336 h 336"/>
                  <a:gd name="T48" fmla="*/ 0 w 300"/>
                  <a:gd name="T49" fmla="*/ 317 h 336"/>
                  <a:gd name="T50" fmla="*/ 0 w 300"/>
                  <a:gd name="T51" fmla="*/ 308 h 336"/>
                  <a:gd name="T52" fmla="*/ 16 w 300"/>
                  <a:gd name="T53" fmla="*/ 256 h 336"/>
                  <a:gd name="T54" fmla="*/ 16 w 300"/>
                  <a:gd name="T55" fmla="*/ 234 h 336"/>
                  <a:gd name="T56" fmla="*/ 33 w 300"/>
                  <a:gd name="T57" fmla="*/ 178 h 336"/>
                  <a:gd name="T58" fmla="*/ 33 w 300"/>
                  <a:gd name="T59" fmla="*/ 168 h 336"/>
                  <a:gd name="T60" fmla="*/ 38 w 300"/>
                  <a:gd name="T61" fmla="*/ 152 h 336"/>
                  <a:gd name="T62" fmla="*/ 38 w 300"/>
                  <a:gd name="T63" fmla="*/ 152 h 336"/>
                  <a:gd name="T64" fmla="*/ 38 w 300"/>
                  <a:gd name="T65" fmla="*/ 15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336">
                    <a:moveTo>
                      <a:pt x="38" y="152"/>
                    </a:moveTo>
                    <a:lnTo>
                      <a:pt x="38" y="90"/>
                    </a:lnTo>
                    <a:lnTo>
                      <a:pt x="38" y="83"/>
                    </a:lnTo>
                    <a:lnTo>
                      <a:pt x="38" y="55"/>
                    </a:lnTo>
                    <a:lnTo>
                      <a:pt x="49" y="55"/>
                    </a:lnTo>
                    <a:lnTo>
                      <a:pt x="71" y="50"/>
                    </a:lnTo>
                    <a:lnTo>
                      <a:pt x="75" y="67"/>
                    </a:lnTo>
                    <a:lnTo>
                      <a:pt x="101" y="83"/>
                    </a:lnTo>
                    <a:lnTo>
                      <a:pt x="130" y="83"/>
                    </a:lnTo>
                    <a:lnTo>
                      <a:pt x="269" y="0"/>
                    </a:lnTo>
                    <a:lnTo>
                      <a:pt x="283" y="67"/>
                    </a:lnTo>
                    <a:lnTo>
                      <a:pt x="279" y="74"/>
                    </a:lnTo>
                    <a:lnTo>
                      <a:pt x="283" y="83"/>
                    </a:lnTo>
                    <a:lnTo>
                      <a:pt x="300" y="83"/>
                    </a:lnTo>
                    <a:lnTo>
                      <a:pt x="300" y="90"/>
                    </a:lnTo>
                    <a:lnTo>
                      <a:pt x="290" y="95"/>
                    </a:lnTo>
                    <a:lnTo>
                      <a:pt x="283" y="107"/>
                    </a:lnTo>
                    <a:lnTo>
                      <a:pt x="139" y="145"/>
                    </a:lnTo>
                    <a:lnTo>
                      <a:pt x="210" y="234"/>
                    </a:lnTo>
                    <a:lnTo>
                      <a:pt x="182" y="239"/>
                    </a:lnTo>
                    <a:lnTo>
                      <a:pt x="177" y="274"/>
                    </a:lnTo>
                    <a:lnTo>
                      <a:pt x="123" y="279"/>
                    </a:lnTo>
                    <a:lnTo>
                      <a:pt x="108" y="312"/>
                    </a:lnTo>
                    <a:lnTo>
                      <a:pt x="75" y="336"/>
                    </a:lnTo>
                    <a:lnTo>
                      <a:pt x="0" y="317"/>
                    </a:lnTo>
                    <a:lnTo>
                      <a:pt x="0" y="308"/>
                    </a:lnTo>
                    <a:lnTo>
                      <a:pt x="16" y="256"/>
                    </a:lnTo>
                    <a:lnTo>
                      <a:pt x="16" y="234"/>
                    </a:lnTo>
                    <a:lnTo>
                      <a:pt x="33" y="178"/>
                    </a:lnTo>
                    <a:lnTo>
                      <a:pt x="33" y="168"/>
                    </a:lnTo>
                    <a:lnTo>
                      <a:pt x="38" y="152"/>
                    </a:lnTo>
                    <a:lnTo>
                      <a:pt x="38" y="152"/>
                    </a:lnTo>
                    <a:lnTo>
                      <a:pt x="38" y="15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63" name="Freeform 481">
                <a:extLst>
                  <a:ext uri="{FF2B5EF4-FFF2-40B4-BE49-F238E27FC236}">
                    <a16:creationId xmlns:a16="http://schemas.microsoft.com/office/drawing/2014/main" id="{945FA42B-F6B8-40DC-ABDF-1C89088125C5}"/>
                  </a:ext>
                </a:extLst>
              </p:cNvPr>
              <p:cNvSpPr>
                <a:spLocks noEditPoints="1"/>
              </p:cNvSpPr>
              <p:nvPr/>
            </p:nvSpPr>
            <p:spPr bwMode="gray">
              <a:xfrm>
                <a:off x="6805458" y="6834036"/>
                <a:ext cx="261928" cy="314627"/>
              </a:xfrm>
              <a:custGeom>
                <a:avLst/>
                <a:gdLst>
                  <a:gd name="T0" fmla="*/ 0 w 562"/>
                  <a:gd name="T1" fmla="*/ 408 h 675"/>
                  <a:gd name="T2" fmla="*/ 7 w 562"/>
                  <a:gd name="T3" fmla="*/ 347 h 675"/>
                  <a:gd name="T4" fmla="*/ 0 w 562"/>
                  <a:gd name="T5" fmla="*/ 331 h 675"/>
                  <a:gd name="T6" fmla="*/ 23 w 562"/>
                  <a:gd name="T7" fmla="*/ 290 h 675"/>
                  <a:gd name="T8" fmla="*/ 38 w 562"/>
                  <a:gd name="T9" fmla="*/ 274 h 675"/>
                  <a:gd name="T10" fmla="*/ 45 w 562"/>
                  <a:gd name="T11" fmla="*/ 253 h 675"/>
                  <a:gd name="T12" fmla="*/ 71 w 562"/>
                  <a:gd name="T13" fmla="*/ 241 h 675"/>
                  <a:gd name="T14" fmla="*/ 61 w 562"/>
                  <a:gd name="T15" fmla="*/ 234 h 675"/>
                  <a:gd name="T16" fmla="*/ 75 w 562"/>
                  <a:gd name="T17" fmla="*/ 212 h 675"/>
                  <a:gd name="T18" fmla="*/ 75 w 562"/>
                  <a:gd name="T19" fmla="*/ 196 h 675"/>
                  <a:gd name="T20" fmla="*/ 71 w 562"/>
                  <a:gd name="T21" fmla="*/ 156 h 675"/>
                  <a:gd name="T22" fmla="*/ 61 w 562"/>
                  <a:gd name="T23" fmla="*/ 130 h 675"/>
                  <a:gd name="T24" fmla="*/ 45 w 562"/>
                  <a:gd name="T25" fmla="*/ 123 h 675"/>
                  <a:gd name="T26" fmla="*/ 38 w 562"/>
                  <a:gd name="T27" fmla="*/ 90 h 675"/>
                  <a:gd name="T28" fmla="*/ 38 w 562"/>
                  <a:gd name="T29" fmla="*/ 68 h 675"/>
                  <a:gd name="T30" fmla="*/ 23 w 562"/>
                  <a:gd name="T31" fmla="*/ 57 h 675"/>
                  <a:gd name="T32" fmla="*/ 7 w 562"/>
                  <a:gd name="T33" fmla="*/ 28 h 675"/>
                  <a:gd name="T34" fmla="*/ 38 w 562"/>
                  <a:gd name="T35" fmla="*/ 0 h 675"/>
                  <a:gd name="T36" fmla="*/ 146 w 562"/>
                  <a:gd name="T37" fmla="*/ 0 h 675"/>
                  <a:gd name="T38" fmla="*/ 153 w 562"/>
                  <a:gd name="T39" fmla="*/ 12 h 675"/>
                  <a:gd name="T40" fmla="*/ 222 w 562"/>
                  <a:gd name="T41" fmla="*/ 19 h 675"/>
                  <a:gd name="T42" fmla="*/ 305 w 562"/>
                  <a:gd name="T43" fmla="*/ 73 h 675"/>
                  <a:gd name="T44" fmla="*/ 326 w 562"/>
                  <a:gd name="T45" fmla="*/ 73 h 675"/>
                  <a:gd name="T46" fmla="*/ 394 w 562"/>
                  <a:gd name="T47" fmla="*/ 90 h 675"/>
                  <a:gd name="T48" fmla="*/ 418 w 562"/>
                  <a:gd name="T49" fmla="*/ 52 h 675"/>
                  <a:gd name="T50" fmla="*/ 486 w 562"/>
                  <a:gd name="T51" fmla="*/ 28 h 675"/>
                  <a:gd name="T52" fmla="*/ 510 w 562"/>
                  <a:gd name="T53" fmla="*/ 52 h 675"/>
                  <a:gd name="T54" fmla="*/ 562 w 562"/>
                  <a:gd name="T55" fmla="*/ 45 h 675"/>
                  <a:gd name="T56" fmla="*/ 524 w 562"/>
                  <a:gd name="T57" fmla="*/ 106 h 675"/>
                  <a:gd name="T58" fmla="*/ 503 w 562"/>
                  <a:gd name="T59" fmla="*/ 130 h 675"/>
                  <a:gd name="T60" fmla="*/ 503 w 562"/>
                  <a:gd name="T61" fmla="*/ 401 h 675"/>
                  <a:gd name="T62" fmla="*/ 541 w 562"/>
                  <a:gd name="T63" fmla="*/ 458 h 675"/>
                  <a:gd name="T64" fmla="*/ 524 w 562"/>
                  <a:gd name="T65" fmla="*/ 475 h 675"/>
                  <a:gd name="T66" fmla="*/ 494 w 562"/>
                  <a:gd name="T67" fmla="*/ 479 h 675"/>
                  <a:gd name="T68" fmla="*/ 494 w 562"/>
                  <a:gd name="T69" fmla="*/ 508 h 675"/>
                  <a:gd name="T70" fmla="*/ 486 w 562"/>
                  <a:gd name="T71" fmla="*/ 496 h 675"/>
                  <a:gd name="T72" fmla="*/ 486 w 562"/>
                  <a:gd name="T73" fmla="*/ 508 h 675"/>
                  <a:gd name="T74" fmla="*/ 472 w 562"/>
                  <a:gd name="T75" fmla="*/ 520 h 675"/>
                  <a:gd name="T76" fmla="*/ 465 w 562"/>
                  <a:gd name="T77" fmla="*/ 520 h 675"/>
                  <a:gd name="T78" fmla="*/ 449 w 562"/>
                  <a:gd name="T79" fmla="*/ 529 h 675"/>
                  <a:gd name="T80" fmla="*/ 439 w 562"/>
                  <a:gd name="T81" fmla="*/ 569 h 675"/>
                  <a:gd name="T82" fmla="*/ 423 w 562"/>
                  <a:gd name="T83" fmla="*/ 574 h 675"/>
                  <a:gd name="T84" fmla="*/ 385 w 562"/>
                  <a:gd name="T85" fmla="*/ 675 h 675"/>
                  <a:gd name="T86" fmla="*/ 368 w 562"/>
                  <a:gd name="T87" fmla="*/ 675 h 675"/>
                  <a:gd name="T88" fmla="*/ 260 w 562"/>
                  <a:gd name="T89" fmla="*/ 586 h 675"/>
                  <a:gd name="T90" fmla="*/ 271 w 562"/>
                  <a:gd name="T91" fmla="*/ 574 h 675"/>
                  <a:gd name="T92" fmla="*/ 260 w 562"/>
                  <a:gd name="T93" fmla="*/ 553 h 675"/>
                  <a:gd name="T94" fmla="*/ 0 w 562"/>
                  <a:gd name="T95" fmla="*/ 408 h 675"/>
                  <a:gd name="T96" fmla="*/ 0 w 562"/>
                  <a:gd name="T97" fmla="*/ 408 h 675"/>
                  <a:gd name="T98" fmla="*/ 0 w 562"/>
                  <a:gd name="T99" fmla="*/ 408 h 675"/>
                  <a:gd name="T100" fmla="*/ 503 w 562"/>
                  <a:gd name="T101" fmla="*/ 496 h 675"/>
                  <a:gd name="T102" fmla="*/ 503 w 562"/>
                  <a:gd name="T103" fmla="*/ 491 h 675"/>
                  <a:gd name="T104" fmla="*/ 510 w 562"/>
                  <a:gd name="T105" fmla="*/ 491 h 675"/>
                  <a:gd name="T106" fmla="*/ 503 w 562"/>
                  <a:gd name="T107" fmla="*/ 496 h 675"/>
                  <a:gd name="T108" fmla="*/ 503 w 562"/>
                  <a:gd name="T109" fmla="*/ 496 h 675"/>
                  <a:gd name="T110" fmla="*/ 503 w 562"/>
                  <a:gd name="T111" fmla="*/ 496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2" h="675">
                    <a:moveTo>
                      <a:pt x="0" y="408"/>
                    </a:moveTo>
                    <a:lnTo>
                      <a:pt x="7" y="347"/>
                    </a:lnTo>
                    <a:lnTo>
                      <a:pt x="0" y="331"/>
                    </a:lnTo>
                    <a:lnTo>
                      <a:pt x="23" y="290"/>
                    </a:lnTo>
                    <a:lnTo>
                      <a:pt x="38" y="274"/>
                    </a:lnTo>
                    <a:lnTo>
                      <a:pt x="45" y="253"/>
                    </a:lnTo>
                    <a:lnTo>
                      <a:pt x="71" y="241"/>
                    </a:lnTo>
                    <a:lnTo>
                      <a:pt x="61" y="234"/>
                    </a:lnTo>
                    <a:lnTo>
                      <a:pt x="75" y="212"/>
                    </a:lnTo>
                    <a:lnTo>
                      <a:pt x="75" y="196"/>
                    </a:lnTo>
                    <a:lnTo>
                      <a:pt x="71" y="156"/>
                    </a:lnTo>
                    <a:lnTo>
                      <a:pt x="61" y="130"/>
                    </a:lnTo>
                    <a:lnTo>
                      <a:pt x="45" y="123"/>
                    </a:lnTo>
                    <a:lnTo>
                      <a:pt x="38" y="90"/>
                    </a:lnTo>
                    <a:lnTo>
                      <a:pt x="38" y="68"/>
                    </a:lnTo>
                    <a:lnTo>
                      <a:pt x="23" y="57"/>
                    </a:lnTo>
                    <a:lnTo>
                      <a:pt x="7" y="28"/>
                    </a:lnTo>
                    <a:lnTo>
                      <a:pt x="38" y="0"/>
                    </a:lnTo>
                    <a:lnTo>
                      <a:pt x="146" y="0"/>
                    </a:lnTo>
                    <a:lnTo>
                      <a:pt x="153" y="12"/>
                    </a:lnTo>
                    <a:lnTo>
                      <a:pt x="222" y="19"/>
                    </a:lnTo>
                    <a:lnTo>
                      <a:pt x="305" y="73"/>
                    </a:lnTo>
                    <a:lnTo>
                      <a:pt x="326" y="73"/>
                    </a:lnTo>
                    <a:lnTo>
                      <a:pt x="394" y="90"/>
                    </a:lnTo>
                    <a:lnTo>
                      <a:pt x="418" y="52"/>
                    </a:lnTo>
                    <a:lnTo>
                      <a:pt x="486" y="28"/>
                    </a:lnTo>
                    <a:lnTo>
                      <a:pt x="510" y="52"/>
                    </a:lnTo>
                    <a:lnTo>
                      <a:pt x="562" y="45"/>
                    </a:lnTo>
                    <a:lnTo>
                      <a:pt x="524" y="106"/>
                    </a:lnTo>
                    <a:lnTo>
                      <a:pt x="503" y="130"/>
                    </a:lnTo>
                    <a:lnTo>
                      <a:pt x="503" y="401"/>
                    </a:lnTo>
                    <a:lnTo>
                      <a:pt x="541" y="458"/>
                    </a:lnTo>
                    <a:lnTo>
                      <a:pt x="524" y="475"/>
                    </a:lnTo>
                    <a:lnTo>
                      <a:pt x="494" y="479"/>
                    </a:lnTo>
                    <a:lnTo>
                      <a:pt x="494" y="508"/>
                    </a:lnTo>
                    <a:lnTo>
                      <a:pt x="486" y="496"/>
                    </a:lnTo>
                    <a:lnTo>
                      <a:pt x="486" y="508"/>
                    </a:lnTo>
                    <a:lnTo>
                      <a:pt x="472" y="520"/>
                    </a:lnTo>
                    <a:lnTo>
                      <a:pt x="465" y="520"/>
                    </a:lnTo>
                    <a:lnTo>
                      <a:pt x="449" y="529"/>
                    </a:lnTo>
                    <a:lnTo>
                      <a:pt x="439" y="569"/>
                    </a:lnTo>
                    <a:lnTo>
                      <a:pt x="423" y="574"/>
                    </a:lnTo>
                    <a:lnTo>
                      <a:pt x="385" y="675"/>
                    </a:lnTo>
                    <a:lnTo>
                      <a:pt x="368" y="675"/>
                    </a:lnTo>
                    <a:lnTo>
                      <a:pt x="260" y="586"/>
                    </a:lnTo>
                    <a:lnTo>
                      <a:pt x="271" y="574"/>
                    </a:lnTo>
                    <a:lnTo>
                      <a:pt x="260" y="553"/>
                    </a:lnTo>
                    <a:lnTo>
                      <a:pt x="0" y="408"/>
                    </a:lnTo>
                    <a:lnTo>
                      <a:pt x="0" y="408"/>
                    </a:lnTo>
                    <a:lnTo>
                      <a:pt x="0" y="408"/>
                    </a:lnTo>
                    <a:close/>
                    <a:moveTo>
                      <a:pt x="503" y="496"/>
                    </a:moveTo>
                    <a:lnTo>
                      <a:pt x="503" y="491"/>
                    </a:lnTo>
                    <a:lnTo>
                      <a:pt x="510" y="491"/>
                    </a:lnTo>
                    <a:lnTo>
                      <a:pt x="503" y="496"/>
                    </a:lnTo>
                    <a:lnTo>
                      <a:pt x="503" y="496"/>
                    </a:lnTo>
                    <a:lnTo>
                      <a:pt x="503" y="49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64" name="Freeform 487">
                <a:extLst>
                  <a:ext uri="{FF2B5EF4-FFF2-40B4-BE49-F238E27FC236}">
                    <a16:creationId xmlns:a16="http://schemas.microsoft.com/office/drawing/2014/main" id="{BF75448F-1197-4E10-ADDE-A970283D5A9D}"/>
                  </a:ext>
                </a:extLst>
              </p:cNvPr>
              <p:cNvSpPr>
                <a:spLocks noEditPoints="1"/>
              </p:cNvSpPr>
              <p:nvPr/>
            </p:nvSpPr>
            <p:spPr bwMode="gray">
              <a:xfrm>
                <a:off x="7219322" y="5948884"/>
                <a:ext cx="60589" cy="57332"/>
              </a:xfrm>
              <a:custGeom>
                <a:avLst/>
                <a:gdLst>
                  <a:gd name="T0" fmla="*/ 0 w 130"/>
                  <a:gd name="T1" fmla="*/ 73 h 123"/>
                  <a:gd name="T2" fmla="*/ 33 w 130"/>
                  <a:gd name="T3" fmla="*/ 45 h 123"/>
                  <a:gd name="T4" fmla="*/ 50 w 130"/>
                  <a:gd name="T5" fmla="*/ 0 h 123"/>
                  <a:gd name="T6" fmla="*/ 87 w 130"/>
                  <a:gd name="T7" fmla="*/ 0 h 123"/>
                  <a:gd name="T8" fmla="*/ 104 w 130"/>
                  <a:gd name="T9" fmla="*/ 0 h 123"/>
                  <a:gd name="T10" fmla="*/ 118 w 130"/>
                  <a:gd name="T11" fmla="*/ 45 h 123"/>
                  <a:gd name="T12" fmla="*/ 104 w 130"/>
                  <a:gd name="T13" fmla="*/ 33 h 123"/>
                  <a:gd name="T14" fmla="*/ 87 w 130"/>
                  <a:gd name="T15" fmla="*/ 56 h 123"/>
                  <a:gd name="T16" fmla="*/ 109 w 130"/>
                  <a:gd name="T17" fmla="*/ 56 h 123"/>
                  <a:gd name="T18" fmla="*/ 130 w 130"/>
                  <a:gd name="T19" fmla="*/ 123 h 123"/>
                  <a:gd name="T20" fmla="*/ 87 w 130"/>
                  <a:gd name="T21" fmla="*/ 123 h 123"/>
                  <a:gd name="T22" fmla="*/ 66 w 130"/>
                  <a:gd name="T23" fmla="*/ 85 h 123"/>
                  <a:gd name="T24" fmla="*/ 0 w 130"/>
                  <a:gd name="T25" fmla="*/ 73 h 123"/>
                  <a:gd name="T26" fmla="*/ 0 w 130"/>
                  <a:gd name="T27" fmla="*/ 73 h 123"/>
                  <a:gd name="T28" fmla="*/ 0 w 130"/>
                  <a:gd name="T29" fmla="*/ 73 h 123"/>
                  <a:gd name="T30" fmla="*/ 0 w 130"/>
                  <a:gd name="T31" fmla="*/ 73 h 123"/>
                  <a:gd name="T32" fmla="*/ 118 w 130"/>
                  <a:gd name="T33" fmla="*/ 9 h 123"/>
                  <a:gd name="T34" fmla="*/ 130 w 130"/>
                  <a:gd name="T35" fmla="*/ 28 h 123"/>
                  <a:gd name="T36" fmla="*/ 118 w 130"/>
                  <a:gd name="T37" fmla="*/ 45 h 123"/>
                  <a:gd name="T38" fmla="*/ 109 w 130"/>
                  <a:gd name="T39" fmla="*/ 28 h 123"/>
                  <a:gd name="T40" fmla="*/ 109 w 130"/>
                  <a:gd name="T41" fmla="*/ 9 h 123"/>
                  <a:gd name="T42" fmla="*/ 118 w 130"/>
                  <a:gd name="T43" fmla="*/ 9 h 123"/>
                  <a:gd name="T44" fmla="*/ 118 w 130"/>
                  <a:gd name="T45" fmla="*/ 9 h 123"/>
                  <a:gd name="T46" fmla="*/ 118 w 130"/>
                  <a:gd name="T47" fmla="*/ 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123">
                    <a:moveTo>
                      <a:pt x="0" y="73"/>
                    </a:moveTo>
                    <a:lnTo>
                      <a:pt x="33" y="45"/>
                    </a:lnTo>
                    <a:lnTo>
                      <a:pt x="50" y="0"/>
                    </a:lnTo>
                    <a:lnTo>
                      <a:pt x="87" y="0"/>
                    </a:lnTo>
                    <a:lnTo>
                      <a:pt x="104" y="0"/>
                    </a:lnTo>
                    <a:lnTo>
                      <a:pt x="118" y="45"/>
                    </a:lnTo>
                    <a:lnTo>
                      <a:pt x="104" y="33"/>
                    </a:lnTo>
                    <a:lnTo>
                      <a:pt x="87" y="56"/>
                    </a:lnTo>
                    <a:lnTo>
                      <a:pt x="109" y="56"/>
                    </a:lnTo>
                    <a:lnTo>
                      <a:pt x="130" y="123"/>
                    </a:lnTo>
                    <a:lnTo>
                      <a:pt x="87" y="123"/>
                    </a:lnTo>
                    <a:lnTo>
                      <a:pt x="66" y="85"/>
                    </a:lnTo>
                    <a:lnTo>
                      <a:pt x="0" y="73"/>
                    </a:lnTo>
                    <a:lnTo>
                      <a:pt x="0" y="73"/>
                    </a:lnTo>
                    <a:lnTo>
                      <a:pt x="0" y="73"/>
                    </a:lnTo>
                    <a:lnTo>
                      <a:pt x="0" y="73"/>
                    </a:lnTo>
                    <a:close/>
                    <a:moveTo>
                      <a:pt x="118" y="9"/>
                    </a:moveTo>
                    <a:lnTo>
                      <a:pt x="130" y="28"/>
                    </a:lnTo>
                    <a:lnTo>
                      <a:pt x="118" y="45"/>
                    </a:lnTo>
                    <a:lnTo>
                      <a:pt x="109" y="28"/>
                    </a:lnTo>
                    <a:lnTo>
                      <a:pt x="109" y="9"/>
                    </a:lnTo>
                    <a:lnTo>
                      <a:pt x="118" y="9"/>
                    </a:lnTo>
                    <a:lnTo>
                      <a:pt x="118" y="9"/>
                    </a:lnTo>
                    <a:lnTo>
                      <a:pt x="118" y="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65" name="Freeform 490">
                <a:extLst>
                  <a:ext uri="{FF2B5EF4-FFF2-40B4-BE49-F238E27FC236}">
                    <a16:creationId xmlns:a16="http://schemas.microsoft.com/office/drawing/2014/main" id="{D785FF25-3BBE-4863-8A88-9BB7C0597BC1}"/>
                  </a:ext>
                </a:extLst>
              </p:cNvPr>
              <p:cNvSpPr>
                <a:spLocks/>
              </p:cNvSpPr>
              <p:nvPr/>
            </p:nvSpPr>
            <p:spPr bwMode="gray">
              <a:xfrm>
                <a:off x="6846006" y="5780151"/>
                <a:ext cx="51733" cy="60596"/>
              </a:xfrm>
              <a:custGeom>
                <a:avLst/>
                <a:gdLst>
                  <a:gd name="T0" fmla="*/ 38 w 111"/>
                  <a:gd name="T1" fmla="*/ 111 h 130"/>
                  <a:gd name="T2" fmla="*/ 21 w 111"/>
                  <a:gd name="T3" fmla="*/ 130 h 130"/>
                  <a:gd name="T4" fmla="*/ 0 w 111"/>
                  <a:gd name="T5" fmla="*/ 118 h 130"/>
                  <a:gd name="T6" fmla="*/ 21 w 111"/>
                  <a:gd name="T7" fmla="*/ 57 h 130"/>
                  <a:gd name="T8" fmla="*/ 38 w 111"/>
                  <a:gd name="T9" fmla="*/ 45 h 130"/>
                  <a:gd name="T10" fmla="*/ 38 w 111"/>
                  <a:gd name="T11" fmla="*/ 24 h 130"/>
                  <a:gd name="T12" fmla="*/ 62 w 111"/>
                  <a:gd name="T13" fmla="*/ 5 h 130"/>
                  <a:gd name="T14" fmla="*/ 62 w 111"/>
                  <a:gd name="T15" fmla="*/ 0 h 130"/>
                  <a:gd name="T16" fmla="*/ 95 w 111"/>
                  <a:gd name="T17" fmla="*/ 0 h 130"/>
                  <a:gd name="T18" fmla="*/ 83 w 111"/>
                  <a:gd name="T19" fmla="*/ 5 h 130"/>
                  <a:gd name="T20" fmla="*/ 99 w 111"/>
                  <a:gd name="T21" fmla="*/ 17 h 130"/>
                  <a:gd name="T22" fmla="*/ 111 w 111"/>
                  <a:gd name="T23" fmla="*/ 29 h 130"/>
                  <a:gd name="T24" fmla="*/ 83 w 111"/>
                  <a:gd name="T25" fmla="*/ 57 h 130"/>
                  <a:gd name="T26" fmla="*/ 95 w 111"/>
                  <a:gd name="T27" fmla="*/ 62 h 130"/>
                  <a:gd name="T28" fmla="*/ 66 w 111"/>
                  <a:gd name="T29" fmla="*/ 62 h 130"/>
                  <a:gd name="T30" fmla="*/ 62 w 111"/>
                  <a:gd name="T31" fmla="*/ 78 h 130"/>
                  <a:gd name="T32" fmla="*/ 66 w 111"/>
                  <a:gd name="T33" fmla="*/ 78 h 130"/>
                  <a:gd name="T34" fmla="*/ 38 w 111"/>
                  <a:gd name="T35" fmla="*/ 111 h 130"/>
                  <a:gd name="T36" fmla="*/ 38 w 111"/>
                  <a:gd name="T37" fmla="*/ 111 h 130"/>
                  <a:gd name="T38" fmla="*/ 38 w 111"/>
                  <a:gd name="T39" fmla="*/ 111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30">
                    <a:moveTo>
                      <a:pt x="38" y="111"/>
                    </a:moveTo>
                    <a:lnTo>
                      <a:pt x="21" y="130"/>
                    </a:lnTo>
                    <a:lnTo>
                      <a:pt x="0" y="118"/>
                    </a:lnTo>
                    <a:lnTo>
                      <a:pt x="21" y="57"/>
                    </a:lnTo>
                    <a:lnTo>
                      <a:pt x="38" y="45"/>
                    </a:lnTo>
                    <a:lnTo>
                      <a:pt x="38" y="24"/>
                    </a:lnTo>
                    <a:lnTo>
                      <a:pt x="62" y="5"/>
                    </a:lnTo>
                    <a:lnTo>
                      <a:pt x="62" y="0"/>
                    </a:lnTo>
                    <a:lnTo>
                      <a:pt x="95" y="0"/>
                    </a:lnTo>
                    <a:lnTo>
                      <a:pt x="83" y="5"/>
                    </a:lnTo>
                    <a:lnTo>
                      <a:pt x="99" y="17"/>
                    </a:lnTo>
                    <a:lnTo>
                      <a:pt x="111" y="29"/>
                    </a:lnTo>
                    <a:lnTo>
                      <a:pt x="83" y="57"/>
                    </a:lnTo>
                    <a:lnTo>
                      <a:pt x="95" y="62"/>
                    </a:lnTo>
                    <a:lnTo>
                      <a:pt x="66" y="62"/>
                    </a:lnTo>
                    <a:lnTo>
                      <a:pt x="62" y="78"/>
                    </a:lnTo>
                    <a:lnTo>
                      <a:pt x="66" y="78"/>
                    </a:lnTo>
                    <a:lnTo>
                      <a:pt x="38" y="111"/>
                    </a:lnTo>
                    <a:lnTo>
                      <a:pt x="38" y="111"/>
                    </a:lnTo>
                    <a:lnTo>
                      <a:pt x="38" y="11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66" name="Freeform 493">
                <a:extLst>
                  <a:ext uri="{FF2B5EF4-FFF2-40B4-BE49-F238E27FC236}">
                    <a16:creationId xmlns:a16="http://schemas.microsoft.com/office/drawing/2014/main" id="{ED6EA25A-0C98-4D7D-BEC4-4CCD0258AEFF}"/>
                  </a:ext>
                </a:extLst>
              </p:cNvPr>
              <p:cNvSpPr>
                <a:spLocks/>
              </p:cNvSpPr>
              <p:nvPr/>
            </p:nvSpPr>
            <p:spPr bwMode="gray">
              <a:xfrm>
                <a:off x="5323378" y="6703059"/>
                <a:ext cx="134693" cy="139835"/>
              </a:xfrm>
              <a:custGeom>
                <a:avLst/>
                <a:gdLst>
                  <a:gd name="T0" fmla="*/ 0 w 289"/>
                  <a:gd name="T1" fmla="*/ 115 h 300"/>
                  <a:gd name="T2" fmla="*/ 12 w 289"/>
                  <a:gd name="T3" fmla="*/ 94 h 300"/>
                  <a:gd name="T4" fmla="*/ 38 w 289"/>
                  <a:gd name="T5" fmla="*/ 71 h 300"/>
                  <a:gd name="T6" fmla="*/ 66 w 289"/>
                  <a:gd name="T7" fmla="*/ 54 h 300"/>
                  <a:gd name="T8" fmla="*/ 66 w 289"/>
                  <a:gd name="T9" fmla="*/ 33 h 300"/>
                  <a:gd name="T10" fmla="*/ 76 w 289"/>
                  <a:gd name="T11" fmla="*/ 21 h 300"/>
                  <a:gd name="T12" fmla="*/ 88 w 289"/>
                  <a:gd name="T13" fmla="*/ 0 h 300"/>
                  <a:gd name="T14" fmla="*/ 121 w 289"/>
                  <a:gd name="T15" fmla="*/ 0 h 300"/>
                  <a:gd name="T16" fmla="*/ 142 w 289"/>
                  <a:gd name="T17" fmla="*/ 16 h 300"/>
                  <a:gd name="T18" fmla="*/ 147 w 289"/>
                  <a:gd name="T19" fmla="*/ 54 h 300"/>
                  <a:gd name="T20" fmla="*/ 142 w 289"/>
                  <a:gd name="T21" fmla="*/ 87 h 300"/>
                  <a:gd name="T22" fmla="*/ 147 w 289"/>
                  <a:gd name="T23" fmla="*/ 75 h 300"/>
                  <a:gd name="T24" fmla="*/ 163 w 289"/>
                  <a:gd name="T25" fmla="*/ 94 h 300"/>
                  <a:gd name="T26" fmla="*/ 185 w 289"/>
                  <a:gd name="T27" fmla="*/ 87 h 300"/>
                  <a:gd name="T28" fmla="*/ 196 w 289"/>
                  <a:gd name="T29" fmla="*/ 59 h 300"/>
                  <a:gd name="T30" fmla="*/ 201 w 289"/>
                  <a:gd name="T31" fmla="*/ 59 h 300"/>
                  <a:gd name="T32" fmla="*/ 213 w 289"/>
                  <a:gd name="T33" fmla="*/ 71 h 300"/>
                  <a:gd name="T34" fmla="*/ 229 w 289"/>
                  <a:gd name="T35" fmla="*/ 94 h 300"/>
                  <a:gd name="T36" fmla="*/ 218 w 289"/>
                  <a:gd name="T37" fmla="*/ 115 h 300"/>
                  <a:gd name="T38" fmla="*/ 201 w 289"/>
                  <a:gd name="T39" fmla="*/ 144 h 300"/>
                  <a:gd name="T40" fmla="*/ 234 w 289"/>
                  <a:gd name="T41" fmla="*/ 165 h 300"/>
                  <a:gd name="T42" fmla="*/ 251 w 289"/>
                  <a:gd name="T43" fmla="*/ 165 h 300"/>
                  <a:gd name="T44" fmla="*/ 255 w 289"/>
                  <a:gd name="T45" fmla="*/ 189 h 300"/>
                  <a:gd name="T46" fmla="*/ 289 w 289"/>
                  <a:gd name="T47" fmla="*/ 189 h 300"/>
                  <a:gd name="T48" fmla="*/ 289 w 289"/>
                  <a:gd name="T49" fmla="*/ 215 h 300"/>
                  <a:gd name="T50" fmla="*/ 284 w 289"/>
                  <a:gd name="T51" fmla="*/ 222 h 300"/>
                  <a:gd name="T52" fmla="*/ 289 w 289"/>
                  <a:gd name="T53" fmla="*/ 227 h 300"/>
                  <a:gd name="T54" fmla="*/ 272 w 289"/>
                  <a:gd name="T55" fmla="*/ 260 h 300"/>
                  <a:gd name="T56" fmla="*/ 284 w 289"/>
                  <a:gd name="T57" fmla="*/ 300 h 300"/>
                  <a:gd name="T58" fmla="*/ 229 w 289"/>
                  <a:gd name="T59" fmla="*/ 283 h 300"/>
                  <a:gd name="T60" fmla="*/ 163 w 289"/>
                  <a:gd name="T61" fmla="*/ 255 h 300"/>
                  <a:gd name="T62" fmla="*/ 76 w 289"/>
                  <a:gd name="T63" fmla="*/ 165 h 300"/>
                  <a:gd name="T64" fmla="*/ 50 w 289"/>
                  <a:gd name="T65" fmla="*/ 165 h 300"/>
                  <a:gd name="T66" fmla="*/ 38 w 289"/>
                  <a:gd name="T67" fmla="*/ 149 h 300"/>
                  <a:gd name="T68" fmla="*/ 12 w 289"/>
                  <a:gd name="T69" fmla="*/ 132 h 300"/>
                  <a:gd name="T70" fmla="*/ 0 w 289"/>
                  <a:gd name="T71" fmla="*/ 115 h 300"/>
                  <a:gd name="T72" fmla="*/ 0 w 289"/>
                  <a:gd name="T73" fmla="*/ 115 h 300"/>
                  <a:gd name="T74" fmla="*/ 0 w 289"/>
                  <a:gd name="T75" fmla="*/ 11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9" h="300">
                    <a:moveTo>
                      <a:pt x="0" y="115"/>
                    </a:moveTo>
                    <a:lnTo>
                      <a:pt x="12" y="94"/>
                    </a:lnTo>
                    <a:lnTo>
                      <a:pt x="38" y="71"/>
                    </a:lnTo>
                    <a:lnTo>
                      <a:pt x="66" y="54"/>
                    </a:lnTo>
                    <a:lnTo>
                      <a:pt x="66" y="33"/>
                    </a:lnTo>
                    <a:lnTo>
                      <a:pt x="76" y="21"/>
                    </a:lnTo>
                    <a:lnTo>
                      <a:pt x="88" y="0"/>
                    </a:lnTo>
                    <a:lnTo>
                      <a:pt x="121" y="0"/>
                    </a:lnTo>
                    <a:lnTo>
                      <a:pt x="142" y="16"/>
                    </a:lnTo>
                    <a:lnTo>
                      <a:pt x="147" y="54"/>
                    </a:lnTo>
                    <a:lnTo>
                      <a:pt x="142" y="87"/>
                    </a:lnTo>
                    <a:lnTo>
                      <a:pt x="147" y="75"/>
                    </a:lnTo>
                    <a:lnTo>
                      <a:pt x="163" y="94"/>
                    </a:lnTo>
                    <a:lnTo>
                      <a:pt x="185" y="87"/>
                    </a:lnTo>
                    <a:lnTo>
                      <a:pt x="196" y="59"/>
                    </a:lnTo>
                    <a:lnTo>
                      <a:pt x="201" y="59"/>
                    </a:lnTo>
                    <a:lnTo>
                      <a:pt x="213" y="71"/>
                    </a:lnTo>
                    <a:lnTo>
                      <a:pt x="229" y="94"/>
                    </a:lnTo>
                    <a:lnTo>
                      <a:pt x="218" y="115"/>
                    </a:lnTo>
                    <a:lnTo>
                      <a:pt x="201" y="144"/>
                    </a:lnTo>
                    <a:lnTo>
                      <a:pt x="234" y="165"/>
                    </a:lnTo>
                    <a:lnTo>
                      <a:pt x="251" y="165"/>
                    </a:lnTo>
                    <a:lnTo>
                      <a:pt x="255" y="189"/>
                    </a:lnTo>
                    <a:lnTo>
                      <a:pt x="289" y="189"/>
                    </a:lnTo>
                    <a:lnTo>
                      <a:pt x="289" y="215"/>
                    </a:lnTo>
                    <a:lnTo>
                      <a:pt x="284" y="222"/>
                    </a:lnTo>
                    <a:lnTo>
                      <a:pt x="289" y="227"/>
                    </a:lnTo>
                    <a:lnTo>
                      <a:pt x="272" y="260"/>
                    </a:lnTo>
                    <a:lnTo>
                      <a:pt x="284" y="300"/>
                    </a:lnTo>
                    <a:lnTo>
                      <a:pt x="229" y="283"/>
                    </a:lnTo>
                    <a:lnTo>
                      <a:pt x="163" y="255"/>
                    </a:lnTo>
                    <a:lnTo>
                      <a:pt x="76" y="165"/>
                    </a:lnTo>
                    <a:lnTo>
                      <a:pt x="50" y="165"/>
                    </a:lnTo>
                    <a:lnTo>
                      <a:pt x="38" y="149"/>
                    </a:lnTo>
                    <a:lnTo>
                      <a:pt x="12" y="132"/>
                    </a:lnTo>
                    <a:lnTo>
                      <a:pt x="0" y="115"/>
                    </a:lnTo>
                    <a:lnTo>
                      <a:pt x="0" y="115"/>
                    </a:lnTo>
                    <a:lnTo>
                      <a:pt x="0" y="11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68" name="Freeform 498">
                <a:extLst>
                  <a:ext uri="{FF2B5EF4-FFF2-40B4-BE49-F238E27FC236}">
                    <a16:creationId xmlns:a16="http://schemas.microsoft.com/office/drawing/2014/main" id="{1B2FAB40-B7B9-4C0B-A468-5ABA60ADBA0A}"/>
                  </a:ext>
                </a:extLst>
              </p:cNvPr>
              <p:cNvSpPr>
                <a:spLocks/>
              </p:cNvSpPr>
              <p:nvPr/>
            </p:nvSpPr>
            <p:spPr bwMode="gray">
              <a:xfrm>
                <a:off x="6003830" y="5834220"/>
                <a:ext cx="517329" cy="492217"/>
              </a:xfrm>
              <a:custGeom>
                <a:avLst/>
                <a:gdLst>
                  <a:gd name="T0" fmla="*/ 1096 w 1110"/>
                  <a:gd name="T1" fmla="*/ 867 h 1056"/>
                  <a:gd name="T2" fmla="*/ 1025 w 1110"/>
                  <a:gd name="T3" fmla="*/ 1018 h 1056"/>
                  <a:gd name="T4" fmla="*/ 740 w 1110"/>
                  <a:gd name="T5" fmla="*/ 900 h 1056"/>
                  <a:gd name="T6" fmla="*/ 395 w 1110"/>
                  <a:gd name="T7" fmla="*/ 794 h 1056"/>
                  <a:gd name="T8" fmla="*/ 291 w 1110"/>
                  <a:gd name="T9" fmla="*/ 777 h 1056"/>
                  <a:gd name="T10" fmla="*/ 156 w 1110"/>
                  <a:gd name="T11" fmla="*/ 690 h 1056"/>
                  <a:gd name="T12" fmla="*/ 76 w 1110"/>
                  <a:gd name="T13" fmla="*/ 683 h 1056"/>
                  <a:gd name="T14" fmla="*/ 64 w 1110"/>
                  <a:gd name="T15" fmla="*/ 661 h 1056"/>
                  <a:gd name="T16" fmla="*/ 50 w 1110"/>
                  <a:gd name="T17" fmla="*/ 612 h 1056"/>
                  <a:gd name="T18" fmla="*/ 12 w 1110"/>
                  <a:gd name="T19" fmla="*/ 534 h 1056"/>
                  <a:gd name="T20" fmla="*/ 38 w 1110"/>
                  <a:gd name="T21" fmla="*/ 501 h 1056"/>
                  <a:gd name="T22" fmla="*/ 21 w 1110"/>
                  <a:gd name="T23" fmla="*/ 461 h 1056"/>
                  <a:gd name="T24" fmla="*/ 33 w 1110"/>
                  <a:gd name="T25" fmla="*/ 390 h 1056"/>
                  <a:gd name="T26" fmla="*/ 21 w 1110"/>
                  <a:gd name="T27" fmla="*/ 279 h 1056"/>
                  <a:gd name="T28" fmla="*/ 17 w 1110"/>
                  <a:gd name="T29" fmla="*/ 234 h 1056"/>
                  <a:gd name="T30" fmla="*/ 64 w 1110"/>
                  <a:gd name="T31" fmla="*/ 189 h 1056"/>
                  <a:gd name="T32" fmla="*/ 54 w 1110"/>
                  <a:gd name="T33" fmla="*/ 135 h 1056"/>
                  <a:gd name="T34" fmla="*/ 76 w 1110"/>
                  <a:gd name="T35" fmla="*/ 111 h 1056"/>
                  <a:gd name="T36" fmla="*/ 156 w 1110"/>
                  <a:gd name="T37" fmla="*/ 57 h 1056"/>
                  <a:gd name="T38" fmla="*/ 156 w 1110"/>
                  <a:gd name="T39" fmla="*/ 0 h 1056"/>
                  <a:gd name="T40" fmla="*/ 248 w 1110"/>
                  <a:gd name="T41" fmla="*/ 24 h 1056"/>
                  <a:gd name="T42" fmla="*/ 340 w 1110"/>
                  <a:gd name="T43" fmla="*/ 33 h 1056"/>
                  <a:gd name="T44" fmla="*/ 411 w 1110"/>
                  <a:gd name="T45" fmla="*/ 57 h 1056"/>
                  <a:gd name="T46" fmla="*/ 432 w 1110"/>
                  <a:gd name="T47" fmla="*/ 123 h 1056"/>
                  <a:gd name="T48" fmla="*/ 480 w 1110"/>
                  <a:gd name="T49" fmla="*/ 151 h 1056"/>
                  <a:gd name="T50" fmla="*/ 560 w 1110"/>
                  <a:gd name="T51" fmla="*/ 168 h 1056"/>
                  <a:gd name="T52" fmla="*/ 680 w 1110"/>
                  <a:gd name="T53" fmla="*/ 234 h 1056"/>
                  <a:gd name="T54" fmla="*/ 718 w 1110"/>
                  <a:gd name="T55" fmla="*/ 217 h 1056"/>
                  <a:gd name="T56" fmla="*/ 756 w 1110"/>
                  <a:gd name="T57" fmla="*/ 161 h 1056"/>
                  <a:gd name="T58" fmla="*/ 756 w 1110"/>
                  <a:gd name="T59" fmla="*/ 78 h 1056"/>
                  <a:gd name="T60" fmla="*/ 820 w 1110"/>
                  <a:gd name="T61" fmla="*/ 33 h 1056"/>
                  <a:gd name="T62" fmla="*/ 862 w 1110"/>
                  <a:gd name="T63" fmla="*/ 17 h 1056"/>
                  <a:gd name="T64" fmla="*/ 966 w 1110"/>
                  <a:gd name="T65" fmla="*/ 40 h 1056"/>
                  <a:gd name="T66" fmla="*/ 971 w 1110"/>
                  <a:gd name="T67" fmla="*/ 73 h 1056"/>
                  <a:gd name="T68" fmla="*/ 1035 w 1110"/>
                  <a:gd name="T69" fmla="*/ 95 h 1056"/>
                  <a:gd name="T70" fmla="*/ 1110 w 1110"/>
                  <a:gd name="T71" fmla="*/ 123 h 1056"/>
                  <a:gd name="T72" fmla="*/ 1096 w 1110"/>
                  <a:gd name="T73" fmla="*/ 189 h 1056"/>
                  <a:gd name="T74" fmla="*/ 1096 w 1110"/>
                  <a:gd name="T75" fmla="*/ 312 h 1056"/>
                  <a:gd name="T76" fmla="*/ 1096 w 1110"/>
                  <a:gd name="T77" fmla="*/ 43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10" h="1056">
                    <a:moveTo>
                      <a:pt x="1096" y="439"/>
                    </a:moveTo>
                    <a:lnTo>
                      <a:pt x="1096" y="867"/>
                    </a:lnTo>
                    <a:lnTo>
                      <a:pt x="1096" y="1018"/>
                    </a:lnTo>
                    <a:lnTo>
                      <a:pt x="1025" y="1018"/>
                    </a:lnTo>
                    <a:lnTo>
                      <a:pt x="1025" y="1056"/>
                    </a:lnTo>
                    <a:lnTo>
                      <a:pt x="740" y="900"/>
                    </a:lnTo>
                    <a:lnTo>
                      <a:pt x="463" y="761"/>
                    </a:lnTo>
                    <a:lnTo>
                      <a:pt x="395" y="794"/>
                    </a:lnTo>
                    <a:lnTo>
                      <a:pt x="340" y="829"/>
                    </a:lnTo>
                    <a:lnTo>
                      <a:pt x="291" y="777"/>
                    </a:lnTo>
                    <a:lnTo>
                      <a:pt x="184" y="756"/>
                    </a:lnTo>
                    <a:lnTo>
                      <a:pt x="156" y="690"/>
                    </a:lnTo>
                    <a:lnTo>
                      <a:pt x="92" y="678"/>
                    </a:lnTo>
                    <a:lnTo>
                      <a:pt x="76" y="683"/>
                    </a:lnTo>
                    <a:lnTo>
                      <a:pt x="64" y="666"/>
                    </a:lnTo>
                    <a:lnTo>
                      <a:pt x="64" y="661"/>
                    </a:lnTo>
                    <a:lnTo>
                      <a:pt x="50" y="650"/>
                    </a:lnTo>
                    <a:lnTo>
                      <a:pt x="50" y="612"/>
                    </a:lnTo>
                    <a:lnTo>
                      <a:pt x="0" y="550"/>
                    </a:lnTo>
                    <a:lnTo>
                      <a:pt x="12" y="534"/>
                    </a:lnTo>
                    <a:lnTo>
                      <a:pt x="38" y="522"/>
                    </a:lnTo>
                    <a:lnTo>
                      <a:pt x="38" y="501"/>
                    </a:lnTo>
                    <a:lnTo>
                      <a:pt x="38" y="494"/>
                    </a:lnTo>
                    <a:lnTo>
                      <a:pt x="21" y="461"/>
                    </a:lnTo>
                    <a:lnTo>
                      <a:pt x="50" y="423"/>
                    </a:lnTo>
                    <a:lnTo>
                      <a:pt x="33" y="390"/>
                    </a:lnTo>
                    <a:lnTo>
                      <a:pt x="33" y="317"/>
                    </a:lnTo>
                    <a:lnTo>
                      <a:pt x="21" y="279"/>
                    </a:lnTo>
                    <a:lnTo>
                      <a:pt x="0" y="239"/>
                    </a:lnTo>
                    <a:lnTo>
                      <a:pt x="17" y="234"/>
                    </a:lnTo>
                    <a:lnTo>
                      <a:pt x="38" y="222"/>
                    </a:lnTo>
                    <a:lnTo>
                      <a:pt x="64" y="189"/>
                    </a:lnTo>
                    <a:lnTo>
                      <a:pt x="71" y="177"/>
                    </a:lnTo>
                    <a:lnTo>
                      <a:pt x="54" y="135"/>
                    </a:lnTo>
                    <a:lnTo>
                      <a:pt x="71" y="123"/>
                    </a:lnTo>
                    <a:lnTo>
                      <a:pt x="76" y="111"/>
                    </a:lnTo>
                    <a:lnTo>
                      <a:pt x="109" y="78"/>
                    </a:lnTo>
                    <a:lnTo>
                      <a:pt x="156" y="57"/>
                    </a:lnTo>
                    <a:lnTo>
                      <a:pt x="147" y="40"/>
                    </a:lnTo>
                    <a:lnTo>
                      <a:pt x="156" y="0"/>
                    </a:lnTo>
                    <a:lnTo>
                      <a:pt x="210" y="24"/>
                    </a:lnTo>
                    <a:lnTo>
                      <a:pt x="248" y="24"/>
                    </a:lnTo>
                    <a:lnTo>
                      <a:pt x="281" y="17"/>
                    </a:lnTo>
                    <a:lnTo>
                      <a:pt x="340" y="33"/>
                    </a:lnTo>
                    <a:lnTo>
                      <a:pt x="362" y="50"/>
                    </a:lnTo>
                    <a:lnTo>
                      <a:pt x="411" y="57"/>
                    </a:lnTo>
                    <a:lnTo>
                      <a:pt x="425" y="78"/>
                    </a:lnTo>
                    <a:lnTo>
                      <a:pt x="432" y="123"/>
                    </a:lnTo>
                    <a:lnTo>
                      <a:pt x="449" y="144"/>
                    </a:lnTo>
                    <a:lnTo>
                      <a:pt x="480" y="151"/>
                    </a:lnTo>
                    <a:lnTo>
                      <a:pt x="517" y="151"/>
                    </a:lnTo>
                    <a:lnTo>
                      <a:pt x="560" y="168"/>
                    </a:lnTo>
                    <a:lnTo>
                      <a:pt x="614" y="189"/>
                    </a:lnTo>
                    <a:lnTo>
                      <a:pt x="680" y="234"/>
                    </a:lnTo>
                    <a:lnTo>
                      <a:pt x="702" y="234"/>
                    </a:lnTo>
                    <a:lnTo>
                      <a:pt x="718" y="217"/>
                    </a:lnTo>
                    <a:lnTo>
                      <a:pt x="749" y="184"/>
                    </a:lnTo>
                    <a:lnTo>
                      <a:pt x="756" y="161"/>
                    </a:lnTo>
                    <a:lnTo>
                      <a:pt x="740" y="111"/>
                    </a:lnTo>
                    <a:lnTo>
                      <a:pt x="756" y="78"/>
                    </a:lnTo>
                    <a:lnTo>
                      <a:pt x="787" y="50"/>
                    </a:lnTo>
                    <a:lnTo>
                      <a:pt x="820" y="33"/>
                    </a:lnTo>
                    <a:lnTo>
                      <a:pt x="848" y="24"/>
                    </a:lnTo>
                    <a:lnTo>
                      <a:pt x="862" y="17"/>
                    </a:lnTo>
                    <a:lnTo>
                      <a:pt x="912" y="24"/>
                    </a:lnTo>
                    <a:lnTo>
                      <a:pt x="966" y="40"/>
                    </a:lnTo>
                    <a:lnTo>
                      <a:pt x="966" y="66"/>
                    </a:lnTo>
                    <a:lnTo>
                      <a:pt x="971" y="73"/>
                    </a:lnTo>
                    <a:lnTo>
                      <a:pt x="1009" y="78"/>
                    </a:lnTo>
                    <a:lnTo>
                      <a:pt x="1035" y="95"/>
                    </a:lnTo>
                    <a:lnTo>
                      <a:pt x="1096" y="95"/>
                    </a:lnTo>
                    <a:lnTo>
                      <a:pt x="1110" y="123"/>
                    </a:lnTo>
                    <a:lnTo>
                      <a:pt x="1089" y="144"/>
                    </a:lnTo>
                    <a:lnTo>
                      <a:pt x="1096" y="189"/>
                    </a:lnTo>
                    <a:lnTo>
                      <a:pt x="1080" y="239"/>
                    </a:lnTo>
                    <a:lnTo>
                      <a:pt x="1096" y="312"/>
                    </a:lnTo>
                    <a:lnTo>
                      <a:pt x="1096" y="439"/>
                    </a:lnTo>
                    <a:lnTo>
                      <a:pt x="1096" y="439"/>
                    </a:lnTo>
                    <a:lnTo>
                      <a:pt x="1096" y="43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72" name="Freeform 507">
                <a:extLst>
                  <a:ext uri="{FF2B5EF4-FFF2-40B4-BE49-F238E27FC236}">
                    <a16:creationId xmlns:a16="http://schemas.microsoft.com/office/drawing/2014/main" id="{389B4DE2-7752-435F-880B-1558322E2CA1}"/>
                  </a:ext>
                </a:extLst>
              </p:cNvPr>
              <p:cNvSpPr>
                <a:spLocks/>
              </p:cNvSpPr>
              <p:nvPr/>
            </p:nvSpPr>
            <p:spPr bwMode="gray">
              <a:xfrm>
                <a:off x="5299143" y="6134864"/>
                <a:ext cx="538303" cy="513194"/>
              </a:xfrm>
              <a:custGeom>
                <a:avLst/>
                <a:gdLst>
                  <a:gd name="T0" fmla="*/ 130 w 1155"/>
                  <a:gd name="T1" fmla="*/ 947 h 1101"/>
                  <a:gd name="T2" fmla="*/ 88 w 1155"/>
                  <a:gd name="T3" fmla="*/ 947 h 1101"/>
                  <a:gd name="T4" fmla="*/ 55 w 1155"/>
                  <a:gd name="T5" fmla="*/ 947 h 1101"/>
                  <a:gd name="T6" fmla="*/ 67 w 1155"/>
                  <a:gd name="T7" fmla="*/ 890 h 1101"/>
                  <a:gd name="T8" fmla="*/ 33 w 1155"/>
                  <a:gd name="T9" fmla="*/ 864 h 1101"/>
                  <a:gd name="T10" fmla="*/ 12 w 1155"/>
                  <a:gd name="T11" fmla="*/ 848 h 1101"/>
                  <a:gd name="T12" fmla="*/ 17 w 1155"/>
                  <a:gd name="T13" fmla="*/ 808 h 1101"/>
                  <a:gd name="T14" fmla="*/ 0 w 1155"/>
                  <a:gd name="T15" fmla="*/ 758 h 1101"/>
                  <a:gd name="T16" fmla="*/ 24 w 1155"/>
                  <a:gd name="T17" fmla="*/ 758 h 1101"/>
                  <a:gd name="T18" fmla="*/ 55 w 1155"/>
                  <a:gd name="T19" fmla="*/ 697 h 1101"/>
                  <a:gd name="T20" fmla="*/ 109 w 1155"/>
                  <a:gd name="T21" fmla="*/ 713 h 1101"/>
                  <a:gd name="T22" fmla="*/ 196 w 1155"/>
                  <a:gd name="T23" fmla="*/ 713 h 1101"/>
                  <a:gd name="T24" fmla="*/ 201 w 1155"/>
                  <a:gd name="T25" fmla="*/ 697 h 1101"/>
                  <a:gd name="T26" fmla="*/ 470 w 1155"/>
                  <a:gd name="T27" fmla="*/ 713 h 1101"/>
                  <a:gd name="T28" fmla="*/ 466 w 1155"/>
                  <a:gd name="T29" fmla="*/ 631 h 1101"/>
                  <a:gd name="T30" fmla="*/ 395 w 1155"/>
                  <a:gd name="T31" fmla="*/ 0 h 1101"/>
                  <a:gd name="T32" fmla="*/ 941 w 1155"/>
                  <a:gd name="T33" fmla="*/ 293 h 1101"/>
                  <a:gd name="T34" fmla="*/ 974 w 1155"/>
                  <a:gd name="T35" fmla="*/ 331 h 1101"/>
                  <a:gd name="T36" fmla="*/ 1004 w 1155"/>
                  <a:gd name="T37" fmla="*/ 354 h 1101"/>
                  <a:gd name="T38" fmla="*/ 1026 w 1155"/>
                  <a:gd name="T39" fmla="*/ 371 h 1101"/>
                  <a:gd name="T40" fmla="*/ 1092 w 1155"/>
                  <a:gd name="T41" fmla="*/ 420 h 1101"/>
                  <a:gd name="T42" fmla="*/ 1092 w 1155"/>
                  <a:gd name="T43" fmla="*/ 449 h 1101"/>
                  <a:gd name="T44" fmla="*/ 1151 w 1155"/>
                  <a:gd name="T45" fmla="*/ 642 h 1101"/>
                  <a:gd name="T46" fmla="*/ 1129 w 1155"/>
                  <a:gd name="T47" fmla="*/ 697 h 1101"/>
                  <a:gd name="T48" fmla="*/ 1101 w 1155"/>
                  <a:gd name="T49" fmla="*/ 720 h 1101"/>
                  <a:gd name="T50" fmla="*/ 1063 w 1155"/>
                  <a:gd name="T51" fmla="*/ 720 h 1101"/>
                  <a:gd name="T52" fmla="*/ 929 w 1155"/>
                  <a:gd name="T53" fmla="*/ 742 h 1101"/>
                  <a:gd name="T54" fmla="*/ 874 w 1155"/>
                  <a:gd name="T55" fmla="*/ 753 h 1101"/>
                  <a:gd name="T56" fmla="*/ 832 w 1155"/>
                  <a:gd name="T57" fmla="*/ 742 h 1101"/>
                  <a:gd name="T58" fmla="*/ 806 w 1155"/>
                  <a:gd name="T59" fmla="*/ 742 h 1101"/>
                  <a:gd name="T60" fmla="*/ 768 w 1155"/>
                  <a:gd name="T61" fmla="*/ 770 h 1101"/>
                  <a:gd name="T62" fmla="*/ 718 w 1155"/>
                  <a:gd name="T63" fmla="*/ 779 h 1101"/>
                  <a:gd name="T64" fmla="*/ 714 w 1155"/>
                  <a:gd name="T65" fmla="*/ 808 h 1101"/>
                  <a:gd name="T66" fmla="*/ 659 w 1155"/>
                  <a:gd name="T67" fmla="*/ 812 h 1101"/>
                  <a:gd name="T68" fmla="*/ 626 w 1155"/>
                  <a:gd name="T69" fmla="*/ 836 h 1101"/>
                  <a:gd name="T70" fmla="*/ 617 w 1155"/>
                  <a:gd name="T71" fmla="*/ 869 h 1101"/>
                  <a:gd name="T72" fmla="*/ 579 w 1155"/>
                  <a:gd name="T73" fmla="*/ 853 h 1101"/>
                  <a:gd name="T74" fmla="*/ 563 w 1155"/>
                  <a:gd name="T75" fmla="*/ 902 h 1101"/>
                  <a:gd name="T76" fmla="*/ 541 w 1155"/>
                  <a:gd name="T77" fmla="*/ 907 h 1101"/>
                  <a:gd name="T78" fmla="*/ 551 w 1155"/>
                  <a:gd name="T79" fmla="*/ 940 h 1101"/>
                  <a:gd name="T80" fmla="*/ 499 w 1155"/>
                  <a:gd name="T81" fmla="*/ 964 h 1101"/>
                  <a:gd name="T82" fmla="*/ 499 w 1155"/>
                  <a:gd name="T83" fmla="*/ 1001 h 1101"/>
                  <a:gd name="T84" fmla="*/ 470 w 1155"/>
                  <a:gd name="T85" fmla="*/ 1035 h 1101"/>
                  <a:gd name="T86" fmla="*/ 470 w 1155"/>
                  <a:gd name="T87" fmla="*/ 1075 h 1101"/>
                  <a:gd name="T88" fmla="*/ 433 w 1155"/>
                  <a:gd name="T89" fmla="*/ 1101 h 1101"/>
                  <a:gd name="T90" fmla="*/ 428 w 1155"/>
                  <a:gd name="T91" fmla="*/ 1091 h 1101"/>
                  <a:gd name="T92" fmla="*/ 411 w 1155"/>
                  <a:gd name="T93" fmla="*/ 1058 h 1101"/>
                  <a:gd name="T94" fmla="*/ 395 w 1155"/>
                  <a:gd name="T95" fmla="*/ 1058 h 1101"/>
                  <a:gd name="T96" fmla="*/ 374 w 1155"/>
                  <a:gd name="T97" fmla="*/ 1084 h 1101"/>
                  <a:gd name="T98" fmla="*/ 324 w 1155"/>
                  <a:gd name="T99" fmla="*/ 1075 h 1101"/>
                  <a:gd name="T100" fmla="*/ 293 w 1155"/>
                  <a:gd name="T101" fmla="*/ 1101 h 1101"/>
                  <a:gd name="T102" fmla="*/ 281 w 1155"/>
                  <a:gd name="T103" fmla="*/ 1075 h 1101"/>
                  <a:gd name="T104" fmla="*/ 265 w 1155"/>
                  <a:gd name="T105" fmla="*/ 1035 h 1101"/>
                  <a:gd name="T106" fmla="*/ 272 w 1155"/>
                  <a:gd name="T107" fmla="*/ 1013 h 1101"/>
                  <a:gd name="T108" fmla="*/ 251 w 1155"/>
                  <a:gd name="T109" fmla="*/ 992 h 1101"/>
                  <a:gd name="T110" fmla="*/ 239 w 1155"/>
                  <a:gd name="T111" fmla="*/ 975 h 1101"/>
                  <a:gd name="T112" fmla="*/ 227 w 1155"/>
                  <a:gd name="T113" fmla="*/ 935 h 1101"/>
                  <a:gd name="T114" fmla="*/ 201 w 1155"/>
                  <a:gd name="T115" fmla="*/ 947 h 1101"/>
                  <a:gd name="T116" fmla="*/ 180 w 1155"/>
                  <a:gd name="T117" fmla="*/ 964 h 1101"/>
                  <a:gd name="T118" fmla="*/ 163 w 1155"/>
                  <a:gd name="T119" fmla="*/ 964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55" h="1101">
                    <a:moveTo>
                      <a:pt x="163" y="964"/>
                    </a:moveTo>
                    <a:lnTo>
                      <a:pt x="130" y="947"/>
                    </a:lnTo>
                    <a:lnTo>
                      <a:pt x="109" y="975"/>
                    </a:lnTo>
                    <a:lnTo>
                      <a:pt x="88" y="947"/>
                    </a:lnTo>
                    <a:lnTo>
                      <a:pt x="71" y="964"/>
                    </a:lnTo>
                    <a:lnTo>
                      <a:pt x="55" y="947"/>
                    </a:lnTo>
                    <a:lnTo>
                      <a:pt x="67" y="935"/>
                    </a:lnTo>
                    <a:lnTo>
                      <a:pt x="67" y="890"/>
                    </a:lnTo>
                    <a:lnTo>
                      <a:pt x="38" y="864"/>
                    </a:lnTo>
                    <a:lnTo>
                      <a:pt x="33" y="864"/>
                    </a:lnTo>
                    <a:lnTo>
                      <a:pt x="33" y="869"/>
                    </a:lnTo>
                    <a:lnTo>
                      <a:pt x="12" y="848"/>
                    </a:lnTo>
                    <a:lnTo>
                      <a:pt x="17" y="831"/>
                    </a:lnTo>
                    <a:lnTo>
                      <a:pt x="17" y="808"/>
                    </a:lnTo>
                    <a:lnTo>
                      <a:pt x="0" y="791"/>
                    </a:lnTo>
                    <a:lnTo>
                      <a:pt x="0" y="758"/>
                    </a:lnTo>
                    <a:lnTo>
                      <a:pt x="12" y="770"/>
                    </a:lnTo>
                    <a:lnTo>
                      <a:pt x="24" y="758"/>
                    </a:lnTo>
                    <a:lnTo>
                      <a:pt x="38" y="704"/>
                    </a:lnTo>
                    <a:lnTo>
                      <a:pt x="55" y="697"/>
                    </a:lnTo>
                    <a:lnTo>
                      <a:pt x="93" y="737"/>
                    </a:lnTo>
                    <a:lnTo>
                      <a:pt x="109" y="713"/>
                    </a:lnTo>
                    <a:lnTo>
                      <a:pt x="159" y="720"/>
                    </a:lnTo>
                    <a:lnTo>
                      <a:pt x="196" y="713"/>
                    </a:lnTo>
                    <a:lnTo>
                      <a:pt x="196" y="704"/>
                    </a:lnTo>
                    <a:lnTo>
                      <a:pt x="201" y="697"/>
                    </a:lnTo>
                    <a:lnTo>
                      <a:pt x="201" y="713"/>
                    </a:lnTo>
                    <a:lnTo>
                      <a:pt x="470" y="713"/>
                    </a:lnTo>
                    <a:lnTo>
                      <a:pt x="487" y="647"/>
                    </a:lnTo>
                    <a:lnTo>
                      <a:pt x="466" y="631"/>
                    </a:lnTo>
                    <a:lnTo>
                      <a:pt x="411" y="149"/>
                    </a:lnTo>
                    <a:lnTo>
                      <a:pt x="395" y="0"/>
                    </a:lnTo>
                    <a:lnTo>
                      <a:pt x="520" y="0"/>
                    </a:lnTo>
                    <a:lnTo>
                      <a:pt x="941" y="293"/>
                    </a:lnTo>
                    <a:lnTo>
                      <a:pt x="941" y="314"/>
                    </a:lnTo>
                    <a:lnTo>
                      <a:pt x="974" y="331"/>
                    </a:lnTo>
                    <a:lnTo>
                      <a:pt x="983" y="347"/>
                    </a:lnTo>
                    <a:lnTo>
                      <a:pt x="1004" y="354"/>
                    </a:lnTo>
                    <a:lnTo>
                      <a:pt x="1011" y="354"/>
                    </a:lnTo>
                    <a:lnTo>
                      <a:pt x="1026" y="371"/>
                    </a:lnTo>
                    <a:lnTo>
                      <a:pt x="1080" y="387"/>
                    </a:lnTo>
                    <a:lnTo>
                      <a:pt x="1092" y="420"/>
                    </a:lnTo>
                    <a:lnTo>
                      <a:pt x="1075" y="437"/>
                    </a:lnTo>
                    <a:lnTo>
                      <a:pt x="1092" y="449"/>
                    </a:lnTo>
                    <a:lnTo>
                      <a:pt x="1155" y="437"/>
                    </a:lnTo>
                    <a:lnTo>
                      <a:pt x="1151" y="642"/>
                    </a:lnTo>
                    <a:lnTo>
                      <a:pt x="1146" y="647"/>
                    </a:lnTo>
                    <a:lnTo>
                      <a:pt x="1129" y="697"/>
                    </a:lnTo>
                    <a:lnTo>
                      <a:pt x="1101" y="704"/>
                    </a:lnTo>
                    <a:lnTo>
                      <a:pt x="1101" y="720"/>
                    </a:lnTo>
                    <a:lnTo>
                      <a:pt x="1075" y="713"/>
                    </a:lnTo>
                    <a:lnTo>
                      <a:pt x="1063" y="720"/>
                    </a:lnTo>
                    <a:lnTo>
                      <a:pt x="950" y="725"/>
                    </a:lnTo>
                    <a:lnTo>
                      <a:pt x="929" y="742"/>
                    </a:lnTo>
                    <a:lnTo>
                      <a:pt x="874" y="742"/>
                    </a:lnTo>
                    <a:lnTo>
                      <a:pt x="874" y="753"/>
                    </a:lnTo>
                    <a:lnTo>
                      <a:pt x="844" y="742"/>
                    </a:lnTo>
                    <a:lnTo>
                      <a:pt x="832" y="742"/>
                    </a:lnTo>
                    <a:lnTo>
                      <a:pt x="827" y="742"/>
                    </a:lnTo>
                    <a:lnTo>
                      <a:pt x="806" y="742"/>
                    </a:lnTo>
                    <a:lnTo>
                      <a:pt x="778" y="758"/>
                    </a:lnTo>
                    <a:lnTo>
                      <a:pt x="768" y="770"/>
                    </a:lnTo>
                    <a:lnTo>
                      <a:pt x="740" y="779"/>
                    </a:lnTo>
                    <a:lnTo>
                      <a:pt x="718" y="779"/>
                    </a:lnTo>
                    <a:lnTo>
                      <a:pt x="718" y="808"/>
                    </a:lnTo>
                    <a:lnTo>
                      <a:pt x="714" y="808"/>
                    </a:lnTo>
                    <a:lnTo>
                      <a:pt x="685" y="796"/>
                    </a:lnTo>
                    <a:lnTo>
                      <a:pt x="659" y="812"/>
                    </a:lnTo>
                    <a:lnTo>
                      <a:pt x="659" y="848"/>
                    </a:lnTo>
                    <a:lnTo>
                      <a:pt x="626" y="836"/>
                    </a:lnTo>
                    <a:lnTo>
                      <a:pt x="633" y="869"/>
                    </a:lnTo>
                    <a:lnTo>
                      <a:pt x="617" y="869"/>
                    </a:lnTo>
                    <a:lnTo>
                      <a:pt x="617" y="881"/>
                    </a:lnTo>
                    <a:lnTo>
                      <a:pt x="579" y="853"/>
                    </a:lnTo>
                    <a:lnTo>
                      <a:pt x="558" y="886"/>
                    </a:lnTo>
                    <a:lnTo>
                      <a:pt x="563" y="902"/>
                    </a:lnTo>
                    <a:lnTo>
                      <a:pt x="558" y="907"/>
                    </a:lnTo>
                    <a:lnTo>
                      <a:pt x="541" y="907"/>
                    </a:lnTo>
                    <a:lnTo>
                      <a:pt x="551" y="923"/>
                    </a:lnTo>
                    <a:lnTo>
                      <a:pt x="551" y="940"/>
                    </a:lnTo>
                    <a:lnTo>
                      <a:pt x="537" y="957"/>
                    </a:lnTo>
                    <a:lnTo>
                      <a:pt x="499" y="964"/>
                    </a:lnTo>
                    <a:lnTo>
                      <a:pt x="487" y="975"/>
                    </a:lnTo>
                    <a:lnTo>
                      <a:pt x="499" y="1001"/>
                    </a:lnTo>
                    <a:lnTo>
                      <a:pt x="487" y="1030"/>
                    </a:lnTo>
                    <a:lnTo>
                      <a:pt x="470" y="1035"/>
                    </a:lnTo>
                    <a:lnTo>
                      <a:pt x="482" y="1051"/>
                    </a:lnTo>
                    <a:lnTo>
                      <a:pt x="470" y="1075"/>
                    </a:lnTo>
                    <a:lnTo>
                      <a:pt x="449" y="1084"/>
                    </a:lnTo>
                    <a:lnTo>
                      <a:pt x="433" y="1101"/>
                    </a:lnTo>
                    <a:lnTo>
                      <a:pt x="428" y="1101"/>
                    </a:lnTo>
                    <a:lnTo>
                      <a:pt x="428" y="1091"/>
                    </a:lnTo>
                    <a:lnTo>
                      <a:pt x="416" y="1058"/>
                    </a:lnTo>
                    <a:lnTo>
                      <a:pt x="411" y="1058"/>
                    </a:lnTo>
                    <a:lnTo>
                      <a:pt x="411" y="1068"/>
                    </a:lnTo>
                    <a:lnTo>
                      <a:pt x="395" y="1058"/>
                    </a:lnTo>
                    <a:lnTo>
                      <a:pt x="395" y="1084"/>
                    </a:lnTo>
                    <a:lnTo>
                      <a:pt x="374" y="1084"/>
                    </a:lnTo>
                    <a:lnTo>
                      <a:pt x="362" y="1101"/>
                    </a:lnTo>
                    <a:lnTo>
                      <a:pt x="324" y="1075"/>
                    </a:lnTo>
                    <a:lnTo>
                      <a:pt x="310" y="1101"/>
                    </a:lnTo>
                    <a:lnTo>
                      <a:pt x="293" y="1101"/>
                    </a:lnTo>
                    <a:lnTo>
                      <a:pt x="293" y="1084"/>
                    </a:lnTo>
                    <a:lnTo>
                      <a:pt x="281" y="1075"/>
                    </a:lnTo>
                    <a:lnTo>
                      <a:pt x="281" y="1035"/>
                    </a:lnTo>
                    <a:lnTo>
                      <a:pt x="265" y="1035"/>
                    </a:lnTo>
                    <a:lnTo>
                      <a:pt x="251" y="1046"/>
                    </a:lnTo>
                    <a:lnTo>
                      <a:pt x="272" y="1013"/>
                    </a:lnTo>
                    <a:lnTo>
                      <a:pt x="251" y="1001"/>
                    </a:lnTo>
                    <a:lnTo>
                      <a:pt x="251" y="992"/>
                    </a:lnTo>
                    <a:lnTo>
                      <a:pt x="239" y="992"/>
                    </a:lnTo>
                    <a:lnTo>
                      <a:pt x="239" y="975"/>
                    </a:lnTo>
                    <a:lnTo>
                      <a:pt x="227" y="947"/>
                    </a:lnTo>
                    <a:lnTo>
                      <a:pt x="227" y="935"/>
                    </a:lnTo>
                    <a:lnTo>
                      <a:pt x="201" y="935"/>
                    </a:lnTo>
                    <a:lnTo>
                      <a:pt x="201" y="947"/>
                    </a:lnTo>
                    <a:lnTo>
                      <a:pt x="180" y="957"/>
                    </a:lnTo>
                    <a:lnTo>
                      <a:pt x="180" y="964"/>
                    </a:lnTo>
                    <a:lnTo>
                      <a:pt x="163" y="964"/>
                    </a:lnTo>
                    <a:lnTo>
                      <a:pt x="163" y="964"/>
                    </a:lnTo>
                    <a:lnTo>
                      <a:pt x="163" y="96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73" name="Freeform 508">
                <a:extLst>
                  <a:ext uri="{FF2B5EF4-FFF2-40B4-BE49-F238E27FC236}">
                    <a16:creationId xmlns:a16="http://schemas.microsoft.com/office/drawing/2014/main" id="{44DF3F39-862E-49EC-A491-81756DEE2329}"/>
                  </a:ext>
                </a:extLst>
              </p:cNvPr>
              <p:cNvSpPr>
                <a:spLocks/>
              </p:cNvSpPr>
              <p:nvPr/>
            </p:nvSpPr>
            <p:spPr bwMode="gray">
              <a:xfrm>
                <a:off x="5266519" y="5728412"/>
                <a:ext cx="399416" cy="309500"/>
              </a:xfrm>
              <a:custGeom>
                <a:avLst/>
                <a:gdLst>
                  <a:gd name="T0" fmla="*/ 656 w 857"/>
                  <a:gd name="T1" fmla="*/ 350 h 664"/>
                  <a:gd name="T2" fmla="*/ 673 w 857"/>
                  <a:gd name="T3" fmla="*/ 392 h 664"/>
                  <a:gd name="T4" fmla="*/ 642 w 857"/>
                  <a:gd name="T5" fmla="*/ 404 h 664"/>
                  <a:gd name="T6" fmla="*/ 576 w 857"/>
                  <a:gd name="T7" fmla="*/ 444 h 664"/>
                  <a:gd name="T8" fmla="*/ 538 w 857"/>
                  <a:gd name="T9" fmla="*/ 487 h 664"/>
                  <a:gd name="T10" fmla="*/ 462 w 857"/>
                  <a:gd name="T11" fmla="*/ 515 h 664"/>
                  <a:gd name="T12" fmla="*/ 316 w 857"/>
                  <a:gd name="T13" fmla="*/ 577 h 664"/>
                  <a:gd name="T14" fmla="*/ 0 w 857"/>
                  <a:gd name="T15" fmla="*/ 664 h 664"/>
                  <a:gd name="T16" fmla="*/ 80 w 857"/>
                  <a:gd name="T17" fmla="*/ 631 h 664"/>
                  <a:gd name="T18" fmla="*/ 144 w 857"/>
                  <a:gd name="T19" fmla="*/ 577 h 664"/>
                  <a:gd name="T20" fmla="*/ 210 w 857"/>
                  <a:gd name="T21" fmla="*/ 527 h 664"/>
                  <a:gd name="T22" fmla="*/ 252 w 857"/>
                  <a:gd name="T23" fmla="*/ 444 h 664"/>
                  <a:gd name="T24" fmla="*/ 240 w 857"/>
                  <a:gd name="T25" fmla="*/ 371 h 664"/>
                  <a:gd name="T26" fmla="*/ 278 w 857"/>
                  <a:gd name="T27" fmla="*/ 305 h 664"/>
                  <a:gd name="T28" fmla="*/ 323 w 857"/>
                  <a:gd name="T29" fmla="*/ 222 h 664"/>
                  <a:gd name="T30" fmla="*/ 446 w 857"/>
                  <a:gd name="T31" fmla="*/ 156 h 664"/>
                  <a:gd name="T32" fmla="*/ 512 w 857"/>
                  <a:gd name="T33" fmla="*/ 17 h 664"/>
                  <a:gd name="T34" fmla="*/ 550 w 857"/>
                  <a:gd name="T35" fmla="*/ 5 h 664"/>
                  <a:gd name="T36" fmla="*/ 592 w 857"/>
                  <a:gd name="T37" fmla="*/ 62 h 664"/>
                  <a:gd name="T38" fmla="*/ 673 w 857"/>
                  <a:gd name="T39" fmla="*/ 55 h 664"/>
                  <a:gd name="T40" fmla="*/ 711 w 857"/>
                  <a:gd name="T41" fmla="*/ 55 h 664"/>
                  <a:gd name="T42" fmla="*/ 718 w 857"/>
                  <a:gd name="T43" fmla="*/ 55 h 664"/>
                  <a:gd name="T44" fmla="*/ 727 w 857"/>
                  <a:gd name="T45" fmla="*/ 71 h 664"/>
                  <a:gd name="T46" fmla="*/ 727 w 857"/>
                  <a:gd name="T47" fmla="*/ 55 h 664"/>
                  <a:gd name="T48" fmla="*/ 770 w 857"/>
                  <a:gd name="T49" fmla="*/ 71 h 664"/>
                  <a:gd name="T50" fmla="*/ 793 w 857"/>
                  <a:gd name="T51" fmla="*/ 111 h 664"/>
                  <a:gd name="T52" fmla="*/ 803 w 857"/>
                  <a:gd name="T53" fmla="*/ 128 h 664"/>
                  <a:gd name="T54" fmla="*/ 803 w 857"/>
                  <a:gd name="T55" fmla="*/ 182 h 664"/>
                  <a:gd name="T56" fmla="*/ 807 w 857"/>
                  <a:gd name="T57" fmla="*/ 222 h 664"/>
                  <a:gd name="T58" fmla="*/ 819 w 857"/>
                  <a:gd name="T59" fmla="*/ 244 h 664"/>
                  <a:gd name="T60" fmla="*/ 857 w 857"/>
                  <a:gd name="T61" fmla="*/ 277 h 664"/>
                  <a:gd name="T62" fmla="*/ 836 w 857"/>
                  <a:gd name="T63" fmla="*/ 305 h 664"/>
                  <a:gd name="T64" fmla="*/ 840 w 857"/>
                  <a:gd name="T65" fmla="*/ 317 h 664"/>
                  <a:gd name="T66" fmla="*/ 727 w 857"/>
                  <a:gd name="T67" fmla="*/ 317 h 664"/>
                  <a:gd name="T68" fmla="*/ 685 w 857"/>
                  <a:gd name="T69" fmla="*/ 338 h 664"/>
                  <a:gd name="T70" fmla="*/ 685 w 857"/>
                  <a:gd name="T71" fmla="*/ 338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7" h="664">
                    <a:moveTo>
                      <a:pt x="685" y="338"/>
                    </a:moveTo>
                    <a:lnTo>
                      <a:pt x="656" y="350"/>
                    </a:lnTo>
                    <a:lnTo>
                      <a:pt x="656" y="388"/>
                    </a:lnTo>
                    <a:lnTo>
                      <a:pt x="673" y="392"/>
                    </a:lnTo>
                    <a:lnTo>
                      <a:pt x="673" y="404"/>
                    </a:lnTo>
                    <a:lnTo>
                      <a:pt x="642" y="404"/>
                    </a:lnTo>
                    <a:lnTo>
                      <a:pt x="618" y="428"/>
                    </a:lnTo>
                    <a:lnTo>
                      <a:pt x="576" y="444"/>
                    </a:lnTo>
                    <a:lnTo>
                      <a:pt x="555" y="470"/>
                    </a:lnTo>
                    <a:lnTo>
                      <a:pt x="538" y="487"/>
                    </a:lnTo>
                    <a:lnTo>
                      <a:pt x="479" y="499"/>
                    </a:lnTo>
                    <a:lnTo>
                      <a:pt x="462" y="515"/>
                    </a:lnTo>
                    <a:lnTo>
                      <a:pt x="425" y="503"/>
                    </a:lnTo>
                    <a:lnTo>
                      <a:pt x="316" y="577"/>
                    </a:lnTo>
                    <a:lnTo>
                      <a:pt x="316" y="664"/>
                    </a:lnTo>
                    <a:lnTo>
                      <a:pt x="0" y="664"/>
                    </a:lnTo>
                    <a:lnTo>
                      <a:pt x="25" y="638"/>
                    </a:lnTo>
                    <a:lnTo>
                      <a:pt x="80" y="631"/>
                    </a:lnTo>
                    <a:lnTo>
                      <a:pt x="118" y="610"/>
                    </a:lnTo>
                    <a:lnTo>
                      <a:pt x="144" y="577"/>
                    </a:lnTo>
                    <a:lnTo>
                      <a:pt x="188" y="560"/>
                    </a:lnTo>
                    <a:lnTo>
                      <a:pt x="210" y="527"/>
                    </a:lnTo>
                    <a:lnTo>
                      <a:pt x="248" y="466"/>
                    </a:lnTo>
                    <a:lnTo>
                      <a:pt x="252" y="444"/>
                    </a:lnTo>
                    <a:lnTo>
                      <a:pt x="240" y="428"/>
                    </a:lnTo>
                    <a:lnTo>
                      <a:pt x="240" y="371"/>
                    </a:lnTo>
                    <a:lnTo>
                      <a:pt x="248" y="338"/>
                    </a:lnTo>
                    <a:lnTo>
                      <a:pt x="278" y="305"/>
                    </a:lnTo>
                    <a:lnTo>
                      <a:pt x="278" y="277"/>
                    </a:lnTo>
                    <a:lnTo>
                      <a:pt x="323" y="222"/>
                    </a:lnTo>
                    <a:lnTo>
                      <a:pt x="403" y="189"/>
                    </a:lnTo>
                    <a:lnTo>
                      <a:pt x="446" y="156"/>
                    </a:lnTo>
                    <a:lnTo>
                      <a:pt x="484" y="95"/>
                    </a:lnTo>
                    <a:lnTo>
                      <a:pt x="512" y="17"/>
                    </a:lnTo>
                    <a:lnTo>
                      <a:pt x="550" y="0"/>
                    </a:lnTo>
                    <a:lnTo>
                      <a:pt x="550" y="5"/>
                    </a:lnTo>
                    <a:lnTo>
                      <a:pt x="555" y="29"/>
                    </a:lnTo>
                    <a:lnTo>
                      <a:pt x="592" y="62"/>
                    </a:lnTo>
                    <a:lnTo>
                      <a:pt x="618" y="62"/>
                    </a:lnTo>
                    <a:lnTo>
                      <a:pt x="673" y="55"/>
                    </a:lnTo>
                    <a:lnTo>
                      <a:pt x="694" y="62"/>
                    </a:lnTo>
                    <a:lnTo>
                      <a:pt x="711" y="55"/>
                    </a:lnTo>
                    <a:lnTo>
                      <a:pt x="718" y="45"/>
                    </a:lnTo>
                    <a:lnTo>
                      <a:pt x="718" y="55"/>
                    </a:lnTo>
                    <a:lnTo>
                      <a:pt x="718" y="55"/>
                    </a:lnTo>
                    <a:lnTo>
                      <a:pt x="727" y="71"/>
                    </a:lnTo>
                    <a:lnTo>
                      <a:pt x="732" y="71"/>
                    </a:lnTo>
                    <a:lnTo>
                      <a:pt x="727" y="55"/>
                    </a:lnTo>
                    <a:lnTo>
                      <a:pt x="739" y="71"/>
                    </a:lnTo>
                    <a:lnTo>
                      <a:pt x="770" y="71"/>
                    </a:lnTo>
                    <a:lnTo>
                      <a:pt x="803" y="99"/>
                    </a:lnTo>
                    <a:lnTo>
                      <a:pt x="793" y="111"/>
                    </a:lnTo>
                    <a:lnTo>
                      <a:pt x="807" y="116"/>
                    </a:lnTo>
                    <a:lnTo>
                      <a:pt x="803" y="128"/>
                    </a:lnTo>
                    <a:lnTo>
                      <a:pt x="807" y="149"/>
                    </a:lnTo>
                    <a:lnTo>
                      <a:pt x="803" y="182"/>
                    </a:lnTo>
                    <a:lnTo>
                      <a:pt x="807" y="189"/>
                    </a:lnTo>
                    <a:lnTo>
                      <a:pt x="807" y="222"/>
                    </a:lnTo>
                    <a:lnTo>
                      <a:pt x="824" y="239"/>
                    </a:lnTo>
                    <a:lnTo>
                      <a:pt x="819" y="244"/>
                    </a:lnTo>
                    <a:lnTo>
                      <a:pt x="824" y="260"/>
                    </a:lnTo>
                    <a:lnTo>
                      <a:pt x="857" y="277"/>
                    </a:lnTo>
                    <a:lnTo>
                      <a:pt x="840" y="293"/>
                    </a:lnTo>
                    <a:lnTo>
                      <a:pt x="836" y="305"/>
                    </a:lnTo>
                    <a:lnTo>
                      <a:pt x="840" y="305"/>
                    </a:lnTo>
                    <a:lnTo>
                      <a:pt x="840" y="317"/>
                    </a:lnTo>
                    <a:lnTo>
                      <a:pt x="765" y="305"/>
                    </a:lnTo>
                    <a:lnTo>
                      <a:pt x="727" y="317"/>
                    </a:lnTo>
                    <a:lnTo>
                      <a:pt x="718" y="333"/>
                    </a:lnTo>
                    <a:lnTo>
                      <a:pt x="685" y="338"/>
                    </a:lnTo>
                    <a:lnTo>
                      <a:pt x="685" y="338"/>
                    </a:lnTo>
                    <a:lnTo>
                      <a:pt x="685" y="33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75" name="Freeform 510">
                <a:extLst>
                  <a:ext uri="{FF2B5EF4-FFF2-40B4-BE49-F238E27FC236}">
                    <a16:creationId xmlns:a16="http://schemas.microsoft.com/office/drawing/2014/main" id="{215BE41C-60E1-49A0-80BA-2CC15F40E2B9}"/>
                  </a:ext>
                </a:extLst>
              </p:cNvPr>
              <p:cNvSpPr>
                <a:spLocks noEditPoints="1"/>
              </p:cNvSpPr>
              <p:nvPr/>
            </p:nvSpPr>
            <p:spPr bwMode="gray">
              <a:xfrm>
                <a:off x="5139750" y="6050032"/>
                <a:ext cx="399416" cy="444674"/>
              </a:xfrm>
              <a:custGeom>
                <a:avLst/>
                <a:gdLst>
                  <a:gd name="T0" fmla="*/ 805 w 857"/>
                  <a:gd name="T1" fmla="*/ 815 h 954"/>
                  <a:gd name="T2" fmla="*/ 810 w 857"/>
                  <a:gd name="T3" fmla="*/ 898 h 954"/>
                  <a:gd name="T4" fmla="*/ 541 w 857"/>
                  <a:gd name="T5" fmla="*/ 881 h 954"/>
                  <a:gd name="T6" fmla="*/ 534 w 857"/>
                  <a:gd name="T7" fmla="*/ 898 h 954"/>
                  <a:gd name="T8" fmla="*/ 449 w 857"/>
                  <a:gd name="T9" fmla="*/ 898 h 954"/>
                  <a:gd name="T10" fmla="*/ 394 w 857"/>
                  <a:gd name="T11" fmla="*/ 881 h 954"/>
                  <a:gd name="T12" fmla="*/ 361 w 857"/>
                  <a:gd name="T13" fmla="*/ 942 h 954"/>
                  <a:gd name="T14" fmla="*/ 340 w 857"/>
                  <a:gd name="T15" fmla="*/ 942 h 954"/>
                  <a:gd name="T16" fmla="*/ 297 w 857"/>
                  <a:gd name="T17" fmla="*/ 909 h 954"/>
                  <a:gd name="T18" fmla="*/ 286 w 857"/>
                  <a:gd name="T19" fmla="*/ 898 h 954"/>
                  <a:gd name="T20" fmla="*/ 269 w 857"/>
                  <a:gd name="T21" fmla="*/ 881 h 954"/>
                  <a:gd name="T22" fmla="*/ 248 w 857"/>
                  <a:gd name="T23" fmla="*/ 848 h 954"/>
                  <a:gd name="T24" fmla="*/ 231 w 857"/>
                  <a:gd name="T25" fmla="*/ 843 h 954"/>
                  <a:gd name="T26" fmla="*/ 194 w 857"/>
                  <a:gd name="T27" fmla="*/ 810 h 954"/>
                  <a:gd name="T28" fmla="*/ 104 w 857"/>
                  <a:gd name="T29" fmla="*/ 815 h 954"/>
                  <a:gd name="T30" fmla="*/ 38 w 857"/>
                  <a:gd name="T31" fmla="*/ 848 h 954"/>
                  <a:gd name="T32" fmla="*/ 71 w 857"/>
                  <a:gd name="T33" fmla="*/ 732 h 954"/>
                  <a:gd name="T34" fmla="*/ 66 w 857"/>
                  <a:gd name="T35" fmla="*/ 643 h 954"/>
                  <a:gd name="T36" fmla="*/ 54 w 857"/>
                  <a:gd name="T37" fmla="*/ 593 h 954"/>
                  <a:gd name="T38" fmla="*/ 54 w 857"/>
                  <a:gd name="T39" fmla="*/ 572 h 954"/>
                  <a:gd name="T40" fmla="*/ 38 w 857"/>
                  <a:gd name="T41" fmla="*/ 510 h 954"/>
                  <a:gd name="T42" fmla="*/ 33 w 857"/>
                  <a:gd name="T43" fmla="*/ 510 h 954"/>
                  <a:gd name="T44" fmla="*/ 0 w 857"/>
                  <a:gd name="T45" fmla="*/ 498 h 954"/>
                  <a:gd name="T46" fmla="*/ 194 w 857"/>
                  <a:gd name="T47" fmla="*/ 461 h 954"/>
                  <a:gd name="T48" fmla="*/ 281 w 857"/>
                  <a:gd name="T49" fmla="*/ 338 h 954"/>
                  <a:gd name="T50" fmla="*/ 357 w 857"/>
                  <a:gd name="T51" fmla="*/ 300 h 954"/>
                  <a:gd name="T52" fmla="*/ 588 w 857"/>
                  <a:gd name="T53" fmla="*/ 106 h 954"/>
                  <a:gd name="T54" fmla="*/ 857 w 857"/>
                  <a:gd name="T55" fmla="*/ 184 h 954"/>
                  <a:gd name="T56" fmla="*/ 751 w 857"/>
                  <a:gd name="T57" fmla="*/ 333 h 954"/>
                  <a:gd name="T58" fmla="*/ 751 w 857"/>
                  <a:gd name="T59" fmla="*/ 333 h 954"/>
                  <a:gd name="T60" fmla="*/ 38 w 857"/>
                  <a:gd name="T61" fmla="*/ 576 h 954"/>
                  <a:gd name="T62" fmla="*/ 49 w 857"/>
                  <a:gd name="T63" fmla="*/ 588 h 954"/>
                  <a:gd name="T64" fmla="*/ 49 w 857"/>
                  <a:gd name="T65" fmla="*/ 58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7" h="954">
                    <a:moveTo>
                      <a:pt x="751" y="333"/>
                    </a:moveTo>
                    <a:lnTo>
                      <a:pt x="805" y="815"/>
                    </a:lnTo>
                    <a:lnTo>
                      <a:pt x="827" y="831"/>
                    </a:lnTo>
                    <a:lnTo>
                      <a:pt x="810" y="898"/>
                    </a:lnTo>
                    <a:lnTo>
                      <a:pt x="541" y="898"/>
                    </a:lnTo>
                    <a:lnTo>
                      <a:pt x="541" y="881"/>
                    </a:lnTo>
                    <a:lnTo>
                      <a:pt x="534" y="886"/>
                    </a:lnTo>
                    <a:lnTo>
                      <a:pt x="534" y="898"/>
                    </a:lnTo>
                    <a:lnTo>
                      <a:pt x="496" y="902"/>
                    </a:lnTo>
                    <a:lnTo>
                      <a:pt x="449" y="898"/>
                    </a:lnTo>
                    <a:lnTo>
                      <a:pt x="432" y="921"/>
                    </a:lnTo>
                    <a:lnTo>
                      <a:pt x="394" y="881"/>
                    </a:lnTo>
                    <a:lnTo>
                      <a:pt x="378" y="886"/>
                    </a:lnTo>
                    <a:lnTo>
                      <a:pt x="361" y="942"/>
                    </a:lnTo>
                    <a:lnTo>
                      <a:pt x="352" y="954"/>
                    </a:lnTo>
                    <a:lnTo>
                      <a:pt x="340" y="942"/>
                    </a:lnTo>
                    <a:lnTo>
                      <a:pt x="319" y="926"/>
                    </a:lnTo>
                    <a:lnTo>
                      <a:pt x="297" y="909"/>
                    </a:lnTo>
                    <a:lnTo>
                      <a:pt x="297" y="902"/>
                    </a:lnTo>
                    <a:lnTo>
                      <a:pt x="286" y="898"/>
                    </a:lnTo>
                    <a:lnTo>
                      <a:pt x="281" y="898"/>
                    </a:lnTo>
                    <a:lnTo>
                      <a:pt x="269" y="881"/>
                    </a:lnTo>
                    <a:lnTo>
                      <a:pt x="255" y="848"/>
                    </a:lnTo>
                    <a:lnTo>
                      <a:pt x="248" y="848"/>
                    </a:lnTo>
                    <a:lnTo>
                      <a:pt x="243" y="848"/>
                    </a:lnTo>
                    <a:lnTo>
                      <a:pt x="231" y="843"/>
                    </a:lnTo>
                    <a:lnTo>
                      <a:pt x="227" y="848"/>
                    </a:lnTo>
                    <a:lnTo>
                      <a:pt x="194" y="810"/>
                    </a:lnTo>
                    <a:lnTo>
                      <a:pt x="146" y="798"/>
                    </a:lnTo>
                    <a:lnTo>
                      <a:pt x="104" y="815"/>
                    </a:lnTo>
                    <a:lnTo>
                      <a:pt x="54" y="815"/>
                    </a:lnTo>
                    <a:lnTo>
                      <a:pt x="38" y="848"/>
                    </a:lnTo>
                    <a:lnTo>
                      <a:pt x="38" y="810"/>
                    </a:lnTo>
                    <a:lnTo>
                      <a:pt x="71" y="732"/>
                    </a:lnTo>
                    <a:lnTo>
                      <a:pt x="71" y="676"/>
                    </a:lnTo>
                    <a:lnTo>
                      <a:pt x="66" y="643"/>
                    </a:lnTo>
                    <a:lnTo>
                      <a:pt x="38" y="605"/>
                    </a:lnTo>
                    <a:lnTo>
                      <a:pt x="54" y="593"/>
                    </a:lnTo>
                    <a:lnTo>
                      <a:pt x="38" y="605"/>
                    </a:lnTo>
                    <a:lnTo>
                      <a:pt x="54" y="572"/>
                    </a:lnTo>
                    <a:lnTo>
                      <a:pt x="66" y="539"/>
                    </a:lnTo>
                    <a:lnTo>
                      <a:pt x="38" y="510"/>
                    </a:lnTo>
                    <a:lnTo>
                      <a:pt x="38" y="515"/>
                    </a:lnTo>
                    <a:lnTo>
                      <a:pt x="33" y="510"/>
                    </a:lnTo>
                    <a:lnTo>
                      <a:pt x="12" y="465"/>
                    </a:lnTo>
                    <a:lnTo>
                      <a:pt x="0" y="498"/>
                    </a:lnTo>
                    <a:lnTo>
                      <a:pt x="12" y="461"/>
                    </a:lnTo>
                    <a:lnTo>
                      <a:pt x="194" y="461"/>
                    </a:lnTo>
                    <a:lnTo>
                      <a:pt x="286" y="461"/>
                    </a:lnTo>
                    <a:lnTo>
                      <a:pt x="281" y="338"/>
                    </a:lnTo>
                    <a:lnTo>
                      <a:pt x="319" y="312"/>
                    </a:lnTo>
                    <a:lnTo>
                      <a:pt x="357" y="300"/>
                    </a:lnTo>
                    <a:lnTo>
                      <a:pt x="357" y="106"/>
                    </a:lnTo>
                    <a:lnTo>
                      <a:pt x="588" y="106"/>
                    </a:lnTo>
                    <a:lnTo>
                      <a:pt x="588" y="0"/>
                    </a:lnTo>
                    <a:lnTo>
                      <a:pt x="857" y="184"/>
                    </a:lnTo>
                    <a:lnTo>
                      <a:pt x="734" y="184"/>
                    </a:lnTo>
                    <a:lnTo>
                      <a:pt x="751" y="333"/>
                    </a:lnTo>
                    <a:lnTo>
                      <a:pt x="751" y="333"/>
                    </a:lnTo>
                    <a:lnTo>
                      <a:pt x="751" y="333"/>
                    </a:lnTo>
                    <a:close/>
                    <a:moveTo>
                      <a:pt x="49" y="588"/>
                    </a:moveTo>
                    <a:lnTo>
                      <a:pt x="38" y="576"/>
                    </a:lnTo>
                    <a:lnTo>
                      <a:pt x="49" y="572"/>
                    </a:lnTo>
                    <a:lnTo>
                      <a:pt x="49" y="588"/>
                    </a:lnTo>
                    <a:lnTo>
                      <a:pt x="49" y="588"/>
                    </a:lnTo>
                    <a:lnTo>
                      <a:pt x="49" y="58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76" name="Freeform 512">
                <a:extLst>
                  <a:ext uri="{FF2B5EF4-FFF2-40B4-BE49-F238E27FC236}">
                    <a16:creationId xmlns:a16="http://schemas.microsoft.com/office/drawing/2014/main" id="{51BDE6A1-5867-4983-B2C8-4F4B40C83D31}"/>
                  </a:ext>
                </a:extLst>
              </p:cNvPr>
              <p:cNvSpPr>
                <a:spLocks noEditPoints="1"/>
              </p:cNvSpPr>
              <p:nvPr/>
            </p:nvSpPr>
            <p:spPr bwMode="gray">
              <a:xfrm>
                <a:off x="7399689" y="6082193"/>
                <a:ext cx="254471" cy="344459"/>
              </a:xfrm>
              <a:custGeom>
                <a:avLst/>
                <a:gdLst>
                  <a:gd name="T0" fmla="*/ 282 w 546"/>
                  <a:gd name="T1" fmla="*/ 56 h 739"/>
                  <a:gd name="T2" fmla="*/ 282 w 546"/>
                  <a:gd name="T3" fmla="*/ 23 h 739"/>
                  <a:gd name="T4" fmla="*/ 307 w 546"/>
                  <a:gd name="T5" fmla="*/ 16 h 739"/>
                  <a:gd name="T6" fmla="*/ 298 w 546"/>
                  <a:gd name="T7" fmla="*/ 0 h 739"/>
                  <a:gd name="T8" fmla="*/ 307 w 546"/>
                  <a:gd name="T9" fmla="*/ 7 h 739"/>
                  <a:gd name="T10" fmla="*/ 298 w 546"/>
                  <a:gd name="T11" fmla="*/ 16 h 739"/>
                  <a:gd name="T12" fmla="*/ 298 w 546"/>
                  <a:gd name="T13" fmla="*/ 56 h 739"/>
                  <a:gd name="T14" fmla="*/ 298 w 546"/>
                  <a:gd name="T15" fmla="*/ 56 h 739"/>
                  <a:gd name="T16" fmla="*/ 0 w 546"/>
                  <a:gd name="T17" fmla="*/ 562 h 739"/>
                  <a:gd name="T18" fmla="*/ 253 w 546"/>
                  <a:gd name="T19" fmla="*/ 333 h 739"/>
                  <a:gd name="T20" fmla="*/ 222 w 546"/>
                  <a:gd name="T21" fmla="*/ 255 h 739"/>
                  <a:gd name="T22" fmla="*/ 244 w 546"/>
                  <a:gd name="T23" fmla="*/ 184 h 739"/>
                  <a:gd name="T24" fmla="*/ 274 w 546"/>
                  <a:gd name="T25" fmla="*/ 167 h 739"/>
                  <a:gd name="T26" fmla="*/ 260 w 546"/>
                  <a:gd name="T27" fmla="*/ 118 h 739"/>
                  <a:gd name="T28" fmla="*/ 282 w 546"/>
                  <a:gd name="T29" fmla="*/ 118 h 739"/>
                  <a:gd name="T30" fmla="*/ 282 w 546"/>
                  <a:gd name="T31" fmla="*/ 127 h 739"/>
                  <a:gd name="T32" fmla="*/ 298 w 546"/>
                  <a:gd name="T33" fmla="*/ 111 h 739"/>
                  <a:gd name="T34" fmla="*/ 362 w 546"/>
                  <a:gd name="T35" fmla="*/ 188 h 739"/>
                  <a:gd name="T36" fmla="*/ 459 w 546"/>
                  <a:gd name="T37" fmla="*/ 212 h 739"/>
                  <a:gd name="T38" fmla="*/ 546 w 546"/>
                  <a:gd name="T39" fmla="*/ 295 h 739"/>
                  <a:gd name="T40" fmla="*/ 513 w 546"/>
                  <a:gd name="T41" fmla="*/ 382 h 739"/>
                  <a:gd name="T42" fmla="*/ 454 w 546"/>
                  <a:gd name="T43" fmla="*/ 451 h 739"/>
                  <a:gd name="T44" fmla="*/ 437 w 546"/>
                  <a:gd name="T45" fmla="*/ 444 h 739"/>
                  <a:gd name="T46" fmla="*/ 404 w 546"/>
                  <a:gd name="T47" fmla="*/ 467 h 739"/>
                  <a:gd name="T48" fmla="*/ 404 w 546"/>
                  <a:gd name="T49" fmla="*/ 562 h 739"/>
                  <a:gd name="T50" fmla="*/ 329 w 546"/>
                  <a:gd name="T51" fmla="*/ 578 h 739"/>
                  <a:gd name="T52" fmla="*/ 312 w 546"/>
                  <a:gd name="T53" fmla="*/ 628 h 739"/>
                  <a:gd name="T54" fmla="*/ 237 w 546"/>
                  <a:gd name="T55" fmla="*/ 649 h 739"/>
                  <a:gd name="T56" fmla="*/ 227 w 546"/>
                  <a:gd name="T57" fmla="*/ 682 h 739"/>
                  <a:gd name="T58" fmla="*/ 189 w 546"/>
                  <a:gd name="T59" fmla="*/ 715 h 739"/>
                  <a:gd name="T60" fmla="*/ 147 w 546"/>
                  <a:gd name="T61" fmla="*/ 706 h 739"/>
                  <a:gd name="T62" fmla="*/ 76 w 546"/>
                  <a:gd name="T63" fmla="*/ 739 h 739"/>
                  <a:gd name="T64" fmla="*/ 76 w 546"/>
                  <a:gd name="T65" fmla="*/ 739 h 739"/>
                  <a:gd name="T66" fmla="*/ 459 w 546"/>
                  <a:gd name="T67" fmla="*/ 460 h 739"/>
                  <a:gd name="T68" fmla="*/ 487 w 546"/>
                  <a:gd name="T69" fmla="*/ 451 h 739"/>
                  <a:gd name="T70" fmla="*/ 459 w 546"/>
                  <a:gd name="T71" fmla="*/ 477 h 739"/>
                  <a:gd name="T72" fmla="*/ 274 w 546"/>
                  <a:gd name="T73" fmla="*/ 673 h 739"/>
                  <a:gd name="T74" fmla="*/ 282 w 546"/>
                  <a:gd name="T75" fmla="*/ 673 h 739"/>
                  <a:gd name="T76" fmla="*/ 274 w 546"/>
                  <a:gd name="T77" fmla="*/ 673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6" h="739">
                    <a:moveTo>
                      <a:pt x="298" y="56"/>
                    </a:moveTo>
                    <a:lnTo>
                      <a:pt x="282" y="56"/>
                    </a:lnTo>
                    <a:lnTo>
                      <a:pt x="291" y="33"/>
                    </a:lnTo>
                    <a:lnTo>
                      <a:pt x="282" y="23"/>
                    </a:lnTo>
                    <a:lnTo>
                      <a:pt x="291" y="7"/>
                    </a:lnTo>
                    <a:lnTo>
                      <a:pt x="307" y="16"/>
                    </a:lnTo>
                    <a:lnTo>
                      <a:pt x="298" y="16"/>
                    </a:lnTo>
                    <a:lnTo>
                      <a:pt x="298" y="0"/>
                    </a:lnTo>
                    <a:lnTo>
                      <a:pt x="312" y="0"/>
                    </a:lnTo>
                    <a:lnTo>
                      <a:pt x="307" y="7"/>
                    </a:lnTo>
                    <a:lnTo>
                      <a:pt x="307" y="16"/>
                    </a:lnTo>
                    <a:lnTo>
                      <a:pt x="298" y="16"/>
                    </a:lnTo>
                    <a:lnTo>
                      <a:pt x="307" y="23"/>
                    </a:lnTo>
                    <a:lnTo>
                      <a:pt x="298" y="56"/>
                    </a:lnTo>
                    <a:lnTo>
                      <a:pt x="298" y="56"/>
                    </a:lnTo>
                    <a:lnTo>
                      <a:pt x="298" y="56"/>
                    </a:lnTo>
                    <a:close/>
                    <a:moveTo>
                      <a:pt x="76" y="739"/>
                    </a:moveTo>
                    <a:lnTo>
                      <a:pt x="0" y="562"/>
                    </a:lnTo>
                    <a:lnTo>
                      <a:pt x="206" y="484"/>
                    </a:lnTo>
                    <a:lnTo>
                      <a:pt x="253" y="333"/>
                    </a:lnTo>
                    <a:lnTo>
                      <a:pt x="222" y="283"/>
                    </a:lnTo>
                    <a:lnTo>
                      <a:pt x="222" y="255"/>
                    </a:lnTo>
                    <a:lnTo>
                      <a:pt x="244" y="200"/>
                    </a:lnTo>
                    <a:lnTo>
                      <a:pt x="244" y="184"/>
                    </a:lnTo>
                    <a:lnTo>
                      <a:pt x="274" y="172"/>
                    </a:lnTo>
                    <a:lnTo>
                      <a:pt x="274" y="167"/>
                    </a:lnTo>
                    <a:lnTo>
                      <a:pt x="260" y="167"/>
                    </a:lnTo>
                    <a:lnTo>
                      <a:pt x="260" y="118"/>
                    </a:lnTo>
                    <a:lnTo>
                      <a:pt x="274" y="111"/>
                    </a:lnTo>
                    <a:lnTo>
                      <a:pt x="282" y="118"/>
                    </a:lnTo>
                    <a:lnTo>
                      <a:pt x="274" y="118"/>
                    </a:lnTo>
                    <a:lnTo>
                      <a:pt x="282" y="127"/>
                    </a:lnTo>
                    <a:lnTo>
                      <a:pt x="298" y="118"/>
                    </a:lnTo>
                    <a:lnTo>
                      <a:pt x="298" y="111"/>
                    </a:lnTo>
                    <a:lnTo>
                      <a:pt x="324" y="151"/>
                    </a:lnTo>
                    <a:lnTo>
                      <a:pt x="362" y="188"/>
                    </a:lnTo>
                    <a:lnTo>
                      <a:pt x="437" y="212"/>
                    </a:lnTo>
                    <a:lnTo>
                      <a:pt x="459" y="212"/>
                    </a:lnTo>
                    <a:lnTo>
                      <a:pt x="513" y="283"/>
                    </a:lnTo>
                    <a:lnTo>
                      <a:pt x="546" y="295"/>
                    </a:lnTo>
                    <a:lnTo>
                      <a:pt x="546" y="316"/>
                    </a:lnTo>
                    <a:lnTo>
                      <a:pt x="513" y="382"/>
                    </a:lnTo>
                    <a:lnTo>
                      <a:pt x="475" y="411"/>
                    </a:lnTo>
                    <a:lnTo>
                      <a:pt x="454" y="451"/>
                    </a:lnTo>
                    <a:lnTo>
                      <a:pt x="433" y="460"/>
                    </a:lnTo>
                    <a:lnTo>
                      <a:pt x="437" y="444"/>
                    </a:lnTo>
                    <a:lnTo>
                      <a:pt x="433" y="444"/>
                    </a:lnTo>
                    <a:lnTo>
                      <a:pt x="404" y="467"/>
                    </a:lnTo>
                    <a:lnTo>
                      <a:pt x="388" y="505"/>
                    </a:lnTo>
                    <a:lnTo>
                      <a:pt x="404" y="562"/>
                    </a:lnTo>
                    <a:lnTo>
                      <a:pt x="362" y="571"/>
                    </a:lnTo>
                    <a:lnTo>
                      <a:pt x="329" y="578"/>
                    </a:lnTo>
                    <a:lnTo>
                      <a:pt x="324" y="595"/>
                    </a:lnTo>
                    <a:lnTo>
                      <a:pt x="312" y="628"/>
                    </a:lnTo>
                    <a:lnTo>
                      <a:pt x="298" y="644"/>
                    </a:lnTo>
                    <a:lnTo>
                      <a:pt x="237" y="649"/>
                    </a:lnTo>
                    <a:lnTo>
                      <a:pt x="222" y="673"/>
                    </a:lnTo>
                    <a:lnTo>
                      <a:pt x="227" y="682"/>
                    </a:lnTo>
                    <a:lnTo>
                      <a:pt x="206" y="706"/>
                    </a:lnTo>
                    <a:lnTo>
                      <a:pt x="189" y="715"/>
                    </a:lnTo>
                    <a:lnTo>
                      <a:pt x="173" y="706"/>
                    </a:lnTo>
                    <a:lnTo>
                      <a:pt x="147" y="706"/>
                    </a:lnTo>
                    <a:lnTo>
                      <a:pt x="109" y="727"/>
                    </a:lnTo>
                    <a:lnTo>
                      <a:pt x="76" y="739"/>
                    </a:lnTo>
                    <a:lnTo>
                      <a:pt x="76" y="739"/>
                    </a:lnTo>
                    <a:lnTo>
                      <a:pt x="76" y="739"/>
                    </a:lnTo>
                    <a:close/>
                    <a:moveTo>
                      <a:pt x="459" y="477"/>
                    </a:moveTo>
                    <a:lnTo>
                      <a:pt x="459" y="460"/>
                    </a:lnTo>
                    <a:lnTo>
                      <a:pt x="487" y="439"/>
                    </a:lnTo>
                    <a:lnTo>
                      <a:pt x="487" y="451"/>
                    </a:lnTo>
                    <a:lnTo>
                      <a:pt x="459" y="477"/>
                    </a:lnTo>
                    <a:lnTo>
                      <a:pt x="459" y="477"/>
                    </a:lnTo>
                    <a:lnTo>
                      <a:pt x="459" y="477"/>
                    </a:lnTo>
                    <a:close/>
                    <a:moveTo>
                      <a:pt x="274" y="673"/>
                    </a:moveTo>
                    <a:lnTo>
                      <a:pt x="274" y="673"/>
                    </a:lnTo>
                    <a:lnTo>
                      <a:pt x="282" y="673"/>
                    </a:lnTo>
                    <a:lnTo>
                      <a:pt x="274" y="673"/>
                    </a:lnTo>
                    <a:lnTo>
                      <a:pt x="274" y="673"/>
                    </a:lnTo>
                    <a:lnTo>
                      <a:pt x="274" y="67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78" name="Freeform 519">
                <a:extLst>
                  <a:ext uri="{FF2B5EF4-FFF2-40B4-BE49-F238E27FC236}">
                    <a16:creationId xmlns:a16="http://schemas.microsoft.com/office/drawing/2014/main" id="{449AB59C-F323-47EE-BC64-3CF9B5B1AD74}"/>
                  </a:ext>
                </a:extLst>
              </p:cNvPr>
              <p:cNvSpPr>
                <a:spLocks/>
              </p:cNvSpPr>
              <p:nvPr/>
            </p:nvSpPr>
            <p:spPr bwMode="gray">
              <a:xfrm>
                <a:off x="5702288" y="6186604"/>
                <a:ext cx="517329" cy="409716"/>
              </a:xfrm>
              <a:custGeom>
                <a:avLst/>
                <a:gdLst>
                  <a:gd name="T0" fmla="*/ 194 w 1110"/>
                  <a:gd name="T1" fmla="*/ 824 h 879"/>
                  <a:gd name="T2" fmla="*/ 161 w 1110"/>
                  <a:gd name="T3" fmla="*/ 862 h 879"/>
                  <a:gd name="T4" fmla="*/ 144 w 1110"/>
                  <a:gd name="T5" fmla="*/ 824 h 879"/>
                  <a:gd name="T6" fmla="*/ 102 w 1110"/>
                  <a:gd name="T7" fmla="*/ 808 h 879"/>
                  <a:gd name="T8" fmla="*/ 64 w 1110"/>
                  <a:gd name="T9" fmla="*/ 751 h 879"/>
                  <a:gd name="T10" fmla="*/ 64 w 1110"/>
                  <a:gd name="T11" fmla="*/ 742 h 879"/>
                  <a:gd name="T12" fmla="*/ 31 w 1110"/>
                  <a:gd name="T13" fmla="*/ 725 h 879"/>
                  <a:gd name="T14" fmla="*/ 21 w 1110"/>
                  <a:gd name="T15" fmla="*/ 685 h 879"/>
                  <a:gd name="T16" fmla="*/ 9 w 1110"/>
                  <a:gd name="T17" fmla="*/ 642 h 879"/>
                  <a:gd name="T18" fmla="*/ 64 w 1110"/>
                  <a:gd name="T19" fmla="*/ 631 h 879"/>
                  <a:gd name="T20" fmla="*/ 198 w 1110"/>
                  <a:gd name="T21" fmla="*/ 607 h 879"/>
                  <a:gd name="T22" fmla="*/ 236 w 1110"/>
                  <a:gd name="T23" fmla="*/ 607 h 879"/>
                  <a:gd name="T24" fmla="*/ 264 w 1110"/>
                  <a:gd name="T25" fmla="*/ 586 h 879"/>
                  <a:gd name="T26" fmla="*/ 286 w 1110"/>
                  <a:gd name="T27" fmla="*/ 531 h 879"/>
                  <a:gd name="T28" fmla="*/ 399 w 1110"/>
                  <a:gd name="T29" fmla="*/ 309 h 879"/>
                  <a:gd name="T30" fmla="*/ 829 w 1110"/>
                  <a:gd name="T31" fmla="*/ 0 h 879"/>
                  <a:gd name="T32" fmla="*/ 987 w 1110"/>
                  <a:gd name="T33" fmla="*/ 71 h 879"/>
                  <a:gd name="T34" fmla="*/ 1056 w 1110"/>
                  <a:gd name="T35" fmla="*/ 111 h 879"/>
                  <a:gd name="T36" fmla="*/ 1089 w 1110"/>
                  <a:gd name="T37" fmla="*/ 187 h 879"/>
                  <a:gd name="T38" fmla="*/ 1110 w 1110"/>
                  <a:gd name="T39" fmla="*/ 238 h 879"/>
                  <a:gd name="T40" fmla="*/ 1077 w 1110"/>
                  <a:gd name="T41" fmla="*/ 491 h 879"/>
                  <a:gd name="T42" fmla="*/ 964 w 1110"/>
                  <a:gd name="T43" fmla="*/ 631 h 879"/>
                  <a:gd name="T44" fmla="*/ 933 w 1110"/>
                  <a:gd name="T45" fmla="*/ 668 h 879"/>
                  <a:gd name="T46" fmla="*/ 926 w 1110"/>
                  <a:gd name="T47" fmla="*/ 725 h 879"/>
                  <a:gd name="T48" fmla="*/ 895 w 1110"/>
                  <a:gd name="T49" fmla="*/ 742 h 879"/>
                  <a:gd name="T50" fmla="*/ 791 w 1110"/>
                  <a:gd name="T51" fmla="*/ 751 h 879"/>
                  <a:gd name="T52" fmla="*/ 701 w 1110"/>
                  <a:gd name="T53" fmla="*/ 758 h 879"/>
                  <a:gd name="T54" fmla="*/ 602 w 1110"/>
                  <a:gd name="T55" fmla="*/ 779 h 879"/>
                  <a:gd name="T56" fmla="*/ 539 w 1110"/>
                  <a:gd name="T57" fmla="*/ 751 h 879"/>
                  <a:gd name="T58" fmla="*/ 501 w 1110"/>
                  <a:gd name="T59" fmla="*/ 775 h 879"/>
                  <a:gd name="T60" fmla="*/ 479 w 1110"/>
                  <a:gd name="T61" fmla="*/ 779 h 879"/>
                  <a:gd name="T62" fmla="*/ 425 w 1110"/>
                  <a:gd name="T63" fmla="*/ 735 h 879"/>
                  <a:gd name="T64" fmla="*/ 361 w 1110"/>
                  <a:gd name="T65" fmla="*/ 725 h 879"/>
                  <a:gd name="T66" fmla="*/ 307 w 1110"/>
                  <a:gd name="T67" fmla="*/ 725 h 879"/>
                  <a:gd name="T68" fmla="*/ 279 w 1110"/>
                  <a:gd name="T69" fmla="*/ 779 h 879"/>
                  <a:gd name="T70" fmla="*/ 248 w 1110"/>
                  <a:gd name="T71" fmla="*/ 812 h 879"/>
                  <a:gd name="T72" fmla="*/ 253 w 1110"/>
                  <a:gd name="T73" fmla="*/ 869 h 879"/>
                  <a:gd name="T74" fmla="*/ 248 w 1110"/>
                  <a:gd name="T75"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0" h="879">
                    <a:moveTo>
                      <a:pt x="248" y="879"/>
                    </a:moveTo>
                    <a:lnTo>
                      <a:pt x="194" y="824"/>
                    </a:lnTo>
                    <a:lnTo>
                      <a:pt x="161" y="836"/>
                    </a:lnTo>
                    <a:lnTo>
                      <a:pt x="161" y="862"/>
                    </a:lnTo>
                    <a:lnTo>
                      <a:pt x="139" y="829"/>
                    </a:lnTo>
                    <a:lnTo>
                      <a:pt x="144" y="824"/>
                    </a:lnTo>
                    <a:lnTo>
                      <a:pt x="139" y="808"/>
                    </a:lnTo>
                    <a:lnTo>
                      <a:pt x="102" y="808"/>
                    </a:lnTo>
                    <a:lnTo>
                      <a:pt x="64" y="775"/>
                    </a:lnTo>
                    <a:lnTo>
                      <a:pt x="64" y="751"/>
                    </a:lnTo>
                    <a:lnTo>
                      <a:pt x="85" y="758"/>
                    </a:lnTo>
                    <a:lnTo>
                      <a:pt x="64" y="742"/>
                    </a:lnTo>
                    <a:lnTo>
                      <a:pt x="64" y="742"/>
                    </a:lnTo>
                    <a:lnTo>
                      <a:pt x="31" y="725"/>
                    </a:lnTo>
                    <a:lnTo>
                      <a:pt x="14" y="697"/>
                    </a:lnTo>
                    <a:lnTo>
                      <a:pt x="21" y="685"/>
                    </a:lnTo>
                    <a:lnTo>
                      <a:pt x="0" y="668"/>
                    </a:lnTo>
                    <a:lnTo>
                      <a:pt x="9" y="642"/>
                    </a:lnTo>
                    <a:lnTo>
                      <a:pt x="9" y="631"/>
                    </a:lnTo>
                    <a:lnTo>
                      <a:pt x="64" y="631"/>
                    </a:lnTo>
                    <a:lnTo>
                      <a:pt x="85" y="614"/>
                    </a:lnTo>
                    <a:lnTo>
                      <a:pt x="198" y="607"/>
                    </a:lnTo>
                    <a:lnTo>
                      <a:pt x="210" y="602"/>
                    </a:lnTo>
                    <a:lnTo>
                      <a:pt x="236" y="607"/>
                    </a:lnTo>
                    <a:lnTo>
                      <a:pt x="236" y="590"/>
                    </a:lnTo>
                    <a:lnTo>
                      <a:pt x="264" y="586"/>
                    </a:lnTo>
                    <a:lnTo>
                      <a:pt x="279" y="536"/>
                    </a:lnTo>
                    <a:lnTo>
                      <a:pt x="286" y="531"/>
                    </a:lnTo>
                    <a:lnTo>
                      <a:pt x="290" y="326"/>
                    </a:lnTo>
                    <a:lnTo>
                      <a:pt x="399" y="309"/>
                    </a:lnTo>
                    <a:lnTo>
                      <a:pt x="517" y="198"/>
                    </a:lnTo>
                    <a:lnTo>
                      <a:pt x="829" y="0"/>
                    </a:lnTo>
                    <a:lnTo>
                      <a:pt x="938" y="21"/>
                    </a:lnTo>
                    <a:lnTo>
                      <a:pt x="987" y="71"/>
                    </a:lnTo>
                    <a:lnTo>
                      <a:pt x="1039" y="38"/>
                    </a:lnTo>
                    <a:lnTo>
                      <a:pt x="1056" y="111"/>
                    </a:lnTo>
                    <a:lnTo>
                      <a:pt x="1056" y="149"/>
                    </a:lnTo>
                    <a:lnTo>
                      <a:pt x="1089" y="187"/>
                    </a:lnTo>
                    <a:lnTo>
                      <a:pt x="1089" y="203"/>
                    </a:lnTo>
                    <a:lnTo>
                      <a:pt x="1110" y="238"/>
                    </a:lnTo>
                    <a:lnTo>
                      <a:pt x="1094" y="272"/>
                    </a:lnTo>
                    <a:lnTo>
                      <a:pt x="1077" y="491"/>
                    </a:lnTo>
                    <a:lnTo>
                      <a:pt x="1001" y="574"/>
                    </a:lnTo>
                    <a:lnTo>
                      <a:pt x="964" y="631"/>
                    </a:lnTo>
                    <a:lnTo>
                      <a:pt x="950" y="664"/>
                    </a:lnTo>
                    <a:lnTo>
                      <a:pt x="933" y="668"/>
                    </a:lnTo>
                    <a:lnTo>
                      <a:pt x="950" y="725"/>
                    </a:lnTo>
                    <a:lnTo>
                      <a:pt x="926" y="725"/>
                    </a:lnTo>
                    <a:lnTo>
                      <a:pt x="916" y="742"/>
                    </a:lnTo>
                    <a:lnTo>
                      <a:pt x="895" y="742"/>
                    </a:lnTo>
                    <a:lnTo>
                      <a:pt x="862" y="775"/>
                    </a:lnTo>
                    <a:lnTo>
                      <a:pt x="791" y="751"/>
                    </a:lnTo>
                    <a:lnTo>
                      <a:pt x="739" y="751"/>
                    </a:lnTo>
                    <a:lnTo>
                      <a:pt x="701" y="758"/>
                    </a:lnTo>
                    <a:lnTo>
                      <a:pt x="668" y="796"/>
                    </a:lnTo>
                    <a:lnTo>
                      <a:pt x="602" y="779"/>
                    </a:lnTo>
                    <a:lnTo>
                      <a:pt x="560" y="758"/>
                    </a:lnTo>
                    <a:lnTo>
                      <a:pt x="539" y="751"/>
                    </a:lnTo>
                    <a:lnTo>
                      <a:pt x="505" y="775"/>
                    </a:lnTo>
                    <a:lnTo>
                      <a:pt x="501" y="775"/>
                    </a:lnTo>
                    <a:lnTo>
                      <a:pt x="484" y="779"/>
                    </a:lnTo>
                    <a:lnTo>
                      <a:pt x="479" y="779"/>
                    </a:lnTo>
                    <a:lnTo>
                      <a:pt x="430" y="725"/>
                    </a:lnTo>
                    <a:lnTo>
                      <a:pt x="425" y="735"/>
                    </a:lnTo>
                    <a:lnTo>
                      <a:pt x="378" y="718"/>
                    </a:lnTo>
                    <a:lnTo>
                      <a:pt x="361" y="725"/>
                    </a:lnTo>
                    <a:lnTo>
                      <a:pt x="333" y="725"/>
                    </a:lnTo>
                    <a:lnTo>
                      <a:pt x="307" y="725"/>
                    </a:lnTo>
                    <a:lnTo>
                      <a:pt x="286" y="742"/>
                    </a:lnTo>
                    <a:lnTo>
                      <a:pt x="279" y="779"/>
                    </a:lnTo>
                    <a:lnTo>
                      <a:pt x="269" y="796"/>
                    </a:lnTo>
                    <a:lnTo>
                      <a:pt x="248" y="812"/>
                    </a:lnTo>
                    <a:lnTo>
                      <a:pt x="248" y="862"/>
                    </a:lnTo>
                    <a:lnTo>
                      <a:pt x="253" y="869"/>
                    </a:lnTo>
                    <a:lnTo>
                      <a:pt x="248" y="879"/>
                    </a:lnTo>
                    <a:lnTo>
                      <a:pt x="248" y="879"/>
                    </a:lnTo>
                    <a:lnTo>
                      <a:pt x="248" y="87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79" name="Freeform 521">
                <a:extLst>
                  <a:ext uri="{FF2B5EF4-FFF2-40B4-BE49-F238E27FC236}">
                    <a16:creationId xmlns:a16="http://schemas.microsoft.com/office/drawing/2014/main" id="{B54DD26B-7208-44F3-9497-12FEDAA7741F}"/>
                  </a:ext>
                </a:extLst>
              </p:cNvPr>
              <p:cNvSpPr>
                <a:spLocks noEditPoints="1"/>
              </p:cNvSpPr>
              <p:nvPr/>
            </p:nvSpPr>
            <p:spPr bwMode="gray">
              <a:xfrm>
                <a:off x="5785713" y="6522206"/>
                <a:ext cx="391958" cy="326281"/>
              </a:xfrm>
              <a:custGeom>
                <a:avLst/>
                <a:gdLst>
                  <a:gd name="T0" fmla="*/ 648 w 841"/>
                  <a:gd name="T1" fmla="*/ 494 h 700"/>
                  <a:gd name="T2" fmla="*/ 610 w 841"/>
                  <a:gd name="T3" fmla="*/ 539 h 700"/>
                  <a:gd name="T4" fmla="*/ 556 w 841"/>
                  <a:gd name="T5" fmla="*/ 494 h 700"/>
                  <a:gd name="T6" fmla="*/ 522 w 841"/>
                  <a:gd name="T7" fmla="*/ 501 h 700"/>
                  <a:gd name="T8" fmla="*/ 492 w 841"/>
                  <a:gd name="T9" fmla="*/ 534 h 700"/>
                  <a:gd name="T10" fmla="*/ 437 w 841"/>
                  <a:gd name="T11" fmla="*/ 605 h 700"/>
                  <a:gd name="T12" fmla="*/ 409 w 841"/>
                  <a:gd name="T13" fmla="*/ 666 h 700"/>
                  <a:gd name="T14" fmla="*/ 395 w 841"/>
                  <a:gd name="T15" fmla="*/ 671 h 700"/>
                  <a:gd name="T16" fmla="*/ 345 w 841"/>
                  <a:gd name="T17" fmla="*/ 666 h 700"/>
                  <a:gd name="T18" fmla="*/ 308 w 841"/>
                  <a:gd name="T19" fmla="*/ 662 h 700"/>
                  <a:gd name="T20" fmla="*/ 303 w 841"/>
                  <a:gd name="T21" fmla="*/ 666 h 700"/>
                  <a:gd name="T22" fmla="*/ 291 w 841"/>
                  <a:gd name="T23" fmla="*/ 688 h 700"/>
                  <a:gd name="T24" fmla="*/ 286 w 841"/>
                  <a:gd name="T25" fmla="*/ 688 h 700"/>
                  <a:gd name="T26" fmla="*/ 286 w 841"/>
                  <a:gd name="T27" fmla="*/ 688 h 700"/>
                  <a:gd name="T28" fmla="*/ 253 w 841"/>
                  <a:gd name="T29" fmla="*/ 683 h 700"/>
                  <a:gd name="T30" fmla="*/ 215 w 841"/>
                  <a:gd name="T31" fmla="*/ 683 h 700"/>
                  <a:gd name="T32" fmla="*/ 199 w 841"/>
                  <a:gd name="T33" fmla="*/ 633 h 700"/>
                  <a:gd name="T34" fmla="*/ 211 w 841"/>
                  <a:gd name="T35" fmla="*/ 605 h 700"/>
                  <a:gd name="T36" fmla="*/ 178 w 841"/>
                  <a:gd name="T37" fmla="*/ 605 h 700"/>
                  <a:gd name="T38" fmla="*/ 156 w 841"/>
                  <a:gd name="T39" fmla="*/ 572 h 700"/>
                  <a:gd name="T40" fmla="*/ 85 w 841"/>
                  <a:gd name="T41" fmla="*/ 522 h 700"/>
                  <a:gd name="T42" fmla="*/ 48 w 841"/>
                  <a:gd name="T43" fmla="*/ 551 h 700"/>
                  <a:gd name="T44" fmla="*/ 0 w 841"/>
                  <a:gd name="T45" fmla="*/ 440 h 700"/>
                  <a:gd name="T46" fmla="*/ 38 w 841"/>
                  <a:gd name="T47" fmla="*/ 329 h 700"/>
                  <a:gd name="T48" fmla="*/ 71 w 841"/>
                  <a:gd name="T49" fmla="*/ 284 h 700"/>
                  <a:gd name="T50" fmla="*/ 76 w 841"/>
                  <a:gd name="T51" fmla="*/ 244 h 700"/>
                  <a:gd name="T52" fmla="*/ 76 w 841"/>
                  <a:gd name="T53" fmla="*/ 222 h 700"/>
                  <a:gd name="T54" fmla="*/ 71 w 841"/>
                  <a:gd name="T55" fmla="*/ 161 h 700"/>
                  <a:gd name="T56" fmla="*/ 71 w 841"/>
                  <a:gd name="T57" fmla="*/ 95 h 700"/>
                  <a:gd name="T58" fmla="*/ 109 w 841"/>
                  <a:gd name="T59" fmla="*/ 22 h 700"/>
                  <a:gd name="T60" fmla="*/ 185 w 841"/>
                  <a:gd name="T61" fmla="*/ 5 h 700"/>
                  <a:gd name="T62" fmla="*/ 253 w 841"/>
                  <a:gd name="T63" fmla="*/ 5 h 700"/>
                  <a:gd name="T64" fmla="*/ 324 w 841"/>
                  <a:gd name="T65" fmla="*/ 57 h 700"/>
                  <a:gd name="T66" fmla="*/ 383 w 841"/>
                  <a:gd name="T67" fmla="*/ 38 h 700"/>
                  <a:gd name="T68" fmla="*/ 522 w 841"/>
                  <a:gd name="T69" fmla="*/ 38 h 700"/>
                  <a:gd name="T70" fmla="*/ 685 w 841"/>
                  <a:gd name="T71" fmla="*/ 57 h 700"/>
                  <a:gd name="T72" fmla="*/ 749 w 841"/>
                  <a:gd name="T73" fmla="*/ 5 h 700"/>
                  <a:gd name="T74" fmla="*/ 808 w 841"/>
                  <a:gd name="T75" fmla="*/ 107 h 700"/>
                  <a:gd name="T76" fmla="*/ 841 w 841"/>
                  <a:gd name="T77" fmla="*/ 149 h 700"/>
                  <a:gd name="T78" fmla="*/ 792 w 841"/>
                  <a:gd name="T79" fmla="*/ 189 h 700"/>
                  <a:gd name="T80" fmla="*/ 754 w 841"/>
                  <a:gd name="T81" fmla="*/ 272 h 700"/>
                  <a:gd name="T82" fmla="*/ 719 w 841"/>
                  <a:gd name="T83" fmla="*/ 329 h 700"/>
                  <a:gd name="T84" fmla="*/ 685 w 841"/>
                  <a:gd name="T85" fmla="*/ 383 h 700"/>
                  <a:gd name="T86" fmla="*/ 669 w 841"/>
                  <a:gd name="T87" fmla="*/ 428 h 700"/>
                  <a:gd name="T88" fmla="*/ 643 w 841"/>
                  <a:gd name="T89" fmla="*/ 478 h 700"/>
                  <a:gd name="T90" fmla="*/ 319 w 841"/>
                  <a:gd name="T91" fmla="*/ 688 h 700"/>
                  <a:gd name="T92" fmla="*/ 319 w 841"/>
                  <a:gd name="T93" fmla="*/ 688 h 700"/>
                  <a:gd name="T94" fmla="*/ 341 w 841"/>
                  <a:gd name="T95" fmla="*/ 683 h 700"/>
                  <a:gd name="T96" fmla="*/ 341 w 841"/>
                  <a:gd name="T97" fmla="*/ 683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1" h="700">
                    <a:moveTo>
                      <a:pt x="643" y="478"/>
                    </a:moveTo>
                    <a:lnTo>
                      <a:pt x="643" y="478"/>
                    </a:lnTo>
                    <a:lnTo>
                      <a:pt x="648" y="494"/>
                    </a:lnTo>
                    <a:lnTo>
                      <a:pt x="626" y="506"/>
                    </a:lnTo>
                    <a:lnTo>
                      <a:pt x="626" y="522"/>
                    </a:lnTo>
                    <a:lnTo>
                      <a:pt x="610" y="539"/>
                    </a:lnTo>
                    <a:lnTo>
                      <a:pt x="593" y="539"/>
                    </a:lnTo>
                    <a:lnTo>
                      <a:pt x="593" y="518"/>
                    </a:lnTo>
                    <a:lnTo>
                      <a:pt x="556" y="494"/>
                    </a:lnTo>
                    <a:lnTo>
                      <a:pt x="556" y="506"/>
                    </a:lnTo>
                    <a:lnTo>
                      <a:pt x="534" y="506"/>
                    </a:lnTo>
                    <a:lnTo>
                      <a:pt x="522" y="501"/>
                    </a:lnTo>
                    <a:lnTo>
                      <a:pt x="506" y="518"/>
                    </a:lnTo>
                    <a:lnTo>
                      <a:pt x="501" y="518"/>
                    </a:lnTo>
                    <a:lnTo>
                      <a:pt x="492" y="534"/>
                    </a:lnTo>
                    <a:lnTo>
                      <a:pt x="471" y="551"/>
                    </a:lnTo>
                    <a:lnTo>
                      <a:pt x="437" y="577"/>
                    </a:lnTo>
                    <a:lnTo>
                      <a:pt x="437" y="605"/>
                    </a:lnTo>
                    <a:lnTo>
                      <a:pt x="433" y="629"/>
                    </a:lnTo>
                    <a:lnTo>
                      <a:pt x="416" y="662"/>
                    </a:lnTo>
                    <a:lnTo>
                      <a:pt x="409" y="666"/>
                    </a:lnTo>
                    <a:lnTo>
                      <a:pt x="395" y="650"/>
                    </a:lnTo>
                    <a:lnTo>
                      <a:pt x="400" y="666"/>
                    </a:lnTo>
                    <a:lnTo>
                      <a:pt x="395" y="671"/>
                    </a:lnTo>
                    <a:lnTo>
                      <a:pt x="357" y="683"/>
                    </a:lnTo>
                    <a:lnTo>
                      <a:pt x="345" y="671"/>
                    </a:lnTo>
                    <a:lnTo>
                      <a:pt x="345" y="666"/>
                    </a:lnTo>
                    <a:lnTo>
                      <a:pt x="341" y="671"/>
                    </a:lnTo>
                    <a:lnTo>
                      <a:pt x="324" y="671"/>
                    </a:lnTo>
                    <a:lnTo>
                      <a:pt x="308" y="662"/>
                    </a:lnTo>
                    <a:lnTo>
                      <a:pt x="319" y="683"/>
                    </a:lnTo>
                    <a:lnTo>
                      <a:pt x="308" y="683"/>
                    </a:lnTo>
                    <a:lnTo>
                      <a:pt x="303" y="666"/>
                    </a:lnTo>
                    <a:lnTo>
                      <a:pt x="303" y="666"/>
                    </a:lnTo>
                    <a:lnTo>
                      <a:pt x="308" y="688"/>
                    </a:lnTo>
                    <a:lnTo>
                      <a:pt x="291" y="688"/>
                    </a:lnTo>
                    <a:lnTo>
                      <a:pt x="291" y="662"/>
                    </a:lnTo>
                    <a:lnTo>
                      <a:pt x="291" y="688"/>
                    </a:lnTo>
                    <a:lnTo>
                      <a:pt x="286" y="688"/>
                    </a:lnTo>
                    <a:lnTo>
                      <a:pt x="286" y="671"/>
                    </a:lnTo>
                    <a:lnTo>
                      <a:pt x="286" y="683"/>
                    </a:lnTo>
                    <a:lnTo>
                      <a:pt x="286" y="688"/>
                    </a:lnTo>
                    <a:lnTo>
                      <a:pt x="253" y="700"/>
                    </a:lnTo>
                    <a:lnTo>
                      <a:pt x="265" y="683"/>
                    </a:lnTo>
                    <a:lnTo>
                      <a:pt x="253" y="683"/>
                    </a:lnTo>
                    <a:lnTo>
                      <a:pt x="248" y="688"/>
                    </a:lnTo>
                    <a:lnTo>
                      <a:pt x="237" y="700"/>
                    </a:lnTo>
                    <a:lnTo>
                      <a:pt x="215" y="683"/>
                    </a:lnTo>
                    <a:lnTo>
                      <a:pt x="199" y="650"/>
                    </a:lnTo>
                    <a:lnTo>
                      <a:pt x="194" y="633"/>
                    </a:lnTo>
                    <a:lnTo>
                      <a:pt x="199" y="633"/>
                    </a:lnTo>
                    <a:lnTo>
                      <a:pt x="194" y="633"/>
                    </a:lnTo>
                    <a:lnTo>
                      <a:pt x="194" y="617"/>
                    </a:lnTo>
                    <a:lnTo>
                      <a:pt x="211" y="605"/>
                    </a:lnTo>
                    <a:lnTo>
                      <a:pt x="199" y="612"/>
                    </a:lnTo>
                    <a:lnTo>
                      <a:pt x="185" y="612"/>
                    </a:lnTo>
                    <a:lnTo>
                      <a:pt x="178" y="605"/>
                    </a:lnTo>
                    <a:lnTo>
                      <a:pt x="199" y="593"/>
                    </a:lnTo>
                    <a:lnTo>
                      <a:pt x="178" y="605"/>
                    </a:lnTo>
                    <a:lnTo>
                      <a:pt x="156" y="572"/>
                    </a:lnTo>
                    <a:lnTo>
                      <a:pt x="130" y="551"/>
                    </a:lnTo>
                    <a:lnTo>
                      <a:pt x="55" y="539"/>
                    </a:lnTo>
                    <a:lnTo>
                      <a:pt x="85" y="522"/>
                    </a:lnTo>
                    <a:lnTo>
                      <a:pt x="60" y="534"/>
                    </a:lnTo>
                    <a:lnTo>
                      <a:pt x="60" y="534"/>
                    </a:lnTo>
                    <a:lnTo>
                      <a:pt x="48" y="551"/>
                    </a:lnTo>
                    <a:lnTo>
                      <a:pt x="5" y="551"/>
                    </a:lnTo>
                    <a:lnTo>
                      <a:pt x="5" y="494"/>
                    </a:lnTo>
                    <a:lnTo>
                      <a:pt x="0" y="440"/>
                    </a:lnTo>
                    <a:lnTo>
                      <a:pt x="5" y="350"/>
                    </a:lnTo>
                    <a:lnTo>
                      <a:pt x="34" y="350"/>
                    </a:lnTo>
                    <a:lnTo>
                      <a:pt x="38" y="329"/>
                    </a:lnTo>
                    <a:lnTo>
                      <a:pt x="55" y="300"/>
                    </a:lnTo>
                    <a:lnTo>
                      <a:pt x="48" y="296"/>
                    </a:lnTo>
                    <a:lnTo>
                      <a:pt x="71" y="284"/>
                    </a:lnTo>
                    <a:lnTo>
                      <a:pt x="76" y="272"/>
                    </a:lnTo>
                    <a:lnTo>
                      <a:pt x="71" y="260"/>
                    </a:lnTo>
                    <a:lnTo>
                      <a:pt x="76" y="244"/>
                    </a:lnTo>
                    <a:lnTo>
                      <a:pt x="85" y="255"/>
                    </a:lnTo>
                    <a:lnTo>
                      <a:pt x="85" y="239"/>
                    </a:lnTo>
                    <a:lnTo>
                      <a:pt x="76" y="222"/>
                    </a:lnTo>
                    <a:lnTo>
                      <a:pt x="76" y="201"/>
                    </a:lnTo>
                    <a:lnTo>
                      <a:pt x="60" y="173"/>
                    </a:lnTo>
                    <a:lnTo>
                      <a:pt x="71" y="161"/>
                    </a:lnTo>
                    <a:lnTo>
                      <a:pt x="76" y="149"/>
                    </a:lnTo>
                    <a:lnTo>
                      <a:pt x="71" y="144"/>
                    </a:lnTo>
                    <a:lnTo>
                      <a:pt x="71" y="95"/>
                    </a:lnTo>
                    <a:lnTo>
                      <a:pt x="93" y="78"/>
                    </a:lnTo>
                    <a:lnTo>
                      <a:pt x="102" y="62"/>
                    </a:lnTo>
                    <a:lnTo>
                      <a:pt x="109" y="22"/>
                    </a:lnTo>
                    <a:lnTo>
                      <a:pt x="130" y="5"/>
                    </a:lnTo>
                    <a:lnTo>
                      <a:pt x="156" y="5"/>
                    </a:lnTo>
                    <a:lnTo>
                      <a:pt x="185" y="5"/>
                    </a:lnTo>
                    <a:lnTo>
                      <a:pt x="199" y="0"/>
                    </a:lnTo>
                    <a:lnTo>
                      <a:pt x="248" y="17"/>
                    </a:lnTo>
                    <a:lnTo>
                      <a:pt x="253" y="5"/>
                    </a:lnTo>
                    <a:lnTo>
                      <a:pt x="303" y="62"/>
                    </a:lnTo>
                    <a:lnTo>
                      <a:pt x="308" y="62"/>
                    </a:lnTo>
                    <a:lnTo>
                      <a:pt x="324" y="57"/>
                    </a:lnTo>
                    <a:lnTo>
                      <a:pt x="329" y="57"/>
                    </a:lnTo>
                    <a:lnTo>
                      <a:pt x="362" y="33"/>
                    </a:lnTo>
                    <a:lnTo>
                      <a:pt x="383" y="38"/>
                    </a:lnTo>
                    <a:lnTo>
                      <a:pt x="426" y="62"/>
                    </a:lnTo>
                    <a:lnTo>
                      <a:pt x="492" y="78"/>
                    </a:lnTo>
                    <a:lnTo>
                      <a:pt x="522" y="38"/>
                    </a:lnTo>
                    <a:lnTo>
                      <a:pt x="560" y="33"/>
                    </a:lnTo>
                    <a:lnTo>
                      <a:pt x="615" y="33"/>
                    </a:lnTo>
                    <a:lnTo>
                      <a:pt x="685" y="57"/>
                    </a:lnTo>
                    <a:lnTo>
                      <a:pt x="719" y="22"/>
                    </a:lnTo>
                    <a:lnTo>
                      <a:pt x="740" y="22"/>
                    </a:lnTo>
                    <a:lnTo>
                      <a:pt x="749" y="5"/>
                    </a:lnTo>
                    <a:lnTo>
                      <a:pt x="771" y="5"/>
                    </a:lnTo>
                    <a:lnTo>
                      <a:pt x="804" y="57"/>
                    </a:lnTo>
                    <a:lnTo>
                      <a:pt x="808" y="107"/>
                    </a:lnTo>
                    <a:lnTo>
                      <a:pt x="830" y="111"/>
                    </a:lnTo>
                    <a:lnTo>
                      <a:pt x="841" y="116"/>
                    </a:lnTo>
                    <a:lnTo>
                      <a:pt x="841" y="149"/>
                    </a:lnTo>
                    <a:lnTo>
                      <a:pt x="841" y="168"/>
                    </a:lnTo>
                    <a:lnTo>
                      <a:pt x="808" y="189"/>
                    </a:lnTo>
                    <a:lnTo>
                      <a:pt x="792" y="189"/>
                    </a:lnTo>
                    <a:lnTo>
                      <a:pt x="778" y="206"/>
                    </a:lnTo>
                    <a:lnTo>
                      <a:pt x="761" y="239"/>
                    </a:lnTo>
                    <a:lnTo>
                      <a:pt x="754" y="272"/>
                    </a:lnTo>
                    <a:lnTo>
                      <a:pt x="749" y="279"/>
                    </a:lnTo>
                    <a:lnTo>
                      <a:pt x="740" y="312"/>
                    </a:lnTo>
                    <a:lnTo>
                      <a:pt x="719" y="329"/>
                    </a:lnTo>
                    <a:lnTo>
                      <a:pt x="707" y="371"/>
                    </a:lnTo>
                    <a:lnTo>
                      <a:pt x="702" y="383"/>
                    </a:lnTo>
                    <a:lnTo>
                      <a:pt x="685" y="383"/>
                    </a:lnTo>
                    <a:lnTo>
                      <a:pt x="685" y="390"/>
                    </a:lnTo>
                    <a:lnTo>
                      <a:pt x="669" y="395"/>
                    </a:lnTo>
                    <a:lnTo>
                      <a:pt x="669" y="428"/>
                    </a:lnTo>
                    <a:lnTo>
                      <a:pt x="652" y="444"/>
                    </a:lnTo>
                    <a:lnTo>
                      <a:pt x="652" y="461"/>
                    </a:lnTo>
                    <a:lnTo>
                      <a:pt x="643" y="478"/>
                    </a:lnTo>
                    <a:lnTo>
                      <a:pt x="643" y="478"/>
                    </a:lnTo>
                    <a:lnTo>
                      <a:pt x="643" y="478"/>
                    </a:lnTo>
                    <a:close/>
                    <a:moveTo>
                      <a:pt x="319" y="688"/>
                    </a:moveTo>
                    <a:lnTo>
                      <a:pt x="324" y="671"/>
                    </a:lnTo>
                    <a:lnTo>
                      <a:pt x="329" y="683"/>
                    </a:lnTo>
                    <a:lnTo>
                      <a:pt x="319" y="688"/>
                    </a:lnTo>
                    <a:lnTo>
                      <a:pt x="319" y="688"/>
                    </a:lnTo>
                    <a:lnTo>
                      <a:pt x="319" y="688"/>
                    </a:lnTo>
                    <a:close/>
                    <a:moveTo>
                      <a:pt x="341" y="683"/>
                    </a:moveTo>
                    <a:lnTo>
                      <a:pt x="329" y="683"/>
                    </a:lnTo>
                    <a:lnTo>
                      <a:pt x="341" y="683"/>
                    </a:lnTo>
                    <a:lnTo>
                      <a:pt x="341" y="683"/>
                    </a:lnTo>
                    <a:lnTo>
                      <a:pt x="341" y="683"/>
                    </a:lnTo>
                    <a:lnTo>
                      <a:pt x="341" y="68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80" name="Freeform 537">
                <a:extLst>
                  <a:ext uri="{FF2B5EF4-FFF2-40B4-BE49-F238E27FC236}">
                    <a16:creationId xmlns:a16="http://schemas.microsoft.com/office/drawing/2014/main" id="{F26F2937-74CD-41F5-98C7-D527CD0A7E4F}"/>
                  </a:ext>
                </a:extLst>
              </p:cNvPr>
              <p:cNvSpPr>
                <a:spLocks noEditPoints="1"/>
              </p:cNvSpPr>
              <p:nvPr/>
            </p:nvSpPr>
            <p:spPr bwMode="gray">
              <a:xfrm>
                <a:off x="5154197" y="6564157"/>
                <a:ext cx="100203" cy="58264"/>
              </a:xfrm>
              <a:custGeom>
                <a:avLst/>
                <a:gdLst>
                  <a:gd name="T0" fmla="*/ 37 w 215"/>
                  <a:gd name="T1" fmla="*/ 17 h 125"/>
                  <a:gd name="T2" fmla="*/ 106 w 215"/>
                  <a:gd name="T3" fmla="*/ 0 h 125"/>
                  <a:gd name="T4" fmla="*/ 203 w 215"/>
                  <a:gd name="T5" fmla="*/ 0 h 125"/>
                  <a:gd name="T6" fmla="*/ 186 w 215"/>
                  <a:gd name="T7" fmla="*/ 38 h 125"/>
                  <a:gd name="T8" fmla="*/ 203 w 215"/>
                  <a:gd name="T9" fmla="*/ 71 h 125"/>
                  <a:gd name="T10" fmla="*/ 165 w 215"/>
                  <a:gd name="T11" fmla="*/ 71 h 125"/>
                  <a:gd name="T12" fmla="*/ 134 w 215"/>
                  <a:gd name="T13" fmla="*/ 83 h 125"/>
                  <a:gd name="T14" fmla="*/ 113 w 215"/>
                  <a:gd name="T15" fmla="*/ 114 h 125"/>
                  <a:gd name="T16" fmla="*/ 106 w 215"/>
                  <a:gd name="T17" fmla="*/ 114 h 125"/>
                  <a:gd name="T18" fmla="*/ 96 w 215"/>
                  <a:gd name="T19" fmla="*/ 109 h 125"/>
                  <a:gd name="T20" fmla="*/ 89 w 215"/>
                  <a:gd name="T21" fmla="*/ 92 h 125"/>
                  <a:gd name="T22" fmla="*/ 80 w 215"/>
                  <a:gd name="T23" fmla="*/ 92 h 125"/>
                  <a:gd name="T24" fmla="*/ 113 w 215"/>
                  <a:gd name="T25" fmla="*/ 76 h 125"/>
                  <a:gd name="T26" fmla="*/ 89 w 215"/>
                  <a:gd name="T27" fmla="*/ 76 h 125"/>
                  <a:gd name="T28" fmla="*/ 80 w 215"/>
                  <a:gd name="T29" fmla="*/ 71 h 125"/>
                  <a:gd name="T30" fmla="*/ 106 w 215"/>
                  <a:gd name="T31" fmla="*/ 54 h 125"/>
                  <a:gd name="T32" fmla="*/ 113 w 215"/>
                  <a:gd name="T33" fmla="*/ 54 h 125"/>
                  <a:gd name="T34" fmla="*/ 106 w 215"/>
                  <a:gd name="T35" fmla="*/ 54 h 125"/>
                  <a:gd name="T36" fmla="*/ 75 w 215"/>
                  <a:gd name="T37" fmla="*/ 59 h 125"/>
                  <a:gd name="T38" fmla="*/ 59 w 215"/>
                  <a:gd name="T39" fmla="*/ 45 h 125"/>
                  <a:gd name="T40" fmla="*/ 37 w 215"/>
                  <a:gd name="T41" fmla="*/ 54 h 125"/>
                  <a:gd name="T42" fmla="*/ 21 w 215"/>
                  <a:gd name="T43" fmla="*/ 38 h 125"/>
                  <a:gd name="T44" fmla="*/ 9 w 215"/>
                  <a:gd name="T45" fmla="*/ 28 h 125"/>
                  <a:gd name="T46" fmla="*/ 0 w 215"/>
                  <a:gd name="T47" fmla="*/ 21 h 125"/>
                  <a:gd name="T48" fmla="*/ 26 w 215"/>
                  <a:gd name="T49" fmla="*/ 59 h 125"/>
                  <a:gd name="T50" fmla="*/ 37 w 215"/>
                  <a:gd name="T51" fmla="*/ 54 h 125"/>
                  <a:gd name="T52" fmla="*/ 26 w 215"/>
                  <a:gd name="T53" fmla="*/ 59 h 125"/>
                  <a:gd name="T54" fmla="*/ 42 w 215"/>
                  <a:gd name="T55" fmla="*/ 59 h 125"/>
                  <a:gd name="T56" fmla="*/ 54 w 215"/>
                  <a:gd name="T57" fmla="*/ 54 h 125"/>
                  <a:gd name="T58" fmla="*/ 42 w 215"/>
                  <a:gd name="T59" fmla="*/ 59 h 125"/>
                  <a:gd name="T60" fmla="*/ 42 w 215"/>
                  <a:gd name="T61" fmla="*/ 83 h 125"/>
                  <a:gd name="T62" fmla="*/ 54 w 215"/>
                  <a:gd name="T63" fmla="*/ 76 h 125"/>
                  <a:gd name="T64" fmla="*/ 42 w 215"/>
                  <a:gd name="T65" fmla="*/ 83 h 125"/>
                  <a:gd name="T66" fmla="*/ 42 w 215"/>
                  <a:gd name="T67" fmla="*/ 83 h 125"/>
                  <a:gd name="T68" fmla="*/ 21 w 215"/>
                  <a:gd name="T69" fmla="*/ 76 h 125"/>
                  <a:gd name="T70" fmla="*/ 26 w 215"/>
                  <a:gd name="T71" fmla="*/ 83 h 125"/>
                  <a:gd name="T72" fmla="*/ 26 w 215"/>
                  <a:gd name="T73" fmla="*/ 83 h 125"/>
                  <a:gd name="T74" fmla="*/ 26 w 215"/>
                  <a:gd name="T75" fmla="*/ 83 h 125"/>
                  <a:gd name="T76" fmla="*/ 26 w 215"/>
                  <a:gd name="T77" fmla="*/ 83 h 125"/>
                  <a:gd name="T78" fmla="*/ 26 w 215"/>
                  <a:gd name="T79" fmla="*/ 83 h 125"/>
                  <a:gd name="T80" fmla="*/ 26 w 215"/>
                  <a:gd name="T81" fmla="*/ 97 h 125"/>
                  <a:gd name="T82" fmla="*/ 26 w 215"/>
                  <a:gd name="T83" fmla="*/ 97 h 125"/>
                  <a:gd name="T84" fmla="*/ 26 w 215"/>
                  <a:gd name="T85" fmla="*/ 97 h 125"/>
                  <a:gd name="T86" fmla="*/ 26 w 215"/>
                  <a:gd name="T87" fmla="*/ 109 h 125"/>
                  <a:gd name="T88" fmla="*/ 42 w 215"/>
                  <a:gd name="T89" fmla="*/ 114 h 125"/>
                  <a:gd name="T90" fmla="*/ 37 w 215"/>
                  <a:gd name="T91" fmla="*/ 114 h 125"/>
                  <a:gd name="T92" fmla="*/ 42 w 215"/>
                  <a:gd name="T93" fmla="*/ 114 h 125"/>
                  <a:gd name="T94" fmla="*/ 54 w 215"/>
                  <a:gd name="T95" fmla="*/ 97 h 125"/>
                  <a:gd name="T96" fmla="*/ 42 w 215"/>
                  <a:gd name="T97" fmla="*/ 11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5" h="125">
                    <a:moveTo>
                      <a:pt x="0" y="21"/>
                    </a:moveTo>
                    <a:lnTo>
                      <a:pt x="37" y="17"/>
                    </a:lnTo>
                    <a:lnTo>
                      <a:pt x="63" y="17"/>
                    </a:lnTo>
                    <a:lnTo>
                      <a:pt x="106" y="0"/>
                    </a:lnTo>
                    <a:lnTo>
                      <a:pt x="165" y="0"/>
                    </a:lnTo>
                    <a:lnTo>
                      <a:pt x="203" y="0"/>
                    </a:lnTo>
                    <a:lnTo>
                      <a:pt x="215" y="21"/>
                    </a:lnTo>
                    <a:lnTo>
                      <a:pt x="186" y="38"/>
                    </a:lnTo>
                    <a:lnTo>
                      <a:pt x="203" y="45"/>
                    </a:lnTo>
                    <a:lnTo>
                      <a:pt x="203" y="71"/>
                    </a:lnTo>
                    <a:lnTo>
                      <a:pt x="186" y="71"/>
                    </a:lnTo>
                    <a:lnTo>
                      <a:pt x="165" y="71"/>
                    </a:lnTo>
                    <a:lnTo>
                      <a:pt x="148" y="76"/>
                    </a:lnTo>
                    <a:lnTo>
                      <a:pt x="134" y="83"/>
                    </a:lnTo>
                    <a:lnTo>
                      <a:pt x="113" y="125"/>
                    </a:lnTo>
                    <a:lnTo>
                      <a:pt x="113" y="114"/>
                    </a:lnTo>
                    <a:lnTo>
                      <a:pt x="113" y="97"/>
                    </a:lnTo>
                    <a:lnTo>
                      <a:pt x="106" y="114"/>
                    </a:lnTo>
                    <a:lnTo>
                      <a:pt x="106" y="97"/>
                    </a:lnTo>
                    <a:lnTo>
                      <a:pt x="96" y="109"/>
                    </a:lnTo>
                    <a:lnTo>
                      <a:pt x="89" y="109"/>
                    </a:lnTo>
                    <a:lnTo>
                      <a:pt x="89" y="92"/>
                    </a:lnTo>
                    <a:lnTo>
                      <a:pt x="96" y="83"/>
                    </a:lnTo>
                    <a:lnTo>
                      <a:pt x="80" y="92"/>
                    </a:lnTo>
                    <a:lnTo>
                      <a:pt x="96" y="76"/>
                    </a:lnTo>
                    <a:lnTo>
                      <a:pt x="113" y="76"/>
                    </a:lnTo>
                    <a:lnTo>
                      <a:pt x="96" y="71"/>
                    </a:lnTo>
                    <a:lnTo>
                      <a:pt x="89" y="76"/>
                    </a:lnTo>
                    <a:lnTo>
                      <a:pt x="89" y="71"/>
                    </a:lnTo>
                    <a:lnTo>
                      <a:pt x="80" y="71"/>
                    </a:lnTo>
                    <a:lnTo>
                      <a:pt x="89" y="54"/>
                    </a:lnTo>
                    <a:lnTo>
                      <a:pt x="106" y="54"/>
                    </a:lnTo>
                    <a:lnTo>
                      <a:pt x="118" y="59"/>
                    </a:lnTo>
                    <a:lnTo>
                      <a:pt x="113" y="54"/>
                    </a:lnTo>
                    <a:lnTo>
                      <a:pt x="118" y="45"/>
                    </a:lnTo>
                    <a:lnTo>
                      <a:pt x="106" y="54"/>
                    </a:lnTo>
                    <a:lnTo>
                      <a:pt x="89" y="45"/>
                    </a:lnTo>
                    <a:lnTo>
                      <a:pt x="75" y="59"/>
                    </a:lnTo>
                    <a:lnTo>
                      <a:pt x="54" y="59"/>
                    </a:lnTo>
                    <a:lnTo>
                      <a:pt x="59" y="45"/>
                    </a:lnTo>
                    <a:lnTo>
                      <a:pt x="63" y="45"/>
                    </a:lnTo>
                    <a:lnTo>
                      <a:pt x="37" y="54"/>
                    </a:lnTo>
                    <a:lnTo>
                      <a:pt x="26" y="54"/>
                    </a:lnTo>
                    <a:lnTo>
                      <a:pt x="21" y="38"/>
                    </a:lnTo>
                    <a:lnTo>
                      <a:pt x="42" y="21"/>
                    </a:lnTo>
                    <a:lnTo>
                      <a:pt x="9" y="28"/>
                    </a:lnTo>
                    <a:lnTo>
                      <a:pt x="0" y="21"/>
                    </a:lnTo>
                    <a:lnTo>
                      <a:pt x="0" y="21"/>
                    </a:lnTo>
                    <a:lnTo>
                      <a:pt x="0" y="21"/>
                    </a:lnTo>
                    <a:close/>
                    <a:moveTo>
                      <a:pt x="26" y="59"/>
                    </a:moveTo>
                    <a:lnTo>
                      <a:pt x="26" y="45"/>
                    </a:lnTo>
                    <a:lnTo>
                      <a:pt x="37" y="54"/>
                    </a:lnTo>
                    <a:lnTo>
                      <a:pt x="26" y="59"/>
                    </a:lnTo>
                    <a:lnTo>
                      <a:pt x="26" y="59"/>
                    </a:lnTo>
                    <a:lnTo>
                      <a:pt x="26" y="59"/>
                    </a:lnTo>
                    <a:close/>
                    <a:moveTo>
                      <a:pt x="42" y="59"/>
                    </a:moveTo>
                    <a:lnTo>
                      <a:pt x="37" y="54"/>
                    </a:lnTo>
                    <a:lnTo>
                      <a:pt x="54" y="54"/>
                    </a:lnTo>
                    <a:lnTo>
                      <a:pt x="42" y="59"/>
                    </a:lnTo>
                    <a:lnTo>
                      <a:pt x="42" y="59"/>
                    </a:lnTo>
                    <a:lnTo>
                      <a:pt x="42" y="59"/>
                    </a:lnTo>
                    <a:close/>
                    <a:moveTo>
                      <a:pt x="42" y="83"/>
                    </a:moveTo>
                    <a:lnTo>
                      <a:pt x="42" y="76"/>
                    </a:lnTo>
                    <a:lnTo>
                      <a:pt x="54" y="76"/>
                    </a:lnTo>
                    <a:lnTo>
                      <a:pt x="54" y="83"/>
                    </a:lnTo>
                    <a:lnTo>
                      <a:pt x="42" y="83"/>
                    </a:lnTo>
                    <a:lnTo>
                      <a:pt x="42" y="83"/>
                    </a:lnTo>
                    <a:lnTo>
                      <a:pt x="42" y="83"/>
                    </a:lnTo>
                    <a:close/>
                    <a:moveTo>
                      <a:pt x="26" y="83"/>
                    </a:moveTo>
                    <a:lnTo>
                      <a:pt x="21" y="76"/>
                    </a:lnTo>
                    <a:lnTo>
                      <a:pt x="26" y="76"/>
                    </a:lnTo>
                    <a:lnTo>
                      <a:pt x="26" y="83"/>
                    </a:lnTo>
                    <a:lnTo>
                      <a:pt x="26" y="83"/>
                    </a:lnTo>
                    <a:lnTo>
                      <a:pt x="26" y="83"/>
                    </a:lnTo>
                    <a:close/>
                    <a:moveTo>
                      <a:pt x="26" y="83"/>
                    </a:moveTo>
                    <a:lnTo>
                      <a:pt x="26" y="83"/>
                    </a:lnTo>
                    <a:lnTo>
                      <a:pt x="37" y="76"/>
                    </a:lnTo>
                    <a:lnTo>
                      <a:pt x="26" y="83"/>
                    </a:lnTo>
                    <a:lnTo>
                      <a:pt x="26" y="83"/>
                    </a:lnTo>
                    <a:lnTo>
                      <a:pt x="26" y="83"/>
                    </a:lnTo>
                    <a:close/>
                    <a:moveTo>
                      <a:pt x="26" y="97"/>
                    </a:moveTo>
                    <a:lnTo>
                      <a:pt x="26" y="97"/>
                    </a:lnTo>
                    <a:lnTo>
                      <a:pt x="37" y="97"/>
                    </a:lnTo>
                    <a:lnTo>
                      <a:pt x="26" y="97"/>
                    </a:lnTo>
                    <a:lnTo>
                      <a:pt x="26" y="97"/>
                    </a:lnTo>
                    <a:lnTo>
                      <a:pt x="26" y="97"/>
                    </a:lnTo>
                    <a:close/>
                    <a:moveTo>
                      <a:pt x="37" y="114"/>
                    </a:moveTo>
                    <a:lnTo>
                      <a:pt x="26" y="109"/>
                    </a:lnTo>
                    <a:lnTo>
                      <a:pt x="42" y="97"/>
                    </a:lnTo>
                    <a:lnTo>
                      <a:pt x="42" y="114"/>
                    </a:lnTo>
                    <a:lnTo>
                      <a:pt x="37" y="114"/>
                    </a:lnTo>
                    <a:lnTo>
                      <a:pt x="37" y="114"/>
                    </a:lnTo>
                    <a:lnTo>
                      <a:pt x="37" y="114"/>
                    </a:lnTo>
                    <a:close/>
                    <a:moveTo>
                      <a:pt x="42" y="114"/>
                    </a:moveTo>
                    <a:lnTo>
                      <a:pt x="42" y="109"/>
                    </a:lnTo>
                    <a:lnTo>
                      <a:pt x="54" y="97"/>
                    </a:lnTo>
                    <a:lnTo>
                      <a:pt x="42" y="114"/>
                    </a:lnTo>
                    <a:lnTo>
                      <a:pt x="42" y="114"/>
                    </a:lnTo>
                    <a:lnTo>
                      <a:pt x="42" y="11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81" name="Freeform 538">
                <a:extLst>
                  <a:ext uri="{FF2B5EF4-FFF2-40B4-BE49-F238E27FC236}">
                    <a16:creationId xmlns:a16="http://schemas.microsoft.com/office/drawing/2014/main" id="{93ECA226-444D-4E08-B291-1EE5F68B567F}"/>
                  </a:ext>
                </a:extLst>
              </p:cNvPr>
              <p:cNvSpPr>
                <a:spLocks/>
              </p:cNvSpPr>
              <p:nvPr/>
            </p:nvSpPr>
            <p:spPr bwMode="gray">
              <a:xfrm>
                <a:off x="7355878" y="6090582"/>
                <a:ext cx="29828" cy="59662"/>
              </a:xfrm>
              <a:custGeom>
                <a:avLst/>
                <a:gdLst>
                  <a:gd name="T0" fmla="*/ 42 w 64"/>
                  <a:gd name="T1" fmla="*/ 116 h 128"/>
                  <a:gd name="T2" fmla="*/ 16 w 64"/>
                  <a:gd name="T3" fmla="*/ 128 h 128"/>
                  <a:gd name="T4" fmla="*/ 12 w 64"/>
                  <a:gd name="T5" fmla="*/ 111 h 128"/>
                  <a:gd name="T6" fmla="*/ 0 w 64"/>
                  <a:gd name="T7" fmla="*/ 55 h 128"/>
                  <a:gd name="T8" fmla="*/ 12 w 64"/>
                  <a:gd name="T9" fmla="*/ 55 h 128"/>
                  <a:gd name="T10" fmla="*/ 12 w 64"/>
                  <a:gd name="T11" fmla="*/ 45 h 128"/>
                  <a:gd name="T12" fmla="*/ 16 w 64"/>
                  <a:gd name="T13" fmla="*/ 38 h 128"/>
                  <a:gd name="T14" fmla="*/ 16 w 64"/>
                  <a:gd name="T15" fmla="*/ 38 h 128"/>
                  <a:gd name="T16" fmla="*/ 26 w 64"/>
                  <a:gd name="T17" fmla="*/ 5 h 128"/>
                  <a:gd name="T18" fmla="*/ 42 w 64"/>
                  <a:gd name="T19" fmla="*/ 0 h 128"/>
                  <a:gd name="T20" fmla="*/ 47 w 64"/>
                  <a:gd name="T21" fmla="*/ 17 h 128"/>
                  <a:gd name="T22" fmla="*/ 64 w 64"/>
                  <a:gd name="T23" fmla="*/ 22 h 128"/>
                  <a:gd name="T24" fmla="*/ 64 w 64"/>
                  <a:gd name="T25" fmla="*/ 38 h 128"/>
                  <a:gd name="T26" fmla="*/ 54 w 64"/>
                  <a:gd name="T27" fmla="*/ 55 h 128"/>
                  <a:gd name="T28" fmla="*/ 54 w 64"/>
                  <a:gd name="T29" fmla="*/ 71 h 128"/>
                  <a:gd name="T30" fmla="*/ 64 w 64"/>
                  <a:gd name="T31" fmla="*/ 71 h 128"/>
                  <a:gd name="T32" fmla="*/ 64 w 64"/>
                  <a:gd name="T33" fmla="*/ 83 h 128"/>
                  <a:gd name="T34" fmla="*/ 47 w 64"/>
                  <a:gd name="T35" fmla="*/ 128 h 128"/>
                  <a:gd name="T36" fmla="*/ 42 w 64"/>
                  <a:gd name="T37" fmla="*/ 116 h 128"/>
                  <a:gd name="T38" fmla="*/ 42 w 64"/>
                  <a:gd name="T39" fmla="*/ 116 h 128"/>
                  <a:gd name="T40" fmla="*/ 42 w 64"/>
                  <a:gd name="T41" fmla="*/ 1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128">
                    <a:moveTo>
                      <a:pt x="42" y="116"/>
                    </a:moveTo>
                    <a:lnTo>
                      <a:pt x="16" y="128"/>
                    </a:lnTo>
                    <a:lnTo>
                      <a:pt x="12" y="111"/>
                    </a:lnTo>
                    <a:lnTo>
                      <a:pt x="0" y="55"/>
                    </a:lnTo>
                    <a:lnTo>
                      <a:pt x="12" y="55"/>
                    </a:lnTo>
                    <a:lnTo>
                      <a:pt x="12" y="45"/>
                    </a:lnTo>
                    <a:lnTo>
                      <a:pt x="16" y="38"/>
                    </a:lnTo>
                    <a:lnTo>
                      <a:pt x="16" y="38"/>
                    </a:lnTo>
                    <a:lnTo>
                      <a:pt x="26" y="5"/>
                    </a:lnTo>
                    <a:lnTo>
                      <a:pt x="42" y="0"/>
                    </a:lnTo>
                    <a:lnTo>
                      <a:pt x="47" y="17"/>
                    </a:lnTo>
                    <a:lnTo>
                      <a:pt x="64" y="22"/>
                    </a:lnTo>
                    <a:lnTo>
                      <a:pt x="64" y="38"/>
                    </a:lnTo>
                    <a:lnTo>
                      <a:pt x="54" y="55"/>
                    </a:lnTo>
                    <a:lnTo>
                      <a:pt x="54" y="71"/>
                    </a:lnTo>
                    <a:lnTo>
                      <a:pt x="64" y="71"/>
                    </a:lnTo>
                    <a:lnTo>
                      <a:pt x="64" y="83"/>
                    </a:lnTo>
                    <a:lnTo>
                      <a:pt x="47" y="128"/>
                    </a:lnTo>
                    <a:lnTo>
                      <a:pt x="42" y="116"/>
                    </a:lnTo>
                    <a:lnTo>
                      <a:pt x="42" y="116"/>
                    </a:lnTo>
                    <a:lnTo>
                      <a:pt x="42" y="11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84" name="Freeform 545">
                <a:extLst>
                  <a:ext uri="{FF2B5EF4-FFF2-40B4-BE49-F238E27FC236}">
                    <a16:creationId xmlns:a16="http://schemas.microsoft.com/office/drawing/2014/main" id="{04DA51F5-EC4C-46F9-91FE-27F085F76275}"/>
                  </a:ext>
                </a:extLst>
              </p:cNvPr>
              <p:cNvSpPr>
                <a:spLocks noEditPoints="1"/>
              </p:cNvSpPr>
              <p:nvPr/>
            </p:nvSpPr>
            <p:spPr bwMode="gray">
              <a:xfrm>
                <a:off x="6826431" y="5870577"/>
                <a:ext cx="691172" cy="590102"/>
              </a:xfrm>
              <a:custGeom>
                <a:avLst/>
                <a:gdLst>
                  <a:gd name="T0" fmla="*/ 997 w 1483"/>
                  <a:gd name="T1" fmla="*/ 1070 h 1266"/>
                  <a:gd name="T2" fmla="*/ 694 w 1483"/>
                  <a:gd name="T3" fmla="*/ 1139 h 1266"/>
                  <a:gd name="T4" fmla="*/ 619 w 1483"/>
                  <a:gd name="T5" fmla="*/ 1127 h 1266"/>
                  <a:gd name="T6" fmla="*/ 609 w 1483"/>
                  <a:gd name="T7" fmla="*/ 1193 h 1266"/>
                  <a:gd name="T8" fmla="*/ 581 w 1483"/>
                  <a:gd name="T9" fmla="*/ 1209 h 1266"/>
                  <a:gd name="T10" fmla="*/ 567 w 1483"/>
                  <a:gd name="T11" fmla="*/ 1172 h 1266"/>
                  <a:gd name="T12" fmla="*/ 550 w 1483"/>
                  <a:gd name="T13" fmla="*/ 1127 h 1266"/>
                  <a:gd name="T14" fmla="*/ 475 w 1483"/>
                  <a:gd name="T15" fmla="*/ 1044 h 1266"/>
                  <a:gd name="T16" fmla="*/ 463 w 1483"/>
                  <a:gd name="T17" fmla="*/ 1011 h 1266"/>
                  <a:gd name="T18" fmla="*/ 441 w 1483"/>
                  <a:gd name="T19" fmla="*/ 971 h 1266"/>
                  <a:gd name="T20" fmla="*/ 378 w 1483"/>
                  <a:gd name="T21" fmla="*/ 921 h 1266"/>
                  <a:gd name="T22" fmla="*/ 323 w 1483"/>
                  <a:gd name="T23" fmla="*/ 860 h 1266"/>
                  <a:gd name="T24" fmla="*/ 312 w 1483"/>
                  <a:gd name="T25" fmla="*/ 805 h 1266"/>
                  <a:gd name="T26" fmla="*/ 278 w 1483"/>
                  <a:gd name="T27" fmla="*/ 654 h 1266"/>
                  <a:gd name="T28" fmla="*/ 189 w 1483"/>
                  <a:gd name="T29" fmla="*/ 572 h 1266"/>
                  <a:gd name="T30" fmla="*/ 172 w 1483"/>
                  <a:gd name="T31" fmla="*/ 510 h 1266"/>
                  <a:gd name="T32" fmla="*/ 156 w 1483"/>
                  <a:gd name="T33" fmla="*/ 489 h 1266"/>
                  <a:gd name="T34" fmla="*/ 47 w 1483"/>
                  <a:gd name="T35" fmla="*/ 326 h 1266"/>
                  <a:gd name="T36" fmla="*/ 0 w 1483"/>
                  <a:gd name="T37" fmla="*/ 321 h 1266"/>
                  <a:gd name="T38" fmla="*/ 106 w 1483"/>
                  <a:gd name="T39" fmla="*/ 239 h 1266"/>
                  <a:gd name="T40" fmla="*/ 210 w 1483"/>
                  <a:gd name="T41" fmla="*/ 177 h 1266"/>
                  <a:gd name="T42" fmla="*/ 172 w 1483"/>
                  <a:gd name="T43" fmla="*/ 50 h 1266"/>
                  <a:gd name="T44" fmla="*/ 408 w 1483"/>
                  <a:gd name="T45" fmla="*/ 17 h 1266"/>
                  <a:gd name="T46" fmla="*/ 718 w 1483"/>
                  <a:gd name="T47" fmla="*/ 239 h 1266"/>
                  <a:gd name="T48" fmla="*/ 928 w 1483"/>
                  <a:gd name="T49" fmla="*/ 288 h 1266"/>
                  <a:gd name="T50" fmla="*/ 987 w 1483"/>
                  <a:gd name="T51" fmla="*/ 326 h 1266"/>
                  <a:gd name="T52" fmla="*/ 1004 w 1483"/>
                  <a:gd name="T53" fmla="*/ 345 h 1266"/>
                  <a:gd name="T54" fmla="*/ 1034 w 1483"/>
                  <a:gd name="T55" fmla="*/ 378 h 1266"/>
                  <a:gd name="T56" fmla="*/ 1051 w 1483"/>
                  <a:gd name="T57" fmla="*/ 387 h 1266"/>
                  <a:gd name="T58" fmla="*/ 1089 w 1483"/>
                  <a:gd name="T59" fmla="*/ 432 h 1266"/>
                  <a:gd name="T60" fmla="*/ 1105 w 1483"/>
                  <a:gd name="T61" fmla="*/ 461 h 1266"/>
                  <a:gd name="T62" fmla="*/ 1089 w 1483"/>
                  <a:gd name="T63" fmla="*/ 489 h 1266"/>
                  <a:gd name="T64" fmla="*/ 1122 w 1483"/>
                  <a:gd name="T65" fmla="*/ 531 h 1266"/>
                  <a:gd name="T66" fmla="*/ 1143 w 1483"/>
                  <a:gd name="T67" fmla="*/ 583 h 1266"/>
                  <a:gd name="T68" fmla="*/ 1176 w 1483"/>
                  <a:gd name="T69" fmla="*/ 588 h 1266"/>
                  <a:gd name="T70" fmla="*/ 1186 w 1483"/>
                  <a:gd name="T71" fmla="*/ 600 h 1266"/>
                  <a:gd name="T72" fmla="*/ 1197 w 1483"/>
                  <a:gd name="T73" fmla="*/ 626 h 1266"/>
                  <a:gd name="T74" fmla="*/ 1450 w 1483"/>
                  <a:gd name="T75" fmla="*/ 737 h 1266"/>
                  <a:gd name="T76" fmla="*/ 1436 w 1483"/>
                  <a:gd name="T77" fmla="*/ 938 h 1266"/>
                  <a:gd name="T78" fmla="*/ 9 w 1483"/>
                  <a:gd name="T79" fmla="*/ 333 h 1266"/>
                  <a:gd name="T80" fmla="*/ 0 w 1483"/>
                  <a:gd name="T81" fmla="*/ 326 h 1266"/>
                  <a:gd name="T82" fmla="*/ 1051 w 1483"/>
                  <a:gd name="T83" fmla="*/ 383 h 1266"/>
                  <a:gd name="T84" fmla="*/ 1051 w 1483"/>
                  <a:gd name="T85" fmla="*/ 383 h 1266"/>
                  <a:gd name="T86" fmla="*/ 517 w 1483"/>
                  <a:gd name="T87" fmla="*/ 1172 h 1266"/>
                  <a:gd name="T88" fmla="*/ 517 w 1483"/>
                  <a:gd name="T89" fmla="*/ 1172 h 1266"/>
                  <a:gd name="T90" fmla="*/ 517 w 1483"/>
                  <a:gd name="T91" fmla="*/ 1172 h 1266"/>
                  <a:gd name="T92" fmla="*/ 512 w 1483"/>
                  <a:gd name="T93" fmla="*/ 1181 h 1266"/>
                  <a:gd name="T94" fmla="*/ 529 w 1483"/>
                  <a:gd name="T95" fmla="*/ 1181 h 1266"/>
                  <a:gd name="T96" fmla="*/ 534 w 1483"/>
                  <a:gd name="T97" fmla="*/ 1200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3" h="1266">
                    <a:moveTo>
                      <a:pt x="1436" y="938"/>
                    </a:moveTo>
                    <a:lnTo>
                      <a:pt x="1230" y="1016"/>
                    </a:lnTo>
                    <a:lnTo>
                      <a:pt x="997" y="1070"/>
                    </a:lnTo>
                    <a:lnTo>
                      <a:pt x="824" y="1266"/>
                    </a:lnTo>
                    <a:lnTo>
                      <a:pt x="824" y="1193"/>
                    </a:lnTo>
                    <a:lnTo>
                      <a:pt x="694" y="1139"/>
                    </a:lnTo>
                    <a:lnTo>
                      <a:pt x="656" y="1143"/>
                    </a:lnTo>
                    <a:lnTo>
                      <a:pt x="635" y="1127"/>
                    </a:lnTo>
                    <a:lnTo>
                      <a:pt x="619" y="1127"/>
                    </a:lnTo>
                    <a:lnTo>
                      <a:pt x="609" y="1139"/>
                    </a:lnTo>
                    <a:lnTo>
                      <a:pt x="604" y="1172"/>
                    </a:lnTo>
                    <a:lnTo>
                      <a:pt x="609" y="1193"/>
                    </a:lnTo>
                    <a:lnTo>
                      <a:pt x="604" y="1193"/>
                    </a:lnTo>
                    <a:lnTo>
                      <a:pt x="593" y="1200"/>
                    </a:lnTo>
                    <a:lnTo>
                      <a:pt x="581" y="1209"/>
                    </a:lnTo>
                    <a:lnTo>
                      <a:pt x="581" y="1193"/>
                    </a:lnTo>
                    <a:lnTo>
                      <a:pt x="567" y="1176"/>
                    </a:lnTo>
                    <a:lnTo>
                      <a:pt x="567" y="1172"/>
                    </a:lnTo>
                    <a:lnTo>
                      <a:pt x="555" y="1155"/>
                    </a:lnTo>
                    <a:lnTo>
                      <a:pt x="550" y="1160"/>
                    </a:lnTo>
                    <a:lnTo>
                      <a:pt x="550" y="1127"/>
                    </a:lnTo>
                    <a:lnTo>
                      <a:pt x="500" y="1098"/>
                    </a:lnTo>
                    <a:lnTo>
                      <a:pt x="484" y="1061"/>
                    </a:lnTo>
                    <a:lnTo>
                      <a:pt x="475" y="1044"/>
                    </a:lnTo>
                    <a:lnTo>
                      <a:pt x="475" y="1028"/>
                    </a:lnTo>
                    <a:lnTo>
                      <a:pt x="463" y="1016"/>
                    </a:lnTo>
                    <a:lnTo>
                      <a:pt x="463" y="1011"/>
                    </a:lnTo>
                    <a:lnTo>
                      <a:pt x="458" y="1004"/>
                    </a:lnTo>
                    <a:lnTo>
                      <a:pt x="446" y="987"/>
                    </a:lnTo>
                    <a:lnTo>
                      <a:pt x="441" y="971"/>
                    </a:lnTo>
                    <a:lnTo>
                      <a:pt x="441" y="959"/>
                    </a:lnTo>
                    <a:lnTo>
                      <a:pt x="392" y="921"/>
                    </a:lnTo>
                    <a:lnTo>
                      <a:pt x="378" y="921"/>
                    </a:lnTo>
                    <a:lnTo>
                      <a:pt x="366" y="905"/>
                    </a:lnTo>
                    <a:lnTo>
                      <a:pt x="349" y="883"/>
                    </a:lnTo>
                    <a:lnTo>
                      <a:pt x="323" y="860"/>
                    </a:lnTo>
                    <a:lnTo>
                      <a:pt x="323" y="843"/>
                    </a:lnTo>
                    <a:lnTo>
                      <a:pt x="323" y="827"/>
                    </a:lnTo>
                    <a:lnTo>
                      <a:pt x="312" y="805"/>
                    </a:lnTo>
                    <a:lnTo>
                      <a:pt x="323" y="765"/>
                    </a:lnTo>
                    <a:lnTo>
                      <a:pt x="316" y="749"/>
                    </a:lnTo>
                    <a:lnTo>
                      <a:pt x="278" y="654"/>
                    </a:lnTo>
                    <a:lnTo>
                      <a:pt x="257" y="638"/>
                    </a:lnTo>
                    <a:lnTo>
                      <a:pt x="203" y="609"/>
                    </a:lnTo>
                    <a:lnTo>
                      <a:pt x="189" y="572"/>
                    </a:lnTo>
                    <a:lnTo>
                      <a:pt x="193" y="572"/>
                    </a:lnTo>
                    <a:lnTo>
                      <a:pt x="189" y="548"/>
                    </a:lnTo>
                    <a:lnTo>
                      <a:pt x="172" y="510"/>
                    </a:lnTo>
                    <a:lnTo>
                      <a:pt x="156" y="498"/>
                    </a:lnTo>
                    <a:lnTo>
                      <a:pt x="151" y="494"/>
                    </a:lnTo>
                    <a:lnTo>
                      <a:pt x="156" y="489"/>
                    </a:lnTo>
                    <a:lnTo>
                      <a:pt x="139" y="477"/>
                    </a:lnTo>
                    <a:lnTo>
                      <a:pt x="118" y="437"/>
                    </a:lnTo>
                    <a:lnTo>
                      <a:pt x="47" y="326"/>
                    </a:lnTo>
                    <a:lnTo>
                      <a:pt x="14" y="321"/>
                    </a:lnTo>
                    <a:lnTo>
                      <a:pt x="9" y="326"/>
                    </a:lnTo>
                    <a:lnTo>
                      <a:pt x="0" y="321"/>
                    </a:lnTo>
                    <a:lnTo>
                      <a:pt x="14" y="288"/>
                    </a:lnTo>
                    <a:lnTo>
                      <a:pt x="30" y="222"/>
                    </a:lnTo>
                    <a:lnTo>
                      <a:pt x="106" y="239"/>
                    </a:lnTo>
                    <a:lnTo>
                      <a:pt x="139" y="215"/>
                    </a:lnTo>
                    <a:lnTo>
                      <a:pt x="156" y="182"/>
                    </a:lnTo>
                    <a:lnTo>
                      <a:pt x="210" y="177"/>
                    </a:lnTo>
                    <a:lnTo>
                      <a:pt x="215" y="144"/>
                    </a:lnTo>
                    <a:lnTo>
                      <a:pt x="241" y="139"/>
                    </a:lnTo>
                    <a:lnTo>
                      <a:pt x="172" y="50"/>
                    </a:lnTo>
                    <a:lnTo>
                      <a:pt x="316" y="9"/>
                    </a:lnTo>
                    <a:lnTo>
                      <a:pt x="323" y="0"/>
                    </a:lnTo>
                    <a:lnTo>
                      <a:pt x="408" y="17"/>
                    </a:lnTo>
                    <a:lnTo>
                      <a:pt x="484" y="66"/>
                    </a:lnTo>
                    <a:lnTo>
                      <a:pt x="534" y="83"/>
                    </a:lnTo>
                    <a:lnTo>
                      <a:pt x="718" y="239"/>
                    </a:lnTo>
                    <a:lnTo>
                      <a:pt x="841" y="239"/>
                    </a:lnTo>
                    <a:lnTo>
                      <a:pt x="907" y="250"/>
                    </a:lnTo>
                    <a:lnTo>
                      <a:pt x="928" y="288"/>
                    </a:lnTo>
                    <a:lnTo>
                      <a:pt x="971" y="288"/>
                    </a:lnTo>
                    <a:lnTo>
                      <a:pt x="982" y="288"/>
                    </a:lnTo>
                    <a:lnTo>
                      <a:pt x="987" y="326"/>
                    </a:lnTo>
                    <a:lnTo>
                      <a:pt x="1004" y="345"/>
                    </a:lnTo>
                    <a:lnTo>
                      <a:pt x="1004" y="350"/>
                    </a:lnTo>
                    <a:lnTo>
                      <a:pt x="1004" y="345"/>
                    </a:lnTo>
                    <a:lnTo>
                      <a:pt x="1004" y="361"/>
                    </a:lnTo>
                    <a:lnTo>
                      <a:pt x="1034" y="366"/>
                    </a:lnTo>
                    <a:lnTo>
                      <a:pt x="1034" y="378"/>
                    </a:lnTo>
                    <a:lnTo>
                      <a:pt x="1025" y="378"/>
                    </a:lnTo>
                    <a:lnTo>
                      <a:pt x="1041" y="399"/>
                    </a:lnTo>
                    <a:lnTo>
                      <a:pt x="1051" y="387"/>
                    </a:lnTo>
                    <a:lnTo>
                      <a:pt x="1067" y="404"/>
                    </a:lnTo>
                    <a:lnTo>
                      <a:pt x="1096" y="437"/>
                    </a:lnTo>
                    <a:lnTo>
                      <a:pt x="1089" y="432"/>
                    </a:lnTo>
                    <a:lnTo>
                      <a:pt x="1089" y="444"/>
                    </a:lnTo>
                    <a:lnTo>
                      <a:pt x="1096" y="456"/>
                    </a:lnTo>
                    <a:lnTo>
                      <a:pt x="1105" y="461"/>
                    </a:lnTo>
                    <a:lnTo>
                      <a:pt x="1096" y="477"/>
                    </a:lnTo>
                    <a:lnTo>
                      <a:pt x="1089" y="472"/>
                    </a:lnTo>
                    <a:lnTo>
                      <a:pt x="1089" y="489"/>
                    </a:lnTo>
                    <a:lnTo>
                      <a:pt x="1105" y="515"/>
                    </a:lnTo>
                    <a:lnTo>
                      <a:pt x="1096" y="510"/>
                    </a:lnTo>
                    <a:lnTo>
                      <a:pt x="1122" y="531"/>
                    </a:lnTo>
                    <a:lnTo>
                      <a:pt x="1126" y="555"/>
                    </a:lnTo>
                    <a:lnTo>
                      <a:pt x="1143" y="583"/>
                    </a:lnTo>
                    <a:lnTo>
                      <a:pt x="1143" y="583"/>
                    </a:lnTo>
                    <a:lnTo>
                      <a:pt x="1148" y="600"/>
                    </a:lnTo>
                    <a:lnTo>
                      <a:pt x="1176" y="588"/>
                    </a:lnTo>
                    <a:lnTo>
                      <a:pt x="1176" y="588"/>
                    </a:lnTo>
                    <a:lnTo>
                      <a:pt x="1176" y="600"/>
                    </a:lnTo>
                    <a:lnTo>
                      <a:pt x="1181" y="588"/>
                    </a:lnTo>
                    <a:lnTo>
                      <a:pt x="1186" y="600"/>
                    </a:lnTo>
                    <a:lnTo>
                      <a:pt x="1176" y="609"/>
                    </a:lnTo>
                    <a:lnTo>
                      <a:pt x="1197" y="621"/>
                    </a:lnTo>
                    <a:lnTo>
                      <a:pt x="1197" y="626"/>
                    </a:lnTo>
                    <a:lnTo>
                      <a:pt x="1268" y="716"/>
                    </a:lnTo>
                    <a:lnTo>
                      <a:pt x="1445" y="737"/>
                    </a:lnTo>
                    <a:lnTo>
                      <a:pt x="1450" y="737"/>
                    </a:lnTo>
                    <a:lnTo>
                      <a:pt x="1483" y="789"/>
                    </a:lnTo>
                    <a:lnTo>
                      <a:pt x="1436" y="938"/>
                    </a:lnTo>
                    <a:lnTo>
                      <a:pt x="1436" y="938"/>
                    </a:lnTo>
                    <a:lnTo>
                      <a:pt x="1436" y="938"/>
                    </a:lnTo>
                    <a:close/>
                    <a:moveTo>
                      <a:pt x="0" y="326"/>
                    </a:moveTo>
                    <a:lnTo>
                      <a:pt x="9" y="333"/>
                    </a:lnTo>
                    <a:lnTo>
                      <a:pt x="0" y="333"/>
                    </a:lnTo>
                    <a:lnTo>
                      <a:pt x="0" y="326"/>
                    </a:lnTo>
                    <a:lnTo>
                      <a:pt x="0" y="326"/>
                    </a:lnTo>
                    <a:lnTo>
                      <a:pt x="0" y="326"/>
                    </a:lnTo>
                    <a:close/>
                    <a:moveTo>
                      <a:pt x="1051" y="383"/>
                    </a:moveTo>
                    <a:lnTo>
                      <a:pt x="1051" y="383"/>
                    </a:lnTo>
                    <a:lnTo>
                      <a:pt x="1058" y="383"/>
                    </a:lnTo>
                    <a:lnTo>
                      <a:pt x="1051" y="383"/>
                    </a:lnTo>
                    <a:lnTo>
                      <a:pt x="1051" y="383"/>
                    </a:lnTo>
                    <a:lnTo>
                      <a:pt x="1051" y="383"/>
                    </a:lnTo>
                    <a:close/>
                    <a:moveTo>
                      <a:pt x="517" y="1172"/>
                    </a:moveTo>
                    <a:lnTo>
                      <a:pt x="517" y="1172"/>
                    </a:lnTo>
                    <a:lnTo>
                      <a:pt x="529" y="1181"/>
                    </a:lnTo>
                    <a:lnTo>
                      <a:pt x="512" y="1176"/>
                    </a:lnTo>
                    <a:lnTo>
                      <a:pt x="517" y="1172"/>
                    </a:lnTo>
                    <a:lnTo>
                      <a:pt x="517" y="1172"/>
                    </a:lnTo>
                    <a:lnTo>
                      <a:pt x="517" y="1172"/>
                    </a:lnTo>
                    <a:lnTo>
                      <a:pt x="517" y="1172"/>
                    </a:lnTo>
                    <a:close/>
                    <a:moveTo>
                      <a:pt x="534" y="1200"/>
                    </a:moveTo>
                    <a:lnTo>
                      <a:pt x="534" y="1193"/>
                    </a:lnTo>
                    <a:lnTo>
                      <a:pt x="512" y="1181"/>
                    </a:lnTo>
                    <a:lnTo>
                      <a:pt x="512" y="1176"/>
                    </a:lnTo>
                    <a:lnTo>
                      <a:pt x="517" y="1181"/>
                    </a:lnTo>
                    <a:lnTo>
                      <a:pt x="529" y="1181"/>
                    </a:lnTo>
                    <a:lnTo>
                      <a:pt x="529" y="1181"/>
                    </a:lnTo>
                    <a:lnTo>
                      <a:pt x="534" y="1176"/>
                    </a:lnTo>
                    <a:lnTo>
                      <a:pt x="534" y="1200"/>
                    </a:lnTo>
                    <a:lnTo>
                      <a:pt x="534" y="1200"/>
                    </a:lnTo>
                    <a:lnTo>
                      <a:pt x="534" y="120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87" name="Freeform 550">
                <a:extLst>
                  <a:ext uri="{FF2B5EF4-FFF2-40B4-BE49-F238E27FC236}">
                    <a16:creationId xmlns:a16="http://schemas.microsoft.com/office/drawing/2014/main" id="{FE27FEA1-2778-420D-A9B5-1D1D7050E523}"/>
                  </a:ext>
                </a:extLst>
              </p:cNvPr>
              <p:cNvSpPr>
                <a:spLocks/>
              </p:cNvSpPr>
              <p:nvPr/>
            </p:nvSpPr>
            <p:spPr bwMode="gray">
              <a:xfrm>
                <a:off x="5127631" y="6421990"/>
                <a:ext cx="202737" cy="151954"/>
              </a:xfrm>
              <a:custGeom>
                <a:avLst/>
                <a:gdLst>
                  <a:gd name="T0" fmla="*/ 163 w 435"/>
                  <a:gd name="T1" fmla="*/ 305 h 326"/>
                  <a:gd name="T2" fmla="*/ 92 w 435"/>
                  <a:gd name="T3" fmla="*/ 322 h 326"/>
                  <a:gd name="T4" fmla="*/ 45 w 435"/>
                  <a:gd name="T5" fmla="*/ 322 h 326"/>
                  <a:gd name="T6" fmla="*/ 75 w 435"/>
                  <a:gd name="T7" fmla="*/ 310 h 326"/>
                  <a:gd name="T8" fmla="*/ 130 w 435"/>
                  <a:gd name="T9" fmla="*/ 310 h 326"/>
                  <a:gd name="T10" fmla="*/ 137 w 435"/>
                  <a:gd name="T11" fmla="*/ 293 h 326"/>
                  <a:gd name="T12" fmla="*/ 137 w 435"/>
                  <a:gd name="T13" fmla="*/ 293 h 326"/>
                  <a:gd name="T14" fmla="*/ 130 w 435"/>
                  <a:gd name="T15" fmla="*/ 310 h 326"/>
                  <a:gd name="T16" fmla="*/ 99 w 435"/>
                  <a:gd name="T17" fmla="*/ 293 h 326"/>
                  <a:gd name="T18" fmla="*/ 75 w 435"/>
                  <a:gd name="T19" fmla="*/ 310 h 326"/>
                  <a:gd name="T20" fmla="*/ 59 w 435"/>
                  <a:gd name="T21" fmla="*/ 293 h 326"/>
                  <a:gd name="T22" fmla="*/ 54 w 435"/>
                  <a:gd name="T23" fmla="*/ 272 h 326"/>
                  <a:gd name="T24" fmla="*/ 113 w 435"/>
                  <a:gd name="T25" fmla="*/ 267 h 326"/>
                  <a:gd name="T26" fmla="*/ 151 w 435"/>
                  <a:gd name="T27" fmla="*/ 251 h 326"/>
                  <a:gd name="T28" fmla="*/ 222 w 435"/>
                  <a:gd name="T29" fmla="*/ 267 h 326"/>
                  <a:gd name="T30" fmla="*/ 260 w 435"/>
                  <a:gd name="T31" fmla="*/ 251 h 326"/>
                  <a:gd name="T32" fmla="*/ 222 w 435"/>
                  <a:gd name="T33" fmla="*/ 251 h 326"/>
                  <a:gd name="T34" fmla="*/ 191 w 435"/>
                  <a:gd name="T35" fmla="*/ 232 h 326"/>
                  <a:gd name="T36" fmla="*/ 168 w 435"/>
                  <a:gd name="T37" fmla="*/ 215 h 326"/>
                  <a:gd name="T38" fmla="*/ 137 w 435"/>
                  <a:gd name="T39" fmla="*/ 232 h 326"/>
                  <a:gd name="T40" fmla="*/ 59 w 435"/>
                  <a:gd name="T41" fmla="*/ 222 h 326"/>
                  <a:gd name="T42" fmla="*/ 54 w 435"/>
                  <a:gd name="T43" fmla="*/ 222 h 326"/>
                  <a:gd name="T44" fmla="*/ 75 w 435"/>
                  <a:gd name="T45" fmla="*/ 194 h 326"/>
                  <a:gd name="T46" fmla="*/ 59 w 435"/>
                  <a:gd name="T47" fmla="*/ 199 h 326"/>
                  <a:gd name="T48" fmla="*/ 21 w 435"/>
                  <a:gd name="T49" fmla="*/ 156 h 326"/>
                  <a:gd name="T50" fmla="*/ 0 w 435"/>
                  <a:gd name="T51" fmla="*/ 156 h 326"/>
                  <a:gd name="T52" fmla="*/ 21 w 435"/>
                  <a:gd name="T53" fmla="*/ 140 h 326"/>
                  <a:gd name="T54" fmla="*/ 66 w 435"/>
                  <a:gd name="T55" fmla="*/ 74 h 326"/>
                  <a:gd name="T56" fmla="*/ 83 w 435"/>
                  <a:gd name="T57" fmla="*/ 17 h 326"/>
                  <a:gd name="T58" fmla="*/ 175 w 435"/>
                  <a:gd name="T59" fmla="*/ 0 h 326"/>
                  <a:gd name="T60" fmla="*/ 255 w 435"/>
                  <a:gd name="T61" fmla="*/ 50 h 326"/>
                  <a:gd name="T62" fmla="*/ 272 w 435"/>
                  <a:gd name="T63" fmla="*/ 50 h 326"/>
                  <a:gd name="T64" fmla="*/ 283 w 435"/>
                  <a:gd name="T65" fmla="*/ 50 h 326"/>
                  <a:gd name="T66" fmla="*/ 309 w 435"/>
                  <a:gd name="T67" fmla="*/ 100 h 326"/>
                  <a:gd name="T68" fmla="*/ 326 w 435"/>
                  <a:gd name="T69" fmla="*/ 107 h 326"/>
                  <a:gd name="T70" fmla="*/ 347 w 435"/>
                  <a:gd name="T71" fmla="*/ 128 h 326"/>
                  <a:gd name="T72" fmla="*/ 368 w 435"/>
                  <a:gd name="T73" fmla="*/ 178 h 326"/>
                  <a:gd name="T74" fmla="*/ 385 w 435"/>
                  <a:gd name="T75" fmla="*/ 215 h 326"/>
                  <a:gd name="T76" fmla="*/ 401 w 435"/>
                  <a:gd name="T77" fmla="*/ 256 h 326"/>
                  <a:gd name="T78" fmla="*/ 406 w 435"/>
                  <a:gd name="T79" fmla="*/ 251 h 326"/>
                  <a:gd name="T80" fmla="*/ 435 w 435"/>
                  <a:gd name="T81" fmla="*/ 322 h 326"/>
                  <a:gd name="T82" fmla="*/ 364 w 435"/>
                  <a:gd name="T83" fmla="*/ 326 h 326"/>
                  <a:gd name="T84" fmla="*/ 309 w 435"/>
                  <a:gd name="T85" fmla="*/ 322 h 326"/>
                  <a:gd name="T86" fmla="*/ 260 w 435"/>
                  <a:gd name="T87" fmla="*/ 305 h 326"/>
                  <a:gd name="T88" fmla="*/ 222 w 435"/>
                  <a:gd name="T89" fmla="*/ 30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5" h="326">
                    <a:moveTo>
                      <a:pt x="222" y="305"/>
                    </a:moveTo>
                    <a:lnTo>
                      <a:pt x="163" y="305"/>
                    </a:lnTo>
                    <a:lnTo>
                      <a:pt x="120" y="322"/>
                    </a:lnTo>
                    <a:lnTo>
                      <a:pt x="92" y="322"/>
                    </a:lnTo>
                    <a:lnTo>
                      <a:pt x="54" y="326"/>
                    </a:lnTo>
                    <a:lnTo>
                      <a:pt x="45" y="322"/>
                    </a:lnTo>
                    <a:lnTo>
                      <a:pt x="59" y="305"/>
                    </a:lnTo>
                    <a:lnTo>
                      <a:pt x="75" y="310"/>
                    </a:lnTo>
                    <a:lnTo>
                      <a:pt x="99" y="305"/>
                    </a:lnTo>
                    <a:lnTo>
                      <a:pt x="130" y="310"/>
                    </a:lnTo>
                    <a:lnTo>
                      <a:pt x="137" y="305"/>
                    </a:lnTo>
                    <a:lnTo>
                      <a:pt x="137" y="293"/>
                    </a:lnTo>
                    <a:lnTo>
                      <a:pt x="146" y="289"/>
                    </a:lnTo>
                    <a:lnTo>
                      <a:pt x="137" y="293"/>
                    </a:lnTo>
                    <a:lnTo>
                      <a:pt x="137" y="305"/>
                    </a:lnTo>
                    <a:lnTo>
                      <a:pt x="130" y="310"/>
                    </a:lnTo>
                    <a:lnTo>
                      <a:pt x="109" y="310"/>
                    </a:lnTo>
                    <a:lnTo>
                      <a:pt x="99" y="293"/>
                    </a:lnTo>
                    <a:lnTo>
                      <a:pt x="99" y="305"/>
                    </a:lnTo>
                    <a:lnTo>
                      <a:pt x="75" y="310"/>
                    </a:lnTo>
                    <a:lnTo>
                      <a:pt x="59" y="305"/>
                    </a:lnTo>
                    <a:lnTo>
                      <a:pt x="59" y="293"/>
                    </a:lnTo>
                    <a:lnTo>
                      <a:pt x="54" y="310"/>
                    </a:lnTo>
                    <a:lnTo>
                      <a:pt x="54" y="272"/>
                    </a:lnTo>
                    <a:lnTo>
                      <a:pt x="54" y="267"/>
                    </a:lnTo>
                    <a:lnTo>
                      <a:pt x="113" y="267"/>
                    </a:lnTo>
                    <a:lnTo>
                      <a:pt x="113" y="256"/>
                    </a:lnTo>
                    <a:lnTo>
                      <a:pt x="151" y="251"/>
                    </a:lnTo>
                    <a:lnTo>
                      <a:pt x="168" y="232"/>
                    </a:lnTo>
                    <a:lnTo>
                      <a:pt x="222" y="267"/>
                    </a:lnTo>
                    <a:lnTo>
                      <a:pt x="255" y="256"/>
                    </a:lnTo>
                    <a:lnTo>
                      <a:pt x="260" y="251"/>
                    </a:lnTo>
                    <a:lnTo>
                      <a:pt x="243" y="232"/>
                    </a:lnTo>
                    <a:lnTo>
                      <a:pt x="222" y="251"/>
                    </a:lnTo>
                    <a:lnTo>
                      <a:pt x="205" y="232"/>
                    </a:lnTo>
                    <a:lnTo>
                      <a:pt x="191" y="232"/>
                    </a:lnTo>
                    <a:lnTo>
                      <a:pt x="184" y="222"/>
                    </a:lnTo>
                    <a:lnTo>
                      <a:pt x="168" y="215"/>
                    </a:lnTo>
                    <a:lnTo>
                      <a:pt x="146" y="222"/>
                    </a:lnTo>
                    <a:lnTo>
                      <a:pt x="137" y="232"/>
                    </a:lnTo>
                    <a:lnTo>
                      <a:pt x="59" y="232"/>
                    </a:lnTo>
                    <a:lnTo>
                      <a:pt x="59" y="222"/>
                    </a:lnTo>
                    <a:lnTo>
                      <a:pt x="66" y="211"/>
                    </a:lnTo>
                    <a:lnTo>
                      <a:pt x="54" y="222"/>
                    </a:lnTo>
                    <a:lnTo>
                      <a:pt x="54" y="211"/>
                    </a:lnTo>
                    <a:lnTo>
                      <a:pt x="75" y="194"/>
                    </a:lnTo>
                    <a:lnTo>
                      <a:pt x="66" y="194"/>
                    </a:lnTo>
                    <a:lnTo>
                      <a:pt x="59" y="199"/>
                    </a:lnTo>
                    <a:lnTo>
                      <a:pt x="45" y="199"/>
                    </a:lnTo>
                    <a:lnTo>
                      <a:pt x="21" y="156"/>
                    </a:lnTo>
                    <a:lnTo>
                      <a:pt x="7" y="156"/>
                    </a:lnTo>
                    <a:lnTo>
                      <a:pt x="0" y="156"/>
                    </a:lnTo>
                    <a:lnTo>
                      <a:pt x="0" y="156"/>
                    </a:lnTo>
                    <a:lnTo>
                      <a:pt x="21" y="140"/>
                    </a:lnTo>
                    <a:lnTo>
                      <a:pt x="45" y="111"/>
                    </a:lnTo>
                    <a:lnTo>
                      <a:pt x="66" y="74"/>
                    </a:lnTo>
                    <a:lnTo>
                      <a:pt x="66" y="50"/>
                    </a:lnTo>
                    <a:lnTo>
                      <a:pt x="83" y="17"/>
                    </a:lnTo>
                    <a:lnTo>
                      <a:pt x="130" y="17"/>
                    </a:lnTo>
                    <a:lnTo>
                      <a:pt x="175" y="0"/>
                    </a:lnTo>
                    <a:lnTo>
                      <a:pt x="222" y="12"/>
                    </a:lnTo>
                    <a:lnTo>
                      <a:pt x="255" y="50"/>
                    </a:lnTo>
                    <a:lnTo>
                      <a:pt x="260" y="45"/>
                    </a:lnTo>
                    <a:lnTo>
                      <a:pt x="272" y="50"/>
                    </a:lnTo>
                    <a:lnTo>
                      <a:pt x="276" y="50"/>
                    </a:lnTo>
                    <a:lnTo>
                      <a:pt x="283" y="50"/>
                    </a:lnTo>
                    <a:lnTo>
                      <a:pt x="298" y="83"/>
                    </a:lnTo>
                    <a:lnTo>
                      <a:pt x="309" y="100"/>
                    </a:lnTo>
                    <a:lnTo>
                      <a:pt x="314" y="100"/>
                    </a:lnTo>
                    <a:lnTo>
                      <a:pt x="326" y="107"/>
                    </a:lnTo>
                    <a:lnTo>
                      <a:pt x="326" y="111"/>
                    </a:lnTo>
                    <a:lnTo>
                      <a:pt x="347" y="128"/>
                    </a:lnTo>
                    <a:lnTo>
                      <a:pt x="368" y="144"/>
                    </a:lnTo>
                    <a:lnTo>
                      <a:pt x="368" y="178"/>
                    </a:lnTo>
                    <a:lnTo>
                      <a:pt x="385" y="194"/>
                    </a:lnTo>
                    <a:lnTo>
                      <a:pt x="385" y="215"/>
                    </a:lnTo>
                    <a:lnTo>
                      <a:pt x="380" y="232"/>
                    </a:lnTo>
                    <a:lnTo>
                      <a:pt x="401" y="256"/>
                    </a:lnTo>
                    <a:lnTo>
                      <a:pt x="401" y="251"/>
                    </a:lnTo>
                    <a:lnTo>
                      <a:pt x="406" y="251"/>
                    </a:lnTo>
                    <a:lnTo>
                      <a:pt x="435" y="277"/>
                    </a:lnTo>
                    <a:lnTo>
                      <a:pt x="435" y="322"/>
                    </a:lnTo>
                    <a:lnTo>
                      <a:pt x="385" y="322"/>
                    </a:lnTo>
                    <a:lnTo>
                      <a:pt x="364" y="326"/>
                    </a:lnTo>
                    <a:lnTo>
                      <a:pt x="326" y="310"/>
                    </a:lnTo>
                    <a:lnTo>
                      <a:pt x="309" y="322"/>
                    </a:lnTo>
                    <a:lnTo>
                      <a:pt x="309" y="305"/>
                    </a:lnTo>
                    <a:lnTo>
                      <a:pt x="260" y="305"/>
                    </a:lnTo>
                    <a:lnTo>
                      <a:pt x="222" y="305"/>
                    </a:lnTo>
                    <a:lnTo>
                      <a:pt x="222" y="305"/>
                    </a:lnTo>
                    <a:lnTo>
                      <a:pt x="222" y="30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89" name="Freeform 553">
                <a:extLst>
                  <a:ext uri="{FF2B5EF4-FFF2-40B4-BE49-F238E27FC236}">
                    <a16:creationId xmlns:a16="http://schemas.microsoft.com/office/drawing/2014/main" id="{5F0CB94F-DA6A-453E-8C5B-E454B5CAC626}"/>
                  </a:ext>
                </a:extLst>
              </p:cNvPr>
              <p:cNvSpPr>
                <a:spLocks noEditPoints="1"/>
              </p:cNvSpPr>
              <p:nvPr/>
            </p:nvSpPr>
            <p:spPr bwMode="gray">
              <a:xfrm>
                <a:off x="5264187" y="6652253"/>
                <a:ext cx="100203" cy="105808"/>
              </a:xfrm>
              <a:custGeom>
                <a:avLst/>
                <a:gdLst>
                  <a:gd name="T0" fmla="*/ 165 w 215"/>
                  <a:gd name="T1" fmla="*/ 184 h 227"/>
                  <a:gd name="T2" fmla="*/ 139 w 215"/>
                  <a:gd name="T3" fmla="*/ 206 h 227"/>
                  <a:gd name="T4" fmla="*/ 127 w 215"/>
                  <a:gd name="T5" fmla="*/ 227 h 227"/>
                  <a:gd name="T6" fmla="*/ 97 w 215"/>
                  <a:gd name="T7" fmla="*/ 217 h 227"/>
                  <a:gd name="T8" fmla="*/ 52 w 215"/>
                  <a:gd name="T9" fmla="*/ 189 h 227"/>
                  <a:gd name="T10" fmla="*/ 59 w 215"/>
                  <a:gd name="T11" fmla="*/ 184 h 227"/>
                  <a:gd name="T12" fmla="*/ 75 w 215"/>
                  <a:gd name="T13" fmla="*/ 173 h 227"/>
                  <a:gd name="T14" fmla="*/ 59 w 215"/>
                  <a:gd name="T15" fmla="*/ 184 h 227"/>
                  <a:gd name="T16" fmla="*/ 21 w 215"/>
                  <a:gd name="T17" fmla="*/ 161 h 227"/>
                  <a:gd name="T18" fmla="*/ 30 w 215"/>
                  <a:gd name="T19" fmla="*/ 151 h 227"/>
                  <a:gd name="T20" fmla="*/ 21 w 215"/>
                  <a:gd name="T21" fmla="*/ 128 h 227"/>
                  <a:gd name="T22" fmla="*/ 16 w 215"/>
                  <a:gd name="T23" fmla="*/ 132 h 227"/>
                  <a:gd name="T24" fmla="*/ 0 w 215"/>
                  <a:gd name="T25" fmla="*/ 111 h 227"/>
                  <a:gd name="T26" fmla="*/ 16 w 215"/>
                  <a:gd name="T27" fmla="*/ 116 h 227"/>
                  <a:gd name="T28" fmla="*/ 16 w 215"/>
                  <a:gd name="T29" fmla="*/ 116 h 227"/>
                  <a:gd name="T30" fmla="*/ 30 w 215"/>
                  <a:gd name="T31" fmla="*/ 111 h 227"/>
                  <a:gd name="T32" fmla="*/ 5 w 215"/>
                  <a:gd name="T33" fmla="*/ 111 h 227"/>
                  <a:gd name="T34" fmla="*/ 5 w 215"/>
                  <a:gd name="T35" fmla="*/ 90 h 227"/>
                  <a:gd name="T36" fmla="*/ 16 w 215"/>
                  <a:gd name="T37" fmla="*/ 90 h 227"/>
                  <a:gd name="T38" fmla="*/ 0 w 215"/>
                  <a:gd name="T39" fmla="*/ 73 h 227"/>
                  <a:gd name="T40" fmla="*/ 16 w 215"/>
                  <a:gd name="T41" fmla="*/ 73 h 227"/>
                  <a:gd name="T42" fmla="*/ 21 w 215"/>
                  <a:gd name="T43" fmla="*/ 57 h 227"/>
                  <a:gd name="T44" fmla="*/ 42 w 215"/>
                  <a:gd name="T45" fmla="*/ 50 h 227"/>
                  <a:gd name="T46" fmla="*/ 59 w 215"/>
                  <a:gd name="T47" fmla="*/ 5 h 227"/>
                  <a:gd name="T48" fmla="*/ 75 w 215"/>
                  <a:gd name="T49" fmla="*/ 5 h 227"/>
                  <a:gd name="T50" fmla="*/ 85 w 215"/>
                  <a:gd name="T51" fmla="*/ 17 h 227"/>
                  <a:gd name="T52" fmla="*/ 97 w 215"/>
                  <a:gd name="T53" fmla="*/ 5 h 227"/>
                  <a:gd name="T54" fmla="*/ 97 w 215"/>
                  <a:gd name="T55" fmla="*/ 0 h 227"/>
                  <a:gd name="T56" fmla="*/ 144 w 215"/>
                  <a:gd name="T57" fmla="*/ 0 h 227"/>
                  <a:gd name="T58" fmla="*/ 182 w 215"/>
                  <a:gd name="T59" fmla="*/ 57 h 227"/>
                  <a:gd name="T60" fmla="*/ 177 w 215"/>
                  <a:gd name="T61" fmla="*/ 73 h 227"/>
                  <a:gd name="T62" fmla="*/ 193 w 215"/>
                  <a:gd name="T63" fmla="*/ 73 h 227"/>
                  <a:gd name="T64" fmla="*/ 193 w 215"/>
                  <a:gd name="T65" fmla="*/ 90 h 227"/>
                  <a:gd name="T66" fmla="*/ 198 w 215"/>
                  <a:gd name="T67" fmla="*/ 95 h 227"/>
                  <a:gd name="T68" fmla="*/ 182 w 215"/>
                  <a:gd name="T69" fmla="*/ 128 h 227"/>
                  <a:gd name="T70" fmla="*/ 215 w 215"/>
                  <a:gd name="T71" fmla="*/ 111 h 227"/>
                  <a:gd name="T72" fmla="*/ 203 w 215"/>
                  <a:gd name="T73" fmla="*/ 132 h 227"/>
                  <a:gd name="T74" fmla="*/ 193 w 215"/>
                  <a:gd name="T75" fmla="*/ 144 h 227"/>
                  <a:gd name="T76" fmla="*/ 193 w 215"/>
                  <a:gd name="T77" fmla="*/ 168 h 227"/>
                  <a:gd name="T78" fmla="*/ 165 w 215"/>
                  <a:gd name="T79" fmla="*/ 184 h 227"/>
                  <a:gd name="T80" fmla="*/ 165 w 215"/>
                  <a:gd name="T81" fmla="*/ 184 h 227"/>
                  <a:gd name="T82" fmla="*/ 165 w 215"/>
                  <a:gd name="T83" fmla="*/ 184 h 227"/>
                  <a:gd name="T84" fmla="*/ 30 w 215"/>
                  <a:gd name="T85" fmla="*/ 173 h 227"/>
                  <a:gd name="T86" fmla="*/ 52 w 215"/>
                  <a:gd name="T87" fmla="*/ 173 h 227"/>
                  <a:gd name="T88" fmla="*/ 52 w 215"/>
                  <a:gd name="T89" fmla="*/ 184 h 227"/>
                  <a:gd name="T90" fmla="*/ 52 w 215"/>
                  <a:gd name="T91" fmla="*/ 189 h 227"/>
                  <a:gd name="T92" fmla="*/ 21 w 215"/>
                  <a:gd name="T93" fmla="*/ 184 h 227"/>
                  <a:gd name="T94" fmla="*/ 30 w 215"/>
                  <a:gd name="T95" fmla="*/ 173 h 227"/>
                  <a:gd name="T96" fmla="*/ 30 w 215"/>
                  <a:gd name="T97" fmla="*/ 173 h 227"/>
                  <a:gd name="T98" fmla="*/ 30 w 215"/>
                  <a:gd name="T99" fmla="*/ 17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5" h="227">
                    <a:moveTo>
                      <a:pt x="165" y="184"/>
                    </a:moveTo>
                    <a:lnTo>
                      <a:pt x="139" y="206"/>
                    </a:lnTo>
                    <a:lnTo>
                      <a:pt x="127" y="227"/>
                    </a:lnTo>
                    <a:lnTo>
                      <a:pt x="97" y="217"/>
                    </a:lnTo>
                    <a:lnTo>
                      <a:pt x="52" y="189"/>
                    </a:lnTo>
                    <a:lnTo>
                      <a:pt x="59" y="184"/>
                    </a:lnTo>
                    <a:lnTo>
                      <a:pt x="75" y="173"/>
                    </a:lnTo>
                    <a:lnTo>
                      <a:pt x="59" y="184"/>
                    </a:lnTo>
                    <a:lnTo>
                      <a:pt x="21" y="161"/>
                    </a:lnTo>
                    <a:lnTo>
                      <a:pt x="30" y="151"/>
                    </a:lnTo>
                    <a:lnTo>
                      <a:pt x="21" y="128"/>
                    </a:lnTo>
                    <a:lnTo>
                      <a:pt x="16" y="132"/>
                    </a:lnTo>
                    <a:lnTo>
                      <a:pt x="0" y="111"/>
                    </a:lnTo>
                    <a:lnTo>
                      <a:pt x="16" y="116"/>
                    </a:lnTo>
                    <a:lnTo>
                      <a:pt x="16" y="116"/>
                    </a:lnTo>
                    <a:lnTo>
                      <a:pt x="30" y="111"/>
                    </a:lnTo>
                    <a:lnTo>
                      <a:pt x="5" y="111"/>
                    </a:lnTo>
                    <a:lnTo>
                      <a:pt x="5" y="90"/>
                    </a:lnTo>
                    <a:lnTo>
                      <a:pt x="16" y="90"/>
                    </a:lnTo>
                    <a:lnTo>
                      <a:pt x="0" y="73"/>
                    </a:lnTo>
                    <a:lnTo>
                      <a:pt x="16" y="73"/>
                    </a:lnTo>
                    <a:lnTo>
                      <a:pt x="21" y="57"/>
                    </a:lnTo>
                    <a:lnTo>
                      <a:pt x="42" y="50"/>
                    </a:lnTo>
                    <a:lnTo>
                      <a:pt x="59" y="5"/>
                    </a:lnTo>
                    <a:lnTo>
                      <a:pt x="75" y="5"/>
                    </a:lnTo>
                    <a:lnTo>
                      <a:pt x="85" y="17"/>
                    </a:lnTo>
                    <a:lnTo>
                      <a:pt x="97" y="5"/>
                    </a:lnTo>
                    <a:lnTo>
                      <a:pt x="97" y="0"/>
                    </a:lnTo>
                    <a:lnTo>
                      <a:pt x="144" y="0"/>
                    </a:lnTo>
                    <a:lnTo>
                      <a:pt x="182" y="57"/>
                    </a:lnTo>
                    <a:lnTo>
                      <a:pt x="177" y="73"/>
                    </a:lnTo>
                    <a:lnTo>
                      <a:pt x="193" y="73"/>
                    </a:lnTo>
                    <a:lnTo>
                      <a:pt x="193" y="90"/>
                    </a:lnTo>
                    <a:lnTo>
                      <a:pt x="198" y="95"/>
                    </a:lnTo>
                    <a:lnTo>
                      <a:pt x="182" y="128"/>
                    </a:lnTo>
                    <a:lnTo>
                      <a:pt x="215" y="111"/>
                    </a:lnTo>
                    <a:lnTo>
                      <a:pt x="203" y="132"/>
                    </a:lnTo>
                    <a:lnTo>
                      <a:pt x="193" y="144"/>
                    </a:lnTo>
                    <a:lnTo>
                      <a:pt x="193" y="168"/>
                    </a:lnTo>
                    <a:lnTo>
                      <a:pt x="165" y="184"/>
                    </a:lnTo>
                    <a:lnTo>
                      <a:pt x="165" y="184"/>
                    </a:lnTo>
                    <a:lnTo>
                      <a:pt x="165" y="184"/>
                    </a:lnTo>
                    <a:close/>
                    <a:moveTo>
                      <a:pt x="30" y="173"/>
                    </a:moveTo>
                    <a:lnTo>
                      <a:pt x="52" y="173"/>
                    </a:lnTo>
                    <a:lnTo>
                      <a:pt x="52" y="184"/>
                    </a:lnTo>
                    <a:lnTo>
                      <a:pt x="52" y="189"/>
                    </a:lnTo>
                    <a:lnTo>
                      <a:pt x="21" y="184"/>
                    </a:lnTo>
                    <a:lnTo>
                      <a:pt x="30" y="173"/>
                    </a:lnTo>
                    <a:lnTo>
                      <a:pt x="30" y="173"/>
                    </a:lnTo>
                    <a:lnTo>
                      <a:pt x="30" y="17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90" name="Freeform 556">
                <a:extLst>
                  <a:ext uri="{FF2B5EF4-FFF2-40B4-BE49-F238E27FC236}">
                    <a16:creationId xmlns:a16="http://schemas.microsoft.com/office/drawing/2014/main" id="{0F027A69-59CF-46F0-8B98-53E9B731FE74}"/>
                  </a:ext>
                </a:extLst>
              </p:cNvPr>
              <p:cNvSpPr>
                <a:spLocks/>
              </p:cNvSpPr>
              <p:nvPr/>
            </p:nvSpPr>
            <p:spPr bwMode="gray">
              <a:xfrm>
                <a:off x="7039888" y="6584198"/>
                <a:ext cx="337896" cy="462386"/>
              </a:xfrm>
              <a:custGeom>
                <a:avLst/>
                <a:gdLst>
                  <a:gd name="T0" fmla="*/ 130 w 725"/>
                  <a:gd name="T1" fmla="*/ 555 h 992"/>
                  <a:gd name="T2" fmla="*/ 184 w 725"/>
                  <a:gd name="T3" fmla="*/ 515 h 992"/>
                  <a:gd name="T4" fmla="*/ 276 w 725"/>
                  <a:gd name="T5" fmla="*/ 515 h 992"/>
                  <a:gd name="T6" fmla="*/ 416 w 725"/>
                  <a:gd name="T7" fmla="*/ 295 h 992"/>
                  <a:gd name="T8" fmla="*/ 184 w 725"/>
                  <a:gd name="T9" fmla="*/ 193 h 992"/>
                  <a:gd name="T10" fmla="*/ 151 w 725"/>
                  <a:gd name="T11" fmla="*/ 151 h 992"/>
                  <a:gd name="T12" fmla="*/ 130 w 725"/>
                  <a:gd name="T13" fmla="*/ 127 h 992"/>
                  <a:gd name="T14" fmla="*/ 130 w 725"/>
                  <a:gd name="T15" fmla="*/ 73 h 992"/>
                  <a:gd name="T16" fmla="*/ 168 w 725"/>
                  <a:gd name="T17" fmla="*/ 49 h 992"/>
                  <a:gd name="T18" fmla="*/ 234 w 725"/>
                  <a:gd name="T19" fmla="*/ 111 h 992"/>
                  <a:gd name="T20" fmla="*/ 331 w 725"/>
                  <a:gd name="T21" fmla="*/ 85 h 992"/>
                  <a:gd name="T22" fmla="*/ 449 w 725"/>
                  <a:gd name="T23" fmla="*/ 66 h 992"/>
                  <a:gd name="T24" fmla="*/ 503 w 725"/>
                  <a:gd name="T25" fmla="*/ 66 h 992"/>
                  <a:gd name="T26" fmla="*/ 557 w 725"/>
                  <a:gd name="T27" fmla="*/ 56 h 992"/>
                  <a:gd name="T28" fmla="*/ 600 w 725"/>
                  <a:gd name="T29" fmla="*/ 40 h 992"/>
                  <a:gd name="T30" fmla="*/ 654 w 725"/>
                  <a:gd name="T31" fmla="*/ 28 h 992"/>
                  <a:gd name="T32" fmla="*/ 687 w 725"/>
                  <a:gd name="T33" fmla="*/ 0 h 992"/>
                  <a:gd name="T34" fmla="*/ 704 w 725"/>
                  <a:gd name="T35" fmla="*/ 49 h 992"/>
                  <a:gd name="T36" fmla="*/ 709 w 725"/>
                  <a:gd name="T37" fmla="*/ 66 h 992"/>
                  <a:gd name="T38" fmla="*/ 704 w 725"/>
                  <a:gd name="T39" fmla="*/ 111 h 992"/>
                  <a:gd name="T40" fmla="*/ 709 w 725"/>
                  <a:gd name="T41" fmla="*/ 106 h 992"/>
                  <a:gd name="T42" fmla="*/ 725 w 725"/>
                  <a:gd name="T43" fmla="*/ 122 h 992"/>
                  <a:gd name="T44" fmla="*/ 692 w 725"/>
                  <a:gd name="T45" fmla="*/ 122 h 992"/>
                  <a:gd name="T46" fmla="*/ 654 w 725"/>
                  <a:gd name="T47" fmla="*/ 233 h 992"/>
                  <a:gd name="T48" fmla="*/ 616 w 725"/>
                  <a:gd name="T49" fmla="*/ 295 h 992"/>
                  <a:gd name="T50" fmla="*/ 569 w 725"/>
                  <a:gd name="T51" fmla="*/ 382 h 992"/>
                  <a:gd name="T52" fmla="*/ 487 w 725"/>
                  <a:gd name="T53" fmla="*/ 548 h 992"/>
                  <a:gd name="T54" fmla="*/ 243 w 725"/>
                  <a:gd name="T55" fmla="*/ 753 h 992"/>
                  <a:gd name="T56" fmla="*/ 71 w 725"/>
                  <a:gd name="T57" fmla="*/ 937 h 992"/>
                  <a:gd name="T58" fmla="*/ 0 w 725"/>
                  <a:gd name="T59" fmla="*/ 937 h 992"/>
                  <a:gd name="T60" fmla="*/ 21 w 725"/>
                  <a:gd name="T61" fmla="*/ 642 h 992"/>
                  <a:gd name="T62" fmla="*/ 71 w 725"/>
                  <a:gd name="T63" fmla="*/ 571 h 992"/>
                  <a:gd name="T64" fmla="*/ 71 w 725"/>
                  <a:gd name="T65" fmla="*/ 571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5" h="992">
                    <a:moveTo>
                      <a:pt x="71" y="571"/>
                    </a:moveTo>
                    <a:lnTo>
                      <a:pt x="130" y="555"/>
                    </a:lnTo>
                    <a:lnTo>
                      <a:pt x="146" y="531"/>
                    </a:lnTo>
                    <a:lnTo>
                      <a:pt x="184" y="515"/>
                    </a:lnTo>
                    <a:lnTo>
                      <a:pt x="205" y="510"/>
                    </a:lnTo>
                    <a:lnTo>
                      <a:pt x="276" y="515"/>
                    </a:lnTo>
                    <a:lnTo>
                      <a:pt x="487" y="295"/>
                    </a:lnTo>
                    <a:lnTo>
                      <a:pt x="416" y="295"/>
                    </a:lnTo>
                    <a:lnTo>
                      <a:pt x="205" y="222"/>
                    </a:lnTo>
                    <a:lnTo>
                      <a:pt x="184" y="193"/>
                    </a:lnTo>
                    <a:lnTo>
                      <a:pt x="168" y="193"/>
                    </a:lnTo>
                    <a:lnTo>
                      <a:pt x="151" y="151"/>
                    </a:lnTo>
                    <a:lnTo>
                      <a:pt x="146" y="151"/>
                    </a:lnTo>
                    <a:lnTo>
                      <a:pt x="130" y="127"/>
                    </a:lnTo>
                    <a:lnTo>
                      <a:pt x="113" y="106"/>
                    </a:lnTo>
                    <a:lnTo>
                      <a:pt x="130" y="73"/>
                    </a:lnTo>
                    <a:lnTo>
                      <a:pt x="151" y="40"/>
                    </a:lnTo>
                    <a:lnTo>
                      <a:pt x="168" y="49"/>
                    </a:lnTo>
                    <a:lnTo>
                      <a:pt x="189" y="89"/>
                    </a:lnTo>
                    <a:lnTo>
                      <a:pt x="234" y="111"/>
                    </a:lnTo>
                    <a:lnTo>
                      <a:pt x="272" y="122"/>
                    </a:lnTo>
                    <a:lnTo>
                      <a:pt x="331" y="85"/>
                    </a:lnTo>
                    <a:lnTo>
                      <a:pt x="378" y="94"/>
                    </a:lnTo>
                    <a:lnTo>
                      <a:pt x="449" y="66"/>
                    </a:lnTo>
                    <a:lnTo>
                      <a:pt x="470" y="66"/>
                    </a:lnTo>
                    <a:lnTo>
                      <a:pt x="503" y="66"/>
                    </a:lnTo>
                    <a:lnTo>
                      <a:pt x="524" y="49"/>
                    </a:lnTo>
                    <a:lnTo>
                      <a:pt x="557" y="56"/>
                    </a:lnTo>
                    <a:lnTo>
                      <a:pt x="583" y="49"/>
                    </a:lnTo>
                    <a:lnTo>
                      <a:pt x="600" y="40"/>
                    </a:lnTo>
                    <a:lnTo>
                      <a:pt x="633" y="40"/>
                    </a:lnTo>
                    <a:lnTo>
                      <a:pt x="654" y="28"/>
                    </a:lnTo>
                    <a:lnTo>
                      <a:pt x="671" y="11"/>
                    </a:lnTo>
                    <a:lnTo>
                      <a:pt x="687" y="0"/>
                    </a:lnTo>
                    <a:lnTo>
                      <a:pt x="720" y="11"/>
                    </a:lnTo>
                    <a:lnTo>
                      <a:pt x="704" y="49"/>
                    </a:lnTo>
                    <a:lnTo>
                      <a:pt x="704" y="56"/>
                    </a:lnTo>
                    <a:lnTo>
                      <a:pt x="709" y="66"/>
                    </a:lnTo>
                    <a:lnTo>
                      <a:pt x="709" y="106"/>
                    </a:lnTo>
                    <a:lnTo>
                      <a:pt x="704" y="111"/>
                    </a:lnTo>
                    <a:lnTo>
                      <a:pt x="709" y="111"/>
                    </a:lnTo>
                    <a:lnTo>
                      <a:pt x="709" y="106"/>
                    </a:lnTo>
                    <a:lnTo>
                      <a:pt x="725" y="111"/>
                    </a:lnTo>
                    <a:lnTo>
                      <a:pt x="725" y="122"/>
                    </a:lnTo>
                    <a:lnTo>
                      <a:pt x="720" y="111"/>
                    </a:lnTo>
                    <a:lnTo>
                      <a:pt x="692" y="122"/>
                    </a:lnTo>
                    <a:lnTo>
                      <a:pt x="687" y="193"/>
                    </a:lnTo>
                    <a:lnTo>
                      <a:pt x="654" y="233"/>
                    </a:lnTo>
                    <a:lnTo>
                      <a:pt x="638" y="278"/>
                    </a:lnTo>
                    <a:lnTo>
                      <a:pt x="616" y="295"/>
                    </a:lnTo>
                    <a:lnTo>
                      <a:pt x="612" y="328"/>
                    </a:lnTo>
                    <a:lnTo>
                      <a:pt x="569" y="382"/>
                    </a:lnTo>
                    <a:lnTo>
                      <a:pt x="562" y="427"/>
                    </a:lnTo>
                    <a:lnTo>
                      <a:pt x="487" y="548"/>
                    </a:lnTo>
                    <a:lnTo>
                      <a:pt x="347" y="699"/>
                    </a:lnTo>
                    <a:lnTo>
                      <a:pt x="243" y="753"/>
                    </a:lnTo>
                    <a:lnTo>
                      <a:pt x="168" y="826"/>
                    </a:lnTo>
                    <a:lnTo>
                      <a:pt x="71" y="937"/>
                    </a:lnTo>
                    <a:lnTo>
                      <a:pt x="38" y="992"/>
                    </a:lnTo>
                    <a:lnTo>
                      <a:pt x="0" y="937"/>
                    </a:lnTo>
                    <a:lnTo>
                      <a:pt x="0" y="666"/>
                    </a:lnTo>
                    <a:lnTo>
                      <a:pt x="21" y="642"/>
                    </a:lnTo>
                    <a:lnTo>
                      <a:pt x="59" y="583"/>
                    </a:lnTo>
                    <a:lnTo>
                      <a:pt x="71" y="571"/>
                    </a:lnTo>
                    <a:lnTo>
                      <a:pt x="71" y="571"/>
                    </a:lnTo>
                    <a:lnTo>
                      <a:pt x="71" y="57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91" name="Freeform 563">
                <a:extLst>
                  <a:ext uri="{FF2B5EF4-FFF2-40B4-BE49-F238E27FC236}">
                    <a16:creationId xmlns:a16="http://schemas.microsoft.com/office/drawing/2014/main" id="{904BBB11-8888-4E8B-8026-3F6179549DC4}"/>
                  </a:ext>
                </a:extLst>
              </p:cNvPr>
              <p:cNvSpPr>
                <a:spLocks/>
              </p:cNvSpPr>
              <p:nvPr/>
            </p:nvSpPr>
            <p:spPr bwMode="gray">
              <a:xfrm>
                <a:off x="6863716" y="5676673"/>
                <a:ext cx="219981" cy="189710"/>
              </a:xfrm>
              <a:custGeom>
                <a:avLst/>
                <a:gdLst>
                  <a:gd name="T0" fmla="*/ 0 w 472"/>
                  <a:gd name="T1" fmla="*/ 333 h 407"/>
                  <a:gd name="T2" fmla="*/ 0 w 472"/>
                  <a:gd name="T3" fmla="*/ 333 h 407"/>
                  <a:gd name="T4" fmla="*/ 28 w 472"/>
                  <a:gd name="T5" fmla="*/ 300 h 407"/>
                  <a:gd name="T6" fmla="*/ 21 w 472"/>
                  <a:gd name="T7" fmla="*/ 300 h 407"/>
                  <a:gd name="T8" fmla="*/ 28 w 472"/>
                  <a:gd name="T9" fmla="*/ 284 h 407"/>
                  <a:gd name="T10" fmla="*/ 54 w 472"/>
                  <a:gd name="T11" fmla="*/ 284 h 407"/>
                  <a:gd name="T12" fmla="*/ 43 w 472"/>
                  <a:gd name="T13" fmla="*/ 279 h 407"/>
                  <a:gd name="T14" fmla="*/ 71 w 472"/>
                  <a:gd name="T15" fmla="*/ 251 h 407"/>
                  <a:gd name="T16" fmla="*/ 59 w 472"/>
                  <a:gd name="T17" fmla="*/ 239 h 407"/>
                  <a:gd name="T18" fmla="*/ 43 w 472"/>
                  <a:gd name="T19" fmla="*/ 229 h 407"/>
                  <a:gd name="T20" fmla="*/ 54 w 472"/>
                  <a:gd name="T21" fmla="*/ 222 h 407"/>
                  <a:gd name="T22" fmla="*/ 21 w 472"/>
                  <a:gd name="T23" fmla="*/ 222 h 407"/>
                  <a:gd name="T24" fmla="*/ 17 w 472"/>
                  <a:gd name="T25" fmla="*/ 194 h 407"/>
                  <a:gd name="T26" fmla="*/ 21 w 472"/>
                  <a:gd name="T27" fmla="*/ 173 h 407"/>
                  <a:gd name="T28" fmla="*/ 21 w 472"/>
                  <a:gd name="T29" fmla="*/ 156 h 407"/>
                  <a:gd name="T30" fmla="*/ 5 w 472"/>
                  <a:gd name="T31" fmla="*/ 140 h 407"/>
                  <a:gd name="T32" fmla="*/ 21 w 472"/>
                  <a:gd name="T33" fmla="*/ 111 h 407"/>
                  <a:gd name="T34" fmla="*/ 38 w 472"/>
                  <a:gd name="T35" fmla="*/ 128 h 407"/>
                  <a:gd name="T36" fmla="*/ 38 w 472"/>
                  <a:gd name="T37" fmla="*/ 111 h 407"/>
                  <a:gd name="T38" fmla="*/ 54 w 472"/>
                  <a:gd name="T39" fmla="*/ 111 h 407"/>
                  <a:gd name="T40" fmla="*/ 54 w 472"/>
                  <a:gd name="T41" fmla="*/ 83 h 407"/>
                  <a:gd name="T42" fmla="*/ 76 w 472"/>
                  <a:gd name="T43" fmla="*/ 83 h 407"/>
                  <a:gd name="T44" fmla="*/ 59 w 472"/>
                  <a:gd name="T45" fmla="*/ 71 h 407"/>
                  <a:gd name="T46" fmla="*/ 71 w 472"/>
                  <a:gd name="T47" fmla="*/ 38 h 407"/>
                  <a:gd name="T48" fmla="*/ 109 w 472"/>
                  <a:gd name="T49" fmla="*/ 55 h 407"/>
                  <a:gd name="T50" fmla="*/ 125 w 472"/>
                  <a:gd name="T51" fmla="*/ 55 h 407"/>
                  <a:gd name="T52" fmla="*/ 184 w 472"/>
                  <a:gd name="T53" fmla="*/ 26 h 407"/>
                  <a:gd name="T54" fmla="*/ 201 w 472"/>
                  <a:gd name="T55" fmla="*/ 38 h 407"/>
                  <a:gd name="T56" fmla="*/ 217 w 472"/>
                  <a:gd name="T57" fmla="*/ 43 h 407"/>
                  <a:gd name="T58" fmla="*/ 255 w 472"/>
                  <a:gd name="T59" fmla="*/ 55 h 407"/>
                  <a:gd name="T60" fmla="*/ 293 w 472"/>
                  <a:gd name="T61" fmla="*/ 43 h 407"/>
                  <a:gd name="T62" fmla="*/ 364 w 472"/>
                  <a:gd name="T63" fmla="*/ 17 h 407"/>
                  <a:gd name="T64" fmla="*/ 418 w 472"/>
                  <a:gd name="T65" fmla="*/ 17 h 407"/>
                  <a:gd name="T66" fmla="*/ 451 w 472"/>
                  <a:gd name="T67" fmla="*/ 5 h 407"/>
                  <a:gd name="T68" fmla="*/ 456 w 472"/>
                  <a:gd name="T69" fmla="*/ 0 h 407"/>
                  <a:gd name="T70" fmla="*/ 472 w 472"/>
                  <a:gd name="T71" fmla="*/ 5 h 407"/>
                  <a:gd name="T72" fmla="*/ 472 w 472"/>
                  <a:gd name="T73" fmla="*/ 17 h 407"/>
                  <a:gd name="T74" fmla="*/ 435 w 472"/>
                  <a:gd name="T75" fmla="*/ 55 h 407"/>
                  <a:gd name="T76" fmla="*/ 402 w 472"/>
                  <a:gd name="T77" fmla="*/ 62 h 407"/>
                  <a:gd name="T78" fmla="*/ 397 w 472"/>
                  <a:gd name="T79" fmla="*/ 78 h 407"/>
                  <a:gd name="T80" fmla="*/ 397 w 472"/>
                  <a:gd name="T81" fmla="*/ 99 h 407"/>
                  <a:gd name="T82" fmla="*/ 402 w 472"/>
                  <a:gd name="T83" fmla="*/ 116 h 407"/>
                  <a:gd name="T84" fmla="*/ 402 w 472"/>
                  <a:gd name="T85" fmla="*/ 140 h 407"/>
                  <a:gd name="T86" fmla="*/ 397 w 472"/>
                  <a:gd name="T87" fmla="*/ 173 h 407"/>
                  <a:gd name="T88" fmla="*/ 397 w 472"/>
                  <a:gd name="T89" fmla="*/ 206 h 407"/>
                  <a:gd name="T90" fmla="*/ 380 w 472"/>
                  <a:gd name="T91" fmla="*/ 239 h 407"/>
                  <a:gd name="T92" fmla="*/ 222 w 472"/>
                  <a:gd name="T93" fmla="*/ 324 h 407"/>
                  <a:gd name="T94" fmla="*/ 83 w 472"/>
                  <a:gd name="T95" fmla="*/ 407 h 407"/>
                  <a:gd name="T96" fmla="*/ 54 w 472"/>
                  <a:gd name="T97" fmla="*/ 407 h 407"/>
                  <a:gd name="T98" fmla="*/ 28 w 472"/>
                  <a:gd name="T99" fmla="*/ 390 h 407"/>
                  <a:gd name="T100" fmla="*/ 21 w 472"/>
                  <a:gd name="T101" fmla="*/ 373 h 407"/>
                  <a:gd name="T102" fmla="*/ 0 w 472"/>
                  <a:gd name="T103" fmla="*/ 378 h 407"/>
                  <a:gd name="T104" fmla="*/ 0 w 472"/>
                  <a:gd name="T105" fmla="*/ 333 h 407"/>
                  <a:gd name="T106" fmla="*/ 0 w 472"/>
                  <a:gd name="T107" fmla="*/ 333 h 407"/>
                  <a:gd name="T108" fmla="*/ 0 w 472"/>
                  <a:gd name="T109" fmla="*/ 333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2" h="407">
                    <a:moveTo>
                      <a:pt x="0" y="333"/>
                    </a:moveTo>
                    <a:lnTo>
                      <a:pt x="0" y="333"/>
                    </a:lnTo>
                    <a:lnTo>
                      <a:pt x="28" y="300"/>
                    </a:lnTo>
                    <a:lnTo>
                      <a:pt x="21" y="300"/>
                    </a:lnTo>
                    <a:lnTo>
                      <a:pt x="28" y="284"/>
                    </a:lnTo>
                    <a:lnTo>
                      <a:pt x="54" y="284"/>
                    </a:lnTo>
                    <a:lnTo>
                      <a:pt x="43" y="279"/>
                    </a:lnTo>
                    <a:lnTo>
                      <a:pt x="71" y="251"/>
                    </a:lnTo>
                    <a:lnTo>
                      <a:pt x="59" y="239"/>
                    </a:lnTo>
                    <a:lnTo>
                      <a:pt x="43" y="229"/>
                    </a:lnTo>
                    <a:lnTo>
                      <a:pt x="54" y="222"/>
                    </a:lnTo>
                    <a:lnTo>
                      <a:pt x="21" y="222"/>
                    </a:lnTo>
                    <a:lnTo>
                      <a:pt x="17" y="194"/>
                    </a:lnTo>
                    <a:lnTo>
                      <a:pt x="21" y="173"/>
                    </a:lnTo>
                    <a:lnTo>
                      <a:pt x="21" y="156"/>
                    </a:lnTo>
                    <a:lnTo>
                      <a:pt x="5" y="140"/>
                    </a:lnTo>
                    <a:lnTo>
                      <a:pt x="21" y="111"/>
                    </a:lnTo>
                    <a:lnTo>
                      <a:pt x="38" y="128"/>
                    </a:lnTo>
                    <a:lnTo>
                      <a:pt x="38" y="111"/>
                    </a:lnTo>
                    <a:lnTo>
                      <a:pt x="54" y="111"/>
                    </a:lnTo>
                    <a:lnTo>
                      <a:pt x="54" y="83"/>
                    </a:lnTo>
                    <a:lnTo>
                      <a:pt x="76" y="83"/>
                    </a:lnTo>
                    <a:lnTo>
                      <a:pt x="59" y="71"/>
                    </a:lnTo>
                    <a:lnTo>
                      <a:pt x="71" y="38"/>
                    </a:lnTo>
                    <a:lnTo>
                      <a:pt x="109" y="55"/>
                    </a:lnTo>
                    <a:lnTo>
                      <a:pt x="125" y="55"/>
                    </a:lnTo>
                    <a:lnTo>
                      <a:pt x="184" y="26"/>
                    </a:lnTo>
                    <a:lnTo>
                      <a:pt x="201" y="38"/>
                    </a:lnTo>
                    <a:lnTo>
                      <a:pt x="217" y="43"/>
                    </a:lnTo>
                    <a:lnTo>
                      <a:pt x="255" y="55"/>
                    </a:lnTo>
                    <a:lnTo>
                      <a:pt x="293" y="43"/>
                    </a:lnTo>
                    <a:lnTo>
                      <a:pt x="364" y="17"/>
                    </a:lnTo>
                    <a:lnTo>
                      <a:pt x="418" y="17"/>
                    </a:lnTo>
                    <a:lnTo>
                      <a:pt x="451" y="5"/>
                    </a:lnTo>
                    <a:lnTo>
                      <a:pt x="456" y="0"/>
                    </a:lnTo>
                    <a:lnTo>
                      <a:pt x="472" y="5"/>
                    </a:lnTo>
                    <a:lnTo>
                      <a:pt x="472" y="17"/>
                    </a:lnTo>
                    <a:lnTo>
                      <a:pt x="435" y="55"/>
                    </a:lnTo>
                    <a:lnTo>
                      <a:pt x="402" y="62"/>
                    </a:lnTo>
                    <a:lnTo>
                      <a:pt x="397" y="78"/>
                    </a:lnTo>
                    <a:lnTo>
                      <a:pt x="397" y="99"/>
                    </a:lnTo>
                    <a:lnTo>
                      <a:pt x="402" y="116"/>
                    </a:lnTo>
                    <a:lnTo>
                      <a:pt x="402" y="140"/>
                    </a:lnTo>
                    <a:lnTo>
                      <a:pt x="397" y="173"/>
                    </a:lnTo>
                    <a:lnTo>
                      <a:pt x="397" y="206"/>
                    </a:lnTo>
                    <a:lnTo>
                      <a:pt x="380" y="239"/>
                    </a:lnTo>
                    <a:lnTo>
                      <a:pt x="222" y="324"/>
                    </a:lnTo>
                    <a:lnTo>
                      <a:pt x="83" y="407"/>
                    </a:lnTo>
                    <a:lnTo>
                      <a:pt x="54" y="407"/>
                    </a:lnTo>
                    <a:lnTo>
                      <a:pt x="28" y="390"/>
                    </a:lnTo>
                    <a:lnTo>
                      <a:pt x="21" y="373"/>
                    </a:lnTo>
                    <a:lnTo>
                      <a:pt x="0" y="378"/>
                    </a:lnTo>
                    <a:lnTo>
                      <a:pt x="0" y="333"/>
                    </a:lnTo>
                    <a:lnTo>
                      <a:pt x="0" y="333"/>
                    </a:lnTo>
                    <a:lnTo>
                      <a:pt x="0" y="33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92" name="Freeform 565">
                <a:extLst>
                  <a:ext uri="{FF2B5EF4-FFF2-40B4-BE49-F238E27FC236}">
                    <a16:creationId xmlns:a16="http://schemas.microsoft.com/office/drawing/2014/main" id="{97B2B738-9645-41BA-94AE-E311A8C44B00}"/>
                  </a:ext>
                </a:extLst>
              </p:cNvPr>
              <p:cNvSpPr>
                <a:spLocks noEditPoints="1"/>
              </p:cNvSpPr>
              <p:nvPr/>
            </p:nvSpPr>
            <p:spPr bwMode="gray">
              <a:xfrm>
                <a:off x="7385708" y="6091981"/>
                <a:ext cx="151937" cy="122123"/>
              </a:xfrm>
              <a:custGeom>
                <a:avLst/>
                <a:gdLst>
                  <a:gd name="T0" fmla="*/ 326 w 326"/>
                  <a:gd name="T1" fmla="*/ 97 h 262"/>
                  <a:gd name="T2" fmla="*/ 312 w 326"/>
                  <a:gd name="T3" fmla="*/ 106 h 262"/>
                  <a:gd name="T4" fmla="*/ 304 w 326"/>
                  <a:gd name="T5" fmla="*/ 97 h 262"/>
                  <a:gd name="T6" fmla="*/ 312 w 326"/>
                  <a:gd name="T7" fmla="*/ 97 h 262"/>
                  <a:gd name="T8" fmla="*/ 304 w 326"/>
                  <a:gd name="T9" fmla="*/ 90 h 262"/>
                  <a:gd name="T10" fmla="*/ 288 w 326"/>
                  <a:gd name="T11" fmla="*/ 97 h 262"/>
                  <a:gd name="T12" fmla="*/ 288 w 326"/>
                  <a:gd name="T13" fmla="*/ 146 h 262"/>
                  <a:gd name="T14" fmla="*/ 304 w 326"/>
                  <a:gd name="T15" fmla="*/ 146 h 262"/>
                  <a:gd name="T16" fmla="*/ 304 w 326"/>
                  <a:gd name="T17" fmla="*/ 151 h 262"/>
                  <a:gd name="T18" fmla="*/ 274 w 326"/>
                  <a:gd name="T19" fmla="*/ 163 h 262"/>
                  <a:gd name="T20" fmla="*/ 274 w 326"/>
                  <a:gd name="T21" fmla="*/ 179 h 262"/>
                  <a:gd name="T22" fmla="*/ 252 w 326"/>
                  <a:gd name="T23" fmla="*/ 234 h 262"/>
                  <a:gd name="T24" fmla="*/ 252 w 326"/>
                  <a:gd name="T25" fmla="*/ 262 h 262"/>
                  <a:gd name="T26" fmla="*/ 245 w 326"/>
                  <a:gd name="T27" fmla="*/ 262 h 262"/>
                  <a:gd name="T28" fmla="*/ 71 w 326"/>
                  <a:gd name="T29" fmla="*/ 241 h 262"/>
                  <a:gd name="T30" fmla="*/ 0 w 326"/>
                  <a:gd name="T31" fmla="*/ 151 h 262"/>
                  <a:gd name="T32" fmla="*/ 0 w 326"/>
                  <a:gd name="T33" fmla="*/ 146 h 262"/>
                  <a:gd name="T34" fmla="*/ 7 w 326"/>
                  <a:gd name="T35" fmla="*/ 146 h 262"/>
                  <a:gd name="T36" fmla="*/ 16 w 326"/>
                  <a:gd name="T37" fmla="*/ 163 h 262"/>
                  <a:gd name="T38" fmla="*/ 33 w 326"/>
                  <a:gd name="T39" fmla="*/ 167 h 262"/>
                  <a:gd name="T40" fmla="*/ 54 w 326"/>
                  <a:gd name="T41" fmla="*/ 163 h 262"/>
                  <a:gd name="T42" fmla="*/ 71 w 326"/>
                  <a:gd name="T43" fmla="*/ 146 h 262"/>
                  <a:gd name="T44" fmla="*/ 139 w 326"/>
                  <a:gd name="T45" fmla="*/ 163 h 262"/>
                  <a:gd name="T46" fmla="*/ 177 w 326"/>
                  <a:gd name="T47" fmla="*/ 151 h 262"/>
                  <a:gd name="T48" fmla="*/ 198 w 326"/>
                  <a:gd name="T49" fmla="*/ 146 h 262"/>
                  <a:gd name="T50" fmla="*/ 198 w 326"/>
                  <a:gd name="T51" fmla="*/ 130 h 262"/>
                  <a:gd name="T52" fmla="*/ 203 w 326"/>
                  <a:gd name="T53" fmla="*/ 130 h 262"/>
                  <a:gd name="T54" fmla="*/ 215 w 326"/>
                  <a:gd name="T55" fmla="*/ 106 h 262"/>
                  <a:gd name="T56" fmla="*/ 245 w 326"/>
                  <a:gd name="T57" fmla="*/ 78 h 262"/>
                  <a:gd name="T58" fmla="*/ 274 w 326"/>
                  <a:gd name="T59" fmla="*/ 40 h 262"/>
                  <a:gd name="T60" fmla="*/ 283 w 326"/>
                  <a:gd name="T61" fmla="*/ 40 h 262"/>
                  <a:gd name="T62" fmla="*/ 300 w 326"/>
                  <a:gd name="T63" fmla="*/ 35 h 262"/>
                  <a:gd name="T64" fmla="*/ 312 w 326"/>
                  <a:gd name="T65" fmla="*/ 0 h 262"/>
                  <a:gd name="T66" fmla="*/ 321 w 326"/>
                  <a:gd name="T67" fmla="*/ 12 h 262"/>
                  <a:gd name="T68" fmla="*/ 312 w 326"/>
                  <a:gd name="T69" fmla="*/ 35 h 262"/>
                  <a:gd name="T70" fmla="*/ 326 w 326"/>
                  <a:gd name="T71" fmla="*/ 35 h 262"/>
                  <a:gd name="T72" fmla="*/ 326 w 326"/>
                  <a:gd name="T73" fmla="*/ 40 h 262"/>
                  <a:gd name="T74" fmla="*/ 326 w 326"/>
                  <a:gd name="T75" fmla="*/ 90 h 262"/>
                  <a:gd name="T76" fmla="*/ 326 w 326"/>
                  <a:gd name="T77" fmla="*/ 97 h 262"/>
                  <a:gd name="T78" fmla="*/ 326 w 326"/>
                  <a:gd name="T79" fmla="*/ 97 h 262"/>
                  <a:gd name="T80" fmla="*/ 326 w 326"/>
                  <a:gd name="T81" fmla="*/ 97 h 262"/>
                  <a:gd name="T82" fmla="*/ 198 w 326"/>
                  <a:gd name="T83" fmla="*/ 130 h 262"/>
                  <a:gd name="T84" fmla="*/ 193 w 326"/>
                  <a:gd name="T85" fmla="*/ 130 h 262"/>
                  <a:gd name="T86" fmla="*/ 193 w 326"/>
                  <a:gd name="T87" fmla="*/ 123 h 262"/>
                  <a:gd name="T88" fmla="*/ 198 w 326"/>
                  <a:gd name="T89" fmla="*/ 130 h 262"/>
                  <a:gd name="T90" fmla="*/ 198 w 326"/>
                  <a:gd name="T91" fmla="*/ 130 h 262"/>
                  <a:gd name="T92" fmla="*/ 198 w 326"/>
                  <a:gd name="T93" fmla="*/ 130 h 262"/>
                  <a:gd name="T94" fmla="*/ 71 w 326"/>
                  <a:gd name="T95" fmla="*/ 146 h 262"/>
                  <a:gd name="T96" fmla="*/ 71 w 326"/>
                  <a:gd name="T97" fmla="*/ 134 h 262"/>
                  <a:gd name="T98" fmla="*/ 75 w 326"/>
                  <a:gd name="T99" fmla="*/ 134 h 262"/>
                  <a:gd name="T100" fmla="*/ 71 w 326"/>
                  <a:gd name="T101" fmla="*/ 146 h 262"/>
                  <a:gd name="T102" fmla="*/ 71 w 326"/>
                  <a:gd name="T103" fmla="*/ 146 h 262"/>
                  <a:gd name="T104" fmla="*/ 71 w 326"/>
                  <a:gd name="T105" fmla="*/ 146 h 262"/>
                  <a:gd name="T106" fmla="*/ 151 w 326"/>
                  <a:gd name="T107" fmla="*/ 151 h 262"/>
                  <a:gd name="T108" fmla="*/ 144 w 326"/>
                  <a:gd name="T109" fmla="*/ 151 h 262"/>
                  <a:gd name="T110" fmla="*/ 160 w 326"/>
                  <a:gd name="T111" fmla="*/ 146 h 262"/>
                  <a:gd name="T112" fmla="*/ 165 w 326"/>
                  <a:gd name="T113" fmla="*/ 146 h 262"/>
                  <a:gd name="T114" fmla="*/ 151 w 326"/>
                  <a:gd name="T115" fmla="*/ 151 h 262"/>
                  <a:gd name="T116" fmla="*/ 151 w 326"/>
                  <a:gd name="T117" fmla="*/ 151 h 262"/>
                  <a:gd name="T118" fmla="*/ 151 w 326"/>
                  <a:gd name="T119" fmla="*/ 15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6" h="262">
                    <a:moveTo>
                      <a:pt x="326" y="97"/>
                    </a:moveTo>
                    <a:lnTo>
                      <a:pt x="312" y="106"/>
                    </a:lnTo>
                    <a:lnTo>
                      <a:pt x="304" y="97"/>
                    </a:lnTo>
                    <a:lnTo>
                      <a:pt x="312" y="97"/>
                    </a:lnTo>
                    <a:lnTo>
                      <a:pt x="304" y="90"/>
                    </a:lnTo>
                    <a:lnTo>
                      <a:pt x="288" y="97"/>
                    </a:lnTo>
                    <a:lnTo>
                      <a:pt x="288" y="146"/>
                    </a:lnTo>
                    <a:lnTo>
                      <a:pt x="304" y="146"/>
                    </a:lnTo>
                    <a:lnTo>
                      <a:pt x="304" y="151"/>
                    </a:lnTo>
                    <a:lnTo>
                      <a:pt x="274" y="163"/>
                    </a:lnTo>
                    <a:lnTo>
                      <a:pt x="274" y="179"/>
                    </a:lnTo>
                    <a:lnTo>
                      <a:pt x="252" y="234"/>
                    </a:lnTo>
                    <a:lnTo>
                      <a:pt x="252" y="262"/>
                    </a:lnTo>
                    <a:lnTo>
                      <a:pt x="245" y="262"/>
                    </a:lnTo>
                    <a:lnTo>
                      <a:pt x="71" y="241"/>
                    </a:lnTo>
                    <a:lnTo>
                      <a:pt x="0" y="151"/>
                    </a:lnTo>
                    <a:lnTo>
                      <a:pt x="0" y="146"/>
                    </a:lnTo>
                    <a:lnTo>
                      <a:pt x="7" y="146"/>
                    </a:lnTo>
                    <a:lnTo>
                      <a:pt x="16" y="163"/>
                    </a:lnTo>
                    <a:lnTo>
                      <a:pt x="33" y="167"/>
                    </a:lnTo>
                    <a:lnTo>
                      <a:pt x="54" y="163"/>
                    </a:lnTo>
                    <a:lnTo>
                      <a:pt x="71" y="146"/>
                    </a:lnTo>
                    <a:lnTo>
                      <a:pt x="139" y="163"/>
                    </a:lnTo>
                    <a:lnTo>
                      <a:pt x="177" y="151"/>
                    </a:lnTo>
                    <a:lnTo>
                      <a:pt x="198" y="146"/>
                    </a:lnTo>
                    <a:lnTo>
                      <a:pt x="198" y="130"/>
                    </a:lnTo>
                    <a:lnTo>
                      <a:pt x="203" y="130"/>
                    </a:lnTo>
                    <a:lnTo>
                      <a:pt x="215" y="106"/>
                    </a:lnTo>
                    <a:lnTo>
                      <a:pt x="245" y="78"/>
                    </a:lnTo>
                    <a:lnTo>
                      <a:pt x="274" y="40"/>
                    </a:lnTo>
                    <a:lnTo>
                      <a:pt x="283" y="40"/>
                    </a:lnTo>
                    <a:lnTo>
                      <a:pt x="300" y="35"/>
                    </a:lnTo>
                    <a:lnTo>
                      <a:pt x="312" y="0"/>
                    </a:lnTo>
                    <a:lnTo>
                      <a:pt x="321" y="12"/>
                    </a:lnTo>
                    <a:lnTo>
                      <a:pt x="312" y="35"/>
                    </a:lnTo>
                    <a:lnTo>
                      <a:pt x="326" y="35"/>
                    </a:lnTo>
                    <a:lnTo>
                      <a:pt x="326" y="40"/>
                    </a:lnTo>
                    <a:lnTo>
                      <a:pt x="326" y="90"/>
                    </a:lnTo>
                    <a:lnTo>
                      <a:pt x="326" y="97"/>
                    </a:lnTo>
                    <a:lnTo>
                      <a:pt x="326" y="97"/>
                    </a:lnTo>
                    <a:lnTo>
                      <a:pt x="326" y="97"/>
                    </a:lnTo>
                    <a:close/>
                    <a:moveTo>
                      <a:pt x="198" y="130"/>
                    </a:moveTo>
                    <a:lnTo>
                      <a:pt x="193" y="130"/>
                    </a:lnTo>
                    <a:lnTo>
                      <a:pt x="193" y="123"/>
                    </a:lnTo>
                    <a:lnTo>
                      <a:pt x="198" y="130"/>
                    </a:lnTo>
                    <a:lnTo>
                      <a:pt x="198" y="130"/>
                    </a:lnTo>
                    <a:lnTo>
                      <a:pt x="198" y="130"/>
                    </a:lnTo>
                    <a:close/>
                    <a:moveTo>
                      <a:pt x="71" y="146"/>
                    </a:moveTo>
                    <a:lnTo>
                      <a:pt x="71" y="134"/>
                    </a:lnTo>
                    <a:lnTo>
                      <a:pt x="75" y="134"/>
                    </a:lnTo>
                    <a:lnTo>
                      <a:pt x="71" y="146"/>
                    </a:lnTo>
                    <a:lnTo>
                      <a:pt x="71" y="146"/>
                    </a:lnTo>
                    <a:lnTo>
                      <a:pt x="71" y="146"/>
                    </a:lnTo>
                    <a:close/>
                    <a:moveTo>
                      <a:pt x="151" y="151"/>
                    </a:moveTo>
                    <a:lnTo>
                      <a:pt x="144" y="151"/>
                    </a:lnTo>
                    <a:lnTo>
                      <a:pt x="160" y="146"/>
                    </a:lnTo>
                    <a:lnTo>
                      <a:pt x="165" y="146"/>
                    </a:lnTo>
                    <a:lnTo>
                      <a:pt x="151" y="151"/>
                    </a:lnTo>
                    <a:lnTo>
                      <a:pt x="151" y="151"/>
                    </a:lnTo>
                    <a:lnTo>
                      <a:pt x="151" y="15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93" name="Freeform 571">
                <a:extLst>
                  <a:ext uri="{FF2B5EF4-FFF2-40B4-BE49-F238E27FC236}">
                    <a16:creationId xmlns:a16="http://schemas.microsoft.com/office/drawing/2014/main" id="{45F81D99-D97E-4391-BBE4-6799375963B0}"/>
                  </a:ext>
                </a:extLst>
              </p:cNvPr>
              <p:cNvSpPr>
                <a:spLocks/>
              </p:cNvSpPr>
              <p:nvPr/>
            </p:nvSpPr>
            <p:spPr bwMode="gray">
              <a:xfrm>
                <a:off x="5693433" y="6614964"/>
                <a:ext cx="64783" cy="167335"/>
              </a:xfrm>
              <a:custGeom>
                <a:avLst/>
                <a:gdLst>
                  <a:gd name="T0" fmla="*/ 128 w 139"/>
                  <a:gd name="T1" fmla="*/ 260 h 359"/>
                  <a:gd name="T2" fmla="*/ 128 w 139"/>
                  <a:gd name="T3" fmla="*/ 297 h 359"/>
                  <a:gd name="T4" fmla="*/ 123 w 139"/>
                  <a:gd name="T5" fmla="*/ 297 h 359"/>
                  <a:gd name="T6" fmla="*/ 123 w 139"/>
                  <a:gd name="T7" fmla="*/ 321 h 359"/>
                  <a:gd name="T8" fmla="*/ 139 w 139"/>
                  <a:gd name="T9" fmla="*/ 349 h 359"/>
                  <a:gd name="T10" fmla="*/ 128 w 139"/>
                  <a:gd name="T11" fmla="*/ 354 h 359"/>
                  <a:gd name="T12" fmla="*/ 95 w 139"/>
                  <a:gd name="T13" fmla="*/ 359 h 359"/>
                  <a:gd name="T14" fmla="*/ 83 w 139"/>
                  <a:gd name="T15" fmla="*/ 349 h 359"/>
                  <a:gd name="T16" fmla="*/ 66 w 139"/>
                  <a:gd name="T17" fmla="*/ 338 h 359"/>
                  <a:gd name="T18" fmla="*/ 50 w 139"/>
                  <a:gd name="T19" fmla="*/ 297 h 359"/>
                  <a:gd name="T20" fmla="*/ 57 w 139"/>
                  <a:gd name="T21" fmla="*/ 297 h 359"/>
                  <a:gd name="T22" fmla="*/ 57 w 139"/>
                  <a:gd name="T23" fmla="*/ 276 h 359"/>
                  <a:gd name="T24" fmla="*/ 50 w 139"/>
                  <a:gd name="T25" fmla="*/ 264 h 359"/>
                  <a:gd name="T26" fmla="*/ 50 w 139"/>
                  <a:gd name="T27" fmla="*/ 260 h 359"/>
                  <a:gd name="T28" fmla="*/ 50 w 139"/>
                  <a:gd name="T29" fmla="*/ 243 h 359"/>
                  <a:gd name="T30" fmla="*/ 57 w 139"/>
                  <a:gd name="T31" fmla="*/ 210 h 359"/>
                  <a:gd name="T32" fmla="*/ 66 w 139"/>
                  <a:gd name="T33" fmla="*/ 203 h 359"/>
                  <a:gd name="T34" fmla="*/ 33 w 139"/>
                  <a:gd name="T35" fmla="*/ 170 h 359"/>
                  <a:gd name="T36" fmla="*/ 50 w 139"/>
                  <a:gd name="T37" fmla="*/ 165 h 359"/>
                  <a:gd name="T38" fmla="*/ 40 w 139"/>
                  <a:gd name="T39" fmla="*/ 149 h 359"/>
                  <a:gd name="T40" fmla="*/ 50 w 139"/>
                  <a:gd name="T41" fmla="*/ 127 h 359"/>
                  <a:gd name="T42" fmla="*/ 40 w 139"/>
                  <a:gd name="T43" fmla="*/ 116 h 359"/>
                  <a:gd name="T44" fmla="*/ 28 w 139"/>
                  <a:gd name="T45" fmla="*/ 116 h 359"/>
                  <a:gd name="T46" fmla="*/ 40 w 139"/>
                  <a:gd name="T47" fmla="*/ 75 h 359"/>
                  <a:gd name="T48" fmla="*/ 33 w 139"/>
                  <a:gd name="T49" fmla="*/ 59 h 359"/>
                  <a:gd name="T50" fmla="*/ 33 w 139"/>
                  <a:gd name="T51" fmla="*/ 54 h 359"/>
                  <a:gd name="T52" fmla="*/ 0 w 139"/>
                  <a:gd name="T53" fmla="*/ 26 h 359"/>
                  <a:gd name="T54" fmla="*/ 12 w 139"/>
                  <a:gd name="T55" fmla="*/ 5 h 359"/>
                  <a:gd name="T56" fmla="*/ 0 w 139"/>
                  <a:gd name="T57" fmla="*/ 0 h 359"/>
                  <a:gd name="T58" fmla="*/ 50 w 139"/>
                  <a:gd name="T59" fmla="*/ 5 h 359"/>
                  <a:gd name="T60" fmla="*/ 50 w 139"/>
                  <a:gd name="T61" fmla="*/ 16 h 359"/>
                  <a:gd name="T62" fmla="*/ 73 w 139"/>
                  <a:gd name="T63" fmla="*/ 5 h 359"/>
                  <a:gd name="T64" fmla="*/ 66 w 139"/>
                  <a:gd name="T65" fmla="*/ 54 h 359"/>
                  <a:gd name="T66" fmla="*/ 106 w 139"/>
                  <a:gd name="T67" fmla="*/ 75 h 359"/>
                  <a:gd name="T68" fmla="*/ 106 w 139"/>
                  <a:gd name="T69" fmla="*/ 116 h 359"/>
                  <a:gd name="T70" fmla="*/ 128 w 139"/>
                  <a:gd name="T71" fmla="*/ 149 h 359"/>
                  <a:gd name="T72" fmla="*/ 128 w 139"/>
                  <a:gd name="T73" fmla="*/ 260 h 359"/>
                  <a:gd name="T74" fmla="*/ 128 w 139"/>
                  <a:gd name="T75" fmla="*/ 260 h 359"/>
                  <a:gd name="T76" fmla="*/ 128 w 139"/>
                  <a:gd name="T77" fmla="*/ 26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359">
                    <a:moveTo>
                      <a:pt x="128" y="260"/>
                    </a:moveTo>
                    <a:lnTo>
                      <a:pt x="128" y="297"/>
                    </a:lnTo>
                    <a:lnTo>
                      <a:pt x="123" y="297"/>
                    </a:lnTo>
                    <a:lnTo>
                      <a:pt x="123" y="321"/>
                    </a:lnTo>
                    <a:lnTo>
                      <a:pt x="139" y="349"/>
                    </a:lnTo>
                    <a:lnTo>
                      <a:pt x="128" y="354"/>
                    </a:lnTo>
                    <a:lnTo>
                      <a:pt x="95" y="359"/>
                    </a:lnTo>
                    <a:lnTo>
                      <a:pt x="83" y="349"/>
                    </a:lnTo>
                    <a:lnTo>
                      <a:pt x="66" y="338"/>
                    </a:lnTo>
                    <a:lnTo>
                      <a:pt x="50" y="297"/>
                    </a:lnTo>
                    <a:lnTo>
                      <a:pt x="57" y="297"/>
                    </a:lnTo>
                    <a:lnTo>
                      <a:pt x="57" y="276"/>
                    </a:lnTo>
                    <a:lnTo>
                      <a:pt x="50" y="264"/>
                    </a:lnTo>
                    <a:lnTo>
                      <a:pt x="50" y="260"/>
                    </a:lnTo>
                    <a:lnTo>
                      <a:pt x="50" y="243"/>
                    </a:lnTo>
                    <a:lnTo>
                      <a:pt x="57" y="210"/>
                    </a:lnTo>
                    <a:lnTo>
                      <a:pt x="66" y="203"/>
                    </a:lnTo>
                    <a:lnTo>
                      <a:pt x="33" y="170"/>
                    </a:lnTo>
                    <a:lnTo>
                      <a:pt x="50" y="165"/>
                    </a:lnTo>
                    <a:lnTo>
                      <a:pt x="40" y="149"/>
                    </a:lnTo>
                    <a:lnTo>
                      <a:pt x="50" y="127"/>
                    </a:lnTo>
                    <a:lnTo>
                      <a:pt x="40" y="116"/>
                    </a:lnTo>
                    <a:lnTo>
                      <a:pt x="28" y="116"/>
                    </a:lnTo>
                    <a:lnTo>
                      <a:pt x="40" y="75"/>
                    </a:lnTo>
                    <a:lnTo>
                      <a:pt x="33" y="59"/>
                    </a:lnTo>
                    <a:lnTo>
                      <a:pt x="33" y="54"/>
                    </a:lnTo>
                    <a:lnTo>
                      <a:pt x="0" y="26"/>
                    </a:lnTo>
                    <a:lnTo>
                      <a:pt x="12" y="5"/>
                    </a:lnTo>
                    <a:lnTo>
                      <a:pt x="0" y="0"/>
                    </a:lnTo>
                    <a:lnTo>
                      <a:pt x="50" y="5"/>
                    </a:lnTo>
                    <a:lnTo>
                      <a:pt x="50" y="16"/>
                    </a:lnTo>
                    <a:lnTo>
                      <a:pt x="73" y="5"/>
                    </a:lnTo>
                    <a:lnTo>
                      <a:pt x="66" y="54"/>
                    </a:lnTo>
                    <a:lnTo>
                      <a:pt x="106" y="75"/>
                    </a:lnTo>
                    <a:lnTo>
                      <a:pt x="106" y="116"/>
                    </a:lnTo>
                    <a:lnTo>
                      <a:pt x="128" y="149"/>
                    </a:lnTo>
                    <a:lnTo>
                      <a:pt x="128" y="260"/>
                    </a:lnTo>
                    <a:lnTo>
                      <a:pt x="128" y="260"/>
                    </a:lnTo>
                    <a:lnTo>
                      <a:pt x="128" y="26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94" name="Freeform 572">
                <a:extLst>
                  <a:ext uri="{FF2B5EF4-FFF2-40B4-BE49-F238E27FC236}">
                    <a16:creationId xmlns:a16="http://schemas.microsoft.com/office/drawing/2014/main" id="{00CA201F-410D-48E5-A168-2DB502DD71F6}"/>
                  </a:ext>
                </a:extLst>
              </p:cNvPr>
              <p:cNvSpPr>
                <a:spLocks noEditPoints="1"/>
              </p:cNvSpPr>
              <p:nvPr/>
            </p:nvSpPr>
            <p:spPr bwMode="gray">
              <a:xfrm>
                <a:off x="5910151" y="6931922"/>
                <a:ext cx="33090" cy="56400"/>
              </a:xfrm>
              <a:custGeom>
                <a:avLst/>
                <a:gdLst>
                  <a:gd name="T0" fmla="*/ 62 w 71"/>
                  <a:gd name="T1" fmla="*/ 12 h 121"/>
                  <a:gd name="T2" fmla="*/ 62 w 71"/>
                  <a:gd name="T3" fmla="*/ 7 h 121"/>
                  <a:gd name="T4" fmla="*/ 62 w 71"/>
                  <a:gd name="T5" fmla="*/ 0 h 121"/>
                  <a:gd name="T6" fmla="*/ 71 w 71"/>
                  <a:gd name="T7" fmla="*/ 7 h 121"/>
                  <a:gd name="T8" fmla="*/ 62 w 71"/>
                  <a:gd name="T9" fmla="*/ 12 h 121"/>
                  <a:gd name="T10" fmla="*/ 62 w 71"/>
                  <a:gd name="T11" fmla="*/ 12 h 121"/>
                  <a:gd name="T12" fmla="*/ 62 w 71"/>
                  <a:gd name="T13" fmla="*/ 12 h 121"/>
                  <a:gd name="T14" fmla="*/ 0 w 71"/>
                  <a:gd name="T15" fmla="*/ 121 h 121"/>
                  <a:gd name="T16" fmla="*/ 0 w 71"/>
                  <a:gd name="T17" fmla="*/ 104 h 121"/>
                  <a:gd name="T18" fmla="*/ 17 w 71"/>
                  <a:gd name="T19" fmla="*/ 99 h 121"/>
                  <a:gd name="T20" fmla="*/ 17 w 71"/>
                  <a:gd name="T21" fmla="*/ 116 h 121"/>
                  <a:gd name="T22" fmla="*/ 0 w 71"/>
                  <a:gd name="T23" fmla="*/ 121 h 121"/>
                  <a:gd name="T24" fmla="*/ 0 w 71"/>
                  <a:gd name="T25" fmla="*/ 121 h 121"/>
                  <a:gd name="T26" fmla="*/ 0 w 71"/>
                  <a:gd name="T2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121">
                    <a:moveTo>
                      <a:pt x="62" y="12"/>
                    </a:moveTo>
                    <a:lnTo>
                      <a:pt x="62" y="7"/>
                    </a:lnTo>
                    <a:lnTo>
                      <a:pt x="62" y="0"/>
                    </a:lnTo>
                    <a:lnTo>
                      <a:pt x="71" y="7"/>
                    </a:lnTo>
                    <a:lnTo>
                      <a:pt x="62" y="12"/>
                    </a:lnTo>
                    <a:lnTo>
                      <a:pt x="62" y="12"/>
                    </a:lnTo>
                    <a:lnTo>
                      <a:pt x="62" y="12"/>
                    </a:lnTo>
                    <a:close/>
                    <a:moveTo>
                      <a:pt x="0" y="121"/>
                    </a:moveTo>
                    <a:lnTo>
                      <a:pt x="0" y="104"/>
                    </a:lnTo>
                    <a:lnTo>
                      <a:pt x="17" y="99"/>
                    </a:lnTo>
                    <a:lnTo>
                      <a:pt x="17" y="116"/>
                    </a:lnTo>
                    <a:lnTo>
                      <a:pt x="0" y="121"/>
                    </a:lnTo>
                    <a:lnTo>
                      <a:pt x="0" y="121"/>
                    </a:lnTo>
                    <a:lnTo>
                      <a:pt x="0" y="1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95" name="Freeform 573">
                <a:extLst>
                  <a:ext uri="{FF2B5EF4-FFF2-40B4-BE49-F238E27FC236}">
                    <a16:creationId xmlns:a16="http://schemas.microsoft.com/office/drawing/2014/main" id="{7BD81B88-BEC0-482D-ACD2-CA6CD23493F6}"/>
                  </a:ext>
                </a:extLst>
              </p:cNvPr>
              <p:cNvSpPr>
                <a:spLocks noEditPoints="1"/>
              </p:cNvSpPr>
              <p:nvPr/>
            </p:nvSpPr>
            <p:spPr bwMode="gray">
              <a:xfrm>
                <a:off x="5943242" y="5676673"/>
                <a:ext cx="132362" cy="267550"/>
              </a:xfrm>
              <a:custGeom>
                <a:avLst/>
                <a:gdLst>
                  <a:gd name="T0" fmla="*/ 24 w 284"/>
                  <a:gd name="T1" fmla="*/ 251 h 574"/>
                  <a:gd name="T2" fmla="*/ 55 w 284"/>
                  <a:gd name="T3" fmla="*/ 222 h 574"/>
                  <a:gd name="T4" fmla="*/ 59 w 284"/>
                  <a:gd name="T5" fmla="*/ 156 h 574"/>
                  <a:gd name="T6" fmla="*/ 55 w 284"/>
                  <a:gd name="T7" fmla="*/ 116 h 574"/>
                  <a:gd name="T8" fmla="*/ 45 w 284"/>
                  <a:gd name="T9" fmla="*/ 62 h 574"/>
                  <a:gd name="T10" fmla="*/ 76 w 284"/>
                  <a:gd name="T11" fmla="*/ 26 h 574"/>
                  <a:gd name="T12" fmla="*/ 168 w 284"/>
                  <a:gd name="T13" fmla="*/ 0 h 574"/>
                  <a:gd name="T14" fmla="*/ 161 w 284"/>
                  <a:gd name="T15" fmla="*/ 17 h 574"/>
                  <a:gd name="T16" fmla="*/ 168 w 284"/>
                  <a:gd name="T17" fmla="*/ 5 h 574"/>
                  <a:gd name="T18" fmla="*/ 194 w 284"/>
                  <a:gd name="T19" fmla="*/ 5 h 574"/>
                  <a:gd name="T20" fmla="*/ 194 w 284"/>
                  <a:gd name="T21" fmla="*/ 17 h 574"/>
                  <a:gd name="T22" fmla="*/ 199 w 284"/>
                  <a:gd name="T23" fmla="*/ 38 h 574"/>
                  <a:gd name="T24" fmla="*/ 199 w 284"/>
                  <a:gd name="T25" fmla="*/ 43 h 574"/>
                  <a:gd name="T26" fmla="*/ 253 w 284"/>
                  <a:gd name="T27" fmla="*/ 26 h 574"/>
                  <a:gd name="T28" fmla="*/ 215 w 284"/>
                  <a:gd name="T29" fmla="*/ 78 h 574"/>
                  <a:gd name="T30" fmla="*/ 220 w 284"/>
                  <a:gd name="T31" fmla="*/ 128 h 574"/>
                  <a:gd name="T32" fmla="*/ 248 w 284"/>
                  <a:gd name="T33" fmla="*/ 156 h 574"/>
                  <a:gd name="T34" fmla="*/ 232 w 284"/>
                  <a:gd name="T35" fmla="*/ 210 h 574"/>
                  <a:gd name="T36" fmla="*/ 177 w 284"/>
                  <a:gd name="T37" fmla="*/ 251 h 574"/>
                  <a:gd name="T38" fmla="*/ 199 w 284"/>
                  <a:gd name="T39" fmla="*/ 296 h 574"/>
                  <a:gd name="T40" fmla="*/ 220 w 284"/>
                  <a:gd name="T41" fmla="*/ 296 h 574"/>
                  <a:gd name="T42" fmla="*/ 232 w 284"/>
                  <a:gd name="T43" fmla="*/ 317 h 574"/>
                  <a:gd name="T44" fmla="*/ 236 w 284"/>
                  <a:gd name="T45" fmla="*/ 300 h 574"/>
                  <a:gd name="T46" fmla="*/ 258 w 284"/>
                  <a:gd name="T47" fmla="*/ 333 h 574"/>
                  <a:gd name="T48" fmla="*/ 274 w 284"/>
                  <a:gd name="T49" fmla="*/ 378 h 574"/>
                  <a:gd name="T50" fmla="*/ 236 w 284"/>
                  <a:gd name="T51" fmla="*/ 418 h 574"/>
                  <a:gd name="T52" fmla="*/ 199 w 284"/>
                  <a:gd name="T53" fmla="*/ 463 h 574"/>
                  <a:gd name="T54" fmla="*/ 199 w 284"/>
                  <a:gd name="T55" fmla="*/ 518 h 574"/>
                  <a:gd name="T56" fmla="*/ 168 w 284"/>
                  <a:gd name="T57" fmla="*/ 562 h 574"/>
                  <a:gd name="T58" fmla="*/ 109 w 284"/>
                  <a:gd name="T59" fmla="*/ 430 h 574"/>
                  <a:gd name="T60" fmla="*/ 59 w 284"/>
                  <a:gd name="T61" fmla="*/ 362 h 574"/>
                  <a:gd name="T62" fmla="*/ 17 w 284"/>
                  <a:gd name="T63" fmla="*/ 333 h 574"/>
                  <a:gd name="T64" fmla="*/ 0 w 284"/>
                  <a:gd name="T65" fmla="*/ 262 h 574"/>
                  <a:gd name="T66" fmla="*/ 0 w 284"/>
                  <a:gd name="T67" fmla="*/ 262 h 574"/>
                  <a:gd name="T68" fmla="*/ 258 w 284"/>
                  <a:gd name="T69" fmla="*/ 206 h 574"/>
                  <a:gd name="T70" fmla="*/ 253 w 284"/>
                  <a:gd name="T71" fmla="*/ 210 h 574"/>
                  <a:gd name="T72" fmla="*/ 253 w 284"/>
                  <a:gd name="T73" fmla="*/ 210 h 574"/>
                  <a:gd name="T74" fmla="*/ 232 w 284"/>
                  <a:gd name="T75" fmla="*/ 296 h 574"/>
                  <a:gd name="T76" fmla="*/ 232 w 284"/>
                  <a:gd name="T77" fmla="*/ 279 h 574"/>
                  <a:gd name="T78" fmla="*/ 236 w 284"/>
                  <a:gd name="T79" fmla="*/ 300 h 574"/>
                  <a:gd name="T80" fmla="*/ 236 w 284"/>
                  <a:gd name="T81" fmla="*/ 30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4" h="574">
                    <a:moveTo>
                      <a:pt x="0" y="262"/>
                    </a:moveTo>
                    <a:lnTo>
                      <a:pt x="24" y="251"/>
                    </a:lnTo>
                    <a:lnTo>
                      <a:pt x="24" y="239"/>
                    </a:lnTo>
                    <a:lnTo>
                      <a:pt x="55" y="222"/>
                    </a:lnTo>
                    <a:lnTo>
                      <a:pt x="59" y="173"/>
                    </a:lnTo>
                    <a:lnTo>
                      <a:pt x="59" y="156"/>
                    </a:lnTo>
                    <a:lnTo>
                      <a:pt x="59" y="133"/>
                    </a:lnTo>
                    <a:lnTo>
                      <a:pt x="55" y="116"/>
                    </a:lnTo>
                    <a:lnTo>
                      <a:pt x="59" y="71"/>
                    </a:lnTo>
                    <a:lnTo>
                      <a:pt x="45" y="62"/>
                    </a:lnTo>
                    <a:lnTo>
                      <a:pt x="88" y="38"/>
                    </a:lnTo>
                    <a:lnTo>
                      <a:pt x="76" y="26"/>
                    </a:lnTo>
                    <a:lnTo>
                      <a:pt x="151" y="0"/>
                    </a:lnTo>
                    <a:lnTo>
                      <a:pt x="168" y="0"/>
                    </a:lnTo>
                    <a:lnTo>
                      <a:pt x="161" y="5"/>
                    </a:lnTo>
                    <a:lnTo>
                      <a:pt x="161" y="17"/>
                    </a:lnTo>
                    <a:lnTo>
                      <a:pt x="168" y="5"/>
                    </a:lnTo>
                    <a:lnTo>
                      <a:pt x="168" y="5"/>
                    </a:lnTo>
                    <a:lnTo>
                      <a:pt x="177" y="0"/>
                    </a:lnTo>
                    <a:lnTo>
                      <a:pt x="194" y="5"/>
                    </a:lnTo>
                    <a:lnTo>
                      <a:pt x="182" y="17"/>
                    </a:lnTo>
                    <a:lnTo>
                      <a:pt x="194" y="17"/>
                    </a:lnTo>
                    <a:lnTo>
                      <a:pt x="194" y="21"/>
                    </a:lnTo>
                    <a:lnTo>
                      <a:pt x="199" y="38"/>
                    </a:lnTo>
                    <a:lnTo>
                      <a:pt x="194" y="38"/>
                    </a:lnTo>
                    <a:lnTo>
                      <a:pt x="199" y="43"/>
                    </a:lnTo>
                    <a:lnTo>
                      <a:pt x="248" y="17"/>
                    </a:lnTo>
                    <a:lnTo>
                      <a:pt x="253" y="26"/>
                    </a:lnTo>
                    <a:lnTo>
                      <a:pt x="232" y="71"/>
                    </a:lnTo>
                    <a:lnTo>
                      <a:pt x="215" y="78"/>
                    </a:lnTo>
                    <a:lnTo>
                      <a:pt x="203" y="95"/>
                    </a:lnTo>
                    <a:lnTo>
                      <a:pt x="220" y="128"/>
                    </a:lnTo>
                    <a:lnTo>
                      <a:pt x="248" y="133"/>
                    </a:lnTo>
                    <a:lnTo>
                      <a:pt x="248" y="156"/>
                    </a:lnTo>
                    <a:lnTo>
                      <a:pt x="253" y="173"/>
                    </a:lnTo>
                    <a:lnTo>
                      <a:pt x="232" y="210"/>
                    </a:lnTo>
                    <a:lnTo>
                      <a:pt x="182" y="246"/>
                    </a:lnTo>
                    <a:lnTo>
                      <a:pt x="177" y="251"/>
                    </a:lnTo>
                    <a:lnTo>
                      <a:pt x="182" y="279"/>
                    </a:lnTo>
                    <a:lnTo>
                      <a:pt x="199" y="296"/>
                    </a:lnTo>
                    <a:lnTo>
                      <a:pt x="203" y="300"/>
                    </a:lnTo>
                    <a:lnTo>
                      <a:pt x="220" y="296"/>
                    </a:lnTo>
                    <a:lnTo>
                      <a:pt x="220" y="307"/>
                    </a:lnTo>
                    <a:lnTo>
                      <a:pt x="232" y="317"/>
                    </a:lnTo>
                    <a:lnTo>
                      <a:pt x="236" y="307"/>
                    </a:lnTo>
                    <a:lnTo>
                      <a:pt x="236" y="300"/>
                    </a:lnTo>
                    <a:lnTo>
                      <a:pt x="248" y="300"/>
                    </a:lnTo>
                    <a:lnTo>
                      <a:pt x="258" y="333"/>
                    </a:lnTo>
                    <a:lnTo>
                      <a:pt x="284" y="340"/>
                    </a:lnTo>
                    <a:lnTo>
                      <a:pt x="274" y="378"/>
                    </a:lnTo>
                    <a:lnTo>
                      <a:pt x="284" y="395"/>
                    </a:lnTo>
                    <a:lnTo>
                      <a:pt x="236" y="418"/>
                    </a:lnTo>
                    <a:lnTo>
                      <a:pt x="203" y="451"/>
                    </a:lnTo>
                    <a:lnTo>
                      <a:pt x="199" y="463"/>
                    </a:lnTo>
                    <a:lnTo>
                      <a:pt x="182" y="473"/>
                    </a:lnTo>
                    <a:lnTo>
                      <a:pt x="199" y="518"/>
                    </a:lnTo>
                    <a:lnTo>
                      <a:pt x="194" y="529"/>
                    </a:lnTo>
                    <a:lnTo>
                      <a:pt x="168" y="562"/>
                    </a:lnTo>
                    <a:lnTo>
                      <a:pt x="147" y="574"/>
                    </a:lnTo>
                    <a:lnTo>
                      <a:pt x="109" y="430"/>
                    </a:lnTo>
                    <a:lnTo>
                      <a:pt x="59" y="390"/>
                    </a:lnTo>
                    <a:lnTo>
                      <a:pt x="59" y="362"/>
                    </a:lnTo>
                    <a:lnTo>
                      <a:pt x="45" y="340"/>
                    </a:lnTo>
                    <a:lnTo>
                      <a:pt x="17" y="333"/>
                    </a:lnTo>
                    <a:lnTo>
                      <a:pt x="0" y="279"/>
                    </a:lnTo>
                    <a:lnTo>
                      <a:pt x="0" y="262"/>
                    </a:lnTo>
                    <a:lnTo>
                      <a:pt x="0" y="262"/>
                    </a:lnTo>
                    <a:lnTo>
                      <a:pt x="0" y="262"/>
                    </a:lnTo>
                    <a:close/>
                    <a:moveTo>
                      <a:pt x="253" y="210"/>
                    </a:moveTo>
                    <a:lnTo>
                      <a:pt x="258" y="206"/>
                    </a:lnTo>
                    <a:lnTo>
                      <a:pt x="270" y="206"/>
                    </a:lnTo>
                    <a:lnTo>
                      <a:pt x="253" y="210"/>
                    </a:lnTo>
                    <a:lnTo>
                      <a:pt x="253" y="210"/>
                    </a:lnTo>
                    <a:lnTo>
                      <a:pt x="253" y="210"/>
                    </a:lnTo>
                    <a:close/>
                    <a:moveTo>
                      <a:pt x="236" y="300"/>
                    </a:moveTo>
                    <a:lnTo>
                      <a:pt x="232" y="296"/>
                    </a:lnTo>
                    <a:lnTo>
                      <a:pt x="232" y="296"/>
                    </a:lnTo>
                    <a:lnTo>
                      <a:pt x="232" y="279"/>
                    </a:lnTo>
                    <a:lnTo>
                      <a:pt x="248" y="284"/>
                    </a:lnTo>
                    <a:lnTo>
                      <a:pt x="236" y="300"/>
                    </a:lnTo>
                    <a:lnTo>
                      <a:pt x="236" y="300"/>
                    </a:lnTo>
                    <a:lnTo>
                      <a:pt x="236" y="30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97" name="Freeform 579">
                <a:extLst>
                  <a:ext uri="{FF2B5EF4-FFF2-40B4-BE49-F238E27FC236}">
                    <a16:creationId xmlns:a16="http://schemas.microsoft.com/office/drawing/2014/main" id="{4C393ABD-656D-492C-8BAD-00151130C65B}"/>
                  </a:ext>
                </a:extLst>
              </p:cNvPr>
              <p:cNvSpPr>
                <a:spLocks/>
              </p:cNvSpPr>
              <p:nvPr/>
            </p:nvSpPr>
            <p:spPr bwMode="gray">
              <a:xfrm>
                <a:off x="6665639" y="6848486"/>
                <a:ext cx="176172" cy="190175"/>
              </a:xfrm>
              <a:custGeom>
                <a:avLst/>
                <a:gdLst>
                  <a:gd name="T0" fmla="*/ 231 w 378"/>
                  <a:gd name="T1" fmla="*/ 375 h 408"/>
                  <a:gd name="T2" fmla="*/ 87 w 378"/>
                  <a:gd name="T3" fmla="*/ 375 h 408"/>
                  <a:gd name="T4" fmla="*/ 66 w 378"/>
                  <a:gd name="T5" fmla="*/ 375 h 408"/>
                  <a:gd name="T6" fmla="*/ 54 w 378"/>
                  <a:gd name="T7" fmla="*/ 375 h 408"/>
                  <a:gd name="T8" fmla="*/ 33 w 378"/>
                  <a:gd name="T9" fmla="*/ 408 h 408"/>
                  <a:gd name="T10" fmla="*/ 16 w 378"/>
                  <a:gd name="T11" fmla="*/ 401 h 408"/>
                  <a:gd name="T12" fmla="*/ 0 w 378"/>
                  <a:gd name="T13" fmla="*/ 401 h 408"/>
                  <a:gd name="T14" fmla="*/ 0 w 378"/>
                  <a:gd name="T15" fmla="*/ 368 h 408"/>
                  <a:gd name="T16" fmla="*/ 12 w 378"/>
                  <a:gd name="T17" fmla="*/ 297 h 408"/>
                  <a:gd name="T18" fmla="*/ 21 w 378"/>
                  <a:gd name="T19" fmla="*/ 264 h 408"/>
                  <a:gd name="T20" fmla="*/ 21 w 378"/>
                  <a:gd name="T21" fmla="*/ 243 h 408"/>
                  <a:gd name="T22" fmla="*/ 38 w 378"/>
                  <a:gd name="T23" fmla="*/ 236 h 408"/>
                  <a:gd name="T24" fmla="*/ 49 w 378"/>
                  <a:gd name="T25" fmla="*/ 219 h 408"/>
                  <a:gd name="T26" fmla="*/ 66 w 378"/>
                  <a:gd name="T27" fmla="*/ 219 h 408"/>
                  <a:gd name="T28" fmla="*/ 125 w 378"/>
                  <a:gd name="T29" fmla="*/ 148 h 408"/>
                  <a:gd name="T30" fmla="*/ 104 w 378"/>
                  <a:gd name="T31" fmla="*/ 132 h 408"/>
                  <a:gd name="T32" fmla="*/ 92 w 378"/>
                  <a:gd name="T33" fmla="*/ 132 h 408"/>
                  <a:gd name="T34" fmla="*/ 75 w 378"/>
                  <a:gd name="T35" fmla="*/ 127 h 408"/>
                  <a:gd name="T36" fmla="*/ 92 w 378"/>
                  <a:gd name="T37" fmla="*/ 99 h 408"/>
                  <a:gd name="T38" fmla="*/ 87 w 378"/>
                  <a:gd name="T39" fmla="*/ 82 h 408"/>
                  <a:gd name="T40" fmla="*/ 92 w 378"/>
                  <a:gd name="T41" fmla="*/ 61 h 408"/>
                  <a:gd name="T42" fmla="*/ 92 w 378"/>
                  <a:gd name="T43" fmla="*/ 54 h 408"/>
                  <a:gd name="T44" fmla="*/ 92 w 378"/>
                  <a:gd name="T45" fmla="*/ 54 h 408"/>
                  <a:gd name="T46" fmla="*/ 104 w 378"/>
                  <a:gd name="T47" fmla="*/ 37 h 408"/>
                  <a:gd name="T48" fmla="*/ 108 w 378"/>
                  <a:gd name="T49" fmla="*/ 28 h 408"/>
                  <a:gd name="T50" fmla="*/ 142 w 378"/>
                  <a:gd name="T51" fmla="*/ 37 h 408"/>
                  <a:gd name="T52" fmla="*/ 156 w 378"/>
                  <a:gd name="T53" fmla="*/ 28 h 408"/>
                  <a:gd name="T54" fmla="*/ 163 w 378"/>
                  <a:gd name="T55" fmla="*/ 44 h 408"/>
                  <a:gd name="T56" fmla="*/ 184 w 378"/>
                  <a:gd name="T57" fmla="*/ 54 h 408"/>
                  <a:gd name="T58" fmla="*/ 184 w 378"/>
                  <a:gd name="T59" fmla="*/ 44 h 408"/>
                  <a:gd name="T60" fmla="*/ 201 w 378"/>
                  <a:gd name="T61" fmla="*/ 37 h 408"/>
                  <a:gd name="T62" fmla="*/ 217 w 378"/>
                  <a:gd name="T63" fmla="*/ 28 h 408"/>
                  <a:gd name="T64" fmla="*/ 238 w 378"/>
                  <a:gd name="T65" fmla="*/ 21 h 408"/>
                  <a:gd name="T66" fmla="*/ 255 w 378"/>
                  <a:gd name="T67" fmla="*/ 28 h 408"/>
                  <a:gd name="T68" fmla="*/ 281 w 378"/>
                  <a:gd name="T69" fmla="*/ 28 h 408"/>
                  <a:gd name="T70" fmla="*/ 307 w 378"/>
                  <a:gd name="T71" fmla="*/ 0 h 408"/>
                  <a:gd name="T72" fmla="*/ 323 w 378"/>
                  <a:gd name="T73" fmla="*/ 28 h 408"/>
                  <a:gd name="T74" fmla="*/ 340 w 378"/>
                  <a:gd name="T75" fmla="*/ 37 h 408"/>
                  <a:gd name="T76" fmla="*/ 340 w 378"/>
                  <a:gd name="T77" fmla="*/ 61 h 408"/>
                  <a:gd name="T78" fmla="*/ 345 w 378"/>
                  <a:gd name="T79" fmla="*/ 94 h 408"/>
                  <a:gd name="T80" fmla="*/ 361 w 378"/>
                  <a:gd name="T81" fmla="*/ 99 h 408"/>
                  <a:gd name="T82" fmla="*/ 373 w 378"/>
                  <a:gd name="T83" fmla="*/ 127 h 408"/>
                  <a:gd name="T84" fmla="*/ 378 w 378"/>
                  <a:gd name="T85" fmla="*/ 165 h 408"/>
                  <a:gd name="T86" fmla="*/ 378 w 378"/>
                  <a:gd name="T87" fmla="*/ 181 h 408"/>
                  <a:gd name="T88" fmla="*/ 361 w 378"/>
                  <a:gd name="T89" fmla="*/ 203 h 408"/>
                  <a:gd name="T90" fmla="*/ 373 w 378"/>
                  <a:gd name="T91" fmla="*/ 210 h 408"/>
                  <a:gd name="T92" fmla="*/ 345 w 378"/>
                  <a:gd name="T93" fmla="*/ 219 h 408"/>
                  <a:gd name="T94" fmla="*/ 340 w 378"/>
                  <a:gd name="T95" fmla="*/ 243 h 408"/>
                  <a:gd name="T96" fmla="*/ 323 w 378"/>
                  <a:gd name="T97" fmla="*/ 259 h 408"/>
                  <a:gd name="T98" fmla="*/ 302 w 378"/>
                  <a:gd name="T99" fmla="*/ 297 h 408"/>
                  <a:gd name="T100" fmla="*/ 307 w 378"/>
                  <a:gd name="T101" fmla="*/ 314 h 408"/>
                  <a:gd name="T102" fmla="*/ 302 w 378"/>
                  <a:gd name="T103" fmla="*/ 375 h 408"/>
                  <a:gd name="T104" fmla="*/ 231 w 378"/>
                  <a:gd name="T105" fmla="*/ 375 h 408"/>
                  <a:gd name="T106" fmla="*/ 231 w 378"/>
                  <a:gd name="T107" fmla="*/ 375 h 408"/>
                  <a:gd name="T108" fmla="*/ 231 w 378"/>
                  <a:gd name="T109" fmla="*/ 375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8" h="408">
                    <a:moveTo>
                      <a:pt x="231" y="375"/>
                    </a:moveTo>
                    <a:lnTo>
                      <a:pt x="87" y="375"/>
                    </a:lnTo>
                    <a:lnTo>
                      <a:pt x="66" y="375"/>
                    </a:lnTo>
                    <a:lnTo>
                      <a:pt x="54" y="375"/>
                    </a:lnTo>
                    <a:lnTo>
                      <a:pt x="33" y="408"/>
                    </a:lnTo>
                    <a:lnTo>
                      <a:pt x="16" y="401"/>
                    </a:lnTo>
                    <a:lnTo>
                      <a:pt x="0" y="401"/>
                    </a:lnTo>
                    <a:lnTo>
                      <a:pt x="0" y="368"/>
                    </a:lnTo>
                    <a:lnTo>
                      <a:pt x="12" y="297"/>
                    </a:lnTo>
                    <a:lnTo>
                      <a:pt x="21" y="264"/>
                    </a:lnTo>
                    <a:lnTo>
                      <a:pt x="21" y="243"/>
                    </a:lnTo>
                    <a:lnTo>
                      <a:pt x="38" y="236"/>
                    </a:lnTo>
                    <a:lnTo>
                      <a:pt x="49" y="219"/>
                    </a:lnTo>
                    <a:lnTo>
                      <a:pt x="66" y="219"/>
                    </a:lnTo>
                    <a:lnTo>
                      <a:pt x="125" y="148"/>
                    </a:lnTo>
                    <a:lnTo>
                      <a:pt x="104" y="132"/>
                    </a:lnTo>
                    <a:lnTo>
                      <a:pt x="92" y="132"/>
                    </a:lnTo>
                    <a:lnTo>
                      <a:pt x="75" y="127"/>
                    </a:lnTo>
                    <a:lnTo>
                      <a:pt x="92" y="99"/>
                    </a:lnTo>
                    <a:lnTo>
                      <a:pt x="87" y="82"/>
                    </a:lnTo>
                    <a:lnTo>
                      <a:pt x="92" y="61"/>
                    </a:lnTo>
                    <a:lnTo>
                      <a:pt x="92" y="54"/>
                    </a:lnTo>
                    <a:lnTo>
                      <a:pt x="92" y="54"/>
                    </a:lnTo>
                    <a:lnTo>
                      <a:pt x="104" y="37"/>
                    </a:lnTo>
                    <a:lnTo>
                      <a:pt x="108" y="28"/>
                    </a:lnTo>
                    <a:lnTo>
                      <a:pt x="142" y="37"/>
                    </a:lnTo>
                    <a:lnTo>
                      <a:pt x="156" y="28"/>
                    </a:lnTo>
                    <a:lnTo>
                      <a:pt x="163" y="44"/>
                    </a:lnTo>
                    <a:lnTo>
                      <a:pt x="184" y="54"/>
                    </a:lnTo>
                    <a:lnTo>
                      <a:pt x="184" y="44"/>
                    </a:lnTo>
                    <a:lnTo>
                      <a:pt x="201" y="37"/>
                    </a:lnTo>
                    <a:lnTo>
                      <a:pt x="217" y="28"/>
                    </a:lnTo>
                    <a:lnTo>
                      <a:pt x="238" y="21"/>
                    </a:lnTo>
                    <a:lnTo>
                      <a:pt x="255" y="28"/>
                    </a:lnTo>
                    <a:lnTo>
                      <a:pt x="281" y="28"/>
                    </a:lnTo>
                    <a:lnTo>
                      <a:pt x="307" y="0"/>
                    </a:lnTo>
                    <a:lnTo>
                      <a:pt x="323" y="28"/>
                    </a:lnTo>
                    <a:lnTo>
                      <a:pt x="340" y="37"/>
                    </a:lnTo>
                    <a:lnTo>
                      <a:pt x="340" y="61"/>
                    </a:lnTo>
                    <a:lnTo>
                      <a:pt x="345" y="94"/>
                    </a:lnTo>
                    <a:lnTo>
                      <a:pt x="361" y="99"/>
                    </a:lnTo>
                    <a:lnTo>
                      <a:pt x="373" y="127"/>
                    </a:lnTo>
                    <a:lnTo>
                      <a:pt x="378" y="165"/>
                    </a:lnTo>
                    <a:lnTo>
                      <a:pt x="378" y="181"/>
                    </a:lnTo>
                    <a:lnTo>
                      <a:pt x="361" y="203"/>
                    </a:lnTo>
                    <a:lnTo>
                      <a:pt x="373" y="210"/>
                    </a:lnTo>
                    <a:lnTo>
                      <a:pt x="345" y="219"/>
                    </a:lnTo>
                    <a:lnTo>
                      <a:pt x="340" y="243"/>
                    </a:lnTo>
                    <a:lnTo>
                      <a:pt x="323" y="259"/>
                    </a:lnTo>
                    <a:lnTo>
                      <a:pt x="302" y="297"/>
                    </a:lnTo>
                    <a:lnTo>
                      <a:pt x="307" y="314"/>
                    </a:lnTo>
                    <a:lnTo>
                      <a:pt x="302" y="375"/>
                    </a:lnTo>
                    <a:lnTo>
                      <a:pt x="231" y="375"/>
                    </a:lnTo>
                    <a:lnTo>
                      <a:pt x="231" y="375"/>
                    </a:lnTo>
                    <a:lnTo>
                      <a:pt x="231" y="37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98" name="Freeform 583">
                <a:extLst>
                  <a:ext uri="{FF2B5EF4-FFF2-40B4-BE49-F238E27FC236}">
                    <a16:creationId xmlns:a16="http://schemas.microsoft.com/office/drawing/2014/main" id="{024FB619-EFA5-4CF8-9F63-6F06A6BC63F9}"/>
                  </a:ext>
                </a:extLst>
              </p:cNvPr>
              <p:cNvSpPr>
                <a:spLocks/>
              </p:cNvSpPr>
              <p:nvPr/>
            </p:nvSpPr>
            <p:spPr bwMode="gray">
              <a:xfrm>
                <a:off x="5518193" y="6480723"/>
                <a:ext cx="260063" cy="193438"/>
              </a:xfrm>
              <a:custGeom>
                <a:avLst/>
                <a:gdLst>
                  <a:gd name="T0" fmla="*/ 428 w 558"/>
                  <a:gd name="T1" fmla="*/ 304 h 415"/>
                  <a:gd name="T2" fmla="*/ 378 w 558"/>
                  <a:gd name="T3" fmla="*/ 288 h 415"/>
                  <a:gd name="T4" fmla="*/ 341 w 558"/>
                  <a:gd name="T5" fmla="*/ 304 h 415"/>
                  <a:gd name="T6" fmla="*/ 319 w 558"/>
                  <a:gd name="T7" fmla="*/ 293 h 415"/>
                  <a:gd name="T8" fmla="*/ 178 w 558"/>
                  <a:gd name="T9" fmla="*/ 316 h 415"/>
                  <a:gd name="T10" fmla="*/ 194 w 558"/>
                  <a:gd name="T11" fmla="*/ 399 h 415"/>
                  <a:gd name="T12" fmla="*/ 194 w 558"/>
                  <a:gd name="T13" fmla="*/ 415 h 415"/>
                  <a:gd name="T14" fmla="*/ 135 w 558"/>
                  <a:gd name="T15" fmla="*/ 370 h 415"/>
                  <a:gd name="T16" fmla="*/ 85 w 558"/>
                  <a:gd name="T17" fmla="*/ 399 h 415"/>
                  <a:gd name="T18" fmla="*/ 38 w 558"/>
                  <a:gd name="T19" fmla="*/ 370 h 415"/>
                  <a:gd name="T20" fmla="*/ 10 w 558"/>
                  <a:gd name="T21" fmla="*/ 349 h 415"/>
                  <a:gd name="T22" fmla="*/ 10 w 558"/>
                  <a:gd name="T23" fmla="*/ 309 h 415"/>
                  <a:gd name="T24" fmla="*/ 15 w 558"/>
                  <a:gd name="T25" fmla="*/ 288 h 415"/>
                  <a:gd name="T26" fmla="*/ 15 w 558"/>
                  <a:gd name="T27" fmla="*/ 233 h 415"/>
                  <a:gd name="T28" fmla="*/ 64 w 558"/>
                  <a:gd name="T29" fmla="*/ 217 h 415"/>
                  <a:gd name="T30" fmla="*/ 81 w 558"/>
                  <a:gd name="T31" fmla="*/ 181 h 415"/>
                  <a:gd name="T32" fmla="*/ 85 w 558"/>
                  <a:gd name="T33" fmla="*/ 165 h 415"/>
                  <a:gd name="T34" fmla="*/ 85 w 558"/>
                  <a:gd name="T35" fmla="*/ 144 h 415"/>
                  <a:gd name="T36" fmla="*/ 145 w 558"/>
                  <a:gd name="T37" fmla="*/ 139 h 415"/>
                  <a:gd name="T38" fmla="*/ 161 w 558"/>
                  <a:gd name="T39" fmla="*/ 127 h 415"/>
                  <a:gd name="T40" fmla="*/ 189 w 558"/>
                  <a:gd name="T41" fmla="*/ 106 h 415"/>
                  <a:gd name="T42" fmla="*/ 215 w 558"/>
                  <a:gd name="T43" fmla="*/ 54 h 415"/>
                  <a:gd name="T44" fmla="*/ 248 w 558"/>
                  <a:gd name="T45" fmla="*/ 66 h 415"/>
                  <a:gd name="T46" fmla="*/ 270 w 558"/>
                  <a:gd name="T47" fmla="*/ 37 h 415"/>
                  <a:gd name="T48" fmla="*/ 308 w 558"/>
                  <a:gd name="T49" fmla="*/ 16 h 415"/>
                  <a:gd name="T50" fmla="*/ 357 w 558"/>
                  <a:gd name="T51" fmla="*/ 0 h 415"/>
                  <a:gd name="T52" fmla="*/ 374 w 558"/>
                  <a:gd name="T53" fmla="*/ 0 h 415"/>
                  <a:gd name="T54" fmla="*/ 395 w 558"/>
                  <a:gd name="T55" fmla="*/ 37 h 415"/>
                  <a:gd name="T56" fmla="*/ 411 w 558"/>
                  <a:gd name="T57" fmla="*/ 66 h 415"/>
                  <a:gd name="T58" fmla="*/ 459 w 558"/>
                  <a:gd name="T59" fmla="*/ 111 h 415"/>
                  <a:gd name="T60" fmla="*/ 482 w 558"/>
                  <a:gd name="T61" fmla="*/ 127 h 415"/>
                  <a:gd name="T62" fmla="*/ 459 w 558"/>
                  <a:gd name="T63" fmla="*/ 144 h 415"/>
                  <a:gd name="T64" fmla="*/ 534 w 558"/>
                  <a:gd name="T65" fmla="*/ 177 h 415"/>
                  <a:gd name="T66" fmla="*/ 534 w 558"/>
                  <a:gd name="T67" fmla="*/ 198 h 415"/>
                  <a:gd name="T68" fmla="*/ 551 w 558"/>
                  <a:gd name="T69" fmla="*/ 250 h 415"/>
                  <a:gd name="T70" fmla="*/ 504 w 558"/>
                  <a:gd name="T71" fmla="*/ 271 h 415"/>
                  <a:gd name="T72" fmla="*/ 482 w 558"/>
                  <a:gd name="T73" fmla="*/ 271 h 415"/>
                  <a:gd name="T74" fmla="*/ 449 w 558"/>
                  <a:gd name="T75" fmla="*/ 293 h 415"/>
                  <a:gd name="T76" fmla="*/ 449 w 558"/>
                  <a:gd name="T77" fmla="*/ 293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8" h="415">
                    <a:moveTo>
                      <a:pt x="449" y="293"/>
                    </a:moveTo>
                    <a:lnTo>
                      <a:pt x="428" y="304"/>
                    </a:lnTo>
                    <a:lnTo>
                      <a:pt x="428" y="293"/>
                    </a:lnTo>
                    <a:lnTo>
                      <a:pt x="378" y="288"/>
                    </a:lnTo>
                    <a:lnTo>
                      <a:pt x="362" y="288"/>
                    </a:lnTo>
                    <a:lnTo>
                      <a:pt x="341" y="304"/>
                    </a:lnTo>
                    <a:lnTo>
                      <a:pt x="341" y="293"/>
                    </a:lnTo>
                    <a:lnTo>
                      <a:pt x="319" y="293"/>
                    </a:lnTo>
                    <a:lnTo>
                      <a:pt x="189" y="293"/>
                    </a:lnTo>
                    <a:lnTo>
                      <a:pt x="178" y="316"/>
                    </a:lnTo>
                    <a:lnTo>
                      <a:pt x="194" y="349"/>
                    </a:lnTo>
                    <a:lnTo>
                      <a:pt x="194" y="399"/>
                    </a:lnTo>
                    <a:lnTo>
                      <a:pt x="199" y="404"/>
                    </a:lnTo>
                    <a:lnTo>
                      <a:pt x="194" y="415"/>
                    </a:lnTo>
                    <a:lnTo>
                      <a:pt x="161" y="370"/>
                    </a:lnTo>
                    <a:lnTo>
                      <a:pt x="135" y="370"/>
                    </a:lnTo>
                    <a:lnTo>
                      <a:pt x="90" y="382"/>
                    </a:lnTo>
                    <a:lnTo>
                      <a:pt x="85" y="399"/>
                    </a:lnTo>
                    <a:lnTo>
                      <a:pt x="52" y="387"/>
                    </a:lnTo>
                    <a:lnTo>
                      <a:pt x="38" y="370"/>
                    </a:lnTo>
                    <a:lnTo>
                      <a:pt x="26" y="349"/>
                    </a:lnTo>
                    <a:lnTo>
                      <a:pt x="10" y="349"/>
                    </a:lnTo>
                    <a:lnTo>
                      <a:pt x="0" y="333"/>
                    </a:lnTo>
                    <a:lnTo>
                      <a:pt x="10" y="309"/>
                    </a:lnTo>
                    <a:lnTo>
                      <a:pt x="0" y="293"/>
                    </a:lnTo>
                    <a:lnTo>
                      <a:pt x="15" y="288"/>
                    </a:lnTo>
                    <a:lnTo>
                      <a:pt x="26" y="259"/>
                    </a:lnTo>
                    <a:lnTo>
                      <a:pt x="15" y="233"/>
                    </a:lnTo>
                    <a:lnTo>
                      <a:pt x="26" y="222"/>
                    </a:lnTo>
                    <a:lnTo>
                      <a:pt x="64" y="217"/>
                    </a:lnTo>
                    <a:lnTo>
                      <a:pt x="81" y="198"/>
                    </a:lnTo>
                    <a:lnTo>
                      <a:pt x="81" y="181"/>
                    </a:lnTo>
                    <a:lnTo>
                      <a:pt x="69" y="165"/>
                    </a:lnTo>
                    <a:lnTo>
                      <a:pt x="85" y="165"/>
                    </a:lnTo>
                    <a:lnTo>
                      <a:pt x="90" y="160"/>
                    </a:lnTo>
                    <a:lnTo>
                      <a:pt x="85" y="144"/>
                    </a:lnTo>
                    <a:lnTo>
                      <a:pt x="107" y="111"/>
                    </a:lnTo>
                    <a:lnTo>
                      <a:pt x="145" y="139"/>
                    </a:lnTo>
                    <a:lnTo>
                      <a:pt x="145" y="127"/>
                    </a:lnTo>
                    <a:lnTo>
                      <a:pt x="161" y="127"/>
                    </a:lnTo>
                    <a:lnTo>
                      <a:pt x="156" y="94"/>
                    </a:lnTo>
                    <a:lnTo>
                      <a:pt x="189" y="106"/>
                    </a:lnTo>
                    <a:lnTo>
                      <a:pt x="189" y="70"/>
                    </a:lnTo>
                    <a:lnTo>
                      <a:pt x="215" y="54"/>
                    </a:lnTo>
                    <a:lnTo>
                      <a:pt x="244" y="66"/>
                    </a:lnTo>
                    <a:lnTo>
                      <a:pt x="248" y="66"/>
                    </a:lnTo>
                    <a:lnTo>
                      <a:pt x="248" y="37"/>
                    </a:lnTo>
                    <a:lnTo>
                      <a:pt x="270" y="37"/>
                    </a:lnTo>
                    <a:lnTo>
                      <a:pt x="298" y="28"/>
                    </a:lnTo>
                    <a:lnTo>
                      <a:pt x="308" y="16"/>
                    </a:lnTo>
                    <a:lnTo>
                      <a:pt x="336" y="0"/>
                    </a:lnTo>
                    <a:lnTo>
                      <a:pt x="357" y="0"/>
                    </a:lnTo>
                    <a:lnTo>
                      <a:pt x="362" y="0"/>
                    </a:lnTo>
                    <a:lnTo>
                      <a:pt x="374" y="0"/>
                    </a:lnTo>
                    <a:lnTo>
                      <a:pt x="404" y="11"/>
                    </a:lnTo>
                    <a:lnTo>
                      <a:pt x="395" y="37"/>
                    </a:lnTo>
                    <a:lnTo>
                      <a:pt x="416" y="54"/>
                    </a:lnTo>
                    <a:lnTo>
                      <a:pt x="411" y="66"/>
                    </a:lnTo>
                    <a:lnTo>
                      <a:pt x="428" y="94"/>
                    </a:lnTo>
                    <a:lnTo>
                      <a:pt x="459" y="111"/>
                    </a:lnTo>
                    <a:lnTo>
                      <a:pt x="459" y="111"/>
                    </a:lnTo>
                    <a:lnTo>
                      <a:pt x="482" y="127"/>
                    </a:lnTo>
                    <a:lnTo>
                      <a:pt x="459" y="122"/>
                    </a:lnTo>
                    <a:lnTo>
                      <a:pt x="459" y="144"/>
                    </a:lnTo>
                    <a:lnTo>
                      <a:pt x="497" y="177"/>
                    </a:lnTo>
                    <a:lnTo>
                      <a:pt x="534" y="177"/>
                    </a:lnTo>
                    <a:lnTo>
                      <a:pt x="541" y="193"/>
                    </a:lnTo>
                    <a:lnTo>
                      <a:pt x="534" y="198"/>
                    </a:lnTo>
                    <a:lnTo>
                      <a:pt x="558" y="233"/>
                    </a:lnTo>
                    <a:lnTo>
                      <a:pt x="551" y="250"/>
                    </a:lnTo>
                    <a:lnTo>
                      <a:pt x="525" y="259"/>
                    </a:lnTo>
                    <a:lnTo>
                      <a:pt x="504" y="271"/>
                    </a:lnTo>
                    <a:lnTo>
                      <a:pt x="487" y="259"/>
                    </a:lnTo>
                    <a:lnTo>
                      <a:pt x="482" y="271"/>
                    </a:lnTo>
                    <a:lnTo>
                      <a:pt x="471" y="276"/>
                    </a:lnTo>
                    <a:lnTo>
                      <a:pt x="449" y="293"/>
                    </a:lnTo>
                    <a:lnTo>
                      <a:pt x="449" y="293"/>
                    </a:lnTo>
                    <a:lnTo>
                      <a:pt x="449" y="29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00" name="Freeform 591">
                <a:extLst>
                  <a:ext uri="{FF2B5EF4-FFF2-40B4-BE49-F238E27FC236}">
                    <a16:creationId xmlns:a16="http://schemas.microsoft.com/office/drawing/2014/main" id="{81D76E89-17F8-43B9-B30C-C2E81EA9466B}"/>
                  </a:ext>
                </a:extLst>
              </p:cNvPr>
              <p:cNvSpPr>
                <a:spLocks/>
              </p:cNvSpPr>
              <p:nvPr/>
            </p:nvSpPr>
            <p:spPr bwMode="gray">
              <a:xfrm>
                <a:off x="6839482" y="5858458"/>
                <a:ext cx="20041" cy="43816"/>
              </a:xfrm>
              <a:custGeom>
                <a:avLst/>
                <a:gdLst>
                  <a:gd name="T0" fmla="*/ 43 w 43"/>
                  <a:gd name="T1" fmla="*/ 21 h 94"/>
                  <a:gd name="T2" fmla="*/ 43 w 43"/>
                  <a:gd name="T3" fmla="*/ 83 h 94"/>
                  <a:gd name="T4" fmla="*/ 17 w 43"/>
                  <a:gd name="T5" fmla="*/ 94 h 94"/>
                  <a:gd name="T6" fmla="*/ 0 w 43"/>
                  <a:gd name="T7" fmla="*/ 94 h 94"/>
                  <a:gd name="T8" fmla="*/ 7 w 43"/>
                  <a:gd name="T9" fmla="*/ 71 h 94"/>
                  <a:gd name="T10" fmla="*/ 21 w 43"/>
                  <a:gd name="T11" fmla="*/ 61 h 94"/>
                  <a:gd name="T12" fmla="*/ 7 w 43"/>
                  <a:gd name="T13" fmla="*/ 54 h 94"/>
                  <a:gd name="T14" fmla="*/ 17 w 43"/>
                  <a:gd name="T15" fmla="*/ 5 h 94"/>
                  <a:gd name="T16" fmla="*/ 21 w 43"/>
                  <a:gd name="T17" fmla="*/ 0 h 94"/>
                  <a:gd name="T18" fmla="*/ 43 w 43"/>
                  <a:gd name="T19" fmla="*/ 17 h 94"/>
                  <a:gd name="T20" fmla="*/ 43 w 43"/>
                  <a:gd name="T21" fmla="*/ 21 h 94"/>
                  <a:gd name="T22" fmla="*/ 43 w 43"/>
                  <a:gd name="T23" fmla="*/ 21 h 94"/>
                  <a:gd name="T24" fmla="*/ 43 w 43"/>
                  <a:gd name="T25" fmla="*/ 2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94">
                    <a:moveTo>
                      <a:pt x="43" y="21"/>
                    </a:moveTo>
                    <a:lnTo>
                      <a:pt x="43" y="83"/>
                    </a:lnTo>
                    <a:lnTo>
                      <a:pt x="17" y="94"/>
                    </a:lnTo>
                    <a:lnTo>
                      <a:pt x="0" y="94"/>
                    </a:lnTo>
                    <a:lnTo>
                      <a:pt x="7" y="71"/>
                    </a:lnTo>
                    <a:lnTo>
                      <a:pt x="21" y="61"/>
                    </a:lnTo>
                    <a:lnTo>
                      <a:pt x="7" y="54"/>
                    </a:lnTo>
                    <a:lnTo>
                      <a:pt x="17" y="5"/>
                    </a:lnTo>
                    <a:lnTo>
                      <a:pt x="21" y="0"/>
                    </a:lnTo>
                    <a:lnTo>
                      <a:pt x="43" y="17"/>
                    </a:lnTo>
                    <a:lnTo>
                      <a:pt x="43" y="21"/>
                    </a:lnTo>
                    <a:lnTo>
                      <a:pt x="43" y="21"/>
                    </a:lnTo>
                    <a:lnTo>
                      <a:pt x="43" y="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01" name="Freeform 592">
                <a:extLst>
                  <a:ext uri="{FF2B5EF4-FFF2-40B4-BE49-F238E27FC236}">
                    <a16:creationId xmlns:a16="http://schemas.microsoft.com/office/drawing/2014/main" id="{7D2D8A25-7505-4340-B7A2-C2A5330A6748}"/>
                  </a:ext>
                </a:extLst>
              </p:cNvPr>
              <p:cNvSpPr>
                <a:spLocks/>
              </p:cNvSpPr>
              <p:nvPr/>
            </p:nvSpPr>
            <p:spPr bwMode="gray">
              <a:xfrm>
                <a:off x="5139750" y="6037912"/>
                <a:ext cx="276375" cy="244244"/>
              </a:xfrm>
              <a:custGeom>
                <a:avLst/>
                <a:gdLst>
                  <a:gd name="T0" fmla="*/ 196 w 593"/>
                  <a:gd name="T1" fmla="*/ 487 h 524"/>
                  <a:gd name="T2" fmla="*/ 12 w 593"/>
                  <a:gd name="T3" fmla="*/ 487 h 524"/>
                  <a:gd name="T4" fmla="*/ 0 w 593"/>
                  <a:gd name="T5" fmla="*/ 524 h 524"/>
                  <a:gd name="T6" fmla="*/ 0 w 593"/>
                  <a:gd name="T7" fmla="*/ 508 h 524"/>
                  <a:gd name="T8" fmla="*/ 12 w 593"/>
                  <a:gd name="T9" fmla="*/ 435 h 524"/>
                  <a:gd name="T10" fmla="*/ 28 w 593"/>
                  <a:gd name="T11" fmla="*/ 413 h 524"/>
                  <a:gd name="T12" fmla="*/ 38 w 593"/>
                  <a:gd name="T13" fmla="*/ 409 h 524"/>
                  <a:gd name="T14" fmla="*/ 71 w 593"/>
                  <a:gd name="T15" fmla="*/ 335 h 524"/>
                  <a:gd name="T16" fmla="*/ 92 w 593"/>
                  <a:gd name="T17" fmla="*/ 295 h 524"/>
                  <a:gd name="T18" fmla="*/ 92 w 593"/>
                  <a:gd name="T19" fmla="*/ 286 h 524"/>
                  <a:gd name="T20" fmla="*/ 71 w 593"/>
                  <a:gd name="T21" fmla="*/ 302 h 524"/>
                  <a:gd name="T22" fmla="*/ 158 w 593"/>
                  <a:gd name="T23" fmla="*/ 229 h 524"/>
                  <a:gd name="T24" fmla="*/ 163 w 593"/>
                  <a:gd name="T25" fmla="*/ 168 h 524"/>
                  <a:gd name="T26" fmla="*/ 179 w 593"/>
                  <a:gd name="T27" fmla="*/ 135 h 524"/>
                  <a:gd name="T28" fmla="*/ 179 w 593"/>
                  <a:gd name="T29" fmla="*/ 113 h 524"/>
                  <a:gd name="T30" fmla="*/ 250 w 593"/>
                  <a:gd name="T31" fmla="*/ 73 h 524"/>
                  <a:gd name="T32" fmla="*/ 272 w 593"/>
                  <a:gd name="T33" fmla="*/ 0 h 524"/>
                  <a:gd name="T34" fmla="*/ 593 w 593"/>
                  <a:gd name="T35" fmla="*/ 0 h 524"/>
                  <a:gd name="T36" fmla="*/ 593 w 593"/>
                  <a:gd name="T37" fmla="*/ 24 h 524"/>
                  <a:gd name="T38" fmla="*/ 593 w 593"/>
                  <a:gd name="T39" fmla="*/ 130 h 524"/>
                  <a:gd name="T40" fmla="*/ 359 w 593"/>
                  <a:gd name="T41" fmla="*/ 130 h 524"/>
                  <a:gd name="T42" fmla="*/ 359 w 593"/>
                  <a:gd name="T43" fmla="*/ 324 h 524"/>
                  <a:gd name="T44" fmla="*/ 321 w 593"/>
                  <a:gd name="T45" fmla="*/ 335 h 524"/>
                  <a:gd name="T46" fmla="*/ 283 w 593"/>
                  <a:gd name="T47" fmla="*/ 364 h 524"/>
                  <a:gd name="T48" fmla="*/ 288 w 593"/>
                  <a:gd name="T49" fmla="*/ 487 h 524"/>
                  <a:gd name="T50" fmla="*/ 196 w 593"/>
                  <a:gd name="T51" fmla="*/ 487 h 524"/>
                  <a:gd name="T52" fmla="*/ 196 w 593"/>
                  <a:gd name="T53" fmla="*/ 487 h 524"/>
                  <a:gd name="T54" fmla="*/ 196 w 593"/>
                  <a:gd name="T55" fmla="*/ 48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93" h="524">
                    <a:moveTo>
                      <a:pt x="196" y="487"/>
                    </a:moveTo>
                    <a:lnTo>
                      <a:pt x="12" y="487"/>
                    </a:lnTo>
                    <a:lnTo>
                      <a:pt x="0" y="524"/>
                    </a:lnTo>
                    <a:lnTo>
                      <a:pt x="0" y="508"/>
                    </a:lnTo>
                    <a:lnTo>
                      <a:pt x="12" y="435"/>
                    </a:lnTo>
                    <a:lnTo>
                      <a:pt x="28" y="413"/>
                    </a:lnTo>
                    <a:lnTo>
                      <a:pt x="38" y="409"/>
                    </a:lnTo>
                    <a:lnTo>
                      <a:pt x="71" y="335"/>
                    </a:lnTo>
                    <a:lnTo>
                      <a:pt x="92" y="295"/>
                    </a:lnTo>
                    <a:lnTo>
                      <a:pt x="92" y="286"/>
                    </a:lnTo>
                    <a:lnTo>
                      <a:pt x="71" y="302"/>
                    </a:lnTo>
                    <a:lnTo>
                      <a:pt x="158" y="229"/>
                    </a:lnTo>
                    <a:lnTo>
                      <a:pt x="163" y="168"/>
                    </a:lnTo>
                    <a:lnTo>
                      <a:pt x="179" y="135"/>
                    </a:lnTo>
                    <a:lnTo>
                      <a:pt x="179" y="113"/>
                    </a:lnTo>
                    <a:lnTo>
                      <a:pt x="250" y="73"/>
                    </a:lnTo>
                    <a:lnTo>
                      <a:pt x="272" y="0"/>
                    </a:lnTo>
                    <a:lnTo>
                      <a:pt x="593" y="0"/>
                    </a:lnTo>
                    <a:lnTo>
                      <a:pt x="593" y="24"/>
                    </a:lnTo>
                    <a:lnTo>
                      <a:pt x="593" y="130"/>
                    </a:lnTo>
                    <a:lnTo>
                      <a:pt x="359" y="130"/>
                    </a:lnTo>
                    <a:lnTo>
                      <a:pt x="359" y="324"/>
                    </a:lnTo>
                    <a:lnTo>
                      <a:pt x="321" y="335"/>
                    </a:lnTo>
                    <a:lnTo>
                      <a:pt x="283" y="364"/>
                    </a:lnTo>
                    <a:lnTo>
                      <a:pt x="288" y="487"/>
                    </a:lnTo>
                    <a:lnTo>
                      <a:pt x="196" y="487"/>
                    </a:lnTo>
                    <a:lnTo>
                      <a:pt x="196" y="487"/>
                    </a:lnTo>
                    <a:lnTo>
                      <a:pt x="196" y="48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03" name="Freeform 595">
                <a:extLst>
                  <a:ext uri="{FF2B5EF4-FFF2-40B4-BE49-F238E27FC236}">
                    <a16:creationId xmlns:a16="http://schemas.microsoft.com/office/drawing/2014/main" id="{B06FF902-0345-4B52-8DB9-0A9BB534C35B}"/>
                  </a:ext>
                </a:extLst>
              </p:cNvPr>
              <p:cNvSpPr>
                <a:spLocks noEditPoints="1"/>
              </p:cNvSpPr>
              <p:nvPr/>
            </p:nvSpPr>
            <p:spPr bwMode="gray">
              <a:xfrm>
                <a:off x="7093953" y="6344151"/>
                <a:ext cx="384036" cy="238650"/>
              </a:xfrm>
              <a:custGeom>
                <a:avLst/>
                <a:gdLst>
                  <a:gd name="T0" fmla="*/ 21 w 824"/>
                  <a:gd name="T1" fmla="*/ 184 h 512"/>
                  <a:gd name="T2" fmla="*/ 38 w 824"/>
                  <a:gd name="T3" fmla="*/ 179 h 512"/>
                  <a:gd name="T4" fmla="*/ 38 w 824"/>
                  <a:gd name="T5" fmla="*/ 123 h 512"/>
                  <a:gd name="T6" fmla="*/ 63 w 824"/>
                  <a:gd name="T7" fmla="*/ 111 h 512"/>
                  <a:gd name="T8" fmla="*/ 123 w 824"/>
                  <a:gd name="T9" fmla="*/ 123 h 512"/>
                  <a:gd name="T10" fmla="*/ 252 w 824"/>
                  <a:gd name="T11" fmla="*/ 250 h 512"/>
                  <a:gd name="T12" fmla="*/ 656 w 824"/>
                  <a:gd name="T13" fmla="*/ 0 h 512"/>
                  <a:gd name="T14" fmla="*/ 694 w 824"/>
                  <a:gd name="T15" fmla="*/ 196 h 512"/>
                  <a:gd name="T16" fmla="*/ 661 w 824"/>
                  <a:gd name="T17" fmla="*/ 222 h 512"/>
                  <a:gd name="T18" fmla="*/ 602 w 824"/>
                  <a:gd name="T19" fmla="*/ 278 h 512"/>
                  <a:gd name="T20" fmla="*/ 522 w 824"/>
                  <a:gd name="T21" fmla="*/ 311 h 512"/>
                  <a:gd name="T22" fmla="*/ 446 w 824"/>
                  <a:gd name="T23" fmla="*/ 333 h 512"/>
                  <a:gd name="T24" fmla="*/ 425 w 824"/>
                  <a:gd name="T25" fmla="*/ 366 h 512"/>
                  <a:gd name="T26" fmla="*/ 371 w 824"/>
                  <a:gd name="T27" fmla="*/ 366 h 512"/>
                  <a:gd name="T28" fmla="*/ 281 w 824"/>
                  <a:gd name="T29" fmla="*/ 418 h 512"/>
                  <a:gd name="T30" fmla="*/ 193 w 824"/>
                  <a:gd name="T31" fmla="*/ 439 h 512"/>
                  <a:gd name="T32" fmla="*/ 172 w 824"/>
                  <a:gd name="T33" fmla="*/ 460 h 512"/>
                  <a:gd name="T34" fmla="*/ 160 w 824"/>
                  <a:gd name="T35" fmla="*/ 456 h 512"/>
                  <a:gd name="T36" fmla="*/ 156 w 824"/>
                  <a:gd name="T37" fmla="*/ 460 h 512"/>
                  <a:gd name="T38" fmla="*/ 118 w 824"/>
                  <a:gd name="T39" fmla="*/ 472 h 512"/>
                  <a:gd name="T40" fmla="*/ 63 w 824"/>
                  <a:gd name="T41" fmla="*/ 460 h 512"/>
                  <a:gd name="T42" fmla="*/ 54 w 824"/>
                  <a:gd name="T43" fmla="*/ 456 h 512"/>
                  <a:gd name="T44" fmla="*/ 38 w 824"/>
                  <a:gd name="T45" fmla="*/ 389 h 512"/>
                  <a:gd name="T46" fmla="*/ 16 w 824"/>
                  <a:gd name="T47" fmla="*/ 307 h 512"/>
                  <a:gd name="T48" fmla="*/ 0 w 824"/>
                  <a:gd name="T49" fmla="*/ 278 h 512"/>
                  <a:gd name="T50" fmla="*/ 12 w 824"/>
                  <a:gd name="T51" fmla="*/ 278 h 512"/>
                  <a:gd name="T52" fmla="*/ 12 w 824"/>
                  <a:gd name="T53" fmla="*/ 234 h 512"/>
                  <a:gd name="T54" fmla="*/ 12 w 824"/>
                  <a:gd name="T55" fmla="*/ 196 h 512"/>
                  <a:gd name="T56" fmla="*/ 12 w 824"/>
                  <a:gd name="T57" fmla="*/ 378 h 512"/>
                  <a:gd name="T58" fmla="*/ 12 w 824"/>
                  <a:gd name="T59" fmla="*/ 366 h 512"/>
                  <a:gd name="T60" fmla="*/ 12 w 824"/>
                  <a:gd name="T61" fmla="*/ 378 h 512"/>
                  <a:gd name="T62" fmla="*/ 808 w 824"/>
                  <a:gd name="T63" fmla="*/ 472 h 512"/>
                  <a:gd name="T64" fmla="*/ 803 w 824"/>
                  <a:gd name="T65" fmla="*/ 493 h 512"/>
                  <a:gd name="T66" fmla="*/ 749 w 824"/>
                  <a:gd name="T67" fmla="*/ 477 h 512"/>
                  <a:gd name="T68" fmla="*/ 775 w 824"/>
                  <a:gd name="T69" fmla="*/ 472 h 512"/>
                  <a:gd name="T70" fmla="*/ 808 w 824"/>
                  <a:gd name="T71" fmla="*/ 472 h 512"/>
                  <a:gd name="T72" fmla="*/ 808 w 824"/>
                  <a:gd name="T73" fmla="*/ 472 h 512"/>
                  <a:gd name="T74" fmla="*/ 656 w 824"/>
                  <a:gd name="T75" fmla="*/ 500 h 512"/>
                  <a:gd name="T76" fmla="*/ 678 w 824"/>
                  <a:gd name="T77" fmla="*/ 512 h 512"/>
                  <a:gd name="T78" fmla="*/ 678 w 824"/>
                  <a:gd name="T79" fmla="*/ 5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24" h="512">
                    <a:moveTo>
                      <a:pt x="12" y="196"/>
                    </a:moveTo>
                    <a:lnTo>
                      <a:pt x="21" y="184"/>
                    </a:lnTo>
                    <a:lnTo>
                      <a:pt x="33" y="179"/>
                    </a:lnTo>
                    <a:lnTo>
                      <a:pt x="38" y="179"/>
                    </a:lnTo>
                    <a:lnTo>
                      <a:pt x="33" y="156"/>
                    </a:lnTo>
                    <a:lnTo>
                      <a:pt x="38" y="123"/>
                    </a:lnTo>
                    <a:lnTo>
                      <a:pt x="49" y="111"/>
                    </a:lnTo>
                    <a:lnTo>
                      <a:pt x="63" y="111"/>
                    </a:lnTo>
                    <a:lnTo>
                      <a:pt x="87" y="127"/>
                    </a:lnTo>
                    <a:lnTo>
                      <a:pt x="123" y="123"/>
                    </a:lnTo>
                    <a:lnTo>
                      <a:pt x="252" y="179"/>
                    </a:lnTo>
                    <a:lnTo>
                      <a:pt x="252" y="250"/>
                    </a:lnTo>
                    <a:lnTo>
                      <a:pt x="425" y="56"/>
                    </a:lnTo>
                    <a:lnTo>
                      <a:pt x="656" y="0"/>
                    </a:lnTo>
                    <a:lnTo>
                      <a:pt x="732" y="179"/>
                    </a:lnTo>
                    <a:lnTo>
                      <a:pt x="694" y="196"/>
                    </a:lnTo>
                    <a:lnTo>
                      <a:pt x="668" y="200"/>
                    </a:lnTo>
                    <a:lnTo>
                      <a:pt x="661" y="222"/>
                    </a:lnTo>
                    <a:lnTo>
                      <a:pt x="661" y="255"/>
                    </a:lnTo>
                    <a:lnTo>
                      <a:pt x="602" y="278"/>
                    </a:lnTo>
                    <a:lnTo>
                      <a:pt x="550" y="295"/>
                    </a:lnTo>
                    <a:lnTo>
                      <a:pt x="522" y="311"/>
                    </a:lnTo>
                    <a:lnTo>
                      <a:pt x="505" y="311"/>
                    </a:lnTo>
                    <a:lnTo>
                      <a:pt x="446" y="333"/>
                    </a:lnTo>
                    <a:lnTo>
                      <a:pt x="441" y="349"/>
                    </a:lnTo>
                    <a:lnTo>
                      <a:pt x="425" y="366"/>
                    </a:lnTo>
                    <a:lnTo>
                      <a:pt x="392" y="378"/>
                    </a:lnTo>
                    <a:lnTo>
                      <a:pt x="371" y="366"/>
                    </a:lnTo>
                    <a:lnTo>
                      <a:pt x="333" y="401"/>
                    </a:lnTo>
                    <a:lnTo>
                      <a:pt x="281" y="418"/>
                    </a:lnTo>
                    <a:lnTo>
                      <a:pt x="210" y="423"/>
                    </a:lnTo>
                    <a:lnTo>
                      <a:pt x="193" y="439"/>
                    </a:lnTo>
                    <a:lnTo>
                      <a:pt x="172" y="444"/>
                    </a:lnTo>
                    <a:lnTo>
                      <a:pt x="172" y="460"/>
                    </a:lnTo>
                    <a:lnTo>
                      <a:pt x="160" y="460"/>
                    </a:lnTo>
                    <a:lnTo>
                      <a:pt x="160" y="456"/>
                    </a:lnTo>
                    <a:lnTo>
                      <a:pt x="156" y="460"/>
                    </a:lnTo>
                    <a:lnTo>
                      <a:pt x="156" y="460"/>
                    </a:lnTo>
                    <a:lnTo>
                      <a:pt x="130" y="456"/>
                    </a:lnTo>
                    <a:lnTo>
                      <a:pt x="118" y="472"/>
                    </a:lnTo>
                    <a:lnTo>
                      <a:pt x="92" y="477"/>
                    </a:lnTo>
                    <a:lnTo>
                      <a:pt x="63" y="460"/>
                    </a:lnTo>
                    <a:lnTo>
                      <a:pt x="54" y="472"/>
                    </a:lnTo>
                    <a:lnTo>
                      <a:pt x="54" y="456"/>
                    </a:lnTo>
                    <a:lnTo>
                      <a:pt x="38" y="434"/>
                    </a:lnTo>
                    <a:lnTo>
                      <a:pt x="38" y="389"/>
                    </a:lnTo>
                    <a:lnTo>
                      <a:pt x="33" y="378"/>
                    </a:lnTo>
                    <a:lnTo>
                      <a:pt x="16" y="307"/>
                    </a:lnTo>
                    <a:lnTo>
                      <a:pt x="16" y="290"/>
                    </a:lnTo>
                    <a:lnTo>
                      <a:pt x="0" y="278"/>
                    </a:lnTo>
                    <a:lnTo>
                      <a:pt x="0" y="271"/>
                    </a:lnTo>
                    <a:lnTo>
                      <a:pt x="12" y="278"/>
                    </a:lnTo>
                    <a:lnTo>
                      <a:pt x="0" y="250"/>
                    </a:lnTo>
                    <a:lnTo>
                      <a:pt x="12" y="234"/>
                    </a:lnTo>
                    <a:lnTo>
                      <a:pt x="12" y="196"/>
                    </a:lnTo>
                    <a:lnTo>
                      <a:pt x="12" y="196"/>
                    </a:lnTo>
                    <a:lnTo>
                      <a:pt x="12" y="196"/>
                    </a:lnTo>
                    <a:close/>
                    <a:moveTo>
                      <a:pt x="12" y="378"/>
                    </a:moveTo>
                    <a:lnTo>
                      <a:pt x="0" y="366"/>
                    </a:lnTo>
                    <a:lnTo>
                      <a:pt x="12" y="366"/>
                    </a:lnTo>
                    <a:lnTo>
                      <a:pt x="12" y="378"/>
                    </a:lnTo>
                    <a:lnTo>
                      <a:pt x="12" y="378"/>
                    </a:lnTo>
                    <a:lnTo>
                      <a:pt x="12" y="378"/>
                    </a:lnTo>
                    <a:close/>
                    <a:moveTo>
                      <a:pt x="808" y="472"/>
                    </a:moveTo>
                    <a:lnTo>
                      <a:pt x="824" y="477"/>
                    </a:lnTo>
                    <a:lnTo>
                      <a:pt x="803" y="493"/>
                    </a:lnTo>
                    <a:lnTo>
                      <a:pt x="770" y="493"/>
                    </a:lnTo>
                    <a:lnTo>
                      <a:pt x="749" y="477"/>
                    </a:lnTo>
                    <a:lnTo>
                      <a:pt x="753" y="460"/>
                    </a:lnTo>
                    <a:lnTo>
                      <a:pt x="775" y="472"/>
                    </a:lnTo>
                    <a:lnTo>
                      <a:pt x="803" y="472"/>
                    </a:lnTo>
                    <a:lnTo>
                      <a:pt x="808" y="472"/>
                    </a:lnTo>
                    <a:lnTo>
                      <a:pt x="808" y="472"/>
                    </a:lnTo>
                    <a:lnTo>
                      <a:pt x="808" y="472"/>
                    </a:lnTo>
                    <a:close/>
                    <a:moveTo>
                      <a:pt x="678" y="512"/>
                    </a:moveTo>
                    <a:lnTo>
                      <a:pt x="656" y="500"/>
                    </a:lnTo>
                    <a:lnTo>
                      <a:pt x="678" y="500"/>
                    </a:lnTo>
                    <a:lnTo>
                      <a:pt x="678" y="512"/>
                    </a:lnTo>
                    <a:lnTo>
                      <a:pt x="678" y="512"/>
                    </a:lnTo>
                    <a:lnTo>
                      <a:pt x="678" y="51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06" name="Freeform 598">
                <a:extLst>
                  <a:ext uri="{FF2B5EF4-FFF2-40B4-BE49-F238E27FC236}">
                    <a16:creationId xmlns:a16="http://schemas.microsoft.com/office/drawing/2014/main" id="{F3751F26-584A-40D5-8442-7AEC0C856837}"/>
                  </a:ext>
                </a:extLst>
              </p:cNvPr>
              <p:cNvSpPr>
                <a:spLocks/>
              </p:cNvSpPr>
              <p:nvPr/>
            </p:nvSpPr>
            <p:spPr bwMode="gray">
              <a:xfrm>
                <a:off x="6412568" y="6230417"/>
                <a:ext cx="547157" cy="466116"/>
              </a:xfrm>
              <a:custGeom>
                <a:avLst/>
                <a:gdLst>
                  <a:gd name="T0" fmla="*/ 67 w 497"/>
                  <a:gd name="T1" fmla="*/ 423 h 423"/>
                  <a:gd name="T2" fmla="*/ 119 w 497"/>
                  <a:gd name="T3" fmla="*/ 370 h 423"/>
                  <a:gd name="T4" fmla="*/ 186 w 497"/>
                  <a:gd name="T5" fmla="*/ 384 h 423"/>
                  <a:gd name="T6" fmla="*/ 210 w 497"/>
                  <a:gd name="T7" fmla="*/ 395 h 423"/>
                  <a:gd name="T8" fmla="*/ 238 w 497"/>
                  <a:gd name="T9" fmla="*/ 384 h 423"/>
                  <a:gd name="T10" fmla="*/ 257 w 497"/>
                  <a:gd name="T11" fmla="*/ 363 h 423"/>
                  <a:gd name="T12" fmla="*/ 289 w 497"/>
                  <a:gd name="T13" fmla="*/ 384 h 423"/>
                  <a:gd name="T14" fmla="*/ 325 w 497"/>
                  <a:gd name="T15" fmla="*/ 314 h 423"/>
                  <a:gd name="T16" fmla="*/ 337 w 497"/>
                  <a:gd name="T17" fmla="*/ 311 h 423"/>
                  <a:gd name="T18" fmla="*/ 352 w 497"/>
                  <a:gd name="T19" fmla="*/ 297 h 423"/>
                  <a:gd name="T20" fmla="*/ 372 w 497"/>
                  <a:gd name="T21" fmla="*/ 363 h 423"/>
                  <a:gd name="T22" fmla="*/ 375 w 497"/>
                  <a:gd name="T23" fmla="*/ 363 h 423"/>
                  <a:gd name="T24" fmla="*/ 388 w 497"/>
                  <a:gd name="T25" fmla="*/ 362 h 423"/>
                  <a:gd name="T26" fmla="*/ 390 w 497"/>
                  <a:gd name="T27" fmla="*/ 345 h 423"/>
                  <a:gd name="T28" fmla="*/ 395 w 497"/>
                  <a:gd name="T29" fmla="*/ 329 h 423"/>
                  <a:gd name="T30" fmla="*/ 413 w 497"/>
                  <a:gd name="T31" fmla="*/ 303 h 423"/>
                  <a:gd name="T32" fmla="*/ 427 w 497"/>
                  <a:gd name="T33" fmla="*/ 289 h 423"/>
                  <a:gd name="T34" fmla="*/ 433 w 497"/>
                  <a:gd name="T35" fmla="*/ 263 h 423"/>
                  <a:gd name="T36" fmla="*/ 433 w 497"/>
                  <a:gd name="T37" fmla="*/ 225 h 423"/>
                  <a:gd name="T38" fmla="*/ 445 w 497"/>
                  <a:gd name="T39" fmla="*/ 181 h 423"/>
                  <a:gd name="T40" fmla="*/ 449 w 497"/>
                  <a:gd name="T41" fmla="*/ 164 h 423"/>
                  <a:gd name="T42" fmla="*/ 465 w 497"/>
                  <a:gd name="T43" fmla="*/ 157 h 423"/>
                  <a:gd name="T44" fmla="*/ 488 w 497"/>
                  <a:gd name="T45" fmla="*/ 150 h 423"/>
                  <a:gd name="T46" fmla="*/ 495 w 497"/>
                  <a:gd name="T47" fmla="*/ 131 h 423"/>
                  <a:gd name="T48" fmla="*/ 472 w 497"/>
                  <a:gd name="T49" fmla="*/ 115 h 423"/>
                  <a:gd name="T50" fmla="*/ 463 w 497"/>
                  <a:gd name="T51" fmla="*/ 108 h 423"/>
                  <a:gd name="T52" fmla="*/ 456 w 497"/>
                  <a:gd name="T53" fmla="*/ 63 h 423"/>
                  <a:gd name="T54" fmla="*/ 452 w 497"/>
                  <a:gd name="T55" fmla="*/ 33 h 423"/>
                  <a:gd name="T56" fmla="*/ 458 w 497"/>
                  <a:gd name="T57" fmla="*/ 40 h 423"/>
                  <a:gd name="T58" fmla="*/ 449 w 497"/>
                  <a:gd name="T59" fmla="*/ 21 h 423"/>
                  <a:gd name="T60" fmla="*/ 285 w 497"/>
                  <a:gd name="T61" fmla="*/ 7 h 423"/>
                  <a:gd name="T62" fmla="*/ 285 w 497"/>
                  <a:gd name="T63" fmla="*/ 0 h 423"/>
                  <a:gd name="T64" fmla="*/ 93 w 497"/>
                  <a:gd name="T65" fmla="*/ 7 h 423"/>
                  <a:gd name="T66" fmla="*/ 63 w 497"/>
                  <a:gd name="T67" fmla="*/ 70 h 423"/>
                  <a:gd name="T68" fmla="*/ 63 w 497"/>
                  <a:gd name="T69" fmla="*/ 209 h 423"/>
                  <a:gd name="T70" fmla="*/ 34 w 497"/>
                  <a:gd name="T71" fmla="*/ 211 h 423"/>
                  <a:gd name="T72" fmla="*/ 34 w 497"/>
                  <a:gd name="T73" fmla="*/ 225 h 423"/>
                  <a:gd name="T74" fmla="*/ 25 w 497"/>
                  <a:gd name="T75" fmla="*/ 239 h 423"/>
                  <a:gd name="T76" fmla="*/ 22 w 497"/>
                  <a:gd name="T77" fmla="*/ 256 h 423"/>
                  <a:gd name="T78" fmla="*/ 9 w 497"/>
                  <a:gd name="T79" fmla="*/ 268 h 423"/>
                  <a:gd name="T80" fmla="*/ 6 w 497"/>
                  <a:gd name="T81" fmla="*/ 289 h 423"/>
                  <a:gd name="T82" fmla="*/ 6 w 497"/>
                  <a:gd name="T83" fmla="*/ 303 h 423"/>
                  <a:gd name="T84" fmla="*/ 11 w 497"/>
                  <a:gd name="T85" fmla="*/ 298 h 423"/>
                  <a:gd name="T86" fmla="*/ 18 w 497"/>
                  <a:gd name="T87" fmla="*/ 310 h 423"/>
                  <a:gd name="T88" fmla="*/ 22 w 497"/>
                  <a:gd name="T89" fmla="*/ 336 h 423"/>
                  <a:gd name="T90" fmla="*/ 32 w 497"/>
                  <a:gd name="T91" fmla="*/ 338 h 423"/>
                  <a:gd name="T92" fmla="*/ 32 w 497"/>
                  <a:gd name="T93" fmla="*/ 357 h 423"/>
                  <a:gd name="T94" fmla="*/ 54 w 497"/>
                  <a:gd name="T95" fmla="*/ 390 h 423"/>
                  <a:gd name="T96" fmla="*/ 52 w 497"/>
                  <a:gd name="T97" fmla="*/ 409 h 423"/>
                  <a:gd name="T98" fmla="*/ 52 w 497"/>
                  <a:gd name="T99" fmla="*/ 416 h 423"/>
                  <a:gd name="T100" fmla="*/ 67 w 497"/>
                  <a:gd name="T101"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7" h="423">
                    <a:moveTo>
                      <a:pt x="67" y="423"/>
                    </a:moveTo>
                    <a:cubicBezTo>
                      <a:pt x="67" y="423"/>
                      <a:pt x="67" y="423"/>
                      <a:pt x="67" y="423"/>
                    </a:cubicBezTo>
                    <a:cubicBezTo>
                      <a:pt x="67" y="423"/>
                      <a:pt x="67" y="423"/>
                      <a:pt x="95" y="367"/>
                    </a:cubicBezTo>
                    <a:cubicBezTo>
                      <a:pt x="95" y="367"/>
                      <a:pt x="95" y="367"/>
                      <a:pt x="119" y="370"/>
                    </a:cubicBezTo>
                    <a:cubicBezTo>
                      <a:pt x="119" y="370"/>
                      <a:pt x="119" y="370"/>
                      <a:pt x="135" y="391"/>
                    </a:cubicBezTo>
                    <a:cubicBezTo>
                      <a:pt x="135" y="391"/>
                      <a:pt x="135" y="391"/>
                      <a:pt x="186" y="384"/>
                    </a:cubicBezTo>
                    <a:cubicBezTo>
                      <a:pt x="186" y="384"/>
                      <a:pt x="186" y="384"/>
                      <a:pt x="186" y="395"/>
                    </a:cubicBezTo>
                    <a:cubicBezTo>
                      <a:pt x="186" y="395"/>
                      <a:pt x="186" y="395"/>
                      <a:pt x="210" y="395"/>
                    </a:cubicBezTo>
                    <a:cubicBezTo>
                      <a:pt x="210" y="395"/>
                      <a:pt x="210" y="395"/>
                      <a:pt x="222" y="384"/>
                    </a:cubicBezTo>
                    <a:cubicBezTo>
                      <a:pt x="222" y="384"/>
                      <a:pt x="222" y="384"/>
                      <a:pt x="238" y="384"/>
                    </a:cubicBezTo>
                    <a:cubicBezTo>
                      <a:pt x="238" y="384"/>
                      <a:pt x="238" y="384"/>
                      <a:pt x="238" y="370"/>
                    </a:cubicBezTo>
                    <a:cubicBezTo>
                      <a:pt x="238" y="370"/>
                      <a:pt x="238" y="370"/>
                      <a:pt x="257" y="363"/>
                    </a:cubicBezTo>
                    <a:cubicBezTo>
                      <a:pt x="257" y="363"/>
                      <a:pt x="257" y="363"/>
                      <a:pt x="281" y="384"/>
                    </a:cubicBezTo>
                    <a:cubicBezTo>
                      <a:pt x="281" y="384"/>
                      <a:pt x="281" y="384"/>
                      <a:pt x="289" y="384"/>
                    </a:cubicBezTo>
                    <a:cubicBezTo>
                      <a:pt x="289" y="384"/>
                      <a:pt x="289" y="384"/>
                      <a:pt x="325" y="342"/>
                    </a:cubicBezTo>
                    <a:cubicBezTo>
                      <a:pt x="325" y="342"/>
                      <a:pt x="325" y="342"/>
                      <a:pt x="325" y="314"/>
                    </a:cubicBezTo>
                    <a:cubicBezTo>
                      <a:pt x="325" y="314"/>
                      <a:pt x="325" y="314"/>
                      <a:pt x="321" y="314"/>
                    </a:cubicBezTo>
                    <a:cubicBezTo>
                      <a:pt x="321" y="314"/>
                      <a:pt x="321" y="314"/>
                      <a:pt x="337" y="311"/>
                    </a:cubicBezTo>
                    <a:cubicBezTo>
                      <a:pt x="337" y="311"/>
                      <a:pt x="337" y="311"/>
                      <a:pt x="337" y="297"/>
                    </a:cubicBezTo>
                    <a:cubicBezTo>
                      <a:pt x="337" y="297"/>
                      <a:pt x="337" y="297"/>
                      <a:pt x="352" y="297"/>
                    </a:cubicBezTo>
                    <a:cubicBezTo>
                      <a:pt x="352" y="297"/>
                      <a:pt x="352" y="297"/>
                      <a:pt x="352" y="360"/>
                    </a:cubicBezTo>
                    <a:cubicBezTo>
                      <a:pt x="372" y="363"/>
                      <a:pt x="372" y="363"/>
                      <a:pt x="372" y="363"/>
                    </a:cubicBezTo>
                    <a:cubicBezTo>
                      <a:pt x="372" y="363"/>
                      <a:pt x="372" y="363"/>
                      <a:pt x="372" y="364"/>
                    </a:cubicBezTo>
                    <a:cubicBezTo>
                      <a:pt x="375" y="363"/>
                      <a:pt x="375" y="363"/>
                      <a:pt x="375" y="363"/>
                    </a:cubicBezTo>
                    <a:cubicBezTo>
                      <a:pt x="381" y="357"/>
                      <a:pt x="381" y="357"/>
                      <a:pt x="381" y="357"/>
                    </a:cubicBezTo>
                    <a:cubicBezTo>
                      <a:pt x="388" y="362"/>
                      <a:pt x="388" y="362"/>
                      <a:pt x="388" y="362"/>
                    </a:cubicBezTo>
                    <a:cubicBezTo>
                      <a:pt x="390" y="357"/>
                      <a:pt x="390" y="357"/>
                      <a:pt x="390" y="357"/>
                    </a:cubicBezTo>
                    <a:cubicBezTo>
                      <a:pt x="390" y="345"/>
                      <a:pt x="390" y="345"/>
                      <a:pt x="390" y="345"/>
                    </a:cubicBezTo>
                    <a:cubicBezTo>
                      <a:pt x="395" y="336"/>
                      <a:pt x="395" y="336"/>
                      <a:pt x="395" y="336"/>
                    </a:cubicBezTo>
                    <a:cubicBezTo>
                      <a:pt x="395" y="329"/>
                      <a:pt x="395" y="329"/>
                      <a:pt x="395" y="329"/>
                    </a:cubicBezTo>
                    <a:cubicBezTo>
                      <a:pt x="399" y="326"/>
                      <a:pt x="399" y="326"/>
                      <a:pt x="399" y="326"/>
                    </a:cubicBezTo>
                    <a:cubicBezTo>
                      <a:pt x="413" y="303"/>
                      <a:pt x="413" y="303"/>
                      <a:pt x="413" y="303"/>
                    </a:cubicBezTo>
                    <a:cubicBezTo>
                      <a:pt x="427" y="298"/>
                      <a:pt x="427" y="298"/>
                      <a:pt x="427" y="298"/>
                    </a:cubicBezTo>
                    <a:cubicBezTo>
                      <a:pt x="427" y="289"/>
                      <a:pt x="427" y="289"/>
                      <a:pt x="427" y="289"/>
                    </a:cubicBezTo>
                    <a:cubicBezTo>
                      <a:pt x="436" y="265"/>
                      <a:pt x="436" y="265"/>
                      <a:pt x="436" y="265"/>
                    </a:cubicBezTo>
                    <a:cubicBezTo>
                      <a:pt x="433" y="263"/>
                      <a:pt x="433" y="263"/>
                      <a:pt x="433" y="263"/>
                    </a:cubicBezTo>
                    <a:cubicBezTo>
                      <a:pt x="436" y="251"/>
                      <a:pt x="436" y="251"/>
                      <a:pt x="436" y="251"/>
                    </a:cubicBezTo>
                    <a:cubicBezTo>
                      <a:pt x="433" y="225"/>
                      <a:pt x="433" y="225"/>
                      <a:pt x="433" y="225"/>
                    </a:cubicBezTo>
                    <a:cubicBezTo>
                      <a:pt x="449" y="188"/>
                      <a:pt x="449" y="188"/>
                      <a:pt x="449" y="188"/>
                    </a:cubicBezTo>
                    <a:cubicBezTo>
                      <a:pt x="445" y="181"/>
                      <a:pt x="445" y="181"/>
                      <a:pt x="445" y="181"/>
                    </a:cubicBezTo>
                    <a:cubicBezTo>
                      <a:pt x="449" y="174"/>
                      <a:pt x="449" y="174"/>
                      <a:pt x="449" y="174"/>
                    </a:cubicBezTo>
                    <a:cubicBezTo>
                      <a:pt x="449" y="164"/>
                      <a:pt x="449" y="164"/>
                      <a:pt x="449" y="164"/>
                    </a:cubicBezTo>
                    <a:cubicBezTo>
                      <a:pt x="463" y="164"/>
                      <a:pt x="463" y="164"/>
                      <a:pt x="463" y="164"/>
                    </a:cubicBezTo>
                    <a:cubicBezTo>
                      <a:pt x="465" y="157"/>
                      <a:pt x="465" y="157"/>
                      <a:pt x="465" y="157"/>
                    </a:cubicBezTo>
                    <a:cubicBezTo>
                      <a:pt x="481" y="148"/>
                      <a:pt x="481" y="148"/>
                      <a:pt x="481" y="148"/>
                    </a:cubicBezTo>
                    <a:cubicBezTo>
                      <a:pt x="488" y="150"/>
                      <a:pt x="488" y="150"/>
                      <a:pt x="488" y="150"/>
                    </a:cubicBezTo>
                    <a:cubicBezTo>
                      <a:pt x="497" y="134"/>
                      <a:pt x="497" y="134"/>
                      <a:pt x="497" y="134"/>
                    </a:cubicBezTo>
                    <a:cubicBezTo>
                      <a:pt x="495" y="131"/>
                      <a:pt x="495" y="131"/>
                      <a:pt x="495" y="131"/>
                    </a:cubicBezTo>
                    <a:cubicBezTo>
                      <a:pt x="481" y="124"/>
                      <a:pt x="481" y="124"/>
                      <a:pt x="481" y="124"/>
                    </a:cubicBezTo>
                    <a:cubicBezTo>
                      <a:pt x="472" y="115"/>
                      <a:pt x="472" y="115"/>
                      <a:pt x="472" y="115"/>
                    </a:cubicBezTo>
                    <a:cubicBezTo>
                      <a:pt x="465" y="110"/>
                      <a:pt x="465" y="110"/>
                      <a:pt x="465" y="110"/>
                    </a:cubicBezTo>
                    <a:cubicBezTo>
                      <a:pt x="463" y="108"/>
                      <a:pt x="463" y="108"/>
                      <a:pt x="463" y="108"/>
                    </a:cubicBezTo>
                    <a:cubicBezTo>
                      <a:pt x="458" y="84"/>
                      <a:pt x="458" y="84"/>
                      <a:pt x="458" y="84"/>
                    </a:cubicBezTo>
                    <a:cubicBezTo>
                      <a:pt x="456" y="63"/>
                      <a:pt x="456" y="63"/>
                      <a:pt x="456" y="63"/>
                    </a:cubicBezTo>
                    <a:cubicBezTo>
                      <a:pt x="456" y="54"/>
                      <a:pt x="456" y="54"/>
                      <a:pt x="456" y="54"/>
                    </a:cubicBezTo>
                    <a:cubicBezTo>
                      <a:pt x="452" y="33"/>
                      <a:pt x="452" y="33"/>
                      <a:pt x="452" y="33"/>
                    </a:cubicBezTo>
                    <a:cubicBezTo>
                      <a:pt x="456" y="37"/>
                      <a:pt x="456" y="37"/>
                      <a:pt x="456" y="37"/>
                    </a:cubicBezTo>
                    <a:cubicBezTo>
                      <a:pt x="458" y="40"/>
                      <a:pt x="458" y="40"/>
                      <a:pt x="458" y="40"/>
                    </a:cubicBezTo>
                    <a:cubicBezTo>
                      <a:pt x="458" y="37"/>
                      <a:pt x="458" y="37"/>
                      <a:pt x="458" y="37"/>
                    </a:cubicBezTo>
                    <a:cubicBezTo>
                      <a:pt x="449" y="21"/>
                      <a:pt x="449" y="21"/>
                      <a:pt x="449" y="21"/>
                    </a:cubicBezTo>
                    <a:cubicBezTo>
                      <a:pt x="445" y="7"/>
                      <a:pt x="445" y="7"/>
                      <a:pt x="445" y="7"/>
                    </a:cubicBezTo>
                    <a:cubicBezTo>
                      <a:pt x="285" y="7"/>
                      <a:pt x="285" y="7"/>
                      <a:pt x="285" y="7"/>
                    </a:cubicBezTo>
                    <a:cubicBezTo>
                      <a:pt x="290" y="4"/>
                      <a:pt x="290" y="4"/>
                      <a:pt x="290" y="4"/>
                    </a:cubicBezTo>
                    <a:cubicBezTo>
                      <a:pt x="285" y="0"/>
                      <a:pt x="285" y="0"/>
                      <a:pt x="285" y="0"/>
                    </a:cubicBezTo>
                    <a:cubicBezTo>
                      <a:pt x="280" y="7"/>
                      <a:pt x="280" y="7"/>
                      <a:pt x="280" y="7"/>
                    </a:cubicBezTo>
                    <a:cubicBezTo>
                      <a:pt x="93" y="7"/>
                      <a:pt x="93" y="7"/>
                      <a:pt x="93" y="7"/>
                    </a:cubicBezTo>
                    <a:cubicBezTo>
                      <a:pt x="93" y="70"/>
                      <a:pt x="93" y="70"/>
                      <a:pt x="93" y="70"/>
                    </a:cubicBezTo>
                    <a:cubicBezTo>
                      <a:pt x="63" y="70"/>
                      <a:pt x="63" y="70"/>
                      <a:pt x="63" y="70"/>
                    </a:cubicBezTo>
                    <a:cubicBezTo>
                      <a:pt x="63" y="87"/>
                      <a:pt x="63" y="87"/>
                      <a:pt x="63" y="87"/>
                    </a:cubicBezTo>
                    <a:cubicBezTo>
                      <a:pt x="63" y="209"/>
                      <a:pt x="63" y="209"/>
                      <a:pt x="63" y="209"/>
                    </a:cubicBezTo>
                    <a:cubicBezTo>
                      <a:pt x="38" y="209"/>
                      <a:pt x="38" y="209"/>
                      <a:pt x="38" y="209"/>
                    </a:cubicBezTo>
                    <a:cubicBezTo>
                      <a:pt x="34" y="211"/>
                      <a:pt x="34" y="211"/>
                      <a:pt x="34" y="211"/>
                    </a:cubicBezTo>
                    <a:cubicBezTo>
                      <a:pt x="34" y="218"/>
                      <a:pt x="34" y="218"/>
                      <a:pt x="34" y="218"/>
                    </a:cubicBezTo>
                    <a:cubicBezTo>
                      <a:pt x="34" y="225"/>
                      <a:pt x="34" y="225"/>
                      <a:pt x="34" y="225"/>
                    </a:cubicBezTo>
                    <a:cubicBezTo>
                      <a:pt x="25" y="235"/>
                      <a:pt x="25" y="235"/>
                      <a:pt x="25" y="235"/>
                    </a:cubicBezTo>
                    <a:cubicBezTo>
                      <a:pt x="25" y="239"/>
                      <a:pt x="25" y="239"/>
                      <a:pt x="25" y="239"/>
                    </a:cubicBezTo>
                    <a:cubicBezTo>
                      <a:pt x="18" y="242"/>
                      <a:pt x="18" y="242"/>
                      <a:pt x="18" y="242"/>
                    </a:cubicBezTo>
                    <a:cubicBezTo>
                      <a:pt x="22" y="256"/>
                      <a:pt x="22" y="256"/>
                      <a:pt x="22" y="256"/>
                    </a:cubicBezTo>
                    <a:cubicBezTo>
                      <a:pt x="11" y="263"/>
                      <a:pt x="11" y="263"/>
                      <a:pt x="11" y="263"/>
                    </a:cubicBezTo>
                    <a:cubicBezTo>
                      <a:pt x="9" y="268"/>
                      <a:pt x="9" y="268"/>
                      <a:pt x="9" y="268"/>
                    </a:cubicBezTo>
                    <a:cubicBezTo>
                      <a:pt x="16" y="279"/>
                      <a:pt x="16" y="279"/>
                      <a:pt x="16" y="279"/>
                    </a:cubicBezTo>
                    <a:cubicBezTo>
                      <a:pt x="6" y="289"/>
                      <a:pt x="6" y="289"/>
                      <a:pt x="6" y="289"/>
                    </a:cubicBezTo>
                    <a:cubicBezTo>
                      <a:pt x="0" y="298"/>
                      <a:pt x="0" y="298"/>
                      <a:pt x="0" y="298"/>
                    </a:cubicBezTo>
                    <a:cubicBezTo>
                      <a:pt x="6" y="303"/>
                      <a:pt x="6" y="303"/>
                      <a:pt x="6" y="303"/>
                    </a:cubicBezTo>
                    <a:cubicBezTo>
                      <a:pt x="9" y="303"/>
                      <a:pt x="9" y="303"/>
                      <a:pt x="9" y="303"/>
                    </a:cubicBezTo>
                    <a:cubicBezTo>
                      <a:pt x="11" y="298"/>
                      <a:pt x="11" y="298"/>
                      <a:pt x="11" y="298"/>
                    </a:cubicBezTo>
                    <a:cubicBezTo>
                      <a:pt x="18" y="303"/>
                      <a:pt x="18" y="303"/>
                      <a:pt x="18" y="303"/>
                    </a:cubicBezTo>
                    <a:cubicBezTo>
                      <a:pt x="18" y="310"/>
                      <a:pt x="18" y="310"/>
                      <a:pt x="18" y="310"/>
                    </a:cubicBezTo>
                    <a:cubicBezTo>
                      <a:pt x="25" y="322"/>
                      <a:pt x="25" y="322"/>
                      <a:pt x="25" y="322"/>
                    </a:cubicBezTo>
                    <a:cubicBezTo>
                      <a:pt x="22" y="336"/>
                      <a:pt x="22" y="336"/>
                      <a:pt x="22" y="336"/>
                    </a:cubicBezTo>
                    <a:cubicBezTo>
                      <a:pt x="29" y="338"/>
                      <a:pt x="29" y="338"/>
                      <a:pt x="29" y="338"/>
                    </a:cubicBezTo>
                    <a:cubicBezTo>
                      <a:pt x="32" y="338"/>
                      <a:pt x="32" y="338"/>
                      <a:pt x="32" y="338"/>
                    </a:cubicBezTo>
                    <a:cubicBezTo>
                      <a:pt x="34" y="345"/>
                      <a:pt x="34" y="345"/>
                      <a:pt x="34" y="345"/>
                    </a:cubicBezTo>
                    <a:cubicBezTo>
                      <a:pt x="32" y="357"/>
                      <a:pt x="32" y="357"/>
                      <a:pt x="32" y="357"/>
                    </a:cubicBezTo>
                    <a:cubicBezTo>
                      <a:pt x="45" y="369"/>
                      <a:pt x="45" y="369"/>
                      <a:pt x="45" y="369"/>
                    </a:cubicBezTo>
                    <a:cubicBezTo>
                      <a:pt x="54" y="390"/>
                      <a:pt x="54" y="390"/>
                      <a:pt x="54" y="390"/>
                    </a:cubicBezTo>
                    <a:cubicBezTo>
                      <a:pt x="54" y="406"/>
                      <a:pt x="54" y="406"/>
                      <a:pt x="54" y="406"/>
                    </a:cubicBezTo>
                    <a:cubicBezTo>
                      <a:pt x="52" y="409"/>
                      <a:pt x="52" y="409"/>
                      <a:pt x="52" y="409"/>
                    </a:cubicBezTo>
                    <a:cubicBezTo>
                      <a:pt x="47" y="413"/>
                      <a:pt x="47" y="413"/>
                      <a:pt x="47" y="413"/>
                    </a:cubicBezTo>
                    <a:cubicBezTo>
                      <a:pt x="52" y="416"/>
                      <a:pt x="52" y="416"/>
                      <a:pt x="52" y="416"/>
                    </a:cubicBezTo>
                    <a:cubicBezTo>
                      <a:pt x="52" y="423"/>
                      <a:pt x="52" y="423"/>
                      <a:pt x="52" y="423"/>
                    </a:cubicBezTo>
                    <a:lnTo>
                      <a:pt x="67" y="42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07" name="Freeform 599">
                <a:extLst>
                  <a:ext uri="{FF2B5EF4-FFF2-40B4-BE49-F238E27FC236}">
                    <a16:creationId xmlns:a16="http://schemas.microsoft.com/office/drawing/2014/main" id="{1D954D47-1DFB-4B7B-8E4E-B6E1967AE4F2}"/>
                  </a:ext>
                </a:extLst>
              </p:cNvPr>
              <p:cNvSpPr>
                <a:spLocks/>
              </p:cNvSpPr>
              <p:nvPr/>
            </p:nvSpPr>
            <p:spPr bwMode="gray">
              <a:xfrm>
                <a:off x="6486206" y="6557632"/>
                <a:ext cx="388697" cy="316958"/>
              </a:xfrm>
              <a:custGeom>
                <a:avLst/>
                <a:gdLst>
                  <a:gd name="T0" fmla="*/ 339 w 353"/>
                  <a:gd name="T1" fmla="*/ 227 h 288"/>
                  <a:gd name="T2" fmla="*/ 332 w 353"/>
                  <a:gd name="T3" fmla="*/ 227 h 288"/>
                  <a:gd name="T4" fmla="*/ 323 w 353"/>
                  <a:gd name="T5" fmla="*/ 210 h 288"/>
                  <a:gd name="T6" fmla="*/ 309 w 353"/>
                  <a:gd name="T7" fmla="*/ 187 h 288"/>
                  <a:gd name="T8" fmla="*/ 300 w 353"/>
                  <a:gd name="T9" fmla="*/ 180 h 288"/>
                  <a:gd name="T10" fmla="*/ 277 w 353"/>
                  <a:gd name="T11" fmla="*/ 156 h 288"/>
                  <a:gd name="T12" fmla="*/ 264 w 353"/>
                  <a:gd name="T13" fmla="*/ 149 h 288"/>
                  <a:gd name="T14" fmla="*/ 270 w 353"/>
                  <a:gd name="T15" fmla="*/ 135 h 288"/>
                  <a:gd name="T16" fmla="*/ 286 w 353"/>
                  <a:gd name="T17" fmla="*/ 135 h 288"/>
                  <a:gd name="T18" fmla="*/ 298 w 353"/>
                  <a:gd name="T19" fmla="*/ 102 h 288"/>
                  <a:gd name="T20" fmla="*/ 305 w 353"/>
                  <a:gd name="T21" fmla="*/ 69 h 288"/>
                  <a:gd name="T22" fmla="*/ 305 w 353"/>
                  <a:gd name="T23" fmla="*/ 67 h 288"/>
                  <a:gd name="T24" fmla="*/ 285 w 353"/>
                  <a:gd name="T25" fmla="*/ 63 h 288"/>
                  <a:gd name="T26" fmla="*/ 270 w 353"/>
                  <a:gd name="T27" fmla="*/ 0 h 288"/>
                  <a:gd name="T28" fmla="*/ 254 w 353"/>
                  <a:gd name="T29" fmla="*/ 17 h 288"/>
                  <a:gd name="T30" fmla="*/ 258 w 353"/>
                  <a:gd name="T31" fmla="*/ 45 h 288"/>
                  <a:gd name="T32" fmla="*/ 214 w 353"/>
                  <a:gd name="T33" fmla="*/ 87 h 288"/>
                  <a:gd name="T34" fmla="*/ 171 w 353"/>
                  <a:gd name="T35" fmla="*/ 73 h 288"/>
                  <a:gd name="T36" fmla="*/ 155 w 353"/>
                  <a:gd name="T37" fmla="*/ 87 h 288"/>
                  <a:gd name="T38" fmla="*/ 119 w 353"/>
                  <a:gd name="T39" fmla="*/ 98 h 288"/>
                  <a:gd name="T40" fmla="*/ 68 w 353"/>
                  <a:gd name="T41" fmla="*/ 94 h 288"/>
                  <a:gd name="T42" fmla="*/ 28 w 353"/>
                  <a:gd name="T43" fmla="*/ 70 h 288"/>
                  <a:gd name="T44" fmla="*/ 0 w 353"/>
                  <a:gd name="T45" fmla="*/ 126 h 288"/>
                  <a:gd name="T46" fmla="*/ 8 w 353"/>
                  <a:gd name="T47" fmla="*/ 130 h 288"/>
                  <a:gd name="T48" fmla="*/ 3 w 353"/>
                  <a:gd name="T49" fmla="*/ 140 h 288"/>
                  <a:gd name="T50" fmla="*/ 31 w 353"/>
                  <a:gd name="T51" fmla="*/ 154 h 288"/>
                  <a:gd name="T52" fmla="*/ 35 w 353"/>
                  <a:gd name="T53" fmla="*/ 159 h 288"/>
                  <a:gd name="T54" fmla="*/ 56 w 353"/>
                  <a:gd name="T55" fmla="*/ 180 h 288"/>
                  <a:gd name="T56" fmla="*/ 70 w 353"/>
                  <a:gd name="T57" fmla="*/ 189 h 288"/>
                  <a:gd name="T58" fmla="*/ 72 w 353"/>
                  <a:gd name="T59" fmla="*/ 203 h 288"/>
                  <a:gd name="T60" fmla="*/ 81 w 353"/>
                  <a:gd name="T61" fmla="*/ 210 h 288"/>
                  <a:gd name="T62" fmla="*/ 95 w 353"/>
                  <a:gd name="T63" fmla="*/ 224 h 288"/>
                  <a:gd name="T64" fmla="*/ 102 w 353"/>
                  <a:gd name="T65" fmla="*/ 241 h 288"/>
                  <a:gd name="T66" fmla="*/ 111 w 353"/>
                  <a:gd name="T67" fmla="*/ 253 h 288"/>
                  <a:gd name="T68" fmla="*/ 140 w 353"/>
                  <a:gd name="T69" fmla="*/ 253 h 288"/>
                  <a:gd name="T70" fmla="*/ 161 w 353"/>
                  <a:gd name="T71" fmla="*/ 250 h 288"/>
                  <a:gd name="T72" fmla="*/ 170 w 353"/>
                  <a:gd name="T73" fmla="*/ 253 h 288"/>
                  <a:gd name="T74" fmla="*/ 179 w 353"/>
                  <a:gd name="T75" fmla="*/ 267 h 288"/>
                  <a:gd name="T76" fmla="*/ 193 w 353"/>
                  <a:gd name="T77" fmla="*/ 274 h 288"/>
                  <a:gd name="T78" fmla="*/ 200 w 353"/>
                  <a:gd name="T79" fmla="*/ 281 h 288"/>
                  <a:gd name="T80" fmla="*/ 207 w 353"/>
                  <a:gd name="T81" fmla="*/ 281 h 288"/>
                  <a:gd name="T82" fmla="*/ 223 w 353"/>
                  <a:gd name="T83" fmla="*/ 281 h 288"/>
                  <a:gd name="T84" fmla="*/ 232 w 353"/>
                  <a:gd name="T85" fmla="*/ 283 h 288"/>
                  <a:gd name="T86" fmla="*/ 241 w 353"/>
                  <a:gd name="T87" fmla="*/ 283 h 288"/>
                  <a:gd name="T88" fmla="*/ 254 w 353"/>
                  <a:gd name="T89" fmla="*/ 276 h 288"/>
                  <a:gd name="T90" fmla="*/ 270 w 353"/>
                  <a:gd name="T91" fmla="*/ 276 h 288"/>
                  <a:gd name="T92" fmla="*/ 293 w 353"/>
                  <a:gd name="T93" fmla="*/ 264 h 288"/>
                  <a:gd name="T94" fmla="*/ 353 w 353"/>
                  <a:gd name="T95" fmla="*/ 253 h 288"/>
                  <a:gd name="T96" fmla="*/ 350 w 353"/>
                  <a:gd name="T97" fmla="*/ 22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3" h="288">
                    <a:moveTo>
                      <a:pt x="350" y="229"/>
                    </a:moveTo>
                    <a:cubicBezTo>
                      <a:pt x="339" y="227"/>
                      <a:pt x="339" y="227"/>
                      <a:pt x="339" y="227"/>
                    </a:cubicBezTo>
                    <a:cubicBezTo>
                      <a:pt x="332" y="229"/>
                      <a:pt x="332" y="229"/>
                      <a:pt x="332" y="229"/>
                    </a:cubicBezTo>
                    <a:cubicBezTo>
                      <a:pt x="332" y="227"/>
                      <a:pt x="332" y="227"/>
                      <a:pt x="332" y="227"/>
                    </a:cubicBezTo>
                    <a:cubicBezTo>
                      <a:pt x="328" y="220"/>
                      <a:pt x="328" y="220"/>
                      <a:pt x="328" y="220"/>
                    </a:cubicBezTo>
                    <a:cubicBezTo>
                      <a:pt x="323" y="210"/>
                      <a:pt x="323" y="210"/>
                      <a:pt x="323" y="210"/>
                    </a:cubicBezTo>
                    <a:cubicBezTo>
                      <a:pt x="316" y="189"/>
                      <a:pt x="316" y="189"/>
                      <a:pt x="316" y="189"/>
                    </a:cubicBezTo>
                    <a:cubicBezTo>
                      <a:pt x="309" y="187"/>
                      <a:pt x="309" y="187"/>
                      <a:pt x="309" y="187"/>
                    </a:cubicBezTo>
                    <a:cubicBezTo>
                      <a:pt x="307" y="182"/>
                      <a:pt x="307" y="182"/>
                      <a:pt x="307" y="182"/>
                    </a:cubicBezTo>
                    <a:cubicBezTo>
                      <a:pt x="300" y="180"/>
                      <a:pt x="300" y="180"/>
                      <a:pt x="300" y="180"/>
                    </a:cubicBezTo>
                    <a:cubicBezTo>
                      <a:pt x="291" y="163"/>
                      <a:pt x="291" y="163"/>
                      <a:pt x="291" y="163"/>
                    </a:cubicBezTo>
                    <a:cubicBezTo>
                      <a:pt x="277" y="156"/>
                      <a:pt x="277" y="156"/>
                      <a:pt x="277" y="156"/>
                    </a:cubicBezTo>
                    <a:cubicBezTo>
                      <a:pt x="264" y="156"/>
                      <a:pt x="264" y="156"/>
                      <a:pt x="264" y="156"/>
                    </a:cubicBezTo>
                    <a:cubicBezTo>
                      <a:pt x="264" y="149"/>
                      <a:pt x="264" y="149"/>
                      <a:pt x="264" y="149"/>
                    </a:cubicBezTo>
                    <a:cubicBezTo>
                      <a:pt x="270" y="142"/>
                      <a:pt x="270" y="142"/>
                      <a:pt x="270" y="142"/>
                    </a:cubicBezTo>
                    <a:cubicBezTo>
                      <a:pt x="270" y="135"/>
                      <a:pt x="270" y="135"/>
                      <a:pt x="270" y="135"/>
                    </a:cubicBezTo>
                    <a:cubicBezTo>
                      <a:pt x="284" y="133"/>
                      <a:pt x="284" y="133"/>
                      <a:pt x="284" y="133"/>
                    </a:cubicBezTo>
                    <a:cubicBezTo>
                      <a:pt x="286" y="135"/>
                      <a:pt x="286" y="135"/>
                      <a:pt x="286" y="135"/>
                    </a:cubicBezTo>
                    <a:cubicBezTo>
                      <a:pt x="298" y="130"/>
                      <a:pt x="298" y="130"/>
                      <a:pt x="298" y="130"/>
                    </a:cubicBezTo>
                    <a:cubicBezTo>
                      <a:pt x="298" y="102"/>
                      <a:pt x="298" y="102"/>
                      <a:pt x="298" y="102"/>
                    </a:cubicBezTo>
                    <a:cubicBezTo>
                      <a:pt x="305" y="79"/>
                      <a:pt x="305" y="79"/>
                      <a:pt x="305" y="79"/>
                    </a:cubicBezTo>
                    <a:cubicBezTo>
                      <a:pt x="305" y="69"/>
                      <a:pt x="305" y="69"/>
                      <a:pt x="305" y="69"/>
                    </a:cubicBezTo>
                    <a:cubicBezTo>
                      <a:pt x="308" y="66"/>
                      <a:pt x="308" y="66"/>
                      <a:pt x="308" y="66"/>
                    </a:cubicBezTo>
                    <a:cubicBezTo>
                      <a:pt x="305" y="67"/>
                      <a:pt x="305" y="67"/>
                      <a:pt x="305" y="67"/>
                    </a:cubicBezTo>
                    <a:cubicBezTo>
                      <a:pt x="305" y="66"/>
                      <a:pt x="305" y="66"/>
                      <a:pt x="305" y="66"/>
                    </a:cubicBezTo>
                    <a:cubicBezTo>
                      <a:pt x="285" y="63"/>
                      <a:pt x="285" y="63"/>
                      <a:pt x="285" y="63"/>
                    </a:cubicBezTo>
                    <a:cubicBezTo>
                      <a:pt x="285" y="0"/>
                      <a:pt x="285" y="0"/>
                      <a:pt x="285" y="0"/>
                    </a:cubicBezTo>
                    <a:cubicBezTo>
                      <a:pt x="270" y="0"/>
                      <a:pt x="270" y="0"/>
                      <a:pt x="270" y="0"/>
                    </a:cubicBezTo>
                    <a:cubicBezTo>
                      <a:pt x="270" y="14"/>
                      <a:pt x="270" y="14"/>
                      <a:pt x="270" y="14"/>
                    </a:cubicBezTo>
                    <a:cubicBezTo>
                      <a:pt x="254" y="17"/>
                      <a:pt x="254" y="17"/>
                      <a:pt x="254" y="17"/>
                    </a:cubicBezTo>
                    <a:cubicBezTo>
                      <a:pt x="258" y="17"/>
                      <a:pt x="258" y="17"/>
                      <a:pt x="258" y="17"/>
                    </a:cubicBezTo>
                    <a:cubicBezTo>
                      <a:pt x="258" y="45"/>
                      <a:pt x="258" y="45"/>
                      <a:pt x="258" y="45"/>
                    </a:cubicBezTo>
                    <a:cubicBezTo>
                      <a:pt x="222" y="87"/>
                      <a:pt x="222" y="87"/>
                      <a:pt x="222" y="87"/>
                    </a:cubicBezTo>
                    <a:cubicBezTo>
                      <a:pt x="214" y="87"/>
                      <a:pt x="214" y="87"/>
                      <a:pt x="214" y="87"/>
                    </a:cubicBezTo>
                    <a:cubicBezTo>
                      <a:pt x="190" y="66"/>
                      <a:pt x="190" y="66"/>
                      <a:pt x="190" y="66"/>
                    </a:cubicBezTo>
                    <a:cubicBezTo>
                      <a:pt x="171" y="73"/>
                      <a:pt x="171" y="73"/>
                      <a:pt x="171" y="73"/>
                    </a:cubicBezTo>
                    <a:cubicBezTo>
                      <a:pt x="171" y="87"/>
                      <a:pt x="171" y="87"/>
                      <a:pt x="171" y="87"/>
                    </a:cubicBezTo>
                    <a:cubicBezTo>
                      <a:pt x="155" y="87"/>
                      <a:pt x="155" y="87"/>
                      <a:pt x="155" y="87"/>
                    </a:cubicBezTo>
                    <a:cubicBezTo>
                      <a:pt x="143" y="98"/>
                      <a:pt x="143" y="98"/>
                      <a:pt x="143" y="98"/>
                    </a:cubicBezTo>
                    <a:cubicBezTo>
                      <a:pt x="119" y="98"/>
                      <a:pt x="119" y="98"/>
                      <a:pt x="119" y="98"/>
                    </a:cubicBezTo>
                    <a:cubicBezTo>
                      <a:pt x="119" y="87"/>
                      <a:pt x="119" y="87"/>
                      <a:pt x="119" y="87"/>
                    </a:cubicBezTo>
                    <a:cubicBezTo>
                      <a:pt x="68" y="94"/>
                      <a:pt x="68" y="94"/>
                      <a:pt x="68" y="94"/>
                    </a:cubicBezTo>
                    <a:cubicBezTo>
                      <a:pt x="52" y="73"/>
                      <a:pt x="52" y="73"/>
                      <a:pt x="52" y="73"/>
                    </a:cubicBezTo>
                    <a:cubicBezTo>
                      <a:pt x="28" y="70"/>
                      <a:pt x="28" y="70"/>
                      <a:pt x="28" y="70"/>
                    </a:cubicBezTo>
                    <a:cubicBezTo>
                      <a:pt x="0" y="126"/>
                      <a:pt x="0" y="126"/>
                      <a:pt x="0" y="126"/>
                    </a:cubicBezTo>
                    <a:cubicBezTo>
                      <a:pt x="0" y="126"/>
                      <a:pt x="0" y="126"/>
                      <a:pt x="0" y="126"/>
                    </a:cubicBezTo>
                    <a:cubicBezTo>
                      <a:pt x="3" y="126"/>
                      <a:pt x="3" y="126"/>
                      <a:pt x="3" y="126"/>
                    </a:cubicBezTo>
                    <a:cubicBezTo>
                      <a:pt x="8" y="130"/>
                      <a:pt x="8" y="130"/>
                      <a:pt x="8" y="130"/>
                    </a:cubicBezTo>
                    <a:cubicBezTo>
                      <a:pt x="3" y="133"/>
                      <a:pt x="3" y="133"/>
                      <a:pt x="3" y="133"/>
                    </a:cubicBezTo>
                    <a:cubicBezTo>
                      <a:pt x="3" y="140"/>
                      <a:pt x="3" y="140"/>
                      <a:pt x="3" y="140"/>
                    </a:cubicBezTo>
                    <a:cubicBezTo>
                      <a:pt x="19" y="142"/>
                      <a:pt x="19" y="142"/>
                      <a:pt x="19" y="142"/>
                    </a:cubicBezTo>
                    <a:cubicBezTo>
                      <a:pt x="31" y="154"/>
                      <a:pt x="31" y="154"/>
                      <a:pt x="31" y="154"/>
                    </a:cubicBezTo>
                    <a:cubicBezTo>
                      <a:pt x="35" y="154"/>
                      <a:pt x="35" y="154"/>
                      <a:pt x="35" y="154"/>
                    </a:cubicBezTo>
                    <a:cubicBezTo>
                      <a:pt x="35" y="159"/>
                      <a:pt x="35" y="159"/>
                      <a:pt x="35" y="159"/>
                    </a:cubicBezTo>
                    <a:cubicBezTo>
                      <a:pt x="33" y="163"/>
                      <a:pt x="33" y="163"/>
                      <a:pt x="33" y="163"/>
                    </a:cubicBezTo>
                    <a:cubicBezTo>
                      <a:pt x="56" y="180"/>
                      <a:pt x="56" y="180"/>
                      <a:pt x="56" y="180"/>
                    </a:cubicBezTo>
                    <a:cubicBezTo>
                      <a:pt x="58" y="182"/>
                      <a:pt x="58" y="182"/>
                      <a:pt x="58" y="182"/>
                    </a:cubicBezTo>
                    <a:cubicBezTo>
                      <a:pt x="70" y="189"/>
                      <a:pt x="70" y="189"/>
                      <a:pt x="70" y="189"/>
                    </a:cubicBezTo>
                    <a:cubicBezTo>
                      <a:pt x="65" y="196"/>
                      <a:pt x="65" y="196"/>
                      <a:pt x="65" y="196"/>
                    </a:cubicBezTo>
                    <a:cubicBezTo>
                      <a:pt x="72" y="203"/>
                      <a:pt x="72" y="203"/>
                      <a:pt x="72" y="203"/>
                    </a:cubicBezTo>
                    <a:cubicBezTo>
                      <a:pt x="70" y="206"/>
                      <a:pt x="70" y="206"/>
                      <a:pt x="70" y="206"/>
                    </a:cubicBezTo>
                    <a:cubicBezTo>
                      <a:pt x="81" y="210"/>
                      <a:pt x="81" y="210"/>
                      <a:pt x="81" y="210"/>
                    </a:cubicBezTo>
                    <a:cubicBezTo>
                      <a:pt x="92" y="217"/>
                      <a:pt x="92" y="217"/>
                      <a:pt x="92" y="217"/>
                    </a:cubicBezTo>
                    <a:cubicBezTo>
                      <a:pt x="95" y="224"/>
                      <a:pt x="95" y="224"/>
                      <a:pt x="95" y="224"/>
                    </a:cubicBezTo>
                    <a:cubicBezTo>
                      <a:pt x="95" y="229"/>
                      <a:pt x="95" y="229"/>
                      <a:pt x="95" y="229"/>
                    </a:cubicBezTo>
                    <a:cubicBezTo>
                      <a:pt x="102" y="241"/>
                      <a:pt x="102" y="241"/>
                      <a:pt x="102" y="241"/>
                    </a:cubicBezTo>
                    <a:cubicBezTo>
                      <a:pt x="108" y="248"/>
                      <a:pt x="108" y="248"/>
                      <a:pt x="108" y="248"/>
                    </a:cubicBezTo>
                    <a:cubicBezTo>
                      <a:pt x="111" y="253"/>
                      <a:pt x="111" y="253"/>
                      <a:pt x="111" y="253"/>
                    </a:cubicBezTo>
                    <a:cubicBezTo>
                      <a:pt x="127" y="264"/>
                      <a:pt x="127" y="264"/>
                      <a:pt x="127" y="264"/>
                    </a:cubicBezTo>
                    <a:cubicBezTo>
                      <a:pt x="140" y="253"/>
                      <a:pt x="140" y="253"/>
                      <a:pt x="140" y="253"/>
                    </a:cubicBezTo>
                    <a:cubicBezTo>
                      <a:pt x="154" y="260"/>
                      <a:pt x="154" y="260"/>
                      <a:pt x="154" y="260"/>
                    </a:cubicBezTo>
                    <a:cubicBezTo>
                      <a:pt x="161" y="250"/>
                      <a:pt x="161" y="250"/>
                      <a:pt x="161" y="250"/>
                    </a:cubicBezTo>
                    <a:cubicBezTo>
                      <a:pt x="163" y="250"/>
                      <a:pt x="163" y="250"/>
                      <a:pt x="163" y="250"/>
                    </a:cubicBezTo>
                    <a:cubicBezTo>
                      <a:pt x="170" y="253"/>
                      <a:pt x="170" y="253"/>
                      <a:pt x="170" y="253"/>
                    </a:cubicBezTo>
                    <a:cubicBezTo>
                      <a:pt x="170" y="260"/>
                      <a:pt x="170" y="260"/>
                      <a:pt x="170" y="260"/>
                    </a:cubicBezTo>
                    <a:cubicBezTo>
                      <a:pt x="179" y="267"/>
                      <a:pt x="179" y="267"/>
                      <a:pt x="179" y="267"/>
                    </a:cubicBezTo>
                    <a:cubicBezTo>
                      <a:pt x="184" y="274"/>
                      <a:pt x="184" y="274"/>
                      <a:pt x="184" y="274"/>
                    </a:cubicBezTo>
                    <a:cubicBezTo>
                      <a:pt x="193" y="274"/>
                      <a:pt x="193" y="274"/>
                      <a:pt x="193" y="274"/>
                    </a:cubicBezTo>
                    <a:cubicBezTo>
                      <a:pt x="193" y="283"/>
                      <a:pt x="193" y="283"/>
                      <a:pt x="193" y="283"/>
                    </a:cubicBezTo>
                    <a:cubicBezTo>
                      <a:pt x="200" y="281"/>
                      <a:pt x="200" y="281"/>
                      <a:pt x="200" y="281"/>
                    </a:cubicBezTo>
                    <a:cubicBezTo>
                      <a:pt x="202" y="288"/>
                      <a:pt x="202" y="288"/>
                      <a:pt x="202" y="288"/>
                    </a:cubicBezTo>
                    <a:cubicBezTo>
                      <a:pt x="207" y="281"/>
                      <a:pt x="207" y="281"/>
                      <a:pt x="207" y="281"/>
                    </a:cubicBezTo>
                    <a:cubicBezTo>
                      <a:pt x="209" y="276"/>
                      <a:pt x="209" y="276"/>
                      <a:pt x="209" y="276"/>
                    </a:cubicBezTo>
                    <a:cubicBezTo>
                      <a:pt x="223" y="281"/>
                      <a:pt x="223" y="281"/>
                      <a:pt x="223" y="281"/>
                    </a:cubicBezTo>
                    <a:cubicBezTo>
                      <a:pt x="229" y="276"/>
                      <a:pt x="229" y="276"/>
                      <a:pt x="229" y="276"/>
                    </a:cubicBezTo>
                    <a:cubicBezTo>
                      <a:pt x="232" y="283"/>
                      <a:pt x="232" y="283"/>
                      <a:pt x="232" y="283"/>
                    </a:cubicBezTo>
                    <a:cubicBezTo>
                      <a:pt x="241" y="288"/>
                      <a:pt x="241" y="288"/>
                      <a:pt x="241" y="288"/>
                    </a:cubicBezTo>
                    <a:cubicBezTo>
                      <a:pt x="241" y="283"/>
                      <a:pt x="241" y="283"/>
                      <a:pt x="241" y="283"/>
                    </a:cubicBezTo>
                    <a:cubicBezTo>
                      <a:pt x="248" y="281"/>
                      <a:pt x="248" y="281"/>
                      <a:pt x="248" y="281"/>
                    </a:cubicBezTo>
                    <a:cubicBezTo>
                      <a:pt x="254" y="276"/>
                      <a:pt x="254" y="276"/>
                      <a:pt x="254" y="276"/>
                    </a:cubicBezTo>
                    <a:cubicBezTo>
                      <a:pt x="264" y="274"/>
                      <a:pt x="264" y="274"/>
                      <a:pt x="264" y="274"/>
                    </a:cubicBezTo>
                    <a:cubicBezTo>
                      <a:pt x="270" y="276"/>
                      <a:pt x="270" y="276"/>
                      <a:pt x="270" y="276"/>
                    </a:cubicBezTo>
                    <a:cubicBezTo>
                      <a:pt x="282" y="276"/>
                      <a:pt x="282" y="276"/>
                      <a:pt x="282" y="276"/>
                    </a:cubicBezTo>
                    <a:cubicBezTo>
                      <a:pt x="293" y="264"/>
                      <a:pt x="293" y="264"/>
                      <a:pt x="293" y="264"/>
                    </a:cubicBezTo>
                    <a:cubicBezTo>
                      <a:pt x="307" y="253"/>
                      <a:pt x="307" y="253"/>
                      <a:pt x="307" y="253"/>
                    </a:cubicBezTo>
                    <a:cubicBezTo>
                      <a:pt x="353" y="253"/>
                      <a:pt x="353" y="253"/>
                      <a:pt x="353" y="253"/>
                    </a:cubicBezTo>
                    <a:cubicBezTo>
                      <a:pt x="346" y="248"/>
                      <a:pt x="346" y="248"/>
                      <a:pt x="346" y="248"/>
                    </a:cubicBezTo>
                    <a:lnTo>
                      <a:pt x="350" y="22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4" name="Titel 3">
            <a:extLst>
              <a:ext uri="{FF2B5EF4-FFF2-40B4-BE49-F238E27FC236}">
                <a16:creationId xmlns:a16="http://schemas.microsoft.com/office/drawing/2014/main" id="{60EC8D8A-C876-4EC5-A94B-31EA320D0A60}"/>
              </a:ext>
            </a:extLst>
          </p:cNvPr>
          <p:cNvSpPr>
            <a:spLocks noGrp="1"/>
          </p:cNvSpPr>
          <p:nvPr>
            <p:ph type="title"/>
          </p:nvPr>
        </p:nvSpPr>
        <p:spPr bwMode="gray"/>
        <p:txBody>
          <a:bodyPr/>
          <a:lstStyle/>
          <a:p>
            <a:r>
              <a:rPr lang="en-US" dirty="0"/>
              <a:t>Europe</a:t>
            </a:r>
          </a:p>
        </p:txBody>
      </p:sp>
      <p:sp>
        <p:nvSpPr>
          <p:cNvPr id="6" name="Textplatzhalter 5">
            <a:extLst>
              <a:ext uri="{FF2B5EF4-FFF2-40B4-BE49-F238E27FC236}">
                <a16:creationId xmlns:a16="http://schemas.microsoft.com/office/drawing/2014/main" id="{7F7AE1B9-C0DD-4C83-B513-C7D60B1F96A8}"/>
              </a:ext>
            </a:extLst>
          </p:cNvPr>
          <p:cNvSpPr>
            <a:spLocks noGrp="1"/>
          </p:cNvSpPr>
          <p:nvPr>
            <p:ph type="body" sz="quarter" idx="15"/>
          </p:nvPr>
        </p:nvSpPr>
        <p:spPr bwMode="gray"/>
        <p:txBody>
          <a:bodyPr/>
          <a:lstStyle/>
          <a:p>
            <a:r>
              <a:rPr lang="en-US" dirty="0"/>
              <a:t>Lorem ipsum dolor sit amet, consectetuer adipiscing elit.</a:t>
            </a:r>
          </a:p>
          <a:p>
            <a:pPr lvl="1"/>
            <a:r>
              <a:rPr lang="en-US" dirty="0"/>
              <a:t>Maecenas porttitor congue massa. Fusce posuere, magna sed pulvinar ultricies, purus lectus malesuada libero, sit amet commodo magna eros quis urna.</a:t>
            </a:r>
          </a:p>
          <a:p>
            <a:pPr lvl="1"/>
            <a:endParaRPr lang="en-US" dirty="0"/>
          </a:p>
          <a:p>
            <a:pPr lvl="1"/>
            <a:r>
              <a:rPr lang="en-US" dirty="0"/>
              <a:t>Nunc viverra imperdiet enim. Fusce est. Vivamus a tellus.</a:t>
            </a:r>
          </a:p>
        </p:txBody>
      </p:sp>
      <p:grpSp>
        <p:nvGrpSpPr>
          <p:cNvPr id="8001" name="Gruppieren 8000">
            <a:extLst>
              <a:ext uri="{FF2B5EF4-FFF2-40B4-BE49-F238E27FC236}">
                <a16:creationId xmlns:a16="http://schemas.microsoft.com/office/drawing/2014/main" id="{6360AC45-ECD6-40B7-A738-4421631D3B8A}"/>
              </a:ext>
            </a:extLst>
          </p:cNvPr>
          <p:cNvGrpSpPr/>
          <p:nvPr/>
        </p:nvGrpSpPr>
        <p:grpSpPr bwMode="gray">
          <a:xfrm>
            <a:off x="4295800" y="1016792"/>
            <a:ext cx="1944000" cy="2664216"/>
            <a:chOff x="4007768" y="1016792"/>
            <a:chExt cx="1944000" cy="2664216"/>
          </a:xfrm>
        </p:grpSpPr>
        <p:sp>
          <p:nvSpPr>
            <p:cNvPr id="8002" name="Textplatzhalter 4">
              <a:extLst>
                <a:ext uri="{FF2B5EF4-FFF2-40B4-BE49-F238E27FC236}">
                  <a16:creationId xmlns:a16="http://schemas.microsoft.com/office/drawing/2014/main" id="{323CDC36-9EEE-4BBD-80A0-35D89891A2D2}"/>
                </a:ext>
              </a:extLst>
            </p:cNvPr>
            <p:cNvSpPr txBox="1">
              <a:spLocks/>
            </p:cNvSpPr>
            <p:nvPr/>
          </p:nvSpPr>
          <p:spPr bwMode="gray">
            <a:xfrm>
              <a:off x="4007768" y="1736835"/>
              <a:ext cx="1944000" cy="828069"/>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Lorem ipsum dolor sit amet, consectetuer adipiscing elit</a:t>
              </a:r>
            </a:p>
          </p:txBody>
        </p:sp>
        <p:sp>
          <p:nvSpPr>
            <p:cNvPr id="8003" name="Textplatzhalter 3">
              <a:extLst>
                <a:ext uri="{FF2B5EF4-FFF2-40B4-BE49-F238E27FC236}">
                  <a16:creationId xmlns:a16="http://schemas.microsoft.com/office/drawing/2014/main" id="{B569AB6E-8A10-418C-8A93-250502D12B07}"/>
                </a:ext>
              </a:extLst>
            </p:cNvPr>
            <p:cNvSpPr txBox="1">
              <a:spLocks/>
            </p:cNvSpPr>
            <p:nvPr/>
          </p:nvSpPr>
          <p:spPr bwMode="gray">
            <a:xfrm>
              <a:off x="4007768" y="1016792"/>
              <a:ext cx="194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dirty="0">
                  <a:solidFill>
                    <a:schemeClr val="accent5"/>
                  </a:solidFill>
                </a:rPr>
                <a:t>25%</a:t>
              </a:r>
            </a:p>
          </p:txBody>
        </p:sp>
        <p:cxnSp>
          <p:nvCxnSpPr>
            <p:cNvPr id="8004" name="Gerader Verbinder 8003">
              <a:extLst>
                <a:ext uri="{FF2B5EF4-FFF2-40B4-BE49-F238E27FC236}">
                  <a16:creationId xmlns:a16="http://schemas.microsoft.com/office/drawing/2014/main" id="{7A207107-47F3-4AAC-B6C6-A7915382B9AE}"/>
                </a:ext>
              </a:extLst>
            </p:cNvPr>
            <p:cNvCxnSpPr>
              <a:cxnSpLocks/>
            </p:cNvCxnSpPr>
            <p:nvPr/>
          </p:nvCxnSpPr>
          <p:spPr bwMode="gray">
            <a:xfrm>
              <a:off x="4007768" y="2492883"/>
              <a:ext cx="0" cy="118812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8005" name="Gruppieren 8004">
            <a:extLst>
              <a:ext uri="{FF2B5EF4-FFF2-40B4-BE49-F238E27FC236}">
                <a16:creationId xmlns:a16="http://schemas.microsoft.com/office/drawing/2014/main" id="{A8C3FB2D-9833-455A-8A5A-95C3319236D3}"/>
              </a:ext>
            </a:extLst>
          </p:cNvPr>
          <p:cNvGrpSpPr/>
          <p:nvPr/>
        </p:nvGrpSpPr>
        <p:grpSpPr bwMode="gray">
          <a:xfrm>
            <a:off x="9521207" y="332656"/>
            <a:ext cx="3240360" cy="3240360"/>
            <a:chOff x="4295800" y="4005064"/>
            <a:chExt cx="3240360" cy="3240360"/>
          </a:xfrm>
        </p:grpSpPr>
        <p:sp>
          <p:nvSpPr>
            <p:cNvPr id="8006" name="Ellipse 8005">
              <a:extLst>
                <a:ext uri="{FF2B5EF4-FFF2-40B4-BE49-F238E27FC236}">
                  <a16:creationId xmlns:a16="http://schemas.microsoft.com/office/drawing/2014/main" id="{3FFCA508-D8E9-41EC-B2F3-34FA20CB7729}"/>
                </a:ext>
              </a:extLst>
            </p:cNvPr>
            <p:cNvSpPr/>
            <p:nvPr/>
          </p:nvSpPr>
          <p:spPr bwMode="gray">
            <a:xfrm>
              <a:off x="4295800" y="4005064"/>
              <a:ext cx="3240360" cy="3240360"/>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07" name="Textplatzhalter 4">
              <a:extLst>
                <a:ext uri="{FF2B5EF4-FFF2-40B4-BE49-F238E27FC236}">
                  <a16:creationId xmlns:a16="http://schemas.microsoft.com/office/drawing/2014/main" id="{0BCBC2CA-CEA4-4414-A57F-92627512A46F}"/>
                </a:ext>
              </a:extLst>
            </p:cNvPr>
            <p:cNvSpPr txBox="1">
              <a:spLocks/>
            </p:cNvSpPr>
            <p:nvPr/>
          </p:nvSpPr>
          <p:spPr bwMode="gray">
            <a:xfrm>
              <a:off x="5015880" y="5491063"/>
              <a:ext cx="1944000" cy="828069"/>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solidFill>
                    <a:schemeClr val="bg1"/>
                  </a:solidFill>
                </a:rPr>
                <a:t>Lorem ipsum dolor sit amet, consectetuer adipiscing elit</a:t>
              </a:r>
            </a:p>
          </p:txBody>
        </p:sp>
        <p:sp>
          <p:nvSpPr>
            <p:cNvPr id="8008" name="Textplatzhalter 3">
              <a:extLst>
                <a:ext uri="{FF2B5EF4-FFF2-40B4-BE49-F238E27FC236}">
                  <a16:creationId xmlns:a16="http://schemas.microsoft.com/office/drawing/2014/main" id="{8918A809-1A28-473C-A89A-4D499E7DD377}"/>
                </a:ext>
              </a:extLst>
            </p:cNvPr>
            <p:cNvSpPr txBox="1">
              <a:spLocks/>
            </p:cNvSpPr>
            <p:nvPr/>
          </p:nvSpPr>
          <p:spPr bwMode="gray">
            <a:xfrm>
              <a:off x="5015880" y="4771020"/>
              <a:ext cx="194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dirty="0">
                  <a:solidFill>
                    <a:schemeClr val="bg1"/>
                  </a:solidFill>
                </a:rPr>
                <a:t>25%</a:t>
              </a:r>
            </a:p>
          </p:txBody>
        </p:sp>
      </p:grpSp>
      <p:grpSp>
        <p:nvGrpSpPr>
          <p:cNvPr id="8009" name="Gruppieren 8008">
            <a:extLst>
              <a:ext uri="{FF2B5EF4-FFF2-40B4-BE49-F238E27FC236}">
                <a16:creationId xmlns:a16="http://schemas.microsoft.com/office/drawing/2014/main" id="{DE521502-5988-4AE9-B321-053370540B1A}"/>
              </a:ext>
            </a:extLst>
          </p:cNvPr>
          <p:cNvGrpSpPr/>
          <p:nvPr/>
        </p:nvGrpSpPr>
        <p:grpSpPr bwMode="gray">
          <a:xfrm>
            <a:off x="6542778" y="1988840"/>
            <a:ext cx="1944000" cy="1872168"/>
            <a:chOff x="4007768" y="1016792"/>
            <a:chExt cx="1944000" cy="1872168"/>
          </a:xfrm>
        </p:grpSpPr>
        <p:sp>
          <p:nvSpPr>
            <p:cNvPr id="8010" name="Textplatzhalter 4">
              <a:extLst>
                <a:ext uri="{FF2B5EF4-FFF2-40B4-BE49-F238E27FC236}">
                  <a16:creationId xmlns:a16="http://schemas.microsoft.com/office/drawing/2014/main" id="{7AC586B1-1338-41E6-923D-46D2641A88C0}"/>
                </a:ext>
              </a:extLst>
            </p:cNvPr>
            <p:cNvSpPr txBox="1">
              <a:spLocks/>
            </p:cNvSpPr>
            <p:nvPr/>
          </p:nvSpPr>
          <p:spPr bwMode="gray">
            <a:xfrm>
              <a:off x="4007768" y="1736835"/>
              <a:ext cx="1944000" cy="828069"/>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Lorem ipsum dolor sit amet, consectetuer adipiscing elit</a:t>
              </a:r>
            </a:p>
          </p:txBody>
        </p:sp>
        <p:sp>
          <p:nvSpPr>
            <p:cNvPr id="8011" name="Textplatzhalter 3">
              <a:extLst>
                <a:ext uri="{FF2B5EF4-FFF2-40B4-BE49-F238E27FC236}">
                  <a16:creationId xmlns:a16="http://schemas.microsoft.com/office/drawing/2014/main" id="{27086D62-F468-4333-B5EB-0D32C14D4424}"/>
                </a:ext>
              </a:extLst>
            </p:cNvPr>
            <p:cNvSpPr txBox="1">
              <a:spLocks/>
            </p:cNvSpPr>
            <p:nvPr/>
          </p:nvSpPr>
          <p:spPr bwMode="gray">
            <a:xfrm>
              <a:off x="4007768" y="1016792"/>
              <a:ext cx="194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dirty="0">
                  <a:solidFill>
                    <a:schemeClr val="accent5"/>
                  </a:solidFill>
                </a:rPr>
                <a:t>25%</a:t>
              </a:r>
            </a:p>
          </p:txBody>
        </p:sp>
        <p:cxnSp>
          <p:nvCxnSpPr>
            <p:cNvPr id="8012" name="Gerader Verbinder 8011">
              <a:extLst>
                <a:ext uri="{FF2B5EF4-FFF2-40B4-BE49-F238E27FC236}">
                  <a16:creationId xmlns:a16="http://schemas.microsoft.com/office/drawing/2014/main" id="{36E7A3DC-D2D0-48CA-8DAA-822A9C4CA9D5}"/>
                </a:ext>
              </a:extLst>
            </p:cNvPr>
            <p:cNvCxnSpPr>
              <a:cxnSpLocks/>
            </p:cNvCxnSpPr>
            <p:nvPr/>
          </p:nvCxnSpPr>
          <p:spPr bwMode="gray">
            <a:xfrm>
              <a:off x="4034066" y="2528960"/>
              <a:ext cx="0" cy="360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2" name="Fußzeilenplatzhalter 1">
            <a:extLst>
              <a:ext uri="{FF2B5EF4-FFF2-40B4-BE49-F238E27FC236}">
                <a16:creationId xmlns:a16="http://schemas.microsoft.com/office/drawing/2014/main" id="{AAE3D7B3-8F1D-41C1-B62A-59A7DD10C9E1}"/>
              </a:ext>
            </a:extLst>
          </p:cNvPr>
          <p:cNvSpPr>
            <a:spLocks noGrp="1"/>
          </p:cNvSpPr>
          <p:nvPr>
            <p:ph type="ftr" sz="quarter" idx="16"/>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B61D6FEA-3201-410A-A066-CBA9BE5CB6C1}"/>
              </a:ext>
            </a:extLst>
          </p:cNvPr>
          <p:cNvSpPr>
            <a:spLocks noGrp="1"/>
          </p:cNvSpPr>
          <p:nvPr>
            <p:ph type="sldNum" sz="quarter" idx="12"/>
          </p:nvPr>
        </p:nvSpPr>
        <p:spPr/>
        <p:txBody>
          <a:bodyPr/>
          <a:lstStyle/>
          <a:p>
            <a:fld id="{CE82B8A1-0CCE-4815-9668-383D7DE7D8B4}" type="slidenum">
              <a:rPr lang="en-US" noProof="0" smtClean="0"/>
              <a:pPr/>
              <a:t>70</a:t>
            </a:fld>
            <a:endParaRPr lang="en-US" noProof="0" dirty="0"/>
          </a:p>
        </p:txBody>
      </p:sp>
    </p:spTree>
    <p:extLst>
      <p:ext uri="{BB962C8B-B14F-4D97-AF65-F5344CB8AC3E}">
        <p14:creationId xmlns:p14="http://schemas.microsoft.com/office/powerpoint/2010/main" val="329848101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D3E5BC58-06A9-46F4-BAA2-AC1CE421B4AD}"/>
              </a:ext>
            </a:extLst>
          </p:cNvPr>
          <p:cNvGrpSpPr/>
          <p:nvPr/>
        </p:nvGrpSpPr>
        <p:grpSpPr bwMode="gray">
          <a:xfrm>
            <a:off x="5620144" y="148681"/>
            <a:ext cx="6586576" cy="6525495"/>
            <a:chOff x="5620144" y="148681"/>
            <a:chExt cx="6586576" cy="6525495"/>
          </a:xfrm>
          <a:pattFill prst="ltUpDiag">
            <a:fgClr>
              <a:schemeClr val="bg2">
                <a:lumMod val="90000"/>
              </a:schemeClr>
            </a:fgClr>
            <a:bgClr>
              <a:schemeClr val="bg1"/>
            </a:bgClr>
          </a:pattFill>
        </p:grpSpPr>
        <p:sp>
          <p:nvSpPr>
            <p:cNvPr id="11088" name="Freeform 6">
              <a:extLst>
                <a:ext uri="{FF2B5EF4-FFF2-40B4-BE49-F238E27FC236}">
                  <a16:creationId xmlns:a16="http://schemas.microsoft.com/office/drawing/2014/main" id="{4CBDA3AE-AA8F-47FE-BEC9-3843F9A7E281}"/>
                </a:ext>
              </a:extLst>
            </p:cNvPr>
            <p:cNvSpPr>
              <a:spLocks noEditPoints="1"/>
            </p:cNvSpPr>
            <p:nvPr/>
          </p:nvSpPr>
          <p:spPr bwMode="gray">
            <a:xfrm>
              <a:off x="10237852" y="4227895"/>
              <a:ext cx="1783137" cy="1189796"/>
            </a:xfrm>
            <a:custGeom>
              <a:avLst/>
              <a:gdLst>
                <a:gd name="T0" fmla="*/ 1582 w 2861"/>
                <a:gd name="T1" fmla="*/ 1508 h 1909"/>
                <a:gd name="T2" fmla="*/ 2693 w 2861"/>
                <a:gd name="T3" fmla="*/ 635 h 1909"/>
                <a:gd name="T4" fmla="*/ 2510 w 2861"/>
                <a:gd name="T5" fmla="*/ 604 h 1909"/>
                <a:gd name="T6" fmla="*/ 2266 w 2861"/>
                <a:gd name="T7" fmla="*/ 524 h 1909"/>
                <a:gd name="T8" fmla="*/ 2113 w 2861"/>
                <a:gd name="T9" fmla="*/ 417 h 1909"/>
                <a:gd name="T10" fmla="*/ 1988 w 2861"/>
                <a:gd name="T11" fmla="*/ 307 h 1909"/>
                <a:gd name="T12" fmla="*/ 1898 w 2861"/>
                <a:gd name="T13" fmla="*/ 189 h 1909"/>
                <a:gd name="T14" fmla="*/ 1861 w 2861"/>
                <a:gd name="T15" fmla="*/ 17 h 1909"/>
                <a:gd name="T16" fmla="*/ 1622 w 2861"/>
                <a:gd name="T17" fmla="*/ 12 h 1909"/>
                <a:gd name="T18" fmla="*/ 1399 w 2861"/>
                <a:gd name="T19" fmla="*/ 94 h 1909"/>
                <a:gd name="T20" fmla="*/ 1349 w 2861"/>
                <a:gd name="T21" fmla="*/ 168 h 1909"/>
                <a:gd name="T22" fmla="*/ 1347 w 2861"/>
                <a:gd name="T23" fmla="*/ 246 h 1909"/>
                <a:gd name="T24" fmla="*/ 1232 w 2861"/>
                <a:gd name="T25" fmla="*/ 232 h 1909"/>
                <a:gd name="T26" fmla="*/ 1090 w 2861"/>
                <a:gd name="T27" fmla="*/ 202 h 1909"/>
                <a:gd name="T28" fmla="*/ 954 w 2861"/>
                <a:gd name="T29" fmla="*/ 194 h 1909"/>
                <a:gd name="T30" fmla="*/ 805 w 2861"/>
                <a:gd name="T31" fmla="*/ 184 h 1909"/>
                <a:gd name="T32" fmla="*/ 272 w 2861"/>
                <a:gd name="T33" fmla="*/ 190 h 1909"/>
                <a:gd name="T34" fmla="*/ 283 w 2861"/>
                <a:gd name="T35" fmla="*/ 346 h 1909"/>
                <a:gd name="T36" fmla="*/ 285 w 2861"/>
                <a:gd name="T37" fmla="*/ 502 h 1909"/>
                <a:gd name="T38" fmla="*/ 96 w 2861"/>
                <a:gd name="T39" fmla="*/ 776 h 1909"/>
                <a:gd name="T40" fmla="*/ 46 w 2861"/>
                <a:gd name="T41" fmla="*/ 859 h 1909"/>
                <a:gd name="T42" fmla="*/ 25 w 2861"/>
                <a:gd name="T43" fmla="*/ 996 h 1909"/>
                <a:gd name="T44" fmla="*/ 125 w 2861"/>
                <a:gd name="T45" fmla="*/ 1088 h 1909"/>
                <a:gd name="T46" fmla="*/ 293 w 2861"/>
                <a:gd name="T47" fmla="*/ 1090 h 1909"/>
                <a:gd name="T48" fmla="*/ 608 w 2861"/>
                <a:gd name="T49" fmla="*/ 1090 h 1909"/>
                <a:gd name="T50" fmla="*/ 745 w 2861"/>
                <a:gd name="T51" fmla="*/ 990 h 1909"/>
                <a:gd name="T52" fmla="*/ 920 w 2861"/>
                <a:gd name="T53" fmla="*/ 1001 h 1909"/>
                <a:gd name="T54" fmla="*/ 1010 w 2861"/>
                <a:gd name="T55" fmla="*/ 1056 h 1909"/>
                <a:gd name="T56" fmla="*/ 1128 w 2861"/>
                <a:gd name="T57" fmla="*/ 1139 h 1909"/>
                <a:gd name="T58" fmla="*/ 1178 w 2861"/>
                <a:gd name="T59" fmla="*/ 1240 h 1909"/>
                <a:gd name="T60" fmla="*/ 1224 w 2861"/>
                <a:gd name="T61" fmla="*/ 1349 h 1909"/>
                <a:gd name="T62" fmla="*/ 1262 w 2861"/>
                <a:gd name="T63" fmla="*/ 1460 h 1909"/>
                <a:gd name="T64" fmla="*/ 1141 w 2861"/>
                <a:gd name="T65" fmla="*/ 1438 h 1909"/>
                <a:gd name="T66" fmla="*/ 1079 w 2861"/>
                <a:gd name="T67" fmla="*/ 1547 h 1909"/>
                <a:gd name="T68" fmla="*/ 974 w 2861"/>
                <a:gd name="T69" fmla="*/ 1654 h 1909"/>
                <a:gd name="T70" fmla="*/ 1093 w 2861"/>
                <a:gd name="T71" fmla="*/ 1697 h 1909"/>
                <a:gd name="T72" fmla="*/ 1210 w 2861"/>
                <a:gd name="T73" fmla="*/ 1701 h 1909"/>
                <a:gd name="T74" fmla="*/ 1185 w 2861"/>
                <a:gd name="T75" fmla="*/ 1625 h 1909"/>
                <a:gd name="T76" fmla="*/ 1217 w 2861"/>
                <a:gd name="T77" fmla="*/ 1613 h 1909"/>
                <a:gd name="T78" fmla="*/ 1267 w 2861"/>
                <a:gd name="T79" fmla="*/ 1572 h 1909"/>
                <a:gd name="T80" fmla="*/ 1401 w 2861"/>
                <a:gd name="T81" fmla="*/ 1412 h 1909"/>
                <a:gd name="T82" fmla="*/ 1498 w 2861"/>
                <a:gd name="T83" fmla="*/ 1370 h 1909"/>
                <a:gd name="T84" fmla="*/ 1545 w 2861"/>
                <a:gd name="T85" fmla="*/ 1316 h 1909"/>
                <a:gd name="T86" fmla="*/ 1567 w 2861"/>
                <a:gd name="T87" fmla="*/ 1332 h 1909"/>
                <a:gd name="T88" fmla="*/ 1624 w 2861"/>
                <a:gd name="T89" fmla="*/ 1439 h 1909"/>
                <a:gd name="T90" fmla="*/ 1530 w 2861"/>
                <a:gd name="T91" fmla="*/ 1476 h 1909"/>
                <a:gd name="T92" fmla="*/ 1709 w 2861"/>
                <a:gd name="T93" fmla="*/ 1519 h 1909"/>
                <a:gd name="T94" fmla="*/ 1828 w 2861"/>
                <a:gd name="T95" fmla="*/ 1525 h 1909"/>
                <a:gd name="T96" fmla="*/ 1785 w 2861"/>
                <a:gd name="T97" fmla="*/ 1590 h 1909"/>
                <a:gd name="T98" fmla="*/ 1679 w 2861"/>
                <a:gd name="T99" fmla="*/ 1692 h 1909"/>
                <a:gd name="T100" fmla="*/ 1810 w 2861"/>
                <a:gd name="T101" fmla="*/ 1831 h 1909"/>
                <a:gd name="T102" fmla="*/ 1900 w 2861"/>
                <a:gd name="T103" fmla="*/ 1899 h 1909"/>
                <a:gd name="T104" fmla="*/ 2047 w 2861"/>
                <a:gd name="T105" fmla="*/ 1814 h 1909"/>
                <a:gd name="T106" fmla="*/ 2214 w 2861"/>
                <a:gd name="T107" fmla="*/ 1762 h 1909"/>
                <a:gd name="T108" fmla="*/ 2276 w 2861"/>
                <a:gd name="T109" fmla="*/ 1671 h 1909"/>
                <a:gd name="T110" fmla="*/ 2036 w 2861"/>
                <a:gd name="T111" fmla="*/ 1593 h 1909"/>
                <a:gd name="T112" fmla="*/ 2086 w 2861"/>
                <a:gd name="T113" fmla="*/ 1445 h 1909"/>
                <a:gd name="T114" fmla="*/ 2189 w 2861"/>
                <a:gd name="T115" fmla="*/ 1396 h 1909"/>
                <a:gd name="T116" fmla="*/ 2319 w 2861"/>
                <a:gd name="T117" fmla="*/ 1398 h 1909"/>
                <a:gd name="T118" fmla="*/ 2553 w 2861"/>
                <a:gd name="T119" fmla="*/ 1292 h 1909"/>
                <a:gd name="T120" fmla="*/ 2728 w 2861"/>
                <a:gd name="T121" fmla="*/ 1118 h 1909"/>
                <a:gd name="T122" fmla="*/ 2817 w 2861"/>
                <a:gd name="T123" fmla="*/ 999 h 1909"/>
                <a:gd name="T124" fmla="*/ 2821 w 2861"/>
                <a:gd name="T125" fmla="*/ 872 h 1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61" h="1909">
                  <a:moveTo>
                    <a:pt x="1236" y="1616"/>
                  </a:moveTo>
                  <a:lnTo>
                    <a:pt x="1233" y="1618"/>
                  </a:lnTo>
                  <a:lnTo>
                    <a:pt x="1228" y="1623"/>
                  </a:lnTo>
                  <a:lnTo>
                    <a:pt x="1226" y="1625"/>
                  </a:lnTo>
                  <a:lnTo>
                    <a:pt x="1224" y="1626"/>
                  </a:lnTo>
                  <a:lnTo>
                    <a:pt x="1221" y="1626"/>
                  </a:lnTo>
                  <a:lnTo>
                    <a:pt x="1219" y="1627"/>
                  </a:lnTo>
                  <a:lnTo>
                    <a:pt x="1218" y="1629"/>
                  </a:lnTo>
                  <a:lnTo>
                    <a:pt x="1217" y="1631"/>
                  </a:lnTo>
                  <a:lnTo>
                    <a:pt x="1214" y="1634"/>
                  </a:lnTo>
                  <a:lnTo>
                    <a:pt x="1206" y="1638"/>
                  </a:lnTo>
                  <a:lnTo>
                    <a:pt x="1218" y="1633"/>
                  </a:lnTo>
                  <a:lnTo>
                    <a:pt x="1234" y="1621"/>
                  </a:lnTo>
                  <a:lnTo>
                    <a:pt x="1269" y="1588"/>
                  </a:lnTo>
                  <a:lnTo>
                    <a:pt x="1261" y="1593"/>
                  </a:lnTo>
                  <a:lnTo>
                    <a:pt x="1236" y="1616"/>
                  </a:lnTo>
                  <a:close/>
                  <a:moveTo>
                    <a:pt x="1734" y="1540"/>
                  </a:moveTo>
                  <a:lnTo>
                    <a:pt x="1732" y="1537"/>
                  </a:lnTo>
                  <a:lnTo>
                    <a:pt x="1725" y="1537"/>
                  </a:lnTo>
                  <a:lnTo>
                    <a:pt x="1723" y="1536"/>
                  </a:lnTo>
                  <a:lnTo>
                    <a:pt x="1721" y="1533"/>
                  </a:lnTo>
                  <a:lnTo>
                    <a:pt x="1718" y="1534"/>
                  </a:lnTo>
                  <a:lnTo>
                    <a:pt x="1711" y="1537"/>
                  </a:lnTo>
                  <a:lnTo>
                    <a:pt x="1706" y="1533"/>
                  </a:lnTo>
                  <a:lnTo>
                    <a:pt x="1701" y="1533"/>
                  </a:lnTo>
                  <a:lnTo>
                    <a:pt x="1690" y="1535"/>
                  </a:lnTo>
                  <a:lnTo>
                    <a:pt x="1668" y="1532"/>
                  </a:lnTo>
                  <a:lnTo>
                    <a:pt x="1666" y="1530"/>
                  </a:lnTo>
                  <a:lnTo>
                    <a:pt x="1666" y="1531"/>
                  </a:lnTo>
                  <a:lnTo>
                    <a:pt x="1664" y="1532"/>
                  </a:lnTo>
                  <a:lnTo>
                    <a:pt x="1731" y="1543"/>
                  </a:lnTo>
                  <a:lnTo>
                    <a:pt x="1734" y="1540"/>
                  </a:lnTo>
                  <a:close/>
                  <a:moveTo>
                    <a:pt x="1577" y="1504"/>
                  </a:moveTo>
                  <a:lnTo>
                    <a:pt x="1556" y="1499"/>
                  </a:lnTo>
                  <a:lnTo>
                    <a:pt x="1506" y="1486"/>
                  </a:lnTo>
                  <a:lnTo>
                    <a:pt x="1499" y="1483"/>
                  </a:lnTo>
                  <a:lnTo>
                    <a:pt x="1495" y="1478"/>
                  </a:lnTo>
                  <a:lnTo>
                    <a:pt x="1493" y="1471"/>
                  </a:lnTo>
                  <a:lnTo>
                    <a:pt x="1490" y="1461"/>
                  </a:lnTo>
                  <a:lnTo>
                    <a:pt x="1487" y="1460"/>
                  </a:lnTo>
                  <a:lnTo>
                    <a:pt x="1487" y="1464"/>
                  </a:lnTo>
                  <a:lnTo>
                    <a:pt x="1489" y="1470"/>
                  </a:lnTo>
                  <a:lnTo>
                    <a:pt x="1490" y="1474"/>
                  </a:lnTo>
                  <a:lnTo>
                    <a:pt x="1494" y="1481"/>
                  </a:lnTo>
                  <a:lnTo>
                    <a:pt x="1499" y="1486"/>
                  </a:lnTo>
                  <a:lnTo>
                    <a:pt x="1524" y="1495"/>
                  </a:lnTo>
                  <a:lnTo>
                    <a:pt x="1582" y="1508"/>
                  </a:lnTo>
                  <a:lnTo>
                    <a:pt x="1589" y="1511"/>
                  </a:lnTo>
                  <a:lnTo>
                    <a:pt x="1592" y="1512"/>
                  </a:lnTo>
                  <a:lnTo>
                    <a:pt x="1590" y="1510"/>
                  </a:lnTo>
                  <a:lnTo>
                    <a:pt x="1577" y="1504"/>
                  </a:lnTo>
                  <a:close/>
                  <a:moveTo>
                    <a:pt x="2860" y="758"/>
                  </a:moveTo>
                  <a:lnTo>
                    <a:pt x="2852" y="749"/>
                  </a:lnTo>
                  <a:lnTo>
                    <a:pt x="2846" y="739"/>
                  </a:lnTo>
                  <a:lnTo>
                    <a:pt x="2842" y="732"/>
                  </a:lnTo>
                  <a:lnTo>
                    <a:pt x="2841" y="725"/>
                  </a:lnTo>
                  <a:lnTo>
                    <a:pt x="2845" y="716"/>
                  </a:lnTo>
                  <a:lnTo>
                    <a:pt x="2847" y="714"/>
                  </a:lnTo>
                  <a:lnTo>
                    <a:pt x="2854" y="710"/>
                  </a:lnTo>
                  <a:lnTo>
                    <a:pt x="2856" y="707"/>
                  </a:lnTo>
                  <a:lnTo>
                    <a:pt x="2857" y="702"/>
                  </a:lnTo>
                  <a:lnTo>
                    <a:pt x="2855" y="700"/>
                  </a:lnTo>
                  <a:lnTo>
                    <a:pt x="2854" y="699"/>
                  </a:lnTo>
                  <a:lnTo>
                    <a:pt x="2839" y="695"/>
                  </a:lnTo>
                  <a:lnTo>
                    <a:pt x="2835" y="695"/>
                  </a:lnTo>
                  <a:lnTo>
                    <a:pt x="2832" y="696"/>
                  </a:lnTo>
                  <a:lnTo>
                    <a:pt x="2822" y="706"/>
                  </a:lnTo>
                  <a:lnTo>
                    <a:pt x="2818" y="708"/>
                  </a:lnTo>
                  <a:lnTo>
                    <a:pt x="2814" y="710"/>
                  </a:lnTo>
                  <a:lnTo>
                    <a:pt x="2809" y="711"/>
                  </a:lnTo>
                  <a:lnTo>
                    <a:pt x="2804" y="711"/>
                  </a:lnTo>
                  <a:lnTo>
                    <a:pt x="2801" y="710"/>
                  </a:lnTo>
                  <a:lnTo>
                    <a:pt x="2793" y="701"/>
                  </a:lnTo>
                  <a:lnTo>
                    <a:pt x="2787" y="698"/>
                  </a:lnTo>
                  <a:lnTo>
                    <a:pt x="2781" y="697"/>
                  </a:lnTo>
                  <a:lnTo>
                    <a:pt x="2776" y="694"/>
                  </a:lnTo>
                  <a:lnTo>
                    <a:pt x="2772" y="685"/>
                  </a:lnTo>
                  <a:lnTo>
                    <a:pt x="2769" y="675"/>
                  </a:lnTo>
                  <a:lnTo>
                    <a:pt x="2768" y="669"/>
                  </a:lnTo>
                  <a:lnTo>
                    <a:pt x="2766" y="667"/>
                  </a:lnTo>
                  <a:lnTo>
                    <a:pt x="2756" y="666"/>
                  </a:lnTo>
                  <a:lnTo>
                    <a:pt x="2753" y="664"/>
                  </a:lnTo>
                  <a:lnTo>
                    <a:pt x="2747" y="660"/>
                  </a:lnTo>
                  <a:lnTo>
                    <a:pt x="2742" y="662"/>
                  </a:lnTo>
                  <a:lnTo>
                    <a:pt x="2735" y="665"/>
                  </a:lnTo>
                  <a:lnTo>
                    <a:pt x="2729" y="666"/>
                  </a:lnTo>
                  <a:lnTo>
                    <a:pt x="2723" y="665"/>
                  </a:lnTo>
                  <a:lnTo>
                    <a:pt x="2718" y="662"/>
                  </a:lnTo>
                  <a:lnTo>
                    <a:pt x="2715" y="657"/>
                  </a:lnTo>
                  <a:lnTo>
                    <a:pt x="2706" y="633"/>
                  </a:lnTo>
                  <a:lnTo>
                    <a:pt x="2706" y="633"/>
                  </a:lnTo>
                  <a:lnTo>
                    <a:pt x="2702" y="630"/>
                  </a:lnTo>
                  <a:lnTo>
                    <a:pt x="2696" y="632"/>
                  </a:lnTo>
                  <a:lnTo>
                    <a:pt x="2693" y="635"/>
                  </a:lnTo>
                  <a:lnTo>
                    <a:pt x="2688" y="643"/>
                  </a:lnTo>
                  <a:lnTo>
                    <a:pt x="2685" y="645"/>
                  </a:lnTo>
                  <a:lnTo>
                    <a:pt x="2682" y="646"/>
                  </a:lnTo>
                  <a:lnTo>
                    <a:pt x="2667" y="647"/>
                  </a:lnTo>
                  <a:lnTo>
                    <a:pt x="2663" y="643"/>
                  </a:lnTo>
                  <a:lnTo>
                    <a:pt x="2659" y="637"/>
                  </a:lnTo>
                  <a:lnTo>
                    <a:pt x="2654" y="632"/>
                  </a:lnTo>
                  <a:lnTo>
                    <a:pt x="2637" y="627"/>
                  </a:lnTo>
                  <a:lnTo>
                    <a:pt x="2628" y="620"/>
                  </a:lnTo>
                  <a:lnTo>
                    <a:pt x="2626" y="619"/>
                  </a:lnTo>
                  <a:lnTo>
                    <a:pt x="2626" y="617"/>
                  </a:lnTo>
                  <a:lnTo>
                    <a:pt x="2625" y="613"/>
                  </a:lnTo>
                  <a:lnTo>
                    <a:pt x="2624" y="608"/>
                  </a:lnTo>
                  <a:lnTo>
                    <a:pt x="2624" y="607"/>
                  </a:lnTo>
                  <a:lnTo>
                    <a:pt x="2624" y="608"/>
                  </a:lnTo>
                  <a:lnTo>
                    <a:pt x="2620" y="609"/>
                  </a:lnTo>
                  <a:lnTo>
                    <a:pt x="2618" y="610"/>
                  </a:lnTo>
                  <a:lnTo>
                    <a:pt x="2617" y="611"/>
                  </a:lnTo>
                  <a:lnTo>
                    <a:pt x="2609" y="609"/>
                  </a:lnTo>
                  <a:lnTo>
                    <a:pt x="2597" y="612"/>
                  </a:lnTo>
                  <a:lnTo>
                    <a:pt x="2592" y="609"/>
                  </a:lnTo>
                  <a:lnTo>
                    <a:pt x="2588" y="607"/>
                  </a:lnTo>
                  <a:lnTo>
                    <a:pt x="2585" y="606"/>
                  </a:lnTo>
                  <a:lnTo>
                    <a:pt x="2578" y="605"/>
                  </a:lnTo>
                  <a:lnTo>
                    <a:pt x="2575" y="603"/>
                  </a:lnTo>
                  <a:lnTo>
                    <a:pt x="2573" y="601"/>
                  </a:lnTo>
                  <a:lnTo>
                    <a:pt x="2568" y="587"/>
                  </a:lnTo>
                  <a:lnTo>
                    <a:pt x="2566" y="584"/>
                  </a:lnTo>
                  <a:lnTo>
                    <a:pt x="2563" y="584"/>
                  </a:lnTo>
                  <a:lnTo>
                    <a:pt x="2559" y="584"/>
                  </a:lnTo>
                  <a:lnTo>
                    <a:pt x="2548" y="583"/>
                  </a:lnTo>
                  <a:lnTo>
                    <a:pt x="2546" y="584"/>
                  </a:lnTo>
                  <a:lnTo>
                    <a:pt x="2544" y="591"/>
                  </a:lnTo>
                  <a:lnTo>
                    <a:pt x="2546" y="603"/>
                  </a:lnTo>
                  <a:lnTo>
                    <a:pt x="2545" y="613"/>
                  </a:lnTo>
                  <a:lnTo>
                    <a:pt x="2537" y="619"/>
                  </a:lnTo>
                  <a:lnTo>
                    <a:pt x="2536" y="618"/>
                  </a:lnTo>
                  <a:lnTo>
                    <a:pt x="2533" y="616"/>
                  </a:lnTo>
                  <a:lnTo>
                    <a:pt x="2531" y="616"/>
                  </a:lnTo>
                  <a:lnTo>
                    <a:pt x="2529" y="617"/>
                  </a:lnTo>
                  <a:lnTo>
                    <a:pt x="2522" y="621"/>
                  </a:lnTo>
                  <a:lnTo>
                    <a:pt x="2518" y="623"/>
                  </a:lnTo>
                  <a:lnTo>
                    <a:pt x="2518" y="622"/>
                  </a:lnTo>
                  <a:lnTo>
                    <a:pt x="2518" y="618"/>
                  </a:lnTo>
                  <a:lnTo>
                    <a:pt x="2515" y="614"/>
                  </a:lnTo>
                  <a:lnTo>
                    <a:pt x="2515" y="613"/>
                  </a:lnTo>
                  <a:lnTo>
                    <a:pt x="2510" y="604"/>
                  </a:lnTo>
                  <a:lnTo>
                    <a:pt x="2505" y="598"/>
                  </a:lnTo>
                  <a:lnTo>
                    <a:pt x="2500" y="593"/>
                  </a:lnTo>
                  <a:lnTo>
                    <a:pt x="2493" y="589"/>
                  </a:lnTo>
                  <a:lnTo>
                    <a:pt x="2481" y="584"/>
                  </a:lnTo>
                  <a:lnTo>
                    <a:pt x="2475" y="579"/>
                  </a:lnTo>
                  <a:lnTo>
                    <a:pt x="2460" y="556"/>
                  </a:lnTo>
                  <a:lnTo>
                    <a:pt x="2454" y="550"/>
                  </a:lnTo>
                  <a:lnTo>
                    <a:pt x="2454" y="549"/>
                  </a:lnTo>
                  <a:lnTo>
                    <a:pt x="2453" y="546"/>
                  </a:lnTo>
                  <a:lnTo>
                    <a:pt x="2454" y="543"/>
                  </a:lnTo>
                  <a:lnTo>
                    <a:pt x="2455" y="537"/>
                  </a:lnTo>
                  <a:lnTo>
                    <a:pt x="2455" y="527"/>
                  </a:lnTo>
                  <a:lnTo>
                    <a:pt x="2450" y="521"/>
                  </a:lnTo>
                  <a:lnTo>
                    <a:pt x="2436" y="515"/>
                  </a:lnTo>
                  <a:lnTo>
                    <a:pt x="2433" y="508"/>
                  </a:lnTo>
                  <a:lnTo>
                    <a:pt x="2431" y="500"/>
                  </a:lnTo>
                  <a:lnTo>
                    <a:pt x="2429" y="494"/>
                  </a:lnTo>
                  <a:lnTo>
                    <a:pt x="2425" y="492"/>
                  </a:lnTo>
                  <a:lnTo>
                    <a:pt x="2410" y="494"/>
                  </a:lnTo>
                  <a:lnTo>
                    <a:pt x="2405" y="496"/>
                  </a:lnTo>
                  <a:lnTo>
                    <a:pt x="2396" y="506"/>
                  </a:lnTo>
                  <a:lnTo>
                    <a:pt x="2391" y="509"/>
                  </a:lnTo>
                  <a:lnTo>
                    <a:pt x="2368" y="516"/>
                  </a:lnTo>
                  <a:lnTo>
                    <a:pt x="2357" y="514"/>
                  </a:lnTo>
                  <a:lnTo>
                    <a:pt x="2346" y="515"/>
                  </a:lnTo>
                  <a:lnTo>
                    <a:pt x="2336" y="519"/>
                  </a:lnTo>
                  <a:lnTo>
                    <a:pt x="2309" y="535"/>
                  </a:lnTo>
                  <a:lnTo>
                    <a:pt x="2307" y="536"/>
                  </a:lnTo>
                  <a:lnTo>
                    <a:pt x="2306" y="539"/>
                  </a:lnTo>
                  <a:lnTo>
                    <a:pt x="2303" y="544"/>
                  </a:lnTo>
                  <a:lnTo>
                    <a:pt x="2302" y="546"/>
                  </a:lnTo>
                  <a:lnTo>
                    <a:pt x="2299" y="548"/>
                  </a:lnTo>
                  <a:lnTo>
                    <a:pt x="2295" y="548"/>
                  </a:lnTo>
                  <a:lnTo>
                    <a:pt x="2292" y="548"/>
                  </a:lnTo>
                  <a:lnTo>
                    <a:pt x="2288" y="546"/>
                  </a:lnTo>
                  <a:lnTo>
                    <a:pt x="2286" y="545"/>
                  </a:lnTo>
                  <a:lnTo>
                    <a:pt x="2285" y="542"/>
                  </a:lnTo>
                  <a:lnTo>
                    <a:pt x="2286" y="540"/>
                  </a:lnTo>
                  <a:lnTo>
                    <a:pt x="2286" y="534"/>
                  </a:lnTo>
                  <a:lnTo>
                    <a:pt x="2287" y="533"/>
                  </a:lnTo>
                  <a:lnTo>
                    <a:pt x="2286" y="533"/>
                  </a:lnTo>
                  <a:lnTo>
                    <a:pt x="2284" y="531"/>
                  </a:lnTo>
                  <a:lnTo>
                    <a:pt x="2282" y="530"/>
                  </a:lnTo>
                  <a:lnTo>
                    <a:pt x="2277" y="530"/>
                  </a:lnTo>
                  <a:lnTo>
                    <a:pt x="2273" y="526"/>
                  </a:lnTo>
                  <a:lnTo>
                    <a:pt x="2269" y="525"/>
                  </a:lnTo>
                  <a:lnTo>
                    <a:pt x="2266" y="524"/>
                  </a:lnTo>
                  <a:lnTo>
                    <a:pt x="2264" y="523"/>
                  </a:lnTo>
                  <a:lnTo>
                    <a:pt x="2263" y="523"/>
                  </a:lnTo>
                  <a:lnTo>
                    <a:pt x="2261" y="524"/>
                  </a:lnTo>
                  <a:lnTo>
                    <a:pt x="2258" y="527"/>
                  </a:lnTo>
                  <a:lnTo>
                    <a:pt x="2255" y="529"/>
                  </a:lnTo>
                  <a:lnTo>
                    <a:pt x="2251" y="531"/>
                  </a:lnTo>
                  <a:lnTo>
                    <a:pt x="2247" y="531"/>
                  </a:lnTo>
                  <a:lnTo>
                    <a:pt x="2244" y="529"/>
                  </a:lnTo>
                  <a:lnTo>
                    <a:pt x="2228" y="504"/>
                  </a:lnTo>
                  <a:lnTo>
                    <a:pt x="2223" y="502"/>
                  </a:lnTo>
                  <a:lnTo>
                    <a:pt x="2222" y="497"/>
                  </a:lnTo>
                  <a:lnTo>
                    <a:pt x="2218" y="495"/>
                  </a:lnTo>
                  <a:lnTo>
                    <a:pt x="2190" y="492"/>
                  </a:lnTo>
                  <a:lnTo>
                    <a:pt x="2175" y="494"/>
                  </a:lnTo>
                  <a:lnTo>
                    <a:pt x="2172" y="495"/>
                  </a:lnTo>
                  <a:lnTo>
                    <a:pt x="2170" y="497"/>
                  </a:lnTo>
                  <a:lnTo>
                    <a:pt x="2167" y="501"/>
                  </a:lnTo>
                  <a:lnTo>
                    <a:pt x="2165" y="503"/>
                  </a:lnTo>
                  <a:lnTo>
                    <a:pt x="2164" y="504"/>
                  </a:lnTo>
                  <a:lnTo>
                    <a:pt x="2161" y="504"/>
                  </a:lnTo>
                  <a:lnTo>
                    <a:pt x="2159" y="505"/>
                  </a:lnTo>
                  <a:lnTo>
                    <a:pt x="2157" y="508"/>
                  </a:lnTo>
                  <a:lnTo>
                    <a:pt x="2155" y="511"/>
                  </a:lnTo>
                  <a:lnTo>
                    <a:pt x="2153" y="514"/>
                  </a:lnTo>
                  <a:lnTo>
                    <a:pt x="2152" y="514"/>
                  </a:lnTo>
                  <a:lnTo>
                    <a:pt x="2149" y="515"/>
                  </a:lnTo>
                  <a:lnTo>
                    <a:pt x="2146" y="515"/>
                  </a:lnTo>
                  <a:lnTo>
                    <a:pt x="2142" y="514"/>
                  </a:lnTo>
                  <a:lnTo>
                    <a:pt x="2139" y="512"/>
                  </a:lnTo>
                  <a:lnTo>
                    <a:pt x="2136" y="510"/>
                  </a:lnTo>
                  <a:lnTo>
                    <a:pt x="2133" y="506"/>
                  </a:lnTo>
                  <a:lnTo>
                    <a:pt x="2132" y="502"/>
                  </a:lnTo>
                  <a:lnTo>
                    <a:pt x="2132" y="497"/>
                  </a:lnTo>
                  <a:lnTo>
                    <a:pt x="2130" y="491"/>
                  </a:lnTo>
                  <a:lnTo>
                    <a:pt x="2128" y="487"/>
                  </a:lnTo>
                  <a:lnTo>
                    <a:pt x="2125" y="485"/>
                  </a:lnTo>
                  <a:lnTo>
                    <a:pt x="2122" y="484"/>
                  </a:lnTo>
                  <a:lnTo>
                    <a:pt x="2118" y="483"/>
                  </a:lnTo>
                  <a:lnTo>
                    <a:pt x="2113" y="481"/>
                  </a:lnTo>
                  <a:lnTo>
                    <a:pt x="2110" y="475"/>
                  </a:lnTo>
                  <a:lnTo>
                    <a:pt x="2102" y="445"/>
                  </a:lnTo>
                  <a:lnTo>
                    <a:pt x="2102" y="442"/>
                  </a:lnTo>
                  <a:lnTo>
                    <a:pt x="2104" y="438"/>
                  </a:lnTo>
                  <a:lnTo>
                    <a:pt x="2117" y="433"/>
                  </a:lnTo>
                  <a:lnTo>
                    <a:pt x="2113" y="428"/>
                  </a:lnTo>
                  <a:lnTo>
                    <a:pt x="2113" y="423"/>
                  </a:lnTo>
                  <a:lnTo>
                    <a:pt x="2113" y="417"/>
                  </a:lnTo>
                  <a:lnTo>
                    <a:pt x="2112" y="409"/>
                  </a:lnTo>
                  <a:lnTo>
                    <a:pt x="2110" y="407"/>
                  </a:lnTo>
                  <a:lnTo>
                    <a:pt x="2109" y="405"/>
                  </a:lnTo>
                  <a:lnTo>
                    <a:pt x="2105" y="403"/>
                  </a:lnTo>
                  <a:lnTo>
                    <a:pt x="2102" y="401"/>
                  </a:lnTo>
                  <a:lnTo>
                    <a:pt x="2102" y="398"/>
                  </a:lnTo>
                  <a:lnTo>
                    <a:pt x="2102" y="395"/>
                  </a:lnTo>
                  <a:lnTo>
                    <a:pt x="2102" y="392"/>
                  </a:lnTo>
                  <a:lnTo>
                    <a:pt x="2101" y="388"/>
                  </a:lnTo>
                  <a:lnTo>
                    <a:pt x="2098" y="384"/>
                  </a:lnTo>
                  <a:lnTo>
                    <a:pt x="2097" y="381"/>
                  </a:lnTo>
                  <a:lnTo>
                    <a:pt x="2096" y="377"/>
                  </a:lnTo>
                  <a:lnTo>
                    <a:pt x="2097" y="374"/>
                  </a:lnTo>
                  <a:lnTo>
                    <a:pt x="2097" y="371"/>
                  </a:lnTo>
                  <a:lnTo>
                    <a:pt x="2094" y="368"/>
                  </a:lnTo>
                  <a:lnTo>
                    <a:pt x="2093" y="366"/>
                  </a:lnTo>
                  <a:lnTo>
                    <a:pt x="2089" y="366"/>
                  </a:lnTo>
                  <a:lnTo>
                    <a:pt x="2088" y="364"/>
                  </a:lnTo>
                  <a:lnTo>
                    <a:pt x="2087" y="361"/>
                  </a:lnTo>
                  <a:lnTo>
                    <a:pt x="2087" y="354"/>
                  </a:lnTo>
                  <a:lnTo>
                    <a:pt x="2086" y="352"/>
                  </a:lnTo>
                  <a:lnTo>
                    <a:pt x="2095" y="350"/>
                  </a:lnTo>
                  <a:lnTo>
                    <a:pt x="2097" y="348"/>
                  </a:lnTo>
                  <a:lnTo>
                    <a:pt x="2099" y="344"/>
                  </a:lnTo>
                  <a:lnTo>
                    <a:pt x="2097" y="341"/>
                  </a:lnTo>
                  <a:lnTo>
                    <a:pt x="2094" y="339"/>
                  </a:lnTo>
                  <a:lnTo>
                    <a:pt x="2091" y="338"/>
                  </a:lnTo>
                  <a:lnTo>
                    <a:pt x="2086" y="338"/>
                  </a:lnTo>
                  <a:lnTo>
                    <a:pt x="2075" y="340"/>
                  </a:lnTo>
                  <a:lnTo>
                    <a:pt x="2070" y="340"/>
                  </a:lnTo>
                  <a:lnTo>
                    <a:pt x="2065" y="335"/>
                  </a:lnTo>
                  <a:lnTo>
                    <a:pt x="2062" y="327"/>
                  </a:lnTo>
                  <a:lnTo>
                    <a:pt x="2058" y="304"/>
                  </a:lnTo>
                  <a:lnTo>
                    <a:pt x="2057" y="300"/>
                  </a:lnTo>
                  <a:lnTo>
                    <a:pt x="2055" y="298"/>
                  </a:lnTo>
                  <a:lnTo>
                    <a:pt x="2052" y="296"/>
                  </a:lnTo>
                  <a:lnTo>
                    <a:pt x="2049" y="297"/>
                  </a:lnTo>
                  <a:lnTo>
                    <a:pt x="2045" y="298"/>
                  </a:lnTo>
                  <a:lnTo>
                    <a:pt x="2042" y="299"/>
                  </a:lnTo>
                  <a:lnTo>
                    <a:pt x="2039" y="297"/>
                  </a:lnTo>
                  <a:lnTo>
                    <a:pt x="2036" y="295"/>
                  </a:lnTo>
                  <a:lnTo>
                    <a:pt x="2034" y="296"/>
                  </a:lnTo>
                  <a:lnTo>
                    <a:pt x="2026" y="300"/>
                  </a:lnTo>
                  <a:lnTo>
                    <a:pt x="2013" y="306"/>
                  </a:lnTo>
                  <a:lnTo>
                    <a:pt x="2002" y="308"/>
                  </a:lnTo>
                  <a:lnTo>
                    <a:pt x="1991" y="308"/>
                  </a:lnTo>
                  <a:lnTo>
                    <a:pt x="1988" y="307"/>
                  </a:lnTo>
                  <a:lnTo>
                    <a:pt x="1985" y="304"/>
                  </a:lnTo>
                  <a:lnTo>
                    <a:pt x="1984" y="300"/>
                  </a:lnTo>
                  <a:lnTo>
                    <a:pt x="1983" y="297"/>
                  </a:lnTo>
                  <a:lnTo>
                    <a:pt x="1982" y="293"/>
                  </a:lnTo>
                  <a:lnTo>
                    <a:pt x="1980" y="291"/>
                  </a:lnTo>
                  <a:lnTo>
                    <a:pt x="1975" y="290"/>
                  </a:lnTo>
                  <a:lnTo>
                    <a:pt x="1965" y="292"/>
                  </a:lnTo>
                  <a:lnTo>
                    <a:pt x="1960" y="290"/>
                  </a:lnTo>
                  <a:lnTo>
                    <a:pt x="1948" y="286"/>
                  </a:lnTo>
                  <a:lnTo>
                    <a:pt x="1942" y="285"/>
                  </a:lnTo>
                  <a:lnTo>
                    <a:pt x="1937" y="286"/>
                  </a:lnTo>
                  <a:lnTo>
                    <a:pt x="1931" y="291"/>
                  </a:lnTo>
                  <a:lnTo>
                    <a:pt x="1928" y="293"/>
                  </a:lnTo>
                  <a:lnTo>
                    <a:pt x="1924" y="292"/>
                  </a:lnTo>
                  <a:lnTo>
                    <a:pt x="1913" y="287"/>
                  </a:lnTo>
                  <a:lnTo>
                    <a:pt x="1922" y="281"/>
                  </a:lnTo>
                  <a:lnTo>
                    <a:pt x="1928" y="274"/>
                  </a:lnTo>
                  <a:lnTo>
                    <a:pt x="1932" y="266"/>
                  </a:lnTo>
                  <a:lnTo>
                    <a:pt x="1931" y="257"/>
                  </a:lnTo>
                  <a:lnTo>
                    <a:pt x="1928" y="259"/>
                  </a:lnTo>
                  <a:lnTo>
                    <a:pt x="1926" y="259"/>
                  </a:lnTo>
                  <a:lnTo>
                    <a:pt x="1923" y="258"/>
                  </a:lnTo>
                  <a:lnTo>
                    <a:pt x="1920" y="257"/>
                  </a:lnTo>
                  <a:lnTo>
                    <a:pt x="1918" y="256"/>
                  </a:lnTo>
                  <a:lnTo>
                    <a:pt x="1915" y="252"/>
                  </a:lnTo>
                  <a:lnTo>
                    <a:pt x="1913" y="250"/>
                  </a:lnTo>
                  <a:lnTo>
                    <a:pt x="1912" y="248"/>
                  </a:lnTo>
                  <a:lnTo>
                    <a:pt x="1913" y="247"/>
                  </a:lnTo>
                  <a:lnTo>
                    <a:pt x="1917" y="246"/>
                  </a:lnTo>
                  <a:lnTo>
                    <a:pt x="1918" y="245"/>
                  </a:lnTo>
                  <a:lnTo>
                    <a:pt x="1918" y="242"/>
                  </a:lnTo>
                  <a:lnTo>
                    <a:pt x="1918" y="240"/>
                  </a:lnTo>
                  <a:lnTo>
                    <a:pt x="1917" y="237"/>
                  </a:lnTo>
                  <a:lnTo>
                    <a:pt x="1917" y="235"/>
                  </a:lnTo>
                  <a:lnTo>
                    <a:pt x="1918" y="232"/>
                  </a:lnTo>
                  <a:lnTo>
                    <a:pt x="1919" y="228"/>
                  </a:lnTo>
                  <a:lnTo>
                    <a:pt x="1919" y="225"/>
                  </a:lnTo>
                  <a:lnTo>
                    <a:pt x="1919" y="220"/>
                  </a:lnTo>
                  <a:lnTo>
                    <a:pt x="1918" y="215"/>
                  </a:lnTo>
                  <a:lnTo>
                    <a:pt x="1916" y="212"/>
                  </a:lnTo>
                  <a:lnTo>
                    <a:pt x="1909" y="204"/>
                  </a:lnTo>
                  <a:lnTo>
                    <a:pt x="1908" y="202"/>
                  </a:lnTo>
                  <a:lnTo>
                    <a:pt x="1907" y="200"/>
                  </a:lnTo>
                  <a:lnTo>
                    <a:pt x="1907" y="194"/>
                  </a:lnTo>
                  <a:lnTo>
                    <a:pt x="1906" y="193"/>
                  </a:lnTo>
                  <a:lnTo>
                    <a:pt x="1903" y="191"/>
                  </a:lnTo>
                  <a:lnTo>
                    <a:pt x="1898" y="189"/>
                  </a:lnTo>
                  <a:lnTo>
                    <a:pt x="1896" y="187"/>
                  </a:lnTo>
                  <a:lnTo>
                    <a:pt x="1898" y="181"/>
                  </a:lnTo>
                  <a:lnTo>
                    <a:pt x="1904" y="177"/>
                  </a:lnTo>
                  <a:lnTo>
                    <a:pt x="1931" y="171"/>
                  </a:lnTo>
                  <a:lnTo>
                    <a:pt x="1940" y="171"/>
                  </a:lnTo>
                  <a:lnTo>
                    <a:pt x="1943" y="170"/>
                  </a:lnTo>
                  <a:lnTo>
                    <a:pt x="1949" y="163"/>
                  </a:lnTo>
                  <a:lnTo>
                    <a:pt x="1949" y="153"/>
                  </a:lnTo>
                  <a:lnTo>
                    <a:pt x="1945" y="142"/>
                  </a:lnTo>
                  <a:lnTo>
                    <a:pt x="1942" y="140"/>
                  </a:lnTo>
                  <a:lnTo>
                    <a:pt x="1939" y="136"/>
                  </a:lnTo>
                  <a:lnTo>
                    <a:pt x="1936" y="134"/>
                  </a:lnTo>
                  <a:lnTo>
                    <a:pt x="1930" y="128"/>
                  </a:lnTo>
                  <a:lnTo>
                    <a:pt x="1927" y="126"/>
                  </a:lnTo>
                  <a:lnTo>
                    <a:pt x="1926" y="126"/>
                  </a:lnTo>
                  <a:lnTo>
                    <a:pt x="1922" y="128"/>
                  </a:lnTo>
                  <a:lnTo>
                    <a:pt x="1921" y="127"/>
                  </a:lnTo>
                  <a:lnTo>
                    <a:pt x="1921" y="126"/>
                  </a:lnTo>
                  <a:lnTo>
                    <a:pt x="1920" y="123"/>
                  </a:lnTo>
                  <a:lnTo>
                    <a:pt x="1920" y="121"/>
                  </a:lnTo>
                  <a:lnTo>
                    <a:pt x="1919" y="120"/>
                  </a:lnTo>
                  <a:lnTo>
                    <a:pt x="1917" y="119"/>
                  </a:lnTo>
                  <a:lnTo>
                    <a:pt x="1916" y="118"/>
                  </a:lnTo>
                  <a:lnTo>
                    <a:pt x="1910" y="110"/>
                  </a:lnTo>
                  <a:lnTo>
                    <a:pt x="1907" y="108"/>
                  </a:lnTo>
                  <a:lnTo>
                    <a:pt x="1899" y="108"/>
                  </a:lnTo>
                  <a:lnTo>
                    <a:pt x="1899" y="106"/>
                  </a:lnTo>
                  <a:lnTo>
                    <a:pt x="1900" y="102"/>
                  </a:lnTo>
                  <a:lnTo>
                    <a:pt x="1900" y="97"/>
                  </a:lnTo>
                  <a:lnTo>
                    <a:pt x="1896" y="92"/>
                  </a:lnTo>
                  <a:lnTo>
                    <a:pt x="1894" y="88"/>
                  </a:lnTo>
                  <a:lnTo>
                    <a:pt x="1893" y="83"/>
                  </a:lnTo>
                  <a:lnTo>
                    <a:pt x="1893" y="74"/>
                  </a:lnTo>
                  <a:lnTo>
                    <a:pt x="1892" y="70"/>
                  </a:lnTo>
                  <a:lnTo>
                    <a:pt x="1892" y="68"/>
                  </a:lnTo>
                  <a:lnTo>
                    <a:pt x="1895" y="62"/>
                  </a:lnTo>
                  <a:lnTo>
                    <a:pt x="1895" y="60"/>
                  </a:lnTo>
                  <a:lnTo>
                    <a:pt x="1895" y="57"/>
                  </a:lnTo>
                  <a:lnTo>
                    <a:pt x="1894" y="55"/>
                  </a:lnTo>
                  <a:lnTo>
                    <a:pt x="1892" y="52"/>
                  </a:lnTo>
                  <a:lnTo>
                    <a:pt x="1890" y="47"/>
                  </a:lnTo>
                  <a:lnTo>
                    <a:pt x="1887" y="45"/>
                  </a:lnTo>
                  <a:lnTo>
                    <a:pt x="1877" y="38"/>
                  </a:lnTo>
                  <a:lnTo>
                    <a:pt x="1875" y="35"/>
                  </a:lnTo>
                  <a:lnTo>
                    <a:pt x="1871" y="26"/>
                  </a:lnTo>
                  <a:lnTo>
                    <a:pt x="1868" y="22"/>
                  </a:lnTo>
                  <a:lnTo>
                    <a:pt x="1861" y="17"/>
                  </a:lnTo>
                  <a:lnTo>
                    <a:pt x="1858" y="15"/>
                  </a:lnTo>
                  <a:lnTo>
                    <a:pt x="1855" y="10"/>
                  </a:lnTo>
                  <a:lnTo>
                    <a:pt x="1854" y="7"/>
                  </a:lnTo>
                  <a:lnTo>
                    <a:pt x="1853" y="4"/>
                  </a:lnTo>
                  <a:lnTo>
                    <a:pt x="1848" y="2"/>
                  </a:lnTo>
                  <a:lnTo>
                    <a:pt x="1841" y="2"/>
                  </a:lnTo>
                  <a:lnTo>
                    <a:pt x="1834" y="4"/>
                  </a:lnTo>
                  <a:lnTo>
                    <a:pt x="1820" y="10"/>
                  </a:lnTo>
                  <a:lnTo>
                    <a:pt x="1809" y="21"/>
                  </a:lnTo>
                  <a:lnTo>
                    <a:pt x="1806" y="22"/>
                  </a:lnTo>
                  <a:lnTo>
                    <a:pt x="1803" y="17"/>
                  </a:lnTo>
                  <a:lnTo>
                    <a:pt x="1804" y="7"/>
                  </a:lnTo>
                  <a:lnTo>
                    <a:pt x="1801" y="3"/>
                  </a:lnTo>
                  <a:lnTo>
                    <a:pt x="1799" y="4"/>
                  </a:lnTo>
                  <a:lnTo>
                    <a:pt x="1796" y="7"/>
                  </a:lnTo>
                  <a:lnTo>
                    <a:pt x="1794" y="8"/>
                  </a:lnTo>
                  <a:lnTo>
                    <a:pt x="1791" y="8"/>
                  </a:lnTo>
                  <a:lnTo>
                    <a:pt x="1789" y="7"/>
                  </a:lnTo>
                  <a:lnTo>
                    <a:pt x="1788" y="7"/>
                  </a:lnTo>
                  <a:lnTo>
                    <a:pt x="1785" y="4"/>
                  </a:lnTo>
                  <a:lnTo>
                    <a:pt x="1782" y="3"/>
                  </a:lnTo>
                  <a:lnTo>
                    <a:pt x="1771" y="3"/>
                  </a:lnTo>
                  <a:lnTo>
                    <a:pt x="1756" y="0"/>
                  </a:lnTo>
                  <a:lnTo>
                    <a:pt x="1754" y="1"/>
                  </a:lnTo>
                  <a:lnTo>
                    <a:pt x="1751" y="2"/>
                  </a:lnTo>
                  <a:lnTo>
                    <a:pt x="1747" y="8"/>
                  </a:lnTo>
                  <a:lnTo>
                    <a:pt x="1745" y="10"/>
                  </a:lnTo>
                  <a:lnTo>
                    <a:pt x="1742" y="11"/>
                  </a:lnTo>
                  <a:lnTo>
                    <a:pt x="1741" y="12"/>
                  </a:lnTo>
                  <a:lnTo>
                    <a:pt x="1739" y="15"/>
                  </a:lnTo>
                  <a:lnTo>
                    <a:pt x="1737" y="17"/>
                  </a:lnTo>
                  <a:lnTo>
                    <a:pt x="1736" y="17"/>
                  </a:lnTo>
                  <a:lnTo>
                    <a:pt x="1734" y="16"/>
                  </a:lnTo>
                  <a:lnTo>
                    <a:pt x="1732" y="16"/>
                  </a:lnTo>
                  <a:lnTo>
                    <a:pt x="1730" y="17"/>
                  </a:lnTo>
                  <a:lnTo>
                    <a:pt x="1713" y="32"/>
                  </a:lnTo>
                  <a:lnTo>
                    <a:pt x="1710" y="33"/>
                  </a:lnTo>
                  <a:lnTo>
                    <a:pt x="1707" y="33"/>
                  </a:lnTo>
                  <a:lnTo>
                    <a:pt x="1703" y="29"/>
                  </a:lnTo>
                  <a:lnTo>
                    <a:pt x="1700" y="28"/>
                  </a:lnTo>
                  <a:lnTo>
                    <a:pt x="1695" y="28"/>
                  </a:lnTo>
                  <a:lnTo>
                    <a:pt x="1686" y="31"/>
                  </a:lnTo>
                  <a:lnTo>
                    <a:pt x="1681" y="31"/>
                  </a:lnTo>
                  <a:lnTo>
                    <a:pt x="1650" y="14"/>
                  </a:lnTo>
                  <a:lnTo>
                    <a:pt x="1642" y="16"/>
                  </a:lnTo>
                  <a:lnTo>
                    <a:pt x="1629" y="11"/>
                  </a:lnTo>
                  <a:lnTo>
                    <a:pt x="1622" y="12"/>
                  </a:lnTo>
                  <a:lnTo>
                    <a:pt x="1620" y="22"/>
                  </a:lnTo>
                  <a:lnTo>
                    <a:pt x="1621" y="24"/>
                  </a:lnTo>
                  <a:lnTo>
                    <a:pt x="1624" y="30"/>
                  </a:lnTo>
                  <a:lnTo>
                    <a:pt x="1624" y="32"/>
                  </a:lnTo>
                  <a:lnTo>
                    <a:pt x="1624" y="35"/>
                  </a:lnTo>
                  <a:lnTo>
                    <a:pt x="1622" y="36"/>
                  </a:lnTo>
                  <a:lnTo>
                    <a:pt x="1620" y="37"/>
                  </a:lnTo>
                  <a:lnTo>
                    <a:pt x="1618" y="39"/>
                  </a:lnTo>
                  <a:lnTo>
                    <a:pt x="1617" y="44"/>
                  </a:lnTo>
                  <a:lnTo>
                    <a:pt x="1615" y="59"/>
                  </a:lnTo>
                  <a:lnTo>
                    <a:pt x="1610" y="69"/>
                  </a:lnTo>
                  <a:lnTo>
                    <a:pt x="1603" y="75"/>
                  </a:lnTo>
                  <a:lnTo>
                    <a:pt x="1581" y="85"/>
                  </a:lnTo>
                  <a:lnTo>
                    <a:pt x="1578" y="85"/>
                  </a:lnTo>
                  <a:lnTo>
                    <a:pt x="1569" y="83"/>
                  </a:lnTo>
                  <a:lnTo>
                    <a:pt x="1563" y="83"/>
                  </a:lnTo>
                  <a:lnTo>
                    <a:pt x="1555" y="88"/>
                  </a:lnTo>
                  <a:lnTo>
                    <a:pt x="1552" y="88"/>
                  </a:lnTo>
                  <a:lnTo>
                    <a:pt x="1549" y="86"/>
                  </a:lnTo>
                  <a:lnTo>
                    <a:pt x="1548" y="82"/>
                  </a:lnTo>
                  <a:lnTo>
                    <a:pt x="1548" y="78"/>
                  </a:lnTo>
                  <a:lnTo>
                    <a:pt x="1547" y="73"/>
                  </a:lnTo>
                  <a:lnTo>
                    <a:pt x="1544" y="70"/>
                  </a:lnTo>
                  <a:lnTo>
                    <a:pt x="1538" y="69"/>
                  </a:lnTo>
                  <a:lnTo>
                    <a:pt x="1529" y="70"/>
                  </a:lnTo>
                  <a:lnTo>
                    <a:pt x="1511" y="70"/>
                  </a:lnTo>
                  <a:lnTo>
                    <a:pt x="1483" y="65"/>
                  </a:lnTo>
                  <a:lnTo>
                    <a:pt x="1468" y="65"/>
                  </a:lnTo>
                  <a:lnTo>
                    <a:pt x="1456" y="70"/>
                  </a:lnTo>
                  <a:lnTo>
                    <a:pt x="1453" y="75"/>
                  </a:lnTo>
                  <a:lnTo>
                    <a:pt x="1450" y="80"/>
                  </a:lnTo>
                  <a:lnTo>
                    <a:pt x="1448" y="84"/>
                  </a:lnTo>
                  <a:lnTo>
                    <a:pt x="1444" y="86"/>
                  </a:lnTo>
                  <a:lnTo>
                    <a:pt x="1440" y="84"/>
                  </a:lnTo>
                  <a:lnTo>
                    <a:pt x="1433" y="78"/>
                  </a:lnTo>
                  <a:lnTo>
                    <a:pt x="1429" y="76"/>
                  </a:lnTo>
                  <a:lnTo>
                    <a:pt x="1423" y="75"/>
                  </a:lnTo>
                  <a:lnTo>
                    <a:pt x="1401" y="76"/>
                  </a:lnTo>
                  <a:lnTo>
                    <a:pt x="1397" y="78"/>
                  </a:lnTo>
                  <a:lnTo>
                    <a:pt x="1394" y="80"/>
                  </a:lnTo>
                  <a:lnTo>
                    <a:pt x="1395" y="85"/>
                  </a:lnTo>
                  <a:lnTo>
                    <a:pt x="1394" y="86"/>
                  </a:lnTo>
                  <a:lnTo>
                    <a:pt x="1394" y="87"/>
                  </a:lnTo>
                  <a:lnTo>
                    <a:pt x="1394" y="89"/>
                  </a:lnTo>
                  <a:lnTo>
                    <a:pt x="1393" y="90"/>
                  </a:lnTo>
                  <a:lnTo>
                    <a:pt x="1398" y="90"/>
                  </a:lnTo>
                  <a:lnTo>
                    <a:pt x="1399" y="94"/>
                  </a:lnTo>
                  <a:lnTo>
                    <a:pt x="1398" y="97"/>
                  </a:lnTo>
                  <a:lnTo>
                    <a:pt x="1394" y="97"/>
                  </a:lnTo>
                  <a:lnTo>
                    <a:pt x="1393" y="96"/>
                  </a:lnTo>
                  <a:lnTo>
                    <a:pt x="1392" y="95"/>
                  </a:lnTo>
                  <a:lnTo>
                    <a:pt x="1391" y="96"/>
                  </a:lnTo>
                  <a:lnTo>
                    <a:pt x="1390" y="97"/>
                  </a:lnTo>
                  <a:lnTo>
                    <a:pt x="1389" y="99"/>
                  </a:lnTo>
                  <a:lnTo>
                    <a:pt x="1388" y="100"/>
                  </a:lnTo>
                  <a:lnTo>
                    <a:pt x="1388" y="101"/>
                  </a:lnTo>
                  <a:lnTo>
                    <a:pt x="1388" y="102"/>
                  </a:lnTo>
                  <a:lnTo>
                    <a:pt x="1387" y="105"/>
                  </a:lnTo>
                  <a:lnTo>
                    <a:pt x="1385" y="106"/>
                  </a:lnTo>
                  <a:lnTo>
                    <a:pt x="1383" y="108"/>
                  </a:lnTo>
                  <a:lnTo>
                    <a:pt x="1380" y="110"/>
                  </a:lnTo>
                  <a:lnTo>
                    <a:pt x="1376" y="111"/>
                  </a:lnTo>
                  <a:lnTo>
                    <a:pt x="1376" y="112"/>
                  </a:lnTo>
                  <a:lnTo>
                    <a:pt x="1376" y="114"/>
                  </a:lnTo>
                  <a:lnTo>
                    <a:pt x="1377" y="115"/>
                  </a:lnTo>
                  <a:lnTo>
                    <a:pt x="1377" y="117"/>
                  </a:lnTo>
                  <a:lnTo>
                    <a:pt x="1375" y="119"/>
                  </a:lnTo>
                  <a:lnTo>
                    <a:pt x="1374" y="121"/>
                  </a:lnTo>
                  <a:lnTo>
                    <a:pt x="1372" y="122"/>
                  </a:lnTo>
                  <a:lnTo>
                    <a:pt x="1368" y="121"/>
                  </a:lnTo>
                  <a:lnTo>
                    <a:pt x="1366" y="122"/>
                  </a:lnTo>
                  <a:lnTo>
                    <a:pt x="1366" y="124"/>
                  </a:lnTo>
                  <a:lnTo>
                    <a:pt x="1366" y="126"/>
                  </a:lnTo>
                  <a:lnTo>
                    <a:pt x="1365" y="128"/>
                  </a:lnTo>
                  <a:lnTo>
                    <a:pt x="1362" y="130"/>
                  </a:lnTo>
                  <a:lnTo>
                    <a:pt x="1361" y="131"/>
                  </a:lnTo>
                  <a:lnTo>
                    <a:pt x="1360" y="133"/>
                  </a:lnTo>
                  <a:lnTo>
                    <a:pt x="1359" y="134"/>
                  </a:lnTo>
                  <a:lnTo>
                    <a:pt x="1359" y="135"/>
                  </a:lnTo>
                  <a:lnTo>
                    <a:pt x="1355" y="139"/>
                  </a:lnTo>
                  <a:lnTo>
                    <a:pt x="1354" y="141"/>
                  </a:lnTo>
                  <a:lnTo>
                    <a:pt x="1354" y="142"/>
                  </a:lnTo>
                  <a:lnTo>
                    <a:pt x="1354" y="143"/>
                  </a:lnTo>
                  <a:lnTo>
                    <a:pt x="1355" y="145"/>
                  </a:lnTo>
                  <a:lnTo>
                    <a:pt x="1355" y="149"/>
                  </a:lnTo>
                  <a:lnTo>
                    <a:pt x="1352" y="152"/>
                  </a:lnTo>
                  <a:lnTo>
                    <a:pt x="1349" y="154"/>
                  </a:lnTo>
                  <a:lnTo>
                    <a:pt x="1347" y="157"/>
                  </a:lnTo>
                  <a:lnTo>
                    <a:pt x="1350" y="158"/>
                  </a:lnTo>
                  <a:lnTo>
                    <a:pt x="1351" y="158"/>
                  </a:lnTo>
                  <a:lnTo>
                    <a:pt x="1351" y="160"/>
                  </a:lnTo>
                  <a:lnTo>
                    <a:pt x="1350" y="162"/>
                  </a:lnTo>
                  <a:lnTo>
                    <a:pt x="1349" y="165"/>
                  </a:lnTo>
                  <a:lnTo>
                    <a:pt x="1349" y="168"/>
                  </a:lnTo>
                  <a:lnTo>
                    <a:pt x="1348" y="171"/>
                  </a:lnTo>
                  <a:lnTo>
                    <a:pt x="1346" y="172"/>
                  </a:lnTo>
                  <a:lnTo>
                    <a:pt x="1341" y="172"/>
                  </a:lnTo>
                  <a:lnTo>
                    <a:pt x="1339" y="173"/>
                  </a:lnTo>
                  <a:lnTo>
                    <a:pt x="1340" y="176"/>
                  </a:lnTo>
                  <a:lnTo>
                    <a:pt x="1338" y="181"/>
                  </a:lnTo>
                  <a:lnTo>
                    <a:pt x="1339" y="185"/>
                  </a:lnTo>
                  <a:lnTo>
                    <a:pt x="1338" y="186"/>
                  </a:lnTo>
                  <a:lnTo>
                    <a:pt x="1337" y="188"/>
                  </a:lnTo>
                  <a:lnTo>
                    <a:pt x="1336" y="188"/>
                  </a:lnTo>
                  <a:lnTo>
                    <a:pt x="1336" y="189"/>
                  </a:lnTo>
                  <a:lnTo>
                    <a:pt x="1337" y="192"/>
                  </a:lnTo>
                  <a:lnTo>
                    <a:pt x="1335" y="193"/>
                  </a:lnTo>
                  <a:lnTo>
                    <a:pt x="1330" y="197"/>
                  </a:lnTo>
                  <a:lnTo>
                    <a:pt x="1330" y="199"/>
                  </a:lnTo>
                  <a:lnTo>
                    <a:pt x="1333" y="202"/>
                  </a:lnTo>
                  <a:lnTo>
                    <a:pt x="1335" y="202"/>
                  </a:lnTo>
                  <a:lnTo>
                    <a:pt x="1335" y="204"/>
                  </a:lnTo>
                  <a:lnTo>
                    <a:pt x="1334" y="204"/>
                  </a:lnTo>
                  <a:lnTo>
                    <a:pt x="1333" y="205"/>
                  </a:lnTo>
                  <a:lnTo>
                    <a:pt x="1332" y="205"/>
                  </a:lnTo>
                  <a:lnTo>
                    <a:pt x="1331" y="206"/>
                  </a:lnTo>
                  <a:lnTo>
                    <a:pt x="1331" y="207"/>
                  </a:lnTo>
                  <a:lnTo>
                    <a:pt x="1333" y="210"/>
                  </a:lnTo>
                  <a:lnTo>
                    <a:pt x="1339" y="212"/>
                  </a:lnTo>
                  <a:lnTo>
                    <a:pt x="1341" y="213"/>
                  </a:lnTo>
                  <a:lnTo>
                    <a:pt x="1340" y="216"/>
                  </a:lnTo>
                  <a:lnTo>
                    <a:pt x="1339" y="217"/>
                  </a:lnTo>
                  <a:lnTo>
                    <a:pt x="1338" y="218"/>
                  </a:lnTo>
                  <a:lnTo>
                    <a:pt x="1340" y="219"/>
                  </a:lnTo>
                  <a:lnTo>
                    <a:pt x="1341" y="221"/>
                  </a:lnTo>
                  <a:lnTo>
                    <a:pt x="1342" y="223"/>
                  </a:lnTo>
                  <a:lnTo>
                    <a:pt x="1341" y="225"/>
                  </a:lnTo>
                  <a:lnTo>
                    <a:pt x="1342" y="228"/>
                  </a:lnTo>
                  <a:lnTo>
                    <a:pt x="1343" y="230"/>
                  </a:lnTo>
                  <a:lnTo>
                    <a:pt x="1345" y="231"/>
                  </a:lnTo>
                  <a:lnTo>
                    <a:pt x="1347" y="232"/>
                  </a:lnTo>
                  <a:lnTo>
                    <a:pt x="1347" y="234"/>
                  </a:lnTo>
                  <a:lnTo>
                    <a:pt x="1345" y="233"/>
                  </a:lnTo>
                  <a:lnTo>
                    <a:pt x="1343" y="234"/>
                  </a:lnTo>
                  <a:lnTo>
                    <a:pt x="1342" y="236"/>
                  </a:lnTo>
                  <a:lnTo>
                    <a:pt x="1341" y="239"/>
                  </a:lnTo>
                  <a:lnTo>
                    <a:pt x="1342" y="242"/>
                  </a:lnTo>
                  <a:lnTo>
                    <a:pt x="1343" y="242"/>
                  </a:lnTo>
                  <a:lnTo>
                    <a:pt x="1345" y="243"/>
                  </a:lnTo>
                  <a:lnTo>
                    <a:pt x="1347" y="244"/>
                  </a:lnTo>
                  <a:lnTo>
                    <a:pt x="1347" y="246"/>
                  </a:lnTo>
                  <a:lnTo>
                    <a:pt x="1349" y="253"/>
                  </a:lnTo>
                  <a:lnTo>
                    <a:pt x="1350" y="254"/>
                  </a:lnTo>
                  <a:lnTo>
                    <a:pt x="1351" y="256"/>
                  </a:lnTo>
                  <a:lnTo>
                    <a:pt x="1351" y="257"/>
                  </a:lnTo>
                  <a:lnTo>
                    <a:pt x="1349" y="258"/>
                  </a:lnTo>
                  <a:lnTo>
                    <a:pt x="1350" y="265"/>
                  </a:lnTo>
                  <a:lnTo>
                    <a:pt x="1345" y="270"/>
                  </a:lnTo>
                  <a:lnTo>
                    <a:pt x="1341" y="273"/>
                  </a:lnTo>
                  <a:lnTo>
                    <a:pt x="1340" y="277"/>
                  </a:lnTo>
                  <a:lnTo>
                    <a:pt x="1337" y="282"/>
                  </a:lnTo>
                  <a:lnTo>
                    <a:pt x="1337" y="282"/>
                  </a:lnTo>
                  <a:lnTo>
                    <a:pt x="1337" y="289"/>
                  </a:lnTo>
                  <a:lnTo>
                    <a:pt x="1337" y="289"/>
                  </a:lnTo>
                  <a:lnTo>
                    <a:pt x="1336" y="290"/>
                  </a:lnTo>
                  <a:lnTo>
                    <a:pt x="1334" y="290"/>
                  </a:lnTo>
                  <a:lnTo>
                    <a:pt x="1333" y="288"/>
                  </a:lnTo>
                  <a:lnTo>
                    <a:pt x="1331" y="286"/>
                  </a:lnTo>
                  <a:lnTo>
                    <a:pt x="1329" y="285"/>
                  </a:lnTo>
                  <a:lnTo>
                    <a:pt x="1327" y="284"/>
                  </a:lnTo>
                  <a:lnTo>
                    <a:pt x="1325" y="285"/>
                  </a:lnTo>
                  <a:lnTo>
                    <a:pt x="1322" y="284"/>
                  </a:lnTo>
                  <a:lnTo>
                    <a:pt x="1319" y="278"/>
                  </a:lnTo>
                  <a:lnTo>
                    <a:pt x="1316" y="276"/>
                  </a:lnTo>
                  <a:lnTo>
                    <a:pt x="1314" y="276"/>
                  </a:lnTo>
                  <a:lnTo>
                    <a:pt x="1310" y="276"/>
                  </a:lnTo>
                  <a:lnTo>
                    <a:pt x="1307" y="275"/>
                  </a:lnTo>
                  <a:lnTo>
                    <a:pt x="1305" y="273"/>
                  </a:lnTo>
                  <a:lnTo>
                    <a:pt x="1300" y="266"/>
                  </a:lnTo>
                  <a:lnTo>
                    <a:pt x="1299" y="264"/>
                  </a:lnTo>
                  <a:lnTo>
                    <a:pt x="1299" y="264"/>
                  </a:lnTo>
                  <a:lnTo>
                    <a:pt x="1301" y="258"/>
                  </a:lnTo>
                  <a:lnTo>
                    <a:pt x="1301" y="256"/>
                  </a:lnTo>
                  <a:lnTo>
                    <a:pt x="1301" y="254"/>
                  </a:lnTo>
                  <a:lnTo>
                    <a:pt x="1301" y="252"/>
                  </a:lnTo>
                  <a:lnTo>
                    <a:pt x="1300" y="250"/>
                  </a:lnTo>
                  <a:lnTo>
                    <a:pt x="1299" y="248"/>
                  </a:lnTo>
                  <a:lnTo>
                    <a:pt x="1297" y="246"/>
                  </a:lnTo>
                  <a:lnTo>
                    <a:pt x="1289" y="242"/>
                  </a:lnTo>
                  <a:lnTo>
                    <a:pt x="1287" y="240"/>
                  </a:lnTo>
                  <a:lnTo>
                    <a:pt x="1281" y="232"/>
                  </a:lnTo>
                  <a:lnTo>
                    <a:pt x="1277" y="229"/>
                  </a:lnTo>
                  <a:lnTo>
                    <a:pt x="1272" y="227"/>
                  </a:lnTo>
                  <a:lnTo>
                    <a:pt x="1250" y="228"/>
                  </a:lnTo>
                  <a:lnTo>
                    <a:pt x="1246" y="229"/>
                  </a:lnTo>
                  <a:lnTo>
                    <a:pt x="1237" y="234"/>
                  </a:lnTo>
                  <a:lnTo>
                    <a:pt x="1235" y="234"/>
                  </a:lnTo>
                  <a:lnTo>
                    <a:pt x="1232" y="232"/>
                  </a:lnTo>
                  <a:lnTo>
                    <a:pt x="1231" y="232"/>
                  </a:lnTo>
                  <a:lnTo>
                    <a:pt x="1228" y="234"/>
                  </a:lnTo>
                  <a:lnTo>
                    <a:pt x="1226" y="239"/>
                  </a:lnTo>
                  <a:lnTo>
                    <a:pt x="1224" y="241"/>
                  </a:lnTo>
                  <a:lnTo>
                    <a:pt x="1221" y="241"/>
                  </a:lnTo>
                  <a:lnTo>
                    <a:pt x="1207" y="239"/>
                  </a:lnTo>
                  <a:lnTo>
                    <a:pt x="1205" y="236"/>
                  </a:lnTo>
                  <a:lnTo>
                    <a:pt x="1203" y="232"/>
                  </a:lnTo>
                  <a:lnTo>
                    <a:pt x="1201" y="227"/>
                  </a:lnTo>
                  <a:lnTo>
                    <a:pt x="1198" y="226"/>
                  </a:lnTo>
                  <a:lnTo>
                    <a:pt x="1195" y="225"/>
                  </a:lnTo>
                  <a:lnTo>
                    <a:pt x="1191" y="226"/>
                  </a:lnTo>
                  <a:lnTo>
                    <a:pt x="1188" y="227"/>
                  </a:lnTo>
                  <a:lnTo>
                    <a:pt x="1185" y="230"/>
                  </a:lnTo>
                  <a:lnTo>
                    <a:pt x="1182" y="233"/>
                  </a:lnTo>
                  <a:lnTo>
                    <a:pt x="1180" y="236"/>
                  </a:lnTo>
                  <a:lnTo>
                    <a:pt x="1176" y="238"/>
                  </a:lnTo>
                  <a:lnTo>
                    <a:pt x="1172" y="238"/>
                  </a:lnTo>
                  <a:lnTo>
                    <a:pt x="1170" y="239"/>
                  </a:lnTo>
                  <a:lnTo>
                    <a:pt x="1169" y="242"/>
                  </a:lnTo>
                  <a:lnTo>
                    <a:pt x="1166" y="248"/>
                  </a:lnTo>
                  <a:lnTo>
                    <a:pt x="1164" y="253"/>
                  </a:lnTo>
                  <a:lnTo>
                    <a:pt x="1161" y="253"/>
                  </a:lnTo>
                  <a:lnTo>
                    <a:pt x="1154" y="250"/>
                  </a:lnTo>
                  <a:lnTo>
                    <a:pt x="1150" y="251"/>
                  </a:lnTo>
                  <a:lnTo>
                    <a:pt x="1146" y="255"/>
                  </a:lnTo>
                  <a:lnTo>
                    <a:pt x="1144" y="256"/>
                  </a:lnTo>
                  <a:lnTo>
                    <a:pt x="1141" y="257"/>
                  </a:lnTo>
                  <a:lnTo>
                    <a:pt x="1137" y="256"/>
                  </a:lnTo>
                  <a:lnTo>
                    <a:pt x="1135" y="251"/>
                  </a:lnTo>
                  <a:lnTo>
                    <a:pt x="1134" y="245"/>
                  </a:lnTo>
                  <a:lnTo>
                    <a:pt x="1132" y="241"/>
                  </a:lnTo>
                  <a:lnTo>
                    <a:pt x="1129" y="237"/>
                  </a:lnTo>
                  <a:lnTo>
                    <a:pt x="1126" y="235"/>
                  </a:lnTo>
                  <a:lnTo>
                    <a:pt x="1125" y="232"/>
                  </a:lnTo>
                  <a:lnTo>
                    <a:pt x="1126" y="225"/>
                  </a:lnTo>
                  <a:lnTo>
                    <a:pt x="1126" y="219"/>
                  </a:lnTo>
                  <a:lnTo>
                    <a:pt x="1124" y="214"/>
                  </a:lnTo>
                  <a:lnTo>
                    <a:pt x="1119" y="206"/>
                  </a:lnTo>
                  <a:lnTo>
                    <a:pt x="1115" y="197"/>
                  </a:lnTo>
                  <a:lnTo>
                    <a:pt x="1113" y="194"/>
                  </a:lnTo>
                  <a:lnTo>
                    <a:pt x="1110" y="192"/>
                  </a:lnTo>
                  <a:lnTo>
                    <a:pt x="1103" y="190"/>
                  </a:lnTo>
                  <a:lnTo>
                    <a:pt x="1100" y="190"/>
                  </a:lnTo>
                  <a:lnTo>
                    <a:pt x="1097" y="191"/>
                  </a:lnTo>
                  <a:lnTo>
                    <a:pt x="1094" y="194"/>
                  </a:lnTo>
                  <a:lnTo>
                    <a:pt x="1090" y="202"/>
                  </a:lnTo>
                  <a:lnTo>
                    <a:pt x="1087" y="206"/>
                  </a:lnTo>
                  <a:lnTo>
                    <a:pt x="1083" y="207"/>
                  </a:lnTo>
                  <a:lnTo>
                    <a:pt x="1073" y="207"/>
                  </a:lnTo>
                  <a:lnTo>
                    <a:pt x="1068" y="208"/>
                  </a:lnTo>
                  <a:lnTo>
                    <a:pt x="1063" y="211"/>
                  </a:lnTo>
                  <a:lnTo>
                    <a:pt x="1058" y="215"/>
                  </a:lnTo>
                  <a:lnTo>
                    <a:pt x="1054" y="221"/>
                  </a:lnTo>
                  <a:lnTo>
                    <a:pt x="1051" y="227"/>
                  </a:lnTo>
                  <a:lnTo>
                    <a:pt x="1050" y="232"/>
                  </a:lnTo>
                  <a:lnTo>
                    <a:pt x="1050" y="242"/>
                  </a:lnTo>
                  <a:lnTo>
                    <a:pt x="1050" y="245"/>
                  </a:lnTo>
                  <a:lnTo>
                    <a:pt x="1047" y="248"/>
                  </a:lnTo>
                  <a:lnTo>
                    <a:pt x="1045" y="246"/>
                  </a:lnTo>
                  <a:lnTo>
                    <a:pt x="1044" y="241"/>
                  </a:lnTo>
                  <a:lnTo>
                    <a:pt x="1043" y="238"/>
                  </a:lnTo>
                  <a:lnTo>
                    <a:pt x="1041" y="238"/>
                  </a:lnTo>
                  <a:lnTo>
                    <a:pt x="1039" y="239"/>
                  </a:lnTo>
                  <a:lnTo>
                    <a:pt x="1037" y="240"/>
                  </a:lnTo>
                  <a:lnTo>
                    <a:pt x="1034" y="239"/>
                  </a:lnTo>
                  <a:lnTo>
                    <a:pt x="1032" y="236"/>
                  </a:lnTo>
                  <a:lnTo>
                    <a:pt x="1031" y="233"/>
                  </a:lnTo>
                  <a:lnTo>
                    <a:pt x="1029" y="218"/>
                  </a:lnTo>
                  <a:lnTo>
                    <a:pt x="1028" y="213"/>
                  </a:lnTo>
                  <a:lnTo>
                    <a:pt x="1027" y="210"/>
                  </a:lnTo>
                  <a:lnTo>
                    <a:pt x="1023" y="208"/>
                  </a:lnTo>
                  <a:lnTo>
                    <a:pt x="1009" y="205"/>
                  </a:lnTo>
                  <a:lnTo>
                    <a:pt x="1004" y="205"/>
                  </a:lnTo>
                  <a:lnTo>
                    <a:pt x="1000" y="207"/>
                  </a:lnTo>
                  <a:lnTo>
                    <a:pt x="992" y="212"/>
                  </a:lnTo>
                  <a:lnTo>
                    <a:pt x="988" y="216"/>
                  </a:lnTo>
                  <a:lnTo>
                    <a:pt x="986" y="217"/>
                  </a:lnTo>
                  <a:lnTo>
                    <a:pt x="984" y="216"/>
                  </a:lnTo>
                  <a:lnTo>
                    <a:pt x="983" y="214"/>
                  </a:lnTo>
                  <a:lnTo>
                    <a:pt x="982" y="207"/>
                  </a:lnTo>
                  <a:lnTo>
                    <a:pt x="980" y="204"/>
                  </a:lnTo>
                  <a:lnTo>
                    <a:pt x="979" y="202"/>
                  </a:lnTo>
                  <a:lnTo>
                    <a:pt x="974" y="199"/>
                  </a:lnTo>
                  <a:lnTo>
                    <a:pt x="972" y="198"/>
                  </a:lnTo>
                  <a:lnTo>
                    <a:pt x="971" y="195"/>
                  </a:lnTo>
                  <a:lnTo>
                    <a:pt x="971" y="192"/>
                  </a:lnTo>
                  <a:lnTo>
                    <a:pt x="971" y="190"/>
                  </a:lnTo>
                  <a:lnTo>
                    <a:pt x="970" y="188"/>
                  </a:lnTo>
                  <a:lnTo>
                    <a:pt x="968" y="185"/>
                  </a:lnTo>
                  <a:lnTo>
                    <a:pt x="964" y="185"/>
                  </a:lnTo>
                  <a:lnTo>
                    <a:pt x="961" y="187"/>
                  </a:lnTo>
                  <a:lnTo>
                    <a:pt x="958" y="189"/>
                  </a:lnTo>
                  <a:lnTo>
                    <a:pt x="954" y="194"/>
                  </a:lnTo>
                  <a:lnTo>
                    <a:pt x="949" y="204"/>
                  </a:lnTo>
                  <a:lnTo>
                    <a:pt x="945" y="207"/>
                  </a:lnTo>
                  <a:lnTo>
                    <a:pt x="942" y="209"/>
                  </a:lnTo>
                  <a:lnTo>
                    <a:pt x="927" y="209"/>
                  </a:lnTo>
                  <a:lnTo>
                    <a:pt x="924" y="208"/>
                  </a:lnTo>
                  <a:lnTo>
                    <a:pt x="921" y="206"/>
                  </a:lnTo>
                  <a:lnTo>
                    <a:pt x="911" y="196"/>
                  </a:lnTo>
                  <a:lnTo>
                    <a:pt x="908" y="194"/>
                  </a:lnTo>
                  <a:lnTo>
                    <a:pt x="904" y="195"/>
                  </a:lnTo>
                  <a:lnTo>
                    <a:pt x="901" y="198"/>
                  </a:lnTo>
                  <a:lnTo>
                    <a:pt x="899" y="202"/>
                  </a:lnTo>
                  <a:lnTo>
                    <a:pt x="898" y="207"/>
                  </a:lnTo>
                  <a:lnTo>
                    <a:pt x="898" y="210"/>
                  </a:lnTo>
                  <a:lnTo>
                    <a:pt x="899" y="213"/>
                  </a:lnTo>
                  <a:lnTo>
                    <a:pt x="899" y="216"/>
                  </a:lnTo>
                  <a:lnTo>
                    <a:pt x="898" y="219"/>
                  </a:lnTo>
                  <a:lnTo>
                    <a:pt x="897" y="221"/>
                  </a:lnTo>
                  <a:lnTo>
                    <a:pt x="890" y="231"/>
                  </a:lnTo>
                  <a:lnTo>
                    <a:pt x="888" y="232"/>
                  </a:lnTo>
                  <a:lnTo>
                    <a:pt x="886" y="233"/>
                  </a:lnTo>
                  <a:lnTo>
                    <a:pt x="884" y="232"/>
                  </a:lnTo>
                  <a:lnTo>
                    <a:pt x="881" y="230"/>
                  </a:lnTo>
                  <a:lnTo>
                    <a:pt x="879" y="227"/>
                  </a:lnTo>
                  <a:lnTo>
                    <a:pt x="878" y="226"/>
                  </a:lnTo>
                  <a:lnTo>
                    <a:pt x="878" y="225"/>
                  </a:lnTo>
                  <a:lnTo>
                    <a:pt x="883" y="212"/>
                  </a:lnTo>
                  <a:lnTo>
                    <a:pt x="884" y="206"/>
                  </a:lnTo>
                  <a:lnTo>
                    <a:pt x="882" y="201"/>
                  </a:lnTo>
                  <a:lnTo>
                    <a:pt x="880" y="199"/>
                  </a:lnTo>
                  <a:lnTo>
                    <a:pt x="871" y="199"/>
                  </a:lnTo>
                  <a:lnTo>
                    <a:pt x="854" y="192"/>
                  </a:lnTo>
                  <a:lnTo>
                    <a:pt x="854" y="192"/>
                  </a:lnTo>
                  <a:lnTo>
                    <a:pt x="848" y="192"/>
                  </a:lnTo>
                  <a:lnTo>
                    <a:pt x="845" y="193"/>
                  </a:lnTo>
                  <a:lnTo>
                    <a:pt x="841" y="198"/>
                  </a:lnTo>
                  <a:lnTo>
                    <a:pt x="837" y="200"/>
                  </a:lnTo>
                  <a:lnTo>
                    <a:pt x="834" y="200"/>
                  </a:lnTo>
                  <a:lnTo>
                    <a:pt x="825" y="199"/>
                  </a:lnTo>
                  <a:lnTo>
                    <a:pt x="818" y="201"/>
                  </a:lnTo>
                  <a:lnTo>
                    <a:pt x="815" y="201"/>
                  </a:lnTo>
                  <a:lnTo>
                    <a:pt x="813" y="199"/>
                  </a:lnTo>
                  <a:lnTo>
                    <a:pt x="814" y="195"/>
                  </a:lnTo>
                  <a:lnTo>
                    <a:pt x="816" y="189"/>
                  </a:lnTo>
                  <a:lnTo>
                    <a:pt x="817" y="185"/>
                  </a:lnTo>
                  <a:lnTo>
                    <a:pt x="812" y="184"/>
                  </a:lnTo>
                  <a:lnTo>
                    <a:pt x="808" y="184"/>
                  </a:lnTo>
                  <a:lnTo>
                    <a:pt x="805" y="184"/>
                  </a:lnTo>
                  <a:lnTo>
                    <a:pt x="803" y="182"/>
                  </a:lnTo>
                  <a:lnTo>
                    <a:pt x="801" y="177"/>
                  </a:lnTo>
                  <a:lnTo>
                    <a:pt x="801" y="170"/>
                  </a:lnTo>
                  <a:lnTo>
                    <a:pt x="802" y="164"/>
                  </a:lnTo>
                  <a:lnTo>
                    <a:pt x="801" y="160"/>
                  </a:lnTo>
                  <a:lnTo>
                    <a:pt x="796" y="158"/>
                  </a:lnTo>
                  <a:lnTo>
                    <a:pt x="790" y="157"/>
                  </a:lnTo>
                  <a:lnTo>
                    <a:pt x="776" y="156"/>
                  </a:lnTo>
                  <a:lnTo>
                    <a:pt x="760" y="162"/>
                  </a:lnTo>
                  <a:lnTo>
                    <a:pt x="749" y="160"/>
                  </a:lnTo>
                  <a:lnTo>
                    <a:pt x="719" y="147"/>
                  </a:lnTo>
                  <a:lnTo>
                    <a:pt x="684" y="145"/>
                  </a:lnTo>
                  <a:lnTo>
                    <a:pt x="682" y="144"/>
                  </a:lnTo>
                  <a:lnTo>
                    <a:pt x="680" y="142"/>
                  </a:lnTo>
                  <a:lnTo>
                    <a:pt x="680" y="139"/>
                  </a:lnTo>
                  <a:lnTo>
                    <a:pt x="680" y="137"/>
                  </a:lnTo>
                  <a:lnTo>
                    <a:pt x="680" y="135"/>
                  </a:lnTo>
                  <a:lnTo>
                    <a:pt x="678" y="134"/>
                  </a:lnTo>
                  <a:lnTo>
                    <a:pt x="641" y="132"/>
                  </a:lnTo>
                  <a:lnTo>
                    <a:pt x="637" y="130"/>
                  </a:lnTo>
                  <a:lnTo>
                    <a:pt x="627" y="121"/>
                  </a:lnTo>
                  <a:lnTo>
                    <a:pt x="622" y="120"/>
                  </a:lnTo>
                  <a:lnTo>
                    <a:pt x="611" y="120"/>
                  </a:lnTo>
                  <a:lnTo>
                    <a:pt x="577" y="114"/>
                  </a:lnTo>
                  <a:lnTo>
                    <a:pt x="563" y="117"/>
                  </a:lnTo>
                  <a:lnTo>
                    <a:pt x="542" y="116"/>
                  </a:lnTo>
                  <a:lnTo>
                    <a:pt x="511" y="116"/>
                  </a:lnTo>
                  <a:lnTo>
                    <a:pt x="484" y="109"/>
                  </a:lnTo>
                  <a:lnTo>
                    <a:pt x="477" y="109"/>
                  </a:lnTo>
                  <a:lnTo>
                    <a:pt x="470" y="111"/>
                  </a:lnTo>
                  <a:lnTo>
                    <a:pt x="456" y="119"/>
                  </a:lnTo>
                  <a:lnTo>
                    <a:pt x="411" y="126"/>
                  </a:lnTo>
                  <a:lnTo>
                    <a:pt x="407" y="126"/>
                  </a:lnTo>
                  <a:lnTo>
                    <a:pt x="398" y="123"/>
                  </a:lnTo>
                  <a:lnTo>
                    <a:pt x="358" y="126"/>
                  </a:lnTo>
                  <a:lnTo>
                    <a:pt x="355" y="128"/>
                  </a:lnTo>
                  <a:lnTo>
                    <a:pt x="351" y="131"/>
                  </a:lnTo>
                  <a:lnTo>
                    <a:pt x="346" y="140"/>
                  </a:lnTo>
                  <a:lnTo>
                    <a:pt x="343" y="145"/>
                  </a:lnTo>
                  <a:lnTo>
                    <a:pt x="339" y="162"/>
                  </a:lnTo>
                  <a:lnTo>
                    <a:pt x="335" y="168"/>
                  </a:lnTo>
                  <a:lnTo>
                    <a:pt x="317" y="180"/>
                  </a:lnTo>
                  <a:lnTo>
                    <a:pt x="293" y="202"/>
                  </a:lnTo>
                  <a:lnTo>
                    <a:pt x="287" y="202"/>
                  </a:lnTo>
                  <a:lnTo>
                    <a:pt x="282" y="198"/>
                  </a:lnTo>
                  <a:lnTo>
                    <a:pt x="278" y="193"/>
                  </a:lnTo>
                  <a:lnTo>
                    <a:pt x="272" y="190"/>
                  </a:lnTo>
                  <a:lnTo>
                    <a:pt x="268" y="190"/>
                  </a:lnTo>
                  <a:lnTo>
                    <a:pt x="256" y="187"/>
                  </a:lnTo>
                  <a:lnTo>
                    <a:pt x="253" y="187"/>
                  </a:lnTo>
                  <a:lnTo>
                    <a:pt x="237" y="191"/>
                  </a:lnTo>
                  <a:lnTo>
                    <a:pt x="235" y="192"/>
                  </a:lnTo>
                  <a:lnTo>
                    <a:pt x="234" y="193"/>
                  </a:lnTo>
                  <a:lnTo>
                    <a:pt x="232" y="197"/>
                  </a:lnTo>
                  <a:lnTo>
                    <a:pt x="232" y="199"/>
                  </a:lnTo>
                  <a:lnTo>
                    <a:pt x="233" y="201"/>
                  </a:lnTo>
                  <a:lnTo>
                    <a:pt x="237" y="213"/>
                  </a:lnTo>
                  <a:lnTo>
                    <a:pt x="237" y="216"/>
                  </a:lnTo>
                  <a:lnTo>
                    <a:pt x="236" y="219"/>
                  </a:lnTo>
                  <a:lnTo>
                    <a:pt x="235" y="220"/>
                  </a:lnTo>
                  <a:lnTo>
                    <a:pt x="234" y="219"/>
                  </a:lnTo>
                  <a:lnTo>
                    <a:pt x="234" y="221"/>
                  </a:lnTo>
                  <a:lnTo>
                    <a:pt x="235" y="224"/>
                  </a:lnTo>
                  <a:lnTo>
                    <a:pt x="238" y="226"/>
                  </a:lnTo>
                  <a:lnTo>
                    <a:pt x="241" y="227"/>
                  </a:lnTo>
                  <a:lnTo>
                    <a:pt x="243" y="228"/>
                  </a:lnTo>
                  <a:lnTo>
                    <a:pt x="240" y="234"/>
                  </a:lnTo>
                  <a:lnTo>
                    <a:pt x="241" y="235"/>
                  </a:lnTo>
                  <a:lnTo>
                    <a:pt x="247" y="245"/>
                  </a:lnTo>
                  <a:lnTo>
                    <a:pt x="248" y="248"/>
                  </a:lnTo>
                  <a:lnTo>
                    <a:pt x="246" y="249"/>
                  </a:lnTo>
                  <a:lnTo>
                    <a:pt x="245" y="250"/>
                  </a:lnTo>
                  <a:lnTo>
                    <a:pt x="245" y="253"/>
                  </a:lnTo>
                  <a:lnTo>
                    <a:pt x="246" y="256"/>
                  </a:lnTo>
                  <a:lnTo>
                    <a:pt x="243" y="257"/>
                  </a:lnTo>
                  <a:lnTo>
                    <a:pt x="240" y="261"/>
                  </a:lnTo>
                  <a:lnTo>
                    <a:pt x="238" y="264"/>
                  </a:lnTo>
                  <a:lnTo>
                    <a:pt x="237" y="268"/>
                  </a:lnTo>
                  <a:lnTo>
                    <a:pt x="238" y="273"/>
                  </a:lnTo>
                  <a:lnTo>
                    <a:pt x="241" y="274"/>
                  </a:lnTo>
                  <a:lnTo>
                    <a:pt x="244" y="274"/>
                  </a:lnTo>
                  <a:lnTo>
                    <a:pt x="246" y="276"/>
                  </a:lnTo>
                  <a:lnTo>
                    <a:pt x="255" y="295"/>
                  </a:lnTo>
                  <a:lnTo>
                    <a:pt x="259" y="300"/>
                  </a:lnTo>
                  <a:lnTo>
                    <a:pt x="267" y="305"/>
                  </a:lnTo>
                  <a:lnTo>
                    <a:pt x="275" y="313"/>
                  </a:lnTo>
                  <a:lnTo>
                    <a:pt x="276" y="315"/>
                  </a:lnTo>
                  <a:lnTo>
                    <a:pt x="274" y="317"/>
                  </a:lnTo>
                  <a:lnTo>
                    <a:pt x="273" y="319"/>
                  </a:lnTo>
                  <a:lnTo>
                    <a:pt x="275" y="324"/>
                  </a:lnTo>
                  <a:lnTo>
                    <a:pt x="280" y="331"/>
                  </a:lnTo>
                  <a:lnTo>
                    <a:pt x="281" y="334"/>
                  </a:lnTo>
                  <a:lnTo>
                    <a:pt x="283" y="345"/>
                  </a:lnTo>
                  <a:lnTo>
                    <a:pt x="283" y="346"/>
                  </a:lnTo>
                  <a:lnTo>
                    <a:pt x="282" y="348"/>
                  </a:lnTo>
                  <a:lnTo>
                    <a:pt x="283" y="349"/>
                  </a:lnTo>
                  <a:lnTo>
                    <a:pt x="285" y="350"/>
                  </a:lnTo>
                  <a:lnTo>
                    <a:pt x="287" y="351"/>
                  </a:lnTo>
                  <a:lnTo>
                    <a:pt x="289" y="354"/>
                  </a:lnTo>
                  <a:lnTo>
                    <a:pt x="290" y="356"/>
                  </a:lnTo>
                  <a:lnTo>
                    <a:pt x="290" y="358"/>
                  </a:lnTo>
                  <a:lnTo>
                    <a:pt x="290" y="362"/>
                  </a:lnTo>
                  <a:lnTo>
                    <a:pt x="293" y="366"/>
                  </a:lnTo>
                  <a:lnTo>
                    <a:pt x="304" y="375"/>
                  </a:lnTo>
                  <a:lnTo>
                    <a:pt x="317" y="383"/>
                  </a:lnTo>
                  <a:lnTo>
                    <a:pt x="319" y="386"/>
                  </a:lnTo>
                  <a:lnTo>
                    <a:pt x="317" y="390"/>
                  </a:lnTo>
                  <a:lnTo>
                    <a:pt x="312" y="391"/>
                  </a:lnTo>
                  <a:lnTo>
                    <a:pt x="307" y="391"/>
                  </a:lnTo>
                  <a:lnTo>
                    <a:pt x="304" y="393"/>
                  </a:lnTo>
                  <a:lnTo>
                    <a:pt x="299" y="390"/>
                  </a:lnTo>
                  <a:lnTo>
                    <a:pt x="295" y="391"/>
                  </a:lnTo>
                  <a:lnTo>
                    <a:pt x="291" y="394"/>
                  </a:lnTo>
                  <a:lnTo>
                    <a:pt x="290" y="398"/>
                  </a:lnTo>
                  <a:lnTo>
                    <a:pt x="290" y="403"/>
                  </a:lnTo>
                  <a:lnTo>
                    <a:pt x="292" y="406"/>
                  </a:lnTo>
                  <a:lnTo>
                    <a:pt x="296" y="408"/>
                  </a:lnTo>
                  <a:lnTo>
                    <a:pt x="300" y="408"/>
                  </a:lnTo>
                  <a:lnTo>
                    <a:pt x="300" y="410"/>
                  </a:lnTo>
                  <a:lnTo>
                    <a:pt x="298" y="414"/>
                  </a:lnTo>
                  <a:lnTo>
                    <a:pt x="300" y="418"/>
                  </a:lnTo>
                  <a:lnTo>
                    <a:pt x="305" y="421"/>
                  </a:lnTo>
                  <a:lnTo>
                    <a:pt x="309" y="422"/>
                  </a:lnTo>
                  <a:lnTo>
                    <a:pt x="308" y="427"/>
                  </a:lnTo>
                  <a:lnTo>
                    <a:pt x="309" y="433"/>
                  </a:lnTo>
                  <a:lnTo>
                    <a:pt x="313" y="442"/>
                  </a:lnTo>
                  <a:lnTo>
                    <a:pt x="314" y="443"/>
                  </a:lnTo>
                  <a:lnTo>
                    <a:pt x="310" y="449"/>
                  </a:lnTo>
                  <a:lnTo>
                    <a:pt x="311" y="461"/>
                  </a:lnTo>
                  <a:lnTo>
                    <a:pt x="313" y="464"/>
                  </a:lnTo>
                  <a:lnTo>
                    <a:pt x="313" y="465"/>
                  </a:lnTo>
                  <a:lnTo>
                    <a:pt x="313" y="465"/>
                  </a:lnTo>
                  <a:lnTo>
                    <a:pt x="311" y="468"/>
                  </a:lnTo>
                  <a:lnTo>
                    <a:pt x="308" y="471"/>
                  </a:lnTo>
                  <a:lnTo>
                    <a:pt x="298" y="477"/>
                  </a:lnTo>
                  <a:lnTo>
                    <a:pt x="297" y="480"/>
                  </a:lnTo>
                  <a:lnTo>
                    <a:pt x="298" y="485"/>
                  </a:lnTo>
                  <a:lnTo>
                    <a:pt x="297" y="488"/>
                  </a:lnTo>
                  <a:lnTo>
                    <a:pt x="297" y="491"/>
                  </a:lnTo>
                  <a:lnTo>
                    <a:pt x="293" y="499"/>
                  </a:lnTo>
                  <a:lnTo>
                    <a:pt x="285" y="502"/>
                  </a:lnTo>
                  <a:lnTo>
                    <a:pt x="256" y="502"/>
                  </a:lnTo>
                  <a:lnTo>
                    <a:pt x="251" y="504"/>
                  </a:lnTo>
                  <a:lnTo>
                    <a:pt x="248" y="506"/>
                  </a:lnTo>
                  <a:lnTo>
                    <a:pt x="246" y="508"/>
                  </a:lnTo>
                  <a:lnTo>
                    <a:pt x="244" y="511"/>
                  </a:lnTo>
                  <a:lnTo>
                    <a:pt x="242" y="518"/>
                  </a:lnTo>
                  <a:lnTo>
                    <a:pt x="242" y="518"/>
                  </a:lnTo>
                  <a:lnTo>
                    <a:pt x="240" y="521"/>
                  </a:lnTo>
                  <a:lnTo>
                    <a:pt x="227" y="535"/>
                  </a:lnTo>
                  <a:lnTo>
                    <a:pt x="223" y="539"/>
                  </a:lnTo>
                  <a:lnTo>
                    <a:pt x="223" y="539"/>
                  </a:lnTo>
                  <a:lnTo>
                    <a:pt x="223" y="539"/>
                  </a:lnTo>
                  <a:lnTo>
                    <a:pt x="222" y="539"/>
                  </a:lnTo>
                  <a:lnTo>
                    <a:pt x="214" y="545"/>
                  </a:lnTo>
                  <a:lnTo>
                    <a:pt x="207" y="551"/>
                  </a:lnTo>
                  <a:lnTo>
                    <a:pt x="171" y="590"/>
                  </a:lnTo>
                  <a:lnTo>
                    <a:pt x="166" y="598"/>
                  </a:lnTo>
                  <a:lnTo>
                    <a:pt x="160" y="602"/>
                  </a:lnTo>
                  <a:lnTo>
                    <a:pt x="153" y="609"/>
                  </a:lnTo>
                  <a:lnTo>
                    <a:pt x="136" y="635"/>
                  </a:lnTo>
                  <a:lnTo>
                    <a:pt x="130" y="642"/>
                  </a:lnTo>
                  <a:lnTo>
                    <a:pt x="129" y="643"/>
                  </a:lnTo>
                  <a:lnTo>
                    <a:pt x="128" y="648"/>
                  </a:lnTo>
                  <a:lnTo>
                    <a:pt x="127" y="650"/>
                  </a:lnTo>
                  <a:lnTo>
                    <a:pt x="125" y="652"/>
                  </a:lnTo>
                  <a:lnTo>
                    <a:pt x="123" y="652"/>
                  </a:lnTo>
                  <a:lnTo>
                    <a:pt x="121" y="653"/>
                  </a:lnTo>
                  <a:lnTo>
                    <a:pt x="120" y="655"/>
                  </a:lnTo>
                  <a:lnTo>
                    <a:pt x="110" y="673"/>
                  </a:lnTo>
                  <a:lnTo>
                    <a:pt x="107" y="676"/>
                  </a:lnTo>
                  <a:lnTo>
                    <a:pt x="105" y="677"/>
                  </a:lnTo>
                  <a:lnTo>
                    <a:pt x="102" y="677"/>
                  </a:lnTo>
                  <a:lnTo>
                    <a:pt x="100" y="679"/>
                  </a:lnTo>
                  <a:lnTo>
                    <a:pt x="99" y="681"/>
                  </a:lnTo>
                  <a:lnTo>
                    <a:pt x="96" y="689"/>
                  </a:lnTo>
                  <a:lnTo>
                    <a:pt x="84" y="705"/>
                  </a:lnTo>
                  <a:lnTo>
                    <a:pt x="80" y="714"/>
                  </a:lnTo>
                  <a:lnTo>
                    <a:pt x="84" y="723"/>
                  </a:lnTo>
                  <a:lnTo>
                    <a:pt x="84" y="726"/>
                  </a:lnTo>
                  <a:lnTo>
                    <a:pt x="85" y="737"/>
                  </a:lnTo>
                  <a:lnTo>
                    <a:pt x="86" y="740"/>
                  </a:lnTo>
                  <a:lnTo>
                    <a:pt x="87" y="741"/>
                  </a:lnTo>
                  <a:lnTo>
                    <a:pt x="89" y="744"/>
                  </a:lnTo>
                  <a:lnTo>
                    <a:pt x="92" y="748"/>
                  </a:lnTo>
                  <a:lnTo>
                    <a:pt x="93" y="750"/>
                  </a:lnTo>
                  <a:lnTo>
                    <a:pt x="94" y="754"/>
                  </a:lnTo>
                  <a:lnTo>
                    <a:pt x="96" y="776"/>
                  </a:lnTo>
                  <a:lnTo>
                    <a:pt x="95" y="779"/>
                  </a:lnTo>
                  <a:lnTo>
                    <a:pt x="93" y="787"/>
                  </a:lnTo>
                  <a:lnTo>
                    <a:pt x="90" y="795"/>
                  </a:lnTo>
                  <a:lnTo>
                    <a:pt x="88" y="801"/>
                  </a:lnTo>
                  <a:lnTo>
                    <a:pt x="87" y="804"/>
                  </a:lnTo>
                  <a:lnTo>
                    <a:pt x="88" y="805"/>
                  </a:lnTo>
                  <a:lnTo>
                    <a:pt x="89" y="804"/>
                  </a:lnTo>
                  <a:lnTo>
                    <a:pt x="91" y="802"/>
                  </a:lnTo>
                  <a:lnTo>
                    <a:pt x="93" y="804"/>
                  </a:lnTo>
                  <a:lnTo>
                    <a:pt x="93" y="804"/>
                  </a:lnTo>
                  <a:lnTo>
                    <a:pt x="93" y="804"/>
                  </a:lnTo>
                  <a:lnTo>
                    <a:pt x="98" y="807"/>
                  </a:lnTo>
                  <a:lnTo>
                    <a:pt x="102" y="814"/>
                  </a:lnTo>
                  <a:lnTo>
                    <a:pt x="105" y="816"/>
                  </a:lnTo>
                  <a:lnTo>
                    <a:pt x="112" y="820"/>
                  </a:lnTo>
                  <a:lnTo>
                    <a:pt x="114" y="822"/>
                  </a:lnTo>
                  <a:lnTo>
                    <a:pt x="114" y="824"/>
                  </a:lnTo>
                  <a:lnTo>
                    <a:pt x="113" y="829"/>
                  </a:lnTo>
                  <a:lnTo>
                    <a:pt x="113" y="832"/>
                  </a:lnTo>
                  <a:lnTo>
                    <a:pt x="113" y="834"/>
                  </a:lnTo>
                  <a:lnTo>
                    <a:pt x="116" y="839"/>
                  </a:lnTo>
                  <a:lnTo>
                    <a:pt x="116" y="839"/>
                  </a:lnTo>
                  <a:lnTo>
                    <a:pt x="116" y="840"/>
                  </a:lnTo>
                  <a:lnTo>
                    <a:pt x="114" y="844"/>
                  </a:lnTo>
                  <a:lnTo>
                    <a:pt x="111" y="843"/>
                  </a:lnTo>
                  <a:lnTo>
                    <a:pt x="108" y="839"/>
                  </a:lnTo>
                  <a:lnTo>
                    <a:pt x="105" y="838"/>
                  </a:lnTo>
                  <a:lnTo>
                    <a:pt x="103" y="837"/>
                  </a:lnTo>
                  <a:lnTo>
                    <a:pt x="100" y="833"/>
                  </a:lnTo>
                  <a:lnTo>
                    <a:pt x="99" y="832"/>
                  </a:lnTo>
                  <a:lnTo>
                    <a:pt x="97" y="832"/>
                  </a:lnTo>
                  <a:lnTo>
                    <a:pt x="93" y="833"/>
                  </a:lnTo>
                  <a:lnTo>
                    <a:pt x="88" y="832"/>
                  </a:lnTo>
                  <a:lnTo>
                    <a:pt x="84" y="833"/>
                  </a:lnTo>
                  <a:lnTo>
                    <a:pt x="81" y="832"/>
                  </a:lnTo>
                  <a:lnTo>
                    <a:pt x="77" y="829"/>
                  </a:lnTo>
                  <a:lnTo>
                    <a:pt x="71" y="823"/>
                  </a:lnTo>
                  <a:lnTo>
                    <a:pt x="68" y="822"/>
                  </a:lnTo>
                  <a:lnTo>
                    <a:pt x="65" y="825"/>
                  </a:lnTo>
                  <a:lnTo>
                    <a:pt x="63" y="829"/>
                  </a:lnTo>
                  <a:lnTo>
                    <a:pt x="62" y="835"/>
                  </a:lnTo>
                  <a:lnTo>
                    <a:pt x="61" y="840"/>
                  </a:lnTo>
                  <a:lnTo>
                    <a:pt x="61" y="844"/>
                  </a:lnTo>
                  <a:lnTo>
                    <a:pt x="59" y="846"/>
                  </a:lnTo>
                  <a:lnTo>
                    <a:pt x="53" y="847"/>
                  </a:lnTo>
                  <a:lnTo>
                    <a:pt x="50" y="849"/>
                  </a:lnTo>
                  <a:lnTo>
                    <a:pt x="46" y="859"/>
                  </a:lnTo>
                  <a:lnTo>
                    <a:pt x="45" y="864"/>
                  </a:lnTo>
                  <a:lnTo>
                    <a:pt x="45" y="865"/>
                  </a:lnTo>
                  <a:lnTo>
                    <a:pt x="45" y="868"/>
                  </a:lnTo>
                  <a:lnTo>
                    <a:pt x="44" y="870"/>
                  </a:lnTo>
                  <a:lnTo>
                    <a:pt x="43" y="872"/>
                  </a:lnTo>
                  <a:lnTo>
                    <a:pt x="39" y="875"/>
                  </a:lnTo>
                  <a:lnTo>
                    <a:pt x="38" y="877"/>
                  </a:lnTo>
                  <a:lnTo>
                    <a:pt x="37" y="877"/>
                  </a:lnTo>
                  <a:lnTo>
                    <a:pt x="36" y="880"/>
                  </a:lnTo>
                  <a:lnTo>
                    <a:pt x="36" y="882"/>
                  </a:lnTo>
                  <a:lnTo>
                    <a:pt x="36" y="884"/>
                  </a:lnTo>
                  <a:lnTo>
                    <a:pt x="37" y="892"/>
                  </a:lnTo>
                  <a:lnTo>
                    <a:pt x="36" y="894"/>
                  </a:lnTo>
                  <a:lnTo>
                    <a:pt x="35" y="897"/>
                  </a:lnTo>
                  <a:lnTo>
                    <a:pt x="34" y="898"/>
                  </a:lnTo>
                  <a:lnTo>
                    <a:pt x="32" y="900"/>
                  </a:lnTo>
                  <a:lnTo>
                    <a:pt x="31" y="901"/>
                  </a:lnTo>
                  <a:lnTo>
                    <a:pt x="31" y="904"/>
                  </a:lnTo>
                  <a:lnTo>
                    <a:pt x="31" y="910"/>
                  </a:lnTo>
                  <a:lnTo>
                    <a:pt x="30" y="915"/>
                  </a:lnTo>
                  <a:lnTo>
                    <a:pt x="28" y="919"/>
                  </a:lnTo>
                  <a:lnTo>
                    <a:pt x="26" y="922"/>
                  </a:lnTo>
                  <a:lnTo>
                    <a:pt x="24" y="924"/>
                  </a:lnTo>
                  <a:lnTo>
                    <a:pt x="19" y="925"/>
                  </a:lnTo>
                  <a:lnTo>
                    <a:pt x="17" y="926"/>
                  </a:lnTo>
                  <a:lnTo>
                    <a:pt x="16" y="928"/>
                  </a:lnTo>
                  <a:lnTo>
                    <a:pt x="15" y="932"/>
                  </a:lnTo>
                  <a:lnTo>
                    <a:pt x="14" y="934"/>
                  </a:lnTo>
                  <a:lnTo>
                    <a:pt x="3" y="942"/>
                  </a:lnTo>
                  <a:lnTo>
                    <a:pt x="1" y="946"/>
                  </a:lnTo>
                  <a:lnTo>
                    <a:pt x="1" y="951"/>
                  </a:lnTo>
                  <a:lnTo>
                    <a:pt x="2" y="960"/>
                  </a:lnTo>
                  <a:lnTo>
                    <a:pt x="2" y="964"/>
                  </a:lnTo>
                  <a:lnTo>
                    <a:pt x="0" y="968"/>
                  </a:lnTo>
                  <a:lnTo>
                    <a:pt x="0" y="985"/>
                  </a:lnTo>
                  <a:lnTo>
                    <a:pt x="4" y="986"/>
                  </a:lnTo>
                  <a:lnTo>
                    <a:pt x="4" y="986"/>
                  </a:lnTo>
                  <a:lnTo>
                    <a:pt x="4" y="986"/>
                  </a:lnTo>
                  <a:lnTo>
                    <a:pt x="4" y="986"/>
                  </a:lnTo>
                  <a:lnTo>
                    <a:pt x="6" y="984"/>
                  </a:lnTo>
                  <a:lnTo>
                    <a:pt x="11" y="982"/>
                  </a:lnTo>
                  <a:lnTo>
                    <a:pt x="16" y="983"/>
                  </a:lnTo>
                  <a:lnTo>
                    <a:pt x="22" y="985"/>
                  </a:lnTo>
                  <a:lnTo>
                    <a:pt x="20" y="993"/>
                  </a:lnTo>
                  <a:lnTo>
                    <a:pt x="20" y="997"/>
                  </a:lnTo>
                  <a:lnTo>
                    <a:pt x="24" y="996"/>
                  </a:lnTo>
                  <a:lnTo>
                    <a:pt x="25" y="996"/>
                  </a:lnTo>
                  <a:lnTo>
                    <a:pt x="26" y="999"/>
                  </a:lnTo>
                  <a:lnTo>
                    <a:pt x="26" y="1001"/>
                  </a:lnTo>
                  <a:lnTo>
                    <a:pt x="26" y="1004"/>
                  </a:lnTo>
                  <a:lnTo>
                    <a:pt x="26" y="1007"/>
                  </a:lnTo>
                  <a:lnTo>
                    <a:pt x="28" y="1012"/>
                  </a:lnTo>
                  <a:lnTo>
                    <a:pt x="36" y="1024"/>
                  </a:lnTo>
                  <a:lnTo>
                    <a:pt x="36" y="1025"/>
                  </a:lnTo>
                  <a:lnTo>
                    <a:pt x="38" y="1025"/>
                  </a:lnTo>
                  <a:lnTo>
                    <a:pt x="39" y="1025"/>
                  </a:lnTo>
                  <a:lnTo>
                    <a:pt x="40" y="1024"/>
                  </a:lnTo>
                  <a:lnTo>
                    <a:pt x="41" y="1024"/>
                  </a:lnTo>
                  <a:lnTo>
                    <a:pt x="41" y="1024"/>
                  </a:lnTo>
                  <a:lnTo>
                    <a:pt x="42" y="1024"/>
                  </a:lnTo>
                  <a:lnTo>
                    <a:pt x="45" y="1025"/>
                  </a:lnTo>
                  <a:lnTo>
                    <a:pt x="48" y="1025"/>
                  </a:lnTo>
                  <a:lnTo>
                    <a:pt x="50" y="1025"/>
                  </a:lnTo>
                  <a:lnTo>
                    <a:pt x="53" y="1024"/>
                  </a:lnTo>
                  <a:lnTo>
                    <a:pt x="54" y="1024"/>
                  </a:lnTo>
                  <a:lnTo>
                    <a:pt x="55" y="1024"/>
                  </a:lnTo>
                  <a:lnTo>
                    <a:pt x="55" y="1024"/>
                  </a:lnTo>
                  <a:lnTo>
                    <a:pt x="67" y="1039"/>
                  </a:lnTo>
                  <a:lnTo>
                    <a:pt x="69" y="1044"/>
                  </a:lnTo>
                  <a:lnTo>
                    <a:pt x="71" y="1052"/>
                  </a:lnTo>
                  <a:lnTo>
                    <a:pt x="74" y="1058"/>
                  </a:lnTo>
                  <a:lnTo>
                    <a:pt x="75" y="1058"/>
                  </a:lnTo>
                  <a:lnTo>
                    <a:pt x="75" y="1058"/>
                  </a:lnTo>
                  <a:lnTo>
                    <a:pt x="77" y="1057"/>
                  </a:lnTo>
                  <a:lnTo>
                    <a:pt x="89" y="1057"/>
                  </a:lnTo>
                  <a:lnTo>
                    <a:pt x="92" y="1056"/>
                  </a:lnTo>
                  <a:lnTo>
                    <a:pt x="94" y="1055"/>
                  </a:lnTo>
                  <a:lnTo>
                    <a:pt x="97" y="1054"/>
                  </a:lnTo>
                  <a:lnTo>
                    <a:pt x="100" y="1056"/>
                  </a:lnTo>
                  <a:lnTo>
                    <a:pt x="100" y="1057"/>
                  </a:lnTo>
                  <a:lnTo>
                    <a:pt x="106" y="1060"/>
                  </a:lnTo>
                  <a:lnTo>
                    <a:pt x="111" y="1064"/>
                  </a:lnTo>
                  <a:lnTo>
                    <a:pt x="113" y="1067"/>
                  </a:lnTo>
                  <a:lnTo>
                    <a:pt x="114" y="1070"/>
                  </a:lnTo>
                  <a:lnTo>
                    <a:pt x="115" y="1075"/>
                  </a:lnTo>
                  <a:lnTo>
                    <a:pt x="115" y="1077"/>
                  </a:lnTo>
                  <a:lnTo>
                    <a:pt x="114" y="1079"/>
                  </a:lnTo>
                  <a:lnTo>
                    <a:pt x="114" y="1083"/>
                  </a:lnTo>
                  <a:lnTo>
                    <a:pt x="111" y="1086"/>
                  </a:lnTo>
                  <a:lnTo>
                    <a:pt x="112" y="1089"/>
                  </a:lnTo>
                  <a:lnTo>
                    <a:pt x="118" y="1094"/>
                  </a:lnTo>
                  <a:lnTo>
                    <a:pt x="121" y="1093"/>
                  </a:lnTo>
                  <a:lnTo>
                    <a:pt x="124" y="1091"/>
                  </a:lnTo>
                  <a:lnTo>
                    <a:pt x="125" y="1088"/>
                  </a:lnTo>
                  <a:lnTo>
                    <a:pt x="124" y="1083"/>
                  </a:lnTo>
                  <a:lnTo>
                    <a:pt x="125" y="1080"/>
                  </a:lnTo>
                  <a:lnTo>
                    <a:pt x="128" y="1080"/>
                  </a:lnTo>
                  <a:lnTo>
                    <a:pt x="131" y="1081"/>
                  </a:lnTo>
                  <a:lnTo>
                    <a:pt x="133" y="1083"/>
                  </a:lnTo>
                  <a:lnTo>
                    <a:pt x="136" y="1085"/>
                  </a:lnTo>
                  <a:lnTo>
                    <a:pt x="138" y="1085"/>
                  </a:lnTo>
                  <a:lnTo>
                    <a:pt x="141" y="1085"/>
                  </a:lnTo>
                  <a:lnTo>
                    <a:pt x="148" y="1080"/>
                  </a:lnTo>
                  <a:lnTo>
                    <a:pt x="150" y="1076"/>
                  </a:lnTo>
                  <a:lnTo>
                    <a:pt x="153" y="1064"/>
                  </a:lnTo>
                  <a:lnTo>
                    <a:pt x="156" y="1060"/>
                  </a:lnTo>
                  <a:lnTo>
                    <a:pt x="160" y="1058"/>
                  </a:lnTo>
                  <a:lnTo>
                    <a:pt x="163" y="1059"/>
                  </a:lnTo>
                  <a:lnTo>
                    <a:pt x="174" y="1063"/>
                  </a:lnTo>
                  <a:lnTo>
                    <a:pt x="177" y="1064"/>
                  </a:lnTo>
                  <a:lnTo>
                    <a:pt x="183" y="1072"/>
                  </a:lnTo>
                  <a:lnTo>
                    <a:pt x="191" y="1079"/>
                  </a:lnTo>
                  <a:lnTo>
                    <a:pt x="195" y="1083"/>
                  </a:lnTo>
                  <a:lnTo>
                    <a:pt x="196" y="1083"/>
                  </a:lnTo>
                  <a:lnTo>
                    <a:pt x="197" y="1084"/>
                  </a:lnTo>
                  <a:lnTo>
                    <a:pt x="198" y="1083"/>
                  </a:lnTo>
                  <a:lnTo>
                    <a:pt x="199" y="1083"/>
                  </a:lnTo>
                  <a:lnTo>
                    <a:pt x="200" y="1083"/>
                  </a:lnTo>
                  <a:lnTo>
                    <a:pt x="200" y="1083"/>
                  </a:lnTo>
                  <a:lnTo>
                    <a:pt x="200" y="1083"/>
                  </a:lnTo>
                  <a:lnTo>
                    <a:pt x="200" y="1083"/>
                  </a:lnTo>
                  <a:lnTo>
                    <a:pt x="211" y="1088"/>
                  </a:lnTo>
                  <a:lnTo>
                    <a:pt x="214" y="1088"/>
                  </a:lnTo>
                  <a:lnTo>
                    <a:pt x="215" y="1087"/>
                  </a:lnTo>
                  <a:lnTo>
                    <a:pt x="215" y="1087"/>
                  </a:lnTo>
                  <a:lnTo>
                    <a:pt x="216" y="1086"/>
                  </a:lnTo>
                  <a:lnTo>
                    <a:pt x="217" y="1085"/>
                  </a:lnTo>
                  <a:lnTo>
                    <a:pt x="217" y="1083"/>
                  </a:lnTo>
                  <a:lnTo>
                    <a:pt x="219" y="1082"/>
                  </a:lnTo>
                  <a:lnTo>
                    <a:pt x="221" y="1081"/>
                  </a:lnTo>
                  <a:lnTo>
                    <a:pt x="227" y="1080"/>
                  </a:lnTo>
                  <a:lnTo>
                    <a:pt x="230" y="1081"/>
                  </a:lnTo>
                  <a:lnTo>
                    <a:pt x="240" y="1082"/>
                  </a:lnTo>
                  <a:lnTo>
                    <a:pt x="246" y="1084"/>
                  </a:lnTo>
                  <a:lnTo>
                    <a:pt x="250" y="1085"/>
                  </a:lnTo>
                  <a:lnTo>
                    <a:pt x="261" y="1084"/>
                  </a:lnTo>
                  <a:lnTo>
                    <a:pt x="264" y="1086"/>
                  </a:lnTo>
                  <a:lnTo>
                    <a:pt x="272" y="1093"/>
                  </a:lnTo>
                  <a:lnTo>
                    <a:pt x="273" y="1097"/>
                  </a:lnTo>
                  <a:lnTo>
                    <a:pt x="277" y="1097"/>
                  </a:lnTo>
                  <a:lnTo>
                    <a:pt x="293" y="1090"/>
                  </a:lnTo>
                  <a:lnTo>
                    <a:pt x="298" y="1091"/>
                  </a:lnTo>
                  <a:lnTo>
                    <a:pt x="300" y="1092"/>
                  </a:lnTo>
                  <a:lnTo>
                    <a:pt x="308" y="1095"/>
                  </a:lnTo>
                  <a:lnTo>
                    <a:pt x="311" y="1096"/>
                  </a:lnTo>
                  <a:lnTo>
                    <a:pt x="317" y="1102"/>
                  </a:lnTo>
                  <a:lnTo>
                    <a:pt x="320" y="1102"/>
                  </a:lnTo>
                  <a:lnTo>
                    <a:pt x="320" y="1102"/>
                  </a:lnTo>
                  <a:lnTo>
                    <a:pt x="329" y="1106"/>
                  </a:lnTo>
                  <a:lnTo>
                    <a:pt x="333" y="1106"/>
                  </a:lnTo>
                  <a:lnTo>
                    <a:pt x="343" y="1100"/>
                  </a:lnTo>
                  <a:lnTo>
                    <a:pt x="351" y="1100"/>
                  </a:lnTo>
                  <a:lnTo>
                    <a:pt x="358" y="1095"/>
                  </a:lnTo>
                  <a:lnTo>
                    <a:pt x="361" y="1093"/>
                  </a:lnTo>
                  <a:lnTo>
                    <a:pt x="364" y="1092"/>
                  </a:lnTo>
                  <a:lnTo>
                    <a:pt x="373" y="1095"/>
                  </a:lnTo>
                  <a:lnTo>
                    <a:pt x="382" y="1095"/>
                  </a:lnTo>
                  <a:lnTo>
                    <a:pt x="385" y="1095"/>
                  </a:lnTo>
                  <a:lnTo>
                    <a:pt x="387" y="1096"/>
                  </a:lnTo>
                  <a:lnTo>
                    <a:pt x="393" y="1100"/>
                  </a:lnTo>
                  <a:lnTo>
                    <a:pt x="397" y="1103"/>
                  </a:lnTo>
                  <a:lnTo>
                    <a:pt x="399" y="1106"/>
                  </a:lnTo>
                  <a:lnTo>
                    <a:pt x="400" y="1110"/>
                  </a:lnTo>
                  <a:lnTo>
                    <a:pt x="401" y="1113"/>
                  </a:lnTo>
                  <a:lnTo>
                    <a:pt x="401" y="1116"/>
                  </a:lnTo>
                  <a:lnTo>
                    <a:pt x="404" y="1119"/>
                  </a:lnTo>
                  <a:lnTo>
                    <a:pt x="409" y="1122"/>
                  </a:lnTo>
                  <a:lnTo>
                    <a:pt x="422" y="1127"/>
                  </a:lnTo>
                  <a:lnTo>
                    <a:pt x="425" y="1130"/>
                  </a:lnTo>
                  <a:lnTo>
                    <a:pt x="426" y="1132"/>
                  </a:lnTo>
                  <a:lnTo>
                    <a:pt x="432" y="1142"/>
                  </a:lnTo>
                  <a:lnTo>
                    <a:pt x="436" y="1148"/>
                  </a:lnTo>
                  <a:lnTo>
                    <a:pt x="439" y="1150"/>
                  </a:lnTo>
                  <a:lnTo>
                    <a:pt x="444" y="1149"/>
                  </a:lnTo>
                  <a:lnTo>
                    <a:pt x="446" y="1148"/>
                  </a:lnTo>
                  <a:lnTo>
                    <a:pt x="458" y="1146"/>
                  </a:lnTo>
                  <a:lnTo>
                    <a:pt x="468" y="1142"/>
                  </a:lnTo>
                  <a:lnTo>
                    <a:pt x="468" y="1142"/>
                  </a:lnTo>
                  <a:lnTo>
                    <a:pt x="468" y="1142"/>
                  </a:lnTo>
                  <a:lnTo>
                    <a:pt x="474" y="1136"/>
                  </a:lnTo>
                  <a:lnTo>
                    <a:pt x="490" y="1110"/>
                  </a:lnTo>
                  <a:lnTo>
                    <a:pt x="496" y="1105"/>
                  </a:lnTo>
                  <a:lnTo>
                    <a:pt x="574" y="1097"/>
                  </a:lnTo>
                  <a:lnTo>
                    <a:pt x="585" y="1092"/>
                  </a:lnTo>
                  <a:lnTo>
                    <a:pt x="593" y="1092"/>
                  </a:lnTo>
                  <a:lnTo>
                    <a:pt x="598" y="1089"/>
                  </a:lnTo>
                  <a:lnTo>
                    <a:pt x="601" y="1089"/>
                  </a:lnTo>
                  <a:lnTo>
                    <a:pt x="608" y="1090"/>
                  </a:lnTo>
                  <a:lnTo>
                    <a:pt x="618" y="1087"/>
                  </a:lnTo>
                  <a:lnTo>
                    <a:pt x="630" y="1087"/>
                  </a:lnTo>
                  <a:lnTo>
                    <a:pt x="634" y="1087"/>
                  </a:lnTo>
                  <a:lnTo>
                    <a:pt x="641" y="1083"/>
                  </a:lnTo>
                  <a:lnTo>
                    <a:pt x="643" y="1081"/>
                  </a:lnTo>
                  <a:lnTo>
                    <a:pt x="646" y="1073"/>
                  </a:lnTo>
                  <a:lnTo>
                    <a:pt x="648" y="1070"/>
                  </a:lnTo>
                  <a:lnTo>
                    <a:pt x="652" y="1067"/>
                  </a:lnTo>
                  <a:lnTo>
                    <a:pt x="654" y="1064"/>
                  </a:lnTo>
                  <a:lnTo>
                    <a:pt x="657" y="1059"/>
                  </a:lnTo>
                  <a:lnTo>
                    <a:pt x="659" y="1052"/>
                  </a:lnTo>
                  <a:lnTo>
                    <a:pt x="661" y="1044"/>
                  </a:lnTo>
                  <a:lnTo>
                    <a:pt x="661" y="1039"/>
                  </a:lnTo>
                  <a:lnTo>
                    <a:pt x="662" y="1031"/>
                  </a:lnTo>
                  <a:lnTo>
                    <a:pt x="663" y="1032"/>
                  </a:lnTo>
                  <a:lnTo>
                    <a:pt x="666" y="1032"/>
                  </a:lnTo>
                  <a:lnTo>
                    <a:pt x="669" y="1031"/>
                  </a:lnTo>
                  <a:lnTo>
                    <a:pt x="674" y="1029"/>
                  </a:lnTo>
                  <a:lnTo>
                    <a:pt x="677" y="1028"/>
                  </a:lnTo>
                  <a:lnTo>
                    <a:pt x="684" y="1027"/>
                  </a:lnTo>
                  <a:lnTo>
                    <a:pt x="687" y="1027"/>
                  </a:lnTo>
                  <a:lnTo>
                    <a:pt x="707" y="1022"/>
                  </a:lnTo>
                  <a:lnTo>
                    <a:pt x="712" y="1020"/>
                  </a:lnTo>
                  <a:lnTo>
                    <a:pt x="712" y="1018"/>
                  </a:lnTo>
                  <a:lnTo>
                    <a:pt x="713" y="1014"/>
                  </a:lnTo>
                  <a:lnTo>
                    <a:pt x="715" y="1011"/>
                  </a:lnTo>
                  <a:lnTo>
                    <a:pt x="720" y="1008"/>
                  </a:lnTo>
                  <a:lnTo>
                    <a:pt x="721" y="1005"/>
                  </a:lnTo>
                  <a:lnTo>
                    <a:pt x="722" y="1003"/>
                  </a:lnTo>
                  <a:lnTo>
                    <a:pt x="725" y="1004"/>
                  </a:lnTo>
                  <a:lnTo>
                    <a:pt x="727" y="1007"/>
                  </a:lnTo>
                  <a:lnTo>
                    <a:pt x="729" y="1009"/>
                  </a:lnTo>
                  <a:lnTo>
                    <a:pt x="730" y="1012"/>
                  </a:lnTo>
                  <a:lnTo>
                    <a:pt x="734" y="1014"/>
                  </a:lnTo>
                  <a:lnTo>
                    <a:pt x="737" y="1013"/>
                  </a:lnTo>
                  <a:lnTo>
                    <a:pt x="738" y="1012"/>
                  </a:lnTo>
                  <a:lnTo>
                    <a:pt x="739" y="1009"/>
                  </a:lnTo>
                  <a:lnTo>
                    <a:pt x="739" y="1004"/>
                  </a:lnTo>
                  <a:lnTo>
                    <a:pt x="738" y="999"/>
                  </a:lnTo>
                  <a:lnTo>
                    <a:pt x="737" y="997"/>
                  </a:lnTo>
                  <a:lnTo>
                    <a:pt x="737" y="994"/>
                  </a:lnTo>
                  <a:lnTo>
                    <a:pt x="739" y="992"/>
                  </a:lnTo>
                  <a:lnTo>
                    <a:pt x="739" y="992"/>
                  </a:lnTo>
                  <a:lnTo>
                    <a:pt x="742" y="993"/>
                  </a:lnTo>
                  <a:lnTo>
                    <a:pt x="743" y="993"/>
                  </a:lnTo>
                  <a:lnTo>
                    <a:pt x="745" y="992"/>
                  </a:lnTo>
                  <a:lnTo>
                    <a:pt x="745" y="990"/>
                  </a:lnTo>
                  <a:lnTo>
                    <a:pt x="746" y="989"/>
                  </a:lnTo>
                  <a:lnTo>
                    <a:pt x="748" y="988"/>
                  </a:lnTo>
                  <a:lnTo>
                    <a:pt x="753" y="990"/>
                  </a:lnTo>
                  <a:lnTo>
                    <a:pt x="758" y="995"/>
                  </a:lnTo>
                  <a:lnTo>
                    <a:pt x="764" y="998"/>
                  </a:lnTo>
                  <a:lnTo>
                    <a:pt x="769" y="997"/>
                  </a:lnTo>
                  <a:lnTo>
                    <a:pt x="771" y="995"/>
                  </a:lnTo>
                  <a:lnTo>
                    <a:pt x="772" y="995"/>
                  </a:lnTo>
                  <a:lnTo>
                    <a:pt x="773" y="996"/>
                  </a:lnTo>
                  <a:lnTo>
                    <a:pt x="775" y="996"/>
                  </a:lnTo>
                  <a:lnTo>
                    <a:pt x="777" y="996"/>
                  </a:lnTo>
                  <a:lnTo>
                    <a:pt x="778" y="996"/>
                  </a:lnTo>
                  <a:lnTo>
                    <a:pt x="778" y="995"/>
                  </a:lnTo>
                  <a:lnTo>
                    <a:pt x="777" y="993"/>
                  </a:lnTo>
                  <a:lnTo>
                    <a:pt x="777" y="992"/>
                  </a:lnTo>
                  <a:lnTo>
                    <a:pt x="777" y="991"/>
                  </a:lnTo>
                  <a:lnTo>
                    <a:pt x="776" y="989"/>
                  </a:lnTo>
                  <a:lnTo>
                    <a:pt x="777" y="987"/>
                  </a:lnTo>
                  <a:lnTo>
                    <a:pt x="778" y="986"/>
                  </a:lnTo>
                  <a:lnTo>
                    <a:pt x="780" y="987"/>
                  </a:lnTo>
                  <a:lnTo>
                    <a:pt x="783" y="989"/>
                  </a:lnTo>
                  <a:lnTo>
                    <a:pt x="800" y="995"/>
                  </a:lnTo>
                  <a:lnTo>
                    <a:pt x="806" y="996"/>
                  </a:lnTo>
                  <a:lnTo>
                    <a:pt x="812" y="993"/>
                  </a:lnTo>
                  <a:lnTo>
                    <a:pt x="812" y="992"/>
                  </a:lnTo>
                  <a:lnTo>
                    <a:pt x="821" y="981"/>
                  </a:lnTo>
                  <a:lnTo>
                    <a:pt x="827" y="978"/>
                  </a:lnTo>
                  <a:lnTo>
                    <a:pt x="830" y="979"/>
                  </a:lnTo>
                  <a:lnTo>
                    <a:pt x="834" y="983"/>
                  </a:lnTo>
                  <a:lnTo>
                    <a:pt x="837" y="984"/>
                  </a:lnTo>
                  <a:lnTo>
                    <a:pt x="839" y="982"/>
                  </a:lnTo>
                  <a:lnTo>
                    <a:pt x="849" y="974"/>
                  </a:lnTo>
                  <a:lnTo>
                    <a:pt x="852" y="969"/>
                  </a:lnTo>
                  <a:lnTo>
                    <a:pt x="859" y="969"/>
                  </a:lnTo>
                  <a:lnTo>
                    <a:pt x="861" y="969"/>
                  </a:lnTo>
                  <a:lnTo>
                    <a:pt x="865" y="966"/>
                  </a:lnTo>
                  <a:lnTo>
                    <a:pt x="868" y="966"/>
                  </a:lnTo>
                  <a:lnTo>
                    <a:pt x="869" y="973"/>
                  </a:lnTo>
                  <a:lnTo>
                    <a:pt x="872" y="974"/>
                  </a:lnTo>
                  <a:lnTo>
                    <a:pt x="892" y="974"/>
                  </a:lnTo>
                  <a:lnTo>
                    <a:pt x="897" y="976"/>
                  </a:lnTo>
                  <a:lnTo>
                    <a:pt x="907" y="984"/>
                  </a:lnTo>
                  <a:lnTo>
                    <a:pt x="910" y="987"/>
                  </a:lnTo>
                  <a:lnTo>
                    <a:pt x="913" y="992"/>
                  </a:lnTo>
                  <a:lnTo>
                    <a:pt x="915" y="994"/>
                  </a:lnTo>
                  <a:lnTo>
                    <a:pt x="916" y="995"/>
                  </a:lnTo>
                  <a:lnTo>
                    <a:pt x="920" y="1001"/>
                  </a:lnTo>
                  <a:lnTo>
                    <a:pt x="926" y="1003"/>
                  </a:lnTo>
                  <a:lnTo>
                    <a:pt x="932" y="1004"/>
                  </a:lnTo>
                  <a:lnTo>
                    <a:pt x="940" y="1005"/>
                  </a:lnTo>
                  <a:lnTo>
                    <a:pt x="943" y="1007"/>
                  </a:lnTo>
                  <a:lnTo>
                    <a:pt x="946" y="1010"/>
                  </a:lnTo>
                  <a:lnTo>
                    <a:pt x="947" y="1014"/>
                  </a:lnTo>
                  <a:lnTo>
                    <a:pt x="944" y="1023"/>
                  </a:lnTo>
                  <a:lnTo>
                    <a:pt x="946" y="1025"/>
                  </a:lnTo>
                  <a:lnTo>
                    <a:pt x="949" y="1025"/>
                  </a:lnTo>
                  <a:lnTo>
                    <a:pt x="952" y="1024"/>
                  </a:lnTo>
                  <a:lnTo>
                    <a:pt x="957" y="1020"/>
                  </a:lnTo>
                  <a:lnTo>
                    <a:pt x="959" y="1020"/>
                  </a:lnTo>
                  <a:lnTo>
                    <a:pt x="961" y="1024"/>
                  </a:lnTo>
                  <a:lnTo>
                    <a:pt x="961" y="1029"/>
                  </a:lnTo>
                  <a:lnTo>
                    <a:pt x="963" y="1031"/>
                  </a:lnTo>
                  <a:lnTo>
                    <a:pt x="966" y="1032"/>
                  </a:lnTo>
                  <a:lnTo>
                    <a:pt x="969" y="1031"/>
                  </a:lnTo>
                  <a:lnTo>
                    <a:pt x="973" y="1029"/>
                  </a:lnTo>
                  <a:lnTo>
                    <a:pt x="975" y="1027"/>
                  </a:lnTo>
                  <a:lnTo>
                    <a:pt x="978" y="1025"/>
                  </a:lnTo>
                  <a:lnTo>
                    <a:pt x="985" y="1024"/>
                  </a:lnTo>
                  <a:lnTo>
                    <a:pt x="988" y="1025"/>
                  </a:lnTo>
                  <a:lnTo>
                    <a:pt x="989" y="1027"/>
                  </a:lnTo>
                  <a:lnTo>
                    <a:pt x="990" y="1031"/>
                  </a:lnTo>
                  <a:lnTo>
                    <a:pt x="989" y="1036"/>
                  </a:lnTo>
                  <a:lnTo>
                    <a:pt x="987" y="1038"/>
                  </a:lnTo>
                  <a:lnTo>
                    <a:pt x="985" y="1040"/>
                  </a:lnTo>
                  <a:lnTo>
                    <a:pt x="982" y="1043"/>
                  </a:lnTo>
                  <a:lnTo>
                    <a:pt x="981" y="1046"/>
                  </a:lnTo>
                  <a:lnTo>
                    <a:pt x="982" y="1049"/>
                  </a:lnTo>
                  <a:lnTo>
                    <a:pt x="983" y="1051"/>
                  </a:lnTo>
                  <a:lnTo>
                    <a:pt x="987" y="1051"/>
                  </a:lnTo>
                  <a:lnTo>
                    <a:pt x="989" y="1048"/>
                  </a:lnTo>
                  <a:lnTo>
                    <a:pt x="991" y="1044"/>
                  </a:lnTo>
                  <a:lnTo>
                    <a:pt x="993" y="1041"/>
                  </a:lnTo>
                  <a:lnTo>
                    <a:pt x="997" y="1041"/>
                  </a:lnTo>
                  <a:lnTo>
                    <a:pt x="999" y="1043"/>
                  </a:lnTo>
                  <a:lnTo>
                    <a:pt x="1000" y="1046"/>
                  </a:lnTo>
                  <a:lnTo>
                    <a:pt x="1000" y="1049"/>
                  </a:lnTo>
                  <a:lnTo>
                    <a:pt x="998" y="1053"/>
                  </a:lnTo>
                  <a:lnTo>
                    <a:pt x="1002" y="1062"/>
                  </a:lnTo>
                  <a:lnTo>
                    <a:pt x="1004" y="1064"/>
                  </a:lnTo>
                  <a:lnTo>
                    <a:pt x="1007" y="1066"/>
                  </a:lnTo>
                  <a:lnTo>
                    <a:pt x="1009" y="1066"/>
                  </a:lnTo>
                  <a:lnTo>
                    <a:pt x="1009" y="1064"/>
                  </a:lnTo>
                  <a:lnTo>
                    <a:pt x="1010" y="1060"/>
                  </a:lnTo>
                  <a:lnTo>
                    <a:pt x="1010" y="1056"/>
                  </a:lnTo>
                  <a:lnTo>
                    <a:pt x="1011" y="1055"/>
                  </a:lnTo>
                  <a:lnTo>
                    <a:pt x="1011" y="1055"/>
                  </a:lnTo>
                  <a:lnTo>
                    <a:pt x="1013" y="1046"/>
                  </a:lnTo>
                  <a:lnTo>
                    <a:pt x="1017" y="1044"/>
                  </a:lnTo>
                  <a:lnTo>
                    <a:pt x="1022" y="1045"/>
                  </a:lnTo>
                  <a:lnTo>
                    <a:pt x="1037" y="1051"/>
                  </a:lnTo>
                  <a:lnTo>
                    <a:pt x="1048" y="1051"/>
                  </a:lnTo>
                  <a:lnTo>
                    <a:pt x="1053" y="1052"/>
                  </a:lnTo>
                  <a:lnTo>
                    <a:pt x="1058" y="1055"/>
                  </a:lnTo>
                  <a:lnTo>
                    <a:pt x="1059" y="1057"/>
                  </a:lnTo>
                  <a:lnTo>
                    <a:pt x="1059" y="1058"/>
                  </a:lnTo>
                  <a:lnTo>
                    <a:pt x="1060" y="1060"/>
                  </a:lnTo>
                  <a:lnTo>
                    <a:pt x="1060" y="1062"/>
                  </a:lnTo>
                  <a:lnTo>
                    <a:pt x="1062" y="1068"/>
                  </a:lnTo>
                  <a:lnTo>
                    <a:pt x="1063" y="1074"/>
                  </a:lnTo>
                  <a:lnTo>
                    <a:pt x="1063" y="1076"/>
                  </a:lnTo>
                  <a:lnTo>
                    <a:pt x="1064" y="1077"/>
                  </a:lnTo>
                  <a:lnTo>
                    <a:pt x="1067" y="1079"/>
                  </a:lnTo>
                  <a:lnTo>
                    <a:pt x="1068" y="1081"/>
                  </a:lnTo>
                  <a:lnTo>
                    <a:pt x="1071" y="1087"/>
                  </a:lnTo>
                  <a:lnTo>
                    <a:pt x="1076" y="1092"/>
                  </a:lnTo>
                  <a:lnTo>
                    <a:pt x="1080" y="1095"/>
                  </a:lnTo>
                  <a:lnTo>
                    <a:pt x="1082" y="1097"/>
                  </a:lnTo>
                  <a:lnTo>
                    <a:pt x="1087" y="1099"/>
                  </a:lnTo>
                  <a:lnTo>
                    <a:pt x="1093" y="1098"/>
                  </a:lnTo>
                  <a:lnTo>
                    <a:pt x="1100" y="1088"/>
                  </a:lnTo>
                  <a:lnTo>
                    <a:pt x="1105" y="1086"/>
                  </a:lnTo>
                  <a:lnTo>
                    <a:pt x="1107" y="1086"/>
                  </a:lnTo>
                  <a:lnTo>
                    <a:pt x="1110" y="1087"/>
                  </a:lnTo>
                  <a:lnTo>
                    <a:pt x="1111" y="1089"/>
                  </a:lnTo>
                  <a:lnTo>
                    <a:pt x="1113" y="1092"/>
                  </a:lnTo>
                  <a:lnTo>
                    <a:pt x="1115" y="1096"/>
                  </a:lnTo>
                  <a:lnTo>
                    <a:pt x="1116" y="1104"/>
                  </a:lnTo>
                  <a:lnTo>
                    <a:pt x="1117" y="1107"/>
                  </a:lnTo>
                  <a:lnTo>
                    <a:pt x="1120" y="1109"/>
                  </a:lnTo>
                  <a:lnTo>
                    <a:pt x="1126" y="1111"/>
                  </a:lnTo>
                  <a:lnTo>
                    <a:pt x="1127" y="1112"/>
                  </a:lnTo>
                  <a:lnTo>
                    <a:pt x="1127" y="1115"/>
                  </a:lnTo>
                  <a:lnTo>
                    <a:pt x="1124" y="1118"/>
                  </a:lnTo>
                  <a:lnTo>
                    <a:pt x="1121" y="1121"/>
                  </a:lnTo>
                  <a:lnTo>
                    <a:pt x="1120" y="1124"/>
                  </a:lnTo>
                  <a:lnTo>
                    <a:pt x="1118" y="1128"/>
                  </a:lnTo>
                  <a:lnTo>
                    <a:pt x="1118" y="1131"/>
                  </a:lnTo>
                  <a:lnTo>
                    <a:pt x="1120" y="1132"/>
                  </a:lnTo>
                  <a:lnTo>
                    <a:pt x="1125" y="1135"/>
                  </a:lnTo>
                  <a:lnTo>
                    <a:pt x="1127" y="1136"/>
                  </a:lnTo>
                  <a:lnTo>
                    <a:pt x="1128" y="1139"/>
                  </a:lnTo>
                  <a:lnTo>
                    <a:pt x="1126" y="1142"/>
                  </a:lnTo>
                  <a:lnTo>
                    <a:pt x="1121" y="1148"/>
                  </a:lnTo>
                  <a:lnTo>
                    <a:pt x="1120" y="1156"/>
                  </a:lnTo>
                  <a:lnTo>
                    <a:pt x="1120" y="1164"/>
                  </a:lnTo>
                  <a:lnTo>
                    <a:pt x="1119" y="1173"/>
                  </a:lnTo>
                  <a:lnTo>
                    <a:pt x="1115" y="1180"/>
                  </a:lnTo>
                  <a:lnTo>
                    <a:pt x="1111" y="1185"/>
                  </a:lnTo>
                  <a:lnTo>
                    <a:pt x="1109" y="1191"/>
                  </a:lnTo>
                  <a:lnTo>
                    <a:pt x="1111" y="1201"/>
                  </a:lnTo>
                  <a:lnTo>
                    <a:pt x="1111" y="1201"/>
                  </a:lnTo>
                  <a:lnTo>
                    <a:pt x="1111" y="1201"/>
                  </a:lnTo>
                  <a:lnTo>
                    <a:pt x="1111" y="1201"/>
                  </a:lnTo>
                  <a:lnTo>
                    <a:pt x="1112" y="1203"/>
                  </a:lnTo>
                  <a:lnTo>
                    <a:pt x="1112" y="1204"/>
                  </a:lnTo>
                  <a:lnTo>
                    <a:pt x="1115" y="1211"/>
                  </a:lnTo>
                  <a:lnTo>
                    <a:pt x="1116" y="1213"/>
                  </a:lnTo>
                  <a:lnTo>
                    <a:pt x="1119" y="1215"/>
                  </a:lnTo>
                  <a:lnTo>
                    <a:pt x="1120" y="1214"/>
                  </a:lnTo>
                  <a:lnTo>
                    <a:pt x="1122" y="1212"/>
                  </a:lnTo>
                  <a:lnTo>
                    <a:pt x="1125" y="1210"/>
                  </a:lnTo>
                  <a:lnTo>
                    <a:pt x="1127" y="1212"/>
                  </a:lnTo>
                  <a:lnTo>
                    <a:pt x="1130" y="1217"/>
                  </a:lnTo>
                  <a:lnTo>
                    <a:pt x="1135" y="1220"/>
                  </a:lnTo>
                  <a:lnTo>
                    <a:pt x="1135" y="1222"/>
                  </a:lnTo>
                  <a:lnTo>
                    <a:pt x="1136" y="1225"/>
                  </a:lnTo>
                  <a:lnTo>
                    <a:pt x="1138" y="1228"/>
                  </a:lnTo>
                  <a:lnTo>
                    <a:pt x="1140" y="1229"/>
                  </a:lnTo>
                  <a:lnTo>
                    <a:pt x="1142" y="1229"/>
                  </a:lnTo>
                  <a:lnTo>
                    <a:pt x="1145" y="1230"/>
                  </a:lnTo>
                  <a:lnTo>
                    <a:pt x="1147" y="1234"/>
                  </a:lnTo>
                  <a:lnTo>
                    <a:pt x="1148" y="1237"/>
                  </a:lnTo>
                  <a:lnTo>
                    <a:pt x="1148" y="1241"/>
                  </a:lnTo>
                  <a:lnTo>
                    <a:pt x="1148" y="1244"/>
                  </a:lnTo>
                  <a:lnTo>
                    <a:pt x="1149" y="1245"/>
                  </a:lnTo>
                  <a:lnTo>
                    <a:pt x="1150" y="1248"/>
                  </a:lnTo>
                  <a:lnTo>
                    <a:pt x="1152" y="1249"/>
                  </a:lnTo>
                  <a:lnTo>
                    <a:pt x="1155" y="1251"/>
                  </a:lnTo>
                  <a:lnTo>
                    <a:pt x="1157" y="1251"/>
                  </a:lnTo>
                  <a:lnTo>
                    <a:pt x="1160" y="1250"/>
                  </a:lnTo>
                  <a:lnTo>
                    <a:pt x="1163" y="1247"/>
                  </a:lnTo>
                  <a:lnTo>
                    <a:pt x="1164" y="1244"/>
                  </a:lnTo>
                  <a:lnTo>
                    <a:pt x="1164" y="1240"/>
                  </a:lnTo>
                  <a:lnTo>
                    <a:pt x="1166" y="1237"/>
                  </a:lnTo>
                  <a:lnTo>
                    <a:pt x="1169" y="1237"/>
                  </a:lnTo>
                  <a:lnTo>
                    <a:pt x="1173" y="1237"/>
                  </a:lnTo>
                  <a:lnTo>
                    <a:pt x="1175" y="1238"/>
                  </a:lnTo>
                  <a:lnTo>
                    <a:pt x="1178" y="1240"/>
                  </a:lnTo>
                  <a:lnTo>
                    <a:pt x="1180" y="1244"/>
                  </a:lnTo>
                  <a:lnTo>
                    <a:pt x="1182" y="1250"/>
                  </a:lnTo>
                  <a:lnTo>
                    <a:pt x="1182" y="1255"/>
                  </a:lnTo>
                  <a:lnTo>
                    <a:pt x="1180" y="1259"/>
                  </a:lnTo>
                  <a:lnTo>
                    <a:pt x="1176" y="1261"/>
                  </a:lnTo>
                  <a:lnTo>
                    <a:pt x="1176" y="1266"/>
                  </a:lnTo>
                  <a:lnTo>
                    <a:pt x="1177" y="1278"/>
                  </a:lnTo>
                  <a:lnTo>
                    <a:pt x="1176" y="1284"/>
                  </a:lnTo>
                  <a:lnTo>
                    <a:pt x="1174" y="1287"/>
                  </a:lnTo>
                  <a:lnTo>
                    <a:pt x="1171" y="1288"/>
                  </a:lnTo>
                  <a:lnTo>
                    <a:pt x="1166" y="1288"/>
                  </a:lnTo>
                  <a:lnTo>
                    <a:pt x="1166" y="1289"/>
                  </a:lnTo>
                  <a:lnTo>
                    <a:pt x="1166" y="1290"/>
                  </a:lnTo>
                  <a:lnTo>
                    <a:pt x="1166" y="1290"/>
                  </a:lnTo>
                  <a:lnTo>
                    <a:pt x="1166" y="1291"/>
                  </a:lnTo>
                  <a:lnTo>
                    <a:pt x="1171" y="1300"/>
                  </a:lnTo>
                  <a:lnTo>
                    <a:pt x="1172" y="1302"/>
                  </a:lnTo>
                  <a:lnTo>
                    <a:pt x="1174" y="1300"/>
                  </a:lnTo>
                  <a:lnTo>
                    <a:pt x="1175" y="1297"/>
                  </a:lnTo>
                  <a:lnTo>
                    <a:pt x="1177" y="1295"/>
                  </a:lnTo>
                  <a:lnTo>
                    <a:pt x="1180" y="1294"/>
                  </a:lnTo>
                  <a:lnTo>
                    <a:pt x="1183" y="1296"/>
                  </a:lnTo>
                  <a:lnTo>
                    <a:pt x="1184" y="1298"/>
                  </a:lnTo>
                  <a:lnTo>
                    <a:pt x="1185" y="1302"/>
                  </a:lnTo>
                  <a:lnTo>
                    <a:pt x="1186" y="1305"/>
                  </a:lnTo>
                  <a:lnTo>
                    <a:pt x="1184" y="1308"/>
                  </a:lnTo>
                  <a:lnTo>
                    <a:pt x="1183" y="1310"/>
                  </a:lnTo>
                  <a:lnTo>
                    <a:pt x="1181" y="1313"/>
                  </a:lnTo>
                  <a:lnTo>
                    <a:pt x="1179" y="1322"/>
                  </a:lnTo>
                  <a:lnTo>
                    <a:pt x="1179" y="1325"/>
                  </a:lnTo>
                  <a:lnTo>
                    <a:pt x="1179" y="1325"/>
                  </a:lnTo>
                  <a:lnTo>
                    <a:pt x="1179" y="1328"/>
                  </a:lnTo>
                  <a:lnTo>
                    <a:pt x="1180" y="1331"/>
                  </a:lnTo>
                  <a:lnTo>
                    <a:pt x="1181" y="1331"/>
                  </a:lnTo>
                  <a:lnTo>
                    <a:pt x="1185" y="1331"/>
                  </a:lnTo>
                  <a:lnTo>
                    <a:pt x="1186" y="1332"/>
                  </a:lnTo>
                  <a:lnTo>
                    <a:pt x="1189" y="1334"/>
                  </a:lnTo>
                  <a:lnTo>
                    <a:pt x="1190" y="1336"/>
                  </a:lnTo>
                  <a:lnTo>
                    <a:pt x="1193" y="1337"/>
                  </a:lnTo>
                  <a:lnTo>
                    <a:pt x="1198" y="1337"/>
                  </a:lnTo>
                  <a:lnTo>
                    <a:pt x="1200" y="1338"/>
                  </a:lnTo>
                  <a:lnTo>
                    <a:pt x="1203" y="1340"/>
                  </a:lnTo>
                  <a:lnTo>
                    <a:pt x="1207" y="1346"/>
                  </a:lnTo>
                  <a:lnTo>
                    <a:pt x="1209" y="1349"/>
                  </a:lnTo>
                  <a:lnTo>
                    <a:pt x="1215" y="1349"/>
                  </a:lnTo>
                  <a:lnTo>
                    <a:pt x="1219" y="1349"/>
                  </a:lnTo>
                  <a:lnTo>
                    <a:pt x="1224" y="1349"/>
                  </a:lnTo>
                  <a:lnTo>
                    <a:pt x="1228" y="1353"/>
                  </a:lnTo>
                  <a:lnTo>
                    <a:pt x="1229" y="1355"/>
                  </a:lnTo>
                  <a:lnTo>
                    <a:pt x="1230" y="1359"/>
                  </a:lnTo>
                  <a:lnTo>
                    <a:pt x="1231" y="1360"/>
                  </a:lnTo>
                  <a:lnTo>
                    <a:pt x="1233" y="1361"/>
                  </a:lnTo>
                  <a:lnTo>
                    <a:pt x="1234" y="1359"/>
                  </a:lnTo>
                  <a:lnTo>
                    <a:pt x="1236" y="1359"/>
                  </a:lnTo>
                  <a:lnTo>
                    <a:pt x="1237" y="1360"/>
                  </a:lnTo>
                  <a:lnTo>
                    <a:pt x="1238" y="1361"/>
                  </a:lnTo>
                  <a:lnTo>
                    <a:pt x="1238" y="1366"/>
                  </a:lnTo>
                  <a:lnTo>
                    <a:pt x="1238" y="1368"/>
                  </a:lnTo>
                  <a:lnTo>
                    <a:pt x="1238" y="1370"/>
                  </a:lnTo>
                  <a:lnTo>
                    <a:pt x="1240" y="1373"/>
                  </a:lnTo>
                  <a:lnTo>
                    <a:pt x="1241" y="1375"/>
                  </a:lnTo>
                  <a:lnTo>
                    <a:pt x="1241" y="1379"/>
                  </a:lnTo>
                  <a:lnTo>
                    <a:pt x="1240" y="1394"/>
                  </a:lnTo>
                  <a:lnTo>
                    <a:pt x="1239" y="1396"/>
                  </a:lnTo>
                  <a:lnTo>
                    <a:pt x="1238" y="1399"/>
                  </a:lnTo>
                  <a:lnTo>
                    <a:pt x="1238" y="1401"/>
                  </a:lnTo>
                  <a:lnTo>
                    <a:pt x="1238" y="1404"/>
                  </a:lnTo>
                  <a:lnTo>
                    <a:pt x="1238" y="1406"/>
                  </a:lnTo>
                  <a:lnTo>
                    <a:pt x="1240" y="1411"/>
                  </a:lnTo>
                  <a:lnTo>
                    <a:pt x="1241" y="1413"/>
                  </a:lnTo>
                  <a:lnTo>
                    <a:pt x="1239" y="1418"/>
                  </a:lnTo>
                  <a:lnTo>
                    <a:pt x="1235" y="1419"/>
                  </a:lnTo>
                  <a:lnTo>
                    <a:pt x="1233" y="1419"/>
                  </a:lnTo>
                  <a:lnTo>
                    <a:pt x="1233" y="1424"/>
                  </a:lnTo>
                  <a:lnTo>
                    <a:pt x="1235" y="1427"/>
                  </a:lnTo>
                  <a:lnTo>
                    <a:pt x="1242" y="1430"/>
                  </a:lnTo>
                  <a:lnTo>
                    <a:pt x="1242" y="1430"/>
                  </a:lnTo>
                  <a:lnTo>
                    <a:pt x="1243" y="1433"/>
                  </a:lnTo>
                  <a:lnTo>
                    <a:pt x="1244" y="1433"/>
                  </a:lnTo>
                  <a:lnTo>
                    <a:pt x="1245" y="1433"/>
                  </a:lnTo>
                  <a:lnTo>
                    <a:pt x="1247" y="1431"/>
                  </a:lnTo>
                  <a:lnTo>
                    <a:pt x="1248" y="1431"/>
                  </a:lnTo>
                  <a:lnTo>
                    <a:pt x="1249" y="1432"/>
                  </a:lnTo>
                  <a:lnTo>
                    <a:pt x="1250" y="1434"/>
                  </a:lnTo>
                  <a:lnTo>
                    <a:pt x="1252" y="1438"/>
                  </a:lnTo>
                  <a:lnTo>
                    <a:pt x="1251" y="1440"/>
                  </a:lnTo>
                  <a:lnTo>
                    <a:pt x="1258" y="1446"/>
                  </a:lnTo>
                  <a:lnTo>
                    <a:pt x="1261" y="1449"/>
                  </a:lnTo>
                  <a:lnTo>
                    <a:pt x="1262" y="1448"/>
                  </a:lnTo>
                  <a:lnTo>
                    <a:pt x="1265" y="1447"/>
                  </a:lnTo>
                  <a:lnTo>
                    <a:pt x="1267" y="1448"/>
                  </a:lnTo>
                  <a:lnTo>
                    <a:pt x="1269" y="1449"/>
                  </a:lnTo>
                  <a:lnTo>
                    <a:pt x="1266" y="1456"/>
                  </a:lnTo>
                  <a:lnTo>
                    <a:pt x="1262" y="1460"/>
                  </a:lnTo>
                  <a:lnTo>
                    <a:pt x="1254" y="1461"/>
                  </a:lnTo>
                  <a:lnTo>
                    <a:pt x="1236" y="1460"/>
                  </a:lnTo>
                  <a:lnTo>
                    <a:pt x="1233" y="1461"/>
                  </a:lnTo>
                  <a:lnTo>
                    <a:pt x="1230" y="1462"/>
                  </a:lnTo>
                  <a:lnTo>
                    <a:pt x="1224" y="1468"/>
                  </a:lnTo>
                  <a:lnTo>
                    <a:pt x="1221" y="1468"/>
                  </a:lnTo>
                  <a:lnTo>
                    <a:pt x="1218" y="1464"/>
                  </a:lnTo>
                  <a:lnTo>
                    <a:pt x="1218" y="1463"/>
                  </a:lnTo>
                  <a:lnTo>
                    <a:pt x="1218" y="1459"/>
                  </a:lnTo>
                  <a:lnTo>
                    <a:pt x="1218" y="1456"/>
                  </a:lnTo>
                  <a:lnTo>
                    <a:pt x="1217" y="1454"/>
                  </a:lnTo>
                  <a:lnTo>
                    <a:pt x="1213" y="1449"/>
                  </a:lnTo>
                  <a:lnTo>
                    <a:pt x="1205" y="1441"/>
                  </a:lnTo>
                  <a:lnTo>
                    <a:pt x="1203" y="1438"/>
                  </a:lnTo>
                  <a:lnTo>
                    <a:pt x="1203" y="1444"/>
                  </a:lnTo>
                  <a:lnTo>
                    <a:pt x="1201" y="1448"/>
                  </a:lnTo>
                  <a:lnTo>
                    <a:pt x="1198" y="1449"/>
                  </a:lnTo>
                  <a:lnTo>
                    <a:pt x="1194" y="1449"/>
                  </a:lnTo>
                  <a:lnTo>
                    <a:pt x="1193" y="1450"/>
                  </a:lnTo>
                  <a:lnTo>
                    <a:pt x="1194" y="1456"/>
                  </a:lnTo>
                  <a:lnTo>
                    <a:pt x="1192" y="1460"/>
                  </a:lnTo>
                  <a:lnTo>
                    <a:pt x="1190" y="1462"/>
                  </a:lnTo>
                  <a:lnTo>
                    <a:pt x="1188" y="1463"/>
                  </a:lnTo>
                  <a:lnTo>
                    <a:pt x="1185" y="1463"/>
                  </a:lnTo>
                  <a:lnTo>
                    <a:pt x="1182" y="1461"/>
                  </a:lnTo>
                  <a:lnTo>
                    <a:pt x="1180" y="1458"/>
                  </a:lnTo>
                  <a:lnTo>
                    <a:pt x="1178" y="1453"/>
                  </a:lnTo>
                  <a:lnTo>
                    <a:pt x="1176" y="1451"/>
                  </a:lnTo>
                  <a:lnTo>
                    <a:pt x="1174" y="1450"/>
                  </a:lnTo>
                  <a:lnTo>
                    <a:pt x="1169" y="1449"/>
                  </a:lnTo>
                  <a:lnTo>
                    <a:pt x="1166" y="1448"/>
                  </a:lnTo>
                  <a:lnTo>
                    <a:pt x="1165" y="1447"/>
                  </a:lnTo>
                  <a:lnTo>
                    <a:pt x="1165" y="1445"/>
                  </a:lnTo>
                  <a:lnTo>
                    <a:pt x="1165" y="1443"/>
                  </a:lnTo>
                  <a:lnTo>
                    <a:pt x="1166" y="1441"/>
                  </a:lnTo>
                  <a:lnTo>
                    <a:pt x="1167" y="1440"/>
                  </a:lnTo>
                  <a:lnTo>
                    <a:pt x="1167" y="1438"/>
                  </a:lnTo>
                  <a:lnTo>
                    <a:pt x="1167" y="1437"/>
                  </a:lnTo>
                  <a:lnTo>
                    <a:pt x="1166" y="1435"/>
                  </a:lnTo>
                  <a:lnTo>
                    <a:pt x="1163" y="1434"/>
                  </a:lnTo>
                  <a:lnTo>
                    <a:pt x="1162" y="1435"/>
                  </a:lnTo>
                  <a:lnTo>
                    <a:pt x="1159" y="1436"/>
                  </a:lnTo>
                  <a:lnTo>
                    <a:pt x="1156" y="1440"/>
                  </a:lnTo>
                  <a:lnTo>
                    <a:pt x="1149" y="1450"/>
                  </a:lnTo>
                  <a:lnTo>
                    <a:pt x="1147" y="1450"/>
                  </a:lnTo>
                  <a:lnTo>
                    <a:pt x="1145" y="1446"/>
                  </a:lnTo>
                  <a:lnTo>
                    <a:pt x="1141" y="1438"/>
                  </a:lnTo>
                  <a:lnTo>
                    <a:pt x="1139" y="1438"/>
                  </a:lnTo>
                  <a:lnTo>
                    <a:pt x="1136" y="1442"/>
                  </a:lnTo>
                  <a:lnTo>
                    <a:pt x="1135" y="1445"/>
                  </a:lnTo>
                  <a:lnTo>
                    <a:pt x="1136" y="1450"/>
                  </a:lnTo>
                  <a:lnTo>
                    <a:pt x="1136" y="1452"/>
                  </a:lnTo>
                  <a:lnTo>
                    <a:pt x="1135" y="1455"/>
                  </a:lnTo>
                  <a:lnTo>
                    <a:pt x="1134" y="1455"/>
                  </a:lnTo>
                  <a:lnTo>
                    <a:pt x="1133" y="1455"/>
                  </a:lnTo>
                  <a:lnTo>
                    <a:pt x="1131" y="1455"/>
                  </a:lnTo>
                  <a:lnTo>
                    <a:pt x="1125" y="1462"/>
                  </a:lnTo>
                  <a:lnTo>
                    <a:pt x="1122" y="1464"/>
                  </a:lnTo>
                  <a:lnTo>
                    <a:pt x="1119" y="1462"/>
                  </a:lnTo>
                  <a:lnTo>
                    <a:pt x="1119" y="1459"/>
                  </a:lnTo>
                  <a:lnTo>
                    <a:pt x="1120" y="1457"/>
                  </a:lnTo>
                  <a:lnTo>
                    <a:pt x="1121" y="1455"/>
                  </a:lnTo>
                  <a:lnTo>
                    <a:pt x="1122" y="1453"/>
                  </a:lnTo>
                  <a:lnTo>
                    <a:pt x="1123" y="1450"/>
                  </a:lnTo>
                  <a:lnTo>
                    <a:pt x="1123" y="1430"/>
                  </a:lnTo>
                  <a:lnTo>
                    <a:pt x="1122" y="1425"/>
                  </a:lnTo>
                  <a:lnTo>
                    <a:pt x="1119" y="1422"/>
                  </a:lnTo>
                  <a:lnTo>
                    <a:pt x="1119" y="1422"/>
                  </a:lnTo>
                  <a:lnTo>
                    <a:pt x="1116" y="1422"/>
                  </a:lnTo>
                  <a:lnTo>
                    <a:pt x="1102" y="1430"/>
                  </a:lnTo>
                  <a:lnTo>
                    <a:pt x="1099" y="1431"/>
                  </a:lnTo>
                  <a:lnTo>
                    <a:pt x="1093" y="1434"/>
                  </a:lnTo>
                  <a:lnTo>
                    <a:pt x="1081" y="1441"/>
                  </a:lnTo>
                  <a:lnTo>
                    <a:pt x="1078" y="1447"/>
                  </a:lnTo>
                  <a:lnTo>
                    <a:pt x="1077" y="1453"/>
                  </a:lnTo>
                  <a:lnTo>
                    <a:pt x="1078" y="1461"/>
                  </a:lnTo>
                  <a:lnTo>
                    <a:pt x="1081" y="1472"/>
                  </a:lnTo>
                  <a:lnTo>
                    <a:pt x="1081" y="1476"/>
                  </a:lnTo>
                  <a:lnTo>
                    <a:pt x="1080" y="1480"/>
                  </a:lnTo>
                  <a:lnTo>
                    <a:pt x="1079" y="1483"/>
                  </a:lnTo>
                  <a:lnTo>
                    <a:pt x="1079" y="1486"/>
                  </a:lnTo>
                  <a:lnTo>
                    <a:pt x="1082" y="1490"/>
                  </a:lnTo>
                  <a:lnTo>
                    <a:pt x="1082" y="1490"/>
                  </a:lnTo>
                  <a:lnTo>
                    <a:pt x="1087" y="1495"/>
                  </a:lnTo>
                  <a:lnTo>
                    <a:pt x="1091" y="1499"/>
                  </a:lnTo>
                  <a:lnTo>
                    <a:pt x="1092" y="1504"/>
                  </a:lnTo>
                  <a:lnTo>
                    <a:pt x="1091" y="1509"/>
                  </a:lnTo>
                  <a:lnTo>
                    <a:pt x="1087" y="1515"/>
                  </a:lnTo>
                  <a:lnTo>
                    <a:pt x="1081" y="1522"/>
                  </a:lnTo>
                  <a:lnTo>
                    <a:pt x="1080" y="1525"/>
                  </a:lnTo>
                  <a:lnTo>
                    <a:pt x="1081" y="1531"/>
                  </a:lnTo>
                  <a:lnTo>
                    <a:pt x="1083" y="1541"/>
                  </a:lnTo>
                  <a:lnTo>
                    <a:pt x="1083" y="1545"/>
                  </a:lnTo>
                  <a:lnTo>
                    <a:pt x="1079" y="1547"/>
                  </a:lnTo>
                  <a:lnTo>
                    <a:pt x="1052" y="1554"/>
                  </a:lnTo>
                  <a:lnTo>
                    <a:pt x="1049" y="1556"/>
                  </a:lnTo>
                  <a:lnTo>
                    <a:pt x="1047" y="1560"/>
                  </a:lnTo>
                  <a:lnTo>
                    <a:pt x="1047" y="1563"/>
                  </a:lnTo>
                  <a:lnTo>
                    <a:pt x="1049" y="1571"/>
                  </a:lnTo>
                  <a:lnTo>
                    <a:pt x="1050" y="1575"/>
                  </a:lnTo>
                  <a:lnTo>
                    <a:pt x="1049" y="1580"/>
                  </a:lnTo>
                  <a:lnTo>
                    <a:pt x="1048" y="1582"/>
                  </a:lnTo>
                  <a:lnTo>
                    <a:pt x="1046" y="1585"/>
                  </a:lnTo>
                  <a:lnTo>
                    <a:pt x="1043" y="1586"/>
                  </a:lnTo>
                  <a:lnTo>
                    <a:pt x="1039" y="1587"/>
                  </a:lnTo>
                  <a:lnTo>
                    <a:pt x="1037" y="1588"/>
                  </a:lnTo>
                  <a:lnTo>
                    <a:pt x="1037" y="1590"/>
                  </a:lnTo>
                  <a:lnTo>
                    <a:pt x="1038" y="1591"/>
                  </a:lnTo>
                  <a:lnTo>
                    <a:pt x="1038" y="1594"/>
                  </a:lnTo>
                  <a:lnTo>
                    <a:pt x="1037" y="1596"/>
                  </a:lnTo>
                  <a:lnTo>
                    <a:pt x="1033" y="1599"/>
                  </a:lnTo>
                  <a:lnTo>
                    <a:pt x="1023" y="1600"/>
                  </a:lnTo>
                  <a:lnTo>
                    <a:pt x="1020" y="1604"/>
                  </a:lnTo>
                  <a:lnTo>
                    <a:pt x="1021" y="1605"/>
                  </a:lnTo>
                  <a:lnTo>
                    <a:pt x="1021" y="1608"/>
                  </a:lnTo>
                  <a:lnTo>
                    <a:pt x="1020" y="1610"/>
                  </a:lnTo>
                  <a:lnTo>
                    <a:pt x="1016" y="1611"/>
                  </a:lnTo>
                  <a:lnTo>
                    <a:pt x="1013" y="1613"/>
                  </a:lnTo>
                  <a:lnTo>
                    <a:pt x="1011" y="1615"/>
                  </a:lnTo>
                  <a:lnTo>
                    <a:pt x="1008" y="1620"/>
                  </a:lnTo>
                  <a:lnTo>
                    <a:pt x="1006" y="1623"/>
                  </a:lnTo>
                  <a:lnTo>
                    <a:pt x="1008" y="1625"/>
                  </a:lnTo>
                  <a:lnTo>
                    <a:pt x="1010" y="1626"/>
                  </a:lnTo>
                  <a:lnTo>
                    <a:pt x="1012" y="1628"/>
                  </a:lnTo>
                  <a:lnTo>
                    <a:pt x="1013" y="1631"/>
                  </a:lnTo>
                  <a:lnTo>
                    <a:pt x="1013" y="1635"/>
                  </a:lnTo>
                  <a:lnTo>
                    <a:pt x="1014" y="1638"/>
                  </a:lnTo>
                  <a:lnTo>
                    <a:pt x="1016" y="1641"/>
                  </a:lnTo>
                  <a:lnTo>
                    <a:pt x="1012" y="1643"/>
                  </a:lnTo>
                  <a:lnTo>
                    <a:pt x="1011" y="1644"/>
                  </a:lnTo>
                  <a:lnTo>
                    <a:pt x="1011" y="1644"/>
                  </a:lnTo>
                  <a:lnTo>
                    <a:pt x="1010" y="1646"/>
                  </a:lnTo>
                  <a:lnTo>
                    <a:pt x="1010" y="1646"/>
                  </a:lnTo>
                  <a:lnTo>
                    <a:pt x="1011" y="1647"/>
                  </a:lnTo>
                  <a:lnTo>
                    <a:pt x="1012" y="1654"/>
                  </a:lnTo>
                  <a:lnTo>
                    <a:pt x="1011" y="1657"/>
                  </a:lnTo>
                  <a:lnTo>
                    <a:pt x="1008" y="1659"/>
                  </a:lnTo>
                  <a:lnTo>
                    <a:pt x="997" y="1658"/>
                  </a:lnTo>
                  <a:lnTo>
                    <a:pt x="985" y="1655"/>
                  </a:lnTo>
                  <a:lnTo>
                    <a:pt x="974" y="1654"/>
                  </a:lnTo>
                  <a:lnTo>
                    <a:pt x="974" y="1654"/>
                  </a:lnTo>
                  <a:lnTo>
                    <a:pt x="966" y="1660"/>
                  </a:lnTo>
                  <a:lnTo>
                    <a:pt x="966" y="1660"/>
                  </a:lnTo>
                  <a:lnTo>
                    <a:pt x="966" y="1660"/>
                  </a:lnTo>
                  <a:lnTo>
                    <a:pt x="964" y="1663"/>
                  </a:lnTo>
                  <a:lnTo>
                    <a:pt x="963" y="1666"/>
                  </a:lnTo>
                  <a:lnTo>
                    <a:pt x="963" y="1668"/>
                  </a:lnTo>
                  <a:lnTo>
                    <a:pt x="965" y="1670"/>
                  </a:lnTo>
                  <a:lnTo>
                    <a:pt x="965" y="1670"/>
                  </a:lnTo>
                  <a:lnTo>
                    <a:pt x="969" y="1670"/>
                  </a:lnTo>
                  <a:lnTo>
                    <a:pt x="974" y="1672"/>
                  </a:lnTo>
                  <a:lnTo>
                    <a:pt x="977" y="1677"/>
                  </a:lnTo>
                  <a:lnTo>
                    <a:pt x="976" y="1681"/>
                  </a:lnTo>
                  <a:lnTo>
                    <a:pt x="980" y="1693"/>
                  </a:lnTo>
                  <a:lnTo>
                    <a:pt x="984" y="1699"/>
                  </a:lnTo>
                  <a:lnTo>
                    <a:pt x="987" y="1701"/>
                  </a:lnTo>
                  <a:lnTo>
                    <a:pt x="990" y="1702"/>
                  </a:lnTo>
                  <a:lnTo>
                    <a:pt x="995" y="1705"/>
                  </a:lnTo>
                  <a:lnTo>
                    <a:pt x="1010" y="1709"/>
                  </a:lnTo>
                  <a:lnTo>
                    <a:pt x="1023" y="1716"/>
                  </a:lnTo>
                  <a:lnTo>
                    <a:pt x="1044" y="1720"/>
                  </a:lnTo>
                  <a:lnTo>
                    <a:pt x="1050" y="1720"/>
                  </a:lnTo>
                  <a:lnTo>
                    <a:pt x="1055" y="1719"/>
                  </a:lnTo>
                  <a:lnTo>
                    <a:pt x="1057" y="1718"/>
                  </a:lnTo>
                  <a:lnTo>
                    <a:pt x="1058" y="1717"/>
                  </a:lnTo>
                  <a:lnTo>
                    <a:pt x="1054" y="1714"/>
                  </a:lnTo>
                  <a:lnTo>
                    <a:pt x="1053" y="1713"/>
                  </a:lnTo>
                  <a:lnTo>
                    <a:pt x="1052" y="1712"/>
                  </a:lnTo>
                  <a:lnTo>
                    <a:pt x="1052" y="1710"/>
                  </a:lnTo>
                  <a:lnTo>
                    <a:pt x="1052" y="1708"/>
                  </a:lnTo>
                  <a:lnTo>
                    <a:pt x="1057" y="1706"/>
                  </a:lnTo>
                  <a:lnTo>
                    <a:pt x="1056" y="1702"/>
                  </a:lnTo>
                  <a:lnTo>
                    <a:pt x="1057" y="1699"/>
                  </a:lnTo>
                  <a:lnTo>
                    <a:pt x="1061" y="1698"/>
                  </a:lnTo>
                  <a:lnTo>
                    <a:pt x="1063" y="1699"/>
                  </a:lnTo>
                  <a:lnTo>
                    <a:pt x="1067" y="1702"/>
                  </a:lnTo>
                  <a:lnTo>
                    <a:pt x="1071" y="1703"/>
                  </a:lnTo>
                  <a:lnTo>
                    <a:pt x="1073" y="1704"/>
                  </a:lnTo>
                  <a:lnTo>
                    <a:pt x="1076" y="1707"/>
                  </a:lnTo>
                  <a:lnTo>
                    <a:pt x="1079" y="1709"/>
                  </a:lnTo>
                  <a:lnTo>
                    <a:pt x="1082" y="1707"/>
                  </a:lnTo>
                  <a:lnTo>
                    <a:pt x="1083" y="1706"/>
                  </a:lnTo>
                  <a:lnTo>
                    <a:pt x="1084" y="1701"/>
                  </a:lnTo>
                  <a:lnTo>
                    <a:pt x="1085" y="1699"/>
                  </a:lnTo>
                  <a:lnTo>
                    <a:pt x="1086" y="1698"/>
                  </a:lnTo>
                  <a:lnTo>
                    <a:pt x="1087" y="1698"/>
                  </a:lnTo>
                  <a:lnTo>
                    <a:pt x="1091" y="1698"/>
                  </a:lnTo>
                  <a:lnTo>
                    <a:pt x="1093" y="1697"/>
                  </a:lnTo>
                  <a:lnTo>
                    <a:pt x="1101" y="1690"/>
                  </a:lnTo>
                  <a:lnTo>
                    <a:pt x="1107" y="1689"/>
                  </a:lnTo>
                  <a:lnTo>
                    <a:pt x="1110" y="1687"/>
                  </a:lnTo>
                  <a:lnTo>
                    <a:pt x="1112" y="1685"/>
                  </a:lnTo>
                  <a:lnTo>
                    <a:pt x="1114" y="1684"/>
                  </a:lnTo>
                  <a:lnTo>
                    <a:pt x="1118" y="1684"/>
                  </a:lnTo>
                  <a:lnTo>
                    <a:pt x="1118" y="1683"/>
                  </a:lnTo>
                  <a:lnTo>
                    <a:pt x="1119" y="1682"/>
                  </a:lnTo>
                  <a:lnTo>
                    <a:pt x="1120" y="1680"/>
                  </a:lnTo>
                  <a:lnTo>
                    <a:pt x="1123" y="1678"/>
                  </a:lnTo>
                  <a:lnTo>
                    <a:pt x="1126" y="1676"/>
                  </a:lnTo>
                  <a:lnTo>
                    <a:pt x="1129" y="1676"/>
                  </a:lnTo>
                  <a:lnTo>
                    <a:pt x="1131" y="1676"/>
                  </a:lnTo>
                  <a:lnTo>
                    <a:pt x="1135" y="1676"/>
                  </a:lnTo>
                  <a:lnTo>
                    <a:pt x="1136" y="1676"/>
                  </a:lnTo>
                  <a:lnTo>
                    <a:pt x="1137" y="1675"/>
                  </a:lnTo>
                  <a:lnTo>
                    <a:pt x="1139" y="1674"/>
                  </a:lnTo>
                  <a:lnTo>
                    <a:pt x="1140" y="1673"/>
                  </a:lnTo>
                  <a:lnTo>
                    <a:pt x="1141" y="1672"/>
                  </a:lnTo>
                  <a:lnTo>
                    <a:pt x="1143" y="1672"/>
                  </a:lnTo>
                  <a:lnTo>
                    <a:pt x="1145" y="1673"/>
                  </a:lnTo>
                  <a:lnTo>
                    <a:pt x="1146" y="1673"/>
                  </a:lnTo>
                  <a:lnTo>
                    <a:pt x="1158" y="1674"/>
                  </a:lnTo>
                  <a:lnTo>
                    <a:pt x="1180" y="1683"/>
                  </a:lnTo>
                  <a:lnTo>
                    <a:pt x="1188" y="1689"/>
                  </a:lnTo>
                  <a:lnTo>
                    <a:pt x="1189" y="1690"/>
                  </a:lnTo>
                  <a:lnTo>
                    <a:pt x="1193" y="1693"/>
                  </a:lnTo>
                  <a:lnTo>
                    <a:pt x="1196" y="1701"/>
                  </a:lnTo>
                  <a:lnTo>
                    <a:pt x="1197" y="1710"/>
                  </a:lnTo>
                  <a:lnTo>
                    <a:pt x="1194" y="1717"/>
                  </a:lnTo>
                  <a:lnTo>
                    <a:pt x="1195" y="1718"/>
                  </a:lnTo>
                  <a:lnTo>
                    <a:pt x="1196" y="1719"/>
                  </a:lnTo>
                  <a:lnTo>
                    <a:pt x="1195" y="1721"/>
                  </a:lnTo>
                  <a:lnTo>
                    <a:pt x="1194" y="1723"/>
                  </a:lnTo>
                  <a:lnTo>
                    <a:pt x="1194" y="1723"/>
                  </a:lnTo>
                  <a:lnTo>
                    <a:pt x="1197" y="1723"/>
                  </a:lnTo>
                  <a:lnTo>
                    <a:pt x="1200" y="1723"/>
                  </a:lnTo>
                  <a:lnTo>
                    <a:pt x="1202" y="1721"/>
                  </a:lnTo>
                  <a:lnTo>
                    <a:pt x="1205" y="1718"/>
                  </a:lnTo>
                  <a:lnTo>
                    <a:pt x="1206" y="1718"/>
                  </a:lnTo>
                  <a:lnTo>
                    <a:pt x="1206" y="1718"/>
                  </a:lnTo>
                  <a:lnTo>
                    <a:pt x="1205" y="1716"/>
                  </a:lnTo>
                  <a:lnTo>
                    <a:pt x="1206" y="1713"/>
                  </a:lnTo>
                  <a:lnTo>
                    <a:pt x="1208" y="1708"/>
                  </a:lnTo>
                  <a:lnTo>
                    <a:pt x="1208" y="1706"/>
                  </a:lnTo>
                  <a:lnTo>
                    <a:pt x="1209" y="1703"/>
                  </a:lnTo>
                  <a:lnTo>
                    <a:pt x="1210" y="1701"/>
                  </a:lnTo>
                  <a:lnTo>
                    <a:pt x="1210" y="1699"/>
                  </a:lnTo>
                  <a:lnTo>
                    <a:pt x="1209" y="1689"/>
                  </a:lnTo>
                  <a:lnTo>
                    <a:pt x="1209" y="1685"/>
                  </a:lnTo>
                  <a:lnTo>
                    <a:pt x="1208" y="1680"/>
                  </a:lnTo>
                  <a:lnTo>
                    <a:pt x="1205" y="1678"/>
                  </a:lnTo>
                  <a:lnTo>
                    <a:pt x="1208" y="1678"/>
                  </a:lnTo>
                  <a:lnTo>
                    <a:pt x="1210" y="1675"/>
                  </a:lnTo>
                  <a:lnTo>
                    <a:pt x="1210" y="1671"/>
                  </a:lnTo>
                  <a:lnTo>
                    <a:pt x="1208" y="1667"/>
                  </a:lnTo>
                  <a:lnTo>
                    <a:pt x="1206" y="1664"/>
                  </a:lnTo>
                  <a:lnTo>
                    <a:pt x="1205" y="1666"/>
                  </a:lnTo>
                  <a:lnTo>
                    <a:pt x="1204" y="1670"/>
                  </a:lnTo>
                  <a:lnTo>
                    <a:pt x="1203" y="1673"/>
                  </a:lnTo>
                  <a:lnTo>
                    <a:pt x="1202" y="1669"/>
                  </a:lnTo>
                  <a:lnTo>
                    <a:pt x="1201" y="1669"/>
                  </a:lnTo>
                  <a:lnTo>
                    <a:pt x="1200" y="1669"/>
                  </a:lnTo>
                  <a:lnTo>
                    <a:pt x="1199" y="1669"/>
                  </a:lnTo>
                  <a:lnTo>
                    <a:pt x="1199" y="1669"/>
                  </a:lnTo>
                  <a:lnTo>
                    <a:pt x="1198" y="1670"/>
                  </a:lnTo>
                  <a:lnTo>
                    <a:pt x="1197" y="1670"/>
                  </a:lnTo>
                  <a:lnTo>
                    <a:pt x="1197" y="1669"/>
                  </a:lnTo>
                  <a:lnTo>
                    <a:pt x="1197" y="1664"/>
                  </a:lnTo>
                  <a:lnTo>
                    <a:pt x="1194" y="1665"/>
                  </a:lnTo>
                  <a:lnTo>
                    <a:pt x="1194" y="1667"/>
                  </a:lnTo>
                  <a:lnTo>
                    <a:pt x="1194" y="1670"/>
                  </a:lnTo>
                  <a:lnTo>
                    <a:pt x="1193" y="1672"/>
                  </a:lnTo>
                  <a:lnTo>
                    <a:pt x="1192" y="1672"/>
                  </a:lnTo>
                  <a:lnTo>
                    <a:pt x="1190" y="1671"/>
                  </a:lnTo>
                  <a:lnTo>
                    <a:pt x="1189" y="1669"/>
                  </a:lnTo>
                  <a:lnTo>
                    <a:pt x="1186" y="1664"/>
                  </a:lnTo>
                  <a:lnTo>
                    <a:pt x="1186" y="1662"/>
                  </a:lnTo>
                  <a:lnTo>
                    <a:pt x="1189" y="1661"/>
                  </a:lnTo>
                  <a:lnTo>
                    <a:pt x="1189" y="1660"/>
                  </a:lnTo>
                  <a:lnTo>
                    <a:pt x="1190" y="1658"/>
                  </a:lnTo>
                  <a:lnTo>
                    <a:pt x="1191" y="1656"/>
                  </a:lnTo>
                  <a:lnTo>
                    <a:pt x="1193" y="1655"/>
                  </a:lnTo>
                  <a:lnTo>
                    <a:pt x="1195" y="1653"/>
                  </a:lnTo>
                  <a:lnTo>
                    <a:pt x="1200" y="1645"/>
                  </a:lnTo>
                  <a:lnTo>
                    <a:pt x="1202" y="1642"/>
                  </a:lnTo>
                  <a:lnTo>
                    <a:pt x="1198" y="1646"/>
                  </a:lnTo>
                  <a:lnTo>
                    <a:pt x="1196" y="1648"/>
                  </a:lnTo>
                  <a:lnTo>
                    <a:pt x="1193" y="1649"/>
                  </a:lnTo>
                  <a:lnTo>
                    <a:pt x="1190" y="1648"/>
                  </a:lnTo>
                  <a:lnTo>
                    <a:pt x="1188" y="1648"/>
                  </a:lnTo>
                  <a:lnTo>
                    <a:pt x="1184" y="1645"/>
                  </a:lnTo>
                  <a:lnTo>
                    <a:pt x="1185" y="1635"/>
                  </a:lnTo>
                  <a:lnTo>
                    <a:pt x="1185" y="1625"/>
                  </a:lnTo>
                  <a:lnTo>
                    <a:pt x="1186" y="1615"/>
                  </a:lnTo>
                  <a:lnTo>
                    <a:pt x="1191" y="1611"/>
                  </a:lnTo>
                  <a:lnTo>
                    <a:pt x="1190" y="1609"/>
                  </a:lnTo>
                  <a:lnTo>
                    <a:pt x="1189" y="1607"/>
                  </a:lnTo>
                  <a:lnTo>
                    <a:pt x="1189" y="1605"/>
                  </a:lnTo>
                  <a:lnTo>
                    <a:pt x="1189" y="1602"/>
                  </a:lnTo>
                  <a:lnTo>
                    <a:pt x="1190" y="1599"/>
                  </a:lnTo>
                  <a:lnTo>
                    <a:pt x="1193" y="1595"/>
                  </a:lnTo>
                  <a:lnTo>
                    <a:pt x="1193" y="1593"/>
                  </a:lnTo>
                  <a:lnTo>
                    <a:pt x="1193" y="1592"/>
                  </a:lnTo>
                  <a:lnTo>
                    <a:pt x="1191" y="1590"/>
                  </a:lnTo>
                  <a:lnTo>
                    <a:pt x="1190" y="1588"/>
                  </a:lnTo>
                  <a:lnTo>
                    <a:pt x="1190" y="1586"/>
                  </a:lnTo>
                  <a:lnTo>
                    <a:pt x="1191" y="1585"/>
                  </a:lnTo>
                  <a:lnTo>
                    <a:pt x="1192" y="1585"/>
                  </a:lnTo>
                  <a:lnTo>
                    <a:pt x="1193" y="1587"/>
                  </a:lnTo>
                  <a:lnTo>
                    <a:pt x="1194" y="1588"/>
                  </a:lnTo>
                  <a:lnTo>
                    <a:pt x="1197" y="1591"/>
                  </a:lnTo>
                  <a:lnTo>
                    <a:pt x="1198" y="1591"/>
                  </a:lnTo>
                  <a:lnTo>
                    <a:pt x="1198" y="1591"/>
                  </a:lnTo>
                  <a:lnTo>
                    <a:pt x="1199" y="1593"/>
                  </a:lnTo>
                  <a:lnTo>
                    <a:pt x="1200" y="1595"/>
                  </a:lnTo>
                  <a:lnTo>
                    <a:pt x="1200" y="1596"/>
                  </a:lnTo>
                  <a:lnTo>
                    <a:pt x="1199" y="1598"/>
                  </a:lnTo>
                  <a:lnTo>
                    <a:pt x="1198" y="1602"/>
                  </a:lnTo>
                  <a:lnTo>
                    <a:pt x="1199" y="1613"/>
                  </a:lnTo>
                  <a:lnTo>
                    <a:pt x="1198" y="1614"/>
                  </a:lnTo>
                  <a:lnTo>
                    <a:pt x="1202" y="1616"/>
                  </a:lnTo>
                  <a:lnTo>
                    <a:pt x="1205" y="1621"/>
                  </a:lnTo>
                  <a:lnTo>
                    <a:pt x="1207" y="1627"/>
                  </a:lnTo>
                  <a:lnTo>
                    <a:pt x="1206" y="1633"/>
                  </a:lnTo>
                  <a:lnTo>
                    <a:pt x="1208" y="1631"/>
                  </a:lnTo>
                  <a:lnTo>
                    <a:pt x="1213" y="1630"/>
                  </a:lnTo>
                  <a:lnTo>
                    <a:pt x="1215" y="1628"/>
                  </a:lnTo>
                  <a:lnTo>
                    <a:pt x="1214" y="1626"/>
                  </a:lnTo>
                  <a:lnTo>
                    <a:pt x="1214" y="1626"/>
                  </a:lnTo>
                  <a:lnTo>
                    <a:pt x="1215" y="1625"/>
                  </a:lnTo>
                  <a:lnTo>
                    <a:pt x="1215" y="1624"/>
                  </a:lnTo>
                  <a:lnTo>
                    <a:pt x="1218" y="1625"/>
                  </a:lnTo>
                  <a:lnTo>
                    <a:pt x="1221" y="1624"/>
                  </a:lnTo>
                  <a:lnTo>
                    <a:pt x="1223" y="1622"/>
                  </a:lnTo>
                  <a:lnTo>
                    <a:pt x="1226" y="1621"/>
                  </a:lnTo>
                  <a:lnTo>
                    <a:pt x="1227" y="1620"/>
                  </a:lnTo>
                  <a:lnTo>
                    <a:pt x="1226" y="1618"/>
                  </a:lnTo>
                  <a:lnTo>
                    <a:pt x="1224" y="1616"/>
                  </a:lnTo>
                  <a:lnTo>
                    <a:pt x="1219" y="1614"/>
                  </a:lnTo>
                  <a:lnTo>
                    <a:pt x="1217" y="1613"/>
                  </a:lnTo>
                  <a:lnTo>
                    <a:pt x="1216" y="1610"/>
                  </a:lnTo>
                  <a:lnTo>
                    <a:pt x="1217" y="1605"/>
                  </a:lnTo>
                  <a:lnTo>
                    <a:pt x="1221" y="1603"/>
                  </a:lnTo>
                  <a:lnTo>
                    <a:pt x="1225" y="1602"/>
                  </a:lnTo>
                  <a:lnTo>
                    <a:pt x="1228" y="1602"/>
                  </a:lnTo>
                  <a:lnTo>
                    <a:pt x="1229" y="1601"/>
                  </a:lnTo>
                  <a:lnTo>
                    <a:pt x="1229" y="1601"/>
                  </a:lnTo>
                  <a:lnTo>
                    <a:pt x="1230" y="1599"/>
                  </a:lnTo>
                  <a:lnTo>
                    <a:pt x="1231" y="1599"/>
                  </a:lnTo>
                  <a:lnTo>
                    <a:pt x="1232" y="1599"/>
                  </a:lnTo>
                  <a:lnTo>
                    <a:pt x="1232" y="1600"/>
                  </a:lnTo>
                  <a:lnTo>
                    <a:pt x="1232" y="1601"/>
                  </a:lnTo>
                  <a:lnTo>
                    <a:pt x="1233" y="1602"/>
                  </a:lnTo>
                  <a:lnTo>
                    <a:pt x="1236" y="1605"/>
                  </a:lnTo>
                  <a:lnTo>
                    <a:pt x="1237" y="1606"/>
                  </a:lnTo>
                  <a:lnTo>
                    <a:pt x="1238" y="1608"/>
                  </a:lnTo>
                  <a:lnTo>
                    <a:pt x="1239" y="1602"/>
                  </a:lnTo>
                  <a:lnTo>
                    <a:pt x="1238" y="1600"/>
                  </a:lnTo>
                  <a:lnTo>
                    <a:pt x="1236" y="1598"/>
                  </a:lnTo>
                  <a:lnTo>
                    <a:pt x="1236" y="1595"/>
                  </a:lnTo>
                  <a:lnTo>
                    <a:pt x="1236" y="1591"/>
                  </a:lnTo>
                  <a:lnTo>
                    <a:pt x="1237" y="1588"/>
                  </a:lnTo>
                  <a:lnTo>
                    <a:pt x="1238" y="1587"/>
                  </a:lnTo>
                  <a:lnTo>
                    <a:pt x="1239" y="1589"/>
                  </a:lnTo>
                  <a:lnTo>
                    <a:pt x="1238" y="1591"/>
                  </a:lnTo>
                  <a:lnTo>
                    <a:pt x="1238" y="1593"/>
                  </a:lnTo>
                  <a:lnTo>
                    <a:pt x="1240" y="1595"/>
                  </a:lnTo>
                  <a:lnTo>
                    <a:pt x="1241" y="1597"/>
                  </a:lnTo>
                  <a:lnTo>
                    <a:pt x="1242" y="1592"/>
                  </a:lnTo>
                  <a:lnTo>
                    <a:pt x="1242" y="1587"/>
                  </a:lnTo>
                  <a:lnTo>
                    <a:pt x="1243" y="1582"/>
                  </a:lnTo>
                  <a:lnTo>
                    <a:pt x="1247" y="1580"/>
                  </a:lnTo>
                  <a:lnTo>
                    <a:pt x="1251" y="1582"/>
                  </a:lnTo>
                  <a:lnTo>
                    <a:pt x="1258" y="1588"/>
                  </a:lnTo>
                  <a:lnTo>
                    <a:pt x="1260" y="1587"/>
                  </a:lnTo>
                  <a:lnTo>
                    <a:pt x="1260" y="1586"/>
                  </a:lnTo>
                  <a:lnTo>
                    <a:pt x="1261" y="1586"/>
                  </a:lnTo>
                  <a:lnTo>
                    <a:pt x="1262" y="1587"/>
                  </a:lnTo>
                  <a:lnTo>
                    <a:pt x="1262" y="1588"/>
                  </a:lnTo>
                  <a:lnTo>
                    <a:pt x="1264" y="1588"/>
                  </a:lnTo>
                  <a:lnTo>
                    <a:pt x="1264" y="1587"/>
                  </a:lnTo>
                  <a:lnTo>
                    <a:pt x="1264" y="1586"/>
                  </a:lnTo>
                  <a:lnTo>
                    <a:pt x="1265" y="1584"/>
                  </a:lnTo>
                  <a:lnTo>
                    <a:pt x="1265" y="1583"/>
                  </a:lnTo>
                  <a:lnTo>
                    <a:pt x="1265" y="1576"/>
                  </a:lnTo>
                  <a:lnTo>
                    <a:pt x="1266" y="1574"/>
                  </a:lnTo>
                  <a:lnTo>
                    <a:pt x="1267" y="1572"/>
                  </a:lnTo>
                  <a:lnTo>
                    <a:pt x="1269" y="1570"/>
                  </a:lnTo>
                  <a:lnTo>
                    <a:pt x="1270" y="1571"/>
                  </a:lnTo>
                  <a:lnTo>
                    <a:pt x="1271" y="1584"/>
                  </a:lnTo>
                  <a:lnTo>
                    <a:pt x="1271" y="1586"/>
                  </a:lnTo>
                  <a:lnTo>
                    <a:pt x="1281" y="1578"/>
                  </a:lnTo>
                  <a:lnTo>
                    <a:pt x="1290" y="1569"/>
                  </a:lnTo>
                  <a:lnTo>
                    <a:pt x="1307" y="1546"/>
                  </a:lnTo>
                  <a:lnTo>
                    <a:pt x="1327" y="1527"/>
                  </a:lnTo>
                  <a:lnTo>
                    <a:pt x="1329" y="1524"/>
                  </a:lnTo>
                  <a:lnTo>
                    <a:pt x="1332" y="1515"/>
                  </a:lnTo>
                  <a:lnTo>
                    <a:pt x="1333" y="1513"/>
                  </a:lnTo>
                  <a:lnTo>
                    <a:pt x="1335" y="1512"/>
                  </a:lnTo>
                  <a:lnTo>
                    <a:pt x="1338" y="1509"/>
                  </a:lnTo>
                  <a:lnTo>
                    <a:pt x="1341" y="1502"/>
                  </a:lnTo>
                  <a:lnTo>
                    <a:pt x="1352" y="1486"/>
                  </a:lnTo>
                  <a:lnTo>
                    <a:pt x="1357" y="1477"/>
                  </a:lnTo>
                  <a:lnTo>
                    <a:pt x="1358" y="1475"/>
                  </a:lnTo>
                  <a:lnTo>
                    <a:pt x="1358" y="1473"/>
                  </a:lnTo>
                  <a:lnTo>
                    <a:pt x="1356" y="1470"/>
                  </a:lnTo>
                  <a:lnTo>
                    <a:pt x="1353" y="1468"/>
                  </a:lnTo>
                  <a:lnTo>
                    <a:pt x="1352" y="1467"/>
                  </a:lnTo>
                  <a:lnTo>
                    <a:pt x="1354" y="1465"/>
                  </a:lnTo>
                  <a:lnTo>
                    <a:pt x="1362" y="1466"/>
                  </a:lnTo>
                  <a:lnTo>
                    <a:pt x="1365" y="1464"/>
                  </a:lnTo>
                  <a:lnTo>
                    <a:pt x="1371" y="1455"/>
                  </a:lnTo>
                  <a:lnTo>
                    <a:pt x="1372" y="1454"/>
                  </a:lnTo>
                  <a:lnTo>
                    <a:pt x="1373" y="1447"/>
                  </a:lnTo>
                  <a:lnTo>
                    <a:pt x="1374" y="1446"/>
                  </a:lnTo>
                  <a:lnTo>
                    <a:pt x="1374" y="1444"/>
                  </a:lnTo>
                  <a:lnTo>
                    <a:pt x="1374" y="1444"/>
                  </a:lnTo>
                  <a:lnTo>
                    <a:pt x="1375" y="1444"/>
                  </a:lnTo>
                  <a:lnTo>
                    <a:pt x="1374" y="1442"/>
                  </a:lnTo>
                  <a:lnTo>
                    <a:pt x="1373" y="1441"/>
                  </a:lnTo>
                  <a:lnTo>
                    <a:pt x="1373" y="1441"/>
                  </a:lnTo>
                  <a:lnTo>
                    <a:pt x="1372" y="1436"/>
                  </a:lnTo>
                  <a:lnTo>
                    <a:pt x="1369" y="1430"/>
                  </a:lnTo>
                  <a:lnTo>
                    <a:pt x="1369" y="1427"/>
                  </a:lnTo>
                  <a:lnTo>
                    <a:pt x="1370" y="1425"/>
                  </a:lnTo>
                  <a:lnTo>
                    <a:pt x="1374" y="1419"/>
                  </a:lnTo>
                  <a:lnTo>
                    <a:pt x="1376" y="1417"/>
                  </a:lnTo>
                  <a:lnTo>
                    <a:pt x="1378" y="1417"/>
                  </a:lnTo>
                  <a:lnTo>
                    <a:pt x="1384" y="1419"/>
                  </a:lnTo>
                  <a:lnTo>
                    <a:pt x="1386" y="1418"/>
                  </a:lnTo>
                  <a:lnTo>
                    <a:pt x="1396" y="1412"/>
                  </a:lnTo>
                  <a:lnTo>
                    <a:pt x="1398" y="1411"/>
                  </a:lnTo>
                  <a:lnTo>
                    <a:pt x="1399" y="1412"/>
                  </a:lnTo>
                  <a:lnTo>
                    <a:pt x="1401" y="1412"/>
                  </a:lnTo>
                  <a:lnTo>
                    <a:pt x="1404" y="1409"/>
                  </a:lnTo>
                  <a:lnTo>
                    <a:pt x="1406" y="1408"/>
                  </a:lnTo>
                  <a:lnTo>
                    <a:pt x="1409" y="1407"/>
                  </a:lnTo>
                  <a:lnTo>
                    <a:pt x="1416" y="1405"/>
                  </a:lnTo>
                  <a:lnTo>
                    <a:pt x="1424" y="1404"/>
                  </a:lnTo>
                  <a:lnTo>
                    <a:pt x="1433" y="1401"/>
                  </a:lnTo>
                  <a:lnTo>
                    <a:pt x="1437" y="1401"/>
                  </a:lnTo>
                  <a:lnTo>
                    <a:pt x="1448" y="1404"/>
                  </a:lnTo>
                  <a:lnTo>
                    <a:pt x="1451" y="1406"/>
                  </a:lnTo>
                  <a:lnTo>
                    <a:pt x="1452" y="1405"/>
                  </a:lnTo>
                  <a:lnTo>
                    <a:pt x="1454" y="1406"/>
                  </a:lnTo>
                  <a:lnTo>
                    <a:pt x="1459" y="1407"/>
                  </a:lnTo>
                  <a:lnTo>
                    <a:pt x="1461" y="1408"/>
                  </a:lnTo>
                  <a:lnTo>
                    <a:pt x="1463" y="1406"/>
                  </a:lnTo>
                  <a:lnTo>
                    <a:pt x="1470" y="1402"/>
                  </a:lnTo>
                  <a:lnTo>
                    <a:pt x="1473" y="1401"/>
                  </a:lnTo>
                  <a:lnTo>
                    <a:pt x="1475" y="1400"/>
                  </a:lnTo>
                  <a:lnTo>
                    <a:pt x="1481" y="1391"/>
                  </a:lnTo>
                  <a:lnTo>
                    <a:pt x="1483" y="1389"/>
                  </a:lnTo>
                  <a:lnTo>
                    <a:pt x="1483" y="1388"/>
                  </a:lnTo>
                  <a:lnTo>
                    <a:pt x="1487" y="1383"/>
                  </a:lnTo>
                  <a:lnTo>
                    <a:pt x="1488" y="1380"/>
                  </a:lnTo>
                  <a:lnTo>
                    <a:pt x="1487" y="1379"/>
                  </a:lnTo>
                  <a:lnTo>
                    <a:pt x="1482" y="1375"/>
                  </a:lnTo>
                  <a:lnTo>
                    <a:pt x="1481" y="1374"/>
                  </a:lnTo>
                  <a:lnTo>
                    <a:pt x="1480" y="1372"/>
                  </a:lnTo>
                  <a:lnTo>
                    <a:pt x="1479" y="1369"/>
                  </a:lnTo>
                  <a:lnTo>
                    <a:pt x="1479" y="1368"/>
                  </a:lnTo>
                  <a:lnTo>
                    <a:pt x="1477" y="1362"/>
                  </a:lnTo>
                  <a:lnTo>
                    <a:pt x="1480" y="1363"/>
                  </a:lnTo>
                  <a:lnTo>
                    <a:pt x="1482" y="1366"/>
                  </a:lnTo>
                  <a:lnTo>
                    <a:pt x="1484" y="1371"/>
                  </a:lnTo>
                  <a:lnTo>
                    <a:pt x="1486" y="1373"/>
                  </a:lnTo>
                  <a:lnTo>
                    <a:pt x="1488" y="1375"/>
                  </a:lnTo>
                  <a:lnTo>
                    <a:pt x="1490" y="1374"/>
                  </a:lnTo>
                  <a:lnTo>
                    <a:pt x="1490" y="1373"/>
                  </a:lnTo>
                  <a:lnTo>
                    <a:pt x="1491" y="1373"/>
                  </a:lnTo>
                  <a:lnTo>
                    <a:pt x="1494" y="1368"/>
                  </a:lnTo>
                  <a:lnTo>
                    <a:pt x="1495" y="1366"/>
                  </a:lnTo>
                  <a:lnTo>
                    <a:pt x="1496" y="1366"/>
                  </a:lnTo>
                  <a:lnTo>
                    <a:pt x="1499" y="1364"/>
                  </a:lnTo>
                  <a:lnTo>
                    <a:pt x="1500" y="1363"/>
                  </a:lnTo>
                  <a:lnTo>
                    <a:pt x="1501" y="1361"/>
                  </a:lnTo>
                  <a:lnTo>
                    <a:pt x="1502" y="1357"/>
                  </a:lnTo>
                  <a:lnTo>
                    <a:pt x="1504" y="1356"/>
                  </a:lnTo>
                  <a:lnTo>
                    <a:pt x="1506" y="1359"/>
                  </a:lnTo>
                  <a:lnTo>
                    <a:pt x="1498" y="1370"/>
                  </a:lnTo>
                  <a:lnTo>
                    <a:pt x="1496" y="1371"/>
                  </a:lnTo>
                  <a:lnTo>
                    <a:pt x="1496" y="1374"/>
                  </a:lnTo>
                  <a:lnTo>
                    <a:pt x="1494" y="1379"/>
                  </a:lnTo>
                  <a:lnTo>
                    <a:pt x="1485" y="1394"/>
                  </a:lnTo>
                  <a:lnTo>
                    <a:pt x="1484" y="1397"/>
                  </a:lnTo>
                  <a:lnTo>
                    <a:pt x="1484" y="1401"/>
                  </a:lnTo>
                  <a:lnTo>
                    <a:pt x="1486" y="1401"/>
                  </a:lnTo>
                  <a:lnTo>
                    <a:pt x="1487" y="1402"/>
                  </a:lnTo>
                  <a:lnTo>
                    <a:pt x="1491" y="1401"/>
                  </a:lnTo>
                  <a:lnTo>
                    <a:pt x="1492" y="1402"/>
                  </a:lnTo>
                  <a:lnTo>
                    <a:pt x="1494" y="1404"/>
                  </a:lnTo>
                  <a:lnTo>
                    <a:pt x="1496" y="1405"/>
                  </a:lnTo>
                  <a:lnTo>
                    <a:pt x="1499" y="1404"/>
                  </a:lnTo>
                  <a:lnTo>
                    <a:pt x="1501" y="1401"/>
                  </a:lnTo>
                  <a:lnTo>
                    <a:pt x="1502" y="1398"/>
                  </a:lnTo>
                  <a:lnTo>
                    <a:pt x="1505" y="1397"/>
                  </a:lnTo>
                  <a:lnTo>
                    <a:pt x="1514" y="1396"/>
                  </a:lnTo>
                  <a:lnTo>
                    <a:pt x="1530" y="1402"/>
                  </a:lnTo>
                  <a:lnTo>
                    <a:pt x="1537" y="1403"/>
                  </a:lnTo>
                  <a:lnTo>
                    <a:pt x="1544" y="1401"/>
                  </a:lnTo>
                  <a:lnTo>
                    <a:pt x="1545" y="1400"/>
                  </a:lnTo>
                  <a:lnTo>
                    <a:pt x="1549" y="1398"/>
                  </a:lnTo>
                  <a:lnTo>
                    <a:pt x="1550" y="1397"/>
                  </a:lnTo>
                  <a:lnTo>
                    <a:pt x="1551" y="1394"/>
                  </a:lnTo>
                  <a:lnTo>
                    <a:pt x="1551" y="1392"/>
                  </a:lnTo>
                  <a:lnTo>
                    <a:pt x="1550" y="1390"/>
                  </a:lnTo>
                  <a:lnTo>
                    <a:pt x="1550" y="1386"/>
                  </a:lnTo>
                  <a:lnTo>
                    <a:pt x="1551" y="1376"/>
                  </a:lnTo>
                  <a:lnTo>
                    <a:pt x="1550" y="1375"/>
                  </a:lnTo>
                  <a:lnTo>
                    <a:pt x="1545" y="1366"/>
                  </a:lnTo>
                  <a:lnTo>
                    <a:pt x="1545" y="1361"/>
                  </a:lnTo>
                  <a:lnTo>
                    <a:pt x="1547" y="1356"/>
                  </a:lnTo>
                  <a:lnTo>
                    <a:pt x="1550" y="1352"/>
                  </a:lnTo>
                  <a:lnTo>
                    <a:pt x="1554" y="1351"/>
                  </a:lnTo>
                  <a:lnTo>
                    <a:pt x="1557" y="1348"/>
                  </a:lnTo>
                  <a:lnTo>
                    <a:pt x="1560" y="1342"/>
                  </a:lnTo>
                  <a:lnTo>
                    <a:pt x="1562" y="1335"/>
                  </a:lnTo>
                  <a:lnTo>
                    <a:pt x="1561" y="1330"/>
                  </a:lnTo>
                  <a:lnTo>
                    <a:pt x="1558" y="1332"/>
                  </a:lnTo>
                  <a:lnTo>
                    <a:pt x="1554" y="1333"/>
                  </a:lnTo>
                  <a:lnTo>
                    <a:pt x="1551" y="1333"/>
                  </a:lnTo>
                  <a:lnTo>
                    <a:pt x="1550" y="1329"/>
                  </a:lnTo>
                  <a:lnTo>
                    <a:pt x="1551" y="1325"/>
                  </a:lnTo>
                  <a:lnTo>
                    <a:pt x="1553" y="1321"/>
                  </a:lnTo>
                  <a:lnTo>
                    <a:pt x="1558" y="1316"/>
                  </a:lnTo>
                  <a:lnTo>
                    <a:pt x="1552" y="1315"/>
                  </a:lnTo>
                  <a:lnTo>
                    <a:pt x="1545" y="1316"/>
                  </a:lnTo>
                  <a:lnTo>
                    <a:pt x="1540" y="1314"/>
                  </a:lnTo>
                  <a:lnTo>
                    <a:pt x="1541" y="1303"/>
                  </a:lnTo>
                  <a:lnTo>
                    <a:pt x="1543" y="1302"/>
                  </a:lnTo>
                  <a:lnTo>
                    <a:pt x="1545" y="1298"/>
                  </a:lnTo>
                  <a:lnTo>
                    <a:pt x="1546" y="1294"/>
                  </a:lnTo>
                  <a:lnTo>
                    <a:pt x="1544" y="1292"/>
                  </a:lnTo>
                  <a:lnTo>
                    <a:pt x="1543" y="1292"/>
                  </a:lnTo>
                  <a:lnTo>
                    <a:pt x="1542" y="1290"/>
                  </a:lnTo>
                  <a:lnTo>
                    <a:pt x="1541" y="1289"/>
                  </a:lnTo>
                  <a:lnTo>
                    <a:pt x="1537" y="1288"/>
                  </a:lnTo>
                  <a:lnTo>
                    <a:pt x="1537" y="1287"/>
                  </a:lnTo>
                  <a:lnTo>
                    <a:pt x="1537" y="1273"/>
                  </a:lnTo>
                  <a:lnTo>
                    <a:pt x="1535" y="1271"/>
                  </a:lnTo>
                  <a:lnTo>
                    <a:pt x="1528" y="1269"/>
                  </a:lnTo>
                  <a:lnTo>
                    <a:pt x="1525" y="1267"/>
                  </a:lnTo>
                  <a:lnTo>
                    <a:pt x="1523" y="1264"/>
                  </a:lnTo>
                  <a:lnTo>
                    <a:pt x="1522" y="1262"/>
                  </a:lnTo>
                  <a:lnTo>
                    <a:pt x="1522" y="1260"/>
                  </a:lnTo>
                  <a:lnTo>
                    <a:pt x="1525" y="1256"/>
                  </a:lnTo>
                  <a:lnTo>
                    <a:pt x="1525" y="1255"/>
                  </a:lnTo>
                  <a:lnTo>
                    <a:pt x="1527" y="1256"/>
                  </a:lnTo>
                  <a:lnTo>
                    <a:pt x="1527" y="1258"/>
                  </a:lnTo>
                  <a:lnTo>
                    <a:pt x="1526" y="1263"/>
                  </a:lnTo>
                  <a:lnTo>
                    <a:pt x="1528" y="1265"/>
                  </a:lnTo>
                  <a:lnTo>
                    <a:pt x="1537" y="1270"/>
                  </a:lnTo>
                  <a:lnTo>
                    <a:pt x="1539" y="1272"/>
                  </a:lnTo>
                  <a:lnTo>
                    <a:pt x="1540" y="1274"/>
                  </a:lnTo>
                  <a:lnTo>
                    <a:pt x="1540" y="1277"/>
                  </a:lnTo>
                  <a:lnTo>
                    <a:pt x="1540" y="1281"/>
                  </a:lnTo>
                  <a:lnTo>
                    <a:pt x="1541" y="1284"/>
                  </a:lnTo>
                  <a:lnTo>
                    <a:pt x="1543" y="1286"/>
                  </a:lnTo>
                  <a:lnTo>
                    <a:pt x="1545" y="1286"/>
                  </a:lnTo>
                  <a:lnTo>
                    <a:pt x="1547" y="1288"/>
                  </a:lnTo>
                  <a:lnTo>
                    <a:pt x="1550" y="1294"/>
                  </a:lnTo>
                  <a:lnTo>
                    <a:pt x="1549" y="1300"/>
                  </a:lnTo>
                  <a:lnTo>
                    <a:pt x="1545" y="1310"/>
                  </a:lnTo>
                  <a:lnTo>
                    <a:pt x="1547" y="1312"/>
                  </a:lnTo>
                  <a:lnTo>
                    <a:pt x="1550" y="1312"/>
                  </a:lnTo>
                  <a:lnTo>
                    <a:pt x="1557" y="1311"/>
                  </a:lnTo>
                  <a:lnTo>
                    <a:pt x="1561" y="1312"/>
                  </a:lnTo>
                  <a:lnTo>
                    <a:pt x="1562" y="1313"/>
                  </a:lnTo>
                  <a:lnTo>
                    <a:pt x="1561" y="1316"/>
                  </a:lnTo>
                  <a:lnTo>
                    <a:pt x="1556" y="1323"/>
                  </a:lnTo>
                  <a:lnTo>
                    <a:pt x="1556" y="1326"/>
                  </a:lnTo>
                  <a:lnTo>
                    <a:pt x="1557" y="1328"/>
                  </a:lnTo>
                  <a:lnTo>
                    <a:pt x="1565" y="1329"/>
                  </a:lnTo>
                  <a:lnTo>
                    <a:pt x="1567" y="1332"/>
                  </a:lnTo>
                  <a:lnTo>
                    <a:pt x="1567" y="1335"/>
                  </a:lnTo>
                  <a:lnTo>
                    <a:pt x="1566" y="1340"/>
                  </a:lnTo>
                  <a:lnTo>
                    <a:pt x="1563" y="1348"/>
                  </a:lnTo>
                  <a:lnTo>
                    <a:pt x="1559" y="1355"/>
                  </a:lnTo>
                  <a:lnTo>
                    <a:pt x="1556" y="1362"/>
                  </a:lnTo>
                  <a:lnTo>
                    <a:pt x="1556" y="1371"/>
                  </a:lnTo>
                  <a:lnTo>
                    <a:pt x="1558" y="1376"/>
                  </a:lnTo>
                  <a:lnTo>
                    <a:pt x="1560" y="1379"/>
                  </a:lnTo>
                  <a:lnTo>
                    <a:pt x="1561" y="1382"/>
                  </a:lnTo>
                  <a:lnTo>
                    <a:pt x="1562" y="1386"/>
                  </a:lnTo>
                  <a:lnTo>
                    <a:pt x="1563" y="1390"/>
                  </a:lnTo>
                  <a:lnTo>
                    <a:pt x="1565" y="1395"/>
                  </a:lnTo>
                  <a:lnTo>
                    <a:pt x="1567" y="1399"/>
                  </a:lnTo>
                  <a:lnTo>
                    <a:pt x="1570" y="1401"/>
                  </a:lnTo>
                  <a:lnTo>
                    <a:pt x="1572" y="1403"/>
                  </a:lnTo>
                  <a:lnTo>
                    <a:pt x="1582" y="1405"/>
                  </a:lnTo>
                  <a:lnTo>
                    <a:pt x="1585" y="1406"/>
                  </a:lnTo>
                  <a:lnTo>
                    <a:pt x="1587" y="1415"/>
                  </a:lnTo>
                  <a:lnTo>
                    <a:pt x="1589" y="1417"/>
                  </a:lnTo>
                  <a:lnTo>
                    <a:pt x="1593" y="1413"/>
                  </a:lnTo>
                  <a:lnTo>
                    <a:pt x="1595" y="1412"/>
                  </a:lnTo>
                  <a:lnTo>
                    <a:pt x="1598" y="1411"/>
                  </a:lnTo>
                  <a:lnTo>
                    <a:pt x="1599" y="1411"/>
                  </a:lnTo>
                  <a:lnTo>
                    <a:pt x="1601" y="1410"/>
                  </a:lnTo>
                  <a:lnTo>
                    <a:pt x="1604" y="1407"/>
                  </a:lnTo>
                  <a:lnTo>
                    <a:pt x="1605" y="1406"/>
                  </a:lnTo>
                  <a:lnTo>
                    <a:pt x="1606" y="1407"/>
                  </a:lnTo>
                  <a:lnTo>
                    <a:pt x="1609" y="1411"/>
                  </a:lnTo>
                  <a:lnTo>
                    <a:pt x="1619" y="1417"/>
                  </a:lnTo>
                  <a:lnTo>
                    <a:pt x="1631" y="1415"/>
                  </a:lnTo>
                  <a:lnTo>
                    <a:pt x="1652" y="1403"/>
                  </a:lnTo>
                  <a:lnTo>
                    <a:pt x="1656" y="1404"/>
                  </a:lnTo>
                  <a:lnTo>
                    <a:pt x="1660" y="1402"/>
                  </a:lnTo>
                  <a:lnTo>
                    <a:pt x="1665" y="1399"/>
                  </a:lnTo>
                  <a:lnTo>
                    <a:pt x="1668" y="1397"/>
                  </a:lnTo>
                  <a:lnTo>
                    <a:pt x="1667" y="1400"/>
                  </a:lnTo>
                  <a:lnTo>
                    <a:pt x="1664" y="1403"/>
                  </a:lnTo>
                  <a:lnTo>
                    <a:pt x="1662" y="1405"/>
                  </a:lnTo>
                  <a:lnTo>
                    <a:pt x="1659" y="1407"/>
                  </a:lnTo>
                  <a:lnTo>
                    <a:pt x="1657" y="1409"/>
                  </a:lnTo>
                  <a:lnTo>
                    <a:pt x="1649" y="1410"/>
                  </a:lnTo>
                  <a:lnTo>
                    <a:pt x="1646" y="1412"/>
                  </a:lnTo>
                  <a:lnTo>
                    <a:pt x="1635" y="1421"/>
                  </a:lnTo>
                  <a:lnTo>
                    <a:pt x="1631" y="1427"/>
                  </a:lnTo>
                  <a:lnTo>
                    <a:pt x="1634" y="1431"/>
                  </a:lnTo>
                  <a:lnTo>
                    <a:pt x="1629" y="1436"/>
                  </a:lnTo>
                  <a:lnTo>
                    <a:pt x="1624" y="1439"/>
                  </a:lnTo>
                  <a:lnTo>
                    <a:pt x="1616" y="1439"/>
                  </a:lnTo>
                  <a:lnTo>
                    <a:pt x="1610" y="1438"/>
                  </a:lnTo>
                  <a:lnTo>
                    <a:pt x="1601" y="1432"/>
                  </a:lnTo>
                  <a:lnTo>
                    <a:pt x="1584" y="1428"/>
                  </a:lnTo>
                  <a:lnTo>
                    <a:pt x="1580" y="1428"/>
                  </a:lnTo>
                  <a:lnTo>
                    <a:pt x="1571" y="1430"/>
                  </a:lnTo>
                  <a:lnTo>
                    <a:pt x="1558" y="1427"/>
                  </a:lnTo>
                  <a:lnTo>
                    <a:pt x="1544" y="1427"/>
                  </a:lnTo>
                  <a:lnTo>
                    <a:pt x="1542" y="1426"/>
                  </a:lnTo>
                  <a:lnTo>
                    <a:pt x="1542" y="1426"/>
                  </a:lnTo>
                  <a:lnTo>
                    <a:pt x="1533" y="1420"/>
                  </a:lnTo>
                  <a:lnTo>
                    <a:pt x="1527" y="1419"/>
                  </a:lnTo>
                  <a:lnTo>
                    <a:pt x="1500" y="1421"/>
                  </a:lnTo>
                  <a:lnTo>
                    <a:pt x="1497" y="1420"/>
                  </a:lnTo>
                  <a:lnTo>
                    <a:pt x="1493" y="1415"/>
                  </a:lnTo>
                  <a:lnTo>
                    <a:pt x="1488" y="1411"/>
                  </a:lnTo>
                  <a:lnTo>
                    <a:pt x="1491" y="1416"/>
                  </a:lnTo>
                  <a:lnTo>
                    <a:pt x="1509" y="1435"/>
                  </a:lnTo>
                  <a:lnTo>
                    <a:pt x="1511" y="1436"/>
                  </a:lnTo>
                  <a:lnTo>
                    <a:pt x="1513" y="1438"/>
                  </a:lnTo>
                  <a:lnTo>
                    <a:pt x="1516" y="1447"/>
                  </a:lnTo>
                  <a:lnTo>
                    <a:pt x="1516" y="1440"/>
                  </a:lnTo>
                  <a:lnTo>
                    <a:pt x="1516" y="1438"/>
                  </a:lnTo>
                  <a:lnTo>
                    <a:pt x="1517" y="1436"/>
                  </a:lnTo>
                  <a:lnTo>
                    <a:pt x="1518" y="1435"/>
                  </a:lnTo>
                  <a:lnTo>
                    <a:pt x="1520" y="1432"/>
                  </a:lnTo>
                  <a:lnTo>
                    <a:pt x="1523" y="1431"/>
                  </a:lnTo>
                  <a:lnTo>
                    <a:pt x="1526" y="1431"/>
                  </a:lnTo>
                  <a:lnTo>
                    <a:pt x="1530" y="1432"/>
                  </a:lnTo>
                  <a:lnTo>
                    <a:pt x="1552" y="1441"/>
                  </a:lnTo>
                  <a:lnTo>
                    <a:pt x="1559" y="1442"/>
                  </a:lnTo>
                  <a:lnTo>
                    <a:pt x="1565" y="1442"/>
                  </a:lnTo>
                  <a:lnTo>
                    <a:pt x="1567" y="1443"/>
                  </a:lnTo>
                  <a:lnTo>
                    <a:pt x="1575" y="1453"/>
                  </a:lnTo>
                  <a:lnTo>
                    <a:pt x="1576" y="1455"/>
                  </a:lnTo>
                  <a:lnTo>
                    <a:pt x="1575" y="1456"/>
                  </a:lnTo>
                  <a:lnTo>
                    <a:pt x="1573" y="1456"/>
                  </a:lnTo>
                  <a:lnTo>
                    <a:pt x="1571" y="1457"/>
                  </a:lnTo>
                  <a:lnTo>
                    <a:pt x="1562" y="1464"/>
                  </a:lnTo>
                  <a:lnTo>
                    <a:pt x="1561" y="1465"/>
                  </a:lnTo>
                  <a:lnTo>
                    <a:pt x="1549" y="1468"/>
                  </a:lnTo>
                  <a:lnTo>
                    <a:pt x="1540" y="1466"/>
                  </a:lnTo>
                  <a:lnTo>
                    <a:pt x="1537" y="1466"/>
                  </a:lnTo>
                  <a:lnTo>
                    <a:pt x="1534" y="1467"/>
                  </a:lnTo>
                  <a:lnTo>
                    <a:pt x="1531" y="1470"/>
                  </a:lnTo>
                  <a:lnTo>
                    <a:pt x="1529" y="1473"/>
                  </a:lnTo>
                  <a:lnTo>
                    <a:pt x="1530" y="1476"/>
                  </a:lnTo>
                  <a:lnTo>
                    <a:pt x="1532" y="1479"/>
                  </a:lnTo>
                  <a:lnTo>
                    <a:pt x="1535" y="1480"/>
                  </a:lnTo>
                  <a:lnTo>
                    <a:pt x="1537" y="1481"/>
                  </a:lnTo>
                  <a:lnTo>
                    <a:pt x="1547" y="1482"/>
                  </a:lnTo>
                  <a:lnTo>
                    <a:pt x="1549" y="1481"/>
                  </a:lnTo>
                  <a:lnTo>
                    <a:pt x="1548" y="1478"/>
                  </a:lnTo>
                  <a:lnTo>
                    <a:pt x="1548" y="1475"/>
                  </a:lnTo>
                  <a:lnTo>
                    <a:pt x="1548" y="1473"/>
                  </a:lnTo>
                  <a:lnTo>
                    <a:pt x="1561" y="1483"/>
                  </a:lnTo>
                  <a:lnTo>
                    <a:pt x="1569" y="1487"/>
                  </a:lnTo>
                  <a:lnTo>
                    <a:pt x="1574" y="1485"/>
                  </a:lnTo>
                  <a:lnTo>
                    <a:pt x="1578" y="1488"/>
                  </a:lnTo>
                  <a:lnTo>
                    <a:pt x="1585" y="1497"/>
                  </a:lnTo>
                  <a:lnTo>
                    <a:pt x="1586" y="1498"/>
                  </a:lnTo>
                  <a:lnTo>
                    <a:pt x="1589" y="1498"/>
                  </a:lnTo>
                  <a:lnTo>
                    <a:pt x="1596" y="1501"/>
                  </a:lnTo>
                  <a:lnTo>
                    <a:pt x="1600" y="1502"/>
                  </a:lnTo>
                  <a:lnTo>
                    <a:pt x="1604" y="1501"/>
                  </a:lnTo>
                  <a:lnTo>
                    <a:pt x="1609" y="1499"/>
                  </a:lnTo>
                  <a:lnTo>
                    <a:pt x="1609" y="1501"/>
                  </a:lnTo>
                  <a:lnTo>
                    <a:pt x="1608" y="1503"/>
                  </a:lnTo>
                  <a:lnTo>
                    <a:pt x="1604" y="1505"/>
                  </a:lnTo>
                  <a:lnTo>
                    <a:pt x="1605" y="1507"/>
                  </a:lnTo>
                  <a:lnTo>
                    <a:pt x="1606" y="1510"/>
                  </a:lnTo>
                  <a:lnTo>
                    <a:pt x="1607" y="1512"/>
                  </a:lnTo>
                  <a:lnTo>
                    <a:pt x="1607" y="1513"/>
                  </a:lnTo>
                  <a:lnTo>
                    <a:pt x="1607" y="1515"/>
                  </a:lnTo>
                  <a:lnTo>
                    <a:pt x="1608" y="1516"/>
                  </a:lnTo>
                  <a:lnTo>
                    <a:pt x="1609" y="1517"/>
                  </a:lnTo>
                  <a:lnTo>
                    <a:pt x="1611" y="1517"/>
                  </a:lnTo>
                  <a:lnTo>
                    <a:pt x="1614" y="1519"/>
                  </a:lnTo>
                  <a:lnTo>
                    <a:pt x="1646" y="1528"/>
                  </a:lnTo>
                  <a:lnTo>
                    <a:pt x="1652" y="1527"/>
                  </a:lnTo>
                  <a:lnTo>
                    <a:pt x="1653" y="1526"/>
                  </a:lnTo>
                  <a:lnTo>
                    <a:pt x="1656" y="1523"/>
                  </a:lnTo>
                  <a:lnTo>
                    <a:pt x="1658" y="1522"/>
                  </a:lnTo>
                  <a:lnTo>
                    <a:pt x="1659" y="1522"/>
                  </a:lnTo>
                  <a:lnTo>
                    <a:pt x="1679" y="1518"/>
                  </a:lnTo>
                  <a:lnTo>
                    <a:pt x="1685" y="1515"/>
                  </a:lnTo>
                  <a:lnTo>
                    <a:pt x="1688" y="1515"/>
                  </a:lnTo>
                  <a:lnTo>
                    <a:pt x="1692" y="1515"/>
                  </a:lnTo>
                  <a:lnTo>
                    <a:pt x="1700" y="1518"/>
                  </a:lnTo>
                  <a:lnTo>
                    <a:pt x="1702" y="1518"/>
                  </a:lnTo>
                  <a:lnTo>
                    <a:pt x="1705" y="1518"/>
                  </a:lnTo>
                  <a:lnTo>
                    <a:pt x="1706" y="1518"/>
                  </a:lnTo>
                  <a:lnTo>
                    <a:pt x="1707" y="1519"/>
                  </a:lnTo>
                  <a:lnTo>
                    <a:pt x="1709" y="1519"/>
                  </a:lnTo>
                  <a:lnTo>
                    <a:pt x="1711" y="1519"/>
                  </a:lnTo>
                  <a:lnTo>
                    <a:pt x="1728" y="1516"/>
                  </a:lnTo>
                  <a:lnTo>
                    <a:pt x="1730" y="1513"/>
                  </a:lnTo>
                  <a:lnTo>
                    <a:pt x="1728" y="1507"/>
                  </a:lnTo>
                  <a:lnTo>
                    <a:pt x="1738" y="1512"/>
                  </a:lnTo>
                  <a:lnTo>
                    <a:pt x="1741" y="1514"/>
                  </a:lnTo>
                  <a:lnTo>
                    <a:pt x="1743" y="1515"/>
                  </a:lnTo>
                  <a:lnTo>
                    <a:pt x="1744" y="1514"/>
                  </a:lnTo>
                  <a:lnTo>
                    <a:pt x="1746" y="1513"/>
                  </a:lnTo>
                  <a:lnTo>
                    <a:pt x="1747" y="1513"/>
                  </a:lnTo>
                  <a:lnTo>
                    <a:pt x="1753" y="1511"/>
                  </a:lnTo>
                  <a:lnTo>
                    <a:pt x="1756" y="1505"/>
                  </a:lnTo>
                  <a:lnTo>
                    <a:pt x="1758" y="1498"/>
                  </a:lnTo>
                  <a:lnTo>
                    <a:pt x="1762" y="1494"/>
                  </a:lnTo>
                  <a:lnTo>
                    <a:pt x="1760" y="1510"/>
                  </a:lnTo>
                  <a:lnTo>
                    <a:pt x="1760" y="1513"/>
                  </a:lnTo>
                  <a:lnTo>
                    <a:pt x="1759" y="1516"/>
                  </a:lnTo>
                  <a:lnTo>
                    <a:pt x="1771" y="1515"/>
                  </a:lnTo>
                  <a:lnTo>
                    <a:pt x="1775" y="1516"/>
                  </a:lnTo>
                  <a:lnTo>
                    <a:pt x="1775" y="1518"/>
                  </a:lnTo>
                  <a:lnTo>
                    <a:pt x="1774" y="1521"/>
                  </a:lnTo>
                  <a:lnTo>
                    <a:pt x="1771" y="1524"/>
                  </a:lnTo>
                  <a:lnTo>
                    <a:pt x="1772" y="1524"/>
                  </a:lnTo>
                  <a:lnTo>
                    <a:pt x="1773" y="1524"/>
                  </a:lnTo>
                  <a:lnTo>
                    <a:pt x="1773" y="1524"/>
                  </a:lnTo>
                  <a:lnTo>
                    <a:pt x="1774" y="1526"/>
                  </a:lnTo>
                  <a:lnTo>
                    <a:pt x="1777" y="1521"/>
                  </a:lnTo>
                  <a:lnTo>
                    <a:pt x="1782" y="1522"/>
                  </a:lnTo>
                  <a:lnTo>
                    <a:pt x="1786" y="1526"/>
                  </a:lnTo>
                  <a:lnTo>
                    <a:pt x="1791" y="1532"/>
                  </a:lnTo>
                  <a:lnTo>
                    <a:pt x="1792" y="1533"/>
                  </a:lnTo>
                  <a:lnTo>
                    <a:pt x="1802" y="1533"/>
                  </a:lnTo>
                  <a:lnTo>
                    <a:pt x="1805" y="1535"/>
                  </a:lnTo>
                  <a:lnTo>
                    <a:pt x="1807" y="1535"/>
                  </a:lnTo>
                  <a:lnTo>
                    <a:pt x="1804" y="1530"/>
                  </a:lnTo>
                  <a:lnTo>
                    <a:pt x="1805" y="1527"/>
                  </a:lnTo>
                  <a:lnTo>
                    <a:pt x="1809" y="1526"/>
                  </a:lnTo>
                  <a:lnTo>
                    <a:pt x="1813" y="1526"/>
                  </a:lnTo>
                  <a:lnTo>
                    <a:pt x="1813" y="1524"/>
                  </a:lnTo>
                  <a:lnTo>
                    <a:pt x="1809" y="1521"/>
                  </a:lnTo>
                  <a:lnTo>
                    <a:pt x="1809" y="1518"/>
                  </a:lnTo>
                  <a:lnTo>
                    <a:pt x="1812" y="1514"/>
                  </a:lnTo>
                  <a:lnTo>
                    <a:pt x="1815" y="1512"/>
                  </a:lnTo>
                  <a:lnTo>
                    <a:pt x="1819" y="1510"/>
                  </a:lnTo>
                  <a:lnTo>
                    <a:pt x="1822" y="1513"/>
                  </a:lnTo>
                  <a:lnTo>
                    <a:pt x="1827" y="1522"/>
                  </a:lnTo>
                  <a:lnTo>
                    <a:pt x="1828" y="1525"/>
                  </a:lnTo>
                  <a:lnTo>
                    <a:pt x="1826" y="1528"/>
                  </a:lnTo>
                  <a:lnTo>
                    <a:pt x="1824" y="1530"/>
                  </a:lnTo>
                  <a:lnTo>
                    <a:pt x="1825" y="1532"/>
                  </a:lnTo>
                  <a:lnTo>
                    <a:pt x="1827" y="1541"/>
                  </a:lnTo>
                  <a:lnTo>
                    <a:pt x="1827" y="1542"/>
                  </a:lnTo>
                  <a:lnTo>
                    <a:pt x="1826" y="1544"/>
                  </a:lnTo>
                  <a:lnTo>
                    <a:pt x="1825" y="1546"/>
                  </a:lnTo>
                  <a:lnTo>
                    <a:pt x="1825" y="1548"/>
                  </a:lnTo>
                  <a:lnTo>
                    <a:pt x="1827" y="1549"/>
                  </a:lnTo>
                  <a:lnTo>
                    <a:pt x="1828" y="1550"/>
                  </a:lnTo>
                  <a:lnTo>
                    <a:pt x="1826" y="1553"/>
                  </a:lnTo>
                  <a:lnTo>
                    <a:pt x="1823" y="1557"/>
                  </a:lnTo>
                  <a:lnTo>
                    <a:pt x="1825" y="1558"/>
                  </a:lnTo>
                  <a:lnTo>
                    <a:pt x="1826" y="1557"/>
                  </a:lnTo>
                  <a:lnTo>
                    <a:pt x="1827" y="1556"/>
                  </a:lnTo>
                  <a:lnTo>
                    <a:pt x="1829" y="1555"/>
                  </a:lnTo>
                  <a:lnTo>
                    <a:pt x="1833" y="1555"/>
                  </a:lnTo>
                  <a:lnTo>
                    <a:pt x="1842" y="1557"/>
                  </a:lnTo>
                  <a:lnTo>
                    <a:pt x="1845" y="1559"/>
                  </a:lnTo>
                  <a:lnTo>
                    <a:pt x="1848" y="1561"/>
                  </a:lnTo>
                  <a:lnTo>
                    <a:pt x="1845" y="1563"/>
                  </a:lnTo>
                  <a:lnTo>
                    <a:pt x="1840" y="1565"/>
                  </a:lnTo>
                  <a:lnTo>
                    <a:pt x="1837" y="1566"/>
                  </a:lnTo>
                  <a:lnTo>
                    <a:pt x="1835" y="1565"/>
                  </a:lnTo>
                  <a:lnTo>
                    <a:pt x="1834" y="1569"/>
                  </a:lnTo>
                  <a:lnTo>
                    <a:pt x="1835" y="1575"/>
                  </a:lnTo>
                  <a:lnTo>
                    <a:pt x="1834" y="1577"/>
                  </a:lnTo>
                  <a:lnTo>
                    <a:pt x="1831" y="1578"/>
                  </a:lnTo>
                  <a:lnTo>
                    <a:pt x="1829" y="1577"/>
                  </a:lnTo>
                  <a:lnTo>
                    <a:pt x="1829" y="1576"/>
                  </a:lnTo>
                  <a:lnTo>
                    <a:pt x="1828" y="1575"/>
                  </a:lnTo>
                  <a:lnTo>
                    <a:pt x="1827" y="1574"/>
                  </a:lnTo>
                  <a:lnTo>
                    <a:pt x="1825" y="1573"/>
                  </a:lnTo>
                  <a:lnTo>
                    <a:pt x="1823" y="1572"/>
                  </a:lnTo>
                  <a:lnTo>
                    <a:pt x="1822" y="1573"/>
                  </a:lnTo>
                  <a:lnTo>
                    <a:pt x="1820" y="1573"/>
                  </a:lnTo>
                  <a:lnTo>
                    <a:pt x="1817" y="1576"/>
                  </a:lnTo>
                  <a:lnTo>
                    <a:pt x="1813" y="1580"/>
                  </a:lnTo>
                  <a:lnTo>
                    <a:pt x="1809" y="1581"/>
                  </a:lnTo>
                  <a:lnTo>
                    <a:pt x="1807" y="1582"/>
                  </a:lnTo>
                  <a:lnTo>
                    <a:pt x="1805" y="1581"/>
                  </a:lnTo>
                  <a:lnTo>
                    <a:pt x="1803" y="1579"/>
                  </a:lnTo>
                  <a:lnTo>
                    <a:pt x="1801" y="1579"/>
                  </a:lnTo>
                  <a:lnTo>
                    <a:pt x="1799" y="1580"/>
                  </a:lnTo>
                  <a:lnTo>
                    <a:pt x="1792" y="1584"/>
                  </a:lnTo>
                  <a:lnTo>
                    <a:pt x="1790" y="1585"/>
                  </a:lnTo>
                  <a:lnTo>
                    <a:pt x="1785" y="1590"/>
                  </a:lnTo>
                  <a:lnTo>
                    <a:pt x="1784" y="1592"/>
                  </a:lnTo>
                  <a:lnTo>
                    <a:pt x="1779" y="1594"/>
                  </a:lnTo>
                  <a:lnTo>
                    <a:pt x="1767" y="1601"/>
                  </a:lnTo>
                  <a:lnTo>
                    <a:pt x="1761" y="1602"/>
                  </a:lnTo>
                  <a:lnTo>
                    <a:pt x="1756" y="1599"/>
                  </a:lnTo>
                  <a:lnTo>
                    <a:pt x="1753" y="1596"/>
                  </a:lnTo>
                  <a:lnTo>
                    <a:pt x="1752" y="1595"/>
                  </a:lnTo>
                  <a:lnTo>
                    <a:pt x="1750" y="1596"/>
                  </a:lnTo>
                  <a:lnTo>
                    <a:pt x="1750" y="1598"/>
                  </a:lnTo>
                  <a:lnTo>
                    <a:pt x="1751" y="1600"/>
                  </a:lnTo>
                  <a:lnTo>
                    <a:pt x="1753" y="1600"/>
                  </a:lnTo>
                  <a:lnTo>
                    <a:pt x="1754" y="1601"/>
                  </a:lnTo>
                  <a:lnTo>
                    <a:pt x="1753" y="1604"/>
                  </a:lnTo>
                  <a:lnTo>
                    <a:pt x="1751" y="1605"/>
                  </a:lnTo>
                  <a:lnTo>
                    <a:pt x="1715" y="1622"/>
                  </a:lnTo>
                  <a:lnTo>
                    <a:pt x="1704" y="1630"/>
                  </a:lnTo>
                  <a:lnTo>
                    <a:pt x="1699" y="1635"/>
                  </a:lnTo>
                  <a:lnTo>
                    <a:pt x="1698" y="1636"/>
                  </a:lnTo>
                  <a:lnTo>
                    <a:pt x="1697" y="1637"/>
                  </a:lnTo>
                  <a:lnTo>
                    <a:pt x="1697" y="1639"/>
                  </a:lnTo>
                  <a:lnTo>
                    <a:pt x="1697" y="1641"/>
                  </a:lnTo>
                  <a:lnTo>
                    <a:pt x="1698" y="1643"/>
                  </a:lnTo>
                  <a:lnTo>
                    <a:pt x="1697" y="1645"/>
                  </a:lnTo>
                  <a:lnTo>
                    <a:pt x="1695" y="1645"/>
                  </a:lnTo>
                  <a:lnTo>
                    <a:pt x="1693" y="1645"/>
                  </a:lnTo>
                  <a:lnTo>
                    <a:pt x="1690" y="1644"/>
                  </a:lnTo>
                  <a:lnTo>
                    <a:pt x="1689" y="1644"/>
                  </a:lnTo>
                  <a:lnTo>
                    <a:pt x="1686" y="1644"/>
                  </a:lnTo>
                  <a:lnTo>
                    <a:pt x="1685" y="1645"/>
                  </a:lnTo>
                  <a:lnTo>
                    <a:pt x="1684" y="1647"/>
                  </a:lnTo>
                  <a:lnTo>
                    <a:pt x="1683" y="1649"/>
                  </a:lnTo>
                  <a:lnTo>
                    <a:pt x="1680" y="1650"/>
                  </a:lnTo>
                  <a:lnTo>
                    <a:pt x="1678" y="1652"/>
                  </a:lnTo>
                  <a:lnTo>
                    <a:pt x="1675" y="1653"/>
                  </a:lnTo>
                  <a:lnTo>
                    <a:pt x="1671" y="1653"/>
                  </a:lnTo>
                  <a:lnTo>
                    <a:pt x="1668" y="1654"/>
                  </a:lnTo>
                  <a:lnTo>
                    <a:pt x="1649" y="1668"/>
                  </a:lnTo>
                  <a:lnTo>
                    <a:pt x="1645" y="1674"/>
                  </a:lnTo>
                  <a:lnTo>
                    <a:pt x="1643" y="1679"/>
                  </a:lnTo>
                  <a:lnTo>
                    <a:pt x="1643" y="1683"/>
                  </a:lnTo>
                  <a:lnTo>
                    <a:pt x="1648" y="1695"/>
                  </a:lnTo>
                  <a:lnTo>
                    <a:pt x="1651" y="1695"/>
                  </a:lnTo>
                  <a:lnTo>
                    <a:pt x="1657" y="1698"/>
                  </a:lnTo>
                  <a:lnTo>
                    <a:pt x="1660" y="1699"/>
                  </a:lnTo>
                  <a:lnTo>
                    <a:pt x="1671" y="1699"/>
                  </a:lnTo>
                  <a:lnTo>
                    <a:pt x="1673" y="1698"/>
                  </a:lnTo>
                  <a:lnTo>
                    <a:pt x="1679" y="1692"/>
                  </a:lnTo>
                  <a:lnTo>
                    <a:pt x="1682" y="1690"/>
                  </a:lnTo>
                  <a:lnTo>
                    <a:pt x="1685" y="1690"/>
                  </a:lnTo>
                  <a:lnTo>
                    <a:pt x="1709" y="1692"/>
                  </a:lnTo>
                  <a:lnTo>
                    <a:pt x="1715" y="1694"/>
                  </a:lnTo>
                  <a:lnTo>
                    <a:pt x="1721" y="1698"/>
                  </a:lnTo>
                  <a:lnTo>
                    <a:pt x="1732" y="1707"/>
                  </a:lnTo>
                  <a:lnTo>
                    <a:pt x="1733" y="1708"/>
                  </a:lnTo>
                  <a:lnTo>
                    <a:pt x="1736" y="1709"/>
                  </a:lnTo>
                  <a:lnTo>
                    <a:pt x="1737" y="1710"/>
                  </a:lnTo>
                  <a:lnTo>
                    <a:pt x="1739" y="1714"/>
                  </a:lnTo>
                  <a:lnTo>
                    <a:pt x="1741" y="1716"/>
                  </a:lnTo>
                  <a:lnTo>
                    <a:pt x="1744" y="1718"/>
                  </a:lnTo>
                  <a:lnTo>
                    <a:pt x="1750" y="1725"/>
                  </a:lnTo>
                  <a:lnTo>
                    <a:pt x="1752" y="1727"/>
                  </a:lnTo>
                  <a:lnTo>
                    <a:pt x="1760" y="1729"/>
                  </a:lnTo>
                  <a:lnTo>
                    <a:pt x="1763" y="1731"/>
                  </a:lnTo>
                  <a:lnTo>
                    <a:pt x="1764" y="1734"/>
                  </a:lnTo>
                  <a:lnTo>
                    <a:pt x="1766" y="1736"/>
                  </a:lnTo>
                  <a:lnTo>
                    <a:pt x="1770" y="1735"/>
                  </a:lnTo>
                  <a:lnTo>
                    <a:pt x="1775" y="1732"/>
                  </a:lnTo>
                  <a:lnTo>
                    <a:pt x="1781" y="1730"/>
                  </a:lnTo>
                  <a:lnTo>
                    <a:pt x="1788" y="1729"/>
                  </a:lnTo>
                  <a:lnTo>
                    <a:pt x="1790" y="1730"/>
                  </a:lnTo>
                  <a:lnTo>
                    <a:pt x="1799" y="1738"/>
                  </a:lnTo>
                  <a:lnTo>
                    <a:pt x="1810" y="1745"/>
                  </a:lnTo>
                  <a:lnTo>
                    <a:pt x="1814" y="1750"/>
                  </a:lnTo>
                  <a:lnTo>
                    <a:pt x="1817" y="1759"/>
                  </a:lnTo>
                  <a:lnTo>
                    <a:pt x="1817" y="1765"/>
                  </a:lnTo>
                  <a:lnTo>
                    <a:pt x="1818" y="1767"/>
                  </a:lnTo>
                  <a:lnTo>
                    <a:pt x="1820" y="1773"/>
                  </a:lnTo>
                  <a:lnTo>
                    <a:pt x="1821" y="1774"/>
                  </a:lnTo>
                  <a:lnTo>
                    <a:pt x="1821" y="1778"/>
                  </a:lnTo>
                  <a:lnTo>
                    <a:pt x="1823" y="1786"/>
                  </a:lnTo>
                  <a:lnTo>
                    <a:pt x="1823" y="1792"/>
                  </a:lnTo>
                  <a:lnTo>
                    <a:pt x="1823" y="1796"/>
                  </a:lnTo>
                  <a:lnTo>
                    <a:pt x="1821" y="1800"/>
                  </a:lnTo>
                  <a:lnTo>
                    <a:pt x="1820" y="1803"/>
                  </a:lnTo>
                  <a:lnTo>
                    <a:pt x="1814" y="1805"/>
                  </a:lnTo>
                  <a:lnTo>
                    <a:pt x="1811" y="1808"/>
                  </a:lnTo>
                  <a:lnTo>
                    <a:pt x="1810" y="1812"/>
                  </a:lnTo>
                  <a:lnTo>
                    <a:pt x="1809" y="1816"/>
                  </a:lnTo>
                  <a:lnTo>
                    <a:pt x="1809" y="1817"/>
                  </a:lnTo>
                  <a:lnTo>
                    <a:pt x="1808" y="1818"/>
                  </a:lnTo>
                  <a:lnTo>
                    <a:pt x="1807" y="1819"/>
                  </a:lnTo>
                  <a:lnTo>
                    <a:pt x="1808" y="1822"/>
                  </a:lnTo>
                  <a:lnTo>
                    <a:pt x="1809" y="1825"/>
                  </a:lnTo>
                  <a:lnTo>
                    <a:pt x="1810" y="1831"/>
                  </a:lnTo>
                  <a:lnTo>
                    <a:pt x="1812" y="1836"/>
                  </a:lnTo>
                  <a:lnTo>
                    <a:pt x="1812" y="1839"/>
                  </a:lnTo>
                  <a:lnTo>
                    <a:pt x="1811" y="1842"/>
                  </a:lnTo>
                  <a:lnTo>
                    <a:pt x="1810" y="1844"/>
                  </a:lnTo>
                  <a:lnTo>
                    <a:pt x="1808" y="1847"/>
                  </a:lnTo>
                  <a:lnTo>
                    <a:pt x="1806" y="1850"/>
                  </a:lnTo>
                  <a:lnTo>
                    <a:pt x="1807" y="1853"/>
                  </a:lnTo>
                  <a:lnTo>
                    <a:pt x="1808" y="1854"/>
                  </a:lnTo>
                  <a:lnTo>
                    <a:pt x="1813" y="1855"/>
                  </a:lnTo>
                  <a:lnTo>
                    <a:pt x="1815" y="1856"/>
                  </a:lnTo>
                  <a:lnTo>
                    <a:pt x="1812" y="1857"/>
                  </a:lnTo>
                  <a:lnTo>
                    <a:pt x="1804" y="1857"/>
                  </a:lnTo>
                  <a:lnTo>
                    <a:pt x="1802" y="1858"/>
                  </a:lnTo>
                  <a:lnTo>
                    <a:pt x="1800" y="1859"/>
                  </a:lnTo>
                  <a:lnTo>
                    <a:pt x="1799" y="1859"/>
                  </a:lnTo>
                  <a:lnTo>
                    <a:pt x="1795" y="1859"/>
                  </a:lnTo>
                  <a:lnTo>
                    <a:pt x="1794" y="1859"/>
                  </a:lnTo>
                  <a:lnTo>
                    <a:pt x="1790" y="1862"/>
                  </a:lnTo>
                  <a:lnTo>
                    <a:pt x="1789" y="1863"/>
                  </a:lnTo>
                  <a:lnTo>
                    <a:pt x="1784" y="1864"/>
                  </a:lnTo>
                  <a:lnTo>
                    <a:pt x="1784" y="1863"/>
                  </a:lnTo>
                  <a:lnTo>
                    <a:pt x="1784" y="1863"/>
                  </a:lnTo>
                  <a:lnTo>
                    <a:pt x="1784" y="1866"/>
                  </a:lnTo>
                  <a:lnTo>
                    <a:pt x="1785" y="1868"/>
                  </a:lnTo>
                  <a:lnTo>
                    <a:pt x="1802" y="1880"/>
                  </a:lnTo>
                  <a:lnTo>
                    <a:pt x="1804" y="1882"/>
                  </a:lnTo>
                  <a:lnTo>
                    <a:pt x="1807" y="1885"/>
                  </a:lnTo>
                  <a:lnTo>
                    <a:pt x="1810" y="1884"/>
                  </a:lnTo>
                  <a:lnTo>
                    <a:pt x="1814" y="1884"/>
                  </a:lnTo>
                  <a:lnTo>
                    <a:pt x="1817" y="1883"/>
                  </a:lnTo>
                  <a:lnTo>
                    <a:pt x="1819" y="1885"/>
                  </a:lnTo>
                  <a:lnTo>
                    <a:pt x="1823" y="1891"/>
                  </a:lnTo>
                  <a:lnTo>
                    <a:pt x="1824" y="1893"/>
                  </a:lnTo>
                  <a:lnTo>
                    <a:pt x="1825" y="1897"/>
                  </a:lnTo>
                  <a:lnTo>
                    <a:pt x="1827" y="1899"/>
                  </a:lnTo>
                  <a:lnTo>
                    <a:pt x="1839" y="1905"/>
                  </a:lnTo>
                  <a:lnTo>
                    <a:pt x="1843" y="1906"/>
                  </a:lnTo>
                  <a:lnTo>
                    <a:pt x="1853" y="1906"/>
                  </a:lnTo>
                  <a:lnTo>
                    <a:pt x="1855" y="1906"/>
                  </a:lnTo>
                  <a:lnTo>
                    <a:pt x="1858" y="1904"/>
                  </a:lnTo>
                  <a:lnTo>
                    <a:pt x="1860" y="1904"/>
                  </a:lnTo>
                  <a:lnTo>
                    <a:pt x="1870" y="1908"/>
                  </a:lnTo>
                  <a:lnTo>
                    <a:pt x="1874" y="1909"/>
                  </a:lnTo>
                  <a:lnTo>
                    <a:pt x="1877" y="1908"/>
                  </a:lnTo>
                  <a:lnTo>
                    <a:pt x="1894" y="1900"/>
                  </a:lnTo>
                  <a:lnTo>
                    <a:pt x="1897" y="1900"/>
                  </a:lnTo>
                  <a:lnTo>
                    <a:pt x="1900" y="1899"/>
                  </a:lnTo>
                  <a:lnTo>
                    <a:pt x="1905" y="1895"/>
                  </a:lnTo>
                  <a:lnTo>
                    <a:pt x="1907" y="1894"/>
                  </a:lnTo>
                  <a:lnTo>
                    <a:pt x="1909" y="1890"/>
                  </a:lnTo>
                  <a:lnTo>
                    <a:pt x="1911" y="1887"/>
                  </a:lnTo>
                  <a:lnTo>
                    <a:pt x="1912" y="1884"/>
                  </a:lnTo>
                  <a:lnTo>
                    <a:pt x="1920" y="1883"/>
                  </a:lnTo>
                  <a:lnTo>
                    <a:pt x="1922" y="1881"/>
                  </a:lnTo>
                  <a:lnTo>
                    <a:pt x="1925" y="1875"/>
                  </a:lnTo>
                  <a:lnTo>
                    <a:pt x="1926" y="1875"/>
                  </a:lnTo>
                  <a:lnTo>
                    <a:pt x="1926" y="1874"/>
                  </a:lnTo>
                  <a:lnTo>
                    <a:pt x="1926" y="1873"/>
                  </a:lnTo>
                  <a:lnTo>
                    <a:pt x="1927" y="1873"/>
                  </a:lnTo>
                  <a:lnTo>
                    <a:pt x="1927" y="1872"/>
                  </a:lnTo>
                  <a:lnTo>
                    <a:pt x="1929" y="1873"/>
                  </a:lnTo>
                  <a:lnTo>
                    <a:pt x="1931" y="1873"/>
                  </a:lnTo>
                  <a:lnTo>
                    <a:pt x="1935" y="1873"/>
                  </a:lnTo>
                  <a:lnTo>
                    <a:pt x="1936" y="1873"/>
                  </a:lnTo>
                  <a:lnTo>
                    <a:pt x="1938" y="1869"/>
                  </a:lnTo>
                  <a:lnTo>
                    <a:pt x="1944" y="1854"/>
                  </a:lnTo>
                  <a:lnTo>
                    <a:pt x="1949" y="1844"/>
                  </a:lnTo>
                  <a:lnTo>
                    <a:pt x="1951" y="1842"/>
                  </a:lnTo>
                  <a:lnTo>
                    <a:pt x="1952" y="1840"/>
                  </a:lnTo>
                  <a:lnTo>
                    <a:pt x="1958" y="1831"/>
                  </a:lnTo>
                  <a:lnTo>
                    <a:pt x="1959" y="1831"/>
                  </a:lnTo>
                  <a:lnTo>
                    <a:pt x="1959" y="1832"/>
                  </a:lnTo>
                  <a:lnTo>
                    <a:pt x="1959" y="1832"/>
                  </a:lnTo>
                  <a:lnTo>
                    <a:pt x="1959" y="1833"/>
                  </a:lnTo>
                  <a:lnTo>
                    <a:pt x="1963" y="1829"/>
                  </a:lnTo>
                  <a:lnTo>
                    <a:pt x="1968" y="1826"/>
                  </a:lnTo>
                  <a:lnTo>
                    <a:pt x="1981" y="1824"/>
                  </a:lnTo>
                  <a:lnTo>
                    <a:pt x="1987" y="1821"/>
                  </a:lnTo>
                  <a:lnTo>
                    <a:pt x="1998" y="1813"/>
                  </a:lnTo>
                  <a:lnTo>
                    <a:pt x="2004" y="1811"/>
                  </a:lnTo>
                  <a:lnTo>
                    <a:pt x="2015" y="1813"/>
                  </a:lnTo>
                  <a:lnTo>
                    <a:pt x="2017" y="1812"/>
                  </a:lnTo>
                  <a:lnTo>
                    <a:pt x="2019" y="1811"/>
                  </a:lnTo>
                  <a:lnTo>
                    <a:pt x="2025" y="1812"/>
                  </a:lnTo>
                  <a:lnTo>
                    <a:pt x="2028" y="1811"/>
                  </a:lnTo>
                  <a:lnTo>
                    <a:pt x="2029" y="1810"/>
                  </a:lnTo>
                  <a:lnTo>
                    <a:pt x="2030" y="1809"/>
                  </a:lnTo>
                  <a:lnTo>
                    <a:pt x="2031" y="1808"/>
                  </a:lnTo>
                  <a:lnTo>
                    <a:pt x="2033" y="1807"/>
                  </a:lnTo>
                  <a:lnTo>
                    <a:pt x="2035" y="1807"/>
                  </a:lnTo>
                  <a:lnTo>
                    <a:pt x="2040" y="1807"/>
                  </a:lnTo>
                  <a:lnTo>
                    <a:pt x="2043" y="1808"/>
                  </a:lnTo>
                  <a:lnTo>
                    <a:pt x="2045" y="1811"/>
                  </a:lnTo>
                  <a:lnTo>
                    <a:pt x="2047" y="1814"/>
                  </a:lnTo>
                  <a:lnTo>
                    <a:pt x="2048" y="1816"/>
                  </a:lnTo>
                  <a:lnTo>
                    <a:pt x="2055" y="1817"/>
                  </a:lnTo>
                  <a:lnTo>
                    <a:pt x="2059" y="1810"/>
                  </a:lnTo>
                  <a:lnTo>
                    <a:pt x="2063" y="1801"/>
                  </a:lnTo>
                  <a:lnTo>
                    <a:pt x="2067" y="1793"/>
                  </a:lnTo>
                  <a:lnTo>
                    <a:pt x="2069" y="1792"/>
                  </a:lnTo>
                  <a:lnTo>
                    <a:pt x="2076" y="1790"/>
                  </a:lnTo>
                  <a:lnTo>
                    <a:pt x="2079" y="1788"/>
                  </a:lnTo>
                  <a:lnTo>
                    <a:pt x="2083" y="1781"/>
                  </a:lnTo>
                  <a:lnTo>
                    <a:pt x="2086" y="1779"/>
                  </a:lnTo>
                  <a:lnTo>
                    <a:pt x="2090" y="1781"/>
                  </a:lnTo>
                  <a:lnTo>
                    <a:pt x="2091" y="1780"/>
                  </a:lnTo>
                  <a:lnTo>
                    <a:pt x="2092" y="1779"/>
                  </a:lnTo>
                  <a:lnTo>
                    <a:pt x="2093" y="1778"/>
                  </a:lnTo>
                  <a:lnTo>
                    <a:pt x="2101" y="1784"/>
                  </a:lnTo>
                  <a:lnTo>
                    <a:pt x="2099" y="1777"/>
                  </a:lnTo>
                  <a:lnTo>
                    <a:pt x="2100" y="1774"/>
                  </a:lnTo>
                  <a:lnTo>
                    <a:pt x="2102" y="1772"/>
                  </a:lnTo>
                  <a:lnTo>
                    <a:pt x="2104" y="1771"/>
                  </a:lnTo>
                  <a:lnTo>
                    <a:pt x="2109" y="1771"/>
                  </a:lnTo>
                  <a:lnTo>
                    <a:pt x="2111" y="1770"/>
                  </a:lnTo>
                  <a:lnTo>
                    <a:pt x="2111" y="1769"/>
                  </a:lnTo>
                  <a:lnTo>
                    <a:pt x="2107" y="1767"/>
                  </a:lnTo>
                  <a:lnTo>
                    <a:pt x="2106" y="1766"/>
                  </a:lnTo>
                  <a:lnTo>
                    <a:pt x="2105" y="1763"/>
                  </a:lnTo>
                  <a:lnTo>
                    <a:pt x="2106" y="1762"/>
                  </a:lnTo>
                  <a:lnTo>
                    <a:pt x="2107" y="1760"/>
                  </a:lnTo>
                  <a:lnTo>
                    <a:pt x="2107" y="1757"/>
                  </a:lnTo>
                  <a:lnTo>
                    <a:pt x="2108" y="1755"/>
                  </a:lnTo>
                  <a:lnTo>
                    <a:pt x="2117" y="1749"/>
                  </a:lnTo>
                  <a:lnTo>
                    <a:pt x="2122" y="1746"/>
                  </a:lnTo>
                  <a:lnTo>
                    <a:pt x="2129" y="1744"/>
                  </a:lnTo>
                  <a:lnTo>
                    <a:pt x="2136" y="1744"/>
                  </a:lnTo>
                  <a:lnTo>
                    <a:pt x="2143" y="1746"/>
                  </a:lnTo>
                  <a:lnTo>
                    <a:pt x="2154" y="1750"/>
                  </a:lnTo>
                  <a:lnTo>
                    <a:pt x="2165" y="1757"/>
                  </a:lnTo>
                  <a:lnTo>
                    <a:pt x="2166" y="1758"/>
                  </a:lnTo>
                  <a:lnTo>
                    <a:pt x="2171" y="1764"/>
                  </a:lnTo>
                  <a:lnTo>
                    <a:pt x="2172" y="1767"/>
                  </a:lnTo>
                  <a:lnTo>
                    <a:pt x="2174" y="1772"/>
                  </a:lnTo>
                  <a:lnTo>
                    <a:pt x="2177" y="1773"/>
                  </a:lnTo>
                  <a:lnTo>
                    <a:pt x="2188" y="1771"/>
                  </a:lnTo>
                  <a:lnTo>
                    <a:pt x="2200" y="1772"/>
                  </a:lnTo>
                  <a:lnTo>
                    <a:pt x="2202" y="1769"/>
                  </a:lnTo>
                  <a:lnTo>
                    <a:pt x="2205" y="1764"/>
                  </a:lnTo>
                  <a:lnTo>
                    <a:pt x="2209" y="1760"/>
                  </a:lnTo>
                  <a:lnTo>
                    <a:pt x="2214" y="1762"/>
                  </a:lnTo>
                  <a:lnTo>
                    <a:pt x="2214" y="1761"/>
                  </a:lnTo>
                  <a:lnTo>
                    <a:pt x="2223" y="1767"/>
                  </a:lnTo>
                  <a:lnTo>
                    <a:pt x="2237" y="1770"/>
                  </a:lnTo>
                  <a:lnTo>
                    <a:pt x="2240" y="1769"/>
                  </a:lnTo>
                  <a:lnTo>
                    <a:pt x="2240" y="1768"/>
                  </a:lnTo>
                  <a:lnTo>
                    <a:pt x="2241" y="1764"/>
                  </a:lnTo>
                  <a:lnTo>
                    <a:pt x="2242" y="1762"/>
                  </a:lnTo>
                  <a:lnTo>
                    <a:pt x="2244" y="1762"/>
                  </a:lnTo>
                  <a:lnTo>
                    <a:pt x="2245" y="1761"/>
                  </a:lnTo>
                  <a:lnTo>
                    <a:pt x="2259" y="1760"/>
                  </a:lnTo>
                  <a:lnTo>
                    <a:pt x="2271" y="1756"/>
                  </a:lnTo>
                  <a:lnTo>
                    <a:pt x="2273" y="1754"/>
                  </a:lnTo>
                  <a:lnTo>
                    <a:pt x="2273" y="1751"/>
                  </a:lnTo>
                  <a:lnTo>
                    <a:pt x="2271" y="1747"/>
                  </a:lnTo>
                  <a:lnTo>
                    <a:pt x="2267" y="1742"/>
                  </a:lnTo>
                  <a:lnTo>
                    <a:pt x="2266" y="1738"/>
                  </a:lnTo>
                  <a:lnTo>
                    <a:pt x="2266" y="1733"/>
                  </a:lnTo>
                  <a:lnTo>
                    <a:pt x="2267" y="1720"/>
                  </a:lnTo>
                  <a:lnTo>
                    <a:pt x="2269" y="1715"/>
                  </a:lnTo>
                  <a:lnTo>
                    <a:pt x="2270" y="1710"/>
                  </a:lnTo>
                  <a:lnTo>
                    <a:pt x="2273" y="1707"/>
                  </a:lnTo>
                  <a:lnTo>
                    <a:pt x="2274" y="1707"/>
                  </a:lnTo>
                  <a:lnTo>
                    <a:pt x="2278" y="1707"/>
                  </a:lnTo>
                  <a:lnTo>
                    <a:pt x="2279" y="1706"/>
                  </a:lnTo>
                  <a:lnTo>
                    <a:pt x="2280" y="1704"/>
                  </a:lnTo>
                  <a:lnTo>
                    <a:pt x="2279" y="1703"/>
                  </a:lnTo>
                  <a:lnTo>
                    <a:pt x="2278" y="1702"/>
                  </a:lnTo>
                  <a:lnTo>
                    <a:pt x="2278" y="1700"/>
                  </a:lnTo>
                  <a:lnTo>
                    <a:pt x="2278" y="1696"/>
                  </a:lnTo>
                  <a:lnTo>
                    <a:pt x="2281" y="1693"/>
                  </a:lnTo>
                  <a:lnTo>
                    <a:pt x="2284" y="1693"/>
                  </a:lnTo>
                  <a:lnTo>
                    <a:pt x="2288" y="1693"/>
                  </a:lnTo>
                  <a:lnTo>
                    <a:pt x="2292" y="1696"/>
                  </a:lnTo>
                  <a:lnTo>
                    <a:pt x="2294" y="1696"/>
                  </a:lnTo>
                  <a:lnTo>
                    <a:pt x="2296" y="1696"/>
                  </a:lnTo>
                  <a:lnTo>
                    <a:pt x="2301" y="1695"/>
                  </a:lnTo>
                  <a:lnTo>
                    <a:pt x="2302" y="1693"/>
                  </a:lnTo>
                  <a:lnTo>
                    <a:pt x="2301" y="1687"/>
                  </a:lnTo>
                  <a:lnTo>
                    <a:pt x="2298" y="1679"/>
                  </a:lnTo>
                  <a:lnTo>
                    <a:pt x="2296" y="1677"/>
                  </a:lnTo>
                  <a:lnTo>
                    <a:pt x="2293" y="1675"/>
                  </a:lnTo>
                  <a:lnTo>
                    <a:pt x="2291" y="1676"/>
                  </a:lnTo>
                  <a:lnTo>
                    <a:pt x="2288" y="1679"/>
                  </a:lnTo>
                  <a:lnTo>
                    <a:pt x="2286" y="1679"/>
                  </a:lnTo>
                  <a:lnTo>
                    <a:pt x="2283" y="1677"/>
                  </a:lnTo>
                  <a:lnTo>
                    <a:pt x="2279" y="1672"/>
                  </a:lnTo>
                  <a:lnTo>
                    <a:pt x="2276" y="1671"/>
                  </a:lnTo>
                  <a:lnTo>
                    <a:pt x="2266" y="1673"/>
                  </a:lnTo>
                  <a:lnTo>
                    <a:pt x="2263" y="1673"/>
                  </a:lnTo>
                  <a:lnTo>
                    <a:pt x="2258" y="1669"/>
                  </a:lnTo>
                  <a:lnTo>
                    <a:pt x="2255" y="1669"/>
                  </a:lnTo>
                  <a:lnTo>
                    <a:pt x="2253" y="1669"/>
                  </a:lnTo>
                  <a:lnTo>
                    <a:pt x="2252" y="1670"/>
                  </a:lnTo>
                  <a:lnTo>
                    <a:pt x="2250" y="1672"/>
                  </a:lnTo>
                  <a:lnTo>
                    <a:pt x="2249" y="1672"/>
                  </a:lnTo>
                  <a:lnTo>
                    <a:pt x="2250" y="1668"/>
                  </a:lnTo>
                  <a:lnTo>
                    <a:pt x="2249" y="1665"/>
                  </a:lnTo>
                  <a:lnTo>
                    <a:pt x="2246" y="1664"/>
                  </a:lnTo>
                  <a:lnTo>
                    <a:pt x="2244" y="1666"/>
                  </a:lnTo>
                  <a:lnTo>
                    <a:pt x="2241" y="1668"/>
                  </a:lnTo>
                  <a:lnTo>
                    <a:pt x="2223" y="1667"/>
                  </a:lnTo>
                  <a:lnTo>
                    <a:pt x="2220" y="1669"/>
                  </a:lnTo>
                  <a:lnTo>
                    <a:pt x="2216" y="1672"/>
                  </a:lnTo>
                  <a:lnTo>
                    <a:pt x="2212" y="1675"/>
                  </a:lnTo>
                  <a:lnTo>
                    <a:pt x="2211" y="1676"/>
                  </a:lnTo>
                  <a:lnTo>
                    <a:pt x="2209" y="1683"/>
                  </a:lnTo>
                  <a:lnTo>
                    <a:pt x="2205" y="1689"/>
                  </a:lnTo>
                  <a:lnTo>
                    <a:pt x="2199" y="1690"/>
                  </a:lnTo>
                  <a:lnTo>
                    <a:pt x="2192" y="1688"/>
                  </a:lnTo>
                  <a:lnTo>
                    <a:pt x="2181" y="1680"/>
                  </a:lnTo>
                  <a:lnTo>
                    <a:pt x="2178" y="1678"/>
                  </a:lnTo>
                  <a:lnTo>
                    <a:pt x="2177" y="1675"/>
                  </a:lnTo>
                  <a:lnTo>
                    <a:pt x="2177" y="1671"/>
                  </a:lnTo>
                  <a:lnTo>
                    <a:pt x="2179" y="1668"/>
                  </a:lnTo>
                  <a:lnTo>
                    <a:pt x="2178" y="1666"/>
                  </a:lnTo>
                  <a:lnTo>
                    <a:pt x="2175" y="1665"/>
                  </a:lnTo>
                  <a:lnTo>
                    <a:pt x="2172" y="1667"/>
                  </a:lnTo>
                  <a:lnTo>
                    <a:pt x="2170" y="1670"/>
                  </a:lnTo>
                  <a:lnTo>
                    <a:pt x="2168" y="1674"/>
                  </a:lnTo>
                  <a:lnTo>
                    <a:pt x="2168" y="1679"/>
                  </a:lnTo>
                  <a:lnTo>
                    <a:pt x="2167" y="1680"/>
                  </a:lnTo>
                  <a:lnTo>
                    <a:pt x="2165" y="1683"/>
                  </a:lnTo>
                  <a:lnTo>
                    <a:pt x="2164" y="1684"/>
                  </a:lnTo>
                  <a:lnTo>
                    <a:pt x="2162" y="1684"/>
                  </a:lnTo>
                  <a:lnTo>
                    <a:pt x="2161" y="1686"/>
                  </a:lnTo>
                  <a:lnTo>
                    <a:pt x="2161" y="1688"/>
                  </a:lnTo>
                  <a:lnTo>
                    <a:pt x="2160" y="1690"/>
                  </a:lnTo>
                  <a:lnTo>
                    <a:pt x="2156" y="1695"/>
                  </a:lnTo>
                  <a:lnTo>
                    <a:pt x="2152" y="1697"/>
                  </a:lnTo>
                  <a:lnTo>
                    <a:pt x="2124" y="1705"/>
                  </a:lnTo>
                  <a:lnTo>
                    <a:pt x="2118" y="1704"/>
                  </a:lnTo>
                  <a:lnTo>
                    <a:pt x="2095" y="1688"/>
                  </a:lnTo>
                  <a:lnTo>
                    <a:pt x="2049" y="1620"/>
                  </a:lnTo>
                  <a:lnTo>
                    <a:pt x="2036" y="1593"/>
                  </a:lnTo>
                  <a:lnTo>
                    <a:pt x="2027" y="1571"/>
                  </a:lnTo>
                  <a:lnTo>
                    <a:pt x="2026" y="1568"/>
                  </a:lnTo>
                  <a:lnTo>
                    <a:pt x="2024" y="1565"/>
                  </a:lnTo>
                  <a:lnTo>
                    <a:pt x="2022" y="1562"/>
                  </a:lnTo>
                  <a:lnTo>
                    <a:pt x="2017" y="1535"/>
                  </a:lnTo>
                  <a:lnTo>
                    <a:pt x="2015" y="1531"/>
                  </a:lnTo>
                  <a:lnTo>
                    <a:pt x="2014" y="1528"/>
                  </a:lnTo>
                  <a:lnTo>
                    <a:pt x="2014" y="1513"/>
                  </a:lnTo>
                  <a:lnTo>
                    <a:pt x="2013" y="1509"/>
                  </a:lnTo>
                  <a:lnTo>
                    <a:pt x="2012" y="1508"/>
                  </a:lnTo>
                  <a:lnTo>
                    <a:pt x="2012" y="1505"/>
                  </a:lnTo>
                  <a:lnTo>
                    <a:pt x="2013" y="1503"/>
                  </a:lnTo>
                  <a:lnTo>
                    <a:pt x="2016" y="1499"/>
                  </a:lnTo>
                  <a:lnTo>
                    <a:pt x="2017" y="1498"/>
                  </a:lnTo>
                  <a:lnTo>
                    <a:pt x="2024" y="1495"/>
                  </a:lnTo>
                  <a:lnTo>
                    <a:pt x="2024" y="1493"/>
                  </a:lnTo>
                  <a:lnTo>
                    <a:pt x="2024" y="1490"/>
                  </a:lnTo>
                  <a:lnTo>
                    <a:pt x="2025" y="1488"/>
                  </a:lnTo>
                  <a:lnTo>
                    <a:pt x="2027" y="1487"/>
                  </a:lnTo>
                  <a:lnTo>
                    <a:pt x="2028" y="1488"/>
                  </a:lnTo>
                  <a:lnTo>
                    <a:pt x="2028" y="1490"/>
                  </a:lnTo>
                  <a:lnTo>
                    <a:pt x="2029" y="1491"/>
                  </a:lnTo>
                  <a:lnTo>
                    <a:pt x="2031" y="1492"/>
                  </a:lnTo>
                  <a:lnTo>
                    <a:pt x="2032" y="1492"/>
                  </a:lnTo>
                  <a:lnTo>
                    <a:pt x="2047" y="1488"/>
                  </a:lnTo>
                  <a:lnTo>
                    <a:pt x="2054" y="1483"/>
                  </a:lnTo>
                  <a:lnTo>
                    <a:pt x="2059" y="1478"/>
                  </a:lnTo>
                  <a:lnTo>
                    <a:pt x="2059" y="1478"/>
                  </a:lnTo>
                  <a:lnTo>
                    <a:pt x="2069" y="1463"/>
                  </a:lnTo>
                  <a:lnTo>
                    <a:pt x="2074" y="1458"/>
                  </a:lnTo>
                  <a:lnTo>
                    <a:pt x="2075" y="1455"/>
                  </a:lnTo>
                  <a:lnTo>
                    <a:pt x="2076" y="1451"/>
                  </a:lnTo>
                  <a:lnTo>
                    <a:pt x="2076" y="1449"/>
                  </a:lnTo>
                  <a:lnTo>
                    <a:pt x="2075" y="1448"/>
                  </a:lnTo>
                  <a:lnTo>
                    <a:pt x="2074" y="1445"/>
                  </a:lnTo>
                  <a:lnTo>
                    <a:pt x="2073" y="1441"/>
                  </a:lnTo>
                  <a:lnTo>
                    <a:pt x="2070" y="1437"/>
                  </a:lnTo>
                  <a:lnTo>
                    <a:pt x="2069" y="1433"/>
                  </a:lnTo>
                  <a:lnTo>
                    <a:pt x="2072" y="1428"/>
                  </a:lnTo>
                  <a:lnTo>
                    <a:pt x="2073" y="1432"/>
                  </a:lnTo>
                  <a:lnTo>
                    <a:pt x="2074" y="1437"/>
                  </a:lnTo>
                  <a:lnTo>
                    <a:pt x="2076" y="1440"/>
                  </a:lnTo>
                  <a:lnTo>
                    <a:pt x="2079" y="1441"/>
                  </a:lnTo>
                  <a:lnTo>
                    <a:pt x="2081" y="1443"/>
                  </a:lnTo>
                  <a:lnTo>
                    <a:pt x="2082" y="1444"/>
                  </a:lnTo>
                  <a:lnTo>
                    <a:pt x="2084" y="1444"/>
                  </a:lnTo>
                  <a:lnTo>
                    <a:pt x="2086" y="1445"/>
                  </a:lnTo>
                  <a:lnTo>
                    <a:pt x="2088" y="1445"/>
                  </a:lnTo>
                  <a:lnTo>
                    <a:pt x="2084" y="1454"/>
                  </a:lnTo>
                  <a:lnTo>
                    <a:pt x="2083" y="1460"/>
                  </a:lnTo>
                  <a:lnTo>
                    <a:pt x="2085" y="1465"/>
                  </a:lnTo>
                  <a:lnTo>
                    <a:pt x="2088" y="1469"/>
                  </a:lnTo>
                  <a:lnTo>
                    <a:pt x="2092" y="1469"/>
                  </a:lnTo>
                  <a:lnTo>
                    <a:pt x="2094" y="1466"/>
                  </a:lnTo>
                  <a:lnTo>
                    <a:pt x="2097" y="1463"/>
                  </a:lnTo>
                  <a:lnTo>
                    <a:pt x="2097" y="1469"/>
                  </a:lnTo>
                  <a:lnTo>
                    <a:pt x="2094" y="1473"/>
                  </a:lnTo>
                  <a:lnTo>
                    <a:pt x="2088" y="1478"/>
                  </a:lnTo>
                  <a:lnTo>
                    <a:pt x="2084" y="1487"/>
                  </a:lnTo>
                  <a:lnTo>
                    <a:pt x="2082" y="1491"/>
                  </a:lnTo>
                  <a:lnTo>
                    <a:pt x="2078" y="1495"/>
                  </a:lnTo>
                  <a:lnTo>
                    <a:pt x="2074" y="1504"/>
                  </a:lnTo>
                  <a:lnTo>
                    <a:pt x="2066" y="1508"/>
                  </a:lnTo>
                  <a:lnTo>
                    <a:pt x="2049" y="1513"/>
                  </a:lnTo>
                  <a:lnTo>
                    <a:pt x="2050" y="1515"/>
                  </a:lnTo>
                  <a:lnTo>
                    <a:pt x="2050" y="1516"/>
                  </a:lnTo>
                  <a:lnTo>
                    <a:pt x="2045" y="1520"/>
                  </a:lnTo>
                  <a:lnTo>
                    <a:pt x="2040" y="1526"/>
                  </a:lnTo>
                  <a:lnTo>
                    <a:pt x="2039" y="1528"/>
                  </a:lnTo>
                  <a:lnTo>
                    <a:pt x="2042" y="1529"/>
                  </a:lnTo>
                  <a:lnTo>
                    <a:pt x="2049" y="1526"/>
                  </a:lnTo>
                  <a:lnTo>
                    <a:pt x="2052" y="1523"/>
                  </a:lnTo>
                  <a:lnTo>
                    <a:pt x="2058" y="1522"/>
                  </a:lnTo>
                  <a:lnTo>
                    <a:pt x="2062" y="1518"/>
                  </a:lnTo>
                  <a:lnTo>
                    <a:pt x="2068" y="1516"/>
                  </a:lnTo>
                  <a:lnTo>
                    <a:pt x="2072" y="1512"/>
                  </a:lnTo>
                  <a:lnTo>
                    <a:pt x="2075" y="1507"/>
                  </a:lnTo>
                  <a:lnTo>
                    <a:pt x="2084" y="1490"/>
                  </a:lnTo>
                  <a:lnTo>
                    <a:pt x="2087" y="1487"/>
                  </a:lnTo>
                  <a:lnTo>
                    <a:pt x="2088" y="1486"/>
                  </a:lnTo>
                  <a:lnTo>
                    <a:pt x="2102" y="1461"/>
                  </a:lnTo>
                  <a:lnTo>
                    <a:pt x="2105" y="1459"/>
                  </a:lnTo>
                  <a:lnTo>
                    <a:pt x="2111" y="1455"/>
                  </a:lnTo>
                  <a:lnTo>
                    <a:pt x="2113" y="1453"/>
                  </a:lnTo>
                  <a:lnTo>
                    <a:pt x="2118" y="1446"/>
                  </a:lnTo>
                  <a:lnTo>
                    <a:pt x="2120" y="1443"/>
                  </a:lnTo>
                  <a:lnTo>
                    <a:pt x="2123" y="1441"/>
                  </a:lnTo>
                  <a:lnTo>
                    <a:pt x="2142" y="1431"/>
                  </a:lnTo>
                  <a:lnTo>
                    <a:pt x="2147" y="1427"/>
                  </a:lnTo>
                  <a:lnTo>
                    <a:pt x="2160" y="1412"/>
                  </a:lnTo>
                  <a:lnTo>
                    <a:pt x="2165" y="1408"/>
                  </a:lnTo>
                  <a:lnTo>
                    <a:pt x="2174" y="1403"/>
                  </a:lnTo>
                  <a:lnTo>
                    <a:pt x="2186" y="1396"/>
                  </a:lnTo>
                  <a:lnTo>
                    <a:pt x="2189" y="1396"/>
                  </a:lnTo>
                  <a:lnTo>
                    <a:pt x="2211" y="1392"/>
                  </a:lnTo>
                  <a:lnTo>
                    <a:pt x="2222" y="1394"/>
                  </a:lnTo>
                  <a:lnTo>
                    <a:pt x="2228" y="1392"/>
                  </a:lnTo>
                  <a:lnTo>
                    <a:pt x="2231" y="1392"/>
                  </a:lnTo>
                  <a:lnTo>
                    <a:pt x="2234" y="1394"/>
                  </a:lnTo>
                  <a:lnTo>
                    <a:pt x="2235" y="1395"/>
                  </a:lnTo>
                  <a:lnTo>
                    <a:pt x="2236" y="1396"/>
                  </a:lnTo>
                  <a:lnTo>
                    <a:pt x="2238" y="1398"/>
                  </a:lnTo>
                  <a:lnTo>
                    <a:pt x="2238" y="1399"/>
                  </a:lnTo>
                  <a:lnTo>
                    <a:pt x="2240" y="1400"/>
                  </a:lnTo>
                  <a:lnTo>
                    <a:pt x="2240" y="1401"/>
                  </a:lnTo>
                  <a:lnTo>
                    <a:pt x="2239" y="1403"/>
                  </a:lnTo>
                  <a:lnTo>
                    <a:pt x="2239" y="1404"/>
                  </a:lnTo>
                  <a:lnTo>
                    <a:pt x="2240" y="1405"/>
                  </a:lnTo>
                  <a:lnTo>
                    <a:pt x="2240" y="1405"/>
                  </a:lnTo>
                  <a:lnTo>
                    <a:pt x="2240" y="1404"/>
                  </a:lnTo>
                  <a:lnTo>
                    <a:pt x="2242" y="1403"/>
                  </a:lnTo>
                  <a:lnTo>
                    <a:pt x="2244" y="1402"/>
                  </a:lnTo>
                  <a:lnTo>
                    <a:pt x="2244" y="1403"/>
                  </a:lnTo>
                  <a:lnTo>
                    <a:pt x="2244" y="1406"/>
                  </a:lnTo>
                  <a:lnTo>
                    <a:pt x="2245" y="1406"/>
                  </a:lnTo>
                  <a:lnTo>
                    <a:pt x="2246" y="1400"/>
                  </a:lnTo>
                  <a:lnTo>
                    <a:pt x="2249" y="1395"/>
                  </a:lnTo>
                  <a:lnTo>
                    <a:pt x="2260" y="1383"/>
                  </a:lnTo>
                  <a:lnTo>
                    <a:pt x="2264" y="1380"/>
                  </a:lnTo>
                  <a:lnTo>
                    <a:pt x="2270" y="1377"/>
                  </a:lnTo>
                  <a:lnTo>
                    <a:pt x="2278" y="1376"/>
                  </a:lnTo>
                  <a:lnTo>
                    <a:pt x="2284" y="1371"/>
                  </a:lnTo>
                  <a:lnTo>
                    <a:pt x="2295" y="1371"/>
                  </a:lnTo>
                  <a:lnTo>
                    <a:pt x="2296" y="1371"/>
                  </a:lnTo>
                  <a:lnTo>
                    <a:pt x="2297" y="1369"/>
                  </a:lnTo>
                  <a:lnTo>
                    <a:pt x="2299" y="1367"/>
                  </a:lnTo>
                  <a:lnTo>
                    <a:pt x="2302" y="1366"/>
                  </a:lnTo>
                  <a:lnTo>
                    <a:pt x="2306" y="1368"/>
                  </a:lnTo>
                  <a:lnTo>
                    <a:pt x="2309" y="1368"/>
                  </a:lnTo>
                  <a:lnTo>
                    <a:pt x="2312" y="1366"/>
                  </a:lnTo>
                  <a:lnTo>
                    <a:pt x="2314" y="1368"/>
                  </a:lnTo>
                  <a:lnTo>
                    <a:pt x="2319" y="1370"/>
                  </a:lnTo>
                  <a:lnTo>
                    <a:pt x="2321" y="1371"/>
                  </a:lnTo>
                  <a:lnTo>
                    <a:pt x="2327" y="1378"/>
                  </a:lnTo>
                  <a:lnTo>
                    <a:pt x="2328" y="1379"/>
                  </a:lnTo>
                  <a:lnTo>
                    <a:pt x="2328" y="1383"/>
                  </a:lnTo>
                  <a:lnTo>
                    <a:pt x="2327" y="1392"/>
                  </a:lnTo>
                  <a:lnTo>
                    <a:pt x="2323" y="1398"/>
                  </a:lnTo>
                  <a:lnTo>
                    <a:pt x="2320" y="1397"/>
                  </a:lnTo>
                  <a:lnTo>
                    <a:pt x="2319" y="1397"/>
                  </a:lnTo>
                  <a:lnTo>
                    <a:pt x="2319" y="1398"/>
                  </a:lnTo>
                  <a:lnTo>
                    <a:pt x="2323" y="1400"/>
                  </a:lnTo>
                  <a:lnTo>
                    <a:pt x="2327" y="1396"/>
                  </a:lnTo>
                  <a:lnTo>
                    <a:pt x="2330" y="1390"/>
                  </a:lnTo>
                  <a:lnTo>
                    <a:pt x="2331" y="1383"/>
                  </a:lnTo>
                  <a:lnTo>
                    <a:pt x="2333" y="1378"/>
                  </a:lnTo>
                  <a:lnTo>
                    <a:pt x="2336" y="1372"/>
                  </a:lnTo>
                  <a:lnTo>
                    <a:pt x="2338" y="1367"/>
                  </a:lnTo>
                  <a:lnTo>
                    <a:pt x="2337" y="1362"/>
                  </a:lnTo>
                  <a:lnTo>
                    <a:pt x="2342" y="1361"/>
                  </a:lnTo>
                  <a:lnTo>
                    <a:pt x="2350" y="1353"/>
                  </a:lnTo>
                  <a:lnTo>
                    <a:pt x="2356" y="1351"/>
                  </a:lnTo>
                  <a:lnTo>
                    <a:pt x="2357" y="1350"/>
                  </a:lnTo>
                  <a:lnTo>
                    <a:pt x="2362" y="1346"/>
                  </a:lnTo>
                  <a:lnTo>
                    <a:pt x="2364" y="1345"/>
                  </a:lnTo>
                  <a:lnTo>
                    <a:pt x="2367" y="1344"/>
                  </a:lnTo>
                  <a:lnTo>
                    <a:pt x="2386" y="1337"/>
                  </a:lnTo>
                  <a:lnTo>
                    <a:pt x="2393" y="1331"/>
                  </a:lnTo>
                  <a:lnTo>
                    <a:pt x="2396" y="1330"/>
                  </a:lnTo>
                  <a:lnTo>
                    <a:pt x="2401" y="1331"/>
                  </a:lnTo>
                  <a:lnTo>
                    <a:pt x="2407" y="1334"/>
                  </a:lnTo>
                  <a:lnTo>
                    <a:pt x="2410" y="1339"/>
                  </a:lnTo>
                  <a:lnTo>
                    <a:pt x="2409" y="1345"/>
                  </a:lnTo>
                  <a:lnTo>
                    <a:pt x="2413" y="1343"/>
                  </a:lnTo>
                  <a:lnTo>
                    <a:pt x="2415" y="1339"/>
                  </a:lnTo>
                  <a:lnTo>
                    <a:pt x="2420" y="1331"/>
                  </a:lnTo>
                  <a:lnTo>
                    <a:pt x="2436" y="1307"/>
                  </a:lnTo>
                  <a:lnTo>
                    <a:pt x="2446" y="1297"/>
                  </a:lnTo>
                  <a:lnTo>
                    <a:pt x="2452" y="1295"/>
                  </a:lnTo>
                  <a:lnTo>
                    <a:pt x="2473" y="1298"/>
                  </a:lnTo>
                  <a:lnTo>
                    <a:pt x="2479" y="1298"/>
                  </a:lnTo>
                  <a:lnTo>
                    <a:pt x="2496" y="1292"/>
                  </a:lnTo>
                  <a:lnTo>
                    <a:pt x="2511" y="1294"/>
                  </a:lnTo>
                  <a:lnTo>
                    <a:pt x="2513" y="1293"/>
                  </a:lnTo>
                  <a:lnTo>
                    <a:pt x="2517" y="1294"/>
                  </a:lnTo>
                  <a:lnTo>
                    <a:pt x="2523" y="1297"/>
                  </a:lnTo>
                  <a:lnTo>
                    <a:pt x="2524" y="1296"/>
                  </a:lnTo>
                  <a:lnTo>
                    <a:pt x="2528" y="1293"/>
                  </a:lnTo>
                  <a:lnTo>
                    <a:pt x="2529" y="1293"/>
                  </a:lnTo>
                  <a:lnTo>
                    <a:pt x="2530" y="1293"/>
                  </a:lnTo>
                  <a:lnTo>
                    <a:pt x="2535" y="1297"/>
                  </a:lnTo>
                  <a:lnTo>
                    <a:pt x="2539" y="1298"/>
                  </a:lnTo>
                  <a:lnTo>
                    <a:pt x="2539" y="1302"/>
                  </a:lnTo>
                  <a:lnTo>
                    <a:pt x="2536" y="1310"/>
                  </a:lnTo>
                  <a:lnTo>
                    <a:pt x="2541" y="1307"/>
                  </a:lnTo>
                  <a:lnTo>
                    <a:pt x="2550" y="1295"/>
                  </a:lnTo>
                  <a:lnTo>
                    <a:pt x="2553" y="1292"/>
                  </a:lnTo>
                  <a:lnTo>
                    <a:pt x="2553" y="1292"/>
                  </a:lnTo>
                  <a:lnTo>
                    <a:pt x="2553" y="1292"/>
                  </a:lnTo>
                  <a:lnTo>
                    <a:pt x="2550" y="1285"/>
                  </a:lnTo>
                  <a:lnTo>
                    <a:pt x="2550" y="1278"/>
                  </a:lnTo>
                  <a:lnTo>
                    <a:pt x="2551" y="1271"/>
                  </a:lnTo>
                  <a:lnTo>
                    <a:pt x="2554" y="1266"/>
                  </a:lnTo>
                  <a:lnTo>
                    <a:pt x="2557" y="1263"/>
                  </a:lnTo>
                  <a:lnTo>
                    <a:pt x="2560" y="1262"/>
                  </a:lnTo>
                  <a:lnTo>
                    <a:pt x="2564" y="1259"/>
                  </a:lnTo>
                  <a:lnTo>
                    <a:pt x="2566" y="1256"/>
                  </a:lnTo>
                  <a:lnTo>
                    <a:pt x="2566" y="1251"/>
                  </a:lnTo>
                  <a:lnTo>
                    <a:pt x="2565" y="1249"/>
                  </a:lnTo>
                  <a:lnTo>
                    <a:pt x="2562" y="1248"/>
                  </a:lnTo>
                  <a:lnTo>
                    <a:pt x="2559" y="1248"/>
                  </a:lnTo>
                  <a:lnTo>
                    <a:pt x="2553" y="1249"/>
                  </a:lnTo>
                  <a:lnTo>
                    <a:pt x="2550" y="1248"/>
                  </a:lnTo>
                  <a:lnTo>
                    <a:pt x="2548" y="1246"/>
                  </a:lnTo>
                  <a:lnTo>
                    <a:pt x="2549" y="1242"/>
                  </a:lnTo>
                  <a:lnTo>
                    <a:pt x="2551" y="1238"/>
                  </a:lnTo>
                  <a:lnTo>
                    <a:pt x="2556" y="1231"/>
                  </a:lnTo>
                  <a:lnTo>
                    <a:pt x="2559" y="1224"/>
                  </a:lnTo>
                  <a:lnTo>
                    <a:pt x="2560" y="1217"/>
                  </a:lnTo>
                  <a:lnTo>
                    <a:pt x="2560" y="1201"/>
                  </a:lnTo>
                  <a:lnTo>
                    <a:pt x="2562" y="1193"/>
                  </a:lnTo>
                  <a:lnTo>
                    <a:pt x="2565" y="1184"/>
                  </a:lnTo>
                  <a:lnTo>
                    <a:pt x="2569" y="1178"/>
                  </a:lnTo>
                  <a:lnTo>
                    <a:pt x="2574" y="1174"/>
                  </a:lnTo>
                  <a:lnTo>
                    <a:pt x="2608" y="1169"/>
                  </a:lnTo>
                  <a:lnTo>
                    <a:pt x="2612" y="1168"/>
                  </a:lnTo>
                  <a:lnTo>
                    <a:pt x="2615" y="1165"/>
                  </a:lnTo>
                  <a:lnTo>
                    <a:pt x="2620" y="1158"/>
                  </a:lnTo>
                  <a:lnTo>
                    <a:pt x="2624" y="1156"/>
                  </a:lnTo>
                  <a:lnTo>
                    <a:pt x="2626" y="1156"/>
                  </a:lnTo>
                  <a:lnTo>
                    <a:pt x="2632" y="1158"/>
                  </a:lnTo>
                  <a:lnTo>
                    <a:pt x="2635" y="1157"/>
                  </a:lnTo>
                  <a:lnTo>
                    <a:pt x="2637" y="1154"/>
                  </a:lnTo>
                  <a:lnTo>
                    <a:pt x="2638" y="1144"/>
                  </a:lnTo>
                  <a:lnTo>
                    <a:pt x="2641" y="1133"/>
                  </a:lnTo>
                  <a:lnTo>
                    <a:pt x="2645" y="1124"/>
                  </a:lnTo>
                  <a:lnTo>
                    <a:pt x="2650" y="1117"/>
                  </a:lnTo>
                  <a:lnTo>
                    <a:pt x="2658" y="1114"/>
                  </a:lnTo>
                  <a:lnTo>
                    <a:pt x="2683" y="1115"/>
                  </a:lnTo>
                  <a:lnTo>
                    <a:pt x="2683" y="1115"/>
                  </a:lnTo>
                  <a:lnTo>
                    <a:pt x="2692" y="1121"/>
                  </a:lnTo>
                  <a:lnTo>
                    <a:pt x="2695" y="1122"/>
                  </a:lnTo>
                  <a:lnTo>
                    <a:pt x="2698" y="1121"/>
                  </a:lnTo>
                  <a:lnTo>
                    <a:pt x="2705" y="1120"/>
                  </a:lnTo>
                  <a:lnTo>
                    <a:pt x="2728" y="1118"/>
                  </a:lnTo>
                  <a:lnTo>
                    <a:pt x="2731" y="1118"/>
                  </a:lnTo>
                  <a:lnTo>
                    <a:pt x="2737" y="1122"/>
                  </a:lnTo>
                  <a:lnTo>
                    <a:pt x="2739" y="1123"/>
                  </a:lnTo>
                  <a:lnTo>
                    <a:pt x="2743" y="1123"/>
                  </a:lnTo>
                  <a:lnTo>
                    <a:pt x="2750" y="1121"/>
                  </a:lnTo>
                  <a:lnTo>
                    <a:pt x="2753" y="1122"/>
                  </a:lnTo>
                  <a:lnTo>
                    <a:pt x="2758" y="1123"/>
                  </a:lnTo>
                  <a:lnTo>
                    <a:pt x="2768" y="1121"/>
                  </a:lnTo>
                  <a:lnTo>
                    <a:pt x="2772" y="1121"/>
                  </a:lnTo>
                  <a:lnTo>
                    <a:pt x="2788" y="1126"/>
                  </a:lnTo>
                  <a:lnTo>
                    <a:pt x="2794" y="1125"/>
                  </a:lnTo>
                  <a:lnTo>
                    <a:pt x="2798" y="1121"/>
                  </a:lnTo>
                  <a:lnTo>
                    <a:pt x="2800" y="1115"/>
                  </a:lnTo>
                  <a:lnTo>
                    <a:pt x="2801" y="1108"/>
                  </a:lnTo>
                  <a:lnTo>
                    <a:pt x="2801" y="1107"/>
                  </a:lnTo>
                  <a:lnTo>
                    <a:pt x="2801" y="1103"/>
                  </a:lnTo>
                  <a:lnTo>
                    <a:pt x="2801" y="1102"/>
                  </a:lnTo>
                  <a:lnTo>
                    <a:pt x="2801" y="1100"/>
                  </a:lnTo>
                  <a:lnTo>
                    <a:pt x="2803" y="1096"/>
                  </a:lnTo>
                  <a:lnTo>
                    <a:pt x="2803" y="1094"/>
                  </a:lnTo>
                  <a:lnTo>
                    <a:pt x="2804" y="1091"/>
                  </a:lnTo>
                  <a:lnTo>
                    <a:pt x="2803" y="1088"/>
                  </a:lnTo>
                  <a:lnTo>
                    <a:pt x="2801" y="1083"/>
                  </a:lnTo>
                  <a:lnTo>
                    <a:pt x="2799" y="1080"/>
                  </a:lnTo>
                  <a:lnTo>
                    <a:pt x="2798" y="1079"/>
                  </a:lnTo>
                  <a:lnTo>
                    <a:pt x="2798" y="1078"/>
                  </a:lnTo>
                  <a:lnTo>
                    <a:pt x="2799" y="1076"/>
                  </a:lnTo>
                  <a:lnTo>
                    <a:pt x="2801" y="1074"/>
                  </a:lnTo>
                  <a:lnTo>
                    <a:pt x="2810" y="1073"/>
                  </a:lnTo>
                  <a:lnTo>
                    <a:pt x="2811" y="1073"/>
                  </a:lnTo>
                  <a:lnTo>
                    <a:pt x="2811" y="1073"/>
                  </a:lnTo>
                  <a:lnTo>
                    <a:pt x="2811" y="1071"/>
                  </a:lnTo>
                  <a:lnTo>
                    <a:pt x="2809" y="1063"/>
                  </a:lnTo>
                  <a:lnTo>
                    <a:pt x="2809" y="1058"/>
                  </a:lnTo>
                  <a:lnTo>
                    <a:pt x="2811" y="1053"/>
                  </a:lnTo>
                  <a:lnTo>
                    <a:pt x="2819" y="1038"/>
                  </a:lnTo>
                  <a:lnTo>
                    <a:pt x="2822" y="1034"/>
                  </a:lnTo>
                  <a:lnTo>
                    <a:pt x="2830" y="1029"/>
                  </a:lnTo>
                  <a:lnTo>
                    <a:pt x="2832" y="1026"/>
                  </a:lnTo>
                  <a:lnTo>
                    <a:pt x="2835" y="1021"/>
                  </a:lnTo>
                  <a:lnTo>
                    <a:pt x="2835" y="1017"/>
                  </a:lnTo>
                  <a:lnTo>
                    <a:pt x="2833" y="1013"/>
                  </a:lnTo>
                  <a:lnTo>
                    <a:pt x="2829" y="1012"/>
                  </a:lnTo>
                  <a:lnTo>
                    <a:pt x="2821" y="1015"/>
                  </a:lnTo>
                  <a:lnTo>
                    <a:pt x="2818" y="1015"/>
                  </a:lnTo>
                  <a:lnTo>
                    <a:pt x="2807" y="1008"/>
                  </a:lnTo>
                  <a:lnTo>
                    <a:pt x="2817" y="999"/>
                  </a:lnTo>
                  <a:lnTo>
                    <a:pt x="2820" y="996"/>
                  </a:lnTo>
                  <a:lnTo>
                    <a:pt x="2824" y="992"/>
                  </a:lnTo>
                  <a:lnTo>
                    <a:pt x="2822" y="990"/>
                  </a:lnTo>
                  <a:lnTo>
                    <a:pt x="2821" y="987"/>
                  </a:lnTo>
                  <a:lnTo>
                    <a:pt x="2819" y="981"/>
                  </a:lnTo>
                  <a:lnTo>
                    <a:pt x="2814" y="970"/>
                  </a:lnTo>
                  <a:lnTo>
                    <a:pt x="2813" y="968"/>
                  </a:lnTo>
                  <a:lnTo>
                    <a:pt x="2811" y="966"/>
                  </a:lnTo>
                  <a:lnTo>
                    <a:pt x="2811" y="963"/>
                  </a:lnTo>
                  <a:lnTo>
                    <a:pt x="2811" y="963"/>
                  </a:lnTo>
                  <a:lnTo>
                    <a:pt x="2813" y="963"/>
                  </a:lnTo>
                  <a:lnTo>
                    <a:pt x="2815" y="962"/>
                  </a:lnTo>
                  <a:lnTo>
                    <a:pt x="2815" y="960"/>
                  </a:lnTo>
                  <a:lnTo>
                    <a:pt x="2815" y="960"/>
                  </a:lnTo>
                  <a:lnTo>
                    <a:pt x="2815" y="959"/>
                  </a:lnTo>
                  <a:lnTo>
                    <a:pt x="2814" y="957"/>
                  </a:lnTo>
                  <a:lnTo>
                    <a:pt x="2814" y="955"/>
                  </a:lnTo>
                  <a:lnTo>
                    <a:pt x="2813" y="949"/>
                  </a:lnTo>
                  <a:lnTo>
                    <a:pt x="2810" y="945"/>
                  </a:lnTo>
                  <a:lnTo>
                    <a:pt x="2806" y="942"/>
                  </a:lnTo>
                  <a:lnTo>
                    <a:pt x="2787" y="940"/>
                  </a:lnTo>
                  <a:lnTo>
                    <a:pt x="2784" y="941"/>
                  </a:lnTo>
                  <a:lnTo>
                    <a:pt x="2777" y="942"/>
                  </a:lnTo>
                  <a:lnTo>
                    <a:pt x="2779" y="936"/>
                  </a:lnTo>
                  <a:lnTo>
                    <a:pt x="2789" y="903"/>
                  </a:lnTo>
                  <a:lnTo>
                    <a:pt x="2790" y="901"/>
                  </a:lnTo>
                  <a:lnTo>
                    <a:pt x="2794" y="900"/>
                  </a:lnTo>
                  <a:lnTo>
                    <a:pt x="2795" y="898"/>
                  </a:lnTo>
                  <a:lnTo>
                    <a:pt x="2796" y="895"/>
                  </a:lnTo>
                  <a:lnTo>
                    <a:pt x="2798" y="892"/>
                  </a:lnTo>
                  <a:lnTo>
                    <a:pt x="2801" y="889"/>
                  </a:lnTo>
                  <a:lnTo>
                    <a:pt x="2804" y="887"/>
                  </a:lnTo>
                  <a:lnTo>
                    <a:pt x="2808" y="887"/>
                  </a:lnTo>
                  <a:lnTo>
                    <a:pt x="2826" y="894"/>
                  </a:lnTo>
                  <a:lnTo>
                    <a:pt x="2832" y="893"/>
                  </a:lnTo>
                  <a:lnTo>
                    <a:pt x="2839" y="887"/>
                  </a:lnTo>
                  <a:lnTo>
                    <a:pt x="2842" y="883"/>
                  </a:lnTo>
                  <a:lnTo>
                    <a:pt x="2844" y="879"/>
                  </a:lnTo>
                  <a:lnTo>
                    <a:pt x="2845" y="874"/>
                  </a:lnTo>
                  <a:lnTo>
                    <a:pt x="2841" y="870"/>
                  </a:lnTo>
                  <a:lnTo>
                    <a:pt x="2837" y="870"/>
                  </a:lnTo>
                  <a:lnTo>
                    <a:pt x="2834" y="872"/>
                  </a:lnTo>
                  <a:lnTo>
                    <a:pt x="2831" y="876"/>
                  </a:lnTo>
                  <a:lnTo>
                    <a:pt x="2828" y="878"/>
                  </a:lnTo>
                  <a:lnTo>
                    <a:pt x="2826" y="877"/>
                  </a:lnTo>
                  <a:lnTo>
                    <a:pt x="2823" y="873"/>
                  </a:lnTo>
                  <a:lnTo>
                    <a:pt x="2821" y="872"/>
                  </a:lnTo>
                  <a:lnTo>
                    <a:pt x="2820" y="872"/>
                  </a:lnTo>
                  <a:lnTo>
                    <a:pt x="2814" y="872"/>
                  </a:lnTo>
                  <a:lnTo>
                    <a:pt x="2801" y="869"/>
                  </a:lnTo>
                  <a:lnTo>
                    <a:pt x="2798" y="868"/>
                  </a:lnTo>
                  <a:lnTo>
                    <a:pt x="2796" y="865"/>
                  </a:lnTo>
                  <a:lnTo>
                    <a:pt x="2795" y="862"/>
                  </a:lnTo>
                  <a:lnTo>
                    <a:pt x="2792" y="858"/>
                  </a:lnTo>
                  <a:lnTo>
                    <a:pt x="2790" y="855"/>
                  </a:lnTo>
                  <a:lnTo>
                    <a:pt x="2786" y="853"/>
                  </a:lnTo>
                  <a:lnTo>
                    <a:pt x="2784" y="850"/>
                  </a:lnTo>
                  <a:lnTo>
                    <a:pt x="2785" y="838"/>
                  </a:lnTo>
                  <a:lnTo>
                    <a:pt x="2788" y="836"/>
                  </a:lnTo>
                  <a:lnTo>
                    <a:pt x="2796" y="836"/>
                  </a:lnTo>
                  <a:lnTo>
                    <a:pt x="2809" y="832"/>
                  </a:lnTo>
                  <a:lnTo>
                    <a:pt x="2814" y="832"/>
                  </a:lnTo>
                  <a:lnTo>
                    <a:pt x="2819" y="833"/>
                  </a:lnTo>
                  <a:lnTo>
                    <a:pt x="2821" y="832"/>
                  </a:lnTo>
                  <a:lnTo>
                    <a:pt x="2823" y="831"/>
                  </a:lnTo>
                  <a:lnTo>
                    <a:pt x="2824" y="828"/>
                  </a:lnTo>
                  <a:lnTo>
                    <a:pt x="2824" y="822"/>
                  </a:lnTo>
                  <a:lnTo>
                    <a:pt x="2825" y="818"/>
                  </a:lnTo>
                  <a:lnTo>
                    <a:pt x="2828" y="813"/>
                  </a:lnTo>
                  <a:lnTo>
                    <a:pt x="2833" y="808"/>
                  </a:lnTo>
                  <a:lnTo>
                    <a:pt x="2842" y="802"/>
                  </a:lnTo>
                  <a:lnTo>
                    <a:pt x="2845" y="798"/>
                  </a:lnTo>
                  <a:lnTo>
                    <a:pt x="2850" y="790"/>
                  </a:lnTo>
                  <a:lnTo>
                    <a:pt x="2853" y="788"/>
                  </a:lnTo>
                  <a:lnTo>
                    <a:pt x="2857" y="785"/>
                  </a:lnTo>
                  <a:lnTo>
                    <a:pt x="2858" y="783"/>
                  </a:lnTo>
                  <a:lnTo>
                    <a:pt x="2859" y="774"/>
                  </a:lnTo>
                  <a:lnTo>
                    <a:pt x="2861" y="766"/>
                  </a:lnTo>
                  <a:lnTo>
                    <a:pt x="2861" y="762"/>
                  </a:lnTo>
                  <a:lnTo>
                    <a:pt x="2860" y="758"/>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89" name="Freeform 8">
              <a:extLst>
                <a:ext uri="{FF2B5EF4-FFF2-40B4-BE49-F238E27FC236}">
                  <a16:creationId xmlns:a16="http://schemas.microsoft.com/office/drawing/2014/main" id="{CBDA096C-A8E7-4108-8E1C-51539C2DEF86}"/>
                </a:ext>
              </a:extLst>
            </p:cNvPr>
            <p:cNvSpPr>
              <a:spLocks noEditPoints="1"/>
            </p:cNvSpPr>
            <p:nvPr/>
          </p:nvSpPr>
          <p:spPr bwMode="gray">
            <a:xfrm>
              <a:off x="7145877" y="148681"/>
              <a:ext cx="3976377" cy="3105063"/>
            </a:xfrm>
            <a:custGeom>
              <a:avLst/>
              <a:gdLst>
                <a:gd name="T0" fmla="*/ 2276 w 6380"/>
                <a:gd name="T1" fmla="*/ 4419 h 4982"/>
                <a:gd name="T2" fmla="*/ 2259 w 6380"/>
                <a:gd name="T3" fmla="*/ 4291 h 4982"/>
                <a:gd name="T4" fmla="*/ 2230 w 6380"/>
                <a:gd name="T5" fmla="*/ 4090 h 4982"/>
                <a:gd name="T6" fmla="*/ 2366 w 6380"/>
                <a:gd name="T7" fmla="*/ 3628 h 4982"/>
                <a:gd name="T8" fmla="*/ 2636 w 6380"/>
                <a:gd name="T9" fmla="*/ 3385 h 4982"/>
                <a:gd name="T10" fmla="*/ 2872 w 6380"/>
                <a:gd name="T11" fmla="*/ 3148 h 4982"/>
                <a:gd name="T12" fmla="*/ 3242 w 6380"/>
                <a:gd name="T13" fmla="*/ 2758 h 4982"/>
                <a:gd name="T14" fmla="*/ 3404 w 6380"/>
                <a:gd name="T15" fmla="*/ 2467 h 4982"/>
                <a:gd name="T16" fmla="*/ 3500 w 6380"/>
                <a:gd name="T17" fmla="*/ 2083 h 4982"/>
                <a:gd name="T18" fmla="*/ 3509 w 6380"/>
                <a:gd name="T19" fmla="*/ 1471 h 4982"/>
                <a:gd name="T20" fmla="*/ 3657 w 6380"/>
                <a:gd name="T21" fmla="*/ 1303 h 4982"/>
                <a:gd name="T22" fmla="*/ 4002 w 6380"/>
                <a:gd name="T23" fmla="*/ 1279 h 4982"/>
                <a:gd name="T24" fmla="*/ 3857 w 6380"/>
                <a:gd name="T25" fmla="*/ 1225 h 4982"/>
                <a:gd name="T26" fmla="*/ 4000 w 6380"/>
                <a:gd name="T27" fmla="*/ 1132 h 4982"/>
                <a:gd name="T28" fmla="*/ 3810 w 6380"/>
                <a:gd name="T29" fmla="*/ 1155 h 4982"/>
                <a:gd name="T30" fmla="*/ 4233 w 6380"/>
                <a:gd name="T31" fmla="*/ 989 h 4982"/>
                <a:gd name="T32" fmla="*/ 4220 w 6380"/>
                <a:gd name="T33" fmla="*/ 747 h 4982"/>
                <a:gd name="T34" fmla="*/ 4426 w 6380"/>
                <a:gd name="T35" fmla="*/ 707 h 4982"/>
                <a:gd name="T36" fmla="*/ 4439 w 6380"/>
                <a:gd name="T37" fmla="*/ 571 h 4982"/>
                <a:gd name="T38" fmla="*/ 4710 w 6380"/>
                <a:gd name="T39" fmla="*/ 456 h 4982"/>
                <a:gd name="T40" fmla="*/ 5168 w 6380"/>
                <a:gd name="T41" fmla="*/ 288 h 4982"/>
                <a:gd name="T42" fmla="*/ 5016 w 6380"/>
                <a:gd name="T43" fmla="*/ 325 h 4982"/>
                <a:gd name="T44" fmla="*/ 5019 w 6380"/>
                <a:gd name="T45" fmla="*/ 229 h 4982"/>
                <a:gd name="T46" fmla="*/ 6114 w 6380"/>
                <a:gd name="T47" fmla="*/ 219 h 4982"/>
                <a:gd name="T48" fmla="*/ 5931 w 6380"/>
                <a:gd name="T49" fmla="*/ 173 h 4982"/>
                <a:gd name="T50" fmla="*/ 5666 w 6380"/>
                <a:gd name="T51" fmla="*/ 394 h 4982"/>
                <a:gd name="T52" fmla="*/ 5551 w 6380"/>
                <a:gd name="T53" fmla="*/ 140 h 4982"/>
                <a:gd name="T54" fmla="*/ 5162 w 6380"/>
                <a:gd name="T55" fmla="*/ 433 h 4982"/>
                <a:gd name="T56" fmla="*/ 4814 w 6380"/>
                <a:gd name="T57" fmla="*/ 466 h 4982"/>
                <a:gd name="T58" fmla="*/ 4612 w 6380"/>
                <a:gd name="T59" fmla="*/ 888 h 4982"/>
                <a:gd name="T60" fmla="*/ 4533 w 6380"/>
                <a:gd name="T61" fmla="*/ 890 h 4982"/>
                <a:gd name="T62" fmla="*/ 4277 w 6380"/>
                <a:gd name="T63" fmla="*/ 1074 h 4982"/>
                <a:gd name="T64" fmla="*/ 4038 w 6380"/>
                <a:gd name="T65" fmla="*/ 1308 h 4982"/>
                <a:gd name="T66" fmla="*/ 3973 w 6380"/>
                <a:gd name="T67" fmla="*/ 1393 h 4982"/>
                <a:gd name="T68" fmla="*/ 3887 w 6380"/>
                <a:gd name="T69" fmla="*/ 1506 h 4982"/>
                <a:gd name="T70" fmla="*/ 3819 w 6380"/>
                <a:gd name="T71" fmla="*/ 1683 h 4982"/>
                <a:gd name="T72" fmla="*/ 3736 w 6380"/>
                <a:gd name="T73" fmla="*/ 1838 h 4982"/>
                <a:gd name="T74" fmla="*/ 3535 w 6380"/>
                <a:gd name="T75" fmla="*/ 2076 h 4982"/>
                <a:gd name="T76" fmla="*/ 3500 w 6380"/>
                <a:gd name="T77" fmla="*/ 2282 h 4982"/>
                <a:gd name="T78" fmla="*/ 3413 w 6380"/>
                <a:gd name="T79" fmla="*/ 2577 h 4982"/>
                <a:gd name="T80" fmla="*/ 3258 w 6380"/>
                <a:gd name="T81" fmla="*/ 2753 h 4982"/>
                <a:gd name="T82" fmla="*/ 3131 w 6380"/>
                <a:gd name="T83" fmla="*/ 2879 h 4982"/>
                <a:gd name="T84" fmla="*/ 3031 w 6380"/>
                <a:gd name="T85" fmla="*/ 3192 h 4982"/>
                <a:gd name="T86" fmla="*/ 3079 w 6380"/>
                <a:gd name="T87" fmla="*/ 3253 h 4982"/>
                <a:gd name="T88" fmla="*/ 2774 w 6380"/>
                <a:gd name="T89" fmla="*/ 3364 h 4982"/>
                <a:gd name="T90" fmla="*/ 2616 w 6380"/>
                <a:gd name="T91" fmla="*/ 3472 h 4982"/>
                <a:gd name="T92" fmla="*/ 2552 w 6380"/>
                <a:gd name="T93" fmla="*/ 3676 h 4982"/>
                <a:gd name="T94" fmla="*/ 2269 w 6380"/>
                <a:gd name="T95" fmla="*/ 3724 h 4982"/>
                <a:gd name="T96" fmla="*/ 2280 w 6380"/>
                <a:gd name="T97" fmla="*/ 3860 h 4982"/>
                <a:gd name="T98" fmla="*/ 2475 w 6380"/>
                <a:gd name="T99" fmla="*/ 3976 h 4982"/>
                <a:gd name="T100" fmla="*/ 2452 w 6380"/>
                <a:gd name="T101" fmla="*/ 4020 h 4982"/>
                <a:gd name="T102" fmla="*/ 2289 w 6380"/>
                <a:gd name="T103" fmla="*/ 4185 h 4982"/>
                <a:gd name="T104" fmla="*/ 2377 w 6380"/>
                <a:gd name="T105" fmla="*/ 4317 h 4982"/>
                <a:gd name="T106" fmla="*/ 2390 w 6380"/>
                <a:gd name="T107" fmla="*/ 4429 h 4982"/>
                <a:gd name="T108" fmla="*/ 2358 w 6380"/>
                <a:gd name="T109" fmla="*/ 4544 h 4982"/>
                <a:gd name="T110" fmla="*/ 2371 w 6380"/>
                <a:gd name="T111" fmla="*/ 4696 h 4982"/>
                <a:gd name="T112" fmla="*/ 2571 w 6380"/>
                <a:gd name="T113" fmla="*/ 4974 h 4982"/>
                <a:gd name="T114" fmla="*/ 2984 w 6380"/>
                <a:gd name="T115" fmla="*/ 4685 h 4982"/>
                <a:gd name="T116" fmla="*/ 3146 w 6380"/>
                <a:gd name="T117" fmla="*/ 4435 h 4982"/>
                <a:gd name="T118" fmla="*/ 3470 w 6380"/>
                <a:gd name="T119" fmla="*/ 3996 h 4982"/>
                <a:gd name="T120" fmla="*/ 5413 w 6380"/>
                <a:gd name="T121" fmla="*/ 1185 h 4982"/>
                <a:gd name="T122" fmla="*/ 6344 w 6380"/>
                <a:gd name="T123" fmla="*/ 671 h 4982"/>
                <a:gd name="T124" fmla="*/ 5501 w 6380"/>
                <a:gd name="T125" fmla="*/ 86 h 4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80" h="4982">
                  <a:moveTo>
                    <a:pt x="3205" y="4652"/>
                  </a:moveTo>
                  <a:lnTo>
                    <a:pt x="3205" y="4653"/>
                  </a:lnTo>
                  <a:lnTo>
                    <a:pt x="3205" y="4654"/>
                  </a:lnTo>
                  <a:lnTo>
                    <a:pt x="3201" y="4654"/>
                  </a:lnTo>
                  <a:lnTo>
                    <a:pt x="3200" y="4654"/>
                  </a:lnTo>
                  <a:lnTo>
                    <a:pt x="3200" y="4652"/>
                  </a:lnTo>
                  <a:lnTo>
                    <a:pt x="3199" y="4649"/>
                  </a:lnTo>
                  <a:lnTo>
                    <a:pt x="3197" y="4649"/>
                  </a:lnTo>
                  <a:lnTo>
                    <a:pt x="3194" y="4650"/>
                  </a:lnTo>
                  <a:lnTo>
                    <a:pt x="3193" y="4653"/>
                  </a:lnTo>
                  <a:lnTo>
                    <a:pt x="3193" y="4657"/>
                  </a:lnTo>
                  <a:lnTo>
                    <a:pt x="3192" y="4662"/>
                  </a:lnTo>
                  <a:lnTo>
                    <a:pt x="3192" y="4666"/>
                  </a:lnTo>
                  <a:lnTo>
                    <a:pt x="3194" y="4668"/>
                  </a:lnTo>
                  <a:lnTo>
                    <a:pt x="3195" y="4668"/>
                  </a:lnTo>
                  <a:lnTo>
                    <a:pt x="3196" y="4669"/>
                  </a:lnTo>
                  <a:lnTo>
                    <a:pt x="3196" y="4670"/>
                  </a:lnTo>
                  <a:lnTo>
                    <a:pt x="3197" y="4671"/>
                  </a:lnTo>
                  <a:lnTo>
                    <a:pt x="3198" y="4670"/>
                  </a:lnTo>
                  <a:lnTo>
                    <a:pt x="3201" y="4668"/>
                  </a:lnTo>
                  <a:lnTo>
                    <a:pt x="3203" y="4665"/>
                  </a:lnTo>
                  <a:lnTo>
                    <a:pt x="3202" y="4664"/>
                  </a:lnTo>
                  <a:lnTo>
                    <a:pt x="3202" y="4662"/>
                  </a:lnTo>
                  <a:lnTo>
                    <a:pt x="3204" y="4661"/>
                  </a:lnTo>
                  <a:lnTo>
                    <a:pt x="3206" y="4659"/>
                  </a:lnTo>
                  <a:lnTo>
                    <a:pt x="3207" y="4656"/>
                  </a:lnTo>
                  <a:lnTo>
                    <a:pt x="3207" y="4653"/>
                  </a:lnTo>
                  <a:lnTo>
                    <a:pt x="3206" y="4652"/>
                  </a:lnTo>
                  <a:lnTo>
                    <a:pt x="3205" y="4652"/>
                  </a:lnTo>
                  <a:close/>
                  <a:moveTo>
                    <a:pt x="3179" y="4641"/>
                  </a:moveTo>
                  <a:lnTo>
                    <a:pt x="3178" y="4641"/>
                  </a:lnTo>
                  <a:lnTo>
                    <a:pt x="3174" y="4644"/>
                  </a:lnTo>
                  <a:lnTo>
                    <a:pt x="3171" y="4646"/>
                  </a:lnTo>
                  <a:lnTo>
                    <a:pt x="3171" y="4645"/>
                  </a:lnTo>
                  <a:lnTo>
                    <a:pt x="3171" y="4644"/>
                  </a:lnTo>
                  <a:lnTo>
                    <a:pt x="3172" y="4643"/>
                  </a:lnTo>
                  <a:lnTo>
                    <a:pt x="3173" y="4642"/>
                  </a:lnTo>
                  <a:lnTo>
                    <a:pt x="3172" y="4641"/>
                  </a:lnTo>
                  <a:lnTo>
                    <a:pt x="3171" y="4641"/>
                  </a:lnTo>
                  <a:lnTo>
                    <a:pt x="3169" y="4643"/>
                  </a:lnTo>
                  <a:lnTo>
                    <a:pt x="3167" y="4645"/>
                  </a:lnTo>
                  <a:lnTo>
                    <a:pt x="3167" y="4646"/>
                  </a:lnTo>
                  <a:lnTo>
                    <a:pt x="3168" y="4650"/>
                  </a:lnTo>
                  <a:lnTo>
                    <a:pt x="3169" y="4652"/>
                  </a:lnTo>
                  <a:lnTo>
                    <a:pt x="3169" y="4653"/>
                  </a:lnTo>
                  <a:lnTo>
                    <a:pt x="3171" y="4654"/>
                  </a:lnTo>
                  <a:lnTo>
                    <a:pt x="3173" y="4653"/>
                  </a:lnTo>
                  <a:lnTo>
                    <a:pt x="3174" y="4653"/>
                  </a:lnTo>
                  <a:lnTo>
                    <a:pt x="3174" y="4655"/>
                  </a:lnTo>
                  <a:lnTo>
                    <a:pt x="3175" y="4655"/>
                  </a:lnTo>
                  <a:lnTo>
                    <a:pt x="3179" y="4649"/>
                  </a:lnTo>
                  <a:lnTo>
                    <a:pt x="3180" y="4646"/>
                  </a:lnTo>
                  <a:lnTo>
                    <a:pt x="3180" y="4642"/>
                  </a:lnTo>
                  <a:lnTo>
                    <a:pt x="3179" y="4641"/>
                  </a:lnTo>
                  <a:close/>
                  <a:moveTo>
                    <a:pt x="2360" y="4654"/>
                  </a:moveTo>
                  <a:lnTo>
                    <a:pt x="2364" y="4652"/>
                  </a:lnTo>
                  <a:lnTo>
                    <a:pt x="2365" y="4646"/>
                  </a:lnTo>
                  <a:lnTo>
                    <a:pt x="2364" y="4642"/>
                  </a:lnTo>
                  <a:lnTo>
                    <a:pt x="2363" y="4640"/>
                  </a:lnTo>
                  <a:lnTo>
                    <a:pt x="2359" y="4638"/>
                  </a:lnTo>
                  <a:lnTo>
                    <a:pt x="2356" y="4638"/>
                  </a:lnTo>
                  <a:lnTo>
                    <a:pt x="2352" y="4640"/>
                  </a:lnTo>
                  <a:lnTo>
                    <a:pt x="2349" y="4639"/>
                  </a:lnTo>
                  <a:lnTo>
                    <a:pt x="2344" y="4636"/>
                  </a:lnTo>
                  <a:lnTo>
                    <a:pt x="2342" y="4636"/>
                  </a:lnTo>
                  <a:lnTo>
                    <a:pt x="2340" y="4636"/>
                  </a:lnTo>
                  <a:lnTo>
                    <a:pt x="2338" y="4635"/>
                  </a:lnTo>
                  <a:lnTo>
                    <a:pt x="2336" y="4636"/>
                  </a:lnTo>
                  <a:lnTo>
                    <a:pt x="2334" y="4637"/>
                  </a:lnTo>
                  <a:lnTo>
                    <a:pt x="2333" y="4638"/>
                  </a:lnTo>
                  <a:lnTo>
                    <a:pt x="2337" y="4641"/>
                  </a:lnTo>
                  <a:lnTo>
                    <a:pt x="2347" y="4646"/>
                  </a:lnTo>
                  <a:lnTo>
                    <a:pt x="2360" y="4654"/>
                  </a:lnTo>
                  <a:close/>
                  <a:moveTo>
                    <a:pt x="2315" y="4611"/>
                  </a:moveTo>
                  <a:lnTo>
                    <a:pt x="2313" y="4608"/>
                  </a:lnTo>
                  <a:lnTo>
                    <a:pt x="2311" y="4606"/>
                  </a:lnTo>
                  <a:lnTo>
                    <a:pt x="2310" y="4605"/>
                  </a:lnTo>
                  <a:lnTo>
                    <a:pt x="2309" y="4604"/>
                  </a:lnTo>
                  <a:lnTo>
                    <a:pt x="2307" y="4602"/>
                  </a:lnTo>
                  <a:lnTo>
                    <a:pt x="2305" y="4602"/>
                  </a:lnTo>
                  <a:lnTo>
                    <a:pt x="2304" y="4602"/>
                  </a:lnTo>
                  <a:lnTo>
                    <a:pt x="2303" y="4604"/>
                  </a:lnTo>
                  <a:lnTo>
                    <a:pt x="2301" y="4606"/>
                  </a:lnTo>
                  <a:lnTo>
                    <a:pt x="2301" y="4609"/>
                  </a:lnTo>
                  <a:lnTo>
                    <a:pt x="2301" y="4613"/>
                  </a:lnTo>
                  <a:lnTo>
                    <a:pt x="2302" y="4616"/>
                  </a:lnTo>
                  <a:lnTo>
                    <a:pt x="2304" y="4619"/>
                  </a:lnTo>
                  <a:lnTo>
                    <a:pt x="2308" y="4622"/>
                  </a:lnTo>
                  <a:lnTo>
                    <a:pt x="2309" y="4623"/>
                  </a:lnTo>
                  <a:lnTo>
                    <a:pt x="2310" y="4624"/>
                  </a:lnTo>
                  <a:lnTo>
                    <a:pt x="2310" y="4625"/>
                  </a:lnTo>
                  <a:lnTo>
                    <a:pt x="2310" y="4626"/>
                  </a:lnTo>
                  <a:lnTo>
                    <a:pt x="2310" y="4627"/>
                  </a:lnTo>
                  <a:lnTo>
                    <a:pt x="2312" y="4628"/>
                  </a:lnTo>
                  <a:lnTo>
                    <a:pt x="2313" y="4626"/>
                  </a:lnTo>
                  <a:lnTo>
                    <a:pt x="2315" y="4620"/>
                  </a:lnTo>
                  <a:lnTo>
                    <a:pt x="2316" y="4616"/>
                  </a:lnTo>
                  <a:lnTo>
                    <a:pt x="2315" y="4614"/>
                  </a:lnTo>
                  <a:lnTo>
                    <a:pt x="2315" y="4611"/>
                  </a:lnTo>
                  <a:close/>
                  <a:moveTo>
                    <a:pt x="2409" y="4602"/>
                  </a:moveTo>
                  <a:lnTo>
                    <a:pt x="2415" y="4596"/>
                  </a:lnTo>
                  <a:lnTo>
                    <a:pt x="2416" y="4591"/>
                  </a:lnTo>
                  <a:lnTo>
                    <a:pt x="2412" y="4589"/>
                  </a:lnTo>
                  <a:lnTo>
                    <a:pt x="2403" y="4586"/>
                  </a:lnTo>
                  <a:lnTo>
                    <a:pt x="2398" y="4587"/>
                  </a:lnTo>
                  <a:lnTo>
                    <a:pt x="2392" y="4589"/>
                  </a:lnTo>
                  <a:lnTo>
                    <a:pt x="2389" y="4594"/>
                  </a:lnTo>
                  <a:lnTo>
                    <a:pt x="2389" y="4602"/>
                  </a:lnTo>
                  <a:lnTo>
                    <a:pt x="2393" y="4606"/>
                  </a:lnTo>
                  <a:lnTo>
                    <a:pt x="2401" y="4605"/>
                  </a:lnTo>
                  <a:lnTo>
                    <a:pt x="2409" y="4602"/>
                  </a:lnTo>
                  <a:close/>
                  <a:moveTo>
                    <a:pt x="2288" y="4589"/>
                  </a:moveTo>
                  <a:lnTo>
                    <a:pt x="2286" y="4586"/>
                  </a:lnTo>
                  <a:lnTo>
                    <a:pt x="2285" y="4584"/>
                  </a:lnTo>
                  <a:lnTo>
                    <a:pt x="2285" y="4581"/>
                  </a:lnTo>
                  <a:lnTo>
                    <a:pt x="2286" y="4579"/>
                  </a:lnTo>
                  <a:lnTo>
                    <a:pt x="2287" y="4577"/>
                  </a:lnTo>
                  <a:lnTo>
                    <a:pt x="2286" y="4575"/>
                  </a:lnTo>
                  <a:lnTo>
                    <a:pt x="2285" y="4573"/>
                  </a:lnTo>
                  <a:lnTo>
                    <a:pt x="2283" y="4571"/>
                  </a:lnTo>
                  <a:lnTo>
                    <a:pt x="2282" y="4569"/>
                  </a:lnTo>
                  <a:lnTo>
                    <a:pt x="2280" y="4562"/>
                  </a:lnTo>
                  <a:lnTo>
                    <a:pt x="2275" y="4548"/>
                  </a:lnTo>
                  <a:lnTo>
                    <a:pt x="2271" y="4548"/>
                  </a:lnTo>
                  <a:lnTo>
                    <a:pt x="2270" y="4553"/>
                  </a:lnTo>
                  <a:lnTo>
                    <a:pt x="2271" y="4558"/>
                  </a:lnTo>
                  <a:lnTo>
                    <a:pt x="2275" y="4561"/>
                  </a:lnTo>
                  <a:lnTo>
                    <a:pt x="2273" y="4565"/>
                  </a:lnTo>
                  <a:lnTo>
                    <a:pt x="2271" y="4567"/>
                  </a:lnTo>
                  <a:lnTo>
                    <a:pt x="2269" y="4569"/>
                  </a:lnTo>
                  <a:lnTo>
                    <a:pt x="2269" y="4573"/>
                  </a:lnTo>
                  <a:lnTo>
                    <a:pt x="2270" y="4578"/>
                  </a:lnTo>
                  <a:lnTo>
                    <a:pt x="2278" y="4588"/>
                  </a:lnTo>
                  <a:lnTo>
                    <a:pt x="2270" y="4586"/>
                  </a:lnTo>
                  <a:lnTo>
                    <a:pt x="2268" y="4592"/>
                  </a:lnTo>
                  <a:lnTo>
                    <a:pt x="2269" y="4594"/>
                  </a:lnTo>
                  <a:lnTo>
                    <a:pt x="2269" y="4597"/>
                  </a:lnTo>
                  <a:lnTo>
                    <a:pt x="2269" y="4602"/>
                  </a:lnTo>
                  <a:lnTo>
                    <a:pt x="2267" y="4609"/>
                  </a:lnTo>
                  <a:lnTo>
                    <a:pt x="2268" y="4616"/>
                  </a:lnTo>
                  <a:lnTo>
                    <a:pt x="2270" y="4624"/>
                  </a:lnTo>
                  <a:lnTo>
                    <a:pt x="2271" y="4628"/>
                  </a:lnTo>
                  <a:lnTo>
                    <a:pt x="2275" y="4633"/>
                  </a:lnTo>
                  <a:lnTo>
                    <a:pt x="2279" y="4633"/>
                  </a:lnTo>
                  <a:lnTo>
                    <a:pt x="2283" y="4630"/>
                  </a:lnTo>
                  <a:lnTo>
                    <a:pt x="2289" y="4625"/>
                  </a:lnTo>
                  <a:lnTo>
                    <a:pt x="2289" y="4613"/>
                  </a:lnTo>
                  <a:lnTo>
                    <a:pt x="2292" y="4606"/>
                  </a:lnTo>
                  <a:lnTo>
                    <a:pt x="2292" y="4597"/>
                  </a:lnTo>
                  <a:lnTo>
                    <a:pt x="2291" y="4592"/>
                  </a:lnTo>
                  <a:lnTo>
                    <a:pt x="2288" y="4589"/>
                  </a:lnTo>
                  <a:close/>
                  <a:moveTo>
                    <a:pt x="2271" y="4490"/>
                  </a:moveTo>
                  <a:lnTo>
                    <a:pt x="2272" y="4488"/>
                  </a:lnTo>
                  <a:lnTo>
                    <a:pt x="2273" y="4486"/>
                  </a:lnTo>
                  <a:lnTo>
                    <a:pt x="2272" y="4484"/>
                  </a:lnTo>
                  <a:lnTo>
                    <a:pt x="2273" y="4480"/>
                  </a:lnTo>
                  <a:lnTo>
                    <a:pt x="2273" y="4478"/>
                  </a:lnTo>
                  <a:lnTo>
                    <a:pt x="2271" y="4475"/>
                  </a:lnTo>
                  <a:lnTo>
                    <a:pt x="2271" y="4473"/>
                  </a:lnTo>
                  <a:lnTo>
                    <a:pt x="2272" y="4470"/>
                  </a:lnTo>
                  <a:lnTo>
                    <a:pt x="2275" y="4465"/>
                  </a:lnTo>
                  <a:lnTo>
                    <a:pt x="2272" y="4467"/>
                  </a:lnTo>
                  <a:lnTo>
                    <a:pt x="2269" y="4471"/>
                  </a:lnTo>
                  <a:lnTo>
                    <a:pt x="2267" y="4473"/>
                  </a:lnTo>
                  <a:lnTo>
                    <a:pt x="2266" y="4469"/>
                  </a:lnTo>
                  <a:lnTo>
                    <a:pt x="2267" y="4465"/>
                  </a:lnTo>
                  <a:lnTo>
                    <a:pt x="2271" y="4458"/>
                  </a:lnTo>
                  <a:lnTo>
                    <a:pt x="2272" y="4455"/>
                  </a:lnTo>
                  <a:lnTo>
                    <a:pt x="2272" y="4452"/>
                  </a:lnTo>
                  <a:lnTo>
                    <a:pt x="2271" y="4450"/>
                  </a:lnTo>
                  <a:lnTo>
                    <a:pt x="2271" y="4448"/>
                  </a:lnTo>
                  <a:lnTo>
                    <a:pt x="2272" y="4445"/>
                  </a:lnTo>
                  <a:lnTo>
                    <a:pt x="2273" y="4444"/>
                  </a:lnTo>
                  <a:lnTo>
                    <a:pt x="2275" y="4442"/>
                  </a:lnTo>
                  <a:lnTo>
                    <a:pt x="2276" y="4442"/>
                  </a:lnTo>
                  <a:lnTo>
                    <a:pt x="2277" y="4442"/>
                  </a:lnTo>
                  <a:lnTo>
                    <a:pt x="2280" y="4446"/>
                  </a:lnTo>
                  <a:lnTo>
                    <a:pt x="2283" y="4448"/>
                  </a:lnTo>
                  <a:lnTo>
                    <a:pt x="2285" y="4448"/>
                  </a:lnTo>
                  <a:lnTo>
                    <a:pt x="2284" y="4443"/>
                  </a:lnTo>
                  <a:lnTo>
                    <a:pt x="2287" y="4443"/>
                  </a:lnTo>
                  <a:lnTo>
                    <a:pt x="2289" y="4448"/>
                  </a:lnTo>
                  <a:lnTo>
                    <a:pt x="2289" y="4453"/>
                  </a:lnTo>
                  <a:lnTo>
                    <a:pt x="2290" y="4458"/>
                  </a:lnTo>
                  <a:lnTo>
                    <a:pt x="2286" y="4462"/>
                  </a:lnTo>
                  <a:lnTo>
                    <a:pt x="2284" y="4462"/>
                  </a:lnTo>
                  <a:lnTo>
                    <a:pt x="2284" y="4465"/>
                  </a:lnTo>
                  <a:lnTo>
                    <a:pt x="2288" y="4464"/>
                  </a:lnTo>
                  <a:lnTo>
                    <a:pt x="2290" y="4462"/>
                  </a:lnTo>
                  <a:lnTo>
                    <a:pt x="2296" y="4456"/>
                  </a:lnTo>
                  <a:lnTo>
                    <a:pt x="2294" y="4452"/>
                  </a:lnTo>
                  <a:lnTo>
                    <a:pt x="2292" y="4443"/>
                  </a:lnTo>
                  <a:lnTo>
                    <a:pt x="2290" y="4440"/>
                  </a:lnTo>
                  <a:lnTo>
                    <a:pt x="2288" y="4439"/>
                  </a:lnTo>
                  <a:lnTo>
                    <a:pt x="2286" y="4435"/>
                  </a:lnTo>
                  <a:lnTo>
                    <a:pt x="2283" y="4427"/>
                  </a:lnTo>
                  <a:lnTo>
                    <a:pt x="2281" y="4426"/>
                  </a:lnTo>
                  <a:lnTo>
                    <a:pt x="2279" y="4426"/>
                  </a:lnTo>
                  <a:lnTo>
                    <a:pt x="2277" y="4425"/>
                  </a:lnTo>
                  <a:lnTo>
                    <a:pt x="2277" y="4422"/>
                  </a:lnTo>
                  <a:lnTo>
                    <a:pt x="2276" y="4419"/>
                  </a:lnTo>
                  <a:lnTo>
                    <a:pt x="2275" y="4418"/>
                  </a:lnTo>
                  <a:lnTo>
                    <a:pt x="2274" y="4418"/>
                  </a:lnTo>
                  <a:lnTo>
                    <a:pt x="2272" y="4417"/>
                  </a:lnTo>
                  <a:lnTo>
                    <a:pt x="2268" y="4412"/>
                  </a:lnTo>
                  <a:lnTo>
                    <a:pt x="2267" y="4409"/>
                  </a:lnTo>
                  <a:lnTo>
                    <a:pt x="2266" y="4404"/>
                  </a:lnTo>
                  <a:lnTo>
                    <a:pt x="2262" y="4404"/>
                  </a:lnTo>
                  <a:lnTo>
                    <a:pt x="2260" y="4405"/>
                  </a:lnTo>
                  <a:lnTo>
                    <a:pt x="2258" y="4406"/>
                  </a:lnTo>
                  <a:lnTo>
                    <a:pt x="2263" y="4415"/>
                  </a:lnTo>
                  <a:lnTo>
                    <a:pt x="2265" y="4419"/>
                  </a:lnTo>
                  <a:lnTo>
                    <a:pt x="2263" y="4418"/>
                  </a:lnTo>
                  <a:lnTo>
                    <a:pt x="2262" y="4418"/>
                  </a:lnTo>
                  <a:lnTo>
                    <a:pt x="2261" y="4419"/>
                  </a:lnTo>
                  <a:lnTo>
                    <a:pt x="2260" y="4421"/>
                  </a:lnTo>
                  <a:lnTo>
                    <a:pt x="2260" y="4421"/>
                  </a:lnTo>
                  <a:lnTo>
                    <a:pt x="2258" y="4420"/>
                  </a:lnTo>
                  <a:lnTo>
                    <a:pt x="2257" y="4419"/>
                  </a:lnTo>
                  <a:lnTo>
                    <a:pt x="2257" y="4425"/>
                  </a:lnTo>
                  <a:lnTo>
                    <a:pt x="2255" y="4427"/>
                  </a:lnTo>
                  <a:lnTo>
                    <a:pt x="2253" y="4429"/>
                  </a:lnTo>
                  <a:lnTo>
                    <a:pt x="2253" y="4433"/>
                  </a:lnTo>
                  <a:lnTo>
                    <a:pt x="2253" y="4438"/>
                  </a:lnTo>
                  <a:lnTo>
                    <a:pt x="2255" y="4440"/>
                  </a:lnTo>
                  <a:lnTo>
                    <a:pt x="2258" y="4438"/>
                  </a:lnTo>
                  <a:lnTo>
                    <a:pt x="2260" y="4434"/>
                  </a:lnTo>
                  <a:lnTo>
                    <a:pt x="2261" y="4440"/>
                  </a:lnTo>
                  <a:lnTo>
                    <a:pt x="2264" y="4441"/>
                  </a:lnTo>
                  <a:lnTo>
                    <a:pt x="2271" y="4440"/>
                  </a:lnTo>
                  <a:lnTo>
                    <a:pt x="2266" y="4448"/>
                  </a:lnTo>
                  <a:lnTo>
                    <a:pt x="2262" y="4455"/>
                  </a:lnTo>
                  <a:lnTo>
                    <a:pt x="2260" y="4464"/>
                  </a:lnTo>
                  <a:lnTo>
                    <a:pt x="2259" y="4474"/>
                  </a:lnTo>
                  <a:lnTo>
                    <a:pt x="2260" y="4479"/>
                  </a:lnTo>
                  <a:lnTo>
                    <a:pt x="2261" y="4484"/>
                  </a:lnTo>
                  <a:lnTo>
                    <a:pt x="2263" y="4488"/>
                  </a:lnTo>
                  <a:lnTo>
                    <a:pt x="2265" y="4490"/>
                  </a:lnTo>
                  <a:lnTo>
                    <a:pt x="2265" y="4492"/>
                  </a:lnTo>
                  <a:lnTo>
                    <a:pt x="2265" y="4493"/>
                  </a:lnTo>
                  <a:lnTo>
                    <a:pt x="2266" y="4493"/>
                  </a:lnTo>
                  <a:lnTo>
                    <a:pt x="2270" y="4491"/>
                  </a:lnTo>
                  <a:lnTo>
                    <a:pt x="2271" y="4490"/>
                  </a:lnTo>
                  <a:close/>
                  <a:moveTo>
                    <a:pt x="2295" y="4373"/>
                  </a:moveTo>
                  <a:lnTo>
                    <a:pt x="2293" y="4372"/>
                  </a:lnTo>
                  <a:lnTo>
                    <a:pt x="2291" y="4371"/>
                  </a:lnTo>
                  <a:lnTo>
                    <a:pt x="2289" y="4372"/>
                  </a:lnTo>
                  <a:lnTo>
                    <a:pt x="2288" y="4373"/>
                  </a:lnTo>
                  <a:lnTo>
                    <a:pt x="2286" y="4375"/>
                  </a:lnTo>
                  <a:lnTo>
                    <a:pt x="2285" y="4377"/>
                  </a:lnTo>
                  <a:lnTo>
                    <a:pt x="2286" y="4378"/>
                  </a:lnTo>
                  <a:lnTo>
                    <a:pt x="2289" y="4380"/>
                  </a:lnTo>
                  <a:lnTo>
                    <a:pt x="2287" y="4384"/>
                  </a:lnTo>
                  <a:lnTo>
                    <a:pt x="2281" y="4393"/>
                  </a:lnTo>
                  <a:lnTo>
                    <a:pt x="2282" y="4395"/>
                  </a:lnTo>
                  <a:lnTo>
                    <a:pt x="2283" y="4398"/>
                  </a:lnTo>
                  <a:lnTo>
                    <a:pt x="2283" y="4401"/>
                  </a:lnTo>
                  <a:lnTo>
                    <a:pt x="2282" y="4404"/>
                  </a:lnTo>
                  <a:lnTo>
                    <a:pt x="2285" y="4408"/>
                  </a:lnTo>
                  <a:lnTo>
                    <a:pt x="2287" y="4412"/>
                  </a:lnTo>
                  <a:lnTo>
                    <a:pt x="2289" y="4423"/>
                  </a:lnTo>
                  <a:lnTo>
                    <a:pt x="2291" y="4429"/>
                  </a:lnTo>
                  <a:lnTo>
                    <a:pt x="2291" y="4431"/>
                  </a:lnTo>
                  <a:lnTo>
                    <a:pt x="2293" y="4433"/>
                  </a:lnTo>
                  <a:lnTo>
                    <a:pt x="2295" y="4434"/>
                  </a:lnTo>
                  <a:lnTo>
                    <a:pt x="2297" y="4435"/>
                  </a:lnTo>
                  <a:lnTo>
                    <a:pt x="2299" y="4434"/>
                  </a:lnTo>
                  <a:lnTo>
                    <a:pt x="2300" y="4431"/>
                  </a:lnTo>
                  <a:lnTo>
                    <a:pt x="2301" y="4430"/>
                  </a:lnTo>
                  <a:lnTo>
                    <a:pt x="2303" y="4430"/>
                  </a:lnTo>
                  <a:lnTo>
                    <a:pt x="2305" y="4432"/>
                  </a:lnTo>
                  <a:lnTo>
                    <a:pt x="2306" y="4434"/>
                  </a:lnTo>
                  <a:lnTo>
                    <a:pt x="2305" y="4437"/>
                  </a:lnTo>
                  <a:lnTo>
                    <a:pt x="2303" y="4436"/>
                  </a:lnTo>
                  <a:lnTo>
                    <a:pt x="2300" y="4435"/>
                  </a:lnTo>
                  <a:lnTo>
                    <a:pt x="2298" y="4436"/>
                  </a:lnTo>
                  <a:lnTo>
                    <a:pt x="2299" y="4439"/>
                  </a:lnTo>
                  <a:lnTo>
                    <a:pt x="2303" y="4440"/>
                  </a:lnTo>
                  <a:lnTo>
                    <a:pt x="2308" y="4440"/>
                  </a:lnTo>
                  <a:lnTo>
                    <a:pt x="2318" y="4431"/>
                  </a:lnTo>
                  <a:lnTo>
                    <a:pt x="2320" y="4426"/>
                  </a:lnTo>
                  <a:lnTo>
                    <a:pt x="2319" y="4420"/>
                  </a:lnTo>
                  <a:lnTo>
                    <a:pt x="2319" y="4411"/>
                  </a:lnTo>
                  <a:lnTo>
                    <a:pt x="2319" y="4408"/>
                  </a:lnTo>
                  <a:lnTo>
                    <a:pt x="2316" y="4402"/>
                  </a:lnTo>
                  <a:lnTo>
                    <a:pt x="2312" y="4392"/>
                  </a:lnTo>
                  <a:lnTo>
                    <a:pt x="2308" y="4384"/>
                  </a:lnTo>
                  <a:lnTo>
                    <a:pt x="2303" y="4378"/>
                  </a:lnTo>
                  <a:lnTo>
                    <a:pt x="2296" y="4376"/>
                  </a:lnTo>
                  <a:lnTo>
                    <a:pt x="2295" y="4373"/>
                  </a:lnTo>
                  <a:close/>
                  <a:moveTo>
                    <a:pt x="2301" y="4364"/>
                  </a:moveTo>
                  <a:lnTo>
                    <a:pt x="2299" y="4366"/>
                  </a:lnTo>
                  <a:lnTo>
                    <a:pt x="2300" y="4372"/>
                  </a:lnTo>
                  <a:lnTo>
                    <a:pt x="2303" y="4375"/>
                  </a:lnTo>
                  <a:lnTo>
                    <a:pt x="2306" y="4378"/>
                  </a:lnTo>
                  <a:lnTo>
                    <a:pt x="2310" y="4380"/>
                  </a:lnTo>
                  <a:lnTo>
                    <a:pt x="2314" y="4380"/>
                  </a:lnTo>
                  <a:lnTo>
                    <a:pt x="2314" y="4379"/>
                  </a:lnTo>
                  <a:lnTo>
                    <a:pt x="2315" y="4377"/>
                  </a:lnTo>
                  <a:lnTo>
                    <a:pt x="2317" y="4376"/>
                  </a:lnTo>
                  <a:lnTo>
                    <a:pt x="2318" y="4379"/>
                  </a:lnTo>
                  <a:lnTo>
                    <a:pt x="2319" y="4391"/>
                  </a:lnTo>
                  <a:lnTo>
                    <a:pt x="2322" y="4396"/>
                  </a:lnTo>
                  <a:lnTo>
                    <a:pt x="2325" y="4396"/>
                  </a:lnTo>
                  <a:lnTo>
                    <a:pt x="2332" y="4389"/>
                  </a:lnTo>
                  <a:lnTo>
                    <a:pt x="2335" y="4389"/>
                  </a:lnTo>
                  <a:lnTo>
                    <a:pt x="2340" y="4392"/>
                  </a:lnTo>
                  <a:lnTo>
                    <a:pt x="2343" y="4391"/>
                  </a:lnTo>
                  <a:lnTo>
                    <a:pt x="2340" y="4384"/>
                  </a:lnTo>
                  <a:lnTo>
                    <a:pt x="2338" y="4380"/>
                  </a:lnTo>
                  <a:lnTo>
                    <a:pt x="2337" y="4377"/>
                  </a:lnTo>
                  <a:lnTo>
                    <a:pt x="2345" y="4364"/>
                  </a:lnTo>
                  <a:lnTo>
                    <a:pt x="2346" y="4359"/>
                  </a:lnTo>
                  <a:lnTo>
                    <a:pt x="2346" y="4343"/>
                  </a:lnTo>
                  <a:lnTo>
                    <a:pt x="2346" y="4339"/>
                  </a:lnTo>
                  <a:lnTo>
                    <a:pt x="2344" y="4339"/>
                  </a:lnTo>
                  <a:lnTo>
                    <a:pt x="2340" y="4341"/>
                  </a:lnTo>
                  <a:lnTo>
                    <a:pt x="2338" y="4341"/>
                  </a:lnTo>
                  <a:lnTo>
                    <a:pt x="2338" y="4342"/>
                  </a:lnTo>
                  <a:lnTo>
                    <a:pt x="2338" y="4342"/>
                  </a:lnTo>
                  <a:lnTo>
                    <a:pt x="2337" y="4344"/>
                  </a:lnTo>
                  <a:lnTo>
                    <a:pt x="2336" y="4345"/>
                  </a:lnTo>
                  <a:lnTo>
                    <a:pt x="2335" y="4345"/>
                  </a:lnTo>
                  <a:lnTo>
                    <a:pt x="2334" y="4344"/>
                  </a:lnTo>
                  <a:lnTo>
                    <a:pt x="2333" y="4343"/>
                  </a:lnTo>
                  <a:lnTo>
                    <a:pt x="2323" y="4345"/>
                  </a:lnTo>
                  <a:lnTo>
                    <a:pt x="2322" y="4346"/>
                  </a:lnTo>
                  <a:lnTo>
                    <a:pt x="2320" y="4348"/>
                  </a:lnTo>
                  <a:lnTo>
                    <a:pt x="2319" y="4349"/>
                  </a:lnTo>
                  <a:lnTo>
                    <a:pt x="2318" y="4350"/>
                  </a:lnTo>
                  <a:lnTo>
                    <a:pt x="2317" y="4349"/>
                  </a:lnTo>
                  <a:lnTo>
                    <a:pt x="2316" y="4348"/>
                  </a:lnTo>
                  <a:lnTo>
                    <a:pt x="2314" y="4347"/>
                  </a:lnTo>
                  <a:lnTo>
                    <a:pt x="2313" y="4349"/>
                  </a:lnTo>
                  <a:lnTo>
                    <a:pt x="2312" y="4351"/>
                  </a:lnTo>
                  <a:lnTo>
                    <a:pt x="2311" y="4354"/>
                  </a:lnTo>
                  <a:lnTo>
                    <a:pt x="2312" y="4357"/>
                  </a:lnTo>
                  <a:lnTo>
                    <a:pt x="2313" y="4361"/>
                  </a:lnTo>
                  <a:lnTo>
                    <a:pt x="2313" y="4363"/>
                  </a:lnTo>
                  <a:lnTo>
                    <a:pt x="2301" y="4364"/>
                  </a:lnTo>
                  <a:close/>
                  <a:moveTo>
                    <a:pt x="2278" y="4352"/>
                  </a:moveTo>
                  <a:lnTo>
                    <a:pt x="2277" y="4351"/>
                  </a:lnTo>
                  <a:lnTo>
                    <a:pt x="2276" y="4348"/>
                  </a:lnTo>
                  <a:lnTo>
                    <a:pt x="2276" y="4345"/>
                  </a:lnTo>
                  <a:lnTo>
                    <a:pt x="2275" y="4342"/>
                  </a:lnTo>
                  <a:lnTo>
                    <a:pt x="2274" y="4339"/>
                  </a:lnTo>
                  <a:lnTo>
                    <a:pt x="2274" y="4337"/>
                  </a:lnTo>
                  <a:lnTo>
                    <a:pt x="2274" y="4336"/>
                  </a:lnTo>
                  <a:lnTo>
                    <a:pt x="2273" y="4338"/>
                  </a:lnTo>
                  <a:lnTo>
                    <a:pt x="2270" y="4343"/>
                  </a:lnTo>
                  <a:lnTo>
                    <a:pt x="2269" y="4347"/>
                  </a:lnTo>
                  <a:lnTo>
                    <a:pt x="2269" y="4349"/>
                  </a:lnTo>
                  <a:lnTo>
                    <a:pt x="2269" y="4350"/>
                  </a:lnTo>
                  <a:lnTo>
                    <a:pt x="2273" y="4354"/>
                  </a:lnTo>
                  <a:lnTo>
                    <a:pt x="2273" y="4355"/>
                  </a:lnTo>
                  <a:lnTo>
                    <a:pt x="2273" y="4357"/>
                  </a:lnTo>
                  <a:lnTo>
                    <a:pt x="2274" y="4359"/>
                  </a:lnTo>
                  <a:lnTo>
                    <a:pt x="2276" y="4362"/>
                  </a:lnTo>
                  <a:lnTo>
                    <a:pt x="2278" y="4362"/>
                  </a:lnTo>
                  <a:lnTo>
                    <a:pt x="2280" y="4362"/>
                  </a:lnTo>
                  <a:lnTo>
                    <a:pt x="2280" y="4363"/>
                  </a:lnTo>
                  <a:lnTo>
                    <a:pt x="2280" y="4365"/>
                  </a:lnTo>
                  <a:lnTo>
                    <a:pt x="2282" y="4367"/>
                  </a:lnTo>
                  <a:lnTo>
                    <a:pt x="2284" y="4366"/>
                  </a:lnTo>
                  <a:lnTo>
                    <a:pt x="2285" y="4363"/>
                  </a:lnTo>
                  <a:lnTo>
                    <a:pt x="2286" y="4360"/>
                  </a:lnTo>
                  <a:lnTo>
                    <a:pt x="2289" y="4356"/>
                  </a:lnTo>
                  <a:lnTo>
                    <a:pt x="2289" y="4352"/>
                  </a:lnTo>
                  <a:lnTo>
                    <a:pt x="2289" y="4350"/>
                  </a:lnTo>
                  <a:lnTo>
                    <a:pt x="2289" y="4348"/>
                  </a:lnTo>
                  <a:lnTo>
                    <a:pt x="2289" y="4345"/>
                  </a:lnTo>
                  <a:lnTo>
                    <a:pt x="2287" y="4341"/>
                  </a:lnTo>
                  <a:lnTo>
                    <a:pt x="2286" y="4339"/>
                  </a:lnTo>
                  <a:lnTo>
                    <a:pt x="2285" y="4338"/>
                  </a:lnTo>
                  <a:lnTo>
                    <a:pt x="2284" y="4338"/>
                  </a:lnTo>
                  <a:lnTo>
                    <a:pt x="2283" y="4341"/>
                  </a:lnTo>
                  <a:lnTo>
                    <a:pt x="2283" y="4340"/>
                  </a:lnTo>
                  <a:lnTo>
                    <a:pt x="2281" y="4338"/>
                  </a:lnTo>
                  <a:lnTo>
                    <a:pt x="2281" y="4336"/>
                  </a:lnTo>
                  <a:lnTo>
                    <a:pt x="2282" y="4336"/>
                  </a:lnTo>
                  <a:lnTo>
                    <a:pt x="2281" y="4333"/>
                  </a:lnTo>
                  <a:lnTo>
                    <a:pt x="2278" y="4329"/>
                  </a:lnTo>
                  <a:lnTo>
                    <a:pt x="2277" y="4327"/>
                  </a:lnTo>
                  <a:lnTo>
                    <a:pt x="2276" y="4327"/>
                  </a:lnTo>
                  <a:lnTo>
                    <a:pt x="2274" y="4327"/>
                  </a:lnTo>
                  <a:lnTo>
                    <a:pt x="2274" y="4330"/>
                  </a:lnTo>
                  <a:lnTo>
                    <a:pt x="2275" y="4336"/>
                  </a:lnTo>
                  <a:lnTo>
                    <a:pt x="2276" y="4337"/>
                  </a:lnTo>
                  <a:lnTo>
                    <a:pt x="2276" y="4337"/>
                  </a:lnTo>
                  <a:lnTo>
                    <a:pt x="2277" y="4339"/>
                  </a:lnTo>
                  <a:lnTo>
                    <a:pt x="2278" y="4343"/>
                  </a:lnTo>
                  <a:lnTo>
                    <a:pt x="2280" y="4347"/>
                  </a:lnTo>
                  <a:lnTo>
                    <a:pt x="2280" y="4348"/>
                  </a:lnTo>
                  <a:lnTo>
                    <a:pt x="2280" y="4348"/>
                  </a:lnTo>
                  <a:lnTo>
                    <a:pt x="2280" y="4349"/>
                  </a:lnTo>
                  <a:lnTo>
                    <a:pt x="2280" y="4350"/>
                  </a:lnTo>
                  <a:lnTo>
                    <a:pt x="2280" y="4351"/>
                  </a:lnTo>
                  <a:lnTo>
                    <a:pt x="2278" y="4352"/>
                  </a:lnTo>
                  <a:close/>
                  <a:moveTo>
                    <a:pt x="2258" y="4304"/>
                  </a:moveTo>
                  <a:lnTo>
                    <a:pt x="2259" y="4301"/>
                  </a:lnTo>
                  <a:lnTo>
                    <a:pt x="2259" y="4296"/>
                  </a:lnTo>
                  <a:lnTo>
                    <a:pt x="2259" y="4291"/>
                  </a:lnTo>
                  <a:lnTo>
                    <a:pt x="2258" y="4288"/>
                  </a:lnTo>
                  <a:lnTo>
                    <a:pt x="2257" y="4284"/>
                  </a:lnTo>
                  <a:lnTo>
                    <a:pt x="2255" y="4281"/>
                  </a:lnTo>
                  <a:lnTo>
                    <a:pt x="2250" y="4277"/>
                  </a:lnTo>
                  <a:lnTo>
                    <a:pt x="2249" y="4273"/>
                  </a:lnTo>
                  <a:lnTo>
                    <a:pt x="2255" y="4274"/>
                  </a:lnTo>
                  <a:lnTo>
                    <a:pt x="2257" y="4269"/>
                  </a:lnTo>
                  <a:lnTo>
                    <a:pt x="2256" y="4262"/>
                  </a:lnTo>
                  <a:lnTo>
                    <a:pt x="2253" y="4254"/>
                  </a:lnTo>
                  <a:lnTo>
                    <a:pt x="2242" y="4237"/>
                  </a:lnTo>
                  <a:lnTo>
                    <a:pt x="2238" y="4225"/>
                  </a:lnTo>
                  <a:lnTo>
                    <a:pt x="2238" y="4224"/>
                  </a:lnTo>
                  <a:lnTo>
                    <a:pt x="2236" y="4223"/>
                  </a:lnTo>
                  <a:lnTo>
                    <a:pt x="2233" y="4224"/>
                  </a:lnTo>
                  <a:lnTo>
                    <a:pt x="2232" y="4227"/>
                  </a:lnTo>
                  <a:lnTo>
                    <a:pt x="2234" y="4235"/>
                  </a:lnTo>
                  <a:lnTo>
                    <a:pt x="2235" y="4238"/>
                  </a:lnTo>
                  <a:lnTo>
                    <a:pt x="2236" y="4239"/>
                  </a:lnTo>
                  <a:lnTo>
                    <a:pt x="2237" y="4242"/>
                  </a:lnTo>
                  <a:lnTo>
                    <a:pt x="2235" y="4247"/>
                  </a:lnTo>
                  <a:lnTo>
                    <a:pt x="2236" y="4250"/>
                  </a:lnTo>
                  <a:lnTo>
                    <a:pt x="2237" y="4258"/>
                  </a:lnTo>
                  <a:lnTo>
                    <a:pt x="2238" y="4260"/>
                  </a:lnTo>
                  <a:lnTo>
                    <a:pt x="2240" y="4262"/>
                  </a:lnTo>
                  <a:lnTo>
                    <a:pt x="2242" y="4265"/>
                  </a:lnTo>
                  <a:lnTo>
                    <a:pt x="2245" y="4266"/>
                  </a:lnTo>
                  <a:lnTo>
                    <a:pt x="2247" y="4264"/>
                  </a:lnTo>
                  <a:lnTo>
                    <a:pt x="2245" y="4273"/>
                  </a:lnTo>
                  <a:lnTo>
                    <a:pt x="2242" y="4270"/>
                  </a:lnTo>
                  <a:lnTo>
                    <a:pt x="2240" y="4270"/>
                  </a:lnTo>
                  <a:lnTo>
                    <a:pt x="2232" y="4272"/>
                  </a:lnTo>
                  <a:lnTo>
                    <a:pt x="2231" y="4274"/>
                  </a:lnTo>
                  <a:lnTo>
                    <a:pt x="2231" y="4277"/>
                  </a:lnTo>
                  <a:lnTo>
                    <a:pt x="2233" y="4282"/>
                  </a:lnTo>
                  <a:lnTo>
                    <a:pt x="2236" y="4287"/>
                  </a:lnTo>
                  <a:lnTo>
                    <a:pt x="2240" y="4293"/>
                  </a:lnTo>
                  <a:lnTo>
                    <a:pt x="2244" y="4294"/>
                  </a:lnTo>
                  <a:lnTo>
                    <a:pt x="2245" y="4286"/>
                  </a:lnTo>
                  <a:lnTo>
                    <a:pt x="2247" y="4289"/>
                  </a:lnTo>
                  <a:lnTo>
                    <a:pt x="2249" y="4293"/>
                  </a:lnTo>
                  <a:lnTo>
                    <a:pt x="2250" y="4298"/>
                  </a:lnTo>
                  <a:lnTo>
                    <a:pt x="2250" y="4303"/>
                  </a:lnTo>
                  <a:lnTo>
                    <a:pt x="2252" y="4303"/>
                  </a:lnTo>
                  <a:lnTo>
                    <a:pt x="2255" y="4304"/>
                  </a:lnTo>
                  <a:lnTo>
                    <a:pt x="2258" y="4304"/>
                  </a:lnTo>
                  <a:close/>
                  <a:moveTo>
                    <a:pt x="2260" y="4228"/>
                  </a:moveTo>
                  <a:lnTo>
                    <a:pt x="2260" y="4233"/>
                  </a:lnTo>
                  <a:lnTo>
                    <a:pt x="2261" y="4236"/>
                  </a:lnTo>
                  <a:lnTo>
                    <a:pt x="2264" y="4236"/>
                  </a:lnTo>
                  <a:lnTo>
                    <a:pt x="2272" y="4231"/>
                  </a:lnTo>
                  <a:lnTo>
                    <a:pt x="2274" y="4227"/>
                  </a:lnTo>
                  <a:lnTo>
                    <a:pt x="2274" y="4221"/>
                  </a:lnTo>
                  <a:lnTo>
                    <a:pt x="2272" y="4214"/>
                  </a:lnTo>
                  <a:lnTo>
                    <a:pt x="2265" y="4204"/>
                  </a:lnTo>
                  <a:lnTo>
                    <a:pt x="2246" y="4197"/>
                  </a:lnTo>
                  <a:lnTo>
                    <a:pt x="2238" y="4188"/>
                  </a:lnTo>
                  <a:lnTo>
                    <a:pt x="2237" y="4187"/>
                  </a:lnTo>
                  <a:lnTo>
                    <a:pt x="2237" y="4187"/>
                  </a:lnTo>
                  <a:lnTo>
                    <a:pt x="2235" y="4186"/>
                  </a:lnTo>
                  <a:lnTo>
                    <a:pt x="2238" y="4197"/>
                  </a:lnTo>
                  <a:lnTo>
                    <a:pt x="2240" y="4203"/>
                  </a:lnTo>
                  <a:lnTo>
                    <a:pt x="2242" y="4205"/>
                  </a:lnTo>
                  <a:lnTo>
                    <a:pt x="2244" y="4205"/>
                  </a:lnTo>
                  <a:lnTo>
                    <a:pt x="2246" y="4203"/>
                  </a:lnTo>
                  <a:lnTo>
                    <a:pt x="2248" y="4203"/>
                  </a:lnTo>
                  <a:lnTo>
                    <a:pt x="2250" y="4204"/>
                  </a:lnTo>
                  <a:lnTo>
                    <a:pt x="2250" y="4207"/>
                  </a:lnTo>
                  <a:lnTo>
                    <a:pt x="2251" y="4210"/>
                  </a:lnTo>
                  <a:lnTo>
                    <a:pt x="2251" y="4212"/>
                  </a:lnTo>
                  <a:lnTo>
                    <a:pt x="2254" y="4212"/>
                  </a:lnTo>
                  <a:lnTo>
                    <a:pt x="2254" y="4214"/>
                  </a:lnTo>
                  <a:lnTo>
                    <a:pt x="2253" y="4214"/>
                  </a:lnTo>
                  <a:lnTo>
                    <a:pt x="2253" y="4215"/>
                  </a:lnTo>
                  <a:lnTo>
                    <a:pt x="2251" y="4216"/>
                  </a:lnTo>
                  <a:lnTo>
                    <a:pt x="2254" y="4219"/>
                  </a:lnTo>
                  <a:lnTo>
                    <a:pt x="2262" y="4223"/>
                  </a:lnTo>
                  <a:lnTo>
                    <a:pt x="2260" y="4225"/>
                  </a:lnTo>
                  <a:lnTo>
                    <a:pt x="2260" y="4228"/>
                  </a:lnTo>
                  <a:close/>
                  <a:moveTo>
                    <a:pt x="2217" y="4163"/>
                  </a:moveTo>
                  <a:lnTo>
                    <a:pt x="2216" y="4163"/>
                  </a:lnTo>
                  <a:lnTo>
                    <a:pt x="2214" y="4163"/>
                  </a:lnTo>
                  <a:lnTo>
                    <a:pt x="2214" y="4162"/>
                  </a:lnTo>
                  <a:lnTo>
                    <a:pt x="2215" y="4161"/>
                  </a:lnTo>
                  <a:lnTo>
                    <a:pt x="2214" y="4160"/>
                  </a:lnTo>
                  <a:lnTo>
                    <a:pt x="2214" y="4158"/>
                  </a:lnTo>
                  <a:lnTo>
                    <a:pt x="2213" y="4157"/>
                  </a:lnTo>
                  <a:lnTo>
                    <a:pt x="2213" y="4156"/>
                  </a:lnTo>
                  <a:lnTo>
                    <a:pt x="2213" y="4154"/>
                  </a:lnTo>
                  <a:lnTo>
                    <a:pt x="2211" y="4153"/>
                  </a:lnTo>
                  <a:lnTo>
                    <a:pt x="2210" y="4151"/>
                  </a:lnTo>
                  <a:lnTo>
                    <a:pt x="2208" y="4151"/>
                  </a:lnTo>
                  <a:lnTo>
                    <a:pt x="2207" y="4154"/>
                  </a:lnTo>
                  <a:lnTo>
                    <a:pt x="2207" y="4157"/>
                  </a:lnTo>
                  <a:lnTo>
                    <a:pt x="2208" y="4158"/>
                  </a:lnTo>
                  <a:lnTo>
                    <a:pt x="2208" y="4160"/>
                  </a:lnTo>
                  <a:lnTo>
                    <a:pt x="2208" y="4163"/>
                  </a:lnTo>
                  <a:lnTo>
                    <a:pt x="2209" y="4167"/>
                  </a:lnTo>
                  <a:lnTo>
                    <a:pt x="2209" y="4167"/>
                  </a:lnTo>
                  <a:lnTo>
                    <a:pt x="2208" y="4168"/>
                  </a:lnTo>
                  <a:lnTo>
                    <a:pt x="2208" y="4168"/>
                  </a:lnTo>
                  <a:lnTo>
                    <a:pt x="2207" y="4167"/>
                  </a:lnTo>
                  <a:lnTo>
                    <a:pt x="2207" y="4169"/>
                  </a:lnTo>
                  <a:lnTo>
                    <a:pt x="2208" y="4172"/>
                  </a:lnTo>
                  <a:lnTo>
                    <a:pt x="2208" y="4173"/>
                  </a:lnTo>
                  <a:lnTo>
                    <a:pt x="2206" y="4173"/>
                  </a:lnTo>
                  <a:lnTo>
                    <a:pt x="2207" y="4175"/>
                  </a:lnTo>
                  <a:lnTo>
                    <a:pt x="2210" y="4176"/>
                  </a:lnTo>
                  <a:lnTo>
                    <a:pt x="2213" y="4177"/>
                  </a:lnTo>
                  <a:lnTo>
                    <a:pt x="2216" y="4177"/>
                  </a:lnTo>
                  <a:lnTo>
                    <a:pt x="2216" y="4176"/>
                  </a:lnTo>
                  <a:lnTo>
                    <a:pt x="2216" y="4170"/>
                  </a:lnTo>
                  <a:lnTo>
                    <a:pt x="2217" y="4169"/>
                  </a:lnTo>
                  <a:lnTo>
                    <a:pt x="2218" y="4168"/>
                  </a:lnTo>
                  <a:lnTo>
                    <a:pt x="2218" y="4166"/>
                  </a:lnTo>
                  <a:lnTo>
                    <a:pt x="2217" y="4163"/>
                  </a:lnTo>
                  <a:close/>
                  <a:moveTo>
                    <a:pt x="2350" y="4169"/>
                  </a:moveTo>
                  <a:lnTo>
                    <a:pt x="2350" y="4148"/>
                  </a:lnTo>
                  <a:lnTo>
                    <a:pt x="2347" y="4144"/>
                  </a:lnTo>
                  <a:lnTo>
                    <a:pt x="2342" y="4142"/>
                  </a:lnTo>
                  <a:lnTo>
                    <a:pt x="2338" y="4144"/>
                  </a:lnTo>
                  <a:lnTo>
                    <a:pt x="2335" y="4148"/>
                  </a:lnTo>
                  <a:lnTo>
                    <a:pt x="2335" y="4151"/>
                  </a:lnTo>
                  <a:lnTo>
                    <a:pt x="2335" y="4159"/>
                  </a:lnTo>
                  <a:lnTo>
                    <a:pt x="2333" y="4162"/>
                  </a:lnTo>
                  <a:lnTo>
                    <a:pt x="2332" y="4164"/>
                  </a:lnTo>
                  <a:lnTo>
                    <a:pt x="2328" y="4167"/>
                  </a:lnTo>
                  <a:lnTo>
                    <a:pt x="2324" y="4171"/>
                  </a:lnTo>
                  <a:lnTo>
                    <a:pt x="2317" y="4174"/>
                  </a:lnTo>
                  <a:lnTo>
                    <a:pt x="2310" y="4180"/>
                  </a:lnTo>
                  <a:lnTo>
                    <a:pt x="2309" y="4182"/>
                  </a:lnTo>
                  <a:lnTo>
                    <a:pt x="2307" y="4185"/>
                  </a:lnTo>
                  <a:lnTo>
                    <a:pt x="2306" y="4186"/>
                  </a:lnTo>
                  <a:lnTo>
                    <a:pt x="2303" y="4188"/>
                  </a:lnTo>
                  <a:lnTo>
                    <a:pt x="2295" y="4188"/>
                  </a:lnTo>
                  <a:lnTo>
                    <a:pt x="2293" y="4190"/>
                  </a:lnTo>
                  <a:lnTo>
                    <a:pt x="2304" y="4201"/>
                  </a:lnTo>
                  <a:lnTo>
                    <a:pt x="2310" y="4212"/>
                  </a:lnTo>
                  <a:lnTo>
                    <a:pt x="2312" y="4214"/>
                  </a:lnTo>
                  <a:lnTo>
                    <a:pt x="2314" y="4215"/>
                  </a:lnTo>
                  <a:lnTo>
                    <a:pt x="2319" y="4223"/>
                  </a:lnTo>
                  <a:lnTo>
                    <a:pt x="2321" y="4225"/>
                  </a:lnTo>
                  <a:lnTo>
                    <a:pt x="2325" y="4225"/>
                  </a:lnTo>
                  <a:lnTo>
                    <a:pt x="2338" y="4223"/>
                  </a:lnTo>
                  <a:lnTo>
                    <a:pt x="2338" y="4221"/>
                  </a:lnTo>
                  <a:lnTo>
                    <a:pt x="2339" y="4218"/>
                  </a:lnTo>
                  <a:lnTo>
                    <a:pt x="2340" y="4215"/>
                  </a:lnTo>
                  <a:lnTo>
                    <a:pt x="2342" y="4214"/>
                  </a:lnTo>
                  <a:lnTo>
                    <a:pt x="2347" y="4214"/>
                  </a:lnTo>
                  <a:lnTo>
                    <a:pt x="2348" y="4213"/>
                  </a:lnTo>
                  <a:lnTo>
                    <a:pt x="2349" y="4210"/>
                  </a:lnTo>
                  <a:lnTo>
                    <a:pt x="2348" y="4195"/>
                  </a:lnTo>
                  <a:lnTo>
                    <a:pt x="2348" y="4190"/>
                  </a:lnTo>
                  <a:lnTo>
                    <a:pt x="2350" y="4174"/>
                  </a:lnTo>
                  <a:lnTo>
                    <a:pt x="2350" y="4169"/>
                  </a:lnTo>
                  <a:close/>
                  <a:moveTo>
                    <a:pt x="2230" y="4088"/>
                  </a:moveTo>
                  <a:lnTo>
                    <a:pt x="2230" y="4087"/>
                  </a:lnTo>
                  <a:lnTo>
                    <a:pt x="2229" y="4086"/>
                  </a:lnTo>
                  <a:lnTo>
                    <a:pt x="2229" y="4085"/>
                  </a:lnTo>
                  <a:lnTo>
                    <a:pt x="2229" y="4084"/>
                  </a:lnTo>
                  <a:lnTo>
                    <a:pt x="2229" y="4082"/>
                  </a:lnTo>
                  <a:lnTo>
                    <a:pt x="2225" y="4073"/>
                  </a:lnTo>
                  <a:lnTo>
                    <a:pt x="2223" y="4071"/>
                  </a:lnTo>
                  <a:lnTo>
                    <a:pt x="2221" y="4069"/>
                  </a:lnTo>
                  <a:lnTo>
                    <a:pt x="2221" y="4068"/>
                  </a:lnTo>
                  <a:lnTo>
                    <a:pt x="2222" y="4067"/>
                  </a:lnTo>
                  <a:lnTo>
                    <a:pt x="2223" y="4067"/>
                  </a:lnTo>
                  <a:lnTo>
                    <a:pt x="2223" y="4065"/>
                  </a:lnTo>
                  <a:lnTo>
                    <a:pt x="2221" y="4064"/>
                  </a:lnTo>
                  <a:lnTo>
                    <a:pt x="2218" y="4064"/>
                  </a:lnTo>
                  <a:lnTo>
                    <a:pt x="2214" y="4066"/>
                  </a:lnTo>
                  <a:lnTo>
                    <a:pt x="2214" y="4065"/>
                  </a:lnTo>
                  <a:lnTo>
                    <a:pt x="2215" y="4064"/>
                  </a:lnTo>
                  <a:lnTo>
                    <a:pt x="2216" y="4063"/>
                  </a:lnTo>
                  <a:lnTo>
                    <a:pt x="2216" y="4061"/>
                  </a:lnTo>
                  <a:lnTo>
                    <a:pt x="2209" y="4063"/>
                  </a:lnTo>
                  <a:lnTo>
                    <a:pt x="2207" y="4064"/>
                  </a:lnTo>
                  <a:lnTo>
                    <a:pt x="2206" y="4065"/>
                  </a:lnTo>
                  <a:lnTo>
                    <a:pt x="2207" y="4067"/>
                  </a:lnTo>
                  <a:lnTo>
                    <a:pt x="2207" y="4069"/>
                  </a:lnTo>
                  <a:lnTo>
                    <a:pt x="2207" y="4069"/>
                  </a:lnTo>
                  <a:lnTo>
                    <a:pt x="2207" y="4070"/>
                  </a:lnTo>
                  <a:lnTo>
                    <a:pt x="2208" y="4069"/>
                  </a:lnTo>
                  <a:lnTo>
                    <a:pt x="2210" y="4070"/>
                  </a:lnTo>
                  <a:lnTo>
                    <a:pt x="2211" y="4071"/>
                  </a:lnTo>
                  <a:lnTo>
                    <a:pt x="2212" y="4071"/>
                  </a:lnTo>
                  <a:lnTo>
                    <a:pt x="2213" y="4069"/>
                  </a:lnTo>
                  <a:lnTo>
                    <a:pt x="2214" y="4069"/>
                  </a:lnTo>
                  <a:lnTo>
                    <a:pt x="2215" y="4070"/>
                  </a:lnTo>
                  <a:lnTo>
                    <a:pt x="2215" y="4073"/>
                  </a:lnTo>
                  <a:lnTo>
                    <a:pt x="2215" y="4074"/>
                  </a:lnTo>
                  <a:lnTo>
                    <a:pt x="2215" y="4077"/>
                  </a:lnTo>
                  <a:lnTo>
                    <a:pt x="2217" y="4078"/>
                  </a:lnTo>
                  <a:lnTo>
                    <a:pt x="2219" y="4080"/>
                  </a:lnTo>
                  <a:lnTo>
                    <a:pt x="2220" y="4080"/>
                  </a:lnTo>
                  <a:lnTo>
                    <a:pt x="2221" y="4079"/>
                  </a:lnTo>
                  <a:lnTo>
                    <a:pt x="2221" y="4080"/>
                  </a:lnTo>
                  <a:lnTo>
                    <a:pt x="2221" y="4083"/>
                  </a:lnTo>
                  <a:lnTo>
                    <a:pt x="2222" y="4087"/>
                  </a:lnTo>
                  <a:lnTo>
                    <a:pt x="2225" y="4089"/>
                  </a:lnTo>
                  <a:lnTo>
                    <a:pt x="2228" y="4090"/>
                  </a:lnTo>
                  <a:lnTo>
                    <a:pt x="2230" y="4090"/>
                  </a:lnTo>
                  <a:lnTo>
                    <a:pt x="2230" y="4089"/>
                  </a:lnTo>
                  <a:lnTo>
                    <a:pt x="2230" y="4088"/>
                  </a:lnTo>
                  <a:close/>
                  <a:moveTo>
                    <a:pt x="2197" y="4030"/>
                  </a:moveTo>
                  <a:lnTo>
                    <a:pt x="2196" y="4027"/>
                  </a:lnTo>
                  <a:lnTo>
                    <a:pt x="2196" y="4025"/>
                  </a:lnTo>
                  <a:lnTo>
                    <a:pt x="2196" y="4023"/>
                  </a:lnTo>
                  <a:lnTo>
                    <a:pt x="2195" y="4020"/>
                  </a:lnTo>
                  <a:lnTo>
                    <a:pt x="2195" y="4018"/>
                  </a:lnTo>
                  <a:lnTo>
                    <a:pt x="2194" y="4016"/>
                  </a:lnTo>
                  <a:lnTo>
                    <a:pt x="2192" y="4015"/>
                  </a:lnTo>
                  <a:lnTo>
                    <a:pt x="2191" y="4016"/>
                  </a:lnTo>
                  <a:lnTo>
                    <a:pt x="2190" y="4019"/>
                  </a:lnTo>
                  <a:lnTo>
                    <a:pt x="2189" y="4020"/>
                  </a:lnTo>
                  <a:lnTo>
                    <a:pt x="2188" y="4020"/>
                  </a:lnTo>
                  <a:lnTo>
                    <a:pt x="2187" y="4021"/>
                  </a:lnTo>
                  <a:lnTo>
                    <a:pt x="2185" y="4023"/>
                  </a:lnTo>
                  <a:lnTo>
                    <a:pt x="2185" y="4024"/>
                  </a:lnTo>
                  <a:lnTo>
                    <a:pt x="2186" y="4025"/>
                  </a:lnTo>
                  <a:lnTo>
                    <a:pt x="2186" y="4025"/>
                  </a:lnTo>
                  <a:lnTo>
                    <a:pt x="2185" y="4028"/>
                  </a:lnTo>
                  <a:lnTo>
                    <a:pt x="2185" y="4031"/>
                  </a:lnTo>
                  <a:lnTo>
                    <a:pt x="2186" y="4034"/>
                  </a:lnTo>
                  <a:lnTo>
                    <a:pt x="2187" y="4036"/>
                  </a:lnTo>
                  <a:lnTo>
                    <a:pt x="2188" y="4036"/>
                  </a:lnTo>
                  <a:lnTo>
                    <a:pt x="2189" y="4038"/>
                  </a:lnTo>
                  <a:lnTo>
                    <a:pt x="2189" y="4041"/>
                  </a:lnTo>
                  <a:lnTo>
                    <a:pt x="2191" y="4044"/>
                  </a:lnTo>
                  <a:lnTo>
                    <a:pt x="2192" y="4043"/>
                  </a:lnTo>
                  <a:lnTo>
                    <a:pt x="2192" y="4042"/>
                  </a:lnTo>
                  <a:lnTo>
                    <a:pt x="2193" y="4040"/>
                  </a:lnTo>
                  <a:lnTo>
                    <a:pt x="2195" y="4036"/>
                  </a:lnTo>
                  <a:lnTo>
                    <a:pt x="2195" y="4036"/>
                  </a:lnTo>
                  <a:lnTo>
                    <a:pt x="2195" y="4039"/>
                  </a:lnTo>
                  <a:lnTo>
                    <a:pt x="2194" y="4042"/>
                  </a:lnTo>
                  <a:lnTo>
                    <a:pt x="2194" y="4044"/>
                  </a:lnTo>
                  <a:lnTo>
                    <a:pt x="2195" y="4046"/>
                  </a:lnTo>
                  <a:lnTo>
                    <a:pt x="2197" y="4045"/>
                  </a:lnTo>
                  <a:lnTo>
                    <a:pt x="2199" y="4043"/>
                  </a:lnTo>
                  <a:lnTo>
                    <a:pt x="2200" y="4038"/>
                  </a:lnTo>
                  <a:lnTo>
                    <a:pt x="2200" y="4034"/>
                  </a:lnTo>
                  <a:lnTo>
                    <a:pt x="2199" y="4031"/>
                  </a:lnTo>
                  <a:lnTo>
                    <a:pt x="2197" y="4030"/>
                  </a:lnTo>
                  <a:close/>
                  <a:moveTo>
                    <a:pt x="2209" y="4001"/>
                  </a:moveTo>
                  <a:lnTo>
                    <a:pt x="2209" y="4004"/>
                  </a:lnTo>
                  <a:lnTo>
                    <a:pt x="2209" y="4015"/>
                  </a:lnTo>
                  <a:lnTo>
                    <a:pt x="2209" y="4022"/>
                  </a:lnTo>
                  <a:lnTo>
                    <a:pt x="2210" y="4027"/>
                  </a:lnTo>
                  <a:lnTo>
                    <a:pt x="2211" y="4025"/>
                  </a:lnTo>
                  <a:lnTo>
                    <a:pt x="2212" y="4022"/>
                  </a:lnTo>
                  <a:lnTo>
                    <a:pt x="2212" y="4020"/>
                  </a:lnTo>
                  <a:lnTo>
                    <a:pt x="2213" y="4017"/>
                  </a:lnTo>
                  <a:lnTo>
                    <a:pt x="2214" y="4016"/>
                  </a:lnTo>
                  <a:lnTo>
                    <a:pt x="2218" y="4011"/>
                  </a:lnTo>
                  <a:lnTo>
                    <a:pt x="2219" y="4010"/>
                  </a:lnTo>
                  <a:lnTo>
                    <a:pt x="2221" y="4013"/>
                  </a:lnTo>
                  <a:lnTo>
                    <a:pt x="2223" y="4020"/>
                  </a:lnTo>
                  <a:lnTo>
                    <a:pt x="2225" y="4024"/>
                  </a:lnTo>
                  <a:lnTo>
                    <a:pt x="2227" y="4022"/>
                  </a:lnTo>
                  <a:lnTo>
                    <a:pt x="2230" y="4018"/>
                  </a:lnTo>
                  <a:lnTo>
                    <a:pt x="2236" y="4012"/>
                  </a:lnTo>
                  <a:lnTo>
                    <a:pt x="2239" y="4008"/>
                  </a:lnTo>
                  <a:lnTo>
                    <a:pt x="2239" y="4003"/>
                  </a:lnTo>
                  <a:lnTo>
                    <a:pt x="2235" y="3984"/>
                  </a:lnTo>
                  <a:lnTo>
                    <a:pt x="2234" y="3982"/>
                  </a:lnTo>
                  <a:lnTo>
                    <a:pt x="2232" y="3980"/>
                  </a:lnTo>
                  <a:lnTo>
                    <a:pt x="2231" y="3980"/>
                  </a:lnTo>
                  <a:lnTo>
                    <a:pt x="2229" y="3980"/>
                  </a:lnTo>
                  <a:lnTo>
                    <a:pt x="2229" y="3981"/>
                  </a:lnTo>
                  <a:lnTo>
                    <a:pt x="2230" y="3983"/>
                  </a:lnTo>
                  <a:lnTo>
                    <a:pt x="2231" y="3984"/>
                  </a:lnTo>
                  <a:lnTo>
                    <a:pt x="2230" y="3986"/>
                  </a:lnTo>
                  <a:lnTo>
                    <a:pt x="2228" y="3987"/>
                  </a:lnTo>
                  <a:lnTo>
                    <a:pt x="2227" y="3987"/>
                  </a:lnTo>
                  <a:lnTo>
                    <a:pt x="2226" y="3987"/>
                  </a:lnTo>
                  <a:lnTo>
                    <a:pt x="2226" y="3989"/>
                  </a:lnTo>
                  <a:lnTo>
                    <a:pt x="2226" y="3992"/>
                  </a:lnTo>
                  <a:lnTo>
                    <a:pt x="2226" y="3995"/>
                  </a:lnTo>
                  <a:lnTo>
                    <a:pt x="2226" y="3997"/>
                  </a:lnTo>
                  <a:lnTo>
                    <a:pt x="2225" y="3998"/>
                  </a:lnTo>
                  <a:lnTo>
                    <a:pt x="2224" y="3995"/>
                  </a:lnTo>
                  <a:lnTo>
                    <a:pt x="2223" y="3989"/>
                  </a:lnTo>
                  <a:lnTo>
                    <a:pt x="2221" y="3979"/>
                  </a:lnTo>
                  <a:lnTo>
                    <a:pt x="2220" y="3976"/>
                  </a:lnTo>
                  <a:lnTo>
                    <a:pt x="2217" y="3978"/>
                  </a:lnTo>
                  <a:lnTo>
                    <a:pt x="2221" y="3993"/>
                  </a:lnTo>
                  <a:lnTo>
                    <a:pt x="2221" y="3998"/>
                  </a:lnTo>
                  <a:lnTo>
                    <a:pt x="2220" y="4003"/>
                  </a:lnTo>
                  <a:lnTo>
                    <a:pt x="2218" y="4000"/>
                  </a:lnTo>
                  <a:lnTo>
                    <a:pt x="2214" y="3989"/>
                  </a:lnTo>
                  <a:lnTo>
                    <a:pt x="2212" y="3992"/>
                  </a:lnTo>
                  <a:lnTo>
                    <a:pt x="2209" y="3992"/>
                  </a:lnTo>
                  <a:lnTo>
                    <a:pt x="2208" y="3995"/>
                  </a:lnTo>
                  <a:lnTo>
                    <a:pt x="2208" y="3998"/>
                  </a:lnTo>
                  <a:lnTo>
                    <a:pt x="2209" y="4001"/>
                  </a:lnTo>
                  <a:close/>
                  <a:moveTo>
                    <a:pt x="2221" y="3806"/>
                  </a:moveTo>
                  <a:lnTo>
                    <a:pt x="2220" y="3808"/>
                  </a:lnTo>
                  <a:lnTo>
                    <a:pt x="2219" y="3810"/>
                  </a:lnTo>
                  <a:lnTo>
                    <a:pt x="2217" y="3810"/>
                  </a:lnTo>
                  <a:lnTo>
                    <a:pt x="2216" y="3811"/>
                  </a:lnTo>
                  <a:lnTo>
                    <a:pt x="2215" y="3813"/>
                  </a:lnTo>
                  <a:lnTo>
                    <a:pt x="2214" y="3815"/>
                  </a:lnTo>
                  <a:lnTo>
                    <a:pt x="2215" y="3817"/>
                  </a:lnTo>
                  <a:lnTo>
                    <a:pt x="2215" y="3819"/>
                  </a:lnTo>
                  <a:lnTo>
                    <a:pt x="2216" y="3821"/>
                  </a:lnTo>
                  <a:lnTo>
                    <a:pt x="2217" y="3823"/>
                  </a:lnTo>
                  <a:lnTo>
                    <a:pt x="2218" y="3823"/>
                  </a:lnTo>
                  <a:lnTo>
                    <a:pt x="2219" y="3824"/>
                  </a:lnTo>
                  <a:lnTo>
                    <a:pt x="2220" y="3825"/>
                  </a:lnTo>
                  <a:lnTo>
                    <a:pt x="2223" y="3823"/>
                  </a:lnTo>
                  <a:lnTo>
                    <a:pt x="2224" y="3824"/>
                  </a:lnTo>
                  <a:lnTo>
                    <a:pt x="2225" y="3825"/>
                  </a:lnTo>
                  <a:lnTo>
                    <a:pt x="2226" y="3826"/>
                  </a:lnTo>
                  <a:lnTo>
                    <a:pt x="2226" y="3827"/>
                  </a:lnTo>
                  <a:lnTo>
                    <a:pt x="2226" y="3824"/>
                  </a:lnTo>
                  <a:lnTo>
                    <a:pt x="2226" y="3819"/>
                  </a:lnTo>
                  <a:lnTo>
                    <a:pt x="2225" y="3816"/>
                  </a:lnTo>
                  <a:lnTo>
                    <a:pt x="2224" y="3815"/>
                  </a:lnTo>
                  <a:lnTo>
                    <a:pt x="2223" y="3813"/>
                  </a:lnTo>
                  <a:lnTo>
                    <a:pt x="2222" y="3811"/>
                  </a:lnTo>
                  <a:lnTo>
                    <a:pt x="2222" y="3807"/>
                  </a:lnTo>
                  <a:lnTo>
                    <a:pt x="2221" y="3806"/>
                  </a:lnTo>
                  <a:close/>
                  <a:moveTo>
                    <a:pt x="2225" y="3769"/>
                  </a:moveTo>
                  <a:lnTo>
                    <a:pt x="2230" y="3768"/>
                  </a:lnTo>
                  <a:lnTo>
                    <a:pt x="2228" y="3772"/>
                  </a:lnTo>
                  <a:lnTo>
                    <a:pt x="2227" y="3774"/>
                  </a:lnTo>
                  <a:lnTo>
                    <a:pt x="2226" y="3775"/>
                  </a:lnTo>
                  <a:lnTo>
                    <a:pt x="2222" y="3773"/>
                  </a:lnTo>
                  <a:lnTo>
                    <a:pt x="2221" y="3773"/>
                  </a:lnTo>
                  <a:lnTo>
                    <a:pt x="2221" y="3777"/>
                  </a:lnTo>
                  <a:lnTo>
                    <a:pt x="2224" y="3783"/>
                  </a:lnTo>
                  <a:lnTo>
                    <a:pt x="2228" y="3784"/>
                  </a:lnTo>
                  <a:lnTo>
                    <a:pt x="2243" y="3779"/>
                  </a:lnTo>
                  <a:lnTo>
                    <a:pt x="2250" y="3775"/>
                  </a:lnTo>
                  <a:lnTo>
                    <a:pt x="2256" y="3768"/>
                  </a:lnTo>
                  <a:lnTo>
                    <a:pt x="2261" y="3759"/>
                  </a:lnTo>
                  <a:lnTo>
                    <a:pt x="2263" y="3762"/>
                  </a:lnTo>
                  <a:lnTo>
                    <a:pt x="2263" y="3765"/>
                  </a:lnTo>
                  <a:lnTo>
                    <a:pt x="2262" y="3768"/>
                  </a:lnTo>
                  <a:lnTo>
                    <a:pt x="2260" y="3771"/>
                  </a:lnTo>
                  <a:lnTo>
                    <a:pt x="2269" y="3769"/>
                  </a:lnTo>
                  <a:lnTo>
                    <a:pt x="2274" y="3766"/>
                  </a:lnTo>
                  <a:lnTo>
                    <a:pt x="2277" y="3761"/>
                  </a:lnTo>
                  <a:lnTo>
                    <a:pt x="2234" y="3745"/>
                  </a:lnTo>
                  <a:lnTo>
                    <a:pt x="2227" y="3745"/>
                  </a:lnTo>
                  <a:lnTo>
                    <a:pt x="2220" y="3748"/>
                  </a:lnTo>
                  <a:lnTo>
                    <a:pt x="2220" y="3753"/>
                  </a:lnTo>
                  <a:lnTo>
                    <a:pt x="2217" y="3757"/>
                  </a:lnTo>
                  <a:lnTo>
                    <a:pt x="2213" y="3760"/>
                  </a:lnTo>
                  <a:lnTo>
                    <a:pt x="2210" y="3764"/>
                  </a:lnTo>
                  <a:lnTo>
                    <a:pt x="2214" y="3766"/>
                  </a:lnTo>
                  <a:lnTo>
                    <a:pt x="2225" y="3769"/>
                  </a:lnTo>
                  <a:close/>
                  <a:moveTo>
                    <a:pt x="2239" y="3707"/>
                  </a:moveTo>
                  <a:lnTo>
                    <a:pt x="2239" y="3709"/>
                  </a:lnTo>
                  <a:lnTo>
                    <a:pt x="2241" y="3712"/>
                  </a:lnTo>
                  <a:lnTo>
                    <a:pt x="2250" y="3720"/>
                  </a:lnTo>
                  <a:lnTo>
                    <a:pt x="2250" y="3724"/>
                  </a:lnTo>
                  <a:lnTo>
                    <a:pt x="2249" y="3726"/>
                  </a:lnTo>
                  <a:lnTo>
                    <a:pt x="2248" y="3725"/>
                  </a:lnTo>
                  <a:lnTo>
                    <a:pt x="2247" y="3723"/>
                  </a:lnTo>
                  <a:lnTo>
                    <a:pt x="2245" y="3724"/>
                  </a:lnTo>
                  <a:lnTo>
                    <a:pt x="2244" y="3727"/>
                  </a:lnTo>
                  <a:lnTo>
                    <a:pt x="2244" y="3729"/>
                  </a:lnTo>
                  <a:lnTo>
                    <a:pt x="2245" y="3731"/>
                  </a:lnTo>
                  <a:lnTo>
                    <a:pt x="2247" y="3732"/>
                  </a:lnTo>
                  <a:lnTo>
                    <a:pt x="2248" y="3732"/>
                  </a:lnTo>
                  <a:lnTo>
                    <a:pt x="2253" y="3735"/>
                  </a:lnTo>
                  <a:lnTo>
                    <a:pt x="2256" y="3735"/>
                  </a:lnTo>
                  <a:lnTo>
                    <a:pt x="2259" y="3731"/>
                  </a:lnTo>
                  <a:lnTo>
                    <a:pt x="2261" y="3728"/>
                  </a:lnTo>
                  <a:lnTo>
                    <a:pt x="2262" y="3724"/>
                  </a:lnTo>
                  <a:lnTo>
                    <a:pt x="2262" y="3722"/>
                  </a:lnTo>
                  <a:lnTo>
                    <a:pt x="2263" y="3717"/>
                  </a:lnTo>
                  <a:lnTo>
                    <a:pt x="2265" y="3714"/>
                  </a:lnTo>
                  <a:lnTo>
                    <a:pt x="2265" y="3711"/>
                  </a:lnTo>
                  <a:lnTo>
                    <a:pt x="2263" y="3704"/>
                  </a:lnTo>
                  <a:lnTo>
                    <a:pt x="2260" y="3702"/>
                  </a:lnTo>
                  <a:lnTo>
                    <a:pt x="2257" y="3703"/>
                  </a:lnTo>
                  <a:lnTo>
                    <a:pt x="2255" y="3705"/>
                  </a:lnTo>
                  <a:lnTo>
                    <a:pt x="2255" y="3707"/>
                  </a:lnTo>
                  <a:lnTo>
                    <a:pt x="2254" y="3708"/>
                  </a:lnTo>
                  <a:lnTo>
                    <a:pt x="2252" y="3707"/>
                  </a:lnTo>
                  <a:lnTo>
                    <a:pt x="2243" y="3700"/>
                  </a:lnTo>
                  <a:lnTo>
                    <a:pt x="2240" y="3698"/>
                  </a:lnTo>
                  <a:lnTo>
                    <a:pt x="2239" y="3699"/>
                  </a:lnTo>
                  <a:lnTo>
                    <a:pt x="2239" y="3701"/>
                  </a:lnTo>
                  <a:lnTo>
                    <a:pt x="2239" y="3704"/>
                  </a:lnTo>
                  <a:lnTo>
                    <a:pt x="2239" y="3707"/>
                  </a:lnTo>
                  <a:close/>
                  <a:moveTo>
                    <a:pt x="2324" y="3638"/>
                  </a:moveTo>
                  <a:lnTo>
                    <a:pt x="2324" y="3641"/>
                  </a:lnTo>
                  <a:lnTo>
                    <a:pt x="2325" y="3643"/>
                  </a:lnTo>
                  <a:lnTo>
                    <a:pt x="2327" y="3644"/>
                  </a:lnTo>
                  <a:lnTo>
                    <a:pt x="2328" y="3645"/>
                  </a:lnTo>
                  <a:lnTo>
                    <a:pt x="2353" y="3646"/>
                  </a:lnTo>
                  <a:lnTo>
                    <a:pt x="2365" y="3640"/>
                  </a:lnTo>
                  <a:lnTo>
                    <a:pt x="2367" y="3638"/>
                  </a:lnTo>
                  <a:lnTo>
                    <a:pt x="2367" y="3636"/>
                  </a:lnTo>
                  <a:lnTo>
                    <a:pt x="2368" y="3632"/>
                  </a:lnTo>
                  <a:lnTo>
                    <a:pt x="2368" y="3632"/>
                  </a:lnTo>
                  <a:lnTo>
                    <a:pt x="2367" y="3631"/>
                  </a:lnTo>
                  <a:lnTo>
                    <a:pt x="2366" y="3629"/>
                  </a:lnTo>
                  <a:lnTo>
                    <a:pt x="2366" y="3628"/>
                  </a:lnTo>
                  <a:lnTo>
                    <a:pt x="2366" y="3625"/>
                  </a:lnTo>
                  <a:lnTo>
                    <a:pt x="2367" y="3623"/>
                  </a:lnTo>
                  <a:lnTo>
                    <a:pt x="2368" y="3621"/>
                  </a:lnTo>
                  <a:lnTo>
                    <a:pt x="2369" y="3620"/>
                  </a:lnTo>
                  <a:lnTo>
                    <a:pt x="2368" y="3616"/>
                  </a:lnTo>
                  <a:lnTo>
                    <a:pt x="2365" y="3615"/>
                  </a:lnTo>
                  <a:lnTo>
                    <a:pt x="2358" y="3615"/>
                  </a:lnTo>
                  <a:lnTo>
                    <a:pt x="2357" y="3615"/>
                  </a:lnTo>
                  <a:lnTo>
                    <a:pt x="2355" y="3614"/>
                  </a:lnTo>
                  <a:lnTo>
                    <a:pt x="2354" y="3612"/>
                  </a:lnTo>
                  <a:lnTo>
                    <a:pt x="2353" y="3609"/>
                  </a:lnTo>
                  <a:lnTo>
                    <a:pt x="2352" y="3608"/>
                  </a:lnTo>
                  <a:lnTo>
                    <a:pt x="2350" y="3609"/>
                  </a:lnTo>
                  <a:lnTo>
                    <a:pt x="2349" y="3610"/>
                  </a:lnTo>
                  <a:lnTo>
                    <a:pt x="2348" y="3610"/>
                  </a:lnTo>
                  <a:lnTo>
                    <a:pt x="2336" y="3609"/>
                  </a:lnTo>
                  <a:lnTo>
                    <a:pt x="2331" y="3611"/>
                  </a:lnTo>
                  <a:lnTo>
                    <a:pt x="2328" y="3618"/>
                  </a:lnTo>
                  <a:lnTo>
                    <a:pt x="2329" y="3619"/>
                  </a:lnTo>
                  <a:lnTo>
                    <a:pt x="2329" y="3620"/>
                  </a:lnTo>
                  <a:lnTo>
                    <a:pt x="2329" y="3621"/>
                  </a:lnTo>
                  <a:lnTo>
                    <a:pt x="2330" y="3622"/>
                  </a:lnTo>
                  <a:lnTo>
                    <a:pt x="2327" y="3623"/>
                  </a:lnTo>
                  <a:lnTo>
                    <a:pt x="2324" y="3625"/>
                  </a:lnTo>
                  <a:lnTo>
                    <a:pt x="2324" y="3628"/>
                  </a:lnTo>
                  <a:lnTo>
                    <a:pt x="2325" y="3629"/>
                  </a:lnTo>
                  <a:lnTo>
                    <a:pt x="2332" y="3630"/>
                  </a:lnTo>
                  <a:lnTo>
                    <a:pt x="2335" y="3632"/>
                  </a:lnTo>
                  <a:lnTo>
                    <a:pt x="2338" y="3634"/>
                  </a:lnTo>
                  <a:lnTo>
                    <a:pt x="2334" y="3636"/>
                  </a:lnTo>
                  <a:lnTo>
                    <a:pt x="2321" y="3634"/>
                  </a:lnTo>
                  <a:lnTo>
                    <a:pt x="2323" y="3636"/>
                  </a:lnTo>
                  <a:lnTo>
                    <a:pt x="2324" y="3638"/>
                  </a:lnTo>
                  <a:close/>
                  <a:moveTo>
                    <a:pt x="2342" y="3602"/>
                  </a:moveTo>
                  <a:lnTo>
                    <a:pt x="2344" y="3602"/>
                  </a:lnTo>
                  <a:lnTo>
                    <a:pt x="2345" y="3600"/>
                  </a:lnTo>
                  <a:lnTo>
                    <a:pt x="2346" y="3599"/>
                  </a:lnTo>
                  <a:lnTo>
                    <a:pt x="2347" y="3598"/>
                  </a:lnTo>
                  <a:lnTo>
                    <a:pt x="2348" y="3599"/>
                  </a:lnTo>
                  <a:lnTo>
                    <a:pt x="2348" y="3601"/>
                  </a:lnTo>
                  <a:lnTo>
                    <a:pt x="2352" y="3601"/>
                  </a:lnTo>
                  <a:lnTo>
                    <a:pt x="2357" y="3599"/>
                  </a:lnTo>
                  <a:lnTo>
                    <a:pt x="2359" y="3598"/>
                  </a:lnTo>
                  <a:lnTo>
                    <a:pt x="2358" y="3597"/>
                  </a:lnTo>
                  <a:lnTo>
                    <a:pt x="2358" y="3596"/>
                  </a:lnTo>
                  <a:lnTo>
                    <a:pt x="2359" y="3592"/>
                  </a:lnTo>
                  <a:lnTo>
                    <a:pt x="2359" y="3588"/>
                  </a:lnTo>
                  <a:lnTo>
                    <a:pt x="2357" y="3588"/>
                  </a:lnTo>
                  <a:lnTo>
                    <a:pt x="2356" y="3588"/>
                  </a:lnTo>
                  <a:lnTo>
                    <a:pt x="2356" y="3587"/>
                  </a:lnTo>
                  <a:lnTo>
                    <a:pt x="2355" y="3586"/>
                  </a:lnTo>
                  <a:lnTo>
                    <a:pt x="2352" y="3586"/>
                  </a:lnTo>
                  <a:lnTo>
                    <a:pt x="2350" y="3587"/>
                  </a:lnTo>
                  <a:lnTo>
                    <a:pt x="2349" y="3590"/>
                  </a:lnTo>
                  <a:lnTo>
                    <a:pt x="2349" y="3593"/>
                  </a:lnTo>
                  <a:lnTo>
                    <a:pt x="2348" y="3594"/>
                  </a:lnTo>
                  <a:lnTo>
                    <a:pt x="2345" y="3593"/>
                  </a:lnTo>
                  <a:lnTo>
                    <a:pt x="2341" y="3594"/>
                  </a:lnTo>
                  <a:lnTo>
                    <a:pt x="2338" y="3597"/>
                  </a:lnTo>
                  <a:lnTo>
                    <a:pt x="2337" y="3599"/>
                  </a:lnTo>
                  <a:lnTo>
                    <a:pt x="2339" y="3600"/>
                  </a:lnTo>
                  <a:lnTo>
                    <a:pt x="2342" y="3602"/>
                  </a:lnTo>
                  <a:close/>
                  <a:moveTo>
                    <a:pt x="2323" y="3593"/>
                  </a:moveTo>
                  <a:lnTo>
                    <a:pt x="2323" y="3595"/>
                  </a:lnTo>
                  <a:lnTo>
                    <a:pt x="2324" y="3597"/>
                  </a:lnTo>
                  <a:lnTo>
                    <a:pt x="2328" y="3598"/>
                  </a:lnTo>
                  <a:lnTo>
                    <a:pt x="2333" y="3596"/>
                  </a:lnTo>
                  <a:lnTo>
                    <a:pt x="2336" y="3595"/>
                  </a:lnTo>
                  <a:lnTo>
                    <a:pt x="2336" y="3593"/>
                  </a:lnTo>
                  <a:lnTo>
                    <a:pt x="2336" y="3590"/>
                  </a:lnTo>
                  <a:lnTo>
                    <a:pt x="2334" y="3589"/>
                  </a:lnTo>
                  <a:lnTo>
                    <a:pt x="2331" y="3588"/>
                  </a:lnTo>
                  <a:lnTo>
                    <a:pt x="2328" y="3586"/>
                  </a:lnTo>
                  <a:lnTo>
                    <a:pt x="2324" y="3585"/>
                  </a:lnTo>
                  <a:lnTo>
                    <a:pt x="2322" y="3587"/>
                  </a:lnTo>
                  <a:lnTo>
                    <a:pt x="2324" y="3592"/>
                  </a:lnTo>
                  <a:lnTo>
                    <a:pt x="2323" y="3593"/>
                  </a:lnTo>
                  <a:close/>
                  <a:moveTo>
                    <a:pt x="2373" y="3599"/>
                  </a:moveTo>
                  <a:lnTo>
                    <a:pt x="2375" y="3604"/>
                  </a:lnTo>
                  <a:lnTo>
                    <a:pt x="2373" y="3613"/>
                  </a:lnTo>
                  <a:lnTo>
                    <a:pt x="2374" y="3614"/>
                  </a:lnTo>
                  <a:lnTo>
                    <a:pt x="2376" y="3615"/>
                  </a:lnTo>
                  <a:lnTo>
                    <a:pt x="2377" y="3615"/>
                  </a:lnTo>
                  <a:lnTo>
                    <a:pt x="2375" y="3619"/>
                  </a:lnTo>
                  <a:lnTo>
                    <a:pt x="2371" y="3623"/>
                  </a:lnTo>
                  <a:lnTo>
                    <a:pt x="2370" y="3627"/>
                  </a:lnTo>
                  <a:lnTo>
                    <a:pt x="2380" y="3624"/>
                  </a:lnTo>
                  <a:lnTo>
                    <a:pt x="2406" y="3597"/>
                  </a:lnTo>
                  <a:lnTo>
                    <a:pt x="2409" y="3595"/>
                  </a:lnTo>
                  <a:lnTo>
                    <a:pt x="2411" y="3594"/>
                  </a:lnTo>
                  <a:lnTo>
                    <a:pt x="2412" y="3594"/>
                  </a:lnTo>
                  <a:lnTo>
                    <a:pt x="2411" y="3592"/>
                  </a:lnTo>
                  <a:lnTo>
                    <a:pt x="2404" y="3588"/>
                  </a:lnTo>
                  <a:lnTo>
                    <a:pt x="2402" y="3587"/>
                  </a:lnTo>
                  <a:lnTo>
                    <a:pt x="2400" y="3586"/>
                  </a:lnTo>
                  <a:lnTo>
                    <a:pt x="2399" y="3583"/>
                  </a:lnTo>
                  <a:lnTo>
                    <a:pt x="2399" y="3579"/>
                  </a:lnTo>
                  <a:lnTo>
                    <a:pt x="2398" y="3576"/>
                  </a:lnTo>
                  <a:lnTo>
                    <a:pt x="2395" y="3569"/>
                  </a:lnTo>
                  <a:lnTo>
                    <a:pt x="2391" y="3565"/>
                  </a:lnTo>
                  <a:lnTo>
                    <a:pt x="2387" y="3564"/>
                  </a:lnTo>
                  <a:lnTo>
                    <a:pt x="2382" y="3566"/>
                  </a:lnTo>
                  <a:lnTo>
                    <a:pt x="2378" y="3569"/>
                  </a:lnTo>
                  <a:lnTo>
                    <a:pt x="2374" y="3573"/>
                  </a:lnTo>
                  <a:lnTo>
                    <a:pt x="2371" y="3579"/>
                  </a:lnTo>
                  <a:lnTo>
                    <a:pt x="2369" y="3587"/>
                  </a:lnTo>
                  <a:lnTo>
                    <a:pt x="2370" y="3594"/>
                  </a:lnTo>
                  <a:lnTo>
                    <a:pt x="2373" y="3599"/>
                  </a:lnTo>
                  <a:close/>
                  <a:moveTo>
                    <a:pt x="2426" y="3576"/>
                  </a:moveTo>
                  <a:lnTo>
                    <a:pt x="2451" y="3573"/>
                  </a:lnTo>
                  <a:lnTo>
                    <a:pt x="2451" y="3572"/>
                  </a:lnTo>
                  <a:lnTo>
                    <a:pt x="2451" y="3571"/>
                  </a:lnTo>
                  <a:lnTo>
                    <a:pt x="2452" y="3571"/>
                  </a:lnTo>
                  <a:lnTo>
                    <a:pt x="2453" y="3571"/>
                  </a:lnTo>
                  <a:lnTo>
                    <a:pt x="2451" y="3567"/>
                  </a:lnTo>
                  <a:lnTo>
                    <a:pt x="2448" y="3566"/>
                  </a:lnTo>
                  <a:lnTo>
                    <a:pt x="2442" y="3566"/>
                  </a:lnTo>
                  <a:lnTo>
                    <a:pt x="2434" y="3560"/>
                  </a:lnTo>
                  <a:lnTo>
                    <a:pt x="2432" y="3559"/>
                  </a:lnTo>
                  <a:lnTo>
                    <a:pt x="2404" y="3561"/>
                  </a:lnTo>
                  <a:lnTo>
                    <a:pt x="2414" y="3574"/>
                  </a:lnTo>
                  <a:lnTo>
                    <a:pt x="2426" y="3576"/>
                  </a:lnTo>
                  <a:close/>
                  <a:moveTo>
                    <a:pt x="2505" y="3480"/>
                  </a:moveTo>
                  <a:lnTo>
                    <a:pt x="2506" y="3482"/>
                  </a:lnTo>
                  <a:lnTo>
                    <a:pt x="2506" y="3485"/>
                  </a:lnTo>
                  <a:lnTo>
                    <a:pt x="2507" y="3487"/>
                  </a:lnTo>
                  <a:lnTo>
                    <a:pt x="2509" y="3486"/>
                  </a:lnTo>
                  <a:lnTo>
                    <a:pt x="2519" y="3479"/>
                  </a:lnTo>
                  <a:lnTo>
                    <a:pt x="2545" y="3472"/>
                  </a:lnTo>
                  <a:lnTo>
                    <a:pt x="2546" y="3465"/>
                  </a:lnTo>
                  <a:lnTo>
                    <a:pt x="2544" y="3460"/>
                  </a:lnTo>
                  <a:lnTo>
                    <a:pt x="2539" y="3457"/>
                  </a:lnTo>
                  <a:lnTo>
                    <a:pt x="2535" y="3455"/>
                  </a:lnTo>
                  <a:lnTo>
                    <a:pt x="2518" y="3464"/>
                  </a:lnTo>
                  <a:lnTo>
                    <a:pt x="2514" y="3463"/>
                  </a:lnTo>
                  <a:lnTo>
                    <a:pt x="2515" y="3460"/>
                  </a:lnTo>
                  <a:lnTo>
                    <a:pt x="2512" y="3459"/>
                  </a:lnTo>
                  <a:lnTo>
                    <a:pt x="2509" y="3461"/>
                  </a:lnTo>
                  <a:lnTo>
                    <a:pt x="2507" y="3465"/>
                  </a:lnTo>
                  <a:lnTo>
                    <a:pt x="2508" y="3472"/>
                  </a:lnTo>
                  <a:lnTo>
                    <a:pt x="2507" y="3474"/>
                  </a:lnTo>
                  <a:lnTo>
                    <a:pt x="2506" y="3475"/>
                  </a:lnTo>
                  <a:lnTo>
                    <a:pt x="2504" y="3476"/>
                  </a:lnTo>
                  <a:lnTo>
                    <a:pt x="2503" y="3477"/>
                  </a:lnTo>
                  <a:lnTo>
                    <a:pt x="2503" y="3479"/>
                  </a:lnTo>
                  <a:lnTo>
                    <a:pt x="2504" y="3479"/>
                  </a:lnTo>
                  <a:lnTo>
                    <a:pt x="2505" y="3480"/>
                  </a:lnTo>
                  <a:close/>
                  <a:moveTo>
                    <a:pt x="2533" y="3439"/>
                  </a:moveTo>
                  <a:lnTo>
                    <a:pt x="2538" y="3444"/>
                  </a:lnTo>
                  <a:lnTo>
                    <a:pt x="2541" y="3445"/>
                  </a:lnTo>
                  <a:lnTo>
                    <a:pt x="2543" y="3444"/>
                  </a:lnTo>
                  <a:lnTo>
                    <a:pt x="2544" y="3440"/>
                  </a:lnTo>
                  <a:lnTo>
                    <a:pt x="2543" y="3437"/>
                  </a:lnTo>
                  <a:lnTo>
                    <a:pt x="2541" y="3435"/>
                  </a:lnTo>
                  <a:lnTo>
                    <a:pt x="2540" y="3434"/>
                  </a:lnTo>
                  <a:lnTo>
                    <a:pt x="2542" y="3430"/>
                  </a:lnTo>
                  <a:lnTo>
                    <a:pt x="2550" y="3428"/>
                  </a:lnTo>
                  <a:lnTo>
                    <a:pt x="2550" y="3422"/>
                  </a:lnTo>
                  <a:lnTo>
                    <a:pt x="2547" y="3417"/>
                  </a:lnTo>
                  <a:lnTo>
                    <a:pt x="2542" y="3418"/>
                  </a:lnTo>
                  <a:lnTo>
                    <a:pt x="2537" y="3421"/>
                  </a:lnTo>
                  <a:lnTo>
                    <a:pt x="2532" y="3422"/>
                  </a:lnTo>
                  <a:lnTo>
                    <a:pt x="2528" y="3418"/>
                  </a:lnTo>
                  <a:lnTo>
                    <a:pt x="2525" y="3417"/>
                  </a:lnTo>
                  <a:lnTo>
                    <a:pt x="2524" y="3420"/>
                  </a:lnTo>
                  <a:lnTo>
                    <a:pt x="2524" y="3423"/>
                  </a:lnTo>
                  <a:lnTo>
                    <a:pt x="2525" y="3425"/>
                  </a:lnTo>
                  <a:lnTo>
                    <a:pt x="2528" y="3429"/>
                  </a:lnTo>
                  <a:lnTo>
                    <a:pt x="2525" y="3429"/>
                  </a:lnTo>
                  <a:lnTo>
                    <a:pt x="2523" y="3429"/>
                  </a:lnTo>
                  <a:lnTo>
                    <a:pt x="2522" y="3431"/>
                  </a:lnTo>
                  <a:lnTo>
                    <a:pt x="2524" y="3434"/>
                  </a:lnTo>
                  <a:lnTo>
                    <a:pt x="2533" y="3439"/>
                  </a:lnTo>
                  <a:close/>
                  <a:moveTo>
                    <a:pt x="2678" y="3356"/>
                  </a:moveTo>
                  <a:lnTo>
                    <a:pt x="2679" y="3356"/>
                  </a:lnTo>
                  <a:lnTo>
                    <a:pt x="2681" y="3359"/>
                  </a:lnTo>
                  <a:lnTo>
                    <a:pt x="2682" y="3360"/>
                  </a:lnTo>
                  <a:lnTo>
                    <a:pt x="2684" y="3360"/>
                  </a:lnTo>
                  <a:lnTo>
                    <a:pt x="2687" y="3358"/>
                  </a:lnTo>
                  <a:lnTo>
                    <a:pt x="2693" y="3356"/>
                  </a:lnTo>
                  <a:lnTo>
                    <a:pt x="2697" y="3351"/>
                  </a:lnTo>
                  <a:lnTo>
                    <a:pt x="2702" y="3345"/>
                  </a:lnTo>
                  <a:lnTo>
                    <a:pt x="2704" y="3338"/>
                  </a:lnTo>
                  <a:lnTo>
                    <a:pt x="2700" y="3332"/>
                  </a:lnTo>
                  <a:lnTo>
                    <a:pt x="2694" y="3333"/>
                  </a:lnTo>
                  <a:lnTo>
                    <a:pt x="2682" y="3338"/>
                  </a:lnTo>
                  <a:lnTo>
                    <a:pt x="2675" y="3334"/>
                  </a:lnTo>
                  <a:lnTo>
                    <a:pt x="2674" y="3334"/>
                  </a:lnTo>
                  <a:lnTo>
                    <a:pt x="2673" y="3336"/>
                  </a:lnTo>
                  <a:lnTo>
                    <a:pt x="2672" y="3336"/>
                  </a:lnTo>
                  <a:lnTo>
                    <a:pt x="2671" y="3338"/>
                  </a:lnTo>
                  <a:lnTo>
                    <a:pt x="2671" y="3342"/>
                  </a:lnTo>
                  <a:lnTo>
                    <a:pt x="2670" y="3346"/>
                  </a:lnTo>
                  <a:lnTo>
                    <a:pt x="2667" y="3346"/>
                  </a:lnTo>
                  <a:lnTo>
                    <a:pt x="2667" y="3348"/>
                  </a:lnTo>
                  <a:lnTo>
                    <a:pt x="2676" y="3355"/>
                  </a:lnTo>
                  <a:lnTo>
                    <a:pt x="2678" y="3356"/>
                  </a:lnTo>
                  <a:close/>
                  <a:moveTo>
                    <a:pt x="2621" y="3374"/>
                  </a:moveTo>
                  <a:lnTo>
                    <a:pt x="2633" y="3379"/>
                  </a:lnTo>
                  <a:lnTo>
                    <a:pt x="2634" y="3380"/>
                  </a:lnTo>
                  <a:lnTo>
                    <a:pt x="2636" y="3385"/>
                  </a:lnTo>
                  <a:lnTo>
                    <a:pt x="2636" y="3386"/>
                  </a:lnTo>
                  <a:lnTo>
                    <a:pt x="2640" y="3387"/>
                  </a:lnTo>
                  <a:lnTo>
                    <a:pt x="2642" y="3386"/>
                  </a:lnTo>
                  <a:lnTo>
                    <a:pt x="2654" y="3376"/>
                  </a:lnTo>
                  <a:lnTo>
                    <a:pt x="2656" y="3373"/>
                  </a:lnTo>
                  <a:lnTo>
                    <a:pt x="2658" y="3371"/>
                  </a:lnTo>
                  <a:lnTo>
                    <a:pt x="2664" y="3370"/>
                  </a:lnTo>
                  <a:lnTo>
                    <a:pt x="2667" y="3368"/>
                  </a:lnTo>
                  <a:lnTo>
                    <a:pt x="2671" y="3365"/>
                  </a:lnTo>
                  <a:lnTo>
                    <a:pt x="2670" y="3364"/>
                  </a:lnTo>
                  <a:lnTo>
                    <a:pt x="2667" y="3360"/>
                  </a:lnTo>
                  <a:lnTo>
                    <a:pt x="2664" y="3352"/>
                  </a:lnTo>
                  <a:lnTo>
                    <a:pt x="2662" y="3349"/>
                  </a:lnTo>
                  <a:lnTo>
                    <a:pt x="2661" y="3348"/>
                  </a:lnTo>
                  <a:lnTo>
                    <a:pt x="2662" y="3343"/>
                  </a:lnTo>
                  <a:lnTo>
                    <a:pt x="2662" y="3339"/>
                  </a:lnTo>
                  <a:lnTo>
                    <a:pt x="2662" y="3335"/>
                  </a:lnTo>
                  <a:lnTo>
                    <a:pt x="2661" y="3329"/>
                  </a:lnTo>
                  <a:lnTo>
                    <a:pt x="2660" y="3327"/>
                  </a:lnTo>
                  <a:lnTo>
                    <a:pt x="2657" y="3326"/>
                  </a:lnTo>
                  <a:lnTo>
                    <a:pt x="2652" y="3326"/>
                  </a:lnTo>
                  <a:lnTo>
                    <a:pt x="2655" y="3336"/>
                  </a:lnTo>
                  <a:lnTo>
                    <a:pt x="2655" y="3340"/>
                  </a:lnTo>
                  <a:lnTo>
                    <a:pt x="2653" y="3345"/>
                  </a:lnTo>
                  <a:lnTo>
                    <a:pt x="2652" y="3345"/>
                  </a:lnTo>
                  <a:lnTo>
                    <a:pt x="2650" y="3347"/>
                  </a:lnTo>
                  <a:lnTo>
                    <a:pt x="2648" y="3349"/>
                  </a:lnTo>
                  <a:lnTo>
                    <a:pt x="2650" y="3352"/>
                  </a:lnTo>
                  <a:lnTo>
                    <a:pt x="2650" y="3354"/>
                  </a:lnTo>
                  <a:lnTo>
                    <a:pt x="2650" y="3358"/>
                  </a:lnTo>
                  <a:lnTo>
                    <a:pt x="2648" y="3360"/>
                  </a:lnTo>
                  <a:lnTo>
                    <a:pt x="2642" y="3351"/>
                  </a:lnTo>
                  <a:lnTo>
                    <a:pt x="2639" y="3348"/>
                  </a:lnTo>
                  <a:lnTo>
                    <a:pt x="2634" y="3348"/>
                  </a:lnTo>
                  <a:lnTo>
                    <a:pt x="2636" y="3343"/>
                  </a:lnTo>
                  <a:lnTo>
                    <a:pt x="2626" y="3346"/>
                  </a:lnTo>
                  <a:lnTo>
                    <a:pt x="2622" y="3346"/>
                  </a:lnTo>
                  <a:lnTo>
                    <a:pt x="2622" y="3348"/>
                  </a:lnTo>
                  <a:lnTo>
                    <a:pt x="2624" y="3348"/>
                  </a:lnTo>
                  <a:lnTo>
                    <a:pt x="2625" y="3348"/>
                  </a:lnTo>
                  <a:lnTo>
                    <a:pt x="2628" y="3351"/>
                  </a:lnTo>
                  <a:lnTo>
                    <a:pt x="2626" y="3352"/>
                  </a:lnTo>
                  <a:lnTo>
                    <a:pt x="2625" y="3355"/>
                  </a:lnTo>
                  <a:lnTo>
                    <a:pt x="2626" y="3357"/>
                  </a:lnTo>
                  <a:lnTo>
                    <a:pt x="2628" y="3360"/>
                  </a:lnTo>
                  <a:lnTo>
                    <a:pt x="2622" y="3363"/>
                  </a:lnTo>
                  <a:lnTo>
                    <a:pt x="2618" y="3365"/>
                  </a:lnTo>
                  <a:lnTo>
                    <a:pt x="2617" y="3368"/>
                  </a:lnTo>
                  <a:lnTo>
                    <a:pt x="2618" y="3372"/>
                  </a:lnTo>
                  <a:lnTo>
                    <a:pt x="2621" y="3374"/>
                  </a:lnTo>
                  <a:close/>
                  <a:moveTo>
                    <a:pt x="2744" y="3292"/>
                  </a:moveTo>
                  <a:lnTo>
                    <a:pt x="2745" y="3294"/>
                  </a:lnTo>
                  <a:lnTo>
                    <a:pt x="2746" y="3297"/>
                  </a:lnTo>
                  <a:lnTo>
                    <a:pt x="2748" y="3306"/>
                  </a:lnTo>
                  <a:lnTo>
                    <a:pt x="2749" y="3308"/>
                  </a:lnTo>
                  <a:lnTo>
                    <a:pt x="2751" y="3311"/>
                  </a:lnTo>
                  <a:lnTo>
                    <a:pt x="2754" y="3311"/>
                  </a:lnTo>
                  <a:lnTo>
                    <a:pt x="2766" y="3308"/>
                  </a:lnTo>
                  <a:lnTo>
                    <a:pt x="2769" y="3307"/>
                  </a:lnTo>
                  <a:lnTo>
                    <a:pt x="2768" y="3305"/>
                  </a:lnTo>
                  <a:lnTo>
                    <a:pt x="2768" y="3304"/>
                  </a:lnTo>
                  <a:lnTo>
                    <a:pt x="2766" y="3301"/>
                  </a:lnTo>
                  <a:lnTo>
                    <a:pt x="2763" y="3298"/>
                  </a:lnTo>
                  <a:lnTo>
                    <a:pt x="2762" y="3297"/>
                  </a:lnTo>
                  <a:lnTo>
                    <a:pt x="2755" y="3289"/>
                  </a:lnTo>
                  <a:lnTo>
                    <a:pt x="2751" y="3288"/>
                  </a:lnTo>
                  <a:lnTo>
                    <a:pt x="2747" y="3288"/>
                  </a:lnTo>
                  <a:lnTo>
                    <a:pt x="2744" y="3290"/>
                  </a:lnTo>
                  <a:lnTo>
                    <a:pt x="2744" y="3292"/>
                  </a:lnTo>
                  <a:close/>
                  <a:moveTo>
                    <a:pt x="2742" y="3293"/>
                  </a:moveTo>
                  <a:lnTo>
                    <a:pt x="2739" y="3287"/>
                  </a:lnTo>
                  <a:lnTo>
                    <a:pt x="2735" y="3283"/>
                  </a:lnTo>
                  <a:lnTo>
                    <a:pt x="2730" y="3283"/>
                  </a:lnTo>
                  <a:lnTo>
                    <a:pt x="2725" y="3286"/>
                  </a:lnTo>
                  <a:lnTo>
                    <a:pt x="2716" y="3297"/>
                  </a:lnTo>
                  <a:lnTo>
                    <a:pt x="2708" y="3302"/>
                  </a:lnTo>
                  <a:lnTo>
                    <a:pt x="2706" y="3305"/>
                  </a:lnTo>
                  <a:lnTo>
                    <a:pt x="2714" y="3317"/>
                  </a:lnTo>
                  <a:lnTo>
                    <a:pt x="2721" y="3319"/>
                  </a:lnTo>
                  <a:lnTo>
                    <a:pt x="2748" y="3312"/>
                  </a:lnTo>
                  <a:lnTo>
                    <a:pt x="2748" y="3309"/>
                  </a:lnTo>
                  <a:lnTo>
                    <a:pt x="2746" y="3308"/>
                  </a:lnTo>
                  <a:lnTo>
                    <a:pt x="2744" y="3305"/>
                  </a:lnTo>
                  <a:lnTo>
                    <a:pt x="2744" y="3300"/>
                  </a:lnTo>
                  <a:lnTo>
                    <a:pt x="2742" y="3293"/>
                  </a:lnTo>
                  <a:close/>
                  <a:moveTo>
                    <a:pt x="2772" y="3305"/>
                  </a:moveTo>
                  <a:lnTo>
                    <a:pt x="2777" y="3309"/>
                  </a:lnTo>
                  <a:lnTo>
                    <a:pt x="2785" y="3311"/>
                  </a:lnTo>
                  <a:lnTo>
                    <a:pt x="2807" y="3305"/>
                  </a:lnTo>
                  <a:lnTo>
                    <a:pt x="2809" y="3297"/>
                  </a:lnTo>
                  <a:lnTo>
                    <a:pt x="2804" y="3290"/>
                  </a:lnTo>
                  <a:lnTo>
                    <a:pt x="2794" y="3281"/>
                  </a:lnTo>
                  <a:lnTo>
                    <a:pt x="2790" y="3271"/>
                  </a:lnTo>
                  <a:lnTo>
                    <a:pt x="2788" y="3268"/>
                  </a:lnTo>
                  <a:lnTo>
                    <a:pt x="2786" y="3266"/>
                  </a:lnTo>
                  <a:lnTo>
                    <a:pt x="2783" y="3268"/>
                  </a:lnTo>
                  <a:lnTo>
                    <a:pt x="2781" y="3272"/>
                  </a:lnTo>
                  <a:lnTo>
                    <a:pt x="2781" y="3277"/>
                  </a:lnTo>
                  <a:lnTo>
                    <a:pt x="2782" y="3283"/>
                  </a:lnTo>
                  <a:lnTo>
                    <a:pt x="2780" y="3288"/>
                  </a:lnTo>
                  <a:lnTo>
                    <a:pt x="2778" y="3284"/>
                  </a:lnTo>
                  <a:lnTo>
                    <a:pt x="2776" y="3278"/>
                  </a:lnTo>
                  <a:lnTo>
                    <a:pt x="2773" y="3273"/>
                  </a:lnTo>
                  <a:lnTo>
                    <a:pt x="2772" y="3273"/>
                  </a:lnTo>
                  <a:lnTo>
                    <a:pt x="2771" y="3275"/>
                  </a:lnTo>
                  <a:lnTo>
                    <a:pt x="2769" y="3276"/>
                  </a:lnTo>
                  <a:lnTo>
                    <a:pt x="2768" y="3274"/>
                  </a:lnTo>
                  <a:lnTo>
                    <a:pt x="2766" y="3272"/>
                  </a:lnTo>
                  <a:lnTo>
                    <a:pt x="2765" y="3271"/>
                  </a:lnTo>
                  <a:lnTo>
                    <a:pt x="2763" y="3270"/>
                  </a:lnTo>
                  <a:lnTo>
                    <a:pt x="2762" y="3271"/>
                  </a:lnTo>
                  <a:lnTo>
                    <a:pt x="2761" y="3273"/>
                  </a:lnTo>
                  <a:lnTo>
                    <a:pt x="2760" y="3282"/>
                  </a:lnTo>
                  <a:lnTo>
                    <a:pt x="2759" y="3286"/>
                  </a:lnTo>
                  <a:lnTo>
                    <a:pt x="2764" y="3291"/>
                  </a:lnTo>
                  <a:lnTo>
                    <a:pt x="2772" y="3305"/>
                  </a:lnTo>
                  <a:close/>
                  <a:moveTo>
                    <a:pt x="2684" y="3225"/>
                  </a:moveTo>
                  <a:lnTo>
                    <a:pt x="2684" y="3233"/>
                  </a:lnTo>
                  <a:lnTo>
                    <a:pt x="2687" y="3237"/>
                  </a:lnTo>
                  <a:lnTo>
                    <a:pt x="2712" y="3243"/>
                  </a:lnTo>
                  <a:lnTo>
                    <a:pt x="2717" y="3247"/>
                  </a:lnTo>
                  <a:lnTo>
                    <a:pt x="2707" y="3245"/>
                  </a:lnTo>
                  <a:lnTo>
                    <a:pt x="2704" y="3247"/>
                  </a:lnTo>
                  <a:lnTo>
                    <a:pt x="2707" y="3249"/>
                  </a:lnTo>
                  <a:lnTo>
                    <a:pt x="2713" y="3253"/>
                  </a:lnTo>
                  <a:lnTo>
                    <a:pt x="2714" y="3257"/>
                  </a:lnTo>
                  <a:lnTo>
                    <a:pt x="2717" y="3256"/>
                  </a:lnTo>
                  <a:lnTo>
                    <a:pt x="2721" y="3253"/>
                  </a:lnTo>
                  <a:lnTo>
                    <a:pt x="2724" y="3252"/>
                  </a:lnTo>
                  <a:lnTo>
                    <a:pt x="2731" y="3252"/>
                  </a:lnTo>
                  <a:lnTo>
                    <a:pt x="2732" y="3251"/>
                  </a:lnTo>
                  <a:lnTo>
                    <a:pt x="2733" y="3248"/>
                  </a:lnTo>
                  <a:lnTo>
                    <a:pt x="2733" y="3247"/>
                  </a:lnTo>
                  <a:lnTo>
                    <a:pt x="2738" y="3245"/>
                  </a:lnTo>
                  <a:lnTo>
                    <a:pt x="2739" y="3244"/>
                  </a:lnTo>
                  <a:lnTo>
                    <a:pt x="2741" y="3241"/>
                  </a:lnTo>
                  <a:lnTo>
                    <a:pt x="2746" y="3230"/>
                  </a:lnTo>
                  <a:lnTo>
                    <a:pt x="2745" y="3224"/>
                  </a:lnTo>
                  <a:lnTo>
                    <a:pt x="2737" y="3217"/>
                  </a:lnTo>
                  <a:lnTo>
                    <a:pt x="2734" y="3204"/>
                  </a:lnTo>
                  <a:lnTo>
                    <a:pt x="2729" y="3200"/>
                  </a:lnTo>
                  <a:lnTo>
                    <a:pt x="2718" y="3201"/>
                  </a:lnTo>
                  <a:lnTo>
                    <a:pt x="2714" y="3203"/>
                  </a:lnTo>
                  <a:lnTo>
                    <a:pt x="2705" y="3213"/>
                  </a:lnTo>
                  <a:lnTo>
                    <a:pt x="2701" y="3215"/>
                  </a:lnTo>
                  <a:lnTo>
                    <a:pt x="2692" y="3216"/>
                  </a:lnTo>
                  <a:lnTo>
                    <a:pt x="2687" y="3218"/>
                  </a:lnTo>
                  <a:lnTo>
                    <a:pt x="2682" y="3223"/>
                  </a:lnTo>
                  <a:lnTo>
                    <a:pt x="2684" y="3224"/>
                  </a:lnTo>
                  <a:lnTo>
                    <a:pt x="2684" y="3225"/>
                  </a:lnTo>
                  <a:close/>
                  <a:moveTo>
                    <a:pt x="2816" y="3152"/>
                  </a:moveTo>
                  <a:lnTo>
                    <a:pt x="2810" y="3151"/>
                  </a:lnTo>
                  <a:lnTo>
                    <a:pt x="2807" y="3151"/>
                  </a:lnTo>
                  <a:lnTo>
                    <a:pt x="2804" y="3155"/>
                  </a:lnTo>
                  <a:lnTo>
                    <a:pt x="2810" y="3160"/>
                  </a:lnTo>
                  <a:lnTo>
                    <a:pt x="2826" y="3163"/>
                  </a:lnTo>
                  <a:lnTo>
                    <a:pt x="2832" y="3167"/>
                  </a:lnTo>
                  <a:lnTo>
                    <a:pt x="2830" y="3168"/>
                  </a:lnTo>
                  <a:lnTo>
                    <a:pt x="2827" y="3168"/>
                  </a:lnTo>
                  <a:lnTo>
                    <a:pt x="2816" y="3166"/>
                  </a:lnTo>
                  <a:lnTo>
                    <a:pt x="2787" y="3169"/>
                  </a:lnTo>
                  <a:lnTo>
                    <a:pt x="2783" y="3170"/>
                  </a:lnTo>
                  <a:lnTo>
                    <a:pt x="2768" y="3186"/>
                  </a:lnTo>
                  <a:lnTo>
                    <a:pt x="2765" y="3190"/>
                  </a:lnTo>
                  <a:lnTo>
                    <a:pt x="2763" y="3196"/>
                  </a:lnTo>
                  <a:lnTo>
                    <a:pt x="2762" y="3203"/>
                  </a:lnTo>
                  <a:lnTo>
                    <a:pt x="2763" y="3203"/>
                  </a:lnTo>
                  <a:lnTo>
                    <a:pt x="2762" y="3207"/>
                  </a:lnTo>
                  <a:lnTo>
                    <a:pt x="2763" y="3209"/>
                  </a:lnTo>
                  <a:lnTo>
                    <a:pt x="2765" y="3210"/>
                  </a:lnTo>
                  <a:lnTo>
                    <a:pt x="2767" y="3210"/>
                  </a:lnTo>
                  <a:lnTo>
                    <a:pt x="2768" y="3210"/>
                  </a:lnTo>
                  <a:lnTo>
                    <a:pt x="2768" y="3208"/>
                  </a:lnTo>
                  <a:lnTo>
                    <a:pt x="2769" y="3206"/>
                  </a:lnTo>
                  <a:lnTo>
                    <a:pt x="2770" y="3205"/>
                  </a:lnTo>
                  <a:lnTo>
                    <a:pt x="2771" y="3206"/>
                  </a:lnTo>
                  <a:lnTo>
                    <a:pt x="2772" y="3207"/>
                  </a:lnTo>
                  <a:lnTo>
                    <a:pt x="2772" y="3208"/>
                  </a:lnTo>
                  <a:lnTo>
                    <a:pt x="2773" y="3208"/>
                  </a:lnTo>
                  <a:lnTo>
                    <a:pt x="2779" y="3214"/>
                  </a:lnTo>
                  <a:lnTo>
                    <a:pt x="2782" y="3215"/>
                  </a:lnTo>
                  <a:lnTo>
                    <a:pt x="2793" y="3215"/>
                  </a:lnTo>
                  <a:lnTo>
                    <a:pt x="2798" y="3214"/>
                  </a:lnTo>
                  <a:lnTo>
                    <a:pt x="2808" y="3205"/>
                  </a:lnTo>
                  <a:lnTo>
                    <a:pt x="2823" y="3202"/>
                  </a:lnTo>
                  <a:lnTo>
                    <a:pt x="2832" y="3197"/>
                  </a:lnTo>
                  <a:lnTo>
                    <a:pt x="2854" y="3196"/>
                  </a:lnTo>
                  <a:lnTo>
                    <a:pt x="2893" y="3179"/>
                  </a:lnTo>
                  <a:lnTo>
                    <a:pt x="2899" y="3171"/>
                  </a:lnTo>
                  <a:lnTo>
                    <a:pt x="2904" y="3169"/>
                  </a:lnTo>
                  <a:lnTo>
                    <a:pt x="2904" y="3167"/>
                  </a:lnTo>
                  <a:lnTo>
                    <a:pt x="2898" y="3167"/>
                  </a:lnTo>
                  <a:lnTo>
                    <a:pt x="2896" y="3166"/>
                  </a:lnTo>
                  <a:lnTo>
                    <a:pt x="2896" y="3165"/>
                  </a:lnTo>
                  <a:lnTo>
                    <a:pt x="2896" y="3164"/>
                  </a:lnTo>
                  <a:lnTo>
                    <a:pt x="2895" y="3162"/>
                  </a:lnTo>
                  <a:lnTo>
                    <a:pt x="2889" y="3153"/>
                  </a:lnTo>
                  <a:lnTo>
                    <a:pt x="2884" y="3153"/>
                  </a:lnTo>
                  <a:lnTo>
                    <a:pt x="2879" y="3156"/>
                  </a:lnTo>
                  <a:lnTo>
                    <a:pt x="2874" y="3158"/>
                  </a:lnTo>
                  <a:lnTo>
                    <a:pt x="2872" y="3148"/>
                  </a:lnTo>
                  <a:lnTo>
                    <a:pt x="2870" y="3147"/>
                  </a:lnTo>
                  <a:lnTo>
                    <a:pt x="2869" y="3145"/>
                  </a:lnTo>
                  <a:lnTo>
                    <a:pt x="2870" y="3143"/>
                  </a:lnTo>
                  <a:lnTo>
                    <a:pt x="2871" y="3141"/>
                  </a:lnTo>
                  <a:lnTo>
                    <a:pt x="2872" y="3140"/>
                  </a:lnTo>
                  <a:lnTo>
                    <a:pt x="2873" y="3140"/>
                  </a:lnTo>
                  <a:lnTo>
                    <a:pt x="2871" y="3135"/>
                  </a:lnTo>
                  <a:lnTo>
                    <a:pt x="2869" y="3135"/>
                  </a:lnTo>
                  <a:lnTo>
                    <a:pt x="2863" y="3137"/>
                  </a:lnTo>
                  <a:lnTo>
                    <a:pt x="2858" y="3138"/>
                  </a:lnTo>
                  <a:lnTo>
                    <a:pt x="2855" y="3139"/>
                  </a:lnTo>
                  <a:lnTo>
                    <a:pt x="2854" y="3141"/>
                  </a:lnTo>
                  <a:lnTo>
                    <a:pt x="2854" y="3145"/>
                  </a:lnTo>
                  <a:lnTo>
                    <a:pt x="2853" y="3148"/>
                  </a:lnTo>
                  <a:lnTo>
                    <a:pt x="2852" y="3150"/>
                  </a:lnTo>
                  <a:lnTo>
                    <a:pt x="2850" y="3150"/>
                  </a:lnTo>
                  <a:lnTo>
                    <a:pt x="2849" y="3141"/>
                  </a:lnTo>
                  <a:lnTo>
                    <a:pt x="2843" y="3141"/>
                  </a:lnTo>
                  <a:lnTo>
                    <a:pt x="2816" y="3152"/>
                  </a:lnTo>
                  <a:close/>
                  <a:moveTo>
                    <a:pt x="2888" y="3151"/>
                  </a:moveTo>
                  <a:lnTo>
                    <a:pt x="2894" y="3148"/>
                  </a:lnTo>
                  <a:lnTo>
                    <a:pt x="2897" y="3145"/>
                  </a:lnTo>
                  <a:lnTo>
                    <a:pt x="2902" y="3143"/>
                  </a:lnTo>
                  <a:lnTo>
                    <a:pt x="2903" y="3141"/>
                  </a:lnTo>
                  <a:lnTo>
                    <a:pt x="2903" y="3139"/>
                  </a:lnTo>
                  <a:lnTo>
                    <a:pt x="2902" y="3138"/>
                  </a:lnTo>
                  <a:lnTo>
                    <a:pt x="2901" y="3138"/>
                  </a:lnTo>
                  <a:lnTo>
                    <a:pt x="2900" y="3137"/>
                  </a:lnTo>
                  <a:lnTo>
                    <a:pt x="2899" y="3137"/>
                  </a:lnTo>
                  <a:lnTo>
                    <a:pt x="2896" y="3138"/>
                  </a:lnTo>
                  <a:lnTo>
                    <a:pt x="2895" y="3137"/>
                  </a:lnTo>
                  <a:lnTo>
                    <a:pt x="2895" y="3136"/>
                  </a:lnTo>
                  <a:lnTo>
                    <a:pt x="2893" y="3134"/>
                  </a:lnTo>
                  <a:lnTo>
                    <a:pt x="2890" y="3133"/>
                  </a:lnTo>
                  <a:lnTo>
                    <a:pt x="2886" y="3134"/>
                  </a:lnTo>
                  <a:lnTo>
                    <a:pt x="2884" y="3134"/>
                  </a:lnTo>
                  <a:lnTo>
                    <a:pt x="2883" y="3136"/>
                  </a:lnTo>
                  <a:lnTo>
                    <a:pt x="2883" y="3138"/>
                  </a:lnTo>
                  <a:lnTo>
                    <a:pt x="2882" y="3140"/>
                  </a:lnTo>
                  <a:lnTo>
                    <a:pt x="2881" y="3142"/>
                  </a:lnTo>
                  <a:lnTo>
                    <a:pt x="2881" y="3144"/>
                  </a:lnTo>
                  <a:lnTo>
                    <a:pt x="2881" y="3145"/>
                  </a:lnTo>
                  <a:lnTo>
                    <a:pt x="2878" y="3146"/>
                  </a:lnTo>
                  <a:lnTo>
                    <a:pt x="2881" y="3149"/>
                  </a:lnTo>
                  <a:lnTo>
                    <a:pt x="2888" y="3151"/>
                  </a:lnTo>
                  <a:close/>
                  <a:moveTo>
                    <a:pt x="2767" y="3131"/>
                  </a:moveTo>
                  <a:lnTo>
                    <a:pt x="2771" y="3131"/>
                  </a:lnTo>
                  <a:lnTo>
                    <a:pt x="2775" y="3130"/>
                  </a:lnTo>
                  <a:lnTo>
                    <a:pt x="2783" y="3126"/>
                  </a:lnTo>
                  <a:lnTo>
                    <a:pt x="2788" y="3125"/>
                  </a:lnTo>
                  <a:lnTo>
                    <a:pt x="2790" y="3128"/>
                  </a:lnTo>
                  <a:lnTo>
                    <a:pt x="2792" y="3125"/>
                  </a:lnTo>
                  <a:lnTo>
                    <a:pt x="2801" y="3123"/>
                  </a:lnTo>
                  <a:lnTo>
                    <a:pt x="2790" y="3130"/>
                  </a:lnTo>
                  <a:lnTo>
                    <a:pt x="2793" y="3132"/>
                  </a:lnTo>
                  <a:lnTo>
                    <a:pt x="2804" y="3128"/>
                  </a:lnTo>
                  <a:lnTo>
                    <a:pt x="2836" y="3124"/>
                  </a:lnTo>
                  <a:lnTo>
                    <a:pt x="2843" y="3120"/>
                  </a:lnTo>
                  <a:lnTo>
                    <a:pt x="2849" y="3113"/>
                  </a:lnTo>
                  <a:lnTo>
                    <a:pt x="2849" y="3107"/>
                  </a:lnTo>
                  <a:lnTo>
                    <a:pt x="2848" y="3104"/>
                  </a:lnTo>
                  <a:lnTo>
                    <a:pt x="2847" y="3102"/>
                  </a:lnTo>
                  <a:lnTo>
                    <a:pt x="2847" y="3098"/>
                  </a:lnTo>
                  <a:lnTo>
                    <a:pt x="2846" y="3090"/>
                  </a:lnTo>
                  <a:lnTo>
                    <a:pt x="2845" y="3087"/>
                  </a:lnTo>
                  <a:lnTo>
                    <a:pt x="2843" y="3086"/>
                  </a:lnTo>
                  <a:lnTo>
                    <a:pt x="2843" y="3083"/>
                  </a:lnTo>
                  <a:lnTo>
                    <a:pt x="2844" y="3082"/>
                  </a:lnTo>
                  <a:lnTo>
                    <a:pt x="2844" y="3081"/>
                  </a:lnTo>
                  <a:lnTo>
                    <a:pt x="2845" y="3080"/>
                  </a:lnTo>
                  <a:lnTo>
                    <a:pt x="2845" y="3078"/>
                  </a:lnTo>
                  <a:lnTo>
                    <a:pt x="2842" y="3079"/>
                  </a:lnTo>
                  <a:lnTo>
                    <a:pt x="2840" y="3082"/>
                  </a:lnTo>
                  <a:lnTo>
                    <a:pt x="2837" y="3083"/>
                  </a:lnTo>
                  <a:lnTo>
                    <a:pt x="2835" y="3081"/>
                  </a:lnTo>
                  <a:lnTo>
                    <a:pt x="2826" y="3091"/>
                  </a:lnTo>
                  <a:lnTo>
                    <a:pt x="2825" y="3096"/>
                  </a:lnTo>
                  <a:lnTo>
                    <a:pt x="2827" y="3093"/>
                  </a:lnTo>
                  <a:lnTo>
                    <a:pt x="2830" y="3091"/>
                  </a:lnTo>
                  <a:lnTo>
                    <a:pt x="2833" y="3091"/>
                  </a:lnTo>
                  <a:lnTo>
                    <a:pt x="2836" y="3093"/>
                  </a:lnTo>
                  <a:lnTo>
                    <a:pt x="2800" y="3113"/>
                  </a:lnTo>
                  <a:lnTo>
                    <a:pt x="2770" y="3119"/>
                  </a:lnTo>
                  <a:lnTo>
                    <a:pt x="2761" y="3125"/>
                  </a:lnTo>
                  <a:lnTo>
                    <a:pt x="2764" y="3129"/>
                  </a:lnTo>
                  <a:lnTo>
                    <a:pt x="2767" y="3131"/>
                  </a:lnTo>
                  <a:close/>
                  <a:moveTo>
                    <a:pt x="3012" y="3003"/>
                  </a:moveTo>
                  <a:lnTo>
                    <a:pt x="3014" y="3003"/>
                  </a:lnTo>
                  <a:lnTo>
                    <a:pt x="3015" y="3004"/>
                  </a:lnTo>
                  <a:lnTo>
                    <a:pt x="3016" y="3004"/>
                  </a:lnTo>
                  <a:lnTo>
                    <a:pt x="3015" y="3006"/>
                  </a:lnTo>
                  <a:lnTo>
                    <a:pt x="3012" y="3007"/>
                  </a:lnTo>
                  <a:lnTo>
                    <a:pt x="3012" y="3009"/>
                  </a:lnTo>
                  <a:lnTo>
                    <a:pt x="3014" y="3009"/>
                  </a:lnTo>
                  <a:lnTo>
                    <a:pt x="3016" y="3011"/>
                  </a:lnTo>
                  <a:lnTo>
                    <a:pt x="3018" y="3013"/>
                  </a:lnTo>
                  <a:lnTo>
                    <a:pt x="3020" y="3013"/>
                  </a:lnTo>
                  <a:lnTo>
                    <a:pt x="3024" y="3011"/>
                  </a:lnTo>
                  <a:lnTo>
                    <a:pt x="3026" y="3008"/>
                  </a:lnTo>
                  <a:lnTo>
                    <a:pt x="3025" y="3004"/>
                  </a:lnTo>
                  <a:lnTo>
                    <a:pt x="3024" y="3002"/>
                  </a:lnTo>
                  <a:lnTo>
                    <a:pt x="3022" y="3001"/>
                  </a:lnTo>
                  <a:lnTo>
                    <a:pt x="3022" y="3000"/>
                  </a:lnTo>
                  <a:lnTo>
                    <a:pt x="3022" y="2998"/>
                  </a:lnTo>
                  <a:lnTo>
                    <a:pt x="3020" y="2995"/>
                  </a:lnTo>
                  <a:lnTo>
                    <a:pt x="3017" y="2994"/>
                  </a:lnTo>
                  <a:lnTo>
                    <a:pt x="3016" y="2996"/>
                  </a:lnTo>
                  <a:lnTo>
                    <a:pt x="3015" y="2998"/>
                  </a:lnTo>
                  <a:lnTo>
                    <a:pt x="3011" y="2998"/>
                  </a:lnTo>
                  <a:lnTo>
                    <a:pt x="3010" y="3000"/>
                  </a:lnTo>
                  <a:lnTo>
                    <a:pt x="3011" y="3002"/>
                  </a:lnTo>
                  <a:lnTo>
                    <a:pt x="3012" y="3003"/>
                  </a:lnTo>
                  <a:close/>
                  <a:moveTo>
                    <a:pt x="3249" y="2799"/>
                  </a:moveTo>
                  <a:lnTo>
                    <a:pt x="3248" y="2802"/>
                  </a:lnTo>
                  <a:lnTo>
                    <a:pt x="3249" y="2806"/>
                  </a:lnTo>
                  <a:lnTo>
                    <a:pt x="3255" y="2810"/>
                  </a:lnTo>
                  <a:lnTo>
                    <a:pt x="3259" y="2812"/>
                  </a:lnTo>
                  <a:lnTo>
                    <a:pt x="3262" y="2814"/>
                  </a:lnTo>
                  <a:lnTo>
                    <a:pt x="3263" y="2813"/>
                  </a:lnTo>
                  <a:lnTo>
                    <a:pt x="3262" y="2812"/>
                  </a:lnTo>
                  <a:lnTo>
                    <a:pt x="3263" y="2811"/>
                  </a:lnTo>
                  <a:lnTo>
                    <a:pt x="3268" y="2810"/>
                  </a:lnTo>
                  <a:lnTo>
                    <a:pt x="3270" y="2809"/>
                  </a:lnTo>
                  <a:lnTo>
                    <a:pt x="3270" y="2806"/>
                  </a:lnTo>
                  <a:lnTo>
                    <a:pt x="3269" y="2804"/>
                  </a:lnTo>
                  <a:lnTo>
                    <a:pt x="3267" y="2797"/>
                  </a:lnTo>
                  <a:lnTo>
                    <a:pt x="3266" y="2795"/>
                  </a:lnTo>
                  <a:lnTo>
                    <a:pt x="3264" y="2794"/>
                  </a:lnTo>
                  <a:lnTo>
                    <a:pt x="3258" y="2784"/>
                  </a:lnTo>
                  <a:lnTo>
                    <a:pt x="3256" y="2783"/>
                  </a:lnTo>
                  <a:lnTo>
                    <a:pt x="3255" y="2785"/>
                  </a:lnTo>
                  <a:lnTo>
                    <a:pt x="3256" y="2788"/>
                  </a:lnTo>
                  <a:lnTo>
                    <a:pt x="3252" y="2780"/>
                  </a:lnTo>
                  <a:lnTo>
                    <a:pt x="3251" y="2782"/>
                  </a:lnTo>
                  <a:lnTo>
                    <a:pt x="3252" y="2791"/>
                  </a:lnTo>
                  <a:lnTo>
                    <a:pt x="3252" y="2796"/>
                  </a:lnTo>
                  <a:lnTo>
                    <a:pt x="3250" y="2797"/>
                  </a:lnTo>
                  <a:lnTo>
                    <a:pt x="3249" y="2799"/>
                  </a:lnTo>
                  <a:close/>
                  <a:moveTo>
                    <a:pt x="3216" y="2803"/>
                  </a:moveTo>
                  <a:lnTo>
                    <a:pt x="3214" y="2809"/>
                  </a:lnTo>
                  <a:lnTo>
                    <a:pt x="3222" y="2827"/>
                  </a:lnTo>
                  <a:lnTo>
                    <a:pt x="3233" y="2824"/>
                  </a:lnTo>
                  <a:lnTo>
                    <a:pt x="3239" y="2824"/>
                  </a:lnTo>
                  <a:lnTo>
                    <a:pt x="3241" y="2830"/>
                  </a:lnTo>
                  <a:lnTo>
                    <a:pt x="3244" y="2834"/>
                  </a:lnTo>
                  <a:lnTo>
                    <a:pt x="3256" y="2836"/>
                  </a:lnTo>
                  <a:lnTo>
                    <a:pt x="3260" y="2839"/>
                  </a:lnTo>
                  <a:lnTo>
                    <a:pt x="3262" y="2831"/>
                  </a:lnTo>
                  <a:lnTo>
                    <a:pt x="3263" y="2827"/>
                  </a:lnTo>
                  <a:lnTo>
                    <a:pt x="3265" y="2824"/>
                  </a:lnTo>
                  <a:lnTo>
                    <a:pt x="3261" y="2815"/>
                  </a:lnTo>
                  <a:lnTo>
                    <a:pt x="3243" y="2814"/>
                  </a:lnTo>
                  <a:lnTo>
                    <a:pt x="3239" y="2808"/>
                  </a:lnTo>
                  <a:lnTo>
                    <a:pt x="3237" y="2795"/>
                  </a:lnTo>
                  <a:lnTo>
                    <a:pt x="3230" y="2788"/>
                  </a:lnTo>
                  <a:lnTo>
                    <a:pt x="3216" y="2781"/>
                  </a:lnTo>
                  <a:lnTo>
                    <a:pt x="3211" y="2775"/>
                  </a:lnTo>
                  <a:lnTo>
                    <a:pt x="3207" y="2773"/>
                  </a:lnTo>
                  <a:lnTo>
                    <a:pt x="3204" y="2774"/>
                  </a:lnTo>
                  <a:lnTo>
                    <a:pt x="3202" y="2776"/>
                  </a:lnTo>
                  <a:lnTo>
                    <a:pt x="3200" y="2781"/>
                  </a:lnTo>
                  <a:lnTo>
                    <a:pt x="3200" y="2787"/>
                  </a:lnTo>
                  <a:lnTo>
                    <a:pt x="3201" y="2793"/>
                  </a:lnTo>
                  <a:lnTo>
                    <a:pt x="3207" y="2797"/>
                  </a:lnTo>
                  <a:lnTo>
                    <a:pt x="3224" y="2794"/>
                  </a:lnTo>
                  <a:lnTo>
                    <a:pt x="3229" y="2804"/>
                  </a:lnTo>
                  <a:lnTo>
                    <a:pt x="3221" y="2802"/>
                  </a:lnTo>
                  <a:lnTo>
                    <a:pt x="3216" y="2803"/>
                  </a:lnTo>
                  <a:close/>
                  <a:moveTo>
                    <a:pt x="3242" y="2758"/>
                  </a:moveTo>
                  <a:lnTo>
                    <a:pt x="3223" y="2765"/>
                  </a:lnTo>
                  <a:lnTo>
                    <a:pt x="3221" y="2767"/>
                  </a:lnTo>
                  <a:lnTo>
                    <a:pt x="3221" y="2769"/>
                  </a:lnTo>
                  <a:lnTo>
                    <a:pt x="3220" y="2770"/>
                  </a:lnTo>
                  <a:lnTo>
                    <a:pt x="3223" y="2771"/>
                  </a:lnTo>
                  <a:lnTo>
                    <a:pt x="3223" y="2773"/>
                  </a:lnTo>
                  <a:lnTo>
                    <a:pt x="3221" y="2776"/>
                  </a:lnTo>
                  <a:lnTo>
                    <a:pt x="3221" y="2779"/>
                  </a:lnTo>
                  <a:lnTo>
                    <a:pt x="3229" y="2780"/>
                  </a:lnTo>
                  <a:lnTo>
                    <a:pt x="3230" y="2780"/>
                  </a:lnTo>
                  <a:lnTo>
                    <a:pt x="3230" y="2779"/>
                  </a:lnTo>
                  <a:lnTo>
                    <a:pt x="3231" y="2778"/>
                  </a:lnTo>
                  <a:lnTo>
                    <a:pt x="3233" y="2778"/>
                  </a:lnTo>
                  <a:lnTo>
                    <a:pt x="3234" y="2780"/>
                  </a:lnTo>
                  <a:lnTo>
                    <a:pt x="3236" y="2784"/>
                  </a:lnTo>
                  <a:lnTo>
                    <a:pt x="3238" y="2788"/>
                  </a:lnTo>
                  <a:lnTo>
                    <a:pt x="3241" y="2791"/>
                  </a:lnTo>
                  <a:lnTo>
                    <a:pt x="3243" y="2793"/>
                  </a:lnTo>
                  <a:lnTo>
                    <a:pt x="3245" y="2791"/>
                  </a:lnTo>
                  <a:lnTo>
                    <a:pt x="3246" y="2789"/>
                  </a:lnTo>
                  <a:lnTo>
                    <a:pt x="3246" y="2787"/>
                  </a:lnTo>
                  <a:lnTo>
                    <a:pt x="3247" y="2786"/>
                  </a:lnTo>
                  <a:lnTo>
                    <a:pt x="3248" y="2785"/>
                  </a:lnTo>
                  <a:lnTo>
                    <a:pt x="3248" y="2784"/>
                  </a:lnTo>
                  <a:lnTo>
                    <a:pt x="3248" y="2782"/>
                  </a:lnTo>
                  <a:lnTo>
                    <a:pt x="3248" y="2778"/>
                  </a:lnTo>
                  <a:lnTo>
                    <a:pt x="3249" y="2773"/>
                  </a:lnTo>
                  <a:lnTo>
                    <a:pt x="3250" y="2768"/>
                  </a:lnTo>
                  <a:lnTo>
                    <a:pt x="3248" y="2764"/>
                  </a:lnTo>
                  <a:lnTo>
                    <a:pt x="3244" y="2763"/>
                  </a:lnTo>
                  <a:lnTo>
                    <a:pt x="3244" y="2759"/>
                  </a:lnTo>
                  <a:lnTo>
                    <a:pt x="3242" y="2758"/>
                  </a:lnTo>
                  <a:close/>
                  <a:moveTo>
                    <a:pt x="3208" y="2662"/>
                  </a:moveTo>
                  <a:lnTo>
                    <a:pt x="3166" y="2697"/>
                  </a:lnTo>
                  <a:lnTo>
                    <a:pt x="3166" y="2700"/>
                  </a:lnTo>
                  <a:lnTo>
                    <a:pt x="3170" y="2700"/>
                  </a:lnTo>
                  <a:lnTo>
                    <a:pt x="3174" y="2699"/>
                  </a:lnTo>
                  <a:lnTo>
                    <a:pt x="3179" y="2697"/>
                  </a:lnTo>
                  <a:lnTo>
                    <a:pt x="3184" y="2690"/>
                  </a:lnTo>
                  <a:lnTo>
                    <a:pt x="3195" y="2681"/>
                  </a:lnTo>
                  <a:lnTo>
                    <a:pt x="3207" y="2681"/>
                  </a:lnTo>
                  <a:lnTo>
                    <a:pt x="3208" y="2680"/>
                  </a:lnTo>
                  <a:lnTo>
                    <a:pt x="3208" y="2685"/>
                  </a:lnTo>
                  <a:lnTo>
                    <a:pt x="3206" y="2690"/>
                  </a:lnTo>
                  <a:lnTo>
                    <a:pt x="3203" y="2695"/>
                  </a:lnTo>
                  <a:lnTo>
                    <a:pt x="3201" y="2697"/>
                  </a:lnTo>
                  <a:lnTo>
                    <a:pt x="3201" y="2700"/>
                  </a:lnTo>
                  <a:lnTo>
                    <a:pt x="3203" y="2698"/>
                  </a:lnTo>
                  <a:lnTo>
                    <a:pt x="3204" y="2698"/>
                  </a:lnTo>
                  <a:lnTo>
                    <a:pt x="3206" y="2698"/>
                  </a:lnTo>
                  <a:lnTo>
                    <a:pt x="3208" y="2700"/>
                  </a:lnTo>
                  <a:lnTo>
                    <a:pt x="3207" y="2701"/>
                  </a:lnTo>
                  <a:lnTo>
                    <a:pt x="3207" y="2705"/>
                  </a:lnTo>
                  <a:lnTo>
                    <a:pt x="3215" y="2704"/>
                  </a:lnTo>
                  <a:lnTo>
                    <a:pt x="3222" y="2700"/>
                  </a:lnTo>
                  <a:lnTo>
                    <a:pt x="3228" y="2694"/>
                  </a:lnTo>
                  <a:lnTo>
                    <a:pt x="3235" y="2684"/>
                  </a:lnTo>
                  <a:lnTo>
                    <a:pt x="3235" y="2684"/>
                  </a:lnTo>
                  <a:lnTo>
                    <a:pt x="3236" y="2684"/>
                  </a:lnTo>
                  <a:lnTo>
                    <a:pt x="3236" y="2683"/>
                  </a:lnTo>
                  <a:lnTo>
                    <a:pt x="3236" y="2681"/>
                  </a:lnTo>
                  <a:lnTo>
                    <a:pt x="3227" y="2677"/>
                  </a:lnTo>
                  <a:lnTo>
                    <a:pt x="3225" y="2675"/>
                  </a:lnTo>
                  <a:lnTo>
                    <a:pt x="3224" y="2672"/>
                  </a:lnTo>
                  <a:lnTo>
                    <a:pt x="3223" y="2669"/>
                  </a:lnTo>
                  <a:lnTo>
                    <a:pt x="3220" y="2667"/>
                  </a:lnTo>
                  <a:lnTo>
                    <a:pt x="3216" y="2665"/>
                  </a:lnTo>
                  <a:lnTo>
                    <a:pt x="3212" y="2662"/>
                  </a:lnTo>
                  <a:lnTo>
                    <a:pt x="3210" y="2661"/>
                  </a:lnTo>
                  <a:lnTo>
                    <a:pt x="3208" y="2662"/>
                  </a:lnTo>
                  <a:close/>
                  <a:moveTo>
                    <a:pt x="3153" y="2696"/>
                  </a:moveTo>
                  <a:lnTo>
                    <a:pt x="3152" y="2700"/>
                  </a:lnTo>
                  <a:lnTo>
                    <a:pt x="3165" y="2693"/>
                  </a:lnTo>
                  <a:lnTo>
                    <a:pt x="3169" y="2689"/>
                  </a:lnTo>
                  <a:lnTo>
                    <a:pt x="3178" y="2678"/>
                  </a:lnTo>
                  <a:lnTo>
                    <a:pt x="3188" y="2674"/>
                  </a:lnTo>
                  <a:lnTo>
                    <a:pt x="3210" y="2656"/>
                  </a:lnTo>
                  <a:lnTo>
                    <a:pt x="3211" y="2655"/>
                  </a:lnTo>
                  <a:lnTo>
                    <a:pt x="3212" y="2655"/>
                  </a:lnTo>
                  <a:lnTo>
                    <a:pt x="3212" y="2654"/>
                  </a:lnTo>
                  <a:lnTo>
                    <a:pt x="3208" y="2650"/>
                  </a:lnTo>
                  <a:lnTo>
                    <a:pt x="3203" y="2647"/>
                  </a:lnTo>
                  <a:lnTo>
                    <a:pt x="3199" y="2648"/>
                  </a:lnTo>
                  <a:lnTo>
                    <a:pt x="3199" y="2654"/>
                  </a:lnTo>
                  <a:lnTo>
                    <a:pt x="3188" y="2659"/>
                  </a:lnTo>
                  <a:lnTo>
                    <a:pt x="3182" y="2665"/>
                  </a:lnTo>
                  <a:lnTo>
                    <a:pt x="3173" y="2671"/>
                  </a:lnTo>
                  <a:lnTo>
                    <a:pt x="3170" y="2672"/>
                  </a:lnTo>
                  <a:lnTo>
                    <a:pt x="3159" y="2672"/>
                  </a:lnTo>
                  <a:lnTo>
                    <a:pt x="3156" y="2674"/>
                  </a:lnTo>
                  <a:lnTo>
                    <a:pt x="3154" y="2679"/>
                  </a:lnTo>
                  <a:lnTo>
                    <a:pt x="3153" y="2686"/>
                  </a:lnTo>
                  <a:lnTo>
                    <a:pt x="3151" y="2691"/>
                  </a:lnTo>
                  <a:lnTo>
                    <a:pt x="3148" y="2695"/>
                  </a:lnTo>
                  <a:lnTo>
                    <a:pt x="3153" y="2695"/>
                  </a:lnTo>
                  <a:lnTo>
                    <a:pt x="3153" y="2696"/>
                  </a:lnTo>
                  <a:close/>
                  <a:moveTo>
                    <a:pt x="3286" y="2628"/>
                  </a:moveTo>
                  <a:lnTo>
                    <a:pt x="3290" y="2625"/>
                  </a:lnTo>
                  <a:lnTo>
                    <a:pt x="3293" y="2622"/>
                  </a:lnTo>
                  <a:lnTo>
                    <a:pt x="3297" y="2619"/>
                  </a:lnTo>
                  <a:lnTo>
                    <a:pt x="3298" y="2619"/>
                  </a:lnTo>
                  <a:lnTo>
                    <a:pt x="3297" y="2621"/>
                  </a:lnTo>
                  <a:lnTo>
                    <a:pt x="3297" y="2622"/>
                  </a:lnTo>
                  <a:lnTo>
                    <a:pt x="3297" y="2624"/>
                  </a:lnTo>
                  <a:lnTo>
                    <a:pt x="3297" y="2626"/>
                  </a:lnTo>
                  <a:lnTo>
                    <a:pt x="3298" y="2628"/>
                  </a:lnTo>
                  <a:lnTo>
                    <a:pt x="3300" y="2627"/>
                  </a:lnTo>
                  <a:lnTo>
                    <a:pt x="3302" y="2624"/>
                  </a:lnTo>
                  <a:lnTo>
                    <a:pt x="3305" y="2622"/>
                  </a:lnTo>
                  <a:lnTo>
                    <a:pt x="3305" y="2619"/>
                  </a:lnTo>
                  <a:lnTo>
                    <a:pt x="3303" y="2618"/>
                  </a:lnTo>
                  <a:lnTo>
                    <a:pt x="3301" y="2618"/>
                  </a:lnTo>
                  <a:lnTo>
                    <a:pt x="3301" y="2617"/>
                  </a:lnTo>
                  <a:lnTo>
                    <a:pt x="3303" y="2614"/>
                  </a:lnTo>
                  <a:lnTo>
                    <a:pt x="3306" y="2613"/>
                  </a:lnTo>
                  <a:lnTo>
                    <a:pt x="3312" y="2608"/>
                  </a:lnTo>
                  <a:lnTo>
                    <a:pt x="3315" y="2605"/>
                  </a:lnTo>
                  <a:lnTo>
                    <a:pt x="3317" y="2602"/>
                  </a:lnTo>
                  <a:lnTo>
                    <a:pt x="3317" y="2599"/>
                  </a:lnTo>
                  <a:lnTo>
                    <a:pt x="3315" y="2598"/>
                  </a:lnTo>
                  <a:lnTo>
                    <a:pt x="3312" y="2600"/>
                  </a:lnTo>
                  <a:lnTo>
                    <a:pt x="3310" y="2601"/>
                  </a:lnTo>
                  <a:lnTo>
                    <a:pt x="3310" y="2603"/>
                  </a:lnTo>
                  <a:lnTo>
                    <a:pt x="3309" y="2603"/>
                  </a:lnTo>
                  <a:lnTo>
                    <a:pt x="3308" y="2603"/>
                  </a:lnTo>
                  <a:lnTo>
                    <a:pt x="3306" y="2601"/>
                  </a:lnTo>
                  <a:lnTo>
                    <a:pt x="3303" y="2599"/>
                  </a:lnTo>
                  <a:lnTo>
                    <a:pt x="3299" y="2599"/>
                  </a:lnTo>
                  <a:lnTo>
                    <a:pt x="3286" y="2602"/>
                  </a:lnTo>
                  <a:lnTo>
                    <a:pt x="3283" y="2604"/>
                  </a:lnTo>
                  <a:lnTo>
                    <a:pt x="3282" y="2607"/>
                  </a:lnTo>
                  <a:lnTo>
                    <a:pt x="3280" y="2609"/>
                  </a:lnTo>
                  <a:lnTo>
                    <a:pt x="3278" y="2612"/>
                  </a:lnTo>
                  <a:lnTo>
                    <a:pt x="3278" y="2615"/>
                  </a:lnTo>
                  <a:lnTo>
                    <a:pt x="3277" y="2619"/>
                  </a:lnTo>
                  <a:lnTo>
                    <a:pt x="3277" y="2619"/>
                  </a:lnTo>
                  <a:lnTo>
                    <a:pt x="3277" y="2620"/>
                  </a:lnTo>
                  <a:lnTo>
                    <a:pt x="3276" y="2621"/>
                  </a:lnTo>
                  <a:lnTo>
                    <a:pt x="3276" y="2623"/>
                  </a:lnTo>
                  <a:lnTo>
                    <a:pt x="3282" y="2628"/>
                  </a:lnTo>
                  <a:lnTo>
                    <a:pt x="3286" y="2628"/>
                  </a:lnTo>
                  <a:close/>
                  <a:moveTo>
                    <a:pt x="3351" y="2611"/>
                  </a:moveTo>
                  <a:lnTo>
                    <a:pt x="3349" y="2612"/>
                  </a:lnTo>
                  <a:lnTo>
                    <a:pt x="3352" y="2615"/>
                  </a:lnTo>
                  <a:lnTo>
                    <a:pt x="3360" y="2618"/>
                  </a:lnTo>
                  <a:lnTo>
                    <a:pt x="3364" y="2618"/>
                  </a:lnTo>
                  <a:lnTo>
                    <a:pt x="3367" y="2618"/>
                  </a:lnTo>
                  <a:lnTo>
                    <a:pt x="3374" y="2622"/>
                  </a:lnTo>
                  <a:lnTo>
                    <a:pt x="3377" y="2623"/>
                  </a:lnTo>
                  <a:lnTo>
                    <a:pt x="3389" y="2618"/>
                  </a:lnTo>
                  <a:lnTo>
                    <a:pt x="3395" y="2613"/>
                  </a:lnTo>
                  <a:lnTo>
                    <a:pt x="3400" y="2607"/>
                  </a:lnTo>
                  <a:lnTo>
                    <a:pt x="3402" y="2602"/>
                  </a:lnTo>
                  <a:lnTo>
                    <a:pt x="3398" y="2600"/>
                  </a:lnTo>
                  <a:lnTo>
                    <a:pt x="3392" y="2599"/>
                  </a:lnTo>
                  <a:lnTo>
                    <a:pt x="3388" y="2597"/>
                  </a:lnTo>
                  <a:lnTo>
                    <a:pt x="3394" y="2588"/>
                  </a:lnTo>
                  <a:lnTo>
                    <a:pt x="3396" y="2582"/>
                  </a:lnTo>
                  <a:lnTo>
                    <a:pt x="3391" y="2576"/>
                  </a:lnTo>
                  <a:lnTo>
                    <a:pt x="3385" y="2565"/>
                  </a:lnTo>
                  <a:lnTo>
                    <a:pt x="3383" y="2563"/>
                  </a:lnTo>
                  <a:lnTo>
                    <a:pt x="3379" y="2564"/>
                  </a:lnTo>
                  <a:lnTo>
                    <a:pt x="3374" y="2567"/>
                  </a:lnTo>
                  <a:lnTo>
                    <a:pt x="3370" y="2571"/>
                  </a:lnTo>
                  <a:lnTo>
                    <a:pt x="3368" y="2576"/>
                  </a:lnTo>
                  <a:lnTo>
                    <a:pt x="3368" y="2578"/>
                  </a:lnTo>
                  <a:lnTo>
                    <a:pt x="3367" y="2583"/>
                  </a:lnTo>
                  <a:lnTo>
                    <a:pt x="3367" y="2588"/>
                  </a:lnTo>
                  <a:lnTo>
                    <a:pt x="3366" y="2589"/>
                  </a:lnTo>
                  <a:lnTo>
                    <a:pt x="3367" y="2593"/>
                  </a:lnTo>
                  <a:lnTo>
                    <a:pt x="3368" y="2594"/>
                  </a:lnTo>
                  <a:lnTo>
                    <a:pt x="3369" y="2595"/>
                  </a:lnTo>
                  <a:lnTo>
                    <a:pt x="3372" y="2594"/>
                  </a:lnTo>
                  <a:lnTo>
                    <a:pt x="3368" y="2597"/>
                  </a:lnTo>
                  <a:lnTo>
                    <a:pt x="3362" y="2599"/>
                  </a:lnTo>
                  <a:lnTo>
                    <a:pt x="3359" y="2603"/>
                  </a:lnTo>
                  <a:lnTo>
                    <a:pt x="3359" y="2606"/>
                  </a:lnTo>
                  <a:lnTo>
                    <a:pt x="3360" y="2609"/>
                  </a:lnTo>
                  <a:lnTo>
                    <a:pt x="3360" y="2611"/>
                  </a:lnTo>
                  <a:lnTo>
                    <a:pt x="3358" y="2612"/>
                  </a:lnTo>
                  <a:lnTo>
                    <a:pt x="3351" y="2611"/>
                  </a:lnTo>
                  <a:close/>
                  <a:moveTo>
                    <a:pt x="3382" y="2550"/>
                  </a:moveTo>
                  <a:lnTo>
                    <a:pt x="3383" y="2549"/>
                  </a:lnTo>
                  <a:lnTo>
                    <a:pt x="3388" y="2541"/>
                  </a:lnTo>
                  <a:lnTo>
                    <a:pt x="3390" y="2540"/>
                  </a:lnTo>
                  <a:lnTo>
                    <a:pt x="3392" y="2538"/>
                  </a:lnTo>
                  <a:lnTo>
                    <a:pt x="3390" y="2534"/>
                  </a:lnTo>
                  <a:lnTo>
                    <a:pt x="3387" y="2530"/>
                  </a:lnTo>
                  <a:lnTo>
                    <a:pt x="3386" y="2529"/>
                  </a:lnTo>
                  <a:lnTo>
                    <a:pt x="3385" y="2523"/>
                  </a:lnTo>
                  <a:lnTo>
                    <a:pt x="3386" y="2521"/>
                  </a:lnTo>
                  <a:lnTo>
                    <a:pt x="3390" y="2522"/>
                  </a:lnTo>
                  <a:lnTo>
                    <a:pt x="3406" y="2518"/>
                  </a:lnTo>
                  <a:lnTo>
                    <a:pt x="3408" y="2516"/>
                  </a:lnTo>
                  <a:lnTo>
                    <a:pt x="3411" y="2514"/>
                  </a:lnTo>
                  <a:lnTo>
                    <a:pt x="3413" y="2510"/>
                  </a:lnTo>
                  <a:lnTo>
                    <a:pt x="3415" y="2507"/>
                  </a:lnTo>
                  <a:lnTo>
                    <a:pt x="3423" y="2503"/>
                  </a:lnTo>
                  <a:lnTo>
                    <a:pt x="3425" y="2499"/>
                  </a:lnTo>
                  <a:lnTo>
                    <a:pt x="3431" y="2497"/>
                  </a:lnTo>
                  <a:lnTo>
                    <a:pt x="3433" y="2493"/>
                  </a:lnTo>
                  <a:lnTo>
                    <a:pt x="3430" y="2493"/>
                  </a:lnTo>
                  <a:lnTo>
                    <a:pt x="3428" y="2491"/>
                  </a:lnTo>
                  <a:lnTo>
                    <a:pt x="3426" y="2487"/>
                  </a:lnTo>
                  <a:lnTo>
                    <a:pt x="3424" y="2482"/>
                  </a:lnTo>
                  <a:lnTo>
                    <a:pt x="3423" y="2478"/>
                  </a:lnTo>
                  <a:lnTo>
                    <a:pt x="3423" y="2470"/>
                  </a:lnTo>
                  <a:lnTo>
                    <a:pt x="3423" y="2467"/>
                  </a:lnTo>
                  <a:lnTo>
                    <a:pt x="3415" y="2451"/>
                  </a:lnTo>
                  <a:lnTo>
                    <a:pt x="3414" y="2449"/>
                  </a:lnTo>
                  <a:lnTo>
                    <a:pt x="3406" y="2444"/>
                  </a:lnTo>
                  <a:lnTo>
                    <a:pt x="3404" y="2442"/>
                  </a:lnTo>
                  <a:lnTo>
                    <a:pt x="3403" y="2438"/>
                  </a:lnTo>
                  <a:lnTo>
                    <a:pt x="3400" y="2429"/>
                  </a:lnTo>
                  <a:lnTo>
                    <a:pt x="3396" y="2423"/>
                  </a:lnTo>
                  <a:lnTo>
                    <a:pt x="3394" y="2426"/>
                  </a:lnTo>
                  <a:lnTo>
                    <a:pt x="3391" y="2432"/>
                  </a:lnTo>
                  <a:lnTo>
                    <a:pt x="3388" y="2435"/>
                  </a:lnTo>
                  <a:lnTo>
                    <a:pt x="3389" y="2436"/>
                  </a:lnTo>
                  <a:lnTo>
                    <a:pt x="3390" y="2438"/>
                  </a:lnTo>
                  <a:lnTo>
                    <a:pt x="3391" y="2438"/>
                  </a:lnTo>
                  <a:lnTo>
                    <a:pt x="3391" y="2444"/>
                  </a:lnTo>
                  <a:lnTo>
                    <a:pt x="3389" y="2449"/>
                  </a:lnTo>
                  <a:lnTo>
                    <a:pt x="3385" y="2459"/>
                  </a:lnTo>
                  <a:lnTo>
                    <a:pt x="3389" y="2459"/>
                  </a:lnTo>
                  <a:lnTo>
                    <a:pt x="3384" y="2464"/>
                  </a:lnTo>
                  <a:lnTo>
                    <a:pt x="3389" y="2466"/>
                  </a:lnTo>
                  <a:lnTo>
                    <a:pt x="3394" y="2464"/>
                  </a:lnTo>
                  <a:lnTo>
                    <a:pt x="3402" y="2456"/>
                  </a:lnTo>
                  <a:lnTo>
                    <a:pt x="3402" y="2459"/>
                  </a:lnTo>
                  <a:lnTo>
                    <a:pt x="3403" y="2461"/>
                  </a:lnTo>
                  <a:lnTo>
                    <a:pt x="3404" y="2464"/>
                  </a:lnTo>
                  <a:lnTo>
                    <a:pt x="3404" y="2467"/>
                  </a:lnTo>
                  <a:lnTo>
                    <a:pt x="3395" y="2473"/>
                  </a:lnTo>
                  <a:lnTo>
                    <a:pt x="3386" y="2482"/>
                  </a:lnTo>
                  <a:lnTo>
                    <a:pt x="3380" y="2491"/>
                  </a:lnTo>
                  <a:lnTo>
                    <a:pt x="3378" y="2494"/>
                  </a:lnTo>
                  <a:lnTo>
                    <a:pt x="3379" y="2496"/>
                  </a:lnTo>
                  <a:lnTo>
                    <a:pt x="3380" y="2497"/>
                  </a:lnTo>
                  <a:lnTo>
                    <a:pt x="3380" y="2498"/>
                  </a:lnTo>
                  <a:lnTo>
                    <a:pt x="3382" y="2499"/>
                  </a:lnTo>
                  <a:lnTo>
                    <a:pt x="3386" y="2498"/>
                  </a:lnTo>
                  <a:lnTo>
                    <a:pt x="3386" y="2501"/>
                  </a:lnTo>
                  <a:lnTo>
                    <a:pt x="3384" y="2503"/>
                  </a:lnTo>
                  <a:lnTo>
                    <a:pt x="3382" y="2510"/>
                  </a:lnTo>
                  <a:lnTo>
                    <a:pt x="3381" y="2511"/>
                  </a:lnTo>
                  <a:lnTo>
                    <a:pt x="3379" y="2510"/>
                  </a:lnTo>
                  <a:lnTo>
                    <a:pt x="3377" y="2506"/>
                  </a:lnTo>
                  <a:lnTo>
                    <a:pt x="3375" y="2506"/>
                  </a:lnTo>
                  <a:lnTo>
                    <a:pt x="3372" y="2509"/>
                  </a:lnTo>
                  <a:lnTo>
                    <a:pt x="3370" y="2514"/>
                  </a:lnTo>
                  <a:lnTo>
                    <a:pt x="3368" y="2521"/>
                  </a:lnTo>
                  <a:lnTo>
                    <a:pt x="3365" y="2527"/>
                  </a:lnTo>
                  <a:lnTo>
                    <a:pt x="3367" y="2529"/>
                  </a:lnTo>
                  <a:lnTo>
                    <a:pt x="3368" y="2530"/>
                  </a:lnTo>
                  <a:lnTo>
                    <a:pt x="3370" y="2530"/>
                  </a:lnTo>
                  <a:lnTo>
                    <a:pt x="3372" y="2529"/>
                  </a:lnTo>
                  <a:lnTo>
                    <a:pt x="3368" y="2547"/>
                  </a:lnTo>
                  <a:lnTo>
                    <a:pt x="3365" y="2555"/>
                  </a:lnTo>
                  <a:lnTo>
                    <a:pt x="3361" y="2561"/>
                  </a:lnTo>
                  <a:lnTo>
                    <a:pt x="3365" y="2563"/>
                  </a:lnTo>
                  <a:lnTo>
                    <a:pt x="3382" y="2550"/>
                  </a:lnTo>
                  <a:close/>
                  <a:moveTo>
                    <a:pt x="3328" y="2410"/>
                  </a:moveTo>
                  <a:lnTo>
                    <a:pt x="3332" y="2412"/>
                  </a:lnTo>
                  <a:lnTo>
                    <a:pt x="3328" y="2414"/>
                  </a:lnTo>
                  <a:lnTo>
                    <a:pt x="3330" y="2417"/>
                  </a:lnTo>
                  <a:lnTo>
                    <a:pt x="3331" y="2416"/>
                  </a:lnTo>
                  <a:lnTo>
                    <a:pt x="3333" y="2415"/>
                  </a:lnTo>
                  <a:lnTo>
                    <a:pt x="3335" y="2414"/>
                  </a:lnTo>
                  <a:lnTo>
                    <a:pt x="3336" y="2415"/>
                  </a:lnTo>
                  <a:lnTo>
                    <a:pt x="3337" y="2417"/>
                  </a:lnTo>
                  <a:lnTo>
                    <a:pt x="3338" y="2420"/>
                  </a:lnTo>
                  <a:lnTo>
                    <a:pt x="3339" y="2420"/>
                  </a:lnTo>
                  <a:lnTo>
                    <a:pt x="3341" y="2417"/>
                  </a:lnTo>
                  <a:lnTo>
                    <a:pt x="3346" y="2407"/>
                  </a:lnTo>
                  <a:lnTo>
                    <a:pt x="3348" y="2404"/>
                  </a:lnTo>
                  <a:lnTo>
                    <a:pt x="3349" y="2400"/>
                  </a:lnTo>
                  <a:lnTo>
                    <a:pt x="3348" y="2397"/>
                  </a:lnTo>
                  <a:lnTo>
                    <a:pt x="3346" y="2391"/>
                  </a:lnTo>
                  <a:lnTo>
                    <a:pt x="3350" y="2388"/>
                  </a:lnTo>
                  <a:lnTo>
                    <a:pt x="3352" y="2386"/>
                  </a:lnTo>
                  <a:lnTo>
                    <a:pt x="3353" y="2381"/>
                  </a:lnTo>
                  <a:lnTo>
                    <a:pt x="3352" y="2377"/>
                  </a:lnTo>
                  <a:lnTo>
                    <a:pt x="3350" y="2377"/>
                  </a:lnTo>
                  <a:lnTo>
                    <a:pt x="3347" y="2379"/>
                  </a:lnTo>
                  <a:lnTo>
                    <a:pt x="3345" y="2379"/>
                  </a:lnTo>
                  <a:lnTo>
                    <a:pt x="3341" y="2374"/>
                  </a:lnTo>
                  <a:lnTo>
                    <a:pt x="3335" y="2375"/>
                  </a:lnTo>
                  <a:lnTo>
                    <a:pt x="3325" y="2380"/>
                  </a:lnTo>
                  <a:lnTo>
                    <a:pt x="3322" y="2384"/>
                  </a:lnTo>
                  <a:lnTo>
                    <a:pt x="3318" y="2393"/>
                  </a:lnTo>
                  <a:lnTo>
                    <a:pt x="3315" y="2403"/>
                  </a:lnTo>
                  <a:lnTo>
                    <a:pt x="3314" y="2409"/>
                  </a:lnTo>
                  <a:lnTo>
                    <a:pt x="3317" y="2413"/>
                  </a:lnTo>
                  <a:lnTo>
                    <a:pt x="3328" y="2410"/>
                  </a:lnTo>
                  <a:close/>
                  <a:moveTo>
                    <a:pt x="3425" y="2307"/>
                  </a:moveTo>
                  <a:lnTo>
                    <a:pt x="3423" y="2308"/>
                  </a:lnTo>
                  <a:lnTo>
                    <a:pt x="3421" y="2311"/>
                  </a:lnTo>
                  <a:lnTo>
                    <a:pt x="3426" y="2310"/>
                  </a:lnTo>
                  <a:lnTo>
                    <a:pt x="3431" y="2308"/>
                  </a:lnTo>
                  <a:lnTo>
                    <a:pt x="3451" y="2284"/>
                  </a:lnTo>
                  <a:lnTo>
                    <a:pt x="3460" y="2280"/>
                  </a:lnTo>
                  <a:lnTo>
                    <a:pt x="3469" y="2271"/>
                  </a:lnTo>
                  <a:lnTo>
                    <a:pt x="3489" y="2261"/>
                  </a:lnTo>
                  <a:lnTo>
                    <a:pt x="3494" y="2261"/>
                  </a:lnTo>
                  <a:lnTo>
                    <a:pt x="3496" y="2255"/>
                  </a:lnTo>
                  <a:lnTo>
                    <a:pt x="3489" y="2251"/>
                  </a:lnTo>
                  <a:lnTo>
                    <a:pt x="3479" y="2251"/>
                  </a:lnTo>
                  <a:lnTo>
                    <a:pt x="3470" y="2256"/>
                  </a:lnTo>
                  <a:lnTo>
                    <a:pt x="3463" y="2262"/>
                  </a:lnTo>
                  <a:lnTo>
                    <a:pt x="3460" y="2266"/>
                  </a:lnTo>
                  <a:lnTo>
                    <a:pt x="3457" y="2268"/>
                  </a:lnTo>
                  <a:lnTo>
                    <a:pt x="3453" y="2271"/>
                  </a:lnTo>
                  <a:lnTo>
                    <a:pt x="3450" y="2271"/>
                  </a:lnTo>
                  <a:lnTo>
                    <a:pt x="3449" y="2269"/>
                  </a:lnTo>
                  <a:lnTo>
                    <a:pt x="3451" y="2264"/>
                  </a:lnTo>
                  <a:lnTo>
                    <a:pt x="3456" y="2255"/>
                  </a:lnTo>
                  <a:lnTo>
                    <a:pt x="3452" y="2252"/>
                  </a:lnTo>
                  <a:lnTo>
                    <a:pt x="3448" y="2253"/>
                  </a:lnTo>
                  <a:lnTo>
                    <a:pt x="3430" y="2265"/>
                  </a:lnTo>
                  <a:lnTo>
                    <a:pt x="3428" y="2269"/>
                  </a:lnTo>
                  <a:lnTo>
                    <a:pt x="3426" y="2273"/>
                  </a:lnTo>
                  <a:lnTo>
                    <a:pt x="3423" y="2283"/>
                  </a:lnTo>
                  <a:lnTo>
                    <a:pt x="3421" y="2287"/>
                  </a:lnTo>
                  <a:lnTo>
                    <a:pt x="3413" y="2297"/>
                  </a:lnTo>
                  <a:lnTo>
                    <a:pt x="3411" y="2303"/>
                  </a:lnTo>
                  <a:lnTo>
                    <a:pt x="3428" y="2301"/>
                  </a:lnTo>
                  <a:lnTo>
                    <a:pt x="3427" y="2305"/>
                  </a:lnTo>
                  <a:lnTo>
                    <a:pt x="3425" y="2307"/>
                  </a:lnTo>
                  <a:close/>
                  <a:moveTo>
                    <a:pt x="3443" y="2232"/>
                  </a:moveTo>
                  <a:lnTo>
                    <a:pt x="3446" y="2228"/>
                  </a:lnTo>
                  <a:lnTo>
                    <a:pt x="3448" y="2227"/>
                  </a:lnTo>
                  <a:lnTo>
                    <a:pt x="3454" y="2226"/>
                  </a:lnTo>
                  <a:lnTo>
                    <a:pt x="3456" y="2224"/>
                  </a:lnTo>
                  <a:lnTo>
                    <a:pt x="3457" y="2221"/>
                  </a:lnTo>
                  <a:lnTo>
                    <a:pt x="3455" y="2217"/>
                  </a:lnTo>
                  <a:lnTo>
                    <a:pt x="3452" y="2216"/>
                  </a:lnTo>
                  <a:lnTo>
                    <a:pt x="3446" y="2217"/>
                  </a:lnTo>
                  <a:lnTo>
                    <a:pt x="3446" y="2215"/>
                  </a:lnTo>
                  <a:lnTo>
                    <a:pt x="3448" y="2213"/>
                  </a:lnTo>
                  <a:lnTo>
                    <a:pt x="3451" y="2210"/>
                  </a:lnTo>
                  <a:lnTo>
                    <a:pt x="3439" y="2210"/>
                  </a:lnTo>
                  <a:lnTo>
                    <a:pt x="3439" y="2207"/>
                  </a:lnTo>
                  <a:lnTo>
                    <a:pt x="3446" y="2203"/>
                  </a:lnTo>
                  <a:lnTo>
                    <a:pt x="3450" y="2200"/>
                  </a:lnTo>
                  <a:lnTo>
                    <a:pt x="3450" y="2195"/>
                  </a:lnTo>
                  <a:lnTo>
                    <a:pt x="3448" y="2190"/>
                  </a:lnTo>
                  <a:lnTo>
                    <a:pt x="3448" y="2185"/>
                  </a:lnTo>
                  <a:lnTo>
                    <a:pt x="3447" y="2181"/>
                  </a:lnTo>
                  <a:lnTo>
                    <a:pt x="3445" y="2178"/>
                  </a:lnTo>
                  <a:lnTo>
                    <a:pt x="3442" y="2174"/>
                  </a:lnTo>
                  <a:lnTo>
                    <a:pt x="3440" y="2175"/>
                  </a:lnTo>
                  <a:lnTo>
                    <a:pt x="3439" y="2182"/>
                  </a:lnTo>
                  <a:lnTo>
                    <a:pt x="3437" y="2183"/>
                  </a:lnTo>
                  <a:lnTo>
                    <a:pt x="3435" y="2183"/>
                  </a:lnTo>
                  <a:lnTo>
                    <a:pt x="3421" y="2193"/>
                  </a:lnTo>
                  <a:lnTo>
                    <a:pt x="3421" y="2196"/>
                  </a:lnTo>
                  <a:lnTo>
                    <a:pt x="3426" y="2193"/>
                  </a:lnTo>
                  <a:lnTo>
                    <a:pt x="3433" y="2192"/>
                  </a:lnTo>
                  <a:lnTo>
                    <a:pt x="3438" y="2194"/>
                  </a:lnTo>
                  <a:lnTo>
                    <a:pt x="3443" y="2199"/>
                  </a:lnTo>
                  <a:lnTo>
                    <a:pt x="3435" y="2206"/>
                  </a:lnTo>
                  <a:lnTo>
                    <a:pt x="3430" y="2208"/>
                  </a:lnTo>
                  <a:lnTo>
                    <a:pt x="3429" y="2212"/>
                  </a:lnTo>
                  <a:lnTo>
                    <a:pt x="3428" y="2215"/>
                  </a:lnTo>
                  <a:lnTo>
                    <a:pt x="3428" y="2217"/>
                  </a:lnTo>
                  <a:lnTo>
                    <a:pt x="3425" y="2219"/>
                  </a:lnTo>
                  <a:lnTo>
                    <a:pt x="3416" y="2221"/>
                  </a:lnTo>
                  <a:lnTo>
                    <a:pt x="3414" y="2222"/>
                  </a:lnTo>
                  <a:lnTo>
                    <a:pt x="3409" y="2227"/>
                  </a:lnTo>
                  <a:lnTo>
                    <a:pt x="3407" y="2228"/>
                  </a:lnTo>
                  <a:lnTo>
                    <a:pt x="3407" y="2232"/>
                  </a:lnTo>
                  <a:lnTo>
                    <a:pt x="3410" y="2231"/>
                  </a:lnTo>
                  <a:lnTo>
                    <a:pt x="3416" y="2227"/>
                  </a:lnTo>
                  <a:lnTo>
                    <a:pt x="3419" y="2226"/>
                  </a:lnTo>
                  <a:lnTo>
                    <a:pt x="3421" y="2227"/>
                  </a:lnTo>
                  <a:lnTo>
                    <a:pt x="3419" y="2230"/>
                  </a:lnTo>
                  <a:lnTo>
                    <a:pt x="3415" y="2235"/>
                  </a:lnTo>
                  <a:lnTo>
                    <a:pt x="3413" y="2239"/>
                  </a:lnTo>
                  <a:lnTo>
                    <a:pt x="3410" y="2241"/>
                  </a:lnTo>
                  <a:lnTo>
                    <a:pt x="3408" y="2242"/>
                  </a:lnTo>
                  <a:lnTo>
                    <a:pt x="3406" y="2245"/>
                  </a:lnTo>
                  <a:lnTo>
                    <a:pt x="3399" y="2255"/>
                  </a:lnTo>
                  <a:lnTo>
                    <a:pt x="3437" y="2237"/>
                  </a:lnTo>
                  <a:lnTo>
                    <a:pt x="3443" y="2232"/>
                  </a:lnTo>
                  <a:close/>
                  <a:moveTo>
                    <a:pt x="3467" y="2166"/>
                  </a:moveTo>
                  <a:lnTo>
                    <a:pt x="3470" y="2166"/>
                  </a:lnTo>
                  <a:lnTo>
                    <a:pt x="3472" y="2170"/>
                  </a:lnTo>
                  <a:lnTo>
                    <a:pt x="3473" y="2174"/>
                  </a:lnTo>
                  <a:lnTo>
                    <a:pt x="3477" y="2176"/>
                  </a:lnTo>
                  <a:lnTo>
                    <a:pt x="3481" y="2173"/>
                  </a:lnTo>
                  <a:lnTo>
                    <a:pt x="3483" y="2177"/>
                  </a:lnTo>
                  <a:lnTo>
                    <a:pt x="3487" y="2173"/>
                  </a:lnTo>
                  <a:lnTo>
                    <a:pt x="3488" y="2169"/>
                  </a:lnTo>
                  <a:lnTo>
                    <a:pt x="3490" y="2167"/>
                  </a:lnTo>
                  <a:lnTo>
                    <a:pt x="3492" y="2166"/>
                  </a:lnTo>
                  <a:lnTo>
                    <a:pt x="3493" y="2160"/>
                  </a:lnTo>
                  <a:lnTo>
                    <a:pt x="3492" y="2153"/>
                  </a:lnTo>
                  <a:lnTo>
                    <a:pt x="3492" y="2149"/>
                  </a:lnTo>
                  <a:lnTo>
                    <a:pt x="3491" y="2148"/>
                  </a:lnTo>
                  <a:lnTo>
                    <a:pt x="3490" y="2147"/>
                  </a:lnTo>
                  <a:lnTo>
                    <a:pt x="3489" y="2146"/>
                  </a:lnTo>
                  <a:lnTo>
                    <a:pt x="3486" y="2146"/>
                  </a:lnTo>
                  <a:lnTo>
                    <a:pt x="3485" y="2146"/>
                  </a:lnTo>
                  <a:lnTo>
                    <a:pt x="3484" y="2145"/>
                  </a:lnTo>
                  <a:lnTo>
                    <a:pt x="3483" y="2144"/>
                  </a:lnTo>
                  <a:lnTo>
                    <a:pt x="3481" y="2145"/>
                  </a:lnTo>
                  <a:lnTo>
                    <a:pt x="3481" y="2142"/>
                  </a:lnTo>
                  <a:lnTo>
                    <a:pt x="3479" y="2139"/>
                  </a:lnTo>
                  <a:lnTo>
                    <a:pt x="3478" y="2139"/>
                  </a:lnTo>
                  <a:lnTo>
                    <a:pt x="3479" y="2141"/>
                  </a:lnTo>
                  <a:lnTo>
                    <a:pt x="3478" y="2143"/>
                  </a:lnTo>
                  <a:lnTo>
                    <a:pt x="3478" y="2145"/>
                  </a:lnTo>
                  <a:lnTo>
                    <a:pt x="3473" y="2152"/>
                  </a:lnTo>
                  <a:lnTo>
                    <a:pt x="3470" y="2155"/>
                  </a:lnTo>
                  <a:lnTo>
                    <a:pt x="3466" y="2159"/>
                  </a:lnTo>
                  <a:lnTo>
                    <a:pt x="3464" y="2163"/>
                  </a:lnTo>
                  <a:lnTo>
                    <a:pt x="3464" y="2166"/>
                  </a:lnTo>
                  <a:lnTo>
                    <a:pt x="3464" y="2167"/>
                  </a:lnTo>
                  <a:lnTo>
                    <a:pt x="3467" y="2166"/>
                  </a:lnTo>
                  <a:close/>
                  <a:moveTo>
                    <a:pt x="3494" y="2100"/>
                  </a:moveTo>
                  <a:lnTo>
                    <a:pt x="3495" y="2098"/>
                  </a:lnTo>
                  <a:lnTo>
                    <a:pt x="3496" y="2102"/>
                  </a:lnTo>
                  <a:lnTo>
                    <a:pt x="3496" y="2105"/>
                  </a:lnTo>
                  <a:lnTo>
                    <a:pt x="3498" y="2106"/>
                  </a:lnTo>
                  <a:lnTo>
                    <a:pt x="3500" y="2108"/>
                  </a:lnTo>
                  <a:lnTo>
                    <a:pt x="3501" y="2106"/>
                  </a:lnTo>
                  <a:lnTo>
                    <a:pt x="3503" y="2100"/>
                  </a:lnTo>
                  <a:lnTo>
                    <a:pt x="3504" y="2091"/>
                  </a:lnTo>
                  <a:lnTo>
                    <a:pt x="3506" y="2083"/>
                  </a:lnTo>
                  <a:lnTo>
                    <a:pt x="3505" y="2080"/>
                  </a:lnTo>
                  <a:lnTo>
                    <a:pt x="3502" y="2080"/>
                  </a:lnTo>
                  <a:lnTo>
                    <a:pt x="3500" y="2081"/>
                  </a:lnTo>
                  <a:lnTo>
                    <a:pt x="3500" y="2083"/>
                  </a:lnTo>
                  <a:lnTo>
                    <a:pt x="3500" y="2087"/>
                  </a:lnTo>
                  <a:lnTo>
                    <a:pt x="3498" y="2091"/>
                  </a:lnTo>
                  <a:lnTo>
                    <a:pt x="3497" y="2091"/>
                  </a:lnTo>
                  <a:lnTo>
                    <a:pt x="3497" y="2089"/>
                  </a:lnTo>
                  <a:lnTo>
                    <a:pt x="3496" y="2087"/>
                  </a:lnTo>
                  <a:lnTo>
                    <a:pt x="3496" y="2085"/>
                  </a:lnTo>
                  <a:lnTo>
                    <a:pt x="3496" y="2083"/>
                  </a:lnTo>
                  <a:lnTo>
                    <a:pt x="3495" y="2082"/>
                  </a:lnTo>
                  <a:lnTo>
                    <a:pt x="3493" y="2081"/>
                  </a:lnTo>
                  <a:lnTo>
                    <a:pt x="3484" y="2085"/>
                  </a:lnTo>
                  <a:lnTo>
                    <a:pt x="3482" y="2087"/>
                  </a:lnTo>
                  <a:lnTo>
                    <a:pt x="3482" y="2089"/>
                  </a:lnTo>
                  <a:lnTo>
                    <a:pt x="3484" y="2090"/>
                  </a:lnTo>
                  <a:lnTo>
                    <a:pt x="3485" y="2095"/>
                  </a:lnTo>
                  <a:lnTo>
                    <a:pt x="3487" y="2100"/>
                  </a:lnTo>
                  <a:lnTo>
                    <a:pt x="3486" y="2105"/>
                  </a:lnTo>
                  <a:lnTo>
                    <a:pt x="3481" y="2108"/>
                  </a:lnTo>
                  <a:lnTo>
                    <a:pt x="3480" y="2110"/>
                  </a:lnTo>
                  <a:lnTo>
                    <a:pt x="3482" y="2111"/>
                  </a:lnTo>
                  <a:lnTo>
                    <a:pt x="3484" y="2113"/>
                  </a:lnTo>
                  <a:lnTo>
                    <a:pt x="3484" y="2114"/>
                  </a:lnTo>
                  <a:lnTo>
                    <a:pt x="3486" y="2115"/>
                  </a:lnTo>
                  <a:lnTo>
                    <a:pt x="3487" y="2115"/>
                  </a:lnTo>
                  <a:lnTo>
                    <a:pt x="3489" y="2117"/>
                  </a:lnTo>
                  <a:lnTo>
                    <a:pt x="3490" y="2118"/>
                  </a:lnTo>
                  <a:lnTo>
                    <a:pt x="3492" y="2120"/>
                  </a:lnTo>
                  <a:lnTo>
                    <a:pt x="3495" y="2122"/>
                  </a:lnTo>
                  <a:lnTo>
                    <a:pt x="3495" y="2119"/>
                  </a:lnTo>
                  <a:lnTo>
                    <a:pt x="3493" y="2113"/>
                  </a:lnTo>
                  <a:lnTo>
                    <a:pt x="3492" y="2108"/>
                  </a:lnTo>
                  <a:lnTo>
                    <a:pt x="3493" y="2103"/>
                  </a:lnTo>
                  <a:lnTo>
                    <a:pt x="3494" y="2100"/>
                  </a:lnTo>
                  <a:close/>
                  <a:moveTo>
                    <a:pt x="3708" y="1816"/>
                  </a:moveTo>
                  <a:lnTo>
                    <a:pt x="3711" y="1807"/>
                  </a:lnTo>
                  <a:lnTo>
                    <a:pt x="3713" y="1796"/>
                  </a:lnTo>
                  <a:lnTo>
                    <a:pt x="3709" y="1793"/>
                  </a:lnTo>
                  <a:lnTo>
                    <a:pt x="3705" y="1800"/>
                  </a:lnTo>
                  <a:lnTo>
                    <a:pt x="3701" y="1811"/>
                  </a:lnTo>
                  <a:lnTo>
                    <a:pt x="3697" y="1818"/>
                  </a:lnTo>
                  <a:lnTo>
                    <a:pt x="3694" y="1820"/>
                  </a:lnTo>
                  <a:lnTo>
                    <a:pt x="3691" y="1819"/>
                  </a:lnTo>
                  <a:lnTo>
                    <a:pt x="3681" y="1808"/>
                  </a:lnTo>
                  <a:lnTo>
                    <a:pt x="3679" y="1809"/>
                  </a:lnTo>
                  <a:lnTo>
                    <a:pt x="3680" y="1815"/>
                  </a:lnTo>
                  <a:lnTo>
                    <a:pt x="3675" y="1824"/>
                  </a:lnTo>
                  <a:lnTo>
                    <a:pt x="3672" y="1827"/>
                  </a:lnTo>
                  <a:lnTo>
                    <a:pt x="3669" y="1829"/>
                  </a:lnTo>
                  <a:lnTo>
                    <a:pt x="3669" y="1832"/>
                  </a:lnTo>
                  <a:lnTo>
                    <a:pt x="3681" y="1835"/>
                  </a:lnTo>
                  <a:lnTo>
                    <a:pt x="3686" y="1838"/>
                  </a:lnTo>
                  <a:lnTo>
                    <a:pt x="3692" y="1849"/>
                  </a:lnTo>
                  <a:lnTo>
                    <a:pt x="3693" y="1850"/>
                  </a:lnTo>
                  <a:lnTo>
                    <a:pt x="3694" y="1852"/>
                  </a:lnTo>
                  <a:lnTo>
                    <a:pt x="3694" y="1859"/>
                  </a:lnTo>
                  <a:lnTo>
                    <a:pt x="3695" y="1863"/>
                  </a:lnTo>
                  <a:lnTo>
                    <a:pt x="3697" y="1863"/>
                  </a:lnTo>
                  <a:lnTo>
                    <a:pt x="3700" y="1862"/>
                  </a:lnTo>
                  <a:lnTo>
                    <a:pt x="3702" y="1860"/>
                  </a:lnTo>
                  <a:lnTo>
                    <a:pt x="3702" y="1859"/>
                  </a:lnTo>
                  <a:lnTo>
                    <a:pt x="3702" y="1856"/>
                  </a:lnTo>
                  <a:lnTo>
                    <a:pt x="3702" y="1854"/>
                  </a:lnTo>
                  <a:lnTo>
                    <a:pt x="3704" y="1850"/>
                  </a:lnTo>
                  <a:lnTo>
                    <a:pt x="3704" y="1843"/>
                  </a:lnTo>
                  <a:lnTo>
                    <a:pt x="3701" y="1829"/>
                  </a:lnTo>
                  <a:lnTo>
                    <a:pt x="3704" y="1823"/>
                  </a:lnTo>
                  <a:lnTo>
                    <a:pt x="3708" y="1816"/>
                  </a:lnTo>
                  <a:close/>
                  <a:moveTo>
                    <a:pt x="3715" y="1708"/>
                  </a:moveTo>
                  <a:lnTo>
                    <a:pt x="3728" y="1704"/>
                  </a:lnTo>
                  <a:lnTo>
                    <a:pt x="3732" y="1700"/>
                  </a:lnTo>
                  <a:lnTo>
                    <a:pt x="3736" y="1694"/>
                  </a:lnTo>
                  <a:lnTo>
                    <a:pt x="3736" y="1690"/>
                  </a:lnTo>
                  <a:lnTo>
                    <a:pt x="3735" y="1689"/>
                  </a:lnTo>
                  <a:lnTo>
                    <a:pt x="3735" y="1689"/>
                  </a:lnTo>
                  <a:lnTo>
                    <a:pt x="3733" y="1691"/>
                  </a:lnTo>
                  <a:lnTo>
                    <a:pt x="3733" y="1690"/>
                  </a:lnTo>
                  <a:lnTo>
                    <a:pt x="3734" y="1687"/>
                  </a:lnTo>
                  <a:lnTo>
                    <a:pt x="3733" y="1684"/>
                  </a:lnTo>
                  <a:lnTo>
                    <a:pt x="3732" y="1683"/>
                  </a:lnTo>
                  <a:lnTo>
                    <a:pt x="3729" y="1683"/>
                  </a:lnTo>
                  <a:lnTo>
                    <a:pt x="3719" y="1690"/>
                  </a:lnTo>
                  <a:lnTo>
                    <a:pt x="3714" y="1696"/>
                  </a:lnTo>
                  <a:lnTo>
                    <a:pt x="3713" y="1699"/>
                  </a:lnTo>
                  <a:lnTo>
                    <a:pt x="3711" y="1702"/>
                  </a:lnTo>
                  <a:lnTo>
                    <a:pt x="3709" y="1702"/>
                  </a:lnTo>
                  <a:lnTo>
                    <a:pt x="3709" y="1703"/>
                  </a:lnTo>
                  <a:lnTo>
                    <a:pt x="3709" y="1704"/>
                  </a:lnTo>
                  <a:lnTo>
                    <a:pt x="3706" y="1706"/>
                  </a:lnTo>
                  <a:lnTo>
                    <a:pt x="3706" y="1709"/>
                  </a:lnTo>
                  <a:lnTo>
                    <a:pt x="3708" y="1710"/>
                  </a:lnTo>
                  <a:lnTo>
                    <a:pt x="3711" y="1710"/>
                  </a:lnTo>
                  <a:lnTo>
                    <a:pt x="3713" y="1709"/>
                  </a:lnTo>
                  <a:lnTo>
                    <a:pt x="3715" y="1708"/>
                  </a:lnTo>
                  <a:close/>
                  <a:moveTo>
                    <a:pt x="3823" y="1469"/>
                  </a:moveTo>
                  <a:lnTo>
                    <a:pt x="3823" y="1474"/>
                  </a:lnTo>
                  <a:lnTo>
                    <a:pt x="3824" y="1480"/>
                  </a:lnTo>
                  <a:lnTo>
                    <a:pt x="3824" y="1484"/>
                  </a:lnTo>
                  <a:lnTo>
                    <a:pt x="3825" y="1485"/>
                  </a:lnTo>
                  <a:lnTo>
                    <a:pt x="3832" y="1483"/>
                  </a:lnTo>
                  <a:lnTo>
                    <a:pt x="3848" y="1484"/>
                  </a:lnTo>
                  <a:lnTo>
                    <a:pt x="3852" y="1487"/>
                  </a:lnTo>
                  <a:lnTo>
                    <a:pt x="3854" y="1487"/>
                  </a:lnTo>
                  <a:lnTo>
                    <a:pt x="3867" y="1483"/>
                  </a:lnTo>
                  <a:lnTo>
                    <a:pt x="3868" y="1484"/>
                  </a:lnTo>
                  <a:lnTo>
                    <a:pt x="3869" y="1484"/>
                  </a:lnTo>
                  <a:lnTo>
                    <a:pt x="3874" y="1480"/>
                  </a:lnTo>
                  <a:lnTo>
                    <a:pt x="3877" y="1475"/>
                  </a:lnTo>
                  <a:lnTo>
                    <a:pt x="3877" y="1472"/>
                  </a:lnTo>
                  <a:lnTo>
                    <a:pt x="3876" y="1472"/>
                  </a:lnTo>
                  <a:lnTo>
                    <a:pt x="3873" y="1473"/>
                  </a:lnTo>
                  <a:lnTo>
                    <a:pt x="3873" y="1474"/>
                  </a:lnTo>
                  <a:lnTo>
                    <a:pt x="3870" y="1478"/>
                  </a:lnTo>
                  <a:lnTo>
                    <a:pt x="3869" y="1474"/>
                  </a:lnTo>
                  <a:lnTo>
                    <a:pt x="3868" y="1474"/>
                  </a:lnTo>
                  <a:lnTo>
                    <a:pt x="3865" y="1474"/>
                  </a:lnTo>
                  <a:lnTo>
                    <a:pt x="3865" y="1471"/>
                  </a:lnTo>
                  <a:lnTo>
                    <a:pt x="3862" y="1469"/>
                  </a:lnTo>
                  <a:lnTo>
                    <a:pt x="3854" y="1468"/>
                  </a:lnTo>
                  <a:lnTo>
                    <a:pt x="3851" y="1467"/>
                  </a:lnTo>
                  <a:lnTo>
                    <a:pt x="3846" y="1459"/>
                  </a:lnTo>
                  <a:lnTo>
                    <a:pt x="3846" y="1457"/>
                  </a:lnTo>
                  <a:lnTo>
                    <a:pt x="3846" y="1454"/>
                  </a:lnTo>
                  <a:lnTo>
                    <a:pt x="3847" y="1451"/>
                  </a:lnTo>
                  <a:lnTo>
                    <a:pt x="3846" y="1449"/>
                  </a:lnTo>
                  <a:lnTo>
                    <a:pt x="3845" y="1449"/>
                  </a:lnTo>
                  <a:lnTo>
                    <a:pt x="3844" y="1452"/>
                  </a:lnTo>
                  <a:lnTo>
                    <a:pt x="3840" y="1457"/>
                  </a:lnTo>
                  <a:lnTo>
                    <a:pt x="3838" y="1460"/>
                  </a:lnTo>
                  <a:lnTo>
                    <a:pt x="3837" y="1462"/>
                  </a:lnTo>
                  <a:lnTo>
                    <a:pt x="3835" y="1463"/>
                  </a:lnTo>
                  <a:lnTo>
                    <a:pt x="3832" y="1461"/>
                  </a:lnTo>
                  <a:lnTo>
                    <a:pt x="3825" y="1461"/>
                  </a:lnTo>
                  <a:lnTo>
                    <a:pt x="3824" y="1462"/>
                  </a:lnTo>
                  <a:lnTo>
                    <a:pt x="3825" y="1464"/>
                  </a:lnTo>
                  <a:lnTo>
                    <a:pt x="3825" y="1466"/>
                  </a:lnTo>
                  <a:lnTo>
                    <a:pt x="3823" y="1469"/>
                  </a:lnTo>
                  <a:close/>
                  <a:moveTo>
                    <a:pt x="3909" y="1451"/>
                  </a:moveTo>
                  <a:lnTo>
                    <a:pt x="3910" y="1452"/>
                  </a:lnTo>
                  <a:lnTo>
                    <a:pt x="3912" y="1453"/>
                  </a:lnTo>
                  <a:lnTo>
                    <a:pt x="3926" y="1455"/>
                  </a:lnTo>
                  <a:lnTo>
                    <a:pt x="3932" y="1454"/>
                  </a:lnTo>
                  <a:lnTo>
                    <a:pt x="3934" y="1454"/>
                  </a:lnTo>
                  <a:lnTo>
                    <a:pt x="3936" y="1452"/>
                  </a:lnTo>
                  <a:lnTo>
                    <a:pt x="3941" y="1444"/>
                  </a:lnTo>
                  <a:lnTo>
                    <a:pt x="3944" y="1444"/>
                  </a:lnTo>
                  <a:lnTo>
                    <a:pt x="3953" y="1452"/>
                  </a:lnTo>
                  <a:lnTo>
                    <a:pt x="3962" y="1456"/>
                  </a:lnTo>
                  <a:lnTo>
                    <a:pt x="3969" y="1456"/>
                  </a:lnTo>
                  <a:lnTo>
                    <a:pt x="3975" y="1452"/>
                  </a:lnTo>
                  <a:lnTo>
                    <a:pt x="3977" y="1450"/>
                  </a:lnTo>
                  <a:lnTo>
                    <a:pt x="3977" y="1447"/>
                  </a:lnTo>
                  <a:lnTo>
                    <a:pt x="3976" y="1445"/>
                  </a:lnTo>
                  <a:lnTo>
                    <a:pt x="3975" y="1443"/>
                  </a:lnTo>
                  <a:lnTo>
                    <a:pt x="3970" y="1441"/>
                  </a:lnTo>
                  <a:lnTo>
                    <a:pt x="3965" y="1437"/>
                  </a:lnTo>
                  <a:lnTo>
                    <a:pt x="3920" y="1438"/>
                  </a:lnTo>
                  <a:lnTo>
                    <a:pt x="3914" y="1440"/>
                  </a:lnTo>
                  <a:lnTo>
                    <a:pt x="3912" y="1442"/>
                  </a:lnTo>
                  <a:lnTo>
                    <a:pt x="3909" y="1445"/>
                  </a:lnTo>
                  <a:lnTo>
                    <a:pt x="3907" y="1447"/>
                  </a:lnTo>
                  <a:lnTo>
                    <a:pt x="3905" y="1446"/>
                  </a:lnTo>
                  <a:lnTo>
                    <a:pt x="3905" y="1448"/>
                  </a:lnTo>
                  <a:lnTo>
                    <a:pt x="3907" y="1450"/>
                  </a:lnTo>
                  <a:lnTo>
                    <a:pt x="3909" y="1451"/>
                  </a:lnTo>
                  <a:close/>
                  <a:moveTo>
                    <a:pt x="3870" y="1445"/>
                  </a:moveTo>
                  <a:lnTo>
                    <a:pt x="3867" y="1437"/>
                  </a:lnTo>
                  <a:lnTo>
                    <a:pt x="3865" y="1433"/>
                  </a:lnTo>
                  <a:lnTo>
                    <a:pt x="3864" y="1433"/>
                  </a:lnTo>
                  <a:lnTo>
                    <a:pt x="3864" y="1435"/>
                  </a:lnTo>
                  <a:lnTo>
                    <a:pt x="3862" y="1438"/>
                  </a:lnTo>
                  <a:lnTo>
                    <a:pt x="3859" y="1441"/>
                  </a:lnTo>
                  <a:lnTo>
                    <a:pt x="3857" y="1444"/>
                  </a:lnTo>
                  <a:lnTo>
                    <a:pt x="3856" y="1447"/>
                  </a:lnTo>
                  <a:lnTo>
                    <a:pt x="3854" y="1449"/>
                  </a:lnTo>
                  <a:lnTo>
                    <a:pt x="3854" y="1451"/>
                  </a:lnTo>
                  <a:lnTo>
                    <a:pt x="3854" y="1452"/>
                  </a:lnTo>
                  <a:lnTo>
                    <a:pt x="3855" y="1454"/>
                  </a:lnTo>
                  <a:lnTo>
                    <a:pt x="3856" y="1460"/>
                  </a:lnTo>
                  <a:lnTo>
                    <a:pt x="3858" y="1463"/>
                  </a:lnTo>
                  <a:lnTo>
                    <a:pt x="3871" y="1463"/>
                  </a:lnTo>
                  <a:lnTo>
                    <a:pt x="3874" y="1459"/>
                  </a:lnTo>
                  <a:lnTo>
                    <a:pt x="3872" y="1451"/>
                  </a:lnTo>
                  <a:lnTo>
                    <a:pt x="3870" y="1445"/>
                  </a:lnTo>
                  <a:close/>
                  <a:moveTo>
                    <a:pt x="3491" y="1523"/>
                  </a:moveTo>
                  <a:lnTo>
                    <a:pt x="3493" y="1516"/>
                  </a:lnTo>
                  <a:lnTo>
                    <a:pt x="3495" y="1510"/>
                  </a:lnTo>
                  <a:lnTo>
                    <a:pt x="3510" y="1503"/>
                  </a:lnTo>
                  <a:lnTo>
                    <a:pt x="3513" y="1500"/>
                  </a:lnTo>
                  <a:lnTo>
                    <a:pt x="3514" y="1499"/>
                  </a:lnTo>
                  <a:lnTo>
                    <a:pt x="3514" y="1497"/>
                  </a:lnTo>
                  <a:lnTo>
                    <a:pt x="3514" y="1495"/>
                  </a:lnTo>
                  <a:lnTo>
                    <a:pt x="3516" y="1493"/>
                  </a:lnTo>
                  <a:lnTo>
                    <a:pt x="3518" y="1489"/>
                  </a:lnTo>
                  <a:lnTo>
                    <a:pt x="3519" y="1485"/>
                  </a:lnTo>
                  <a:lnTo>
                    <a:pt x="3518" y="1481"/>
                  </a:lnTo>
                  <a:lnTo>
                    <a:pt x="3515" y="1479"/>
                  </a:lnTo>
                  <a:lnTo>
                    <a:pt x="3510" y="1478"/>
                  </a:lnTo>
                  <a:lnTo>
                    <a:pt x="3507" y="1477"/>
                  </a:lnTo>
                  <a:lnTo>
                    <a:pt x="3505" y="1474"/>
                  </a:lnTo>
                  <a:lnTo>
                    <a:pt x="3505" y="1471"/>
                  </a:lnTo>
                  <a:lnTo>
                    <a:pt x="3506" y="1470"/>
                  </a:lnTo>
                  <a:lnTo>
                    <a:pt x="3509" y="1471"/>
                  </a:lnTo>
                  <a:lnTo>
                    <a:pt x="3507" y="1462"/>
                  </a:lnTo>
                  <a:lnTo>
                    <a:pt x="3511" y="1464"/>
                  </a:lnTo>
                  <a:lnTo>
                    <a:pt x="3518" y="1474"/>
                  </a:lnTo>
                  <a:lnTo>
                    <a:pt x="3520" y="1475"/>
                  </a:lnTo>
                  <a:lnTo>
                    <a:pt x="3528" y="1474"/>
                  </a:lnTo>
                  <a:lnTo>
                    <a:pt x="3531" y="1473"/>
                  </a:lnTo>
                  <a:lnTo>
                    <a:pt x="3532" y="1469"/>
                  </a:lnTo>
                  <a:lnTo>
                    <a:pt x="3532" y="1464"/>
                  </a:lnTo>
                  <a:lnTo>
                    <a:pt x="3531" y="1454"/>
                  </a:lnTo>
                  <a:lnTo>
                    <a:pt x="3530" y="1447"/>
                  </a:lnTo>
                  <a:lnTo>
                    <a:pt x="3529" y="1437"/>
                  </a:lnTo>
                  <a:lnTo>
                    <a:pt x="3527" y="1438"/>
                  </a:lnTo>
                  <a:lnTo>
                    <a:pt x="3525" y="1442"/>
                  </a:lnTo>
                  <a:lnTo>
                    <a:pt x="3523" y="1445"/>
                  </a:lnTo>
                  <a:lnTo>
                    <a:pt x="3521" y="1444"/>
                  </a:lnTo>
                  <a:lnTo>
                    <a:pt x="3519" y="1442"/>
                  </a:lnTo>
                  <a:lnTo>
                    <a:pt x="3519" y="1439"/>
                  </a:lnTo>
                  <a:lnTo>
                    <a:pt x="3521" y="1435"/>
                  </a:lnTo>
                  <a:lnTo>
                    <a:pt x="3524" y="1433"/>
                  </a:lnTo>
                  <a:lnTo>
                    <a:pt x="3527" y="1434"/>
                  </a:lnTo>
                  <a:lnTo>
                    <a:pt x="3530" y="1433"/>
                  </a:lnTo>
                  <a:lnTo>
                    <a:pt x="3533" y="1428"/>
                  </a:lnTo>
                  <a:lnTo>
                    <a:pt x="3526" y="1428"/>
                  </a:lnTo>
                  <a:lnTo>
                    <a:pt x="3526" y="1425"/>
                  </a:lnTo>
                  <a:lnTo>
                    <a:pt x="3528" y="1424"/>
                  </a:lnTo>
                  <a:lnTo>
                    <a:pt x="3531" y="1423"/>
                  </a:lnTo>
                  <a:lnTo>
                    <a:pt x="3532" y="1420"/>
                  </a:lnTo>
                  <a:lnTo>
                    <a:pt x="3534" y="1416"/>
                  </a:lnTo>
                  <a:lnTo>
                    <a:pt x="3536" y="1416"/>
                  </a:lnTo>
                  <a:lnTo>
                    <a:pt x="3536" y="1413"/>
                  </a:lnTo>
                  <a:lnTo>
                    <a:pt x="3524" y="1405"/>
                  </a:lnTo>
                  <a:lnTo>
                    <a:pt x="3520" y="1404"/>
                  </a:lnTo>
                  <a:lnTo>
                    <a:pt x="3520" y="1407"/>
                  </a:lnTo>
                  <a:lnTo>
                    <a:pt x="3521" y="1409"/>
                  </a:lnTo>
                  <a:lnTo>
                    <a:pt x="3522" y="1411"/>
                  </a:lnTo>
                  <a:lnTo>
                    <a:pt x="3523" y="1413"/>
                  </a:lnTo>
                  <a:lnTo>
                    <a:pt x="3521" y="1419"/>
                  </a:lnTo>
                  <a:lnTo>
                    <a:pt x="3519" y="1421"/>
                  </a:lnTo>
                  <a:lnTo>
                    <a:pt x="3513" y="1425"/>
                  </a:lnTo>
                  <a:lnTo>
                    <a:pt x="3510" y="1430"/>
                  </a:lnTo>
                  <a:lnTo>
                    <a:pt x="3508" y="1434"/>
                  </a:lnTo>
                  <a:lnTo>
                    <a:pt x="3500" y="1454"/>
                  </a:lnTo>
                  <a:lnTo>
                    <a:pt x="3500" y="1456"/>
                  </a:lnTo>
                  <a:lnTo>
                    <a:pt x="3500" y="1461"/>
                  </a:lnTo>
                  <a:lnTo>
                    <a:pt x="3500" y="1464"/>
                  </a:lnTo>
                  <a:lnTo>
                    <a:pt x="3499" y="1465"/>
                  </a:lnTo>
                  <a:lnTo>
                    <a:pt x="3496" y="1465"/>
                  </a:lnTo>
                  <a:lnTo>
                    <a:pt x="3495" y="1467"/>
                  </a:lnTo>
                  <a:lnTo>
                    <a:pt x="3494" y="1471"/>
                  </a:lnTo>
                  <a:lnTo>
                    <a:pt x="3494" y="1479"/>
                  </a:lnTo>
                  <a:lnTo>
                    <a:pt x="3492" y="1484"/>
                  </a:lnTo>
                  <a:lnTo>
                    <a:pt x="3489" y="1492"/>
                  </a:lnTo>
                  <a:lnTo>
                    <a:pt x="3487" y="1495"/>
                  </a:lnTo>
                  <a:lnTo>
                    <a:pt x="3486" y="1500"/>
                  </a:lnTo>
                  <a:lnTo>
                    <a:pt x="3486" y="1502"/>
                  </a:lnTo>
                  <a:lnTo>
                    <a:pt x="3487" y="1508"/>
                  </a:lnTo>
                  <a:lnTo>
                    <a:pt x="3487" y="1510"/>
                  </a:lnTo>
                  <a:lnTo>
                    <a:pt x="3487" y="1511"/>
                  </a:lnTo>
                  <a:lnTo>
                    <a:pt x="3484" y="1514"/>
                  </a:lnTo>
                  <a:lnTo>
                    <a:pt x="3478" y="1525"/>
                  </a:lnTo>
                  <a:lnTo>
                    <a:pt x="3477" y="1529"/>
                  </a:lnTo>
                  <a:lnTo>
                    <a:pt x="3486" y="1527"/>
                  </a:lnTo>
                  <a:lnTo>
                    <a:pt x="3491" y="1523"/>
                  </a:lnTo>
                  <a:close/>
                  <a:moveTo>
                    <a:pt x="3539" y="1445"/>
                  </a:moveTo>
                  <a:lnTo>
                    <a:pt x="3540" y="1445"/>
                  </a:lnTo>
                  <a:lnTo>
                    <a:pt x="3542" y="1442"/>
                  </a:lnTo>
                  <a:lnTo>
                    <a:pt x="3542" y="1438"/>
                  </a:lnTo>
                  <a:lnTo>
                    <a:pt x="3542" y="1435"/>
                  </a:lnTo>
                  <a:lnTo>
                    <a:pt x="3545" y="1433"/>
                  </a:lnTo>
                  <a:lnTo>
                    <a:pt x="3546" y="1435"/>
                  </a:lnTo>
                  <a:lnTo>
                    <a:pt x="3547" y="1440"/>
                  </a:lnTo>
                  <a:lnTo>
                    <a:pt x="3547" y="1450"/>
                  </a:lnTo>
                  <a:lnTo>
                    <a:pt x="3549" y="1455"/>
                  </a:lnTo>
                  <a:lnTo>
                    <a:pt x="3554" y="1450"/>
                  </a:lnTo>
                  <a:lnTo>
                    <a:pt x="3562" y="1436"/>
                  </a:lnTo>
                  <a:lnTo>
                    <a:pt x="3564" y="1438"/>
                  </a:lnTo>
                  <a:lnTo>
                    <a:pt x="3568" y="1445"/>
                  </a:lnTo>
                  <a:lnTo>
                    <a:pt x="3569" y="1444"/>
                  </a:lnTo>
                  <a:lnTo>
                    <a:pt x="3570" y="1440"/>
                  </a:lnTo>
                  <a:lnTo>
                    <a:pt x="3571" y="1430"/>
                  </a:lnTo>
                  <a:lnTo>
                    <a:pt x="3571" y="1428"/>
                  </a:lnTo>
                  <a:lnTo>
                    <a:pt x="3574" y="1423"/>
                  </a:lnTo>
                  <a:lnTo>
                    <a:pt x="3577" y="1414"/>
                  </a:lnTo>
                  <a:lnTo>
                    <a:pt x="3581" y="1396"/>
                  </a:lnTo>
                  <a:lnTo>
                    <a:pt x="3579" y="1394"/>
                  </a:lnTo>
                  <a:lnTo>
                    <a:pt x="3576" y="1388"/>
                  </a:lnTo>
                  <a:lnTo>
                    <a:pt x="3575" y="1387"/>
                  </a:lnTo>
                  <a:lnTo>
                    <a:pt x="3564" y="1383"/>
                  </a:lnTo>
                  <a:lnTo>
                    <a:pt x="3558" y="1384"/>
                  </a:lnTo>
                  <a:lnTo>
                    <a:pt x="3556" y="1394"/>
                  </a:lnTo>
                  <a:lnTo>
                    <a:pt x="3558" y="1399"/>
                  </a:lnTo>
                  <a:lnTo>
                    <a:pt x="3562" y="1405"/>
                  </a:lnTo>
                  <a:lnTo>
                    <a:pt x="3565" y="1412"/>
                  </a:lnTo>
                  <a:lnTo>
                    <a:pt x="3563" y="1422"/>
                  </a:lnTo>
                  <a:lnTo>
                    <a:pt x="3561" y="1424"/>
                  </a:lnTo>
                  <a:lnTo>
                    <a:pt x="3559" y="1421"/>
                  </a:lnTo>
                  <a:lnTo>
                    <a:pt x="3555" y="1411"/>
                  </a:lnTo>
                  <a:lnTo>
                    <a:pt x="3552" y="1408"/>
                  </a:lnTo>
                  <a:lnTo>
                    <a:pt x="3549" y="1410"/>
                  </a:lnTo>
                  <a:lnTo>
                    <a:pt x="3540" y="1424"/>
                  </a:lnTo>
                  <a:lnTo>
                    <a:pt x="3538" y="1428"/>
                  </a:lnTo>
                  <a:lnTo>
                    <a:pt x="3537" y="1433"/>
                  </a:lnTo>
                  <a:lnTo>
                    <a:pt x="3537" y="1438"/>
                  </a:lnTo>
                  <a:lnTo>
                    <a:pt x="3538" y="1442"/>
                  </a:lnTo>
                  <a:lnTo>
                    <a:pt x="3539" y="1445"/>
                  </a:lnTo>
                  <a:close/>
                  <a:moveTo>
                    <a:pt x="3800" y="1335"/>
                  </a:moveTo>
                  <a:lnTo>
                    <a:pt x="3796" y="1344"/>
                  </a:lnTo>
                  <a:lnTo>
                    <a:pt x="3799" y="1350"/>
                  </a:lnTo>
                  <a:lnTo>
                    <a:pt x="3804" y="1352"/>
                  </a:lnTo>
                  <a:lnTo>
                    <a:pt x="3808" y="1354"/>
                  </a:lnTo>
                  <a:lnTo>
                    <a:pt x="3812" y="1345"/>
                  </a:lnTo>
                  <a:lnTo>
                    <a:pt x="3821" y="1331"/>
                  </a:lnTo>
                  <a:lnTo>
                    <a:pt x="3819" y="1320"/>
                  </a:lnTo>
                  <a:lnTo>
                    <a:pt x="3811" y="1321"/>
                  </a:lnTo>
                  <a:lnTo>
                    <a:pt x="3800" y="1335"/>
                  </a:lnTo>
                  <a:close/>
                  <a:moveTo>
                    <a:pt x="3679" y="1322"/>
                  </a:moveTo>
                  <a:lnTo>
                    <a:pt x="3687" y="1323"/>
                  </a:lnTo>
                  <a:lnTo>
                    <a:pt x="3693" y="1323"/>
                  </a:lnTo>
                  <a:lnTo>
                    <a:pt x="3692" y="1327"/>
                  </a:lnTo>
                  <a:lnTo>
                    <a:pt x="3693" y="1332"/>
                  </a:lnTo>
                  <a:lnTo>
                    <a:pt x="3696" y="1337"/>
                  </a:lnTo>
                  <a:lnTo>
                    <a:pt x="3702" y="1343"/>
                  </a:lnTo>
                  <a:lnTo>
                    <a:pt x="3708" y="1340"/>
                  </a:lnTo>
                  <a:lnTo>
                    <a:pt x="3712" y="1328"/>
                  </a:lnTo>
                  <a:lnTo>
                    <a:pt x="3708" y="1315"/>
                  </a:lnTo>
                  <a:lnTo>
                    <a:pt x="3702" y="1315"/>
                  </a:lnTo>
                  <a:lnTo>
                    <a:pt x="3697" y="1312"/>
                  </a:lnTo>
                  <a:lnTo>
                    <a:pt x="3693" y="1306"/>
                  </a:lnTo>
                  <a:lnTo>
                    <a:pt x="3688" y="1305"/>
                  </a:lnTo>
                  <a:lnTo>
                    <a:pt x="3680" y="1307"/>
                  </a:lnTo>
                  <a:lnTo>
                    <a:pt x="3682" y="1315"/>
                  </a:lnTo>
                  <a:lnTo>
                    <a:pt x="3676" y="1316"/>
                  </a:lnTo>
                  <a:lnTo>
                    <a:pt x="3679" y="1322"/>
                  </a:lnTo>
                  <a:close/>
                  <a:moveTo>
                    <a:pt x="3584" y="1419"/>
                  </a:moveTo>
                  <a:lnTo>
                    <a:pt x="3593" y="1432"/>
                  </a:lnTo>
                  <a:lnTo>
                    <a:pt x="3595" y="1430"/>
                  </a:lnTo>
                  <a:lnTo>
                    <a:pt x="3597" y="1426"/>
                  </a:lnTo>
                  <a:lnTo>
                    <a:pt x="3598" y="1419"/>
                  </a:lnTo>
                  <a:lnTo>
                    <a:pt x="3599" y="1419"/>
                  </a:lnTo>
                  <a:lnTo>
                    <a:pt x="3600" y="1417"/>
                  </a:lnTo>
                  <a:lnTo>
                    <a:pt x="3601" y="1414"/>
                  </a:lnTo>
                  <a:lnTo>
                    <a:pt x="3600" y="1413"/>
                  </a:lnTo>
                  <a:lnTo>
                    <a:pt x="3599" y="1412"/>
                  </a:lnTo>
                  <a:lnTo>
                    <a:pt x="3598" y="1410"/>
                  </a:lnTo>
                  <a:lnTo>
                    <a:pt x="3597" y="1408"/>
                  </a:lnTo>
                  <a:lnTo>
                    <a:pt x="3597" y="1406"/>
                  </a:lnTo>
                  <a:lnTo>
                    <a:pt x="3600" y="1398"/>
                  </a:lnTo>
                  <a:lnTo>
                    <a:pt x="3606" y="1398"/>
                  </a:lnTo>
                  <a:lnTo>
                    <a:pt x="3610" y="1403"/>
                  </a:lnTo>
                  <a:lnTo>
                    <a:pt x="3610" y="1413"/>
                  </a:lnTo>
                  <a:lnTo>
                    <a:pt x="3611" y="1413"/>
                  </a:lnTo>
                  <a:lnTo>
                    <a:pt x="3614" y="1415"/>
                  </a:lnTo>
                  <a:lnTo>
                    <a:pt x="3614" y="1416"/>
                  </a:lnTo>
                  <a:lnTo>
                    <a:pt x="3613" y="1419"/>
                  </a:lnTo>
                  <a:lnTo>
                    <a:pt x="3617" y="1419"/>
                  </a:lnTo>
                  <a:lnTo>
                    <a:pt x="3619" y="1419"/>
                  </a:lnTo>
                  <a:lnTo>
                    <a:pt x="3622" y="1419"/>
                  </a:lnTo>
                  <a:lnTo>
                    <a:pt x="3625" y="1416"/>
                  </a:lnTo>
                  <a:lnTo>
                    <a:pt x="3624" y="1414"/>
                  </a:lnTo>
                  <a:lnTo>
                    <a:pt x="3623" y="1412"/>
                  </a:lnTo>
                  <a:lnTo>
                    <a:pt x="3622" y="1407"/>
                  </a:lnTo>
                  <a:lnTo>
                    <a:pt x="3623" y="1404"/>
                  </a:lnTo>
                  <a:lnTo>
                    <a:pt x="3624" y="1400"/>
                  </a:lnTo>
                  <a:lnTo>
                    <a:pt x="3626" y="1397"/>
                  </a:lnTo>
                  <a:lnTo>
                    <a:pt x="3629" y="1396"/>
                  </a:lnTo>
                  <a:lnTo>
                    <a:pt x="3630" y="1396"/>
                  </a:lnTo>
                  <a:lnTo>
                    <a:pt x="3631" y="1402"/>
                  </a:lnTo>
                  <a:lnTo>
                    <a:pt x="3632" y="1404"/>
                  </a:lnTo>
                  <a:lnTo>
                    <a:pt x="3634" y="1406"/>
                  </a:lnTo>
                  <a:lnTo>
                    <a:pt x="3642" y="1404"/>
                  </a:lnTo>
                  <a:lnTo>
                    <a:pt x="3644" y="1401"/>
                  </a:lnTo>
                  <a:lnTo>
                    <a:pt x="3645" y="1398"/>
                  </a:lnTo>
                  <a:lnTo>
                    <a:pt x="3645" y="1393"/>
                  </a:lnTo>
                  <a:lnTo>
                    <a:pt x="3642" y="1388"/>
                  </a:lnTo>
                  <a:lnTo>
                    <a:pt x="3636" y="1386"/>
                  </a:lnTo>
                  <a:lnTo>
                    <a:pt x="3634" y="1381"/>
                  </a:lnTo>
                  <a:lnTo>
                    <a:pt x="3645" y="1381"/>
                  </a:lnTo>
                  <a:lnTo>
                    <a:pt x="3647" y="1380"/>
                  </a:lnTo>
                  <a:lnTo>
                    <a:pt x="3648" y="1377"/>
                  </a:lnTo>
                  <a:lnTo>
                    <a:pt x="3649" y="1374"/>
                  </a:lnTo>
                  <a:lnTo>
                    <a:pt x="3650" y="1372"/>
                  </a:lnTo>
                  <a:lnTo>
                    <a:pt x="3653" y="1373"/>
                  </a:lnTo>
                  <a:lnTo>
                    <a:pt x="3654" y="1376"/>
                  </a:lnTo>
                  <a:lnTo>
                    <a:pt x="3656" y="1378"/>
                  </a:lnTo>
                  <a:lnTo>
                    <a:pt x="3658" y="1376"/>
                  </a:lnTo>
                  <a:lnTo>
                    <a:pt x="3660" y="1375"/>
                  </a:lnTo>
                  <a:lnTo>
                    <a:pt x="3662" y="1373"/>
                  </a:lnTo>
                  <a:lnTo>
                    <a:pt x="3675" y="1372"/>
                  </a:lnTo>
                  <a:lnTo>
                    <a:pt x="3677" y="1371"/>
                  </a:lnTo>
                  <a:lnTo>
                    <a:pt x="3678" y="1368"/>
                  </a:lnTo>
                  <a:lnTo>
                    <a:pt x="3680" y="1363"/>
                  </a:lnTo>
                  <a:lnTo>
                    <a:pt x="3687" y="1361"/>
                  </a:lnTo>
                  <a:lnTo>
                    <a:pt x="3695" y="1340"/>
                  </a:lnTo>
                  <a:lnTo>
                    <a:pt x="3690" y="1332"/>
                  </a:lnTo>
                  <a:lnTo>
                    <a:pt x="3684" y="1328"/>
                  </a:lnTo>
                  <a:lnTo>
                    <a:pt x="3674" y="1337"/>
                  </a:lnTo>
                  <a:lnTo>
                    <a:pt x="3669" y="1339"/>
                  </a:lnTo>
                  <a:lnTo>
                    <a:pt x="3665" y="1334"/>
                  </a:lnTo>
                  <a:lnTo>
                    <a:pt x="3671" y="1323"/>
                  </a:lnTo>
                  <a:lnTo>
                    <a:pt x="3667" y="1305"/>
                  </a:lnTo>
                  <a:lnTo>
                    <a:pt x="3657" y="1303"/>
                  </a:lnTo>
                  <a:lnTo>
                    <a:pt x="3650" y="1310"/>
                  </a:lnTo>
                  <a:lnTo>
                    <a:pt x="3646" y="1320"/>
                  </a:lnTo>
                  <a:lnTo>
                    <a:pt x="3643" y="1325"/>
                  </a:lnTo>
                  <a:lnTo>
                    <a:pt x="3641" y="1326"/>
                  </a:lnTo>
                  <a:lnTo>
                    <a:pt x="3639" y="1332"/>
                  </a:lnTo>
                  <a:lnTo>
                    <a:pt x="3638" y="1334"/>
                  </a:lnTo>
                  <a:lnTo>
                    <a:pt x="3637" y="1335"/>
                  </a:lnTo>
                  <a:lnTo>
                    <a:pt x="3633" y="1330"/>
                  </a:lnTo>
                  <a:lnTo>
                    <a:pt x="3630" y="1328"/>
                  </a:lnTo>
                  <a:lnTo>
                    <a:pt x="3628" y="1330"/>
                  </a:lnTo>
                  <a:lnTo>
                    <a:pt x="3625" y="1332"/>
                  </a:lnTo>
                  <a:lnTo>
                    <a:pt x="3623" y="1330"/>
                  </a:lnTo>
                  <a:lnTo>
                    <a:pt x="3620" y="1326"/>
                  </a:lnTo>
                  <a:lnTo>
                    <a:pt x="3619" y="1325"/>
                  </a:lnTo>
                  <a:lnTo>
                    <a:pt x="3617" y="1325"/>
                  </a:lnTo>
                  <a:lnTo>
                    <a:pt x="3612" y="1323"/>
                  </a:lnTo>
                  <a:lnTo>
                    <a:pt x="3590" y="1346"/>
                  </a:lnTo>
                  <a:lnTo>
                    <a:pt x="3601" y="1348"/>
                  </a:lnTo>
                  <a:lnTo>
                    <a:pt x="3604" y="1348"/>
                  </a:lnTo>
                  <a:lnTo>
                    <a:pt x="3606" y="1351"/>
                  </a:lnTo>
                  <a:lnTo>
                    <a:pt x="3609" y="1352"/>
                  </a:lnTo>
                  <a:lnTo>
                    <a:pt x="3602" y="1357"/>
                  </a:lnTo>
                  <a:lnTo>
                    <a:pt x="3593" y="1360"/>
                  </a:lnTo>
                  <a:lnTo>
                    <a:pt x="3587" y="1370"/>
                  </a:lnTo>
                  <a:lnTo>
                    <a:pt x="3593" y="1373"/>
                  </a:lnTo>
                  <a:lnTo>
                    <a:pt x="3595" y="1375"/>
                  </a:lnTo>
                  <a:lnTo>
                    <a:pt x="3587" y="1378"/>
                  </a:lnTo>
                  <a:lnTo>
                    <a:pt x="3590" y="1381"/>
                  </a:lnTo>
                  <a:lnTo>
                    <a:pt x="3591" y="1381"/>
                  </a:lnTo>
                  <a:lnTo>
                    <a:pt x="3593" y="1381"/>
                  </a:lnTo>
                  <a:lnTo>
                    <a:pt x="3592" y="1385"/>
                  </a:lnTo>
                  <a:lnTo>
                    <a:pt x="3591" y="1388"/>
                  </a:lnTo>
                  <a:lnTo>
                    <a:pt x="3589" y="1389"/>
                  </a:lnTo>
                  <a:lnTo>
                    <a:pt x="3587" y="1390"/>
                  </a:lnTo>
                  <a:lnTo>
                    <a:pt x="3587" y="1393"/>
                  </a:lnTo>
                  <a:lnTo>
                    <a:pt x="3592" y="1391"/>
                  </a:lnTo>
                  <a:lnTo>
                    <a:pt x="3600" y="1379"/>
                  </a:lnTo>
                  <a:lnTo>
                    <a:pt x="3605" y="1381"/>
                  </a:lnTo>
                  <a:lnTo>
                    <a:pt x="3588" y="1404"/>
                  </a:lnTo>
                  <a:lnTo>
                    <a:pt x="3584" y="1419"/>
                  </a:lnTo>
                  <a:close/>
                  <a:moveTo>
                    <a:pt x="3713" y="1348"/>
                  </a:moveTo>
                  <a:lnTo>
                    <a:pt x="3718" y="1349"/>
                  </a:lnTo>
                  <a:lnTo>
                    <a:pt x="3726" y="1346"/>
                  </a:lnTo>
                  <a:lnTo>
                    <a:pt x="3720" y="1350"/>
                  </a:lnTo>
                  <a:lnTo>
                    <a:pt x="3707" y="1355"/>
                  </a:lnTo>
                  <a:lnTo>
                    <a:pt x="3702" y="1363"/>
                  </a:lnTo>
                  <a:lnTo>
                    <a:pt x="3702" y="1366"/>
                  </a:lnTo>
                  <a:lnTo>
                    <a:pt x="3703" y="1368"/>
                  </a:lnTo>
                  <a:lnTo>
                    <a:pt x="3703" y="1371"/>
                  </a:lnTo>
                  <a:lnTo>
                    <a:pt x="3705" y="1372"/>
                  </a:lnTo>
                  <a:lnTo>
                    <a:pt x="3705" y="1374"/>
                  </a:lnTo>
                  <a:lnTo>
                    <a:pt x="3705" y="1375"/>
                  </a:lnTo>
                  <a:lnTo>
                    <a:pt x="3704" y="1375"/>
                  </a:lnTo>
                  <a:lnTo>
                    <a:pt x="3704" y="1375"/>
                  </a:lnTo>
                  <a:lnTo>
                    <a:pt x="3703" y="1377"/>
                  </a:lnTo>
                  <a:lnTo>
                    <a:pt x="3702" y="1384"/>
                  </a:lnTo>
                  <a:lnTo>
                    <a:pt x="3704" y="1384"/>
                  </a:lnTo>
                  <a:lnTo>
                    <a:pt x="3709" y="1382"/>
                  </a:lnTo>
                  <a:lnTo>
                    <a:pt x="3714" y="1378"/>
                  </a:lnTo>
                  <a:lnTo>
                    <a:pt x="3719" y="1377"/>
                  </a:lnTo>
                  <a:lnTo>
                    <a:pt x="3722" y="1375"/>
                  </a:lnTo>
                  <a:lnTo>
                    <a:pt x="3722" y="1374"/>
                  </a:lnTo>
                  <a:lnTo>
                    <a:pt x="3721" y="1370"/>
                  </a:lnTo>
                  <a:lnTo>
                    <a:pt x="3724" y="1370"/>
                  </a:lnTo>
                  <a:lnTo>
                    <a:pt x="3728" y="1372"/>
                  </a:lnTo>
                  <a:lnTo>
                    <a:pt x="3731" y="1372"/>
                  </a:lnTo>
                  <a:lnTo>
                    <a:pt x="3732" y="1371"/>
                  </a:lnTo>
                  <a:lnTo>
                    <a:pt x="3735" y="1367"/>
                  </a:lnTo>
                  <a:lnTo>
                    <a:pt x="3736" y="1366"/>
                  </a:lnTo>
                  <a:lnTo>
                    <a:pt x="3749" y="1365"/>
                  </a:lnTo>
                  <a:lnTo>
                    <a:pt x="3753" y="1363"/>
                  </a:lnTo>
                  <a:lnTo>
                    <a:pt x="3758" y="1357"/>
                  </a:lnTo>
                  <a:lnTo>
                    <a:pt x="3761" y="1355"/>
                  </a:lnTo>
                  <a:lnTo>
                    <a:pt x="3767" y="1353"/>
                  </a:lnTo>
                  <a:lnTo>
                    <a:pt x="3774" y="1347"/>
                  </a:lnTo>
                  <a:lnTo>
                    <a:pt x="3776" y="1343"/>
                  </a:lnTo>
                  <a:lnTo>
                    <a:pt x="3770" y="1339"/>
                  </a:lnTo>
                  <a:lnTo>
                    <a:pt x="3769" y="1337"/>
                  </a:lnTo>
                  <a:lnTo>
                    <a:pt x="3770" y="1335"/>
                  </a:lnTo>
                  <a:lnTo>
                    <a:pt x="3771" y="1333"/>
                  </a:lnTo>
                  <a:lnTo>
                    <a:pt x="3773" y="1332"/>
                  </a:lnTo>
                  <a:lnTo>
                    <a:pt x="3777" y="1330"/>
                  </a:lnTo>
                  <a:lnTo>
                    <a:pt x="3780" y="1327"/>
                  </a:lnTo>
                  <a:lnTo>
                    <a:pt x="3781" y="1322"/>
                  </a:lnTo>
                  <a:lnTo>
                    <a:pt x="3780" y="1317"/>
                  </a:lnTo>
                  <a:lnTo>
                    <a:pt x="3783" y="1307"/>
                  </a:lnTo>
                  <a:lnTo>
                    <a:pt x="3784" y="1305"/>
                  </a:lnTo>
                  <a:lnTo>
                    <a:pt x="3786" y="1305"/>
                  </a:lnTo>
                  <a:lnTo>
                    <a:pt x="3788" y="1307"/>
                  </a:lnTo>
                  <a:lnTo>
                    <a:pt x="3789" y="1311"/>
                  </a:lnTo>
                  <a:lnTo>
                    <a:pt x="3790" y="1314"/>
                  </a:lnTo>
                  <a:lnTo>
                    <a:pt x="3793" y="1313"/>
                  </a:lnTo>
                  <a:lnTo>
                    <a:pt x="3787" y="1323"/>
                  </a:lnTo>
                  <a:lnTo>
                    <a:pt x="3785" y="1330"/>
                  </a:lnTo>
                  <a:lnTo>
                    <a:pt x="3784" y="1337"/>
                  </a:lnTo>
                  <a:lnTo>
                    <a:pt x="3787" y="1340"/>
                  </a:lnTo>
                  <a:lnTo>
                    <a:pt x="3791" y="1339"/>
                  </a:lnTo>
                  <a:lnTo>
                    <a:pt x="3819" y="1309"/>
                  </a:lnTo>
                  <a:lnTo>
                    <a:pt x="3825" y="1305"/>
                  </a:lnTo>
                  <a:lnTo>
                    <a:pt x="3823" y="1302"/>
                  </a:lnTo>
                  <a:lnTo>
                    <a:pt x="3820" y="1299"/>
                  </a:lnTo>
                  <a:lnTo>
                    <a:pt x="3829" y="1293"/>
                  </a:lnTo>
                  <a:lnTo>
                    <a:pt x="3829" y="1292"/>
                  </a:lnTo>
                  <a:lnTo>
                    <a:pt x="3829" y="1290"/>
                  </a:lnTo>
                  <a:lnTo>
                    <a:pt x="3829" y="1288"/>
                  </a:lnTo>
                  <a:lnTo>
                    <a:pt x="3831" y="1287"/>
                  </a:lnTo>
                  <a:lnTo>
                    <a:pt x="3832" y="1288"/>
                  </a:lnTo>
                  <a:lnTo>
                    <a:pt x="3832" y="1291"/>
                  </a:lnTo>
                  <a:lnTo>
                    <a:pt x="3831" y="1294"/>
                  </a:lnTo>
                  <a:lnTo>
                    <a:pt x="3831" y="1296"/>
                  </a:lnTo>
                  <a:lnTo>
                    <a:pt x="3834" y="1294"/>
                  </a:lnTo>
                  <a:lnTo>
                    <a:pt x="3853" y="1261"/>
                  </a:lnTo>
                  <a:lnTo>
                    <a:pt x="3856" y="1255"/>
                  </a:lnTo>
                  <a:lnTo>
                    <a:pt x="3845" y="1255"/>
                  </a:lnTo>
                  <a:lnTo>
                    <a:pt x="3839" y="1257"/>
                  </a:lnTo>
                  <a:lnTo>
                    <a:pt x="3830" y="1266"/>
                  </a:lnTo>
                  <a:lnTo>
                    <a:pt x="3818" y="1262"/>
                  </a:lnTo>
                  <a:lnTo>
                    <a:pt x="3812" y="1264"/>
                  </a:lnTo>
                  <a:lnTo>
                    <a:pt x="3810" y="1269"/>
                  </a:lnTo>
                  <a:lnTo>
                    <a:pt x="3810" y="1284"/>
                  </a:lnTo>
                  <a:lnTo>
                    <a:pt x="3808" y="1287"/>
                  </a:lnTo>
                  <a:lnTo>
                    <a:pt x="3803" y="1289"/>
                  </a:lnTo>
                  <a:lnTo>
                    <a:pt x="3794" y="1298"/>
                  </a:lnTo>
                  <a:lnTo>
                    <a:pt x="3790" y="1299"/>
                  </a:lnTo>
                  <a:lnTo>
                    <a:pt x="3790" y="1296"/>
                  </a:lnTo>
                  <a:lnTo>
                    <a:pt x="3800" y="1283"/>
                  </a:lnTo>
                  <a:lnTo>
                    <a:pt x="3801" y="1280"/>
                  </a:lnTo>
                  <a:lnTo>
                    <a:pt x="3800" y="1274"/>
                  </a:lnTo>
                  <a:lnTo>
                    <a:pt x="3799" y="1270"/>
                  </a:lnTo>
                  <a:lnTo>
                    <a:pt x="3796" y="1267"/>
                  </a:lnTo>
                  <a:lnTo>
                    <a:pt x="3791" y="1264"/>
                  </a:lnTo>
                  <a:lnTo>
                    <a:pt x="3788" y="1264"/>
                  </a:lnTo>
                  <a:lnTo>
                    <a:pt x="3785" y="1265"/>
                  </a:lnTo>
                  <a:lnTo>
                    <a:pt x="3783" y="1268"/>
                  </a:lnTo>
                  <a:lnTo>
                    <a:pt x="3782" y="1272"/>
                  </a:lnTo>
                  <a:lnTo>
                    <a:pt x="3783" y="1283"/>
                  </a:lnTo>
                  <a:lnTo>
                    <a:pt x="3782" y="1288"/>
                  </a:lnTo>
                  <a:lnTo>
                    <a:pt x="3780" y="1286"/>
                  </a:lnTo>
                  <a:lnTo>
                    <a:pt x="3778" y="1280"/>
                  </a:lnTo>
                  <a:lnTo>
                    <a:pt x="3777" y="1277"/>
                  </a:lnTo>
                  <a:lnTo>
                    <a:pt x="3776" y="1271"/>
                  </a:lnTo>
                  <a:lnTo>
                    <a:pt x="3774" y="1266"/>
                  </a:lnTo>
                  <a:lnTo>
                    <a:pt x="3756" y="1275"/>
                  </a:lnTo>
                  <a:lnTo>
                    <a:pt x="3758" y="1281"/>
                  </a:lnTo>
                  <a:lnTo>
                    <a:pt x="3762" y="1286"/>
                  </a:lnTo>
                  <a:lnTo>
                    <a:pt x="3764" y="1293"/>
                  </a:lnTo>
                  <a:lnTo>
                    <a:pt x="3759" y="1292"/>
                  </a:lnTo>
                  <a:lnTo>
                    <a:pt x="3752" y="1286"/>
                  </a:lnTo>
                  <a:lnTo>
                    <a:pt x="3748" y="1284"/>
                  </a:lnTo>
                  <a:lnTo>
                    <a:pt x="3731" y="1290"/>
                  </a:lnTo>
                  <a:lnTo>
                    <a:pt x="3733" y="1292"/>
                  </a:lnTo>
                  <a:lnTo>
                    <a:pt x="3740" y="1296"/>
                  </a:lnTo>
                  <a:lnTo>
                    <a:pt x="3739" y="1302"/>
                  </a:lnTo>
                  <a:lnTo>
                    <a:pt x="3741" y="1305"/>
                  </a:lnTo>
                  <a:lnTo>
                    <a:pt x="3742" y="1305"/>
                  </a:lnTo>
                  <a:lnTo>
                    <a:pt x="3744" y="1302"/>
                  </a:lnTo>
                  <a:lnTo>
                    <a:pt x="3747" y="1308"/>
                  </a:lnTo>
                  <a:lnTo>
                    <a:pt x="3749" y="1314"/>
                  </a:lnTo>
                  <a:lnTo>
                    <a:pt x="3749" y="1318"/>
                  </a:lnTo>
                  <a:lnTo>
                    <a:pt x="3745" y="1319"/>
                  </a:lnTo>
                  <a:lnTo>
                    <a:pt x="3742" y="1315"/>
                  </a:lnTo>
                  <a:lnTo>
                    <a:pt x="3740" y="1313"/>
                  </a:lnTo>
                  <a:lnTo>
                    <a:pt x="3740" y="1315"/>
                  </a:lnTo>
                  <a:lnTo>
                    <a:pt x="3738" y="1319"/>
                  </a:lnTo>
                  <a:lnTo>
                    <a:pt x="3736" y="1321"/>
                  </a:lnTo>
                  <a:lnTo>
                    <a:pt x="3736" y="1322"/>
                  </a:lnTo>
                  <a:lnTo>
                    <a:pt x="3737" y="1325"/>
                  </a:lnTo>
                  <a:lnTo>
                    <a:pt x="3737" y="1328"/>
                  </a:lnTo>
                  <a:lnTo>
                    <a:pt x="3733" y="1327"/>
                  </a:lnTo>
                  <a:lnTo>
                    <a:pt x="3727" y="1312"/>
                  </a:lnTo>
                  <a:lnTo>
                    <a:pt x="3722" y="1311"/>
                  </a:lnTo>
                  <a:lnTo>
                    <a:pt x="3718" y="1316"/>
                  </a:lnTo>
                  <a:lnTo>
                    <a:pt x="3717" y="1324"/>
                  </a:lnTo>
                  <a:lnTo>
                    <a:pt x="3718" y="1332"/>
                  </a:lnTo>
                  <a:lnTo>
                    <a:pt x="3722" y="1337"/>
                  </a:lnTo>
                  <a:lnTo>
                    <a:pt x="3716" y="1337"/>
                  </a:lnTo>
                  <a:lnTo>
                    <a:pt x="3713" y="1339"/>
                  </a:lnTo>
                  <a:lnTo>
                    <a:pt x="3710" y="1343"/>
                  </a:lnTo>
                  <a:lnTo>
                    <a:pt x="3713" y="1348"/>
                  </a:lnTo>
                  <a:close/>
                  <a:moveTo>
                    <a:pt x="4058" y="1251"/>
                  </a:moveTo>
                  <a:lnTo>
                    <a:pt x="4061" y="1249"/>
                  </a:lnTo>
                  <a:lnTo>
                    <a:pt x="4060" y="1245"/>
                  </a:lnTo>
                  <a:lnTo>
                    <a:pt x="4056" y="1241"/>
                  </a:lnTo>
                  <a:lnTo>
                    <a:pt x="4054" y="1239"/>
                  </a:lnTo>
                  <a:lnTo>
                    <a:pt x="4054" y="1235"/>
                  </a:lnTo>
                  <a:lnTo>
                    <a:pt x="4053" y="1230"/>
                  </a:lnTo>
                  <a:lnTo>
                    <a:pt x="4053" y="1226"/>
                  </a:lnTo>
                  <a:lnTo>
                    <a:pt x="4051" y="1225"/>
                  </a:lnTo>
                  <a:lnTo>
                    <a:pt x="4049" y="1224"/>
                  </a:lnTo>
                  <a:lnTo>
                    <a:pt x="4044" y="1220"/>
                  </a:lnTo>
                  <a:lnTo>
                    <a:pt x="4042" y="1219"/>
                  </a:lnTo>
                  <a:lnTo>
                    <a:pt x="4023" y="1225"/>
                  </a:lnTo>
                  <a:lnTo>
                    <a:pt x="4018" y="1229"/>
                  </a:lnTo>
                  <a:lnTo>
                    <a:pt x="4014" y="1235"/>
                  </a:lnTo>
                  <a:lnTo>
                    <a:pt x="4009" y="1249"/>
                  </a:lnTo>
                  <a:lnTo>
                    <a:pt x="4006" y="1264"/>
                  </a:lnTo>
                  <a:lnTo>
                    <a:pt x="4010" y="1266"/>
                  </a:lnTo>
                  <a:lnTo>
                    <a:pt x="4013" y="1266"/>
                  </a:lnTo>
                  <a:lnTo>
                    <a:pt x="4015" y="1266"/>
                  </a:lnTo>
                  <a:lnTo>
                    <a:pt x="4006" y="1274"/>
                  </a:lnTo>
                  <a:lnTo>
                    <a:pt x="4002" y="1279"/>
                  </a:lnTo>
                  <a:lnTo>
                    <a:pt x="4006" y="1284"/>
                  </a:lnTo>
                  <a:lnTo>
                    <a:pt x="4007" y="1287"/>
                  </a:lnTo>
                  <a:lnTo>
                    <a:pt x="4010" y="1285"/>
                  </a:lnTo>
                  <a:lnTo>
                    <a:pt x="4016" y="1278"/>
                  </a:lnTo>
                  <a:lnTo>
                    <a:pt x="4024" y="1274"/>
                  </a:lnTo>
                  <a:lnTo>
                    <a:pt x="4051" y="1272"/>
                  </a:lnTo>
                  <a:lnTo>
                    <a:pt x="4053" y="1270"/>
                  </a:lnTo>
                  <a:lnTo>
                    <a:pt x="4052" y="1265"/>
                  </a:lnTo>
                  <a:lnTo>
                    <a:pt x="4049" y="1260"/>
                  </a:lnTo>
                  <a:lnTo>
                    <a:pt x="4046" y="1258"/>
                  </a:lnTo>
                  <a:lnTo>
                    <a:pt x="4050" y="1254"/>
                  </a:lnTo>
                  <a:lnTo>
                    <a:pt x="4058" y="1251"/>
                  </a:lnTo>
                  <a:close/>
                  <a:moveTo>
                    <a:pt x="3795" y="1203"/>
                  </a:moveTo>
                  <a:lnTo>
                    <a:pt x="3783" y="1202"/>
                  </a:lnTo>
                  <a:lnTo>
                    <a:pt x="3776" y="1197"/>
                  </a:lnTo>
                  <a:lnTo>
                    <a:pt x="3768" y="1205"/>
                  </a:lnTo>
                  <a:lnTo>
                    <a:pt x="3766" y="1210"/>
                  </a:lnTo>
                  <a:lnTo>
                    <a:pt x="3769" y="1216"/>
                  </a:lnTo>
                  <a:lnTo>
                    <a:pt x="3775" y="1222"/>
                  </a:lnTo>
                  <a:lnTo>
                    <a:pt x="3782" y="1229"/>
                  </a:lnTo>
                  <a:lnTo>
                    <a:pt x="3784" y="1239"/>
                  </a:lnTo>
                  <a:lnTo>
                    <a:pt x="3791" y="1237"/>
                  </a:lnTo>
                  <a:lnTo>
                    <a:pt x="3811" y="1237"/>
                  </a:lnTo>
                  <a:lnTo>
                    <a:pt x="3818" y="1232"/>
                  </a:lnTo>
                  <a:lnTo>
                    <a:pt x="3818" y="1232"/>
                  </a:lnTo>
                  <a:lnTo>
                    <a:pt x="3818" y="1232"/>
                  </a:lnTo>
                  <a:lnTo>
                    <a:pt x="3818" y="1232"/>
                  </a:lnTo>
                  <a:lnTo>
                    <a:pt x="3818" y="1232"/>
                  </a:lnTo>
                  <a:lnTo>
                    <a:pt x="3818" y="1232"/>
                  </a:lnTo>
                  <a:lnTo>
                    <a:pt x="3818" y="1232"/>
                  </a:lnTo>
                  <a:lnTo>
                    <a:pt x="3818" y="1232"/>
                  </a:lnTo>
                  <a:lnTo>
                    <a:pt x="3818" y="1231"/>
                  </a:lnTo>
                  <a:lnTo>
                    <a:pt x="3818" y="1231"/>
                  </a:lnTo>
                  <a:lnTo>
                    <a:pt x="3819" y="1231"/>
                  </a:lnTo>
                  <a:lnTo>
                    <a:pt x="3819" y="1231"/>
                  </a:lnTo>
                  <a:lnTo>
                    <a:pt x="3819" y="1231"/>
                  </a:lnTo>
                  <a:lnTo>
                    <a:pt x="3819" y="1230"/>
                  </a:lnTo>
                  <a:lnTo>
                    <a:pt x="3819" y="1230"/>
                  </a:lnTo>
                  <a:lnTo>
                    <a:pt x="3819" y="1230"/>
                  </a:lnTo>
                  <a:lnTo>
                    <a:pt x="3819" y="1230"/>
                  </a:lnTo>
                  <a:lnTo>
                    <a:pt x="3820" y="1230"/>
                  </a:lnTo>
                  <a:lnTo>
                    <a:pt x="3820" y="1230"/>
                  </a:lnTo>
                  <a:lnTo>
                    <a:pt x="3820" y="1229"/>
                  </a:lnTo>
                  <a:lnTo>
                    <a:pt x="3820" y="1229"/>
                  </a:lnTo>
                  <a:lnTo>
                    <a:pt x="3821" y="1229"/>
                  </a:lnTo>
                  <a:lnTo>
                    <a:pt x="3821" y="1228"/>
                  </a:lnTo>
                  <a:lnTo>
                    <a:pt x="3821" y="1228"/>
                  </a:lnTo>
                  <a:lnTo>
                    <a:pt x="3821" y="1228"/>
                  </a:lnTo>
                  <a:lnTo>
                    <a:pt x="3822" y="1228"/>
                  </a:lnTo>
                  <a:lnTo>
                    <a:pt x="3822" y="1227"/>
                  </a:lnTo>
                  <a:lnTo>
                    <a:pt x="3822" y="1227"/>
                  </a:lnTo>
                  <a:lnTo>
                    <a:pt x="3823" y="1226"/>
                  </a:lnTo>
                  <a:lnTo>
                    <a:pt x="3823" y="1226"/>
                  </a:lnTo>
                  <a:lnTo>
                    <a:pt x="3823" y="1226"/>
                  </a:lnTo>
                  <a:lnTo>
                    <a:pt x="3823" y="1226"/>
                  </a:lnTo>
                  <a:lnTo>
                    <a:pt x="3824" y="1225"/>
                  </a:lnTo>
                  <a:lnTo>
                    <a:pt x="3824" y="1225"/>
                  </a:lnTo>
                  <a:lnTo>
                    <a:pt x="3824" y="1225"/>
                  </a:lnTo>
                  <a:lnTo>
                    <a:pt x="3824" y="1225"/>
                  </a:lnTo>
                  <a:lnTo>
                    <a:pt x="3824" y="1225"/>
                  </a:lnTo>
                  <a:lnTo>
                    <a:pt x="3824" y="1225"/>
                  </a:lnTo>
                  <a:lnTo>
                    <a:pt x="3825" y="1224"/>
                  </a:lnTo>
                  <a:lnTo>
                    <a:pt x="3825" y="1224"/>
                  </a:lnTo>
                  <a:lnTo>
                    <a:pt x="3825" y="1224"/>
                  </a:lnTo>
                  <a:lnTo>
                    <a:pt x="3825" y="1224"/>
                  </a:lnTo>
                  <a:lnTo>
                    <a:pt x="3825" y="1224"/>
                  </a:lnTo>
                  <a:lnTo>
                    <a:pt x="3825" y="1224"/>
                  </a:lnTo>
                  <a:lnTo>
                    <a:pt x="3826" y="1223"/>
                  </a:lnTo>
                  <a:lnTo>
                    <a:pt x="3826" y="1223"/>
                  </a:lnTo>
                  <a:lnTo>
                    <a:pt x="3826" y="1223"/>
                  </a:lnTo>
                  <a:lnTo>
                    <a:pt x="3826" y="1223"/>
                  </a:lnTo>
                  <a:lnTo>
                    <a:pt x="3826" y="1223"/>
                  </a:lnTo>
                  <a:lnTo>
                    <a:pt x="3826" y="1223"/>
                  </a:lnTo>
                  <a:lnTo>
                    <a:pt x="3826" y="1223"/>
                  </a:lnTo>
                  <a:lnTo>
                    <a:pt x="3826" y="1223"/>
                  </a:lnTo>
                  <a:lnTo>
                    <a:pt x="3826" y="1223"/>
                  </a:lnTo>
                  <a:lnTo>
                    <a:pt x="3826" y="1223"/>
                  </a:lnTo>
                  <a:lnTo>
                    <a:pt x="3826" y="1223"/>
                  </a:lnTo>
                  <a:lnTo>
                    <a:pt x="3826" y="1223"/>
                  </a:lnTo>
                  <a:lnTo>
                    <a:pt x="3826" y="1223"/>
                  </a:lnTo>
                  <a:lnTo>
                    <a:pt x="3826" y="1223"/>
                  </a:lnTo>
                  <a:lnTo>
                    <a:pt x="3826" y="1223"/>
                  </a:lnTo>
                  <a:lnTo>
                    <a:pt x="3827" y="1223"/>
                  </a:lnTo>
                  <a:lnTo>
                    <a:pt x="3827" y="1223"/>
                  </a:lnTo>
                  <a:lnTo>
                    <a:pt x="3827" y="1223"/>
                  </a:lnTo>
                  <a:lnTo>
                    <a:pt x="3827" y="1222"/>
                  </a:lnTo>
                  <a:lnTo>
                    <a:pt x="3827" y="1222"/>
                  </a:lnTo>
                  <a:lnTo>
                    <a:pt x="3827" y="1222"/>
                  </a:lnTo>
                  <a:lnTo>
                    <a:pt x="3827" y="1222"/>
                  </a:lnTo>
                  <a:lnTo>
                    <a:pt x="3827" y="1222"/>
                  </a:lnTo>
                  <a:lnTo>
                    <a:pt x="3827" y="1222"/>
                  </a:lnTo>
                  <a:lnTo>
                    <a:pt x="3827" y="1222"/>
                  </a:lnTo>
                  <a:lnTo>
                    <a:pt x="3827" y="1222"/>
                  </a:lnTo>
                  <a:lnTo>
                    <a:pt x="3827" y="1222"/>
                  </a:lnTo>
                  <a:lnTo>
                    <a:pt x="3827" y="1222"/>
                  </a:lnTo>
                  <a:lnTo>
                    <a:pt x="3827" y="1221"/>
                  </a:lnTo>
                  <a:lnTo>
                    <a:pt x="3828" y="1221"/>
                  </a:lnTo>
                  <a:lnTo>
                    <a:pt x="3828" y="1221"/>
                  </a:lnTo>
                  <a:lnTo>
                    <a:pt x="3828" y="1221"/>
                  </a:lnTo>
                  <a:lnTo>
                    <a:pt x="3828" y="1221"/>
                  </a:lnTo>
                  <a:lnTo>
                    <a:pt x="3828" y="1221"/>
                  </a:lnTo>
                  <a:lnTo>
                    <a:pt x="3828" y="1221"/>
                  </a:lnTo>
                  <a:lnTo>
                    <a:pt x="3828" y="1220"/>
                  </a:lnTo>
                  <a:lnTo>
                    <a:pt x="3828" y="1220"/>
                  </a:lnTo>
                  <a:lnTo>
                    <a:pt x="3828" y="1220"/>
                  </a:lnTo>
                  <a:lnTo>
                    <a:pt x="3828" y="1220"/>
                  </a:lnTo>
                  <a:lnTo>
                    <a:pt x="3828" y="1220"/>
                  </a:lnTo>
                  <a:lnTo>
                    <a:pt x="3828" y="1220"/>
                  </a:lnTo>
                  <a:lnTo>
                    <a:pt x="3828" y="1220"/>
                  </a:lnTo>
                  <a:lnTo>
                    <a:pt x="3828" y="1220"/>
                  </a:lnTo>
                  <a:lnTo>
                    <a:pt x="3828" y="1220"/>
                  </a:lnTo>
                  <a:lnTo>
                    <a:pt x="3828" y="1220"/>
                  </a:lnTo>
                  <a:lnTo>
                    <a:pt x="3828" y="1220"/>
                  </a:lnTo>
                  <a:lnTo>
                    <a:pt x="3828" y="1220"/>
                  </a:lnTo>
                  <a:lnTo>
                    <a:pt x="3829" y="1220"/>
                  </a:lnTo>
                  <a:lnTo>
                    <a:pt x="3829" y="1220"/>
                  </a:lnTo>
                  <a:lnTo>
                    <a:pt x="3829" y="1220"/>
                  </a:lnTo>
                  <a:lnTo>
                    <a:pt x="3829" y="1220"/>
                  </a:lnTo>
                  <a:lnTo>
                    <a:pt x="3829" y="1220"/>
                  </a:lnTo>
                  <a:lnTo>
                    <a:pt x="3829" y="1211"/>
                  </a:lnTo>
                  <a:lnTo>
                    <a:pt x="3818" y="1208"/>
                  </a:lnTo>
                  <a:lnTo>
                    <a:pt x="3808" y="1205"/>
                  </a:lnTo>
                  <a:lnTo>
                    <a:pt x="3795" y="1203"/>
                  </a:lnTo>
                  <a:close/>
                  <a:moveTo>
                    <a:pt x="4155" y="1097"/>
                  </a:moveTo>
                  <a:lnTo>
                    <a:pt x="4150" y="1083"/>
                  </a:lnTo>
                  <a:lnTo>
                    <a:pt x="4150" y="1083"/>
                  </a:lnTo>
                  <a:lnTo>
                    <a:pt x="4149" y="1078"/>
                  </a:lnTo>
                  <a:lnTo>
                    <a:pt x="4146" y="1078"/>
                  </a:lnTo>
                  <a:lnTo>
                    <a:pt x="4142" y="1084"/>
                  </a:lnTo>
                  <a:lnTo>
                    <a:pt x="4132" y="1106"/>
                  </a:lnTo>
                  <a:lnTo>
                    <a:pt x="4127" y="1110"/>
                  </a:lnTo>
                  <a:lnTo>
                    <a:pt x="4121" y="1116"/>
                  </a:lnTo>
                  <a:lnTo>
                    <a:pt x="4120" y="1119"/>
                  </a:lnTo>
                  <a:lnTo>
                    <a:pt x="4120" y="1123"/>
                  </a:lnTo>
                  <a:lnTo>
                    <a:pt x="4119" y="1127"/>
                  </a:lnTo>
                  <a:lnTo>
                    <a:pt x="4118" y="1131"/>
                  </a:lnTo>
                  <a:lnTo>
                    <a:pt x="4117" y="1132"/>
                  </a:lnTo>
                  <a:lnTo>
                    <a:pt x="4121" y="1137"/>
                  </a:lnTo>
                  <a:lnTo>
                    <a:pt x="4163" y="1123"/>
                  </a:lnTo>
                  <a:lnTo>
                    <a:pt x="4169" y="1117"/>
                  </a:lnTo>
                  <a:lnTo>
                    <a:pt x="4167" y="1112"/>
                  </a:lnTo>
                  <a:lnTo>
                    <a:pt x="4158" y="1099"/>
                  </a:lnTo>
                  <a:lnTo>
                    <a:pt x="4155" y="1097"/>
                  </a:lnTo>
                  <a:close/>
                  <a:moveTo>
                    <a:pt x="4173" y="1083"/>
                  </a:moveTo>
                  <a:lnTo>
                    <a:pt x="4174" y="1098"/>
                  </a:lnTo>
                  <a:lnTo>
                    <a:pt x="4177" y="1103"/>
                  </a:lnTo>
                  <a:lnTo>
                    <a:pt x="4181" y="1107"/>
                  </a:lnTo>
                  <a:lnTo>
                    <a:pt x="4188" y="1107"/>
                  </a:lnTo>
                  <a:lnTo>
                    <a:pt x="4194" y="1103"/>
                  </a:lnTo>
                  <a:lnTo>
                    <a:pt x="4201" y="1089"/>
                  </a:lnTo>
                  <a:lnTo>
                    <a:pt x="4216" y="1075"/>
                  </a:lnTo>
                  <a:lnTo>
                    <a:pt x="4210" y="1064"/>
                  </a:lnTo>
                  <a:lnTo>
                    <a:pt x="4204" y="1056"/>
                  </a:lnTo>
                  <a:lnTo>
                    <a:pt x="4197" y="1052"/>
                  </a:lnTo>
                  <a:lnTo>
                    <a:pt x="4182" y="1051"/>
                  </a:lnTo>
                  <a:lnTo>
                    <a:pt x="4179" y="1054"/>
                  </a:lnTo>
                  <a:lnTo>
                    <a:pt x="4179" y="1063"/>
                  </a:lnTo>
                  <a:lnTo>
                    <a:pt x="4181" y="1068"/>
                  </a:lnTo>
                  <a:lnTo>
                    <a:pt x="4188" y="1074"/>
                  </a:lnTo>
                  <a:lnTo>
                    <a:pt x="4191" y="1078"/>
                  </a:lnTo>
                  <a:lnTo>
                    <a:pt x="4187" y="1080"/>
                  </a:lnTo>
                  <a:lnTo>
                    <a:pt x="4182" y="1077"/>
                  </a:lnTo>
                  <a:lnTo>
                    <a:pt x="4177" y="1072"/>
                  </a:lnTo>
                  <a:lnTo>
                    <a:pt x="4173" y="1067"/>
                  </a:lnTo>
                  <a:lnTo>
                    <a:pt x="4167" y="1054"/>
                  </a:lnTo>
                  <a:lnTo>
                    <a:pt x="4163" y="1049"/>
                  </a:lnTo>
                  <a:lnTo>
                    <a:pt x="4159" y="1054"/>
                  </a:lnTo>
                  <a:lnTo>
                    <a:pt x="4160" y="1061"/>
                  </a:lnTo>
                  <a:lnTo>
                    <a:pt x="4163" y="1066"/>
                  </a:lnTo>
                  <a:lnTo>
                    <a:pt x="4171" y="1075"/>
                  </a:lnTo>
                  <a:lnTo>
                    <a:pt x="4173" y="1083"/>
                  </a:lnTo>
                  <a:close/>
                  <a:moveTo>
                    <a:pt x="3804" y="1067"/>
                  </a:moveTo>
                  <a:lnTo>
                    <a:pt x="3806" y="1068"/>
                  </a:lnTo>
                  <a:lnTo>
                    <a:pt x="3812" y="1072"/>
                  </a:lnTo>
                  <a:lnTo>
                    <a:pt x="3813" y="1073"/>
                  </a:lnTo>
                  <a:lnTo>
                    <a:pt x="3822" y="1071"/>
                  </a:lnTo>
                  <a:lnTo>
                    <a:pt x="3827" y="1067"/>
                  </a:lnTo>
                  <a:lnTo>
                    <a:pt x="3828" y="1060"/>
                  </a:lnTo>
                  <a:lnTo>
                    <a:pt x="3826" y="1053"/>
                  </a:lnTo>
                  <a:lnTo>
                    <a:pt x="3822" y="1049"/>
                  </a:lnTo>
                  <a:lnTo>
                    <a:pt x="3813" y="1047"/>
                  </a:lnTo>
                  <a:lnTo>
                    <a:pt x="3809" y="1048"/>
                  </a:lnTo>
                  <a:lnTo>
                    <a:pt x="3806" y="1050"/>
                  </a:lnTo>
                  <a:lnTo>
                    <a:pt x="3805" y="1052"/>
                  </a:lnTo>
                  <a:lnTo>
                    <a:pt x="3805" y="1054"/>
                  </a:lnTo>
                  <a:lnTo>
                    <a:pt x="3806" y="1057"/>
                  </a:lnTo>
                  <a:lnTo>
                    <a:pt x="3803" y="1064"/>
                  </a:lnTo>
                  <a:lnTo>
                    <a:pt x="3804" y="1067"/>
                  </a:lnTo>
                  <a:close/>
                  <a:moveTo>
                    <a:pt x="3898" y="1203"/>
                  </a:moveTo>
                  <a:lnTo>
                    <a:pt x="3900" y="1210"/>
                  </a:lnTo>
                  <a:lnTo>
                    <a:pt x="3897" y="1208"/>
                  </a:lnTo>
                  <a:lnTo>
                    <a:pt x="3893" y="1200"/>
                  </a:lnTo>
                  <a:lnTo>
                    <a:pt x="3891" y="1198"/>
                  </a:lnTo>
                  <a:lnTo>
                    <a:pt x="3878" y="1201"/>
                  </a:lnTo>
                  <a:lnTo>
                    <a:pt x="3880" y="1208"/>
                  </a:lnTo>
                  <a:lnTo>
                    <a:pt x="3878" y="1210"/>
                  </a:lnTo>
                  <a:lnTo>
                    <a:pt x="3871" y="1207"/>
                  </a:lnTo>
                  <a:lnTo>
                    <a:pt x="3867" y="1207"/>
                  </a:lnTo>
                  <a:lnTo>
                    <a:pt x="3863" y="1210"/>
                  </a:lnTo>
                  <a:lnTo>
                    <a:pt x="3860" y="1216"/>
                  </a:lnTo>
                  <a:lnTo>
                    <a:pt x="3857" y="1225"/>
                  </a:lnTo>
                  <a:lnTo>
                    <a:pt x="3872" y="1228"/>
                  </a:lnTo>
                  <a:lnTo>
                    <a:pt x="3872" y="1230"/>
                  </a:lnTo>
                  <a:lnTo>
                    <a:pt x="3872" y="1233"/>
                  </a:lnTo>
                  <a:lnTo>
                    <a:pt x="3872" y="1235"/>
                  </a:lnTo>
                  <a:lnTo>
                    <a:pt x="3873" y="1237"/>
                  </a:lnTo>
                  <a:lnTo>
                    <a:pt x="3882" y="1240"/>
                  </a:lnTo>
                  <a:lnTo>
                    <a:pt x="3873" y="1239"/>
                  </a:lnTo>
                  <a:lnTo>
                    <a:pt x="3868" y="1241"/>
                  </a:lnTo>
                  <a:lnTo>
                    <a:pt x="3867" y="1246"/>
                  </a:lnTo>
                  <a:lnTo>
                    <a:pt x="3870" y="1249"/>
                  </a:lnTo>
                  <a:lnTo>
                    <a:pt x="3881" y="1250"/>
                  </a:lnTo>
                  <a:lnTo>
                    <a:pt x="3885" y="1252"/>
                  </a:lnTo>
                  <a:lnTo>
                    <a:pt x="3871" y="1252"/>
                  </a:lnTo>
                  <a:lnTo>
                    <a:pt x="3869" y="1254"/>
                  </a:lnTo>
                  <a:lnTo>
                    <a:pt x="3864" y="1259"/>
                  </a:lnTo>
                  <a:lnTo>
                    <a:pt x="3859" y="1263"/>
                  </a:lnTo>
                  <a:lnTo>
                    <a:pt x="3848" y="1281"/>
                  </a:lnTo>
                  <a:lnTo>
                    <a:pt x="3845" y="1288"/>
                  </a:lnTo>
                  <a:lnTo>
                    <a:pt x="3839" y="1304"/>
                  </a:lnTo>
                  <a:lnTo>
                    <a:pt x="3838" y="1308"/>
                  </a:lnTo>
                  <a:lnTo>
                    <a:pt x="3834" y="1310"/>
                  </a:lnTo>
                  <a:lnTo>
                    <a:pt x="3830" y="1315"/>
                  </a:lnTo>
                  <a:lnTo>
                    <a:pt x="3828" y="1322"/>
                  </a:lnTo>
                  <a:lnTo>
                    <a:pt x="3830" y="1328"/>
                  </a:lnTo>
                  <a:lnTo>
                    <a:pt x="3829" y="1331"/>
                  </a:lnTo>
                  <a:lnTo>
                    <a:pt x="3828" y="1332"/>
                  </a:lnTo>
                  <a:lnTo>
                    <a:pt x="3828" y="1333"/>
                  </a:lnTo>
                  <a:lnTo>
                    <a:pt x="3827" y="1334"/>
                  </a:lnTo>
                  <a:lnTo>
                    <a:pt x="3829" y="1341"/>
                  </a:lnTo>
                  <a:lnTo>
                    <a:pt x="3835" y="1340"/>
                  </a:lnTo>
                  <a:lnTo>
                    <a:pt x="3842" y="1333"/>
                  </a:lnTo>
                  <a:lnTo>
                    <a:pt x="3847" y="1327"/>
                  </a:lnTo>
                  <a:lnTo>
                    <a:pt x="3850" y="1318"/>
                  </a:lnTo>
                  <a:lnTo>
                    <a:pt x="3852" y="1316"/>
                  </a:lnTo>
                  <a:lnTo>
                    <a:pt x="3863" y="1306"/>
                  </a:lnTo>
                  <a:lnTo>
                    <a:pt x="3866" y="1305"/>
                  </a:lnTo>
                  <a:lnTo>
                    <a:pt x="3865" y="1300"/>
                  </a:lnTo>
                  <a:lnTo>
                    <a:pt x="3863" y="1298"/>
                  </a:lnTo>
                  <a:lnTo>
                    <a:pt x="3858" y="1299"/>
                  </a:lnTo>
                  <a:lnTo>
                    <a:pt x="3862" y="1293"/>
                  </a:lnTo>
                  <a:lnTo>
                    <a:pt x="3873" y="1290"/>
                  </a:lnTo>
                  <a:lnTo>
                    <a:pt x="3879" y="1280"/>
                  </a:lnTo>
                  <a:lnTo>
                    <a:pt x="3886" y="1275"/>
                  </a:lnTo>
                  <a:lnTo>
                    <a:pt x="3887" y="1273"/>
                  </a:lnTo>
                  <a:lnTo>
                    <a:pt x="3888" y="1271"/>
                  </a:lnTo>
                  <a:lnTo>
                    <a:pt x="3890" y="1269"/>
                  </a:lnTo>
                  <a:lnTo>
                    <a:pt x="3893" y="1272"/>
                  </a:lnTo>
                  <a:lnTo>
                    <a:pt x="3894" y="1272"/>
                  </a:lnTo>
                  <a:lnTo>
                    <a:pt x="3898" y="1270"/>
                  </a:lnTo>
                  <a:lnTo>
                    <a:pt x="3915" y="1249"/>
                  </a:lnTo>
                  <a:lnTo>
                    <a:pt x="3917" y="1246"/>
                  </a:lnTo>
                  <a:lnTo>
                    <a:pt x="3917" y="1240"/>
                  </a:lnTo>
                  <a:lnTo>
                    <a:pt x="3915" y="1231"/>
                  </a:lnTo>
                  <a:lnTo>
                    <a:pt x="3917" y="1230"/>
                  </a:lnTo>
                  <a:lnTo>
                    <a:pt x="3918" y="1231"/>
                  </a:lnTo>
                  <a:lnTo>
                    <a:pt x="3920" y="1234"/>
                  </a:lnTo>
                  <a:lnTo>
                    <a:pt x="3920" y="1239"/>
                  </a:lnTo>
                  <a:lnTo>
                    <a:pt x="3921" y="1240"/>
                  </a:lnTo>
                  <a:lnTo>
                    <a:pt x="3926" y="1246"/>
                  </a:lnTo>
                  <a:lnTo>
                    <a:pt x="3919" y="1251"/>
                  </a:lnTo>
                  <a:lnTo>
                    <a:pt x="3909" y="1269"/>
                  </a:lnTo>
                  <a:lnTo>
                    <a:pt x="3904" y="1275"/>
                  </a:lnTo>
                  <a:lnTo>
                    <a:pt x="3893" y="1282"/>
                  </a:lnTo>
                  <a:lnTo>
                    <a:pt x="3890" y="1286"/>
                  </a:lnTo>
                  <a:lnTo>
                    <a:pt x="3886" y="1298"/>
                  </a:lnTo>
                  <a:lnTo>
                    <a:pt x="3883" y="1300"/>
                  </a:lnTo>
                  <a:lnTo>
                    <a:pt x="3880" y="1299"/>
                  </a:lnTo>
                  <a:lnTo>
                    <a:pt x="3882" y="1308"/>
                  </a:lnTo>
                  <a:lnTo>
                    <a:pt x="3888" y="1309"/>
                  </a:lnTo>
                  <a:lnTo>
                    <a:pt x="3912" y="1305"/>
                  </a:lnTo>
                  <a:lnTo>
                    <a:pt x="3915" y="1307"/>
                  </a:lnTo>
                  <a:lnTo>
                    <a:pt x="3920" y="1313"/>
                  </a:lnTo>
                  <a:lnTo>
                    <a:pt x="3923" y="1313"/>
                  </a:lnTo>
                  <a:lnTo>
                    <a:pt x="3923" y="1317"/>
                  </a:lnTo>
                  <a:lnTo>
                    <a:pt x="3922" y="1318"/>
                  </a:lnTo>
                  <a:lnTo>
                    <a:pt x="3921" y="1319"/>
                  </a:lnTo>
                  <a:lnTo>
                    <a:pt x="3924" y="1319"/>
                  </a:lnTo>
                  <a:lnTo>
                    <a:pt x="3928" y="1321"/>
                  </a:lnTo>
                  <a:lnTo>
                    <a:pt x="3930" y="1319"/>
                  </a:lnTo>
                  <a:lnTo>
                    <a:pt x="3930" y="1314"/>
                  </a:lnTo>
                  <a:lnTo>
                    <a:pt x="3938" y="1303"/>
                  </a:lnTo>
                  <a:lnTo>
                    <a:pt x="3941" y="1296"/>
                  </a:lnTo>
                  <a:lnTo>
                    <a:pt x="3939" y="1296"/>
                  </a:lnTo>
                  <a:lnTo>
                    <a:pt x="3937" y="1296"/>
                  </a:lnTo>
                  <a:lnTo>
                    <a:pt x="3935" y="1295"/>
                  </a:lnTo>
                  <a:lnTo>
                    <a:pt x="3933" y="1293"/>
                  </a:lnTo>
                  <a:lnTo>
                    <a:pt x="3936" y="1290"/>
                  </a:lnTo>
                  <a:lnTo>
                    <a:pt x="3938" y="1290"/>
                  </a:lnTo>
                  <a:lnTo>
                    <a:pt x="3944" y="1290"/>
                  </a:lnTo>
                  <a:lnTo>
                    <a:pt x="3944" y="1288"/>
                  </a:lnTo>
                  <a:lnTo>
                    <a:pt x="3943" y="1283"/>
                  </a:lnTo>
                  <a:lnTo>
                    <a:pt x="3943" y="1281"/>
                  </a:lnTo>
                  <a:lnTo>
                    <a:pt x="3945" y="1278"/>
                  </a:lnTo>
                  <a:lnTo>
                    <a:pt x="3946" y="1272"/>
                  </a:lnTo>
                  <a:lnTo>
                    <a:pt x="3947" y="1267"/>
                  </a:lnTo>
                  <a:lnTo>
                    <a:pt x="3950" y="1268"/>
                  </a:lnTo>
                  <a:lnTo>
                    <a:pt x="3951" y="1272"/>
                  </a:lnTo>
                  <a:lnTo>
                    <a:pt x="3953" y="1277"/>
                  </a:lnTo>
                  <a:lnTo>
                    <a:pt x="3955" y="1281"/>
                  </a:lnTo>
                  <a:lnTo>
                    <a:pt x="3958" y="1281"/>
                  </a:lnTo>
                  <a:lnTo>
                    <a:pt x="3957" y="1277"/>
                  </a:lnTo>
                  <a:lnTo>
                    <a:pt x="3952" y="1270"/>
                  </a:lnTo>
                  <a:lnTo>
                    <a:pt x="3951" y="1265"/>
                  </a:lnTo>
                  <a:lnTo>
                    <a:pt x="3953" y="1262"/>
                  </a:lnTo>
                  <a:lnTo>
                    <a:pt x="3955" y="1264"/>
                  </a:lnTo>
                  <a:lnTo>
                    <a:pt x="3958" y="1267"/>
                  </a:lnTo>
                  <a:lnTo>
                    <a:pt x="3959" y="1268"/>
                  </a:lnTo>
                  <a:lnTo>
                    <a:pt x="3963" y="1263"/>
                  </a:lnTo>
                  <a:lnTo>
                    <a:pt x="3965" y="1260"/>
                  </a:lnTo>
                  <a:lnTo>
                    <a:pt x="3966" y="1255"/>
                  </a:lnTo>
                  <a:lnTo>
                    <a:pt x="3966" y="1249"/>
                  </a:lnTo>
                  <a:lnTo>
                    <a:pt x="3965" y="1245"/>
                  </a:lnTo>
                  <a:lnTo>
                    <a:pt x="3965" y="1241"/>
                  </a:lnTo>
                  <a:lnTo>
                    <a:pt x="3967" y="1237"/>
                  </a:lnTo>
                  <a:lnTo>
                    <a:pt x="3967" y="1244"/>
                  </a:lnTo>
                  <a:lnTo>
                    <a:pt x="3968" y="1249"/>
                  </a:lnTo>
                  <a:lnTo>
                    <a:pt x="3969" y="1254"/>
                  </a:lnTo>
                  <a:lnTo>
                    <a:pt x="3969" y="1259"/>
                  </a:lnTo>
                  <a:lnTo>
                    <a:pt x="3968" y="1266"/>
                  </a:lnTo>
                  <a:lnTo>
                    <a:pt x="3967" y="1272"/>
                  </a:lnTo>
                  <a:lnTo>
                    <a:pt x="3967" y="1278"/>
                  </a:lnTo>
                  <a:lnTo>
                    <a:pt x="3968" y="1284"/>
                  </a:lnTo>
                  <a:lnTo>
                    <a:pt x="3968" y="1291"/>
                  </a:lnTo>
                  <a:lnTo>
                    <a:pt x="3972" y="1291"/>
                  </a:lnTo>
                  <a:lnTo>
                    <a:pt x="3978" y="1287"/>
                  </a:lnTo>
                  <a:lnTo>
                    <a:pt x="3982" y="1281"/>
                  </a:lnTo>
                  <a:lnTo>
                    <a:pt x="3986" y="1265"/>
                  </a:lnTo>
                  <a:lnTo>
                    <a:pt x="3989" y="1258"/>
                  </a:lnTo>
                  <a:lnTo>
                    <a:pt x="3996" y="1250"/>
                  </a:lnTo>
                  <a:lnTo>
                    <a:pt x="3998" y="1240"/>
                  </a:lnTo>
                  <a:lnTo>
                    <a:pt x="4000" y="1228"/>
                  </a:lnTo>
                  <a:lnTo>
                    <a:pt x="4002" y="1220"/>
                  </a:lnTo>
                  <a:lnTo>
                    <a:pt x="4004" y="1218"/>
                  </a:lnTo>
                  <a:lnTo>
                    <a:pt x="4006" y="1220"/>
                  </a:lnTo>
                  <a:lnTo>
                    <a:pt x="4008" y="1223"/>
                  </a:lnTo>
                  <a:lnTo>
                    <a:pt x="4010" y="1225"/>
                  </a:lnTo>
                  <a:lnTo>
                    <a:pt x="4012" y="1224"/>
                  </a:lnTo>
                  <a:lnTo>
                    <a:pt x="4023" y="1215"/>
                  </a:lnTo>
                  <a:lnTo>
                    <a:pt x="4042" y="1209"/>
                  </a:lnTo>
                  <a:lnTo>
                    <a:pt x="4054" y="1210"/>
                  </a:lnTo>
                  <a:lnTo>
                    <a:pt x="4060" y="1214"/>
                  </a:lnTo>
                  <a:lnTo>
                    <a:pt x="4064" y="1214"/>
                  </a:lnTo>
                  <a:lnTo>
                    <a:pt x="4066" y="1211"/>
                  </a:lnTo>
                  <a:lnTo>
                    <a:pt x="4068" y="1205"/>
                  </a:lnTo>
                  <a:lnTo>
                    <a:pt x="4067" y="1202"/>
                  </a:lnTo>
                  <a:lnTo>
                    <a:pt x="4066" y="1200"/>
                  </a:lnTo>
                  <a:lnTo>
                    <a:pt x="4065" y="1199"/>
                  </a:lnTo>
                  <a:lnTo>
                    <a:pt x="4065" y="1194"/>
                  </a:lnTo>
                  <a:lnTo>
                    <a:pt x="4065" y="1189"/>
                  </a:lnTo>
                  <a:lnTo>
                    <a:pt x="4067" y="1186"/>
                  </a:lnTo>
                  <a:lnTo>
                    <a:pt x="4069" y="1184"/>
                  </a:lnTo>
                  <a:lnTo>
                    <a:pt x="4071" y="1182"/>
                  </a:lnTo>
                  <a:lnTo>
                    <a:pt x="4073" y="1176"/>
                  </a:lnTo>
                  <a:lnTo>
                    <a:pt x="4076" y="1167"/>
                  </a:lnTo>
                  <a:lnTo>
                    <a:pt x="4076" y="1160"/>
                  </a:lnTo>
                  <a:lnTo>
                    <a:pt x="4072" y="1156"/>
                  </a:lnTo>
                  <a:lnTo>
                    <a:pt x="4078" y="1148"/>
                  </a:lnTo>
                  <a:lnTo>
                    <a:pt x="4079" y="1145"/>
                  </a:lnTo>
                  <a:lnTo>
                    <a:pt x="4071" y="1138"/>
                  </a:lnTo>
                  <a:lnTo>
                    <a:pt x="4072" y="1130"/>
                  </a:lnTo>
                  <a:lnTo>
                    <a:pt x="4071" y="1125"/>
                  </a:lnTo>
                  <a:lnTo>
                    <a:pt x="4071" y="1121"/>
                  </a:lnTo>
                  <a:lnTo>
                    <a:pt x="4076" y="1117"/>
                  </a:lnTo>
                  <a:lnTo>
                    <a:pt x="4074" y="1112"/>
                  </a:lnTo>
                  <a:lnTo>
                    <a:pt x="4072" y="1109"/>
                  </a:lnTo>
                  <a:lnTo>
                    <a:pt x="4068" y="1108"/>
                  </a:lnTo>
                  <a:lnTo>
                    <a:pt x="4066" y="1108"/>
                  </a:lnTo>
                  <a:lnTo>
                    <a:pt x="4068" y="1103"/>
                  </a:lnTo>
                  <a:lnTo>
                    <a:pt x="4073" y="1098"/>
                  </a:lnTo>
                  <a:lnTo>
                    <a:pt x="4076" y="1093"/>
                  </a:lnTo>
                  <a:lnTo>
                    <a:pt x="4072" y="1093"/>
                  </a:lnTo>
                  <a:lnTo>
                    <a:pt x="4060" y="1098"/>
                  </a:lnTo>
                  <a:lnTo>
                    <a:pt x="4057" y="1092"/>
                  </a:lnTo>
                  <a:lnTo>
                    <a:pt x="4057" y="1086"/>
                  </a:lnTo>
                  <a:lnTo>
                    <a:pt x="4057" y="1083"/>
                  </a:lnTo>
                  <a:lnTo>
                    <a:pt x="4056" y="1081"/>
                  </a:lnTo>
                  <a:lnTo>
                    <a:pt x="4049" y="1080"/>
                  </a:lnTo>
                  <a:lnTo>
                    <a:pt x="4037" y="1073"/>
                  </a:lnTo>
                  <a:lnTo>
                    <a:pt x="4028" y="1059"/>
                  </a:lnTo>
                  <a:lnTo>
                    <a:pt x="4027" y="1060"/>
                  </a:lnTo>
                  <a:lnTo>
                    <a:pt x="4027" y="1067"/>
                  </a:lnTo>
                  <a:lnTo>
                    <a:pt x="4029" y="1075"/>
                  </a:lnTo>
                  <a:lnTo>
                    <a:pt x="4034" y="1080"/>
                  </a:lnTo>
                  <a:lnTo>
                    <a:pt x="4034" y="1083"/>
                  </a:lnTo>
                  <a:lnTo>
                    <a:pt x="4033" y="1087"/>
                  </a:lnTo>
                  <a:lnTo>
                    <a:pt x="4030" y="1087"/>
                  </a:lnTo>
                  <a:lnTo>
                    <a:pt x="4028" y="1085"/>
                  </a:lnTo>
                  <a:lnTo>
                    <a:pt x="4023" y="1080"/>
                  </a:lnTo>
                  <a:lnTo>
                    <a:pt x="4020" y="1078"/>
                  </a:lnTo>
                  <a:lnTo>
                    <a:pt x="4018" y="1079"/>
                  </a:lnTo>
                  <a:lnTo>
                    <a:pt x="4005" y="1088"/>
                  </a:lnTo>
                  <a:lnTo>
                    <a:pt x="4003" y="1091"/>
                  </a:lnTo>
                  <a:lnTo>
                    <a:pt x="4001" y="1098"/>
                  </a:lnTo>
                  <a:lnTo>
                    <a:pt x="4002" y="1103"/>
                  </a:lnTo>
                  <a:lnTo>
                    <a:pt x="4005" y="1108"/>
                  </a:lnTo>
                  <a:lnTo>
                    <a:pt x="4007" y="1111"/>
                  </a:lnTo>
                  <a:lnTo>
                    <a:pt x="4016" y="1117"/>
                  </a:lnTo>
                  <a:lnTo>
                    <a:pt x="4019" y="1122"/>
                  </a:lnTo>
                  <a:lnTo>
                    <a:pt x="4021" y="1132"/>
                  </a:lnTo>
                  <a:lnTo>
                    <a:pt x="4005" y="1130"/>
                  </a:lnTo>
                  <a:lnTo>
                    <a:pt x="4000" y="1132"/>
                  </a:lnTo>
                  <a:lnTo>
                    <a:pt x="3998" y="1134"/>
                  </a:lnTo>
                  <a:lnTo>
                    <a:pt x="3995" y="1142"/>
                  </a:lnTo>
                  <a:lnTo>
                    <a:pt x="3993" y="1143"/>
                  </a:lnTo>
                  <a:lnTo>
                    <a:pt x="3994" y="1147"/>
                  </a:lnTo>
                  <a:lnTo>
                    <a:pt x="3995" y="1150"/>
                  </a:lnTo>
                  <a:lnTo>
                    <a:pt x="3996" y="1151"/>
                  </a:lnTo>
                  <a:lnTo>
                    <a:pt x="4000" y="1160"/>
                  </a:lnTo>
                  <a:lnTo>
                    <a:pt x="4002" y="1167"/>
                  </a:lnTo>
                  <a:lnTo>
                    <a:pt x="4000" y="1175"/>
                  </a:lnTo>
                  <a:lnTo>
                    <a:pt x="3997" y="1178"/>
                  </a:lnTo>
                  <a:lnTo>
                    <a:pt x="3995" y="1173"/>
                  </a:lnTo>
                  <a:lnTo>
                    <a:pt x="3992" y="1159"/>
                  </a:lnTo>
                  <a:lnTo>
                    <a:pt x="3988" y="1158"/>
                  </a:lnTo>
                  <a:lnTo>
                    <a:pt x="3984" y="1161"/>
                  </a:lnTo>
                  <a:lnTo>
                    <a:pt x="3977" y="1168"/>
                  </a:lnTo>
                  <a:lnTo>
                    <a:pt x="3965" y="1177"/>
                  </a:lnTo>
                  <a:lnTo>
                    <a:pt x="3961" y="1181"/>
                  </a:lnTo>
                  <a:lnTo>
                    <a:pt x="3958" y="1187"/>
                  </a:lnTo>
                  <a:lnTo>
                    <a:pt x="3958" y="1192"/>
                  </a:lnTo>
                  <a:lnTo>
                    <a:pt x="3959" y="1199"/>
                  </a:lnTo>
                  <a:lnTo>
                    <a:pt x="3958" y="1207"/>
                  </a:lnTo>
                  <a:lnTo>
                    <a:pt x="3956" y="1213"/>
                  </a:lnTo>
                  <a:lnTo>
                    <a:pt x="3953" y="1217"/>
                  </a:lnTo>
                  <a:lnTo>
                    <a:pt x="3946" y="1222"/>
                  </a:lnTo>
                  <a:lnTo>
                    <a:pt x="3948" y="1215"/>
                  </a:lnTo>
                  <a:lnTo>
                    <a:pt x="3950" y="1212"/>
                  </a:lnTo>
                  <a:lnTo>
                    <a:pt x="3952" y="1208"/>
                  </a:lnTo>
                  <a:lnTo>
                    <a:pt x="3953" y="1201"/>
                  </a:lnTo>
                  <a:lnTo>
                    <a:pt x="3952" y="1195"/>
                  </a:lnTo>
                  <a:lnTo>
                    <a:pt x="3951" y="1190"/>
                  </a:lnTo>
                  <a:lnTo>
                    <a:pt x="3950" y="1185"/>
                  </a:lnTo>
                  <a:lnTo>
                    <a:pt x="3951" y="1177"/>
                  </a:lnTo>
                  <a:lnTo>
                    <a:pt x="3955" y="1173"/>
                  </a:lnTo>
                  <a:lnTo>
                    <a:pt x="3963" y="1171"/>
                  </a:lnTo>
                  <a:lnTo>
                    <a:pt x="3967" y="1168"/>
                  </a:lnTo>
                  <a:lnTo>
                    <a:pt x="3968" y="1166"/>
                  </a:lnTo>
                  <a:lnTo>
                    <a:pt x="3971" y="1161"/>
                  </a:lnTo>
                  <a:lnTo>
                    <a:pt x="3972" y="1158"/>
                  </a:lnTo>
                  <a:lnTo>
                    <a:pt x="3974" y="1156"/>
                  </a:lnTo>
                  <a:lnTo>
                    <a:pt x="3975" y="1156"/>
                  </a:lnTo>
                  <a:lnTo>
                    <a:pt x="3977" y="1155"/>
                  </a:lnTo>
                  <a:lnTo>
                    <a:pt x="3978" y="1152"/>
                  </a:lnTo>
                  <a:lnTo>
                    <a:pt x="3980" y="1146"/>
                  </a:lnTo>
                  <a:lnTo>
                    <a:pt x="3983" y="1134"/>
                  </a:lnTo>
                  <a:lnTo>
                    <a:pt x="3985" y="1128"/>
                  </a:lnTo>
                  <a:lnTo>
                    <a:pt x="3986" y="1120"/>
                  </a:lnTo>
                  <a:lnTo>
                    <a:pt x="3984" y="1112"/>
                  </a:lnTo>
                  <a:lnTo>
                    <a:pt x="3980" y="1108"/>
                  </a:lnTo>
                  <a:lnTo>
                    <a:pt x="3977" y="1110"/>
                  </a:lnTo>
                  <a:lnTo>
                    <a:pt x="3971" y="1120"/>
                  </a:lnTo>
                  <a:lnTo>
                    <a:pt x="3964" y="1127"/>
                  </a:lnTo>
                  <a:lnTo>
                    <a:pt x="3956" y="1131"/>
                  </a:lnTo>
                  <a:lnTo>
                    <a:pt x="3950" y="1132"/>
                  </a:lnTo>
                  <a:lnTo>
                    <a:pt x="3960" y="1123"/>
                  </a:lnTo>
                  <a:lnTo>
                    <a:pt x="3962" y="1119"/>
                  </a:lnTo>
                  <a:lnTo>
                    <a:pt x="3963" y="1116"/>
                  </a:lnTo>
                  <a:lnTo>
                    <a:pt x="3966" y="1112"/>
                  </a:lnTo>
                  <a:lnTo>
                    <a:pt x="3967" y="1108"/>
                  </a:lnTo>
                  <a:lnTo>
                    <a:pt x="3967" y="1105"/>
                  </a:lnTo>
                  <a:lnTo>
                    <a:pt x="3968" y="1100"/>
                  </a:lnTo>
                  <a:lnTo>
                    <a:pt x="3968" y="1097"/>
                  </a:lnTo>
                  <a:lnTo>
                    <a:pt x="3974" y="1074"/>
                  </a:lnTo>
                  <a:lnTo>
                    <a:pt x="3975" y="1066"/>
                  </a:lnTo>
                  <a:lnTo>
                    <a:pt x="3974" y="1062"/>
                  </a:lnTo>
                  <a:lnTo>
                    <a:pt x="3972" y="1059"/>
                  </a:lnTo>
                  <a:lnTo>
                    <a:pt x="3971" y="1053"/>
                  </a:lnTo>
                  <a:lnTo>
                    <a:pt x="3972" y="1044"/>
                  </a:lnTo>
                  <a:lnTo>
                    <a:pt x="3973" y="1038"/>
                  </a:lnTo>
                  <a:lnTo>
                    <a:pt x="3973" y="1035"/>
                  </a:lnTo>
                  <a:lnTo>
                    <a:pt x="3973" y="1034"/>
                  </a:lnTo>
                  <a:lnTo>
                    <a:pt x="3969" y="1030"/>
                  </a:lnTo>
                  <a:lnTo>
                    <a:pt x="3965" y="1029"/>
                  </a:lnTo>
                  <a:lnTo>
                    <a:pt x="3952" y="1036"/>
                  </a:lnTo>
                  <a:lnTo>
                    <a:pt x="3936" y="1033"/>
                  </a:lnTo>
                  <a:lnTo>
                    <a:pt x="3931" y="1036"/>
                  </a:lnTo>
                  <a:lnTo>
                    <a:pt x="3929" y="1040"/>
                  </a:lnTo>
                  <a:lnTo>
                    <a:pt x="3925" y="1052"/>
                  </a:lnTo>
                  <a:lnTo>
                    <a:pt x="3923" y="1057"/>
                  </a:lnTo>
                  <a:lnTo>
                    <a:pt x="3925" y="1058"/>
                  </a:lnTo>
                  <a:lnTo>
                    <a:pt x="3926" y="1060"/>
                  </a:lnTo>
                  <a:lnTo>
                    <a:pt x="3927" y="1063"/>
                  </a:lnTo>
                  <a:lnTo>
                    <a:pt x="3928" y="1067"/>
                  </a:lnTo>
                  <a:lnTo>
                    <a:pt x="3920" y="1068"/>
                  </a:lnTo>
                  <a:lnTo>
                    <a:pt x="3917" y="1073"/>
                  </a:lnTo>
                  <a:lnTo>
                    <a:pt x="3916" y="1081"/>
                  </a:lnTo>
                  <a:lnTo>
                    <a:pt x="3918" y="1087"/>
                  </a:lnTo>
                  <a:lnTo>
                    <a:pt x="3922" y="1090"/>
                  </a:lnTo>
                  <a:lnTo>
                    <a:pt x="3927" y="1091"/>
                  </a:lnTo>
                  <a:lnTo>
                    <a:pt x="3930" y="1093"/>
                  </a:lnTo>
                  <a:lnTo>
                    <a:pt x="3926" y="1097"/>
                  </a:lnTo>
                  <a:lnTo>
                    <a:pt x="3917" y="1093"/>
                  </a:lnTo>
                  <a:lnTo>
                    <a:pt x="3912" y="1093"/>
                  </a:lnTo>
                  <a:lnTo>
                    <a:pt x="3911" y="1096"/>
                  </a:lnTo>
                  <a:lnTo>
                    <a:pt x="3910" y="1099"/>
                  </a:lnTo>
                  <a:lnTo>
                    <a:pt x="3909" y="1102"/>
                  </a:lnTo>
                  <a:lnTo>
                    <a:pt x="3907" y="1103"/>
                  </a:lnTo>
                  <a:lnTo>
                    <a:pt x="3906" y="1102"/>
                  </a:lnTo>
                  <a:lnTo>
                    <a:pt x="3902" y="1100"/>
                  </a:lnTo>
                  <a:lnTo>
                    <a:pt x="3900" y="1099"/>
                  </a:lnTo>
                  <a:lnTo>
                    <a:pt x="3902" y="1106"/>
                  </a:lnTo>
                  <a:lnTo>
                    <a:pt x="3901" y="1118"/>
                  </a:lnTo>
                  <a:lnTo>
                    <a:pt x="3902" y="1123"/>
                  </a:lnTo>
                  <a:lnTo>
                    <a:pt x="3904" y="1127"/>
                  </a:lnTo>
                  <a:lnTo>
                    <a:pt x="3908" y="1129"/>
                  </a:lnTo>
                  <a:lnTo>
                    <a:pt x="3930" y="1129"/>
                  </a:lnTo>
                  <a:lnTo>
                    <a:pt x="3934" y="1132"/>
                  </a:lnTo>
                  <a:lnTo>
                    <a:pt x="3935" y="1134"/>
                  </a:lnTo>
                  <a:lnTo>
                    <a:pt x="3936" y="1140"/>
                  </a:lnTo>
                  <a:lnTo>
                    <a:pt x="3936" y="1142"/>
                  </a:lnTo>
                  <a:lnTo>
                    <a:pt x="3938" y="1143"/>
                  </a:lnTo>
                  <a:lnTo>
                    <a:pt x="3942" y="1147"/>
                  </a:lnTo>
                  <a:lnTo>
                    <a:pt x="3934" y="1140"/>
                  </a:lnTo>
                  <a:lnTo>
                    <a:pt x="3931" y="1138"/>
                  </a:lnTo>
                  <a:lnTo>
                    <a:pt x="3927" y="1134"/>
                  </a:lnTo>
                  <a:lnTo>
                    <a:pt x="3925" y="1132"/>
                  </a:lnTo>
                  <a:lnTo>
                    <a:pt x="3923" y="1133"/>
                  </a:lnTo>
                  <a:lnTo>
                    <a:pt x="3921" y="1134"/>
                  </a:lnTo>
                  <a:lnTo>
                    <a:pt x="3919" y="1135"/>
                  </a:lnTo>
                  <a:lnTo>
                    <a:pt x="3900" y="1135"/>
                  </a:lnTo>
                  <a:lnTo>
                    <a:pt x="3899" y="1138"/>
                  </a:lnTo>
                  <a:lnTo>
                    <a:pt x="3898" y="1145"/>
                  </a:lnTo>
                  <a:lnTo>
                    <a:pt x="3899" y="1156"/>
                  </a:lnTo>
                  <a:lnTo>
                    <a:pt x="3901" y="1162"/>
                  </a:lnTo>
                  <a:lnTo>
                    <a:pt x="3905" y="1167"/>
                  </a:lnTo>
                  <a:lnTo>
                    <a:pt x="3908" y="1173"/>
                  </a:lnTo>
                  <a:lnTo>
                    <a:pt x="3910" y="1176"/>
                  </a:lnTo>
                  <a:lnTo>
                    <a:pt x="3918" y="1176"/>
                  </a:lnTo>
                  <a:lnTo>
                    <a:pt x="3921" y="1177"/>
                  </a:lnTo>
                  <a:lnTo>
                    <a:pt x="3923" y="1180"/>
                  </a:lnTo>
                  <a:lnTo>
                    <a:pt x="3925" y="1183"/>
                  </a:lnTo>
                  <a:lnTo>
                    <a:pt x="3926" y="1186"/>
                  </a:lnTo>
                  <a:lnTo>
                    <a:pt x="3929" y="1186"/>
                  </a:lnTo>
                  <a:lnTo>
                    <a:pt x="3926" y="1189"/>
                  </a:lnTo>
                  <a:lnTo>
                    <a:pt x="3924" y="1189"/>
                  </a:lnTo>
                  <a:lnTo>
                    <a:pt x="3922" y="1189"/>
                  </a:lnTo>
                  <a:lnTo>
                    <a:pt x="3920" y="1187"/>
                  </a:lnTo>
                  <a:lnTo>
                    <a:pt x="3919" y="1185"/>
                  </a:lnTo>
                  <a:lnTo>
                    <a:pt x="3917" y="1181"/>
                  </a:lnTo>
                  <a:lnTo>
                    <a:pt x="3916" y="1181"/>
                  </a:lnTo>
                  <a:lnTo>
                    <a:pt x="3898" y="1183"/>
                  </a:lnTo>
                  <a:lnTo>
                    <a:pt x="3898" y="1186"/>
                  </a:lnTo>
                  <a:lnTo>
                    <a:pt x="3899" y="1188"/>
                  </a:lnTo>
                  <a:lnTo>
                    <a:pt x="3900" y="1192"/>
                  </a:lnTo>
                  <a:lnTo>
                    <a:pt x="3898" y="1192"/>
                  </a:lnTo>
                  <a:lnTo>
                    <a:pt x="3893" y="1190"/>
                  </a:lnTo>
                  <a:lnTo>
                    <a:pt x="3891" y="1189"/>
                  </a:lnTo>
                  <a:lnTo>
                    <a:pt x="3898" y="1203"/>
                  </a:lnTo>
                  <a:close/>
                  <a:moveTo>
                    <a:pt x="4042" y="1045"/>
                  </a:moveTo>
                  <a:lnTo>
                    <a:pt x="4050" y="1059"/>
                  </a:lnTo>
                  <a:lnTo>
                    <a:pt x="4056" y="1064"/>
                  </a:lnTo>
                  <a:lnTo>
                    <a:pt x="4063" y="1067"/>
                  </a:lnTo>
                  <a:lnTo>
                    <a:pt x="4078" y="1066"/>
                  </a:lnTo>
                  <a:lnTo>
                    <a:pt x="4081" y="1061"/>
                  </a:lnTo>
                  <a:lnTo>
                    <a:pt x="4080" y="1051"/>
                  </a:lnTo>
                  <a:lnTo>
                    <a:pt x="4083" y="1047"/>
                  </a:lnTo>
                  <a:lnTo>
                    <a:pt x="4083" y="1039"/>
                  </a:lnTo>
                  <a:lnTo>
                    <a:pt x="4080" y="1033"/>
                  </a:lnTo>
                  <a:lnTo>
                    <a:pt x="4077" y="1030"/>
                  </a:lnTo>
                  <a:lnTo>
                    <a:pt x="4070" y="1033"/>
                  </a:lnTo>
                  <a:lnTo>
                    <a:pt x="4062" y="1033"/>
                  </a:lnTo>
                  <a:lnTo>
                    <a:pt x="4053" y="1028"/>
                  </a:lnTo>
                  <a:lnTo>
                    <a:pt x="4044" y="1020"/>
                  </a:lnTo>
                  <a:lnTo>
                    <a:pt x="4036" y="1018"/>
                  </a:lnTo>
                  <a:lnTo>
                    <a:pt x="4029" y="1030"/>
                  </a:lnTo>
                  <a:lnTo>
                    <a:pt x="4033" y="1037"/>
                  </a:lnTo>
                  <a:lnTo>
                    <a:pt x="4042" y="1045"/>
                  </a:lnTo>
                  <a:close/>
                  <a:moveTo>
                    <a:pt x="3731" y="1164"/>
                  </a:moveTo>
                  <a:lnTo>
                    <a:pt x="3733" y="1165"/>
                  </a:lnTo>
                  <a:lnTo>
                    <a:pt x="3735" y="1165"/>
                  </a:lnTo>
                  <a:lnTo>
                    <a:pt x="3736" y="1162"/>
                  </a:lnTo>
                  <a:lnTo>
                    <a:pt x="3737" y="1160"/>
                  </a:lnTo>
                  <a:lnTo>
                    <a:pt x="3738" y="1162"/>
                  </a:lnTo>
                  <a:lnTo>
                    <a:pt x="3736" y="1168"/>
                  </a:lnTo>
                  <a:lnTo>
                    <a:pt x="3736" y="1176"/>
                  </a:lnTo>
                  <a:lnTo>
                    <a:pt x="3736" y="1183"/>
                  </a:lnTo>
                  <a:lnTo>
                    <a:pt x="3739" y="1186"/>
                  </a:lnTo>
                  <a:lnTo>
                    <a:pt x="3748" y="1189"/>
                  </a:lnTo>
                  <a:lnTo>
                    <a:pt x="3753" y="1188"/>
                  </a:lnTo>
                  <a:lnTo>
                    <a:pt x="3756" y="1182"/>
                  </a:lnTo>
                  <a:lnTo>
                    <a:pt x="3759" y="1180"/>
                  </a:lnTo>
                  <a:lnTo>
                    <a:pt x="3768" y="1181"/>
                  </a:lnTo>
                  <a:lnTo>
                    <a:pt x="3769" y="1179"/>
                  </a:lnTo>
                  <a:lnTo>
                    <a:pt x="3769" y="1172"/>
                  </a:lnTo>
                  <a:lnTo>
                    <a:pt x="3770" y="1168"/>
                  </a:lnTo>
                  <a:lnTo>
                    <a:pt x="3775" y="1159"/>
                  </a:lnTo>
                  <a:lnTo>
                    <a:pt x="3777" y="1154"/>
                  </a:lnTo>
                  <a:lnTo>
                    <a:pt x="3778" y="1145"/>
                  </a:lnTo>
                  <a:lnTo>
                    <a:pt x="3780" y="1153"/>
                  </a:lnTo>
                  <a:lnTo>
                    <a:pt x="3785" y="1160"/>
                  </a:lnTo>
                  <a:lnTo>
                    <a:pt x="3789" y="1162"/>
                  </a:lnTo>
                  <a:lnTo>
                    <a:pt x="3793" y="1159"/>
                  </a:lnTo>
                  <a:lnTo>
                    <a:pt x="3795" y="1155"/>
                  </a:lnTo>
                  <a:lnTo>
                    <a:pt x="3796" y="1147"/>
                  </a:lnTo>
                  <a:lnTo>
                    <a:pt x="3798" y="1143"/>
                  </a:lnTo>
                  <a:lnTo>
                    <a:pt x="3799" y="1142"/>
                  </a:lnTo>
                  <a:lnTo>
                    <a:pt x="3800" y="1145"/>
                  </a:lnTo>
                  <a:lnTo>
                    <a:pt x="3800" y="1151"/>
                  </a:lnTo>
                  <a:lnTo>
                    <a:pt x="3798" y="1156"/>
                  </a:lnTo>
                  <a:lnTo>
                    <a:pt x="3801" y="1160"/>
                  </a:lnTo>
                  <a:lnTo>
                    <a:pt x="3807" y="1152"/>
                  </a:lnTo>
                  <a:lnTo>
                    <a:pt x="3810" y="1155"/>
                  </a:lnTo>
                  <a:lnTo>
                    <a:pt x="3813" y="1156"/>
                  </a:lnTo>
                  <a:lnTo>
                    <a:pt x="3817" y="1150"/>
                  </a:lnTo>
                  <a:lnTo>
                    <a:pt x="3820" y="1142"/>
                  </a:lnTo>
                  <a:lnTo>
                    <a:pt x="3822" y="1135"/>
                  </a:lnTo>
                  <a:lnTo>
                    <a:pt x="3823" y="1139"/>
                  </a:lnTo>
                  <a:lnTo>
                    <a:pt x="3823" y="1140"/>
                  </a:lnTo>
                  <a:lnTo>
                    <a:pt x="3823" y="1141"/>
                  </a:lnTo>
                  <a:lnTo>
                    <a:pt x="3822" y="1145"/>
                  </a:lnTo>
                  <a:lnTo>
                    <a:pt x="3826" y="1147"/>
                  </a:lnTo>
                  <a:lnTo>
                    <a:pt x="3832" y="1143"/>
                  </a:lnTo>
                  <a:lnTo>
                    <a:pt x="3837" y="1135"/>
                  </a:lnTo>
                  <a:lnTo>
                    <a:pt x="3839" y="1127"/>
                  </a:lnTo>
                  <a:lnTo>
                    <a:pt x="3831" y="1121"/>
                  </a:lnTo>
                  <a:lnTo>
                    <a:pt x="3828" y="1121"/>
                  </a:lnTo>
                  <a:lnTo>
                    <a:pt x="3833" y="1117"/>
                  </a:lnTo>
                  <a:lnTo>
                    <a:pt x="3853" y="1123"/>
                  </a:lnTo>
                  <a:lnTo>
                    <a:pt x="3852" y="1131"/>
                  </a:lnTo>
                  <a:lnTo>
                    <a:pt x="3852" y="1137"/>
                  </a:lnTo>
                  <a:lnTo>
                    <a:pt x="3853" y="1142"/>
                  </a:lnTo>
                  <a:lnTo>
                    <a:pt x="3855" y="1147"/>
                  </a:lnTo>
                  <a:lnTo>
                    <a:pt x="3851" y="1150"/>
                  </a:lnTo>
                  <a:lnTo>
                    <a:pt x="3843" y="1150"/>
                  </a:lnTo>
                  <a:lnTo>
                    <a:pt x="3838" y="1154"/>
                  </a:lnTo>
                  <a:lnTo>
                    <a:pt x="3838" y="1156"/>
                  </a:lnTo>
                  <a:lnTo>
                    <a:pt x="3837" y="1159"/>
                  </a:lnTo>
                  <a:lnTo>
                    <a:pt x="3835" y="1161"/>
                  </a:lnTo>
                  <a:lnTo>
                    <a:pt x="3834" y="1162"/>
                  </a:lnTo>
                  <a:lnTo>
                    <a:pt x="3824" y="1162"/>
                  </a:lnTo>
                  <a:lnTo>
                    <a:pt x="3820" y="1164"/>
                  </a:lnTo>
                  <a:lnTo>
                    <a:pt x="3809" y="1171"/>
                  </a:lnTo>
                  <a:lnTo>
                    <a:pt x="3802" y="1172"/>
                  </a:lnTo>
                  <a:lnTo>
                    <a:pt x="3799" y="1175"/>
                  </a:lnTo>
                  <a:lnTo>
                    <a:pt x="3798" y="1183"/>
                  </a:lnTo>
                  <a:lnTo>
                    <a:pt x="3798" y="1185"/>
                  </a:lnTo>
                  <a:lnTo>
                    <a:pt x="3798" y="1185"/>
                  </a:lnTo>
                  <a:lnTo>
                    <a:pt x="3807" y="1189"/>
                  </a:lnTo>
                  <a:lnTo>
                    <a:pt x="3806" y="1191"/>
                  </a:lnTo>
                  <a:lnTo>
                    <a:pt x="3804" y="1194"/>
                  </a:lnTo>
                  <a:lnTo>
                    <a:pt x="3804" y="1195"/>
                  </a:lnTo>
                  <a:lnTo>
                    <a:pt x="3809" y="1198"/>
                  </a:lnTo>
                  <a:lnTo>
                    <a:pt x="3838" y="1201"/>
                  </a:lnTo>
                  <a:lnTo>
                    <a:pt x="3882" y="1169"/>
                  </a:lnTo>
                  <a:lnTo>
                    <a:pt x="3888" y="1161"/>
                  </a:lnTo>
                  <a:lnTo>
                    <a:pt x="3892" y="1151"/>
                  </a:lnTo>
                  <a:lnTo>
                    <a:pt x="3891" y="1134"/>
                  </a:lnTo>
                  <a:lnTo>
                    <a:pt x="3886" y="1128"/>
                  </a:lnTo>
                  <a:lnTo>
                    <a:pt x="3878" y="1125"/>
                  </a:lnTo>
                  <a:lnTo>
                    <a:pt x="3872" y="1121"/>
                  </a:lnTo>
                  <a:lnTo>
                    <a:pt x="3873" y="1119"/>
                  </a:lnTo>
                  <a:lnTo>
                    <a:pt x="3877" y="1115"/>
                  </a:lnTo>
                  <a:lnTo>
                    <a:pt x="3873" y="1108"/>
                  </a:lnTo>
                  <a:lnTo>
                    <a:pt x="3872" y="1106"/>
                  </a:lnTo>
                  <a:lnTo>
                    <a:pt x="3874" y="1103"/>
                  </a:lnTo>
                  <a:lnTo>
                    <a:pt x="3876" y="1103"/>
                  </a:lnTo>
                  <a:lnTo>
                    <a:pt x="3881" y="1106"/>
                  </a:lnTo>
                  <a:lnTo>
                    <a:pt x="3884" y="1103"/>
                  </a:lnTo>
                  <a:lnTo>
                    <a:pt x="3886" y="1097"/>
                  </a:lnTo>
                  <a:lnTo>
                    <a:pt x="3887" y="1089"/>
                  </a:lnTo>
                  <a:lnTo>
                    <a:pt x="3890" y="1081"/>
                  </a:lnTo>
                  <a:lnTo>
                    <a:pt x="3884" y="1084"/>
                  </a:lnTo>
                  <a:lnTo>
                    <a:pt x="3883" y="1083"/>
                  </a:lnTo>
                  <a:lnTo>
                    <a:pt x="3882" y="1080"/>
                  </a:lnTo>
                  <a:lnTo>
                    <a:pt x="3882" y="1078"/>
                  </a:lnTo>
                  <a:lnTo>
                    <a:pt x="3880" y="1078"/>
                  </a:lnTo>
                  <a:lnTo>
                    <a:pt x="3879" y="1080"/>
                  </a:lnTo>
                  <a:lnTo>
                    <a:pt x="3877" y="1085"/>
                  </a:lnTo>
                  <a:lnTo>
                    <a:pt x="3867" y="1093"/>
                  </a:lnTo>
                  <a:lnTo>
                    <a:pt x="3872" y="1081"/>
                  </a:lnTo>
                  <a:lnTo>
                    <a:pt x="3873" y="1075"/>
                  </a:lnTo>
                  <a:lnTo>
                    <a:pt x="3876" y="1057"/>
                  </a:lnTo>
                  <a:lnTo>
                    <a:pt x="3872" y="1052"/>
                  </a:lnTo>
                  <a:lnTo>
                    <a:pt x="3863" y="1068"/>
                  </a:lnTo>
                  <a:lnTo>
                    <a:pt x="3858" y="1067"/>
                  </a:lnTo>
                  <a:lnTo>
                    <a:pt x="3860" y="1062"/>
                  </a:lnTo>
                  <a:lnTo>
                    <a:pt x="3862" y="1059"/>
                  </a:lnTo>
                  <a:lnTo>
                    <a:pt x="3867" y="1054"/>
                  </a:lnTo>
                  <a:lnTo>
                    <a:pt x="3863" y="1049"/>
                  </a:lnTo>
                  <a:lnTo>
                    <a:pt x="3861" y="1048"/>
                  </a:lnTo>
                  <a:lnTo>
                    <a:pt x="3859" y="1048"/>
                  </a:lnTo>
                  <a:lnTo>
                    <a:pt x="3859" y="1045"/>
                  </a:lnTo>
                  <a:lnTo>
                    <a:pt x="3860" y="1045"/>
                  </a:lnTo>
                  <a:lnTo>
                    <a:pt x="3861" y="1043"/>
                  </a:lnTo>
                  <a:lnTo>
                    <a:pt x="3859" y="1041"/>
                  </a:lnTo>
                  <a:lnTo>
                    <a:pt x="3853" y="1033"/>
                  </a:lnTo>
                  <a:lnTo>
                    <a:pt x="3856" y="1028"/>
                  </a:lnTo>
                  <a:lnTo>
                    <a:pt x="3855" y="1021"/>
                  </a:lnTo>
                  <a:lnTo>
                    <a:pt x="3853" y="1015"/>
                  </a:lnTo>
                  <a:lnTo>
                    <a:pt x="3850" y="1010"/>
                  </a:lnTo>
                  <a:lnTo>
                    <a:pt x="3848" y="1010"/>
                  </a:lnTo>
                  <a:lnTo>
                    <a:pt x="3845" y="1010"/>
                  </a:lnTo>
                  <a:lnTo>
                    <a:pt x="3842" y="1011"/>
                  </a:lnTo>
                  <a:lnTo>
                    <a:pt x="3830" y="1024"/>
                  </a:lnTo>
                  <a:lnTo>
                    <a:pt x="3830" y="1032"/>
                  </a:lnTo>
                  <a:lnTo>
                    <a:pt x="3832" y="1040"/>
                  </a:lnTo>
                  <a:lnTo>
                    <a:pt x="3833" y="1045"/>
                  </a:lnTo>
                  <a:lnTo>
                    <a:pt x="3839" y="1054"/>
                  </a:lnTo>
                  <a:lnTo>
                    <a:pt x="3841" y="1061"/>
                  </a:lnTo>
                  <a:lnTo>
                    <a:pt x="3839" y="1069"/>
                  </a:lnTo>
                  <a:lnTo>
                    <a:pt x="3843" y="1075"/>
                  </a:lnTo>
                  <a:lnTo>
                    <a:pt x="3848" y="1079"/>
                  </a:lnTo>
                  <a:lnTo>
                    <a:pt x="3852" y="1086"/>
                  </a:lnTo>
                  <a:lnTo>
                    <a:pt x="3854" y="1097"/>
                  </a:lnTo>
                  <a:lnTo>
                    <a:pt x="3848" y="1093"/>
                  </a:lnTo>
                  <a:lnTo>
                    <a:pt x="3842" y="1084"/>
                  </a:lnTo>
                  <a:lnTo>
                    <a:pt x="3837" y="1081"/>
                  </a:lnTo>
                  <a:lnTo>
                    <a:pt x="3832" y="1093"/>
                  </a:lnTo>
                  <a:lnTo>
                    <a:pt x="3833" y="1096"/>
                  </a:lnTo>
                  <a:lnTo>
                    <a:pt x="3833" y="1098"/>
                  </a:lnTo>
                  <a:lnTo>
                    <a:pt x="3833" y="1101"/>
                  </a:lnTo>
                  <a:lnTo>
                    <a:pt x="3831" y="1104"/>
                  </a:lnTo>
                  <a:lnTo>
                    <a:pt x="3829" y="1107"/>
                  </a:lnTo>
                  <a:lnTo>
                    <a:pt x="3829" y="1105"/>
                  </a:lnTo>
                  <a:lnTo>
                    <a:pt x="3828" y="1097"/>
                  </a:lnTo>
                  <a:lnTo>
                    <a:pt x="3827" y="1093"/>
                  </a:lnTo>
                  <a:lnTo>
                    <a:pt x="3828" y="1089"/>
                  </a:lnTo>
                  <a:lnTo>
                    <a:pt x="3827" y="1086"/>
                  </a:lnTo>
                  <a:lnTo>
                    <a:pt x="3825" y="1083"/>
                  </a:lnTo>
                  <a:lnTo>
                    <a:pt x="3821" y="1075"/>
                  </a:lnTo>
                  <a:lnTo>
                    <a:pt x="3819" y="1078"/>
                  </a:lnTo>
                  <a:lnTo>
                    <a:pt x="3814" y="1084"/>
                  </a:lnTo>
                  <a:lnTo>
                    <a:pt x="3821" y="1097"/>
                  </a:lnTo>
                  <a:lnTo>
                    <a:pt x="3820" y="1100"/>
                  </a:lnTo>
                  <a:lnTo>
                    <a:pt x="3819" y="1104"/>
                  </a:lnTo>
                  <a:lnTo>
                    <a:pt x="3819" y="1107"/>
                  </a:lnTo>
                  <a:lnTo>
                    <a:pt x="3820" y="1111"/>
                  </a:lnTo>
                  <a:lnTo>
                    <a:pt x="3817" y="1113"/>
                  </a:lnTo>
                  <a:lnTo>
                    <a:pt x="3814" y="1122"/>
                  </a:lnTo>
                  <a:lnTo>
                    <a:pt x="3812" y="1123"/>
                  </a:lnTo>
                  <a:lnTo>
                    <a:pt x="3809" y="1122"/>
                  </a:lnTo>
                  <a:lnTo>
                    <a:pt x="3808" y="1118"/>
                  </a:lnTo>
                  <a:lnTo>
                    <a:pt x="3809" y="1113"/>
                  </a:lnTo>
                  <a:lnTo>
                    <a:pt x="3810" y="1108"/>
                  </a:lnTo>
                  <a:lnTo>
                    <a:pt x="3804" y="1106"/>
                  </a:lnTo>
                  <a:lnTo>
                    <a:pt x="3797" y="1109"/>
                  </a:lnTo>
                  <a:lnTo>
                    <a:pt x="3784" y="1121"/>
                  </a:lnTo>
                  <a:lnTo>
                    <a:pt x="3779" y="1123"/>
                  </a:lnTo>
                  <a:lnTo>
                    <a:pt x="3778" y="1119"/>
                  </a:lnTo>
                  <a:lnTo>
                    <a:pt x="3780" y="1099"/>
                  </a:lnTo>
                  <a:lnTo>
                    <a:pt x="3778" y="1097"/>
                  </a:lnTo>
                  <a:lnTo>
                    <a:pt x="3779" y="1093"/>
                  </a:lnTo>
                  <a:lnTo>
                    <a:pt x="3776" y="1091"/>
                  </a:lnTo>
                  <a:lnTo>
                    <a:pt x="3773" y="1090"/>
                  </a:lnTo>
                  <a:lnTo>
                    <a:pt x="3770" y="1091"/>
                  </a:lnTo>
                  <a:lnTo>
                    <a:pt x="3767" y="1095"/>
                  </a:lnTo>
                  <a:lnTo>
                    <a:pt x="3766" y="1101"/>
                  </a:lnTo>
                  <a:lnTo>
                    <a:pt x="3768" y="1105"/>
                  </a:lnTo>
                  <a:lnTo>
                    <a:pt x="3772" y="1108"/>
                  </a:lnTo>
                  <a:lnTo>
                    <a:pt x="3769" y="1111"/>
                  </a:lnTo>
                  <a:lnTo>
                    <a:pt x="3766" y="1114"/>
                  </a:lnTo>
                  <a:lnTo>
                    <a:pt x="3765" y="1118"/>
                  </a:lnTo>
                  <a:lnTo>
                    <a:pt x="3764" y="1127"/>
                  </a:lnTo>
                  <a:lnTo>
                    <a:pt x="3765" y="1127"/>
                  </a:lnTo>
                  <a:lnTo>
                    <a:pt x="3766" y="1128"/>
                  </a:lnTo>
                  <a:lnTo>
                    <a:pt x="3768" y="1130"/>
                  </a:lnTo>
                  <a:lnTo>
                    <a:pt x="3769" y="1132"/>
                  </a:lnTo>
                  <a:lnTo>
                    <a:pt x="3766" y="1133"/>
                  </a:lnTo>
                  <a:lnTo>
                    <a:pt x="3763" y="1131"/>
                  </a:lnTo>
                  <a:lnTo>
                    <a:pt x="3761" y="1128"/>
                  </a:lnTo>
                  <a:lnTo>
                    <a:pt x="3759" y="1123"/>
                  </a:lnTo>
                  <a:lnTo>
                    <a:pt x="3758" y="1117"/>
                  </a:lnTo>
                  <a:lnTo>
                    <a:pt x="3758" y="1107"/>
                  </a:lnTo>
                  <a:lnTo>
                    <a:pt x="3757" y="1103"/>
                  </a:lnTo>
                  <a:lnTo>
                    <a:pt x="3753" y="1101"/>
                  </a:lnTo>
                  <a:lnTo>
                    <a:pt x="3747" y="1106"/>
                  </a:lnTo>
                  <a:lnTo>
                    <a:pt x="3742" y="1115"/>
                  </a:lnTo>
                  <a:lnTo>
                    <a:pt x="3740" y="1123"/>
                  </a:lnTo>
                  <a:lnTo>
                    <a:pt x="3752" y="1129"/>
                  </a:lnTo>
                  <a:lnTo>
                    <a:pt x="3756" y="1129"/>
                  </a:lnTo>
                  <a:lnTo>
                    <a:pt x="3756" y="1132"/>
                  </a:lnTo>
                  <a:lnTo>
                    <a:pt x="3744" y="1137"/>
                  </a:lnTo>
                  <a:lnTo>
                    <a:pt x="3738" y="1142"/>
                  </a:lnTo>
                  <a:lnTo>
                    <a:pt x="3737" y="1147"/>
                  </a:lnTo>
                  <a:lnTo>
                    <a:pt x="3732" y="1147"/>
                  </a:lnTo>
                  <a:lnTo>
                    <a:pt x="3731" y="1149"/>
                  </a:lnTo>
                  <a:lnTo>
                    <a:pt x="3729" y="1154"/>
                  </a:lnTo>
                  <a:lnTo>
                    <a:pt x="3731" y="1161"/>
                  </a:lnTo>
                  <a:lnTo>
                    <a:pt x="3731" y="1164"/>
                  </a:lnTo>
                  <a:close/>
                  <a:moveTo>
                    <a:pt x="4236" y="978"/>
                  </a:moveTo>
                  <a:lnTo>
                    <a:pt x="4237" y="976"/>
                  </a:lnTo>
                  <a:lnTo>
                    <a:pt x="4235" y="975"/>
                  </a:lnTo>
                  <a:lnTo>
                    <a:pt x="4233" y="975"/>
                  </a:lnTo>
                  <a:lnTo>
                    <a:pt x="4218" y="979"/>
                  </a:lnTo>
                  <a:lnTo>
                    <a:pt x="4213" y="981"/>
                  </a:lnTo>
                  <a:lnTo>
                    <a:pt x="4207" y="988"/>
                  </a:lnTo>
                  <a:lnTo>
                    <a:pt x="4204" y="995"/>
                  </a:lnTo>
                  <a:lnTo>
                    <a:pt x="4202" y="1001"/>
                  </a:lnTo>
                  <a:lnTo>
                    <a:pt x="4201" y="1005"/>
                  </a:lnTo>
                  <a:lnTo>
                    <a:pt x="4202" y="1009"/>
                  </a:lnTo>
                  <a:lnTo>
                    <a:pt x="4201" y="1012"/>
                  </a:lnTo>
                  <a:lnTo>
                    <a:pt x="4201" y="1015"/>
                  </a:lnTo>
                  <a:lnTo>
                    <a:pt x="4202" y="1018"/>
                  </a:lnTo>
                  <a:lnTo>
                    <a:pt x="4206" y="1021"/>
                  </a:lnTo>
                  <a:lnTo>
                    <a:pt x="4210" y="1021"/>
                  </a:lnTo>
                  <a:lnTo>
                    <a:pt x="4213" y="1018"/>
                  </a:lnTo>
                  <a:lnTo>
                    <a:pt x="4216" y="1009"/>
                  </a:lnTo>
                  <a:lnTo>
                    <a:pt x="4219" y="1004"/>
                  </a:lnTo>
                  <a:lnTo>
                    <a:pt x="4222" y="1001"/>
                  </a:lnTo>
                  <a:lnTo>
                    <a:pt x="4226" y="999"/>
                  </a:lnTo>
                  <a:lnTo>
                    <a:pt x="4229" y="995"/>
                  </a:lnTo>
                  <a:lnTo>
                    <a:pt x="4232" y="991"/>
                  </a:lnTo>
                  <a:lnTo>
                    <a:pt x="4233" y="989"/>
                  </a:lnTo>
                  <a:lnTo>
                    <a:pt x="4233" y="986"/>
                  </a:lnTo>
                  <a:lnTo>
                    <a:pt x="4233" y="983"/>
                  </a:lnTo>
                  <a:lnTo>
                    <a:pt x="4234" y="980"/>
                  </a:lnTo>
                  <a:lnTo>
                    <a:pt x="4236" y="978"/>
                  </a:lnTo>
                  <a:close/>
                  <a:moveTo>
                    <a:pt x="3895" y="1054"/>
                  </a:moveTo>
                  <a:lnTo>
                    <a:pt x="3897" y="1067"/>
                  </a:lnTo>
                  <a:lnTo>
                    <a:pt x="3902" y="1068"/>
                  </a:lnTo>
                  <a:lnTo>
                    <a:pt x="3908" y="1062"/>
                  </a:lnTo>
                  <a:lnTo>
                    <a:pt x="3912" y="1054"/>
                  </a:lnTo>
                  <a:lnTo>
                    <a:pt x="3918" y="1038"/>
                  </a:lnTo>
                  <a:lnTo>
                    <a:pt x="3919" y="1033"/>
                  </a:lnTo>
                  <a:lnTo>
                    <a:pt x="3919" y="1026"/>
                  </a:lnTo>
                  <a:lnTo>
                    <a:pt x="3917" y="1020"/>
                  </a:lnTo>
                  <a:lnTo>
                    <a:pt x="3915" y="1016"/>
                  </a:lnTo>
                  <a:lnTo>
                    <a:pt x="3912" y="1012"/>
                  </a:lnTo>
                  <a:lnTo>
                    <a:pt x="3916" y="1009"/>
                  </a:lnTo>
                  <a:lnTo>
                    <a:pt x="3919" y="1010"/>
                  </a:lnTo>
                  <a:lnTo>
                    <a:pt x="3923" y="1018"/>
                  </a:lnTo>
                  <a:lnTo>
                    <a:pt x="3929" y="1022"/>
                  </a:lnTo>
                  <a:lnTo>
                    <a:pt x="3949" y="1014"/>
                  </a:lnTo>
                  <a:lnTo>
                    <a:pt x="3958" y="1006"/>
                  </a:lnTo>
                  <a:lnTo>
                    <a:pt x="3963" y="1003"/>
                  </a:lnTo>
                  <a:lnTo>
                    <a:pt x="3965" y="1001"/>
                  </a:lnTo>
                  <a:lnTo>
                    <a:pt x="3967" y="997"/>
                  </a:lnTo>
                  <a:lnTo>
                    <a:pt x="3967" y="994"/>
                  </a:lnTo>
                  <a:lnTo>
                    <a:pt x="3967" y="991"/>
                  </a:lnTo>
                  <a:lnTo>
                    <a:pt x="3968" y="989"/>
                  </a:lnTo>
                  <a:lnTo>
                    <a:pt x="3970" y="987"/>
                  </a:lnTo>
                  <a:lnTo>
                    <a:pt x="3973" y="984"/>
                  </a:lnTo>
                  <a:lnTo>
                    <a:pt x="3974" y="983"/>
                  </a:lnTo>
                  <a:lnTo>
                    <a:pt x="3977" y="975"/>
                  </a:lnTo>
                  <a:lnTo>
                    <a:pt x="3979" y="971"/>
                  </a:lnTo>
                  <a:lnTo>
                    <a:pt x="3980" y="969"/>
                  </a:lnTo>
                  <a:lnTo>
                    <a:pt x="3983" y="968"/>
                  </a:lnTo>
                  <a:lnTo>
                    <a:pt x="3990" y="957"/>
                  </a:lnTo>
                  <a:lnTo>
                    <a:pt x="3997" y="952"/>
                  </a:lnTo>
                  <a:lnTo>
                    <a:pt x="4000" y="948"/>
                  </a:lnTo>
                  <a:lnTo>
                    <a:pt x="4001" y="940"/>
                  </a:lnTo>
                  <a:lnTo>
                    <a:pt x="4003" y="922"/>
                  </a:lnTo>
                  <a:lnTo>
                    <a:pt x="4005" y="913"/>
                  </a:lnTo>
                  <a:lnTo>
                    <a:pt x="4008" y="905"/>
                  </a:lnTo>
                  <a:lnTo>
                    <a:pt x="4011" y="896"/>
                  </a:lnTo>
                  <a:lnTo>
                    <a:pt x="4011" y="887"/>
                  </a:lnTo>
                  <a:lnTo>
                    <a:pt x="4008" y="878"/>
                  </a:lnTo>
                  <a:lnTo>
                    <a:pt x="4004" y="876"/>
                  </a:lnTo>
                  <a:lnTo>
                    <a:pt x="3983" y="888"/>
                  </a:lnTo>
                  <a:lnTo>
                    <a:pt x="3977" y="899"/>
                  </a:lnTo>
                  <a:lnTo>
                    <a:pt x="3974" y="901"/>
                  </a:lnTo>
                  <a:lnTo>
                    <a:pt x="3969" y="903"/>
                  </a:lnTo>
                  <a:lnTo>
                    <a:pt x="3966" y="905"/>
                  </a:lnTo>
                  <a:lnTo>
                    <a:pt x="3966" y="907"/>
                  </a:lnTo>
                  <a:lnTo>
                    <a:pt x="3966" y="912"/>
                  </a:lnTo>
                  <a:lnTo>
                    <a:pt x="3967" y="914"/>
                  </a:lnTo>
                  <a:lnTo>
                    <a:pt x="3962" y="918"/>
                  </a:lnTo>
                  <a:lnTo>
                    <a:pt x="3954" y="945"/>
                  </a:lnTo>
                  <a:lnTo>
                    <a:pt x="3949" y="951"/>
                  </a:lnTo>
                  <a:lnTo>
                    <a:pt x="3933" y="955"/>
                  </a:lnTo>
                  <a:lnTo>
                    <a:pt x="3926" y="961"/>
                  </a:lnTo>
                  <a:lnTo>
                    <a:pt x="3919" y="969"/>
                  </a:lnTo>
                  <a:lnTo>
                    <a:pt x="3915" y="980"/>
                  </a:lnTo>
                  <a:lnTo>
                    <a:pt x="3911" y="992"/>
                  </a:lnTo>
                  <a:lnTo>
                    <a:pt x="3902" y="1010"/>
                  </a:lnTo>
                  <a:lnTo>
                    <a:pt x="3901" y="1016"/>
                  </a:lnTo>
                  <a:lnTo>
                    <a:pt x="3897" y="1026"/>
                  </a:lnTo>
                  <a:lnTo>
                    <a:pt x="3896" y="1033"/>
                  </a:lnTo>
                  <a:lnTo>
                    <a:pt x="3896" y="1040"/>
                  </a:lnTo>
                  <a:lnTo>
                    <a:pt x="3897" y="1045"/>
                  </a:lnTo>
                  <a:lnTo>
                    <a:pt x="3897" y="1049"/>
                  </a:lnTo>
                  <a:lnTo>
                    <a:pt x="3895" y="1054"/>
                  </a:lnTo>
                  <a:close/>
                  <a:moveTo>
                    <a:pt x="4116" y="988"/>
                  </a:moveTo>
                  <a:lnTo>
                    <a:pt x="4118" y="992"/>
                  </a:lnTo>
                  <a:lnTo>
                    <a:pt x="4164" y="979"/>
                  </a:lnTo>
                  <a:lnTo>
                    <a:pt x="4168" y="984"/>
                  </a:lnTo>
                  <a:lnTo>
                    <a:pt x="4166" y="986"/>
                  </a:lnTo>
                  <a:lnTo>
                    <a:pt x="4163" y="987"/>
                  </a:lnTo>
                  <a:lnTo>
                    <a:pt x="4161" y="989"/>
                  </a:lnTo>
                  <a:lnTo>
                    <a:pt x="4159" y="994"/>
                  </a:lnTo>
                  <a:lnTo>
                    <a:pt x="4160" y="995"/>
                  </a:lnTo>
                  <a:lnTo>
                    <a:pt x="4161" y="997"/>
                  </a:lnTo>
                  <a:lnTo>
                    <a:pt x="4159" y="997"/>
                  </a:lnTo>
                  <a:lnTo>
                    <a:pt x="4155" y="999"/>
                  </a:lnTo>
                  <a:lnTo>
                    <a:pt x="4153" y="1003"/>
                  </a:lnTo>
                  <a:lnTo>
                    <a:pt x="4153" y="1009"/>
                  </a:lnTo>
                  <a:lnTo>
                    <a:pt x="4158" y="1013"/>
                  </a:lnTo>
                  <a:lnTo>
                    <a:pt x="4167" y="1011"/>
                  </a:lnTo>
                  <a:lnTo>
                    <a:pt x="4176" y="1005"/>
                  </a:lnTo>
                  <a:lnTo>
                    <a:pt x="4180" y="997"/>
                  </a:lnTo>
                  <a:lnTo>
                    <a:pt x="4178" y="995"/>
                  </a:lnTo>
                  <a:lnTo>
                    <a:pt x="4173" y="996"/>
                  </a:lnTo>
                  <a:lnTo>
                    <a:pt x="4171" y="994"/>
                  </a:lnTo>
                  <a:lnTo>
                    <a:pt x="4176" y="979"/>
                  </a:lnTo>
                  <a:lnTo>
                    <a:pt x="4183" y="969"/>
                  </a:lnTo>
                  <a:lnTo>
                    <a:pt x="4206" y="948"/>
                  </a:lnTo>
                  <a:lnTo>
                    <a:pt x="4213" y="936"/>
                  </a:lnTo>
                  <a:lnTo>
                    <a:pt x="4217" y="931"/>
                  </a:lnTo>
                  <a:lnTo>
                    <a:pt x="4221" y="927"/>
                  </a:lnTo>
                  <a:lnTo>
                    <a:pt x="4225" y="926"/>
                  </a:lnTo>
                  <a:lnTo>
                    <a:pt x="4230" y="927"/>
                  </a:lnTo>
                  <a:lnTo>
                    <a:pt x="4226" y="936"/>
                  </a:lnTo>
                  <a:lnTo>
                    <a:pt x="4225" y="941"/>
                  </a:lnTo>
                  <a:lnTo>
                    <a:pt x="4224" y="948"/>
                  </a:lnTo>
                  <a:lnTo>
                    <a:pt x="4229" y="946"/>
                  </a:lnTo>
                  <a:lnTo>
                    <a:pt x="4243" y="948"/>
                  </a:lnTo>
                  <a:lnTo>
                    <a:pt x="4258" y="939"/>
                  </a:lnTo>
                  <a:lnTo>
                    <a:pt x="4276" y="941"/>
                  </a:lnTo>
                  <a:lnTo>
                    <a:pt x="4298" y="936"/>
                  </a:lnTo>
                  <a:lnTo>
                    <a:pt x="4303" y="933"/>
                  </a:lnTo>
                  <a:lnTo>
                    <a:pt x="4306" y="927"/>
                  </a:lnTo>
                  <a:lnTo>
                    <a:pt x="4303" y="926"/>
                  </a:lnTo>
                  <a:lnTo>
                    <a:pt x="4300" y="926"/>
                  </a:lnTo>
                  <a:lnTo>
                    <a:pt x="4297" y="925"/>
                  </a:lnTo>
                  <a:lnTo>
                    <a:pt x="4295" y="919"/>
                  </a:lnTo>
                  <a:lnTo>
                    <a:pt x="4294" y="915"/>
                  </a:lnTo>
                  <a:lnTo>
                    <a:pt x="4291" y="912"/>
                  </a:lnTo>
                  <a:lnTo>
                    <a:pt x="4286" y="908"/>
                  </a:lnTo>
                  <a:lnTo>
                    <a:pt x="4286" y="905"/>
                  </a:lnTo>
                  <a:lnTo>
                    <a:pt x="4293" y="906"/>
                  </a:lnTo>
                  <a:lnTo>
                    <a:pt x="4297" y="905"/>
                  </a:lnTo>
                  <a:lnTo>
                    <a:pt x="4300" y="899"/>
                  </a:lnTo>
                  <a:lnTo>
                    <a:pt x="4298" y="897"/>
                  </a:lnTo>
                  <a:lnTo>
                    <a:pt x="4295" y="892"/>
                  </a:lnTo>
                  <a:lnTo>
                    <a:pt x="4293" y="890"/>
                  </a:lnTo>
                  <a:lnTo>
                    <a:pt x="4292" y="885"/>
                  </a:lnTo>
                  <a:lnTo>
                    <a:pt x="4292" y="881"/>
                  </a:lnTo>
                  <a:lnTo>
                    <a:pt x="4292" y="877"/>
                  </a:lnTo>
                  <a:lnTo>
                    <a:pt x="4290" y="874"/>
                  </a:lnTo>
                  <a:lnTo>
                    <a:pt x="4293" y="868"/>
                  </a:lnTo>
                  <a:lnTo>
                    <a:pt x="4298" y="863"/>
                  </a:lnTo>
                  <a:lnTo>
                    <a:pt x="4307" y="859"/>
                  </a:lnTo>
                  <a:lnTo>
                    <a:pt x="4316" y="860"/>
                  </a:lnTo>
                  <a:lnTo>
                    <a:pt x="4318" y="859"/>
                  </a:lnTo>
                  <a:lnTo>
                    <a:pt x="4319" y="856"/>
                  </a:lnTo>
                  <a:lnTo>
                    <a:pt x="4320" y="852"/>
                  </a:lnTo>
                  <a:lnTo>
                    <a:pt x="4321" y="848"/>
                  </a:lnTo>
                  <a:lnTo>
                    <a:pt x="4319" y="847"/>
                  </a:lnTo>
                  <a:lnTo>
                    <a:pt x="4318" y="843"/>
                  </a:lnTo>
                  <a:lnTo>
                    <a:pt x="4317" y="826"/>
                  </a:lnTo>
                  <a:lnTo>
                    <a:pt x="4316" y="820"/>
                  </a:lnTo>
                  <a:lnTo>
                    <a:pt x="4312" y="818"/>
                  </a:lnTo>
                  <a:lnTo>
                    <a:pt x="4309" y="819"/>
                  </a:lnTo>
                  <a:lnTo>
                    <a:pt x="4307" y="823"/>
                  </a:lnTo>
                  <a:lnTo>
                    <a:pt x="4307" y="828"/>
                  </a:lnTo>
                  <a:lnTo>
                    <a:pt x="4305" y="833"/>
                  </a:lnTo>
                  <a:lnTo>
                    <a:pt x="4302" y="832"/>
                  </a:lnTo>
                  <a:lnTo>
                    <a:pt x="4295" y="825"/>
                  </a:lnTo>
                  <a:lnTo>
                    <a:pt x="4302" y="815"/>
                  </a:lnTo>
                  <a:lnTo>
                    <a:pt x="4304" y="809"/>
                  </a:lnTo>
                  <a:lnTo>
                    <a:pt x="4302" y="800"/>
                  </a:lnTo>
                  <a:lnTo>
                    <a:pt x="4308" y="801"/>
                  </a:lnTo>
                  <a:lnTo>
                    <a:pt x="4311" y="799"/>
                  </a:lnTo>
                  <a:lnTo>
                    <a:pt x="4313" y="794"/>
                  </a:lnTo>
                  <a:lnTo>
                    <a:pt x="4300" y="783"/>
                  </a:lnTo>
                  <a:lnTo>
                    <a:pt x="4296" y="782"/>
                  </a:lnTo>
                  <a:lnTo>
                    <a:pt x="4294" y="783"/>
                  </a:lnTo>
                  <a:lnTo>
                    <a:pt x="4292" y="790"/>
                  </a:lnTo>
                  <a:lnTo>
                    <a:pt x="4288" y="793"/>
                  </a:lnTo>
                  <a:lnTo>
                    <a:pt x="4286" y="797"/>
                  </a:lnTo>
                  <a:lnTo>
                    <a:pt x="4285" y="805"/>
                  </a:lnTo>
                  <a:lnTo>
                    <a:pt x="4282" y="814"/>
                  </a:lnTo>
                  <a:lnTo>
                    <a:pt x="4280" y="817"/>
                  </a:lnTo>
                  <a:lnTo>
                    <a:pt x="4278" y="816"/>
                  </a:lnTo>
                  <a:lnTo>
                    <a:pt x="4277" y="812"/>
                  </a:lnTo>
                  <a:lnTo>
                    <a:pt x="4277" y="808"/>
                  </a:lnTo>
                  <a:lnTo>
                    <a:pt x="4279" y="800"/>
                  </a:lnTo>
                  <a:lnTo>
                    <a:pt x="4280" y="796"/>
                  </a:lnTo>
                  <a:lnTo>
                    <a:pt x="4280" y="793"/>
                  </a:lnTo>
                  <a:lnTo>
                    <a:pt x="4280" y="791"/>
                  </a:lnTo>
                  <a:lnTo>
                    <a:pt x="4281" y="788"/>
                  </a:lnTo>
                  <a:lnTo>
                    <a:pt x="4283" y="785"/>
                  </a:lnTo>
                  <a:lnTo>
                    <a:pt x="4286" y="780"/>
                  </a:lnTo>
                  <a:lnTo>
                    <a:pt x="4288" y="775"/>
                  </a:lnTo>
                  <a:lnTo>
                    <a:pt x="4285" y="759"/>
                  </a:lnTo>
                  <a:lnTo>
                    <a:pt x="4283" y="753"/>
                  </a:lnTo>
                  <a:lnTo>
                    <a:pt x="4279" y="751"/>
                  </a:lnTo>
                  <a:lnTo>
                    <a:pt x="4276" y="753"/>
                  </a:lnTo>
                  <a:lnTo>
                    <a:pt x="4273" y="758"/>
                  </a:lnTo>
                  <a:lnTo>
                    <a:pt x="4269" y="771"/>
                  </a:lnTo>
                  <a:lnTo>
                    <a:pt x="4266" y="774"/>
                  </a:lnTo>
                  <a:lnTo>
                    <a:pt x="4263" y="769"/>
                  </a:lnTo>
                  <a:lnTo>
                    <a:pt x="4259" y="754"/>
                  </a:lnTo>
                  <a:lnTo>
                    <a:pt x="4257" y="751"/>
                  </a:lnTo>
                  <a:lnTo>
                    <a:pt x="4255" y="747"/>
                  </a:lnTo>
                  <a:lnTo>
                    <a:pt x="4253" y="745"/>
                  </a:lnTo>
                  <a:lnTo>
                    <a:pt x="4251" y="747"/>
                  </a:lnTo>
                  <a:lnTo>
                    <a:pt x="4250" y="750"/>
                  </a:lnTo>
                  <a:lnTo>
                    <a:pt x="4250" y="752"/>
                  </a:lnTo>
                  <a:lnTo>
                    <a:pt x="4250" y="754"/>
                  </a:lnTo>
                  <a:lnTo>
                    <a:pt x="4251" y="757"/>
                  </a:lnTo>
                  <a:lnTo>
                    <a:pt x="4251" y="761"/>
                  </a:lnTo>
                  <a:lnTo>
                    <a:pt x="4252" y="769"/>
                  </a:lnTo>
                  <a:lnTo>
                    <a:pt x="4252" y="774"/>
                  </a:lnTo>
                  <a:lnTo>
                    <a:pt x="4253" y="778"/>
                  </a:lnTo>
                  <a:lnTo>
                    <a:pt x="4255" y="779"/>
                  </a:lnTo>
                  <a:lnTo>
                    <a:pt x="4256" y="783"/>
                  </a:lnTo>
                  <a:lnTo>
                    <a:pt x="4254" y="788"/>
                  </a:lnTo>
                  <a:lnTo>
                    <a:pt x="4250" y="789"/>
                  </a:lnTo>
                  <a:lnTo>
                    <a:pt x="4246" y="786"/>
                  </a:lnTo>
                  <a:lnTo>
                    <a:pt x="4244" y="785"/>
                  </a:lnTo>
                  <a:lnTo>
                    <a:pt x="4234" y="758"/>
                  </a:lnTo>
                  <a:lnTo>
                    <a:pt x="4228" y="748"/>
                  </a:lnTo>
                  <a:lnTo>
                    <a:pt x="4220" y="747"/>
                  </a:lnTo>
                  <a:lnTo>
                    <a:pt x="4221" y="750"/>
                  </a:lnTo>
                  <a:lnTo>
                    <a:pt x="4221" y="753"/>
                  </a:lnTo>
                  <a:lnTo>
                    <a:pt x="4220" y="756"/>
                  </a:lnTo>
                  <a:lnTo>
                    <a:pt x="4219" y="760"/>
                  </a:lnTo>
                  <a:lnTo>
                    <a:pt x="4220" y="765"/>
                  </a:lnTo>
                  <a:lnTo>
                    <a:pt x="4221" y="768"/>
                  </a:lnTo>
                  <a:lnTo>
                    <a:pt x="4225" y="774"/>
                  </a:lnTo>
                  <a:lnTo>
                    <a:pt x="4236" y="782"/>
                  </a:lnTo>
                  <a:lnTo>
                    <a:pt x="4237" y="784"/>
                  </a:lnTo>
                  <a:lnTo>
                    <a:pt x="4239" y="794"/>
                  </a:lnTo>
                  <a:lnTo>
                    <a:pt x="4240" y="797"/>
                  </a:lnTo>
                  <a:lnTo>
                    <a:pt x="4242" y="800"/>
                  </a:lnTo>
                  <a:lnTo>
                    <a:pt x="4244" y="803"/>
                  </a:lnTo>
                  <a:lnTo>
                    <a:pt x="4249" y="806"/>
                  </a:lnTo>
                  <a:lnTo>
                    <a:pt x="4249" y="809"/>
                  </a:lnTo>
                  <a:lnTo>
                    <a:pt x="4242" y="809"/>
                  </a:lnTo>
                  <a:lnTo>
                    <a:pt x="4239" y="807"/>
                  </a:lnTo>
                  <a:lnTo>
                    <a:pt x="4230" y="797"/>
                  </a:lnTo>
                  <a:lnTo>
                    <a:pt x="4227" y="795"/>
                  </a:lnTo>
                  <a:lnTo>
                    <a:pt x="4224" y="794"/>
                  </a:lnTo>
                  <a:lnTo>
                    <a:pt x="4222" y="793"/>
                  </a:lnTo>
                  <a:lnTo>
                    <a:pt x="4219" y="786"/>
                  </a:lnTo>
                  <a:lnTo>
                    <a:pt x="4218" y="785"/>
                  </a:lnTo>
                  <a:lnTo>
                    <a:pt x="4213" y="784"/>
                  </a:lnTo>
                  <a:lnTo>
                    <a:pt x="4210" y="782"/>
                  </a:lnTo>
                  <a:lnTo>
                    <a:pt x="4205" y="777"/>
                  </a:lnTo>
                  <a:lnTo>
                    <a:pt x="4200" y="775"/>
                  </a:lnTo>
                  <a:lnTo>
                    <a:pt x="4196" y="776"/>
                  </a:lnTo>
                  <a:lnTo>
                    <a:pt x="4194" y="782"/>
                  </a:lnTo>
                  <a:lnTo>
                    <a:pt x="4198" y="784"/>
                  </a:lnTo>
                  <a:lnTo>
                    <a:pt x="4205" y="796"/>
                  </a:lnTo>
                  <a:lnTo>
                    <a:pt x="4208" y="800"/>
                  </a:lnTo>
                  <a:lnTo>
                    <a:pt x="4205" y="803"/>
                  </a:lnTo>
                  <a:lnTo>
                    <a:pt x="4194" y="800"/>
                  </a:lnTo>
                  <a:lnTo>
                    <a:pt x="4195" y="803"/>
                  </a:lnTo>
                  <a:lnTo>
                    <a:pt x="4196" y="809"/>
                  </a:lnTo>
                  <a:lnTo>
                    <a:pt x="4194" y="809"/>
                  </a:lnTo>
                  <a:lnTo>
                    <a:pt x="4191" y="806"/>
                  </a:lnTo>
                  <a:lnTo>
                    <a:pt x="4188" y="802"/>
                  </a:lnTo>
                  <a:lnTo>
                    <a:pt x="4185" y="794"/>
                  </a:lnTo>
                  <a:lnTo>
                    <a:pt x="4182" y="792"/>
                  </a:lnTo>
                  <a:lnTo>
                    <a:pt x="4176" y="791"/>
                  </a:lnTo>
                  <a:lnTo>
                    <a:pt x="4185" y="813"/>
                  </a:lnTo>
                  <a:lnTo>
                    <a:pt x="4198" y="820"/>
                  </a:lnTo>
                  <a:lnTo>
                    <a:pt x="4225" y="825"/>
                  </a:lnTo>
                  <a:lnTo>
                    <a:pt x="4217" y="831"/>
                  </a:lnTo>
                  <a:lnTo>
                    <a:pt x="4191" y="831"/>
                  </a:lnTo>
                  <a:lnTo>
                    <a:pt x="4193" y="832"/>
                  </a:lnTo>
                  <a:lnTo>
                    <a:pt x="4199" y="840"/>
                  </a:lnTo>
                  <a:lnTo>
                    <a:pt x="4205" y="843"/>
                  </a:lnTo>
                  <a:lnTo>
                    <a:pt x="4208" y="846"/>
                  </a:lnTo>
                  <a:lnTo>
                    <a:pt x="4210" y="853"/>
                  </a:lnTo>
                  <a:lnTo>
                    <a:pt x="4205" y="853"/>
                  </a:lnTo>
                  <a:lnTo>
                    <a:pt x="4190" y="840"/>
                  </a:lnTo>
                  <a:lnTo>
                    <a:pt x="4169" y="837"/>
                  </a:lnTo>
                  <a:lnTo>
                    <a:pt x="4166" y="839"/>
                  </a:lnTo>
                  <a:lnTo>
                    <a:pt x="4161" y="843"/>
                  </a:lnTo>
                  <a:lnTo>
                    <a:pt x="4158" y="844"/>
                  </a:lnTo>
                  <a:lnTo>
                    <a:pt x="4156" y="842"/>
                  </a:lnTo>
                  <a:lnTo>
                    <a:pt x="4152" y="838"/>
                  </a:lnTo>
                  <a:lnTo>
                    <a:pt x="4150" y="837"/>
                  </a:lnTo>
                  <a:lnTo>
                    <a:pt x="4148" y="838"/>
                  </a:lnTo>
                  <a:lnTo>
                    <a:pt x="4147" y="843"/>
                  </a:lnTo>
                  <a:lnTo>
                    <a:pt x="4146" y="844"/>
                  </a:lnTo>
                  <a:lnTo>
                    <a:pt x="4145" y="843"/>
                  </a:lnTo>
                  <a:lnTo>
                    <a:pt x="4143" y="841"/>
                  </a:lnTo>
                  <a:lnTo>
                    <a:pt x="4138" y="839"/>
                  </a:lnTo>
                  <a:lnTo>
                    <a:pt x="4136" y="838"/>
                  </a:lnTo>
                  <a:lnTo>
                    <a:pt x="4134" y="840"/>
                  </a:lnTo>
                  <a:lnTo>
                    <a:pt x="4135" y="845"/>
                  </a:lnTo>
                  <a:lnTo>
                    <a:pt x="4136" y="847"/>
                  </a:lnTo>
                  <a:lnTo>
                    <a:pt x="4132" y="852"/>
                  </a:lnTo>
                  <a:lnTo>
                    <a:pt x="4129" y="853"/>
                  </a:lnTo>
                  <a:lnTo>
                    <a:pt x="4127" y="853"/>
                  </a:lnTo>
                  <a:lnTo>
                    <a:pt x="4127" y="856"/>
                  </a:lnTo>
                  <a:lnTo>
                    <a:pt x="4141" y="857"/>
                  </a:lnTo>
                  <a:lnTo>
                    <a:pt x="4155" y="853"/>
                  </a:lnTo>
                  <a:lnTo>
                    <a:pt x="4160" y="855"/>
                  </a:lnTo>
                  <a:lnTo>
                    <a:pt x="4164" y="859"/>
                  </a:lnTo>
                  <a:lnTo>
                    <a:pt x="4158" y="859"/>
                  </a:lnTo>
                  <a:lnTo>
                    <a:pt x="4155" y="860"/>
                  </a:lnTo>
                  <a:lnTo>
                    <a:pt x="4153" y="862"/>
                  </a:lnTo>
                  <a:lnTo>
                    <a:pt x="4155" y="867"/>
                  </a:lnTo>
                  <a:lnTo>
                    <a:pt x="4158" y="869"/>
                  </a:lnTo>
                  <a:lnTo>
                    <a:pt x="4165" y="868"/>
                  </a:lnTo>
                  <a:lnTo>
                    <a:pt x="4163" y="871"/>
                  </a:lnTo>
                  <a:lnTo>
                    <a:pt x="4166" y="876"/>
                  </a:lnTo>
                  <a:lnTo>
                    <a:pt x="4167" y="878"/>
                  </a:lnTo>
                  <a:lnTo>
                    <a:pt x="4133" y="875"/>
                  </a:lnTo>
                  <a:lnTo>
                    <a:pt x="4130" y="877"/>
                  </a:lnTo>
                  <a:lnTo>
                    <a:pt x="4131" y="883"/>
                  </a:lnTo>
                  <a:lnTo>
                    <a:pt x="4134" y="885"/>
                  </a:lnTo>
                  <a:lnTo>
                    <a:pt x="4147" y="883"/>
                  </a:lnTo>
                  <a:lnTo>
                    <a:pt x="4146" y="888"/>
                  </a:lnTo>
                  <a:lnTo>
                    <a:pt x="4145" y="889"/>
                  </a:lnTo>
                  <a:lnTo>
                    <a:pt x="4143" y="890"/>
                  </a:lnTo>
                  <a:lnTo>
                    <a:pt x="4143" y="893"/>
                  </a:lnTo>
                  <a:lnTo>
                    <a:pt x="4152" y="897"/>
                  </a:lnTo>
                  <a:lnTo>
                    <a:pt x="4157" y="897"/>
                  </a:lnTo>
                  <a:lnTo>
                    <a:pt x="4159" y="891"/>
                  </a:lnTo>
                  <a:lnTo>
                    <a:pt x="4160" y="887"/>
                  </a:lnTo>
                  <a:lnTo>
                    <a:pt x="4162" y="891"/>
                  </a:lnTo>
                  <a:lnTo>
                    <a:pt x="4164" y="897"/>
                  </a:lnTo>
                  <a:lnTo>
                    <a:pt x="4164" y="899"/>
                  </a:lnTo>
                  <a:lnTo>
                    <a:pt x="4163" y="900"/>
                  </a:lnTo>
                  <a:lnTo>
                    <a:pt x="4163" y="902"/>
                  </a:lnTo>
                  <a:lnTo>
                    <a:pt x="4163" y="904"/>
                  </a:lnTo>
                  <a:lnTo>
                    <a:pt x="4165" y="905"/>
                  </a:lnTo>
                  <a:lnTo>
                    <a:pt x="4166" y="905"/>
                  </a:lnTo>
                  <a:lnTo>
                    <a:pt x="4169" y="902"/>
                  </a:lnTo>
                  <a:lnTo>
                    <a:pt x="4160" y="914"/>
                  </a:lnTo>
                  <a:lnTo>
                    <a:pt x="4137" y="911"/>
                  </a:lnTo>
                  <a:lnTo>
                    <a:pt x="4127" y="917"/>
                  </a:lnTo>
                  <a:lnTo>
                    <a:pt x="4128" y="917"/>
                  </a:lnTo>
                  <a:lnTo>
                    <a:pt x="4130" y="918"/>
                  </a:lnTo>
                  <a:lnTo>
                    <a:pt x="4133" y="920"/>
                  </a:lnTo>
                  <a:lnTo>
                    <a:pt x="4132" y="923"/>
                  </a:lnTo>
                  <a:lnTo>
                    <a:pt x="4132" y="925"/>
                  </a:lnTo>
                  <a:lnTo>
                    <a:pt x="4132" y="926"/>
                  </a:lnTo>
                  <a:lnTo>
                    <a:pt x="4130" y="927"/>
                  </a:lnTo>
                  <a:lnTo>
                    <a:pt x="4130" y="930"/>
                  </a:lnTo>
                  <a:lnTo>
                    <a:pt x="4142" y="930"/>
                  </a:lnTo>
                  <a:lnTo>
                    <a:pt x="4154" y="936"/>
                  </a:lnTo>
                  <a:lnTo>
                    <a:pt x="4159" y="936"/>
                  </a:lnTo>
                  <a:lnTo>
                    <a:pt x="4173" y="927"/>
                  </a:lnTo>
                  <a:lnTo>
                    <a:pt x="4169" y="934"/>
                  </a:lnTo>
                  <a:lnTo>
                    <a:pt x="4155" y="945"/>
                  </a:lnTo>
                  <a:lnTo>
                    <a:pt x="4156" y="946"/>
                  </a:lnTo>
                  <a:lnTo>
                    <a:pt x="4156" y="948"/>
                  </a:lnTo>
                  <a:lnTo>
                    <a:pt x="4156" y="950"/>
                  </a:lnTo>
                  <a:lnTo>
                    <a:pt x="4157" y="951"/>
                  </a:lnTo>
                  <a:lnTo>
                    <a:pt x="4155" y="957"/>
                  </a:lnTo>
                  <a:lnTo>
                    <a:pt x="4151" y="957"/>
                  </a:lnTo>
                  <a:lnTo>
                    <a:pt x="4144" y="954"/>
                  </a:lnTo>
                  <a:lnTo>
                    <a:pt x="4129" y="960"/>
                  </a:lnTo>
                  <a:lnTo>
                    <a:pt x="4130" y="970"/>
                  </a:lnTo>
                  <a:lnTo>
                    <a:pt x="4126" y="970"/>
                  </a:lnTo>
                  <a:lnTo>
                    <a:pt x="4117" y="963"/>
                  </a:lnTo>
                  <a:lnTo>
                    <a:pt x="4112" y="968"/>
                  </a:lnTo>
                  <a:lnTo>
                    <a:pt x="4110" y="977"/>
                  </a:lnTo>
                  <a:lnTo>
                    <a:pt x="4111" y="985"/>
                  </a:lnTo>
                  <a:lnTo>
                    <a:pt x="4116" y="988"/>
                  </a:lnTo>
                  <a:close/>
                  <a:moveTo>
                    <a:pt x="4312" y="760"/>
                  </a:moveTo>
                  <a:lnTo>
                    <a:pt x="4322" y="760"/>
                  </a:lnTo>
                  <a:lnTo>
                    <a:pt x="4325" y="763"/>
                  </a:lnTo>
                  <a:lnTo>
                    <a:pt x="4332" y="774"/>
                  </a:lnTo>
                  <a:lnTo>
                    <a:pt x="4336" y="778"/>
                  </a:lnTo>
                  <a:lnTo>
                    <a:pt x="4347" y="779"/>
                  </a:lnTo>
                  <a:lnTo>
                    <a:pt x="4382" y="766"/>
                  </a:lnTo>
                  <a:lnTo>
                    <a:pt x="4394" y="766"/>
                  </a:lnTo>
                  <a:lnTo>
                    <a:pt x="4397" y="765"/>
                  </a:lnTo>
                  <a:lnTo>
                    <a:pt x="4402" y="758"/>
                  </a:lnTo>
                  <a:lnTo>
                    <a:pt x="4404" y="757"/>
                  </a:lnTo>
                  <a:lnTo>
                    <a:pt x="4421" y="763"/>
                  </a:lnTo>
                  <a:lnTo>
                    <a:pt x="4427" y="760"/>
                  </a:lnTo>
                  <a:lnTo>
                    <a:pt x="4435" y="751"/>
                  </a:lnTo>
                  <a:lnTo>
                    <a:pt x="4438" y="745"/>
                  </a:lnTo>
                  <a:lnTo>
                    <a:pt x="4436" y="736"/>
                  </a:lnTo>
                  <a:lnTo>
                    <a:pt x="4434" y="734"/>
                  </a:lnTo>
                  <a:lnTo>
                    <a:pt x="4431" y="732"/>
                  </a:lnTo>
                  <a:lnTo>
                    <a:pt x="4428" y="731"/>
                  </a:lnTo>
                  <a:lnTo>
                    <a:pt x="4427" y="726"/>
                  </a:lnTo>
                  <a:lnTo>
                    <a:pt x="4428" y="722"/>
                  </a:lnTo>
                  <a:lnTo>
                    <a:pt x="4429" y="717"/>
                  </a:lnTo>
                  <a:lnTo>
                    <a:pt x="4431" y="712"/>
                  </a:lnTo>
                  <a:lnTo>
                    <a:pt x="4432" y="710"/>
                  </a:lnTo>
                  <a:lnTo>
                    <a:pt x="4438" y="706"/>
                  </a:lnTo>
                  <a:lnTo>
                    <a:pt x="4444" y="705"/>
                  </a:lnTo>
                  <a:lnTo>
                    <a:pt x="4450" y="702"/>
                  </a:lnTo>
                  <a:lnTo>
                    <a:pt x="4459" y="686"/>
                  </a:lnTo>
                  <a:lnTo>
                    <a:pt x="4469" y="681"/>
                  </a:lnTo>
                  <a:lnTo>
                    <a:pt x="4473" y="672"/>
                  </a:lnTo>
                  <a:lnTo>
                    <a:pt x="4473" y="662"/>
                  </a:lnTo>
                  <a:lnTo>
                    <a:pt x="4471" y="654"/>
                  </a:lnTo>
                  <a:lnTo>
                    <a:pt x="4467" y="649"/>
                  </a:lnTo>
                  <a:lnTo>
                    <a:pt x="4464" y="642"/>
                  </a:lnTo>
                  <a:lnTo>
                    <a:pt x="4461" y="640"/>
                  </a:lnTo>
                  <a:lnTo>
                    <a:pt x="4447" y="633"/>
                  </a:lnTo>
                  <a:lnTo>
                    <a:pt x="4441" y="635"/>
                  </a:lnTo>
                  <a:lnTo>
                    <a:pt x="4438" y="635"/>
                  </a:lnTo>
                  <a:lnTo>
                    <a:pt x="4439" y="629"/>
                  </a:lnTo>
                  <a:lnTo>
                    <a:pt x="4440" y="627"/>
                  </a:lnTo>
                  <a:lnTo>
                    <a:pt x="4441" y="625"/>
                  </a:lnTo>
                  <a:lnTo>
                    <a:pt x="4439" y="619"/>
                  </a:lnTo>
                  <a:lnTo>
                    <a:pt x="4435" y="616"/>
                  </a:lnTo>
                  <a:lnTo>
                    <a:pt x="4432" y="615"/>
                  </a:lnTo>
                  <a:lnTo>
                    <a:pt x="4429" y="619"/>
                  </a:lnTo>
                  <a:lnTo>
                    <a:pt x="4431" y="622"/>
                  </a:lnTo>
                  <a:lnTo>
                    <a:pt x="4426" y="623"/>
                  </a:lnTo>
                  <a:lnTo>
                    <a:pt x="4419" y="618"/>
                  </a:lnTo>
                  <a:lnTo>
                    <a:pt x="4413" y="616"/>
                  </a:lnTo>
                  <a:lnTo>
                    <a:pt x="4411" y="628"/>
                  </a:lnTo>
                  <a:lnTo>
                    <a:pt x="4412" y="634"/>
                  </a:lnTo>
                  <a:lnTo>
                    <a:pt x="4414" y="639"/>
                  </a:lnTo>
                  <a:lnTo>
                    <a:pt x="4428" y="658"/>
                  </a:lnTo>
                  <a:lnTo>
                    <a:pt x="4430" y="663"/>
                  </a:lnTo>
                  <a:lnTo>
                    <a:pt x="4425" y="677"/>
                  </a:lnTo>
                  <a:lnTo>
                    <a:pt x="4422" y="692"/>
                  </a:lnTo>
                  <a:lnTo>
                    <a:pt x="4422" y="699"/>
                  </a:lnTo>
                  <a:lnTo>
                    <a:pt x="4423" y="704"/>
                  </a:lnTo>
                  <a:lnTo>
                    <a:pt x="4426" y="707"/>
                  </a:lnTo>
                  <a:lnTo>
                    <a:pt x="4417" y="707"/>
                  </a:lnTo>
                  <a:lnTo>
                    <a:pt x="4410" y="695"/>
                  </a:lnTo>
                  <a:lnTo>
                    <a:pt x="4407" y="676"/>
                  </a:lnTo>
                  <a:lnTo>
                    <a:pt x="4409" y="653"/>
                  </a:lnTo>
                  <a:lnTo>
                    <a:pt x="4398" y="654"/>
                  </a:lnTo>
                  <a:lnTo>
                    <a:pt x="4393" y="657"/>
                  </a:lnTo>
                  <a:lnTo>
                    <a:pt x="4390" y="664"/>
                  </a:lnTo>
                  <a:lnTo>
                    <a:pt x="4387" y="673"/>
                  </a:lnTo>
                  <a:lnTo>
                    <a:pt x="4386" y="677"/>
                  </a:lnTo>
                  <a:lnTo>
                    <a:pt x="4385" y="678"/>
                  </a:lnTo>
                  <a:lnTo>
                    <a:pt x="4381" y="678"/>
                  </a:lnTo>
                  <a:lnTo>
                    <a:pt x="4381" y="674"/>
                  </a:lnTo>
                  <a:lnTo>
                    <a:pt x="4382" y="670"/>
                  </a:lnTo>
                  <a:lnTo>
                    <a:pt x="4381" y="666"/>
                  </a:lnTo>
                  <a:lnTo>
                    <a:pt x="4379" y="665"/>
                  </a:lnTo>
                  <a:lnTo>
                    <a:pt x="4374" y="666"/>
                  </a:lnTo>
                  <a:lnTo>
                    <a:pt x="4371" y="664"/>
                  </a:lnTo>
                  <a:lnTo>
                    <a:pt x="4369" y="659"/>
                  </a:lnTo>
                  <a:lnTo>
                    <a:pt x="4367" y="657"/>
                  </a:lnTo>
                  <a:lnTo>
                    <a:pt x="4366" y="657"/>
                  </a:lnTo>
                  <a:lnTo>
                    <a:pt x="4361" y="659"/>
                  </a:lnTo>
                  <a:lnTo>
                    <a:pt x="4358" y="664"/>
                  </a:lnTo>
                  <a:lnTo>
                    <a:pt x="4357" y="671"/>
                  </a:lnTo>
                  <a:lnTo>
                    <a:pt x="4360" y="678"/>
                  </a:lnTo>
                  <a:lnTo>
                    <a:pt x="4361" y="687"/>
                  </a:lnTo>
                  <a:lnTo>
                    <a:pt x="4366" y="692"/>
                  </a:lnTo>
                  <a:lnTo>
                    <a:pt x="4399" y="696"/>
                  </a:lnTo>
                  <a:lnTo>
                    <a:pt x="4405" y="700"/>
                  </a:lnTo>
                  <a:lnTo>
                    <a:pt x="4402" y="705"/>
                  </a:lnTo>
                  <a:lnTo>
                    <a:pt x="4381" y="697"/>
                  </a:lnTo>
                  <a:lnTo>
                    <a:pt x="4361" y="699"/>
                  </a:lnTo>
                  <a:lnTo>
                    <a:pt x="4354" y="697"/>
                  </a:lnTo>
                  <a:lnTo>
                    <a:pt x="4355" y="697"/>
                  </a:lnTo>
                  <a:lnTo>
                    <a:pt x="4339" y="695"/>
                  </a:lnTo>
                  <a:lnTo>
                    <a:pt x="4334" y="697"/>
                  </a:lnTo>
                  <a:lnTo>
                    <a:pt x="4351" y="729"/>
                  </a:lnTo>
                  <a:lnTo>
                    <a:pt x="4353" y="731"/>
                  </a:lnTo>
                  <a:lnTo>
                    <a:pt x="4356" y="732"/>
                  </a:lnTo>
                  <a:lnTo>
                    <a:pt x="4368" y="728"/>
                  </a:lnTo>
                  <a:lnTo>
                    <a:pt x="4366" y="731"/>
                  </a:lnTo>
                  <a:lnTo>
                    <a:pt x="4363" y="734"/>
                  </a:lnTo>
                  <a:lnTo>
                    <a:pt x="4361" y="736"/>
                  </a:lnTo>
                  <a:lnTo>
                    <a:pt x="4359" y="738"/>
                  </a:lnTo>
                  <a:lnTo>
                    <a:pt x="4356" y="739"/>
                  </a:lnTo>
                  <a:lnTo>
                    <a:pt x="4356" y="741"/>
                  </a:lnTo>
                  <a:lnTo>
                    <a:pt x="4355" y="743"/>
                  </a:lnTo>
                  <a:lnTo>
                    <a:pt x="4352" y="749"/>
                  </a:lnTo>
                  <a:lnTo>
                    <a:pt x="4351" y="751"/>
                  </a:lnTo>
                  <a:lnTo>
                    <a:pt x="4349" y="750"/>
                  </a:lnTo>
                  <a:lnTo>
                    <a:pt x="4349" y="747"/>
                  </a:lnTo>
                  <a:lnTo>
                    <a:pt x="4349" y="745"/>
                  </a:lnTo>
                  <a:lnTo>
                    <a:pt x="4350" y="744"/>
                  </a:lnTo>
                  <a:lnTo>
                    <a:pt x="4347" y="739"/>
                  </a:lnTo>
                  <a:lnTo>
                    <a:pt x="4347" y="737"/>
                  </a:lnTo>
                  <a:lnTo>
                    <a:pt x="4342" y="734"/>
                  </a:lnTo>
                  <a:lnTo>
                    <a:pt x="4326" y="730"/>
                  </a:lnTo>
                  <a:lnTo>
                    <a:pt x="4322" y="732"/>
                  </a:lnTo>
                  <a:lnTo>
                    <a:pt x="4319" y="736"/>
                  </a:lnTo>
                  <a:lnTo>
                    <a:pt x="4318" y="736"/>
                  </a:lnTo>
                  <a:lnTo>
                    <a:pt x="4316" y="736"/>
                  </a:lnTo>
                  <a:lnTo>
                    <a:pt x="4313" y="733"/>
                  </a:lnTo>
                  <a:lnTo>
                    <a:pt x="4311" y="732"/>
                  </a:lnTo>
                  <a:lnTo>
                    <a:pt x="4309" y="732"/>
                  </a:lnTo>
                  <a:lnTo>
                    <a:pt x="4310" y="736"/>
                  </a:lnTo>
                  <a:lnTo>
                    <a:pt x="4311" y="738"/>
                  </a:lnTo>
                  <a:lnTo>
                    <a:pt x="4309" y="741"/>
                  </a:lnTo>
                  <a:lnTo>
                    <a:pt x="4306" y="747"/>
                  </a:lnTo>
                  <a:lnTo>
                    <a:pt x="4304" y="751"/>
                  </a:lnTo>
                  <a:lnTo>
                    <a:pt x="4308" y="758"/>
                  </a:lnTo>
                  <a:lnTo>
                    <a:pt x="4312" y="760"/>
                  </a:lnTo>
                  <a:close/>
                  <a:moveTo>
                    <a:pt x="4734" y="614"/>
                  </a:moveTo>
                  <a:lnTo>
                    <a:pt x="4736" y="613"/>
                  </a:lnTo>
                  <a:lnTo>
                    <a:pt x="4736" y="612"/>
                  </a:lnTo>
                  <a:lnTo>
                    <a:pt x="4737" y="611"/>
                  </a:lnTo>
                  <a:lnTo>
                    <a:pt x="4737" y="608"/>
                  </a:lnTo>
                  <a:lnTo>
                    <a:pt x="4736" y="605"/>
                  </a:lnTo>
                  <a:lnTo>
                    <a:pt x="4717" y="607"/>
                  </a:lnTo>
                  <a:lnTo>
                    <a:pt x="4714" y="609"/>
                  </a:lnTo>
                  <a:lnTo>
                    <a:pt x="4712" y="611"/>
                  </a:lnTo>
                  <a:lnTo>
                    <a:pt x="4711" y="614"/>
                  </a:lnTo>
                  <a:lnTo>
                    <a:pt x="4710" y="618"/>
                  </a:lnTo>
                  <a:lnTo>
                    <a:pt x="4709" y="622"/>
                  </a:lnTo>
                  <a:lnTo>
                    <a:pt x="4706" y="631"/>
                  </a:lnTo>
                  <a:lnTo>
                    <a:pt x="4705" y="637"/>
                  </a:lnTo>
                  <a:lnTo>
                    <a:pt x="4706" y="646"/>
                  </a:lnTo>
                  <a:lnTo>
                    <a:pt x="4707" y="650"/>
                  </a:lnTo>
                  <a:lnTo>
                    <a:pt x="4710" y="655"/>
                  </a:lnTo>
                  <a:lnTo>
                    <a:pt x="4718" y="658"/>
                  </a:lnTo>
                  <a:lnTo>
                    <a:pt x="4727" y="654"/>
                  </a:lnTo>
                  <a:lnTo>
                    <a:pt x="4734" y="648"/>
                  </a:lnTo>
                  <a:lnTo>
                    <a:pt x="4737" y="638"/>
                  </a:lnTo>
                  <a:lnTo>
                    <a:pt x="4734" y="628"/>
                  </a:lnTo>
                  <a:lnTo>
                    <a:pt x="4733" y="620"/>
                  </a:lnTo>
                  <a:lnTo>
                    <a:pt x="4733" y="617"/>
                  </a:lnTo>
                  <a:lnTo>
                    <a:pt x="4734" y="614"/>
                  </a:lnTo>
                  <a:close/>
                  <a:moveTo>
                    <a:pt x="6188" y="660"/>
                  </a:moveTo>
                  <a:lnTo>
                    <a:pt x="6191" y="664"/>
                  </a:lnTo>
                  <a:lnTo>
                    <a:pt x="6194" y="666"/>
                  </a:lnTo>
                  <a:lnTo>
                    <a:pt x="6198" y="664"/>
                  </a:lnTo>
                  <a:lnTo>
                    <a:pt x="6206" y="655"/>
                  </a:lnTo>
                  <a:lnTo>
                    <a:pt x="6219" y="651"/>
                  </a:lnTo>
                  <a:lnTo>
                    <a:pt x="6223" y="648"/>
                  </a:lnTo>
                  <a:lnTo>
                    <a:pt x="6227" y="642"/>
                  </a:lnTo>
                  <a:lnTo>
                    <a:pt x="6225" y="640"/>
                  </a:lnTo>
                  <a:lnTo>
                    <a:pt x="6213" y="641"/>
                  </a:lnTo>
                  <a:lnTo>
                    <a:pt x="6213" y="638"/>
                  </a:lnTo>
                  <a:lnTo>
                    <a:pt x="6214" y="633"/>
                  </a:lnTo>
                  <a:lnTo>
                    <a:pt x="6214" y="631"/>
                  </a:lnTo>
                  <a:lnTo>
                    <a:pt x="6210" y="627"/>
                  </a:lnTo>
                  <a:lnTo>
                    <a:pt x="6210" y="625"/>
                  </a:lnTo>
                  <a:lnTo>
                    <a:pt x="6209" y="621"/>
                  </a:lnTo>
                  <a:lnTo>
                    <a:pt x="6209" y="615"/>
                  </a:lnTo>
                  <a:lnTo>
                    <a:pt x="6209" y="612"/>
                  </a:lnTo>
                  <a:lnTo>
                    <a:pt x="6205" y="609"/>
                  </a:lnTo>
                  <a:lnTo>
                    <a:pt x="6190" y="603"/>
                  </a:lnTo>
                  <a:lnTo>
                    <a:pt x="6184" y="605"/>
                  </a:lnTo>
                  <a:lnTo>
                    <a:pt x="6180" y="614"/>
                  </a:lnTo>
                  <a:lnTo>
                    <a:pt x="6179" y="625"/>
                  </a:lnTo>
                  <a:lnTo>
                    <a:pt x="6183" y="638"/>
                  </a:lnTo>
                  <a:lnTo>
                    <a:pt x="6178" y="646"/>
                  </a:lnTo>
                  <a:lnTo>
                    <a:pt x="6168" y="660"/>
                  </a:lnTo>
                  <a:lnTo>
                    <a:pt x="6164" y="672"/>
                  </a:lnTo>
                  <a:lnTo>
                    <a:pt x="6177" y="676"/>
                  </a:lnTo>
                  <a:lnTo>
                    <a:pt x="6183" y="670"/>
                  </a:lnTo>
                  <a:lnTo>
                    <a:pt x="6185" y="665"/>
                  </a:lnTo>
                  <a:lnTo>
                    <a:pt x="6183" y="660"/>
                  </a:lnTo>
                  <a:lnTo>
                    <a:pt x="6185" y="657"/>
                  </a:lnTo>
                  <a:lnTo>
                    <a:pt x="6188" y="660"/>
                  </a:lnTo>
                  <a:close/>
                  <a:moveTo>
                    <a:pt x="4890" y="595"/>
                  </a:moveTo>
                  <a:lnTo>
                    <a:pt x="4891" y="597"/>
                  </a:lnTo>
                  <a:lnTo>
                    <a:pt x="4894" y="595"/>
                  </a:lnTo>
                  <a:lnTo>
                    <a:pt x="4895" y="594"/>
                  </a:lnTo>
                  <a:lnTo>
                    <a:pt x="4897" y="592"/>
                  </a:lnTo>
                  <a:lnTo>
                    <a:pt x="4898" y="587"/>
                  </a:lnTo>
                  <a:lnTo>
                    <a:pt x="4895" y="585"/>
                  </a:lnTo>
                  <a:lnTo>
                    <a:pt x="4893" y="584"/>
                  </a:lnTo>
                  <a:lnTo>
                    <a:pt x="4890" y="585"/>
                  </a:lnTo>
                  <a:lnTo>
                    <a:pt x="4887" y="587"/>
                  </a:lnTo>
                  <a:lnTo>
                    <a:pt x="4888" y="591"/>
                  </a:lnTo>
                  <a:lnTo>
                    <a:pt x="4889" y="594"/>
                  </a:lnTo>
                  <a:lnTo>
                    <a:pt x="4890" y="595"/>
                  </a:lnTo>
                  <a:close/>
                  <a:moveTo>
                    <a:pt x="4591" y="561"/>
                  </a:moveTo>
                  <a:lnTo>
                    <a:pt x="4586" y="561"/>
                  </a:lnTo>
                  <a:lnTo>
                    <a:pt x="4582" y="565"/>
                  </a:lnTo>
                  <a:lnTo>
                    <a:pt x="4579" y="573"/>
                  </a:lnTo>
                  <a:lnTo>
                    <a:pt x="4573" y="580"/>
                  </a:lnTo>
                  <a:lnTo>
                    <a:pt x="4558" y="594"/>
                  </a:lnTo>
                  <a:lnTo>
                    <a:pt x="4550" y="598"/>
                  </a:lnTo>
                  <a:lnTo>
                    <a:pt x="4548" y="600"/>
                  </a:lnTo>
                  <a:lnTo>
                    <a:pt x="4544" y="612"/>
                  </a:lnTo>
                  <a:lnTo>
                    <a:pt x="4534" y="628"/>
                  </a:lnTo>
                  <a:lnTo>
                    <a:pt x="4532" y="637"/>
                  </a:lnTo>
                  <a:lnTo>
                    <a:pt x="4540" y="638"/>
                  </a:lnTo>
                  <a:lnTo>
                    <a:pt x="4571" y="630"/>
                  </a:lnTo>
                  <a:lnTo>
                    <a:pt x="4578" y="626"/>
                  </a:lnTo>
                  <a:lnTo>
                    <a:pt x="4584" y="613"/>
                  </a:lnTo>
                  <a:lnTo>
                    <a:pt x="4589" y="598"/>
                  </a:lnTo>
                  <a:lnTo>
                    <a:pt x="4596" y="586"/>
                  </a:lnTo>
                  <a:lnTo>
                    <a:pt x="4600" y="576"/>
                  </a:lnTo>
                  <a:lnTo>
                    <a:pt x="4596" y="565"/>
                  </a:lnTo>
                  <a:lnTo>
                    <a:pt x="4593" y="562"/>
                  </a:lnTo>
                  <a:lnTo>
                    <a:pt x="4591" y="561"/>
                  </a:lnTo>
                  <a:close/>
                  <a:moveTo>
                    <a:pt x="4614" y="551"/>
                  </a:moveTo>
                  <a:lnTo>
                    <a:pt x="4610" y="552"/>
                  </a:lnTo>
                  <a:lnTo>
                    <a:pt x="4606" y="555"/>
                  </a:lnTo>
                  <a:lnTo>
                    <a:pt x="4608" y="557"/>
                  </a:lnTo>
                  <a:lnTo>
                    <a:pt x="4609" y="558"/>
                  </a:lnTo>
                  <a:lnTo>
                    <a:pt x="4614" y="559"/>
                  </a:lnTo>
                  <a:lnTo>
                    <a:pt x="4622" y="555"/>
                  </a:lnTo>
                  <a:lnTo>
                    <a:pt x="4619" y="552"/>
                  </a:lnTo>
                  <a:lnTo>
                    <a:pt x="4614" y="551"/>
                  </a:lnTo>
                  <a:close/>
                  <a:moveTo>
                    <a:pt x="4759" y="543"/>
                  </a:moveTo>
                  <a:lnTo>
                    <a:pt x="4753" y="543"/>
                  </a:lnTo>
                  <a:lnTo>
                    <a:pt x="4750" y="546"/>
                  </a:lnTo>
                  <a:lnTo>
                    <a:pt x="4747" y="552"/>
                  </a:lnTo>
                  <a:lnTo>
                    <a:pt x="4743" y="563"/>
                  </a:lnTo>
                  <a:lnTo>
                    <a:pt x="4743" y="569"/>
                  </a:lnTo>
                  <a:lnTo>
                    <a:pt x="4745" y="576"/>
                  </a:lnTo>
                  <a:lnTo>
                    <a:pt x="4750" y="587"/>
                  </a:lnTo>
                  <a:lnTo>
                    <a:pt x="4756" y="592"/>
                  </a:lnTo>
                  <a:lnTo>
                    <a:pt x="4764" y="592"/>
                  </a:lnTo>
                  <a:lnTo>
                    <a:pt x="4772" y="588"/>
                  </a:lnTo>
                  <a:lnTo>
                    <a:pt x="4777" y="580"/>
                  </a:lnTo>
                  <a:lnTo>
                    <a:pt x="4778" y="572"/>
                  </a:lnTo>
                  <a:lnTo>
                    <a:pt x="4797" y="558"/>
                  </a:lnTo>
                  <a:lnTo>
                    <a:pt x="4774" y="562"/>
                  </a:lnTo>
                  <a:lnTo>
                    <a:pt x="4771" y="559"/>
                  </a:lnTo>
                  <a:lnTo>
                    <a:pt x="4763" y="546"/>
                  </a:lnTo>
                  <a:lnTo>
                    <a:pt x="4759" y="543"/>
                  </a:lnTo>
                  <a:close/>
                  <a:moveTo>
                    <a:pt x="4788" y="545"/>
                  </a:moveTo>
                  <a:lnTo>
                    <a:pt x="4787" y="535"/>
                  </a:lnTo>
                  <a:lnTo>
                    <a:pt x="4784" y="534"/>
                  </a:lnTo>
                  <a:lnTo>
                    <a:pt x="4780" y="539"/>
                  </a:lnTo>
                  <a:lnTo>
                    <a:pt x="4776" y="547"/>
                  </a:lnTo>
                  <a:lnTo>
                    <a:pt x="4774" y="552"/>
                  </a:lnTo>
                  <a:lnTo>
                    <a:pt x="4784" y="550"/>
                  </a:lnTo>
                  <a:lnTo>
                    <a:pt x="4788" y="545"/>
                  </a:lnTo>
                  <a:close/>
                  <a:moveTo>
                    <a:pt x="4444" y="552"/>
                  </a:moveTo>
                  <a:lnTo>
                    <a:pt x="4439" y="556"/>
                  </a:lnTo>
                  <a:lnTo>
                    <a:pt x="4437" y="563"/>
                  </a:lnTo>
                  <a:lnTo>
                    <a:pt x="4439" y="571"/>
                  </a:lnTo>
                  <a:lnTo>
                    <a:pt x="4444" y="576"/>
                  </a:lnTo>
                  <a:lnTo>
                    <a:pt x="4453" y="577"/>
                  </a:lnTo>
                  <a:lnTo>
                    <a:pt x="4450" y="581"/>
                  </a:lnTo>
                  <a:lnTo>
                    <a:pt x="4445" y="589"/>
                  </a:lnTo>
                  <a:lnTo>
                    <a:pt x="4442" y="590"/>
                  </a:lnTo>
                  <a:lnTo>
                    <a:pt x="4427" y="584"/>
                  </a:lnTo>
                  <a:lnTo>
                    <a:pt x="4420" y="587"/>
                  </a:lnTo>
                  <a:lnTo>
                    <a:pt x="4421" y="595"/>
                  </a:lnTo>
                  <a:lnTo>
                    <a:pt x="4426" y="603"/>
                  </a:lnTo>
                  <a:lnTo>
                    <a:pt x="4439" y="608"/>
                  </a:lnTo>
                  <a:lnTo>
                    <a:pt x="4470" y="638"/>
                  </a:lnTo>
                  <a:lnTo>
                    <a:pt x="4472" y="641"/>
                  </a:lnTo>
                  <a:lnTo>
                    <a:pt x="4478" y="655"/>
                  </a:lnTo>
                  <a:lnTo>
                    <a:pt x="4483" y="661"/>
                  </a:lnTo>
                  <a:lnTo>
                    <a:pt x="4517" y="650"/>
                  </a:lnTo>
                  <a:lnTo>
                    <a:pt x="4523" y="645"/>
                  </a:lnTo>
                  <a:lnTo>
                    <a:pt x="4528" y="638"/>
                  </a:lnTo>
                  <a:lnTo>
                    <a:pt x="4529" y="635"/>
                  </a:lnTo>
                  <a:lnTo>
                    <a:pt x="4530" y="631"/>
                  </a:lnTo>
                  <a:lnTo>
                    <a:pt x="4531" y="627"/>
                  </a:lnTo>
                  <a:lnTo>
                    <a:pt x="4532" y="623"/>
                  </a:lnTo>
                  <a:lnTo>
                    <a:pt x="4539" y="616"/>
                  </a:lnTo>
                  <a:lnTo>
                    <a:pt x="4541" y="611"/>
                  </a:lnTo>
                  <a:lnTo>
                    <a:pt x="4542" y="609"/>
                  </a:lnTo>
                  <a:lnTo>
                    <a:pt x="4544" y="606"/>
                  </a:lnTo>
                  <a:lnTo>
                    <a:pt x="4546" y="603"/>
                  </a:lnTo>
                  <a:lnTo>
                    <a:pt x="4546" y="600"/>
                  </a:lnTo>
                  <a:lnTo>
                    <a:pt x="4546" y="595"/>
                  </a:lnTo>
                  <a:lnTo>
                    <a:pt x="4547" y="593"/>
                  </a:lnTo>
                  <a:lnTo>
                    <a:pt x="4548" y="588"/>
                  </a:lnTo>
                  <a:lnTo>
                    <a:pt x="4549" y="586"/>
                  </a:lnTo>
                  <a:lnTo>
                    <a:pt x="4566" y="577"/>
                  </a:lnTo>
                  <a:lnTo>
                    <a:pt x="4572" y="570"/>
                  </a:lnTo>
                  <a:lnTo>
                    <a:pt x="4572" y="560"/>
                  </a:lnTo>
                  <a:lnTo>
                    <a:pt x="4570" y="555"/>
                  </a:lnTo>
                  <a:lnTo>
                    <a:pt x="4567" y="553"/>
                  </a:lnTo>
                  <a:lnTo>
                    <a:pt x="4564" y="554"/>
                  </a:lnTo>
                  <a:lnTo>
                    <a:pt x="4562" y="555"/>
                  </a:lnTo>
                  <a:lnTo>
                    <a:pt x="4560" y="559"/>
                  </a:lnTo>
                  <a:lnTo>
                    <a:pt x="4558" y="564"/>
                  </a:lnTo>
                  <a:lnTo>
                    <a:pt x="4556" y="566"/>
                  </a:lnTo>
                  <a:lnTo>
                    <a:pt x="4554" y="562"/>
                  </a:lnTo>
                  <a:lnTo>
                    <a:pt x="4554" y="557"/>
                  </a:lnTo>
                  <a:lnTo>
                    <a:pt x="4555" y="552"/>
                  </a:lnTo>
                  <a:lnTo>
                    <a:pt x="4556" y="547"/>
                  </a:lnTo>
                  <a:lnTo>
                    <a:pt x="4555" y="541"/>
                  </a:lnTo>
                  <a:lnTo>
                    <a:pt x="4552" y="537"/>
                  </a:lnTo>
                  <a:lnTo>
                    <a:pt x="4549" y="536"/>
                  </a:lnTo>
                  <a:lnTo>
                    <a:pt x="4538" y="541"/>
                  </a:lnTo>
                  <a:lnTo>
                    <a:pt x="4533" y="548"/>
                  </a:lnTo>
                  <a:lnTo>
                    <a:pt x="4530" y="557"/>
                  </a:lnTo>
                  <a:lnTo>
                    <a:pt x="4530" y="568"/>
                  </a:lnTo>
                  <a:lnTo>
                    <a:pt x="4526" y="567"/>
                  </a:lnTo>
                  <a:lnTo>
                    <a:pt x="4518" y="555"/>
                  </a:lnTo>
                  <a:lnTo>
                    <a:pt x="4510" y="549"/>
                  </a:lnTo>
                  <a:lnTo>
                    <a:pt x="4510" y="541"/>
                  </a:lnTo>
                  <a:lnTo>
                    <a:pt x="4513" y="533"/>
                  </a:lnTo>
                  <a:lnTo>
                    <a:pt x="4515" y="526"/>
                  </a:lnTo>
                  <a:lnTo>
                    <a:pt x="4511" y="523"/>
                  </a:lnTo>
                  <a:lnTo>
                    <a:pt x="4508" y="527"/>
                  </a:lnTo>
                  <a:lnTo>
                    <a:pt x="4504" y="532"/>
                  </a:lnTo>
                  <a:lnTo>
                    <a:pt x="4501" y="533"/>
                  </a:lnTo>
                  <a:lnTo>
                    <a:pt x="4499" y="529"/>
                  </a:lnTo>
                  <a:lnTo>
                    <a:pt x="4499" y="524"/>
                  </a:lnTo>
                  <a:lnTo>
                    <a:pt x="4499" y="520"/>
                  </a:lnTo>
                  <a:lnTo>
                    <a:pt x="4497" y="517"/>
                  </a:lnTo>
                  <a:lnTo>
                    <a:pt x="4482" y="529"/>
                  </a:lnTo>
                  <a:lnTo>
                    <a:pt x="4480" y="531"/>
                  </a:lnTo>
                  <a:lnTo>
                    <a:pt x="4477" y="530"/>
                  </a:lnTo>
                  <a:lnTo>
                    <a:pt x="4474" y="526"/>
                  </a:lnTo>
                  <a:lnTo>
                    <a:pt x="4474" y="535"/>
                  </a:lnTo>
                  <a:lnTo>
                    <a:pt x="4477" y="540"/>
                  </a:lnTo>
                  <a:lnTo>
                    <a:pt x="4480" y="544"/>
                  </a:lnTo>
                  <a:lnTo>
                    <a:pt x="4483" y="549"/>
                  </a:lnTo>
                  <a:lnTo>
                    <a:pt x="4475" y="555"/>
                  </a:lnTo>
                  <a:lnTo>
                    <a:pt x="4473" y="555"/>
                  </a:lnTo>
                  <a:lnTo>
                    <a:pt x="4472" y="554"/>
                  </a:lnTo>
                  <a:lnTo>
                    <a:pt x="4472" y="550"/>
                  </a:lnTo>
                  <a:lnTo>
                    <a:pt x="4470" y="547"/>
                  </a:lnTo>
                  <a:lnTo>
                    <a:pt x="4468" y="546"/>
                  </a:lnTo>
                  <a:lnTo>
                    <a:pt x="4466" y="547"/>
                  </a:lnTo>
                  <a:lnTo>
                    <a:pt x="4463" y="551"/>
                  </a:lnTo>
                  <a:lnTo>
                    <a:pt x="4461" y="552"/>
                  </a:lnTo>
                  <a:lnTo>
                    <a:pt x="4453" y="549"/>
                  </a:lnTo>
                  <a:lnTo>
                    <a:pt x="4444" y="552"/>
                  </a:lnTo>
                  <a:close/>
                  <a:moveTo>
                    <a:pt x="4411" y="550"/>
                  </a:moveTo>
                  <a:lnTo>
                    <a:pt x="4414" y="551"/>
                  </a:lnTo>
                  <a:lnTo>
                    <a:pt x="4414" y="553"/>
                  </a:lnTo>
                  <a:lnTo>
                    <a:pt x="4411" y="558"/>
                  </a:lnTo>
                  <a:lnTo>
                    <a:pt x="4411" y="564"/>
                  </a:lnTo>
                  <a:lnTo>
                    <a:pt x="4414" y="569"/>
                  </a:lnTo>
                  <a:lnTo>
                    <a:pt x="4416" y="570"/>
                  </a:lnTo>
                  <a:lnTo>
                    <a:pt x="4417" y="570"/>
                  </a:lnTo>
                  <a:lnTo>
                    <a:pt x="4418" y="568"/>
                  </a:lnTo>
                  <a:lnTo>
                    <a:pt x="4419" y="567"/>
                  </a:lnTo>
                  <a:lnTo>
                    <a:pt x="4421" y="563"/>
                  </a:lnTo>
                  <a:lnTo>
                    <a:pt x="4426" y="554"/>
                  </a:lnTo>
                  <a:lnTo>
                    <a:pt x="4438" y="545"/>
                  </a:lnTo>
                  <a:lnTo>
                    <a:pt x="4449" y="542"/>
                  </a:lnTo>
                  <a:lnTo>
                    <a:pt x="4454" y="538"/>
                  </a:lnTo>
                  <a:lnTo>
                    <a:pt x="4457" y="534"/>
                  </a:lnTo>
                  <a:lnTo>
                    <a:pt x="4460" y="529"/>
                  </a:lnTo>
                  <a:lnTo>
                    <a:pt x="4459" y="524"/>
                  </a:lnTo>
                  <a:lnTo>
                    <a:pt x="4451" y="518"/>
                  </a:lnTo>
                  <a:lnTo>
                    <a:pt x="4449" y="514"/>
                  </a:lnTo>
                  <a:lnTo>
                    <a:pt x="4446" y="514"/>
                  </a:lnTo>
                  <a:lnTo>
                    <a:pt x="4436" y="529"/>
                  </a:lnTo>
                  <a:lnTo>
                    <a:pt x="4435" y="533"/>
                  </a:lnTo>
                  <a:lnTo>
                    <a:pt x="4433" y="535"/>
                  </a:lnTo>
                  <a:lnTo>
                    <a:pt x="4432" y="533"/>
                  </a:lnTo>
                  <a:lnTo>
                    <a:pt x="4431" y="524"/>
                  </a:lnTo>
                  <a:lnTo>
                    <a:pt x="4429" y="516"/>
                  </a:lnTo>
                  <a:lnTo>
                    <a:pt x="4425" y="511"/>
                  </a:lnTo>
                  <a:lnTo>
                    <a:pt x="4419" y="509"/>
                  </a:lnTo>
                  <a:lnTo>
                    <a:pt x="4416" y="511"/>
                  </a:lnTo>
                  <a:lnTo>
                    <a:pt x="4416" y="516"/>
                  </a:lnTo>
                  <a:lnTo>
                    <a:pt x="4418" y="519"/>
                  </a:lnTo>
                  <a:lnTo>
                    <a:pt x="4417" y="523"/>
                  </a:lnTo>
                  <a:lnTo>
                    <a:pt x="4418" y="524"/>
                  </a:lnTo>
                  <a:lnTo>
                    <a:pt x="4416" y="528"/>
                  </a:lnTo>
                  <a:lnTo>
                    <a:pt x="4412" y="533"/>
                  </a:lnTo>
                  <a:lnTo>
                    <a:pt x="4409" y="541"/>
                  </a:lnTo>
                  <a:lnTo>
                    <a:pt x="4410" y="548"/>
                  </a:lnTo>
                  <a:lnTo>
                    <a:pt x="4411" y="550"/>
                  </a:lnTo>
                  <a:close/>
                  <a:moveTo>
                    <a:pt x="4748" y="508"/>
                  </a:moveTo>
                  <a:lnTo>
                    <a:pt x="4749" y="520"/>
                  </a:lnTo>
                  <a:lnTo>
                    <a:pt x="4751" y="526"/>
                  </a:lnTo>
                  <a:lnTo>
                    <a:pt x="4753" y="529"/>
                  </a:lnTo>
                  <a:lnTo>
                    <a:pt x="4759" y="531"/>
                  </a:lnTo>
                  <a:lnTo>
                    <a:pt x="4764" y="526"/>
                  </a:lnTo>
                  <a:lnTo>
                    <a:pt x="4767" y="519"/>
                  </a:lnTo>
                  <a:lnTo>
                    <a:pt x="4767" y="513"/>
                  </a:lnTo>
                  <a:lnTo>
                    <a:pt x="4758" y="496"/>
                  </a:lnTo>
                  <a:lnTo>
                    <a:pt x="4754" y="493"/>
                  </a:lnTo>
                  <a:lnTo>
                    <a:pt x="4750" y="498"/>
                  </a:lnTo>
                  <a:lnTo>
                    <a:pt x="4748" y="508"/>
                  </a:lnTo>
                  <a:close/>
                  <a:moveTo>
                    <a:pt x="4521" y="511"/>
                  </a:moveTo>
                  <a:lnTo>
                    <a:pt x="4530" y="515"/>
                  </a:lnTo>
                  <a:lnTo>
                    <a:pt x="4542" y="520"/>
                  </a:lnTo>
                  <a:lnTo>
                    <a:pt x="4549" y="520"/>
                  </a:lnTo>
                  <a:lnTo>
                    <a:pt x="4551" y="519"/>
                  </a:lnTo>
                  <a:lnTo>
                    <a:pt x="4554" y="516"/>
                  </a:lnTo>
                  <a:lnTo>
                    <a:pt x="4555" y="511"/>
                  </a:lnTo>
                  <a:lnTo>
                    <a:pt x="4551" y="507"/>
                  </a:lnTo>
                  <a:lnTo>
                    <a:pt x="4534" y="491"/>
                  </a:lnTo>
                  <a:lnTo>
                    <a:pt x="4528" y="488"/>
                  </a:lnTo>
                  <a:lnTo>
                    <a:pt x="4522" y="491"/>
                  </a:lnTo>
                  <a:lnTo>
                    <a:pt x="4518" y="498"/>
                  </a:lnTo>
                  <a:lnTo>
                    <a:pt x="4517" y="504"/>
                  </a:lnTo>
                  <a:lnTo>
                    <a:pt x="4518" y="508"/>
                  </a:lnTo>
                  <a:lnTo>
                    <a:pt x="4521" y="511"/>
                  </a:lnTo>
                  <a:close/>
                  <a:moveTo>
                    <a:pt x="4686" y="523"/>
                  </a:moveTo>
                  <a:lnTo>
                    <a:pt x="4688" y="528"/>
                  </a:lnTo>
                  <a:lnTo>
                    <a:pt x="4691" y="531"/>
                  </a:lnTo>
                  <a:lnTo>
                    <a:pt x="4694" y="533"/>
                  </a:lnTo>
                  <a:lnTo>
                    <a:pt x="4697" y="533"/>
                  </a:lnTo>
                  <a:lnTo>
                    <a:pt x="4703" y="536"/>
                  </a:lnTo>
                  <a:lnTo>
                    <a:pt x="4705" y="534"/>
                  </a:lnTo>
                  <a:lnTo>
                    <a:pt x="4704" y="526"/>
                  </a:lnTo>
                  <a:lnTo>
                    <a:pt x="4712" y="526"/>
                  </a:lnTo>
                  <a:lnTo>
                    <a:pt x="4711" y="520"/>
                  </a:lnTo>
                  <a:lnTo>
                    <a:pt x="4712" y="515"/>
                  </a:lnTo>
                  <a:lnTo>
                    <a:pt x="4714" y="512"/>
                  </a:lnTo>
                  <a:lnTo>
                    <a:pt x="4716" y="514"/>
                  </a:lnTo>
                  <a:lnTo>
                    <a:pt x="4718" y="518"/>
                  </a:lnTo>
                  <a:lnTo>
                    <a:pt x="4718" y="523"/>
                  </a:lnTo>
                  <a:lnTo>
                    <a:pt x="4718" y="533"/>
                  </a:lnTo>
                  <a:lnTo>
                    <a:pt x="4717" y="536"/>
                  </a:lnTo>
                  <a:lnTo>
                    <a:pt x="4716" y="540"/>
                  </a:lnTo>
                  <a:lnTo>
                    <a:pt x="4716" y="542"/>
                  </a:lnTo>
                  <a:lnTo>
                    <a:pt x="4718" y="543"/>
                  </a:lnTo>
                  <a:lnTo>
                    <a:pt x="4720" y="542"/>
                  </a:lnTo>
                  <a:lnTo>
                    <a:pt x="4723" y="540"/>
                  </a:lnTo>
                  <a:lnTo>
                    <a:pt x="4725" y="539"/>
                  </a:lnTo>
                  <a:lnTo>
                    <a:pt x="4727" y="538"/>
                  </a:lnTo>
                  <a:lnTo>
                    <a:pt x="4729" y="531"/>
                  </a:lnTo>
                  <a:lnTo>
                    <a:pt x="4732" y="530"/>
                  </a:lnTo>
                  <a:lnTo>
                    <a:pt x="4734" y="532"/>
                  </a:lnTo>
                  <a:lnTo>
                    <a:pt x="4737" y="535"/>
                  </a:lnTo>
                  <a:lnTo>
                    <a:pt x="4741" y="537"/>
                  </a:lnTo>
                  <a:lnTo>
                    <a:pt x="4745" y="536"/>
                  </a:lnTo>
                  <a:lnTo>
                    <a:pt x="4747" y="534"/>
                  </a:lnTo>
                  <a:lnTo>
                    <a:pt x="4748" y="532"/>
                  </a:lnTo>
                  <a:lnTo>
                    <a:pt x="4748" y="528"/>
                  </a:lnTo>
                  <a:lnTo>
                    <a:pt x="4748" y="520"/>
                  </a:lnTo>
                  <a:lnTo>
                    <a:pt x="4747" y="520"/>
                  </a:lnTo>
                  <a:lnTo>
                    <a:pt x="4745" y="512"/>
                  </a:lnTo>
                  <a:lnTo>
                    <a:pt x="4745" y="509"/>
                  </a:lnTo>
                  <a:lnTo>
                    <a:pt x="4745" y="507"/>
                  </a:lnTo>
                  <a:lnTo>
                    <a:pt x="4745" y="505"/>
                  </a:lnTo>
                  <a:lnTo>
                    <a:pt x="4746" y="497"/>
                  </a:lnTo>
                  <a:lnTo>
                    <a:pt x="4747" y="492"/>
                  </a:lnTo>
                  <a:lnTo>
                    <a:pt x="4751" y="483"/>
                  </a:lnTo>
                  <a:lnTo>
                    <a:pt x="4753" y="472"/>
                  </a:lnTo>
                  <a:lnTo>
                    <a:pt x="4753" y="465"/>
                  </a:lnTo>
                  <a:lnTo>
                    <a:pt x="4751" y="460"/>
                  </a:lnTo>
                  <a:lnTo>
                    <a:pt x="4746" y="456"/>
                  </a:lnTo>
                  <a:lnTo>
                    <a:pt x="4739" y="453"/>
                  </a:lnTo>
                  <a:lnTo>
                    <a:pt x="4716" y="453"/>
                  </a:lnTo>
                  <a:lnTo>
                    <a:pt x="4711" y="454"/>
                  </a:lnTo>
                  <a:lnTo>
                    <a:pt x="4710" y="456"/>
                  </a:lnTo>
                  <a:lnTo>
                    <a:pt x="4709" y="458"/>
                  </a:lnTo>
                  <a:lnTo>
                    <a:pt x="4709" y="462"/>
                  </a:lnTo>
                  <a:lnTo>
                    <a:pt x="4709" y="465"/>
                  </a:lnTo>
                  <a:lnTo>
                    <a:pt x="4709" y="466"/>
                  </a:lnTo>
                  <a:lnTo>
                    <a:pt x="4706" y="469"/>
                  </a:lnTo>
                  <a:lnTo>
                    <a:pt x="4696" y="472"/>
                  </a:lnTo>
                  <a:lnTo>
                    <a:pt x="4692" y="476"/>
                  </a:lnTo>
                  <a:lnTo>
                    <a:pt x="4688" y="483"/>
                  </a:lnTo>
                  <a:lnTo>
                    <a:pt x="4686" y="493"/>
                  </a:lnTo>
                  <a:lnTo>
                    <a:pt x="4685" y="506"/>
                  </a:lnTo>
                  <a:lnTo>
                    <a:pt x="4684" y="512"/>
                  </a:lnTo>
                  <a:lnTo>
                    <a:pt x="4684" y="516"/>
                  </a:lnTo>
                  <a:lnTo>
                    <a:pt x="4684" y="518"/>
                  </a:lnTo>
                  <a:lnTo>
                    <a:pt x="4686" y="523"/>
                  </a:lnTo>
                  <a:close/>
                  <a:moveTo>
                    <a:pt x="4469" y="498"/>
                  </a:moveTo>
                  <a:lnTo>
                    <a:pt x="4480" y="509"/>
                  </a:lnTo>
                  <a:lnTo>
                    <a:pt x="4486" y="512"/>
                  </a:lnTo>
                  <a:lnTo>
                    <a:pt x="4491" y="510"/>
                  </a:lnTo>
                  <a:lnTo>
                    <a:pt x="4499" y="500"/>
                  </a:lnTo>
                  <a:lnTo>
                    <a:pt x="4500" y="498"/>
                  </a:lnTo>
                  <a:lnTo>
                    <a:pt x="4499" y="496"/>
                  </a:lnTo>
                  <a:lnTo>
                    <a:pt x="4499" y="494"/>
                  </a:lnTo>
                  <a:lnTo>
                    <a:pt x="4499" y="491"/>
                  </a:lnTo>
                  <a:lnTo>
                    <a:pt x="4500" y="489"/>
                  </a:lnTo>
                  <a:lnTo>
                    <a:pt x="4503" y="482"/>
                  </a:lnTo>
                  <a:lnTo>
                    <a:pt x="4503" y="476"/>
                  </a:lnTo>
                  <a:lnTo>
                    <a:pt x="4503" y="473"/>
                  </a:lnTo>
                  <a:lnTo>
                    <a:pt x="4502" y="470"/>
                  </a:lnTo>
                  <a:lnTo>
                    <a:pt x="4500" y="464"/>
                  </a:lnTo>
                  <a:lnTo>
                    <a:pt x="4500" y="460"/>
                  </a:lnTo>
                  <a:lnTo>
                    <a:pt x="4500" y="454"/>
                  </a:lnTo>
                  <a:lnTo>
                    <a:pt x="4497" y="446"/>
                  </a:lnTo>
                  <a:lnTo>
                    <a:pt x="4496" y="444"/>
                  </a:lnTo>
                  <a:lnTo>
                    <a:pt x="4495" y="443"/>
                  </a:lnTo>
                  <a:lnTo>
                    <a:pt x="4494" y="444"/>
                  </a:lnTo>
                  <a:lnTo>
                    <a:pt x="4493" y="445"/>
                  </a:lnTo>
                  <a:lnTo>
                    <a:pt x="4492" y="444"/>
                  </a:lnTo>
                  <a:lnTo>
                    <a:pt x="4490" y="444"/>
                  </a:lnTo>
                  <a:lnTo>
                    <a:pt x="4489" y="447"/>
                  </a:lnTo>
                  <a:lnTo>
                    <a:pt x="4488" y="450"/>
                  </a:lnTo>
                  <a:lnTo>
                    <a:pt x="4488" y="452"/>
                  </a:lnTo>
                  <a:lnTo>
                    <a:pt x="4488" y="452"/>
                  </a:lnTo>
                  <a:lnTo>
                    <a:pt x="4487" y="452"/>
                  </a:lnTo>
                  <a:lnTo>
                    <a:pt x="4485" y="451"/>
                  </a:lnTo>
                  <a:lnTo>
                    <a:pt x="4480" y="451"/>
                  </a:lnTo>
                  <a:lnTo>
                    <a:pt x="4478" y="452"/>
                  </a:lnTo>
                  <a:lnTo>
                    <a:pt x="4478" y="454"/>
                  </a:lnTo>
                  <a:lnTo>
                    <a:pt x="4479" y="456"/>
                  </a:lnTo>
                  <a:lnTo>
                    <a:pt x="4481" y="458"/>
                  </a:lnTo>
                  <a:lnTo>
                    <a:pt x="4482" y="460"/>
                  </a:lnTo>
                  <a:lnTo>
                    <a:pt x="4481" y="462"/>
                  </a:lnTo>
                  <a:lnTo>
                    <a:pt x="4483" y="466"/>
                  </a:lnTo>
                  <a:lnTo>
                    <a:pt x="4485" y="469"/>
                  </a:lnTo>
                  <a:lnTo>
                    <a:pt x="4485" y="471"/>
                  </a:lnTo>
                  <a:lnTo>
                    <a:pt x="4482" y="473"/>
                  </a:lnTo>
                  <a:lnTo>
                    <a:pt x="4479" y="477"/>
                  </a:lnTo>
                  <a:lnTo>
                    <a:pt x="4479" y="490"/>
                  </a:lnTo>
                  <a:lnTo>
                    <a:pt x="4478" y="490"/>
                  </a:lnTo>
                  <a:lnTo>
                    <a:pt x="4476" y="486"/>
                  </a:lnTo>
                  <a:lnTo>
                    <a:pt x="4474" y="484"/>
                  </a:lnTo>
                  <a:lnTo>
                    <a:pt x="4471" y="484"/>
                  </a:lnTo>
                  <a:lnTo>
                    <a:pt x="4464" y="489"/>
                  </a:lnTo>
                  <a:lnTo>
                    <a:pt x="4463" y="492"/>
                  </a:lnTo>
                  <a:lnTo>
                    <a:pt x="4465" y="495"/>
                  </a:lnTo>
                  <a:lnTo>
                    <a:pt x="4469" y="498"/>
                  </a:lnTo>
                  <a:close/>
                  <a:moveTo>
                    <a:pt x="4564" y="461"/>
                  </a:moveTo>
                  <a:lnTo>
                    <a:pt x="4569" y="467"/>
                  </a:lnTo>
                  <a:lnTo>
                    <a:pt x="4571" y="471"/>
                  </a:lnTo>
                  <a:lnTo>
                    <a:pt x="4573" y="475"/>
                  </a:lnTo>
                  <a:lnTo>
                    <a:pt x="4575" y="479"/>
                  </a:lnTo>
                  <a:lnTo>
                    <a:pt x="4579" y="493"/>
                  </a:lnTo>
                  <a:lnTo>
                    <a:pt x="4580" y="496"/>
                  </a:lnTo>
                  <a:lnTo>
                    <a:pt x="4581" y="498"/>
                  </a:lnTo>
                  <a:lnTo>
                    <a:pt x="4582" y="500"/>
                  </a:lnTo>
                  <a:lnTo>
                    <a:pt x="4582" y="506"/>
                  </a:lnTo>
                  <a:lnTo>
                    <a:pt x="4582" y="520"/>
                  </a:lnTo>
                  <a:lnTo>
                    <a:pt x="4582" y="523"/>
                  </a:lnTo>
                  <a:lnTo>
                    <a:pt x="4587" y="532"/>
                  </a:lnTo>
                  <a:lnTo>
                    <a:pt x="4594" y="535"/>
                  </a:lnTo>
                  <a:lnTo>
                    <a:pt x="4619" y="535"/>
                  </a:lnTo>
                  <a:lnTo>
                    <a:pt x="4625" y="531"/>
                  </a:lnTo>
                  <a:lnTo>
                    <a:pt x="4627" y="528"/>
                  </a:lnTo>
                  <a:lnTo>
                    <a:pt x="4628" y="525"/>
                  </a:lnTo>
                  <a:lnTo>
                    <a:pt x="4626" y="520"/>
                  </a:lnTo>
                  <a:lnTo>
                    <a:pt x="4631" y="516"/>
                  </a:lnTo>
                  <a:lnTo>
                    <a:pt x="4647" y="511"/>
                  </a:lnTo>
                  <a:lnTo>
                    <a:pt x="4647" y="507"/>
                  </a:lnTo>
                  <a:lnTo>
                    <a:pt x="4640" y="507"/>
                  </a:lnTo>
                  <a:lnTo>
                    <a:pt x="4620" y="495"/>
                  </a:lnTo>
                  <a:lnTo>
                    <a:pt x="4615" y="491"/>
                  </a:lnTo>
                  <a:lnTo>
                    <a:pt x="4612" y="487"/>
                  </a:lnTo>
                  <a:lnTo>
                    <a:pt x="4611" y="481"/>
                  </a:lnTo>
                  <a:lnTo>
                    <a:pt x="4613" y="472"/>
                  </a:lnTo>
                  <a:lnTo>
                    <a:pt x="4605" y="463"/>
                  </a:lnTo>
                  <a:lnTo>
                    <a:pt x="4602" y="462"/>
                  </a:lnTo>
                  <a:lnTo>
                    <a:pt x="4601" y="465"/>
                  </a:lnTo>
                  <a:lnTo>
                    <a:pt x="4599" y="477"/>
                  </a:lnTo>
                  <a:lnTo>
                    <a:pt x="4598" y="482"/>
                  </a:lnTo>
                  <a:lnTo>
                    <a:pt x="4593" y="484"/>
                  </a:lnTo>
                  <a:lnTo>
                    <a:pt x="4591" y="476"/>
                  </a:lnTo>
                  <a:lnTo>
                    <a:pt x="4589" y="465"/>
                  </a:lnTo>
                  <a:lnTo>
                    <a:pt x="4586" y="460"/>
                  </a:lnTo>
                  <a:lnTo>
                    <a:pt x="4583" y="459"/>
                  </a:lnTo>
                  <a:lnTo>
                    <a:pt x="4580" y="456"/>
                  </a:lnTo>
                  <a:lnTo>
                    <a:pt x="4577" y="452"/>
                  </a:lnTo>
                  <a:lnTo>
                    <a:pt x="4575" y="447"/>
                  </a:lnTo>
                  <a:lnTo>
                    <a:pt x="4574" y="442"/>
                  </a:lnTo>
                  <a:lnTo>
                    <a:pt x="4574" y="435"/>
                  </a:lnTo>
                  <a:lnTo>
                    <a:pt x="4573" y="430"/>
                  </a:lnTo>
                  <a:lnTo>
                    <a:pt x="4571" y="428"/>
                  </a:lnTo>
                  <a:lnTo>
                    <a:pt x="4561" y="433"/>
                  </a:lnTo>
                  <a:lnTo>
                    <a:pt x="4557" y="438"/>
                  </a:lnTo>
                  <a:lnTo>
                    <a:pt x="4557" y="443"/>
                  </a:lnTo>
                  <a:lnTo>
                    <a:pt x="4557" y="447"/>
                  </a:lnTo>
                  <a:lnTo>
                    <a:pt x="4553" y="443"/>
                  </a:lnTo>
                  <a:lnTo>
                    <a:pt x="4551" y="443"/>
                  </a:lnTo>
                  <a:lnTo>
                    <a:pt x="4549" y="447"/>
                  </a:lnTo>
                  <a:lnTo>
                    <a:pt x="4552" y="455"/>
                  </a:lnTo>
                  <a:lnTo>
                    <a:pt x="4564" y="461"/>
                  </a:lnTo>
                  <a:close/>
                  <a:moveTo>
                    <a:pt x="4893" y="441"/>
                  </a:moveTo>
                  <a:lnTo>
                    <a:pt x="4894" y="442"/>
                  </a:lnTo>
                  <a:lnTo>
                    <a:pt x="4897" y="440"/>
                  </a:lnTo>
                  <a:lnTo>
                    <a:pt x="4900" y="435"/>
                  </a:lnTo>
                  <a:lnTo>
                    <a:pt x="4902" y="429"/>
                  </a:lnTo>
                  <a:lnTo>
                    <a:pt x="4907" y="412"/>
                  </a:lnTo>
                  <a:lnTo>
                    <a:pt x="4908" y="401"/>
                  </a:lnTo>
                  <a:lnTo>
                    <a:pt x="4907" y="396"/>
                  </a:lnTo>
                  <a:lnTo>
                    <a:pt x="4898" y="386"/>
                  </a:lnTo>
                  <a:lnTo>
                    <a:pt x="4897" y="384"/>
                  </a:lnTo>
                  <a:lnTo>
                    <a:pt x="4894" y="381"/>
                  </a:lnTo>
                  <a:lnTo>
                    <a:pt x="4893" y="382"/>
                  </a:lnTo>
                  <a:lnTo>
                    <a:pt x="4893" y="387"/>
                  </a:lnTo>
                  <a:lnTo>
                    <a:pt x="4892" y="389"/>
                  </a:lnTo>
                  <a:lnTo>
                    <a:pt x="4891" y="390"/>
                  </a:lnTo>
                  <a:lnTo>
                    <a:pt x="4890" y="390"/>
                  </a:lnTo>
                  <a:lnTo>
                    <a:pt x="4890" y="393"/>
                  </a:lnTo>
                  <a:lnTo>
                    <a:pt x="4890" y="397"/>
                  </a:lnTo>
                  <a:lnTo>
                    <a:pt x="4890" y="406"/>
                  </a:lnTo>
                  <a:lnTo>
                    <a:pt x="4889" y="420"/>
                  </a:lnTo>
                  <a:lnTo>
                    <a:pt x="4889" y="430"/>
                  </a:lnTo>
                  <a:lnTo>
                    <a:pt x="4890" y="437"/>
                  </a:lnTo>
                  <a:lnTo>
                    <a:pt x="4893" y="441"/>
                  </a:lnTo>
                  <a:close/>
                  <a:moveTo>
                    <a:pt x="5012" y="402"/>
                  </a:moveTo>
                  <a:lnTo>
                    <a:pt x="5010" y="397"/>
                  </a:lnTo>
                  <a:lnTo>
                    <a:pt x="5006" y="394"/>
                  </a:lnTo>
                  <a:lnTo>
                    <a:pt x="5003" y="396"/>
                  </a:lnTo>
                  <a:lnTo>
                    <a:pt x="5000" y="401"/>
                  </a:lnTo>
                  <a:lnTo>
                    <a:pt x="4999" y="408"/>
                  </a:lnTo>
                  <a:lnTo>
                    <a:pt x="5000" y="411"/>
                  </a:lnTo>
                  <a:lnTo>
                    <a:pt x="5011" y="427"/>
                  </a:lnTo>
                  <a:lnTo>
                    <a:pt x="5056" y="443"/>
                  </a:lnTo>
                  <a:lnTo>
                    <a:pt x="5099" y="447"/>
                  </a:lnTo>
                  <a:lnTo>
                    <a:pt x="5101" y="444"/>
                  </a:lnTo>
                  <a:lnTo>
                    <a:pt x="5101" y="439"/>
                  </a:lnTo>
                  <a:lnTo>
                    <a:pt x="5100" y="432"/>
                  </a:lnTo>
                  <a:lnTo>
                    <a:pt x="5097" y="426"/>
                  </a:lnTo>
                  <a:lnTo>
                    <a:pt x="5093" y="424"/>
                  </a:lnTo>
                  <a:lnTo>
                    <a:pt x="5089" y="423"/>
                  </a:lnTo>
                  <a:lnTo>
                    <a:pt x="5086" y="421"/>
                  </a:lnTo>
                  <a:lnTo>
                    <a:pt x="5087" y="417"/>
                  </a:lnTo>
                  <a:lnTo>
                    <a:pt x="5089" y="414"/>
                  </a:lnTo>
                  <a:lnTo>
                    <a:pt x="5090" y="412"/>
                  </a:lnTo>
                  <a:lnTo>
                    <a:pt x="5092" y="411"/>
                  </a:lnTo>
                  <a:lnTo>
                    <a:pt x="5071" y="407"/>
                  </a:lnTo>
                  <a:lnTo>
                    <a:pt x="5068" y="403"/>
                  </a:lnTo>
                  <a:lnTo>
                    <a:pt x="5066" y="392"/>
                  </a:lnTo>
                  <a:lnTo>
                    <a:pt x="5064" y="382"/>
                  </a:lnTo>
                  <a:lnTo>
                    <a:pt x="5060" y="378"/>
                  </a:lnTo>
                  <a:lnTo>
                    <a:pt x="5056" y="382"/>
                  </a:lnTo>
                  <a:lnTo>
                    <a:pt x="5057" y="392"/>
                  </a:lnTo>
                  <a:lnTo>
                    <a:pt x="5055" y="402"/>
                  </a:lnTo>
                  <a:lnTo>
                    <a:pt x="5053" y="406"/>
                  </a:lnTo>
                  <a:lnTo>
                    <a:pt x="5050" y="398"/>
                  </a:lnTo>
                  <a:lnTo>
                    <a:pt x="5050" y="394"/>
                  </a:lnTo>
                  <a:lnTo>
                    <a:pt x="5050" y="383"/>
                  </a:lnTo>
                  <a:lnTo>
                    <a:pt x="5049" y="379"/>
                  </a:lnTo>
                  <a:lnTo>
                    <a:pt x="5047" y="376"/>
                  </a:lnTo>
                  <a:lnTo>
                    <a:pt x="5045" y="378"/>
                  </a:lnTo>
                  <a:lnTo>
                    <a:pt x="5043" y="382"/>
                  </a:lnTo>
                  <a:lnTo>
                    <a:pt x="5043" y="389"/>
                  </a:lnTo>
                  <a:lnTo>
                    <a:pt x="5041" y="389"/>
                  </a:lnTo>
                  <a:lnTo>
                    <a:pt x="5040" y="383"/>
                  </a:lnTo>
                  <a:lnTo>
                    <a:pt x="5038" y="382"/>
                  </a:lnTo>
                  <a:lnTo>
                    <a:pt x="5036" y="385"/>
                  </a:lnTo>
                  <a:lnTo>
                    <a:pt x="5035" y="392"/>
                  </a:lnTo>
                  <a:lnTo>
                    <a:pt x="5031" y="384"/>
                  </a:lnTo>
                  <a:lnTo>
                    <a:pt x="5024" y="393"/>
                  </a:lnTo>
                  <a:lnTo>
                    <a:pt x="5017" y="383"/>
                  </a:lnTo>
                  <a:lnTo>
                    <a:pt x="5015" y="385"/>
                  </a:lnTo>
                  <a:lnTo>
                    <a:pt x="5014" y="391"/>
                  </a:lnTo>
                  <a:lnTo>
                    <a:pt x="5014" y="398"/>
                  </a:lnTo>
                  <a:lnTo>
                    <a:pt x="5015" y="401"/>
                  </a:lnTo>
                  <a:lnTo>
                    <a:pt x="5020" y="411"/>
                  </a:lnTo>
                  <a:lnTo>
                    <a:pt x="5014" y="405"/>
                  </a:lnTo>
                  <a:lnTo>
                    <a:pt x="5012" y="402"/>
                  </a:lnTo>
                  <a:close/>
                  <a:moveTo>
                    <a:pt x="5161" y="272"/>
                  </a:moveTo>
                  <a:lnTo>
                    <a:pt x="5162" y="274"/>
                  </a:lnTo>
                  <a:lnTo>
                    <a:pt x="5171" y="278"/>
                  </a:lnTo>
                  <a:lnTo>
                    <a:pt x="5170" y="280"/>
                  </a:lnTo>
                  <a:lnTo>
                    <a:pt x="5168" y="286"/>
                  </a:lnTo>
                  <a:lnTo>
                    <a:pt x="5168" y="288"/>
                  </a:lnTo>
                  <a:lnTo>
                    <a:pt x="5176" y="295"/>
                  </a:lnTo>
                  <a:lnTo>
                    <a:pt x="5180" y="300"/>
                  </a:lnTo>
                  <a:lnTo>
                    <a:pt x="5184" y="307"/>
                  </a:lnTo>
                  <a:lnTo>
                    <a:pt x="5178" y="307"/>
                  </a:lnTo>
                  <a:lnTo>
                    <a:pt x="5164" y="299"/>
                  </a:lnTo>
                  <a:lnTo>
                    <a:pt x="5160" y="307"/>
                  </a:lnTo>
                  <a:lnTo>
                    <a:pt x="5161" y="308"/>
                  </a:lnTo>
                  <a:lnTo>
                    <a:pt x="5163" y="314"/>
                  </a:lnTo>
                  <a:lnTo>
                    <a:pt x="5160" y="313"/>
                  </a:lnTo>
                  <a:lnTo>
                    <a:pt x="5154" y="306"/>
                  </a:lnTo>
                  <a:lnTo>
                    <a:pt x="5151" y="304"/>
                  </a:lnTo>
                  <a:lnTo>
                    <a:pt x="5147" y="305"/>
                  </a:lnTo>
                  <a:lnTo>
                    <a:pt x="5146" y="308"/>
                  </a:lnTo>
                  <a:lnTo>
                    <a:pt x="5147" y="312"/>
                  </a:lnTo>
                  <a:lnTo>
                    <a:pt x="5150" y="314"/>
                  </a:lnTo>
                  <a:lnTo>
                    <a:pt x="5148" y="320"/>
                  </a:lnTo>
                  <a:lnTo>
                    <a:pt x="5145" y="336"/>
                  </a:lnTo>
                  <a:lnTo>
                    <a:pt x="5143" y="340"/>
                  </a:lnTo>
                  <a:lnTo>
                    <a:pt x="5140" y="338"/>
                  </a:lnTo>
                  <a:lnTo>
                    <a:pt x="5140" y="332"/>
                  </a:lnTo>
                  <a:lnTo>
                    <a:pt x="5141" y="325"/>
                  </a:lnTo>
                  <a:lnTo>
                    <a:pt x="5142" y="319"/>
                  </a:lnTo>
                  <a:lnTo>
                    <a:pt x="5140" y="311"/>
                  </a:lnTo>
                  <a:lnTo>
                    <a:pt x="5137" y="307"/>
                  </a:lnTo>
                  <a:lnTo>
                    <a:pt x="5133" y="305"/>
                  </a:lnTo>
                  <a:lnTo>
                    <a:pt x="5130" y="304"/>
                  </a:lnTo>
                  <a:lnTo>
                    <a:pt x="5126" y="306"/>
                  </a:lnTo>
                  <a:lnTo>
                    <a:pt x="5127" y="310"/>
                  </a:lnTo>
                  <a:lnTo>
                    <a:pt x="5130" y="315"/>
                  </a:lnTo>
                  <a:lnTo>
                    <a:pt x="5134" y="317"/>
                  </a:lnTo>
                  <a:lnTo>
                    <a:pt x="5134" y="320"/>
                  </a:lnTo>
                  <a:lnTo>
                    <a:pt x="5130" y="322"/>
                  </a:lnTo>
                  <a:lnTo>
                    <a:pt x="5126" y="327"/>
                  </a:lnTo>
                  <a:lnTo>
                    <a:pt x="5123" y="329"/>
                  </a:lnTo>
                  <a:lnTo>
                    <a:pt x="5121" y="322"/>
                  </a:lnTo>
                  <a:lnTo>
                    <a:pt x="5118" y="319"/>
                  </a:lnTo>
                  <a:lnTo>
                    <a:pt x="5101" y="330"/>
                  </a:lnTo>
                  <a:lnTo>
                    <a:pt x="5100" y="332"/>
                  </a:lnTo>
                  <a:lnTo>
                    <a:pt x="5099" y="338"/>
                  </a:lnTo>
                  <a:lnTo>
                    <a:pt x="5098" y="340"/>
                  </a:lnTo>
                  <a:lnTo>
                    <a:pt x="5097" y="340"/>
                  </a:lnTo>
                  <a:lnTo>
                    <a:pt x="5094" y="339"/>
                  </a:lnTo>
                  <a:lnTo>
                    <a:pt x="5093" y="340"/>
                  </a:lnTo>
                  <a:lnTo>
                    <a:pt x="5092" y="343"/>
                  </a:lnTo>
                  <a:lnTo>
                    <a:pt x="5092" y="345"/>
                  </a:lnTo>
                  <a:lnTo>
                    <a:pt x="5091" y="346"/>
                  </a:lnTo>
                  <a:lnTo>
                    <a:pt x="5089" y="346"/>
                  </a:lnTo>
                  <a:lnTo>
                    <a:pt x="5089" y="347"/>
                  </a:lnTo>
                  <a:lnTo>
                    <a:pt x="5086" y="349"/>
                  </a:lnTo>
                  <a:lnTo>
                    <a:pt x="5082" y="352"/>
                  </a:lnTo>
                  <a:lnTo>
                    <a:pt x="5082" y="354"/>
                  </a:lnTo>
                  <a:lnTo>
                    <a:pt x="5084" y="359"/>
                  </a:lnTo>
                  <a:lnTo>
                    <a:pt x="5086" y="361"/>
                  </a:lnTo>
                  <a:lnTo>
                    <a:pt x="5093" y="366"/>
                  </a:lnTo>
                  <a:lnTo>
                    <a:pt x="5089" y="373"/>
                  </a:lnTo>
                  <a:lnTo>
                    <a:pt x="5080" y="369"/>
                  </a:lnTo>
                  <a:lnTo>
                    <a:pt x="5075" y="372"/>
                  </a:lnTo>
                  <a:lnTo>
                    <a:pt x="5078" y="375"/>
                  </a:lnTo>
                  <a:lnTo>
                    <a:pt x="5089" y="393"/>
                  </a:lnTo>
                  <a:lnTo>
                    <a:pt x="5090" y="395"/>
                  </a:lnTo>
                  <a:lnTo>
                    <a:pt x="5093" y="396"/>
                  </a:lnTo>
                  <a:lnTo>
                    <a:pt x="5095" y="395"/>
                  </a:lnTo>
                  <a:lnTo>
                    <a:pt x="5098" y="396"/>
                  </a:lnTo>
                  <a:lnTo>
                    <a:pt x="5100" y="400"/>
                  </a:lnTo>
                  <a:lnTo>
                    <a:pt x="5105" y="404"/>
                  </a:lnTo>
                  <a:lnTo>
                    <a:pt x="5110" y="395"/>
                  </a:lnTo>
                  <a:lnTo>
                    <a:pt x="5120" y="369"/>
                  </a:lnTo>
                  <a:lnTo>
                    <a:pt x="5120" y="375"/>
                  </a:lnTo>
                  <a:lnTo>
                    <a:pt x="5120" y="383"/>
                  </a:lnTo>
                  <a:lnTo>
                    <a:pt x="5119" y="390"/>
                  </a:lnTo>
                  <a:lnTo>
                    <a:pt x="5117" y="395"/>
                  </a:lnTo>
                  <a:lnTo>
                    <a:pt x="5112" y="410"/>
                  </a:lnTo>
                  <a:lnTo>
                    <a:pt x="5112" y="422"/>
                  </a:lnTo>
                  <a:lnTo>
                    <a:pt x="5115" y="431"/>
                  </a:lnTo>
                  <a:lnTo>
                    <a:pt x="5123" y="434"/>
                  </a:lnTo>
                  <a:lnTo>
                    <a:pt x="5133" y="431"/>
                  </a:lnTo>
                  <a:lnTo>
                    <a:pt x="5159" y="414"/>
                  </a:lnTo>
                  <a:lnTo>
                    <a:pt x="5156" y="411"/>
                  </a:lnTo>
                  <a:lnTo>
                    <a:pt x="5152" y="408"/>
                  </a:lnTo>
                  <a:lnTo>
                    <a:pt x="5148" y="408"/>
                  </a:lnTo>
                  <a:lnTo>
                    <a:pt x="5145" y="408"/>
                  </a:lnTo>
                  <a:lnTo>
                    <a:pt x="5149" y="403"/>
                  </a:lnTo>
                  <a:lnTo>
                    <a:pt x="5163" y="398"/>
                  </a:lnTo>
                  <a:lnTo>
                    <a:pt x="5192" y="369"/>
                  </a:lnTo>
                  <a:lnTo>
                    <a:pt x="5199" y="358"/>
                  </a:lnTo>
                  <a:lnTo>
                    <a:pt x="5204" y="343"/>
                  </a:lnTo>
                  <a:lnTo>
                    <a:pt x="5202" y="341"/>
                  </a:lnTo>
                  <a:lnTo>
                    <a:pt x="5199" y="336"/>
                  </a:lnTo>
                  <a:lnTo>
                    <a:pt x="5198" y="333"/>
                  </a:lnTo>
                  <a:lnTo>
                    <a:pt x="5199" y="332"/>
                  </a:lnTo>
                  <a:lnTo>
                    <a:pt x="5202" y="328"/>
                  </a:lnTo>
                  <a:lnTo>
                    <a:pt x="5202" y="327"/>
                  </a:lnTo>
                  <a:lnTo>
                    <a:pt x="5199" y="324"/>
                  </a:lnTo>
                  <a:lnTo>
                    <a:pt x="5196" y="323"/>
                  </a:lnTo>
                  <a:lnTo>
                    <a:pt x="5192" y="321"/>
                  </a:lnTo>
                  <a:lnTo>
                    <a:pt x="5191" y="314"/>
                  </a:lnTo>
                  <a:lnTo>
                    <a:pt x="5191" y="308"/>
                  </a:lnTo>
                  <a:lnTo>
                    <a:pt x="5192" y="303"/>
                  </a:lnTo>
                  <a:lnTo>
                    <a:pt x="5193" y="297"/>
                  </a:lnTo>
                  <a:lnTo>
                    <a:pt x="5194" y="291"/>
                  </a:lnTo>
                  <a:lnTo>
                    <a:pt x="5189" y="282"/>
                  </a:lnTo>
                  <a:lnTo>
                    <a:pt x="5187" y="278"/>
                  </a:lnTo>
                  <a:lnTo>
                    <a:pt x="5190" y="275"/>
                  </a:lnTo>
                  <a:lnTo>
                    <a:pt x="5187" y="272"/>
                  </a:lnTo>
                  <a:lnTo>
                    <a:pt x="5181" y="276"/>
                  </a:lnTo>
                  <a:lnTo>
                    <a:pt x="5178" y="273"/>
                  </a:lnTo>
                  <a:lnTo>
                    <a:pt x="5175" y="269"/>
                  </a:lnTo>
                  <a:lnTo>
                    <a:pt x="5172" y="269"/>
                  </a:lnTo>
                  <a:lnTo>
                    <a:pt x="5161" y="272"/>
                  </a:lnTo>
                  <a:close/>
                  <a:moveTo>
                    <a:pt x="5208" y="248"/>
                  </a:moveTo>
                  <a:lnTo>
                    <a:pt x="5207" y="253"/>
                  </a:lnTo>
                  <a:lnTo>
                    <a:pt x="5206" y="255"/>
                  </a:lnTo>
                  <a:lnTo>
                    <a:pt x="5202" y="258"/>
                  </a:lnTo>
                  <a:lnTo>
                    <a:pt x="5206" y="263"/>
                  </a:lnTo>
                  <a:lnTo>
                    <a:pt x="5207" y="269"/>
                  </a:lnTo>
                  <a:lnTo>
                    <a:pt x="5204" y="275"/>
                  </a:lnTo>
                  <a:lnTo>
                    <a:pt x="5200" y="281"/>
                  </a:lnTo>
                  <a:lnTo>
                    <a:pt x="5207" y="281"/>
                  </a:lnTo>
                  <a:lnTo>
                    <a:pt x="5208" y="283"/>
                  </a:lnTo>
                  <a:lnTo>
                    <a:pt x="5209" y="287"/>
                  </a:lnTo>
                  <a:lnTo>
                    <a:pt x="5209" y="291"/>
                  </a:lnTo>
                  <a:lnTo>
                    <a:pt x="5209" y="294"/>
                  </a:lnTo>
                  <a:lnTo>
                    <a:pt x="5211" y="301"/>
                  </a:lnTo>
                  <a:lnTo>
                    <a:pt x="5216" y="311"/>
                  </a:lnTo>
                  <a:lnTo>
                    <a:pt x="5218" y="317"/>
                  </a:lnTo>
                  <a:lnTo>
                    <a:pt x="5226" y="322"/>
                  </a:lnTo>
                  <a:lnTo>
                    <a:pt x="5236" y="323"/>
                  </a:lnTo>
                  <a:lnTo>
                    <a:pt x="5246" y="317"/>
                  </a:lnTo>
                  <a:lnTo>
                    <a:pt x="5259" y="296"/>
                  </a:lnTo>
                  <a:lnTo>
                    <a:pt x="5273" y="286"/>
                  </a:lnTo>
                  <a:lnTo>
                    <a:pt x="5278" y="271"/>
                  </a:lnTo>
                  <a:lnTo>
                    <a:pt x="5270" y="264"/>
                  </a:lnTo>
                  <a:lnTo>
                    <a:pt x="5268" y="259"/>
                  </a:lnTo>
                  <a:lnTo>
                    <a:pt x="5268" y="252"/>
                  </a:lnTo>
                  <a:lnTo>
                    <a:pt x="5267" y="247"/>
                  </a:lnTo>
                  <a:lnTo>
                    <a:pt x="5265" y="244"/>
                  </a:lnTo>
                  <a:lnTo>
                    <a:pt x="5264" y="241"/>
                  </a:lnTo>
                  <a:lnTo>
                    <a:pt x="5262" y="238"/>
                  </a:lnTo>
                  <a:lnTo>
                    <a:pt x="5254" y="230"/>
                  </a:lnTo>
                  <a:lnTo>
                    <a:pt x="5251" y="228"/>
                  </a:lnTo>
                  <a:lnTo>
                    <a:pt x="5236" y="228"/>
                  </a:lnTo>
                  <a:lnTo>
                    <a:pt x="5234" y="229"/>
                  </a:lnTo>
                  <a:lnTo>
                    <a:pt x="5232" y="231"/>
                  </a:lnTo>
                  <a:lnTo>
                    <a:pt x="5231" y="231"/>
                  </a:lnTo>
                  <a:lnTo>
                    <a:pt x="5228" y="228"/>
                  </a:lnTo>
                  <a:lnTo>
                    <a:pt x="5230" y="228"/>
                  </a:lnTo>
                  <a:lnTo>
                    <a:pt x="5231" y="227"/>
                  </a:lnTo>
                  <a:lnTo>
                    <a:pt x="5232" y="225"/>
                  </a:lnTo>
                  <a:lnTo>
                    <a:pt x="5233" y="222"/>
                  </a:lnTo>
                  <a:lnTo>
                    <a:pt x="5231" y="221"/>
                  </a:lnTo>
                  <a:lnTo>
                    <a:pt x="5230" y="218"/>
                  </a:lnTo>
                  <a:lnTo>
                    <a:pt x="5230" y="215"/>
                  </a:lnTo>
                  <a:lnTo>
                    <a:pt x="5232" y="212"/>
                  </a:lnTo>
                  <a:lnTo>
                    <a:pt x="5228" y="208"/>
                  </a:lnTo>
                  <a:lnTo>
                    <a:pt x="5211" y="210"/>
                  </a:lnTo>
                  <a:lnTo>
                    <a:pt x="5209" y="212"/>
                  </a:lnTo>
                  <a:lnTo>
                    <a:pt x="5206" y="222"/>
                  </a:lnTo>
                  <a:lnTo>
                    <a:pt x="5202" y="228"/>
                  </a:lnTo>
                  <a:lnTo>
                    <a:pt x="5200" y="232"/>
                  </a:lnTo>
                  <a:lnTo>
                    <a:pt x="5199" y="237"/>
                  </a:lnTo>
                  <a:lnTo>
                    <a:pt x="5201" y="240"/>
                  </a:lnTo>
                  <a:lnTo>
                    <a:pt x="5208" y="248"/>
                  </a:lnTo>
                  <a:close/>
                  <a:moveTo>
                    <a:pt x="4941" y="265"/>
                  </a:moveTo>
                  <a:lnTo>
                    <a:pt x="4951" y="265"/>
                  </a:lnTo>
                  <a:lnTo>
                    <a:pt x="4949" y="269"/>
                  </a:lnTo>
                  <a:lnTo>
                    <a:pt x="4944" y="275"/>
                  </a:lnTo>
                  <a:lnTo>
                    <a:pt x="4942" y="281"/>
                  </a:lnTo>
                  <a:lnTo>
                    <a:pt x="4946" y="284"/>
                  </a:lnTo>
                  <a:lnTo>
                    <a:pt x="4951" y="284"/>
                  </a:lnTo>
                  <a:lnTo>
                    <a:pt x="4952" y="283"/>
                  </a:lnTo>
                  <a:lnTo>
                    <a:pt x="4954" y="279"/>
                  </a:lnTo>
                  <a:lnTo>
                    <a:pt x="4956" y="278"/>
                  </a:lnTo>
                  <a:lnTo>
                    <a:pt x="4993" y="275"/>
                  </a:lnTo>
                  <a:lnTo>
                    <a:pt x="4989" y="280"/>
                  </a:lnTo>
                  <a:lnTo>
                    <a:pt x="4977" y="291"/>
                  </a:lnTo>
                  <a:lnTo>
                    <a:pt x="4981" y="294"/>
                  </a:lnTo>
                  <a:lnTo>
                    <a:pt x="4982" y="294"/>
                  </a:lnTo>
                  <a:lnTo>
                    <a:pt x="4979" y="301"/>
                  </a:lnTo>
                  <a:lnTo>
                    <a:pt x="4972" y="307"/>
                  </a:lnTo>
                  <a:lnTo>
                    <a:pt x="4969" y="312"/>
                  </a:lnTo>
                  <a:lnTo>
                    <a:pt x="4965" y="323"/>
                  </a:lnTo>
                  <a:lnTo>
                    <a:pt x="4964" y="329"/>
                  </a:lnTo>
                  <a:lnTo>
                    <a:pt x="4962" y="337"/>
                  </a:lnTo>
                  <a:lnTo>
                    <a:pt x="4964" y="342"/>
                  </a:lnTo>
                  <a:lnTo>
                    <a:pt x="4969" y="341"/>
                  </a:lnTo>
                  <a:lnTo>
                    <a:pt x="4975" y="338"/>
                  </a:lnTo>
                  <a:lnTo>
                    <a:pt x="4978" y="333"/>
                  </a:lnTo>
                  <a:lnTo>
                    <a:pt x="4982" y="315"/>
                  </a:lnTo>
                  <a:lnTo>
                    <a:pt x="4985" y="309"/>
                  </a:lnTo>
                  <a:lnTo>
                    <a:pt x="4989" y="314"/>
                  </a:lnTo>
                  <a:lnTo>
                    <a:pt x="4986" y="322"/>
                  </a:lnTo>
                  <a:lnTo>
                    <a:pt x="4989" y="327"/>
                  </a:lnTo>
                  <a:lnTo>
                    <a:pt x="4994" y="329"/>
                  </a:lnTo>
                  <a:lnTo>
                    <a:pt x="4999" y="327"/>
                  </a:lnTo>
                  <a:lnTo>
                    <a:pt x="5003" y="322"/>
                  </a:lnTo>
                  <a:lnTo>
                    <a:pt x="5004" y="321"/>
                  </a:lnTo>
                  <a:lnTo>
                    <a:pt x="5007" y="323"/>
                  </a:lnTo>
                  <a:lnTo>
                    <a:pt x="5008" y="325"/>
                  </a:lnTo>
                  <a:lnTo>
                    <a:pt x="5011" y="330"/>
                  </a:lnTo>
                  <a:lnTo>
                    <a:pt x="5014" y="331"/>
                  </a:lnTo>
                  <a:lnTo>
                    <a:pt x="5016" y="325"/>
                  </a:lnTo>
                  <a:lnTo>
                    <a:pt x="5017" y="313"/>
                  </a:lnTo>
                  <a:lnTo>
                    <a:pt x="5022" y="315"/>
                  </a:lnTo>
                  <a:lnTo>
                    <a:pt x="5030" y="327"/>
                  </a:lnTo>
                  <a:lnTo>
                    <a:pt x="5031" y="326"/>
                  </a:lnTo>
                  <a:lnTo>
                    <a:pt x="5032" y="324"/>
                  </a:lnTo>
                  <a:lnTo>
                    <a:pt x="5033" y="321"/>
                  </a:lnTo>
                  <a:lnTo>
                    <a:pt x="5033" y="315"/>
                  </a:lnTo>
                  <a:lnTo>
                    <a:pt x="5034" y="315"/>
                  </a:lnTo>
                  <a:lnTo>
                    <a:pt x="5036" y="316"/>
                  </a:lnTo>
                  <a:lnTo>
                    <a:pt x="5036" y="317"/>
                  </a:lnTo>
                  <a:lnTo>
                    <a:pt x="5038" y="317"/>
                  </a:lnTo>
                  <a:lnTo>
                    <a:pt x="5040" y="316"/>
                  </a:lnTo>
                  <a:lnTo>
                    <a:pt x="5041" y="313"/>
                  </a:lnTo>
                  <a:lnTo>
                    <a:pt x="5039" y="307"/>
                  </a:lnTo>
                  <a:lnTo>
                    <a:pt x="5041" y="304"/>
                  </a:lnTo>
                  <a:lnTo>
                    <a:pt x="5042" y="298"/>
                  </a:lnTo>
                  <a:lnTo>
                    <a:pt x="5049" y="298"/>
                  </a:lnTo>
                  <a:lnTo>
                    <a:pt x="5063" y="304"/>
                  </a:lnTo>
                  <a:lnTo>
                    <a:pt x="5061" y="310"/>
                  </a:lnTo>
                  <a:lnTo>
                    <a:pt x="5061" y="314"/>
                  </a:lnTo>
                  <a:lnTo>
                    <a:pt x="5062" y="316"/>
                  </a:lnTo>
                  <a:lnTo>
                    <a:pt x="5065" y="317"/>
                  </a:lnTo>
                  <a:lnTo>
                    <a:pt x="5067" y="315"/>
                  </a:lnTo>
                  <a:lnTo>
                    <a:pt x="5070" y="306"/>
                  </a:lnTo>
                  <a:lnTo>
                    <a:pt x="5072" y="304"/>
                  </a:lnTo>
                  <a:lnTo>
                    <a:pt x="5074" y="305"/>
                  </a:lnTo>
                  <a:lnTo>
                    <a:pt x="5078" y="310"/>
                  </a:lnTo>
                  <a:lnTo>
                    <a:pt x="5081" y="311"/>
                  </a:lnTo>
                  <a:lnTo>
                    <a:pt x="5083" y="310"/>
                  </a:lnTo>
                  <a:lnTo>
                    <a:pt x="5085" y="308"/>
                  </a:lnTo>
                  <a:lnTo>
                    <a:pt x="5087" y="305"/>
                  </a:lnTo>
                  <a:lnTo>
                    <a:pt x="5088" y="301"/>
                  </a:lnTo>
                  <a:lnTo>
                    <a:pt x="5080" y="294"/>
                  </a:lnTo>
                  <a:lnTo>
                    <a:pt x="5080" y="291"/>
                  </a:lnTo>
                  <a:lnTo>
                    <a:pt x="5084" y="291"/>
                  </a:lnTo>
                  <a:lnTo>
                    <a:pt x="5091" y="297"/>
                  </a:lnTo>
                  <a:lnTo>
                    <a:pt x="5095" y="297"/>
                  </a:lnTo>
                  <a:lnTo>
                    <a:pt x="5098" y="294"/>
                  </a:lnTo>
                  <a:lnTo>
                    <a:pt x="5100" y="288"/>
                  </a:lnTo>
                  <a:lnTo>
                    <a:pt x="5099" y="283"/>
                  </a:lnTo>
                  <a:lnTo>
                    <a:pt x="5096" y="281"/>
                  </a:lnTo>
                  <a:lnTo>
                    <a:pt x="5101" y="279"/>
                  </a:lnTo>
                  <a:lnTo>
                    <a:pt x="5107" y="285"/>
                  </a:lnTo>
                  <a:lnTo>
                    <a:pt x="5113" y="287"/>
                  </a:lnTo>
                  <a:lnTo>
                    <a:pt x="5117" y="275"/>
                  </a:lnTo>
                  <a:lnTo>
                    <a:pt x="5108" y="268"/>
                  </a:lnTo>
                  <a:lnTo>
                    <a:pt x="5111" y="267"/>
                  </a:lnTo>
                  <a:lnTo>
                    <a:pt x="5118" y="269"/>
                  </a:lnTo>
                  <a:lnTo>
                    <a:pt x="5121" y="268"/>
                  </a:lnTo>
                  <a:lnTo>
                    <a:pt x="5123" y="265"/>
                  </a:lnTo>
                  <a:lnTo>
                    <a:pt x="5125" y="257"/>
                  </a:lnTo>
                  <a:lnTo>
                    <a:pt x="5128" y="255"/>
                  </a:lnTo>
                  <a:lnTo>
                    <a:pt x="5123" y="254"/>
                  </a:lnTo>
                  <a:lnTo>
                    <a:pt x="5121" y="252"/>
                  </a:lnTo>
                  <a:lnTo>
                    <a:pt x="5120" y="248"/>
                  </a:lnTo>
                  <a:lnTo>
                    <a:pt x="5121" y="247"/>
                  </a:lnTo>
                  <a:lnTo>
                    <a:pt x="5122" y="246"/>
                  </a:lnTo>
                  <a:lnTo>
                    <a:pt x="5123" y="243"/>
                  </a:lnTo>
                  <a:lnTo>
                    <a:pt x="5124" y="236"/>
                  </a:lnTo>
                  <a:lnTo>
                    <a:pt x="5125" y="236"/>
                  </a:lnTo>
                  <a:lnTo>
                    <a:pt x="5128" y="238"/>
                  </a:lnTo>
                  <a:lnTo>
                    <a:pt x="5142" y="242"/>
                  </a:lnTo>
                  <a:lnTo>
                    <a:pt x="5141" y="241"/>
                  </a:lnTo>
                  <a:lnTo>
                    <a:pt x="5138" y="235"/>
                  </a:lnTo>
                  <a:lnTo>
                    <a:pt x="5143" y="232"/>
                  </a:lnTo>
                  <a:lnTo>
                    <a:pt x="5146" y="228"/>
                  </a:lnTo>
                  <a:lnTo>
                    <a:pt x="5147" y="228"/>
                  </a:lnTo>
                  <a:lnTo>
                    <a:pt x="5148" y="229"/>
                  </a:lnTo>
                  <a:lnTo>
                    <a:pt x="5149" y="228"/>
                  </a:lnTo>
                  <a:lnTo>
                    <a:pt x="5150" y="224"/>
                  </a:lnTo>
                  <a:lnTo>
                    <a:pt x="5150" y="213"/>
                  </a:lnTo>
                  <a:lnTo>
                    <a:pt x="5151" y="209"/>
                  </a:lnTo>
                  <a:lnTo>
                    <a:pt x="5154" y="208"/>
                  </a:lnTo>
                  <a:lnTo>
                    <a:pt x="5160" y="212"/>
                  </a:lnTo>
                  <a:lnTo>
                    <a:pt x="5162" y="212"/>
                  </a:lnTo>
                  <a:lnTo>
                    <a:pt x="5163" y="210"/>
                  </a:lnTo>
                  <a:lnTo>
                    <a:pt x="5164" y="204"/>
                  </a:lnTo>
                  <a:lnTo>
                    <a:pt x="5164" y="202"/>
                  </a:lnTo>
                  <a:lnTo>
                    <a:pt x="5166" y="201"/>
                  </a:lnTo>
                  <a:lnTo>
                    <a:pt x="5169" y="200"/>
                  </a:lnTo>
                  <a:lnTo>
                    <a:pt x="5171" y="199"/>
                  </a:lnTo>
                  <a:lnTo>
                    <a:pt x="5165" y="198"/>
                  </a:lnTo>
                  <a:lnTo>
                    <a:pt x="5163" y="196"/>
                  </a:lnTo>
                  <a:lnTo>
                    <a:pt x="5160" y="192"/>
                  </a:lnTo>
                  <a:lnTo>
                    <a:pt x="5164" y="189"/>
                  </a:lnTo>
                  <a:lnTo>
                    <a:pt x="5172" y="189"/>
                  </a:lnTo>
                  <a:lnTo>
                    <a:pt x="5175" y="185"/>
                  </a:lnTo>
                  <a:lnTo>
                    <a:pt x="5173" y="184"/>
                  </a:lnTo>
                  <a:lnTo>
                    <a:pt x="5171" y="183"/>
                  </a:lnTo>
                  <a:lnTo>
                    <a:pt x="5169" y="179"/>
                  </a:lnTo>
                  <a:lnTo>
                    <a:pt x="5169" y="171"/>
                  </a:lnTo>
                  <a:lnTo>
                    <a:pt x="5168" y="171"/>
                  </a:lnTo>
                  <a:lnTo>
                    <a:pt x="5161" y="164"/>
                  </a:lnTo>
                  <a:lnTo>
                    <a:pt x="5160" y="161"/>
                  </a:lnTo>
                  <a:lnTo>
                    <a:pt x="5158" y="156"/>
                  </a:lnTo>
                  <a:lnTo>
                    <a:pt x="5155" y="154"/>
                  </a:lnTo>
                  <a:lnTo>
                    <a:pt x="5153" y="153"/>
                  </a:lnTo>
                  <a:lnTo>
                    <a:pt x="5150" y="153"/>
                  </a:lnTo>
                  <a:lnTo>
                    <a:pt x="5148" y="155"/>
                  </a:lnTo>
                  <a:lnTo>
                    <a:pt x="5148" y="160"/>
                  </a:lnTo>
                  <a:lnTo>
                    <a:pt x="5150" y="166"/>
                  </a:lnTo>
                  <a:lnTo>
                    <a:pt x="5150" y="171"/>
                  </a:lnTo>
                  <a:lnTo>
                    <a:pt x="5149" y="176"/>
                  </a:lnTo>
                  <a:lnTo>
                    <a:pt x="5153" y="186"/>
                  </a:lnTo>
                  <a:lnTo>
                    <a:pt x="5153" y="192"/>
                  </a:lnTo>
                  <a:lnTo>
                    <a:pt x="5151" y="195"/>
                  </a:lnTo>
                  <a:lnTo>
                    <a:pt x="5144" y="196"/>
                  </a:lnTo>
                  <a:lnTo>
                    <a:pt x="5142" y="196"/>
                  </a:lnTo>
                  <a:lnTo>
                    <a:pt x="5137" y="191"/>
                  </a:lnTo>
                  <a:lnTo>
                    <a:pt x="5128" y="177"/>
                  </a:lnTo>
                  <a:lnTo>
                    <a:pt x="5124" y="173"/>
                  </a:lnTo>
                  <a:lnTo>
                    <a:pt x="5124" y="176"/>
                  </a:lnTo>
                  <a:lnTo>
                    <a:pt x="5127" y="180"/>
                  </a:lnTo>
                  <a:lnTo>
                    <a:pt x="5128" y="184"/>
                  </a:lnTo>
                  <a:lnTo>
                    <a:pt x="5127" y="187"/>
                  </a:lnTo>
                  <a:lnTo>
                    <a:pt x="5124" y="189"/>
                  </a:lnTo>
                  <a:lnTo>
                    <a:pt x="5120" y="187"/>
                  </a:lnTo>
                  <a:lnTo>
                    <a:pt x="5113" y="178"/>
                  </a:lnTo>
                  <a:lnTo>
                    <a:pt x="5109" y="179"/>
                  </a:lnTo>
                  <a:lnTo>
                    <a:pt x="5110" y="182"/>
                  </a:lnTo>
                  <a:lnTo>
                    <a:pt x="5111" y="184"/>
                  </a:lnTo>
                  <a:lnTo>
                    <a:pt x="5113" y="185"/>
                  </a:lnTo>
                  <a:lnTo>
                    <a:pt x="5114" y="185"/>
                  </a:lnTo>
                  <a:lnTo>
                    <a:pt x="5106" y="186"/>
                  </a:lnTo>
                  <a:lnTo>
                    <a:pt x="5103" y="189"/>
                  </a:lnTo>
                  <a:lnTo>
                    <a:pt x="5107" y="198"/>
                  </a:lnTo>
                  <a:lnTo>
                    <a:pt x="5110" y="200"/>
                  </a:lnTo>
                  <a:lnTo>
                    <a:pt x="5119" y="205"/>
                  </a:lnTo>
                  <a:lnTo>
                    <a:pt x="5119" y="207"/>
                  </a:lnTo>
                  <a:lnTo>
                    <a:pt x="5119" y="209"/>
                  </a:lnTo>
                  <a:lnTo>
                    <a:pt x="5120" y="211"/>
                  </a:lnTo>
                  <a:lnTo>
                    <a:pt x="5121" y="212"/>
                  </a:lnTo>
                  <a:lnTo>
                    <a:pt x="5124" y="212"/>
                  </a:lnTo>
                  <a:lnTo>
                    <a:pt x="5126" y="213"/>
                  </a:lnTo>
                  <a:lnTo>
                    <a:pt x="5128" y="216"/>
                  </a:lnTo>
                  <a:lnTo>
                    <a:pt x="5125" y="218"/>
                  </a:lnTo>
                  <a:lnTo>
                    <a:pt x="5114" y="216"/>
                  </a:lnTo>
                  <a:lnTo>
                    <a:pt x="5113" y="218"/>
                  </a:lnTo>
                  <a:lnTo>
                    <a:pt x="5114" y="222"/>
                  </a:lnTo>
                  <a:lnTo>
                    <a:pt x="5116" y="226"/>
                  </a:lnTo>
                  <a:lnTo>
                    <a:pt x="5118" y="228"/>
                  </a:lnTo>
                  <a:lnTo>
                    <a:pt x="5114" y="228"/>
                  </a:lnTo>
                  <a:lnTo>
                    <a:pt x="5106" y="222"/>
                  </a:lnTo>
                  <a:lnTo>
                    <a:pt x="5103" y="222"/>
                  </a:lnTo>
                  <a:lnTo>
                    <a:pt x="5104" y="232"/>
                  </a:lnTo>
                  <a:lnTo>
                    <a:pt x="5102" y="237"/>
                  </a:lnTo>
                  <a:lnTo>
                    <a:pt x="5098" y="239"/>
                  </a:lnTo>
                  <a:lnTo>
                    <a:pt x="5095" y="242"/>
                  </a:lnTo>
                  <a:lnTo>
                    <a:pt x="5097" y="248"/>
                  </a:lnTo>
                  <a:lnTo>
                    <a:pt x="5094" y="252"/>
                  </a:lnTo>
                  <a:lnTo>
                    <a:pt x="5089" y="247"/>
                  </a:lnTo>
                  <a:lnTo>
                    <a:pt x="5085" y="240"/>
                  </a:lnTo>
                  <a:lnTo>
                    <a:pt x="5082" y="235"/>
                  </a:lnTo>
                  <a:lnTo>
                    <a:pt x="5086" y="229"/>
                  </a:lnTo>
                  <a:lnTo>
                    <a:pt x="5088" y="225"/>
                  </a:lnTo>
                  <a:lnTo>
                    <a:pt x="5086" y="221"/>
                  </a:lnTo>
                  <a:lnTo>
                    <a:pt x="5084" y="220"/>
                  </a:lnTo>
                  <a:lnTo>
                    <a:pt x="5078" y="222"/>
                  </a:lnTo>
                  <a:lnTo>
                    <a:pt x="5075" y="222"/>
                  </a:lnTo>
                  <a:lnTo>
                    <a:pt x="5075" y="218"/>
                  </a:lnTo>
                  <a:lnTo>
                    <a:pt x="5077" y="218"/>
                  </a:lnTo>
                  <a:lnTo>
                    <a:pt x="5075" y="213"/>
                  </a:lnTo>
                  <a:lnTo>
                    <a:pt x="5069" y="212"/>
                  </a:lnTo>
                  <a:lnTo>
                    <a:pt x="5065" y="209"/>
                  </a:lnTo>
                  <a:lnTo>
                    <a:pt x="5066" y="207"/>
                  </a:lnTo>
                  <a:lnTo>
                    <a:pt x="5068" y="202"/>
                  </a:lnTo>
                  <a:lnTo>
                    <a:pt x="5060" y="208"/>
                  </a:lnTo>
                  <a:lnTo>
                    <a:pt x="5055" y="210"/>
                  </a:lnTo>
                  <a:lnTo>
                    <a:pt x="5054" y="212"/>
                  </a:lnTo>
                  <a:lnTo>
                    <a:pt x="5055" y="215"/>
                  </a:lnTo>
                  <a:lnTo>
                    <a:pt x="5056" y="218"/>
                  </a:lnTo>
                  <a:lnTo>
                    <a:pt x="5059" y="226"/>
                  </a:lnTo>
                  <a:lnTo>
                    <a:pt x="5063" y="231"/>
                  </a:lnTo>
                  <a:lnTo>
                    <a:pt x="5065" y="236"/>
                  </a:lnTo>
                  <a:lnTo>
                    <a:pt x="5064" y="245"/>
                  </a:lnTo>
                  <a:lnTo>
                    <a:pt x="5068" y="251"/>
                  </a:lnTo>
                  <a:lnTo>
                    <a:pt x="5071" y="258"/>
                  </a:lnTo>
                  <a:lnTo>
                    <a:pt x="5063" y="257"/>
                  </a:lnTo>
                  <a:lnTo>
                    <a:pt x="5059" y="258"/>
                  </a:lnTo>
                  <a:lnTo>
                    <a:pt x="5057" y="263"/>
                  </a:lnTo>
                  <a:lnTo>
                    <a:pt x="5056" y="269"/>
                  </a:lnTo>
                  <a:lnTo>
                    <a:pt x="5056" y="276"/>
                  </a:lnTo>
                  <a:lnTo>
                    <a:pt x="5055" y="279"/>
                  </a:lnTo>
                  <a:lnTo>
                    <a:pt x="5053" y="276"/>
                  </a:lnTo>
                  <a:lnTo>
                    <a:pt x="5052" y="270"/>
                  </a:lnTo>
                  <a:lnTo>
                    <a:pt x="5052" y="263"/>
                  </a:lnTo>
                  <a:lnTo>
                    <a:pt x="5051" y="256"/>
                  </a:lnTo>
                  <a:lnTo>
                    <a:pt x="5049" y="252"/>
                  </a:lnTo>
                  <a:lnTo>
                    <a:pt x="5046" y="253"/>
                  </a:lnTo>
                  <a:lnTo>
                    <a:pt x="5043" y="259"/>
                  </a:lnTo>
                  <a:lnTo>
                    <a:pt x="5040" y="264"/>
                  </a:lnTo>
                  <a:lnTo>
                    <a:pt x="5036" y="262"/>
                  </a:lnTo>
                  <a:lnTo>
                    <a:pt x="5034" y="256"/>
                  </a:lnTo>
                  <a:lnTo>
                    <a:pt x="5036" y="252"/>
                  </a:lnTo>
                  <a:lnTo>
                    <a:pt x="5041" y="247"/>
                  </a:lnTo>
                  <a:lnTo>
                    <a:pt x="5044" y="242"/>
                  </a:lnTo>
                  <a:lnTo>
                    <a:pt x="5043" y="239"/>
                  </a:lnTo>
                  <a:lnTo>
                    <a:pt x="5030" y="227"/>
                  </a:lnTo>
                  <a:lnTo>
                    <a:pt x="5026" y="225"/>
                  </a:lnTo>
                  <a:lnTo>
                    <a:pt x="5022" y="226"/>
                  </a:lnTo>
                  <a:lnTo>
                    <a:pt x="5019" y="229"/>
                  </a:lnTo>
                  <a:lnTo>
                    <a:pt x="5018" y="233"/>
                  </a:lnTo>
                  <a:lnTo>
                    <a:pt x="5019" y="238"/>
                  </a:lnTo>
                  <a:lnTo>
                    <a:pt x="5021" y="242"/>
                  </a:lnTo>
                  <a:lnTo>
                    <a:pt x="5018" y="245"/>
                  </a:lnTo>
                  <a:lnTo>
                    <a:pt x="5014" y="244"/>
                  </a:lnTo>
                  <a:lnTo>
                    <a:pt x="5011" y="241"/>
                  </a:lnTo>
                  <a:lnTo>
                    <a:pt x="5008" y="237"/>
                  </a:lnTo>
                  <a:lnTo>
                    <a:pt x="5006" y="232"/>
                  </a:lnTo>
                  <a:lnTo>
                    <a:pt x="5006" y="229"/>
                  </a:lnTo>
                  <a:lnTo>
                    <a:pt x="5004" y="228"/>
                  </a:lnTo>
                  <a:lnTo>
                    <a:pt x="5001" y="228"/>
                  </a:lnTo>
                  <a:lnTo>
                    <a:pt x="4999" y="234"/>
                  </a:lnTo>
                  <a:lnTo>
                    <a:pt x="5001" y="246"/>
                  </a:lnTo>
                  <a:lnTo>
                    <a:pt x="5004" y="258"/>
                  </a:lnTo>
                  <a:lnTo>
                    <a:pt x="5006" y="265"/>
                  </a:lnTo>
                  <a:lnTo>
                    <a:pt x="5006" y="268"/>
                  </a:lnTo>
                  <a:lnTo>
                    <a:pt x="4991" y="252"/>
                  </a:lnTo>
                  <a:lnTo>
                    <a:pt x="4982" y="245"/>
                  </a:lnTo>
                  <a:lnTo>
                    <a:pt x="4976" y="245"/>
                  </a:lnTo>
                  <a:lnTo>
                    <a:pt x="4978" y="248"/>
                  </a:lnTo>
                  <a:lnTo>
                    <a:pt x="4980" y="252"/>
                  </a:lnTo>
                  <a:lnTo>
                    <a:pt x="4979" y="257"/>
                  </a:lnTo>
                  <a:lnTo>
                    <a:pt x="4978" y="262"/>
                  </a:lnTo>
                  <a:lnTo>
                    <a:pt x="4975" y="266"/>
                  </a:lnTo>
                  <a:lnTo>
                    <a:pt x="4971" y="266"/>
                  </a:lnTo>
                  <a:lnTo>
                    <a:pt x="4947" y="252"/>
                  </a:lnTo>
                  <a:lnTo>
                    <a:pt x="4938" y="251"/>
                  </a:lnTo>
                  <a:lnTo>
                    <a:pt x="4932" y="258"/>
                  </a:lnTo>
                  <a:lnTo>
                    <a:pt x="4936" y="263"/>
                  </a:lnTo>
                  <a:lnTo>
                    <a:pt x="4941" y="265"/>
                  </a:lnTo>
                  <a:close/>
                  <a:moveTo>
                    <a:pt x="5248" y="99"/>
                  </a:moveTo>
                  <a:lnTo>
                    <a:pt x="5258" y="96"/>
                  </a:lnTo>
                  <a:lnTo>
                    <a:pt x="5263" y="100"/>
                  </a:lnTo>
                  <a:lnTo>
                    <a:pt x="5259" y="104"/>
                  </a:lnTo>
                  <a:lnTo>
                    <a:pt x="5248" y="105"/>
                  </a:lnTo>
                  <a:lnTo>
                    <a:pt x="5243" y="110"/>
                  </a:lnTo>
                  <a:lnTo>
                    <a:pt x="5255" y="116"/>
                  </a:lnTo>
                  <a:lnTo>
                    <a:pt x="5257" y="121"/>
                  </a:lnTo>
                  <a:lnTo>
                    <a:pt x="5258" y="125"/>
                  </a:lnTo>
                  <a:lnTo>
                    <a:pt x="5261" y="128"/>
                  </a:lnTo>
                  <a:lnTo>
                    <a:pt x="5264" y="130"/>
                  </a:lnTo>
                  <a:lnTo>
                    <a:pt x="5270" y="130"/>
                  </a:lnTo>
                  <a:lnTo>
                    <a:pt x="5271" y="126"/>
                  </a:lnTo>
                  <a:lnTo>
                    <a:pt x="5273" y="122"/>
                  </a:lnTo>
                  <a:lnTo>
                    <a:pt x="5274" y="119"/>
                  </a:lnTo>
                  <a:lnTo>
                    <a:pt x="5277" y="120"/>
                  </a:lnTo>
                  <a:lnTo>
                    <a:pt x="5280" y="122"/>
                  </a:lnTo>
                  <a:lnTo>
                    <a:pt x="5283" y="123"/>
                  </a:lnTo>
                  <a:lnTo>
                    <a:pt x="5285" y="119"/>
                  </a:lnTo>
                  <a:lnTo>
                    <a:pt x="5284" y="116"/>
                  </a:lnTo>
                  <a:lnTo>
                    <a:pt x="5286" y="117"/>
                  </a:lnTo>
                  <a:lnTo>
                    <a:pt x="5289" y="116"/>
                  </a:lnTo>
                  <a:lnTo>
                    <a:pt x="5291" y="114"/>
                  </a:lnTo>
                  <a:lnTo>
                    <a:pt x="5291" y="110"/>
                  </a:lnTo>
                  <a:lnTo>
                    <a:pt x="5296" y="110"/>
                  </a:lnTo>
                  <a:lnTo>
                    <a:pt x="5290" y="104"/>
                  </a:lnTo>
                  <a:lnTo>
                    <a:pt x="5269" y="106"/>
                  </a:lnTo>
                  <a:lnTo>
                    <a:pt x="5271" y="103"/>
                  </a:lnTo>
                  <a:lnTo>
                    <a:pt x="5270" y="101"/>
                  </a:lnTo>
                  <a:lnTo>
                    <a:pt x="5270" y="99"/>
                  </a:lnTo>
                  <a:lnTo>
                    <a:pt x="5270" y="98"/>
                  </a:lnTo>
                  <a:lnTo>
                    <a:pt x="5269" y="96"/>
                  </a:lnTo>
                  <a:lnTo>
                    <a:pt x="5274" y="91"/>
                  </a:lnTo>
                  <a:lnTo>
                    <a:pt x="5287" y="93"/>
                  </a:lnTo>
                  <a:lnTo>
                    <a:pt x="5293" y="90"/>
                  </a:lnTo>
                  <a:lnTo>
                    <a:pt x="5287" y="86"/>
                  </a:lnTo>
                  <a:lnTo>
                    <a:pt x="5275" y="87"/>
                  </a:lnTo>
                  <a:lnTo>
                    <a:pt x="5269" y="82"/>
                  </a:lnTo>
                  <a:lnTo>
                    <a:pt x="5270" y="81"/>
                  </a:lnTo>
                  <a:lnTo>
                    <a:pt x="5271" y="76"/>
                  </a:lnTo>
                  <a:lnTo>
                    <a:pt x="5251" y="74"/>
                  </a:lnTo>
                  <a:lnTo>
                    <a:pt x="5245" y="80"/>
                  </a:lnTo>
                  <a:lnTo>
                    <a:pt x="5246" y="81"/>
                  </a:lnTo>
                  <a:lnTo>
                    <a:pt x="5248" y="82"/>
                  </a:lnTo>
                  <a:lnTo>
                    <a:pt x="5249" y="86"/>
                  </a:lnTo>
                  <a:lnTo>
                    <a:pt x="5241" y="87"/>
                  </a:lnTo>
                  <a:lnTo>
                    <a:pt x="5239" y="90"/>
                  </a:lnTo>
                  <a:lnTo>
                    <a:pt x="5243" y="96"/>
                  </a:lnTo>
                  <a:lnTo>
                    <a:pt x="5248" y="99"/>
                  </a:lnTo>
                  <a:close/>
                  <a:moveTo>
                    <a:pt x="5364" y="67"/>
                  </a:moveTo>
                  <a:lnTo>
                    <a:pt x="5366" y="69"/>
                  </a:lnTo>
                  <a:lnTo>
                    <a:pt x="5369" y="73"/>
                  </a:lnTo>
                  <a:lnTo>
                    <a:pt x="5372" y="75"/>
                  </a:lnTo>
                  <a:lnTo>
                    <a:pt x="5377" y="76"/>
                  </a:lnTo>
                  <a:lnTo>
                    <a:pt x="5379" y="75"/>
                  </a:lnTo>
                  <a:lnTo>
                    <a:pt x="5383" y="65"/>
                  </a:lnTo>
                  <a:lnTo>
                    <a:pt x="5383" y="62"/>
                  </a:lnTo>
                  <a:lnTo>
                    <a:pt x="5381" y="59"/>
                  </a:lnTo>
                  <a:lnTo>
                    <a:pt x="5382" y="55"/>
                  </a:lnTo>
                  <a:lnTo>
                    <a:pt x="5387" y="52"/>
                  </a:lnTo>
                  <a:lnTo>
                    <a:pt x="5388" y="50"/>
                  </a:lnTo>
                  <a:lnTo>
                    <a:pt x="5386" y="49"/>
                  </a:lnTo>
                  <a:lnTo>
                    <a:pt x="5387" y="46"/>
                  </a:lnTo>
                  <a:lnTo>
                    <a:pt x="5390" y="42"/>
                  </a:lnTo>
                  <a:lnTo>
                    <a:pt x="5390" y="39"/>
                  </a:lnTo>
                  <a:lnTo>
                    <a:pt x="5387" y="40"/>
                  </a:lnTo>
                  <a:lnTo>
                    <a:pt x="5385" y="40"/>
                  </a:lnTo>
                  <a:lnTo>
                    <a:pt x="5382" y="42"/>
                  </a:lnTo>
                  <a:lnTo>
                    <a:pt x="5381" y="42"/>
                  </a:lnTo>
                  <a:lnTo>
                    <a:pt x="5380" y="41"/>
                  </a:lnTo>
                  <a:lnTo>
                    <a:pt x="5379" y="39"/>
                  </a:lnTo>
                  <a:lnTo>
                    <a:pt x="5378" y="37"/>
                  </a:lnTo>
                  <a:lnTo>
                    <a:pt x="5375" y="35"/>
                  </a:lnTo>
                  <a:lnTo>
                    <a:pt x="5370" y="35"/>
                  </a:lnTo>
                  <a:lnTo>
                    <a:pt x="5370" y="40"/>
                  </a:lnTo>
                  <a:lnTo>
                    <a:pt x="5373" y="47"/>
                  </a:lnTo>
                  <a:lnTo>
                    <a:pt x="5374" y="52"/>
                  </a:lnTo>
                  <a:lnTo>
                    <a:pt x="5373" y="54"/>
                  </a:lnTo>
                  <a:lnTo>
                    <a:pt x="5372" y="55"/>
                  </a:lnTo>
                  <a:lnTo>
                    <a:pt x="5369" y="54"/>
                  </a:lnTo>
                  <a:lnTo>
                    <a:pt x="5369" y="52"/>
                  </a:lnTo>
                  <a:lnTo>
                    <a:pt x="5369" y="50"/>
                  </a:lnTo>
                  <a:lnTo>
                    <a:pt x="5367" y="46"/>
                  </a:lnTo>
                  <a:lnTo>
                    <a:pt x="5364" y="45"/>
                  </a:lnTo>
                  <a:lnTo>
                    <a:pt x="5360" y="47"/>
                  </a:lnTo>
                  <a:lnTo>
                    <a:pt x="5355" y="54"/>
                  </a:lnTo>
                  <a:lnTo>
                    <a:pt x="5355" y="60"/>
                  </a:lnTo>
                  <a:lnTo>
                    <a:pt x="5358" y="64"/>
                  </a:lnTo>
                  <a:lnTo>
                    <a:pt x="5364" y="67"/>
                  </a:lnTo>
                  <a:close/>
                  <a:moveTo>
                    <a:pt x="6379" y="423"/>
                  </a:moveTo>
                  <a:lnTo>
                    <a:pt x="6376" y="419"/>
                  </a:lnTo>
                  <a:lnTo>
                    <a:pt x="6374" y="416"/>
                  </a:lnTo>
                  <a:lnTo>
                    <a:pt x="6372" y="411"/>
                  </a:lnTo>
                  <a:lnTo>
                    <a:pt x="6371" y="404"/>
                  </a:lnTo>
                  <a:lnTo>
                    <a:pt x="6373" y="400"/>
                  </a:lnTo>
                  <a:lnTo>
                    <a:pt x="6376" y="397"/>
                  </a:lnTo>
                  <a:lnTo>
                    <a:pt x="6378" y="392"/>
                  </a:lnTo>
                  <a:lnTo>
                    <a:pt x="6369" y="372"/>
                  </a:lnTo>
                  <a:lnTo>
                    <a:pt x="6366" y="369"/>
                  </a:lnTo>
                  <a:lnTo>
                    <a:pt x="6364" y="366"/>
                  </a:lnTo>
                  <a:lnTo>
                    <a:pt x="6360" y="352"/>
                  </a:lnTo>
                  <a:lnTo>
                    <a:pt x="6357" y="349"/>
                  </a:lnTo>
                  <a:lnTo>
                    <a:pt x="6342" y="361"/>
                  </a:lnTo>
                  <a:lnTo>
                    <a:pt x="6340" y="364"/>
                  </a:lnTo>
                  <a:lnTo>
                    <a:pt x="6339" y="369"/>
                  </a:lnTo>
                  <a:lnTo>
                    <a:pt x="6335" y="366"/>
                  </a:lnTo>
                  <a:lnTo>
                    <a:pt x="6327" y="356"/>
                  </a:lnTo>
                  <a:lnTo>
                    <a:pt x="6326" y="344"/>
                  </a:lnTo>
                  <a:lnTo>
                    <a:pt x="6299" y="320"/>
                  </a:lnTo>
                  <a:lnTo>
                    <a:pt x="6305" y="314"/>
                  </a:lnTo>
                  <a:lnTo>
                    <a:pt x="6302" y="308"/>
                  </a:lnTo>
                  <a:lnTo>
                    <a:pt x="6289" y="301"/>
                  </a:lnTo>
                  <a:lnTo>
                    <a:pt x="6282" y="299"/>
                  </a:lnTo>
                  <a:lnTo>
                    <a:pt x="6235" y="317"/>
                  </a:lnTo>
                  <a:lnTo>
                    <a:pt x="6210" y="311"/>
                  </a:lnTo>
                  <a:lnTo>
                    <a:pt x="6210" y="307"/>
                  </a:lnTo>
                  <a:lnTo>
                    <a:pt x="6216" y="307"/>
                  </a:lnTo>
                  <a:lnTo>
                    <a:pt x="6229" y="313"/>
                  </a:lnTo>
                  <a:lnTo>
                    <a:pt x="6236" y="314"/>
                  </a:lnTo>
                  <a:lnTo>
                    <a:pt x="6235" y="309"/>
                  </a:lnTo>
                  <a:lnTo>
                    <a:pt x="6233" y="307"/>
                  </a:lnTo>
                  <a:lnTo>
                    <a:pt x="6232" y="306"/>
                  </a:lnTo>
                  <a:lnTo>
                    <a:pt x="6229" y="307"/>
                  </a:lnTo>
                  <a:lnTo>
                    <a:pt x="6229" y="304"/>
                  </a:lnTo>
                  <a:lnTo>
                    <a:pt x="6234" y="301"/>
                  </a:lnTo>
                  <a:lnTo>
                    <a:pt x="6252" y="295"/>
                  </a:lnTo>
                  <a:lnTo>
                    <a:pt x="6262" y="288"/>
                  </a:lnTo>
                  <a:lnTo>
                    <a:pt x="6265" y="283"/>
                  </a:lnTo>
                  <a:lnTo>
                    <a:pt x="6263" y="278"/>
                  </a:lnTo>
                  <a:lnTo>
                    <a:pt x="6248" y="265"/>
                  </a:lnTo>
                  <a:lnTo>
                    <a:pt x="6230" y="262"/>
                  </a:lnTo>
                  <a:lnTo>
                    <a:pt x="6225" y="258"/>
                  </a:lnTo>
                  <a:lnTo>
                    <a:pt x="6234" y="254"/>
                  </a:lnTo>
                  <a:lnTo>
                    <a:pt x="6239" y="250"/>
                  </a:lnTo>
                  <a:lnTo>
                    <a:pt x="6243" y="242"/>
                  </a:lnTo>
                  <a:lnTo>
                    <a:pt x="6226" y="228"/>
                  </a:lnTo>
                  <a:lnTo>
                    <a:pt x="6221" y="226"/>
                  </a:lnTo>
                  <a:lnTo>
                    <a:pt x="6208" y="227"/>
                  </a:lnTo>
                  <a:lnTo>
                    <a:pt x="6203" y="231"/>
                  </a:lnTo>
                  <a:lnTo>
                    <a:pt x="6189" y="250"/>
                  </a:lnTo>
                  <a:lnTo>
                    <a:pt x="6187" y="254"/>
                  </a:lnTo>
                  <a:lnTo>
                    <a:pt x="6186" y="258"/>
                  </a:lnTo>
                  <a:lnTo>
                    <a:pt x="6184" y="262"/>
                  </a:lnTo>
                  <a:lnTo>
                    <a:pt x="6182" y="265"/>
                  </a:lnTo>
                  <a:lnTo>
                    <a:pt x="6159" y="271"/>
                  </a:lnTo>
                  <a:lnTo>
                    <a:pt x="6162" y="262"/>
                  </a:lnTo>
                  <a:lnTo>
                    <a:pt x="6172" y="250"/>
                  </a:lnTo>
                  <a:lnTo>
                    <a:pt x="6175" y="238"/>
                  </a:lnTo>
                  <a:lnTo>
                    <a:pt x="6174" y="220"/>
                  </a:lnTo>
                  <a:lnTo>
                    <a:pt x="6169" y="213"/>
                  </a:lnTo>
                  <a:lnTo>
                    <a:pt x="6162" y="212"/>
                  </a:lnTo>
                  <a:lnTo>
                    <a:pt x="6133" y="230"/>
                  </a:lnTo>
                  <a:lnTo>
                    <a:pt x="6113" y="234"/>
                  </a:lnTo>
                  <a:lnTo>
                    <a:pt x="6110" y="238"/>
                  </a:lnTo>
                  <a:lnTo>
                    <a:pt x="6103" y="252"/>
                  </a:lnTo>
                  <a:lnTo>
                    <a:pt x="6100" y="256"/>
                  </a:lnTo>
                  <a:lnTo>
                    <a:pt x="6096" y="252"/>
                  </a:lnTo>
                  <a:lnTo>
                    <a:pt x="6098" y="245"/>
                  </a:lnTo>
                  <a:lnTo>
                    <a:pt x="6096" y="244"/>
                  </a:lnTo>
                  <a:lnTo>
                    <a:pt x="6096" y="243"/>
                  </a:lnTo>
                  <a:lnTo>
                    <a:pt x="6096" y="242"/>
                  </a:lnTo>
                  <a:lnTo>
                    <a:pt x="6099" y="239"/>
                  </a:lnTo>
                  <a:lnTo>
                    <a:pt x="6103" y="238"/>
                  </a:lnTo>
                  <a:lnTo>
                    <a:pt x="6107" y="235"/>
                  </a:lnTo>
                  <a:lnTo>
                    <a:pt x="6109" y="228"/>
                  </a:lnTo>
                  <a:lnTo>
                    <a:pt x="6106" y="229"/>
                  </a:lnTo>
                  <a:lnTo>
                    <a:pt x="6105" y="229"/>
                  </a:lnTo>
                  <a:lnTo>
                    <a:pt x="6103" y="227"/>
                  </a:lnTo>
                  <a:lnTo>
                    <a:pt x="6102" y="222"/>
                  </a:lnTo>
                  <a:lnTo>
                    <a:pt x="6110" y="222"/>
                  </a:lnTo>
                  <a:lnTo>
                    <a:pt x="6114" y="219"/>
                  </a:lnTo>
                  <a:lnTo>
                    <a:pt x="6117" y="216"/>
                  </a:lnTo>
                  <a:lnTo>
                    <a:pt x="6102" y="216"/>
                  </a:lnTo>
                  <a:lnTo>
                    <a:pt x="6098" y="212"/>
                  </a:lnTo>
                  <a:lnTo>
                    <a:pt x="6111" y="200"/>
                  </a:lnTo>
                  <a:lnTo>
                    <a:pt x="6115" y="192"/>
                  </a:lnTo>
                  <a:lnTo>
                    <a:pt x="6111" y="188"/>
                  </a:lnTo>
                  <a:lnTo>
                    <a:pt x="6099" y="185"/>
                  </a:lnTo>
                  <a:lnTo>
                    <a:pt x="6096" y="182"/>
                  </a:lnTo>
                  <a:lnTo>
                    <a:pt x="6094" y="180"/>
                  </a:lnTo>
                  <a:lnTo>
                    <a:pt x="6093" y="178"/>
                  </a:lnTo>
                  <a:lnTo>
                    <a:pt x="6092" y="175"/>
                  </a:lnTo>
                  <a:lnTo>
                    <a:pt x="6093" y="168"/>
                  </a:lnTo>
                  <a:lnTo>
                    <a:pt x="6092" y="166"/>
                  </a:lnTo>
                  <a:lnTo>
                    <a:pt x="6086" y="158"/>
                  </a:lnTo>
                  <a:lnTo>
                    <a:pt x="6061" y="156"/>
                  </a:lnTo>
                  <a:lnTo>
                    <a:pt x="6061" y="153"/>
                  </a:lnTo>
                  <a:lnTo>
                    <a:pt x="6067" y="152"/>
                  </a:lnTo>
                  <a:lnTo>
                    <a:pt x="6067" y="149"/>
                  </a:lnTo>
                  <a:lnTo>
                    <a:pt x="6064" y="146"/>
                  </a:lnTo>
                  <a:lnTo>
                    <a:pt x="6060" y="144"/>
                  </a:lnTo>
                  <a:lnTo>
                    <a:pt x="6018" y="149"/>
                  </a:lnTo>
                  <a:lnTo>
                    <a:pt x="6013" y="154"/>
                  </a:lnTo>
                  <a:lnTo>
                    <a:pt x="6007" y="161"/>
                  </a:lnTo>
                  <a:lnTo>
                    <a:pt x="6002" y="170"/>
                  </a:lnTo>
                  <a:lnTo>
                    <a:pt x="5994" y="190"/>
                  </a:lnTo>
                  <a:lnTo>
                    <a:pt x="5980" y="209"/>
                  </a:lnTo>
                  <a:lnTo>
                    <a:pt x="5976" y="223"/>
                  </a:lnTo>
                  <a:lnTo>
                    <a:pt x="5978" y="229"/>
                  </a:lnTo>
                  <a:lnTo>
                    <a:pt x="5984" y="232"/>
                  </a:lnTo>
                  <a:lnTo>
                    <a:pt x="5989" y="238"/>
                  </a:lnTo>
                  <a:lnTo>
                    <a:pt x="5991" y="243"/>
                  </a:lnTo>
                  <a:lnTo>
                    <a:pt x="5989" y="246"/>
                  </a:lnTo>
                  <a:lnTo>
                    <a:pt x="5984" y="245"/>
                  </a:lnTo>
                  <a:lnTo>
                    <a:pt x="5977" y="242"/>
                  </a:lnTo>
                  <a:lnTo>
                    <a:pt x="5974" y="243"/>
                  </a:lnTo>
                  <a:lnTo>
                    <a:pt x="5972" y="248"/>
                  </a:lnTo>
                  <a:lnTo>
                    <a:pt x="5970" y="253"/>
                  </a:lnTo>
                  <a:lnTo>
                    <a:pt x="5969" y="264"/>
                  </a:lnTo>
                  <a:lnTo>
                    <a:pt x="5968" y="268"/>
                  </a:lnTo>
                  <a:lnTo>
                    <a:pt x="5956" y="301"/>
                  </a:lnTo>
                  <a:lnTo>
                    <a:pt x="5955" y="306"/>
                  </a:lnTo>
                  <a:lnTo>
                    <a:pt x="5957" y="307"/>
                  </a:lnTo>
                  <a:lnTo>
                    <a:pt x="5965" y="320"/>
                  </a:lnTo>
                  <a:lnTo>
                    <a:pt x="5969" y="323"/>
                  </a:lnTo>
                  <a:lnTo>
                    <a:pt x="5980" y="323"/>
                  </a:lnTo>
                  <a:lnTo>
                    <a:pt x="5980" y="327"/>
                  </a:lnTo>
                  <a:lnTo>
                    <a:pt x="5976" y="330"/>
                  </a:lnTo>
                  <a:lnTo>
                    <a:pt x="5973" y="332"/>
                  </a:lnTo>
                  <a:lnTo>
                    <a:pt x="5972" y="337"/>
                  </a:lnTo>
                  <a:lnTo>
                    <a:pt x="5972" y="341"/>
                  </a:lnTo>
                  <a:lnTo>
                    <a:pt x="5973" y="345"/>
                  </a:lnTo>
                  <a:lnTo>
                    <a:pt x="5973" y="348"/>
                  </a:lnTo>
                  <a:lnTo>
                    <a:pt x="5973" y="353"/>
                  </a:lnTo>
                  <a:lnTo>
                    <a:pt x="5970" y="355"/>
                  </a:lnTo>
                  <a:lnTo>
                    <a:pt x="5967" y="350"/>
                  </a:lnTo>
                  <a:lnTo>
                    <a:pt x="5964" y="342"/>
                  </a:lnTo>
                  <a:lnTo>
                    <a:pt x="5965" y="333"/>
                  </a:lnTo>
                  <a:lnTo>
                    <a:pt x="5960" y="330"/>
                  </a:lnTo>
                  <a:lnTo>
                    <a:pt x="5954" y="332"/>
                  </a:lnTo>
                  <a:lnTo>
                    <a:pt x="5948" y="336"/>
                  </a:lnTo>
                  <a:lnTo>
                    <a:pt x="5945" y="343"/>
                  </a:lnTo>
                  <a:lnTo>
                    <a:pt x="5944" y="348"/>
                  </a:lnTo>
                  <a:lnTo>
                    <a:pt x="5944" y="353"/>
                  </a:lnTo>
                  <a:lnTo>
                    <a:pt x="5943" y="357"/>
                  </a:lnTo>
                  <a:lnTo>
                    <a:pt x="5938" y="360"/>
                  </a:lnTo>
                  <a:lnTo>
                    <a:pt x="5933" y="366"/>
                  </a:lnTo>
                  <a:lnTo>
                    <a:pt x="5931" y="369"/>
                  </a:lnTo>
                  <a:lnTo>
                    <a:pt x="5929" y="376"/>
                  </a:lnTo>
                  <a:lnTo>
                    <a:pt x="5929" y="384"/>
                  </a:lnTo>
                  <a:lnTo>
                    <a:pt x="5929" y="392"/>
                  </a:lnTo>
                  <a:lnTo>
                    <a:pt x="5928" y="402"/>
                  </a:lnTo>
                  <a:lnTo>
                    <a:pt x="5926" y="409"/>
                  </a:lnTo>
                  <a:lnTo>
                    <a:pt x="5923" y="422"/>
                  </a:lnTo>
                  <a:lnTo>
                    <a:pt x="5923" y="430"/>
                  </a:lnTo>
                  <a:lnTo>
                    <a:pt x="5924" y="442"/>
                  </a:lnTo>
                  <a:lnTo>
                    <a:pt x="5924" y="445"/>
                  </a:lnTo>
                  <a:lnTo>
                    <a:pt x="5925" y="448"/>
                  </a:lnTo>
                  <a:lnTo>
                    <a:pt x="5924" y="458"/>
                  </a:lnTo>
                  <a:lnTo>
                    <a:pt x="5924" y="462"/>
                  </a:lnTo>
                  <a:lnTo>
                    <a:pt x="5925" y="471"/>
                  </a:lnTo>
                  <a:lnTo>
                    <a:pt x="5927" y="477"/>
                  </a:lnTo>
                  <a:lnTo>
                    <a:pt x="5928" y="482"/>
                  </a:lnTo>
                  <a:lnTo>
                    <a:pt x="5927" y="491"/>
                  </a:lnTo>
                  <a:lnTo>
                    <a:pt x="5921" y="509"/>
                  </a:lnTo>
                  <a:lnTo>
                    <a:pt x="5912" y="525"/>
                  </a:lnTo>
                  <a:lnTo>
                    <a:pt x="5903" y="534"/>
                  </a:lnTo>
                  <a:lnTo>
                    <a:pt x="5894" y="530"/>
                  </a:lnTo>
                  <a:lnTo>
                    <a:pt x="5898" y="530"/>
                  </a:lnTo>
                  <a:lnTo>
                    <a:pt x="5903" y="527"/>
                  </a:lnTo>
                  <a:lnTo>
                    <a:pt x="5908" y="522"/>
                  </a:lnTo>
                  <a:lnTo>
                    <a:pt x="5914" y="510"/>
                  </a:lnTo>
                  <a:lnTo>
                    <a:pt x="5916" y="506"/>
                  </a:lnTo>
                  <a:lnTo>
                    <a:pt x="5919" y="500"/>
                  </a:lnTo>
                  <a:lnTo>
                    <a:pt x="5920" y="491"/>
                  </a:lnTo>
                  <a:lnTo>
                    <a:pt x="5920" y="478"/>
                  </a:lnTo>
                  <a:lnTo>
                    <a:pt x="5917" y="448"/>
                  </a:lnTo>
                  <a:lnTo>
                    <a:pt x="5917" y="430"/>
                  </a:lnTo>
                  <a:lnTo>
                    <a:pt x="5919" y="416"/>
                  </a:lnTo>
                  <a:lnTo>
                    <a:pt x="5920" y="408"/>
                  </a:lnTo>
                  <a:lnTo>
                    <a:pt x="5919" y="400"/>
                  </a:lnTo>
                  <a:lnTo>
                    <a:pt x="5917" y="391"/>
                  </a:lnTo>
                  <a:lnTo>
                    <a:pt x="5918" y="384"/>
                  </a:lnTo>
                  <a:lnTo>
                    <a:pt x="5920" y="378"/>
                  </a:lnTo>
                  <a:lnTo>
                    <a:pt x="5926" y="366"/>
                  </a:lnTo>
                  <a:lnTo>
                    <a:pt x="5931" y="353"/>
                  </a:lnTo>
                  <a:lnTo>
                    <a:pt x="5934" y="345"/>
                  </a:lnTo>
                  <a:lnTo>
                    <a:pt x="5937" y="339"/>
                  </a:lnTo>
                  <a:lnTo>
                    <a:pt x="5940" y="335"/>
                  </a:lnTo>
                  <a:lnTo>
                    <a:pt x="5943" y="330"/>
                  </a:lnTo>
                  <a:lnTo>
                    <a:pt x="5945" y="320"/>
                  </a:lnTo>
                  <a:lnTo>
                    <a:pt x="5939" y="320"/>
                  </a:lnTo>
                  <a:lnTo>
                    <a:pt x="5932" y="324"/>
                  </a:lnTo>
                  <a:lnTo>
                    <a:pt x="5926" y="330"/>
                  </a:lnTo>
                  <a:lnTo>
                    <a:pt x="5920" y="340"/>
                  </a:lnTo>
                  <a:lnTo>
                    <a:pt x="5914" y="354"/>
                  </a:lnTo>
                  <a:lnTo>
                    <a:pt x="5912" y="356"/>
                  </a:lnTo>
                  <a:lnTo>
                    <a:pt x="5909" y="354"/>
                  </a:lnTo>
                  <a:lnTo>
                    <a:pt x="5909" y="350"/>
                  </a:lnTo>
                  <a:lnTo>
                    <a:pt x="5910" y="347"/>
                  </a:lnTo>
                  <a:lnTo>
                    <a:pt x="5913" y="343"/>
                  </a:lnTo>
                  <a:lnTo>
                    <a:pt x="5913" y="343"/>
                  </a:lnTo>
                  <a:lnTo>
                    <a:pt x="5910" y="346"/>
                  </a:lnTo>
                  <a:lnTo>
                    <a:pt x="5906" y="351"/>
                  </a:lnTo>
                  <a:lnTo>
                    <a:pt x="5900" y="356"/>
                  </a:lnTo>
                  <a:lnTo>
                    <a:pt x="5899" y="355"/>
                  </a:lnTo>
                  <a:lnTo>
                    <a:pt x="5900" y="348"/>
                  </a:lnTo>
                  <a:lnTo>
                    <a:pt x="5905" y="339"/>
                  </a:lnTo>
                  <a:lnTo>
                    <a:pt x="5921" y="327"/>
                  </a:lnTo>
                  <a:lnTo>
                    <a:pt x="5901" y="332"/>
                  </a:lnTo>
                  <a:lnTo>
                    <a:pt x="5882" y="343"/>
                  </a:lnTo>
                  <a:lnTo>
                    <a:pt x="5886" y="336"/>
                  </a:lnTo>
                  <a:lnTo>
                    <a:pt x="5889" y="330"/>
                  </a:lnTo>
                  <a:lnTo>
                    <a:pt x="5883" y="334"/>
                  </a:lnTo>
                  <a:lnTo>
                    <a:pt x="5881" y="337"/>
                  </a:lnTo>
                  <a:lnTo>
                    <a:pt x="5879" y="341"/>
                  </a:lnTo>
                  <a:lnTo>
                    <a:pt x="5875" y="357"/>
                  </a:lnTo>
                  <a:lnTo>
                    <a:pt x="5874" y="363"/>
                  </a:lnTo>
                  <a:lnTo>
                    <a:pt x="5871" y="348"/>
                  </a:lnTo>
                  <a:lnTo>
                    <a:pt x="5870" y="343"/>
                  </a:lnTo>
                  <a:lnTo>
                    <a:pt x="5868" y="337"/>
                  </a:lnTo>
                  <a:lnTo>
                    <a:pt x="5872" y="329"/>
                  </a:lnTo>
                  <a:lnTo>
                    <a:pt x="5878" y="323"/>
                  </a:lnTo>
                  <a:lnTo>
                    <a:pt x="5891" y="316"/>
                  </a:lnTo>
                  <a:lnTo>
                    <a:pt x="5897" y="309"/>
                  </a:lnTo>
                  <a:lnTo>
                    <a:pt x="5901" y="302"/>
                  </a:lnTo>
                  <a:lnTo>
                    <a:pt x="5919" y="287"/>
                  </a:lnTo>
                  <a:lnTo>
                    <a:pt x="5929" y="274"/>
                  </a:lnTo>
                  <a:lnTo>
                    <a:pt x="5938" y="255"/>
                  </a:lnTo>
                  <a:lnTo>
                    <a:pt x="5940" y="232"/>
                  </a:lnTo>
                  <a:lnTo>
                    <a:pt x="5937" y="224"/>
                  </a:lnTo>
                  <a:lnTo>
                    <a:pt x="5932" y="225"/>
                  </a:lnTo>
                  <a:lnTo>
                    <a:pt x="5916" y="243"/>
                  </a:lnTo>
                  <a:lnTo>
                    <a:pt x="5860" y="274"/>
                  </a:lnTo>
                  <a:lnTo>
                    <a:pt x="5837" y="278"/>
                  </a:lnTo>
                  <a:lnTo>
                    <a:pt x="5841" y="273"/>
                  </a:lnTo>
                  <a:lnTo>
                    <a:pt x="5848" y="270"/>
                  </a:lnTo>
                  <a:lnTo>
                    <a:pt x="5853" y="266"/>
                  </a:lnTo>
                  <a:lnTo>
                    <a:pt x="5859" y="263"/>
                  </a:lnTo>
                  <a:lnTo>
                    <a:pt x="5872" y="252"/>
                  </a:lnTo>
                  <a:lnTo>
                    <a:pt x="5872" y="250"/>
                  </a:lnTo>
                  <a:lnTo>
                    <a:pt x="5871" y="248"/>
                  </a:lnTo>
                  <a:lnTo>
                    <a:pt x="5881" y="239"/>
                  </a:lnTo>
                  <a:lnTo>
                    <a:pt x="5904" y="231"/>
                  </a:lnTo>
                  <a:lnTo>
                    <a:pt x="5913" y="216"/>
                  </a:lnTo>
                  <a:lnTo>
                    <a:pt x="5909" y="212"/>
                  </a:lnTo>
                  <a:lnTo>
                    <a:pt x="5905" y="211"/>
                  </a:lnTo>
                  <a:lnTo>
                    <a:pt x="5893" y="212"/>
                  </a:lnTo>
                  <a:lnTo>
                    <a:pt x="5892" y="211"/>
                  </a:lnTo>
                  <a:lnTo>
                    <a:pt x="5891" y="207"/>
                  </a:lnTo>
                  <a:lnTo>
                    <a:pt x="5890" y="206"/>
                  </a:lnTo>
                  <a:lnTo>
                    <a:pt x="5876" y="200"/>
                  </a:lnTo>
                  <a:lnTo>
                    <a:pt x="5870" y="203"/>
                  </a:lnTo>
                  <a:lnTo>
                    <a:pt x="5856" y="212"/>
                  </a:lnTo>
                  <a:lnTo>
                    <a:pt x="5858" y="206"/>
                  </a:lnTo>
                  <a:lnTo>
                    <a:pt x="5860" y="204"/>
                  </a:lnTo>
                  <a:lnTo>
                    <a:pt x="5862" y="202"/>
                  </a:lnTo>
                  <a:lnTo>
                    <a:pt x="5865" y="199"/>
                  </a:lnTo>
                  <a:lnTo>
                    <a:pt x="5862" y="196"/>
                  </a:lnTo>
                  <a:lnTo>
                    <a:pt x="5857" y="194"/>
                  </a:lnTo>
                  <a:lnTo>
                    <a:pt x="5854" y="189"/>
                  </a:lnTo>
                  <a:lnTo>
                    <a:pt x="5856" y="189"/>
                  </a:lnTo>
                  <a:lnTo>
                    <a:pt x="5860" y="187"/>
                  </a:lnTo>
                  <a:lnTo>
                    <a:pt x="5862" y="187"/>
                  </a:lnTo>
                  <a:lnTo>
                    <a:pt x="5864" y="189"/>
                  </a:lnTo>
                  <a:lnTo>
                    <a:pt x="5884" y="186"/>
                  </a:lnTo>
                  <a:lnTo>
                    <a:pt x="5886" y="183"/>
                  </a:lnTo>
                  <a:lnTo>
                    <a:pt x="5888" y="181"/>
                  </a:lnTo>
                  <a:lnTo>
                    <a:pt x="5890" y="179"/>
                  </a:lnTo>
                  <a:lnTo>
                    <a:pt x="5892" y="177"/>
                  </a:lnTo>
                  <a:lnTo>
                    <a:pt x="5894" y="179"/>
                  </a:lnTo>
                  <a:lnTo>
                    <a:pt x="5894" y="187"/>
                  </a:lnTo>
                  <a:lnTo>
                    <a:pt x="5896" y="188"/>
                  </a:lnTo>
                  <a:lnTo>
                    <a:pt x="5902" y="185"/>
                  </a:lnTo>
                  <a:lnTo>
                    <a:pt x="5905" y="186"/>
                  </a:lnTo>
                  <a:lnTo>
                    <a:pt x="5914" y="192"/>
                  </a:lnTo>
                  <a:lnTo>
                    <a:pt x="5921" y="193"/>
                  </a:lnTo>
                  <a:lnTo>
                    <a:pt x="5928" y="192"/>
                  </a:lnTo>
                  <a:lnTo>
                    <a:pt x="5934" y="187"/>
                  </a:lnTo>
                  <a:lnTo>
                    <a:pt x="5940" y="179"/>
                  </a:lnTo>
                  <a:lnTo>
                    <a:pt x="5934" y="175"/>
                  </a:lnTo>
                  <a:lnTo>
                    <a:pt x="5931" y="173"/>
                  </a:lnTo>
                  <a:lnTo>
                    <a:pt x="5928" y="169"/>
                  </a:lnTo>
                  <a:lnTo>
                    <a:pt x="5950" y="173"/>
                  </a:lnTo>
                  <a:lnTo>
                    <a:pt x="5949" y="170"/>
                  </a:lnTo>
                  <a:lnTo>
                    <a:pt x="5949" y="168"/>
                  </a:lnTo>
                  <a:lnTo>
                    <a:pt x="5948" y="167"/>
                  </a:lnTo>
                  <a:lnTo>
                    <a:pt x="5947" y="166"/>
                  </a:lnTo>
                  <a:lnTo>
                    <a:pt x="5947" y="163"/>
                  </a:lnTo>
                  <a:lnTo>
                    <a:pt x="5955" y="162"/>
                  </a:lnTo>
                  <a:lnTo>
                    <a:pt x="5959" y="159"/>
                  </a:lnTo>
                  <a:lnTo>
                    <a:pt x="5963" y="153"/>
                  </a:lnTo>
                  <a:lnTo>
                    <a:pt x="5959" y="150"/>
                  </a:lnTo>
                  <a:lnTo>
                    <a:pt x="5956" y="150"/>
                  </a:lnTo>
                  <a:lnTo>
                    <a:pt x="5953" y="149"/>
                  </a:lnTo>
                  <a:lnTo>
                    <a:pt x="5951" y="143"/>
                  </a:lnTo>
                  <a:lnTo>
                    <a:pt x="5963" y="144"/>
                  </a:lnTo>
                  <a:lnTo>
                    <a:pt x="5969" y="142"/>
                  </a:lnTo>
                  <a:lnTo>
                    <a:pt x="5972" y="131"/>
                  </a:lnTo>
                  <a:lnTo>
                    <a:pt x="5972" y="127"/>
                  </a:lnTo>
                  <a:lnTo>
                    <a:pt x="5976" y="117"/>
                  </a:lnTo>
                  <a:lnTo>
                    <a:pt x="5977" y="108"/>
                  </a:lnTo>
                  <a:lnTo>
                    <a:pt x="5979" y="104"/>
                  </a:lnTo>
                  <a:lnTo>
                    <a:pt x="5979" y="101"/>
                  </a:lnTo>
                  <a:lnTo>
                    <a:pt x="5979" y="98"/>
                  </a:lnTo>
                  <a:lnTo>
                    <a:pt x="5978" y="96"/>
                  </a:lnTo>
                  <a:lnTo>
                    <a:pt x="5976" y="96"/>
                  </a:lnTo>
                  <a:lnTo>
                    <a:pt x="5970" y="88"/>
                  </a:lnTo>
                  <a:lnTo>
                    <a:pt x="5947" y="86"/>
                  </a:lnTo>
                  <a:lnTo>
                    <a:pt x="5929" y="99"/>
                  </a:lnTo>
                  <a:lnTo>
                    <a:pt x="5925" y="96"/>
                  </a:lnTo>
                  <a:lnTo>
                    <a:pt x="5926" y="94"/>
                  </a:lnTo>
                  <a:lnTo>
                    <a:pt x="5928" y="91"/>
                  </a:lnTo>
                  <a:lnTo>
                    <a:pt x="5929" y="88"/>
                  </a:lnTo>
                  <a:lnTo>
                    <a:pt x="5930" y="82"/>
                  </a:lnTo>
                  <a:lnTo>
                    <a:pt x="5924" y="88"/>
                  </a:lnTo>
                  <a:lnTo>
                    <a:pt x="5921" y="90"/>
                  </a:lnTo>
                  <a:lnTo>
                    <a:pt x="5923" y="86"/>
                  </a:lnTo>
                  <a:lnTo>
                    <a:pt x="5924" y="82"/>
                  </a:lnTo>
                  <a:lnTo>
                    <a:pt x="5925" y="81"/>
                  </a:lnTo>
                  <a:lnTo>
                    <a:pt x="5927" y="80"/>
                  </a:lnTo>
                  <a:lnTo>
                    <a:pt x="5924" y="80"/>
                  </a:lnTo>
                  <a:lnTo>
                    <a:pt x="5926" y="74"/>
                  </a:lnTo>
                  <a:lnTo>
                    <a:pt x="5929" y="72"/>
                  </a:lnTo>
                  <a:lnTo>
                    <a:pt x="5932" y="69"/>
                  </a:lnTo>
                  <a:lnTo>
                    <a:pt x="5934" y="61"/>
                  </a:lnTo>
                  <a:lnTo>
                    <a:pt x="5932" y="55"/>
                  </a:lnTo>
                  <a:lnTo>
                    <a:pt x="5929" y="50"/>
                  </a:lnTo>
                  <a:lnTo>
                    <a:pt x="5925" y="47"/>
                  </a:lnTo>
                  <a:lnTo>
                    <a:pt x="5923" y="46"/>
                  </a:lnTo>
                  <a:lnTo>
                    <a:pt x="5919" y="47"/>
                  </a:lnTo>
                  <a:lnTo>
                    <a:pt x="5915" y="52"/>
                  </a:lnTo>
                  <a:lnTo>
                    <a:pt x="5906" y="68"/>
                  </a:lnTo>
                  <a:lnTo>
                    <a:pt x="5905" y="68"/>
                  </a:lnTo>
                  <a:lnTo>
                    <a:pt x="5903" y="66"/>
                  </a:lnTo>
                  <a:lnTo>
                    <a:pt x="5902" y="64"/>
                  </a:lnTo>
                  <a:lnTo>
                    <a:pt x="5902" y="61"/>
                  </a:lnTo>
                  <a:lnTo>
                    <a:pt x="5902" y="58"/>
                  </a:lnTo>
                  <a:lnTo>
                    <a:pt x="5902" y="56"/>
                  </a:lnTo>
                  <a:lnTo>
                    <a:pt x="5899" y="53"/>
                  </a:lnTo>
                  <a:lnTo>
                    <a:pt x="5896" y="53"/>
                  </a:lnTo>
                  <a:lnTo>
                    <a:pt x="5892" y="56"/>
                  </a:lnTo>
                  <a:lnTo>
                    <a:pt x="5890" y="61"/>
                  </a:lnTo>
                  <a:lnTo>
                    <a:pt x="5886" y="65"/>
                  </a:lnTo>
                  <a:lnTo>
                    <a:pt x="5872" y="70"/>
                  </a:lnTo>
                  <a:lnTo>
                    <a:pt x="5869" y="68"/>
                  </a:lnTo>
                  <a:lnTo>
                    <a:pt x="5862" y="61"/>
                  </a:lnTo>
                  <a:lnTo>
                    <a:pt x="5858" y="59"/>
                  </a:lnTo>
                  <a:lnTo>
                    <a:pt x="5848" y="59"/>
                  </a:lnTo>
                  <a:lnTo>
                    <a:pt x="5844" y="56"/>
                  </a:lnTo>
                  <a:lnTo>
                    <a:pt x="5848" y="44"/>
                  </a:lnTo>
                  <a:lnTo>
                    <a:pt x="5847" y="37"/>
                  </a:lnTo>
                  <a:lnTo>
                    <a:pt x="5837" y="26"/>
                  </a:lnTo>
                  <a:lnTo>
                    <a:pt x="5835" y="41"/>
                  </a:lnTo>
                  <a:lnTo>
                    <a:pt x="5830" y="42"/>
                  </a:lnTo>
                  <a:lnTo>
                    <a:pt x="5824" y="40"/>
                  </a:lnTo>
                  <a:lnTo>
                    <a:pt x="5818" y="46"/>
                  </a:lnTo>
                  <a:lnTo>
                    <a:pt x="5817" y="52"/>
                  </a:lnTo>
                  <a:lnTo>
                    <a:pt x="5817" y="56"/>
                  </a:lnTo>
                  <a:lnTo>
                    <a:pt x="5817" y="60"/>
                  </a:lnTo>
                  <a:lnTo>
                    <a:pt x="5817" y="68"/>
                  </a:lnTo>
                  <a:lnTo>
                    <a:pt x="5818" y="74"/>
                  </a:lnTo>
                  <a:lnTo>
                    <a:pt x="5820" y="77"/>
                  </a:lnTo>
                  <a:lnTo>
                    <a:pt x="5826" y="80"/>
                  </a:lnTo>
                  <a:lnTo>
                    <a:pt x="5824" y="85"/>
                  </a:lnTo>
                  <a:lnTo>
                    <a:pt x="5823" y="91"/>
                  </a:lnTo>
                  <a:lnTo>
                    <a:pt x="5823" y="97"/>
                  </a:lnTo>
                  <a:lnTo>
                    <a:pt x="5825" y="103"/>
                  </a:lnTo>
                  <a:lnTo>
                    <a:pt x="5821" y="110"/>
                  </a:lnTo>
                  <a:lnTo>
                    <a:pt x="5817" y="110"/>
                  </a:lnTo>
                  <a:lnTo>
                    <a:pt x="5814" y="103"/>
                  </a:lnTo>
                  <a:lnTo>
                    <a:pt x="5813" y="91"/>
                  </a:lnTo>
                  <a:lnTo>
                    <a:pt x="5809" y="85"/>
                  </a:lnTo>
                  <a:lnTo>
                    <a:pt x="5773" y="75"/>
                  </a:lnTo>
                  <a:lnTo>
                    <a:pt x="5769" y="79"/>
                  </a:lnTo>
                  <a:lnTo>
                    <a:pt x="5770" y="90"/>
                  </a:lnTo>
                  <a:lnTo>
                    <a:pt x="5773" y="93"/>
                  </a:lnTo>
                  <a:lnTo>
                    <a:pt x="5779" y="98"/>
                  </a:lnTo>
                  <a:lnTo>
                    <a:pt x="5782" y="101"/>
                  </a:lnTo>
                  <a:lnTo>
                    <a:pt x="5786" y="107"/>
                  </a:lnTo>
                  <a:lnTo>
                    <a:pt x="5788" y="111"/>
                  </a:lnTo>
                  <a:lnTo>
                    <a:pt x="5789" y="116"/>
                  </a:lnTo>
                  <a:lnTo>
                    <a:pt x="5761" y="104"/>
                  </a:lnTo>
                  <a:lnTo>
                    <a:pt x="5757" y="105"/>
                  </a:lnTo>
                  <a:lnTo>
                    <a:pt x="5755" y="112"/>
                  </a:lnTo>
                  <a:lnTo>
                    <a:pt x="5753" y="126"/>
                  </a:lnTo>
                  <a:lnTo>
                    <a:pt x="5758" y="134"/>
                  </a:lnTo>
                  <a:lnTo>
                    <a:pt x="5764" y="139"/>
                  </a:lnTo>
                  <a:lnTo>
                    <a:pt x="5787" y="144"/>
                  </a:lnTo>
                  <a:lnTo>
                    <a:pt x="5790" y="143"/>
                  </a:lnTo>
                  <a:lnTo>
                    <a:pt x="5792" y="140"/>
                  </a:lnTo>
                  <a:lnTo>
                    <a:pt x="5796" y="132"/>
                  </a:lnTo>
                  <a:lnTo>
                    <a:pt x="5798" y="130"/>
                  </a:lnTo>
                  <a:lnTo>
                    <a:pt x="5798" y="134"/>
                  </a:lnTo>
                  <a:lnTo>
                    <a:pt x="5795" y="140"/>
                  </a:lnTo>
                  <a:lnTo>
                    <a:pt x="5794" y="144"/>
                  </a:lnTo>
                  <a:lnTo>
                    <a:pt x="5796" y="148"/>
                  </a:lnTo>
                  <a:lnTo>
                    <a:pt x="5798" y="148"/>
                  </a:lnTo>
                  <a:lnTo>
                    <a:pt x="5804" y="146"/>
                  </a:lnTo>
                  <a:lnTo>
                    <a:pt x="5805" y="146"/>
                  </a:lnTo>
                  <a:lnTo>
                    <a:pt x="5806" y="147"/>
                  </a:lnTo>
                  <a:lnTo>
                    <a:pt x="5806" y="149"/>
                  </a:lnTo>
                  <a:lnTo>
                    <a:pt x="5807" y="151"/>
                  </a:lnTo>
                  <a:lnTo>
                    <a:pt x="5808" y="153"/>
                  </a:lnTo>
                  <a:lnTo>
                    <a:pt x="5811" y="152"/>
                  </a:lnTo>
                  <a:lnTo>
                    <a:pt x="5813" y="153"/>
                  </a:lnTo>
                  <a:lnTo>
                    <a:pt x="5814" y="155"/>
                  </a:lnTo>
                  <a:lnTo>
                    <a:pt x="5816" y="160"/>
                  </a:lnTo>
                  <a:lnTo>
                    <a:pt x="5818" y="163"/>
                  </a:lnTo>
                  <a:lnTo>
                    <a:pt x="5816" y="165"/>
                  </a:lnTo>
                  <a:lnTo>
                    <a:pt x="5814" y="168"/>
                  </a:lnTo>
                  <a:lnTo>
                    <a:pt x="5812" y="169"/>
                  </a:lnTo>
                  <a:lnTo>
                    <a:pt x="5810" y="169"/>
                  </a:lnTo>
                  <a:lnTo>
                    <a:pt x="5810" y="173"/>
                  </a:lnTo>
                  <a:lnTo>
                    <a:pt x="5833" y="183"/>
                  </a:lnTo>
                  <a:lnTo>
                    <a:pt x="5789" y="173"/>
                  </a:lnTo>
                  <a:lnTo>
                    <a:pt x="5785" y="174"/>
                  </a:lnTo>
                  <a:lnTo>
                    <a:pt x="5783" y="176"/>
                  </a:lnTo>
                  <a:lnTo>
                    <a:pt x="5779" y="187"/>
                  </a:lnTo>
                  <a:lnTo>
                    <a:pt x="5778" y="197"/>
                  </a:lnTo>
                  <a:lnTo>
                    <a:pt x="5780" y="202"/>
                  </a:lnTo>
                  <a:lnTo>
                    <a:pt x="5784" y="204"/>
                  </a:lnTo>
                  <a:lnTo>
                    <a:pt x="5788" y="205"/>
                  </a:lnTo>
                  <a:lnTo>
                    <a:pt x="5786" y="212"/>
                  </a:lnTo>
                  <a:lnTo>
                    <a:pt x="5784" y="214"/>
                  </a:lnTo>
                  <a:lnTo>
                    <a:pt x="5779" y="212"/>
                  </a:lnTo>
                  <a:lnTo>
                    <a:pt x="5756" y="213"/>
                  </a:lnTo>
                  <a:lnTo>
                    <a:pt x="5751" y="219"/>
                  </a:lnTo>
                  <a:lnTo>
                    <a:pt x="5746" y="232"/>
                  </a:lnTo>
                  <a:lnTo>
                    <a:pt x="5749" y="235"/>
                  </a:lnTo>
                  <a:lnTo>
                    <a:pt x="5755" y="238"/>
                  </a:lnTo>
                  <a:lnTo>
                    <a:pt x="5758" y="242"/>
                  </a:lnTo>
                  <a:lnTo>
                    <a:pt x="5750" y="254"/>
                  </a:lnTo>
                  <a:lnTo>
                    <a:pt x="5749" y="261"/>
                  </a:lnTo>
                  <a:lnTo>
                    <a:pt x="5754" y="268"/>
                  </a:lnTo>
                  <a:lnTo>
                    <a:pt x="5771" y="280"/>
                  </a:lnTo>
                  <a:lnTo>
                    <a:pt x="5776" y="288"/>
                  </a:lnTo>
                  <a:lnTo>
                    <a:pt x="5772" y="288"/>
                  </a:lnTo>
                  <a:lnTo>
                    <a:pt x="5761" y="281"/>
                  </a:lnTo>
                  <a:lnTo>
                    <a:pt x="5754" y="281"/>
                  </a:lnTo>
                  <a:lnTo>
                    <a:pt x="5752" y="281"/>
                  </a:lnTo>
                  <a:lnTo>
                    <a:pt x="5750" y="280"/>
                  </a:lnTo>
                  <a:lnTo>
                    <a:pt x="5748" y="276"/>
                  </a:lnTo>
                  <a:lnTo>
                    <a:pt x="5746" y="275"/>
                  </a:lnTo>
                  <a:lnTo>
                    <a:pt x="5742" y="276"/>
                  </a:lnTo>
                  <a:lnTo>
                    <a:pt x="5737" y="281"/>
                  </a:lnTo>
                  <a:lnTo>
                    <a:pt x="5732" y="289"/>
                  </a:lnTo>
                  <a:lnTo>
                    <a:pt x="5729" y="297"/>
                  </a:lnTo>
                  <a:lnTo>
                    <a:pt x="5730" y="298"/>
                  </a:lnTo>
                  <a:lnTo>
                    <a:pt x="5734" y="301"/>
                  </a:lnTo>
                  <a:lnTo>
                    <a:pt x="5734" y="305"/>
                  </a:lnTo>
                  <a:lnTo>
                    <a:pt x="5732" y="308"/>
                  </a:lnTo>
                  <a:lnTo>
                    <a:pt x="5728" y="311"/>
                  </a:lnTo>
                  <a:lnTo>
                    <a:pt x="5730" y="316"/>
                  </a:lnTo>
                  <a:lnTo>
                    <a:pt x="5738" y="327"/>
                  </a:lnTo>
                  <a:lnTo>
                    <a:pt x="5740" y="334"/>
                  </a:lnTo>
                  <a:lnTo>
                    <a:pt x="5742" y="337"/>
                  </a:lnTo>
                  <a:lnTo>
                    <a:pt x="5748" y="340"/>
                  </a:lnTo>
                  <a:lnTo>
                    <a:pt x="5749" y="343"/>
                  </a:lnTo>
                  <a:lnTo>
                    <a:pt x="5745" y="341"/>
                  </a:lnTo>
                  <a:lnTo>
                    <a:pt x="5742" y="340"/>
                  </a:lnTo>
                  <a:lnTo>
                    <a:pt x="5725" y="346"/>
                  </a:lnTo>
                  <a:lnTo>
                    <a:pt x="5723" y="345"/>
                  </a:lnTo>
                  <a:lnTo>
                    <a:pt x="5725" y="337"/>
                  </a:lnTo>
                  <a:lnTo>
                    <a:pt x="5704" y="338"/>
                  </a:lnTo>
                  <a:lnTo>
                    <a:pt x="5702" y="343"/>
                  </a:lnTo>
                  <a:lnTo>
                    <a:pt x="5701" y="350"/>
                  </a:lnTo>
                  <a:lnTo>
                    <a:pt x="5699" y="358"/>
                  </a:lnTo>
                  <a:lnTo>
                    <a:pt x="5694" y="363"/>
                  </a:lnTo>
                  <a:lnTo>
                    <a:pt x="5690" y="366"/>
                  </a:lnTo>
                  <a:lnTo>
                    <a:pt x="5685" y="366"/>
                  </a:lnTo>
                  <a:lnTo>
                    <a:pt x="5680" y="363"/>
                  </a:lnTo>
                  <a:lnTo>
                    <a:pt x="5679" y="364"/>
                  </a:lnTo>
                  <a:lnTo>
                    <a:pt x="5676" y="370"/>
                  </a:lnTo>
                  <a:lnTo>
                    <a:pt x="5675" y="372"/>
                  </a:lnTo>
                  <a:lnTo>
                    <a:pt x="5675" y="375"/>
                  </a:lnTo>
                  <a:lnTo>
                    <a:pt x="5678" y="385"/>
                  </a:lnTo>
                  <a:lnTo>
                    <a:pt x="5676" y="387"/>
                  </a:lnTo>
                  <a:lnTo>
                    <a:pt x="5671" y="385"/>
                  </a:lnTo>
                  <a:lnTo>
                    <a:pt x="5669" y="385"/>
                  </a:lnTo>
                  <a:lnTo>
                    <a:pt x="5667" y="388"/>
                  </a:lnTo>
                  <a:lnTo>
                    <a:pt x="5666" y="391"/>
                  </a:lnTo>
                  <a:lnTo>
                    <a:pt x="5666" y="394"/>
                  </a:lnTo>
                  <a:lnTo>
                    <a:pt x="5665" y="397"/>
                  </a:lnTo>
                  <a:lnTo>
                    <a:pt x="5663" y="398"/>
                  </a:lnTo>
                  <a:lnTo>
                    <a:pt x="5656" y="395"/>
                  </a:lnTo>
                  <a:lnTo>
                    <a:pt x="5655" y="394"/>
                  </a:lnTo>
                  <a:lnTo>
                    <a:pt x="5655" y="390"/>
                  </a:lnTo>
                  <a:lnTo>
                    <a:pt x="5656" y="386"/>
                  </a:lnTo>
                  <a:lnTo>
                    <a:pt x="5656" y="385"/>
                  </a:lnTo>
                  <a:lnTo>
                    <a:pt x="5656" y="382"/>
                  </a:lnTo>
                  <a:lnTo>
                    <a:pt x="5658" y="376"/>
                  </a:lnTo>
                  <a:lnTo>
                    <a:pt x="5658" y="372"/>
                  </a:lnTo>
                  <a:lnTo>
                    <a:pt x="5658" y="369"/>
                  </a:lnTo>
                  <a:lnTo>
                    <a:pt x="5656" y="365"/>
                  </a:lnTo>
                  <a:lnTo>
                    <a:pt x="5656" y="361"/>
                  </a:lnTo>
                  <a:lnTo>
                    <a:pt x="5657" y="353"/>
                  </a:lnTo>
                  <a:lnTo>
                    <a:pt x="5661" y="347"/>
                  </a:lnTo>
                  <a:lnTo>
                    <a:pt x="5667" y="340"/>
                  </a:lnTo>
                  <a:lnTo>
                    <a:pt x="5666" y="333"/>
                  </a:lnTo>
                  <a:lnTo>
                    <a:pt x="5664" y="330"/>
                  </a:lnTo>
                  <a:lnTo>
                    <a:pt x="5663" y="326"/>
                  </a:lnTo>
                  <a:lnTo>
                    <a:pt x="5664" y="320"/>
                  </a:lnTo>
                  <a:lnTo>
                    <a:pt x="5666" y="315"/>
                  </a:lnTo>
                  <a:lnTo>
                    <a:pt x="5669" y="311"/>
                  </a:lnTo>
                  <a:lnTo>
                    <a:pt x="5671" y="307"/>
                  </a:lnTo>
                  <a:lnTo>
                    <a:pt x="5670" y="301"/>
                  </a:lnTo>
                  <a:lnTo>
                    <a:pt x="5679" y="262"/>
                  </a:lnTo>
                  <a:lnTo>
                    <a:pt x="5674" y="256"/>
                  </a:lnTo>
                  <a:lnTo>
                    <a:pt x="5660" y="251"/>
                  </a:lnTo>
                  <a:lnTo>
                    <a:pt x="5654" y="252"/>
                  </a:lnTo>
                  <a:lnTo>
                    <a:pt x="5634" y="262"/>
                  </a:lnTo>
                  <a:lnTo>
                    <a:pt x="5629" y="258"/>
                  </a:lnTo>
                  <a:lnTo>
                    <a:pt x="5676" y="230"/>
                  </a:lnTo>
                  <a:lnTo>
                    <a:pt x="5684" y="216"/>
                  </a:lnTo>
                  <a:lnTo>
                    <a:pt x="5683" y="207"/>
                  </a:lnTo>
                  <a:lnTo>
                    <a:pt x="5685" y="198"/>
                  </a:lnTo>
                  <a:lnTo>
                    <a:pt x="5686" y="190"/>
                  </a:lnTo>
                  <a:lnTo>
                    <a:pt x="5689" y="183"/>
                  </a:lnTo>
                  <a:lnTo>
                    <a:pt x="5691" y="178"/>
                  </a:lnTo>
                  <a:lnTo>
                    <a:pt x="5693" y="174"/>
                  </a:lnTo>
                  <a:lnTo>
                    <a:pt x="5693" y="169"/>
                  </a:lnTo>
                  <a:lnTo>
                    <a:pt x="5691" y="166"/>
                  </a:lnTo>
                  <a:lnTo>
                    <a:pt x="5689" y="168"/>
                  </a:lnTo>
                  <a:lnTo>
                    <a:pt x="5686" y="171"/>
                  </a:lnTo>
                  <a:lnTo>
                    <a:pt x="5684" y="173"/>
                  </a:lnTo>
                  <a:lnTo>
                    <a:pt x="5683" y="172"/>
                  </a:lnTo>
                  <a:lnTo>
                    <a:pt x="5681" y="170"/>
                  </a:lnTo>
                  <a:lnTo>
                    <a:pt x="5681" y="166"/>
                  </a:lnTo>
                  <a:lnTo>
                    <a:pt x="5680" y="161"/>
                  </a:lnTo>
                  <a:lnTo>
                    <a:pt x="5681" y="156"/>
                  </a:lnTo>
                  <a:lnTo>
                    <a:pt x="5683" y="154"/>
                  </a:lnTo>
                  <a:lnTo>
                    <a:pt x="5685" y="154"/>
                  </a:lnTo>
                  <a:lnTo>
                    <a:pt x="5687" y="151"/>
                  </a:lnTo>
                  <a:lnTo>
                    <a:pt x="5690" y="146"/>
                  </a:lnTo>
                  <a:lnTo>
                    <a:pt x="5690" y="142"/>
                  </a:lnTo>
                  <a:lnTo>
                    <a:pt x="5691" y="138"/>
                  </a:lnTo>
                  <a:lnTo>
                    <a:pt x="5690" y="133"/>
                  </a:lnTo>
                  <a:lnTo>
                    <a:pt x="5689" y="131"/>
                  </a:lnTo>
                  <a:lnTo>
                    <a:pt x="5689" y="129"/>
                  </a:lnTo>
                  <a:lnTo>
                    <a:pt x="5690" y="123"/>
                  </a:lnTo>
                  <a:lnTo>
                    <a:pt x="5682" y="116"/>
                  </a:lnTo>
                  <a:lnTo>
                    <a:pt x="5684" y="111"/>
                  </a:lnTo>
                  <a:lnTo>
                    <a:pt x="5684" y="110"/>
                  </a:lnTo>
                  <a:lnTo>
                    <a:pt x="5672" y="113"/>
                  </a:lnTo>
                  <a:lnTo>
                    <a:pt x="5634" y="152"/>
                  </a:lnTo>
                  <a:lnTo>
                    <a:pt x="5624" y="169"/>
                  </a:lnTo>
                  <a:lnTo>
                    <a:pt x="5615" y="186"/>
                  </a:lnTo>
                  <a:lnTo>
                    <a:pt x="5605" y="198"/>
                  </a:lnTo>
                  <a:lnTo>
                    <a:pt x="5601" y="205"/>
                  </a:lnTo>
                  <a:lnTo>
                    <a:pt x="5600" y="209"/>
                  </a:lnTo>
                  <a:lnTo>
                    <a:pt x="5598" y="218"/>
                  </a:lnTo>
                  <a:lnTo>
                    <a:pt x="5596" y="222"/>
                  </a:lnTo>
                  <a:lnTo>
                    <a:pt x="5593" y="225"/>
                  </a:lnTo>
                  <a:lnTo>
                    <a:pt x="5588" y="225"/>
                  </a:lnTo>
                  <a:lnTo>
                    <a:pt x="5586" y="227"/>
                  </a:lnTo>
                  <a:lnTo>
                    <a:pt x="5583" y="237"/>
                  </a:lnTo>
                  <a:lnTo>
                    <a:pt x="5577" y="268"/>
                  </a:lnTo>
                  <a:lnTo>
                    <a:pt x="5573" y="278"/>
                  </a:lnTo>
                  <a:lnTo>
                    <a:pt x="5568" y="286"/>
                  </a:lnTo>
                  <a:lnTo>
                    <a:pt x="5563" y="292"/>
                  </a:lnTo>
                  <a:lnTo>
                    <a:pt x="5558" y="294"/>
                  </a:lnTo>
                  <a:lnTo>
                    <a:pt x="5554" y="298"/>
                  </a:lnTo>
                  <a:lnTo>
                    <a:pt x="5520" y="357"/>
                  </a:lnTo>
                  <a:lnTo>
                    <a:pt x="5486" y="403"/>
                  </a:lnTo>
                  <a:lnTo>
                    <a:pt x="5483" y="411"/>
                  </a:lnTo>
                  <a:lnTo>
                    <a:pt x="5498" y="418"/>
                  </a:lnTo>
                  <a:lnTo>
                    <a:pt x="5502" y="424"/>
                  </a:lnTo>
                  <a:lnTo>
                    <a:pt x="5498" y="433"/>
                  </a:lnTo>
                  <a:lnTo>
                    <a:pt x="5487" y="447"/>
                  </a:lnTo>
                  <a:lnTo>
                    <a:pt x="5485" y="454"/>
                  </a:lnTo>
                  <a:lnTo>
                    <a:pt x="5484" y="460"/>
                  </a:lnTo>
                  <a:lnTo>
                    <a:pt x="5481" y="465"/>
                  </a:lnTo>
                  <a:lnTo>
                    <a:pt x="5479" y="470"/>
                  </a:lnTo>
                  <a:lnTo>
                    <a:pt x="5477" y="472"/>
                  </a:lnTo>
                  <a:lnTo>
                    <a:pt x="5473" y="473"/>
                  </a:lnTo>
                  <a:lnTo>
                    <a:pt x="5470" y="475"/>
                  </a:lnTo>
                  <a:lnTo>
                    <a:pt x="5467" y="478"/>
                  </a:lnTo>
                  <a:lnTo>
                    <a:pt x="5465" y="483"/>
                  </a:lnTo>
                  <a:lnTo>
                    <a:pt x="5459" y="506"/>
                  </a:lnTo>
                  <a:lnTo>
                    <a:pt x="5456" y="516"/>
                  </a:lnTo>
                  <a:lnTo>
                    <a:pt x="5452" y="520"/>
                  </a:lnTo>
                  <a:lnTo>
                    <a:pt x="5449" y="521"/>
                  </a:lnTo>
                  <a:lnTo>
                    <a:pt x="5441" y="526"/>
                  </a:lnTo>
                  <a:lnTo>
                    <a:pt x="5437" y="526"/>
                  </a:lnTo>
                  <a:lnTo>
                    <a:pt x="5434" y="525"/>
                  </a:lnTo>
                  <a:lnTo>
                    <a:pt x="5432" y="521"/>
                  </a:lnTo>
                  <a:lnTo>
                    <a:pt x="5431" y="516"/>
                  </a:lnTo>
                  <a:lnTo>
                    <a:pt x="5429" y="514"/>
                  </a:lnTo>
                  <a:lnTo>
                    <a:pt x="5430" y="509"/>
                  </a:lnTo>
                  <a:lnTo>
                    <a:pt x="5432" y="507"/>
                  </a:lnTo>
                  <a:lnTo>
                    <a:pt x="5437" y="504"/>
                  </a:lnTo>
                  <a:lnTo>
                    <a:pt x="5435" y="501"/>
                  </a:lnTo>
                  <a:lnTo>
                    <a:pt x="5433" y="502"/>
                  </a:lnTo>
                  <a:lnTo>
                    <a:pt x="5430" y="504"/>
                  </a:lnTo>
                  <a:lnTo>
                    <a:pt x="5428" y="504"/>
                  </a:lnTo>
                  <a:lnTo>
                    <a:pt x="5430" y="495"/>
                  </a:lnTo>
                  <a:lnTo>
                    <a:pt x="5431" y="491"/>
                  </a:lnTo>
                  <a:lnTo>
                    <a:pt x="5420" y="497"/>
                  </a:lnTo>
                  <a:lnTo>
                    <a:pt x="5418" y="501"/>
                  </a:lnTo>
                  <a:lnTo>
                    <a:pt x="5417" y="508"/>
                  </a:lnTo>
                  <a:lnTo>
                    <a:pt x="5418" y="513"/>
                  </a:lnTo>
                  <a:lnTo>
                    <a:pt x="5420" y="516"/>
                  </a:lnTo>
                  <a:lnTo>
                    <a:pt x="5421" y="520"/>
                  </a:lnTo>
                  <a:lnTo>
                    <a:pt x="5422" y="533"/>
                  </a:lnTo>
                  <a:lnTo>
                    <a:pt x="5417" y="533"/>
                  </a:lnTo>
                  <a:lnTo>
                    <a:pt x="5410" y="526"/>
                  </a:lnTo>
                  <a:lnTo>
                    <a:pt x="5407" y="516"/>
                  </a:lnTo>
                  <a:lnTo>
                    <a:pt x="5407" y="494"/>
                  </a:lnTo>
                  <a:lnTo>
                    <a:pt x="5407" y="490"/>
                  </a:lnTo>
                  <a:lnTo>
                    <a:pt x="5410" y="484"/>
                  </a:lnTo>
                  <a:lnTo>
                    <a:pt x="5411" y="481"/>
                  </a:lnTo>
                  <a:lnTo>
                    <a:pt x="5410" y="474"/>
                  </a:lnTo>
                  <a:lnTo>
                    <a:pt x="5411" y="471"/>
                  </a:lnTo>
                  <a:lnTo>
                    <a:pt x="5411" y="467"/>
                  </a:lnTo>
                  <a:lnTo>
                    <a:pt x="5412" y="463"/>
                  </a:lnTo>
                  <a:lnTo>
                    <a:pt x="5412" y="461"/>
                  </a:lnTo>
                  <a:lnTo>
                    <a:pt x="5412" y="458"/>
                  </a:lnTo>
                  <a:lnTo>
                    <a:pt x="5413" y="456"/>
                  </a:lnTo>
                  <a:lnTo>
                    <a:pt x="5414" y="456"/>
                  </a:lnTo>
                  <a:lnTo>
                    <a:pt x="5415" y="454"/>
                  </a:lnTo>
                  <a:lnTo>
                    <a:pt x="5417" y="452"/>
                  </a:lnTo>
                  <a:lnTo>
                    <a:pt x="5418" y="449"/>
                  </a:lnTo>
                  <a:lnTo>
                    <a:pt x="5420" y="447"/>
                  </a:lnTo>
                  <a:lnTo>
                    <a:pt x="5425" y="444"/>
                  </a:lnTo>
                  <a:lnTo>
                    <a:pt x="5448" y="420"/>
                  </a:lnTo>
                  <a:lnTo>
                    <a:pt x="5449" y="415"/>
                  </a:lnTo>
                  <a:lnTo>
                    <a:pt x="5448" y="408"/>
                  </a:lnTo>
                  <a:lnTo>
                    <a:pt x="5446" y="404"/>
                  </a:lnTo>
                  <a:lnTo>
                    <a:pt x="5442" y="408"/>
                  </a:lnTo>
                  <a:lnTo>
                    <a:pt x="5438" y="412"/>
                  </a:lnTo>
                  <a:lnTo>
                    <a:pt x="5435" y="414"/>
                  </a:lnTo>
                  <a:lnTo>
                    <a:pt x="5432" y="411"/>
                  </a:lnTo>
                  <a:lnTo>
                    <a:pt x="5433" y="406"/>
                  </a:lnTo>
                  <a:lnTo>
                    <a:pt x="5435" y="401"/>
                  </a:lnTo>
                  <a:lnTo>
                    <a:pt x="5437" y="398"/>
                  </a:lnTo>
                  <a:lnTo>
                    <a:pt x="5433" y="398"/>
                  </a:lnTo>
                  <a:lnTo>
                    <a:pt x="5431" y="397"/>
                  </a:lnTo>
                  <a:lnTo>
                    <a:pt x="5429" y="395"/>
                  </a:lnTo>
                  <a:lnTo>
                    <a:pt x="5441" y="379"/>
                  </a:lnTo>
                  <a:lnTo>
                    <a:pt x="5447" y="376"/>
                  </a:lnTo>
                  <a:lnTo>
                    <a:pt x="5457" y="382"/>
                  </a:lnTo>
                  <a:lnTo>
                    <a:pt x="5458" y="379"/>
                  </a:lnTo>
                  <a:lnTo>
                    <a:pt x="5458" y="373"/>
                  </a:lnTo>
                  <a:lnTo>
                    <a:pt x="5455" y="360"/>
                  </a:lnTo>
                  <a:lnTo>
                    <a:pt x="5456" y="353"/>
                  </a:lnTo>
                  <a:lnTo>
                    <a:pt x="5458" y="349"/>
                  </a:lnTo>
                  <a:lnTo>
                    <a:pt x="5461" y="349"/>
                  </a:lnTo>
                  <a:lnTo>
                    <a:pt x="5455" y="339"/>
                  </a:lnTo>
                  <a:lnTo>
                    <a:pt x="5431" y="342"/>
                  </a:lnTo>
                  <a:lnTo>
                    <a:pt x="5426" y="333"/>
                  </a:lnTo>
                  <a:lnTo>
                    <a:pt x="5455" y="335"/>
                  </a:lnTo>
                  <a:lnTo>
                    <a:pt x="5461" y="323"/>
                  </a:lnTo>
                  <a:lnTo>
                    <a:pt x="5455" y="315"/>
                  </a:lnTo>
                  <a:lnTo>
                    <a:pt x="5428" y="327"/>
                  </a:lnTo>
                  <a:lnTo>
                    <a:pt x="5432" y="317"/>
                  </a:lnTo>
                  <a:lnTo>
                    <a:pt x="5454" y="298"/>
                  </a:lnTo>
                  <a:lnTo>
                    <a:pt x="5456" y="294"/>
                  </a:lnTo>
                  <a:lnTo>
                    <a:pt x="5461" y="284"/>
                  </a:lnTo>
                  <a:lnTo>
                    <a:pt x="5465" y="281"/>
                  </a:lnTo>
                  <a:lnTo>
                    <a:pt x="5472" y="277"/>
                  </a:lnTo>
                  <a:lnTo>
                    <a:pt x="5484" y="261"/>
                  </a:lnTo>
                  <a:lnTo>
                    <a:pt x="5487" y="251"/>
                  </a:lnTo>
                  <a:lnTo>
                    <a:pt x="5497" y="247"/>
                  </a:lnTo>
                  <a:lnTo>
                    <a:pt x="5505" y="233"/>
                  </a:lnTo>
                  <a:lnTo>
                    <a:pt x="5511" y="231"/>
                  </a:lnTo>
                  <a:lnTo>
                    <a:pt x="5515" y="227"/>
                  </a:lnTo>
                  <a:lnTo>
                    <a:pt x="5518" y="222"/>
                  </a:lnTo>
                  <a:lnTo>
                    <a:pt x="5520" y="216"/>
                  </a:lnTo>
                  <a:lnTo>
                    <a:pt x="5518" y="210"/>
                  </a:lnTo>
                  <a:lnTo>
                    <a:pt x="5517" y="207"/>
                  </a:lnTo>
                  <a:lnTo>
                    <a:pt x="5516" y="202"/>
                  </a:lnTo>
                  <a:lnTo>
                    <a:pt x="5531" y="197"/>
                  </a:lnTo>
                  <a:lnTo>
                    <a:pt x="5535" y="192"/>
                  </a:lnTo>
                  <a:lnTo>
                    <a:pt x="5543" y="177"/>
                  </a:lnTo>
                  <a:lnTo>
                    <a:pt x="5547" y="172"/>
                  </a:lnTo>
                  <a:lnTo>
                    <a:pt x="5554" y="168"/>
                  </a:lnTo>
                  <a:lnTo>
                    <a:pt x="5558" y="161"/>
                  </a:lnTo>
                  <a:lnTo>
                    <a:pt x="5563" y="158"/>
                  </a:lnTo>
                  <a:lnTo>
                    <a:pt x="5563" y="154"/>
                  </a:lnTo>
                  <a:lnTo>
                    <a:pt x="5562" y="149"/>
                  </a:lnTo>
                  <a:lnTo>
                    <a:pt x="5560" y="146"/>
                  </a:lnTo>
                  <a:lnTo>
                    <a:pt x="5556" y="139"/>
                  </a:lnTo>
                  <a:lnTo>
                    <a:pt x="5551" y="140"/>
                  </a:lnTo>
                  <a:lnTo>
                    <a:pt x="5547" y="144"/>
                  </a:lnTo>
                  <a:lnTo>
                    <a:pt x="5541" y="146"/>
                  </a:lnTo>
                  <a:lnTo>
                    <a:pt x="5541" y="147"/>
                  </a:lnTo>
                  <a:lnTo>
                    <a:pt x="5539" y="151"/>
                  </a:lnTo>
                  <a:lnTo>
                    <a:pt x="5538" y="154"/>
                  </a:lnTo>
                  <a:lnTo>
                    <a:pt x="5536" y="156"/>
                  </a:lnTo>
                  <a:lnTo>
                    <a:pt x="5534" y="155"/>
                  </a:lnTo>
                  <a:lnTo>
                    <a:pt x="5533" y="151"/>
                  </a:lnTo>
                  <a:lnTo>
                    <a:pt x="5532" y="147"/>
                  </a:lnTo>
                  <a:lnTo>
                    <a:pt x="5531" y="144"/>
                  </a:lnTo>
                  <a:lnTo>
                    <a:pt x="5528" y="139"/>
                  </a:lnTo>
                  <a:lnTo>
                    <a:pt x="5521" y="139"/>
                  </a:lnTo>
                  <a:lnTo>
                    <a:pt x="5514" y="142"/>
                  </a:lnTo>
                  <a:lnTo>
                    <a:pt x="5510" y="146"/>
                  </a:lnTo>
                  <a:lnTo>
                    <a:pt x="5505" y="157"/>
                  </a:lnTo>
                  <a:lnTo>
                    <a:pt x="5504" y="159"/>
                  </a:lnTo>
                  <a:lnTo>
                    <a:pt x="5501" y="159"/>
                  </a:lnTo>
                  <a:lnTo>
                    <a:pt x="5499" y="151"/>
                  </a:lnTo>
                  <a:lnTo>
                    <a:pt x="5497" y="151"/>
                  </a:lnTo>
                  <a:lnTo>
                    <a:pt x="5490" y="164"/>
                  </a:lnTo>
                  <a:lnTo>
                    <a:pt x="5486" y="165"/>
                  </a:lnTo>
                  <a:lnTo>
                    <a:pt x="5483" y="156"/>
                  </a:lnTo>
                  <a:lnTo>
                    <a:pt x="5486" y="154"/>
                  </a:lnTo>
                  <a:lnTo>
                    <a:pt x="5494" y="147"/>
                  </a:lnTo>
                  <a:lnTo>
                    <a:pt x="5497" y="143"/>
                  </a:lnTo>
                  <a:lnTo>
                    <a:pt x="5500" y="138"/>
                  </a:lnTo>
                  <a:lnTo>
                    <a:pt x="5501" y="131"/>
                  </a:lnTo>
                  <a:lnTo>
                    <a:pt x="5501" y="125"/>
                  </a:lnTo>
                  <a:lnTo>
                    <a:pt x="5482" y="105"/>
                  </a:lnTo>
                  <a:lnTo>
                    <a:pt x="5474" y="100"/>
                  </a:lnTo>
                  <a:lnTo>
                    <a:pt x="5470" y="111"/>
                  </a:lnTo>
                  <a:lnTo>
                    <a:pt x="5471" y="117"/>
                  </a:lnTo>
                  <a:lnTo>
                    <a:pt x="5473" y="124"/>
                  </a:lnTo>
                  <a:lnTo>
                    <a:pt x="5475" y="130"/>
                  </a:lnTo>
                  <a:lnTo>
                    <a:pt x="5477" y="133"/>
                  </a:lnTo>
                  <a:lnTo>
                    <a:pt x="5479" y="136"/>
                  </a:lnTo>
                  <a:lnTo>
                    <a:pt x="5478" y="144"/>
                  </a:lnTo>
                  <a:lnTo>
                    <a:pt x="5471" y="176"/>
                  </a:lnTo>
                  <a:lnTo>
                    <a:pt x="5470" y="179"/>
                  </a:lnTo>
                  <a:lnTo>
                    <a:pt x="5465" y="178"/>
                  </a:lnTo>
                  <a:lnTo>
                    <a:pt x="5463" y="179"/>
                  </a:lnTo>
                  <a:lnTo>
                    <a:pt x="5461" y="181"/>
                  </a:lnTo>
                  <a:lnTo>
                    <a:pt x="5460" y="185"/>
                  </a:lnTo>
                  <a:lnTo>
                    <a:pt x="5458" y="188"/>
                  </a:lnTo>
                  <a:lnTo>
                    <a:pt x="5457" y="189"/>
                  </a:lnTo>
                  <a:lnTo>
                    <a:pt x="5455" y="189"/>
                  </a:lnTo>
                  <a:lnTo>
                    <a:pt x="5458" y="173"/>
                  </a:lnTo>
                  <a:lnTo>
                    <a:pt x="5454" y="155"/>
                  </a:lnTo>
                  <a:lnTo>
                    <a:pt x="5453" y="149"/>
                  </a:lnTo>
                  <a:lnTo>
                    <a:pt x="5445" y="135"/>
                  </a:lnTo>
                  <a:lnTo>
                    <a:pt x="5442" y="133"/>
                  </a:lnTo>
                  <a:lnTo>
                    <a:pt x="5442" y="132"/>
                  </a:lnTo>
                  <a:lnTo>
                    <a:pt x="5441" y="129"/>
                  </a:lnTo>
                  <a:lnTo>
                    <a:pt x="5440" y="127"/>
                  </a:lnTo>
                  <a:lnTo>
                    <a:pt x="5439" y="126"/>
                  </a:lnTo>
                  <a:lnTo>
                    <a:pt x="5437" y="127"/>
                  </a:lnTo>
                  <a:lnTo>
                    <a:pt x="5434" y="132"/>
                  </a:lnTo>
                  <a:lnTo>
                    <a:pt x="5428" y="144"/>
                  </a:lnTo>
                  <a:lnTo>
                    <a:pt x="5427" y="149"/>
                  </a:lnTo>
                  <a:lnTo>
                    <a:pt x="5427" y="159"/>
                  </a:lnTo>
                  <a:lnTo>
                    <a:pt x="5424" y="157"/>
                  </a:lnTo>
                  <a:lnTo>
                    <a:pt x="5417" y="155"/>
                  </a:lnTo>
                  <a:lnTo>
                    <a:pt x="5414" y="151"/>
                  </a:lnTo>
                  <a:lnTo>
                    <a:pt x="5412" y="148"/>
                  </a:lnTo>
                  <a:lnTo>
                    <a:pt x="5405" y="152"/>
                  </a:lnTo>
                  <a:lnTo>
                    <a:pt x="5402" y="149"/>
                  </a:lnTo>
                  <a:lnTo>
                    <a:pt x="5408" y="147"/>
                  </a:lnTo>
                  <a:lnTo>
                    <a:pt x="5414" y="141"/>
                  </a:lnTo>
                  <a:lnTo>
                    <a:pt x="5420" y="132"/>
                  </a:lnTo>
                  <a:lnTo>
                    <a:pt x="5424" y="123"/>
                  </a:lnTo>
                  <a:lnTo>
                    <a:pt x="5426" y="109"/>
                  </a:lnTo>
                  <a:lnTo>
                    <a:pt x="5421" y="102"/>
                  </a:lnTo>
                  <a:lnTo>
                    <a:pt x="5415" y="101"/>
                  </a:lnTo>
                  <a:lnTo>
                    <a:pt x="5411" y="106"/>
                  </a:lnTo>
                  <a:lnTo>
                    <a:pt x="5414" y="108"/>
                  </a:lnTo>
                  <a:lnTo>
                    <a:pt x="5412" y="114"/>
                  </a:lnTo>
                  <a:lnTo>
                    <a:pt x="5411" y="122"/>
                  </a:lnTo>
                  <a:lnTo>
                    <a:pt x="5413" y="130"/>
                  </a:lnTo>
                  <a:lnTo>
                    <a:pt x="5387" y="133"/>
                  </a:lnTo>
                  <a:lnTo>
                    <a:pt x="5390" y="129"/>
                  </a:lnTo>
                  <a:lnTo>
                    <a:pt x="5393" y="126"/>
                  </a:lnTo>
                  <a:lnTo>
                    <a:pt x="5394" y="123"/>
                  </a:lnTo>
                  <a:lnTo>
                    <a:pt x="5392" y="118"/>
                  </a:lnTo>
                  <a:lnTo>
                    <a:pt x="5390" y="116"/>
                  </a:lnTo>
                  <a:lnTo>
                    <a:pt x="5385" y="114"/>
                  </a:lnTo>
                  <a:lnTo>
                    <a:pt x="5384" y="111"/>
                  </a:lnTo>
                  <a:lnTo>
                    <a:pt x="5383" y="107"/>
                  </a:lnTo>
                  <a:lnTo>
                    <a:pt x="5382" y="105"/>
                  </a:lnTo>
                  <a:lnTo>
                    <a:pt x="5380" y="103"/>
                  </a:lnTo>
                  <a:lnTo>
                    <a:pt x="5363" y="99"/>
                  </a:lnTo>
                  <a:lnTo>
                    <a:pt x="5358" y="100"/>
                  </a:lnTo>
                  <a:lnTo>
                    <a:pt x="5354" y="102"/>
                  </a:lnTo>
                  <a:lnTo>
                    <a:pt x="5350" y="106"/>
                  </a:lnTo>
                  <a:lnTo>
                    <a:pt x="5353" y="109"/>
                  </a:lnTo>
                  <a:lnTo>
                    <a:pt x="5359" y="110"/>
                  </a:lnTo>
                  <a:lnTo>
                    <a:pt x="5361" y="112"/>
                  </a:lnTo>
                  <a:lnTo>
                    <a:pt x="5358" y="112"/>
                  </a:lnTo>
                  <a:lnTo>
                    <a:pt x="5354" y="113"/>
                  </a:lnTo>
                  <a:lnTo>
                    <a:pt x="5351" y="116"/>
                  </a:lnTo>
                  <a:lnTo>
                    <a:pt x="5348" y="119"/>
                  </a:lnTo>
                  <a:lnTo>
                    <a:pt x="5350" y="125"/>
                  </a:lnTo>
                  <a:lnTo>
                    <a:pt x="5352" y="128"/>
                  </a:lnTo>
                  <a:lnTo>
                    <a:pt x="5357" y="133"/>
                  </a:lnTo>
                  <a:lnTo>
                    <a:pt x="5356" y="134"/>
                  </a:lnTo>
                  <a:lnTo>
                    <a:pt x="5354" y="139"/>
                  </a:lnTo>
                  <a:lnTo>
                    <a:pt x="5358" y="140"/>
                  </a:lnTo>
                  <a:lnTo>
                    <a:pt x="5372" y="149"/>
                  </a:lnTo>
                  <a:lnTo>
                    <a:pt x="5370" y="156"/>
                  </a:lnTo>
                  <a:lnTo>
                    <a:pt x="5366" y="156"/>
                  </a:lnTo>
                  <a:lnTo>
                    <a:pt x="5361" y="153"/>
                  </a:lnTo>
                  <a:lnTo>
                    <a:pt x="5357" y="153"/>
                  </a:lnTo>
                  <a:lnTo>
                    <a:pt x="5354" y="156"/>
                  </a:lnTo>
                  <a:lnTo>
                    <a:pt x="5354" y="160"/>
                  </a:lnTo>
                  <a:lnTo>
                    <a:pt x="5354" y="165"/>
                  </a:lnTo>
                  <a:lnTo>
                    <a:pt x="5353" y="173"/>
                  </a:lnTo>
                  <a:lnTo>
                    <a:pt x="5357" y="177"/>
                  </a:lnTo>
                  <a:lnTo>
                    <a:pt x="5359" y="181"/>
                  </a:lnTo>
                  <a:lnTo>
                    <a:pt x="5360" y="185"/>
                  </a:lnTo>
                  <a:lnTo>
                    <a:pt x="5358" y="195"/>
                  </a:lnTo>
                  <a:lnTo>
                    <a:pt x="5355" y="195"/>
                  </a:lnTo>
                  <a:lnTo>
                    <a:pt x="5348" y="185"/>
                  </a:lnTo>
                  <a:lnTo>
                    <a:pt x="5340" y="179"/>
                  </a:lnTo>
                  <a:lnTo>
                    <a:pt x="5331" y="176"/>
                  </a:lnTo>
                  <a:lnTo>
                    <a:pt x="5331" y="168"/>
                  </a:lnTo>
                  <a:lnTo>
                    <a:pt x="5329" y="165"/>
                  </a:lnTo>
                  <a:lnTo>
                    <a:pt x="5322" y="163"/>
                  </a:lnTo>
                  <a:lnTo>
                    <a:pt x="5323" y="159"/>
                  </a:lnTo>
                  <a:lnTo>
                    <a:pt x="5320" y="153"/>
                  </a:lnTo>
                  <a:lnTo>
                    <a:pt x="5315" y="154"/>
                  </a:lnTo>
                  <a:lnTo>
                    <a:pt x="5300" y="166"/>
                  </a:lnTo>
                  <a:lnTo>
                    <a:pt x="5300" y="175"/>
                  </a:lnTo>
                  <a:lnTo>
                    <a:pt x="5300" y="185"/>
                  </a:lnTo>
                  <a:lnTo>
                    <a:pt x="5296" y="192"/>
                  </a:lnTo>
                  <a:lnTo>
                    <a:pt x="5300" y="199"/>
                  </a:lnTo>
                  <a:lnTo>
                    <a:pt x="5304" y="202"/>
                  </a:lnTo>
                  <a:lnTo>
                    <a:pt x="5312" y="202"/>
                  </a:lnTo>
                  <a:lnTo>
                    <a:pt x="5331" y="209"/>
                  </a:lnTo>
                  <a:lnTo>
                    <a:pt x="5339" y="208"/>
                  </a:lnTo>
                  <a:lnTo>
                    <a:pt x="5342" y="209"/>
                  </a:lnTo>
                  <a:lnTo>
                    <a:pt x="5343" y="211"/>
                  </a:lnTo>
                  <a:lnTo>
                    <a:pt x="5347" y="218"/>
                  </a:lnTo>
                  <a:lnTo>
                    <a:pt x="5351" y="223"/>
                  </a:lnTo>
                  <a:lnTo>
                    <a:pt x="5361" y="228"/>
                  </a:lnTo>
                  <a:lnTo>
                    <a:pt x="5360" y="231"/>
                  </a:lnTo>
                  <a:lnTo>
                    <a:pt x="5359" y="232"/>
                  </a:lnTo>
                  <a:lnTo>
                    <a:pt x="5362" y="239"/>
                  </a:lnTo>
                  <a:lnTo>
                    <a:pt x="5372" y="250"/>
                  </a:lnTo>
                  <a:lnTo>
                    <a:pt x="5374" y="260"/>
                  </a:lnTo>
                  <a:lnTo>
                    <a:pt x="5372" y="271"/>
                  </a:lnTo>
                  <a:lnTo>
                    <a:pt x="5366" y="274"/>
                  </a:lnTo>
                  <a:lnTo>
                    <a:pt x="5360" y="272"/>
                  </a:lnTo>
                  <a:lnTo>
                    <a:pt x="5355" y="268"/>
                  </a:lnTo>
                  <a:lnTo>
                    <a:pt x="5336" y="243"/>
                  </a:lnTo>
                  <a:lnTo>
                    <a:pt x="5333" y="241"/>
                  </a:lnTo>
                  <a:lnTo>
                    <a:pt x="5322" y="242"/>
                  </a:lnTo>
                  <a:lnTo>
                    <a:pt x="5316" y="238"/>
                  </a:lnTo>
                  <a:lnTo>
                    <a:pt x="5313" y="237"/>
                  </a:lnTo>
                  <a:lnTo>
                    <a:pt x="5310" y="240"/>
                  </a:lnTo>
                  <a:lnTo>
                    <a:pt x="5304" y="249"/>
                  </a:lnTo>
                  <a:lnTo>
                    <a:pt x="5302" y="253"/>
                  </a:lnTo>
                  <a:lnTo>
                    <a:pt x="5301" y="258"/>
                  </a:lnTo>
                  <a:lnTo>
                    <a:pt x="5301" y="270"/>
                  </a:lnTo>
                  <a:lnTo>
                    <a:pt x="5300" y="275"/>
                  </a:lnTo>
                  <a:lnTo>
                    <a:pt x="5299" y="278"/>
                  </a:lnTo>
                  <a:lnTo>
                    <a:pt x="5298" y="279"/>
                  </a:lnTo>
                  <a:lnTo>
                    <a:pt x="5296" y="280"/>
                  </a:lnTo>
                  <a:lnTo>
                    <a:pt x="5295" y="281"/>
                  </a:lnTo>
                  <a:lnTo>
                    <a:pt x="5291" y="288"/>
                  </a:lnTo>
                  <a:lnTo>
                    <a:pt x="5275" y="305"/>
                  </a:lnTo>
                  <a:lnTo>
                    <a:pt x="5274" y="309"/>
                  </a:lnTo>
                  <a:lnTo>
                    <a:pt x="5275" y="311"/>
                  </a:lnTo>
                  <a:lnTo>
                    <a:pt x="5294" y="317"/>
                  </a:lnTo>
                  <a:lnTo>
                    <a:pt x="5298" y="322"/>
                  </a:lnTo>
                  <a:lnTo>
                    <a:pt x="5307" y="336"/>
                  </a:lnTo>
                  <a:lnTo>
                    <a:pt x="5312" y="340"/>
                  </a:lnTo>
                  <a:lnTo>
                    <a:pt x="5314" y="342"/>
                  </a:lnTo>
                  <a:lnTo>
                    <a:pt x="5314" y="346"/>
                  </a:lnTo>
                  <a:lnTo>
                    <a:pt x="5313" y="349"/>
                  </a:lnTo>
                  <a:lnTo>
                    <a:pt x="5310" y="348"/>
                  </a:lnTo>
                  <a:lnTo>
                    <a:pt x="5307" y="343"/>
                  </a:lnTo>
                  <a:lnTo>
                    <a:pt x="5304" y="340"/>
                  </a:lnTo>
                  <a:lnTo>
                    <a:pt x="5287" y="331"/>
                  </a:lnTo>
                  <a:lnTo>
                    <a:pt x="5244" y="324"/>
                  </a:lnTo>
                  <a:lnTo>
                    <a:pt x="5232" y="330"/>
                  </a:lnTo>
                  <a:lnTo>
                    <a:pt x="5228" y="335"/>
                  </a:lnTo>
                  <a:lnTo>
                    <a:pt x="5218" y="353"/>
                  </a:lnTo>
                  <a:lnTo>
                    <a:pt x="5201" y="371"/>
                  </a:lnTo>
                  <a:lnTo>
                    <a:pt x="5192" y="382"/>
                  </a:lnTo>
                  <a:lnTo>
                    <a:pt x="5188" y="387"/>
                  </a:lnTo>
                  <a:lnTo>
                    <a:pt x="5183" y="389"/>
                  </a:lnTo>
                  <a:lnTo>
                    <a:pt x="5180" y="392"/>
                  </a:lnTo>
                  <a:lnTo>
                    <a:pt x="5175" y="409"/>
                  </a:lnTo>
                  <a:lnTo>
                    <a:pt x="5172" y="414"/>
                  </a:lnTo>
                  <a:lnTo>
                    <a:pt x="5175" y="416"/>
                  </a:lnTo>
                  <a:lnTo>
                    <a:pt x="5182" y="412"/>
                  </a:lnTo>
                  <a:lnTo>
                    <a:pt x="5185" y="411"/>
                  </a:lnTo>
                  <a:lnTo>
                    <a:pt x="5181" y="420"/>
                  </a:lnTo>
                  <a:lnTo>
                    <a:pt x="5180" y="424"/>
                  </a:lnTo>
                  <a:lnTo>
                    <a:pt x="5196" y="421"/>
                  </a:lnTo>
                  <a:lnTo>
                    <a:pt x="5189" y="428"/>
                  </a:lnTo>
                  <a:lnTo>
                    <a:pt x="5162" y="433"/>
                  </a:lnTo>
                  <a:lnTo>
                    <a:pt x="5148" y="443"/>
                  </a:lnTo>
                  <a:lnTo>
                    <a:pt x="5145" y="449"/>
                  </a:lnTo>
                  <a:lnTo>
                    <a:pt x="5173" y="444"/>
                  </a:lnTo>
                  <a:lnTo>
                    <a:pt x="5178" y="445"/>
                  </a:lnTo>
                  <a:lnTo>
                    <a:pt x="5183" y="449"/>
                  </a:lnTo>
                  <a:lnTo>
                    <a:pt x="5179" y="449"/>
                  </a:lnTo>
                  <a:lnTo>
                    <a:pt x="5178" y="452"/>
                  </a:lnTo>
                  <a:lnTo>
                    <a:pt x="5176" y="453"/>
                  </a:lnTo>
                  <a:lnTo>
                    <a:pt x="5165" y="454"/>
                  </a:lnTo>
                  <a:lnTo>
                    <a:pt x="5160" y="456"/>
                  </a:lnTo>
                  <a:lnTo>
                    <a:pt x="5142" y="458"/>
                  </a:lnTo>
                  <a:lnTo>
                    <a:pt x="5137" y="462"/>
                  </a:lnTo>
                  <a:lnTo>
                    <a:pt x="5143" y="471"/>
                  </a:lnTo>
                  <a:lnTo>
                    <a:pt x="5151" y="473"/>
                  </a:lnTo>
                  <a:lnTo>
                    <a:pt x="5165" y="472"/>
                  </a:lnTo>
                  <a:lnTo>
                    <a:pt x="5163" y="479"/>
                  </a:lnTo>
                  <a:lnTo>
                    <a:pt x="5150" y="482"/>
                  </a:lnTo>
                  <a:lnTo>
                    <a:pt x="5146" y="485"/>
                  </a:lnTo>
                  <a:lnTo>
                    <a:pt x="5150" y="489"/>
                  </a:lnTo>
                  <a:lnTo>
                    <a:pt x="5159" y="493"/>
                  </a:lnTo>
                  <a:lnTo>
                    <a:pt x="5162" y="498"/>
                  </a:lnTo>
                  <a:lnTo>
                    <a:pt x="5159" y="506"/>
                  </a:lnTo>
                  <a:lnTo>
                    <a:pt x="5155" y="510"/>
                  </a:lnTo>
                  <a:lnTo>
                    <a:pt x="5142" y="511"/>
                  </a:lnTo>
                  <a:lnTo>
                    <a:pt x="5140" y="513"/>
                  </a:lnTo>
                  <a:lnTo>
                    <a:pt x="5137" y="516"/>
                  </a:lnTo>
                  <a:lnTo>
                    <a:pt x="5135" y="518"/>
                  </a:lnTo>
                  <a:lnTo>
                    <a:pt x="5129" y="518"/>
                  </a:lnTo>
                  <a:lnTo>
                    <a:pt x="5126" y="520"/>
                  </a:lnTo>
                  <a:lnTo>
                    <a:pt x="5142" y="541"/>
                  </a:lnTo>
                  <a:lnTo>
                    <a:pt x="5146" y="545"/>
                  </a:lnTo>
                  <a:lnTo>
                    <a:pt x="5176" y="547"/>
                  </a:lnTo>
                  <a:lnTo>
                    <a:pt x="5184" y="552"/>
                  </a:lnTo>
                  <a:lnTo>
                    <a:pt x="5182" y="556"/>
                  </a:lnTo>
                  <a:lnTo>
                    <a:pt x="5178" y="558"/>
                  </a:lnTo>
                  <a:lnTo>
                    <a:pt x="5175" y="560"/>
                  </a:lnTo>
                  <a:lnTo>
                    <a:pt x="5174" y="566"/>
                  </a:lnTo>
                  <a:lnTo>
                    <a:pt x="5172" y="570"/>
                  </a:lnTo>
                  <a:lnTo>
                    <a:pt x="5165" y="573"/>
                  </a:lnTo>
                  <a:lnTo>
                    <a:pt x="5151" y="587"/>
                  </a:lnTo>
                  <a:lnTo>
                    <a:pt x="5148" y="586"/>
                  </a:lnTo>
                  <a:lnTo>
                    <a:pt x="5148" y="584"/>
                  </a:lnTo>
                  <a:lnTo>
                    <a:pt x="5152" y="576"/>
                  </a:lnTo>
                  <a:lnTo>
                    <a:pt x="5152" y="574"/>
                  </a:lnTo>
                  <a:lnTo>
                    <a:pt x="5152" y="572"/>
                  </a:lnTo>
                  <a:lnTo>
                    <a:pt x="5150" y="570"/>
                  </a:lnTo>
                  <a:lnTo>
                    <a:pt x="5149" y="566"/>
                  </a:lnTo>
                  <a:lnTo>
                    <a:pt x="5148" y="565"/>
                  </a:lnTo>
                  <a:lnTo>
                    <a:pt x="5146" y="565"/>
                  </a:lnTo>
                  <a:lnTo>
                    <a:pt x="5143" y="566"/>
                  </a:lnTo>
                  <a:lnTo>
                    <a:pt x="5124" y="586"/>
                  </a:lnTo>
                  <a:lnTo>
                    <a:pt x="5119" y="589"/>
                  </a:lnTo>
                  <a:lnTo>
                    <a:pt x="5114" y="584"/>
                  </a:lnTo>
                  <a:lnTo>
                    <a:pt x="5116" y="583"/>
                  </a:lnTo>
                  <a:lnTo>
                    <a:pt x="5118" y="581"/>
                  </a:lnTo>
                  <a:lnTo>
                    <a:pt x="5120" y="579"/>
                  </a:lnTo>
                  <a:lnTo>
                    <a:pt x="5122" y="575"/>
                  </a:lnTo>
                  <a:lnTo>
                    <a:pt x="5118" y="569"/>
                  </a:lnTo>
                  <a:lnTo>
                    <a:pt x="5118" y="564"/>
                  </a:lnTo>
                  <a:lnTo>
                    <a:pt x="5118" y="557"/>
                  </a:lnTo>
                  <a:lnTo>
                    <a:pt x="5119" y="547"/>
                  </a:lnTo>
                  <a:lnTo>
                    <a:pt x="5117" y="543"/>
                  </a:lnTo>
                  <a:lnTo>
                    <a:pt x="5112" y="545"/>
                  </a:lnTo>
                  <a:lnTo>
                    <a:pt x="5107" y="548"/>
                  </a:lnTo>
                  <a:lnTo>
                    <a:pt x="5104" y="549"/>
                  </a:lnTo>
                  <a:lnTo>
                    <a:pt x="5102" y="545"/>
                  </a:lnTo>
                  <a:lnTo>
                    <a:pt x="5100" y="540"/>
                  </a:lnTo>
                  <a:lnTo>
                    <a:pt x="5099" y="533"/>
                  </a:lnTo>
                  <a:lnTo>
                    <a:pt x="5098" y="525"/>
                  </a:lnTo>
                  <a:lnTo>
                    <a:pt x="5098" y="516"/>
                  </a:lnTo>
                  <a:lnTo>
                    <a:pt x="5099" y="510"/>
                  </a:lnTo>
                  <a:lnTo>
                    <a:pt x="5101" y="495"/>
                  </a:lnTo>
                  <a:lnTo>
                    <a:pt x="5095" y="496"/>
                  </a:lnTo>
                  <a:lnTo>
                    <a:pt x="5077" y="514"/>
                  </a:lnTo>
                  <a:lnTo>
                    <a:pt x="5053" y="519"/>
                  </a:lnTo>
                  <a:lnTo>
                    <a:pt x="5043" y="528"/>
                  </a:lnTo>
                  <a:lnTo>
                    <a:pt x="5002" y="535"/>
                  </a:lnTo>
                  <a:lnTo>
                    <a:pt x="4997" y="542"/>
                  </a:lnTo>
                  <a:lnTo>
                    <a:pt x="4992" y="545"/>
                  </a:lnTo>
                  <a:lnTo>
                    <a:pt x="4988" y="545"/>
                  </a:lnTo>
                  <a:lnTo>
                    <a:pt x="4985" y="543"/>
                  </a:lnTo>
                  <a:lnTo>
                    <a:pt x="5002" y="532"/>
                  </a:lnTo>
                  <a:lnTo>
                    <a:pt x="5009" y="522"/>
                  </a:lnTo>
                  <a:lnTo>
                    <a:pt x="5015" y="521"/>
                  </a:lnTo>
                  <a:lnTo>
                    <a:pt x="5027" y="523"/>
                  </a:lnTo>
                  <a:lnTo>
                    <a:pt x="5057" y="516"/>
                  </a:lnTo>
                  <a:lnTo>
                    <a:pt x="5067" y="509"/>
                  </a:lnTo>
                  <a:lnTo>
                    <a:pt x="5073" y="507"/>
                  </a:lnTo>
                  <a:lnTo>
                    <a:pt x="5076" y="505"/>
                  </a:lnTo>
                  <a:lnTo>
                    <a:pt x="5094" y="475"/>
                  </a:lnTo>
                  <a:lnTo>
                    <a:pt x="5095" y="471"/>
                  </a:lnTo>
                  <a:lnTo>
                    <a:pt x="5093" y="467"/>
                  </a:lnTo>
                  <a:lnTo>
                    <a:pt x="5047" y="459"/>
                  </a:lnTo>
                  <a:lnTo>
                    <a:pt x="5036" y="461"/>
                  </a:lnTo>
                  <a:lnTo>
                    <a:pt x="5034" y="460"/>
                  </a:lnTo>
                  <a:lnTo>
                    <a:pt x="5035" y="453"/>
                  </a:lnTo>
                  <a:lnTo>
                    <a:pt x="5033" y="450"/>
                  </a:lnTo>
                  <a:lnTo>
                    <a:pt x="5031" y="451"/>
                  </a:lnTo>
                  <a:lnTo>
                    <a:pt x="5030" y="452"/>
                  </a:lnTo>
                  <a:lnTo>
                    <a:pt x="5028" y="452"/>
                  </a:lnTo>
                  <a:lnTo>
                    <a:pt x="5021" y="445"/>
                  </a:lnTo>
                  <a:lnTo>
                    <a:pt x="5014" y="442"/>
                  </a:lnTo>
                  <a:lnTo>
                    <a:pt x="5009" y="441"/>
                  </a:lnTo>
                  <a:lnTo>
                    <a:pt x="5003" y="443"/>
                  </a:lnTo>
                  <a:lnTo>
                    <a:pt x="4999" y="447"/>
                  </a:lnTo>
                  <a:lnTo>
                    <a:pt x="4999" y="448"/>
                  </a:lnTo>
                  <a:lnTo>
                    <a:pt x="4997" y="462"/>
                  </a:lnTo>
                  <a:lnTo>
                    <a:pt x="4992" y="479"/>
                  </a:lnTo>
                  <a:lnTo>
                    <a:pt x="4992" y="485"/>
                  </a:lnTo>
                  <a:lnTo>
                    <a:pt x="5020" y="495"/>
                  </a:lnTo>
                  <a:lnTo>
                    <a:pt x="5025" y="498"/>
                  </a:lnTo>
                  <a:lnTo>
                    <a:pt x="5029" y="504"/>
                  </a:lnTo>
                  <a:lnTo>
                    <a:pt x="5023" y="506"/>
                  </a:lnTo>
                  <a:lnTo>
                    <a:pt x="5004" y="495"/>
                  </a:lnTo>
                  <a:lnTo>
                    <a:pt x="4983" y="500"/>
                  </a:lnTo>
                  <a:lnTo>
                    <a:pt x="4977" y="498"/>
                  </a:lnTo>
                  <a:lnTo>
                    <a:pt x="4979" y="493"/>
                  </a:lnTo>
                  <a:lnTo>
                    <a:pt x="4984" y="490"/>
                  </a:lnTo>
                  <a:lnTo>
                    <a:pt x="4986" y="485"/>
                  </a:lnTo>
                  <a:lnTo>
                    <a:pt x="4984" y="477"/>
                  </a:lnTo>
                  <a:lnTo>
                    <a:pt x="4984" y="469"/>
                  </a:lnTo>
                  <a:lnTo>
                    <a:pt x="4983" y="462"/>
                  </a:lnTo>
                  <a:lnTo>
                    <a:pt x="4981" y="456"/>
                  </a:lnTo>
                  <a:lnTo>
                    <a:pt x="4984" y="452"/>
                  </a:lnTo>
                  <a:lnTo>
                    <a:pt x="4987" y="444"/>
                  </a:lnTo>
                  <a:lnTo>
                    <a:pt x="4990" y="436"/>
                  </a:lnTo>
                  <a:lnTo>
                    <a:pt x="4988" y="429"/>
                  </a:lnTo>
                  <a:lnTo>
                    <a:pt x="4982" y="425"/>
                  </a:lnTo>
                  <a:lnTo>
                    <a:pt x="4962" y="430"/>
                  </a:lnTo>
                  <a:lnTo>
                    <a:pt x="4964" y="442"/>
                  </a:lnTo>
                  <a:lnTo>
                    <a:pt x="4964" y="448"/>
                  </a:lnTo>
                  <a:lnTo>
                    <a:pt x="4962" y="453"/>
                  </a:lnTo>
                  <a:lnTo>
                    <a:pt x="4958" y="454"/>
                  </a:lnTo>
                  <a:lnTo>
                    <a:pt x="4957" y="449"/>
                  </a:lnTo>
                  <a:lnTo>
                    <a:pt x="4957" y="426"/>
                  </a:lnTo>
                  <a:lnTo>
                    <a:pt x="4956" y="421"/>
                  </a:lnTo>
                  <a:lnTo>
                    <a:pt x="4955" y="419"/>
                  </a:lnTo>
                  <a:lnTo>
                    <a:pt x="4951" y="421"/>
                  </a:lnTo>
                  <a:lnTo>
                    <a:pt x="4941" y="429"/>
                  </a:lnTo>
                  <a:lnTo>
                    <a:pt x="4937" y="430"/>
                  </a:lnTo>
                  <a:lnTo>
                    <a:pt x="4938" y="425"/>
                  </a:lnTo>
                  <a:lnTo>
                    <a:pt x="4943" y="419"/>
                  </a:lnTo>
                  <a:lnTo>
                    <a:pt x="4945" y="414"/>
                  </a:lnTo>
                  <a:lnTo>
                    <a:pt x="4941" y="411"/>
                  </a:lnTo>
                  <a:lnTo>
                    <a:pt x="4938" y="412"/>
                  </a:lnTo>
                  <a:lnTo>
                    <a:pt x="4911" y="438"/>
                  </a:lnTo>
                  <a:lnTo>
                    <a:pt x="4909" y="443"/>
                  </a:lnTo>
                  <a:lnTo>
                    <a:pt x="4909" y="451"/>
                  </a:lnTo>
                  <a:lnTo>
                    <a:pt x="4912" y="457"/>
                  </a:lnTo>
                  <a:lnTo>
                    <a:pt x="4920" y="462"/>
                  </a:lnTo>
                  <a:lnTo>
                    <a:pt x="4923" y="466"/>
                  </a:lnTo>
                  <a:lnTo>
                    <a:pt x="4922" y="466"/>
                  </a:lnTo>
                  <a:lnTo>
                    <a:pt x="4920" y="466"/>
                  </a:lnTo>
                  <a:lnTo>
                    <a:pt x="4918" y="467"/>
                  </a:lnTo>
                  <a:lnTo>
                    <a:pt x="4918" y="469"/>
                  </a:lnTo>
                  <a:lnTo>
                    <a:pt x="4917" y="473"/>
                  </a:lnTo>
                  <a:lnTo>
                    <a:pt x="4918" y="474"/>
                  </a:lnTo>
                  <a:lnTo>
                    <a:pt x="4918" y="474"/>
                  </a:lnTo>
                  <a:lnTo>
                    <a:pt x="4919" y="475"/>
                  </a:lnTo>
                  <a:lnTo>
                    <a:pt x="4919" y="480"/>
                  </a:lnTo>
                  <a:lnTo>
                    <a:pt x="4920" y="484"/>
                  </a:lnTo>
                  <a:lnTo>
                    <a:pt x="4921" y="488"/>
                  </a:lnTo>
                  <a:lnTo>
                    <a:pt x="4920" y="495"/>
                  </a:lnTo>
                  <a:lnTo>
                    <a:pt x="4913" y="485"/>
                  </a:lnTo>
                  <a:lnTo>
                    <a:pt x="4911" y="482"/>
                  </a:lnTo>
                  <a:lnTo>
                    <a:pt x="4909" y="475"/>
                  </a:lnTo>
                  <a:lnTo>
                    <a:pt x="4909" y="471"/>
                  </a:lnTo>
                  <a:lnTo>
                    <a:pt x="4908" y="467"/>
                  </a:lnTo>
                  <a:lnTo>
                    <a:pt x="4894" y="447"/>
                  </a:lnTo>
                  <a:lnTo>
                    <a:pt x="4890" y="444"/>
                  </a:lnTo>
                  <a:lnTo>
                    <a:pt x="4882" y="441"/>
                  </a:lnTo>
                  <a:lnTo>
                    <a:pt x="4878" y="437"/>
                  </a:lnTo>
                  <a:lnTo>
                    <a:pt x="4874" y="429"/>
                  </a:lnTo>
                  <a:lnTo>
                    <a:pt x="4874" y="426"/>
                  </a:lnTo>
                  <a:lnTo>
                    <a:pt x="4874" y="419"/>
                  </a:lnTo>
                  <a:lnTo>
                    <a:pt x="4874" y="417"/>
                  </a:lnTo>
                  <a:lnTo>
                    <a:pt x="4872" y="414"/>
                  </a:lnTo>
                  <a:lnTo>
                    <a:pt x="4869" y="413"/>
                  </a:lnTo>
                  <a:lnTo>
                    <a:pt x="4866" y="415"/>
                  </a:lnTo>
                  <a:lnTo>
                    <a:pt x="4863" y="421"/>
                  </a:lnTo>
                  <a:lnTo>
                    <a:pt x="4862" y="426"/>
                  </a:lnTo>
                  <a:lnTo>
                    <a:pt x="4862" y="432"/>
                  </a:lnTo>
                  <a:lnTo>
                    <a:pt x="4862" y="437"/>
                  </a:lnTo>
                  <a:lnTo>
                    <a:pt x="4862" y="443"/>
                  </a:lnTo>
                  <a:lnTo>
                    <a:pt x="4861" y="446"/>
                  </a:lnTo>
                  <a:lnTo>
                    <a:pt x="4859" y="451"/>
                  </a:lnTo>
                  <a:lnTo>
                    <a:pt x="4859" y="454"/>
                  </a:lnTo>
                  <a:lnTo>
                    <a:pt x="4859" y="458"/>
                  </a:lnTo>
                  <a:lnTo>
                    <a:pt x="4859" y="460"/>
                  </a:lnTo>
                  <a:lnTo>
                    <a:pt x="4859" y="462"/>
                  </a:lnTo>
                  <a:lnTo>
                    <a:pt x="4859" y="466"/>
                  </a:lnTo>
                  <a:lnTo>
                    <a:pt x="4852" y="452"/>
                  </a:lnTo>
                  <a:lnTo>
                    <a:pt x="4850" y="447"/>
                  </a:lnTo>
                  <a:lnTo>
                    <a:pt x="4851" y="438"/>
                  </a:lnTo>
                  <a:lnTo>
                    <a:pt x="4845" y="438"/>
                  </a:lnTo>
                  <a:lnTo>
                    <a:pt x="4835" y="447"/>
                  </a:lnTo>
                  <a:lnTo>
                    <a:pt x="4830" y="448"/>
                  </a:lnTo>
                  <a:lnTo>
                    <a:pt x="4824" y="452"/>
                  </a:lnTo>
                  <a:lnTo>
                    <a:pt x="4818" y="458"/>
                  </a:lnTo>
                  <a:lnTo>
                    <a:pt x="4818" y="459"/>
                  </a:lnTo>
                  <a:lnTo>
                    <a:pt x="4814" y="466"/>
                  </a:lnTo>
                  <a:lnTo>
                    <a:pt x="4815" y="467"/>
                  </a:lnTo>
                  <a:lnTo>
                    <a:pt x="4820" y="470"/>
                  </a:lnTo>
                  <a:lnTo>
                    <a:pt x="4822" y="474"/>
                  </a:lnTo>
                  <a:lnTo>
                    <a:pt x="4824" y="478"/>
                  </a:lnTo>
                  <a:lnTo>
                    <a:pt x="4826" y="481"/>
                  </a:lnTo>
                  <a:lnTo>
                    <a:pt x="4828" y="483"/>
                  </a:lnTo>
                  <a:lnTo>
                    <a:pt x="4830" y="485"/>
                  </a:lnTo>
                  <a:lnTo>
                    <a:pt x="4838" y="487"/>
                  </a:lnTo>
                  <a:lnTo>
                    <a:pt x="4860" y="482"/>
                  </a:lnTo>
                  <a:lnTo>
                    <a:pt x="4857" y="486"/>
                  </a:lnTo>
                  <a:lnTo>
                    <a:pt x="4853" y="489"/>
                  </a:lnTo>
                  <a:lnTo>
                    <a:pt x="4850" y="494"/>
                  </a:lnTo>
                  <a:lnTo>
                    <a:pt x="4851" y="499"/>
                  </a:lnTo>
                  <a:lnTo>
                    <a:pt x="4855" y="514"/>
                  </a:lnTo>
                  <a:lnTo>
                    <a:pt x="4858" y="517"/>
                  </a:lnTo>
                  <a:lnTo>
                    <a:pt x="4863" y="521"/>
                  </a:lnTo>
                  <a:lnTo>
                    <a:pt x="4878" y="517"/>
                  </a:lnTo>
                  <a:lnTo>
                    <a:pt x="4881" y="519"/>
                  </a:lnTo>
                  <a:lnTo>
                    <a:pt x="4890" y="533"/>
                  </a:lnTo>
                  <a:lnTo>
                    <a:pt x="4895" y="535"/>
                  </a:lnTo>
                  <a:lnTo>
                    <a:pt x="4909" y="530"/>
                  </a:lnTo>
                  <a:lnTo>
                    <a:pt x="4911" y="529"/>
                  </a:lnTo>
                  <a:lnTo>
                    <a:pt x="4913" y="522"/>
                  </a:lnTo>
                  <a:lnTo>
                    <a:pt x="4914" y="520"/>
                  </a:lnTo>
                  <a:lnTo>
                    <a:pt x="4933" y="524"/>
                  </a:lnTo>
                  <a:lnTo>
                    <a:pt x="4938" y="522"/>
                  </a:lnTo>
                  <a:lnTo>
                    <a:pt x="4941" y="516"/>
                  </a:lnTo>
                  <a:lnTo>
                    <a:pt x="4943" y="515"/>
                  </a:lnTo>
                  <a:lnTo>
                    <a:pt x="4956" y="507"/>
                  </a:lnTo>
                  <a:lnTo>
                    <a:pt x="4955" y="515"/>
                  </a:lnTo>
                  <a:lnTo>
                    <a:pt x="4953" y="518"/>
                  </a:lnTo>
                  <a:lnTo>
                    <a:pt x="4948" y="523"/>
                  </a:lnTo>
                  <a:lnTo>
                    <a:pt x="4943" y="532"/>
                  </a:lnTo>
                  <a:lnTo>
                    <a:pt x="4941" y="535"/>
                  </a:lnTo>
                  <a:lnTo>
                    <a:pt x="4937" y="536"/>
                  </a:lnTo>
                  <a:lnTo>
                    <a:pt x="4914" y="538"/>
                  </a:lnTo>
                  <a:lnTo>
                    <a:pt x="4908" y="546"/>
                  </a:lnTo>
                  <a:lnTo>
                    <a:pt x="4918" y="558"/>
                  </a:lnTo>
                  <a:lnTo>
                    <a:pt x="4932" y="557"/>
                  </a:lnTo>
                  <a:lnTo>
                    <a:pt x="4958" y="549"/>
                  </a:lnTo>
                  <a:lnTo>
                    <a:pt x="4958" y="552"/>
                  </a:lnTo>
                  <a:lnTo>
                    <a:pt x="4955" y="552"/>
                  </a:lnTo>
                  <a:lnTo>
                    <a:pt x="4950" y="555"/>
                  </a:lnTo>
                  <a:lnTo>
                    <a:pt x="4948" y="555"/>
                  </a:lnTo>
                  <a:lnTo>
                    <a:pt x="4949" y="568"/>
                  </a:lnTo>
                  <a:lnTo>
                    <a:pt x="4949" y="583"/>
                  </a:lnTo>
                  <a:lnTo>
                    <a:pt x="4948" y="592"/>
                  </a:lnTo>
                  <a:lnTo>
                    <a:pt x="4944" y="584"/>
                  </a:lnTo>
                  <a:lnTo>
                    <a:pt x="4945" y="575"/>
                  </a:lnTo>
                  <a:lnTo>
                    <a:pt x="4945" y="573"/>
                  </a:lnTo>
                  <a:lnTo>
                    <a:pt x="4943" y="570"/>
                  </a:lnTo>
                  <a:lnTo>
                    <a:pt x="4941" y="570"/>
                  </a:lnTo>
                  <a:lnTo>
                    <a:pt x="4937" y="571"/>
                  </a:lnTo>
                  <a:lnTo>
                    <a:pt x="4930" y="570"/>
                  </a:lnTo>
                  <a:lnTo>
                    <a:pt x="4928" y="571"/>
                  </a:lnTo>
                  <a:lnTo>
                    <a:pt x="4927" y="574"/>
                  </a:lnTo>
                  <a:lnTo>
                    <a:pt x="4928" y="576"/>
                  </a:lnTo>
                  <a:lnTo>
                    <a:pt x="4928" y="578"/>
                  </a:lnTo>
                  <a:lnTo>
                    <a:pt x="4928" y="580"/>
                  </a:lnTo>
                  <a:lnTo>
                    <a:pt x="4926" y="589"/>
                  </a:lnTo>
                  <a:lnTo>
                    <a:pt x="4926" y="592"/>
                  </a:lnTo>
                  <a:lnTo>
                    <a:pt x="4928" y="598"/>
                  </a:lnTo>
                  <a:lnTo>
                    <a:pt x="4928" y="604"/>
                  </a:lnTo>
                  <a:lnTo>
                    <a:pt x="4928" y="612"/>
                  </a:lnTo>
                  <a:lnTo>
                    <a:pt x="4929" y="619"/>
                  </a:lnTo>
                  <a:lnTo>
                    <a:pt x="4931" y="622"/>
                  </a:lnTo>
                  <a:lnTo>
                    <a:pt x="4938" y="624"/>
                  </a:lnTo>
                  <a:lnTo>
                    <a:pt x="4942" y="628"/>
                  </a:lnTo>
                  <a:lnTo>
                    <a:pt x="4943" y="635"/>
                  </a:lnTo>
                  <a:lnTo>
                    <a:pt x="4940" y="639"/>
                  </a:lnTo>
                  <a:lnTo>
                    <a:pt x="4930" y="636"/>
                  </a:lnTo>
                  <a:lnTo>
                    <a:pt x="4926" y="638"/>
                  </a:lnTo>
                  <a:lnTo>
                    <a:pt x="4941" y="650"/>
                  </a:lnTo>
                  <a:lnTo>
                    <a:pt x="4949" y="658"/>
                  </a:lnTo>
                  <a:lnTo>
                    <a:pt x="4949" y="669"/>
                  </a:lnTo>
                  <a:lnTo>
                    <a:pt x="4954" y="675"/>
                  </a:lnTo>
                  <a:lnTo>
                    <a:pt x="4955" y="678"/>
                  </a:lnTo>
                  <a:lnTo>
                    <a:pt x="4953" y="683"/>
                  </a:lnTo>
                  <a:lnTo>
                    <a:pt x="4949" y="686"/>
                  </a:lnTo>
                  <a:lnTo>
                    <a:pt x="4944" y="686"/>
                  </a:lnTo>
                  <a:lnTo>
                    <a:pt x="4940" y="683"/>
                  </a:lnTo>
                  <a:lnTo>
                    <a:pt x="4936" y="678"/>
                  </a:lnTo>
                  <a:lnTo>
                    <a:pt x="4942" y="681"/>
                  </a:lnTo>
                  <a:lnTo>
                    <a:pt x="4945" y="682"/>
                  </a:lnTo>
                  <a:lnTo>
                    <a:pt x="4948" y="678"/>
                  </a:lnTo>
                  <a:lnTo>
                    <a:pt x="4933" y="666"/>
                  </a:lnTo>
                  <a:lnTo>
                    <a:pt x="4931" y="661"/>
                  </a:lnTo>
                  <a:lnTo>
                    <a:pt x="4929" y="652"/>
                  </a:lnTo>
                  <a:lnTo>
                    <a:pt x="4925" y="644"/>
                  </a:lnTo>
                  <a:lnTo>
                    <a:pt x="4901" y="617"/>
                  </a:lnTo>
                  <a:lnTo>
                    <a:pt x="4890" y="614"/>
                  </a:lnTo>
                  <a:lnTo>
                    <a:pt x="4884" y="610"/>
                  </a:lnTo>
                  <a:lnTo>
                    <a:pt x="4878" y="604"/>
                  </a:lnTo>
                  <a:lnTo>
                    <a:pt x="4873" y="597"/>
                  </a:lnTo>
                  <a:lnTo>
                    <a:pt x="4877" y="584"/>
                  </a:lnTo>
                  <a:lnTo>
                    <a:pt x="4871" y="579"/>
                  </a:lnTo>
                  <a:lnTo>
                    <a:pt x="4869" y="575"/>
                  </a:lnTo>
                  <a:lnTo>
                    <a:pt x="4870" y="568"/>
                  </a:lnTo>
                  <a:lnTo>
                    <a:pt x="4843" y="550"/>
                  </a:lnTo>
                  <a:lnTo>
                    <a:pt x="4834" y="549"/>
                  </a:lnTo>
                  <a:lnTo>
                    <a:pt x="4827" y="553"/>
                  </a:lnTo>
                  <a:lnTo>
                    <a:pt x="4821" y="562"/>
                  </a:lnTo>
                  <a:lnTo>
                    <a:pt x="4817" y="575"/>
                  </a:lnTo>
                  <a:lnTo>
                    <a:pt x="4814" y="593"/>
                  </a:lnTo>
                  <a:lnTo>
                    <a:pt x="4819" y="593"/>
                  </a:lnTo>
                  <a:lnTo>
                    <a:pt x="4824" y="596"/>
                  </a:lnTo>
                  <a:lnTo>
                    <a:pt x="4829" y="600"/>
                  </a:lnTo>
                  <a:lnTo>
                    <a:pt x="4833" y="606"/>
                  </a:lnTo>
                  <a:lnTo>
                    <a:pt x="4814" y="606"/>
                  </a:lnTo>
                  <a:lnTo>
                    <a:pt x="4816" y="629"/>
                  </a:lnTo>
                  <a:lnTo>
                    <a:pt x="4816" y="635"/>
                  </a:lnTo>
                  <a:lnTo>
                    <a:pt x="4814" y="641"/>
                  </a:lnTo>
                  <a:lnTo>
                    <a:pt x="4810" y="647"/>
                  </a:lnTo>
                  <a:lnTo>
                    <a:pt x="4805" y="650"/>
                  </a:lnTo>
                  <a:lnTo>
                    <a:pt x="4801" y="650"/>
                  </a:lnTo>
                  <a:lnTo>
                    <a:pt x="4803" y="644"/>
                  </a:lnTo>
                  <a:lnTo>
                    <a:pt x="4810" y="630"/>
                  </a:lnTo>
                  <a:lnTo>
                    <a:pt x="4811" y="623"/>
                  </a:lnTo>
                  <a:lnTo>
                    <a:pt x="4808" y="621"/>
                  </a:lnTo>
                  <a:lnTo>
                    <a:pt x="4795" y="625"/>
                  </a:lnTo>
                  <a:lnTo>
                    <a:pt x="4790" y="628"/>
                  </a:lnTo>
                  <a:lnTo>
                    <a:pt x="4792" y="636"/>
                  </a:lnTo>
                  <a:lnTo>
                    <a:pt x="4789" y="641"/>
                  </a:lnTo>
                  <a:lnTo>
                    <a:pt x="4784" y="643"/>
                  </a:lnTo>
                  <a:lnTo>
                    <a:pt x="4781" y="644"/>
                  </a:lnTo>
                  <a:lnTo>
                    <a:pt x="4782" y="649"/>
                  </a:lnTo>
                  <a:lnTo>
                    <a:pt x="4787" y="653"/>
                  </a:lnTo>
                  <a:lnTo>
                    <a:pt x="4789" y="657"/>
                  </a:lnTo>
                  <a:lnTo>
                    <a:pt x="4784" y="661"/>
                  </a:lnTo>
                  <a:lnTo>
                    <a:pt x="4780" y="658"/>
                  </a:lnTo>
                  <a:lnTo>
                    <a:pt x="4772" y="647"/>
                  </a:lnTo>
                  <a:lnTo>
                    <a:pt x="4772" y="644"/>
                  </a:lnTo>
                  <a:lnTo>
                    <a:pt x="4773" y="642"/>
                  </a:lnTo>
                  <a:lnTo>
                    <a:pt x="4775" y="641"/>
                  </a:lnTo>
                  <a:lnTo>
                    <a:pt x="4776" y="641"/>
                  </a:lnTo>
                  <a:lnTo>
                    <a:pt x="4774" y="634"/>
                  </a:lnTo>
                  <a:lnTo>
                    <a:pt x="4771" y="633"/>
                  </a:lnTo>
                  <a:lnTo>
                    <a:pt x="4767" y="633"/>
                  </a:lnTo>
                  <a:lnTo>
                    <a:pt x="4764" y="631"/>
                  </a:lnTo>
                  <a:lnTo>
                    <a:pt x="4764" y="628"/>
                  </a:lnTo>
                  <a:lnTo>
                    <a:pt x="4768" y="625"/>
                  </a:lnTo>
                  <a:lnTo>
                    <a:pt x="4778" y="608"/>
                  </a:lnTo>
                  <a:lnTo>
                    <a:pt x="4796" y="590"/>
                  </a:lnTo>
                  <a:lnTo>
                    <a:pt x="4796" y="587"/>
                  </a:lnTo>
                  <a:lnTo>
                    <a:pt x="4789" y="589"/>
                  </a:lnTo>
                  <a:lnTo>
                    <a:pt x="4754" y="617"/>
                  </a:lnTo>
                  <a:lnTo>
                    <a:pt x="4748" y="619"/>
                  </a:lnTo>
                  <a:lnTo>
                    <a:pt x="4749" y="625"/>
                  </a:lnTo>
                  <a:lnTo>
                    <a:pt x="4752" y="631"/>
                  </a:lnTo>
                  <a:lnTo>
                    <a:pt x="4753" y="636"/>
                  </a:lnTo>
                  <a:lnTo>
                    <a:pt x="4753" y="642"/>
                  </a:lnTo>
                  <a:lnTo>
                    <a:pt x="4750" y="650"/>
                  </a:lnTo>
                  <a:lnTo>
                    <a:pt x="4747" y="655"/>
                  </a:lnTo>
                  <a:lnTo>
                    <a:pt x="4724" y="668"/>
                  </a:lnTo>
                  <a:lnTo>
                    <a:pt x="4703" y="669"/>
                  </a:lnTo>
                  <a:lnTo>
                    <a:pt x="4699" y="672"/>
                  </a:lnTo>
                  <a:lnTo>
                    <a:pt x="4699" y="676"/>
                  </a:lnTo>
                  <a:lnTo>
                    <a:pt x="4704" y="679"/>
                  </a:lnTo>
                  <a:lnTo>
                    <a:pt x="4707" y="687"/>
                  </a:lnTo>
                  <a:lnTo>
                    <a:pt x="4708" y="699"/>
                  </a:lnTo>
                  <a:lnTo>
                    <a:pt x="4706" y="711"/>
                  </a:lnTo>
                  <a:lnTo>
                    <a:pt x="4700" y="725"/>
                  </a:lnTo>
                  <a:lnTo>
                    <a:pt x="4699" y="730"/>
                  </a:lnTo>
                  <a:lnTo>
                    <a:pt x="4700" y="735"/>
                  </a:lnTo>
                  <a:lnTo>
                    <a:pt x="4708" y="742"/>
                  </a:lnTo>
                  <a:lnTo>
                    <a:pt x="4722" y="750"/>
                  </a:lnTo>
                  <a:lnTo>
                    <a:pt x="4725" y="754"/>
                  </a:lnTo>
                  <a:lnTo>
                    <a:pt x="4727" y="758"/>
                  </a:lnTo>
                  <a:lnTo>
                    <a:pt x="4731" y="771"/>
                  </a:lnTo>
                  <a:lnTo>
                    <a:pt x="4736" y="780"/>
                  </a:lnTo>
                  <a:lnTo>
                    <a:pt x="4751" y="788"/>
                  </a:lnTo>
                  <a:lnTo>
                    <a:pt x="4758" y="794"/>
                  </a:lnTo>
                  <a:lnTo>
                    <a:pt x="4755" y="797"/>
                  </a:lnTo>
                  <a:lnTo>
                    <a:pt x="4753" y="795"/>
                  </a:lnTo>
                  <a:lnTo>
                    <a:pt x="4751" y="791"/>
                  </a:lnTo>
                  <a:lnTo>
                    <a:pt x="4748" y="788"/>
                  </a:lnTo>
                  <a:lnTo>
                    <a:pt x="4725" y="783"/>
                  </a:lnTo>
                  <a:lnTo>
                    <a:pt x="4713" y="772"/>
                  </a:lnTo>
                  <a:lnTo>
                    <a:pt x="4706" y="763"/>
                  </a:lnTo>
                  <a:lnTo>
                    <a:pt x="4703" y="760"/>
                  </a:lnTo>
                  <a:lnTo>
                    <a:pt x="4701" y="757"/>
                  </a:lnTo>
                  <a:lnTo>
                    <a:pt x="4699" y="757"/>
                  </a:lnTo>
                  <a:lnTo>
                    <a:pt x="4697" y="759"/>
                  </a:lnTo>
                  <a:lnTo>
                    <a:pt x="4696" y="763"/>
                  </a:lnTo>
                  <a:lnTo>
                    <a:pt x="4694" y="767"/>
                  </a:lnTo>
                  <a:lnTo>
                    <a:pt x="4694" y="771"/>
                  </a:lnTo>
                  <a:lnTo>
                    <a:pt x="4692" y="782"/>
                  </a:lnTo>
                  <a:lnTo>
                    <a:pt x="4689" y="789"/>
                  </a:lnTo>
                  <a:lnTo>
                    <a:pt x="4682" y="800"/>
                  </a:lnTo>
                  <a:lnTo>
                    <a:pt x="4679" y="807"/>
                  </a:lnTo>
                  <a:lnTo>
                    <a:pt x="4666" y="841"/>
                  </a:lnTo>
                  <a:lnTo>
                    <a:pt x="4665" y="843"/>
                  </a:lnTo>
                  <a:lnTo>
                    <a:pt x="4658" y="844"/>
                  </a:lnTo>
                  <a:lnTo>
                    <a:pt x="4634" y="866"/>
                  </a:lnTo>
                  <a:lnTo>
                    <a:pt x="4630" y="873"/>
                  </a:lnTo>
                  <a:lnTo>
                    <a:pt x="4627" y="880"/>
                  </a:lnTo>
                  <a:lnTo>
                    <a:pt x="4622" y="889"/>
                  </a:lnTo>
                  <a:lnTo>
                    <a:pt x="4618" y="896"/>
                  </a:lnTo>
                  <a:lnTo>
                    <a:pt x="4614" y="899"/>
                  </a:lnTo>
                  <a:lnTo>
                    <a:pt x="4609" y="896"/>
                  </a:lnTo>
                  <a:lnTo>
                    <a:pt x="4612" y="888"/>
                  </a:lnTo>
                  <a:lnTo>
                    <a:pt x="4623" y="871"/>
                  </a:lnTo>
                  <a:lnTo>
                    <a:pt x="4622" y="870"/>
                  </a:lnTo>
                  <a:lnTo>
                    <a:pt x="4620" y="866"/>
                  </a:lnTo>
                  <a:lnTo>
                    <a:pt x="4620" y="865"/>
                  </a:lnTo>
                  <a:lnTo>
                    <a:pt x="4622" y="861"/>
                  </a:lnTo>
                  <a:lnTo>
                    <a:pt x="4631" y="856"/>
                  </a:lnTo>
                  <a:lnTo>
                    <a:pt x="4641" y="845"/>
                  </a:lnTo>
                  <a:lnTo>
                    <a:pt x="4649" y="840"/>
                  </a:lnTo>
                  <a:lnTo>
                    <a:pt x="4653" y="832"/>
                  </a:lnTo>
                  <a:lnTo>
                    <a:pt x="4655" y="819"/>
                  </a:lnTo>
                  <a:lnTo>
                    <a:pt x="4656" y="806"/>
                  </a:lnTo>
                  <a:lnTo>
                    <a:pt x="4661" y="810"/>
                  </a:lnTo>
                  <a:lnTo>
                    <a:pt x="4664" y="807"/>
                  </a:lnTo>
                  <a:lnTo>
                    <a:pt x="4666" y="799"/>
                  </a:lnTo>
                  <a:lnTo>
                    <a:pt x="4664" y="791"/>
                  </a:lnTo>
                  <a:lnTo>
                    <a:pt x="4665" y="785"/>
                  </a:lnTo>
                  <a:lnTo>
                    <a:pt x="4666" y="779"/>
                  </a:lnTo>
                  <a:lnTo>
                    <a:pt x="4668" y="775"/>
                  </a:lnTo>
                  <a:lnTo>
                    <a:pt x="4671" y="772"/>
                  </a:lnTo>
                  <a:lnTo>
                    <a:pt x="4666" y="765"/>
                  </a:lnTo>
                  <a:lnTo>
                    <a:pt x="4669" y="759"/>
                  </a:lnTo>
                  <a:lnTo>
                    <a:pt x="4675" y="755"/>
                  </a:lnTo>
                  <a:lnTo>
                    <a:pt x="4680" y="754"/>
                  </a:lnTo>
                  <a:lnTo>
                    <a:pt x="4682" y="752"/>
                  </a:lnTo>
                  <a:lnTo>
                    <a:pt x="4683" y="747"/>
                  </a:lnTo>
                  <a:lnTo>
                    <a:pt x="4684" y="742"/>
                  </a:lnTo>
                  <a:lnTo>
                    <a:pt x="4684" y="736"/>
                  </a:lnTo>
                  <a:lnTo>
                    <a:pt x="4683" y="731"/>
                  </a:lnTo>
                  <a:lnTo>
                    <a:pt x="4682" y="728"/>
                  </a:lnTo>
                  <a:lnTo>
                    <a:pt x="4675" y="718"/>
                  </a:lnTo>
                  <a:lnTo>
                    <a:pt x="4674" y="715"/>
                  </a:lnTo>
                  <a:lnTo>
                    <a:pt x="4673" y="710"/>
                  </a:lnTo>
                  <a:lnTo>
                    <a:pt x="4673" y="708"/>
                  </a:lnTo>
                  <a:lnTo>
                    <a:pt x="4676" y="690"/>
                  </a:lnTo>
                  <a:lnTo>
                    <a:pt x="4677" y="686"/>
                  </a:lnTo>
                  <a:lnTo>
                    <a:pt x="4678" y="681"/>
                  </a:lnTo>
                  <a:lnTo>
                    <a:pt x="4679" y="675"/>
                  </a:lnTo>
                  <a:lnTo>
                    <a:pt x="4679" y="671"/>
                  </a:lnTo>
                  <a:lnTo>
                    <a:pt x="4680" y="665"/>
                  </a:lnTo>
                  <a:lnTo>
                    <a:pt x="4682" y="661"/>
                  </a:lnTo>
                  <a:lnTo>
                    <a:pt x="4684" y="657"/>
                  </a:lnTo>
                  <a:lnTo>
                    <a:pt x="4685" y="653"/>
                  </a:lnTo>
                  <a:lnTo>
                    <a:pt x="4685" y="649"/>
                  </a:lnTo>
                  <a:lnTo>
                    <a:pt x="4685" y="640"/>
                  </a:lnTo>
                  <a:lnTo>
                    <a:pt x="4686" y="635"/>
                  </a:lnTo>
                  <a:lnTo>
                    <a:pt x="4687" y="629"/>
                  </a:lnTo>
                  <a:lnTo>
                    <a:pt x="4689" y="625"/>
                  </a:lnTo>
                  <a:lnTo>
                    <a:pt x="4690" y="620"/>
                  </a:lnTo>
                  <a:lnTo>
                    <a:pt x="4689" y="614"/>
                  </a:lnTo>
                  <a:lnTo>
                    <a:pt x="4672" y="580"/>
                  </a:lnTo>
                  <a:lnTo>
                    <a:pt x="4669" y="577"/>
                  </a:lnTo>
                  <a:lnTo>
                    <a:pt x="4665" y="578"/>
                  </a:lnTo>
                  <a:lnTo>
                    <a:pt x="4660" y="588"/>
                  </a:lnTo>
                  <a:lnTo>
                    <a:pt x="4655" y="595"/>
                  </a:lnTo>
                  <a:lnTo>
                    <a:pt x="4654" y="598"/>
                  </a:lnTo>
                  <a:lnTo>
                    <a:pt x="4655" y="619"/>
                  </a:lnTo>
                  <a:lnTo>
                    <a:pt x="4655" y="628"/>
                  </a:lnTo>
                  <a:lnTo>
                    <a:pt x="4655" y="628"/>
                  </a:lnTo>
                  <a:lnTo>
                    <a:pt x="4653" y="624"/>
                  </a:lnTo>
                  <a:lnTo>
                    <a:pt x="4650" y="622"/>
                  </a:lnTo>
                  <a:lnTo>
                    <a:pt x="4650" y="619"/>
                  </a:lnTo>
                  <a:lnTo>
                    <a:pt x="4649" y="611"/>
                  </a:lnTo>
                  <a:lnTo>
                    <a:pt x="4649" y="600"/>
                  </a:lnTo>
                  <a:lnTo>
                    <a:pt x="4649" y="597"/>
                  </a:lnTo>
                  <a:lnTo>
                    <a:pt x="4649" y="595"/>
                  </a:lnTo>
                  <a:lnTo>
                    <a:pt x="4649" y="590"/>
                  </a:lnTo>
                  <a:lnTo>
                    <a:pt x="4647" y="593"/>
                  </a:lnTo>
                  <a:lnTo>
                    <a:pt x="4645" y="599"/>
                  </a:lnTo>
                  <a:lnTo>
                    <a:pt x="4640" y="619"/>
                  </a:lnTo>
                  <a:lnTo>
                    <a:pt x="4635" y="635"/>
                  </a:lnTo>
                  <a:lnTo>
                    <a:pt x="4628" y="660"/>
                  </a:lnTo>
                  <a:lnTo>
                    <a:pt x="4623" y="670"/>
                  </a:lnTo>
                  <a:lnTo>
                    <a:pt x="4617" y="672"/>
                  </a:lnTo>
                  <a:lnTo>
                    <a:pt x="4620" y="657"/>
                  </a:lnTo>
                  <a:lnTo>
                    <a:pt x="4623" y="646"/>
                  </a:lnTo>
                  <a:lnTo>
                    <a:pt x="4624" y="639"/>
                  </a:lnTo>
                  <a:lnTo>
                    <a:pt x="4623" y="636"/>
                  </a:lnTo>
                  <a:lnTo>
                    <a:pt x="4620" y="638"/>
                  </a:lnTo>
                  <a:lnTo>
                    <a:pt x="4619" y="642"/>
                  </a:lnTo>
                  <a:lnTo>
                    <a:pt x="4614" y="658"/>
                  </a:lnTo>
                  <a:lnTo>
                    <a:pt x="4611" y="663"/>
                  </a:lnTo>
                  <a:lnTo>
                    <a:pt x="4605" y="667"/>
                  </a:lnTo>
                  <a:lnTo>
                    <a:pt x="4602" y="672"/>
                  </a:lnTo>
                  <a:lnTo>
                    <a:pt x="4603" y="681"/>
                  </a:lnTo>
                  <a:lnTo>
                    <a:pt x="4600" y="686"/>
                  </a:lnTo>
                  <a:lnTo>
                    <a:pt x="4596" y="690"/>
                  </a:lnTo>
                  <a:lnTo>
                    <a:pt x="4594" y="696"/>
                  </a:lnTo>
                  <a:lnTo>
                    <a:pt x="4594" y="707"/>
                  </a:lnTo>
                  <a:lnTo>
                    <a:pt x="4594" y="710"/>
                  </a:lnTo>
                  <a:lnTo>
                    <a:pt x="4595" y="713"/>
                  </a:lnTo>
                  <a:lnTo>
                    <a:pt x="4597" y="720"/>
                  </a:lnTo>
                  <a:lnTo>
                    <a:pt x="4598" y="724"/>
                  </a:lnTo>
                  <a:lnTo>
                    <a:pt x="4600" y="735"/>
                  </a:lnTo>
                  <a:lnTo>
                    <a:pt x="4605" y="738"/>
                  </a:lnTo>
                  <a:lnTo>
                    <a:pt x="4611" y="740"/>
                  </a:lnTo>
                  <a:lnTo>
                    <a:pt x="4615" y="743"/>
                  </a:lnTo>
                  <a:lnTo>
                    <a:pt x="4620" y="748"/>
                  </a:lnTo>
                  <a:lnTo>
                    <a:pt x="4627" y="752"/>
                  </a:lnTo>
                  <a:lnTo>
                    <a:pt x="4634" y="754"/>
                  </a:lnTo>
                  <a:lnTo>
                    <a:pt x="4640" y="754"/>
                  </a:lnTo>
                  <a:lnTo>
                    <a:pt x="4632" y="756"/>
                  </a:lnTo>
                  <a:lnTo>
                    <a:pt x="4621" y="752"/>
                  </a:lnTo>
                  <a:lnTo>
                    <a:pt x="4611" y="745"/>
                  </a:lnTo>
                  <a:lnTo>
                    <a:pt x="4591" y="741"/>
                  </a:lnTo>
                  <a:lnTo>
                    <a:pt x="4585" y="742"/>
                  </a:lnTo>
                  <a:lnTo>
                    <a:pt x="4581" y="741"/>
                  </a:lnTo>
                  <a:lnTo>
                    <a:pt x="4582" y="743"/>
                  </a:lnTo>
                  <a:lnTo>
                    <a:pt x="4582" y="745"/>
                  </a:lnTo>
                  <a:lnTo>
                    <a:pt x="4583" y="746"/>
                  </a:lnTo>
                  <a:lnTo>
                    <a:pt x="4584" y="747"/>
                  </a:lnTo>
                  <a:lnTo>
                    <a:pt x="4576" y="778"/>
                  </a:lnTo>
                  <a:lnTo>
                    <a:pt x="4579" y="785"/>
                  </a:lnTo>
                  <a:lnTo>
                    <a:pt x="4577" y="796"/>
                  </a:lnTo>
                  <a:lnTo>
                    <a:pt x="4574" y="808"/>
                  </a:lnTo>
                  <a:lnTo>
                    <a:pt x="4573" y="817"/>
                  </a:lnTo>
                  <a:lnTo>
                    <a:pt x="4548" y="837"/>
                  </a:lnTo>
                  <a:lnTo>
                    <a:pt x="4551" y="829"/>
                  </a:lnTo>
                  <a:lnTo>
                    <a:pt x="4556" y="821"/>
                  </a:lnTo>
                  <a:lnTo>
                    <a:pt x="4561" y="815"/>
                  </a:lnTo>
                  <a:lnTo>
                    <a:pt x="4566" y="813"/>
                  </a:lnTo>
                  <a:lnTo>
                    <a:pt x="4567" y="810"/>
                  </a:lnTo>
                  <a:lnTo>
                    <a:pt x="4566" y="805"/>
                  </a:lnTo>
                  <a:lnTo>
                    <a:pt x="4564" y="799"/>
                  </a:lnTo>
                  <a:lnTo>
                    <a:pt x="4563" y="794"/>
                  </a:lnTo>
                  <a:lnTo>
                    <a:pt x="4563" y="789"/>
                  </a:lnTo>
                  <a:lnTo>
                    <a:pt x="4563" y="783"/>
                  </a:lnTo>
                  <a:lnTo>
                    <a:pt x="4565" y="778"/>
                  </a:lnTo>
                  <a:lnTo>
                    <a:pt x="4566" y="774"/>
                  </a:lnTo>
                  <a:lnTo>
                    <a:pt x="4575" y="750"/>
                  </a:lnTo>
                  <a:lnTo>
                    <a:pt x="4577" y="741"/>
                  </a:lnTo>
                  <a:lnTo>
                    <a:pt x="4579" y="728"/>
                  </a:lnTo>
                  <a:lnTo>
                    <a:pt x="4577" y="722"/>
                  </a:lnTo>
                  <a:lnTo>
                    <a:pt x="4574" y="718"/>
                  </a:lnTo>
                  <a:lnTo>
                    <a:pt x="4571" y="710"/>
                  </a:lnTo>
                  <a:lnTo>
                    <a:pt x="4573" y="706"/>
                  </a:lnTo>
                  <a:lnTo>
                    <a:pt x="4576" y="699"/>
                  </a:lnTo>
                  <a:lnTo>
                    <a:pt x="4579" y="691"/>
                  </a:lnTo>
                  <a:lnTo>
                    <a:pt x="4581" y="683"/>
                  </a:lnTo>
                  <a:lnTo>
                    <a:pt x="4580" y="677"/>
                  </a:lnTo>
                  <a:lnTo>
                    <a:pt x="4580" y="675"/>
                  </a:lnTo>
                  <a:lnTo>
                    <a:pt x="4586" y="663"/>
                  </a:lnTo>
                  <a:lnTo>
                    <a:pt x="4587" y="659"/>
                  </a:lnTo>
                  <a:lnTo>
                    <a:pt x="4588" y="653"/>
                  </a:lnTo>
                  <a:lnTo>
                    <a:pt x="4581" y="649"/>
                  </a:lnTo>
                  <a:lnTo>
                    <a:pt x="4552" y="655"/>
                  </a:lnTo>
                  <a:lnTo>
                    <a:pt x="4540" y="664"/>
                  </a:lnTo>
                  <a:lnTo>
                    <a:pt x="4534" y="666"/>
                  </a:lnTo>
                  <a:lnTo>
                    <a:pt x="4511" y="663"/>
                  </a:lnTo>
                  <a:lnTo>
                    <a:pt x="4503" y="666"/>
                  </a:lnTo>
                  <a:lnTo>
                    <a:pt x="4501" y="669"/>
                  </a:lnTo>
                  <a:lnTo>
                    <a:pt x="4496" y="677"/>
                  </a:lnTo>
                  <a:lnTo>
                    <a:pt x="4493" y="678"/>
                  </a:lnTo>
                  <a:lnTo>
                    <a:pt x="4486" y="680"/>
                  </a:lnTo>
                  <a:lnTo>
                    <a:pt x="4482" y="682"/>
                  </a:lnTo>
                  <a:lnTo>
                    <a:pt x="4479" y="685"/>
                  </a:lnTo>
                  <a:lnTo>
                    <a:pt x="4477" y="704"/>
                  </a:lnTo>
                  <a:lnTo>
                    <a:pt x="4455" y="740"/>
                  </a:lnTo>
                  <a:lnTo>
                    <a:pt x="4457" y="765"/>
                  </a:lnTo>
                  <a:lnTo>
                    <a:pt x="4459" y="770"/>
                  </a:lnTo>
                  <a:lnTo>
                    <a:pt x="4463" y="774"/>
                  </a:lnTo>
                  <a:lnTo>
                    <a:pt x="4466" y="777"/>
                  </a:lnTo>
                  <a:lnTo>
                    <a:pt x="4469" y="774"/>
                  </a:lnTo>
                  <a:lnTo>
                    <a:pt x="4472" y="769"/>
                  </a:lnTo>
                  <a:lnTo>
                    <a:pt x="4480" y="767"/>
                  </a:lnTo>
                  <a:lnTo>
                    <a:pt x="4487" y="763"/>
                  </a:lnTo>
                  <a:lnTo>
                    <a:pt x="4500" y="761"/>
                  </a:lnTo>
                  <a:lnTo>
                    <a:pt x="4501" y="768"/>
                  </a:lnTo>
                  <a:lnTo>
                    <a:pt x="4502" y="772"/>
                  </a:lnTo>
                  <a:lnTo>
                    <a:pt x="4504" y="776"/>
                  </a:lnTo>
                  <a:lnTo>
                    <a:pt x="4505" y="782"/>
                  </a:lnTo>
                  <a:lnTo>
                    <a:pt x="4503" y="781"/>
                  </a:lnTo>
                  <a:lnTo>
                    <a:pt x="4501" y="780"/>
                  </a:lnTo>
                  <a:lnTo>
                    <a:pt x="4499" y="777"/>
                  </a:lnTo>
                  <a:lnTo>
                    <a:pt x="4494" y="770"/>
                  </a:lnTo>
                  <a:lnTo>
                    <a:pt x="4492" y="769"/>
                  </a:lnTo>
                  <a:lnTo>
                    <a:pt x="4474" y="777"/>
                  </a:lnTo>
                  <a:lnTo>
                    <a:pt x="4469" y="783"/>
                  </a:lnTo>
                  <a:lnTo>
                    <a:pt x="4464" y="790"/>
                  </a:lnTo>
                  <a:lnTo>
                    <a:pt x="4462" y="800"/>
                  </a:lnTo>
                  <a:lnTo>
                    <a:pt x="4464" y="809"/>
                  </a:lnTo>
                  <a:lnTo>
                    <a:pt x="4467" y="815"/>
                  </a:lnTo>
                  <a:lnTo>
                    <a:pt x="4470" y="819"/>
                  </a:lnTo>
                  <a:lnTo>
                    <a:pt x="4475" y="820"/>
                  </a:lnTo>
                  <a:lnTo>
                    <a:pt x="4476" y="822"/>
                  </a:lnTo>
                  <a:lnTo>
                    <a:pt x="4477" y="824"/>
                  </a:lnTo>
                  <a:lnTo>
                    <a:pt x="4477" y="827"/>
                  </a:lnTo>
                  <a:lnTo>
                    <a:pt x="4477" y="829"/>
                  </a:lnTo>
                  <a:lnTo>
                    <a:pt x="4477" y="831"/>
                  </a:lnTo>
                  <a:lnTo>
                    <a:pt x="4481" y="841"/>
                  </a:lnTo>
                  <a:lnTo>
                    <a:pt x="4483" y="844"/>
                  </a:lnTo>
                  <a:lnTo>
                    <a:pt x="4488" y="848"/>
                  </a:lnTo>
                  <a:lnTo>
                    <a:pt x="4511" y="844"/>
                  </a:lnTo>
                  <a:lnTo>
                    <a:pt x="4515" y="845"/>
                  </a:lnTo>
                  <a:lnTo>
                    <a:pt x="4519" y="847"/>
                  </a:lnTo>
                  <a:lnTo>
                    <a:pt x="4532" y="864"/>
                  </a:lnTo>
                  <a:lnTo>
                    <a:pt x="4535" y="871"/>
                  </a:lnTo>
                  <a:lnTo>
                    <a:pt x="4536" y="874"/>
                  </a:lnTo>
                  <a:lnTo>
                    <a:pt x="4536" y="880"/>
                  </a:lnTo>
                  <a:lnTo>
                    <a:pt x="4535" y="883"/>
                  </a:lnTo>
                  <a:lnTo>
                    <a:pt x="4534" y="886"/>
                  </a:lnTo>
                  <a:lnTo>
                    <a:pt x="4533" y="890"/>
                  </a:lnTo>
                  <a:lnTo>
                    <a:pt x="4535" y="900"/>
                  </a:lnTo>
                  <a:lnTo>
                    <a:pt x="4537" y="905"/>
                  </a:lnTo>
                  <a:lnTo>
                    <a:pt x="4541" y="909"/>
                  </a:lnTo>
                  <a:lnTo>
                    <a:pt x="4544" y="914"/>
                  </a:lnTo>
                  <a:lnTo>
                    <a:pt x="4539" y="918"/>
                  </a:lnTo>
                  <a:lnTo>
                    <a:pt x="4529" y="909"/>
                  </a:lnTo>
                  <a:lnTo>
                    <a:pt x="4524" y="908"/>
                  </a:lnTo>
                  <a:lnTo>
                    <a:pt x="4522" y="910"/>
                  </a:lnTo>
                  <a:lnTo>
                    <a:pt x="4517" y="916"/>
                  </a:lnTo>
                  <a:lnTo>
                    <a:pt x="4514" y="917"/>
                  </a:lnTo>
                  <a:lnTo>
                    <a:pt x="4511" y="917"/>
                  </a:lnTo>
                  <a:lnTo>
                    <a:pt x="4505" y="912"/>
                  </a:lnTo>
                  <a:lnTo>
                    <a:pt x="4503" y="908"/>
                  </a:lnTo>
                  <a:lnTo>
                    <a:pt x="4507" y="904"/>
                  </a:lnTo>
                  <a:lnTo>
                    <a:pt x="4506" y="897"/>
                  </a:lnTo>
                  <a:lnTo>
                    <a:pt x="4503" y="894"/>
                  </a:lnTo>
                  <a:lnTo>
                    <a:pt x="4500" y="897"/>
                  </a:lnTo>
                  <a:lnTo>
                    <a:pt x="4499" y="899"/>
                  </a:lnTo>
                  <a:lnTo>
                    <a:pt x="4495" y="904"/>
                  </a:lnTo>
                  <a:lnTo>
                    <a:pt x="4493" y="905"/>
                  </a:lnTo>
                  <a:lnTo>
                    <a:pt x="4492" y="903"/>
                  </a:lnTo>
                  <a:lnTo>
                    <a:pt x="4490" y="900"/>
                  </a:lnTo>
                  <a:lnTo>
                    <a:pt x="4490" y="897"/>
                  </a:lnTo>
                  <a:lnTo>
                    <a:pt x="4493" y="895"/>
                  </a:lnTo>
                  <a:lnTo>
                    <a:pt x="4498" y="891"/>
                  </a:lnTo>
                  <a:lnTo>
                    <a:pt x="4500" y="890"/>
                  </a:lnTo>
                  <a:lnTo>
                    <a:pt x="4509" y="893"/>
                  </a:lnTo>
                  <a:lnTo>
                    <a:pt x="4519" y="887"/>
                  </a:lnTo>
                  <a:lnTo>
                    <a:pt x="4523" y="883"/>
                  </a:lnTo>
                  <a:lnTo>
                    <a:pt x="4524" y="873"/>
                  </a:lnTo>
                  <a:lnTo>
                    <a:pt x="4519" y="863"/>
                  </a:lnTo>
                  <a:lnTo>
                    <a:pt x="4487" y="859"/>
                  </a:lnTo>
                  <a:lnTo>
                    <a:pt x="4483" y="856"/>
                  </a:lnTo>
                  <a:lnTo>
                    <a:pt x="4473" y="844"/>
                  </a:lnTo>
                  <a:lnTo>
                    <a:pt x="4466" y="839"/>
                  </a:lnTo>
                  <a:lnTo>
                    <a:pt x="4464" y="834"/>
                  </a:lnTo>
                  <a:lnTo>
                    <a:pt x="4465" y="825"/>
                  </a:lnTo>
                  <a:lnTo>
                    <a:pt x="4453" y="817"/>
                  </a:lnTo>
                  <a:lnTo>
                    <a:pt x="4450" y="811"/>
                  </a:lnTo>
                  <a:lnTo>
                    <a:pt x="4450" y="808"/>
                  </a:lnTo>
                  <a:lnTo>
                    <a:pt x="4449" y="800"/>
                  </a:lnTo>
                  <a:lnTo>
                    <a:pt x="4449" y="797"/>
                  </a:lnTo>
                  <a:lnTo>
                    <a:pt x="4447" y="793"/>
                  </a:lnTo>
                  <a:lnTo>
                    <a:pt x="4444" y="791"/>
                  </a:lnTo>
                  <a:lnTo>
                    <a:pt x="4441" y="791"/>
                  </a:lnTo>
                  <a:lnTo>
                    <a:pt x="4439" y="791"/>
                  </a:lnTo>
                  <a:lnTo>
                    <a:pt x="4440" y="789"/>
                  </a:lnTo>
                  <a:lnTo>
                    <a:pt x="4441" y="786"/>
                  </a:lnTo>
                  <a:lnTo>
                    <a:pt x="4442" y="782"/>
                  </a:lnTo>
                  <a:lnTo>
                    <a:pt x="4442" y="778"/>
                  </a:lnTo>
                  <a:lnTo>
                    <a:pt x="4442" y="771"/>
                  </a:lnTo>
                  <a:lnTo>
                    <a:pt x="4440" y="769"/>
                  </a:lnTo>
                  <a:lnTo>
                    <a:pt x="4405" y="774"/>
                  </a:lnTo>
                  <a:lnTo>
                    <a:pt x="4395" y="780"/>
                  </a:lnTo>
                  <a:lnTo>
                    <a:pt x="4384" y="782"/>
                  </a:lnTo>
                  <a:lnTo>
                    <a:pt x="4380" y="785"/>
                  </a:lnTo>
                  <a:lnTo>
                    <a:pt x="4379" y="790"/>
                  </a:lnTo>
                  <a:lnTo>
                    <a:pt x="4382" y="800"/>
                  </a:lnTo>
                  <a:lnTo>
                    <a:pt x="4381" y="802"/>
                  </a:lnTo>
                  <a:lnTo>
                    <a:pt x="4379" y="804"/>
                  </a:lnTo>
                  <a:lnTo>
                    <a:pt x="4377" y="808"/>
                  </a:lnTo>
                  <a:lnTo>
                    <a:pt x="4377" y="813"/>
                  </a:lnTo>
                  <a:lnTo>
                    <a:pt x="4379" y="817"/>
                  </a:lnTo>
                  <a:lnTo>
                    <a:pt x="4383" y="819"/>
                  </a:lnTo>
                  <a:lnTo>
                    <a:pt x="4389" y="819"/>
                  </a:lnTo>
                  <a:lnTo>
                    <a:pt x="4394" y="821"/>
                  </a:lnTo>
                  <a:lnTo>
                    <a:pt x="4396" y="823"/>
                  </a:lnTo>
                  <a:lnTo>
                    <a:pt x="4399" y="828"/>
                  </a:lnTo>
                  <a:lnTo>
                    <a:pt x="4400" y="832"/>
                  </a:lnTo>
                  <a:lnTo>
                    <a:pt x="4400" y="837"/>
                  </a:lnTo>
                  <a:lnTo>
                    <a:pt x="4401" y="842"/>
                  </a:lnTo>
                  <a:lnTo>
                    <a:pt x="4403" y="844"/>
                  </a:lnTo>
                  <a:lnTo>
                    <a:pt x="4405" y="845"/>
                  </a:lnTo>
                  <a:lnTo>
                    <a:pt x="4410" y="851"/>
                  </a:lnTo>
                  <a:lnTo>
                    <a:pt x="4453" y="867"/>
                  </a:lnTo>
                  <a:lnTo>
                    <a:pt x="4456" y="870"/>
                  </a:lnTo>
                  <a:lnTo>
                    <a:pt x="4462" y="879"/>
                  </a:lnTo>
                  <a:lnTo>
                    <a:pt x="4464" y="881"/>
                  </a:lnTo>
                  <a:lnTo>
                    <a:pt x="4465" y="881"/>
                  </a:lnTo>
                  <a:lnTo>
                    <a:pt x="4466" y="883"/>
                  </a:lnTo>
                  <a:lnTo>
                    <a:pt x="4466" y="885"/>
                  </a:lnTo>
                  <a:lnTo>
                    <a:pt x="4466" y="888"/>
                  </a:lnTo>
                  <a:lnTo>
                    <a:pt x="4464" y="889"/>
                  </a:lnTo>
                  <a:lnTo>
                    <a:pt x="4452" y="884"/>
                  </a:lnTo>
                  <a:lnTo>
                    <a:pt x="4442" y="874"/>
                  </a:lnTo>
                  <a:lnTo>
                    <a:pt x="4436" y="871"/>
                  </a:lnTo>
                  <a:lnTo>
                    <a:pt x="4421" y="872"/>
                  </a:lnTo>
                  <a:lnTo>
                    <a:pt x="4414" y="874"/>
                  </a:lnTo>
                  <a:lnTo>
                    <a:pt x="4412" y="881"/>
                  </a:lnTo>
                  <a:lnTo>
                    <a:pt x="4413" y="884"/>
                  </a:lnTo>
                  <a:lnTo>
                    <a:pt x="4415" y="886"/>
                  </a:lnTo>
                  <a:lnTo>
                    <a:pt x="4416" y="888"/>
                  </a:lnTo>
                  <a:lnTo>
                    <a:pt x="4417" y="893"/>
                  </a:lnTo>
                  <a:lnTo>
                    <a:pt x="4416" y="899"/>
                  </a:lnTo>
                  <a:lnTo>
                    <a:pt x="4415" y="899"/>
                  </a:lnTo>
                  <a:lnTo>
                    <a:pt x="4413" y="895"/>
                  </a:lnTo>
                  <a:lnTo>
                    <a:pt x="4411" y="891"/>
                  </a:lnTo>
                  <a:lnTo>
                    <a:pt x="4408" y="888"/>
                  </a:lnTo>
                  <a:lnTo>
                    <a:pt x="4404" y="886"/>
                  </a:lnTo>
                  <a:lnTo>
                    <a:pt x="4400" y="883"/>
                  </a:lnTo>
                  <a:lnTo>
                    <a:pt x="4399" y="876"/>
                  </a:lnTo>
                  <a:lnTo>
                    <a:pt x="4398" y="868"/>
                  </a:lnTo>
                  <a:lnTo>
                    <a:pt x="4397" y="859"/>
                  </a:lnTo>
                  <a:lnTo>
                    <a:pt x="4395" y="853"/>
                  </a:lnTo>
                  <a:lnTo>
                    <a:pt x="4391" y="856"/>
                  </a:lnTo>
                  <a:lnTo>
                    <a:pt x="4390" y="861"/>
                  </a:lnTo>
                  <a:lnTo>
                    <a:pt x="4390" y="869"/>
                  </a:lnTo>
                  <a:lnTo>
                    <a:pt x="4390" y="885"/>
                  </a:lnTo>
                  <a:lnTo>
                    <a:pt x="4390" y="892"/>
                  </a:lnTo>
                  <a:lnTo>
                    <a:pt x="4388" y="899"/>
                  </a:lnTo>
                  <a:lnTo>
                    <a:pt x="4385" y="912"/>
                  </a:lnTo>
                  <a:lnTo>
                    <a:pt x="4384" y="907"/>
                  </a:lnTo>
                  <a:lnTo>
                    <a:pt x="4384" y="904"/>
                  </a:lnTo>
                  <a:lnTo>
                    <a:pt x="4385" y="901"/>
                  </a:lnTo>
                  <a:lnTo>
                    <a:pt x="4386" y="897"/>
                  </a:lnTo>
                  <a:lnTo>
                    <a:pt x="4387" y="893"/>
                  </a:lnTo>
                  <a:lnTo>
                    <a:pt x="4386" y="890"/>
                  </a:lnTo>
                  <a:lnTo>
                    <a:pt x="4384" y="887"/>
                  </a:lnTo>
                  <a:lnTo>
                    <a:pt x="4384" y="879"/>
                  </a:lnTo>
                  <a:lnTo>
                    <a:pt x="4385" y="865"/>
                  </a:lnTo>
                  <a:lnTo>
                    <a:pt x="4386" y="857"/>
                  </a:lnTo>
                  <a:lnTo>
                    <a:pt x="4385" y="851"/>
                  </a:lnTo>
                  <a:lnTo>
                    <a:pt x="4382" y="846"/>
                  </a:lnTo>
                  <a:lnTo>
                    <a:pt x="4379" y="842"/>
                  </a:lnTo>
                  <a:lnTo>
                    <a:pt x="4376" y="840"/>
                  </a:lnTo>
                  <a:lnTo>
                    <a:pt x="4363" y="841"/>
                  </a:lnTo>
                  <a:lnTo>
                    <a:pt x="4363" y="841"/>
                  </a:lnTo>
                  <a:lnTo>
                    <a:pt x="4363" y="840"/>
                  </a:lnTo>
                  <a:lnTo>
                    <a:pt x="4365" y="834"/>
                  </a:lnTo>
                  <a:lnTo>
                    <a:pt x="4366" y="831"/>
                  </a:lnTo>
                  <a:lnTo>
                    <a:pt x="4366" y="828"/>
                  </a:lnTo>
                  <a:lnTo>
                    <a:pt x="4366" y="823"/>
                  </a:lnTo>
                  <a:lnTo>
                    <a:pt x="4359" y="807"/>
                  </a:lnTo>
                  <a:lnTo>
                    <a:pt x="4356" y="802"/>
                  </a:lnTo>
                  <a:lnTo>
                    <a:pt x="4352" y="798"/>
                  </a:lnTo>
                  <a:lnTo>
                    <a:pt x="4349" y="797"/>
                  </a:lnTo>
                  <a:lnTo>
                    <a:pt x="4347" y="798"/>
                  </a:lnTo>
                  <a:lnTo>
                    <a:pt x="4345" y="799"/>
                  </a:lnTo>
                  <a:lnTo>
                    <a:pt x="4344" y="801"/>
                  </a:lnTo>
                  <a:lnTo>
                    <a:pt x="4343" y="803"/>
                  </a:lnTo>
                  <a:lnTo>
                    <a:pt x="4336" y="806"/>
                  </a:lnTo>
                  <a:lnTo>
                    <a:pt x="4331" y="810"/>
                  </a:lnTo>
                  <a:lnTo>
                    <a:pt x="4330" y="810"/>
                  </a:lnTo>
                  <a:lnTo>
                    <a:pt x="4329" y="811"/>
                  </a:lnTo>
                  <a:lnTo>
                    <a:pt x="4329" y="816"/>
                  </a:lnTo>
                  <a:lnTo>
                    <a:pt x="4330" y="819"/>
                  </a:lnTo>
                  <a:lnTo>
                    <a:pt x="4331" y="820"/>
                  </a:lnTo>
                  <a:lnTo>
                    <a:pt x="4332" y="822"/>
                  </a:lnTo>
                  <a:lnTo>
                    <a:pt x="4331" y="828"/>
                  </a:lnTo>
                  <a:lnTo>
                    <a:pt x="4332" y="829"/>
                  </a:lnTo>
                  <a:lnTo>
                    <a:pt x="4333" y="832"/>
                  </a:lnTo>
                  <a:lnTo>
                    <a:pt x="4333" y="834"/>
                  </a:lnTo>
                  <a:lnTo>
                    <a:pt x="4331" y="840"/>
                  </a:lnTo>
                  <a:lnTo>
                    <a:pt x="4328" y="846"/>
                  </a:lnTo>
                  <a:lnTo>
                    <a:pt x="4326" y="851"/>
                  </a:lnTo>
                  <a:lnTo>
                    <a:pt x="4327" y="859"/>
                  </a:lnTo>
                  <a:lnTo>
                    <a:pt x="4323" y="868"/>
                  </a:lnTo>
                  <a:lnTo>
                    <a:pt x="4312" y="875"/>
                  </a:lnTo>
                  <a:lnTo>
                    <a:pt x="4307" y="881"/>
                  </a:lnTo>
                  <a:lnTo>
                    <a:pt x="4305" y="889"/>
                  </a:lnTo>
                  <a:lnTo>
                    <a:pt x="4305" y="905"/>
                  </a:lnTo>
                  <a:lnTo>
                    <a:pt x="4303" y="912"/>
                  </a:lnTo>
                  <a:lnTo>
                    <a:pt x="4308" y="914"/>
                  </a:lnTo>
                  <a:lnTo>
                    <a:pt x="4317" y="911"/>
                  </a:lnTo>
                  <a:lnTo>
                    <a:pt x="4322" y="914"/>
                  </a:lnTo>
                  <a:lnTo>
                    <a:pt x="4319" y="921"/>
                  </a:lnTo>
                  <a:lnTo>
                    <a:pt x="4317" y="924"/>
                  </a:lnTo>
                  <a:lnTo>
                    <a:pt x="4317" y="928"/>
                  </a:lnTo>
                  <a:lnTo>
                    <a:pt x="4316" y="937"/>
                  </a:lnTo>
                  <a:lnTo>
                    <a:pt x="4318" y="941"/>
                  </a:lnTo>
                  <a:lnTo>
                    <a:pt x="4329" y="948"/>
                  </a:lnTo>
                  <a:lnTo>
                    <a:pt x="4309" y="947"/>
                  </a:lnTo>
                  <a:lnTo>
                    <a:pt x="4298" y="950"/>
                  </a:lnTo>
                  <a:lnTo>
                    <a:pt x="4284" y="962"/>
                  </a:lnTo>
                  <a:lnTo>
                    <a:pt x="4251" y="964"/>
                  </a:lnTo>
                  <a:lnTo>
                    <a:pt x="4246" y="969"/>
                  </a:lnTo>
                  <a:lnTo>
                    <a:pt x="4248" y="971"/>
                  </a:lnTo>
                  <a:lnTo>
                    <a:pt x="4252" y="974"/>
                  </a:lnTo>
                  <a:lnTo>
                    <a:pt x="4254" y="975"/>
                  </a:lnTo>
                  <a:lnTo>
                    <a:pt x="4250" y="981"/>
                  </a:lnTo>
                  <a:lnTo>
                    <a:pt x="4242" y="989"/>
                  </a:lnTo>
                  <a:lnTo>
                    <a:pt x="4235" y="1002"/>
                  </a:lnTo>
                  <a:lnTo>
                    <a:pt x="4224" y="1018"/>
                  </a:lnTo>
                  <a:lnTo>
                    <a:pt x="4224" y="1021"/>
                  </a:lnTo>
                  <a:lnTo>
                    <a:pt x="4229" y="1020"/>
                  </a:lnTo>
                  <a:lnTo>
                    <a:pt x="4230" y="1022"/>
                  </a:lnTo>
                  <a:lnTo>
                    <a:pt x="4231" y="1027"/>
                  </a:lnTo>
                  <a:lnTo>
                    <a:pt x="4231" y="1034"/>
                  </a:lnTo>
                  <a:lnTo>
                    <a:pt x="4229" y="1036"/>
                  </a:lnTo>
                  <a:lnTo>
                    <a:pt x="4225" y="1036"/>
                  </a:lnTo>
                  <a:lnTo>
                    <a:pt x="4222" y="1039"/>
                  </a:lnTo>
                  <a:lnTo>
                    <a:pt x="4215" y="1054"/>
                  </a:lnTo>
                  <a:lnTo>
                    <a:pt x="4214" y="1060"/>
                  </a:lnTo>
                  <a:lnTo>
                    <a:pt x="4219" y="1060"/>
                  </a:lnTo>
                  <a:lnTo>
                    <a:pt x="4229" y="1053"/>
                  </a:lnTo>
                  <a:lnTo>
                    <a:pt x="4260" y="1045"/>
                  </a:lnTo>
                  <a:lnTo>
                    <a:pt x="4259" y="1052"/>
                  </a:lnTo>
                  <a:lnTo>
                    <a:pt x="4259" y="1054"/>
                  </a:lnTo>
                  <a:lnTo>
                    <a:pt x="4277" y="1063"/>
                  </a:lnTo>
                  <a:lnTo>
                    <a:pt x="4281" y="1072"/>
                  </a:lnTo>
                  <a:lnTo>
                    <a:pt x="4277" y="1074"/>
                  </a:lnTo>
                  <a:lnTo>
                    <a:pt x="4273" y="1074"/>
                  </a:lnTo>
                  <a:lnTo>
                    <a:pt x="4268" y="1073"/>
                  </a:lnTo>
                  <a:lnTo>
                    <a:pt x="4264" y="1069"/>
                  </a:lnTo>
                  <a:lnTo>
                    <a:pt x="4260" y="1064"/>
                  </a:lnTo>
                  <a:lnTo>
                    <a:pt x="4259" y="1063"/>
                  </a:lnTo>
                  <a:lnTo>
                    <a:pt x="4256" y="1064"/>
                  </a:lnTo>
                  <a:lnTo>
                    <a:pt x="4252" y="1068"/>
                  </a:lnTo>
                  <a:lnTo>
                    <a:pt x="4246" y="1070"/>
                  </a:lnTo>
                  <a:lnTo>
                    <a:pt x="4243" y="1073"/>
                  </a:lnTo>
                  <a:lnTo>
                    <a:pt x="4233" y="1083"/>
                  </a:lnTo>
                  <a:lnTo>
                    <a:pt x="4220" y="1091"/>
                  </a:lnTo>
                  <a:lnTo>
                    <a:pt x="4249" y="1106"/>
                  </a:lnTo>
                  <a:lnTo>
                    <a:pt x="4264" y="1108"/>
                  </a:lnTo>
                  <a:lnTo>
                    <a:pt x="4270" y="1114"/>
                  </a:lnTo>
                  <a:lnTo>
                    <a:pt x="4270" y="1127"/>
                  </a:lnTo>
                  <a:lnTo>
                    <a:pt x="4261" y="1114"/>
                  </a:lnTo>
                  <a:lnTo>
                    <a:pt x="4236" y="1109"/>
                  </a:lnTo>
                  <a:lnTo>
                    <a:pt x="4219" y="1098"/>
                  </a:lnTo>
                  <a:lnTo>
                    <a:pt x="4214" y="1101"/>
                  </a:lnTo>
                  <a:lnTo>
                    <a:pt x="4209" y="1106"/>
                  </a:lnTo>
                  <a:lnTo>
                    <a:pt x="4199" y="1110"/>
                  </a:lnTo>
                  <a:lnTo>
                    <a:pt x="4188" y="1118"/>
                  </a:lnTo>
                  <a:lnTo>
                    <a:pt x="4183" y="1123"/>
                  </a:lnTo>
                  <a:lnTo>
                    <a:pt x="4192" y="1132"/>
                  </a:lnTo>
                  <a:lnTo>
                    <a:pt x="4197" y="1134"/>
                  </a:lnTo>
                  <a:lnTo>
                    <a:pt x="4201" y="1131"/>
                  </a:lnTo>
                  <a:lnTo>
                    <a:pt x="4205" y="1126"/>
                  </a:lnTo>
                  <a:lnTo>
                    <a:pt x="4210" y="1129"/>
                  </a:lnTo>
                  <a:lnTo>
                    <a:pt x="4214" y="1135"/>
                  </a:lnTo>
                  <a:lnTo>
                    <a:pt x="4217" y="1142"/>
                  </a:lnTo>
                  <a:lnTo>
                    <a:pt x="4225" y="1152"/>
                  </a:lnTo>
                  <a:lnTo>
                    <a:pt x="4244" y="1156"/>
                  </a:lnTo>
                  <a:lnTo>
                    <a:pt x="4254" y="1165"/>
                  </a:lnTo>
                  <a:lnTo>
                    <a:pt x="4250" y="1167"/>
                  </a:lnTo>
                  <a:lnTo>
                    <a:pt x="4238" y="1159"/>
                  </a:lnTo>
                  <a:lnTo>
                    <a:pt x="4224" y="1163"/>
                  </a:lnTo>
                  <a:lnTo>
                    <a:pt x="4219" y="1162"/>
                  </a:lnTo>
                  <a:lnTo>
                    <a:pt x="4216" y="1161"/>
                  </a:lnTo>
                  <a:lnTo>
                    <a:pt x="4213" y="1159"/>
                  </a:lnTo>
                  <a:lnTo>
                    <a:pt x="4210" y="1155"/>
                  </a:lnTo>
                  <a:lnTo>
                    <a:pt x="4205" y="1143"/>
                  </a:lnTo>
                  <a:lnTo>
                    <a:pt x="4202" y="1142"/>
                  </a:lnTo>
                  <a:lnTo>
                    <a:pt x="4199" y="1144"/>
                  </a:lnTo>
                  <a:lnTo>
                    <a:pt x="4195" y="1145"/>
                  </a:lnTo>
                  <a:lnTo>
                    <a:pt x="4189" y="1139"/>
                  </a:lnTo>
                  <a:lnTo>
                    <a:pt x="4186" y="1137"/>
                  </a:lnTo>
                  <a:lnTo>
                    <a:pt x="4179" y="1143"/>
                  </a:lnTo>
                  <a:lnTo>
                    <a:pt x="4164" y="1148"/>
                  </a:lnTo>
                  <a:lnTo>
                    <a:pt x="4163" y="1149"/>
                  </a:lnTo>
                  <a:lnTo>
                    <a:pt x="4162" y="1152"/>
                  </a:lnTo>
                  <a:lnTo>
                    <a:pt x="4161" y="1155"/>
                  </a:lnTo>
                  <a:lnTo>
                    <a:pt x="4161" y="1158"/>
                  </a:lnTo>
                  <a:lnTo>
                    <a:pt x="4162" y="1161"/>
                  </a:lnTo>
                  <a:lnTo>
                    <a:pt x="4163" y="1162"/>
                  </a:lnTo>
                  <a:lnTo>
                    <a:pt x="4165" y="1163"/>
                  </a:lnTo>
                  <a:lnTo>
                    <a:pt x="4167" y="1167"/>
                  </a:lnTo>
                  <a:lnTo>
                    <a:pt x="4169" y="1168"/>
                  </a:lnTo>
                  <a:lnTo>
                    <a:pt x="4173" y="1169"/>
                  </a:lnTo>
                  <a:lnTo>
                    <a:pt x="4175" y="1171"/>
                  </a:lnTo>
                  <a:lnTo>
                    <a:pt x="4176" y="1175"/>
                  </a:lnTo>
                  <a:lnTo>
                    <a:pt x="4173" y="1177"/>
                  </a:lnTo>
                  <a:lnTo>
                    <a:pt x="4170" y="1177"/>
                  </a:lnTo>
                  <a:lnTo>
                    <a:pt x="4167" y="1177"/>
                  </a:lnTo>
                  <a:lnTo>
                    <a:pt x="4161" y="1173"/>
                  </a:lnTo>
                  <a:lnTo>
                    <a:pt x="4159" y="1171"/>
                  </a:lnTo>
                  <a:lnTo>
                    <a:pt x="4159" y="1170"/>
                  </a:lnTo>
                  <a:lnTo>
                    <a:pt x="4159" y="1166"/>
                  </a:lnTo>
                  <a:lnTo>
                    <a:pt x="4159" y="1164"/>
                  </a:lnTo>
                  <a:lnTo>
                    <a:pt x="4153" y="1159"/>
                  </a:lnTo>
                  <a:lnTo>
                    <a:pt x="4149" y="1151"/>
                  </a:lnTo>
                  <a:lnTo>
                    <a:pt x="4145" y="1145"/>
                  </a:lnTo>
                  <a:lnTo>
                    <a:pt x="4140" y="1146"/>
                  </a:lnTo>
                  <a:lnTo>
                    <a:pt x="4134" y="1151"/>
                  </a:lnTo>
                  <a:lnTo>
                    <a:pt x="4116" y="1156"/>
                  </a:lnTo>
                  <a:lnTo>
                    <a:pt x="4098" y="1170"/>
                  </a:lnTo>
                  <a:lnTo>
                    <a:pt x="4087" y="1173"/>
                  </a:lnTo>
                  <a:lnTo>
                    <a:pt x="4082" y="1179"/>
                  </a:lnTo>
                  <a:lnTo>
                    <a:pt x="4078" y="1186"/>
                  </a:lnTo>
                  <a:lnTo>
                    <a:pt x="4077" y="1195"/>
                  </a:lnTo>
                  <a:lnTo>
                    <a:pt x="4077" y="1201"/>
                  </a:lnTo>
                  <a:lnTo>
                    <a:pt x="4078" y="1205"/>
                  </a:lnTo>
                  <a:lnTo>
                    <a:pt x="4080" y="1208"/>
                  </a:lnTo>
                  <a:lnTo>
                    <a:pt x="4082" y="1210"/>
                  </a:lnTo>
                  <a:lnTo>
                    <a:pt x="4085" y="1212"/>
                  </a:lnTo>
                  <a:lnTo>
                    <a:pt x="4087" y="1213"/>
                  </a:lnTo>
                  <a:lnTo>
                    <a:pt x="4088" y="1215"/>
                  </a:lnTo>
                  <a:lnTo>
                    <a:pt x="4086" y="1220"/>
                  </a:lnTo>
                  <a:lnTo>
                    <a:pt x="4083" y="1222"/>
                  </a:lnTo>
                  <a:lnTo>
                    <a:pt x="4079" y="1220"/>
                  </a:lnTo>
                  <a:lnTo>
                    <a:pt x="4073" y="1216"/>
                  </a:lnTo>
                  <a:lnTo>
                    <a:pt x="4064" y="1222"/>
                  </a:lnTo>
                  <a:lnTo>
                    <a:pt x="4063" y="1225"/>
                  </a:lnTo>
                  <a:lnTo>
                    <a:pt x="4061" y="1231"/>
                  </a:lnTo>
                  <a:lnTo>
                    <a:pt x="4062" y="1234"/>
                  </a:lnTo>
                  <a:lnTo>
                    <a:pt x="4063" y="1236"/>
                  </a:lnTo>
                  <a:lnTo>
                    <a:pt x="4065" y="1240"/>
                  </a:lnTo>
                  <a:lnTo>
                    <a:pt x="4066" y="1247"/>
                  </a:lnTo>
                  <a:lnTo>
                    <a:pt x="4067" y="1250"/>
                  </a:lnTo>
                  <a:lnTo>
                    <a:pt x="4067" y="1256"/>
                  </a:lnTo>
                  <a:lnTo>
                    <a:pt x="4068" y="1260"/>
                  </a:lnTo>
                  <a:lnTo>
                    <a:pt x="4072" y="1262"/>
                  </a:lnTo>
                  <a:lnTo>
                    <a:pt x="4093" y="1262"/>
                  </a:lnTo>
                  <a:lnTo>
                    <a:pt x="4105" y="1255"/>
                  </a:lnTo>
                  <a:lnTo>
                    <a:pt x="4122" y="1257"/>
                  </a:lnTo>
                  <a:lnTo>
                    <a:pt x="4128" y="1250"/>
                  </a:lnTo>
                  <a:lnTo>
                    <a:pt x="4130" y="1246"/>
                  </a:lnTo>
                  <a:lnTo>
                    <a:pt x="4142" y="1231"/>
                  </a:lnTo>
                  <a:lnTo>
                    <a:pt x="4144" y="1231"/>
                  </a:lnTo>
                  <a:lnTo>
                    <a:pt x="4146" y="1232"/>
                  </a:lnTo>
                  <a:lnTo>
                    <a:pt x="4149" y="1236"/>
                  </a:lnTo>
                  <a:lnTo>
                    <a:pt x="4151" y="1237"/>
                  </a:lnTo>
                  <a:lnTo>
                    <a:pt x="4154" y="1238"/>
                  </a:lnTo>
                  <a:lnTo>
                    <a:pt x="4157" y="1240"/>
                  </a:lnTo>
                  <a:lnTo>
                    <a:pt x="4161" y="1243"/>
                  </a:lnTo>
                  <a:lnTo>
                    <a:pt x="4161" y="1249"/>
                  </a:lnTo>
                  <a:lnTo>
                    <a:pt x="4159" y="1253"/>
                  </a:lnTo>
                  <a:lnTo>
                    <a:pt x="4150" y="1255"/>
                  </a:lnTo>
                  <a:lnTo>
                    <a:pt x="4146" y="1258"/>
                  </a:lnTo>
                  <a:lnTo>
                    <a:pt x="4153" y="1264"/>
                  </a:lnTo>
                  <a:lnTo>
                    <a:pt x="4187" y="1254"/>
                  </a:lnTo>
                  <a:lnTo>
                    <a:pt x="4198" y="1239"/>
                  </a:lnTo>
                  <a:lnTo>
                    <a:pt x="4204" y="1234"/>
                  </a:lnTo>
                  <a:lnTo>
                    <a:pt x="4216" y="1232"/>
                  </a:lnTo>
                  <a:lnTo>
                    <a:pt x="4222" y="1226"/>
                  </a:lnTo>
                  <a:lnTo>
                    <a:pt x="4229" y="1222"/>
                  </a:lnTo>
                  <a:lnTo>
                    <a:pt x="4233" y="1222"/>
                  </a:lnTo>
                  <a:lnTo>
                    <a:pt x="4233" y="1227"/>
                  </a:lnTo>
                  <a:lnTo>
                    <a:pt x="4220" y="1258"/>
                  </a:lnTo>
                  <a:lnTo>
                    <a:pt x="4243" y="1256"/>
                  </a:lnTo>
                  <a:lnTo>
                    <a:pt x="4276" y="1279"/>
                  </a:lnTo>
                  <a:lnTo>
                    <a:pt x="4284" y="1281"/>
                  </a:lnTo>
                  <a:lnTo>
                    <a:pt x="4276" y="1285"/>
                  </a:lnTo>
                  <a:lnTo>
                    <a:pt x="4259" y="1273"/>
                  </a:lnTo>
                  <a:lnTo>
                    <a:pt x="4232" y="1266"/>
                  </a:lnTo>
                  <a:lnTo>
                    <a:pt x="4209" y="1268"/>
                  </a:lnTo>
                  <a:lnTo>
                    <a:pt x="4204" y="1272"/>
                  </a:lnTo>
                  <a:lnTo>
                    <a:pt x="4233" y="1288"/>
                  </a:lnTo>
                  <a:lnTo>
                    <a:pt x="4238" y="1296"/>
                  </a:lnTo>
                  <a:lnTo>
                    <a:pt x="4225" y="1293"/>
                  </a:lnTo>
                  <a:lnTo>
                    <a:pt x="4198" y="1274"/>
                  </a:lnTo>
                  <a:lnTo>
                    <a:pt x="4185" y="1275"/>
                  </a:lnTo>
                  <a:lnTo>
                    <a:pt x="4186" y="1279"/>
                  </a:lnTo>
                  <a:lnTo>
                    <a:pt x="4187" y="1281"/>
                  </a:lnTo>
                  <a:lnTo>
                    <a:pt x="4184" y="1287"/>
                  </a:lnTo>
                  <a:lnTo>
                    <a:pt x="4181" y="1288"/>
                  </a:lnTo>
                  <a:lnTo>
                    <a:pt x="4179" y="1290"/>
                  </a:lnTo>
                  <a:lnTo>
                    <a:pt x="4180" y="1299"/>
                  </a:lnTo>
                  <a:lnTo>
                    <a:pt x="4181" y="1304"/>
                  </a:lnTo>
                  <a:lnTo>
                    <a:pt x="4184" y="1309"/>
                  </a:lnTo>
                  <a:lnTo>
                    <a:pt x="4186" y="1313"/>
                  </a:lnTo>
                  <a:lnTo>
                    <a:pt x="4189" y="1317"/>
                  </a:lnTo>
                  <a:lnTo>
                    <a:pt x="4202" y="1327"/>
                  </a:lnTo>
                  <a:lnTo>
                    <a:pt x="4208" y="1335"/>
                  </a:lnTo>
                  <a:lnTo>
                    <a:pt x="4213" y="1348"/>
                  </a:lnTo>
                  <a:lnTo>
                    <a:pt x="4205" y="1350"/>
                  </a:lnTo>
                  <a:lnTo>
                    <a:pt x="4202" y="1353"/>
                  </a:lnTo>
                  <a:lnTo>
                    <a:pt x="4202" y="1359"/>
                  </a:lnTo>
                  <a:lnTo>
                    <a:pt x="4204" y="1365"/>
                  </a:lnTo>
                  <a:lnTo>
                    <a:pt x="4204" y="1371"/>
                  </a:lnTo>
                  <a:lnTo>
                    <a:pt x="4202" y="1376"/>
                  </a:lnTo>
                  <a:lnTo>
                    <a:pt x="4199" y="1378"/>
                  </a:lnTo>
                  <a:lnTo>
                    <a:pt x="4197" y="1377"/>
                  </a:lnTo>
                  <a:lnTo>
                    <a:pt x="4197" y="1373"/>
                  </a:lnTo>
                  <a:lnTo>
                    <a:pt x="4198" y="1367"/>
                  </a:lnTo>
                  <a:lnTo>
                    <a:pt x="4199" y="1361"/>
                  </a:lnTo>
                  <a:lnTo>
                    <a:pt x="4198" y="1358"/>
                  </a:lnTo>
                  <a:lnTo>
                    <a:pt x="4197" y="1357"/>
                  </a:lnTo>
                  <a:lnTo>
                    <a:pt x="4196" y="1354"/>
                  </a:lnTo>
                  <a:lnTo>
                    <a:pt x="4195" y="1350"/>
                  </a:lnTo>
                  <a:lnTo>
                    <a:pt x="4196" y="1348"/>
                  </a:lnTo>
                  <a:lnTo>
                    <a:pt x="4199" y="1340"/>
                  </a:lnTo>
                  <a:lnTo>
                    <a:pt x="4182" y="1328"/>
                  </a:lnTo>
                  <a:lnTo>
                    <a:pt x="4177" y="1321"/>
                  </a:lnTo>
                  <a:lnTo>
                    <a:pt x="4177" y="1318"/>
                  </a:lnTo>
                  <a:lnTo>
                    <a:pt x="4175" y="1305"/>
                  </a:lnTo>
                  <a:lnTo>
                    <a:pt x="4174" y="1303"/>
                  </a:lnTo>
                  <a:lnTo>
                    <a:pt x="4169" y="1292"/>
                  </a:lnTo>
                  <a:lnTo>
                    <a:pt x="4166" y="1290"/>
                  </a:lnTo>
                  <a:lnTo>
                    <a:pt x="4154" y="1294"/>
                  </a:lnTo>
                  <a:lnTo>
                    <a:pt x="4151" y="1296"/>
                  </a:lnTo>
                  <a:lnTo>
                    <a:pt x="4145" y="1302"/>
                  </a:lnTo>
                  <a:lnTo>
                    <a:pt x="4122" y="1311"/>
                  </a:lnTo>
                  <a:lnTo>
                    <a:pt x="4118" y="1311"/>
                  </a:lnTo>
                  <a:lnTo>
                    <a:pt x="4120" y="1307"/>
                  </a:lnTo>
                  <a:lnTo>
                    <a:pt x="4126" y="1299"/>
                  </a:lnTo>
                  <a:lnTo>
                    <a:pt x="4127" y="1298"/>
                  </a:lnTo>
                  <a:lnTo>
                    <a:pt x="4126" y="1290"/>
                  </a:lnTo>
                  <a:lnTo>
                    <a:pt x="4122" y="1287"/>
                  </a:lnTo>
                  <a:lnTo>
                    <a:pt x="4115" y="1287"/>
                  </a:lnTo>
                  <a:lnTo>
                    <a:pt x="4102" y="1278"/>
                  </a:lnTo>
                  <a:lnTo>
                    <a:pt x="4097" y="1276"/>
                  </a:lnTo>
                  <a:lnTo>
                    <a:pt x="4054" y="1283"/>
                  </a:lnTo>
                  <a:lnTo>
                    <a:pt x="4044" y="1291"/>
                  </a:lnTo>
                  <a:lnTo>
                    <a:pt x="4029" y="1294"/>
                  </a:lnTo>
                  <a:lnTo>
                    <a:pt x="4022" y="1299"/>
                  </a:lnTo>
                  <a:lnTo>
                    <a:pt x="4025" y="1302"/>
                  </a:lnTo>
                  <a:lnTo>
                    <a:pt x="4029" y="1301"/>
                  </a:lnTo>
                  <a:lnTo>
                    <a:pt x="4032" y="1302"/>
                  </a:lnTo>
                  <a:lnTo>
                    <a:pt x="4026" y="1308"/>
                  </a:lnTo>
                  <a:lnTo>
                    <a:pt x="4029" y="1311"/>
                  </a:lnTo>
                  <a:lnTo>
                    <a:pt x="4038" y="1308"/>
                  </a:lnTo>
                  <a:lnTo>
                    <a:pt x="4041" y="1312"/>
                  </a:lnTo>
                  <a:lnTo>
                    <a:pt x="4044" y="1316"/>
                  </a:lnTo>
                  <a:lnTo>
                    <a:pt x="4053" y="1322"/>
                  </a:lnTo>
                  <a:lnTo>
                    <a:pt x="4070" y="1326"/>
                  </a:lnTo>
                  <a:lnTo>
                    <a:pt x="4078" y="1331"/>
                  </a:lnTo>
                  <a:lnTo>
                    <a:pt x="4083" y="1340"/>
                  </a:lnTo>
                  <a:lnTo>
                    <a:pt x="4082" y="1347"/>
                  </a:lnTo>
                  <a:lnTo>
                    <a:pt x="4084" y="1356"/>
                  </a:lnTo>
                  <a:lnTo>
                    <a:pt x="4089" y="1363"/>
                  </a:lnTo>
                  <a:lnTo>
                    <a:pt x="4103" y="1374"/>
                  </a:lnTo>
                  <a:lnTo>
                    <a:pt x="4105" y="1376"/>
                  </a:lnTo>
                  <a:lnTo>
                    <a:pt x="4106" y="1382"/>
                  </a:lnTo>
                  <a:lnTo>
                    <a:pt x="4115" y="1393"/>
                  </a:lnTo>
                  <a:lnTo>
                    <a:pt x="4110" y="1393"/>
                  </a:lnTo>
                  <a:lnTo>
                    <a:pt x="4105" y="1390"/>
                  </a:lnTo>
                  <a:lnTo>
                    <a:pt x="4077" y="1366"/>
                  </a:lnTo>
                  <a:lnTo>
                    <a:pt x="4076" y="1350"/>
                  </a:lnTo>
                  <a:lnTo>
                    <a:pt x="4068" y="1340"/>
                  </a:lnTo>
                  <a:lnTo>
                    <a:pt x="4051" y="1331"/>
                  </a:lnTo>
                  <a:lnTo>
                    <a:pt x="4049" y="1328"/>
                  </a:lnTo>
                  <a:lnTo>
                    <a:pt x="4041" y="1330"/>
                  </a:lnTo>
                  <a:lnTo>
                    <a:pt x="4038" y="1328"/>
                  </a:lnTo>
                  <a:lnTo>
                    <a:pt x="4037" y="1327"/>
                  </a:lnTo>
                  <a:lnTo>
                    <a:pt x="4035" y="1321"/>
                  </a:lnTo>
                  <a:lnTo>
                    <a:pt x="4034" y="1319"/>
                  </a:lnTo>
                  <a:lnTo>
                    <a:pt x="4032" y="1318"/>
                  </a:lnTo>
                  <a:lnTo>
                    <a:pt x="4030" y="1318"/>
                  </a:lnTo>
                  <a:lnTo>
                    <a:pt x="4029" y="1319"/>
                  </a:lnTo>
                  <a:lnTo>
                    <a:pt x="4027" y="1319"/>
                  </a:lnTo>
                  <a:lnTo>
                    <a:pt x="4024" y="1318"/>
                  </a:lnTo>
                  <a:lnTo>
                    <a:pt x="4018" y="1314"/>
                  </a:lnTo>
                  <a:lnTo>
                    <a:pt x="4015" y="1313"/>
                  </a:lnTo>
                  <a:lnTo>
                    <a:pt x="4011" y="1316"/>
                  </a:lnTo>
                  <a:lnTo>
                    <a:pt x="4007" y="1325"/>
                  </a:lnTo>
                  <a:lnTo>
                    <a:pt x="4004" y="1328"/>
                  </a:lnTo>
                  <a:lnTo>
                    <a:pt x="4006" y="1332"/>
                  </a:lnTo>
                  <a:lnTo>
                    <a:pt x="4018" y="1339"/>
                  </a:lnTo>
                  <a:lnTo>
                    <a:pt x="4041" y="1343"/>
                  </a:lnTo>
                  <a:lnTo>
                    <a:pt x="4043" y="1344"/>
                  </a:lnTo>
                  <a:lnTo>
                    <a:pt x="4044" y="1347"/>
                  </a:lnTo>
                  <a:lnTo>
                    <a:pt x="4044" y="1350"/>
                  </a:lnTo>
                  <a:lnTo>
                    <a:pt x="4043" y="1352"/>
                  </a:lnTo>
                  <a:lnTo>
                    <a:pt x="4021" y="1353"/>
                  </a:lnTo>
                  <a:lnTo>
                    <a:pt x="4016" y="1355"/>
                  </a:lnTo>
                  <a:lnTo>
                    <a:pt x="4013" y="1359"/>
                  </a:lnTo>
                  <a:lnTo>
                    <a:pt x="4015" y="1362"/>
                  </a:lnTo>
                  <a:lnTo>
                    <a:pt x="4052" y="1361"/>
                  </a:lnTo>
                  <a:lnTo>
                    <a:pt x="4054" y="1359"/>
                  </a:lnTo>
                  <a:lnTo>
                    <a:pt x="4058" y="1353"/>
                  </a:lnTo>
                  <a:lnTo>
                    <a:pt x="4059" y="1352"/>
                  </a:lnTo>
                  <a:lnTo>
                    <a:pt x="4060" y="1354"/>
                  </a:lnTo>
                  <a:lnTo>
                    <a:pt x="4060" y="1362"/>
                  </a:lnTo>
                  <a:lnTo>
                    <a:pt x="4062" y="1363"/>
                  </a:lnTo>
                  <a:lnTo>
                    <a:pt x="4063" y="1364"/>
                  </a:lnTo>
                  <a:lnTo>
                    <a:pt x="4072" y="1373"/>
                  </a:lnTo>
                  <a:lnTo>
                    <a:pt x="4078" y="1375"/>
                  </a:lnTo>
                  <a:lnTo>
                    <a:pt x="4081" y="1378"/>
                  </a:lnTo>
                  <a:lnTo>
                    <a:pt x="4074" y="1379"/>
                  </a:lnTo>
                  <a:lnTo>
                    <a:pt x="4053" y="1370"/>
                  </a:lnTo>
                  <a:lnTo>
                    <a:pt x="4053" y="1372"/>
                  </a:lnTo>
                  <a:lnTo>
                    <a:pt x="4058" y="1375"/>
                  </a:lnTo>
                  <a:lnTo>
                    <a:pt x="4061" y="1379"/>
                  </a:lnTo>
                  <a:lnTo>
                    <a:pt x="4063" y="1384"/>
                  </a:lnTo>
                  <a:lnTo>
                    <a:pt x="4059" y="1384"/>
                  </a:lnTo>
                  <a:lnTo>
                    <a:pt x="4056" y="1382"/>
                  </a:lnTo>
                  <a:lnTo>
                    <a:pt x="4053" y="1381"/>
                  </a:lnTo>
                  <a:lnTo>
                    <a:pt x="4051" y="1384"/>
                  </a:lnTo>
                  <a:lnTo>
                    <a:pt x="4052" y="1386"/>
                  </a:lnTo>
                  <a:lnTo>
                    <a:pt x="4053" y="1387"/>
                  </a:lnTo>
                  <a:lnTo>
                    <a:pt x="4051" y="1391"/>
                  </a:lnTo>
                  <a:lnTo>
                    <a:pt x="4044" y="1388"/>
                  </a:lnTo>
                  <a:lnTo>
                    <a:pt x="4038" y="1396"/>
                  </a:lnTo>
                  <a:lnTo>
                    <a:pt x="4034" y="1396"/>
                  </a:lnTo>
                  <a:lnTo>
                    <a:pt x="4026" y="1393"/>
                  </a:lnTo>
                  <a:lnTo>
                    <a:pt x="4028" y="1397"/>
                  </a:lnTo>
                  <a:lnTo>
                    <a:pt x="4030" y="1399"/>
                  </a:lnTo>
                  <a:lnTo>
                    <a:pt x="4035" y="1401"/>
                  </a:lnTo>
                  <a:lnTo>
                    <a:pt x="4034" y="1408"/>
                  </a:lnTo>
                  <a:lnTo>
                    <a:pt x="4033" y="1410"/>
                  </a:lnTo>
                  <a:lnTo>
                    <a:pt x="4042" y="1414"/>
                  </a:lnTo>
                  <a:lnTo>
                    <a:pt x="4058" y="1400"/>
                  </a:lnTo>
                  <a:lnTo>
                    <a:pt x="4067" y="1399"/>
                  </a:lnTo>
                  <a:lnTo>
                    <a:pt x="4070" y="1401"/>
                  </a:lnTo>
                  <a:lnTo>
                    <a:pt x="4075" y="1410"/>
                  </a:lnTo>
                  <a:lnTo>
                    <a:pt x="4079" y="1413"/>
                  </a:lnTo>
                  <a:lnTo>
                    <a:pt x="4097" y="1419"/>
                  </a:lnTo>
                  <a:lnTo>
                    <a:pt x="4095" y="1420"/>
                  </a:lnTo>
                  <a:lnTo>
                    <a:pt x="4093" y="1422"/>
                  </a:lnTo>
                  <a:lnTo>
                    <a:pt x="4095" y="1424"/>
                  </a:lnTo>
                  <a:lnTo>
                    <a:pt x="4096" y="1425"/>
                  </a:lnTo>
                  <a:lnTo>
                    <a:pt x="4093" y="1427"/>
                  </a:lnTo>
                  <a:lnTo>
                    <a:pt x="4075" y="1421"/>
                  </a:lnTo>
                  <a:lnTo>
                    <a:pt x="4065" y="1410"/>
                  </a:lnTo>
                  <a:lnTo>
                    <a:pt x="4061" y="1409"/>
                  </a:lnTo>
                  <a:lnTo>
                    <a:pt x="4059" y="1412"/>
                  </a:lnTo>
                  <a:lnTo>
                    <a:pt x="4058" y="1417"/>
                  </a:lnTo>
                  <a:lnTo>
                    <a:pt x="4055" y="1419"/>
                  </a:lnTo>
                  <a:lnTo>
                    <a:pt x="4052" y="1420"/>
                  </a:lnTo>
                  <a:lnTo>
                    <a:pt x="4049" y="1424"/>
                  </a:lnTo>
                  <a:lnTo>
                    <a:pt x="4047" y="1429"/>
                  </a:lnTo>
                  <a:lnTo>
                    <a:pt x="4045" y="1436"/>
                  </a:lnTo>
                  <a:lnTo>
                    <a:pt x="4067" y="1442"/>
                  </a:lnTo>
                  <a:lnTo>
                    <a:pt x="4063" y="1450"/>
                  </a:lnTo>
                  <a:lnTo>
                    <a:pt x="4061" y="1454"/>
                  </a:lnTo>
                  <a:lnTo>
                    <a:pt x="4061" y="1458"/>
                  </a:lnTo>
                  <a:lnTo>
                    <a:pt x="4064" y="1462"/>
                  </a:lnTo>
                  <a:lnTo>
                    <a:pt x="4071" y="1463"/>
                  </a:lnTo>
                  <a:lnTo>
                    <a:pt x="4073" y="1465"/>
                  </a:lnTo>
                  <a:lnTo>
                    <a:pt x="4069" y="1467"/>
                  </a:lnTo>
                  <a:lnTo>
                    <a:pt x="4064" y="1467"/>
                  </a:lnTo>
                  <a:lnTo>
                    <a:pt x="4059" y="1465"/>
                  </a:lnTo>
                  <a:lnTo>
                    <a:pt x="4055" y="1459"/>
                  </a:lnTo>
                  <a:lnTo>
                    <a:pt x="4050" y="1449"/>
                  </a:lnTo>
                  <a:lnTo>
                    <a:pt x="4048" y="1445"/>
                  </a:lnTo>
                  <a:lnTo>
                    <a:pt x="4044" y="1445"/>
                  </a:lnTo>
                  <a:lnTo>
                    <a:pt x="4040" y="1448"/>
                  </a:lnTo>
                  <a:lnTo>
                    <a:pt x="4040" y="1451"/>
                  </a:lnTo>
                  <a:lnTo>
                    <a:pt x="4046" y="1459"/>
                  </a:lnTo>
                  <a:lnTo>
                    <a:pt x="4050" y="1466"/>
                  </a:lnTo>
                  <a:lnTo>
                    <a:pt x="4052" y="1468"/>
                  </a:lnTo>
                  <a:lnTo>
                    <a:pt x="4059" y="1472"/>
                  </a:lnTo>
                  <a:lnTo>
                    <a:pt x="4061" y="1474"/>
                  </a:lnTo>
                  <a:lnTo>
                    <a:pt x="4061" y="1475"/>
                  </a:lnTo>
                  <a:lnTo>
                    <a:pt x="4059" y="1479"/>
                  </a:lnTo>
                  <a:lnTo>
                    <a:pt x="4058" y="1480"/>
                  </a:lnTo>
                  <a:lnTo>
                    <a:pt x="4060" y="1485"/>
                  </a:lnTo>
                  <a:lnTo>
                    <a:pt x="4061" y="1488"/>
                  </a:lnTo>
                  <a:lnTo>
                    <a:pt x="4061" y="1491"/>
                  </a:lnTo>
                  <a:lnTo>
                    <a:pt x="4059" y="1492"/>
                  </a:lnTo>
                  <a:lnTo>
                    <a:pt x="4053" y="1489"/>
                  </a:lnTo>
                  <a:lnTo>
                    <a:pt x="4052" y="1483"/>
                  </a:lnTo>
                  <a:lnTo>
                    <a:pt x="4035" y="1452"/>
                  </a:lnTo>
                  <a:lnTo>
                    <a:pt x="4031" y="1446"/>
                  </a:lnTo>
                  <a:lnTo>
                    <a:pt x="4026" y="1445"/>
                  </a:lnTo>
                  <a:lnTo>
                    <a:pt x="4020" y="1448"/>
                  </a:lnTo>
                  <a:lnTo>
                    <a:pt x="4026" y="1451"/>
                  </a:lnTo>
                  <a:lnTo>
                    <a:pt x="4029" y="1454"/>
                  </a:lnTo>
                  <a:lnTo>
                    <a:pt x="4031" y="1459"/>
                  </a:lnTo>
                  <a:lnTo>
                    <a:pt x="4030" y="1464"/>
                  </a:lnTo>
                  <a:lnTo>
                    <a:pt x="4031" y="1474"/>
                  </a:lnTo>
                  <a:lnTo>
                    <a:pt x="4031" y="1480"/>
                  </a:lnTo>
                  <a:lnTo>
                    <a:pt x="4030" y="1484"/>
                  </a:lnTo>
                  <a:lnTo>
                    <a:pt x="4028" y="1487"/>
                  </a:lnTo>
                  <a:lnTo>
                    <a:pt x="4028" y="1491"/>
                  </a:lnTo>
                  <a:lnTo>
                    <a:pt x="4030" y="1496"/>
                  </a:lnTo>
                  <a:lnTo>
                    <a:pt x="4037" y="1502"/>
                  </a:lnTo>
                  <a:lnTo>
                    <a:pt x="4059" y="1512"/>
                  </a:lnTo>
                  <a:lnTo>
                    <a:pt x="4058" y="1520"/>
                  </a:lnTo>
                  <a:lnTo>
                    <a:pt x="4060" y="1526"/>
                  </a:lnTo>
                  <a:lnTo>
                    <a:pt x="4065" y="1530"/>
                  </a:lnTo>
                  <a:lnTo>
                    <a:pt x="4069" y="1532"/>
                  </a:lnTo>
                  <a:lnTo>
                    <a:pt x="4064" y="1534"/>
                  </a:lnTo>
                  <a:lnTo>
                    <a:pt x="4057" y="1530"/>
                  </a:lnTo>
                  <a:lnTo>
                    <a:pt x="4037" y="1508"/>
                  </a:lnTo>
                  <a:lnTo>
                    <a:pt x="4035" y="1504"/>
                  </a:lnTo>
                  <a:lnTo>
                    <a:pt x="4032" y="1501"/>
                  </a:lnTo>
                  <a:lnTo>
                    <a:pt x="4025" y="1498"/>
                  </a:lnTo>
                  <a:lnTo>
                    <a:pt x="4022" y="1494"/>
                  </a:lnTo>
                  <a:lnTo>
                    <a:pt x="4021" y="1486"/>
                  </a:lnTo>
                  <a:lnTo>
                    <a:pt x="4021" y="1477"/>
                  </a:lnTo>
                  <a:lnTo>
                    <a:pt x="4021" y="1466"/>
                  </a:lnTo>
                  <a:lnTo>
                    <a:pt x="4018" y="1457"/>
                  </a:lnTo>
                  <a:lnTo>
                    <a:pt x="4012" y="1449"/>
                  </a:lnTo>
                  <a:lnTo>
                    <a:pt x="3994" y="1436"/>
                  </a:lnTo>
                  <a:lnTo>
                    <a:pt x="3996" y="1431"/>
                  </a:lnTo>
                  <a:lnTo>
                    <a:pt x="3998" y="1429"/>
                  </a:lnTo>
                  <a:lnTo>
                    <a:pt x="4001" y="1425"/>
                  </a:lnTo>
                  <a:lnTo>
                    <a:pt x="4002" y="1417"/>
                  </a:lnTo>
                  <a:lnTo>
                    <a:pt x="3999" y="1407"/>
                  </a:lnTo>
                  <a:lnTo>
                    <a:pt x="3998" y="1401"/>
                  </a:lnTo>
                  <a:lnTo>
                    <a:pt x="4002" y="1396"/>
                  </a:lnTo>
                  <a:lnTo>
                    <a:pt x="4003" y="1389"/>
                  </a:lnTo>
                  <a:lnTo>
                    <a:pt x="4004" y="1381"/>
                  </a:lnTo>
                  <a:lnTo>
                    <a:pt x="4003" y="1375"/>
                  </a:lnTo>
                  <a:lnTo>
                    <a:pt x="4000" y="1376"/>
                  </a:lnTo>
                  <a:lnTo>
                    <a:pt x="3997" y="1379"/>
                  </a:lnTo>
                  <a:lnTo>
                    <a:pt x="3994" y="1380"/>
                  </a:lnTo>
                  <a:lnTo>
                    <a:pt x="3992" y="1372"/>
                  </a:lnTo>
                  <a:lnTo>
                    <a:pt x="3994" y="1372"/>
                  </a:lnTo>
                  <a:lnTo>
                    <a:pt x="3995" y="1370"/>
                  </a:lnTo>
                  <a:lnTo>
                    <a:pt x="3996" y="1367"/>
                  </a:lnTo>
                  <a:lnTo>
                    <a:pt x="3997" y="1363"/>
                  </a:lnTo>
                  <a:lnTo>
                    <a:pt x="3995" y="1359"/>
                  </a:lnTo>
                  <a:lnTo>
                    <a:pt x="3995" y="1352"/>
                  </a:lnTo>
                  <a:lnTo>
                    <a:pt x="3993" y="1346"/>
                  </a:lnTo>
                  <a:lnTo>
                    <a:pt x="3990" y="1343"/>
                  </a:lnTo>
                  <a:lnTo>
                    <a:pt x="3984" y="1342"/>
                  </a:lnTo>
                  <a:lnTo>
                    <a:pt x="3982" y="1344"/>
                  </a:lnTo>
                  <a:lnTo>
                    <a:pt x="3979" y="1347"/>
                  </a:lnTo>
                  <a:lnTo>
                    <a:pt x="3979" y="1351"/>
                  </a:lnTo>
                  <a:lnTo>
                    <a:pt x="3979" y="1354"/>
                  </a:lnTo>
                  <a:lnTo>
                    <a:pt x="3980" y="1358"/>
                  </a:lnTo>
                  <a:lnTo>
                    <a:pt x="3980" y="1362"/>
                  </a:lnTo>
                  <a:lnTo>
                    <a:pt x="3978" y="1370"/>
                  </a:lnTo>
                  <a:lnTo>
                    <a:pt x="3974" y="1369"/>
                  </a:lnTo>
                  <a:lnTo>
                    <a:pt x="3970" y="1367"/>
                  </a:lnTo>
                  <a:lnTo>
                    <a:pt x="3967" y="1370"/>
                  </a:lnTo>
                  <a:lnTo>
                    <a:pt x="3967" y="1377"/>
                  </a:lnTo>
                  <a:lnTo>
                    <a:pt x="3970" y="1383"/>
                  </a:lnTo>
                  <a:lnTo>
                    <a:pt x="3975" y="1393"/>
                  </a:lnTo>
                  <a:lnTo>
                    <a:pt x="3973" y="1393"/>
                  </a:lnTo>
                  <a:lnTo>
                    <a:pt x="3970" y="1396"/>
                  </a:lnTo>
                  <a:lnTo>
                    <a:pt x="3966" y="1404"/>
                  </a:lnTo>
                  <a:lnTo>
                    <a:pt x="3963" y="1408"/>
                  </a:lnTo>
                  <a:lnTo>
                    <a:pt x="3960" y="1410"/>
                  </a:lnTo>
                  <a:lnTo>
                    <a:pt x="3952" y="1410"/>
                  </a:lnTo>
                  <a:lnTo>
                    <a:pt x="3950" y="1411"/>
                  </a:lnTo>
                  <a:lnTo>
                    <a:pt x="3950" y="1413"/>
                  </a:lnTo>
                  <a:lnTo>
                    <a:pt x="3950" y="1415"/>
                  </a:lnTo>
                  <a:lnTo>
                    <a:pt x="3950" y="1416"/>
                  </a:lnTo>
                  <a:lnTo>
                    <a:pt x="3945" y="1418"/>
                  </a:lnTo>
                  <a:lnTo>
                    <a:pt x="3935" y="1418"/>
                  </a:lnTo>
                  <a:lnTo>
                    <a:pt x="3933" y="1421"/>
                  </a:lnTo>
                  <a:lnTo>
                    <a:pt x="3934" y="1428"/>
                  </a:lnTo>
                  <a:lnTo>
                    <a:pt x="3932" y="1428"/>
                  </a:lnTo>
                  <a:lnTo>
                    <a:pt x="3930" y="1427"/>
                  </a:lnTo>
                  <a:lnTo>
                    <a:pt x="3928" y="1426"/>
                  </a:lnTo>
                  <a:lnTo>
                    <a:pt x="3926" y="1425"/>
                  </a:lnTo>
                  <a:lnTo>
                    <a:pt x="3928" y="1420"/>
                  </a:lnTo>
                  <a:lnTo>
                    <a:pt x="3928" y="1416"/>
                  </a:lnTo>
                  <a:lnTo>
                    <a:pt x="3928" y="1413"/>
                  </a:lnTo>
                  <a:lnTo>
                    <a:pt x="3926" y="1410"/>
                  </a:lnTo>
                  <a:lnTo>
                    <a:pt x="3931" y="1408"/>
                  </a:lnTo>
                  <a:lnTo>
                    <a:pt x="3941" y="1413"/>
                  </a:lnTo>
                  <a:lnTo>
                    <a:pt x="3945" y="1410"/>
                  </a:lnTo>
                  <a:lnTo>
                    <a:pt x="3946" y="1405"/>
                  </a:lnTo>
                  <a:lnTo>
                    <a:pt x="3944" y="1401"/>
                  </a:lnTo>
                  <a:lnTo>
                    <a:pt x="3942" y="1397"/>
                  </a:lnTo>
                  <a:lnTo>
                    <a:pt x="3940" y="1396"/>
                  </a:lnTo>
                  <a:lnTo>
                    <a:pt x="3943" y="1393"/>
                  </a:lnTo>
                  <a:lnTo>
                    <a:pt x="3945" y="1390"/>
                  </a:lnTo>
                  <a:lnTo>
                    <a:pt x="3942" y="1387"/>
                  </a:lnTo>
                  <a:lnTo>
                    <a:pt x="3936" y="1386"/>
                  </a:lnTo>
                  <a:lnTo>
                    <a:pt x="3933" y="1384"/>
                  </a:lnTo>
                  <a:lnTo>
                    <a:pt x="3933" y="1382"/>
                  </a:lnTo>
                  <a:lnTo>
                    <a:pt x="3934" y="1381"/>
                  </a:lnTo>
                  <a:lnTo>
                    <a:pt x="3934" y="1380"/>
                  </a:lnTo>
                  <a:lnTo>
                    <a:pt x="3934" y="1378"/>
                  </a:lnTo>
                  <a:lnTo>
                    <a:pt x="3931" y="1377"/>
                  </a:lnTo>
                  <a:lnTo>
                    <a:pt x="3930" y="1379"/>
                  </a:lnTo>
                  <a:lnTo>
                    <a:pt x="3930" y="1388"/>
                  </a:lnTo>
                  <a:lnTo>
                    <a:pt x="3929" y="1392"/>
                  </a:lnTo>
                  <a:lnTo>
                    <a:pt x="3923" y="1400"/>
                  </a:lnTo>
                  <a:lnTo>
                    <a:pt x="3921" y="1401"/>
                  </a:lnTo>
                  <a:lnTo>
                    <a:pt x="3914" y="1401"/>
                  </a:lnTo>
                  <a:lnTo>
                    <a:pt x="3913" y="1403"/>
                  </a:lnTo>
                  <a:lnTo>
                    <a:pt x="3913" y="1409"/>
                  </a:lnTo>
                  <a:lnTo>
                    <a:pt x="3912" y="1410"/>
                  </a:lnTo>
                  <a:lnTo>
                    <a:pt x="3910" y="1408"/>
                  </a:lnTo>
                  <a:lnTo>
                    <a:pt x="3909" y="1404"/>
                  </a:lnTo>
                  <a:lnTo>
                    <a:pt x="3908" y="1399"/>
                  </a:lnTo>
                  <a:lnTo>
                    <a:pt x="3909" y="1393"/>
                  </a:lnTo>
                  <a:lnTo>
                    <a:pt x="3902" y="1396"/>
                  </a:lnTo>
                  <a:lnTo>
                    <a:pt x="3893" y="1405"/>
                  </a:lnTo>
                  <a:lnTo>
                    <a:pt x="3885" y="1415"/>
                  </a:lnTo>
                  <a:lnTo>
                    <a:pt x="3883" y="1425"/>
                  </a:lnTo>
                  <a:lnTo>
                    <a:pt x="3880" y="1426"/>
                  </a:lnTo>
                  <a:lnTo>
                    <a:pt x="3878" y="1427"/>
                  </a:lnTo>
                  <a:lnTo>
                    <a:pt x="3875" y="1429"/>
                  </a:lnTo>
                  <a:lnTo>
                    <a:pt x="3873" y="1433"/>
                  </a:lnTo>
                  <a:lnTo>
                    <a:pt x="3879" y="1445"/>
                  </a:lnTo>
                  <a:lnTo>
                    <a:pt x="3885" y="1451"/>
                  </a:lnTo>
                  <a:lnTo>
                    <a:pt x="3892" y="1451"/>
                  </a:lnTo>
                  <a:lnTo>
                    <a:pt x="3898" y="1445"/>
                  </a:lnTo>
                  <a:lnTo>
                    <a:pt x="3896" y="1444"/>
                  </a:lnTo>
                  <a:lnTo>
                    <a:pt x="3893" y="1445"/>
                  </a:lnTo>
                  <a:lnTo>
                    <a:pt x="3891" y="1444"/>
                  </a:lnTo>
                  <a:lnTo>
                    <a:pt x="3890" y="1439"/>
                  </a:lnTo>
                  <a:lnTo>
                    <a:pt x="3911" y="1422"/>
                  </a:lnTo>
                  <a:lnTo>
                    <a:pt x="3913" y="1419"/>
                  </a:lnTo>
                  <a:lnTo>
                    <a:pt x="3915" y="1417"/>
                  </a:lnTo>
                  <a:lnTo>
                    <a:pt x="3917" y="1418"/>
                  </a:lnTo>
                  <a:lnTo>
                    <a:pt x="3920" y="1422"/>
                  </a:lnTo>
                  <a:lnTo>
                    <a:pt x="3922" y="1427"/>
                  </a:lnTo>
                  <a:lnTo>
                    <a:pt x="3923" y="1431"/>
                  </a:lnTo>
                  <a:lnTo>
                    <a:pt x="3924" y="1433"/>
                  </a:lnTo>
                  <a:lnTo>
                    <a:pt x="3954" y="1435"/>
                  </a:lnTo>
                  <a:lnTo>
                    <a:pt x="3958" y="1429"/>
                  </a:lnTo>
                  <a:lnTo>
                    <a:pt x="3960" y="1427"/>
                  </a:lnTo>
                  <a:lnTo>
                    <a:pt x="3966" y="1420"/>
                  </a:lnTo>
                  <a:lnTo>
                    <a:pt x="3968" y="1419"/>
                  </a:lnTo>
                  <a:lnTo>
                    <a:pt x="3971" y="1420"/>
                  </a:lnTo>
                  <a:lnTo>
                    <a:pt x="3970" y="1424"/>
                  </a:lnTo>
                  <a:lnTo>
                    <a:pt x="3964" y="1431"/>
                  </a:lnTo>
                  <a:lnTo>
                    <a:pt x="3964" y="1433"/>
                  </a:lnTo>
                  <a:lnTo>
                    <a:pt x="3972" y="1439"/>
                  </a:lnTo>
                  <a:lnTo>
                    <a:pt x="3997" y="1442"/>
                  </a:lnTo>
                  <a:lnTo>
                    <a:pt x="3997" y="1445"/>
                  </a:lnTo>
                  <a:lnTo>
                    <a:pt x="3987" y="1444"/>
                  </a:lnTo>
                  <a:lnTo>
                    <a:pt x="3982" y="1445"/>
                  </a:lnTo>
                  <a:lnTo>
                    <a:pt x="3980" y="1451"/>
                  </a:lnTo>
                  <a:lnTo>
                    <a:pt x="3982" y="1451"/>
                  </a:lnTo>
                  <a:lnTo>
                    <a:pt x="3980" y="1460"/>
                  </a:lnTo>
                  <a:lnTo>
                    <a:pt x="3979" y="1464"/>
                  </a:lnTo>
                  <a:lnTo>
                    <a:pt x="3977" y="1467"/>
                  </a:lnTo>
                  <a:lnTo>
                    <a:pt x="3969" y="1475"/>
                  </a:lnTo>
                  <a:lnTo>
                    <a:pt x="3967" y="1480"/>
                  </a:lnTo>
                  <a:lnTo>
                    <a:pt x="3966" y="1490"/>
                  </a:lnTo>
                  <a:lnTo>
                    <a:pt x="3965" y="1491"/>
                  </a:lnTo>
                  <a:lnTo>
                    <a:pt x="3964" y="1492"/>
                  </a:lnTo>
                  <a:lnTo>
                    <a:pt x="3962" y="1491"/>
                  </a:lnTo>
                  <a:lnTo>
                    <a:pt x="3961" y="1487"/>
                  </a:lnTo>
                  <a:lnTo>
                    <a:pt x="3961" y="1480"/>
                  </a:lnTo>
                  <a:lnTo>
                    <a:pt x="3959" y="1475"/>
                  </a:lnTo>
                  <a:lnTo>
                    <a:pt x="3954" y="1469"/>
                  </a:lnTo>
                  <a:lnTo>
                    <a:pt x="3948" y="1469"/>
                  </a:lnTo>
                  <a:lnTo>
                    <a:pt x="3924" y="1478"/>
                  </a:lnTo>
                  <a:lnTo>
                    <a:pt x="3924" y="1484"/>
                  </a:lnTo>
                  <a:lnTo>
                    <a:pt x="3921" y="1487"/>
                  </a:lnTo>
                  <a:lnTo>
                    <a:pt x="3918" y="1489"/>
                  </a:lnTo>
                  <a:lnTo>
                    <a:pt x="3916" y="1491"/>
                  </a:lnTo>
                  <a:lnTo>
                    <a:pt x="3913" y="1495"/>
                  </a:lnTo>
                  <a:lnTo>
                    <a:pt x="3912" y="1500"/>
                  </a:lnTo>
                  <a:lnTo>
                    <a:pt x="3912" y="1505"/>
                  </a:lnTo>
                  <a:lnTo>
                    <a:pt x="3915" y="1508"/>
                  </a:lnTo>
                  <a:lnTo>
                    <a:pt x="3913" y="1511"/>
                  </a:lnTo>
                  <a:lnTo>
                    <a:pt x="3912" y="1512"/>
                  </a:lnTo>
                  <a:lnTo>
                    <a:pt x="3910" y="1509"/>
                  </a:lnTo>
                  <a:lnTo>
                    <a:pt x="3909" y="1506"/>
                  </a:lnTo>
                  <a:lnTo>
                    <a:pt x="3908" y="1502"/>
                  </a:lnTo>
                  <a:lnTo>
                    <a:pt x="3909" y="1499"/>
                  </a:lnTo>
                  <a:lnTo>
                    <a:pt x="3910" y="1498"/>
                  </a:lnTo>
                  <a:lnTo>
                    <a:pt x="3911" y="1496"/>
                  </a:lnTo>
                  <a:lnTo>
                    <a:pt x="3915" y="1484"/>
                  </a:lnTo>
                  <a:lnTo>
                    <a:pt x="3914" y="1483"/>
                  </a:lnTo>
                  <a:lnTo>
                    <a:pt x="3905" y="1484"/>
                  </a:lnTo>
                  <a:lnTo>
                    <a:pt x="3886" y="1495"/>
                  </a:lnTo>
                  <a:lnTo>
                    <a:pt x="3882" y="1495"/>
                  </a:lnTo>
                  <a:lnTo>
                    <a:pt x="3882" y="1491"/>
                  </a:lnTo>
                  <a:lnTo>
                    <a:pt x="3877" y="1495"/>
                  </a:lnTo>
                  <a:lnTo>
                    <a:pt x="3860" y="1520"/>
                  </a:lnTo>
                  <a:lnTo>
                    <a:pt x="3859" y="1513"/>
                  </a:lnTo>
                  <a:lnTo>
                    <a:pt x="3861" y="1508"/>
                  </a:lnTo>
                  <a:lnTo>
                    <a:pt x="3863" y="1504"/>
                  </a:lnTo>
                  <a:lnTo>
                    <a:pt x="3866" y="1503"/>
                  </a:lnTo>
                  <a:lnTo>
                    <a:pt x="3859" y="1497"/>
                  </a:lnTo>
                  <a:lnTo>
                    <a:pt x="3842" y="1497"/>
                  </a:lnTo>
                  <a:lnTo>
                    <a:pt x="3834" y="1494"/>
                  </a:lnTo>
                  <a:lnTo>
                    <a:pt x="3829" y="1493"/>
                  </a:lnTo>
                  <a:lnTo>
                    <a:pt x="3820" y="1497"/>
                  </a:lnTo>
                  <a:lnTo>
                    <a:pt x="3813" y="1503"/>
                  </a:lnTo>
                  <a:lnTo>
                    <a:pt x="3810" y="1508"/>
                  </a:lnTo>
                  <a:lnTo>
                    <a:pt x="3808" y="1511"/>
                  </a:lnTo>
                  <a:lnTo>
                    <a:pt x="3806" y="1512"/>
                  </a:lnTo>
                  <a:lnTo>
                    <a:pt x="3805" y="1512"/>
                  </a:lnTo>
                  <a:lnTo>
                    <a:pt x="3805" y="1514"/>
                  </a:lnTo>
                  <a:lnTo>
                    <a:pt x="3841" y="1507"/>
                  </a:lnTo>
                  <a:lnTo>
                    <a:pt x="3845" y="1512"/>
                  </a:lnTo>
                  <a:lnTo>
                    <a:pt x="3839" y="1517"/>
                  </a:lnTo>
                  <a:lnTo>
                    <a:pt x="3822" y="1518"/>
                  </a:lnTo>
                  <a:lnTo>
                    <a:pt x="3809" y="1523"/>
                  </a:lnTo>
                  <a:lnTo>
                    <a:pt x="3798" y="1523"/>
                  </a:lnTo>
                  <a:lnTo>
                    <a:pt x="3795" y="1524"/>
                  </a:lnTo>
                  <a:lnTo>
                    <a:pt x="3793" y="1527"/>
                  </a:lnTo>
                  <a:lnTo>
                    <a:pt x="3790" y="1532"/>
                  </a:lnTo>
                  <a:lnTo>
                    <a:pt x="3791" y="1535"/>
                  </a:lnTo>
                  <a:lnTo>
                    <a:pt x="3792" y="1538"/>
                  </a:lnTo>
                  <a:lnTo>
                    <a:pt x="3794" y="1540"/>
                  </a:lnTo>
                  <a:lnTo>
                    <a:pt x="3795" y="1540"/>
                  </a:lnTo>
                  <a:lnTo>
                    <a:pt x="3797" y="1536"/>
                  </a:lnTo>
                  <a:lnTo>
                    <a:pt x="3800" y="1534"/>
                  </a:lnTo>
                  <a:lnTo>
                    <a:pt x="3802" y="1537"/>
                  </a:lnTo>
                  <a:lnTo>
                    <a:pt x="3802" y="1543"/>
                  </a:lnTo>
                  <a:lnTo>
                    <a:pt x="3803" y="1545"/>
                  </a:lnTo>
                  <a:lnTo>
                    <a:pt x="3804" y="1546"/>
                  </a:lnTo>
                  <a:lnTo>
                    <a:pt x="3803" y="1547"/>
                  </a:lnTo>
                  <a:lnTo>
                    <a:pt x="3802" y="1549"/>
                  </a:lnTo>
                  <a:lnTo>
                    <a:pt x="3809" y="1544"/>
                  </a:lnTo>
                  <a:lnTo>
                    <a:pt x="3834" y="1540"/>
                  </a:lnTo>
                  <a:lnTo>
                    <a:pt x="3831" y="1544"/>
                  </a:lnTo>
                  <a:lnTo>
                    <a:pt x="3828" y="1546"/>
                  </a:lnTo>
                  <a:lnTo>
                    <a:pt x="3831" y="1556"/>
                  </a:lnTo>
                  <a:lnTo>
                    <a:pt x="3837" y="1556"/>
                  </a:lnTo>
                  <a:lnTo>
                    <a:pt x="3843" y="1555"/>
                  </a:lnTo>
                  <a:lnTo>
                    <a:pt x="3847" y="1557"/>
                  </a:lnTo>
                  <a:lnTo>
                    <a:pt x="3809" y="1562"/>
                  </a:lnTo>
                  <a:lnTo>
                    <a:pt x="3806" y="1565"/>
                  </a:lnTo>
                  <a:lnTo>
                    <a:pt x="3803" y="1565"/>
                  </a:lnTo>
                  <a:lnTo>
                    <a:pt x="3799" y="1563"/>
                  </a:lnTo>
                  <a:lnTo>
                    <a:pt x="3796" y="1563"/>
                  </a:lnTo>
                  <a:lnTo>
                    <a:pt x="3794" y="1569"/>
                  </a:lnTo>
                  <a:lnTo>
                    <a:pt x="3809" y="1572"/>
                  </a:lnTo>
                  <a:lnTo>
                    <a:pt x="3809" y="1575"/>
                  </a:lnTo>
                  <a:lnTo>
                    <a:pt x="3785" y="1592"/>
                  </a:lnTo>
                  <a:lnTo>
                    <a:pt x="3790" y="1597"/>
                  </a:lnTo>
                  <a:lnTo>
                    <a:pt x="3798" y="1597"/>
                  </a:lnTo>
                  <a:lnTo>
                    <a:pt x="3803" y="1599"/>
                  </a:lnTo>
                  <a:lnTo>
                    <a:pt x="3816" y="1595"/>
                  </a:lnTo>
                  <a:lnTo>
                    <a:pt x="3818" y="1593"/>
                  </a:lnTo>
                  <a:lnTo>
                    <a:pt x="3821" y="1590"/>
                  </a:lnTo>
                  <a:lnTo>
                    <a:pt x="3835" y="1585"/>
                  </a:lnTo>
                  <a:lnTo>
                    <a:pt x="3854" y="1570"/>
                  </a:lnTo>
                  <a:lnTo>
                    <a:pt x="3858" y="1569"/>
                  </a:lnTo>
                  <a:lnTo>
                    <a:pt x="3859" y="1567"/>
                  </a:lnTo>
                  <a:lnTo>
                    <a:pt x="3864" y="1557"/>
                  </a:lnTo>
                  <a:lnTo>
                    <a:pt x="3870" y="1553"/>
                  </a:lnTo>
                  <a:lnTo>
                    <a:pt x="3878" y="1543"/>
                  </a:lnTo>
                  <a:lnTo>
                    <a:pt x="3890" y="1532"/>
                  </a:lnTo>
                  <a:lnTo>
                    <a:pt x="3889" y="1527"/>
                  </a:lnTo>
                  <a:lnTo>
                    <a:pt x="3886" y="1515"/>
                  </a:lnTo>
                  <a:lnTo>
                    <a:pt x="3885" y="1512"/>
                  </a:lnTo>
                  <a:lnTo>
                    <a:pt x="3887" y="1506"/>
                  </a:lnTo>
                  <a:lnTo>
                    <a:pt x="3889" y="1510"/>
                  </a:lnTo>
                  <a:lnTo>
                    <a:pt x="3893" y="1523"/>
                  </a:lnTo>
                  <a:lnTo>
                    <a:pt x="3894" y="1516"/>
                  </a:lnTo>
                  <a:lnTo>
                    <a:pt x="3895" y="1509"/>
                  </a:lnTo>
                  <a:lnTo>
                    <a:pt x="3897" y="1508"/>
                  </a:lnTo>
                  <a:lnTo>
                    <a:pt x="3899" y="1514"/>
                  </a:lnTo>
                  <a:lnTo>
                    <a:pt x="3899" y="1520"/>
                  </a:lnTo>
                  <a:lnTo>
                    <a:pt x="3896" y="1528"/>
                  </a:lnTo>
                  <a:lnTo>
                    <a:pt x="3894" y="1535"/>
                  </a:lnTo>
                  <a:lnTo>
                    <a:pt x="3923" y="1544"/>
                  </a:lnTo>
                  <a:lnTo>
                    <a:pt x="3926" y="1543"/>
                  </a:lnTo>
                  <a:lnTo>
                    <a:pt x="3933" y="1536"/>
                  </a:lnTo>
                  <a:lnTo>
                    <a:pt x="3936" y="1535"/>
                  </a:lnTo>
                  <a:lnTo>
                    <a:pt x="3939" y="1535"/>
                  </a:lnTo>
                  <a:lnTo>
                    <a:pt x="3936" y="1538"/>
                  </a:lnTo>
                  <a:lnTo>
                    <a:pt x="3933" y="1541"/>
                  </a:lnTo>
                  <a:lnTo>
                    <a:pt x="3930" y="1543"/>
                  </a:lnTo>
                  <a:lnTo>
                    <a:pt x="3929" y="1549"/>
                  </a:lnTo>
                  <a:lnTo>
                    <a:pt x="3935" y="1549"/>
                  </a:lnTo>
                  <a:lnTo>
                    <a:pt x="3954" y="1563"/>
                  </a:lnTo>
                  <a:lnTo>
                    <a:pt x="3953" y="1566"/>
                  </a:lnTo>
                  <a:lnTo>
                    <a:pt x="3953" y="1569"/>
                  </a:lnTo>
                  <a:lnTo>
                    <a:pt x="3953" y="1572"/>
                  </a:lnTo>
                  <a:lnTo>
                    <a:pt x="3955" y="1575"/>
                  </a:lnTo>
                  <a:lnTo>
                    <a:pt x="3957" y="1577"/>
                  </a:lnTo>
                  <a:lnTo>
                    <a:pt x="3959" y="1578"/>
                  </a:lnTo>
                  <a:lnTo>
                    <a:pt x="3961" y="1578"/>
                  </a:lnTo>
                  <a:lnTo>
                    <a:pt x="3959" y="1584"/>
                  </a:lnTo>
                  <a:lnTo>
                    <a:pt x="3956" y="1584"/>
                  </a:lnTo>
                  <a:lnTo>
                    <a:pt x="3933" y="1561"/>
                  </a:lnTo>
                  <a:lnTo>
                    <a:pt x="3923" y="1555"/>
                  </a:lnTo>
                  <a:lnTo>
                    <a:pt x="3893" y="1557"/>
                  </a:lnTo>
                  <a:lnTo>
                    <a:pt x="3893" y="1561"/>
                  </a:lnTo>
                  <a:lnTo>
                    <a:pt x="3901" y="1572"/>
                  </a:lnTo>
                  <a:lnTo>
                    <a:pt x="3906" y="1576"/>
                  </a:lnTo>
                  <a:lnTo>
                    <a:pt x="3916" y="1570"/>
                  </a:lnTo>
                  <a:lnTo>
                    <a:pt x="3922" y="1573"/>
                  </a:lnTo>
                  <a:lnTo>
                    <a:pt x="3933" y="1583"/>
                  </a:lnTo>
                  <a:lnTo>
                    <a:pt x="3910" y="1578"/>
                  </a:lnTo>
                  <a:lnTo>
                    <a:pt x="3912" y="1579"/>
                  </a:lnTo>
                  <a:lnTo>
                    <a:pt x="3915" y="1586"/>
                  </a:lnTo>
                  <a:lnTo>
                    <a:pt x="3894" y="1580"/>
                  </a:lnTo>
                  <a:lnTo>
                    <a:pt x="3887" y="1571"/>
                  </a:lnTo>
                  <a:lnTo>
                    <a:pt x="3881" y="1567"/>
                  </a:lnTo>
                  <a:lnTo>
                    <a:pt x="3879" y="1566"/>
                  </a:lnTo>
                  <a:lnTo>
                    <a:pt x="3877" y="1567"/>
                  </a:lnTo>
                  <a:lnTo>
                    <a:pt x="3875" y="1569"/>
                  </a:lnTo>
                  <a:lnTo>
                    <a:pt x="3872" y="1578"/>
                  </a:lnTo>
                  <a:lnTo>
                    <a:pt x="3875" y="1580"/>
                  </a:lnTo>
                  <a:lnTo>
                    <a:pt x="3877" y="1581"/>
                  </a:lnTo>
                  <a:lnTo>
                    <a:pt x="3882" y="1581"/>
                  </a:lnTo>
                  <a:lnTo>
                    <a:pt x="3860" y="1598"/>
                  </a:lnTo>
                  <a:lnTo>
                    <a:pt x="3857" y="1609"/>
                  </a:lnTo>
                  <a:lnTo>
                    <a:pt x="3859" y="1613"/>
                  </a:lnTo>
                  <a:lnTo>
                    <a:pt x="3864" y="1612"/>
                  </a:lnTo>
                  <a:lnTo>
                    <a:pt x="3872" y="1606"/>
                  </a:lnTo>
                  <a:lnTo>
                    <a:pt x="3877" y="1608"/>
                  </a:lnTo>
                  <a:lnTo>
                    <a:pt x="3881" y="1612"/>
                  </a:lnTo>
                  <a:lnTo>
                    <a:pt x="3886" y="1615"/>
                  </a:lnTo>
                  <a:lnTo>
                    <a:pt x="3890" y="1612"/>
                  </a:lnTo>
                  <a:lnTo>
                    <a:pt x="3889" y="1611"/>
                  </a:lnTo>
                  <a:lnTo>
                    <a:pt x="3887" y="1606"/>
                  </a:lnTo>
                  <a:lnTo>
                    <a:pt x="3890" y="1603"/>
                  </a:lnTo>
                  <a:lnTo>
                    <a:pt x="3893" y="1604"/>
                  </a:lnTo>
                  <a:lnTo>
                    <a:pt x="3896" y="1607"/>
                  </a:lnTo>
                  <a:lnTo>
                    <a:pt x="3898" y="1612"/>
                  </a:lnTo>
                  <a:lnTo>
                    <a:pt x="3896" y="1614"/>
                  </a:lnTo>
                  <a:lnTo>
                    <a:pt x="3895" y="1615"/>
                  </a:lnTo>
                  <a:lnTo>
                    <a:pt x="3902" y="1626"/>
                  </a:lnTo>
                  <a:lnTo>
                    <a:pt x="3901" y="1630"/>
                  </a:lnTo>
                  <a:lnTo>
                    <a:pt x="3900" y="1633"/>
                  </a:lnTo>
                  <a:lnTo>
                    <a:pt x="3898" y="1634"/>
                  </a:lnTo>
                  <a:lnTo>
                    <a:pt x="3896" y="1626"/>
                  </a:lnTo>
                  <a:lnTo>
                    <a:pt x="3894" y="1624"/>
                  </a:lnTo>
                  <a:lnTo>
                    <a:pt x="3888" y="1623"/>
                  </a:lnTo>
                  <a:lnTo>
                    <a:pt x="3878" y="1619"/>
                  </a:lnTo>
                  <a:lnTo>
                    <a:pt x="3873" y="1620"/>
                  </a:lnTo>
                  <a:lnTo>
                    <a:pt x="3867" y="1623"/>
                  </a:lnTo>
                  <a:lnTo>
                    <a:pt x="3869" y="1626"/>
                  </a:lnTo>
                  <a:lnTo>
                    <a:pt x="3870" y="1626"/>
                  </a:lnTo>
                  <a:lnTo>
                    <a:pt x="3866" y="1631"/>
                  </a:lnTo>
                  <a:lnTo>
                    <a:pt x="3865" y="1634"/>
                  </a:lnTo>
                  <a:lnTo>
                    <a:pt x="3865" y="1642"/>
                  </a:lnTo>
                  <a:lnTo>
                    <a:pt x="3867" y="1646"/>
                  </a:lnTo>
                  <a:lnTo>
                    <a:pt x="3871" y="1648"/>
                  </a:lnTo>
                  <a:lnTo>
                    <a:pt x="3908" y="1654"/>
                  </a:lnTo>
                  <a:lnTo>
                    <a:pt x="3917" y="1652"/>
                  </a:lnTo>
                  <a:lnTo>
                    <a:pt x="3935" y="1637"/>
                  </a:lnTo>
                  <a:lnTo>
                    <a:pt x="3966" y="1628"/>
                  </a:lnTo>
                  <a:lnTo>
                    <a:pt x="3971" y="1635"/>
                  </a:lnTo>
                  <a:lnTo>
                    <a:pt x="3953" y="1637"/>
                  </a:lnTo>
                  <a:lnTo>
                    <a:pt x="3924" y="1654"/>
                  </a:lnTo>
                  <a:lnTo>
                    <a:pt x="3917" y="1661"/>
                  </a:lnTo>
                  <a:lnTo>
                    <a:pt x="3912" y="1672"/>
                  </a:lnTo>
                  <a:lnTo>
                    <a:pt x="3914" y="1674"/>
                  </a:lnTo>
                  <a:lnTo>
                    <a:pt x="3917" y="1674"/>
                  </a:lnTo>
                  <a:lnTo>
                    <a:pt x="3921" y="1674"/>
                  </a:lnTo>
                  <a:lnTo>
                    <a:pt x="3918" y="1679"/>
                  </a:lnTo>
                  <a:lnTo>
                    <a:pt x="3913" y="1684"/>
                  </a:lnTo>
                  <a:lnTo>
                    <a:pt x="3910" y="1689"/>
                  </a:lnTo>
                  <a:lnTo>
                    <a:pt x="3917" y="1696"/>
                  </a:lnTo>
                  <a:lnTo>
                    <a:pt x="3922" y="1702"/>
                  </a:lnTo>
                  <a:lnTo>
                    <a:pt x="3923" y="1707"/>
                  </a:lnTo>
                  <a:lnTo>
                    <a:pt x="3924" y="1709"/>
                  </a:lnTo>
                  <a:lnTo>
                    <a:pt x="3926" y="1717"/>
                  </a:lnTo>
                  <a:lnTo>
                    <a:pt x="3927" y="1722"/>
                  </a:lnTo>
                  <a:lnTo>
                    <a:pt x="3927" y="1725"/>
                  </a:lnTo>
                  <a:lnTo>
                    <a:pt x="3927" y="1727"/>
                  </a:lnTo>
                  <a:lnTo>
                    <a:pt x="3930" y="1731"/>
                  </a:lnTo>
                  <a:lnTo>
                    <a:pt x="3938" y="1736"/>
                  </a:lnTo>
                  <a:lnTo>
                    <a:pt x="3940" y="1740"/>
                  </a:lnTo>
                  <a:lnTo>
                    <a:pt x="3933" y="1751"/>
                  </a:lnTo>
                  <a:lnTo>
                    <a:pt x="3928" y="1752"/>
                  </a:lnTo>
                  <a:lnTo>
                    <a:pt x="3924" y="1749"/>
                  </a:lnTo>
                  <a:lnTo>
                    <a:pt x="3925" y="1745"/>
                  </a:lnTo>
                  <a:lnTo>
                    <a:pt x="3931" y="1743"/>
                  </a:lnTo>
                  <a:lnTo>
                    <a:pt x="3931" y="1740"/>
                  </a:lnTo>
                  <a:lnTo>
                    <a:pt x="3925" y="1735"/>
                  </a:lnTo>
                  <a:lnTo>
                    <a:pt x="3920" y="1728"/>
                  </a:lnTo>
                  <a:lnTo>
                    <a:pt x="3916" y="1720"/>
                  </a:lnTo>
                  <a:lnTo>
                    <a:pt x="3916" y="1720"/>
                  </a:lnTo>
                  <a:lnTo>
                    <a:pt x="3915" y="1717"/>
                  </a:lnTo>
                  <a:lnTo>
                    <a:pt x="3915" y="1711"/>
                  </a:lnTo>
                  <a:lnTo>
                    <a:pt x="3915" y="1708"/>
                  </a:lnTo>
                  <a:lnTo>
                    <a:pt x="3907" y="1687"/>
                  </a:lnTo>
                  <a:lnTo>
                    <a:pt x="3905" y="1678"/>
                  </a:lnTo>
                  <a:lnTo>
                    <a:pt x="3904" y="1674"/>
                  </a:lnTo>
                  <a:lnTo>
                    <a:pt x="3897" y="1665"/>
                  </a:lnTo>
                  <a:lnTo>
                    <a:pt x="3887" y="1664"/>
                  </a:lnTo>
                  <a:lnTo>
                    <a:pt x="3867" y="1667"/>
                  </a:lnTo>
                  <a:lnTo>
                    <a:pt x="3865" y="1668"/>
                  </a:lnTo>
                  <a:lnTo>
                    <a:pt x="3865" y="1670"/>
                  </a:lnTo>
                  <a:lnTo>
                    <a:pt x="3864" y="1674"/>
                  </a:lnTo>
                  <a:lnTo>
                    <a:pt x="3864" y="1677"/>
                  </a:lnTo>
                  <a:lnTo>
                    <a:pt x="3863" y="1679"/>
                  </a:lnTo>
                  <a:lnTo>
                    <a:pt x="3862" y="1680"/>
                  </a:lnTo>
                  <a:lnTo>
                    <a:pt x="3859" y="1682"/>
                  </a:lnTo>
                  <a:lnTo>
                    <a:pt x="3853" y="1690"/>
                  </a:lnTo>
                  <a:lnTo>
                    <a:pt x="3850" y="1691"/>
                  </a:lnTo>
                  <a:lnTo>
                    <a:pt x="3851" y="1684"/>
                  </a:lnTo>
                  <a:lnTo>
                    <a:pt x="3853" y="1680"/>
                  </a:lnTo>
                  <a:lnTo>
                    <a:pt x="3855" y="1677"/>
                  </a:lnTo>
                  <a:lnTo>
                    <a:pt x="3856" y="1672"/>
                  </a:lnTo>
                  <a:lnTo>
                    <a:pt x="3853" y="1669"/>
                  </a:lnTo>
                  <a:lnTo>
                    <a:pt x="3853" y="1669"/>
                  </a:lnTo>
                  <a:lnTo>
                    <a:pt x="3853" y="1666"/>
                  </a:lnTo>
                  <a:lnTo>
                    <a:pt x="3858" y="1666"/>
                  </a:lnTo>
                  <a:lnTo>
                    <a:pt x="3860" y="1665"/>
                  </a:lnTo>
                  <a:lnTo>
                    <a:pt x="3863" y="1663"/>
                  </a:lnTo>
                  <a:lnTo>
                    <a:pt x="3863" y="1660"/>
                  </a:lnTo>
                  <a:lnTo>
                    <a:pt x="3860" y="1660"/>
                  </a:lnTo>
                  <a:lnTo>
                    <a:pt x="3859" y="1658"/>
                  </a:lnTo>
                  <a:lnTo>
                    <a:pt x="3858" y="1655"/>
                  </a:lnTo>
                  <a:lnTo>
                    <a:pt x="3859" y="1652"/>
                  </a:lnTo>
                  <a:lnTo>
                    <a:pt x="3857" y="1650"/>
                  </a:lnTo>
                  <a:lnTo>
                    <a:pt x="3854" y="1652"/>
                  </a:lnTo>
                  <a:lnTo>
                    <a:pt x="3851" y="1655"/>
                  </a:lnTo>
                  <a:lnTo>
                    <a:pt x="3848" y="1657"/>
                  </a:lnTo>
                  <a:lnTo>
                    <a:pt x="3845" y="1658"/>
                  </a:lnTo>
                  <a:lnTo>
                    <a:pt x="3841" y="1660"/>
                  </a:lnTo>
                  <a:lnTo>
                    <a:pt x="3838" y="1663"/>
                  </a:lnTo>
                  <a:lnTo>
                    <a:pt x="3835" y="1667"/>
                  </a:lnTo>
                  <a:lnTo>
                    <a:pt x="3831" y="1671"/>
                  </a:lnTo>
                  <a:lnTo>
                    <a:pt x="3827" y="1672"/>
                  </a:lnTo>
                  <a:lnTo>
                    <a:pt x="3805" y="1671"/>
                  </a:lnTo>
                  <a:lnTo>
                    <a:pt x="3802" y="1669"/>
                  </a:lnTo>
                  <a:lnTo>
                    <a:pt x="3810" y="1664"/>
                  </a:lnTo>
                  <a:lnTo>
                    <a:pt x="3830" y="1664"/>
                  </a:lnTo>
                  <a:lnTo>
                    <a:pt x="3837" y="1652"/>
                  </a:lnTo>
                  <a:lnTo>
                    <a:pt x="3834" y="1651"/>
                  </a:lnTo>
                  <a:lnTo>
                    <a:pt x="3829" y="1641"/>
                  </a:lnTo>
                  <a:lnTo>
                    <a:pt x="3827" y="1638"/>
                  </a:lnTo>
                  <a:lnTo>
                    <a:pt x="3830" y="1632"/>
                  </a:lnTo>
                  <a:lnTo>
                    <a:pt x="3834" y="1634"/>
                  </a:lnTo>
                  <a:lnTo>
                    <a:pt x="3837" y="1638"/>
                  </a:lnTo>
                  <a:lnTo>
                    <a:pt x="3841" y="1641"/>
                  </a:lnTo>
                  <a:lnTo>
                    <a:pt x="3844" y="1645"/>
                  </a:lnTo>
                  <a:lnTo>
                    <a:pt x="3846" y="1646"/>
                  </a:lnTo>
                  <a:lnTo>
                    <a:pt x="3850" y="1646"/>
                  </a:lnTo>
                  <a:lnTo>
                    <a:pt x="3852" y="1645"/>
                  </a:lnTo>
                  <a:lnTo>
                    <a:pt x="3854" y="1644"/>
                  </a:lnTo>
                  <a:lnTo>
                    <a:pt x="3852" y="1637"/>
                  </a:lnTo>
                  <a:lnTo>
                    <a:pt x="3847" y="1632"/>
                  </a:lnTo>
                  <a:lnTo>
                    <a:pt x="3842" y="1628"/>
                  </a:lnTo>
                  <a:lnTo>
                    <a:pt x="3838" y="1626"/>
                  </a:lnTo>
                  <a:lnTo>
                    <a:pt x="3827" y="1629"/>
                  </a:lnTo>
                  <a:lnTo>
                    <a:pt x="3796" y="1648"/>
                  </a:lnTo>
                  <a:lnTo>
                    <a:pt x="3791" y="1652"/>
                  </a:lnTo>
                  <a:lnTo>
                    <a:pt x="3787" y="1658"/>
                  </a:lnTo>
                  <a:lnTo>
                    <a:pt x="3785" y="1663"/>
                  </a:lnTo>
                  <a:lnTo>
                    <a:pt x="3788" y="1663"/>
                  </a:lnTo>
                  <a:lnTo>
                    <a:pt x="3790" y="1665"/>
                  </a:lnTo>
                  <a:lnTo>
                    <a:pt x="3792" y="1666"/>
                  </a:lnTo>
                  <a:lnTo>
                    <a:pt x="3794" y="1669"/>
                  </a:lnTo>
                  <a:lnTo>
                    <a:pt x="3792" y="1672"/>
                  </a:lnTo>
                  <a:lnTo>
                    <a:pt x="3795" y="1674"/>
                  </a:lnTo>
                  <a:lnTo>
                    <a:pt x="3800" y="1672"/>
                  </a:lnTo>
                  <a:lnTo>
                    <a:pt x="3804" y="1674"/>
                  </a:lnTo>
                  <a:lnTo>
                    <a:pt x="3801" y="1679"/>
                  </a:lnTo>
                  <a:lnTo>
                    <a:pt x="3800" y="1680"/>
                  </a:lnTo>
                  <a:lnTo>
                    <a:pt x="3819" y="1683"/>
                  </a:lnTo>
                  <a:lnTo>
                    <a:pt x="3836" y="1680"/>
                  </a:lnTo>
                  <a:lnTo>
                    <a:pt x="3826" y="1690"/>
                  </a:lnTo>
                  <a:lnTo>
                    <a:pt x="3820" y="1693"/>
                  </a:lnTo>
                  <a:lnTo>
                    <a:pt x="3814" y="1694"/>
                  </a:lnTo>
                  <a:lnTo>
                    <a:pt x="3810" y="1698"/>
                  </a:lnTo>
                  <a:lnTo>
                    <a:pt x="3805" y="1704"/>
                  </a:lnTo>
                  <a:lnTo>
                    <a:pt x="3801" y="1709"/>
                  </a:lnTo>
                  <a:lnTo>
                    <a:pt x="3796" y="1706"/>
                  </a:lnTo>
                  <a:lnTo>
                    <a:pt x="3798" y="1700"/>
                  </a:lnTo>
                  <a:lnTo>
                    <a:pt x="3799" y="1699"/>
                  </a:lnTo>
                  <a:lnTo>
                    <a:pt x="3800" y="1697"/>
                  </a:lnTo>
                  <a:lnTo>
                    <a:pt x="3797" y="1691"/>
                  </a:lnTo>
                  <a:lnTo>
                    <a:pt x="3792" y="1690"/>
                  </a:lnTo>
                  <a:lnTo>
                    <a:pt x="3788" y="1691"/>
                  </a:lnTo>
                  <a:lnTo>
                    <a:pt x="3774" y="1689"/>
                  </a:lnTo>
                  <a:lnTo>
                    <a:pt x="3769" y="1691"/>
                  </a:lnTo>
                  <a:lnTo>
                    <a:pt x="3768" y="1697"/>
                  </a:lnTo>
                  <a:lnTo>
                    <a:pt x="3765" y="1700"/>
                  </a:lnTo>
                  <a:lnTo>
                    <a:pt x="3763" y="1700"/>
                  </a:lnTo>
                  <a:lnTo>
                    <a:pt x="3761" y="1700"/>
                  </a:lnTo>
                  <a:lnTo>
                    <a:pt x="3761" y="1703"/>
                  </a:lnTo>
                  <a:lnTo>
                    <a:pt x="3766" y="1702"/>
                  </a:lnTo>
                  <a:lnTo>
                    <a:pt x="3767" y="1705"/>
                  </a:lnTo>
                  <a:lnTo>
                    <a:pt x="3765" y="1709"/>
                  </a:lnTo>
                  <a:lnTo>
                    <a:pt x="3748" y="1732"/>
                  </a:lnTo>
                  <a:lnTo>
                    <a:pt x="3742" y="1743"/>
                  </a:lnTo>
                  <a:lnTo>
                    <a:pt x="3736" y="1747"/>
                  </a:lnTo>
                  <a:lnTo>
                    <a:pt x="3735" y="1750"/>
                  </a:lnTo>
                  <a:lnTo>
                    <a:pt x="3735" y="1753"/>
                  </a:lnTo>
                  <a:lnTo>
                    <a:pt x="3732" y="1758"/>
                  </a:lnTo>
                  <a:lnTo>
                    <a:pt x="3722" y="1765"/>
                  </a:lnTo>
                  <a:lnTo>
                    <a:pt x="3725" y="1767"/>
                  </a:lnTo>
                  <a:lnTo>
                    <a:pt x="3729" y="1766"/>
                  </a:lnTo>
                  <a:lnTo>
                    <a:pt x="3732" y="1764"/>
                  </a:lnTo>
                  <a:lnTo>
                    <a:pt x="3735" y="1762"/>
                  </a:lnTo>
                  <a:lnTo>
                    <a:pt x="3761" y="1761"/>
                  </a:lnTo>
                  <a:lnTo>
                    <a:pt x="3769" y="1757"/>
                  </a:lnTo>
                  <a:lnTo>
                    <a:pt x="3775" y="1751"/>
                  </a:lnTo>
                  <a:lnTo>
                    <a:pt x="3778" y="1750"/>
                  </a:lnTo>
                  <a:lnTo>
                    <a:pt x="3781" y="1751"/>
                  </a:lnTo>
                  <a:lnTo>
                    <a:pt x="3780" y="1753"/>
                  </a:lnTo>
                  <a:lnTo>
                    <a:pt x="3780" y="1762"/>
                  </a:lnTo>
                  <a:lnTo>
                    <a:pt x="3777" y="1768"/>
                  </a:lnTo>
                  <a:lnTo>
                    <a:pt x="3768" y="1776"/>
                  </a:lnTo>
                  <a:lnTo>
                    <a:pt x="3777" y="1775"/>
                  </a:lnTo>
                  <a:lnTo>
                    <a:pt x="3799" y="1763"/>
                  </a:lnTo>
                  <a:lnTo>
                    <a:pt x="3803" y="1759"/>
                  </a:lnTo>
                  <a:lnTo>
                    <a:pt x="3800" y="1757"/>
                  </a:lnTo>
                  <a:lnTo>
                    <a:pt x="3795" y="1756"/>
                  </a:lnTo>
                  <a:lnTo>
                    <a:pt x="3793" y="1753"/>
                  </a:lnTo>
                  <a:lnTo>
                    <a:pt x="3814" y="1751"/>
                  </a:lnTo>
                  <a:lnTo>
                    <a:pt x="3825" y="1753"/>
                  </a:lnTo>
                  <a:lnTo>
                    <a:pt x="3827" y="1753"/>
                  </a:lnTo>
                  <a:lnTo>
                    <a:pt x="3829" y="1752"/>
                  </a:lnTo>
                  <a:lnTo>
                    <a:pt x="3829" y="1750"/>
                  </a:lnTo>
                  <a:lnTo>
                    <a:pt x="3830" y="1747"/>
                  </a:lnTo>
                  <a:lnTo>
                    <a:pt x="3831" y="1744"/>
                  </a:lnTo>
                  <a:lnTo>
                    <a:pt x="3833" y="1743"/>
                  </a:lnTo>
                  <a:lnTo>
                    <a:pt x="3837" y="1743"/>
                  </a:lnTo>
                  <a:lnTo>
                    <a:pt x="3851" y="1736"/>
                  </a:lnTo>
                  <a:lnTo>
                    <a:pt x="3855" y="1737"/>
                  </a:lnTo>
                  <a:lnTo>
                    <a:pt x="3852" y="1750"/>
                  </a:lnTo>
                  <a:lnTo>
                    <a:pt x="3850" y="1753"/>
                  </a:lnTo>
                  <a:lnTo>
                    <a:pt x="3848" y="1756"/>
                  </a:lnTo>
                  <a:lnTo>
                    <a:pt x="3844" y="1756"/>
                  </a:lnTo>
                  <a:lnTo>
                    <a:pt x="3841" y="1757"/>
                  </a:lnTo>
                  <a:lnTo>
                    <a:pt x="3838" y="1762"/>
                  </a:lnTo>
                  <a:lnTo>
                    <a:pt x="3863" y="1767"/>
                  </a:lnTo>
                  <a:lnTo>
                    <a:pt x="3867" y="1767"/>
                  </a:lnTo>
                  <a:lnTo>
                    <a:pt x="3869" y="1765"/>
                  </a:lnTo>
                  <a:lnTo>
                    <a:pt x="3871" y="1763"/>
                  </a:lnTo>
                  <a:lnTo>
                    <a:pt x="3873" y="1762"/>
                  </a:lnTo>
                  <a:lnTo>
                    <a:pt x="3883" y="1765"/>
                  </a:lnTo>
                  <a:lnTo>
                    <a:pt x="3881" y="1771"/>
                  </a:lnTo>
                  <a:lnTo>
                    <a:pt x="3878" y="1773"/>
                  </a:lnTo>
                  <a:lnTo>
                    <a:pt x="3873" y="1773"/>
                  </a:lnTo>
                  <a:lnTo>
                    <a:pt x="3870" y="1776"/>
                  </a:lnTo>
                  <a:lnTo>
                    <a:pt x="3874" y="1780"/>
                  </a:lnTo>
                  <a:lnTo>
                    <a:pt x="3878" y="1778"/>
                  </a:lnTo>
                  <a:lnTo>
                    <a:pt x="3885" y="1770"/>
                  </a:lnTo>
                  <a:lnTo>
                    <a:pt x="3889" y="1768"/>
                  </a:lnTo>
                  <a:lnTo>
                    <a:pt x="3893" y="1767"/>
                  </a:lnTo>
                  <a:lnTo>
                    <a:pt x="3916" y="1774"/>
                  </a:lnTo>
                  <a:lnTo>
                    <a:pt x="3925" y="1781"/>
                  </a:lnTo>
                  <a:lnTo>
                    <a:pt x="3941" y="1776"/>
                  </a:lnTo>
                  <a:lnTo>
                    <a:pt x="3939" y="1779"/>
                  </a:lnTo>
                  <a:lnTo>
                    <a:pt x="3941" y="1783"/>
                  </a:lnTo>
                  <a:lnTo>
                    <a:pt x="3943" y="1785"/>
                  </a:lnTo>
                  <a:lnTo>
                    <a:pt x="3945" y="1787"/>
                  </a:lnTo>
                  <a:lnTo>
                    <a:pt x="3946" y="1793"/>
                  </a:lnTo>
                  <a:lnTo>
                    <a:pt x="3942" y="1793"/>
                  </a:lnTo>
                  <a:lnTo>
                    <a:pt x="3901" y="1776"/>
                  </a:lnTo>
                  <a:lnTo>
                    <a:pt x="3894" y="1777"/>
                  </a:lnTo>
                  <a:lnTo>
                    <a:pt x="3888" y="1782"/>
                  </a:lnTo>
                  <a:lnTo>
                    <a:pt x="3892" y="1787"/>
                  </a:lnTo>
                  <a:lnTo>
                    <a:pt x="3901" y="1793"/>
                  </a:lnTo>
                  <a:lnTo>
                    <a:pt x="3904" y="1801"/>
                  </a:lnTo>
                  <a:lnTo>
                    <a:pt x="3905" y="1801"/>
                  </a:lnTo>
                  <a:lnTo>
                    <a:pt x="3903" y="1805"/>
                  </a:lnTo>
                  <a:lnTo>
                    <a:pt x="3898" y="1815"/>
                  </a:lnTo>
                  <a:lnTo>
                    <a:pt x="3899" y="1819"/>
                  </a:lnTo>
                  <a:lnTo>
                    <a:pt x="3898" y="1824"/>
                  </a:lnTo>
                  <a:lnTo>
                    <a:pt x="3901" y="1827"/>
                  </a:lnTo>
                  <a:lnTo>
                    <a:pt x="3907" y="1831"/>
                  </a:lnTo>
                  <a:lnTo>
                    <a:pt x="3908" y="1835"/>
                  </a:lnTo>
                  <a:lnTo>
                    <a:pt x="3903" y="1835"/>
                  </a:lnTo>
                  <a:lnTo>
                    <a:pt x="3898" y="1833"/>
                  </a:lnTo>
                  <a:lnTo>
                    <a:pt x="3893" y="1829"/>
                  </a:lnTo>
                  <a:lnTo>
                    <a:pt x="3888" y="1824"/>
                  </a:lnTo>
                  <a:lnTo>
                    <a:pt x="3891" y="1814"/>
                  </a:lnTo>
                  <a:lnTo>
                    <a:pt x="3891" y="1806"/>
                  </a:lnTo>
                  <a:lnTo>
                    <a:pt x="3889" y="1800"/>
                  </a:lnTo>
                  <a:lnTo>
                    <a:pt x="3885" y="1796"/>
                  </a:lnTo>
                  <a:lnTo>
                    <a:pt x="3876" y="1795"/>
                  </a:lnTo>
                  <a:lnTo>
                    <a:pt x="3873" y="1793"/>
                  </a:lnTo>
                  <a:lnTo>
                    <a:pt x="3867" y="1787"/>
                  </a:lnTo>
                  <a:lnTo>
                    <a:pt x="3863" y="1785"/>
                  </a:lnTo>
                  <a:lnTo>
                    <a:pt x="3853" y="1785"/>
                  </a:lnTo>
                  <a:lnTo>
                    <a:pt x="3849" y="1784"/>
                  </a:lnTo>
                  <a:lnTo>
                    <a:pt x="3843" y="1777"/>
                  </a:lnTo>
                  <a:lnTo>
                    <a:pt x="3840" y="1777"/>
                  </a:lnTo>
                  <a:lnTo>
                    <a:pt x="3832" y="1780"/>
                  </a:lnTo>
                  <a:lnTo>
                    <a:pt x="3829" y="1783"/>
                  </a:lnTo>
                  <a:lnTo>
                    <a:pt x="3820" y="1799"/>
                  </a:lnTo>
                  <a:lnTo>
                    <a:pt x="3818" y="1801"/>
                  </a:lnTo>
                  <a:lnTo>
                    <a:pt x="3821" y="1806"/>
                  </a:lnTo>
                  <a:lnTo>
                    <a:pt x="3826" y="1811"/>
                  </a:lnTo>
                  <a:lnTo>
                    <a:pt x="3829" y="1816"/>
                  </a:lnTo>
                  <a:lnTo>
                    <a:pt x="3830" y="1822"/>
                  </a:lnTo>
                  <a:lnTo>
                    <a:pt x="3828" y="1823"/>
                  </a:lnTo>
                  <a:lnTo>
                    <a:pt x="3824" y="1821"/>
                  </a:lnTo>
                  <a:lnTo>
                    <a:pt x="3819" y="1813"/>
                  </a:lnTo>
                  <a:lnTo>
                    <a:pt x="3813" y="1806"/>
                  </a:lnTo>
                  <a:lnTo>
                    <a:pt x="3811" y="1801"/>
                  </a:lnTo>
                  <a:lnTo>
                    <a:pt x="3813" y="1796"/>
                  </a:lnTo>
                  <a:lnTo>
                    <a:pt x="3816" y="1793"/>
                  </a:lnTo>
                  <a:lnTo>
                    <a:pt x="3818" y="1790"/>
                  </a:lnTo>
                  <a:lnTo>
                    <a:pt x="3817" y="1782"/>
                  </a:lnTo>
                  <a:lnTo>
                    <a:pt x="3819" y="1780"/>
                  </a:lnTo>
                  <a:lnTo>
                    <a:pt x="3825" y="1779"/>
                  </a:lnTo>
                  <a:lnTo>
                    <a:pt x="3825" y="1776"/>
                  </a:lnTo>
                  <a:lnTo>
                    <a:pt x="3810" y="1779"/>
                  </a:lnTo>
                  <a:lnTo>
                    <a:pt x="3794" y="1776"/>
                  </a:lnTo>
                  <a:lnTo>
                    <a:pt x="3792" y="1777"/>
                  </a:lnTo>
                  <a:lnTo>
                    <a:pt x="3788" y="1781"/>
                  </a:lnTo>
                  <a:lnTo>
                    <a:pt x="3782" y="1783"/>
                  </a:lnTo>
                  <a:lnTo>
                    <a:pt x="3778" y="1787"/>
                  </a:lnTo>
                  <a:lnTo>
                    <a:pt x="3773" y="1788"/>
                  </a:lnTo>
                  <a:lnTo>
                    <a:pt x="3770" y="1783"/>
                  </a:lnTo>
                  <a:lnTo>
                    <a:pt x="3766" y="1780"/>
                  </a:lnTo>
                  <a:lnTo>
                    <a:pt x="3760" y="1782"/>
                  </a:lnTo>
                  <a:lnTo>
                    <a:pt x="3755" y="1786"/>
                  </a:lnTo>
                  <a:lnTo>
                    <a:pt x="3751" y="1790"/>
                  </a:lnTo>
                  <a:lnTo>
                    <a:pt x="3773" y="1792"/>
                  </a:lnTo>
                  <a:lnTo>
                    <a:pt x="3785" y="1798"/>
                  </a:lnTo>
                  <a:lnTo>
                    <a:pt x="3787" y="1800"/>
                  </a:lnTo>
                  <a:lnTo>
                    <a:pt x="3789" y="1804"/>
                  </a:lnTo>
                  <a:lnTo>
                    <a:pt x="3789" y="1808"/>
                  </a:lnTo>
                  <a:lnTo>
                    <a:pt x="3789" y="1813"/>
                  </a:lnTo>
                  <a:lnTo>
                    <a:pt x="3788" y="1815"/>
                  </a:lnTo>
                  <a:lnTo>
                    <a:pt x="3786" y="1812"/>
                  </a:lnTo>
                  <a:lnTo>
                    <a:pt x="3782" y="1802"/>
                  </a:lnTo>
                  <a:lnTo>
                    <a:pt x="3777" y="1798"/>
                  </a:lnTo>
                  <a:lnTo>
                    <a:pt x="3743" y="1801"/>
                  </a:lnTo>
                  <a:lnTo>
                    <a:pt x="3743" y="1803"/>
                  </a:lnTo>
                  <a:lnTo>
                    <a:pt x="3744" y="1804"/>
                  </a:lnTo>
                  <a:lnTo>
                    <a:pt x="3744" y="1805"/>
                  </a:lnTo>
                  <a:lnTo>
                    <a:pt x="3745" y="1807"/>
                  </a:lnTo>
                  <a:lnTo>
                    <a:pt x="3743" y="1811"/>
                  </a:lnTo>
                  <a:lnTo>
                    <a:pt x="3740" y="1816"/>
                  </a:lnTo>
                  <a:lnTo>
                    <a:pt x="3737" y="1819"/>
                  </a:lnTo>
                  <a:lnTo>
                    <a:pt x="3735" y="1815"/>
                  </a:lnTo>
                  <a:lnTo>
                    <a:pt x="3736" y="1811"/>
                  </a:lnTo>
                  <a:lnTo>
                    <a:pt x="3738" y="1804"/>
                  </a:lnTo>
                  <a:lnTo>
                    <a:pt x="3740" y="1799"/>
                  </a:lnTo>
                  <a:lnTo>
                    <a:pt x="3742" y="1796"/>
                  </a:lnTo>
                  <a:lnTo>
                    <a:pt x="3727" y="1798"/>
                  </a:lnTo>
                  <a:lnTo>
                    <a:pt x="3725" y="1800"/>
                  </a:lnTo>
                  <a:lnTo>
                    <a:pt x="3722" y="1803"/>
                  </a:lnTo>
                  <a:lnTo>
                    <a:pt x="3721" y="1808"/>
                  </a:lnTo>
                  <a:lnTo>
                    <a:pt x="3723" y="1812"/>
                  </a:lnTo>
                  <a:lnTo>
                    <a:pt x="3721" y="1817"/>
                  </a:lnTo>
                  <a:lnTo>
                    <a:pt x="3718" y="1822"/>
                  </a:lnTo>
                  <a:lnTo>
                    <a:pt x="3716" y="1827"/>
                  </a:lnTo>
                  <a:lnTo>
                    <a:pt x="3712" y="1829"/>
                  </a:lnTo>
                  <a:lnTo>
                    <a:pt x="3716" y="1833"/>
                  </a:lnTo>
                  <a:lnTo>
                    <a:pt x="3730" y="1832"/>
                  </a:lnTo>
                  <a:lnTo>
                    <a:pt x="3749" y="1838"/>
                  </a:lnTo>
                  <a:lnTo>
                    <a:pt x="3757" y="1837"/>
                  </a:lnTo>
                  <a:lnTo>
                    <a:pt x="3762" y="1840"/>
                  </a:lnTo>
                  <a:lnTo>
                    <a:pt x="3765" y="1846"/>
                  </a:lnTo>
                  <a:lnTo>
                    <a:pt x="3763" y="1852"/>
                  </a:lnTo>
                  <a:lnTo>
                    <a:pt x="3760" y="1856"/>
                  </a:lnTo>
                  <a:lnTo>
                    <a:pt x="3758" y="1856"/>
                  </a:lnTo>
                  <a:lnTo>
                    <a:pt x="3758" y="1851"/>
                  </a:lnTo>
                  <a:lnTo>
                    <a:pt x="3756" y="1845"/>
                  </a:lnTo>
                  <a:lnTo>
                    <a:pt x="3754" y="1844"/>
                  </a:lnTo>
                  <a:lnTo>
                    <a:pt x="3748" y="1846"/>
                  </a:lnTo>
                  <a:lnTo>
                    <a:pt x="3745" y="1845"/>
                  </a:lnTo>
                  <a:lnTo>
                    <a:pt x="3739" y="1839"/>
                  </a:lnTo>
                  <a:lnTo>
                    <a:pt x="3736" y="1838"/>
                  </a:lnTo>
                  <a:lnTo>
                    <a:pt x="3713" y="1839"/>
                  </a:lnTo>
                  <a:lnTo>
                    <a:pt x="3709" y="1843"/>
                  </a:lnTo>
                  <a:lnTo>
                    <a:pt x="3713" y="1846"/>
                  </a:lnTo>
                  <a:lnTo>
                    <a:pt x="3713" y="1854"/>
                  </a:lnTo>
                  <a:lnTo>
                    <a:pt x="3710" y="1862"/>
                  </a:lnTo>
                  <a:lnTo>
                    <a:pt x="3707" y="1865"/>
                  </a:lnTo>
                  <a:lnTo>
                    <a:pt x="3706" y="1866"/>
                  </a:lnTo>
                  <a:lnTo>
                    <a:pt x="3706" y="1870"/>
                  </a:lnTo>
                  <a:lnTo>
                    <a:pt x="3705" y="1871"/>
                  </a:lnTo>
                  <a:lnTo>
                    <a:pt x="3703" y="1871"/>
                  </a:lnTo>
                  <a:lnTo>
                    <a:pt x="3702" y="1872"/>
                  </a:lnTo>
                  <a:lnTo>
                    <a:pt x="3700" y="1873"/>
                  </a:lnTo>
                  <a:lnTo>
                    <a:pt x="3698" y="1872"/>
                  </a:lnTo>
                  <a:lnTo>
                    <a:pt x="3696" y="1872"/>
                  </a:lnTo>
                  <a:lnTo>
                    <a:pt x="3694" y="1875"/>
                  </a:lnTo>
                  <a:lnTo>
                    <a:pt x="3687" y="1867"/>
                  </a:lnTo>
                  <a:lnTo>
                    <a:pt x="3686" y="1862"/>
                  </a:lnTo>
                  <a:lnTo>
                    <a:pt x="3683" y="1851"/>
                  </a:lnTo>
                  <a:lnTo>
                    <a:pt x="3683" y="1848"/>
                  </a:lnTo>
                  <a:lnTo>
                    <a:pt x="3682" y="1846"/>
                  </a:lnTo>
                  <a:lnTo>
                    <a:pt x="3681" y="1842"/>
                  </a:lnTo>
                  <a:lnTo>
                    <a:pt x="3679" y="1839"/>
                  </a:lnTo>
                  <a:lnTo>
                    <a:pt x="3676" y="1841"/>
                  </a:lnTo>
                  <a:lnTo>
                    <a:pt x="3675" y="1844"/>
                  </a:lnTo>
                  <a:lnTo>
                    <a:pt x="3673" y="1851"/>
                  </a:lnTo>
                  <a:lnTo>
                    <a:pt x="3672" y="1854"/>
                  </a:lnTo>
                  <a:lnTo>
                    <a:pt x="3675" y="1860"/>
                  </a:lnTo>
                  <a:lnTo>
                    <a:pt x="3677" y="1865"/>
                  </a:lnTo>
                  <a:lnTo>
                    <a:pt x="3677" y="1871"/>
                  </a:lnTo>
                  <a:lnTo>
                    <a:pt x="3674" y="1876"/>
                  </a:lnTo>
                  <a:lnTo>
                    <a:pt x="3673" y="1877"/>
                  </a:lnTo>
                  <a:lnTo>
                    <a:pt x="3669" y="1876"/>
                  </a:lnTo>
                  <a:lnTo>
                    <a:pt x="3667" y="1877"/>
                  </a:lnTo>
                  <a:lnTo>
                    <a:pt x="3667" y="1879"/>
                  </a:lnTo>
                  <a:lnTo>
                    <a:pt x="3667" y="1881"/>
                  </a:lnTo>
                  <a:lnTo>
                    <a:pt x="3667" y="1882"/>
                  </a:lnTo>
                  <a:lnTo>
                    <a:pt x="3659" y="1890"/>
                  </a:lnTo>
                  <a:lnTo>
                    <a:pt x="3662" y="1893"/>
                  </a:lnTo>
                  <a:lnTo>
                    <a:pt x="3663" y="1893"/>
                  </a:lnTo>
                  <a:lnTo>
                    <a:pt x="3659" y="1895"/>
                  </a:lnTo>
                  <a:lnTo>
                    <a:pt x="3657" y="1892"/>
                  </a:lnTo>
                  <a:lnTo>
                    <a:pt x="3653" y="1882"/>
                  </a:lnTo>
                  <a:lnTo>
                    <a:pt x="3656" y="1879"/>
                  </a:lnTo>
                  <a:lnTo>
                    <a:pt x="3660" y="1877"/>
                  </a:lnTo>
                  <a:lnTo>
                    <a:pt x="3663" y="1874"/>
                  </a:lnTo>
                  <a:lnTo>
                    <a:pt x="3666" y="1865"/>
                  </a:lnTo>
                  <a:lnTo>
                    <a:pt x="3660" y="1865"/>
                  </a:lnTo>
                  <a:lnTo>
                    <a:pt x="3656" y="1866"/>
                  </a:lnTo>
                  <a:lnTo>
                    <a:pt x="3654" y="1867"/>
                  </a:lnTo>
                  <a:lnTo>
                    <a:pt x="3653" y="1868"/>
                  </a:lnTo>
                  <a:lnTo>
                    <a:pt x="3651" y="1870"/>
                  </a:lnTo>
                  <a:lnTo>
                    <a:pt x="3649" y="1875"/>
                  </a:lnTo>
                  <a:lnTo>
                    <a:pt x="3648" y="1876"/>
                  </a:lnTo>
                  <a:lnTo>
                    <a:pt x="3644" y="1878"/>
                  </a:lnTo>
                  <a:lnTo>
                    <a:pt x="3632" y="1876"/>
                  </a:lnTo>
                  <a:lnTo>
                    <a:pt x="3633" y="1881"/>
                  </a:lnTo>
                  <a:lnTo>
                    <a:pt x="3634" y="1883"/>
                  </a:lnTo>
                  <a:lnTo>
                    <a:pt x="3635" y="1885"/>
                  </a:lnTo>
                  <a:lnTo>
                    <a:pt x="3629" y="1889"/>
                  </a:lnTo>
                  <a:lnTo>
                    <a:pt x="3605" y="1889"/>
                  </a:lnTo>
                  <a:lnTo>
                    <a:pt x="3601" y="1891"/>
                  </a:lnTo>
                  <a:lnTo>
                    <a:pt x="3598" y="1895"/>
                  </a:lnTo>
                  <a:lnTo>
                    <a:pt x="3594" y="1902"/>
                  </a:lnTo>
                  <a:lnTo>
                    <a:pt x="3598" y="1904"/>
                  </a:lnTo>
                  <a:lnTo>
                    <a:pt x="3607" y="1901"/>
                  </a:lnTo>
                  <a:lnTo>
                    <a:pt x="3611" y="1904"/>
                  </a:lnTo>
                  <a:lnTo>
                    <a:pt x="3612" y="1907"/>
                  </a:lnTo>
                  <a:lnTo>
                    <a:pt x="3612" y="1914"/>
                  </a:lnTo>
                  <a:lnTo>
                    <a:pt x="3614" y="1917"/>
                  </a:lnTo>
                  <a:lnTo>
                    <a:pt x="3615" y="1919"/>
                  </a:lnTo>
                  <a:lnTo>
                    <a:pt x="3620" y="1919"/>
                  </a:lnTo>
                  <a:lnTo>
                    <a:pt x="3622" y="1921"/>
                  </a:lnTo>
                  <a:lnTo>
                    <a:pt x="3621" y="1922"/>
                  </a:lnTo>
                  <a:lnTo>
                    <a:pt x="3620" y="1923"/>
                  </a:lnTo>
                  <a:lnTo>
                    <a:pt x="3619" y="1924"/>
                  </a:lnTo>
                  <a:lnTo>
                    <a:pt x="3620" y="1930"/>
                  </a:lnTo>
                  <a:lnTo>
                    <a:pt x="3623" y="1931"/>
                  </a:lnTo>
                  <a:lnTo>
                    <a:pt x="3628" y="1929"/>
                  </a:lnTo>
                  <a:lnTo>
                    <a:pt x="3632" y="1931"/>
                  </a:lnTo>
                  <a:lnTo>
                    <a:pt x="3636" y="1939"/>
                  </a:lnTo>
                  <a:lnTo>
                    <a:pt x="3638" y="1940"/>
                  </a:lnTo>
                  <a:lnTo>
                    <a:pt x="3662" y="1944"/>
                  </a:lnTo>
                  <a:lnTo>
                    <a:pt x="3669" y="1948"/>
                  </a:lnTo>
                  <a:lnTo>
                    <a:pt x="3633" y="1947"/>
                  </a:lnTo>
                  <a:lnTo>
                    <a:pt x="3620" y="1941"/>
                  </a:lnTo>
                  <a:lnTo>
                    <a:pt x="3608" y="1940"/>
                  </a:lnTo>
                  <a:lnTo>
                    <a:pt x="3597" y="1943"/>
                  </a:lnTo>
                  <a:lnTo>
                    <a:pt x="3592" y="1951"/>
                  </a:lnTo>
                  <a:lnTo>
                    <a:pt x="3597" y="1956"/>
                  </a:lnTo>
                  <a:lnTo>
                    <a:pt x="3599" y="1955"/>
                  </a:lnTo>
                  <a:lnTo>
                    <a:pt x="3601" y="1953"/>
                  </a:lnTo>
                  <a:lnTo>
                    <a:pt x="3626" y="1957"/>
                  </a:lnTo>
                  <a:lnTo>
                    <a:pt x="3631" y="1960"/>
                  </a:lnTo>
                  <a:lnTo>
                    <a:pt x="3625" y="1964"/>
                  </a:lnTo>
                  <a:lnTo>
                    <a:pt x="3605" y="1960"/>
                  </a:lnTo>
                  <a:lnTo>
                    <a:pt x="3600" y="1963"/>
                  </a:lnTo>
                  <a:lnTo>
                    <a:pt x="3597" y="1969"/>
                  </a:lnTo>
                  <a:lnTo>
                    <a:pt x="3598" y="1975"/>
                  </a:lnTo>
                  <a:lnTo>
                    <a:pt x="3603" y="1979"/>
                  </a:lnTo>
                  <a:lnTo>
                    <a:pt x="3608" y="1979"/>
                  </a:lnTo>
                  <a:lnTo>
                    <a:pt x="3619" y="1972"/>
                  </a:lnTo>
                  <a:lnTo>
                    <a:pt x="3624" y="1970"/>
                  </a:lnTo>
                  <a:lnTo>
                    <a:pt x="3653" y="1970"/>
                  </a:lnTo>
                  <a:lnTo>
                    <a:pt x="3646" y="1978"/>
                  </a:lnTo>
                  <a:lnTo>
                    <a:pt x="3638" y="1980"/>
                  </a:lnTo>
                  <a:lnTo>
                    <a:pt x="3622" y="1979"/>
                  </a:lnTo>
                  <a:lnTo>
                    <a:pt x="3622" y="1982"/>
                  </a:lnTo>
                  <a:lnTo>
                    <a:pt x="3625" y="1984"/>
                  </a:lnTo>
                  <a:lnTo>
                    <a:pt x="3621" y="1988"/>
                  </a:lnTo>
                  <a:lnTo>
                    <a:pt x="3595" y="1987"/>
                  </a:lnTo>
                  <a:lnTo>
                    <a:pt x="3593" y="1986"/>
                  </a:lnTo>
                  <a:lnTo>
                    <a:pt x="3590" y="1980"/>
                  </a:lnTo>
                  <a:lnTo>
                    <a:pt x="3589" y="1979"/>
                  </a:lnTo>
                  <a:lnTo>
                    <a:pt x="3552" y="1975"/>
                  </a:lnTo>
                  <a:lnTo>
                    <a:pt x="3547" y="1979"/>
                  </a:lnTo>
                  <a:lnTo>
                    <a:pt x="3554" y="1984"/>
                  </a:lnTo>
                  <a:lnTo>
                    <a:pt x="3587" y="1994"/>
                  </a:lnTo>
                  <a:lnTo>
                    <a:pt x="3594" y="2000"/>
                  </a:lnTo>
                  <a:lnTo>
                    <a:pt x="3598" y="2009"/>
                  </a:lnTo>
                  <a:lnTo>
                    <a:pt x="3594" y="2008"/>
                  </a:lnTo>
                  <a:lnTo>
                    <a:pt x="3583" y="2001"/>
                  </a:lnTo>
                  <a:lnTo>
                    <a:pt x="3579" y="2001"/>
                  </a:lnTo>
                  <a:lnTo>
                    <a:pt x="3571" y="2005"/>
                  </a:lnTo>
                  <a:lnTo>
                    <a:pt x="3566" y="2006"/>
                  </a:lnTo>
                  <a:lnTo>
                    <a:pt x="3563" y="2004"/>
                  </a:lnTo>
                  <a:lnTo>
                    <a:pt x="3560" y="2002"/>
                  </a:lnTo>
                  <a:lnTo>
                    <a:pt x="3556" y="2000"/>
                  </a:lnTo>
                  <a:lnTo>
                    <a:pt x="3552" y="2002"/>
                  </a:lnTo>
                  <a:lnTo>
                    <a:pt x="3549" y="2003"/>
                  </a:lnTo>
                  <a:lnTo>
                    <a:pt x="3545" y="1999"/>
                  </a:lnTo>
                  <a:lnTo>
                    <a:pt x="3541" y="1998"/>
                  </a:lnTo>
                  <a:lnTo>
                    <a:pt x="3538" y="2004"/>
                  </a:lnTo>
                  <a:lnTo>
                    <a:pt x="3551" y="2011"/>
                  </a:lnTo>
                  <a:lnTo>
                    <a:pt x="3570" y="2011"/>
                  </a:lnTo>
                  <a:lnTo>
                    <a:pt x="3575" y="2014"/>
                  </a:lnTo>
                  <a:lnTo>
                    <a:pt x="3572" y="2017"/>
                  </a:lnTo>
                  <a:lnTo>
                    <a:pt x="3564" y="2014"/>
                  </a:lnTo>
                  <a:lnTo>
                    <a:pt x="3557" y="2018"/>
                  </a:lnTo>
                  <a:lnTo>
                    <a:pt x="3551" y="2019"/>
                  </a:lnTo>
                  <a:lnTo>
                    <a:pt x="3548" y="2022"/>
                  </a:lnTo>
                  <a:lnTo>
                    <a:pt x="3549" y="2024"/>
                  </a:lnTo>
                  <a:lnTo>
                    <a:pt x="3550" y="2025"/>
                  </a:lnTo>
                  <a:lnTo>
                    <a:pt x="3546" y="2031"/>
                  </a:lnTo>
                  <a:lnTo>
                    <a:pt x="3545" y="2035"/>
                  </a:lnTo>
                  <a:lnTo>
                    <a:pt x="3544" y="2042"/>
                  </a:lnTo>
                  <a:lnTo>
                    <a:pt x="3549" y="2045"/>
                  </a:lnTo>
                  <a:lnTo>
                    <a:pt x="3554" y="2045"/>
                  </a:lnTo>
                  <a:lnTo>
                    <a:pt x="3565" y="2042"/>
                  </a:lnTo>
                  <a:lnTo>
                    <a:pt x="3574" y="2041"/>
                  </a:lnTo>
                  <a:lnTo>
                    <a:pt x="3578" y="2039"/>
                  </a:lnTo>
                  <a:lnTo>
                    <a:pt x="3586" y="2026"/>
                  </a:lnTo>
                  <a:lnTo>
                    <a:pt x="3591" y="2022"/>
                  </a:lnTo>
                  <a:lnTo>
                    <a:pt x="3620" y="2018"/>
                  </a:lnTo>
                  <a:lnTo>
                    <a:pt x="3626" y="2022"/>
                  </a:lnTo>
                  <a:lnTo>
                    <a:pt x="3607" y="2022"/>
                  </a:lnTo>
                  <a:lnTo>
                    <a:pt x="3592" y="2031"/>
                  </a:lnTo>
                  <a:lnTo>
                    <a:pt x="3584" y="2039"/>
                  </a:lnTo>
                  <a:lnTo>
                    <a:pt x="3587" y="2042"/>
                  </a:lnTo>
                  <a:lnTo>
                    <a:pt x="3610" y="2049"/>
                  </a:lnTo>
                  <a:lnTo>
                    <a:pt x="3614" y="2052"/>
                  </a:lnTo>
                  <a:lnTo>
                    <a:pt x="3618" y="2058"/>
                  </a:lnTo>
                  <a:lnTo>
                    <a:pt x="3609" y="2057"/>
                  </a:lnTo>
                  <a:lnTo>
                    <a:pt x="3601" y="2053"/>
                  </a:lnTo>
                  <a:lnTo>
                    <a:pt x="3593" y="2046"/>
                  </a:lnTo>
                  <a:lnTo>
                    <a:pt x="3589" y="2044"/>
                  </a:lnTo>
                  <a:lnTo>
                    <a:pt x="3585" y="2046"/>
                  </a:lnTo>
                  <a:lnTo>
                    <a:pt x="3581" y="2048"/>
                  </a:lnTo>
                  <a:lnTo>
                    <a:pt x="3568" y="2047"/>
                  </a:lnTo>
                  <a:lnTo>
                    <a:pt x="3564" y="2049"/>
                  </a:lnTo>
                  <a:lnTo>
                    <a:pt x="3556" y="2055"/>
                  </a:lnTo>
                  <a:lnTo>
                    <a:pt x="3552" y="2056"/>
                  </a:lnTo>
                  <a:lnTo>
                    <a:pt x="3552" y="2058"/>
                  </a:lnTo>
                  <a:lnTo>
                    <a:pt x="3557" y="2061"/>
                  </a:lnTo>
                  <a:lnTo>
                    <a:pt x="3556" y="2065"/>
                  </a:lnTo>
                  <a:lnTo>
                    <a:pt x="3554" y="2071"/>
                  </a:lnTo>
                  <a:lnTo>
                    <a:pt x="3554" y="2077"/>
                  </a:lnTo>
                  <a:lnTo>
                    <a:pt x="3557" y="2080"/>
                  </a:lnTo>
                  <a:lnTo>
                    <a:pt x="3574" y="2077"/>
                  </a:lnTo>
                  <a:lnTo>
                    <a:pt x="3569" y="2082"/>
                  </a:lnTo>
                  <a:lnTo>
                    <a:pt x="3547" y="2083"/>
                  </a:lnTo>
                  <a:lnTo>
                    <a:pt x="3547" y="2080"/>
                  </a:lnTo>
                  <a:lnTo>
                    <a:pt x="3548" y="2077"/>
                  </a:lnTo>
                  <a:lnTo>
                    <a:pt x="3547" y="2073"/>
                  </a:lnTo>
                  <a:lnTo>
                    <a:pt x="3546" y="2068"/>
                  </a:lnTo>
                  <a:lnTo>
                    <a:pt x="3546" y="2062"/>
                  </a:lnTo>
                  <a:lnTo>
                    <a:pt x="3544" y="2059"/>
                  </a:lnTo>
                  <a:lnTo>
                    <a:pt x="3541" y="2056"/>
                  </a:lnTo>
                  <a:lnTo>
                    <a:pt x="3532" y="2052"/>
                  </a:lnTo>
                  <a:lnTo>
                    <a:pt x="3529" y="2048"/>
                  </a:lnTo>
                  <a:lnTo>
                    <a:pt x="3527" y="2047"/>
                  </a:lnTo>
                  <a:lnTo>
                    <a:pt x="3507" y="2056"/>
                  </a:lnTo>
                  <a:lnTo>
                    <a:pt x="3511" y="2060"/>
                  </a:lnTo>
                  <a:lnTo>
                    <a:pt x="3514" y="2062"/>
                  </a:lnTo>
                  <a:lnTo>
                    <a:pt x="3518" y="2063"/>
                  </a:lnTo>
                  <a:lnTo>
                    <a:pt x="3522" y="2064"/>
                  </a:lnTo>
                  <a:lnTo>
                    <a:pt x="3524" y="2065"/>
                  </a:lnTo>
                  <a:lnTo>
                    <a:pt x="3525" y="2068"/>
                  </a:lnTo>
                  <a:lnTo>
                    <a:pt x="3526" y="2071"/>
                  </a:lnTo>
                  <a:lnTo>
                    <a:pt x="3527" y="2075"/>
                  </a:lnTo>
                  <a:lnTo>
                    <a:pt x="3530" y="2075"/>
                  </a:lnTo>
                  <a:lnTo>
                    <a:pt x="3535" y="2076"/>
                  </a:lnTo>
                  <a:lnTo>
                    <a:pt x="3537" y="2077"/>
                  </a:lnTo>
                  <a:lnTo>
                    <a:pt x="3537" y="2080"/>
                  </a:lnTo>
                  <a:lnTo>
                    <a:pt x="3532" y="2080"/>
                  </a:lnTo>
                  <a:lnTo>
                    <a:pt x="3530" y="2080"/>
                  </a:lnTo>
                  <a:lnTo>
                    <a:pt x="3527" y="2083"/>
                  </a:lnTo>
                  <a:lnTo>
                    <a:pt x="3535" y="2087"/>
                  </a:lnTo>
                  <a:lnTo>
                    <a:pt x="3536" y="2090"/>
                  </a:lnTo>
                  <a:lnTo>
                    <a:pt x="3536" y="2092"/>
                  </a:lnTo>
                  <a:lnTo>
                    <a:pt x="3537" y="2095"/>
                  </a:lnTo>
                  <a:lnTo>
                    <a:pt x="3537" y="2097"/>
                  </a:lnTo>
                  <a:lnTo>
                    <a:pt x="3538" y="2099"/>
                  </a:lnTo>
                  <a:lnTo>
                    <a:pt x="3534" y="2109"/>
                  </a:lnTo>
                  <a:lnTo>
                    <a:pt x="3511" y="2121"/>
                  </a:lnTo>
                  <a:lnTo>
                    <a:pt x="3514" y="2130"/>
                  </a:lnTo>
                  <a:lnTo>
                    <a:pt x="3517" y="2136"/>
                  </a:lnTo>
                  <a:lnTo>
                    <a:pt x="3521" y="2138"/>
                  </a:lnTo>
                  <a:lnTo>
                    <a:pt x="3526" y="2137"/>
                  </a:lnTo>
                  <a:lnTo>
                    <a:pt x="3532" y="2132"/>
                  </a:lnTo>
                  <a:lnTo>
                    <a:pt x="3535" y="2131"/>
                  </a:lnTo>
                  <a:lnTo>
                    <a:pt x="3537" y="2133"/>
                  </a:lnTo>
                  <a:lnTo>
                    <a:pt x="3536" y="2136"/>
                  </a:lnTo>
                  <a:lnTo>
                    <a:pt x="3535" y="2140"/>
                  </a:lnTo>
                  <a:lnTo>
                    <a:pt x="3533" y="2142"/>
                  </a:lnTo>
                  <a:lnTo>
                    <a:pt x="3536" y="2142"/>
                  </a:lnTo>
                  <a:lnTo>
                    <a:pt x="3545" y="2145"/>
                  </a:lnTo>
                  <a:lnTo>
                    <a:pt x="3547" y="2144"/>
                  </a:lnTo>
                  <a:lnTo>
                    <a:pt x="3561" y="2135"/>
                  </a:lnTo>
                  <a:lnTo>
                    <a:pt x="3564" y="2134"/>
                  </a:lnTo>
                  <a:lnTo>
                    <a:pt x="3565" y="2133"/>
                  </a:lnTo>
                  <a:lnTo>
                    <a:pt x="3564" y="2129"/>
                  </a:lnTo>
                  <a:lnTo>
                    <a:pt x="3561" y="2124"/>
                  </a:lnTo>
                  <a:lnTo>
                    <a:pt x="3560" y="2116"/>
                  </a:lnTo>
                  <a:lnTo>
                    <a:pt x="3560" y="2114"/>
                  </a:lnTo>
                  <a:lnTo>
                    <a:pt x="3563" y="2116"/>
                  </a:lnTo>
                  <a:lnTo>
                    <a:pt x="3565" y="2121"/>
                  </a:lnTo>
                  <a:lnTo>
                    <a:pt x="3567" y="2124"/>
                  </a:lnTo>
                  <a:lnTo>
                    <a:pt x="3568" y="2127"/>
                  </a:lnTo>
                  <a:lnTo>
                    <a:pt x="3569" y="2128"/>
                  </a:lnTo>
                  <a:lnTo>
                    <a:pt x="3571" y="2129"/>
                  </a:lnTo>
                  <a:lnTo>
                    <a:pt x="3577" y="2127"/>
                  </a:lnTo>
                  <a:lnTo>
                    <a:pt x="3580" y="2126"/>
                  </a:lnTo>
                  <a:lnTo>
                    <a:pt x="3583" y="2129"/>
                  </a:lnTo>
                  <a:lnTo>
                    <a:pt x="3578" y="2131"/>
                  </a:lnTo>
                  <a:lnTo>
                    <a:pt x="3576" y="2133"/>
                  </a:lnTo>
                  <a:lnTo>
                    <a:pt x="3575" y="2137"/>
                  </a:lnTo>
                  <a:lnTo>
                    <a:pt x="3591" y="2136"/>
                  </a:lnTo>
                  <a:lnTo>
                    <a:pt x="3596" y="2140"/>
                  </a:lnTo>
                  <a:lnTo>
                    <a:pt x="3589" y="2144"/>
                  </a:lnTo>
                  <a:lnTo>
                    <a:pt x="3562" y="2143"/>
                  </a:lnTo>
                  <a:lnTo>
                    <a:pt x="3537" y="2159"/>
                  </a:lnTo>
                  <a:lnTo>
                    <a:pt x="3532" y="2164"/>
                  </a:lnTo>
                  <a:lnTo>
                    <a:pt x="3529" y="2171"/>
                  </a:lnTo>
                  <a:lnTo>
                    <a:pt x="3525" y="2175"/>
                  </a:lnTo>
                  <a:lnTo>
                    <a:pt x="3520" y="2178"/>
                  </a:lnTo>
                  <a:lnTo>
                    <a:pt x="3516" y="2183"/>
                  </a:lnTo>
                  <a:lnTo>
                    <a:pt x="3518" y="2191"/>
                  </a:lnTo>
                  <a:lnTo>
                    <a:pt x="3522" y="2193"/>
                  </a:lnTo>
                  <a:lnTo>
                    <a:pt x="3544" y="2181"/>
                  </a:lnTo>
                  <a:lnTo>
                    <a:pt x="3557" y="2167"/>
                  </a:lnTo>
                  <a:lnTo>
                    <a:pt x="3563" y="2165"/>
                  </a:lnTo>
                  <a:lnTo>
                    <a:pt x="3577" y="2166"/>
                  </a:lnTo>
                  <a:lnTo>
                    <a:pt x="3585" y="2161"/>
                  </a:lnTo>
                  <a:lnTo>
                    <a:pt x="3591" y="2160"/>
                  </a:lnTo>
                  <a:lnTo>
                    <a:pt x="3601" y="2149"/>
                  </a:lnTo>
                  <a:lnTo>
                    <a:pt x="3603" y="2148"/>
                  </a:lnTo>
                  <a:lnTo>
                    <a:pt x="3604" y="2148"/>
                  </a:lnTo>
                  <a:lnTo>
                    <a:pt x="3607" y="2149"/>
                  </a:lnTo>
                  <a:lnTo>
                    <a:pt x="3609" y="2151"/>
                  </a:lnTo>
                  <a:lnTo>
                    <a:pt x="3610" y="2153"/>
                  </a:lnTo>
                  <a:lnTo>
                    <a:pt x="3603" y="2158"/>
                  </a:lnTo>
                  <a:lnTo>
                    <a:pt x="3605" y="2166"/>
                  </a:lnTo>
                  <a:lnTo>
                    <a:pt x="3609" y="2167"/>
                  </a:lnTo>
                  <a:lnTo>
                    <a:pt x="3622" y="2162"/>
                  </a:lnTo>
                  <a:lnTo>
                    <a:pt x="3626" y="2158"/>
                  </a:lnTo>
                  <a:lnTo>
                    <a:pt x="3629" y="2152"/>
                  </a:lnTo>
                  <a:lnTo>
                    <a:pt x="3628" y="2148"/>
                  </a:lnTo>
                  <a:lnTo>
                    <a:pt x="3631" y="2145"/>
                  </a:lnTo>
                  <a:lnTo>
                    <a:pt x="3633" y="2146"/>
                  </a:lnTo>
                  <a:lnTo>
                    <a:pt x="3635" y="2150"/>
                  </a:lnTo>
                  <a:lnTo>
                    <a:pt x="3639" y="2152"/>
                  </a:lnTo>
                  <a:lnTo>
                    <a:pt x="3655" y="2156"/>
                  </a:lnTo>
                  <a:lnTo>
                    <a:pt x="3657" y="2154"/>
                  </a:lnTo>
                  <a:lnTo>
                    <a:pt x="3660" y="2145"/>
                  </a:lnTo>
                  <a:lnTo>
                    <a:pt x="3664" y="2142"/>
                  </a:lnTo>
                  <a:lnTo>
                    <a:pt x="3677" y="2137"/>
                  </a:lnTo>
                  <a:lnTo>
                    <a:pt x="3686" y="2129"/>
                  </a:lnTo>
                  <a:lnTo>
                    <a:pt x="3691" y="2126"/>
                  </a:lnTo>
                  <a:lnTo>
                    <a:pt x="3693" y="2130"/>
                  </a:lnTo>
                  <a:lnTo>
                    <a:pt x="3691" y="2137"/>
                  </a:lnTo>
                  <a:lnTo>
                    <a:pt x="3688" y="2143"/>
                  </a:lnTo>
                  <a:lnTo>
                    <a:pt x="3684" y="2146"/>
                  </a:lnTo>
                  <a:lnTo>
                    <a:pt x="3678" y="2149"/>
                  </a:lnTo>
                  <a:lnTo>
                    <a:pt x="3676" y="2152"/>
                  </a:lnTo>
                  <a:lnTo>
                    <a:pt x="3672" y="2155"/>
                  </a:lnTo>
                  <a:lnTo>
                    <a:pt x="3670" y="2159"/>
                  </a:lnTo>
                  <a:lnTo>
                    <a:pt x="3669" y="2163"/>
                  </a:lnTo>
                  <a:lnTo>
                    <a:pt x="3668" y="2167"/>
                  </a:lnTo>
                  <a:lnTo>
                    <a:pt x="3666" y="2168"/>
                  </a:lnTo>
                  <a:lnTo>
                    <a:pt x="3644" y="2174"/>
                  </a:lnTo>
                  <a:lnTo>
                    <a:pt x="3636" y="2183"/>
                  </a:lnTo>
                  <a:lnTo>
                    <a:pt x="3632" y="2183"/>
                  </a:lnTo>
                  <a:lnTo>
                    <a:pt x="3634" y="2179"/>
                  </a:lnTo>
                  <a:lnTo>
                    <a:pt x="3638" y="2173"/>
                  </a:lnTo>
                  <a:lnTo>
                    <a:pt x="3639" y="2169"/>
                  </a:lnTo>
                  <a:lnTo>
                    <a:pt x="3632" y="2166"/>
                  </a:lnTo>
                  <a:lnTo>
                    <a:pt x="3622" y="2168"/>
                  </a:lnTo>
                  <a:lnTo>
                    <a:pt x="3613" y="2175"/>
                  </a:lnTo>
                  <a:lnTo>
                    <a:pt x="3608" y="2188"/>
                  </a:lnTo>
                  <a:lnTo>
                    <a:pt x="3623" y="2193"/>
                  </a:lnTo>
                  <a:lnTo>
                    <a:pt x="3634" y="2192"/>
                  </a:lnTo>
                  <a:lnTo>
                    <a:pt x="3642" y="2194"/>
                  </a:lnTo>
                  <a:lnTo>
                    <a:pt x="3643" y="2195"/>
                  </a:lnTo>
                  <a:lnTo>
                    <a:pt x="3644" y="2199"/>
                  </a:lnTo>
                  <a:lnTo>
                    <a:pt x="3643" y="2203"/>
                  </a:lnTo>
                  <a:lnTo>
                    <a:pt x="3642" y="2204"/>
                  </a:lnTo>
                  <a:lnTo>
                    <a:pt x="3637" y="2200"/>
                  </a:lnTo>
                  <a:lnTo>
                    <a:pt x="3633" y="2197"/>
                  </a:lnTo>
                  <a:lnTo>
                    <a:pt x="3632" y="2196"/>
                  </a:lnTo>
                  <a:lnTo>
                    <a:pt x="3630" y="2196"/>
                  </a:lnTo>
                  <a:lnTo>
                    <a:pt x="3624" y="2199"/>
                  </a:lnTo>
                  <a:lnTo>
                    <a:pt x="3613" y="2200"/>
                  </a:lnTo>
                  <a:lnTo>
                    <a:pt x="3609" y="2202"/>
                  </a:lnTo>
                  <a:lnTo>
                    <a:pt x="3607" y="2205"/>
                  </a:lnTo>
                  <a:lnTo>
                    <a:pt x="3602" y="2215"/>
                  </a:lnTo>
                  <a:lnTo>
                    <a:pt x="3600" y="2217"/>
                  </a:lnTo>
                  <a:lnTo>
                    <a:pt x="3598" y="2219"/>
                  </a:lnTo>
                  <a:lnTo>
                    <a:pt x="3596" y="2218"/>
                  </a:lnTo>
                  <a:lnTo>
                    <a:pt x="3595" y="2214"/>
                  </a:lnTo>
                  <a:lnTo>
                    <a:pt x="3596" y="2207"/>
                  </a:lnTo>
                  <a:lnTo>
                    <a:pt x="3598" y="2202"/>
                  </a:lnTo>
                  <a:lnTo>
                    <a:pt x="3602" y="2194"/>
                  </a:lnTo>
                  <a:lnTo>
                    <a:pt x="3604" y="2188"/>
                  </a:lnTo>
                  <a:lnTo>
                    <a:pt x="3589" y="2188"/>
                  </a:lnTo>
                  <a:lnTo>
                    <a:pt x="3589" y="2185"/>
                  </a:lnTo>
                  <a:lnTo>
                    <a:pt x="3594" y="2184"/>
                  </a:lnTo>
                  <a:lnTo>
                    <a:pt x="3600" y="2181"/>
                  </a:lnTo>
                  <a:lnTo>
                    <a:pt x="3603" y="2175"/>
                  </a:lnTo>
                  <a:lnTo>
                    <a:pt x="3600" y="2169"/>
                  </a:lnTo>
                  <a:lnTo>
                    <a:pt x="3595" y="2167"/>
                  </a:lnTo>
                  <a:lnTo>
                    <a:pt x="3560" y="2176"/>
                  </a:lnTo>
                  <a:lnTo>
                    <a:pt x="3547" y="2188"/>
                  </a:lnTo>
                  <a:lnTo>
                    <a:pt x="3539" y="2193"/>
                  </a:lnTo>
                  <a:lnTo>
                    <a:pt x="3536" y="2195"/>
                  </a:lnTo>
                  <a:lnTo>
                    <a:pt x="3528" y="2198"/>
                  </a:lnTo>
                  <a:lnTo>
                    <a:pt x="3526" y="2200"/>
                  </a:lnTo>
                  <a:lnTo>
                    <a:pt x="3526" y="2204"/>
                  </a:lnTo>
                  <a:lnTo>
                    <a:pt x="3523" y="2204"/>
                  </a:lnTo>
                  <a:lnTo>
                    <a:pt x="3519" y="2202"/>
                  </a:lnTo>
                  <a:lnTo>
                    <a:pt x="3490" y="2209"/>
                  </a:lnTo>
                  <a:lnTo>
                    <a:pt x="3480" y="2216"/>
                  </a:lnTo>
                  <a:lnTo>
                    <a:pt x="3475" y="2217"/>
                  </a:lnTo>
                  <a:lnTo>
                    <a:pt x="3472" y="2220"/>
                  </a:lnTo>
                  <a:lnTo>
                    <a:pt x="3462" y="2232"/>
                  </a:lnTo>
                  <a:lnTo>
                    <a:pt x="3459" y="2237"/>
                  </a:lnTo>
                  <a:lnTo>
                    <a:pt x="3463" y="2237"/>
                  </a:lnTo>
                  <a:lnTo>
                    <a:pt x="3466" y="2237"/>
                  </a:lnTo>
                  <a:lnTo>
                    <a:pt x="3467" y="2239"/>
                  </a:lnTo>
                  <a:lnTo>
                    <a:pt x="3467" y="2241"/>
                  </a:lnTo>
                  <a:lnTo>
                    <a:pt x="3466" y="2241"/>
                  </a:lnTo>
                  <a:lnTo>
                    <a:pt x="3466" y="2243"/>
                  </a:lnTo>
                  <a:lnTo>
                    <a:pt x="3466" y="2245"/>
                  </a:lnTo>
                  <a:lnTo>
                    <a:pt x="3500" y="2237"/>
                  </a:lnTo>
                  <a:lnTo>
                    <a:pt x="3511" y="2229"/>
                  </a:lnTo>
                  <a:lnTo>
                    <a:pt x="3518" y="2228"/>
                  </a:lnTo>
                  <a:lnTo>
                    <a:pt x="3515" y="2235"/>
                  </a:lnTo>
                  <a:lnTo>
                    <a:pt x="3506" y="2241"/>
                  </a:lnTo>
                  <a:lnTo>
                    <a:pt x="3503" y="2247"/>
                  </a:lnTo>
                  <a:lnTo>
                    <a:pt x="3506" y="2252"/>
                  </a:lnTo>
                  <a:lnTo>
                    <a:pt x="3505" y="2257"/>
                  </a:lnTo>
                  <a:lnTo>
                    <a:pt x="3502" y="2261"/>
                  </a:lnTo>
                  <a:lnTo>
                    <a:pt x="3499" y="2263"/>
                  </a:lnTo>
                  <a:lnTo>
                    <a:pt x="3502" y="2271"/>
                  </a:lnTo>
                  <a:lnTo>
                    <a:pt x="3508" y="2277"/>
                  </a:lnTo>
                  <a:lnTo>
                    <a:pt x="3519" y="2282"/>
                  </a:lnTo>
                  <a:lnTo>
                    <a:pt x="3529" y="2282"/>
                  </a:lnTo>
                  <a:lnTo>
                    <a:pt x="3531" y="2283"/>
                  </a:lnTo>
                  <a:lnTo>
                    <a:pt x="3531" y="2287"/>
                  </a:lnTo>
                  <a:lnTo>
                    <a:pt x="3532" y="2290"/>
                  </a:lnTo>
                  <a:lnTo>
                    <a:pt x="3535" y="2295"/>
                  </a:lnTo>
                  <a:lnTo>
                    <a:pt x="3535" y="2303"/>
                  </a:lnTo>
                  <a:lnTo>
                    <a:pt x="3538" y="2311"/>
                  </a:lnTo>
                  <a:lnTo>
                    <a:pt x="3539" y="2317"/>
                  </a:lnTo>
                  <a:lnTo>
                    <a:pt x="3536" y="2319"/>
                  </a:lnTo>
                  <a:lnTo>
                    <a:pt x="3531" y="2309"/>
                  </a:lnTo>
                  <a:lnTo>
                    <a:pt x="3531" y="2308"/>
                  </a:lnTo>
                  <a:lnTo>
                    <a:pt x="3531" y="2305"/>
                  </a:lnTo>
                  <a:lnTo>
                    <a:pt x="3530" y="2303"/>
                  </a:lnTo>
                  <a:lnTo>
                    <a:pt x="3529" y="2303"/>
                  </a:lnTo>
                  <a:lnTo>
                    <a:pt x="3528" y="2303"/>
                  </a:lnTo>
                  <a:lnTo>
                    <a:pt x="3527" y="2303"/>
                  </a:lnTo>
                  <a:lnTo>
                    <a:pt x="3526" y="2302"/>
                  </a:lnTo>
                  <a:lnTo>
                    <a:pt x="3523" y="2302"/>
                  </a:lnTo>
                  <a:lnTo>
                    <a:pt x="3522" y="2301"/>
                  </a:lnTo>
                  <a:lnTo>
                    <a:pt x="3521" y="2298"/>
                  </a:lnTo>
                  <a:lnTo>
                    <a:pt x="3519" y="2292"/>
                  </a:lnTo>
                  <a:lnTo>
                    <a:pt x="3518" y="2290"/>
                  </a:lnTo>
                  <a:lnTo>
                    <a:pt x="3515" y="2288"/>
                  </a:lnTo>
                  <a:lnTo>
                    <a:pt x="3509" y="2290"/>
                  </a:lnTo>
                  <a:lnTo>
                    <a:pt x="3506" y="2290"/>
                  </a:lnTo>
                  <a:lnTo>
                    <a:pt x="3503" y="2288"/>
                  </a:lnTo>
                  <a:lnTo>
                    <a:pt x="3500" y="2282"/>
                  </a:lnTo>
                  <a:lnTo>
                    <a:pt x="3498" y="2279"/>
                  </a:lnTo>
                  <a:lnTo>
                    <a:pt x="3487" y="2274"/>
                  </a:lnTo>
                  <a:lnTo>
                    <a:pt x="3482" y="2273"/>
                  </a:lnTo>
                  <a:lnTo>
                    <a:pt x="3478" y="2275"/>
                  </a:lnTo>
                  <a:lnTo>
                    <a:pt x="3461" y="2290"/>
                  </a:lnTo>
                  <a:lnTo>
                    <a:pt x="3457" y="2295"/>
                  </a:lnTo>
                  <a:lnTo>
                    <a:pt x="3454" y="2303"/>
                  </a:lnTo>
                  <a:lnTo>
                    <a:pt x="3454" y="2305"/>
                  </a:lnTo>
                  <a:lnTo>
                    <a:pt x="3454" y="2311"/>
                  </a:lnTo>
                  <a:lnTo>
                    <a:pt x="3453" y="2314"/>
                  </a:lnTo>
                  <a:lnTo>
                    <a:pt x="3452" y="2316"/>
                  </a:lnTo>
                  <a:lnTo>
                    <a:pt x="3451" y="2317"/>
                  </a:lnTo>
                  <a:lnTo>
                    <a:pt x="3450" y="2319"/>
                  </a:lnTo>
                  <a:lnTo>
                    <a:pt x="3449" y="2325"/>
                  </a:lnTo>
                  <a:lnTo>
                    <a:pt x="3450" y="2328"/>
                  </a:lnTo>
                  <a:lnTo>
                    <a:pt x="3452" y="2328"/>
                  </a:lnTo>
                  <a:lnTo>
                    <a:pt x="3458" y="2325"/>
                  </a:lnTo>
                  <a:lnTo>
                    <a:pt x="3462" y="2325"/>
                  </a:lnTo>
                  <a:lnTo>
                    <a:pt x="3465" y="2328"/>
                  </a:lnTo>
                  <a:lnTo>
                    <a:pt x="3464" y="2338"/>
                  </a:lnTo>
                  <a:lnTo>
                    <a:pt x="3466" y="2343"/>
                  </a:lnTo>
                  <a:lnTo>
                    <a:pt x="3463" y="2342"/>
                  </a:lnTo>
                  <a:lnTo>
                    <a:pt x="3461" y="2339"/>
                  </a:lnTo>
                  <a:lnTo>
                    <a:pt x="3459" y="2336"/>
                  </a:lnTo>
                  <a:lnTo>
                    <a:pt x="3457" y="2335"/>
                  </a:lnTo>
                  <a:lnTo>
                    <a:pt x="3455" y="2336"/>
                  </a:lnTo>
                  <a:lnTo>
                    <a:pt x="3453" y="2338"/>
                  </a:lnTo>
                  <a:lnTo>
                    <a:pt x="3450" y="2343"/>
                  </a:lnTo>
                  <a:lnTo>
                    <a:pt x="3443" y="2352"/>
                  </a:lnTo>
                  <a:lnTo>
                    <a:pt x="3441" y="2357"/>
                  </a:lnTo>
                  <a:lnTo>
                    <a:pt x="3443" y="2364"/>
                  </a:lnTo>
                  <a:lnTo>
                    <a:pt x="3446" y="2367"/>
                  </a:lnTo>
                  <a:lnTo>
                    <a:pt x="3451" y="2371"/>
                  </a:lnTo>
                  <a:lnTo>
                    <a:pt x="3456" y="2373"/>
                  </a:lnTo>
                  <a:lnTo>
                    <a:pt x="3457" y="2377"/>
                  </a:lnTo>
                  <a:lnTo>
                    <a:pt x="3457" y="2381"/>
                  </a:lnTo>
                  <a:lnTo>
                    <a:pt x="3458" y="2385"/>
                  </a:lnTo>
                  <a:lnTo>
                    <a:pt x="3459" y="2390"/>
                  </a:lnTo>
                  <a:lnTo>
                    <a:pt x="3461" y="2392"/>
                  </a:lnTo>
                  <a:lnTo>
                    <a:pt x="3463" y="2393"/>
                  </a:lnTo>
                  <a:lnTo>
                    <a:pt x="3469" y="2393"/>
                  </a:lnTo>
                  <a:lnTo>
                    <a:pt x="3473" y="2395"/>
                  </a:lnTo>
                  <a:lnTo>
                    <a:pt x="3476" y="2397"/>
                  </a:lnTo>
                  <a:lnTo>
                    <a:pt x="3477" y="2401"/>
                  </a:lnTo>
                  <a:lnTo>
                    <a:pt x="3476" y="2403"/>
                  </a:lnTo>
                  <a:lnTo>
                    <a:pt x="3473" y="2404"/>
                  </a:lnTo>
                  <a:lnTo>
                    <a:pt x="3470" y="2404"/>
                  </a:lnTo>
                  <a:lnTo>
                    <a:pt x="3466" y="2399"/>
                  </a:lnTo>
                  <a:lnTo>
                    <a:pt x="3462" y="2399"/>
                  </a:lnTo>
                  <a:lnTo>
                    <a:pt x="3457" y="2401"/>
                  </a:lnTo>
                  <a:lnTo>
                    <a:pt x="3450" y="2396"/>
                  </a:lnTo>
                  <a:lnTo>
                    <a:pt x="3449" y="2396"/>
                  </a:lnTo>
                  <a:lnTo>
                    <a:pt x="3449" y="2392"/>
                  </a:lnTo>
                  <a:lnTo>
                    <a:pt x="3450" y="2388"/>
                  </a:lnTo>
                  <a:lnTo>
                    <a:pt x="3452" y="2385"/>
                  </a:lnTo>
                  <a:lnTo>
                    <a:pt x="3453" y="2383"/>
                  </a:lnTo>
                  <a:lnTo>
                    <a:pt x="3447" y="2383"/>
                  </a:lnTo>
                  <a:lnTo>
                    <a:pt x="3446" y="2381"/>
                  </a:lnTo>
                  <a:lnTo>
                    <a:pt x="3446" y="2378"/>
                  </a:lnTo>
                  <a:lnTo>
                    <a:pt x="3445" y="2375"/>
                  </a:lnTo>
                  <a:lnTo>
                    <a:pt x="3445" y="2372"/>
                  </a:lnTo>
                  <a:lnTo>
                    <a:pt x="3443" y="2369"/>
                  </a:lnTo>
                  <a:lnTo>
                    <a:pt x="3440" y="2366"/>
                  </a:lnTo>
                  <a:lnTo>
                    <a:pt x="3436" y="2364"/>
                  </a:lnTo>
                  <a:lnTo>
                    <a:pt x="3431" y="2364"/>
                  </a:lnTo>
                  <a:lnTo>
                    <a:pt x="3428" y="2368"/>
                  </a:lnTo>
                  <a:lnTo>
                    <a:pt x="3427" y="2371"/>
                  </a:lnTo>
                  <a:lnTo>
                    <a:pt x="3423" y="2373"/>
                  </a:lnTo>
                  <a:lnTo>
                    <a:pt x="3422" y="2375"/>
                  </a:lnTo>
                  <a:lnTo>
                    <a:pt x="3421" y="2377"/>
                  </a:lnTo>
                  <a:lnTo>
                    <a:pt x="3418" y="2384"/>
                  </a:lnTo>
                  <a:lnTo>
                    <a:pt x="3416" y="2388"/>
                  </a:lnTo>
                  <a:lnTo>
                    <a:pt x="3410" y="2396"/>
                  </a:lnTo>
                  <a:lnTo>
                    <a:pt x="3408" y="2401"/>
                  </a:lnTo>
                  <a:lnTo>
                    <a:pt x="3409" y="2405"/>
                  </a:lnTo>
                  <a:lnTo>
                    <a:pt x="3409" y="2409"/>
                  </a:lnTo>
                  <a:lnTo>
                    <a:pt x="3409" y="2413"/>
                  </a:lnTo>
                  <a:lnTo>
                    <a:pt x="3409" y="2414"/>
                  </a:lnTo>
                  <a:lnTo>
                    <a:pt x="3411" y="2419"/>
                  </a:lnTo>
                  <a:lnTo>
                    <a:pt x="3413" y="2419"/>
                  </a:lnTo>
                  <a:lnTo>
                    <a:pt x="3415" y="2417"/>
                  </a:lnTo>
                  <a:lnTo>
                    <a:pt x="3419" y="2417"/>
                  </a:lnTo>
                  <a:lnTo>
                    <a:pt x="3417" y="2426"/>
                  </a:lnTo>
                  <a:lnTo>
                    <a:pt x="3415" y="2434"/>
                  </a:lnTo>
                  <a:lnTo>
                    <a:pt x="3417" y="2441"/>
                  </a:lnTo>
                  <a:lnTo>
                    <a:pt x="3422" y="2443"/>
                  </a:lnTo>
                  <a:lnTo>
                    <a:pt x="3427" y="2440"/>
                  </a:lnTo>
                  <a:lnTo>
                    <a:pt x="3433" y="2426"/>
                  </a:lnTo>
                  <a:lnTo>
                    <a:pt x="3437" y="2422"/>
                  </a:lnTo>
                  <a:lnTo>
                    <a:pt x="3436" y="2431"/>
                  </a:lnTo>
                  <a:lnTo>
                    <a:pt x="3433" y="2435"/>
                  </a:lnTo>
                  <a:lnTo>
                    <a:pt x="3430" y="2440"/>
                  </a:lnTo>
                  <a:lnTo>
                    <a:pt x="3426" y="2446"/>
                  </a:lnTo>
                  <a:lnTo>
                    <a:pt x="3434" y="2449"/>
                  </a:lnTo>
                  <a:lnTo>
                    <a:pt x="3438" y="2441"/>
                  </a:lnTo>
                  <a:lnTo>
                    <a:pt x="3440" y="2428"/>
                  </a:lnTo>
                  <a:lnTo>
                    <a:pt x="3443" y="2420"/>
                  </a:lnTo>
                  <a:lnTo>
                    <a:pt x="3443" y="2427"/>
                  </a:lnTo>
                  <a:lnTo>
                    <a:pt x="3444" y="2435"/>
                  </a:lnTo>
                  <a:lnTo>
                    <a:pt x="3447" y="2441"/>
                  </a:lnTo>
                  <a:lnTo>
                    <a:pt x="3450" y="2443"/>
                  </a:lnTo>
                  <a:lnTo>
                    <a:pt x="3447" y="2446"/>
                  </a:lnTo>
                  <a:lnTo>
                    <a:pt x="3443" y="2447"/>
                  </a:lnTo>
                  <a:lnTo>
                    <a:pt x="3442" y="2449"/>
                  </a:lnTo>
                  <a:lnTo>
                    <a:pt x="3444" y="2455"/>
                  </a:lnTo>
                  <a:lnTo>
                    <a:pt x="3447" y="2458"/>
                  </a:lnTo>
                  <a:lnTo>
                    <a:pt x="3453" y="2459"/>
                  </a:lnTo>
                  <a:lnTo>
                    <a:pt x="3457" y="2461"/>
                  </a:lnTo>
                  <a:lnTo>
                    <a:pt x="3455" y="2462"/>
                  </a:lnTo>
                  <a:lnTo>
                    <a:pt x="3451" y="2466"/>
                  </a:lnTo>
                  <a:lnTo>
                    <a:pt x="3449" y="2467"/>
                  </a:lnTo>
                  <a:lnTo>
                    <a:pt x="3449" y="2470"/>
                  </a:lnTo>
                  <a:lnTo>
                    <a:pt x="3470" y="2466"/>
                  </a:lnTo>
                  <a:lnTo>
                    <a:pt x="3476" y="2470"/>
                  </a:lnTo>
                  <a:lnTo>
                    <a:pt x="3456" y="2473"/>
                  </a:lnTo>
                  <a:lnTo>
                    <a:pt x="3452" y="2480"/>
                  </a:lnTo>
                  <a:lnTo>
                    <a:pt x="3454" y="2486"/>
                  </a:lnTo>
                  <a:lnTo>
                    <a:pt x="3466" y="2503"/>
                  </a:lnTo>
                  <a:lnTo>
                    <a:pt x="3461" y="2500"/>
                  </a:lnTo>
                  <a:lnTo>
                    <a:pt x="3452" y="2484"/>
                  </a:lnTo>
                  <a:lnTo>
                    <a:pt x="3448" y="2480"/>
                  </a:lnTo>
                  <a:lnTo>
                    <a:pt x="3446" y="2481"/>
                  </a:lnTo>
                  <a:lnTo>
                    <a:pt x="3445" y="2486"/>
                  </a:lnTo>
                  <a:lnTo>
                    <a:pt x="3443" y="2485"/>
                  </a:lnTo>
                  <a:lnTo>
                    <a:pt x="3443" y="2483"/>
                  </a:lnTo>
                  <a:lnTo>
                    <a:pt x="3443" y="2481"/>
                  </a:lnTo>
                  <a:lnTo>
                    <a:pt x="3443" y="2479"/>
                  </a:lnTo>
                  <a:lnTo>
                    <a:pt x="3443" y="2477"/>
                  </a:lnTo>
                  <a:lnTo>
                    <a:pt x="3439" y="2474"/>
                  </a:lnTo>
                  <a:lnTo>
                    <a:pt x="3436" y="2474"/>
                  </a:lnTo>
                  <a:lnTo>
                    <a:pt x="3428" y="2475"/>
                  </a:lnTo>
                  <a:lnTo>
                    <a:pt x="3430" y="2480"/>
                  </a:lnTo>
                  <a:lnTo>
                    <a:pt x="3434" y="2486"/>
                  </a:lnTo>
                  <a:lnTo>
                    <a:pt x="3436" y="2490"/>
                  </a:lnTo>
                  <a:lnTo>
                    <a:pt x="3437" y="2496"/>
                  </a:lnTo>
                  <a:lnTo>
                    <a:pt x="3438" y="2503"/>
                  </a:lnTo>
                  <a:lnTo>
                    <a:pt x="3439" y="2506"/>
                  </a:lnTo>
                  <a:lnTo>
                    <a:pt x="3445" y="2508"/>
                  </a:lnTo>
                  <a:lnTo>
                    <a:pt x="3452" y="2508"/>
                  </a:lnTo>
                  <a:lnTo>
                    <a:pt x="3457" y="2510"/>
                  </a:lnTo>
                  <a:lnTo>
                    <a:pt x="3462" y="2519"/>
                  </a:lnTo>
                  <a:lnTo>
                    <a:pt x="3459" y="2522"/>
                  </a:lnTo>
                  <a:lnTo>
                    <a:pt x="3457" y="2520"/>
                  </a:lnTo>
                  <a:lnTo>
                    <a:pt x="3454" y="2517"/>
                  </a:lnTo>
                  <a:lnTo>
                    <a:pt x="3452" y="2512"/>
                  </a:lnTo>
                  <a:lnTo>
                    <a:pt x="3448" y="2510"/>
                  </a:lnTo>
                  <a:lnTo>
                    <a:pt x="3434" y="2509"/>
                  </a:lnTo>
                  <a:lnTo>
                    <a:pt x="3434" y="2508"/>
                  </a:lnTo>
                  <a:lnTo>
                    <a:pt x="3433" y="2506"/>
                  </a:lnTo>
                  <a:lnTo>
                    <a:pt x="3433" y="2504"/>
                  </a:lnTo>
                  <a:lnTo>
                    <a:pt x="3432" y="2503"/>
                  </a:lnTo>
                  <a:lnTo>
                    <a:pt x="3431" y="2504"/>
                  </a:lnTo>
                  <a:lnTo>
                    <a:pt x="3421" y="2513"/>
                  </a:lnTo>
                  <a:lnTo>
                    <a:pt x="3419" y="2517"/>
                  </a:lnTo>
                  <a:lnTo>
                    <a:pt x="3418" y="2522"/>
                  </a:lnTo>
                  <a:lnTo>
                    <a:pt x="3425" y="2516"/>
                  </a:lnTo>
                  <a:lnTo>
                    <a:pt x="3428" y="2516"/>
                  </a:lnTo>
                  <a:lnTo>
                    <a:pt x="3424" y="2525"/>
                  </a:lnTo>
                  <a:lnTo>
                    <a:pt x="3418" y="2527"/>
                  </a:lnTo>
                  <a:lnTo>
                    <a:pt x="3413" y="2527"/>
                  </a:lnTo>
                  <a:lnTo>
                    <a:pt x="3407" y="2529"/>
                  </a:lnTo>
                  <a:lnTo>
                    <a:pt x="3405" y="2532"/>
                  </a:lnTo>
                  <a:lnTo>
                    <a:pt x="3402" y="2539"/>
                  </a:lnTo>
                  <a:lnTo>
                    <a:pt x="3400" y="2543"/>
                  </a:lnTo>
                  <a:lnTo>
                    <a:pt x="3393" y="2551"/>
                  </a:lnTo>
                  <a:lnTo>
                    <a:pt x="3391" y="2555"/>
                  </a:lnTo>
                  <a:lnTo>
                    <a:pt x="3396" y="2556"/>
                  </a:lnTo>
                  <a:lnTo>
                    <a:pt x="3400" y="2551"/>
                  </a:lnTo>
                  <a:lnTo>
                    <a:pt x="3403" y="2545"/>
                  </a:lnTo>
                  <a:lnTo>
                    <a:pt x="3407" y="2543"/>
                  </a:lnTo>
                  <a:lnTo>
                    <a:pt x="3422" y="2540"/>
                  </a:lnTo>
                  <a:lnTo>
                    <a:pt x="3426" y="2543"/>
                  </a:lnTo>
                  <a:lnTo>
                    <a:pt x="3426" y="2544"/>
                  </a:lnTo>
                  <a:lnTo>
                    <a:pt x="3425" y="2548"/>
                  </a:lnTo>
                  <a:lnTo>
                    <a:pt x="3428" y="2547"/>
                  </a:lnTo>
                  <a:lnTo>
                    <a:pt x="3432" y="2544"/>
                  </a:lnTo>
                  <a:lnTo>
                    <a:pt x="3434" y="2543"/>
                  </a:lnTo>
                  <a:lnTo>
                    <a:pt x="3446" y="2545"/>
                  </a:lnTo>
                  <a:lnTo>
                    <a:pt x="3461" y="2545"/>
                  </a:lnTo>
                  <a:lnTo>
                    <a:pt x="3466" y="2548"/>
                  </a:lnTo>
                  <a:lnTo>
                    <a:pt x="3460" y="2549"/>
                  </a:lnTo>
                  <a:lnTo>
                    <a:pt x="3435" y="2549"/>
                  </a:lnTo>
                  <a:lnTo>
                    <a:pt x="3433" y="2553"/>
                  </a:lnTo>
                  <a:lnTo>
                    <a:pt x="3429" y="2553"/>
                  </a:lnTo>
                  <a:lnTo>
                    <a:pt x="3421" y="2550"/>
                  </a:lnTo>
                  <a:lnTo>
                    <a:pt x="3417" y="2550"/>
                  </a:lnTo>
                  <a:lnTo>
                    <a:pt x="3414" y="2552"/>
                  </a:lnTo>
                  <a:lnTo>
                    <a:pt x="3409" y="2558"/>
                  </a:lnTo>
                  <a:lnTo>
                    <a:pt x="3409" y="2561"/>
                  </a:lnTo>
                  <a:lnTo>
                    <a:pt x="3413" y="2560"/>
                  </a:lnTo>
                  <a:lnTo>
                    <a:pt x="3418" y="2557"/>
                  </a:lnTo>
                  <a:lnTo>
                    <a:pt x="3422" y="2558"/>
                  </a:lnTo>
                  <a:lnTo>
                    <a:pt x="3422" y="2559"/>
                  </a:lnTo>
                  <a:lnTo>
                    <a:pt x="3422" y="2562"/>
                  </a:lnTo>
                  <a:lnTo>
                    <a:pt x="3422" y="2563"/>
                  </a:lnTo>
                  <a:lnTo>
                    <a:pt x="3424" y="2566"/>
                  </a:lnTo>
                  <a:lnTo>
                    <a:pt x="3426" y="2567"/>
                  </a:lnTo>
                  <a:lnTo>
                    <a:pt x="3430" y="2568"/>
                  </a:lnTo>
                  <a:lnTo>
                    <a:pt x="3432" y="2568"/>
                  </a:lnTo>
                  <a:lnTo>
                    <a:pt x="3427" y="2575"/>
                  </a:lnTo>
                  <a:lnTo>
                    <a:pt x="3413" y="2577"/>
                  </a:lnTo>
                  <a:lnTo>
                    <a:pt x="3411" y="2586"/>
                  </a:lnTo>
                  <a:lnTo>
                    <a:pt x="3414" y="2590"/>
                  </a:lnTo>
                  <a:lnTo>
                    <a:pt x="3421" y="2591"/>
                  </a:lnTo>
                  <a:lnTo>
                    <a:pt x="3432" y="2589"/>
                  </a:lnTo>
                  <a:lnTo>
                    <a:pt x="3434" y="2588"/>
                  </a:lnTo>
                  <a:lnTo>
                    <a:pt x="3438" y="2583"/>
                  </a:lnTo>
                  <a:lnTo>
                    <a:pt x="3440" y="2581"/>
                  </a:lnTo>
                  <a:lnTo>
                    <a:pt x="3443" y="2581"/>
                  </a:lnTo>
                  <a:lnTo>
                    <a:pt x="3458" y="2570"/>
                  </a:lnTo>
                  <a:lnTo>
                    <a:pt x="3483" y="2540"/>
                  </a:lnTo>
                  <a:lnTo>
                    <a:pt x="3487" y="2534"/>
                  </a:lnTo>
                  <a:lnTo>
                    <a:pt x="3488" y="2532"/>
                  </a:lnTo>
                  <a:lnTo>
                    <a:pt x="3495" y="2526"/>
                  </a:lnTo>
                  <a:lnTo>
                    <a:pt x="3500" y="2518"/>
                  </a:lnTo>
                  <a:lnTo>
                    <a:pt x="3501" y="2520"/>
                  </a:lnTo>
                  <a:lnTo>
                    <a:pt x="3500" y="2525"/>
                  </a:lnTo>
                  <a:lnTo>
                    <a:pt x="3486" y="2548"/>
                  </a:lnTo>
                  <a:lnTo>
                    <a:pt x="3482" y="2550"/>
                  </a:lnTo>
                  <a:lnTo>
                    <a:pt x="3481" y="2552"/>
                  </a:lnTo>
                  <a:lnTo>
                    <a:pt x="3480" y="2557"/>
                  </a:lnTo>
                  <a:lnTo>
                    <a:pt x="3479" y="2561"/>
                  </a:lnTo>
                  <a:lnTo>
                    <a:pt x="3478" y="2563"/>
                  </a:lnTo>
                  <a:lnTo>
                    <a:pt x="3475" y="2564"/>
                  </a:lnTo>
                  <a:lnTo>
                    <a:pt x="3466" y="2574"/>
                  </a:lnTo>
                  <a:lnTo>
                    <a:pt x="3460" y="2584"/>
                  </a:lnTo>
                  <a:lnTo>
                    <a:pt x="3457" y="2585"/>
                  </a:lnTo>
                  <a:lnTo>
                    <a:pt x="3453" y="2586"/>
                  </a:lnTo>
                  <a:lnTo>
                    <a:pt x="3450" y="2587"/>
                  </a:lnTo>
                  <a:lnTo>
                    <a:pt x="3448" y="2592"/>
                  </a:lnTo>
                  <a:lnTo>
                    <a:pt x="3450" y="2592"/>
                  </a:lnTo>
                  <a:lnTo>
                    <a:pt x="3451" y="2592"/>
                  </a:lnTo>
                  <a:lnTo>
                    <a:pt x="3453" y="2594"/>
                  </a:lnTo>
                  <a:lnTo>
                    <a:pt x="3449" y="2596"/>
                  </a:lnTo>
                  <a:lnTo>
                    <a:pt x="3433" y="2598"/>
                  </a:lnTo>
                  <a:lnTo>
                    <a:pt x="3430" y="2601"/>
                  </a:lnTo>
                  <a:lnTo>
                    <a:pt x="3427" y="2610"/>
                  </a:lnTo>
                  <a:lnTo>
                    <a:pt x="3422" y="2612"/>
                  </a:lnTo>
                  <a:lnTo>
                    <a:pt x="3411" y="2609"/>
                  </a:lnTo>
                  <a:lnTo>
                    <a:pt x="3406" y="2613"/>
                  </a:lnTo>
                  <a:lnTo>
                    <a:pt x="3397" y="2621"/>
                  </a:lnTo>
                  <a:lnTo>
                    <a:pt x="3383" y="2624"/>
                  </a:lnTo>
                  <a:lnTo>
                    <a:pt x="3382" y="2626"/>
                  </a:lnTo>
                  <a:lnTo>
                    <a:pt x="3382" y="2631"/>
                  </a:lnTo>
                  <a:lnTo>
                    <a:pt x="3383" y="2634"/>
                  </a:lnTo>
                  <a:lnTo>
                    <a:pt x="3384" y="2636"/>
                  </a:lnTo>
                  <a:lnTo>
                    <a:pt x="3386" y="2638"/>
                  </a:lnTo>
                  <a:lnTo>
                    <a:pt x="3385" y="2641"/>
                  </a:lnTo>
                  <a:lnTo>
                    <a:pt x="3384" y="2644"/>
                  </a:lnTo>
                  <a:lnTo>
                    <a:pt x="3384" y="2644"/>
                  </a:lnTo>
                  <a:lnTo>
                    <a:pt x="3383" y="2645"/>
                  </a:lnTo>
                  <a:lnTo>
                    <a:pt x="3382" y="2646"/>
                  </a:lnTo>
                  <a:lnTo>
                    <a:pt x="3380" y="2644"/>
                  </a:lnTo>
                  <a:lnTo>
                    <a:pt x="3380" y="2642"/>
                  </a:lnTo>
                  <a:lnTo>
                    <a:pt x="3380" y="2640"/>
                  </a:lnTo>
                  <a:lnTo>
                    <a:pt x="3380" y="2639"/>
                  </a:lnTo>
                  <a:lnTo>
                    <a:pt x="3380" y="2638"/>
                  </a:lnTo>
                  <a:lnTo>
                    <a:pt x="3379" y="2633"/>
                  </a:lnTo>
                  <a:lnTo>
                    <a:pt x="3377" y="2629"/>
                  </a:lnTo>
                  <a:lnTo>
                    <a:pt x="3374" y="2626"/>
                  </a:lnTo>
                  <a:lnTo>
                    <a:pt x="3371" y="2625"/>
                  </a:lnTo>
                  <a:lnTo>
                    <a:pt x="3369" y="2626"/>
                  </a:lnTo>
                  <a:lnTo>
                    <a:pt x="3367" y="2628"/>
                  </a:lnTo>
                  <a:lnTo>
                    <a:pt x="3365" y="2629"/>
                  </a:lnTo>
                  <a:lnTo>
                    <a:pt x="3363" y="2626"/>
                  </a:lnTo>
                  <a:lnTo>
                    <a:pt x="3362" y="2624"/>
                  </a:lnTo>
                  <a:lnTo>
                    <a:pt x="3362" y="2621"/>
                  </a:lnTo>
                  <a:lnTo>
                    <a:pt x="3361" y="2619"/>
                  </a:lnTo>
                  <a:lnTo>
                    <a:pt x="3359" y="2621"/>
                  </a:lnTo>
                  <a:lnTo>
                    <a:pt x="3359" y="2624"/>
                  </a:lnTo>
                  <a:lnTo>
                    <a:pt x="3357" y="2630"/>
                  </a:lnTo>
                  <a:lnTo>
                    <a:pt x="3357" y="2632"/>
                  </a:lnTo>
                  <a:lnTo>
                    <a:pt x="3355" y="2633"/>
                  </a:lnTo>
                  <a:lnTo>
                    <a:pt x="3354" y="2630"/>
                  </a:lnTo>
                  <a:lnTo>
                    <a:pt x="3354" y="2626"/>
                  </a:lnTo>
                  <a:lnTo>
                    <a:pt x="3355" y="2623"/>
                  </a:lnTo>
                  <a:lnTo>
                    <a:pt x="3349" y="2618"/>
                  </a:lnTo>
                  <a:lnTo>
                    <a:pt x="3343" y="2620"/>
                  </a:lnTo>
                  <a:lnTo>
                    <a:pt x="3338" y="2625"/>
                  </a:lnTo>
                  <a:lnTo>
                    <a:pt x="3332" y="2628"/>
                  </a:lnTo>
                  <a:lnTo>
                    <a:pt x="3323" y="2637"/>
                  </a:lnTo>
                  <a:lnTo>
                    <a:pt x="3321" y="2641"/>
                  </a:lnTo>
                  <a:lnTo>
                    <a:pt x="3321" y="2644"/>
                  </a:lnTo>
                  <a:lnTo>
                    <a:pt x="3324" y="2647"/>
                  </a:lnTo>
                  <a:lnTo>
                    <a:pt x="3326" y="2648"/>
                  </a:lnTo>
                  <a:lnTo>
                    <a:pt x="3324" y="2651"/>
                  </a:lnTo>
                  <a:lnTo>
                    <a:pt x="3317" y="2652"/>
                  </a:lnTo>
                  <a:lnTo>
                    <a:pt x="3316" y="2654"/>
                  </a:lnTo>
                  <a:lnTo>
                    <a:pt x="3306" y="2660"/>
                  </a:lnTo>
                  <a:lnTo>
                    <a:pt x="3299" y="2661"/>
                  </a:lnTo>
                  <a:lnTo>
                    <a:pt x="3297" y="2660"/>
                  </a:lnTo>
                  <a:lnTo>
                    <a:pt x="3295" y="2657"/>
                  </a:lnTo>
                  <a:lnTo>
                    <a:pt x="3294" y="2656"/>
                  </a:lnTo>
                  <a:lnTo>
                    <a:pt x="3291" y="2658"/>
                  </a:lnTo>
                  <a:lnTo>
                    <a:pt x="3292" y="2660"/>
                  </a:lnTo>
                  <a:lnTo>
                    <a:pt x="3294" y="2663"/>
                  </a:lnTo>
                  <a:lnTo>
                    <a:pt x="3295" y="2664"/>
                  </a:lnTo>
                  <a:lnTo>
                    <a:pt x="3292" y="2664"/>
                  </a:lnTo>
                  <a:lnTo>
                    <a:pt x="3286" y="2661"/>
                  </a:lnTo>
                  <a:lnTo>
                    <a:pt x="3283" y="2661"/>
                  </a:lnTo>
                  <a:lnTo>
                    <a:pt x="3272" y="2666"/>
                  </a:lnTo>
                  <a:lnTo>
                    <a:pt x="3270" y="2669"/>
                  </a:lnTo>
                  <a:lnTo>
                    <a:pt x="3277" y="2678"/>
                  </a:lnTo>
                  <a:lnTo>
                    <a:pt x="3278" y="2679"/>
                  </a:lnTo>
                  <a:lnTo>
                    <a:pt x="3281" y="2678"/>
                  </a:lnTo>
                  <a:lnTo>
                    <a:pt x="3286" y="2672"/>
                  </a:lnTo>
                  <a:lnTo>
                    <a:pt x="3288" y="2672"/>
                  </a:lnTo>
                  <a:lnTo>
                    <a:pt x="3288" y="2674"/>
                  </a:lnTo>
                  <a:lnTo>
                    <a:pt x="3285" y="2678"/>
                  </a:lnTo>
                  <a:lnTo>
                    <a:pt x="3282" y="2681"/>
                  </a:lnTo>
                  <a:lnTo>
                    <a:pt x="3278" y="2682"/>
                  </a:lnTo>
                  <a:lnTo>
                    <a:pt x="3275" y="2681"/>
                  </a:lnTo>
                  <a:lnTo>
                    <a:pt x="3265" y="2672"/>
                  </a:lnTo>
                  <a:lnTo>
                    <a:pt x="3261" y="2672"/>
                  </a:lnTo>
                  <a:lnTo>
                    <a:pt x="3257" y="2673"/>
                  </a:lnTo>
                  <a:lnTo>
                    <a:pt x="3236" y="2692"/>
                  </a:lnTo>
                  <a:lnTo>
                    <a:pt x="3233" y="2697"/>
                  </a:lnTo>
                  <a:lnTo>
                    <a:pt x="3289" y="2684"/>
                  </a:lnTo>
                  <a:lnTo>
                    <a:pt x="3301" y="2676"/>
                  </a:lnTo>
                  <a:lnTo>
                    <a:pt x="3304" y="2677"/>
                  </a:lnTo>
                  <a:lnTo>
                    <a:pt x="3299" y="2683"/>
                  </a:lnTo>
                  <a:lnTo>
                    <a:pt x="3277" y="2695"/>
                  </a:lnTo>
                  <a:lnTo>
                    <a:pt x="3238" y="2702"/>
                  </a:lnTo>
                  <a:lnTo>
                    <a:pt x="3234" y="2704"/>
                  </a:lnTo>
                  <a:lnTo>
                    <a:pt x="3231" y="2710"/>
                  </a:lnTo>
                  <a:lnTo>
                    <a:pt x="3234" y="2712"/>
                  </a:lnTo>
                  <a:lnTo>
                    <a:pt x="3242" y="2710"/>
                  </a:lnTo>
                  <a:lnTo>
                    <a:pt x="3249" y="2716"/>
                  </a:lnTo>
                  <a:lnTo>
                    <a:pt x="3262" y="2712"/>
                  </a:lnTo>
                  <a:lnTo>
                    <a:pt x="3261" y="2715"/>
                  </a:lnTo>
                  <a:lnTo>
                    <a:pt x="3251" y="2729"/>
                  </a:lnTo>
                  <a:lnTo>
                    <a:pt x="3249" y="2730"/>
                  </a:lnTo>
                  <a:lnTo>
                    <a:pt x="3247" y="2731"/>
                  </a:lnTo>
                  <a:lnTo>
                    <a:pt x="3243" y="2735"/>
                  </a:lnTo>
                  <a:lnTo>
                    <a:pt x="3233" y="2739"/>
                  </a:lnTo>
                  <a:lnTo>
                    <a:pt x="3232" y="2740"/>
                  </a:lnTo>
                  <a:lnTo>
                    <a:pt x="3235" y="2743"/>
                  </a:lnTo>
                  <a:lnTo>
                    <a:pt x="3254" y="2736"/>
                  </a:lnTo>
                  <a:lnTo>
                    <a:pt x="3258" y="2733"/>
                  </a:lnTo>
                  <a:lnTo>
                    <a:pt x="3262" y="2729"/>
                  </a:lnTo>
                  <a:lnTo>
                    <a:pt x="3265" y="2724"/>
                  </a:lnTo>
                  <a:lnTo>
                    <a:pt x="3267" y="2718"/>
                  </a:lnTo>
                  <a:lnTo>
                    <a:pt x="3270" y="2714"/>
                  </a:lnTo>
                  <a:lnTo>
                    <a:pt x="3272" y="2713"/>
                  </a:lnTo>
                  <a:lnTo>
                    <a:pt x="3277" y="2712"/>
                  </a:lnTo>
                  <a:lnTo>
                    <a:pt x="3281" y="2711"/>
                  </a:lnTo>
                  <a:lnTo>
                    <a:pt x="3292" y="2702"/>
                  </a:lnTo>
                  <a:lnTo>
                    <a:pt x="3292" y="2700"/>
                  </a:lnTo>
                  <a:lnTo>
                    <a:pt x="3290" y="2695"/>
                  </a:lnTo>
                  <a:lnTo>
                    <a:pt x="3292" y="2692"/>
                  </a:lnTo>
                  <a:lnTo>
                    <a:pt x="3311" y="2684"/>
                  </a:lnTo>
                  <a:lnTo>
                    <a:pt x="3338" y="2662"/>
                  </a:lnTo>
                  <a:lnTo>
                    <a:pt x="3350" y="2661"/>
                  </a:lnTo>
                  <a:lnTo>
                    <a:pt x="3352" y="2660"/>
                  </a:lnTo>
                  <a:lnTo>
                    <a:pt x="3358" y="2655"/>
                  </a:lnTo>
                  <a:lnTo>
                    <a:pt x="3361" y="2654"/>
                  </a:lnTo>
                  <a:lnTo>
                    <a:pt x="3375" y="2655"/>
                  </a:lnTo>
                  <a:lnTo>
                    <a:pt x="3382" y="2659"/>
                  </a:lnTo>
                  <a:lnTo>
                    <a:pt x="3388" y="2666"/>
                  </a:lnTo>
                  <a:lnTo>
                    <a:pt x="3363" y="2658"/>
                  </a:lnTo>
                  <a:lnTo>
                    <a:pt x="3360" y="2659"/>
                  </a:lnTo>
                  <a:lnTo>
                    <a:pt x="3355" y="2665"/>
                  </a:lnTo>
                  <a:lnTo>
                    <a:pt x="3354" y="2667"/>
                  </a:lnTo>
                  <a:lnTo>
                    <a:pt x="3351" y="2670"/>
                  </a:lnTo>
                  <a:lnTo>
                    <a:pt x="3339" y="2672"/>
                  </a:lnTo>
                  <a:lnTo>
                    <a:pt x="3323" y="2683"/>
                  </a:lnTo>
                  <a:lnTo>
                    <a:pt x="3316" y="2685"/>
                  </a:lnTo>
                  <a:lnTo>
                    <a:pt x="3312" y="2687"/>
                  </a:lnTo>
                  <a:lnTo>
                    <a:pt x="3309" y="2690"/>
                  </a:lnTo>
                  <a:lnTo>
                    <a:pt x="3306" y="2696"/>
                  </a:lnTo>
                  <a:lnTo>
                    <a:pt x="3297" y="2702"/>
                  </a:lnTo>
                  <a:lnTo>
                    <a:pt x="3302" y="2704"/>
                  </a:lnTo>
                  <a:lnTo>
                    <a:pt x="3308" y="2703"/>
                  </a:lnTo>
                  <a:lnTo>
                    <a:pt x="3319" y="2697"/>
                  </a:lnTo>
                  <a:lnTo>
                    <a:pt x="3317" y="2700"/>
                  </a:lnTo>
                  <a:lnTo>
                    <a:pt x="3318" y="2702"/>
                  </a:lnTo>
                  <a:lnTo>
                    <a:pt x="3319" y="2703"/>
                  </a:lnTo>
                  <a:lnTo>
                    <a:pt x="3319" y="2705"/>
                  </a:lnTo>
                  <a:lnTo>
                    <a:pt x="3301" y="2706"/>
                  </a:lnTo>
                  <a:lnTo>
                    <a:pt x="3296" y="2710"/>
                  </a:lnTo>
                  <a:lnTo>
                    <a:pt x="3300" y="2711"/>
                  </a:lnTo>
                  <a:lnTo>
                    <a:pt x="3307" y="2714"/>
                  </a:lnTo>
                  <a:lnTo>
                    <a:pt x="3312" y="2715"/>
                  </a:lnTo>
                  <a:lnTo>
                    <a:pt x="3311" y="2717"/>
                  </a:lnTo>
                  <a:lnTo>
                    <a:pt x="3327" y="2717"/>
                  </a:lnTo>
                  <a:lnTo>
                    <a:pt x="3327" y="2720"/>
                  </a:lnTo>
                  <a:lnTo>
                    <a:pt x="3324" y="2721"/>
                  </a:lnTo>
                  <a:lnTo>
                    <a:pt x="3319" y="2724"/>
                  </a:lnTo>
                  <a:lnTo>
                    <a:pt x="3281" y="2730"/>
                  </a:lnTo>
                  <a:lnTo>
                    <a:pt x="3284" y="2732"/>
                  </a:lnTo>
                  <a:lnTo>
                    <a:pt x="3286" y="2732"/>
                  </a:lnTo>
                  <a:lnTo>
                    <a:pt x="3288" y="2734"/>
                  </a:lnTo>
                  <a:lnTo>
                    <a:pt x="3288" y="2738"/>
                  </a:lnTo>
                  <a:lnTo>
                    <a:pt x="3291" y="2740"/>
                  </a:lnTo>
                  <a:lnTo>
                    <a:pt x="3291" y="2740"/>
                  </a:lnTo>
                  <a:lnTo>
                    <a:pt x="3287" y="2742"/>
                  </a:lnTo>
                  <a:lnTo>
                    <a:pt x="3283" y="2740"/>
                  </a:lnTo>
                  <a:lnTo>
                    <a:pt x="3278" y="2739"/>
                  </a:lnTo>
                  <a:lnTo>
                    <a:pt x="3270" y="2748"/>
                  </a:lnTo>
                  <a:lnTo>
                    <a:pt x="3261" y="2750"/>
                  </a:lnTo>
                  <a:lnTo>
                    <a:pt x="3257" y="2753"/>
                  </a:lnTo>
                  <a:lnTo>
                    <a:pt x="3258" y="2753"/>
                  </a:lnTo>
                  <a:lnTo>
                    <a:pt x="3259" y="2754"/>
                  </a:lnTo>
                  <a:lnTo>
                    <a:pt x="3261" y="2756"/>
                  </a:lnTo>
                  <a:lnTo>
                    <a:pt x="3261" y="2757"/>
                  </a:lnTo>
                  <a:lnTo>
                    <a:pt x="3260" y="2760"/>
                  </a:lnTo>
                  <a:lnTo>
                    <a:pt x="3259" y="2760"/>
                  </a:lnTo>
                  <a:lnTo>
                    <a:pt x="3257" y="2760"/>
                  </a:lnTo>
                  <a:lnTo>
                    <a:pt x="3257" y="2761"/>
                  </a:lnTo>
                  <a:lnTo>
                    <a:pt x="3257" y="2765"/>
                  </a:lnTo>
                  <a:lnTo>
                    <a:pt x="3257" y="2769"/>
                  </a:lnTo>
                  <a:lnTo>
                    <a:pt x="3259" y="2772"/>
                  </a:lnTo>
                  <a:lnTo>
                    <a:pt x="3261" y="2774"/>
                  </a:lnTo>
                  <a:lnTo>
                    <a:pt x="3261" y="2776"/>
                  </a:lnTo>
                  <a:lnTo>
                    <a:pt x="3261" y="2779"/>
                  </a:lnTo>
                  <a:lnTo>
                    <a:pt x="3262" y="2781"/>
                  </a:lnTo>
                  <a:lnTo>
                    <a:pt x="3264" y="2782"/>
                  </a:lnTo>
                  <a:lnTo>
                    <a:pt x="3266" y="2785"/>
                  </a:lnTo>
                  <a:lnTo>
                    <a:pt x="3267" y="2788"/>
                  </a:lnTo>
                  <a:lnTo>
                    <a:pt x="3271" y="2794"/>
                  </a:lnTo>
                  <a:lnTo>
                    <a:pt x="3272" y="2798"/>
                  </a:lnTo>
                  <a:lnTo>
                    <a:pt x="3276" y="2803"/>
                  </a:lnTo>
                  <a:lnTo>
                    <a:pt x="3281" y="2804"/>
                  </a:lnTo>
                  <a:lnTo>
                    <a:pt x="3285" y="2802"/>
                  </a:lnTo>
                  <a:lnTo>
                    <a:pt x="3288" y="2794"/>
                  </a:lnTo>
                  <a:lnTo>
                    <a:pt x="3286" y="2794"/>
                  </a:lnTo>
                  <a:lnTo>
                    <a:pt x="3285" y="2794"/>
                  </a:lnTo>
                  <a:lnTo>
                    <a:pt x="3283" y="2793"/>
                  </a:lnTo>
                  <a:lnTo>
                    <a:pt x="3281" y="2791"/>
                  </a:lnTo>
                  <a:lnTo>
                    <a:pt x="3284" y="2788"/>
                  </a:lnTo>
                  <a:lnTo>
                    <a:pt x="3287" y="2784"/>
                  </a:lnTo>
                  <a:lnTo>
                    <a:pt x="3291" y="2782"/>
                  </a:lnTo>
                  <a:lnTo>
                    <a:pt x="3294" y="2784"/>
                  </a:lnTo>
                  <a:lnTo>
                    <a:pt x="3294" y="2788"/>
                  </a:lnTo>
                  <a:lnTo>
                    <a:pt x="3293" y="2791"/>
                  </a:lnTo>
                  <a:lnTo>
                    <a:pt x="3293" y="2795"/>
                  </a:lnTo>
                  <a:lnTo>
                    <a:pt x="3295" y="2799"/>
                  </a:lnTo>
                  <a:lnTo>
                    <a:pt x="3298" y="2794"/>
                  </a:lnTo>
                  <a:lnTo>
                    <a:pt x="3317" y="2794"/>
                  </a:lnTo>
                  <a:lnTo>
                    <a:pt x="3313" y="2798"/>
                  </a:lnTo>
                  <a:lnTo>
                    <a:pt x="3298" y="2804"/>
                  </a:lnTo>
                  <a:lnTo>
                    <a:pt x="3284" y="2816"/>
                  </a:lnTo>
                  <a:lnTo>
                    <a:pt x="3281" y="2814"/>
                  </a:lnTo>
                  <a:lnTo>
                    <a:pt x="3282" y="2813"/>
                  </a:lnTo>
                  <a:lnTo>
                    <a:pt x="3285" y="2809"/>
                  </a:lnTo>
                  <a:lnTo>
                    <a:pt x="3274" y="2812"/>
                  </a:lnTo>
                  <a:lnTo>
                    <a:pt x="3275" y="2815"/>
                  </a:lnTo>
                  <a:lnTo>
                    <a:pt x="3276" y="2817"/>
                  </a:lnTo>
                  <a:lnTo>
                    <a:pt x="3277" y="2818"/>
                  </a:lnTo>
                  <a:lnTo>
                    <a:pt x="3279" y="2819"/>
                  </a:lnTo>
                  <a:lnTo>
                    <a:pt x="3279" y="2822"/>
                  </a:lnTo>
                  <a:lnTo>
                    <a:pt x="3277" y="2823"/>
                  </a:lnTo>
                  <a:lnTo>
                    <a:pt x="3269" y="2823"/>
                  </a:lnTo>
                  <a:lnTo>
                    <a:pt x="3267" y="2825"/>
                  </a:lnTo>
                  <a:lnTo>
                    <a:pt x="3265" y="2831"/>
                  </a:lnTo>
                  <a:lnTo>
                    <a:pt x="3265" y="2838"/>
                  </a:lnTo>
                  <a:lnTo>
                    <a:pt x="3263" y="2842"/>
                  </a:lnTo>
                  <a:lnTo>
                    <a:pt x="3298" y="2837"/>
                  </a:lnTo>
                  <a:lnTo>
                    <a:pt x="3291" y="2841"/>
                  </a:lnTo>
                  <a:lnTo>
                    <a:pt x="3276" y="2843"/>
                  </a:lnTo>
                  <a:lnTo>
                    <a:pt x="3270" y="2847"/>
                  </a:lnTo>
                  <a:lnTo>
                    <a:pt x="3266" y="2852"/>
                  </a:lnTo>
                  <a:lnTo>
                    <a:pt x="3264" y="2852"/>
                  </a:lnTo>
                  <a:lnTo>
                    <a:pt x="3263" y="2851"/>
                  </a:lnTo>
                  <a:lnTo>
                    <a:pt x="3260" y="2848"/>
                  </a:lnTo>
                  <a:lnTo>
                    <a:pt x="3259" y="2847"/>
                  </a:lnTo>
                  <a:lnTo>
                    <a:pt x="3257" y="2849"/>
                  </a:lnTo>
                  <a:lnTo>
                    <a:pt x="3252" y="2859"/>
                  </a:lnTo>
                  <a:lnTo>
                    <a:pt x="3251" y="2862"/>
                  </a:lnTo>
                  <a:lnTo>
                    <a:pt x="3252" y="2862"/>
                  </a:lnTo>
                  <a:lnTo>
                    <a:pt x="3256" y="2864"/>
                  </a:lnTo>
                  <a:lnTo>
                    <a:pt x="3254" y="2867"/>
                  </a:lnTo>
                  <a:lnTo>
                    <a:pt x="3241" y="2877"/>
                  </a:lnTo>
                  <a:lnTo>
                    <a:pt x="3236" y="2888"/>
                  </a:lnTo>
                  <a:lnTo>
                    <a:pt x="3233" y="2893"/>
                  </a:lnTo>
                  <a:lnTo>
                    <a:pt x="3229" y="2895"/>
                  </a:lnTo>
                  <a:lnTo>
                    <a:pt x="3236" y="2878"/>
                  </a:lnTo>
                  <a:lnTo>
                    <a:pt x="3245" y="2867"/>
                  </a:lnTo>
                  <a:lnTo>
                    <a:pt x="3246" y="2862"/>
                  </a:lnTo>
                  <a:lnTo>
                    <a:pt x="3248" y="2854"/>
                  </a:lnTo>
                  <a:lnTo>
                    <a:pt x="3244" y="2851"/>
                  </a:lnTo>
                  <a:lnTo>
                    <a:pt x="3240" y="2848"/>
                  </a:lnTo>
                  <a:lnTo>
                    <a:pt x="3237" y="2847"/>
                  </a:lnTo>
                  <a:lnTo>
                    <a:pt x="3233" y="2847"/>
                  </a:lnTo>
                  <a:lnTo>
                    <a:pt x="3223" y="2851"/>
                  </a:lnTo>
                  <a:lnTo>
                    <a:pt x="3219" y="2849"/>
                  </a:lnTo>
                  <a:lnTo>
                    <a:pt x="3222" y="2842"/>
                  </a:lnTo>
                  <a:lnTo>
                    <a:pt x="3222" y="2837"/>
                  </a:lnTo>
                  <a:lnTo>
                    <a:pt x="3220" y="2833"/>
                  </a:lnTo>
                  <a:lnTo>
                    <a:pt x="3210" y="2822"/>
                  </a:lnTo>
                  <a:lnTo>
                    <a:pt x="3207" y="2821"/>
                  </a:lnTo>
                  <a:lnTo>
                    <a:pt x="3206" y="2821"/>
                  </a:lnTo>
                  <a:lnTo>
                    <a:pt x="3204" y="2815"/>
                  </a:lnTo>
                  <a:lnTo>
                    <a:pt x="3203" y="2812"/>
                  </a:lnTo>
                  <a:lnTo>
                    <a:pt x="3204" y="2805"/>
                  </a:lnTo>
                  <a:lnTo>
                    <a:pt x="3203" y="2801"/>
                  </a:lnTo>
                  <a:lnTo>
                    <a:pt x="3202" y="2800"/>
                  </a:lnTo>
                  <a:lnTo>
                    <a:pt x="3193" y="2795"/>
                  </a:lnTo>
                  <a:lnTo>
                    <a:pt x="3189" y="2791"/>
                  </a:lnTo>
                  <a:lnTo>
                    <a:pt x="3187" y="2791"/>
                  </a:lnTo>
                  <a:lnTo>
                    <a:pt x="3187" y="2792"/>
                  </a:lnTo>
                  <a:lnTo>
                    <a:pt x="3187" y="2794"/>
                  </a:lnTo>
                  <a:lnTo>
                    <a:pt x="3186" y="2795"/>
                  </a:lnTo>
                  <a:lnTo>
                    <a:pt x="3186" y="2796"/>
                  </a:lnTo>
                  <a:lnTo>
                    <a:pt x="3184" y="2799"/>
                  </a:lnTo>
                  <a:lnTo>
                    <a:pt x="3182" y="2799"/>
                  </a:lnTo>
                  <a:lnTo>
                    <a:pt x="3180" y="2799"/>
                  </a:lnTo>
                  <a:lnTo>
                    <a:pt x="3180" y="2801"/>
                  </a:lnTo>
                  <a:lnTo>
                    <a:pt x="3182" y="2803"/>
                  </a:lnTo>
                  <a:lnTo>
                    <a:pt x="3184" y="2805"/>
                  </a:lnTo>
                  <a:lnTo>
                    <a:pt x="3186" y="2808"/>
                  </a:lnTo>
                  <a:lnTo>
                    <a:pt x="3187" y="2810"/>
                  </a:lnTo>
                  <a:lnTo>
                    <a:pt x="3186" y="2815"/>
                  </a:lnTo>
                  <a:lnTo>
                    <a:pt x="3186" y="2819"/>
                  </a:lnTo>
                  <a:lnTo>
                    <a:pt x="3186" y="2822"/>
                  </a:lnTo>
                  <a:lnTo>
                    <a:pt x="3188" y="2824"/>
                  </a:lnTo>
                  <a:lnTo>
                    <a:pt x="3188" y="2827"/>
                  </a:lnTo>
                  <a:lnTo>
                    <a:pt x="3184" y="2824"/>
                  </a:lnTo>
                  <a:lnTo>
                    <a:pt x="3182" y="2824"/>
                  </a:lnTo>
                  <a:lnTo>
                    <a:pt x="3181" y="2827"/>
                  </a:lnTo>
                  <a:lnTo>
                    <a:pt x="3182" y="2828"/>
                  </a:lnTo>
                  <a:lnTo>
                    <a:pt x="3187" y="2834"/>
                  </a:lnTo>
                  <a:lnTo>
                    <a:pt x="3185" y="2835"/>
                  </a:lnTo>
                  <a:lnTo>
                    <a:pt x="3184" y="2834"/>
                  </a:lnTo>
                  <a:lnTo>
                    <a:pt x="3182" y="2832"/>
                  </a:lnTo>
                  <a:lnTo>
                    <a:pt x="3180" y="2832"/>
                  </a:lnTo>
                  <a:lnTo>
                    <a:pt x="3179" y="2833"/>
                  </a:lnTo>
                  <a:lnTo>
                    <a:pt x="3178" y="2837"/>
                  </a:lnTo>
                  <a:lnTo>
                    <a:pt x="3177" y="2839"/>
                  </a:lnTo>
                  <a:lnTo>
                    <a:pt x="3175" y="2838"/>
                  </a:lnTo>
                  <a:lnTo>
                    <a:pt x="3173" y="2832"/>
                  </a:lnTo>
                  <a:lnTo>
                    <a:pt x="3170" y="2828"/>
                  </a:lnTo>
                  <a:lnTo>
                    <a:pt x="3166" y="2825"/>
                  </a:lnTo>
                  <a:lnTo>
                    <a:pt x="3162" y="2827"/>
                  </a:lnTo>
                  <a:lnTo>
                    <a:pt x="3164" y="2830"/>
                  </a:lnTo>
                  <a:lnTo>
                    <a:pt x="3166" y="2832"/>
                  </a:lnTo>
                  <a:lnTo>
                    <a:pt x="3168" y="2836"/>
                  </a:lnTo>
                  <a:lnTo>
                    <a:pt x="3169" y="2842"/>
                  </a:lnTo>
                  <a:lnTo>
                    <a:pt x="3166" y="2841"/>
                  </a:lnTo>
                  <a:lnTo>
                    <a:pt x="3163" y="2838"/>
                  </a:lnTo>
                  <a:lnTo>
                    <a:pt x="3161" y="2837"/>
                  </a:lnTo>
                  <a:lnTo>
                    <a:pt x="3156" y="2837"/>
                  </a:lnTo>
                  <a:lnTo>
                    <a:pt x="3155" y="2838"/>
                  </a:lnTo>
                  <a:lnTo>
                    <a:pt x="3155" y="2839"/>
                  </a:lnTo>
                  <a:lnTo>
                    <a:pt x="3154" y="2841"/>
                  </a:lnTo>
                  <a:lnTo>
                    <a:pt x="3154" y="2842"/>
                  </a:lnTo>
                  <a:lnTo>
                    <a:pt x="3152" y="2842"/>
                  </a:lnTo>
                  <a:lnTo>
                    <a:pt x="3149" y="2839"/>
                  </a:lnTo>
                  <a:lnTo>
                    <a:pt x="3147" y="2839"/>
                  </a:lnTo>
                  <a:lnTo>
                    <a:pt x="3145" y="2841"/>
                  </a:lnTo>
                  <a:lnTo>
                    <a:pt x="3141" y="2846"/>
                  </a:lnTo>
                  <a:lnTo>
                    <a:pt x="3139" y="2847"/>
                  </a:lnTo>
                  <a:lnTo>
                    <a:pt x="3139" y="2849"/>
                  </a:lnTo>
                  <a:lnTo>
                    <a:pt x="3143" y="2852"/>
                  </a:lnTo>
                  <a:lnTo>
                    <a:pt x="3154" y="2849"/>
                  </a:lnTo>
                  <a:lnTo>
                    <a:pt x="3158" y="2851"/>
                  </a:lnTo>
                  <a:lnTo>
                    <a:pt x="3161" y="2854"/>
                  </a:lnTo>
                  <a:lnTo>
                    <a:pt x="3163" y="2858"/>
                  </a:lnTo>
                  <a:lnTo>
                    <a:pt x="3160" y="2862"/>
                  </a:lnTo>
                  <a:lnTo>
                    <a:pt x="3162" y="2866"/>
                  </a:lnTo>
                  <a:lnTo>
                    <a:pt x="3171" y="2874"/>
                  </a:lnTo>
                  <a:lnTo>
                    <a:pt x="3168" y="2877"/>
                  </a:lnTo>
                  <a:lnTo>
                    <a:pt x="3164" y="2877"/>
                  </a:lnTo>
                  <a:lnTo>
                    <a:pt x="3154" y="2869"/>
                  </a:lnTo>
                  <a:lnTo>
                    <a:pt x="3153" y="2867"/>
                  </a:lnTo>
                  <a:lnTo>
                    <a:pt x="3152" y="2865"/>
                  </a:lnTo>
                  <a:lnTo>
                    <a:pt x="3152" y="2862"/>
                  </a:lnTo>
                  <a:lnTo>
                    <a:pt x="3151" y="2860"/>
                  </a:lnTo>
                  <a:lnTo>
                    <a:pt x="3150" y="2859"/>
                  </a:lnTo>
                  <a:lnTo>
                    <a:pt x="3141" y="2859"/>
                  </a:lnTo>
                  <a:lnTo>
                    <a:pt x="3140" y="2858"/>
                  </a:lnTo>
                  <a:lnTo>
                    <a:pt x="3138" y="2853"/>
                  </a:lnTo>
                  <a:lnTo>
                    <a:pt x="3136" y="2852"/>
                  </a:lnTo>
                  <a:lnTo>
                    <a:pt x="3135" y="2851"/>
                  </a:lnTo>
                  <a:lnTo>
                    <a:pt x="3133" y="2848"/>
                  </a:lnTo>
                  <a:lnTo>
                    <a:pt x="3131" y="2847"/>
                  </a:lnTo>
                  <a:lnTo>
                    <a:pt x="3130" y="2848"/>
                  </a:lnTo>
                  <a:lnTo>
                    <a:pt x="3129" y="2851"/>
                  </a:lnTo>
                  <a:lnTo>
                    <a:pt x="3128" y="2853"/>
                  </a:lnTo>
                  <a:lnTo>
                    <a:pt x="3128" y="2854"/>
                  </a:lnTo>
                  <a:lnTo>
                    <a:pt x="3129" y="2855"/>
                  </a:lnTo>
                  <a:lnTo>
                    <a:pt x="3129" y="2857"/>
                  </a:lnTo>
                  <a:lnTo>
                    <a:pt x="3130" y="2856"/>
                  </a:lnTo>
                  <a:lnTo>
                    <a:pt x="3132" y="2858"/>
                  </a:lnTo>
                  <a:lnTo>
                    <a:pt x="3134" y="2862"/>
                  </a:lnTo>
                  <a:lnTo>
                    <a:pt x="3135" y="2867"/>
                  </a:lnTo>
                  <a:lnTo>
                    <a:pt x="3130" y="2865"/>
                  </a:lnTo>
                  <a:lnTo>
                    <a:pt x="3121" y="2857"/>
                  </a:lnTo>
                  <a:lnTo>
                    <a:pt x="3116" y="2854"/>
                  </a:lnTo>
                  <a:lnTo>
                    <a:pt x="3114" y="2855"/>
                  </a:lnTo>
                  <a:lnTo>
                    <a:pt x="3112" y="2857"/>
                  </a:lnTo>
                  <a:lnTo>
                    <a:pt x="3110" y="2860"/>
                  </a:lnTo>
                  <a:lnTo>
                    <a:pt x="3109" y="2864"/>
                  </a:lnTo>
                  <a:lnTo>
                    <a:pt x="3123" y="2864"/>
                  </a:lnTo>
                  <a:lnTo>
                    <a:pt x="3124" y="2865"/>
                  </a:lnTo>
                  <a:lnTo>
                    <a:pt x="3125" y="2867"/>
                  </a:lnTo>
                  <a:lnTo>
                    <a:pt x="3125" y="2869"/>
                  </a:lnTo>
                  <a:lnTo>
                    <a:pt x="3125" y="2869"/>
                  </a:lnTo>
                  <a:lnTo>
                    <a:pt x="3127" y="2870"/>
                  </a:lnTo>
                  <a:lnTo>
                    <a:pt x="3129" y="2871"/>
                  </a:lnTo>
                  <a:lnTo>
                    <a:pt x="3130" y="2872"/>
                  </a:lnTo>
                  <a:lnTo>
                    <a:pt x="3130" y="2876"/>
                  </a:lnTo>
                  <a:lnTo>
                    <a:pt x="3131" y="2879"/>
                  </a:lnTo>
                  <a:lnTo>
                    <a:pt x="3134" y="2880"/>
                  </a:lnTo>
                  <a:lnTo>
                    <a:pt x="3138" y="2879"/>
                  </a:lnTo>
                  <a:lnTo>
                    <a:pt x="3138" y="2882"/>
                  </a:lnTo>
                  <a:lnTo>
                    <a:pt x="3133" y="2886"/>
                  </a:lnTo>
                  <a:lnTo>
                    <a:pt x="3130" y="2886"/>
                  </a:lnTo>
                  <a:lnTo>
                    <a:pt x="3125" y="2879"/>
                  </a:lnTo>
                  <a:lnTo>
                    <a:pt x="3122" y="2877"/>
                  </a:lnTo>
                  <a:lnTo>
                    <a:pt x="3115" y="2877"/>
                  </a:lnTo>
                  <a:lnTo>
                    <a:pt x="3115" y="2879"/>
                  </a:lnTo>
                  <a:lnTo>
                    <a:pt x="3120" y="2883"/>
                  </a:lnTo>
                  <a:lnTo>
                    <a:pt x="3123" y="2887"/>
                  </a:lnTo>
                  <a:lnTo>
                    <a:pt x="3124" y="2892"/>
                  </a:lnTo>
                  <a:lnTo>
                    <a:pt x="3117" y="2884"/>
                  </a:lnTo>
                  <a:lnTo>
                    <a:pt x="3113" y="2882"/>
                  </a:lnTo>
                  <a:lnTo>
                    <a:pt x="3110" y="2882"/>
                  </a:lnTo>
                  <a:lnTo>
                    <a:pt x="3111" y="2884"/>
                  </a:lnTo>
                  <a:lnTo>
                    <a:pt x="3110" y="2884"/>
                  </a:lnTo>
                  <a:lnTo>
                    <a:pt x="3106" y="2884"/>
                  </a:lnTo>
                  <a:lnTo>
                    <a:pt x="3107" y="2892"/>
                  </a:lnTo>
                  <a:lnTo>
                    <a:pt x="3106" y="2898"/>
                  </a:lnTo>
                  <a:lnTo>
                    <a:pt x="3108" y="2902"/>
                  </a:lnTo>
                  <a:lnTo>
                    <a:pt x="3113" y="2902"/>
                  </a:lnTo>
                  <a:lnTo>
                    <a:pt x="3113" y="2904"/>
                  </a:lnTo>
                  <a:lnTo>
                    <a:pt x="3110" y="2904"/>
                  </a:lnTo>
                  <a:lnTo>
                    <a:pt x="3108" y="2905"/>
                  </a:lnTo>
                  <a:lnTo>
                    <a:pt x="3106" y="2906"/>
                  </a:lnTo>
                  <a:lnTo>
                    <a:pt x="3104" y="2908"/>
                  </a:lnTo>
                  <a:lnTo>
                    <a:pt x="3100" y="2906"/>
                  </a:lnTo>
                  <a:lnTo>
                    <a:pt x="3097" y="2907"/>
                  </a:lnTo>
                  <a:lnTo>
                    <a:pt x="3097" y="2911"/>
                  </a:lnTo>
                  <a:lnTo>
                    <a:pt x="3098" y="2916"/>
                  </a:lnTo>
                  <a:lnTo>
                    <a:pt x="3091" y="2912"/>
                  </a:lnTo>
                  <a:lnTo>
                    <a:pt x="3087" y="2912"/>
                  </a:lnTo>
                  <a:lnTo>
                    <a:pt x="3087" y="2916"/>
                  </a:lnTo>
                  <a:lnTo>
                    <a:pt x="3088" y="2917"/>
                  </a:lnTo>
                  <a:lnTo>
                    <a:pt x="3080" y="2920"/>
                  </a:lnTo>
                  <a:lnTo>
                    <a:pt x="3076" y="2923"/>
                  </a:lnTo>
                  <a:lnTo>
                    <a:pt x="3074" y="2927"/>
                  </a:lnTo>
                  <a:lnTo>
                    <a:pt x="3086" y="2931"/>
                  </a:lnTo>
                  <a:lnTo>
                    <a:pt x="3093" y="2936"/>
                  </a:lnTo>
                  <a:lnTo>
                    <a:pt x="3095" y="2945"/>
                  </a:lnTo>
                  <a:lnTo>
                    <a:pt x="3093" y="2945"/>
                  </a:lnTo>
                  <a:lnTo>
                    <a:pt x="3086" y="2937"/>
                  </a:lnTo>
                  <a:lnTo>
                    <a:pt x="3082" y="2936"/>
                  </a:lnTo>
                  <a:lnTo>
                    <a:pt x="3076" y="2937"/>
                  </a:lnTo>
                  <a:lnTo>
                    <a:pt x="3072" y="2937"/>
                  </a:lnTo>
                  <a:lnTo>
                    <a:pt x="3072" y="2939"/>
                  </a:lnTo>
                  <a:lnTo>
                    <a:pt x="3072" y="2939"/>
                  </a:lnTo>
                  <a:lnTo>
                    <a:pt x="3073" y="2940"/>
                  </a:lnTo>
                  <a:lnTo>
                    <a:pt x="3070" y="2942"/>
                  </a:lnTo>
                  <a:lnTo>
                    <a:pt x="3067" y="2941"/>
                  </a:lnTo>
                  <a:lnTo>
                    <a:pt x="3065" y="2940"/>
                  </a:lnTo>
                  <a:lnTo>
                    <a:pt x="3062" y="2940"/>
                  </a:lnTo>
                  <a:lnTo>
                    <a:pt x="3062" y="2941"/>
                  </a:lnTo>
                  <a:lnTo>
                    <a:pt x="3063" y="2942"/>
                  </a:lnTo>
                  <a:lnTo>
                    <a:pt x="3063" y="2943"/>
                  </a:lnTo>
                  <a:lnTo>
                    <a:pt x="3064" y="2945"/>
                  </a:lnTo>
                  <a:lnTo>
                    <a:pt x="3063" y="2948"/>
                  </a:lnTo>
                  <a:lnTo>
                    <a:pt x="3063" y="2951"/>
                  </a:lnTo>
                  <a:lnTo>
                    <a:pt x="3064" y="2953"/>
                  </a:lnTo>
                  <a:lnTo>
                    <a:pt x="3066" y="2955"/>
                  </a:lnTo>
                  <a:lnTo>
                    <a:pt x="3060" y="2955"/>
                  </a:lnTo>
                  <a:lnTo>
                    <a:pt x="3060" y="2957"/>
                  </a:lnTo>
                  <a:lnTo>
                    <a:pt x="3061" y="2958"/>
                  </a:lnTo>
                  <a:lnTo>
                    <a:pt x="3062" y="2962"/>
                  </a:lnTo>
                  <a:lnTo>
                    <a:pt x="3059" y="2961"/>
                  </a:lnTo>
                  <a:lnTo>
                    <a:pt x="3056" y="2962"/>
                  </a:lnTo>
                  <a:lnTo>
                    <a:pt x="3054" y="2965"/>
                  </a:lnTo>
                  <a:lnTo>
                    <a:pt x="3052" y="2969"/>
                  </a:lnTo>
                  <a:lnTo>
                    <a:pt x="3065" y="2969"/>
                  </a:lnTo>
                  <a:lnTo>
                    <a:pt x="3070" y="2967"/>
                  </a:lnTo>
                  <a:lnTo>
                    <a:pt x="3068" y="2972"/>
                  </a:lnTo>
                  <a:lnTo>
                    <a:pt x="3066" y="2975"/>
                  </a:lnTo>
                  <a:lnTo>
                    <a:pt x="3052" y="2979"/>
                  </a:lnTo>
                  <a:lnTo>
                    <a:pt x="3051" y="2979"/>
                  </a:lnTo>
                  <a:lnTo>
                    <a:pt x="3048" y="2975"/>
                  </a:lnTo>
                  <a:lnTo>
                    <a:pt x="3041" y="2970"/>
                  </a:lnTo>
                  <a:lnTo>
                    <a:pt x="3037" y="2969"/>
                  </a:lnTo>
                  <a:lnTo>
                    <a:pt x="3035" y="2972"/>
                  </a:lnTo>
                  <a:lnTo>
                    <a:pt x="3034" y="2977"/>
                  </a:lnTo>
                  <a:lnTo>
                    <a:pt x="3036" y="2982"/>
                  </a:lnTo>
                  <a:lnTo>
                    <a:pt x="3037" y="2986"/>
                  </a:lnTo>
                  <a:lnTo>
                    <a:pt x="3039" y="2989"/>
                  </a:lnTo>
                  <a:lnTo>
                    <a:pt x="3037" y="2994"/>
                  </a:lnTo>
                  <a:lnTo>
                    <a:pt x="3037" y="2996"/>
                  </a:lnTo>
                  <a:lnTo>
                    <a:pt x="3038" y="2999"/>
                  </a:lnTo>
                  <a:lnTo>
                    <a:pt x="3035" y="2999"/>
                  </a:lnTo>
                  <a:lnTo>
                    <a:pt x="3034" y="3003"/>
                  </a:lnTo>
                  <a:lnTo>
                    <a:pt x="3033" y="3008"/>
                  </a:lnTo>
                  <a:lnTo>
                    <a:pt x="3032" y="3014"/>
                  </a:lnTo>
                  <a:lnTo>
                    <a:pt x="3031" y="3018"/>
                  </a:lnTo>
                  <a:lnTo>
                    <a:pt x="3026" y="3022"/>
                  </a:lnTo>
                  <a:lnTo>
                    <a:pt x="3025" y="3026"/>
                  </a:lnTo>
                  <a:lnTo>
                    <a:pt x="3029" y="3026"/>
                  </a:lnTo>
                  <a:lnTo>
                    <a:pt x="3034" y="3024"/>
                  </a:lnTo>
                  <a:lnTo>
                    <a:pt x="3044" y="3017"/>
                  </a:lnTo>
                  <a:lnTo>
                    <a:pt x="3045" y="3018"/>
                  </a:lnTo>
                  <a:lnTo>
                    <a:pt x="3046" y="3020"/>
                  </a:lnTo>
                  <a:lnTo>
                    <a:pt x="3048" y="3022"/>
                  </a:lnTo>
                  <a:lnTo>
                    <a:pt x="3050" y="3020"/>
                  </a:lnTo>
                  <a:lnTo>
                    <a:pt x="3051" y="3018"/>
                  </a:lnTo>
                  <a:lnTo>
                    <a:pt x="3053" y="3016"/>
                  </a:lnTo>
                  <a:lnTo>
                    <a:pt x="3055" y="3017"/>
                  </a:lnTo>
                  <a:lnTo>
                    <a:pt x="3049" y="3024"/>
                  </a:lnTo>
                  <a:lnTo>
                    <a:pt x="3031" y="3033"/>
                  </a:lnTo>
                  <a:lnTo>
                    <a:pt x="3026" y="3041"/>
                  </a:lnTo>
                  <a:lnTo>
                    <a:pt x="3029" y="3041"/>
                  </a:lnTo>
                  <a:lnTo>
                    <a:pt x="3034" y="3037"/>
                  </a:lnTo>
                  <a:lnTo>
                    <a:pt x="3040" y="3036"/>
                  </a:lnTo>
                  <a:lnTo>
                    <a:pt x="3045" y="3032"/>
                  </a:lnTo>
                  <a:lnTo>
                    <a:pt x="3050" y="3030"/>
                  </a:lnTo>
                  <a:lnTo>
                    <a:pt x="3055" y="3025"/>
                  </a:lnTo>
                  <a:lnTo>
                    <a:pt x="3057" y="3024"/>
                  </a:lnTo>
                  <a:lnTo>
                    <a:pt x="3060" y="3025"/>
                  </a:lnTo>
                  <a:lnTo>
                    <a:pt x="3062" y="3027"/>
                  </a:lnTo>
                  <a:lnTo>
                    <a:pt x="3066" y="3034"/>
                  </a:lnTo>
                  <a:lnTo>
                    <a:pt x="3062" y="3036"/>
                  </a:lnTo>
                  <a:lnTo>
                    <a:pt x="3053" y="3033"/>
                  </a:lnTo>
                  <a:lnTo>
                    <a:pt x="3046" y="3042"/>
                  </a:lnTo>
                  <a:lnTo>
                    <a:pt x="3030" y="3046"/>
                  </a:lnTo>
                  <a:lnTo>
                    <a:pt x="3025" y="3053"/>
                  </a:lnTo>
                  <a:lnTo>
                    <a:pt x="3023" y="3054"/>
                  </a:lnTo>
                  <a:lnTo>
                    <a:pt x="3020" y="3053"/>
                  </a:lnTo>
                  <a:lnTo>
                    <a:pt x="3020" y="3053"/>
                  </a:lnTo>
                  <a:lnTo>
                    <a:pt x="3022" y="3051"/>
                  </a:lnTo>
                  <a:lnTo>
                    <a:pt x="3021" y="3048"/>
                  </a:lnTo>
                  <a:lnTo>
                    <a:pt x="3018" y="3047"/>
                  </a:lnTo>
                  <a:lnTo>
                    <a:pt x="3002" y="3054"/>
                  </a:lnTo>
                  <a:lnTo>
                    <a:pt x="3005" y="3057"/>
                  </a:lnTo>
                  <a:lnTo>
                    <a:pt x="3008" y="3058"/>
                  </a:lnTo>
                  <a:lnTo>
                    <a:pt x="3015" y="3059"/>
                  </a:lnTo>
                  <a:lnTo>
                    <a:pt x="3015" y="3061"/>
                  </a:lnTo>
                  <a:lnTo>
                    <a:pt x="3008" y="3062"/>
                  </a:lnTo>
                  <a:lnTo>
                    <a:pt x="2981" y="3077"/>
                  </a:lnTo>
                  <a:lnTo>
                    <a:pt x="2963" y="3093"/>
                  </a:lnTo>
                  <a:lnTo>
                    <a:pt x="2969" y="3098"/>
                  </a:lnTo>
                  <a:lnTo>
                    <a:pt x="3000" y="3093"/>
                  </a:lnTo>
                  <a:lnTo>
                    <a:pt x="3000" y="3096"/>
                  </a:lnTo>
                  <a:lnTo>
                    <a:pt x="2990" y="3097"/>
                  </a:lnTo>
                  <a:lnTo>
                    <a:pt x="2964" y="3110"/>
                  </a:lnTo>
                  <a:lnTo>
                    <a:pt x="2964" y="3113"/>
                  </a:lnTo>
                  <a:lnTo>
                    <a:pt x="2966" y="3117"/>
                  </a:lnTo>
                  <a:lnTo>
                    <a:pt x="2964" y="3126"/>
                  </a:lnTo>
                  <a:lnTo>
                    <a:pt x="2963" y="3132"/>
                  </a:lnTo>
                  <a:lnTo>
                    <a:pt x="2969" y="3130"/>
                  </a:lnTo>
                  <a:lnTo>
                    <a:pt x="2975" y="3125"/>
                  </a:lnTo>
                  <a:lnTo>
                    <a:pt x="2976" y="3125"/>
                  </a:lnTo>
                  <a:lnTo>
                    <a:pt x="2977" y="3125"/>
                  </a:lnTo>
                  <a:lnTo>
                    <a:pt x="2978" y="3125"/>
                  </a:lnTo>
                  <a:lnTo>
                    <a:pt x="2978" y="3124"/>
                  </a:lnTo>
                  <a:lnTo>
                    <a:pt x="2978" y="3123"/>
                  </a:lnTo>
                  <a:lnTo>
                    <a:pt x="2979" y="3121"/>
                  </a:lnTo>
                  <a:lnTo>
                    <a:pt x="2979" y="3120"/>
                  </a:lnTo>
                  <a:lnTo>
                    <a:pt x="2992" y="3119"/>
                  </a:lnTo>
                  <a:lnTo>
                    <a:pt x="3000" y="3112"/>
                  </a:lnTo>
                  <a:lnTo>
                    <a:pt x="3013" y="3108"/>
                  </a:lnTo>
                  <a:lnTo>
                    <a:pt x="3020" y="3099"/>
                  </a:lnTo>
                  <a:lnTo>
                    <a:pt x="3028" y="3096"/>
                  </a:lnTo>
                  <a:lnTo>
                    <a:pt x="3031" y="3096"/>
                  </a:lnTo>
                  <a:lnTo>
                    <a:pt x="3034" y="3094"/>
                  </a:lnTo>
                  <a:lnTo>
                    <a:pt x="3037" y="3091"/>
                  </a:lnTo>
                  <a:lnTo>
                    <a:pt x="3040" y="3090"/>
                  </a:lnTo>
                  <a:lnTo>
                    <a:pt x="3041" y="3093"/>
                  </a:lnTo>
                  <a:lnTo>
                    <a:pt x="3039" y="3094"/>
                  </a:lnTo>
                  <a:lnTo>
                    <a:pt x="3038" y="3096"/>
                  </a:lnTo>
                  <a:lnTo>
                    <a:pt x="3037" y="3099"/>
                  </a:lnTo>
                  <a:lnTo>
                    <a:pt x="3036" y="3103"/>
                  </a:lnTo>
                  <a:lnTo>
                    <a:pt x="3040" y="3102"/>
                  </a:lnTo>
                  <a:lnTo>
                    <a:pt x="3047" y="3096"/>
                  </a:lnTo>
                  <a:lnTo>
                    <a:pt x="3051" y="3096"/>
                  </a:lnTo>
                  <a:lnTo>
                    <a:pt x="3046" y="3102"/>
                  </a:lnTo>
                  <a:lnTo>
                    <a:pt x="3041" y="3107"/>
                  </a:lnTo>
                  <a:lnTo>
                    <a:pt x="3035" y="3111"/>
                  </a:lnTo>
                  <a:lnTo>
                    <a:pt x="3023" y="3114"/>
                  </a:lnTo>
                  <a:lnTo>
                    <a:pt x="3010" y="3121"/>
                  </a:lnTo>
                  <a:lnTo>
                    <a:pt x="3003" y="3123"/>
                  </a:lnTo>
                  <a:lnTo>
                    <a:pt x="3004" y="3126"/>
                  </a:lnTo>
                  <a:lnTo>
                    <a:pt x="3004" y="3128"/>
                  </a:lnTo>
                  <a:lnTo>
                    <a:pt x="3003" y="3129"/>
                  </a:lnTo>
                  <a:lnTo>
                    <a:pt x="3003" y="3130"/>
                  </a:lnTo>
                  <a:lnTo>
                    <a:pt x="3003" y="3131"/>
                  </a:lnTo>
                  <a:lnTo>
                    <a:pt x="3002" y="3132"/>
                  </a:lnTo>
                  <a:lnTo>
                    <a:pt x="3006" y="3134"/>
                  </a:lnTo>
                  <a:lnTo>
                    <a:pt x="3008" y="3136"/>
                  </a:lnTo>
                  <a:lnTo>
                    <a:pt x="3008" y="3140"/>
                  </a:lnTo>
                  <a:lnTo>
                    <a:pt x="3006" y="3142"/>
                  </a:lnTo>
                  <a:lnTo>
                    <a:pt x="3005" y="3146"/>
                  </a:lnTo>
                  <a:lnTo>
                    <a:pt x="3006" y="3151"/>
                  </a:lnTo>
                  <a:lnTo>
                    <a:pt x="3008" y="3155"/>
                  </a:lnTo>
                  <a:lnTo>
                    <a:pt x="3011" y="3156"/>
                  </a:lnTo>
                  <a:lnTo>
                    <a:pt x="3017" y="3157"/>
                  </a:lnTo>
                  <a:lnTo>
                    <a:pt x="3019" y="3159"/>
                  </a:lnTo>
                  <a:lnTo>
                    <a:pt x="3019" y="3160"/>
                  </a:lnTo>
                  <a:lnTo>
                    <a:pt x="3017" y="3164"/>
                  </a:lnTo>
                  <a:lnTo>
                    <a:pt x="3020" y="3172"/>
                  </a:lnTo>
                  <a:lnTo>
                    <a:pt x="3020" y="3180"/>
                  </a:lnTo>
                  <a:lnTo>
                    <a:pt x="3022" y="3186"/>
                  </a:lnTo>
                  <a:lnTo>
                    <a:pt x="3028" y="3189"/>
                  </a:lnTo>
                  <a:lnTo>
                    <a:pt x="3029" y="3190"/>
                  </a:lnTo>
                  <a:lnTo>
                    <a:pt x="3030" y="3191"/>
                  </a:lnTo>
                  <a:lnTo>
                    <a:pt x="3031" y="3192"/>
                  </a:lnTo>
                  <a:lnTo>
                    <a:pt x="3032" y="3193"/>
                  </a:lnTo>
                  <a:lnTo>
                    <a:pt x="3033" y="3193"/>
                  </a:lnTo>
                  <a:lnTo>
                    <a:pt x="3034" y="3192"/>
                  </a:lnTo>
                  <a:lnTo>
                    <a:pt x="3035" y="3191"/>
                  </a:lnTo>
                  <a:lnTo>
                    <a:pt x="3042" y="3190"/>
                  </a:lnTo>
                  <a:lnTo>
                    <a:pt x="3048" y="3188"/>
                  </a:lnTo>
                  <a:lnTo>
                    <a:pt x="3062" y="3178"/>
                  </a:lnTo>
                  <a:lnTo>
                    <a:pt x="3066" y="3176"/>
                  </a:lnTo>
                  <a:lnTo>
                    <a:pt x="3067" y="3175"/>
                  </a:lnTo>
                  <a:lnTo>
                    <a:pt x="3071" y="3170"/>
                  </a:lnTo>
                  <a:lnTo>
                    <a:pt x="3073" y="3169"/>
                  </a:lnTo>
                  <a:lnTo>
                    <a:pt x="3086" y="3169"/>
                  </a:lnTo>
                  <a:lnTo>
                    <a:pt x="3088" y="3168"/>
                  </a:lnTo>
                  <a:lnTo>
                    <a:pt x="3093" y="3165"/>
                  </a:lnTo>
                  <a:lnTo>
                    <a:pt x="3099" y="3164"/>
                  </a:lnTo>
                  <a:lnTo>
                    <a:pt x="3101" y="3163"/>
                  </a:lnTo>
                  <a:lnTo>
                    <a:pt x="3119" y="3148"/>
                  </a:lnTo>
                  <a:lnTo>
                    <a:pt x="3125" y="3146"/>
                  </a:lnTo>
                  <a:lnTo>
                    <a:pt x="3130" y="3143"/>
                  </a:lnTo>
                  <a:lnTo>
                    <a:pt x="3132" y="3141"/>
                  </a:lnTo>
                  <a:lnTo>
                    <a:pt x="3135" y="3131"/>
                  </a:lnTo>
                  <a:lnTo>
                    <a:pt x="3137" y="3128"/>
                  </a:lnTo>
                  <a:lnTo>
                    <a:pt x="3142" y="3124"/>
                  </a:lnTo>
                  <a:lnTo>
                    <a:pt x="3153" y="3123"/>
                  </a:lnTo>
                  <a:lnTo>
                    <a:pt x="3164" y="3112"/>
                  </a:lnTo>
                  <a:lnTo>
                    <a:pt x="3179" y="3109"/>
                  </a:lnTo>
                  <a:lnTo>
                    <a:pt x="3185" y="3102"/>
                  </a:lnTo>
                  <a:lnTo>
                    <a:pt x="3187" y="3100"/>
                  </a:lnTo>
                  <a:lnTo>
                    <a:pt x="3189" y="3097"/>
                  </a:lnTo>
                  <a:lnTo>
                    <a:pt x="3190" y="3096"/>
                  </a:lnTo>
                  <a:lnTo>
                    <a:pt x="3191" y="3092"/>
                  </a:lnTo>
                  <a:lnTo>
                    <a:pt x="3192" y="3086"/>
                  </a:lnTo>
                  <a:lnTo>
                    <a:pt x="3192" y="3083"/>
                  </a:lnTo>
                  <a:lnTo>
                    <a:pt x="3195" y="3079"/>
                  </a:lnTo>
                  <a:lnTo>
                    <a:pt x="3198" y="3075"/>
                  </a:lnTo>
                  <a:lnTo>
                    <a:pt x="3202" y="3072"/>
                  </a:lnTo>
                  <a:lnTo>
                    <a:pt x="3205" y="3071"/>
                  </a:lnTo>
                  <a:lnTo>
                    <a:pt x="3203" y="3062"/>
                  </a:lnTo>
                  <a:lnTo>
                    <a:pt x="3198" y="3058"/>
                  </a:lnTo>
                  <a:lnTo>
                    <a:pt x="3194" y="3056"/>
                  </a:lnTo>
                  <a:lnTo>
                    <a:pt x="3184" y="3048"/>
                  </a:lnTo>
                  <a:lnTo>
                    <a:pt x="3178" y="3050"/>
                  </a:lnTo>
                  <a:lnTo>
                    <a:pt x="3157" y="3066"/>
                  </a:lnTo>
                  <a:lnTo>
                    <a:pt x="3146" y="3068"/>
                  </a:lnTo>
                  <a:lnTo>
                    <a:pt x="3145" y="3069"/>
                  </a:lnTo>
                  <a:lnTo>
                    <a:pt x="3135" y="3078"/>
                  </a:lnTo>
                  <a:lnTo>
                    <a:pt x="3132" y="3080"/>
                  </a:lnTo>
                  <a:lnTo>
                    <a:pt x="3129" y="3081"/>
                  </a:lnTo>
                  <a:lnTo>
                    <a:pt x="3126" y="3081"/>
                  </a:lnTo>
                  <a:lnTo>
                    <a:pt x="3130" y="3077"/>
                  </a:lnTo>
                  <a:lnTo>
                    <a:pt x="3138" y="3072"/>
                  </a:lnTo>
                  <a:lnTo>
                    <a:pt x="3144" y="3062"/>
                  </a:lnTo>
                  <a:lnTo>
                    <a:pt x="3149" y="3059"/>
                  </a:lnTo>
                  <a:lnTo>
                    <a:pt x="3168" y="3053"/>
                  </a:lnTo>
                  <a:lnTo>
                    <a:pt x="3173" y="3049"/>
                  </a:lnTo>
                  <a:lnTo>
                    <a:pt x="3177" y="3045"/>
                  </a:lnTo>
                  <a:lnTo>
                    <a:pt x="3179" y="3040"/>
                  </a:lnTo>
                  <a:lnTo>
                    <a:pt x="3184" y="3035"/>
                  </a:lnTo>
                  <a:lnTo>
                    <a:pt x="3188" y="3031"/>
                  </a:lnTo>
                  <a:lnTo>
                    <a:pt x="3222" y="3009"/>
                  </a:lnTo>
                  <a:lnTo>
                    <a:pt x="3225" y="3004"/>
                  </a:lnTo>
                  <a:lnTo>
                    <a:pt x="3226" y="3002"/>
                  </a:lnTo>
                  <a:lnTo>
                    <a:pt x="3229" y="2986"/>
                  </a:lnTo>
                  <a:lnTo>
                    <a:pt x="3241" y="2973"/>
                  </a:lnTo>
                  <a:lnTo>
                    <a:pt x="3246" y="2970"/>
                  </a:lnTo>
                  <a:lnTo>
                    <a:pt x="3251" y="2969"/>
                  </a:lnTo>
                  <a:lnTo>
                    <a:pt x="3248" y="2974"/>
                  </a:lnTo>
                  <a:lnTo>
                    <a:pt x="3238" y="2984"/>
                  </a:lnTo>
                  <a:lnTo>
                    <a:pt x="3234" y="2987"/>
                  </a:lnTo>
                  <a:lnTo>
                    <a:pt x="3232" y="2990"/>
                  </a:lnTo>
                  <a:lnTo>
                    <a:pt x="3232" y="2993"/>
                  </a:lnTo>
                  <a:lnTo>
                    <a:pt x="3234" y="2998"/>
                  </a:lnTo>
                  <a:lnTo>
                    <a:pt x="3235" y="2999"/>
                  </a:lnTo>
                  <a:lnTo>
                    <a:pt x="3252" y="3002"/>
                  </a:lnTo>
                  <a:lnTo>
                    <a:pt x="3262" y="3001"/>
                  </a:lnTo>
                  <a:lnTo>
                    <a:pt x="3264" y="3003"/>
                  </a:lnTo>
                  <a:lnTo>
                    <a:pt x="3266" y="3005"/>
                  </a:lnTo>
                  <a:lnTo>
                    <a:pt x="3273" y="3004"/>
                  </a:lnTo>
                  <a:lnTo>
                    <a:pt x="3271" y="3009"/>
                  </a:lnTo>
                  <a:lnTo>
                    <a:pt x="3267" y="3014"/>
                  </a:lnTo>
                  <a:lnTo>
                    <a:pt x="3263" y="3018"/>
                  </a:lnTo>
                  <a:lnTo>
                    <a:pt x="3241" y="3024"/>
                  </a:lnTo>
                  <a:lnTo>
                    <a:pt x="3229" y="3032"/>
                  </a:lnTo>
                  <a:lnTo>
                    <a:pt x="3227" y="3035"/>
                  </a:lnTo>
                  <a:lnTo>
                    <a:pt x="3226" y="3041"/>
                  </a:lnTo>
                  <a:lnTo>
                    <a:pt x="3222" y="3044"/>
                  </a:lnTo>
                  <a:lnTo>
                    <a:pt x="3212" y="3050"/>
                  </a:lnTo>
                  <a:lnTo>
                    <a:pt x="3210" y="3050"/>
                  </a:lnTo>
                  <a:lnTo>
                    <a:pt x="3209" y="3052"/>
                  </a:lnTo>
                  <a:lnTo>
                    <a:pt x="3209" y="3056"/>
                  </a:lnTo>
                  <a:lnTo>
                    <a:pt x="3209" y="3060"/>
                  </a:lnTo>
                  <a:lnTo>
                    <a:pt x="3209" y="3063"/>
                  </a:lnTo>
                  <a:lnTo>
                    <a:pt x="3210" y="3065"/>
                  </a:lnTo>
                  <a:lnTo>
                    <a:pt x="3211" y="3066"/>
                  </a:lnTo>
                  <a:lnTo>
                    <a:pt x="3234" y="3060"/>
                  </a:lnTo>
                  <a:lnTo>
                    <a:pt x="3238" y="3060"/>
                  </a:lnTo>
                  <a:lnTo>
                    <a:pt x="3242" y="3061"/>
                  </a:lnTo>
                  <a:lnTo>
                    <a:pt x="3246" y="3065"/>
                  </a:lnTo>
                  <a:lnTo>
                    <a:pt x="3250" y="3067"/>
                  </a:lnTo>
                  <a:lnTo>
                    <a:pt x="3260" y="3066"/>
                  </a:lnTo>
                  <a:lnTo>
                    <a:pt x="3263" y="3071"/>
                  </a:lnTo>
                  <a:lnTo>
                    <a:pt x="3263" y="3072"/>
                  </a:lnTo>
                  <a:lnTo>
                    <a:pt x="3262" y="3075"/>
                  </a:lnTo>
                  <a:lnTo>
                    <a:pt x="3261" y="3076"/>
                  </a:lnTo>
                  <a:lnTo>
                    <a:pt x="3263" y="3076"/>
                  </a:lnTo>
                  <a:lnTo>
                    <a:pt x="3265" y="3077"/>
                  </a:lnTo>
                  <a:lnTo>
                    <a:pt x="3267" y="3079"/>
                  </a:lnTo>
                  <a:lnTo>
                    <a:pt x="3267" y="3083"/>
                  </a:lnTo>
                  <a:lnTo>
                    <a:pt x="3266" y="3087"/>
                  </a:lnTo>
                  <a:lnTo>
                    <a:pt x="3264" y="3089"/>
                  </a:lnTo>
                  <a:lnTo>
                    <a:pt x="3247" y="3090"/>
                  </a:lnTo>
                  <a:lnTo>
                    <a:pt x="3236" y="3093"/>
                  </a:lnTo>
                  <a:lnTo>
                    <a:pt x="3232" y="3097"/>
                  </a:lnTo>
                  <a:lnTo>
                    <a:pt x="3226" y="3108"/>
                  </a:lnTo>
                  <a:lnTo>
                    <a:pt x="3223" y="3113"/>
                  </a:lnTo>
                  <a:lnTo>
                    <a:pt x="3218" y="3116"/>
                  </a:lnTo>
                  <a:lnTo>
                    <a:pt x="3213" y="3118"/>
                  </a:lnTo>
                  <a:lnTo>
                    <a:pt x="3207" y="3118"/>
                  </a:lnTo>
                  <a:lnTo>
                    <a:pt x="3203" y="3114"/>
                  </a:lnTo>
                  <a:lnTo>
                    <a:pt x="3199" y="3113"/>
                  </a:lnTo>
                  <a:lnTo>
                    <a:pt x="3179" y="3125"/>
                  </a:lnTo>
                  <a:lnTo>
                    <a:pt x="3172" y="3137"/>
                  </a:lnTo>
                  <a:lnTo>
                    <a:pt x="3169" y="3140"/>
                  </a:lnTo>
                  <a:lnTo>
                    <a:pt x="3160" y="3143"/>
                  </a:lnTo>
                  <a:lnTo>
                    <a:pt x="3155" y="3146"/>
                  </a:lnTo>
                  <a:lnTo>
                    <a:pt x="3152" y="3151"/>
                  </a:lnTo>
                  <a:lnTo>
                    <a:pt x="3151" y="3152"/>
                  </a:lnTo>
                  <a:lnTo>
                    <a:pt x="3149" y="3154"/>
                  </a:lnTo>
                  <a:lnTo>
                    <a:pt x="3148" y="3156"/>
                  </a:lnTo>
                  <a:lnTo>
                    <a:pt x="3148" y="3158"/>
                  </a:lnTo>
                  <a:lnTo>
                    <a:pt x="3147" y="3160"/>
                  </a:lnTo>
                  <a:lnTo>
                    <a:pt x="3147" y="3161"/>
                  </a:lnTo>
                  <a:lnTo>
                    <a:pt x="3146" y="3162"/>
                  </a:lnTo>
                  <a:lnTo>
                    <a:pt x="3144" y="3163"/>
                  </a:lnTo>
                  <a:lnTo>
                    <a:pt x="3143" y="3167"/>
                  </a:lnTo>
                  <a:lnTo>
                    <a:pt x="3142" y="3170"/>
                  </a:lnTo>
                  <a:lnTo>
                    <a:pt x="3139" y="3171"/>
                  </a:lnTo>
                  <a:lnTo>
                    <a:pt x="3139" y="3174"/>
                  </a:lnTo>
                  <a:lnTo>
                    <a:pt x="3142" y="3174"/>
                  </a:lnTo>
                  <a:lnTo>
                    <a:pt x="3144" y="3173"/>
                  </a:lnTo>
                  <a:lnTo>
                    <a:pt x="3146" y="3170"/>
                  </a:lnTo>
                  <a:lnTo>
                    <a:pt x="3148" y="3168"/>
                  </a:lnTo>
                  <a:lnTo>
                    <a:pt x="3151" y="3165"/>
                  </a:lnTo>
                  <a:lnTo>
                    <a:pt x="3157" y="3165"/>
                  </a:lnTo>
                  <a:lnTo>
                    <a:pt x="3160" y="3163"/>
                  </a:lnTo>
                  <a:lnTo>
                    <a:pt x="3165" y="3159"/>
                  </a:lnTo>
                  <a:lnTo>
                    <a:pt x="3170" y="3156"/>
                  </a:lnTo>
                  <a:lnTo>
                    <a:pt x="3181" y="3155"/>
                  </a:lnTo>
                  <a:lnTo>
                    <a:pt x="3180" y="3160"/>
                  </a:lnTo>
                  <a:lnTo>
                    <a:pt x="3177" y="3161"/>
                  </a:lnTo>
                  <a:lnTo>
                    <a:pt x="3174" y="3161"/>
                  </a:lnTo>
                  <a:lnTo>
                    <a:pt x="3172" y="3163"/>
                  </a:lnTo>
                  <a:lnTo>
                    <a:pt x="3171" y="3166"/>
                  </a:lnTo>
                  <a:lnTo>
                    <a:pt x="3174" y="3168"/>
                  </a:lnTo>
                  <a:lnTo>
                    <a:pt x="3181" y="3169"/>
                  </a:lnTo>
                  <a:lnTo>
                    <a:pt x="3181" y="3171"/>
                  </a:lnTo>
                  <a:lnTo>
                    <a:pt x="3167" y="3173"/>
                  </a:lnTo>
                  <a:lnTo>
                    <a:pt x="3159" y="3177"/>
                  </a:lnTo>
                  <a:lnTo>
                    <a:pt x="3155" y="3185"/>
                  </a:lnTo>
                  <a:lnTo>
                    <a:pt x="3159" y="3195"/>
                  </a:lnTo>
                  <a:lnTo>
                    <a:pt x="3165" y="3200"/>
                  </a:lnTo>
                  <a:lnTo>
                    <a:pt x="3180" y="3203"/>
                  </a:lnTo>
                  <a:lnTo>
                    <a:pt x="3179" y="3207"/>
                  </a:lnTo>
                  <a:lnTo>
                    <a:pt x="3177" y="3209"/>
                  </a:lnTo>
                  <a:lnTo>
                    <a:pt x="3174" y="3210"/>
                  </a:lnTo>
                  <a:lnTo>
                    <a:pt x="3174" y="3210"/>
                  </a:lnTo>
                  <a:lnTo>
                    <a:pt x="3169" y="3211"/>
                  </a:lnTo>
                  <a:lnTo>
                    <a:pt x="3167" y="3212"/>
                  </a:lnTo>
                  <a:lnTo>
                    <a:pt x="3164" y="3219"/>
                  </a:lnTo>
                  <a:lnTo>
                    <a:pt x="3162" y="3220"/>
                  </a:lnTo>
                  <a:lnTo>
                    <a:pt x="3159" y="3218"/>
                  </a:lnTo>
                  <a:lnTo>
                    <a:pt x="3155" y="3213"/>
                  </a:lnTo>
                  <a:lnTo>
                    <a:pt x="3145" y="3210"/>
                  </a:lnTo>
                  <a:lnTo>
                    <a:pt x="3145" y="3208"/>
                  </a:lnTo>
                  <a:lnTo>
                    <a:pt x="3126" y="3216"/>
                  </a:lnTo>
                  <a:lnTo>
                    <a:pt x="3122" y="3214"/>
                  </a:lnTo>
                  <a:lnTo>
                    <a:pt x="3117" y="3210"/>
                  </a:lnTo>
                  <a:lnTo>
                    <a:pt x="3111" y="3207"/>
                  </a:lnTo>
                  <a:lnTo>
                    <a:pt x="3106" y="3206"/>
                  </a:lnTo>
                  <a:lnTo>
                    <a:pt x="3101" y="3208"/>
                  </a:lnTo>
                  <a:lnTo>
                    <a:pt x="3096" y="3211"/>
                  </a:lnTo>
                  <a:lnTo>
                    <a:pt x="3094" y="3212"/>
                  </a:lnTo>
                  <a:lnTo>
                    <a:pt x="3091" y="3210"/>
                  </a:lnTo>
                  <a:lnTo>
                    <a:pt x="3085" y="3204"/>
                  </a:lnTo>
                  <a:lnTo>
                    <a:pt x="3083" y="3203"/>
                  </a:lnTo>
                  <a:lnTo>
                    <a:pt x="3060" y="3208"/>
                  </a:lnTo>
                  <a:lnTo>
                    <a:pt x="3050" y="3213"/>
                  </a:lnTo>
                  <a:lnTo>
                    <a:pt x="3048" y="3215"/>
                  </a:lnTo>
                  <a:lnTo>
                    <a:pt x="3045" y="3221"/>
                  </a:lnTo>
                  <a:lnTo>
                    <a:pt x="3043" y="3223"/>
                  </a:lnTo>
                  <a:lnTo>
                    <a:pt x="3042" y="3224"/>
                  </a:lnTo>
                  <a:lnTo>
                    <a:pt x="3042" y="3228"/>
                  </a:lnTo>
                  <a:lnTo>
                    <a:pt x="3043" y="3233"/>
                  </a:lnTo>
                  <a:lnTo>
                    <a:pt x="3044" y="3236"/>
                  </a:lnTo>
                  <a:lnTo>
                    <a:pt x="3046" y="3239"/>
                  </a:lnTo>
                  <a:lnTo>
                    <a:pt x="3048" y="3240"/>
                  </a:lnTo>
                  <a:lnTo>
                    <a:pt x="3074" y="3246"/>
                  </a:lnTo>
                  <a:lnTo>
                    <a:pt x="3077" y="3251"/>
                  </a:lnTo>
                  <a:lnTo>
                    <a:pt x="3077" y="3252"/>
                  </a:lnTo>
                  <a:lnTo>
                    <a:pt x="3078" y="3252"/>
                  </a:lnTo>
                  <a:lnTo>
                    <a:pt x="3079" y="3253"/>
                  </a:lnTo>
                  <a:lnTo>
                    <a:pt x="3079" y="3255"/>
                  </a:lnTo>
                  <a:lnTo>
                    <a:pt x="3079" y="3258"/>
                  </a:lnTo>
                  <a:lnTo>
                    <a:pt x="3079" y="3258"/>
                  </a:lnTo>
                  <a:lnTo>
                    <a:pt x="3078" y="3259"/>
                  </a:lnTo>
                  <a:lnTo>
                    <a:pt x="3078" y="3260"/>
                  </a:lnTo>
                  <a:lnTo>
                    <a:pt x="3078" y="3268"/>
                  </a:lnTo>
                  <a:lnTo>
                    <a:pt x="3078" y="3271"/>
                  </a:lnTo>
                  <a:lnTo>
                    <a:pt x="3076" y="3273"/>
                  </a:lnTo>
                  <a:lnTo>
                    <a:pt x="3075" y="3257"/>
                  </a:lnTo>
                  <a:lnTo>
                    <a:pt x="3073" y="3253"/>
                  </a:lnTo>
                  <a:lnTo>
                    <a:pt x="3068" y="3252"/>
                  </a:lnTo>
                  <a:lnTo>
                    <a:pt x="3057" y="3254"/>
                  </a:lnTo>
                  <a:lnTo>
                    <a:pt x="3051" y="3253"/>
                  </a:lnTo>
                  <a:lnTo>
                    <a:pt x="3042" y="3243"/>
                  </a:lnTo>
                  <a:lnTo>
                    <a:pt x="3037" y="3240"/>
                  </a:lnTo>
                  <a:lnTo>
                    <a:pt x="3032" y="3239"/>
                  </a:lnTo>
                  <a:lnTo>
                    <a:pt x="3024" y="3247"/>
                  </a:lnTo>
                  <a:lnTo>
                    <a:pt x="3018" y="3251"/>
                  </a:lnTo>
                  <a:lnTo>
                    <a:pt x="3012" y="3253"/>
                  </a:lnTo>
                  <a:lnTo>
                    <a:pt x="3008" y="3252"/>
                  </a:lnTo>
                  <a:lnTo>
                    <a:pt x="3024" y="3234"/>
                  </a:lnTo>
                  <a:lnTo>
                    <a:pt x="3026" y="3229"/>
                  </a:lnTo>
                  <a:lnTo>
                    <a:pt x="3029" y="3217"/>
                  </a:lnTo>
                  <a:lnTo>
                    <a:pt x="3027" y="3209"/>
                  </a:lnTo>
                  <a:lnTo>
                    <a:pt x="3019" y="3199"/>
                  </a:lnTo>
                  <a:lnTo>
                    <a:pt x="3004" y="3186"/>
                  </a:lnTo>
                  <a:lnTo>
                    <a:pt x="3005" y="3180"/>
                  </a:lnTo>
                  <a:lnTo>
                    <a:pt x="3005" y="3174"/>
                  </a:lnTo>
                  <a:lnTo>
                    <a:pt x="3003" y="3169"/>
                  </a:lnTo>
                  <a:lnTo>
                    <a:pt x="3001" y="3164"/>
                  </a:lnTo>
                  <a:lnTo>
                    <a:pt x="2994" y="3155"/>
                  </a:lnTo>
                  <a:lnTo>
                    <a:pt x="2991" y="3148"/>
                  </a:lnTo>
                  <a:lnTo>
                    <a:pt x="2991" y="3142"/>
                  </a:lnTo>
                  <a:lnTo>
                    <a:pt x="2987" y="3140"/>
                  </a:lnTo>
                  <a:lnTo>
                    <a:pt x="2982" y="3142"/>
                  </a:lnTo>
                  <a:lnTo>
                    <a:pt x="2973" y="3150"/>
                  </a:lnTo>
                  <a:lnTo>
                    <a:pt x="2963" y="3152"/>
                  </a:lnTo>
                  <a:lnTo>
                    <a:pt x="2958" y="3154"/>
                  </a:lnTo>
                  <a:lnTo>
                    <a:pt x="2954" y="3159"/>
                  </a:lnTo>
                  <a:lnTo>
                    <a:pt x="2959" y="3160"/>
                  </a:lnTo>
                  <a:lnTo>
                    <a:pt x="2963" y="3162"/>
                  </a:lnTo>
                  <a:lnTo>
                    <a:pt x="2965" y="3168"/>
                  </a:lnTo>
                  <a:lnTo>
                    <a:pt x="2967" y="3176"/>
                  </a:lnTo>
                  <a:lnTo>
                    <a:pt x="2965" y="3175"/>
                  </a:lnTo>
                  <a:lnTo>
                    <a:pt x="2961" y="3167"/>
                  </a:lnTo>
                  <a:lnTo>
                    <a:pt x="2959" y="3164"/>
                  </a:lnTo>
                  <a:lnTo>
                    <a:pt x="2955" y="3164"/>
                  </a:lnTo>
                  <a:lnTo>
                    <a:pt x="2952" y="3165"/>
                  </a:lnTo>
                  <a:lnTo>
                    <a:pt x="2949" y="3169"/>
                  </a:lnTo>
                  <a:lnTo>
                    <a:pt x="2942" y="3182"/>
                  </a:lnTo>
                  <a:lnTo>
                    <a:pt x="2940" y="3185"/>
                  </a:lnTo>
                  <a:lnTo>
                    <a:pt x="2938" y="3184"/>
                  </a:lnTo>
                  <a:lnTo>
                    <a:pt x="2936" y="3180"/>
                  </a:lnTo>
                  <a:lnTo>
                    <a:pt x="2936" y="3176"/>
                  </a:lnTo>
                  <a:lnTo>
                    <a:pt x="2936" y="3172"/>
                  </a:lnTo>
                  <a:lnTo>
                    <a:pt x="2938" y="3169"/>
                  </a:lnTo>
                  <a:lnTo>
                    <a:pt x="2935" y="3169"/>
                  </a:lnTo>
                  <a:lnTo>
                    <a:pt x="2931" y="3171"/>
                  </a:lnTo>
                  <a:lnTo>
                    <a:pt x="2927" y="3175"/>
                  </a:lnTo>
                  <a:lnTo>
                    <a:pt x="2924" y="3180"/>
                  </a:lnTo>
                  <a:lnTo>
                    <a:pt x="2921" y="3180"/>
                  </a:lnTo>
                  <a:lnTo>
                    <a:pt x="2917" y="3179"/>
                  </a:lnTo>
                  <a:lnTo>
                    <a:pt x="2914" y="3179"/>
                  </a:lnTo>
                  <a:lnTo>
                    <a:pt x="2915" y="3186"/>
                  </a:lnTo>
                  <a:lnTo>
                    <a:pt x="2907" y="3186"/>
                  </a:lnTo>
                  <a:lnTo>
                    <a:pt x="2902" y="3189"/>
                  </a:lnTo>
                  <a:lnTo>
                    <a:pt x="2900" y="3196"/>
                  </a:lnTo>
                  <a:lnTo>
                    <a:pt x="2903" y="3203"/>
                  </a:lnTo>
                  <a:lnTo>
                    <a:pt x="2910" y="3205"/>
                  </a:lnTo>
                  <a:lnTo>
                    <a:pt x="2923" y="3205"/>
                  </a:lnTo>
                  <a:lnTo>
                    <a:pt x="2920" y="3204"/>
                  </a:lnTo>
                  <a:lnTo>
                    <a:pt x="2919" y="3200"/>
                  </a:lnTo>
                  <a:lnTo>
                    <a:pt x="2918" y="3196"/>
                  </a:lnTo>
                  <a:lnTo>
                    <a:pt x="2917" y="3191"/>
                  </a:lnTo>
                  <a:lnTo>
                    <a:pt x="2919" y="3193"/>
                  </a:lnTo>
                  <a:lnTo>
                    <a:pt x="2921" y="3197"/>
                  </a:lnTo>
                  <a:lnTo>
                    <a:pt x="2921" y="3198"/>
                  </a:lnTo>
                  <a:lnTo>
                    <a:pt x="2924" y="3199"/>
                  </a:lnTo>
                  <a:lnTo>
                    <a:pt x="2929" y="3203"/>
                  </a:lnTo>
                  <a:lnTo>
                    <a:pt x="2934" y="3203"/>
                  </a:lnTo>
                  <a:lnTo>
                    <a:pt x="2949" y="3198"/>
                  </a:lnTo>
                  <a:lnTo>
                    <a:pt x="2951" y="3196"/>
                  </a:lnTo>
                  <a:lnTo>
                    <a:pt x="2953" y="3195"/>
                  </a:lnTo>
                  <a:lnTo>
                    <a:pt x="2953" y="3197"/>
                  </a:lnTo>
                  <a:lnTo>
                    <a:pt x="2953" y="3200"/>
                  </a:lnTo>
                  <a:lnTo>
                    <a:pt x="2953" y="3200"/>
                  </a:lnTo>
                  <a:lnTo>
                    <a:pt x="2905" y="3214"/>
                  </a:lnTo>
                  <a:lnTo>
                    <a:pt x="2903" y="3219"/>
                  </a:lnTo>
                  <a:lnTo>
                    <a:pt x="2903" y="3226"/>
                  </a:lnTo>
                  <a:lnTo>
                    <a:pt x="2907" y="3232"/>
                  </a:lnTo>
                  <a:lnTo>
                    <a:pt x="2909" y="3235"/>
                  </a:lnTo>
                  <a:lnTo>
                    <a:pt x="2911" y="3236"/>
                  </a:lnTo>
                  <a:lnTo>
                    <a:pt x="2913" y="3236"/>
                  </a:lnTo>
                  <a:lnTo>
                    <a:pt x="2918" y="3233"/>
                  </a:lnTo>
                  <a:lnTo>
                    <a:pt x="2939" y="3231"/>
                  </a:lnTo>
                  <a:lnTo>
                    <a:pt x="2948" y="3226"/>
                  </a:lnTo>
                  <a:lnTo>
                    <a:pt x="2952" y="3225"/>
                  </a:lnTo>
                  <a:lnTo>
                    <a:pt x="2945" y="3234"/>
                  </a:lnTo>
                  <a:lnTo>
                    <a:pt x="2918" y="3239"/>
                  </a:lnTo>
                  <a:lnTo>
                    <a:pt x="2907" y="3248"/>
                  </a:lnTo>
                  <a:lnTo>
                    <a:pt x="2899" y="3251"/>
                  </a:lnTo>
                  <a:lnTo>
                    <a:pt x="2896" y="3254"/>
                  </a:lnTo>
                  <a:lnTo>
                    <a:pt x="2891" y="3264"/>
                  </a:lnTo>
                  <a:lnTo>
                    <a:pt x="2890" y="3255"/>
                  </a:lnTo>
                  <a:lnTo>
                    <a:pt x="2893" y="3247"/>
                  </a:lnTo>
                  <a:lnTo>
                    <a:pt x="2896" y="3240"/>
                  </a:lnTo>
                  <a:lnTo>
                    <a:pt x="2900" y="3235"/>
                  </a:lnTo>
                  <a:lnTo>
                    <a:pt x="2898" y="3232"/>
                  </a:lnTo>
                  <a:lnTo>
                    <a:pt x="2897" y="3228"/>
                  </a:lnTo>
                  <a:lnTo>
                    <a:pt x="2896" y="3224"/>
                  </a:lnTo>
                  <a:lnTo>
                    <a:pt x="2895" y="3220"/>
                  </a:lnTo>
                  <a:lnTo>
                    <a:pt x="2885" y="3208"/>
                  </a:lnTo>
                  <a:lnTo>
                    <a:pt x="2879" y="3203"/>
                  </a:lnTo>
                  <a:lnTo>
                    <a:pt x="2877" y="3203"/>
                  </a:lnTo>
                  <a:lnTo>
                    <a:pt x="2876" y="3203"/>
                  </a:lnTo>
                  <a:lnTo>
                    <a:pt x="2872" y="3210"/>
                  </a:lnTo>
                  <a:lnTo>
                    <a:pt x="2871" y="3214"/>
                  </a:lnTo>
                  <a:lnTo>
                    <a:pt x="2872" y="3218"/>
                  </a:lnTo>
                  <a:lnTo>
                    <a:pt x="2876" y="3218"/>
                  </a:lnTo>
                  <a:lnTo>
                    <a:pt x="2876" y="3220"/>
                  </a:lnTo>
                  <a:lnTo>
                    <a:pt x="2871" y="3220"/>
                  </a:lnTo>
                  <a:lnTo>
                    <a:pt x="2865" y="3218"/>
                  </a:lnTo>
                  <a:lnTo>
                    <a:pt x="2859" y="3219"/>
                  </a:lnTo>
                  <a:lnTo>
                    <a:pt x="2857" y="3227"/>
                  </a:lnTo>
                  <a:lnTo>
                    <a:pt x="2854" y="3224"/>
                  </a:lnTo>
                  <a:lnTo>
                    <a:pt x="2851" y="3219"/>
                  </a:lnTo>
                  <a:lnTo>
                    <a:pt x="2848" y="3216"/>
                  </a:lnTo>
                  <a:lnTo>
                    <a:pt x="2843" y="3215"/>
                  </a:lnTo>
                  <a:lnTo>
                    <a:pt x="2842" y="3216"/>
                  </a:lnTo>
                  <a:lnTo>
                    <a:pt x="2839" y="3218"/>
                  </a:lnTo>
                  <a:lnTo>
                    <a:pt x="2835" y="3221"/>
                  </a:lnTo>
                  <a:lnTo>
                    <a:pt x="2832" y="3224"/>
                  </a:lnTo>
                  <a:lnTo>
                    <a:pt x="2824" y="3219"/>
                  </a:lnTo>
                  <a:lnTo>
                    <a:pt x="2820" y="3223"/>
                  </a:lnTo>
                  <a:lnTo>
                    <a:pt x="2819" y="3229"/>
                  </a:lnTo>
                  <a:lnTo>
                    <a:pt x="2825" y="3234"/>
                  </a:lnTo>
                  <a:lnTo>
                    <a:pt x="2826" y="3236"/>
                  </a:lnTo>
                  <a:lnTo>
                    <a:pt x="2827" y="3239"/>
                  </a:lnTo>
                  <a:lnTo>
                    <a:pt x="2828" y="3242"/>
                  </a:lnTo>
                  <a:lnTo>
                    <a:pt x="2830" y="3244"/>
                  </a:lnTo>
                  <a:lnTo>
                    <a:pt x="2833" y="3244"/>
                  </a:lnTo>
                  <a:lnTo>
                    <a:pt x="2839" y="3244"/>
                  </a:lnTo>
                  <a:lnTo>
                    <a:pt x="2835" y="3249"/>
                  </a:lnTo>
                  <a:lnTo>
                    <a:pt x="2829" y="3253"/>
                  </a:lnTo>
                  <a:lnTo>
                    <a:pt x="2799" y="3260"/>
                  </a:lnTo>
                  <a:lnTo>
                    <a:pt x="2793" y="3264"/>
                  </a:lnTo>
                  <a:lnTo>
                    <a:pt x="2797" y="3266"/>
                  </a:lnTo>
                  <a:lnTo>
                    <a:pt x="2801" y="3269"/>
                  </a:lnTo>
                  <a:lnTo>
                    <a:pt x="2808" y="3278"/>
                  </a:lnTo>
                  <a:lnTo>
                    <a:pt x="2812" y="3284"/>
                  </a:lnTo>
                  <a:lnTo>
                    <a:pt x="2813" y="3288"/>
                  </a:lnTo>
                  <a:lnTo>
                    <a:pt x="2815" y="3296"/>
                  </a:lnTo>
                  <a:lnTo>
                    <a:pt x="2817" y="3297"/>
                  </a:lnTo>
                  <a:lnTo>
                    <a:pt x="2820" y="3295"/>
                  </a:lnTo>
                  <a:lnTo>
                    <a:pt x="2856" y="3293"/>
                  </a:lnTo>
                  <a:lnTo>
                    <a:pt x="2867" y="3293"/>
                  </a:lnTo>
                  <a:lnTo>
                    <a:pt x="2852" y="3296"/>
                  </a:lnTo>
                  <a:lnTo>
                    <a:pt x="2814" y="3304"/>
                  </a:lnTo>
                  <a:lnTo>
                    <a:pt x="2809" y="3306"/>
                  </a:lnTo>
                  <a:lnTo>
                    <a:pt x="2807" y="3311"/>
                  </a:lnTo>
                  <a:lnTo>
                    <a:pt x="2809" y="3317"/>
                  </a:lnTo>
                  <a:lnTo>
                    <a:pt x="2817" y="3322"/>
                  </a:lnTo>
                  <a:lnTo>
                    <a:pt x="2819" y="3329"/>
                  </a:lnTo>
                  <a:lnTo>
                    <a:pt x="2804" y="3321"/>
                  </a:lnTo>
                  <a:lnTo>
                    <a:pt x="2755" y="3314"/>
                  </a:lnTo>
                  <a:lnTo>
                    <a:pt x="2755" y="3317"/>
                  </a:lnTo>
                  <a:lnTo>
                    <a:pt x="2763" y="3321"/>
                  </a:lnTo>
                  <a:lnTo>
                    <a:pt x="2766" y="3323"/>
                  </a:lnTo>
                  <a:lnTo>
                    <a:pt x="2768" y="3329"/>
                  </a:lnTo>
                  <a:lnTo>
                    <a:pt x="2767" y="3332"/>
                  </a:lnTo>
                  <a:lnTo>
                    <a:pt x="2768" y="3333"/>
                  </a:lnTo>
                  <a:lnTo>
                    <a:pt x="2769" y="3334"/>
                  </a:lnTo>
                  <a:lnTo>
                    <a:pt x="2769" y="3336"/>
                  </a:lnTo>
                  <a:lnTo>
                    <a:pt x="2768" y="3338"/>
                  </a:lnTo>
                  <a:lnTo>
                    <a:pt x="2766" y="3340"/>
                  </a:lnTo>
                  <a:lnTo>
                    <a:pt x="2763" y="3341"/>
                  </a:lnTo>
                  <a:lnTo>
                    <a:pt x="2763" y="3339"/>
                  </a:lnTo>
                  <a:lnTo>
                    <a:pt x="2763" y="3335"/>
                  </a:lnTo>
                  <a:lnTo>
                    <a:pt x="2764" y="3333"/>
                  </a:lnTo>
                  <a:lnTo>
                    <a:pt x="2759" y="3330"/>
                  </a:lnTo>
                  <a:lnTo>
                    <a:pt x="2756" y="3324"/>
                  </a:lnTo>
                  <a:lnTo>
                    <a:pt x="2752" y="3320"/>
                  </a:lnTo>
                  <a:lnTo>
                    <a:pt x="2748" y="3322"/>
                  </a:lnTo>
                  <a:lnTo>
                    <a:pt x="2744" y="3327"/>
                  </a:lnTo>
                  <a:lnTo>
                    <a:pt x="2746" y="3330"/>
                  </a:lnTo>
                  <a:lnTo>
                    <a:pt x="2750" y="3335"/>
                  </a:lnTo>
                  <a:lnTo>
                    <a:pt x="2752" y="3342"/>
                  </a:lnTo>
                  <a:lnTo>
                    <a:pt x="2752" y="3343"/>
                  </a:lnTo>
                  <a:lnTo>
                    <a:pt x="2753" y="3344"/>
                  </a:lnTo>
                  <a:lnTo>
                    <a:pt x="2754" y="3345"/>
                  </a:lnTo>
                  <a:lnTo>
                    <a:pt x="2753" y="3348"/>
                  </a:lnTo>
                  <a:lnTo>
                    <a:pt x="2753" y="3351"/>
                  </a:lnTo>
                  <a:lnTo>
                    <a:pt x="2753" y="3354"/>
                  </a:lnTo>
                  <a:lnTo>
                    <a:pt x="2753" y="3356"/>
                  </a:lnTo>
                  <a:lnTo>
                    <a:pt x="2755" y="3358"/>
                  </a:lnTo>
                  <a:lnTo>
                    <a:pt x="2759" y="3360"/>
                  </a:lnTo>
                  <a:lnTo>
                    <a:pt x="2766" y="3360"/>
                  </a:lnTo>
                  <a:lnTo>
                    <a:pt x="2787" y="3356"/>
                  </a:lnTo>
                  <a:lnTo>
                    <a:pt x="2792" y="3360"/>
                  </a:lnTo>
                  <a:lnTo>
                    <a:pt x="2787" y="3364"/>
                  </a:lnTo>
                  <a:lnTo>
                    <a:pt x="2774" y="3364"/>
                  </a:lnTo>
                  <a:lnTo>
                    <a:pt x="2768" y="3367"/>
                  </a:lnTo>
                  <a:lnTo>
                    <a:pt x="2772" y="3370"/>
                  </a:lnTo>
                  <a:lnTo>
                    <a:pt x="2773" y="3371"/>
                  </a:lnTo>
                  <a:lnTo>
                    <a:pt x="2774" y="3372"/>
                  </a:lnTo>
                  <a:lnTo>
                    <a:pt x="2776" y="3376"/>
                  </a:lnTo>
                  <a:lnTo>
                    <a:pt x="2777" y="3376"/>
                  </a:lnTo>
                  <a:lnTo>
                    <a:pt x="2780" y="3376"/>
                  </a:lnTo>
                  <a:lnTo>
                    <a:pt x="2795" y="3369"/>
                  </a:lnTo>
                  <a:lnTo>
                    <a:pt x="2805" y="3359"/>
                  </a:lnTo>
                  <a:lnTo>
                    <a:pt x="2811" y="3360"/>
                  </a:lnTo>
                  <a:lnTo>
                    <a:pt x="2802" y="3367"/>
                  </a:lnTo>
                  <a:lnTo>
                    <a:pt x="2800" y="3371"/>
                  </a:lnTo>
                  <a:lnTo>
                    <a:pt x="2804" y="3374"/>
                  </a:lnTo>
                  <a:lnTo>
                    <a:pt x="2809" y="3374"/>
                  </a:lnTo>
                  <a:lnTo>
                    <a:pt x="2819" y="3371"/>
                  </a:lnTo>
                  <a:lnTo>
                    <a:pt x="2824" y="3374"/>
                  </a:lnTo>
                  <a:lnTo>
                    <a:pt x="2820" y="3379"/>
                  </a:lnTo>
                  <a:lnTo>
                    <a:pt x="2783" y="3381"/>
                  </a:lnTo>
                  <a:lnTo>
                    <a:pt x="2785" y="3385"/>
                  </a:lnTo>
                  <a:lnTo>
                    <a:pt x="2794" y="3400"/>
                  </a:lnTo>
                  <a:lnTo>
                    <a:pt x="2797" y="3403"/>
                  </a:lnTo>
                  <a:lnTo>
                    <a:pt x="2800" y="3405"/>
                  </a:lnTo>
                  <a:lnTo>
                    <a:pt x="2812" y="3407"/>
                  </a:lnTo>
                  <a:lnTo>
                    <a:pt x="2816" y="3410"/>
                  </a:lnTo>
                  <a:lnTo>
                    <a:pt x="2829" y="3429"/>
                  </a:lnTo>
                  <a:lnTo>
                    <a:pt x="2826" y="3427"/>
                  </a:lnTo>
                  <a:lnTo>
                    <a:pt x="2821" y="3424"/>
                  </a:lnTo>
                  <a:lnTo>
                    <a:pt x="2818" y="3422"/>
                  </a:lnTo>
                  <a:lnTo>
                    <a:pt x="2817" y="3420"/>
                  </a:lnTo>
                  <a:lnTo>
                    <a:pt x="2814" y="3415"/>
                  </a:lnTo>
                  <a:lnTo>
                    <a:pt x="2812" y="3413"/>
                  </a:lnTo>
                  <a:lnTo>
                    <a:pt x="2809" y="3410"/>
                  </a:lnTo>
                  <a:lnTo>
                    <a:pt x="2789" y="3404"/>
                  </a:lnTo>
                  <a:lnTo>
                    <a:pt x="2786" y="3403"/>
                  </a:lnTo>
                  <a:lnTo>
                    <a:pt x="2790" y="3408"/>
                  </a:lnTo>
                  <a:lnTo>
                    <a:pt x="2801" y="3412"/>
                  </a:lnTo>
                  <a:lnTo>
                    <a:pt x="2803" y="3419"/>
                  </a:lnTo>
                  <a:lnTo>
                    <a:pt x="2801" y="3421"/>
                  </a:lnTo>
                  <a:lnTo>
                    <a:pt x="2795" y="3418"/>
                  </a:lnTo>
                  <a:lnTo>
                    <a:pt x="2782" y="3406"/>
                  </a:lnTo>
                  <a:lnTo>
                    <a:pt x="2779" y="3405"/>
                  </a:lnTo>
                  <a:lnTo>
                    <a:pt x="2777" y="3405"/>
                  </a:lnTo>
                  <a:lnTo>
                    <a:pt x="2772" y="3408"/>
                  </a:lnTo>
                  <a:lnTo>
                    <a:pt x="2770" y="3409"/>
                  </a:lnTo>
                  <a:lnTo>
                    <a:pt x="2770" y="3406"/>
                  </a:lnTo>
                  <a:lnTo>
                    <a:pt x="2771" y="3398"/>
                  </a:lnTo>
                  <a:lnTo>
                    <a:pt x="2768" y="3391"/>
                  </a:lnTo>
                  <a:lnTo>
                    <a:pt x="2767" y="3386"/>
                  </a:lnTo>
                  <a:lnTo>
                    <a:pt x="2772" y="3381"/>
                  </a:lnTo>
                  <a:lnTo>
                    <a:pt x="2771" y="3379"/>
                  </a:lnTo>
                  <a:lnTo>
                    <a:pt x="2770" y="3376"/>
                  </a:lnTo>
                  <a:lnTo>
                    <a:pt x="2768" y="3375"/>
                  </a:lnTo>
                  <a:lnTo>
                    <a:pt x="2767" y="3374"/>
                  </a:lnTo>
                  <a:lnTo>
                    <a:pt x="2764" y="3374"/>
                  </a:lnTo>
                  <a:lnTo>
                    <a:pt x="2763" y="3373"/>
                  </a:lnTo>
                  <a:lnTo>
                    <a:pt x="2760" y="3368"/>
                  </a:lnTo>
                  <a:lnTo>
                    <a:pt x="2757" y="3364"/>
                  </a:lnTo>
                  <a:lnTo>
                    <a:pt x="2745" y="3360"/>
                  </a:lnTo>
                  <a:lnTo>
                    <a:pt x="2743" y="3358"/>
                  </a:lnTo>
                  <a:lnTo>
                    <a:pt x="2740" y="3354"/>
                  </a:lnTo>
                  <a:lnTo>
                    <a:pt x="2738" y="3350"/>
                  </a:lnTo>
                  <a:lnTo>
                    <a:pt x="2739" y="3339"/>
                  </a:lnTo>
                  <a:lnTo>
                    <a:pt x="2737" y="3334"/>
                  </a:lnTo>
                  <a:lnTo>
                    <a:pt x="2734" y="3331"/>
                  </a:lnTo>
                  <a:lnTo>
                    <a:pt x="2731" y="3329"/>
                  </a:lnTo>
                  <a:lnTo>
                    <a:pt x="2728" y="3328"/>
                  </a:lnTo>
                  <a:lnTo>
                    <a:pt x="2724" y="3329"/>
                  </a:lnTo>
                  <a:lnTo>
                    <a:pt x="2720" y="3332"/>
                  </a:lnTo>
                  <a:lnTo>
                    <a:pt x="2717" y="3335"/>
                  </a:lnTo>
                  <a:lnTo>
                    <a:pt x="2715" y="3339"/>
                  </a:lnTo>
                  <a:lnTo>
                    <a:pt x="2710" y="3351"/>
                  </a:lnTo>
                  <a:lnTo>
                    <a:pt x="2707" y="3354"/>
                  </a:lnTo>
                  <a:lnTo>
                    <a:pt x="2700" y="3359"/>
                  </a:lnTo>
                  <a:lnTo>
                    <a:pt x="2698" y="3363"/>
                  </a:lnTo>
                  <a:lnTo>
                    <a:pt x="2699" y="3366"/>
                  </a:lnTo>
                  <a:lnTo>
                    <a:pt x="2704" y="3366"/>
                  </a:lnTo>
                  <a:lnTo>
                    <a:pt x="2709" y="3366"/>
                  </a:lnTo>
                  <a:lnTo>
                    <a:pt x="2713" y="3365"/>
                  </a:lnTo>
                  <a:lnTo>
                    <a:pt x="2712" y="3362"/>
                  </a:lnTo>
                  <a:lnTo>
                    <a:pt x="2711" y="3361"/>
                  </a:lnTo>
                  <a:lnTo>
                    <a:pt x="2710" y="3360"/>
                  </a:lnTo>
                  <a:lnTo>
                    <a:pt x="2708" y="3360"/>
                  </a:lnTo>
                  <a:lnTo>
                    <a:pt x="2710" y="3358"/>
                  </a:lnTo>
                  <a:lnTo>
                    <a:pt x="2711" y="3357"/>
                  </a:lnTo>
                  <a:lnTo>
                    <a:pt x="2713" y="3357"/>
                  </a:lnTo>
                  <a:lnTo>
                    <a:pt x="2715" y="3358"/>
                  </a:lnTo>
                  <a:lnTo>
                    <a:pt x="2716" y="3359"/>
                  </a:lnTo>
                  <a:lnTo>
                    <a:pt x="2717" y="3364"/>
                  </a:lnTo>
                  <a:lnTo>
                    <a:pt x="2718" y="3365"/>
                  </a:lnTo>
                  <a:lnTo>
                    <a:pt x="2731" y="3379"/>
                  </a:lnTo>
                  <a:lnTo>
                    <a:pt x="2738" y="3381"/>
                  </a:lnTo>
                  <a:lnTo>
                    <a:pt x="2741" y="3384"/>
                  </a:lnTo>
                  <a:lnTo>
                    <a:pt x="2742" y="3386"/>
                  </a:lnTo>
                  <a:lnTo>
                    <a:pt x="2743" y="3390"/>
                  </a:lnTo>
                  <a:lnTo>
                    <a:pt x="2744" y="3392"/>
                  </a:lnTo>
                  <a:lnTo>
                    <a:pt x="2745" y="3395"/>
                  </a:lnTo>
                  <a:lnTo>
                    <a:pt x="2747" y="3396"/>
                  </a:lnTo>
                  <a:lnTo>
                    <a:pt x="2749" y="3397"/>
                  </a:lnTo>
                  <a:lnTo>
                    <a:pt x="2751" y="3398"/>
                  </a:lnTo>
                  <a:lnTo>
                    <a:pt x="2748" y="3399"/>
                  </a:lnTo>
                  <a:lnTo>
                    <a:pt x="2746" y="3401"/>
                  </a:lnTo>
                  <a:lnTo>
                    <a:pt x="2745" y="3405"/>
                  </a:lnTo>
                  <a:lnTo>
                    <a:pt x="2744" y="3410"/>
                  </a:lnTo>
                  <a:lnTo>
                    <a:pt x="2745" y="3416"/>
                  </a:lnTo>
                  <a:lnTo>
                    <a:pt x="2747" y="3420"/>
                  </a:lnTo>
                  <a:lnTo>
                    <a:pt x="2757" y="3431"/>
                  </a:lnTo>
                  <a:lnTo>
                    <a:pt x="2770" y="3436"/>
                  </a:lnTo>
                  <a:lnTo>
                    <a:pt x="2777" y="3444"/>
                  </a:lnTo>
                  <a:lnTo>
                    <a:pt x="2790" y="3452"/>
                  </a:lnTo>
                  <a:lnTo>
                    <a:pt x="2804" y="3464"/>
                  </a:lnTo>
                  <a:lnTo>
                    <a:pt x="2807" y="3470"/>
                  </a:lnTo>
                  <a:lnTo>
                    <a:pt x="2807" y="3478"/>
                  </a:lnTo>
                  <a:lnTo>
                    <a:pt x="2804" y="3486"/>
                  </a:lnTo>
                  <a:lnTo>
                    <a:pt x="2803" y="3475"/>
                  </a:lnTo>
                  <a:lnTo>
                    <a:pt x="2799" y="3469"/>
                  </a:lnTo>
                  <a:lnTo>
                    <a:pt x="2794" y="3465"/>
                  </a:lnTo>
                  <a:lnTo>
                    <a:pt x="2789" y="3465"/>
                  </a:lnTo>
                  <a:lnTo>
                    <a:pt x="2783" y="3462"/>
                  </a:lnTo>
                  <a:lnTo>
                    <a:pt x="2768" y="3445"/>
                  </a:lnTo>
                  <a:lnTo>
                    <a:pt x="2762" y="3441"/>
                  </a:lnTo>
                  <a:lnTo>
                    <a:pt x="2748" y="3437"/>
                  </a:lnTo>
                  <a:lnTo>
                    <a:pt x="2742" y="3432"/>
                  </a:lnTo>
                  <a:lnTo>
                    <a:pt x="2740" y="3424"/>
                  </a:lnTo>
                  <a:lnTo>
                    <a:pt x="2737" y="3413"/>
                  </a:lnTo>
                  <a:lnTo>
                    <a:pt x="2736" y="3402"/>
                  </a:lnTo>
                  <a:lnTo>
                    <a:pt x="2735" y="3396"/>
                  </a:lnTo>
                  <a:lnTo>
                    <a:pt x="2734" y="3394"/>
                  </a:lnTo>
                  <a:lnTo>
                    <a:pt x="2733" y="3392"/>
                  </a:lnTo>
                  <a:lnTo>
                    <a:pt x="2732" y="3389"/>
                  </a:lnTo>
                  <a:lnTo>
                    <a:pt x="2731" y="3386"/>
                  </a:lnTo>
                  <a:lnTo>
                    <a:pt x="2729" y="3384"/>
                  </a:lnTo>
                  <a:lnTo>
                    <a:pt x="2713" y="3375"/>
                  </a:lnTo>
                  <a:lnTo>
                    <a:pt x="2708" y="3375"/>
                  </a:lnTo>
                  <a:lnTo>
                    <a:pt x="2701" y="3383"/>
                  </a:lnTo>
                  <a:lnTo>
                    <a:pt x="2699" y="3384"/>
                  </a:lnTo>
                  <a:lnTo>
                    <a:pt x="2693" y="3384"/>
                  </a:lnTo>
                  <a:lnTo>
                    <a:pt x="2691" y="3385"/>
                  </a:lnTo>
                  <a:lnTo>
                    <a:pt x="2669" y="3398"/>
                  </a:lnTo>
                  <a:lnTo>
                    <a:pt x="2665" y="3396"/>
                  </a:lnTo>
                  <a:lnTo>
                    <a:pt x="2678" y="3387"/>
                  </a:lnTo>
                  <a:lnTo>
                    <a:pt x="2680" y="3383"/>
                  </a:lnTo>
                  <a:lnTo>
                    <a:pt x="2682" y="3379"/>
                  </a:lnTo>
                  <a:lnTo>
                    <a:pt x="2683" y="3377"/>
                  </a:lnTo>
                  <a:lnTo>
                    <a:pt x="2682" y="3375"/>
                  </a:lnTo>
                  <a:lnTo>
                    <a:pt x="2668" y="3374"/>
                  </a:lnTo>
                  <a:lnTo>
                    <a:pt x="2665" y="3374"/>
                  </a:lnTo>
                  <a:lnTo>
                    <a:pt x="2656" y="3381"/>
                  </a:lnTo>
                  <a:lnTo>
                    <a:pt x="2648" y="3391"/>
                  </a:lnTo>
                  <a:lnTo>
                    <a:pt x="2638" y="3398"/>
                  </a:lnTo>
                  <a:lnTo>
                    <a:pt x="2629" y="3396"/>
                  </a:lnTo>
                  <a:lnTo>
                    <a:pt x="2627" y="3386"/>
                  </a:lnTo>
                  <a:lnTo>
                    <a:pt x="2626" y="3384"/>
                  </a:lnTo>
                  <a:lnTo>
                    <a:pt x="2617" y="3376"/>
                  </a:lnTo>
                  <a:lnTo>
                    <a:pt x="2613" y="3375"/>
                  </a:lnTo>
                  <a:lnTo>
                    <a:pt x="2606" y="3366"/>
                  </a:lnTo>
                  <a:lnTo>
                    <a:pt x="2602" y="3362"/>
                  </a:lnTo>
                  <a:lnTo>
                    <a:pt x="2597" y="3362"/>
                  </a:lnTo>
                  <a:lnTo>
                    <a:pt x="2586" y="3368"/>
                  </a:lnTo>
                  <a:lnTo>
                    <a:pt x="2576" y="3370"/>
                  </a:lnTo>
                  <a:lnTo>
                    <a:pt x="2571" y="3373"/>
                  </a:lnTo>
                  <a:lnTo>
                    <a:pt x="2559" y="3384"/>
                  </a:lnTo>
                  <a:lnTo>
                    <a:pt x="2544" y="3392"/>
                  </a:lnTo>
                  <a:lnTo>
                    <a:pt x="2542" y="3395"/>
                  </a:lnTo>
                  <a:lnTo>
                    <a:pt x="2540" y="3398"/>
                  </a:lnTo>
                  <a:lnTo>
                    <a:pt x="2548" y="3398"/>
                  </a:lnTo>
                  <a:lnTo>
                    <a:pt x="2551" y="3400"/>
                  </a:lnTo>
                  <a:lnTo>
                    <a:pt x="2552" y="3406"/>
                  </a:lnTo>
                  <a:lnTo>
                    <a:pt x="2559" y="3420"/>
                  </a:lnTo>
                  <a:lnTo>
                    <a:pt x="2561" y="3422"/>
                  </a:lnTo>
                  <a:lnTo>
                    <a:pt x="2580" y="3420"/>
                  </a:lnTo>
                  <a:lnTo>
                    <a:pt x="2583" y="3422"/>
                  </a:lnTo>
                  <a:lnTo>
                    <a:pt x="2589" y="3429"/>
                  </a:lnTo>
                  <a:lnTo>
                    <a:pt x="2593" y="3432"/>
                  </a:lnTo>
                  <a:lnTo>
                    <a:pt x="2568" y="3428"/>
                  </a:lnTo>
                  <a:lnTo>
                    <a:pt x="2560" y="3432"/>
                  </a:lnTo>
                  <a:lnTo>
                    <a:pt x="2555" y="3438"/>
                  </a:lnTo>
                  <a:lnTo>
                    <a:pt x="2553" y="3442"/>
                  </a:lnTo>
                  <a:lnTo>
                    <a:pt x="2552" y="3447"/>
                  </a:lnTo>
                  <a:lnTo>
                    <a:pt x="2553" y="3449"/>
                  </a:lnTo>
                  <a:lnTo>
                    <a:pt x="2555" y="3451"/>
                  </a:lnTo>
                  <a:lnTo>
                    <a:pt x="2556" y="3453"/>
                  </a:lnTo>
                  <a:lnTo>
                    <a:pt x="2556" y="3457"/>
                  </a:lnTo>
                  <a:lnTo>
                    <a:pt x="2554" y="3459"/>
                  </a:lnTo>
                  <a:lnTo>
                    <a:pt x="2553" y="3460"/>
                  </a:lnTo>
                  <a:lnTo>
                    <a:pt x="2551" y="3460"/>
                  </a:lnTo>
                  <a:lnTo>
                    <a:pt x="2554" y="3463"/>
                  </a:lnTo>
                  <a:lnTo>
                    <a:pt x="2608" y="3456"/>
                  </a:lnTo>
                  <a:lnTo>
                    <a:pt x="2615" y="3452"/>
                  </a:lnTo>
                  <a:lnTo>
                    <a:pt x="2622" y="3452"/>
                  </a:lnTo>
                  <a:lnTo>
                    <a:pt x="2625" y="3451"/>
                  </a:lnTo>
                  <a:lnTo>
                    <a:pt x="2630" y="3447"/>
                  </a:lnTo>
                  <a:lnTo>
                    <a:pt x="2656" y="3438"/>
                  </a:lnTo>
                  <a:lnTo>
                    <a:pt x="2663" y="3439"/>
                  </a:lnTo>
                  <a:lnTo>
                    <a:pt x="2667" y="3439"/>
                  </a:lnTo>
                  <a:lnTo>
                    <a:pt x="2634" y="3448"/>
                  </a:lnTo>
                  <a:lnTo>
                    <a:pt x="2623" y="3458"/>
                  </a:lnTo>
                  <a:lnTo>
                    <a:pt x="2617" y="3460"/>
                  </a:lnTo>
                  <a:lnTo>
                    <a:pt x="2622" y="3464"/>
                  </a:lnTo>
                  <a:lnTo>
                    <a:pt x="2623" y="3467"/>
                  </a:lnTo>
                  <a:lnTo>
                    <a:pt x="2621" y="3470"/>
                  </a:lnTo>
                  <a:lnTo>
                    <a:pt x="2616" y="3472"/>
                  </a:lnTo>
                  <a:lnTo>
                    <a:pt x="2620" y="3476"/>
                  </a:lnTo>
                  <a:lnTo>
                    <a:pt x="2636" y="3476"/>
                  </a:lnTo>
                  <a:lnTo>
                    <a:pt x="2642" y="3474"/>
                  </a:lnTo>
                  <a:lnTo>
                    <a:pt x="2661" y="3461"/>
                  </a:lnTo>
                  <a:lnTo>
                    <a:pt x="2696" y="3454"/>
                  </a:lnTo>
                  <a:lnTo>
                    <a:pt x="2703" y="3449"/>
                  </a:lnTo>
                  <a:lnTo>
                    <a:pt x="2718" y="3447"/>
                  </a:lnTo>
                  <a:lnTo>
                    <a:pt x="2725" y="3444"/>
                  </a:lnTo>
                  <a:lnTo>
                    <a:pt x="2729" y="3444"/>
                  </a:lnTo>
                  <a:lnTo>
                    <a:pt x="2729" y="3446"/>
                  </a:lnTo>
                  <a:lnTo>
                    <a:pt x="2727" y="3449"/>
                  </a:lnTo>
                  <a:lnTo>
                    <a:pt x="2726" y="3450"/>
                  </a:lnTo>
                  <a:lnTo>
                    <a:pt x="2725" y="3451"/>
                  </a:lnTo>
                  <a:lnTo>
                    <a:pt x="2728" y="3458"/>
                  </a:lnTo>
                  <a:lnTo>
                    <a:pt x="2738" y="3465"/>
                  </a:lnTo>
                  <a:lnTo>
                    <a:pt x="2741" y="3474"/>
                  </a:lnTo>
                  <a:lnTo>
                    <a:pt x="2738" y="3473"/>
                  </a:lnTo>
                  <a:lnTo>
                    <a:pt x="2724" y="3462"/>
                  </a:lnTo>
                  <a:lnTo>
                    <a:pt x="2720" y="3460"/>
                  </a:lnTo>
                  <a:lnTo>
                    <a:pt x="2717" y="3459"/>
                  </a:lnTo>
                  <a:lnTo>
                    <a:pt x="2709" y="3461"/>
                  </a:lnTo>
                  <a:lnTo>
                    <a:pt x="2691" y="3460"/>
                  </a:lnTo>
                  <a:lnTo>
                    <a:pt x="2657" y="3471"/>
                  </a:lnTo>
                  <a:lnTo>
                    <a:pt x="2649" y="3478"/>
                  </a:lnTo>
                  <a:lnTo>
                    <a:pt x="2642" y="3480"/>
                  </a:lnTo>
                  <a:lnTo>
                    <a:pt x="2640" y="3484"/>
                  </a:lnTo>
                  <a:lnTo>
                    <a:pt x="2640" y="3489"/>
                  </a:lnTo>
                  <a:lnTo>
                    <a:pt x="2643" y="3501"/>
                  </a:lnTo>
                  <a:lnTo>
                    <a:pt x="2643" y="3508"/>
                  </a:lnTo>
                  <a:lnTo>
                    <a:pt x="2641" y="3511"/>
                  </a:lnTo>
                  <a:lnTo>
                    <a:pt x="2638" y="3510"/>
                  </a:lnTo>
                  <a:lnTo>
                    <a:pt x="2638" y="3499"/>
                  </a:lnTo>
                  <a:lnTo>
                    <a:pt x="2635" y="3492"/>
                  </a:lnTo>
                  <a:lnTo>
                    <a:pt x="2629" y="3490"/>
                  </a:lnTo>
                  <a:lnTo>
                    <a:pt x="2625" y="3494"/>
                  </a:lnTo>
                  <a:lnTo>
                    <a:pt x="2624" y="3501"/>
                  </a:lnTo>
                  <a:lnTo>
                    <a:pt x="2626" y="3507"/>
                  </a:lnTo>
                  <a:lnTo>
                    <a:pt x="2629" y="3511"/>
                  </a:lnTo>
                  <a:lnTo>
                    <a:pt x="2632" y="3515"/>
                  </a:lnTo>
                  <a:lnTo>
                    <a:pt x="2639" y="3517"/>
                  </a:lnTo>
                  <a:lnTo>
                    <a:pt x="2677" y="3511"/>
                  </a:lnTo>
                  <a:lnTo>
                    <a:pt x="2682" y="3515"/>
                  </a:lnTo>
                  <a:lnTo>
                    <a:pt x="2652" y="3522"/>
                  </a:lnTo>
                  <a:lnTo>
                    <a:pt x="2650" y="3523"/>
                  </a:lnTo>
                  <a:lnTo>
                    <a:pt x="2649" y="3527"/>
                  </a:lnTo>
                  <a:lnTo>
                    <a:pt x="2649" y="3531"/>
                  </a:lnTo>
                  <a:lnTo>
                    <a:pt x="2648" y="3535"/>
                  </a:lnTo>
                  <a:lnTo>
                    <a:pt x="2645" y="3539"/>
                  </a:lnTo>
                  <a:lnTo>
                    <a:pt x="2643" y="3537"/>
                  </a:lnTo>
                  <a:lnTo>
                    <a:pt x="2642" y="3531"/>
                  </a:lnTo>
                  <a:lnTo>
                    <a:pt x="2641" y="3526"/>
                  </a:lnTo>
                  <a:lnTo>
                    <a:pt x="2636" y="3523"/>
                  </a:lnTo>
                  <a:lnTo>
                    <a:pt x="2627" y="3524"/>
                  </a:lnTo>
                  <a:lnTo>
                    <a:pt x="2617" y="3508"/>
                  </a:lnTo>
                  <a:lnTo>
                    <a:pt x="2609" y="3504"/>
                  </a:lnTo>
                  <a:lnTo>
                    <a:pt x="2592" y="3500"/>
                  </a:lnTo>
                  <a:lnTo>
                    <a:pt x="2586" y="3496"/>
                  </a:lnTo>
                  <a:lnTo>
                    <a:pt x="2584" y="3496"/>
                  </a:lnTo>
                  <a:lnTo>
                    <a:pt x="2580" y="3506"/>
                  </a:lnTo>
                  <a:lnTo>
                    <a:pt x="2580" y="3508"/>
                  </a:lnTo>
                  <a:lnTo>
                    <a:pt x="2583" y="3512"/>
                  </a:lnTo>
                  <a:lnTo>
                    <a:pt x="2583" y="3515"/>
                  </a:lnTo>
                  <a:lnTo>
                    <a:pt x="2583" y="3517"/>
                  </a:lnTo>
                  <a:lnTo>
                    <a:pt x="2581" y="3525"/>
                  </a:lnTo>
                  <a:lnTo>
                    <a:pt x="2580" y="3529"/>
                  </a:lnTo>
                  <a:lnTo>
                    <a:pt x="2579" y="3529"/>
                  </a:lnTo>
                  <a:lnTo>
                    <a:pt x="2579" y="3522"/>
                  </a:lnTo>
                  <a:lnTo>
                    <a:pt x="2576" y="3512"/>
                  </a:lnTo>
                  <a:lnTo>
                    <a:pt x="2576" y="3506"/>
                  </a:lnTo>
                  <a:lnTo>
                    <a:pt x="2574" y="3502"/>
                  </a:lnTo>
                  <a:lnTo>
                    <a:pt x="2567" y="3503"/>
                  </a:lnTo>
                  <a:lnTo>
                    <a:pt x="2565" y="3498"/>
                  </a:lnTo>
                  <a:lnTo>
                    <a:pt x="2567" y="3497"/>
                  </a:lnTo>
                  <a:lnTo>
                    <a:pt x="2570" y="3495"/>
                  </a:lnTo>
                  <a:lnTo>
                    <a:pt x="2572" y="3493"/>
                  </a:lnTo>
                  <a:lnTo>
                    <a:pt x="2573" y="3488"/>
                  </a:lnTo>
                  <a:lnTo>
                    <a:pt x="2548" y="3487"/>
                  </a:lnTo>
                  <a:lnTo>
                    <a:pt x="2541" y="3491"/>
                  </a:lnTo>
                  <a:lnTo>
                    <a:pt x="2542" y="3494"/>
                  </a:lnTo>
                  <a:lnTo>
                    <a:pt x="2544" y="3496"/>
                  </a:lnTo>
                  <a:lnTo>
                    <a:pt x="2545" y="3498"/>
                  </a:lnTo>
                  <a:lnTo>
                    <a:pt x="2548" y="3498"/>
                  </a:lnTo>
                  <a:lnTo>
                    <a:pt x="2545" y="3503"/>
                  </a:lnTo>
                  <a:lnTo>
                    <a:pt x="2544" y="3505"/>
                  </a:lnTo>
                  <a:lnTo>
                    <a:pt x="2545" y="3507"/>
                  </a:lnTo>
                  <a:lnTo>
                    <a:pt x="2546" y="3510"/>
                  </a:lnTo>
                  <a:lnTo>
                    <a:pt x="2547" y="3513"/>
                  </a:lnTo>
                  <a:lnTo>
                    <a:pt x="2546" y="3515"/>
                  </a:lnTo>
                  <a:lnTo>
                    <a:pt x="2543" y="3514"/>
                  </a:lnTo>
                  <a:lnTo>
                    <a:pt x="2543" y="3513"/>
                  </a:lnTo>
                  <a:lnTo>
                    <a:pt x="2543" y="3512"/>
                  </a:lnTo>
                  <a:lnTo>
                    <a:pt x="2543" y="3510"/>
                  </a:lnTo>
                  <a:lnTo>
                    <a:pt x="2540" y="3505"/>
                  </a:lnTo>
                  <a:lnTo>
                    <a:pt x="2524" y="3488"/>
                  </a:lnTo>
                  <a:lnTo>
                    <a:pt x="2520" y="3487"/>
                  </a:lnTo>
                  <a:lnTo>
                    <a:pt x="2516" y="3488"/>
                  </a:lnTo>
                  <a:lnTo>
                    <a:pt x="2509" y="3494"/>
                  </a:lnTo>
                  <a:lnTo>
                    <a:pt x="2503" y="3503"/>
                  </a:lnTo>
                  <a:lnTo>
                    <a:pt x="2502" y="3499"/>
                  </a:lnTo>
                  <a:lnTo>
                    <a:pt x="2500" y="3498"/>
                  </a:lnTo>
                  <a:lnTo>
                    <a:pt x="2499" y="3499"/>
                  </a:lnTo>
                  <a:lnTo>
                    <a:pt x="2497" y="3503"/>
                  </a:lnTo>
                  <a:lnTo>
                    <a:pt x="2499" y="3505"/>
                  </a:lnTo>
                  <a:lnTo>
                    <a:pt x="2499" y="3510"/>
                  </a:lnTo>
                  <a:lnTo>
                    <a:pt x="2497" y="3519"/>
                  </a:lnTo>
                  <a:lnTo>
                    <a:pt x="2496" y="3519"/>
                  </a:lnTo>
                  <a:lnTo>
                    <a:pt x="2495" y="3512"/>
                  </a:lnTo>
                  <a:lnTo>
                    <a:pt x="2493" y="3506"/>
                  </a:lnTo>
                  <a:lnTo>
                    <a:pt x="2489" y="3502"/>
                  </a:lnTo>
                  <a:lnTo>
                    <a:pt x="2485" y="3500"/>
                  </a:lnTo>
                  <a:lnTo>
                    <a:pt x="2451" y="3503"/>
                  </a:lnTo>
                  <a:lnTo>
                    <a:pt x="2446" y="3505"/>
                  </a:lnTo>
                  <a:lnTo>
                    <a:pt x="2442" y="3508"/>
                  </a:lnTo>
                  <a:lnTo>
                    <a:pt x="2441" y="3511"/>
                  </a:lnTo>
                  <a:lnTo>
                    <a:pt x="2440" y="3515"/>
                  </a:lnTo>
                  <a:lnTo>
                    <a:pt x="2441" y="3517"/>
                  </a:lnTo>
                  <a:lnTo>
                    <a:pt x="2442" y="3519"/>
                  </a:lnTo>
                  <a:lnTo>
                    <a:pt x="2443" y="3521"/>
                  </a:lnTo>
                  <a:lnTo>
                    <a:pt x="2442" y="3526"/>
                  </a:lnTo>
                  <a:lnTo>
                    <a:pt x="2442" y="3527"/>
                  </a:lnTo>
                  <a:lnTo>
                    <a:pt x="2443" y="3527"/>
                  </a:lnTo>
                  <a:lnTo>
                    <a:pt x="2442" y="3528"/>
                  </a:lnTo>
                  <a:lnTo>
                    <a:pt x="2442" y="3531"/>
                  </a:lnTo>
                  <a:lnTo>
                    <a:pt x="2485" y="3527"/>
                  </a:lnTo>
                  <a:lnTo>
                    <a:pt x="2490" y="3531"/>
                  </a:lnTo>
                  <a:lnTo>
                    <a:pt x="2486" y="3531"/>
                  </a:lnTo>
                  <a:lnTo>
                    <a:pt x="2475" y="3533"/>
                  </a:lnTo>
                  <a:lnTo>
                    <a:pt x="2475" y="3536"/>
                  </a:lnTo>
                  <a:lnTo>
                    <a:pt x="2490" y="3537"/>
                  </a:lnTo>
                  <a:lnTo>
                    <a:pt x="2498" y="3533"/>
                  </a:lnTo>
                  <a:lnTo>
                    <a:pt x="2504" y="3539"/>
                  </a:lnTo>
                  <a:lnTo>
                    <a:pt x="2507" y="3540"/>
                  </a:lnTo>
                  <a:lnTo>
                    <a:pt x="2507" y="3543"/>
                  </a:lnTo>
                  <a:lnTo>
                    <a:pt x="2491" y="3543"/>
                  </a:lnTo>
                  <a:lnTo>
                    <a:pt x="2485" y="3540"/>
                  </a:lnTo>
                  <a:lnTo>
                    <a:pt x="2472" y="3539"/>
                  </a:lnTo>
                  <a:lnTo>
                    <a:pt x="2468" y="3542"/>
                  </a:lnTo>
                  <a:lnTo>
                    <a:pt x="2466" y="3544"/>
                  </a:lnTo>
                  <a:lnTo>
                    <a:pt x="2454" y="3550"/>
                  </a:lnTo>
                  <a:lnTo>
                    <a:pt x="2440" y="3551"/>
                  </a:lnTo>
                  <a:lnTo>
                    <a:pt x="2436" y="3554"/>
                  </a:lnTo>
                  <a:lnTo>
                    <a:pt x="2439" y="3557"/>
                  </a:lnTo>
                  <a:lnTo>
                    <a:pt x="2442" y="3556"/>
                  </a:lnTo>
                  <a:lnTo>
                    <a:pt x="2445" y="3555"/>
                  </a:lnTo>
                  <a:lnTo>
                    <a:pt x="2448" y="3554"/>
                  </a:lnTo>
                  <a:lnTo>
                    <a:pt x="2451" y="3556"/>
                  </a:lnTo>
                  <a:lnTo>
                    <a:pt x="2455" y="3561"/>
                  </a:lnTo>
                  <a:lnTo>
                    <a:pt x="2457" y="3564"/>
                  </a:lnTo>
                  <a:lnTo>
                    <a:pt x="2463" y="3566"/>
                  </a:lnTo>
                  <a:lnTo>
                    <a:pt x="2477" y="3564"/>
                  </a:lnTo>
                  <a:lnTo>
                    <a:pt x="2509" y="3548"/>
                  </a:lnTo>
                  <a:lnTo>
                    <a:pt x="2525" y="3547"/>
                  </a:lnTo>
                  <a:lnTo>
                    <a:pt x="2523" y="3550"/>
                  </a:lnTo>
                  <a:lnTo>
                    <a:pt x="2520" y="3552"/>
                  </a:lnTo>
                  <a:lnTo>
                    <a:pt x="2523" y="3554"/>
                  </a:lnTo>
                  <a:lnTo>
                    <a:pt x="2530" y="3553"/>
                  </a:lnTo>
                  <a:lnTo>
                    <a:pt x="2533" y="3554"/>
                  </a:lnTo>
                  <a:lnTo>
                    <a:pt x="2535" y="3556"/>
                  </a:lnTo>
                  <a:lnTo>
                    <a:pt x="2555" y="3582"/>
                  </a:lnTo>
                  <a:lnTo>
                    <a:pt x="2553" y="3584"/>
                  </a:lnTo>
                  <a:lnTo>
                    <a:pt x="2550" y="3585"/>
                  </a:lnTo>
                  <a:lnTo>
                    <a:pt x="2545" y="3585"/>
                  </a:lnTo>
                  <a:lnTo>
                    <a:pt x="2552" y="3600"/>
                  </a:lnTo>
                  <a:lnTo>
                    <a:pt x="2562" y="3607"/>
                  </a:lnTo>
                  <a:lnTo>
                    <a:pt x="2584" y="3613"/>
                  </a:lnTo>
                  <a:lnTo>
                    <a:pt x="2605" y="3609"/>
                  </a:lnTo>
                  <a:lnTo>
                    <a:pt x="2610" y="3612"/>
                  </a:lnTo>
                  <a:lnTo>
                    <a:pt x="2612" y="3614"/>
                  </a:lnTo>
                  <a:lnTo>
                    <a:pt x="2618" y="3618"/>
                  </a:lnTo>
                  <a:lnTo>
                    <a:pt x="2625" y="3629"/>
                  </a:lnTo>
                  <a:lnTo>
                    <a:pt x="2625" y="3632"/>
                  </a:lnTo>
                  <a:lnTo>
                    <a:pt x="2622" y="3631"/>
                  </a:lnTo>
                  <a:lnTo>
                    <a:pt x="2618" y="3627"/>
                  </a:lnTo>
                  <a:lnTo>
                    <a:pt x="2615" y="3623"/>
                  </a:lnTo>
                  <a:lnTo>
                    <a:pt x="2612" y="3619"/>
                  </a:lnTo>
                  <a:lnTo>
                    <a:pt x="2608" y="3615"/>
                  </a:lnTo>
                  <a:lnTo>
                    <a:pt x="2603" y="3615"/>
                  </a:lnTo>
                  <a:lnTo>
                    <a:pt x="2599" y="3619"/>
                  </a:lnTo>
                  <a:lnTo>
                    <a:pt x="2596" y="3624"/>
                  </a:lnTo>
                  <a:lnTo>
                    <a:pt x="2592" y="3625"/>
                  </a:lnTo>
                  <a:lnTo>
                    <a:pt x="2577" y="3615"/>
                  </a:lnTo>
                  <a:lnTo>
                    <a:pt x="2567" y="3617"/>
                  </a:lnTo>
                  <a:lnTo>
                    <a:pt x="2565" y="3618"/>
                  </a:lnTo>
                  <a:lnTo>
                    <a:pt x="2563" y="3620"/>
                  </a:lnTo>
                  <a:lnTo>
                    <a:pt x="2563" y="3622"/>
                  </a:lnTo>
                  <a:lnTo>
                    <a:pt x="2565" y="3642"/>
                  </a:lnTo>
                  <a:lnTo>
                    <a:pt x="2565" y="3648"/>
                  </a:lnTo>
                  <a:lnTo>
                    <a:pt x="2563" y="3654"/>
                  </a:lnTo>
                  <a:lnTo>
                    <a:pt x="2557" y="3662"/>
                  </a:lnTo>
                  <a:lnTo>
                    <a:pt x="2554" y="3667"/>
                  </a:lnTo>
                  <a:lnTo>
                    <a:pt x="2555" y="3672"/>
                  </a:lnTo>
                  <a:lnTo>
                    <a:pt x="2563" y="3676"/>
                  </a:lnTo>
                  <a:lnTo>
                    <a:pt x="2583" y="3666"/>
                  </a:lnTo>
                  <a:lnTo>
                    <a:pt x="2589" y="3676"/>
                  </a:lnTo>
                  <a:lnTo>
                    <a:pt x="2583" y="3672"/>
                  </a:lnTo>
                  <a:lnTo>
                    <a:pt x="2581" y="3671"/>
                  </a:lnTo>
                  <a:lnTo>
                    <a:pt x="2578" y="3672"/>
                  </a:lnTo>
                  <a:lnTo>
                    <a:pt x="2575" y="3675"/>
                  </a:lnTo>
                  <a:lnTo>
                    <a:pt x="2562" y="3680"/>
                  </a:lnTo>
                  <a:lnTo>
                    <a:pt x="2557" y="3680"/>
                  </a:lnTo>
                  <a:lnTo>
                    <a:pt x="2552" y="3676"/>
                  </a:lnTo>
                  <a:lnTo>
                    <a:pt x="2549" y="3669"/>
                  </a:lnTo>
                  <a:lnTo>
                    <a:pt x="2550" y="3664"/>
                  </a:lnTo>
                  <a:lnTo>
                    <a:pt x="2558" y="3648"/>
                  </a:lnTo>
                  <a:lnTo>
                    <a:pt x="2560" y="3644"/>
                  </a:lnTo>
                  <a:lnTo>
                    <a:pt x="2560" y="3639"/>
                  </a:lnTo>
                  <a:lnTo>
                    <a:pt x="2559" y="3624"/>
                  </a:lnTo>
                  <a:lnTo>
                    <a:pt x="2558" y="3622"/>
                  </a:lnTo>
                  <a:lnTo>
                    <a:pt x="2557" y="3618"/>
                  </a:lnTo>
                  <a:lnTo>
                    <a:pt x="2555" y="3614"/>
                  </a:lnTo>
                  <a:lnTo>
                    <a:pt x="2541" y="3595"/>
                  </a:lnTo>
                  <a:lnTo>
                    <a:pt x="2539" y="3590"/>
                  </a:lnTo>
                  <a:lnTo>
                    <a:pt x="2539" y="3581"/>
                  </a:lnTo>
                  <a:lnTo>
                    <a:pt x="2540" y="3574"/>
                  </a:lnTo>
                  <a:lnTo>
                    <a:pt x="2539" y="3568"/>
                  </a:lnTo>
                  <a:lnTo>
                    <a:pt x="2519" y="3563"/>
                  </a:lnTo>
                  <a:lnTo>
                    <a:pt x="2515" y="3558"/>
                  </a:lnTo>
                  <a:lnTo>
                    <a:pt x="2513" y="3557"/>
                  </a:lnTo>
                  <a:lnTo>
                    <a:pt x="2509" y="3557"/>
                  </a:lnTo>
                  <a:lnTo>
                    <a:pt x="2503" y="3562"/>
                  </a:lnTo>
                  <a:lnTo>
                    <a:pt x="2490" y="3568"/>
                  </a:lnTo>
                  <a:lnTo>
                    <a:pt x="2486" y="3571"/>
                  </a:lnTo>
                  <a:lnTo>
                    <a:pt x="2486" y="3573"/>
                  </a:lnTo>
                  <a:lnTo>
                    <a:pt x="2489" y="3575"/>
                  </a:lnTo>
                  <a:lnTo>
                    <a:pt x="2489" y="3579"/>
                  </a:lnTo>
                  <a:lnTo>
                    <a:pt x="2489" y="3584"/>
                  </a:lnTo>
                  <a:lnTo>
                    <a:pt x="2490" y="3590"/>
                  </a:lnTo>
                  <a:lnTo>
                    <a:pt x="2485" y="3580"/>
                  </a:lnTo>
                  <a:lnTo>
                    <a:pt x="2483" y="3578"/>
                  </a:lnTo>
                  <a:lnTo>
                    <a:pt x="2480" y="3575"/>
                  </a:lnTo>
                  <a:lnTo>
                    <a:pt x="2476" y="3574"/>
                  </a:lnTo>
                  <a:lnTo>
                    <a:pt x="2469" y="3576"/>
                  </a:lnTo>
                  <a:lnTo>
                    <a:pt x="2464" y="3579"/>
                  </a:lnTo>
                  <a:lnTo>
                    <a:pt x="2462" y="3586"/>
                  </a:lnTo>
                  <a:lnTo>
                    <a:pt x="2463" y="3596"/>
                  </a:lnTo>
                  <a:lnTo>
                    <a:pt x="2466" y="3605"/>
                  </a:lnTo>
                  <a:lnTo>
                    <a:pt x="2479" y="3624"/>
                  </a:lnTo>
                  <a:lnTo>
                    <a:pt x="2492" y="3656"/>
                  </a:lnTo>
                  <a:lnTo>
                    <a:pt x="2494" y="3664"/>
                  </a:lnTo>
                  <a:lnTo>
                    <a:pt x="2484" y="3673"/>
                  </a:lnTo>
                  <a:lnTo>
                    <a:pt x="2489" y="3663"/>
                  </a:lnTo>
                  <a:lnTo>
                    <a:pt x="2489" y="3659"/>
                  </a:lnTo>
                  <a:lnTo>
                    <a:pt x="2487" y="3653"/>
                  </a:lnTo>
                  <a:lnTo>
                    <a:pt x="2477" y="3632"/>
                  </a:lnTo>
                  <a:lnTo>
                    <a:pt x="2473" y="3626"/>
                  </a:lnTo>
                  <a:lnTo>
                    <a:pt x="2466" y="3620"/>
                  </a:lnTo>
                  <a:lnTo>
                    <a:pt x="2462" y="3615"/>
                  </a:lnTo>
                  <a:lnTo>
                    <a:pt x="2459" y="3604"/>
                  </a:lnTo>
                  <a:lnTo>
                    <a:pt x="2455" y="3593"/>
                  </a:lnTo>
                  <a:lnTo>
                    <a:pt x="2454" y="3591"/>
                  </a:lnTo>
                  <a:lnTo>
                    <a:pt x="2449" y="3584"/>
                  </a:lnTo>
                  <a:lnTo>
                    <a:pt x="2439" y="3588"/>
                  </a:lnTo>
                  <a:lnTo>
                    <a:pt x="2421" y="3599"/>
                  </a:lnTo>
                  <a:lnTo>
                    <a:pt x="2413" y="3601"/>
                  </a:lnTo>
                  <a:lnTo>
                    <a:pt x="2404" y="3607"/>
                  </a:lnTo>
                  <a:lnTo>
                    <a:pt x="2397" y="3615"/>
                  </a:lnTo>
                  <a:lnTo>
                    <a:pt x="2392" y="3627"/>
                  </a:lnTo>
                  <a:lnTo>
                    <a:pt x="2395" y="3628"/>
                  </a:lnTo>
                  <a:lnTo>
                    <a:pt x="2396" y="3631"/>
                  </a:lnTo>
                  <a:lnTo>
                    <a:pt x="2397" y="3635"/>
                  </a:lnTo>
                  <a:lnTo>
                    <a:pt x="2399" y="3636"/>
                  </a:lnTo>
                  <a:lnTo>
                    <a:pt x="2405" y="3638"/>
                  </a:lnTo>
                  <a:lnTo>
                    <a:pt x="2408" y="3639"/>
                  </a:lnTo>
                  <a:lnTo>
                    <a:pt x="2410" y="3641"/>
                  </a:lnTo>
                  <a:lnTo>
                    <a:pt x="2403" y="3640"/>
                  </a:lnTo>
                  <a:lnTo>
                    <a:pt x="2400" y="3639"/>
                  </a:lnTo>
                  <a:lnTo>
                    <a:pt x="2393" y="3634"/>
                  </a:lnTo>
                  <a:lnTo>
                    <a:pt x="2391" y="3633"/>
                  </a:lnTo>
                  <a:lnTo>
                    <a:pt x="2388" y="3634"/>
                  </a:lnTo>
                  <a:lnTo>
                    <a:pt x="2387" y="3640"/>
                  </a:lnTo>
                  <a:lnTo>
                    <a:pt x="2389" y="3643"/>
                  </a:lnTo>
                  <a:lnTo>
                    <a:pt x="2397" y="3648"/>
                  </a:lnTo>
                  <a:lnTo>
                    <a:pt x="2404" y="3660"/>
                  </a:lnTo>
                  <a:lnTo>
                    <a:pt x="2407" y="3662"/>
                  </a:lnTo>
                  <a:lnTo>
                    <a:pt x="2408" y="3664"/>
                  </a:lnTo>
                  <a:lnTo>
                    <a:pt x="2412" y="3672"/>
                  </a:lnTo>
                  <a:lnTo>
                    <a:pt x="2414" y="3673"/>
                  </a:lnTo>
                  <a:lnTo>
                    <a:pt x="2458" y="3687"/>
                  </a:lnTo>
                  <a:lnTo>
                    <a:pt x="2458" y="3690"/>
                  </a:lnTo>
                  <a:lnTo>
                    <a:pt x="2433" y="3683"/>
                  </a:lnTo>
                  <a:lnTo>
                    <a:pt x="2420" y="3683"/>
                  </a:lnTo>
                  <a:lnTo>
                    <a:pt x="2414" y="3684"/>
                  </a:lnTo>
                  <a:lnTo>
                    <a:pt x="2408" y="3687"/>
                  </a:lnTo>
                  <a:lnTo>
                    <a:pt x="2409" y="3681"/>
                  </a:lnTo>
                  <a:lnTo>
                    <a:pt x="2407" y="3677"/>
                  </a:lnTo>
                  <a:lnTo>
                    <a:pt x="2396" y="3663"/>
                  </a:lnTo>
                  <a:lnTo>
                    <a:pt x="2393" y="3663"/>
                  </a:lnTo>
                  <a:lnTo>
                    <a:pt x="2390" y="3681"/>
                  </a:lnTo>
                  <a:lnTo>
                    <a:pt x="2386" y="3690"/>
                  </a:lnTo>
                  <a:lnTo>
                    <a:pt x="2376" y="3704"/>
                  </a:lnTo>
                  <a:lnTo>
                    <a:pt x="2377" y="3693"/>
                  </a:lnTo>
                  <a:lnTo>
                    <a:pt x="2385" y="3679"/>
                  </a:lnTo>
                  <a:lnTo>
                    <a:pt x="2387" y="3670"/>
                  </a:lnTo>
                  <a:lnTo>
                    <a:pt x="2388" y="3660"/>
                  </a:lnTo>
                  <a:lnTo>
                    <a:pt x="2388" y="3655"/>
                  </a:lnTo>
                  <a:lnTo>
                    <a:pt x="2387" y="3650"/>
                  </a:lnTo>
                  <a:lnTo>
                    <a:pt x="2385" y="3646"/>
                  </a:lnTo>
                  <a:lnTo>
                    <a:pt x="2381" y="3643"/>
                  </a:lnTo>
                  <a:lnTo>
                    <a:pt x="2377" y="3641"/>
                  </a:lnTo>
                  <a:lnTo>
                    <a:pt x="2374" y="3642"/>
                  </a:lnTo>
                  <a:lnTo>
                    <a:pt x="2366" y="3649"/>
                  </a:lnTo>
                  <a:lnTo>
                    <a:pt x="2363" y="3650"/>
                  </a:lnTo>
                  <a:lnTo>
                    <a:pt x="2355" y="3649"/>
                  </a:lnTo>
                  <a:lnTo>
                    <a:pt x="2350" y="3650"/>
                  </a:lnTo>
                  <a:lnTo>
                    <a:pt x="2347" y="3653"/>
                  </a:lnTo>
                  <a:lnTo>
                    <a:pt x="2348" y="3662"/>
                  </a:lnTo>
                  <a:lnTo>
                    <a:pt x="2352" y="3669"/>
                  </a:lnTo>
                  <a:lnTo>
                    <a:pt x="2357" y="3675"/>
                  </a:lnTo>
                  <a:lnTo>
                    <a:pt x="2360" y="3680"/>
                  </a:lnTo>
                  <a:lnTo>
                    <a:pt x="2351" y="3672"/>
                  </a:lnTo>
                  <a:lnTo>
                    <a:pt x="2346" y="3669"/>
                  </a:lnTo>
                  <a:lnTo>
                    <a:pt x="2345" y="3665"/>
                  </a:lnTo>
                  <a:lnTo>
                    <a:pt x="2344" y="3661"/>
                  </a:lnTo>
                  <a:lnTo>
                    <a:pt x="2343" y="3657"/>
                  </a:lnTo>
                  <a:lnTo>
                    <a:pt x="2340" y="3654"/>
                  </a:lnTo>
                  <a:lnTo>
                    <a:pt x="2324" y="3651"/>
                  </a:lnTo>
                  <a:lnTo>
                    <a:pt x="2317" y="3647"/>
                  </a:lnTo>
                  <a:lnTo>
                    <a:pt x="2314" y="3646"/>
                  </a:lnTo>
                  <a:lnTo>
                    <a:pt x="2310" y="3647"/>
                  </a:lnTo>
                  <a:lnTo>
                    <a:pt x="2308" y="3651"/>
                  </a:lnTo>
                  <a:lnTo>
                    <a:pt x="2307" y="3655"/>
                  </a:lnTo>
                  <a:lnTo>
                    <a:pt x="2304" y="3665"/>
                  </a:lnTo>
                  <a:lnTo>
                    <a:pt x="2303" y="3669"/>
                  </a:lnTo>
                  <a:lnTo>
                    <a:pt x="2305" y="3671"/>
                  </a:lnTo>
                  <a:lnTo>
                    <a:pt x="2308" y="3673"/>
                  </a:lnTo>
                  <a:lnTo>
                    <a:pt x="2331" y="3680"/>
                  </a:lnTo>
                  <a:lnTo>
                    <a:pt x="2335" y="3687"/>
                  </a:lnTo>
                  <a:lnTo>
                    <a:pt x="2333" y="3687"/>
                  </a:lnTo>
                  <a:lnTo>
                    <a:pt x="2330" y="3683"/>
                  </a:lnTo>
                  <a:lnTo>
                    <a:pt x="2329" y="3683"/>
                  </a:lnTo>
                  <a:lnTo>
                    <a:pt x="2326" y="3684"/>
                  </a:lnTo>
                  <a:lnTo>
                    <a:pt x="2326" y="3685"/>
                  </a:lnTo>
                  <a:lnTo>
                    <a:pt x="2325" y="3687"/>
                  </a:lnTo>
                  <a:lnTo>
                    <a:pt x="2320" y="3701"/>
                  </a:lnTo>
                  <a:lnTo>
                    <a:pt x="2318" y="3706"/>
                  </a:lnTo>
                  <a:lnTo>
                    <a:pt x="2316" y="3707"/>
                  </a:lnTo>
                  <a:lnTo>
                    <a:pt x="2314" y="3708"/>
                  </a:lnTo>
                  <a:lnTo>
                    <a:pt x="2313" y="3689"/>
                  </a:lnTo>
                  <a:lnTo>
                    <a:pt x="2303" y="3680"/>
                  </a:lnTo>
                  <a:lnTo>
                    <a:pt x="2292" y="3674"/>
                  </a:lnTo>
                  <a:lnTo>
                    <a:pt x="2284" y="3664"/>
                  </a:lnTo>
                  <a:lnTo>
                    <a:pt x="2284" y="3663"/>
                  </a:lnTo>
                  <a:lnTo>
                    <a:pt x="2285" y="3658"/>
                  </a:lnTo>
                  <a:lnTo>
                    <a:pt x="2285" y="3656"/>
                  </a:lnTo>
                  <a:lnTo>
                    <a:pt x="2285" y="3653"/>
                  </a:lnTo>
                  <a:lnTo>
                    <a:pt x="2284" y="3653"/>
                  </a:lnTo>
                  <a:lnTo>
                    <a:pt x="2283" y="3653"/>
                  </a:lnTo>
                  <a:lnTo>
                    <a:pt x="2281" y="3651"/>
                  </a:lnTo>
                  <a:lnTo>
                    <a:pt x="2280" y="3648"/>
                  </a:lnTo>
                  <a:lnTo>
                    <a:pt x="2275" y="3644"/>
                  </a:lnTo>
                  <a:lnTo>
                    <a:pt x="2270" y="3638"/>
                  </a:lnTo>
                  <a:lnTo>
                    <a:pt x="2268" y="3638"/>
                  </a:lnTo>
                  <a:lnTo>
                    <a:pt x="2265" y="3641"/>
                  </a:lnTo>
                  <a:lnTo>
                    <a:pt x="2265" y="3642"/>
                  </a:lnTo>
                  <a:lnTo>
                    <a:pt x="2265" y="3645"/>
                  </a:lnTo>
                  <a:lnTo>
                    <a:pt x="2265" y="3646"/>
                  </a:lnTo>
                  <a:lnTo>
                    <a:pt x="2264" y="3646"/>
                  </a:lnTo>
                  <a:lnTo>
                    <a:pt x="2262" y="3645"/>
                  </a:lnTo>
                  <a:lnTo>
                    <a:pt x="2261" y="3646"/>
                  </a:lnTo>
                  <a:lnTo>
                    <a:pt x="2257" y="3645"/>
                  </a:lnTo>
                  <a:lnTo>
                    <a:pt x="2255" y="3646"/>
                  </a:lnTo>
                  <a:lnTo>
                    <a:pt x="2255" y="3648"/>
                  </a:lnTo>
                  <a:lnTo>
                    <a:pt x="2255" y="3648"/>
                  </a:lnTo>
                  <a:lnTo>
                    <a:pt x="2254" y="3648"/>
                  </a:lnTo>
                  <a:lnTo>
                    <a:pt x="2254" y="3649"/>
                  </a:lnTo>
                  <a:lnTo>
                    <a:pt x="2255" y="3652"/>
                  </a:lnTo>
                  <a:lnTo>
                    <a:pt x="2256" y="3653"/>
                  </a:lnTo>
                  <a:lnTo>
                    <a:pt x="2255" y="3653"/>
                  </a:lnTo>
                  <a:lnTo>
                    <a:pt x="2253" y="3654"/>
                  </a:lnTo>
                  <a:lnTo>
                    <a:pt x="2253" y="3655"/>
                  </a:lnTo>
                  <a:lnTo>
                    <a:pt x="2254" y="3659"/>
                  </a:lnTo>
                  <a:lnTo>
                    <a:pt x="2259" y="3663"/>
                  </a:lnTo>
                  <a:lnTo>
                    <a:pt x="2261" y="3667"/>
                  </a:lnTo>
                  <a:lnTo>
                    <a:pt x="2259" y="3668"/>
                  </a:lnTo>
                  <a:lnTo>
                    <a:pt x="2257" y="3669"/>
                  </a:lnTo>
                  <a:lnTo>
                    <a:pt x="2256" y="3669"/>
                  </a:lnTo>
                  <a:lnTo>
                    <a:pt x="2259" y="3673"/>
                  </a:lnTo>
                  <a:lnTo>
                    <a:pt x="2275" y="3676"/>
                  </a:lnTo>
                  <a:lnTo>
                    <a:pt x="2289" y="3687"/>
                  </a:lnTo>
                  <a:lnTo>
                    <a:pt x="2291" y="3691"/>
                  </a:lnTo>
                  <a:lnTo>
                    <a:pt x="2293" y="3696"/>
                  </a:lnTo>
                  <a:lnTo>
                    <a:pt x="2295" y="3698"/>
                  </a:lnTo>
                  <a:lnTo>
                    <a:pt x="2300" y="3698"/>
                  </a:lnTo>
                  <a:lnTo>
                    <a:pt x="2303" y="3699"/>
                  </a:lnTo>
                  <a:lnTo>
                    <a:pt x="2305" y="3704"/>
                  </a:lnTo>
                  <a:lnTo>
                    <a:pt x="2301" y="3705"/>
                  </a:lnTo>
                  <a:lnTo>
                    <a:pt x="2295" y="3704"/>
                  </a:lnTo>
                  <a:lnTo>
                    <a:pt x="2290" y="3701"/>
                  </a:lnTo>
                  <a:lnTo>
                    <a:pt x="2289" y="3709"/>
                  </a:lnTo>
                  <a:lnTo>
                    <a:pt x="2287" y="3713"/>
                  </a:lnTo>
                  <a:lnTo>
                    <a:pt x="2281" y="3717"/>
                  </a:lnTo>
                  <a:lnTo>
                    <a:pt x="2280" y="3720"/>
                  </a:lnTo>
                  <a:lnTo>
                    <a:pt x="2280" y="3722"/>
                  </a:lnTo>
                  <a:lnTo>
                    <a:pt x="2279" y="3724"/>
                  </a:lnTo>
                  <a:lnTo>
                    <a:pt x="2278" y="3724"/>
                  </a:lnTo>
                  <a:lnTo>
                    <a:pt x="2277" y="3724"/>
                  </a:lnTo>
                  <a:lnTo>
                    <a:pt x="2275" y="3721"/>
                  </a:lnTo>
                  <a:lnTo>
                    <a:pt x="2273" y="3720"/>
                  </a:lnTo>
                  <a:lnTo>
                    <a:pt x="2272" y="3721"/>
                  </a:lnTo>
                  <a:lnTo>
                    <a:pt x="2271" y="3722"/>
                  </a:lnTo>
                  <a:lnTo>
                    <a:pt x="2270" y="3724"/>
                  </a:lnTo>
                  <a:lnTo>
                    <a:pt x="2269" y="3724"/>
                  </a:lnTo>
                  <a:lnTo>
                    <a:pt x="2268" y="3723"/>
                  </a:lnTo>
                  <a:lnTo>
                    <a:pt x="2267" y="3720"/>
                  </a:lnTo>
                  <a:lnTo>
                    <a:pt x="2266" y="3718"/>
                  </a:lnTo>
                  <a:lnTo>
                    <a:pt x="2264" y="3720"/>
                  </a:lnTo>
                  <a:lnTo>
                    <a:pt x="2264" y="3721"/>
                  </a:lnTo>
                  <a:lnTo>
                    <a:pt x="2261" y="3729"/>
                  </a:lnTo>
                  <a:lnTo>
                    <a:pt x="2259" y="3734"/>
                  </a:lnTo>
                  <a:lnTo>
                    <a:pt x="2257" y="3738"/>
                  </a:lnTo>
                  <a:lnTo>
                    <a:pt x="2263" y="3744"/>
                  </a:lnTo>
                  <a:lnTo>
                    <a:pt x="2266" y="3745"/>
                  </a:lnTo>
                  <a:lnTo>
                    <a:pt x="2268" y="3744"/>
                  </a:lnTo>
                  <a:lnTo>
                    <a:pt x="2272" y="3740"/>
                  </a:lnTo>
                  <a:lnTo>
                    <a:pt x="2276" y="3739"/>
                  </a:lnTo>
                  <a:lnTo>
                    <a:pt x="2285" y="3741"/>
                  </a:lnTo>
                  <a:lnTo>
                    <a:pt x="2289" y="3740"/>
                  </a:lnTo>
                  <a:lnTo>
                    <a:pt x="2297" y="3735"/>
                  </a:lnTo>
                  <a:lnTo>
                    <a:pt x="2309" y="3731"/>
                  </a:lnTo>
                  <a:lnTo>
                    <a:pt x="2311" y="3732"/>
                  </a:lnTo>
                  <a:lnTo>
                    <a:pt x="2312" y="3734"/>
                  </a:lnTo>
                  <a:lnTo>
                    <a:pt x="2313" y="3736"/>
                  </a:lnTo>
                  <a:lnTo>
                    <a:pt x="2323" y="3731"/>
                  </a:lnTo>
                  <a:lnTo>
                    <a:pt x="2344" y="3736"/>
                  </a:lnTo>
                  <a:lnTo>
                    <a:pt x="2394" y="3738"/>
                  </a:lnTo>
                  <a:lnTo>
                    <a:pt x="2394" y="3741"/>
                  </a:lnTo>
                  <a:lnTo>
                    <a:pt x="2389" y="3743"/>
                  </a:lnTo>
                  <a:lnTo>
                    <a:pt x="2357" y="3745"/>
                  </a:lnTo>
                  <a:lnTo>
                    <a:pt x="2357" y="3748"/>
                  </a:lnTo>
                  <a:lnTo>
                    <a:pt x="2368" y="3758"/>
                  </a:lnTo>
                  <a:lnTo>
                    <a:pt x="2369" y="3759"/>
                  </a:lnTo>
                  <a:lnTo>
                    <a:pt x="2370" y="3758"/>
                  </a:lnTo>
                  <a:lnTo>
                    <a:pt x="2372" y="3755"/>
                  </a:lnTo>
                  <a:lnTo>
                    <a:pt x="2373" y="3754"/>
                  </a:lnTo>
                  <a:lnTo>
                    <a:pt x="2375" y="3754"/>
                  </a:lnTo>
                  <a:lnTo>
                    <a:pt x="2380" y="3751"/>
                  </a:lnTo>
                  <a:lnTo>
                    <a:pt x="2382" y="3750"/>
                  </a:lnTo>
                  <a:lnTo>
                    <a:pt x="2385" y="3750"/>
                  </a:lnTo>
                  <a:lnTo>
                    <a:pt x="2394" y="3754"/>
                  </a:lnTo>
                  <a:lnTo>
                    <a:pt x="2403" y="3754"/>
                  </a:lnTo>
                  <a:lnTo>
                    <a:pt x="2406" y="3754"/>
                  </a:lnTo>
                  <a:lnTo>
                    <a:pt x="2413" y="3761"/>
                  </a:lnTo>
                  <a:lnTo>
                    <a:pt x="2415" y="3761"/>
                  </a:lnTo>
                  <a:lnTo>
                    <a:pt x="2441" y="3759"/>
                  </a:lnTo>
                  <a:lnTo>
                    <a:pt x="2476" y="3769"/>
                  </a:lnTo>
                  <a:lnTo>
                    <a:pt x="2481" y="3766"/>
                  </a:lnTo>
                  <a:lnTo>
                    <a:pt x="2484" y="3761"/>
                  </a:lnTo>
                  <a:lnTo>
                    <a:pt x="2485" y="3756"/>
                  </a:lnTo>
                  <a:lnTo>
                    <a:pt x="2488" y="3751"/>
                  </a:lnTo>
                  <a:lnTo>
                    <a:pt x="2505" y="3748"/>
                  </a:lnTo>
                  <a:lnTo>
                    <a:pt x="2505" y="3747"/>
                  </a:lnTo>
                  <a:lnTo>
                    <a:pt x="2507" y="3746"/>
                  </a:lnTo>
                  <a:lnTo>
                    <a:pt x="2508" y="3745"/>
                  </a:lnTo>
                  <a:lnTo>
                    <a:pt x="2509" y="3746"/>
                  </a:lnTo>
                  <a:lnTo>
                    <a:pt x="2509" y="3749"/>
                  </a:lnTo>
                  <a:lnTo>
                    <a:pt x="2510" y="3750"/>
                  </a:lnTo>
                  <a:lnTo>
                    <a:pt x="2518" y="3752"/>
                  </a:lnTo>
                  <a:lnTo>
                    <a:pt x="2520" y="3753"/>
                  </a:lnTo>
                  <a:lnTo>
                    <a:pt x="2522" y="3754"/>
                  </a:lnTo>
                  <a:lnTo>
                    <a:pt x="2527" y="3752"/>
                  </a:lnTo>
                  <a:lnTo>
                    <a:pt x="2530" y="3752"/>
                  </a:lnTo>
                  <a:lnTo>
                    <a:pt x="2530" y="3754"/>
                  </a:lnTo>
                  <a:lnTo>
                    <a:pt x="2529" y="3756"/>
                  </a:lnTo>
                  <a:lnTo>
                    <a:pt x="2527" y="3758"/>
                  </a:lnTo>
                  <a:lnTo>
                    <a:pt x="2525" y="3762"/>
                  </a:lnTo>
                  <a:lnTo>
                    <a:pt x="2524" y="3764"/>
                  </a:lnTo>
                  <a:lnTo>
                    <a:pt x="2522" y="3762"/>
                  </a:lnTo>
                  <a:lnTo>
                    <a:pt x="2520" y="3760"/>
                  </a:lnTo>
                  <a:lnTo>
                    <a:pt x="2519" y="3759"/>
                  </a:lnTo>
                  <a:lnTo>
                    <a:pt x="2514" y="3758"/>
                  </a:lnTo>
                  <a:lnTo>
                    <a:pt x="2506" y="3753"/>
                  </a:lnTo>
                  <a:lnTo>
                    <a:pt x="2502" y="3752"/>
                  </a:lnTo>
                  <a:lnTo>
                    <a:pt x="2498" y="3752"/>
                  </a:lnTo>
                  <a:lnTo>
                    <a:pt x="2494" y="3754"/>
                  </a:lnTo>
                  <a:lnTo>
                    <a:pt x="2490" y="3757"/>
                  </a:lnTo>
                  <a:lnTo>
                    <a:pt x="2487" y="3761"/>
                  </a:lnTo>
                  <a:lnTo>
                    <a:pt x="2485" y="3770"/>
                  </a:lnTo>
                  <a:lnTo>
                    <a:pt x="2483" y="3773"/>
                  </a:lnTo>
                  <a:lnTo>
                    <a:pt x="2480" y="3775"/>
                  </a:lnTo>
                  <a:lnTo>
                    <a:pt x="2475" y="3776"/>
                  </a:lnTo>
                  <a:lnTo>
                    <a:pt x="2461" y="3775"/>
                  </a:lnTo>
                  <a:lnTo>
                    <a:pt x="2457" y="3774"/>
                  </a:lnTo>
                  <a:lnTo>
                    <a:pt x="2450" y="3767"/>
                  </a:lnTo>
                  <a:lnTo>
                    <a:pt x="2446" y="3766"/>
                  </a:lnTo>
                  <a:lnTo>
                    <a:pt x="2409" y="3766"/>
                  </a:lnTo>
                  <a:lnTo>
                    <a:pt x="2409" y="3768"/>
                  </a:lnTo>
                  <a:lnTo>
                    <a:pt x="2412" y="3769"/>
                  </a:lnTo>
                  <a:lnTo>
                    <a:pt x="2415" y="3772"/>
                  </a:lnTo>
                  <a:lnTo>
                    <a:pt x="2417" y="3775"/>
                  </a:lnTo>
                  <a:lnTo>
                    <a:pt x="2420" y="3779"/>
                  </a:lnTo>
                  <a:lnTo>
                    <a:pt x="2422" y="3781"/>
                  </a:lnTo>
                  <a:lnTo>
                    <a:pt x="2425" y="3782"/>
                  </a:lnTo>
                  <a:lnTo>
                    <a:pt x="2427" y="3784"/>
                  </a:lnTo>
                  <a:lnTo>
                    <a:pt x="2429" y="3789"/>
                  </a:lnTo>
                  <a:lnTo>
                    <a:pt x="2420" y="3788"/>
                  </a:lnTo>
                  <a:lnTo>
                    <a:pt x="2416" y="3785"/>
                  </a:lnTo>
                  <a:lnTo>
                    <a:pt x="2409" y="3775"/>
                  </a:lnTo>
                  <a:lnTo>
                    <a:pt x="2402" y="3767"/>
                  </a:lnTo>
                  <a:lnTo>
                    <a:pt x="2399" y="3766"/>
                  </a:lnTo>
                  <a:lnTo>
                    <a:pt x="2396" y="3767"/>
                  </a:lnTo>
                  <a:lnTo>
                    <a:pt x="2394" y="3771"/>
                  </a:lnTo>
                  <a:lnTo>
                    <a:pt x="2393" y="3782"/>
                  </a:lnTo>
                  <a:lnTo>
                    <a:pt x="2391" y="3788"/>
                  </a:lnTo>
                  <a:lnTo>
                    <a:pt x="2389" y="3791"/>
                  </a:lnTo>
                  <a:lnTo>
                    <a:pt x="2387" y="3794"/>
                  </a:lnTo>
                  <a:lnTo>
                    <a:pt x="2384" y="3798"/>
                  </a:lnTo>
                  <a:lnTo>
                    <a:pt x="2384" y="3794"/>
                  </a:lnTo>
                  <a:lnTo>
                    <a:pt x="2388" y="3784"/>
                  </a:lnTo>
                  <a:lnTo>
                    <a:pt x="2390" y="3772"/>
                  </a:lnTo>
                  <a:lnTo>
                    <a:pt x="2391" y="3769"/>
                  </a:lnTo>
                  <a:lnTo>
                    <a:pt x="2392" y="3765"/>
                  </a:lnTo>
                  <a:lnTo>
                    <a:pt x="2391" y="3762"/>
                  </a:lnTo>
                  <a:lnTo>
                    <a:pt x="2388" y="3761"/>
                  </a:lnTo>
                  <a:lnTo>
                    <a:pt x="2358" y="3766"/>
                  </a:lnTo>
                  <a:lnTo>
                    <a:pt x="2344" y="3772"/>
                  </a:lnTo>
                  <a:lnTo>
                    <a:pt x="2340" y="3773"/>
                  </a:lnTo>
                  <a:lnTo>
                    <a:pt x="2343" y="3766"/>
                  </a:lnTo>
                  <a:lnTo>
                    <a:pt x="2348" y="3764"/>
                  </a:lnTo>
                  <a:lnTo>
                    <a:pt x="2354" y="3764"/>
                  </a:lnTo>
                  <a:lnTo>
                    <a:pt x="2359" y="3761"/>
                  </a:lnTo>
                  <a:lnTo>
                    <a:pt x="2355" y="3757"/>
                  </a:lnTo>
                  <a:lnTo>
                    <a:pt x="2351" y="3751"/>
                  </a:lnTo>
                  <a:lnTo>
                    <a:pt x="2348" y="3748"/>
                  </a:lnTo>
                  <a:lnTo>
                    <a:pt x="2342" y="3748"/>
                  </a:lnTo>
                  <a:lnTo>
                    <a:pt x="2337" y="3744"/>
                  </a:lnTo>
                  <a:lnTo>
                    <a:pt x="2333" y="3744"/>
                  </a:lnTo>
                  <a:lnTo>
                    <a:pt x="2327" y="3745"/>
                  </a:lnTo>
                  <a:lnTo>
                    <a:pt x="2324" y="3744"/>
                  </a:lnTo>
                  <a:lnTo>
                    <a:pt x="2319" y="3741"/>
                  </a:lnTo>
                  <a:lnTo>
                    <a:pt x="2304" y="3740"/>
                  </a:lnTo>
                  <a:lnTo>
                    <a:pt x="2299" y="3742"/>
                  </a:lnTo>
                  <a:lnTo>
                    <a:pt x="2289" y="3755"/>
                  </a:lnTo>
                  <a:lnTo>
                    <a:pt x="2287" y="3757"/>
                  </a:lnTo>
                  <a:lnTo>
                    <a:pt x="2288" y="3760"/>
                  </a:lnTo>
                  <a:lnTo>
                    <a:pt x="2289" y="3761"/>
                  </a:lnTo>
                  <a:lnTo>
                    <a:pt x="2292" y="3762"/>
                  </a:lnTo>
                  <a:lnTo>
                    <a:pt x="2295" y="3764"/>
                  </a:lnTo>
                  <a:lnTo>
                    <a:pt x="2288" y="3764"/>
                  </a:lnTo>
                  <a:lnTo>
                    <a:pt x="2282" y="3766"/>
                  </a:lnTo>
                  <a:lnTo>
                    <a:pt x="2283" y="3767"/>
                  </a:lnTo>
                  <a:lnTo>
                    <a:pt x="2284" y="3768"/>
                  </a:lnTo>
                  <a:lnTo>
                    <a:pt x="2284" y="3768"/>
                  </a:lnTo>
                  <a:lnTo>
                    <a:pt x="2280" y="3772"/>
                  </a:lnTo>
                  <a:lnTo>
                    <a:pt x="2262" y="3780"/>
                  </a:lnTo>
                  <a:lnTo>
                    <a:pt x="2258" y="3783"/>
                  </a:lnTo>
                  <a:lnTo>
                    <a:pt x="2254" y="3786"/>
                  </a:lnTo>
                  <a:lnTo>
                    <a:pt x="2251" y="3791"/>
                  </a:lnTo>
                  <a:lnTo>
                    <a:pt x="2271" y="3788"/>
                  </a:lnTo>
                  <a:lnTo>
                    <a:pt x="2265" y="3791"/>
                  </a:lnTo>
                  <a:lnTo>
                    <a:pt x="2261" y="3794"/>
                  </a:lnTo>
                  <a:lnTo>
                    <a:pt x="2263" y="3796"/>
                  </a:lnTo>
                  <a:lnTo>
                    <a:pt x="2268" y="3803"/>
                  </a:lnTo>
                  <a:lnTo>
                    <a:pt x="2265" y="3805"/>
                  </a:lnTo>
                  <a:lnTo>
                    <a:pt x="2263" y="3805"/>
                  </a:lnTo>
                  <a:lnTo>
                    <a:pt x="2261" y="3805"/>
                  </a:lnTo>
                  <a:lnTo>
                    <a:pt x="2261" y="3804"/>
                  </a:lnTo>
                  <a:lnTo>
                    <a:pt x="2258" y="3800"/>
                  </a:lnTo>
                  <a:lnTo>
                    <a:pt x="2257" y="3800"/>
                  </a:lnTo>
                  <a:lnTo>
                    <a:pt x="2255" y="3800"/>
                  </a:lnTo>
                  <a:lnTo>
                    <a:pt x="2254" y="3800"/>
                  </a:lnTo>
                  <a:lnTo>
                    <a:pt x="2254" y="3800"/>
                  </a:lnTo>
                  <a:lnTo>
                    <a:pt x="2254" y="3798"/>
                  </a:lnTo>
                  <a:lnTo>
                    <a:pt x="2253" y="3797"/>
                  </a:lnTo>
                  <a:lnTo>
                    <a:pt x="2253" y="3796"/>
                  </a:lnTo>
                  <a:lnTo>
                    <a:pt x="2250" y="3794"/>
                  </a:lnTo>
                  <a:lnTo>
                    <a:pt x="2247" y="3794"/>
                  </a:lnTo>
                  <a:lnTo>
                    <a:pt x="2242" y="3794"/>
                  </a:lnTo>
                  <a:lnTo>
                    <a:pt x="2240" y="3795"/>
                  </a:lnTo>
                  <a:lnTo>
                    <a:pt x="2237" y="3798"/>
                  </a:lnTo>
                  <a:lnTo>
                    <a:pt x="2238" y="3799"/>
                  </a:lnTo>
                  <a:lnTo>
                    <a:pt x="2239" y="3800"/>
                  </a:lnTo>
                  <a:lnTo>
                    <a:pt x="2239" y="3801"/>
                  </a:lnTo>
                  <a:lnTo>
                    <a:pt x="2240" y="3803"/>
                  </a:lnTo>
                  <a:lnTo>
                    <a:pt x="2237" y="3803"/>
                  </a:lnTo>
                  <a:lnTo>
                    <a:pt x="2236" y="3805"/>
                  </a:lnTo>
                  <a:lnTo>
                    <a:pt x="2235" y="3809"/>
                  </a:lnTo>
                  <a:lnTo>
                    <a:pt x="2236" y="3812"/>
                  </a:lnTo>
                  <a:lnTo>
                    <a:pt x="2235" y="3813"/>
                  </a:lnTo>
                  <a:lnTo>
                    <a:pt x="2233" y="3815"/>
                  </a:lnTo>
                  <a:lnTo>
                    <a:pt x="2232" y="3818"/>
                  </a:lnTo>
                  <a:lnTo>
                    <a:pt x="2232" y="3822"/>
                  </a:lnTo>
                  <a:lnTo>
                    <a:pt x="2235" y="3831"/>
                  </a:lnTo>
                  <a:lnTo>
                    <a:pt x="2236" y="3833"/>
                  </a:lnTo>
                  <a:lnTo>
                    <a:pt x="2240" y="3834"/>
                  </a:lnTo>
                  <a:lnTo>
                    <a:pt x="2278" y="3835"/>
                  </a:lnTo>
                  <a:lnTo>
                    <a:pt x="2280" y="3834"/>
                  </a:lnTo>
                  <a:lnTo>
                    <a:pt x="2286" y="3830"/>
                  </a:lnTo>
                  <a:lnTo>
                    <a:pt x="2295" y="3830"/>
                  </a:lnTo>
                  <a:lnTo>
                    <a:pt x="2292" y="3835"/>
                  </a:lnTo>
                  <a:lnTo>
                    <a:pt x="2284" y="3839"/>
                  </a:lnTo>
                  <a:lnTo>
                    <a:pt x="2297" y="3842"/>
                  </a:lnTo>
                  <a:lnTo>
                    <a:pt x="2309" y="3848"/>
                  </a:lnTo>
                  <a:lnTo>
                    <a:pt x="2305" y="3851"/>
                  </a:lnTo>
                  <a:lnTo>
                    <a:pt x="2290" y="3850"/>
                  </a:lnTo>
                  <a:lnTo>
                    <a:pt x="2290" y="3848"/>
                  </a:lnTo>
                  <a:lnTo>
                    <a:pt x="2292" y="3848"/>
                  </a:lnTo>
                  <a:lnTo>
                    <a:pt x="2295" y="3846"/>
                  </a:lnTo>
                  <a:lnTo>
                    <a:pt x="2265" y="3846"/>
                  </a:lnTo>
                  <a:lnTo>
                    <a:pt x="2269" y="3849"/>
                  </a:lnTo>
                  <a:lnTo>
                    <a:pt x="2294" y="3857"/>
                  </a:lnTo>
                  <a:lnTo>
                    <a:pt x="2298" y="3858"/>
                  </a:lnTo>
                  <a:lnTo>
                    <a:pt x="2298" y="3860"/>
                  </a:lnTo>
                  <a:lnTo>
                    <a:pt x="2280" y="3860"/>
                  </a:lnTo>
                  <a:lnTo>
                    <a:pt x="2275" y="3862"/>
                  </a:lnTo>
                  <a:lnTo>
                    <a:pt x="2273" y="3862"/>
                  </a:lnTo>
                  <a:lnTo>
                    <a:pt x="2266" y="3860"/>
                  </a:lnTo>
                  <a:lnTo>
                    <a:pt x="2264" y="3860"/>
                  </a:lnTo>
                  <a:lnTo>
                    <a:pt x="2264" y="3862"/>
                  </a:lnTo>
                  <a:lnTo>
                    <a:pt x="2264" y="3862"/>
                  </a:lnTo>
                  <a:lnTo>
                    <a:pt x="2265" y="3864"/>
                  </a:lnTo>
                  <a:lnTo>
                    <a:pt x="2263" y="3870"/>
                  </a:lnTo>
                  <a:lnTo>
                    <a:pt x="2270" y="3874"/>
                  </a:lnTo>
                  <a:lnTo>
                    <a:pt x="2281" y="3879"/>
                  </a:lnTo>
                  <a:lnTo>
                    <a:pt x="2287" y="3884"/>
                  </a:lnTo>
                  <a:lnTo>
                    <a:pt x="2304" y="3882"/>
                  </a:lnTo>
                  <a:lnTo>
                    <a:pt x="2311" y="3885"/>
                  </a:lnTo>
                  <a:lnTo>
                    <a:pt x="2311" y="3891"/>
                  </a:lnTo>
                  <a:lnTo>
                    <a:pt x="2314" y="3893"/>
                  </a:lnTo>
                  <a:lnTo>
                    <a:pt x="2319" y="3893"/>
                  </a:lnTo>
                  <a:lnTo>
                    <a:pt x="2324" y="3889"/>
                  </a:lnTo>
                  <a:lnTo>
                    <a:pt x="2333" y="3889"/>
                  </a:lnTo>
                  <a:lnTo>
                    <a:pt x="2334" y="3888"/>
                  </a:lnTo>
                  <a:lnTo>
                    <a:pt x="2338" y="3883"/>
                  </a:lnTo>
                  <a:lnTo>
                    <a:pt x="2343" y="3880"/>
                  </a:lnTo>
                  <a:lnTo>
                    <a:pt x="2347" y="3878"/>
                  </a:lnTo>
                  <a:lnTo>
                    <a:pt x="2356" y="3878"/>
                  </a:lnTo>
                  <a:lnTo>
                    <a:pt x="2360" y="3880"/>
                  </a:lnTo>
                  <a:lnTo>
                    <a:pt x="2365" y="3889"/>
                  </a:lnTo>
                  <a:lnTo>
                    <a:pt x="2369" y="3892"/>
                  </a:lnTo>
                  <a:lnTo>
                    <a:pt x="2369" y="3894"/>
                  </a:lnTo>
                  <a:lnTo>
                    <a:pt x="2366" y="3894"/>
                  </a:lnTo>
                  <a:lnTo>
                    <a:pt x="2363" y="3893"/>
                  </a:lnTo>
                  <a:lnTo>
                    <a:pt x="2361" y="3886"/>
                  </a:lnTo>
                  <a:lnTo>
                    <a:pt x="2358" y="3883"/>
                  </a:lnTo>
                  <a:lnTo>
                    <a:pt x="2354" y="3882"/>
                  </a:lnTo>
                  <a:lnTo>
                    <a:pt x="2347" y="3883"/>
                  </a:lnTo>
                  <a:lnTo>
                    <a:pt x="2345" y="3884"/>
                  </a:lnTo>
                  <a:lnTo>
                    <a:pt x="2343" y="3887"/>
                  </a:lnTo>
                  <a:lnTo>
                    <a:pt x="2341" y="3889"/>
                  </a:lnTo>
                  <a:lnTo>
                    <a:pt x="2340" y="3892"/>
                  </a:lnTo>
                  <a:lnTo>
                    <a:pt x="2336" y="3893"/>
                  </a:lnTo>
                  <a:lnTo>
                    <a:pt x="2330" y="3894"/>
                  </a:lnTo>
                  <a:lnTo>
                    <a:pt x="2327" y="3896"/>
                  </a:lnTo>
                  <a:lnTo>
                    <a:pt x="2328" y="3899"/>
                  </a:lnTo>
                  <a:lnTo>
                    <a:pt x="2324" y="3901"/>
                  </a:lnTo>
                  <a:lnTo>
                    <a:pt x="2318" y="3900"/>
                  </a:lnTo>
                  <a:lnTo>
                    <a:pt x="2295" y="3889"/>
                  </a:lnTo>
                  <a:lnTo>
                    <a:pt x="2291" y="3895"/>
                  </a:lnTo>
                  <a:lnTo>
                    <a:pt x="2284" y="3893"/>
                  </a:lnTo>
                  <a:lnTo>
                    <a:pt x="2276" y="3888"/>
                  </a:lnTo>
                  <a:lnTo>
                    <a:pt x="2270" y="3887"/>
                  </a:lnTo>
                  <a:lnTo>
                    <a:pt x="2271" y="3889"/>
                  </a:lnTo>
                  <a:lnTo>
                    <a:pt x="2267" y="3894"/>
                  </a:lnTo>
                  <a:lnTo>
                    <a:pt x="2250" y="3896"/>
                  </a:lnTo>
                  <a:lnTo>
                    <a:pt x="2233" y="3906"/>
                  </a:lnTo>
                  <a:lnTo>
                    <a:pt x="2233" y="3907"/>
                  </a:lnTo>
                  <a:lnTo>
                    <a:pt x="2240" y="3907"/>
                  </a:lnTo>
                  <a:lnTo>
                    <a:pt x="2246" y="3906"/>
                  </a:lnTo>
                  <a:lnTo>
                    <a:pt x="2253" y="3905"/>
                  </a:lnTo>
                  <a:lnTo>
                    <a:pt x="2256" y="3904"/>
                  </a:lnTo>
                  <a:lnTo>
                    <a:pt x="2259" y="3901"/>
                  </a:lnTo>
                  <a:lnTo>
                    <a:pt x="2260" y="3902"/>
                  </a:lnTo>
                  <a:lnTo>
                    <a:pt x="2260" y="3903"/>
                  </a:lnTo>
                  <a:lnTo>
                    <a:pt x="2260" y="3904"/>
                  </a:lnTo>
                  <a:lnTo>
                    <a:pt x="2260" y="3906"/>
                  </a:lnTo>
                  <a:lnTo>
                    <a:pt x="2255" y="3907"/>
                  </a:lnTo>
                  <a:lnTo>
                    <a:pt x="2254" y="3907"/>
                  </a:lnTo>
                  <a:lnTo>
                    <a:pt x="2254" y="3909"/>
                  </a:lnTo>
                  <a:lnTo>
                    <a:pt x="2254" y="3915"/>
                  </a:lnTo>
                  <a:lnTo>
                    <a:pt x="2254" y="3917"/>
                  </a:lnTo>
                  <a:lnTo>
                    <a:pt x="2251" y="3919"/>
                  </a:lnTo>
                  <a:lnTo>
                    <a:pt x="2250" y="3917"/>
                  </a:lnTo>
                  <a:lnTo>
                    <a:pt x="2250" y="3913"/>
                  </a:lnTo>
                  <a:lnTo>
                    <a:pt x="2248" y="3910"/>
                  </a:lnTo>
                  <a:lnTo>
                    <a:pt x="2246" y="3910"/>
                  </a:lnTo>
                  <a:lnTo>
                    <a:pt x="2243" y="3914"/>
                  </a:lnTo>
                  <a:lnTo>
                    <a:pt x="2241" y="3919"/>
                  </a:lnTo>
                  <a:lnTo>
                    <a:pt x="2241" y="3924"/>
                  </a:lnTo>
                  <a:lnTo>
                    <a:pt x="2242" y="3928"/>
                  </a:lnTo>
                  <a:lnTo>
                    <a:pt x="2246" y="3931"/>
                  </a:lnTo>
                  <a:lnTo>
                    <a:pt x="2247" y="3935"/>
                  </a:lnTo>
                  <a:lnTo>
                    <a:pt x="2250" y="3936"/>
                  </a:lnTo>
                  <a:lnTo>
                    <a:pt x="2256" y="3934"/>
                  </a:lnTo>
                  <a:lnTo>
                    <a:pt x="2262" y="3931"/>
                  </a:lnTo>
                  <a:lnTo>
                    <a:pt x="2265" y="3927"/>
                  </a:lnTo>
                  <a:lnTo>
                    <a:pt x="2267" y="3926"/>
                  </a:lnTo>
                  <a:lnTo>
                    <a:pt x="2329" y="3918"/>
                  </a:lnTo>
                  <a:lnTo>
                    <a:pt x="2337" y="3919"/>
                  </a:lnTo>
                  <a:lnTo>
                    <a:pt x="2342" y="3924"/>
                  </a:lnTo>
                  <a:lnTo>
                    <a:pt x="2311" y="3922"/>
                  </a:lnTo>
                  <a:lnTo>
                    <a:pt x="2282" y="3928"/>
                  </a:lnTo>
                  <a:lnTo>
                    <a:pt x="2285" y="3931"/>
                  </a:lnTo>
                  <a:lnTo>
                    <a:pt x="2290" y="3935"/>
                  </a:lnTo>
                  <a:lnTo>
                    <a:pt x="2292" y="3938"/>
                  </a:lnTo>
                  <a:lnTo>
                    <a:pt x="2293" y="3942"/>
                  </a:lnTo>
                  <a:lnTo>
                    <a:pt x="2294" y="3948"/>
                  </a:lnTo>
                  <a:lnTo>
                    <a:pt x="2295" y="3954"/>
                  </a:lnTo>
                  <a:lnTo>
                    <a:pt x="2294" y="3958"/>
                  </a:lnTo>
                  <a:lnTo>
                    <a:pt x="2292" y="3960"/>
                  </a:lnTo>
                  <a:lnTo>
                    <a:pt x="2290" y="3955"/>
                  </a:lnTo>
                  <a:lnTo>
                    <a:pt x="2289" y="3944"/>
                  </a:lnTo>
                  <a:lnTo>
                    <a:pt x="2287" y="3940"/>
                  </a:lnTo>
                  <a:lnTo>
                    <a:pt x="2286" y="3937"/>
                  </a:lnTo>
                  <a:lnTo>
                    <a:pt x="2284" y="3935"/>
                  </a:lnTo>
                  <a:lnTo>
                    <a:pt x="2281" y="3933"/>
                  </a:lnTo>
                  <a:lnTo>
                    <a:pt x="2278" y="3931"/>
                  </a:lnTo>
                  <a:lnTo>
                    <a:pt x="2273" y="3930"/>
                  </a:lnTo>
                  <a:lnTo>
                    <a:pt x="2270" y="3931"/>
                  </a:lnTo>
                  <a:lnTo>
                    <a:pt x="2267" y="3940"/>
                  </a:lnTo>
                  <a:lnTo>
                    <a:pt x="2264" y="3942"/>
                  </a:lnTo>
                  <a:lnTo>
                    <a:pt x="2256" y="3942"/>
                  </a:lnTo>
                  <a:lnTo>
                    <a:pt x="2255" y="3942"/>
                  </a:lnTo>
                  <a:lnTo>
                    <a:pt x="2253" y="3946"/>
                  </a:lnTo>
                  <a:lnTo>
                    <a:pt x="2251" y="3946"/>
                  </a:lnTo>
                  <a:lnTo>
                    <a:pt x="2248" y="3947"/>
                  </a:lnTo>
                  <a:lnTo>
                    <a:pt x="2244" y="3948"/>
                  </a:lnTo>
                  <a:lnTo>
                    <a:pt x="2238" y="3952"/>
                  </a:lnTo>
                  <a:lnTo>
                    <a:pt x="2236" y="3955"/>
                  </a:lnTo>
                  <a:lnTo>
                    <a:pt x="2234" y="3960"/>
                  </a:lnTo>
                  <a:lnTo>
                    <a:pt x="2237" y="3958"/>
                  </a:lnTo>
                  <a:lnTo>
                    <a:pt x="2239" y="3958"/>
                  </a:lnTo>
                  <a:lnTo>
                    <a:pt x="2240" y="3960"/>
                  </a:lnTo>
                  <a:lnTo>
                    <a:pt x="2241" y="3963"/>
                  </a:lnTo>
                  <a:lnTo>
                    <a:pt x="2243" y="3965"/>
                  </a:lnTo>
                  <a:lnTo>
                    <a:pt x="2246" y="3965"/>
                  </a:lnTo>
                  <a:lnTo>
                    <a:pt x="2251" y="3962"/>
                  </a:lnTo>
                  <a:lnTo>
                    <a:pt x="2250" y="3966"/>
                  </a:lnTo>
                  <a:lnTo>
                    <a:pt x="2246" y="3967"/>
                  </a:lnTo>
                  <a:lnTo>
                    <a:pt x="2243" y="3967"/>
                  </a:lnTo>
                  <a:lnTo>
                    <a:pt x="2240" y="3969"/>
                  </a:lnTo>
                  <a:lnTo>
                    <a:pt x="2245" y="3971"/>
                  </a:lnTo>
                  <a:lnTo>
                    <a:pt x="2264" y="3969"/>
                  </a:lnTo>
                  <a:lnTo>
                    <a:pt x="2268" y="3970"/>
                  </a:lnTo>
                  <a:lnTo>
                    <a:pt x="2273" y="3973"/>
                  </a:lnTo>
                  <a:lnTo>
                    <a:pt x="2281" y="3982"/>
                  </a:lnTo>
                  <a:lnTo>
                    <a:pt x="2275" y="3982"/>
                  </a:lnTo>
                  <a:lnTo>
                    <a:pt x="2276" y="3984"/>
                  </a:lnTo>
                  <a:lnTo>
                    <a:pt x="2276" y="3988"/>
                  </a:lnTo>
                  <a:lnTo>
                    <a:pt x="2277" y="3989"/>
                  </a:lnTo>
                  <a:lnTo>
                    <a:pt x="2260" y="3981"/>
                  </a:lnTo>
                  <a:lnTo>
                    <a:pt x="2251" y="3981"/>
                  </a:lnTo>
                  <a:lnTo>
                    <a:pt x="2248" y="3989"/>
                  </a:lnTo>
                  <a:lnTo>
                    <a:pt x="2251" y="3991"/>
                  </a:lnTo>
                  <a:lnTo>
                    <a:pt x="2261" y="3995"/>
                  </a:lnTo>
                  <a:lnTo>
                    <a:pt x="2264" y="3995"/>
                  </a:lnTo>
                  <a:lnTo>
                    <a:pt x="2267" y="3991"/>
                  </a:lnTo>
                  <a:lnTo>
                    <a:pt x="2270" y="3992"/>
                  </a:lnTo>
                  <a:lnTo>
                    <a:pt x="2274" y="3994"/>
                  </a:lnTo>
                  <a:lnTo>
                    <a:pt x="2278" y="3996"/>
                  </a:lnTo>
                  <a:lnTo>
                    <a:pt x="2275" y="3997"/>
                  </a:lnTo>
                  <a:lnTo>
                    <a:pt x="2271" y="3996"/>
                  </a:lnTo>
                  <a:lnTo>
                    <a:pt x="2268" y="3997"/>
                  </a:lnTo>
                  <a:lnTo>
                    <a:pt x="2267" y="4000"/>
                  </a:lnTo>
                  <a:lnTo>
                    <a:pt x="2268" y="4001"/>
                  </a:lnTo>
                  <a:lnTo>
                    <a:pt x="2269" y="4002"/>
                  </a:lnTo>
                  <a:lnTo>
                    <a:pt x="2270" y="4006"/>
                  </a:lnTo>
                  <a:lnTo>
                    <a:pt x="2272" y="4008"/>
                  </a:lnTo>
                  <a:lnTo>
                    <a:pt x="2273" y="4008"/>
                  </a:lnTo>
                  <a:lnTo>
                    <a:pt x="2274" y="4007"/>
                  </a:lnTo>
                  <a:lnTo>
                    <a:pt x="2283" y="4006"/>
                  </a:lnTo>
                  <a:lnTo>
                    <a:pt x="2286" y="4005"/>
                  </a:lnTo>
                  <a:lnTo>
                    <a:pt x="2289" y="4000"/>
                  </a:lnTo>
                  <a:lnTo>
                    <a:pt x="2294" y="4011"/>
                  </a:lnTo>
                  <a:lnTo>
                    <a:pt x="2301" y="4016"/>
                  </a:lnTo>
                  <a:lnTo>
                    <a:pt x="2309" y="4016"/>
                  </a:lnTo>
                  <a:lnTo>
                    <a:pt x="2317" y="4012"/>
                  </a:lnTo>
                  <a:lnTo>
                    <a:pt x="2327" y="4000"/>
                  </a:lnTo>
                  <a:lnTo>
                    <a:pt x="2330" y="3998"/>
                  </a:lnTo>
                  <a:lnTo>
                    <a:pt x="2348" y="3996"/>
                  </a:lnTo>
                  <a:lnTo>
                    <a:pt x="2352" y="3995"/>
                  </a:lnTo>
                  <a:lnTo>
                    <a:pt x="2353" y="3991"/>
                  </a:lnTo>
                  <a:lnTo>
                    <a:pt x="2355" y="3991"/>
                  </a:lnTo>
                  <a:lnTo>
                    <a:pt x="2358" y="3992"/>
                  </a:lnTo>
                  <a:lnTo>
                    <a:pt x="2360" y="3991"/>
                  </a:lnTo>
                  <a:lnTo>
                    <a:pt x="2362" y="3989"/>
                  </a:lnTo>
                  <a:lnTo>
                    <a:pt x="2363" y="3983"/>
                  </a:lnTo>
                  <a:lnTo>
                    <a:pt x="2363" y="3980"/>
                  </a:lnTo>
                  <a:lnTo>
                    <a:pt x="2366" y="3978"/>
                  </a:lnTo>
                  <a:lnTo>
                    <a:pt x="2365" y="3982"/>
                  </a:lnTo>
                  <a:lnTo>
                    <a:pt x="2366" y="3988"/>
                  </a:lnTo>
                  <a:lnTo>
                    <a:pt x="2369" y="3991"/>
                  </a:lnTo>
                  <a:lnTo>
                    <a:pt x="2380" y="3990"/>
                  </a:lnTo>
                  <a:lnTo>
                    <a:pt x="2391" y="3987"/>
                  </a:lnTo>
                  <a:lnTo>
                    <a:pt x="2406" y="3976"/>
                  </a:lnTo>
                  <a:lnTo>
                    <a:pt x="2404" y="3981"/>
                  </a:lnTo>
                  <a:lnTo>
                    <a:pt x="2401" y="3984"/>
                  </a:lnTo>
                  <a:lnTo>
                    <a:pt x="2394" y="3989"/>
                  </a:lnTo>
                  <a:lnTo>
                    <a:pt x="2402" y="3994"/>
                  </a:lnTo>
                  <a:lnTo>
                    <a:pt x="2412" y="3994"/>
                  </a:lnTo>
                  <a:lnTo>
                    <a:pt x="2421" y="3990"/>
                  </a:lnTo>
                  <a:lnTo>
                    <a:pt x="2428" y="3982"/>
                  </a:lnTo>
                  <a:lnTo>
                    <a:pt x="2432" y="3994"/>
                  </a:lnTo>
                  <a:lnTo>
                    <a:pt x="2445" y="4001"/>
                  </a:lnTo>
                  <a:lnTo>
                    <a:pt x="2459" y="4005"/>
                  </a:lnTo>
                  <a:lnTo>
                    <a:pt x="2469" y="4005"/>
                  </a:lnTo>
                  <a:lnTo>
                    <a:pt x="2477" y="4000"/>
                  </a:lnTo>
                  <a:lnTo>
                    <a:pt x="2479" y="3998"/>
                  </a:lnTo>
                  <a:lnTo>
                    <a:pt x="2480" y="3994"/>
                  </a:lnTo>
                  <a:lnTo>
                    <a:pt x="2480" y="3991"/>
                  </a:lnTo>
                  <a:lnTo>
                    <a:pt x="2480" y="3988"/>
                  </a:lnTo>
                  <a:lnTo>
                    <a:pt x="2480" y="3983"/>
                  </a:lnTo>
                  <a:lnTo>
                    <a:pt x="2479" y="3980"/>
                  </a:lnTo>
                  <a:lnTo>
                    <a:pt x="2478" y="3978"/>
                  </a:lnTo>
                  <a:lnTo>
                    <a:pt x="2475" y="3976"/>
                  </a:lnTo>
                  <a:lnTo>
                    <a:pt x="2474" y="3975"/>
                  </a:lnTo>
                  <a:lnTo>
                    <a:pt x="2475" y="3973"/>
                  </a:lnTo>
                  <a:lnTo>
                    <a:pt x="2485" y="3976"/>
                  </a:lnTo>
                  <a:lnTo>
                    <a:pt x="2484" y="3973"/>
                  </a:lnTo>
                  <a:lnTo>
                    <a:pt x="2483" y="3971"/>
                  </a:lnTo>
                  <a:lnTo>
                    <a:pt x="2483" y="3968"/>
                  </a:lnTo>
                  <a:lnTo>
                    <a:pt x="2483" y="3966"/>
                  </a:lnTo>
                  <a:lnTo>
                    <a:pt x="2481" y="3961"/>
                  </a:lnTo>
                  <a:lnTo>
                    <a:pt x="2479" y="3956"/>
                  </a:lnTo>
                  <a:lnTo>
                    <a:pt x="2480" y="3955"/>
                  </a:lnTo>
                  <a:lnTo>
                    <a:pt x="2481" y="3952"/>
                  </a:lnTo>
                  <a:lnTo>
                    <a:pt x="2482" y="3949"/>
                  </a:lnTo>
                  <a:lnTo>
                    <a:pt x="2484" y="3948"/>
                  </a:lnTo>
                  <a:lnTo>
                    <a:pt x="2485" y="3949"/>
                  </a:lnTo>
                  <a:lnTo>
                    <a:pt x="2488" y="3954"/>
                  </a:lnTo>
                  <a:lnTo>
                    <a:pt x="2490" y="3955"/>
                  </a:lnTo>
                  <a:lnTo>
                    <a:pt x="2496" y="3951"/>
                  </a:lnTo>
                  <a:lnTo>
                    <a:pt x="2501" y="3941"/>
                  </a:lnTo>
                  <a:lnTo>
                    <a:pt x="2511" y="3911"/>
                  </a:lnTo>
                  <a:lnTo>
                    <a:pt x="2511" y="3910"/>
                  </a:lnTo>
                  <a:lnTo>
                    <a:pt x="2514" y="3911"/>
                  </a:lnTo>
                  <a:lnTo>
                    <a:pt x="2514" y="3914"/>
                  </a:lnTo>
                  <a:lnTo>
                    <a:pt x="2513" y="3917"/>
                  </a:lnTo>
                  <a:lnTo>
                    <a:pt x="2512" y="3919"/>
                  </a:lnTo>
                  <a:lnTo>
                    <a:pt x="2512" y="3920"/>
                  </a:lnTo>
                  <a:lnTo>
                    <a:pt x="2510" y="3927"/>
                  </a:lnTo>
                  <a:lnTo>
                    <a:pt x="2510" y="3929"/>
                  </a:lnTo>
                  <a:lnTo>
                    <a:pt x="2509" y="3931"/>
                  </a:lnTo>
                  <a:lnTo>
                    <a:pt x="2506" y="3935"/>
                  </a:lnTo>
                  <a:lnTo>
                    <a:pt x="2505" y="3937"/>
                  </a:lnTo>
                  <a:lnTo>
                    <a:pt x="2499" y="3954"/>
                  </a:lnTo>
                  <a:lnTo>
                    <a:pt x="2496" y="3958"/>
                  </a:lnTo>
                  <a:lnTo>
                    <a:pt x="2490" y="3964"/>
                  </a:lnTo>
                  <a:lnTo>
                    <a:pt x="2489" y="3969"/>
                  </a:lnTo>
                  <a:lnTo>
                    <a:pt x="2505" y="3979"/>
                  </a:lnTo>
                  <a:lnTo>
                    <a:pt x="2529" y="3983"/>
                  </a:lnTo>
                  <a:lnTo>
                    <a:pt x="2542" y="3989"/>
                  </a:lnTo>
                  <a:lnTo>
                    <a:pt x="2546" y="3990"/>
                  </a:lnTo>
                  <a:lnTo>
                    <a:pt x="2551" y="3988"/>
                  </a:lnTo>
                  <a:lnTo>
                    <a:pt x="2559" y="3982"/>
                  </a:lnTo>
                  <a:lnTo>
                    <a:pt x="2556" y="3988"/>
                  </a:lnTo>
                  <a:lnTo>
                    <a:pt x="2549" y="3993"/>
                  </a:lnTo>
                  <a:lnTo>
                    <a:pt x="2546" y="3998"/>
                  </a:lnTo>
                  <a:lnTo>
                    <a:pt x="2548" y="4005"/>
                  </a:lnTo>
                  <a:lnTo>
                    <a:pt x="2551" y="4006"/>
                  </a:lnTo>
                  <a:lnTo>
                    <a:pt x="2554" y="4005"/>
                  </a:lnTo>
                  <a:lnTo>
                    <a:pt x="2560" y="4000"/>
                  </a:lnTo>
                  <a:lnTo>
                    <a:pt x="2581" y="3995"/>
                  </a:lnTo>
                  <a:lnTo>
                    <a:pt x="2582" y="3994"/>
                  </a:lnTo>
                  <a:lnTo>
                    <a:pt x="2583" y="3992"/>
                  </a:lnTo>
                  <a:lnTo>
                    <a:pt x="2584" y="3990"/>
                  </a:lnTo>
                  <a:lnTo>
                    <a:pt x="2584" y="3988"/>
                  </a:lnTo>
                  <a:lnTo>
                    <a:pt x="2584" y="3987"/>
                  </a:lnTo>
                  <a:lnTo>
                    <a:pt x="2587" y="3985"/>
                  </a:lnTo>
                  <a:lnTo>
                    <a:pt x="2593" y="3982"/>
                  </a:lnTo>
                  <a:lnTo>
                    <a:pt x="2595" y="3982"/>
                  </a:lnTo>
                  <a:lnTo>
                    <a:pt x="2596" y="3983"/>
                  </a:lnTo>
                  <a:lnTo>
                    <a:pt x="2598" y="3986"/>
                  </a:lnTo>
                  <a:lnTo>
                    <a:pt x="2600" y="3987"/>
                  </a:lnTo>
                  <a:lnTo>
                    <a:pt x="2603" y="3989"/>
                  </a:lnTo>
                  <a:lnTo>
                    <a:pt x="2605" y="3989"/>
                  </a:lnTo>
                  <a:lnTo>
                    <a:pt x="2607" y="3989"/>
                  </a:lnTo>
                  <a:lnTo>
                    <a:pt x="2609" y="3988"/>
                  </a:lnTo>
                  <a:lnTo>
                    <a:pt x="2616" y="3980"/>
                  </a:lnTo>
                  <a:lnTo>
                    <a:pt x="2613" y="3978"/>
                  </a:lnTo>
                  <a:lnTo>
                    <a:pt x="2610" y="3975"/>
                  </a:lnTo>
                  <a:lnTo>
                    <a:pt x="2608" y="3971"/>
                  </a:lnTo>
                  <a:lnTo>
                    <a:pt x="2606" y="3957"/>
                  </a:lnTo>
                  <a:lnTo>
                    <a:pt x="2603" y="3953"/>
                  </a:lnTo>
                  <a:lnTo>
                    <a:pt x="2600" y="3950"/>
                  </a:lnTo>
                  <a:lnTo>
                    <a:pt x="2597" y="3945"/>
                  </a:lnTo>
                  <a:lnTo>
                    <a:pt x="2598" y="3941"/>
                  </a:lnTo>
                  <a:lnTo>
                    <a:pt x="2607" y="3928"/>
                  </a:lnTo>
                  <a:lnTo>
                    <a:pt x="2608" y="3923"/>
                  </a:lnTo>
                  <a:lnTo>
                    <a:pt x="2606" y="3920"/>
                  </a:lnTo>
                  <a:lnTo>
                    <a:pt x="2603" y="3917"/>
                  </a:lnTo>
                  <a:lnTo>
                    <a:pt x="2601" y="3912"/>
                  </a:lnTo>
                  <a:lnTo>
                    <a:pt x="2604" y="3913"/>
                  </a:lnTo>
                  <a:lnTo>
                    <a:pt x="2610" y="3916"/>
                  </a:lnTo>
                  <a:lnTo>
                    <a:pt x="2614" y="3915"/>
                  </a:lnTo>
                  <a:lnTo>
                    <a:pt x="2636" y="3891"/>
                  </a:lnTo>
                  <a:lnTo>
                    <a:pt x="2650" y="3883"/>
                  </a:lnTo>
                  <a:lnTo>
                    <a:pt x="2647" y="3888"/>
                  </a:lnTo>
                  <a:lnTo>
                    <a:pt x="2644" y="3892"/>
                  </a:lnTo>
                  <a:lnTo>
                    <a:pt x="2640" y="3895"/>
                  </a:lnTo>
                  <a:lnTo>
                    <a:pt x="2636" y="3896"/>
                  </a:lnTo>
                  <a:lnTo>
                    <a:pt x="2633" y="3898"/>
                  </a:lnTo>
                  <a:lnTo>
                    <a:pt x="2631" y="3903"/>
                  </a:lnTo>
                  <a:lnTo>
                    <a:pt x="2628" y="3908"/>
                  </a:lnTo>
                  <a:lnTo>
                    <a:pt x="2626" y="3912"/>
                  </a:lnTo>
                  <a:lnTo>
                    <a:pt x="2619" y="3918"/>
                  </a:lnTo>
                  <a:lnTo>
                    <a:pt x="2617" y="3922"/>
                  </a:lnTo>
                  <a:lnTo>
                    <a:pt x="2617" y="3929"/>
                  </a:lnTo>
                  <a:lnTo>
                    <a:pt x="2615" y="3935"/>
                  </a:lnTo>
                  <a:lnTo>
                    <a:pt x="2609" y="3941"/>
                  </a:lnTo>
                  <a:lnTo>
                    <a:pt x="2608" y="3948"/>
                  </a:lnTo>
                  <a:lnTo>
                    <a:pt x="2609" y="3950"/>
                  </a:lnTo>
                  <a:lnTo>
                    <a:pt x="2611" y="3951"/>
                  </a:lnTo>
                  <a:lnTo>
                    <a:pt x="2612" y="3952"/>
                  </a:lnTo>
                  <a:lnTo>
                    <a:pt x="2613" y="3956"/>
                  </a:lnTo>
                  <a:lnTo>
                    <a:pt x="2613" y="3960"/>
                  </a:lnTo>
                  <a:lnTo>
                    <a:pt x="2613" y="3966"/>
                  </a:lnTo>
                  <a:lnTo>
                    <a:pt x="2614" y="3970"/>
                  </a:lnTo>
                  <a:lnTo>
                    <a:pt x="2616" y="3975"/>
                  </a:lnTo>
                  <a:lnTo>
                    <a:pt x="2621" y="3977"/>
                  </a:lnTo>
                  <a:lnTo>
                    <a:pt x="2630" y="3978"/>
                  </a:lnTo>
                  <a:lnTo>
                    <a:pt x="2654" y="3973"/>
                  </a:lnTo>
                  <a:lnTo>
                    <a:pt x="2659" y="3969"/>
                  </a:lnTo>
                  <a:lnTo>
                    <a:pt x="2664" y="3967"/>
                  </a:lnTo>
                  <a:lnTo>
                    <a:pt x="2669" y="3966"/>
                  </a:lnTo>
                  <a:lnTo>
                    <a:pt x="2663" y="3975"/>
                  </a:lnTo>
                  <a:lnTo>
                    <a:pt x="2655" y="3977"/>
                  </a:lnTo>
                  <a:lnTo>
                    <a:pt x="2631" y="3979"/>
                  </a:lnTo>
                  <a:lnTo>
                    <a:pt x="2627" y="3981"/>
                  </a:lnTo>
                  <a:lnTo>
                    <a:pt x="2625" y="3986"/>
                  </a:lnTo>
                  <a:lnTo>
                    <a:pt x="2623" y="3988"/>
                  </a:lnTo>
                  <a:lnTo>
                    <a:pt x="2616" y="3993"/>
                  </a:lnTo>
                  <a:lnTo>
                    <a:pt x="2614" y="3996"/>
                  </a:lnTo>
                  <a:lnTo>
                    <a:pt x="2615" y="3997"/>
                  </a:lnTo>
                  <a:lnTo>
                    <a:pt x="2621" y="4005"/>
                  </a:lnTo>
                  <a:lnTo>
                    <a:pt x="2623" y="4006"/>
                  </a:lnTo>
                  <a:lnTo>
                    <a:pt x="2625" y="4007"/>
                  </a:lnTo>
                  <a:lnTo>
                    <a:pt x="2628" y="4007"/>
                  </a:lnTo>
                  <a:lnTo>
                    <a:pt x="2628" y="4010"/>
                  </a:lnTo>
                  <a:lnTo>
                    <a:pt x="2617" y="4008"/>
                  </a:lnTo>
                  <a:lnTo>
                    <a:pt x="2612" y="4006"/>
                  </a:lnTo>
                  <a:lnTo>
                    <a:pt x="2609" y="4001"/>
                  </a:lnTo>
                  <a:lnTo>
                    <a:pt x="2607" y="4000"/>
                  </a:lnTo>
                  <a:lnTo>
                    <a:pt x="2594" y="3996"/>
                  </a:lnTo>
                  <a:lnTo>
                    <a:pt x="2592" y="3997"/>
                  </a:lnTo>
                  <a:lnTo>
                    <a:pt x="2590" y="4000"/>
                  </a:lnTo>
                  <a:lnTo>
                    <a:pt x="2585" y="4006"/>
                  </a:lnTo>
                  <a:lnTo>
                    <a:pt x="2568" y="4007"/>
                  </a:lnTo>
                  <a:lnTo>
                    <a:pt x="2562" y="4010"/>
                  </a:lnTo>
                  <a:lnTo>
                    <a:pt x="2559" y="4012"/>
                  </a:lnTo>
                  <a:lnTo>
                    <a:pt x="2559" y="4014"/>
                  </a:lnTo>
                  <a:lnTo>
                    <a:pt x="2560" y="4017"/>
                  </a:lnTo>
                  <a:lnTo>
                    <a:pt x="2561" y="4025"/>
                  </a:lnTo>
                  <a:lnTo>
                    <a:pt x="2563" y="4029"/>
                  </a:lnTo>
                  <a:lnTo>
                    <a:pt x="2564" y="4031"/>
                  </a:lnTo>
                  <a:lnTo>
                    <a:pt x="2566" y="4034"/>
                  </a:lnTo>
                  <a:lnTo>
                    <a:pt x="2572" y="4051"/>
                  </a:lnTo>
                  <a:lnTo>
                    <a:pt x="2574" y="4054"/>
                  </a:lnTo>
                  <a:lnTo>
                    <a:pt x="2575" y="4056"/>
                  </a:lnTo>
                  <a:lnTo>
                    <a:pt x="2583" y="4058"/>
                  </a:lnTo>
                  <a:lnTo>
                    <a:pt x="2584" y="4059"/>
                  </a:lnTo>
                  <a:lnTo>
                    <a:pt x="2586" y="4067"/>
                  </a:lnTo>
                  <a:lnTo>
                    <a:pt x="2584" y="4076"/>
                  </a:lnTo>
                  <a:lnTo>
                    <a:pt x="2580" y="4083"/>
                  </a:lnTo>
                  <a:lnTo>
                    <a:pt x="2576" y="4088"/>
                  </a:lnTo>
                  <a:lnTo>
                    <a:pt x="2580" y="4071"/>
                  </a:lnTo>
                  <a:lnTo>
                    <a:pt x="2579" y="4066"/>
                  </a:lnTo>
                  <a:lnTo>
                    <a:pt x="2577" y="4062"/>
                  </a:lnTo>
                  <a:lnTo>
                    <a:pt x="2567" y="4054"/>
                  </a:lnTo>
                  <a:lnTo>
                    <a:pt x="2561" y="4052"/>
                  </a:lnTo>
                  <a:lnTo>
                    <a:pt x="2553" y="4054"/>
                  </a:lnTo>
                  <a:lnTo>
                    <a:pt x="2539" y="4063"/>
                  </a:lnTo>
                  <a:lnTo>
                    <a:pt x="2549" y="4051"/>
                  </a:lnTo>
                  <a:lnTo>
                    <a:pt x="2554" y="4049"/>
                  </a:lnTo>
                  <a:lnTo>
                    <a:pt x="2557" y="4046"/>
                  </a:lnTo>
                  <a:lnTo>
                    <a:pt x="2559" y="4042"/>
                  </a:lnTo>
                  <a:lnTo>
                    <a:pt x="2560" y="4039"/>
                  </a:lnTo>
                  <a:lnTo>
                    <a:pt x="2560" y="4036"/>
                  </a:lnTo>
                  <a:lnTo>
                    <a:pt x="2559" y="4033"/>
                  </a:lnTo>
                  <a:lnTo>
                    <a:pt x="2556" y="4027"/>
                  </a:lnTo>
                  <a:lnTo>
                    <a:pt x="2553" y="4016"/>
                  </a:lnTo>
                  <a:lnTo>
                    <a:pt x="2552" y="4014"/>
                  </a:lnTo>
                  <a:lnTo>
                    <a:pt x="2549" y="4013"/>
                  </a:lnTo>
                  <a:lnTo>
                    <a:pt x="2540" y="4014"/>
                  </a:lnTo>
                  <a:lnTo>
                    <a:pt x="2538" y="4013"/>
                  </a:lnTo>
                  <a:lnTo>
                    <a:pt x="2537" y="4011"/>
                  </a:lnTo>
                  <a:lnTo>
                    <a:pt x="2537" y="4008"/>
                  </a:lnTo>
                  <a:lnTo>
                    <a:pt x="2537" y="4004"/>
                  </a:lnTo>
                  <a:lnTo>
                    <a:pt x="2536" y="4000"/>
                  </a:lnTo>
                  <a:lnTo>
                    <a:pt x="2535" y="3998"/>
                  </a:lnTo>
                  <a:lnTo>
                    <a:pt x="2533" y="3997"/>
                  </a:lnTo>
                  <a:lnTo>
                    <a:pt x="2525" y="3993"/>
                  </a:lnTo>
                  <a:lnTo>
                    <a:pt x="2503" y="3991"/>
                  </a:lnTo>
                  <a:lnTo>
                    <a:pt x="2501" y="3990"/>
                  </a:lnTo>
                  <a:lnTo>
                    <a:pt x="2497" y="3986"/>
                  </a:lnTo>
                  <a:lnTo>
                    <a:pt x="2495" y="3985"/>
                  </a:lnTo>
                  <a:lnTo>
                    <a:pt x="2494" y="3988"/>
                  </a:lnTo>
                  <a:lnTo>
                    <a:pt x="2493" y="3996"/>
                  </a:lnTo>
                  <a:lnTo>
                    <a:pt x="2490" y="4004"/>
                  </a:lnTo>
                  <a:lnTo>
                    <a:pt x="2487" y="4009"/>
                  </a:lnTo>
                  <a:lnTo>
                    <a:pt x="2483" y="4011"/>
                  </a:lnTo>
                  <a:lnTo>
                    <a:pt x="2474" y="4013"/>
                  </a:lnTo>
                  <a:lnTo>
                    <a:pt x="2470" y="4016"/>
                  </a:lnTo>
                  <a:lnTo>
                    <a:pt x="2466" y="4020"/>
                  </a:lnTo>
                  <a:lnTo>
                    <a:pt x="2461" y="4027"/>
                  </a:lnTo>
                  <a:lnTo>
                    <a:pt x="2460" y="4030"/>
                  </a:lnTo>
                  <a:lnTo>
                    <a:pt x="2459" y="4034"/>
                  </a:lnTo>
                  <a:lnTo>
                    <a:pt x="2459" y="4039"/>
                  </a:lnTo>
                  <a:lnTo>
                    <a:pt x="2456" y="4039"/>
                  </a:lnTo>
                  <a:lnTo>
                    <a:pt x="2454" y="4039"/>
                  </a:lnTo>
                  <a:lnTo>
                    <a:pt x="2455" y="4033"/>
                  </a:lnTo>
                  <a:lnTo>
                    <a:pt x="2458" y="4028"/>
                  </a:lnTo>
                  <a:lnTo>
                    <a:pt x="2459" y="4024"/>
                  </a:lnTo>
                  <a:lnTo>
                    <a:pt x="2457" y="4020"/>
                  </a:lnTo>
                  <a:lnTo>
                    <a:pt x="2455" y="4020"/>
                  </a:lnTo>
                  <a:lnTo>
                    <a:pt x="2452" y="4020"/>
                  </a:lnTo>
                  <a:lnTo>
                    <a:pt x="2450" y="4020"/>
                  </a:lnTo>
                  <a:lnTo>
                    <a:pt x="2448" y="4022"/>
                  </a:lnTo>
                  <a:lnTo>
                    <a:pt x="2446" y="4025"/>
                  </a:lnTo>
                  <a:lnTo>
                    <a:pt x="2444" y="4027"/>
                  </a:lnTo>
                  <a:lnTo>
                    <a:pt x="2439" y="4027"/>
                  </a:lnTo>
                  <a:lnTo>
                    <a:pt x="2442" y="4023"/>
                  </a:lnTo>
                  <a:lnTo>
                    <a:pt x="2443" y="4017"/>
                  </a:lnTo>
                  <a:lnTo>
                    <a:pt x="2441" y="4012"/>
                  </a:lnTo>
                  <a:lnTo>
                    <a:pt x="2436" y="4010"/>
                  </a:lnTo>
                  <a:lnTo>
                    <a:pt x="2431" y="4008"/>
                  </a:lnTo>
                  <a:lnTo>
                    <a:pt x="2421" y="4004"/>
                  </a:lnTo>
                  <a:lnTo>
                    <a:pt x="2416" y="4002"/>
                  </a:lnTo>
                  <a:lnTo>
                    <a:pt x="2405" y="4005"/>
                  </a:lnTo>
                  <a:lnTo>
                    <a:pt x="2402" y="4005"/>
                  </a:lnTo>
                  <a:lnTo>
                    <a:pt x="2396" y="4003"/>
                  </a:lnTo>
                  <a:lnTo>
                    <a:pt x="2383" y="4003"/>
                  </a:lnTo>
                  <a:lnTo>
                    <a:pt x="2378" y="4004"/>
                  </a:lnTo>
                  <a:lnTo>
                    <a:pt x="2373" y="4007"/>
                  </a:lnTo>
                  <a:lnTo>
                    <a:pt x="2374" y="4008"/>
                  </a:lnTo>
                  <a:lnTo>
                    <a:pt x="2376" y="4012"/>
                  </a:lnTo>
                  <a:lnTo>
                    <a:pt x="2373" y="4012"/>
                  </a:lnTo>
                  <a:lnTo>
                    <a:pt x="2371" y="4014"/>
                  </a:lnTo>
                  <a:lnTo>
                    <a:pt x="2369" y="4017"/>
                  </a:lnTo>
                  <a:lnTo>
                    <a:pt x="2368" y="4020"/>
                  </a:lnTo>
                  <a:lnTo>
                    <a:pt x="2365" y="4021"/>
                  </a:lnTo>
                  <a:lnTo>
                    <a:pt x="2365" y="4017"/>
                  </a:lnTo>
                  <a:lnTo>
                    <a:pt x="2367" y="4008"/>
                  </a:lnTo>
                  <a:lnTo>
                    <a:pt x="2364" y="4005"/>
                  </a:lnTo>
                  <a:lnTo>
                    <a:pt x="2358" y="4006"/>
                  </a:lnTo>
                  <a:lnTo>
                    <a:pt x="2352" y="4010"/>
                  </a:lnTo>
                  <a:lnTo>
                    <a:pt x="2348" y="4014"/>
                  </a:lnTo>
                  <a:lnTo>
                    <a:pt x="2345" y="4012"/>
                  </a:lnTo>
                  <a:lnTo>
                    <a:pt x="2343" y="4012"/>
                  </a:lnTo>
                  <a:lnTo>
                    <a:pt x="2337" y="4014"/>
                  </a:lnTo>
                  <a:lnTo>
                    <a:pt x="2336" y="4015"/>
                  </a:lnTo>
                  <a:lnTo>
                    <a:pt x="2338" y="4017"/>
                  </a:lnTo>
                  <a:lnTo>
                    <a:pt x="2343" y="4020"/>
                  </a:lnTo>
                  <a:lnTo>
                    <a:pt x="2343" y="4023"/>
                  </a:lnTo>
                  <a:lnTo>
                    <a:pt x="2338" y="4022"/>
                  </a:lnTo>
                  <a:lnTo>
                    <a:pt x="2331" y="4019"/>
                  </a:lnTo>
                  <a:lnTo>
                    <a:pt x="2325" y="4018"/>
                  </a:lnTo>
                  <a:lnTo>
                    <a:pt x="2319" y="4023"/>
                  </a:lnTo>
                  <a:lnTo>
                    <a:pt x="2317" y="4024"/>
                  </a:lnTo>
                  <a:lnTo>
                    <a:pt x="2314" y="4026"/>
                  </a:lnTo>
                  <a:lnTo>
                    <a:pt x="2314" y="4030"/>
                  </a:lnTo>
                  <a:lnTo>
                    <a:pt x="2314" y="4034"/>
                  </a:lnTo>
                  <a:lnTo>
                    <a:pt x="2315" y="4037"/>
                  </a:lnTo>
                  <a:lnTo>
                    <a:pt x="2315" y="4040"/>
                  </a:lnTo>
                  <a:lnTo>
                    <a:pt x="2314" y="4043"/>
                  </a:lnTo>
                  <a:lnTo>
                    <a:pt x="2313" y="4044"/>
                  </a:lnTo>
                  <a:lnTo>
                    <a:pt x="2312" y="4041"/>
                  </a:lnTo>
                  <a:lnTo>
                    <a:pt x="2311" y="4037"/>
                  </a:lnTo>
                  <a:lnTo>
                    <a:pt x="2310" y="4034"/>
                  </a:lnTo>
                  <a:lnTo>
                    <a:pt x="2308" y="4033"/>
                  </a:lnTo>
                  <a:lnTo>
                    <a:pt x="2301" y="4034"/>
                  </a:lnTo>
                  <a:lnTo>
                    <a:pt x="2291" y="4032"/>
                  </a:lnTo>
                  <a:lnTo>
                    <a:pt x="2286" y="4030"/>
                  </a:lnTo>
                  <a:lnTo>
                    <a:pt x="2273" y="4021"/>
                  </a:lnTo>
                  <a:lnTo>
                    <a:pt x="2263" y="4017"/>
                  </a:lnTo>
                  <a:lnTo>
                    <a:pt x="2252" y="4019"/>
                  </a:lnTo>
                  <a:lnTo>
                    <a:pt x="2244" y="4027"/>
                  </a:lnTo>
                  <a:lnTo>
                    <a:pt x="2243" y="4031"/>
                  </a:lnTo>
                  <a:lnTo>
                    <a:pt x="2242" y="4037"/>
                  </a:lnTo>
                  <a:lnTo>
                    <a:pt x="2242" y="4043"/>
                  </a:lnTo>
                  <a:lnTo>
                    <a:pt x="2243" y="4049"/>
                  </a:lnTo>
                  <a:lnTo>
                    <a:pt x="2245" y="4050"/>
                  </a:lnTo>
                  <a:lnTo>
                    <a:pt x="2254" y="4052"/>
                  </a:lnTo>
                  <a:lnTo>
                    <a:pt x="2256" y="4051"/>
                  </a:lnTo>
                  <a:lnTo>
                    <a:pt x="2260" y="4048"/>
                  </a:lnTo>
                  <a:lnTo>
                    <a:pt x="2262" y="4047"/>
                  </a:lnTo>
                  <a:lnTo>
                    <a:pt x="2262" y="4047"/>
                  </a:lnTo>
                  <a:lnTo>
                    <a:pt x="2263" y="4046"/>
                  </a:lnTo>
                  <a:lnTo>
                    <a:pt x="2264" y="4045"/>
                  </a:lnTo>
                  <a:lnTo>
                    <a:pt x="2264" y="4052"/>
                  </a:lnTo>
                  <a:lnTo>
                    <a:pt x="2262" y="4054"/>
                  </a:lnTo>
                  <a:lnTo>
                    <a:pt x="2260" y="4055"/>
                  </a:lnTo>
                  <a:lnTo>
                    <a:pt x="2257" y="4059"/>
                  </a:lnTo>
                  <a:lnTo>
                    <a:pt x="2257" y="4063"/>
                  </a:lnTo>
                  <a:lnTo>
                    <a:pt x="2258" y="4078"/>
                  </a:lnTo>
                  <a:lnTo>
                    <a:pt x="2257" y="4083"/>
                  </a:lnTo>
                  <a:lnTo>
                    <a:pt x="2256" y="4082"/>
                  </a:lnTo>
                  <a:lnTo>
                    <a:pt x="2255" y="4079"/>
                  </a:lnTo>
                  <a:lnTo>
                    <a:pt x="2254" y="4073"/>
                  </a:lnTo>
                  <a:lnTo>
                    <a:pt x="2255" y="4062"/>
                  </a:lnTo>
                  <a:lnTo>
                    <a:pt x="2254" y="4059"/>
                  </a:lnTo>
                  <a:lnTo>
                    <a:pt x="2250" y="4056"/>
                  </a:lnTo>
                  <a:lnTo>
                    <a:pt x="2247" y="4055"/>
                  </a:lnTo>
                  <a:lnTo>
                    <a:pt x="2243" y="4054"/>
                  </a:lnTo>
                  <a:lnTo>
                    <a:pt x="2240" y="4055"/>
                  </a:lnTo>
                  <a:lnTo>
                    <a:pt x="2238" y="4059"/>
                  </a:lnTo>
                  <a:lnTo>
                    <a:pt x="2239" y="4061"/>
                  </a:lnTo>
                  <a:lnTo>
                    <a:pt x="2242" y="4065"/>
                  </a:lnTo>
                  <a:lnTo>
                    <a:pt x="2243" y="4066"/>
                  </a:lnTo>
                  <a:lnTo>
                    <a:pt x="2243" y="4070"/>
                  </a:lnTo>
                  <a:lnTo>
                    <a:pt x="2243" y="4072"/>
                  </a:lnTo>
                  <a:lnTo>
                    <a:pt x="2243" y="4074"/>
                  </a:lnTo>
                  <a:lnTo>
                    <a:pt x="2245" y="4075"/>
                  </a:lnTo>
                  <a:lnTo>
                    <a:pt x="2246" y="4080"/>
                  </a:lnTo>
                  <a:lnTo>
                    <a:pt x="2248" y="4089"/>
                  </a:lnTo>
                  <a:lnTo>
                    <a:pt x="2249" y="4093"/>
                  </a:lnTo>
                  <a:lnTo>
                    <a:pt x="2252" y="4097"/>
                  </a:lnTo>
                  <a:lnTo>
                    <a:pt x="2259" y="4095"/>
                  </a:lnTo>
                  <a:lnTo>
                    <a:pt x="2262" y="4096"/>
                  </a:lnTo>
                  <a:lnTo>
                    <a:pt x="2260" y="4099"/>
                  </a:lnTo>
                  <a:lnTo>
                    <a:pt x="2262" y="4104"/>
                  </a:lnTo>
                  <a:lnTo>
                    <a:pt x="2265" y="4103"/>
                  </a:lnTo>
                  <a:lnTo>
                    <a:pt x="2267" y="4098"/>
                  </a:lnTo>
                  <a:lnTo>
                    <a:pt x="2268" y="4090"/>
                  </a:lnTo>
                  <a:lnTo>
                    <a:pt x="2271" y="4099"/>
                  </a:lnTo>
                  <a:lnTo>
                    <a:pt x="2280" y="4102"/>
                  </a:lnTo>
                  <a:lnTo>
                    <a:pt x="2288" y="4100"/>
                  </a:lnTo>
                  <a:lnTo>
                    <a:pt x="2292" y="4093"/>
                  </a:lnTo>
                  <a:lnTo>
                    <a:pt x="2293" y="4086"/>
                  </a:lnTo>
                  <a:lnTo>
                    <a:pt x="2297" y="4082"/>
                  </a:lnTo>
                  <a:lnTo>
                    <a:pt x="2305" y="4081"/>
                  </a:lnTo>
                  <a:lnTo>
                    <a:pt x="2316" y="4073"/>
                  </a:lnTo>
                  <a:lnTo>
                    <a:pt x="2320" y="4072"/>
                  </a:lnTo>
                  <a:lnTo>
                    <a:pt x="2316" y="4076"/>
                  </a:lnTo>
                  <a:lnTo>
                    <a:pt x="2318" y="4080"/>
                  </a:lnTo>
                  <a:lnTo>
                    <a:pt x="2322" y="4083"/>
                  </a:lnTo>
                  <a:lnTo>
                    <a:pt x="2327" y="4083"/>
                  </a:lnTo>
                  <a:lnTo>
                    <a:pt x="2322" y="4086"/>
                  </a:lnTo>
                  <a:lnTo>
                    <a:pt x="2320" y="4087"/>
                  </a:lnTo>
                  <a:lnTo>
                    <a:pt x="2318" y="4088"/>
                  </a:lnTo>
                  <a:lnTo>
                    <a:pt x="2315" y="4087"/>
                  </a:lnTo>
                  <a:lnTo>
                    <a:pt x="2313" y="4086"/>
                  </a:lnTo>
                  <a:lnTo>
                    <a:pt x="2310" y="4085"/>
                  </a:lnTo>
                  <a:lnTo>
                    <a:pt x="2298" y="4091"/>
                  </a:lnTo>
                  <a:lnTo>
                    <a:pt x="2295" y="4095"/>
                  </a:lnTo>
                  <a:lnTo>
                    <a:pt x="2297" y="4103"/>
                  </a:lnTo>
                  <a:lnTo>
                    <a:pt x="2294" y="4106"/>
                  </a:lnTo>
                  <a:lnTo>
                    <a:pt x="2286" y="4108"/>
                  </a:lnTo>
                  <a:lnTo>
                    <a:pt x="2283" y="4110"/>
                  </a:lnTo>
                  <a:lnTo>
                    <a:pt x="2279" y="4114"/>
                  </a:lnTo>
                  <a:lnTo>
                    <a:pt x="2279" y="4115"/>
                  </a:lnTo>
                  <a:lnTo>
                    <a:pt x="2279" y="4119"/>
                  </a:lnTo>
                  <a:lnTo>
                    <a:pt x="2280" y="4120"/>
                  </a:lnTo>
                  <a:lnTo>
                    <a:pt x="2282" y="4121"/>
                  </a:lnTo>
                  <a:lnTo>
                    <a:pt x="2286" y="4125"/>
                  </a:lnTo>
                  <a:lnTo>
                    <a:pt x="2290" y="4126"/>
                  </a:lnTo>
                  <a:lnTo>
                    <a:pt x="2298" y="4126"/>
                  </a:lnTo>
                  <a:lnTo>
                    <a:pt x="2299" y="4127"/>
                  </a:lnTo>
                  <a:lnTo>
                    <a:pt x="2299" y="4129"/>
                  </a:lnTo>
                  <a:lnTo>
                    <a:pt x="2300" y="4132"/>
                  </a:lnTo>
                  <a:lnTo>
                    <a:pt x="2300" y="4134"/>
                  </a:lnTo>
                  <a:lnTo>
                    <a:pt x="2302" y="4136"/>
                  </a:lnTo>
                  <a:lnTo>
                    <a:pt x="2307" y="4139"/>
                  </a:lnTo>
                  <a:lnTo>
                    <a:pt x="2306" y="4144"/>
                  </a:lnTo>
                  <a:lnTo>
                    <a:pt x="2308" y="4147"/>
                  </a:lnTo>
                  <a:lnTo>
                    <a:pt x="2310" y="4149"/>
                  </a:lnTo>
                  <a:lnTo>
                    <a:pt x="2310" y="4152"/>
                  </a:lnTo>
                  <a:lnTo>
                    <a:pt x="2309" y="4152"/>
                  </a:lnTo>
                  <a:lnTo>
                    <a:pt x="2304" y="4147"/>
                  </a:lnTo>
                  <a:lnTo>
                    <a:pt x="2302" y="4145"/>
                  </a:lnTo>
                  <a:lnTo>
                    <a:pt x="2300" y="4148"/>
                  </a:lnTo>
                  <a:lnTo>
                    <a:pt x="2303" y="4153"/>
                  </a:lnTo>
                  <a:lnTo>
                    <a:pt x="2308" y="4158"/>
                  </a:lnTo>
                  <a:lnTo>
                    <a:pt x="2310" y="4163"/>
                  </a:lnTo>
                  <a:lnTo>
                    <a:pt x="2307" y="4162"/>
                  </a:lnTo>
                  <a:lnTo>
                    <a:pt x="2300" y="4155"/>
                  </a:lnTo>
                  <a:lnTo>
                    <a:pt x="2297" y="4152"/>
                  </a:lnTo>
                  <a:lnTo>
                    <a:pt x="2297" y="4155"/>
                  </a:lnTo>
                  <a:lnTo>
                    <a:pt x="2298" y="4158"/>
                  </a:lnTo>
                  <a:lnTo>
                    <a:pt x="2299" y="4160"/>
                  </a:lnTo>
                  <a:lnTo>
                    <a:pt x="2300" y="4161"/>
                  </a:lnTo>
                  <a:lnTo>
                    <a:pt x="2297" y="4159"/>
                  </a:lnTo>
                  <a:lnTo>
                    <a:pt x="2293" y="4155"/>
                  </a:lnTo>
                  <a:lnTo>
                    <a:pt x="2290" y="4148"/>
                  </a:lnTo>
                  <a:lnTo>
                    <a:pt x="2289" y="4141"/>
                  </a:lnTo>
                  <a:lnTo>
                    <a:pt x="2289" y="4136"/>
                  </a:lnTo>
                  <a:lnTo>
                    <a:pt x="2286" y="4133"/>
                  </a:lnTo>
                  <a:lnTo>
                    <a:pt x="2270" y="4127"/>
                  </a:lnTo>
                  <a:lnTo>
                    <a:pt x="2265" y="4124"/>
                  </a:lnTo>
                  <a:lnTo>
                    <a:pt x="2259" y="4116"/>
                  </a:lnTo>
                  <a:lnTo>
                    <a:pt x="2250" y="4114"/>
                  </a:lnTo>
                  <a:lnTo>
                    <a:pt x="2243" y="4107"/>
                  </a:lnTo>
                  <a:lnTo>
                    <a:pt x="2238" y="4105"/>
                  </a:lnTo>
                  <a:lnTo>
                    <a:pt x="2234" y="4105"/>
                  </a:lnTo>
                  <a:lnTo>
                    <a:pt x="2230" y="4108"/>
                  </a:lnTo>
                  <a:lnTo>
                    <a:pt x="2235" y="4110"/>
                  </a:lnTo>
                  <a:lnTo>
                    <a:pt x="2239" y="4114"/>
                  </a:lnTo>
                  <a:lnTo>
                    <a:pt x="2246" y="4127"/>
                  </a:lnTo>
                  <a:lnTo>
                    <a:pt x="2251" y="4130"/>
                  </a:lnTo>
                  <a:lnTo>
                    <a:pt x="2256" y="4131"/>
                  </a:lnTo>
                  <a:lnTo>
                    <a:pt x="2261" y="4132"/>
                  </a:lnTo>
                  <a:lnTo>
                    <a:pt x="2265" y="4139"/>
                  </a:lnTo>
                  <a:lnTo>
                    <a:pt x="2257" y="4137"/>
                  </a:lnTo>
                  <a:lnTo>
                    <a:pt x="2255" y="4137"/>
                  </a:lnTo>
                  <a:lnTo>
                    <a:pt x="2267" y="4150"/>
                  </a:lnTo>
                  <a:lnTo>
                    <a:pt x="2278" y="4166"/>
                  </a:lnTo>
                  <a:lnTo>
                    <a:pt x="2277" y="4167"/>
                  </a:lnTo>
                  <a:lnTo>
                    <a:pt x="2266" y="4157"/>
                  </a:lnTo>
                  <a:lnTo>
                    <a:pt x="2261" y="4153"/>
                  </a:lnTo>
                  <a:lnTo>
                    <a:pt x="2255" y="4152"/>
                  </a:lnTo>
                  <a:lnTo>
                    <a:pt x="2257" y="4157"/>
                  </a:lnTo>
                  <a:lnTo>
                    <a:pt x="2267" y="4167"/>
                  </a:lnTo>
                  <a:lnTo>
                    <a:pt x="2271" y="4174"/>
                  </a:lnTo>
                  <a:lnTo>
                    <a:pt x="2277" y="4181"/>
                  </a:lnTo>
                  <a:lnTo>
                    <a:pt x="2281" y="4184"/>
                  </a:lnTo>
                  <a:lnTo>
                    <a:pt x="2285" y="4186"/>
                  </a:lnTo>
                  <a:lnTo>
                    <a:pt x="2289" y="4185"/>
                  </a:lnTo>
                  <a:lnTo>
                    <a:pt x="2300" y="4179"/>
                  </a:lnTo>
                  <a:lnTo>
                    <a:pt x="2312" y="4168"/>
                  </a:lnTo>
                  <a:lnTo>
                    <a:pt x="2321" y="4164"/>
                  </a:lnTo>
                  <a:lnTo>
                    <a:pt x="2325" y="4163"/>
                  </a:lnTo>
                  <a:lnTo>
                    <a:pt x="2326" y="4160"/>
                  </a:lnTo>
                  <a:lnTo>
                    <a:pt x="2324" y="4144"/>
                  </a:lnTo>
                  <a:lnTo>
                    <a:pt x="2326" y="4141"/>
                  </a:lnTo>
                  <a:lnTo>
                    <a:pt x="2333" y="4142"/>
                  </a:lnTo>
                  <a:lnTo>
                    <a:pt x="2335" y="4141"/>
                  </a:lnTo>
                  <a:lnTo>
                    <a:pt x="2337" y="4139"/>
                  </a:lnTo>
                  <a:lnTo>
                    <a:pt x="2340" y="4135"/>
                  </a:lnTo>
                  <a:lnTo>
                    <a:pt x="2341" y="4134"/>
                  </a:lnTo>
                  <a:lnTo>
                    <a:pt x="2344" y="4131"/>
                  </a:lnTo>
                  <a:lnTo>
                    <a:pt x="2346" y="4126"/>
                  </a:lnTo>
                  <a:lnTo>
                    <a:pt x="2348" y="4122"/>
                  </a:lnTo>
                  <a:lnTo>
                    <a:pt x="2352" y="4123"/>
                  </a:lnTo>
                  <a:lnTo>
                    <a:pt x="2350" y="4126"/>
                  </a:lnTo>
                  <a:lnTo>
                    <a:pt x="2348" y="4131"/>
                  </a:lnTo>
                  <a:lnTo>
                    <a:pt x="2346" y="4137"/>
                  </a:lnTo>
                  <a:lnTo>
                    <a:pt x="2347" y="4139"/>
                  </a:lnTo>
                  <a:lnTo>
                    <a:pt x="2354" y="4139"/>
                  </a:lnTo>
                  <a:lnTo>
                    <a:pt x="2357" y="4138"/>
                  </a:lnTo>
                  <a:lnTo>
                    <a:pt x="2360" y="4134"/>
                  </a:lnTo>
                  <a:lnTo>
                    <a:pt x="2358" y="4138"/>
                  </a:lnTo>
                  <a:lnTo>
                    <a:pt x="2357" y="4145"/>
                  </a:lnTo>
                  <a:lnTo>
                    <a:pt x="2356" y="4151"/>
                  </a:lnTo>
                  <a:lnTo>
                    <a:pt x="2359" y="4154"/>
                  </a:lnTo>
                  <a:lnTo>
                    <a:pt x="2356" y="4160"/>
                  </a:lnTo>
                  <a:lnTo>
                    <a:pt x="2354" y="4171"/>
                  </a:lnTo>
                  <a:lnTo>
                    <a:pt x="2353" y="4185"/>
                  </a:lnTo>
                  <a:lnTo>
                    <a:pt x="2354" y="4194"/>
                  </a:lnTo>
                  <a:lnTo>
                    <a:pt x="2355" y="4205"/>
                  </a:lnTo>
                  <a:lnTo>
                    <a:pt x="2355" y="4210"/>
                  </a:lnTo>
                  <a:lnTo>
                    <a:pt x="2354" y="4214"/>
                  </a:lnTo>
                  <a:lnTo>
                    <a:pt x="2351" y="4217"/>
                  </a:lnTo>
                  <a:lnTo>
                    <a:pt x="2347" y="4219"/>
                  </a:lnTo>
                  <a:lnTo>
                    <a:pt x="2344" y="4221"/>
                  </a:lnTo>
                  <a:lnTo>
                    <a:pt x="2345" y="4227"/>
                  </a:lnTo>
                  <a:lnTo>
                    <a:pt x="2339" y="4231"/>
                  </a:lnTo>
                  <a:lnTo>
                    <a:pt x="2332" y="4232"/>
                  </a:lnTo>
                  <a:lnTo>
                    <a:pt x="2325" y="4230"/>
                  </a:lnTo>
                  <a:lnTo>
                    <a:pt x="2317" y="4225"/>
                  </a:lnTo>
                  <a:lnTo>
                    <a:pt x="2313" y="4222"/>
                  </a:lnTo>
                  <a:lnTo>
                    <a:pt x="2304" y="4211"/>
                  </a:lnTo>
                  <a:lnTo>
                    <a:pt x="2303" y="4209"/>
                  </a:lnTo>
                  <a:lnTo>
                    <a:pt x="2299" y="4206"/>
                  </a:lnTo>
                  <a:lnTo>
                    <a:pt x="2295" y="4200"/>
                  </a:lnTo>
                  <a:lnTo>
                    <a:pt x="2290" y="4196"/>
                  </a:lnTo>
                  <a:lnTo>
                    <a:pt x="2286" y="4197"/>
                  </a:lnTo>
                  <a:lnTo>
                    <a:pt x="2279" y="4208"/>
                  </a:lnTo>
                  <a:lnTo>
                    <a:pt x="2279" y="4213"/>
                  </a:lnTo>
                  <a:lnTo>
                    <a:pt x="2283" y="4220"/>
                  </a:lnTo>
                  <a:lnTo>
                    <a:pt x="2282" y="4222"/>
                  </a:lnTo>
                  <a:lnTo>
                    <a:pt x="2281" y="4227"/>
                  </a:lnTo>
                  <a:lnTo>
                    <a:pt x="2286" y="4236"/>
                  </a:lnTo>
                  <a:lnTo>
                    <a:pt x="2289" y="4238"/>
                  </a:lnTo>
                  <a:lnTo>
                    <a:pt x="2284" y="4241"/>
                  </a:lnTo>
                  <a:lnTo>
                    <a:pt x="2270" y="4240"/>
                  </a:lnTo>
                  <a:lnTo>
                    <a:pt x="2265" y="4247"/>
                  </a:lnTo>
                  <a:lnTo>
                    <a:pt x="2264" y="4252"/>
                  </a:lnTo>
                  <a:lnTo>
                    <a:pt x="2265" y="4255"/>
                  </a:lnTo>
                  <a:lnTo>
                    <a:pt x="2266" y="4255"/>
                  </a:lnTo>
                  <a:lnTo>
                    <a:pt x="2273" y="4257"/>
                  </a:lnTo>
                  <a:lnTo>
                    <a:pt x="2275" y="4258"/>
                  </a:lnTo>
                  <a:lnTo>
                    <a:pt x="2278" y="4262"/>
                  </a:lnTo>
                  <a:lnTo>
                    <a:pt x="2273" y="4262"/>
                  </a:lnTo>
                  <a:lnTo>
                    <a:pt x="2270" y="4262"/>
                  </a:lnTo>
                  <a:lnTo>
                    <a:pt x="2268" y="4263"/>
                  </a:lnTo>
                  <a:lnTo>
                    <a:pt x="2268" y="4266"/>
                  </a:lnTo>
                  <a:lnTo>
                    <a:pt x="2267" y="4270"/>
                  </a:lnTo>
                  <a:lnTo>
                    <a:pt x="2267" y="4274"/>
                  </a:lnTo>
                  <a:lnTo>
                    <a:pt x="2268" y="4276"/>
                  </a:lnTo>
                  <a:lnTo>
                    <a:pt x="2285" y="4280"/>
                  </a:lnTo>
                  <a:lnTo>
                    <a:pt x="2290" y="4280"/>
                  </a:lnTo>
                  <a:lnTo>
                    <a:pt x="2289" y="4285"/>
                  </a:lnTo>
                  <a:lnTo>
                    <a:pt x="2277" y="4297"/>
                  </a:lnTo>
                  <a:lnTo>
                    <a:pt x="2281" y="4298"/>
                  </a:lnTo>
                  <a:lnTo>
                    <a:pt x="2292" y="4294"/>
                  </a:lnTo>
                  <a:lnTo>
                    <a:pt x="2297" y="4295"/>
                  </a:lnTo>
                  <a:lnTo>
                    <a:pt x="2297" y="4297"/>
                  </a:lnTo>
                  <a:lnTo>
                    <a:pt x="2293" y="4299"/>
                  </a:lnTo>
                  <a:lnTo>
                    <a:pt x="2291" y="4301"/>
                  </a:lnTo>
                  <a:lnTo>
                    <a:pt x="2289" y="4304"/>
                  </a:lnTo>
                  <a:lnTo>
                    <a:pt x="2292" y="4307"/>
                  </a:lnTo>
                  <a:lnTo>
                    <a:pt x="2300" y="4310"/>
                  </a:lnTo>
                  <a:lnTo>
                    <a:pt x="2300" y="4313"/>
                  </a:lnTo>
                  <a:lnTo>
                    <a:pt x="2299" y="4313"/>
                  </a:lnTo>
                  <a:lnTo>
                    <a:pt x="2297" y="4315"/>
                  </a:lnTo>
                  <a:lnTo>
                    <a:pt x="2303" y="4318"/>
                  </a:lnTo>
                  <a:lnTo>
                    <a:pt x="2306" y="4323"/>
                  </a:lnTo>
                  <a:lnTo>
                    <a:pt x="2308" y="4320"/>
                  </a:lnTo>
                  <a:lnTo>
                    <a:pt x="2308" y="4316"/>
                  </a:lnTo>
                  <a:lnTo>
                    <a:pt x="2309" y="4313"/>
                  </a:lnTo>
                  <a:lnTo>
                    <a:pt x="2311" y="4310"/>
                  </a:lnTo>
                  <a:lnTo>
                    <a:pt x="2317" y="4305"/>
                  </a:lnTo>
                  <a:lnTo>
                    <a:pt x="2323" y="4297"/>
                  </a:lnTo>
                  <a:lnTo>
                    <a:pt x="2325" y="4295"/>
                  </a:lnTo>
                  <a:lnTo>
                    <a:pt x="2325" y="4291"/>
                  </a:lnTo>
                  <a:lnTo>
                    <a:pt x="2332" y="4275"/>
                  </a:lnTo>
                  <a:lnTo>
                    <a:pt x="2333" y="4272"/>
                  </a:lnTo>
                  <a:lnTo>
                    <a:pt x="2334" y="4266"/>
                  </a:lnTo>
                  <a:lnTo>
                    <a:pt x="2336" y="4258"/>
                  </a:lnTo>
                  <a:lnTo>
                    <a:pt x="2339" y="4251"/>
                  </a:lnTo>
                  <a:lnTo>
                    <a:pt x="2342" y="4247"/>
                  </a:lnTo>
                  <a:lnTo>
                    <a:pt x="2342" y="4249"/>
                  </a:lnTo>
                  <a:lnTo>
                    <a:pt x="2343" y="4252"/>
                  </a:lnTo>
                  <a:lnTo>
                    <a:pt x="2343" y="4254"/>
                  </a:lnTo>
                  <a:lnTo>
                    <a:pt x="2344" y="4250"/>
                  </a:lnTo>
                  <a:lnTo>
                    <a:pt x="2346" y="4248"/>
                  </a:lnTo>
                  <a:lnTo>
                    <a:pt x="2348" y="4245"/>
                  </a:lnTo>
                  <a:lnTo>
                    <a:pt x="2351" y="4245"/>
                  </a:lnTo>
                  <a:lnTo>
                    <a:pt x="2352" y="4243"/>
                  </a:lnTo>
                  <a:lnTo>
                    <a:pt x="2355" y="4240"/>
                  </a:lnTo>
                  <a:lnTo>
                    <a:pt x="2358" y="4240"/>
                  </a:lnTo>
                  <a:lnTo>
                    <a:pt x="2358" y="4244"/>
                  </a:lnTo>
                  <a:lnTo>
                    <a:pt x="2355" y="4246"/>
                  </a:lnTo>
                  <a:lnTo>
                    <a:pt x="2350" y="4249"/>
                  </a:lnTo>
                  <a:lnTo>
                    <a:pt x="2347" y="4251"/>
                  </a:lnTo>
                  <a:lnTo>
                    <a:pt x="2346" y="4254"/>
                  </a:lnTo>
                  <a:lnTo>
                    <a:pt x="2345" y="4257"/>
                  </a:lnTo>
                  <a:lnTo>
                    <a:pt x="2344" y="4260"/>
                  </a:lnTo>
                  <a:lnTo>
                    <a:pt x="2344" y="4262"/>
                  </a:lnTo>
                  <a:lnTo>
                    <a:pt x="2343" y="4264"/>
                  </a:lnTo>
                  <a:lnTo>
                    <a:pt x="2338" y="4274"/>
                  </a:lnTo>
                  <a:lnTo>
                    <a:pt x="2338" y="4277"/>
                  </a:lnTo>
                  <a:lnTo>
                    <a:pt x="2337" y="4279"/>
                  </a:lnTo>
                  <a:lnTo>
                    <a:pt x="2334" y="4280"/>
                  </a:lnTo>
                  <a:lnTo>
                    <a:pt x="2333" y="4283"/>
                  </a:lnTo>
                  <a:lnTo>
                    <a:pt x="2332" y="4289"/>
                  </a:lnTo>
                  <a:lnTo>
                    <a:pt x="2334" y="4286"/>
                  </a:lnTo>
                  <a:lnTo>
                    <a:pt x="2337" y="4281"/>
                  </a:lnTo>
                  <a:lnTo>
                    <a:pt x="2339" y="4278"/>
                  </a:lnTo>
                  <a:lnTo>
                    <a:pt x="2342" y="4278"/>
                  </a:lnTo>
                  <a:lnTo>
                    <a:pt x="2343" y="4280"/>
                  </a:lnTo>
                  <a:lnTo>
                    <a:pt x="2341" y="4284"/>
                  </a:lnTo>
                  <a:lnTo>
                    <a:pt x="2336" y="4291"/>
                  </a:lnTo>
                  <a:lnTo>
                    <a:pt x="2340" y="4289"/>
                  </a:lnTo>
                  <a:lnTo>
                    <a:pt x="2354" y="4289"/>
                  </a:lnTo>
                  <a:lnTo>
                    <a:pt x="2354" y="4291"/>
                  </a:lnTo>
                  <a:lnTo>
                    <a:pt x="2348" y="4292"/>
                  </a:lnTo>
                  <a:lnTo>
                    <a:pt x="2337" y="4299"/>
                  </a:lnTo>
                  <a:lnTo>
                    <a:pt x="2331" y="4299"/>
                  </a:lnTo>
                  <a:lnTo>
                    <a:pt x="2331" y="4302"/>
                  </a:lnTo>
                  <a:lnTo>
                    <a:pt x="2333" y="4305"/>
                  </a:lnTo>
                  <a:lnTo>
                    <a:pt x="2333" y="4308"/>
                  </a:lnTo>
                  <a:lnTo>
                    <a:pt x="2330" y="4311"/>
                  </a:lnTo>
                  <a:lnTo>
                    <a:pt x="2328" y="4313"/>
                  </a:lnTo>
                  <a:lnTo>
                    <a:pt x="2329" y="4317"/>
                  </a:lnTo>
                  <a:lnTo>
                    <a:pt x="2332" y="4319"/>
                  </a:lnTo>
                  <a:lnTo>
                    <a:pt x="2335" y="4320"/>
                  </a:lnTo>
                  <a:lnTo>
                    <a:pt x="2339" y="4317"/>
                  </a:lnTo>
                  <a:lnTo>
                    <a:pt x="2343" y="4318"/>
                  </a:lnTo>
                  <a:lnTo>
                    <a:pt x="2344" y="4317"/>
                  </a:lnTo>
                  <a:lnTo>
                    <a:pt x="2345" y="4315"/>
                  </a:lnTo>
                  <a:lnTo>
                    <a:pt x="2345" y="4310"/>
                  </a:lnTo>
                  <a:lnTo>
                    <a:pt x="2345" y="4308"/>
                  </a:lnTo>
                  <a:lnTo>
                    <a:pt x="2349" y="4304"/>
                  </a:lnTo>
                  <a:lnTo>
                    <a:pt x="2355" y="4300"/>
                  </a:lnTo>
                  <a:lnTo>
                    <a:pt x="2362" y="4298"/>
                  </a:lnTo>
                  <a:lnTo>
                    <a:pt x="2367" y="4297"/>
                  </a:lnTo>
                  <a:lnTo>
                    <a:pt x="2367" y="4299"/>
                  </a:lnTo>
                  <a:lnTo>
                    <a:pt x="2356" y="4305"/>
                  </a:lnTo>
                  <a:lnTo>
                    <a:pt x="2354" y="4308"/>
                  </a:lnTo>
                  <a:lnTo>
                    <a:pt x="2353" y="4313"/>
                  </a:lnTo>
                  <a:lnTo>
                    <a:pt x="2357" y="4322"/>
                  </a:lnTo>
                  <a:lnTo>
                    <a:pt x="2357" y="4327"/>
                  </a:lnTo>
                  <a:lnTo>
                    <a:pt x="2354" y="4329"/>
                  </a:lnTo>
                  <a:lnTo>
                    <a:pt x="2353" y="4331"/>
                  </a:lnTo>
                  <a:lnTo>
                    <a:pt x="2354" y="4333"/>
                  </a:lnTo>
                  <a:lnTo>
                    <a:pt x="2355" y="4336"/>
                  </a:lnTo>
                  <a:lnTo>
                    <a:pt x="2356" y="4338"/>
                  </a:lnTo>
                  <a:lnTo>
                    <a:pt x="2358" y="4339"/>
                  </a:lnTo>
                  <a:lnTo>
                    <a:pt x="2359" y="4338"/>
                  </a:lnTo>
                  <a:lnTo>
                    <a:pt x="2360" y="4337"/>
                  </a:lnTo>
                  <a:lnTo>
                    <a:pt x="2360" y="4335"/>
                  </a:lnTo>
                  <a:lnTo>
                    <a:pt x="2361" y="4334"/>
                  </a:lnTo>
                  <a:lnTo>
                    <a:pt x="2368" y="4334"/>
                  </a:lnTo>
                  <a:lnTo>
                    <a:pt x="2367" y="4340"/>
                  </a:lnTo>
                  <a:lnTo>
                    <a:pt x="2364" y="4344"/>
                  </a:lnTo>
                  <a:lnTo>
                    <a:pt x="2361" y="4345"/>
                  </a:lnTo>
                  <a:lnTo>
                    <a:pt x="2358" y="4345"/>
                  </a:lnTo>
                  <a:lnTo>
                    <a:pt x="2352" y="4343"/>
                  </a:lnTo>
                  <a:lnTo>
                    <a:pt x="2351" y="4345"/>
                  </a:lnTo>
                  <a:lnTo>
                    <a:pt x="2349" y="4352"/>
                  </a:lnTo>
                  <a:lnTo>
                    <a:pt x="2351" y="4353"/>
                  </a:lnTo>
                  <a:lnTo>
                    <a:pt x="2352" y="4355"/>
                  </a:lnTo>
                  <a:lnTo>
                    <a:pt x="2352" y="4357"/>
                  </a:lnTo>
                  <a:lnTo>
                    <a:pt x="2353" y="4359"/>
                  </a:lnTo>
                  <a:lnTo>
                    <a:pt x="2353" y="4362"/>
                  </a:lnTo>
                  <a:lnTo>
                    <a:pt x="2359" y="4366"/>
                  </a:lnTo>
                  <a:lnTo>
                    <a:pt x="2361" y="4367"/>
                  </a:lnTo>
                  <a:lnTo>
                    <a:pt x="2364" y="4357"/>
                  </a:lnTo>
                  <a:lnTo>
                    <a:pt x="2367" y="4358"/>
                  </a:lnTo>
                  <a:lnTo>
                    <a:pt x="2366" y="4361"/>
                  </a:lnTo>
                  <a:lnTo>
                    <a:pt x="2366" y="4363"/>
                  </a:lnTo>
                  <a:lnTo>
                    <a:pt x="2372" y="4362"/>
                  </a:lnTo>
                  <a:lnTo>
                    <a:pt x="2377" y="4357"/>
                  </a:lnTo>
                  <a:lnTo>
                    <a:pt x="2380" y="4348"/>
                  </a:lnTo>
                  <a:lnTo>
                    <a:pt x="2380" y="4337"/>
                  </a:lnTo>
                  <a:lnTo>
                    <a:pt x="2377" y="4321"/>
                  </a:lnTo>
                  <a:lnTo>
                    <a:pt x="2377" y="4317"/>
                  </a:lnTo>
                  <a:lnTo>
                    <a:pt x="2378" y="4313"/>
                  </a:lnTo>
                  <a:lnTo>
                    <a:pt x="2380" y="4313"/>
                  </a:lnTo>
                  <a:lnTo>
                    <a:pt x="2382" y="4313"/>
                  </a:lnTo>
                  <a:lnTo>
                    <a:pt x="2385" y="4313"/>
                  </a:lnTo>
                  <a:lnTo>
                    <a:pt x="2387" y="4311"/>
                  </a:lnTo>
                  <a:lnTo>
                    <a:pt x="2390" y="4304"/>
                  </a:lnTo>
                  <a:lnTo>
                    <a:pt x="2395" y="4295"/>
                  </a:lnTo>
                  <a:lnTo>
                    <a:pt x="2397" y="4290"/>
                  </a:lnTo>
                  <a:lnTo>
                    <a:pt x="2398" y="4285"/>
                  </a:lnTo>
                  <a:lnTo>
                    <a:pt x="2399" y="4280"/>
                  </a:lnTo>
                  <a:lnTo>
                    <a:pt x="2403" y="4278"/>
                  </a:lnTo>
                  <a:lnTo>
                    <a:pt x="2406" y="4279"/>
                  </a:lnTo>
                  <a:lnTo>
                    <a:pt x="2413" y="4285"/>
                  </a:lnTo>
                  <a:lnTo>
                    <a:pt x="2417" y="4286"/>
                  </a:lnTo>
                  <a:lnTo>
                    <a:pt x="2420" y="4286"/>
                  </a:lnTo>
                  <a:lnTo>
                    <a:pt x="2422" y="4284"/>
                  </a:lnTo>
                  <a:lnTo>
                    <a:pt x="2424" y="4279"/>
                  </a:lnTo>
                  <a:lnTo>
                    <a:pt x="2426" y="4273"/>
                  </a:lnTo>
                  <a:lnTo>
                    <a:pt x="2424" y="4272"/>
                  </a:lnTo>
                  <a:lnTo>
                    <a:pt x="2424" y="4270"/>
                  </a:lnTo>
                  <a:lnTo>
                    <a:pt x="2422" y="4267"/>
                  </a:lnTo>
                  <a:lnTo>
                    <a:pt x="2424" y="4262"/>
                  </a:lnTo>
                  <a:lnTo>
                    <a:pt x="2429" y="4256"/>
                  </a:lnTo>
                  <a:lnTo>
                    <a:pt x="2430" y="4251"/>
                  </a:lnTo>
                  <a:lnTo>
                    <a:pt x="2421" y="4249"/>
                  </a:lnTo>
                  <a:lnTo>
                    <a:pt x="2419" y="4247"/>
                  </a:lnTo>
                  <a:lnTo>
                    <a:pt x="2421" y="4245"/>
                  </a:lnTo>
                  <a:lnTo>
                    <a:pt x="2426" y="4245"/>
                  </a:lnTo>
                  <a:lnTo>
                    <a:pt x="2431" y="4242"/>
                  </a:lnTo>
                  <a:lnTo>
                    <a:pt x="2436" y="4245"/>
                  </a:lnTo>
                  <a:lnTo>
                    <a:pt x="2438" y="4244"/>
                  </a:lnTo>
                  <a:lnTo>
                    <a:pt x="2438" y="4241"/>
                  </a:lnTo>
                  <a:lnTo>
                    <a:pt x="2437" y="4238"/>
                  </a:lnTo>
                  <a:lnTo>
                    <a:pt x="2434" y="4235"/>
                  </a:lnTo>
                  <a:lnTo>
                    <a:pt x="2431" y="4226"/>
                  </a:lnTo>
                  <a:lnTo>
                    <a:pt x="2429" y="4224"/>
                  </a:lnTo>
                  <a:lnTo>
                    <a:pt x="2428" y="4221"/>
                  </a:lnTo>
                  <a:lnTo>
                    <a:pt x="2428" y="4217"/>
                  </a:lnTo>
                  <a:lnTo>
                    <a:pt x="2428" y="4214"/>
                  </a:lnTo>
                  <a:lnTo>
                    <a:pt x="2430" y="4214"/>
                  </a:lnTo>
                  <a:lnTo>
                    <a:pt x="2431" y="4216"/>
                  </a:lnTo>
                  <a:lnTo>
                    <a:pt x="2433" y="4227"/>
                  </a:lnTo>
                  <a:lnTo>
                    <a:pt x="2436" y="4233"/>
                  </a:lnTo>
                  <a:lnTo>
                    <a:pt x="2439" y="4237"/>
                  </a:lnTo>
                  <a:lnTo>
                    <a:pt x="2443" y="4240"/>
                  </a:lnTo>
                  <a:lnTo>
                    <a:pt x="2447" y="4240"/>
                  </a:lnTo>
                  <a:lnTo>
                    <a:pt x="2451" y="4238"/>
                  </a:lnTo>
                  <a:lnTo>
                    <a:pt x="2459" y="4229"/>
                  </a:lnTo>
                  <a:lnTo>
                    <a:pt x="2463" y="4227"/>
                  </a:lnTo>
                  <a:lnTo>
                    <a:pt x="2468" y="4226"/>
                  </a:lnTo>
                  <a:lnTo>
                    <a:pt x="2477" y="4222"/>
                  </a:lnTo>
                  <a:lnTo>
                    <a:pt x="2481" y="4220"/>
                  </a:lnTo>
                  <a:lnTo>
                    <a:pt x="2489" y="4217"/>
                  </a:lnTo>
                  <a:lnTo>
                    <a:pt x="2503" y="4201"/>
                  </a:lnTo>
                  <a:lnTo>
                    <a:pt x="2510" y="4199"/>
                  </a:lnTo>
                  <a:lnTo>
                    <a:pt x="2507" y="4205"/>
                  </a:lnTo>
                  <a:lnTo>
                    <a:pt x="2496" y="4216"/>
                  </a:lnTo>
                  <a:lnTo>
                    <a:pt x="2494" y="4223"/>
                  </a:lnTo>
                  <a:lnTo>
                    <a:pt x="2496" y="4226"/>
                  </a:lnTo>
                  <a:lnTo>
                    <a:pt x="2500" y="4227"/>
                  </a:lnTo>
                  <a:lnTo>
                    <a:pt x="2504" y="4226"/>
                  </a:lnTo>
                  <a:lnTo>
                    <a:pt x="2507" y="4225"/>
                  </a:lnTo>
                  <a:lnTo>
                    <a:pt x="2517" y="4214"/>
                  </a:lnTo>
                  <a:lnTo>
                    <a:pt x="2523" y="4210"/>
                  </a:lnTo>
                  <a:lnTo>
                    <a:pt x="2533" y="4206"/>
                  </a:lnTo>
                  <a:lnTo>
                    <a:pt x="2536" y="4204"/>
                  </a:lnTo>
                  <a:lnTo>
                    <a:pt x="2541" y="4194"/>
                  </a:lnTo>
                  <a:lnTo>
                    <a:pt x="2545" y="4188"/>
                  </a:lnTo>
                  <a:lnTo>
                    <a:pt x="2551" y="4181"/>
                  </a:lnTo>
                  <a:lnTo>
                    <a:pt x="2557" y="4176"/>
                  </a:lnTo>
                  <a:lnTo>
                    <a:pt x="2562" y="4176"/>
                  </a:lnTo>
                  <a:lnTo>
                    <a:pt x="2553" y="4192"/>
                  </a:lnTo>
                  <a:lnTo>
                    <a:pt x="2551" y="4193"/>
                  </a:lnTo>
                  <a:lnTo>
                    <a:pt x="2550" y="4193"/>
                  </a:lnTo>
                  <a:lnTo>
                    <a:pt x="2548" y="4194"/>
                  </a:lnTo>
                  <a:lnTo>
                    <a:pt x="2548" y="4197"/>
                  </a:lnTo>
                  <a:lnTo>
                    <a:pt x="2547" y="4199"/>
                  </a:lnTo>
                  <a:lnTo>
                    <a:pt x="2546" y="4200"/>
                  </a:lnTo>
                  <a:lnTo>
                    <a:pt x="2544" y="4201"/>
                  </a:lnTo>
                  <a:lnTo>
                    <a:pt x="2543" y="4201"/>
                  </a:lnTo>
                  <a:lnTo>
                    <a:pt x="2543" y="4203"/>
                  </a:lnTo>
                  <a:lnTo>
                    <a:pt x="2576" y="4203"/>
                  </a:lnTo>
                  <a:lnTo>
                    <a:pt x="2571" y="4211"/>
                  </a:lnTo>
                  <a:lnTo>
                    <a:pt x="2564" y="4212"/>
                  </a:lnTo>
                  <a:lnTo>
                    <a:pt x="2550" y="4207"/>
                  </a:lnTo>
                  <a:lnTo>
                    <a:pt x="2528" y="4213"/>
                  </a:lnTo>
                  <a:lnTo>
                    <a:pt x="2524" y="4215"/>
                  </a:lnTo>
                  <a:lnTo>
                    <a:pt x="2521" y="4218"/>
                  </a:lnTo>
                  <a:lnTo>
                    <a:pt x="2519" y="4222"/>
                  </a:lnTo>
                  <a:lnTo>
                    <a:pt x="2514" y="4234"/>
                  </a:lnTo>
                  <a:lnTo>
                    <a:pt x="2511" y="4237"/>
                  </a:lnTo>
                  <a:lnTo>
                    <a:pt x="2507" y="4240"/>
                  </a:lnTo>
                  <a:lnTo>
                    <a:pt x="2504" y="4243"/>
                  </a:lnTo>
                  <a:lnTo>
                    <a:pt x="2500" y="4250"/>
                  </a:lnTo>
                  <a:lnTo>
                    <a:pt x="2495" y="4270"/>
                  </a:lnTo>
                  <a:lnTo>
                    <a:pt x="2491" y="4278"/>
                  </a:lnTo>
                  <a:lnTo>
                    <a:pt x="2492" y="4285"/>
                  </a:lnTo>
                  <a:lnTo>
                    <a:pt x="2492" y="4289"/>
                  </a:lnTo>
                  <a:lnTo>
                    <a:pt x="2492" y="4293"/>
                  </a:lnTo>
                  <a:lnTo>
                    <a:pt x="2487" y="4306"/>
                  </a:lnTo>
                  <a:lnTo>
                    <a:pt x="2484" y="4312"/>
                  </a:lnTo>
                  <a:lnTo>
                    <a:pt x="2483" y="4322"/>
                  </a:lnTo>
                  <a:lnTo>
                    <a:pt x="2483" y="4339"/>
                  </a:lnTo>
                  <a:lnTo>
                    <a:pt x="2482" y="4339"/>
                  </a:lnTo>
                  <a:lnTo>
                    <a:pt x="2481" y="4329"/>
                  </a:lnTo>
                  <a:lnTo>
                    <a:pt x="2481" y="4321"/>
                  </a:lnTo>
                  <a:lnTo>
                    <a:pt x="2481" y="4316"/>
                  </a:lnTo>
                  <a:lnTo>
                    <a:pt x="2483" y="4305"/>
                  </a:lnTo>
                  <a:lnTo>
                    <a:pt x="2484" y="4281"/>
                  </a:lnTo>
                  <a:lnTo>
                    <a:pt x="2485" y="4278"/>
                  </a:lnTo>
                  <a:lnTo>
                    <a:pt x="2490" y="4271"/>
                  </a:lnTo>
                  <a:lnTo>
                    <a:pt x="2492" y="4267"/>
                  </a:lnTo>
                  <a:lnTo>
                    <a:pt x="2491" y="4259"/>
                  </a:lnTo>
                  <a:lnTo>
                    <a:pt x="2494" y="4249"/>
                  </a:lnTo>
                  <a:lnTo>
                    <a:pt x="2502" y="4231"/>
                  </a:lnTo>
                  <a:lnTo>
                    <a:pt x="2491" y="4227"/>
                  </a:lnTo>
                  <a:lnTo>
                    <a:pt x="2485" y="4226"/>
                  </a:lnTo>
                  <a:lnTo>
                    <a:pt x="2480" y="4227"/>
                  </a:lnTo>
                  <a:lnTo>
                    <a:pt x="2476" y="4230"/>
                  </a:lnTo>
                  <a:lnTo>
                    <a:pt x="2470" y="4240"/>
                  </a:lnTo>
                  <a:lnTo>
                    <a:pt x="2466" y="4243"/>
                  </a:lnTo>
                  <a:lnTo>
                    <a:pt x="2461" y="4244"/>
                  </a:lnTo>
                  <a:lnTo>
                    <a:pt x="2456" y="4247"/>
                  </a:lnTo>
                  <a:lnTo>
                    <a:pt x="2455" y="4249"/>
                  </a:lnTo>
                  <a:lnTo>
                    <a:pt x="2454" y="4250"/>
                  </a:lnTo>
                  <a:lnTo>
                    <a:pt x="2454" y="4251"/>
                  </a:lnTo>
                  <a:lnTo>
                    <a:pt x="2454" y="4251"/>
                  </a:lnTo>
                  <a:lnTo>
                    <a:pt x="2453" y="4253"/>
                  </a:lnTo>
                  <a:lnTo>
                    <a:pt x="2453" y="4254"/>
                  </a:lnTo>
                  <a:lnTo>
                    <a:pt x="2453" y="4255"/>
                  </a:lnTo>
                  <a:lnTo>
                    <a:pt x="2451" y="4256"/>
                  </a:lnTo>
                  <a:lnTo>
                    <a:pt x="2449" y="4257"/>
                  </a:lnTo>
                  <a:lnTo>
                    <a:pt x="2446" y="4262"/>
                  </a:lnTo>
                  <a:lnTo>
                    <a:pt x="2444" y="4264"/>
                  </a:lnTo>
                  <a:lnTo>
                    <a:pt x="2441" y="4266"/>
                  </a:lnTo>
                  <a:lnTo>
                    <a:pt x="2432" y="4269"/>
                  </a:lnTo>
                  <a:lnTo>
                    <a:pt x="2434" y="4273"/>
                  </a:lnTo>
                  <a:lnTo>
                    <a:pt x="2433" y="4276"/>
                  </a:lnTo>
                  <a:lnTo>
                    <a:pt x="2429" y="4282"/>
                  </a:lnTo>
                  <a:lnTo>
                    <a:pt x="2426" y="4287"/>
                  </a:lnTo>
                  <a:lnTo>
                    <a:pt x="2425" y="4292"/>
                  </a:lnTo>
                  <a:lnTo>
                    <a:pt x="2423" y="4296"/>
                  </a:lnTo>
                  <a:lnTo>
                    <a:pt x="2412" y="4301"/>
                  </a:lnTo>
                  <a:lnTo>
                    <a:pt x="2413" y="4311"/>
                  </a:lnTo>
                  <a:lnTo>
                    <a:pt x="2417" y="4322"/>
                  </a:lnTo>
                  <a:lnTo>
                    <a:pt x="2417" y="4330"/>
                  </a:lnTo>
                  <a:lnTo>
                    <a:pt x="2421" y="4330"/>
                  </a:lnTo>
                  <a:lnTo>
                    <a:pt x="2426" y="4328"/>
                  </a:lnTo>
                  <a:lnTo>
                    <a:pt x="2432" y="4325"/>
                  </a:lnTo>
                  <a:lnTo>
                    <a:pt x="2434" y="4320"/>
                  </a:lnTo>
                  <a:lnTo>
                    <a:pt x="2435" y="4318"/>
                  </a:lnTo>
                  <a:lnTo>
                    <a:pt x="2437" y="4315"/>
                  </a:lnTo>
                  <a:lnTo>
                    <a:pt x="2439" y="4313"/>
                  </a:lnTo>
                  <a:lnTo>
                    <a:pt x="2441" y="4313"/>
                  </a:lnTo>
                  <a:lnTo>
                    <a:pt x="2442" y="4316"/>
                  </a:lnTo>
                  <a:lnTo>
                    <a:pt x="2441" y="4321"/>
                  </a:lnTo>
                  <a:lnTo>
                    <a:pt x="2442" y="4324"/>
                  </a:lnTo>
                  <a:lnTo>
                    <a:pt x="2446" y="4323"/>
                  </a:lnTo>
                  <a:lnTo>
                    <a:pt x="2446" y="4326"/>
                  </a:lnTo>
                  <a:lnTo>
                    <a:pt x="2416" y="4335"/>
                  </a:lnTo>
                  <a:lnTo>
                    <a:pt x="2402" y="4346"/>
                  </a:lnTo>
                  <a:lnTo>
                    <a:pt x="2392" y="4365"/>
                  </a:lnTo>
                  <a:lnTo>
                    <a:pt x="2397" y="4369"/>
                  </a:lnTo>
                  <a:lnTo>
                    <a:pt x="2397" y="4370"/>
                  </a:lnTo>
                  <a:lnTo>
                    <a:pt x="2397" y="4372"/>
                  </a:lnTo>
                  <a:lnTo>
                    <a:pt x="2397" y="4375"/>
                  </a:lnTo>
                  <a:lnTo>
                    <a:pt x="2396" y="4377"/>
                  </a:lnTo>
                  <a:lnTo>
                    <a:pt x="2395" y="4378"/>
                  </a:lnTo>
                  <a:lnTo>
                    <a:pt x="2378" y="4380"/>
                  </a:lnTo>
                  <a:lnTo>
                    <a:pt x="2371" y="4382"/>
                  </a:lnTo>
                  <a:lnTo>
                    <a:pt x="2364" y="4386"/>
                  </a:lnTo>
                  <a:lnTo>
                    <a:pt x="2359" y="4393"/>
                  </a:lnTo>
                  <a:lnTo>
                    <a:pt x="2359" y="4402"/>
                  </a:lnTo>
                  <a:lnTo>
                    <a:pt x="2352" y="4408"/>
                  </a:lnTo>
                  <a:lnTo>
                    <a:pt x="2348" y="4410"/>
                  </a:lnTo>
                  <a:lnTo>
                    <a:pt x="2344" y="4411"/>
                  </a:lnTo>
                  <a:lnTo>
                    <a:pt x="2346" y="4415"/>
                  </a:lnTo>
                  <a:lnTo>
                    <a:pt x="2349" y="4415"/>
                  </a:lnTo>
                  <a:lnTo>
                    <a:pt x="2353" y="4411"/>
                  </a:lnTo>
                  <a:lnTo>
                    <a:pt x="2356" y="4408"/>
                  </a:lnTo>
                  <a:lnTo>
                    <a:pt x="2354" y="4416"/>
                  </a:lnTo>
                  <a:lnTo>
                    <a:pt x="2355" y="4418"/>
                  </a:lnTo>
                  <a:lnTo>
                    <a:pt x="2358" y="4419"/>
                  </a:lnTo>
                  <a:lnTo>
                    <a:pt x="2362" y="4422"/>
                  </a:lnTo>
                  <a:lnTo>
                    <a:pt x="2367" y="4431"/>
                  </a:lnTo>
                  <a:lnTo>
                    <a:pt x="2370" y="4435"/>
                  </a:lnTo>
                  <a:lnTo>
                    <a:pt x="2373" y="4436"/>
                  </a:lnTo>
                  <a:lnTo>
                    <a:pt x="2377" y="4436"/>
                  </a:lnTo>
                  <a:lnTo>
                    <a:pt x="2382" y="4434"/>
                  </a:lnTo>
                  <a:lnTo>
                    <a:pt x="2387" y="4430"/>
                  </a:lnTo>
                  <a:lnTo>
                    <a:pt x="2388" y="4427"/>
                  </a:lnTo>
                  <a:lnTo>
                    <a:pt x="2389" y="4421"/>
                  </a:lnTo>
                  <a:lnTo>
                    <a:pt x="2390" y="4415"/>
                  </a:lnTo>
                  <a:lnTo>
                    <a:pt x="2392" y="4410"/>
                  </a:lnTo>
                  <a:lnTo>
                    <a:pt x="2395" y="4408"/>
                  </a:lnTo>
                  <a:lnTo>
                    <a:pt x="2394" y="4412"/>
                  </a:lnTo>
                  <a:lnTo>
                    <a:pt x="2393" y="4415"/>
                  </a:lnTo>
                  <a:lnTo>
                    <a:pt x="2394" y="4422"/>
                  </a:lnTo>
                  <a:lnTo>
                    <a:pt x="2393" y="4426"/>
                  </a:lnTo>
                  <a:lnTo>
                    <a:pt x="2391" y="4427"/>
                  </a:lnTo>
                  <a:lnTo>
                    <a:pt x="2390" y="4429"/>
                  </a:lnTo>
                  <a:lnTo>
                    <a:pt x="2390" y="4434"/>
                  </a:lnTo>
                  <a:lnTo>
                    <a:pt x="2391" y="4438"/>
                  </a:lnTo>
                  <a:lnTo>
                    <a:pt x="2394" y="4440"/>
                  </a:lnTo>
                  <a:lnTo>
                    <a:pt x="2400" y="4440"/>
                  </a:lnTo>
                  <a:lnTo>
                    <a:pt x="2403" y="4440"/>
                  </a:lnTo>
                  <a:lnTo>
                    <a:pt x="2406" y="4439"/>
                  </a:lnTo>
                  <a:lnTo>
                    <a:pt x="2419" y="4426"/>
                  </a:lnTo>
                  <a:lnTo>
                    <a:pt x="2439" y="4414"/>
                  </a:lnTo>
                  <a:lnTo>
                    <a:pt x="2450" y="4411"/>
                  </a:lnTo>
                  <a:lnTo>
                    <a:pt x="2446" y="4415"/>
                  </a:lnTo>
                  <a:lnTo>
                    <a:pt x="2434" y="4419"/>
                  </a:lnTo>
                  <a:lnTo>
                    <a:pt x="2434" y="4420"/>
                  </a:lnTo>
                  <a:lnTo>
                    <a:pt x="2431" y="4425"/>
                  </a:lnTo>
                  <a:lnTo>
                    <a:pt x="2431" y="4426"/>
                  </a:lnTo>
                  <a:lnTo>
                    <a:pt x="2428" y="4426"/>
                  </a:lnTo>
                  <a:lnTo>
                    <a:pt x="2427" y="4427"/>
                  </a:lnTo>
                  <a:lnTo>
                    <a:pt x="2426" y="4429"/>
                  </a:lnTo>
                  <a:lnTo>
                    <a:pt x="2406" y="4445"/>
                  </a:lnTo>
                  <a:lnTo>
                    <a:pt x="2398" y="4448"/>
                  </a:lnTo>
                  <a:lnTo>
                    <a:pt x="2390" y="4445"/>
                  </a:lnTo>
                  <a:lnTo>
                    <a:pt x="2388" y="4444"/>
                  </a:lnTo>
                  <a:lnTo>
                    <a:pt x="2387" y="4441"/>
                  </a:lnTo>
                  <a:lnTo>
                    <a:pt x="2386" y="4440"/>
                  </a:lnTo>
                  <a:lnTo>
                    <a:pt x="2385" y="4439"/>
                  </a:lnTo>
                  <a:lnTo>
                    <a:pt x="2383" y="4440"/>
                  </a:lnTo>
                  <a:lnTo>
                    <a:pt x="2383" y="4442"/>
                  </a:lnTo>
                  <a:lnTo>
                    <a:pt x="2383" y="4445"/>
                  </a:lnTo>
                  <a:lnTo>
                    <a:pt x="2382" y="4447"/>
                  </a:lnTo>
                  <a:lnTo>
                    <a:pt x="2380" y="4448"/>
                  </a:lnTo>
                  <a:lnTo>
                    <a:pt x="2371" y="4450"/>
                  </a:lnTo>
                  <a:lnTo>
                    <a:pt x="2369" y="4452"/>
                  </a:lnTo>
                  <a:lnTo>
                    <a:pt x="2369" y="4454"/>
                  </a:lnTo>
                  <a:lnTo>
                    <a:pt x="2368" y="4456"/>
                  </a:lnTo>
                  <a:lnTo>
                    <a:pt x="2361" y="4463"/>
                  </a:lnTo>
                  <a:lnTo>
                    <a:pt x="2360" y="4467"/>
                  </a:lnTo>
                  <a:lnTo>
                    <a:pt x="2363" y="4471"/>
                  </a:lnTo>
                  <a:lnTo>
                    <a:pt x="2367" y="4472"/>
                  </a:lnTo>
                  <a:lnTo>
                    <a:pt x="2381" y="4466"/>
                  </a:lnTo>
                  <a:lnTo>
                    <a:pt x="2381" y="4473"/>
                  </a:lnTo>
                  <a:lnTo>
                    <a:pt x="2372" y="4472"/>
                  </a:lnTo>
                  <a:lnTo>
                    <a:pt x="2367" y="4473"/>
                  </a:lnTo>
                  <a:lnTo>
                    <a:pt x="2363" y="4476"/>
                  </a:lnTo>
                  <a:lnTo>
                    <a:pt x="2363" y="4478"/>
                  </a:lnTo>
                  <a:lnTo>
                    <a:pt x="2363" y="4484"/>
                  </a:lnTo>
                  <a:lnTo>
                    <a:pt x="2363" y="4486"/>
                  </a:lnTo>
                  <a:lnTo>
                    <a:pt x="2361" y="4487"/>
                  </a:lnTo>
                  <a:lnTo>
                    <a:pt x="2359" y="4488"/>
                  </a:lnTo>
                  <a:lnTo>
                    <a:pt x="2355" y="4488"/>
                  </a:lnTo>
                  <a:lnTo>
                    <a:pt x="2357" y="4482"/>
                  </a:lnTo>
                  <a:lnTo>
                    <a:pt x="2357" y="4475"/>
                  </a:lnTo>
                  <a:lnTo>
                    <a:pt x="2356" y="4470"/>
                  </a:lnTo>
                  <a:lnTo>
                    <a:pt x="2352" y="4469"/>
                  </a:lnTo>
                  <a:lnTo>
                    <a:pt x="2341" y="4469"/>
                  </a:lnTo>
                  <a:lnTo>
                    <a:pt x="2338" y="4468"/>
                  </a:lnTo>
                  <a:lnTo>
                    <a:pt x="2333" y="4466"/>
                  </a:lnTo>
                  <a:lnTo>
                    <a:pt x="2331" y="4466"/>
                  </a:lnTo>
                  <a:lnTo>
                    <a:pt x="2329" y="4470"/>
                  </a:lnTo>
                  <a:lnTo>
                    <a:pt x="2326" y="4478"/>
                  </a:lnTo>
                  <a:lnTo>
                    <a:pt x="2324" y="4485"/>
                  </a:lnTo>
                  <a:lnTo>
                    <a:pt x="2325" y="4488"/>
                  </a:lnTo>
                  <a:lnTo>
                    <a:pt x="2327" y="4491"/>
                  </a:lnTo>
                  <a:lnTo>
                    <a:pt x="2327" y="4498"/>
                  </a:lnTo>
                  <a:lnTo>
                    <a:pt x="2325" y="4504"/>
                  </a:lnTo>
                  <a:lnTo>
                    <a:pt x="2325" y="4505"/>
                  </a:lnTo>
                  <a:lnTo>
                    <a:pt x="2323" y="4509"/>
                  </a:lnTo>
                  <a:lnTo>
                    <a:pt x="2322" y="4511"/>
                  </a:lnTo>
                  <a:lnTo>
                    <a:pt x="2311" y="4516"/>
                  </a:lnTo>
                  <a:lnTo>
                    <a:pt x="2310" y="4517"/>
                  </a:lnTo>
                  <a:lnTo>
                    <a:pt x="2309" y="4520"/>
                  </a:lnTo>
                  <a:lnTo>
                    <a:pt x="2308" y="4520"/>
                  </a:lnTo>
                  <a:lnTo>
                    <a:pt x="2306" y="4518"/>
                  </a:lnTo>
                  <a:lnTo>
                    <a:pt x="2306" y="4517"/>
                  </a:lnTo>
                  <a:lnTo>
                    <a:pt x="2306" y="4515"/>
                  </a:lnTo>
                  <a:lnTo>
                    <a:pt x="2307" y="4511"/>
                  </a:lnTo>
                  <a:lnTo>
                    <a:pt x="2308" y="4508"/>
                  </a:lnTo>
                  <a:lnTo>
                    <a:pt x="2309" y="4507"/>
                  </a:lnTo>
                  <a:lnTo>
                    <a:pt x="2310" y="4507"/>
                  </a:lnTo>
                  <a:lnTo>
                    <a:pt x="2313" y="4507"/>
                  </a:lnTo>
                  <a:lnTo>
                    <a:pt x="2313" y="4507"/>
                  </a:lnTo>
                  <a:lnTo>
                    <a:pt x="2314" y="4504"/>
                  </a:lnTo>
                  <a:lnTo>
                    <a:pt x="2314" y="4503"/>
                  </a:lnTo>
                  <a:lnTo>
                    <a:pt x="2319" y="4500"/>
                  </a:lnTo>
                  <a:lnTo>
                    <a:pt x="2319" y="4498"/>
                  </a:lnTo>
                  <a:lnTo>
                    <a:pt x="2319" y="4494"/>
                  </a:lnTo>
                  <a:lnTo>
                    <a:pt x="2319" y="4491"/>
                  </a:lnTo>
                  <a:lnTo>
                    <a:pt x="2318" y="4487"/>
                  </a:lnTo>
                  <a:lnTo>
                    <a:pt x="2318" y="4484"/>
                  </a:lnTo>
                  <a:lnTo>
                    <a:pt x="2318" y="4480"/>
                  </a:lnTo>
                  <a:lnTo>
                    <a:pt x="2320" y="4474"/>
                  </a:lnTo>
                  <a:lnTo>
                    <a:pt x="2321" y="4468"/>
                  </a:lnTo>
                  <a:lnTo>
                    <a:pt x="2322" y="4461"/>
                  </a:lnTo>
                  <a:lnTo>
                    <a:pt x="2321" y="4456"/>
                  </a:lnTo>
                  <a:lnTo>
                    <a:pt x="2320" y="4455"/>
                  </a:lnTo>
                  <a:lnTo>
                    <a:pt x="2319" y="4453"/>
                  </a:lnTo>
                  <a:lnTo>
                    <a:pt x="2318" y="4451"/>
                  </a:lnTo>
                  <a:lnTo>
                    <a:pt x="2318" y="4450"/>
                  </a:lnTo>
                  <a:lnTo>
                    <a:pt x="2319" y="4447"/>
                  </a:lnTo>
                  <a:lnTo>
                    <a:pt x="2311" y="4456"/>
                  </a:lnTo>
                  <a:lnTo>
                    <a:pt x="2307" y="4462"/>
                  </a:lnTo>
                  <a:lnTo>
                    <a:pt x="2305" y="4469"/>
                  </a:lnTo>
                  <a:lnTo>
                    <a:pt x="2305" y="4471"/>
                  </a:lnTo>
                  <a:lnTo>
                    <a:pt x="2308" y="4475"/>
                  </a:lnTo>
                  <a:lnTo>
                    <a:pt x="2309" y="4479"/>
                  </a:lnTo>
                  <a:lnTo>
                    <a:pt x="2309" y="4483"/>
                  </a:lnTo>
                  <a:lnTo>
                    <a:pt x="2307" y="4487"/>
                  </a:lnTo>
                  <a:lnTo>
                    <a:pt x="2307" y="4492"/>
                  </a:lnTo>
                  <a:lnTo>
                    <a:pt x="2305" y="4489"/>
                  </a:lnTo>
                  <a:lnTo>
                    <a:pt x="2304" y="4479"/>
                  </a:lnTo>
                  <a:lnTo>
                    <a:pt x="2303" y="4475"/>
                  </a:lnTo>
                  <a:lnTo>
                    <a:pt x="2300" y="4474"/>
                  </a:lnTo>
                  <a:lnTo>
                    <a:pt x="2296" y="4475"/>
                  </a:lnTo>
                  <a:lnTo>
                    <a:pt x="2292" y="4479"/>
                  </a:lnTo>
                  <a:lnTo>
                    <a:pt x="2289" y="4482"/>
                  </a:lnTo>
                  <a:lnTo>
                    <a:pt x="2287" y="4490"/>
                  </a:lnTo>
                  <a:lnTo>
                    <a:pt x="2279" y="4503"/>
                  </a:lnTo>
                  <a:lnTo>
                    <a:pt x="2277" y="4505"/>
                  </a:lnTo>
                  <a:lnTo>
                    <a:pt x="2273" y="4507"/>
                  </a:lnTo>
                  <a:lnTo>
                    <a:pt x="2273" y="4509"/>
                  </a:lnTo>
                  <a:lnTo>
                    <a:pt x="2280" y="4512"/>
                  </a:lnTo>
                  <a:lnTo>
                    <a:pt x="2280" y="4514"/>
                  </a:lnTo>
                  <a:lnTo>
                    <a:pt x="2275" y="4513"/>
                  </a:lnTo>
                  <a:lnTo>
                    <a:pt x="2273" y="4514"/>
                  </a:lnTo>
                  <a:lnTo>
                    <a:pt x="2271" y="4516"/>
                  </a:lnTo>
                  <a:lnTo>
                    <a:pt x="2270" y="4518"/>
                  </a:lnTo>
                  <a:lnTo>
                    <a:pt x="2270" y="4519"/>
                  </a:lnTo>
                  <a:lnTo>
                    <a:pt x="2271" y="4521"/>
                  </a:lnTo>
                  <a:lnTo>
                    <a:pt x="2271" y="4522"/>
                  </a:lnTo>
                  <a:lnTo>
                    <a:pt x="2272" y="4533"/>
                  </a:lnTo>
                  <a:lnTo>
                    <a:pt x="2272" y="4539"/>
                  </a:lnTo>
                  <a:lnTo>
                    <a:pt x="2273" y="4544"/>
                  </a:lnTo>
                  <a:lnTo>
                    <a:pt x="2278" y="4545"/>
                  </a:lnTo>
                  <a:lnTo>
                    <a:pt x="2289" y="4570"/>
                  </a:lnTo>
                  <a:lnTo>
                    <a:pt x="2294" y="4567"/>
                  </a:lnTo>
                  <a:lnTo>
                    <a:pt x="2294" y="4566"/>
                  </a:lnTo>
                  <a:lnTo>
                    <a:pt x="2294" y="4549"/>
                  </a:lnTo>
                  <a:lnTo>
                    <a:pt x="2295" y="4548"/>
                  </a:lnTo>
                  <a:lnTo>
                    <a:pt x="2297" y="4548"/>
                  </a:lnTo>
                  <a:lnTo>
                    <a:pt x="2298" y="4549"/>
                  </a:lnTo>
                  <a:lnTo>
                    <a:pt x="2298" y="4553"/>
                  </a:lnTo>
                  <a:lnTo>
                    <a:pt x="2298" y="4557"/>
                  </a:lnTo>
                  <a:lnTo>
                    <a:pt x="2297" y="4563"/>
                  </a:lnTo>
                  <a:lnTo>
                    <a:pt x="2298" y="4567"/>
                  </a:lnTo>
                  <a:lnTo>
                    <a:pt x="2299" y="4572"/>
                  </a:lnTo>
                  <a:lnTo>
                    <a:pt x="2300" y="4578"/>
                  </a:lnTo>
                  <a:lnTo>
                    <a:pt x="2300" y="4582"/>
                  </a:lnTo>
                  <a:lnTo>
                    <a:pt x="2302" y="4584"/>
                  </a:lnTo>
                  <a:lnTo>
                    <a:pt x="2303" y="4586"/>
                  </a:lnTo>
                  <a:lnTo>
                    <a:pt x="2305" y="4585"/>
                  </a:lnTo>
                  <a:lnTo>
                    <a:pt x="2305" y="4582"/>
                  </a:lnTo>
                  <a:lnTo>
                    <a:pt x="2306" y="4579"/>
                  </a:lnTo>
                  <a:lnTo>
                    <a:pt x="2305" y="4566"/>
                  </a:lnTo>
                  <a:lnTo>
                    <a:pt x="2305" y="4559"/>
                  </a:lnTo>
                  <a:lnTo>
                    <a:pt x="2307" y="4554"/>
                  </a:lnTo>
                  <a:lnTo>
                    <a:pt x="2310" y="4551"/>
                  </a:lnTo>
                  <a:lnTo>
                    <a:pt x="2311" y="4555"/>
                  </a:lnTo>
                  <a:lnTo>
                    <a:pt x="2311" y="4562"/>
                  </a:lnTo>
                  <a:lnTo>
                    <a:pt x="2310" y="4568"/>
                  </a:lnTo>
                  <a:lnTo>
                    <a:pt x="2309" y="4574"/>
                  </a:lnTo>
                  <a:lnTo>
                    <a:pt x="2310" y="4582"/>
                  </a:lnTo>
                  <a:lnTo>
                    <a:pt x="2314" y="4587"/>
                  </a:lnTo>
                  <a:lnTo>
                    <a:pt x="2317" y="4591"/>
                  </a:lnTo>
                  <a:lnTo>
                    <a:pt x="2322" y="4591"/>
                  </a:lnTo>
                  <a:lnTo>
                    <a:pt x="2325" y="4588"/>
                  </a:lnTo>
                  <a:lnTo>
                    <a:pt x="2329" y="4584"/>
                  </a:lnTo>
                  <a:lnTo>
                    <a:pt x="2331" y="4579"/>
                  </a:lnTo>
                  <a:lnTo>
                    <a:pt x="2333" y="4574"/>
                  </a:lnTo>
                  <a:lnTo>
                    <a:pt x="2333" y="4560"/>
                  </a:lnTo>
                  <a:lnTo>
                    <a:pt x="2334" y="4554"/>
                  </a:lnTo>
                  <a:lnTo>
                    <a:pt x="2333" y="4552"/>
                  </a:lnTo>
                  <a:lnTo>
                    <a:pt x="2332" y="4551"/>
                  </a:lnTo>
                  <a:lnTo>
                    <a:pt x="2330" y="4550"/>
                  </a:lnTo>
                  <a:lnTo>
                    <a:pt x="2334" y="4548"/>
                  </a:lnTo>
                  <a:lnTo>
                    <a:pt x="2338" y="4556"/>
                  </a:lnTo>
                  <a:lnTo>
                    <a:pt x="2340" y="4567"/>
                  </a:lnTo>
                  <a:lnTo>
                    <a:pt x="2344" y="4573"/>
                  </a:lnTo>
                  <a:lnTo>
                    <a:pt x="2344" y="4576"/>
                  </a:lnTo>
                  <a:lnTo>
                    <a:pt x="2342" y="4576"/>
                  </a:lnTo>
                  <a:lnTo>
                    <a:pt x="2339" y="4579"/>
                  </a:lnTo>
                  <a:lnTo>
                    <a:pt x="2338" y="4582"/>
                  </a:lnTo>
                  <a:lnTo>
                    <a:pt x="2338" y="4586"/>
                  </a:lnTo>
                  <a:lnTo>
                    <a:pt x="2340" y="4586"/>
                  </a:lnTo>
                  <a:lnTo>
                    <a:pt x="2347" y="4582"/>
                  </a:lnTo>
                  <a:lnTo>
                    <a:pt x="2349" y="4581"/>
                  </a:lnTo>
                  <a:lnTo>
                    <a:pt x="2350" y="4580"/>
                  </a:lnTo>
                  <a:lnTo>
                    <a:pt x="2352" y="4578"/>
                  </a:lnTo>
                  <a:lnTo>
                    <a:pt x="2352" y="4576"/>
                  </a:lnTo>
                  <a:lnTo>
                    <a:pt x="2352" y="4574"/>
                  </a:lnTo>
                  <a:lnTo>
                    <a:pt x="2352" y="4572"/>
                  </a:lnTo>
                  <a:lnTo>
                    <a:pt x="2353" y="4572"/>
                  </a:lnTo>
                  <a:lnTo>
                    <a:pt x="2358" y="4573"/>
                  </a:lnTo>
                  <a:lnTo>
                    <a:pt x="2361" y="4573"/>
                  </a:lnTo>
                  <a:lnTo>
                    <a:pt x="2363" y="4569"/>
                  </a:lnTo>
                  <a:lnTo>
                    <a:pt x="2366" y="4571"/>
                  </a:lnTo>
                  <a:lnTo>
                    <a:pt x="2376" y="4569"/>
                  </a:lnTo>
                  <a:lnTo>
                    <a:pt x="2378" y="4568"/>
                  </a:lnTo>
                  <a:lnTo>
                    <a:pt x="2377" y="4561"/>
                  </a:lnTo>
                  <a:lnTo>
                    <a:pt x="2377" y="4558"/>
                  </a:lnTo>
                  <a:lnTo>
                    <a:pt x="2369" y="4547"/>
                  </a:lnTo>
                  <a:lnTo>
                    <a:pt x="2366" y="4544"/>
                  </a:lnTo>
                  <a:lnTo>
                    <a:pt x="2363" y="4543"/>
                  </a:lnTo>
                  <a:lnTo>
                    <a:pt x="2358" y="4544"/>
                  </a:lnTo>
                  <a:lnTo>
                    <a:pt x="2347" y="4551"/>
                  </a:lnTo>
                  <a:lnTo>
                    <a:pt x="2344" y="4550"/>
                  </a:lnTo>
                  <a:lnTo>
                    <a:pt x="2352" y="4544"/>
                  </a:lnTo>
                  <a:lnTo>
                    <a:pt x="2355" y="4538"/>
                  </a:lnTo>
                  <a:lnTo>
                    <a:pt x="2354" y="4531"/>
                  </a:lnTo>
                  <a:lnTo>
                    <a:pt x="2356" y="4537"/>
                  </a:lnTo>
                  <a:lnTo>
                    <a:pt x="2360" y="4538"/>
                  </a:lnTo>
                  <a:lnTo>
                    <a:pt x="2365" y="4537"/>
                  </a:lnTo>
                  <a:lnTo>
                    <a:pt x="2368" y="4533"/>
                  </a:lnTo>
                  <a:lnTo>
                    <a:pt x="2370" y="4528"/>
                  </a:lnTo>
                  <a:lnTo>
                    <a:pt x="2369" y="4523"/>
                  </a:lnTo>
                  <a:lnTo>
                    <a:pt x="2365" y="4514"/>
                  </a:lnTo>
                  <a:lnTo>
                    <a:pt x="2367" y="4513"/>
                  </a:lnTo>
                  <a:lnTo>
                    <a:pt x="2369" y="4509"/>
                  </a:lnTo>
                  <a:lnTo>
                    <a:pt x="2371" y="4509"/>
                  </a:lnTo>
                  <a:lnTo>
                    <a:pt x="2372" y="4511"/>
                  </a:lnTo>
                  <a:lnTo>
                    <a:pt x="2374" y="4517"/>
                  </a:lnTo>
                  <a:lnTo>
                    <a:pt x="2375" y="4518"/>
                  </a:lnTo>
                  <a:lnTo>
                    <a:pt x="2376" y="4519"/>
                  </a:lnTo>
                  <a:lnTo>
                    <a:pt x="2378" y="4523"/>
                  </a:lnTo>
                  <a:lnTo>
                    <a:pt x="2380" y="4525"/>
                  </a:lnTo>
                  <a:lnTo>
                    <a:pt x="2382" y="4527"/>
                  </a:lnTo>
                  <a:lnTo>
                    <a:pt x="2384" y="4528"/>
                  </a:lnTo>
                  <a:lnTo>
                    <a:pt x="2404" y="4530"/>
                  </a:lnTo>
                  <a:lnTo>
                    <a:pt x="2412" y="4525"/>
                  </a:lnTo>
                  <a:lnTo>
                    <a:pt x="2417" y="4524"/>
                  </a:lnTo>
                  <a:lnTo>
                    <a:pt x="2421" y="4525"/>
                  </a:lnTo>
                  <a:lnTo>
                    <a:pt x="2424" y="4529"/>
                  </a:lnTo>
                  <a:lnTo>
                    <a:pt x="2388" y="4538"/>
                  </a:lnTo>
                  <a:lnTo>
                    <a:pt x="2382" y="4538"/>
                  </a:lnTo>
                  <a:lnTo>
                    <a:pt x="2382" y="4542"/>
                  </a:lnTo>
                  <a:lnTo>
                    <a:pt x="2382" y="4545"/>
                  </a:lnTo>
                  <a:lnTo>
                    <a:pt x="2382" y="4548"/>
                  </a:lnTo>
                  <a:lnTo>
                    <a:pt x="2382" y="4552"/>
                  </a:lnTo>
                  <a:lnTo>
                    <a:pt x="2383" y="4554"/>
                  </a:lnTo>
                  <a:lnTo>
                    <a:pt x="2384" y="4556"/>
                  </a:lnTo>
                  <a:lnTo>
                    <a:pt x="2386" y="4558"/>
                  </a:lnTo>
                  <a:lnTo>
                    <a:pt x="2386" y="4562"/>
                  </a:lnTo>
                  <a:lnTo>
                    <a:pt x="2388" y="4567"/>
                  </a:lnTo>
                  <a:lnTo>
                    <a:pt x="2392" y="4565"/>
                  </a:lnTo>
                  <a:lnTo>
                    <a:pt x="2399" y="4559"/>
                  </a:lnTo>
                  <a:lnTo>
                    <a:pt x="2399" y="4556"/>
                  </a:lnTo>
                  <a:lnTo>
                    <a:pt x="2398" y="4554"/>
                  </a:lnTo>
                  <a:lnTo>
                    <a:pt x="2397" y="4553"/>
                  </a:lnTo>
                  <a:lnTo>
                    <a:pt x="2395" y="4552"/>
                  </a:lnTo>
                  <a:lnTo>
                    <a:pt x="2395" y="4550"/>
                  </a:lnTo>
                  <a:lnTo>
                    <a:pt x="2396" y="4550"/>
                  </a:lnTo>
                  <a:lnTo>
                    <a:pt x="2397" y="4548"/>
                  </a:lnTo>
                  <a:lnTo>
                    <a:pt x="2398" y="4548"/>
                  </a:lnTo>
                  <a:lnTo>
                    <a:pt x="2397" y="4544"/>
                  </a:lnTo>
                  <a:lnTo>
                    <a:pt x="2400" y="4544"/>
                  </a:lnTo>
                  <a:lnTo>
                    <a:pt x="2402" y="4550"/>
                  </a:lnTo>
                  <a:lnTo>
                    <a:pt x="2404" y="4552"/>
                  </a:lnTo>
                  <a:lnTo>
                    <a:pt x="2407" y="4551"/>
                  </a:lnTo>
                  <a:lnTo>
                    <a:pt x="2412" y="4547"/>
                  </a:lnTo>
                  <a:lnTo>
                    <a:pt x="2416" y="4543"/>
                  </a:lnTo>
                  <a:lnTo>
                    <a:pt x="2422" y="4537"/>
                  </a:lnTo>
                  <a:lnTo>
                    <a:pt x="2424" y="4534"/>
                  </a:lnTo>
                  <a:lnTo>
                    <a:pt x="2426" y="4532"/>
                  </a:lnTo>
                  <a:lnTo>
                    <a:pt x="2431" y="4518"/>
                  </a:lnTo>
                  <a:lnTo>
                    <a:pt x="2435" y="4513"/>
                  </a:lnTo>
                  <a:lnTo>
                    <a:pt x="2438" y="4506"/>
                  </a:lnTo>
                  <a:lnTo>
                    <a:pt x="2439" y="4502"/>
                  </a:lnTo>
                  <a:lnTo>
                    <a:pt x="2440" y="4500"/>
                  </a:lnTo>
                  <a:lnTo>
                    <a:pt x="2441" y="4492"/>
                  </a:lnTo>
                  <a:lnTo>
                    <a:pt x="2442" y="4482"/>
                  </a:lnTo>
                  <a:lnTo>
                    <a:pt x="2446" y="4475"/>
                  </a:lnTo>
                  <a:lnTo>
                    <a:pt x="2450" y="4473"/>
                  </a:lnTo>
                  <a:lnTo>
                    <a:pt x="2447" y="4476"/>
                  </a:lnTo>
                  <a:lnTo>
                    <a:pt x="2446" y="4481"/>
                  </a:lnTo>
                  <a:lnTo>
                    <a:pt x="2445" y="4487"/>
                  </a:lnTo>
                  <a:lnTo>
                    <a:pt x="2445" y="4493"/>
                  </a:lnTo>
                  <a:lnTo>
                    <a:pt x="2444" y="4499"/>
                  </a:lnTo>
                  <a:lnTo>
                    <a:pt x="2442" y="4504"/>
                  </a:lnTo>
                  <a:lnTo>
                    <a:pt x="2440" y="4509"/>
                  </a:lnTo>
                  <a:lnTo>
                    <a:pt x="2438" y="4514"/>
                  </a:lnTo>
                  <a:lnTo>
                    <a:pt x="2443" y="4513"/>
                  </a:lnTo>
                  <a:lnTo>
                    <a:pt x="2453" y="4505"/>
                  </a:lnTo>
                  <a:lnTo>
                    <a:pt x="2480" y="4499"/>
                  </a:lnTo>
                  <a:lnTo>
                    <a:pt x="2486" y="4503"/>
                  </a:lnTo>
                  <a:lnTo>
                    <a:pt x="2468" y="4506"/>
                  </a:lnTo>
                  <a:lnTo>
                    <a:pt x="2439" y="4518"/>
                  </a:lnTo>
                  <a:lnTo>
                    <a:pt x="2436" y="4522"/>
                  </a:lnTo>
                  <a:lnTo>
                    <a:pt x="2435" y="4525"/>
                  </a:lnTo>
                  <a:lnTo>
                    <a:pt x="2434" y="4532"/>
                  </a:lnTo>
                  <a:lnTo>
                    <a:pt x="2434" y="4534"/>
                  </a:lnTo>
                  <a:lnTo>
                    <a:pt x="2431" y="4539"/>
                  </a:lnTo>
                  <a:lnTo>
                    <a:pt x="2431" y="4541"/>
                  </a:lnTo>
                  <a:lnTo>
                    <a:pt x="2430" y="4544"/>
                  </a:lnTo>
                  <a:lnTo>
                    <a:pt x="2430" y="4543"/>
                  </a:lnTo>
                  <a:lnTo>
                    <a:pt x="2428" y="4540"/>
                  </a:lnTo>
                  <a:lnTo>
                    <a:pt x="2428" y="4539"/>
                  </a:lnTo>
                  <a:lnTo>
                    <a:pt x="2425" y="4544"/>
                  </a:lnTo>
                  <a:lnTo>
                    <a:pt x="2421" y="4548"/>
                  </a:lnTo>
                  <a:lnTo>
                    <a:pt x="2412" y="4552"/>
                  </a:lnTo>
                  <a:lnTo>
                    <a:pt x="2408" y="4556"/>
                  </a:lnTo>
                  <a:lnTo>
                    <a:pt x="2407" y="4558"/>
                  </a:lnTo>
                  <a:lnTo>
                    <a:pt x="2405" y="4561"/>
                  </a:lnTo>
                  <a:lnTo>
                    <a:pt x="2404" y="4564"/>
                  </a:lnTo>
                  <a:lnTo>
                    <a:pt x="2402" y="4567"/>
                  </a:lnTo>
                  <a:lnTo>
                    <a:pt x="2401" y="4570"/>
                  </a:lnTo>
                  <a:lnTo>
                    <a:pt x="2399" y="4572"/>
                  </a:lnTo>
                  <a:lnTo>
                    <a:pt x="2399" y="4573"/>
                  </a:lnTo>
                  <a:lnTo>
                    <a:pt x="2402" y="4575"/>
                  </a:lnTo>
                  <a:lnTo>
                    <a:pt x="2406" y="4575"/>
                  </a:lnTo>
                  <a:lnTo>
                    <a:pt x="2409" y="4573"/>
                  </a:lnTo>
                  <a:lnTo>
                    <a:pt x="2409" y="4567"/>
                  </a:lnTo>
                  <a:lnTo>
                    <a:pt x="2410" y="4571"/>
                  </a:lnTo>
                  <a:lnTo>
                    <a:pt x="2411" y="4574"/>
                  </a:lnTo>
                  <a:lnTo>
                    <a:pt x="2412" y="4576"/>
                  </a:lnTo>
                  <a:lnTo>
                    <a:pt x="2415" y="4578"/>
                  </a:lnTo>
                  <a:lnTo>
                    <a:pt x="2416" y="4578"/>
                  </a:lnTo>
                  <a:lnTo>
                    <a:pt x="2418" y="4578"/>
                  </a:lnTo>
                  <a:lnTo>
                    <a:pt x="2420" y="4578"/>
                  </a:lnTo>
                  <a:lnTo>
                    <a:pt x="2421" y="4577"/>
                  </a:lnTo>
                  <a:lnTo>
                    <a:pt x="2423" y="4572"/>
                  </a:lnTo>
                  <a:lnTo>
                    <a:pt x="2423" y="4572"/>
                  </a:lnTo>
                  <a:lnTo>
                    <a:pt x="2425" y="4572"/>
                  </a:lnTo>
                  <a:lnTo>
                    <a:pt x="2426" y="4575"/>
                  </a:lnTo>
                  <a:lnTo>
                    <a:pt x="2427" y="4577"/>
                  </a:lnTo>
                  <a:lnTo>
                    <a:pt x="2430" y="4576"/>
                  </a:lnTo>
                  <a:lnTo>
                    <a:pt x="2431" y="4573"/>
                  </a:lnTo>
                  <a:lnTo>
                    <a:pt x="2432" y="4570"/>
                  </a:lnTo>
                  <a:lnTo>
                    <a:pt x="2432" y="4568"/>
                  </a:lnTo>
                  <a:lnTo>
                    <a:pt x="2434" y="4572"/>
                  </a:lnTo>
                  <a:lnTo>
                    <a:pt x="2436" y="4575"/>
                  </a:lnTo>
                  <a:lnTo>
                    <a:pt x="2438" y="4578"/>
                  </a:lnTo>
                  <a:lnTo>
                    <a:pt x="2438" y="4580"/>
                  </a:lnTo>
                  <a:lnTo>
                    <a:pt x="2414" y="4582"/>
                  </a:lnTo>
                  <a:lnTo>
                    <a:pt x="2418" y="4592"/>
                  </a:lnTo>
                  <a:lnTo>
                    <a:pt x="2425" y="4594"/>
                  </a:lnTo>
                  <a:lnTo>
                    <a:pt x="2432" y="4591"/>
                  </a:lnTo>
                  <a:lnTo>
                    <a:pt x="2450" y="4577"/>
                  </a:lnTo>
                  <a:lnTo>
                    <a:pt x="2454" y="4576"/>
                  </a:lnTo>
                  <a:lnTo>
                    <a:pt x="2473" y="4576"/>
                  </a:lnTo>
                  <a:lnTo>
                    <a:pt x="2473" y="4578"/>
                  </a:lnTo>
                  <a:lnTo>
                    <a:pt x="2459" y="4577"/>
                  </a:lnTo>
                  <a:lnTo>
                    <a:pt x="2451" y="4579"/>
                  </a:lnTo>
                  <a:lnTo>
                    <a:pt x="2440" y="4591"/>
                  </a:lnTo>
                  <a:lnTo>
                    <a:pt x="2427" y="4596"/>
                  </a:lnTo>
                  <a:lnTo>
                    <a:pt x="2420" y="4604"/>
                  </a:lnTo>
                  <a:lnTo>
                    <a:pt x="2412" y="4610"/>
                  </a:lnTo>
                  <a:lnTo>
                    <a:pt x="2410" y="4613"/>
                  </a:lnTo>
                  <a:lnTo>
                    <a:pt x="2405" y="4622"/>
                  </a:lnTo>
                  <a:lnTo>
                    <a:pt x="2402" y="4631"/>
                  </a:lnTo>
                  <a:lnTo>
                    <a:pt x="2406" y="4631"/>
                  </a:lnTo>
                  <a:lnTo>
                    <a:pt x="2414" y="4630"/>
                  </a:lnTo>
                  <a:lnTo>
                    <a:pt x="2420" y="4631"/>
                  </a:lnTo>
                  <a:lnTo>
                    <a:pt x="2417" y="4633"/>
                  </a:lnTo>
                  <a:lnTo>
                    <a:pt x="2408" y="4635"/>
                  </a:lnTo>
                  <a:lnTo>
                    <a:pt x="2403" y="4638"/>
                  </a:lnTo>
                  <a:lnTo>
                    <a:pt x="2388" y="4642"/>
                  </a:lnTo>
                  <a:lnTo>
                    <a:pt x="2383" y="4645"/>
                  </a:lnTo>
                  <a:lnTo>
                    <a:pt x="2380" y="4650"/>
                  </a:lnTo>
                  <a:lnTo>
                    <a:pt x="2380" y="4656"/>
                  </a:lnTo>
                  <a:lnTo>
                    <a:pt x="2383" y="4663"/>
                  </a:lnTo>
                  <a:lnTo>
                    <a:pt x="2386" y="4668"/>
                  </a:lnTo>
                  <a:lnTo>
                    <a:pt x="2390" y="4671"/>
                  </a:lnTo>
                  <a:lnTo>
                    <a:pt x="2393" y="4672"/>
                  </a:lnTo>
                  <a:lnTo>
                    <a:pt x="2399" y="4669"/>
                  </a:lnTo>
                  <a:lnTo>
                    <a:pt x="2402" y="4669"/>
                  </a:lnTo>
                  <a:lnTo>
                    <a:pt x="2403" y="4670"/>
                  </a:lnTo>
                  <a:lnTo>
                    <a:pt x="2406" y="4676"/>
                  </a:lnTo>
                  <a:lnTo>
                    <a:pt x="2408" y="4677"/>
                  </a:lnTo>
                  <a:lnTo>
                    <a:pt x="2405" y="4679"/>
                  </a:lnTo>
                  <a:lnTo>
                    <a:pt x="2401" y="4680"/>
                  </a:lnTo>
                  <a:lnTo>
                    <a:pt x="2397" y="4681"/>
                  </a:lnTo>
                  <a:lnTo>
                    <a:pt x="2396" y="4688"/>
                  </a:lnTo>
                  <a:lnTo>
                    <a:pt x="2397" y="4691"/>
                  </a:lnTo>
                  <a:lnTo>
                    <a:pt x="2406" y="4706"/>
                  </a:lnTo>
                  <a:lnTo>
                    <a:pt x="2420" y="4682"/>
                  </a:lnTo>
                  <a:lnTo>
                    <a:pt x="2426" y="4677"/>
                  </a:lnTo>
                  <a:lnTo>
                    <a:pt x="2447" y="4672"/>
                  </a:lnTo>
                  <a:lnTo>
                    <a:pt x="2456" y="4666"/>
                  </a:lnTo>
                  <a:lnTo>
                    <a:pt x="2500" y="4658"/>
                  </a:lnTo>
                  <a:lnTo>
                    <a:pt x="2500" y="4660"/>
                  </a:lnTo>
                  <a:lnTo>
                    <a:pt x="2431" y="4682"/>
                  </a:lnTo>
                  <a:lnTo>
                    <a:pt x="2420" y="4688"/>
                  </a:lnTo>
                  <a:lnTo>
                    <a:pt x="2417" y="4692"/>
                  </a:lnTo>
                  <a:lnTo>
                    <a:pt x="2412" y="4699"/>
                  </a:lnTo>
                  <a:lnTo>
                    <a:pt x="2410" y="4703"/>
                  </a:lnTo>
                  <a:lnTo>
                    <a:pt x="2409" y="4707"/>
                  </a:lnTo>
                  <a:lnTo>
                    <a:pt x="2410" y="4712"/>
                  </a:lnTo>
                  <a:lnTo>
                    <a:pt x="2413" y="4716"/>
                  </a:lnTo>
                  <a:lnTo>
                    <a:pt x="2416" y="4720"/>
                  </a:lnTo>
                  <a:lnTo>
                    <a:pt x="2419" y="4722"/>
                  </a:lnTo>
                  <a:lnTo>
                    <a:pt x="2433" y="4723"/>
                  </a:lnTo>
                  <a:lnTo>
                    <a:pt x="2436" y="4726"/>
                  </a:lnTo>
                  <a:lnTo>
                    <a:pt x="2421" y="4726"/>
                  </a:lnTo>
                  <a:lnTo>
                    <a:pt x="2415" y="4724"/>
                  </a:lnTo>
                  <a:lnTo>
                    <a:pt x="2395" y="4706"/>
                  </a:lnTo>
                  <a:lnTo>
                    <a:pt x="2393" y="4703"/>
                  </a:lnTo>
                  <a:lnTo>
                    <a:pt x="2390" y="4696"/>
                  </a:lnTo>
                  <a:lnTo>
                    <a:pt x="2387" y="4694"/>
                  </a:lnTo>
                  <a:lnTo>
                    <a:pt x="2382" y="4689"/>
                  </a:lnTo>
                  <a:lnTo>
                    <a:pt x="2379" y="4688"/>
                  </a:lnTo>
                  <a:lnTo>
                    <a:pt x="2377" y="4687"/>
                  </a:lnTo>
                  <a:lnTo>
                    <a:pt x="2372" y="4688"/>
                  </a:lnTo>
                  <a:lnTo>
                    <a:pt x="2371" y="4689"/>
                  </a:lnTo>
                  <a:lnTo>
                    <a:pt x="2371" y="4694"/>
                  </a:lnTo>
                  <a:lnTo>
                    <a:pt x="2371" y="4696"/>
                  </a:lnTo>
                  <a:lnTo>
                    <a:pt x="2368" y="4698"/>
                  </a:lnTo>
                  <a:lnTo>
                    <a:pt x="2361" y="4697"/>
                  </a:lnTo>
                  <a:lnTo>
                    <a:pt x="2358" y="4699"/>
                  </a:lnTo>
                  <a:lnTo>
                    <a:pt x="2355" y="4717"/>
                  </a:lnTo>
                  <a:lnTo>
                    <a:pt x="2353" y="4711"/>
                  </a:lnTo>
                  <a:lnTo>
                    <a:pt x="2353" y="4701"/>
                  </a:lnTo>
                  <a:lnTo>
                    <a:pt x="2353" y="4691"/>
                  </a:lnTo>
                  <a:lnTo>
                    <a:pt x="2355" y="4684"/>
                  </a:lnTo>
                  <a:lnTo>
                    <a:pt x="2329" y="4665"/>
                  </a:lnTo>
                  <a:lnTo>
                    <a:pt x="2328" y="4674"/>
                  </a:lnTo>
                  <a:lnTo>
                    <a:pt x="2326" y="4677"/>
                  </a:lnTo>
                  <a:lnTo>
                    <a:pt x="2324" y="4679"/>
                  </a:lnTo>
                  <a:lnTo>
                    <a:pt x="2327" y="4681"/>
                  </a:lnTo>
                  <a:lnTo>
                    <a:pt x="2333" y="4680"/>
                  </a:lnTo>
                  <a:lnTo>
                    <a:pt x="2335" y="4684"/>
                  </a:lnTo>
                  <a:lnTo>
                    <a:pt x="2333" y="4682"/>
                  </a:lnTo>
                  <a:lnTo>
                    <a:pt x="2332" y="4682"/>
                  </a:lnTo>
                  <a:lnTo>
                    <a:pt x="2330" y="4683"/>
                  </a:lnTo>
                  <a:lnTo>
                    <a:pt x="2329" y="4685"/>
                  </a:lnTo>
                  <a:lnTo>
                    <a:pt x="2336" y="4692"/>
                  </a:lnTo>
                  <a:lnTo>
                    <a:pt x="2339" y="4696"/>
                  </a:lnTo>
                  <a:lnTo>
                    <a:pt x="2341" y="4699"/>
                  </a:lnTo>
                  <a:lnTo>
                    <a:pt x="2339" y="4705"/>
                  </a:lnTo>
                  <a:lnTo>
                    <a:pt x="2336" y="4703"/>
                  </a:lnTo>
                  <a:lnTo>
                    <a:pt x="2331" y="4694"/>
                  </a:lnTo>
                  <a:lnTo>
                    <a:pt x="2330" y="4693"/>
                  </a:lnTo>
                  <a:lnTo>
                    <a:pt x="2328" y="4690"/>
                  </a:lnTo>
                  <a:lnTo>
                    <a:pt x="2327" y="4690"/>
                  </a:lnTo>
                  <a:lnTo>
                    <a:pt x="2326" y="4693"/>
                  </a:lnTo>
                  <a:lnTo>
                    <a:pt x="2328" y="4697"/>
                  </a:lnTo>
                  <a:lnTo>
                    <a:pt x="2329" y="4701"/>
                  </a:lnTo>
                  <a:lnTo>
                    <a:pt x="2329" y="4703"/>
                  </a:lnTo>
                  <a:lnTo>
                    <a:pt x="2331" y="4706"/>
                  </a:lnTo>
                  <a:lnTo>
                    <a:pt x="2332" y="4707"/>
                  </a:lnTo>
                  <a:lnTo>
                    <a:pt x="2332" y="4709"/>
                  </a:lnTo>
                  <a:lnTo>
                    <a:pt x="2331" y="4713"/>
                  </a:lnTo>
                  <a:lnTo>
                    <a:pt x="2329" y="4714"/>
                  </a:lnTo>
                  <a:lnTo>
                    <a:pt x="2327" y="4715"/>
                  </a:lnTo>
                  <a:lnTo>
                    <a:pt x="2325" y="4717"/>
                  </a:lnTo>
                  <a:lnTo>
                    <a:pt x="2327" y="4722"/>
                  </a:lnTo>
                  <a:lnTo>
                    <a:pt x="2327" y="4728"/>
                  </a:lnTo>
                  <a:lnTo>
                    <a:pt x="2327" y="4733"/>
                  </a:lnTo>
                  <a:lnTo>
                    <a:pt x="2326" y="4738"/>
                  </a:lnTo>
                  <a:lnTo>
                    <a:pt x="2325" y="4743"/>
                  </a:lnTo>
                  <a:lnTo>
                    <a:pt x="2320" y="4748"/>
                  </a:lnTo>
                  <a:lnTo>
                    <a:pt x="2317" y="4752"/>
                  </a:lnTo>
                  <a:lnTo>
                    <a:pt x="2322" y="4759"/>
                  </a:lnTo>
                  <a:lnTo>
                    <a:pt x="2324" y="4764"/>
                  </a:lnTo>
                  <a:lnTo>
                    <a:pt x="2325" y="4770"/>
                  </a:lnTo>
                  <a:lnTo>
                    <a:pt x="2328" y="4779"/>
                  </a:lnTo>
                  <a:lnTo>
                    <a:pt x="2332" y="4790"/>
                  </a:lnTo>
                  <a:lnTo>
                    <a:pt x="2339" y="4801"/>
                  </a:lnTo>
                  <a:lnTo>
                    <a:pt x="2345" y="4810"/>
                  </a:lnTo>
                  <a:lnTo>
                    <a:pt x="2344" y="4815"/>
                  </a:lnTo>
                  <a:lnTo>
                    <a:pt x="2353" y="4823"/>
                  </a:lnTo>
                  <a:lnTo>
                    <a:pt x="2359" y="4821"/>
                  </a:lnTo>
                  <a:lnTo>
                    <a:pt x="2365" y="4823"/>
                  </a:lnTo>
                  <a:lnTo>
                    <a:pt x="2368" y="4833"/>
                  </a:lnTo>
                  <a:lnTo>
                    <a:pt x="2374" y="4835"/>
                  </a:lnTo>
                  <a:lnTo>
                    <a:pt x="2389" y="4834"/>
                  </a:lnTo>
                  <a:lnTo>
                    <a:pt x="2393" y="4836"/>
                  </a:lnTo>
                  <a:lnTo>
                    <a:pt x="2394" y="4839"/>
                  </a:lnTo>
                  <a:lnTo>
                    <a:pt x="2395" y="4842"/>
                  </a:lnTo>
                  <a:lnTo>
                    <a:pt x="2395" y="4845"/>
                  </a:lnTo>
                  <a:lnTo>
                    <a:pt x="2395" y="4849"/>
                  </a:lnTo>
                  <a:lnTo>
                    <a:pt x="2396" y="4852"/>
                  </a:lnTo>
                  <a:lnTo>
                    <a:pt x="2397" y="4855"/>
                  </a:lnTo>
                  <a:lnTo>
                    <a:pt x="2397" y="4858"/>
                  </a:lnTo>
                  <a:lnTo>
                    <a:pt x="2400" y="4863"/>
                  </a:lnTo>
                  <a:lnTo>
                    <a:pt x="2402" y="4864"/>
                  </a:lnTo>
                  <a:lnTo>
                    <a:pt x="2403" y="4865"/>
                  </a:lnTo>
                  <a:lnTo>
                    <a:pt x="2408" y="4866"/>
                  </a:lnTo>
                  <a:lnTo>
                    <a:pt x="2410" y="4867"/>
                  </a:lnTo>
                  <a:lnTo>
                    <a:pt x="2414" y="4872"/>
                  </a:lnTo>
                  <a:lnTo>
                    <a:pt x="2422" y="4878"/>
                  </a:lnTo>
                  <a:lnTo>
                    <a:pt x="2432" y="4879"/>
                  </a:lnTo>
                  <a:lnTo>
                    <a:pt x="2435" y="4881"/>
                  </a:lnTo>
                  <a:lnTo>
                    <a:pt x="2437" y="4883"/>
                  </a:lnTo>
                  <a:lnTo>
                    <a:pt x="2440" y="4885"/>
                  </a:lnTo>
                  <a:lnTo>
                    <a:pt x="2442" y="4885"/>
                  </a:lnTo>
                  <a:lnTo>
                    <a:pt x="2445" y="4886"/>
                  </a:lnTo>
                  <a:lnTo>
                    <a:pt x="2446" y="4887"/>
                  </a:lnTo>
                  <a:lnTo>
                    <a:pt x="2455" y="4894"/>
                  </a:lnTo>
                  <a:lnTo>
                    <a:pt x="2464" y="4898"/>
                  </a:lnTo>
                  <a:lnTo>
                    <a:pt x="2479" y="4901"/>
                  </a:lnTo>
                  <a:lnTo>
                    <a:pt x="2489" y="4907"/>
                  </a:lnTo>
                  <a:lnTo>
                    <a:pt x="2500" y="4906"/>
                  </a:lnTo>
                  <a:lnTo>
                    <a:pt x="2499" y="4900"/>
                  </a:lnTo>
                  <a:lnTo>
                    <a:pt x="2499" y="4884"/>
                  </a:lnTo>
                  <a:lnTo>
                    <a:pt x="2502" y="4885"/>
                  </a:lnTo>
                  <a:lnTo>
                    <a:pt x="2505" y="4883"/>
                  </a:lnTo>
                  <a:lnTo>
                    <a:pt x="2509" y="4882"/>
                  </a:lnTo>
                  <a:lnTo>
                    <a:pt x="2513" y="4886"/>
                  </a:lnTo>
                  <a:lnTo>
                    <a:pt x="2510" y="4892"/>
                  </a:lnTo>
                  <a:lnTo>
                    <a:pt x="2507" y="4889"/>
                  </a:lnTo>
                  <a:lnTo>
                    <a:pt x="2504" y="4889"/>
                  </a:lnTo>
                  <a:lnTo>
                    <a:pt x="2502" y="4892"/>
                  </a:lnTo>
                  <a:lnTo>
                    <a:pt x="2501" y="4897"/>
                  </a:lnTo>
                  <a:lnTo>
                    <a:pt x="2502" y="4901"/>
                  </a:lnTo>
                  <a:lnTo>
                    <a:pt x="2506" y="4910"/>
                  </a:lnTo>
                  <a:lnTo>
                    <a:pt x="2508" y="4913"/>
                  </a:lnTo>
                  <a:lnTo>
                    <a:pt x="2511" y="4913"/>
                  </a:lnTo>
                  <a:lnTo>
                    <a:pt x="2520" y="4904"/>
                  </a:lnTo>
                  <a:lnTo>
                    <a:pt x="2528" y="4899"/>
                  </a:lnTo>
                  <a:lnTo>
                    <a:pt x="2532" y="4897"/>
                  </a:lnTo>
                  <a:lnTo>
                    <a:pt x="2534" y="4899"/>
                  </a:lnTo>
                  <a:lnTo>
                    <a:pt x="2522" y="4906"/>
                  </a:lnTo>
                  <a:lnTo>
                    <a:pt x="2515" y="4914"/>
                  </a:lnTo>
                  <a:lnTo>
                    <a:pt x="2507" y="4918"/>
                  </a:lnTo>
                  <a:lnTo>
                    <a:pt x="2504" y="4923"/>
                  </a:lnTo>
                  <a:lnTo>
                    <a:pt x="2505" y="4924"/>
                  </a:lnTo>
                  <a:lnTo>
                    <a:pt x="2507" y="4925"/>
                  </a:lnTo>
                  <a:lnTo>
                    <a:pt x="2504" y="4927"/>
                  </a:lnTo>
                  <a:lnTo>
                    <a:pt x="2495" y="4927"/>
                  </a:lnTo>
                  <a:lnTo>
                    <a:pt x="2493" y="4930"/>
                  </a:lnTo>
                  <a:lnTo>
                    <a:pt x="2492" y="4936"/>
                  </a:lnTo>
                  <a:lnTo>
                    <a:pt x="2490" y="4940"/>
                  </a:lnTo>
                  <a:lnTo>
                    <a:pt x="2487" y="4943"/>
                  </a:lnTo>
                  <a:lnTo>
                    <a:pt x="2484" y="4944"/>
                  </a:lnTo>
                  <a:lnTo>
                    <a:pt x="2486" y="4948"/>
                  </a:lnTo>
                  <a:lnTo>
                    <a:pt x="2495" y="4957"/>
                  </a:lnTo>
                  <a:lnTo>
                    <a:pt x="2498" y="4959"/>
                  </a:lnTo>
                  <a:lnTo>
                    <a:pt x="2515" y="4960"/>
                  </a:lnTo>
                  <a:lnTo>
                    <a:pt x="2516" y="4961"/>
                  </a:lnTo>
                  <a:lnTo>
                    <a:pt x="2520" y="4963"/>
                  </a:lnTo>
                  <a:lnTo>
                    <a:pt x="2521" y="4962"/>
                  </a:lnTo>
                  <a:lnTo>
                    <a:pt x="2524" y="4960"/>
                  </a:lnTo>
                  <a:lnTo>
                    <a:pt x="2524" y="4959"/>
                  </a:lnTo>
                  <a:lnTo>
                    <a:pt x="2523" y="4958"/>
                  </a:lnTo>
                  <a:lnTo>
                    <a:pt x="2520" y="4954"/>
                  </a:lnTo>
                  <a:lnTo>
                    <a:pt x="2516" y="4952"/>
                  </a:lnTo>
                  <a:lnTo>
                    <a:pt x="2515" y="4950"/>
                  </a:lnTo>
                  <a:lnTo>
                    <a:pt x="2514" y="4948"/>
                  </a:lnTo>
                  <a:lnTo>
                    <a:pt x="2513" y="4945"/>
                  </a:lnTo>
                  <a:lnTo>
                    <a:pt x="2512" y="4944"/>
                  </a:lnTo>
                  <a:lnTo>
                    <a:pt x="2509" y="4944"/>
                  </a:lnTo>
                  <a:lnTo>
                    <a:pt x="2511" y="4939"/>
                  </a:lnTo>
                  <a:lnTo>
                    <a:pt x="2515" y="4923"/>
                  </a:lnTo>
                  <a:lnTo>
                    <a:pt x="2515" y="4928"/>
                  </a:lnTo>
                  <a:lnTo>
                    <a:pt x="2515" y="4933"/>
                  </a:lnTo>
                  <a:lnTo>
                    <a:pt x="2515" y="4936"/>
                  </a:lnTo>
                  <a:lnTo>
                    <a:pt x="2514" y="4939"/>
                  </a:lnTo>
                  <a:lnTo>
                    <a:pt x="2516" y="4944"/>
                  </a:lnTo>
                  <a:lnTo>
                    <a:pt x="2520" y="4945"/>
                  </a:lnTo>
                  <a:lnTo>
                    <a:pt x="2528" y="4944"/>
                  </a:lnTo>
                  <a:lnTo>
                    <a:pt x="2529" y="4942"/>
                  </a:lnTo>
                  <a:lnTo>
                    <a:pt x="2524" y="4925"/>
                  </a:lnTo>
                  <a:lnTo>
                    <a:pt x="2527" y="4926"/>
                  </a:lnTo>
                  <a:lnTo>
                    <a:pt x="2535" y="4936"/>
                  </a:lnTo>
                  <a:lnTo>
                    <a:pt x="2539" y="4939"/>
                  </a:lnTo>
                  <a:lnTo>
                    <a:pt x="2544" y="4941"/>
                  </a:lnTo>
                  <a:lnTo>
                    <a:pt x="2552" y="4938"/>
                  </a:lnTo>
                  <a:lnTo>
                    <a:pt x="2557" y="4938"/>
                  </a:lnTo>
                  <a:lnTo>
                    <a:pt x="2555" y="4942"/>
                  </a:lnTo>
                  <a:lnTo>
                    <a:pt x="2551" y="4944"/>
                  </a:lnTo>
                  <a:lnTo>
                    <a:pt x="2538" y="4944"/>
                  </a:lnTo>
                  <a:lnTo>
                    <a:pt x="2535" y="4945"/>
                  </a:lnTo>
                  <a:lnTo>
                    <a:pt x="2528" y="4950"/>
                  </a:lnTo>
                  <a:lnTo>
                    <a:pt x="2529" y="4953"/>
                  </a:lnTo>
                  <a:lnTo>
                    <a:pt x="2532" y="4955"/>
                  </a:lnTo>
                  <a:lnTo>
                    <a:pt x="2535" y="4956"/>
                  </a:lnTo>
                  <a:lnTo>
                    <a:pt x="2538" y="4956"/>
                  </a:lnTo>
                  <a:lnTo>
                    <a:pt x="2539" y="4955"/>
                  </a:lnTo>
                  <a:lnTo>
                    <a:pt x="2542" y="4951"/>
                  </a:lnTo>
                  <a:lnTo>
                    <a:pt x="2544" y="4950"/>
                  </a:lnTo>
                  <a:lnTo>
                    <a:pt x="2545" y="4954"/>
                  </a:lnTo>
                  <a:lnTo>
                    <a:pt x="2545" y="4958"/>
                  </a:lnTo>
                  <a:lnTo>
                    <a:pt x="2544" y="4961"/>
                  </a:lnTo>
                  <a:lnTo>
                    <a:pt x="2543" y="4964"/>
                  </a:lnTo>
                  <a:lnTo>
                    <a:pt x="2547" y="4960"/>
                  </a:lnTo>
                  <a:lnTo>
                    <a:pt x="2556" y="4948"/>
                  </a:lnTo>
                  <a:lnTo>
                    <a:pt x="2558" y="4950"/>
                  </a:lnTo>
                  <a:lnTo>
                    <a:pt x="2556" y="4953"/>
                  </a:lnTo>
                  <a:lnTo>
                    <a:pt x="2551" y="4963"/>
                  </a:lnTo>
                  <a:lnTo>
                    <a:pt x="2548" y="4966"/>
                  </a:lnTo>
                  <a:lnTo>
                    <a:pt x="2552" y="4966"/>
                  </a:lnTo>
                  <a:lnTo>
                    <a:pt x="2564" y="4961"/>
                  </a:lnTo>
                  <a:lnTo>
                    <a:pt x="2567" y="4959"/>
                  </a:lnTo>
                  <a:lnTo>
                    <a:pt x="2569" y="4957"/>
                  </a:lnTo>
                  <a:lnTo>
                    <a:pt x="2579" y="4951"/>
                  </a:lnTo>
                  <a:lnTo>
                    <a:pt x="2582" y="4950"/>
                  </a:lnTo>
                  <a:lnTo>
                    <a:pt x="2582" y="4952"/>
                  </a:lnTo>
                  <a:lnTo>
                    <a:pt x="2581" y="4954"/>
                  </a:lnTo>
                  <a:lnTo>
                    <a:pt x="2578" y="4961"/>
                  </a:lnTo>
                  <a:lnTo>
                    <a:pt x="2577" y="4962"/>
                  </a:lnTo>
                  <a:lnTo>
                    <a:pt x="2576" y="4961"/>
                  </a:lnTo>
                  <a:lnTo>
                    <a:pt x="2574" y="4959"/>
                  </a:lnTo>
                  <a:lnTo>
                    <a:pt x="2573" y="4959"/>
                  </a:lnTo>
                  <a:lnTo>
                    <a:pt x="2571" y="4961"/>
                  </a:lnTo>
                  <a:lnTo>
                    <a:pt x="2567" y="4964"/>
                  </a:lnTo>
                  <a:lnTo>
                    <a:pt x="2562" y="4967"/>
                  </a:lnTo>
                  <a:lnTo>
                    <a:pt x="2559" y="4971"/>
                  </a:lnTo>
                  <a:lnTo>
                    <a:pt x="2559" y="4977"/>
                  </a:lnTo>
                  <a:lnTo>
                    <a:pt x="2558" y="4981"/>
                  </a:lnTo>
                  <a:lnTo>
                    <a:pt x="2560" y="4982"/>
                  </a:lnTo>
                  <a:lnTo>
                    <a:pt x="2563" y="4982"/>
                  </a:lnTo>
                  <a:lnTo>
                    <a:pt x="2568" y="4979"/>
                  </a:lnTo>
                  <a:lnTo>
                    <a:pt x="2570" y="4979"/>
                  </a:lnTo>
                  <a:lnTo>
                    <a:pt x="2571" y="4978"/>
                  </a:lnTo>
                  <a:lnTo>
                    <a:pt x="2571" y="4976"/>
                  </a:lnTo>
                  <a:lnTo>
                    <a:pt x="2571" y="4974"/>
                  </a:lnTo>
                  <a:lnTo>
                    <a:pt x="2571" y="4973"/>
                  </a:lnTo>
                  <a:lnTo>
                    <a:pt x="2571" y="4972"/>
                  </a:lnTo>
                  <a:lnTo>
                    <a:pt x="2571" y="4970"/>
                  </a:lnTo>
                  <a:lnTo>
                    <a:pt x="2572" y="4969"/>
                  </a:lnTo>
                  <a:lnTo>
                    <a:pt x="2583" y="4965"/>
                  </a:lnTo>
                  <a:lnTo>
                    <a:pt x="2585" y="4966"/>
                  </a:lnTo>
                  <a:lnTo>
                    <a:pt x="2587" y="4971"/>
                  </a:lnTo>
                  <a:lnTo>
                    <a:pt x="2589" y="4967"/>
                  </a:lnTo>
                  <a:lnTo>
                    <a:pt x="2598" y="4962"/>
                  </a:lnTo>
                  <a:lnTo>
                    <a:pt x="2599" y="4967"/>
                  </a:lnTo>
                  <a:lnTo>
                    <a:pt x="2601" y="4969"/>
                  </a:lnTo>
                  <a:lnTo>
                    <a:pt x="2621" y="4975"/>
                  </a:lnTo>
                  <a:lnTo>
                    <a:pt x="2651" y="4975"/>
                  </a:lnTo>
                  <a:lnTo>
                    <a:pt x="2650" y="4972"/>
                  </a:lnTo>
                  <a:lnTo>
                    <a:pt x="2650" y="4970"/>
                  </a:lnTo>
                  <a:lnTo>
                    <a:pt x="2651" y="4966"/>
                  </a:lnTo>
                  <a:lnTo>
                    <a:pt x="2653" y="4972"/>
                  </a:lnTo>
                  <a:lnTo>
                    <a:pt x="2656" y="4973"/>
                  </a:lnTo>
                  <a:lnTo>
                    <a:pt x="2659" y="4971"/>
                  </a:lnTo>
                  <a:lnTo>
                    <a:pt x="2658" y="4964"/>
                  </a:lnTo>
                  <a:lnTo>
                    <a:pt x="2660" y="4966"/>
                  </a:lnTo>
                  <a:lnTo>
                    <a:pt x="2661" y="4966"/>
                  </a:lnTo>
                  <a:lnTo>
                    <a:pt x="2664" y="4966"/>
                  </a:lnTo>
                  <a:lnTo>
                    <a:pt x="2662" y="4961"/>
                  </a:lnTo>
                  <a:lnTo>
                    <a:pt x="2664" y="4960"/>
                  </a:lnTo>
                  <a:lnTo>
                    <a:pt x="2669" y="4962"/>
                  </a:lnTo>
                  <a:lnTo>
                    <a:pt x="2672" y="4962"/>
                  </a:lnTo>
                  <a:lnTo>
                    <a:pt x="2679" y="4959"/>
                  </a:lnTo>
                  <a:lnTo>
                    <a:pt x="2704" y="4955"/>
                  </a:lnTo>
                  <a:lnTo>
                    <a:pt x="2710" y="4952"/>
                  </a:lnTo>
                  <a:lnTo>
                    <a:pt x="2707" y="4947"/>
                  </a:lnTo>
                  <a:lnTo>
                    <a:pt x="2710" y="4943"/>
                  </a:lnTo>
                  <a:lnTo>
                    <a:pt x="2719" y="4937"/>
                  </a:lnTo>
                  <a:lnTo>
                    <a:pt x="2721" y="4931"/>
                  </a:lnTo>
                  <a:lnTo>
                    <a:pt x="2722" y="4925"/>
                  </a:lnTo>
                  <a:lnTo>
                    <a:pt x="2721" y="4919"/>
                  </a:lnTo>
                  <a:lnTo>
                    <a:pt x="2718" y="4913"/>
                  </a:lnTo>
                  <a:lnTo>
                    <a:pt x="2722" y="4912"/>
                  </a:lnTo>
                  <a:lnTo>
                    <a:pt x="2725" y="4919"/>
                  </a:lnTo>
                  <a:lnTo>
                    <a:pt x="2727" y="4927"/>
                  </a:lnTo>
                  <a:lnTo>
                    <a:pt x="2730" y="4931"/>
                  </a:lnTo>
                  <a:lnTo>
                    <a:pt x="2728" y="4934"/>
                  </a:lnTo>
                  <a:lnTo>
                    <a:pt x="2726" y="4935"/>
                  </a:lnTo>
                  <a:lnTo>
                    <a:pt x="2721" y="4938"/>
                  </a:lnTo>
                  <a:lnTo>
                    <a:pt x="2723" y="4941"/>
                  </a:lnTo>
                  <a:lnTo>
                    <a:pt x="2725" y="4945"/>
                  </a:lnTo>
                  <a:lnTo>
                    <a:pt x="2726" y="4946"/>
                  </a:lnTo>
                  <a:lnTo>
                    <a:pt x="2728" y="4947"/>
                  </a:lnTo>
                  <a:lnTo>
                    <a:pt x="2733" y="4948"/>
                  </a:lnTo>
                  <a:lnTo>
                    <a:pt x="2735" y="4949"/>
                  </a:lnTo>
                  <a:lnTo>
                    <a:pt x="2737" y="4949"/>
                  </a:lnTo>
                  <a:lnTo>
                    <a:pt x="2739" y="4945"/>
                  </a:lnTo>
                  <a:lnTo>
                    <a:pt x="2743" y="4937"/>
                  </a:lnTo>
                  <a:lnTo>
                    <a:pt x="2745" y="4936"/>
                  </a:lnTo>
                  <a:lnTo>
                    <a:pt x="2747" y="4940"/>
                  </a:lnTo>
                  <a:lnTo>
                    <a:pt x="2749" y="4943"/>
                  </a:lnTo>
                  <a:lnTo>
                    <a:pt x="2753" y="4939"/>
                  </a:lnTo>
                  <a:lnTo>
                    <a:pt x="2753" y="4938"/>
                  </a:lnTo>
                  <a:lnTo>
                    <a:pt x="2753" y="4934"/>
                  </a:lnTo>
                  <a:lnTo>
                    <a:pt x="2753" y="4933"/>
                  </a:lnTo>
                  <a:lnTo>
                    <a:pt x="2754" y="4931"/>
                  </a:lnTo>
                  <a:lnTo>
                    <a:pt x="2757" y="4929"/>
                  </a:lnTo>
                  <a:lnTo>
                    <a:pt x="2759" y="4926"/>
                  </a:lnTo>
                  <a:lnTo>
                    <a:pt x="2761" y="4921"/>
                  </a:lnTo>
                  <a:lnTo>
                    <a:pt x="2759" y="4920"/>
                  </a:lnTo>
                  <a:lnTo>
                    <a:pt x="2757" y="4919"/>
                  </a:lnTo>
                  <a:lnTo>
                    <a:pt x="2756" y="4919"/>
                  </a:lnTo>
                  <a:lnTo>
                    <a:pt x="2759" y="4918"/>
                  </a:lnTo>
                  <a:lnTo>
                    <a:pt x="2764" y="4916"/>
                  </a:lnTo>
                  <a:lnTo>
                    <a:pt x="2767" y="4914"/>
                  </a:lnTo>
                  <a:lnTo>
                    <a:pt x="2768" y="4912"/>
                  </a:lnTo>
                  <a:lnTo>
                    <a:pt x="2772" y="4908"/>
                  </a:lnTo>
                  <a:lnTo>
                    <a:pt x="2773" y="4906"/>
                  </a:lnTo>
                  <a:lnTo>
                    <a:pt x="2779" y="4907"/>
                  </a:lnTo>
                  <a:lnTo>
                    <a:pt x="2782" y="4907"/>
                  </a:lnTo>
                  <a:lnTo>
                    <a:pt x="2782" y="4904"/>
                  </a:lnTo>
                  <a:lnTo>
                    <a:pt x="2781" y="4900"/>
                  </a:lnTo>
                  <a:lnTo>
                    <a:pt x="2783" y="4898"/>
                  </a:lnTo>
                  <a:lnTo>
                    <a:pt x="2785" y="4899"/>
                  </a:lnTo>
                  <a:lnTo>
                    <a:pt x="2787" y="4903"/>
                  </a:lnTo>
                  <a:lnTo>
                    <a:pt x="2790" y="4901"/>
                  </a:lnTo>
                  <a:lnTo>
                    <a:pt x="2793" y="4902"/>
                  </a:lnTo>
                  <a:lnTo>
                    <a:pt x="2797" y="4903"/>
                  </a:lnTo>
                  <a:lnTo>
                    <a:pt x="2800" y="4899"/>
                  </a:lnTo>
                  <a:lnTo>
                    <a:pt x="2798" y="4895"/>
                  </a:lnTo>
                  <a:lnTo>
                    <a:pt x="2799" y="4892"/>
                  </a:lnTo>
                  <a:lnTo>
                    <a:pt x="2804" y="4886"/>
                  </a:lnTo>
                  <a:lnTo>
                    <a:pt x="2809" y="4875"/>
                  </a:lnTo>
                  <a:lnTo>
                    <a:pt x="2811" y="4877"/>
                  </a:lnTo>
                  <a:lnTo>
                    <a:pt x="2811" y="4880"/>
                  </a:lnTo>
                  <a:lnTo>
                    <a:pt x="2812" y="4880"/>
                  </a:lnTo>
                  <a:lnTo>
                    <a:pt x="2814" y="4880"/>
                  </a:lnTo>
                  <a:lnTo>
                    <a:pt x="2816" y="4878"/>
                  </a:lnTo>
                  <a:lnTo>
                    <a:pt x="2817" y="4875"/>
                  </a:lnTo>
                  <a:lnTo>
                    <a:pt x="2818" y="4873"/>
                  </a:lnTo>
                  <a:lnTo>
                    <a:pt x="2819" y="4870"/>
                  </a:lnTo>
                  <a:lnTo>
                    <a:pt x="2821" y="4870"/>
                  </a:lnTo>
                  <a:lnTo>
                    <a:pt x="2824" y="4869"/>
                  </a:lnTo>
                  <a:lnTo>
                    <a:pt x="2826" y="4868"/>
                  </a:lnTo>
                  <a:lnTo>
                    <a:pt x="2830" y="4866"/>
                  </a:lnTo>
                  <a:lnTo>
                    <a:pt x="2831" y="4862"/>
                  </a:lnTo>
                  <a:lnTo>
                    <a:pt x="2834" y="4858"/>
                  </a:lnTo>
                  <a:lnTo>
                    <a:pt x="2835" y="4855"/>
                  </a:lnTo>
                  <a:lnTo>
                    <a:pt x="2837" y="4851"/>
                  </a:lnTo>
                  <a:lnTo>
                    <a:pt x="2841" y="4849"/>
                  </a:lnTo>
                  <a:lnTo>
                    <a:pt x="2844" y="4847"/>
                  </a:lnTo>
                  <a:lnTo>
                    <a:pt x="2848" y="4844"/>
                  </a:lnTo>
                  <a:lnTo>
                    <a:pt x="2852" y="4839"/>
                  </a:lnTo>
                  <a:lnTo>
                    <a:pt x="2862" y="4829"/>
                  </a:lnTo>
                  <a:lnTo>
                    <a:pt x="2865" y="4825"/>
                  </a:lnTo>
                  <a:lnTo>
                    <a:pt x="2867" y="4822"/>
                  </a:lnTo>
                  <a:lnTo>
                    <a:pt x="2868" y="4815"/>
                  </a:lnTo>
                  <a:lnTo>
                    <a:pt x="2868" y="4808"/>
                  </a:lnTo>
                  <a:lnTo>
                    <a:pt x="2868" y="4805"/>
                  </a:lnTo>
                  <a:lnTo>
                    <a:pt x="2867" y="4803"/>
                  </a:lnTo>
                  <a:lnTo>
                    <a:pt x="2863" y="4800"/>
                  </a:lnTo>
                  <a:lnTo>
                    <a:pt x="2862" y="4797"/>
                  </a:lnTo>
                  <a:lnTo>
                    <a:pt x="2864" y="4797"/>
                  </a:lnTo>
                  <a:lnTo>
                    <a:pt x="2868" y="4799"/>
                  </a:lnTo>
                  <a:lnTo>
                    <a:pt x="2869" y="4800"/>
                  </a:lnTo>
                  <a:lnTo>
                    <a:pt x="2871" y="4802"/>
                  </a:lnTo>
                  <a:lnTo>
                    <a:pt x="2872" y="4803"/>
                  </a:lnTo>
                  <a:lnTo>
                    <a:pt x="2873" y="4802"/>
                  </a:lnTo>
                  <a:lnTo>
                    <a:pt x="2873" y="4801"/>
                  </a:lnTo>
                  <a:lnTo>
                    <a:pt x="2874" y="4800"/>
                  </a:lnTo>
                  <a:lnTo>
                    <a:pt x="2875" y="4799"/>
                  </a:lnTo>
                  <a:lnTo>
                    <a:pt x="2882" y="4801"/>
                  </a:lnTo>
                  <a:lnTo>
                    <a:pt x="2891" y="4795"/>
                  </a:lnTo>
                  <a:lnTo>
                    <a:pt x="2900" y="4786"/>
                  </a:lnTo>
                  <a:lnTo>
                    <a:pt x="2906" y="4779"/>
                  </a:lnTo>
                  <a:lnTo>
                    <a:pt x="2908" y="4777"/>
                  </a:lnTo>
                  <a:lnTo>
                    <a:pt x="2905" y="4773"/>
                  </a:lnTo>
                  <a:lnTo>
                    <a:pt x="2901" y="4772"/>
                  </a:lnTo>
                  <a:lnTo>
                    <a:pt x="2891" y="4774"/>
                  </a:lnTo>
                  <a:lnTo>
                    <a:pt x="2886" y="4774"/>
                  </a:lnTo>
                  <a:lnTo>
                    <a:pt x="2891" y="4772"/>
                  </a:lnTo>
                  <a:lnTo>
                    <a:pt x="2906" y="4771"/>
                  </a:lnTo>
                  <a:lnTo>
                    <a:pt x="2910" y="4768"/>
                  </a:lnTo>
                  <a:lnTo>
                    <a:pt x="2910" y="4762"/>
                  </a:lnTo>
                  <a:lnTo>
                    <a:pt x="2892" y="4757"/>
                  </a:lnTo>
                  <a:lnTo>
                    <a:pt x="2894" y="4759"/>
                  </a:lnTo>
                  <a:lnTo>
                    <a:pt x="2903" y="4763"/>
                  </a:lnTo>
                  <a:lnTo>
                    <a:pt x="2899" y="4766"/>
                  </a:lnTo>
                  <a:lnTo>
                    <a:pt x="2886" y="4761"/>
                  </a:lnTo>
                  <a:lnTo>
                    <a:pt x="2886" y="4760"/>
                  </a:lnTo>
                  <a:lnTo>
                    <a:pt x="2886" y="4758"/>
                  </a:lnTo>
                  <a:lnTo>
                    <a:pt x="2887" y="4756"/>
                  </a:lnTo>
                  <a:lnTo>
                    <a:pt x="2889" y="4755"/>
                  </a:lnTo>
                  <a:lnTo>
                    <a:pt x="2916" y="4758"/>
                  </a:lnTo>
                  <a:lnTo>
                    <a:pt x="2925" y="4757"/>
                  </a:lnTo>
                  <a:lnTo>
                    <a:pt x="2930" y="4753"/>
                  </a:lnTo>
                  <a:lnTo>
                    <a:pt x="2932" y="4748"/>
                  </a:lnTo>
                  <a:lnTo>
                    <a:pt x="2935" y="4745"/>
                  </a:lnTo>
                  <a:lnTo>
                    <a:pt x="2939" y="4742"/>
                  </a:lnTo>
                  <a:lnTo>
                    <a:pt x="2941" y="4740"/>
                  </a:lnTo>
                  <a:lnTo>
                    <a:pt x="2941" y="4738"/>
                  </a:lnTo>
                  <a:lnTo>
                    <a:pt x="2938" y="4740"/>
                  </a:lnTo>
                  <a:lnTo>
                    <a:pt x="2935" y="4740"/>
                  </a:lnTo>
                  <a:lnTo>
                    <a:pt x="2938" y="4737"/>
                  </a:lnTo>
                  <a:lnTo>
                    <a:pt x="2945" y="4732"/>
                  </a:lnTo>
                  <a:lnTo>
                    <a:pt x="2948" y="4728"/>
                  </a:lnTo>
                  <a:lnTo>
                    <a:pt x="2944" y="4726"/>
                  </a:lnTo>
                  <a:lnTo>
                    <a:pt x="2940" y="4724"/>
                  </a:lnTo>
                  <a:lnTo>
                    <a:pt x="2936" y="4724"/>
                  </a:lnTo>
                  <a:lnTo>
                    <a:pt x="2932" y="4726"/>
                  </a:lnTo>
                  <a:lnTo>
                    <a:pt x="2928" y="4729"/>
                  </a:lnTo>
                  <a:lnTo>
                    <a:pt x="2926" y="4730"/>
                  </a:lnTo>
                  <a:lnTo>
                    <a:pt x="2924" y="4730"/>
                  </a:lnTo>
                  <a:lnTo>
                    <a:pt x="2921" y="4728"/>
                  </a:lnTo>
                  <a:lnTo>
                    <a:pt x="2919" y="4728"/>
                  </a:lnTo>
                  <a:lnTo>
                    <a:pt x="2923" y="4717"/>
                  </a:lnTo>
                  <a:lnTo>
                    <a:pt x="2924" y="4713"/>
                  </a:lnTo>
                  <a:lnTo>
                    <a:pt x="2927" y="4718"/>
                  </a:lnTo>
                  <a:lnTo>
                    <a:pt x="2930" y="4719"/>
                  </a:lnTo>
                  <a:lnTo>
                    <a:pt x="2937" y="4717"/>
                  </a:lnTo>
                  <a:lnTo>
                    <a:pt x="2938" y="4717"/>
                  </a:lnTo>
                  <a:lnTo>
                    <a:pt x="2939" y="4715"/>
                  </a:lnTo>
                  <a:lnTo>
                    <a:pt x="2940" y="4713"/>
                  </a:lnTo>
                  <a:lnTo>
                    <a:pt x="2940" y="4711"/>
                  </a:lnTo>
                  <a:lnTo>
                    <a:pt x="2939" y="4710"/>
                  </a:lnTo>
                  <a:lnTo>
                    <a:pt x="2937" y="4711"/>
                  </a:lnTo>
                  <a:lnTo>
                    <a:pt x="2934" y="4713"/>
                  </a:lnTo>
                  <a:lnTo>
                    <a:pt x="2935" y="4709"/>
                  </a:lnTo>
                  <a:lnTo>
                    <a:pt x="2939" y="4708"/>
                  </a:lnTo>
                  <a:lnTo>
                    <a:pt x="2944" y="4709"/>
                  </a:lnTo>
                  <a:lnTo>
                    <a:pt x="2948" y="4713"/>
                  </a:lnTo>
                  <a:lnTo>
                    <a:pt x="2949" y="4708"/>
                  </a:lnTo>
                  <a:lnTo>
                    <a:pt x="2951" y="4707"/>
                  </a:lnTo>
                  <a:lnTo>
                    <a:pt x="2957" y="4709"/>
                  </a:lnTo>
                  <a:lnTo>
                    <a:pt x="2959" y="4707"/>
                  </a:lnTo>
                  <a:lnTo>
                    <a:pt x="2957" y="4704"/>
                  </a:lnTo>
                  <a:lnTo>
                    <a:pt x="2951" y="4699"/>
                  </a:lnTo>
                  <a:lnTo>
                    <a:pt x="2968" y="4701"/>
                  </a:lnTo>
                  <a:lnTo>
                    <a:pt x="2973" y="4699"/>
                  </a:lnTo>
                  <a:lnTo>
                    <a:pt x="2971" y="4697"/>
                  </a:lnTo>
                  <a:lnTo>
                    <a:pt x="2971" y="4696"/>
                  </a:lnTo>
                  <a:lnTo>
                    <a:pt x="2971" y="4694"/>
                  </a:lnTo>
                  <a:lnTo>
                    <a:pt x="2982" y="4689"/>
                  </a:lnTo>
                  <a:lnTo>
                    <a:pt x="2986" y="4690"/>
                  </a:lnTo>
                  <a:lnTo>
                    <a:pt x="2985" y="4687"/>
                  </a:lnTo>
                  <a:lnTo>
                    <a:pt x="2984" y="4685"/>
                  </a:lnTo>
                  <a:lnTo>
                    <a:pt x="2982" y="4684"/>
                  </a:lnTo>
                  <a:lnTo>
                    <a:pt x="2980" y="4684"/>
                  </a:lnTo>
                  <a:lnTo>
                    <a:pt x="2980" y="4682"/>
                  </a:lnTo>
                  <a:lnTo>
                    <a:pt x="2985" y="4682"/>
                  </a:lnTo>
                  <a:lnTo>
                    <a:pt x="2987" y="4680"/>
                  </a:lnTo>
                  <a:lnTo>
                    <a:pt x="2988" y="4677"/>
                  </a:lnTo>
                  <a:lnTo>
                    <a:pt x="2989" y="4679"/>
                  </a:lnTo>
                  <a:lnTo>
                    <a:pt x="2990" y="4680"/>
                  </a:lnTo>
                  <a:lnTo>
                    <a:pt x="2990" y="4682"/>
                  </a:lnTo>
                  <a:lnTo>
                    <a:pt x="2991" y="4682"/>
                  </a:lnTo>
                  <a:lnTo>
                    <a:pt x="2992" y="4672"/>
                  </a:lnTo>
                  <a:lnTo>
                    <a:pt x="2987" y="4668"/>
                  </a:lnTo>
                  <a:lnTo>
                    <a:pt x="2980" y="4665"/>
                  </a:lnTo>
                  <a:lnTo>
                    <a:pt x="2977" y="4661"/>
                  </a:lnTo>
                  <a:lnTo>
                    <a:pt x="2975" y="4653"/>
                  </a:lnTo>
                  <a:lnTo>
                    <a:pt x="2965" y="4645"/>
                  </a:lnTo>
                  <a:lnTo>
                    <a:pt x="2962" y="4640"/>
                  </a:lnTo>
                  <a:lnTo>
                    <a:pt x="2972" y="4641"/>
                  </a:lnTo>
                  <a:lnTo>
                    <a:pt x="2976" y="4636"/>
                  </a:lnTo>
                  <a:lnTo>
                    <a:pt x="2978" y="4637"/>
                  </a:lnTo>
                  <a:lnTo>
                    <a:pt x="2978" y="4641"/>
                  </a:lnTo>
                  <a:lnTo>
                    <a:pt x="2976" y="4643"/>
                  </a:lnTo>
                  <a:lnTo>
                    <a:pt x="2978" y="4645"/>
                  </a:lnTo>
                  <a:lnTo>
                    <a:pt x="2978" y="4648"/>
                  </a:lnTo>
                  <a:lnTo>
                    <a:pt x="2979" y="4651"/>
                  </a:lnTo>
                  <a:lnTo>
                    <a:pt x="2979" y="4654"/>
                  </a:lnTo>
                  <a:lnTo>
                    <a:pt x="2981" y="4659"/>
                  </a:lnTo>
                  <a:lnTo>
                    <a:pt x="2982" y="4661"/>
                  </a:lnTo>
                  <a:lnTo>
                    <a:pt x="2985" y="4662"/>
                  </a:lnTo>
                  <a:lnTo>
                    <a:pt x="2985" y="4657"/>
                  </a:lnTo>
                  <a:lnTo>
                    <a:pt x="2985" y="4652"/>
                  </a:lnTo>
                  <a:lnTo>
                    <a:pt x="2986" y="4649"/>
                  </a:lnTo>
                  <a:lnTo>
                    <a:pt x="2988" y="4650"/>
                  </a:lnTo>
                  <a:lnTo>
                    <a:pt x="2988" y="4651"/>
                  </a:lnTo>
                  <a:lnTo>
                    <a:pt x="2988" y="4655"/>
                  </a:lnTo>
                  <a:lnTo>
                    <a:pt x="2988" y="4657"/>
                  </a:lnTo>
                  <a:lnTo>
                    <a:pt x="2989" y="4657"/>
                  </a:lnTo>
                  <a:lnTo>
                    <a:pt x="2990" y="4658"/>
                  </a:lnTo>
                  <a:lnTo>
                    <a:pt x="2991" y="4658"/>
                  </a:lnTo>
                  <a:lnTo>
                    <a:pt x="2995" y="4665"/>
                  </a:lnTo>
                  <a:lnTo>
                    <a:pt x="2997" y="4667"/>
                  </a:lnTo>
                  <a:lnTo>
                    <a:pt x="2998" y="4660"/>
                  </a:lnTo>
                  <a:lnTo>
                    <a:pt x="3000" y="4661"/>
                  </a:lnTo>
                  <a:lnTo>
                    <a:pt x="3006" y="4669"/>
                  </a:lnTo>
                  <a:lnTo>
                    <a:pt x="3009" y="4674"/>
                  </a:lnTo>
                  <a:lnTo>
                    <a:pt x="3010" y="4680"/>
                  </a:lnTo>
                  <a:lnTo>
                    <a:pt x="3009" y="4685"/>
                  </a:lnTo>
                  <a:lnTo>
                    <a:pt x="3005" y="4688"/>
                  </a:lnTo>
                  <a:lnTo>
                    <a:pt x="3011" y="4690"/>
                  </a:lnTo>
                  <a:lnTo>
                    <a:pt x="3028" y="4690"/>
                  </a:lnTo>
                  <a:lnTo>
                    <a:pt x="3032" y="4689"/>
                  </a:lnTo>
                  <a:lnTo>
                    <a:pt x="3037" y="4685"/>
                  </a:lnTo>
                  <a:lnTo>
                    <a:pt x="3040" y="4679"/>
                  </a:lnTo>
                  <a:lnTo>
                    <a:pt x="3038" y="4666"/>
                  </a:lnTo>
                  <a:lnTo>
                    <a:pt x="3040" y="4667"/>
                  </a:lnTo>
                  <a:lnTo>
                    <a:pt x="3043" y="4670"/>
                  </a:lnTo>
                  <a:lnTo>
                    <a:pt x="3044" y="4671"/>
                  </a:lnTo>
                  <a:lnTo>
                    <a:pt x="3047" y="4670"/>
                  </a:lnTo>
                  <a:lnTo>
                    <a:pt x="3052" y="4666"/>
                  </a:lnTo>
                  <a:lnTo>
                    <a:pt x="3054" y="4665"/>
                  </a:lnTo>
                  <a:lnTo>
                    <a:pt x="3059" y="4661"/>
                  </a:lnTo>
                  <a:lnTo>
                    <a:pt x="3061" y="4660"/>
                  </a:lnTo>
                  <a:lnTo>
                    <a:pt x="3062" y="4666"/>
                  </a:lnTo>
                  <a:lnTo>
                    <a:pt x="3061" y="4668"/>
                  </a:lnTo>
                  <a:lnTo>
                    <a:pt x="3055" y="4672"/>
                  </a:lnTo>
                  <a:lnTo>
                    <a:pt x="3053" y="4675"/>
                  </a:lnTo>
                  <a:lnTo>
                    <a:pt x="3057" y="4677"/>
                  </a:lnTo>
                  <a:lnTo>
                    <a:pt x="3063" y="4675"/>
                  </a:lnTo>
                  <a:lnTo>
                    <a:pt x="3068" y="4672"/>
                  </a:lnTo>
                  <a:lnTo>
                    <a:pt x="3071" y="4668"/>
                  </a:lnTo>
                  <a:lnTo>
                    <a:pt x="3072" y="4664"/>
                  </a:lnTo>
                  <a:lnTo>
                    <a:pt x="3071" y="4661"/>
                  </a:lnTo>
                  <a:lnTo>
                    <a:pt x="3069" y="4659"/>
                  </a:lnTo>
                  <a:lnTo>
                    <a:pt x="3068" y="4656"/>
                  </a:lnTo>
                  <a:lnTo>
                    <a:pt x="3069" y="4653"/>
                  </a:lnTo>
                  <a:lnTo>
                    <a:pt x="3070" y="4646"/>
                  </a:lnTo>
                  <a:lnTo>
                    <a:pt x="3071" y="4641"/>
                  </a:lnTo>
                  <a:lnTo>
                    <a:pt x="3072" y="4641"/>
                  </a:lnTo>
                  <a:lnTo>
                    <a:pt x="3076" y="4661"/>
                  </a:lnTo>
                  <a:lnTo>
                    <a:pt x="3077" y="4665"/>
                  </a:lnTo>
                  <a:lnTo>
                    <a:pt x="3078" y="4662"/>
                  </a:lnTo>
                  <a:lnTo>
                    <a:pt x="3077" y="4647"/>
                  </a:lnTo>
                  <a:lnTo>
                    <a:pt x="3078" y="4641"/>
                  </a:lnTo>
                  <a:lnTo>
                    <a:pt x="3080" y="4646"/>
                  </a:lnTo>
                  <a:lnTo>
                    <a:pt x="3081" y="4651"/>
                  </a:lnTo>
                  <a:lnTo>
                    <a:pt x="3081" y="4655"/>
                  </a:lnTo>
                  <a:lnTo>
                    <a:pt x="3084" y="4658"/>
                  </a:lnTo>
                  <a:lnTo>
                    <a:pt x="3082" y="4650"/>
                  </a:lnTo>
                  <a:lnTo>
                    <a:pt x="3081" y="4641"/>
                  </a:lnTo>
                  <a:lnTo>
                    <a:pt x="3081" y="4635"/>
                  </a:lnTo>
                  <a:lnTo>
                    <a:pt x="3085" y="4637"/>
                  </a:lnTo>
                  <a:lnTo>
                    <a:pt x="3085" y="4634"/>
                  </a:lnTo>
                  <a:lnTo>
                    <a:pt x="3085" y="4627"/>
                  </a:lnTo>
                  <a:lnTo>
                    <a:pt x="3085" y="4621"/>
                  </a:lnTo>
                  <a:lnTo>
                    <a:pt x="3087" y="4614"/>
                  </a:lnTo>
                  <a:lnTo>
                    <a:pt x="3087" y="4612"/>
                  </a:lnTo>
                  <a:lnTo>
                    <a:pt x="3088" y="4610"/>
                  </a:lnTo>
                  <a:lnTo>
                    <a:pt x="3092" y="4609"/>
                  </a:lnTo>
                  <a:lnTo>
                    <a:pt x="3093" y="4607"/>
                  </a:lnTo>
                  <a:lnTo>
                    <a:pt x="3092" y="4603"/>
                  </a:lnTo>
                  <a:lnTo>
                    <a:pt x="3092" y="4601"/>
                  </a:lnTo>
                  <a:lnTo>
                    <a:pt x="3092" y="4595"/>
                  </a:lnTo>
                  <a:lnTo>
                    <a:pt x="3092" y="4593"/>
                  </a:lnTo>
                  <a:lnTo>
                    <a:pt x="3094" y="4592"/>
                  </a:lnTo>
                  <a:lnTo>
                    <a:pt x="3101" y="4595"/>
                  </a:lnTo>
                  <a:lnTo>
                    <a:pt x="3106" y="4600"/>
                  </a:lnTo>
                  <a:lnTo>
                    <a:pt x="3110" y="4600"/>
                  </a:lnTo>
                  <a:lnTo>
                    <a:pt x="3111" y="4594"/>
                  </a:lnTo>
                  <a:lnTo>
                    <a:pt x="3112" y="4589"/>
                  </a:lnTo>
                  <a:lnTo>
                    <a:pt x="3115" y="4586"/>
                  </a:lnTo>
                  <a:lnTo>
                    <a:pt x="3117" y="4583"/>
                  </a:lnTo>
                  <a:lnTo>
                    <a:pt x="3114" y="4578"/>
                  </a:lnTo>
                  <a:lnTo>
                    <a:pt x="3108" y="4573"/>
                  </a:lnTo>
                  <a:lnTo>
                    <a:pt x="3106" y="4569"/>
                  </a:lnTo>
                  <a:lnTo>
                    <a:pt x="3106" y="4564"/>
                  </a:lnTo>
                  <a:lnTo>
                    <a:pt x="3110" y="4555"/>
                  </a:lnTo>
                  <a:lnTo>
                    <a:pt x="3111" y="4549"/>
                  </a:lnTo>
                  <a:lnTo>
                    <a:pt x="3111" y="4544"/>
                  </a:lnTo>
                  <a:lnTo>
                    <a:pt x="3108" y="4540"/>
                  </a:lnTo>
                  <a:lnTo>
                    <a:pt x="3094" y="4536"/>
                  </a:lnTo>
                  <a:lnTo>
                    <a:pt x="3088" y="4523"/>
                  </a:lnTo>
                  <a:lnTo>
                    <a:pt x="3084" y="4520"/>
                  </a:lnTo>
                  <a:lnTo>
                    <a:pt x="3081" y="4518"/>
                  </a:lnTo>
                  <a:lnTo>
                    <a:pt x="3077" y="4514"/>
                  </a:lnTo>
                  <a:lnTo>
                    <a:pt x="3074" y="4508"/>
                  </a:lnTo>
                  <a:lnTo>
                    <a:pt x="3073" y="4503"/>
                  </a:lnTo>
                  <a:lnTo>
                    <a:pt x="3078" y="4503"/>
                  </a:lnTo>
                  <a:lnTo>
                    <a:pt x="3088" y="4512"/>
                  </a:lnTo>
                  <a:lnTo>
                    <a:pt x="3093" y="4514"/>
                  </a:lnTo>
                  <a:lnTo>
                    <a:pt x="3096" y="4511"/>
                  </a:lnTo>
                  <a:lnTo>
                    <a:pt x="3097" y="4504"/>
                  </a:lnTo>
                  <a:lnTo>
                    <a:pt x="3098" y="4495"/>
                  </a:lnTo>
                  <a:lnTo>
                    <a:pt x="3098" y="4487"/>
                  </a:lnTo>
                  <a:lnTo>
                    <a:pt x="3097" y="4479"/>
                  </a:lnTo>
                  <a:lnTo>
                    <a:pt x="3095" y="4472"/>
                  </a:lnTo>
                  <a:lnTo>
                    <a:pt x="3092" y="4468"/>
                  </a:lnTo>
                  <a:lnTo>
                    <a:pt x="3082" y="4462"/>
                  </a:lnTo>
                  <a:lnTo>
                    <a:pt x="3080" y="4460"/>
                  </a:lnTo>
                  <a:lnTo>
                    <a:pt x="3078" y="4460"/>
                  </a:lnTo>
                  <a:lnTo>
                    <a:pt x="3076" y="4459"/>
                  </a:lnTo>
                  <a:lnTo>
                    <a:pt x="3073" y="4453"/>
                  </a:lnTo>
                  <a:lnTo>
                    <a:pt x="3071" y="4451"/>
                  </a:lnTo>
                  <a:lnTo>
                    <a:pt x="3073" y="4447"/>
                  </a:lnTo>
                  <a:lnTo>
                    <a:pt x="3077" y="4446"/>
                  </a:lnTo>
                  <a:lnTo>
                    <a:pt x="3082" y="4449"/>
                  </a:lnTo>
                  <a:lnTo>
                    <a:pt x="3088" y="4455"/>
                  </a:lnTo>
                  <a:lnTo>
                    <a:pt x="3090" y="4456"/>
                  </a:lnTo>
                  <a:lnTo>
                    <a:pt x="3091" y="4456"/>
                  </a:lnTo>
                  <a:lnTo>
                    <a:pt x="3091" y="4456"/>
                  </a:lnTo>
                  <a:lnTo>
                    <a:pt x="3092" y="4455"/>
                  </a:lnTo>
                  <a:lnTo>
                    <a:pt x="3094" y="4457"/>
                  </a:lnTo>
                  <a:lnTo>
                    <a:pt x="3095" y="4458"/>
                  </a:lnTo>
                  <a:lnTo>
                    <a:pt x="3098" y="4463"/>
                  </a:lnTo>
                  <a:lnTo>
                    <a:pt x="3099" y="4465"/>
                  </a:lnTo>
                  <a:lnTo>
                    <a:pt x="3100" y="4468"/>
                  </a:lnTo>
                  <a:lnTo>
                    <a:pt x="3100" y="4471"/>
                  </a:lnTo>
                  <a:lnTo>
                    <a:pt x="3101" y="4477"/>
                  </a:lnTo>
                  <a:lnTo>
                    <a:pt x="3103" y="4488"/>
                  </a:lnTo>
                  <a:lnTo>
                    <a:pt x="3103" y="4491"/>
                  </a:lnTo>
                  <a:lnTo>
                    <a:pt x="3102" y="4505"/>
                  </a:lnTo>
                  <a:lnTo>
                    <a:pt x="3102" y="4511"/>
                  </a:lnTo>
                  <a:lnTo>
                    <a:pt x="3104" y="4516"/>
                  </a:lnTo>
                  <a:lnTo>
                    <a:pt x="3112" y="4517"/>
                  </a:lnTo>
                  <a:lnTo>
                    <a:pt x="3121" y="4511"/>
                  </a:lnTo>
                  <a:lnTo>
                    <a:pt x="3129" y="4500"/>
                  </a:lnTo>
                  <a:lnTo>
                    <a:pt x="3133" y="4488"/>
                  </a:lnTo>
                  <a:lnTo>
                    <a:pt x="3132" y="4483"/>
                  </a:lnTo>
                  <a:lnTo>
                    <a:pt x="3130" y="4477"/>
                  </a:lnTo>
                  <a:lnTo>
                    <a:pt x="3127" y="4471"/>
                  </a:lnTo>
                  <a:lnTo>
                    <a:pt x="3125" y="4469"/>
                  </a:lnTo>
                  <a:lnTo>
                    <a:pt x="3121" y="4467"/>
                  </a:lnTo>
                  <a:lnTo>
                    <a:pt x="3117" y="4463"/>
                  </a:lnTo>
                  <a:lnTo>
                    <a:pt x="3115" y="4456"/>
                  </a:lnTo>
                  <a:lnTo>
                    <a:pt x="3113" y="4449"/>
                  </a:lnTo>
                  <a:lnTo>
                    <a:pt x="3112" y="4441"/>
                  </a:lnTo>
                  <a:lnTo>
                    <a:pt x="3112" y="4431"/>
                  </a:lnTo>
                  <a:lnTo>
                    <a:pt x="3112" y="4426"/>
                  </a:lnTo>
                  <a:lnTo>
                    <a:pt x="3113" y="4422"/>
                  </a:lnTo>
                  <a:lnTo>
                    <a:pt x="3114" y="4417"/>
                  </a:lnTo>
                  <a:lnTo>
                    <a:pt x="3110" y="4415"/>
                  </a:lnTo>
                  <a:lnTo>
                    <a:pt x="3110" y="4412"/>
                  </a:lnTo>
                  <a:lnTo>
                    <a:pt x="3115" y="4405"/>
                  </a:lnTo>
                  <a:lnTo>
                    <a:pt x="3119" y="4401"/>
                  </a:lnTo>
                  <a:lnTo>
                    <a:pt x="3123" y="4401"/>
                  </a:lnTo>
                  <a:lnTo>
                    <a:pt x="3129" y="4402"/>
                  </a:lnTo>
                  <a:lnTo>
                    <a:pt x="3131" y="4401"/>
                  </a:lnTo>
                  <a:lnTo>
                    <a:pt x="3133" y="4398"/>
                  </a:lnTo>
                  <a:lnTo>
                    <a:pt x="3134" y="4397"/>
                  </a:lnTo>
                  <a:lnTo>
                    <a:pt x="3141" y="4400"/>
                  </a:lnTo>
                  <a:lnTo>
                    <a:pt x="3142" y="4398"/>
                  </a:lnTo>
                  <a:lnTo>
                    <a:pt x="3143" y="4395"/>
                  </a:lnTo>
                  <a:lnTo>
                    <a:pt x="3144" y="4392"/>
                  </a:lnTo>
                  <a:lnTo>
                    <a:pt x="3148" y="4396"/>
                  </a:lnTo>
                  <a:lnTo>
                    <a:pt x="3152" y="4397"/>
                  </a:lnTo>
                  <a:lnTo>
                    <a:pt x="3154" y="4400"/>
                  </a:lnTo>
                  <a:lnTo>
                    <a:pt x="3153" y="4402"/>
                  </a:lnTo>
                  <a:lnTo>
                    <a:pt x="3155" y="4412"/>
                  </a:lnTo>
                  <a:lnTo>
                    <a:pt x="3154" y="4423"/>
                  </a:lnTo>
                  <a:lnTo>
                    <a:pt x="3150" y="4435"/>
                  </a:lnTo>
                  <a:lnTo>
                    <a:pt x="3149" y="4447"/>
                  </a:lnTo>
                  <a:lnTo>
                    <a:pt x="3146" y="4435"/>
                  </a:lnTo>
                  <a:lnTo>
                    <a:pt x="3143" y="4419"/>
                  </a:lnTo>
                  <a:lnTo>
                    <a:pt x="3139" y="4410"/>
                  </a:lnTo>
                  <a:lnTo>
                    <a:pt x="3133" y="4417"/>
                  </a:lnTo>
                  <a:lnTo>
                    <a:pt x="3130" y="4423"/>
                  </a:lnTo>
                  <a:lnTo>
                    <a:pt x="3127" y="4438"/>
                  </a:lnTo>
                  <a:lnTo>
                    <a:pt x="3125" y="4444"/>
                  </a:lnTo>
                  <a:lnTo>
                    <a:pt x="3124" y="4451"/>
                  </a:lnTo>
                  <a:lnTo>
                    <a:pt x="3126" y="4459"/>
                  </a:lnTo>
                  <a:lnTo>
                    <a:pt x="3130" y="4464"/>
                  </a:lnTo>
                  <a:lnTo>
                    <a:pt x="3133" y="4460"/>
                  </a:lnTo>
                  <a:lnTo>
                    <a:pt x="3133" y="4471"/>
                  </a:lnTo>
                  <a:lnTo>
                    <a:pt x="3134" y="4479"/>
                  </a:lnTo>
                  <a:lnTo>
                    <a:pt x="3136" y="4485"/>
                  </a:lnTo>
                  <a:lnTo>
                    <a:pt x="3139" y="4492"/>
                  </a:lnTo>
                  <a:lnTo>
                    <a:pt x="3138" y="4499"/>
                  </a:lnTo>
                  <a:lnTo>
                    <a:pt x="3137" y="4506"/>
                  </a:lnTo>
                  <a:lnTo>
                    <a:pt x="3138" y="4514"/>
                  </a:lnTo>
                  <a:lnTo>
                    <a:pt x="3140" y="4520"/>
                  </a:lnTo>
                  <a:lnTo>
                    <a:pt x="3142" y="4523"/>
                  </a:lnTo>
                  <a:lnTo>
                    <a:pt x="3144" y="4525"/>
                  </a:lnTo>
                  <a:lnTo>
                    <a:pt x="3145" y="4528"/>
                  </a:lnTo>
                  <a:lnTo>
                    <a:pt x="3145" y="4533"/>
                  </a:lnTo>
                  <a:lnTo>
                    <a:pt x="3144" y="4537"/>
                  </a:lnTo>
                  <a:lnTo>
                    <a:pt x="3142" y="4540"/>
                  </a:lnTo>
                  <a:lnTo>
                    <a:pt x="3140" y="4541"/>
                  </a:lnTo>
                  <a:lnTo>
                    <a:pt x="3138" y="4539"/>
                  </a:lnTo>
                  <a:lnTo>
                    <a:pt x="3140" y="4530"/>
                  </a:lnTo>
                  <a:lnTo>
                    <a:pt x="3140" y="4525"/>
                  </a:lnTo>
                  <a:lnTo>
                    <a:pt x="3139" y="4522"/>
                  </a:lnTo>
                  <a:lnTo>
                    <a:pt x="3137" y="4524"/>
                  </a:lnTo>
                  <a:lnTo>
                    <a:pt x="3135" y="4528"/>
                  </a:lnTo>
                  <a:lnTo>
                    <a:pt x="3130" y="4537"/>
                  </a:lnTo>
                  <a:lnTo>
                    <a:pt x="3129" y="4543"/>
                  </a:lnTo>
                  <a:lnTo>
                    <a:pt x="3130" y="4545"/>
                  </a:lnTo>
                  <a:lnTo>
                    <a:pt x="3136" y="4548"/>
                  </a:lnTo>
                  <a:lnTo>
                    <a:pt x="3139" y="4550"/>
                  </a:lnTo>
                  <a:lnTo>
                    <a:pt x="3140" y="4553"/>
                  </a:lnTo>
                  <a:lnTo>
                    <a:pt x="3139" y="4556"/>
                  </a:lnTo>
                  <a:lnTo>
                    <a:pt x="3137" y="4561"/>
                  </a:lnTo>
                  <a:lnTo>
                    <a:pt x="3140" y="4566"/>
                  </a:lnTo>
                  <a:lnTo>
                    <a:pt x="3140" y="4572"/>
                  </a:lnTo>
                  <a:lnTo>
                    <a:pt x="3142" y="4579"/>
                  </a:lnTo>
                  <a:lnTo>
                    <a:pt x="3146" y="4582"/>
                  </a:lnTo>
                  <a:lnTo>
                    <a:pt x="3148" y="4581"/>
                  </a:lnTo>
                  <a:lnTo>
                    <a:pt x="3150" y="4575"/>
                  </a:lnTo>
                  <a:lnTo>
                    <a:pt x="3152" y="4573"/>
                  </a:lnTo>
                  <a:lnTo>
                    <a:pt x="3153" y="4574"/>
                  </a:lnTo>
                  <a:lnTo>
                    <a:pt x="3154" y="4577"/>
                  </a:lnTo>
                  <a:lnTo>
                    <a:pt x="3156" y="4579"/>
                  </a:lnTo>
                  <a:lnTo>
                    <a:pt x="3159" y="4580"/>
                  </a:lnTo>
                  <a:lnTo>
                    <a:pt x="3156" y="4586"/>
                  </a:lnTo>
                  <a:lnTo>
                    <a:pt x="3153" y="4594"/>
                  </a:lnTo>
                  <a:lnTo>
                    <a:pt x="3151" y="4602"/>
                  </a:lnTo>
                  <a:lnTo>
                    <a:pt x="3152" y="4610"/>
                  </a:lnTo>
                  <a:lnTo>
                    <a:pt x="3154" y="4607"/>
                  </a:lnTo>
                  <a:lnTo>
                    <a:pt x="3156" y="4601"/>
                  </a:lnTo>
                  <a:lnTo>
                    <a:pt x="3158" y="4599"/>
                  </a:lnTo>
                  <a:lnTo>
                    <a:pt x="3157" y="4605"/>
                  </a:lnTo>
                  <a:lnTo>
                    <a:pt x="3159" y="4613"/>
                  </a:lnTo>
                  <a:lnTo>
                    <a:pt x="3159" y="4618"/>
                  </a:lnTo>
                  <a:lnTo>
                    <a:pt x="3162" y="4618"/>
                  </a:lnTo>
                  <a:lnTo>
                    <a:pt x="3166" y="4626"/>
                  </a:lnTo>
                  <a:lnTo>
                    <a:pt x="3169" y="4627"/>
                  </a:lnTo>
                  <a:lnTo>
                    <a:pt x="3169" y="4625"/>
                  </a:lnTo>
                  <a:lnTo>
                    <a:pt x="3170" y="4623"/>
                  </a:lnTo>
                  <a:lnTo>
                    <a:pt x="3170" y="4621"/>
                  </a:lnTo>
                  <a:lnTo>
                    <a:pt x="3172" y="4620"/>
                  </a:lnTo>
                  <a:lnTo>
                    <a:pt x="3174" y="4620"/>
                  </a:lnTo>
                  <a:lnTo>
                    <a:pt x="3175" y="4619"/>
                  </a:lnTo>
                  <a:lnTo>
                    <a:pt x="3178" y="4616"/>
                  </a:lnTo>
                  <a:lnTo>
                    <a:pt x="3178" y="4621"/>
                  </a:lnTo>
                  <a:lnTo>
                    <a:pt x="3178" y="4626"/>
                  </a:lnTo>
                  <a:lnTo>
                    <a:pt x="3179" y="4631"/>
                  </a:lnTo>
                  <a:lnTo>
                    <a:pt x="3180" y="4633"/>
                  </a:lnTo>
                  <a:lnTo>
                    <a:pt x="3183" y="4633"/>
                  </a:lnTo>
                  <a:lnTo>
                    <a:pt x="3185" y="4631"/>
                  </a:lnTo>
                  <a:lnTo>
                    <a:pt x="3185" y="4626"/>
                  </a:lnTo>
                  <a:lnTo>
                    <a:pt x="3184" y="4620"/>
                  </a:lnTo>
                  <a:lnTo>
                    <a:pt x="3185" y="4620"/>
                  </a:lnTo>
                  <a:lnTo>
                    <a:pt x="3192" y="4622"/>
                  </a:lnTo>
                  <a:lnTo>
                    <a:pt x="3193" y="4623"/>
                  </a:lnTo>
                  <a:lnTo>
                    <a:pt x="3195" y="4628"/>
                  </a:lnTo>
                  <a:lnTo>
                    <a:pt x="3198" y="4630"/>
                  </a:lnTo>
                  <a:lnTo>
                    <a:pt x="3200" y="4632"/>
                  </a:lnTo>
                  <a:lnTo>
                    <a:pt x="3199" y="4637"/>
                  </a:lnTo>
                  <a:lnTo>
                    <a:pt x="3208" y="4637"/>
                  </a:lnTo>
                  <a:lnTo>
                    <a:pt x="3209" y="4635"/>
                  </a:lnTo>
                  <a:lnTo>
                    <a:pt x="3209" y="4631"/>
                  </a:lnTo>
                  <a:lnTo>
                    <a:pt x="3208" y="4622"/>
                  </a:lnTo>
                  <a:lnTo>
                    <a:pt x="3211" y="4630"/>
                  </a:lnTo>
                  <a:lnTo>
                    <a:pt x="3213" y="4633"/>
                  </a:lnTo>
                  <a:lnTo>
                    <a:pt x="3215" y="4633"/>
                  </a:lnTo>
                  <a:lnTo>
                    <a:pt x="3217" y="4631"/>
                  </a:lnTo>
                  <a:lnTo>
                    <a:pt x="3218" y="4626"/>
                  </a:lnTo>
                  <a:lnTo>
                    <a:pt x="3218" y="4623"/>
                  </a:lnTo>
                  <a:lnTo>
                    <a:pt x="3215" y="4620"/>
                  </a:lnTo>
                  <a:lnTo>
                    <a:pt x="3220" y="4617"/>
                  </a:lnTo>
                  <a:lnTo>
                    <a:pt x="3222" y="4616"/>
                  </a:lnTo>
                  <a:lnTo>
                    <a:pt x="3223" y="4619"/>
                  </a:lnTo>
                  <a:lnTo>
                    <a:pt x="3222" y="4620"/>
                  </a:lnTo>
                  <a:lnTo>
                    <a:pt x="3222" y="4621"/>
                  </a:lnTo>
                  <a:lnTo>
                    <a:pt x="3222" y="4623"/>
                  </a:lnTo>
                  <a:lnTo>
                    <a:pt x="3222" y="4626"/>
                  </a:lnTo>
                  <a:lnTo>
                    <a:pt x="3223" y="4627"/>
                  </a:lnTo>
                  <a:lnTo>
                    <a:pt x="3224" y="4629"/>
                  </a:lnTo>
                  <a:lnTo>
                    <a:pt x="3224" y="4628"/>
                  </a:lnTo>
                  <a:lnTo>
                    <a:pt x="3226" y="4630"/>
                  </a:lnTo>
                  <a:lnTo>
                    <a:pt x="3227" y="4632"/>
                  </a:lnTo>
                  <a:lnTo>
                    <a:pt x="3226" y="4633"/>
                  </a:lnTo>
                  <a:lnTo>
                    <a:pt x="3223" y="4633"/>
                  </a:lnTo>
                  <a:lnTo>
                    <a:pt x="3222" y="4633"/>
                  </a:lnTo>
                  <a:lnTo>
                    <a:pt x="3221" y="4635"/>
                  </a:lnTo>
                  <a:lnTo>
                    <a:pt x="3223" y="4641"/>
                  </a:lnTo>
                  <a:lnTo>
                    <a:pt x="3228" y="4643"/>
                  </a:lnTo>
                  <a:lnTo>
                    <a:pt x="3243" y="4641"/>
                  </a:lnTo>
                  <a:lnTo>
                    <a:pt x="3248" y="4642"/>
                  </a:lnTo>
                  <a:lnTo>
                    <a:pt x="3252" y="4646"/>
                  </a:lnTo>
                  <a:lnTo>
                    <a:pt x="3256" y="4652"/>
                  </a:lnTo>
                  <a:lnTo>
                    <a:pt x="3256" y="4655"/>
                  </a:lnTo>
                  <a:lnTo>
                    <a:pt x="3257" y="4662"/>
                  </a:lnTo>
                  <a:lnTo>
                    <a:pt x="3258" y="4665"/>
                  </a:lnTo>
                  <a:lnTo>
                    <a:pt x="3263" y="4677"/>
                  </a:lnTo>
                  <a:lnTo>
                    <a:pt x="3263" y="4679"/>
                  </a:lnTo>
                  <a:lnTo>
                    <a:pt x="3263" y="4679"/>
                  </a:lnTo>
                  <a:lnTo>
                    <a:pt x="3263" y="4679"/>
                  </a:lnTo>
                  <a:lnTo>
                    <a:pt x="3263" y="4679"/>
                  </a:lnTo>
                  <a:lnTo>
                    <a:pt x="3266" y="4689"/>
                  </a:lnTo>
                  <a:lnTo>
                    <a:pt x="3266" y="4709"/>
                  </a:lnTo>
                  <a:lnTo>
                    <a:pt x="3270" y="4711"/>
                  </a:lnTo>
                  <a:lnTo>
                    <a:pt x="3281" y="4712"/>
                  </a:lnTo>
                  <a:lnTo>
                    <a:pt x="3291" y="4709"/>
                  </a:lnTo>
                  <a:lnTo>
                    <a:pt x="3299" y="4701"/>
                  </a:lnTo>
                  <a:lnTo>
                    <a:pt x="3304" y="4685"/>
                  </a:lnTo>
                  <a:lnTo>
                    <a:pt x="3305" y="4677"/>
                  </a:lnTo>
                  <a:lnTo>
                    <a:pt x="3306" y="4670"/>
                  </a:lnTo>
                  <a:lnTo>
                    <a:pt x="3310" y="4656"/>
                  </a:lnTo>
                  <a:lnTo>
                    <a:pt x="3312" y="4648"/>
                  </a:lnTo>
                  <a:lnTo>
                    <a:pt x="3312" y="4633"/>
                  </a:lnTo>
                  <a:lnTo>
                    <a:pt x="3317" y="4614"/>
                  </a:lnTo>
                  <a:lnTo>
                    <a:pt x="3318" y="4609"/>
                  </a:lnTo>
                  <a:lnTo>
                    <a:pt x="3321" y="4604"/>
                  </a:lnTo>
                  <a:lnTo>
                    <a:pt x="3322" y="4600"/>
                  </a:lnTo>
                  <a:lnTo>
                    <a:pt x="3323" y="4600"/>
                  </a:lnTo>
                  <a:lnTo>
                    <a:pt x="3323" y="4593"/>
                  </a:lnTo>
                  <a:lnTo>
                    <a:pt x="3322" y="4586"/>
                  </a:lnTo>
                  <a:lnTo>
                    <a:pt x="3318" y="4565"/>
                  </a:lnTo>
                  <a:lnTo>
                    <a:pt x="3301" y="4503"/>
                  </a:lnTo>
                  <a:lnTo>
                    <a:pt x="3300" y="4496"/>
                  </a:lnTo>
                  <a:lnTo>
                    <a:pt x="3301" y="4488"/>
                  </a:lnTo>
                  <a:lnTo>
                    <a:pt x="3304" y="4484"/>
                  </a:lnTo>
                  <a:lnTo>
                    <a:pt x="3325" y="4472"/>
                  </a:lnTo>
                  <a:lnTo>
                    <a:pt x="3329" y="4467"/>
                  </a:lnTo>
                  <a:lnTo>
                    <a:pt x="3335" y="4457"/>
                  </a:lnTo>
                  <a:lnTo>
                    <a:pt x="3336" y="4455"/>
                  </a:lnTo>
                  <a:lnTo>
                    <a:pt x="3336" y="4449"/>
                  </a:lnTo>
                  <a:lnTo>
                    <a:pt x="3337" y="4437"/>
                  </a:lnTo>
                  <a:lnTo>
                    <a:pt x="3337" y="4432"/>
                  </a:lnTo>
                  <a:lnTo>
                    <a:pt x="3335" y="4427"/>
                  </a:lnTo>
                  <a:lnTo>
                    <a:pt x="3334" y="4426"/>
                  </a:lnTo>
                  <a:lnTo>
                    <a:pt x="3330" y="4420"/>
                  </a:lnTo>
                  <a:lnTo>
                    <a:pt x="3327" y="4416"/>
                  </a:lnTo>
                  <a:lnTo>
                    <a:pt x="3329" y="4405"/>
                  </a:lnTo>
                  <a:lnTo>
                    <a:pt x="3333" y="4401"/>
                  </a:lnTo>
                  <a:lnTo>
                    <a:pt x="3335" y="4398"/>
                  </a:lnTo>
                  <a:lnTo>
                    <a:pt x="3343" y="4396"/>
                  </a:lnTo>
                  <a:lnTo>
                    <a:pt x="3369" y="4398"/>
                  </a:lnTo>
                  <a:lnTo>
                    <a:pt x="3375" y="4396"/>
                  </a:lnTo>
                  <a:lnTo>
                    <a:pt x="3399" y="4377"/>
                  </a:lnTo>
                  <a:lnTo>
                    <a:pt x="3423" y="4348"/>
                  </a:lnTo>
                  <a:lnTo>
                    <a:pt x="3429" y="4339"/>
                  </a:lnTo>
                  <a:lnTo>
                    <a:pt x="3433" y="4327"/>
                  </a:lnTo>
                  <a:lnTo>
                    <a:pt x="3436" y="4313"/>
                  </a:lnTo>
                  <a:lnTo>
                    <a:pt x="3435" y="4302"/>
                  </a:lnTo>
                  <a:lnTo>
                    <a:pt x="3431" y="4281"/>
                  </a:lnTo>
                  <a:lnTo>
                    <a:pt x="3430" y="4270"/>
                  </a:lnTo>
                  <a:lnTo>
                    <a:pt x="3430" y="4265"/>
                  </a:lnTo>
                  <a:lnTo>
                    <a:pt x="3433" y="4261"/>
                  </a:lnTo>
                  <a:lnTo>
                    <a:pt x="3441" y="4250"/>
                  </a:lnTo>
                  <a:lnTo>
                    <a:pt x="3444" y="4245"/>
                  </a:lnTo>
                  <a:lnTo>
                    <a:pt x="3447" y="4239"/>
                  </a:lnTo>
                  <a:lnTo>
                    <a:pt x="3448" y="4231"/>
                  </a:lnTo>
                  <a:lnTo>
                    <a:pt x="3450" y="4219"/>
                  </a:lnTo>
                  <a:lnTo>
                    <a:pt x="3449" y="4209"/>
                  </a:lnTo>
                  <a:lnTo>
                    <a:pt x="3447" y="4200"/>
                  </a:lnTo>
                  <a:lnTo>
                    <a:pt x="3429" y="4154"/>
                  </a:lnTo>
                  <a:lnTo>
                    <a:pt x="3412" y="4122"/>
                  </a:lnTo>
                  <a:lnTo>
                    <a:pt x="3408" y="4110"/>
                  </a:lnTo>
                  <a:lnTo>
                    <a:pt x="3406" y="4098"/>
                  </a:lnTo>
                  <a:lnTo>
                    <a:pt x="3402" y="4074"/>
                  </a:lnTo>
                  <a:lnTo>
                    <a:pt x="3399" y="4064"/>
                  </a:lnTo>
                  <a:lnTo>
                    <a:pt x="3393" y="4049"/>
                  </a:lnTo>
                  <a:lnTo>
                    <a:pt x="3393" y="4042"/>
                  </a:lnTo>
                  <a:lnTo>
                    <a:pt x="3397" y="4038"/>
                  </a:lnTo>
                  <a:lnTo>
                    <a:pt x="3434" y="4026"/>
                  </a:lnTo>
                  <a:lnTo>
                    <a:pt x="3443" y="4026"/>
                  </a:lnTo>
                  <a:lnTo>
                    <a:pt x="3461" y="4029"/>
                  </a:lnTo>
                  <a:lnTo>
                    <a:pt x="3464" y="4027"/>
                  </a:lnTo>
                  <a:lnTo>
                    <a:pt x="3465" y="4024"/>
                  </a:lnTo>
                  <a:lnTo>
                    <a:pt x="3466" y="4023"/>
                  </a:lnTo>
                  <a:lnTo>
                    <a:pt x="3469" y="4000"/>
                  </a:lnTo>
                  <a:lnTo>
                    <a:pt x="3470" y="3996"/>
                  </a:lnTo>
                  <a:lnTo>
                    <a:pt x="3471" y="3993"/>
                  </a:lnTo>
                  <a:lnTo>
                    <a:pt x="3482" y="3975"/>
                  </a:lnTo>
                  <a:lnTo>
                    <a:pt x="3486" y="3968"/>
                  </a:lnTo>
                  <a:lnTo>
                    <a:pt x="3488" y="3959"/>
                  </a:lnTo>
                  <a:lnTo>
                    <a:pt x="3493" y="3927"/>
                  </a:lnTo>
                  <a:lnTo>
                    <a:pt x="3493" y="3924"/>
                  </a:lnTo>
                  <a:lnTo>
                    <a:pt x="3492" y="3921"/>
                  </a:lnTo>
                  <a:lnTo>
                    <a:pt x="3450" y="3862"/>
                  </a:lnTo>
                  <a:lnTo>
                    <a:pt x="3445" y="3858"/>
                  </a:lnTo>
                  <a:lnTo>
                    <a:pt x="3440" y="3855"/>
                  </a:lnTo>
                  <a:lnTo>
                    <a:pt x="3429" y="3855"/>
                  </a:lnTo>
                  <a:lnTo>
                    <a:pt x="3423" y="3853"/>
                  </a:lnTo>
                  <a:lnTo>
                    <a:pt x="3418" y="3850"/>
                  </a:lnTo>
                  <a:lnTo>
                    <a:pt x="3406" y="3834"/>
                  </a:lnTo>
                  <a:lnTo>
                    <a:pt x="3399" y="3828"/>
                  </a:lnTo>
                  <a:lnTo>
                    <a:pt x="3380" y="3807"/>
                  </a:lnTo>
                  <a:lnTo>
                    <a:pt x="3378" y="3803"/>
                  </a:lnTo>
                  <a:lnTo>
                    <a:pt x="3390" y="3717"/>
                  </a:lnTo>
                  <a:lnTo>
                    <a:pt x="3403" y="3631"/>
                  </a:lnTo>
                  <a:lnTo>
                    <a:pt x="3403" y="3618"/>
                  </a:lnTo>
                  <a:lnTo>
                    <a:pt x="3402" y="3613"/>
                  </a:lnTo>
                  <a:lnTo>
                    <a:pt x="3398" y="3596"/>
                  </a:lnTo>
                  <a:lnTo>
                    <a:pt x="3397" y="3594"/>
                  </a:lnTo>
                  <a:lnTo>
                    <a:pt x="3367" y="3511"/>
                  </a:lnTo>
                  <a:lnTo>
                    <a:pt x="3367" y="3504"/>
                  </a:lnTo>
                  <a:lnTo>
                    <a:pt x="3369" y="3494"/>
                  </a:lnTo>
                  <a:lnTo>
                    <a:pt x="3374" y="3477"/>
                  </a:lnTo>
                  <a:lnTo>
                    <a:pt x="3377" y="3468"/>
                  </a:lnTo>
                  <a:lnTo>
                    <a:pt x="3377" y="3460"/>
                  </a:lnTo>
                  <a:lnTo>
                    <a:pt x="3368" y="3407"/>
                  </a:lnTo>
                  <a:lnTo>
                    <a:pt x="3367" y="3399"/>
                  </a:lnTo>
                  <a:lnTo>
                    <a:pt x="3369" y="3394"/>
                  </a:lnTo>
                  <a:lnTo>
                    <a:pt x="3388" y="3366"/>
                  </a:lnTo>
                  <a:lnTo>
                    <a:pt x="3362" y="3295"/>
                  </a:lnTo>
                  <a:lnTo>
                    <a:pt x="3351" y="3266"/>
                  </a:lnTo>
                  <a:lnTo>
                    <a:pt x="3385" y="3207"/>
                  </a:lnTo>
                  <a:lnTo>
                    <a:pt x="3387" y="3200"/>
                  </a:lnTo>
                  <a:lnTo>
                    <a:pt x="3387" y="3192"/>
                  </a:lnTo>
                  <a:lnTo>
                    <a:pt x="3379" y="3156"/>
                  </a:lnTo>
                  <a:lnTo>
                    <a:pt x="3399" y="3135"/>
                  </a:lnTo>
                  <a:lnTo>
                    <a:pt x="3429" y="3080"/>
                  </a:lnTo>
                  <a:lnTo>
                    <a:pt x="3461" y="3028"/>
                  </a:lnTo>
                  <a:lnTo>
                    <a:pt x="3472" y="3015"/>
                  </a:lnTo>
                  <a:lnTo>
                    <a:pt x="3508" y="2990"/>
                  </a:lnTo>
                  <a:lnTo>
                    <a:pt x="3548" y="2979"/>
                  </a:lnTo>
                  <a:lnTo>
                    <a:pt x="3604" y="2994"/>
                  </a:lnTo>
                  <a:lnTo>
                    <a:pt x="3660" y="3008"/>
                  </a:lnTo>
                  <a:lnTo>
                    <a:pt x="3664" y="3008"/>
                  </a:lnTo>
                  <a:lnTo>
                    <a:pt x="3667" y="3005"/>
                  </a:lnTo>
                  <a:lnTo>
                    <a:pt x="3693" y="2950"/>
                  </a:lnTo>
                  <a:lnTo>
                    <a:pt x="3695" y="2944"/>
                  </a:lnTo>
                  <a:lnTo>
                    <a:pt x="3696" y="2937"/>
                  </a:lnTo>
                  <a:lnTo>
                    <a:pt x="3688" y="2851"/>
                  </a:lnTo>
                  <a:lnTo>
                    <a:pt x="3685" y="2842"/>
                  </a:lnTo>
                  <a:lnTo>
                    <a:pt x="3680" y="2838"/>
                  </a:lnTo>
                  <a:lnTo>
                    <a:pt x="3667" y="2835"/>
                  </a:lnTo>
                  <a:lnTo>
                    <a:pt x="3660" y="2833"/>
                  </a:lnTo>
                  <a:lnTo>
                    <a:pt x="3613" y="2798"/>
                  </a:lnTo>
                  <a:lnTo>
                    <a:pt x="3655" y="2723"/>
                  </a:lnTo>
                  <a:lnTo>
                    <a:pt x="3697" y="2647"/>
                  </a:lnTo>
                  <a:lnTo>
                    <a:pt x="3697" y="2647"/>
                  </a:lnTo>
                  <a:lnTo>
                    <a:pt x="3719" y="2612"/>
                  </a:lnTo>
                  <a:lnTo>
                    <a:pt x="3723" y="2601"/>
                  </a:lnTo>
                  <a:lnTo>
                    <a:pt x="3723" y="2600"/>
                  </a:lnTo>
                  <a:lnTo>
                    <a:pt x="3724" y="2597"/>
                  </a:lnTo>
                  <a:lnTo>
                    <a:pt x="3728" y="2562"/>
                  </a:lnTo>
                  <a:lnTo>
                    <a:pt x="3730" y="2553"/>
                  </a:lnTo>
                  <a:lnTo>
                    <a:pt x="3733" y="2547"/>
                  </a:lnTo>
                  <a:lnTo>
                    <a:pt x="3746" y="2535"/>
                  </a:lnTo>
                  <a:lnTo>
                    <a:pt x="3751" y="2523"/>
                  </a:lnTo>
                  <a:lnTo>
                    <a:pt x="3752" y="2506"/>
                  </a:lnTo>
                  <a:lnTo>
                    <a:pt x="3751" y="2486"/>
                  </a:lnTo>
                  <a:lnTo>
                    <a:pt x="3751" y="2468"/>
                  </a:lnTo>
                  <a:lnTo>
                    <a:pt x="3759" y="2377"/>
                  </a:lnTo>
                  <a:lnTo>
                    <a:pt x="3760" y="2371"/>
                  </a:lnTo>
                  <a:lnTo>
                    <a:pt x="3771" y="2346"/>
                  </a:lnTo>
                  <a:lnTo>
                    <a:pt x="3773" y="2338"/>
                  </a:lnTo>
                  <a:lnTo>
                    <a:pt x="3772" y="2322"/>
                  </a:lnTo>
                  <a:lnTo>
                    <a:pt x="3756" y="2212"/>
                  </a:lnTo>
                  <a:lnTo>
                    <a:pt x="3796" y="2207"/>
                  </a:lnTo>
                  <a:lnTo>
                    <a:pt x="3837" y="2201"/>
                  </a:lnTo>
                  <a:lnTo>
                    <a:pt x="3905" y="2153"/>
                  </a:lnTo>
                  <a:lnTo>
                    <a:pt x="3907" y="2148"/>
                  </a:lnTo>
                  <a:lnTo>
                    <a:pt x="3907" y="2140"/>
                  </a:lnTo>
                  <a:lnTo>
                    <a:pt x="3905" y="2127"/>
                  </a:lnTo>
                  <a:lnTo>
                    <a:pt x="3904" y="2122"/>
                  </a:lnTo>
                  <a:lnTo>
                    <a:pt x="3897" y="2079"/>
                  </a:lnTo>
                  <a:lnTo>
                    <a:pt x="3896" y="2068"/>
                  </a:lnTo>
                  <a:lnTo>
                    <a:pt x="3935" y="2025"/>
                  </a:lnTo>
                  <a:lnTo>
                    <a:pt x="3994" y="1909"/>
                  </a:lnTo>
                  <a:lnTo>
                    <a:pt x="4007" y="1890"/>
                  </a:lnTo>
                  <a:lnTo>
                    <a:pt x="4037" y="1859"/>
                  </a:lnTo>
                  <a:lnTo>
                    <a:pt x="4046" y="1854"/>
                  </a:lnTo>
                  <a:lnTo>
                    <a:pt x="4051" y="1849"/>
                  </a:lnTo>
                  <a:lnTo>
                    <a:pt x="4053" y="1842"/>
                  </a:lnTo>
                  <a:lnTo>
                    <a:pt x="4058" y="1789"/>
                  </a:lnTo>
                  <a:lnTo>
                    <a:pt x="4057" y="1782"/>
                  </a:lnTo>
                  <a:lnTo>
                    <a:pt x="4008" y="1690"/>
                  </a:lnTo>
                  <a:lnTo>
                    <a:pt x="4016" y="1660"/>
                  </a:lnTo>
                  <a:lnTo>
                    <a:pt x="4019" y="1655"/>
                  </a:lnTo>
                  <a:lnTo>
                    <a:pt x="4046" y="1649"/>
                  </a:lnTo>
                  <a:lnTo>
                    <a:pt x="4055" y="1644"/>
                  </a:lnTo>
                  <a:lnTo>
                    <a:pt x="4064" y="1634"/>
                  </a:lnTo>
                  <a:lnTo>
                    <a:pt x="4081" y="1606"/>
                  </a:lnTo>
                  <a:lnTo>
                    <a:pt x="4084" y="1597"/>
                  </a:lnTo>
                  <a:lnTo>
                    <a:pt x="4108" y="1501"/>
                  </a:lnTo>
                  <a:lnTo>
                    <a:pt x="4112" y="1493"/>
                  </a:lnTo>
                  <a:lnTo>
                    <a:pt x="4116" y="1487"/>
                  </a:lnTo>
                  <a:lnTo>
                    <a:pt x="4181" y="1432"/>
                  </a:lnTo>
                  <a:lnTo>
                    <a:pt x="4194" y="1407"/>
                  </a:lnTo>
                  <a:lnTo>
                    <a:pt x="4197" y="1404"/>
                  </a:lnTo>
                  <a:lnTo>
                    <a:pt x="4243" y="1433"/>
                  </a:lnTo>
                  <a:lnTo>
                    <a:pt x="4288" y="1462"/>
                  </a:lnTo>
                  <a:lnTo>
                    <a:pt x="4292" y="1460"/>
                  </a:lnTo>
                  <a:lnTo>
                    <a:pt x="4297" y="1453"/>
                  </a:lnTo>
                  <a:lnTo>
                    <a:pt x="4302" y="1442"/>
                  </a:lnTo>
                  <a:lnTo>
                    <a:pt x="4331" y="1381"/>
                  </a:lnTo>
                  <a:lnTo>
                    <a:pt x="4335" y="1364"/>
                  </a:lnTo>
                  <a:lnTo>
                    <a:pt x="4326" y="1280"/>
                  </a:lnTo>
                  <a:lnTo>
                    <a:pt x="4327" y="1267"/>
                  </a:lnTo>
                  <a:lnTo>
                    <a:pt x="4330" y="1227"/>
                  </a:lnTo>
                  <a:lnTo>
                    <a:pt x="4331" y="1222"/>
                  </a:lnTo>
                  <a:lnTo>
                    <a:pt x="4332" y="1220"/>
                  </a:lnTo>
                  <a:lnTo>
                    <a:pt x="4335" y="1218"/>
                  </a:lnTo>
                  <a:lnTo>
                    <a:pt x="4374" y="1203"/>
                  </a:lnTo>
                  <a:lnTo>
                    <a:pt x="4381" y="1208"/>
                  </a:lnTo>
                  <a:lnTo>
                    <a:pt x="4407" y="1234"/>
                  </a:lnTo>
                  <a:lnTo>
                    <a:pt x="4416" y="1237"/>
                  </a:lnTo>
                  <a:lnTo>
                    <a:pt x="4469" y="1233"/>
                  </a:lnTo>
                  <a:lnTo>
                    <a:pt x="4540" y="1268"/>
                  </a:lnTo>
                  <a:lnTo>
                    <a:pt x="4611" y="1299"/>
                  </a:lnTo>
                  <a:lnTo>
                    <a:pt x="4618" y="1299"/>
                  </a:lnTo>
                  <a:lnTo>
                    <a:pt x="4624" y="1294"/>
                  </a:lnTo>
                  <a:lnTo>
                    <a:pt x="4661" y="1245"/>
                  </a:lnTo>
                  <a:lnTo>
                    <a:pt x="4616" y="1217"/>
                  </a:lnTo>
                  <a:lnTo>
                    <a:pt x="4646" y="1189"/>
                  </a:lnTo>
                  <a:lnTo>
                    <a:pt x="4660" y="1166"/>
                  </a:lnTo>
                  <a:lnTo>
                    <a:pt x="4676" y="1119"/>
                  </a:lnTo>
                  <a:lnTo>
                    <a:pt x="4678" y="1111"/>
                  </a:lnTo>
                  <a:lnTo>
                    <a:pt x="4679" y="1102"/>
                  </a:lnTo>
                  <a:lnTo>
                    <a:pt x="4678" y="1063"/>
                  </a:lnTo>
                  <a:lnTo>
                    <a:pt x="4676" y="1056"/>
                  </a:lnTo>
                  <a:lnTo>
                    <a:pt x="4639" y="1006"/>
                  </a:lnTo>
                  <a:lnTo>
                    <a:pt x="4680" y="1003"/>
                  </a:lnTo>
                  <a:lnTo>
                    <a:pt x="4721" y="1000"/>
                  </a:lnTo>
                  <a:lnTo>
                    <a:pt x="4736" y="972"/>
                  </a:lnTo>
                  <a:lnTo>
                    <a:pt x="4740" y="970"/>
                  </a:lnTo>
                  <a:lnTo>
                    <a:pt x="4786" y="998"/>
                  </a:lnTo>
                  <a:lnTo>
                    <a:pt x="4792" y="1000"/>
                  </a:lnTo>
                  <a:lnTo>
                    <a:pt x="4797" y="997"/>
                  </a:lnTo>
                  <a:lnTo>
                    <a:pt x="4806" y="977"/>
                  </a:lnTo>
                  <a:lnTo>
                    <a:pt x="4786" y="936"/>
                  </a:lnTo>
                  <a:lnTo>
                    <a:pt x="4791" y="921"/>
                  </a:lnTo>
                  <a:lnTo>
                    <a:pt x="4794" y="914"/>
                  </a:lnTo>
                  <a:lnTo>
                    <a:pt x="4796" y="910"/>
                  </a:lnTo>
                  <a:lnTo>
                    <a:pt x="4831" y="886"/>
                  </a:lnTo>
                  <a:lnTo>
                    <a:pt x="4882" y="895"/>
                  </a:lnTo>
                  <a:lnTo>
                    <a:pt x="4886" y="899"/>
                  </a:lnTo>
                  <a:lnTo>
                    <a:pt x="4931" y="987"/>
                  </a:lnTo>
                  <a:lnTo>
                    <a:pt x="4943" y="1011"/>
                  </a:lnTo>
                  <a:lnTo>
                    <a:pt x="4965" y="1035"/>
                  </a:lnTo>
                  <a:lnTo>
                    <a:pt x="4967" y="1041"/>
                  </a:lnTo>
                  <a:lnTo>
                    <a:pt x="4970" y="1052"/>
                  </a:lnTo>
                  <a:lnTo>
                    <a:pt x="4972" y="1057"/>
                  </a:lnTo>
                  <a:lnTo>
                    <a:pt x="4984" y="1079"/>
                  </a:lnTo>
                  <a:lnTo>
                    <a:pt x="4997" y="1090"/>
                  </a:lnTo>
                  <a:lnTo>
                    <a:pt x="4999" y="1094"/>
                  </a:lnTo>
                  <a:lnTo>
                    <a:pt x="5003" y="1134"/>
                  </a:lnTo>
                  <a:lnTo>
                    <a:pt x="5005" y="1142"/>
                  </a:lnTo>
                  <a:lnTo>
                    <a:pt x="5008" y="1144"/>
                  </a:lnTo>
                  <a:lnTo>
                    <a:pt x="5026" y="1137"/>
                  </a:lnTo>
                  <a:lnTo>
                    <a:pt x="5030" y="1136"/>
                  </a:lnTo>
                  <a:lnTo>
                    <a:pt x="5035" y="1137"/>
                  </a:lnTo>
                  <a:lnTo>
                    <a:pt x="5075" y="1159"/>
                  </a:lnTo>
                  <a:lnTo>
                    <a:pt x="5102" y="1154"/>
                  </a:lnTo>
                  <a:lnTo>
                    <a:pt x="5110" y="1156"/>
                  </a:lnTo>
                  <a:lnTo>
                    <a:pt x="5114" y="1161"/>
                  </a:lnTo>
                  <a:lnTo>
                    <a:pt x="5126" y="1182"/>
                  </a:lnTo>
                  <a:lnTo>
                    <a:pt x="5130" y="1184"/>
                  </a:lnTo>
                  <a:lnTo>
                    <a:pt x="5175" y="1154"/>
                  </a:lnTo>
                  <a:lnTo>
                    <a:pt x="5200" y="1150"/>
                  </a:lnTo>
                  <a:lnTo>
                    <a:pt x="5215" y="1141"/>
                  </a:lnTo>
                  <a:lnTo>
                    <a:pt x="5220" y="1123"/>
                  </a:lnTo>
                  <a:lnTo>
                    <a:pt x="5223" y="1104"/>
                  </a:lnTo>
                  <a:lnTo>
                    <a:pt x="5234" y="1097"/>
                  </a:lnTo>
                  <a:lnTo>
                    <a:pt x="5246" y="1097"/>
                  </a:lnTo>
                  <a:lnTo>
                    <a:pt x="5278" y="1115"/>
                  </a:lnTo>
                  <a:lnTo>
                    <a:pt x="5283" y="1124"/>
                  </a:lnTo>
                  <a:lnTo>
                    <a:pt x="5287" y="1128"/>
                  </a:lnTo>
                  <a:lnTo>
                    <a:pt x="5310" y="1144"/>
                  </a:lnTo>
                  <a:lnTo>
                    <a:pt x="5334" y="1153"/>
                  </a:lnTo>
                  <a:lnTo>
                    <a:pt x="5363" y="1163"/>
                  </a:lnTo>
                  <a:lnTo>
                    <a:pt x="5377" y="1175"/>
                  </a:lnTo>
                  <a:lnTo>
                    <a:pt x="5389" y="1194"/>
                  </a:lnTo>
                  <a:lnTo>
                    <a:pt x="5394" y="1207"/>
                  </a:lnTo>
                  <a:lnTo>
                    <a:pt x="5397" y="1211"/>
                  </a:lnTo>
                  <a:lnTo>
                    <a:pt x="5401" y="1210"/>
                  </a:lnTo>
                  <a:lnTo>
                    <a:pt x="5404" y="1205"/>
                  </a:lnTo>
                  <a:lnTo>
                    <a:pt x="5406" y="1197"/>
                  </a:lnTo>
                  <a:lnTo>
                    <a:pt x="5408" y="1189"/>
                  </a:lnTo>
                  <a:lnTo>
                    <a:pt x="5413" y="1185"/>
                  </a:lnTo>
                  <a:lnTo>
                    <a:pt x="5417" y="1185"/>
                  </a:lnTo>
                  <a:lnTo>
                    <a:pt x="5427" y="1178"/>
                  </a:lnTo>
                  <a:lnTo>
                    <a:pt x="5431" y="1177"/>
                  </a:lnTo>
                  <a:lnTo>
                    <a:pt x="5435" y="1175"/>
                  </a:lnTo>
                  <a:lnTo>
                    <a:pt x="5437" y="1171"/>
                  </a:lnTo>
                  <a:lnTo>
                    <a:pt x="5439" y="1162"/>
                  </a:lnTo>
                  <a:lnTo>
                    <a:pt x="5437" y="1158"/>
                  </a:lnTo>
                  <a:lnTo>
                    <a:pt x="5437" y="1156"/>
                  </a:lnTo>
                  <a:lnTo>
                    <a:pt x="5438" y="1153"/>
                  </a:lnTo>
                  <a:lnTo>
                    <a:pt x="5439" y="1150"/>
                  </a:lnTo>
                  <a:lnTo>
                    <a:pt x="5439" y="1129"/>
                  </a:lnTo>
                  <a:lnTo>
                    <a:pt x="5440" y="1120"/>
                  </a:lnTo>
                  <a:lnTo>
                    <a:pt x="5442" y="1111"/>
                  </a:lnTo>
                  <a:lnTo>
                    <a:pt x="5448" y="1099"/>
                  </a:lnTo>
                  <a:lnTo>
                    <a:pt x="5477" y="1072"/>
                  </a:lnTo>
                  <a:lnTo>
                    <a:pt x="5485" y="1068"/>
                  </a:lnTo>
                  <a:lnTo>
                    <a:pt x="5492" y="1066"/>
                  </a:lnTo>
                  <a:lnTo>
                    <a:pt x="5512" y="1073"/>
                  </a:lnTo>
                  <a:lnTo>
                    <a:pt x="5515" y="1072"/>
                  </a:lnTo>
                  <a:lnTo>
                    <a:pt x="5519" y="1068"/>
                  </a:lnTo>
                  <a:lnTo>
                    <a:pt x="5522" y="1061"/>
                  </a:lnTo>
                  <a:lnTo>
                    <a:pt x="5524" y="1055"/>
                  </a:lnTo>
                  <a:lnTo>
                    <a:pt x="5526" y="1049"/>
                  </a:lnTo>
                  <a:lnTo>
                    <a:pt x="5531" y="1042"/>
                  </a:lnTo>
                  <a:lnTo>
                    <a:pt x="5533" y="1037"/>
                  </a:lnTo>
                  <a:lnTo>
                    <a:pt x="5534" y="1031"/>
                  </a:lnTo>
                  <a:lnTo>
                    <a:pt x="5536" y="1026"/>
                  </a:lnTo>
                  <a:lnTo>
                    <a:pt x="5542" y="1019"/>
                  </a:lnTo>
                  <a:lnTo>
                    <a:pt x="5544" y="1014"/>
                  </a:lnTo>
                  <a:lnTo>
                    <a:pt x="5543" y="1010"/>
                  </a:lnTo>
                  <a:lnTo>
                    <a:pt x="5542" y="1008"/>
                  </a:lnTo>
                  <a:lnTo>
                    <a:pt x="5539" y="1005"/>
                  </a:lnTo>
                  <a:lnTo>
                    <a:pt x="5538" y="1003"/>
                  </a:lnTo>
                  <a:lnTo>
                    <a:pt x="5537" y="1000"/>
                  </a:lnTo>
                  <a:lnTo>
                    <a:pt x="5538" y="999"/>
                  </a:lnTo>
                  <a:lnTo>
                    <a:pt x="5537" y="997"/>
                  </a:lnTo>
                  <a:lnTo>
                    <a:pt x="5535" y="990"/>
                  </a:lnTo>
                  <a:lnTo>
                    <a:pt x="5535" y="987"/>
                  </a:lnTo>
                  <a:lnTo>
                    <a:pt x="5536" y="983"/>
                  </a:lnTo>
                  <a:lnTo>
                    <a:pt x="5536" y="980"/>
                  </a:lnTo>
                  <a:lnTo>
                    <a:pt x="5537" y="965"/>
                  </a:lnTo>
                  <a:lnTo>
                    <a:pt x="5537" y="963"/>
                  </a:lnTo>
                  <a:lnTo>
                    <a:pt x="5538" y="962"/>
                  </a:lnTo>
                  <a:lnTo>
                    <a:pt x="5538" y="960"/>
                  </a:lnTo>
                  <a:lnTo>
                    <a:pt x="5538" y="956"/>
                  </a:lnTo>
                  <a:lnTo>
                    <a:pt x="5538" y="953"/>
                  </a:lnTo>
                  <a:lnTo>
                    <a:pt x="5536" y="945"/>
                  </a:lnTo>
                  <a:lnTo>
                    <a:pt x="5535" y="943"/>
                  </a:lnTo>
                  <a:lnTo>
                    <a:pt x="5533" y="931"/>
                  </a:lnTo>
                  <a:lnTo>
                    <a:pt x="5533" y="919"/>
                  </a:lnTo>
                  <a:lnTo>
                    <a:pt x="5539" y="883"/>
                  </a:lnTo>
                  <a:lnTo>
                    <a:pt x="5541" y="877"/>
                  </a:lnTo>
                  <a:lnTo>
                    <a:pt x="5555" y="851"/>
                  </a:lnTo>
                  <a:lnTo>
                    <a:pt x="5554" y="847"/>
                  </a:lnTo>
                  <a:lnTo>
                    <a:pt x="5549" y="829"/>
                  </a:lnTo>
                  <a:lnTo>
                    <a:pt x="5554" y="819"/>
                  </a:lnTo>
                  <a:lnTo>
                    <a:pt x="5555" y="816"/>
                  </a:lnTo>
                  <a:lnTo>
                    <a:pt x="5557" y="813"/>
                  </a:lnTo>
                  <a:lnTo>
                    <a:pt x="5557" y="802"/>
                  </a:lnTo>
                  <a:lnTo>
                    <a:pt x="5558" y="796"/>
                  </a:lnTo>
                  <a:lnTo>
                    <a:pt x="5560" y="791"/>
                  </a:lnTo>
                  <a:lnTo>
                    <a:pt x="5559" y="788"/>
                  </a:lnTo>
                  <a:lnTo>
                    <a:pt x="5557" y="785"/>
                  </a:lnTo>
                  <a:lnTo>
                    <a:pt x="5557" y="783"/>
                  </a:lnTo>
                  <a:lnTo>
                    <a:pt x="5559" y="778"/>
                  </a:lnTo>
                  <a:lnTo>
                    <a:pt x="5568" y="770"/>
                  </a:lnTo>
                  <a:lnTo>
                    <a:pt x="5573" y="763"/>
                  </a:lnTo>
                  <a:lnTo>
                    <a:pt x="5575" y="753"/>
                  </a:lnTo>
                  <a:lnTo>
                    <a:pt x="5575" y="742"/>
                  </a:lnTo>
                  <a:lnTo>
                    <a:pt x="5572" y="732"/>
                  </a:lnTo>
                  <a:lnTo>
                    <a:pt x="5569" y="727"/>
                  </a:lnTo>
                  <a:lnTo>
                    <a:pt x="5568" y="723"/>
                  </a:lnTo>
                  <a:lnTo>
                    <a:pt x="5570" y="718"/>
                  </a:lnTo>
                  <a:lnTo>
                    <a:pt x="5572" y="713"/>
                  </a:lnTo>
                  <a:lnTo>
                    <a:pt x="5575" y="706"/>
                  </a:lnTo>
                  <a:lnTo>
                    <a:pt x="5580" y="703"/>
                  </a:lnTo>
                  <a:lnTo>
                    <a:pt x="5603" y="696"/>
                  </a:lnTo>
                  <a:lnTo>
                    <a:pt x="5606" y="694"/>
                  </a:lnTo>
                  <a:lnTo>
                    <a:pt x="5608" y="691"/>
                  </a:lnTo>
                  <a:lnTo>
                    <a:pt x="5610" y="687"/>
                  </a:lnTo>
                  <a:lnTo>
                    <a:pt x="5617" y="675"/>
                  </a:lnTo>
                  <a:lnTo>
                    <a:pt x="5625" y="658"/>
                  </a:lnTo>
                  <a:lnTo>
                    <a:pt x="5641" y="639"/>
                  </a:lnTo>
                  <a:lnTo>
                    <a:pt x="5646" y="630"/>
                  </a:lnTo>
                  <a:lnTo>
                    <a:pt x="5644" y="621"/>
                  </a:lnTo>
                  <a:lnTo>
                    <a:pt x="5646" y="618"/>
                  </a:lnTo>
                  <a:lnTo>
                    <a:pt x="5651" y="610"/>
                  </a:lnTo>
                  <a:lnTo>
                    <a:pt x="5654" y="601"/>
                  </a:lnTo>
                  <a:lnTo>
                    <a:pt x="5659" y="598"/>
                  </a:lnTo>
                  <a:lnTo>
                    <a:pt x="5687" y="593"/>
                  </a:lnTo>
                  <a:lnTo>
                    <a:pt x="5697" y="596"/>
                  </a:lnTo>
                  <a:lnTo>
                    <a:pt x="5712" y="592"/>
                  </a:lnTo>
                  <a:lnTo>
                    <a:pt x="5717" y="594"/>
                  </a:lnTo>
                  <a:lnTo>
                    <a:pt x="5726" y="600"/>
                  </a:lnTo>
                  <a:lnTo>
                    <a:pt x="5730" y="599"/>
                  </a:lnTo>
                  <a:lnTo>
                    <a:pt x="5734" y="599"/>
                  </a:lnTo>
                  <a:lnTo>
                    <a:pt x="5746" y="608"/>
                  </a:lnTo>
                  <a:lnTo>
                    <a:pt x="5749" y="609"/>
                  </a:lnTo>
                  <a:lnTo>
                    <a:pt x="5783" y="596"/>
                  </a:lnTo>
                  <a:lnTo>
                    <a:pt x="5789" y="587"/>
                  </a:lnTo>
                  <a:lnTo>
                    <a:pt x="5788" y="586"/>
                  </a:lnTo>
                  <a:lnTo>
                    <a:pt x="5786" y="583"/>
                  </a:lnTo>
                  <a:lnTo>
                    <a:pt x="5785" y="582"/>
                  </a:lnTo>
                  <a:lnTo>
                    <a:pt x="5787" y="578"/>
                  </a:lnTo>
                  <a:lnTo>
                    <a:pt x="5789" y="576"/>
                  </a:lnTo>
                  <a:lnTo>
                    <a:pt x="5791" y="576"/>
                  </a:lnTo>
                  <a:lnTo>
                    <a:pt x="5794" y="575"/>
                  </a:lnTo>
                  <a:lnTo>
                    <a:pt x="5804" y="562"/>
                  </a:lnTo>
                  <a:lnTo>
                    <a:pt x="5823" y="552"/>
                  </a:lnTo>
                  <a:lnTo>
                    <a:pt x="5824" y="544"/>
                  </a:lnTo>
                  <a:lnTo>
                    <a:pt x="5831" y="534"/>
                  </a:lnTo>
                  <a:lnTo>
                    <a:pt x="5839" y="531"/>
                  </a:lnTo>
                  <a:lnTo>
                    <a:pt x="5859" y="536"/>
                  </a:lnTo>
                  <a:lnTo>
                    <a:pt x="5871" y="528"/>
                  </a:lnTo>
                  <a:lnTo>
                    <a:pt x="5876" y="530"/>
                  </a:lnTo>
                  <a:lnTo>
                    <a:pt x="5881" y="538"/>
                  </a:lnTo>
                  <a:lnTo>
                    <a:pt x="5889" y="559"/>
                  </a:lnTo>
                  <a:lnTo>
                    <a:pt x="5919" y="612"/>
                  </a:lnTo>
                  <a:lnTo>
                    <a:pt x="5922" y="616"/>
                  </a:lnTo>
                  <a:lnTo>
                    <a:pt x="5953" y="630"/>
                  </a:lnTo>
                  <a:lnTo>
                    <a:pt x="5952" y="645"/>
                  </a:lnTo>
                  <a:lnTo>
                    <a:pt x="5956" y="654"/>
                  </a:lnTo>
                  <a:lnTo>
                    <a:pt x="5962" y="659"/>
                  </a:lnTo>
                  <a:lnTo>
                    <a:pt x="5969" y="662"/>
                  </a:lnTo>
                  <a:lnTo>
                    <a:pt x="6020" y="687"/>
                  </a:lnTo>
                  <a:lnTo>
                    <a:pt x="6072" y="713"/>
                  </a:lnTo>
                  <a:lnTo>
                    <a:pt x="6074" y="718"/>
                  </a:lnTo>
                  <a:lnTo>
                    <a:pt x="6083" y="753"/>
                  </a:lnTo>
                  <a:lnTo>
                    <a:pt x="6106" y="809"/>
                  </a:lnTo>
                  <a:lnTo>
                    <a:pt x="6087" y="848"/>
                  </a:lnTo>
                  <a:lnTo>
                    <a:pt x="6029" y="920"/>
                  </a:lnTo>
                  <a:lnTo>
                    <a:pt x="6028" y="926"/>
                  </a:lnTo>
                  <a:lnTo>
                    <a:pt x="6026" y="936"/>
                  </a:lnTo>
                  <a:lnTo>
                    <a:pt x="6023" y="969"/>
                  </a:lnTo>
                  <a:lnTo>
                    <a:pt x="6023" y="976"/>
                  </a:lnTo>
                  <a:lnTo>
                    <a:pt x="6025" y="980"/>
                  </a:lnTo>
                  <a:lnTo>
                    <a:pt x="6043" y="1004"/>
                  </a:lnTo>
                  <a:lnTo>
                    <a:pt x="6047" y="1001"/>
                  </a:lnTo>
                  <a:lnTo>
                    <a:pt x="6052" y="1000"/>
                  </a:lnTo>
                  <a:lnTo>
                    <a:pt x="6061" y="1001"/>
                  </a:lnTo>
                  <a:lnTo>
                    <a:pt x="6070" y="995"/>
                  </a:lnTo>
                  <a:lnTo>
                    <a:pt x="6078" y="985"/>
                  </a:lnTo>
                  <a:lnTo>
                    <a:pt x="6086" y="972"/>
                  </a:lnTo>
                  <a:lnTo>
                    <a:pt x="6089" y="965"/>
                  </a:lnTo>
                  <a:lnTo>
                    <a:pt x="6091" y="958"/>
                  </a:lnTo>
                  <a:lnTo>
                    <a:pt x="6094" y="942"/>
                  </a:lnTo>
                  <a:lnTo>
                    <a:pt x="6095" y="938"/>
                  </a:lnTo>
                  <a:lnTo>
                    <a:pt x="6098" y="931"/>
                  </a:lnTo>
                  <a:lnTo>
                    <a:pt x="6099" y="927"/>
                  </a:lnTo>
                  <a:lnTo>
                    <a:pt x="6099" y="923"/>
                  </a:lnTo>
                  <a:lnTo>
                    <a:pt x="6099" y="919"/>
                  </a:lnTo>
                  <a:lnTo>
                    <a:pt x="6100" y="916"/>
                  </a:lnTo>
                  <a:lnTo>
                    <a:pt x="6101" y="912"/>
                  </a:lnTo>
                  <a:lnTo>
                    <a:pt x="6103" y="899"/>
                  </a:lnTo>
                  <a:lnTo>
                    <a:pt x="6104" y="892"/>
                  </a:lnTo>
                  <a:lnTo>
                    <a:pt x="6111" y="882"/>
                  </a:lnTo>
                  <a:lnTo>
                    <a:pt x="6120" y="877"/>
                  </a:lnTo>
                  <a:lnTo>
                    <a:pt x="6147" y="876"/>
                  </a:lnTo>
                  <a:lnTo>
                    <a:pt x="6156" y="871"/>
                  </a:lnTo>
                  <a:lnTo>
                    <a:pt x="6166" y="859"/>
                  </a:lnTo>
                  <a:lnTo>
                    <a:pt x="6170" y="857"/>
                  </a:lnTo>
                  <a:lnTo>
                    <a:pt x="6194" y="856"/>
                  </a:lnTo>
                  <a:lnTo>
                    <a:pt x="6201" y="853"/>
                  </a:lnTo>
                  <a:lnTo>
                    <a:pt x="6204" y="849"/>
                  </a:lnTo>
                  <a:lnTo>
                    <a:pt x="6210" y="840"/>
                  </a:lnTo>
                  <a:lnTo>
                    <a:pt x="6229" y="819"/>
                  </a:lnTo>
                  <a:lnTo>
                    <a:pt x="6231" y="814"/>
                  </a:lnTo>
                  <a:lnTo>
                    <a:pt x="6232" y="809"/>
                  </a:lnTo>
                  <a:lnTo>
                    <a:pt x="6232" y="803"/>
                  </a:lnTo>
                  <a:lnTo>
                    <a:pt x="6233" y="796"/>
                  </a:lnTo>
                  <a:lnTo>
                    <a:pt x="6234" y="790"/>
                  </a:lnTo>
                  <a:lnTo>
                    <a:pt x="6236" y="787"/>
                  </a:lnTo>
                  <a:lnTo>
                    <a:pt x="6240" y="784"/>
                  </a:lnTo>
                  <a:lnTo>
                    <a:pt x="6243" y="780"/>
                  </a:lnTo>
                  <a:lnTo>
                    <a:pt x="6245" y="774"/>
                  </a:lnTo>
                  <a:lnTo>
                    <a:pt x="6246" y="766"/>
                  </a:lnTo>
                  <a:lnTo>
                    <a:pt x="6246" y="755"/>
                  </a:lnTo>
                  <a:lnTo>
                    <a:pt x="6245" y="747"/>
                  </a:lnTo>
                  <a:lnTo>
                    <a:pt x="6243" y="743"/>
                  </a:lnTo>
                  <a:lnTo>
                    <a:pt x="6233" y="739"/>
                  </a:lnTo>
                  <a:lnTo>
                    <a:pt x="6230" y="735"/>
                  </a:lnTo>
                  <a:lnTo>
                    <a:pt x="6228" y="731"/>
                  </a:lnTo>
                  <a:lnTo>
                    <a:pt x="6232" y="729"/>
                  </a:lnTo>
                  <a:lnTo>
                    <a:pt x="6239" y="728"/>
                  </a:lnTo>
                  <a:lnTo>
                    <a:pt x="6246" y="730"/>
                  </a:lnTo>
                  <a:lnTo>
                    <a:pt x="6256" y="738"/>
                  </a:lnTo>
                  <a:lnTo>
                    <a:pt x="6286" y="772"/>
                  </a:lnTo>
                  <a:lnTo>
                    <a:pt x="6291" y="776"/>
                  </a:lnTo>
                  <a:lnTo>
                    <a:pt x="6330" y="783"/>
                  </a:lnTo>
                  <a:lnTo>
                    <a:pt x="6345" y="780"/>
                  </a:lnTo>
                  <a:lnTo>
                    <a:pt x="6352" y="772"/>
                  </a:lnTo>
                  <a:lnTo>
                    <a:pt x="6357" y="757"/>
                  </a:lnTo>
                  <a:lnTo>
                    <a:pt x="6357" y="749"/>
                  </a:lnTo>
                  <a:lnTo>
                    <a:pt x="6357" y="714"/>
                  </a:lnTo>
                  <a:lnTo>
                    <a:pt x="6353" y="706"/>
                  </a:lnTo>
                  <a:lnTo>
                    <a:pt x="6350" y="700"/>
                  </a:lnTo>
                  <a:lnTo>
                    <a:pt x="6350" y="697"/>
                  </a:lnTo>
                  <a:lnTo>
                    <a:pt x="6350" y="692"/>
                  </a:lnTo>
                  <a:lnTo>
                    <a:pt x="6349" y="684"/>
                  </a:lnTo>
                  <a:lnTo>
                    <a:pt x="6347" y="679"/>
                  </a:lnTo>
                  <a:lnTo>
                    <a:pt x="6344" y="671"/>
                  </a:lnTo>
                  <a:lnTo>
                    <a:pt x="6343" y="653"/>
                  </a:lnTo>
                  <a:lnTo>
                    <a:pt x="6335" y="660"/>
                  </a:lnTo>
                  <a:lnTo>
                    <a:pt x="6334" y="660"/>
                  </a:lnTo>
                  <a:lnTo>
                    <a:pt x="6329" y="666"/>
                  </a:lnTo>
                  <a:lnTo>
                    <a:pt x="6326" y="668"/>
                  </a:lnTo>
                  <a:lnTo>
                    <a:pt x="6323" y="669"/>
                  </a:lnTo>
                  <a:lnTo>
                    <a:pt x="6321" y="667"/>
                  </a:lnTo>
                  <a:lnTo>
                    <a:pt x="6321" y="663"/>
                  </a:lnTo>
                  <a:lnTo>
                    <a:pt x="6322" y="659"/>
                  </a:lnTo>
                  <a:lnTo>
                    <a:pt x="6324" y="657"/>
                  </a:lnTo>
                  <a:lnTo>
                    <a:pt x="6321" y="652"/>
                  </a:lnTo>
                  <a:lnTo>
                    <a:pt x="6286" y="647"/>
                  </a:lnTo>
                  <a:lnTo>
                    <a:pt x="6281" y="651"/>
                  </a:lnTo>
                  <a:lnTo>
                    <a:pt x="6282" y="660"/>
                  </a:lnTo>
                  <a:lnTo>
                    <a:pt x="6281" y="664"/>
                  </a:lnTo>
                  <a:lnTo>
                    <a:pt x="6282" y="668"/>
                  </a:lnTo>
                  <a:lnTo>
                    <a:pt x="6283" y="672"/>
                  </a:lnTo>
                  <a:lnTo>
                    <a:pt x="6284" y="677"/>
                  </a:lnTo>
                  <a:lnTo>
                    <a:pt x="6284" y="680"/>
                  </a:lnTo>
                  <a:lnTo>
                    <a:pt x="6283" y="682"/>
                  </a:lnTo>
                  <a:lnTo>
                    <a:pt x="6283" y="684"/>
                  </a:lnTo>
                  <a:lnTo>
                    <a:pt x="6281" y="686"/>
                  </a:lnTo>
                  <a:lnTo>
                    <a:pt x="6281" y="689"/>
                  </a:lnTo>
                  <a:lnTo>
                    <a:pt x="6282" y="694"/>
                  </a:lnTo>
                  <a:lnTo>
                    <a:pt x="6281" y="707"/>
                  </a:lnTo>
                  <a:lnTo>
                    <a:pt x="6280" y="711"/>
                  </a:lnTo>
                  <a:lnTo>
                    <a:pt x="6278" y="713"/>
                  </a:lnTo>
                  <a:lnTo>
                    <a:pt x="6267" y="716"/>
                  </a:lnTo>
                  <a:lnTo>
                    <a:pt x="6263" y="713"/>
                  </a:lnTo>
                  <a:lnTo>
                    <a:pt x="6271" y="710"/>
                  </a:lnTo>
                  <a:lnTo>
                    <a:pt x="6275" y="700"/>
                  </a:lnTo>
                  <a:lnTo>
                    <a:pt x="6275" y="685"/>
                  </a:lnTo>
                  <a:lnTo>
                    <a:pt x="6275" y="664"/>
                  </a:lnTo>
                  <a:lnTo>
                    <a:pt x="6275" y="664"/>
                  </a:lnTo>
                  <a:lnTo>
                    <a:pt x="6274" y="653"/>
                  </a:lnTo>
                  <a:lnTo>
                    <a:pt x="6274" y="649"/>
                  </a:lnTo>
                  <a:lnTo>
                    <a:pt x="6274" y="645"/>
                  </a:lnTo>
                  <a:lnTo>
                    <a:pt x="6273" y="641"/>
                  </a:lnTo>
                  <a:lnTo>
                    <a:pt x="6273" y="638"/>
                  </a:lnTo>
                  <a:lnTo>
                    <a:pt x="6269" y="633"/>
                  </a:lnTo>
                  <a:lnTo>
                    <a:pt x="6257" y="638"/>
                  </a:lnTo>
                  <a:lnTo>
                    <a:pt x="6252" y="635"/>
                  </a:lnTo>
                  <a:lnTo>
                    <a:pt x="6260" y="628"/>
                  </a:lnTo>
                  <a:lnTo>
                    <a:pt x="6261" y="625"/>
                  </a:lnTo>
                  <a:lnTo>
                    <a:pt x="6258" y="617"/>
                  </a:lnTo>
                  <a:lnTo>
                    <a:pt x="6256" y="616"/>
                  </a:lnTo>
                  <a:lnTo>
                    <a:pt x="6248" y="619"/>
                  </a:lnTo>
                  <a:lnTo>
                    <a:pt x="6236" y="619"/>
                  </a:lnTo>
                  <a:lnTo>
                    <a:pt x="6236" y="624"/>
                  </a:lnTo>
                  <a:lnTo>
                    <a:pt x="6236" y="634"/>
                  </a:lnTo>
                  <a:lnTo>
                    <a:pt x="6236" y="644"/>
                  </a:lnTo>
                  <a:lnTo>
                    <a:pt x="6235" y="650"/>
                  </a:lnTo>
                  <a:lnTo>
                    <a:pt x="6237" y="655"/>
                  </a:lnTo>
                  <a:lnTo>
                    <a:pt x="6241" y="658"/>
                  </a:lnTo>
                  <a:lnTo>
                    <a:pt x="6243" y="663"/>
                  </a:lnTo>
                  <a:lnTo>
                    <a:pt x="6243" y="669"/>
                  </a:lnTo>
                  <a:lnTo>
                    <a:pt x="6240" y="673"/>
                  </a:lnTo>
                  <a:lnTo>
                    <a:pt x="6231" y="674"/>
                  </a:lnTo>
                  <a:lnTo>
                    <a:pt x="6227" y="676"/>
                  </a:lnTo>
                  <a:lnTo>
                    <a:pt x="6229" y="681"/>
                  </a:lnTo>
                  <a:lnTo>
                    <a:pt x="6235" y="696"/>
                  </a:lnTo>
                  <a:lnTo>
                    <a:pt x="6238" y="700"/>
                  </a:lnTo>
                  <a:lnTo>
                    <a:pt x="6239" y="703"/>
                  </a:lnTo>
                  <a:lnTo>
                    <a:pt x="6239" y="707"/>
                  </a:lnTo>
                  <a:lnTo>
                    <a:pt x="6238" y="707"/>
                  </a:lnTo>
                  <a:lnTo>
                    <a:pt x="6228" y="698"/>
                  </a:lnTo>
                  <a:lnTo>
                    <a:pt x="6226" y="694"/>
                  </a:lnTo>
                  <a:lnTo>
                    <a:pt x="6223" y="684"/>
                  </a:lnTo>
                  <a:lnTo>
                    <a:pt x="6221" y="683"/>
                  </a:lnTo>
                  <a:lnTo>
                    <a:pt x="6214" y="691"/>
                  </a:lnTo>
                  <a:lnTo>
                    <a:pt x="6206" y="695"/>
                  </a:lnTo>
                  <a:lnTo>
                    <a:pt x="6202" y="699"/>
                  </a:lnTo>
                  <a:lnTo>
                    <a:pt x="6200" y="707"/>
                  </a:lnTo>
                  <a:lnTo>
                    <a:pt x="6199" y="699"/>
                  </a:lnTo>
                  <a:lnTo>
                    <a:pt x="6203" y="694"/>
                  </a:lnTo>
                  <a:lnTo>
                    <a:pt x="6210" y="690"/>
                  </a:lnTo>
                  <a:lnTo>
                    <a:pt x="6213" y="684"/>
                  </a:lnTo>
                  <a:lnTo>
                    <a:pt x="6217" y="673"/>
                  </a:lnTo>
                  <a:lnTo>
                    <a:pt x="6219" y="669"/>
                  </a:lnTo>
                  <a:lnTo>
                    <a:pt x="6214" y="667"/>
                  </a:lnTo>
                  <a:lnTo>
                    <a:pt x="6208" y="670"/>
                  </a:lnTo>
                  <a:lnTo>
                    <a:pt x="6195" y="684"/>
                  </a:lnTo>
                  <a:lnTo>
                    <a:pt x="6194" y="685"/>
                  </a:lnTo>
                  <a:lnTo>
                    <a:pt x="6181" y="681"/>
                  </a:lnTo>
                  <a:lnTo>
                    <a:pt x="6164" y="682"/>
                  </a:lnTo>
                  <a:lnTo>
                    <a:pt x="6159" y="685"/>
                  </a:lnTo>
                  <a:lnTo>
                    <a:pt x="6141" y="704"/>
                  </a:lnTo>
                  <a:lnTo>
                    <a:pt x="6136" y="713"/>
                  </a:lnTo>
                  <a:lnTo>
                    <a:pt x="6134" y="716"/>
                  </a:lnTo>
                  <a:lnTo>
                    <a:pt x="6128" y="719"/>
                  </a:lnTo>
                  <a:lnTo>
                    <a:pt x="6131" y="712"/>
                  </a:lnTo>
                  <a:lnTo>
                    <a:pt x="6135" y="703"/>
                  </a:lnTo>
                  <a:lnTo>
                    <a:pt x="6137" y="697"/>
                  </a:lnTo>
                  <a:lnTo>
                    <a:pt x="6131" y="697"/>
                  </a:lnTo>
                  <a:lnTo>
                    <a:pt x="6135" y="695"/>
                  </a:lnTo>
                  <a:lnTo>
                    <a:pt x="6141" y="694"/>
                  </a:lnTo>
                  <a:lnTo>
                    <a:pt x="6145" y="691"/>
                  </a:lnTo>
                  <a:lnTo>
                    <a:pt x="6146" y="686"/>
                  </a:lnTo>
                  <a:lnTo>
                    <a:pt x="6148" y="681"/>
                  </a:lnTo>
                  <a:lnTo>
                    <a:pt x="6150" y="677"/>
                  </a:lnTo>
                  <a:lnTo>
                    <a:pt x="6153" y="676"/>
                  </a:lnTo>
                  <a:lnTo>
                    <a:pt x="6153" y="672"/>
                  </a:lnTo>
                  <a:lnTo>
                    <a:pt x="6154" y="668"/>
                  </a:lnTo>
                  <a:lnTo>
                    <a:pt x="6162" y="658"/>
                  </a:lnTo>
                  <a:lnTo>
                    <a:pt x="6168" y="654"/>
                  </a:lnTo>
                  <a:lnTo>
                    <a:pt x="6171" y="642"/>
                  </a:lnTo>
                  <a:lnTo>
                    <a:pt x="6174" y="638"/>
                  </a:lnTo>
                  <a:lnTo>
                    <a:pt x="6169" y="625"/>
                  </a:lnTo>
                  <a:lnTo>
                    <a:pt x="6169" y="620"/>
                  </a:lnTo>
                  <a:lnTo>
                    <a:pt x="6168" y="616"/>
                  </a:lnTo>
                  <a:lnTo>
                    <a:pt x="6167" y="612"/>
                  </a:lnTo>
                  <a:lnTo>
                    <a:pt x="6169" y="606"/>
                  </a:lnTo>
                  <a:lnTo>
                    <a:pt x="6164" y="603"/>
                  </a:lnTo>
                  <a:lnTo>
                    <a:pt x="6157" y="609"/>
                  </a:lnTo>
                  <a:lnTo>
                    <a:pt x="6151" y="606"/>
                  </a:lnTo>
                  <a:lnTo>
                    <a:pt x="6147" y="609"/>
                  </a:lnTo>
                  <a:lnTo>
                    <a:pt x="6145" y="608"/>
                  </a:lnTo>
                  <a:lnTo>
                    <a:pt x="6143" y="605"/>
                  </a:lnTo>
                  <a:lnTo>
                    <a:pt x="6140" y="604"/>
                  </a:lnTo>
                  <a:lnTo>
                    <a:pt x="6138" y="603"/>
                  </a:lnTo>
                  <a:lnTo>
                    <a:pt x="6136" y="603"/>
                  </a:lnTo>
                  <a:lnTo>
                    <a:pt x="6133" y="605"/>
                  </a:lnTo>
                  <a:lnTo>
                    <a:pt x="6126" y="615"/>
                  </a:lnTo>
                  <a:lnTo>
                    <a:pt x="6120" y="627"/>
                  </a:lnTo>
                  <a:lnTo>
                    <a:pt x="6116" y="629"/>
                  </a:lnTo>
                  <a:lnTo>
                    <a:pt x="6109" y="628"/>
                  </a:lnTo>
                  <a:lnTo>
                    <a:pt x="6113" y="625"/>
                  </a:lnTo>
                  <a:lnTo>
                    <a:pt x="6114" y="623"/>
                  </a:lnTo>
                  <a:lnTo>
                    <a:pt x="6116" y="621"/>
                  </a:lnTo>
                  <a:lnTo>
                    <a:pt x="6116" y="619"/>
                  </a:lnTo>
                  <a:lnTo>
                    <a:pt x="6117" y="617"/>
                  </a:lnTo>
                  <a:lnTo>
                    <a:pt x="6118" y="614"/>
                  </a:lnTo>
                  <a:lnTo>
                    <a:pt x="6121" y="609"/>
                  </a:lnTo>
                  <a:lnTo>
                    <a:pt x="6128" y="604"/>
                  </a:lnTo>
                  <a:lnTo>
                    <a:pt x="6135" y="598"/>
                  </a:lnTo>
                  <a:lnTo>
                    <a:pt x="6142" y="593"/>
                  </a:lnTo>
                  <a:lnTo>
                    <a:pt x="6156" y="579"/>
                  </a:lnTo>
                  <a:lnTo>
                    <a:pt x="6160" y="577"/>
                  </a:lnTo>
                  <a:lnTo>
                    <a:pt x="6113" y="561"/>
                  </a:lnTo>
                  <a:lnTo>
                    <a:pt x="6106" y="555"/>
                  </a:lnTo>
                  <a:lnTo>
                    <a:pt x="6076" y="559"/>
                  </a:lnTo>
                  <a:lnTo>
                    <a:pt x="6072" y="555"/>
                  </a:lnTo>
                  <a:lnTo>
                    <a:pt x="6080" y="548"/>
                  </a:lnTo>
                  <a:lnTo>
                    <a:pt x="6081" y="546"/>
                  </a:lnTo>
                  <a:lnTo>
                    <a:pt x="6080" y="543"/>
                  </a:lnTo>
                  <a:lnTo>
                    <a:pt x="6076" y="542"/>
                  </a:lnTo>
                  <a:lnTo>
                    <a:pt x="6071" y="543"/>
                  </a:lnTo>
                  <a:lnTo>
                    <a:pt x="6072" y="541"/>
                  </a:lnTo>
                  <a:lnTo>
                    <a:pt x="6073" y="536"/>
                  </a:lnTo>
                  <a:lnTo>
                    <a:pt x="6050" y="537"/>
                  </a:lnTo>
                  <a:lnTo>
                    <a:pt x="6039" y="529"/>
                  </a:lnTo>
                  <a:lnTo>
                    <a:pt x="6008" y="523"/>
                  </a:lnTo>
                  <a:lnTo>
                    <a:pt x="6013" y="520"/>
                  </a:lnTo>
                  <a:lnTo>
                    <a:pt x="6027" y="520"/>
                  </a:lnTo>
                  <a:lnTo>
                    <a:pt x="6027" y="517"/>
                  </a:lnTo>
                  <a:lnTo>
                    <a:pt x="6024" y="517"/>
                  </a:lnTo>
                  <a:lnTo>
                    <a:pt x="6017" y="511"/>
                  </a:lnTo>
                  <a:lnTo>
                    <a:pt x="6015" y="511"/>
                  </a:lnTo>
                  <a:lnTo>
                    <a:pt x="6008" y="517"/>
                  </a:lnTo>
                  <a:lnTo>
                    <a:pt x="5998" y="517"/>
                  </a:lnTo>
                  <a:lnTo>
                    <a:pt x="5992" y="513"/>
                  </a:lnTo>
                  <a:lnTo>
                    <a:pt x="5989" y="507"/>
                  </a:lnTo>
                  <a:lnTo>
                    <a:pt x="5994" y="506"/>
                  </a:lnTo>
                  <a:lnTo>
                    <a:pt x="6002" y="501"/>
                  </a:lnTo>
                  <a:lnTo>
                    <a:pt x="6008" y="494"/>
                  </a:lnTo>
                  <a:lnTo>
                    <a:pt x="6012" y="485"/>
                  </a:lnTo>
                  <a:lnTo>
                    <a:pt x="5987" y="488"/>
                  </a:lnTo>
                  <a:lnTo>
                    <a:pt x="5990" y="481"/>
                  </a:lnTo>
                  <a:lnTo>
                    <a:pt x="5996" y="478"/>
                  </a:lnTo>
                  <a:lnTo>
                    <a:pt x="6041" y="493"/>
                  </a:lnTo>
                  <a:lnTo>
                    <a:pt x="6087" y="507"/>
                  </a:lnTo>
                  <a:lnTo>
                    <a:pt x="6086" y="507"/>
                  </a:lnTo>
                  <a:lnTo>
                    <a:pt x="6160" y="519"/>
                  </a:lnTo>
                  <a:lnTo>
                    <a:pt x="6235" y="530"/>
                  </a:lnTo>
                  <a:lnTo>
                    <a:pt x="6231" y="529"/>
                  </a:lnTo>
                  <a:lnTo>
                    <a:pt x="6228" y="527"/>
                  </a:lnTo>
                  <a:lnTo>
                    <a:pt x="6228" y="524"/>
                  </a:lnTo>
                  <a:lnTo>
                    <a:pt x="6233" y="520"/>
                  </a:lnTo>
                  <a:lnTo>
                    <a:pt x="6260" y="509"/>
                  </a:lnTo>
                  <a:lnTo>
                    <a:pt x="6266" y="503"/>
                  </a:lnTo>
                  <a:lnTo>
                    <a:pt x="6271" y="491"/>
                  </a:lnTo>
                  <a:lnTo>
                    <a:pt x="6266" y="488"/>
                  </a:lnTo>
                  <a:lnTo>
                    <a:pt x="6266" y="482"/>
                  </a:lnTo>
                  <a:lnTo>
                    <a:pt x="6269" y="477"/>
                  </a:lnTo>
                  <a:lnTo>
                    <a:pt x="6273" y="472"/>
                  </a:lnTo>
                  <a:lnTo>
                    <a:pt x="6287" y="468"/>
                  </a:lnTo>
                  <a:lnTo>
                    <a:pt x="6291" y="462"/>
                  </a:lnTo>
                  <a:lnTo>
                    <a:pt x="6291" y="452"/>
                  </a:lnTo>
                  <a:lnTo>
                    <a:pt x="6297" y="447"/>
                  </a:lnTo>
                  <a:lnTo>
                    <a:pt x="6358" y="440"/>
                  </a:lnTo>
                  <a:lnTo>
                    <a:pt x="6375" y="430"/>
                  </a:lnTo>
                  <a:lnTo>
                    <a:pt x="6380" y="430"/>
                  </a:lnTo>
                  <a:lnTo>
                    <a:pt x="6379" y="423"/>
                  </a:lnTo>
                  <a:close/>
                  <a:moveTo>
                    <a:pt x="5463" y="78"/>
                  </a:moveTo>
                  <a:lnTo>
                    <a:pt x="5465" y="82"/>
                  </a:lnTo>
                  <a:lnTo>
                    <a:pt x="5468" y="84"/>
                  </a:lnTo>
                  <a:lnTo>
                    <a:pt x="5488" y="73"/>
                  </a:lnTo>
                  <a:lnTo>
                    <a:pt x="5491" y="74"/>
                  </a:lnTo>
                  <a:lnTo>
                    <a:pt x="5494" y="77"/>
                  </a:lnTo>
                  <a:lnTo>
                    <a:pt x="5505" y="80"/>
                  </a:lnTo>
                  <a:lnTo>
                    <a:pt x="5501" y="86"/>
                  </a:lnTo>
                  <a:lnTo>
                    <a:pt x="5482" y="96"/>
                  </a:lnTo>
                  <a:lnTo>
                    <a:pt x="5488" y="101"/>
                  </a:lnTo>
                  <a:lnTo>
                    <a:pt x="5494" y="108"/>
                  </a:lnTo>
                  <a:lnTo>
                    <a:pt x="5498" y="117"/>
                  </a:lnTo>
                  <a:lnTo>
                    <a:pt x="5501" y="121"/>
                  </a:lnTo>
                  <a:lnTo>
                    <a:pt x="5504" y="123"/>
                  </a:lnTo>
                  <a:lnTo>
                    <a:pt x="5511" y="121"/>
                  </a:lnTo>
                  <a:lnTo>
                    <a:pt x="5522" y="115"/>
                  </a:lnTo>
                  <a:lnTo>
                    <a:pt x="5535" y="116"/>
                  </a:lnTo>
                  <a:lnTo>
                    <a:pt x="5535" y="112"/>
                  </a:lnTo>
                  <a:lnTo>
                    <a:pt x="5534" y="112"/>
                  </a:lnTo>
                  <a:lnTo>
                    <a:pt x="5530" y="110"/>
                  </a:lnTo>
                  <a:lnTo>
                    <a:pt x="5532" y="100"/>
                  </a:lnTo>
                  <a:lnTo>
                    <a:pt x="5535" y="99"/>
                  </a:lnTo>
                  <a:lnTo>
                    <a:pt x="5543" y="106"/>
                  </a:lnTo>
                  <a:lnTo>
                    <a:pt x="5559" y="107"/>
                  </a:lnTo>
                  <a:lnTo>
                    <a:pt x="5563" y="105"/>
                  </a:lnTo>
                  <a:lnTo>
                    <a:pt x="5566" y="100"/>
                  </a:lnTo>
                  <a:lnTo>
                    <a:pt x="5570" y="99"/>
                  </a:lnTo>
                  <a:lnTo>
                    <a:pt x="5586" y="100"/>
                  </a:lnTo>
                  <a:lnTo>
                    <a:pt x="5589" y="98"/>
                  </a:lnTo>
                  <a:lnTo>
                    <a:pt x="5592" y="92"/>
                  </a:lnTo>
                  <a:lnTo>
                    <a:pt x="5593" y="90"/>
                  </a:lnTo>
                  <a:lnTo>
                    <a:pt x="5603" y="86"/>
                  </a:lnTo>
                  <a:lnTo>
                    <a:pt x="5607" y="81"/>
                  </a:lnTo>
                  <a:lnTo>
                    <a:pt x="5609" y="72"/>
                  </a:lnTo>
                  <a:lnTo>
                    <a:pt x="5608" y="64"/>
                  </a:lnTo>
                  <a:lnTo>
                    <a:pt x="5604" y="64"/>
                  </a:lnTo>
                  <a:lnTo>
                    <a:pt x="5596" y="70"/>
                  </a:lnTo>
                  <a:lnTo>
                    <a:pt x="5593" y="71"/>
                  </a:lnTo>
                  <a:lnTo>
                    <a:pt x="5587" y="82"/>
                  </a:lnTo>
                  <a:lnTo>
                    <a:pt x="5583" y="86"/>
                  </a:lnTo>
                  <a:lnTo>
                    <a:pt x="5579" y="88"/>
                  </a:lnTo>
                  <a:lnTo>
                    <a:pt x="5573" y="88"/>
                  </a:lnTo>
                  <a:lnTo>
                    <a:pt x="5568" y="87"/>
                  </a:lnTo>
                  <a:lnTo>
                    <a:pt x="5563" y="82"/>
                  </a:lnTo>
                  <a:lnTo>
                    <a:pt x="5565" y="83"/>
                  </a:lnTo>
                  <a:lnTo>
                    <a:pt x="5569" y="80"/>
                  </a:lnTo>
                  <a:lnTo>
                    <a:pt x="5569" y="70"/>
                  </a:lnTo>
                  <a:lnTo>
                    <a:pt x="5566" y="70"/>
                  </a:lnTo>
                  <a:lnTo>
                    <a:pt x="5563" y="69"/>
                  </a:lnTo>
                  <a:lnTo>
                    <a:pt x="5560" y="66"/>
                  </a:lnTo>
                  <a:lnTo>
                    <a:pt x="5557" y="62"/>
                  </a:lnTo>
                  <a:lnTo>
                    <a:pt x="5564" y="61"/>
                  </a:lnTo>
                  <a:lnTo>
                    <a:pt x="5573" y="55"/>
                  </a:lnTo>
                  <a:lnTo>
                    <a:pt x="5580" y="45"/>
                  </a:lnTo>
                  <a:lnTo>
                    <a:pt x="5579" y="31"/>
                  </a:lnTo>
                  <a:lnTo>
                    <a:pt x="5576" y="27"/>
                  </a:lnTo>
                  <a:lnTo>
                    <a:pt x="5568" y="35"/>
                  </a:lnTo>
                  <a:lnTo>
                    <a:pt x="5565" y="34"/>
                  </a:lnTo>
                  <a:lnTo>
                    <a:pt x="5562" y="36"/>
                  </a:lnTo>
                  <a:lnTo>
                    <a:pt x="5558" y="40"/>
                  </a:lnTo>
                  <a:lnTo>
                    <a:pt x="5556" y="41"/>
                  </a:lnTo>
                  <a:lnTo>
                    <a:pt x="5556" y="32"/>
                  </a:lnTo>
                  <a:lnTo>
                    <a:pt x="5552" y="32"/>
                  </a:lnTo>
                  <a:lnTo>
                    <a:pt x="5544" y="41"/>
                  </a:lnTo>
                  <a:lnTo>
                    <a:pt x="5540" y="37"/>
                  </a:lnTo>
                  <a:lnTo>
                    <a:pt x="5540" y="33"/>
                  </a:lnTo>
                  <a:lnTo>
                    <a:pt x="5543" y="19"/>
                  </a:lnTo>
                  <a:lnTo>
                    <a:pt x="5544" y="12"/>
                  </a:lnTo>
                  <a:lnTo>
                    <a:pt x="5524" y="17"/>
                  </a:lnTo>
                  <a:lnTo>
                    <a:pt x="5524" y="9"/>
                  </a:lnTo>
                  <a:lnTo>
                    <a:pt x="5522" y="7"/>
                  </a:lnTo>
                  <a:lnTo>
                    <a:pt x="5520" y="7"/>
                  </a:lnTo>
                  <a:lnTo>
                    <a:pt x="5517" y="10"/>
                  </a:lnTo>
                  <a:lnTo>
                    <a:pt x="5515" y="14"/>
                  </a:lnTo>
                  <a:lnTo>
                    <a:pt x="5512" y="17"/>
                  </a:lnTo>
                  <a:lnTo>
                    <a:pt x="5506" y="13"/>
                  </a:lnTo>
                  <a:lnTo>
                    <a:pt x="5504" y="19"/>
                  </a:lnTo>
                  <a:lnTo>
                    <a:pt x="5524" y="42"/>
                  </a:lnTo>
                  <a:lnTo>
                    <a:pt x="5527" y="47"/>
                  </a:lnTo>
                  <a:lnTo>
                    <a:pt x="5529" y="53"/>
                  </a:lnTo>
                  <a:lnTo>
                    <a:pt x="5530" y="62"/>
                  </a:lnTo>
                  <a:lnTo>
                    <a:pt x="5529" y="58"/>
                  </a:lnTo>
                  <a:lnTo>
                    <a:pt x="5517" y="49"/>
                  </a:lnTo>
                  <a:lnTo>
                    <a:pt x="5510" y="50"/>
                  </a:lnTo>
                  <a:lnTo>
                    <a:pt x="5507" y="48"/>
                  </a:lnTo>
                  <a:lnTo>
                    <a:pt x="5505" y="44"/>
                  </a:lnTo>
                  <a:lnTo>
                    <a:pt x="5504" y="43"/>
                  </a:lnTo>
                  <a:lnTo>
                    <a:pt x="5500" y="42"/>
                  </a:lnTo>
                  <a:lnTo>
                    <a:pt x="5494" y="38"/>
                  </a:lnTo>
                  <a:lnTo>
                    <a:pt x="5491" y="38"/>
                  </a:lnTo>
                  <a:lnTo>
                    <a:pt x="5489" y="42"/>
                  </a:lnTo>
                  <a:lnTo>
                    <a:pt x="5490" y="44"/>
                  </a:lnTo>
                  <a:lnTo>
                    <a:pt x="5491" y="48"/>
                  </a:lnTo>
                  <a:lnTo>
                    <a:pt x="5492" y="50"/>
                  </a:lnTo>
                  <a:lnTo>
                    <a:pt x="5489" y="53"/>
                  </a:lnTo>
                  <a:lnTo>
                    <a:pt x="5486" y="51"/>
                  </a:lnTo>
                  <a:lnTo>
                    <a:pt x="5482" y="48"/>
                  </a:lnTo>
                  <a:lnTo>
                    <a:pt x="5479" y="46"/>
                  </a:lnTo>
                  <a:lnTo>
                    <a:pt x="5472" y="47"/>
                  </a:lnTo>
                  <a:lnTo>
                    <a:pt x="5469" y="49"/>
                  </a:lnTo>
                  <a:lnTo>
                    <a:pt x="5466" y="52"/>
                  </a:lnTo>
                  <a:lnTo>
                    <a:pt x="5471" y="56"/>
                  </a:lnTo>
                  <a:lnTo>
                    <a:pt x="5462" y="66"/>
                  </a:lnTo>
                  <a:lnTo>
                    <a:pt x="5463" y="70"/>
                  </a:lnTo>
                  <a:lnTo>
                    <a:pt x="5462" y="74"/>
                  </a:lnTo>
                  <a:lnTo>
                    <a:pt x="5463" y="78"/>
                  </a:lnTo>
                  <a:close/>
                  <a:moveTo>
                    <a:pt x="180" y="0"/>
                  </a:moveTo>
                  <a:lnTo>
                    <a:pt x="177" y="0"/>
                  </a:lnTo>
                  <a:lnTo>
                    <a:pt x="171" y="2"/>
                  </a:lnTo>
                  <a:lnTo>
                    <a:pt x="158" y="1"/>
                  </a:lnTo>
                  <a:lnTo>
                    <a:pt x="155" y="2"/>
                  </a:lnTo>
                  <a:lnTo>
                    <a:pt x="154" y="4"/>
                  </a:lnTo>
                  <a:lnTo>
                    <a:pt x="150" y="11"/>
                  </a:lnTo>
                  <a:lnTo>
                    <a:pt x="148" y="12"/>
                  </a:lnTo>
                  <a:lnTo>
                    <a:pt x="126" y="16"/>
                  </a:lnTo>
                  <a:lnTo>
                    <a:pt x="118" y="26"/>
                  </a:lnTo>
                  <a:lnTo>
                    <a:pt x="115" y="32"/>
                  </a:lnTo>
                  <a:lnTo>
                    <a:pt x="107" y="52"/>
                  </a:lnTo>
                  <a:lnTo>
                    <a:pt x="106" y="56"/>
                  </a:lnTo>
                  <a:lnTo>
                    <a:pt x="104" y="60"/>
                  </a:lnTo>
                  <a:lnTo>
                    <a:pt x="102" y="62"/>
                  </a:lnTo>
                  <a:lnTo>
                    <a:pt x="97" y="78"/>
                  </a:lnTo>
                  <a:lnTo>
                    <a:pt x="96" y="81"/>
                  </a:lnTo>
                  <a:lnTo>
                    <a:pt x="94" y="82"/>
                  </a:lnTo>
                  <a:lnTo>
                    <a:pt x="91" y="82"/>
                  </a:lnTo>
                  <a:lnTo>
                    <a:pt x="89" y="83"/>
                  </a:lnTo>
                  <a:lnTo>
                    <a:pt x="89" y="86"/>
                  </a:lnTo>
                  <a:lnTo>
                    <a:pt x="88" y="88"/>
                  </a:lnTo>
                  <a:lnTo>
                    <a:pt x="87" y="90"/>
                  </a:lnTo>
                  <a:lnTo>
                    <a:pt x="68" y="95"/>
                  </a:lnTo>
                  <a:lnTo>
                    <a:pt x="62" y="100"/>
                  </a:lnTo>
                  <a:lnTo>
                    <a:pt x="62" y="100"/>
                  </a:lnTo>
                  <a:lnTo>
                    <a:pt x="61" y="102"/>
                  </a:lnTo>
                  <a:lnTo>
                    <a:pt x="61" y="104"/>
                  </a:lnTo>
                  <a:lnTo>
                    <a:pt x="60" y="106"/>
                  </a:lnTo>
                  <a:lnTo>
                    <a:pt x="53" y="114"/>
                  </a:lnTo>
                  <a:lnTo>
                    <a:pt x="46" y="118"/>
                  </a:lnTo>
                  <a:lnTo>
                    <a:pt x="33" y="120"/>
                  </a:lnTo>
                  <a:lnTo>
                    <a:pt x="29" y="123"/>
                  </a:lnTo>
                  <a:lnTo>
                    <a:pt x="28" y="125"/>
                  </a:lnTo>
                  <a:lnTo>
                    <a:pt x="27" y="129"/>
                  </a:lnTo>
                  <a:lnTo>
                    <a:pt x="25" y="131"/>
                  </a:lnTo>
                  <a:lnTo>
                    <a:pt x="20" y="134"/>
                  </a:lnTo>
                  <a:lnTo>
                    <a:pt x="14" y="143"/>
                  </a:lnTo>
                  <a:lnTo>
                    <a:pt x="12" y="145"/>
                  </a:lnTo>
                  <a:lnTo>
                    <a:pt x="10" y="146"/>
                  </a:lnTo>
                  <a:lnTo>
                    <a:pt x="5" y="146"/>
                  </a:lnTo>
                  <a:lnTo>
                    <a:pt x="0" y="149"/>
                  </a:lnTo>
                  <a:lnTo>
                    <a:pt x="2" y="155"/>
                  </a:lnTo>
                  <a:lnTo>
                    <a:pt x="9" y="169"/>
                  </a:lnTo>
                  <a:lnTo>
                    <a:pt x="8" y="171"/>
                  </a:lnTo>
                  <a:lnTo>
                    <a:pt x="7" y="176"/>
                  </a:lnTo>
                  <a:lnTo>
                    <a:pt x="7" y="179"/>
                  </a:lnTo>
                  <a:lnTo>
                    <a:pt x="10" y="181"/>
                  </a:lnTo>
                  <a:lnTo>
                    <a:pt x="16" y="182"/>
                  </a:lnTo>
                  <a:lnTo>
                    <a:pt x="21" y="180"/>
                  </a:lnTo>
                  <a:lnTo>
                    <a:pt x="25" y="176"/>
                  </a:lnTo>
                  <a:lnTo>
                    <a:pt x="26" y="173"/>
                  </a:lnTo>
                  <a:lnTo>
                    <a:pt x="29" y="166"/>
                  </a:lnTo>
                  <a:lnTo>
                    <a:pt x="30" y="163"/>
                  </a:lnTo>
                  <a:lnTo>
                    <a:pt x="33" y="160"/>
                  </a:lnTo>
                  <a:lnTo>
                    <a:pt x="39" y="157"/>
                  </a:lnTo>
                  <a:lnTo>
                    <a:pt x="41" y="154"/>
                  </a:lnTo>
                  <a:lnTo>
                    <a:pt x="67" y="118"/>
                  </a:lnTo>
                  <a:lnTo>
                    <a:pt x="73" y="115"/>
                  </a:lnTo>
                  <a:lnTo>
                    <a:pt x="80" y="108"/>
                  </a:lnTo>
                  <a:lnTo>
                    <a:pt x="99" y="100"/>
                  </a:lnTo>
                  <a:lnTo>
                    <a:pt x="103" y="100"/>
                  </a:lnTo>
                  <a:lnTo>
                    <a:pt x="111" y="105"/>
                  </a:lnTo>
                  <a:lnTo>
                    <a:pt x="114" y="106"/>
                  </a:lnTo>
                  <a:lnTo>
                    <a:pt x="177" y="72"/>
                  </a:lnTo>
                  <a:lnTo>
                    <a:pt x="180" y="66"/>
                  </a:lnTo>
                  <a:lnTo>
                    <a:pt x="180" y="57"/>
                  </a:lnTo>
                  <a:lnTo>
                    <a:pt x="177" y="46"/>
                  </a:lnTo>
                  <a:lnTo>
                    <a:pt x="176" y="37"/>
                  </a:lnTo>
                  <a:lnTo>
                    <a:pt x="180" y="32"/>
                  </a:lnTo>
                  <a:lnTo>
                    <a:pt x="184" y="29"/>
                  </a:lnTo>
                  <a:lnTo>
                    <a:pt x="188" y="21"/>
                  </a:lnTo>
                  <a:lnTo>
                    <a:pt x="188" y="11"/>
                  </a:lnTo>
                  <a:lnTo>
                    <a:pt x="184" y="2"/>
                  </a:lnTo>
                  <a:lnTo>
                    <a:pt x="180" y="0"/>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00" name="Freeform 10">
              <a:extLst>
                <a:ext uri="{FF2B5EF4-FFF2-40B4-BE49-F238E27FC236}">
                  <a16:creationId xmlns:a16="http://schemas.microsoft.com/office/drawing/2014/main" id="{099C492C-1E4A-45A4-8159-7EE671EAF57F}"/>
                </a:ext>
              </a:extLst>
            </p:cNvPr>
            <p:cNvSpPr>
              <a:spLocks noEditPoints="1"/>
            </p:cNvSpPr>
            <p:nvPr/>
          </p:nvSpPr>
          <p:spPr bwMode="gray">
            <a:xfrm>
              <a:off x="9147153" y="771938"/>
              <a:ext cx="1291388" cy="2957975"/>
            </a:xfrm>
            <a:custGeom>
              <a:avLst/>
              <a:gdLst>
                <a:gd name="T0" fmla="*/ 842 w 2072"/>
                <a:gd name="T1" fmla="*/ 4497 h 4746"/>
                <a:gd name="T2" fmla="*/ 942 w 2072"/>
                <a:gd name="T3" fmla="*/ 4196 h 4746"/>
                <a:gd name="T4" fmla="*/ 1122 w 2072"/>
                <a:gd name="T5" fmla="*/ 4162 h 4746"/>
                <a:gd name="T6" fmla="*/ 1226 w 2072"/>
                <a:gd name="T7" fmla="*/ 4164 h 4746"/>
                <a:gd name="T8" fmla="*/ 1278 w 2072"/>
                <a:gd name="T9" fmla="*/ 3984 h 4746"/>
                <a:gd name="T10" fmla="*/ 79 w 2072"/>
                <a:gd name="T11" fmla="*/ 3997 h 4746"/>
                <a:gd name="T12" fmla="*/ 1287 w 2072"/>
                <a:gd name="T13" fmla="*/ 3873 h 4746"/>
                <a:gd name="T14" fmla="*/ 1118 w 2072"/>
                <a:gd name="T15" fmla="*/ 3684 h 4746"/>
                <a:gd name="T16" fmla="*/ 1047 w 2072"/>
                <a:gd name="T17" fmla="*/ 3690 h 4746"/>
                <a:gd name="T18" fmla="*/ 1223 w 2072"/>
                <a:gd name="T19" fmla="*/ 3587 h 4746"/>
                <a:gd name="T20" fmla="*/ 1229 w 2072"/>
                <a:gd name="T21" fmla="*/ 3556 h 4746"/>
                <a:gd name="T22" fmla="*/ 1177 w 2072"/>
                <a:gd name="T23" fmla="*/ 3536 h 4746"/>
                <a:gd name="T24" fmla="*/ 1239 w 2072"/>
                <a:gd name="T25" fmla="*/ 3431 h 4746"/>
                <a:gd name="T26" fmla="*/ 1161 w 2072"/>
                <a:gd name="T27" fmla="*/ 3214 h 4746"/>
                <a:gd name="T28" fmla="*/ 1557 w 2072"/>
                <a:gd name="T29" fmla="*/ 2097 h 4746"/>
                <a:gd name="T30" fmla="*/ 1786 w 2072"/>
                <a:gd name="T31" fmla="*/ 1456 h 4746"/>
                <a:gd name="T32" fmla="*/ 2009 w 2072"/>
                <a:gd name="T33" fmla="*/ 1360 h 4746"/>
                <a:gd name="T34" fmla="*/ 2012 w 2072"/>
                <a:gd name="T35" fmla="*/ 1057 h 4746"/>
                <a:gd name="T36" fmla="*/ 1972 w 2072"/>
                <a:gd name="T37" fmla="*/ 626 h 4746"/>
                <a:gd name="T38" fmla="*/ 1733 w 2072"/>
                <a:gd name="T39" fmla="*/ 231 h 4746"/>
                <a:gd name="T40" fmla="*/ 970 w 2072"/>
                <a:gd name="T41" fmla="*/ 432 h 4746"/>
                <a:gd name="T42" fmla="*/ 174 w 2072"/>
                <a:gd name="T43" fmla="*/ 2207 h 4746"/>
                <a:gd name="T44" fmla="*/ 124 w 2072"/>
                <a:gd name="T45" fmla="*/ 3398 h 4746"/>
                <a:gd name="T46" fmla="*/ 20 w 2072"/>
                <a:gd name="T47" fmla="*/ 3735 h 4746"/>
                <a:gd name="T48" fmla="*/ 47 w 2072"/>
                <a:gd name="T49" fmla="*/ 3863 h 4746"/>
                <a:gd name="T50" fmla="*/ 123 w 2072"/>
                <a:gd name="T51" fmla="*/ 3918 h 4746"/>
                <a:gd name="T52" fmla="*/ 127 w 2072"/>
                <a:gd name="T53" fmla="*/ 4122 h 4746"/>
                <a:gd name="T54" fmla="*/ 173 w 2072"/>
                <a:gd name="T55" fmla="*/ 4221 h 4746"/>
                <a:gd name="T56" fmla="*/ 268 w 2072"/>
                <a:gd name="T57" fmla="*/ 4497 h 4746"/>
                <a:gd name="T58" fmla="*/ 285 w 2072"/>
                <a:gd name="T59" fmla="*/ 4726 h 4746"/>
                <a:gd name="T60" fmla="*/ 496 w 2072"/>
                <a:gd name="T61" fmla="*/ 4601 h 4746"/>
                <a:gd name="T62" fmla="*/ 631 w 2072"/>
                <a:gd name="T63" fmla="*/ 4515 h 4746"/>
                <a:gd name="T64" fmla="*/ 804 w 2072"/>
                <a:gd name="T65" fmla="*/ 4411 h 4746"/>
                <a:gd name="T66" fmla="*/ 860 w 2072"/>
                <a:gd name="T67" fmla="*/ 4256 h 4746"/>
                <a:gd name="T68" fmla="*/ 876 w 2072"/>
                <a:gd name="T69" fmla="*/ 4091 h 4746"/>
                <a:gd name="T70" fmla="*/ 873 w 2072"/>
                <a:gd name="T71" fmla="*/ 4004 h 4746"/>
                <a:gd name="T72" fmla="*/ 907 w 2072"/>
                <a:gd name="T73" fmla="*/ 3926 h 4746"/>
                <a:gd name="T74" fmla="*/ 906 w 2072"/>
                <a:gd name="T75" fmla="*/ 3814 h 4746"/>
                <a:gd name="T76" fmla="*/ 948 w 2072"/>
                <a:gd name="T77" fmla="*/ 3757 h 4746"/>
                <a:gd name="T78" fmla="*/ 1044 w 2072"/>
                <a:gd name="T79" fmla="*/ 3640 h 4746"/>
                <a:gd name="T80" fmla="*/ 1118 w 2072"/>
                <a:gd name="T81" fmla="*/ 3647 h 4746"/>
                <a:gd name="T82" fmla="*/ 1181 w 2072"/>
                <a:gd name="T83" fmla="*/ 3582 h 4746"/>
                <a:gd name="T84" fmla="*/ 1147 w 2072"/>
                <a:gd name="T85" fmla="*/ 3550 h 4746"/>
                <a:gd name="T86" fmla="*/ 1258 w 2072"/>
                <a:gd name="T87" fmla="*/ 3416 h 4746"/>
                <a:gd name="T88" fmla="*/ 1183 w 2072"/>
                <a:gd name="T89" fmla="*/ 3292 h 4746"/>
                <a:gd name="T90" fmla="*/ 986 w 2072"/>
                <a:gd name="T91" fmla="*/ 3163 h 4746"/>
                <a:gd name="T92" fmla="*/ 963 w 2072"/>
                <a:gd name="T93" fmla="*/ 2991 h 4746"/>
                <a:gd name="T94" fmla="*/ 958 w 2072"/>
                <a:gd name="T95" fmla="*/ 2846 h 4746"/>
                <a:gd name="T96" fmla="*/ 990 w 2072"/>
                <a:gd name="T97" fmla="*/ 2759 h 4746"/>
                <a:gd name="T98" fmla="*/ 990 w 2072"/>
                <a:gd name="T99" fmla="*/ 2573 h 4746"/>
                <a:gd name="T100" fmla="*/ 1088 w 2072"/>
                <a:gd name="T101" fmla="*/ 2453 h 4746"/>
                <a:gd name="T102" fmla="*/ 1123 w 2072"/>
                <a:gd name="T103" fmla="*/ 2440 h 4746"/>
                <a:gd name="T104" fmla="*/ 1152 w 2072"/>
                <a:gd name="T105" fmla="*/ 2359 h 4746"/>
                <a:gd name="T106" fmla="*/ 1248 w 2072"/>
                <a:gd name="T107" fmla="*/ 2291 h 4746"/>
                <a:gd name="T108" fmla="*/ 1349 w 2072"/>
                <a:gd name="T109" fmla="*/ 2190 h 4746"/>
                <a:gd name="T110" fmla="*/ 1477 w 2072"/>
                <a:gd name="T111" fmla="*/ 2102 h 4746"/>
                <a:gd name="T112" fmla="*/ 1620 w 2072"/>
                <a:gd name="T113" fmla="*/ 1892 h 4746"/>
                <a:gd name="T114" fmla="*/ 1627 w 2072"/>
                <a:gd name="T115" fmla="*/ 1799 h 4746"/>
                <a:gd name="T116" fmla="*/ 1606 w 2072"/>
                <a:gd name="T117" fmla="*/ 1678 h 4746"/>
                <a:gd name="T118" fmla="*/ 1663 w 2072"/>
                <a:gd name="T119" fmla="*/ 1522 h 4746"/>
                <a:gd name="T120" fmla="*/ 1724 w 2072"/>
                <a:gd name="T121" fmla="*/ 1404 h 4746"/>
                <a:gd name="T122" fmla="*/ 1768 w 2072"/>
                <a:gd name="T123" fmla="*/ 1354 h 4746"/>
                <a:gd name="T124" fmla="*/ 1930 w 2072"/>
                <a:gd name="T125" fmla="*/ 1338 h 4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72" h="4746">
                  <a:moveTo>
                    <a:pt x="730" y="4529"/>
                  </a:moveTo>
                  <a:lnTo>
                    <a:pt x="728" y="4528"/>
                  </a:lnTo>
                  <a:lnTo>
                    <a:pt x="726" y="4529"/>
                  </a:lnTo>
                  <a:lnTo>
                    <a:pt x="725" y="4528"/>
                  </a:lnTo>
                  <a:lnTo>
                    <a:pt x="724" y="4527"/>
                  </a:lnTo>
                  <a:lnTo>
                    <a:pt x="722" y="4528"/>
                  </a:lnTo>
                  <a:lnTo>
                    <a:pt x="720" y="4532"/>
                  </a:lnTo>
                  <a:lnTo>
                    <a:pt x="721" y="4536"/>
                  </a:lnTo>
                  <a:lnTo>
                    <a:pt x="726" y="4540"/>
                  </a:lnTo>
                  <a:lnTo>
                    <a:pt x="727" y="4541"/>
                  </a:lnTo>
                  <a:lnTo>
                    <a:pt x="728" y="4541"/>
                  </a:lnTo>
                  <a:lnTo>
                    <a:pt x="729" y="4540"/>
                  </a:lnTo>
                  <a:lnTo>
                    <a:pt x="729" y="4539"/>
                  </a:lnTo>
                  <a:lnTo>
                    <a:pt x="729" y="4536"/>
                  </a:lnTo>
                  <a:lnTo>
                    <a:pt x="729" y="4533"/>
                  </a:lnTo>
                  <a:lnTo>
                    <a:pt x="729" y="4532"/>
                  </a:lnTo>
                  <a:lnTo>
                    <a:pt x="731" y="4531"/>
                  </a:lnTo>
                  <a:lnTo>
                    <a:pt x="733" y="4530"/>
                  </a:lnTo>
                  <a:lnTo>
                    <a:pt x="733" y="4528"/>
                  </a:lnTo>
                  <a:lnTo>
                    <a:pt x="731" y="4529"/>
                  </a:lnTo>
                  <a:lnTo>
                    <a:pt x="730" y="4529"/>
                  </a:lnTo>
                  <a:close/>
                  <a:moveTo>
                    <a:pt x="954" y="4178"/>
                  </a:moveTo>
                  <a:lnTo>
                    <a:pt x="954" y="4177"/>
                  </a:lnTo>
                  <a:lnTo>
                    <a:pt x="953" y="4175"/>
                  </a:lnTo>
                  <a:lnTo>
                    <a:pt x="952" y="4174"/>
                  </a:lnTo>
                  <a:lnTo>
                    <a:pt x="952" y="4174"/>
                  </a:lnTo>
                  <a:lnTo>
                    <a:pt x="952" y="4173"/>
                  </a:lnTo>
                  <a:lnTo>
                    <a:pt x="952" y="4172"/>
                  </a:lnTo>
                  <a:lnTo>
                    <a:pt x="950" y="4172"/>
                  </a:lnTo>
                  <a:lnTo>
                    <a:pt x="950" y="4174"/>
                  </a:lnTo>
                  <a:lnTo>
                    <a:pt x="948" y="4175"/>
                  </a:lnTo>
                  <a:lnTo>
                    <a:pt x="947" y="4174"/>
                  </a:lnTo>
                  <a:lnTo>
                    <a:pt x="945" y="4170"/>
                  </a:lnTo>
                  <a:lnTo>
                    <a:pt x="944" y="4170"/>
                  </a:lnTo>
                  <a:lnTo>
                    <a:pt x="941" y="4172"/>
                  </a:lnTo>
                  <a:lnTo>
                    <a:pt x="938" y="4174"/>
                  </a:lnTo>
                  <a:lnTo>
                    <a:pt x="933" y="4182"/>
                  </a:lnTo>
                  <a:lnTo>
                    <a:pt x="930" y="4186"/>
                  </a:lnTo>
                  <a:lnTo>
                    <a:pt x="929" y="4191"/>
                  </a:lnTo>
                  <a:lnTo>
                    <a:pt x="929" y="4208"/>
                  </a:lnTo>
                  <a:lnTo>
                    <a:pt x="928" y="4210"/>
                  </a:lnTo>
                  <a:lnTo>
                    <a:pt x="926" y="4213"/>
                  </a:lnTo>
                  <a:lnTo>
                    <a:pt x="922" y="4214"/>
                  </a:lnTo>
                  <a:lnTo>
                    <a:pt x="921" y="4216"/>
                  </a:lnTo>
                  <a:lnTo>
                    <a:pt x="920" y="4219"/>
                  </a:lnTo>
                  <a:lnTo>
                    <a:pt x="917" y="4240"/>
                  </a:lnTo>
                  <a:lnTo>
                    <a:pt x="911" y="4257"/>
                  </a:lnTo>
                  <a:lnTo>
                    <a:pt x="902" y="4274"/>
                  </a:lnTo>
                  <a:lnTo>
                    <a:pt x="895" y="4292"/>
                  </a:lnTo>
                  <a:lnTo>
                    <a:pt x="892" y="4303"/>
                  </a:lnTo>
                  <a:lnTo>
                    <a:pt x="890" y="4306"/>
                  </a:lnTo>
                  <a:lnTo>
                    <a:pt x="886" y="4307"/>
                  </a:lnTo>
                  <a:lnTo>
                    <a:pt x="881" y="4308"/>
                  </a:lnTo>
                  <a:lnTo>
                    <a:pt x="878" y="4309"/>
                  </a:lnTo>
                  <a:lnTo>
                    <a:pt x="875" y="4312"/>
                  </a:lnTo>
                  <a:lnTo>
                    <a:pt x="848" y="4380"/>
                  </a:lnTo>
                  <a:lnTo>
                    <a:pt x="847" y="4386"/>
                  </a:lnTo>
                  <a:lnTo>
                    <a:pt x="847" y="4388"/>
                  </a:lnTo>
                  <a:lnTo>
                    <a:pt x="843" y="4395"/>
                  </a:lnTo>
                  <a:lnTo>
                    <a:pt x="840" y="4403"/>
                  </a:lnTo>
                  <a:lnTo>
                    <a:pt x="840" y="4406"/>
                  </a:lnTo>
                  <a:lnTo>
                    <a:pt x="838" y="4431"/>
                  </a:lnTo>
                  <a:lnTo>
                    <a:pt x="839" y="4437"/>
                  </a:lnTo>
                  <a:lnTo>
                    <a:pt x="841" y="4442"/>
                  </a:lnTo>
                  <a:lnTo>
                    <a:pt x="842" y="4447"/>
                  </a:lnTo>
                  <a:lnTo>
                    <a:pt x="841" y="4452"/>
                  </a:lnTo>
                  <a:lnTo>
                    <a:pt x="841" y="4464"/>
                  </a:lnTo>
                  <a:lnTo>
                    <a:pt x="841" y="4471"/>
                  </a:lnTo>
                  <a:lnTo>
                    <a:pt x="840" y="4477"/>
                  </a:lnTo>
                  <a:lnTo>
                    <a:pt x="842" y="4485"/>
                  </a:lnTo>
                  <a:lnTo>
                    <a:pt x="842" y="4487"/>
                  </a:lnTo>
                  <a:lnTo>
                    <a:pt x="842" y="4494"/>
                  </a:lnTo>
                  <a:lnTo>
                    <a:pt x="842" y="4497"/>
                  </a:lnTo>
                  <a:lnTo>
                    <a:pt x="844" y="4500"/>
                  </a:lnTo>
                  <a:lnTo>
                    <a:pt x="848" y="4500"/>
                  </a:lnTo>
                  <a:lnTo>
                    <a:pt x="851" y="4497"/>
                  </a:lnTo>
                  <a:lnTo>
                    <a:pt x="854" y="4494"/>
                  </a:lnTo>
                  <a:lnTo>
                    <a:pt x="862" y="4475"/>
                  </a:lnTo>
                  <a:lnTo>
                    <a:pt x="863" y="4470"/>
                  </a:lnTo>
                  <a:lnTo>
                    <a:pt x="864" y="4467"/>
                  </a:lnTo>
                  <a:lnTo>
                    <a:pt x="866" y="4463"/>
                  </a:lnTo>
                  <a:lnTo>
                    <a:pt x="867" y="4460"/>
                  </a:lnTo>
                  <a:lnTo>
                    <a:pt x="867" y="4454"/>
                  </a:lnTo>
                  <a:lnTo>
                    <a:pt x="867" y="4452"/>
                  </a:lnTo>
                  <a:lnTo>
                    <a:pt x="868" y="4446"/>
                  </a:lnTo>
                  <a:lnTo>
                    <a:pt x="869" y="4440"/>
                  </a:lnTo>
                  <a:lnTo>
                    <a:pt x="872" y="4434"/>
                  </a:lnTo>
                  <a:lnTo>
                    <a:pt x="874" y="4429"/>
                  </a:lnTo>
                  <a:lnTo>
                    <a:pt x="875" y="4426"/>
                  </a:lnTo>
                  <a:lnTo>
                    <a:pt x="875" y="4423"/>
                  </a:lnTo>
                  <a:lnTo>
                    <a:pt x="876" y="4418"/>
                  </a:lnTo>
                  <a:lnTo>
                    <a:pt x="876" y="4417"/>
                  </a:lnTo>
                  <a:lnTo>
                    <a:pt x="877" y="4414"/>
                  </a:lnTo>
                  <a:lnTo>
                    <a:pt x="878" y="4412"/>
                  </a:lnTo>
                  <a:lnTo>
                    <a:pt x="878" y="4411"/>
                  </a:lnTo>
                  <a:lnTo>
                    <a:pt x="877" y="4410"/>
                  </a:lnTo>
                  <a:lnTo>
                    <a:pt x="877" y="4408"/>
                  </a:lnTo>
                  <a:lnTo>
                    <a:pt x="877" y="4402"/>
                  </a:lnTo>
                  <a:lnTo>
                    <a:pt x="878" y="4399"/>
                  </a:lnTo>
                  <a:lnTo>
                    <a:pt x="881" y="4398"/>
                  </a:lnTo>
                  <a:lnTo>
                    <a:pt x="882" y="4398"/>
                  </a:lnTo>
                  <a:lnTo>
                    <a:pt x="883" y="4395"/>
                  </a:lnTo>
                  <a:lnTo>
                    <a:pt x="885" y="4392"/>
                  </a:lnTo>
                  <a:lnTo>
                    <a:pt x="885" y="4390"/>
                  </a:lnTo>
                  <a:lnTo>
                    <a:pt x="886" y="4383"/>
                  </a:lnTo>
                  <a:lnTo>
                    <a:pt x="887" y="4378"/>
                  </a:lnTo>
                  <a:lnTo>
                    <a:pt x="896" y="4348"/>
                  </a:lnTo>
                  <a:lnTo>
                    <a:pt x="897" y="4342"/>
                  </a:lnTo>
                  <a:lnTo>
                    <a:pt x="897" y="4339"/>
                  </a:lnTo>
                  <a:lnTo>
                    <a:pt x="898" y="4336"/>
                  </a:lnTo>
                  <a:lnTo>
                    <a:pt x="898" y="4334"/>
                  </a:lnTo>
                  <a:lnTo>
                    <a:pt x="899" y="4331"/>
                  </a:lnTo>
                  <a:lnTo>
                    <a:pt x="901" y="4330"/>
                  </a:lnTo>
                  <a:lnTo>
                    <a:pt x="908" y="4325"/>
                  </a:lnTo>
                  <a:lnTo>
                    <a:pt x="908" y="4325"/>
                  </a:lnTo>
                  <a:lnTo>
                    <a:pt x="910" y="4320"/>
                  </a:lnTo>
                  <a:lnTo>
                    <a:pt x="913" y="4305"/>
                  </a:lnTo>
                  <a:lnTo>
                    <a:pt x="914" y="4301"/>
                  </a:lnTo>
                  <a:lnTo>
                    <a:pt x="916" y="4299"/>
                  </a:lnTo>
                  <a:lnTo>
                    <a:pt x="917" y="4294"/>
                  </a:lnTo>
                  <a:lnTo>
                    <a:pt x="916" y="4287"/>
                  </a:lnTo>
                  <a:lnTo>
                    <a:pt x="915" y="4284"/>
                  </a:lnTo>
                  <a:lnTo>
                    <a:pt x="919" y="4276"/>
                  </a:lnTo>
                  <a:lnTo>
                    <a:pt x="921" y="4273"/>
                  </a:lnTo>
                  <a:lnTo>
                    <a:pt x="925" y="4270"/>
                  </a:lnTo>
                  <a:lnTo>
                    <a:pt x="923" y="4269"/>
                  </a:lnTo>
                  <a:lnTo>
                    <a:pt x="921" y="4268"/>
                  </a:lnTo>
                  <a:lnTo>
                    <a:pt x="920" y="4266"/>
                  </a:lnTo>
                  <a:lnTo>
                    <a:pt x="919" y="4264"/>
                  </a:lnTo>
                  <a:lnTo>
                    <a:pt x="922" y="4261"/>
                  </a:lnTo>
                  <a:lnTo>
                    <a:pt x="926" y="4260"/>
                  </a:lnTo>
                  <a:lnTo>
                    <a:pt x="929" y="4257"/>
                  </a:lnTo>
                  <a:lnTo>
                    <a:pt x="930" y="4249"/>
                  </a:lnTo>
                  <a:lnTo>
                    <a:pt x="931" y="4244"/>
                  </a:lnTo>
                  <a:lnTo>
                    <a:pt x="938" y="4232"/>
                  </a:lnTo>
                  <a:lnTo>
                    <a:pt x="938" y="4229"/>
                  </a:lnTo>
                  <a:lnTo>
                    <a:pt x="939" y="4225"/>
                  </a:lnTo>
                  <a:lnTo>
                    <a:pt x="940" y="4222"/>
                  </a:lnTo>
                  <a:lnTo>
                    <a:pt x="940" y="4221"/>
                  </a:lnTo>
                  <a:lnTo>
                    <a:pt x="942" y="4220"/>
                  </a:lnTo>
                  <a:lnTo>
                    <a:pt x="943" y="4220"/>
                  </a:lnTo>
                  <a:lnTo>
                    <a:pt x="943" y="4219"/>
                  </a:lnTo>
                  <a:lnTo>
                    <a:pt x="943" y="4216"/>
                  </a:lnTo>
                  <a:lnTo>
                    <a:pt x="945" y="4209"/>
                  </a:lnTo>
                  <a:lnTo>
                    <a:pt x="945" y="4204"/>
                  </a:lnTo>
                  <a:lnTo>
                    <a:pt x="942" y="4196"/>
                  </a:lnTo>
                  <a:lnTo>
                    <a:pt x="947" y="4186"/>
                  </a:lnTo>
                  <a:lnTo>
                    <a:pt x="950" y="4182"/>
                  </a:lnTo>
                  <a:lnTo>
                    <a:pt x="955" y="4182"/>
                  </a:lnTo>
                  <a:lnTo>
                    <a:pt x="955" y="4180"/>
                  </a:lnTo>
                  <a:lnTo>
                    <a:pt x="954" y="4178"/>
                  </a:lnTo>
                  <a:close/>
                  <a:moveTo>
                    <a:pt x="1261" y="4021"/>
                  </a:moveTo>
                  <a:lnTo>
                    <a:pt x="1259" y="4019"/>
                  </a:lnTo>
                  <a:lnTo>
                    <a:pt x="1257" y="4018"/>
                  </a:lnTo>
                  <a:lnTo>
                    <a:pt x="1255" y="4015"/>
                  </a:lnTo>
                  <a:lnTo>
                    <a:pt x="1254" y="4012"/>
                  </a:lnTo>
                  <a:lnTo>
                    <a:pt x="1253" y="4009"/>
                  </a:lnTo>
                  <a:lnTo>
                    <a:pt x="1254" y="4007"/>
                  </a:lnTo>
                  <a:lnTo>
                    <a:pt x="1252" y="4006"/>
                  </a:lnTo>
                  <a:lnTo>
                    <a:pt x="1249" y="4006"/>
                  </a:lnTo>
                  <a:lnTo>
                    <a:pt x="1246" y="4007"/>
                  </a:lnTo>
                  <a:lnTo>
                    <a:pt x="1243" y="4009"/>
                  </a:lnTo>
                  <a:lnTo>
                    <a:pt x="1243" y="4013"/>
                  </a:lnTo>
                  <a:lnTo>
                    <a:pt x="1239" y="4013"/>
                  </a:lnTo>
                  <a:lnTo>
                    <a:pt x="1236" y="4011"/>
                  </a:lnTo>
                  <a:lnTo>
                    <a:pt x="1239" y="4005"/>
                  </a:lnTo>
                  <a:lnTo>
                    <a:pt x="1239" y="4003"/>
                  </a:lnTo>
                  <a:lnTo>
                    <a:pt x="1229" y="4005"/>
                  </a:lnTo>
                  <a:lnTo>
                    <a:pt x="1227" y="4006"/>
                  </a:lnTo>
                  <a:lnTo>
                    <a:pt x="1227" y="4008"/>
                  </a:lnTo>
                  <a:lnTo>
                    <a:pt x="1228" y="4011"/>
                  </a:lnTo>
                  <a:lnTo>
                    <a:pt x="1229" y="4012"/>
                  </a:lnTo>
                  <a:lnTo>
                    <a:pt x="1228" y="4017"/>
                  </a:lnTo>
                  <a:lnTo>
                    <a:pt x="1225" y="4021"/>
                  </a:lnTo>
                  <a:lnTo>
                    <a:pt x="1223" y="4024"/>
                  </a:lnTo>
                  <a:lnTo>
                    <a:pt x="1221" y="4032"/>
                  </a:lnTo>
                  <a:lnTo>
                    <a:pt x="1218" y="4028"/>
                  </a:lnTo>
                  <a:lnTo>
                    <a:pt x="1217" y="4025"/>
                  </a:lnTo>
                  <a:lnTo>
                    <a:pt x="1217" y="4022"/>
                  </a:lnTo>
                  <a:lnTo>
                    <a:pt x="1217" y="4022"/>
                  </a:lnTo>
                  <a:lnTo>
                    <a:pt x="1216" y="4021"/>
                  </a:lnTo>
                  <a:lnTo>
                    <a:pt x="1215" y="4020"/>
                  </a:lnTo>
                  <a:lnTo>
                    <a:pt x="1215" y="4018"/>
                  </a:lnTo>
                  <a:lnTo>
                    <a:pt x="1215" y="4017"/>
                  </a:lnTo>
                  <a:lnTo>
                    <a:pt x="1216" y="4016"/>
                  </a:lnTo>
                  <a:lnTo>
                    <a:pt x="1216" y="4015"/>
                  </a:lnTo>
                  <a:lnTo>
                    <a:pt x="1216" y="4013"/>
                  </a:lnTo>
                  <a:lnTo>
                    <a:pt x="1214" y="4008"/>
                  </a:lnTo>
                  <a:lnTo>
                    <a:pt x="1212" y="4004"/>
                  </a:lnTo>
                  <a:lnTo>
                    <a:pt x="1209" y="4003"/>
                  </a:lnTo>
                  <a:lnTo>
                    <a:pt x="1205" y="4003"/>
                  </a:lnTo>
                  <a:lnTo>
                    <a:pt x="1201" y="4006"/>
                  </a:lnTo>
                  <a:lnTo>
                    <a:pt x="1198" y="4009"/>
                  </a:lnTo>
                  <a:lnTo>
                    <a:pt x="1195" y="4014"/>
                  </a:lnTo>
                  <a:lnTo>
                    <a:pt x="1193" y="4019"/>
                  </a:lnTo>
                  <a:lnTo>
                    <a:pt x="1192" y="4022"/>
                  </a:lnTo>
                  <a:lnTo>
                    <a:pt x="1191" y="4027"/>
                  </a:lnTo>
                  <a:lnTo>
                    <a:pt x="1190" y="4029"/>
                  </a:lnTo>
                  <a:lnTo>
                    <a:pt x="1188" y="4030"/>
                  </a:lnTo>
                  <a:lnTo>
                    <a:pt x="1186" y="4030"/>
                  </a:lnTo>
                  <a:lnTo>
                    <a:pt x="1183" y="4028"/>
                  </a:lnTo>
                  <a:lnTo>
                    <a:pt x="1181" y="4028"/>
                  </a:lnTo>
                  <a:lnTo>
                    <a:pt x="1173" y="4032"/>
                  </a:lnTo>
                  <a:lnTo>
                    <a:pt x="1167" y="4039"/>
                  </a:lnTo>
                  <a:lnTo>
                    <a:pt x="1145" y="4077"/>
                  </a:lnTo>
                  <a:lnTo>
                    <a:pt x="1120" y="4105"/>
                  </a:lnTo>
                  <a:lnTo>
                    <a:pt x="1114" y="4114"/>
                  </a:lnTo>
                  <a:lnTo>
                    <a:pt x="1111" y="4125"/>
                  </a:lnTo>
                  <a:lnTo>
                    <a:pt x="1112" y="4132"/>
                  </a:lnTo>
                  <a:lnTo>
                    <a:pt x="1113" y="4139"/>
                  </a:lnTo>
                  <a:lnTo>
                    <a:pt x="1115" y="4144"/>
                  </a:lnTo>
                  <a:lnTo>
                    <a:pt x="1116" y="4149"/>
                  </a:lnTo>
                  <a:lnTo>
                    <a:pt x="1117" y="4150"/>
                  </a:lnTo>
                  <a:lnTo>
                    <a:pt x="1117" y="4154"/>
                  </a:lnTo>
                  <a:lnTo>
                    <a:pt x="1117" y="4155"/>
                  </a:lnTo>
                  <a:lnTo>
                    <a:pt x="1119" y="4158"/>
                  </a:lnTo>
                  <a:lnTo>
                    <a:pt x="1119" y="4159"/>
                  </a:lnTo>
                  <a:lnTo>
                    <a:pt x="1120" y="4161"/>
                  </a:lnTo>
                  <a:lnTo>
                    <a:pt x="1122" y="4162"/>
                  </a:lnTo>
                  <a:lnTo>
                    <a:pt x="1122" y="4164"/>
                  </a:lnTo>
                  <a:lnTo>
                    <a:pt x="1120" y="4168"/>
                  </a:lnTo>
                  <a:lnTo>
                    <a:pt x="1121" y="4172"/>
                  </a:lnTo>
                  <a:lnTo>
                    <a:pt x="1120" y="4178"/>
                  </a:lnTo>
                  <a:lnTo>
                    <a:pt x="1118" y="4183"/>
                  </a:lnTo>
                  <a:lnTo>
                    <a:pt x="1112" y="4188"/>
                  </a:lnTo>
                  <a:lnTo>
                    <a:pt x="1110" y="4193"/>
                  </a:lnTo>
                  <a:lnTo>
                    <a:pt x="1110" y="4199"/>
                  </a:lnTo>
                  <a:lnTo>
                    <a:pt x="1119" y="4208"/>
                  </a:lnTo>
                  <a:lnTo>
                    <a:pt x="1123" y="4232"/>
                  </a:lnTo>
                  <a:lnTo>
                    <a:pt x="1130" y="4236"/>
                  </a:lnTo>
                  <a:lnTo>
                    <a:pt x="1129" y="4237"/>
                  </a:lnTo>
                  <a:lnTo>
                    <a:pt x="1129" y="4240"/>
                  </a:lnTo>
                  <a:lnTo>
                    <a:pt x="1128" y="4242"/>
                  </a:lnTo>
                  <a:lnTo>
                    <a:pt x="1130" y="4243"/>
                  </a:lnTo>
                  <a:lnTo>
                    <a:pt x="1130" y="4247"/>
                  </a:lnTo>
                  <a:lnTo>
                    <a:pt x="1128" y="4251"/>
                  </a:lnTo>
                  <a:lnTo>
                    <a:pt x="1126" y="4254"/>
                  </a:lnTo>
                  <a:lnTo>
                    <a:pt x="1126" y="4256"/>
                  </a:lnTo>
                  <a:lnTo>
                    <a:pt x="1129" y="4257"/>
                  </a:lnTo>
                  <a:lnTo>
                    <a:pt x="1133" y="4254"/>
                  </a:lnTo>
                  <a:lnTo>
                    <a:pt x="1136" y="4250"/>
                  </a:lnTo>
                  <a:lnTo>
                    <a:pt x="1140" y="4248"/>
                  </a:lnTo>
                  <a:lnTo>
                    <a:pt x="1139" y="4251"/>
                  </a:lnTo>
                  <a:lnTo>
                    <a:pt x="1137" y="4259"/>
                  </a:lnTo>
                  <a:lnTo>
                    <a:pt x="1136" y="4263"/>
                  </a:lnTo>
                  <a:lnTo>
                    <a:pt x="1134" y="4265"/>
                  </a:lnTo>
                  <a:lnTo>
                    <a:pt x="1128" y="4267"/>
                  </a:lnTo>
                  <a:lnTo>
                    <a:pt x="1126" y="4270"/>
                  </a:lnTo>
                  <a:lnTo>
                    <a:pt x="1126" y="4273"/>
                  </a:lnTo>
                  <a:lnTo>
                    <a:pt x="1126" y="4276"/>
                  </a:lnTo>
                  <a:lnTo>
                    <a:pt x="1126" y="4279"/>
                  </a:lnTo>
                  <a:lnTo>
                    <a:pt x="1116" y="4297"/>
                  </a:lnTo>
                  <a:lnTo>
                    <a:pt x="1121" y="4300"/>
                  </a:lnTo>
                  <a:lnTo>
                    <a:pt x="1126" y="4300"/>
                  </a:lnTo>
                  <a:lnTo>
                    <a:pt x="1141" y="4292"/>
                  </a:lnTo>
                  <a:lnTo>
                    <a:pt x="1143" y="4290"/>
                  </a:lnTo>
                  <a:lnTo>
                    <a:pt x="1145" y="4284"/>
                  </a:lnTo>
                  <a:lnTo>
                    <a:pt x="1146" y="4281"/>
                  </a:lnTo>
                  <a:lnTo>
                    <a:pt x="1151" y="4278"/>
                  </a:lnTo>
                  <a:lnTo>
                    <a:pt x="1149" y="4276"/>
                  </a:lnTo>
                  <a:lnTo>
                    <a:pt x="1149" y="4274"/>
                  </a:lnTo>
                  <a:lnTo>
                    <a:pt x="1157" y="4274"/>
                  </a:lnTo>
                  <a:lnTo>
                    <a:pt x="1152" y="4271"/>
                  </a:lnTo>
                  <a:lnTo>
                    <a:pt x="1149" y="4269"/>
                  </a:lnTo>
                  <a:lnTo>
                    <a:pt x="1147" y="4266"/>
                  </a:lnTo>
                  <a:lnTo>
                    <a:pt x="1149" y="4251"/>
                  </a:lnTo>
                  <a:lnTo>
                    <a:pt x="1151" y="4247"/>
                  </a:lnTo>
                  <a:lnTo>
                    <a:pt x="1162" y="4241"/>
                  </a:lnTo>
                  <a:lnTo>
                    <a:pt x="1166" y="4238"/>
                  </a:lnTo>
                  <a:lnTo>
                    <a:pt x="1155" y="4238"/>
                  </a:lnTo>
                  <a:lnTo>
                    <a:pt x="1158" y="4233"/>
                  </a:lnTo>
                  <a:lnTo>
                    <a:pt x="1162" y="4230"/>
                  </a:lnTo>
                  <a:lnTo>
                    <a:pt x="1182" y="4219"/>
                  </a:lnTo>
                  <a:lnTo>
                    <a:pt x="1185" y="4218"/>
                  </a:lnTo>
                  <a:lnTo>
                    <a:pt x="1185" y="4216"/>
                  </a:lnTo>
                  <a:lnTo>
                    <a:pt x="1184" y="4216"/>
                  </a:lnTo>
                  <a:lnTo>
                    <a:pt x="1184" y="4214"/>
                  </a:lnTo>
                  <a:lnTo>
                    <a:pt x="1188" y="4211"/>
                  </a:lnTo>
                  <a:lnTo>
                    <a:pt x="1202" y="4208"/>
                  </a:lnTo>
                  <a:lnTo>
                    <a:pt x="1202" y="4207"/>
                  </a:lnTo>
                  <a:lnTo>
                    <a:pt x="1207" y="4204"/>
                  </a:lnTo>
                  <a:lnTo>
                    <a:pt x="1207" y="4195"/>
                  </a:lnTo>
                  <a:lnTo>
                    <a:pt x="1205" y="4194"/>
                  </a:lnTo>
                  <a:lnTo>
                    <a:pt x="1202" y="4194"/>
                  </a:lnTo>
                  <a:lnTo>
                    <a:pt x="1201" y="4194"/>
                  </a:lnTo>
                  <a:lnTo>
                    <a:pt x="1200" y="4188"/>
                  </a:lnTo>
                  <a:lnTo>
                    <a:pt x="1202" y="4184"/>
                  </a:lnTo>
                  <a:lnTo>
                    <a:pt x="1208" y="4179"/>
                  </a:lnTo>
                  <a:lnTo>
                    <a:pt x="1212" y="4173"/>
                  </a:lnTo>
                  <a:lnTo>
                    <a:pt x="1216" y="4168"/>
                  </a:lnTo>
                  <a:lnTo>
                    <a:pt x="1221" y="4165"/>
                  </a:lnTo>
                  <a:lnTo>
                    <a:pt x="1226" y="4164"/>
                  </a:lnTo>
                  <a:lnTo>
                    <a:pt x="1227" y="4163"/>
                  </a:lnTo>
                  <a:lnTo>
                    <a:pt x="1229" y="4160"/>
                  </a:lnTo>
                  <a:lnTo>
                    <a:pt x="1230" y="4159"/>
                  </a:lnTo>
                  <a:lnTo>
                    <a:pt x="1231" y="4160"/>
                  </a:lnTo>
                  <a:lnTo>
                    <a:pt x="1233" y="4161"/>
                  </a:lnTo>
                  <a:lnTo>
                    <a:pt x="1233" y="4161"/>
                  </a:lnTo>
                  <a:lnTo>
                    <a:pt x="1238" y="4161"/>
                  </a:lnTo>
                  <a:lnTo>
                    <a:pt x="1241" y="4160"/>
                  </a:lnTo>
                  <a:lnTo>
                    <a:pt x="1241" y="4156"/>
                  </a:lnTo>
                  <a:lnTo>
                    <a:pt x="1241" y="4153"/>
                  </a:lnTo>
                  <a:lnTo>
                    <a:pt x="1240" y="4149"/>
                  </a:lnTo>
                  <a:lnTo>
                    <a:pt x="1239" y="4147"/>
                  </a:lnTo>
                  <a:lnTo>
                    <a:pt x="1238" y="4146"/>
                  </a:lnTo>
                  <a:lnTo>
                    <a:pt x="1236" y="4144"/>
                  </a:lnTo>
                  <a:lnTo>
                    <a:pt x="1233" y="4143"/>
                  </a:lnTo>
                  <a:lnTo>
                    <a:pt x="1233" y="4144"/>
                  </a:lnTo>
                  <a:lnTo>
                    <a:pt x="1232" y="4146"/>
                  </a:lnTo>
                  <a:lnTo>
                    <a:pt x="1232" y="4147"/>
                  </a:lnTo>
                  <a:lnTo>
                    <a:pt x="1225" y="4146"/>
                  </a:lnTo>
                  <a:lnTo>
                    <a:pt x="1219" y="4144"/>
                  </a:lnTo>
                  <a:lnTo>
                    <a:pt x="1221" y="4139"/>
                  </a:lnTo>
                  <a:lnTo>
                    <a:pt x="1221" y="4137"/>
                  </a:lnTo>
                  <a:lnTo>
                    <a:pt x="1219" y="4138"/>
                  </a:lnTo>
                  <a:lnTo>
                    <a:pt x="1217" y="4137"/>
                  </a:lnTo>
                  <a:lnTo>
                    <a:pt x="1216" y="4134"/>
                  </a:lnTo>
                  <a:lnTo>
                    <a:pt x="1217" y="4129"/>
                  </a:lnTo>
                  <a:lnTo>
                    <a:pt x="1215" y="4126"/>
                  </a:lnTo>
                  <a:lnTo>
                    <a:pt x="1216" y="4122"/>
                  </a:lnTo>
                  <a:lnTo>
                    <a:pt x="1218" y="4118"/>
                  </a:lnTo>
                  <a:lnTo>
                    <a:pt x="1219" y="4114"/>
                  </a:lnTo>
                  <a:lnTo>
                    <a:pt x="1219" y="4110"/>
                  </a:lnTo>
                  <a:lnTo>
                    <a:pt x="1220" y="4105"/>
                  </a:lnTo>
                  <a:lnTo>
                    <a:pt x="1221" y="4101"/>
                  </a:lnTo>
                  <a:lnTo>
                    <a:pt x="1223" y="4097"/>
                  </a:lnTo>
                  <a:lnTo>
                    <a:pt x="1216" y="4095"/>
                  </a:lnTo>
                  <a:lnTo>
                    <a:pt x="1215" y="4094"/>
                  </a:lnTo>
                  <a:lnTo>
                    <a:pt x="1215" y="4091"/>
                  </a:lnTo>
                  <a:lnTo>
                    <a:pt x="1216" y="4089"/>
                  </a:lnTo>
                  <a:lnTo>
                    <a:pt x="1217" y="4087"/>
                  </a:lnTo>
                  <a:lnTo>
                    <a:pt x="1218" y="4084"/>
                  </a:lnTo>
                  <a:lnTo>
                    <a:pt x="1220" y="4076"/>
                  </a:lnTo>
                  <a:lnTo>
                    <a:pt x="1223" y="4066"/>
                  </a:lnTo>
                  <a:lnTo>
                    <a:pt x="1222" y="4064"/>
                  </a:lnTo>
                  <a:lnTo>
                    <a:pt x="1222" y="4061"/>
                  </a:lnTo>
                  <a:lnTo>
                    <a:pt x="1222" y="4059"/>
                  </a:lnTo>
                  <a:lnTo>
                    <a:pt x="1224" y="4058"/>
                  </a:lnTo>
                  <a:lnTo>
                    <a:pt x="1226" y="4059"/>
                  </a:lnTo>
                  <a:lnTo>
                    <a:pt x="1229" y="4062"/>
                  </a:lnTo>
                  <a:lnTo>
                    <a:pt x="1231" y="4062"/>
                  </a:lnTo>
                  <a:lnTo>
                    <a:pt x="1237" y="4062"/>
                  </a:lnTo>
                  <a:lnTo>
                    <a:pt x="1243" y="4061"/>
                  </a:lnTo>
                  <a:lnTo>
                    <a:pt x="1242" y="4057"/>
                  </a:lnTo>
                  <a:lnTo>
                    <a:pt x="1242" y="4054"/>
                  </a:lnTo>
                  <a:lnTo>
                    <a:pt x="1243" y="4051"/>
                  </a:lnTo>
                  <a:lnTo>
                    <a:pt x="1244" y="4048"/>
                  </a:lnTo>
                  <a:lnTo>
                    <a:pt x="1244" y="4045"/>
                  </a:lnTo>
                  <a:lnTo>
                    <a:pt x="1246" y="4044"/>
                  </a:lnTo>
                  <a:lnTo>
                    <a:pt x="1248" y="4046"/>
                  </a:lnTo>
                  <a:lnTo>
                    <a:pt x="1250" y="4048"/>
                  </a:lnTo>
                  <a:lnTo>
                    <a:pt x="1250" y="4037"/>
                  </a:lnTo>
                  <a:lnTo>
                    <a:pt x="1255" y="4033"/>
                  </a:lnTo>
                  <a:lnTo>
                    <a:pt x="1266" y="4032"/>
                  </a:lnTo>
                  <a:lnTo>
                    <a:pt x="1265" y="4029"/>
                  </a:lnTo>
                  <a:lnTo>
                    <a:pt x="1261" y="4021"/>
                  </a:lnTo>
                  <a:close/>
                  <a:moveTo>
                    <a:pt x="1301" y="3987"/>
                  </a:moveTo>
                  <a:lnTo>
                    <a:pt x="1296" y="3987"/>
                  </a:lnTo>
                  <a:lnTo>
                    <a:pt x="1291" y="3989"/>
                  </a:lnTo>
                  <a:lnTo>
                    <a:pt x="1288" y="3988"/>
                  </a:lnTo>
                  <a:lnTo>
                    <a:pt x="1288" y="3983"/>
                  </a:lnTo>
                  <a:lnTo>
                    <a:pt x="1285" y="3985"/>
                  </a:lnTo>
                  <a:lnTo>
                    <a:pt x="1282" y="3985"/>
                  </a:lnTo>
                  <a:lnTo>
                    <a:pt x="1280" y="3984"/>
                  </a:lnTo>
                  <a:lnTo>
                    <a:pt x="1278" y="3984"/>
                  </a:lnTo>
                  <a:lnTo>
                    <a:pt x="1276" y="3986"/>
                  </a:lnTo>
                  <a:lnTo>
                    <a:pt x="1271" y="3986"/>
                  </a:lnTo>
                  <a:lnTo>
                    <a:pt x="1268" y="3987"/>
                  </a:lnTo>
                  <a:lnTo>
                    <a:pt x="1266" y="3989"/>
                  </a:lnTo>
                  <a:lnTo>
                    <a:pt x="1265" y="3992"/>
                  </a:lnTo>
                  <a:lnTo>
                    <a:pt x="1264" y="3995"/>
                  </a:lnTo>
                  <a:lnTo>
                    <a:pt x="1263" y="3998"/>
                  </a:lnTo>
                  <a:lnTo>
                    <a:pt x="1260" y="4002"/>
                  </a:lnTo>
                  <a:lnTo>
                    <a:pt x="1259" y="4005"/>
                  </a:lnTo>
                  <a:lnTo>
                    <a:pt x="1258" y="4008"/>
                  </a:lnTo>
                  <a:lnTo>
                    <a:pt x="1264" y="4019"/>
                  </a:lnTo>
                  <a:lnTo>
                    <a:pt x="1266" y="4022"/>
                  </a:lnTo>
                  <a:lnTo>
                    <a:pt x="1268" y="4024"/>
                  </a:lnTo>
                  <a:lnTo>
                    <a:pt x="1271" y="4025"/>
                  </a:lnTo>
                  <a:lnTo>
                    <a:pt x="1273" y="4026"/>
                  </a:lnTo>
                  <a:lnTo>
                    <a:pt x="1273" y="4024"/>
                  </a:lnTo>
                  <a:lnTo>
                    <a:pt x="1278" y="4016"/>
                  </a:lnTo>
                  <a:lnTo>
                    <a:pt x="1278" y="4013"/>
                  </a:lnTo>
                  <a:lnTo>
                    <a:pt x="1278" y="4011"/>
                  </a:lnTo>
                  <a:lnTo>
                    <a:pt x="1277" y="4009"/>
                  </a:lnTo>
                  <a:lnTo>
                    <a:pt x="1275" y="4007"/>
                  </a:lnTo>
                  <a:lnTo>
                    <a:pt x="1278" y="4002"/>
                  </a:lnTo>
                  <a:lnTo>
                    <a:pt x="1285" y="3999"/>
                  </a:lnTo>
                  <a:lnTo>
                    <a:pt x="1288" y="3996"/>
                  </a:lnTo>
                  <a:lnTo>
                    <a:pt x="1292" y="3994"/>
                  </a:lnTo>
                  <a:lnTo>
                    <a:pt x="1300" y="3997"/>
                  </a:lnTo>
                  <a:lnTo>
                    <a:pt x="1302" y="3993"/>
                  </a:lnTo>
                  <a:lnTo>
                    <a:pt x="1303" y="3993"/>
                  </a:lnTo>
                  <a:lnTo>
                    <a:pt x="1304" y="3993"/>
                  </a:lnTo>
                  <a:lnTo>
                    <a:pt x="1305" y="3992"/>
                  </a:lnTo>
                  <a:lnTo>
                    <a:pt x="1306" y="3991"/>
                  </a:lnTo>
                  <a:lnTo>
                    <a:pt x="1303" y="3988"/>
                  </a:lnTo>
                  <a:lnTo>
                    <a:pt x="1301" y="3987"/>
                  </a:lnTo>
                  <a:close/>
                  <a:moveTo>
                    <a:pt x="89" y="3983"/>
                  </a:moveTo>
                  <a:lnTo>
                    <a:pt x="90" y="3978"/>
                  </a:lnTo>
                  <a:lnTo>
                    <a:pt x="93" y="3975"/>
                  </a:lnTo>
                  <a:lnTo>
                    <a:pt x="96" y="3977"/>
                  </a:lnTo>
                  <a:lnTo>
                    <a:pt x="95" y="3980"/>
                  </a:lnTo>
                  <a:lnTo>
                    <a:pt x="95" y="3982"/>
                  </a:lnTo>
                  <a:lnTo>
                    <a:pt x="97" y="3982"/>
                  </a:lnTo>
                  <a:lnTo>
                    <a:pt x="99" y="3981"/>
                  </a:lnTo>
                  <a:lnTo>
                    <a:pt x="100" y="3979"/>
                  </a:lnTo>
                  <a:lnTo>
                    <a:pt x="101" y="3971"/>
                  </a:lnTo>
                  <a:lnTo>
                    <a:pt x="100" y="3969"/>
                  </a:lnTo>
                  <a:lnTo>
                    <a:pt x="100" y="3968"/>
                  </a:lnTo>
                  <a:lnTo>
                    <a:pt x="100" y="3962"/>
                  </a:lnTo>
                  <a:lnTo>
                    <a:pt x="96" y="3961"/>
                  </a:lnTo>
                  <a:lnTo>
                    <a:pt x="94" y="3962"/>
                  </a:lnTo>
                  <a:lnTo>
                    <a:pt x="91" y="3965"/>
                  </a:lnTo>
                  <a:lnTo>
                    <a:pt x="87" y="3966"/>
                  </a:lnTo>
                  <a:lnTo>
                    <a:pt x="73" y="3966"/>
                  </a:lnTo>
                  <a:lnTo>
                    <a:pt x="66" y="3965"/>
                  </a:lnTo>
                  <a:lnTo>
                    <a:pt x="63" y="3966"/>
                  </a:lnTo>
                  <a:lnTo>
                    <a:pt x="62" y="3972"/>
                  </a:lnTo>
                  <a:lnTo>
                    <a:pt x="63" y="3976"/>
                  </a:lnTo>
                  <a:lnTo>
                    <a:pt x="66" y="3977"/>
                  </a:lnTo>
                  <a:lnTo>
                    <a:pt x="70" y="3977"/>
                  </a:lnTo>
                  <a:lnTo>
                    <a:pt x="73" y="3979"/>
                  </a:lnTo>
                  <a:lnTo>
                    <a:pt x="71" y="3979"/>
                  </a:lnTo>
                  <a:lnTo>
                    <a:pt x="66" y="3978"/>
                  </a:lnTo>
                  <a:lnTo>
                    <a:pt x="65" y="3980"/>
                  </a:lnTo>
                  <a:lnTo>
                    <a:pt x="64" y="3982"/>
                  </a:lnTo>
                  <a:lnTo>
                    <a:pt x="65" y="3985"/>
                  </a:lnTo>
                  <a:lnTo>
                    <a:pt x="66" y="3987"/>
                  </a:lnTo>
                  <a:lnTo>
                    <a:pt x="66" y="3990"/>
                  </a:lnTo>
                  <a:lnTo>
                    <a:pt x="66" y="3993"/>
                  </a:lnTo>
                  <a:lnTo>
                    <a:pt x="67" y="3995"/>
                  </a:lnTo>
                  <a:lnTo>
                    <a:pt x="72" y="3995"/>
                  </a:lnTo>
                  <a:lnTo>
                    <a:pt x="73" y="3996"/>
                  </a:lnTo>
                  <a:lnTo>
                    <a:pt x="74" y="3998"/>
                  </a:lnTo>
                  <a:lnTo>
                    <a:pt x="75" y="3999"/>
                  </a:lnTo>
                  <a:lnTo>
                    <a:pt x="77" y="3999"/>
                  </a:lnTo>
                  <a:lnTo>
                    <a:pt x="79" y="3997"/>
                  </a:lnTo>
                  <a:lnTo>
                    <a:pt x="80" y="3995"/>
                  </a:lnTo>
                  <a:lnTo>
                    <a:pt x="81" y="3993"/>
                  </a:lnTo>
                  <a:lnTo>
                    <a:pt x="84" y="3994"/>
                  </a:lnTo>
                  <a:lnTo>
                    <a:pt x="86" y="3993"/>
                  </a:lnTo>
                  <a:lnTo>
                    <a:pt x="87" y="3991"/>
                  </a:lnTo>
                  <a:lnTo>
                    <a:pt x="89" y="3983"/>
                  </a:lnTo>
                  <a:close/>
                  <a:moveTo>
                    <a:pt x="65" y="3954"/>
                  </a:moveTo>
                  <a:lnTo>
                    <a:pt x="65" y="3953"/>
                  </a:lnTo>
                  <a:lnTo>
                    <a:pt x="66" y="3951"/>
                  </a:lnTo>
                  <a:lnTo>
                    <a:pt x="67" y="3948"/>
                  </a:lnTo>
                  <a:lnTo>
                    <a:pt x="71" y="3944"/>
                  </a:lnTo>
                  <a:lnTo>
                    <a:pt x="75" y="3943"/>
                  </a:lnTo>
                  <a:lnTo>
                    <a:pt x="80" y="3944"/>
                  </a:lnTo>
                  <a:lnTo>
                    <a:pt x="83" y="3950"/>
                  </a:lnTo>
                  <a:lnTo>
                    <a:pt x="87" y="3948"/>
                  </a:lnTo>
                  <a:lnTo>
                    <a:pt x="95" y="3950"/>
                  </a:lnTo>
                  <a:lnTo>
                    <a:pt x="103" y="3944"/>
                  </a:lnTo>
                  <a:lnTo>
                    <a:pt x="107" y="3944"/>
                  </a:lnTo>
                  <a:lnTo>
                    <a:pt x="110" y="3942"/>
                  </a:lnTo>
                  <a:lnTo>
                    <a:pt x="112" y="3937"/>
                  </a:lnTo>
                  <a:lnTo>
                    <a:pt x="112" y="3923"/>
                  </a:lnTo>
                  <a:lnTo>
                    <a:pt x="112" y="3916"/>
                  </a:lnTo>
                  <a:lnTo>
                    <a:pt x="111" y="3911"/>
                  </a:lnTo>
                  <a:lnTo>
                    <a:pt x="108" y="3906"/>
                  </a:lnTo>
                  <a:lnTo>
                    <a:pt x="105" y="3904"/>
                  </a:lnTo>
                  <a:lnTo>
                    <a:pt x="102" y="3901"/>
                  </a:lnTo>
                  <a:lnTo>
                    <a:pt x="100" y="3894"/>
                  </a:lnTo>
                  <a:lnTo>
                    <a:pt x="95" y="3892"/>
                  </a:lnTo>
                  <a:lnTo>
                    <a:pt x="92" y="3892"/>
                  </a:lnTo>
                  <a:lnTo>
                    <a:pt x="89" y="3894"/>
                  </a:lnTo>
                  <a:lnTo>
                    <a:pt x="90" y="3895"/>
                  </a:lnTo>
                  <a:lnTo>
                    <a:pt x="90" y="3899"/>
                  </a:lnTo>
                  <a:lnTo>
                    <a:pt x="89" y="3900"/>
                  </a:lnTo>
                  <a:lnTo>
                    <a:pt x="87" y="3902"/>
                  </a:lnTo>
                  <a:lnTo>
                    <a:pt x="87" y="3905"/>
                  </a:lnTo>
                  <a:lnTo>
                    <a:pt x="88" y="3909"/>
                  </a:lnTo>
                  <a:lnTo>
                    <a:pt x="85" y="3910"/>
                  </a:lnTo>
                  <a:lnTo>
                    <a:pt x="81" y="3909"/>
                  </a:lnTo>
                  <a:lnTo>
                    <a:pt x="78" y="3909"/>
                  </a:lnTo>
                  <a:lnTo>
                    <a:pt x="76" y="3910"/>
                  </a:lnTo>
                  <a:lnTo>
                    <a:pt x="72" y="3914"/>
                  </a:lnTo>
                  <a:lnTo>
                    <a:pt x="66" y="3916"/>
                  </a:lnTo>
                  <a:lnTo>
                    <a:pt x="51" y="3932"/>
                  </a:lnTo>
                  <a:lnTo>
                    <a:pt x="48" y="3936"/>
                  </a:lnTo>
                  <a:lnTo>
                    <a:pt x="47" y="3941"/>
                  </a:lnTo>
                  <a:lnTo>
                    <a:pt x="49" y="3943"/>
                  </a:lnTo>
                  <a:lnTo>
                    <a:pt x="54" y="3949"/>
                  </a:lnTo>
                  <a:lnTo>
                    <a:pt x="54" y="3951"/>
                  </a:lnTo>
                  <a:lnTo>
                    <a:pt x="55" y="3958"/>
                  </a:lnTo>
                  <a:lnTo>
                    <a:pt x="56" y="3958"/>
                  </a:lnTo>
                  <a:lnTo>
                    <a:pt x="56" y="3948"/>
                  </a:lnTo>
                  <a:lnTo>
                    <a:pt x="61" y="3953"/>
                  </a:lnTo>
                  <a:lnTo>
                    <a:pt x="63" y="3954"/>
                  </a:lnTo>
                  <a:lnTo>
                    <a:pt x="65" y="3954"/>
                  </a:lnTo>
                  <a:close/>
                  <a:moveTo>
                    <a:pt x="911" y="3887"/>
                  </a:moveTo>
                  <a:lnTo>
                    <a:pt x="909" y="3889"/>
                  </a:lnTo>
                  <a:lnTo>
                    <a:pt x="909" y="3893"/>
                  </a:lnTo>
                  <a:lnTo>
                    <a:pt x="911" y="3897"/>
                  </a:lnTo>
                  <a:lnTo>
                    <a:pt x="912" y="3898"/>
                  </a:lnTo>
                  <a:lnTo>
                    <a:pt x="914" y="3898"/>
                  </a:lnTo>
                  <a:lnTo>
                    <a:pt x="916" y="3896"/>
                  </a:lnTo>
                  <a:lnTo>
                    <a:pt x="916" y="3892"/>
                  </a:lnTo>
                  <a:lnTo>
                    <a:pt x="916" y="3890"/>
                  </a:lnTo>
                  <a:lnTo>
                    <a:pt x="914" y="3889"/>
                  </a:lnTo>
                  <a:lnTo>
                    <a:pt x="911" y="3887"/>
                  </a:lnTo>
                  <a:close/>
                  <a:moveTo>
                    <a:pt x="1292" y="3877"/>
                  </a:moveTo>
                  <a:lnTo>
                    <a:pt x="1299" y="3875"/>
                  </a:lnTo>
                  <a:lnTo>
                    <a:pt x="1305" y="3870"/>
                  </a:lnTo>
                  <a:lnTo>
                    <a:pt x="1301" y="3866"/>
                  </a:lnTo>
                  <a:lnTo>
                    <a:pt x="1292" y="3864"/>
                  </a:lnTo>
                  <a:lnTo>
                    <a:pt x="1288" y="3861"/>
                  </a:lnTo>
                  <a:lnTo>
                    <a:pt x="1282" y="3861"/>
                  </a:lnTo>
                  <a:lnTo>
                    <a:pt x="1287" y="3873"/>
                  </a:lnTo>
                  <a:lnTo>
                    <a:pt x="1292" y="3877"/>
                  </a:lnTo>
                  <a:close/>
                  <a:moveTo>
                    <a:pt x="904" y="3874"/>
                  </a:moveTo>
                  <a:lnTo>
                    <a:pt x="905" y="3875"/>
                  </a:lnTo>
                  <a:lnTo>
                    <a:pt x="906" y="3878"/>
                  </a:lnTo>
                  <a:lnTo>
                    <a:pt x="908" y="3881"/>
                  </a:lnTo>
                  <a:lnTo>
                    <a:pt x="911" y="3884"/>
                  </a:lnTo>
                  <a:lnTo>
                    <a:pt x="914" y="3885"/>
                  </a:lnTo>
                  <a:lnTo>
                    <a:pt x="916" y="3885"/>
                  </a:lnTo>
                  <a:lnTo>
                    <a:pt x="918" y="3884"/>
                  </a:lnTo>
                  <a:lnTo>
                    <a:pt x="920" y="3882"/>
                  </a:lnTo>
                  <a:lnTo>
                    <a:pt x="921" y="3881"/>
                  </a:lnTo>
                  <a:lnTo>
                    <a:pt x="921" y="3879"/>
                  </a:lnTo>
                  <a:lnTo>
                    <a:pt x="922" y="3879"/>
                  </a:lnTo>
                  <a:lnTo>
                    <a:pt x="922" y="3879"/>
                  </a:lnTo>
                  <a:lnTo>
                    <a:pt x="921" y="3878"/>
                  </a:lnTo>
                  <a:lnTo>
                    <a:pt x="918" y="3880"/>
                  </a:lnTo>
                  <a:lnTo>
                    <a:pt x="915" y="3880"/>
                  </a:lnTo>
                  <a:lnTo>
                    <a:pt x="911" y="3876"/>
                  </a:lnTo>
                  <a:lnTo>
                    <a:pt x="908" y="3873"/>
                  </a:lnTo>
                  <a:lnTo>
                    <a:pt x="908" y="3870"/>
                  </a:lnTo>
                  <a:lnTo>
                    <a:pt x="909" y="3869"/>
                  </a:lnTo>
                  <a:lnTo>
                    <a:pt x="911" y="3869"/>
                  </a:lnTo>
                  <a:lnTo>
                    <a:pt x="911" y="3868"/>
                  </a:lnTo>
                  <a:lnTo>
                    <a:pt x="908" y="3865"/>
                  </a:lnTo>
                  <a:lnTo>
                    <a:pt x="910" y="3865"/>
                  </a:lnTo>
                  <a:lnTo>
                    <a:pt x="911" y="3865"/>
                  </a:lnTo>
                  <a:lnTo>
                    <a:pt x="913" y="3862"/>
                  </a:lnTo>
                  <a:lnTo>
                    <a:pt x="914" y="3860"/>
                  </a:lnTo>
                  <a:lnTo>
                    <a:pt x="913" y="3860"/>
                  </a:lnTo>
                  <a:lnTo>
                    <a:pt x="912" y="3859"/>
                  </a:lnTo>
                  <a:lnTo>
                    <a:pt x="910" y="3860"/>
                  </a:lnTo>
                  <a:lnTo>
                    <a:pt x="909" y="3860"/>
                  </a:lnTo>
                  <a:lnTo>
                    <a:pt x="908" y="3860"/>
                  </a:lnTo>
                  <a:lnTo>
                    <a:pt x="906" y="3861"/>
                  </a:lnTo>
                  <a:lnTo>
                    <a:pt x="905" y="3861"/>
                  </a:lnTo>
                  <a:lnTo>
                    <a:pt x="902" y="3863"/>
                  </a:lnTo>
                  <a:lnTo>
                    <a:pt x="901" y="3865"/>
                  </a:lnTo>
                  <a:lnTo>
                    <a:pt x="903" y="3868"/>
                  </a:lnTo>
                  <a:lnTo>
                    <a:pt x="904" y="3870"/>
                  </a:lnTo>
                  <a:lnTo>
                    <a:pt x="903" y="3872"/>
                  </a:lnTo>
                  <a:lnTo>
                    <a:pt x="904" y="3874"/>
                  </a:lnTo>
                  <a:close/>
                  <a:moveTo>
                    <a:pt x="1142" y="3687"/>
                  </a:moveTo>
                  <a:lnTo>
                    <a:pt x="1141" y="3688"/>
                  </a:lnTo>
                  <a:lnTo>
                    <a:pt x="1140" y="3689"/>
                  </a:lnTo>
                  <a:lnTo>
                    <a:pt x="1138" y="3689"/>
                  </a:lnTo>
                  <a:lnTo>
                    <a:pt x="1136" y="3689"/>
                  </a:lnTo>
                  <a:lnTo>
                    <a:pt x="1130" y="3694"/>
                  </a:lnTo>
                  <a:lnTo>
                    <a:pt x="1127" y="3697"/>
                  </a:lnTo>
                  <a:lnTo>
                    <a:pt x="1125" y="3701"/>
                  </a:lnTo>
                  <a:lnTo>
                    <a:pt x="1125" y="3704"/>
                  </a:lnTo>
                  <a:lnTo>
                    <a:pt x="1125" y="3705"/>
                  </a:lnTo>
                  <a:lnTo>
                    <a:pt x="1126" y="3706"/>
                  </a:lnTo>
                  <a:lnTo>
                    <a:pt x="1128" y="3706"/>
                  </a:lnTo>
                  <a:lnTo>
                    <a:pt x="1131" y="3703"/>
                  </a:lnTo>
                  <a:lnTo>
                    <a:pt x="1137" y="3701"/>
                  </a:lnTo>
                  <a:lnTo>
                    <a:pt x="1140" y="3700"/>
                  </a:lnTo>
                  <a:lnTo>
                    <a:pt x="1144" y="3699"/>
                  </a:lnTo>
                  <a:lnTo>
                    <a:pt x="1144" y="3698"/>
                  </a:lnTo>
                  <a:lnTo>
                    <a:pt x="1141" y="3697"/>
                  </a:lnTo>
                  <a:lnTo>
                    <a:pt x="1140" y="3694"/>
                  </a:lnTo>
                  <a:lnTo>
                    <a:pt x="1141" y="3693"/>
                  </a:lnTo>
                  <a:lnTo>
                    <a:pt x="1142" y="3693"/>
                  </a:lnTo>
                  <a:lnTo>
                    <a:pt x="1143" y="3693"/>
                  </a:lnTo>
                  <a:lnTo>
                    <a:pt x="1144" y="3692"/>
                  </a:lnTo>
                  <a:lnTo>
                    <a:pt x="1148" y="3690"/>
                  </a:lnTo>
                  <a:lnTo>
                    <a:pt x="1150" y="3687"/>
                  </a:lnTo>
                  <a:lnTo>
                    <a:pt x="1150" y="3684"/>
                  </a:lnTo>
                  <a:lnTo>
                    <a:pt x="1150" y="3683"/>
                  </a:lnTo>
                  <a:lnTo>
                    <a:pt x="1145" y="3686"/>
                  </a:lnTo>
                  <a:lnTo>
                    <a:pt x="1142" y="3687"/>
                  </a:lnTo>
                  <a:close/>
                  <a:moveTo>
                    <a:pt x="1115" y="3687"/>
                  </a:moveTo>
                  <a:lnTo>
                    <a:pt x="1117" y="3686"/>
                  </a:lnTo>
                  <a:lnTo>
                    <a:pt x="1118" y="3684"/>
                  </a:lnTo>
                  <a:lnTo>
                    <a:pt x="1117" y="3681"/>
                  </a:lnTo>
                  <a:lnTo>
                    <a:pt x="1117" y="3678"/>
                  </a:lnTo>
                  <a:lnTo>
                    <a:pt x="1117" y="3675"/>
                  </a:lnTo>
                  <a:lnTo>
                    <a:pt x="1117" y="3675"/>
                  </a:lnTo>
                  <a:lnTo>
                    <a:pt x="1119" y="3677"/>
                  </a:lnTo>
                  <a:lnTo>
                    <a:pt x="1121" y="3677"/>
                  </a:lnTo>
                  <a:lnTo>
                    <a:pt x="1121" y="3676"/>
                  </a:lnTo>
                  <a:lnTo>
                    <a:pt x="1123" y="3677"/>
                  </a:lnTo>
                  <a:lnTo>
                    <a:pt x="1124" y="3679"/>
                  </a:lnTo>
                  <a:lnTo>
                    <a:pt x="1125" y="3677"/>
                  </a:lnTo>
                  <a:lnTo>
                    <a:pt x="1125" y="3674"/>
                  </a:lnTo>
                  <a:lnTo>
                    <a:pt x="1124" y="3673"/>
                  </a:lnTo>
                  <a:lnTo>
                    <a:pt x="1123" y="3673"/>
                  </a:lnTo>
                  <a:lnTo>
                    <a:pt x="1122" y="3674"/>
                  </a:lnTo>
                  <a:lnTo>
                    <a:pt x="1122" y="3673"/>
                  </a:lnTo>
                  <a:lnTo>
                    <a:pt x="1128" y="3670"/>
                  </a:lnTo>
                  <a:lnTo>
                    <a:pt x="1128" y="3669"/>
                  </a:lnTo>
                  <a:lnTo>
                    <a:pt x="1121" y="3668"/>
                  </a:lnTo>
                  <a:lnTo>
                    <a:pt x="1117" y="3669"/>
                  </a:lnTo>
                  <a:lnTo>
                    <a:pt x="1114" y="3670"/>
                  </a:lnTo>
                  <a:lnTo>
                    <a:pt x="1110" y="3670"/>
                  </a:lnTo>
                  <a:lnTo>
                    <a:pt x="1109" y="3671"/>
                  </a:lnTo>
                  <a:lnTo>
                    <a:pt x="1107" y="3674"/>
                  </a:lnTo>
                  <a:lnTo>
                    <a:pt x="1106" y="3676"/>
                  </a:lnTo>
                  <a:lnTo>
                    <a:pt x="1107" y="3678"/>
                  </a:lnTo>
                  <a:lnTo>
                    <a:pt x="1106" y="3679"/>
                  </a:lnTo>
                  <a:lnTo>
                    <a:pt x="1104" y="3680"/>
                  </a:lnTo>
                  <a:lnTo>
                    <a:pt x="1103" y="3681"/>
                  </a:lnTo>
                  <a:lnTo>
                    <a:pt x="1102" y="3686"/>
                  </a:lnTo>
                  <a:lnTo>
                    <a:pt x="1102" y="3687"/>
                  </a:lnTo>
                  <a:lnTo>
                    <a:pt x="1102" y="3689"/>
                  </a:lnTo>
                  <a:lnTo>
                    <a:pt x="1103" y="3689"/>
                  </a:lnTo>
                  <a:lnTo>
                    <a:pt x="1105" y="3687"/>
                  </a:lnTo>
                  <a:lnTo>
                    <a:pt x="1108" y="3684"/>
                  </a:lnTo>
                  <a:lnTo>
                    <a:pt x="1109" y="3683"/>
                  </a:lnTo>
                  <a:lnTo>
                    <a:pt x="1110" y="3683"/>
                  </a:lnTo>
                  <a:lnTo>
                    <a:pt x="1112" y="3687"/>
                  </a:lnTo>
                  <a:lnTo>
                    <a:pt x="1115" y="3687"/>
                  </a:lnTo>
                  <a:close/>
                  <a:moveTo>
                    <a:pt x="1048" y="3679"/>
                  </a:moveTo>
                  <a:lnTo>
                    <a:pt x="1047" y="3674"/>
                  </a:lnTo>
                  <a:lnTo>
                    <a:pt x="1046" y="3669"/>
                  </a:lnTo>
                  <a:lnTo>
                    <a:pt x="1045" y="3665"/>
                  </a:lnTo>
                  <a:lnTo>
                    <a:pt x="1044" y="3661"/>
                  </a:lnTo>
                  <a:lnTo>
                    <a:pt x="1043" y="3659"/>
                  </a:lnTo>
                  <a:lnTo>
                    <a:pt x="1042" y="3659"/>
                  </a:lnTo>
                  <a:lnTo>
                    <a:pt x="1041" y="3659"/>
                  </a:lnTo>
                  <a:lnTo>
                    <a:pt x="1041" y="3657"/>
                  </a:lnTo>
                  <a:lnTo>
                    <a:pt x="1040" y="3655"/>
                  </a:lnTo>
                  <a:lnTo>
                    <a:pt x="1038" y="3655"/>
                  </a:lnTo>
                  <a:lnTo>
                    <a:pt x="1037" y="3658"/>
                  </a:lnTo>
                  <a:lnTo>
                    <a:pt x="1038" y="3666"/>
                  </a:lnTo>
                  <a:lnTo>
                    <a:pt x="1038" y="3670"/>
                  </a:lnTo>
                  <a:lnTo>
                    <a:pt x="1038" y="3671"/>
                  </a:lnTo>
                  <a:lnTo>
                    <a:pt x="1038" y="3674"/>
                  </a:lnTo>
                  <a:lnTo>
                    <a:pt x="1036" y="3677"/>
                  </a:lnTo>
                  <a:lnTo>
                    <a:pt x="1035" y="3682"/>
                  </a:lnTo>
                  <a:lnTo>
                    <a:pt x="1034" y="3688"/>
                  </a:lnTo>
                  <a:lnTo>
                    <a:pt x="1034" y="3690"/>
                  </a:lnTo>
                  <a:lnTo>
                    <a:pt x="1036" y="3690"/>
                  </a:lnTo>
                  <a:lnTo>
                    <a:pt x="1037" y="3693"/>
                  </a:lnTo>
                  <a:lnTo>
                    <a:pt x="1037" y="3698"/>
                  </a:lnTo>
                  <a:lnTo>
                    <a:pt x="1038" y="3702"/>
                  </a:lnTo>
                  <a:lnTo>
                    <a:pt x="1039" y="3702"/>
                  </a:lnTo>
                  <a:lnTo>
                    <a:pt x="1039" y="3700"/>
                  </a:lnTo>
                  <a:lnTo>
                    <a:pt x="1044" y="3707"/>
                  </a:lnTo>
                  <a:lnTo>
                    <a:pt x="1045" y="3707"/>
                  </a:lnTo>
                  <a:lnTo>
                    <a:pt x="1043" y="3703"/>
                  </a:lnTo>
                  <a:lnTo>
                    <a:pt x="1043" y="3701"/>
                  </a:lnTo>
                  <a:lnTo>
                    <a:pt x="1044" y="3700"/>
                  </a:lnTo>
                  <a:lnTo>
                    <a:pt x="1045" y="3699"/>
                  </a:lnTo>
                  <a:lnTo>
                    <a:pt x="1046" y="3696"/>
                  </a:lnTo>
                  <a:lnTo>
                    <a:pt x="1046" y="3694"/>
                  </a:lnTo>
                  <a:lnTo>
                    <a:pt x="1047" y="3690"/>
                  </a:lnTo>
                  <a:lnTo>
                    <a:pt x="1047" y="3687"/>
                  </a:lnTo>
                  <a:lnTo>
                    <a:pt x="1046" y="3684"/>
                  </a:lnTo>
                  <a:lnTo>
                    <a:pt x="1047" y="3681"/>
                  </a:lnTo>
                  <a:lnTo>
                    <a:pt x="1048" y="3679"/>
                  </a:lnTo>
                  <a:close/>
                  <a:moveTo>
                    <a:pt x="1149" y="3665"/>
                  </a:moveTo>
                  <a:lnTo>
                    <a:pt x="1148" y="3666"/>
                  </a:lnTo>
                  <a:lnTo>
                    <a:pt x="1149" y="3669"/>
                  </a:lnTo>
                  <a:lnTo>
                    <a:pt x="1150" y="3672"/>
                  </a:lnTo>
                  <a:lnTo>
                    <a:pt x="1152" y="3674"/>
                  </a:lnTo>
                  <a:lnTo>
                    <a:pt x="1154" y="3675"/>
                  </a:lnTo>
                  <a:lnTo>
                    <a:pt x="1155" y="3675"/>
                  </a:lnTo>
                  <a:lnTo>
                    <a:pt x="1156" y="3673"/>
                  </a:lnTo>
                  <a:lnTo>
                    <a:pt x="1157" y="3673"/>
                  </a:lnTo>
                  <a:lnTo>
                    <a:pt x="1158" y="3674"/>
                  </a:lnTo>
                  <a:lnTo>
                    <a:pt x="1160" y="3673"/>
                  </a:lnTo>
                  <a:lnTo>
                    <a:pt x="1160" y="3671"/>
                  </a:lnTo>
                  <a:lnTo>
                    <a:pt x="1161" y="3670"/>
                  </a:lnTo>
                  <a:lnTo>
                    <a:pt x="1162" y="3669"/>
                  </a:lnTo>
                  <a:lnTo>
                    <a:pt x="1162" y="3667"/>
                  </a:lnTo>
                  <a:lnTo>
                    <a:pt x="1162" y="3665"/>
                  </a:lnTo>
                  <a:lnTo>
                    <a:pt x="1163" y="3663"/>
                  </a:lnTo>
                  <a:lnTo>
                    <a:pt x="1163" y="3661"/>
                  </a:lnTo>
                  <a:lnTo>
                    <a:pt x="1166" y="3659"/>
                  </a:lnTo>
                  <a:lnTo>
                    <a:pt x="1171" y="3651"/>
                  </a:lnTo>
                  <a:lnTo>
                    <a:pt x="1171" y="3650"/>
                  </a:lnTo>
                  <a:lnTo>
                    <a:pt x="1172" y="3649"/>
                  </a:lnTo>
                  <a:lnTo>
                    <a:pt x="1171" y="3647"/>
                  </a:lnTo>
                  <a:lnTo>
                    <a:pt x="1171" y="3646"/>
                  </a:lnTo>
                  <a:lnTo>
                    <a:pt x="1171" y="3644"/>
                  </a:lnTo>
                  <a:lnTo>
                    <a:pt x="1170" y="3641"/>
                  </a:lnTo>
                  <a:lnTo>
                    <a:pt x="1168" y="3641"/>
                  </a:lnTo>
                  <a:lnTo>
                    <a:pt x="1165" y="3642"/>
                  </a:lnTo>
                  <a:lnTo>
                    <a:pt x="1163" y="3645"/>
                  </a:lnTo>
                  <a:lnTo>
                    <a:pt x="1160" y="3648"/>
                  </a:lnTo>
                  <a:lnTo>
                    <a:pt x="1153" y="3652"/>
                  </a:lnTo>
                  <a:lnTo>
                    <a:pt x="1153" y="3654"/>
                  </a:lnTo>
                  <a:lnTo>
                    <a:pt x="1154" y="3655"/>
                  </a:lnTo>
                  <a:lnTo>
                    <a:pt x="1154" y="3657"/>
                  </a:lnTo>
                  <a:lnTo>
                    <a:pt x="1152" y="3659"/>
                  </a:lnTo>
                  <a:lnTo>
                    <a:pt x="1150" y="3660"/>
                  </a:lnTo>
                  <a:lnTo>
                    <a:pt x="1150" y="3659"/>
                  </a:lnTo>
                  <a:lnTo>
                    <a:pt x="1149" y="3660"/>
                  </a:lnTo>
                  <a:lnTo>
                    <a:pt x="1151" y="3663"/>
                  </a:lnTo>
                  <a:lnTo>
                    <a:pt x="1151" y="3665"/>
                  </a:lnTo>
                  <a:lnTo>
                    <a:pt x="1150" y="3665"/>
                  </a:lnTo>
                  <a:lnTo>
                    <a:pt x="1149" y="3665"/>
                  </a:lnTo>
                  <a:close/>
                  <a:moveTo>
                    <a:pt x="1206" y="3611"/>
                  </a:moveTo>
                  <a:lnTo>
                    <a:pt x="1204" y="3612"/>
                  </a:lnTo>
                  <a:lnTo>
                    <a:pt x="1201" y="3615"/>
                  </a:lnTo>
                  <a:lnTo>
                    <a:pt x="1199" y="3619"/>
                  </a:lnTo>
                  <a:lnTo>
                    <a:pt x="1199" y="3622"/>
                  </a:lnTo>
                  <a:lnTo>
                    <a:pt x="1200" y="3623"/>
                  </a:lnTo>
                  <a:lnTo>
                    <a:pt x="1211" y="3616"/>
                  </a:lnTo>
                  <a:lnTo>
                    <a:pt x="1213" y="3613"/>
                  </a:lnTo>
                  <a:lnTo>
                    <a:pt x="1212" y="3613"/>
                  </a:lnTo>
                  <a:lnTo>
                    <a:pt x="1208" y="3612"/>
                  </a:lnTo>
                  <a:lnTo>
                    <a:pt x="1206" y="3611"/>
                  </a:lnTo>
                  <a:close/>
                  <a:moveTo>
                    <a:pt x="1209" y="3592"/>
                  </a:moveTo>
                  <a:lnTo>
                    <a:pt x="1209" y="3596"/>
                  </a:lnTo>
                  <a:lnTo>
                    <a:pt x="1210" y="3597"/>
                  </a:lnTo>
                  <a:lnTo>
                    <a:pt x="1211" y="3597"/>
                  </a:lnTo>
                  <a:lnTo>
                    <a:pt x="1212" y="3597"/>
                  </a:lnTo>
                  <a:lnTo>
                    <a:pt x="1214" y="3597"/>
                  </a:lnTo>
                  <a:lnTo>
                    <a:pt x="1215" y="3599"/>
                  </a:lnTo>
                  <a:lnTo>
                    <a:pt x="1216" y="3599"/>
                  </a:lnTo>
                  <a:lnTo>
                    <a:pt x="1217" y="3599"/>
                  </a:lnTo>
                  <a:lnTo>
                    <a:pt x="1217" y="3598"/>
                  </a:lnTo>
                  <a:lnTo>
                    <a:pt x="1217" y="3597"/>
                  </a:lnTo>
                  <a:lnTo>
                    <a:pt x="1217" y="3596"/>
                  </a:lnTo>
                  <a:lnTo>
                    <a:pt x="1219" y="3592"/>
                  </a:lnTo>
                  <a:lnTo>
                    <a:pt x="1221" y="3591"/>
                  </a:lnTo>
                  <a:lnTo>
                    <a:pt x="1222" y="3589"/>
                  </a:lnTo>
                  <a:lnTo>
                    <a:pt x="1223" y="3587"/>
                  </a:lnTo>
                  <a:lnTo>
                    <a:pt x="1221" y="3586"/>
                  </a:lnTo>
                  <a:lnTo>
                    <a:pt x="1220" y="3586"/>
                  </a:lnTo>
                  <a:lnTo>
                    <a:pt x="1219" y="3585"/>
                  </a:lnTo>
                  <a:lnTo>
                    <a:pt x="1217" y="3585"/>
                  </a:lnTo>
                  <a:lnTo>
                    <a:pt x="1214" y="3586"/>
                  </a:lnTo>
                  <a:lnTo>
                    <a:pt x="1211" y="3588"/>
                  </a:lnTo>
                  <a:lnTo>
                    <a:pt x="1209" y="3592"/>
                  </a:lnTo>
                  <a:close/>
                  <a:moveTo>
                    <a:pt x="1183" y="3597"/>
                  </a:moveTo>
                  <a:lnTo>
                    <a:pt x="1191" y="3597"/>
                  </a:lnTo>
                  <a:lnTo>
                    <a:pt x="1177" y="3587"/>
                  </a:lnTo>
                  <a:lnTo>
                    <a:pt x="1167" y="3584"/>
                  </a:lnTo>
                  <a:lnTo>
                    <a:pt x="1149" y="3584"/>
                  </a:lnTo>
                  <a:lnTo>
                    <a:pt x="1157" y="3588"/>
                  </a:lnTo>
                  <a:lnTo>
                    <a:pt x="1160" y="3591"/>
                  </a:lnTo>
                  <a:lnTo>
                    <a:pt x="1160" y="3592"/>
                  </a:lnTo>
                  <a:lnTo>
                    <a:pt x="1162" y="3596"/>
                  </a:lnTo>
                  <a:lnTo>
                    <a:pt x="1162" y="3597"/>
                  </a:lnTo>
                  <a:lnTo>
                    <a:pt x="1168" y="3599"/>
                  </a:lnTo>
                  <a:lnTo>
                    <a:pt x="1176" y="3606"/>
                  </a:lnTo>
                  <a:lnTo>
                    <a:pt x="1181" y="3607"/>
                  </a:lnTo>
                  <a:lnTo>
                    <a:pt x="1185" y="3601"/>
                  </a:lnTo>
                  <a:lnTo>
                    <a:pt x="1178" y="3602"/>
                  </a:lnTo>
                  <a:lnTo>
                    <a:pt x="1176" y="3600"/>
                  </a:lnTo>
                  <a:lnTo>
                    <a:pt x="1176" y="3593"/>
                  </a:lnTo>
                  <a:lnTo>
                    <a:pt x="1180" y="3596"/>
                  </a:lnTo>
                  <a:lnTo>
                    <a:pt x="1183" y="3597"/>
                  </a:lnTo>
                  <a:close/>
                  <a:moveTo>
                    <a:pt x="1198" y="3567"/>
                  </a:moveTo>
                  <a:lnTo>
                    <a:pt x="1199" y="3569"/>
                  </a:lnTo>
                  <a:lnTo>
                    <a:pt x="1201" y="3572"/>
                  </a:lnTo>
                  <a:lnTo>
                    <a:pt x="1202" y="3574"/>
                  </a:lnTo>
                  <a:lnTo>
                    <a:pt x="1202" y="3577"/>
                  </a:lnTo>
                  <a:lnTo>
                    <a:pt x="1203" y="3579"/>
                  </a:lnTo>
                  <a:lnTo>
                    <a:pt x="1202" y="3580"/>
                  </a:lnTo>
                  <a:lnTo>
                    <a:pt x="1201" y="3581"/>
                  </a:lnTo>
                  <a:lnTo>
                    <a:pt x="1201" y="3583"/>
                  </a:lnTo>
                  <a:lnTo>
                    <a:pt x="1201" y="3584"/>
                  </a:lnTo>
                  <a:lnTo>
                    <a:pt x="1202" y="3584"/>
                  </a:lnTo>
                  <a:lnTo>
                    <a:pt x="1209" y="3580"/>
                  </a:lnTo>
                  <a:lnTo>
                    <a:pt x="1212" y="3578"/>
                  </a:lnTo>
                  <a:lnTo>
                    <a:pt x="1212" y="3574"/>
                  </a:lnTo>
                  <a:lnTo>
                    <a:pt x="1212" y="3570"/>
                  </a:lnTo>
                  <a:lnTo>
                    <a:pt x="1212" y="3568"/>
                  </a:lnTo>
                  <a:lnTo>
                    <a:pt x="1211" y="3568"/>
                  </a:lnTo>
                  <a:lnTo>
                    <a:pt x="1210" y="3567"/>
                  </a:lnTo>
                  <a:lnTo>
                    <a:pt x="1207" y="3563"/>
                  </a:lnTo>
                  <a:lnTo>
                    <a:pt x="1206" y="3562"/>
                  </a:lnTo>
                  <a:lnTo>
                    <a:pt x="1204" y="3561"/>
                  </a:lnTo>
                  <a:lnTo>
                    <a:pt x="1204" y="3561"/>
                  </a:lnTo>
                  <a:lnTo>
                    <a:pt x="1203" y="3562"/>
                  </a:lnTo>
                  <a:lnTo>
                    <a:pt x="1197" y="3562"/>
                  </a:lnTo>
                  <a:lnTo>
                    <a:pt x="1195" y="3563"/>
                  </a:lnTo>
                  <a:lnTo>
                    <a:pt x="1197" y="3565"/>
                  </a:lnTo>
                  <a:lnTo>
                    <a:pt x="1198" y="3567"/>
                  </a:lnTo>
                  <a:close/>
                  <a:moveTo>
                    <a:pt x="1131" y="3564"/>
                  </a:moveTo>
                  <a:lnTo>
                    <a:pt x="1133" y="3563"/>
                  </a:lnTo>
                  <a:lnTo>
                    <a:pt x="1131" y="3561"/>
                  </a:lnTo>
                  <a:lnTo>
                    <a:pt x="1113" y="3556"/>
                  </a:lnTo>
                  <a:lnTo>
                    <a:pt x="1111" y="3558"/>
                  </a:lnTo>
                  <a:lnTo>
                    <a:pt x="1111" y="3560"/>
                  </a:lnTo>
                  <a:lnTo>
                    <a:pt x="1112" y="3562"/>
                  </a:lnTo>
                  <a:lnTo>
                    <a:pt x="1112" y="3564"/>
                  </a:lnTo>
                  <a:lnTo>
                    <a:pt x="1113" y="3566"/>
                  </a:lnTo>
                  <a:lnTo>
                    <a:pt x="1116" y="3569"/>
                  </a:lnTo>
                  <a:lnTo>
                    <a:pt x="1120" y="3571"/>
                  </a:lnTo>
                  <a:lnTo>
                    <a:pt x="1124" y="3572"/>
                  </a:lnTo>
                  <a:lnTo>
                    <a:pt x="1127" y="3571"/>
                  </a:lnTo>
                  <a:lnTo>
                    <a:pt x="1129" y="3568"/>
                  </a:lnTo>
                  <a:lnTo>
                    <a:pt x="1127" y="3565"/>
                  </a:lnTo>
                  <a:lnTo>
                    <a:pt x="1126" y="3563"/>
                  </a:lnTo>
                  <a:lnTo>
                    <a:pt x="1129" y="3563"/>
                  </a:lnTo>
                  <a:lnTo>
                    <a:pt x="1131" y="3564"/>
                  </a:lnTo>
                  <a:close/>
                  <a:moveTo>
                    <a:pt x="1228" y="3554"/>
                  </a:moveTo>
                  <a:lnTo>
                    <a:pt x="1229" y="3556"/>
                  </a:lnTo>
                  <a:lnTo>
                    <a:pt x="1230" y="3557"/>
                  </a:lnTo>
                  <a:lnTo>
                    <a:pt x="1231" y="3556"/>
                  </a:lnTo>
                  <a:lnTo>
                    <a:pt x="1232" y="3555"/>
                  </a:lnTo>
                  <a:lnTo>
                    <a:pt x="1231" y="3553"/>
                  </a:lnTo>
                  <a:lnTo>
                    <a:pt x="1229" y="3552"/>
                  </a:lnTo>
                  <a:lnTo>
                    <a:pt x="1228" y="3554"/>
                  </a:lnTo>
                  <a:close/>
                  <a:moveTo>
                    <a:pt x="1237" y="3556"/>
                  </a:moveTo>
                  <a:lnTo>
                    <a:pt x="1238" y="3557"/>
                  </a:lnTo>
                  <a:lnTo>
                    <a:pt x="1240" y="3559"/>
                  </a:lnTo>
                  <a:lnTo>
                    <a:pt x="1243" y="3561"/>
                  </a:lnTo>
                  <a:lnTo>
                    <a:pt x="1244" y="3559"/>
                  </a:lnTo>
                  <a:lnTo>
                    <a:pt x="1244" y="3556"/>
                  </a:lnTo>
                  <a:lnTo>
                    <a:pt x="1243" y="3555"/>
                  </a:lnTo>
                  <a:lnTo>
                    <a:pt x="1242" y="3553"/>
                  </a:lnTo>
                  <a:lnTo>
                    <a:pt x="1240" y="3551"/>
                  </a:lnTo>
                  <a:lnTo>
                    <a:pt x="1238" y="3551"/>
                  </a:lnTo>
                  <a:lnTo>
                    <a:pt x="1237" y="3553"/>
                  </a:lnTo>
                  <a:lnTo>
                    <a:pt x="1237" y="3555"/>
                  </a:lnTo>
                  <a:lnTo>
                    <a:pt x="1237" y="3556"/>
                  </a:lnTo>
                  <a:close/>
                  <a:moveTo>
                    <a:pt x="1236" y="3551"/>
                  </a:moveTo>
                  <a:lnTo>
                    <a:pt x="1238" y="3547"/>
                  </a:lnTo>
                  <a:lnTo>
                    <a:pt x="1241" y="3542"/>
                  </a:lnTo>
                  <a:lnTo>
                    <a:pt x="1241" y="3540"/>
                  </a:lnTo>
                  <a:lnTo>
                    <a:pt x="1239" y="3538"/>
                  </a:lnTo>
                  <a:lnTo>
                    <a:pt x="1238" y="3538"/>
                  </a:lnTo>
                  <a:lnTo>
                    <a:pt x="1237" y="3538"/>
                  </a:lnTo>
                  <a:lnTo>
                    <a:pt x="1233" y="3540"/>
                  </a:lnTo>
                  <a:lnTo>
                    <a:pt x="1230" y="3545"/>
                  </a:lnTo>
                  <a:lnTo>
                    <a:pt x="1232" y="3550"/>
                  </a:lnTo>
                  <a:lnTo>
                    <a:pt x="1236" y="3551"/>
                  </a:lnTo>
                  <a:close/>
                  <a:moveTo>
                    <a:pt x="1193" y="3525"/>
                  </a:moveTo>
                  <a:lnTo>
                    <a:pt x="1194" y="3525"/>
                  </a:lnTo>
                  <a:lnTo>
                    <a:pt x="1195" y="3522"/>
                  </a:lnTo>
                  <a:lnTo>
                    <a:pt x="1196" y="3520"/>
                  </a:lnTo>
                  <a:lnTo>
                    <a:pt x="1198" y="3519"/>
                  </a:lnTo>
                  <a:lnTo>
                    <a:pt x="1202" y="3515"/>
                  </a:lnTo>
                  <a:lnTo>
                    <a:pt x="1211" y="3511"/>
                  </a:lnTo>
                  <a:lnTo>
                    <a:pt x="1211" y="3509"/>
                  </a:lnTo>
                  <a:lnTo>
                    <a:pt x="1204" y="3511"/>
                  </a:lnTo>
                  <a:lnTo>
                    <a:pt x="1203" y="3511"/>
                  </a:lnTo>
                  <a:lnTo>
                    <a:pt x="1203" y="3511"/>
                  </a:lnTo>
                  <a:lnTo>
                    <a:pt x="1202" y="3509"/>
                  </a:lnTo>
                  <a:lnTo>
                    <a:pt x="1201" y="3507"/>
                  </a:lnTo>
                  <a:lnTo>
                    <a:pt x="1198" y="3506"/>
                  </a:lnTo>
                  <a:lnTo>
                    <a:pt x="1194" y="3506"/>
                  </a:lnTo>
                  <a:lnTo>
                    <a:pt x="1191" y="3507"/>
                  </a:lnTo>
                  <a:lnTo>
                    <a:pt x="1188" y="3509"/>
                  </a:lnTo>
                  <a:lnTo>
                    <a:pt x="1186" y="3512"/>
                  </a:lnTo>
                  <a:lnTo>
                    <a:pt x="1183" y="3516"/>
                  </a:lnTo>
                  <a:lnTo>
                    <a:pt x="1181" y="3518"/>
                  </a:lnTo>
                  <a:lnTo>
                    <a:pt x="1180" y="3521"/>
                  </a:lnTo>
                  <a:lnTo>
                    <a:pt x="1181" y="3522"/>
                  </a:lnTo>
                  <a:lnTo>
                    <a:pt x="1182" y="3522"/>
                  </a:lnTo>
                  <a:lnTo>
                    <a:pt x="1183" y="3522"/>
                  </a:lnTo>
                  <a:lnTo>
                    <a:pt x="1183" y="3523"/>
                  </a:lnTo>
                  <a:lnTo>
                    <a:pt x="1184" y="3523"/>
                  </a:lnTo>
                  <a:lnTo>
                    <a:pt x="1185" y="3523"/>
                  </a:lnTo>
                  <a:lnTo>
                    <a:pt x="1185" y="3523"/>
                  </a:lnTo>
                  <a:lnTo>
                    <a:pt x="1185" y="3524"/>
                  </a:lnTo>
                  <a:lnTo>
                    <a:pt x="1184" y="3524"/>
                  </a:lnTo>
                  <a:lnTo>
                    <a:pt x="1183" y="3524"/>
                  </a:lnTo>
                  <a:lnTo>
                    <a:pt x="1182" y="3526"/>
                  </a:lnTo>
                  <a:lnTo>
                    <a:pt x="1182" y="3527"/>
                  </a:lnTo>
                  <a:lnTo>
                    <a:pt x="1182" y="3527"/>
                  </a:lnTo>
                  <a:lnTo>
                    <a:pt x="1181" y="3524"/>
                  </a:lnTo>
                  <a:lnTo>
                    <a:pt x="1179" y="3523"/>
                  </a:lnTo>
                  <a:lnTo>
                    <a:pt x="1177" y="3523"/>
                  </a:lnTo>
                  <a:lnTo>
                    <a:pt x="1175" y="3524"/>
                  </a:lnTo>
                  <a:lnTo>
                    <a:pt x="1175" y="3527"/>
                  </a:lnTo>
                  <a:lnTo>
                    <a:pt x="1175" y="3528"/>
                  </a:lnTo>
                  <a:lnTo>
                    <a:pt x="1176" y="3530"/>
                  </a:lnTo>
                  <a:lnTo>
                    <a:pt x="1176" y="3533"/>
                  </a:lnTo>
                  <a:lnTo>
                    <a:pt x="1177" y="3536"/>
                  </a:lnTo>
                  <a:lnTo>
                    <a:pt x="1179" y="3538"/>
                  </a:lnTo>
                  <a:lnTo>
                    <a:pt x="1180" y="3541"/>
                  </a:lnTo>
                  <a:lnTo>
                    <a:pt x="1180" y="3544"/>
                  </a:lnTo>
                  <a:lnTo>
                    <a:pt x="1181" y="3546"/>
                  </a:lnTo>
                  <a:lnTo>
                    <a:pt x="1182" y="3546"/>
                  </a:lnTo>
                  <a:lnTo>
                    <a:pt x="1183" y="3544"/>
                  </a:lnTo>
                  <a:lnTo>
                    <a:pt x="1185" y="3543"/>
                  </a:lnTo>
                  <a:lnTo>
                    <a:pt x="1186" y="3543"/>
                  </a:lnTo>
                  <a:lnTo>
                    <a:pt x="1186" y="3533"/>
                  </a:lnTo>
                  <a:lnTo>
                    <a:pt x="1186" y="3536"/>
                  </a:lnTo>
                  <a:lnTo>
                    <a:pt x="1188" y="3537"/>
                  </a:lnTo>
                  <a:lnTo>
                    <a:pt x="1189" y="3535"/>
                  </a:lnTo>
                  <a:lnTo>
                    <a:pt x="1190" y="3532"/>
                  </a:lnTo>
                  <a:lnTo>
                    <a:pt x="1188" y="3526"/>
                  </a:lnTo>
                  <a:lnTo>
                    <a:pt x="1189" y="3526"/>
                  </a:lnTo>
                  <a:lnTo>
                    <a:pt x="1190" y="3525"/>
                  </a:lnTo>
                  <a:lnTo>
                    <a:pt x="1189" y="3524"/>
                  </a:lnTo>
                  <a:lnTo>
                    <a:pt x="1190" y="3524"/>
                  </a:lnTo>
                  <a:lnTo>
                    <a:pt x="1193" y="3525"/>
                  </a:lnTo>
                  <a:close/>
                  <a:moveTo>
                    <a:pt x="1248" y="3484"/>
                  </a:moveTo>
                  <a:lnTo>
                    <a:pt x="1248" y="3483"/>
                  </a:lnTo>
                  <a:lnTo>
                    <a:pt x="1249" y="3483"/>
                  </a:lnTo>
                  <a:lnTo>
                    <a:pt x="1250" y="3483"/>
                  </a:lnTo>
                  <a:lnTo>
                    <a:pt x="1250" y="3481"/>
                  </a:lnTo>
                  <a:lnTo>
                    <a:pt x="1250" y="3480"/>
                  </a:lnTo>
                  <a:lnTo>
                    <a:pt x="1249" y="3480"/>
                  </a:lnTo>
                  <a:lnTo>
                    <a:pt x="1247" y="3475"/>
                  </a:lnTo>
                  <a:lnTo>
                    <a:pt x="1245" y="3474"/>
                  </a:lnTo>
                  <a:lnTo>
                    <a:pt x="1243" y="3475"/>
                  </a:lnTo>
                  <a:lnTo>
                    <a:pt x="1232" y="3489"/>
                  </a:lnTo>
                  <a:lnTo>
                    <a:pt x="1230" y="3492"/>
                  </a:lnTo>
                  <a:lnTo>
                    <a:pt x="1231" y="3495"/>
                  </a:lnTo>
                  <a:lnTo>
                    <a:pt x="1234" y="3497"/>
                  </a:lnTo>
                  <a:lnTo>
                    <a:pt x="1236" y="3496"/>
                  </a:lnTo>
                  <a:lnTo>
                    <a:pt x="1238" y="3496"/>
                  </a:lnTo>
                  <a:lnTo>
                    <a:pt x="1239" y="3493"/>
                  </a:lnTo>
                  <a:lnTo>
                    <a:pt x="1241" y="3483"/>
                  </a:lnTo>
                  <a:lnTo>
                    <a:pt x="1243" y="3484"/>
                  </a:lnTo>
                  <a:lnTo>
                    <a:pt x="1245" y="3485"/>
                  </a:lnTo>
                  <a:lnTo>
                    <a:pt x="1248" y="3484"/>
                  </a:lnTo>
                  <a:close/>
                  <a:moveTo>
                    <a:pt x="1225" y="3488"/>
                  </a:moveTo>
                  <a:lnTo>
                    <a:pt x="1223" y="3490"/>
                  </a:lnTo>
                  <a:lnTo>
                    <a:pt x="1220" y="3494"/>
                  </a:lnTo>
                  <a:lnTo>
                    <a:pt x="1217" y="3496"/>
                  </a:lnTo>
                  <a:lnTo>
                    <a:pt x="1214" y="3498"/>
                  </a:lnTo>
                  <a:lnTo>
                    <a:pt x="1214" y="3499"/>
                  </a:lnTo>
                  <a:lnTo>
                    <a:pt x="1216" y="3499"/>
                  </a:lnTo>
                  <a:lnTo>
                    <a:pt x="1218" y="3499"/>
                  </a:lnTo>
                  <a:lnTo>
                    <a:pt x="1222" y="3496"/>
                  </a:lnTo>
                  <a:lnTo>
                    <a:pt x="1224" y="3496"/>
                  </a:lnTo>
                  <a:lnTo>
                    <a:pt x="1225" y="3495"/>
                  </a:lnTo>
                  <a:lnTo>
                    <a:pt x="1225" y="3495"/>
                  </a:lnTo>
                  <a:lnTo>
                    <a:pt x="1225" y="3494"/>
                  </a:lnTo>
                  <a:lnTo>
                    <a:pt x="1226" y="3493"/>
                  </a:lnTo>
                  <a:lnTo>
                    <a:pt x="1229" y="3490"/>
                  </a:lnTo>
                  <a:lnTo>
                    <a:pt x="1230" y="3489"/>
                  </a:lnTo>
                  <a:lnTo>
                    <a:pt x="1238" y="3480"/>
                  </a:lnTo>
                  <a:lnTo>
                    <a:pt x="1241" y="3475"/>
                  </a:lnTo>
                  <a:lnTo>
                    <a:pt x="1241" y="3473"/>
                  </a:lnTo>
                  <a:lnTo>
                    <a:pt x="1231" y="3480"/>
                  </a:lnTo>
                  <a:lnTo>
                    <a:pt x="1225" y="3488"/>
                  </a:lnTo>
                  <a:close/>
                  <a:moveTo>
                    <a:pt x="1252" y="3419"/>
                  </a:moveTo>
                  <a:lnTo>
                    <a:pt x="1252" y="3415"/>
                  </a:lnTo>
                  <a:lnTo>
                    <a:pt x="1251" y="3412"/>
                  </a:lnTo>
                  <a:lnTo>
                    <a:pt x="1249" y="3409"/>
                  </a:lnTo>
                  <a:lnTo>
                    <a:pt x="1248" y="3408"/>
                  </a:lnTo>
                  <a:lnTo>
                    <a:pt x="1246" y="3407"/>
                  </a:lnTo>
                  <a:lnTo>
                    <a:pt x="1245" y="3408"/>
                  </a:lnTo>
                  <a:lnTo>
                    <a:pt x="1243" y="3412"/>
                  </a:lnTo>
                  <a:lnTo>
                    <a:pt x="1236" y="3425"/>
                  </a:lnTo>
                  <a:lnTo>
                    <a:pt x="1234" y="3430"/>
                  </a:lnTo>
                  <a:lnTo>
                    <a:pt x="1235" y="3432"/>
                  </a:lnTo>
                  <a:lnTo>
                    <a:pt x="1239" y="3431"/>
                  </a:lnTo>
                  <a:lnTo>
                    <a:pt x="1241" y="3432"/>
                  </a:lnTo>
                  <a:lnTo>
                    <a:pt x="1242" y="3431"/>
                  </a:lnTo>
                  <a:lnTo>
                    <a:pt x="1242" y="3430"/>
                  </a:lnTo>
                  <a:lnTo>
                    <a:pt x="1243" y="3431"/>
                  </a:lnTo>
                  <a:lnTo>
                    <a:pt x="1246" y="3432"/>
                  </a:lnTo>
                  <a:lnTo>
                    <a:pt x="1248" y="3432"/>
                  </a:lnTo>
                  <a:lnTo>
                    <a:pt x="1251" y="3431"/>
                  </a:lnTo>
                  <a:lnTo>
                    <a:pt x="1252" y="3429"/>
                  </a:lnTo>
                  <a:lnTo>
                    <a:pt x="1253" y="3428"/>
                  </a:lnTo>
                  <a:lnTo>
                    <a:pt x="1253" y="3426"/>
                  </a:lnTo>
                  <a:lnTo>
                    <a:pt x="1252" y="3425"/>
                  </a:lnTo>
                  <a:lnTo>
                    <a:pt x="1252" y="3425"/>
                  </a:lnTo>
                  <a:lnTo>
                    <a:pt x="1252" y="3425"/>
                  </a:lnTo>
                  <a:lnTo>
                    <a:pt x="1251" y="3425"/>
                  </a:lnTo>
                  <a:lnTo>
                    <a:pt x="1251" y="3423"/>
                  </a:lnTo>
                  <a:lnTo>
                    <a:pt x="1252" y="3419"/>
                  </a:lnTo>
                  <a:close/>
                  <a:moveTo>
                    <a:pt x="1209" y="3302"/>
                  </a:moveTo>
                  <a:lnTo>
                    <a:pt x="1208" y="3303"/>
                  </a:lnTo>
                  <a:lnTo>
                    <a:pt x="1207" y="3305"/>
                  </a:lnTo>
                  <a:lnTo>
                    <a:pt x="1207" y="3306"/>
                  </a:lnTo>
                  <a:lnTo>
                    <a:pt x="1207" y="3309"/>
                  </a:lnTo>
                  <a:lnTo>
                    <a:pt x="1208" y="3313"/>
                  </a:lnTo>
                  <a:lnTo>
                    <a:pt x="1209" y="3315"/>
                  </a:lnTo>
                  <a:lnTo>
                    <a:pt x="1211" y="3316"/>
                  </a:lnTo>
                  <a:lnTo>
                    <a:pt x="1215" y="3317"/>
                  </a:lnTo>
                  <a:lnTo>
                    <a:pt x="1218" y="3316"/>
                  </a:lnTo>
                  <a:lnTo>
                    <a:pt x="1222" y="3313"/>
                  </a:lnTo>
                  <a:lnTo>
                    <a:pt x="1222" y="3311"/>
                  </a:lnTo>
                  <a:lnTo>
                    <a:pt x="1221" y="3308"/>
                  </a:lnTo>
                  <a:lnTo>
                    <a:pt x="1220" y="3308"/>
                  </a:lnTo>
                  <a:lnTo>
                    <a:pt x="1219" y="3308"/>
                  </a:lnTo>
                  <a:lnTo>
                    <a:pt x="1218" y="3309"/>
                  </a:lnTo>
                  <a:lnTo>
                    <a:pt x="1218" y="3308"/>
                  </a:lnTo>
                  <a:lnTo>
                    <a:pt x="1219" y="3308"/>
                  </a:lnTo>
                  <a:lnTo>
                    <a:pt x="1219" y="3306"/>
                  </a:lnTo>
                  <a:lnTo>
                    <a:pt x="1218" y="3304"/>
                  </a:lnTo>
                  <a:lnTo>
                    <a:pt x="1216" y="3303"/>
                  </a:lnTo>
                  <a:lnTo>
                    <a:pt x="1215" y="3302"/>
                  </a:lnTo>
                  <a:lnTo>
                    <a:pt x="1215" y="3300"/>
                  </a:lnTo>
                  <a:lnTo>
                    <a:pt x="1213" y="3298"/>
                  </a:lnTo>
                  <a:lnTo>
                    <a:pt x="1211" y="3296"/>
                  </a:lnTo>
                  <a:lnTo>
                    <a:pt x="1208" y="3296"/>
                  </a:lnTo>
                  <a:lnTo>
                    <a:pt x="1207" y="3297"/>
                  </a:lnTo>
                  <a:lnTo>
                    <a:pt x="1209" y="3301"/>
                  </a:lnTo>
                  <a:lnTo>
                    <a:pt x="1209" y="3302"/>
                  </a:lnTo>
                  <a:lnTo>
                    <a:pt x="1209" y="3302"/>
                  </a:lnTo>
                  <a:close/>
                  <a:moveTo>
                    <a:pt x="1155" y="3240"/>
                  </a:moveTo>
                  <a:lnTo>
                    <a:pt x="1158" y="3246"/>
                  </a:lnTo>
                  <a:lnTo>
                    <a:pt x="1167" y="3252"/>
                  </a:lnTo>
                  <a:lnTo>
                    <a:pt x="1175" y="3262"/>
                  </a:lnTo>
                  <a:lnTo>
                    <a:pt x="1182" y="3267"/>
                  </a:lnTo>
                  <a:lnTo>
                    <a:pt x="1184" y="3266"/>
                  </a:lnTo>
                  <a:lnTo>
                    <a:pt x="1185" y="3263"/>
                  </a:lnTo>
                  <a:lnTo>
                    <a:pt x="1184" y="3262"/>
                  </a:lnTo>
                  <a:lnTo>
                    <a:pt x="1183" y="3261"/>
                  </a:lnTo>
                  <a:lnTo>
                    <a:pt x="1182" y="3261"/>
                  </a:lnTo>
                  <a:lnTo>
                    <a:pt x="1181" y="3260"/>
                  </a:lnTo>
                  <a:lnTo>
                    <a:pt x="1179" y="3255"/>
                  </a:lnTo>
                  <a:lnTo>
                    <a:pt x="1178" y="3252"/>
                  </a:lnTo>
                  <a:lnTo>
                    <a:pt x="1178" y="3247"/>
                  </a:lnTo>
                  <a:lnTo>
                    <a:pt x="1175" y="3251"/>
                  </a:lnTo>
                  <a:lnTo>
                    <a:pt x="1172" y="3251"/>
                  </a:lnTo>
                  <a:lnTo>
                    <a:pt x="1171" y="3248"/>
                  </a:lnTo>
                  <a:lnTo>
                    <a:pt x="1169" y="3243"/>
                  </a:lnTo>
                  <a:lnTo>
                    <a:pt x="1162" y="3227"/>
                  </a:lnTo>
                  <a:lnTo>
                    <a:pt x="1160" y="3223"/>
                  </a:lnTo>
                  <a:lnTo>
                    <a:pt x="1163" y="3223"/>
                  </a:lnTo>
                  <a:lnTo>
                    <a:pt x="1166" y="3226"/>
                  </a:lnTo>
                  <a:lnTo>
                    <a:pt x="1169" y="3227"/>
                  </a:lnTo>
                  <a:lnTo>
                    <a:pt x="1168" y="3223"/>
                  </a:lnTo>
                  <a:lnTo>
                    <a:pt x="1164" y="3219"/>
                  </a:lnTo>
                  <a:lnTo>
                    <a:pt x="1161" y="3216"/>
                  </a:lnTo>
                  <a:lnTo>
                    <a:pt x="1161" y="3214"/>
                  </a:lnTo>
                  <a:lnTo>
                    <a:pt x="1161" y="3212"/>
                  </a:lnTo>
                  <a:lnTo>
                    <a:pt x="1161" y="3210"/>
                  </a:lnTo>
                  <a:lnTo>
                    <a:pt x="1161" y="3209"/>
                  </a:lnTo>
                  <a:lnTo>
                    <a:pt x="1161" y="3208"/>
                  </a:lnTo>
                  <a:lnTo>
                    <a:pt x="1159" y="3205"/>
                  </a:lnTo>
                  <a:lnTo>
                    <a:pt x="1158" y="3203"/>
                  </a:lnTo>
                  <a:lnTo>
                    <a:pt x="1156" y="3201"/>
                  </a:lnTo>
                  <a:lnTo>
                    <a:pt x="1154" y="3202"/>
                  </a:lnTo>
                  <a:lnTo>
                    <a:pt x="1153" y="3205"/>
                  </a:lnTo>
                  <a:lnTo>
                    <a:pt x="1155" y="3211"/>
                  </a:lnTo>
                  <a:lnTo>
                    <a:pt x="1155" y="3215"/>
                  </a:lnTo>
                  <a:lnTo>
                    <a:pt x="1155" y="3231"/>
                  </a:lnTo>
                  <a:lnTo>
                    <a:pt x="1155" y="3240"/>
                  </a:lnTo>
                  <a:close/>
                  <a:moveTo>
                    <a:pt x="1115" y="2469"/>
                  </a:moveTo>
                  <a:lnTo>
                    <a:pt x="1116" y="2469"/>
                  </a:lnTo>
                  <a:lnTo>
                    <a:pt x="1117" y="2468"/>
                  </a:lnTo>
                  <a:lnTo>
                    <a:pt x="1117" y="2466"/>
                  </a:lnTo>
                  <a:lnTo>
                    <a:pt x="1119" y="2463"/>
                  </a:lnTo>
                  <a:lnTo>
                    <a:pt x="1119" y="2458"/>
                  </a:lnTo>
                  <a:lnTo>
                    <a:pt x="1119" y="2455"/>
                  </a:lnTo>
                  <a:lnTo>
                    <a:pt x="1117" y="2454"/>
                  </a:lnTo>
                  <a:lnTo>
                    <a:pt x="1114" y="2454"/>
                  </a:lnTo>
                  <a:lnTo>
                    <a:pt x="1110" y="2456"/>
                  </a:lnTo>
                  <a:lnTo>
                    <a:pt x="1109" y="2455"/>
                  </a:lnTo>
                  <a:lnTo>
                    <a:pt x="1107" y="2453"/>
                  </a:lnTo>
                  <a:lnTo>
                    <a:pt x="1104" y="2451"/>
                  </a:lnTo>
                  <a:lnTo>
                    <a:pt x="1100" y="2453"/>
                  </a:lnTo>
                  <a:lnTo>
                    <a:pt x="1098" y="2456"/>
                  </a:lnTo>
                  <a:lnTo>
                    <a:pt x="1098" y="2459"/>
                  </a:lnTo>
                  <a:lnTo>
                    <a:pt x="1096" y="2464"/>
                  </a:lnTo>
                  <a:lnTo>
                    <a:pt x="1095" y="2469"/>
                  </a:lnTo>
                  <a:lnTo>
                    <a:pt x="1098" y="2477"/>
                  </a:lnTo>
                  <a:lnTo>
                    <a:pt x="1106" y="2478"/>
                  </a:lnTo>
                  <a:lnTo>
                    <a:pt x="1114" y="2475"/>
                  </a:lnTo>
                  <a:lnTo>
                    <a:pt x="1115" y="2473"/>
                  </a:lnTo>
                  <a:lnTo>
                    <a:pt x="1114" y="2472"/>
                  </a:lnTo>
                  <a:lnTo>
                    <a:pt x="1112" y="2471"/>
                  </a:lnTo>
                  <a:lnTo>
                    <a:pt x="1113" y="2469"/>
                  </a:lnTo>
                  <a:lnTo>
                    <a:pt x="1115" y="2469"/>
                  </a:lnTo>
                  <a:close/>
                  <a:moveTo>
                    <a:pt x="1549" y="2128"/>
                  </a:moveTo>
                  <a:lnTo>
                    <a:pt x="1543" y="2136"/>
                  </a:lnTo>
                  <a:lnTo>
                    <a:pt x="1542" y="2140"/>
                  </a:lnTo>
                  <a:lnTo>
                    <a:pt x="1545" y="2140"/>
                  </a:lnTo>
                  <a:lnTo>
                    <a:pt x="1547" y="2137"/>
                  </a:lnTo>
                  <a:lnTo>
                    <a:pt x="1549" y="2134"/>
                  </a:lnTo>
                  <a:lnTo>
                    <a:pt x="1550" y="2131"/>
                  </a:lnTo>
                  <a:lnTo>
                    <a:pt x="1549" y="2128"/>
                  </a:lnTo>
                  <a:lnTo>
                    <a:pt x="1549" y="2128"/>
                  </a:lnTo>
                  <a:close/>
                  <a:moveTo>
                    <a:pt x="1557" y="2097"/>
                  </a:moveTo>
                  <a:lnTo>
                    <a:pt x="1555" y="2100"/>
                  </a:lnTo>
                  <a:lnTo>
                    <a:pt x="1554" y="2100"/>
                  </a:lnTo>
                  <a:lnTo>
                    <a:pt x="1552" y="2102"/>
                  </a:lnTo>
                  <a:lnTo>
                    <a:pt x="1551" y="2105"/>
                  </a:lnTo>
                  <a:lnTo>
                    <a:pt x="1548" y="2122"/>
                  </a:lnTo>
                  <a:lnTo>
                    <a:pt x="1549" y="2126"/>
                  </a:lnTo>
                  <a:lnTo>
                    <a:pt x="1551" y="2123"/>
                  </a:lnTo>
                  <a:lnTo>
                    <a:pt x="1552" y="2123"/>
                  </a:lnTo>
                  <a:lnTo>
                    <a:pt x="1553" y="2123"/>
                  </a:lnTo>
                  <a:lnTo>
                    <a:pt x="1556" y="2121"/>
                  </a:lnTo>
                  <a:lnTo>
                    <a:pt x="1558" y="2119"/>
                  </a:lnTo>
                  <a:lnTo>
                    <a:pt x="1559" y="2114"/>
                  </a:lnTo>
                  <a:lnTo>
                    <a:pt x="1560" y="2110"/>
                  </a:lnTo>
                  <a:lnTo>
                    <a:pt x="1560" y="2106"/>
                  </a:lnTo>
                  <a:lnTo>
                    <a:pt x="1559" y="2103"/>
                  </a:lnTo>
                  <a:lnTo>
                    <a:pt x="1560" y="2101"/>
                  </a:lnTo>
                  <a:lnTo>
                    <a:pt x="1561" y="2099"/>
                  </a:lnTo>
                  <a:lnTo>
                    <a:pt x="1561" y="2098"/>
                  </a:lnTo>
                  <a:lnTo>
                    <a:pt x="1561" y="2096"/>
                  </a:lnTo>
                  <a:lnTo>
                    <a:pt x="1561" y="2095"/>
                  </a:lnTo>
                  <a:lnTo>
                    <a:pt x="1561" y="2094"/>
                  </a:lnTo>
                  <a:lnTo>
                    <a:pt x="1562" y="2093"/>
                  </a:lnTo>
                  <a:lnTo>
                    <a:pt x="1560" y="2094"/>
                  </a:lnTo>
                  <a:lnTo>
                    <a:pt x="1557" y="2097"/>
                  </a:lnTo>
                  <a:close/>
                  <a:moveTo>
                    <a:pt x="1557" y="2093"/>
                  </a:moveTo>
                  <a:lnTo>
                    <a:pt x="1555" y="2086"/>
                  </a:lnTo>
                  <a:lnTo>
                    <a:pt x="1549" y="2085"/>
                  </a:lnTo>
                  <a:lnTo>
                    <a:pt x="1545" y="2096"/>
                  </a:lnTo>
                  <a:lnTo>
                    <a:pt x="1546" y="2094"/>
                  </a:lnTo>
                  <a:lnTo>
                    <a:pt x="1548" y="2093"/>
                  </a:lnTo>
                  <a:lnTo>
                    <a:pt x="1550" y="2094"/>
                  </a:lnTo>
                  <a:lnTo>
                    <a:pt x="1551" y="2098"/>
                  </a:lnTo>
                  <a:lnTo>
                    <a:pt x="1550" y="2100"/>
                  </a:lnTo>
                  <a:lnTo>
                    <a:pt x="1557" y="2093"/>
                  </a:lnTo>
                  <a:close/>
                  <a:moveTo>
                    <a:pt x="1791" y="1470"/>
                  </a:moveTo>
                  <a:lnTo>
                    <a:pt x="1788" y="1470"/>
                  </a:lnTo>
                  <a:lnTo>
                    <a:pt x="1785" y="1473"/>
                  </a:lnTo>
                  <a:lnTo>
                    <a:pt x="1781" y="1476"/>
                  </a:lnTo>
                  <a:lnTo>
                    <a:pt x="1780" y="1474"/>
                  </a:lnTo>
                  <a:lnTo>
                    <a:pt x="1779" y="1472"/>
                  </a:lnTo>
                  <a:lnTo>
                    <a:pt x="1777" y="1471"/>
                  </a:lnTo>
                  <a:lnTo>
                    <a:pt x="1776" y="1472"/>
                  </a:lnTo>
                  <a:lnTo>
                    <a:pt x="1774" y="1476"/>
                  </a:lnTo>
                  <a:lnTo>
                    <a:pt x="1774" y="1480"/>
                  </a:lnTo>
                  <a:lnTo>
                    <a:pt x="1776" y="1481"/>
                  </a:lnTo>
                  <a:lnTo>
                    <a:pt x="1788" y="1481"/>
                  </a:lnTo>
                  <a:lnTo>
                    <a:pt x="1790" y="1480"/>
                  </a:lnTo>
                  <a:lnTo>
                    <a:pt x="1794" y="1476"/>
                  </a:lnTo>
                  <a:lnTo>
                    <a:pt x="1795" y="1473"/>
                  </a:lnTo>
                  <a:lnTo>
                    <a:pt x="1794" y="1471"/>
                  </a:lnTo>
                  <a:lnTo>
                    <a:pt x="1791" y="1470"/>
                  </a:lnTo>
                  <a:close/>
                  <a:moveTo>
                    <a:pt x="1765" y="1478"/>
                  </a:moveTo>
                  <a:lnTo>
                    <a:pt x="1763" y="1476"/>
                  </a:lnTo>
                  <a:lnTo>
                    <a:pt x="1761" y="1473"/>
                  </a:lnTo>
                  <a:lnTo>
                    <a:pt x="1762" y="1471"/>
                  </a:lnTo>
                  <a:lnTo>
                    <a:pt x="1763" y="1469"/>
                  </a:lnTo>
                  <a:lnTo>
                    <a:pt x="1762" y="1467"/>
                  </a:lnTo>
                  <a:lnTo>
                    <a:pt x="1756" y="1464"/>
                  </a:lnTo>
                  <a:lnTo>
                    <a:pt x="1754" y="1464"/>
                  </a:lnTo>
                  <a:lnTo>
                    <a:pt x="1752" y="1466"/>
                  </a:lnTo>
                  <a:lnTo>
                    <a:pt x="1752" y="1470"/>
                  </a:lnTo>
                  <a:lnTo>
                    <a:pt x="1751" y="1471"/>
                  </a:lnTo>
                  <a:lnTo>
                    <a:pt x="1751" y="1475"/>
                  </a:lnTo>
                  <a:lnTo>
                    <a:pt x="1752" y="1479"/>
                  </a:lnTo>
                  <a:lnTo>
                    <a:pt x="1753" y="1481"/>
                  </a:lnTo>
                  <a:lnTo>
                    <a:pt x="1761" y="1483"/>
                  </a:lnTo>
                  <a:lnTo>
                    <a:pt x="1762" y="1483"/>
                  </a:lnTo>
                  <a:lnTo>
                    <a:pt x="1764" y="1485"/>
                  </a:lnTo>
                  <a:lnTo>
                    <a:pt x="1766" y="1486"/>
                  </a:lnTo>
                  <a:lnTo>
                    <a:pt x="1766" y="1483"/>
                  </a:lnTo>
                  <a:lnTo>
                    <a:pt x="1766" y="1480"/>
                  </a:lnTo>
                  <a:lnTo>
                    <a:pt x="1765" y="1478"/>
                  </a:lnTo>
                  <a:close/>
                  <a:moveTo>
                    <a:pt x="1823" y="1443"/>
                  </a:moveTo>
                  <a:lnTo>
                    <a:pt x="1822" y="1443"/>
                  </a:lnTo>
                  <a:lnTo>
                    <a:pt x="1820" y="1442"/>
                  </a:lnTo>
                  <a:lnTo>
                    <a:pt x="1817" y="1439"/>
                  </a:lnTo>
                  <a:lnTo>
                    <a:pt x="1816" y="1442"/>
                  </a:lnTo>
                  <a:lnTo>
                    <a:pt x="1819" y="1448"/>
                  </a:lnTo>
                  <a:lnTo>
                    <a:pt x="1822" y="1450"/>
                  </a:lnTo>
                  <a:lnTo>
                    <a:pt x="1825" y="1450"/>
                  </a:lnTo>
                  <a:lnTo>
                    <a:pt x="1826" y="1450"/>
                  </a:lnTo>
                  <a:lnTo>
                    <a:pt x="1827" y="1447"/>
                  </a:lnTo>
                  <a:lnTo>
                    <a:pt x="1826" y="1445"/>
                  </a:lnTo>
                  <a:lnTo>
                    <a:pt x="1823" y="1443"/>
                  </a:lnTo>
                  <a:close/>
                  <a:moveTo>
                    <a:pt x="1774" y="1461"/>
                  </a:moveTo>
                  <a:lnTo>
                    <a:pt x="1772" y="1457"/>
                  </a:lnTo>
                  <a:lnTo>
                    <a:pt x="1772" y="1455"/>
                  </a:lnTo>
                  <a:lnTo>
                    <a:pt x="1772" y="1454"/>
                  </a:lnTo>
                  <a:lnTo>
                    <a:pt x="1772" y="1454"/>
                  </a:lnTo>
                  <a:lnTo>
                    <a:pt x="1772" y="1450"/>
                  </a:lnTo>
                  <a:lnTo>
                    <a:pt x="1773" y="1449"/>
                  </a:lnTo>
                  <a:lnTo>
                    <a:pt x="1775" y="1450"/>
                  </a:lnTo>
                  <a:lnTo>
                    <a:pt x="1778" y="1452"/>
                  </a:lnTo>
                  <a:lnTo>
                    <a:pt x="1780" y="1454"/>
                  </a:lnTo>
                  <a:lnTo>
                    <a:pt x="1781" y="1457"/>
                  </a:lnTo>
                  <a:lnTo>
                    <a:pt x="1783" y="1458"/>
                  </a:lnTo>
                  <a:lnTo>
                    <a:pt x="1786" y="1456"/>
                  </a:lnTo>
                  <a:lnTo>
                    <a:pt x="1786" y="1453"/>
                  </a:lnTo>
                  <a:lnTo>
                    <a:pt x="1782" y="1449"/>
                  </a:lnTo>
                  <a:lnTo>
                    <a:pt x="1781" y="1446"/>
                  </a:lnTo>
                  <a:lnTo>
                    <a:pt x="1779" y="1445"/>
                  </a:lnTo>
                  <a:lnTo>
                    <a:pt x="1778" y="1445"/>
                  </a:lnTo>
                  <a:lnTo>
                    <a:pt x="1777" y="1445"/>
                  </a:lnTo>
                  <a:lnTo>
                    <a:pt x="1765" y="1437"/>
                  </a:lnTo>
                  <a:lnTo>
                    <a:pt x="1762" y="1437"/>
                  </a:lnTo>
                  <a:lnTo>
                    <a:pt x="1760" y="1438"/>
                  </a:lnTo>
                  <a:lnTo>
                    <a:pt x="1758" y="1440"/>
                  </a:lnTo>
                  <a:lnTo>
                    <a:pt x="1759" y="1444"/>
                  </a:lnTo>
                  <a:lnTo>
                    <a:pt x="1763" y="1452"/>
                  </a:lnTo>
                  <a:lnTo>
                    <a:pt x="1771" y="1461"/>
                  </a:lnTo>
                  <a:lnTo>
                    <a:pt x="1773" y="1462"/>
                  </a:lnTo>
                  <a:lnTo>
                    <a:pt x="1774" y="1462"/>
                  </a:lnTo>
                  <a:lnTo>
                    <a:pt x="1774" y="1461"/>
                  </a:lnTo>
                  <a:close/>
                  <a:moveTo>
                    <a:pt x="1820" y="1422"/>
                  </a:moveTo>
                  <a:lnTo>
                    <a:pt x="1818" y="1423"/>
                  </a:lnTo>
                  <a:lnTo>
                    <a:pt x="1815" y="1423"/>
                  </a:lnTo>
                  <a:lnTo>
                    <a:pt x="1814" y="1423"/>
                  </a:lnTo>
                  <a:lnTo>
                    <a:pt x="1813" y="1425"/>
                  </a:lnTo>
                  <a:lnTo>
                    <a:pt x="1814" y="1428"/>
                  </a:lnTo>
                  <a:lnTo>
                    <a:pt x="1814" y="1430"/>
                  </a:lnTo>
                  <a:lnTo>
                    <a:pt x="1819" y="1433"/>
                  </a:lnTo>
                  <a:lnTo>
                    <a:pt x="1820" y="1433"/>
                  </a:lnTo>
                  <a:lnTo>
                    <a:pt x="1820" y="1432"/>
                  </a:lnTo>
                  <a:lnTo>
                    <a:pt x="1820" y="1432"/>
                  </a:lnTo>
                  <a:lnTo>
                    <a:pt x="1822" y="1433"/>
                  </a:lnTo>
                  <a:lnTo>
                    <a:pt x="1824" y="1433"/>
                  </a:lnTo>
                  <a:lnTo>
                    <a:pt x="1825" y="1432"/>
                  </a:lnTo>
                  <a:lnTo>
                    <a:pt x="1826" y="1430"/>
                  </a:lnTo>
                  <a:lnTo>
                    <a:pt x="1826" y="1427"/>
                  </a:lnTo>
                  <a:lnTo>
                    <a:pt x="1827" y="1425"/>
                  </a:lnTo>
                  <a:lnTo>
                    <a:pt x="1830" y="1424"/>
                  </a:lnTo>
                  <a:lnTo>
                    <a:pt x="1830" y="1420"/>
                  </a:lnTo>
                  <a:lnTo>
                    <a:pt x="1828" y="1418"/>
                  </a:lnTo>
                  <a:lnTo>
                    <a:pt x="1820" y="1422"/>
                  </a:lnTo>
                  <a:close/>
                  <a:moveTo>
                    <a:pt x="1822" y="1418"/>
                  </a:moveTo>
                  <a:lnTo>
                    <a:pt x="1825" y="1416"/>
                  </a:lnTo>
                  <a:lnTo>
                    <a:pt x="1823" y="1411"/>
                  </a:lnTo>
                  <a:lnTo>
                    <a:pt x="1819" y="1411"/>
                  </a:lnTo>
                  <a:lnTo>
                    <a:pt x="1817" y="1414"/>
                  </a:lnTo>
                  <a:lnTo>
                    <a:pt x="1817" y="1415"/>
                  </a:lnTo>
                  <a:lnTo>
                    <a:pt x="1819" y="1418"/>
                  </a:lnTo>
                  <a:lnTo>
                    <a:pt x="1822" y="1418"/>
                  </a:lnTo>
                  <a:close/>
                  <a:moveTo>
                    <a:pt x="1882" y="1371"/>
                  </a:moveTo>
                  <a:lnTo>
                    <a:pt x="1879" y="1369"/>
                  </a:lnTo>
                  <a:lnTo>
                    <a:pt x="1879" y="1368"/>
                  </a:lnTo>
                  <a:lnTo>
                    <a:pt x="1881" y="1368"/>
                  </a:lnTo>
                  <a:lnTo>
                    <a:pt x="1881" y="1364"/>
                  </a:lnTo>
                  <a:lnTo>
                    <a:pt x="1876" y="1361"/>
                  </a:lnTo>
                  <a:lnTo>
                    <a:pt x="1872" y="1361"/>
                  </a:lnTo>
                  <a:lnTo>
                    <a:pt x="1869" y="1363"/>
                  </a:lnTo>
                  <a:lnTo>
                    <a:pt x="1869" y="1369"/>
                  </a:lnTo>
                  <a:lnTo>
                    <a:pt x="1871" y="1377"/>
                  </a:lnTo>
                  <a:lnTo>
                    <a:pt x="1876" y="1383"/>
                  </a:lnTo>
                  <a:lnTo>
                    <a:pt x="1881" y="1388"/>
                  </a:lnTo>
                  <a:lnTo>
                    <a:pt x="1883" y="1390"/>
                  </a:lnTo>
                  <a:lnTo>
                    <a:pt x="1882" y="1384"/>
                  </a:lnTo>
                  <a:lnTo>
                    <a:pt x="1881" y="1381"/>
                  </a:lnTo>
                  <a:lnTo>
                    <a:pt x="1882" y="1379"/>
                  </a:lnTo>
                  <a:lnTo>
                    <a:pt x="1883" y="1379"/>
                  </a:lnTo>
                  <a:lnTo>
                    <a:pt x="1885" y="1380"/>
                  </a:lnTo>
                  <a:lnTo>
                    <a:pt x="1885" y="1377"/>
                  </a:lnTo>
                  <a:lnTo>
                    <a:pt x="1884" y="1373"/>
                  </a:lnTo>
                  <a:lnTo>
                    <a:pt x="1882" y="1371"/>
                  </a:lnTo>
                  <a:close/>
                  <a:moveTo>
                    <a:pt x="2014" y="1357"/>
                  </a:moveTo>
                  <a:lnTo>
                    <a:pt x="2013" y="1357"/>
                  </a:lnTo>
                  <a:lnTo>
                    <a:pt x="2013" y="1359"/>
                  </a:lnTo>
                  <a:lnTo>
                    <a:pt x="2012" y="1360"/>
                  </a:lnTo>
                  <a:lnTo>
                    <a:pt x="2011" y="1359"/>
                  </a:lnTo>
                  <a:lnTo>
                    <a:pt x="2010" y="1358"/>
                  </a:lnTo>
                  <a:lnTo>
                    <a:pt x="2009" y="1360"/>
                  </a:lnTo>
                  <a:lnTo>
                    <a:pt x="2007" y="1361"/>
                  </a:lnTo>
                  <a:lnTo>
                    <a:pt x="2005" y="1361"/>
                  </a:lnTo>
                  <a:lnTo>
                    <a:pt x="2003" y="1360"/>
                  </a:lnTo>
                  <a:lnTo>
                    <a:pt x="2002" y="1358"/>
                  </a:lnTo>
                  <a:lnTo>
                    <a:pt x="2001" y="1357"/>
                  </a:lnTo>
                  <a:lnTo>
                    <a:pt x="2000" y="1362"/>
                  </a:lnTo>
                  <a:lnTo>
                    <a:pt x="1999" y="1364"/>
                  </a:lnTo>
                  <a:lnTo>
                    <a:pt x="1998" y="1362"/>
                  </a:lnTo>
                  <a:lnTo>
                    <a:pt x="1997" y="1359"/>
                  </a:lnTo>
                  <a:lnTo>
                    <a:pt x="1996" y="1361"/>
                  </a:lnTo>
                  <a:lnTo>
                    <a:pt x="1996" y="1369"/>
                  </a:lnTo>
                  <a:lnTo>
                    <a:pt x="1999" y="1374"/>
                  </a:lnTo>
                  <a:lnTo>
                    <a:pt x="2005" y="1378"/>
                  </a:lnTo>
                  <a:lnTo>
                    <a:pt x="2010" y="1373"/>
                  </a:lnTo>
                  <a:lnTo>
                    <a:pt x="2012" y="1370"/>
                  </a:lnTo>
                  <a:lnTo>
                    <a:pt x="2012" y="1369"/>
                  </a:lnTo>
                  <a:lnTo>
                    <a:pt x="2012" y="1368"/>
                  </a:lnTo>
                  <a:lnTo>
                    <a:pt x="2013" y="1366"/>
                  </a:lnTo>
                  <a:lnTo>
                    <a:pt x="2014" y="1364"/>
                  </a:lnTo>
                  <a:lnTo>
                    <a:pt x="2015" y="1360"/>
                  </a:lnTo>
                  <a:lnTo>
                    <a:pt x="2015" y="1358"/>
                  </a:lnTo>
                  <a:lnTo>
                    <a:pt x="2014" y="1357"/>
                  </a:lnTo>
                  <a:close/>
                  <a:moveTo>
                    <a:pt x="1854" y="1358"/>
                  </a:moveTo>
                  <a:lnTo>
                    <a:pt x="1847" y="1350"/>
                  </a:lnTo>
                  <a:lnTo>
                    <a:pt x="1845" y="1352"/>
                  </a:lnTo>
                  <a:lnTo>
                    <a:pt x="1845" y="1358"/>
                  </a:lnTo>
                  <a:lnTo>
                    <a:pt x="1845" y="1363"/>
                  </a:lnTo>
                  <a:lnTo>
                    <a:pt x="1844" y="1366"/>
                  </a:lnTo>
                  <a:lnTo>
                    <a:pt x="1844" y="1368"/>
                  </a:lnTo>
                  <a:lnTo>
                    <a:pt x="1845" y="1370"/>
                  </a:lnTo>
                  <a:lnTo>
                    <a:pt x="1846" y="1372"/>
                  </a:lnTo>
                  <a:lnTo>
                    <a:pt x="1849" y="1374"/>
                  </a:lnTo>
                  <a:lnTo>
                    <a:pt x="1857" y="1375"/>
                  </a:lnTo>
                  <a:lnTo>
                    <a:pt x="1858" y="1372"/>
                  </a:lnTo>
                  <a:lnTo>
                    <a:pt x="1856" y="1364"/>
                  </a:lnTo>
                  <a:lnTo>
                    <a:pt x="1854" y="1358"/>
                  </a:lnTo>
                  <a:close/>
                  <a:moveTo>
                    <a:pt x="2066" y="1312"/>
                  </a:moveTo>
                  <a:lnTo>
                    <a:pt x="2063" y="1297"/>
                  </a:lnTo>
                  <a:lnTo>
                    <a:pt x="2058" y="1289"/>
                  </a:lnTo>
                  <a:lnTo>
                    <a:pt x="2055" y="1281"/>
                  </a:lnTo>
                  <a:lnTo>
                    <a:pt x="2055" y="1273"/>
                  </a:lnTo>
                  <a:lnTo>
                    <a:pt x="2055" y="1267"/>
                  </a:lnTo>
                  <a:lnTo>
                    <a:pt x="2051" y="1247"/>
                  </a:lnTo>
                  <a:lnTo>
                    <a:pt x="2049" y="1242"/>
                  </a:lnTo>
                  <a:lnTo>
                    <a:pt x="2048" y="1239"/>
                  </a:lnTo>
                  <a:lnTo>
                    <a:pt x="2044" y="1235"/>
                  </a:lnTo>
                  <a:lnTo>
                    <a:pt x="2042" y="1233"/>
                  </a:lnTo>
                  <a:lnTo>
                    <a:pt x="2041" y="1229"/>
                  </a:lnTo>
                  <a:lnTo>
                    <a:pt x="2032" y="1203"/>
                  </a:lnTo>
                  <a:lnTo>
                    <a:pt x="2029" y="1198"/>
                  </a:lnTo>
                  <a:lnTo>
                    <a:pt x="2012" y="1192"/>
                  </a:lnTo>
                  <a:lnTo>
                    <a:pt x="2006" y="1187"/>
                  </a:lnTo>
                  <a:lnTo>
                    <a:pt x="2002" y="1180"/>
                  </a:lnTo>
                  <a:lnTo>
                    <a:pt x="1997" y="1160"/>
                  </a:lnTo>
                  <a:lnTo>
                    <a:pt x="1996" y="1150"/>
                  </a:lnTo>
                  <a:lnTo>
                    <a:pt x="1993" y="1141"/>
                  </a:lnTo>
                  <a:lnTo>
                    <a:pt x="1993" y="1137"/>
                  </a:lnTo>
                  <a:lnTo>
                    <a:pt x="1993" y="1133"/>
                  </a:lnTo>
                  <a:lnTo>
                    <a:pt x="1994" y="1128"/>
                  </a:lnTo>
                  <a:lnTo>
                    <a:pt x="1995" y="1124"/>
                  </a:lnTo>
                  <a:lnTo>
                    <a:pt x="1995" y="1118"/>
                  </a:lnTo>
                  <a:lnTo>
                    <a:pt x="1994" y="1111"/>
                  </a:lnTo>
                  <a:lnTo>
                    <a:pt x="1994" y="1106"/>
                  </a:lnTo>
                  <a:lnTo>
                    <a:pt x="1993" y="1102"/>
                  </a:lnTo>
                  <a:lnTo>
                    <a:pt x="1990" y="1095"/>
                  </a:lnTo>
                  <a:lnTo>
                    <a:pt x="1990" y="1090"/>
                  </a:lnTo>
                  <a:lnTo>
                    <a:pt x="1991" y="1080"/>
                  </a:lnTo>
                  <a:lnTo>
                    <a:pt x="1995" y="1075"/>
                  </a:lnTo>
                  <a:lnTo>
                    <a:pt x="2000" y="1071"/>
                  </a:lnTo>
                  <a:lnTo>
                    <a:pt x="2004" y="1069"/>
                  </a:lnTo>
                  <a:lnTo>
                    <a:pt x="2004" y="1063"/>
                  </a:lnTo>
                  <a:lnTo>
                    <a:pt x="2007" y="1060"/>
                  </a:lnTo>
                  <a:lnTo>
                    <a:pt x="2012" y="1057"/>
                  </a:lnTo>
                  <a:lnTo>
                    <a:pt x="2015" y="1053"/>
                  </a:lnTo>
                  <a:lnTo>
                    <a:pt x="2016" y="1049"/>
                  </a:lnTo>
                  <a:lnTo>
                    <a:pt x="2024" y="1042"/>
                  </a:lnTo>
                  <a:lnTo>
                    <a:pt x="2027" y="1039"/>
                  </a:lnTo>
                  <a:lnTo>
                    <a:pt x="2029" y="1033"/>
                  </a:lnTo>
                  <a:lnTo>
                    <a:pt x="2029" y="1026"/>
                  </a:lnTo>
                  <a:lnTo>
                    <a:pt x="2029" y="1019"/>
                  </a:lnTo>
                  <a:lnTo>
                    <a:pt x="2027" y="1012"/>
                  </a:lnTo>
                  <a:lnTo>
                    <a:pt x="2029" y="1005"/>
                  </a:lnTo>
                  <a:lnTo>
                    <a:pt x="2030" y="998"/>
                  </a:lnTo>
                  <a:lnTo>
                    <a:pt x="2031" y="990"/>
                  </a:lnTo>
                  <a:lnTo>
                    <a:pt x="2031" y="982"/>
                  </a:lnTo>
                  <a:lnTo>
                    <a:pt x="2029" y="967"/>
                  </a:lnTo>
                  <a:lnTo>
                    <a:pt x="2029" y="964"/>
                  </a:lnTo>
                  <a:lnTo>
                    <a:pt x="2034" y="955"/>
                  </a:lnTo>
                  <a:lnTo>
                    <a:pt x="2037" y="948"/>
                  </a:lnTo>
                  <a:lnTo>
                    <a:pt x="2040" y="947"/>
                  </a:lnTo>
                  <a:lnTo>
                    <a:pt x="2044" y="947"/>
                  </a:lnTo>
                  <a:lnTo>
                    <a:pt x="2046" y="946"/>
                  </a:lnTo>
                  <a:lnTo>
                    <a:pt x="2047" y="942"/>
                  </a:lnTo>
                  <a:lnTo>
                    <a:pt x="2046" y="939"/>
                  </a:lnTo>
                  <a:lnTo>
                    <a:pt x="2040" y="919"/>
                  </a:lnTo>
                  <a:lnTo>
                    <a:pt x="2036" y="909"/>
                  </a:lnTo>
                  <a:lnTo>
                    <a:pt x="2032" y="903"/>
                  </a:lnTo>
                  <a:lnTo>
                    <a:pt x="2026" y="894"/>
                  </a:lnTo>
                  <a:lnTo>
                    <a:pt x="2017" y="873"/>
                  </a:lnTo>
                  <a:lnTo>
                    <a:pt x="2013" y="868"/>
                  </a:lnTo>
                  <a:lnTo>
                    <a:pt x="2008" y="866"/>
                  </a:lnTo>
                  <a:lnTo>
                    <a:pt x="2005" y="863"/>
                  </a:lnTo>
                  <a:lnTo>
                    <a:pt x="2002" y="856"/>
                  </a:lnTo>
                  <a:lnTo>
                    <a:pt x="1996" y="843"/>
                  </a:lnTo>
                  <a:lnTo>
                    <a:pt x="1995" y="840"/>
                  </a:lnTo>
                  <a:lnTo>
                    <a:pt x="1994" y="837"/>
                  </a:lnTo>
                  <a:lnTo>
                    <a:pt x="1994" y="833"/>
                  </a:lnTo>
                  <a:lnTo>
                    <a:pt x="1994" y="828"/>
                  </a:lnTo>
                  <a:lnTo>
                    <a:pt x="1993" y="824"/>
                  </a:lnTo>
                  <a:lnTo>
                    <a:pt x="1992" y="821"/>
                  </a:lnTo>
                  <a:lnTo>
                    <a:pt x="1990" y="819"/>
                  </a:lnTo>
                  <a:lnTo>
                    <a:pt x="1986" y="811"/>
                  </a:lnTo>
                  <a:lnTo>
                    <a:pt x="1982" y="806"/>
                  </a:lnTo>
                  <a:lnTo>
                    <a:pt x="1980" y="801"/>
                  </a:lnTo>
                  <a:lnTo>
                    <a:pt x="1979" y="793"/>
                  </a:lnTo>
                  <a:lnTo>
                    <a:pt x="1981" y="790"/>
                  </a:lnTo>
                  <a:lnTo>
                    <a:pt x="1982" y="786"/>
                  </a:lnTo>
                  <a:lnTo>
                    <a:pt x="1984" y="782"/>
                  </a:lnTo>
                  <a:lnTo>
                    <a:pt x="1985" y="776"/>
                  </a:lnTo>
                  <a:lnTo>
                    <a:pt x="1982" y="775"/>
                  </a:lnTo>
                  <a:lnTo>
                    <a:pt x="1981" y="772"/>
                  </a:lnTo>
                  <a:lnTo>
                    <a:pt x="1982" y="764"/>
                  </a:lnTo>
                  <a:lnTo>
                    <a:pt x="1983" y="757"/>
                  </a:lnTo>
                  <a:lnTo>
                    <a:pt x="1986" y="753"/>
                  </a:lnTo>
                  <a:lnTo>
                    <a:pt x="2004" y="745"/>
                  </a:lnTo>
                  <a:lnTo>
                    <a:pt x="2009" y="738"/>
                  </a:lnTo>
                  <a:lnTo>
                    <a:pt x="2012" y="725"/>
                  </a:lnTo>
                  <a:lnTo>
                    <a:pt x="2007" y="722"/>
                  </a:lnTo>
                  <a:lnTo>
                    <a:pt x="2007" y="712"/>
                  </a:lnTo>
                  <a:lnTo>
                    <a:pt x="2009" y="701"/>
                  </a:lnTo>
                  <a:lnTo>
                    <a:pt x="2009" y="691"/>
                  </a:lnTo>
                  <a:lnTo>
                    <a:pt x="2007" y="689"/>
                  </a:lnTo>
                  <a:lnTo>
                    <a:pt x="2004" y="687"/>
                  </a:lnTo>
                  <a:lnTo>
                    <a:pt x="1993" y="685"/>
                  </a:lnTo>
                  <a:lnTo>
                    <a:pt x="1982" y="678"/>
                  </a:lnTo>
                  <a:lnTo>
                    <a:pt x="1976" y="678"/>
                  </a:lnTo>
                  <a:lnTo>
                    <a:pt x="1969" y="681"/>
                  </a:lnTo>
                  <a:lnTo>
                    <a:pt x="1963" y="682"/>
                  </a:lnTo>
                  <a:lnTo>
                    <a:pt x="1958" y="674"/>
                  </a:lnTo>
                  <a:lnTo>
                    <a:pt x="1956" y="664"/>
                  </a:lnTo>
                  <a:lnTo>
                    <a:pt x="1958" y="656"/>
                  </a:lnTo>
                  <a:lnTo>
                    <a:pt x="1961" y="649"/>
                  </a:lnTo>
                  <a:lnTo>
                    <a:pt x="1964" y="640"/>
                  </a:lnTo>
                  <a:lnTo>
                    <a:pt x="1963" y="635"/>
                  </a:lnTo>
                  <a:lnTo>
                    <a:pt x="1967" y="631"/>
                  </a:lnTo>
                  <a:lnTo>
                    <a:pt x="1972" y="626"/>
                  </a:lnTo>
                  <a:lnTo>
                    <a:pt x="1975" y="622"/>
                  </a:lnTo>
                  <a:lnTo>
                    <a:pt x="1975" y="612"/>
                  </a:lnTo>
                  <a:lnTo>
                    <a:pt x="1974" y="606"/>
                  </a:lnTo>
                  <a:lnTo>
                    <a:pt x="1970" y="595"/>
                  </a:lnTo>
                  <a:lnTo>
                    <a:pt x="1969" y="588"/>
                  </a:lnTo>
                  <a:lnTo>
                    <a:pt x="1967" y="571"/>
                  </a:lnTo>
                  <a:lnTo>
                    <a:pt x="1965" y="565"/>
                  </a:lnTo>
                  <a:lnTo>
                    <a:pt x="1964" y="560"/>
                  </a:lnTo>
                  <a:lnTo>
                    <a:pt x="1964" y="535"/>
                  </a:lnTo>
                  <a:lnTo>
                    <a:pt x="1964" y="526"/>
                  </a:lnTo>
                  <a:lnTo>
                    <a:pt x="1963" y="516"/>
                  </a:lnTo>
                  <a:lnTo>
                    <a:pt x="1964" y="506"/>
                  </a:lnTo>
                  <a:lnTo>
                    <a:pt x="1967" y="499"/>
                  </a:lnTo>
                  <a:lnTo>
                    <a:pt x="1972" y="494"/>
                  </a:lnTo>
                  <a:lnTo>
                    <a:pt x="1983" y="490"/>
                  </a:lnTo>
                  <a:lnTo>
                    <a:pt x="1988" y="485"/>
                  </a:lnTo>
                  <a:lnTo>
                    <a:pt x="1992" y="477"/>
                  </a:lnTo>
                  <a:lnTo>
                    <a:pt x="1993" y="470"/>
                  </a:lnTo>
                  <a:lnTo>
                    <a:pt x="1990" y="464"/>
                  </a:lnTo>
                  <a:lnTo>
                    <a:pt x="1979" y="460"/>
                  </a:lnTo>
                  <a:lnTo>
                    <a:pt x="1964" y="442"/>
                  </a:lnTo>
                  <a:lnTo>
                    <a:pt x="1960" y="439"/>
                  </a:lnTo>
                  <a:lnTo>
                    <a:pt x="1948" y="427"/>
                  </a:lnTo>
                  <a:lnTo>
                    <a:pt x="1947" y="424"/>
                  </a:lnTo>
                  <a:lnTo>
                    <a:pt x="1947" y="420"/>
                  </a:lnTo>
                  <a:lnTo>
                    <a:pt x="1940" y="395"/>
                  </a:lnTo>
                  <a:lnTo>
                    <a:pt x="1938" y="390"/>
                  </a:lnTo>
                  <a:lnTo>
                    <a:pt x="1936" y="387"/>
                  </a:lnTo>
                  <a:lnTo>
                    <a:pt x="1931" y="387"/>
                  </a:lnTo>
                  <a:lnTo>
                    <a:pt x="1917" y="397"/>
                  </a:lnTo>
                  <a:lnTo>
                    <a:pt x="1914" y="397"/>
                  </a:lnTo>
                  <a:lnTo>
                    <a:pt x="1913" y="395"/>
                  </a:lnTo>
                  <a:lnTo>
                    <a:pt x="1912" y="395"/>
                  </a:lnTo>
                  <a:lnTo>
                    <a:pt x="1912" y="394"/>
                  </a:lnTo>
                  <a:lnTo>
                    <a:pt x="1911" y="390"/>
                  </a:lnTo>
                  <a:lnTo>
                    <a:pt x="1911" y="387"/>
                  </a:lnTo>
                  <a:lnTo>
                    <a:pt x="1912" y="384"/>
                  </a:lnTo>
                  <a:lnTo>
                    <a:pt x="1913" y="373"/>
                  </a:lnTo>
                  <a:lnTo>
                    <a:pt x="1913" y="370"/>
                  </a:lnTo>
                  <a:lnTo>
                    <a:pt x="1911" y="366"/>
                  </a:lnTo>
                  <a:lnTo>
                    <a:pt x="1912" y="357"/>
                  </a:lnTo>
                  <a:lnTo>
                    <a:pt x="1910" y="349"/>
                  </a:lnTo>
                  <a:lnTo>
                    <a:pt x="1903" y="340"/>
                  </a:lnTo>
                  <a:lnTo>
                    <a:pt x="1900" y="336"/>
                  </a:lnTo>
                  <a:lnTo>
                    <a:pt x="1900" y="332"/>
                  </a:lnTo>
                  <a:lnTo>
                    <a:pt x="1899" y="329"/>
                  </a:lnTo>
                  <a:lnTo>
                    <a:pt x="1898" y="325"/>
                  </a:lnTo>
                  <a:lnTo>
                    <a:pt x="1896" y="322"/>
                  </a:lnTo>
                  <a:lnTo>
                    <a:pt x="1872" y="305"/>
                  </a:lnTo>
                  <a:lnTo>
                    <a:pt x="1868" y="299"/>
                  </a:lnTo>
                  <a:lnTo>
                    <a:pt x="1861" y="285"/>
                  </a:lnTo>
                  <a:lnTo>
                    <a:pt x="1857" y="280"/>
                  </a:lnTo>
                  <a:lnTo>
                    <a:pt x="1848" y="284"/>
                  </a:lnTo>
                  <a:lnTo>
                    <a:pt x="1843" y="278"/>
                  </a:lnTo>
                  <a:lnTo>
                    <a:pt x="1838" y="271"/>
                  </a:lnTo>
                  <a:lnTo>
                    <a:pt x="1834" y="266"/>
                  </a:lnTo>
                  <a:lnTo>
                    <a:pt x="1831" y="266"/>
                  </a:lnTo>
                  <a:lnTo>
                    <a:pt x="1828" y="267"/>
                  </a:lnTo>
                  <a:lnTo>
                    <a:pt x="1825" y="267"/>
                  </a:lnTo>
                  <a:lnTo>
                    <a:pt x="1819" y="263"/>
                  </a:lnTo>
                  <a:lnTo>
                    <a:pt x="1811" y="262"/>
                  </a:lnTo>
                  <a:lnTo>
                    <a:pt x="1801" y="256"/>
                  </a:lnTo>
                  <a:lnTo>
                    <a:pt x="1789" y="255"/>
                  </a:lnTo>
                  <a:lnTo>
                    <a:pt x="1788" y="254"/>
                  </a:lnTo>
                  <a:lnTo>
                    <a:pt x="1788" y="249"/>
                  </a:lnTo>
                  <a:lnTo>
                    <a:pt x="1788" y="249"/>
                  </a:lnTo>
                  <a:lnTo>
                    <a:pt x="1777" y="245"/>
                  </a:lnTo>
                  <a:lnTo>
                    <a:pt x="1740" y="245"/>
                  </a:lnTo>
                  <a:lnTo>
                    <a:pt x="1735" y="240"/>
                  </a:lnTo>
                  <a:lnTo>
                    <a:pt x="1735" y="238"/>
                  </a:lnTo>
                  <a:lnTo>
                    <a:pt x="1735" y="235"/>
                  </a:lnTo>
                  <a:lnTo>
                    <a:pt x="1734" y="232"/>
                  </a:lnTo>
                  <a:lnTo>
                    <a:pt x="1733" y="231"/>
                  </a:lnTo>
                  <a:lnTo>
                    <a:pt x="1732" y="230"/>
                  </a:lnTo>
                  <a:lnTo>
                    <a:pt x="1731" y="228"/>
                  </a:lnTo>
                  <a:lnTo>
                    <a:pt x="1728" y="224"/>
                  </a:lnTo>
                  <a:lnTo>
                    <a:pt x="1724" y="217"/>
                  </a:lnTo>
                  <a:lnTo>
                    <a:pt x="1723" y="215"/>
                  </a:lnTo>
                  <a:lnTo>
                    <a:pt x="1716" y="205"/>
                  </a:lnTo>
                  <a:lnTo>
                    <a:pt x="1687" y="197"/>
                  </a:lnTo>
                  <a:lnTo>
                    <a:pt x="1684" y="183"/>
                  </a:lnTo>
                  <a:lnTo>
                    <a:pt x="1675" y="177"/>
                  </a:lnTo>
                  <a:lnTo>
                    <a:pt x="1661" y="162"/>
                  </a:lnTo>
                  <a:lnTo>
                    <a:pt x="1649" y="159"/>
                  </a:lnTo>
                  <a:lnTo>
                    <a:pt x="1644" y="154"/>
                  </a:lnTo>
                  <a:lnTo>
                    <a:pt x="1642" y="150"/>
                  </a:lnTo>
                  <a:lnTo>
                    <a:pt x="1637" y="136"/>
                  </a:lnTo>
                  <a:lnTo>
                    <a:pt x="1636" y="131"/>
                  </a:lnTo>
                  <a:lnTo>
                    <a:pt x="1634" y="127"/>
                  </a:lnTo>
                  <a:lnTo>
                    <a:pt x="1631" y="124"/>
                  </a:lnTo>
                  <a:lnTo>
                    <a:pt x="1620" y="124"/>
                  </a:lnTo>
                  <a:lnTo>
                    <a:pt x="1619" y="124"/>
                  </a:lnTo>
                  <a:lnTo>
                    <a:pt x="1618" y="122"/>
                  </a:lnTo>
                  <a:lnTo>
                    <a:pt x="1617" y="118"/>
                  </a:lnTo>
                  <a:lnTo>
                    <a:pt x="1616" y="117"/>
                  </a:lnTo>
                  <a:lnTo>
                    <a:pt x="1614" y="115"/>
                  </a:lnTo>
                  <a:lnTo>
                    <a:pt x="1605" y="97"/>
                  </a:lnTo>
                  <a:lnTo>
                    <a:pt x="1594" y="86"/>
                  </a:lnTo>
                  <a:lnTo>
                    <a:pt x="1581" y="74"/>
                  </a:lnTo>
                  <a:lnTo>
                    <a:pt x="1555" y="63"/>
                  </a:lnTo>
                  <a:lnTo>
                    <a:pt x="1552" y="57"/>
                  </a:lnTo>
                  <a:lnTo>
                    <a:pt x="1552" y="49"/>
                  </a:lnTo>
                  <a:lnTo>
                    <a:pt x="1557" y="46"/>
                  </a:lnTo>
                  <a:lnTo>
                    <a:pt x="1560" y="39"/>
                  </a:lnTo>
                  <a:lnTo>
                    <a:pt x="1560" y="31"/>
                  </a:lnTo>
                  <a:lnTo>
                    <a:pt x="1556" y="25"/>
                  </a:lnTo>
                  <a:lnTo>
                    <a:pt x="1548" y="22"/>
                  </a:lnTo>
                  <a:lnTo>
                    <a:pt x="1537" y="11"/>
                  </a:lnTo>
                  <a:lnTo>
                    <a:pt x="1518" y="8"/>
                  </a:lnTo>
                  <a:lnTo>
                    <a:pt x="1510" y="0"/>
                  </a:lnTo>
                  <a:lnTo>
                    <a:pt x="1469" y="3"/>
                  </a:lnTo>
                  <a:lnTo>
                    <a:pt x="1428" y="6"/>
                  </a:lnTo>
                  <a:lnTo>
                    <a:pt x="1465" y="56"/>
                  </a:lnTo>
                  <a:lnTo>
                    <a:pt x="1467" y="63"/>
                  </a:lnTo>
                  <a:lnTo>
                    <a:pt x="1468" y="102"/>
                  </a:lnTo>
                  <a:lnTo>
                    <a:pt x="1467" y="111"/>
                  </a:lnTo>
                  <a:lnTo>
                    <a:pt x="1465" y="119"/>
                  </a:lnTo>
                  <a:lnTo>
                    <a:pt x="1449" y="166"/>
                  </a:lnTo>
                  <a:lnTo>
                    <a:pt x="1435" y="189"/>
                  </a:lnTo>
                  <a:lnTo>
                    <a:pt x="1405" y="217"/>
                  </a:lnTo>
                  <a:lnTo>
                    <a:pt x="1450" y="245"/>
                  </a:lnTo>
                  <a:lnTo>
                    <a:pt x="1413" y="294"/>
                  </a:lnTo>
                  <a:lnTo>
                    <a:pt x="1407" y="299"/>
                  </a:lnTo>
                  <a:lnTo>
                    <a:pt x="1400" y="299"/>
                  </a:lnTo>
                  <a:lnTo>
                    <a:pt x="1329" y="268"/>
                  </a:lnTo>
                  <a:lnTo>
                    <a:pt x="1258" y="233"/>
                  </a:lnTo>
                  <a:lnTo>
                    <a:pt x="1205" y="237"/>
                  </a:lnTo>
                  <a:lnTo>
                    <a:pt x="1196" y="234"/>
                  </a:lnTo>
                  <a:lnTo>
                    <a:pt x="1170" y="208"/>
                  </a:lnTo>
                  <a:lnTo>
                    <a:pt x="1163" y="203"/>
                  </a:lnTo>
                  <a:lnTo>
                    <a:pt x="1124" y="218"/>
                  </a:lnTo>
                  <a:lnTo>
                    <a:pt x="1121" y="220"/>
                  </a:lnTo>
                  <a:lnTo>
                    <a:pt x="1120" y="222"/>
                  </a:lnTo>
                  <a:lnTo>
                    <a:pt x="1119" y="227"/>
                  </a:lnTo>
                  <a:lnTo>
                    <a:pt x="1116" y="267"/>
                  </a:lnTo>
                  <a:lnTo>
                    <a:pt x="1115" y="280"/>
                  </a:lnTo>
                  <a:lnTo>
                    <a:pt x="1124" y="364"/>
                  </a:lnTo>
                  <a:lnTo>
                    <a:pt x="1120" y="381"/>
                  </a:lnTo>
                  <a:lnTo>
                    <a:pt x="1091" y="442"/>
                  </a:lnTo>
                  <a:lnTo>
                    <a:pt x="1086" y="453"/>
                  </a:lnTo>
                  <a:lnTo>
                    <a:pt x="1081" y="460"/>
                  </a:lnTo>
                  <a:lnTo>
                    <a:pt x="1077" y="462"/>
                  </a:lnTo>
                  <a:lnTo>
                    <a:pt x="1032" y="433"/>
                  </a:lnTo>
                  <a:lnTo>
                    <a:pt x="986" y="404"/>
                  </a:lnTo>
                  <a:lnTo>
                    <a:pt x="983" y="407"/>
                  </a:lnTo>
                  <a:lnTo>
                    <a:pt x="970" y="432"/>
                  </a:lnTo>
                  <a:lnTo>
                    <a:pt x="905" y="487"/>
                  </a:lnTo>
                  <a:lnTo>
                    <a:pt x="901" y="493"/>
                  </a:lnTo>
                  <a:lnTo>
                    <a:pt x="897" y="501"/>
                  </a:lnTo>
                  <a:lnTo>
                    <a:pt x="873" y="597"/>
                  </a:lnTo>
                  <a:lnTo>
                    <a:pt x="870" y="606"/>
                  </a:lnTo>
                  <a:lnTo>
                    <a:pt x="853" y="634"/>
                  </a:lnTo>
                  <a:lnTo>
                    <a:pt x="844" y="644"/>
                  </a:lnTo>
                  <a:lnTo>
                    <a:pt x="835" y="649"/>
                  </a:lnTo>
                  <a:lnTo>
                    <a:pt x="808" y="655"/>
                  </a:lnTo>
                  <a:lnTo>
                    <a:pt x="805" y="660"/>
                  </a:lnTo>
                  <a:lnTo>
                    <a:pt x="797" y="690"/>
                  </a:lnTo>
                  <a:lnTo>
                    <a:pt x="846" y="782"/>
                  </a:lnTo>
                  <a:lnTo>
                    <a:pt x="847" y="789"/>
                  </a:lnTo>
                  <a:lnTo>
                    <a:pt x="842" y="842"/>
                  </a:lnTo>
                  <a:lnTo>
                    <a:pt x="840" y="849"/>
                  </a:lnTo>
                  <a:lnTo>
                    <a:pt x="835" y="854"/>
                  </a:lnTo>
                  <a:lnTo>
                    <a:pt x="826" y="859"/>
                  </a:lnTo>
                  <a:lnTo>
                    <a:pt x="796" y="890"/>
                  </a:lnTo>
                  <a:lnTo>
                    <a:pt x="783" y="909"/>
                  </a:lnTo>
                  <a:lnTo>
                    <a:pt x="724" y="1025"/>
                  </a:lnTo>
                  <a:lnTo>
                    <a:pt x="685" y="1068"/>
                  </a:lnTo>
                  <a:lnTo>
                    <a:pt x="686" y="1079"/>
                  </a:lnTo>
                  <a:lnTo>
                    <a:pt x="693" y="1122"/>
                  </a:lnTo>
                  <a:lnTo>
                    <a:pt x="694" y="1127"/>
                  </a:lnTo>
                  <a:lnTo>
                    <a:pt x="696" y="1140"/>
                  </a:lnTo>
                  <a:lnTo>
                    <a:pt x="696" y="1148"/>
                  </a:lnTo>
                  <a:lnTo>
                    <a:pt x="694" y="1153"/>
                  </a:lnTo>
                  <a:lnTo>
                    <a:pt x="626" y="1201"/>
                  </a:lnTo>
                  <a:lnTo>
                    <a:pt x="585" y="1207"/>
                  </a:lnTo>
                  <a:lnTo>
                    <a:pt x="545" y="1212"/>
                  </a:lnTo>
                  <a:lnTo>
                    <a:pt x="561" y="1322"/>
                  </a:lnTo>
                  <a:lnTo>
                    <a:pt x="562" y="1338"/>
                  </a:lnTo>
                  <a:lnTo>
                    <a:pt x="560" y="1346"/>
                  </a:lnTo>
                  <a:lnTo>
                    <a:pt x="549" y="1371"/>
                  </a:lnTo>
                  <a:lnTo>
                    <a:pt x="548" y="1377"/>
                  </a:lnTo>
                  <a:lnTo>
                    <a:pt x="540" y="1468"/>
                  </a:lnTo>
                  <a:lnTo>
                    <a:pt x="540" y="1486"/>
                  </a:lnTo>
                  <a:lnTo>
                    <a:pt x="541" y="1506"/>
                  </a:lnTo>
                  <a:lnTo>
                    <a:pt x="540" y="1523"/>
                  </a:lnTo>
                  <a:lnTo>
                    <a:pt x="535" y="1535"/>
                  </a:lnTo>
                  <a:lnTo>
                    <a:pt x="522" y="1547"/>
                  </a:lnTo>
                  <a:lnTo>
                    <a:pt x="519" y="1553"/>
                  </a:lnTo>
                  <a:lnTo>
                    <a:pt x="517" y="1562"/>
                  </a:lnTo>
                  <a:lnTo>
                    <a:pt x="513" y="1597"/>
                  </a:lnTo>
                  <a:lnTo>
                    <a:pt x="512" y="1600"/>
                  </a:lnTo>
                  <a:lnTo>
                    <a:pt x="512" y="1601"/>
                  </a:lnTo>
                  <a:lnTo>
                    <a:pt x="508" y="1612"/>
                  </a:lnTo>
                  <a:lnTo>
                    <a:pt x="486" y="1647"/>
                  </a:lnTo>
                  <a:lnTo>
                    <a:pt x="486" y="1647"/>
                  </a:lnTo>
                  <a:lnTo>
                    <a:pt x="444" y="1723"/>
                  </a:lnTo>
                  <a:lnTo>
                    <a:pt x="402" y="1798"/>
                  </a:lnTo>
                  <a:lnTo>
                    <a:pt x="449" y="1833"/>
                  </a:lnTo>
                  <a:lnTo>
                    <a:pt x="456" y="1835"/>
                  </a:lnTo>
                  <a:lnTo>
                    <a:pt x="469" y="1838"/>
                  </a:lnTo>
                  <a:lnTo>
                    <a:pt x="474" y="1842"/>
                  </a:lnTo>
                  <a:lnTo>
                    <a:pt x="477" y="1851"/>
                  </a:lnTo>
                  <a:lnTo>
                    <a:pt x="485" y="1937"/>
                  </a:lnTo>
                  <a:lnTo>
                    <a:pt x="484" y="1944"/>
                  </a:lnTo>
                  <a:lnTo>
                    <a:pt x="482" y="1950"/>
                  </a:lnTo>
                  <a:lnTo>
                    <a:pt x="456" y="2005"/>
                  </a:lnTo>
                  <a:lnTo>
                    <a:pt x="453" y="2008"/>
                  </a:lnTo>
                  <a:lnTo>
                    <a:pt x="449" y="2008"/>
                  </a:lnTo>
                  <a:lnTo>
                    <a:pt x="393" y="1994"/>
                  </a:lnTo>
                  <a:lnTo>
                    <a:pt x="337" y="1979"/>
                  </a:lnTo>
                  <a:lnTo>
                    <a:pt x="297" y="1990"/>
                  </a:lnTo>
                  <a:lnTo>
                    <a:pt x="261" y="2015"/>
                  </a:lnTo>
                  <a:lnTo>
                    <a:pt x="250" y="2028"/>
                  </a:lnTo>
                  <a:lnTo>
                    <a:pt x="218" y="2080"/>
                  </a:lnTo>
                  <a:lnTo>
                    <a:pt x="188" y="2135"/>
                  </a:lnTo>
                  <a:lnTo>
                    <a:pt x="168" y="2156"/>
                  </a:lnTo>
                  <a:lnTo>
                    <a:pt x="176" y="2192"/>
                  </a:lnTo>
                  <a:lnTo>
                    <a:pt x="176" y="2200"/>
                  </a:lnTo>
                  <a:lnTo>
                    <a:pt x="174" y="2207"/>
                  </a:lnTo>
                  <a:lnTo>
                    <a:pt x="140" y="2266"/>
                  </a:lnTo>
                  <a:lnTo>
                    <a:pt x="151" y="2295"/>
                  </a:lnTo>
                  <a:lnTo>
                    <a:pt x="177" y="2366"/>
                  </a:lnTo>
                  <a:lnTo>
                    <a:pt x="158" y="2394"/>
                  </a:lnTo>
                  <a:lnTo>
                    <a:pt x="156" y="2399"/>
                  </a:lnTo>
                  <a:lnTo>
                    <a:pt x="157" y="2407"/>
                  </a:lnTo>
                  <a:lnTo>
                    <a:pt x="166" y="2460"/>
                  </a:lnTo>
                  <a:lnTo>
                    <a:pt x="166" y="2468"/>
                  </a:lnTo>
                  <a:lnTo>
                    <a:pt x="163" y="2477"/>
                  </a:lnTo>
                  <a:lnTo>
                    <a:pt x="158" y="2494"/>
                  </a:lnTo>
                  <a:lnTo>
                    <a:pt x="156" y="2504"/>
                  </a:lnTo>
                  <a:lnTo>
                    <a:pt x="156" y="2511"/>
                  </a:lnTo>
                  <a:lnTo>
                    <a:pt x="186" y="2594"/>
                  </a:lnTo>
                  <a:lnTo>
                    <a:pt x="187" y="2596"/>
                  </a:lnTo>
                  <a:lnTo>
                    <a:pt x="191" y="2613"/>
                  </a:lnTo>
                  <a:lnTo>
                    <a:pt x="192" y="2618"/>
                  </a:lnTo>
                  <a:lnTo>
                    <a:pt x="192" y="2631"/>
                  </a:lnTo>
                  <a:lnTo>
                    <a:pt x="179" y="2717"/>
                  </a:lnTo>
                  <a:lnTo>
                    <a:pt x="167" y="2803"/>
                  </a:lnTo>
                  <a:lnTo>
                    <a:pt x="169" y="2807"/>
                  </a:lnTo>
                  <a:lnTo>
                    <a:pt x="188" y="2828"/>
                  </a:lnTo>
                  <a:lnTo>
                    <a:pt x="195" y="2834"/>
                  </a:lnTo>
                  <a:lnTo>
                    <a:pt x="207" y="2850"/>
                  </a:lnTo>
                  <a:lnTo>
                    <a:pt x="212" y="2853"/>
                  </a:lnTo>
                  <a:lnTo>
                    <a:pt x="218" y="2855"/>
                  </a:lnTo>
                  <a:lnTo>
                    <a:pt x="229" y="2855"/>
                  </a:lnTo>
                  <a:lnTo>
                    <a:pt x="234" y="2858"/>
                  </a:lnTo>
                  <a:lnTo>
                    <a:pt x="239" y="2862"/>
                  </a:lnTo>
                  <a:lnTo>
                    <a:pt x="281" y="2921"/>
                  </a:lnTo>
                  <a:lnTo>
                    <a:pt x="282" y="2924"/>
                  </a:lnTo>
                  <a:lnTo>
                    <a:pt x="282" y="2927"/>
                  </a:lnTo>
                  <a:lnTo>
                    <a:pt x="277" y="2959"/>
                  </a:lnTo>
                  <a:lnTo>
                    <a:pt x="275" y="2968"/>
                  </a:lnTo>
                  <a:lnTo>
                    <a:pt x="271" y="2975"/>
                  </a:lnTo>
                  <a:lnTo>
                    <a:pt x="260" y="2993"/>
                  </a:lnTo>
                  <a:lnTo>
                    <a:pt x="259" y="2996"/>
                  </a:lnTo>
                  <a:lnTo>
                    <a:pt x="258" y="3000"/>
                  </a:lnTo>
                  <a:lnTo>
                    <a:pt x="255" y="3023"/>
                  </a:lnTo>
                  <a:lnTo>
                    <a:pt x="254" y="3024"/>
                  </a:lnTo>
                  <a:lnTo>
                    <a:pt x="253" y="3027"/>
                  </a:lnTo>
                  <a:lnTo>
                    <a:pt x="250" y="3029"/>
                  </a:lnTo>
                  <a:lnTo>
                    <a:pt x="232" y="3026"/>
                  </a:lnTo>
                  <a:lnTo>
                    <a:pt x="223" y="3026"/>
                  </a:lnTo>
                  <a:lnTo>
                    <a:pt x="186" y="3038"/>
                  </a:lnTo>
                  <a:lnTo>
                    <a:pt x="182" y="3042"/>
                  </a:lnTo>
                  <a:lnTo>
                    <a:pt x="182" y="3049"/>
                  </a:lnTo>
                  <a:lnTo>
                    <a:pt x="188" y="3064"/>
                  </a:lnTo>
                  <a:lnTo>
                    <a:pt x="191" y="3074"/>
                  </a:lnTo>
                  <a:lnTo>
                    <a:pt x="195" y="3098"/>
                  </a:lnTo>
                  <a:lnTo>
                    <a:pt x="197" y="3110"/>
                  </a:lnTo>
                  <a:lnTo>
                    <a:pt x="201" y="3122"/>
                  </a:lnTo>
                  <a:lnTo>
                    <a:pt x="218" y="3154"/>
                  </a:lnTo>
                  <a:lnTo>
                    <a:pt x="236" y="3200"/>
                  </a:lnTo>
                  <a:lnTo>
                    <a:pt x="238" y="3209"/>
                  </a:lnTo>
                  <a:lnTo>
                    <a:pt x="239" y="3219"/>
                  </a:lnTo>
                  <a:lnTo>
                    <a:pt x="237" y="3231"/>
                  </a:lnTo>
                  <a:lnTo>
                    <a:pt x="236" y="3239"/>
                  </a:lnTo>
                  <a:lnTo>
                    <a:pt x="233" y="3245"/>
                  </a:lnTo>
                  <a:lnTo>
                    <a:pt x="230" y="3250"/>
                  </a:lnTo>
                  <a:lnTo>
                    <a:pt x="222" y="3261"/>
                  </a:lnTo>
                  <a:lnTo>
                    <a:pt x="219" y="3265"/>
                  </a:lnTo>
                  <a:lnTo>
                    <a:pt x="219" y="3270"/>
                  </a:lnTo>
                  <a:lnTo>
                    <a:pt x="220" y="3281"/>
                  </a:lnTo>
                  <a:lnTo>
                    <a:pt x="224" y="3302"/>
                  </a:lnTo>
                  <a:lnTo>
                    <a:pt x="225" y="3313"/>
                  </a:lnTo>
                  <a:lnTo>
                    <a:pt x="222" y="3327"/>
                  </a:lnTo>
                  <a:lnTo>
                    <a:pt x="218" y="3339"/>
                  </a:lnTo>
                  <a:lnTo>
                    <a:pt x="212" y="3348"/>
                  </a:lnTo>
                  <a:lnTo>
                    <a:pt x="188" y="3377"/>
                  </a:lnTo>
                  <a:lnTo>
                    <a:pt x="164" y="3396"/>
                  </a:lnTo>
                  <a:lnTo>
                    <a:pt x="158" y="3398"/>
                  </a:lnTo>
                  <a:lnTo>
                    <a:pt x="132" y="3396"/>
                  </a:lnTo>
                  <a:lnTo>
                    <a:pt x="124" y="3398"/>
                  </a:lnTo>
                  <a:lnTo>
                    <a:pt x="122" y="3401"/>
                  </a:lnTo>
                  <a:lnTo>
                    <a:pt x="118" y="3405"/>
                  </a:lnTo>
                  <a:lnTo>
                    <a:pt x="116" y="3416"/>
                  </a:lnTo>
                  <a:lnTo>
                    <a:pt x="119" y="3420"/>
                  </a:lnTo>
                  <a:lnTo>
                    <a:pt x="123" y="3426"/>
                  </a:lnTo>
                  <a:lnTo>
                    <a:pt x="124" y="3427"/>
                  </a:lnTo>
                  <a:lnTo>
                    <a:pt x="126" y="3432"/>
                  </a:lnTo>
                  <a:lnTo>
                    <a:pt x="126" y="3437"/>
                  </a:lnTo>
                  <a:lnTo>
                    <a:pt x="125" y="3449"/>
                  </a:lnTo>
                  <a:lnTo>
                    <a:pt x="125" y="3455"/>
                  </a:lnTo>
                  <a:lnTo>
                    <a:pt x="124" y="3457"/>
                  </a:lnTo>
                  <a:lnTo>
                    <a:pt x="118" y="3467"/>
                  </a:lnTo>
                  <a:lnTo>
                    <a:pt x="114" y="3472"/>
                  </a:lnTo>
                  <a:lnTo>
                    <a:pt x="93" y="3484"/>
                  </a:lnTo>
                  <a:lnTo>
                    <a:pt x="90" y="3488"/>
                  </a:lnTo>
                  <a:lnTo>
                    <a:pt x="89" y="3496"/>
                  </a:lnTo>
                  <a:lnTo>
                    <a:pt x="90" y="3503"/>
                  </a:lnTo>
                  <a:lnTo>
                    <a:pt x="107" y="3565"/>
                  </a:lnTo>
                  <a:lnTo>
                    <a:pt x="111" y="3586"/>
                  </a:lnTo>
                  <a:lnTo>
                    <a:pt x="112" y="3593"/>
                  </a:lnTo>
                  <a:lnTo>
                    <a:pt x="112" y="3600"/>
                  </a:lnTo>
                  <a:lnTo>
                    <a:pt x="111" y="3600"/>
                  </a:lnTo>
                  <a:lnTo>
                    <a:pt x="110" y="3604"/>
                  </a:lnTo>
                  <a:lnTo>
                    <a:pt x="107" y="3609"/>
                  </a:lnTo>
                  <a:lnTo>
                    <a:pt x="106" y="3614"/>
                  </a:lnTo>
                  <a:lnTo>
                    <a:pt x="101" y="3633"/>
                  </a:lnTo>
                  <a:lnTo>
                    <a:pt x="101" y="3648"/>
                  </a:lnTo>
                  <a:lnTo>
                    <a:pt x="99" y="3656"/>
                  </a:lnTo>
                  <a:lnTo>
                    <a:pt x="95" y="3670"/>
                  </a:lnTo>
                  <a:lnTo>
                    <a:pt x="94" y="3677"/>
                  </a:lnTo>
                  <a:lnTo>
                    <a:pt x="93" y="3685"/>
                  </a:lnTo>
                  <a:lnTo>
                    <a:pt x="88" y="3701"/>
                  </a:lnTo>
                  <a:lnTo>
                    <a:pt x="80" y="3709"/>
                  </a:lnTo>
                  <a:lnTo>
                    <a:pt x="70" y="3712"/>
                  </a:lnTo>
                  <a:lnTo>
                    <a:pt x="59" y="3711"/>
                  </a:lnTo>
                  <a:lnTo>
                    <a:pt x="55" y="3709"/>
                  </a:lnTo>
                  <a:lnTo>
                    <a:pt x="55" y="3689"/>
                  </a:lnTo>
                  <a:lnTo>
                    <a:pt x="52" y="3679"/>
                  </a:lnTo>
                  <a:lnTo>
                    <a:pt x="52" y="3679"/>
                  </a:lnTo>
                  <a:lnTo>
                    <a:pt x="52" y="3679"/>
                  </a:lnTo>
                  <a:lnTo>
                    <a:pt x="52" y="3679"/>
                  </a:lnTo>
                  <a:lnTo>
                    <a:pt x="51" y="3679"/>
                  </a:lnTo>
                  <a:lnTo>
                    <a:pt x="48" y="3676"/>
                  </a:lnTo>
                  <a:lnTo>
                    <a:pt x="45" y="3671"/>
                  </a:lnTo>
                  <a:lnTo>
                    <a:pt x="42" y="3664"/>
                  </a:lnTo>
                  <a:lnTo>
                    <a:pt x="41" y="3657"/>
                  </a:lnTo>
                  <a:lnTo>
                    <a:pt x="39" y="3648"/>
                  </a:lnTo>
                  <a:lnTo>
                    <a:pt x="34" y="3646"/>
                  </a:lnTo>
                  <a:lnTo>
                    <a:pt x="18" y="3649"/>
                  </a:lnTo>
                  <a:lnTo>
                    <a:pt x="13" y="3652"/>
                  </a:lnTo>
                  <a:lnTo>
                    <a:pt x="3" y="3667"/>
                  </a:lnTo>
                  <a:lnTo>
                    <a:pt x="2" y="3670"/>
                  </a:lnTo>
                  <a:lnTo>
                    <a:pt x="1" y="3674"/>
                  </a:lnTo>
                  <a:lnTo>
                    <a:pt x="2" y="3679"/>
                  </a:lnTo>
                  <a:lnTo>
                    <a:pt x="5" y="3680"/>
                  </a:lnTo>
                  <a:lnTo>
                    <a:pt x="12" y="3679"/>
                  </a:lnTo>
                  <a:lnTo>
                    <a:pt x="5" y="3683"/>
                  </a:lnTo>
                  <a:lnTo>
                    <a:pt x="1" y="3686"/>
                  </a:lnTo>
                  <a:lnTo>
                    <a:pt x="0" y="3691"/>
                  </a:lnTo>
                  <a:lnTo>
                    <a:pt x="2" y="3695"/>
                  </a:lnTo>
                  <a:lnTo>
                    <a:pt x="6" y="3698"/>
                  </a:lnTo>
                  <a:lnTo>
                    <a:pt x="14" y="3700"/>
                  </a:lnTo>
                  <a:lnTo>
                    <a:pt x="14" y="3703"/>
                  </a:lnTo>
                  <a:lnTo>
                    <a:pt x="13" y="3704"/>
                  </a:lnTo>
                  <a:lnTo>
                    <a:pt x="13" y="3705"/>
                  </a:lnTo>
                  <a:lnTo>
                    <a:pt x="14" y="3708"/>
                  </a:lnTo>
                  <a:lnTo>
                    <a:pt x="14" y="3711"/>
                  </a:lnTo>
                  <a:lnTo>
                    <a:pt x="14" y="3718"/>
                  </a:lnTo>
                  <a:lnTo>
                    <a:pt x="15" y="3721"/>
                  </a:lnTo>
                  <a:lnTo>
                    <a:pt x="17" y="3722"/>
                  </a:lnTo>
                  <a:lnTo>
                    <a:pt x="19" y="3723"/>
                  </a:lnTo>
                  <a:lnTo>
                    <a:pt x="20" y="3724"/>
                  </a:lnTo>
                  <a:lnTo>
                    <a:pt x="20" y="3735"/>
                  </a:lnTo>
                  <a:lnTo>
                    <a:pt x="20" y="3738"/>
                  </a:lnTo>
                  <a:lnTo>
                    <a:pt x="18" y="3742"/>
                  </a:lnTo>
                  <a:lnTo>
                    <a:pt x="17" y="3744"/>
                  </a:lnTo>
                  <a:lnTo>
                    <a:pt x="16" y="3747"/>
                  </a:lnTo>
                  <a:lnTo>
                    <a:pt x="16" y="3751"/>
                  </a:lnTo>
                  <a:lnTo>
                    <a:pt x="13" y="3752"/>
                  </a:lnTo>
                  <a:lnTo>
                    <a:pt x="11" y="3758"/>
                  </a:lnTo>
                  <a:lnTo>
                    <a:pt x="11" y="3763"/>
                  </a:lnTo>
                  <a:lnTo>
                    <a:pt x="12" y="3765"/>
                  </a:lnTo>
                  <a:lnTo>
                    <a:pt x="17" y="3765"/>
                  </a:lnTo>
                  <a:lnTo>
                    <a:pt x="17" y="3766"/>
                  </a:lnTo>
                  <a:lnTo>
                    <a:pt x="17" y="3769"/>
                  </a:lnTo>
                  <a:lnTo>
                    <a:pt x="16" y="3775"/>
                  </a:lnTo>
                  <a:lnTo>
                    <a:pt x="22" y="3784"/>
                  </a:lnTo>
                  <a:lnTo>
                    <a:pt x="24" y="3788"/>
                  </a:lnTo>
                  <a:lnTo>
                    <a:pt x="24" y="3791"/>
                  </a:lnTo>
                  <a:lnTo>
                    <a:pt x="23" y="3794"/>
                  </a:lnTo>
                  <a:lnTo>
                    <a:pt x="23" y="3797"/>
                  </a:lnTo>
                  <a:lnTo>
                    <a:pt x="23" y="3799"/>
                  </a:lnTo>
                  <a:lnTo>
                    <a:pt x="25" y="3800"/>
                  </a:lnTo>
                  <a:lnTo>
                    <a:pt x="26" y="3801"/>
                  </a:lnTo>
                  <a:lnTo>
                    <a:pt x="25" y="3805"/>
                  </a:lnTo>
                  <a:lnTo>
                    <a:pt x="28" y="3805"/>
                  </a:lnTo>
                  <a:lnTo>
                    <a:pt x="27" y="3808"/>
                  </a:lnTo>
                  <a:lnTo>
                    <a:pt x="26" y="3809"/>
                  </a:lnTo>
                  <a:lnTo>
                    <a:pt x="25" y="3810"/>
                  </a:lnTo>
                  <a:lnTo>
                    <a:pt x="23" y="3812"/>
                  </a:lnTo>
                  <a:lnTo>
                    <a:pt x="23" y="3815"/>
                  </a:lnTo>
                  <a:lnTo>
                    <a:pt x="23" y="3824"/>
                  </a:lnTo>
                  <a:lnTo>
                    <a:pt x="22" y="3824"/>
                  </a:lnTo>
                  <a:lnTo>
                    <a:pt x="22" y="3824"/>
                  </a:lnTo>
                  <a:lnTo>
                    <a:pt x="21" y="3826"/>
                  </a:lnTo>
                  <a:lnTo>
                    <a:pt x="21" y="3827"/>
                  </a:lnTo>
                  <a:lnTo>
                    <a:pt x="21" y="3829"/>
                  </a:lnTo>
                  <a:lnTo>
                    <a:pt x="22" y="3831"/>
                  </a:lnTo>
                  <a:lnTo>
                    <a:pt x="23" y="3833"/>
                  </a:lnTo>
                  <a:lnTo>
                    <a:pt x="24" y="3835"/>
                  </a:lnTo>
                  <a:lnTo>
                    <a:pt x="29" y="3838"/>
                  </a:lnTo>
                  <a:lnTo>
                    <a:pt x="27" y="3842"/>
                  </a:lnTo>
                  <a:lnTo>
                    <a:pt x="24" y="3844"/>
                  </a:lnTo>
                  <a:lnTo>
                    <a:pt x="23" y="3847"/>
                  </a:lnTo>
                  <a:lnTo>
                    <a:pt x="24" y="3853"/>
                  </a:lnTo>
                  <a:lnTo>
                    <a:pt x="18" y="3852"/>
                  </a:lnTo>
                  <a:lnTo>
                    <a:pt x="16" y="3854"/>
                  </a:lnTo>
                  <a:lnTo>
                    <a:pt x="15" y="3859"/>
                  </a:lnTo>
                  <a:lnTo>
                    <a:pt x="18" y="3866"/>
                  </a:lnTo>
                  <a:lnTo>
                    <a:pt x="18" y="3869"/>
                  </a:lnTo>
                  <a:lnTo>
                    <a:pt x="18" y="3872"/>
                  </a:lnTo>
                  <a:lnTo>
                    <a:pt x="17" y="3874"/>
                  </a:lnTo>
                  <a:lnTo>
                    <a:pt x="18" y="3876"/>
                  </a:lnTo>
                  <a:lnTo>
                    <a:pt x="20" y="3878"/>
                  </a:lnTo>
                  <a:lnTo>
                    <a:pt x="23" y="3870"/>
                  </a:lnTo>
                  <a:lnTo>
                    <a:pt x="27" y="3870"/>
                  </a:lnTo>
                  <a:lnTo>
                    <a:pt x="31" y="3872"/>
                  </a:lnTo>
                  <a:lnTo>
                    <a:pt x="36" y="3870"/>
                  </a:lnTo>
                  <a:lnTo>
                    <a:pt x="36" y="3868"/>
                  </a:lnTo>
                  <a:lnTo>
                    <a:pt x="37" y="3865"/>
                  </a:lnTo>
                  <a:lnTo>
                    <a:pt x="38" y="3863"/>
                  </a:lnTo>
                  <a:lnTo>
                    <a:pt x="39" y="3862"/>
                  </a:lnTo>
                  <a:lnTo>
                    <a:pt x="42" y="3860"/>
                  </a:lnTo>
                  <a:lnTo>
                    <a:pt x="49" y="3850"/>
                  </a:lnTo>
                  <a:lnTo>
                    <a:pt x="50" y="3847"/>
                  </a:lnTo>
                  <a:lnTo>
                    <a:pt x="49" y="3851"/>
                  </a:lnTo>
                  <a:lnTo>
                    <a:pt x="47" y="3854"/>
                  </a:lnTo>
                  <a:lnTo>
                    <a:pt x="44" y="3860"/>
                  </a:lnTo>
                  <a:lnTo>
                    <a:pt x="38" y="3873"/>
                  </a:lnTo>
                  <a:lnTo>
                    <a:pt x="38" y="3876"/>
                  </a:lnTo>
                  <a:lnTo>
                    <a:pt x="39" y="3877"/>
                  </a:lnTo>
                  <a:lnTo>
                    <a:pt x="41" y="3875"/>
                  </a:lnTo>
                  <a:lnTo>
                    <a:pt x="43" y="3874"/>
                  </a:lnTo>
                  <a:lnTo>
                    <a:pt x="45" y="3870"/>
                  </a:lnTo>
                  <a:lnTo>
                    <a:pt x="46" y="3866"/>
                  </a:lnTo>
                  <a:lnTo>
                    <a:pt x="47" y="3863"/>
                  </a:lnTo>
                  <a:lnTo>
                    <a:pt x="50" y="3863"/>
                  </a:lnTo>
                  <a:lnTo>
                    <a:pt x="50" y="3870"/>
                  </a:lnTo>
                  <a:lnTo>
                    <a:pt x="53" y="3875"/>
                  </a:lnTo>
                  <a:lnTo>
                    <a:pt x="54" y="3877"/>
                  </a:lnTo>
                  <a:lnTo>
                    <a:pt x="48" y="3878"/>
                  </a:lnTo>
                  <a:lnTo>
                    <a:pt x="46" y="3879"/>
                  </a:lnTo>
                  <a:lnTo>
                    <a:pt x="45" y="3881"/>
                  </a:lnTo>
                  <a:lnTo>
                    <a:pt x="44" y="3884"/>
                  </a:lnTo>
                  <a:lnTo>
                    <a:pt x="45" y="3888"/>
                  </a:lnTo>
                  <a:lnTo>
                    <a:pt x="46" y="3889"/>
                  </a:lnTo>
                  <a:lnTo>
                    <a:pt x="51" y="3886"/>
                  </a:lnTo>
                  <a:lnTo>
                    <a:pt x="53" y="3886"/>
                  </a:lnTo>
                  <a:lnTo>
                    <a:pt x="53" y="3888"/>
                  </a:lnTo>
                  <a:lnTo>
                    <a:pt x="51" y="3890"/>
                  </a:lnTo>
                  <a:lnTo>
                    <a:pt x="49" y="3893"/>
                  </a:lnTo>
                  <a:lnTo>
                    <a:pt x="47" y="3896"/>
                  </a:lnTo>
                  <a:lnTo>
                    <a:pt x="46" y="3900"/>
                  </a:lnTo>
                  <a:lnTo>
                    <a:pt x="57" y="3892"/>
                  </a:lnTo>
                  <a:lnTo>
                    <a:pt x="61" y="3886"/>
                  </a:lnTo>
                  <a:lnTo>
                    <a:pt x="66" y="3879"/>
                  </a:lnTo>
                  <a:lnTo>
                    <a:pt x="69" y="3870"/>
                  </a:lnTo>
                  <a:lnTo>
                    <a:pt x="70" y="3860"/>
                  </a:lnTo>
                  <a:lnTo>
                    <a:pt x="70" y="3849"/>
                  </a:lnTo>
                  <a:lnTo>
                    <a:pt x="70" y="3841"/>
                  </a:lnTo>
                  <a:lnTo>
                    <a:pt x="70" y="3841"/>
                  </a:lnTo>
                  <a:lnTo>
                    <a:pt x="71" y="3845"/>
                  </a:lnTo>
                  <a:lnTo>
                    <a:pt x="75" y="3855"/>
                  </a:lnTo>
                  <a:lnTo>
                    <a:pt x="76" y="3859"/>
                  </a:lnTo>
                  <a:lnTo>
                    <a:pt x="79" y="3855"/>
                  </a:lnTo>
                  <a:lnTo>
                    <a:pt x="83" y="3850"/>
                  </a:lnTo>
                  <a:lnTo>
                    <a:pt x="86" y="3848"/>
                  </a:lnTo>
                  <a:lnTo>
                    <a:pt x="89" y="3853"/>
                  </a:lnTo>
                  <a:lnTo>
                    <a:pt x="84" y="3856"/>
                  </a:lnTo>
                  <a:lnTo>
                    <a:pt x="81" y="3858"/>
                  </a:lnTo>
                  <a:lnTo>
                    <a:pt x="79" y="3861"/>
                  </a:lnTo>
                  <a:lnTo>
                    <a:pt x="81" y="3863"/>
                  </a:lnTo>
                  <a:lnTo>
                    <a:pt x="73" y="3873"/>
                  </a:lnTo>
                  <a:lnTo>
                    <a:pt x="69" y="3880"/>
                  </a:lnTo>
                  <a:lnTo>
                    <a:pt x="65" y="3888"/>
                  </a:lnTo>
                  <a:lnTo>
                    <a:pt x="63" y="3896"/>
                  </a:lnTo>
                  <a:lnTo>
                    <a:pt x="61" y="3902"/>
                  </a:lnTo>
                  <a:lnTo>
                    <a:pt x="63" y="3907"/>
                  </a:lnTo>
                  <a:lnTo>
                    <a:pt x="68" y="3909"/>
                  </a:lnTo>
                  <a:lnTo>
                    <a:pt x="67" y="3904"/>
                  </a:lnTo>
                  <a:lnTo>
                    <a:pt x="66" y="3903"/>
                  </a:lnTo>
                  <a:lnTo>
                    <a:pt x="68" y="3904"/>
                  </a:lnTo>
                  <a:lnTo>
                    <a:pt x="70" y="3905"/>
                  </a:lnTo>
                  <a:lnTo>
                    <a:pt x="73" y="3905"/>
                  </a:lnTo>
                  <a:lnTo>
                    <a:pt x="75" y="3905"/>
                  </a:lnTo>
                  <a:lnTo>
                    <a:pt x="76" y="3903"/>
                  </a:lnTo>
                  <a:lnTo>
                    <a:pt x="80" y="3898"/>
                  </a:lnTo>
                  <a:lnTo>
                    <a:pt x="81" y="3896"/>
                  </a:lnTo>
                  <a:lnTo>
                    <a:pt x="82" y="3895"/>
                  </a:lnTo>
                  <a:lnTo>
                    <a:pt x="90" y="3888"/>
                  </a:lnTo>
                  <a:lnTo>
                    <a:pt x="96" y="3888"/>
                  </a:lnTo>
                  <a:lnTo>
                    <a:pt x="98" y="3886"/>
                  </a:lnTo>
                  <a:lnTo>
                    <a:pt x="98" y="3882"/>
                  </a:lnTo>
                  <a:lnTo>
                    <a:pt x="102" y="3881"/>
                  </a:lnTo>
                  <a:lnTo>
                    <a:pt x="111" y="3882"/>
                  </a:lnTo>
                  <a:lnTo>
                    <a:pt x="118" y="3877"/>
                  </a:lnTo>
                  <a:lnTo>
                    <a:pt x="121" y="3876"/>
                  </a:lnTo>
                  <a:lnTo>
                    <a:pt x="123" y="3880"/>
                  </a:lnTo>
                  <a:lnTo>
                    <a:pt x="114" y="3885"/>
                  </a:lnTo>
                  <a:lnTo>
                    <a:pt x="111" y="3889"/>
                  </a:lnTo>
                  <a:lnTo>
                    <a:pt x="112" y="3896"/>
                  </a:lnTo>
                  <a:lnTo>
                    <a:pt x="114" y="3899"/>
                  </a:lnTo>
                  <a:lnTo>
                    <a:pt x="115" y="3901"/>
                  </a:lnTo>
                  <a:lnTo>
                    <a:pt x="117" y="3904"/>
                  </a:lnTo>
                  <a:lnTo>
                    <a:pt x="118" y="3912"/>
                  </a:lnTo>
                  <a:lnTo>
                    <a:pt x="119" y="3914"/>
                  </a:lnTo>
                  <a:lnTo>
                    <a:pt x="121" y="3915"/>
                  </a:lnTo>
                  <a:lnTo>
                    <a:pt x="124" y="3915"/>
                  </a:lnTo>
                  <a:lnTo>
                    <a:pt x="123" y="3918"/>
                  </a:lnTo>
                  <a:lnTo>
                    <a:pt x="122" y="3920"/>
                  </a:lnTo>
                  <a:lnTo>
                    <a:pt x="120" y="3921"/>
                  </a:lnTo>
                  <a:lnTo>
                    <a:pt x="118" y="3921"/>
                  </a:lnTo>
                  <a:lnTo>
                    <a:pt x="116" y="3922"/>
                  </a:lnTo>
                  <a:lnTo>
                    <a:pt x="116" y="3924"/>
                  </a:lnTo>
                  <a:lnTo>
                    <a:pt x="114" y="3944"/>
                  </a:lnTo>
                  <a:lnTo>
                    <a:pt x="113" y="3949"/>
                  </a:lnTo>
                  <a:lnTo>
                    <a:pt x="109" y="3950"/>
                  </a:lnTo>
                  <a:lnTo>
                    <a:pt x="109" y="3952"/>
                  </a:lnTo>
                  <a:lnTo>
                    <a:pt x="109" y="3953"/>
                  </a:lnTo>
                  <a:lnTo>
                    <a:pt x="110" y="3954"/>
                  </a:lnTo>
                  <a:lnTo>
                    <a:pt x="108" y="3956"/>
                  </a:lnTo>
                  <a:lnTo>
                    <a:pt x="107" y="3959"/>
                  </a:lnTo>
                  <a:lnTo>
                    <a:pt x="108" y="3962"/>
                  </a:lnTo>
                  <a:lnTo>
                    <a:pt x="109" y="3965"/>
                  </a:lnTo>
                  <a:lnTo>
                    <a:pt x="110" y="3969"/>
                  </a:lnTo>
                  <a:lnTo>
                    <a:pt x="110" y="3973"/>
                  </a:lnTo>
                  <a:lnTo>
                    <a:pt x="108" y="3981"/>
                  </a:lnTo>
                  <a:lnTo>
                    <a:pt x="101" y="3993"/>
                  </a:lnTo>
                  <a:lnTo>
                    <a:pt x="100" y="3998"/>
                  </a:lnTo>
                  <a:lnTo>
                    <a:pt x="104" y="4001"/>
                  </a:lnTo>
                  <a:lnTo>
                    <a:pt x="103" y="4004"/>
                  </a:lnTo>
                  <a:lnTo>
                    <a:pt x="103" y="4005"/>
                  </a:lnTo>
                  <a:lnTo>
                    <a:pt x="101" y="4005"/>
                  </a:lnTo>
                  <a:lnTo>
                    <a:pt x="101" y="4007"/>
                  </a:lnTo>
                  <a:lnTo>
                    <a:pt x="103" y="4007"/>
                  </a:lnTo>
                  <a:lnTo>
                    <a:pt x="103" y="4009"/>
                  </a:lnTo>
                  <a:lnTo>
                    <a:pt x="95" y="4012"/>
                  </a:lnTo>
                  <a:lnTo>
                    <a:pt x="93" y="4015"/>
                  </a:lnTo>
                  <a:lnTo>
                    <a:pt x="95" y="4022"/>
                  </a:lnTo>
                  <a:lnTo>
                    <a:pt x="92" y="4022"/>
                  </a:lnTo>
                  <a:lnTo>
                    <a:pt x="90" y="4023"/>
                  </a:lnTo>
                  <a:lnTo>
                    <a:pt x="87" y="4028"/>
                  </a:lnTo>
                  <a:lnTo>
                    <a:pt x="92" y="4028"/>
                  </a:lnTo>
                  <a:lnTo>
                    <a:pt x="95" y="4033"/>
                  </a:lnTo>
                  <a:lnTo>
                    <a:pt x="98" y="4039"/>
                  </a:lnTo>
                  <a:lnTo>
                    <a:pt x="102" y="4044"/>
                  </a:lnTo>
                  <a:lnTo>
                    <a:pt x="105" y="4043"/>
                  </a:lnTo>
                  <a:lnTo>
                    <a:pt x="108" y="4042"/>
                  </a:lnTo>
                  <a:lnTo>
                    <a:pt x="111" y="4043"/>
                  </a:lnTo>
                  <a:lnTo>
                    <a:pt x="111" y="4045"/>
                  </a:lnTo>
                  <a:lnTo>
                    <a:pt x="110" y="4047"/>
                  </a:lnTo>
                  <a:lnTo>
                    <a:pt x="95" y="4063"/>
                  </a:lnTo>
                  <a:lnTo>
                    <a:pt x="95" y="4066"/>
                  </a:lnTo>
                  <a:lnTo>
                    <a:pt x="95" y="4070"/>
                  </a:lnTo>
                  <a:lnTo>
                    <a:pt x="97" y="4071"/>
                  </a:lnTo>
                  <a:lnTo>
                    <a:pt x="100" y="4071"/>
                  </a:lnTo>
                  <a:lnTo>
                    <a:pt x="102" y="4071"/>
                  </a:lnTo>
                  <a:lnTo>
                    <a:pt x="101" y="4065"/>
                  </a:lnTo>
                  <a:lnTo>
                    <a:pt x="105" y="4066"/>
                  </a:lnTo>
                  <a:lnTo>
                    <a:pt x="113" y="4071"/>
                  </a:lnTo>
                  <a:lnTo>
                    <a:pt x="117" y="4071"/>
                  </a:lnTo>
                  <a:lnTo>
                    <a:pt x="121" y="4071"/>
                  </a:lnTo>
                  <a:lnTo>
                    <a:pt x="126" y="4070"/>
                  </a:lnTo>
                  <a:lnTo>
                    <a:pt x="129" y="4068"/>
                  </a:lnTo>
                  <a:lnTo>
                    <a:pt x="127" y="4073"/>
                  </a:lnTo>
                  <a:lnTo>
                    <a:pt x="117" y="4074"/>
                  </a:lnTo>
                  <a:lnTo>
                    <a:pt x="115" y="4081"/>
                  </a:lnTo>
                  <a:lnTo>
                    <a:pt x="116" y="4083"/>
                  </a:lnTo>
                  <a:lnTo>
                    <a:pt x="118" y="4086"/>
                  </a:lnTo>
                  <a:lnTo>
                    <a:pt x="119" y="4089"/>
                  </a:lnTo>
                  <a:lnTo>
                    <a:pt x="119" y="4094"/>
                  </a:lnTo>
                  <a:lnTo>
                    <a:pt x="120" y="4097"/>
                  </a:lnTo>
                  <a:lnTo>
                    <a:pt x="122" y="4097"/>
                  </a:lnTo>
                  <a:lnTo>
                    <a:pt x="124" y="4095"/>
                  </a:lnTo>
                  <a:lnTo>
                    <a:pt x="125" y="4091"/>
                  </a:lnTo>
                  <a:lnTo>
                    <a:pt x="126" y="4091"/>
                  </a:lnTo>
                  <a:lnTo>
                    <a:pt x="128" y="4092"/>
                  </a:lnTo>
                  <a:lnTo>
                    <a:pt x="128" y="4093"/>
                  </a:lnTo>
                  <a:lnTo>
                    <a:pt x="127" y="4100"/>
                  </a:lnTo>
                  <a:lnTo>
                    <a:pt x="128" y="4117"/>
                  </a:lnTo>
                  <a:lnTo>
                    <a:pt x="126" y="4121"/>
                  </a:lnTo>
                  <a:lnTo>
                    <a:pt x="127" y="4122"/>
                  </a:lnTo>
                  <a:lnTo>
                    <a:pt x="130" y="4125"/>
                  </a:lnTo>
                  <a:lnTo>
                    <a:pt x="128" y="4127"/>
                  </a:lnTo>
                  <a:lnTo>
                    <a:pt x="127" y="4127"/>
                  </a:lnTo>
                  <a:lnTo>
                    <a:pt x="130" y="4129"/>
                  </a:lnTo>
                  <a:lnTo>
                    <a:pt x="133" y="4131"/>
                  </a:lnTo>
                  <a:lnTo>
                    <a:pt x="130" y="4133"/>
                  </a:lnTo>
                  <a:lnTo>
                    <a:pt x="128" y="4135"/>
                  </a:lnTo>
                  <a:lnTo>
                    <a:pt x="127" y="4139"/>
                  </a:lnTo>
                  <a:lnTo>
                    <a:pt x="126" y="4144"/>
                  </a:lnTo>
                  <a:lnTo>
                    <a:pt x="127" y="4148"/>
                  </a:lnTo>
                  <a:lnTo>
                    <a:pt x="128" y="4153"/>
                  </a:lnTo>
                  <a:lnTo>
                    <a:pt x="128" y="4157"/>
                  </a:lnTo>
                  <a:lnTo>
                    <a:pt x="126" y="4159"/>
                  </a:lnTo>
                  <a:lnTo>
                    <a:pt x="128" y="4161"/>
                  </a:lnTo>
                  <a:lnTo>
                    <a:pt x="129" y="4162"/>
                  </a:lnTo>
                  <a:lnTo>
                    <a:pt x="131" y="4162"/>
                  </a:lnTo>
                  <a:lnTo>
                    <a:pt x="133" y="4161"/>
                  </a:lnTo>
                  <a:lnTo>
                    <a:pt x="131" y="4169"/>
                  </a:lnTo>
                  <a:lnTo>
                    <a:pt x="134" y="4169"/>
                  </a:lnTo>
                  <a:lnTo>
                    <a:pt x="137" y="4169"/>
                  </a:lnTo>
                  <a:lnTo>
                    <a:pt x="138" y="4173"/>
                  </a:lnTo>
                  <a:lnTo>
                    <a:pt x="140" y="4168"/>
                  </a:lnTo>
                  <a:lnTo>
                    <a:pt x="143" y="4148"/>
                  </a:lnTo>
                  <a:lnTo>
                    <a:pt x="145" y="4144"/>
                  </a:lnTo>
                  <a:lnTo>
                    <a:pt x="146" y="4143"/>
                  </a:lnTo>
                  <a:lnTo>
                    <a:pt x="147" y="4141"/>
                  </a:lnTo>
                  <a:lnTo>
                    <a:pt x="149" y="4139"/>
                  </a:lnTo>
                  <a:lnTo>
                    <a:pt x="150" y="4139"/>
                  </a:lnTo>
                  <a:lnTo>
                    <a:pt x="151" y="4140"/>
                  </a:lnTo>
                  <a:lnTo>
                    <a:pt x="156" y="4151"/>
                  </a:lnTo>
                  <a:lnTo>
                    <a:pt x="156" y="4154"/>
                  </a:lnTo>
                  <a:lnTo>
                    <a:pt x="154" y="4157"/>
                  </a:lnTo>
                  <a:lnTo>
                    <a:pt x="151" y="4159"/>
                  </a:lnTo>
                  <a:lnTo>
                    <a:pt x="159" y="4159"/>
                  </a:lnTo>
                  <a:lnTo>
                    <a:pt x="156" y="4164"/>
                  </a:lnTo>
                  <a:lnTo>
                    <a:pt x="152" y="4169"/>
                  </a:lnTo>
                  <a:lnTo>
                    <a:pt x="149" y="4172"/>
                  </a:lnTo>
                  <a:lnTo>
                    <a:pt x="152" y="4175"/>
                  </a:lnTo>
                  <a:lnTo>
                    <a:pt x="153" y="4175"/>
                  </a:lnTo>
                  <a:lnTo>
                    <a:pt x="156" y="4174"/>
                  </a:lnTo>
                  <a:lnTo>
                    <a:pt x="157" y="4173"/>
                  </a:lnTo>
                  <a:lnTo>
                    <a:pt x="158" y="4174"/>
                  </a:lnTo>
                  <a:lnTo>
                    <a:pt x="159" y="4175"/>
                  </a:lnTo>
                  <a:lnTo>
                    <a:pt x="159" y="4177"/>
                  </a:lnTo>
                  <a:lnTo>
                    <a:pt x="160" y="4178"/>
                  </a:lnTo>
                  <a:lnTo>
                    <a:pt x="161" y="4179"/>
                  </a:lnTo>
                  <a:lnTo>
                    <a:pt x="163" y="4181"/>
                  </a:lnTo>
                  <a:lnTo>
                    <a:pt x="164" y="4184"/>
                  </a:lnTo>
                  <a:lnTo>
                    <a:pt x="164" y="4188"/>
                  </a:lnTo>
                  <a:lnTo>
                    <a:pt x="165" y="4189"/>
                  </a:lnTo>
                  <a:lnTo>
                    <a:pt x="165" y="4191"/>
                  </a:lnTo>
                  <a:lnTo>
                    <a:pt x="164" y="4193"/>
                  </a:lnTo>
                  <a:lnTo>
                    <a:pt x="160" y="4194"/>
                  </a:lnTo>
                  <a:lnTo>
                    <a:pt x="159" y="4196"/>
                  </a:lnTo>
                  <a:lnTo>
                    <a:pt x="158" y="4198"/>
                  </a:lnTo>
                  <a:lnTo>
                    <a:pt x="157" y="4200"/>
                  </a:lnTo>
                  <a:lnTo>
                    <a:pt x="157" y="4202"/>
                  </a:lnTo>
                  <a:lnTo>
                    <a:pt x="162" y="4202"/>
                  </a:lnTo>
                  <a:lnTo>
                    <a:pt x="164" y="4203"/>
                  </a:lnTo>
                  <a:lnTo>
                    <a:pt x="166" y="4204"/>
                  </a:lnTo>
                  <a:lnTo>
                    <a:pt x="164" y="4205"/>
                  </a:lnTo>
                  <a:lnTo>
                    <a:pt x="162" y="4206"/>
                  </a:lnTo>
                  <a:lnTo>
                    <a:pt x="158" y="4206"/>
                  </a:lnTo>
                  <a:lnTo>
                    <a:pt x="161" y="4209"/>
                  </a:lnTo>
                  <a:lnTo>
                    <a:pt x="163" y="4211"/>
                  </a:lnTo>
                  <a:lnTo>
                    <a:pt x="167" y="4212"/>
                  </a:lnTo>
                  <a:lnTo>
                    <a:pt x="170" y="4212"/>
                  </a:lnTo>
                  <a:lnTo>
                    <a:pt x="172" y="4213"/>
                  </a:lnTo>
                  <a:lnTo>
                    <a:pt x="170" y="4215"/>
                  </a:lnTo>
                  <a:lnTo>
                    <a:pt x="165" y="4220"/>
                  </a:lnTo>
                  <a:lnTo>
                    <a:pt x="167" y="4221"/>
                  </a:lnTo>
                  <a:lnTo>
                    <a:pt x="172" y="4221"/>
                  </a:lnTo>
                  <a:lnTo>
                    <a:pt x="173" y="4221"/>
                  </a:lnTo>
                  <a:lnTo>
                    <a:pt x="173" y="4223"/>
                  </a:lnTo>
                  <a:lnTo>
                    <a:pt x="173" y="4229"/>
                  </a:lnTo>
                  <a:lnTo>
                    <a:pt x="174" y="4232"/>
                  </a:lnTo>
                  <a:lnTo>
                    <a:pt x="178" y="4239"/>
                  </a:lnTo>
                  <a:lnTo>
                    <a:pt x="179" y="4243"/>
                  </a:lnTo>
                  <a:lnTo>
                    <a:pt x="176" y="4248"/>
                  </a:lnTo>
                  <a:lnTo>
                    <a:pt x="179" y="4251"/>
                  </a:lnTo>
                  <a:lnTo>
                    <a:pt x="180" y="4252"/>
                  </a:lnTo>
                  <a:lnTo>
                    <a:pt x="181" y="4257"/>
                  </a:lnTo>
                  <a:lnTo>
                    <a:pt x="184" y="4262"/>
                  </a:lnTo>
                  <a:lnTo>
                    <a:pt x="189" y="4266"/>
                  </a:lnTo>
                  <a:lnTo>
                    <a:pt x="194" y="4269"/>
                  </a:lnTo>
                  <a:lnTo>
                    <a:pt x="196" y="4271"/>
                  </a:lnTo>
                  <a:lnTo>
                    <a:pt x="197" y="4273"/>
                  </a:lnTo>
                  <a:lnTo>
                    <a:pt x="197" y="4275"/>
                  </a:lnTo>
                  <a:lnTo>
                    <a:pt x="197" y="4276"/>
                  </a:lnTo>
                  <a:lnTo>
                    <a:pt x="198" y="4279"/>
                  </a:lnTo>
                  <a:lnTo>
                    <a:pt x="198" y="4281"/>
                  </a:lnTo>
                  <a:lnTo>
                    <a:pt x="197" y="4281"/>
                  </a:lnTo>
                  <a:lnTo>
                    <a:pt x="196" y="4284"/>
                  </a:lnTo>
                  <a:lnTo>
                    <a:pt x="196" y="4286"/>
                  </a:lnTo>
                  <a:lnTo>
                    <a:pt x="196" y="4292"/>
                  </a:lnTo>
                  <a:lnTo>
                    <a:pt x="198" y="4297"/>
                  </a:lnTo>
                  <a:lnTo>
                    <a:pt x="201" y="4300"/>
                  </a:lnTo>
                  <a:lnTo>
                    <a:pt x="207" y="4302"/>
                  </a:lnTo>
                  <a:lnTo>
                    <a:pt x="211" y="4305"/>
                  </a:lnTo>
                  <a:lnTo>
                    <a:pt x="216" y="4306"/>
                  </a:lnTo>
                  <a:lnTo>
                    <a:pt x="218" y="4308"/>
                  </a:lnTo>
                  <a:lnTo>
                    <a:pt x="221" y="4313"/>
                  </a:lnTo>
                  <a:lnTo>
                    <a:pt x="222" y="4314"/>
                  </a:lnTo>
                  <a:lnTo>
                    <a:pt x="224" y="4315"/>
                  </a:lnTo>
                  <a:lnTo>
                    <a:pt x="225" y="4315"/>
                  </a:lnTo>
                  <a:lnTo>
                    <a:pt x="225" y="4316"/>
                  </a:lnTo>
                  <a:lnTo>
                    <a:pt x="225" y="4317"/>
                  </a:lnTo>
                  <a:lnTo>
                    <a:pt x="226" y="4318"/>
                  </a:lnTo>
                  <a:lnTo>
                    <a:pt x="226" y="4319"/>
                  </a:lnTo>
                  <a:lnTo>
                    <a:pt x="237" y="4327"/>
                  </a:lnTo>
                  <a:lnTo>
                    <a:pt x="237" y="4330"/>
                  </a:lnTo>
                  <a:lnTo>
                    <a:pt x="236" y="4336"/>
                  </a:lnTo>
                  <a:lnTo>
                    <a:pt x="239" y="4347"/>
                  </a:lnTo>
                  <a:lnTo>
                    <a:pt x="241" y="4352"/>
                  </a:lnTo>
                  <a:lnTo>
                    <a:pt x="245" y="4354"/>
                  </a:lnTo>
                  <a:lnTo>
                    <a:pt x="247" y="4358"/>
                  </a:lnTo>
                  <a:lnTo>
                    <a:pt x="248" y="4364"/>
                  </a:lnTo>
                  <a:lnTo>
                    <a:pt x="249" y="4368"/>
                  </a:lnTo>
                  <a:lnTo>
                    <a:pt x="258" y="4377"/>
                  </a:lnTo>
                  <a:lnTo>
                    <a:pt x="260" y="4378"/>
                  </a:lnTo>
                  <a:lnTo>
                    <a:pt x="262" y="4378"/>
                  </a:lnTo>
                  <a:lnTo>
                    <a:pt x="265" y="4378"/>
                  </a:lnTo>
                  <a:lnTo>
                    <a:pt x="271" y="4375"/>
                  </a:lnTo>
                  <a:lnTo>
                    <a:pt x="275" y="4375"/>
                  </a:lnTo>
                  <a:lnTo>
                    <a:pt x="280" y="4376"/>
                  </a:lnTo>
                  <a:lnTo>
                    <a:pt x="282" y="4380"/>
                  </a:lnTo>
                  <a:lnTo>
                    <a:pt x="285" y="4393"/>
                  </a:lnTo>
                  <a:lnTo>
                    <a:pt x="290" y="4406"/>
                  </a:lnTo>
                  <a:lnTo>
                    <a:pt x="290" y="4411"/>
                  </a:lnTo>
                  <a:lnTo>
                    <a:pt x="290" y="4417"/>
                  </a:lnTo>
                  <a:lnTo>
                    <a:pt x="288" y="4423"/>
                  </a:lnTo>
                  <a:lnTo>
                    <a:pt x="285" y="4429"/>
                  </a:lnTo>
                  <a:lnTo>
                    <a:pt x="283" y="4432"/>
                  </a:lnTo>
                  <a:lnTo>
                    <a:pt x="274" y="4436"/>
                  </a:lnTo>
                  <a:lnTo>
                    <a:pt x="255" y="4429"/>
                  </a:lnTo>
                  <a:lnTo>
                    <a:pt x="246" y="4432"/>
                  </a:lnTo>
                  <a:lnTo>
                    <a:pt x="240" y="4442"/>
                  </a:lnTo>
                  <a:lnTo>
                    <a:pt x="244" y="4449"/>
                  </a:lnTo>
                  <a:lnTo>
                    <a:pt x="258" y="4459"/>
                  </a:lnTo>
                  <a:lnTo>
                    <a:pt x="262" y="4472"/>
                  </a:lnTo>
                  <a:lnTo>
                    <a:pt x="266" y="4478"/>
                  </a:lnTo>
                  <a:lnTo>
                    <a:pt x="273" y="4483"/>
                  </a:lnTo>
                  <a:lnTo>
                    <a:pt x="274" y="4486"/>
                  </a:lnTo>
                  <a:lnTo>
                    <a:pt x="273" y="4491"/>
                  </a:lnTo>
                  <a:lnTo>
                    <a:pt x="271" y="4495"/>
                  </a:lnTo>
                  <a:lnTo>
                    <a:pt x="268" y="4497"/>
                  </a:lnTo>
                  <a:lnTo>
                    <a:pt x="265" y="4497"/>
                  </a:lnTo>
                  <a:lnTo>
                    <a:pt x="258" y="4497"/>
                  </a:lnTo>
                  <a:lnTo>
                    <a:pt x="257" y="4497"/>
                  </a:lnTo>
                  <a:lnTo>
                    <a:pt x="255" y="4498"/>
                  </a:lnTo>
                  <a:lnTo>
                    <a:pt x="253" y="4499"/>
                  </a:lnTo>
                  <a:lnTo>
                    <a:pt x="252" y="4498"/>
                  </a:lnTo>
                  <a:lnTo>
                    <a:pt x="250" y="4495"/>
                  </a:lnTo>
                  <a:lnTo>
                    <a:pt x="248" y="4495"/>
                  </a:lnTo>
                  <a:lnTo>
                    <a:pt x="247" y="4494"/>
                  </a:lnTo>
                  <a:lnTo>
                    <a:pt x="245" y="4490"/>
                  </a:lnTo>
                  <a:lnTo>
                    <a:pt x="244" y="4489"/>
                  </a:lnTo>
                  <a:lnTo>
                    <a:pt x="213" y="4475"/>
                  </a:lnTo>
                  <a:lnTo>
                    <a:pt x="215" y="4479"/>
                  </a:lnTo>
                  <a:lnTo>
                    <a:pt x="222" y="4484"/>
                  </a:lnTo>
                  <a:lnTo>
                    <a:pt x="223" y="4490"/>
                  </a:lnTo>
                  <a:lnTo>
                    <a:pt x="227" y="4499"/>
                  </a:lnTo>
                  <a:lnTo>
                    <a:pt x="228" y="4501"/>
                  </a:lnTo>
                  <a:lnTo>
                    <a:pt x="229" y="4510"/>
                  </a:lnTo>
                  <a:lnTo>
                    <a:pt x="231" y="4513"/>
                  </a:lnTo>
                  <a:lnTo>
                    <a:pt x="237" y="4527"/>
                  </a:lnTo>
                  <a:lnTo>
                    <a:pt x="238" y="4529"/>
                  </a:lnTo>
                  <a:lnTo>
                    <a:pt x="252" y="4547"/>
                  </a:lnTo>
                  <a:lnTo>
                    <a:pt x="253" y="4550"/>
                  </a:lnTo>
                  <a:lnTo>
                    <a:pt x="254" y="4556"/>
                  </a:lnTo>
                  <a:lnTo>
                    <a:pt x="256" y="4558"/>
                  </a:lnTo>
                  <a:lnTo>
                    <a:pt x="258" y="4560"/>
                  </a:lnTo>
                  <a:lnTo>
                    <a:pt x="261" y="4563"/>
                  </a:lnTo>
                  <a:lnTo>
                    <a:pt x="262" y="4567"/>
                  </a:lnTo>
                  <a:lnTo>
                    <a:pt x="263" y="4572"/>
                  </a:lnTo>
                  <a:lnTo>
                    <a:pt x="264" y="4576"/>
                  </a:lnTo>
                  <a:lnTo>
                    <a:pt x="266" y="4579"/>
                  </a:lnTo>
                  <a:lnTo>
                    <a:pt x="267" y="4579"/>
                  </a:lnTo>
                  <a:lnTo>
                    <a:pt x="268" y="4580"/>
                  </a:lnTo>
                  <a:lnTo>
                    <a:pt x="269" y="4582"/>
                  </a:lnTo>
                  <a:lnTo>
                    <a:pt x="270" y="4583"/>
                  </a:lnTo>
                  <a:lnTo>
                    <a:pt x="270" y="4587"/>
                  </a:lnTo>
                  <a:lnTo>
                    <a:pt x="270" y="4589"/>
                  </a:lnTo>
                  <a:lnTo>
                    <a:pt x="272" y="4594"/>
                  </a:lnTo>
                  <a:lnTo>
                    <a:pt x="276" y="4600"/>
                  </a:lnTo>
                  <a:lnTo>
                    <a:pt x="283" y="4603"/>
                  </a:lnTo>
                  <a:lnTo>
                    <a:pt x="288" y="4609"/>
                  </a:lnTo>
                  <a:lnTo>
                    <a:pt x="290" y="4621"/>
                  </a:lnTo>
                  <a:lnTo>
                    <a:pt x="290" y="4625"/>
                  </a:lnTo>
                  <a:lnTo>
                    <a:pt x="289" y="4627"/>
                  </a:lnTo>
                  <a:lnTo>
                    <a:pt x="288" y="4628"/>
                  </a:lnTo>
                  <a:lnTo>
                    <a:pt x="286" y="4628"/>
                  </a:lnTo>
                  <a:lnTo>
                    <a:pt x="288" y="4633"/>
                  </a:lnTo>
                  <a:lnTo>
                    <a:pt x="291" y="4634"/>
                  </a:lnTo>
                  <a:lnTo>
                    <a:pt x="295" y="4633"/>
                  </a:lnTo>
                  <a:lnTo>
                    <a:pt x="296" y="4639"/>
                  </a:lnTo>
                  <a:lnTo>
                    <a:pt x="299" y="4639"/>
                  </a:lnTo>
                  <a:lnTo>
                    <a:pt x="302" y="4638"/>
                  </a:lnTo>
                  <a:lnTo>
                    <a:pt x="304" y="4643"/>
                  </a:lnTo>
                  <a:lnTo>
                    <a:pt x="307" y="4645"/>
                  </a:lnTo>
                  <a:lnTo>
                    <a:pt x="309" y="4648"/>
                  </a:lnTo>
                  <a:lnTo>
                    <a:pt x="310" y="4654"/>
                  </a:lnTo>
                  <a:lnTo>
                    <a:pt x="310" y="4657"/>
                  </a:lnTo>
                  <a:lnTo>
                    <a:pt x="308" y="4661"/>
                  </a:lnTo>
                  <a:lnTo>
                    <a:pt x="306" y="4665"/>
                  </a:lnTo>
                  <a:lnTo>
                    <a:pt x="305" y="4667"/>
                  </a:lnTo>
                  <a:lnTo>
                    <a:pt x="294" y="4675"/>
                  </a:lnTo>
                  <a:lnTo>
                    <a:pt x="289" y="4681"/>
                  </a:lnTo>
                  <a:lnTo>
                    <a:pt x="287" y="4689"/>
                  </a:lnTo>
                  <a:lnTo>
                    <a:pt x="289" y="4697"/>
                  </a:lnTo>
                  <a:lnTo>
                    <a:pt x="296" y="4710"/>
                  </a:lnTo>
                  <a:lnTo>
                    <a:pt x="298" y="4717"/>
                  </a:lnTo>
                  <a:lnTo>
                    <a:pt x="296" y="4715"/>
                  </a:lnTo>
                  <a:lnTo>
                    <a:pt x="294" y="4715"/>
                  </a:lnTo>
                  <a:lnTo>
                    <a:pt x="294" y="4717"/>
                  </a:lnTo>
                  <a:lnTo>
                    <a:pt x="295" y="4721"/>
                  </a:lnTo>
                  <a:lnTo>
                    <a:pt x="293" y="4723"/>
                  </a:lnTo>
                  <a:lnTo>
                    <a:pt x="289" y="4725"/>
                  </a:lnTo>
                  <a:lnTo>
                    <a:pt x="285" y="4726"/>
                  </a:lnTo>
                  <a:lnTo>
                    <a:pt x="282" y="4724"/>
                  </a:lnTo>
                  <a:lnTo>
                    <a:pt x="281" y="4722"/>
                  </a:lnTo>
                  <a:lnTo>
                    <a:pt x="280" y="4721"/>
                  </a:lnTo>
                  <a:lnTo>
                    <a:pt x="279" y="4721"/>
                  </a:lnTo>
                  <a:lnTo>
                    <a:pt x="278" y="4721"/>
                  </a:lnTo>
                  <a:lnTo>
                    <a:pt x="273" y="4731"/>
                  </a:lnTo>
                  <a:lnTo>
                    <a:pt x="274" y="4735"/>
                  </a:lnTo>
                  <a:lnTo>
                    <a:pt x="276" y="4736"/>
                  </a:lnTo>
                  <a:lnTo>
                    <a:pt x="279" y="4734"/>
                  </a:lnTo>
                  <a:lnTo>
                    <a:pt x="282" y="4732"/>
                  </a:lnTo>
                  <a:lnTo>
                    <a:pt x="284" y="4733"/>
                  </a:lnTo>
                  <a:lnTo>
                    <a:pt x="286" y="4734"/>
                  </a:lnTo>
                  <a:lnTo>
                    <a:pt x="288" y="4734"/>
                  </a:lnTo>
                  <a:lnTo>
                    <a:pt x="290" y="4734"/>
                  </a:lnTo>
                  <a:lnTo>
                    <a:pt x="292" y="4731"/>
                  </a:lnTo>
                  <a:lnTo>
                    <a:pt x="294" y="4731"/>
                  </a:lnTo>
                  <a:lnTo>
                    <a:pt x="297" y="4730"/>
                  </a:lnTo>
                  <a:lnTo>
                    <a:pt x="300" y="4731"/>
                  </a:lnTo>
                  <a:lnTo>
                    <a:pt x="301" y="4731"/>
                  </a:lnTo>
                  <a:lnTo>
                    <a:pt x="304" y="4734"/>
                  </a:lnTo>
                  <a:lnTo>
                    <a:pt x="305" y="4734"/>
                  </a:lnTo>
                  <a:lnTo>
                    <a:pt x="307" y="4735"/>
                  </a:lnTo>
                  <a:lnTo>
                    <a:pt x="310" y="4736"/>
                  </a:lnTo>
                  <a:lnTo>
                    <a:pt x="319" y="4736"/>
                  </a:lnTo>
                  <a:lnTo>
                    <a:pt x="345" y="4746"/>
                  </a:lnTo>
                  <a:lnTo>
                    <a:pt x="350" y="4746"/>
                  </a:lnTo>
                  <a:lnTo>
                    <a:pt x="361" y="4745"/>
                  </a:lnTo>
                  <a:lnTo>
                    <a:pt x="365" y="4744"/>
                  </a:lnTo>
                  <a:lnTo>
                    <a:pt x="380" y="4734"/>
                  </a:lnTo>
                  <a:lnTo>
                    <a:pt x="386" y="4732"/>
                  </a:lnTo>
                  <a:lnTo>
                    <a:pt x="392" y="4734"/>
                  </a:lnTo>
                  <a:lnTo>
                    <a:pt x="395" y="4732"/>
                  </a:lnTo>
                  <a:lnTo>
                    <a:pt x="397" y="4730"/>
                  </a:lnTo>
                  <a:lnTo>
                    <a:pt x="398" y="4727"/>
                  </a:lnTo>
                  <a:lnTo>
                    <a:pt x="400" y="4725"/>
                  </a:lnTo>
                  <a:lnTo>
                    <a:pt x="403" y="4725"/>
                  </a:lnTo>
                  <a:lnTo>
                    <a:pt x="424" y="4723"/>
                  </a:lnTo>
                  <a:lnTo>
                    <a:pt x="432" y="4725"/>
                  </a:lnTo>
                  <a:lnTo>
                    <a:pt x="434" y="4725"/>
                  </a:lnTo>
                  <a:lnTo>
                    <a:pt x="436" y="4724"/>
                  </a:lnTo>
                  <a:lnTo>
                    <a:pt x="440" y="4721"/>
                  </a:lnTo>
                  <a:lnTo>
                    <a:pt x="442" y="4721"/>
                  </a:lnTo>
                  <a:lnTo>
                    <a:pt x="448" y="4721"/>
                  </a:lnTo>
                  <a:lnTo>
                    <a:pt x="452" y="4723"/>
                  </a:lnTo>
                  <a:lnTo>
                    <a:pt x="465" y="4731"/>
                  </a:lnTo>
                  <a:lnTo>
                    <a:pt x="469" y="4733"/>
                  </a:lnTo>
                  <a:lnTo>
                    <a:pt x="474" y="4734"/>
                  </a:lnTo>
                  <a:lnTo>
                    <a:pt x="484" y="4734"/>
                  </a:lnTo>
                  <a:lnTo>
                    <a:pt x="488" y="4733"/>
                  </a:lnTo>
                  <a:lnTo>
                    <a:pt x="491" y="4731"/>
                  </a:lnTo>
                  <a:lnTo>
                    <a:pt x="494" y="4727"/>
                  </a:lnTo>
                  <a:lnTo>
                    <a:pt x="501" y="4713"/>
                  </a:lnTo>
                  <a:lnTo>
                    <a:pt x="503" y="4711"/>
                  </a:lnTo>
                  <a:lnTo>
                    <a:pt x="506" y="4709"/>
                  </a:lnTo>
                  <a:lnTo>
                    <a:pt x="514" y="4700"/>
                  </a:lnTo>
                  <a:lnTo>
                    <a:pt x="516" y="4696"/>
                  </a:lnTo>
                  <a:lnTo>
                    <a:pt x="517" y="4690"/>
                  </a:lnTo>
                  <a:lnTo>
                    <a:pt x="516" y="4685"/>
                  </a:lnTo>
                  <a:lnTo>
                    <a:pt x="509" y="4674"/>
                  </a:lnTo>
                  <a:lnTo>
                    <a:pt x="506" y="4670"/>
                  </a:lnTo>
                  <a:lnTo>
                    <a:pt x="504" y="4668"/>
                  </a:lnTo>
                  <a:lnTo>
                    <a:pt x="503" y="4665"/>
                  </a:lnTo>
                  <a:lnTo>
                    <a:pt x="503" y="4662"/>
                  </a:lnTo>
                  <a:lnTo>
                    <a:pt x="503" y="4659"/>
                  </a:lnTo>
                  <a:lnTo>
                    <a:pt x="502" y="4656"/>
                  </a:lnTo>
                  <a:lnTo>
                    <a:pt x="500" y="4652"/>
                  </a:lnTo>
                  <a:lnTo>
                    <a:pt x="494" y="4647"/>
                  </a:lnTo>
                  <a:lnTo>
                    <a:pt x="491" y="4644"/>
                  </a:lnTo>
                  <a:lnTo>
                    <a:pt x="490" y="4639"/>
                  </a:lnTo>
                  <a:lnTo>
                    <a:pt x="490" y="4635"/>
                  </a:lnTo>
                  <a:lnTo>
                    <a:pt x="491" y="4624"/>
                  </a:lnTo>
                  <a:lnTo>
                    <a:pt x="492" y="4612"/>
                  </a:lnTo>
                  <a:lnTo>
                    <a:pt x="496" y="4601"/>
                  </a:lnTo>
                  <a:lnTo>
                    <a:pt x="502" y="4592"/>
                  </a:lnTo>
                  <a:lnTo>
                    <a:pt x="508" y="4588"/>
                  </a:lnTo>
                  <a:lnTo>
                    <a:pt x="510" y="4586"/>
                  </a:lnTo>
                  <a:lnTo>
                    <a:pt x="512" y="4580"/>
                  </a:lnTo>
                  <a:lnTo>
                    <a:pt x="514" y="4575"/>
                  </a:lnTo>
                  <a:lnTo>
                    <a:pt x="517" y="4573"/>
                  </a:lnTo>
                  <a:lnTo>
                    <a:pt x="520" y="4571"/>
                  </a:lnTo>
                  <a:lnTo>
                    <a:pt x="524" y="4568"/>
                  </a:lnTo>
                  <a:lnTo>
                    <a:pt x="530" y="4561"/>
                  </a:lnTo>
                  <a:lnTo>
                    <a:pt x="535" y="4553"/>
                  </a:lnTo>
                  <a:lnTo>
                    <a:pt x="538" y="4550"/>
                  </a:lnTo>
                  <a:lnTo>
                    <a:pt x="542" y="4550"/>
                  </a:lnTo>
                  <a:lnTo>
                    <a:pt x="544" y="4549"/>
                  </a:lnTo>
                  <a:lnTo>
                    <a:pt x="547" y="4546"/>
                  </a:lnTo>
                  <a:lnTo>
                    <a:pt x="549" y="4545"/>
                  </a:lnTo>
                  <a:lnTo>
                    <a:pt x="549" y="4546"/>
                  </a:lnTo>
                  <a:lnTo>
                    <a:pt x="549" y="4547"/>
                  </a:lnTo>
                  <a:lnTo>
                    <a:pt x="551" y="4550"/>
                  </a:lnTo>
                  <a:lnTo>
                    <a:pt x="555" y="4545"/>
                  </a:lnTo>
                  <a:lnTo>
                    <a:pt x="554" y="4549"/>
                  </a:lnTo>
                  <a:lnTo>
                    <a:pt x="555" y="4551"/>
                  </a:lnTo>
                  <a:lnTo>
                    <a:pt x="557" y="4553"/>
                  </a:lnTo>
                  <a:lnTo>
                    <a:pt x="558" y="4555"/>
                  </a:lnTo>
                  <a:lnTo>
                    <a:pt x="556" y="4557"/>
                  </a:lnTo>
                  <a:lnTo>
                    <a:pt x="556" y="4559"/>
                  </a:lnTo>
                  <a:lnTo>
                    <a:pt x="558" y="4559"/>
                  </a:lnTo>
                  <a:lnTo>
                    <a:pt x="562" y="4559"/>
                  </a:lnTo>
                  <a:lnTo>
                    <a:pt x="563" y="4559"/>
                  </a:lnTo>
                  <a:lnTo>
                    <a:pt x="564" y="4560"/>
                  </a:lnTo>
                  <a:lnTo>
                    <a:pt x="566" y="4560"/>
                  </a:lnTo>
                  <a:lnTo>
                    <a:pt x="567" y="4559"/>
                  </a:lnTo>
                  <a:lnTo>
                    <a:pt x="568" y="4557"/>
                  </a:lnTo>
                  <a:lnTo>
                    <a:pt x="571" y="4557"/>
                  </a:lnTo>
                  <a:lnTo>
                    <a:pt x="572" y="4560"/>
                  </a:lnTo>
                  <a:lnTo>
                    <a:pt x="573" y="4561"/>
                  </a:lnTo>
                  <a:lnTo>
                    <a:pt x="574" y="4560"/>
                  </a:lnTo>
                  <a:lnTo>
                    <a:pt x="575" y="4558"/>
                  </a:lnTo>
                  <a:lnTo>
                    <a:pt x="577" y="4556"/>
                  </a:lnTo>
                  <a:lnTo>
                    <a:pt x="579" y="4554"/>
                  </a:lnTo>
                  <a:lnTo>
                    <a:pt x="581" y="4553"/>
                  </a:lnTo>
                  <a:lnTo>
                    <a:pt x="579" y="4548"/>
                  </a:lnTo>
                  <a:lnTo>
                    <a:pt x="578" y="4545"/>
                  </a:lnTo>
                  <a:lnTo>
                    <a:pt x="573" y="4538"/>
                  </a:lnTo>
                  <a:lnTo>
                    <a:pt x="572" y="4535"/>
                  </a:lnTo>
                  <a:lnTo>
                    <a:pt x="572" y="4533"/>
                  </a:lnTo>
                  <a:lnTo>
                    <a:pt x="570" y="4531"/>
                  </a:lnTo>
                  <a:lnTo>
                    <a:pt x="568" y="4530"/>
                  </a:lnTo>
                  <a:lnTo>
                    <a:pt x="567" y="4529"/>
                  </a:lnTo>
                  <a:lnTo>
                    <a:pt x="567" y="4525"/>
                  </a:lnTo>
                  <a:lnTo>
                    <a:pt x="567" y="4522"/>
                  </a:lnTo>
                  <a:lnTo>
                    <a:pt x="568" y="4520"/>
                  </a:lnTo>
                  <a:lnTo>
                    <a:pt x="570" y="4516"/>
                  </a:lnTo>
                  <a:lnTo>
                    <a:pt x="574" y="4514"/>
                  </a:lnTo>
                  <a:lnTo>
                    <a:pt x="582" y="4514"/>
                  </a:lnTo>
                  <a:lnTo>
                    <a:pt x="585" y="4516"/>
                  </a:lnTo>
                  <a:lnTo>
                    <a:pt x="588" y="4519"/>
                  </a:lnTo>
                  <a:lnTo>
                    <a:pt x="591" y="4521"/>
                  </a:lnTo>
                  <a:lnTo>
                    <a:pt x="594" y="4520"/>
                  </a:lnTo>
                  <a:lnTo>
                    <a:pt x="593" y="4515"/>
                  </a:lnTo>
                  <a:lnTo>
                    <a:pt x="598" y="4515"/>
                  </a:lnTo>
                  <a:lnTo>
                    <a:pt x="603" y="4516"/>
                  </a:lnTo>
                  <a:lnTo>
                    <a:pt x="606" y="4515"/>
                  </a:lnTo>
                  <a:lnTo>
                    <a:pt x="610" y="4513"/>
                  </a:lnTo>
                  <a:lnTo>
                    <a:pt x="616" y="4514"/>
                  </a:lnTo>
                  <a:lnTo>
                    <a:pt x="625" y="4518"/>
                  </a:lnTo>
                  <a:lnTo>
                    <a:pt x="625" y="4516"/>
                  </a:lnTo>
                  <a:lnTo>
                    <a:pt x="624" y="4512"/>
                  </a:lnTo>
                  <a:lnTo>
                    <a:pt x="623" y="4510"/>
                  </a:lnTo>
                  <a:lnTo>
                    <a:pt x="625" y="4510"/>
                  </a:lnTo>
                  <a:lnTo>
                    <a:pt x="628" y="4509"/>
                  </a:lnTo>
                  <a:lnTo>
                    <a:pt x="630" y="4508"/>
                  </a:lnTo>
                  <a:lnTo>
                    <a:pt x="631" y="4510"/>
                  </a:lnTo>
                  <a:lnTo>
                    <a:pt x="631" y="4515"/>
                  </a:lnTo>
                  <a:lnTo>
                    <a:pt x="632" y="4516"/>
                  </a:lnTo>
                  <a:lnTo>
                    <a:pt x="638" y="4516"/>
                  </a:lnTo>
                  <a:lnTo>
                    <a:pt x="640" y="4516"/>
                  </a:lnTo>
                  <a:lnTo>
                    <a:pt x="641" y="4514"/>
                  </a:lnTo>
                  <a:lnTo>
                    <a:pt x="642" y="4514"/>
                  </a:lnTo>
                  <a:lnTo>
                    <a:pt x="643" y="4515"/>
                  </a:lnTo>
                  <a:lnTo>
                    <a:pt x="648" y="4518"/>
                  </a:lnTo>
                  <a:lnTo>
                    <a:pt x="655" y="4517"/>
                  </a:lnTo>
                  <a:lnTo>
                    <a:pt x="661" y="4513"/>
                  </a:lnTo>
                  <a:lnTo>
                    <a:pt x="665" y="4508"/>
                  </a:lnTo>
                  <a:lnTo>
                    <a:pt x="668" y="4516"/>
                  </a:lnTo>
                  <a:lnTo>
                    <a:pt x="669" y="4518"/>
                  </a:lnTo>
                  <a:lnTo>
                    <a:pt x="667" y="4518"/>
                  </a:lnTo>
                  <a:lnTo>
                    <a:pt x="665" y="4520"/>
                  </a:lnTo>
                  <a:lnTo>
                    <a:pt x="667" y="4521"/>
                  </a:lnTo>
                  <a:lnTo>
                    <a:pt x="669" y="4522"/>
                  </a:lnTo>
                  <a:lnTo>
                    <a:pt x="676" y="4522"/>
                  </a:lnTo>
                  <a:lnTo>
                    <a:pt x="676" y="4521"/>
                  </a:lnTo>
                  <a:lnTo>
                    <a:pt x="676" y="4519"/>
                  </a:lnTo>
                  <a:lnTo>
                    <a:pt x="677" y="4516"/>
                  </a:lnTo>
                  <a:lnTo>
                    <a:pt x="680" y="4512"/>
                  </a:lnTo>
                  <a:lnTo>
                    <a:pt x="682" y="4511"/>
                  </a:lnTo>
                  <a:lnTo>
                    <a:pt x="684" y="4510"/>
                  </a:lnTo>
                  <a:lnTo>
                    <a:pt x="686" y="4511"/>
                  </a:lnTo>
                  <a:lnTo>
                    <a:pt x="688" y="4513"/>
                  </a:lnTo>
                  <a:lnTo>
                    <a:pt x="689" y="4515"/>
                  </a:lnTo>
                  <a:lnTo>
                    <a:pt x="691" y="4516"/>
                  </a:lnTo>
                  <a:lnTo>
                    <a:pt x="694" y="4519"/>
                  </a:lnTo>
                  <a:lnTo>
                    <a:pt x="695" y="4518"/>
                  </a:lnTo>
                  <a:lnTo>
                    <a:pt x="695" y="4513"/>
                  </a:lnTo>
                  <a:lnTo>
                    <a:pt x="696" y="4512"/>
                  </a:lnTo>
                  <a:lnTo>
                    <a:pt x="702" y="4508"/>
                  </a:lnTo>
                  <a:lnTo>
                    <a:pt x="709" y="4503"/>
                  </a:lnTo>
                  <a:lnTo>
                    <a:pt x="711" y="4502"/>
                  </a:lnTo>
                  <a:lnTo>
                    <a:pt x="712" y="4504"/>
                  </a:lnTo>
                  <a:lnTo>
                    <a:pt x="712" y="4507"/>
                  </a:lnTo>
                  <a:lnTo>
                    <a:pt x="710" y="4511"/>
                  </a:lnTo>
                  <a:lnTo>
                    <a:pt x="709" y="4512"/>
                  </a:lnTo>
                  <a:lnTo>
                    <a:pt x="712" y="4516"/>
                  </a:lnTo>
                  <a:lnTo>
                    <a:pt x="715" y="4514"/>
                  </a:lnTo>
                  <a:lnTo>
                    <a:pt x="718" y="4509"/>
                  </a:lnTo>
                  <a:lnTo>
                    <a:pt x="720" y="4506"/>
                  </a:lnTo>
                  <a:lnTo>
                    <a:pt x="722" y="4507"/>
                  </a:lnTo>
                  <a:lnTo>
                    <a:pt x="724" y="4510"/>
                  </a:lnTo>
                  <a:lnTo>
                    <a:pt x="726" y="4510"/>
                  </a:lnTo>
                  <a:lnTo>
                    <a:pt x="727" y="4511"/>
                  </a:lnTo>
                  <a:lnTo>
                    <a:pt x="728" y="4513"/>
                  </a:lnTo>
                  <a:lnTo>
                    <a:pt x="729" y="4513"/>
                  </a:lnTo>
                  <a:lnTo>
                    <a:pt x="731" y="4512"/>
                  </a:lnTo>
                  <a:lnTo>
                    <a:pt x="734" y="4517"/>
                  </a:lnTo>
                  <a:lnTo>
                    <a:pt x="738" y="4517"/>
                  </a:lnTo>
                  <a:lnTo>
                    <a:pt x="745" y="4514"/>
                  </a:lnTo>
                  <a:lnTo>
                    <a:pt x="749" y="4516"/>
                  </a:lnTo>
                  <a:lnTo>
                    <a:pt x="748" y="4522"/>
                  </a:lnTo>
                  <a:lnTo>
                    <a:pt x="743" y="4532"/>
                  </a:lnTo>
                  <a:lnTo>
                    <a:pt x="747" y="4534"/>
                  </a:lnTo>
                  <a:lnTo>
                    <a:pt x="750" y="4537"/>
                  </a:lnTo>
                  <a:lnTo>
                    <a:pt x="753" y="4537"/>
                  </a:lnTo>
                  <a:lnTo>
                    <a:pt x="756" y="4533"/>
                  </a:lnTo>
                  <a:lnTo>
                    <a:pt x="766" y="4512"/>
                  </a:lnTo>
                  <a:lnTo>
                    <a:pt x="768" y="4509"/>
                  </a:lnTo>
                  <a:lnTo>
                    <a:pt x="774" y="4503"/>
                  </a:lnTo>
                  <a:lnTo>
                    <a:pt x="777" y="4500"/>
                  </a:lnTo>
                  <a:lnTo>
                    <a:pt x="778" y="4497"/>
                  </a:lnTo>
                  <a:lnTo>
                    <a:pt x="779" y="4494"/>
                  </a:lnTo>
                  <a:lnTo>
                    <a:pt x="779" y="4492"/>
                  </a:lnTo>
                  <a:lnTo>
                    <a:pt x="781" y="4491"/>
                  </a:lnTo>
                  <a:lnTo>
                    <a:pt x="783" y="4489"/>
                  </a:lnTo>
                  <a:lnTo>
                    <a:pt x="787" y="4466"/>
                  </a:lnTo>
                  <a:lnTo>
                    <a:pt x="791" y="4442"/>
                  </a:lnTo>
                  <a:lnTo>
                    <a:pt x="795" y="4432"/>
                  </a:lnTo>
                  <a:lnTo>
                    <a:pt x="803" y="4417"/>
                  </a:lnTo>
                  <a:lnTo>
                    <a:pt x="804" y="4411"/>
                  </a:lnTo>
                  <a:lnTo>
                    <a:pt x="805" y="4408"/>
                  </a:lnTo>
                  <a:lnTo>
                    <a:pt x="809" y="4408"/>
                  </a:lnTo>
                  <a:lnTo>
                    <a:pt x="810" y="4405"/>
                  </a:lnTo>
                  <a:lnTo>
                    <a:pt x="811" y="4398"/>
                  </a:lnTo>
                  <a:lnTo>
                    <a:pt x="811" y="4393"/>
                  </a:lnTo>
                  <a:lnTo>
                    <a:pt x="812" y="4389"/>
                  </a:lnTo>
                  <a:lnTo>
                    <a:pt x="811" y="4388"/>
                  </a:lnTo>
                  <a:lnTo>
                    <a:pt x="812" y="4386"/>
                  </a:lnTo>
                  <a:lnTo>
                    <a:pt x="815" y="4378"/>
                  </a:lnTo>
                  <a:lnTo>
                    <a:pt x="817" y="4376"/>
                  </a:lnTo>
                  <a:lnTo>
                    <a:pt x="818" y="4375"/>
                  </a:lnTo>
                  <a:lnTo>
                    <a:pt x="820" y="4374"/>
                  </a:lnTo>
                  <a:lnTo>
                    <a:pt x="822" y="4373"/>
                  </a:lnTo>
                  <a:lnTo>
                    <a:pt x="824" y="4372"/>
                  </a:lnTo>
                  <a:lnTo>
                    <a:pt x="828" y="4375"/>
                  </a:lnTo>
                  <a:lnTo>
                    <a:pt x="831" y="4376"/>
                  </a:lnTo>
                  <a:lnTo>
                    <a:pt x="833" y="4375"/>
                  </a:lnTo>
                  <a:lnTo>
                    <a:pt x="835" y="4373"/>
                  </a:lnTo>
                  <a:lnTo>
                    <a:pt x="837" y="4369"/>
                  </a:lnTo>
                  <a:lnTo>
                    <a:pt x="837" y="4364"/>
                  </a:lnTo>
                  <a:lnTo>
                    <a:pt x="836" y="4354"/>
                  </a:lnTo>
                  <a:lnTo>
                    <a:pt x="834" y="4348"/>
                  </a:lnTo>
                  <a:lnTo>
                    <a:pt x="833" y="4345"/>
                  </a:lnTo>
                  <a:lnTo>
                    <a:pt x="834" y="4343"/>
                  </a:lnTo>
                  <a:lnTo>
                    <a:pt x="836" y="4343"/>
                  </a:lnTo>
                  <a:lnTo>
                    <a:pt x="839" y="4340"/>
                  </a:lnTo>
                  <a:lnTo>
                    <a:pt x="842" y="4339"/>
                  </a:lnTo>
                  <a:lnTo>
                    <a:pt x="844" y="4340"/>
                  </a:lnTo>
                  <a:lnTo>
                    <a:pt x="848" y="4342"/>
                  </a:lnTo>
                  <a:lnTo>
                    <a:pt x="850" y="4341"/>
                  </a:lnTo>
                  <a:lnTo>
                    <a:pt x="851" y="4339"/>
                  </a:lnTo>
                  <a:lnTo>
                    <a:pt x="852" y="4337"/>
                  </a:lnTo>
                  <a:lnTo>
                    <a:pt x="851" y="4335"/>
                  </a:lnTo>
                  <a:lnTo>
                    <a:pt x="850" y="4333"/>
                  </a:lnTo>
                  <a:lnTo>
                    <a:pt x="848" y="4335"/>
                  </a:lnTo>
                  <a:lnTo>
                    <a:pt x="846" y="4336"/>
                  </a:lnTo>
                  <a:lnTo>
                    <a:pt x="844" y="4338"/>
                  </a:lnTo>
                  <a:lnTo>
                    <a:pt x="842" y="4336"/>
                  </a:lnTo>
                  <a:lnTo>
                    <a:pt x="841" y="4333"/>
                  </a:lnTo>
                  <a:lnTo>
                    <a:pt x="841" y="4330"/>
                  </a:lnTo>
                  <a:lnTo>
                    <a:pt x="846" y="4316"/>
                  </a:lnTo>
                  <a:lnTo>
                    <a:pt x="846" y="4313"/>
                  </a:lnTo>
                  <a:lnTo>
                    <a:pt x="846" y="4310"/>
                  </a:lnTo>
                  <a:lnTo>
                    <a:pt x="846" y="4302"/>
                  </a:lnTo>
                  <a:lnTo>
                    <a:pt x="846" y="4301"/>
                  </a:lnTo>
                  <a:lnTo>
                    <a:pt x="850" y="4293"/>
                  </a:lnTo>
                  <a:lnTo>
                    <a:pt x="851" y="4290"/>
                  </a:lnTo>
                  <a:lnTo>
                    <a:pt x="850" y="4287"/>
                  </a:lnTo>
                  <a:lnTo>
                    <a:pt x="848" y="4285"/>
                  </a:lnTo>
                  <a:lnTo>
                    <a:pt x="846" y="4281"/>
                  </a:lnTo>
                  <a:lnTo>
                    <a:pt x="845" y="4276"/>
                  </a:lnTo>
                  <a:lnTo>
                    <a:pt x="846" y="4271"/>
                  </a:lnTo>
                  <a:lnTo>
                    <a:pt x="848" y="4268"/>
                  </a:lnTo>
                  <a:lnTo>
                    <a:pt x="852" y="4268"/>
                  </a:lnTo>
                  <a:lnTo>
                    <a:pt x="852" y="4266"/>
                  </a:lnTo>
                  <a:lnTo>
                    <a:pt x="850" y="4265"/>
                  </a:lnTo>
                  <a:lnTo>
                    <a:pt x="849" y="4264"/>
                  </a:lnTo>
                  <a:lnTo>
                    <a:pt x="847" y="4262"/>
                  </a:lnTo>
                  <a:lnTo>
                    <a:pt x="846" y="4260"/>
                  </a:lnTo>
                  <a:lnTo>
                    <a:pt x="848" y="4260"/>
                  </a:lnTo>
                  <a:lnTo>
                    <a:pt x="852" y="4261"/>
                  </a:lnTo>
                  <a:lnTo>
                    <a:pt x="855" y="4262"/>
                  </a:lnTo>
                  <a:lnTo>
                    <a:pt x="855" y="4263"/>
                  </a:lnTo>
                  <a:lnTo>
                    <a:pt x="856" y="4263"/>
                  </a:lnTo>
                  <a:lnTo>
                    <a:pt x="857" y="4263"/>
                  </a:lnTo>
                  <a:lnTo>
                    <a:pt x="857" y="4261"/>
                  </a:lnTo>
                  <a:lnTo>
                    <a:pt x="857" y="4260"/>
                  </a:lnTo>
                  <a:lnTo>
                    <a:pt x="857" y="4258"/>
                  </a:lnTo>
                  <a:lnTo>
                    <a:pt x="858" y="4258"/>
                  </a:lnTo>
                  <a:lnTo>
                    <a:pt x="858" y="4257"/>
                  </a:lnTo>
                  <a:lnTo>
                    <a:pt x="858" y="4257"/>
                  </a:lnTo>
                  <a:lnTo>
                    <a:pt x="859" y="4256"/>
                  </a:lnTo>
                  <a:lnTo>
                    <a:pt x="860" y="4256"/>
                  </a:lnTo>
                  <a:lnTo>
                    <a:pt x="861" y="4256"/>
                  </a:lnTo>
                  <a:lnTo>
                    <a:pt x="861" y="4257"/>
                  </a:lnTo>
                  <a:lnTo>
                    <a:pt x="861" y="4259"/>
                  </a:lnTo>
                  <a:lnTo>
                    <a:pt x="861" y="4260"/>
                  </a:lnTo>
                  <a:lnTo>
                    <a:pt x="867" y="4262"/>
                  </a:lnTo>
                  <a:lnTo>
                    <a:pt x="869" y="4262"/>
                  </a:lnTo>
                  <a:lnTo>
                    <a:pt x="867" y="4258"/>
                  </a:lnTo>
                  <a:lnTo>
                    <a:pt x="865" y="4255"/>
                  </a:lnTo>
                  <a:lnTo>
                    <a:pt x="864" y="4251"/>
                  </a:lnTo>
                  <a:lnTo>
                    <a:pt x="867" y="4250"/>
                  </a:lnTo>
                  <a:lnTo>
                    <a:pt x="864" y="4243"/>
                  </a:lnTo>
                  <a:lnTo>
                    <a:pt x="862" y="4240"/>
                  </a:lnTo>
                  <a:lnTo>
                    <a:pt x="862" y="4240"/>
                  </a:lnTo>
                  <a:lnTo>
                    <a:pt x="861" y="4241"/>
                  </a:lnTo>
                  <a:lnTo>
                    <a:pt x="859" y="4240"/>
                  </a:lnTo>
                  <a:lnTo>
                    <a:pt x="857" y="4238"/>
                  </a:lnTo>
                  <a:lnTo>
                    <a:pt x="853" y="4230"/>
                  </a:lnTo>
                  <a:lnTo>
                    <a:pt x="850" y="4223"/>
                  </a:lnTo>
                  <a:lnTo>
                    <a:pt x="849" y="4215"/>
                  </a:lnTo>
                  <a:lnTo>
                    <a:pt x="850" y="4208"/>
                  </a:lnTo>
                  <a:lnTo>
                    <a:pt x="855" y="4204"/>
                  </a:lnTo>
                  <a:lnTo>
                    <a:pt x="851" y="4194"/>
                  </a:lnTo>
                  <a:lnTo>
                    <a:pt x="853" y="4189"/>
                  </a:lnTo>
                  <a:lnTo>
                    <a:pt x="866" y="4182"/>
                  </a:lnTo>
                  <a:lnTo>
                    <a:pt x="863" y="4179"/>
                  </a:lnTo>
                  <a:lnTo>
                    <a:pt x="864" y="4178"/>
                  </a:lnTo>
                  <a:lnTo>
                    <a:pt x="865" y="4176"/>
                  </a:lnTo>
                  <a:lnTo>
                    <a:pt x="867" y="4173"/>
                  </a:lnTo>
                  <a:lnTo>
                    <a:pt x="861" y="4169"/>
                  </a:lnTo>
                  <a:lnTo>
                    <a:pt x="863" y="4163"/>
                  </a:lnTo>
                  <a:lnTo>
                    <a:pt x="867" y="4162"/>
                  </a:lnTo>
                  <a:lnTo>
                    <a:pt x="877" y="4164"/>
                  </a:lnTo>
                  <a:lnTo>
                    <a:pt x="876" y="4158"/>
                  </a:lnTo>
                  <a:lnTo>
                    <a:pt x="877" y="4156"/>
                  </a:lnTo>
                  <a:lnTo>
                    <a:pt x="881" y="4155"/>
                  </a:lnTo>
                  <a:lnTo>
                    <a:pt x="883" y="4153"/>
                  </a:lnTo>
                  <a:lnTo>
                    <a:pt x="880" y="4152"/>
                  </a:lnTo>
                  <a:lnTo>
                    <a:pt x="878" y="4150"/>
                  </a:lnTo>
                  <a:lnTo>
                    <a:pt x="877" y="4147"/>
                  </a:lnTo>
                  <a:lnTo>
                    <a:pt x="878" y="4144"/>
                  </a:lnTo>
                  <a:lnTo>
                    <a:pt x="880" y="4142"/>
                  </a:lnTo>
                  <a:lnTo>
                    <a:pt x="882" y="4142"/>
                  </a:lnTo>
                  <a:lnTo>
                    <a:pt x="883" y="4140"/>
                  </a:lnTo>
                  <a:lnTo>
                    <a:pt x="881" y="4135"/>
                  </a:lnTo>
                  <a:lnTo>
                    <a:pt x="886" y="4137"/>
                  </a:lnTo>
                  <a:lnTo>
                    <a:pt x="884" y="4131"/>
                  </a:lnTo>
                  <a:lnTo>
                    <a:pt x="881" y="4124"/>
                  </a:lnTo>
                  <a:lnTo>
                    <a:pt x="876" y="4112"/>
                  </a:lnTo>
                  <a:lnTo>
                    <a:pt x="870" y="4109"/>
                  </a:lnTo>
                  <a:lnTo>
                    <a:pt x="858" y="4109"/>
                  </a:lnTo>
                  <a:lnTo>
                    <a:pt x="858" y="4107"/>
                  </a:lnTo>
                  <a:lnTo>
                    <a:pt x="862" y="4107"/>
                  </a:lnTo>
                  <a:lnTo>
                    <a:pt x="862" y="4105"/>
                  </a:lnTo>
                  <a:lnTo>
                    <a:pt x="859" y="4103"/>
                  </a:lnTo>
                  <a:lnTo>
                    <a:pt x="859" y="4101"/>
                  </a:lnTo>
                  <a:lnTo>
                    <a:pt x="860" y="4100"/>
                  </a:lnTo>
                  <a:lnTo>
                    <a:pt x="862" y="4097"/>
                  </a:lnTo>
                  <a:lnTo>
                    <a:pt x="861" y="4095"/>
                  </a:lnTo>
                  <a:lnTo>
                    <a:pt x="861" y="4094"/>
                  </a:lnTo>
                  <a:lnTo>
                    <a:pt x="859" y="4091"/>
                  </a:lnTo>
                  <a:lnTo>
                    <a:pt x="861" y="4092"/>
                  </a:lnTo>
                  <a:lnTo>
                    <a:pt x="862" y="4093"/>
                  </a:lnTo>
                  <a:lnTo>
                    <a:pt x="863" y="4092"/>
                  </a:lnTo>
                  <a:lnTo>
                    <a:pt x="865" y="4091"/>
                  </a:lnTo>
                  <a:lnTo>
                    <a:pt x="864" y="4094"/>
                  </a:lnTo>
                  <a:lnTo>
                    <a:pt x="864" y="4097"/>
                  </a:lnTo>
                  <a:lnTo>
                    <a:pt x="865" y="4100"/>
                  </a:lnTo>
                  <a:lnTo>
                    <a:pt x="866" y="4101"/>
                  </a:lnTo>
                  <a:lnTo>
                    <a:pt x="867" y="4100"/>
                  </a:lnTo>
                  <a:lnTo>
                    <a:pt x="871" y="4096"/>
                  </a:lnTo>
                  <a:lnTo>
                    <a:pt x="873" y="4094"/>
                  </a:lnTo>
                  <a:lnTo>
                    <a:pt x="874" y="4092"/>
                  </a:lnTo>
                  <a:lnTo>
                    <a:pt x="876" y="4091"/>
                  </a:lnTo>
                  <a:lnTo>
                    <a:pt x="877" y="4090"/>
                  </a:lnTo>
                  <a:lnTo>
                    <a:pt x="876" y="4086"/>
                  </a:lnTo>
                  <a:lnTo>
                    <a:pt x="874" y="4085"/>
                  </a:lnTo>
                  <a:lnTo>
                    <a:pt x="872" y="4084"/>
                  </a:lnTo>
                  <a:lnTo>
                    <a:pt x="870" y="4084"/>
                  </a:lnTo>
                  <a:lnTo>
                    <a:pt x="869" y="4081"/>
                  </a:lnTo>
                  <a:lnTo>
                    <a:pt x="872" y="4082"/>
                  </a:lnTo>
                  <a:lnTo>
                    <a:pt x="874" y="4081"/>
                  </a:lnTo>
                  <a:lnTo>
                    <a:pt x="875" y="4079"/>
                  </a:lnTo>
                  <a:lnTo>
                    <a:pt x="873" y="4075"/>
                  </a:lnTo>
                  <a:lnTo>
                    <a:pt x="872" y="4072"/>
                  </a:lnTo>
                  <a:lnTo>
                    <a:pt x="869" y="4069"/>
                  </a:lnTo>
                  <a:lnTo>
                    <a:pt x="868" y="4066"/>
                  </a:lnTo>
                  <a:lnTo>
                    <a:pt x="873" y="4070"/>
                  </a:lnTo>
                  <a:lnTo>
                    <a:pt x="878" y="4071"/>
                  </a:lnTo>
                  <a:lnTo>
                    <a:pt x="889" y="4073"/>
                  </a:lnTo>
                  <a:lnTo>
                    <a:pt x="889" y="4071"/>
                  </a:lnTo>
                  <a:lnTo>
                    <a:pt x="886" y="4071"/>
                  </a:lnTo>
                  <a:lnTo>
                    <a:pt x="886" y="4068"/>
                  </a:lnTo>
                  <a:lnTo>
                    <a:pt x="890" y="4068"/>
                  </a:lnTo>
                  <a:lnTo>
                    <a:pt x="888" y="4064"/>
                  </a:lnTo>
                  <a:lnTo>
                    <a:pt x="886" y="4061"/>
                  </a:lnTo>
                  <a:lnTo>
                    <a:pt x="883" y="4061"/>
                  </a:lnTo>
                  <a:lnTo>
                    <a:pt x="880" y="4061"/>
                  </a:lnTo>
                  <a:lnTo>
                    <a:pt x="882" y="4058"/>
                  </a:lnTo>
                  <a:lnTo>
                    <a:pt x="880" y="4056"/>
                  </a:lnTo>
                  <a:lnTo>
                    <a:pt x="874" y="4049"/>
                  </a:lnTo>
                  <a:lnTo>
                    <a:pt x="873" y="4048"/>
                  </a:lnTo>
                  <a:lnTo>
                    <a:pt x="871" y="4047"/>
                  </a:lnTo>
                  <a:lnTo>
                    <a:pt x="870" y="4046"/>
                  </a:lnTo>
                  <a:lnTo>
                    <a:pt x="869" y="4043"/>
                  </a:lnTo>
                  <a:lnTo>
                    <a:pt x="867" y="4041"/>
                  </a:lnTo>
                  <a:lnTo>
                    <a:pt x="861" y="4032"/>
                  </a:lnTo>
                  <a:lnTo>
                    <a:pt x="852" y="4026"/>
                  </a:lnTo>
                  <a:lnTo>
                    <a:pt x="846" y="4020"/>
                  </a:lnTo>
                  <a:lnTo>
                    <a:pt x="844" y="4017"/>
                  </a:lnTo>
                  <a:lnTo>
                    <a:pt x="843" y="4011"/>
                  </a:lnTo>
                  <a:lnTo>
                    <a:pt x="862" y="4028"/>
                  </a:lnTo>
                  <a:lnTo>
                    <a:pt x="875" y="4047"/>
                  </a:lnTo>
                  <a:lnTo>
                    <a:pt x="877" y="4050"/>
                  </a:lnTo>
                  <a:lnTo>
                    <a:pt x="885" y="4055"/>
                  </a:lnTo>
                  <a:lnTo>
                    <a:pt x="887" y="4056"/>
                  </a:lnTo>
                  <a:lnTo>
                    <a:pt x="889" y="4054"/>
                  </a:lnTo>
                  <a:lnTo>
                    <a:pt x="884" y="4050"/>
                  </a:lnTo>
                  <a:lnTo>
                    <a:pt x="849" y="4011"/>
                  </a:lnTo>
                  <a:lnTo>
                    <a:pt x="849" y="4009"/>
                  </a:lnTo>
                  <a:lnTo>
                    <a:pt x="852" y="4010"/>
                  </a:lnTo>
                  <a:lnTo>
                    <a:pt x="854" y="4011"/>
                  </a:lnTo>
                  <a:lnTo>
                    <a:pt x="855" y="4009"/>
                  </a:lnTo>
                  <a:lnTo>
                    <a:pt x="853" y="4005"/>
                  </a:lnTo>
                  <a:lnTo>
                    <a:pt x="860" y="4008"/>
                  </a:lnTo>
                  <a:lnTo>
                    <a:pt x="863" y="4010"/>
                  </a:lnTo>
                  <a:lnTo>
                    <a:pt x="866" y="4013"/>
                  </a:lnTo>
                  <a:lnTo>
                    <a:pt x="867" y="4012"/>
                  </a:lnTo>
                  <a:lnTo>
                    <a:pt x="868" y="4009"/>
                  </a:lnTo>
                  <a:lnTo>
                    <a:pt x="868" y="4006"/>
                  </a:lnTo>
                  <a:lnTo>
                    <a:pt x="867" y="4003"/>
                  </a:lnTo>
                  <a:lnTo>
                    <a:pt x="867" y="4002"/>
                  </a:lnTo>
                  <a:lnTo>
                    <a:pt x="869" y="4000"/>
                  </a:lnTo>
                  <a:lnTo>
                    <a:pt x="870" y="3999"/>
                  </a:lnTo>
                  <a:lnTo>
                    <a:pt x="861" y="3995"/>
                  </a:lnTo>
                  <a:lnTo>
                    <a:pt x="857" y="3989"/>
                  </a:lnTo>
                  <a:lnTo>
                    <a:pt x="855" y="3987"/>
                  </a:lnTo>
                  <a:lnTo>
                    <a:pt x="855" y="3985"/>
                  </a:lnTo>
                  <a:lnTo>
                    <a:pt x="856" y="3982"/>
                  </a:lnTo>
                  <a:lnTo>
                    <a:pt x="857" y="3980"/>
                  </a:lnTo>
                  <a:lnTo>
                    <a:pt x="858" y="3980"/>
                  </a:lnTo>
                  <a:lnTo>
                    <a:pt x="879" y="4003"/>
                  </a:lnTo>
                  <a:lnTo>
                    <a:pt x="877" y="4002"/>
                  </a:lnTo>
                  <a:lnTo>
                    <a:pt x="876" y="4001"/>
                  </a:lnTo>
                  <a:lnTo>
                    <a:pt x="874" y="4001"/>
                  </a:lnTo>
                  <a:lnTo>
                    <a:pt x="872" y="4001"/>
                  </a:lnTo>
                  <a:lnTo>
                    <a:pt x="873" y="4004"/>
                  </a:lnTo>
                  <a:lnTo>
                    <a:pt x="874" y="4006"/>
                  </a:lnTo>
                  <a:lnTo>
                    <a:pt x="874" y="4009"/>
                  </a:lnTo>
                  <a:lnTo>
                    <a:pt x="873" y="4011"/>
                  </a:lnTo>
                  <a:lnTo>
                    <a:pt x="880" y="4012"/>
                  </a:lnTo>
                  <a:lnTo>
                    <a:pt x="883" y="4012"/>
                  </a:lnTo>
                  <a:lnTo>
                    <a:pt x="884" y="4010"/>
                  </a:lnTo>
                  <a:lnTo>
                    <a:pt x="885" y="4004"/>
                  </a:lnTo>
                  <a:lnTo>
                    <a:pt x="886" y="4005"/>
                  </a:lnTo>
                  <a:lnTo>
                    <a:pt x="889" y="4012"/>
                  </a:lnTo>
                  <a:lnTo>
                    <a:pt x="891" y="4015"/>
                  </a:lnTo>
                  <a:lnTo>
                    <a:pt x="894" y="4017"/>
                  </a:lnTo>
                  <a:lnTo>
                    <a:pt x="897" y="4017"/>
                  </a:lnTo>
                  <a:lnTo>
                    <a:pt x="898" y="4013"/>
                  </a:lnTo>
                  <a:lnTo>
                    <a:pt x="898" y="4010"/>
                  </a:lnTo>
                  <a:lnTo>
                    <a:pt x="893" y="4006"/>
                  </a:lnTo>
                  <a:lnTo>
                    <a:pt x="892" y="4001"/>
                  </a:lnTo>
                  <a:lnTo>
                    <a:pt x="898" y="4005"/>
                  </a:lnTo>
                  <a:lnTo>
                    <a:pt x="901" y="4005"/>
                  </a:lnTo>
                  <a:lnTo>
                    <a:pt x="899" y="4003"/>
                  </a:lnTo>
                  <a:lnTo>
                    <a:pt x="895" y="3998"/>
                  </a:lnTo>
                  <a:lnTo>
                    <a:pt x="894" y="3996"/>
                  </a:lnTo>
                  <a:lnTo>
                    <a:pt x="894" y="3991"/>
                  </a:lnTo>
                  <a:lnTo>
                    <a:pt x="893" y="3988"/>
                  </a:lnTo>
                  <a:lnTo>
                    <a:pt x="892" y="3988"/>
                  </a:lnTo>
                  <a:lnTo>
                    <a:pt x="890" y="3990"/>
                  </a:lnTo>
                  <a:lnTo>
                    <a:pt x="888" y="3991"/>
                  </a:lnTo>
                  <a:lnTo>
                    <a:pt x="887" y="3989"/>
                  </a:lnTo>
                  <a:lnTo>
                    <a:pt x="885" y="3983"/>
                  </a:lnTo>
                  <a:lnTo>
                    <a:pt x="885" y="3983"/>
                  </a:lnTo>
                  <a:lnTo>
                    <a:pt x="883" y="3982"/>
                  </a:lnTo>
                  <a:lnTo>
                    <a:pt x="881" y="3983"/>
                  </a:lnTo>
                  <a:lnTo>
                    <a:pt x="877" y="3976"/>
                  </a:lnTo>
                  <a:lnTo>
                    <a:pt x="877" y="3972"/>
                  </a:lnTo>
                  <a:lnTo>
                    <a:pt x="879" y="3968"/>
                  </a:lnTo>
                  <a:lnTo>
                    <a:pt x="881" y="3969"/>
                  </a:lnTo>
                  <a:lnTo>
                    <a:pt x="884" y="3978"/>
                  </a:lnTo>
                  <a:lnTo>
                    <a:pt x="887" y="3981"/>
                  </a:lnTo>
                  <a:lnTo>
                    <a:pt x="885" y="3977"/>
                  </a:lnTo>
                  <a:lnTo>
                    <a:pt x="886" y="3975"/>
                  </a:lnTo>
                  <a:lnTo>
                    <a:pt x="891" y="3973"/>
                  </a:lnTo>
                  <a:lnTo>
                    <a:pt x="892" y="3975"/>
                  </a:lnTo>
                  <a:lnTo>
                    <a:pt x="893" y="3976"/>
                  </a:lnTo>
                  <a:lnTo>
                    <a:pt x="895" y="3975"/>
                  </a:lnTo>
                  <a:lnTo>
                    <a:pt x="896" y="3973"/>
                  </a:lnTo>
                  <a:lnTo>
                    <a:pt x="894" y="3968"/>
                  </a:lnTo>
                  <a:lnTo>
                    <a:pt x="891" y="3966"/>
                  </a:lnTo>
                  <a:lnTo>
                    <a:pt x="889" y="3965"/>
                  </a:lnTo>
                  <a:lnTo>
                    <a:pt x="885" y="3962"/>
                  </a:lnTo>
                  <a:lnTo>
                    <a:pt x="888" y="3963"/>
                  </a:lnTo>
                  <a:lnTo>
                    <a:pt x="889" y="3962"/>
                  </a:lnTo>
                  <a:lnTo>
                    <a:pt x="890" y="3960"/>
                  </a:lnTo>
                  <a:lnTo>
                    <a:pt x="890" y="3956"/>
                  </a:lnTo>
                  <a:lnTo>
                    <a:pt x="893" y="3954"/>
                  </a:lnTo>
                  <a:lnTo>
                    <a:pt x="890" y="3949"/>
                  </a:lnTo>
                  <a:lnTo>
                    <a:pt x="885" y="3942"/>
                  </a:lnTo>
                  <a:lnTo>
                    <a:pt x="881" y="3936"/>
                  </a:lnTo>
                  <a:lnTo>
                    <a:pt x="882" y="3936"/>
                  </a:lnTo>
                  <a:lnTo>
                    <a:pt x="884" y="3935"/>
                  </a:lnTo>
                  <a:lnTo>
                    <a:pt x="885" y="3936"/>
                  </a:lnTo>
                  <a:lnTo>
                    <a:pt x="883" y="3930"/>
                  </a:lnTo>
                  <a:lnTo>
                    <a:pt x="877" y="3924"/>
                  </a:lnTo>
                  <a:lnTo>
                    <a:pt x="874" y="3919"/>
                  </a:lnTo>
                  <a:lnTo>
                    <a:pt x="882" y="3924"/>
                  </a:lnTo>
                  <a:lnTo>
                    <a:pt x="891" y="3935"/>
                  </a:lnTo>
                  <a:lnTo>
                    <a:pt x="900" y="3941"/>
                  </a:lnTo>
                  <a:lnTo>
                    <a:pt x="905" y="3931"/>
                  </a:lnTo>
                  <a:lnTo>
                    <a:pt x="903" y="3930"/>
                  </a:lnTo>
                  <a:lnTo>
                    <a:pt x="902" y="3928"/>
                  </a:lnTo>
                  <a:lnTo>
                    <a:pt x="901" y="3926"/>
                  </a:lnTo>
                  <a:lnTo>
                    <a:pt x="903" y="3925"/>
                  </a:lnTo>
                  <a:lnTo>
                    <a:pt x="905" y="3926"/>
                  </a:lnTo>
                  <a:lnTo>
                    <a:pt x="906" y="3927"/>
                  </a:lnTo>
                  <a:lnTo>
                    <a:pt x="907" y="3926"/>
                  </a:lnTo>
                  <a:lnTo>
                    <a:pt x="907" y="3922"/>
                  </a:lnTo>
                  <a:lnTo>
                    <a:pt x="907" y="3918"/>
                  </a:lnTo>
                  <a:lnTo>
                    <a:pt x="906" y="3914"/>
                  </a:lnTo>
                  <a:lnTo>
                    <a:pt x="904" y="3911"/>
                  </a:lnTo>
                  <a:lnTo>
                    <a:pt x="902" y="3909"/>
                  </a:lnTo>
                  <a:lnTo>
                    <a:pt x="902" y="3908"/>
                  </a:lnTo>
                  <a:lnTo>
                    <a:pt x="904" y="3906"/>
                  </a:lnTo>
                  <a:lnTo>
                    <a:pt x="892" y="3899"/>
                  </a:lnTo>
                  <a:lnTo>
                    <a:pt x="889" y="3899"/>
                  </a:lnTo>
                  <a:lnTo>
                    <a:pt x="889" y="3896"/>
                  </a:lnTo>
                  <a:lnTo>
                    <a:pt x="894" y="3895"/>
                  </a:lnTo>
                  <a:lnTo>
                    <a:pt x="896" y="3894"/>
                  </a:lnTo>
                  <a:lnTo>
                    <a:pt x="897" y="3893"/>
                  </a:lnTo>
                  <a:lnTo>
                    <a:pt x="897" y="3891"/>
                  </a:lnTo>
                  <a:lnTo>
                    <a:pt x="897" y="3889"/>
                  </a:lnTo>
                  <a:lnTo>
                    <a:pt x="897" y="3888"/>
                  </a:lnTo>
                  <a:lnTo>
                    <a:pt x="898" y="3888"/>
                  </a:lnTo>
                  <a:lnTo>
                    <a:pt x="901" y="3889"/>
                  </a:lnTo>
                  <a:lnTo>
                    <a:pt x="902" y="3888"/>
                  </a:lnTo>
                  <a:lnTo>
                    <a:pt x="903" y="3883"/>
                  </a:lnTo>
                  <a:lnTo>
                    <a:pt x="900" y="3882"/>
                  </a:lnTo>
                  <a:lnTo>
                    <a:pt x="891" y="3884"/>
                  </a:lnTo>
                  <a:lnTo>
                    <a:pt x="892" y="3887"/>
                  </a:lnTo>
                  <a:lnTo>
                    <a:pt x="892" y="3889"/>
                  </a:lnTo>
                  <a:lnTo>
                    <a:pt x="891" y="3890"/>
                  </a:lnTo>
                  <a:lnTo>
                    <a:pt x="889" y="3890"/>
                  </a:lnTo>
                  <a:lnTo>
                    <a:pt x="887" y="3889"/>
                  </a:lnTo>
                  <a:lnTo>
                    <a:pt x="887" y="3887"/>
                  </a:lnTo>
                  <a:lnTo>
                    <a:pt x="887" y="3884"/>
                  </a:lnTo>
                  <a:lnTo>
                    <a:pt x="885" y="3881"/>
                  </a:lnTo>
                  <a:lnTo>
                    <a:pt x="879" y="3877"/>
                  </a:lnTo>
                  <a:lnTo>
                    <a:pt x="877" y="3874"/>
                  </a:lnTo>
                  <a:lnTo>
                    <a:pt x="899" y="3878"/>
                  </a:lnTo>
                  <a:lnTo>
                    <a:pt x="899" y="3871"/>
                  </a:lnTo>
                  <a:lnTo>
                    <a:pt x="898" y="3869"/>
                  </a:lnTo>
                  <a:lnTo>
                    <a:pt x="896" y="3868"/>
                  </a:lnTo>
                  <a:lnTo>
                    <a:pt x="896" y="3869"/>
                  </a:lnTo>
                  <a:lnTo>
                    <a:pt x="894" y="3870"/>
                  </a:lnTo>
                  <a:lnTo>
                    <a:pt x="891" y="3871"/>
                  </a:lnTo>
                  <a:lnTo>
                    <a:pt x="890" y="3872"/>
                  </a:lnTo>
                  <a:lnTo>
                    <a:pt x="889" y="3869"/>
                  </a:lnTo>
                  <a:lnTo>
                    <a:pt x="889" y="3866"/>
                  </a:lnTo>
                  <a:lnTo>
                    <a:pt x="890" y="3864"/>
                  </a:lnTo>
                  <a:lnTo>
                    <a:pt x="890" y="3861"/>
                  </a:lnTo>
                  <a:lnTo>
                    <a:pt x="888" y="3857"/>
                  </a:lnTo>
                  <a:lnTo>
                    <a:pt x="886" y="3856"/>
                  </a:lnTo>
                  <a:lnTo>
                    <a:pt x="881" y="3855"/>
                  </a:lnTo>
                  <a:lnTo>
                    <a:pt x="847" y="3837"/>
                  </a:lnTo>
                  <a:lnTo>
                    <a:pt x="842" y="3836"/>
                  </a:lnTo>
                  <a:lnTo>
                    <a:pt x="847" y="3834"/>
                  </a:lnTo>
                  <a:lnTo>
                    <a:pt x="862" y="3839"/>
                  </a:lnTo>
                  <a:lnTo>
                    <a:pt x="871" y="3845"/>
                  </a:lnTo>
                  <a:lnTo>
                    <a:pt x="891" y="3849"/>
                  </a:lnTo>
                  <a:lnTo>
                    <a:pt x="892" y="3849"/>
                  </a:lnTo>
                  <a:lnTo>
                    <a:pt x="894" y="3851"/>
                  </a:lnTo>
                  <a:lnTo>
                    <a:pt x="895" y="3851"/>
                  </a:lnTo>
                  <a:lnTo>
                    <a:pt x="896" y="3850"/>
                  </a:lnTo>
                  <a:lnTo>
                    <a:pt x="898" y="3847"/>
                  </a:lnTo>
                  <a:lnTo>
                    <a:pt x="899" y="3847"/>
                  </a:lnTo>
                  <a:lnTo>
                    <a:pt x="903" y="3846"/>
                  </a:lnTo>
                  <a:lnTo>
                    <a:pt x="908" y="3844"/>
                  </a:lnTo>
                  <a:lnTo>
                    <a:pt x="912" y="3841"/>
                  </a:lnTo>
                  <a:lnTo>
                    <a:pt x="910" y="3836"/>
                  </a:lnTo>
                  <a:lnTo>
                    <a:pt x="914" y="3835"/>
                  </a:lnTo>
                  <a:lnTo>
                    <a:pt x="922" y="3834"/>
                  </a:lnTo>
                  <a:lnTo>
                    <a:pt x="926" y="3832"/>
                  </a:lnTo>
                  <a:lnTo>
                    <a:pt x="917" y="3824"/>
                  </a:lnTo>
                  <a:lnTo>
                    <a:pt x="911" y="3822"/>
                  </a:lnTo>
                  <a:lnTo>
                    <a:pt x="909" y="3820"/>
                  </a:lnTo>
                  <a:lnTo>
                    <a:pt x="910" y="3817"/>
                  </a:lnTo>
                  <a:lnTo>
                    <a:pt x="910" y="3815"/>
                  </a:lnTo>
                  <a:lnTo>
                    <a:pt x="906" y="3815"/>
                  </a:lnTo>
                  <a:lnTo>
                    <a:pt x="906" y="3814"/>
                  </a:lnTo>
                  <a:lnTo>
                    <a:pt x="907" y="3813"/>
                  </a:lnTo>
                  <a:lnTo>
                    <a:pt x="908" y="3811"/>
                  </a:lnTo>
                  <a:lnTo>
                    <a:pt x="904" y="3811"/>
                  </a:lnTo>
                  <a:lnTo>
                    <a:pt x="901" y="3807"/>
                  </a:lnTo>
                  <a:lnTo>
                    <a:pt x="900" y="3802"/>
                  </a:lnTo>
                  <a:lnTo>
                    <a:pt x="902" y="3797"/>
                  </a:lnTo>
                  <a:lnTo>
                    <a:pt x="900" y="3797"/>
                  </a:lnTo>
                  <a:lnTo>
                    <a:pt x="894" y="3795"/>
                  </a:lnTo>
                  <a:lnTo>
                    <a:pt x="894" y="3796"/>
                  </a:lnTo>
                  <a:lnTo>
                    <a:pt x="895" y="3800"/>
                  </a:lnTo>
                  <a:lnTo>
                    <a:pt x="895" y="3801"/>
                  </a:lnTo>
                  <a:lnTo>
                    <a:pt x="892" y="3798"/>
                  </a:lnTo>
                  <a:lnTo>
                    <a:pt x="886" y="3797"/>
                  </a:lnTo>
                  <a:lnTo>
                    <a:pt x="884" y="3796"/>
                  </a:lnTo>
                  <a:lnTo>
                    <a:pt x="881" y="3792"/>
                  </a:lnTo>
                  <a:lnTo>
                    <a:pt x="877" y="3791"/>
                  </a:lnTo>
                  <a:lnTo>
                    <a:pt x="858" y="3792"/>
                  </a:lnTo>
                  <a:lnTo>
                    <a:pt x="857" y="3790"/>
                  </a:lnTo>
                  <a:lnTo>
                    <a:pt x="848" y="3785"/>
                  </a:lnTo>
                  <a:lnTo>
                    <a:pt x="846" y="3784"/>
                  </a:lnTo>
                  <a:lnTo>
                    <a:pt x="844" y="3787"/>
                  </a:lnTo>
                  <a:lnTo>
                    <a:pt x="843" y="3792"/>
                  </a:lnTo>
                  <a:lnTo>
                    <a:pt x="842" y="3796"/>
                  </a:lnTo>
                  <a:lnTo>
                    <a:pt x="841" y="3800"/>
                  </a:lnTo>
                  <a:lnTo>
                    <a:pt x="840" y="3801"/>
                  </a:lnTo>
                  <a:lnTo>
                    <a:pt x="838" y="3802"/>
                  </a:lnTo>
                  <a:lnTo>
                    <a:pt x="836" y="3801"/>
                  </a:lnTo>
                  <a:lnTo>
                    <a:pt x="835" y="3798"/>
                  </a:lnTo>
                  <a:lnTo>
                    <a:pt x="835" y="3794"/>
                  </a:lnTo>
                  <a:lnTo>
                    <a:pt x="835" y="3793"/>
                  </a:lnTo>
                  <a:lnTo>
                    <a:pt x="835" y="3792"/>
                  </a:lnTo>
                  <a:lnTo>
                    <a:pt x="831" y="3788"/>
                  </a:lnTo>
                  <a:lnTo>
                    <a:pt x="829" y="3787"/>
                  </a:lnTo>
                  <a:lnTo>
                    <a:pt x="827" y="3788"/>
                  </a:lnTo>
                  <a:lnTo>
                    <a:pt x="825" y="3792"/>
                  </a:lnTo>
                  <a:lnTo>
                    <a:pt x="822" y="3794"/>
                  </a:lnTo>
                  <a:lnTo>
                    <a:pt x="814" y="3790"/>
                  </a:lnTo>
                  <a:lnTo>
                    <a:pt x="811" y="3793"/>
                  </a:lnTo>
                  <a:lnTo>
                    <a:pt x="810" y="3789"/>
                  </a:lnTo>
                  <a:lnTo>
                    <a:pt x="809" y="3789"/>
                  </a:lnTo>
                  <a:lnTo>
                    <a:pt x="807" y="3789"/>
                  </a:lnTo>
                  <a:lnTo>
                    <a:pt x="805" y="3790"/>
                  </a:lnTo>
                  <a:lnTo>
                    <a:pt x="805" y="3788"/>
                  </a:lnTo>
                  <a:lnTo>
                    <a:pt x="808" y="3787"/>
                  </a:lnTo>
                  <a:lnTo>
                    <a:pt x="814" y="3789"/>
                  </a:lnTo>
                  <a:lnTo>
                    <a:pt x="817" y="3788"/>
                  </a:lnTo>
                  <a:lnTo>
                    <a:pt x="818" y="3786"/>
                  </a:lnTo>
                  <a:lnTo>
                    <a:pt x="817" y="3783"/>
                  </a:lnTo>
                  <a:lnTo>
                    <a:pt x="815" y="3781"/>
                  </a:lnTo>
                  <a:lnTo>
                    <a:pt x="813" y="3780"/>
                  </a:lnTo>
                  <a:lnTo>
                    <a:pt x="813" y="3778"/>
                  </a:lnTo>
                  <a:lnTo>
                    <a:pt x="868" y="3785"/>
                  </a:lnTo>
                  <a:lnTo>
                    <a:pt x="923" y="3791"/>
                  </a:lnTo>
                  <a:lnTo>
                    <a:pt x="937" y="3786"/>
                  </a:lnTo>
                  <a:lnTo>
                    <a:pt x="941" y="3787"/>
                  </a:lnTo>
                  <a:lnTo>
                    <a:pt x="938" y="3781"/>
                  </a:lnTo>
                  <a:lnTo>
                    <a:pt x="935" y="3778"/>
                  </a:lnTo>
                  <a:lnTo>
                    <a:pt x="928" y="3778"/>
                  </a:lnTo>
                  <a:lnTo>
                    <a:pt x="931" y="3773"/>
                  </a:lnTo>
                  <a:lnTo>
                    <a:pt x="937" y="3774"/>
                  </a:lnTo>
                  <a:lnTo>
                    <a:pt x="946" y="3780"/>
                  </a:lnTo>
                  <a:lnTo>
                    <a:pt x="950" y="3780"/>
                  </a:lnTo>
                  <a:lnTo>
                    <a:pt x="952" y="3778"/>
                  </a:lnTo>
                  <a:lnTo>
                    <a:pt x="955" y="3774"/>
                  </a:lnTo>
                  <a:lnTo>
                    <a:pt x="958" y="3770"/>
                  </a:lnTo>
                  <a:lnTo>
                    <a:pt x="958" y="3768"/>
                  </a:lnTo>
                  <a:lnTo>
                    <a:pt x="955" y="3767"/>
                  </a:lnTo>
                  <a:lnTo>
                    <a:pt x="948" y="3768"/>
                  </a:lnTo>
                  <a:lnTo>
                    <a:pt x="945" y="3765"/>
                  </a:lnTo>
                  <a:lnTo>
                    <a:pt x="946" y="3764"/>
                  </a:lnTo>
                  <a:lnTo>
                    <a:pt x="947" y="3762"/>
                  </a:lnTo>
                  <a:lnTo>
                    <a:pt x="948" y="3760"/>
                  </a:lnTo>
                  <a:lnTo>
                    <a:pt x="948" y="3757"/>
                  </a:lnTo>
                  <a:lnTo>
                    <a:pt x="947" y="3755"/>
                  </a:lnTo>
                  <a:lnTo>
                    <a:pt x="942" y="3754"/>
                  </a:lnTo>
                  <a:lnTo>
                    <a:pt x="940" y="3753"/>
                  </a:lnTo>
                  <a:lnTo>
                    <a:pt x="942" y="3752"/>
                  </a:lnTo>
                  <a:lnTo>
                    <a:pt x="947" y="3749"/>
                  </a:lnTo>
                  <a:lnTo>
                    <a:pt x="949" y="3749"/>
                  </a:lnTo>
                  <a:lnTo>
                    <a:pt x="951" y="3750"/>
                  </a:lnTo>
                  <a:lnTo>
                    <a:pt x="954" y="3755"/>
                  </a:lnTo>
                  <a:lnTo>
                    <a:pt x="956" y="3757"/>
                  </a:lnTo>
                  <a:lnTo>
                    <a:pt x="961" y="3759"/>
                  </a:lnTo>
                  <a:lnTo>
                    <a:pt x="979" y="3759"/>
                  </a:lnTo>
                  <a:lnTo>
                    <a:pt x="979" y="3753"/>
                  </a:lnTo>
                  <a:lnTo>
                    <a:pt x="984" y="3753"/>
                  </a:lnTo>
                  <a:lnTo>
                    <a:pt x="992" y="3753"/>
                  </a:lnTo>
                  <a:lnTo>
                    <a:pt x="995" y="3749"/>
                  </a:lnTo>
                  <a:lnTo>
                    <a:pt x="994" y="3744"/>
                  </a:lnTo>
                  <a:lnTo>
                    <a:pt x="989" y="3736"/>
                  </a:lnTo>
                  <a:lnTo>
                    <a:pt x="1008" y="3741"/>
                  </a:lnTo>
                  <a:lnTo>
                    <a:pt x="1013" y="3738"/>
                  </a:lnTo>
                  <a:lnTo>
                    <a:pt x="1009" y="3735"/>
                  </a:lnTo>
                  <a:lnTo>
                    <a:pt x="1008" y="3734"/>
                  </a:lnTo>
                  <a:lnTo>
                    <a:pt x="1007" y="3733"/>
                  </a:lnTo>
                  <a:lnTo>
                    <a:pt x="1007" y="3731"/>
                  </a:lnTo>
                  <a:lnTo>
                    <a:pt x="1008" y="3726"/>
                  </a:lnTo>
                  <a:lnTo>
                    <a:pt x="1009" y="3716"/>
                  </a:lnTo>
                  <a:lnTo>
                    <a:pt x="1009" y="3713"/>
                  </a:lnTo>
                  <a:lnTo>
                    <a:pt x="1006" y="3711"/>
                  </a:lnTo>
                  <a:lnTo>
                    <a:pt x="1006" y="3709"/>
                  </a:lnTo>
                  <a:lnTo>
                    <a:pt x="1011" y="3712"/>
                  </a:lnTo>
                  <a:lnTo>
                    <a:pt x="1023" y="3721"/>
                  </a:lnTo>
                  <a:lnTo>
                    <a:pt x="1028" y="3722"/>
                  </a:lnTo>
                  <a:lnTo>
                    <a:pt x="1027" y="3721"/>
                  </a:lnTo>
                  <a:lnTo>
                    <a:pt x="1025" y="3719"/>
                  </a:lnTo>
                  <a:lnTo>
                    <a:pt x="1029" y="3719"/>
                  </a:lnTo>
                  <a:lnTo>
                    <a:pt x="1029" y="3717"/>
                  </a:lnTo>
                  <a:lnTo>
                    <a:pt x="1024" y="3714"/>
                  </a:lnTo>
                  <a:lnTo>
                    <a:pt x="1022" y="3710"/>
                  </a:lnTo>
                  <a:lnTo>
                    <a:pt x="1020" y="3707"/>
                  </a:lnTo>
                  <a:lnTo>
                    <a:pt x="1023" y="3707"/>
                  </a:lnTo>
                  <a:lnTo>
                    <a:pt x="1027" y="3709"/>
                  </a:lnTo>
                  <a:lnTo>
                    <a:pt x="1030" y="3709"/>
                  </a:lnTo>
                  <a:lnTo>
                    <a:pt x="1033" y="3707"/>
                  </a:lnTo>
                  <a:lnTo>
                    <a:pt x="1035" y="3702"/>
                  </a:lnTo>
                  <a:lnTo>
                    <a:pt x="1033" y="3700"/>
                  </a:lnTo>
                  <a:lnTo>
                    <a:pt x="1031" y="3699"/>
                  </a:lnTo>
                  <a:lnTo>
                    <a:pt x="1032" y="3696"/>
                  </a:lnTo>
                  <a:lnTo>
                    <a:pt x="1032" y="3694"/>
                  </a:lnTo>
                  <a:lnTo>
                    <a:pt x="1031" y="3694"/>
                  </a:lnTo>
                  <a:lnTo>
                    <a:pt x="1029" y="3693"/>
                  </a:lnTo>
                  <a:lnTo>
                    <a:pt x="1028" y="3692"/>
                  </a:lnTo>
                  <a:lnTo>
                    <a:pt x="1027" y="3690"/>
                  </a:lnTo>
                  <a:lnTo>
                    <a:pt x="1027" y="3689"/>
                  </a:lnTo>
                  <a:lnTo>
                    <a:pt x="1028" y="3687"/>
                  </a:lnTo>
                  <a:lnTo>
                    <a:pt x="1028" y="3687"/>
                  </a:lnTo>
                  <a:lnTo>
                    <a:pt x="1030" y="3685"/>
                  </a:lnTo>
                  <a:lnTo>
                    <a:pt x="1032" y="3687"/>
                  </a:lnTo>
                  <a:lnTo>
                    <a:pt x="1033" y="3683"/>
                  </a:lnTo>
                  <a:lnTo>
                    <a:pt x="1034" y="3676"/>
                  </a:lnTo>
                  <a:lnTo>
                    <a:pt x="1035" y="3671"/>
                  </a:lnTo>
                  <a:lnTo>
                    <a:pt x="1033" y="3667"/>
                  </a:lnTo>
                  <a:lnTo>
                    <a:pt x="1033" y="3661"/>
                  </a:lnTo>
                  <a:lnTo>
                    <a:pt x="1033" y="3654"/>
                  </a:lnTo>
                  <a:lnTo>
                    <a:pt x="1032" y="3648"/>
                  </a:lnTo>
                  <a:lnTo>
                    <a:pt x="1035" y="3646"/>
                  </a:lnTo>
                  <a:lnTo>
                    <a:pt x="1038" y="3643"/>
                  </a:lnTo>
                  <a:lnTo>
                    <a:pt x="1040" y="3640"/>
                  </a:lnTo>
                  <a:lnTo>
                    <a:pt x="1042" y="3635"/>
                  </a:lnTo>
                  <a:lnTo>
                    <a:pt x="1040" y="3625"/>
                  </a:lnTo>
                  <a:lnTo>
                    <a:pt x="1041" y="3626"/>
                  </a:lnTo>
                  <a:lnTo>
                    <a:pt x="1043" y="3629"/>
                  </a:lnTo>
                  <a:lnTo>
                    <a:pt x="1045" y="3633"/>
                  </a:lnTo>
                  <a:lnTo>
                    <a:pt x="1045" y="3636"/>
                  </a:lnTo>
                  <a:lnTo>
                    <a:pt x="1044" y="3640"/>
                  </a:lnTo>
                  <a:lnTo>
                    <a:pt x="1041" y="3647"/>
                  </a:lnTo>
                  <a:lnTo>
                    <a:pt x="1041" y="3652"/>
                  </a:lnTo>
                  <a:lnTo>
                    <a:pt x="1046" y="3659"/>
                  </a:lnTo>
                  <a:lnTo>
                    <a:pt x="1048" y="3660"/>
                  </a:lnTo>
                  <a:lnTo>
                    <a:pt x="1050" y="3659"/>
                  </a:lnTo>
                  <a:lnTo>
                    <a:pt x="1050" y="3654"/>
                  </a:lnTo>
                  <a:lnTo>
                    <a:pt x="1051" y="3644"/>
                  </a:lnTo>
                  <a:lnTo>
                    <a:pt x="1051" y="3641"/>
                  </a:lnTo>
                  <a:lnTo>
                    <a:pt x="1053" y="3639"/>
                  </a:lnTo>
                  <a:lnTo>
                    <a:pt x="1055" y="3638"/>
                  </a:lnTo>
                  <a:lnTo>
                    <a:pt x="1057" y="3640"/>
                  </a:lnTo>
                  <a:lnTo>
                    <a:pt x="1057" y="3643"/>
                  </a:lnTo>
                  <a:lnTo>
                    <a:pt x="1055" y="3650"/>
                  </a:lnTo>
                  <a:lnTo>
                    <a:pt x="1056" y="3652"/>
                  </a:lnTo>
                  <a:lnTo>
                    <a:pt x="1056" y="3656"/>
                  </a:lnTo>
                  <a:lnTo>
                    <a:pt x="1056" y="3665"/>
                  </a:lnTo>
                  <a:lnTo>
                    <a:pt x="1055" y="3675"/>
                  </a:lnTo>
                  <a:lnTo>
                    <a:pt x="1053" y="3679"/>
                  </a:lnTo>
                  <a:lnTo>
                    <a:pt x="1053" y="3682"/>
                  </a:lnTo>
                  <a:lnTo>
                    <a:pt x="1054" y="3687"/>
                  </a:lnTo>
                  <a:lnTo>
                    <a:pt x="1054" y="3694"/>
                  </a:lnTo>
                  <a:lnTo>
                    <a:pt x="1054" y="3700"/>
                  </a:lnTo>
                  <a:lnTo>
                    <a:pt x="1059" y="3703"/>
                  </a:lnTo>
                  <a:lnTo>
                    <a:pt x="1059" y="3705"/>
                  </a:lnTo>
                  <a:lnTo>
                    <a:pt x="1058" y="3708"/>
                  </a:lnTo>
                  <a:lnTo>
                    <a:pt x="1058" y="3712"/>
                  </a:lnTo>
                  <a:lnTo>
                    <a:pt x="1059" y="3713"/>
                  </a:lnTo>
                  <a:lnTo>
                    <a:pt x="1060" y="3712"/>
                  </a:lnTo>
                  <a:lnTo>
                    <a:pt x="1061" y="3710"/>
                  </a:lnTo>
                  <a:lnTo>
                    <a:pt x="1062" y="3705"/>
                  </a:lnTo>
                  <a:lnTo>
                    <a:pt x="1060" y="3699"/>
                  </a:lnTo>
                  <a:lnTo>
                    <a:pt x="1058" y="3693"/>
                  </a:lnTo>
                  <a:lnTo>
                    <a:pt x="1058" y="3689"/>
                  </a:lnTo>
                  <a:lnTo>
                    <a:pt x="1060" y="3691"/>
                  </a:lnTo>
                  <a:lnTo>
                    <a:pt x="1063" y="3697"/>
                  </a:lnTo>
                  <a:lnTo>
                    <a:pt x="1064" y="3699"/>
                  </a:lnTo>
                  <a:lnTo>
                    <a:pt x="1067" y="3700"/>
                  </a:lnTo>
                  <a:lnTo>
                    <a:pt x="1068" y="3700"/>
                  </a:lnTo>
                  <a:lnTo>
                    <a:pt x="1069" y="3700"/>
                  </a:lnTo>
                  <a:lnTo>
                    <a:pt x="1070" y="3700"/>
                  </a:lnTo>
                  <a:lnTo>
                    <a:pt x="1072" y="3701"/>
                  </a:lnTo>
                  <a:lnTo>
                    <a:pt x="1072" y="3703"/>
                  </a:lnTo>
                  <a:lnTo>
                    <a:pt x="1073" y="3707"/>
                  </a:lnTo>
                  <a:lnTo>
                    <a:pt x="1072" y="3711"/>
                  </a:lnTo>
                  <a:lnTo>
                    <a:pt x="1073" y="3714"/>
                  </a:lnTo>
                  <a:lnTo>
                    <a:pt x="1075" y="3717"/>
                  </a:lnTo>
                  <a:lnTo>
                    <a:pt x="1077" y="3719"/>
                  </a:lnTo>
                  <a:lnTo>
                    <a:pt x="1077" y="3710"/>
                  </a:lnTo>
                  <a:lnTo>
                    <a:pt x="1077" y="3706"/>
                  </a:lnTo>
                  <a:lnTo>
                    <a:pt x="1078" y="3703"/>
                  </a:lnTo>
                  <a:lnTo>
                    <a:pt x="1080" y="3704"/>
                  </a:lnTo>
                  <a:lnTo>
                    <a:pt x="1083" y="3704"/>
                  </a:lnTo>
                  <a:lnTo>
                    <a:pt x="1086" y="3703"/>
                  </a:lnTo>
                  <a:lnTo>
                    <a:pt x="1088" y="3700"/>
                  </a:lnTo>
                  <a:lnTo>
                    <a:pt x="1089" y="3696"/>
                  </a:lnTo>
                  <a:lnTo>
                    <a:pt x="1089" y="3694"/>
                  </a:lnTo>
                  <a:lnTo>
                    <a:pt x="1088" y="3691"/>
                  </a:lnTo>
                  <a:lnTo>
                    <a:pt x="1088" y="3688"/>
                  </a:lnTo>
                  <a:lnTo>
                    <a:pt x="1090" y="3681"/>
                  </a:lnTo>
                  <a:lnTo>
                    <a:pt x="1094" y="3675"/>
                  </a:lnTo>
                  <a:lnTo>
                    <a:pt x="1097" y="3670"/>
                  </a:lnTo>
                  <a:lnTo>
                    <a:pt x="1094" y="3665"/>
                  </a:lnTo>
                  <a:lnTo>
                    <a:pt x="1096" y="3663"/>
                  </a:lnTo>
                  <a:lnTo>
                    <a:pt x="1098" y="3663"/>
                  </a:lnTo>
                  <a:lnTo>
                    <a:pt x="1102" y="3665"/>
                  </a:lnTo>
                  <a:lnTo>
                    <a:pt x="1101" y="3663"/>
                  </a:lnTo>
                  <a:lnTo>
                    <a:pt x="1101" y="3660"/>
                  </a:lnTo>
                  <a:lnTo>
                    <a:pt x="1101" y="3658"/>
                  </a:lnTo>
                  <a:lnTo>
                    <a:pt x="1109" y="3659"/>
                  </a:lnTo>
                  <a:lnTo>
                    <a:pt x="1111" y="3657"/>
                  </a:lnTo>
                  <a:lnTo>
                    <a:pt x="1114" y="3650"/>
                  </a:lnTo>
                  <a:lnTo>
                    <a:pt x="1116" y="3648"/>
                  </a:lnTo>
                  <a:lnTo>
                    <a:pt x="1118" y="3647"/>
                  </a:lnTo>
                  <a:lnTo>
                    <a:pt x="1123" y="3646"/>
                  </a:lnTo>
                  <a:lnTo>
                    <a:pt x="1125" y="3644"/>
                  </a:lnTo>
                  <a:lnTo>
                    <a:pt x="1127" y="3641"/>
                  </a:lnTo>
                  <a:lnTo>
                    <a:pt x="1129" y="3640"/>
                  </a:lnTo>
                  <a:lnTo>
                    <a:pt x="1132" y="3639"/>
                  </a:lnTo>
                  <a:lnTo>
                    <a:pt x="1134" y="3640"/>
                  </a:lnTo>
                  <a:lnTo>
                    <a:pt x="1134" y="3641"/>
                  </a:lnTo>
                  <a:lnTo>
                    <a:pt x="1133" y="3642"/>
                  </a:lnTo>
                  <a:lnTo>
                    <a:pt x="1132" y="3643"/>
                  </a:lnTo>
                  <a:lnTo>
                    <a:pt x="1134" y="3646"/>
                  </a:lnTo>
                  <a:lnTo>
                    <a:pt x="1132" y="3647"/>
                  </a:lnTo>
                  <a:lnTo>
                    <a:pt x="1128" y="3650"/>
                  </a:lnTo>
                  <a:lnTo>
                    <a:pt x="1126" y="3652"/>
                  </a:lnTo>
                  <a:lnTo>
                    <a:pt x="1131" y="3651"/>
                  </a:lnTo>
                  <a:lnTo>
                    <a:pt x="1145" y="3643"/>
                  </a:lnTo>
                  <a:lnTo>
                    <a:pt x="1145" y="3641"/>
                  </a:lnTo>
                  <a:lnTo>
                    <a:pt x="1143" y="3639"/>
                  </a:lnTo>
                  <a:lnTo>
                    <a:pt x="1142" y="3639"/>
                  </a:lnTo>
                  <a:lnTo>
                    <a:pt x="1140" y="3640"/>
                  </a:lnTo>
                  <a:lnTo>
                    <a:pt x="1143" y="3636"/>
                  </a:lnTo>
                  <a:lnTo>
                    <a:pt x="1148" y="3633"/>
                  </a:lnTo>
                  <a:lnTo>
                    <a:pt x="1154" y="3631"/>
                  </a:lnTo>
                  <a:lnTo>
                    <a:pt x="1158" y="3632"/>
                  </a:lnTo>
                  <a:lnTo>
                    <a:pt x="1160" y="3633"/>
                  </a:lnTo>
                  <a:lnTo>
                    <a:pt x="1161" y="3632"/>
                  </a:lnTo>
                  <a:lnTo>
                    <a:pt x="1162" y="3629"/>
                  </a:lnTo>
                  <a:lnTo>
                    <a:pt x="1163" y="3626"/>
                  </a:lnTo>
                  <a:lnTo>
                    <a:pt x="1162" y="3623"/>
                  </a:lnTo>
                  <a:lnTo>
                    <a:pt x="1160" y="3623"/>
                  </a:lnTo>
                  <a:lnTo>
                    <a:pt x="1156" y="3625"/>
                  </a:lnTo>
                  <a:lnTo>
                    <a:pt x="1156" y="3622"/>
                  </a:lnTo>
                  <a:lnTo>
                    <a:pt x="1157" y="3621"/>
                  </a:lnTo>
                  <a:lnTo>
                    <a:pt x="1157" y="3621"/>
                  </a:lnTo>
                  <a:lnTo>
                    <a:pt x="1158" y="3619"/>
                  </a:lnTo>
                  <a:lnTo>
                    <a:pt x="1158" y="3618"/>
                  </a:lnTo>
                  <a:lnTo>
                    <a:pt x="1155" y="3620"/>
                  </a:lnTo>
                  <a:lnTo>
                    <a:pt x="1154" y="3618"/>
                  </a:lnTo>
                  <a:lnTo>
                    <a:pt x="1153" y="3614"/>
                  </a:lnTo>
                  <a:lnTo>
                    <a:pt x="1152" y="3612"/>
                  </a:lnTo>
                  <a:lnTo>
                    <a:pt x="1150" y="3611"/>
                  </a:lnTo>
                  <a:lnTo>
                    <a:pt x="1146" y="3610"/>
                  </a:lnTo>
                  <a:lnTo>
                    <a:pt x="1144" y="3608"/>
                  </a:lnTo>
                  <a:lnTo>
                    <a:pt x="1144" y="3604"/>
                  </a:lnTo>
                  <a:lnTo>
                    <a:pt x="1147" y="3604"/>
                  </a:lnTo>
                  <a:lnTo>
                    <a:pt x="1161" y="3616"/>
                  </a:lnTo>
                  <a:lnTo>
                    <a:pt x="1159" y="3610"/>
                  </a:lnTo>
                  <a:lnTo>
                    <a:pt x="1155" y="3606"/>
                  </a:lnTo>
                  <a:lnTo>
                    <a:pt x="1151" y="3602"/>
                  </a:lnTo>
                  <a:lnTo>
                    <a:pt x="1147" y="3601"/>
                  </a:lnTo>
                  <a:lnTo>
                    <a:pt x="1138" y="3596"/>
                  </a:lnTo>
                  <a:lnTo>
                    <a:pt x="1137" y="3592"/>
                  </a:lnTo>
                  <a:lnTo>
                    <a:pt x="1139" y="3591"/>
                  </a:lnTo>
                  <a:lnTo>
                    <a:pt x="1144" y="3591"/>
                  </a:lnTo>
                  <a:lnTo>
                    <a:pt x="1144" y="3588"/>
                  </a:lnTo>
                  <a:lnTo>
                    <a:pt x="1143" y="3586"/>
                  </a:lnTo>
                  <a:lnTo>
                    <a:pt x="1141" y="3583"/>
                  </a:lnTo>
                  <a:lnTo>
                    <a:pt x="1140" y="3581"/>
                  </a:lnTo>
                  <a:lnTo>
                    <a:pt x="1138" y="3580"/>
                  </a:lnTo>
                  <a:lnTo>
                    <a:pt x="1140" y="3577"/>
                  </a:lnTo>
                  <a:lnTo>
                    <a:pt x="1143" y="3575"/>
                  </a:lnTo>
                  <a:lnTo>
                    <a:pt x="1145" y="3573"/>
                  </a:lnTo>
                  <a:lnTo>
                    <a:pt x="1149" y="3573"/>
                  </a:lnTo>
                  <a:lnTo>
                    <a:pt x="1148" y="3575"/>
                  </a:lnTo>
                  <a:lnTo>
                    <a:pt x="1148" y="3578"/>
                  </a:lnTo>
                  <a:lnTo>
                    <a:pt x="1147" y="3580"/>
                  </a:lnTo>
                  <a:lnTo>
                    <a:pt x="1152" y="3582"/>
                  </a:lnTo>
                  <a:lnTo>
                    <a:pt x="1165" y="3580"/>
                  </a:lnTo>
                  <a:lnTo>
                    <a:pt x="1167" y="3580"/>
                  </a:lnTo>
                  <a:lnTo>
                    <a:pt x="1172" y="3582"/>
                  </a:lnTo>
                  <a:lnTo>
                    <a:pt x="1174" y="3583"/>
                  </a:lnTo>
                  <a:lnTo>
                    <a:pt x="1176" y="3584"/>
                  </a:lnTo>
                  <a:lnTo>
                    <a:pt x="1179" y="3584"/>
                  </a:lnTo>
                  <a:lnTo>
                    <a:pt x="1181" y="3582"/>
                  </a:lnTo>
                  <a:lnTo>
                    <a:pt x="1184" y="3582"/>
                  </a:lnTo>
                  <a:lnTo>
                    <a:pt x="1192" y="3581"/>
                  </a:lnTo>
                  <a:lnTo>
                    <a:pt x="1195" y="3579"/>
                  </a:lnTo>
                  <a:lnTo>
                    <a:pt x="1196" y="3575"/>
                  </a:lnTo>
                  <a:lnTo>
                    <a:pt x="1194" y="3569"/>
                  </a:lnTo>
                  <a:lnTo>
                    <a:pt x="1189" y="3567"/>
                  </a:lnTo>
                  <a:lnTo>
                    <a:pt x="1184" y="3565"/>
                  </a:lnTo>
                  <a:lnTo>
                    <a:pt x="1180" y="3563"/>
                  </a:lnTo>
                  <a:lnTo>
                    <a:pt x="1183" y="3563"/>
                  </a:lnTo>
                  <a:lnTo>
                    <a:pt x="1186" y="3565"/>
                  </a:lnTo>
                  <a:lnTo>
                    <a:pt x="1189" y="3564"/>
                  </a:lnTo>
                  <a:lnTo>
                    <a:pt x="1191" y="3561"/>
                  </a:lnTo>
                  <a:lnTo>
                    <a:pt x="1180" y="3554"/>
                  </a:lnTo>
                  <a:lnTo>
                    <a:pt x="1180" y="3553"/>
                  </a:lnTo>
                  <a:lnTo>
                    <a:pt x="1179" y="3549"/>
                  </a:lnTo>
                  <a:lnTo>
                    <a:pt x="1179" y="3548"/>
                  </a:lnTo>
                  <a:lnTo>
                    <a:pt x="1175" y="3544"/>
                  </a:lnTo>
                  <a:lnTo>
                    <a:pt x="1171" y="3542"/>
                  </a:lnTo>
                  <a:lnTo>
                    <a:pt x="1161" y="3542"/>
                  </a:lnTo>
                  <a:lnTo>
                    <a:pt x="1163" y="3547"/>
                  </a:lnTo>
                  <a:lnTo>
                    <a:pt x="1166" y="3550"/>
                  </a:lnTo>
                  <a:lnTo>
                    <a:pt x="1173" y="3554"/>
                  </a:lnTo>
                  <a:lnTo>
                    <a:pt x="1165" y="3554"/>
                  </a:lnTo>
                  <a:lnTo>
                    <a:pt x="1166" y="3558"/>
                  </a:lnTo>
                  <a:lnTo>
                    <a:pt x="1170" y="3569"/>
                  </a:lnTo>
                  <a:lnTo>
                    <a:pt x="1169" y="3572"/>
                  </a:lnTo>
                  <a:lnTo>
                    <a:pt x="1166" y="3573"/>
                  </a:lnTo>
                  <a:lnTo>
                    <a:pt x="1161" y="3572"/>
                  </a:lnTo>
                  <a:lnTo>
                    <a:pt x="1162" y="3571"/>
                  </a:lnTo>
                  <a:lnTo>
                    <a:pt x="1164" y="3568"/>
                  </a:lnTo>
                  <a:lnTo>
                    <a:pt x="1165" y="3567"/>
                  </a:lnTo>
                  <a:lnTo>
                    <a:pt x="1156" y="3562"/>
                  </a:lnTo>
                  <a:lnTo>
                    <a:pt x="1144" y="3560"/>
                  </a:lnTo>
                  <a:lnTo>
                    <a:pt x="1134" y="3564"/>
                  </a:lnTo>
                  <a:lnTo>
                    <a:pt x="1129" y="3578"/>
                  </a:lnTo>
                  <a:lnTo>
                    <a:pt x="1128" y="3578"/>
                  </a:lnTo>
                  <a:lnTo>
                    <a:pt x="1127" y="3574"/>
                  </a:lnTo>
                  <a:lnTo>
                    <a:pt x="1125" y="3573"/>
                  </a:lnTo>
                  <a:lnTo>
                    <a:pt x="1121" y="3576"/>
                  </a:lnTo>
                  <a:lnTo>
                    <a:pt x="1109" y="3576"/>
                  </a:lnTo>
                  <a:lnTo>
                    <a:pt x="1109" y="3572"/>
                  </a:lnTo>
                  <a:lnTo>
                    <a:pt x="1111" y="3573"/>
                  </a:lnTo>
                  <a:lnTo>
                    <a:pt x="1117" y="3572"/>
                  </a:lnTo>
                  <a:lnTo>
                    <a:pt x="1095" y="3550"/>
                  </a:lnTo>
                  <a:lnTo>
                    <a:pt x="1097" y="3551"/>
                  </a:lnTo>
                  <a:lnTo>
                    <a:pt x="1101" y="3554"/>
                  </a:lnTo>
                  <a:lnTo>
                    <a:pt x="1102" y="3554"/>
                  </a:lnTo>
                  <a:lnTo>
                    <a:pt x="1104" y="3554"/>
                  </a:lnTo>
                  <a:lnTo>
                    <a:pt x="1109" y="3550"/>
                  </a:lnTo>
                  <a:lnTo>
                    <a:pt x="1108" y="3548"/>
                  </a:lnTo>
                  <a:lnTo>
                    <a:pt x="1107" y="3544"/>
                  </a:lnTo>
                  <a:lnTo>
                    <a:pt x="1107" y="3541"/>
                  </a:lnTo>
                  <a:lnTo>
                    <a:pt x="1109" y="3539"/>
                  </a:lnTo>
                  <a:lnTo>
                    <a:pt x="1110" y="3538"/>
                  </a:lnTo>
                  <a:lnTo>
                    <a:pt x="1112" y="3536"/>
                  </a:lnTo>
                  <a:lnTo>
                    <a:pt x="1113" y="3535"/>
                  </a:lnTo>
                  <a:lnTo>
                    <a:pt x="1114" y="3536"/>
                  </a:lnTo>
                  <a:lnTo>
                    <a:pt x="1116" y="3538"/>
                  </a:lnTo>
                  <a:lnTo>
                    <a:pt x="1117" y="3539"/>
                  </a:lnTo>
                  <a:lnTo>
                    <a:pt x="1119" y="3538"/>
                  </a:lnTo>
                  <a:lnTo>
                    <a:pt x="1123" y="3535"/>
                  </a:lnTo>
                  <a:lnTo>
                    <a:pt x="1125" y="3535"/>
                  </a:lnTo>
                  <a:lnTo>
                    <a:pt x="1126" y="3537"/>
                  </a:lnTo>
                  <a:lnTo>
                    <a:pt x="1126" y="3543"/>
                  </a:lnTo>
                  <a:lnTo>
                    <a:pt x="1127" y="3546"/>
                  </a:lnTo>
                  <a:lnTo>
                    <a:pt x="1125" y="3544"/>
                  </a:lnTo>
                  <a:lnTo>
                    <a:pt x="1123" y="3544"/>
                  </a:lnTo>
                  <a:lnTo>
                    <a:pt x="1121" y="3545"/>
                  </a:lnTo>
                  <a:lnTo>
                    <a:pt x="1119" y="3546"/>
                  </a:lnTo>
                  <a:lnTo>
                    <a:pt x="1124" y="3551"/>
                  </a:lnTo>
                  <a:lnTo>
                    <a:pt x="1133" y="3553"/>
                  </a:lnTo>
                  <a:lnTo>
                    <a:pt x="1143" y="3554"/>
                  </a:lnTo>
                  <a:lnTo>
                    <a:pt x="1147" y="3550"/>
                  </a:lnTo>
                  <a:lnTo>
                    <a:pt x="1144" y="3550"/>
                  </a:lnTo>
                  <a:lnTo>
                    <a:pt x="1141" y="3548"/>
                  </a:lnTo>
                  <a:lnTo>
                    <a:pt x="1138" y="3546"/>
                  </a:lnTo>
                  <a:lnTo>
                    <a:pt x="1139" y="3542"/>
                  </a:lnTo>
                  <a:lnTo>
                    <a:pt x="1136" y="3539"/>
                  </a:lnTo>
                  <a:lnTo>
                    <a:pt x="1133" y="3537"/>
                  </a:lnTo>
                  <a:lnTo>
                    <a:pt x="1136" y="3537"/>
                  </a:lnTo>
                  <a:lnTo>
                    <a:pt x="1140" y="3537"/>
                  </a:lnTo>
                  <a:lnTo>
                    <a:pt x="1142" y="3535"/>
                  </a:lnTo>
                  <a:lnTo>
                    <a:pt x="1136" y="3531"/>
                  </a:lnTo>
                  <a:lnTo>
                    <a:pt x="1136" y="3529"/>
                  </a:lnTo>
                  <a:lnTo>
                    <a:pt x="1149" y="3530"/>
                  </a:lnTo>
                  <a:lnTo>
                    <a:pt x="1154" y="3529"/>
                  </a:lnTo>
                  <a:lnTo>
                    <a:pt x="1160" y="3524"/>
                  </a:lnTo>
                  <a:lnTo>
                    <a:pt x="1166" y="3515"/>
                  </a:lnTo>
                  <a:lnTo>
                    <a:pt x="1171" y="3511"/>
                  </a:lnTo>
                  <a:lnTo>
                    <a:pt x="1180" y="3507"/>
                  </a:lnTo>
                  <a:lnTo>
                    <a:pt x="1189" y="3499"/>
                  </a:lnTo>
                  <a:lnTo>
                    <a:pt x="1195" y="3495"/>
                  </a:lnTo>
                  <a:lnTo>
                    <a:pt x="1199" y="3491"/>
                  </a:lnTo>
                  <a:lnTo>
                    <a:pt x="1201" y="3490"/>
                  </a:lnTo>
                  <a:lnTo>
                    <a:pt x="1203" y="3489"/>
                  </a:lnTo>
                  <a:lnTo>
                    <a:pt x="1202" y="3485"/>
                  </a:lnTo>
                  <a:lnTo>
                    <a:pt x="1199" y="3479"/>
                  </a:lnTo>
                  <a:lnTo>
                    <a:pt x="1201" y="3479"/>
                  </a:lnTo>
                  <a:lnTo>
                    <a:pt x="1202" y="3481"/>
                  </a:lnTo>
                  <a:lnTo>
                    <a:pt x="1203" y="3483"/>
                  </a:lnTo>
                  <a:lnTo>
                    <a:pt x="1205" y="3484"/>
                  </a:lnTo>
                  <a:lnTo>
                    <a:pt x="1207" y="3483"/>
                  </a:lnTo>
                  <a:lnTo>
                    <a:pt x="1209" y="3480"/>
                  </a:lnTo>
                  <a:lnTo>
                    <a:pt x="1211" y="3477"/>
                  </a:lnTo>
                  <a:lnTo>
                    <a:pt x="1212" y="3475"/>
                  </a:lnTo>
                  <a:lnTo>
                    <a:pt x="1204" y="3475"/>
                  </a:lnTo>
                  <a:lnTo>
                    <a:pt x="1205" y="3474"/>
                  </a:lnTo>
                  <a:lnTo>
                    <a:pt x="1206" y="3472"/>
                  </a:lnTo>
                  <a:lnTo>
                    <a:pt x="1207" y="3470"/>
                  </a:lnTo>
                  <a:lnTo>
                    <a:pt x="1207" y="3467"/>
                  </a:lnTo>
                  <a:lnTo>
                    <a:pt x="1208" y="3467"/>
                  </a:lnTo>
                  <a:lnTo>
                    <a:pt x="1214" y="3466"/>
                  </a:lnTo>
                  <a:lnTo>
                    <a:pt x="1214" y="3462"/>
                  </a:lnTo>
                  <a:lnTo>
                    <a:pt x="1218" y="3459"/>
                  </a:lnTo>
                  <a:lnTo>
                    <a:pt x="1230" y="3455"/>
                  </a:lnTo>
                  <a:lnTo>
                    <a:pt x="1233" y="3452"/>
                  </a:lnTo>
                  <a:lnTo>
                    <a:pt x="1237" y="3448"/>
                  </a:lnTo>
                  <a:lnTo>
                    <a:pt x="1239" y="3443"/>
                  </a:lnTo>
                  <a:lnTo>
                    <a:pt x="1240" y="3445"/>
                  </a:lnTo>
                  <a:lnTo>
                    <a:pt x="1242" y="3449"/>
                  </a:lnTo>
                  <a:lnTo>
                    <a:pt x="1243" y="3451"/>
                  </a:lnTo>
                  <a:lnTo>
                    <a:pt x="1246" y="3453"/>
                  </a:lnTo>
                  <a:lnTo>
                    <a:pt x="1248" y="3453"/>
                  </a:lnTo>
                  <a:lnTo>
                    <a:pt x="1258" y="3450"/>
                  </a:lnTo>
                  <a:lnTo>
                    <a:pt x="1262" y="3448"/>
                  </a:lnTo>
                  <a:lnTo>
                    <a:pt x="1264" y="3443"/>
                  </a:lnTo>
                  <a:lnTo>
                    <a:pt x="1266" y="3436"/>
                  </a:lnTo>
                  <a:lnTo>
                    <a:pt x="1259" y="3432"/>
                  </a:lnTo>
                  <a:lnTo>
                    <a:pt x="1219" y="3434"/>
                  </a:lnTo>
                  <a:lnTo>
                    <a:pt x="1213" y="3437"/>
                  </a:lnTo>
                  <a:lnTo>
                    <a:pt x="1210" y="3437"/>
                  </a:lnTo>
                  <a:lnTo>
                    <a:pt x="1211" y="3433"/>
                  </a:lnTo>
                  <a:lnTo>
                    <a:pt x="1214" y="3430"/>
                  </a:lnTo>
                  <a:lnTo>
                    <a:pt x="1217" y="3430"/>
                  </a:lnTo>
                  <a:lnTo>
                    <a:pt x="1224" y="3430"/>
                  </a:lnTo>
                  <a:lnTo>
                    <a:pt x="1228" y="3429"/>
                  </a:lnTo>
                  <a:lnTo>
                    <a:pt x="1231" y="3427"/>
                  </a:lnTo>
                  <a:lnTo>
                    <a:pt x="1240" y="3411"/>
                  </a:lnTo>
                  <a:lnTo>
                    <a:pt x="1242" y="3406"/>
                  </a:lnTo>
                  <a:lnTo>
                    <a:pt x="1242" y="3401"/>
                  </a:lnTo>
                  <a:lnTo>
                    <a:pt x="1236" y="3391"/>
                  </a:lnTo>
                  <a:lnTo>
                    <a:pt x="1234" y="3386"/>
                  </a:lnTo>
                  <a:lnTo>
                    <a:pt x="1239" y="3389"/>
                  </a:lnTo>
                  <a:lnTo>
                    <a:pt x="1244" y="3396"/>
                  </a:lnTo>
                  <a:lnTo>
                    <a:pt x="1256" y="3415"/>
                  </a:lnTo>
                  <a:lnTo>
                    <a:pt x="1258" y="3416"/>
                  </a:lnTo>
                  <a:lnTo>
                    <a:pt x="1263" y="3417"/>
                  </a:lnTo>
                  <a:lnTo>
                    <a:pt x="1263" y="3414"/>
                  </a:lnTo>
                  <a:lnTo>
                    <a:pt x="1263" y="3402"/>
                  </a:lnTo>
                  <a:lnTo>
                    <a:pt x="1264" y="3397"/>
                  </a:lnTo>
                  <a:lnTo>
                    <a:pt x="1261" y="3396"/>
                  </a:lnTo>
                  <a:lnTo>
                    <a:pt x="1258" y="3395"/>
                  </a:lnTo>
                  <a:lnTo>
                    <a:pt x="1259" y="3397"/>
                  </a:lnTo>
                  <a:lnTo>
                    <a:pt x="1259" y="3400"/>
                  </a:lnTo>
                  <a:lnTo>
                    <a:pt x="1259" y="3402"/>
                  </a:lnTo>
                  <a:lnTo>
                    <a:pt x="1258" y="3402"/>
                  </a:lnTo>
                  <a:lnTo>
                    <a:pt x="1256" y="3401"/>
                  </a:lnTo>
                  <a:lnTo>
                    <a:pt x="1254" y="3397"/>
                  </a:lnTo>
                  <a:lnTo>
                    <a:pt x="1254" y="3396"/>
                  </a:lnTo>
                  <a:lnTo>
                    <a:pt x="1254" y="3394"/>
                  </a:lnTo>
                  <a:lnTo>
                    <a:pt x="1254" y="3393"/>
                  </a:lnTo>
                  <a:lnTo>
                    <a:pt x="1253" y="3392"/>
                  </a:lnTo>
                  <a:lnTo>
                    <a:pt x="1251" y="3390"/>
                  </a:lnTo>
                  <a:lnTo>
                    <a:pt x="1247" y="3387"/>
                  </a:lnTo>
                  <a:lnTo>
                    <a:pt x="1240" y="3385"/>
                  </a:lnTo>
                  <a:lnTo>
                    <a:pt x="1237" y="3381"/>
                  </a:lnTo>
                  <a:lnTo>
                    <a:pt x="1232" y="3367"/>
                  </a:lnTo>
                  <a:lnTo>
                    <a:pt x="1225" y="3343"/>
                  </a:lnTo>
                  <a:lnTo>
                    <a:pt x="1224" y="3339"/>
                  </a:lnTo>
                  <a:lnTo>
                    <a:pt x="1224" y="3333"/>
                  </a:lnTo>
                  <a:lnTo>
                    <a:pt x="1224" y="3328"/>
                  </a:lnTo>
                  <a:lnTo>
                    <a:pt x="1224" y="3327"/>
                  </a:lnTo>
                  <a:lnTo>
                    <a:pt x="1221" y="3326"/>
                  </a:lnTo>
                  <a:lnTo>
                    <a:pt x="1215" y="3329"/>
                  </a:lnTo>
                  <a:lnTo>
                    <a:pt x="1213" y="3338"/>
                  </a:lnTo>
                  <a:lnTo>
                    <a:pt x="1215" y="3347"/>
                  </a:lnTo>
                  <a:lnTo>
                    <a:pt x="1218" y="3355"/>
                  </a:lnTo>
                  <a:lnTo>
                    <a:pt x="1220" y="3363"/>
                  </a:lnTo>
                  <a:lnTo>
                    <a:pt x="1219" y="3359"/>
                  </a:lnTo>
                  <a:lnTo>
                    <a:pt x="1212" y="3349"/>
                  </a:lnTo>
                  <a:lnTo>
                    <a:pt x="1211" y="3344"/>
                  </a:lnTo>
                  <a:lnTo>
                    <a:pt x="1211" y="3333"/>
                  </a:lnTo>
                  <a:lnTo>
                    <a:pt x="1210" y="3328"/>
                  </a:lnTo>
                  <a:lnTo>
                    <a:pt x="1208" y="3324"/>
                  </a:lnTo>
                  <a:lnTo>
                    <a:pt x="1203" y="3323"/>
                  </a:lnTo>
                  <a:lnTo>
                    <a:pt x="1197" y="3317"/>
                  </a:lnTo>
                  <a:lnTo>
                    <a:pt x="1193" y="3317"/>
                  </a:lnTo>
                  <a:lnTo>
                    <a:pt x="1189" y="3317"/>
                  </a:lnTo>
                  <a:lnTo>
                    <a:pt x="1185" y="3319"/>
                  </a:lnTo>
                  <a:lnTo>
                    <a:pt x="1187" y="3324"/>
                  </a:lnTo>
                  <a:lnTo>
                    <a:pt x="1188" y="3330"/>
                  </a:lnTo>
                  <a:lnTo>
                    <a:pt x="1187" y="3336"/>
                  </a:lnTo>
                  <a:lnTo>
                    <a:pt x="1187" y="3341"/>
                  </a:lnTo>
                  <a:lnTo>
                    <a:pt x="1185" y="3341"/>
                  </a:lnTo>
                  <a:lnTo>
                    <a:pt x="1185" y="3336"/>
                  </a:lnTo>
                  <a:lnTo>
                    <a:pt x="1182" y="3326"/>
                  </a:lnTo>
                  <a:lnTo>
                    <a:pt x="1181" y="3323"/>
                  </a:lnTo>
                  <a:lnTo>
                    <a:pt x="1181" y="3319"/>
                  </a:lnTo>
                  <a:lnTo>
                    <a:pt x="1181" y="3309"/>
                  </a:lnTo>
                  <a:lnTo>
                    <a:pt x="1181" y="3310"/>
                  </a:lnTo>
                  <a:lnTo>
                    <a:pt x="1180" y="3312"/>
                  </a:lnTo>
                  <a:lnTo>
                    <a:pt x="1179" y="3314"/>
                  </a:lnTo>
                  <a:lnTo>
                    <a:pt x="1177" y="3315"/>
                  </a:lnTo>
                  <a:lnTo>
                    <a:pt x="1174" y="3315"/>
                  </a:lnTo>
                  <a:lnTo>
                    <a:pt x="1172" y="3313"/>
                  </a:lnTo>
                  <a:lnTo>
                    <a:pt x="1168" y="3308"/>
                  </a:lnTo>
                  <a:lnTo>
                    <a:pt x="1160" y="3303"/>
                  </a:lnTo>
                  <a:lnTo>
                    <a:pt x="1157" y="3298"/>
                  </a:lnTo>
                  <a:lnTo>
                    <a:pt x="1156" y="3291"/>
                  </a:lnTo>
                  <a:lnTo>
                    <a:pt x="1160" y="3296"/>
                  </a:lnTo>
                  <a:lnTo>
                    <a:pt x="1162" y="3298"/>
                  </a:lnTo>
                  <a:lnTo>
                    <a:pt x="1165" y="3297"/>
                  </a:lnTo>
                  <a:lnTo>
                    <a:pt x="1160" y="3290"/>
                  </a:lnTo>
                  <a:lnTo>
                    <a:pt x="1153" y="3282"/>
                  </a:lnTo>
                  <a:lnTo>
                    <a:pt x="1146" y="3274"/>
                  </a:lnTo>
                  <a:lnTo>
                    <a:pt x="1144" y="3262"/>
                  </a:lnTo>
                  <a:lnTo>
                    <a:pt x="1152" y="3276"/>
                  </a:lnTo>
                  <a:lnTo>
                    <a:pt x="1157" y="3282"/>
                  </a:lnTo>
                  <a:lnTo>
                    <a:pt x="1183" y="3292"/>
                  </a:lnTo>
                  <a:lnTo>
                    <a:pt x="1190" y="3289"/>
                  </a:lnTo>
                  <a:lnTo>
                    <a:pt x="1184" y="3282"/>
                  </a:lnTo>
                  <a:lnTo>
                    <a:pt x="1161" y="3273"/>
                  </a:lnTo>
                  <a:lnTo>
                    <a:pt x="1163" y="3271"/>
                  </a:lnTo>
                  <a:lnTo>
                    <a:pt x="1165" y="3271"/>
                  </a:lnTo>
                  <a:lnTo>
                    <a:pt x="1167" y="3272"/>
                  </a:lnTo>
                  <a:lnTo>
                    <a:pt x="1169" y="3271"/>
                  </a:lnTo>
                  <a:lnTo>
                    <a:pt x="1169" y="3269"/>
                  </a:lnTo>
                  <a:lnTo>
                    <a:pt x="1165" y="3266"/>
                  </a:lnTo>
                  <a:lnTo>
                    <a:pt x="1165" y="3264"/>
                  </a:lnTo>
                  <a:lnTo>
                    <a:pt x="1165" y="3262"/>
                  </a:lnTo>
                  <a:lnTo>
                    <a:pt x="1165" y="3259"/>
                  </a:lnTo>
                  <a:lnTo>
                    <a:pt x="1165" y="3257"/>
                  </a:lnTo>
                  <a:lnTo>
                    <a:pt x="1165" y="3256"/>
                  </a:lnTo>
                  <a:lnTo>
                    <a:pt x="1162" y="3253"/>
                  </a:lnTo>
                  <a:lnTo>
                    <a:pt x="1151" y="3254"/>
                  </a:lnTo>
                  <a:lnTo>
                    <a:pt x="1145" y="3251"/>
                  </a:lnTo>
                  <a:lnTo>
                    <a:pt x="1144" y="3251"/>
                  </a:lnTo>
                  <a:lnTo>
                    <a:pt x="1141" y="3251"/>
                  </a:lnTo>
                  <a:lnTo>
                    <a:pt x="1138" y="3253"/>
                  </a:lnTo>
                  <a:lnTo>
                    <a:pt x="1134" y="3258"/>
                  </a:lnTo>
                  <a:lnTo>
                    <a:pt x="1131" y="3260"/>
                  </a:lnTo>
                  <a:lnTo>
                    <a:pt x="1130" y="3258"/>
                  </a:lnTo>
                  <a:lnTo>
                    <a:pt x="1129" y="3256"/>
                  </a:lnTo>
                  <a:lnTo>
                    <a:pt x="1127" y="3254"/>
                  </a:lnTo>
                  <a:lnTo>
                    <a:pt x="1127" y="3251"/>
                  </a:lnTo>
                  <a:lnTo>
                    <a:pt x="1129" y="3249"/>
                  </a:lnTo>
                  <a:lnTo>
                    <a:pt x="1133" y="3244"/>
                  </a:lnTo>
                  <a:lnTo>
                    <a:pt x="1136" y="3243"/>
                  </a:lnTo>
                  <a:lnTo>
                    <a:pt x="1122" y="3237"/>
                  </a:lnTo>
                  <a:lnTo>
                    <a:pt x="1116" y="3232"/>
                  </a:lnTo>
                  <a:lnTo>
                    <a:pt x="1111" y="3225"/>
                  </a:lnTo>
                  <a:lnTo>
                    <a:pt x="1111" y="3223"/>
                  </a:lnTo>
                  <a:lnTo>
                    <a:pt x="1110" y="3218"/>
                  </a:lnTo>
                  <a:lnTo>
                    <a:pt x="1109" y="3216"/>
                  </a:lnTo>
                  <a:lnTo>
                    <a:pt x="1104" y="3212"/>
                  </a:lnTo>
                  <a:lnTo>
                    <a:pt x="1097" y="3204"/>
                  </a:lnTo>
                  <a:lnTo>
                    <a:pt x="1093" y="3201"/>
                  </a:lnTo>
                  <a:lnTo>
                    <a:pt x="1089" y="3201"/>
                  </a:lnTo>
                  <a:lnTo>
                    <a:pt x="1089" y="3199"/>
                  </a:lnTo>
                  <a:lnTo>
                    <a:pt x="1091" y="3197"/>
                  </a:lnTo>
                  <a:lnTo>
                    <a:pt x="1092" y="3195"/>
                  </a:lnTo>
                  <a:lnTo>
                    <a:pt x="1093" y="3191"/>
                  </a:lnTo>
                  <a:lnTo>
                    <a:pt x="1093" y="3188"/>
                  </a:lnTo>
                  <a:lnTo>
                    <a:pt x="1090" y="3176"/>
                  </a:lnTo>
                  <a:lnTo>
                    <a:pt x="1086" y="3173"/>
                  </a:lnTo>
                  <a:lnTo>
                    <a:pt x="1081" y="3172"/>
                  </a:lnTo>
                  <a:lnTo>
                    <a:pt x="1065" y="3177"/>
                  </a:lnTo>
                  <a:lnTo>
                    <a:pt x="1056" y="3184"/>
                  </a:lnTo>
                  <a:lnTo>
                    <a:pt x="1051" y="3194"/>
                  </a:lnTo>
                  <a:lnTo>
                    <a:pt x="1053" y="3203"/>
                  </a:lnTo>
                  <a:lnTo>
                    <a:pt x="1053" y="3205"/>
                  </a:lnTo>
                  <a:lnTo>
                    <a:pt x="1042" y="3203"/>
                  </a:lnTo>
                  <a:lnTo>
                    <a:pt x="1036" y="3200"/>
                  </a:lnTo>
                  <a:lnTo>
                    <a:pt x="1034" y="3193"/>
                  </a:lnTo>
                  <a:lnTo>
                    <a:pt x="1034" y="3190"/>
                  </a:lnTo>
                  <a:lnTo>
                    <a:pt x="1031" y="3182"/>
                  </a:lnTo>
                  <a:lnTo>
                    <a:pt x="1031" y="3178"/>
                  </a:lnTo>
                  <a:lnTo>
                    <a:pt x="1032" y="3176"/>
                  </a:lnTo>
                  <a:lnTo>
                    <a:pt x="1038" y="3173"/>
                  </a:lnTo>
                  <a:lnTo>
                    <a:pt x="1040" y="3170"/>
                  </a:lnTo>
                  <a:lnTo>
                    <a:pt x="1038" y="3166"/>
                  </a:lnTo>
                  <a:lnTo>
                    <a:pt x="1032" y="3163"/>
                  </a:lnTo>
                  <a:lnTo>
                    <a:pt x="1029" y="3160"/>
                  </a:lnTo>
                  <a:lnTo>
                    <a:pt x="1026" y="3157"/>
                  </a:lnTo>
                  <a:lnTo>
                    <a:pt x="1022" y="3157"/>
                  </a:lnTo>
                  <a:lnTo>
                    <a:pt x="1001" y="3160"/>
                  </a:lnTo>
                  <a:lnTo>
                    <a:pt x="998" y="3162"/>
                  </a:lnTo>
                  <a:lnTo>
                    <a:pt x="995" y="3165"/>
                  </a:lnTo>
                  <a:lnTo>
                    <a:pt x="995" y="3165"/>
                  </a:lnTo>
                  <a:lnTo>
                    <a:pt x="992" y="3166"/>
                  </a:lnTo>
                  <a:lnTo>
                    <a:pt x="989" y="3165"/>
                  </a:lnTo>
                  <a:lnTo>
                    <a:pt x="986" y="3163"/>
                  </a:lnTo>
                  <a:lnTo>
                    <a:pt x="986" y="3161"/>
                  </a:lnTo>
                  <a:lnTo>
                    <a:pt x="993" y="3157"/>
                  </a:lnTo>
                  <a:lnTo>
                    <a:pt x="984" y="3149"/>
                  </a:lnTo>
                  <a:lnTo>
                    <a:pt x="979" y="3147"/>
                  </a:lnTo>
                  <a:lnTo>
                    <a:pt x="976" y="3142"/>
                  </a:lnTo>
                  <a:lnTo>
                    <a:pt x="973" y="3141"/>
                  </a:lnTo>
                  <a:lnTo>
                    <a:pt x="971" y="3141"/>
                  </a:lnTo>
                  <a:lnTo>
                    <a:pt x="968" y="3143"/>
                  </a:lnTo>
                  <a:lnTo>
                    <a:pt x="966" y="3143"/>
                  </a:lnTo>
                  <a:lnTo>
                    <a:pt x="965" y="3142"/>
                  </a:lnTo>
                  <a:lnTo>
                    <a:pt x="965" y="3141"/>
                  </a:lnTo>
                  <a:lnTo>
                    <a:pt x="965" y="3140"/>
                  </a:lnTo>
                  <a:lnTo>
                    <a:pt x="969" y="3138"/>
                  </a:lnTo>
                  <a:lnTo>
                    <a:pt x="975" y="3134"/>
                  </a:lnTo>
                  <a:lnTo>
                    <a:pt x="979" y="3128"/>
                  </a:lnTo>
                  <a:lnTo>
                    <a:pt x="984" y="3126"/>
                  </a:lnTo>
                  <a:lnTo>
                    <a:pt x="986" y="3123"/>
                  </a:lnTo>
                  <a:lnTo>
                    <a:pt x="988" y="3118"/>
                  </a:lnTo>
                  <a:lnTo>
                    <a:pt x="988" y="3117"/>
                  </a:lnTo>
                  <a:lnTo>
                    <a:pt x="985" y="3118"/>
                  </a:lnTo>
                  <a:lnTo>
                    <a:pt x="982" y="3117"/>
                  </a:lnTo>
                  <a:lnTo>
                    <a:pt x="980" y="3114"/>
                  </a:lnTo>
                  <a:lnTo>
                    <a:pt x="980" y="3111"/>
                  </a:lnTo>
                  <a:lnTo>
                    <a:pt x="980" y="3108"/>
                  </a:lnTo>
                  <a:lnTo>
                    <a:pt x="980" y="3103"/>
                  </a:lnTo>
                  <a:lnTo>
                    <a:pt x="979" y="3102"/>
                  </a:lnTo>
                  <a:lnTo>
                    <a:pt x="977" y="3103"/>
                  </a:lnTo>
                  <a:lnTo>
                    <a:pt x="976" y="3103"/>
                  </a:lnTo>
                  <a:lnTo>
                    <a:pt x="976" y="3099"/>
                  </a:lnTo>
                  <a:lnTo>
                    <a:pt x="976" y="3097"/>
                  </a:lnTo>
                  <a:lnTo>
                    <a:pt x="977" y="3096"/>
                  </a:lnTo>
                  <a:lnTo>
                    <a:pt x="979" y="3095"/>
                  </a:lnTo>
                  <a:lnTo>
                    <a:pt x="980" y="3094"/>
                  </a:lnTo>
                  <a:lnTo>
                    <a:pt x="974" y="3076"/>
                  </a:lnTo>
                  <a:lnTo>
                    <a:pt x="974" y="3074"/>
                  </a:lnTo>
                  <a:lnTo>
                    <a:pt x="972" y="3074"/>
                  </a:lnTo>
                  <a:lnTo>
                    <a:pt x="970" y="3075"/>
                  </a:lnTo>
                  <a:lnTo>
                    <a:pt x="969" y="3074"/>
                  </a:lnTo>
                  <a:lnTo>
                    <a:pt x="968" y="3070"/>
                  </a:lnTo>
                  <a:lnTo>
                    <a:pt x="967" y="3068"/>
                  </a:lnTo>
                  <a:lnTo>
                    <a:pt x="968" y="3064"/>
                  </a:lnTo>
                  <a:lnTo>
                    <a:pt x="966" y="3063"/>
                  </a:lnTo>
                  <a:lnTo>
                    <a:pt x="964" y="3063"/>
                  </a:lnTo>
                  <a:lnTo>
                    <a:pt x="960" y="3059"/>
                  </a:lnTo>
                  <a:lnTo>
                    <a:pt x="960" y="3058"/>
                  </a:lnTo>
                  <a:lnTo>
                    <a:pt x="960" y="3054"/>
                  </a:lnTo>
                  <a:lnTo>
                    <a:pt x="962" y="3045"/>
                  </a:lnTo>
                  <a:lnTo>
                    <a:pt x="965" y="3041"/>
                  </a:lnTo>
                  <a:lnTo>
                    <a:pt x="974" y="3039"/>
                  </a:lnTo>
                  <a:lnTo>
                    <a:pt x="973" y="3035"/>
                  </a:lnTo>
                  <a:lnTo>
                    <a:pt x="969" y="3035"/>
                  </a:lnTo>
                  <a:lnTo>
                    <a:pt x="960" y="3036"/>
                  </a:lnTo>
                  <a:lnTo>
                    <a:pt x="961" y="3035"/>
                  </a:lnTo>
                  <a:lnTo>
                    <a:pt x="965" y="3032"/>
                  </a:lnTo>
                  <a:lnTo>
                    <a:pt x="963" y="3030"/>
                  </a:lnTo>
                  <a:lnTo>
                    <a:pt x="962" y="3029"/>
                  </a:lnTo>
                  <a:lnTo>
                    <a:pt x="961" y="3027"/>
                  </a:lnTo>
                  <a:lnTo>
                    <a:pt x="962" y="3023"/>
                  </a:lnTo>
                  <a:lnTo>
                    <a:pt x="963" y="3019"/>
                  </a:lnTo>
                  <a:lnTo>
                    <a:pt x="964" y="3015"/>
                  </a:lnTo>
                  <a:lnTo>
                    <a:pt x="965" y="3014"/>
                  </a:lnTo>
                  <a:lnTo>
                    <a:pt x="966" y="3013"/>
                  </a:lnTo>
                  <a:lnTo>
                    <a:pt x="967" y="3011"/>
                  </a:lnTo>
                  <a:lnTo>
                    <a:pt x="966" y="3009"/>
                  </a:lnTo>
                  <a:lnTo>
                    <a:pt x="966" y="3007"/>
                  </a:lnTo>
                  <a:lnTo>
                    <a:pt x="964" y="3006"/>
                  </a:lnTo>
                  <a:lnTo>
                    <a:pt x="960" y="3006"/>
                  </a:lnTo>
                  <a:lnTo>
                    <a:pt x="958" y="3005"/>
                  </a:lnTo>
                  <a:lnTo>
                    <a:pt x="962" y="3005"/>
                  </a:lnTo>
                  <a:lnTo>
                    <a:pt x="964" y="3002"/>
                  </a:lnTo>
                  <a:lnTo>
                    <a:pt x="964" y="2998"/>
                  </a:lnTo>
                  <a:lnTo>
                    <a:pt x="960" y="2994"/>
                  </a:lnTo>
                  <a:lnTo>
                    <a:pt x="963" y="2991"/>
                  </a:lnTo>
                  <a:lnTo>
                    <a:pt x="964" y="2988"/>
                  </a:lnTo>
                  <a:lnTo>
                    <a:pt x="965" y="2980"/>
                  </a:lnTo>
                  <a:lnTo>
                    <a:pt x="959" y="2976"/>
                  </a:lnTo>
                  <a:lnTo>
                    <a:pt x="962" y="2970"/>
                  </a:lnTo>
                  <a:lnTo>
                    <a:pt x="966" y="2968"/>
                  </a:lnTo>
                  <a:lnTo>
                    <a:pt x="969" y="2965"/>
                  </a:lnTo>
                  <a:lnTo>
                    <a:pt x="967" y="2957"/>
                  </a:lnTo>
                  <a:lnTo>
                    <a:pt x="964" y="2952"/>
                  </a:lnTo>
                  <a:lnTo>
                    <a:pt x="959" y="2946"/>
                  </a:lnTo>
                  <a:lnTo>
                    <a:pt x="954" y="2941"/>
                  </a:lnTo>
                  <a:lnTo>
                    <a:pt x="950" y="2939"/>
                  </a:lnTo>
                  <a:lnTo>
                    <a:pt x="950" y="2937"/>
                  </a:lnTo>
                  <a:lnTo>
                    <a:pt x="954" y="2937"/>
                  </a:lnTo>
                  <a:lnTo>
                    <a:pt x="956" y="2939"/>
                  </a:lnTo>
                  <a:lnTo>
                    <a:pt x="965" y="2947"/>
                  </a:lnTo>
                  <a:lnTo>
                    <a:pt x="968" y="2948"/>
                  </a:lnTo>
                  <a:lnTo>
                    <a:pt x="974" y="2948"/>
                  </a:lnTo>
                  <a:lnTo>
                    <a:pt x="970" y="2946"/>
                  </a:lnTo>
                  <a:lnTo>
                    <a:pt x="966" y="2944"/>
                  </a:lnTo>
                  <a:lnTo>
                    <a:pt x="961" y="2941"/>
                  </a:lnTo>
                  <a:lnTo>
                    <a:pt x="959" y="2935"/>
                  </a:lnTo>
                  <a:lnTo>
                    <a:pt x="969" y="2940"/>
                  </a:lnTo>
                  <a:lnTo>
                    <a:pt x="974" y="2941"/>
                  </a:lnTo>
                  <a:lnTo>
                    <a:pt x="979" y="2939"/>
                  </a:lnTo>
                  <a:lnTo>
                    <a:pt x="967" y="2932"/>
                  </a:lnTo>
                  <a:lnTo>
                    <a:pt x="967" y="2928"/>
                  </a:lnTo>
                  <a:lnTo>
                    <a:pt x="962" y="2926"/>
                  </a:lnTo>
                  <a:lnTo>
                    <a:pt x="957" y="2921"/>
                  </a:lnTo>
                  <a:lnTo>
                    <a:pt x="952" y="2913"/>
                  </a:lnTo>
                  <a:lnTo>
                    <a:pt x="952" y="2911"/>
                  </a:lnTo>
                  <a:lnTo>
                    <a:pt x="952" y="2908"/>
                  </a:lnTo>
                  <a:lnTo>
                    <a:pt x="955" y="2905"/>
                  </a:lnTo>
                  <a:lnTo>
                    <a:pt x="957" y="2899"/>
                  </a:lnTo>
                  <a:lnTo>
                    <a:pt x="959" y="2900"/>
                  </a:lnTo>
                  <a:lnTo>
                    <a:pt x="960" y="2903"/>
                  </a:lnTo>
                  <a:lnTo>
                    <a:pt x="961" y="2906"/>
                  </a:lnTo>
                  <a:lnTo>
                    <a:pt x="963" y="2903"/>
                  </a:lnTo>
                  <a:lnTo>
                    <a:pt x="965" y="2902"/>
                  </a:lnTo>
                  <a:lnTo>
                    <a:pt x="966" y="2901"/>
                  </a:lnTo>
                  <a:lnTo>
                    <a:pt x="968" y="2901"/>
                  </a:lnTo>
                  <a:lnTo>
                    <a:pt x="970" y="2900"/>
                  </a:lnTo>
                  <a:lnTo>
                    <a:pt x="970" y="2898"/>
                  </a:lnTo>
                  <a:lnTo>
                    <a:pt x="970" y="2895"/>
                  </a:lnTo>
                  <a:lnTo>
                    <a:pt x="969" y="2894"/>
                  </a:lnTo>
                  <a:lnTo>
                    <a:pt x="968" y="2895"/>
                  </a:lnTo>
                  <a:lnTo>
                    <a:pt x="967" y="2897"/>
                  </a:lnTo>
                  <a:lnTo>
                    <a:pt x="966" y="2899"/>
                  </a:lnTo>
                  <a:lnTo>
                    <a:pt x="964" y="2899"/>
                  </a:lnTo>
                  <a:lnTo>
                    <a:pt x="962" y="2897"/>
                  </a:lnTo>
                  <a:lnTo>
                    <a:pt x="961" y="2895"/>
                  </a:lnTo>
                  <a:lnTo>
                    <a:pt x="960" y="2892"/>
                  </a:lnTo>
                  <a:lnTo>
                    <a:pt x="959" y="2889"/>
                  </a:lnTo>
                  <a:lnTo>
                    <a:pt x="961" y="2886"/>
                  </a:lnTo>
                  <a:lnTo>
                    <a:pt x="962" y="2884"/>
                  </a:lnTo>
                  <a:lnTo>
                    <a:pt x="963" y="2882"/>
                  </a:lnTo>
                  <a:lnTo>
                    <a:pt x="962" y="2878"/>
                  </a:lnTo>
                  <a:lnTo>
                    <a:pt x="961" y="2876"/>
                  </a:lnTo>
                  <a:lnTo>
                    <a:pt x="955" y="2873"/>
                  </a:lnTo>
                  <a:lnTo>
                    <a:pt x="955" y="2871"/>
                  </a:lnTo>
                  <a:lnTo>
                    <a:pt x="961" y="2871"/>
                  </a:lnTo>
                  <a:lnTo>
                    <a:pt x="961" y="2869"/>
                  </a:lnTo>
                  <a:lnTo>
                    <a:pt x="960" y="2868"/>
                  </a:lnTo>
                  <a:lnTo>
                    <a:pt x="956" y="2867"/>
                  </a:lnTo>
                  <a:lnTo>
                    <a:pt x="953" y="2864"/>
                  </a:lnTo>
                  <a:lnTo>
                    <a:pt x="949" y="2863"/>
                  </a:lnTo>
                  <a:lnTo>
                    <a:pt x="948" y="2861"/>
                  </a:lnTo>
                  <a:lnTo>
                    <a:pt x="950" y="2859"/>
                  </a:lnTo>
                  <a:lnTo>
                    <a:pt x="965" y="2860"/>
                  </a:lnTo>
                  <a:lnTo>
                    <a:pt x="965" y="2858"/>
                  </a:lnTo>
                  <a:lnTo>
                    <a:pt x="948" y="2854"/>
                  </a:lnTo>
                  <a:lnTo>
                    <a:pt x="944" y="2850"/>
                  </a:lnTo>
                  <a:lnTo>
                    <a:pt x="951" y="2849"/>
                  </a:lnTo>
                  <a:lnTo>
                    <a:pt x="958" y="2846"/>
                  </a:lnTo>
                  <a:lnTo>
                    <a:pt x="956" y="2843"/>
                  </a:lnTo>
                  <a:lnTo>
                    <a:pt x="954" y="2841"/>
                  </a:lnTo>
                  <a:lnTo>
                    <a:pt x="948" y="2842"/>
                  </a:lnTo>
                  <a:lnTo>
                    <a:pt x="948" y="2839"/>
                  </a:lnTo>
                  <a:lnTo>
                    <a:pt x="959" y="2839"/>
                  </a:lnTo>
                  <a:lnTo>
                    <a:pt x="962" y="2839"/>
                  </a:lnTo>
                  <a:lnTo>
                    <a:pt x="968" y="2843"/>
                  </a:lnTo>
                  <a:lnTo>
                    <a:pt x="971" y="2844"/>
                  </a:lnTo>
                  <a:lnTo>
                    <a:pt x="974" y="2842"/>
                  </a:lnTo>
                  <a:lnTo>
                    <a:pt x="971" y="2837"/>
                  </a:lnTo>
                  <a:lnTo>
                    <a:pt x="950" y="2833"/>
                  </a:lnTo>
                  <a:lnTo>
                    <a:pt x="954" y="2829"/>
                  </a:lnTo>
                  <a:lnTo>
                    <a:pt x="961" y="2832"/>
                  </a:lnTo>
                  <a:lnTo>
                    <a:pt x="966" y="2830"/>
                  </a:lnTo>
                  <a:lnTo>
                    <a:pt x="963" y="2828"/>
                  </a:lnTo>
                  <a:lnTo>
                    <a:pt x="961" y="2828"/>
                  </a:lnTo>
                  <a:lnTo>
                    <a:pt x="961" y="2826"/>
                  </a:lnTo>
                  <a:lnTo>
                    <a:pt x="965" y="2825"/>
                  </a:lnTo>
                  <a:lnTo>
                    <a:pt x="971" y="2824"/>
                  </a:lnTo>
                  <a:lnTo>
                    <a:pt x="976" y="2820"/>
                  </a:lnTo>
                  <a:lnTo>
                    <a:pt x="978" y="2814"/>
                  </a:lnTo>
                  <a:lnTo>
                    <a:pt x="967" y="2807"/>
                  </a:lnTo>
                  <a:lnTo>
                    <a:pt x="961" y="2808"/>
                  </a:lnTo>
                  <a:lnTo>
                    <a:pt x="959" y="2806"/>
                  </a:lnTo>
                  <a:lnTo>
                    <a:pt x="957" y="2803"/>
                  </a:lnTo>
                  <a:lnTo>
                    <a:pt x="971" y="2802"/>
                  </a:lnTo>
                  <a:lnTo>
                    <a:pt x="977" y="2804"/>
                  </a:lnTo>
                  <a:lnTo>
                    <a:pt x="983" y="2810"/>
                  </a:lnTo>
                  <a:lnTo>
                    <a:pt x="983" y="2815"/>
                  </a:lnTo>
                  <a:lnTo>
                    <a:pt x="985" y="2817"/>
                  </a:lnTo>
                  <a:lnTo>
                    <a:pt x="991" y="2819"/>
                  </a:lnTo>
                  <a:lnTo>
                    <a:pt x="989" y="2813"/>
                  </a:lnTo>
                  <a:lnTo>
                    <a:pt x="988" y="2810"/>
                  </a:lnTo>
                  <a:lnTo>
                    <a:pt x="988" y="2805"/>
                  </a:lnTo>
                  <a:lnTo>
                    <a:pt x="993" y="2808"/>
                  </a:lnTo>
                  <a:lnTo>
                    <a:pt x="996" y="2814"/>
                  </a:lnTo>
                  <a:lnTo>
                    <a:pt x="1002" y="2828"/>
                  </a:lnTo>
                  <a:lnTo>
                    <a:pt x="1004" y="2831"/>
                  </a:lnTo>
                  <a:lnTo>
                    <a:pt x="1006" y="2834"/>
                  </a:lnTo>
                  <a:lnTo>
                    <a:pt x="1009" y="2835"/>
                  </a:lnTo>
                  <a:lnTo>
                    <a:pt x="1012" y="2835"/>
                  </a:lnTo>
                  <a:lnTo>
                    <a:pt x="1014" y="2833"/>
                  </a:lnTo>
                  <a:lnTo>
                    <a:pt x="1015" y="2828"/>
                  </a:lnTo>
                  <a:lnTo>
                    <a:pt x="1015" y="2822"/>
                  </a:lnTo>
                  <a:lnTo>
                    <a:pt x="1016" y="2818"/>
                  </a:lnTo>
                  <a:lnTo>
                    <a:pt x="1018" y="2814"/>
                  </a:lnTo>
                  <a:lnTo>
                    <a:pt x="1018" y="2810"/>
                  </a:lnTo>
                  <a:lnTo>
                    <a:pt x="1017" y="2806"/>
                  </a:lnTo>
                  <a:lnTo>
                    <a:pt x="1015" y="2803"/>
                  </a:lnTo>
                  <a:lnTo>
                    <a:pt x="1012" y="2800"/>
                  </a:lnTo>
                  <a:lnTo>
                    <a:pt x="1009" y="2800"/>
                  </a:lnTo>
                  <a:lnTo>
                    <a:pt x="1006" y="2802"/>
                  </a:lnTo>
                  <a:lnTo>
                    <a:pt x="999" y="2804"/>
                  </a:lnTo>
                  <a:lnTo>
                    <a:pt x="997" y="2802"/>
                  </a:lnTo>
                  <a:lnTo>
                    <a:pt x="996" y="2796"/>
                  </a:lnTo>
                  <a:lnTo>
                    <a:pt x="997" y="2790"/>
                  </a:lnTo>
                  <a:lnTo>
                    <a:pt x="997" y="2785"/>
                  </a:lnTo>
                  <a:lnTo>
                    <a:pt x="997" y="2781"/>
                  </a:lnTo>
                  <a:lnTo>
                    <a:pt x="994" y="2780"/>
                  </a:lnTo>
                  <a:lnTo>
                    <a:pt x="994" y="2777"/>
                  </a:lnTo>
                  <a:lnTo>
                    <a:pt x="996" y="2777"/>
                  </a:lnTo>
                  <a:lnTo>
                    <a:pt x="998" y="2776"/>
                  </a:lnTo>
                  <a:lnTo>
                    <a:pt x="999" y="2774"/>
                  </a:lnTo>
                  <a:lnTo>
                    <a:pt x="999" y="2771"/>
                  </a:lnTo>
                  <a:lnTo>
                    <a:pt x="991" y="2773"/>
                  </a:lnTo>
                  <a:lnTo>
                    <a:pt x="989" y="2771"/>
                  </a:lnTo>
                  <a:lnTo>
                    <a:pt x="989" y="2770"/>
                  </a:lnTo>
                  <a:lnTo>
                    <a:pt x="989" y="2768"/>
                  </a:lnTo>
                  <a:lnTo>
                    <a:pt x="989" y="2766"/>
                  </a:lnTo>
                  <a:lnTo>
                    <a:pt x="990" y="2765"/>
                  </a:lnTo>
                  <a:lnTo>
                    <a:pt x="991" y="2762"/>
                  </a:lnTo>
                  <a:lnTo>
                    <a:pt x="991" y="2760"/>
                  </a:lnTo>
                  <a:lnTo>
                    <a:pt x="990" y="2759"/>
                  </a:lnTo>
                  <a:lnTo>
                    <a:pt x="990" y="2759"/>
                  </a:lnTo>
                  <a:lnTo>
                    <a:pt x="989" y="2759"/>
                  </a:lnTo>
                  <a:lnTo>
                    <a:pt x="989" y="2756"/>
                  </a:lnTo>
                  <a:lnTo>
                    <a:pt x="989" y="2754"/>
                  </a:lnTo>
                  <a:lnTo>
                    <a:pt x="990" y="2754"/>
                  </a:lnTo>
                  <a:lnTo>
                    <a:pt x="990" y="2753"/>
                  </a:lnTo>
                  <a:lnTo>
                    <a:pt x="993" y="2751"/>
                  </a:lnTo>
                  <a:lnTo>
                    <a:pt x="993" y="2749"/>
                  </a:lnTo>
                  <a:lnTo>
                    <a:pt x="993" y="2746"/>
                  </a:lnTo>
                  <a:lnTo>
                    <a:pt x="990" y="2740"/>
                  </a:lnTo>
                  <a:lnTo>
                    <a:pt x="990" y="2736"/>
                  </a:lnTo>
                  <a:lnTo>
                    <a:pt x="990" y="2732"/>
                  </a:lnTo>
                  <a:lnTo>
                    <a:pt x="990" y="2728"/>
                  </a:lnTo>
                  <a:lnTo>
                    <a:pt x="991" y="2726"/>
                  </a:lnTo>
                  <a:lnTo>
                    <a:pt x="993" y="2724"/>
                  </a:lnTo>
                  <a:lnTo>
                    <a:pt x="996" y="2723"/>
                  </a:lnTo>
                  <a:lnTo>
                    <a:pt x="997" y="2720"/>
                  </a:lnTo>
                  <a:lnTo>
                    <a:pt x="996" y="2717"/>
                  </a:lnTo>
                  <a:lnTo>
                    <a:pt x="997" y="2713"/>
                  </a:lnTo>
                  <a:lnTo>
                    <a:pt x="999" y="2712"/>
                  </a:lnTo>
                  <a:lnTo>
                    <a:pt x="1007" y="2711"/>
                  </a:lnTo>
                  <a:lnTo>
                    <a:pt x="1008" y="2709"/>
                  </a:lnTo>
                  <a:lnTo>
                    <a:pt x="1007" y="2706"/>
                  </a:lnTo>
                  <a:lnTo>
                    <a:pt x="1004" y="2703"/>
                  </a:lnTo>
                  <a:lnTo>
                    <a:pt x="1003" y="2701"/>
                  </a:lnTo>
                  <a:lnTo>
                    <a:pt x="1008" y="2694"/>
                  </a:lnTo>
                  <a:lnTo>
                    <a:pt x="1009" y="2689"/>
                  </a:lnTo>
                  <a:lnTo>
                    <a:pt x="1006" y="2687"/>
                  </a:lnTo>
                  <a:lnTo>
                    <a:pt x="1009" y="2685"/>
                  </a:lnTo>
                  <a:lnTo>
                    <a:pt x="1010" y="2682"/>
                  </a:lnTo>
                  <a:lnTo>
                    <a:pt x="1010" y="2678"/>
                  </a:lnTo>
                  <a:lnTo>
                    <a:pt x="1010" y="2671"/>
                  </a:lnTo>
                  <a:lnTo>
                    <a:pt x="1012" y="2666"/>
                  </a:lnTo>
                  <a:lnTo>
                    <a:pt x="1014" y="2660"/>
                  </a:lnTo>
                  <a:lnTo>
                    <a:pt x="1015" y="2659"/>
                  </a:lnTo>
                  <a:lnTo>
                    <a:pt x="1016" y="2655"/>
                  </a:lnTo>
                  <a:lnTo>
                    <a:pt x="1016" y="2652"/>
                  </a:lnTo>
                  <a:lnTo>
                    <a:pt x="1015" y="2647"/>
                  </a:lnTo>
                  <a:lnTo>
                    <a:pt x="1015" y="2641"/>
                  </a:lnTo>
                  <a:lnTo>
                    <a:pt x="1016" y="2636"/>
                  </a:lnTo>
                  <a:lnTo>
                    <a:pt x="1018" y="2633"/>
                  </a:lnTo>
                  <a:lnTo>
                    <a:pt x="1020" y="2631"/>
                  </a:lnTo>
                  <a:lnTo>
                    <a:pt x="1023" y="2630"/>
                  </a:lnTo>
                  <a:lnTo>
                    <a:pt x="1025" y="2632"/>
                  </a:lnTo>
                  <a:lnTo>
                    <a:pt x="1021" y="2640"/>
                  </a:lnTo>
                  <a:lnTo>
                    <a:pt x="1022" y="2642"/>
                  </a:lnTo>
                  <a:lnTo>
                    <a:pt x="1025" y="2641"/>
                  </a:lnTo>
                  <a:lnTo>
                    <a:pt x="1039" y="2632"/>
                  </a:lnTo>
                  <a:lnTo>
                    <a:pt x="1035" y="2629"/>
                  </a:lnTo>
                  <a:lnTo>
                    <a:pt x="1030" y="2626"/>
                  </a:lnTo>
                  <a:lnTo>
                    <a:pt x="1025" y="2624"/>
                  </a:lnTo>
                  <a:lnTo>
                    <a:pt x="1022" y="2626"/>
                  </a:lnTo>
                  <a:lnTo>
                    <a:pt x="1008" y="2618"/>
                  </a:lnTo>
                  <a:lnTo>
                    <a:pt x="1010" y="2616"/>
                  </a:lnTo>
                  <a:lnTo>
                    <a:pt x="1011" y="2615"/>
                  </a:lnTo>
                  <a:lnTo>
                    <a:pt x="1013" y="2615"/>
                  </a:lnTo>
                  <a:lnTo>
                    <a:pt x="1013" y="2613"/>
                  </a:lnTo>
                  <a:lnTo>
                    <a:pt x="1011" y="2611"/>
                  </a:lnTo>
                  <a:lnTo>
                    <a:pt x="1009" y="2608"/>
                  </a:lnTo>
                  <a:lnTo>
                    <a:pt x="1009" y="2604"/>
                  </a:lnTo>
                  <a:lnTo>
                    <a:pt x="1007" y="2601"/>
                  </a:lnTo>
                  <a:lnTo>
                    <a:pt x="1004" y="2598"/>
                  </a:lnTo>
                  <a:lnTo>
                    <a:pt x="1002" y="2598"/>
                  </a:lnTo>
                  <a:lnTo>
                    <a:pt x="998" y="2599"/>
                  </a:lnTo>
                  <a:lnTo>
                    <a:pt x="995" y="2597"/>
                  </a:lnTo>
                  <a:lnTo>
                    <a:pt x="994" y="2594"/>
                  </a:lnTo>
                  <a:lnTo>
                    <a:pt x="992" y="2590"/>
                  </a:lnTo>
                  <a:lnTo>
                    <a:pt x="992" y="2586"/>
                  </a:lnTo>
                  <a:lnTo>
                    <a:pt x="993" y="2582"/>
                  </a:lnTo>
                  <a:lnTo>
                    <a:pt x="992" y="2578"/>
                  </a:lnTo>
                  <a:lnTo>
                    <a:pt x="990" y="2575"/>
                  </a:lnTo>
                  <a:lnTo>
                    <a:pt x="989" y="2573"/>
                  </a:lnTo>
                  <a:lnTo>
                    <a:pt x="990" y="2573"/>
                  </a:lnTo>
                  <a:lnTo>
                    <a:pt x="992" y="2573"/>
                  </a:lnTo>
                  <a:lnTo>
                    <a:pt x="994" y="2572"/>
                  </a:lnTo>
                  <a:lnTo>
                    <a:pt x="995" y="2571"/>
                  </a:lnTo>
                  <a:lnTo>
                    <a:pt x="995" y="2569"/>
                  </a:lnTo>
                  <a:lnTo>
                    <a:pt x="995" y="2566"/>
                  </a:lnTo>
                  <a:lnTo>
                    <a:pt x="995" y="2563"/>
                  </a:lnTo>
                  <a:lnTo>
                    <a:pt x="994" y="2561"/>
                  </a:lnTo>
                  <a:lnTo>
                    <a:pt x="988" y="2550"/>
                  </a:lnTo>
                  <a:lnTo>
                    <a:pt x="988" y="2544"/>
                  </a:lnTo>
                  <a:lnTo>
                    <a:pt x="989" y="2541"/>
                  </a:lnTo>
                  <a:lnTo>
                    <a:pt x="992" y="2539"/>
                  </a:lnTo>
                  <a:lnTo>
                    <a:pt x="995" y="2538"/>
                  </a:lnTo>
                  <a:lnTo>
                    <a:pt x="998" y="2536"/>
                  </a:lnTo>
                  <a:lnTo>
                    <a:pt x="999" y="2528"/>
                  </a:lnTo>
                  <a:lnTo>
                    <a:pt x="1003" y="2526"/>
                  </a:lnTo>
                  <a:lnTo>
                    <a:pt x="1005" y="2527"/>
                  </a:lnTo>
                  <a:lnTo>
                    <a:pt x="1012" y="2538"/>
                  </a:lnTo>
                  <a:lnTo>
                    <a:pt x="1018" y="2552"/>
                  </a:lnTo>
                  <a:lnTo>
                    <a:pt x="1019" y="2553"/>
                  </a:lnTo>
                  <a:lnTo>
                    <a:pt x="1022" y="2558"/>
                  </a:lnTo>
                  <a:lnTo>
                    <a:pt x="1024" y="2560"/>
                  </a:lnTo>
                  <a:lnTo>
                    <a:pt x="1027" y="2561"/>
                  </a:lnTo>
                  <a:lnTo>
                    <a:pt x="1048" y="2561"/>
                  </a:lnTo>
                  <a:lnTo>
                    <a:pt x="1046" y="2557"/>
                  </a:lnTo>
                  <a:lnTo>
                    <a:pt x="1043" y="2556"/>
                  </a:lnTo>
                  <a:lnTo>
                    <a:pt x="1040" y="2553"/>
                  </a:lnTo>
                  <a:lnTo>
                    <a:pt x="1040" y="2547"/>
                  </a:lnTo>
                  <a:lnTo>
                    <a:pt x="1042" y="2544"/>
                  </a:lnTo>
                  <a:lnTo>
                    <a:pt x="1045" y="2541"/>
                  </a:lnTo>
                  <a:lnTo>
                    <a:pt x="1052" y="2538"/>
                  </a:lnTo>
                  <a:lnTo>
                    <a:pt x="1060" y="2538"/>
                  </a:lnTo>
                  <a:lnTo>
                    <a:pt x="1061" y="2539"/>
                  </a:lnTo>
                  <a:lnTo>
                    <a:pt x="1064" y="2544"/>
                  </a:lnTo>
                  <a:lnTo>
                    <a:pt x="1066" y="2545"/>
                  </a:lnTo>
                  <a:lnTo>
                    <a:pt x="1069" y="2544"/>
                  </a:lnTo>
                  <a:lnTo>
                    <a:pt x="1072" y="2540"/>
                  </a:lnTo>
                  <a:lnTo>
                    <a:pt x="1077" y="2531"/>
                  </a:lnTo>
                  <a:lnTo>
                    <a:pt x="1075" y="2526"/>
                  </a:lnTo>
                  <a:lnTo>
                    <a:pt x="1078" y="2524"/>
                  </a:lnTo>
                  <a:lnTo>
                    <a:pt x="1079" y="2523"/>
                  </a:lnTo>
                  <a:lnTo>
                    <a:pt x="1080" y="2520"/>
                  </a:lnTo>
                  <a:lnTo>
                    <a:pt x="1080" y="2518"/>
                  </a:lnTo>
                  <a:lnTo>
                    <a:pt x="1080" y="2515"/>
                  </a:lnTo>
                  <a:lnTo>
                    <a:pt x="1082" y="2504"/>
                  </a:lnTo>
                  <a:lnTo>
                    <a:pt x="1083" y="2502"/>
                  </a:lnTo>
                  <a:lnTo>
                    <a:pt x="1084" y="2500"/>
                  </a:lnTo>
                  <a:lnTo>
                    <a:pt x="1086" y="2501"/>
                  </a:lnTo>
                  <a:lnTo>
                    <a:pt x="1087" y="2502"/>
                  </a:lnTo>
                  <a:lnTo>
                    <a:pt x="1086" y="2504"/>
                  </a:lnTo>
                  <a:lnTo>
                    <a:pt x="1087" y="2514"/>
                  </a:lnTo>
                  <a:lnTo>
                    <a:pt x="1088" y="2518"/>
                  </a:lnTo>
                  <a:lnTo>
                    <a:pt x="1089" y="2519"/>
                  </a:lnTo>
                  <a:lnTo>
                    <a:pt x="1101" y="2508"/>
                  </a:lnTo>
                  <a:lnTo>
                    <a:pt x="1104" y="2507"/>
                  </a:lnTo>
                  <a:lnTo>
                    <a:pt x="1102" y="2506"/>
                  </a:lnTo>
                  <a:lnTo>
                    <a:pt x="1101" y="2503"/>
                  </a:lnTo>
                  <a:lnTo>
                    <a:pt x="1101" y="2501"/>
                  </a:lnTo>
                  <a:lnTo>
                    <a:pt x="1101" y="2497"/>
                  </a:lnTo>
                  <a:lnTo>
                    <a:pt x="1077" y="2486"/>
                  </a:lnTo>
                  <a:lnTo>
                    <a:pt x="1073" y="2481"/>
                  </a:lnTo>
                  <a:lnTo>
                    <a:pt x="1083" y="2481"/>
                  </a:lnTo>
                  <a:lnTo>
                    <a:pt x="1085" y="2482"/>
                  </a:lnTo>
                  <a:lnTo>
                    <a:pt x="1089" y="2485"/>
                  </a:lnTo>
                  <a:lnTo>
                    <a:pt x="1090" y="2486"/>
                  </a:lnTo>
                  <a:lnTo>
                    <a:pt x="1091" y="2486"/>
                  </a:lnTo>
                  <a:lnTo>
                    <a:pt x="1093" y="2485"/>
                  </a:lnTo>
                  <a:lnTo>
                    <a:pt x="1093" y="2483"/>
                  </a:lnTo>
                  <a:lnTo>
                    <a:pt x="1092" y="2480"/>
                  </a:lnTo>
                  <a:lnTo>
                    <a:pt x="1092" y="2478"/>
                  </a:lnTo>
                  <a:lnTo>
                    <a:pt x="1094" y="2472"/>
                  </a:lnTo>
                  <a:lnTo>
                    <a:pt x="1094" y="2468"/>
                  </a:lnTo>
                  <a:lnTo>
                    <a:pt x="1093" y="2462"/>
                  </a:lnTo>
                  <a:lnTo>
                    <a:pt x="1088" y="2453"/>
                  </a:lnTo>
                  <a:lnTo>
                    <a:pt x="1087" y="2449"/>
                  </a:lnTo>
                  <a:lnTo>
                    <a:pt x="1087" y="2443"/>
                  </a:lnTo>
                  <a:lnTo>
                    <a:pt x="1086" y="2442"/>
                  </a:lnTo>
                  <a:lnTo>
                    <a:pt x="1084" y="2439"/>
                  </a:lnTo>
                  <a:lnTo>
                    <a:pt x="1082" y="2436"/>
                  </a:lnTo>
                  <a:lnTo>
                    <a:pt x="1076" y="2432"/>
                  </a:lnTo>
                  <a:lnTo>
                    <a:pt x="1076" y="2429"/>
                  </a:lnTo>
                  <a:lnTo>
                    <a:pt x="1078" y="2423"/>
                  </a:lnTo>
                  <a:lnTo>
                    <a:pt x="1076" y="2412"/>
                  </a:lnTo>
                  <a:lnTo>
                    <a:pt x="1072" y="2401"/>
                  </a:lnTo>
                  <a:lnTo>
                    <a:pt x="1070" y="2395"/>
                  </a:lnTo>
                  <a:lnTo>
                    <a:pt x="1065" y="2387"/>
                  </a:lnTo>
                  <a:lnTo>
                    <a:pt x="1045" y="2369"/>
                  </a:lnTo>
                  <a:lnTo>
                    <a:pt x="1048" y="2368"/>
                  </a:lnTo>
                  <a:lnTo>
                    <a:pt x="1050" y="2370"/>
                  </a:lnTo>
                  <a:lnTo>
                    <a:pt x="1053" y="2373"/>
                  </a:lnTo>
                  <a:lnTo>
                    <a:pt x="1056" y="2374"/>
                  </a:lnTo>
                  <a:lnTo>
                    <a:pt x="1058" y="2373"/>
                  </a:lnTo>
                  <a:lnTo>
                    <a:pt x="1063" y="2368"/>
                  </a:lnTo>
                  <a:lnTo>
                    <a:pt x="1067" y="2367"/>
                  </a:lnTo>
                  <a:lnTo>
                    <a:pt x="1065" y="2373"/>
                  </a:lnTo>
                  <a:lnTo>
                    <a:pt x="1064" y="2374"/>
                  </a:lnTo>
                  <a:lnTo>
                    <a:pt x="1066" y="2376"/>
                  </a:lnTo>
                  <a:lnTo>
                    <a:pt x="1068" y="2377"/>
                  </a:lnTo>
                  <a:lnTo>
                    <a:pt x="1069" y="2380"/>
                  </a:lnTo>
                  <a:lnTo>
                    <a:pt x="1071" y="2383"/>
                  </a:lnTo>
                  <a:lnTo>
                    <a:pt x="1073" y="2395"/>
                  </a:lnTo>
                  <a:lnTo>
                    <a:pt x="1075" y="2398"/>
                  </a:lnTo>
                  <a:lnTo>
                    <a:pt x="1077" y="2398"/>
                  </a:lnTo>
                  <a:lnTo>
                    <a:pt x="1079" y="2396"/>
                  </a:lnTo>
                  <a:lnTo>
                    <a:pt x="1081" y="2396"/>
                  </a:lnTo>
                  <a:lnTo>
                    <a:pt x="1082" y="2402"/>
                  </a:lnTo>
                  <a:lnTo>
                    <a:pt x="1082" y="2403"/>
                  </a:lnTo>
                  <a:lnTo>
                    <a:pt x="1080" y="2406"/>
                  </a:lnTo>
                  <a:lnTo>
                    <a:pt x="1080" y="2408"/>
                  </a:lnTo>
                  <a:lnTo>
                    <a:pt x="1080" y="2410"/>
                  </a:lnTo>
                  <a:lnTo>
                    <a:pt x="1082" y="2413"/>
                  </a:lnTo>
                  <a:lnTo>
                    <a:pt x="1082" y="2414"/>
                  </a:lnTo>
                  <a:lnTo>
                    <a:pt x="1082" y="2426"/>
                  </a:lnTo>
                  <a:lnTo>
                    <a:pt x="1082" y="2429"/>
                  </a:lnTo>
                  <a:lnTo>
                    <a:pt x="1083" y="2431"/>
                  </a:lnTo>
                  <a:lnTo>
                    <a:pt x="1086" y="2433"/>
                  </a:lnTo>
                  <a:lnTo>
                    <a:pt x="1089" y="2434"/>
                  </a:lnTo>
                  <a:lnTo>
                    <a:pt x="1090" y="2433"/>
                  </a:lnTo>
                  <a:lnTo>
                    <a:pt x="1092" y="2428"/>
                  </a:lnTo>
                  <a:lnTo>
                    <a:pt x="1097" y="2422"/>
                  </a:lnTo>
                  <a:lnTo>
                    <a:pt x="1102" y="2418"/>
                  </a:lnTo>
                  <a:lnTo>
                    <a:pt x="1106" y="2417"/>
                  </a:lnTo>
                  <a:lnTo>
                    <a:pt x="1106" y="2418"/>
                  </a:lnTo>
                  <a:lnTo>
                    <a:pt x="1106" y="2419"/>
                  </a:lnTo>
                  <a:lnTo>
                    <a:pt x="1106" y="2419"/>
                  </a:lnTo>
                  <a:lnTo>
                    <a:pt x="1105" y="2420"/>
                  </a:lnTo>
                  <a:lnTo>
                    <a:pt x="1107" y="2424"/>
                  </a:lnTo>
                  <a:lnTo>
                    <a:pt x="1110" y="2426"/>
                  </a:lnTo>
                  <a:lnTo>
                    <a:pt x="1117" y="2429"/>
                  </a:lnTo>
                  <a:lnTo>
                    <a:pt x="1113" y="2435"/>
                  </a:lnTo>
                  <a:lnTo>
                    <a:pt x="1099" y="2433"/>
                  </a:lnTo>
                  <a:lnTo>
                    <a:pt x="1095" y="2439"/>
                  </a:lnTo>
                  <a:lnTo>
                    <a:pt x="1101" y="2438"/>
                  </a:lnTo>
                  <a:lnTo>
                    <a:pt x="1105" y="2439"/>
                  </a:lnTo>
                  <a:lnTo>
                    <a:pt x="1107" y="2441"/>
                  </a:lnTo>
                  <a:lnTo>
                    <a:pt x="1107" y="2443"/>
                  </a:lnTo>
                  <a:lnTo>
                    <a:pt x="1106" y="2446"/>
                  </a:lnTo>
                  <a:lnTo>
                    <a:pt x="1113" y="2447"/>
                  </a:lnTo>
                  <a:lnTo>
                    <a:pt x="1116" y="2446"/>
                  </a:lnTo>
                  <a:lnTo>
                    <a:pt x="1119" y="2444"/>
                  </a:lnTo>
                  <a:lnTo>
                    <a:pt x="1121" y="2440"/>
                  </a:lnTo>
                  <a:lnTo>
                    <a:pt x="1122" y="2435"/>
                  </a:lnTo>
                  <a:lnTo>
                    <a:pt x="1123" y="2433"/>
                  </a:lnTo>
                  <a:lnTo>
                    <a:pt x="1126" y="2434"/>
                  </a:lnTo>
                  <a:lnTo>
                    <a:pt x="1125" y="2435"/>
                  </a:lnTo>
                  <a:lnTo>
                    <a:pt x="1124" y="2438"/>
                  </a:lnTo>
                  <a:lnTo>
                    <a:pt x="1123" y="2440"/>
                  </a:lnTo>
                  <a:lnTo>
                    <a:pt x="1123" y="2442"/>
                  </a:lnTo>
                  <a:lnTo>
                    <a:pt x="1125" y="2444"/>
                  </a:lnTo>
                  <a:lnTo>
                    <a:pt x="1126" y="2443"/>
                  </a:lnTo>
                  <a:lnTo>
                    <a:pt x="1128" y="2440"/>
                  </a:lnTo>
                  <a:lnTo>
                    <a:pt x="1130" y="2439"/>
                  </a:lnTo>
                  <a:lnTo>
                    <a:pt x="1132" y="2437"/>
                  </a:lnTo>
                  <a:lnTo>
                    <a:pt x="1135" y="2433"/>
                  </a:lnTo>
                  <a:lnTo>
                    <a:pt x="1139" y="2422"/>
                  </a:lnTo>
                  <a:lnTo>
                    <a:pt x="1136" y="2420"/>
                  </a:lnTo>
                  <a:lnTo>
                    <a:pt x="1130" y="2426"/>
                  </a:lnTo>
                  <a:lnTo>
                    <a:pt x="1127" y="2424"/>
                  </a:lnTo>
                  <a:lnTo>
                    <a:pt x="1128" y="2421"/>
                  </a:lnTo>
                  <a:lnTo>
                    <a:pt x="1129" y="2419"/>
                  </a:lnTo>
                  <a:lnTo>
                    <a:pt x="1128" y="2416"/>
                  </a:lnTo>
                  <a:lnTo>
                    <a:pt x="1127" y="2415"/>
                  </a:lnTo>
                  <a:lnTo>
                    <a:pt x="1127" y="2413"/>
                  </a:lnTo>
                  <a:lnTo>
                    <a:pt x="1134" y="2413"/>
                  </a:lnTo>
                  <a:lnTo>
                    <a:pt x="1134" y="2409"/>
                  </a:lnTo>
                  <a:lnTo>
                    <a:pt x="1133" y="2408"/>
                  </a:lnTo>
                  <a:lnTo>
                    <a:pt x="1136" y="2408"/>
                  </a:lnTo>
                  <a:lnTo>
                    <a:pt x="1139" y="2410"/>
                  </a:lnTo>
                  <a:lnTo>
                    <a:pt x="1144" y="2417"/>
                  </a:lnTo>
                  <a:lnTo>
                    <a:pt x="1145" y="2420"/>
                  </a:lnTo>
                  <a:lnTo>
                    <a:pt x="1145" y="2421"/>
                  </a:lnTo>
                  <a:lnTo>
                    <a:pt x="1145" y="2422"/>
                  </a:lnTo>
                  <a:lnTo>
                    <a:pt x="1146" y="2423"/>
                  </a:lnTo>
                  <a:lnTo>
                    <a:pt x="1149" y="2423"/>
                  </a:lnTo>
                  <a:lnTo>
                    <a:pt x="1152" y="2424"/>
                  </a:lnTo>
                  <a:lnTo>
                    <a:pt x="1154" y="2424"/>
                  </a:lnTo>
                  <a:lnTo>
                    <a:pt x="1157" y="2422"/>
                  </a:lnTo>
                  <a:lnTo>
                    <a:pt x="1159" y="2421"/>
                  </a:lnTo>
                  <a:lnTo>
                    <a:pt x="1160" y="2419"/>
                  </a:lnTo>
                  <a:lnTo>
                    <a:pt x="1162" y="2418"/>
                  </a:lnTo>
                  <a:lnTo>
                    <a:pt x="1165" y="2417"/>
                  </a:lnTo>
                  <a:lnTo>
                    <a:pt x="1167" y="2415"/>
                  </a:lnTo>
                  <a:lnTo>
                    <a:pt x="1169" y="2413"/>
                  </a:lnTo>
                  <a:lnTo>
                    <a:pt x="1169" y="2410"/>
                  </a:lnTo>
                  <a:lnTo>
                    <a:pt x="1167" y="2406"/>
                  </a:lnTo>
                  <a:lnTo>
                    <a:pt x="1160" y="2403"/>
                  </a:lnTo>
                  <a:lnTo>
                    <a:pt x="1157" y="2398"/>
                  </a:lnTo>
                  <a:lnTo>
                    <a:pt x="1169" y="2401"/>
                  </a:lnTo>
                  <a:lnTo>
                    <a:pt x="1175" y="2400"/>
                  </a:lnTo>
                  <a:lnTo>
                    <a:pt x="1177" y="2393"/>
                  </a:lnTo>
                  <a:lnTo>
                    <a:pt x="1175" y="2391"/>
                  </a:lnTo>
                  <a:lnTo>
                    <a:pt x="1172" y="2391"/>
                  </a:lnTo>
                  <a:lnTo>
                    <a:pt x="1166" y="2393"/>
                  </a:lnTo>
                  <a:lnTo>
                    <a:pt x="1164" y="2392"/>
                  </a:lnTo>
                  <a:lnTo>
                    <a:pt x="1156" y="2386"/>
                  </a:lnTo>
                  <a:lnTo>
                    <a:pt x="1158" y="2379"/>
                  </a:lnTo>
                  <a:lnTo>
                    <a:pt x="1160" y="2378"/>
                  </a:lnTo>
                  <a:lnTo>
                    <a:pt x="1170" y="2383"/>
                  </a:lnTo>
                  <a:lnTo>
                    <a:pt x="1174" y="2385"/>
                  </a:lnTo>
                  <a:lnTo>
                    <a:pt x="1178" y="2383"/>
                  </a:lnTo>
                  <a:lnTo>
                    <a:pt x="1179" y="2376"/>
                  </a:lnTo>
                  <a:lnTo>
                    <a:pt x="1180" y="2376"/>
                  </a:lnTo>
                  <a:lnTo>
                    <a:pt x="1182" y="2382"/>
                  </a:lnTo>
                  <a:lnTo>
                    <a:pt x="1184" y="2383"/>
                  </a:lnTo>
                  <a:lnTo>
                    <a:pt x="1185" y="2382"/>
                  </a:lnTo>
                  <a:lnTo>
                    <a:pt x="1185" y="2376"/>
                  </a:lnTo>
                  <a:lnTo>
                    <a:pt x="1181" y="2372"/>
                  </a:lnTo>
                  <a:lnTo>
                    <a:pt x="1177" y="2370"/>
                  </a:lnTo>
                  <a:lnTo>
                    <a:pt x="1136" y="2371"/>
                  </a:lnTo>
                  <a:lnTo>
                    <a:pt x="1132" y="2367"/>
                  </a:lnTo>
                  <a:lnTo>
                    <a:pt x="1141" y="2365"/>
                  </a:lnTo>
                  <a:lnTo>
                    <a:pt x="1145" y="2362"/>
                  </a:lnTo>
                  <a:lnTo>
                    <a:pt x="1148" y="2358"/>
                  </a:lnTo>
                  <a:lnTo>
                    <a:pt x="1147" y="2358"/>
                  </a:lnTo>
                  <a:lnTo>
                    <a:pt x="1148" y="2356"/>
                  </a:lnTo>
                  <a:lnTo>
                    <a:pt x="1148" y="2355"/>
                  </a:lnTo>
                  <a:lnTo>
                    <a:pt x="1148" y="2353"/>
                  </a:lnTo>
                  <a:lnTo>
                    <a:pt x="1150" y="2354"/>
                  </a:lnTo>
                  <a:lnTo>
                    <a:pt x="1150" y="2356"/>
                  </a:lnTo>
                  <a:lnTo>
                    <a:pt x="1152" y="2359"/>
                  </a:lnTo>
                  <a:lnTo>
                    <a:pt x="1152" y="2360"/>
                  </a:lnTo>
                  <a:lnTo>
                    <a:pt x="1163" y="2362"/>
                  </a:lnTo>
                  <a:lnTo>
                    <a:pt x="1161" y="2358"/>
                  </a:lnTo>
                  <a:lnTo>
                    <a:pt x="1158" y="2355"/>
                  </a:lnTo>
                  <a:lnTo>
                    <a:pt x="1153" y="2351"/>
                  </a:lnTo>
                  <a:lnTo>
                    <a:pt x="1155" y="2348"/>
                  </a:lnTo>
                  <a:lnTo>
                    <a:pt x="1158" y="2348"/>
                  </a:lnTo>
                  <a:lnTo>
                    <a:pt x="1160" y="2349"/>
                  </a:lnTo>
                  <a:lnTo>
                    <a:pt x="1163" y="2351"/>
                  </a:lnTo>
                  <a:lnTo>
                    <a:pt x="1168" y="2359"/>
                  </a:lnTo>
                  <a:lnTo>
                    <a:pt x="1170" y="2360"/>
                  </a:lnTo>
                  <a:lnTo>
                    <a:pt x="1171" y="2358"/>
                  </a:lnTo>
                  <a:lnTo>
                    <a:pt x="1172" y="2350"/>
                  </a:lnTo>
                  <a:lnTo>
                    <a:pt x="1173" y="2348"/>
                  </a:lnTo>
                  <a:lnTo>
                    <a:pt x="1175" y="2347"/>
                  </a:lnTo>
                  <a:lnTo>
                    <a:pt x="1182" y="2341"/>
                  </a:lnTo>
                  <a:lnTo>
                    <a:pt x="1177" y="2341"/>
                  </a:lnTo>
                  <a:lnTo>
                    <a:pt x="1179" y="2337"/>
                  </a:lnTo>
                  <a:lnTo>
                    <a:pt x="1180" y="2334"/>
                  </a:lnTo>
                  <a:lnTo>
                    <a:pt x="1181" y="2330"/>
                  </a:lnTo>
                  <a:lnTo>
                    <a:pt x="1182" y="2326"/>
                  </a:lnTo>
                  <a:lnTo>
                    <a:pt x="1186" y="2323"/>
                  </a:lnTo>
                  <a:lnTo>
                    <a:pt x="1189" y="2325"/>
                  </a:lnTo>
                  <a:lnTo>
                    <a:pt x="1192" y="2327"/>
                  </a:lnTo>
                  <a:lnTo>
                    <a:pt x="1195" y="2329"/>
                  </a:lnTo>
                  <a:lnTo>
                    <a:pt x="1198" y="2327"/>
                  </a:lnTo>
                  <a:lnTo>
                    <a:pt x="1198" y="2324"/>
                  </a:lnTo>
                  <a:lnTo>
                    <a:pt x="1197" y="2320"/>
                  </a:lnTo>
                  <a:lnTo>
                    <a:pt x="1196" y="2316"/>
                  </a:lnTo>
                  <a:lnTo>
                    <a:pt x="1194" y="2312"/>
                  </a:lnTo>
                  <a:lnTo>
                    <a:pt x="1190" y="2309"/>
                  </a:lnTo>
                  <a:lnTo>
                    <a:pt x="1187" y="2307"/>
                  </a:lnTo>
                  <a:lnTo>
                    <a:pt x="1184" y="2307"/>
                  </a:lnTo>
                  <a:lnTo>
                    <a:pt x="1184" y="2305"/>
                  </a:lnTo>
                  <a:lnTo>
                    <a:pt x="1191" y="2304"/>
                  </a:lnTo>
                  <a:lnTo>
                    <a:pt x="1214" y="2312"/>
                  </a:lnTo>
                  <a:lnTo>
                    <a:pt x="1213" y="2309"/>
                  </a:lnTo>
                  <a:lnTo>
                    <a:pt x="1209" y="2300"/>
                  </a:lnTo>
                  <a:lnTo>
                    <a:pt x="1209" y="2297"/>
                  </a:lnTo>
                  <a:lnTo>
                    <a:pt x="1208" y="2293"/>
                  </a:lnTo>
                  <a:lnTo>
                    <a:pt x="1207" y="2290"/>
                  </a:lnTo>
                  <a:lnTo>
                    <a:pt x="1205" y="2288"/>
                  </a:lnTo>
                  <a:lnTo>
                    <a:pt x="1209" y="2286"/>
                  </a:lnTo>
                  <a:lnTo>
                    <a:pt x="1225" y="2290"/>
                  </a:lnTo>
                  <a:lnTo>
                    <a:pt x="1225" y="2293"/>
                  </a:lnTo>
                  <a:lnTo>
                    <a:pt x="1217" y="2293"/>
                  </a:lnTo>
                  <a:lnTo>
                    <a:pt x="1213" y="2294"/>
                  </a:lnTo>
                  <a:lnTo>
                    <a:pt x="1214" y="2300"/>
                  </a:lnTo>
                  <a:lnTo>
                    <a:pt x="1214" y="2305"/>
                  </a:lnTo>
                  <a:lnTo>
                    <a:pt x="1217" y="2308"/>
                  </a:lnTo>
                  <a:lnTo>
                    <a:pt x="1219" y="2308"/>
                  </a:lnTo>
                  <a:lnTo>
                    <a:pt x="1221" y="2305"/>
                  </a:lnTo>
                  <a:lnTo>
                    <a:pt x="1221" y="2303"/>
                  </a:lnTo>
                  <a:lnTo>
                    <a:pt x="1220" y="2300"/>
                  </a:lnTo>
                  <a:lnTo>
                    <a:pt x="1231" y="2300"/>
                  </a:lnTo>
                  <a:lnTo>
                    <a:pt x="1236" y="2298"/>
                  </a:lnTo>
                  <a:lnTo>
                    <a:pt x="1239" y="2293"/>
                  </a:lnTo>
                  <a:lnTo>
                    <a:pt x="1214" y="2282"/>
                  </a:lnTo>
                  <a:lnTo>
                    <a:pt x="1210" y="2278"/>
                  </a:lnTo>
                  <a:lnTo>
                    <a:pt x="1213" y="2276"/>
                  </a:lnTo>
                  <a:lnTo>
                    <a:pt x="1216" y="2275"/>
                  </a:lnTo>
                  <a:lnTo>
                    <a:pt x="1223" y="2276"/>
                  </a:lnTo>
                  <a:lnTo>
                    <a:pt x="1231" y="2279"/>
                  </a:lnTo>
                  <a:lnTo>
                    <a:pt x="1233" y="2278"/>
                  </a:lnTo>
                  <a:lnTo>
                    <a:pt x="1232" y="2273"/>
                  </a:lnTo>
                  <a:lnTo>
                    <a:pt x="1234" y="2272"/>
                  </a:lnTo>
                  <a:lnTo>
                    <a:pt x="1238" y="2273"/>
                  </a:lnTo>
                  <a:lnTo>
                    <a:pt x="1240" y="2277"/>
                  </a:lnTo>
                  <a:lnTo>
                    <a:pt x="1243" y="2279"/>
                  </a:lnTo>
                  <a:lnTo>
                    <a:pt x="1245" y="2281"/>
                  </a:lnTo>
                  <a:lnTo>
                    <a:pt x="1247" y="2283"/>
                  </a:lnTo>
                  <a:lnTo>
                    <a:pt x="1247" y="2288"/>
                  </a:lnTo>
                  <a:lnTo>
                    <a:pt x="1248" y="2291"/>
                  </a:lnTo>
                  <a:lnTo>
                    <a:pt x="1251" y="2294"/>
                  </a:lnTo>
                  <a:lnTo>
                    <a:pt x="1253" y="2296"/>
                  </a:lnTo>
                  <a:lnTo>
                    <a:pt x="1253" y="2297"/>
                  </a:lnTo>
                  <a:lnTo>
                    <a:pt x="1258" y="2303"/>
                  </a:lnTo>
                  <a:lnTo>
                    <a:pt x="1258" y="2305"/>
                  </a:lnTo>
                  <a:lnTo>
                    <a:pt x="1261" y="2304"/>
                  </a:lnTo>
                  <a:lnTo>
                    <a:pt x="1262" y="2303"/>
                  </a:lnTo>
                  <a:lnTo>
                    <a:pt x="1262" y="2300"/>
                  </a:lnTo>
                  <a:lnTo>
                    <a:pt x="1263" y="2296"/>
                  </a:lnTo>
                  <a:lnTo>
                    <a:pt x="1265" y="2294"/>
                  </a:lnTo>
                  <a:lnTo>
                    <a:pt x="1267" y="2295"/>
                  </a:lnTo>
                  <a:lnTo>
                    <a:pt x="1269" y="2294"/>
                  </a:lnTo>
                  <a:lnTo>
                    <a:pt x="1270" y="2290"/>
                  </a:lnTo>
                  <a:lnTo>
                    <a:pt x="1266" y="2290"/>
                  </a:lnTo>
                  <a:lnTo>
                    <a:pt x="1262" y="2288"/>
                  </a:lnTo>
                  <a:lnTo>
                    <a:pt x="1259" y="2283"/>
                  </a:lnTo>
                  <a:lnTo>
                    <a:pt x="1262" y="2276"/>
                  </a:lnTo>
                  <a:lnTo>
                    <a:pt x="1268" y="2284"/>
                  </a:lnTo>
                  <a:lnTo>
                    <a:pt x="1271" y="2284"/>
                  </a:lnTo>
                  <a:lnTo>
                    <a:pt x="1274" y="2278"/>
                  </a:lnTo>
                  <a:lnTo>
                    <a:pt x="1270" y="2278"/>
                  </a:lnTo>
                  <a:lnTo>
                    <a:pt x="1272" y="2274"/>
                  </a:lnTo>
                  <a:lnTo>
                    <a:pt x="1275" y="2266"/>
                  </a:lnTo>
                  <a:lnTo>
                    <a:pt x="1277" y="2264"/>
                  </a:lnTo>
                  <a:lnTo>
                    <a:pt x="1275" y="2260"/>
                  </a:lnTo>
                  <a:lnTo>
                    <a:pt x="1274" y="2259"/>
                  </a:lnTo>
                  <a:lnTo>
                    <a:pt x="1277" y="2255"/>
                  </a:lnTo>
                  <a:lnTo>
                    <a:pt x="1286" y="2253"/>
                  </a:lnTo>
                  <a:lnTo>
                    <a:pt x="1289" y="2247"/>
                  </a:lnTo>
                  <a:lnTo>
                    <a:pt x="1290" y="2253"/>
                  </a:lnTo>
                  <a:lnTo>
                    <a:pt x="1292" y="2254"/>
                  </a:lnTo>
                  <a:lnTo>
                    <a:pt x="1294" y="2252"/>
                  </a:lnTo>
                  <a:lnTo>
                    <a:pt x="1295" y="2247"/>
                  </a:lnTo>
                  <a:lnTo>
                    <a:pt x="1295" y="2236"/>
                  </a:lnTo>
                  <a:lnTo>
                    <a:pt x="1296" y="2233"/>
                  </a:lnTo>
                  <a:lnTo>
                    <a:pt x="1296" y="2227"/>
                  </a:lnTo>
                  <a:lnTo>
                    <a:pt x="1297" y="2224"/>
                  </a:lnTo>
                  <a:lnTo>
                    <a:pt x="1297" y="2211"/>
                  </a:lnTo>
                  <a:lnTo>
                    <a:pt x="1297" y="2205"/>
                  </a:lnTo>
                  <a:lnTo>
                    <a:pt x="1299" y="2203"/>
                  </a:lnTo>
                  <a:lnTo>
                    <a:pt x="1302" y="2205"/>
                  </a:lnTo>
                  <a:lnTo>
                    <a:pt x="1305" y="2209"/>
                  </a:lnTo>
                  <a:lnTo>
                    <a:pt x="1308" y="2212"/>
                  </a:lnTo>
                  <a:lnTo>
                    <a:pt x="1312" y="2210"/>
                  </a:lnTo>
                  <a:lnTo>
                    <a:pt x="1307" y="2199"/>
                  </a:lnTo>
                  <a:lnTo>
                    <a:pt x="1307" y="2196"/>
                  </a:lnTo>
                  <a:lnTo>
                    <a:pt x="1312" y="2198"/>
                  </a:lnTo>
                  <a:lnTo>
                    <a:pt x="1325" y="2215"/>
                  </a:lnTo>
                  <a:lnTo>
                    <a:pt x="1330" y="2220"/>
                  </a:lnTo>
                  <a:lnTo>
                    <a:pt x="1333" y="2222"/>
                  </a:lnTo>
                  <a:lnTo>
                    <a:pt x="1335" y="2221"/>
                  </a:lnTo>
                  <a:lnTo>
                    <a:pt x="1334" y="2217"/>
                  </a:lnTo>
                  <a:lnTo>
                    <a:pt x="1334" y="2215"/>
                  </a:lnTo>
                  <a:lnTo>
                    <a:pt x="1327" y="2205"/>
                  </a:lnTo>
                  <a:lnTo>
                    <a:pt x="1326" y="2202"/>
                  </a:lnTo>
                  <a:lnTo>
                    <a:pt x="1326" y="2201"/>
                  </a:lnTo>
                  <a:lnTo>
                    <a:pt x="1329" y="2200"/>
                  </a:lnTo>
                  <a:lnTo>
                    <a:pt x="1331" y="2199"/>
                  </a:lnTo>
                  <a:lnTo>
                    <a:pt x="1336" y="2196"/>
                  </a:lnTo>
                  <a:lnTo>
                    <a:pt x="1331" y="2192"/>
                  </a:lnTo>
                  <a:lnTo>
                    <a:pt x="1327" y="2191"/>
                  </a:lnTo>
                  <a:lnTo>
                    <a:pt x="1325" y="2188"/>
                  </a:lnTo>
                  <a:lnTo>
                    <a:pt x="1327" y="2179"/>
                  </a:lnTo>
                  <a:lnTo>
                    <a:pt x="1323" y="2177"/>
                  </a:lnTo>
                  <a:lnTo>
                    <a:pt x="1321" y="2176"/>
                  </a:lnTo>
                  <a:lnTo>
                    <a:pt x="1319" y="2174"/>
                  </a:lnTo>
                  <a:lnTo>
                    <a:pt x="1323" y="2169"/>
                  </a:lnTo>
                  <a:lnTo>
                    <a:pt x="1327" y="2169"/>
                  </a:lnTo>
                  <a:lnTo>
                    <a:pt x="1331" y="2172"/>
                  </a:lnTo>
                  <a:lnTo>
                    <a:pt x="1334" y="2178"/>
                  </a:lnTo>
                  <a:lnTo>
                    <a:pt x="1336" y="2180"/>
                  </a:lnTo>
                  <a:lnTo>
                    <a:pt x="1344" y="2184"/>
                  </a:lnTo>
                  <a:lnTo>
                    <a:pt x="1349" y="2190"/>
                  </a:lnTo>
                  <a:lnTo>
                    <a:pt x="1351" y="2191"/>
                  </a:lnTo>
                  <a:lnTo>
                    <a:pt x="1351" y="2192"/>
                  </a:lnTo>
                  <a:lnTo>
                    <a:pt x="1350" y="2195"/>
                  </a:lnTo>
                  <a:lnTo>
                    <a:pt x="1350" y="2196"/>
                  </a:lnTo>
                  <a:lnTo>
                    <a:pt x="1354" y="2199"/>
                  </a:lnTo>
                  <a:lnTo>
                    <a:pt x="1354" y="2202"/>
                  </a:lnTo>
                  <a:lnTo>
                    <a:pt x="1354" y="2205"/>
                  </a:lnTo>
                  <a:lnTo>
                    <a:pt x="1354" y="2210"/>
                  </a:lnTo>
                  <a:lnTo>
                    <a:pt x="1362" y="2215"/>
                  </a:lnTo>
                  <a:lnTo>
                    <a:pt x="1364" y="2214"/>
                  </a:lnTo>
                  <a:lnTo>
                    <a:pt x="1367" y="2210"/>
                  </a:lnTo>
                  <a:lnTo>
                    <a:pt x="1369" y="2208"/>
                  </a:lnTo>
                  <a:lnTo>
                    <a:pt x="1371" y="2206"/>
                  </a:lnTo>
                  <a:lnTo>
                    <a:pt x="1375" y="2205"/>
                  </a:lnTo>
                  <a:lnTo>
                    <a:pt x="1375" y="2204"/>
                  </a:lnTo>
                  <a:lnTo>
                    <a:pt x="1374" y="2195"/>
                  </a:lnTo>
                  <a:lnTo>
                    <a:pt x="1372" y="2186"/>
                  </a:lnTo>
                  <a:lnTo>
                    <a:pt x="1372" y="2182"/>
                  </a:lnTo>
                  <a:lnTo>
                    <a:pt x="1377" y="2176"/>
                  </a:lnTo>
                  <a:lnTo>
                    <a:pt x="1384" y="2171"/>
                  </a:lnTo>
                  <a:lnTo>
                    <a:pt x="1390" y="2165"/>
                  </a:lnTo>
                  <a:lnTo>
                    <a:pt x="1392" y="2156"/>
                  </a:lnTo>
                  <a:lnTo>
                    <a:pt x="1393" y="2154"/>
                  </a:lnTo>
                  <a:lnTo>
                    <a:pt x="1399" y="2151"/>
                  </a:lnTo>
                  <a:lnTo>
                    <a:pt x="1401" y="2148"/>
                  </a:lnTo>
                  <a:lnTo>
                    <a:pt x="1404" y="2149"/>
                  </a:lnTo>
                  <a:lnTo>
                    <a:pt x="1416" y="2155"/>
                  </a:lnTo>
                  <a:lnTo>
                    <a:pt x="1414" y="2147"/>
                  </a:lnTo>
                  <a:lnTo>
                    <a:pt x="1413" y="2143"/>
                  </a:lnTo>
                  <a:lnTo>
                    <a:pt x="1414" y="2138"/>
                  </a:lnTo>
                  <a:lnTo>
                    <a:pt x="1417" y="2135"/>
                  </a:lnTo>
                  <a:lnTo>
                    <a:pt x="1420" y="2133"/>
                  </a:lnTo>
                  <a:lnTo>
                    <a:pt x="1423" y="2132"/>
                  </a:lnTo>
                  <a:lnTo>
                    <a:pt x="1426" y="2132"/>
                  </a:lnTo>
                  <a:lnTo>
                    <a:pt x="1427" y="2133"/>
                  </a:lnTo>
                  <a:lnTo>
                    <a:pt x="1428" y="2135"/>
                  </a:lnTo>
                  <a:lnTo>
                    <a:pt x="1429" y="2138"/>
                  </a:lnTo>
                  <a:lnTo>
                    <a:pt x="1430" y="2140"/>
                  </a:lnTo>
                  <a:lnTo>
                    <a:pt x="1432" y="2140"/>
                  </a:lnTo>
                  <a:lnTo>
                    <a:pt x="1434" y="2138"/>
                  </a:lnTo>
                  <a:lnTo>
                    <a:pt x="1436" y="2137"/>
                  </a:lnTo>
                  <a:lnTo>
                    <a:pt x="1446" y="2136"/>
                  </a:lnTo>
                  <a:lnTo>
                    <a:pt x="1450" y="2137"/>
                  </a:lnTo>
                  <a:lnTo>
                    <a:pt x="1449" y="2129"/>
                  </a:lnTo>
                  <a:lnTo>
                    <a:pt x="1450" y="2120"/>
                  </a:lnTo>
                  <a:lnTo>
                    <a:pt x="1453" y="2113"/>
                  </a:lnTo>
                  <a:lnTo>
                    <a:pt x="1456" y="2108"/>
                  </a:lnTo>
                  <a:lnTo>
                    <a:pt x="1457" y="2112"/>
                  </a:lnTo>
                  <a:lnTo>
                    <a:pt x="1456" y="2117"/>
                  </a:lnTo>
                  <a:lnTo>
                    <a:pt x="1455" y="2122"/>
                  </a:lnTo>
                  <a:lnTo>
                    <a:pt x="1454" y="2126"/>
                  </a:lnTo>
                  <a:lnTo>
                    <a:pt x="1454" y="2130"/>
                  </a:lnTo>
                  <a:lnTo>
                    <a:pt x="1456" y="2134"/>
                  </a:lnTo>
                  <a:lnTo>
                    <a:pt x="1458" y="2137"/>
                  </a:lnTo>
                  <a:lnTo>
                    <a:pt x="1460" y="2136"/>
                  </a:lnTo>
                  <a:lnTo>
                    <a:pt x="1462" y="2127"/>
                  </a:lnTo>
                  <a:lnTo>
                    <a:pt x="1462" y="2105"/>
                  </a:lnTo>
                  <a:lnTo>
                    <a:pt x="1463" y="2100"/>
                  </a:lnTo>
                  <a:lnTo>
                    <a:pt x="1465" y="2102"/>
                  </a:lnTo>
                  <a:lnTo>
                    <a:pt x="1467" y="2106"/>
                  </a:lnTo>
                  <a:lnTo>
                    <a:pt x="1469" y="2111"/>
                  </a:lnTo>
                  <a:lnTo>
                    <a:pt x="1469" y="2114"/>
                  </a:lnTo>
                  <a:lnTo>
                    <a:pt x="1468" y="2119"/>
                  </a:lnTo>
                  <a:lnTo>
                    <a:pt x="1468" y="2124"/>
                  </a:lnTo>
                  <a:lnTo>
                    <a:pt x="1469" y="2126"/>
                  </a:lnTo>
                  <a:lnTo>
                    <a:pt x="1472" y="2128"/>
                  </a:lnTo>
                  <a:lnTo>
                    <a:pt x="1474" y="2126"/>
                  </a:lnTo>
                  <a:lnTo>
                    <a:pt x="1476" y="2123"/>
                  </a:lnTo>
                  <a:lnTo>
                    <a:pt x="1477" y="2119"/>
                  </a:lnTo>
                  <a:lnTo>
                    <a:pt x="1478" y="2115"/>
                  </a:lnTo>
                  <a:lnTo>
                    <a:pt x="1478" y="2113"/>
                  </a:lnTo>
                  <a:lnTo>
                    <a:pt x="1477" y="2105"/>
                  </a:lnTo>
                  <a:lnTo>
                    <a:pt x="1477" y="2102"/>
                  </a:lnTo>
                  <a:lnTo>
                    <a:pt x="1478" y="2100"/>
                  </a:lnTo>
                  <a:lnTo>
                    <a:pt x="1478" y="2098"/>
                  </a:lnTo>
                  <a:lnTo>
                    <a:pt x="1477" y="2096"/>
                  </a:lnTo>
                  <a:lnTo>
                    <a:pt x="1481" y="2098"/>
                  </a:lnTo>
                  <a:lnTo>
                    <a:pt x="1484" y="2094"/>
                  </a:lnTo>
                  <a:lnTo>
                    <a:pt x="1491" y="2076"/>
                  </a:lnTo>
                  <a:lnTo>
                    <a:pt x="1492" y="2076"/>
                  </a:lnTo>
                  <a:lnTo>
                    <a:pt x="1495" y="2081"/>
                  </a:lnTo>
                  <a:lnTo>
                    <a:pt x="1497" y="2083"/>
                  </a:lnTo>
                  <a:lnTo>
                    <a:pt x="1497" y="2087"/>
                  </a:lnTo>
                  <a:lnTo>
                    <a:pt x="1496" y="2091"/>
                  </a:lnTo>
                  <a:lnTo>
                    <a:pt x="1497" y="2093"/>
                  </a:lnTo>
                  <a:lnTo>
                    <a:pt x="1499" y="2092"/>
                  </a:lnTo>
                  <a:lnTo>
                    <a:pt x="1501" y="2089"/>
                  </a:lnTo>
                  <a:lnTo>
                    <a:pt x="1501" y="2084"/>
                  </a:lnTo>
                  <a:lnTo>
                    <a:pt x="1508" y="2076"/>
                  </a:lnTo>
                  <a:lnTo>
                    <a:pt x="1511" y="2076"/>
                  </a:lnTo>
                  <a:lnTo>
                    <a:pt x="1513" y="2079"/>
                  </a:lnTo>
                  <a:lnTo>
                    <a:pt x="1517" y="2087"/>
                  </a:lnTo>
                  <a:lnTo>
                    <a:pt x="1518" y="2088"/>
                  </a:lnTo>
                  <a:lnTo>
                    <a:pt x="1520" y="2084"/>
                  </a:lnTo>
                  <a:lnTo>
                    <a:pt x="1524" y="2076"/>
                  </a:lnTo>
                  <a:lnTo>
                    <a:pt x="1521" y="2076"/>
                  </a:lnTo>
                  <a:lnTo>
                    <a:pt x="1519" y="2076"/>
                  </a:lnTo>
                  <a:lnTo>
                    <a:pt x="1518" y="2073"/>
                  </a:lnTo>
                  <a:lnTo>
                    <a:pt x="1518" y="2068"/>
                  </a:lnTo>
                  <a:lnTo>
                    <a:pt x="1520" y="2067"/>
                  </a:lnTo>
                  <a:lnTo>
                    <a:pt x="1527" y="2066"/>
                  </a:lnTo>
                  <a:lnTo>
                    <a:pt x="1535" y="2059"/>
                  </a:lnTo>
                  <a:lnTo>
                    <a:pt x="1536" y="2056"/>
                  </a:lnTo>
                  <a:lnTo>
                    <a:pt x="1539" y="2044"/>
                  </a:lnTo>
                  <a:lnTo>
                    <a:pt x="1542" y="2032"/>
                  </a:lnTo>
                  <a:lnTo>
                    <a:pt x="1545" y="2026"/>
                  </a:lnTo>
                  <a:lnTo>
                    <a:pt x="1548" y="2024"/>
                  </a:lnTo>
                  <a:lnTo>
                    <a:pt x="1549" y="2024"/>
                  </a:lnTo>
                  <a:lnTo>
                    <a:pt x="1550" y="2022"/>
                  </a:lnTo>
                  <a:lnTo>
                    <a:pt x="1551" y="2020"/>
                  </a:lnTo>
                  <a:lnTo>
                    <a:pt x="1553" y="2019"/>
                  </a:lnTo>
                  <a:lnTo>
                    <a:pt x="1554" y="2018"/>
                  </a:lnTo>
                  <a:lnTo>
                    <a:pt x="1554" y="2014"/>
                  </a:lnTo>
                  <a:lnTo>
                    <a:pt x="1554" y="2007"/>
                  </a:lnTo>
                  <a:lnTo>
                    <a:pt x="1555" y="2005"/>
                  </a:lnTo>
                  <a:lnTo>
                    <a:pt x="1556" y="2004"/>
                  </a:lnTo>
                  <a:lnTo>
                    <a:pt x="1556" y="2004"/>
                  </a:lnTo>
                  <a:lnTo>
                    <a:pt x="1556" y="2003"/>
                  </a:lnTo>
                  <a:lnTo>
                    <a:pt x="1556" y="2002"/>
                  </a:lnTo>
                  <a:lnTo>
                    <a:pt x="1556" y="2000"/>
                  </a:lnTo>
                  <a:lnTo>
                    <a:pt x="1556" y="1998"/>
                  </a:lnTo>
                  <a:lnTo>
                    <a:pt x="1555" y="1999"/>
                  </a:lnTo>
                  <a:lnTo>
                    <a:pt x="1556" y="1994"/>
                  </a:lnTo>
                  <a:lnTo>
                    <a:pt x="1556" y="1993"/>
                  </a:lnTo>
                  <a:lnTo>
                    <a:pt x="1556" y="1991"/>
                  </a:lnTo>
                  <a:lnTo>
                    <a:pt x="1563" y="1977"/>
                  </a:lnTo>
                  <a:lnTo>
                    <a:pt x="1564" y="1971"/>
                  </a:lnTo>
                  <a:lnTo>
                    <a:pt x="1562" y="1965"/>
                  </a:lnTo>
                  <a:lnTo>
                    <a:pt x="1565" y="1958"/>
                  </a:lnTo>
                  <a:lnTo>
                    <a:pt x="1577" y="1942"/>
                  </a:lnTo>
                  <a:lnTo>
                    <a:pt x="1581" y="1931"/>
                  </a:lnTo>
                  <a:lnTo>
                    <a:pt x="1583" y="1929"/>
                  </a:lnTo>
                  <a:lnTo>
                    <a:pt x="1583" y="1930"/>
                  </a:lnTo>
                  <a:lnTo>
                    <a:pt x="1588" y="1932"/>
                  </a:lnTo>
                  <a:lnTo>
                    <a:pt x="1589" y="1931"/>
                  </a:lnTo>
                  <a:lnTo>
                    <a:pt x="1609" y="1900"/>
                  </a:lnTo>
                  <a:lnTo>
                    <a:pt x="1610" y="1900"/>
                  </a:lnTo>
                  <a:lnTo>
                    <a:pt x="1611" y="1901"/>
                  </a:lnTo>
                  <a:lnTo>
                    <a:pt x="1613" y="1902"/>
                  </a:lnTo>
                  <a:lnTo>
                    <a:pt x="1616" y="1902"/>
                  </a:lnTo>
                  <a:lnTo>
                    <a:pt x="1620" y="1898"/>
                  </a:lnTo>
                  <a:lnTo>
                    <a:pt x="1623" y="1897"/>
                  </a:lnTo>
                  <a:lnTo>
                    <a:pt x="1622" y="1896"/>
                  </a:lnTo>
                  <a:lnTo>
                    <a:pt x="1622" y="1894"/>
                  </a:lnTo>
                  <a:lnTo>
                    <a:pt x="1622" y="1893"/>
                  </a:lnTo>
                  <a:lnTo>
                    <a:pt x="1620" y="1892"/>
                  </a:lnTo>
                  <a:lnTo>
                    <a:pt x="1621" y="1889"/>
                  </a:lnTo>
                  <a:lnTo>
                    <a:pt x="1621" y="1886"/>
                  </a:lnTo>
                  <a:lnTo>
                    <a:pt x="1621" y="1882"/>
                  </a:lnTo>
                  <a:lnTo>
                    <a:pt x="1620" y="1879"/>
                  </a:lnTo>
                  <a:lnTo>
                    <a:pt x="1623" y="1882"/>
                  </a:lnTo>
                  <a:lnTo>
                    <a:pt x="1626" y="1888"/>
                  </a:lnTo>
                  <a:lnTo>
                    <a:pt x="1629" y="1892"/>
                  </a:lnTo>
                  <a:lnTo>
                    <a:pt x="1633" y="1888"/>
                  </a:lnTo>
                  <a:lnTo>
                    <a:pt x="1636" y="1883"/>
                  </a:lnTo>
                  <a:lnTo>
                    <a:pt x="1643" y="1877"/>
                  </a:lnTo>
                  <a:lnTo>
                    <a:pt x="1652" y="1861"/>
                  </a:lnTo>
                  <a:lnTo>
                    <a:pt x="1654" y="1858"/>
                  </a:lnTo>
                  <a:lnTo>
                    <a:pt x="1657" y="1856"/>
                  </a:lnTo>
                  <a:lnTo>
                    <a:pt x="1659" y="1853"/>
                  </a:lnTo>
                  <a:lnTo>
                    <a:pt x="1661" y="1851"/>
                  </a:lnTo>
                  <a:lnTo>
                    <a:pt x="1663" y="1851"/>
                  </a:lnTo>
                  <a:lnTo>
                    <a:pt x="1665" y="1851"/>
                  </a:lnTo>
                  <a:lnTo>
                    <a:pt x="1666" y="1847"/>
                  </a:lnTo>
                  <a:lnTo>
                    <a:pt x="1666" y="1842"/>
                  </a:lnTo>
                  <a:lnTo>
                    <a:pt x="1665" y="1838"/>
                  </a:lnTo>
                  <a:lnTo>
                    <a:pt x="1663" y="1837"/>
                  </a:lnTo>
                  <a:lnTo>
                    <a:pt x="1661" y="1837"/>
                  </a:lnTo>
                  <a:lnTo>
                    <a:pt x="1662" y="1842"/>
                  </a:lnTo>
                  <a:lnTo>
                    <a:pt x="1659" y="1840"/>
                  </a:lnTo>
                  <a:lnTo>
                    <a:pt x="1655" y="1839"/>
                  </a:lnTo>
                  <a:lnTo>
                    <a:pt x="1654" y="1841"/>
                  </a:lnTo>
                  <a:lnTo>
                    <a:pt x="1653" y="1846"/>
                  </a:lnTo>
                  <a:lnTo>
                    <a:pt x="1651" y="1847"/>
                  </a:lnTo>
                  <a:lnTo>
                    <a:pt x="1648" y="1846"/>
                  </a:lnTo>
                  <a:lnTo>
                    <a:pt x="1646" y="1844"/>
                  </a:lnTo>
                  <a:lnTo>
                    <a:pt x="1646" y="1840"/>
                  </a:lnTo>
                  <a:lnTo>
                    <a:pt x="1648" y="1834"/>
                  </a:lnTo>
                  <a:lnTo>
                    <a:pt x="1647" y="1832"/>
                  </a:lnTo>
                  <a:lnTo>
                    <a:pt x="1646" y="1825"/>
                  </a:lnTo>
                  <a:lnTo>
                    <a:pt x="1646" y="1824"/>
                  </a:lnTo>
                  <a:lnTo>
                    <a:pt x="1644" y="1823"/>
                  </a:lnTo>
                  <a:lnTo>
                    <a:pt x="1637" y="1824"/>
                  </a:lnTo>
                  <a:lnTo>
                    <a:pt x="1635" y="1825"/>
                  </a:lnTo>
                  <a:lnTo>
                    <a:pt x="1633" y="1828"/>
                  </a:lnTo>
                  <a:lnTo>
                    <a:pt x="1631" y="1826"/>
                  </a:lnTo>
                  <a:lnTo>
                    <a:pt x="1628" y="1819"/>
                  </a:lnTo>
                  <a:lnTo>
                    <a:pt x="1626" y="1818"/>
                  </a:lnTo>
                  <a:lnTo>
                    <a:pt x="1625" y="1818"/>
                  </a:lnTo>
                  <a:lnTo>
                    <a:pt x="1625" y="1815"/>
                  </a:lnTo>
                  <a:lnTo>
                    <a:pt x="1627" y="1814"/>
                  </a:lnTo>
                  <a:lnTo>
                    <a:pt x="1628" y="1814"/>
                  </a:lnTo>
                  <a:lnTo>
                    <a:pt x="1629" y="1815"/>
                  </a:lnTo>
                  <a:lnTo>
                    <a:pt x="1629" y="1818"/>
                  </a:lnTo>
                  <a:lnTo>
                    <a:pt x="1631" y="1821"/>
                  </a:lnTo>
                  <a:lnTo>
                    <a:pt x="1636" y="1818"/>
                  </a:lnTo>
                  <a:lnTo>
                    <a:pt x="1644" y="1812"/>
                  </a:lnTo>
                  <a:lnTo>
                    <a:pt x="1645" y="1813"/>
                  </a:lnTo>
                  <a:lnTo>
                    <a:pt x="1649" y="1820"/>
                  </a:lnTo>
                  <a:lnTo>
                    <a:pt x="1651" y="1822"/>
                  </a:lnTo>
                  <a:lnTo>
                    <a:pt x="1654" y="1821"/>
                  </a:lnTo>
                  <a:lnTo>
                    <a:pt x="1656" y="1819"/>
                  </a:lnTo>
                  <a:lnTo>
                    <a:pt x="1658" y="1817"/>
                  </a:lnTo>
                  <a:lnTo>
                    <a:pt x="1654" y="1817"/>
                  </a:lnTo>
                  <a:lnTo>
                    <a:pt x="1652" y="1816"/>
                  </a:lnTo>
                  <a:lnTo>
                    <a:pt x="1649" y="1813"/>
                  </a:lnTo>
                  <a:lnTo>
                    <a:pt x="1648" y="1809"/>
                  </a:lnTo>
                  <a:lnTo>
                    <a:pt x="1648" y="1800"/>
                  </a:lnTo>
                  <a:lnTo>
                    <a:pt x="1647" y="1799"/>
                  </a:lnTo>
                  <a:lnTo>
                    <a:pt x="1646" y="1797"/>
                  </a:lnTo>
                  <a:lnTo>
                    <a:pt x="1644" y="1797"/>
                  </a:lnTo>
                  <a:lnTo>
                    <a:pt x="1642" y="1806"/>
                  </a:lnTo>
                  <a:lnTo>
                    <a:pt x="1639" y="1803"/>
                  </a:lnTo>
                  <a:lnTo>
                    <a:pt x="1636" y="1796"/>
                  </a:lnTo>
                  <a:lnTo>
                    <a:pt x="1633" y="1791"/>
                  </a:lnTo>
                  <a:lnTo>
                    <a:pt x="1629" y="1789"/>
                  </a:lnTo>
                  <a:lnTo>
                    <a:pt x="1629" y="1791"/>
                  </a:lnTo>
                  <a:lnTo>
                    <a:pt x="1628" y="1794"/>
                  </a:lnTo>
                  <a:lnTo>
                    <a:pt x="1627" y="1799"/>
                  </a:lnTo>
                  <a:lnTo>
                    <a:pt x="1628" y="1799"/>
                  </a:lnTo>
                  <a:lnTo>
                    <a:pt x="1628" y="1801"/>
                  </a:lnTo>
                  <a:lnTo>
                    <a:pt x="1628" y="1803"/>
                  </a:lnTo>
                  <a:lnTo>
                    <a:pt x="1626" y="1804"/>
                  </a:lnTo>
                  <a:lnTo>
                    <a:pt x="1624" y="1803"/>
                  </a:lnTo>
                  <a:lnTo>
                    <a:pt x="1622" y="1797"/>
                  </a:lnTo>
                  <a:lnTo>
                    <a:pt x="1621" y="1796"/>
                  </a:lnTo>
                  <a:lnTo>
                    <a:pt x="1621" y="1795"/>
                  </a:lnTo>
                  <a:lnTo>
                    <a:pt x="1619" y="1790"/>
                  </a:lnTo>
                  <a:lnTo>
                    <a:pt x="1619" y="1789"/>
                  </a:lnTo>
                  <a:lnTo>
                    <a:pt x="1617" y="1787"/>
                  </a:lnTo>
                  <a:lnTo>
                    <a:pt x="1615" y="1786"/>
                  </a:lnTo>
                  <a:lnTo>
                    <a:pt x="1612" y="1786"/>
                  </a:lnTo>
                  <a:lnTo>
                    <a:pt x="1609" y="1784"/>
                  </a:lnTo>
                  <a:lnTo>
                    <a:pt x="1607" y="1780"/>
                  </a:lnTo>
                  <a:lnTo>
                    <a:pt x="1607" y="1777"/>
                  </a:lnTo>
                  <a:lnTo>
                    <a:pt x="1610" y="1776"/>
                  </a:lnTo>
                  <a:lnTo>
                    <a:pt x="1607" y="1770"/>
                  </a:lnTo>
                  <a:lnTo>
                    <a:pt x="1602" y="1768"/>
                  </a:lnTo>
                  <a:lnTo>
                    <a:pt x="1597" y="1767"/>
                  </a:lnTo>
                  <a:lnTo>
                    <a:pt x="1592" y="1766"/>
                  </a:lnTo>
                  <a:lnTo>
                    <a:pt x="1590" y="1762"/>
                  </a:lnTo>
                  <a:lnTo>
                    <a:pt x="1588" y="1756"/>
                  </a:lnTo>
                  <a:lnTo>
                    <a:pt x="1587" y="1749"/>
                  </a:lnTo>
                  <a:lnTo>
                    <a:pt x="1589" y="1745"/>
                  </a:lnTo>
                  <a:lnTo>
                    <a:pt x="1593" y="1743"/>
                  </a:lnTo>
                  <a:lnTo>
                    <a:pt x="1596" y="1747"/>
                  </a:lnTo>
                  <a:lnTo>
                    <a:pt x="1599" y="1753"/>
                  </a:lnTo>
                  <a:lnTo>
                    <a:pt x="1603" y="1756"/>
                  </a:lnTo>
                  <a:lnTo>
                    <a:pt x="1607" y="1758"/>
                  </a:lnTo>
                  <a:lnTo>
                    <a:pt x="1614" y="1766"/>
                  </a:lnTo>
                  <a:lnTo>
                    <a:pt x="1619" y="1768"/>
                  </a:lnTo>
                  <a:lnTo>
                    <a:pt x="1619" y="1766"/>
                  </a:lnTo>
                  <a:lnTo>
                    <a:pt x="1616" y="1763"/>
                  </a:lnTo>
                  <a:lnTo>
                    <a:pt x="1616" y="1760"/>
                  </a:lnTo>
                  <a:lnTo>
                    <a:pt x="1617" y="1758"/>
                  </a:lnTo>
                  <a:lnTo>
                    <a:pt x="1619" y="1758"/>
                  </a:lnTo>
                  <a:lnTo>
                    <a:pt x="1619" y="1756"/>
                  </a:lnTo>
                  <a:lnTo>
                    <a:pt x="1612" y="1749"/>
                  </a:lnTo>
                  <a:lnTo>
                    <a:pt x="1609" y="1744"/>
                  </a:lnTo>
                  <a:lnTo>
                    <a:pt x="1606" y="1738"/>
                  </a:lnTo>
                  <a:lnTo>
                    <a:pt x="1610" y="1736"/>
                  </a:lnTo>
                  <a:lnTo>
                    <a:pt x="1618" y="1737"/>
                  </a:lnTo>
                  <a:lnTo>
                    <a:pt x="1619" y="1735"/>
                  </a:lnTo>
                  <a:lnTo>
                    <a:pt x="1619" y="1730"/>
                  </a:lnTo>
                  <a:lnTo>
                    <a:pt x="1615" y="1727"/>
                  </a:lnTo>
                  <a:lnTo>
                    <a:pt x="1605" y="1722"/>
                  </a:lnTo>
                  <a:lnTo>
                    <a:pt x="1595" y="1725"/>
                  </a:lnTo>
                  <a:lnTo>
                    <a:pt x="1588" y="1725"/>
                  </a:lnTo>
                  <a:lnTo>
                    <a:pt x="1585" y="1724"/>
                  </a:lnTo>
                  <a:lnTo>
                    <a:pt x="1583" y="1720"/>
                  </a:lnTo>
                  <a:lnTo>
                    <a:pt x="1583" y="1719"/>
                  </a:lnTo>
                  <a:lnTo>
                    <a:pt x="1584" y="1715"/>
                  </a:lnTo>
                  <a:lnTo>
                    <a:pt x="1579" y="1713"/>
                  </a:lnTo>
                  <a:lnTo>
                    <a:pt x="1577" y="1711"/>
                  </a:lnTo>
                  <a:lnTo>
                    <a:pt x="1576" y="1706"/>
                  </a:lnTo>
                  <a:lnTo>
                    <a:pt x="1577" y="1701"/>
                  </a:lnTo>
                  <a:lnTo>
                    <a:pt x="1579" y="1697"/>
                  </a:lnTo>
                  <a:lnTo>
                    <a:pt x="1581" y="1696"/>
                  </a:lnTo>
                  <a:lnTo>
                    <a:pt x="1584" y="1697"/>
                  </a:lnTo>
                  <a:lnTo>
                    <a:pt x="1584" y="1700"/>
                  </a:lnTo>
                  <a:lnTo>
                    <a:pt x="1585" y="1704"/>
                  </a:lnTo>
                  <a:lnTo>
                    <a:pt x="1585" y="1708"/>
                  </a:lnTo>
                  <a:lnTo>
                    <a:pt x="1588" y="1710"/>
                  </a:lnTo>
                  <a:lnTo>
                    <a:pt x="1591" y="1710"/>
                  </a:lnTo>
                  <a:lnTo>
                    <a:pt x="1596" y="1707"/>
                  </a:lnTo>
                  <a:lnTo>
                    <a:pt x="1599" y="1705"/>
                  </a:lnTo>
                  <a:lnTo>
                    <a:pt x="1597" y="1698"/>
                  </a:lnTo>
                  <a:lnTo>
                    <a:pt x="1601" y="1696"/>
                  </a:lnTo>
                  <a:lnTo>
                    <a:pt x="1604" y="1691"/>
                  </a:lnTo>
                  <a:lnTo>
                    <a:pt x="1602" y="1681"/>
                  </a:lnTo>
                  <a:lnTo>
                    <a:pt x="1604" y="1681"/>
                  </a:lnTo>
                  <a:lnTo>
                    <a:pt x="1606" y="1678"/>
                  </a:lnTo>
                  <a:lnTo>
                    <a:pt x="1608" y="1676"/>
                  </a:lnTo>
                  <a:lnTo>
                    <a:pt x="1609" y="1673"/>
                  </a:lnTo>
                  <a:lnTo>
                    <a:pt x="1610" y="1669"/>
                  </a:lnTo>
                  <a:lnTo>
                    <a:pt x="1609" y="1666"/>
                  </a:lnTo>
                  <a:lnTo>
                    <a:pt x="1608" y="1664"/>
                  </a:lnTo>
                  <a:lnTo>
                    <a:pt x="1609" y="1661"/>
                  </a:lnTo>
                  <a:lnTo>
                    <a:pt x="1611" y="1660"/>
                  </a:lnTo>
                  <a:lnTo>
                    <a:pt x="1630" y="1658"/>
                  </a:lnTo>
                  <a:lnTo>
                    <a:pt x="1633" y="1656"/>
                  </a:lnTo>
                  <a:lnTo>
                    <a:pt x="1630" y="1652"/>
                  </a:lnTo>
                  <a:lnTo>
                    <a:pt x="1631" y="1648"/>
                  </a:lnTo>
                  <a:lnTo>
                    <a:pt x="1633" y="1646"/>
                  </a:lnTo>
                  <a:lnTo>
                    <a:pt x="1636" y="1643"/>
                  </a:lnTo>
                  <a:lnTo>
                    <a:pt x="1636" y="1642"/>
                  </a:lnTo>
                  <a:lnTo>
                    <a:pt x="1637" y="1640"/>
                  </a:lnTo>
                  <a:lnTo>
                    <a:pt x="1637" y="1639"/>
                  </a:lnTo>
                  <a:lnTo>
                    <a:pt x="1637" y="1638"/>
                  </a:lnTo>
                  <a:lnTo>
                    <a:pt x="1639" y="1638"/>
                  </a:lnTo>
                  <a:lnTo>
                    <a:pt x="1642" y="1640"/>
                  </a:lnTo>
                  <a:lnTo>
                    <a:pt x="1644" y="1641"/>
                  </a:lnTo>
                  <a:lnTo>
                    <a:pt x="1645" y="1640"/>
                  </a:lnTo>
                  <a:lnTo>
                    <a:pt x="1650" y="1635"/>
                  </a:lnTo>
                  <a:lnTo>
                    <a:pt x="1649" y="1634"/>
                  </a:lnTo>
                  <a:lnTo>
                    <a:pt x="1646" y="1628"/>
                  </a:lnTo>
                  <a:lnTo>
                    <a:pt x="1644" y="1623"/>
                  </a:lnTo>
                  <a:lnTo>
                    <a:pt x="1646" y="1620"/>
                  </a:lnTo>
                  <a:lnTo>
                    <a:pt x="1659" y="1620"/>
                  </a:lnTo>
                  <a:lnTo>
                    <a:pt x="1663" y="1618"/>
                  </a:lnTo>
                  <a:lnTo>
                    <a:pt x="1660" y="1615"/>
                  </a:lnTo>
                  <a:lnTo>
                    <a:pt x="1657" y="1614"/>
                  </a:lnTo>
                  <a:lnTo>
                    <a:pt x="1657" y="1614"/>
                  </a:lnTo>
                  <a:lnTo>
                    <a:pt x="1657" y="1614"/>
                  </a:lnTo>
                  <a:lnTo>
                    <a:pt x="1656" y="1612"/>
                  </a:lnTo>
                  <a:lnTo>
                    <a:pt x="1659" y="1601"/>
                  </a:lnTo>
                  <a:lnTo>
                    <a:pt x="1659" y="1598"/>
                  </a:lnTo>
                  <a:lnTo>
                    <a:pt x="1659" y="1594"/>
                  </a:lnTo>
                  <a:lnTo>
                    <a:pt x="1656" y="1592"/>
                  </a:lnTo>
                  <a:lnTo>
                    <a:pt x="1665" y="1591"/>
                  </a:lnTo>
                  <a:lnTo>
                    <a:pt x="1668" y="1588"/>
                  </a:lnTo>
                  <a:lnTo>
                    <a:pt x="1667" y="1580"/>
                  </a:lnTo>
                  <a:lnTo>
                    <a:pt x="1655" y="1556"/>
                  </a:lnTo>
                  <a:lnTo>
                    <a:pt x="1647" y="1545"/>
                  </a:lnTo>
                  <a:lnTo>
                    <a:pt x="1637" y="1527"/>
                  </a:lnTo>
                  <a:lnTo>
                    <a:pt x="1632" y="1522"/>
                  </a:lnTo>
                  <a:lnTo>
                    <a:pt x="1612" y="1516"/>
                  </a:lnTo>
                  <a:lnTo>
                    <a:pt x="1614" y="1511"/>
                  </a:lnTo>
                  <a:lnTo>
                    <a:pt x="1621" y="1511"/>
                  </a:lnTo>
                  <a:lnTo>
                    <a:pt x="1623" y="1506"/>
                  </a:lnTo>
                  <a:lnTo>
                    <a:pt x="1622" y="1505"/>
                  </a:lnTo>
                  <a:lnTo>
                    <a:pt x="1620" y="1504"/>
                  </a:lnTo>
                  <a:lnTo>
                    <a:pt x="1619" y="1503"/>
                  </a:lnTo>
                  <a:lnTo>
                    <a:pt x="1625" y="1503"/>
                  </a:lnTo>
                  <a:lnTo>
                    <a:pt x="1630" y="1509"/>
                  </a:lnTo>
                  <a:lnTo>
                    <a:pt x="1635" y="1518"/>
                  </a:lnTo>
                  <a:lnTo>
                    <a:pt x="1639" y="1522"/>
                  </a:lnTo>
                  <a:lnTo>
                    <a:pt x="1643" y="1523"/>
                  </a:lnTo>
                  <a:lnTo>
                    <a:pt x="1645" y="1525"/>
                  </a:lnTo>
                  <a:lnTo>
                    <a:pt x="1648" y="1528"/>
                  </a:lnTo>
                  <a:lnTo>
                    <a:pt x="1650" y="1532"/>
                  </a:lnTo>
                  <a:lnTo>
                    <a:pt x="1652" y="1537"/>
                  </a:lnTo>
                  <a:lnTo>
                    <a:pt x="1655" y="1546"/>
                  </a:lnTo>
                  <a:lnTo>
                    <a:pt x="1656" y="1550"/>
                  </a:lnTo>
                  <a:lnTo>
                    <a:pt x="1662" y="1554"/>
                  </a:lnTo>
                  <a:lnTo>
                    <a:pt x="1669" y="1553"/>
                  </a:lnTo>
                  <a:lnTo>
                    <a:pt x="1676" y="1548"/>
                  </a:lnTo>
                  <a:lnTo>
                    <a:pt x="1681" y="1541"/>
                  </a:lnTo>
                  <a:lnTo>
                    <a:pt x="1681" y="1536"/>
                  </a:lnTo>
                  <a:lnTo>
                    <a:pt x="1679" y="1531"/>
                  </a:lnTo>
                  <a:lnTo>
                    <a:pt x="1674" y="1527"/>
                  </a:lnTo>
                  <a:lnTo>
                    <a:pt x="1669" y="1520"/>
                  </a:lnTo>
                  <a:lnTo>
                    <a:pt x="1666" y="1517"/>
                  </a:lnTo>
                  <a:lnTo>
                    <a:pt x="1663" y="1516"/>
                  </a:lnTo>
                  <a:lnTo>
                    <a:pt x="1663" y="1522"/>
                  </a:lnTo>
                  <a:lnTo>
                    <a:pt x="1660" y="1524"/>
                  </a:lnTo>
                  <a:lnTo>
                    <a:pt x="1656" y="1523"/>
                  </a:lnTo>
                  <a:lnTo>
                    <a:pt x="1654" y="1520"/>
                  </a:lnTo>
                  <a:lnTo>
                    <a:pt x="1651" y="1516"/>
                  </a:lnTo>
                  <a:lnTo>
                    <a:pt x="1648" y="1512"/>
                  </a:lnTo>
                  <a:lnTo>
                    <a:pt x="1644" y="1510"/>
                  </a:lnTo>
                  <a:lnTo>
                    <a:pt x="1641" y="1509"/>
                  </a:lnTo>
                  <a:lnTo>
                    <a:pt x="1648" y="1503"/>
                  </a:lnTo>
                  <a:lnTo>
                    <a:pt x="1647" y="1503"/>
                  </a:lnTo>
                  <a:lnTo>
                    <a:pt x="1646" y="1501"/>
                  </a:lnTo>
                  <a:lnTo>
                    <a:pt x="1644" y="1501"/>
                  </a:lnTo>
                  <a:lnTo>
                    <a:pt x="1648" y="1495"/>
                  </a:lnTo>
                  <a:lnTo>
                    <a:pt x="1654" y="1494"/>
                  </a:lnTo>
                  <a:lnTo>
                    <a:pt x="1665" y="1496"/>
                  </a:lnTo>
                  <a:lnTo>
                    <a:pt x="1665" y="1493"/>
                  </a:lnTo>
                  <a:lnTo>
                    <a:pt x="1663" y="1493"/>
                  </a:lnTo>
                  <a:lnTo>
                    <a:pt x="1656" y="1490"/>
                  </a:lnTo>
                  <a:lnTo>
                    <a:pt x="1656" y="1488"/>
                  </a:lnTo>
                  <a:lnTo>
                    <a:pt x="1663" y="1485"/>
                  </a:lnTo>
                  <a:lnTo>
                    <a:pt x="1667" y="1485"/>
                  </a:lnTo>
                  <a:lnTo>
                    <a:pt x="1670" y="1492"/>
                  </a:lnTo>
                  <a:lnTo>
                    <a:pt x="1674" y="1493"/>
                  </a:lnTo>
                  <a:lnTo>
                    <a:pt x="1682" y="1493"/>
                  </a:lnTo>
                  <a:lnTo>
                    <a:pt x="1679" y="1488"/>
                  </a:lnTo>
                  <a:lnTo>
                    <a:pt x="1682" y="1487"/>
                  </a:lnTo>
                  <a:lnTo>
                    <a:pt x="1695" y="1492"/>
                  </a:lnTo>
                  <a:lnTo>
                    <a:pt x="1700" y="1492"/>
                  </a:lnTo>
                  <a:lnTo>
                    <a:pt x="1705" y="1489"/>
                  </a:lnTo>
                  <a:lnTo>
                    <a:pt x="1710" y="1485"/>
                  </a:lnTo>
                  <a:lnTo>
                    <a:pt x="1711" y="1489"/>
                  </a:lnTo>
                  <a:lnTo>
                    <a:pt x="1714" y="1491"/>
                  </a:lnTo>
                  <a:lnTo>
                    <a:pt x="1717" y="1491"/>
                  </a:lnTo>
                  <a:lnTo>
                    <a:pt x="1720" y="1488"/>
                  </a:lnTo>
                  <a:lnTo>
                    <a:pt x="1720" y="1484"/>
                  </a:lnTo>
                  <a:lnTo>
                    <a:pt x="1718" y="1481"/>
                  </a:lnTo>
                  <a:lnTo>
                    <a:pt x="1718" y="1476"/>
                  </a:lnTo>
                  <a:lnTo>
                    <a:pt x="1720" y="1472"/>
                  </a:lnTo>
                  <a:lnTo>
                    <a:pt x="1723" y="1479"/>
                  </a:lnTo>
                  <a:lnTo>
                    <a:pt x="1726" y="1482"/>
                  </a:lnTo>
                  <a:lnTo>
                    <a:pt x="1728" y="1482"/>
                  </a:lnTo>
                  <a:lnTo>
                    <a:pt x="1731" y="1480"/>
                  </a:lnTo>
                  <a:lnTo>
                    <a:pt x="1732" y="1476"/>
                  </a:lnTo>
                  <a:lnTo>
                    <a:pt x="1732" y="1472"/>
                  </a:lnTo>
                  <a:lnTo>
                    <a:pt x="1734" y="1467"/>
                  </a:lnTo>
                  <a:lnTo>
                    <a:pt x="1729" y="1463"/>
                  </a:lnTo>
                  <a:lnTo>
                    <a:pt x="1720" y="1451"/>
                  </a:lnTo>
                  <a:lnTo>
                    <a:pt x="1716" y="1451"/>
                  </a:lnTo>
                  <a:lnTo>
                    <a:pt x="1717" y="1452"/>
                  </a:lnTo>
                  <a:lnTo>
                    <a:pt x="1721" y="1456"/>
                  </a:lnTo>
                  <a:lnTo>
                    <a:pt x="1717" y="1458"/>
                  </a:lnTo>
                  <a:lnTo>
                    <a:pt x="1713" y="1454"/>
                  </a:lnTo>
                  <a:lnTo>
                    <a:pt x="1706" y="1441"/>
                  </a:lnTo>
                  <a:lnTo>
                    <a:pt x="1709" y="1440"/>
                  </a:lnTo>
                  <a:lnTo>
                    <a:pt x="1731" y="1447"/>
                  </a:lnTo>
                  <a:lnTo>
                    <a:pt x="1735" y="1445"/>
                  </a:lnTo>
                  <a:lnTo>
                    <a:pt x="1736" y="1445"/>
                  </a:lnTo>
                  <a:lnTo>
                    <a:pt x="1738" y="1447"/>
                  </a:lnTo>
                  <a:lnTo>
                    <a:pt x="1739" y="1449"/>
                  </a:lnTo>
                  <a:lnTo>
                    <a:pt x="1741" y="1447"/>
                  </a:lnTo>
                  <a:lnTo>
                    <a:pt x="1742" y="1444"/>
                  </a:lnTo>
                  <a:lnTo>
                    <a:pt x="1742" y="1443"/>
                  </a:lnTo>
                  <a:lnTo>
                    <a:pt x="1742" y="1442"/>
                  </a:lnTo>
                  <a:lnTo>
                    <a:pt x="1743" y="1441"/>
                  </a:lnTo>
                  <a:lnTo>
                    <a:pt x="1748" y="1439"/>
                  </a:lnTo>
                  <a:lnTo>
                    <a:pt x="1757" y="1439"/>
                  </a:lnTo>
                  <a:lnTo>
                    <a:pt x="1761" y="1435"/>
                  </a:lnTo>
                  <a:lnTo>
                    <a:pt x="1758" y="1436"/>
                  </a:lnTo>
                  <a:lnTo>
                    <a:pt x="1756" y="1434"/>
                  </a:lnTo>
                  <a:lnTo>
                    <a:pt x="1752" y="1427"/>
                  </a:lnTo>
                  <a:lnTo>
                    <a:pt x="1750" y="1424"/>
                  </a:lnTo>
                  <a:lnTo>
                    <a:pt x="1747" y="1422"/>
                  </a:lnTo>
                  <a:lnTo>
                    <a:pt x="1737" y="1417"/>
                  </a:lnTo>
                  <a:lnTo>
                    <a:pt x="1724" y="1404"/>
                  </a:lnTo>
                  <a:lnTo>
                    <a:pt x="1705" y="1393"/>
                  </a:lnTo>
                  <a:lnTo>
                    <a:pt x="1695" y="1383"/>
                  </a:lnTo>
                  <a:lnTo>
                    <a:pt x="1691" y="1367"/>
                  </a:lnTo>
                  <a:lnTo>
                    <a:pt x="1693" y="1370"/>
                  </a:lnTo>
                  <a:lnTo>
                    <a:pt x="1698" y="1373"/>
                  </a:lnTo>
                  <a:lnTo>
                    <a:pt x="1701" y="1376"/>
                  </a:lnTo>
                  <a:lnTo>
                    <a:pt x="1704" y="1383"/>
                  </a:lnTo>
                  <a:lnTo>
                    <a:pt x="1705" y="1386"/>
                  </a:lnTo>
                  <a:lnTo>
                    <a:pt x="1708" y="1388"/>
                  </a:lnTo>
                  <a:lnTo>
                    <a:pt x="1717" y="1392"/>
                  </a:lnTo>
                  <a:lnTo>
                    <a:pt x="1723" y="1398"/>
                  </a:lnTo>
                  <a:lnTo>
                    <a:pt x="1730" y="1400"/>
                  </a:lnTo>
                  <a:lnTo>
                    <a:pt x="1732" y="1403"/>
                  </a:lnTo>
                  <a:lnTo>
                    <a:pt x="1737" y="1409"/>
                  </a:lnTo>
                  <a:lnTo>
                    <a:pt x="1749" y="1414"/>
                  </a:lnTo>
                  <a:lnTo>
                    <a:pt x="1765" y="1427"/>
                  </a:lnTo>
                  <a:lnTo>
                    <a:pt x="1770" y="1428"/>
                  </a:lnTo>
                  <a:lnTo>
                    <a:pt x="1769" y="1422"/>
                  </a:lnTo>
                  <a:lnTo>
                    <a:pt x="1771" y="1420"/>
                  </a:lnTo>
                  <a:lnTo>
                    <a:pt x="1772" y="1421"/>
                  </a:lnTo>
                  <a:lnTo>
                    <a:pt x="1776" y="1425"/>
                  </a:lnTo>
                  <a:lnTo>
                    <a:pt x="1780" y="1427"/>
                  </a:lnTo>
                  <a:lnTo>
                    <a:pt x="1784" y="1427"/>
                  </a:lnTo>
                  <a:lnTo>
                    <a:pt x="1787" y="1430"/>
                  </a:lnTo>
                  <a:lnTo>
                    <a:pt x="1790" y="1435"/>
                  </a:lnTo>
                  <a:lnTo>
                    <a:pt x="1793" y="1438"/>
                  </a:lnTo>
                  <a:lnTo>
                    <a:pt x="1797" y="1435"/>
                  </a:lnTo>
                  <a:lnTo>
                    <a:pt x="1795" y="1428"/>
                  </a:lnTo>
                  <a:lnTo>
                    <a:pt x="1794" y="1424"/>
                  </a:lnTo>
                  <a:lnTo>
                    <a:pt x="1793" y="1422"/>
                  </a:lnTo>
                  <a:lnTo>
                    <a:pt x="1787" y="1420"/>
                  </a:lnTo>
                  <a:lnTo>
                    <a:pt x="1783" y="1417"/>
                  </a:lnTo>
                  <a:lnTo>
                    <a:pt x="1782" y="1414"/>
                  </a:lnTo>
                  <a:lnTo>
                    <a:pt x="1783" y="1411"/>
                  </a:lnTo>
                  <a:lnTo>
                    <a:pt x="1790" y="1405"/>
                  </a:lnTo>
                  <a:lnTo>
                    <a:pt x="1789" y="1403"/>
                  </a:lnTo>
                  <a:lnTo>
                    <a:pt x="1781" y="1398"/>
                  </a:lnTo>
                  <a:lnTo>
                    <a:pt x="1782" y="1396"/>
                  </a:lnTo>
                  <a:lnTo>
                    <a:pt x="1780" y="1393"/>
                  </a:lnTo>
                  <a:lnTo>
                    <a:pt x="1778" y="1389"/>
                  </a:lnTo>
                  <a:lnTo>
                    <a:pt x="1775" y="1388"/>
                  </a:lnTo>
                  <a:lnTo>
                    <a:pt x="1774" y="1391"/>
                  </a:lnTo>
                  <a:lnTo>
                    <a:pt x="1775" y="1394"/>
                  </a:lnTo>
                  <a:lnTo>
                    <a:pt x="1779" y="1400"/>
                  </a:lnTo>
                  <a:lnTo>
                    <a:pt x="1779" y="1404"/>
                  </a:lnTo>
                  <a:lnTo>
                    <a:pt x="1776" y="1411"/>
                  </a:lnTo>
                  <a:lnTo>
                    <a:pt x="1771" y="1411"/>
                  </a:lnTo>
                  <a:lnTo>
                    <a:pt x="1759" y="1407"/>
                  </a:lnTo>
                  <a:lnTo>
                    <a:pt x="1770" y="1406"/>
                  </a:lnTo>
                  <a:lnTo>
                    <a:pt x="1774" y="1404"/>
                  </a:lnTo>
                  <a:lnTo>
                    <a:pt x="1772" y="1396"/>
                  </a:lnTo>
                  <a:lnTo>
                    <a:pt x="1771" y="1393"/>
                  </a:lnTo>
                  <a:lnTo>
                    <a:pt x="1770" y="1391"/>
                  </a:lnTo>
                  <a:lnTo>
                    <a:pt x="1771" y="1388"/>
                  </a:lnTo>
                  <a:lnTo>
                    <a:pt x="1771" y="1385"/>
                  </a:lnTo>
                  <a:lnTo>
                    <a:pt x="1771" y="1382"/>
                  </a:lnTo>
                  <a:lnTo>
                    <a:pt x="1770" y="1380"/>
                  </a:lnTo>
                  <a:lnTo>
                    <a:pt x="1773" y="1377"/>
                  </a:lnTo>
                  <a:lnTo>
                    <a:pt x="1778" y="1377"/>
                  </a:lnTo>
                  <a:lnTo>
                    <a:pt x="1781" y="1382"/>
                  </a:lnTo>
                  <a:lnTo>
                    <a:pt x="1783" y="1391"/>
                  </a:lnTo>
                  <a:lnTo>
                    <a:pt x="1785" y="1389"/>
                  </a:lnTo>
                  <a:lnTo>
                    <a:pt x="1786" y="1388"/>
                  </a:lnTo>
                  <a:lnTo>
                    <a:pt x="1788" y="1388"/>
                  </a:lnTo>
                  <a:lnTo>
                    <a:pt x="1790" y="1388"/>
                  </a:lnTo>
                  <a:lnTo>
                    <a:pt x="1789" y="1377"/>
                  </a:lnTo>
                  <a:lnTo>
                    <a:pt x="1786" y="1371"/>
                  </a:lnTo>
                  <a:lnTo>
                    <a:pt x="1783" y="1368"/>
                  </a:lnTo>
                  <a:lnTo>
                    <a:pt x="1772" y="1366"/>
                  </a:lnTo>
                  <a:lnTo>
                    <a:pt x="1768" y="1364"/>
                  </a:lnTo>
                  <a:lnTo>
                    <a:pt x="1765" y="1360"/>
                  </a:lnTo>
                  <a:lnTo>
                    <a:pt x="1762" y="1354"/>
                  </a:lnTo>
                  <a:lnTo>
                    <a:pt x="1768" y="1354"/>
                  </a:lnTo>
                  <a:lnTo>
                    <a:pt x="1774" y="1361"/>
                  </a:lnTo>
                  <a:lnTo>
                    <a:pt x="1781" y="1364"/>
                  </a:lnTo>
                  <a:lnTo>
                    <a:pt x="1786" y="1354"/>
                  </a:lnTo>
                  <a:lnTo>
                    <a:pt x="1784" y="1350"/>
                  </a:lnTo>
                  <a:lnTo>
                    <a:pt x="1781" y="1341"/>
                  </a:lnTo>
                  <a:lnTo>
                    <a:pt x="1779" y="1338"/>
                  </a:lnTo>
                  <a:lnTo>
                    <a:pt x="1785" y="1340"/>
                  </a:lnTo>
                  <a:lnTo>
                    <a:pt x="1787" y="1339"/>
                  </a:lnTo>
                  <a:lnTo>
                    <a:pt x="1787" y="1335"/>
                  </a:lnTo>
                  <a:lnTo>
                    <a:pt x="1781" y="1325"/>
                  </a:lnTo>
                  <a:lnTo>
                    <a:pt x="1787" y="1322"/>
                  </a:lnTo>
                  <a:lnTo>
                    <a:pt x="1787" y="1315"/>
                  </a:lnTo>
                  <a:lnTo>
                    <a:pt x="1793" y="1314"/>
                  </a:lnTo>
                  <a:lnTo>
                    <a:pt x="1805" y="1317"/>
                  </a:lnTo>
                  <a:lnTo>
                    <a:pt x="1804" y="1321"/>
                  </a:lnTo>
                  <a:lnTo>
                    <a:pt x="1803" y="1322"/>
                  </a:lnTo>
                  <a:lnTo>
                    <a:pt x="1809" y="1327"/>
                  </a:lnTo>
                  <a:lnTo>
                    <a:pt x="1811" y="1330"/>
                  </a:lnTo>
                  <a:lnTo>
                    <a:pt x="1813" y="1335"/>
                  </a:lnTo>
                  <a:lnTo>
                    <a:pt x="1812" y="1337"/>
                  </a:lnTo>
                  <a:lnTo>
                    <a:pt x="1810" y="1341"/>
                  </a:lnTo>
                  <a:lnTo>
                    <a:pt x="1809" y="1345"/>
                  </a:lnTo>
                  <a:lnTo>
                    <a:pt x="1810" y="1349"/>
                  </a:lnTo>
                  <a:lnTo>
                    <a:pt x="1812" y="1348"/>
                  </a:lnTo>
                  <a:lnTo>
                    <a:pt x="1817" y="1342"/>
                  </a:lnTo>
                  <a:lnTo>
                    <a:pt x="1819" y="1340"/>
                  </a:lnTo>
                  <a:lnTo>
                    <a:pt x="1829" y="1343"/>
                  </a:lnTo>
                  <a:lnTo>
                    <a:pt x="1832" y="1347"/>
                  </a:lnTo>
                  <a:lnTo>
                    <a:pt x="1832" y="1356"/>
                  </a:lnTo>
                  <a:lnTo>
                    <a:pt x="1834" y="1355"/>
                  </a:lnTo>
                  <a:lnTo>
                    <a:pt x="1836" y="1352"/>
                  </a:lnTo>
                  <a:lnTo>
                    <a:pt x="1838" y="1348"/>
                  </a:lnTo>
                  <a:lnTo>
                    <a:pt x="1839" y="1343"/>
                  </a:lnTo>
                  <a:lnTo>
                    <a:pt x="1840" y="1337"/>
                  </a:lnTo>
                  <a:lnTo>
                    <a:pt x="1839" y="1333"/>
                  </a:lnTo>
                  <a:lnTo>
                    <a:pt x="1839" y="1329"/>
                  </a:lnTo>
                  <a:lnTo>
                    <a:pt x="1838" y="1325"/>
                  </a:lnTo>
                  <a:lnTo>
                    <a:pt x="1838" y="1315"/>
                  </a:lnTo>
                  <a:lnTo>
                    <a:pt x="1837" y="1311"/>
                  </a:lnTo>
                  <a:lnTo>
                    <a:pt x="1835" y="1307"/>
                  </a:lnTo>
                  <a:lnTo>
                    <a:pt x="1831" y="1302"/>
                  </a:lnTo>
                  <a:lnTo>
                    <a:pt x="1830" y="1298"/>
                  </a:lnTo>
                  <a:lnTo>
                    <a:pt x="1832" y="1297"/>
                  </a:lnTo>
                  <a:lnTo>
                    <a:pt x="1835" y="1298"/>
                  </a:lnTo>
                  <a:lnTo>
                    <a:pt x="1853" y="1314"/>
                  </a:lnTo>
                  <a:lnTo>
                    <a:pt x="1857" y="1320"/>
                  </a:lnTo>
                  <a:lnTo>
                    <a:pt x="1862" y="1336"/>
                  </a:lnTo>
                  <a:lnTo>
                    <a:pt x="1865" y="1340"/>
                  </a:lnTo>
                  <a:lnTo>
                    <a:pt x="1868" y="1341"/>
                  </a:lnTo>
                  <a:lnTo>
                    <a:pt x="1872" y="1339"/>
                  </a:lnTo>
                  <a:lnTo>
                    <a:pt x="1874" y="1340"/>
                  </a:lnTo>
                  <a:lnTo>
                    <a:pt x="1877" y="1347"/>
                  </a:lnTo>
                  <a:lnTo>
                    <a:pt x="1878" y="1348"/>
                  </a:lnTo>
                  <a:lnTo>
                    <a:pt x="1886" y="1353"/>
                  </a:lnTo>
                  <a:lnTo>
                    <a:pt x="1895" y="1354"/>
                  </a:lnTo>
                  <a:lnTo>
                    <a:pt x="1897" y="1356"/>
                  </a:lnTo>
                  <a:lnTo>
                    <a:pt x="1901" y="1367"/>
                  </a:lnTo>
                  <a:lnTo>
                    <a:pt x="1900" y="1374"/>
                  </a:lnTo>
                  <a:lnTo>
                    <a:pt x="1904" y="1376"/>
                  </a:lnTo>
                  <a:lnTo>
                    <a:pt x="1908" y="1372"/>
                  </a:lnTo>
                  <a:lnTo>
                    <a:pt x="1908" y="1364"/>
                  </a:lnTo>
                  <a:lnTo>
                    <a:pt x="1911" y="1360"/>
                  </a:lnTo>
                  <a:lnTo>
                    <a:pt x="1913" y="1358"/>
                  </a:lnTo>
                  <a:lnTo>
                    <a:pt x="1923" y="1353"/>
                  </a:lnTo>
                  <a:lnTo>
                    <a:pt x="1925" y="1351"/>
                  </a:lnTo>
                  <a:lnTo>
                    <a:pt x="1920" y="1346"/>
                  </a:lnTo>
                  <a:lnTo>
                    <a:pt x="1918" y="1343"/>
                  </a:lnTo>
                  <a:lnTo>
                    <a:pt x="1917" y="1338"/>
                  </a:lnTo>
                  <a:lnTo>
                    <a:pt x="1917" y="1331"/>
                  </a:lnTo>
                  <a:lnTo>
                    <a:pt x="1918" y="1328"/>
                  </a:lnTo>
                  <a:lnTo>
                    <a:pt x="1921" y="1328"/>
                  </a:lnTo>
                  <a:lnTo>
                    <a:pt x="1924" y="1330"/>
                  </a:lnTo>
                  <a:lnTo>
                    <a:pt x="1930" y="1338"/>
                  </a:lnTo>
                  <a:lnTo>
                    <a:pt x="1933" y="1340"/>
                  </a:lnTo>
                  <a:lnTo>
                    <a:pt x="1937" y="1340"/>
                  </a:lnTo>
                  <a:lnTo>
                    <a:pt x="1939" y="1338"/>
                  </a:lnTo>
                  <a:lnTo>
                    <a:pt x="1941" y="1334"/>
                  </a:lnTo>
                  <a:lnTo>
                    <a:pt x="1943" y="1330"/>
                  </a:lnTo>
                  <a:lnTo>
                    <a:pt x="1947" y="1330"/>
                  </a:lnTo>
                  <a:lnTo>
                    <a:pt x="1946" y="1335"/>
                  </a:lnTo>
                  <a:lnTo>
                    <a:pt x="1947" y="1343"/>
                  </a:lnTo>
                  <a:lnTo>
                    <a:pt x="1949" y="1348"/>
                  </a:lnTo>
                  <a:lnTo>
                    <a:pt x="1951" y="1351"/>
                  </a:lnTo>
                  <a:lnTo>
                    <a:pt x="1954" y="1351"/>
                  </a:lnTo>
                  <a:lnTo>
                    <a:pt x="1956" y="1352"/>
                  </a:lnTo>
                  <a:lnTo>
                    <a:pt x="1956" y="1352"/>
                  </a:lnTo>
                  <a:lnTo>
                    <a:pt x="1957" y="1349"/>
                  </a:lnTo>
                  <a:lnTo>
                    <a:pt x="1957" y="1344"/>
                  </a:lnTo>
                  <a:lnTo>
                    <a:pt x="1957" y="1342"/>
                  </a:lnTo>
                  <a:lnTo>
                    <a:pt x="1956" y="1339"/>
                  </a:lnTo>
                  <a:lnTo>
                    <a:pt x="1954" y="1338"/>
                  </a:lnTo>
                  <a:lnTo>
                    <a:pt x="1956" y="1335"/>
                  </a:lnTo>
                  <a:lnTo>
                    <a:pt x="1957" y="1334"/>
                  </a:lnTo>
                  <a:lnTo>
                    <a:pt x="1958" y="1334"/>
                  </a:lnTo>
                  <a:lnTo>
                    <a:pt x="1959" y="1333"/>
                  </a:lnTo>
                  <a:lnTo>
                    <a:pt x="1960" y="1328"/>
                  </a:lnTo>
                  <a:lnTo>
                    <a:pt x="1960" y="1327"/>
                  </a:lnTo>
                  <a:lnTo>
                    <a:pt x="1962" y="1326"/>
                  </a:lnTo>
                  <a:lnTo>
                    <a:pt x="1964" y="1325"/>
                  </a:lnTo>
                  <a:lnTo>
                    <a:pt x="1965" y="1327"/>
                  </a:lnTo>
                  <a:lnTo>
                    <a:pt x="1964" y="1333"/>
                  </a:lnTo>
                  <a:lnTo>
                    <a:pt x="1971" y="1335"/>
                  </a:lnTo>
                  <a:lnTo>
                    <a:pt x="1984" y="1335"/>
                  </a:lnTo>
                  <a:lnTo>
                    <a:pt x="1985" y="1336"/>
                  </a:lnTo>
                  <a:lnTo>
                    <a:pt x="1985" y="1339"/>
                  </a:lnTo>
                  <a:lnTo>
                    <a:pt x="1986" y="1340"/>
                  </a:lnTo>
                  <a:lnTo>
                    <a:pt x="1988" y="1340"/>
                  </a:lnTo>
                  <a:lnTo>
                    <a:pt x="1991" y="1338"/>
                  </a:lnTo>
                  <a:lnTo>
                    <a:pt x="1995" y="1329"/>
                  </a:lnTo>
                  <a:lnTo>
                    <a:pt x="1997" y="1327"/>
                  </a:lnTo>
                  <a:lnTo>
                    <a:pt x="2005" y="1327"/>
                  </a:lnTo>
                  <a:lnTo>
                    <a:pt x="2008" y="1330"/>
                  </a:lnTo>
                  <a:lnTo>
                    <a:pt x="2010" y="1336"/>
                  </a:lnTo>
                  <a:lnTo>
                    <a:pt x="2011" y="1341"/>
                  </a:lnTo>
                  <a:lnTo>
                    <a:pt x="2015" y="1343"/>
                  </a:lnTo>
                  <a:lnTo>
                    <a:pt x="2023" y="1343"/>
                  </a:lnTo>
                  <a:lnTo>
                    <a:pt x="2025" y="1341"/>
                  </a:lnTo>
                  <a:lnTo>
                    <a:pt x="2026" y="1341"/>
                  </a:lnTo>
                  <a:lnTo>
                    <a:pt x="2026" y="1344"/>
                  </a:lnTo>
                  <a:lnTo>
                    <a:pt x="2027" y="1347"/>
                  </a:lnTo>
                  <a:lnTo>
                    <a:pt x="2028" y="1349"/>
                  </a:lnTo>
                  <a:lnTo>
                    <a:pt x="2030" y="1350"/>
                  </a:lnTo>
                  <a:lnTo>
                    <a:pt x="2032" y="1352"/>
                  </a:lnTo>
                  <a:lnTo>
                    <a:pt x="2033" y="1353"/>
                  </a:lnTo>
                  <a:lnTo>
                    <a:pt x="2035" y="1354"/>
                  </a:lnTo>
                  <a:lnTo>
                    <a:pt x="2036" y="1354"/>
                  </a:lnTo>
                  <a:lnTo>
                    <a:pt x="2037" y="1352"/>
                  </a:lnTo>
                  <a:lnTo>
                    <a:pt x="2039" y="1345"/>
                  </a:lnTo>
                  <a:lnTo>
                    <a:pt x="2040" y="1343"/>
                  </a:lnTo>
                  <a:lnTo>
                    <a:pt x="2043" y="1341"/>
                  </a:lnTo>
                  <a:lnTo>
                    <a:pt x="2051" y="1343"/>
                  </a:lnTo>
                  <a:lnTo>
                    <a:pt x="2055" y="1340"/>
                  </a:lnTo>
                  <a:lnTo>
                    <a:pt x="2053" y="1339"/>
                  </a:lnTo>
                  <a:lnTo>
                    <a:pt x="2053" y="1339"/>
                  </a:lnTo>
                  <a:lnTo>
                    <a:pt x="2052" y="1337"/>
                  </a:lnTo>
                  <a:lnTo>
                    <a:pt x="2051" y="1335"/>
                  </a:lnTo>
                  <a:lnTo>
                    <a:pt x="2063" y="1338"/>
                  </a:lnTo>
                  <a:lnTo>
                    <a:pt x="2069" y="1337"/>
                  </a:lnTo>
                  <a:lnTo>
                    <a:pt x="2072" y="1330"/>
                  </a:lnTo>
                  <a:lnTo>
                    <a:pt x="2072" y="1323"/>
                  </a:lnTo>
                  <a:lnTo>
                    <a:pt x="2066" y="1312"/>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01" name="Freeform 11">
              <a:extLst>
                <a:ext uri="{FF2B5EF4-FFF2-40B4-BE49-F238E27FC236}">
                  <a16:creationId xmlns:a16="http://schemas.microsoft.com/office/drawing/2014/main" id="{26043851-D0A5-4820-8A8A-CD67BA094255}"/>
                </a:ext>
              </a:extLst>
            </p:cNvPr>
            <p:cNvSpPr>
              <a:spLocks noEditPoints="1"/>
            </p:cNvSpPr>
            <p:nvPr/>
          </p:nvSpPr>
          <p:spPr bwMode="gray">
            <a:xfrm>
              <a:off x="7129048" y="5498091"/>
              <a:ext cx="1348104" cy="1103787"/>
            </a:xfrm>
            <a:custGeom>
              <a:avLst/>
              <a:gdLst>
                <a:gd name="T0" fmla="*/ 615 w 2163"/>
                <a:gd name="T1" fmla="*/ 1627 h 1771"/>
                <a:gd name="T2" fmla="*/ 1701 w 2163"/>
                <a:gd name="T3" fmla="*/ 1064 h 1771"/>
                <a:gd name="T4" fmla="*/ 1696 w 2163"/>
                <a:gd name="T5" fmla="*/ 995 h 1771"/>
                <a:gd name="T6" fmla="*/ 1706 w 2163"/>
                <a:gd name="T7" fmla="*/ 1032 h 1771"/>
                <a:gd name="T8" fmla="*/ 1984 w 2163"/>
                <a:gd name="T9" fmla="*/ 830 h 1771"/>
                <a:gd name="T10" fmla="*/ 1892 w 2163"/>
                <a:gd name="T11" fmla="*/ 854 h 1771"/>
                <a:gd name="T12" fmla="*/ 1910 w 2163"/>
                <a:gd name="T13" fmla="*/ 914 h 1771"/>
                <a:gd name="T14" fmla="*/ 2023 w 2163"/>
                <a:gd name="T15" fmla="*/ 877 h 1771"/>
                <a:gd name="T16" fmla="*/ 2128 w 2163"/>
                <a:gd name="T17" fmla="*/ 794 h 1771"/>
                <a:gd name="T18" fmla="*/ 1792 w 2163"/>
                <a:gd name="T19" fmla="*/ 293 h 1771"/>
                <a:gd name="T20" fmla="*/ 1985 w 2163"/>
                <a:gd name="T21" fmla="*/ 376 h 1771"/>
                <a:gd name="T22" fmla="*/ 1957 w 2163"/>
                <a:gd name="T23" fmla="*/ 291 h 1771"/>
                <a:gd name="T24" fmla="*/ 1836 w 2163"/>
                <a:gd name="T25" fmla="*/ 296 h 1771"/>
                <a:gd name="T26" fmla="*/ 1719 w 2163"/>
                <a:gd name="T27" fmla="*/ 292 h 1771"/>
                <a:gd name="T28" fmla="*/ 1629 w 2163"/>
                <a:gd name="T29" fmla="*/ 220 h 1771"/>
                <a:gd name="T30" fmla="*/ 1535 w 2163"/>
                <a:gd name="T31" fmla="*/ 238 h 1771"/>
                <a:gd name="T32" fmla="*/ 1403 w 2163"/>
                <a:gd name="T33" fmla="*/ 219 h 1771"/>
                <a:gd name="T34" fmla="*/ 1292 w 2163"/>
                <a:gd name="T35" fmla="*/ 172 h 1771"/>
                <a:gd name="T36" fmla="*/ 1214 w 2163"/>
                <a:gd name="T37" fmla="*/ 118 h 1771"/>
                <a:gd name="T38" fmla="*/ 1134 w 2163"/>
                <a:gd name="T39" fmla="*/ 108 h 1771"/>
                <a:gd name="T40" fmla="*/ 1007 w 2163"/>
                <a:gd name="T41" fmla="*/ 81 h 1771"/>
                <a:gd name="T42" fmla="*/ 930 w 2163"/>
                <a:gd name="T43" fmla="*/ 76 h 1771"/>
                <a:gd name="T44" fmla="*/ 867 w 2163"/>
                <a:gd name="T45" fmla="*/ 80 h 1771"/>
                <a:gd name="T46" fmla="*/ 776 w 2163"/>
                <a:gd name="T47" fmla="*/ 87 h 1771"/>
                <a:gd name="T48" fmla="*/ 568 w 2163"/>
                <a:gd name="T49" fmla="*/ 50 h 1771"/>
                <a:gd name="T50" fmla="*/ 443 w 2163"/>
                <a:gd name="T51" fmla="*/ 53 h 1771"/>
                <a:gd name="T52" fmla="*/ 305 w 2163"/>
                <a:gd name="T53" fmla="*/ 25 h 1771"/>
                <a:gd name="T54" fmla="*/ 230 w 2163"/>
                <a:gd name="T55" fmla="*/ 20 h 1771"/>
                <a:gd name="T56" fmla="*/ 197 w 2163"/>
                <a:gd name="T57" fmla="*/ 33 h 1771"/>
                <a:gd name="T58" fmla="*/ 174 w 2163"/>
                <a:gd name="T59" fmla="*/ 81 h 1771"/>
                <a:gd name="T60" fmla="*/ 83 w 2163"/>
                <a:gd name="T61" fmla="*/ 106 h 1771"/>
                <a:gd name="T62" fmla="*/ 26 w 2163"/>
                <a:gd name="T63" fmla="*/ 143 h 1771"/>
                <a:gd name="T64" fmla="*/ 16 w 2163"/>
                <a:gd name="T65" fmla="*/ 188 h 1771"/>
                <a:gd name="T66" fmla="*/ 59 w 2163"/>
                <a:gd name="T67" fmla="*/ 219 h 1771"/>
                <a:gd name="T68" fmla="*/ 83 w 2163"/>
                <a:gd name="T69" fmla="*/ 250 h 1771"/>
                <a:gd name="T70" fmla="*/ 91 w 2163"/>
                <a:gd name="T71" fmla="*/ 296 h 1771"/>
                <a:gd name="T72" fmla="*/ 106 w 2163"/>
                <a:gd name="T73" fmla="*/ 323 h 1771"/>
                <a:gd name="T74" fmla="*/ 105 w 2163"/>
                <a:gd name="T75" fmla="*/ 377 h 1771"/>
                <a:gd name="T76" fmla="*/ 197 w 2163"/>
                <a:gd name="T77" fmla="*/ 427 h 1771"/>
                <a:gd name="T78" fmla="*/ 293 w 2163"/>
                <a:gd name="T79" fmla="*/ 425 h 1771"/>
                <a:gd name="T80" fmla="*/ 432 w 2163"/>
                <a:gd name="T81" fmla="*/ 414 h 1771"/>
                <a:gd name="T82" fmla="*/ 462 w 2163"/>
                <a:gd name="T83" fmla="*/ 520 h 1771"/>
                <a:gd name="T84" fmla="*/ 390 w 2163"/>
                <a:gd name="T85" fmla="*/ 639 h 1771"/>
                <a:gd name="T86" fmla="*/ 358 w 2163"/>
                <a:gd name="T87" fmla="*/ 767 h 1771"/>
                <a:gd name="T88" fmla="*/ 358 w 2163"/>
                <a:gd name="T89" fmla="*/ 871 h 1771"/>
                <a:gd name="T90" fmla="*/ 337 w 2163"/>
                <a:gd name="T91" fmla="*/ 987 h 1771"/>
                <a:gd name="T92" fmla="*/ 317 w 2163"/>
                <a:gd name="T93" fmla="*/ 1083 h 1771"/>
                <a:gd name="T94" fmla="*/ 361 w 2163"/>
                <a:gd name="T95" fmla="*/ 1204 h 1771"/>
                <a:gd name="T96" fmla="*/ 281 w 2163"/>
                <a:gd name="T97" fmla="*/ 1305 h 1771"/>
                <a:gd name="T98" fmla="*/ 377 w 2163"/>
                <a:gd name="T99" fmla="*/ 1370 h 1771"/>
                <a:gd name="T100" fmla="*/ 476 w 2163"/>
                <a:gd name="T101" fmla="*/ 1488 h 1771"/>
                <a:gd name="T102" fmla="*/ 561 w 2163"/>
                <a:gd name="T103" fmla="*/ 1595 h 1771"/>
                <a:gd name="T104" fmla="*/ 649 w 2163"/>
                <a:gd name="T105" fmla="*/ 1532 h 1771"/>
                <a:gd name="T106" fmla="*/ 903 w 2163"/>
                <a:gd name="T107" fmla="*/ 1464 h 1771"/>
                <a:gd name="T108" fmla="*/ 1097 w 2163"/>
                <a:gd name="T109" fmla="*/ 1446 h 1771"/>
                <a:gd name="T110" fmla="*/ 1191 w 2163"/>
                <a:gd name="T111" fmla="*/ 1366 h 1771"/>
                <a:gd name="T112" fmla="*/ 1299 w 2163"/>
                <a:gd name="T113" fmla="*/ 1307 h 1771"/>
                <a:gd name="T114" fmla="*/ 1354 w 2163"/>
                <a:gd name="T115" fmla="*/ 1244 h 1771"/>
                <a:gd name="T116" fmla="*/ 1466 w 2163"/>
                <a:gd name="T117" fmla="*/ 1099 h 1771"/>
                <a:gd name="T118" fmla="*/ 1458 w 2163"/>
                <a:gd name="T119" fmla="*/ 1024 h 1771"/>
                <a:gd name="T120" fmla="*/ 1541 w 2163"/>
                <a:gd name="T121" fmla="*/ 726 h 1771"/>
                <a:gd name="T122" fmla="*/ 1588 w 2163"/>
                <a:gd name="T123" fmla="*/ 638 h 1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63" h="1771">
                  <a:moveTo>
                    <a:pt x="792" y="1770"/>
                  </a:moveTo>
                  <a:lnTo>
                    <a:pt x="792" y="1770"/>
                  </a:lnTo>
                  <a:lnTo>
                    <a:pt x="792" y="1770"/>
                  </a:lnTo>
                  <a:lnTo>
                    <a:pt x="792" y="1770"/>
                  </a:lnTo>
                  <a:lnTo>
                    <a:pt x="792" y="1770"/>
                  </a:lnTo>
                  <a:lnTo>
                    <a:pt x="792" y="1771"/>
                  </a:lnTo>
                  <a:lnTo>
                    <a:pt x="792" y="1770"/>
                  </a:lnTo>
                  <a:lnTo>
                    <a:pt x="792" y="1770"/>
                  </a:lnTo>
                  <a:lnTo>
                    <a:pt x="792" y="1770"/>
                  </a:lnTo>
                  <a:close/>
                  <a:moveTo>
                    <a:pt x="1088" y="1768"/>
                  </a:moveTo>
                  <a:lnTo>
                    <a:pt x="1088" y="1769"/>
                  </a:lnTo>
                  <a:lnTo>
                    <a:pt x="1089" y="1769"/>
                  </a:lnTo>
                  <a:lnTo>
                    <a:pt x="1090" y="1768"/>
                  </a:lnTo>
                  <a:lnTo>
                    <a:pt x="1089" y="1768"/>
                  </a:lnTo>
                  <a:lnTo>
                    <a:pt x="1088" y="1768"/>
                  </a:lnTo>
                  <a:close/>
                  <a:moveTo>
                    <a:pt x="855" y="1762"/>
                  </a:moveTo>
                  <a:lnTo>
                    <a:pt x="855" y="1762"/>
                  </a:lnTo>
                  <a:lnTo>
                    <a:pt x="855" y="1762"/>
                  </a:lnTo>
                  <a:lnTo>
                    <a:pt x="855" y="1762"/>
                  </a:lnTo>
                  <a:lnTo>
                    <a:pt x="855" y="1762"/>
                  </a:lnTo>
                  <a:lnTo>
                    <a:pt x="855" y="1762"/>
                  </a:lnTo>
                  <a:close/>
                  <a:moveTo>
                    <a:pt x="855" y="1762"/>
                  </a:moveTo>
                  <a:lnTo>
                    <a:pt x="855" y="1762"/>
                  </a:lnTo>
                  <a:lnTo>
                    <a:pt x="855" y="1762"/>
                  </a:lnTo>
                  <a:lnTo>
                    <a:pt x="855" y="1762"/>
                  </a:lnTo>
                  <a:lnTo>
                    <a:pt x="855" y="1762"/>
                  </a:lnTo>
                  <a:lnTo>
                    <a:pt x="855" y="1762"/>
                  </a:lnTo>
                  <a:lnTo>
                    <a:pt x="855" y="1762"/>
                  </a:lnTo>
                  <a:lnTo>
                    <a:pt x="855" y="1762"/>
                  </a:lnTo>
                  <a:close/>
                  <a:moveTo>
                    <a:pt x="1011" y="1748"/>
                  </a:moveTo>
                  <a:lnTo>
                    <a:pt x="1007" y="1740"/>
                  </a:lnTo>
                  <a:lnTo>
                    <a:pt x="1004" y="1743"/>
                  </a:lnTo>
                  <a:lnTo>
                    <a:pt x="1004" y="1748"/>
                  </a:lnTo>
                  <a:lnTo>
                    <a:pt x="1007" y="1752"/>
                  </a:lnTo>
                  <a:lnTo>
                    <a:pt x="1012" y="1750"/>
                  </a:lnTo>
                  <a:lnTo>
                    <a:pt x="1012" y="1750"/>
                  </a:lnTo>
                  <a:lnTo>
                    <a:pt x="1012" y="1750"/>
                  </a:lnTo>
                  <a:lnTo>
                    <a:pt x="1011" y="1748"/>
                  </a:lnTo>
                  <a:close/>
                  <a:moveTo>
                    <a:pt x="614" y="1626"/>
                  </a:moveTo>
                  <a:lnTo>
                    <a:pt x="614" y="1627"/>
                  </a:lnTo>
                  <a:lnTo>
                    <a:pt x="615" y="1627"/>
                  </a:lnTo>
                  <a:lnTo>
                    <a:pt x="615" y="1626"/>
                  </a:lnTo>
                  <a:lnTo>
                    <a:pt x="615" y="1626"/>
                  </a:lnTo>
                  <a:lnTo>
                    <a:pt x="614" y="1626"/>
                  </a:lnTo>
                  <a:close/>
                  <a:moveTo>
                    <a:pt x="629" y="1628"/>
                  </a:moveTo>
                  <a:lnTo>
                    <a:pt x="627" y="1626"/>
                  </a:lnTo>
                  <a:lnTo>
                    <a:pt x="623" y="1624"/>
                  </a:lnTo>
                  <a:lnTo>
                    <a:pt x="620" y="1624"/>
                  </a:lnTo>
                  <a:lnTo>
                    <a:pt x="618" y="1624"/>
                  </a:lnTo>
                  <a:lnTo>
                    <a:pt x="618" y="1624"/>
                  </a:lnTo>
                  <a:lnTo>
                    <a:pt x="619" y="1629"/>
                  </a:lnTo>
                  <a:lnTo>
                    <a:pt x="621" y="1633"/>
                  </a:lnTo>
                  <a:lnTo>
                    <a:pt x="623" y="1636"/>
                  </a:lnTo>
                  <a:lnTo>
                    <a:pt x="627" y="1639"/>
                  </a:lnTo>
                  <a:lnTo>
                    <a:pt x="628" y="1636"/>
                  </a:lnTo>
                  <a:lnTo>
                    <a:pt x="635" y="1631"/>
                  </a:lnTo>
                  <a:lnTo>
                    <a:pt x="636" y="1627"/>
                  </a:lnTo>
                  <a:lnTo>
                    <a:pt x="632" y="1629"/>
                  </a:lnTo>
                  <a:lnTo>
                    <a:pt x="629" y="1628"/>
                  </a:lnTo>
                  <a:close/>
                  <a:moveTo>
                    <a:pt x="1356" y="1277"/>
                  </a:moveTo>
                  <a:lnTo>
                    <a:pt x="1359" y="1281"/>
                  </a:lnTo>
                  <a:lnTo>
                    <a:pt x="1357" y="1273"/>
                  </a:lnTo>
                  <a:lnTo>
                    <a:pt x="1357" y="1269"/>
                  </a:lnTo>
                  <a:lnTo>
                    <a:pt x="1359" y="1264"/>
                  </a:lnTo>
                  <a:lnTo>
                    <a:pt x="1358" y="1263"/>
                  </a:lnTo>
                  <a:lnTo>
                    <a:pt x="1357" y="1261"/>
                  </a:lnTo>
                  <a:lnTo>
                    <a:pt x="1356" y="1260"/>
                  </a:lnTo>
                  <a:lnTo>
                    <a:pt x="1356" y="1259"/>
                  </a:lnTo>
                  <a:lnTo>
                    <a:pt x="1356" y="1259"/>
                  </a:lnTo>
                  <a:lnTo>
                    <a:pt x="1356" y="1259"/>
                  </a:lnTo>
                  <a:lnTo>
                    <a:pt x="1355" y="1259"/>
                  </a:lnTo>
                  <a:lnTo>
                    <a:pt x="1356" y="1264"/>
                  </a:lnTo>
                  <a:lnTo>
                    <a:pt x="1355" y="1271"/>
                  </a:lnTo>
                  <a:lnTo>
                    <a:pt x="1356" y="1277"/>
                  </a:lnTo>
                  <a:close/>
                  <a:moveTo>
                    <a:pt x="1717" y="1077"/>
                  </a:moveTo>
                  <a:lnTo>
                    <a:pt x="1711" y="1073"/>
                  </a:lnTo>
                  <a:lnTo>
                    <a:pt x="1703" y="1063"/>
                  </a:lnTo>
                  <a:lnTo>
                    <a:pt x="1703" y="1062"/>
                  </a:lnTo>
                  <a:lnTo>
                    <a:pt x="1703" y="1062"/>
                  </a:lnTo>
                  <a:lnTo>
                    <a:pt x="1702" y="1061"/>
                  </a:lnTo>
                  <a:lnTo>
                    <a:pt x="1702" y="1061"/>
                  </a:lnTo>
                  <a:lnTo>
                    <a:pt x="1701" y="1064"/>
                  </a:lnTo>
                  <a:lnTo>
                    <a:pt x="1700" y="1067"/>
                  </a:lnTo>
                  <a:lnTo>
                    <a:pt x="1698" y="1068"/>
                  </a:lnTo>
                  <a:lnTo>
                    <a:pt x="1697" y="1066"/>
                  </a:lnTo>
                  <a:lnTo>
                    <a:pt x="1695" y="1069"/>
                  </a:lnTo>
                  <a:lnTo>
                    <a:pt x="1694" y="1070"/>
                  </a:lnTo>
                  <a:lnTo>
                    <a:pt x="1695" y="1071"/>
                  </a:lnTo>
                  <a:lnTo>
                    <a:pt x="1696" y="1072"/>
                  </a:lnTo>
                  <a:lnTo>
                    <a:pt x="1696" y="1073"/>
                  </a:lnTo>
                  <a:lnTo>
                    <a:pt x="1695" y="1075"/>
                  </a:lnTo>
                  <a:lnTo>
                    <a:pt x="1694" y="1077"/>
                  </a:lnTo>
                  <a:lnTo>
                    <a:pt x="1694" y="1078"/>
                  </a:lnTo>
                  <a:lnTo>
                    <a:pt x="1695" y="1080"/>
                  </a:lnTo>
                  <a:lnTo>
                    <a:pt x="1694" y="1084"/>
                  </a:lnTo>
                  <a:lnTo>
                    <a:pt x="1696" y="1085"/>
                  </a:lnTo>
                  <a:lnTo>
                    <a:pt x="1699" y="1083"/>
                  </a:lnTo>
                  <a:lnTo>
                    <a:pt x="1701" y="1080"/>
                  </a:lnTo>
                  <a:lnTo>
                    <a:pt x="1703" y="1078"/>
                  </a:lnTo>
                  <a:lnTo>
                    <a:pt x="1706" y="1076"/>
                  </a:lnTo>
                  <a:lnTo>
                    <a:pt x="1709" y="1078"/>
                  </a:lnTo>
                  <a:lnTo>
                    <a:pt x="1716" y="1083"/>
                  </a:lnTo>
                  <a:lnTo>
                    <a:pt x="1722" y="1083"/>
                  </a:lnTo>
                  <a:lnTo>
                    <a:pt x="1726" y="1082"/>
                  </a:lnTo>
                  <a:lnTo>
                    <a:pt x="1726" y="1078"/>
                  </a:lnTo>
                  <a:lnTo>
                    <a:pt x="1723" y="1074"/>
                  </a:lnTo>
                  <a:lnTo>
                    <a:pt x="1717" y="1077"/>
                  </a:lnTo>
                  <a:close/>
                  <a:moveTo>
                    <a:pt x="1729" y="995"/>
                  </a:moveTo>
                  <a:lnTo>
                    <a:pt x="1730" y="993"/>
                  </a:lnTo>
                  <a:lnTo>
                    <a:pt x="1728" y="992"/>
                  </a:lnTo>
                  <a:lnTo>
                    <a:pt x="1727" y="991"/>
                  </a:lnTo>
                  <a:lnTo>
                    <a:pt x="1725" y="990"/>
                  </a:lnTo>
                  <a:lnTo>
                    <a:pt x="1722" y="990"/>
                  </a:lnTo>
                  <a:lnTo>
                    <a:pt x="1721" y="990"/>
                  </a:lnTo>
                  <a:lnTo>
                    <a:pt x="1719" y="988"/>
                  </a:lnTo>
                  <a:lnTo>
                    <a:pt x="1716" y="987"/>
                  </a:lnTo>
                  <a:lnTo>
                    <a:pt x="1714" y="988"/>
                  </a:lnTo>
                  <a:lnTo>
                    <a:pt x="1713" y="990"/>
                  </a:lnTo>
                  <a:lnTo>
                    <a:pt x="1709" y="990"/>
                  </a:lnTo>
                  <a:lnTo>
                    <a:pt x="1705" y="991"/>
                  </a:lnTo>
                  <a:lnTo>
                    <a:pt x="1701" y="993"/>
                  </a:lnTo>
                  <a:lnTo>
                    <a:pt x="1697" y="996"/>
                  </a:lnTo>
                  <a:lnTo>
                    <a:pt x="1696" y="995"/>
                  </a:lnTo>
                  <a:lnTo>
                    <a:pt x="1692" y="997"/>
                  </a:lnTo>
                  <a:lnTo>
                    <a:pt x="1691" y="996"/>
                  </a:lnTo>
                  <a:lnTo>
                    <a:pt x="1690" y="996"/>
                  </a:lnTo>
                  <a:lnTo>
                    <a:pt x="1686" y="1000"/>
                  </a:lnTo>
                  <a:lnTo>
                    <a:pt x="1684" y="1002"/>
                  </a:lnTo>
                  <a:lnTo>
                    <a:pt x="1682" y="1003"/>
                  </a:lnTo>
                  <a:lnTo>
                    <a:pt x="1680" y="1005"/>
                  </a:lnTo>
                  <a:lnTo>
                    <a:pt x="1680" y="1009"/>
                  </a:lnTo>
                  <a:lnTo>
                    <a:pt x="1681" y="1018"/>
                  </a:lnTo>
                  <a:lnTo>
                    <a:pt x="1677" y="1018"/>
                  </a:lnTo>
                  <a:lnTo>
                    <a:pt x="1676" y="1019"/>
                  </a:lnTo>
                  <a:lnTo>
                    <a:pt x="1675" y="1019"/>
                  </a:lnTo>
                  <a:lnTo>
                    <a:pt x="1673" y="1019"/>
                  </a:lnTo>
                  <a:lnTo>
                    <a:pt x="1671" y="1019"/>
                  </a:lnTo>
                  <a:lnTo>
                    <a:pt x="1669" y="1020"/>
                  </a:lnTo>
                  <a:lnTo>
                    <a:pt x="1668" y="1021"/>
                  </a:lnTo>
                  <a:lnTo>
                    <a:pt x="1670" y="1024"/>
                  </a:lnTo>
                  <a:lnTo>
                    <a:pt x="1669" y="1026"/>
                  </a:lnTo>
                  <a:lnTo>
                    <a:pt x="1667" y="1031"/>
                  </a:lnTo>
                  <a:lnTo>
                    <a:pt x="1668" y="1035"/>
                  </a:lnTo>
                  <a:lnTo>
                    <a:pt x="1670" y="1037"/>
                  </a:lnTo>
                  <a:lnTo>
                    <a:pt x="1675" y="1040"/>
                  </a:lnTo>
                  <a:lnTo>
                    <a:pt x="1676" y="1038"/>
                  </a:lnTo>
                  <a:lnTo>
                    <a:pt x="1678" y="1037"/>
                  </a:lnTo>
                  <a:lnTo>
                    <a:pt x="1681" y="1038"/>
                  </a:lnTo>
                  <a:lnTo>
                    <a:pt x="1682" y="1040"/>
                  </a:lnTo>
                  <a:lnTo>
                    <a:pt x="1684" y="1040"/>
                  </a:lnTo>
                  <a:lnTo>
                    <a:pt x="1684" y="1040"/>
                  </a:lnTo>
                  <a:lnTo>
                    <a:pt x="1685" y="1040"/>
                  </a:lnTo>
                  <a:lnTo>
                    <a:pt x="1686" y="1040"/>
                  </a:lnTo>
                  <a:lnTo>
                    <a:pt x="1688" y="1039"/>
                  </a:lnTo>
                  <a:lnTo>
                    <a:pt x="1691" y="1042"/>
                  </a:lnTo>
                  <a:lnTo>
                    <a:pt x="1692" y="1046"/>
                  </a:lnTo>
                  <a:lnTo>
                    <a:pt x="1697" y="1046"/>
                  </a:lnTo>
                  <a:lnTo>
                    <a:pt x="1697" y="1041"/>
                  </a:lnTo>
                  <a:lnTo>
                    <a:pt x="1699" y="1034"/>
                  </a:lnTo>
                  <a:lnTo>
                    <a:pt x="1701" y="1033"/>
                  </a:lnTo>
                  <a:lnTo>
                    <a:pt x="1704" y="1029"/>
                  </a:lnTo>
                  <a:lnTo>
                    <a:pt x="1705" y="1030"/>
                  </a:lnTo>
                  <a:lnTo>
                    <a:pt x="1706" y="1031"/>
                  </a:lnTo>
                  <a:lnTo>
                    <a:pt x="1706" y="1032"/>
                  </a:lnTo>
                  <a:lnTo>
                    <a:pt x="1708" y="1030"/>
                  </a:lnTo>
                  <a:lnTo>
                    <a:pt x="1712" y="1028"/>
                  </a:lnTo>
                  <a:lnTo>
                    <a:pt x="1714" y="1026"/>
                  </a:lnTo>
                  <a:lnTo>
                    <a:pt x="1719" y="1018"/>
                  </a:lnTo>
                  <a:lnTo>
                    <a:pt x="1725" y="1014"/>
                  </a:lnTo>
                  <a:lnTo>
                    <a:pt x="1726" y="1013"/>
                  </a:lnTo>
                  <a:lnTo>
                    <a:pt x="1726" y="1010"/>
                  </a:lnTo>
                  <a:lnTo>
                    <a:pt x="1728" y="1008"/>
                  </a:lnTo>
                  <a:lnTo>
                    <a:pt x="1730" y="1006"/>
                  </a:lnTo>
                  <a:lnTo>
                    <a:pt x="1732" y="1006"/>
                  </a:lnTo>
                  <a:lnTo>
                    <a:pt x="1730" y="999"/>
                  </a:lnTo>
                  <a:lnTo>
                    <a:pt x="1729" y="995"/>
                  </a:lnTo>
                  <a:close/>
                  <a:moveTo>
                    <a:pt x="1941" y="977"/>
                  </a:moveTo>
                  <a:lnTo>
                    <a:pt x="1937" y="981"/>
                  </a:lnTo>
                  <a:lnTo>
                    <a:pt x="1940" y="988"/>
                  </a:lnTo>
                  <a:lnTo>
                    <a:pt x="1945" y="988"/>
                  </a:lnTo>
                  <a:lnTo>
                    <a:pt x="1948" y="983"/>
                  </a:lnTo>
                  <a:lnTo>
                    <a:pt x="1949" y="978"/>
                  </a:lnTo>
                  <a:lnTo>
                    <a:pt x="1948" y="974"/>
                  </a:lnTo>
                  <a:lnTo>
                    <a:pt x="1941" y="977"/>
                  </a:lnTo>
                  <a:close/>
                  <a:moveTo>
                    <a:pt x="2021" y="858"/>
                  </a:moveTo>
                  <a:lnTo>
                    <a:pt x="2012" y="853"/>
                  </a:lnTo>
                  <a:lnTo>
                    <a:pt x="2007" y="851"/>
                  </a:lnTo>
                  <a:lnTo>
                    <a:pt x="2005" y="852"/>
                  </a:lnTo>
                  <a:lnTo>
                    <a:pt x="2000" y="857"/>
                  </a:lnTo>
                  <a:lnTo>
                    <a:pt x="1997" y="858"/>
                  </a:lnTo>
                  <a:lnTo>
                    <a:pt x="1986" y="858"/>
                  </a:lnTo>
                  <a:lnTo>
                    <a:pt x="1982" y="857"/>
                  </a:lnTo>
                  <a:lnTo>
                    <a:pt x="1977" y="854"/>
                  </a:lnTo>
                  <a:lnTo>
                    <a:pt x="1973" y="850"/>
                  </a:lnTo>
                  <a:lnTo>
                    <a:pt x="1971" y="846"/>
                  </a:lnTo>
                  <a:lnTo>
                    <a:pt x="1971" y="841"/>
                  </a:lnTo>
                  <a:lnTo>
                    <a:pt x="1972" y="840"/>
                  </a:lnTo>
                  <a:lnTo>
                    <a:pt x="1977" y="838"/>
                  </a:lnTo>
                  <a:lnTo>
                    <a:pt x="1980" y="837"/>
                  </a:lnTo>
                  <a:lnTo>
                    <a:pt x="1980" y="837"/>
                  </a:lnTo>
                  <a:lnTo>
                    <a:pt x="1981" y="836"/>
                  </a:lnTo>
                  <a:lnTo>
                    <a:pt x="1982" y="834"/>
                  </a:lnTo>
                  <a:lnTo>
                    <a:pt x="1982" y="833"/>
                  </a:lnTo>
                  <a:lnTo>
                    <a:pt x="1982" y="831"/>
                  </a:lnTo>
                  <a:lnTo>
                    <a:pt x="1984" y="830"/>
                  </a:lnTo>
                  <a:lnTo>
                    <a:pt x="1984" y="829"/>
                  </a:lnTo>
                  <a:lnTo>
                    <a:pt x="1971" y="832"/>
                  </a:lnTo>
                  <a:lnTo>
                    <a:pt x="1966" y="831"/>
                  </a:lnTo>
                  <a:lnTo>
                    <a:pt x="1966" y="824"/>
                  </a:lnTo>
                  <a:lnTo>
                    <a:pt x="1967" y="824"/>
                  </a:lnTo>
                  <a:lnTo>
                    <a:pt x="1969" y="825"/>
                  </a:lnTo>
                  <a:lnTo>
                    <a:pt x="1971" y="824"/>
                  </a:lnTo>
                  <a:lnTo>
                    <a:pt x="1973" y="822"/>
                  </a:lnTo>
                  <a:lnTo>
                    <a:pt x="1975" y="820"/>
                  </a:lnTo>
                  <a:lnTo>
                    <a:pt x="1978" y="820"/>
                  </a:lnTo>
                  <a:lnTo>
                    <a:pt x="1983" y="817"/>
                  </a:lnTo>
                  <a:lnTo>
                    <a:pt x="1985" y="816"/>
                  </a:lnTo>
                  <a:lnTo>
                    <a:pt x="1983" y="815"/>
                  </a:lnTo>
                  <a:lnTo>
                    <a:pt x="1982" y="815"/>
                  </a:lnTo>
                  <a:lnTo>
                    <a:pt x="1981" y="816"/>
                  </a:lnTo>
                  <a:lnTo>
                    <a:pt x="1979" y="813"/>
                  </a:lnTo>
                  <a:lnTo>
                    <a:pt x="1963" y="820"/>
                  </a:lnTo>
                  <a:lnTo>
                    <a:pt x="1954" y="822"/>
                  </a:lnTo>
                  <a:lnTo>
                    <a:pt x="1945" y="823"/>
                  </a:lnTo>
                  <a:lnTo>
                    <a:pt x="1940" y="824"/>
                  </a:lnTo>
                  <a:lnTo>
                    <a:pt x="1931" y="831"/>
                  </a:lnTo>
                  <a:lnTo>
                    <a:pt x="1926" y="833"/>
                  </a:lnTo>
                  <a:lnTo>
                    <a:pt x="1925" y="833"/>
                  </a:lnTo>
                  <a:lnTo>
                    <a:pt x="1921" y="833"/>
                  </a:lnTo>
                  <a:lnTo>
                    <a:pt x="1921" y="833"/>
                  </a:lnTo>
                  <a:lnTo>
                    <a:pt x="1920" y="835"/>
                  </a:lnTo>
                  <a:lnTo>
                    <a:pt x="1919" y="836"/>
                  </a:lnTo>
                  <a:lnTo>
                    <a:pt x="1917" y="836"/>
                  </a:lnTo>
                  <a:lnTo>
                    <a:pt x="1915" y="838"/>
                  </a:lnTo>
                  <a:lnTo>
                    <a:pt x="1913" y="840"/>
                  </a:lnTo>
                  <a:lnTo>
                    <a:pt x="1911" y="841"/>
                  </a:lnTo>
                  <a:lnTo>
                    <a:pt x="1906" y="844"/>
                  </a:lnTo>
                  <a:lnTo>
                    <a:pt x="1905" y="844"/>
                  </a:lnTo>
                  <a:lnTo>
                    <a:pt x="1904" y="845"/>
                  </a:lnTo>
                  <a:lnTo>
                    <a:pt x="1901" y="849"/>
                  </a:lnTo>
                  <a:lnTo>
                    <a:pt x="1900" y="849"/>
                  </a:lnTo>
                  <a:lnTo>
                    <a:pt x="1899" y="850"/>
                  </a:lnTo>
                  <a:lnTo>
                    <a:pt x="1896" y="854"/>
                  </a:lnTo>
                  <a:lnTo>
                    <a:pt x="1895" y="854"/>
                  </a:lnTo>
                  <a:lnTo>
                    <a:pt x="1893" y="854"/>
                  </a:lnTo>
                  <a:lnTo>
                    <a:pt x="1892" y="854"/>
                  </a:lnTo>
                  <a:lnTo>
                    <a:pt x="1892" y="855"/>
                  </a:lnTo>
                  <a:lnTo>
                    <a:pt x="1891" y="857"/>
                  </a:lnTo>
                  <a:lnTo>
                    <a:pt x="1890" y="858"/>
                  </a:lnTo>
                  <a:lnTo>
                    <a:pt x="1885" y="863"/>
                  </a:lnTo>
                  <a:lnTo>
                    <a:pt x="1882" y="866"/>
                  </a:lnTo>
                  <a:lnTo>
                    <a:pt x="1880" y="867"/>
                  </a:lnTo>
                  <a:lnTo>
                    <a:pt x="1877" y="867"/>
                  </a:lnTo>
                  <a:lnTo>
                    <a:pt x="1874" y="868"/>
                  </a:lnTo>
                  <a:lnTo>
                    <a:pt x="1867" y="877"/>
                  </a:lnTo>
                  <a:lnTo>
                    <a:pt x="1864" y="879"/>
                  </a:lnTo>
                  <a:lnTo>
                    <a:pt x="1860" y="879"/>
                  </a:lnTo>
                  <a:lnTo>
                    <a:pt x="1849" y="887"/>
                  </a:lnTo>
                  <a:lnTo>
                    <a:pt x="1848" y="890"/>
                  </a:lnTo>
                  <a:lnTo>
                    <a:pt x="1848" y="894"/>
                  </a:lnTo>
                  <a:lnTo>
                    <a:pt x="1848" y="897"/>
                  </a:lnTo>
                  <a:lnTo>
                    <a:pt x="1852" y="900"/>
                  </a:lnTo>
                  <a:lnTo>
                    <a:pt x="1853" y="903"/>
                  </a:lnTo>
                  <a:lnTo>
                    <a:pt x="1854" y="905"/>
                  </a:lnTo>
                  <a:lnTo>
                    <a:pt x="1855" y="904"/>
                  </a:lnTo>
                  <a:lnTo>
                    <a:pt x="1860" y="902"/>
                  </a:lnTo>
                  <a:lnTo>
                    <a:pt x="1861" y="904"/>
                  </a:lnTo>
                  <a:lnTo>
                    <a:pt x="1862" y="904"/>
                  </a:lnTo>
                  <a:lnTo>
                    <a:pt x="1863" y="904"/>
                  </a:lnTo>
                  <a:lnTo>
                    <a:pt x="1864" y="902"/>
                  </a:lnTo>
                  <a:lnTo>
                    <a:pt x="1868" y="906"/>
                  </a:lnTo>
                  <a:lnTo>
                    <a:pt x="1867" y="907"/>
                  </a:lnTo>
                  <a:lnTo>
                    <a:pt x="1867" y="908"/>
                  </a:lnTo>
                  <a:lnTo>
                    <a:pt x="1867" y="910"/>
                  </a:lnTo>
                  <a:lnTo>
                    <a:pt x="1867" y="910"/>
                  </a:lnTo>
                  <a:lnTo>
                    <a:pt x="1870" y="916"/>
                  </a:lnTo>
                  <a:lnTo>
                    <a:pt x="1875" y="915"/>
                  </a:lnTo>
                  <a:lnTo>
                    <a:pt x="1879" y="911"/>
                  </a:lnTo>
                  <a:lnTo>
                    <a:pt x="1880" y="906"/>
                  </a:lnTo>
                  <a:lnTo>
                    <a:pt x="1882" y="903"/>
                  </a:lnTo>
                  <a:lnTo>
                    <a:pt x="1893" y="897"/>
                  </a:lnTo>
                  <a:lnTo>
                    <a:pt x="1896" y="896"/>
                  </a:lnTo>
                  <a:lnTo>
                    <a:pt x="1900" y="897"/>
                  </a:lnTo>
                  <a:lnTo>
                    <a:pt x="1906" y="901"/>
                  </a:lnTo>
                  <a:lnTo>
                    <a:pt x="1910" y="905"/>
                  </a:lnTo>
                  <a:lnTo>
                    <a:pt x="1912" y="909"/>
                  </a:lnTo>
                  <a:lnTo>
                    <a:pt x="1910" y="914"/>
                  </a:lnTo>
                  <a:lnTo>
                    <a:pt x="1909" y="917"/>
                  </a:lnTo>
                  <a:lnTo>
                    <a:pt x="1911" y="919"/>
                  </a:lnTo>
                  <a:lnTo>
                    <a:pt x="1913" y="930"/>
                  </a:lnTo>
                  <a:lnTo>
                    <a:pt x="1917" y="935"/>
                  </a:lnTo>
                  <a:lnTo>
                    <a:pt x="1923" y="937"/>
                  </a:lnTo>
                  <a:lnTo>
                    <a:pt x="1937" y="938"/>
                  </a:lnTo>
                  <a:lnTo>
                    <a:pt x="1939" y="938"/>
                  </a:lnTo>
                  <a:lnTo>
                    <a:pt x="1941" y="937"/>
                  </a:lnTo>
                  <a:lnTo>
                    <a:pt x="1943" y="937"/>
                  </a:lnTo>
                  <a:lnTo>
                    <a:pt x="1944" y="937"/>
                  </a:lnTo>
                  <a:lnTo>
                    <a:pt x="1947" y="940"/>
                  </a:lnTo>
                  <a:lnTo>
                    <a:pt x="1948" y="940"/>
                  </a:lnTo>
                  <a:lnTo>
                    <a:pt x="1950" y="941"/>
                  </a:lnTo>
                  <a:lnTo>
                    <a:pt x="1950" y="943"/>
                  </a:lnTo>
                  <a:lnTo>
                    <a:pt x="1950" y="945"/>
                  </a:lnTo>
                  <a:lnTo>
                    <a:pt x="1951" y="947"/>
                  </a:lnTo>
                  <a:lnTo>
                    <a:pt x="1952" y="948"/>
                  </a:lnTo>
                  <a:lnTo>
                    <a:pt x="1955" y="949"/>
                  </a:lnTo>
                  <a:lnTo>
                    <a:pt x="1955" y="950"/>
                  </a:lnTo>
                  <a:lnTo>
                    <a:pt x="1960" y="956"/>
                  </a:lnTo>
                  <a:lnTo>
                    <a:pt x="1960" y="957"/>
                  </a:lnTo>
                  <a:lnTo>
                    <a:pt x="1962" y="956"/>
                  </a:lnTo>
                  <a:lnTo>
                    <a:pt x="1963" y="955"/>
                  </a:lnTo>
                  <a:lnTo>
                    <a:pt x="1964" y="955"/>
                  </a:lnTo>
                  <a:lnTo>
                    <a:pt x="1965" y="952"/>
                  </a:lnTo>
                  <a:lnTo>
                    <a:pt x="1971" y="947"/>
                  </a:lnTo>
                  <a:lnTo>
                    <a:pt x="1986" y="938"/>
                  </a:lnTo>
                  <a:lnTo>
                    <a:pt x="1991" y="933"/>
                  </a:lnTo>
                  <a:lnTo>
                    <a:pt x="1994" y="924"/>
                  </a:lnTo>
                  <a:lnTo>
                    <a:pt x="1994" y="925"/>
                  </a:lnTo>
                  <a:lnTo>
                    <a:pt x="1996" y="926"/>
                  </a:lnTo>
                  <a:lnTo>
                    <a:pt x="1997" y="915"/>
                  </a:lnTo>
                  <a:lnTo>
                    <a:pt x="2002" y="905"/>
                  </a:lnTo>
                  <a:lnTo>
                    <a:pt x="2009" y="897"/>
                  </a:lnTo>
                  <a:lnTo>
                    <a:pt x="2015" y="891"/>
                  </a:lnTo>
                  <a:lnTo>
                    <a:pt x="2014" y="887"/>
                  </a:lnTo>
                  <a:lnTo>
                    <a:pt x="2015" y="884"/>
                  </a:lnTo>
                  <a:lnTo>
                    <a:pt x="2016" y="882"/>
                  </a:lnTo>
                  <a:lnTo>
                    <a:pt x="2019" y="881"/>
                  </a:lnTo>
                  <a:lnTo>
                    <a:pt x="2021" y="880"/>
                  </a:lnTo>
                  <a:lnTo>
                    <a:pt x="2023" y="877"/>
                  </a:lnTo>
                  <a:lnTo>
                    <a:pt x="2025" y="871"/>
                  </a:lnTo>
                  <a:lnTo>
                    <a:pt x="2024" y="868"/>
                  </a:lnTo>
                  <a:lnTo>
                    <a:pt x="2024" y="867"/>
                  </a:lnTo>
                  <a:lnTo>
                    <a:pt x="2026" y="866"/>
                  </a:lnTo>
                  <a:lnTo>
                    <a:pt x="2026" y="865"/>
                  </a:lnTo>
                  <a:lnTo>
                    <a:pt x="2026" y="864"/>
                  </a:lnTo>
                  <a:lnTo>
                    <a:pt x="2025" y="862"/>
                  </a:lnTo>
                  <a:lnTo>
                    <a:pt x="2025" y="860"/>
                  </a:lnTo>
                  <a:lnTo>
                    <a:pt x="2026" y="858"/>
                  </a:lnTo>
                  <a:lnTo>
                    <a:pt x="2021" y="858"/>
                  </a:lnTo>
                  <a:close/>
                  <a:moveTo>
                    <a:pt x="2162" y="831"/>
                  </a:moveTo>
                  <a:lnTo>
                    <a:pt x="2158" y="825"/>
                  </a:lnTo>
                  <a:lnTo>
                    <a:pt x="2158" y="822"/>
                  </a:lnTo>
                  <a:lnTo>
                    <a:pt x="2157" y="819"/>
                  </a:lnTo>
                  <a:lnTo>
                    <a:pt x="2155" y="818"/>
                  </a:lnTo>
                  <a:lnTo>
                    <a:pt x="2152" y="818"/>
                  </a:lnTo>
                  <a:lnTo>
                    <a:pt x="2150" y="817"/>
                  </a:lnTo>
                  <a:lnTo>
                    <a:pt x="2153" y="816"/>
                  </a:lnTo>
                  <a:lnTo>
                    <a:pt x="2153" y="813"/>
                  </a:lnTo>
                  <a:lnTo>
                    <a:pt x="2152" y="809"/>
                  </a:lnTo>
                  <a:lnTo>
                    <a:pt x="2150" y="807"/>
                  </a:lnTo>
                  <a:lnTo>
                    <a:pt x="2149" y="807"/>
                  </a:lnTo>
                  <a:lnTo>
                    <a:pt x="2146" y="806"/>
                  </a:lnTo>
                  <a:lnTo>
                    <a:pt x="2146" y="806"/>
                  </a:lnTo>
                  <a:lnTo>
                    <a:pt x="2144" y="804"/>
                  </a:lnTo>
                  <a:lnTo>
                    <a:pt x="2143" y="803"/>
                  </a:lnTo>
                  <a:lnTo>
                    <a:pt x="2142" y="802"/>
                  </a:lnTo>
                  <a:lnTo>
                    <a:pt x="2138" y="799"/>
                  </a:lnTo>
                  <a:lnTo>
                    <a:pt x="2137" y="797"/>
                  </a:lnTo>
                  <a:lnTo>
                    <a:pt x="2138" y="794"/>
                  </a:lnTo>
                  <a:lnTo>
                    <a:pt x="2137" y="793"/>
                  </a:lnTo>
                  <a:lnTo>
                    <a:pt x="2136" y="794"/>
                  </a:lnTo>
                  <a:lnTo>
                    <a:pt x="2136" y="797"/>
                  </a:lnTo>
                  <a:lnTo>
                    <a:pt x="2134" y="799"/>
                  </a:lnTo>
                  <a:lnTo>
                    <a:pt x="2133" y="801"/>
                  </a:lnTo>
                  <a:lnTo>
                    <a:pt x="2132" y="802"/>
                  </a:lnTo>
                  <a:lnTo>
                    <a:pt x="2131" y="801"/>
                  </a:lnTo>
                  <a:lnTo>
                    <a:pt x="2131" y="799"/>
                  </a:lnTo>
                  <a:lnTo>
                    <a:pt x="2131" y="798"/>
                  </a:lnTo>
                  <a:lnTo>
                    <a:pt x="2132" y="797"/>
                  </a:lnTo>
                  <a:lnTo>
                    <a:pt x="2128" y="794"/>
                  </a:lnTo>
                  <a:lnTo>
                    <a:pt x="2127" y="793"/>
                  </a:lnTo>
                  <a:lnTo>
                    <a:pt x="2126" y="790"/>
                  </a:lnTo>
                  <a:lnTo>
                    <a:pt x="2125" y="791"/>
                  </a:lnTo>
                  <a:lnTo>
                    <a:pt x="2122" y="794"/>
                  </a:lnTo>
                  <a:lnTo>
                    <a:pt x="2120" y="794"/>
                  </a:lnTo>
                  <a:lnTo>
                    <a:pt x="2118" y="795"/>
                  </a:lnTo>
                  <a:lnTo>
                    <a:pt x="2111" y="794"/>
                  </a:lnTo>
                  <a:lnTo>
                    <a:pt x="2096" y="796"/>
                  </a:lnTo>
                  <a:lnTo>
                    <a:pt x="2092" y="794"/>
                  </a:lnTo>
                  <a:lnTo>
                    <a:pt x="2081" y="797"/>
                  </a:lnTo>
                  <a:lnTo>
                    <a:pt x="2079" y="799"/>
                  </a:lnTo>
                  <a:lnTo>
                    <a:pt x="2079" y="802"/>
                  </a:lnTo>
                  <a:lnTo>
                    <a:pt x="2078" y="803"/>
                  </a:lnTo>
                  <a:lnTo>
                    <a:pt x="2078" y="804"/>
                  </a:lnTo>
                  <a:lnTo>
                    <a:pt x="2080" y="806"/>
                  </a:lnTo>
                  <a:lnTo>
                    <a:pt x="2081" y="808"/>
                  </a:lnTo>
                  <a:lnTo>
                    <a:pt x="2085" y="809"/>
                  </a:lnTo>
                  <a:lnTo>
                    <a:pt x="2086" y="810"/>
                  </a:lnTo>
                  <a:lnTo>
                    <a:pt x="2084" y="812"/>
                  </a:lnTo>
                  <a:lnTo>
                    <a:pt x="2083" y="814"/>
                  </a:lnTo>
                  <a:lnTo>
                    <a:pt x="2083" y="818"/>
                  </a:lnTo>
                  <a:lnTo>
                    <a:pt x="2083" y="820"/>
                  </a:lnTo>
                  <a:lnTo>
                    <a:pt x="2089" y="822"/>
                  </a:lnTo>
                  <a:lnTo>
                    <a:pt x="2100" y="820"/>
                  </a:lnTo>
                  <a:lnTo>
                    <a:pt x="2106" y="820"/>
                  </a:lnTo>
                  <a:lnTo>
                    <a:pt x="2112" y="822"/>
                  </a:lnTo>
                  <a:lnTo>
                    <a:pt x="2138" y="839"/>
                  </a:lnTo>
                  <a:lnTo>
                    <a:pt x="2149" y="844"/>
                  </a:lnTo>
                  <a:lnTo>
                    <a:pt x="2157" y="843"/>
                  </a:lnTo>
                  <a:lnTo>
                    <a:pt x="2158" y="830"/>
                  </a:lnTo>
                  <a:lnTo>
                    <a:pt x="2159" y="831"/>
                  </a:lnTo>
                  <a:lnTo>
                    <a:pt x="2160" y="832"/>
                  </a:lnTo>
                  <a:lnTo>
                    <a:pt x="2161" y="833"/>
                  </a:lnTo>
                  <a:lnTo>
                    <a:pt x="2162" y="834"/>
                  </a:lnTo>
                  <a:lnTo>
                    <a:pt x="2163" y="834"/>
                  </a:lnTo>
                  <a:lnTo>
                    <a:pt x="2162" y="831"/>
                  </a:lnTo>
                  <a:close/>
                  <a:moveTo>
                    <a:pt x="1786" y="293"/>
                  </a:moveTo>
                  <a:lnTo>
                    <a:pt x="1789" y="293"/>
                  </a:lnTo>
                  <a:lnTo>
                    <a:pt x="1790" y="293"/>
                  </a:lnTo>
                  <a:lnTo>
                    <a:pt x="1792" y="293"/>
                  </a:lnTo>
                  <a:lnTo>
                    <a:pt x="1792" y="293"/>
                  </a:lnTo>
                  <a:lnTo>
                    <a:pt x="1790" y="290"/>
                  </a:lnTo>
                  <a:lnTo>
                    <a:pt x="1789" y="286"/>
                  </a:lnTo>
                  <a:lnTo>
                    <a:pt x="1787" y="284"/>
                  </a:lnTo>
                  <a:lnTo>
                    <a:pt x="1785" y="285"/>
                  </a:lnTo>
                  <a:lnTo>
                    <a:pt x="1784" y="289"/>
                  </a:lnTo>
                  <a:lnTo>
                    <a:pt x="1784" y="291"/>
                  </a:lnTo>
                  <a:lnTo>
                    <a:pt x="1786" y="293"/>
                  </a:lnTo>
                  <a:close/>
                  <a:moveTo>
                    <a:pt x="1860" y="490"/>
                  </a:moveTo>
                  <a:lnTo>
                    <a:pt x="1863" y="486"/>
                  </a:lnTo>
                  <a:lnTo>
                    <a:pt x="1896" y="471"/>
                  </a:lnTo>
                  <a:lnTo>
                    <a:pt x="1916" y="463"/>
                  </a:lnTo>
                  <a:lnTo>
                    <a:pt x="1918" y="458"/>
                  </a:lnTo>
                  <a:lnTo>
                    <a:pt x="1920" y="458"/>
                  </a:lnTo>
                  <a:lnTo>
                    <a:pt x="1921" y="457"/>
                  </a:lnTo>
                  <a:lnTo>
                    <a:pt x="1922" y="456"/>
                  </a:lnTo>
                  <a:lnTo>
                    <a:pt x="1922" y="455"/>
                  </a:lnTo>
                  <a:lnTo>
                    <a:pt x="1925" y="453"/>
                  </a:lnTo>
                  <a:lnTo>
                    <a:pt x="1926" y="452"/>
                  </a:lnTo>
                  <a:lnTo>
                    <a:pt x="1927" y="452"/>
                  </a:lnTo>
                  <a:lnTo>
                    <a:pt x="1931" y="451"/>
                  </a:lnTo>
                  <a:lnTo>
                    <a:pt x="1935" y="450"/>
                  </a:lnTo>
                  <a:lnTo>
                    <a:pt x="1940" y="449"/>
                  </a:lnTo>
                  <a:lnTo>
                    <a:pt x="1943" y="444"/>
                  </a:lnTo>
                  <a:lnTo>
                    <a:pt x="1957" y="433"/>
                  </a:lnTo>
                  <a:lnTo>
                    <a:pt x="1962" y="430"/>
                  </a:lnTo>
                  <a:lnTo>
                    <a:pt x="1963" y="424"/>
                  </a:lnTo>
                  <a:lnTo>
                    <a:pt x="1970" y="420"/>
                  </a:lnTo>
                  <a:lnTo>
                    <a:pt x="1975" y="420"/>
                  </a:lnTo>
                  <a:lnTo>
                    <a:pt x="1979" y="414"/>
                  </a:lnTo>
                  <a:lnTo>
                    <a:pt x="1982" y="411"/>
                  </a:lnTo>
                  <a:lnTo>
                    <a:pt x="1984" y="406"/>
                  </a:lnTo>
                  <a:lnTo>
                    <a:pt x="1988" y="399"/>
                  </a:lnTo>
                  <a:lnTo>
                    <a:pt x="1988" y="395"/>
                  </a:lnTo>
                  <a:lnTo>
                    <a:pt x="1988" y="394"/>
                  </a:lnTo>
                  <a:lnTo>
                    <a:pt x="1984" y="391"/>
                  </a:lnTo>
                  <a:lnTo>
                    <a:pt x="1984" y="390"/>
                  </a:lnTo>
                  <a:lnTo>
                    <a:pt x="1984" y="388"/>
                  </a:lnTo>
                  <a:lnTo>
                    <a:pt x="1983" y="384"/>
                  </a:lnTo>
                  <a:lnTo>
                    <a:pt x="1982" y="381"/>
                  </a:lnTo>
                  <a:lnTo>
                    <a:pt x="1983" y="378"/>
                  </a:lnTo>
                  <a:lnTo>
                    <a:pt x="1985" y="376"/>
                  </a:lnTo>
                  <a:lnTo>
                    <a:pt x="1985" y="373"/>
                  </a:lnTo>
                  <a:lnTo>
                    <a:pt x="1981" y="368"/>
                  </a:lnTo>
                  <a:lnTo>
                    <a:pt x="1978" y="364"/>
                  </a:lnTo>
                  <a:lnTo>
                    <a:pt x="1973" y="360"/>
                  </a:lnTo>
                  <a:lnTo>
                    <a:pt x="1970" y="358"/>
                  </a:lnTo>
                  <a:lnTo>
                    <a:pt x="1970" y="354"/>
                  </a:lnTo>
                  <a:lnTo>
                    <a:pt x="1970" y="349"/>
                  </a:lnTo>
                  <a:lnTo>
                    <a:pt x="1970" y="341"/>
                  </a:lnTo>
                  <a:lnTo>
                    <a:pt x="1972" y="336"/>
                  </a:lnTo>
                  <a:lnTo>
                    <a:pt x="1975" y="333"/>
                  </a:lnTo>
                  <a:lnTo>
                    <a:pt x="1978" y="332"/>
                  </a:lnTo>
                  <a:lnTo>
                    <a:pt x="1979" y="335"/>
                  </a:lnTo>
                  <a:lnTo>
                    <a:pt x="1984" y="336"/>
                  </a:lnTo>
                  <a:lnTo>
                    <a:pt x="1990" y="335"/>
                  </a:lnTo>
                  <a:lnTo>
                    <a:pt x="1993" y="336"/>
                  </a:lnTo>
                  <a:lnTo>
                    <a:pt x="1994" y="334"/>
                  </a:lnTo>
                  <a:lnTo>
                    <a:pt x="1995" y="333"/>
                  </a:lnTo>
                  <a:lnTo>
                    <a:pt x="1996" y="331"/>
                  </a:lnTo>
                  <a:lnTo>
                    <a:pt x="1997" y="328"/>
                  </a:lnTo>
                  <a:lnTo>
                    <a:pt x="1998" y="326"/>
                  </a:lnTo>
                  <a:lnTo>
                    <a:pt x="2001" y="319"/>
                  </a:lnTo>
                  <a:lnTo>
                    <a:pt x="1998" y="316"/>
                  </a:lnTo>
                  <a:lnTo>
                    <a:pt x="1995" y="316"/>
                  </a:lnTo>
                  <a:lnTo>
                    <a:pt x="1994" y="317"/>
                  </a:lnTo>
                  <a:lnTo>
                    <a:pt x="1993" y="317"/>
                  </a:lnTo>
                  <a:lnTo>
                    <a:pt x="1990" y="314"/>
                  </a:lnTo>
                  <a:lnTo>
                    <a:pt x="1987" y="315"/>
                  </a:lnTo>
                  <a:lnTo>
                    <a:pt x="1983" y="315"/>
                  </a:lnTo>
                  <a:lnTo>
                    <a:pt x="1981" y="313"/>
                  </a:lnTo>
                  <a:lnTo>
                    <a:pt x="1979" y="310"/>
                  </a:lnTo>
                  <a:lnTo>
                    <a:pt x="1979" y="306"/>
                  </a:lnTo>
                  <a:lnTo>
                    <a:pt x="1978" y="303"/>
                  </a:lnTo>
                  <a:lnTo>
                    <a:pt x="1979" y="298"/>
                  </a:lnTo>
                  <a:lnTo>
                    <a:pt x="1979" y="296"/>
                  </a:lnTo>
                  <a:lnTo>
                    <a:pt x="1973" y="297"/>
                  </a:lnTo>
                  <a:lnTo>
                    <a:pt x="1969" y="297"/>
                  </a:lnTo>
                  <a:lnTo>
                    <a:pt x="1965" y="296"/>
                  </a:lnTo>
                  <a:lnTo>
                    <a:pt x="1961" y="296"/>
                  </a:lnTo>
                  <a:lnTo>
                    <a:pt x="1960" y="294"/>
                  </a:lnTo>
                  <a:lnTo>
                    <a:pt x="1958" y="292"/>
                  </a:lnTo>
                  <a:lnTo>
                    <a:pt x="1957" y="291"/>
                  </a:lnTo>
                  <a:lnTo>
                    <a:pt x="1955" y="288"/>
                  </a:lnTo>
                  <a:lnTo>
                    <a:pt x="1955" y="288"/>
                  </a:lnTo>
                  <a:lnTo>
                    <a:pt x="1950" y="288"/>
                  </a:lnTo>
                  <a:lnTo>
                    <a:pt x="1948" y="287"/>
                  </a:lnTo>
                  <a:lnTo>
                    <a:pt x="1945" y="289"/>
                  </a:lnTo>
                  <a:lnTo>
                    <a:pt x="1940" y="287"/>
                  </a:lnTo>
                  <a:lnTo>
                    <a:pt x="1935" y="291"/>
                  </a:lnTo>
                  <a:lnTo>
                    <a:pt x="1932" y="292"/>
                  </a:lnTo>
                  <a:lnTo>
                    <a:pt x="1930" y="291"/>
                  </a:lnTo>
                  <a:lnTo>
                    <a:pt x="1927" y="292"/>
                  </a:lnTo>
                  <a:lnTo>
                    <a:pt x="1925" y="293"/>
                  </a:lnTo>
                  <a:lnTo>
                    <a:pt x="1920" y="298"/>
                  </a:lnTo>
                  <a:lnTo>
                    <a:pt x="1917" y="300"/>
                  </a:lnTo>
                  <a:lnTo>
                    <a:pt x="1914" y="300"/>
                  </a:lnTo>
                  <a:lnTo>
                    <a:pt x="1908" y="299"/>
                  </a:lnTo>
                  <a:lnTo>
                    <a:pt x="1905" y="300"/>
                  </a:lnTo>
                  <a:lnTo>
                    <a:pt x="1902" y="301"/>
                  </a:lnTo>
                  <a:lnTo>
                    <a:pt x="1895" y="306"/>
                  </a:lnTo>
                  <a:lnTo>
                    <a:pt x="1894" y="308"/>
                  </a:lnTo>
                  <a:lnTo>
                    <a:pt x="1895" y="312"/>
                  </a:lnTo>
                  <a:lnTo>
                    <a:pt x="1897" y="314"/>
                  </a:lnTo>
                  <a:lnTo>
                    <a:pt x="1897" y="315"/>
                  </a:lnTo>
                  <a:lnTo>
                    <a:pt x="1893" y="315"/>
                  </a:lnTo>
                  <a:lnTo>
                    <a:pt x="1890" y="315"/>
                  </a:lnTo>
                  <a:lnTo>
                    <a:pt x="1882" y="312"/>
                  </a:lnTo>
                  <a:lnTo>
                    <a:pt x="1879" y="312"/>
                  </a:lnTo>
                  <a:lnTo>
                    <a:pt x="1878" y="314"/>
                  </a:lnTo>
                  <a:lnTo>
                    <a:pt x="1877" y="317"/>
                  </a:lnTo>
                  <a:lnTo>
                    <a:pt x="1876" y="318"/>
                  </a:lnTo>
                  <a:lnTo>
                    <a:pt x="1874" y="318"/>
                  </a:lnTo>
                  <a:lnTo>
                    <a:pt x="1872" y="318"/>
                  </a:lnTo>
                  <a:lnTo>
                    <a:pt x="1869" y="316"/>
                  </a:lnTo>
                  <a:lnTo>
                    <a:pt x="1866" y="315"/>
                  </a:lnTo>
                  <a:lnTo>
                    <a:pt x="1863" y="312"/>
                  </a:lnTo>
                  <a:lnTo>
                    <a:pt x="1860" y="309"/>
                  </a:lnTo>
                  <a:lnTo>
                    <a:pt x="1859" y="306"/>
                  </a:lnTo>
                  <a:lnTo>
                    <a:pt x="1857" y="306"/>
                  </a:lnTo>
                  <a:lnTo>
                    <a:pt x="1852" y="305"/>
                  </a:lnTo>
                  <a:lnTo>
                    <a:pt x="1843" y="300"/>
                  </a:lnTo>
                  <a:lnTo>
                    <a:pt x="1841" y="299"/>
                  </a:lnTo>
                  <a:lnTo>
                    <a:pt x="1836" y="296"/>
                  </a:lnTo>
                  <a:lnTo>
                    <a:pt x="1831" y="297"/>
                  </a:lnTo>
                  <a:lnTo>
                    <a:pt x="1821" y="300"/>
                  </a:lnTo>
                  <a:lnTo>
                    <a:pt x="1814" y="299"/>
                  </a:lnTo>
                  <a:lnTo>
                    <a:pt x="1811" y="300"/>
                  </a:lnTo>
                  <a:lnTo>
                    <a:pt x="1811" y="301"/>
                  </a:lnTo>
                  <a:lnTo>
                    <a:pt x="1809" y="304"/>
                  </a:lnTo>
                  <a:lnTo>
                    <a:pt x="1808" y="306"/>
                  </a:lnTo>
                  <a:lnTo>
                    <a:pt x="1805" y="308"/>
                  </a:lnTo>
                  <a:lnTo>
                    <a:pt x="1802" y="311"/>
                  </a:lnTo>
                  <a:lnTo>
                    <a:pt x="1800" y="312"/>
                  </a:lnTo>
                  <a:lnTo>
                    <a:pt x="1798" y="313"/>
                  </a:lnTo>
                  <a:lnTo>
                    <a:pt x="1794" y="314"/>
                  </a:lnTo>
                  <a:lnTo>
                    <a:pt x="1791" y="313"/>
                  </a:lnTo>
                  <a:lnTo>
                    <a:pt x="1789" y="312"/>
                  </a:lnTo>
                  <a:lnTo>
                    <a:pt x="1786" y="309"/>
                  </a:lnTo>
                  <a:lnTo>
                    <a:pt x="1785" y="306"/>
                  </a:lnTo>
                  <a:lnTo>
                    <a:pt x="1783" y="298"/>
                  </a:lnTo>
                  <a:lnTo>
                    <a:pt x="1781" y="294"/>
                  </a:lnTo>
                  <a:lnTo>
                    <a:pt x="1778" y="293"/>
                  </a:lnTo>
                  <a:lnTo>
                    <a:pt x="1775" y="293"/>
                  </a:lnTo>
                  <a:lnTo>
                    <a:pt x="1771" y="292"/>
                  </a:lnTo>
                  <a:lnTo>
                    <a:pt x="1763" y="286"/>
                  </a:lnTo>
                  <a:lnTo>
                    <a:pt x="1759" y="285"/>
                  </a:lnTo>
                  <a:lnTo>
                    <a:pt x="1750" y="283"/>
                  </a:lnTo>
                  <a:lnTo>
                    <a:pt x="1746" y="282"/>
                  </a:lnTo>
                  <a:lnTo>
                    <a:pt x="1746" y="281"/>
                  </a:lnTo>
                  <a:lnTo>
                    <a:pt x="1746" y="281"/>
                  </a:lnTo>
                  <a:lnTo>
                    <a:pt x="1746" y="281"/>
                  </a:lnTo>
                  <a:lnTo>
                    <a:pt x="1746" y="280"/>
                  </a:lnTo>
                  <a:lnTo>
                    <a:pt x="1744" y="282"/>
                  </a:lnTo>
                  <a:lnTo>
                    <a:pt x="1742" y="283"/>
                  </a:lnTo>
                  <a:lnTo>
                    <a:pt x="1740" y="283"/>
                  </a:lnTo>
                  <a:lnTo>
                    <a:pt x="1739" y="282"/>
                  </a:lnTo>
                  <a:lnTo>
                    <a:pt x="1738" y="281"/>
                  </a:lnTo>
                  <a:lnTo>
                    <a:pt x="1738" y="281"/>
                  </a:lnTo>
                  <a:lnTo>
                    <a:pt x="1737" y="281"/>
                  </a:lnTo>
                  <a:lnTo>
                    <a:pt x="1737" y="282"/>
                  </a:lnTo>
                  <a:lnTo>
                    <a:pt x="1735" y="288"/>
                  </a:lnTo>
                  <a:lnTo>
                    <a:pt x="1730" y="290"/>
                  </a:lnTo>
                  <a:lnTo>
                    <a:pt x="1720" y="291"/>
                  </a:lnTo>
                  <a:lnTo>
                    <a:pt x="1719" y="292"/>
                  </a:lnTo>
                  <a:lnTo>
                    <a:pt x="1718" y="294"/>
                  </a:lnTo>
                  <a:lnTo>
                    <a:pt x="1717" y="295"/>
                  </a:lnTo>
                  <a:lnTo>
                    <a:pt x="1715" y="296"/>
                  </a:lnTo>
                  <a:lnTo>
                    <a:pt x="1714" y="296"/>
                  </a:lnTo>
                  <a:lnTo>
                    <a:pt x="1705" y="295"/>
                  </a:lnTo>
                  <a:lnTo>
                    <a:pt x="1703" y="293"/>
                  </a:lnTo>
                  <a:lnTo>
                    <a:pt x="1703" y="291"/>
                  </a:lnTo>
                  <a:lnTo>
                    <a:pt x="1698" y="284"/>
                  </a:lnTo>
                  <a:lnTo>
                    <a:pt x="1701" y="282"/>
                  </a:lnTo>
                  <a:lnTo>
                    <a:pt x="1702" y="282"/>
                  </a:lnTo>
                  <a:lnTo>
                    <a:pt x="1705" y="280"/>
                  </a:lnTo>
                  <a:lnTo>
                    <a:pt x="1704" y="276"/>
                  </a:lnTo>
                  <a:lnTo>
                    <a:pt x="1701" y="274"/>
                  </a:lnTo>
                  <a:lnTo>
                    <a:pt x="1698" y="275"/>
                  </a:lnTo>
                  <a:lnTo>
                    <a:pt x="1698" y="272"/>
                  </a:lnTo>
                  <a:lnTo>
                    <a:pt x="1701" y="267"/>
                  </a:lnTo>
                  <a:lnTo>
                    <a:pt x="1701" y="267"/>
                  </a:lnTo>
                  <a:lnTo>
                    <a:pt x="1700" y="266"/>
                  </a:lnTo>
                  <a:lnTo>
                    <a:pt x="1700" y="264"/>
                  </a:lnTo>
                  <a:lnTo>
                    <a:pt x="1701" y="262"/>
                  </a:lnTo>
                  <a:lnTo>
                    <a:pt x="1701" y="260"/>
                  </a:lnTo>
                  <a:lnTo>
                    <a:pt x="1699" y="257"/>
                  </a:lnTo>
                  <a:lnTo>
                    <a:pt x="1696" y="250"/>
                  </a:lnTo>
                  <a:lnTo>
                    <a:pt x="1694" y="246"/>
                  </a:lnTo>
                  <a:lnTo>
                    <a:pt x="1691" y="241"/>
                  </a:lnTo>
                  <a:lnTo>
                    <a:pt x="1689" y="240"/>
                  </a:lnTo>
                  <a:lnTo>
                    <a:pt x="1688" y="240"/>
                  </a:lnTo>
                  <a:lnTo>
                    <a:pt x="1687" y="239"/>
                  </a:lnTo>
                  <a:lnTo>
                    <a:pt x="1688" y="236"/>
                  </a:lnTo>
                  <a:lnTo>
                    <a:pt x="1684" y="235"/>
                  </a:lnTo>
                  <a:lnTo>
                    <a:pt x="1665" y="235"/>
                  </a:lnTo>
                  <a:lnTo>
                    <a:pt x="1659" y="237"/>
                  </a:lnTo>
                  <a:lnTo>
                    <a:pt x="1657" y="236"/>
                  </a:lnTo>
                  <a:lnTo>
                    <a:pt x="1655" y="234"/>
                  </a:lnTo>
                  <a:lnTo>
                    <a:pt x="1653" y="232"/>
                  </a:lnTo>
                  <a:lnTo>
                    <a:pt x="1652" y="228"/>
                  </a:lnTo>
                  <a:lnTo>
                    <a:pt x="1650" y="225"/>
                  </a:lnTo>
                  <a:lnTo>
                    <a:pt x="1647" y="222"/>
                  </a:lnTo>
                  <a:lnTo>
                    <a:pt x="1644" y="222"/>
                  </a:lnTo>
                  <a:lnTo>
                    <a:pt x="1631" y="221"/>
                  </a:lnTo>
                  <a:lnTo>
                    <a:pt x="1629" y="220"/>
                  </a:lnTo>
                  <a:lnTo>
                    <a:pt x="1627" y="218"/>
                  </a:lnTo>
                  <a:lnTo>
                    <a:pt x="1626" y="217"/>
                  </a:lnTo>
                  <a:lnTo>
                    <a:pt x="1624" y="218"/>
                  </a:lnTo>
                  <a:lnTo>
                    <a:pt x="1623" y="219"/>
                  </a:lnTo>
                  <a:lnTo>
                    <a:pt x="1621" y="220"/>
                  </a:lnTo>
                  <a:lnTo>
                    <a:pt x="1619" y="219"/>
                  </a:lnTo>
                  <a:lnTo>
                    <a:pt x="1617" y="217"/>
                  </a:lnTo>
                  <a:lnTo>
                    <a:pt x="1615" y="215"/>
                  </a:lnTo>
                  <a:lnTo>
                    <a:pt x="1611" y="213"/>
                  </a:lnTo>
                  <a:lnTo>
                    <a:pt x="1604" y="209"/>
                  </a:lnTo>
                  <a:lnTo>
                    <a:pt x="1601" y="209"/>
                  </a:lnTo>
                  <a:lnTo>
                    <a:pt x="1598" y="209"/>
                  </a:lnTo>
                  <a:lnTo>
                    <a:pt x="1595" y="209"/>
                  </a:lnTo>
                  <a:lnTo>
                    <a:pt x="1590" y="207"/>
                  </a:lnTo>
                  <a:lnTo>
                    <a:pt x="1587" y="206"/>
                  </a:lnTo>
                  <a:lnTo>
                    <a:pt x="1583" y="207"/>
                  </a:lnTo>
                  <a:lnTo>
                    <a:pt x="1579" y="208"/>
                  </a:lnTo>
                  <a:lnTo>
                    <a:pt x="1578" y="211"/>
                  </a:lnTo>
                  <a:lnTo>
                    <a:pt x="1579" y="216"/>
                  </a:lnTo>
                  <a:lnTo>
                    <a:pt x="1576" y="222"/>
                  </a:lnTo>
                  <a:lnTo>
                    <a:pt x="1578" y="224"/>
                  </a:lnTo>
                  <a:lnTo>
                    <a:pt x="1577" y="225"/>
                  </a:lnTo>
                  <a:lnTo>
                    <a:pt x="1576" y="226"/>
                  </a:lnTo>
                  <a:lnTo>
                    <a:pt x="1575" y="228"/>
                  </a:lnTo>
                  <a:lnTo>
                    <a:pt x="1578" y="229"/>
                  </a:lnTo>
                  <a:lnTo>
                    <a:pt x="1579" y="231"/>
                  </a:lnTo>
                  <a:lnTo>
                    <a:pt x="1580" y="235"/>
                  </a:lnTo>
                  <a:lnTo>
                    <a:pt x="1580" y="238"/>
                  </a:lnTo>
                  <a:lnTo>
                    <a:pt x="1580" y="239"/>
                  </a:lnTo>
                  <a:lnTo>
                    <a:pt x="1579" y="240"/>
                  </a:lnTo>
                  <a:lnTo>
                    <a:pt x="1577" y="241"/>
                  </a:lnTo>
                  <a:lnTo>
                    <a:pt x="1571" y="240"/>
                  </a:lnTo>
                  <a:lnTo>
                    <a:pt x="1551" y="241"/>
                  </a:lnTo>
                  <a:lnTo>
                    <a:pt x="1549" y="240"/>
                  </a:lnTo>
                  <a:lnTo>
                    <a:pt x="1543" y="242"/>
                  </a:lnTo>
                  <a:lnTo>
                    <a:pt x="1540" y="242"/>
                  </a:lnTo>
                  <a:lnTo>
                    <a:pt x="1536" y="241"/>
                  </a:lnTo>
                  <a:lnTo>
                    <a:pt x="1536" y="240"/>
                  </a:lnTo>
                  <a:lnTo>
                    <a:pt x="1535" y="239"/>
                  </a:lnTo>
                  <a:lnTo>
                    <a:pt x="1536" y="238"/>
                  </a:lnTo>
                  <a:lnTo>
                    <a:pt x="1535" y="238"/>
                  </a:lnTo>
                  <a:lnTo>
                    <a:pt x="1531" y="234"/>
                  </a:lnTo>
                  <a:lnTo>
                    <a:pt x="1528" y="235"/>
                  </a:lnTo>
                  <a:lnTo>
                    <a:pt x="1525" y="238"/>
                  </a:lnTo>
                  <a:lnTo>
                    <a:pt x="1521" y="244"/>
                  </a:lnTo>
                  <a:lnTo>
                    <a:pt x="1518" y="245"/>
                  </a:lnTo>
                  <a:lnTo>
                    <a:pt x="1516" y="242"/>
                  </a:lnTo>
                  <a:lnTo>
                    <a:pt x="1512" y="236"/>
                  </a:lnTo>
                  <a:lnTo>
                    <a:pt x="1510" y="234"/>
                  </a:lnTo>
                  <a:lnTo>
                    <a:pt x="1501" y="232"/>
                  </a:lnTo>
                  <a:lnTo>
                    <a:pt x="1499" y="232"/>
                  </a:lnTo>
                  <a:lnTo>
                    <a:pt x="1496" y="235"/>
                  </a:lnTo>
                  <a:lnTo>
                    <a:pt x="1486" y="236"/>
                  </a:lnTo>
                  <a:lnTo>
                    <a:pt x="1474" y="241"/>
                  </a:lnTo>
                  <a:lnTo>
                    <a:pt x="1468" y="241"/>
                  </a:lnTo>
                  <a:lnTo>
                    <a:pt x="1462" y="238"/>
                  </a:lnTo>
                  <a:lnTo>
                    <a:pt x="1461" y="237"/>
                  </a:lnTo>
                  <a:lnTo>
                    <a:pt x="1461" y="237"/>
                  </a:lnTo>
                  <a:lnTo>
                    <a:pt x="1460" y="236"/>
                  </a:lnTo>
                  <a:lnTo>
                    <a:pt x="1457" y="235"/>
                  </a:lnTo>
                  <a:lnTo>
                    <a:pt x="1456" y="234"/>
                  </a:lnTo>
                  <a:lnTo>
                    <a:pt x="1455" y="233"/>
                  </a:lnTo>
                  <a:lnTo>
                    <a:pt x="1455" y="231"/>
                  </a:lnTo>
                  <a:lnTo>
                    <a:pt x="1454" y="230"/>
                  </a:lnTo>
                  <a:lnTo>
                    <a:pt x="1452" y="228"/>
                  </a:lnTo>
                  <a:lnTo>
                    <a:pt x="1450" y="225"/>
                  </a:lnTo>
                  <a:lnTo>
                    <a:pt x="1449" y="221"/>
                  </a:lnTo>
                  <a:lnTo>
                    <a:pt x="1449" y="217"/>
                  </a:lnTo>
                  <a:lnTo>
                    <a:pt x="1446" y="218"/>
                  </a:lnTo>
                  <a:lnTo>
                    <a:pt x="1442" y="220"/>
                  </a:lnTo>
                  <a:lnTo>
                    <a:pt x="1437" y="219"/>
                  </a:lnTo>
                  <a:lnTo>
                    <a:pt x="1436" y="215"/>
                  </a:lnTo>
                  <a:lnTo>
                    <a:pt x="1426" y="210"/>
                  </a:lnTo>
                  <a:lnTo>
                    <a:pt x="1426" y="209"/>
                  </a:lnTo>
                  <a:lnTo>
                    <a:pt x="1423" y="207"/>
                  </a:lnTo>
                  <a:lnTo>
                    <a:pt x="1422" y="209"/>
                  </a:lnTo>
                  <a:lnTo>
                    <a:pt x="1422" y="211"/>
                  </a:lnTo>
                  <a:lnTo>
                    <a:pt x="1420" y="211"/>
                  </a:lnTo>
                  <a:lnTo>
                    <a:pt x="1419" y="210"/>
                  </a:lnTo>
                  <a:lnTo>
                    <a:pt x="1411" y="216"/>
                  </a:lnTo>
                  <a:lnTo>
                    <a:pt x="1408" y="218"/>
                  </a:lnTo>
                  <a:lnTo>
                    <a:pt x="1403" y="219"/>
                  </a:lnTo>
                  <a:lnTo>
                    <a:pt x="1394" y="215"/>
                  </a:lnTo>
                  <a:lnTo>
                    <a:pt x="1390" y="215"/>
                  </a:lnTo>
                  <a:lnTo>
                    <a:pt x="1390" y="220"/>
                  </a:lnTo>
                  <a:lnTo>
                    <a:pt x="1388" y="220"/>
                  </a:lnTo>
                  <a:lnTo>
                    <a:pt x="1386" y="222"/>
                  </a:lnTo>
                  <a:lnTo>
                    <a:pt x="1384" y="222"/>
                  </a:lnTo>
                  <a:lnTo>
                    <a:pt x="1383" y="221"/>
                  </a:lnTo>
                  <a:lnTo>
                    <a:pt x="1383" y="220"/>
                  </a:lnTo>
                  <a:lnTo>
                    <a:pt x="1383" y="218"/>
                  </a:lnTo>
                  <a:lnTo>
                    <a:pt x="1382" y="217"/>
                  </a:lnTo>
                  <a:lnTo>
                    <a:pt x="1381" y="217"/>
                  </a:lnTo>
                  <a:lnTo>
                    <a:pt x="1379" y="217"/>
                  </a:lnTo>
                  <a:lnTo>
                    <a:pt x="1378" y="217"/>
                  </a:lnTo>
                  <a:lnTo>
                    <a:pt x="1378" y="216"/>
                  </a:lnTo>
                  <a:lnTo>
                    <a:pt x="1378" y="215"/>
                  </a:lnTo>
                  <a:lnTo>
                    <a:pt x="1378" y="214"/>
                  </a:lnTo>
                  <a:lnTo>
                    <a:pt x="1372" y="206"/>
                  </a:lnTo>
                  <a:lnTo>
                    <a:pt x="1369" y="203"/>
                  </a:lnTo>
                  <a:lnTo>
                    <a:pt x="1364" y="200"/>
                  </a:lnTo>
                  <a:lnTo>
                    <a:pt x="1362" y="199"/>
                  </a:lnTo>
                  <a:lnTo>
                    <a:pt x="1360" y="200"/>
                  </a:lnTo>
                  <a:lnTo>
                    <a:pt x="1359" y="200"/>
                  </a:lnTo>
                  <a:lnTo>
                    <a:pt x="1357" y="198"/>
                  </a:lnTo>
                  <a:lnTo>
                    <a:pt x="1356" y="196"/>
                  </a:lnTo>
                  <a:lnTo>
                    <a:pt x="1356" y="195"/>
                  </a:lnTo>
                  <a:lnTo>
                    <a:pt x="1357" y="194"/>
                  </a:lnTo>
                  <a:lnTo>
                    <a:pt x="1357" y="192"/>
                  </a:lnTo>
                  <a:lnTo>
                    <a:pt x="1356" y="191"/>
                  </a:lnTo>
                  <a:lnTo>
                    <a:pt x="1354" y="185"/>
                  </a:lnTo>
                  <a:lnTo>
                    <a:pt x="1350" y="183"/>
                  </a:lnTo>
                  <a:lnTo>
                    <a:pt x="1338" y="185"/>
                  </a:lnTo>
                  <a:lnTo>
                    <a:pt x="1325" y="184"/>
                  </a:lnTo>
                  <a:lnTo>
                    <a:pt x="1319" y="182"/>
                  </a:lnTo>
                  <a:lnTo>
                    <a:pt x="1313" y="178"/>
                  </a:lnTo>
                  <a:lnTo>
                    <a:pt x="1311" y="176"/>
                  </a:lnTo>
                  <a:lnTo>
                    <a:pt x="1309" y="175"/>
                  </a:lnTo>
                  <a:lnTo>
                    <a:pt x="1303" y="174"/>
                  </a:lnTo>
                  <a:lnTo>
                    <a:pt x="1302" y="174"/>
                  </a:lnTo>
                  <a:lnTo>
                    <a:pt x="1300" y="172"/>
                  </a:lnTo>
                  <a:lnTo>
                    <a:pt x="1298" y="171"/>
                  </a:lnTo>
                  <a:lnTo>
                    <a:pt x="1292" y="172"/>
                  </a:lnTo>
                  <a:lnTo>
                    <a:pt x="1287" y="168"/>
                  </a:lnTo>
                  <a:lnTo>
                    <a:pt x="1281" y="164"/>
                  </a:lnTo>
                  <a:lnTo>
                    <a:pt x="1272" y="163"/>
                  </a:lnTo>
                  <a:lnTo>
                    <a:pt x="1269" y="161"/>
                  </a:lnTo>
                  <a:lnTo>
                    <a:pt x="1267" y="158"/>
                  </a:lnTo>
                  <a:lnTo>
                    <a:pt x="1266" y="155"/>
                  </a:lnTo>
                  <a:lnTo>
                    <a:pt x="1267" y="152"/>
                  </a:lnTo>
                  <a:lnTo>
                    <a:pt x="1271" y="149"/>
                  </a:lnTo>
                  <a:lnTo>
                    <a:pt x="1267" y="149"/>
                  </a:lnTo>
                  <a:lnTo>
                    <a:pt x="1263" y="150"/>
                  </a:lnTo>
                  <a:lnTo>
                    <a:pt x="1261" y="153"/>
                  </a:lnTo>
                  <a:lnTo>
                    <a:pt x="1260" y="157"/>
                  </a:lnTo>
                  <a:lnTo>
                    <a:pt x="1259" y="163"/>
                  </a:lnTo>
                  <a:lnTo>
                    <a:pt x="1258" y="166"/>
                  </a:lnTo>
                  <a:lnTo>
                    <a:pt x="1255" y="167"/>
                  </a:lnTo>
                  <a:lnTo>
                    <a:pt x="1251" y="166"/>
                  </a:lnTo>
                  <a:lnTo>
                    <a:pt x="1247" y="165"/>
                  </a:lnTo>
                  <a:lnTo>
                    <a:pt x="1243" y="163"/>
                  </a:lnTo>
                  <a:lnTo>
                    <a:pt x="1241" y="160"/>
                  </a:lnTo>
                  <a:lnTo>
                    <a:pt x="1238" y="155"/>
                  </a:lnTo>
                  <a:lnTo>
                    <a:pt x="1240" y="154"/>
                  </a:lnTo>
                  <a:lnTo>
                    <a:pt x="1246" y="147"/>
                  </a:lnTo>
                  <a:lnTo>
                    <a:pt x="1248" y="144"/>
                  </a:lnTo>
                  <a:lnTo>
                    <a:pt x="1251" y="137"/>
                  </a:lnTo>
                  <a:lnTo>
                    <a:pt x="1252" y="128"/>
                  </a:lnTo>
                  <a:lnTo>
                    <a:pt x="1252" y="120"/>
                  </a:lnTo>
                  <a:lnTo>
                    <a:pt x="1247" y="116"/>
                  </a:lnTo>
                  <a:lnTo>
                    <a:pt x="1246" y="116"/>
                  </a:lnTo>
                  <a:lnTo>
                    <a:pt x="1244" y="116"/>
                  </a:lnTo>
                  <a:lnTo>
                    <a:pt x="1242" y="117"/>
                  </a:lnTo>
                  <a:lnTo>
                    <a:pt x="1235" y="113"/>
                  </a:lnTo>
                  <a:lnTo>
                    <a:pt x="1230" y="112"/>
                  </a:lnTo>
                  <a:lnTo>
                    <a:pt x="1227" y="111"/>
                  </a:lnTo>
                  <a:lnTo>
                    <a:pt x="1225" y="113"/>
                  </a:lnTo>
                  <a:lnTo>
                    <a:pt x="1224" y="117"/>
                  </a:lnTo>
                  <a:lnTo>
                    <a:pt x="1223" y="119"/>
                  </a:lnTo>
                  <a:lnTo>
                    <a:pt x="1221" y="120"/>
                  </a:lnTo>
                  <a:lnTo>
                    <a:pt x="1219" y="120"/>
                  </a:lnTo>
                  <a:lnTo>
                    <a:pt x="1217" y="120"/>
                  </a:lnTo>
                  <a:lnTo>
                    <a:pt x="1215" y="119"/>
                  </a:lnTo>
                  <a:lnTo>
                    <a:pt x="1214" y="118"/>
                  </a:lnTo>
                  <a:lnTo>
                    <a:pt x="1213" y="114"/>
                  </a:lnTo>
                  <a:lnTo>
                    <a:pt x="1213" y="112"/>
                  </a:lnTo>
                  <a:lnTo>
                    <a:pt x="1213" y="111"/>
                  </a:lnTo>
                  <a:lnTo>
                    <a:pt x="1213" y="110"/>
                  </a:lnTo>
                  <a:lnTo>
                    <a:pt x="1212" y="109"/>
                  </a:lnTo>
                  <a:lnTo>
                    <a:pt x="1209" y="107"/>
                  </a:lnTo>
                  <a:lnTo>
                    <a:pt x="1207" y="107"/>
                  </a:lnTo>
                  <a:lnTo>
                    <a:pt x="1204" y="108"/>
                  </a:lnTo>
                  <a:lnTo>
                    <a:pt x="1201" y="109"/>
                  </a:lnTo>
                  <a:lnTo>
                    <a:pt x="1199" y="110"/>
                  </a:lnTo>
                  <a:lnTo>
                    <a:pt x="1197" y="110"/>
                  </a:lnTo>
                  <a:lnTo>
                    <a:pt x="1197" y="109"/>
                  </a:lnTo>
                  <a:lnTo>
                    <a:pt x="1197" y="108"/>
                  </a:lnTo>
                  <a:lnTo>
                    <a:pt x="1196" y="104"/>
                  </a:lnTo>
                  <a:lnTo>
                    <a:pt x="1194" y="101"/>
                  </a:lnTo>
                  <a:lnTo>
                    <a:pt x="1189" y="99"/>
                  </a:lnTo>
                  <a:lnTo>
                    <a:pt x="1189" y="96"/>
                  </a:lnTo>
                  <a:lnTo>
                    <a:pt x="1189" y="92"/>
                  </a:lnTo>
                  <a:lnTo>
                    <a:pt x="1190" y="89"/>
                  </a:lnTo>
                  <a:lnTo>
                    <a:pt x="1187" y="87"/>
                  </a:lnTo>
                  <a:lnTo>
                    <a:pt x="1181" y="90"/>
                  </a:lnTo>
                  <a:lnTo>
                    <a:pt x="1175" y="96"/>
                  </a:lnTo>
                  <a:lnTo>
                    <a:pt x="1169" y="99"/>
                  </a:lnTo>
                  <a:lnTo>
                    <a:pt x="1170" y="100"/>
                  </a:lnTo>
                  <a:lnTo>
                    <a:pt x="1172" y="101"/>
                  </a:lnTo>
                  <a:lnTo>
                    <a:pt x="1172" y="102"/>
                  </a:lnTo>
                  <a:lnTo>
                    <a:pt x="1170" y="104"/>
                  </a:lnTo>
                  <a:lnTo>
                    <a:pt x="1169" y="102"/>
                  </a:lnTo>
                  <a:lnTo>
                    <a:pt x="1168" y="100"/>
                  </a:lnTo>
                  <a:lnTo>
                    <a:pt x="1166" y="99"/>
                  </a:lnTo>
                  <a:lnTo>
                    <a:pt x="1163" y="99"/>
                  </a:lnTo>
                  <a:lnTo>
                    <a:pt x="1162" y="100"/>
                  </a:lnTo>
                  <a:lnTo>
                    <a:pt x="1158" y="102"/>
                  </a:lnTo>
                  <a:lnTo>
                    <a:pt x="1147" y="106"/>
                  </a:lnTo>
                  <a:lnTo>
                    <a:pt x="1144" y="106"/>
                  </a:lnTo>
                  <a:lnTo>
                    <a:pt x="1142" y="107"/>
                  </a:lnTo>
                  <a:lnTo>
                    <a:pt x="1137" y="111"/>
                  </a:lnTo>
                  <a:lnTo>
                    <a:pt x="1136" y="110"/>
                  </a:lnTo>
                  <a:lnTo>
                    <a:pt x="1135" y="109"/>
                  </a:lnTo>
                  <a:lnTo>
                    <a:pt x="1135" y="108"/>
                  </a:lnTo>
                  <a:lnTo>
                    <a:pt x="1134" y="108"/>
                  </a:lnTo>
                  <a:lnTo>
                    <a:pt x="1133" y="108"/>
                  </a:lnTo>
                  <a:lnTo>
                    <a:pt x="1132" y="109"/>
                  </a:lnTo>
                  <a:lnTo>
                    <a:pt x="1132" y="109"/>
                  </a:lnTo>
                  <a:lnTo>
                    <a:pt x="1131" y="109"/>
                  </a:lnTo>
                  <a:lnTo>
                    <a:pt x="1129" y="109"/>
                  </a:lnTo>
                  <a:lnTo>
                    <a:pt x="1128" y="107"/>
                  </a:lnTo>
                  <a:lnTo>
                    <a:pt x="1127" y="105"/>
                  </a:lnTo>
                  <a:lnTo>
                    <a:pt x="1126" y="105"/>
                  </a:lnTo>
                  <a:lnTo>
                    <a:pt x="1124" y="105"/>
                  </a:lnTo>
                  <a:lnTo>
                    <a:pt x="1119" y="106"/>
                  </a:lnTo>
                  <a:lnTo>
                    <a:pt x="1112" y="107"/>
                  </a:lnTo>
                  <a:lnTo>
                    <a:pt x="1105" y="107"/>
                  </a:lnTo>
                  <a:lnTo>
                    <a:pt x="1099" y="105"/>
                  </a:lnTo>
                  <a:lnTo>
                    <a:pt x="1084" y="97"/>
                  </a:lnTo>
                  <a:lnTo>
                    <a:pt x="1080" y="93"/>
                  </a:lnTo>
                  <a:lnTo>
                    <a:pt x="1077" y="91"/>
                  </a:lnTo>
                  <a:lnTo>
                    <a:pt x="1070" y="90"/>
                  </a:lnTo>
                  <a:lnTo>
                    <a:pt x="1061" y="86"/>
                  </a:lnTo>
                  <a:lnTo>
                    <a:pt x="1056" y="85"/>
                  </a:lnTo>
                  <a:lnTo>
                    <a:pt x="1054" y="84"/>
                  </a:lnTo>
                  <a:lnTo>
                    <a:pt x="1052" y="84"/>
                  </a:lnTo>
                  <a:lnTo>
                    <a:pt x="1051" y="84"/>
                  </a:lnTo>
                  <a:lnTo>
                    <a:pt x="1050" y="85"/>
                  </a:lnTo>
                  <a:lnTo>
                    <a:pt x="1050" y="86"/>
                  </a:lnTo>
                  <a:lnTo>
                    <a:pt x="1050" y="87"/>
                  </a:lnTo>
                  <a:lnTo>
                    <a:pt x="1049" y="89"/>
                  </a:lnTo>
                  <a:lnTo>
                    <a:pt x="1048" y="93"/>
                  </a:lnTo>
                  <a:lnTo>
                    <a:pt x="1047" y="93"/>
                  </a:lnTo>
                  <a:lnTo>
                    <a:pt x="1047" y="89"/>
                  </a:lnTo>
                  <a:lnTo>
                    <a:pt x="1045" y="83"/>
                  </a:lnTo>
                  <a:lnTo>
                    <a:pt x="1044" y="81"/>
                  </a:lnTo>
                  <a:lnTo>
                    <a:pt x="1041" y="78"/>
                  </a:lnTo>
                  <a:lnTo>
                    <a:pt x="1037" y="76"/>
                  </a:lnTo>
                  <a:lnTo>
                    <a:pt x="1035" y="75"/>
                  </a:lnTo>
                  <a:lnTo>
                    <a:pt x="1032" y="76"/>
                  </a:lnTo>
                  <a:lnTo>
                    <a:pt x="1029" y="77"/>
                  </a:lnTo>
                  <a:lnTo>
                    <a:pt x="1022" y="78"/>
                  </a:lnTo>
                  <a:lnTo>
                    <a:pt x="1013" y="78"/>
                  </a:lnTo>
                  <a:lnTo>
                    <a:pt x="1010" y="78"/>
                  </a:lnTo>
                  <a:lnTo>
                    <a:pt x="1007" y="80"/>
                  </a:lnTo>
                  <a:lnTo>
                    <a:pt x="1007" y="81"/>
                  </a:lnTo>
                  <a:lnTo>
                    <a:pt x="1008" y="81"/>
                  </a:lnTo>
                  <a:lnTo>
                    <a:pt x="1008" y="83"/>
                  </a:lnTo>
                  <a:lnTo>
                    <a:pt x="1006" y="83"/>
                  </a:lnTo>
                  <a:lnTo>
                    <a:pt x="998" y="88"/>
                  </a:lnTo>
                  <a:lnTo>
                    <a:pt x="997" y="90"/>
                  </a:lnTo>
                  <a:lnTo>
                    <a:pt x="995" y="90"/>
                  </a:lnTo>
                  <a:lnTo>
                    <a:pt x="994" y="91"/>
                  </a:lnTo>
                  <a:lnTo>
                    <a:pt x="994" y="92"/>
                  </a:lnTo>
                  <a:lnTo>
                    <a:pt x="995" y="94"/>
                  </a:lnTo>
                  <a:lnTo>
                    <a:pt x="995" y="97"/>
                  </a:lnTo>
                  <a:lnTo>
                    <a:pt x="997" y="102"/>
                  </a:lnTo>
                  <a:lnTo>
                    <a:pt x="997" y="104"/>
                  </a:lnTo>
                  <a:lnTo>
                    <a:pt x="989" y="97"/>
                  </a:lnTo>
                  <a:lnTo>
                    <a:pt x="984" y="94"/>
                  </a:lnTo>
                  <a:lnTo>
                    <a:pt x="981" y="96"/>
                  </a:lnTo>
                  <a:lnTo>
                    <a:pt x="978" y="96"/>
                  </a:lnTo>
                  <a:lnTo>
                    <a:pt x="974" y="95"/>
                  </a:lnTo>
                  <a:lnTo>
                    <a:pt x="970" y="94"/>
                  </a:lnTo>
                  <a:lnTo>
                    <a:pt x="967" y="90"/>
                  </a:lnTo>
                  <a:lnTo>
                    <a:pt x="965" y="89"/>
                  </a:lnTo>
                  <a:lnTo>
                    <a:pt x="963" y="88"/>
                  </a:lnTo>
                  <a:lnTo>
                    <a:pt x="956" y="86"/>
                  </a:lnTo>
                  <a:lnTo>
                    <a:pt x="946" y="84"/>
                  </a:lnTo>
                  <a:lnTo>
                    <a:pt x="939" y="81"/>
                  </a:lnTo>
                  <a:lnTo>
                    <a:pt x="936" y="81"/>
                  </a:lnTo>
                  <a:lnTo>
                    <a:pt x="931" y="82"/>
                  </a:lnTo>
                  <a:lnTo>
                    <a:pt x="929" y="82"/>
                  </a:lnTo>
                  <a:lnTo>
                    <a:pt x="928" y="80"/>
                  </a:lnTo>
                  <a:lnTo>
                    <a:pt x="925" y="84"/>
                  </a:lnTo>
                  <a:lnTo>
                    <a:pt x="924" y="83"/>
                  </a:lnTo>
                  <a:lnTo>
                    <a:pt x="922" y="80"/>
                  </a:lnTo>
                  <a:lnTo>
                    <a:pt x="919" y="80"/>
                  </a:lnTo>
                  <a:lnTo>
                    <a:pt x="921" y="78"/>
                  </a:lnTo>
                  <a:lnTo>
                    <a:pt x="923" y="77"/>
                  </a:lnTo>
                  <a:lnTo>
                    <a:pt x="923" y="76"/>
                  </a:lnTo>
                  <a:lnTo>
                    <a:pt x="924" y="75"/>
                  </a:lnTo>
                  <a:lnTo>
                    <a:pt x="925" y="75"/>
                  </a:lnTo>
                  <a:lnTo>
                    <a:pt x="927" y="76"/>
                  </a:lnTo>
                  <a:lnTo>
                    <a:pt x="928" y="76"/>
                  </a:lnTo>
                  <a:lnTo>
                    <a:pt x="929" y="76"/>
                  </a:lnTo>
                  <a:lnTo>
                    <a:pt x="930" y="76"/>
                  </a:lnTo>
                  <a:lnTo>
                    <a:pt x="930" y="76"/>
                  </a:lnTo>
                  <a:lnTo>
                    <a:pt x="931" y="74"/>
                  </a:lnTo>
                  <a:lnTo>
                    <a:pt x="930" y="73"/>
                  </a:lnTo>
                  <a:lnTo>
                    <a:pt x="930" y="72"/>
                  </a:lnTo>
                  <a:lnTo>
                    <a:pt x="929" y="71"/>
                  </a:lnTo>
                  <a:lnTo>
                    <a:pt x="918" y="69"/>
                  </a:lnTo>
                  <a:lnTo>
                    <a:pt x="917" y="68"/>
                  </a:lnTo>
                  <a:lnTo>
                    <a:pt x="915" y="66"/>
                  </a:lnTo>
                  <a:lnTo>
                    <a:pt x="913" y="65"/>
                  </a:lnTo>
                  <a:lnTo>
                    <a:pt x="910" y="65"/>
                  </a:lnTo>
                  <a:lnTo>
                    <a:pt x="910" y="61"/>
                  </a:lnTo>
                  <a:lnTo>
                    <a:pt x="906" y="61"/>
                  </a:lnTo>
                  <a:lnTo>
                    <a:pt x="894" y="64"/>
                  </a:lnTo>
                  <a:lnTo>
                    <a:pt x="893" y="65"/>
                  </a:lnTo>
                  <a:lnTo>
                    <a:pt x="891" y="67"/>
                  </a:lnTo>
                  <a:lnTo>
                    <a:pt x="889" y="68"/>
                  </a:lnTo>
                  <a:lnTo>
                    <a:pt x="885" y="68"/>
                  </a:lnTo>
                  <a:lnTo>
                    <a:pt x="883" y="69"/>
                  </a:lnTo>
                  <a:lnTo>
                    <a:pt x="884" y="71"/>
                  </a:lnTo>
                  <a:lnTo>
                    <a:pt x="883" y="71"/>
                  </a:lnTo>
                  <a:lnTo>
                    <a:pt x="883" y="71"/>
                  </a:lnTo>
                  <a:lnTo>
                    <a:pt x="883" y="72"/>
                  </a:lnTo>
                  <a:lnTo>
                    <a:pt x="882" y="71"/>
                  </a:lnTo>
                  <a:lnTo>
                    <a:pt x="881" y="71"/>
                  </a:lnTo>
                  <a:lnTo>
                    <a:pt x="879" y="71"/>
                  </a:lnTo>
                  <a:lnTo>
                    <a:pt x="879" y="72"/>
                  </a:lnTo>
                  <a:lnTo>
                    <a:pt x="880" y="73"/>
                  </a:lnTo>
                  <a:lnTo>
                    <a:pt x="880" y="75"/>
                  </a:lnTo>
                  <a:lnTo>
                    <a:pt x="881" y="77"/>
                  </a:lnTo>
                  <a:lnTo>
                    <a:pt x="880" y="78"/>
                  </a:lnTo>
                  <a:lnTo>
                    <a:pt x="879" y="77"/>
                  </a:lnTo>
                  <a:lnTo>
                    <a:pt x="877" y="76"/>
                  </a:lnTo>
                  <a:lnTo>
                    <a:pt x="876" y="75"/>
                  </a:lnTo>
                  <a:lnTo>
                    <a:pt x="875" y="76"/>
                  </a:lnTo>
                  <a:lnTo>
                    <a:pt x="873" y="79"/>
                  </a:lnTo>
                  <a:lnTo>
                    <a:pt x="872" y="80"/>
                  </a:lnTo>
                  <a:lnTo>
                    <a:pt x="870" y="81"/>
                  </a:lnTo>
                  <a:lnTo>
                    <a:pt x="868" y="81"/>
                  </a:lnTo>
                  <a:lnTo>
                    <a:pt x="866" y="81"/>
                  </a:lnTo>
                  <a:lnTo>
                    <a:pt x="866" y="80"/>
                  </a:lnTo>
                  <a:lnTo>
                    <a:pt x="867" y="80"/>
                  </a:lnTo>
                  <a:lnTo>
                    <a:pt x="867" y="80"/>
                  </a:lnTo>
                  <a:lnTo>
                    <a:pt x="868" y="80"/>
                  </a:lnTo>
                  <a:lnTo>
                    <a:pt x="867" y="79"/>
                  </a:lnTo>
                  <a:lnTo>
                    <a:pt x="866" y="79"/>
                  </a:lnTo>
                  <a:lnTo>
                    <a:pt x="865" y="76"/>
                  </a:lnTo>
                  <a:lnTo>
                    <a:pt x="867" y="74"/>
                  </a:lnTo>
                  <a:lnTo>
                    <a:pt x="870" y="72"/>
                  </a:lnTo>
                  <a:lnTo>
                    <a:pt x="876" y="69"/>
                  </a:lnTo>
                  <a:lnTo>
                    <a:pt x="872" y="66"/>
                  </a:lnTo>
                  <a:lnTo>
                    <a:pt x="867" y="65"/>
                  </a:lnTo>
                  <a:lnTo>
                    <a:pt x="862" y="66"/>
                  </a:lnTo>
                  <a:lnTo>
                    <a:pt x="858" y="69"/>
                  </a:lnTo>
                  <a:lnTo>
                    <a:pt x="857" y="68"/>
                  </a:lnTo>
                  <a:lnTo>
                    <a:pt x="857" y="68"/>
                  </a:lnTo>
                  <a:lnTo>
                    <a:pt x="855" y="69"/>
                  </a:lnTo>
                  <a:lnTo>
                    <a:pt x="852" y="68"/>
                  </a:lnTo>
                  <a:lnTo>
                    <a:pt x="849" y="70"/>
                  </a:lnTo>
                  <a:lnTo>
                    <a:pt x="844" y="74"/>
                  </a:lnTo>
                  <a:lnTo>
                    <a:pt x="844" y="75"/>
                  </a:lnTo>
                  <a:lnTo>
                    <a:pt x="845" y="76"/>
                  </a:lnTo>
                  <a:lnTo>
                    <a:pt x="846" y="76"/>
                  </a:lnTo>
                  <a:lnTo>
                    <a:pt x="845" y="77"/>
                  </a:lnTo>
                  <a:lnTo>
                    <a:pt x="844" y="77"/>
                  </a:lnTo>
                  <a:lnTo>
                    <a:pt x="843" y="77"/>
                  </a:lnTo>
                  <a:lnTo>
                    <a:pt x="843" y="78"/>
                  </a:lnTo>
                  <a:lnTo>
                    <a:pt x="839" y="75"/>
                  </a:lnTo>
                  <a:lnTo>
                    <a:pt x="838" y="75"/>
                  </a:lnTo>
                  <a:lnTo>
                    <a:pt x="836" y="75"/>
                  </a:lnTo>
                  <a:lnTo>
                    <a:pt x="836" y="76"/>
                  </a:lnTo>
                  <a:lnTo>
                    <a:pt x="836" y="77"/>
                  </a:lnTo>
                  <a:lnTo>
                    <a:pt x="835" y="78"/>
                  </a:lnTo>
                  <a:lnTo>
                    <a:pt x="828" y="78"/>
                  </a:lnTo>
                  <a:lnTo>
                    <a:pt x="824" y="79"/>
                  </a:lnTo>
                  <a:lnTo>
                    <a:pt x="814" y="82"/>
                  </a:lnTo>
                  <a:lnTo>
                    <a:pt x="810" y="85"/>
                  </a:lnTo>
                  <a:lnTo>
                    <a:pt x="790" y="87"/>
                  </a:lnTo>
                  <a:lnTo>
                    <a:pt x="783" y="86"/>
                  </a:lnTo>
                  <a:lnTo>
                    <a:pt x="781" y="87"/>
                  </a:lnTo>
                  <a:lnTo>
                    <a:pt x="780" y="90"/>
                  </a:lnTo>
                  <a:lnTo>
                    <a:pt x="778" y="90"/>
                  </a:lnTo>
                  <a:lnTo>
                    <a:pt x="776" y="87"/>
                  </a:lnTo>
                  <a:lnTo>
                    <a:pt x="771" y="86"/>
                  </a:lnTo>
                  <a:lnTo>
                    <a:pt x="767" y="86"/>
                  </a:lnTo>
                  <a:lnTo>
                    <a:pt x="763" y="90"/>
                  </a:lnTo>
                  <a:lnTo>
                    <a:pt x="759" y="86"/>
                  </a:lnTo>
                  <a:lnTo>
                    <a:pt x="758" y="86"/>
                  </a:lnTo>
                  <a:lnTo>
                    <a:pt x="723" y="83"/>
                  </a:lnTo>
                  <a:lnTo>
                    <a:pt x="720" y="81"/>
                  </a:lnTo>
                  <a:lnTo>
                    <a:pt x="707" y="76"/>
                  </a:lnTo>
                  <a:lnTo>
                    <a:pt x="696" y="73"/>
                  </a:lnTo>
                  <a:lnTo>
                    <a:pt x="692" y="71"/>
                  </a:lnTo>
                  <a:lnTo>
                    <a:pt x="690" y="71"/>
                  </a:lnTo>
                  <a:lnTo>
                    <a:pt x="689" y="71"/>
                  </a:lnTo>
                  <a:lnTo>
                    <a:pt x="686" y="73"/>
                  </a:lnTo>
                  <a:lnTo>
                    <a:pt x="685" y="74"/>
                  </a:lnTo>
                  <a:lnTo>
                    <a:pt x="674" y="70"/>
                  </a:lnTo>
                  <a:lnTo>
                    <a:pt x="672" y="71"/>
                  </a:lnTo>
                  <a:lnTo>
                    <a:pt x="670" y="69"/>
                  </a:lnTo>
                  <a:lnTo>
                    <a:pt x="666" y="67"/>
                  </a:lnTo>
                  <a:lnTo>
                    <a:pt x="653" y="67"/>
                  </a:lnTo>
                  <a:lnTo>
                    <a:pt x="647" y="65"/>
                  </a:lnTo>
                  <a:lnTo>
                    <a:pt x="636" y="57"/>
                  </a:lnTo>
                  <a:lnTo>
                    <a:pt x="633" y="56"/>
                  </a:lnTo>
                  <a:lnTo>
                    <a:pt x="627" y="56"/>
                  </a:lnTo>
                  <a:lnTo>
                    <a:pt x="624" y="56"/>
                  </a:lnTo>
                  <a:lnTo>
                    <a:pt x="624" y="57"/>
                  </a:lnTo>
                  <a:lnTo>
                    <a:pt x="623" y="59"/>
                  </a:lnTo>
                  <a:lnTo>
                    <a:pt x="622" y="60"/>
                  </a:lnTo>
                  <a:lnTo>
                    <a:pt x="620" y="61"/>
                  </a:lnTo>
                  <a:lnTo>
                    <a:pt x="617" y="62"/>
                  </a:lnTo>
                  <a:lnTo>
                    <a:pt x="615" y="63"/>
                  </a:lnTo>
                  <a:lnTo>
                    <a:pt x="614" y="61"/>
                  </a:lnTo>
                  <a:lnTo>
                    <a:pt x="617" y="59"/>
                  </a:lnTo>
                  <a:lnTo>
                    <a:pt x="619" y="56"/>
                  </a:lnTo>
                  <a:lnTo>
                    <a:pt x="618" y="52"/>
                  </a:lnTo>
                  <a:lnTo>
                    <a:pt x="614" y="51"/>
                  </a:lnTo>
                  <a:lnTo>
                    <a:pt x="582" y="52"/>
                  </a:lnTo>
                  <a:lnTo>
                    <a:pt x="573" y="51"/>
                  </a:lnTo>
                  <a:lnTo>
                    <a:pt x="572" y="47"/>
                  </a:lnTo>
                  <a:lnTo>
                    <a:pt x="570" y="46"/>
                  </a:lnTo>
                  <a:lnTo>
                    <a:pt x="570" y="50"/>
                  </a:lnTo>
                  <a:lnTo>
                    <a:pt x="568" y="50"/>
                  </a:lnTo>
                  <a:lnTo>
                    <a:pt x="566" y="45"/>
                  </a:lnTo>
                  <a:lnTo>
                    <a:pt x="557" y="35"/>
                  </a:lnTo>
                  <a:lnTo>
                    <a:pt x="553" y="32"/>
                  </a:lnTo>
                  <a:lnTo>
                    <a:pt x="548" y="29"/>
                  </a:lnTo>
                  <a:lnTo>
                    <a:pt x="546" y="29"/>
                  </a:lnTo>
                  <a:lnTo>
                    <a:pt x="545" y="31"/>
                  </a:lnTo>
                  <a:lnTo>
                    <a:pt x="544" y="34"/>
                  </a:lnTo>
                  <a:lnTo>
                    <a:pt x="542" y="35"/>
                  </a:lnTo>
                  <a:lnTo>
                    <a:pt x="537" y="35"/>
                  </a:lnTo>
                  <a:lnTo>
                    <a:pt x="537" y="35"/>
                  </a:lnTo>
                  <a:lnTo>
                    <a:pt x="538" y="37"/>
                  </a:lnTo>
                  <a:lnTo>
                    <a:pt x="538" y="38"/>
                  </a:lnTo>
                  <a:lnTo>
                    <a:pt x="536" y="40"/>
                  </a:lnTo>
                  <a:lnTo>
                    <a:pt x="537" y="42"/>
                  </a:lnTo>
                  <a:lnTo>
                    <a:pt x="538" y="43"/>
                  </a:lnTo>
                  <a:lnTo>
                    <a:pt x="537" y="45"/>
                  </a:lnTo>
                  <a:lnTo>
                    <a:pt x="519" y="45"/>
                  </a:lnTo>
                  <a:lnTo>
                    <a:pt x="516" y="46"/>
                  </a:lnTo>
                  <a:lnTo>
                    <a:pt x="514" y="48"/>
                  </a:lnTo>
                  <a:lnTo>
                    <a:pt x="511" y="49"/>
                  </a:lnTo>
                  <a:lnTo>
                    <a:pt x="509" y="48"/>
                  </a:lnTo>
                  <a:lnTo>
                    <a:pt x="506" y="49"/>
                  </a:lnTo>
                  <a:lnTo>
                    <a:pt x="494" y="48"/>
                  </a:lnTo>
                  <a:lnTo>
                    <a:pt x="492" y="47"/>
                  </a:lnTo>
                  <a:lnTo>
                    <a:pt x="487" y="44"/>
                  </a:lnTo>
                  <a:lnTo>
                    <a:pt x="485" y="44"/>
                  </a:lnTo>
                  <a:lnTo>
                    <a:pt x="484" y="45"/>
                  </a:lnTo>
                  <a:lnTo>
                    <a:pt x="483" y="46"/>
                  </a:lnTo>
                  <a:lnTo>
                    <a:pt x="479" y="47"/>
                  </a:lnTo>
                  <a:lnTo>
                    <a:pt x="475" y="49"/>
                  </a:lnTo>
                  <a:lnTo>
                    <a:pt x="472" y="50"/>
                  </a:lnTo>
                  <a:lnTo>
                    <a:pt x="464" y="50"/>
                  </a:lnTo>
                  <a:lnTo>
                    <a:pt x="456" y="51"/>
                  </a:lnTo>
                  <a:lnTo>
                    <a:pt x="454" y="51"/>
                  </a:lnTo>
                  <a:lnTo>
                    <a:pt x="450" y="48"/>
                  </a:lnTo>
                  <a:lnTo>
                    <a:pt x="448" y="48"/>
                  </a:lnTo>
                  <a:lnTo>
                    <a:pt x="448" y="49"/>
                  </a:lnTo>
                  <a:lnTo>
                    <a:pt x="449" y="51"/>
                  </a:lnTo>
                  <a:lnTo>
                    <a:pt x="449" y="52"/>
                  </a:lnTo>
                  <a:lnTo>
                    <a:pt x="445" y="52"/>
                  </a:lnTo>
                  <a:lnTo>
                    <a:pt x="443" y="53"/>
                  </a:lnTo>
                  <a:lnTo>
                    <a:pt x="441" y="54"/>
                  </a:lnTo>
                  <a:lnTo>
                    <a:pt x="436" y="51"/>
                  </a:lnTo>
                  <a:lnTo>
                    <a:pt x="427" y="48"/>
                  </a:lnTo>
                  <a:lnTo>
                    <a:pt x="419" y="47"/>
                  </a:lnTo>
                  <a:lnTo>
                    <a:pt x="411" y="52"/>
                  </a:lnTo>
                  <a:lnTo>
                    <a:pt x="407" y="51"/>
                  </a:lnTo>
                  <a:lnTo>
                    <a:pt x="400" y="50"/>
                  </a:lnTo>
                  <a:lnTo>
                    <a:pt x="391" y="50"/>
                  </a:lnTo>
                  <a:lnTo>
                    <a:pt x="388" y="50"/>
                  </a:lnTo>
                  <a:lnTo>
                    <a:pt x="373" y="50"/>
                  </a:lnTo>
                  <a:lnTo>
                    <a:pt x="363" y="52"/>
                  </a:lnTo>
                  <a:lnTo>
                    <a:pt x="362" y="57"/>
                  </a:lnTo>
                  <a:lnTo>
                    <a:pt x="360" y="59"/>
                  </a:lnTo>
                  <a:lnTo>
                    <a:pt x="359" y="62"/>
                  </a:lnTo>
                  <a:lnTo>
                    <a:pt x="358" y="66"/>
                  </a:lnTo>
                  <a:lnTo>
                    <a:pt x="358" y="69"/>
                  </a:lnTo>
                  <a:lnTo>
                    <a:pt x="357" y="69"/>
                  </a:lnTo>
                  <a:lnTo>
                    <a:pt x="355" y="65"/>
                  </a:lnTo>
                  <a:lnTo>
                    <a:pt x="356" y="62"/>
                  </a:lnTo>
                  <a:lnTo>
                    <a:pt x="358" y="60"/>
                  </a:lnTo>
                  <a:lnTo>
                    <a:pt x="359" y="57"/>
                  </a:lnTo>
                  <a:lnTo>
                    <a:pt x="358" y="53"/>
                  </a:lnTo>
                  <a:lnTo>
                    <a:pt x="357" y="51"/>
                  </a:lnTo>
                  <a:lnTo>
                    <a:pt x="354" y="51"/>
                  </a:lnTo>
                  <a:lnTo>
                    <a:pt x="351" y="50"/>
                  </a:lnTo>
                  <a:lnTo>
                    <a:pt x="348" y="51"/>
                  </a:lnTo>
                  <a:lnTo>
                    <a:pt x="339" y="51"/>
                  </a:lnTo>
                  <a:lnTo>
                    <a:pt x="333" y="51"/>
                  </a:lnTo>
                  <a:lnTo>
                    <a:pt x="329" y="50"/>
                  </a:lnTo>
                  <a:lnTo>
                    <a:pt x="327" y="50"/>
                  </a:lnTo>
                  <a:lnTo>
                    <a:pt x="325" y="50"/>
                  </a:lnTo>
                  <a:lnTo>
                    <a:pt x="324" y="51"/>
                  </a:lnTo>
                  <a:lnTo>
                    <a:pt x="323" y="52"/>
                  </a:lnTo>
                  <a:lnTo>
                    <a:pt x="321" y="51"/>
                  </a:lnTo>
                  <a:lnTo>
                    <a:pt x="321" y="50"/>
                  </a:lnTo>
                  <a:lnTo>
                    <a:pt x="322" y="49"/>
                  </a:lnTo>
                  <a:lnTo>
                    <a:pt x="322" y="48"/>
                  </a:lnTo>
                  <a:lnTo>
                    <a:pt x="322" y="48"/>
                  </a:lnTo>
                  <a:lnTo>
                    <a:pt x="323" y="47"/>
                  </a:lnTo>
                  <a:lnTo>
                    <a:pt x="315" y="43"/>
                  </a:lnTo>
                  <a:lnTo>
                    <a:pt x="305" y="25"/>
                  </a:lnTo>
                  <a:lnTo>
                    <a:pt x="299" y="23"/>
                  </a:lnTo>
                  <a:lnTo>
                    <a:pt x="286" y="15"/>
                  </a:lnTo>
                  <a:lnTo>
                    <a:pt x="284" y="15"/>
                  </a:lnTo>
                  <a:lnTo>
                    <a:pt x="278" y="14"/>
                  </a:lnTo>
                  <a:lnTo>
                    <a:pt x="275" y="15"/>
                  </a:lnTo>
                  <a:lnTo>
                    <a:pt x="274" y="17"/>
                  </a:lnTo>
                  <a:lnTo>
                    <a:pt x="272" y="18"/>
                  </a:lnTo>
                  <a:lnTo>
                    <a:pt x="270" y="17"/>
                  </a:lnTo>
                  <a:lnTo>
                    <a:pt x="269" y="20"/>
                  </a:lnTo>
                  <a:lnTo>
                    <a:pt x="267" y="23"/>
                  </a:lnTo>
                  <a:lnTo>
                    <a:pt x="266" y="23"/>
                  </a:lnTo>
                  <a:lnTo>
                    <a:pt x="266" y="20"/>
                  </a:lnTo>
                  <a:lnTo>
                    <a:pt x="262" y="12"/>
                  </a:lnTo>
                  <a:lnTo>
                    <a:pt x="262" y="9"/>
                  </a:lnTo>
                  <a:lnTo>
                    <a:pt x="259" y="11"/>
                  </a:lnTo>
                  <a:lnTo>
                    <a:pt x="258" y="11"/>
                  </a:lnTo>
                  <a:lnTo>
                    <a:pt x="257" y="11"/>
                  </a:lnTo>
                  <a:lnTo>
                    <a:pt x="257" y="12"/>
                  </a:lnTo>
                  <a:lnTo>
                    <a:pt x="257" y="13"/>
                  </a:lnTo>
                  <a:lnTo>
                    <a:pt x="256" y="14"/>
                  </a:lnTo>
                  <a:lnTo>
                    <a:pt x="255" y="15"/>
                  </a:lnTo>
                  <a:lnTo>
                    <a:pt x="254" y="15"/>
                  </a:lnTo>
                  <a:lnTo>
                    <a:pt x="253" y="14"/>
                  </a:lnTo>
                  <a:lnTo>
                    <a:pt x="253" y="11"/>
                  </a:lnTo>
                  <a:lnTo>
                    <a:pt x="257" y="6"/>
                  </a:lnTo>
                  <a:lnTo>
                    <a:pt x="258" y="5"/>
                  </a:lnTo>
                  <a:lnTo>
                    <a:pt x="257" y="3"/>
                  </a:lnTo>
                  <a:lnTo>
                    <a:pt x="256" y="1"/>
                  </a:lnTo>
                  <a:lnTo>
                    <a:pt x="255" y="0"/>
                  </a:lnTo>
                  <a:lnTo>
                    <a:pt x="254" y="1"/>
                  </a:lnTo>
                  <a:lnTo>
                    <a:pt x="253" y="4"/>
                  </a:lnTo>
                  <a:lnTo>
                    <a:pt x="251" y="7"/>
                  </a:lnTo>
                  <a:lnTo>
                    <a:pt x="247" y="10"/>
                  </a:lnTo>
                  <a:lnTo>
                    <a:pt x="241" y="12"/>
                  </a:lnTo>
                  <a:lnTo>
                    <a:pt x="238" y="13"/>
                  </a:lnTo>
                  <a:lnTo>
                    <a:pt x="235" y="16"/>
                  </a:lnTo>
                  <a:lnTo>
                    <a:pt x="232" y="18"/>
                  </a:lnTo>
                  <a:lnTo>
                    <a:pt x="233" y="19"/>
                  </a:lnTo>
                  <a:lnTo>
                    <a:pt x="233" y="21"/>
                  </a:lnTo>
                  <a:lnTo>
                    <a:pt x="234" y="22"/>
                  </a:lnTo>
                  <a:lnTo>
                    <a:pt x="230" y="20"/>
                  </a:lnTo>
                  <a:lnTo>
                    <a:pt x="228" y="20"/>
                  </a:lnTo>
                  <a:lnTo>
                    <a:pt x="226" y="22"/>
                  </a:lnTo>
                  <a:lnTo>
                    <a:pt x="229" y="26"/>
                  </a:lnTo>
                  <a:lnTo>
                    <a:pt x="227" y="28"/>
                  </a:lnTo>
                  <a:lnTo>
                    <a:pt x="219" y="27"/>
                  </a:lnTo>
                  <a:lnTo>
                    <a:pt x="219" y="26"/>
                  </a:lnTo>
                  <a:lnTo>
                    <a:pt x="220" y="26"/>
                  </a:lnTo>
                  <a:lnTo>
                    <a:pt x="221" y="25"/>
                  </a:lnTo>
                  <a:lnTo>
                    <a:pt x="221" y="24"/>
                  </a:lnTo>
                  <a:lnTo>
                    <a:pt x="223" y="25"/>
                  </a:lnTo>
                  <a:lnTo>
                    <a:pt x="223" y="26"/>
                  </a:lnTo>
                  <a:lnTo>
                    <a:pt x="225" y="24"/>
                  </a:lnTo>
                  <a:lnTo>
                    <a:pt x="224" y="22"/>
                  </a:lnTo>
                  <a:lnTo>
                    <a:pt x="224" y="21"/>
                  </a:lnTo>
                  <a:lnTo>
                    <a:pt x="225" y="19"/>
                  </a:lnTo>
                  <a:lnTo>
                    <a:pt x="226" y="17"/>
                  </a:lnTo>
                  <a:lnTo>
                    <a:pt x="227" y="17"/>
                  </a:lnTo>
                  <a:lnTo>
                    <a:pt x="228" y="18"/>
                  </a:lnTo>
                  <a:lnTo>
                    <a:pt x="229" y="18"/>
                  </a:lnTo>
                  <a:lnTo>
                    <a:pt x="229" y="17"/>
                  </a:lnTo>
                  <a:lnTo>
                    <a:pt x="227" y="14"/>
                  </a:lnTo>
                  <a:lnTo>
                    <a:pt x="226" y="10"/>
                  </a:lnTo>
                  <a:lnTo>
                    <a:pt x="224" y="7"/>
                  </a:lnTo>
                  <a:lnTo>
                    <a:pt x="219" y="6"/>
                  </a:lnTo>
                  <a:lnTo>
                    <a:pt x="216" y="11"/>
                  </a:lnTo>
                  <a:lnTo>
                    <a:pt x="212" y="14"/>
                  </a:lnTo>
                  <a:lnTo>
                    <a:pt x="208" y="17"/>
                  </a:lnTo>
                  <a:lnTo>
                    <a:pt x="203" y="18"/>
                  </a:lnTo>
                  <a:lnTo>
                    <a:pt x="198" y="18"/>
                  </a:lnTo>
                  <a:lnTo>
                    <a:pt x="196" y="19"/>
                  </a:lnTo>
                  <a:lnTo>
                    <a:pt x="194" y="21"/>
                  </a:lnTo>
                  <a:lnTo>
                    <a:pt x="194" y="23"/>
                  </a:lnTo>
                  <a:lnTo>
                    <a:pt x="193" y="26"/>
                  </a:lnTo>
                  <a:lnTo>
                    <a:pt x="194" y="28"/>
                  </a:lnTo>
                  <a:lnTo>
                    <a:pt x="197" y="30"/>
                  </a:lnTo>
                  <a:lnTo>
                    <a:pt x="196" y="31"/>
                  </a:lnTo>
                  <a:lnTo>
                    <a:pt x="195" y="32"/>
                  </a:lnTo>
                  <a:lnTo>
                    <a:pt x="194" y="32"/>
                  </a:lnTo>
                  <a:lnTo>
                    <a:pt x="194" y="33"/>
                  </a:lnTo>
                  <a:lnTo>
                    <a:pt x="195" y="33"/>
                  </a:lnTo>
                  <a:lnTo>
                    <a:pt x="197" y="33"/>
                  </a:lnTo>
                  <a:lnTo>
                    <a:pt x="195" y="34"/>
                  </a:lnTo>
                  <a:lnTo>
                    <a:pt x="193" y="34"/>
                  </a:lnTo>
                  <a:lnTo>
                    <a:pt x="192" y="33"/>
                  </a:lnTo>
                  <a:lnTo>
                    <a:pt x="191" y="30"/>
                  </a:lnTo>
                  <a:lnTo>
                    <a:pt x="168" y="48"/>
                  </a:lnTo>
                  <a:lnTo>
                    <a:pt x="163" y="51"/>
                  </a:lnTo>
                  <a:lnTo>
                    <a:pt x="160" y="50"/>
                  </a:lnTo>
                  <a:lnTo>
                    <a:pt x="159" y="50"/>
                  </a:lnTo>
                  <a:lnTo>
                    <a:pt x="156" y="50"/>
                  </a:lnTo>
                  <a:lnTo>
                    <a:pt x="155" y="50"/>
                  </a:lnTo>
                  <a:lnTo>
                    <a:pt x="155" y="52"/>
                  </a:lnTo>
                  <a:lnTo>
                    <a:pt x="156" y="54"/>
                  </a:lnTo>
                  <a:lnTo>
                    <a:pt x="157" y="56"/>
                  </a:lnTo>
                  <a:lnTo>
                    <a:pt x="158" y="57"/>
                  </a:lnTo>
                  <a:lnTo>
                    <a:pt x="157" y="60"/>
                  </a:lnTo>
                  <a:lnTo>
                    <a:pt x="155" y="60"/>
                  </a:lnTo>
                  <a:lnTo>
                    <a:pt x="154" y="63"/>
                  </a:lnTo>
                  <a:lnTo>
                    <a:pt x="153" y="67"/>
                  </a:lnTo>
                  <a:lnTo>
                    <a:pt x="152" y="71"/>
                  </a:lnTo>
                  <a:lnTo>
                    <a:pt x="159" y="71"/>
                  </a:lnTo>
                  <a:lnTo>
                    <a:pt x="162" y="69"/>
                  </a:lnTo>
                  <a:lnTo>
                    <a:pt x="164" y="66"/>
                  </a:lnTo>
                  <a:lnTo>
                    <a:pt x="166" y="67"/>
                  </a:lnTo>
                  <a:lnTo>
                    <a:pt x="166" y="68"/>
                  </a:lnTo>
                  <a:lnTo>
                    <a:pt x="165" y="68"/>
                  </a:lnTo>
                  <a:lnTo>
                    <a:pt x="165" y="69"/>
                  </a:lnTo>
                  <a:lnTo>
                    <a:pt x="164" y="69"/>
                  </a:lnTo>
                  <a:lnTo>
                    <a:pt x="174" y="68"/>
                  </a:lnTo>
                  <a:lnTo>
                    <a:pt x="177" y="66"/>
                  </a:lnTo>
                  <a:lnTo>
                    <a:pt x="178" y="66"/>
                  </a:lnTo>
                  <a:lnTo>
                    <a:pt x="178" y="68"/>
                  </a:lnTo>
                  <a:lnTo>
                    <a:pt x="178" y="69"/>
                  </a:lnTo>
                  <a:lnTo>
                    <a:pt x="177" y="70"/>
                  </a:lnTo>
                  <a:lnTo>
                    <a:pt x="175" y="71"/>
                  </a:lnTo>
                  <a:lnTo>
                    <a:pt x="159" y="73"/>
                  </a:lnTo>
                  <a:lnTo>
                    <a:pt x="157" y="75"/>
                  </a:lnTo>
                  <a:lnTo>
                    <a:pt x="159" y="76"/>
                  </a:lnTo>
                  <a:lnTo>
                    <a:pt x="163" y="81"/>
                  </a:lnTo>
                  <a:lnTo>
                    <a:pt x="166" y="81"/>
                  </a:lnTo>
                  <a:lnTo>
                    <a:pt x="171" y="81"/>
                  </a:lnTo>
                  <a:lnTo>
                    <a:pt x="174" y="81"/>
                  </a:lnTo>
                  <a:lnTo>
                    <a:pt x="177" y="83"/>
                  </a:lnTo>
                  <a:lnTo>
                    <a:pt x="174" y="85"/>
                  </a:lnTo>
                  <a:lnTo>
                    <a:pt x="172" y="86"/>
                  </a:lnTo>
                  <a:lnTo>
                    <a:pt x="172" y="88"/>
                  </a:lnTo>
                  <a:lnTo>
                    <a:pt x="172" y="92"/>
                  </a:lnTo>
                  <a:lnTo>
                    <a:pt x="173" y="98"/>
                  </a:lnTo>
                  <a:lnTo>
                    <a:pt x="173" y="102"/>
                  </a:lnTo>
                  <a:lnTo>
                    <a:pt x="172" y="105"/>
                  </a:lnTo>
                  <a:lnTo>
                    <a:pt x="170" y="102"/>
                  </a:lnTo>
                  <a:lnTo>
                    <a:pt x="169" y="100"/>
                  </a:lnTo>
                  <a:lnTo>
                    <a:pt x="165" y="96"/>
                  </a:lnTo>
                  <a:lnTo>
                    <a:pt x="164" y="94"/>
                  </a:lnTo>
                  <a:lnTo>
                    <a:pt x="163" y="91"/>
                  </a:lnTo>
                  <a:lnTo>
                    <a:pt x="163" y="89"/>
                  </a:lnTo>
                  <a:lnTo>
                    <a:pt x="160" y="89"/>
                  </a:lnTo>
                  <a:lnTo>
                    <a:pt x="156" y="86"/>
                  </a:lnTo>
                  <a:lnTo>
                    <a:pt x="153" y="85"/>
                  </a:lnTo>
                  <a:lnTo>
                    <a:pt x="151" y="88"/>
                  </a:lnTo>
                  <a:lnTo>
                    <a:pt x="151" y="93"/>
                  </a:lnTo>
                  <a:lnTo>
                    <a:pt x="151" y="95"/>
                  </a:lnTo>
                  <a:lnTo>
                    <a:pt x="149" y="97"/>
                  </a:lnTo>
                  <a:lnTo>
                    <a:pt x="145" y="94"/>
                  </a:lnTo>
                  <a:lnTo>
                    <a:pt x="144" y="92"/>
                  </a:lnTo>
                  <a:lnTo>
                    <a:pt x="143" y="89"/>
                  </a:lnTo>
                  <a:lnTo>
                    <a:pt x="134" y="92"/>
                  </a:lnTo>
                  <a:lnTo>
                    <a:pt x="133" y="92"/>
                  </a:lnTo>
                  <a:lnTo>
                    <a:pt x="133" y="93"/>
                  </a:lnTo>
                  <a:lnTo>
                    <a:pt x="133" y="94"/>
                  </a:lnTo>
                  <a:lnTo>
                    <a:pt x="129" y="95"/>
                  </a:lnTo>
                  <a:lnTo>
                    <a:pt x="128" y="96"/>
                  </a:lnTo>
                  <a:lnTo>
                    <a:pt x="126" y="98"/>
                  </a:lnTo>
                  <a:lnTo>
                    <a:pt x="126" y="100"/>
                  </a:lnTo>
                  <a:lnTo>
                    <a:pt x="124" y="101"/>
                  </a:lnTo>
                  <a:lnTo>
                    <a:pt x="116" y="105"/>
                  </a:lnTo>
                  <a:lnTo>
                    <a:pt x="111" y="103"/>
                  </a:lnTo>
                  <a:lnTo>
                    <a:pt x="105" y="105"/>
                  </a:lnTo>
                  <a:lnTo>
                    <a:pt x="99" y="108"/>
                  </a:lnTo>
                  <a:lnTo>
                    <a:pt x="95" y="110"/>
                  </a:lnTo>
                  <a:lnTo>
                    <a:pt x="92" y="109"/>
                  </a:lnTo>
                  <a:lnTo>
                    <a:pt x="86" y="107"/>
                  </a:lnTo>
                  <a:lnTo>
                    <a:pt x="83" y="106"/>
                  </a:lnTo>
                  <a:lnTo>
                    <a:pt x="80" y="105"/>
                  </a:lnTo>
                  <a:lnTo>
                    <a:pt x="75" y="100"/>
                  </a:lnTo>
                  <a:lnTo>
                    <a:pt x="73" y="99"/>
                  </a:lnTo>
                  <a:lnTo>
                    <a:pt x="71" y="100"/>
                  </a:lnTo>
                  <a:lnTo>
                    <a:pt x="70" y="101"/>
                  </a:lnTo>
                  <a:lnTo>
                    <a:pt x="69" y="102"/>
                  </a:lnTo>
                  <a:lnTo>
                    <a:pt x="64" y="104"/>
                  </a:lnTo>
                  <a:lnTo>
                    <a:pt x="57" y="108"/>
                  </a:lnTo>
                  <a:lnTo>
                    <a:pt x="51" y="111"/>
                  </a:lnTo>
                  <a:lnTo>
                    <a:pt x="49" y="111"/>
                  </a:lnTo>
                  <a:lnTo>
                    <a:pt x="48" y="112"/>
                  </a:lnTo>
                  <a:lnTo>
                    <a:pt x="49" y="113"/>
                  </a:lnTo>
                  <a:lnTo>
                    <a:pt x="51" y="114"/>
                  </a:lnTo>
                  <a:lnTo>
                    <a:pt x="52" y="114"/>
                  </a:lnTo>
                  <a:lnTo>
                    <a:pt x="55" y="119"/>
                  </a:lnTo>
                  <a:lnTo>
                    <a:pt x="56" y="120"/>
                  </a:lnTo>
                  <a:lnTo>
                    <a:pt x="60" y="120"/>
                  </a:lnTo>
                  <a:lnTo>
                    <a:pt x="57" y="122"/>
                  </a:lnTo>
                  <a:lnTo>
                    <a:pt x="53" y="124"/>
                  </a:lnTo>
                  <a:lnTo>
                    <a:pt x="48" y="124"/>
                  </a:lnTo>
                  <a:lnTo>
                    <a:pt x="45" y="121"/>
                  </a:lnTo>
                  <a:lnTo>
                    <a:pt x="44" y="121"/>
                  </a:lnTo>
                  <a:lnTo>
                    <a:pt x="44" y="125"/>
                  </a:lnTo>
                  <a:lnTo>
                    <a:pt x="42" y="128"/>
                  </a:lnTo>
                  <a:lnTo>
                    <a:pt x="40" y="129"/>
                  </a:lnTo>
                  <a:lnTo>
                    <a:pt x="38" y="130"/>
                  </a:lnTo>
                  <a:lnTo>
                    <a:pt x="36" y="131"/>
                  </a:lnTo>
                  <a:lnTo>
                    <a:pt x="33" y="132"/>
                  </a:lnTo>
                  <a:lnTo>
                    <a:pt x="30" y="132"/>
                  </a:lnTo>
                  <a:lnTo>
                    <a:pt x="24" y="130"/>
                  </a:lnTo>
                  <a:lnTo>
                    <a:pt x="19" y="132"/>
                  </a:lnTo>
                  <a:lnTo>
                    <a:pt x="11" y="139"/>
                  </a:lnTo>
                  <a:lnTo>
                    <a:pt x="13" y="143"/>
                  </a:lnTo>
                  <a:lnTo>
                    <a:pt x="15" y="144"/>
                  </a:lnTo>
                  <a:lnTo>
                    <a:pt x="21" y="141"/>
                  </a:lnTo>
                  <a:lnTo>
                    <a:pt x="20" y="143"/>
                  </a:lnTo>
                  <a:lnTo>
                    <a:pt x="23" y="143"/>
                  </a:lnTo>
                  <a:lnTo>
                    <a:pt x="26" y="142"/>
                  </a:lnTo>
                  <a:lnTo>
                    <a:pt x="29" y="141"/>
                  </a:lnTo>
                  <a:lnTo>
                    <a:pt x="29" y="143"/>
                  </a:lnTo>
                  <a:lnTo>
                    <a:pt x="26" y="143"/>
                  </a:lnTo>
                  <a:lnTo>
                    <a:pt x="25" y="143"/>
                  </a:lnTo>
                  <a:lnTo>
                    <a:pt x="24" y="144"/>
                  </a:lnTo>
                  <a:lnTo>
                    <a:pt x="22" y="145"/>
                  </a:lnTo>
                  <a:lnTo>
                    <a:pt x="22" y="146"/>
                  </a:lnTo>
                  <a:lnTo>
                    <a:pt x="21" y="147"/>
                  </a:lnTo>
                  <a:lnTo>
                    <a:pt x="21" y="148"/>
                  </a:lnTo>
                  <a:lnTo>
                    <a:pt x="18" y="150"/>
                  </a:lnTo>
                  <a:lnTo>
                    <a:pt x="16" y="151"/>
                  </a:lnTo>
                  <a:lnTo>
                    <a:pt x="14" y="150"/>
                  </a:lnTo>
                  <a:lnTo>
                    <a:pt x="11" y="148"/>
                  </a:lnTo>
                  <a:lnTo>
                    <a:pt x="11" y="151"/>
                  </a:lnTo>
                  <a:lnTo>
                    <a:pt x="9" y="152"/>
                  </a:lnTo>
                  <a:lnTo>
                    <a:pt x="7" y="154"/>
                  </a:lnTo>
                  <a:lnTo>
                    <a:pt x="6" y="158"/>
                  </a:lnTo>
                  <a:lnTo>
                    <a:pt x="5" y="160"/>
                  </a:lnTo>
                  <a:lnTo>
                    <a:pt x="3" y="160"/>
                  </a:lnTo>
                  <a:lnTo>
                    <a:pt x="2" y="161"/>
                  </a:lnTo>
                  <a:lnTo>
                    <a:pt x="3" y="166"/>
                  </a:lnTo>
                  <a:lnTo>
                    <a:pt x="5" y="168"/>
                  </a:lnTo>
                  <a:lnTo>
                    <a:pt x="6" y="169"/>
                  </a:lnTo>
                  <a:lnTo>
                    <a:pt x="6" y="171"/>
                  </a:lnTo>
                  <a:lnTo>
                    <a:pt x="5" y="173"/>
                  </a:lnTo>
                  <a:lnTo>
                    <a:pt x="5" y="174"/>
                  </a:lnTo>
                  <a:lnTo>
                    <a:pt x="4" y="176"/>
                  </a:lnTo>
                  <a:lnTo>
                    <a:pt x="4" y="177"/>
                  </a:lnTo>
                  <a:lnTo>
                    <a:pt x="1" y="186"/>
                  </a:lnTo>
                  <a:lnTo>
                    <a:pt x="0" y="188"/>
                  </a:lnTo>
                  <a:lnTo>
                    <a:pt x="0" y="190"/>
                  </a:lnTo>
                  <a:lnTo>
                    <a:pt x="1" y="191"/>
                  </a:lnTo>
                  <a:lnTo>
                    <a:pt x="3" y="196"/>
                  </a:lnTo>
                  <a:lnTo>
                    <a:pt x="4" y="197"/>
                  </a:lnTo>
                  <a:lnTo>
                    <a:pt x="5" y="195"/>
                  </a:lnTo>
                  <a:lnTo>
                    <a:pt x="6" y="190"/>
                  </a:lnTo>
                  <a:lnTo>
                    <a:pt x="7" y="188"/>
                  </a:lnTo>
                  <a:lnTo>
                    <a:pt x="9" y="187"/>
                  </a:lnTo>
                  <a:lnTo>
                    <a:pt x="11" y="186"/>
                  </a:lnTo>
                  <a:lnTo>
                    <a:pt x="12" y="186"/>
                  </a:lnTo>
                  <a:lnTo>
                    <a:pt x="13" y="189"/>
                  </a:lnTo>
                  <a:lnTo>
                    <a:pt x="14" y="189"/>
                  </a:lnTo>
                  <a:lnTo>
                    <a:pt x="15" y="189"/>
                  </a:lnTo>
                  <a:lnTo>
                    <a:pt x="16" y="188"/>
                  </a:lnTo>
                  <a:lnTo>
                    <a:pt x="15" y="185"/>
                  </a:lnTo>
                  <a:lnTo>
                    <a:pt x="15" y="184"/>
                  </a:lnTo>
                  <a:lnTo>
                    <a:pt x="17" y="185"/>
                  </a:lnTo>
                  <a:lnTo>
                    <a:pt x="20" y="189"/>
                  </a:lnTo>
                  <a:lnTo>
                    <a:pt x="21" y="190"/>
                  </a:lnTo>
                  <a:lnTo>
                    <a:pt x="24" y="190"/>
                  </a:lnTo>
                  <a:lnTo>
                    <a:pt x="25" y="191"/>
                  </a:lnTo>
                  <a:lnTo>
                    <a:pt x="25" y="192"/>
                  </a:lnTo>
                  <a:lnTo>
                    <a:pt x="25" y="194"/>
                  </a:lnTo>
                  <a:lnTo>
                    <a:pt x="24" y="196"/>
                  </a:lnTo>
                  <a:lnTo>
                    <a:pt x="23" y="197"/>
                  </a:lnTo>
                  <a:lnTo>
                    <a:pt x="23" y="198"/>
                  </a:lnTo>
                  <a:lnTo>
                    <a:pt x="23" y="199"/>
                  </a:lnTo>
                  <a:lnTo>
                    <a:pt x="24" y="202"/>
                  </a:lnTo>
                  <a:lnTo>
                    <a:pt x="24" y="204"/>
                  </a:lnTo>
                  <a:lnTo>
                    <a:pt x="27" y="205"/>
                  </a:lnTo>
                  <a:lnTo>
                    <a:pt x="29" y="207"/>
                  </a:lnTo>
                  <a:lnTo>
                    <a:pt x="30" y="209"/>
                  </a:lnTo>
                  <a:lnTo>
                    <a:pt x="29" y="211"/>
                  </a:lnTo>
                  <a:lnTo>
                    <a:pt x="28" y="213"/>
                  </a:lnTo>
                  <a:lnTo>
                    <a:pt x="27" y="213"/>
                  </a:lnTo>
                  <a:lnTo>
                    <a:pt x="25" y="213"/>
                  </a:lnTo>
                  <a:lnTo>
                    <a:pt x="26" y="218"/>
                  </a:lnTo>
                  <a:lnTo>
                    <a:pt x="27" y="221"/>
                  </a:lnTo>
                  <a:lnTo>
                    <a:pt x="28" y="224"/>
                  </a:lnTo>
                  <a:lnTo>
                    <a:pt x="30" y="225"/>
                  </a:lnTo>
                  <a:lnTo>
                    <a:pt x="33" y="226"/>
                  </a:lnTo>
                  <a:lnTo>
                    <a:pt x="35" y="225"/>
                  </a:lnTo>
                  <a:lnTo>
                    <a:pt x="39" y="221"/>
                  </a:lnTo>
                  <a:lnTo>
                    <a:pt x="38" y="218"/>
                  </a:lnTo>
                  <a:lnTo>
                    <a:pt x="42" y="217"/>
                  </a:lnTo>
                  <a:lnTo>
                    <a:pt x="50" y="218"/>
                  </a:lnTo>
                  <a:lnTo>
                    <a:pt x="54" y="217"/>
                  </a:lnTo>
                  <a:lnTo>
                    <a:pt x="58" y="216"/>
                  </a:lnTo>
                  <a:lnTo>
                    <a:pt x="60" y="213"/>
                  </a:lnTo>
                  <a:lnTo>
                    <a:pt x="61" y="208"/>
                  </a:lnTo>
                  <a:lnTo>
                    <a:pt x="64" y="210"/>
                  </a:lnTo>
                  <a:lnTo>
                    <a:pt x="65" y="213"/>
                  </a:lnTo>
                  <a:lnTo>
                    <a:pt x="63" y="217"/>
                  </a:lnTo>
                  <a:lnTo>
                    <a:pt x="62" y="218"/>
                  </a:lnTo>
                  <a:lnTo>
                    <a:pt x="59" y="219"/>
                  </a:lnTo>
                  <a:lnTo>
                    <a:pt x="56" y="221"/>
                  </a:lnTo>
                  <a:lnTo>
                    <a:pt x="52" y="227"/>
                  </a:lnTo>
                  <a:lnTo>
                    <a:pt x="47" y="229"/>
                  </a:lnTo>
                  <a:lnTo>
                    <a:pt x="47" y="230"/>
                  </a:lnTo>
                  <a:lnTo>
                    <a:pt x="45" y="231"/>
                  </a:lnTo>
                  <a:lnTo>
                    <a:pt x="44" y="232"/>
                  </a:lnTo>
                  <a:lnTo>
                    <a:pt x="43" y="233"/>
                  </a:lnTo>
                  <a:lnTo>
                    <a:pt x="41" y="236"/>
                  </a:lnTo>
                  <a:lnTo>
                    <a:pt x="40" y="240"/>
                  </a:lnTo>
                  <a:lnTo>
                    <a:pt x="40" y="244"/>
                  </a:lnTo>
                  <a:lnTo>
                    <a:pt x="40" y="246"/>
                  </a:lnTo>
                  <a:lnTo>
                    <a:pt x="38" y="249"/>
                  </a:lnTo>
                  <a:lnTo>
                    <a:pt x="36" y="255"/>
                  </a:lnTo>
                  <a:lnTo>
                    <a:pt x="35" y="260"/>
                  </a:lnTo>
                  <a:lnTo>
                    <a:pt x="37" y="262"/>
                  </a:lnTo>
                  <a:lnTo>
                    <a:pt x="41" y="264"/>
                  </a:lnTo>
                  <a:lnTo>
                    <a:pt x="42" y="268"/>
                  </a:lnTo>
                  <a:lnTo>
                    <a:pt x="42" y="271"/>
                  </a:lnTo>
                  <a:lnTo>
                    <a:pt x="44" y="274"/>
                  </a:lnTo>
                  <a:lnTo>
                    <a:pt x="47" y="271"/>
                  </a:lnTo>
                  <a:lnTo>
                    <a:pt x="48" y="270"/>
                  </a:lnTo>
                  <a:lnTo>
                    <a:pt x="49" y="270"/>
                  </a:lnTo>
                  <a:lnTo>
                    <a:pt x="50" y="265"/>
                  </a:lnTo>
                  <a:lnTo>
                    <a:pt x="51" y="264"/>
                  </a:lnTo>
                  <a:lnTo>
                    <a:pt x="57" y="262"/>
                  </a:lnTo>
                  <a:lnTo>
                    <a:pt x="59" y="261"/>
                  </a:lnTo>
                  <a:lnTo>
                    <a:pt x="56" y="258"/>
                  </a:lnTo>
                  <a:lnTo>
                    <a:pt x="61" y="254"/>
                  </a:lnTo>
                  <a:lnTo>
                    <a:pt x="64" y="253"/>
                  </a:lnTo>
                  <a:lnTo>
                    <a:pt x="63" y="255"/>
                  </a:lnTo>
                  <a:lnTo>
                    <a:pt x="65" y="257"/>
                  </a:lnTo>
                  <a:lnTo>
                    <a:pt x="67" y="256"/>
                  </a:lnTo>
                  <a:lnTo>
                    <a:pt x="70" y="251"/>
                  </a:lnTo>
                  <a:lnTo>
                    <a:pt x="69" y="249"/>
                  </a:lnTo>
                  <a:lnTo>
                    <a:pt x="69" y="246"/>
                  </a:lnTo>
                  <a:lnTo>
                    <a:pt x="72" y="242"/>
                  </a:lnTo>
                  <a:lnTo>
                    <a:pt x="74" y="243"/>
                  </a:lnTo>
                  <a:lnTo>
                    <a:pt x="75" y="247"/>
                  </a:lnTo>
                  <a:lnTo>
                    <a:pt x="77" y="249"/>
                  </a:lnTo>
                  <a:lnTo>
                    <a:pt x="80" y="251"/>
                  </a:lnTo>
                  <a:lnTo>
                    <a:pt x="83" y="250"/>
                  </a:lnTo>
                  <a:lnTo>
                    <a:pt x="85" y="247"/>
                  </a:lnTo>
                  <a:lnTo>
                    <a:pt x="87" y="244"/>
                  </a:lnTo>
                  <a:lnTo>
                    <a:pt x="88" y="240"/>
                  </a:lnTo>
                  <a:lnTo>
                    <a:pt x="89" y="240"/>
                  </a:lnTo>
                  <a:lnTo>
                    <a:pt x="88" y="245"/>
                  </a:lnTo>
                  <a:lnTo>
                    <a:pt x="82" y="258"/>
                  </a:lnTo>
                  <a:lnTo>
                    <a:pt x="80" y="261"/>
                  </a:lnTo>
                  <a:lnTo>
                    <a:pt x="78" y="262"/>
                  </a:lnTo>
                  <a:lnTo>
                    <a:pt x="76" y="263"/>
                  </a:lnTo>
                  <a:lnTo>
                    <a:pt x="74" y="266"/>
                  </a:lnTo>
                  <a:lnTo>
                    <a:pt x="74" y="269"/>
                  </a:lnTo>
                  <a:lnTo>
                    <a:pt x="74" y="273"/>
                  </a:lnTo>
                  <a:lnTo>
                    <a:pt x="76" y="280"/>
                  </a:lnTo>
                  <a:lnTo>
                    <a:pt x="74" y="282"/>
                  </a:lnTo>
                  <a:lnTo>
                    <a:pt x="74" y="284"/>
                  </a:lnTo>
                  <a:lnTo>
                    <a:pt x="74" y="287"/>
                  </a:lnTo>
                  <a:lnTo>
                    <a:pt x="74" y="289"/>
                  </a:lnTo>
                  <a:lnTo>
                    <a:pt x="72" y="290"/>
                  </a:lnTo>
                  <a:lnTo>
                    <a:pt x="70" y="289"/>
                  </a:lnTo>
                  <a:lnTo>
                    <a:pt x="68" y="288"/>
                  </a:lnTo>
                  <a:lnTo>
                    <a:pt x="66" y="287"/>
                  </a:lnTo>
                  <a:lnTo>
                    <a:pt x="68" y="286"/>
                  </a:lnTo>
                  <a:lnTo>
                    <a:pt x="68" y="284"/>
                  </a:lnTo>
                  <a:lnTo>
                    <a:pt x="67" y="282"/>
                  </a:lnTo>
                  <a:lnTo>
                    <a:pt x="65" y="281"/>
                  </a:lnTo>
                  <a:lnTo>
                    <a:pt x="63" y="282"/>
                  </a:lnTo>
                  <a:lnTo>
                    <a:pt x="59" y="283"/>
                  </a:lnTo>
                  <a:lnTo>
                    <a:pt x="56" y="285"/>
                  </a:lnTo>
                  <a:lnTo>
                    <a:pt x="55" y="287"/>
                  </a:lnTo>
                  <a:lnTo>
                    <a:pt x="56" y="288"/>
                  </a:lnTo>
                  <a:lnTo>
                    <a:pt x="62" y="289"/>
                  </a:lnTo>
                  <a:lnTo>
                    <a:pt x="64" y="290"/>
                  </a:lnTo>
                  <a:lnTo>
                    <a:pt x="65" y="293"/>
                  </a:lnTo>
                  <a:lnTo>
                    <a:pt x="66" y="297"/>
                  </a:lnTo>
                  <a:lnTo>
                    <a:pt x="67" y="299"/>
                  </a:lnTo>
                  <a:lnTo>
                    <a:pt x="71" y="301"/>
                  </a:lnTo>
                  <a:lnTo>
                    <a:pt x="76" y="302"/>
                  </a:lnTo>
                  <a:lnTo>
                    <a:pt x="81" y="302"/>
                  </a:lnTo>
                  <a:lnTo>
                    <a:pt x="84" y="301"/>
                  </a:lnTo>
                  <a:lnTo>
                    <a:pt x="87" y="299"/>
                  </a:lnTo>
                  <a:lnTo>
                    <a:pt x="91" y="296"/>
                  </a:lnTo>
                  <a:lnTo>
                    <a:pt x="94" y="294"/>
                  </a:lnTo>
                  <a:lnTo>
                    <a:pt x="95" y="294"/>
                  </a:lnTo>
                  <a:lnTo>
                    <a:pt x="95" y="294"/>
                  </a:lnTo>
                  <a:lnTo>
                    <a:pt x="97" y="293"/>
                  </a:lnTo>
                  <a:lnTo>
                    <a:pt x="98" y="294"/>
                  </a:lnTo>
                  <a:lnTo>
                    <a:pt x="99" y="294"/>
                  </a:lnTo>
                  <a:lnTo>
                    <a:pt x="101" y="293"/>
                  </a:lnTo>
                  <a:lnTo>
                    <a:pt x="100" y="296"/>
                  </a:lnTo>
                  <a:lnTo>
                    <a:pt x="98" y="299"/>
                  </a:lnTo>
                  <a:lnTo>
                    <a:pt x="92" y="302"/>
                  </a:lnTo>
                  <a:lnTo>
                    <a:pt x="89" y="305"/>
                  </a:lnTo>
                  <a:lnTo>
                    <a:pt x="84" y="312"/>
                  </a:lnTo>
                  <a:lnTo>
                    <a:pt x="82" y="315"/>
                  </a:lnTo>
                  <a:lnTo>
                    <a:pt x="82" y="315"/>
                  </a:lnTo>
                  <a:lnTo>
                    <a:pt x="76" y="314"/>
                  </a:lnTo>
                  <a:lnTo>
                    <a:pt x="74" y="314"/>
                  </a:lnTo>
                  <a:lnTo>
                    <a:pt x="73" y="315"/>
                  </a:lnTo>
                  <a:lnTo>
                    <a:pt x="73" y="316"/>
                  </a:lnTo>
                  <a:lnTo>
                    <a:pt x="74" y="317"/>
                  </a:lnTo>
                  <a:lnTo>
                    <a:pt x="74" y="324"/>
                  </a:lnTo>
                  <a:lnTo>
                    <a:pt x="73" y="326"/>
                  </a:lnTo>
                  <a:lnTo>
                    <a:pt x="70" y="323"/>
                  </a:lnTo>
                  <a:lnTo>
                    <a:pt x="70" y="323"/>
                  </a:lnTo>
                  <a:lnTo>
                    <a:pt x="70" y="325"/>
                  </a:lnTo>
                  <a:lnTo>
                    <a:pt x="68" y="330"/>
                  </a:lnTo>
                  <a:lnTo>
                    <a:pt x="67" y="333"/>
                  </a:lnTo>
                  <a:lnTo>
                    <a:pt x="70" y="332"/>
                  </a:lnTo>
                  <a:lnTo>
                    <a:pt x="79" y="333"/>
                  </a:lnTo>
                  <a:lnTo>
                    <a:pt x="80" y="332"/>
                  </a:lnTo>
                  <a:lnTo>
                    <a:pt x="82" y="330"/>
                  </a:lnTo>
                  <a:lnTo>
                    <a:pt x="91" y="326"/>
                  </a:lnTo>
                  <a:lnTo>
                    <a:pt x="94" y="325"/>
                  </a:lnTo>
                  <a:lnTo>
                    <a:pt x="98" y="324"/>
                  </a:lnTo>
                  <a:lnTo>
                    <a:pt x="100" y="320"/>
                  </a:lnTo>
                  <a:lnTo>
                    <a:pt x="102" y="316"/>
                  </a:lnTo>
                  <a:lnTo>
                    <a:pt x="104" y="314"/>
                  </a:lnTo>
                  <a:lnTo>
                    <a:pt x="105" y="313"/>
                  </a:lnTo>
                  <a:lnTo>
                    <a:pt x="106" y="314"/>
                  </a:lnTo>
                  <a:lnTo>
                    <a:pt x="106" y="315"/>
                  </a:lnTo>
                  <a:lnTo>
                    <a:pt x="106" y="321"/>
                  </a:lnTo>
                  <a:lnTo>
                    <a:pt x="106" y="323"/>
                  </a:lnTo>
                  <a:lnTo>
                    <a:pt x="104" y="324"/>
                  </a:lnTo>
                  <a:lnTo>
                    <a:pt x="101" y="326"/>
                  </a:lnTo>
                  <a:lnTo>
                    <a:pt x="99" y="328"/>
                  </a:lnTo>
                  <a:lnTo>
                    <a:pt x="94" y="332"/>
                  </a:lnTo>
                  <a:lnTo>
                    <a:pt x="93" y="333"/>
                  </a:lnTo>
                  <a:lnTo>
                    <a:pt x="91" y="334"/>
                  </a:lnTo>
                  <a:lnTo>
                    <a:pt x="82" y="340"/>
                  </a:lnTo>
                  <a:lnTo>
                    <a:pt x="80" y="344"/>
                  </a:lnTo>
                  <a:lnTo>
                    <a:pt x="79" y="345"/>
                  </a:lnTo>
                  <a:lnTo>
                    <a:pt x="77" y="345"/>
                  </a:lnTo>
                  <a:lnTo>
                    <a:pt x="76" y="348"/>
                  </a:lnTo>
                  <a:lnTo>
                    <a:pt x="76" y="350"/>
                  </a:lnTo>
                  <a:lnTo>
                    <a:pt x="75" y="350"/>
                  </a:lnTo>
                  <a:lnTo>
                    <a:pt x="71" y="353"/>
                  </a:lnTo>
                  <a:lnTo>
                    <a:pt x="70" y="353"/>
                  </a:lnTo>
                  <a:lnTo>
                    <a:pt x="71" y="355"/>
                  </a:lnTo>
                  <a:lnTo>
                    <a:pt x="74" y="356"/>
                  </a:lnTo>
                  <a:lnTo>
                    <a:pt x="75" y="358"/>
                  </a:lnTo>
                  <a:lnTo>
                    <a:pt x="74" y="360"/>
                  </a:lnTo>
                  <a:lnTo>
                    <a:pt x="71" y="361"/>
                  </a:lnTo>
                  <a:lnTo>
                    <a:pt x="65" y="361"/>
                  </a:lnTo>
                  <a:lnTo>
                    <a:pt x="63" y="362"/>
                  </a:lnTo>
                  <a:lnTo>
                    <a:pt x="62" y="366"/>
                  </a:lnTo>
                  <a:lnTo>
                    <a:pt x="65" y="407"/>
                  </a:lnTo>
                  <a:lnTo>
                    <a:pt x="65" y="410"/>
                  </a:lnTo>
                  <a:lnTo>
                    <a:pt x="68" y="411"/>
                  </a:lnTo>
                  <a:lnTo>
                    <a:pt x="70" y="409"/>
                  </a:lnTo>
                  <a:lnTo>
                    <a:pt x="73" y="406"/>
                  </a:lnTo>
                  <a:lnTo>
                    <a:pt x="75" y="404"/>
                  </a:lnTo>
                  <a:lnTo>
                    <a:pt x="79" y="403"/>
                  </a:lnTo>
                  <a:lnTo>
                    <a:pt x="82" y="401"/>
                  </a:lnTo>
                  <a:lnTo>
                    <a:pt x="84" y="398"/>
                  </a:lnTo>
                  <a:lnTo>
                    <a:pt x="86" y="394"/>
                  </a:lnTo>
                  <a:lnTo>
                    <a:pt x="88" y="393"/>
                  </a:lnTo>
                  <a:lnTo>
                    <a:pt x="91" y="391"/>
                  </a:lnTo>
                  <a:lnTo>
                    <a:pt x="95" y="390"/>
                  </a:lnTo>
                  <a:lnTo>
                    <a:pt x="99" y="388"/>
                  </a:lnTo>
                  <a:lnTo>
                    <a:pt x="99" y="385"/>
                  </a:lnTo>
                  <a:lnTo>
                    <a:pt x="101" y="381"/>
                  </a:lnTo>
                  <a:lnTo>
                    <a:pt x="103" y="379"/>
                  </a:lnTo>
                  <a:lnTo>
                    <a:pt x="105" y="377"/>
                  </a:lnTo>
                  <a:lnTo>
                    <a:pt x="108" y="376"/>
                  </a:lnTo>
                  <a:lnTo>
                    <a:pt x="114" y="376"/>
                  </a:lnTo>
                  <a:lnTo>
                    <a:pt x="117" y="375"/>
                  </a:lnTo>
                  <a:lnTo>
                    <a:pt x="122" y="371"/>
                  </a:lnTo>
                  <a:lnTo>
                    <a:pt x="125" y="370"/>
                  </a:lnTo>
                  <a:lnTo>
                    <a:pt x="150" y="366"/>
                  </a:lnTo>
                  <a:lnTo>
                    <a:pt x="153" y="364"/>
                  </a:lnTo>
                  <a:lnTo>
                    <a:pt x="157" y="361"/>
                  </a:lnTo>
                  <a:lnTo>
                    <a:pt x="158" y="360"/>
                  </a:lnTo>
                  <a:lnTo>
                    <a:pt x="159" y="359"/>
                  </a:lnTo>
                  <a:lnTo>
                    <a:pt x="162" y="359"/>
                  </a:lnTo>
                  <a:lnTo>
                    <a:pt x="165" y="358"/>
                  </a:lnTo>
                  <a:lnTo>
                    <a:pt x="170" y="355"/>
                  </a:lnTo>
                  <a:lnTo>
                    <a:pt x="171" y="357"/>
                  </a:lnTo>
                  <a:lnTo>
                    <a:pt x="172" y="360"/>
                  </a:lnTo>
                  <a:lnTo>
                    <a:pt x="172" y="369"/>
                  </a:lnTo>
                  <a:lnTo>
                    <a:pt x="172" y="373"/>
                  </a:lnTo>
                  <a:lnTo>
                    <a:pt x="175" y="374"/>
                  </a:lnTo>
                  <a:lnTo>
                    <a:pt x="177" y="374"/>
                  </a:lnTo>
                  <a:lnTo>
                    <a:pt x="180" y="372"/>
                  </a:lnTo>
                  <a:lnTo>
                    <a:pt x="183" y="372"/>
                  </a:lnTo>
                  <a:lnTo>
                    <a:pt x="186" y="374"/>
                  </a:lnTo>
                  <a:lnTo>
                    <a:pt x="188" y="376"/>
                  </a:lnTo>
                  <a:lnTo>
                    <a:pt x="190" y="379"/>
                  </a:lnTo>
                  <a:lnTo>
                    <a:pt x="189" y="383"/>
                  </a:lnTo>
                  <a:lnTo>
                    <a:pt x="188" y="385"/>
                  </a:lnTo>
                  <a:lnTo>
                    <a:pt x="185" y="388"/>
                  </a:lnTo>
                  <a:lnTo>
                    <a:pt x="181" y="390"/>
                  </a:lnTo>
                  <a:lnTo>
                    <a:pt x="176" y="395"/>
                  </a:lnTo>
                  <a:lnTo>
                    <a:pt x="170" y="404"/>
                  </a:lnTo>
                  <a:lnTo>
                    <a:pt x="168" y="408"/>
                  </a:lnTo>
                  <a:lnTo>
                    <a:pt x="168" y="412"/>
                  </a:lnTo>
                  <a:lnTo>
                    <a:pt x="170" y="416"/>
                  </a:lnTo>
                  <a:lnTo>
                    <a:pt x="176" y="418"/>
                  </a:lnTo>
                  <a:lnTo>
                    <a:pt x="177" y="419"/>
                  </a:lnTo>
                  <a:lnTo>
                    <a:pt x="177" y="422"/>
                  </a:lnTo>
                  <a:lnTo>
                    <a:pt x="177" y="428"/>
                  </a:lnTo>
                  <a:lnTo>
                    <a:pt x="176" y="428"/>
                  </a:lnTo>
                  <a:lnTo>
                    <a:pt x="190" y="429"/>
                  </a:lnTo>
                  <a:lnTo>
                    <a:pt x="197" y="427"/>
                  </a:lnTo>
                  <a:lnTo>
                    <a:pt x="197" y="427"/>
                  </a:lnTo>
                  <a:lnTo>
                    <a:pt x="202" y="421"/>
                  </a:lnTo>
                  <a:lnTo>
                    <a:pt x="204" y="419"/>
                  </a:lnTo>
                  <a:lnTo>
                    <a:pt x="206" y="417"/>
                  </a:lnTo>
                  <a:lnTo>
                    <a:pt x="208" y="416"/>
                  </a:lnTo>
                  <a:lnTo>
                    <a:pt x="211" y="416"/>
                  </a:lnTo>
                  <a:lnTo>
                    <a:pt x="214" y="416"/>
                  </a:lnTo>
                  <a:lnTo>
                    <a:pt x="215" y="413"/>
                  </a:lnTo>
                  <a:lnTo>
                    <a:pt x="216" y="410"/>
                  </a:lnTo>
                  <a:lnTo>
                    <a:pt x="217" y="407"/>
                  </a:lnTo>
                  <a:lnTo>
                    <a:pt x="220" y="406"/>
                  </a:lnTo>
                  <a:lnTo>
                    <a:pt x="220" y="412"/>
                  </a:lnTo>
                  <a:lnTo>
                    <a:pt x="221" y="418"/>
                  </a:lnTo>
                  <a:lnTo>
                    <a:pt x="226" y="418"/>
                  </a:lnTo>
                  <a:lnTo>
                    <a:pt x="227" y="417"/>
                  </a:lnTo>
                  <a:lnTo>
                    <a:pt x="228" y="415"/>
                  </a:lnTo>
                  <a:lnTo>
                    <a:pt x="229" y="414"/>
                  </a:lnTo>
                  <a:lnTo>
                    <a:pt x="231" y="413"/>
                  </a:lnTo>
                  <a:lnTo>
                    <a:pt x="235" y="414"/>
                  </a:lnTo>
                  <a:lnTo>
                    <a:pt x="245" y="411"/>
                  </a:lnTo>
                  <a:lnTo>
                    <a:pt x="249" y="409"/>
                  </a:lnTo>
                  <a:lnTo>
                    <a:pt x="251" y="410"/>
                  </a:lnTo>
                  <a:lnTo>
                    <a:pt x="256" y="413"/>
                  </a:lnTo>
                  <a:lnTo>
                    <a:pt x="259" y="414"/>
                  </a:lnTo>
                  <a:lnTo>
                    <a:pt x="267" y="415"/>
                  </a:lnTo>
                  <a:lnTo>
                    <a:pt x="265" y="421"/>
                  </a:lnTo>
                  <a:lnTo>
                    <a:pt x="265" y="423"/>
                  </a:lnTo>
                  <a:lnTo>
                    <a:pt x="267" y="425"/>
                  </a:lnTo>
                  <a:lnTo>
                    <a:pt x="270" y="425"/>
                  </a:lnTo>
                  <a:lnTo>
                    <a:pt x="274" y="424"/>
                  </a:lnTo>
                  <a:lnTo>
                    <a:pt x="277" y="423"/>
                  </a:lnTo>
                  <a:lnTo>
                    <a:pt x="279" y="422"/>
                  </a:lnTo>
                  <a:lnTo>
                    <a:pt x="280" y="420"/>
                  </a:lnTo>
                  <a:lnTo>
                    <a:pt x="280" y="418"/>
                  </a:lnTo>
                  <a:lnTo>
                    <a:pt x="280" y="417"/>
                  </a:lnTo>
                  <a:lnTo>
                    <a:pt x="282" y="416"/>
                  </a:lnTo>
                  <a:lnTo>
                    <a:pt x="283" y="416"/>
                  </a:lnTo>
                  <a:lnTo>
                    <a:pt x="285" y="418"/>
                  </a:lnTo>
                  <a:lnTo>
                    <a:pt x="287" y="418"/>
                  </a:lnTo>
                  <a:lnTo>
                    <a:pt x="289" y="419"/>
                  </a:lnTo>
                  <a:lnTo>
                    <a:pt x="291" y="422"/>
                  </a:lnTo>
                  <a:lnTo>
                    <a:pt x="293" y="425"/>
                  </a:lnTo>
                  <a:lnTo>
                    <a:pt x="293" y="429"/>
                  </a:lnTo>
                  <a:lnTo>
                    <a:pt x="295" y="427"/>
                  </a:lnTo>
                  <a:lnTo>
                    <a:pt x="299" y="423"/>
                  </a:lnTo>
                  <a:lnTo>
                    <a:pt x="301" y="421"/>
                  </a:lnTo>
                  <a:lnTo>
                    <a:pt x="304" y="421"/>
                  </a:lnTo>
                  <a:lnTo>
                    <a:pt x="309" y="421"/>
                  </a:lnTo>
                  <a:lnTo>
                    <a:pt x="312" y="420"/>
                  </a:lnTo>
                  <a:lnTo>
                    <a:pt x="324" y="417"/>
                  </a:lnTo>
                  <a:lnTo>
                    <a:pt x="329" y="413"/>
                  </a:lnTo>
                  <a:lnTo>
                    <a:pt x="330" y="411"/>
                  </a:lnTo>
                  <a:lnTo>
                    <a:pt x="332" y="408"/>
                  </a:lnTo>
                  <a:lnTo>
                    <a:pt x="333" y="405"/>
                  </a:lnTo>
                  <a:lnTo>
                    <a:pt x="332" y="398"/>
                  </a:lnTo>
                  <a:lnTo>
                    <a:pt x="332" y="395"/>
                  </a:lnTo>
                  <a:lnTo>
                    <a:pt x="333" y="394"/>
                  </a:lnTo>
                  <a:lnTo>
                    <a:pt x="335" y="392"/>
                  </a:lnTo>
                  <a:lnTo>
                    <a:pt x="338" y="391"/>
                  </a:lnTo>
                  <a:lnTo>
                    <a:pt x="341" y="390"/>
                  </a:lnTo>
                  <a:lnTo>
                    <a:pt x="346" y="394"/>
                  </a:lnTo>
                  <a:lnTo>
                    <a:pt x="350" y="398"/>
                  </a:lnTo>
                  <a:lnTo>
                    <a:pt x="355" y="400"/>
                  </a:lnTo>
                  <a:lnTo>
                    <a:pt x="361" y="398"/>
                  </a:lnTo>
                  <a:lnTo>
                    <a:pt x="365" y="395"/>
                  </a:lnTo>
                  <a:lnTo>
                    <a:pt x="366" y="395"/>
                  </a:lnTo>
                  <a:lnTo>
                    <a:pt x="368" y="397"/>
                  </a:lnTo>
                  <a:lnTo>
                    <a:pt x="372" y="400"/>
                  </a:lnTo>
                  <a:lnTo>
                    <a:pt x="377" y="401"/>
                  </a:lnTo>
                  <a:lnTo>
                    <a:pt x="387" y="400"/>
                  </a:lnTo>
                  <a:lnTo>
                    <a:pt x="390" y="398"/>
                  </a:lnTo>
                  <a:lnTo>
                    <a:pt x="392" y="391"/>
                  </a:lnTo>
                  <a:lnTo>
                    <a:pt x="396" y="392"/>
                  </a:lnTo>
                  <a:lnTo>
                    <a:pt x="402" y="401"/>
                  </a:lnTo>
                  <a:lnTo>
                    <a:pt x="407" y="402"/>
                  </a:lnTo>
                  <a:lnTo>
                    <a:pt x="418" y="402"/>
                  </a:lnTo>
                  <a:lnTo>
                    <a:pt x="423" y="400"/>
                  </a:lnTo>
                  <a:lnTo>
                    <a:pt x="426" y="396"/>
                  </a:lnTo>
                  <a:lnTo>
                    <a:pt x="430" y="397"/>
                  </a:lnTo>
                  <a:lnTo>
                    <a:pt x="431" y="400"/>
                  </a:lnTo>
                  <a:lnTo>
                    <a:pt x="432" y="403"/>
                  </a:lnTo>
                  <a:lnTo>
                    <a:pt x="431" y="413"/>
                  </a:lnTo>
                  <a:lnTo>
                    <a:pt x="432" y="414"/>
                  </a:lnTo>
                  <a:lnTo>
                    <a:pt x="435" y="414"/>
                  </a:lnTo>
                  <a:lnTo>
                    <a:pt x="439" y="416"/>
                  </a:lnTo>
                  <a:lnTo>
                    <a:pt x="437" y="420"/>
                  </a:lnTo>
                  <a:lnTo>
                    <a:pt x="433" y="437"/>
                  </a:lnTo>
                  <a:lnTo>
                    <a:pt x="433" y="439"/>
                  </a:lnTo>
                  <a:lnTo>
                    <a:pt x="431" y="441"/>
                  </a:lnTo>
                  <a:lnTo>
                    <a:pt x="431" y="443"/>
                  </a:lnTo>
                  <a:lnTo>
                    <a:pt x="431" y="445"/>
                  </a:lnTo>
                  <a:lnTo>
                    <a:pt x="432" y="447"/>
                  </a:lnTo>
                  <a:lnTo>
                    <a:pt x="433" y="448"/>
                  </a:lnTo>
                  <a:lnTo>
                    <a:pt x="433" y="452"/>
                  </a:lnTo>
                  <a:lnTo>
                    <a:pt x="434" y="457"/>
                  </a:lnTo>
                  <a:lnTo>
                    <a:pt x="436" y="460"/>
                  </a:lnTo>
                  <a:lnTo>
                    <a:pt x="441" y="462"/>
                  </a:lnTo>
                  <a:lnTo>
                    <a:pt x="442" y="461"/>
                  </a:lnTo>
                  <a:lnTo>
                    <a:pt x="445" y="460"/>
                  </a:lnTo>
                  <a:lnTo>
                    <a:pt x="447" y="458"/>
                  </a:lnTo>
                  <a:lnTo>
                    <a:pt x="448" y="457"/>
                  </a:lnTo>
                  <a:lnTo>
                    <a:pt x="449" y="456"/>
                  </a:lnTo>
                  <a:lnTo>
                    <a:pt x="451" y="456"/>
                  </a:lnTo>
                  <a:lnTo>
                    <a:pt x="464" y="459"/>
                  </a:lnTo>
                  <a:lnTo>
                    <a:pt x="472" y="462"/>
                  </a:lnTo>
                  <a:lnTo>
                    <a:pt x="479" y="467"/>
                  </a:lnTo>
                  <a:lnTo>
                    <a:pt x="486" y="474"/>
                  </a:lnTo>
                  <a:lnTo>
                    <a:pt x="488" y="477"/>
                  </a:lnTo>
                  <a:lnTo>
                    <a:pt x="490" y="479"/>
                  </a:lnTo>
                  <a:lnTo>
                    <a:pt x="482" y="490"/>
                  </a:lnTo>
                  <a:lnTo>
                    <a:pt x="478" y="494"/>
                  </a:lnTo>
                  <a:lnTo>
                    <a:pt x="477" y="496"/>
                  </a:lnTo>
                  <a:lnTo>
                    <a:pt x="477" y="498"/>
                  </a:lnTo>
                  <a:lnTo>
                    <a:pt x="477" y="500"/>
                  </a:lnTo>
                  <a:lnTo>
                    <a:pt x="477" y="501"/>
                  </a:lnTo>
                  <a:lnTo>
                    <a:pt x="471" y="511"/>
                  </a:lnTo>
                  <a:lnTo>
                    <a:pt x="471" y="512"/>
                  </a:lnTo>
                  <a:lnTo>
                    <a:pt x="466" y="513"/>
                  </a:lnTo>
                  <a:lnTo>
                    <a:pt x="464" y="514"/>
                  </a:lnTo>
                  <a:lnTo>
                    <a:pt x="462" y="515"/>
                  </a:lnTo>
                  <a:lnTo>
                    <a:pt x="463" y="516"/>
                  </a:lnTo>
                  <a:lnTo>
                    <a:pt x="463" y="517"/>
                  </a:lnTo>
                  <a:lnTo>
                    <a:pt x="463" y="518"/>
                  </a:lnTo>
                  <a:lnTo>
                    <a:pt x="462" y="520"/>
                  </a:lnTo>
                  <a:lnTo>
                    <a:pt x="461" y="520"/>
                  </a:lnTo>
                  <a:lnTo>
                    <a:pt x="460" y="519"/>
                  </a:lnTo>
                  <a:lnTo>
                    <a:pt x="459" y="520"/>
                  </a:lnTo>
                  <a:lnTo>
                    <a:pt x="454" y="528"/>
                  </a:lnTo>
                  <a:lnTo>
                    <a:pt x="449" y="533"/>
                  </a:lnTo>
                  <a:lnTo>
                    <a:pt x="444" y="537"/>
                  </a:lnTo>
                  <a:lnTo>
                    <a:pt x="434" y="541"/>
                  </a:lnTo>
                  <a:lnTo>
                    <a:pt x="433" y="542"/>
                  </a:lnTo>
                  <a:lnTo>
                    <a:pt x="422" y="542"/>
                  </a:lnTo>
                  <a:lnTo>
                    <a:pt x="420" y="543"/>
                  </a:lnTo>
                  <a:lnTo>
                    <a:pt x="418" y="545"/>
                  </a:lnTo>
                  <a:lnTo>
                    <a:pt x="412" y="553"/>
                  </a:lnTo>
                  <a:lnTo>
                    <a:pt x="411" y="556"/>
                  </a:lnTo>
                  <a:lnTo>
                    <a:pt x="410" y="558"/>
                  </a:lnTo>
                  <a:lnTo>
                    <a:pt x="405" y="563"/>
                  </a:lnTo>
                  <a:lnTo>
                    <a:pt x="402" y="565"/>
                  </a:lnTo>
                  <a:lnTo>
                    <a:pt x="402" y="567"/>
                  </a:lnTo>
                  <a:lnTo>
                    <a:pt x="402" y="572"/>
                  </a:lnTo>
                  <a:lnTo>
                    <a:pt x="401" y="576"/>
                  </a:lnTo>
                  <a:lnTo>
                    <a:pt x="395" y="585"/>
                  </a:lnTo>
                  <a:lnTo>
                    <a:pt x="392" y="587"/>
                  </a:lnTo>
                  <a:lnTo>
                    <a:pt x="388" y="588"/>
                  </a:lnTo>
                  <a:lnTo>
                    <a:pt x="378" y="587"/>
                  </a:lnTo>
                  <a:lnTo>
                    <a:pt x="375" y="589"/>
                  </a:lnTo>
                  <a:lnTo>
                    <a:pt x="375" y="589"/>
                  </a:lnTo>
                  <a:lnTo>
                    <a:pt x="374" y="593"/>
                  </a:lnTo>
                  <a:lnTo>
                    <a:pt x="373" y="595"/>
                  </a:lnTo>
                  <a:lnTo>
                    <a:pt x="373" y="598"/>
                  </a:lnTo>
                  <a:lnTo>
                    <a:pt x="375" y="600"/>
                  </a:lnTo>
                  <a:lnTo>
                    <a:pt x="380" y="606"/>
                  </a:lnTo>
                  <a:lnTo>
                    <a:pt x="382" y="609"/>
                  </a:lnTo>
                  <a:lnTo>
                    <a:pt x="385" y="618"/>
                  </a:lnTo>
                  <a:lnTo>
                    <a:pt x="387" y="622"/>
                  </a:lnTo>
                  <a:lnTo>
                    <a:pt x="388" y="624"/>
                  </a:lnTo>
                  <a:lnTo>
                    <a:pt x="390" y="625"/>
                  </a:lnTo>
                  <a:lnTo>
                    <a:pt x="392" y="626"/>
                  </a:lnTo>
                  <a:lnTo>
                    <a:pt x="393" y="629"/>
                  </a:lnTo>
                  <a:lnTo>
                    <a:pt x="392" y="631"/>
                  </a:lnTo>
                  <a:lnTo>
                    <a:pt x="390" y="632"/>
                  </a:lnTo>
                  <a:lnTo>
                    <a:pt x="389" y="638"/>
                  </a:lnTo>
                  <a:lnTo>
                    <a:pt x="390" y="639"/>
                  </a:lnTo>
                  <a:lnTo>
                    <a:pt x="390" y="641"/>
                  </a:lnTo>
                  <a:lnTo>
                    <a:pt x="390" y="642"/>
                  </a:lnTo>
                  <a:lnTo>
                    <a:pt x="389" y="643"/>
                  </a:lnTo>
                  <a:lnTo>
                    <a:pt x="389" y="645"/>
                  </a:lnTo>
                  <a:lnTo>
                    <a:pt x="389" y="649"/>
                  </a:lnTo>
                  <a:lnTo>
                    <a:pt x="389" y="653"/>
                  </a:lnTo>
                  <a:lnTo>
                    <a:pt x="392" y="659"/>
                  </a:lnTo>
                  <a:lnTo>
                    <a:pt x="393" y="666"/>
                  </a:lnTo>
                  <a:lnTo>
                    <a:pt x="393" y="670"/>
                  </a:lnTo>
                  <a:lnTo>
                    <a:pt x="393" y="672"/>
                  </a:lnTo>
                  <a:lnTo>
                    <a:pt x="392" y="676"/>
                  </a:lnTo>
                  <a:lnTo>
                    <a:pt x="388" y="683"/>
                  </a:lnTo>
                  <a:lnTo>
                    <a:pt x="387" y="686"/>
                  </a:lnTo>
                  <a:lnTo>
                    <a:pt x="388" y="690"/>
                  </a:lnTo>
                  <a:lnTo>
                    <a:pt x="389" y="692"/>
                  </a:lnTo>
                  <a:lnTo>
                    <a:pt x="391" y="694"/>
                  </a:lnTo>
                  <a:lnTo>
                    <a:pt x="392" y="697"/>
                  </a:lnTo>
                  <a:lnTo>
                    <a:pt x="393" y="700"/>
                  </a:lnTo>
                  <a:lnTo>
                    <a:pt x="393" y="703"/>
                  </a:lnTo>
                  <a:lnTo>
                    <a:pt x="389" y="708"/>
                  </a:lnTo>
                  <a:lnTo>
                    <a:pt x="386" y="715"/>
                  </a:lnTo>
                  <a:lnTo>
                    <a:pt x="387" y="722"/>
                  </a:lnTo>
                  <a:lnTo>
                    <a:pt x="391" y="728"/>
                  </a:lnTo>
                  <a:lnTo>
                    <a:pt x="396" y="733"/>
                  </a:lnTo>
                  <a:lnTo>
                    <a:pt x="393" y="738"/>
                  </a:lnTo>
                  <a:lnTo>
                    <a:pt x="392" y="739"/>
                  </a:lnTo>
                  <a:lnTo>
                    <a:pt x="385" y="745"/>
                  </a:lnTo>
                  <a:lnTo>
                    <a:pt x="384" y="745"/>
                  </a:lnTo>
                  <a:lnTo>
                    <a:pt x="384" y="747"/>
                  </a:lnTo>
                  <a:lnTo>
                    <a:pt x="383" y="749"/>
                  </a:lnTo>
                  <a:lnTo>
                    <a:pt x="383" y="750"/>
                  </a:lnTo>
                  <a:lnTo>
                    <a:pt x="383" y="752"/>
                  </a:lnTo>
                  <a:lnTo>
                    <a:pt x="380" y="754"/>
                  </a:lnTo>
                  <a:lnTo>
                    <a:pt x="377" y="754"/>
                  </a:lnTo>
                  <a:lnTo>
                    <a:pt x="374" y="754"/>
                  </a:lnTo>
                  <a:lnTo>
                    <a:pt x="373" y="754"/>
                  </a:lnTo>
                  <a:lnTo>
                    <a:pt x="371" y="754"/>
                  </a:lnTo>
                  <a:lnTo>
                    <a:pt x="364" y="759"/>
                  </a:lnTo>
                  <a:lnTo>
                    <a:pt x="361" y="760"/>
                  </a:lnTo>
                  <a:lnTo>
                    <a:pt x="360" y="762"/>
                  </a:lnTo>
                  <a:lnTo>
                    <a:pt x="358" y="767"/>
                  </a:lnTo>
                  <a:lnTo>
                    <a:pt x="357" y="769"/>
                  </a:lnTo>
                  <a:lnTo>
                    <a:pt x="358" y="772"/>
                  </a:lnTo>
                  <a:lnTo>
                    <a:pt x="359" y="779"/>
                  </a:lnTo>
                  <a:lnTo>
                    <a:pt x="361" y="782"/>
                  </a:lnTo>
                  <a:lnTo>
                    <a:pt x="363" y="783"/>
                  </a:lnTo>
                  <a:lnTo>
                    <a:pt x="367" y="783"/>
                  </a:lnTo>
                  <a:lnTo>
                    <a:pt x="369" y="784"/>
                  </a:lnTo>
                  <a:lnTo>
                    <a:pt x="371" y="785"/>
                  </a:lnTo>
                  <a:lnTo>
                    <a:pt x="373" y="789"/>
                  </a:lnTo>
                  <a:lnTo>
                    <a:pt x="376" y="793"/>
                  </a:lnTo>
                  <a:lnTo>
                    <a:pt x="383" y="805"/>
                  </a:lnTo>
                  <a:lnTo>
                    <a:pt x="380" y="809"/>
                  </a:lnTo>
                  <a:lnTo>
                    <a:pt x="379" y="812"/>
                  </a:lnTo>
                  <a:lnTo>
                    <a:pt x="379" y="814"/>
                  </a:lnTo>
                  <a:lnTo>
                    <a:pt x="379" y="816"/>
                  </a:lnTo>
                  <a:lnTo>
                    <a:pt x="378" y="821"/>
                  </a:lnTo>
                  <a:lnTo>
                    <a:pt x="378" y="822"/>
                  </a:lnTo>
                  <a:lnTo>
                    <a:pt x="376" y="823"/>
                  </a:lnTo>
                  <a:lnTo>
                    <a:pt x="376" y="824"/>
                  </a:lnTo>
                  <a:lnTo>
                    <a:pt x="376" y="825"/>
                  </a:lnTo>
                  <a:lnTo>
                    <a:pt x="376" y="827"/>
                  </a:lnTo>
                  <a:lnTo>
                    <a:pt x="376" y="828"/>
                  </a:lnTo>
                  <a:lnTo>
                    <a:pt x="376" y="830"/>
                  </a:lnTo>
                  <a:lnTo>
                    <a:pt x="376" y="833"/>
                  </a:lnTo>
                  <a:lnTo>
                    <a:pt x="375" y="835"/>
                  </a:lnTo>
                  <a:lnTo>
                    <a:pt x="371" y="841"/>
                  </a:lnTo>
                  <a:lnTo>
                    <a:pt x="370" y="842"/>
                  </a:lnTo>
                  <a:lnTo>
                    <a:pt x="366" y="843"/>
                  </a:lnTo>
                  <a:lnTo>
                    <a:pt x="365" y="845"/>
                  </a:lnTo>
                  <a:lnTo>
                    <a:pt x="363" y="848"/>
                  </a:lnTo>
                  <a:lnTo>
                    <a:pt x="364" y="850"/>
                  </a:lnTo>
                  <a:lnTo>
                    <a:pt x="364" y="852"/>
                  </a:lnTo>
                  <a:lnTo>
                    <a:pt x="365" y="853"/>
                  </a:lnTo>
                  <a:lnTo>
                    <a:pt x="364" y="855"/>
                  </a:lnTo>
                  <a:lnTo>
                    <a:pt x="362" y="858"/>
                  </a:lnTo>
                  <a:lnTo>
                    <a:pt x="362" y="861"/>
                  </a:lnTo>
                  <a:lnTo>
                    <a:pt x="362" y="863"/>
                  </a:lnTo>
                  <a:lnTo>
                    <a:pt x="362" y="864"/>
                  </a:lnTo>
                  <a:lnTo>
                    <a:pt x="362" y="865"/>
                  </a:lnTo>
                  <a:lnTo>
                    <a:pt x="360" y="870"/>
                  </a:lnTo>
                  <a:lnTo>
                    <a:pt x="358" y="871"/>
                  </a:lnTo>
                  <a:lnTo>
                    <a:pt x="334" y="874"/>
                  </a:lnTo>
                  <a:lnTo>
                    <a:pt x="330" y="873"/>
                  </a:lnTo>
                  <a:lnTo>
                    <a:pt x="326" y="871"/>
                  </a:lnTo>
                  <a:lnTo>
                    <a:pt x="324" y="872"/>
                  </a:lnTo>
                  <a:lnTo>
                    <a:pt x="317" y="872"/>
                  </a:lnTo>
                  <a:lnTo>
                    <a:pt x="314" y="873"/>
                  </a:lnTo>
                  <a:lnTo>
                    <a:pt x="312" y="874"/>
                  </a:lnTo>
                  <a:lnTo>
                    <a:pt x="309" y="874"/>
                  </a:lnTo>
                  <a:lnTo>
                    <a:pt x="275" y="873"/>
                  </a:lnTo>
                  <a:lnTo>
                    <a:pt x="275" y="873"/>
                  </a:lnTo>
                  <a:lnTo>
                    <a:pt x="277" y="876"/>
                  </a:lnTo>
                  <a:lnTo>
                    <a:pt x="282" y="890"/>
                  </a:lnTo>
                  <a:lnTo>
                    <a:pt x="285" y="893"/>
                  </a:lnTo>
                  <a:lnTo>
                    <a:pt x="289" y="899"/>
                  </a:lnTo>
                  <a:lnTo>
                    <a:pt x="292" y="902"/>
                  </a:lnTo>
                  <a:lnTo>
                    <a:pt x="297" y="905"/>
                  </a:lnTo>
                  <a:lnTo>
                    <a:pt x="299" y="906"/>
                  </a:lnTo>
                  <a:lnTo>
                    <a:pt x="300" y="911"/>
                  </a:lnTo>
                  <a:lnTo>
                    <a:pt x="303" y="913"/>
                  </a:lnTo>
                  <a:lnTo>
                    <a:pt x="306" y="914"/>
                  </a:lnTo>
                  <a:lnTo>
                    <a:pt x="313" y="916"/>
                  </a:lnTo>
                  <a:lnTo>
                    <a:pt x="314" y="918"/>
                  </a:lnTo>
                  <a:lnTo>
                    <a:pt x="314" y="923"/>
                  </a:lnTo>
                  <a:lnTo>
                    <a:pt x="313" y="927"/>
                  </a:lnTo>
                  <a:lnTo>
                    <a:pt x="312" y="930"/>
                  </a:lnTo>
                  <a:lnTo>
                    <a:pt x="311" y="933"/>
                  </a:lnTo>
                  <a:lnTo>
                    <a:pt x="311" y="938"/>
                  </a:lnTo>
                  <a:lnTo>
                    <a:pt x="312" y="942"/>
                  </a:lnTo>
                  <a:lnTo>
                    <a:pt x="313" y="944"/>
                  </a:lnTo>
                  <a:lnTo>
                    <a:pt x="316" y="947"/>
                  </a:lnTo>
                  <a:lnTo>
                    <a:pt x="324" y="956"/>
                  </a:lnTo>
                  <a:lnTo>
                    <a:pt x="322" y="960"/>
                  </a:lnTo>
                  <a:lnTo>
                    <a:pt x="321" y="965"/>
                  </a:lnTo>
                  <a:lnTo>
                    <a:pt x="323" y="969"/>
                  </a:lnTo>
                  <a:lnTo>
                    <a:pt x="325" y="972"/>
                  </a:lnTo>
                  <a:lnTo>
                    <a:pt x="329" y="974"/>
                  </a:lnTo>
                  <a:lnTo>
                    <a:pt x="333" y="975"/>
                  </a:lnTo>
                  <a:lnTo>
                    <a:pt x="337" y="977"/>
                  </a:lnTo>
                  <a:lnTo>
                    <a:pt x="339" y="981"/>
                  </a:lnTo>
                  <a:lnTo>
                    <a:pt x="338" y="983"/>
                  </a:lnTo>
                  <a:lnTo>
                    <a:pt x="337" y="987"/>
                  </a:lnTo>
                  <a:lnTo>
                    <a:pt x="337" y="989"/>
                  </a:lnTo>
                  <a:lnTo>
                    <a:pt x="339" y="990"/>
                  </a:lnTo>
                  <a:lnTo>
                    <a:pt x="341" y="991"/>
                  </a:lnTo>
                  <a:lnTo>
                    <a:pt x="343" y="992"/>
                  </a:lnTo>
                  <a:lnTo>
                    <a:pt x="345" y="991"/>
                  </a:lnTo>
                  <a:lnTo>
                    <a:pt x="349" y="989"/>
                  </a:lnTo>
                  <a:lnTo>
                    <a:pt x="353" y="988"/>
                  </a:lnTo>
                  <a:lnTo>
                    <a:pt x="358" y="990"/>
                  </a:lnTo>
                  <a:lnTo>
                    <a:pt x="361" y="992"/>
                  </a:lnTo>
                  <a:lnTo>
                    <a:pt x="364" y="995"/>
                  </a:lnTo>
                  <a:lnTo>
                    <a:pt x="366" y="998"/>
                  </a:lnTo>
                  <a:lnTo>
                    <a:pt x="367" y="1002"/>
                  </a:lnTo>
                  <a:lnTo>
                    <a:pt x="366" y="1005"/>
                  </a:lnTo>
                  <a:lnTo>
                    <a:pt x="368" y="1007"/>
                  </a:lnTo>
                  <a:lnTo>
                    <a:pt x="368" y="1009"/>
                  </a:lnTo>
                  <a:lnTo>
                    <a:pt x="367" y="1011"/>
                  </a:lnTo>
                  <a:lnTo>
                    <a:pt x="365" y="1013"/>
                  </a:lnTo>
                  <a:lnTo>
                    <a:pt x="360" y="1023"/>
                  </a:lnTo>
                  <a:lnTo>
                    <a:pt x="357" y="1028"/>
                  </a:lnTo>
                  <a:lnTo>
                    <a:pt x="353" y="1031"/>
                  </a:lnTo>
                  <a:lnTo>
                    <a:pt x="355" y="1035"/>
                  </a:lnTo>
                  <a:lnTo>
                    <a:pt x="354" y="1038"/>
                  </a:lnTo>
                  <a:lnTo>
                    <a:pt x="355" y="1041"/>
                  </a:lnTo>
                  <a:lnTo>
                    <a:pt x="353" y="1042"/>
                  </a:lnTo>
                  <a:lnTo>
                    <a:pt x="352" y="1044"/>
                  </a:lnTo>
                  <a:lnTo>
                    <a:pt x="349" y="1045"/>
                  </a:lnTo>
                  <a:lnTo>
                    <a:pt x="347" y="1047"/>
                  </a:lnTo>
                  <a:lnTo>
                    <a:pt x="340" y="1048"/>
                  </a:lnTo>
                  <a:lnTo>
                    <a:pt x="338" y="1050"/>
                  </a:lnTo>
                  <a:lnTo>
                    <a:pt x="337" y="1052"/>
                  </a:lnTo>
                  <a:lnTo>
                    <a:pt x="335" y="1054"/>
                  </a:lnTo>
                  <a:lnTo>
                    <a:pt x="333" y="1056"/>
                  </a:lnTo>
                  <a:lnTo>
                    <a:pt x="330" y="1057"/>
                  </a:lnTo>
                  <a:lnTo>
                    <a:pt x="328" y="1059"/>
                  </a:lnTo>
                  <a:lnTo>
                    <a:pt x="321" y="1065"/>
                  </a:lnTo>
                  <a:lnTo>
                    <a:pt x="320" y="1066"/>
                  </a:lnTo>
                  <a:lnTo>
                    <a:pt x="319" y="1068"/>
                  </a:lnTo>
                  <a:lnTo>
                    <a:pt x="319" y="1070"/>
                  </a:lnTo>
                  <a:lnTo>
                    <a:pt x="317" y="1077"/>
                  </a:lnTo>
                  <a:lnTo>
                    <a:pt x="317" y="1081"/>
                  </a:lnTo>
                  <a:lnTo>
                    <a:pt x="317" y="1083"/>
                  </a:lnTo>
                  <a:lnTo>
                    <a:pt x="317" y="1085"/>
                  </a:lnTo>
                  <a:lnTo>
                    <a:pt x="318" y="1086"/>
                  </a:lnTo>
                  <a:lnTo>
                    <a:pt x="319" y="1087"/>
                  </a:lnTo>
                  <a:lnTo>
                    <a:pt x="320" y="1088"/>
                  </a:lnTo>
                  <a:lnTo>
                    <a:pt x="321" y="1089"/>
                  </a:lnTo>
                  <a:lnTo>
                    <a:pt x="320" y="1092"/>
                  </a:lnTo>
                  <a:lnTo>
                    <a:pt x="313" y="1102"/>
                  </a:lnTo>
                  <a:lnTo>
                    <a:pt x="310" y="1112"/>
                  </a:lnTo>
                  <a:lnTo>
                    <a:pt x="309" y="1114"/>
                  </a:lnTo>
                  <a:lnTo>
                    <a:pt x="311" y="1117"/>
                  </a:lnTo>
                  <a:lnTo>
                    <a:pt x="310" y="1119"/>
                  </a:lnTo>
                  <a:lnTo>
                    <a:pt x="309" y="1122"/>
                  </a:lnTo>
                  <a:lnTo>
                    <a:pt x="307" y="1124"/>
                  </a:lnTo>
                  <a:lnTo>
                    <a:pt x="309" y="1125"/>
                  </a:lnTo>
                  <a:lnTo>
                    <a:pt x="313" y="1128"/>
                  </a:lnTo>
                  <a:lnTo>
                    <a:pt x="330" y="1150"/>
                  </a:lnTo>
                  <a:lnTo>
                    <a:pt x="331" y="1151"/>
                  </a:lnTo>
                  <a:lnTo>
                    <a:pt x="332" y="1154"/>
                  </a:lnTo>
                  <a:lnTo>
                    <a:pt x="333" y="1155"/>
                  </a:lnTo>
                  <a:lnTo>
                    <a:pt x="334" y="1156"/>
                  </a:lnTo>
                  <a:lnTo>
                    <a:pt x="336" y="1158"/>
                  </a:lnTo>
                  <a:lnTo>
                    <a:pt x="337" y="1159"/>
                  </a:lnTo>
                  <a:lnTo>
                    <a:pt x="343" y="1175"/>
                  </a:lnTo>
                  <a:lnTo>
                    <a:pt x="345" y="1177"/>
                  </a:lnTo>
                  <a:lnTo>
                    <a:pt x="347" y="1179"/>
                  </a:lnTo>
                  <a:lnTo>
                    <a:pt x="350" y="1179"/>
                  </a:lnTo>
                  <a:lnTo>
                    <a:pt x="353" y="1178"/>
                  </a:lnTo>
                  <a:lnTo>
                    <a:pt x="358" y="1176"/>
                  </a:lnTo>
                  <a:lnTo>
                    <a:pt x="359" y="1174"/>
                  </a:lnTo>
                  <a:lnTo>
                    <a:pt x="360" y="1174"/>
                  </a:lnTo>
                  <a:lnTo>
                    <a:pt x="361" y="1174"/>
                  </a:lnTo>
                  <a:lnTo>
                    <a:pt x="365" y="1173"/>
                  </a:lnTo>
                  <a:lnTo>
                    <a:pt x="369" y="1172"/>
                  </a:lnTo>
                  <a:lnTo>
                    <a:pt x="372" y="1174"/>
                  </a:lnTo>
                  <a:lnTo>
                    <a:pt x="372" y="1174"/>
                  </a:lnTo>
                  <a:lnTo>
                    <a:pt x="370" y="1180"/>
                  </a:lnTo>
                  <a:lnTo>
                    <a:pt x="369" y="1183"/>
                  </a:lnTo>
                  <a:lnTo>
                    <a:pt x="367" y="1190"/>
                  </a:lnTo>
                  <a:lnTo>
                    <a:pt x="364" y="1195"/>
                  </a:lnTo>
                  <a:lnTo>
                    <a:pt x="363" y="1202"/>
                  </a:lnTo>
                  <a:lnTo>
                    <a:pt x="361" y="1204"/>
                  </a:lnTo>
                  <a:lnTo>
                    <a:pt x="360" y="1209"/>
                  </a:lnTo>
                  <a:lnTo>
                    <a:pt x="356" y="1210"/>
                  </a:lnTo>
                  <a:lnTo>
                    <a:pt x="347" y="1206"/>
                  </a:lnTo>
                  <a:lnTo>
                    <a:pt x="344" y="1205"/>
                  </a:lnTo>
                  <a:lnTo>
                    <a:pt x="343" y="1207"/>
                  </a:lnTo>
                  <a:lnTo>
                    <a:pt x="341" y="1211"/>
                  </a:lnTo>
                  <a:lnTo>
                    <a:pt x="339" y="1214"/>
                  </a:lnTo>
                  <a:lnTo>
                    <a:pt x="338" y="1214"/>
                  </a:lnTo>
                  <a:lnTo>
                    <a:pt x="336" y="1215"/>
                  </a:lnTo>
                  <a:lnTo>
                    <a:pt x="334" y="1216"/>
                  </a:lnTo>
                  <a:lnTo>
                    <a:pt x="332" y="1216"/>
                  </a:lnTo>
                  <a:lnTo>
                    <a:pt x="330" y="1215"/>
                  </a:lnTo>
                  <a:lnTo>
                    <a:pt x="328" y="1215"/>
                  </a:lnTo>
                  <a:lnTo>
                    <a:pt x="326" y="1216"/>
                  </a:lnTo>
                  <a:lnTo>
                    <a:pt x="321" y="1217"/>
                  </a:lnTo>
                  <a:lnTo>
                    <a:pt x="320" y="1218"/>
                  </a:lnTo>
                  <a:lnTo>
                    <a:pt x="320" y="1220"/>
                  </a:lnTo>
                  <a:lnTo>
                    <a:pt x="321" y="1222"/>
                  </a:lnTo>
                  <a:lnTo>
                    <a:pt x="321" y="1224"/>
                  </a:lnTo>
                  <a:lnTo>
                    <a:pt x="320" y="1227"/>
                  </a:lnTo>
                  <a:lnTo>
                    <a:pt x="317" y="1237"/>
                  </a:lnTo>
                  <a:lnTo>
                    <a:pt x="315" y="1244"/>
                  </a:lnTo>
                  <a:lnTo>
                    <a:pt x="310" y="1251"/>
                  </a:lnTo>
                  <a:lnTo>
                    <a:pt x="296" y="1264"/>
                  </a:lnTo>
                  <a:lnTo>
                    <a:pt x="293" y="1268"/>
                  </a:lnTo>
                  <a:lnTo>
                    <a:pt x="291" y="1274"/>
                  </a:lnTo>
                  <a:lnTo>
                    <a:pt x="290" y="1283"/>
                  </a:lnTo>
                  <a:lnTo>
                    <a:pt x="289" y="1286"/>
                  </a:lnTo>
                  <a:lnTo>
                    <a:pt x="288" y="1288"/>
                  </a:lnTo>
                  <a:lnTo>
                    <a:pt x="284" y="1292"/>
                  </a:lnTo>
                  <a:lnTo>
                    <a:pt x="282" y="1293"/>
                  </a:lnTo>
                  <a:lnTo>
                    <a:pt x="282" y="1295"/>
                  </a:lnTo>
                  <a:lnTo>
                    <a:pt x="282" y="1296"/>
                  </a:lnTo>
                  <a:lnTo>
                    <a:pt x="282" y="1297"/>
                  </a:lnTo>
                  <a:lnTo>
                    <a:pt x="282" y="1298"/>
                  </a:lnTo>
                  <a:lnTo>
                    <a:pt x="280" y="1299"/>
                  </a:lnTo>
                  <a:lnTo>
                    <a:pt x="280" y="1300"/>
                  </a:lnTo>
                  <a:lnTo>
                    <a:pt x="280" y="1302"/>
                  </a:lnTo>
                  <a:lnTo>
                    <a:pt x="280" y="1303"/>
                  </a:lnTo>
                  <a:lnTo>
                    <a:pt x="280" y="1303"/>
                  </a:lnTo>
                  <a:lnTo>
                    <a:pt x="281" y="1305"/>
                  </a:lnTo>
                  <a:lnTo>
                    <a:pt x="281" y="1307"/>
                  </a:lnTo>
                  <a:lnTo>
                    <a:pt x="282" y="1308"/>
                  </a:lnTo>
                  <a:lnTo>
                    <a:pt x="282" y="1308"/>
                  </a:lnTo>
                  <a:lnTo>
                    <a:pt x="283" y="1310"/>
                  </a:lnTo>
                  <a:lnTo>
                    <a:pt x="285" y="1311"/>
                  </a:lnTo>
                  <a:lnTo>
                    <a:pt x="287" y="1313"/>
                  </a:lnTo>
                  <a:lnTo>
                    <a:pt x="288" y="1315"/>
                  </a:lnTo>
                  <a:lnTo>
                    <a:pt x="289" y="1318"/>
                  </a:lnTo>
                  <a:lnTo>
                    <a:pt x="290" y="1323"/>
                  </a:lnTo>
                  <a:lnTo>
                    <a:pt x="290" y="1328"/>
                  </a:lnTo>
                  <a:lnTo>
                    <a:pt x="290" y="1330"/>
                  </a:lnTo>
                  <a:lnTo>
                    <a:pt x="293" y="1336"/>
                  </a:lnTo>
                  <a:lnTo>
                    <a:pt x="294" y="1352"/>
                  </a:lnTo>
                  <a:lnTo>
                    <a:pt x="296" y="1358"/>
                  </a:lnTo>
                  <a:lnTo>
                    <a:pt x="295" y="1361"/>
                  </a:lnTo>
                  <a:lnTo>
                    <a:pt x="295" y="1366"/>
                  </a:lnTo>
                  <a:lnTo>
                    <a:pt x="298" y="1375"/>
                  </a:lnTo>
                  <a:lnTo>
                    <a:pt x="300" y="1376"/>
                  </a:lnTo>
                  <a:lnTo>
                    <a:pt x="303" y="1377"/>
                  </a:lnTo>
                  <a:lnTo>
                    <a:pt x="306" y="1377"/>
                  </a:lnTo>
                  <a:lnTo>
                    <a:pt x="309" y="1374"/>
                  </a:lnTo>
                  <a:lnTo>
                    <a:pt x="312" y="1373"/>
                  </a:lnTo>
                  <a:lnTo>
                    <a:pt x="350" y="1372"/>
                  </a:lnTo>
                  <a:lnTo>
                    <a:pt x="348" y="1371"/>
                  </a:lnTo>
                  <a:lnTo>
                    <a:pt x="343" y="1370"/>
                  </a:lnTo>
                  <a:lnTo>
                    <a:pt x="348" y="1368"/>
                  </a:lnTo>
                  <a:lnTo>
                    <a:pt x="354" y="1371"/>
                  </a:lnTo>
                  <a:lnTo>
                    <a:pt x="359" y="1372"/>
                  </a:lnTo>
                  <a:lnTo>
                    <a:pt x="373" y="1379"/>
                  </a:lnTo>
                  <a:lnTo>
                    <a:pt x="375" y="1379"/>
                  </a:lnTo>
                  <a:lnTo>
                    <a:pt x="375" y="1376"/>
                  </a:lnTo>
                  <a:lnTo>
                    <a:pt x="373" y="1373"/>
                  </a:lnTo>
                  <a:lnTo>
                    <a:pt x="370" y="1368"/>
                  </a:lnTo>
                  <a:lnTo>
                    <a:pt x="370" y="1366"/>
                  </a:lnTo>
                  <a:lnTo>
                    <a:pt x="375" y="1366"/>
                  </a:lnTo>
                  <a:lnTo>
                    <a:pt x="379" y="1363"/>
                  </a:lnTo>
                  <a:lnTo>
                    <a:pt x="387" y="1354"/>
                  </a:lnTo>
                  <a:lnTo>
                    <a:pt x="385" y="1358"/>
                  </a:lnTo>
                  <a:lnTo>
                    <a:pt x="380" y="1366"/>
                  </a:lnTo>
                  <a:lnTo>
                    <a:pt x="378" y="1368"/>
                  </a:lnTo>
                  <a:lnTo>
                    <a:pt x="377" y="1370"/>
                  </a:lnTo>
                  <a:lnTo>
                    <a:pt x="378" y="1376"/>
                  </a:lnTo>
                  <a:lnTo>
                    <a:pt x="381" y="1380"/>
                  </a:lnTo>
                  <a:lnTo>
                    <a:pt x="384" y="1381"/>
                  </a:lnTo>
                  <a:lnTo>
                    <a:pt x="387" y="1383"/>
                  </a:lnTo>
                  <a:lnTo>
                    <a:pt x="393" y="1388"/>
                  </a:lnTo>
                  <a:lnTo>
                    <a:pt x="396" y="1390"/>
                  </a:lnTo>
                  <a:lnTo>
                    <a:pt x="400" y="1391"/>
                  </a:lnTo>
                  <a:lnTo>
                    <a:pt x="404" y="1393"/>
                  </a:lnTo>
                  <a:lnTo>
                    <a:pt x="443" y="1421"/>
                  </a:lnTo>
                  <a:lnTo>
                    <a:pt x="448" y="1425"/>
                  </a:lnTo>
                  <a:lnTo>
                    <a:pt x="451" y="1432"/>
                  </a:lnTo>
                  <a:lnTo>
                    <a:pt x="456" y="1445"/>
                  </a:lnTo>
                  <a:lnTo>
                    <a:pt x="461" y="1451"/>
                  </a:lnTo>
                  <a:lnTo>
                    <a:pt x="466" y="1451"/>
                  </a:lnTo>
                  <a:lnTo>
                    <a:pt x="467" y="1449"/>
                  </a:lnTo>
                  <a:lnTo>
                    <a:pt x="466" y="1436"/>
                  </a:lnTo>
                  <a:lnTo>
                    <a:pt x="468" y="1432"/>
                  </a:lnTo>
                  <a:lnTo>
                    <a:pt x="470" y="1430"/>
                  </a:lnTo>
                  <a:lnTo>
                    <a:pt x="477" y="1428"/>
                  </a:lnTo>
                  <a:lnTo>
                    <a:pt x="480" y="1430"/>
                  </a:lnTo>
                  <a:lnTo>
                    <a:pt x="484" y="1430"/>
                  </a:lnTo>
                  <a:lnTo>
                    <a:pt x="488" y="1428"/>
                  </a:lnTo>
                  <a:lnTo>
                    <a:pt x="491" y="1426"/>
                  </a:lnTo>
                  <a:lnTo>
                    <a:pt x="487" y="1432"/>
                  </a:lnTo>
                  <a:lnTo>
                    <a:pt x="474" y="1431"/>
                  </a:lnTo>
                  <a:lnTo>
                    <a:pt x="469" y="1436"/>
                  </a:lnTo>
                  <a:lnTo>
                    <a:pt x="468" y="1440"/>
                  </a:lnTo>
                  <a:lnTo>
                    <a:pt x="469" y="1449"/>
                  </a:lnTo>
                  <a:lnTo>
                    <a:pt x="467" y="1453"/>
                  </a:lnTo>
                  <a:lnTo>
                    <a:pt x="466" y="1455"/>
                  </a:lnTo>
                  <a:lnTo>
                    <a:pt x="460" y="1457"/>
                  </a:lnTo>
                  <a:lnTo>
                    <a:pt x="456" y="1459"/>
                  </a:lnTo>
                  <a:lnTo>
                    <a:pt x="454" y="1462"/>
                  </a:lnTo>
                  <a:lnTo>
                    <a:pt x="453" y="1465"/>
                  </a:lnTo>
                  <a:lnTo>
                    <a:pt x="454" y="1469"/>
                  </a:lnTo>
                  <a:lnTo>
                    <a:pt x="456" y="1473"/>
                  </a:lnTo>
                  <a:lnTo>
                    <a:pt x="458" y="1477"/>
                  </a:lnTo>
                  <a:lnTo>
                    <a:pt x="460" y="1484"/>
                  </a:lnTo>
                  <a:lnTo>
                    <a:pt x="462" y="1487"/>
                  </a:lnTo>
                  <a:lnTo>
                    <a:pt x="465" y="1488"/>
                  </a:lnTo>
                  <a:lnTo>
                    <a:pt x="476" y="1488"/>
                  </a:lnTo>
                  <a:lnTo>
                    <a:pt x="477" y="1489"/>
                  </a:lnTo>
                  <a:lnTo>
                    <a:pt x="485" y="1497"/>
                  </a:lnTo>
                  <a:lnTo>
                    <a:pt x="486" y="1500"/>
                  </a:lnTo>
                  <a:lnTo>
                    <a:pt x="485" y="1506"/>
                  </a:lnTo>
                  <a:lnTo>
                    <a:pt x="487" y="1509"/>
                  </a:lnTo>
                  <a:lnTo>
                    <a:pt x="490" y="1510"/>
                  </a:lnTo>
                  <a:lnTo>
                    <a:pt x="493" y="1509"/>
                  </a:lnTo>
                  <a:lnTo>
                    <a:pt x="494" y="1509"/>
                  </a:lnTo>
                  <a:lnTo>
                    <a:pt x="490" y="1513"/>
                  </a:lnTo>
                  <a:lnTo>
                    <a:pt x="489" y="1515"/>
                  </a:lnTo>
                  <a:lnTo>
                    <a:pt x="488" y="1516"/>
                  </a:lnTo>
                  <a:lnTo>
                    <a:pt x="485" y="1517"/>
                  </a:lnTo>
                  <a:lnTo>
                    <a:pt x="483" y="1514"/>
                  </a:lnTo>
                  <a:lnTo>
                    <a:pt x="482" y="1512"/>
                  </a:lnTo>
                  <a:lnTo>
                    <a:pt x="483" y="1511"/>
                  </a:lnTo>
                  <a:lnTo>
                    <a:pt x="481" y="1509"/>
                  </a:lnTo>
                  <a:lnTo>
                    <a:pt x="476" y="1504"/>
                  </a:lnTo>
                  <a:lnTo>
                    <a:pt x="475" y="1504"/>
                  </a:lnTo>
                  <a:lnTo>
                    <a:pt x="473" y="1505"/>
                  </a:lnTo>
                  <a:lnTo>
                    <a:pt x="475" y="1506"/>
                  </a:lnTo>
                  <a:lnTo>
                    <a:pt x="478" y="1509"/>
                  </a:lnTo>
                  <a:lnTo>
                    <a:pt x="481" y="1516"/>
                  </a:lnTo>
                  <a:lnTo>
                    <a:pt x="484" y="1522"/>
                  </a:lnTo>
                  <a:lnTo>
                    <a:pt x="488" y="1531"/>
                  </a:lnTo>
                  <a:lnTo>
                    <a:pt x="493" y="1537"/>
                  </a:lnTo>
                  <a:lnTo>
                    <a:pt x="495" y="1540"/>
                  </a:lnTo>
                  <a:lnTo>
                    <a:pt x="495" y="1544"/>
                  </a:lnTo>
                  <a:lnTo>
                    <a:pt x="496" y="1547"/>
                  </a:lnTo>
                  <a:lnTo>
                    <a:pt x="497" y="1550"/>
                  </a:lnTo>
                  <a:lnTo>
                    <a:pt x="506" y="1555"/>
                  </a:lnTo>
                  <a:lnTo>
                    <a:pt x="509" y="1560"/>
                  </a:lnTo>
                  <a:lnTo>
                    <a:pt x="512" y="1567"/>
                  </a:lnTo>
                  <a:lnTo>
                    <a:pt x="516" y="1572"/>
                  </a:lnTo>
                  <a:lnTo>
                    <a:pt x="525" y="1575"/>
                  </a:lnTo>
                  <a:lnTo>
                    <a:pt x="532" y="1573"/>
                  </a:lnTo>
                  <a:lnTo>
                    <a:pt x="535" y="1573"/>
                  </a:lnTo>
                  <a:lnTo>
                    <a:pt x="539" y="1576"/>
                  </a:lnTo>
                  <a:lnTo>
                    <a:pt x="549" y="1586"/>
                  </a:lnTo>
                  <a:lnTo>
                    <a:pt x="552" y="1591"/>
                  </a:lnTo>
                  <a:lnTo>
                    <a:pt x="555" y="1593"/>
                  </a:lnTo>
                  <a:lnTo>
                    <a:pt x="561" y="1595"/>
                  </a:lnTo>
                  <a:lnTo>
                    <a:pt x="565" y="1597"/>
                  </a:lnTo>
                  <a:lnTo>
                    <a:pt x="568" y="1598"/>
                  </a:lnTo>
                  <a:lnTo>
                    <a:pt x="572" y="1596"/>
                  </a:lnTo>
                  <a:lnTo>
                    <a:pt x="574" y="1599"/>
                  </a:lnTo>
                  <a:lnTo>
                    <a:pt x="581" y="1602"/>
                  </a:lnTo>
                  <a:lnTo>
                    <a:pt x="584" y="1608"/>
                  </a:lnTo>
                  <a:lnTo>
                    <a:pt x="589" y="1607"/>
                  </a:lnTo>
                  <a:lnTo>
                    <a:pt x="591" y="1605"/>
                  </a:lnTo>
                  <a:lnTo>
                    <a:pt x="607" y="1600"/>
                  </a:lnTo>
                  <a:lnTo>
                    <a:pt x="610" y="1598"/>
                  </a:lnTo>
                  <a:lnTo>
                    <a:pt x="612" y="1597"/>
                  </a:lnTo>
                  <a:lnTo>
                    <a:pt x="612" y="1596"/>
                  </a:lnTo>
                  <a:lnTo>
                    <a:pt x="613" y="1594"/>
                  </a:lnTo>
                  <a:lnTo>
                    <a:pt x="612" y="1592"/>
                  </a:lnTo>
                  <a:lnTo>
                    <a:pt x="612" y="1590"/>
                  </a:lnTo>
                  <a:lnTo>
                    <a:pt x="611" y="1587"/>
                  </a:lnTo>
                  <a:lnTo>
                    <a:pt x="612" y="1586"/>
                  </a:lnTo>
                  <a:lnTo>
                    <a:pt x="611" y="1583"/>
                  </a:lnTo>
                  <a:lnTo>
                    <a:pt x="611" y="1580"/>
                  </a:lnTo>
                  <a:lnTo>
                    <a:pt x="612" y="1578"/>
                  </a:lnTo>
                  <a:lnTo>
                    <a:pt x="613" y="1576"/>
                  </a:lnTo>
                  <a:lnTo>
                    <a:pt x="613" y="1574"/>
                  </a:lnTo>
                  <a:lnTo>
                    <a:pt x="617" y="1574"/>
                  </a:lnTo>
                  <a:lnTo>
                    <a:pt x="620" y="1576"/>
                  </a:lnTo>
                  <a:lnTo>
                    <a:pt x="623" y="1577"/>
                  </a:lnTo>
                  <a:lnTo>
                    <a:pt x="624" y="1582"/>
                  </a:lnTo>
                  <a:lnTo>
                    <a:pt x="627" y="1582"/>
                  </a:lnTo>
                  <a:lnTo>
                    <a:pt x="628" y="1573"/>
                  </a:lnTo>
                  <a:lnTo>
                    <a:pt x="629" y="1571"/>
                  </a:lnTo>
                  <a:lnTo>
                    <a:pt x="634" y="1561"/>
                  </a:lnTo>
                  <a:lnTo>
                    <a:pt x="636" y="1558"/>
                  </a:lnTo>
                  <a:lnTo>
                    <a:pt x="635" y="1557"/>
                  </a:lnTo>
                  <a:lnTo>
                    <a:pt x="635" y="1555"/>
                  </a:lnTo>
                  <a:lnTo>
                    <a:pt x="637" y="1554"/>
                  </a:lnTo>
                  <a:lnTo>
                    <a:pt x="639" y="1553"/>
                  </a:lnTo>
                  <a:lnTo>
                    <a:pt x="640" y="1552"/>
                  </a:lnTo>
                  <a:lnTo>
                    <a:pt x="641" y="1551"/>
                  </a:lnTo>
                  <a:lnTo>
                    <a:pt x="642" y="1548"/>
                  </a:lnTo>
                  <a:lnTo>
                    <a:pt x="645" y="1541"/>
                  </a:lnTo>
                  <a:lnTo>
                    <a:pt x="645" y="1539"/>
                  </a:lnTo>
                  <a:lnTo>
                    <a:pt x="649" y="1532"/>
                  </a:lnTo>
                  <a:lnTo>
                    <a:pt x="651" y="1529"/>
                  </a:lnTo>
                  <a:lnTo>
                    <a:pt x="654" y="1528"/>
                  </a:lnTo>
                  <a:lnTo>
                    <a:pt x="656" y="1527"/>
                  </a:lnTo>
                  <a:lnTo>
                    <a:pt x="662" y="1526"/>
                  </a:lnTo>
                  <a:lnTo>
                    <a:pt x="664" y="1525"/>
                  </a:lnTo>
                  <a:lnTo>
                    <a:pt x="671" y="1521"/>
                  </a:lnTo>
                  <a:lnTo>
                    <a:pt x="682" y="1520"/>
                  </a:lnTo>
                  <a:lnTo>
                    <a:pt x="693" y="1512"/>
                  </a:lnTo>
                  <a:lnTo>
                    <a:pt x="695" y="1511"/>
                  </a:lnTo>
                  <a:lnTo>
                    <a:pt x="696" y="1510"/>
                  </a:lnTo>
                  <a:lnTo>
                    <a:pt x="700" y="1510"/>
                  </a:lnTo>
                  <a:lnTo>
                    <a:pt x="719" y="1513"/>
                  </a:lnTo>
                  <a:lnTo>
                    <a:pt x="725" y="1513"/>
                  </a:lnTo>
                  <a:lnTo>
                    <a:pt x="732" y="1511"/>
                  </a:lnTo>
                  <a:lnTo>
                    <a:pt x="735" y="1510"/>
                  </a:lnTo>
                  <a:lnTo>
                    <a:pt x="737" y="1509"/>
                  </a:lnTo>
                  <a:lnTo>
                    <a:pt x="742" y="1505"/>
                  </a:lnTo>
                  <a:lnTo>
                    <a:pt x="747" y="1497"/>
                  </a:lnTo>
                  <a:lnTo>
                    <a:pt x="757" y="1496"/>
                  </a:lnTo>
                  <a:lnTo>
                    <a:pt x="761" y="1488"/>
                  </a:lnTo>
                  <a:lnTo>
                    <a:pt x="762" y="1484"/>
                  </a:lnTo>
                  <a:lnTo>
                    <a:pt x="763" y="1482"/>
                  </a:lnTo>
                  <a:lnTo>
                    <a:pt x="766" y="1479"/>
                  </a:lnTo>
                  <a:lnTo>
                    <a:pt x="767" y="1478"/>
                  </a:lnTo>
                  <a:lnTo>
                    <a:pt x="771" y="1470"/>
                  </a:lnTo>
                  <a:lnTo>
                    <a:pt x="773" y="1468"/>
                  </a:lnTo>
                  <a:lnTo>
                    <a:pt x="776" y="1467"/>
                  </a:lnTo>
                  <a:lnTo>
                    <a:pt x="804" y="1470"/>
                  </a:lnTo>
                  <a:lnTo>
                    <a:pt x="808" y="1469"/>
                  </a:lnTo>
                  <a:lnTo>
                    <a:pt x="822" y="1467"/>
                  </a:lnTo>
                  <a:lnTo>
                    <a:pt x="827" y="1464"/>
                  </a:lnTo>
                  <a:lnTo>
                    <a:pt x="831" y="1463"/>
                  </a:lnTo>
                  <a:lnTo>
                    <a:pt x="846" y="1467"/>
                  </a:lnTo>
                  <a:lnTo>
                    <a:pt x="857" y="1464"/>
                  </a:lnTo>
                  <a:lnTo>
                    <a:pt x="865" y="1462"/>
                  </a:lnTo>
                  <a:lnTo>
                    <a:pt x="871" y="1464"/>
                  </a:lnTo>
                  <a:lnTo>
                    <a:pt x="882" y="1467"/>
                  </a:lnTo>
                  <a:lnTo>
                    <a:pt x="890" y="1466"/>
                  </a:lnTo>
                  <a:lnTo>
                    <a:pt x="893" y="1464"/>
                  </a:lnTo>
                  <a:lnTo>
                    <a:pt x="898" y="1464"/>
                  </a:lnTo>
                  <a:lnTo>
                    <a:pt x="903" y="1464"/>
                  </a:lnTo>
                  <a:lnTo>
                    <a:pt x="905" y="1467"/>
                  </a:lnTo>
                  <a:lnTo>
                    <a:pt x="911" y="1470"/>
                  </a:lnTo>
                  <a:lnTo>
                    <a:pt x="914" y="1469"/>
                  </a:lnTo>
                  <a:lnTo>
                    <a:pt x="917" y="1468"/>
                  </a:lnTo>
                  <a:lnTo>
                    <a:pt x="923" y="1473"/>
                  </a:lnTo>
                  <a:lnTo>
                    <a:pt x="933" y="1473"/>
                  </a:lnTo>
                  <a:lnTo>
                    <a:pt x="939" y="1469"/>
                  </a:lnTo>
                  <a:lnTo>
                    <a:pt x="942" y="1467"/>
                  </a:lnTo>
                  <a:lnTo>
                    <a:pt x="944" y="1465"/>
                  </a:lnTo>
                  <a:lnTo>
                    <a:pt x="946" y="1463"/>
                  </a:lnTo>
                  <a:lnTo>
                    <a:pt x="962" y="1461"/>
                  </a:lnTo>
                  <a:lnTo>
                    <a:pt x="973" y="1463"/>
                  </a:lnTo>
                  <a:lnTo>
                    <a:pt x="986" y="1462"/>
                  </a:lnTo>
                  <a:lnTo>
                    <a:pt x="1000" y="1465"/>
                  </a:lnTo>
                  <a:lnTo>
                    <a:pt x="1009" y="1462"/>
                  </a:lnTo>
                  <a:lnTo>
                    <a:pt x="1012" y="1462"/>
                  </a:lnTo>
                  <a:lnTo>
                    <a:pt x="1017" y="1465"/>
                  </a:lnTo>
                  <a:lnTo>
                    <a:pt x="1021" y="1471"/>
                  </a:lnTo>
                  <a:lnTo>
                    <a:pt x="1022" y="1472"/>
                  </a:lnTo>
                  <a:lnTo>
                    <a:pt x="1024" y="1472"/>
                  </a:lnTo>
                  <a:lnTo>
                    <a:pt x="1026" y="1470"/>
                  </a:lnTo>
                  <a:lnTo>
                    <a:pt x="1027" y="1469"/>
                  </a:lnTo>
                  <a:lnTo>
                    <a:pt x="1030" y="1471"/>
                  </a:lnTo>
                  <a:lnTo>
                    <a:pt x="1033" y="1473"/>
                  </a:lnTo>
                  <a:lnTo>
                    <a:pt x="1037" y="1476"/>
                  </a:lnTo>
                  <a:lnTo>
                    <a:pt x="1040" y="1474"/>
                  </a:lnTo>
                  <a:lnTo>
                    <a:pt x="1043" y="1476"/>
                  </a:lnTo>
                  <a:lnTo>
                    <a:pt x="1049" y="1475"/>
                  </a:lnTo>
                  <a:lnTo>
                    <a:pt x="1053" y="1473"/>
                  </a:lnTo>
                  <a:lnTo>
                    <a:pt x="1054" y="1471"/>
                  </a:lnTo>
                  <a:lnTo>
                    <a:pt x="1055" y="1471"/>
                  </a:lnTo>
                  <a:lnTo>
                    <a:pt x="1059" y="1467"/>
                  </a:lnTo>
                  <a:lnTo>
                    <a:pt x="1062" y="1458"/>
                  </a:lnTo>
                  <a:lnTo>
                    <a:pt x="1066" y="1450"/>
                  </a:lnTo>
                  <a:lnTo>
                    <a:pt x="1068" y="1449"/>
                  </a:lnTo>
                  <a:lnTo>
                    <a:pt x="1081" y="1446"/>
                  </a:lnTo>
                  <a:lnTo>
                    <a:pt x="1083" y="1447"/>
                  </a:lnTo>
                  <a:lnTo>
                    <a:pt x="1087" y="1449"/>
                  </a:lnTo>
                  <a:lnTo>
                    <a:pt x="1089" y="1449"/>
                  </a:lnTo>
                  <a:lnTo>
                    <a:pt x="1092" y="1449"/>
                  </a:lnTo>
                  <a:lnTo>
                    <a:pt x="1097" y="1446"/>
                  </a:lnTo>
                  <a:lnTo>
                    <a:pt x="1100" y="1445"/>
                  </a:lnTo>
                  <a:lnTo>
                    <a:pt x="1103" y="1446"/>
                  </a:lnTo>
                  <a:lnTo>
                    <a:pt x="1107" y="1447"/>
                  </a:lnTo>
                  <a:lnTo>
                    <a:pt x="1112" y="1450"/>
                  </a:lnTo>
                  <a:lnTo>
                    <a:pt x="1117" y="1455"/>
                  </a:lnTo>
                  <a:lnTo>
                    <a:pt x="1120" y="1460"/>
                  </a:lnTo>
                  <a:lnTo>
                    <a:pt x="1125" y="1465"/>
                  </a:lnTo>
                  <a:lnTo>
                    <a:pt x="1131" y="1467"/>
                  </a:lnTo>
                  <a:lnTo>
                    <a:pt x="1134" y="1466"/>
                  </a:lnTo>
                  <a:lnTo>
                    <a:pt x="1137" y="1465"/>
                  </a:lnTo>
                  <a:lnTo>
                    <a:pt x="1139" y="1463"/>
                  </a:lnTo>
                  <a:lnTo>
                    <a:pt x="1141" y="1459"/>
                  </a:lnTo>
                  <a:lnTo>
                    <a:pt x="1143" y="1459"/>
                  </a:lnTo>
                  <a:lnTo>
                    <a:pt x="1144" y="1458"/>
                  </a:lnTo>
                  <a:lnTo>
                    <a:pt x="1146" y="1457"/>
                  </a:lnTo>
                  <a:lnTo>
                    <a:pt x="1147" y="1456"/>
                  </a:lnTo>
                  <a:lnTo>
                    <a:pt x="1148" y="1452"/>
                  </a:lnTo>
                  <a:lnTo>
                    <a:pt x="1148" y="1450"/>
                  </a:lnTo>
                  <a:lnTo>
                    <a:pt x="1151" y="1448"/>
                  </a:lnTo>
                  <a:lnTo>
                    <a:pt x="1153" y="1446"/>
                  </a:lnTo>
                  <a:lnTo>
                    <a:pt x="1155" y="1443"/>
                  </a:lnTo>
                  <a:lnTo>
                    <a:pt x="1157" y="1435"/>
                  </a:lnTo>
                  <a:lnTo>
                    <a:pt x="1159" y="1433"/>
                  </a:lnTo>
                  <a:lnTo>
                    <a:pt x="1164" y="1429"/>
                  </a:lnTo>
                  <a:lnTo>
                    <a:pt x="1167" y="1427"/>
                  </a:lnTo>
                  <a:lnTo>
                    <a:pt x="1168" y="1426"/>
                  </a:lnTo>
                  <a:lnTo>
                    <a:pt x="1171" y="1426"/>
                  </a:lnTo>
                  <a:lnTo>
                    <a:pt x="1172" y="1425"/>
                  </a:lnTo>
                  <a:lnTo>
                    <a:pt x="1173" y="1425"/>
                  </a:lnTo>
                  <a:lnTo>
                    <a:pt x="1173" y="1423"/>
                  </a:lnTo>
                  <a:lnTo>
                    <a:pt x="1173" y="1421"/>
                  </a:lnTo>
                  <a:lnTo>
                    <a:pt x="1173" y="1420"/>
                  </a:lnTo>
                  <a:lnTo>
                    <a:pt x="1172" y="1418"/>
                  </a:lnTo>
                  <a:lnTo>
                    <a:pt x="1172" y="1415"/>
                  </a:lnTo>
                  <a:lnTo>
                    <a:pt x="1175" y="1410"/>
                  </a:lnTo>
                  <a:lnTo>
                    <a:pt x="1180" y="1398"/>
                  </a:lnTo>
                  <a:lnTo>
                    <a:pt x="1181" y="1392"/>
                  </a:lnTo>
                  <a:lnTo>
                    <a:pt x="1183" y="1387"/>
                  </a:lnTo>
                  <a:lnTo>
                    <a:pt x="1184" y="1380"/>
                  </a:lnTo>
                  <a:lnTo>
                    <a:pt x="1187" y="1372"/>
                  </a:lnTo>
                  <a:lnTo>
                    <a:pt x="1191" y="1366"/>
                  </a:lnTo>
                  <a:lnTo>
                    <a:pt x="1200" y="1357"/>
                  </a:lnTo>
                  <a:lnTo>
                    <a:pt x="1205" y="1350"/>
                  </a:lnTo>
                  <a:lnTo>
                    <a:pt x="1207" y="1346"/>
                  </a:lnTo>
                  <a:lnTo>
                    <a:pt x="1208" y="1342"/>
                  </a:lnTo>
                  <a:lnTo>
                    <a:pt x="1209" y="1341"/>
                  </a:lnTo>
                  <a:lnTo>
                    <a:pt x="1212" y="1341"/>
                  </a:lnTo>
                  <a:lnTo>
                    <a:pt x="1213" y="1340"/>
                  </a:lnTo>
                  <a:lnTo>
                    <a:pt x="1214" y="1337"/>
                  </a:lnTo>
                  <a:lnTo>
                    <a:pt x="1218" y="1335"/>
                  </a:lnTo>
                  <a:lnTo>
                    <a:pt x="1226" y="1332"/>
                  </a:lnTo>
                  <a:lnTo>
                    <a:pt x="1228" y="1331"/>
                  </a:lnTo>
                  <a:lnTo>
                    <a:pt x="1230" y="1331"/>
                  </a:lnTo>
                  <a:lnTo>
                    <a:pt x="1233" y="1328"/>
                  </a:lnTo>
                  <a:lnTo>
                    <a:pt x="1234" y="1327"/>
                  </a:lnTo>
                  <a:lnTo>
                    <a:pt x="1235" y="1327"/>
                  </a:lnTo>
                  <a:lnTo>
                    <a:pt x="1236" y="1328"/>
                  </a:lnTo>
                  <a:lnTo>
                    <a:pt x="1237" y="1328"/>
                  </a:lnTo>
                  <a:lnTo>
                    <a:pt x="1238" y="1327"/>
                  </a:lnTo>
                  <a:lnTo>
                    <a:pt x="1239" y="1326"/>
                  </a:lnTo>
                  <a:lnTo>
                    <a:pt x="1240" y="1319"/>
                  </a:lnTo>
                  <a:lnTo>
                    <a:pt x="1241" y="1318"/>
                  </a:lnTo>
                  <a:lnTo>
                    <a:pt x="1241" y="1317"/>
                  </a:lnTo>
                  <a:lnTo>
                    <a:pt x="1242" y="1316"/>
                  </a:lnTo>
                  <a:lnTo>
                    <a:pt x="1244" y="1315"/>
                  </a:lnTo>
                  <a:lnTo>
                    <a:pt x="1245" y="1315"/>
                  </a:lnTo>
                  <a:lnTo>
                    <a:pt x="1248" y="1314"/>
                  </a:lnTo>
                  <a:lnTo>
                    <a:pt x="1250" y="1312"/>
                  </a:lnTo>
                  <a:lnTo>
                    <a:pt x="1257" y="1305"/>
                  </a:lnTo>
                  <a:lnTo>
                    <a:pt x="1260" y="1304"/>
                  </a:lnTo>
                  <a:lnTo>
                    <a:pt x="1265" y="1301"/>
                  </a:lnTo>
                  <a:lnTo>
                    <a:pt x="1270" y="1302"/>
                  </a:lnTo>
                  <a:lnTo>
                    <a:pt x="1274" y="1302"/>
                  </a:lnTo>
                  <a:lnTo>
                    <a:pt x="1275" y="1300"/>
                  </a:lnTo>
                  <a:lnTo>
                    <a:pt x="1277" y="1298"/>
                  </a:lnTo>
                  <a:lnTo>
                    <a:pt x="1280" y="1298"/>
                  </a:lnTo>
                  <a:lnTo>
                    <a:pt x="1284" y="1300"/>
                  </a:lnTo>
                  <a:lnTo>
                    <a:pt x="1288" y="1301"/>
                  </a:lnTo>
                  <a:lnTo>
                    <a:pt x="1288" y="1303"/>
                  </a:lnTo>
                  <a:lnTo>
                    <a:pt x="1290" y="1305"/>
                  </a:lnTo>
                  <a:lnTo>
                    <a:pt x="1294" y="1306"/>
                  </a:lnTo>
                  <a:lnTo>
                    <a:pt x="1299" y="1307"/>
                  </a:lnTo>
                  <a:lnTo>
                    <a:pt x="1297" y="1304"/>
                  </a:lnTo>
                  <a:lnTo>
                    <a:pt x="1297" y="1302"/>
                  </a:lnTo>
                  <a:lnTo>
                    <a:pt x="1298" y="1300"/>
                  </a:lnTo>
                  <a:lnTo>
                    <a:pt x="1300" y="1298"/>
                  </a:lnTo>
                  <a:lnTo>
                    <a:pt x="1302" y="1298"/>
                  </a:lnTo>
                  <a:lnTo>
                    <a:pt x="1305" y="1297"/>
                  </a:lnTo>
                  <a:lnTo>
                    <a:pt x="1315" y="1297"/>
                  </a:lnTo>
                  <a:lnTo>
                    <a:pt x="1320" y="1298"/>
                  </a:lnTo>
                  <a:lnTo>
                    <a:pt x="1326" y="1301"/>
                  </a:lnTo>
                  <a:lnTo>
                    <a:pt x="1328" y="1303"/>
                  </a:lnTo>
                  <a:lnTo>
                    <a:pt x="1332" y="1300"/>
                  </a:lnTo>
                  <a:lnTo>
                    <a:pt x="1334" y="1299"/>
                  </a:lnTo>
                  <a:lnTo>
                    <a:pt x="1336" y="1298"/>
                  </a:lnTo>
                  <a:lnTo>
                    <a:pt x="1342" y="1298"/>
                  </a:lnTo>
                  <a:lnTo>
                    <a:pt x="1346" y="1296"/>
                  </a:lnTo>
                  <a:lnTo>
                    <a:pt x="1349" y="1295"/>
                  </a:lnTo>
                  <a:lnTo>
                    <a:pt x="1354" y="1294"/>
                  </a:lnTo>
                  <a:lnTo>
                    <a:pt x="1355" y="1293"/>
                  </a:lnTo>
                  <a:lnTo>
                    <a:pt x="1356" y="1294"/>
                  </a:lnTo>
                  <a:lnTo>
                    <a:pt x="1358" y="1294"/>
                  </a:lnTo>
                  <a:lnTo>
                    <a:pt x="1359" y="1293"/>
                  </a:lnTo>
                  <a:lnTo>
                    <a:pt x="1360" y="1292"/>
                  </a:lnTo>
                  <a:lnTo>
                    <a:pt x="1363" y="1290"/>
                  </a:lnTo>
                  <a:lnTo>
                    <a:pt x="1364" y="1288"/>
                  </a:lnTo>
                  <a:lnTo>
                    <a:pt x="1362" y="1285"/>
                  </a:lnTo>
                  <a:lnTo>
                    <a:pt x="1359" y="1283"/>
                  </a:lnTo>
                  <a:lnTo>
                    <a:pt x="1358" y="1286"/>
                  </a:lnTo>
                  <a:lnTo>
                    <a:pt x="1355" y="1285"/>
                  </a:lnTo>
                  <a:lnTo>
                    <a:pt x="1351" y="1284"/>
                  </a:lnTo>
                  <a:lnTo>
                    <a:pt x="1346" y="1280"/>
                  </a:lnTo>
                  <a:lnTo>
                    <a:pt x="1344" y="1278"/>
                  </a:lnTo>
                  <a:lnTo>
                    <a:pt x="1339" y="1269"/>
                  </a:lnTo>
                  <a:lnTo>
                    <a:pt x="1339" y="1265"/>
                  </a:lnTo>
                  <a:lnTo>
                    <a:pt x="1340" y="1263"/>
                  </a:lnTo>
                  <a:lnTo>
                    <a:pt x="1344" y="1261"/>
                  </a:lnTo>
                  <a:lnTo>
                    <a:pt x="1346" y="1260"/>
                  </a:lnTo>
                  <a:lnTo>
                    <a:pt x="1349" y="1249"/>
                  </a:lnTo>
                  <a:lnTo>
                    <a:pt x="1354" y="1254"/>
                  </a:lnTo>
                  <a:lnTo>
                    <a:pt x="1355" y="1253"/>
                  </a:lnTo>
                  <a:lnTo>
                    <a:pt x="1354" y="1244"/>
                  </a:lnTo>
                  <a:lnTo>
                    <a:pt x="1354" y="1244"/>
                  </a:lnTo>
                  <a:lnTo>
                    <a:pt x="1354" y="1241"/>
                  </a:lnTo>
                  <a:lnTo>
                    <a:pt x="1361" y="1225"/>
                  </a:lnTo>
                  <a:lnTo>
                    <a:pt x="1362" y="1222"/>
                  </a:lnTo>
                  <a:lnTo>
                    <a:pt x="1365" y="1219"/>
                  </a:lnTo>
                  <a:lnTo>
                    <a:pt x="1369" y="1218"/>
                  </a:lnTo>
                  <a:lnTo>
                    <a:pt x="1371" y="1216"/>
                  </a:lnTo>
                  <a:lnTo>
                    <a:pt x="1371" y="1212"/>
                  </a:lnTo>
                  <a:lnTo>
                    <a:pt x="1372" y="1199"/>
                  </a:lnTo>
                  <a:lnTo>
                    <a:pt x="1372" y="1190"/>
                  </a:lnTo>
                  <a:lnTo>
                    <a:pt x="1373" y="1187"/>
                  </a:lnTo>
                  <a:lnTo>
                    <a:pt x="1374" y="1184"/>
                  </a:lnTo>
                  <a:lnTo>
                    <a:pt x="1376" y="1181"/>
                  </a:lnTo>
                  <a:lnTo>
                    <a:pt x="1378" y="1178"/>
                  </a:lnTo>
                  <a:lnTo>
                    <a:pt x="1381" y="1176"/>
                  </a:lnTo>
                  <a:lnTo>
                    <a:pt x="1384" y="1175"/>
                  </a:lnTo>
                  <a:lnTo>
                    <a:pt x="1390" y="1175"/>
                  </a:lnTo>
                  <a:lnTo>
                    <a:pt x="1393" y="1174"/>
                  </a:lnTo>
                  <a:lnTo>
                    <a:pt x="1395" y="1172"/>
                  </a:lnTo>
                  <a:lnTo>
                    <a:pt x="1392" y="1154"/>
                  </a:lnTo>
                  <a:lnTo>
                    <a:pt x="1394" y="1146"/>
                  </a:lnTo>
                  <a:lnTo>
                    <a:pt x="1399" y="1146"/>
                  </a:lnTo>
                  <a:lnTo>
                    <a:pt x="1400" y="1143"/>
                  </a:lnTo>
                  <a:lnTo>
                    <a:pt x="1402" y="1141"/>
                  </a:lnTo>
                  <a:lnTo>
                    <a:pt x="1404" y="1141"/>
                  </a:lnTo>
                  <a:lnTo>
                    <a:pt x="1409" y="1140"/>
                  </a:lnTo>
                  <a:lnTo>
                    <a:pt x="1410" y="1139"/>
                  </a:lnTo>
                  <a:lnTo>
                    <a:pt x="1410" y="1137"/>
                  </a:lnTo>
                  <a:lnTo>
                    <a:pt x="1410" y="1133"/>
                  </a:lnTo>
                  <a:lnTo>
                    <a:pt x="1412" y="1130"/>
                  </a:lnTo>
                  <a:lnTo>
                    <a:pt x="1418" y="1124"/>
                  </a:lnTo>
                  <a:lnTo>
                    <a:pt x="1419" y="1123"/>
                  </a:lnTo>
                  <a:lnTo>
                    <a:pt x="1420" y="1121"/>
                  </a:lnTo>
                  <a:lnTo>
                    <a:pt x="1422" y="1119"/>
                  </a:lnTo>
                  <a:lnTo>
                    <a:pt x="1437" y="1113"/>
                  </a:lnTo>
                  <a:lnTo>
                    <a:pt x="1442" y="1109"/>
                  </a:lnTo>
                  <a:lnTo>
                    <a:pt x="1447" y="1107"/>
                  </a:lnTo>
                  <a:lnTo>
                    <a:pt x="1454" y="1106"/>
                  </a:lnTo>
                  <a:lnTo>
                    <a:pt x="1460" y="1106"/>
                  </a:lnTo>
                  <a:lnTo>
                    <a:pt x="1463" y="1105"/>
                  </a:lnTo>
                  <a:lnTo>
                    <a:pt x="1465" y="1102"/>
                  </a:lnTo>
                  <a:lnTo>
                    <a:pt x="1466" y="1099"/>
                  </a:lnTo>
                  <a:lnTo>
                    <a:pt x="1466" y="1097"/>
                  </a:lnTo>
                  <a:lnTo>
                    <a:pt x="1466" y="1094"/>
                  </a:lnTo>
                  <a:lnTo>
                    <a:pt x="1468" y="1090"/>
                  </a:lnTo>
                  <a:lnTo>
                    <a:pt x="1470" y="1088"/>
                  </a:lnTo>
                  <a:lnTo>
                    <a:pt x="1472" y="1088"/>
                  </a:lnTo>
                  <a:lnTo>
                    <a:pt x="1477" y="1088"/>
                  </a:lnTo>
                  <a:lnTo>
                    <a:pt x="1480" y="1087"/>
                  </a:lnTo>
                  <a:lnTo>
                    <a:pt x="1482" y="1086"/>
                  </a:lnTo>
                  <a:lnTo>
                    <a:pt x="1484" y="1086"/>
                  </a:lnTo>
                  <a:lnTo>
                    <a:pt x="1487" y="1087"/>
                  </a:lnTo>
                  <a:lnTo>
                    <a:pt x="1486" y="1083"/>
                  </a:lnTo>
                  <a:lnTo>
                    <a:pt x="1488" y="1080"/>
                  </a:lnTo>
                  <a:lnTo>
                    <a:pt x="1490" y="1079"/>
                  </a:lnTo>
                  <a:lnTo>
                    <a:pt x="1491" y="1078"/>
                  </a:lnTo>
                  <a:lnTo>
                    <a:pt x="1494" y="1076"/>
                  </a:lnTo>
                  <a:lnTo>
                    <a:pt x="1495" y="1075"/>
                  </a:lnTo>
                  <a:lnTo>
                    <a:pt x="1498" y="1075"/>
                  </a:lnTo>
                  <a:lnTo>
                    <a:pt x="1498" y="1074"/>
                  </a:lnTo>
                  <a:lnTo>
                    <a:pt x="1499" y="1074"/>
                  </a:lnTo>
                  <a:lnTo>
                    <a:pt x="1500" y="1070"/>
                  </a:lnTo>
                  <a:lnTo>
                    <a:pt x="1503" y="1068"/>
                  </a:lnTo>
                  <a:lnTo>
                    <a:pt x="1505" y="1066"/>
                  </a:lnTo>
                  <a:lnTo>
                    <a:pt x="1508" y="1066"/>
                  </a:lnTo>
                  <a:lnTo>
                    <a:pt x="1511" y="1065"/>
                  </a:lnTo>
                  <a:lnTo>
                    <a:pt x="1512" y="1064"/>
                  </a:lnTo>
                  <a:lnTo>
                    <a:pt x="1512" y="1061"/>
                  </a:lnTo>
                  <a:lnTo>
                    <a:pt x="1511" y="1058"/>
                  </a:lnTo>
                  <a:lnTo>
                    <a:pt x="1509" y="1059"/>
                  </a:lnTo>
                  <a:lnTo>
                    <a:pt x="1505" y="1055"/>
                  </a:lnTo>
                  <a:lnTo>
                    <a:pt x="1504" y="1054"/>
                  </a:lnTo>
                  <a:lnTo>
                    <a:pt x="1502" y="1053"/>
                  </a:lnTo>
                  <a:lnTo>
                    <a:pt x="1503" y="1052"/>
                  </a:lnTo>
                  <a:lnTo>
                    <a:pt x="1504" y="1052"/>
                  </a:lnTo>
                  <a:lnTo>
                    <a:pt x="1499" y="1046"/>
                  </a:lnTo>
                  <a:lnTo>
                    <a:pt x="1492" y="1042"/>
                  </a:lnTo>
                  <a:lnTo>
                    <a:pt x="1485" y="1040"/>
                  </a:lnTo>
                  <a:lnTo>
                    <a:pt x="1477" y="1039"/>
                  </a:lnTo>
                  <a:lnTo>
                    <a:pt x="1473" y="1038"/>
                  </a:lnTo>
                  <a:lnTo>
                    <a:pt x="1470" y="1035"/>
                  </a:lnTo>
                  <a:lnTo>
                    <a:pt x="1464" y="1029"/>
                  </a:lnTo>
                  <a:lnTo>
                    <a:pt x="1458" y="1024"/>
                  </a:lnTo>
                  <a:lnTo>
                    <a:pt x="1456" y="1022"/>
                  </a:lnTo>
                  <a:lnTo>
                    <a:pt x="1450" y="1011"/>
                  </a:lnTo>
                  <a:lnTo>
                    <a:pt x="1446" y="1003"/>
                  </a:lnTo>
                  <a:lnTo>
                    <a:pt x="1441" y="995"/>
                  </a:lnTo>
                  <a:lnTo>
                    <a:pt x="1439" y="989"/>
                  </a:lnTo>
                  <a:lnTo>
                    <a:pt x="1437" y="981"/>
                  </a:lnTo>
                  <a:lnTo>
                    <a:pt x="1436" y="978"/>
                  </a:lnTo>
                  <a:lnTo>
                    <a:pt x="1438" y="976"/>
                  </a:lnTo>
                  <a:lnTo>
                    <a:pt x="1441" y="975"/>
                  </a:lnTo>
                  <a:lnTo>
                    <a:pt x="1438" y="971"/>
                  </a:lnTo>
                  <a:lnTo>
                    <a:pt x="1437" y="968"/>
                  </a:lnTo>
                  <a:lnTo>
                    <a:pt x="1427" y="946"/>
                  </a:lnTo>
                  <a:lnTo>
                    <a:pt x="1424" y="932"/>
                  </a:lnTo>
                  <a:lnTo>
                    <a:pt x="1423" y="924"/>
                  </a:lnTo>
                  <a:lnTo>
                    <a:pt x="1422" y="914"/>
                  </a:lnTo>
                  <a:lnTo>
                    <a:pt x="1423" y="906"/>
                  </a:lnTo>
                  <a:lnTo>
                    <a:pt x="1425" y="902"/>
                  </a:lnTo>
                  <a:lnTo>
                    <a:pt x="1430" y="895"/>
                  </a:lnTo>
                  <a:lnTo>
                    <a:pt x="1431" y="893"/>
                  </a:lnTo>
                  <a:lnTo>
                    <a:pt x="1432" y="889"/>
                  </a:lnTo>
                  <a:lnTo>
                    <a:pt x="1434" y="886"/>
                  </a:lnTo>
                  <a:lnTo>
                    <a:pt x="1436" y="883"/>
                  </a:lnTo>
                  <a:lnTo>
                    <a:pt x="1440" y="878"/>
                  </a:lnTo>
                  <a:lnTo>
                    <a:pt x="1442" y="876"/>
                  </a:lnTo>
                  <a:lnTo>
                    <a:pt x="1442" y="873"/>
                  </a:lnTo>
                  <a:lnTo>
                    <a:pt x="1443" y="868"/>
                  </a:lnTo>
                  <a:lnTo>
                    <a:pt x="1444" y="865"/>
                  </a:lnTo>
                  <a:lnTo>
                    <a:pt x="1460" y="838"/>
                  </a:lnTo>
                  <a:lnTo>
                    <a:pt x="1470" y="827"/>
                  </a:lnTo>
                  <a:lnTo>
                    <a:pt x="1474" y="821"/>
                  </a:lnTo>
                  <a:lnTo>
                    <a:pt x="1481" y="806"/>
                  </a:lnTo>
                  <a:lnTo>
                    <a:pt x="1485" y="800"/>
                  </a:lnTo>
                  <a:lnTo>
                    <a:pt x="1493" y="795"/>
                  </a:lnTo>
                  <a:lnTo>
                    <a:pt x="1498" y="790"/>
                  </a:lnTo>
                  <a:lnTo>
                    <a:pt x="1507" y="771"/>
                  </a:lnTo>
                  <a:lnTo>
                    <a:pt x="1517" y="763"/>
                  </a:lnTo>
                  <a:lnTo>
                    <a:pt x="1522" y="756"/>
                  </a:lnTo>
                  <a:lnTo>
                    <a:pt x="1524" y="754"/>
                  </a:lnTo>
                  <a:lnTo>
                    <a:pt x="1529" y="750"/>
                  </a:lnTo>
                  <a:lnTo>
                    <a:pt x="1530" y="748"/>
                  </a:lnTo>
                  <a:lnTo>
                    <a:pt x="1541" y="726"/>
                  </a:lnTo>
                  <a:lnTo>
                    <a:pt x="1545" y="722"/>
                  </a:lnTo>
                  <a:lnTo>
                    <a:pt x="1546" y="717"/>
                  </a:lnTo>
                  <a:lnTo>
                    <a:pt x="1549" y="713"/>
                  </a:lnTo>
                  <a:lnTo>
                    <a:pt x="1551" y="711"/>
                  </a:lnTo>
                  <a:lnTo>
                    <a:pt x="1554" y="706"/>
                  </a:lnTo>
                  <a:lnTo>
                    <a:pt x="1557" y="700"/>
                  </a:lnTo>
                  <a:lnTo>
                    <a:pt x="1562" y="688"/>
                  </a:lnTo>
                  <a:lnTo>
                    <a:pt x="1564" y="684"/>
                  </a:lnTo>
                  <a:lnTo>
                    <a:pt x="1567" y="682"/>
                  </a:lnTo>
                  <a:lnTo>
                    <a:pt x="1570" y="679"/>
                  </a:lnTo>
                  <a:lnTo>
                    <a:pt x="1583" y="675"/>
                  </a:lnTo>
                  <a:lnTo>
                    <a:pt x="1588" y="675"/>
                  </a:lnTo>
                  <a:lnTo>
                    <a:pt x="1591" y="675"/>
                  </a:lnTo>
                  <a:lnTo>
                    <a:pt x="1585" y="684"/>
                  </a:lnTo>
                  <a:lnTo>
                    <a:pt x="1580" y="687"/>
                  </a:lnTo>
                  <a:lnTo>
                    <a:pt x="1576" y="685"/>
                  </a:lnTo>
                  <a:lnTo>
                    <a:pt x="1569" y="686"/>
                  </a:lnTo>
                  <a:lnTo>
                    <a:pt x="1573" y="692"/>
                  </a:lnTo>
                  <a:lnTo>
                    <a:pt x="1578" y="691"/>
                  </a:lnTo>
                  <a:lnTo>
                    <a:pt x="1582" y="690"/>
                  </a:lnTo>
                  <a:lnTo>
                    <a:pt x="1587" y="686"/>
                  </a:lnTo>
                  <a:lnTo>
                    <a:pt x="1595" y="673"/>
                  </a:lnTo>
                  <a:lnTo>
                    <a:pt x="1599" y="670"/>
                  </a:lnTo>
                  <a:lnTo>
                    <a:pt x="1609" y="667"/>
                  </a:lnTo>
                  <a:lnTo>
                    <a:pt x="1611" y="664"/>
                  </a:lnTo>
                  <a:lnTo>
                    <a:pt x="1613" y="660"/>
                  </a:lnTo>
                  <a:lnTo>
                    <a:pt x="1613" y="656"/>
                  </a:lnTo>
                  <a:lnTo>
                    <a:pt x="1610" y="655"/>
                  </a:lnTo>
                  <a:lnTo>
                    <a:pt x="1608" y="655"/>
                  </a:lnTo>
                  <a:lnTo>
                    <a:pt x="1604" y="651"/>
                  </a:lnTo>
                  <a:lnTo>
                    <a:pt x="1600" y="647"/>
                  </a:lnTo>
                  <a:lnTo>
                    <a:pt x="1598" y="645"/>
                  </a:lnTo>
                  <a:lnTo>
                    <a:pt x="1596" y="644"/>
                  </a:lnTo>
                  <a:lnTo>
                    <a:pt x="1594" y="643"/>
                  </a:lnTo>
                  <a:lnTo>
                    <a:pt x="1596" y="645"/>
                  </a:lnTo>
                  <a:lnTo>
                    <a:pt x="1597" y="647"/>
                  </a:lnTo>
                  <a:lnTo>
                    <a:pt x="1596" y="648"/>
                  </a:lnTo>
                  <a:lnTo>
                    <a:pt x="1594" y="648"/>
                  </a:lnTo>
                  <a:lnTo>
                    <a:pt x="1589" y="646"/>
                  </a:lnTo>
                  <a:lnTo>
                    <a:pt x="1585" y="643"/>
                  </a:lnTo>
                  <a:lnTo>
                    <a:pt x="1588" y="638"/>
                  </a:lnTo>
                  <a:lnTo>
                    <a:pt x="1605" y="620"/>
                  </a:lnTo>
                  <a:lnTo>
                    <a:pt x="1614" y="608"/>
                  </a:lnTo>
                  <a:lnTo>
                    <a:pt x="1632" y="590"/>
                  </a:lnTo>
                  <a:lnTo>
                    <a:pt x="1636" y="588"/>
                  </a:lnTo>
                  <a:lnTo>
                    <a:pt x="1642" y="585"/>
                  </a:lnTo>
                  <a:lnTo>
                    <a:pt x="1649" y="584"/>
                  </a:lnTo>
                  <a:lnTo>
                    <a:pt x="1656" y="584"/>
                  </a:lnTo>
                  <a:lnTo>
                    <a:pt x="1657" y="584"/>
                  </a:lnTo>
                  <a:lnTo>
                    <a:pt x="1661" y="586"/>
                  </a:lnTo>
                  <a:lnTo>
                    <a:pt x="1662" y="586"/>
                  </a:lnTo>
                  <a:lnTo>
                    <a:pt x="1663" y="584"/>
                  </a:lnTo>
                  <a:lnTo>
                    <a:pt x="1664" y="583"/>
                  </a:lnTo>
                  <a:lnTo>
                    <a:pt x="1667" y="578"/>
                  </a:lnTo>
                  <a:lnTo>
                    <a:pt x="1668" y="577"/>
                  </a:lnTo>
                  <a:lnTo>
                    <a:pt x="1679" y="574"/>
                  </a:lnTo>
                  <a:lnTo>
                    <a:pt x="1719" y="560"/>
                  </a:lnTo>
                  <a:lnTo>
                    <a:pt x="1733" y="559"/>
                  </a:lnTo>
                  <a:lnTo>
                    <a:pt x="1764" y="549"/>
                  </a:lnTo>
                  <a:lnTo>
                    <a:pt x="1769" y="549"/>
                  </a:lnTo>
                  <a:lnTo>
                    <a:pt x="1770" y="549"/>
                  </a:lnTo>
                  <a:lnTo>
                    <a:pt x="1774" y="547"/>
                  </a:lnTo>
                  <a:lnTo>
                    <a:pt x="1784" y="544"/>
                  </a:lnTo>
                  <a:lnTo>
                    <a:pt x="1795" y="543"/>
                  </a:lnTo>
                  <a:lnTo>
                    <a:pt x="1802" y="541"/>
                  </a:lnTo>
                  <a:lnTo>
                    <a:pt x="1813" y="535"/>
                  </a:lnTo>
                  <a:lnTo>
                    <a:pt x="1818" y="530"/>
                  </a:lnTo>
                  <a:lnTo>
                    <a:pt x="1823" y="524"/>
                  </a:lnTo>
                  <a:lnTo>
                    <a:pt x="1830" y="510"/>
                  </a:lnTo>
                  <a:lnTo>
                    <a:pt x="1835" y="505"/>
                  </a:lnTo>
                  <a:lnTo>
                    <a:pt x="1839" y="501"/>
                  </a:lnTo>
                  <a:lnTo>
                    <a:pt x="1851" y="496"/>
                  </a:lnTo>
                  <a:lnTo>
                    <a:pt x="1860" y="490"/>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06" name="Freeform 12">
              <a:extLst>
                <a:ext uri="{FF2B5EF4-FFF2-40B4-BE49-F238E27FC236}">
                  <a16:creationId xmlns:a16="http://schemas.microsoft.com/office/drawing/2014/main" id="{223F152B-F211-4716-9EA8-F0064FBBF05F}"/>
                </a:ext>
              </a:extLst>
            </p:cNvPr>
            <p:cNvSpPr>
              <a:spLocks/>
            </p:cNvSpPr>
            <p:nvPr/>
          </p:nvSpPr>
          <p:spPr bwMode="gray">
            <a:xfrm>
              <a:off x="9273674" y="5472538"/>
              <a:ext cx="10596" cy="12465"/>
            </a:xfrm>
            <a:custGeom>
              <a:avLst/>
              <a:gdLst>
                <a:gd name="T0" fmla="*/ 16 w 17"/>
                <a:gd name="T1" fmla="*/ 2 h 20"/>
                <a:gd name="T2" fmla="*/ 15 w 17"/>
                <a:gd name="T3" fmla="*/ 0 h 20"/>
                <a:gd name="T4" fmla="*/ 10 w 17"/>
                <a:gd name="T5" fmla="*/ 1 h 20"/>
                <a:gd name="T6" fmla="*/ 5 w 17"/>
                <a:gd name="T7" fmla="*/ 3 h 20"/>
                <a:gd name="T8" fmla="*/ 4 w 17"/>
                <a:gd name="T9" fmla="*/ 5 h 20"/>
                <a:gd name="T10" fmla="*/ 1 w 17"/>
                <a:gd name="T11" fmla="*/ 7 h 20"/>
                <a:gd name="T12" fmla="*/ 0 w 17"/>
                <a:gd name="T13" fmla="*/ 13 h 20"/>
                <a:gd name="T14" fmla="*/ 2 w 17"/>
                <a:gd name="T15" fmla="*/ 17 h 20"/>
                <a:gd name="T16" fmla="*/ 7 w 17"/>
                <a:gd name="T17" fmla="*/ 20 h 20"/>
                <a:gd name="T18" fmla="*/ 12 w 17"/>
                <a:gd name="T19" fmla="*/ 19 h 20"/>
                <a:gd name="T20" fmla="*/ 14 w 17"/>
                <a:gd name="T21" fmla="*/ 14 h 20"/>
                <a:gd name="T22" fmla="*/ 14 w 17"/>
                <a:gd name="T23" fmla="*/ 14 h 20"/>
                <a:gd name="T24" fmla="*/ 14 w 17"/>
                <a:gd name="T25" fmla="*/ 13 h 20"/>
                <a:gd name="T26" fmla="*/ 14 w 17"/>
                <a:gd name="T27" fmla="*/ 12 h 20"/>
                <a:gd name="T28" fmla="*/ 15 w 17"/>
                <a:gd name="T29" fmla="*/ 12 h 20"/>
                <a:gd name="T30" fmla="*/ 15 w 17"/>
                <a:gd name="T31" fmla="*/ 12 h 20"/>
                <a:gd name="T32" fmla="*/ 16 w 17"/>
                <a:gd name="T33" fmla="*/ 9 h 20"/>
                <a:gd name="T34" fmla="*/ 17 w 17"/>
                <a:gd name="T35" fmla="*/ 6 h 20"/>
                <a:gd name="T36" fmla="*/ 16 w 17"/>
                <a:gd name="T3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20">
                  <a:moveTo>
                    <a:pt x="16" y="2"/>
                  </a:moveTo>
                  <a:lnTo>
                    <a:pt x="15" y="0"/>
                  </a:lnTo>
                  <a:lnTo>
                    <a:pt x="10" y="1"/>
                  </a:lnTo>
                  <a:lnTo>
                    <a:pt x="5" y="3"/>
                  </a:lnTo>
                  <a:lnTo>
                    <a:pt x="4" y="5"/>
                  </a:lnTo>
                  <a:lnTo>
                    <a:pt x="1" y="7"/>
                  </a:lnTo>
                  <a:lnTo>
                    <a:pt x="0" y="13"/>
                  </a:lnTo>
                  <a:lnTo>
                    <a:pt x="2" y="17"/>
                  </a:lnTo>
                  <a:lnTo>
                    <a:pt x="7" y="20"/>
                  </a:lnTo>
                  <a:lnTo>
                    <a:pt x="12" y="19"/>
                  </a:lnTo>
                  <a:lnTo>
                    <a:pt x="14" y="14"/>
                  </a:lnTo>
                  <a:lnTo>
                    <a:pt x="14" y="14"/>
                  </a:lnTo>
                  <a:lnTo>
                    <a:pt x="14" y="13"/>
                  </a:lnTo>
                  <a:lnTo>
                    <a:pt x="14" y="12"/>
                  </a:lnTo>
                  <a:lnTo>
                    <a:pt x="15" y="12"/>
                  </a:lnTo>
                  <a:lnTo>
                    <a:pt x="15" y="12"/>
                  </a:lnTo>
                  <a:lnTo>
                    <a:pt x="16" y="9"/>
                  </a:lnTo>
                  <a:lnTo>
                    <a:pt x="17" y="6"/>
                  </a:lnTo>
                  <a:lnTo>
                    <a:pt x="16" y="2"/>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07" name="Freeform 13">
              <a:extLst>
                <a:ext uri="{FF2B5EF4-FFF2-40B4-BE49-F238E27FC236}">
                  <a16:creationId xmlns:a16="http://schemas.microsoft.com/office/drawing/2014/main" id="{AFFC4F9B-75A3-47A9-A27C-BF4CD6717747}"/>
                </a:ext>
              </a:extLst>
            </p:cNvPr>
            <p:cNvSpPr>
              <a:spLocks/>
            </p:cNvSpPr>
            <p:nvPr/>
          </p:nvSpPr>
          <p:spPr bwMode="gray">
            <a:xfrm>
              <a:off x="9370279" y="5067421"/>
              <a:ext cx="311628" cy="205051"/>
            </a:xfrm>
            <a:custGeom>
              <a:avLst/>
              <a:gdLst>
                <a:gd name="T0" fmla="*/ 481 w 500"/>
                <a:gd name="T1" fmla="*/ 48 h 329"/>
                <a:gd name="T2" fmla="*/ 475 w 500"/>
                <a:gd name="T3" fmla="*/ 34 h 329"/>
                <a:gd name="T4" fmla="*/ 468 w 500"/>
                <a:gd name="T5" fmla="*/ 15 h 329"/>
                <a:gd name="T6" fmla="*/ 463 w 500"/>
                <a:gd name="T7" fmla="*/ 1 h 329"/>
                <a:gd name="T8" fmla="*/ 416 w 500"/>
                <a:gd name="T9" fmla="*/ 8 h 329"/>
                <a:gd name="T10" fmla="*/ 414 w 500"/>
                <a:gd name="T11" fmla="*/ 28 h 329"/>
                <a:gd name="T12" fmla="*/ 410 w 500"/>
                <a:gd name="T13" fmla="*/ 39 h 329"/>
                <a:gd name="T14" fmla="*/ 360 w 500"/>
                <a:gd name="T15" fmla="*/ 38 h 329"/>
                <a:gd name="T16" fmla="*/ 344 w 500"/>
                <a:gd name="T17" fmla="*/ 46 h 329"/>
                <a:gd name="T18" fmla="*/ 329 w 500"/>
                <a:gd name="T19" fmla="*/ 55 h 329"/>
                <a:gd name="T20" fmla="*/ 260 w 500"/>
                <a:gd name="T21" fmla="*/ 53 h 329"/>
                <a:gd name="T22" fmla="*/ 236 w 500"/>
                <a:gd name="T23" fmla="*/ 61 h 329"/>
                <a:gd name="T24" fmla="*/ 218 w 500"/>
                <a:gd name="T25" fmla="*/ 86 h 329"/>
                <a:gd name="T26" fmla="*/ 206 w 500"/>
                <a:gd name="T27" fmla="*/ 93 h 329"/>
                <a:gd name="T28" fmla="*/ 189 w 500"/>
                <a:gd name="T29" fmla="*/ 111 h 329"/>
                <a:gd name="T30" fmla="*/ 167 w 500"/>
                <a:gd name="T31" fmla="*/ 100 h 329"/>
                <a:gd name="T32" fmla="*/ 114 w 500"/>
                <a:gd name="T33" fmla="*/ 90 h 329"/>
                <a:gd name="T34" fmla="*/ 69 w 500"/>
                <a:gd name="T35" fmla="*/ 82 h 329"/>
                <a:gd name="T36" fmla="*/ 51 w 500"/>
                <a:gd name="T37" fmla="*/ 92 h 329"/>
                <a:gd name="T38" fmla="*/ 15 w 500"/>
                <a:gd name="T39" fmla="*/ 117 h 329"/>
                <a:gd name="T40" fmla="*/ 2 w 500"/>
                <a:gd name="T41" fmla="*/ 137 h 329"/>
                <a:gd name="T42" fmla="*/ 12 w 500"/>
                <a:gd name="T43" fmla="*/ 147 h 329"/>
                <a:gd name="T44" fmla="*/ 43 w 500"/>
                <a:gd name="T45" fmla="*/ 157 h 329"/>
                <a:gd name="T46" fmla="*/ 20 w 500"/>
                <a:gd name="T47" fmla="*/ 193 h 329"/>
                <a:gd name="T48" fmla="*/ 19 w 500"/>
                <a:gd name="T49" fmla="*/ 201 h 329"/>
                <a:gd name="T50" fmla="*/ 37 w 500"/>
                <a:gd name="T51" fmla="*/ 219 h 329"/>
                <a:gd name="T52" fmla="*/ 55 w 500"/>
                <a:gd name="T53" fmla="*/ 252 h 329"/>
                <a:gd name="T54" fmla="*/ 80 w 500"/>
                <a:gd name="T55" fmla="*/ 289 h 329"/>
                <a:gd name="T56" fmla="*/ 49 w 500"/>
                <a:gd name="T57" fmla="*/ 302 h 329"/>
                <a:gd name="T58" fmla="*/ 36 w 500"/>
                <a:gd name="T59" fmla="*/ 313 h 329"/>
                <a:gd name="T60" fmla="*/ 85 w 500"/>
                <a:gd name="T61" fmla="*/ 328 h 329"/>
                <a:gd name="T62" fmla="*/ 99 w 500"/>
                <a:gd name="T63" fmla="*/ 309 h 329"/>
                <a:gd name="T64" fmla="*/ 120 w 500"/>
                <a:gd name="T65" fmla="*/ 318 h 329"/>
                <a:gd name="T66" fmla="*/ 169 w 500"/>
                <a:gd name="T67" fmla="*/ 311 h 329"/>
                <a:gd name="T68" fmla="*/ 187 w 500"/>
                <a:gd name="T69" fmla="*/ 281 h 329"/>
                <a:gd name="T70" fmla="*/ 196 w 500"/>
                <a:gd name="T71" fmla="*/ 288 h 329"/>
                <a:gd name="T72" fmla="*/ 207 w 500"/>
                <a:gd name="T73" fmla="*/ 304 h 329"/>
                <a:gd name="T74" fmla="*/ 244 w 500"/>
                <a:gd name="T75" fmla="*/ 313 h 329"/>
                <a:gd name="T76" fmla="*/ 269 w 500"/>
                <a:gd name="T77" fmla="*/ 317 h 329"/>
                <a:gd name="T78" fmla="*/ 315 w 500"/>
                <a:gd name="T79" fmla="*/ 317 h 329"/>
                <a:gd name="T80" fmla="*/ 302 w 500"/>
                <a:gd name="T81" fmla="*/ 289 h 329"/>
                <a:gd name="T82" fmla="*/ 318 w 500"/>
                <a:gd name="T83" fmla="*/ 278 h 329"/>
                <a:gd name="T84" fmla="*/ 308 w 500"/>
                <a:gd name="T85" fmla="*/ 273 h 329"/>
                <a:gd name="T86" fmla="*/ 300 w 500"/>
                <a:gd name="T87" fmla="*/ 261 h 329"/>
                <a:gd name="T88" fmla="*/ 329 w 500"/>
                <a:gd name="T89" fmla="*/ 241 h 329"/>
                <a:gd name="T90" fmla="*/ 353 w 500"/>
                <a:gd name="T91" fmla="*/ 239 h 329"/>
                <a:gd name="T92" fmla="*/ 366 w 500"/>
                <a:gd name="T93" fmla="*/ 218 h 329"/>
                <a:gd name="T94" fmla="*/ 370 w 500"/>
                <a:gd name="T95" fmla="*/ 189 h 329"/>
                <a:gd name="T96" fmla="*/ 356 w 500"/>
                <a:gd name="T97" fmla="*/ 161 h 329"/>
                <a:gd name="T98" fmla="*/ 387 w 500"/>
                <a:gd name="T99" fmla="*/ 142 h 329"/>
                <a:gd name="T100" fmla="*/ 416 w 500"/>
                <a:gd name="T101" fmla="*/ 133 h 329"/>
                <a:gd name="T102" fmla="*/ 427 w 500"/>
                <a:gd name="T103" fmla="*/ 116 h 329"/>
                <a:gd name="T104" fmla="*/ 443 w 500"/>
                <a:gd name="T105" fmla="*/ 109 h 329"/>
                <a:gd name="T106" fmla="*/ 463 w 500"/>
                <a:gd name="T107" fmla="*/ 110 h 329"/>
                <a:gd name="T108" fmla="*/ 455 w 500"/>
                <a:gd name="T109" fmla="*/ 87 h 329"/>
                <a:gd name="T110" fmla="*/ 474 w 500"/>
                <a:gd name="T111" fmla="*/ 75 h 329"/>
                <a:gd name="T112" fmla="*/ 488 w 500"/>
                <a:gd name="T113" fmla="*/ 8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00" h="329">
                  <a:moveTo>
                    <a:pt x="498" y="74"/>
                  </a:moveTo>
                  <a:lnTo>
                    <a:pt x="493" y="69"/>
                  </a:lnTo>
                  <a:lnTo>
                    <a:pt x="487" y="60"/>
                  </a:lnTo>
                  <a:lnTo>
                    <a:pt x="481" y="57"/>
                  </a:lnTo>
                  <a:lnTo>
                    <a:pt x="478" y="54"/>
                  </a:lnTo>
                  <a:lnTo>
                    <a:pt x="477" y="53"/>
                  </a:lnTo>
                  <a:lnTo>
                    <a:pt x="477" y="51"/>
                  </a:lnTo>
                  <a:lnTo>
                    <a:pt x="478" y="49"/>
                  </a:lnTo>
                  <a:lnTo>
                    <a:pt x="481" y="48"/>
                  </a:lnTo>
                  <a:lnTo>
                    <a:pt x="482" y="47"/>
                  </a:lnTo>
                  <a:lnTo>
                    <a:pt x="484" y="45"/>
                  </a:lnTo>
                  <a:lnTo>
                    <a:pt x="483" y="41"/>
                  </a:lnTo>
                  <a:lnTo>
                    <a:pt x="480" y="39"/>
                  </a:lnTo>
                  <a:lnTo>
                    <a:pt x="477" y="39"/>
                  </a:lnTo>
                  <a:lnTo>
                    <a:pt x="476" y="39"/>
                  </a:lnTo>
                  <a:lnTo>
                    <a:pt x="476" y="39"/>
                  </a:lnTo>
                  <a:lnTo>
                    <a:pt x="475" y="38"/>
                  </a:lnTo>
                  <a:lnTo>
                    <a:pt x="475" y="34"/>
                  </a:lnTo>
                  <a:lnTo>
                    <a:pt x="473" y="35"/>
                  </a:lnTo>
                  <a:lnTo>
                    <a:pt x="471" y="33"/>
                  </a:lnTo>
                  <a:lnTo>
                    <a:pt x="470" y="30"/>
                  </a:lnTo>
                  <a:lnTo>
                    <a:pt x="468" y="28"/>
                  </a:lnTo>
                  <a:lnTo>
                    <a:pt x="466" y="21"/>
                  </a:lnTo>
                  <a:lnTo>
                    <a:pt x="466" y="20"/>
                  </a:lnTo>
                  <a:lnTo>
                    <a:pt x="466" y="20"/>
                  </a:lnTo>
                  <a:lnTo>
                    <a:pt x="466" y="18"/>
                  </a:lnTo>
                  <a:lnTo>
                    <a:pt x="468" y="15"/>
                  </a:lnTo>
                  <a:lnTo>
                    <a:pt x="468" y="14"/>
                  </a:lnTo>
                  <a:lnTo>
                    <a:pt x="470" y="12"/>
                  </a:lnTo>
                  <a:lnTo>
                    <a:pt x="470" y="9"/>
                  </a:lnTo>
                  <a:lnTo>
                    <a:pt x="471" y="7"/>
                  </a:lnTo>
                  <a:lnTo>
                    <a:pt x="470" y="6"/>
                  </a:lnTo>
                  <a:lnTo>
                    <a:pt x="468" y="6"/>
                  </a:lnTo>
                  <a:lnTo>
                    <a:pt x="466" y="5"/>
                  </a:lnTo>
                  <a:lnTo>
                    <a:pt x="465" y="4"/>
                  </a:lnTo>
                  <a:lnTo>
                    <a:pt x="463" y="1"/>
                  </a:lnTo>
                  <a:lnTo>
                    <a:pt x="461" y="0"/>
                  </a:lnTo>
                  <a:lnTo>
                    <a:pt x="447" y="1"/>
                  </a:lnTo>
                  <a:lnTo>
                    <a:pt x="440" y="2"/>
                  </a:lnTo>
                  <a:lnTo>
                    <a:pt x="439" y="2"/>
                  </a:lnTo>
                  <a:lnTo>
                    <a:pt x="433" y="0"/>
                  </a:lnTo>
                  <a:lnTo>
                    <a:pt x="427" y="4"/>
                  </a:lnTo>
                  <a:lnTo>
                    <a:pt x="423" y="6"/>
                  </a:lnTo>
                  <a:lnTo>
                    <a:pt x="423" y="6"/>
                  </a:lnTo>
                  <a:lnTo>
                    <a:pt x="416" y="8"/>
                  </a:lnTo>
                  <a:lnTo>
                    <a:pt x="416" y="9"/>
                  </a:lnTo>
                  <a:lnTo>
                    <a:pt x="414" y="10"/>
                  </a:lnTo>
                  <a:lnTo>
                    <a:pt x="414" y="11"/>
                  </a:lnTo>
                  <a:lnTo>
                    <a:pt x="415" y="11"/>
                  </a:lnTo>
                  <a:lnTo>
                    <a:pt x="415" y="13"/>
                  </a:lnTo>
                  <a:lnTo>
                    <a:pt x="414" y="20"/>
                  </a:lnTo>
                  <a:lnTo>
                    <a:pt x="414" y="21"/>
                  </a:lnTo>
                  <a:lnTo>
                    <a:pt x="414" y="24"/>
                  </a:lnTo>
                  <a:lnTo>
                    <a:pt x="414" y="28"/>
                  </a:lnTo>
                  <a:lnTo>
                    <a:pt x="416" y="34"/>
                  </a:lnTo>
                  <a:lnTo>
                    <a:pt x="419" y="36"/>
                  </a:lnTo>
                  <a:lnTo>
                    <a:pt x="421" y="39"/>
                  </a:lnTo>
                  <a:lnTo>
                    <a:pt x="421" y="45"/>
                  </a:lnTo>
                  <a:lnTo>
                    <a:pt x="421" y="45"/>
                  </a:lnTo>
                  <a:lnTo>
                    <a:pt x="421" y="45"/>
                  </a:lnTo>
                  <a:lnTo>
                    <a:pt x="418" y="41"/>
                  </a:lnTo>
                  <a:lnTo>
                    <a:pt x="416" y="40"/>
                  </a:lnTo>
                  <a:lnTo>
                    <a:pt x="410" y="39"/>
                  </a:lnTo>
                  <a:lnTo>
                    <a:pt x="399" y="33"/>
                  </a:lnTo>
                  <a:lnTo>
                    <a:pt x="395" y="32"/>
                  </a:lnTo>
                  <a:lnTo>
                    <a:pt x="390" y="33"/>
                  </a:lnTo>
                  <a:lnTo>
                    <a:pt x="384" y="35"/>
                  </a:lnTo>
                  <a:lnTo>
                    <a:pt x="379" y="37"/>
                  </a:lnTo>
                  <a:lnTo>
                    <a:pt x="375" y="37"/>
                  </a:lnTo>
                  <a:lnTo>
                    <a:pt x="363" y="36"/>
                  </a:lnTo>
                  <a:lnTo>
                    <a:pt x="361" y="34"/>
                  </a:lnTo>
                  <a:lnTo>
                    <a:pt x="360" y="38"/>
                  </a:lnTo>
                  <a:lnTo>
                    <a:pt x="360" y="40"/>
                  </a:lnTo>
                  <a:lnTo>
                    <a:pt x="359" y="43"/>
                  </a:lnTo>
                  <a:lnTo>
                    <a:pt x="358" y="43"/>
                  </a:lnTo>
                  <a:lnTo>
                    <a:pt x="357" y="44"/>
                  </a:lnTo>
                  <a:lnTo>
                    <a:pt x="355" y="44"/>
                  </a:lnTo>
                  <a:lnTo>
                    <a:pt x="353" y="43"/>
                  </a:lnTo>
                  <a:lnTo>
                    <a:pt x="350" y="43"/>
                  </a:lnTo>
                  <a:lnTo>
                    <a:pt x="346" y="44"/>
                  </a:lnTo>
                  <a:lnTo>
                    <a:pt x="344" y="46"/>
                  </a:lnTo>
                  <a:lnTo>
                    <a:pt x="342" y="50"/>
                  </a:lnTo>
                  <a:lnTo>
                    <a:pt x="342" y="50"/>
                  </a:lnTo>
                  <a:lnTo>
                    <a:pt x="342" y="52"/>
                  </a:lnTo>
                  <a:lnTo>
                    <a:pt x="341" y="53"/>
                  </a:lnTo>
                  <a:lnTo>
                    <a:pt x="341" y="54"/>
                  </a:lnTo>
                  <a:lnTo>
                    <a:pt x="338" y="57"/>
                  </a:lnTo>
                  <a:lnTo>
                    <a:pt x="333" y="58"/>
                  </a:lnTo>
                  <a:lnTo>
                    <a:pt x="329" y="55"/>
                  </a:lnTo>
                  <a:lnTo>
                    <a:pt x="329" y="55"/>
                  </a:lnTo>
                  <a:lnTo>
                    <a:pt x="326" y="52"/>
                  </a:lnTo>
                  <a:lnTo>
                    <a:pt x="321" y="51"/>
                  </a:lnTo>
                  <a:lnTo>
                    <a:pt x="313" y="51"/>
                  </a:lnTo>
                  <a:lnTo>
                    <a:pt x="292" y="52"/>
                  </a:lnTo>
                  <a:lnTo>
                    <a:pt x="287" y="52"/>
                  </a:lnTo>
                  <a:lnTo>
                    <a:pt x="276" y="50"/>
                  </a:lnTo>
                  <a:lnTo>
                    <a:pt x="273" y="50"/>
                  </a:lnTo>
                  <a:lnTo>
                    <a:pt x="269" y="50"/>
                  </a:lnTo>
                  <a:lnTo>
                    <a:pt x="260" y="53"/>
                  </a:lnTo>
                  <a:lnTo>
                    <a:pt x="255" y="61"/>
                  </a:lnTo>
                  <a:lnTo>
                    <a:pt x="251" y="57"/>
                  </a:lnTo>
                  <a:lnTo>
                    <a:pt x="249" y="56"/>
                  </a:lnTo>
                  <a:lnTo>
                    <a:pt x="247" y="58"/>
                  </a:lnTo>
                  <a:lnTo>
                    <a:pt x="243" y="60"/>
                  </a:lnTo>
                  <a:lnTo>
                    <a:pt x="243" y="60"/>
                  </a:lnTo>
                  <a:lnTo>
                    <a:pt x="240" y="60"/>
                  </a:lnTo>
                  <a:lnTo>
                    <a:pt x="238" y="60"/>
                  </a:lnTo>
                  <a:lnTo>
                    <a:pt x="236" y="61"/>
                  </a:lnTo>
                  <a:lnTo>
                    <a:pt x="233" y="65"/>
                  </a:lnTo>
                  <a:lnTo>
                    <a:pt x="231" y="68"/>
                  </a:lnTo>
                  <a:lnTo>
                    <a:pt x="230" y="72"/>
                  </a:lnTo>
                  <a:lnTo>
                    <a:pt x="229" y="76"/>
                  </a:lnTo>
                  <a:lnTo>
                    <a:pt x="227" y="80"/>
                  </a:lnTo>
                  <a:lnTo>
                    <a:pt x="226" y="82"/>
                  </a:lnTo>
                  <a:lnTo>
                    <a:pt x="225" y="83"/>
                  </a:lnTo>
                  <a:lnTo>
                    <a:pt x="222" y="85"/>
                  </a:lnTo>
                  <a:lnTo>
                    <a:pt x="218" y="86"/>
                  </a:lnTo>
                  <a:lnTo>
                    <a:pt x="216" y="85"/>
                  </a:lnTo>
                  <a:lnTo>
                    <a:pt x="214" y="86"/>
                  </a:lnTo>
                  <a:lnTo>
                    <a:pt x="213" y="87"/>
                  </a:lnTo>
                  <a:lnTo>
                    <a:pt x="212" y="88"/>
                  </a:lnTo>
                  <a:lnTo>
                    <a:pt x="210" y="91"/>
                  </a:lnTo>
                  <a:lnTo>
                    <a:pt x="209" y="93"/>
                  </a:lnTo>
                  <a:lnTo>
                    <a:pt x="208" y="93"/>
                  </a:lnTo>
                  <a:lnTo>
                    <a:pt x="207" y="93"/>
                  </a:lnTo>
                  <a:lnTo>
                    <a:pt x="206" y="93"/>
                  </a:lnTo>
                  <a:lnTo>
                    <a:pt x="203" y="97"/>
                  </a:lnTo>
                  <a:lnTo>
                    <a:pt x="201" y="98"/>
                  </a:lnTo>
                  <a:lnTo>
                    <a:pt x="200" y="98"/>
                  </a:lnTo>
                  <a:lnTo>
                    <a:pt x="196" y="98"/>
                  </a:lnTo>
                  <a:lnTo>
                    <a:pt x="195" y="99"/>
                  </a:lnTo>
                  <a:lnTo>
                    <a:pt x="192" y="102"/>
                  </a:lnTo>
                  <a:lnTo>
                    <a:pt x="191" y="107"/>
                  </a:lnTo>
                  <a:lnTo>
                    <a:pt x="190" y="109"/>
                  </a:lnTo>
                  <a:lnTo>
                    <a:pt x="189" y="111"/>
                  </a:lnTo>
                  <a:lnTo>
                    <a:pt x="187" y="112"/>
                  </a:lnTo>
                  <a:lnTo>
                    <a:pt x="185" y="110"/>
                  </a:lnTo>
                  <a:lnTo>
                    <a:pt x="183" y="106"/>
                  </a:lnTo>
                  <a:lnTo>
                    <a:pt x="181" y="103"/>
                  </a:lnTo>
                  <a:lnTo>
                    <a:pt x="175" y="104"/>
                  </a:lnTo>
                  <a:lnTo>
                    <a:pt x="172" y="104"/>
                  </a:lnTo>
                  <a:lnTo>
                    <a:pt x="170" y="103"/>
                  </a:lnTo>
                  <a:lnTo>
                    <a:pt x="167" y="102"/>
                  </a:lnTo>
                  <a:lnTo>
                    <a:pt x="167" y="100"/>
                  </a:lnTo>
                  <a:lnTo>
                    <a:pt x="166" y="99"/>
                  </a:lnTo>
                  <a:lnTo>
                    <a:pt x="165" y="98"/>
                  </a:lnTo>
                  <a:lnTo>
                    <a:pt x="164" y="98"/>
                  </a:lnTo>
                  <a:lnTo>
                    <a:pt x="158" y="99"/>
                  </a:lnTo>
                  <a:lnTo>
                    <a:pt x="139" y="98"/>
                  </a:lnTo>
                  <a:lnTo>
                    <a:pt x="125" y="98"/>
                  </a:lnTo>
                  <a:lnTo>
                    <a:pt x="124" y="98"/>
                  </a:lnTo>
                  <a:lnTo>
                    <a:pt x="123" y="97"/>
                  </a:lnTo>
                  <a:lnTo>
                    <a:pt x="114" y="90"/>
                  </a:lnTo>
                  <a:lnTo>
                    <a:pt x="111" y="88"/>
                  </a:lnTo>
                  <a:lnTo>
                    <a:pt x="109" y="88"/>
                  </a:lnTo>
                  <a:lnTo>
                    <a:pt x="106" y="87"/>
                  </a:lnTo>
                  <a:lnTo>
                    <a:pt x="103" y="88"/>
                  </a:lnTo>
                  <a:lnTo>
                    <a:pt x="101" y="88"/>
                  </a:lnTo>
                  <a:lnTo>
                    <a:pt x="98" y="88"/>
                  </a:lnTo>
                  <a:lnTo>
                    <a:pt x="84" y="81"/>
                  </a:lnTo>
                  <a:lnTo>
                    <a:pt x="79" y="81"/>
                  </a:lnTo>
                  <a:lnTo>
                    <a:pt x="69" y="82"/>
                  </a:lnTo>
                  <a:lnTo>
                    <a:pt x="66" y="82"/>
                  </a:lnTo>
                  <a:lnTo>
                    <a:pt x="56" y="80"/>
                  </a:lnTo>
                  <a:lnTo>
                    <a:pt x="54" y="80"/>
                  </a:lnTo>
                  <a:lnTo>
                    <a:pt x="54" y="81"/>
                  </a:lnTo>
                  <a:lnTo>
                    <a:pt x="53" y="83"/>
                  </a:lnTo>
                  <a:lnTo>
                    <a:pt x="53" y="84"/>
                  </a:lnTo>
                  <a:lnTo>
                    <a:pt x="52" y="86"/>
                  </a:lnTo>
                  <a:lnTo>
                    <a:pt x="51" y="92"/>
                  </a:lnTo>
                  <a:lnTo>
                    <a:pt x="51" y="92"/>
                  </a:lnTo>
                  <a:lnTo>
                    <a:pt x="50" y="95"/>
                  </a:lnTo>
                  <a:lnTo>
                    <a:pt x="47" y="97"/>
                  </a:lnTo>
                  <a:lnTo>
                    <a:pt x="43" y="97"/>
                  </a:lnTo>
                  <a:lnTo>
                    <a:pt x="37" y="97"/>
                  </a:lnTo>
                  <a:lnTo>
                    <a:pt x="34" y="101"/>
                  </a:lnTo>
                  <a:lnTo>
                    <a:pt x="30" y="106"/>
                  </a:lnTo>
                  <a:lnTo>
                    <a:pt x="26" y="110"/>
                  </a:lnTo>
                  <a:lnTo>
                    <a:pt x="19" y="114"/>
                  </a:lnTo>
                  <a:lnTo>
                    <a:pt x="15" y="117"/>
                  </a:lnTo>
                  <a:lnTo>
                    <a:pt x="13" y="117"/>
                  </a:lnTo>
                  <a:lnTo>
                    <a:pt x="11" y="118"/>
                  </a:lnTo>
                  <a:lnTo>
                    <a:pt x="9" y="120"/>
                  </a:lnTo>
                  <a:lnTo>
                    <a:pt x="7" y="125"/>
                  </a:lnTo>
                  <a:lnTo>
                    <a:pt x="5" y="128"/>
                  </a:lnTo>
                  <a:lnTo>
                    <a:pt x="4" y="130"/>
                  </a:lnTo>
                  <a:lnTo>
                    <a:pt x="0" y="132"/>
                  </a:lnTo>
                  <a:lnTo>
                    <a:pt x="1" y="135"/>
                  </a:lnTo>
                  <a:lnTo>
                    <a:pt x="2" y="137"/>
                  </a:lnTo>
                  <a:lnTo>
                    <a:pt x="3" y="143"/>
                  </a:lnTo>
                  <a:lnTo>
                    <a:pt x="3" y="143"/>
                  </a:lnTo>
                  <a:lnTo>
                    <a:pt x="3" y="143"/>
                  </a:lnTo>
                  <a:lnTo>
                    <a:pt x="6" y="146"/>
                  </a:lnTo>
                  <a:lnTo>
                    <a:pt x="6" y="149"/>
                  </a:lnTo>
                  <a:lnTo>
                    <a:pt x="7" y="151"/>
                  </a:lnTo>
                  <a:lnTo>
                    <a:pt x="12" y="151"/>
                  </a:lnTo>
                  <a:lnTo>
                    <a:pt x="9" y="146"/>
                  </a:lnTo>
                  <a:lnTo>
                    <a:pt x="12" y="147"/>
                  </a:lnTo>
                  <a:lnTo>
                    <a:pt x="16" y="147"/>
                  </a:lnTo>
                  <a:lnTo>
                    <a:pt x="19" y="149"/>
                  </a:lnTo>
                  <a:lnTo>
                    <a:pt x="23" y="150"/>
                  </a:lnTo>
                  <a:lnTo>
                    <a:pt x="26" y="152"/>
                  </a:lnTo>
                  <a:lnTo>
                    <a:pt x="31" y="156"/>
                  </a:lnTo>
                  <a:lnTo>
                    <a:pt x="35" y="157"/>
                  </a:lnTo>
                  <a:lnTo>
                    <a:pt x="40" y="157"/>
                  </a:lnTo>
                  <a:lnTo>
                    <a:pt x="42" y="157"/>
                  </a:lnTo>
                  <a:lnTo>
                    <a:pt x="43" y="157"/>
                  </a:lnTo>
                  <a:lnTo>
                    <a:pt x="44" y="159"/>
                  </a:lnTo>
                  <a:lnTo>
                    <a:pt x="45" y="162"/>
                  </a:lnTo>
                  <a:lnTo>
                    <a:pt x="40" y="170"/>
                  </a:lnTo>
                  <a:lnTo>
                    <a:pt x="25" y="181"/>
                  </a:lnTo>
                  <a:lnTo>
                    <a:pt x="22" y="184"/>
                  </a:lnTo>
                  <a:lnTo>
                    <a:pt x="19" y="188"/>
                  </a:lnTo>
                  <a:lnTo>
                    <a:pt x="20" y="190"/>
                  </a:lnTo>
                  <a:lnTo>
                    <a:pt x="20" y="191"/>
                  </a:lnTo>
                  <a:lnTo>
                    <a:pt x="20" y="193"/>
                  </a:lnTo>
                  <a:lnTo>
                    <a:pt x="19" y="194"/>
                  </a:lnTo>
                  <a:lnTo>
                    <a:pt x="18" y="195"/>
                  </a:lnTo>
                  <a:lnTo>
                    <a:pt x="15" y="197"/>
                  </a:lnTo>
                  <a:lnTo>
                    <a:pt x="18" y="200"/>
                  </a:lnTo>
                  <a:lnTo>
                    <a:pt x="18" y="200"/>
                  </a:lnTo>
                  <a:lnTo>
                    <a:pt x="18" y="200"/>
                  </a:lnTo>
                  <a:lnTo>
                    <a:pt x="19" y="200"/>
                  </a:lnTo>
                  <a:lnTo>
                    <a:pt x="19" y="201"/>
                  </a:lnTo>
                  <a:lnTo>
                    <a:pt x="19" y="201"/>
                  </a:lnTo>
                  <a:lnTo>
                    <a:pt x="23" y="206"/>
                  </a:lnTo>
                  <a:lnTo>
                    <a:pt x="28" y="205"/>
                  </a:lnTo>
                  <a:lnTo>
                    <a:pt x="33" y="203"/>
                  </a:lnTo>
                  <a:lnTo>
                    <a:pt x="38" y="202"/>
                  </a:lnTo>
                  <a:lnTo>
                    <a:pt x="38" y="202"/>
                  </a:lnTo>
                  <a:lnTo>
                    <a:pt x="41" y="206"/>
                  </a:lnTo>
                  <a:lnTo>
                    <a:pt x="40" y="211"/>
                  </a:lnTo>
                  <a:lnTo>
                    <a:pt x="39" y="215"/>
                  </a:lnTo>
                  <a:lnTo>
                    <a:pt x="37" y="219"/>
                  </a:lnTo>
                  <a:lnTo>
                    <a:pt x="33" y="229"/>
                  </a:lnTo>
                  <a:lnTo>
                    <a:pt x="32" y="237"/>
                  </a:lnTo>
                  <a:lnTo>
                    <a:pt x="33" y="240"/>
                  </a:lnTo>
                  <a:lnTo>
                    <a:pt x="35" y="242"/>
                  </a:lnTo>
                  <a:lnTo>
                    <a:pt x="39" y="244"/>
                  </a:lnTo>
                  <a:lnTo>
                    <a:pt x="44" y="245"/>
                  </a:lnTo>
                  <a:lnTo>
                    <a:pt x="47" y="246"/>
                  </a:lnTo>
                  <a:lnTo>
                    <a:pt x="53" y="251"/>
                  </a:lnTo>
                  <a:lnTo>
                    <a:pt x="55" y="252"/>
                  </a:lnTo>
                  <a:lnTo>
                    <a:pt x="66" y="257"/>
                  </a:lnTo>
                  <a:lnTo>
                    <a:pt x="79" y="278"/>
                  </a:lnTo>
                  <a:lnTo>
                    <a:pt x="80" y="280"/>
                  </a:lnTo>
                  <a:lnTo>
                    <a:pt x="83" y="281"/>
                  </a:lnTo>
                  <a:lnTo>
                    <a:pt x="84" y="282"/>
                  </a:lnTo>
                  <a:lnTo>
                    <a:pt x="84" y="282"/>
                  </a:lnTo>
                  <a:lnTo>
                    <a:pt x="84" y="282"/>
                  </a:lnTo>
                  <a:lnTo>
                    <a:pt x="83" y="285"/>
                  </a:lnTo>
                  <a:lnTo>
                    <a:pt x="80" y="289"/>
                  </a:lnTo>
                  <a:lnTo>
                    <a:pt x="77" y="293"/>
                  </a:lnTo>
                  <a:lnTo>
                    <a:pt x="69" y="293"/>
                  </a:lnTo>
                  <a:lnTo>
                    <a:pt x="63" y="290"/>
                  </a:lnTo>
                  <a:lnTo>
                    <a:pt x="55" y="291"/>
                  </a:lnTo>
                  <a:lnTo>
                    <a:pt x="58" y="293"/>
                  </a:lnTo>
                  <a:lnTo>
                    <a:pt x="60" y="296"/>
                  </a:lnTo>
                  <a:lnTo>
                    <a:pt x="62" y="298"/>
                  </a:lnTo>
                  <a:lnTo>
                    <a:pt x="62" y="300"/>
                  </a:lnTo>
                  <a:lnTo>
                    <a:pt x="49" y="302"/>
                  </a:lnTo>
                  <a:lnTo>
                    <a:pt x="36" y="304"/>
                  </a:lnTo>
                  <a:lnTo>
                    <a:pt x="32" y="303"/>
                  </a:lnTo>
                  <a:lnTo>
                    <a:pt x="33" y="305"/>
                  </a:lnTo>
                  <a:lnTo>
                    <a:pt x="34" y="307"/>
                  </a:lnTo>
                  <a:lnTo>
                    <a:pt x="35" y="307"/>
                  </a:lnTo>
                  <a:lnTo>
                    <a:pt x="37" y="308"/>
                  </a:lnTo>
                  <a:lnTo>
                    <a:pt x="37" y="309"/>
                  </a:lnTo>
                  <a:lnTo>
                    <a:pt x="36" y="312"/>
                  </a:lnTo>
                  <a:lnTo>
                    <a:pt x="36" y="313"/>
                  </a:lnTo>
                  <a:lnTo>
                    <a:pt x="36" y="314"/>
                  </a:lnTo>
                  <a:lnTo>
                    <a:pt x="42" y="321"/>
                  </a:lnTo>
                  <a:lnTo>
                    <a:pt x="47" y="321"/>
                  </a:lnTo>
                  <a:lnTo>
                    <a:pt x="63" y="320"/>
                  </a:lnTo>
                  <a:lnTo>
                    <a:pt x="70" y="325"/>
                  </a:lnTo>
                  <a:lnTo>
                    <a:pt x="72" y="327"/>
                  </a:lnTo>
                  <a:lnTo>
                    <a:pt x="75" y="328"/>
                  </a:lnTo>
                  <a:lnTo>
                    <a:pt x="83" y="329"/>
                  </a:lnTo>
                  <a:lnTo>
                    <a:pt x="85" y="328"/>
                  </a:lnTo>
                  <a:lnTo>
                    <a:pt x="86" y="326"/>
                  </a:lnTo>
                  <a:lnTo>
                    <a:pt x="89" y="323"/>
                  </a:lnTo>
                  <a:lnTo>
                    <a:pt x="96" y="320"/>
                  </a:lnTo>
                  <a:lnTo>
                    <a:pt x="98" y="317"/>
                  </a:lnTo>
                  <a:lnTo>
                    <a:pt x="95" y="313"/>
                  </a:lnTo>
                  <a:lnTo>
                    <a:pt x="95" y="311"/>
                  </a:lnTo>
                  <a:lnTo>
                    <a:pt x="95" y="309"/>
                  </a:lnTo>
                  <a:lnTo>
                    <a:pt x="96" y="309"/>
                  </a:lnTo>
                  <a:lnTo>
                    <a:pt x="99" y="309"/>
                  </a:lnTo>
                  <a:lnTo>
                    <a:pt x="103" y="310"/>
                  </a:lnTo>
                  <a:lnTo>
                    <a:pt x="105" y="311"/>
                  </a:lnTo>
                  <a:lnTo>
                    <a:pt x="108" y="313"/>
                  </a:lnTo>
                  <a:lnTo>
                    <a:pt x="108" y="313"/>
                  </a:lnTo>
                  <a:lnTo>
                    <a:pt x="112" y="316"/>
                  </a:lnTo>
                  <a:lnTo>
                    <a:pt x="116" y="318"/>
                  </a:lnTo>
                  <a:lnTo>
                    <a:pt x="119" y="318"/>
                  </a:lnTo>
                  <a:lnTo>
                    <a:pt x="119" y="318"/>
                  </a:lnTo>
                  <a:lnTo>
                    <a:pt x="120" y="318"/>
                  </a:lnTo>
                  <a:lnTo>
                    <a:pt x="124" y="317"/>
                  </a:lnTo>
                  <a:lnTo>
                    <a:pt x="132" y="314"/>
                  </a:lnTo>
                  <a:lnTo>
                    <a:pt x="136" y="312"/>
                  </a:lnTo>
                  <a:lnTo>
                    <a:pt x="139" y="313"/>
                  </a:lnTo>
                  <a:lnTo>
                    <a:pt x="145" y="316"/>
                  </a:lnTo>
                  <a:lnTo>
                    <a:pt x="153" y="317"/>
                  </a:lnTo>
                  <a:lnTo>
                    <a:pt x="160" y="317"/>
                  </a:lnTo>
                  <a:lnTo>
                    <a:pt x="166" y="313"/>
                  </a:lnTo>
                  <a:lnTo>
                    <a:pt x="169" y="311"/>
                  </a:lnTo>
                  <a:lnTo>
                    <a:pt x="175" y="306"/>
                  </a:lnTo>
                  <a:lnTo>
                    <a:pt x="177" y="302"/>
                  </a:lnTo>
                  <a:lnTo>
                    <a:pt x="178" y="299"/>
                  </a:lnTo>
                  <a:lnTo>
                    <a:pt x="179" y="294"/>
                  </a:lnTo>
                  <a:lnTo>
                    <a:pt x="179" y="293"/>
                  </a:lnTo>
                  <a:lnTo>
                    <a:pt x="180" y="290"/>
                  </a:lnTo>
                  <a:lnTo>
                    <a:pt x="182" y="288"/>
                  </a:lnTo>
                  <a:lnTo>
                    <a:pt x="186" y="283"/>
                  </a:lnTo>
                  <a:lnTo>
                    <a:pt x="187" y="281"/>
                  </a:lnTo>
                  <a:lnTo>
                    <a:pt x="189" y="277"/>
                  </a:lnTo>
                  <a:lnTo>
                    <a:pt x="191" y="275"/>
                  </a:lnTo>
                  <a:lnTo>
                    <a:pt x="191" y="275"/>
                  </a:lnTo>
                  <a:lnTo>
                    <a:pt x="193" y="274"/>
                  </a:lnTo>
                  <a:lnTo>
                    <a:pt x="195" y="275"/>
                  </a:lnTo>
                  <a:lnTo>
                    <a:pt x="195" y="278"/>
                  </a:lnTo>
                  <a:lnTo>
                    <a:pt x="195" y="283"/>
                  </a:lnTo>
                  <a:lnTo>
                    <a:pt x="195" y="286"/>
                  </a:lnTo>
                  <a:lnTo>
                    <a:pt x="196" y="288"/>
                  </a:lnTo>
                  <a:lnTo>
                    <a:pt x="199" y="291"/>
                  </a:lnTo>
                  <a:lnTo>
                    <a:pt x="204" y="295"/>
                  </a:lnTo>
                  <a:lnTo>
                    <a:pt x="205" y="295"/>
                  </a:lnTo>
                  <a:lnTo>
                    <a:pt x="206" y="296"/>
                  </a:lnTo>
                  <a:lnTo>
                    <a:pt x="206" y="296"/>
                  </a:lnTo>
                  <a:lnTo>
                    <a:pt x="207" y="297"/>
                  </a:lnTo>
                  <a:lnTo>
                    <a:pt x="207" y="299"/>
                  </a:lnTo>
                  <a:lnTo>
                    <a:pt x="207" y="303"/>
                  </a:lnTo>
                  <a:lnTo>
                    <a:pt x="207" y="304"/>
                  </a:lnTo>
                  <a:lnTo>
                    <a:pt x="210" y="307"/>
                  </a:lnTo>
                  <a:lnTo>
                    <a:pt x="225" y="313"/>
                  </a:lnTo>
                  <a:lnTo>
                    <a:pt x="225" y="313"/>
                  </a:lnTo>
                  <a:lnTo>
                    <a:pt x="225" y="313"/>
                  </a:lnTo>
                  <a:lnTo>
                    <a:pt x="225" y="313"/>
                  </a:lnTo>
                  <a:lnTo>
                    <a:pt x="227" y="320"/>
                  </a:lnTo>
                  <a:lnTo>
                    <a:pt x="234" y="321"/>
                  </a:lnTo>
                  <a:lnTo>
                    <a:pt x="241" y="319"/>
                  </a:lnTo>
                  <a:lnTo>
                    <a:pt x="244" y="313"/>
                  </a:lnTo>
                  <a:lnTo>
                    <a:pt x="245" y="309"/>
                  </a:lnTo>
                  <a:lnTo>
                    <a:pt x="247" y="308"/>
                  </a:lnTo>
                  <a:lnTo>
                    <a:pt x="251" y="311"/>
                  </a:lnTo>
                  <a:lnTo>
                    <a:pt x="254" y="313"/>
                  </a:lnTo>
                  <a:lnTo>
                    <a:pt x="256" y="314"/>
                  </a:lnTo>
                  <a:lnTo>
                    <a:pt x="257" y="314"/>
                  </a:lnTo>
                  <a:lnTo>
                    <a:pt x="259" y="315"/>
                  </a:lnTo>
                  <a:lnTo>
                    <a:pt x="261" y="316"/>
                  </a:lnTo>
                  <a:lnTo>
                    <a:pt x="269" y="317"/>
                  </a:lnTo>
                  <a:lnTo>
                    <a:pt x="270" y="318"/>
                  </a:lnTo>
                  <a:lnTo>
                    <a:pt x="282" y="328"/>
                  </a:lnTo>
                  <a:lnTo>
                    <a:pt x="289" y="329"/>
                  </a:lnTo>
                  <a:lnTo>
                    <a:pt x="295" y="326"/>
                  </a:lnTo>
                  <a:lnTo>
                    <a:pt x="304" y="323"/>
                  </a:lnTo>
                  <a:lnTo>
                    <a:pt x="309" y="323"/>
                  </a:lnTo>
                  <a:lnTo>
                    <a:pt x="311" y="322"/>
                  </a:lnTo>
                  <a:lnTo>
                    <a:pt x="313" y="321"/>
                  </a:lnTo>
                  <a:lnTo>
                    <a:pt x="315" y="317"/>
                  </a:lnTo>
                  <a:lnTo>
                    <a:pt x="317" y="316"/>
                  </a:lnTo>
                  <a:lnTo>
                    <a:pt x="309" y="311"/>
                  </a:lnTo>
                  <a:lnTo>
                    <a:pt x="307" y="307"/>
                  </a:lnTo>
                  <a:lnTo>
                    <a:pt x="305" y="302"/>
                  </a:lnTo>
                  <a:lnTo>
                    <a:pt x="304" y="296"/>
                  </a:lnTo>
                  <a:lnTo>
                    <a:pt x="304" y="296"/>
                  </a:lnTo>
                  <a:lnTo>
                    <a:pt x="304" y="293"/>
                  </a:lnTo>
                  <a:lnTo>
                    <a:pt x="303" y="291"/>
                  </a:lnTo>
                  <a:lnTo>
                    <a:pt x="302" y="289"/>
                  </a:lnTo>
                  <a:lnTo>
                    <a:pt x="304" y="288"/>
                  </a:lnTo>
                  <a:lnTo>
                    <a:pt x="305" y="287"/>
                  </a:lnTo>
                  <a:lnTo>
                    <a:pt x="306" y="285"/>
                  </a:lnTo>
                  <a:lnTo>
                    <a:pt x="307" y="283"/>
                  </a:lnTo>
                  <a:lnTo>
                    <a:pt x="312" y="282"/>
                  </a:lnTo>
                  <a:lnTo>
                    <a:pt x="313" y="281"/>
                  </a:lnTo>
                  <a:lnTo>
                    <a:pt x="316" y="280"/>
                  </a:lnTo>
                  <a:lnTo>
                    <a:pt x="319" y="280"/>
                  </a:lnTo>
                  <a:lnTo>
                    <a:pt x="318" y="278"/>
                  </a:lnTo>
                  <a:lnTo>
                    <a:pt x="315" y="274"/>
                  </a:lnTo>
                  <a:lnTo>
                    <a:pt x="315" y="273"/>
                  </a:lnTo>
                  <a:lnTo>
                    <a:pt x="313" y="271"/>
                  </a:lnTo>
                  <a:lnTo>
                    <a:pt x="312" y="270"/>
                  </a:lnTo>
                  <a:lnTo>
                    <a:pt x="312" y="270"/>
                  </a:lnTo>
                  <a:lnTo>
                    <a:pt x="310" y="271"/>
                  </a:lnTo>
                  <a:lnTo>
                    <a:pt x="309" y="272"/>
                  </a:lnTo>
                  <a:lnTo>
                    <a:pt x="309" y="273"/>
                  </a:lnTo>
                  <a:lnTo>
                    <a:pt x="308" y="273"/>
                  </a:lnTo>
                  <a:lnTo>
                    <a:pt x="306" y="272"/>
                  </a:lnTo>
                  <a:lnTo>
                    <a:pt x="304" y="271"/>
                  </a:lnTo>
                  <a:lnTo>
                    <a:pt x="304" y="270"/>
                  </a:lnTo>
                  <a:lnTo>
                    <a:pt x="302" y="267"/>
                  </a:lnTo>
                  <a:lnTo>
                    <a:pt x="301" y="265"/>
                  </a:lnTo>
                  <a:lnTo>
                    <a:pt x="299" y="265"/>
                  </a:lnTo>
                  <a:lnTo>
                    <a:pt x="299" y="264"/>
                  </a:lnTo>
                  <a:lnTo>
                    <a:pt x="299" y="263"/>
                  </a:lnTo>
                  <a:lnTo>
                    <a:pt x="300" y="261"/>
                  </a:lnTo>
                  <a:lnTo>
                    <a:pt x="301" y="260"/>
                  </a:lnTo>
                  <a:lnTo>
                    <a:pt x="308" y="256"/>
                  </a:lnTo>
                  <a:lnTo>
                    <a:pt x="312" y="255"/>
                  </a:lnTo>
                  <a:lnTo>
                    <a:pt x="328" y="249"/>
                  </a:lnTo>
                  <a:lnTo>
                    <a:pt x="328" y="249"/>
                  </a:lnTo>
                  <a:lnTo>
                    <a:pt x="330" y="248"/>
                  </a:lnTo>
                  <a:lnTo>
                    <a:pt x="329" y="246"/>
                  </a:lnTo>
                  <a:lnTo>
                    <a:pt x="329" y="244"/>
                  </a:lnTo>
                  <a:lnTo>
                    <a:pt x="329" y="241"/>
                  </a:lnTo>
                  <a:lnTo>
                    <a:pt x="331" y="240"/>
                  </a:lnTo>
                  <a:lnTo>
                    <a:pt x="333" y="241"/>
                  </a:lnTo>
                  <a:lnTo>
                    <a:pt x="335" y="241"/>
                  </a:lnTo>
                  <a:lnTo>
                    <a:pt x="337" y="242"/>
                  </a:lnTo>
                  <a:lnTo>
                    <a:pt x="338" y="241"/>
                  </a:lnTo>
                  <a:lnTo>
                    <a:pt x="341" y="239"/>
                  </a:lnTo>
                  <a:lnTo>
                    <a:pt x="343" y="238"/>
                  </a:lnTo>
                  <a:lnTo>
                    <a:pt x="347" y="239"/>
                  </a:lnTo>
                  <a:lnTo>
                    <a:pt x="353" y="239"/>
                  </a:lnTo>
                  <a:lnTo>
                    <a:pt x="359" y="239"/>
                  </a:lnTo>
                  <a:lnTo>
                    <a:pt x="362" y="239"/>
                  </a:lnTo>
                  <a:lnTo>
                    <a:pt x="365" y="237"/>
                  </a:lnTo>
                  <a:lnTo>
                    <a:pt x="367" y="234"/>
                  </a:lnTo>
                  <a:lnTo>
                    <a:pt x="367" y="231"/>
                  </a:lnTo>
                  <a:lnTo>
                    <a:pt x="365" y="227"/>
                  </a:lnTo>
                  <a:lnTo>
                    <a:pt x="364" y="224"/>
                  </a:lnTo>
                  <a:lnTo>
                    <a:pt x="365" y="221"/>
                  </a:lnTo>
                  <a:lnTo>
                    <a:pt x="366" y="218"/>
                  </a:lnTo>
                  <a:lnTo>
                    <a:pt x="367" y="215"/>
                  </a:lnTo>
                  <a:lnTo>
                    <a:pt x="367" y="212"/>
                  </a:lnTo>
                  <a:lnTo>
                    <a:pt x="367" y="205"/>
                  </a:lnTo>
                  <a:lnTo>
                    <a:pt x="367" y="200"/>
                  </a:lnTo>
                  <a:lnTo>
                    <a:pt x="367" y="200"/>
                  </a:lnTo>
                  <a:lnTo>
                    <a:pt x="368" y="195"/>
                  </a:lnTo>
                  <a:lnTo>
                    <a:pt x="370" y="193"/>
                  </a:lnTo>
                  <a:lnTo>
                    <a:pt x="370" y="190"/>
                  </a:lnTo>
                  <a:lnTo>
                    <a:pt x="370" y="189"/>
                  </a:lnTo>
                  <a:lnTo>
                    <a:pt x="368" y="187"/>
                  </a:lnTo>
                  <a:lnTo>
                    <a:pt x="366" y="185"/>
                  </a:lnTo>
                  <a:lnTo>
                    <a:pt x="362" y="184"/>
                  </a:lnTo>
                  <a:lnTo>
                    <a:pt x="360" y="182"/>
                  </a:lnTo>
                  <a:lnTo>
                    <a:pt x="359" y="181"/>
                  </a:lnTo>
                  <a:lnTo>
                    <a:pt x="356" y="178"/>
                  </a:lnTo>
                  <a:lnTo>
                    <a:pt x="353" y="173"/>
                  </a:lnTo>
                  <a:lnTo>
                    <a:pt x="353" y="167"/>
                  </a:lnTo>
                  <a:lnTo>
                    <a:pt x="356" y="161"/>
                  </a:lnTo>
                  <a:lnTo>
                    <a:pt x="358" y="155"/>
                  </a:lnTo>
                  <a:lnTo>
                    <a:pt x="359" y="154"/>
                  </a:lnTo>
                  <a:lnTo>
                    <a:pt x="361" y="151"/>
                  </a:lnTo>
                  <a:lnTo>
                    <a:pt x="365" y="149"/>
                  </a:lnTo>
                  <a:lnTo>
                    <a:pt x="367" y="150"/>
                  </a:lnTo>
                  <a:lnTo>
                    <a:pt x="379" y="151"/>
                  </a:lnTo>
                  <a:lnTo>
                    <a:pt x="382" y="148"/>
                  </a:lnTo>
                  <a:lnTo>
                    <a:pt x="385" y="143"/>
                  </a:lnTo>
                  <a:lnTo>
                    <a:pt x="387" y="142"/>
                  </a:lnTo>
                  <a:lnTo>
                    <a:pt x="387" y="141"/>
                  </a:lnTo>
                  <a:lnTo>
                    <a:pt x="390" y="140"/>
                  </a:lnTo>
                  <a:lnTo>
                    <a:pt x="392" y="140"/>
                  </a:lnTo>
                  <a:lnTo>
                    <a:pt x="399" y="139"/>
                  </a:lnTo>
                  <a:lnTo>
                    <a:pt x="399" y="139"/>
                  </a:lnTo>
                  <a:lnTo>
                    <a:pt x="400" y="139"/>
                  </a:lnTo>
                  <a:lnTo>
                    <a:pt x="406" y="136"/>
                  </a:lnTo>
                  <a:lnTo>
                    <a:pt x="410" y="134"/>
                  </a:lnTo>
                  <a:lnTo>
                    <a:pt x="416" y="133"/>
                  </a:lnTo>
                  <a:lnTo>
                    <a:pt x="417" y="132"/>
                  </a:lnTo>
                  <a:lnTo>
                    <a:pt x="418" y="132"/>
                  </a:lnTo>
                  <a:lnTo>
                    <a:pt x="421" y="130"/>
                  </a:lnTo>
                  <a:lnTo>
                    <a:pt x="425" y="128"/>
                  </a:lnTo>
                  <a:lnTo>
                    <a:pt x="426" y="126"/>
                  </a:lnTo>
                  <a:lnTo>
                    <a:pt x="427" y="126"/>
                  </a:lnTo>
                  <a:lnTo>
                    <a:pt x="428" y="122"/>
                  </a:lnTo>
                  <a:lnTo>
                    <a:pt x="428" y="120"/>
                  </a:lnTo>
                  <a:lnTo>
                    <a:pt x="427" y="116"/>
                  </a:lnTo>
                  <a:lnTo>
                    <a:pt x="428" y="112"/>
                  </a:lnTo>
                  <a:lnTo>
                    <a:pt x="432" y="113"/>
                  </a:lnTo>
                  <a:lnTo>
                    <a:pt x="433" y="113"/>
                  </a:lnTo>
                  <a:lnTo>
                    <a:pt x="435" y="113"/>
                  </a:lnTo>
                  <a:lnTo>
                    <a:pt x="437" y="112"/>
                  </a:lnTo>
                  <a:lnTo>
                    <a:pt x="438" y="110"/>
                  </a:lnTo>
                  <a:lnTo>
                    <a:pt x="439" y="109"/>
                  </a:lnTo>
                  <a:lnTo>
                    <a:pt x="441" y="108"/>
                  </a:lnTo>
                  <a:lnTo>
                    <a:pt x="443" y="109"/>
                  </a:lnTo>
                  <a:lnTo>
                    <a:pt x="446" y="113"/>
                  </a:lnTo>
                  <a:lnTo>
                    <a:pt x="449" y="114"/>
                  </a:lnTo>
                  <a:lnTo>
                    <a:pt x="451" y="115"/>
                  </a:lnTo>
                  <a:lnTo>
                    <a:pt x="453" y="115"/>
                  </a:lnTo>
                  <a:lnTo>
                    <a:pt x="459" y="113"/>
                  </a:lnTo>
                  <a:lnTo>
                    <a:pt x="462" y="113"/>
                  </a:lnTo>
                  <a:lnTo>
                    <a:pt x="463" y="112"/>
                  </a:lnTo>
                  <a:lnTo>
                    <a:pt x="463" y="112"/>
                  </a:lnTo>
                  <a:lnTo>
                    <a:pt x="463" y="110"/>
                  </a:lnTo>
                  <a:lnTo>
                    <a:pt x="462" y="109"/>
                  </a:lnTo>
                  <a:lnTo>
                    <a:pt x="459" y="107"/>
                  </a:lnTo>
                  <a:lnTo>
                    <a:pt x="458" y="106"/>
                  </a:lnTo>
                  <a:lnTo>
                    <a:pt x="458" y="104"/>
                  </a:lnTo>
                  <a:lnTo>
                    <a:pt x="458" y="100"/>
                  </a:lnTo>
                  <a:lnTo>
                    <a:pt x="458" y="98"/>
                  </a:lnTo>
                  <a:lnTo>
                    <a:pt x="456" y="92"/>
                  </a:lnTo>
                  <a:lnTo>
                    <a:pt x="455" y="89"/>
                  </a:lnTo>
                  <a:lnTo>
                    <a:pt x="455" y="87"/>
                  </a:lnTo>
                  <a:lnTo>
                    <a:pt x="456" y="86"/>
                  </a:lnTo>
                  <a:lnTo>
                    <a:pt x="460" y="81"/>
                  </a:lnTo>
                  <a:lnTo>
                    <a:pt x="460" y="80"/>
                  </a:lnTo>
                  <a:lnTo>
                    <a:pt x="465" y="78"/>
                  </a:lnTo>
                  <a:lnTo>
                    <a:pt x="468" y="77"/>
                  </a:lnTo>
                  <a:lnTo>
                    <a:pt x="471" y="76"/>
                  </a:lnTo>
                  <a:lnTo>
                    <a:pt x="472" y="74"/>
                  </a:lnTo>
                  <a:lnTo>
                    <a:pt x="473" y="73"/>
                  </a:lnTo>
                  <a:lnTo>
                    <a:pt x="474" y="75"/>
                  </a:lnTo>
                  <a:lnTo>
                    <a:pt x="474" y="75"/>
                  </a:lnTo>
                  <a:lnTo>
                    <a:pt x="475" y="73"/>
                  </a:lnTo>
                  <a:lnTo>
                    <a:pt x="477" y="75"/>
                  </a:lnTo>
                  <a:lnTo>
                    <a:pt x="479" y="75"/>
                  </a:lnTo>
                  <a:lnTo>
                    <a:pt x="481" y="75"/>
                  </a:lnTo>
                  <a:lnTo>
                    <a:pt x="483" y="75"/>
                  </a:lnTo>
                  <a:lnTo>
                    <a:pt x="484" y="76"/>
                  </a:lnTo>
                  <a:lnTo>
                    <a:pt x="487" y="79"/>
                  </a:lnTo>
                  <a:lnTo>
                    <a:pt x="488" y="80"/>
                  </a:lnTo>
                  <a:lnTo>
                    <a:pt x="489" y="80"/>
                  </a:lnTo>
                  <a:lnTo>
                    <a:pt x="493" y="79"/>
                  </a:lnTo>
                  <a:lnTo>
                    <a:pt x="495" y="80"/>
                  </a:lnTo>
                  <a:lnTo>
                    <a:pt x="496" y="81"/>
                  </a:lnTo>
                  <a:lnTo>
                    <a:pt x="500" y="84"/>
                  </a:lnTo>
                  <a:lnTo>
                    <a:pt x="498" y="74"/>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08" name="Freeform 14">
              <a:extLst>
                <a:ext uri="{FF2B5EF4-FFF2-40B4-BE49-F238E27FC236}">
                  <a16:creationId xmlns:a16="http://schemas.microsoft.com/office/drawing/2014/main" id="{99D02A9F-71BB-46AE-9E2C-F7A98401A685}"/>
                </a:ext>
              </a:extLst>
            </p:cNvPr>
            <p:cNvSpPr>
              <a:spLocks/>
            </p:cNvSpPr>
            <p:nvPr/>
          </p:nvSpPr>
          <p:spPr bwMode="gray">
            <a:xfrm>
              <a:off x="9714940" y="4661681"/>
              <a:ext cx="563424" cy="276726"/>
            </a:xfrm>
            <a:custGeom>
              <a:avLst/>
              <a:gdLst>
                <a:gd name="T0" fmla="*/ 850 w 904"/>
                <a:gd name="T1" fmla="*/ 110 h 444"/>
                <a:gd name="T2" fmla="*/ 824 w 904"/>
                <a:gd name="T3" fmla="*/ 99 h 444"/>
                <a:gd name="T4" fmla="*/ 786 w 904"/>
                <a:gd name="T5" fmla="*/ 56 h 444"/>
                <a:gd name="T6" fmla="*/ 764 w 904"/>
                <a:gd name="T7" fmla="*/ 49 h 444"/>
                <a:gd name="T8" fmla="*/ 729 w 904"/>
                <a:gd name="T9" fmla="*/ 47 h 444"/>
                <a:gd name="T10" fmla="*/ 684 w 904"/>
                <a:gd name="T11" fmla="*/ 48 h 444"/>
                <a:gd name="T12" fmla="*/ 672 w 904"/>
                <a:gd name="T13" fmla="*/ 58 h 444"/>
                <a:gd name="T14" fmla="*/ 643 w 904"/>
                <a:gd name="T15" fmla="*/ 76 h 444"/>
                <a:gd name="T16" fmla="*/ 607 w 904"/>
                <a:gd name="T17" fmla="*/ 49 h 444"/>
                <a:gd name="T18" fmla="*/ 570 w 904"/>
                <a:gd name="T19" fmla="*/ 49 h 444"/>
                <a:gd name="T20" fmla="*/ 547 w 904"/>
                <a:gd name="T21" fmla="*/ 60 h 444"/>
                <a:gd name="T22" fmla="*/ 521 w 904"/>
                <a:gd name="T23" fmla="*/ 73 h 444"/>
                <a:gd name="T24" fmla="*/ 495 w 904"/>
                <a:gd name="T25" fmla="*/ 94 h 444"/>
                <a:gd name="T26" fmla="*/ 460 w 904"/>
                <a:gd name="T27" fmla="*/ 97 h 444"/>
                <a:gd name="T28" fmla="*/ 469 w 904"/>
                <a:gd name="T29" fmla="*/ 80 h 444"/>
                <a:gd name="T30" fmla="*/ 467 w 904"/>
                <a:gd name="T31" fmla="*/ 73 h 444"/>
                <a:gd name="T32" fmla="*/ 450 w 904"/>
                <a:gd name="T33" fmla="*/ 52 h 444"/>
                <a:gd name="T34" fmla="*/ 430 w 904"/>
                <a:gd name="T35" fmla="*/ 36 h 444"/>
                <a:gd name="T36" fmla="*/ 412 w 904"/>
                <a:gd name="T37" fmla="*/ 0 h 444"/>
                <a:gd name="T38" fmla="*/ 381 w 904"/>
                <a:gd name="T39" fmla="*/ 21 h 444"/>
                <a:gd name="T40" fmla="*/ 372 w 904"/>
                <a:gd name="T41" fmla="*/ 39 h 444"/>
                <a:gd name="T42" fmla="*/ 354 w 904"/>
                <a:gd name="T43" fmla="*/ 49 h 444"/>
                <a:gd name="T44" fmla="*/ 334 w 904"/>
                <a:gd name="T45" fmla="*/ 34 h 444"/>
                <a:gd name="T46" fmla="*/ 290 w 904"/>
                <a:gd name="T47" fmla="*/ 29 h 444"/>
                <a:gd name="T48" fmla="*/ 266 w 904"/>
                <a:gd name="T49" fmla="*/ 39 h 444"/>
                <a:gd name="T50" fmla="*/ 213 w 904"/>
                <a:gd name="T51" fmla="*/ 79 h 444"/>
                <a:gd name="T52" fmla="*/ 195 w 904"/>
                <a:gd name="T53" fmla="*/ 135 h 444"/>
                <a:gd name="T54" fmla="*/ 164 w 904"/>
                <a:gd name="T55" fmla="*/ 162 h 444"/>
                <a:gd name="T56" fmla="*/ 103 w 904"/>
                <a:gd name="T57" fmla="*/ 191 h 444"/>
                <a:gd name="T58" fmla="*/ 51 w 904"/>
                <a:gd name="T59" fmla="*/ 180 h 444"/>
                <a:gd name="T60" fmla="*/ 16 w 904"/>
                <a:gd name="T61" fmla="*/ 237 h 444"/>
                <a:gd name="T62" fmla="*/ 4 w 904"/>
                <a:gd name="T63" fmla="*/ 273 h 444"/>
                <a:gd name="T64" fmla="*/ 1 w 904"/>
                <a:gd name="T65" fmla="*/ 301 h 444"/>
                <a:gd name="T66" fmla="*/ 9 w 904"/>
                <a:gd name="T67" fmla="*/ 311 h 444"/>
                <a:gd name="T68" fmla="*/ 16 w 904"/>
                <a:gd name="T69" fmla="*/ 320 h 444"/>
                <a:gd name="T70" fmla="*/ 25 w 904"/>
                <a:gd name="T71" fmla="*/ 352 h 444"/>
                <a:gd name="T72" fmla="*/ 34 w 904"/>
                <a:gd name="T73" fmla="*/ 371 h 444"/>
                <a:gd name="T74" fmla="*/ 66 w 904"/>
                <a:gd name="T75" fmla="*/ 384 h 444"/>
                <a:gd name="T76" fmla="*/ 113 w 904"/>
                <a:gd name="T77" fmla="*/ 424 h 444"/>
                <a:gd name="T78" fmla="*/ 132 w 904"/>
                <a:gd name="T79" fmla="*/ 435 h 444"/>
                <a:gd name="T80" fmla="*/ 270 w 904"/>
                <a:gd name="T81" fmla="*/ 434 h 444"/>
                <a:gd name="T82" fmla="*/ 312 w 904"/>
                <a:gd name="T83" fmla="*/ 425 h 444"/>
                <a:gd name="T84" fmla="*/ 301 w 904"/>
                <a:gd name="T85" fmla="*/ 392 h 444"/>
                <a:gd name="T86" fmla="*/ 341 w 904"/>
                <a:gd name="T87" fmla="*/ 370 h 444"/>
                <a:gd name="T88" fmla="*/ 418 w 904"/>
                <a:gd name="T89" fmla="*/ 358 h 444"/>
                <a:gd name="T90" fmla="*/ 421 w 904"/>
                <a:gd name="T91" fmla="*/ 341 h 444"/>
                <a:gd name="T92" fmla="*/ 458 w 904"/>
                <a:gd name="T93" fmla="*/ 337 h 444"/>
                <a:gd name="T94" fmla="*/ 476 w 904"/>
                <a:gd name="T95" fmla="*/ 349 h 444"/>
                <a:gd name="T96" fmla="*/ 516 w 904"/>
                <a:gd name="T97" fmla="*/ 338 h 444"/>
                <a:gd name="T98" fmla="*/ 530 w 904"/>
                <a:gd name="T99" fmla="*/ 326 h 444"/>
                <a:gd name="T100" fmla="*/ 559 w 904"/>
                <a:gd name="T101" fmla="*/ 306 h 444"/>
                <a:gd name="T102" fmla="*/ 577 w 904"/>
                <a:gd name="T103" fmla="*/ 269 h 444"/>
                <a:gd name="T104" fmla="*/ 630 w 904"/>
                <a:gd name="T105" fmla="*/ 251 h 444"/>
                <a:gd name="T106" fmla="*/ 672 w 904"/>
                <a:gd name="T107" fmla="*/ 268 h 444"/>
                <a:gd name="T108" fmla="*/ 706 w 904"/>
                <a:gd name="T109" fmla="*/ 259 h 444"/>
                <a:gd name="T110" fmla="*/ 738 w 904"/>
                <a:gd name="T111" fmla="*/ 258 h 444"/>
                <a:gd name="T112" fmla="*/ 758 w 904"/>
                <a:gd name="T113" fmla="*/ 283 h 444"/>
                <a:gd name="T114" fmla="*/ 806 w 904"/>
                <a:gd name="T115" fmla="*/ 297 h 444"/>
                <a:gd name="T116" fmla="*/ 841 w 904"/>
                <a:gd name="T117" fmla="*/ 268 h 444"/>
                <a:gd name="T118" fmla="*/ 858 w 904"/>
                <a:gd name="T119" fmla="*/ 229 h 444"/>
                <a:gd name="T120" fmla="*/ 873 w 904"/>
                <a:gd name="T121" fmla="*/ 202 h 444"/>
                <a:gd name="T122" fmla="*/ 878 w 904"/>
                <a:gd name="T123" fmla="*/ 179 h 444"/>
                <a:gd name="T124" fmla="*/ 898 w 904"/>
                <a:gd name="T125" fmla="*/ 15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4" h="444">
                  <a:moveTo>
                    <a:pt x="898" y="126"/>
                  </a:moveTo>
                  <a:lnTo>
                    <a:pt x="885" y="126"/>
                  </a:lnTo>
                  <a:lnTo>
                    <a:pt x="880" y="124"/>
                  </a:lnTo>
                  <a:lnTo>
                    <a:pt x="872" y="116"/>
                  </a:lnTo>
                  <a:lnTo>
                    <a:pt x="868" y="115"/>
                  </a:lnTo>
                  <a:lnTo>
                    <a:pt x="860" y="115"/>
                  </a:lnTo>
                  <a:lnTo>
                    <a:pt x="852" y="113"/>
                  </a:lnTo>
                  <a:lnTo>
                    <a:pt x="851" y="112"/>
                  </a:lnTo>
                  <a:lnTo>
                    <a:pt x="850" y="110"/>
                  </a:lnTo>
                  <a:lnTo>
                    <a:pt x="851" y="108"/>
                  </a:lnTo>
                  <a:lnTo>
                    <a:pt x="851" y="107"/>
                  </a:lnTo>
                  <a:lnTo>
                    <a:pt x="849" y="105"/>
                  </a:lnTo>
                  <a:lnTo>
                    <a:pt x="848" y="105"/>
                  </a:lnTo>
                  <a:lnTo>
                    <a:pt x="844" y="105"/>
                  </a:lnTo>
                  <a:lnTo>
                    <a:pt x="842" y="105"/>
                  </a:lnTo>
                  <a:lnTo>
                    <a:pt x="840" y="104"/>
                  </a:lnTo>
                  <a:lnTo>
                    <a:pt x="835" y="101"/>
                  </a:lnTo>
                  <a:lnTo>
                    <a:pt x="824" y="99"/>
                  </a:lnTo>
                  <a:lnTo>
                    <a:pt x="820" y="95"/>
                  </a:lnTo>
                  <a:lnTo>
                    <a:pt x="819" y="88"/>
                  </a:lnTo>
                  <a:lnTo>
                    <a:pt x="817" y="79"/>
                  </a:lnTo>
                  <a:lnTo>
                    <a:pt x="812" y="72"/>
                  </a:lnTo>
                  <a:lnTo>
                    <a:pt x="806" y="66"/>
                  </a:lnTo>
                  <a:lnTo>
                    <a:pt x="798" y="62"/>
                  </a:lnTo>
                  <a:lnTo>
                    <a:pt x="792" y="57"/>
                  </a:lnTo>
                  <a:lnTo>
                    <a:pt x="789" y="55"/>
                  </a:lnTo>
                  <a:lnTo>
                    <a:pt x="786" y="56"/>
                  </a:lnTo>
                  <a:lnTo>
                    <a:pt x="783" y="58"/>
                  </a:lnTo>
                  <a:lnTo>
                    <a:pt x="781" y="61"/>
                  </a:lnTo>
                  <a:lnTo>
                    <a:pt x="779" y="62"/>
                  </a:lnTo>
                  <a:lnTo>
                    <a:pt x="777" y="60"/>
                  </a:lnTo>
                  <a:lnTo>
                    <a:pt x="772" y="52"/>
                  </a:lnTo>
                  <a:lnTo>
                    <a:pt x="769" y="49"/>
                  </a:lnTo>
                  <a:lnTo>
                    <a:pt x="767" y="49"/>
                  </a:lnTo>
                  <a:lnTo>
                    <a:pt x="765" y="49"/>
                  </a:lnTo>
                  <a:lnTo>
                    <a:pt x="764" y="49"/>
                  </a:lnTo>
                  <a:lnTo>
                    <a:pt x="762" y="48"/>
                  </a:lnTo>
                  <a:lnTo>
                    <a:pt x="759" y="45"/>
                  </a:lnTo>
                  <a:lnTo>
                    <a:pt x="757" y="44"/>
                  </a:lnTo>
                  <a:lnTo>
                    <a:pt x="754" y="43"/>
                  </a:lnTo>
                  <a:lnTo>
                    <a:pt x="743" y="44"/>
                  </a:lnTo>
                  <a:lnTo>
                    <a:pt x="741" y="45"/>
                  </a:lnTo>
                  <a:lnTo>
                    <a:pt x="738" y="47"/>
                  </a:lnTo>
                  <a:lnTo>
                    <a:pt x="735" y="46"/>
                  </a:lnTo>
                  <a:lnTo>
                    <a:pt x="729" y="47"/>
                  </a:lnTo>
                  <a:lnTo>
                    <a:pt x="727" y="47"/>
                  </a:lnTo>
                  <a:lnTo>
                    <a:pt x="711" y="43"/>
                  </a:lnTo>
                  <a:lnTo>
                    <a:pt x="703" y="38"/>
                  </a:lnTo>
                  <a:lnTo>
                    <a:pt x="700" y="38"/>
                  </a:lnTo>
                  <a:lnTo>
                    <a:pt x="698" y="39"/>
                  </a:lnTo>
                  <a:lnTo>
                    <a:pt x="693" y="47"/>
                  </a:lnTo>
                  <a:lnTo>
                    <a:pt x="690" y="49"/>
                  </a:lnTo>
                  <a:lnTo>
                    <a:pt x="686" y="50"/>
                  </a:lnTo>
                  <a:lnTo>
                    <a:pt x="684" y="48"/>
                  </a:lnTo>
                  <a:lnTo>
                    <a:pt x="682" y="46"/>
                  </a:lnTo>
                  <a:lnTo>
                    <a:pt x="679" y="44"/>
                  </a:lnTo>
                  <a:lnTo>
                    <a:pt x="676" y="44"/>
                  </a:lnTo>
                  <a:lnTo>
                    <a:pt x="670" y="45"/>
                  </a:lnTo>
                  <a:lnTo>
                    <a:pt x="668" y="46"/>
                  </a:lnTo>
                  <a:lnTo>
                    <a:pt x="664" y="50"/>
                  </a:lnTo>
                  <a:lnTo>
                    <a:pt x="666" y="52"/>
                  </a:lnTo>
                  <a:lnTo>
                    <a:pt x="670" y="54"/>
                  </a:lnTo>
                  <a:lnTo>
                    <a:pt x="672" y="58"/>
                  </a:lnTo>
                  <a:lnTo>
                    <a:pt x="670" y="60"/>
                  </a:lnTo>
                  <a:lnTo>
                    <a:pt x="668" y="61"/>
                  </a:lnTo>
                  <a:lnTo>
                    <a:pt x="664" y="61"/>
                  </a:lnTo>
                  <a:lnTo>
                    <a:pt x="662" y="61"/>
                  </a:lnTo>
                  <a:lnTo>
                    <a:pt x="659" y="64"/>
                  </a:lnTo>
                  <a:lnTo>
                    <a:pt x="653" y="72"/>
                  </a:lnTo>
                  <a:lnTo>
                    <a:pt x="650" y="75"/>
                  </a:lnTo>
                  <a:lnTo>
                    <a:pt x="646" y="76"/>
                  </a:lnTo>
                  <a:lnTo>
                    <a:pt x="643" y="76"/>
                  </a:lnTo>
                  <a:lnTo>
                    <a:pt x="641" y="74"/>
                  </a:lnTo>
                  <a:lnTo>
                    <a:pt x="638" y="71"/>
                  </a:lnTo>
                  <a:lnTo>
                    <a:pt x="635" y="69"/>
                  </a:lnTo>
                  <a:lnTo>
                    <a:pt x="633" y="69"/>
                  </a:lnTo>
                  <a:lnTo>
                    <a:pt x="630" y="69"/>
                  </a:lnTo>
                  <a:lnTo>
                    <a:pt x="626" y="68"/>
                  </a:lnTo>
                  <a:lnTo>
                    <a:pt x="624" y="66"/>
                  </a:lnTo>
                  <a:lnTo>
                    <a:pt x="610" y="49"/>
                  </a:lnTo>
                  <a:lnTo>
                    <a:pt x="607" y="49"/>
                  </a:lnTo>
                  <a:lnTo>
                    <a:pt x="601" y="50"/>
                  </a:lnTo>
                  <a:lnTo>
                    <a:pt x="598" y="49"/>
                  </a:lnTo>
                  <a:lnTo>
                    <a:pt x="596" y="49"/>
                  </a:lnTo>
                  <a:lnTo>
                    <a:pt x="595" y="50"/>
                  </a:lnTo>
                  <a:lnTo>
                    <a:pt x="592" y="54"/>
                  </a:lnTo>
                  <a:lnTo>
                    <a:pt x="591" y="55"/>
                  </a:lnTo>
                  <a:lnTo>
                    <a:pt x="586" y="57"/>
                  </a:lnTo>
                  <a:lnTo>
                    <a:pt x="583" y="56"/>
                  </a:lnTo>
                  <a:lnTo>
                    <a:pt x="570" y="49"/>
                  </a:lnTo>
                  <a:lnTo>
                    <a:pt x="567" y="49"/>
                  </a:lnTo>
                  <a:lnTo>
                    <a:pt x="567" y="54"/>
                  </a:lnTo>
                  <a:lnTo>
                    <a:pt x="559" y="54"/>
                  </a:lnTo>
                  <a:lnTo>
                    <a:pt x="552" y="52"/>
                  </a:lnTo>
                  <a:lnTo>
                    <a:pt x="551" y="52"/>
                  </a:lnTo>
                  <a:lnTo>
                    <a:pt x="549" y="53"/>
                  </a:lnTo>
                  <a:lnTo>
                    <a:pt x="548" y="54"/>
                  </a:lnTo>
                  <a:lnTo>
                    <a:pt x="548" y="57"/>
                  </a:lnTo>
                  <a:lnTo>
                    <a:pt x="547" y="60"/>
                  </a:lnTo>
                  <a:lnTo>
                    <a:pt x="546" y="64"/>
                  </a:lnTo>
                  <a:lnTo>
                    <a:pt x="545" y="64"/>
                  </a:lnTo>
                  <a:lnTo>
                    <a:pt x="533" y="66"/>
                  </a:lnTo>
                  <a:lnTo>
                    <a:pt x="531" y="67"/>
                  </a:lnTo>
                  <a:lnTo>
                    <a:pt x="527" y="71"/>
                  </a:lnTo>
                  <a:lnTo>
                    <a:pt x="526" y="73"/>
                  </a:lnTo>
                  <a:lnTo>
                    <a:pt x="522" y="72"/>
                  </a:lnTo>
                  <a:lnTo>
                    <a:pt x="522" y="72"/>
                  </a:lnTo>
                  <a:lnTo>
                    <a:pt x="521" y="73"/>
                  </a:lnTo>
                  <a:lnTo>
                    <a:pt x="518" y="80"/>
                  </a:lnTo>
                  <a:lnTo>
                    <a:pt x="517" y="83"/>
                  </a:lnTo>
                  <a:lnTo>
                    <a:pt x="516" y="85"/>
                  </a:lnTo>
                  <a:lnTo>
                    <a:pt x="514" y="88"/>
                  </a:lnTo>
                  <a:lnTo>
                    <a:pt x="513" y="96"/>
                  </a:lnTo>
                  <a:lnTo>
                    <a:pt x="511" y="102"/>
                  </a:lnTo>
                  <a:lnTo>
                    <a:pt x="508" y="105"/>
                  </a:lnTo>
                  <a:lnTo>
                    <a:pt x="503" y="102"/>
                  </a:lnTo>
                  <a:lnTo>
                    <a:pt x="495" y="94"/>
                  </a:lnTo>
                  <a:lnTo>
                    <a:pt x="490" y="92"/>
                  </a:lnTo>
                  <a:lnTo>
                    <a:pt x="485" y="93"/>
                  </a:lnTo>
                  <a:lnTo>
                    <a:pt x="483" y="95"/>
                  </a:lnTo>
                  <a:lnTo>
                    <a:pt x="479" y="98"/>
                  </a:lnTo>
                  <a:lnTo>
                    <a:pt x="477" y="100"/>
                  </a:lnTo>
                  <a:lnTo>
                    <a:pt x="474" y="102"/>
                  </a:lnTo>
                  <a:lnTo>
                    <a:pt x="466" y="101"/>
                  </a:lnTo>
                  <a:lnTo>
                    <a:pt x="462" y="100"/>
                  </a:lnTo>
                  <a:lnTo>
                    <a:pt x="460" y="97"/>
                  </a:lnTo>
                  <a:lnTo>
                    <a:pt x="460" y="97"/>
                  </a:lnTo>
                  <a:lnTo>
                    <a:pt x="461" y="93"/>
                  </a:lnTo>
                  <a:lnTo>
                    <a:pt x="467" y="84"/>
                  </a:lnTo>
                  <a:lnTo>
                    <a:pt x="468" y="83"/>
                  </a:lnTo>
                  <a:lnTo>
                    <a:pt x="469" y="83"/>
                  </a:lnTo>
                  <a:lnTo>
                    <a:pt x="469" y="82"/>
                  </a:lnTo>
                  <a:lnTo>
                    <a:pt x="470" y="81"/>
                  </a:lnTo>
                  <a:lnTo>
                    <a:pt x="469" y="80"/>
                  </a:lnTo>
                  <a:lnTo>
                    <a:pt x="469" y="80"/>
                  </a:lnTo>
                  <a:lnTo>
                    <a:pt x="468" y="78"/>
                  </a:lnTo>
                  <a:lnTo>
                    <a:pt x="468" y="78"/>
                  </a:lnTo>
                  <a:lnTo>
                    <a:pt x="468" y="78"/>
                  </a:lnTo>
                  <a:lnTo>
                    <a:pt x="468" y="78"/>
                  </a:lnTo>
                  <a:lnTo>
                    <a:pt x="466" y="76"/>
                  </a:lnTo>
                  <a:lnTo>
                    <a:pt x="465" y="76"/>
                  </a:lnTo>
                  <a:lnTo>
                    <a:pt x="465" y="75"/>
                  </a:lnTo>
                  <a:lnTo>
                    <a:pt x="465" y="74"/>
                  </a:lnTo>
                  <a:lnTo>
                    <a:pt x="467" y="73"/>
                  </a:lnTo>
                  <a:lnTo>
                    <a:pt x="467" y="72"/>
                  </a:lnTo>
                  <a:lnTo>
                    <a:pt x="466" y="60"/>
                  </a:lnTo>
                  <a:lnTo>
                    <a:pt x="465" y="56"/>
                  </a:lnTo>
                  <a:lnTo>
                    <a:pt x="464" y="51"/>
                  </a:lnTo>
                  <a:lnTo>
                    <a:pt x="464" y="51"/>
                  </a:lnTo>
                  <a:lnTo>
                    <a:pt x="462" y="50"/>
                  </a:lnTo>
                  <a:lnTo>
                    <a:pt x="457" y="52"/>
                  </a:lnTo>
                  <a:lnTo>
                    <a:pt x="454" y="53"/>
                  </a:lnTo>
                  <a:lnTo>
                    <a:pt x="450" y="52"/>
                  </a:lnTo>
                  <a:lnTo>
                    <a:pt x="441" y="49"/>
                  </a:lnTo>
                  <a:lnTo>
                    <a:pt x="441" y="49"/>
                  </a:lnTo>
                  <a:lnTo>
                    <a:pt x="441" y="46"/>
                  </a:lnTo>
                  <a:lnTo>
                    <a:pt x="441" y="42"/>
                  </a:lnTo>
                  <a:lnTo>
                    <a:pt x="442" y="41"/>
                  </a:lnTo>
                  <a:lnTo>
                    <a:pt x="442" y="39"/>
                  </a:lnTo>
                  <a:lnTo>
                    <a:pt x="436" y="39"/>
                  </a:lnTo>
                  <a:lnTo>
                    <a:pt x="433" y="39"/>
                  </a:lnTo>
                  <a:lnTo>
                    <a:pt x="430" y="36"/>
                  </a:lnTo>
                  <a:lnTo>
                    <a:pt x="429" y="35"/>
                  </a:lnTo>
                  <a:lnTo>
                    <a:pt x="426" y="27"/>
                  </a:lnTo>
                  <a:lnTo>
                    <a:pt x="424" y="15"/>
                  </a:lnTo>
                  <a:lnTo>
                    <a:pt x="422" y="10"/>
                  </a:lnTo>
                  <a:lnTo>
                    <a:pt x="418" y="7"/>
                  </a:lnTo>
                  <a:lnTo>
                    <a:pt x="417" y="6"/>
                  </a:lnTo>
                  <a:lnTo>
                    <a:pt x="414" y="1"/>
                  </a:lnTo>
                  <a:lnTo>
                    <a:pt x="413" y="1"/>
                  </a:lnTo>
                  <a:lnTo>
                    <a:pt x="412" y="0"/>
                  </a:lnTo>
                  <a:lnTo>
                    <a:pt x="411" y="1"/>
                  </a:lnTo>
                  <a:lnTo>
                    <a:pt x="410" y="2"/>
                  </a:lnTo>
                  <a:lnTo>
                    <a:pt x="397" y="17"/>
                  </a:lnTo>
                  <a:lnTo>
                    <a:pt x="396" y="18"/>
                  </a:lnTo>
                  <a:lnTo>
                    <a:pt x="393" y="19"/>
                  </a:lnTo>
                  <a:lnTo>
                    <a:pt x="391" y="20"/>
                  </a:lnTo>
                  <a:lnTo>
                    <a:pt x="387" y="20"/>
                  </a:lnTo>
                  <a:lnTo>
                    <a:pt x="384" y="20"/>
                  </a:lnTo>
                  <a:lnTo>
                    <a:pt x="381" y="21"/>
                  </a:lnTo>
                  <a:lnTo>
                    <a:pt x="379" y="24"/>
                  </a:lnTo>
                  <a:lnTo>
                    <a:pt x="376" y="27"/>
                  </a:lnTo>
                  <a:lnTo>
                    <a:pt x="374" y="35"/>
                  </a:lnTo>
                  <a:lnTo>
                    <a:pt x="374" y="35"/>
                  </a:lnTo>
                  <a:lnTo>
                    <a:pt x="375" y="36"/>
                  </a:lnTo>
                  <a:lnTo>
                    <a:pt x="375" y="37"/>
                  </a:lnTo>
                  <a:lnTo>
                    <a:pt x="375" y="39"/>
                  </a:lnTo>
                  <a:lnTo>
                    <a:pt x="374" y="39"/>
                  </a:lnTo>
                  <a:lnTo>
                    <a:pt x="372" y="39"/>
                  </a:lnTo>
                  <a:lnTo>
                    <a:pt x="371" y="39"/>
                  </a:lnTo>
                  <a:lnTo>
                    <a:pt x="371" y="44"/>
                  </a:lnTo>
                  <a:lnTo>
                    <a:pt x="370" y="47"/>
                  </a:lnTo>
                  <a:lnTo>
                    <a:pt x="369" y="49"/>
                  </a:lnTo>
                  <a:lnTo>
                    <a:pt x="364" y="51"/>
                  </a:lnTo>
                  <a:lnTo>
                    <a:pt x="360" y="52"/>
                  </a:lnTo>
                  <a:lnTo>
                    <a:pt x="358" y="52"/>
                  </a:lnTo>
                  <a:lnTo>
                    <a:pt x="357" y="51"/>
                  </a:lnTo>
                  <a:lnTo>
                    <a:pt x="354" y="49"/>
                  </a:lnTo>
                  <a:lnTo>
                    <a:pt x="352" y="48"/>
                  </a:lnTo>
                  <a:lnTo>
                    <a:pt x="349" y="49"/>
                  </a:lnTo>
                  <a:lnTo>
                    <a:pt x="343" y="53"/>
                  </a:lnTo>
                  <a:lnTo>
                    <a:pt x="339" y="53"/>
                  </a:lnTo>
                  <a:lnTo>
                    <a:pt x="336" y="52"/>
                  </a:lnTo>
                  <a:lnTo>
                    <a:pt x="335" y="49"/>
                  </a:lnTo>
                  <a:lnTo>
                    <a:pt x="335" y="42"/>
                  </a:lnTo>
                  <a:lnTo>
                    <a:pt x="335" y="38"/>
                  </a:lnTo>
                  <a:lnTo>
                    <a:pt x="334" y="34"/>
                  </a:lnTo>
                  <a:lnTo>
                    <a:pt x="334" y="31"/>
                  </a:lnTo>
                  <a:lnTo>
                    <a:pt x="335" y="27"/>
                  </a:lnTo>
                  <a:lnTo>
                    <a:pt x="331" y="24"/>
                  </a:lnTo>
                  <a:lnTo>
                    <a:pt x="315" y="23"/>
                  </a:lnTo>
                  <a:lnTo>
                    <a:pt x="308" y="23"/>
                  </a:lnTo>
                  <a:lnTo>
                    <a:pt x="306" y="24"/>
                  </a:lnTo>
                  <a:lnTo>
                    <a:pt x="299" y="30"/>
                  </a:lnTo>
                  <a:lnTo>
                    <a:pt x="295" y="30"/>
                  </a:lnTo>
                  <a:lnTo>
                    <a:pt x="290" y="29"/>
                  </a:lnTo>
                  <a:lnTo>
                    <a:pt x="285" y="26"/>
                  </a:lnTo>
                  <a:lnTo>
                    <a:pt x="284" y="26"/>
                  </a:lnTo>
                  <a:lnTo>
                    <a:pt x="283" y="26"/>
                  </a:lnTo>
                  <a:lnTo>
                    <a:pt x="278" y="29"/>
                  </a:lnTo>
                  <a:lnTo>
                    <a:pt x="271" y="28"/>
                  </a:lnTo>
                  <a:lnTo>
                    <a:pt x="268" y="30"/>
                  </a:lnTo>
                  <a:lnTo>
                    <a:pt x="267" y="32"/>
                  </a:lnTo>
                  <a:lnTo>
                    <a:pt x="267" y="36"/>
                  </a:lnTo>
                  <a:lnTo>
                    <a:pt x="266" y="39"/>
                  </a:lnTo>
                  <a:lnTo>
                    <a:pt x="264" y="40"/>
                  </a:lnTo>
                  <a:lnTo>
                    <a:pt x="259" y="43"/>
                  </a:lnTo>
                  <a:lnTo>
                    <a:pt x="253" y="51"/>
                  </a:lnTo>
                  <a:lnTo>
                    <a:pt x="249" y="53"/>
                  </a:lnTo>
                  <a:lnTo>
                    <a:pt x="244" y="52"/>
                  </a:lnTo>
                  <a:lnTo>
                    <a:pt x="244" y="64"/>
                  </a:lnTo>
                  <a:lnTo>
                    <a:pt x="240" y="67"/>
                  </a:lnTo>
                  <a:lnTo>
                    <a:pt x="234" y="71"/>
                  </a:lnTo>
                  <a:lnTo>
                    <a:pt x="213" y="79"/>
                  </a:lnTo>
                  <a:lnTo>
                    <a:pt x="208" y="84"/>
                  </a:lnTo>
                  <a:lnTo>
                    <a:pt x="205" y="90"/>
                  </a:lnTo>
                  <a:lnTo>
                    <a:pt x="201" y="98"/>
                  </a:lnTo>
                  <a:lnTo>
                    <a:pt x="200" y="106"/>
                  </a:lnTo>
                  <a:lnTo>
                    <a:pt x="199" y="112"/>
                  </a:lnTo>
                  <a:lnTo>
                    <a:pt x="199" y="113"/>
                  </a:lnTo>
                  <a:lnTo>
                    <a:pt x="199" y="124"/>
                  </a:lnTo>
                  <a:lnTo>
                    <a:pt x="198" y="130"/>
                  </a:lnTo>
                  <a:lnTo>
                    <a:pt x="195" y="135"/>
                  </a:lnTo>
                  <a:lnTo>
                    <a:pt x="190" y="139"/>
                  </a:lnTo>
                  <a:lnTo>
                    <a:pt x="185" y="142"/>
                  </a:lnTo>
                  <a:lnTo>
                    <a:pt x="176" y="141"/>
                  </a:lnTo>
                  <a:lnTo>
                    <a:pt x="172" y="142"/>
                  </a:lnTo>
                  <a:lnTo>
                    <a:pt x="169" y="144"/>
                  </a:lnTo>
                  <a:lnTo>
                    <a:pt x="167" y="148"/>
                  </a:lnTo>
                  <a:lnTo>
                    <a:pt x="166" y="152"/>
                  </a:lnTo>
                  <a:lnTo>
                    <a:pt x="165" y="159"/>
                  </a:lnTo>
                  <a:lnTo>
                    <a:pt x="164" y="162"/>
                  </a:lnTo>
                  <a:lnTo>
                    <a:pt x="161" y="165"/>
                  </a:lnTo>
                  <a:lnTo>
                    <a:pt x="158" y="166"/>
                  </a:lnTo>
                  <a:lnTo>
                    <a:pt x="154" y="165"/>
                  </a:lnTo>
                  <a:lnTo>
                    <a:pt x="150" y="166"/>
                  </a:lnTo>
                  <a:lnTo>
                    <a:pt x="148" y="168"/>
                  </a:lnTo>
                  <a:lnTo>
                    <a:pt x="142" y="177"/>
                  </a:lnTo>
                  <a:lnTo>
                    <a:pt x="140" y="180"/>
                  </a:lnTo>
                  <a:lnTo>
                    <a:pt x="109" y="191"/>
                  </a:lnTo>
                  <a:lnTo>
                    <a:pt x="103" y="191"/>
                  </a:lnTo>
                  <a:lnTo>
                    <a:pt x="98" y="186"/>
                  </a:lnTo>
                  <a:lnTo>
                    <a:pt x="96" y="184"/>
                  </a:lnTo>
                  <a:lnTo>
                    <a:pt x="92" y="186"/>
                  </a:lnTo>
                  <a:lnTo>
                    <a:pt x="89" y="187"/>
                  </a:lnTo>
                  <a:lnTo>
                    <a:pt x="86" y="190"/>
                  </a:lnTo>
                  <a:lnTo>
                    <a:pt x="83" y="190"/>
                  </a:lnTo>
                  <a:lnTo>
                    <a:pt x="65" y="181"/>
                  </a:lnTo>
                  <a:lnTo>
                    <a:pt x="58" y="179"/>
                  </a:lnTo>
                  <a:lnTo>
                    <a:pt x="51" y="180"/>
                  </a:lnTo>
                  <a:lnTo>
                    <a:pt x="42" y="186"/>
                  </a:lnTo>
                  <a:lnTo>
                    <a:pt x="41" y="189"/>
                  </a:lnTo>
                  <a:lnTo>
                    <a:pt x="40" y="193"/>
                  </a:lnTo>
                  <a:lnTo>
                    <a:pt x="38" y="196"/>
                  </a:lnTo>
                  <a:lnTo>
                    <a:pt x="32" y="201"/>
                  </a:lnTo>
                  <a:lnTo>
                    <a:pt x="28" y="208"/>
                  </a:lnTo>
                  <a:lnTo>
                    <a:pt x="20" y="231"/>
                  </a:lnTo>
                  <a:lnTo>
                    <a:pt x="18" y="234"/>
                  </a:lnTo>
                  <a:lnTo>
                    <a:pt x="16" y="237"/>
                  </a:lnTo>
                  <a:lnTo>
                    <a:pt x="15" y="242"/>
                  </a:lnTo>
                  <a:lnTo>
                    <a:pt x="17" y="253"/>
                  </a:lnTo>
                  <a:lnTo>
                    <a:pt x="16" y="256"/>
                  </a:lnTo>
                  <a:lnTo>
                    <a:pt x="16" y="257"/>
                  </a:lnTo>
                  <a:lnTo>
                    <a:pt x="13" y="260"/>
                  </a:lnTo>
                  <a:lnTo>
                    <a:pt x="10" y="262"/>
                  </a:lnTo>
                  <a:lnTo>
                    <a:pt x="9" y="264"/>
                  </a:lnTo>
                  <a:lnTo>
                    <a:pt x="8" y="267"/>
                  </a:lnTo>
                  <a:lnTo>
                    <a:pt x="4" y="273"/>
                  </a:lnTo>
                  <a:lnTo>
                    <a:pt x="3" y="277"/>
                  </a:lnTo>
                  <a:lnTo>
                    <a:pt x="2" y="280"/>
                  </a:lnTo>
                  <a:lnTo>
                    <a:pt x="0" y="293"/>
                  </a:lnTo>
                  <a:lnTo>
                    <a:pt x="0" y="294"/>
                  </a:lnTo>
                  <a:lnTo>
                    <a:pt x="0" y="295"/>
                  </a:lnTo>
                  <a:lnTo>
                    <a:pt x="0" y="296"/>
                  </a:lnTo>
                  <a:lnTo>
                    <a:pt x="0" y="298"/>
                  </a:lnTo>
                  <a:lnTo>
                    <a:pt x="0" y="300"/>
                  </a:lnTo>
                  <a:lnTo>
                    <a:pt x="1" y="301"/>
                  </a:lnTo>
                  <a:lnTo>
                    <a:pt x="4" y="301"/>
                  </a:lnTo>
                  <a:lnTo>
                    <a:pt x="5" y="302"/>
                  </a:lnTo>
                  <a:lnTo>
                    <a:pt x="7" y="303"/>
                  </a:lnTo>
                  <a:lnTo>
                    <a:pt x="9" y="305"/>
                  </a:lnTo>
                  <a:lnTo>
                    <a:pt x="9" y="307"/>
                  </a:lnTo>
                  <a:lnTo>
                    <a:pt x="9" y="308"/>
                  </a:lnTo>
                  <a:lnTo>
                    <a:pt x="8" y="309"/>
                  </a:lnTo>
                  <a:lnTo>
                    <a:pt x="8" y="310"/>
                  </a:lnTo>
                  <a:lnTo>
                    <a:pt x="9" y="311"/>
                  </a:lnTo>
                  <a:lnTo>
                    <a:pt x="9" y="311"/>
                  </a:lnTo>
                  <a:lnTo>
                    <a:pt x="10" y="313"/>
                  </a:lnTo>
                  <a:lnTo>
                    <a:pt x="10" y="314"/>
                  </a:lnTo>
                  <a:lnTo>
                    <a:pt x="10" y="315"/>
                  </a:lnTo>
                  <a:lnTo>
                    <a:pt x="11" y="316"/>
                  </a:lnTo>
                  <a:lnTo>
                    <a:pt x="12" y="317"/>
                  </a:lnTo>
                  <a:lnTo>
                    <a:pt x="14" y="318"/>
                  </a:lnTo>
                  <a:lnTo>
                    <a:pt x="15" y="319"/>
                  </a:lnTo>
                  <a:lnTo>
                    <a:pt x="16" y="320"/>
                  </a:lnTo>
                  <a:lnTo>
                    <a:pt x="17" y="321"/>
                  </a:lnTo>
                  <a:lnTo>
                    <a:pt x="17" y="322"/>
                  </a:lnTo>
                  <a:lnTo>
                    <a:pt x="17" y="324"/>
                  </a:lnTo>
                  <a:lnTo>
                    <a:pt x="17" y="326"/>
                  </a:lnTo>
                  <a:lnTo>
                    <a:pt x="19" y="334"/>
                  </a:lnTo>
                  <a:lnTo>
                    <a:pt x="20" y="338"/>
                  </a:lnTo>
                  <a:lnTo>
                    <a:pt x="20" y="343"/>
                  </a:lnTo>
                  <a:lnTo>
                    <a:pt x="21" y="347"/>
                  </a:lnTo>
                  <a:lnTo>
                    <a:pt x="25" y="352"/>
                  </a:lnTo>
                  <a:lnTo>
                    <a:pt x="27" y="353"/>
                  </a:lnTo>
                  <a:lnTo>
                    <a:pt x="30" y="353"/>
                  </a:lnTo>
                  <a:lnTo>
                    <a:pt x="32" y="354"/>
                  </a:lnTo>
                  <a:lnTo>
                    <a:pt x="34" y="359"/>
                  </a:lnTo>
                  <a:lnTo>
                    <a:pt x="35" y="360"/>
                  </a:lnTo>
                  <a:lnTo>
                    <a:pt x="37" y="362"/>
                  </a:lnTo>
                  <a:lnTo>
                    <a:pt x="35" y="364"/>
                  </a:lnTo>
                  <a:lnTo>
                    <a:pt x="34" y="367"/>
                  </a:lnTo>
                  <a:lnTo>
                    <a:pt x="34" y="371"/>
                  </a:lnTo>
                  <a:lnTo>
                    <a:pt x="34" y="372"/>
                  </a:lnTo>
                  <a:lnTo>
                    <a:pt x="36" y="373"/>
                  </a:lnTo>
                  <a:lnTo>
                    <a:pt x="35" y="377"/>
                  </a:lnTo>
                  <a:lnTo>
                    <a:pt x="39" y="379"/>
                  </a:lnTo>
                  <a:lnTo>
                    <a:pt x="44" y="381"/>
                  </a:lnTo>
                  <a:lnTo>
                    <a:pt x="48" y="384"/>
                  </a:lnTo>
                  <a:lnTo>
                    <a:pt x="54" y="381"/>
                  </a:lnTo>
                  <a:lnTo>
                    <a:pt x="59" y="382"/>
                  </a:lnTo>
                  <a:lnTo>
                    <a:pt x="66" y="384"/>
                  </a:lnTo>
                  <a:lnTo>
                    <a:pt x="67" y="384"/>
                  </a:lnTo>
                  <a:lnTo>
                    <a:pt x="78" y="386"/>
                  </a:lnTo>
                  <a:lnTo>
                    <a:pt x="83" y="390"/>
                  </a:lnTo>
                  <a:lnTo>
                    <a:pt x="99" y="412"/>
                  </a:lnTo>
                  <a:lnTo>
                    <a:pt x="101" y="413"/>
                  </a:lnTo>
                  <a:lnTo>
                    <a:pt x="102" y="414"/>
                  </a:lnTo>
                  <a:lnTo>
                    <a:pt x="106" y="415"/>
                  </a:lnTo>
                  <a:lnTo>
                    <a:pt x="108" y="416"/>
                  </a:lnTo>
                  <a:lnTo>
                    <a:pt x="113" y="424"/>
                  </a:lnTo>
                  <a:lnTo>
                    <a:pt x="115" y="425"/>
                  </a:lnTo>
                  <a:lnTo>
                    <a:pt x="117" y="425"/>
                  </a:lnTo>
                  <a:lnTo>
                    <a:pt x="118" y="425"/>
                  </a:lnTo>
                  <a:lnTo>
                    <a:pt x="120" y="425"/>
                  </a:lnTo>
                  <a:lnTo>
                    <a:pt x="122" y="426"/>
                  </a:lnTo>
                  <a:lnTo>
                    <a:pt x="126" y="428"/>
                  </a:lnTo>
                  <a:lnTo>
                    <a:pt x="129" y="431"/>
                  </a:lnTo>
                  <a:lnTo>
                    <a:pt x="130" y="433"/>
                  </a:lnTo>
                  <a:lnTo>
                    <a:pt x="132" y="435"/>
                  </a:lnTo>
                  <a:lnTo>
                    <a:pt x="138" y="439"/>
                  </a:lnTo>
                  <a:lnTo>
                    <a:pt x="142" y="441"/>
                  </a:lnTo>
                  <a:lnTo>
                    <a:pt x="155" y="444"/>
                  </a:lnTo>
                  <a:lnTo>
                    <a:pt x="164" y="444"/>
                  </a:lnTo>
                  <a:lnTo>
                    <a:pt x="201" y="441"/>
                  </a:lnTo>
                  <a:lnTo>
                    <a:pt x="220" y="444"/>
                  </a:lnTo>
                  <a:lnTo>
                    <a:pt x="226" y="443"/>
                  </a:lnTo>
                  <a:lnTo>
                    <a:pt x="238" y="438"/>
                  </a:lnTo>
                  <a:lnTo>
                    <a:pt x="270" y="434"/>
                  </a:lnTo>
                  <a:lnTo>
                    <a:pt x="278" y="435"/>
                  </a:lnTo>
                  <a:lnTo>
                    <a:pt x="283" y="437"/>
                  </a:lnTo>
                  <a:lnTo>
                    <a:pt x="288" y="438"/>
                  </a:lnTo>
                  <a:lnTo>
                    <a:pt x="293" y="438"/>
                  </a:lnTo>
                  <a:lnTo>
                    <a:pt x="297" y="435"/>
                  </a:lnTo>
                  <a:lnTo>
                    <a:pt x="302" y="429"/>
                  </a:lnTo>
                  <a:lnTo>
                    <a:pt x="305" y="427"/>
                  </a:lnTo>
                  <a:lnTo>
                    <a:pt x="308" y="426"/>
                  </a:lnTo>
                  <a:lnTo>
                    <a:pt x="312" y="425"/>
                  </a:lnTo>
                  <a:lnTo>
                    <a:pt x="313" y="425"/>
                  </a:lnTo>
                  <a:lnTo>
                    <a:pt x="306" y="421"/>
                  </a:lnTo>
                  <a:lnTo>
                    <a:pt x="302" y="416"/>
                  </a:lnTo>
                  <a:lnTo>
                    <a:pt x="301" y="411"/>
                  </a:lnTo>
                  <a:lnTo>
                    <a:pt x="301" y="406"/>
                  </a:lnTo>
                  <a:lnTo>
                    <a:pt x="303" y="397"/>
                  </a:lnTo>
                  <a:lnTo>
                    <a:pt x="302" y="394"/>
                  </a:lnTo>
                  <a:lnTo>
                    <a:pt x="301" y="393"/>
                  </a:lnTo>
                  <a:lnTo>
                    <a:pt x="301" y="392"/>
                  </a:lnTo>
                  <a:lnTo>
                    <a:pt x="303" y="390"/>
                  </a:lnTo>
                  <a:lnTo>
                    <a:pt x="304" y="389"/>
                  </a:lnTo>
                  <a:lnTo>
                    <a:pt x="308" y="388"/>
                  </a:lnTo>
                  <a:lnTo>
                    <a:pt x="309" y="387"/>
                  </a:lnTo>
                  <a:lnTo>
                    <a:pt x="313" y="378"/>
                  </a:lnTo>
                  <a:lnTo>
                    <a:pt x="316" y="376"/>
                  </a:lnTo>
                  <a:lnTo>
                    <a:pt x="331" y="372"/>
                  </a:lnTo>
                  <a:lnTo>
                    <a:pt x="339" y="371"/>
                  </a:lnTo>
                  <a:lnTo>
                    <a:pt x="341" y="370"/>
                  </a:lnTo>
                  <a:lnTo>
                    <a:pt x="345" y="370"/>
                  </a:lnTo>
                  <a:lnTo>
                    <a:pt x="348" y="370"/>
                  </a:lnTo>
                  <a:lnTo>
                    <a:pt x="357" y="369"/>
                  </a:lnTo>
                  <a:lnTo>
                    <a:pt x="377" y="371"/>
                  </a:lnTo>
                  <a:lnTo>
                    <a:pt x="379" y="371"/>
                  </a:lnTo>
                  <a:lnTo>
                    <a:pt x="388" y="365"/>
                  </a:lnTo>
                  <a:lnTo>
                    <a:pt x="410" y="365"/>
                  </a:lnTo>
                  <a:lnTo>
                    <a:pt x="418" y="359"/>
                  </a:lnTo>
                  <a:lnTo>
                    <a:pt x="418" y="358"/>
                  </a:lnTo>
                  <a:lnTo>
                    <a:pt x="418" y="357"/>
                  </a:lnTo>
                  <a:lnTo>
                    <a:pt x="418" y="355"/>
                  </a:lnTo>
                  <a:lnTo>
                    <a:pt x="418" y="354"/>
                  </a:lnTo>
                  <a:lnTo>
                    <a:pt x="418" y="354"/>
                  </a:lnTo>
                  <a:lnTo>
                    <a:pt x="418" y="354"/>
                  </a:lnTo>
                  <a:lnTo>
                    <a:pt x="418" y="353"/>
                  </a:lnTo>
                  <a:lnTo>
                    <a:pt x="418" y="353"/>
                  </a:lnTo>
                  <a:lnTo>
                    <a:pt x="420" y="350"/>
                  </a:lnTo>
                  <a:lnTo>
                    <a:pt x="421" y="341"/>
                  </a:lnTo>
                  <a:lnTo>
                    <a:pt x="423" y="337"/>
                  </a:lnTo>
                  <a:lnTo>
                    <a:pt x="426" y="335"/>
                  </a:lnTo>
                  <a:lnTo>
                    <a:pt x="440" y="332"/>
                  </a:lnTo>
                  <a:lnTo>
                    <a:pt x="442" y="332"/>
                  </a:lnTo>
                  <a:lnTo>
                    <a:pt x="444" y="332"/>
                  </a:lnTo>
                  <a:lnTo>
                    <a:pt x="445" y="334"/>
                  </a:lnTo>
                  <a:lnTo>
                    <a:pt x="449" y="338"/>
                  </a:lnTo>
                  <a:lnTo>
                    <a:pt x="451" y="339"/>
                  </a:lnTo>
                  <a:lnTo>
                    <a:pt x="458" y="337"/>
                  </a:lnTo>
                  <a:lnTo>
                    <a:pt x="462" y="338"/>
                  </a:lnTo>
                  <a:lnTo>
                    <a:pt x="464" y="341"/>
                  </a:lnTo>
                  <a:lnTo>
                    <a:pt x="464" y="344"/>
                  </a:lnTo>
                  <a:lnTo>
                    <a:pt x="464" y="346"/>
                  </a:lnTo>
                  <a:lnTo>
                    <a:pt x="463" y="348"/>
                  </a:lnTo>
                  <a:lnTo>
                    <a:pt x="465" y="350"/>
                  </a:lnTo>
                  <a:lnTo>
                    <a:pt x="466" y="350"/>
                  </a:lnTo>
                  <a:lnTo>
                    <a:pt x="472" y="348"/>
                  </a:lnTo>
                  <a:lnTo>
                    <a:pt x="476" y="349"/>
                  </a:lnTo>
                  <a:lnTo>
                    <a:pt x="482" y="355"/>
                  </a:lnTo>
                  <a:lnTo>
                    <a:pt x="485" y="356"/>
                  </a:lnTo>
                  <a:lnTo>
                    <a:pt x="489" y="355"/>
                  </a:lnTo>
                  <a:lnTo>
                    <a:pt x="496" y="348"/>
                  </a:lnTo>
                  <a:lnTo>
                    <a:pt x="500" y="346"/>
                  </a:lnTo>
                  <a:lnTo>
                    <a:pt x="506" y="344"/>
                  </a:lnTo>
                  <a:lnTo>
                    <a:pt x="506" y="343"/>
                  </a:lnTo>
                  <a:lnTo>
                    <a:pt x="513" y="339"/>
                  </a:lnTo>
                  <a:lnTo>
                    <a:pt x="516" y="338"/>
                  </a:lnTo>
                  <a:lnTo>
                    <a:pt x="517" y="337"/>
                  </a:lnTo>
                  <a:lnTo>
                    <a:pt x="518" y="335"/>
                  </a:lnTo>
                  <a:lnTo>
                    <a:pt x="519" y="331"/>
                  </a:lnTo>
                  <a:lnTo>
                    <a:pt x="520" y="329"/>
                  </a:lnTo>
                  <a:lnTo>
                    <a:pt x="522" y="327"/>
                  </a:lnTo>
                  <a:lnTo>
                    <a:pt x="523" y="327"/>
                  </a:lnTo>
                  <a:lnTo>
                    <a:pt x="525" y="327"/>
                  </a:lnTo>
                  <a:lnTo>
                    <a:pt x="528" y="328"/>
                  </a:lnTo>
                  <a:lnTo>
                    <a:pt x="530" y="326"/>
                  </a:lnTo>
                  <a:lnTo>
                    <a:pt x="535" y="322"/>
                  </a:lnTo>
                  <a:lnTo>
                    <a:pt x="537" y="321"/>
                  </a:lnTo>
                  <a:lnTo>
                    <a:pt x="540" y="323"/>
                  </a:lnTo>
                  <a:lnTo>
                    <a:pt x="542" y="325"/>
                  </a:lnTo>
                  <a:lnTo>
                    <a:pt x="543" y="326"/>
                  </a:lnTo>
                  <a:lnTo>
                    <a:pt x="547" y="324"/>
                  </a:lnTo>
                  <a:lnTo>
                    <a:pt x="552" y="319"/>
                  </a:lnTo>
                  <a:lnTo>
                    <a:pt x="556" y="313"/>
                  </a:lnTo>
                  <a:lnTo>
                    <a:pt x="559" y="306"/>
                  </a:lnTo>
                  <a:lnTo>
                    <a:pt x="565" y="287"/>
                  </a:lnTo>
                  <a:lnTo>
                    <a:pt x="567" y="284"/>
                  </a:lnTo>
                  <a:lnTo>
                    <a:pt x="569" y="280"/>
                  </a:lnTo>
                  <a:lnTo>
                    <a:pt x="574" y="275"/>
                  </a:lnTo>
                  <a:lnTo>
                    <a:pt x="575" y="275"/>
                  </a:lnTo>
                  <a:lnTo>
                    <a:pt x="577" y="272"/>
                  </a:lnTo>
                  <a:lnTo>
                    <a:pt x="577" y="271"/>
                  </a:lnTo>
                  <a:lnTo>
                    <a:pt x="577" y="270"/>
                  </a:lnTo>
                  <a:lnTo>
                    <a:pt x="577" y="269"/>
                  </a:lnTo>
                  <a:lnTo>
                    <a:pt x="577" y="268"/>
                  </a:lnTo>
                  <a:lnTo>
                    <a:pt x="576" y="264"/>
                  </a:lnTo>
                  <a:lnTo>
                    <a:pt x="576" y="262"/>
                  </a:lnTo>
                  <a:lnTo>
                    <a:pt x="577" y="260"/>
                  </a:lnTo>
                  <a:lnTo>
                    <a:pt x="581" y="259"/>
                  </a:lnTo>
                  <a:lnTo>
                    <a:pt x="591" y="258"/>
                  </a:lnTo>
                  <a:lnTo>
                    <a:pt x="625" y="250"/>
                  </a:lnTo>
                  <a:lnTo>
                    <a:pt x="627" y="250"/>
                  </a:lnTo>
                  <a:lnTo>
                    <a:pt x="630" y="251"/>
                  </a:lnTo>
                  <a:lnTo>
                    <a:pt x="635" y="256"/>
                  </a:lnTo>
                  <a:lnTo>
                    <a:pt x="637" y="256"/>
                  </a:lnTo>
                  <a:lnTo>
                    <a:pt x="642" y="257"/>
                  </a:lnTo>
                  <a:lnTo>
                    <a:pt x="650" y="262"/>
                  </a:lnTo>
                  <a:lnTo>
                    <a:pt x="656" y="263"/>
                  </a:lnTo>
                  <a:lnTo>
                    <a:pt x="660" y="262"/>
                  </a:lnTo>
                  <a:lnTo>
                    <a:pt x="665" y="263"/>
                  </a:lnTo>
                  <a:lnTo>
                    <a:pt x="669" y="265"/>
                  </a:lnTo>
                  <a:lnTo>
                    <a:pt x="672" y="268"/>
                  </a:lnTo>
                  <a:lnTo>
                    <a:pt x="676" y="269"/>
                  </a:lnTo>
                  <a:lnTo>
                    <a:pt x="689" y="263"/>
                  </a:lnTo>
                  <a:lnTo>
                    <a:pt x="694" y="262"/>
                  </a:lnTo>
                  <a:lnTo>
                    <a:pt x="697" y="263"/>
                  </a:lnTo>
                  <a:lnTo>
                    <a:pt x="699" y="265"/>
                  </a:lnTo>
                  <a:lnTo>
                    <a:pt x="701" y="266"/>
                  </a:lnTo>
                  <a:lnTo>
                    <a:pt x="703" y="264"/>
                  </a:lnTo>
                  <a:lnTo>
                    <a:pt x="705" y="262"/>
                  </a:lnTo>
                  <a:lnTo>
                    <a:pt x="706" y="259"/>
                  </a:lnTo>
                  <a:lnTo>
                    <a:pt x="707" y="257"/>
                  </a:lnTo>
                  <a:lnTo>
                    <a:pt x="710" y="255"/>
                  </a:lnTo>
                  <a:lnTo>
                    <a:pt x="713" y="254"/>
                  </a:lnTo>
                  <a:lnTo>
                    <a:pt x="718" y="254"/>
                  </a:lnTo>
                  <a:lnTo>
                    <a:pt x="726" y="252"/>
                  </a:lnTo>
                  <a:lnTo>
                    <a:pt x="729" y="253"/>
                  </a:lnTo>
                  <a:lnTo>
                    <a:pt x="734" y="256"/>
                  </a:lnTo>
                  <a:lnTo>
                    <a:pt x="737" y="257"/>
                  </a:lnTo>
                  <a:lnTo>
                    <a:pt x="738" y="258"/>
                  </a:lnTo>
                  <a:lnTo>
                    <a:pt x="739" y="260"/>
                  </a:lnTo>
                  <a:lnTo>
                    <a:pt x="741" y="265"/>
                  </a:lnTo>
                  <a:lnTo>
                    <a:pt x="742" y="267"/>
                  </a:lnTo>
                  <a:lnTo>
                    <a:pt x="744" y="268"/>
                  </a:lnTo>
                  <a:lnTo>
                    <a:pt x="750" y="268"/>
                  </a:lnTo>
                  <a:lnTo>
                    <a:pt x="753" y="268"/>
                  </a:lnTo>
                  <a:lnTo>
                    <a:pt x="754" y="271"/>
                  </a:lnTo>
                  <a:lnTo>
                    <a:pt x="756" y="281"/>
                  </a:lnTo>
                  <a:lnTo>
                    <a:pt x="758" y="283"/>
                  </a:lnTo>
                  <a:lnTo>
                    <a:pt x="767" y="297"/>
                  </a:lnTo>
                  <a:lnTo>
                    <a:pt x="770" y="301"/>
                  </a:lnTo>
                  <a:lnTo>
                    <a:pt x="775" y="304"/>
                  </a:lnTo>
                  <a:lnTo>
                    <a:pt x="780" y="306"/>
                  </a:lnTo>
                  <a:lnTo>
                    <a:pt x="784" y="306"/>
                  </a:lnTo>
                  <a:lnTo>
                    <a:pt x="792" y="302"/>
                  </a:lnTo>
                  <a:lnTo>
                    <a:pt x="799" y="301"/>
                  </a:lnTo>
                  <a:lnTo>
                    <a:pt x="804" y="298"/>
                  </a:lnTo>
                  <a:lnTo>
                    <a:pt x="806" y="297"/>
                  </a:lnTo>
                  <a:lnTo>
                    <a:pt x="815" y="296"/>
                  </a:lnTo>
                  <a:lnTo>
                    <a:pt x="818" y="295"/>
                  </a:lnTo>
                  <a:lnTo>
                    <a:pt x="821" y="295"/>
                  </a:lnTo>
                  <a:lnTo>
                    <a:pt x="830" y="296"/>
                  </a:lnTo>
                  <a:lnTo>
                    <a:pt x="833" y="295"/>
                  </a:lnTo>
                  <a:lnTo>
                    <a:pt x="836" y="293"/>
                  </a:lnTo>
                  <a:lnTo>
                    <a:pt x="839" y="289"/>
                  </a:lnTo>
                  <a:lnTo>
                    <a:pt x="839" y="272"/>
                  </a:lnTo>
                  <a:lnTo>
                    <a:pt x="841" y="268"/>
                  </a:lnTo>
                  <a:lnTo>
                    <a:pt x="841" y="264"/>
                  </a:lnTo>
                  <a:lnTo>
                    <a:pt x="840" y="255"/>
                  </a:lnTo>
                  <a:lnTo>
                    <a:pt x="840" y="250"/>
                  </a:lnTo>
                  <a:lnTo>
                    <a:pt x="842" y="246"/>
                  </a:lnTo>
                  <a:lnTo>
                    <a:pt x="853" y="238"/>
                  </a:lnTo>
                  <a:lnTo>
                    <a:pt x="854" y="236"/>
                  </a:lnTo>
                  <a:lnTo>
                    <a:pt x="855" y="232"/>
                  </a:lnTo>
                  <a:lnTo>
                    <a:pt x="856" y="230"/>
                  </a:lnTo>
                  <a:lnTo>
                    <a:pt x="858" y="229"/>
                  </a:lnTo>
                  <a:lnTo>
                    <a:pt x="863" y="228"/>
                  </a:lnTo>
                  <a:lnTo>
                    <a:pt x="865" y="226"/>
                  </a:lnTo>
                  <a:lnTo>
                    <a:pt x="867" y="223"/>
                  </a:lnTo>
                  <a:lnTo>
                    <a:pt x="869" y="219"/>
                  </a:lnTo>
                  <a:lnTo>
                    <a:pt x="870" y="214"/>
                  </a:lnTo>
                  <a:lnTo>
                    <a:pt x="870" y="208"/>
                  </a:lnTo>
                  <a:lnTo>
                    <a:pt x="870" y="205"/>
                  </a:lnTo>
                  <a:lnTo>
                    <a:pt x="871" y="204"/>
                  </a:lnTo>
                  <a:lnTo>
                    <a:pt x="873" y="202"/>
                  </a:lnTo>
                  <a:lnTo>
                    <a:pt x="874" y="201"/>
                  </a:lnTo>
                  <a:lnTo>
                    <a:pt x="875" y="198"/>
                  </a:lnTo>
                  <a:lnTo>
                    <a:pt x="876" y="196"/>
                  </a:lnTo>
                  <a:lnTo>
                    <a:pt x="875" y="188"/>
                  </a:lnTo>
                  <a:lnTo>
                    <a:pt x="875" y="186"/>
                  </a:lnTo>
                  <a:lnTo>
                    <a:pt x="875" y="184"/>
                  </a:lnTo>
                  <a:lnTo>
                    <a:pt x="876" y="181"/>
                  </a:lnTo>
                  <a:lnTo>
                    <a:pt x="877" y="181"/>
                  </a:lnTo>
                  <a:lnTo>
                    <a:pt x="878" y="179"/>
                  </a:lnTo>
                  <a:lnTo>
                    <a:pt x="882" y="176"/>
                  </a:lnTo>
                  <a:lnTo>
                    <a:pt x="883" y="174"/>
                  </a:lnTo>
                  <a:lnTo>
                    <a:pt x="884" y="172"/>
                  </a:lnTo>
                  <a:lnTo>
                    <a:pt x="884" y="169"/>
                  </a:lnTo>
                  <a:lnTo>
                    <a:pt x="884" y="168"/>
                  </a:lnTo>
                  <a:lnTo>
                    <a:pt x="885" y="163"/>
                  </a:lnTo>
                  <a:lnTo>
                    <a:pt x="889" y="153"/>
                  </a:lnTo>
                  <a:lnTo>
                    <a:pt x="892" y="151"/>
                  </a:lnTo>
                  <a:lnTo>
                    <a:pt x="898" y="150"/>
                  </a:lnTo>
                  <a:lnTo>
                    <a:pt x="900" y="148"/>
                  </a:lnTo>
                  <a:lnTo>
                    <a:pt x="900" y="144"/>
                  </a:lnTo>
                  <a:lnTo>
                    <a:pt x="901" y="139"/>
                  </a:lnTo>
                  <a:lnTo>
                    <a:pt x="902" y="133"/>
                  </a:lnTo>
                  <a:lnTo>
                    <a:pt x="904" y="129"/>
                  </a:lnTo>
                  <a:lnTo>
                    <a:pt x="898" y="126"/>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09" name="Freeform 15">
              <a:extLst>
                <a:ext uri="{FF2B5EF4-FFF2-40B4-BE49-F238E27FC236}">
                  <a16:creationId xmlns:a16="http://schemas.microsoft.com/office/drawing/2014/main" id="{85382E9D-150A-4898-8A43-A94E7FD04033}"/>
                </a:ext>
              </a:extLst>
            </p:cNvPr>
            <p:cNvSpPr>
              <a:spLocks/>
            </p:cNvSpPr>
            <p:nvPr/>
          </p:nvSpPr>
          <p:spPr bwMode="gray">
            <a:xfrm>
              <a:off x="9912512" y="5166519"/>
              <a:ext cx="409480" cy="593963"/>
            </a:xfrm>
            <a:custGeom>
              <a:avLst/>
              <a:gdLst>
                <a:gd name="T0" fmla="*/ 616 w 657"/>
                <a:gd name="T1" fmla="*/ 621 h 953"/>
                <a:gd name="T2" fmla="*/ 591 w 657"/>
                <a:gd name="T3" fmla="*/ 607 h 953"/>
                <a:gd name="T4" fmla="*/ 577 w 657"/>
                <a:gd name="T5" fmla="*/ 576 h 953"/>
                <a:gd name="T6" fmla="*/ 562 w 657"/>
                <a:gd name="T7" fmla="*/ 547 h 953"/>
                <a:gd name="T8" fmla="*/ 564 w 657"/>
                <a:gd name="T9" fmla="*/ 489 h 953"/>
                <a:gd name="T10" fmla="*/ 596 w 657"/>
                <a:gd name="T11" fmla="*/ 461 h 953"/>
                <a:gd name="T12" fmla="*/ 609 w 657"/>
                <a:gd name="T13" fmla="*/ 420 h 953"/>
                <a:gd name="T14" fmla="*/ 577 w 657"/>
                <a:gd name="T15" fmla="*/ 377 h 953"/>
                <a:gd name="T16" fmla="*/ 618 w 657"/>
                <a:gd name="T17" fmla="*/ 365 h 953"/>
                <a:gd name="T18" fmla="*/ 552 w 657"/>
                <a:gd name="T19" fmla="*/ 335 h 953"/>
                <a:gd name="T20" fmla="*/ 506 w 657"/>
                <a:gd name="T21" fmla="*/ 355 h 953"/>
                <a:gd name="T22" fmla="*/ 436 w 657"/>
                <a:gd name="T23" fmla="*/ 318 h 953"/>
                <a:gd name="T24" fmla="*/ 414 w 657"/>
                <a:gd name="T25" fmla="*/ 295 h 953"/>
                <a:gd name="T26" fmla="*/ 398 w 657"/>
                <a:gd name="T27" fmla="*/ 267 h 953"/>
                <a:gd name="T28" fmla="*/ 412 w 657"/>
                <a:gd name="T29" fmla="*/ 246 h 953"/>
                <a:gd name="T30" fmla="*/ 383 w 657"/>
                <a:gd name="T31" fmla="*/ 215 h 953"/>
                <a:gd name="T32" fmla="*/ 337 w 657"/>
                <a:gd name="T33" fmla="*/ 188 h 953"/>
                <a:gd name="T34" fmla="*/ 304 w 657"/>
                <a:gd name="T35" fmla="*/ 123 h 953"/>
                <a:gd name="T36" fmla="*/ 294 w 657"/>
                <a:gd name="T37" fmla="*/ 99 h 953"/>
                <a:gd name="T38" fmla="*/ 263 w 657"/>
                <a:gd name="T39" fmla="*/ 61 h 953"/>
                <a:gd name="T40" fmla="*/ 202 w 657"/>
                <a:gd name="T41" fmla="*/ 6 h 953"/>
                <a:gd name="T42" fmla="*/ 128 w 657"/>
                <a:gd name="T43" fmla="*/ 0 h 953"/>
                <a:gd name="T44" fmla="*/ 93 w 657"/>
                <a:gd name="T45" fmla="*/ 25 h 953"/>
                <a:gd name="T46" fmla="*/ 48 w 657"/>
                <a:gd name="T47" fmla="*/ 43 h 953"/>
                <a:gd name="T48" fmla="*/ 23 w 657"/>
                <a:gd name="T49" fmla="*/ 56 h 953"/>
                <a:gd name="T50" fmla="*/ 1 w 657"/>
                <a:gd name="T51" fmla="*/ 78 h 953"/>
                <a:gd name="T52" fmla="*/ 19 w 657"/>
                <a:gd name="T53" fmla="*/ 117 h 953"/>
                <a:gd name="T54" fmla="*/ 27 w 657"/>
                <a:gd name="T55" fmla="*/ 138 h 953"/>
                <a:gd name="T56" fmla="*/ 26 w 657"/>
                <a:gd name="T57" fmla="*/ 164 h 953"/>
                <a:gd name="T58" fmla="*/ 50 w 657"/>
                <a:gd name="T59" fmla="*/ 201 h 953"/>
                <a:gd name="T60" fmla="*/ 67 w 657"/>
                <a:gd name="T61" fmla="*/ 228 h 953"/>
                <a:gd name="T62" fmla="*/ 33 w 657"/>
                <a:gd name="T63" fmla="*/ 238 h 953"/>
                <a:gd name="T64" fmla="*/ 45 w 657"/>
                <a:gd name="T65" fmla="*/ 276 h 953"/>
                <a:gd name="T66" fmla="*/ 38 w 657"/>
                <a:gd name="T67" fmla="*/ 292 h 953"/>
                <a:gd name="T68" fmla="*/ 80 w 657"/>
                <a:gd name="T69" fmla="*/ 288 h 953"/>
                <a:gd name="T70" fmla="*/ 74 w 657"/>
                <a:gd name="T71" fmla="*/ 331 h 953"/>
                <a:gd name="T72" fmla="*/ 45 w 657"/>
                <a:gd name="T73" fmla="*/ 373 h 953"/>
                <a:gd name="T74" fmla="*/ 66 w 657"/>
                <a:gd name="T75" fmla="*/ 427 h 953"/>
                <a:gd name="T76" fmla="*/ 100 w 657"/>
                <a:gd name="T77" fmla="*/ 455 h 953"/>
                <a:gd name="T78" fmla="*/ 119 w 657"/>
                <a:gd name="T79" fmla="*/ 486 h 953"/>
                <a:gd name="T80" fmla="*/ 62 w 657"/>
                <a:gd name="T81" fmla="*/ 489 h 953"/>
                <a:gd name="T82" fmla="*/ 100 w 657"/>
                <a:gd name="T83" fmla="*/ 574 h 953"/>
                <a:gd name="T84" fmla="*/ 79 w 657"/>
                <a:gd name="T85" fmla="*/ 573 h 953"/>
                <a:gd name="T86" fmla="*/ 81 w 657"/>
                <a:gd name="T87" fmla="*/ 620 h 953"/>
                <a:gd name="T88" fmla="*/ 137 w 657"/>
                <a:gd name="T89" fmla="*/ 669 h 953"/>
                <a:gd name="T90" fmla="*/ 177 w 657"/>
                <a:gd name="T91" fmla="*/ 688 h 953"/>
                <a:gd name="T92" fmla="*/ 219 w 657"/>
                <a:gd name="T93" fmla="*/ 747 h 953"/>
                <a:gd name="T94" fmla="*/ 189 w 657"/>
                <a:gd name="T95" fmla="*/ 768 h 953"/>
                <a:gd name="T96" fmla="*/ 207 w 657"/>
                <a:gd name="T97" fmla="*/ 814 h 953"/>
                <a:gd name="T98" fmla="*/ 218 w 657"/>
                <a:gd name="T99" fmla="*/ 845 h 953"/>
                <a:gd name="T100" fmla="*/ 272 w 657"/>
                <a:gd name="T101" fmla="*/ 908 h 953"/>
                <a:gd name="T102" fmla="*/ 281 w 657"/>
                <a:gd name="T103" fmla="*/ 951 h 953"/>
                <a:gd name="T104" fmla="*/ 301 w 657"/>
                <a:gd name="T105" fmla="*/ 926 h 953"/>
                <a:gd name="T106" fmla="*/ 362 w 657"/>
                <a:gd name="T107" fmla="*/ 879 h 953"/>
                <a:gd name="T108" fmla="*/ 389 w 657"/>
                <a:gd name="T109" fmla="*/ 890 h 953"/>
                <a:gd name="T110" fmla="*/ 417 w 657"/>
                <a:gd name="T111" fmla="*/ 869 h 953"/>
                <a:gd name="T112" fmla="*/ 475 w 657"/>
                <a:gd name="T113" fmla="*/ 854 h 953"/>
                <a:gd name="T114" fmla="*/ 544 w 657"/>
                <a:gd name="T115" fmla="*/ 845 h 953"/>
                <a:gd name="T116" fmla="*/ 583 w 657"/>
                <a:gd name="T117" fmla="*/ 830 h 953"/>
                <a:gd name="T118" fmla="*/ 575 w 657"/>
                <a:gd name="T119" fmla="*/ 766 h 953"/>
                <a:gd name="T120" fmla="*/ 577 w 657"/>
                <a:gd name="T121" fmla="*/ 738 h 953"/>
                <a:gd name="T122" fmla="*/ 619 w 657"/>
                <a:gd name="T123" fmla="*/ 725 h 953"/>
                <a:gd name="T124" fmla="*/ 645 w 657"/>
                <a:gd name="T125" fmla="*/ 689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7" h="953">
                  <a:moveTo>
                    <a:pt x="657" y="665"/>
                  </a:moveTo>
                  <a:lnTo>
                    <a:pt x="656" y="662"/>
                  </a:lnTo>
                  <a:lnTo>
                    <a:pt x="654" y="661"/>
                  </a:lnTo>
                  <a:lnTo>
                    <a:pt x="646" y="659"/>
                  </a:lnTo>
                  <a:lnTo>
                    <a:pt x="643" y="657"/>
                  </a:lnTo>
                  <a:lnTo>
                    <a:pt x="641" y="655"/>
                  </a:lnTo>
                  <a:lnTo>
                    <a:pt x="637" y="649"/>
                  </a:lnTo>
                  <a:lnTo>
                    <a:pt x="633" y="646"/>
                  </a:lnTo>
                  <a:lnTo>
                    <a:pt x="632" y="644"/>
                  </a:lnTo>
                  <a:lnTo>
                    <a:pt x="631" y="642"/>
                  </a:lnTo>
                  <a:lnTo>
                    <a:pt x="631" y="638"/>
                  </a:lnTo>
                  <a:lnTo>
                    <a:pt x="631" y="637"/>
                  </a:lnTo>
                  <a:lnTo>
                    <a:pt x="628" y="634"/>
                  </a:lnTo>
                  <a:lnTo>
                    <a:pt x="617" y="622"/>
                  </a:lnTo>
                  <a:lnTo>
                    <a:pt x="616" y="621"/>
                  </a:lnTo>
                  <a:lnTo>
                    <a:pt x="615" y="621"/>
                  </a:lnTo>
                  <a:lnTo>
                    <a:pt x="612" y="620"/>
                  </a:lnTo>
                  <a:lnTo>
                    <a:pt x="611" y="619"/>
                  </a:lnTo>
                  <a:lnTo>
                    <a:pt x="608" y="620"/>
                  </a:lnTo>
                  <a:lnTo>
                    <a:pt x="606" y="619"/>
                  </a:lnTo>
                  <a:lnTo>
                    <a:pt x="605" y="618"/>
                  </a:lnTo>
                  <a:lnTo>
                    <a:pt x="605" y="618"/>
                  </a:lnTo>
                  <a:lnTo>
                    <a:pt x="603" y="614"/>
                  </a:lnTo>
                  <a:lnTo>
                    <a:pt x="602" y="613"/>
                  </a:lnTo>
                  <a:lnTo>
                    <a:pt x="601" y="612"/>
                  </a:lnTo>
                  <a:lnTo>
                    <a:pt x="597" y="612"/>
                  </a:lnTo>
                  <a:lnTo>
                    <a:pt x="595" y="612"/>
                  </a:lnTo>
                  <a:lnTo>
                    <a:pt x="594" y="611"/>
                  </a:lnTo>
                  <a:lnTo>
                    <a:pt x="592" y="608"/>
                  </a:lnTo>
                  <a:lnTo>
                    <a:pt x="591" y="607"/>
                  </a:lnTo>
                  <a:lnTo>
                    <a:pt x="585" y="604"/>
                  </a:lnTo>
                  <a:lnTo>
                    <a:pt x="583" y="602"/>
                  </a:lnTo>
                  <a:lnTo>
                    <a:pt x="582" y="598"/>
                  </a:lnTo>
                  <a:lnTo>
                    <a:pt x="579" y="588"/>
                  </a:lnTo>
                  <a:lnTo>
                    <a:pt x="577" y="583"/>
                  </a:lnTo>
                  <a:lnTo>
                    <a:pt x="577" y="583"/>
                  </a:lnTo>
                  <a:lnTo>
                    <a:pt x="577" y="581"/>
                  </a:lnTo>
                  <a:lnTo>
                    <a:pt x="577" y="580"/>
                  </a:lnTo>
                  <a:lnTo>
                    <a:pt x="577" y="580"/>
                  </a:lnTo>
                  <a:lnTo>
                    <a:pt x="577" y="579"/>
                  </a:lnTo>
                  <a:lnTo>
                    <a:pt x="577" y="579"/>
                  </a:lnTo>
                  <a:lnTo>
                    <a:pt x="577" y="578"/>
                  </a:lnTo>
                  <a:lnTo>
                    <a:pt x="577" y="578"/>
                  </a:lnTo>
                  <a:lnTo>
                    <a:pt x="577" y="577"/>
                  </a:lnTo>
                  <a:lnTo>
                    <a:pt x="577" y="576"/>
                  </a:lnTo>
                  <a:lnTo>
                    <a:pt x="577" y="575"/>
                  </a:lnTo>
                  <a:lnTo>
                    <a:pt x="577" y="575"/>
                  </a:lnTo>
                  <a:lnTo>
                    <a:pt x="577" y="575"/>
                  </a:lnTo>
                  <a:lnTo>
                    <a:pt x="577" y="575"/>
                  </a:lnTo>
                  <a:lnTo>
                    <a:pt x="577" y="574"/>
                  </a:lnTo>
                  <a:lnTo>
                    <a:pt x="576" y="572"/>
                  </a:lnTo>
                  <a:lnTo>
                    <a:pt x="576" y="567"/>
                  </a:lnTo>
                  <a:lnTo>
                    <a:pt x="575" y="564"/>
                  </a:lnTo>
                  <a:lnTo>
                    <a:pt x="573" y="562"/>
                  </a:lnTo>
                  <a:lnTo>
                    <a:pt x="568" y="560"/>
                  </a:lnTo>
                  <a:lnTo>
                    <a:pt x="567" y="558"/>
                  </a:lnTo>
                  <a:lnTo>
                    <a:pt x="565" y="556"/>
                  </a:lnTo>
                  <a:lnTo>
                    <a:pt x="564" y="553"/>
                  </a:lnTo>
                  <a:lnTo>
                    <a:pt x="563" y="550"/>
                  </a:lnTo>
                  <a:lnTo>
                    <a:pt x="562" y="547"/>
                  </a:lnTo>
                  <a:lnTo>
                    <a:pt x="562" y="545"/>
                  </a:lnTo>
                  <a:lnTo>
                    <a:pt x="562" y="542"/>
                  </a:lnTo>
                  <a:lnTo>
                    <a:pt x="562" y="540"/>
                  </a:lnTo>
                  <a:lnTo>
                    <a:pt x="558" y="535"/>
                  </a:lnTo>
                  <a:lnTo>
                    <a:pt x="556" y="529"/>
                  </a:lnTo>
                  <a:lnTo>
                    <a:pt x="557" y="525"/>
                  </a:lnTo>
                  <a:lnTo>
                    <a:pt x="559" y="520"/>
                  </a:lnTo>
                  <a:lnTo>
                    <a:pt x="561" y="513"/>
                  </a:lnTo>
                  <a:lnTo>
                    <a:pt x="561" y="506"/>
                  </a:lnTo>
                  <a:lnTo>
                    <a:pt x="561" y="505"/>
                  </a:lnTo>
                  <a:lnTo>
                    <a:pt x="563" y="502"/>
                  </a:lnTo>
                  <a:lnTo>
                    <a:pt x="563" y="501"/>
                  </a:lnTo>
                  <a:lnTo>
                    <a:pt x="564" y="498"/>
                  </a:lnTo>
                  <a:lnTo>
                    <a:pt x="564" y="491"/>
                  </a:lnTo>
                  <a:lnTo>
                    <a:pt x="564" y="489"/>
                  </a:lnTo>
                  <a:lnTo>
                    <a:pt x="566" y="486"/>
                  </a:lnTo>
                  <a:lnTo>
                    <a:pt x="570" y="484"/>
                  </a:lnTo>
                  <a:lnTo>
                    <a:pt x="575" y="483"/>
                  </a:lnTo>
                  <a:lnTo>
                    <a:pt x="577" y="483"/>
                  </a:lnTo>
                  <a:lnTo>
                    <a:pt x="581" y="483"/>
                  </a:lnTo>
                  <a:lnTo>
                    <a:pt x="582" y="481"/>
                  </a:lnTo>
                  <a:lnTo>
                    <a:pt x="584" y="477"/>
                  </a:lnTo>
                  <a:lnTo>
                    <a:pt x="586" y="475"/>
                  </a:lnTo>
                  <a:lnTo>
                    <a:pt x="589" y="473"/>
                  </a:lnTo>
                  <a:lnTo>
                    <a:pt x="592" y="474"/>
                  </a:lnTo>
                  <a:lnTo>
                    <a:pt x="595" y="473"/>
                  </a:lnTo>
                  <a:lnTo>
                    <a:pt x="597" y="470"/>
                  </a:lnTo>
                  <a:lnTo>
                    <a:pt x="597" y="468"/>
                  </a:lnTo>
                  <a:lnTo>
                    <a:pt x="596" y="463"/>
                  </a:lnTo>
                  <a:lnTo>
                    <a:pt x="596" y="461"/>
                  </a:lnTo>
                  <a:lnTo>
                    <a:pt x="596" y="458"/>
                  </a:lnTo>
                  <a:lnTo>
                    <a:pt x="597" y="452"/>
                  </a:lnTo>
                  <a:lnTo>
                    <a:pt x="597" y="452"/>
                  </a:lnTo>
                  <a:lnTo>
                    <a:pt x="597" y="451"/>
                  </a:lnTo>
                  <a:lnTo>
                    <a:pt x="597" y="450"/>
                  </a:lnTo>
                  <a:lnTo>
                    <a:pt x="597" y="449"/>
                  </a:lnTo>
                  <a:lnTo>
                    <a:pt x="597" y="448"/>
                  </a:lnTo>
                  <a:lnTo>
                    <a:pt x="600" y="445"/>
                  </a:lnTo>
                  <a:lnTo>
                    <a:pt x="602" y="442"/>
                  </a:lnTo>
                  <a:lnTo>
                    <a:pt x="604" y="440"/>
                  </a:lnTo>
                  <a:lnTo>
                    <a:pt x="611" y="437"/>
                  </a:lnTo>
                  <a:lnTo>
                    <a:pt x="610" y="437"/>
                  </a:lnTo>
                  <a:lnTo>
                    <a:pt x="610" y="433"/>
                  </a:lnTo>
                  <a:lnTo>
                    <a:pt x="610" y="423"/>
                  </a:lnTo>
                  <a:lnTo>
                    <a:pt x="609" y="420"/>
                  </a:lnTo>
                  <a:lnTo>
                    <a:pt x="606" y="418"/>
                  </a:lnTo>
                  <a:lnTo>
                    <a:pt x="599" y="417"/>
                  </a:lnTo>
                  <a:lnTo>
                    <a:pt x="593" y="415"/>
                  </a:lnTo>
                  <a:lnTo>
                    <a:pt x="588" y="410"/>
                  </a:lnTo>
                  <a:lnTo>
                    <a:pt x="584" y="404"/>
                  </a:lnTo>
                  <a:lnTo>
                    <a:pt x="581" y="398"/>
                  </a:lnTo>
                  <a:lnTo>
                    <a:pt x="581" y="396"/>
                  </a:lnTo>
                  <a:lnTo>
                    <a:pt x="581" y="393"/>
                  </a:lnTo>
                  <a:lnTo>
                    <a:pt x="581" y="391"/>
                  </a:lnTo>
                  <a:lnTo>
                    <a:pt x="580" y="389"/>
                  </a:lnTo>
                  <a:lnTo>
                    <a:pt x="577" y="386"/>
                  </a:lnTo>
                  <a:lnTo>
                    <a:pt x="577" y="385"/>
                  </a:lnTo>
                  <a:lnTo>
                    <a:pt x="577" y="382"/>
                  </a:lnTo>
                  <a:lnTo>
                    <a:pt x="577" y="379"/>
                  </a:lnTo>
                  <a:lnTo>
                    <a:pt x="577" y="377"/>
                  </a:lnTo>
                  <a:lnTo>
                    <a:pt x="579" y="376"/>
                  </a:lnTo>
                  <a:lnTo>
                    <a:pt x="580" y="375"/>
                  </a:lnTo>
                  <a:lnTo>
                    <a:pt x="586" y="375"/>
                  </a:lnTo>
                  <a:lnTo>
                    <a:pt x="588" y="374"/>
                  </a:lnTo>
                  <a:lnTo>
                    <a:pt x="589" y="372"/>
                  </a:lnTo>
                  <a:lnTo>
                    <a:pt x="590" y="368"/>
                  </a:lnTo>
                  <a:lnTo>
                    <a:pt x="591" y="364"/>
                  </a:lnTo>
                  <a:lnTo>
                    <a:pt x="593" y="362"/>
                  </a:lnTo>
                  <a:lnTo>
                    <a:pt x="596" y="361"/>
                  </a:lnTo>
                  <a:lnTo>
                    <a:pt x="599" y="361"/>
                  </a:lnTo>
                  <a:lnTo>
                    <a:pt x="603" y="363"/>
                  </a:lnTo>
                  <a:lnTo>
                    <a:pt x="608" y="367"/>
                  </a:lnTo>
                  <a:lnTo>
                    <a:pt x="612" y="367"/>
                  </a:lnTo>
                  <a:lnTo>
                    <a:pt x="615" y="367"/>
                  </a:lnTo>
                  <a:lnTo>
                    <a:pt x="618" y="365"/>
                  </a:lnTo>
                  <a:lnTo>
                    <a:pt x="621" y="362"/>
                  </a:lnTo>
                  <a:lnTo>
                    <a:pt x="622" y="358"/>
                  </a:lnTo>
                  <a:lnTo>
                    <a:pt x="614" y="349"/>
                  </a:lnTo>
                  <a:lnTo>
                    <a:pt x="612" y="348"/>
                  </a:lnTo>
                  <a:lnTo>
                    <a:pt x="599" y="346"/>
                  </a:lnTo>
                  <a:lnTo>
                    <a:pt x="594" y="344"/>
                  </a:lnTo>
                  <a:lnTo>
                    <a:pt x="589" y="339"/>
                  </a:lnTo>
                  <a:lnTo>
                    <a:pt x="577" y="327"/>
                  </a:lnTo>
                  <a:lnTo>
                    <a:pt x="575" y="325"/>
                  </a:lnTo>
                  <a:lnTo>
                    <a:pt x="572" y="325"/>
                  </a:lnTo>
                  <a:lnTo>
                    <a:pt x="568" y="325"/>
                  </a:lnTo>
                  <a:lnTo>
                    <a:pt x="567" y="326"/>
                  </a:lnTo>
                  <a:lnTo>
                    <a:pt x="561" y="332"/>
                  </a:lnTo>
                  <a:lnTo>
                    <a:pt x="558" y="334"/>
                  </a:lnTo>
                  <a:lnTo>
                    <a:pt x="552" y="335"/>
                  </a:lnTo>
                  <a:lnTo>
                    <a:pt x="549" y="337"/>
                  </a:lnTo>
                  <a:lnTo>
                    <a:pt x="548" y="341"/>
                  </a:lnTo>
                  <a:lnTo>
                    <a:pt x="530" y="373"/>
                  </a:lnTo>
                  <a:lnTo>
                    <a:pt x="528" y="375"/>
                  </a:lnTo>
                  <a:lnTo>
                    <a:pt x="524" y="376"/>
                  </a:lnTo>
                  <a:lnTo>
                    <a:pt x="521" y="376"/>
                  </a:lnTo>
                  <a:lnTo>
                    <a:pt x="517" y="374"/>
                  </a:lnTo>
                  <a:lnTo>
                    <a:pt x="514" y="372"/>
                  </a:lnTo>
                  <a:lnTo>
                    <a:pt x="513" y="365"/>
                  </a:lnTo>
                  <a:lnTo>
                    <a:pt x="511" y="364"/>
                  </a:lnTo>
                  <a:lnTo>
                    <a:pt x="509" y="363"/>
                  </a:lnTo>
                  <a:lnTo>
                    <a:pt x="508" y="361"/>
                  </a:lnTo>
                  <a:lnTo>
                    <a:pt x="507" y="359"/>
                  </a:lnTo>
                  <a:lnTo>
                    <a:pt x="507" y="357"/>
                  </a:lnTo>
                  <a:lnTo>
                    <a:pt x="506" y="355"/>
                  </a:lnTo>
                  <a:lnTo>
                    <a:pt x="506" y="354"/>
                  </a:lnTo>
                  <a:lnTo>
                    <a:pt x="501" y="343"/>
                  </a:lnTo>
                  <a:lnTo>
                    <a:pt x="500" y="341"/>
                  </a:lnTo>
                  <a:lnTo>
                    <a:pt x="495" y="341"/>
                  </a:lnTo>
                  <a:lnTo>
                    <a:pt x="480" y="333"/>
                  </a:lnTo>
                  <a:lnTo>
                    <a:pt x="478" y="333"/>
                  </a:lnTo>
                  <a:lnTo>
                    <a:pt x="475" y="333"/>
                  </a:lnTo>
                  <a:lnTo>
                    <a:pt x="469" y="336"/>
                  </a:lnTo>
                  <a:lnTo>
                    <a:pt x="462" y="337"/>
                  </a:lnTo>
                  <a:lnTo>
                    <a:pt x="454" y="337"/>
                  </a:lnTo>
                  <a:lnTo>
                    <a:pt x="446" y="335"/>
                  </a:lnTo>
                  <a:lnTo>
                    <a:pt x="440" y="329"/>
                  </a:lnTo>
                  <a:lnTo>
                    <a:pt x="439" y="325"/>
                  </a:lnTo>
                  <a:lnTo>
                    <a:pt x="438" y="321"/>
                  </a:lnTo>
                  <a:lnTo>
                    <a:pt x="436" y="318"/>
                  </a:lnTo>
                  <a:lnTo>
                    <a:pt x="434" y="315"/>
                  </a:lnTo>
                  <a:lnTo>
                    <a:pt x="431" y="314"/>
                  </a:lnTo>
                  <a:lnTo>
                    <a:pt x="421" y="315"/>
                  </a:lnTo>
                  <a:lnTo>
                    <a:pt x="407" y="313"/>
                  </a:lnTo>
                  <a:lnTo>
                    <a:pt x="405" y="312"/>
                  </a:lnTo>
                  <a:lnTo>
                    <a:pt x="402" y="306"/>
                  </a:lnTo>
                  <a:lnTo>
                    <a:pt x="399" y="304"/>
                  </a:lnTo>
                  <a:lnTo>
                    <a:pt x="399" y="304"/>
                  </a:lnTo>
                  <a:lnTo>
                    <a:pt x="399" y="304"/>
                  </a:lnTo>
                  <a:lnTo>
                    <a:pt x="396" y="303"/>
                  </a:lnTo>
                  <a:lnTo>
                    <a:pt x="397" y="300"/>
                  </a:lnTo>
                  <a:lnTo>
                    <a:pt x="398" y="297"/>
                  </a:lnTo>
                  <a:lnTo>
                    <a:pt x="401" y="295"/>
                  </a:lnTo>
                  <a:lnTo>
                    <a:pt x="405" y="294"/>
                  </a:lnTo>
                  <a:lnTo>
                    <a:pt x="414" y="295"/>
                  </a:lnTo>
                  <a:lnTo>
                    <a:pt x="418" y="294"/>
                  </a:lnTo>
                  <a:lnTo>
                    <a:pt x="425" y="292"/>
                  </a:lnTo>
                  <a:lnTo>
                    <a:pt x="427" y="290"/>
                  </a:lnTo>
                  <a:lnTo>
                    <a:pt x="428" y="286"/>
                  </a:lnTo>
                  <a:lnTo>
                    <a:pt x="426" y="282"/>
                  </a:lnTo>
                  <a:lnTo>
                    <a:pt x="424" y="280"/>
                  </a:lnTo>
                  <a:lnTo>
                    <a:pt x="418" y="278"/>
                  </a:lnTo>
                  <a:lnTo>
                    <a:pt x="415" y="276"/>
                  </a:lnTo>
                  <a:lnTo>
                    <a:pt x="407" y="275"/>
                  </a:lnTo>
                  <a:lnTo>
                    <a:pt x="403" y="272"/>
                  </a:lnTo>
                  <a:lnTo>
                    <a:pt x="403" y="271"/>
                  </a:lnTo>
                  <a:lnTo>
                    <a:pt x="403" y="269"/>
                  </a:lnTo>
                  <a:lnTo>
                    <a:pt x="403" y="268"/>
                  </a:lnTo>
                  <a:lnTo>
                    <a:pt x="400" y="268"/>
                  </a:lnTo>
                  <a:lnTo>
                    <a:pt x="398" y="267"/>
                  </a:lnTo>
                  <a:lnTo>
                    <a:pt x="398" y="266"/>
                  </a:lnTo>
                  <a:lnTo>
                    <a:pt x="399" y="263"/>
                  </a:lnTo>
                  <a:lnTo>
                    <a:pt x="400" y="261"/>
                  </a:lnTo>
                  <a:lnTo>
                    <a:pt x="401" y="261"/>
                  </a:lnTo>
                  <a:lnTo>
                    <a:pt x="405" y="261"/>
                  </a:lnTo>
                  <a:lnTo>
                    <a:pt x="407" y="260"/>
                  </a:lnTo>
                  <a:lnTo>
                    <a:pt x="409" y="258"/>
                  </a:lnTo>
                  <a:lnTo>
                    <a:pt x="410" y="257"/>
                  </a:lnTo>
                  <a:lnTo>
                    <a:pt x="410" y="256"/>
                  </a:lnTo>
                  <a:lnTo>
                    <a:pt x="410" y="252"/>
                  </a:lnTo>
                  <a:lnTo>
                    <a:pt x="411" y="251"/>
                  </a:lnTo>
                  <a:lnTo>
                    <a:pt x="412" y="250"/>
                  </a:lnTo>
                  <a:lnTo>
                    <a:pt x="412" y="249"/>
                  </a:lnTo>
                  <a:lnTo>
                    <a:pt x="412" y="248"/>
                  </a:lnTo>
                  <a:lnTo>
                    <a:pt x="412" y="246"/>
                  </a:lnTo>
                  <a:lnTo>
                    <a:pt x="412" y="245"/>
                  </a:lnTo>
                  <a:lnTo>
                    <a:pt x="412" y="244"/>
                  </a:lnTo>
                  <a:lnTo>
                    <a:pt x="413" y="243"/>
                  </a:lnTo>
                  <a:lnTo>
                    <a:pt x="415" y="241"/>
                  </a:lnTo>
                  <a:lnTo>
                    <a:pt x="416" y="240"/>
                  </a:lnTo>
                  <a:lnTo>
                    <a:pt x="418" y="240"/>
                  </a:lnTo>
                  <a:lnTo>
                    <a:pt x="421" y="238"/>
                  </a:lnTo>
                  <a:lnTo>
                    <a:pt x="421" y="236"/>
                  </a:lnTo>
                  <a:lnTo>
                    <a:pt x="420" y="233"/>
                  </a:lnTo>
                  <a:lnTo>
                    <a:pt x="419" y="231"/>
                  </a:lnTo>
                  <a:lnTo>
                    <a:pt x="415" y="226"/>
                  </a:lnTo>
                  <a:lnTo>
                    <a:pt x="411" y="223"/>
                  </a:lnTo>
                  <a:lnTo>
                    <a:pt x="406" y="221"/>
                  </a:lnTo>
                  <a:lnTo>
                    <a:pt x="390" y="215"/>
                  </a:lnTo>
                  <a:lnTo>
                    <a:pt x="383" y="215"/>
                  </a:lnTo>
                  <a:lnTo>
                    <a:pt x="380" y="214"/>
                  </a:lnTo>
                  <a:lnTo>
                    <a:pt x="375" y="210"/>
                  </a:lnTo>
                  <a:lnTo>
                    <a:pt x="372" y="207"/>
                  </a:lnTo>
                  <a:lnTo>
                    <a:pt x="367" y="199"/>
                  </a:lnTo>
                  <a:lnTo>
                    <a:pt x="364" y="197"/>
                  </a:lnTo>
                  <a:lnTo>
                    <a:pt x="362" y="197"/>
                  </a:lnTo>
                  <a:lnTo>
                    <a:pt x="360" y="200"/>
                  </a:lnTo>
                  <a:lnTo>
                    <a:pt x="358" y="201"/>
                  </a:lnTo>
                  <a:lnTo>
                    <a:pt x="357" y="201"/>
                  </a:lnTo>
                  <a:lnTo>
                    <a:pt x="355" y="199"/>
                  </a:lnTo>
                  <a:lnTo>
                    <a:pt x="354" y="198"/>
                  </a:lnTo>
                  <a:lnTo>
                    <a:pt x="352" y="197"/>
                  </a:lnTo>
                  <a:lnTo>
                    <a:pt x="345" y="193"/>
                  </a:lnTo>
                  <a:lnTo>
                    <a:pt x="339" y="191"/>
                  </a:lnTo>
                  <a:lnTo>
                    <a:pt x="337" y="188"/>
                  </a:lnTo>
                  <a:lnTo>
                    <a:pt x="331" y="181"/>
                  </a:lnTo>
                  <a:lnTo>
                    <a:pt x="320" y="171"/>
                  </a:lnTo>
                  <a:lnTo>
                    <a:pt x="315" y="163"/>
                  </a:lnTo>
                  <a:lnTo>
                    <a:pt x="313" y="161"/>
                  </a:lnTo>
                  <a:lnTo>
                    <a:pt x="310" y="160"/>
                  </a:lnTo>
                  <a:lnTo>
                    <a:pt x="307" y="159"/>
                  </a:lnTo>
                  <a:lnTo>
                    <a:pt x="305" y="158"/>
                  </a:lnTo>
                  <a:lnTo>
                    <a:pt x="304" y="154"/>
                  </a:lnTo>
                  <a:lnTo>
                    <a:pt x="308" y="152"/>
                  </a:lnTo>
                  <a:lnTo>
                    <a:pt x="310" y="149"/>
                  </a:lnTo>
                  <a:lnTo>
                    <a:pt x="310" y="146"/>
                  </a:lnTo>
                  <a:lnTo>
                    <a:pt x="308" y="141"/>
                  </a:lnTo>
                  <a:lnTo>
                    <a:pt x="303" y="133"/>
                  </a:lnTo>
                  <a:lnTo>
                    <a:pt x="303" y="129"/>
                  </a:lnTo>
                  <a:lnTo>
                    <a:pt x="304" y="123"/>
                  </a:lnTo>
                  <a:lnTo>
                    <a:pt x="306" y="119"/>
                  </a:lnTo>
                  <a:lnTo>
                    <a:pt x="307" y="117"/>
                  </a:lnTo>
                  <a:lnTo>
                    <a:pt x="307" y="114"/>
                  </a:lnTo>
                  <a:lnTo>
                    <a:pt x="307" y="102"/>
                  </a:lnTo>
                  <a:lnTo>
                    <a:pt x="307" y="100"/>
                  </a:lnTo>
                  <a:lnTo>
                    <a:pt x="308" y="98"/>
                  </a:lnTo>
                  <a:lnTo>
                    <a:pt x="308" y="96"/>
                  </a:lnTo>
                  <a:lnTo>
                    <a:pt x="307" y="94"/>
                  </a:lnTo>
                  <a:lnTo>
                    <a:pt x="305" y="93"/>
                  </a:lnTo>
                  <a:lnTo>
                    <a:pt x="303" y="93"/>
                  </a:lnTo>
                  <a:lnTo>
                    <a:pt x="302" y="95"/>
                  </a:lnTo>
                  <a:lnTo>
                    <a:pt x="301" y="98"/>
                  </a:lnTo>
                  <a:lnTo>
                    <a:pt x="299" y="99"/>
                  </a:lnTo>
                  <a:lnTo>
                    <a:pt x="297" y="100"/>
                  </a:lnTo>
                  <a:lnTo>
                    <a:pt x="294" y="99"/>
                  </a:lnTo>
                  <a:lnTo>
                    <a:pt x="293" y="98"/>
                  </a:lnTo>
                  <a:lnTo>
                    <a:pt x="291" y="95"/>
                  </a:lnTo>
                  <a:lnTo>
                    <a:pt x="287" y="90"/>
                  </a:lnTo>
                  <a:lnTo>
                    <a:pt x="286" y="88"/>
                  </a:lnTo>
                  <a:lnTo>
                    <a:pt x="285" y="86"/>
                  </a:lnTo>
                  <a:lnTo>
                    <a:pt x="285" y="85"/>
                  </a:lnTo>
                  <a:lnTo>
                    <a:pt x="285" y="81"/>
                  </a:lnTo>
                  <a:lnTo>
                    <a:pt x="284" y="79"/>
                  </a:lnTo>
                  <a:lnTo>
                    <a:pt x="283" y="77"/>
                  </a:lnTo>
                  <a:lnTo>
                    <a:pt x="280" y="75"/>
                  </a:lnTo>
                  <a:lnTo>
                    <a:pt x="279" y="75"/>
                  </a:lnTo>
                  <a:lnTo>
                    <a:pt x="274" y="65"/>
                  </a:lnTo>
                  <a:lnTo>
                    <a:pt x="272" y="63"/>
                  </a:lnTo>
                  <a:lnTo>
                    <a:pt x="269" y="61"/>
                  </a:lnTo>
                  <a:lnTo>
                    <a:pt x="263" y="61"/>
                  </a:lnTo>
                  <a:lnTo>
                    <a:pt x="260" y="59"/>
                  </a:lnTo>
                  <a:lnTo>
                    <a:pt x="251" y="52"/>
                  </a:lnTo>
                  <a:lnTo>
                    <a:pt x="248" y="50"/>
                  </a:lnTo>
                  <a:lnTo>
                    <a:pt x="242" y="47"/>
                  </a:lnTo>
                  <a:lnTo>
                    <a:pt x="240" y="45"/>
                  </a:lnTo>
                  <a:lnTo>
                    <a:pt x="237" y="41"/>
                  </a:lnTo>
                  <a:lnTo>
                    <a:pt x="234" y="31"/>
                  </a:lnTo>
                  <a:lnTo>
                    <a:pt x="232" y="27"/>
                  </a:lnTo>
                  <a:lnTo>
                    <a:pt x="222" y="15"/>
                  </a:lnTo>
                  <a:lnTo>
                    <a:pt x="213" y="7"/>
                  </a:lnTo>
                  <a:lnTo>
                    <a:pt x="210" y="6"/>
                  </a:lnTo>
                  <a:lnTo>
                    <a:pt x="206" y="8"/>
                  </a:lnTo>
                  <a:lnTo>
                    <a:pt x="205" y="8"/>
                  </a:lnTo>
                  <a:lnTo>
                    <a:pt x="204" y="8"/>
                  </a:lnTo>
                  <a:lnTo>
                    <a:pt x="202" y="6"/>
                  </a:lnTo>
                  <a:lnTo>
                    <a:pt x="201" y="5"/>
                  </a:lnTo>
                  <a:lnTo>
                    <a:pt x="199" y="4"/>
                  </a:lnTo>
                  <a:lnTo>
                    <a:pt x="197" y="4"/>
                  </a:lnTo>
                  <a:lnTo>
                    <a:pt x="193" y="7"/>
                  </a:lnTo>
                  <a:lnTo>
                    <a:pt x="189" y="7"/>
                  </a:lnTo>
                  <a:lnTo>
                    <a:pt x="182" y="3"/>
                  </a:lnTo>
                  <a:lnTo>
                    <a:pt x="172" y="2"/>
                  </a:lnTo>
                  <a:lnTo>
                    <a:pt x="166" y="4"/>
                  </a:lnTo>
                  <a:lnTo>
                    <a:pt x="163" y="5"/>
                  </a:lnTo>
                  <a:lnTo>
                    <a:pt x="150" y="10"/>
                  </a:lnTo>
                  <a:lnTo>
                    <a:pt x="147" y="10"/>
                  </a:lnTo>
                  <a:lnTo>
                    <a:pt x="137" y="3"/>
                  </a:lnTo>
                  <a:lnTo>
                    <a:pt x="134" y="1"/>
                  </a:lnTo>
                  <a:lnTo>
                    <a:pt x="131" y="0"/>
                  </a:lnTo>
                  <a:lnTo>
                    <a:pt x="128" y="0"/>
                  </a:lnTo>
                  <a:lnTo>
                    <a:pt x="118" y="2"/>
                  </a:lnTo>
                  <a:lnTo>
                    <a:pt x="115" y="2"/>
                  </a:lnTo>
                  <a:lnTo>
                    <a:pt x="112" y="2"/>
                  </a:lnTo>
                  <a:lnTo>
                    <a:pt x="108" y="4"/>
                  </a:lnTo>
                  <a:lnTo>
                    <a:pt x="104" y="6"/>
                  </a:lnTo>
                  <a:lnTo>
                    <a:pt x="102" y="9"/>
                  </a:lnTo>
                  <a:lnTo>
                    <a:pt x="102" y="11"/>
                  </a:lnTo>
                  <a:lnTo>
                    <a:pt x="103" y="13"/>
                  </a:lnTo>
                  <a:lnTo>
                    <a:pt x="104" y="15"/>
                  </a:lnTo>
                  <a:lnTo>
                    <a:pt x="100" y="17"/>
                  </a:lnTo>
                  <a:lnTo>
                    <a:pt x="98" y="19"/>
                  </a:lnTo>
                  <a:lnTo>
                    <a:pt x="98" y="20"/>
                  </a:lnTo>
                  <a:lnTo>
                    <a:pt x="97" y="22"/>
                  </a:lnTo>
                  <a:lnTo>
                    <a:pt x="94" y="24"/>
                  </a:lnTo>
                  <a:lnTo>
                    <a:pt x="93" y="25"/>
                  </a:lnTo>
                  <a:lnTo>
                    <a:pt x="91" y="25"/>
                  </a:lnTo>
                  <a:lnTo>
                    <a:pt x="89" y="26"/>
                  </a:lnTo>
                  <a:lnTo>
                    <a:pt x="88" y="28"/>
                  </a:lnTo>
                  <a:lnTo>
                    <a:pt x="86" y="30"/>
                  </a:lnTo>
                  <a:lnTo>
                    <a:pt x="85" y="32"/>
                  </a:lnTo>
                  <a:lnTo>
                    <a:pt x="82" y="33"/>
                  </a:lnTo>
                  <a:lnTo>
                    <a:pt x="76" y="33"/>
                  </a:lnTo>
                  <a:lnTo>
                    <a:pt x="73" y="33"/>
                  </a:lnTo>
                  <a:lnTo>
                    <a:pt x="72" y="35"/>
                  </a:lnTo>
                  <a:lnTo>
                    <a:pt x="70" y="36"/>
                  </a:lnTo>
                  <a:lnTo>
                    <a:pt x="69" y="39"/>
                  </a:lnTo>
                  <a:lnTo>
                    <a:pt x="68" y="41"/>
                  </a:lnTo>
                  <a:lnTo>
                    <a:pt x="66" y="44"/>
                  </a:lnTo>
                  <a:lnTo>
                    <a:pt x="62" y="45"/>
                  </a:lnTo>
                  <a:lnTo>
                    <a:pt x="48" y="43"/>
                  </a:lnTo>
                  <a:lnTo>
                    <a:pt x="44" y="41"/>
                  </a:lnTo>
                  <a:lnTo>
                    <a:pt x="44" y="41"/>
                  </a:lnTo>
                  <a:lnTo>
                    <a:pt x="42" y="36"/>
                  </a:lnTo>
                  <a:lnTo>
                    <a:pt x="39" y="35"/>
                  </a:lnTo>
                  <a:lnTo>
                    <a:pt x="35" y="37"/>
                  </a:lnTo>
                  <a:lnTo>
                    <a:pt x="32" y="41"/>
                  </a:lnTo>
                  <a:lnTo>
                    <a:pt x="32" y="48"/>
                  </a:lnTo>
                  <a:lnTo>
                    <a:pt x="30" y="49"/>
                  </a:lnTo>
                  <a:lnTo>
                    <a:pt x="25" y="48"/>
                  </a:lnTo>
                  <a:lnTo>
                    <a:pt x="22" y="51"/>
                  </a:lnTo>
                  <a:lnTo>
                    <a:pt x="21" y="51"/>
                  </a:lnTo>
                  <a:lnTo>
                    <a:pt x="21" y="52"/>
                  </a:lnTo>
                  <a:lnTo>
                    <a:pt x="21" y="53"/>
                  </a:lnTo>
                  <a:lnTo>
                    <a:pt x="22" y="55"/>
                  </a:lnTo>
                  <a:lnTo>
                    <a:pt x="23" y="56"/>
                  </a:lnTo>
                  <a:lnTo>
                    <a:pt x="23" y="57"/>
                  </a:lnTo>
                  <a:lnTo>
                    <a:pt x="22" y="57"/>
                  </a:lnTo>
                  <a:lnTo>
                    <a:pt x="19" y="56"/>
                  </a:lnTo>
                  <a:lnTo>
                    <a:pt x="9" y="55"/>
                  </a:lnTo>
                  <a:lnTo>
                    <a:pt x="10" y="59"/>
                  </a:lnTo>
                  <a:lnTo>
                    <a:pt x="7" y="60"/>
                  </a:lnTo>
                  <a:lnTo>
                    <a:pt x="6" y="62"/>
                  </a:lnTo>
                  <a:lnTo>
                    <a:pt x="4" y="63"/>
                  </a:lnTo>
                  <a:lnTo>
                    <a:pt x="8" y="66"/>
                  </a:lnTo>
                  <a:lnTo>
                    <a:pt x="9" y="68"/>
                  </a:lnTo>
                  <a:lnTo>
                    <a:pt x="10" y="70"/>
                  </a:lnTo>
                  <a:lnTo>
                    <a:pt x="9" y="71"/>
                  </a:lnTo>
                  <a:lnTo>
                    <a:pt x="7" y="71"/>
                  </a:lnTo>
                  <a:lnTo>
                    <a:pt x="1" y="72"/>
                  </a:lnTo>
                  <a:lnTo>
                    <a:pt x="1" y="78"/>
                  </a:lnTo>
                  <a:lnTo>
                    <a:pt x="1" y="80"/>
                  </a:lnTo>
                  <a:lnTo>
                    <a:pt x="0" y="80"/>
                  </a:lnTo>
                  <a:lnTo>
                    <a:pt x="0" y="81"/>
                  </a:lnTo>
                  <a:lnTo>
                    <a:pt x="1" y="83"/>
                  </a:lnTo>
                  <a:lnTo>
                    <a:pt x="3" y="85"/>
                  </a:lnTo>
                  <a:lnTo>
                    <a:pt x="4" y="87"/>
                  </a:lnTo>
                  <a:lnTo>
                    <a:pt x="9" y="93"/>
                  </a:lnTo>
                  <a:lnTo>
                    <a:pt x="10" y="96"/>
                  </a:lnTo>
                  <a:lnTo>
                    <a:pt x="10" y="103"/>
                  </a:lnTo>
                  <a:lnTo>
                    <a:pt x="11" y="106"/>
                  </a:lnTo>
                  <a:lnTo>
                    <a:pt x="14" y="108"/>
                  </a:lnTo>
                  <a:lnTo>
                    <a:pt x="16" y="109"/>
                  </a:lnTo>
                  <a:lnTo>
                    <a:pt x="19" y="111"/>
                  </a:lnTo>
                  <a:lnTo>
                    <a:pt x="20" y="115"/>
                  </a:lnTo>
                  <a:lnTo>
                    <a:pt x="19" y="117"/>
                  </a:lnTo>
                  <a:lnTo>
                    <a:pt x="14" y="123"/>
                  </a:lnTo>
                  <a:lnTo>
                    <a:pt x="13" y="124"/>
                  </a:lnTo>
                  <a:lnTo>
                    <a:pt x="10" y="126"/>
                  </a:lnTo>
                  <a:lnTo>
                    <a:pt x="10" y="130"/>
                  </a:lnTo>
                  <a:lnTo>
                    <a:pt x="10" y="134"/>
                  </a:lnTo>
                  <a:lnTo>
                    <a:pt x="9" y="136"/>
                  </a:lnTo>
                  <a:lnTo>
                    <a:pt x="10" y="138"/>
                  </a:lnTo>
                  <a:lnTo>
                    <a:pt x="14" y="143"/>
                  </a:lnTo>
                  <a:lnTo>
                    <a:pt x="15" y="144"/>
                  </a:lnTo>
                  <a:lnTo>
                    <a:pt x="18" y="144"/>
                  </a:lnTo>
                  <a:lnTo>
                    <a:pt x="20" y="143"/>
                  </a:lnTo>
                  <a:lnTo>
                    <a:pt x="22" y="140"/>
                  </a:lnTo>
                  <a:lnTo>
                    <a:pt x="25" y="139"/>
                  </a:lnTo>
                  <a:lnTo>
                    <a:pt x="26" y="138"/>
                  </a:lnTo>
                  <a:lnTo>
                    <a:pt x="27" y="138"/>
                  </a:lnTo>
                  <a:lnTo>
                    <a:pt x="29" y="139"/>
                  </a:lnTo>
                  <a:lnTo>
                    <a:pt x="30" y="141"/>
                  </a:lnTo>
                  <a:lnTo>
                    <a:pt x="30" y="142"/>
                  </a:lnTo>
                  <a:lnTo>
                    <a:pt x="31" y="143"/>
                  </a:lnTo>
                  <a:lnTo>
                    <a:pt x="33" y="144"/>
                  </a:lnTo>
                  <a:lnTo>
                    <a:pt x="35" y="145"/>
                  </a:lnTo>
                  <a:lnTo>
                    <a:pt x="38" y="146"/>
                  </a:lnTo>
                  <a:lnTo>
                    <a:pt x="40" y="147"/>
                  </a:lnTo>
                  <a:lnTo>
                    <a:pt x="41" y="150"/>
                  </a:lnTo>
                  <a:lnTo>
                    <a:pt x="37" y="155"/>
                  </a:lnTo>
                  <a:lnTo>
                    <a:pt x="27" y="153"/>
                  </a:lnTo>
                  <a:lnTo>
                    <a:pt x="26" y="153"/>
                  </a:lnTo>
                  <a:lnTo>
                    <a:pt x="24" y="159"/>
                  </a:lnTo>
                  <a:lnTo>
                    <a:pt x="25" y="163"/>
                  </a:lnTo>
                  <a:lnTo>
                    <a:pt x="26" y="164"/>
                  </a:lnTo>
                  <a:lnTo>
                    <a:pt x="30" y="168"/>
                  </a:lnTo>
                  <a:lnTo>
                    <a:pt x="30" y="170"/>
                  </a:lnTo>
                  <a:lnTo>
                    <a:pt x="29" y="173"/>
                  </a:lnTo>
                  <a:lnTo>
                    <a:pt x="21" y="177"/>
                  </a:lnTo>
                  <a:lnTo>
                    <a:pt x="23" y="180"/>
                  </a:lnTo>
                  <a:lnTo>
                    <a:pt x="25" y="183"/>
                  </a:lnTo>
                  <a:lnTo>
                    <a:pt x="28" y="185"/>
                  </a:lnTo>
                  <a:lnTo>
                    <a:pt x="31" y="186"/>
                  </a:lnTo>
                  <a:lnTo>
                    <a:pt x="38" y="186"/>
                  </a:lnTo>
                  <a:lnTo>
                    <a:pt x="39" y="187"/>
                  </a:lnTo>
                  <a:lnTo>
                    <a:pt x="40" y="189"/>
                  </a:lnTo>
                  <a:lnTo>
                    <a:pt x="40" y="191"/>
                  </a:lnTo>
                  <a:lnTo>
                    <a:pt x="40" y="193"/>
                  </a:lnTo>
                  <a:lnTo>
                    <a:pt x="44" y="198"/>
                  </a:lnTo>
                  <a:lnTo>
                    <a:pt x="50" y="201"/>
                  </a:lnTo>
                  <a:lnTo>
                    <a:pt x="82" y="210"/>
                  </a:lnTo>
                  <a:lnTo>
                    <a:pt x="84" y="214"/>
                  </a:lnTo>
                  <a:lnTo>
                    <a:pt x="88" y="215"/>
                  </a:lnTo>
                  <a:lnTo>
                    <a:pt x="89" y="220"/>
                  </a:lnTo>
                  <a:lnTo>
                    <a:pt x="89" y="225"/>
                  </a:lnTo>
                  <a:lnTo>
                    <a:pt x="87" y="227"/>
                  </a:lnTo>
                  <a:lnTo>
                    <a:pt x="87" y="227"/>
                  </a:lnTo>
                  <a:lnTo>
                    <a:pt x="73" y="228"/>
                  </a:lnTo>
                  <a:lnTo>
                    <a:pt x="72" y="227"/>
                  </a:lnTo>
                  <a:lnTo>
                    <a:pt x="71" y="226"/>
                  </a:lnTo>
                  <a:lnTo>
                    <a:pt x="70" y="225"/>
                  </a:lnTo>
                  <a:lnTo>
                    <a:pt x="69" y="226"/>
                  </a:lnTo>
                  <a:lnTo>
                    <a:pt x="68" y="227"/>
                  </a:lnTo>
                  <a:lnTo>
                    <a:pt x="68" y="227"/>
                  </a:lnTo>
                  <a:lnTo>
                    <a:pt x="67" y="228"/>
                  </a:lnTo>
                  <a:lnTo>
                    <a:pt x="60" y="229"/>
                  </a:lnTo>
                  <a:lnTo>
                    <a:pt x="57" y="229"/>
                  </a:lnTo>
                  <a:lnTo>
                    <a:pt x="54" y="227"/>
                  </a:lnTo>
                  <a:lnTo>
                    <a:pt x="52" y="226"/>
                  </a:lnTo>
                  <a:lnTo>
                    <a:pt x="49" y="222"/>
                  </a:lnTo>
                  <a:lnTo>
                    <a:pt x="47" y="221"/>
                  </a:lnTo>
                  <a:lnTo>
                    <a:pt x="44" y="222"/>
                  </a:lnTo>
                  <a:lnTo>
                    <a:pt x="45" y="225"/>
                  </a:lnTo>
                  <a:lnTo>
                    <a:pt x="47" y="229"/>
                  </a:lnTo>
                  <a:lnTo>
                    <a:pt x="46" y="232"/>
                  </a:lnTo>
                  <a:lnTo>
                    <a:pt x="43" y="233"/>
                  </a:lnTo>
                  <a:lnTo>
                    <a:pt x="34" y="232"/>
                  </a:lnTo>
                  <a:lnTo>
                    <a:pt x="32" y="235"/>
                  </a:lnTo>
                  <a:lnTo>
                    <a:pt x="32" y="236"/>
                  </a:lnTo>
                  <a:lnTo>
                    <a:pt x="33" y="238"/>
                  </a:lnTo>
                  <a:lnTo>
                    <a:pt x="35" y="240"/>
                  </a:lnTo>
                  <a:lnTo>
                    <a:pt x="36" y="241"/>
                  </a:lnTo>
                  <a:lnTo>
                    <a:pt x="37" y="244"/>
                  </a:lnTo>
                  <a:lnTo>
                    <a:pt x="38" y="246"/>
                  </a:lnTo>
                  <a:lnTo>
                    <a:pt x="38" y="251"/>
                  </a:lnTo>
                  <a:lnTo>
                    <a:pt x="40" y="258"/>
                  </a:lnTo>
                  <a:lnTo>
                    <a:pt x="40" y="261"/>
                  </a:lnTo>
                  <a:lnTo>
                    <a:pt x="40" y="263"/>
                  </a:lnTo>
                  <a:lnTo>
                    <a:pt x="39" y="266"/>
                  </a:lnTo>
                  <a:lnTo>
                    <a:pt x="38" y="268"/>
                  </a:lnTo>
                  <a:lnTo>
                    <a:pt x="38" y="270"/>
                  </a:lnTo>
                  <a:lnTo>
                    <a:pt x="40" y="272"/>
                  </a:lnTo>
                  <a:lnTo>
                    <a:pt x="43" y="271"/>
                  </a:lnTo>
                  <a:lnTo>
                    <a:pt x="45" y="272"/>
                  </a:lnTo>
                  <a:lnTo>
                    <a:pt x="45" y="276"/>
                  </a:lnTo>
                  <a:lnTo>
                    <a:pt x="44" y="277"/>
                  </a:lnTo>
                  <a:lnTo>
                    <a:pt x="43" y="278"/>
                  </a:lnTo>
                  <a:lnTo>
                    <a:pt x="41" y="279"/>
                  </a:lnTo>
                  <a:lnTo>
                    <a:pt x="39" y="283"/>
                  </a:lnTo>
                  <a:lnTo>
                    <a:pt x="37" y="285"/>
                  </a:lnTo>
                  <a:lnTo>
                    <a:pt x="35" y="286"/>
                  </a:lnTo>
                  <a:lnTo>
                    <a:pt x="33" y="286"/>
                  </a:lnTo>
                  <a:lnTo>
                    <a:pt x="30" y="283"/>
                  </a:lnTo>
                  <a:lnTo>
                    <a:pt x="27" y="282"/>
                  </a:lnTo>
                  <a:lnTo>
                    <a:pt x="23" y="284"/>
                  </a:lnTo>
                  <a:lnTo>
                    <a:pt x="24" y="289"/>
                  </a:lnTo>
                  <a:lnTo>
                    <a:pt x="27" y="295"/>
                  </a:lnTo>
                  <a:lnTo>
                    <a:pt x="32" y="294"/>
                  </a:lnTo>
                  <a:lnTo>
                    <a:pt x="35" y="293"/>
                  </a:lnTo>
                  <a:lnTo>
                    <a:pt x="38" y="292"/>
                  </a:lnTo>
                  <a:lnTo>
                    <a:pt x="52" y="282"/>
                  </a:lnTo>
                  <a:lnTo>
                    <a:pt x="54" y="281"/>
                  </a:lnTo>
                  <a:lnTo>
                    <a:pt x="55" y="283"/>
                  </a:lnTo>
                  <a:lnTo>
                    <a:pt x="56" y="285"/>
                  </a:lnTo>
                  <a:lnTo>
                    <a:pt x="57" y="286"/>
                  </a:lnTo>
                  <a:lnTo>
                    <a:pt x="58" y="286"/>
                  </a:lnTo>
                  <a:lnTo>
                    <a:pt x="61" y="285"/>
                  </a:lnTo>
                  <a:lnTo>
                    <a:pt x="63" y="284"/>
                  </a:lnTo>
                  <a:lnTo>
                    <a:pt x="69" y="286"/>
                  </a:lnTo>
                  <a:lnTo>
                    <a:pt x="71" y="285"/>
                  </a:lnTo>
                  <a:lnTo>
                    <a:pt x="72" y="285"/>
                  </a:lnTo>
                  <a:lnTo>
                    <a:pt x="74" y="285"/>
                  </a:lnTo>
                  <a:lnTo>
                    <a:pt x="77" y="288"/>
                  </a:lnTo>
                  <a:lnTo>
                    <a:pt x="79" y="288"/>
                  </a:lnTo>
                  <a:lnTo>
                    <a:pt x="80" y="288"/>
                  </a:lnTo>
                  <a:lnTo>
                    <a:pt x="81" y="288"/>
                  </a:lnTo>
                  <a:lnTo>
                    <a:pt x="81" y="288"/>
                  </a:lnTo>
                  <a:lnTo>
                    <a:pt x="81" y="289"/>
                  </a:lnTo>
                  <a:lnTo>
                    <a:pt x="81" y="289"/>
                  </a:lnTo>
                  <a:lnTo>
                    <a:pt x="82" y="290"/>
                  </a:lnTo>
                  <a:lnTo>
                    <a:pt x="83" y="290"/>
                  </a:lnTo>
                  <a:lnTo>
                    <a:pt x="84" y="292"/>
                  </a:lnTo>
                  <a:lnTo>
                    <a:pt x="84" y="294"/>
                  </a:lnTo>
                  <a:lnTo>
                    <a:pt x="84" y="296"/>
                  </a:lnTo>
                  <a:lnTo>
                    <a:pt x="84" y="296"/>
                  </a:lnTo>
                  <a:lnTo>
                    <a:pt x="83" y="297"/>
                  </a:lnTo>
                  <a:lnTo>
                    <a:pt x="82" y="298"/>
                  </a:lnTo>
                  <a:lnTo>
                    <a:pt x="77" y="324"/>
                  </a:lnTo>
                  <a:lnTo>
                    <a:pt x="75" y="329"/>
                  </a:lnTo>
                  <a:lnTo>
                    <a:pt x="74" y="331"/>
                  </a:lnTo>
                  <a:lnTo>
                    <a:pt x="70" y="334"/>
                  </a:lnTo>
                  <a:lnTo>
                    <a:pt x="69" y="335"/>
                  </a:lnTo>
                  <a:lnTo>
                    <a:pt x="67" y="338"/>
                  </a:lnTo>
                  <a:lnTo>
                    <a:pt x="65" y="344"/>
                  </a:lnTo>
                  <a:lnTo>
                    <a:pt x="58" y="357"/>
                  </a:lnTo>
                  <a:lnTo>
                    <a:pt x="57" y="358"/>
                  </a:lnTo>
                  <a:lnTo>
                    <a:pt x="55" y="359"/>
                  </a:lnTo>
                  <a:lnTo>
                    <a:pt x="54" y="360"/>
                  </a:lnTo>
                  <a:lnTo>
                    <a:pt x="54" y="361"/>
                  </a:lnTo>
                  <a:lnTo>
                    <a:pt x="54" y="365"/>
                  </a:lnTo>
                  <a:lnTo>
                    <a:pt x="54" y="366"/>
                  </a:lnTo>
                  <a:lnTo>
                    <a:pt x="53" y="368"/>
                  </a:lnTo>
                  <a:lnTo>
                    <a:pt x="52" y="370"/>
                  </a:lnTo>
                  <a:lnTo>
                    <a:pt x="51" y="371"/>
                  </a:lnTo>
                  <a:lnTo>
                    <a:pt x="45" y="373"/>
                  </a:lnTo>
                  <a:lnTo>
                    <a:pt x="45" y="376"/>
                  </a:lnTo>
                  <a:lnTo>
                    <a:pt x="47" y="386"/>
                  </a:lnTo>
                  <a:lnTo>
                    <a:pt x="47" y="392"/>
                  </a:lnTo>
                  <a:lnTo>
                    <a:pt x="45" y="395"/>
                  </a:lnTo>
                  <a:lnTo>
                    <a:pt x="43" y="398"/>
                  </a:lnTo>
                  <a:lnTo>
                    <a:pt x="42" y="402"/>
                  </a:lnTo>
                  <a:lnTo>
                    <a:pt x="42" y="407"/>
                  </a:lnTo>
                  <a:lnTo>
                    <a:pt x="43" y="411"/>
                  </a:lnTo>
                  <a:lnTo>
                    <a:pt x="47" y="419"/>
                  </a:lnTo>
                  <a:lnTo>
                    <a:pt x="49" y="422"/>
                  </a:lnTo>
                  <a:lnTo>
                    <a:pt x="53" y="424"/>
                  </a:lnTo>
                  <a:lnTo>
                    <a:pt x="59" y="425"/>
                  </a:lnTo>
                  <a:lnTo>
                    <a:pt x="63" y="427"/>
                  </a:lnTo>
                  <a:lnTo>
                    <a:pt x="64" y="427"/>
                  </a:lnTo>
                  <a:lnTo>
                    <a:pt x="66" y="427"/>
                  </a:lnTo>
                  <a:lnTo>
                    <a:pt x="72" y="426"/>
                  </a:lnTo>
                  <a:lnTo>
                    <a:pt x="73" y="427"/>
                  </a:lnTo>
                  <a:lnTo>
                    <a:pt x="76" y="429"/>
                  </a:lnTo>
                  <a:lnTo>
                    <a:pt x="79" y="433"/>
                  </a:lnTo>
                  <a:lnTo>
                    <a:pt x="81" y="438"/>
                  </a:lnTo>
                  <a:lnTo>
                    <a:pt x="81" y="442"/>
                  </a:lnTo>
                  <a:lnTo>
                    <a:pt x="82" y="445"/>
                  </a:lnTo>
                  <a:lnTo>
                    <a:pt x="85" y="448"/>
                  </a:lnTo>
                  <a:lnTo>
                    <a:pt x="92" y="453"/>
                  </a:lnTo>
                  <a:lnTo>
                    <a:pt x="94" y="455"/>
                  </a:lnTo>
                  <a:lnTo>
                    <a:pt x="95" y="456"/>
                  </a:lnTo>
                  <a:lnTo>
                    <a:pt x="96" y="455"/>
                  </a:lnTo>
                  <a:lnTo>
                    <a:pt x="98" y="453"/>
                  </a:lnTo>
                  <a:lnTo>
                    <a:pt x="98" y="453"/>
                  </a:lnTo>
                  <a:lnTo>
                    <a:pt x="100" y="455"/>
                  </a:lnTo>
                  <a:lnTo>
                    <a:pt x="100" y="459"/>
                  </a:lnTo>
                  <a:lnTo>
                    <a:pt x="101" y="461"/>
                  </a:lnTo>
                  <a:lnTo>
                    <a:pt x="103" y="463"/>
                  </a:lnTo>
                  <a:lnTo>
                    <a:pt x="107" y="467"/>
                  </a:lnTo>
                  <a:lnTo>
                    <a:pt x="108" y="468"/>
                  </a:lnTo>
                  <a:lnTo>
                    <a:pt x="113" y="471"/>
                  </a:lnTo>
                  <a:lnTo>
                    <a:pt x="115" y="475"/>
                  </a:lnTo>
                  <a:lnTo>
                    <a:pt x="117" y="476"/>
                  </a:lnTo>
                  <a:lnTo>
                    <a:pt x="117" y="475"/>
                  </a:lnTo>
                  <a:lnTo>
                    <a:pt x="118" y="474"/>
                  </a:lnTo>
                  <a:lnTo>
                    <a:pt x="120" y="473"/>
                  </a:lnTo>
                  <a:lnTo>
                    <a:pt x="122" y="475"/>
                  </a:lnTo>
                  <a:lnTo>
                    <a:pt x="123" y="479"/>
                  </a:lnTo>
                  <a:lnTo>
                    <a:pt x="122" y="483"/>
                  </a:lnTo>
                  <a:lnTo>
                    <a:pt x="119" y="486"/>
                  </a:lnTo>
                  <a:lnTo>
                    <a:pt x="112" y="491"/>
                  </a:lnTo>
                  <a:lnTo>
                    <a:pt x="108" y="492"/>
                  </a:lnTo>
                  <a:lnTo>
                    <a:pt x="104" y="492"/>
                  </a:lnTo>
                  <a:lnTo>
                    <a:pt x="96" y="491"/>
                  </a:lnTo>
                  <a:lnTo>
                    <a:pt x="87" y="492"/>
                  </a:lnTo>
                  <a:lnTo>
                    <a:pt x="85" y="493"/>
                  </a:lnTo>
                  <a:lnTo>
                    <a:pt x="83" y="493"/>
                  </a:lnTo>
                  <a:lnTo>
                    <a:pt x="80" y="492"/>
                  </a:lnTo>
                  <a:lnTo>
                    <a:pt x="76" y="488"/>
                  </a:lnTo>
                  <a:lnTo>
                    <a:pt x="72" y="485"/>
                  </a:lnTo>
                  <a:lnTo>
                    <a:pt x="70" y="484"/>
                  </a:lnTo>
                  <a:lnTo>
                    <a:pt x="68" y="484"/>
                  </a:lnTo>
                  <a:lnTo>
                    <a:pt x="64" y="486"/>
                  </a:lnTo>
                  <a:lnTo>
                    <a:pt x="63" y="486"/>
                  </a:lnTo>
                  <a:lnTo>
                    <a:pt x="62" y="489"/>
                  </a:lnTo>
                  <a:lnTo>
                    <a:pt x="62" y="490"/>
                  </a:lnTo>
                  <a:lnTo>
                    <a:pt x="63" y="493"/>
                  </a:lnTo>
                  <a:lnTo>
                    <a:pt x="63" y="495"/>
                  </a:lnTo>
                  <a:lnTo>
                    <a:pt x="61" y="496"/>
                  </a:lnTo>
                  <a:lnTo>
                    <a:pt x="63" y="497"/>
                  </a:lnTo>
                  <a:lnTo>
                    <a:pt x="68" y="502"/>
                  </a:lnTo>
                  <a:lnTo>
                    <a:pt x="73" y="508"/>
                  </a:lnTo>
                  <a:lnTo>
                    <a:pt x="82" y="522"/>
                  </a:lnTo>
                  <a:lnTo>
                    <a:pt x="98" y="539"/>
                  </a:lnTo>
                  <a:lnTo>
                    <a:pt x="101" y="546"/>
                  </a:lnTo>
                  <a:lnTo>
                    <a:pt x="105" y="559"/>
                  </a:lnTo>
                  <a:lnTo>
                    <a:pt x="105" y="564"/>
                  </a:lnTo>
                  <a:lnTo>
                    <a:pt x="101" y="569"/>
                  </a:lnTo>
                  <a:lnTo>
                    <a:pt x="100" y="571"/>
                  </a:lnTo>
                  <a:lnTo>
                    <a:pt x="100" y="574"/>
                  </a:lnTo>
                  <a:lnTo>
                    <a:pt x="100" y="577"/>
                  </a:lnTo>
                  <a:lnTo>
                    <a:pt x="101" y="579"/>
                  </a:lnTo>
                  <a:lnTo>
                    <a:pt x="102" y="581"/>
                  </a:lnTo>
                  <a:lnTo>
                    <a:pt x="103" y="582"/>
                  </a:lnTo>
                  <a:lnTo>
                    <a:pt x="102" y="583"/>
                  </a:lnTo>
                  <a:lnTo>
                    <a:pt x="101" y="583"/>
                  </a:lnTo>
                  <a:lnTo>
                    <a:pt x="95" y="581"/>
                  </a:lnTo>
                  <a:lnTo>
                    <a:pt x="93" y="581"/>
                  </a:lnTo>
                  <a:lnTo>
                    <a:pt x="91" y="586"/>
                  </a:lnTo>
                  <a:lnTo>
                    <a:pt x="90" y="588"/>
                  </a:lnTo>
                  <a:lnTo>
                    <a:pt x="88" y="586"/>
                  </a:lnTo>
                  <a:lnTo>
                    <a:pt x="87" y="582"/>
                  </a:lnTo>
                  <a:lnTo>
                    <a:pt x="85" y="578"/>
                  </a:lnTo>
                  <a:lnTo>
                    <a:pt x="82" y="574"/>
                  </a:lnTo>
                  <a:lnTo>
                    <a:pt x="79" y="573"/>
                  </a:lnTo>
                  <a:lnTo>
                    <a:pt x="78" y="573"/>
                  </a:lnTo>
                  <a:lnTo>
                    <a:pt x="74" y="576"/>
                  </a:lnTo>
                  <a:lnTo>
                    <a:pt x="72" y="577"/>
                  </a:lnTo>
                  <a:lnTo>
                    <a:pt x="70" y="577"/>
                  </a:lnTo>
                  <a:lnTo>
                    <a:pt x="66" y="577"/>
                  </a:lnTo>
                  <a:lnTo>
                    <a:pt x="65" y="577"/>
                  </a:lnTo>
                  <a:lnTo>
                    <a:pt x="63" y="581"/>
                  </a:lnTo>
                  <a:lnTo>
                    <a:pt x="61" y="586"/>
                  </a:lnTo>
                  <a:lnTo>
                    <a:pt x="59" y="589"/>
                  </a:lnTo>
                  <a:lnTo>
                    <a:pt x="55" y="589"/>
                  </a:lnTo>
                  <a:lnTo>
                    <a:pt x="52" y="594"/>
                  </a:lnTo>
                  <a:lnTo>
                    <a:pt x="53" y="601"/>
                  </a:lnTo>
                  <a:lnTo>
                    <a:pt x="55" y="607"/>
                  </a:lnTo>
                  <a:lnTo>
                    <a:pt x="59" y="610"/>
                  </a:lnTo>
                  <a:lnTo>
                    <a:pt x="81" y="620"/>
                  </a:lnTo>
                  <a:lnTo>
                    <a:pt x="84" y="622"/>
                  </a:lnTo>
                  <a:lnTo>
                    <a:pt x="90" y="632"/>
                  </a:lnTo>
                  <a:lnTo>
                    <a:pt x="100" y="642"/>
                  </a:lnTo>
                  <a:lnTo>
                    <a:pt x="102" y="644"/>
                  </a:lnTo>
                  <a:lnTo>
                    <a:pt x="104" y="651"/>
                  </a:lnTo>
                  <a:lnTo>
                    <a:pt x="106" y="653"/>
                  </a:lnTo>
                  <a:lnTo>
                    <a:pt x="112" y="658"/>
                  </a:lnTo>
                  <a:lnTo>
                    <a:pt x="112" y="658"/>
                  </a:lnTo>
                  <a:lnTo>
                    <a:pt x="117" y="664"/>
                  </a:lnTo>
                  <a:lnTo>
                    <a:pt x="119" y="667"/>
                  </a:lnTo>
                  <a:lnTo>
                    <a:pt x="123" y="669"/>
                  </a:lnTo>
                  <a:lnTo>
                    <a:pt x="130" y="671"/>
                  </a:lnTo>
                  <a:lnTo>
                    <a:pt x="133" y="671"/>
                  </a:lnTo>
                  <a:lnTo>
                    <a:pt x="135" y="671"/>
                  </a:lnTo>
                  <a:lnTo>
                    <a:pt x="137" y="669"/>
                  </a:lnTo>
                  <a:lnTo>
                    <a:pt x="138" y="669"/>
                  </a:lnTo>
                  <a:lnTo>
                    <a:pt x="142" y="678"/>
                  </a:lnTo>
                  <a:lnTo>
                    <a:pt x="145" y="681"/>
                  </a:lnTo>
                  <a:lnTo>
                    <a:pt x="149" y="684"/>
                  </a:lnTo>
                  <a:lnTo>
                    <a:pt x="152" y="686"/>
                  </a:lnTo>
                  <a:lnTo>
                    <a:pt x="157" y="686"/>
                  </a:lnTo>
                  <a:lnTo>
                    <a:pt x="163" y="686"/>
                  </a:lnTo>
                  <a:lnTo>
                    <a:pt x="165" y="684"/>
                  </a:lnTo>
                  <a:lnTo>
                    <a:pt x="169" y="681"/>
                  </a:lnTo>
                  <a:lnTo>
                    <a:pt x="170" y="680"/>
                  </a:lnTo>
                  <a:lnTo>
                    <a:pt x="172" y="681"/>
                  </a:lnTo>
                  <a:lnTo>
                    <a:pt x="173" y="682"/>
                  </a:lnTo>
                  <a:lnTo>
                    <a:pt x="174" y="684"/>
                  </a:lnTo>
                  <a:lnTo>
                    <a:pt x="175" y="686"/>
                  </a:lnTo>
                  <a:lnTo>
                    <a:pt x="177" y="688"/>
                  </a:lnTo>
                  <a:lnTo>
                    <a:pt x="186" y="695"/>
                  </a:lnTo>
                  <a:lnTo>
                    <a:pt x="192" y="700"/>
                  </a:lnTo>
                  <a:lnTo>
                    <a:pt x="192" y="701"/>
                  </a:lnTo>
                  <a:lnTo>
                    <a:pt x="202" y="710"/>
                  </a:lnTo>
                  <a:lnTo>
                    <a:pt x="204" y="711"/>
                  </a:lnTo>
                  <a:lnTo>
                    <a:pt x="206" y="711"/>
                  </a:lnTo>
                  <a:lnTo>
                    <a:pt x="214" y="712"/>
                  </a:lnTo>
                  <a:lnTo>
                    <a:pt x="219" y="714"/>
                  </a:lnTo>
                  <a:lnTo>
                    <a:pt x="227" y="720"/>
                  </a:lnTo>
                  <a:lnTo>
                    <a:pt x="237" y="725"/>
                  </a:lnTo>
                  <a:lnTo>
                    <a:pt x="240" y="729"/>
                  </a:lnTo>
                  <a:lnTo>
                    <a:pt x="240" y="734"/>
                  </a:lnTo>
                  <a:lnTo>
                    <a:pt x="238" y="742"/>
                  </a:lnTo>
                  <a:lnTo>
                    <a:pt x="225" y="745"/>
                  </a:lnTo>
                  <a:lnTo>
                    <a:pt x="219" y="747"/>
                  </a:lnTo>
                  <a:lnTo>
                    <a:pt x="218" y="748"/>
                  </a:lnTo>
                  <a:lnTo>
                    <a:pt x="216" y="750"/>
                  </a:lnTo>
                  <a:lnTo>
                    <a:pt x="216" y="752"/>
                  </a:lnTo>
                  <a:lnTo>
                    <a:pt x="217" y="754"/>
                  </a:lnTo>
                  <a:lnTo>
                    <a:pt x="216" y="756"/>
                  </a:lnTo>
                  <a:lnTo>
                    <a:pt x="212" y="761"/>
                  </a:lnTo>
                  <a:lnTo>
                    <a:pt x="207" y="759"/>
                  </a:lnTo>
                  <a:lnTo>
                    <a:pt x="201" y="755"/>
                  </a:lnTo>
                  <a:lnTo>
                    <a:pt x="196" y="754"/>
                  </a:lnTo>
                  <a:lnTo>
                    <a:pt x="194" y="755"/>
                  </a:lnTo>
                  <a:lnTo>
                    <a:pt x="192" y="756"/>
                  </a:lnTo>
                  <a:lnTo>
                    <a:pt x="189" y="759"/>
                  </a:lnTo>
                  <a:lnTo>
                    <a:pt x="187" y="760"/>
                  </a:lnTo>
                  <a:lnTo>
                    <a:pt x="187" y="765"/>
                  </a:lnTo>
                  <a:lnTo>
                    <a:pt x="189" y="768"/>
                  </a:lnTo>
                  <a:lnTo>
                    <a:pt x="189" y="768"/>
                  </a:lnTo>
                  <a:lnTo>
                    <a:pt x="198" y="777"/>
                  </a:lnTo>
                  <a:lnTo>
                    <a:pt x="200" y="779"/>
                  </a:lnTo>
                  <a:lnTo>
                    <a:pt x="200" y="780"/>
                  </a:lnTo>
                  <a:lnTo>
                    <a:pt x="198" y="785"/>
                  </a:lnTo>
                  <a:lnTo>
                    <a:pt x="196" y="789"/>
                  </a:lnTo>
                  <a:lnTo>
                    <a:pt x="195" y="791"/>
                  </a:lnTo>
                  <a:lnTo>
                    <a:pt x="195" y="794"/>
                  </a:lnTo>
                  <a:lnTo>
                    <a:pt x="196" y="797"/>
                  </a:lnTo>
                  <a:lnTo>
                    <a:pt x="196" y="800"/>
                  </a:lnTo>
                  <a:lnTo>
                    <a:pt x="194" y="803"/>
                  </a:lnTo>
                  <a:lnTo>
                    <a:pt x="197" y="806"/>
                  </a:lnTo>
                  <a:lnTo>
                    <a:pt x="205" y="811"/>
                  </a:lnTo>
                  <a:lnTo>
                    <a:pt x="207" y="814"/>
                  </a:lnTo>
                  <a:lnTo>
                    <a:pt x="207" y="814"/>
                  </a:lnTo>
                  <a:lnTo>
                    <a:pt x="207" y="814"/>
                  </a:lnTo>
                  <a:lnTo>
                    <a:pt x="207" y="814"/>
                  </a:lnTo>
                  <a:lnTo>
                    <a:pt x="207" y="814"/>
                  </a:lnTo>
                  <a:lnTo>
                    <a:pt x="212" y="825"/>
                  </a:lnTo>
                  <a:lnTo>
                    <a:pt x="213" y="826"/>
                  </a:lnTo>
                  <a:lnTo>
                    <a:pt x="215" y="828"/>
                  </a:lnTo>
                  <a:lnTo>
                    <a:pt x="216" y="830"/>
                  </a:lnTo>
                  <a:lnTo>
                    <a:pt x="216" y="832"/>
                  </a:lnTo>
                  <a:lnTo>
                    <a:pt x="214" y="834"/>
                  </a:lnTo>
                  <a:lnTo>
                    <a:pt x="214" y="836"/>
                  </a:lnTo>
                  <a:lnTo>
                    <a:pt x="215" y="837"/>
                  </a:lnTo>
                  <a:lnTo>
                    <a:pt x="217" y="839"/>
                  </a:lnTo>
                  <a:lnTo>
                    <a:pt x="218" y="840"/>
                  </a:lnTo>
                  <a:lnTo>
                    <a:pt x="218" y="842"/>
                  </a:lnTo>
                  <a:lnTo>
                    <a:pt x="218" y="845"/>
                  </a:lnTo>
                  <a:lnTo>
                    <a:pt x="218" y="847"/>
                  </a:lnTo>
                  <a:lnTo>
                    <a:pt x="220" y="850"/>
                  </a:lnTo>
                  <a:lnTo>
                    <a:pt x="221" y="851"/>
                  </a:lnTo>
                  <a:lnTo>
                    <a:pt x="223" y="852"/>
                  </a:lnTo>
                  <a:lnTo>
                    <a:pt x="234" y="852"/>
                  </a:lnTo>
                  <a:lnTo>
                    <a:pt x="236" y="852"/>
                  </a:lnTo>
                  <a:lnTo>
                    <a:pt x="256" y="866"/>
                  </a:lnTo>
                  <a:lnTo>
                    <a:pt x="259" y="869"/>
                  </a:lnTo>
                  <a:lnTo>
                    <a:pt x="260" y="871"/>
                  </a:lnTo>
                  <a:lnTo>
                    <a:pt x="263" y="875"/>
                  </a:lnTo>
                  <a:lnTo>
                    <a:pt x="269" y="888"/>
                  </a:lnTo>
                  <a:lnTo>
                    <a:pt x="270" y="893"/>
                  </a:lnTo>
                  <a:lnTo>
                    <a:pt x="271" y="897"/>
                  </a:lnTo>
                  <a:lnTo>
                    <a:pt x="271" y="904"/>
                  </a:lnTo>
                  <a:lnTo>
                    <a:pt x="272" y="908"/>
                  </a:lnTo>
                  <a:lnTo>
                    <a:pt x="277" y="921"/>
                  </a:lnTo>
                  <a:lnTo>
                    <a:pt x="278" y="925"/>
                  </a:lnTo>
                  <a:lnTo>
                    <a:pt x="279" y="928"/>
                  </a:lnTo>
                  <a:lnTo>
                    <a:pt x="279" y="931"/>
                  </a:lnTo>
                  <a:lnTo>
                    <a:pt x="277" y="935"/>
                  </a:lnTo>
                  <a:lnTo>
                    <a:pt x="275" y="936"/>
                  </a:lnTo>
                  <a:lnTo>
                    <a:pt x="274" y="937"/>
                  </a:lnTo>
                  <a:lnTo>
                    <a:pt x="273" y="938"/>
                  </a:lnTo>
                  <a:lnTo>
                    <a:pt x="273" y="941"/>
                  </a:lnTo>
                  <a:lnTo>
                    <a:pt x="273" y="942"/>
                  </a:lnTo>
                  <a:lnTo>
                    <a:pt x="274" y="945"/>
                  </a:lnTo>
                  <a:lnTo>
                    <a:pt x="273" y="947"/>
                  </a:lnTo>
                  <a:lnTo>
                    <a:pt x="277" y="950"/>
                  </a:lnTo>
                  <a:lnTo>
                    <a:pt x="279" y="951"/>
                  </a:lnTo>
                  <a:lnTo>
                    <a:pt x="281" y="951"/>
                  </a:lnTo>
                  <a:lnTo>
                    <a:pt x="283" y="950"/>
                  </a:lnTo>
                  <a:lnTo>
                    <a:pt x="284" y="947"/>
                  </a:lnTo>
                  <a:lnTo>
                    <a:pt x="285" y="946"/>
                  </a:lnTo>
                  <a:lnTo>
                    <a:pt x="287" y="947"/>
                  </a:lnTo>
                  <a:lnTo>
                    <a:pt x="290" y="952"/>
                  </a:lnTo>
                  <a:lnTo>
                    <a:pt x="291" y="953"/>
                  </a:lnTo>
                  <a:lnTo>
                    <a:pt x="295" y="952"/>
                  </a:lnTo>
                  <a:lnTo>
                    <a:pt x="297" y="950"/>
                  </a:lnTo>
                  <a:lnTo>
                    <a:pt x="298" y="948"/>
                  </a:lnTo>
                  <a:lnTo>
                    <a:pt x="301" y="943"/>
                  </a:lnTo>
                  <a:lnTo>
                    <a:pt x="303" y="940"/>
                  </a:lnTo>
                  <a:lnTo>
                    <a:pt x="303" y="939"/>
                  </a:lnTo>
                  <a:lnTo>
                    <a:pt x="303" y="934"/>
                  </a:lnTo>
                  <a:lnTo>
                    <a:pt x="303" y="932"/>
                  </a:lnTo>
                  <a:lnTo>
                    <a:pt x="301" y="926"/>
                  </a:lnTo>
                  <a:lnTo>
                    <a:pt x="301" y="921"/>
                  </a:lnTo>
                  <a:lnTo>
                    <a:pt x="303" y="911"/>
                  </a:lnTo>
                  <a:lnTo>
                    <a:pt x="305" y="906"/>
                  </a:lnTo>
                  <a:lnTo>
                    <a:pt x="308" y="902"/>
                  </a:lnTo>
                  <a:lnTo>
                    <a:pt x="312" y="900"/>
                  </a:lnTo>
                  <a:lnTo>
                    <a:pt x="327" y="895"/>
                  </a:lnTo>
                  <a:lnTo>
                    <a:pt x="338" y="891"/>
                  </a:lnTo>
                  <a:lnTo>
                    <a:pt x="343" y="889"/>
                  </a:lnTo>
                  <a:lnTo>
                    <a:pt x="347" y="887"/>
                  </a:lnTo>
                  <a:lnTo>
                    <a:pt x="348" y="886"/>
                  </a:lnTo>
                  <a:lnTo>
                    <a:pt x="354" y="880"/>
                  </a:lnTo>
                  <a:lnTo>
                    <a:pt x="358" y="878"/>
                  </a:lnTo>
                  <a:lnTo>
                    <a:pt x="359" y="878"/>
                  </a:lnTo>
                  <a:lnTo>
                    <a:pt x="360" y="878"/>
                  </a:lnTo>
                  <a:lnTo>
                    <a:pt x="362" y="879"/>
                  </a:lnTo>
                  <a:lnTo>
                    <a:pt x="368" y="884"/>
                  </a:lnTo>
                  <a:lnTo>
                    <a:pt x="374" y="890"/>
                  </a:lnTo>
                  <a:lnTo>
                    <a:pt x="376" y="894"/>
                  </a:lnTo>
                  <a:lnTo>
                    <a:pt x="378" y="897"/>
                  </a:lnTo>
                  <a:lnTo>
                    <a:pt x="378" y="897"/>
                  </a:lnTo>
                  <a:lnTo>
                    <a:pt x="380" y="899"/>
                  </a:lnTo>
                  <a:lnTo>
                    <a:pt x="381" y="899"/>
                  </a:lnTo>
                  <a:lnTo>
                    <a:pt x="388" y="901"/>
                  </a:lnTo>
                  <a:lnTo>
                    <a:pt x="390" y="900"/>
                  </a:lnTo>
                  <a:lnTo>
                    <a:pt x="390" y="899"/>
                  </a:lnTo>
                  <a:lnTo>
                    <a:pt x="390" y="898"/>
                  </a:lnTo>
                  <a:lnTo>
                    <a:pt x="390" y="894"/>
                  </a:lnTo>
                  <a:lnTo>
                    <a:pt x="389" y="892"/>
                  </a:lnTo>
                  <a:lnTo>
                    <a:pt x="389" y="891"/>
                  </a:lnTo>
                  <a:lnTo>
                    <a:pt x="389" y="890"/>
                  </a:lnTo>
                  <a:lnTo>
                    <a:pt x="389" y="888"/>
                  </a:lnTo>
                  <a:lnTo>
                    <a:pt x="398" y="874"/>
                  </a:lnTo>
                  <a:lnTo>
                    <a:pt x="399" y="873"/>
                  </a:lnTo>
                  <a:lnTo>
                    <a:pt x="400" y="872"/>
                  </a:lnTo>
                  <a:lnTo>
                    <a:pt x="403" y="872"/>
                  </a:lnTo>
                  <a:lnTo>
                    <a:pt x="409" y="874"/>
                  </a:lnTo>
                  <a:lnTo>
                    <a:pt x="410" y="874"/>
                  </a:lnTo>
                  <a:lnTo>
                    <a:pt x="410" y="872"/>
                  </a:lnTo>
                  <a:lnTo>
                    <a:pt x="409" y="870"/>
                  </a:lnTo>
                  <a:lnTo>
                    <a:pt x="409" y="868"/>
                  </a:lnTo>
                  <a:lnTo>
                    <a:pt x="411" y="867"/>
                  </a:lnTo>
                  <a:lnTo>
                    <a:pt x="413" y="867"/>
                  </a:lnTo>
                  <a:lnTo>
                    <a:pt x="415" y="869"/>
                  </a:lnTo>
                  <a:lnTo>
                    <a:pt x="416" y="870"/>
                  </a:lnTo>
                  <a:lnTo>
                    <a:pt x="417" y="869"/>
                  </a:lnTo>
                  <a:lnTo>
                    <a:pt x="418" y="867"/>
                  </a:lnTo>
                  <a:lnTo>
                    <a:pt x="421" y="869"/>
                  </a:lnTo>
                  <a:lnTo>
                    <a:pt x="425" y="869"/>
                  </a:lnTo>
                  <a:lnTo>
                    <a:pt x="431" y="867"/>
                  </a:lnTo>
                  <a:lnTo>
                    <a:pt x="431" y="867"/>
                  </a:lnTo>
                  <a:lnTo>
                    <a:pt x="433" y="868"/>
                  </a:lnTo>
                  <a:lnTo>
                    <a:pt x="441" y="868"/>
                  </a:lnTo>
                  <a:lnTo>
                    <a:pt x="447" y="869"/>
                  </a:lnTo>
                  <a:lnTo>
                    <a:pt x="450" y="870"/>
                  </a:lnTo>
                  <a:lnTo>
                    <a:pt x="450" y="870"/>
                  </a:lnTo>
                  <a:lnTo>
                    <a:pt x="452" y="868"/>
                  </a:lnTo>
                  <a:lnTo>
                    <a:pt x="454" y="865"/>
                  </a:lnTo>
                  <a:lnTo>
                    <a:pt x="456" y="864"/>
                  </a:lnTo>
                  <a:lnTo>
                    <a:pt x="472" y="855"/>
                  </a:lnTo>
                  <a:lnTo>
                    <a:pt x="475" y="854"/>
                  </a:lnTo>
                  <a:lnTo>
                    <a:pt x="481" y="854"/>
                  </a:lnTo>
                  <a:lnTo>
                    <a:pt x="482" y="854"/>
                  </a:lnTo>
                  <a:lnTo>
                    <a:pt x="488" y="849"/>
                  </a:lnTo>
                  <a:lnTo>
                    <a:pt x="489" y="848"/>
                  </a:lnTo>
                  <a:lnTo>
                    <a:pt x="491" y="848"/>
                  </a:lnTo>
                  <a:lnTo>
                    <a:pt x="500" y="853"/>
                  </a:lnTo>
                  <a:lnTo>
                    <a:pt x="505" y="855"/>
                  </a:lnTo>
                  <a:lnTo>
                    <a:pt x="508" y="855"/>
                  </a:lnTo>
                  <a:lnTo>
                    <a:pt x="510" y="855"/>
                  </a:lnTo>
                  <a:lnTo>
                    <a:pt x="516" y="854"/>
                  </a:lnTo>
                  <a:lnTo>
                    <a:pt x="538" y="845"/>
                  </a:lnTo>
                  <a:lnTo>
                    <a:pt x="542" y="841"/>
                  </a:lnTo>
                  <a:lnTo>
                    <a:pt x="543" y="841"/>
                  </a:lnTo>
                  <a:lnTo>
                    <a:pt x="544" y="842"/>
                  </a:lnTo>
                  <a:lnTo>
                    <a:pt x="544" y="845"/>
                  </a:lnTo>
                  <a:lnTo>
                    <a:pt x="545" y="847"/>
                  </a:lnTo>
                  <a:lnTo>
                    <a:pt x="547" y="850"/>
                  </a:lnTo>
                  <a:lnTo>
                    <a:pt x="550" y="852"/>
                  </a:lnTo>
                  <a:lnTo>
                    <a:pt x="553" y="852"/>
                  </a:lnTo>
                  <a:lnTo>
                    <a:pt x="556" y="853"/>
                  </a:lnTo>
                  <a:lnTo>
                    <a:pt x="558" y="851"/>
                  </a:lnTo>
                  <a:lnTo>
                    <a:pt x="565" y="851"/>
                  </a:lnTo>
                  <a:lnTo>
                    <a:pt x="568" y="850"/>
                  </a:lnTo>
                  <a:lnTo>
                    <a:pt x="570" y="847"/>
                  </a:lnTo>
                  <a:lnTo>
                    <a:pt x="573" y="839"/>
                  </a:lnTo>
                  <a:lnTo>
                    <a:pt x="575" y="836"/>
                  </a:lnTo>
                  <a:lnTo>
                    <a:pt x="578" y="835"/>
                  </a:lnTo>
                  <a:lnTo>
                    <a:pt x="580" y="834"/>
                  </a:lnTo>
                  <a:lnTo>
                    <a:pt x="582" y="833"/>
                  </a:lnTo>
                  <a:lnTo>
                    <a:pt x="583" y="830"/>
                  </a:lnTo>
                  <a:lnTo>
                    <a:pt x="585" y="822"/>
                  </a:lnTo>
                  <a:lnTo>
                    <a:pt x="586" y="818"/>
                  </a:lnTo>
                  <a:lnTo>
                    <a:pt x="585" y="814"/>
                  </a:lnTo>
                  <a:lnTo>
                    <a:pt x="585" y="814"/>
                  </a:lnTo>
                  <a:lnTo>
                    <a:pt x="584" y="811"/>
                  </a:lnTo>
                  <a:lnTo>
                    <a:pt x="582" y="809"/>
                  </a:lnTo>
                  <a:lnTo>
                    <a:pt x="577" y="805"/>
                  </a:lnTo>
                  <a:lnTo>
                    <a:pt x="569" y="798"/>
                  </a:lnTo>
                  <a:lnTo>
                    <a:pt x="568" y="797"/>
                  </a:lnTo>
                  <a:lnTo>
                    <a:pt x="569" y="793"/>
                  </a:lnTo>
                  <a:lnTo>
                    <a:pt x="571" y="784"/>
                  </a:lnTo>
                  <a:lnTo>
                    <a:pt x="571" y="782"/>
                  </a:lnTo>
                  <a:lnTo>
                    <a:pt x="572" y="777"/>
                  </a:lnTo>
                  <a:lnTo>
                    <a:pt x="571" y="774"/>
                  </a:lnTo>
                  <a:lnTo>
                    <a:pt x="575" y="766"/>
                  </a:lnTo>
                  <a:lnTo>
                    <a:pt x="577" y="764"/>
                  </a:lnTo>
                  <a:lnTo>
                    <a:pt x="577" y="763"/>
                  </a:lnTo>
                  <a:lnTo>
                    <a:pt x="577" y="763"/>
                  </a:lnTo>
                  <a:lnTo>
                    <a:pt x="577" y="762"/>
                  </a:lnTo>
                  <a:lnTo>
                    <a:pt x="577" y="761"/>
                  </a:lnTo>
                  <a:lnTo>
                    <a:pt x="575" y="759"/>
                  </a:lnTo>
                  <a:lnTo>
                    <a:pt x="573" y="756"/>
                  </a:lnTo>
                  <a:lnTo>
                    <a:pt x="569" y="747"/>
                  </a:lnTo>
                  <a:lnTo>
                    <a:pt x="568" y="746"/>
                  </a:lnTo>
                  <a:lnTo>
                    <a:pt x="569" y="745"/>
                  </a:lnTo>
                  <a:lnTo>
                    <a:pt x="569" y="745"/>
                  </a:lnTo>
                  <a:lnTo>
                    <a:pt x="570" y="743"/>
                  </a:lnTo>
                  <a:lnTo>
                    <a:pt x="572" y="742"/>
                  </a:lnTo>
                  <a:lnTo>
                    <a:pt x="576" y="740"/>
                  </a:lnTo>
                  <a:lnTo>
                    <a:pt x="577" y="738"/>
                  </a:lnTo>
                  <a:lnTo>
                    <a:pt x="580" y="735"/>
                  </a:lnTo>
                  <a:lnTo>
                    <a:pt x="581" y="733"/>
                  </a:lnTo>
                  <a:lnTo>
                    <a:pt x="583" y="733"/>
                  </a:lnTo>
                  <a:lnTo>
                    <a:pt x="586" y="734"/>
                  </a:lnTo>
                  <a:lnTo>
                    <a:pt x="587" y="733"/>
                  </a:lnTo>
                  <a:lnTo>
                    <a:pt x="587" y="733"/>
                  </a:lnTo>
                  <a:lnTo>
                    <a:pt x="588" y="732"/>
                  </a:lnTo>
                  <a:lnTo>
                    <a:pt x="590" y="730"/>
                  </a:lnTo>
                  <a:lnTo>
                    <a:pt x="595" y="730"/>
                  </a:lnTo>
                  <a:lnTo>
                    <a:pt x="606" y="733"/>
                  </a:lnTo>
                  <a:lnTo>
                    <a:pt x="611" y="732"/>
                  </a:lnTo>
                  <a:lnTo>
                    <a:pt x="616" y="730"/>
                  </a:lnTo>
                  <a:lnTo>
                    <a:pt x="618" y="727"/>
                  </a:lnTo>
                  <a:lnTo>
                    <a:pt x="618" y="727"/>
                  </a:lnTo>
                  <a:lnTo>
                    <a:pt x="619" y="725"/>
                  </a:lnTo>
                  <a:lnTo>
                    <a:pt x="622" y="714"/>
                  </a:lnTo>
                  <a:lnTo>
                    <a:pt x="623" y="711"/>
                  </a:lnTo>
                  <a:lnTo>
                    <a:pt x="624" y="710"/>
                  </a:lnTo>
                  <a:lnTo>
                    <a:pt x="626" y="708"/>
                  </a:lnTo>
                  <a:lnTo>
                    <a:pt x="630" y="707"/>
                  </a:lnTo>
                  <a:lnTo>
                    <a:pt x="632" y="706"/>
                  </a:lnTo>
                  <a:lnTo>
                    <a:pt x="632" y="706"/>
                  </a:lnTo>
                  <a:lnTo>
                    <a:pt x="632" y="706"/>
                  </a:lnTo>
                  <a:lnTo>
                    <a:pt x="632" y="706"/>
                  </a:lnTo>
                  <a:lnTo>
                    <a:pt x="635" y="704"/>
                  </a:lnTo>
                  <a:lnTo>
                    <a:pt x="641" y="697"/>
                  </a:lnTo>
                  <a:lnTo>
                    <a:pt x="642" y="696"/>
                  </a:lnTo>
                  <a:lnTo>
                    <a:pt x="643" y="691"/>
                  </a:lnTo>
                  <a:lnTo>
                    <a:pt x="644" y="690"/>
                  </a:lnTo>
                  <a:lnTo>
                    <a:pt x="645" y="689"/>
                  </a:lnTo>
                  <a:lnTo>
                    <a:pt x="648" y="687"/>
                  </a:lnTo>
                  <a:lnTo>
                    <a:pt x="649" y="686"/>
                  </a:lnTo>
                  <a:lnTo>
                    <a:pt x="652" y="682"/>
                  </a:lnTo>
                  <a:lnTo>
                    <a:pt x="655" y="675"/>
                  </a:lnTo>
                  <a:lnTo>
                    <a:pt x="657" y="667"/>
                  </a:lnTo>
                  <a:lnTo>
                    <a:pt x="657" y="665"/>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14" name="Freeform 16">
              <a:extLst>
                <a:ext uri="{FF2B5EF4-FFF2-40B4-BE49-F238E27FC236}">
                  <a16:creationId xmlns:a16="http://schemas.microsoft.com/office/drawing/2014/main" id="{1EF0B246-AB58-4235-90BF-A60CC7BCC550}"/>
                </a:ext>
              </a:extLst>
            </p:cNvPr>
            <p:cNvSpPr>
              <a:spLocks/>
            </p:cNvSpPr>
            <p:nvPr/>
          </p:nvSpPr>
          <p:spPr bwMode="gray">
            <a:xfrm>
              <a:off x="10050875" y="4861123"/>
              <a:ext cx="935508" cy="656912"/>
            </a:xfrm>
            <a:custGeom>
              <a:avLst/>
              <a:gdLst>
                <a:gd name="T0" fmla="*/ 1480 w 1501"/>
                <a:gd name="T1" fmla="*/ 667 h 1054"/>
                <a:gd name="T2" fmla="*/ 1414 w 1501"/>
                <a:gd name="T3" fmla="*/ 668 h 1054"/>
                <a:gd name="T4" fmla="*/ 1361 w 1501"/>
                <a:gd name="T5" fmla="*/ 682 h 1054"/>
                <a:gd name="T6" fmla="*/ 1284 w 1501"/>
                <a:gd name="T7" fmla="*/ 683 h 1054"/>
                <a:gd name="T8" fmla="*/ 1246 w 1501"/>
                <a:gd name="T9" fmla="*/ 617 h 1054"/>
                <a:gd name="T10" fmla="*/ 1251 w 1501"/>
                <a:gd name="T11" fmla="*/ 550 h 1054"/>
                <a:gd name="T12" fmla="*/ 1254 w 1501"/>
                <a:gd name="T13" fmla="*/ 488 h 1054"/>
                <a:gd name="T14" fmla="*/ 1261 w 1501"/>
                <a:gd name="T15" fmla="*/ 449 h 1054"/>
                <a:gd name="T16" fmla="*/ 1266 w 1501"/>
                <a:gd name="T17" fmla="*/ 406 h 1054"/>
                <a:gd name="T18" fmla="*/ 1249 w 1501"/>
                <a:gd name="T19" fmla="*/ 327 h 1054"/>
                <a:gd name="T20" fmla="*/ 1209 w 1501"/>
                <a:gd name="T21" fmla="*/ 274 h 1054"/>
                <a:gd name="T22" fmla="*/ 1182 w 1501"/>
                <a:gd name="T23" fmla="*/ 232 h 1054"/>
                <a:gd name="T24" fmla="*/ 1157 w 1501"/>
                <a:gd name="T25" fmla="*/ 188 h 1054"/>
                <a:gd name="T26" fmla="*/ 1140 w 1501"/>
                <a:gd name="T27" fmla="*/ 164 h 1054"/>
                <a:gd name="T28" fmla="*/ 1112 w 1501"/>
                <a:gd name="T29" fmla="*/ 106 h 1054"/>
                <a:gd name="T30" fmla="*/ 1095 w 1501"/>
                <a:gd name="T31" fmla="*/ 68 h 1054"/>
                <a:gd name="T32" fmla="*/ 1078 w 1501"/>
                <a:gd name="T33" fmla="*/ 34 h 1054"/>
                <a:gd name="T34" fmla="*/ 1048 w 1501"/>
                <a:gd name="T35" fmla="*/ 10 h 1054"/>
                <a:gd name="T36" fmla="*/ 962 w 1501"/>
                <a:gd name="T37" fmla="*/ 15 h 1054"/>
                <a:gd name="T38" fmla="*/ 874 w 1501"/>
                <a:gd name="T39" fmla="*/ 81 h 1054"/>
                <a:gd name="T40" fmla="*/ 701 w 1501"/>
                <a:gd name="T41" fmla="*/ 97 h 1054"/>
                <a:gd name="T42" fmla="*/ 611 w 1501"/>
                <a:gd name="T43" fmla="*/ 80 h 1054"/>
                <a:gd name="T44" fmla="*/ 516 w 1501"/>
                <a:gd name="T45" fmla="*/ 70 h 1054"/>
                <a:gd name="T46" fmla="*/ 460 w 1501"/>
                <a:gd name="T47" fmla="*/ 42 h 1054"/>
                <a:gd name="T48" fmla="*/ 409 w 1501"/>
                <a:gd name="T49" fmla="*/ 91 h 1054"/>
                <a:gd name="T50" fmla="*/ 343 w 1501"/>
                <a:gd name="T51" fmla="*/ 126 h 1054"/>
                <a:gd name="T52" fmla="*/ 305 w 1501"/>
                <a:gd name="T53" fmla="*/ 161 h 1054"/>
                <a:gd name="T54" fmla="*/ 253 w 1501"/>
                <a:gd name="T55" fmla="*/ 244 h 1054"/>
                <a:gd name="T56" fmla="*/ 223 w 1501"/>
                <a:gd name="T57" fmla="*/ 297 h 1054"/>
                <a:gd name="T58" fmla="*/ 200 w 1501"/>
                <a:gd name="T59" fmla="*/ 345 h 1054"/>
                <a:gd name="T60" fmla="*/ 174 w 1501"/>
                <a:gd name="T61" fmla="*/ 387 h 1054"/>
                <a:gd name="T62" fmla="*/ 141 w 1501"/>
                <a:gd name="T63" fmla="*/ 466 h 1054"/>
                <a:gd name="T64" fmla="*/ 91 w 1501"/>
                <a:gd name="T65" fmla="*/ 467 h 1054"/>
                <a:gd name="T66" fmla="*/ 58 w 1501"/>
                <a:gd name="T67" fmla="*/ 500 h 1054"/>
                <a:gd name="T68" fmla="*/ 47 w 1501"/>
                <a:gd name="T69" fmla="*/ 551 h 1054"/>
                <a:gd name="T70" fmla="*/ 81 w 1501"/>
                <a:gd name="T71" fmla="*/ 583 h 1054"/>
                <a:gd name="T72" fmla="*/ 85 w 1501"/>
                <a:gd name="T73" fmla="*/ 649 h 1054"/>
                <a:gd name="T74" fmla="*/ 153 w 1501"/>
                <a:gd name="T75" fmla="*/ 700 h 1054"/>
                <a:gd name="T76" fmla="*/ 190 w 1501"/>
                <a:gd name="T77" fmla="*/ 739 h 1054"/>
                <a:gd name="T78" fmla="*/ 185 w 1501"/>
                <a:gd name="T79" fmla="*/ 765 h 1054"/>
                <a:gd name="T80" fmla="*/ 183 w 1501"/>
                <a:gd name="T81" fmla="*/ 802 h 1054"/>
                <a:gd name="T82" fmla="*/ 284 w 1501"/>
                <a:gd name="T83" fmla="*/ 844 h 1054"/>
                <a:gd name="T84" fmla="*/ 345 w 1501"/>
                <a:gd name="T85" fmla="*/ 816 h 1054"/>
                <a:gd name="T86" fmla="*/ 371 w 1501"/>
                <a:gd name="T87" fmla="*/ 852 h 1054"/>
                <a:gd name="T88" fmla="*/ 366 w 1501"/>
                <a:gd name="T89" fmla="*/ 900 h 1054"/>
                <a:gd name="T90" fmla="*/ 423 w 1501"/>
                <a:gd name="T91" fmla="*/ 976 h 1054"/>
                <a:gd name="T92" fmla="*/ 555 w 1501"/>
                <a:gd name="T93" fmla="*/ 1012 h 1054"/>
                <a:gd name="T94" fmla="*/ 806 w 1501"/>
                <a:gd name="T95" fmla="*/ 1049 h 1054"/>
                <a:gd name="T96" fmla="*/ 883 w 1501"/>
                <a:gd name="T97" fmla="*/ 1029 h 1054"/>
                <a:gd name="T98" fmla="*/ 1024 w 1501"/>
                <a:gd name="T99" fmla="*/ 954 h 1054"/>
                <a:gd name="T100" fmla="*/ 1164 w 1501"/>
                <a:gd name="T101" fmla="*/ 973 h 1054"/>
                <a:gd name="T102" fmla="*/ 1324 w 1501"/>
                <a:gd name="T103" fmla="*/ 1025 h 1054"/>
                <a:gd name="T104" fmla="*/ 1336 w 1501"/>
                <a:gd name="T105" fmla="*/ 939 h 1054"/>
                <a:gd name="T106" fmla="*/ 1376 w 1501"/>
                <a:gd name="T107" fmla="*/ 848 h 1054"/>
                <a:gd name="T108" fmla="*/ 1354 w 1501"/>
                <a:gd name="T109" fmla="*/ 855 h 1054"/>
                <a:gd name="T110" fmla="*/ 1354 w 1501"/>
                <a:gd name="T111" fmla="*/ 844 h 1054"/>
                <a:gd name="T112" fmla="*/ 1384 w 1501"/>
                <a:gd name="T113" fmla="*/ 836 h 1054"/>
                <a:gd name="T114" fmla="*/ 1358 w 1501"/>
                <a:gd name="T115" fmla="*/ 818 h 1054"/>
                <a:gd name="T116" fmla="*/ 1370 w 1501"/>
                <a:gd name="T117" fmla="*/ 783 h 1054"/>
                <a:gd name="T118" fmla="*/ 1387 w 1501"/>
                <a:gd name="T119" fmla="*/ 752 h 1054"/>
                <a:gd name="T120" fmla="*/ 1412 w 1501"/>
                <a:gd name="T121" fmla="*/ 791 h 1054"/>
                <a:gd name="T122" fmla="*/ 1473 w 1501"/>
                <a:gd name="T123" fmla="*/ 795 h 1054"/>
                <a:gd name="T124" fmla="*/ 1495 w 1501"/>
                <a:gd name="T125" fmla="*/ 729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1" h="1054">
                  <a:moveTo>
                    <a:pt x="1496" y="718"/>
                  </a:moveTo>
                  <a:lnTo>
                    <a:pt x="1493" y="715"/>
                  </a:lnTo>
                  <a:lnTo>
                    <a:pt x="1491" y="712"/>
                  </a:lnTo>
                  <a:lnTo>
                    <a:pt x="1489" y="708"/>
                  </a:lnTo>
                  <a:lnTo>
                    <a:pt x="1489" y="707"/>
                  </a:lnTo>
                  <a:lnTo>
                    <a:pt x="1493" y="707"/>
                  </a:lnTo>
                  <a:lnTo>
                    <a:pt x="1494" y="707"/>
                  </a:lnTo>
                  <a:lnTo>
                    <a:pt x="1494" y="707"/>
                  </a:lnTo>
                  <a:lnTo>
                    <a:pt x="1494" y="707"/>
                  </a:lnTo>
                  <a:lnTo>
                    <a:pt x="1495" y="705"/>
                  </a:lnTo>
                  <a:lnTo>
                    <a:pt x="1496" y="703"/>
                  </a:lnTo>
                  <a:lnTo>
                    <a:pt x="1495" y="702"/>
                  </a:lnTo>
                  <a:lnTo>
                    <a:pt x="1494" y="701"/>
                  </a:lnTo>
                  <a:lnTo>
                    <a:pt x="1497" y="694"/>
                  </a:lnTo>
                  <a:lnTo>
                    <a:pt x="1496" y="685"/>
                  </a:lnTo>
                  <a:lnTo>
                    <a:pt x="1493" y="677"/>
                  </a:lnTo>
                  <a:lnTo>
                    <a:pt x="1489" y="674"/>
                  </a:lnTo>
                  <a:lnTo>
                    <a:pt x="1488" y="673"/>
                  </a:lnTo>
                  <a:lnTo>
                    <a:pt x="1480" y="667"/>
                  </a:lnTo>
                  <a:lnTo>
                    <a:pt x="1458" y="658"/>
                  </a:lnTo>
                  <a:lnTo>
                    <a:pt x="1446" y="657"/>
                  </a:lnTo>
                  <a:lnTo>
                    <a:pt x="1445" y="657"/>
                  </a:lnTo>
                  <a:lnTo>
                    <a:pt x="1443" y="656"/>
                  </a:lnTo>
                  <a:lnTo>
                    <a:pt x="1441" y="656"/>
                  </a:lnTo>
                  <a:lnTo>
                    <a:pt x="1440" y="657"/>
                  </a:lnTo>
                  <a:lnTo>
                    <a:pt x="1439" y="658"/>
                  </a:lnTo>
                  <a:lnTo>
                    <a:pt x="1437" y="659"/>
                  </a:lnTo>
                  <a:lnTo>
                    <a:pt x="1436" y="660"/>
                  </a:lnTo>
                  <a:lnTo>
                    <a:pt x="1435" y="660"/>
                  </a:lnTo>
                  <a:lnTo>
                    <a:pt x="1431" y="660"/>
                  </a:lnTo>
                  <a:lnTo>
                    <a:pt x="1429" y="660"/>
                  </a:lnTo>
                  <a:lnTo>
                    <a:pt x="1426" y="660"/>
                  </a:lnTo>
                  <a:lnTo>
                    <a:pt x="1423" y="662"/>
                  </a:lnTo>
                  <a:lnTo>
                    <a:pt x="1420" y="664"/>
                  </a:lnTo>
                  <a:lnTo>
                    <a:pt x="1419" y="666"/>
                  </a:lnTo>
                  <a:lnTo>
                    <a:pt x="1418" y="667"/>
                  </a:lnTo>
                  <a:lnTo>
                    <a:pt x="1418" y="668"/>
                  </a:lnTo>
                  <a:lnTo>
                    <a:pt x="1414" y="668"/>
                  </a:lnTo>
                  <a:lnTo>
                    <a:pt x="1412" y="669"/>
                  </a:lnTo>
                  <a:lnTo>
                    <a:pt x="1410" y="671"/>
                  </a:lnTo>
                  <a:lnTo>
                    <a:pt x="1407" y="673"/>
                  </a:lnTo>
                  <a:lnTo>
                    <a:pt x="1401" y="674"/>
                  </a:lnTo>
                  <a:lnTo>
                    <a:pt x="1393" y="681"/>
                  </a:lnTo>
                  <a:lnTo>
                    <a:pt x="1391" y="682"/>
                  </a:lnTo>
                  <a:lnTo>
                    <a:pt x="1387" y="682"/>
                  </a:lnTo>
                  <a:lnTo>
                    <a:pt x="1386" y="682"/>
                  </a:lnTo>
                  <a:lnTo>
                    <a:pt x="1385" y="683"/>
                  </a:lnTo>
                  <a:lnTo>
                    <a:pt x="1384" y="685"/>
                  </a:lnTo>
                  <a:lnTo>
                    <a:pt x="1383" y="690"/>
                  </a:lnTo>
                  <a:lnTo>
                    <a:pt x="1382" y="691"/>
                  </a:lnTo>
                  <a:lnTo>
                    <a:pt x="1379" y="693"/>
                  </a:lnTo>
                  <a:lnTo>
                    <a:pt x="1376" y="691"/>
                  </a:lnTo>
                  <a:lnTo>
                    <a:pt x="1373" y="688"/>
                  </a:lnTo>
                  <a:lnTo>
                    <a:pt x="1371" y="687"/>
                  </a:lnTo>
                  <a:lnTo>
                    <a:pt x="1367" y="686"/>
                  </a:lnTo>
                  <a:lnTo>
                    <a:pt x="1363" y="683"/>
                  </a:lnTo>
                  <a:lnTo>
                    <a:pt x="1361" y="682"/>
                  </a:lnTo>
                  <a:lnTo>
                    <a:pt x="1357" y="683"/>
                  </a:lnTo>
                  <a:lnTo>
                    <a:pt x="1356" y="686"/>
                  </a:lnTo>
                  <a:lnTo>
                    <a:pt x="1357" y="690"/>
                  </a:lnTo>
                  <a:lnTo>
                    <a:pt x="1352" y="692"/>
                  </a:lnTo>
                  <a:lnTo>
                    <a:pt x="1352" y="694"/>
                  </a:lnTo>
                  <a:lnTo>
                    <a:pt x="1352" y="696"/>
                  </a:lnTo>
                  <a:lnTo>
                    <a:pt x="1353" y="697"/>
                  </a:lnTo>
                  <a:lnTo>
                    <a:pt x="1354" y="698"/>
                  </a:lnTo>
                  <a:lnTo>
                    <a:pt x="1358" y="701"/>
                  </a:lnTo>
                  <a:lnTo>
                    <a:pt x="1357" y="702"/>
                  </a:lnTo>
                  <a:lnTo>
                    <a:pt x="1355" y="703"/>
                  </a:lnTo>
                  <a:lnTo>
                    <a:pt x="1350" y="704"/>
                  </a:lnTo>
                  <a:lnTo>
                    <a:pt x="1344" y="704"/>
                  </a:lnTo>
                  <a:lnTo>
                    <a:pt x="1323" y="700"/>
                  </a:lnTo>
                  <a:lnTo>
                    <a:pt x="1310" y="693"/>
                  </a:lnTo>
                  <a:lnTo>
                    <a:pt x="1295" y="689"/>
                  </a:lnTo>
                  <a:lnTo>
                    <a:pt x="1290" y="686"/>
                  </a:lnTo>
                  <a:lnTo>
                    <a:pt x="1287" y="685"/>
                  </a:lnTo>
                  <a:lnTo>
                    <a:pt x="1284" y="683"/>
                  </a:lnTo>
                  <a:lnTo>
                    <a:pt x="1280" y="677"/>
                  </a:lnTo>
                  <a:lnTo>
                    <a:pt x="1276" y="665"/>
                  </a:lnTo>
                  <a:lnTo>
                    <a:pt x="1277" y="661"/>
                  </a:lnTo>
                  <a:lnTo>
                    <a:pt x="1274" y="656"/>
                  </a:lnTo>
                  <a:lnTo>
                    <a:pt x="1269" y="654"/>
                  </a:lnTo>
                  <a:lnTo>
                    <a:pt x="1265" y="654"/>
                  </a:lnTo>
                  <a:lnTo>
                    <a:pt x="1265" y="654"/>
                  </a:lnTo>
                  <a:lnTo>
                    <a:pt x="1263" y="652"/>
                  </a:lnTo>
                  <a:lnTo>
                    <a:pt x="1259" y="646"/>
                  </a:lnTo>
                  <a:lnTo>
                    <a:pt x="1258" y="644"/>
                  </a:lnTo>
                  <a:lnTo>
                    <a:pt x="1257" y="637"/>
                  </a:lnTo>
                  <a:lnTo>
                    <a:pt x="1257" y="636"/>
                  </a:lnTo>
                  <a:lnTo>
                    <a:pt x="1257" y="635"/>
                  </a:lnTo>
                  <a:lnTo>
                    <a:pt x="1256" y="634"/>
                  </a:lnTo>
                  <a:lnTo>
                    <a:pt x="1254" y="629"/>
                  </a:lnTo>
                  <a:lnTo>
                    <a:pt x="1250" y="626"/>
                  </a:lnTo>
                  <a:lnTo>
                    <a:pt x="1241" y="622"/>
                  </a:lnTo>
                  <a:lnTo>
                    <a:pt x="1243" y="619"/>
                  </a:lnTo>
                  <a:lnTo>
                    <a:pt x="1246" y="617"/>
                  </a:lnTo>
                  <a:lnTo>
                    <a:pt x="1248" y="615"/>
                  </a:lnTo>
                  <a:lnTo>
                    <a:pt x="1250" y="614"/>
                  </a:lnTo>
                  <a:lnTo>
                    <a:pt x="1255" y="614"/>
                  </a:lnTo>
                  <a:lnTo>
                    <a:pt x="1258" y="613"/>
                  </a:lnTo>
                  <a:lnTo>
                    <a:pt x="1257" y="610"/>
                  </a:lnTo>
                  <a:lnTo>
                    <a:pt x="1257" y="606"/>
                  </a:lnTo>
                  <a:lnTo>
                    <a:pt x="1256" y="584"/>
                  </a:lnTo>
                  <a:lnTo>
                    <a:pt x="1254" y="581"/>
                  </a:lnTo>
                  <a:lnTo>
                    <a:pt x="1252" y="576"/>
                  </a:lnTo>
                  <a:lnTo>
                    <a:pt x="1249" y="569"/>
                  </a:lnTo>
                  <a:lnTo>
                    <a:pt x="1249" y="563"/>
                  </a:lnTo>
                  <a:lnTo>
                    <a:pt x="1249" y="561"/>
                  </a:lnTo>
                  <a:lnTo>
                    <a:pt x="1251" y="560"/>
                  </a:lnTo>
                  <a:lnTo>
                    <a:pt x="1252" y="559"/>
                  </a:lnTo>
                  <a:lnTo>
                    <a:pt x="1252" y="558"/>
                  </a:lnTo>
                  <a:lnTo>
                    <a:pt x="1250" y="555"/>
                  </a:lnTo>
                  <a:lnTo>
                    <a:pt x="1250" y="553"/>
                  </a:lnTo>
                  <a:lnTo>
                    <a:pt x="1250" y="551"/>
                  </a:lnTo>
                  <a:lnTo>
                    <a:pt x="1251" y="550"/>
                  </a:lnTo>
                  <a:lnTo>
                    <a:pt x="1251" y="548"/>
                  </a:lnTo>
                  <a:lnTo>
                    <a:pt x="1250" y="546"/>
                  </a:lnTo>
                  <a:lnTo>
                    <a:pt x="1249" y="545"/>
                  </a:lnTo>
                  <a:lnTo>
                    <a:pt x="1249" y="543"/>
                  </a:lnTo>
                  <a:lnTo>
                    <a:pt x="1249" y="541"/>
                  </a:lnTo>
                  <a:lnTo>
                    <a:pt x="1245" y="529"/>
                  </a:lnTo>
                  <a:lnTo>
                    <a:pt x="1244" y="526"/>
                  </a:lnTo>
                  <a:lnTo>
                    <a:pt x="1244" y="524"/>
                  </a:lnTo>
                  <a:lnTo>
                    <a:pt x="1246" y="516"/>
                  </a:lnTo>
                  <a:lnTo>
                    <a:pt x="1246" y="515"/>
                  </a:lnTo>
                  <a:lnTo>
                    <a:pt x="1245" y="514"/>
                  </a:lnTo>
                  <a:lnTo>
                    <a:pt x="1245" y="513"/>
                  </a:lnTo>
                  <a:lnTo>
                    <a:pt x="1246" y="512"/>
                  </a:lnTo>
                  <a:lnTo>
                    <a:pt x="1247" y="511"/>
                  </a:lnTo>
                  <a:lnTo>
                    <a:pt x="1248" y="508"/>
                  </a:lnTo>
                  <a:lnTo>
                    <a:pt x="1249" y="506"/>
                  </a:lnTo>
                  <a:lnTo>
                    <a:pt x="1251" y="499"/>
                  </a:lnTo>
                  <a:lnTo>
                    <a:pt x="1252" y="493"/>
                  </a:lnTo>
                  <a:lnTo>
                    <a:pt x="1254" y="488"/>
                  </a:lnTo>
                  <a:lnTo>
                    <a:pt x="1254" y="486"/>
                  </a:lnTo>
                  <a:lnTo>
                    <a:pt x="1253" y="484"/>
                  </a:lnTo>
                  <a:lnTo>
                    <a:pt x="1252" y="483"/>
                  </a:lnTo>
                  <a:lnTo>
                    <a:pt x="1249" y="478"/>
                  </a:lnTo>
                  <a:lnTo>
                    <a:pt x="1249" y="476"/>
                  </a:lnTo>
                  <a:lnTo>
                    <a:pt x="1250" y="475"/>
                  </a:lnTo>
                  <a:lnTo>
                    <a:pt x="1252" y="475"/>
                  </a:lnTo>
                  <a:lnTo>
                    <a:pt x="1253" y="473"/>
                  </a:lnTo>
                  <a:lnTo>
                    <a:pt x="1252" y="470"/>
                  </a:lnTo>
                  <a:lnTo>
                    <a:pt x="1253" y="468"/>
                  </a:lnTo>
                  <a:lnTo>
                    <a:pt x="1254" y="467"/>
                  </a:lnTo>
                  <a:lnTo>
                    <a:pt x="1256" y="467"/>
                  </a:lnTo>
                  <a:lnTo>
                    <a:pt x="1257" y="466"/>
                  </a:lnTo>
                  <a:lnTo>
                    <a:pt x="1259" y="464"/>
                  </a:lnTo>
                  <a:lnTo>
                    <a:pt x="1261" y="459"/>
                  </a:lnTo>
                  <a:lnTo>
                    <a:pt x="1262" y="458"/>
                  </a:lnTo>
                  <a:lnTo>
                    <a:pt x="1262" y="456"/>
                  </a:lnTo>
                  <a:lnTo>
                    <a:pt x="1261" y="451"/>
                  </a:lnTo>
                  <a:lnTo>
                    <a:pt x="1261" y="449"/>
                  </a:lnTo>
                  <a:lnTo>
                    <a:pt x="1263" y="449"/>
                  </a:lnTo>
                  <a:lnTo>
                    <a:pt x="1264" y="448"/>
                  </a:lnTo>
                  <a:lnTo>
                    <a:pt x="1265" y="441"/>
                  </a:lnTo>
                  <a:lnTo>
                    <a:pt x="1266" y="440"/>
                  </a:lnTo>
                  <a:lnTo>
                    <a:pt x="1267" y="439"/>
                  </a:lnTo>
                  <a:lnTo>
                    <a:pt x="1267" y="439"/>
                  </a:lnTo>
                  <a:lnTo>
                    <a:pt x="1268" y="438"/>
                  </a:lnTo>
                  <a:lnTo>
                    <a:pt x="1267" y="434"/>
                  </a:lnTo>
                  <a:lnTo>
                    <a:pt x="1269" y="433"/>
                  </a:lnTo>
                  <a:lnTo>
                    <a:pt x="1270" y="432"/>
                  </a:lnTo>
                  <a:lnTo>
                    <a:pt x="1270" y="430"/>
                  </a:lnTo>
                  <a:lnTo>
                    <a:pt x="1270" y="423"/>
                  </a:lnTo>
                  <a:lnTo>
                    <a:pt x="1270" y="421"/>
                  </a:lnTo>
                  <a:lnTo>
                    <a:pt x="1269" y="420"/>
                  </a:lnTo>
                  <a:lnTo>
                    <a:pt x="1269" y="421"/>
                  </a:lnTo>
                  <a:lnTo>
                    <a:pt x="1268" y="420"/>
                  </a:lnTo>
                  <a:lnTo>
                    <a:pt x="1266" y="416"/>
                  </a:lnTo>
                  <a:lnTo>
                    <a:pt x="1266" y="414"/>
                  </a:lnTo>
                  <a:lnTo>
                    <a:pt x="1266" y="406"/>
                  </a:lnTo>
                  <a:lnTo>
                    <a:pt x="1267" y="404"/>
                  </a:lnTo>
                  <a:lnTo>
                    <a:pt x="1268" y="403"/>
                  </a:lnTo>
                  <a:lnTo>
                    <a:pt x="1267" y="399"/>
                  </a:lnTo>
                  <a:lnTo>
                    <a:pt x="1268" y="396"/>
                  </a:lnTo>
                  <a:lnTo>
                    <a:pt x="1269" y="393"/>
                  </a:lnTo>
                  <a:lnTo>
                    <a:pt x="1270" y="390"/>
                  </a:lnTo>
                  <a:lnTo>
                    <a:pt x="1270" y="387"/>
                  </a:lnTo>
                  <a:lnTo>
                    <a:pt x="1270" y="385"/>
                  </a:lnTo>
                  <a:lnTo>
                    <a:pt x="1270" y="384"/>
                  </a:lnTo>
                  <a:lnTo>
                    <a:pt x="1268" y="378"/>
                  </a:lnTo>
                  <a:lnTo>
                    <a:pt x="1259" y="360"/>
                  </a:lnTo>
                  <a:lnTo>
                    <a:pt x="1259" y="355"/>
                  </a:lnTo>
                  <a:lnTo>
                    <a:pt x="1253" y="345"/>
                  </a:lnTo>
                  <a:lnTo>
                    <a:pt x="1250" y="338"/>
                  </a:lnTo>
                  <a:lnTo>
                    <a:pt x="1251" y="336"/>
                  </a:lnTo>
                  <a:lnTo>
                    <a:pt x="1251" y="333"/>
                  </a:lnTo>
                  <a:lnTo>
                    <a:pt x="1251" y="332"/>
                  </a:lnTo>
                  <a:lnTo>
                    <a:pt x="1249" y="330"/>
                  </a:lnTo>
                  <a:lnTo>
                    <a:pt x="1249" y="327"/>
                  </a:lnTo>
                  <a:lnTo>
                    <a:pt x="1249" y="324"/>
                  </a:lnTo>
                  <a:lnTo>
                    <a:pt x="1246" y="322"/>
                  </a:lnTo>
                  <a:lnTo>
                    <a:pt x="1248" y="319"/>
                  </a:lnTo>
                  <a:lnTo>
                    <a:pt x="1248" y="318"/>
                  </a:lnTo>
                  <a:lnTo>
                    <a:pt x="1247" y="315"/>
                  </a:lnTo>
                  <a:lnTo>
                    <a:pt x="1244" y="306"/>
                  </a:lnTo>
                  <a:lnTo>
                    <a:pt x="1242" y="302"/>
                  </a:lnTo>
                  <a:lnTo>
                    <a:pt x="1237" y="296"/>
                  </a:lnTo>
                  <a:lnTo>
                    <a:pt x="1237" y="296"/>
                  </a:lnTo>
                  <a:lnTo>
                    <a:pt x="1235" y="292"/>
                  </a:lnTo>
                  <a:lnTo>
                    <a:pt x="1232" y="294"/>
                  </a:lnTo>
                  <a:lnTo>
                    <a:pt x="1229" y="292"/>
                  </a:lnTo>
                  <a:lnTo>
                    <a:pt x="1225" y="290"/>
                  </a:lnTo>
                  <a:lnTo>
                    <a:pt x="1221" y="289"/>
                  </a:lnTo>
                  <a:lnTo>
                    <a:pt x="1221" y="286"/>
                  </a:lnTo>
                  <a:lnTo>
                    <a:pt x="1219" y="284"/>
                  </a:lnTo>
                  <a:lnTo>
                    <a:pt x="1215" y="281"/>
                  </a:lnTo>
                  <a:lnTo>
                    <a:pt x="1210" y="275"/>
                  </a:lnTo>
                  <a:lnTo>
                    <a:pt x="1209" y="274"/>
                  </a:lnTo>
                  <a:lnTo>
                    <a:pt x="1207" y="274"/>
                  </a:lnTo>
                  <a:lnTo>
                    <a:pt x="1206" y="273"/>
                  </a:lnTo>
                  <a:lnTo>
                    <a:pt x="1207" y="271"/>
                  </a:lnTo>
                  <a:lnTo>
                    <a:pt x="1207" y="270"/>
                  </a:lnTo>
                  <a:lnTo>
                    <a:pt x="1200" y="266"/>
                  </a:lnTo>
                  <a:lnTo>
                    <a:pt x="1199" y="263"/>
                  </a:lnTo>
                  <a:lnTo>
                    <a:pt x="1200" y="263"/>
                  </a:lnTo>
                  <a:lnTo>
                    <a:pt x="1200" y="262"/>
                  </a:lnTo>
                  <a:lnTo>
                    <a:pt x="1200" y="261"/>
                  </a:lnTo>
                  <a:lnTo>
                    <a:pt x="1200" y="259"/>
                  </a:lnTo>
                  <a:lnTo>
                    <a:pt x="1200" y="258"/>
                  </a:lnTo>
                  <a:lnTo>
                    <a:pt x="1197" y="252"/>
                  </a:lnTo>
                  <a:lnTo>
                    <a:pt x="1194" y="247"/>
                  </a:lnTo>
                  <a:lnTo>
                    <a:pt x="1192" y="244"/>
                  </a:lnTo>
                  <a:lnTo>
                    <a:pt x="1192" y="241"/>
                  </a:lnTo>
                  <a:lnTo>
                    <a:pt x="1189" y="236"/>
                  </a:lnTo>
                  <a:lnTo>
                    <a:pt x="1187" y="234"/>
                  </a:lnTo>
                  <a:lnTo>
                    <a:pt x="1183" y="233"/>
                  </a:lnTo>
                  <a:lnTo>
                    <a:pt x="1182" y="232"/>
                  </a:lnTo>
                  <a:lnTo>
                    <a:pt x="1181" y="231"/>
                  </a:lnTo>
                  <a:lnTo>
                    <a:pt x="1179" y="230"/>
                  </a:lnTo>
                  <a:lnTo>
                    <a:pt x="1175" y="229"/>
                  </a:lnTo>
                  <a:lnTo>
                    <a:pt x="1173" y="228"/>
                  </a:lnTo>
                  <a:lnTo>
                    <a:pt x="1171" y="225"/>
                  </a:lnTo>
                  <a:lnTo>
                    <a:pt x="1168" y="216"/>
                  </a:lnTo>
                  <a:lnTo>
                    <a:pt x="1166" y="214"/>
                  </a:lnTo>
                  <a:lnTo>
                    <a:pt x="1166" y="214"/>
                  </a:lnTo>
                  <a:lnTo>
                    <a:pt x="1163" y="212"/>
                  </a:lnTo>
                  <a:lnTo>
                    <a:pt x="1165" y="205"/>
                  </a:lnTo>
                  <a:lnTo>
                    <a:pt x="1162" y="203"/>
                  </a:lnTo>
                  <a:lnTo>
                    <a:pt x="1162" y="200"/>
                  </a:lnTo>
                  <a:lnTo>
                    <a:pt x="1163" y="198"/>
                  </a:lnTo>
                  <a:lnTo>
                    <a:pt x="1164" y="196"/>
                  </a:lnTo>
                  <a:lnTo>
                    <a:pt x="1165" y="195"/>
                  </a:lnTo>
                  <a:lnTo>
                    <a:pt x="1164" y="192"/>
                  </a:lnTo>
                  <a:lnTo>
                    <a:pt x="1162" y="190"/>
                  </a:lnTo>
                  <a:lnTo>
                    <a:pt x="1159" y="189"/>
                  </a:lnTo>
                  <a:lnTo>
                    <a:pt x="1157" y="188"/>
                  </a:lnTo>
                  <a:lnTo>
                    <a:pt x="1157" y="189"/>
                  </a:lnTo>
                  <a:lnTo>
                    <a:pt x="1153" y="188"/>
                  </a:lnTo>
                  <a:lnTo>
                    <a:pt x="1152" y="188"/>
                  </a:lnTo>
                  <a:lnTo>
                    <a:pt x="1152" y="187"/>
                  </a:lnTo>
                  <a:lnTo>
                    <a:pt x="1151" y="187"/>
                  </a:lnTo>
                  <a:lnTo>
                    <a:pt x="1149" y="187"/>
                  </a:lnTo>
                  <a:lnTo>
                    <a:pt x="1147" y="185"/>
                  </a:lnTo>
                  <a:lnTo>
                    <a:pt x="1147" y="182"/>
                  </a:lnTo>
                  <a:lnTo>
                    <a:pt x="1145" y="175"/>
                  </a:lnTo>
                  <a:lnTo>
                    <a:pt x="1145" y="175"/>
                  </a:lnTo>
                  <a:lnTo>
                    <a:pt x="1143" y="175"/>
                  </a:lnTo>
                  <a:lnTo>
                    <a:pt x="1142" y="174"/>
                  </a:lnTo>
                  <a:lnTo>
                    <a:pt x="1142" y="174"/>
                  </a:lnTo>
                  <a:lnTo>
                    <a:pt x="1142" y="171"/>
                  </a:lnTo>
                  <a:lnTo>
                    <a:pt x="1142" y="170"/>
                  </a:lnTo>
                  <a:lnTo>
                    <a:pt x="1142" y="169"/>
                  </a:lnTo>
                  <a:lnTo>
                    <a:pt x="1141" y="166"/>
                  </a:lnTo>
                  <a:lnTo>
                    <a:pt x="1141" y="165"/>
                  </a:lnTo>
                  <a:lnTo>
                    <a:pt x="1140" y="164"/>
                  </a:lnTo>
                  <a:lnTo>
                    <a:pt x="1135" y="162"/>
                  </a:lnTo>
                  <a:lnTo>
                    <a:pt x="1131" y="158"/>
                  </a:lnTo>
                  <a:lnTo>
                    <a:pt x="1121" y="144"/>
                  </a:lnTo>
                  <a:lnTo>
                    <a:pt x="1117" y="138"/>
                  </a:lnTo>
                  <a:lnTo>
                    <a:pt x="1116" y="133"/>
                  </a:lnTo>
                  <a:lnTo>
                    <a:pt x="1119" y="132"/>
                  </a:lnTo>
                  <a:lnTo>
                    <a:pt x="1119" y="130"/>
                  </a:lnTo>
                  <a:lnTo>
                    <a:pt x="1118" y="129"/>
                  </a:lnTo>
                  <a:lnTo>
                    <a:pt x="1119" y="126"/>
                  </a:lnTo>
                  <a:lnTo>
                    <a:pt x="1118" y="124"/>
                  </a:lnTo>
                  <a:lnTo>
                    <a:pt x="1118" y="124"/>
                  </a:lnTo>
                  <a:lnTo>
                    <a:pt x="1117" y="123"/>
                  </a:lnTo>
                  <a:lnTo>
                    <a:pt x="1114" y="121"/>
                  </a:lnTo>
                  <a:lnTo>
                    <a:pt x="1114" y="120"/>
                  </a:lnTo>
                  <a:lnTo>
                    <a:pt x="1113" y="118"/>
                  </a:lnTo>
                  <a:lnTo>
                    <a:pt x="1111" y="114"/>
                  </a:lnTo>
                  <a:lnTo>
                    <a:pt x="1109" y="111"/>
                  </a:lnTo>
                  <a:lnTo>
                    <a:pt x="1107" y="109"/>
                  </a:lnTo>
                  <a:lnTo>
                    <a:pt x="1112" y="106"/>
                  </a:lnTo>
                  <a:lnTo>
                    <a:pt x="1112" y="104"/>
                  </a:lnTo>
                  <a:lnTo>
                    <a:pt x="1110" y="103"/>
                  </a:lnTo>
                  <a:lnTo>
                    <a:pt x="1108" y="103"/>
                  </a:lnTo>
                  <a:lnTo>
                    <a:pt x="1106" y="101"/>
                  </a:lnTo>
                  <a:lnTo>
                    <a:pt x="1106" y="100"/>
                  </a:lnTo>
                  <a:lnTo>
                    <a:pt x="1106" y="93"/>
                  </a:lnTo>
                  <a:lnTo>
                    <a:pt x="1106" y="91"/>
                  </a:lnTo>
                  <a:lnTo>
                    <a:pt x="1103" y="88"/>
                  </a:lnTo>
                  <a:lnTo>
                    <a:pt x="1100" y="86"/>
                  </a:lnTo>
                  <a:lnTo>
                    <a:pt x="1098" y="84"/>
                  </a:lnTo>
                  <a:lnTo>
                    <a:pt x="1101" y="80"/>
                  </a:lnTo>
                  <a:lnTo>
                    <a:pt x="1101" y="79"/>
                  </a:lnTo>
                  <a:lnTo>
                    <a:pt x="1100" y="78"/>
                  </a:lnTo>
                  <a:lnTo>
                    <a:pt x="1096" y="75"/>
                  </a:lnTo>
                  <a:lnTo>
                    <a:pt x="1098" y="74"/>
                  </a:lnTo>
                  <a:lnTo>
                    <a:pt x="1099" y="71"/>
                  </a:lnTo>
                  <a:lnTo>
                    <a:pt x="1099" y="69"/>
                  </a:lnTo>
                  <a:lnTo>
                    <a:pt x="1097" y="67"/>
                  </a:lnTo>
                  <a:lnTo>
                    <a:pt x="1095" y="68"/>
                  </a:lnTo>
                  <a:lnTo>
                    <a:pt x="1094" y="65"/>
                  </a:lnTo>
                  <a:lnTo>
                    <a:pt x="1092" y="62"/>
                  </a:lnTo>
                  <a:lnTo>
                    <a:pt x="1088" y="64"/>
                  </a:lnTo>
                  <a:lnTo>
                    <a:pt x="1087" y="63"/>
                  </a:lnTo>
                  <a:lnTo>
                    <a:pt x="1087" y="62"/>
                  </a:lnTo>
                  <a:lnTo>
                    <a:pt x="1087" y="62"/>
                  </a:lnTo>
                  <a:lnTo>
                    <a:pt x="1087" y="61"/>
                  </a:lnTo>
                  <a:lnTo>
                    <a:pt x="1090" y="59"/>
                  </a:lnTo>
                  <a:lnTo>
                    <a:pt x="1090" y="57"/>
                  </a:lnTo>
                  <a:lnTo>
                    <a:pt x="1086" y="55"/>
                  </a:lnTo>
                  <a:lnTo>
                    <a:pt x="1082" y="52"/>
                  </a:lnTo>
                  <a:lnTo>
                    <a:pt x="1079" y="47"/>
                  </a:lnTo>
                  <a:lnTo>
                    <a:pt x="1078" y="41"/>
                  </a:lnTo>
                  <a:lnTo>
                    <a:pt x="1078" y="40"/>
                  </a:lnTo>
                  <a:lnTo>
                    <a:pt x="1080" y="38"/>
                  </a:lnTo>
                  <a:lnTo>
                    <a:pt x="1080" y="37"/>
                  </a:lnTo>
                  <a:lnTo>
                    <a:pt x="1080" y="37"/>
                  </a:lnTo>
                  <a:lnTo>
                    <a:pt x="1079" y="35"/>
                  </a:lnTo>
                  <a:lnTo>
                    <a:pt x="1078" y="34"/>
                  </a:lnTo>
                  <a:lnTo>
                    <a:pt x="1076" y="33"/>
                  </a:lnTo>
                  <a:lnTo>
                    <a:pt x="1074" y="35"/>
                  </a:lnTo>
                  <a:lnTo>
                    <a:pt x="1071" y="34"/>
                  </a:lnTo>
                  <a:lnTo>
                    <a:pt x="1067" y="32"/>
                  </a:lnTo>
                  <a:lnTo>
                    <a:pt x="1067" y="30"/>
                  </a:lnTo>
                  <a:lnTo>
                    <a:pt x="1070" y="30"/>
                  </a:lnTo>
                  <a:lnTo>
                    <a:pt x="1072" y="28"/>
                  </a:lnTo>
                  <a:lnTo>
                    <a:pt x="1072" y="26"/>
                  </a:lnTo>
                  <a:lnTo>
                    <a:pt x="1067" y="24"/>
                  </a:lnTo>
                  <a:lnTo>
                    <a:pt x="1065" y="21"/>
                  </a:lnTo>
                  <a:lnTo>
                    <a:pt x="1064" y="18"/>
                  </a:lnTo>
                  <a:lnTo>
                    <a:pt x="1063" y="17"/>
                  </a:lnTo>
                  <a:lnTo>
                    <a:pt x="1061" y="18"/>
                  </a:lnTo>
                  <a:lnTo>
                    <a:pt x="1059" y="21"/>
                  </a:lnTo>
                  <a:lnTo>
                    <a:pt x="1058" y="22"/>
                  </a:lnTo>
                  <a:lnTo>
                    <a:pt x="1057" y="17"/>
                  </a:lnTo>
                  <a:lnTo>
                    <a:pt x="1056" y="16"/>
                  </a:lnTo>
                  <a:lnTo>
                    <a:pt x="1049" y="9"/>
                  </a:lnTo>
                  <a:lnTo>
                    <a:pt x="1048" y="10"/>
                  </a:lnTo>
                  <a:lnTo>
                    <a:pt x="1044" y="6"/>
                  </a:lnTo>
                  <a:lnTo>
                    <a:pt x="1041" y="4"/>
                  </a:lnTo>
                  <a:lnTo>
                    <a:pt x="1035" y="5"/>
                  </a:lnTo>
                  <a:lnTo>
                    <a:pt x="1032" y="5"/>
                  </a:lnTo>
                  <a:lnTo>
                    <a:pt x="1030" y="1"/>
                  </a:lnTo>
                  <a:lnTo>
                    <a:pt x="1028" y="4"/>
                  </a:lnTo>
                  <a:lnTo>
                    <a:pt x="1027" y="3"/>
                  </a:lnTo>
                  <a:lnTo>
                    <a:pt x="1023" y="0"/>
                  </a:lnTo>
                  <a:lnTo>
                    <a:pt x="1019" y="0"/>
                  </a:lnTo>
                  <a:lnTo>
                    <a:pt x="1012" y="4"/>
                  </a:lnTo>
                  <a:lnTo>
                    <a:pt x="1007" y="6"/>
                  </a:lnTo>
                  <a:lnTo>
                    <a:pt x="987" y="11"/>
                  </a:lnTo>
                  <a:lnTo>
                    <a:pt x="984" y="11"/>
                  </a:lnTo>
                  <a:lnTo>
                    <a:pt x="977" y="12"/>
                  </a:lnTo>
                  <a:lnTo>
                    <a:pt x="974" y="13"/>
                  </a:lnTo>
                  <a:lnTo>
                    <a:pt x="969" y="15"/>
                  </a:lnTo>
                  <a:lnTo>
                    <a:pt x="966" y="16"/>
                  </a:lnTo>
                  <a:lnTo>
                    <a:pt x="963" y="16"/>
                  </a:lnTo>
                  <a:lnTo>
                    <a:pt x="962" y="15"/>
                  </a:lnTo>
                  <a:lnTo>
                    <a:pt x="961" y="23"/>
                  </a:lnTo>
                  <a:lnTo>
                    <a:pt x="961" y="28"/>
                  </a:lnTo>
                  <a:lnTo>
                    <a:pt x="959" y="36"/>
                  </a:lnTo>
                  <a:lnTo>
                    <a:pt x="957" y="43"/>
                  </a:lnTo>
                  <a:lnTo>
                    <a:pt x="954" y="48"/>
                  </a:lnTo>
                  <a:lnTo>
                    <a:pt x="952" y="51"/>
                  </a:lnTo>
                  <a:lnTo>
                    <a:pt x="948" y="54"/>
                  </a:lnTo>
                  <a:lnTo>
                    <a:pt x="946" y="57"/>
                  </a:lnTo>
                  <a:lnTo>
                    <a:pt x="943" y="65"/>
                  </a:lnTo>
                  <a:lnTo>
                    <a:pt x="941" y="67"/>
                  </a:lnTo>
                  <a:lnTo>
                    <a:pt x="934" y="71"/>
                  </a:lnTo>
                  <a:lnTo>
                    <a:pt x="930" y="71"/>
                  </a:lnTo>
                  <a:lnTo>
                    <a:pt x="918" y="71"/>
                  </a:lnTo>
                  <a:lnTo>
                    <a:pt x="908" y="74"/>
                  </a:lnTo>
                  <a:lnTo>
                    <a:pt x="901" y="73"/>
                  </a:lnTo>
                  <a:lnTo>
                    <a:pt x="898" y="73"/>
                  </a:lnTo>
                  <a:lnTo>
                    <a:pt x="893" y="76"/>
                  </a:lnTo>
                  <a:lnTo>
                    <a:pt x="885" y="76"/>
                  </a:lnTo>
                  <a:lnTo>
                    <a:pt x="874" y="81"/>
                  </a:lnTo>
                  <a:lnTo>
                    <a:pt x="796" y="89"/>
                  </a:lnTo>
                  <a:lnTo>
                    <a:pt x="790" y="94"/>
                  </a:lnTo>
                  <a:lnTo>
                    <a:pt x="774" y="120"/>
                  </a:lnTo>
                  <a:lnTo>
                    <a:pt x="768" y="126"/>
                  </a:lnTo>
                  <a:lnTo>
                    <a:pt x="768" y="126"/>
                  </a:lnTo>
                  <a:lnTo>
                    <a:pt x="768" y="126"/>
                  </a:lnTo>
                  <a:lnTo>
                    <a:pt x="758" y="130"/>
                  </a:lnTo>
                  <a:lnTo>
                    <a:pt x="746" y="132"/>
                  </a:lnTo>
                  <a:lnTo>
                    <a:pt x="744" y="133"/>
                  </a:lnTo>
                  <a:lnTo>
                    <a:pt x="739" y="134"/>
                  </a:lnTo>
                  <a:lnTo>
                    <a:pt x="736" y="132"/>
                  </a:lnTo>
                  <a:lnTo>
                    <a:pt x="732" y="126"/>
                  </a:lnTo>
                  <a:lnTo>
                    <a:pt x="726" y="116"/>
                  </a:lnTo>
                  <a:lnTo>
                    <a:pt x="725" y="114"/>
                  </a:lnTo>
                  <a:lnTo>
                    <a:pt x="722" y="111"/>
                  </a:lnTo>
                  <a:lnTo>
                    <a:pt x="709" y="106"/>
                  </a:lnTo>
                  <a:lnTo>
                    <a:pt x="704" y="103"/>
                  </a:lnTo>
                  <a:lnTo>
                    <a:pt x="701" y="100"/>
                  </a:lnTo>
                  <a:lnTo>
                    <a:pt x="701" y="97"/>
                  </a:lnTo>
                  <a:lnTo>
                    <a:pt x="700" y="94"/>
                  </a:lnTo>
                  <a:lnTo>
                    <a:pt x="699" y="90"/>
                  </a:lnTo>
                  <a:lnTo>
                    <a:pt x="697" y="87"/>
                  </a:lnTo>
                  <a:lnTo>
                    <a:pt x="693" y="84"/>
                  </a:lnTo>
                  <a:lnTo>
                    <a:pt x="687" y="80"/>
                  </a:lnTo>
                  <a:lnTo>
                    <a:pt x="685" y="79"/>
                  </a:lnTo>
                  <a:lnTo>
                    <a:pt x="682" y="79"/>
                  </a:lnTo>
                  <a:lnTo>
                    <a:pt x="673" y="79"/>
                  </a:lnTo>
                  <a:lnTo>
                    <a:pt x="664" y="76"/>
                  </a:lnTo>
                  <a:lnTo>
                    <a:pt x="661" y="77"/>
                  </a:lnTo>
                  <a:lnTo>
                    <a:pt x="658" y="79"/>
                  </a:lnTo>
                  <a:lnTo>
                    <a:pt x="651" y="84"/>
                  </a:lnTo>
                  <a:lnTo>
                    <a:pt x="643" y="84"/>
                  </a:lnTo>
                  <a:lnTo>
                    <a:pt x="633" y="90"/>
                  </a:lnTo>
                  <a:lnTo>
                    <a:pt x="629" y="90"/>
                  </a:lnTo>
                  <a:lnTo>
                    <a:pt x="620" y="86"/>
                  </a:lnTo>
                  <a:lnTo>
                    <a:pt x="620" y="86"/>
                  </a:lnTo>
                  <a:lnTo>
                    <a:pt x="617" y="86"/>
                  </a:lnTo>
                  <a:lnTo>
                    <a:pt x="611" y="80"/>
                  </a:lnTo>
                  <a:lnTo>
                    <a:pt x="608" y="79"/>
                  </a:lnTo>
                  <a:lnTo>
                    <a:pt x="600" y="76"/>
                  </a:lnTo>
                  <a:lnTo>
                    <a:pt x="598" y="75"/>
                  </a:lnTo>
                  <a:lnTo>
                    <a:pt x="593" y="74"/>
                  </a:lnTo>
                  <a:lnTo>
                    <a:pt x="577" y="81"/>
                  </a:lnTo>
                  <a:lnTo>
                    <a:pt x="573" y="81"/>
                  </a:lnTo>
                  <a:lnTo>
                    <a:pt x="572" y="77"/>
                  </a:lnTo>
                  <a:lnTo>
                    <a:pt x="564" y="70"/>
                  </a:lnTo>
                  <a:lnTo>
                    <a:pt x="561" y="68"/>
                  </a:lnTo>
                  <a:lnTo>
                    <a:pt x="550" y="69"/>
                  </a:lnTo>
                  <a:lnTo>
                    <a:pt x="546" y="68"/>
                  </a:lnTo>
                  <a:lnTo>
                    <a:pt x="540" y="66"/>
                  </a:lnTo>
                  <a:lnTo>
                    <a:pt x="530" y="65"/>
                  </a:lnTo>
                  <a:lnTo>
                    <a:pt x="527" y="64"/>
                  </a:lnTo>
                  <a:lnTo>
                    <a:pt x="521" y="65"/>
                  </a:lnTo>
                  <a:lnTo>
                    <a:pt x="519" y="66"/>
                  </a:lnTo>
                  <a:lnTo>
                    <a:pt x="517" y="67"/>
                  </a:lnTo>
                  <a:lnTo>
                    <a:pt x="517" y="69"/>
                  </a:lnTo>
                  <a:lnTo>
                    <a:pt x="516" y="70"/>
                  </a:lnTo>
                  <a:lnTo>
                    <a:pt x="515" y="71"/>
                  </a:lnTo>
                  <a:lnTo>
                    <a:pt x="515" y="71"/>
                  </a:lnTo>
                  <a:lnTo>
                    <a:pt x="514" y="72"/>
                  </a:lnTo>
                  <a:lnTo>
                    <a:pt x="511" y="72"/>
                  </a:lnTo>
                  <a:lnTo>
                    <a:pt x="500" y="67"/>
                  </a:lnTo>
                  <a:lnTo>
                    <a:pt x="500" y="67"/>
                  </a:lnTo>
                  <a:lnTo>
                    <a:pt x="500" y="67"/>
                  </a:lnTo>
                  <a:lnTo>
                    <a:pt x="500" y="67"/>
                  </a:lnTo>
                  <a:lnTo>
                    <a:pt x="499" y="67"/>
                  </a:lnTo>
                  <a:lnTo>
                    <a:pt x="498" y="67"/>
                  </a:lnTo>
                  <a:lnTo>
                    <a:pt x="497" y="68"/>
                  </a:lnTo>
                  <a:lnTo>
                    <a:pt x="496" y="67"/>
                  </a:lnTo>
                  <a:lnTo>
                    <a:pt x="495" y="67"/>
                  </a:lnTo>
                  <a:lnTo>
                    <a:pt x="491" y="63"/>
                  </a:lnTo>
                  <a:lnTo>
                    <a:pt x="483" y="56"/>
                  </a:lnTo>
                  <a:lnTo>
                    <a:pt x="477" y="48"/>
                  </a:lnTo>
                  <a:lnTo>
                    <a:pt x="474" y="47"/>
                  </a:lnTo>
                  <a:lnTo>
                    <a:pt x="463" y="43"/>
                  </a:lnTo>
                  <a:lnTo>
                    <a:pt x="460" y="42"/>
                  </a:lnTo>
                  <a:lnTo>
                    <a:pt x="456" y="44"/>
                  </a:lnTo>
                  <a:lnTo>
                    <a:pt x="453" y="48"/>
                  </a:lnTo>
                  <a:lnTo>
                    <a:pt x="450" y="60"/>
                  </a:lnTo>
                  <a:lnTo>
                    <a:pt x="448" y="64"/>
                  </a:lnTo>
                  <a:lnTo>
                    <a:pt x="441" y="69"/>
                  </a:lnTo>
                  <a:lnTo>
                    <a:pt x="438" y="69"/>
                  </a:lnTo>
                  <a:lnTo>
                    <a:pt x="436" y="69"/>
                  </a:lnTo>
                  <a:lnTo>
                    <a:pt x="433" y="67"/>
                  </a:lnTo>
                  <a:lnTo>
                    <a:pt x="431" y="65"/>
                  </a:lnTo>
                  <a:lnTo>
                    <a:pt x="428" y="64"/>
                  </a:lnTo>
                  <a:lnTo>
                    <a:pt x="425" y="64"/>
                  </a:lnTo>
                  <a:lnTo>
                    <a:pt x="424" y="67"/>
                  </a:lnTo>
                  <a:lnTo>
                    <a:pt x="425" y="72"/>
                  </a:lnTo>
                  <a:lnTo>
                    <a:pt x="424" y="75"/>
                  </a:lnTo>
                  <a:lnTo>
                    <a:pt x="421" y="77"/>
                  </a:lnTo>
                  <a:lnTo>
                    <a:pt x="418" y="78"/>
                  </a:lnTo>
                  <a:lnTo>
                    <a:pt x="415" y="81"/>
                  </a:lnTo>
                  <a:lnTo>
                    <a:pt x="411" y="88"/>
                  </a:lnTo>
                  <a:lnTo>
                    <a:pt x="409" y="91"/>
                  </a:lnTo>
                  <a:lnTo>
                    <a:pt x="403" y="93"/>
                  </a:lnTo>
                  <a:lnTo>
                    <a:pt x="400" y="95"/>
                  </a:lnTo>
                  <a:lnTo>
                    <a:pt x="398" y="98"/>
                  </a:lnTo>
                  <a:lnTo>
                    <a:pt x="398" y="100"/>
                  </a:lnTo>
                  <a:lnTo>
                    <a:pt x="399" y="102"/>
                  </a:lnTo>
                  <a:lnTo>
                    <a:pt x="399" y="103"/>
                  </a:lnTo>
                  <a:lnTo>
                    <a:pt x="398" y="106"/>
                  </a:lnTo>
                  <a:lnTo>
                    <a:pt x="397" y="107"/>
                  </a:lnTo>
                  <a:lnTo>
                    <a:pt x="394" y="107"/>
                  </a:lnTo>
                  <a:lnTo>
                    <a:pt x="390" y="109"/>
                  </a:lnTo>
                  <a:lnTo>
                    <a:pt x="389" y="110"/>
                  </a:lnTo>
                  <a:lnTo>
                    <a:pt x="384" y="115"/>
                  </a:lnTo>
                  <a:lnTo>
                    <a:pt x="380" y="119"/>
                  </a:lnTo>
                  <a:lnTo>
                    <a:pt x="374" y="122"/>
                  </a:lnTo>
                  <a:lnTo>
                    <a:pt x="368" y="123"/>
                  </a:lnTo>
                  <a:lnTo>
                    <a:pt x="363" y="122"/>
                  </a:lnTo>
                  <a:lnTo>
                    <a:pt x="351" y="115"/>
                  </a:lnTo>
                  <a:lnTo>
                    <a:pt x="346" y="117"/>
                  </a:lnTo>
                  <a:lnTo>
                    <a:pt x="343" y="126"/>
                  </a:lnTo>
                  <a:lnTo>
                    <a:pt x="341" y="128"/>
                  </a:lnTo>
                  <a:lnTo>
                    <a:pt x="340" y="129"/>
                  </a:lnTo>
                  <a:lnTo>
                    <a:pt x="337" y="129"/>
                  </a:lnTo>
                  <a:lnTo>
                    <a:pt x="330" y="128"/>
                  </a:lnTo>
                  <a:lnTo>
                    <a:pt x="328" y="128"/>
                  </a:lnTo>
                  <a:lnTo>
                    <a:pt x="325" y="129"/>
                  </a:lnTo>
                  <a:lnTo>
                    <a:pt x="322" y="130"/>
                  </a:lnTo>
                  <a:lnTo>
                    <a:pt x="320" y="132"/>
                  </a:lnTo>
                  <a:lnTo>
                    <a:pt x="317" y="138"/>
                  </a:lnTo>
                  <a:lnTo>
                    <a:pt x="316" y="139"/>
                  </a:lnTo>
                  <a:lnTo>
                    <a:pt x="313" y="141"/>
                  </a:lnTo>
                  <a:lnTo>
                    <a:pt x="312" y="142"/>
                  </a:lnTo>
                  <a:lnTo>
                    <a:pt x="311" y="144"/>
                  </a:lnTo>
                  <a:lnTo>
                    <a:pt x="311" y="148"/>
                  </a:lnTo>
                  <a:lnTo>
                    <a:pt x="310" y="150"/>
                  </a:lnTo>
                  <a:lnTo>
                    <a:pt x="306" y="156"/>
                  </a:lnTo>
                  <a:lnTo>
                    <a:pt x="306" y="158"/>
                  </a:lnTo>
                  <a:lnTo>
                    <a:pt x="306" y="159"/>
                  </a:lnTo>
                  <a:lnTo>
                    <a:pt x="305" y="161"/>
                  </a:lnTo>
                  <a:lnTo>
                    <a:pt x="305" y="161"/>
                  </a:lnTo>
                  <a:lnTo>
                    <a:pt x="305" y="163"/>
                  </a:lnTo>
                  <a:lnTo>
                    <a:pt x="303" y="164"/>
                  </a:lnTo>
                  <a:lnTo>
                    <a:pt x="302" y="164"/>
                  </a:lnTo>
                  <a:lnTo>
                    <a:pt x="295" y="166"/>
                  </a:lnTo>
                  <a:lnTo>
                    <a:pt x="285" y="174"/>
                  </a:lnTo>
                  <a:lnTo>
                    <a:pt x="280" y="179"/>
                  </a:lnTo>
                  <a:lnTo>
                    <a:pt x="277" y="185"/>
                  </a:lnTo>
                  <a:lnTo>
                    <a:pt x="277" y="192"/>
                  </a:lnTo>
                  <a:lnTo>
                    <a:pt x="279" y="200"/>
                  </a:lnTo>
                  <a:lnTo>
                    <a:pt x="279" y="208"/>
                  </a:lnTo>
                  <a:lnTo>
                    <a:pt x="276" y="214"/>
                  </a:lnTo>
                  <a:lnTo>
                    <a:pt x="269" y="217"/>
                  </a:lnTo>
                  <a:lnTo>
                    <a:pt x="266" y="218"/>
                  </a:lnTo>
                  <a:lnTo>
                    <a:pt x="263" y="222"/>
                  </a:lnTo>
                  <a:lnTo>
                    <a:pt x="257" y="230"/>
                  </a:lnTo>
                  <a:lnTo>
                    <a:pt x="256" y="233"/>
                  </a:lnTo>
                  <a:lnTo>
                    <a:pt x="254" y="242"/>
                  </a:lnTo>
                  <a:lnTo>
                    <a:pt x="253" y="244"/>
                  </a:lnTo>
                  <a:lnTo>
                    <a:pt x="251" y="247"/>
                  </a:lnTo>
                  <a:lnTo>
                    <a:pt x="251" y="250"/>
                  </a:lnTo>
                  <a:lnTo>
                    <a:pt x="251" y="252"/>
                  </a:lnTo>
                  <a:lnTo>
                    <a:pt x="251" y="254"/>
                  </a:lnTo>
                  <a:lnTo>
                    <a:pt x="251" y="257"/>
                  </a:lnTo>
                  <a:lnTo>
                    <a:pt x="250" y="259"/>
                  </a:lnTo>
                  <a:lnTo>
                    <a:pt x="249" y="261"/>
                  </a:lnTo>
                  <a:lnTo>
                    <a:pt x="245" y="265"/>
                  </a:lnTo>
                  <a:lnTo>
                    <a:pt x="244" y="267"/>
                  </a:lnTo>
                  <a:lnTo>
                    <a:pt x="243" y="269"/>
                  </a:lnTo>
                  <a:lnTo>
                    <a:pt x="242" y="273"/>
                  </a:lnTo>
                  <a:lnTo>
                    <a:pt x="241" y="275"/>
                  </a:lnTo>
                  <a:lnTo>
                    <a:pt x="238" y="278"/>
                  </a:lnTo>
                  <a:lnTo>
                    <a:pt x="230" y="284"/>
                  </a:lnTo>
                  <a:lnTo>
                    <a:pt x="227" y="287"/>
                  </a:lnTo>
                  <a:lnTo>
                    <a:pt x="220" y="294"/>
                  </a:lnTo>
                  <a:lnTo>
                    <a:pt x="221" y="295"/>
                  </a:lnTo>
                  <a:lnTo>
                    <a:pt x="221" y="296"/>
                  </a:lnTo>
                  <a:lnTo>
                    <a:pt x="223" y="297"/>
                  </a:lnTo>
                  <a:lnTo>
                    <a:pt x="224" y="297"/>
                  </a:lnTo>
                  <a:lnTo>
                    <a:pt x="225" y="298"/>
                  </a:lnTo>
                  <a:lnTo>
                    <a:pt x="227" y="301"/>
                  </a:lnTo>
                  <a:lnTo>
                    <a:pt x="227" y="301"/>
                  </a:lnTo>
                  <a:lnTo>
                    <a:pt x="226" y="301"/>
                  </a:lnTo>
                  <a:lnTo>
                    <a:pt x="223" y="313"/>
                  </a:lnTo>
                  <a:lnTo>
                    <a:pt x="222" y="315"/>
                  </a:lnTo>
                  <a:lnTo>
                    <a:pt x="214" y="321"/>
                  </a:lnTo>
                  <a:lnTo>
                    <a:pt x="214" y="321"/>
                  </a:lnTo>
                  <a:lnTo>
                    <a:pt x="213" y="321"/>
                  </a:lnTo>
                  <a:lnTo>
                    <a:pt x="213" y="324"/>
                  </a:lnTo>
                  <a:lnTo>
                    <a:pt x="213" y="327"/>
                  </a:lnTo>
                  <a:lnTo>
                    <a:pt x="214" y="330"/>
                  </a:lnTo>
                  <a:lnTo>
                    <a:pt x="214" y="332"/>
                  </a:lnTo>
                  <a:lnTo>
                    <a:pt x="213" y="335"/>
                  </a:lnTo>
                  <a:lnTo>
                    <a:pt x="211" y="336"/>
                  </a:lnTo>
                  <a:lnTo>
                    <a:pt x="205" y="338"/>
                  </a:lnTo>
                  <a:lnTo>
                    <a:pt x="202" y="341"/>
                  </a:lnTo>
                  <a:lnTo>
                    <a:pt x="200" y="345"/>
                  </a:lnTo>
                  <a:lnTo>
                    <a:pt x="196" y="354"/>
                  </a:lnTo>
                  <a:lnTo>
                    <a:pt x="196" y="355"/>
                  </a:lnTo>
                  <a:lnTo>
                    <a:pt x="195" y="356"/>
                  </a:lnTo>
                  <a:lnTo>
                    <a:pt x="195" y="358"/>
                  </a:lnTo>
                  <a:lnTo>
                    <a:pt x="195" y="359"/>
                  </a:lnTo>
                  <a:lnTo>
                    <a:pt x="195" y="360"/>
                  </a:lnTo>
                  <a:lnTo>
                    <a:pt x="195" y="360"/>
                  </a:lnTo>
                  <a:lnTo>
                    <a:pt x="196" y="361"/>
                  </a:lnTo>
                  <a:lnTo>
                    <a:pt x="200" y="364"/>
                  </a:lnTo>
                  <a:lnTo>
                    <a:pt x="200" y="368"/>
                  </a:lnTo>
                  <a:lnTo>
                    <a:pt x="197" y="373"/>
                  </a:lnTo>
                  <a:lnTo>
                    <a:pt x="194" y="374"/>
                  </a:lnTo>
                  <a:lnTo>
                    <a:pt x="189" y="375"/>
                  </a:lnTo>
                  <a:lnTo>
                    <a:pt x="188" y="378"/>
                  </a:lnTo>
                  <a:lnTo>
                    <a:pt x="187" y="379"/>
                  </a:lnTo>
                  <a:lnTo>
                    <a:pt x="186" y="382"/>
                  </a:lnTo>
                  <a:lnTo>
                    <a:pt x="183" y="386"/>
                  </a:lnTo>
                  <a:lnTo>
                    <a:pt x="179" y="388"/>
                  </a:lnTo>
                  <a:lnTo>
                    <a:pt x="174" y="387"/>
                  </a:lnTo>
                  <a:lnTo>
                    <a:pt x="170" y="388"/>
                  </a:lnTo>
                  <a:lnTo>
                    <a:pt x="168" y="391"/>
                  </a:lnTo>
                  <a:lnTo>
                    <a:pt x="167" y="395"/>
                  </a:lnTo>
                  <a:lnTo>
                    <a:pt x="166" y="404"/>
                  </a:lnTo>
                  <a:lnTo>
                    <a:pt x="164" y="409"/>
                  </a:lnTo>
                  <a:lnTo>
                    <a:pt x="162" y="412"/>
                  </a:lnTo>
                  <a:lnTo>
                    <a:pt x="159" y="416"/>
                  </a:lnTo>
                  <a:lnTo>
                    <a:pt x="159" y="420"/>
                  </a:lnTo>
                  <a:lnTo>
                    <a:pt x="164" y="429"/>
                  </a:lnTo>
                  <a:lnTo>
                    <a:pt x="165" y="434"/>
                  </a:lnTo>
                  <a:lnTo>
                    <a:pt x="161" y="437"/>
                  </a:lnTo>
                  <a:lnTo>
                    <a:pt x="154" y="438"/>
                  </a:lnTo>
                  <a:lnTo>
                    <a:pt x="151" y="438"/>
                  </a:lnTo>
                  <a:lnTo>
                    <a:pt x="148" y="442"/>
                  </a:lnTo>
                  <a:lnTo>
                    <a:pt x="147" y="447"/>
                  </a:lnTo>
                  <a:lnTo>
                    <a:pt x="146" y="457"/>
                  </a:lnTo>
                  <a:lnTo>
                    <a:pt x="145" y="461"/>
                  </a:lnTo>
                  <a:lnTo>
                    <a:pt x="143" y="465"/>
                  </a:lnTo>
                  <a:lnTo>
                    <a:pt x="141" y="466"/>
                  </a:lnTo>
                  <a:lnTo>
                    <a:pt x="137" y="466"/>
                  </a:lnTo>
                  <a:lnTo>
                    <a:pt x="136" y="467"/>
                  </a:lnTo>
                  <a:lnTo>
                    <a:pt x="128" y="476"/>
                  </a:lnTo>
                  <a:lnTo>
                    <a:pt x="125" y="477"/>
                  </a:lnTo>
                  <a:lnTo>
                    <a:pt x="122" y="474"/>
                  </a:lnTo>
                  <a:lnTo>
                    <a:pt x="121" y="473"/>
                  </a:lnTo>
                  <a:lnTo>
                    <a:pt x="120" y="472"/>
                  </a:lnTo>
                  <a:lnTo>
                    <a:pt x="119" y="472"/>
                  </a:lnTo>
                  <a:lnTo>
                    <a:pt x="117" y="473"/>
                  </a:lnTo>
                  <a:lnTo>
                    <a:pt x="114" y="473"/>
                  </a:lnTo>
                  <a:lnTo>
                    <a:pt x="108" y="470"/>
                  </a:lnTo>
                  <a:lnTo>
                    <a:pt x="105" y="470"/>
                  </a:lnTo>
                  <a:lnTo>
                    <a:pt x="104" y="470"/>
                  </a:lnTo>
                  <a:lnTo>
                    <a:pt x="102" y="471"/>
                  </a:lnTo>
                  <a:lnTo>
                    <a:pt x="100" y="472"/>
                  </a:lnTo>
                  <a:lnTo>
                    <a:pt x="99" y="471"/>
                  </a:lnTo>
                  <a:lnTo>
                    <a:pt x="96" y="468"/>
                  </a:lnTo>
                  <a:lnTo>
                    <a:pt x="95" y="467"/>
                  </a:lnTo>
                  <a:lnTo>
                    <a:pt x="91" y="467"/>
                  </a:lnTo>
                  <a:lnTo>
                    <a:pt x="88" y="468"/>
                  </a:lnTo>
                  <a:lnTo>
                    <a:pt x="86" y="469"/>
                  </a:lnTo>
                  <a:lnTo>
                    <a:pt x="85" y="470"/>
                  </a:lnTo>
                  <a:lnTo>
                    <a:pt x="79" y="475"/>
                  </a:lnTo>
                  <a:lnTo>
                    <a:pt x="78" y="477"/>
                  </a:lnTo>
                  <a:lnTo>
                    <a:pt x="78" y="479"/>
                  </a:lnTo>
                  <a:lnTo>
                    <a:pt x="80" y="484"/>
                  </a:lnTo>
                  <a:lnTo>
                    <a:pt x="80" y="486"/>
                  </a:lnTo>
                  <a:lnTo>
                    <a:pt x="78" y="487"/>
                  </a:lnTo>
                  <a:lnTo>
                    <a:pt x="77" y="487"/>
                  </a:lnTo>
                  <a:lnTo>
                    <a:pt x="75" y="486"/>
                  </a:lnTo>
                  <a:lnTo>
                    <a:pt x="74" y="487"/>
                  </a:lnTo>
                  <a:lnTo>
                    <a:pt x="73" y="488"/>
                  </a:lnTo>
                  <a:lnTo>
                    <a:pt x="73" y="491"/>
                  </a:lnTo>
                  <a:lnTo>
                    <a:pt x="73" y="492"/>
                  </a:lnTo>
                  <a:lnTo>
                    <a:pt x="72" y="494"/>
                  </a:lnTo>
                  <a:lnTo>
                    <a:pt x="70" y="497"/>
                  </a:lnTo>
                  <a:lnTo>
                    <a:pt x="67" y="498"/>
                  </a:lnTo>
                  <a:lnTo>
                    <a:pt x="58" y="500"/>
                  </a:lnTo>
                  <a:lnTo>
                    <a:pt x="57" y="500"/>
                  </a:lnTo>
                  <a:lnTo>
                    <a:pt x="55" y="499"/>
                  </a:lnTo>
                  <a:lnTo>
                    <a:pt x="53" y="498"/>
                  </a:lnTo>
                  <a:lnTo>
                    <a:pt x="48" y="494"/>
                  </a:lnTo>
                  <a:lnTo>
                    <a:pt x="42" y="491"/>
                  </a:lnTo>
                  <a:lnTo>
                    <a:pt x="36" y="490"/>
                  </a:lnTo>
                  <a:lnTo>
                    <a:pt x="32" y="496"/>
                  </a:lnTo>
                  <a:lnTo>
                    <a:pt x="6" y="497"/>
                  </a:lnTo>
                  <a:lnTo>
                    <a:pt x="0" y="505"/>
                  </a:lnTo>
                  <a:lnTo>
                    <a:pt x="10" y="517"/>
                  </a:lnTo>
                  <a:lnTo>
                    <a:pt x="12" y="521"/>
                  </a:lnTo>
                  <a:lnTo>
                    <a:pt x="15" y="531"/>
                  </a:lnTo>
                  <a:lnTo>
                    <a:pt x="18" y="535"/>
                  </a:lnTo>
                  <a:lnTo>
                    <a:pt x="20" y="537"/>
                  </a:lnTo>
                  <a:lnTo>
                    <a:pt x="26" y="540"/>
                  </a:lnTo>
                  <a:lnTo>
                    <a:pt x="29" y="542"/>
                  </a:lnTo>
                  <a:lnTo>
                    <a:pt x="38" y="549"/>
                  </a:lnTo>
                  <a:lnTo>
                    <a:pt x="41" y="551"/>
                  </a:lnTo>
                  <a:lnTo>
                    <a:pt x="47" y="551"/>
                  </a:lnTo>
                  <a:lnTo>
                    <a:pt x="50" y="553"/>
                  </a:lnTo>
                  <a:lnTo>
                    <a:pt x="52" y="555"/>
                  </a:lnTo>
                  <a:lnTo>
                    <a:pt x="57" y="565"/>
                  </a:lnTo>
                  <a:lnTo>
                    <a:pt x="58" y="565"/>
                  </a:lnTo>
                  <a:lnTo>
                    <a:pt x="61" y="567"/>
                  </a:lnTo>
                  <a:lnTo>
                    <a:pt x="62" y="569"/>
                  </a:lnTo>
                  <a:lnTo>
                    <a:pt x="63" y="571"/>
                  </a:lnTo>
                  <a:lnTo>
                    <a:pt x="63" y="575"/>
                  </a:lnTo>
                  <a:lnTo>
                    <a:pt x="63" y="576"/>
                  </a:lnTo>
                  <a:lnTo>
                    <a:pt x="64" y="578"/>
                  </a:lnTo>
                  <a:lnTo>
                    <a:pt x="65" y="580"/>
                  </a:lnTo>
                  <a:lnTo>
                    <a:pt x="69" y="585"/>
                  </a:lnTo>
                  <a:lnTo>
                    <a:pt x="71" y="588"/>
                  </a:lnTo>
                  <a:lnTo>
                    <a:pt x="72" y="589"/>
                  </a:lnTo>
                  <a:lnTo>
                    <a:pt x="75" y="590"/>
                  </a:lnTo>
                  <a:lnTo>
                    <a:pt x="77" y="589"/>
                  </a:lnTo>
                  <a:lnTo>
                    <a:pt x="79" y="588"/>
                  </a:lnTo>
                  <a:lnTo>
                    <a:pt x="80" y="585"/>
                  </a:lnTo>
                  <a:lnTo>
                    <a:pt x="81" y="583"/>
                  </a:lnTo>
                  <a:lnTo>
                    <a:pt x="83" y="583"/>
                  </a:lnTo>
                  <a:lnTo>
                    <a:pt x="85" y="584"/>
                  </a:lnTo>
                  <a:lnTo>
                    <a:pt x="86" y="586"/>
                  </a:lnTo>
                  <a:lnTo>
                    <a:pt x="86" y="588"/>
                  </a:lnTo>
                  <a:lnTo>
                    <a:pt x="85" y="590"/>
                  </a:lnTo>
                  <a:lnTo>
                    <a:pt x="85" y="592"/>
                  </a:lnTo>
                  <a:lnTo>
                    <a:pt x="85" y="604"/>
                  </a:lnTo>
                  <a:lnTo>
                    <a:pt x="85" y="607"/>
                  </a:lnTo>
                  <a:lnTo>
                    <a:pt x="84" y="609"/>
                  </a:lnTo>
                  <a:lnTo>
                    <a:pt x="82" y="613"/>
                  </a:lnTo>
                  <a:lnTo>
                    <a:pt x="81" y="619"/>
                  </a:lnTo>
                  <a:lnTo>
                    <a:pt x="81" y="623"/>
                  </a:lnTo>
                  <a:lnTo>
                    <a:pt x="86" y="631"/>
                  </a:lnTo>
                  <a:lnTo>
                    <a:pt x="88" y="636"/>
                  </a:lnTo>
                  <a:lnTo>
                    <a:pt x="88" y="639"/>
                  </a:lnTo>
                  <a:lnTo>
                    <a:pt x="86" y="642"/>
                  </a:lnTo>
                  <a:lnTo>
                    <a:pt x="82" y="644"/>
                  </a:lnTo>
                  <a:lnTo>
                    <a:pt x="83" y="648"/>
                  </a:lnTo>
                  <a:lnTo>
                    <a:pt x="85" y="649"/>
                  </a:lnTo>
                  <a:lnTo>
                    <a:pt x="88" y="650"/>
                  </a:lnTo>
                  <a:lnTo>
                    <a:pt x="91" y="651"/>
                  </a:lnTo>
                  <a:lnTo>
                    <a:pt x="93" y="653"/>
                  </a:lnTo>
                  <a:lnTo>
                    <a:pt x="98" y="661"/>
                  </a:lnTo>
                  <a:lnTo>
                    <a:pt x="109" y="671"/>
                  </a:lnTo>
                  <a:lnTo>
                    <a:pt x="115" y="678"/>
                  </a:lnTo>
                  <a:lnTo>
                    <a:pt x="117" y="681"/>
                  </a:lnTo>
                  <a:lnTo>
                    <a:pt x="123" y="683"/>
                  </a:lnTo>
                  <a:lnTo>
                    <a:pt x="130" y="687"/>
                  </a:lnTo>
                  <a:lnTo>
                    <a:pt x="132" y="688"/>
                  </a:lnTo>
                  <a:lnTo>
                    <a:pt x="133" y="689"/>
                  </a:lnTo>
                  <a:lnTo>
                    <a:pt x="135" y="691"/>
                  </a:lnTo>
                  <a:lnTo>
                    <a:pt x="136" y="691"/>
                  </a:lnTo>
                  <a:lnTo>
                    <a:pt x="138" y="690"/>
                  </a:lnTo>
                  <a:lnTo>
                    <a:pt x="140" y="687"/>
                  </a:lnTo>
                  <a:lnTo>
                    <a:pt x="142" y="687"/>
                  </a:lnTo>
                  <a:lnTo>
                    <a:pt x="145" y="689"/>
                  </a:lnTo>
                  <a:lnTo>
                    <a:pt x="150" y="697"/>
                  </a:lnTo>
                  <a:lnTo>
                    <a:pt x="153" y="700"/>
                  </a:lnTo>
                  <a:lnTo>
                    <a:pt x="158" y="704"/>
                  </a:lnTo>
                  <a:lnTo>
                    <a:pt x="161" y="705"/>
                  </a:lnTo>
                  <a:lnTo>
                    <a:pt x="168" y="705"/>
                  </a:lnTo>
                  <a:lnTo>
                    <a:pt x="184" y="711"/>
                  </a:lnTo>
                  <a:lnTo>
                    <a:pt x="189" y="713"/>
                  </a:lnTo>
                  <a:lnTo>
                    <a:pt x="193" y="716"/>
                  </a:lnTo>
                  <a:lnTo>
                    <a:pt x="197" y="721"/>
                  </a:lnTo>
                  <a:lnTo>
                    <a:pt x="198" y="723"/>
                  </a:lnTo>
                  <a:lnTo>
                    <a:pt x="199" y="726"/>
                  </a:lnTo>
                  <a:lnTo>
                    <a:pt x="199" y="728"/>
                  </a:lnTo>
                  <a:lnTo>
                    <a:pt x="196" y="730"/>
                  </a:lnTo>
                  <a:lnTo>
                    <a:pt x="194" y="730"/>
                  </a:lnTo>
                  <a:lnTo>
                    <a:pt x="193" y="731"/>
                  </a:lnTo>
                  <a:lnTo>
                    <a:pt x="191" y="733"/>
                  </a:lnTo>
                  <a:lnTo>
                    <a:pt x="190" y="734"/>
                  </a:lnTo>
                  <a:lnTo>
                    <a:pt x="190" y="735"/>
                  </a:lnTo>
                  <a:lnTo>
                    <a:pt x="190" y="736"/>
                  </a:lnTo>
                  <a:lnTo>
                    <a:pt x="190" y="738"/>
                  </a:lnTo>
                  <a:lnTo>
                    <a:pt x="190" y="739"/>
                  </a:lnTo>
                  <a:lnTo>
                    <a:pt x="190" y="740"/>
                  </a:lnTo>
                  <a:lnTo>
                    <a:pt x="189" y="741"/>
                  </a:lnTo>
                  <a:lnTo>
                    <a:pt x="188" y="742"/>
                  </a:lnTo>
                  <a:lnTo>
                    <a:pt x="188" y="746"/>
                  </a:lnTo>
                  <a:lnTo>
                    <a:pt x="188" y="747"/>
                  </a:lnTo>
                  <a:lnTo>
                    <a:pt x="187" y="748"/>
                  </a:lnTo>
                  <a:lnTo>
                    <a:pt x="185" y="750"/>
                  </a:lnTo>
                  <a:lnTo>
                    <a:pt x="183" y="751"/>
                  </a:lnTo>
                  <a:lnTo>
                    <a:pt x="179" y="751"/>
                  </a:lnTo>
                  <a:lnTo>
                    <a:pt x="178" y="751"/>
                  </a:lnTo>
                  <a:lnTo>
                    <a:pt x="177" y="753"/>
                  </a:lnTo>
                  <a:lnTo>
                    <a:pt x="176" y="756"/>
                  </a:lnTo>
                  <a:lnTo>
                    <a:pt x="176" y="757"/>
                  </a:lnTo>
                  <a:lnTo>
                    <a:pt x="178" y="758"/>
                  </a:lnTo>
                  <a:lnTo>
                    <a:pt x="181" y="758"/>
                  </a:lnTo>
                  <a:lnTo>
                    <a:pt x="181" y="759"/>
                  </a:lnTo>
                  <a:lnTo>
                    <a:pt x="181" y="761"/>
                  </a:lnTo>
                  <a:lnTo>
                    <a:pt x="181" y="762"/>
                  </a:lnTo>
                  <a:lnTo>
                    <a:pt x="185" y="765"/>
                  </a:lnTo>
                  <a:lnTo>
                    <a:pt x="193" y="766"/>
                  </a:lnTo>
                  <a:lnTo>
                    <a:pt x="196" y="768"/>
                  </a:lnTo>
                  <a:lnTo>
                    <a:pt x="202" y="770"/>
                  </a:lnTo>
                  <a:lnTo>
                    <a:pt x="204" y="772"/>
                  </a:lnTo>
                  <a:lnTo>
                    <a:pt x="206" y="776"/>
                  </a:lnTo>
                  <a:lnTo>
                    <a:pt x="205" y="780"/>
                  </a:lnTo>
                  <a:lnTo>
                    <a:pt x="203" y="782"/>
                  </a:lnTo>
                  <a:lnTo>
                    <a:pt x="196" y="784"/>
                  </a:lnTo>
                  <a:lnTo>
                    <a:pt x="192" y="785"/>
                  </a:lnTo>
                  <a:lnTo>
                    <a:pt x="183" y="784"/>
                  </a:lnTo>
                  <a:lnTo>
                    <a:pt x="179" y="785"/>
                  </a:lnTo>
                  <a:lnTo>
                    <a:pt x="176" y="787"/>
                  </a:lnTo>
                  <a:lnTo>
                    <a:pt x="175" y="790"/>
                  </a:lnTo>
                  <a:lnTo>
                    <a:pt x="174" y="793"/>
                  </a:lnTo>
                  <a:lnTo>
                    <a:pt x="177" y="794"/>
                  </a:lnTo>
                  <a:lnTo>
                    <a:pt x="177" y="794"/>
                  </a:lnTo>
                  <a:lnTo>
                    <a:pt x="177" y="794"/>
                  </a:lnTo>
                  <a:lnTo>
                    <a:pt x="180" y="796"/>
                  </a:lnTo>
                  <a:lnTo>
                    <a:pt x="183" y="802"/>
                  </a:lnTo>
                  <a:lnTo>
                    <a:pt x="185" y="803"/>
                  </a:lnTo>
                  <a:lnTo>
                    <a:pt x="199" y="805"/>
                  </a:lnTo>
                  <a:lnTo>
                    <a:pt x="209" y="804"/>
                  </a:lnTo>
                  <a:lnTo>
                    <a:pt x="212" y="805"/>
                  </a:lnTo>
                  <a:lnTo>
                    <a:pt x="214" y="808"/>
                  </a:lnTo>
                  <a:lnTo>
                    <a:pt x="216" y="811"/>
                  </a:lnTo>
                  <a:lnTo>
                    <a:pt x="217" y="815"/>
                  </a:lnTo>
                  <a:lnTo>
                    <a:pt x="218" y="819"/>
                  </a:lnTo>
                  <a:lnTo>
                    <a:pt x="224" y="825"/>
                  </a:lnTo>
                  <a:lnTo>
                    <a:pt x="232" y="827"/>
                  </a:lnTo>
                  <a:lnTo>
                    <a:pt x="240" y="827"/>
                  </a:lnTo>
                  <a:lnTo>
                    <a:pt x="247" y="826"/>
                  </a:lnTo>
                  <a:lnTo>
                    <a:pt x="253" y="823"/>
                  </a:lnTo>
                  <a:lnTo>
                    <a:pt x="256" y="823"/>
                  </a:lnTo>
                  <a:lnTo>
                    <a:pt x="258" y="823"/>
                  </a:lnTo>
                  <a:lnTo>
                    <a:pt x="273" y="831"/>
                  </a:lnTo>
                  <a:lnTo>
                    <a:pt x="278" y="831"/>
                  </a:lnTo>
                  <a:lnTo>
                    <a:pt x="279" y="833"/>
                  </a:lnTo>
                  <a:lnTo>
                    <a:pt x="284" y="844"/>
                  </a:lnTo>
                  <a:lnTo>
                    <a:pt x="284" y="845"/>
                  </a:lnTo>
                  <a:lnTo>
                    <a:pt x="285" y="847"/>
                  </a:lnTo>
                  <a:lnTo>
                    <a:pt x="285" y="849"/>
                  </a:lnTo>
                  <a:lnTo>
                    <a:pt x="286" y="851"/>
                  </a:lnTo>
                  <a:lnTo>
                    <a:pt x="287" y="853"/>
                  </a:lnTo>
                  <a:lnTo>
                    <a:pt x="289" y="854"/>
                  </a:lnTo>
                  <a:lnTo>
                    <a:pt x="291" y="855"/>
                  </a:lnTo>
                  <a:lnTo>
                    <a:pt x="292" y="862"/>
                  </a:lnTo>
                  <a:lnTo>
                    <a:pt x="295" y="864"/>
                  </a:lnTo>
                  <a:lnTo>
                    <a:pt x="299" y="866"/>
                  </a:lnTo>
                  <a:lnTo>
                    <a:pt x="302" y="866"/>
                  </a:lnTo>
                  <a:lnTo>
                    <a:pt x="306" y="865"/>
                  </a:lnTo>
                  <a:lnTo>
                    <a:pt x="308" y="863"/>
                  </a:lnTo>
                  <a:lnTo>
                    <a:pt x="326" y="831"/>
                  </a:lnTo>
                  <a:lnTo>
                    <a:pt x="327" y="827"/>
                  </a:lnTo>
                  <a:lnTo>
                    <a:pt x="330" y="825"/>
                  </a:lnTo>
                  <a:lnTo>
                    <a:pt x="336" y="824"/>
                  </a:lnTo>
                  <a:lnTo>
                    <a:pt x="339" y="822"/>
                  </a:lnTo>
                  <a:lnTo>
                    <a:pt x="345" y="816"/>
                  </a:lnTo>
                  <a:lnTo>
                    <a:pt x="346" y="815"/>
                  </a:lnTo>
                  <a:lnTo>
                    <a:pt x="350" y="815"/>
                  </a:lnTo>
                  <a:lnTo>
                    <a:pt x="353" y="815"/>
                  </a:lnTo>
                  <a:lnTo>
                    <a:pt x="355" y="817"/>
                  </a:lnTo>
                  <a:lnTo>
                    <a:pt x="367" y="829"/>
                  </a:lnTo>
                  <a:lnTo>
                    <a:pt x="372" y="834"/>
                  </a:lnTo>
                  <a:lnTo>
                    <a:pt x="377" y="836"/>
                  </a:lnTo>
                  <a:lnTo>
                    <a:pt x="390" y="838"/>
                  </a:lnTo>
                  <a:lnTo>
                    <a:pt x="392" y="839"/>
                  </a:lnTo>
                  <a:lnTo>
                    <a:pt x="400" y="848"/>
                  </a:lnTo>
                  <a:lnTo>
                    <a:pt x="399" y="852"/>
                  </a:lnTo>
                  <a:lnTo>
                    <a:pt x="396" y="855"/>
                  </a:lnTo>
                  <a:lnTo>
                    <a:pt x="393" y="857"/>
                  </a:lnTo>
                  <a:lnTo>
                    <a:pt x="390" y="857"/>
                  </a:lnTo>
                  <a:lnTo>
                    <a:pt x="386" y="857"/>
                  </a:lnTo>
                  <a:lnTo>
                    <a:pt x="381" y="853"/>
                  </a:lnTo>
                  <a:lnTo>
                    <a:pt x="377" y="851"/>
                  </a:lnTo>
                  <a:lnTo>
                    <a:pt x="374" y="851"/>
                  </a:lnTo>
                  <a:lnTo>
                    <a:pt x="371" y="852"/>
                  </a:lnTo>
                  <a:lnTo>
                    <a:pt x="369" y="854"/>
                  </a:lnTo>
                  <a:lnTo>
                    <a:pt x="368" y="858"/>
                  </a:lnTo>
                  <a:lnTo>
                    <a:pt x="367" y="862"/>
                  </a:lnTo>
                  <a:lnTo>
                    <a:pt x="366" y="864"/>
                  </a:lnTo>
                  <a:lnTo>
                    <a:pt x="364" y="865"/>
                  </a:lnTo>
                  <a:lnTo>
                    <a:pt x="358" y="865"/>
                  </a:lnTo>
                  <a:lnTo>
                    <a:pt x="357" y="866"/>
                  </a:lnTo>
                  <a:lnTo>
                    <a:pt x="355" y="867"/>
                  </a:lnTo>
                  <a:lnTo>
                    <a:pt x="355" y="869"/>
                  </a:lnTo>
                  <a:lnTo>
                    <a:pt x="355" y="872"/>
                  </a:lnTo>
                  <a:lnTo>
                    <a:pt x="355" y="875"/>
                  </a:lnTo>
                  <a:lnTo>
                    <a:pt x="355" y="876"/>
                  </a:lnTo>
                  <a:lnTo>
                    <a:pt x="358" y="879"/>
                  </a:lnTo>
                  <a:lnTo>
                    <a:pt x="359" y="881"/>
                  </a:lnTo>
                  <a:lnTo>
                    <a:pt x="359" y="883"/>
                  </a:lnTo>
                  <a:lnTo>
                    <a:pt x="359" y="886"/>
                  </a:lnTo>
                  <a:lnTo>
                    <a:pt x="359" y="888"/>
                  </a:lnTo>
                  <a:lnTo>
                    <a:pt x="362" y="894"/>
                  </a:lnTo>
                  <a:lnTo>
                    <a:pt x="366" y="900"/>
                  </a:lnTo>
                  <a:lnTo>
                    <a:pt x="371" y="905"/>
                  </a:lnTo>
                  <a:lnTo>
                    <a:pt x="377" y="907"/>
                  </a:lnTo>
                  <a:lnTo>
                    <a:pt x="384" y="908"/>
                  </a:lnTo>
                  <a:lnTo>
                    <a:pt x="387" y="910"/>
                  </a:lnTo>
                  <a:lnTo>
                    <a:pt x="388" y="913"/>
                  </a:lnTo>
                  <a:lnTo>
                    <a:pt x="388" y="923"/>
                  </a:lnTo>
                  <a:lnTo>
                    <a:pt x="388" y="927"/>
                  </a:lnTo>
                  <a:lnTo>
                    <a:pt x="389" y="927"/>
                  </a:lnTo>
                  <a:lnTo>
                    <a:pt x="423" y="950"/>
                  </a:lnTo>
                  <a:lnTo>
                    <a:pt x="428" y="952"/>
                  </a:lnTo>
                  <a:lnTo>
                    <a:pt x="436" y="953"/>
                  </a:lnTo>
                  <a:lnTo>
                    <a:pt x="439" y="955"/>
                  </a:lnTo>
                  <a:lnTo>
                    <a:pt x="443" y="956"/>
                  </a:lnTo>
                  <a:lnTo>
                    <a:pt x="444" y="963"/>
                  </a:lnTo>
                  <a:lnTo>
                    <a:pt x="441" y="970"/>
                  </a:lnTo>
                  <a:lnTo>
                    <a:pt x="436" y="973"/>
                  </a:lnTo>
                  <a:lnTo>
                    <a:pt x="432" y="974"/>
                  </a:lnTo>
                  <a:lnTo>
                    <a:pt x="426" y="976"/>
                  </a:lnTo>
                  <a:lnTo>
                    <a:pt x="423" y="976"/>
                  </a:lnTo>
                  <a:lnTo>
                    <a:pt x="419" y="978"/>
                  </a:lnTo>
                  <a:lnTo>
                    <a:pt x="418" y="983"/>
                  </a:lnTo>
                  <a:lnTo>
                    <a:pt x="414" y="1000"/>
                  </a:lnTo>
                  <a:lnTo>
                    <a:pt x="414" y="1005"/>
                  </a:lnTo>
                  <a:lnTo>
                    <a:pt x="416" y="1009"/>
                  </a:lnTo>
                  <a:lnTo>
                    <a:pt x="420" y="1012"/>
                  </a:lnTo>
                  <a:lnTo>
                    <a:pt x="425" y="1014"/>
                  </a:lnTo>
                  <a:lnTo>
                    <a:pt x="446" y="1012"/>
                  </a:lnTo>
                  <a:lnTo>
                    <a:pt x="458" y="1010"/>
                  </a:lnTo>
                  <a:lnTo>
                    <a:pt x="463" y="1008"/>
                  </a:lnTo>
                  <a:lnTo>
                    <a:pt x="469" y="1007"/>
                  </a:lnTo>
                  <a:lnTo>
                    <a:pt x="475" y="1004"/>
                  </a:lnTo>
                  <a:lnTo>
                    <a:pt x="489" y="1002"/>
                  </a:lnTo>
                  <a:lnTo>
                    <a:pt x="514" y="1003"/>
                  </a:lnTo>
                  <a:lnTo>
                    <a:pt x="531" y="1013"/>
                  </a:lnTo>
                  <a:lnTo>
                    <a:pt x="536" y="1014"/>
                  </a:lnTo>
                  <a:lnTo>
                    <a:pt x="538" y="1014"/>
                  </a:lnTo>
                  <a:lnTo>
                    <a:pt x="552" y="1011"/>
                  </a:lnTo>
                  <a:lnTo>
                    <a:pt x="555" y="1012"/>
                  </a:lnTo>
                  <a:lnTo>
                    <a:pt x="565" y="1017"/>
                  </a:lnTo>
                  <a:lnTo>
                    <a:pt x="620" y="1031"/>
                  </a:lnTo>
                  <a:lnTo>
                    <a:pt x="622" y="1031"/>
                  </a:lnTo>
                  <a:lnTo>
                    <a:pt x="650" y="1030"/>
                  </a:lnTo>
                  <a:lnTo>
                    <a:pt x="653" y="1030"/>
                  </a:lnTo>
                  <a:lnTo>
                    <a:pt x="656" y="1029"/>
                  </a:lnTo>
                  <a:lnTo>
                    <a:pt x="665" y="1022"/>
                  </a:lnTo>
                  <a:lnTo>
                    <a:pt x="670" y="1020"/>
                  </a:lnTo>
                  <a:lnTo>
                    <a:pt x="676" y="1021"/>
                  </a:lnTo>
                  <a:lnTo>
                    <a:pt x="701" y="1031"/>
                  </a:lnTo>
                  <a:lnTo>
                    <a:pt x="708" y="1033"/>
                  </a:lnTo>
                  <a:lnTo>
                    <a:pt x="716" y="1034"/>
                  </a:lnTo>
                  <a:lnTo>
                    <a:pt x="749" y="1032"/>
                  </a:lnTo>
                  <a:lnTo>
                    <a:pt x="768" y="1039"/>
                  </a:lnTo>
                  <a:lnTo>
                    <a:pt x="789" y="1040"/>
                  </a:lnTo>
                  <a:lnTo>
                    <a:pt x="795" y="1042"/>
                  </a:lnTo>
                  <a:lnTo>
                    <a:pt x="800" y="1045"/>
                  </a:lnTo>
                  <a:lnTo>
                    <a:pt x="801" y="1045"/>
                  </a:lnTo>
                  <a:lnTo>
                    <a:pt x="806" y="1049"/>
                  </a:lnTo>
                  <a:lnTo>
                    <a:pt x="812" y="1053"/>
                  </a:lnTo>
                  <a:lnTo>
                    <a:pt x="819" y="1054"/>
                  </a:lnTo>
                  <a:lnTo>
                    <a:pt x="823" y="1053"/>
                  </a:lnTo>
                  <a:lnTo>
                    <a:pt x="829" y="1050"/>
                  </a:lnTo>
                  <a:lnTo>
                    <a:pt x="832" y="1049"/>
                  </a:lnTo>
                  <a:lnTo>
                    <a:pt x="833" y="1049"/>
                  </a:lnTo>
                  <a:lnTo>
                    <a:pt x="840" y="1050"/>
                  </a:lnTo>
                  <a:lnTo>
                    <a:pt x="843" y="1049"/>
                  </a:lnTo>
                  <a:lnTo>
                    <a:pt x="846" y="1048"/>
                  </a:lnTo>
                  <a:lnTo>
                    <a:pt x="849" y="1047"/>
                  </a:lnTo>
                  <a:lnTo>
                    <a:pt x="853" y="1045"/>
                  </a:lnTo>
                  <a:lnTo>
                    <a:pt x="856" y="1044"/>
                  </a:lnTo>
                  <a:lnTo>
                    <a:pt x="859" y="1041"/>
                  </a:lnTo>
                  <a:lnTo>
                    <a:pt x="862" y="1039"/>
                  </a:lnTo>
                  <a:lnTo>
                    <a:pt x="871" y="1039"/>
                  </a:lnTo>
                  <a:lnTo>
                    <a:pt x="872" y="1039"/>
                  </a:lnTo>
                  <a:lnTo>
                    <a:pt x="879" y="1036"/>
                  </a:lnTo>
                  <a:lnTo>
                    <a:pt x="883" y="1030"/>
                  </a:lnTo>
                  <a:lnTo>
                    <a:pt x="883" y="1029"/>
                  </a:lnTo>
                  <a:lnTo>
                    <a:pt x="888" y="1024"/>
                  </a:lnTo>
                  <a:lnTo>
                    <a:pt x="893" y="1021"/>
                  </a:lnTo>
                  <a:lnTo>
                    <a:pt x="900" y="1011"/>
                  </a:lnTo>
                  <a:lnTo>
                    <a:pt x="902" y="1008"/>
                  </a:lnTo>
                  <a:lnTo>
                    <a:pt x="903" y="1005"/>
                  </a:lnTo>
                  <a:lnTo>
                    <a:pt x="922" y="991"/>
                  </a:lnTo>
                  <a:lnTo>
                    <a:pt x="923" y="988"/>
                  </a:lnTo>
                  <a:lnTo>
                    <a:pt x="926" y="984"/>
                  </a:lnTo>
                  <a:lnTo>
                    <a:pt x="932" y="977"/>
                  </a:lnTo>
                  <a:lnTo>
                    <a:pt x="937" y="974"/>
                  </a:lnTo>
                  <a:lnTo>
                    <a:pt x="951" y="971"/>
                  </a:lnTo>
                  <a:lnTo>
                    <a:pt x="963" y="966"/>
                  </a:lnTo>
                  <a:lnTo>
                    <a:pt x="966" y="965"/>
                  </a:lnTo>
                  <a:lnTo>
                    <a:pt x="980" y="963"/>
                  </a:lnTo>
                  <a:lnTo>
                    <a:pt x="1011" y="958"/>
                  </a:lnTo>
                  <a:lnTo>
                    <a:pt x="1016" y="956"/>
                  </a:lnTo>
                  <a:lnTo>
                    <a:pt x="1020" y="956"/>
                  </a:lnTo>
                  <a:lnTo>
                    <a:pt x="1021" y="956"/>
                  </a:lnTo>
                  <a:lnTo>
                    <a:pt x="1024" y="954"/>
                  </a:lnTo>
                  <a:lnTo>
                    <a:pt x="1026" y="953"/>
                  </a:lnTo>
                  <a:lnTo>
                    <a:pt x="1033" y="953"/>
                  </a:lnTo>
                  <a:lnTo>
                    <a:pt x="1039" y="951"/>
                  </a:lnTo>
                  <a:lnTo>
                    <a:pt x="1054" y="942"/>
                  </a:lnTo>
                  <a:lnTo>
                    <a:pt x="1073" y="941"/>
                  </a:lnTo>
                  <a:lnTo>
                    <a:pt x="1077" y="938"/>
                  </a:lnTo>
                  <a:lnTo>
                    <a:pt x="1088" y="945"/>
                  </a:lnTo>
                  <a:lnTo>
                    <a:pt x="1105" y="949"/>
                  </a:lnTo>
                  <a:lnTo>
                    <a:pt x="1108" y="951"/>
                  </a:lnTo>
                  <a:lnTo>
                    <a:pt x="1112" y="950"/>
                  </a:lnTo>
                  <a:lnTo>
                    <a:pt x="1112" y="950"/>
                  </a:lnTo>
                  <a:lnTo>
                    <a:pt x="1115" y="952"/>
                  </a:lnTo>
                  <a:lnTo>
                    <a:pt x="1114" y="957"/>
                  </a:lnTo>
                  <a:lnTo>
                    <a:pt x="1118" y="961"/>
                  </a:lnTo>
                  <a:lnTo>
                    <a:pt x="1127" y="965"/>
                  </a:lnTo>
                  <a:lnTo>
                    <a:pt x="1128" y="967"/>
                  </a:lnTo>
                  <a:lnTo>
                    <a:pt x="1132" y="972"/>
                  </a:lnTo>
                  <a:lnTo>
                    <a:pt x="1133" y="974"/>
                  </a:lnTo>
                  <a:lnTo>
                    <a:pt x="1164" y="973"/>
                  </a:lnTo>
                  <a:lnTo>
                    <a:pt x="1173" y="971"/>
                  </a:lnTo>
                  <a:lnTo>
                    <a:pt x="1176" y="972"/>
                  </a:lnTo>
                  <a:lnTo>
                    <a:pt x="1180" y="978"/>
                  </a:lnTo>
                  <a:lnTo>
                    <a:pt x="1181" y="980"/>
                  </a:lnTo>
                  <a:lnTo>
                    <a:pt x="1187" y="988"/>
                  </a:lnTo>
                  <a:lnTo>
                    <a:pt x="1197" y="986"/>
                  </a:lnTo>
                  <a:lnTo>
                    <a:pt x="1208" y="980"/>
                  </a:lnTo>
                  <a:lnTo>
                    <a:pt x="1217" y="979"/>
                  </a:lnTo>
                  <a:lnTo>
                    <a:pt x="1217" y="979"/>
                  </a:lnTo>
                  <a:lnTo>
                    <a:pt x="1221" y="985"/>
                  </a:lnTo>
                  <a:lnTo>
                    <a:pt x="1228" y="1010"/>
                  </a:lnTo>
                  <a:lnTo>
                    <a:pt x="1234" y="1014"/>
                  </a:lnTo>
                  <a:lnTo>
                    <a:pt x="1266" y="1029"/>
                  </a:lnTo>
                  <a:lnTo>
                    <a:pt x="1300" y="1035"/>
                  </a:lnTo>
                  <a:lnTo>
                    <a:pt x="1323" y="1034"/>
                  </a:lnTo>
                  <a:lnTo>
                    <a:pt x="1324" y="1032"/>
                  </a:lnTo>
                  <a:lnTo>
                    <a:pt x="1323" y="1029"/>
                  </a:lnTo>
                  <a:lnTo>
                    <a:pt x="1323" y="1027"/>
                  </a:lnTo>
                  <a:lnTo>
                    <a:pt x="1324" y="1025"/>
                  </a:lnTo>
                  <a:lnTo>
                    <a:pt x="1325" y="1023"/>
                  </a:lnTo>
                  <a:lnTo>
                    <a:pt x="1324" y="1021"/>
                  </a:lnTo>
                  <a:lnTo>
                    <a:pt x="1324" y="1019"/>
                  </a:lnTo>
                  <a:lnTo>
                    <a:pt x="1325" y="1017"/>
                  </a:lnTo>
                  <a:lnTo>
                    <a:pt x="1328" y="1005"/>
                  </a:lnTo>
                  <a:lnTo>
                    <a:pt x="1328" y="1002"/>
                  </a:lnTo>
                  <a:lnTo>
                    <a:pt x="1332" y="995"/>
                  </a:lnTo>
                  <a:lnTo>
                    <a:pt x="1333" y="992"/>
                  </a:lnTo>
                  <a:lnTo>
                    <a:pt x="1335" y="985"/>
                  </a:lnTo>
                  <a:lnTo>
                    <a:pt x="1336" y="981"/>
                  </a:lnTo>
                  <a:lnTo>
                    <a:pt x="1337" y="980"/>
                  </a:lnTo>
                  <a:lnTo>
                    <a:pt x="1338" y="978"/>
                  </a:lnTo>
                  <a:lnTo>
                    <a:pt x="1338" y="976"/>
                  </a:lnTo>
                  <a:lnTo>
                    <a:pt x="1335" y="965"/>
                  </a:lnTo>
                  <a:lnTo>
                    <a:pt x="1332" y="947"/>
                  </a:lnTo>
                  <a:lnTo>
                    <a:pt x="1331" y="943"/>
                  </a:lnTo>
                  <a:lnTo>
                    <a:pt x="1332" y="941"/>
                  </a:lnTo>
                  <a:lnTo>
                    <a:pt x="1334" y="939"/>
                  </a:lnTo>
                  <a:lnTo>
                    <a:pt x="1336" y="939"/>
                  </a:lnTo>
                  <a:lnTo>
                    <a:pt x="1338" y="940"/>
                  </a:lnTo>
                  <a:lnTo>
                    <a:pt x="1337" y="938"/>
                  </a:lnTo>
                  <a:lnTo>
                    <a:pt x="1337" y="936"/>
                  </a:lnTo>
                  <a:lnTo>
                    <a:pt x="1337" y="933"/>
                  </a:lnTo>
                  <a:lnTo>
                    <a:pt x="1334" y="926"/>
                  </a:lnTo>
                  <a:lnTo>
                    <a:pt x="1332" y="922"/>
                  </a:lnTo>
                  <a:lnTo>
                    <a:pt x="1331" y="919"/>
                  </a:lnTo>
                  <a:lnTo>
                    <a:pt x="1332" y="910"/>
                  </a:lnTo>
                  <a:lnTo>
                    <a:pt x="1332" y="907"/>
                  </a:lnTo>
                  <a:lnTo>
                    <a:pt x="1333" y="905"/>
                  </a:lnTo>
                  <a:lnTo>
                    <a:pt x="1334" y="902"/>
                  </a:lnTo>
                  <a:lnTo>
                    <a:pt x="1337" y="900"/>
                  </a:lnTo>
                  <a:lnTo>
                    <a:pt x="1339" y="899"/>
                  </a:lnTo>
                  <a:lnTo>
                    <a:pt x="1341" y="901"/>
                  </a:lnTo>
                  <a:lnTo>
                    <a:pt x="1342" y="898"/>
                  </a:lnTo>
                  <a:lnTo>
                    <a:pt x="1343" y="893"/>
                  </a:lnTo>
                  <a:lnTo>
                    <a:pt x="1357" y="874"/>
                  </a:lnTo>
                  <a:lnTo>
                    <a:pt x="1365" y="868"/>
                  </a:lnTo>
                  <a:lnTo>
                    <a:pt x="1376" y="848"/>
                  </a:lnTo>
                  <a:lnTo>
                    <a:pt x="1377" y="844"/>
                  </a:lnTo>
                  <a:lnTo>
                    <a:pt x="1378" y="840"/>
                  </a:lnTo>
                  <a:lnTo>
                    <a:pt x="1376" y="844"/>
                  </a:lnTo>
                  <a:lnTo>
                    <a:pt x="1375" y="847"/>
                  </a:lnTo>
                  <a:lnTo>
                    <a:pt x="1373" y="849"/>
                  </a:lnTo>
                  <a:lnTo>
                    <a:pt x="1370" y="850"/>
                  </a:lnTo>
                  <a:lnTo>
                    <a:pt x="1367" y="852"/>
                  </a:lnTo>
                  <a:lnTo>
                    <a:pt x="1364" y="855"/>
                  </a:lnTo>
                  <a:lnTo>
                    <a:pt x="1359" y="861"/>
                  </a:lnTo>
                  <a:lnTo>
                    <a:pt x="1356" y="863"/>
                  </a:lnTo>
                  <a:lnTo>
                    <a:pt x="1355" y="865"/>
                  </a:lnTo>
                  <a:lnTo>
                    <a:pt x="1354" y="870"/>
                  </a:lnTo>
                  <a:lnTo>
                    <a:pt x="1353" y="873"/>
                  </a:lnTo>
                  <a:lnTo>
                    <a:pt x="1352" y="874"/>
                  </a:lnTo>
                  <a:lnTo>
                    <a:pt x="1350" y="874"/>
                  </a:lnTo>
                  <a:lnTo>
                    <a:pt x="1349" y="870"/>
                  </a:lnTo>
                  <a:lnTo>
                    <a:pt x="1351" y="863"/>
                  </a:lnTo>
                  <a:lnTo>
                    <a:pt x="1353" y="858"/>
                  </a:lnTo>
                  <a:lnTo>
                    <a:pt x="1354" y="855"/>
                  </a:lnTo>
                  <a:lnTo>
                    <a:pt x="1352" y="853"/>
                  </a:lnTo>
                  <a:lnTo>
                    <a:pt x="1350" y="852"/>
                  </a:lnTo>
                  <a:lnTo>
                    <a:pt x="1349" y="853"/>
                  </a:lnTo>
                  <a:lnTo>
                    <a:pt x="1348" y="854"/>
                  </a:lnTo>
                  <a:lnTo>
                    <a:pt x="1347" y="855"/>
                  </a:lnTo>
                  <a:lnTo>
                    <a:pt x="1347" y="852"/>
                  </a:lnTo>
                  <a:lnTo>
                    <a:pt x="1350" y="849"/>
                  </a:lnTo>
                  <a:lnTo>
                    <a:pt x="1356" y="848"/>
                  </a:lnTo>
                  <a:lnTo>
                    <a:pt x="1354" y="847"/>
                  </a:lnTo>
                  <a:lnTo>
                    <a:pt x="1352" y="845"/>
                  </a:lnTo>
                  <a:lnTo>
                    <a:pt x="1352" y="844"/>
                  </a:lnTo>
                  <a:lnTo>
                    <a:pt x="1353" y="841"/>
                  </a:lnTo>
                  <a:lnTo>
                    <a:pt x="1351" y="841"/>
                  </a:lnTo>
                  <a:lnTo>
                    <a:pt x="1352" y="839"/>
                  </a:lnTo>
                  <a:lnTo>
                    <a:pt x="1353" y="837"/>
                  </a:lnTo>
                  <a:lnTo>
                    <a:pt x="1355" y="836"/>
                  </a:lnTo>
                  <a:lnTo>
                    <a:pt x="1357" y="837"/>
                  </a:lnTo>
                  <a:lnTo>
                    <a:pt x="1357" y="839"/>
                  </a:lnTo>
                  <a:lnTo>
                    <a:pt x="1354" y="844"/>
                  </a:lnTo>
                  <a:lnTo>
                    <a:pt x="1356" y="842"/>
                  </a:lnTo>
                  <a:lnTo>
                    <a:pt x="1364" y="838"/>
                  </a:lnTo>
                  <a:lnTo>
                    <a:pt x="1367" y="837"/>
                  </a:lnTo>
                  <a:lnTo>
                    <a:pt x="1372" y="832"/>
                  </a:lnTo>
                  <a:lnTo>
                    <a:pt x="1375" y="829"/>
                  </a:lnTo>
                  <a:lnTo>
                    <a:pt x="1376" y="828"/>
                  </a:lnTo>
                  <a:lnTo>
                    <a:pt x="1376" y="827"/>
                  </a:lnTo>
                  <a:lnTo>
                    <a:pt x="1377" y="826"/>
                  </a:lnTo>
                  <a:lnTo>
                    <a:pt x="1378" y="826"/>
                  </a:lnTo>
                  <a:lnTo>
                    <a:pt x="1380" y="828"/>
                  </a:lnTo>
                  <a:lnTo>
                    <a:pt x="1383" y="827"/>
                  </a:lnTo>
                  <a:lnTo>
                    <a:pt x="1383" y="826"/>
                  </a:lnTo>
                  <a:lnTo>
                    <a:pt x="1382" y="825"/>
                  </a:lnTo>
                  <a:lnTo>
                    <a:pt x="1382" y="823"/>
                  </a:lnTo>
                  <a:lnTo>
                    <a:pt x="1386" y="825"/>
                  </a:lnTo>
                  <a:lnTo>
                    <a:pt x="1386" y="829"/>
                  </a:lnTo>
                  <a:lnTo>
                    <a:pt x="1383" y="833"/>
                  </a:lnTo>
                  <a:lnTo>
                    <a:pt x="1380" y="837"/>
                  </a:lnTo>
                  <a:lnTo>
                    <a:pt x="1384" y="836"/>
                  </a:lnTo>
                  <a:lnTo>
                    <a:pt x="1386" y="832"/>
                  </a:lnTo>
                  <a:lnTo>
                    <a:pt x="1388" y="828"/>
                  </a:lnTo>
                  <a:lnTo>
                    <a:pt x="1387" y="824"/>
                  </a:lnTo>
                  <a:lnTo>
                    <a:pt x="1385" y="822"/>
                  </a:lnTo>
                  <a:lnTo>
                    <a:pt x="1374" y="819"/>
                  </a:lnTo>
                  <a:lnTo>
                    <a:pt x="1376" y="823"/>
                  </a:lnTo>
                  <a:lnTo>
                    <a:pt x="1373" y="827"/>
                  </a:lnTo>
                  <a:lnTo>
                    <a:pt x="1369" y="831"/>
                  </a:lnTo>
                  <a:lnTo>
                    <a:pt x="1365" y="833"/>
                  </a:lnTo>
                  <a:lnTo>
                    <a:pt x="1357" y="834"/>
                  </a:lnTo>
                  <a:lnTo>
                    <a:pt x="1356" y="834"/>
                  </a:lnTo>
                  <a:lnTo>
                    <a:pt x="1355" y="830"/>
                  </a:lnTo>
                  <a:lnTo>
                    <a:pt x="1356" y="827"/>
                  </a:lnTo>
                  <a:lnTo>
                    <a:pt x="1359" y="826"/>
                  </a:lnTo>
                  <a:lnTo>
                    <a:pt x="1359" y="823"/>
                  </a:lnTo>
                  <a:lnTo>
                    <a:pt x="1357" y="825"/>
                  </a:lnTo>
                  <a:lnTo>
                    <a:pt x="1356" y="824"/>
                  </a:lnTo>
                  <a:lnTo>
                    <a:pt x="1356" y="821"/>
                  </a:lnTo>
                  <a:lnTo>
                    <a:pt x="1358" y="818"/>
                  </a:lnTo>
                  <a:lnTo>
                    <a:pt x="1359" y="816"/>
                  </a:lnTo>
                  <a:lnTo>
                    <a:pt x="1369" y="810"/>
                  </a:lnTo>
                  <a:lnTo>
                    <a:pt x="1371" y="809"/>
                  </a:lnTo>
                  <a:lnTo>
                    <a:pt x="1378" y="809"/>
                  </a:lnTo>
                  <a:lnTo>
                    <a:pt x="1380" y="809"/>
                  </a:lnTo>
                  <a:lnTo>
                    <a:pt x="1381" y="808"/>
                  </a:lnTo>
                  <a:lnTo>
                    <a:pt x="1379" y="806"/>
                  </a:lnTo>
                  <a:lnTo>
                    <a:pt x="1378" y="804"/>
                  </a:lnTo>
                  <a:lnTo>
                    <a:pt x="1378" y="801"/>
                  </a:lnTo>
                  <a:lnTo>
                    <a:pt x="1380" y="800"/>
                  </a:lnTo>
                  <a:lnTo>
                    <a:pt x="1380" y="799"/>
                  </a:lnTo>
                  <a:lnTo>
                    <a:pt x="1379" y="798"/>
                  </a:lnTo>
                  <a:lnTo>
                    <a:pt x="1378" y="797"/>
                  </a:lnTo>
                  <a:lnTo>
                    <a:pt x="1379" y="797"/>
                  </a:lnTo>
                  <a:lnTo>
                    <a:pt x="1380" y="796"/>
                  </a:lnTo>
                  <a:lnTo>
                    <a:pt x="1382" y="794"/>
                  </a:lnTo>
                  <a:lnTo>
                    <a:pt x="1375" y="786"/>
                  </a:lnTo>
                  <a:lnTo>
                    <a:pt x="1371" y="784"/>
                  </a:lnTo>
                  <a:lnTo>
                    <a:pt x="1370" y="783"/>
                  </a:lnTo>
                  <a:lnTo>
                    <a:pt x="1369" y="781"/>
                  </a:lnTo>
                  <a:lnTo>
                    <a:pt x="1368" y="780"/>
                  </a:lnTo>
                  <a:lnTo>
                    <a:pt x="1368" y="779"/>
                  </a:lnTo>
                  <a:lnTo>
                    <a:pt x="1369" y="778"/>
                  </a:lnTo>
                  <a:lnTo>
                    <a:pt x="1370" y="778"/>
                  </a:lnTo>
                  <a:lnTo>
                    <a:pt x="1370" y="776"/>
                  </a:lnTo>
                  <a:lnTo>
                    <a:pt x="1370" y="775"/>
                  </a:lnTo>
                  <a:lnTo>
                    <a:pt x="1368" y="774"/>
                  </a:lnTo>
                  <a:lnTo>
                    <a:pt x="1368" y="773"/>
                  </a:lnTo>
                  <a:lnTo>
                    <a:pt x="1369" y="768"/>
                  </a:lnTo>
                  <a:lnTo>
                    <a:pt x="1371" y="765"/>
                  </a:lnTo>
                  <a:lnTo>
                    <a:pt x="1377" y="760"/>
                  </a:lnTo>
                  <a:lnTo>
                    <a:pt x="1378" y="759"/>
                  </a:lnTo>
                  <a:lnTo>
                    <a:pt x="1382" y="759"/>
                  </a:lnTo>
                  <a:lnTo>
                    <a:pt x="1384" y="758"/>
                  </a:lnTo>
                  <a:lnTo>
                    <a:pt x="1385" y="756"/>
                  </a:lnTo>
                  <a:lnTo>
                    <a:pt x="1385" y="754"/>
                  </a:lnTo>
                  <a:lnTo>
                    <a:pt x="1386" y="753"/>
                  </a:lnTo>
                  <a:lnTo>
                    <a:pt x="1387" y="752"/>
                  </a:lnTo>
                  <a:lnTo>
                    <a:pt x="1392" y="754"/>
                  </a:lnTo>
                  <a:lnTo>
                    <a:pt x="1397" y="754"/>
                  </a:lnTo>
                  <a:lnTo>
                    <a:pt x="1399" y="755"/>
                  </a:lnTo>
                  <a:lnTo>
                    <a:pt x="1406" y="760"/>
                  </a:lnTo>
                  <a:lnTo>
                    <a:pt x="1407" y="762"/>
                  </a:lnTo>
                  <a:lnTo>
                    <a:pt x="1406" y="765"/>
                  </a:lnTo>
                  <a:lnTo>
                    <a:pt x="1398" y="768"/>
                  </a:lnTo>
                  <a:lnTo>
                    <a:pt x="1396" y="772"/>
                  </a:lnTo>
                  <a:lnTo>
                    <a:pt x="1397" y="785"/>
                  </a:lnTo>
                  <a:lnTo>
                    <a:pt x="1398" y="790"/>
                  </a:lnTo>
                  <a:lnTo>
                    <a:pt x="1400" y="793"/>
                  </a:lnTo>
                  <a:lnTo>
                    <a:pt x="1401" y="792"/>
                  </a:lnTo>
                  <a:lnTo>
                    <a:pt x="1404" y="790"/>
                  </a:lnTo>
                  <a:lnTo>
                    <a:pt x="1406" y="791"/>
                  </a:lnTo>
                  <a:lnTo>
                    <a:pt x="1406" y="789"/>
                  </a:lnTo>
                  <a:lnTo>
                    <a:pt x="1406" y="787"/>
                  </a:lnTo>
                  <a:lnTo>
                    <a:pt x="1405" y="783"/>
                  </a:lnTo>
                  <a:lnTo>
                    <a:pt x="1410" y="788"/>
                  </a:lnTo>
                  <a:lnTo>
                    <a:pt x="1412" y="791"/>
                  </a:lnTo>
                  <a:lnTo>
                    <a:pt x="1413" y="794"/>
                  </a:lnTo>
                  <a:lnTo>
                    <a:pt x="1412" y="799"/>
                  </a:lnTo>
                  <a:lnTo>
                    <a:pt x="1409" y="803"/>
                  </a:lnTo>
                  <a:lnTo>
                    <a:pt x="1406" y="805"/>
                  </a:lnTo>
                  <a:lnTo>
                    <a:pt x="1399" y="807"/>
                  </a:lnTo>
                  <a:lnTo>
                    <a:pt x="1393" y="810"/>
                  </a:lnTo>
                  <a:lnTo>
                    <a:pt x="1389" y="811"/>
                  </a:lnTo>
                  <a:lnTo>
                    <a:pt x="1386" y="812"/>
                  </a:lnTo>
                  <a:lnTo>
                    <a:pt x="1387" y="816"/>
                  </a:lnTo>
                  <a:lnTo>
                    <a:pt x="1389" y="820"/>
                  </a:lnTo>
                  <a:lnTo>
                    <a:pt x="1389" y="823"/>
                  </a:lnTo>
                  <a:lnTo>
                    <a:pt x="1390" y="825"/>
                  </a:lnTo>
                  <a:lnTo>
                    <a:pt x="1394" y="819"/>
                  </a:lnTo>
                  <a:lnTo>
                    <a:pt x="1399" y="814"/>
                  </a:lnTo>
                  <a:lnTo>
                    <a:pt x="1415" y="803"/>
                  </a:lnTo>
                  <a:lnTo>
                    <a:pt x="1420" y="801"/>
                  </a:lnTo>
                  <a:lnTo>
                    <a:pt x="1440" y="800"/>
                  </a:lnTo>
                  <a:lnTo>
                    <a:pt x="1471" y="795"/>
                  </a:lnTo>
                  <a:lnTo>
                    <a:pt x="1473" y="795"/>
                  </a:lnTo>
                  <a:lnTo>
                    <a:pt x="1474" y="794"/>
                  </a:lnTo>
                  <a:lnTo>
                    <a:pt x="1476" y="794"/>
                  </a:lnTo>
                  <a:lnTo>
                    <a:pt x="1479" y="795"/>
                  </a:lnTo>
                  <a:lnTo>
                    <a:pt x="1480" y="794"/>
                  </a:lnTo>
                  <a:lnTo>
                    <a:pt x="1483" y="791"/>
                  </a:lnTo>
                  <a:lnTo>
                    <a:pt x="1484" y="790"/>
                  </a:lnTo>
                  <a:lnTo>
                    <a:pt x="1486" y="790"/>
                  </a:lnTo>
                  <a:lnTo>
                    <a:pt x="1487" y="789"/>
                  </a:lnTo>
                  <a:lnTo>
                    <a:pt x="1488" y="786"/>
                  </a:lnTo>
                  <a:lnTo>
                    <a:pt x="1486" y="782"/>
                  </a:lnTo>
                  <a:lnTo>
                    <a:pt x="1490" y="776"/>
                  </a:lnTo>
                  <a:lnTo>
                    <a:pt x="1489" y="771"/>
                  </a:lnTo>
                  <a:lnTo>
                    <a:pt x="1490" y="769"/>
                  </a:lnTo>
                  <a:lnTo>
                    <a:pt x="1490" y="766"/>
                  </a:lnTo>
                  <a:lnTo>
                    <a:pt x="1491" y="762"/>
                  </a:lnTo>
                  <a:lnTo>
                    <a:pt x="1491" y="759"/>
                  </a:lnTo>
                  <a:lnTo>
                    <a:pt x="1493" y="752"/>
                  </a:lnTo>
                  <a:lnTo>
                    <a:pt x="1494" y="749"/>
                  </a:lnTo>
                  <a:lnTo>
                    <a:pt x="1495" y="729"/>
                  </a:lnTo>
                  <a:lnTo>
                    <a:pt x="1497" y="723"/>
                  </a:lnTo>
                  <a:lnTo>
                    <a:pt x="1501" y="719"/>
                  </a:lnTo>
                  <a:lnTo>
                    <a:pt x="1496" y="718"/>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15" name="Freeform 17">
              <a:extLst>
                <a:ext uri="{FF2B5EF4-FFF2-40B4-BE49-F238E27FC236}">
                  <a16:creationId xmlns:a16="http://schemas.microsoft.com/office/drawing/2014/main" id="{DB712BDC-F518-4530-9771-AA744E99D834}"/>
                </a:ext>
              </a:extLst>
            </p:cNvPr>
            <p:cNvSpPr>
              <a:spLocks noEditPoints="1"/>
            </p:cNvSpPr>
            <p:nvPr/>
          </p:nvSpPr>
          <p:spPr bwMode="gray">
            <a:xfrm>
              <a:off x="7108481" y="5719347"/>
              <a:ext cx="325963" cy="663768"/>
            </a:xfrm>
            <a:custGeom>
              <a:avLst/>
              <a:gdLst>
                <a:gd name="T0" fmla="*/ 73 w 523"/>
                <a:gd name="T1" fmla="*/ 687 h 1065"/>
                <a:gd name="T2" fmla="*/ 505 w 523"/>
                <a:gd name="T3" fmla="*/ 107 h 1065"/>
                <a:gd name="T4" fmla="*/ 464 w 523"/>
                <a:gd name="T5" fmla="*/ 88 h 1065"/>
                <a:gd name="T6" fmla="*/ 440 w 523"/>
                <a:gd name="T7" fmla="*/ 47 h 1065"/>
                <a:gd name="T8" fmla="*/ 374 w 523"/>
                <a:gd name="T9" fmla="*/ 35 h 1065"/>
                <a:gd name="T10" fmla="*/ 332 w 523"/>
                <a:gd name="T11" fmla="*/ 68 h 1065"/>
                <a:gd name="T12" fmla="*/ 307 w 523"/>
                <a:gd name="T13" fmla="*/ 69 h 1065"/>
                <a:gd name="T14" fmla="*/ 260 w 523"/>
                <a:gd name="T15" fmla="*/ 62 h 1065"/>
                <a:gd name="T16" fmla="*/ 230 w 523"/>
                <a:gd name="T17" fmla="*/ 72 h 1065"/>
                <a:gd name="T18" fmla="*/ 222 w 523"/>
                <a:gd name="T19" fmla="*/ 28 h 1065"/>
                <a:gd name="T20" fmla="*/ 192 w 523"/>
                <a:gd name="T21" fmla="*/ 4 h 1065"/>
                <a:gd name="T22" fmla="*/ 128 w 523"/>
                <a:gd name="T23" fmla="*/ 35 h 1065"/>
                <a:gd name="T24" fmla="*/ 110 w 523"/>
                <a:gd name="T25" fmla="*/ 97 h 1065"/>
                <a:gd name="T26" fmla="*/ 113 w 523"/>
                <a:gd name="T27" fmla="*/ 136 h 1065"/>
                <a:gd name="T28" fmla="*/ 122 w 523"/>
                <a:gd name="T29" fmla="*/ 189 h 1065"/>
                <a:gd name="T30" fmla="*/ 125 w 523"/>
                <a:gd name="T31" fmla="*/ 301 h 1065"/>
                <a:gd name="T32" fmla="*/ 137 w 523"/>
                <a:gd name="T33" fmla="*/ 298 h 1065"/>
                <a:gd name="T34" fmla="*/ 131 w 523"/>
                <a:gd name="T35" fmla="*/ 313 h 1065"/>
                <a:gd name="T36" fmla="*/ 119 w 523"/>
                <a:gd name="T37" fmla="*/ 318 h 1065"/>
                <a:gd name="T38" fmla="*/ 113 w 523"/>
                <a:gd name="T39" fmla="*/ 427 h 1065"/>
                <a:gd name="T40" fmla="*/ 50 w 523"/>
                <a:gd name="T41" fmla="*/ 556 h 1065"/>
                <a:gd name="T42" fmla="*/ 21 w 523"/>
                <a:gd name="T43" fmla="*/ 588 h 1065"/>
                <a:gd name="T44" fmla="*/ 0 w 523"/>
                <a:gd name="T45" fmla="*/ 695 h 1065"/>
                <a:gd name="T46" fmla="*/ 64 w 523"/>
                <a:gd name="T47" fmla="*/ 710 h 1065"/>
                <a:gd name="T48" fmla="*/ 113 w 523"/>
                <a:gd name="T49" fmla="*/ 642 h 1065"/>
                <a:gd name="T50" fmla="*/ 88 w 523"/>
                <a:gd name="T51" fmla="*/ 701 h 1065"/>
                <a:gd name="T52" fmla="*/ 59 w 523"/>
                <a:gd name="T53" fmla="*/ 723 h 1065"/>
                <a:gd name="T54" fmla="*/ 43 w 523"/>
                <a:gd name="T55" fmla="*/ 774 h 1065"/>
                <a:gd name="T56" fmla="*/ 114 w 523"/>
                <a:gd name="T57" fmla="*/ 760 h 1065"/>
                <a:gd name="T58" fmla="*/ 118 w 523"/>
                <a:gd name="T59" fmla="*/ 760 h 1065"/>
                <a:gd name="T60" fmla="*/ 88 w 523"/>
                <a:gd name="T61" fmla="*/ 762 h 1065"/>
                <a:gd name="T62" fmla="*/ 96 w 523"/>
                <a:gd name="T63" fmla="*/ 868 h 1065"/>
                <a:gd name="T64" fmla="*/ 111 w 523"/>
                <a:gd name="T65" fmla="*/ 919 h 1065"/>
                <a:gd name="T66" fmla="*/ 99 w 523"/>
                <a:gd name="T67" fmla="*/ 1000 h 1065"/>
                <a:gd name="T68" fmla="*/ 88 w 523"/>
                <a:gd name="T69" fmla="*/ 1056 h 1065"/>
                <a:gd name="T70" fmla="*/ 136 w 523"/>
                <a:gd name="T71" fmla="*/ 1035 h 1065"/>
                <a:gd name="T72" fmla="*/ 232 w 523"/>
                <a:gd name="T73" fmla="*/ 1050 h 1065"/>
                <a:gd name="T74" fmla="*/ 272 w 523"/>
                <a:gd name="T75" fmla="*/ 1053 h 1065"/>
                <a:gd name="T76" fmla="*/ 331 w 523"/>
                <a:gd name="T77" fmla="*/ 1021 h 1065"/>
                <a:gd name="T78" fmla="*/ 315 w 523"/>
                <a:gd name="T79" fmla="*/ 953 h 1065"/>
                <a:gd name="T80" fmla="*/ 321 w 523"/>
                <a:gd name="T81" fmla="*/ 933 h 1065"/>
                <a:gd name="T82" fmla="*/ 359 w 523"/>
                <a:gd name="T83" fmla="*/ 861 h 1065"/>
                <a:gd name="T84" fmla="*/ 396 w 523"/>
                <a:gd name="T85" fmla="*/ 847 h 1065"/>
                <a:gd name="T86" fmla="*/ 380 w 523"/>
                <a:gd name="T87" fmla="*/ 824 h 1065"/>
                <a:gd name="T88" fmla="*/ 344 w 523"/>
                <a:gd name="T89" fmla="*/ 762 h 1065"/>
                <a:gd name="T90" fmla="*/ 353 w 523"/>
                <a:gd name="T91" fmla="*/ 711 h 1065"/>
                <a:gd name="T92" fmla="*/ 388 w 523"/>
                <a:gd name="T93" fmla="*/ 680 h 1065"/>
                <a:gd name="T94" fmla="*/ 382 w 523"/>
                <a:gd name="T95" fmla="*/ 634 h 1065"/>
                <a:gd name="T96" fmla="*/ 355 w 523"/>
                <a:gd name="T97" fmla="*/ 605 h 1065"/>
                <a:gd name="T98" fmla="*/ 332 w 523"/>
                <a:gd name="T99" fmla="*/ 551 h 1065"/>
                <a:gd name="T100" fmla="*/ 363 w 523"/>
                <a:gd name="T101" fmla="*/ 518 h 1065"/>
                <a:gd name="T102" fmla="*/ 399 w 523"/>
                <a:gd name="T103" fmla="*/ 488 h 1065"/>
                <a:gd name="T104" fmla="*/ 412 w 523"/>
                <a:gd name="T105" fmla="*/ 457 h 1065"/>
                <a:gd name="T106" fmla="*/ 394 w 523"/>
                <a:gd name="T107" fmla="*/ 405 h 1065"/>
                <a:gd name="T108" fmla="*/ 429 w 523"/>
                <a:gd name="T109" fmla="*/ 378 h 1065"/>
                <a:gd name="T110" fmla="*/ 426 w 523"/>
                <a:gd name="T111" fmla="*/ 315 h 1065"/>
                <a:gd name="T112" fmla="*/ 423 w 523"/>
                <a:gd name="T113" fmla="*/ 270 h 1065"/>
                <a:gd name="T114" fmla="*/ 428 w 523"/>
                <a:gd name="T115" fmla="*/ 230 h 1065"/>
                <a:gd name="T116" fmla="*/ 482 w 523"/>
                <a:gd name="T117" fmla="*/ 178 h 1065"/>
                <a:gd name="T118" fmla="*/ 510 w 523"/>
                <a:gd name="T119" fmla="*/ 145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3" h="1065">
                  <a:moveTo>
                    <a:pt x="260" y="1058"/>
                  </a:moveTo>
                  <a:lnTo>
                    <a:pt x="260" y="1058"/>
                  </a:lnTo>
                  <a:lnTo>
                    <a:pt x="256" y="1062"/>
                  </a:lnTo>
                  <a:lnTo>
                    <a:pt x="253" y="1063"/>
                  </a:lnTo>
                  <a:lnTo>
                    <a:pt x="245" y="1062"/>
                  </a:lnTo>
                  <a:lnTo>
                    <a:pt x="245" y="1063"/>
                  </a:lnTo>
                  <a:lnTo>
                    <a:pt x="249" y="1065"/>
                  </a:lnTo>
                  <a:lnTo>
                    <a:pt x="253" y="1065"/>
                  </a:lnTo>
                  <a:lnTo>
                    <a:pt x="257" y="1064"/>
                  </a:lnTo>
                  <a:lnTo>
                    <a:pt x="260" y="1062"/>
                  </a:lnTo>
                  <a:lnTo>
                    <a:pt x="260" y="1061"/>
                  </a:lnTo>
                  <a:lnTo>
                    <a:pt x="261" y="1060"/>
                  </a:lnTo>
                  <a:lnTo>
                    <a:pt x="261" y="1059"/>
                  </a:lnTo>
                  <a:lnTo>
                    <a:pt x="260" y="1058"/>
                  </a:lnTo>
                  <a:close/>
                  <a:moveTo>
                    <a:pt x="73" y="687"/>
                  </a:moveTo>
                  <a:lnTo>
                    <a:pt x="74" y="684"/>
                  </a:lnTo>
                  <a:lnTo>
                    <a:pt x="73" y="683"/>
                  </a:lnTo>
                  <a:lnTo>
                    <a:pt x="73" y="684"/>
                  </a:lnTo>
                  <a:lnTo>
                    <a:pt x="72" y="684"/>
                  </a:lnTo>
                  <a:lnTo>
                    <a:pt x="71" y="685"/>
                  </a:lnTo>
                  <a:lnTo>
                    <a:pt x="69" y="687"/>
                  </a:lnTo>
                  <a:lnTo>
                    <a:pt x="68" y="690"/>
                  </a:lnTo>
                  <a:lnTo>
                    <a:pt x="67" y="693"/>
                  </a:lnTo>
                  <a:lnTo>
                    <a:pt x="68" y="694"/>
                  </a:lnTo>
                  <a:lnTo>
                    <a:pt x="70" y="691"/>
                  </a:lnTo>
                  <a:lnTo>
                    <a:pt x="73" y="687"/>
                  </a:lnTo>
                  <a:close/>
                  <a:moveTo>
                    <a:pt x="521" y="122"/>
                  </a:moveTo>
                  <a:lnTo>
                    <a:pt x="519" y="119"/>
                  </a:lnTo>
                  <a:lnTo>
                    <a:pt x="512" y="112"/>
                  </a:lnTo>
                  <a:lnTo>
                    <a:pt x="505" y="107"/>
                  </a:lnTo>
                  <a:lnTo>
                    <a:pt x="497" y="104"/>
                  </a:lnTo>
                  <a:lnTo>
                    <a:pt x="484" y="101"/>
                  </a:lnTo>
                  <a:lnTo>
                    <a:pt x="482" y="101"/>
                  </a:lnTo>
                  <a:lnTo>
                    <a:pt x="481" y="102"/>
                  </a:lnTo>
                  <a:lnTo>
                    <a:pt x="480" y="103"/>
                  </a:lnTo>
                  <a:lnTo>
                    <a:pt x="478" y="105"/>
                  </a:lnTo>
                  <a:lnTo>
                    <a:pt x="475" y="106"/>
                  </a:lnTo>
                  <a:lnTo>
                    <a:pt x="474" y="107"/>
                  </a:lnTo>
                  <a:lnTo>
                    <a:pt x="469" y="105"/>
                  </a:lnTo>
                  <a:lnTo>
                    <a:pt x="467" y="102"/>
                  </a:lnTo>
                  <a:lnTo>
                    <a:pt x="466" y="97"/>
                  </a:lnTo>
                  <a:lnTo>
                    <a:pt x="466" y="93"/>
                  </a:lnTo>
                  <a:lnTo>
                    <a:pt x="465" y="92"/>
                  </a:lnTo>
                  <a:lnTo>
                    <a:pt x="464" y="90"/>
                  </a:lnTo>
                  <a:lnTo>
                    <a:pt x="464" y="88"/>
                  </a:lnTo>
                  <a:lnTo>
                    <a:pt x="464" y="86"/>
                  </a:lnTo>
                  <a:lnTo>
                    <a:pt x="466" y="84"/>
                  </a:lnTo>
                  <a:lnTo>
                    <a:pt x="466" y="82"/>
                  </a:lnTo>
                  <a:lnTo>
                    <a:pt x="470" y="65"/>
                  </a:lnTo>
                  <a:lnTo>
                    <a:pt x="472" y="61"/>
                  </a:lnTo>
                  <a:lnTo>
                    <a:pt x="468" y="59"/>
                  </a:lnTo>
                  <a:lnTo>
                    <a:pt x="465" y="59"/>
                  </a:lnTo>
                  <a:lnTo>
                    <a:pt x="464" y="58"/>
                  </a:lnTo>
                  <a:lnTo>
                    <a:pt x="465" y="48"/>
                  </a:lnTo>
                  <a:lnTo>
                    <a:pt x="464" y="45"/>
                  </a:lnTo>
                  <a:lnTo>
                    <a:pt x="463" y="42"/>
                  </a:lnTo>
                  <a:lnTo>
                    <a:pt x="459" y="41"/>
                  </a:lnTo>
                  <a:lnTo>
                    <a:pt x="456" y="45"/>
                  </a:lnTo>
                  <a:lnTo>
                    <a:pt x="451" y="47"/>
                  </a:lnTo>
                  <a:lnTo>
                    <a:pt x="440" y="47"/>
                  </a:lnTo>
                  <a:lnTo>
                    <a:pt x="435" y="46"/>
                  </a:lnTo>
                  <a:lnTo>
                    <a:pt x="429" y="37"/>
                  </a:lnTo>
                  <a:lnTo>
                    <a:pt x="425" y="36"/>
                  </a:lnTo>
                  <a:lnTo>
                    <a:pt x="423" y="43"/>
                  </a:lnTo>
                  <a:lnTo>
                    <a:pt x="420" y="45"/>
                  </a:lnTo>
                  <a:lnTo>
                    <a:pt x="410" y="46"/>
                  </a:lnTo>
                  <a:lnTo>
                    <a:pt x="405" y="45"/>
                  </a:lnTo>
                  <a:lnTo>
                    <a:pt x="401" y="42"/>
                  </a:lnTo>
                  <a:lnTo>
                    <a:pt x="399" y="40"/>
                  </a:lnTo>
                  <a:lnTo>
                    <a:pt x="398" y="40"/>
                  </a:lnTo>
                  <a:lnTo>
                    <a:pt x="394" y="43"/>
                  </a:lnTo>
                  <a:lnTo>
                    <a:pt x="388" y="45"/>
                  </a:lnTo>
                  <a:lnTo>
                    <a:pt x="383" y="43"/>
                  </a:lnTo>
                  <a:lnTo>
                    <a:pt x="379" y="39"/>
                  </a:lnTo>
                  <a:lnTo>
                    <a:pt x="374" y="35"/>
                  </a:lnTo>
                  <a:lnTo>
                    <a:pt x="371" y="36"/>
                  </a:lnTo>
                  <a:lnTo>
                    <a:pt x="368" y="37"/>
                  </a:lnTo>
                  <a:lnTo>
                    <a:pt x="366" y="39"/>
                  </a:lnTo>
                  <a:lnTo>
                    <a:pt x="365" y="40"/>
                  </a:lnTo>
                  <a:lnTo>
                    <a:pt x="365" y="43"/>
                  </a:lnTo>
                  <a:lnTo>
                    <a:pt x="366" y="50"/>
                  </a:lnTo>
                  <a:lnTo>
                    <a:pt x="365" y="53"/>
                  </a:lnTo>
                  <a:lnTo>
                    <a:pt x="363" y="56"/>
                  </a:lnTo>
                  <a:lnTo>
                    <a:pt x="362" y="58"/>
                  </a:lnTo>
                  <a:lnTo>
                    <a:pt x="357" y="62"/>
                  </a:lnTo>
                  <a:lnTo>
                    <a:pt x="345" y="65"/>
                  </a:lnTo>
                  <a:lnTo>
                    <a:pt x="342" y="66"/>
                  </a:lnTo>
                  <a:lnTo>
                    <a:pt x="337" y="66"/>
                  </a:lnTo>
                  <a:lnTo>
                    <a:pt x="334" y="66"/>
                  </a:lnTo>
                  <a:lnTo>
                    <a:pt x="332" y="68"/>
                  </a:lnTo>
                  <a:lnTo>
                    <a:pt x="328" y="72"/>
                  </a:lnTo>
                  <a:lnTo>
                    <a:pt x="326" y="74"/>
                  </a:lnTo>
                  <a:lnTo>
                    <a:pt x="326" y="70"/>
                  </a:lnTo>
                  <a:lnTo>
                    <a:pt x="324" y="67"/>
                  </a:lnTo>
                  <a:lnTo>
                    <a:pt x="322" y="64"/>
                  </a:lnTo>
                  <a:lnTo>
                    <a:pt x="320" y="63"/>
                  </a:lnTo>
                  <a:lnTo>
                    <a:pt x="318" y="63"/>
                  </a:lnTo>
                  <a:lnTo>
                    <a:pt x="316" y="61"/>
                  </a:lnTo>
                  <a:lnTo>
                    <a:pt x="315" y="61"/>
                  </a:lnTo>
                  <a:lnTo>
                    <a:pt x="313" y="62"/>
                  </a:lnTo>
                  <a:lnTo>
                    <a:pt x="313" y="63"/>
                  </a:lnTo>
                  <a:lnTo>
                    <a:pt x="313" y="65"/>
                  </a:lnTo>
                  <a:lnTo>
                    <a:pt x="312" y="67"/>
                  </a:lnTo>
                  <a:lnTo>
                    <a:pt x="310" y="68"/>
                  </a:lnTo>
                  <a:lnTo>
                    <a:pt x="307" y="69"/>
                  </a:lnTo>
                  <a:lnTo>
                    <a:pt x="303" y="70"/>
                  </a:lnTo>
                  <a:lnTo>
                    <a:pt x="300" y="70"/>
                  </a:lnTo>
                  <a:lnTo>
                    <a:pt x="298" y="68"/>
                  </a:lnTo>
                  <a:lnTo>
                    <a:pt x="298" y="66"/>
                  </a:lnTo>
                  <a:lnTo>
                    <a:pt x="300" y="60"/>
                  </a:lnTo>
                  <a:lnTo>
                    <a:pt x="292" y="59"/>
                  </a:lnTo>
                  <a:lnTo>
                    <a:pt x="289" y="58"/>
                  </a:lnTo>
                  <a:lnTo>
                    <a:pt x="284" y="55"/>
                  </a:lnTo>
                  <a:lnTo>
                    <a:pt x="282" y="54"/>
                  </a:lnTo>
                  <a:lnTo>
                    <a:pt x="278" y="56"/>
                  </a:lnTo>
                  <a:lnTo>
                    <a:pt x="268" y="59"/>
                  </a:lnTo>
                  <a:lnTo>
                    <a:pt x="264" y="58"/>
                  </a:lnTo>
                  <a:lnTo>
                    <a:pt x="262" y="59"/>
                  </a:lnTo>
                  <a:lnTo>
                    <a:pt x="261" y="60"/>
                  </a:lnTo>
                  <a:lnTo>
                    <a:pt x="260" y="62"/>
                  </a:lnTo>
                  <a:lnTo>
                    <a:pt x="259" y="63"/>
                  </a:lnTo>
                  <a:lnTo>
                    <a:pt x="254" y="63"/>
                  </a:lnTo>
                  <a:lnTo>
                    <a:pt x="253" y="57"/>
                  </a:lnTo>
                  <a:lnTo>
                    <a:pt x="253" y="51"/>
                  </a:lnTo>
                  <a:lnTo>
                    <a:pt x="250" y="52"/>
                  </a:lnTo>
                  <a:lnTo>
                    <a:pt x="249" y="55"/>
                  </a:lnTo>
                  <a:lnTo>
                    <a:pt x="248" y="58"/>
                  </a:lnTo>
                  <a:lnTo>
                    <a:pt x="247" y="61"/>
                  </a:lnTo>
                  <a:lnTo>
                    <a:pt x="244" y="61"/>
                  </a:lnTo>
                  <a:lnTo>
                    <a:pt x="241" y="61"/>
                  </a:lnTo>
                  <a:lnTo>
                    <a:pt x="239" y="62"/>
                  </a:lnTo>
                  <a:lnTo>
                    <a:pt x="237" y="64"/>
                  </a:lnTo>
                  <a:lnTo>
                    <a:pt x="235" y="66"/>
                  </a:lnTo>
                  <a:lnTo>
                    <a:pt x="230" y="72"/>
                  </a:lnTo>
                  <a:lnTo>
                    <a:pt x="230" y="72"/>
                  </a:lnTo>
                  <a:lnTo>
                    <a:pt x="223" y="74"/>
                  </a:lnTo>
                  <a:lnTo>
                    <a:pt x="209" y="73"/>
                  </a:lnTo>
                  <a:lnTo>
                    <a:pt x="210" y="73"/>
                  </a:lnTo>
                  <a:lnTo>
                    <a:pt x="210" y="67"/>
                  </a:lnTo>
                  <a:lnTo>
                    <a:pt x="210" y="64"/>
                  </a:lnTo>
                  <a:lnTo>
                    <a:pt x="209" y="63"/>
                  </a:lnTo>
                  <a:lnTo>
                    <a:pt x="203" y="61"/>
                  </a:lnTo>
                  <a:lnTo>
                    <a:pt x="201" y="57"/>
                  </a:lnTo>
                  <a:lnTo>
                    <a:pt x="201" y="53"/>
                  </a:lnTo>
                  <a:lnTo>
                    <a:pt x="203" y="49"/>
                  </a:lnTo>
                  <a:lnTo>
                    <a:pt x="209" y="40"/>
                  </a:lnTo>
                  <a:lnTo>
                    <a:pt x="214" y="35"/>
                  </a:lnTo>
                  <a:lnTo>
                    <a:pt x="218" y="33"/>
                  </a:lnTo>
                  <a:lnTo>
                    <a:pt x="221" y="30"/>
                  </a:lnTo>
                  <a:lnTo>
                    <a:pt x="222" y="28"/>
                  </a:lnTo>
                  <a:lnTo>
                    <a:pt x="223" y="24"/>
                  </a:lnTo>
                  <a:lnTo>
                    <a:pt x="221" y="21"/>
                  </a:lnTo>
                  <a:lnTo>
                    <a:pt x="219" y="19"/>
                  </a:lnTo>
                  <a:lnTo>
                    <a:pt x="216" y="17"/>
                  </a:lnTo>
                  <a:lnTo>
                    <a:pt x="213" y="17"/>
                  </a:lnTo>
                  <a:lnTo>
                    <a:pt x="210" y="19"/>
                  </a:lnTo>
                  <a:lnTo>
                    <a:pt x="208" y="19"/>
                  </a:lnTo>
                  <a:lnTo>
                    <a:pt x="205" y="18"/>
                  </a:lnTo>
                  <a:lnTo>
                    <a:pt x="205" y="14"/>
                  </a:lnTo>
                  <a:lnTo>
                    <a:pt x="205" y="5"/>
                  </a:lnTo>
                  <a:lnTo>
                    <a:pt x="204" y="2"/>
                  </a:lnTo>
                  <a:lnTo>
                    <a:pt x="203" y="0"/>
                  </a:lnTo>
                  <a:lnTo>
                    <a:pt x="198" y="3"/>
                  </a:lnTo>
                  <a:lnTo>
                    <a:pt x="195" y="4"/>
                  </a:lnTo>
                  <a:lnTo>
                    <a:pt x="192" y="4"/>
                  </a:lnTo>
                  <a:lnTo>
                    <a:pt x="191" y="5"/>
                  </a:lnTo>
                  <a:lnTo>
                    <a:pt x="190" y="6"/>
                  </a:lnTo>
                  <a:lnTo>
                    <a:pt x="186" y="9"/>
                  </a:lnTo>
                  <a:lnTo>
                    <a:pt x="183" y="11"/>
                  </a:lnTo>
                  <a:lnTo>
                    <a:pt x="158" y="15"/>
                  </a:lnTo>
                  <a:lnTo>
                    <a:pt x="155" y="16"/>
                  </a:lnTo>
                  <a:lnTo>
                    <a:pt x="150" y="20"/>
                  </a:lnTo>
                  <a:lnTo>
                    <a:pt x="147" y="21"/>
                  </a:lnTo>
                  <a:lnTo>
                    <a:pt x="141" y="21"/>
                  </a:lnTo>
                  <a:lnTo>
                    <a:pt x="138" y="22"/>
                  </a:lnTo>
                  <a:lnTo>
                    <a:pt x="136" y="24"/>
                  </a:lnTo>
                  <a:lnTo>
                    <a:pt x="134" y="26"/>
                  </a:lnTo>
                  <a:lnTo>
                    <a:pt x="132" y="30"/>
                  </a:lnTo>
                  <a:lnTo>
                    <a:pt x="132" y="33"/>
                  </a:lnTo>
                  <a:lnTo>
                    <a:pt x="128" y="35"/>
                  </a:lnTo>
                  <a:lnTo>
                    <a:pt x="124" y="36"/>
                  </a:lnTo>
                  <a:lnTo>
                    <a:pt x="121" y="38"/>
                  </a:lnTo>
                  <a:lnTo>
                    <a:pt x="119" y="39"/>
                  </a:lnTo>
                  <a:lnTo>
                    <a:pt x="117" y="47"/>
                  </a:lnTo>
                  <a:lnTo>
                    <a:pt x="112" y="53"/>
                  </a:lnTo>
                  <a:lnTo>
                    <a:pt x="100" y="63"/>
                  </a:lnTo>
                  <a:lnTo>
                    <a:pt x="99" y="65"/>
                  </a:lnTo>
                  <a:lnTo>
                    <a:pt x="98" y="67"/>
                  </a:lnTo>
                  <a:lnTo>
                    <a:pt x="99" y="73"/>
                  </a:lnTo>
                  <a:lnTo>
                    <a:pt x="98" y="83"/>
                  </a:lnTo>
                  <a:lnTo>
                    <a:pt x="98" y="88"/>
                  </a:lnTo>
                  <a:lnTo>
                    <a:pt x="101" y="95"/>
                  </a:lnTo>
                  <a:lnTo>
                    <a:pt x="104" y="97"/>
                  </a:lnTo>
                  <a:lnTo>
                    <a:pt x="106" y="97"/>
                  </a:lnTo>
                  <a:lnTo>
                    <a:pt x="110" y="97"/>
                  </a:lnTo>
                  <a:lnTo>
                    <a:pt x="127" y="92"/>
                  </a:lnTo>
                  <a:lnTo>
                    <a:pt x="125" y="94"/>
                  </a:lnTo>
                  <a:lnTo>
                    <a:pt x="123" y="96"/>
                  </a:lnTo>
                  <a:lnTo>
                    <a:pt x="120" y="97"/>
                  </a:lnTo>
                  <a:lnTo>
                    <a:pt x="110" y="99"/>
                  </a:lnTo>
                  <a:lnTo>
                    <a:pt x="107" y="100"/>
                  </a:lnTo>
                  <a:lnTo>
                    <a:pt x="106" y="102"/>
                  </a:lnTo>
                  <a:lnTo>
                    <a:pt x="106" y="107"/>
                  </a:lnTo>
                  <a:lnTo>
                    <a:pt x="108" y="111"/>
                  </a:lnTo>
                  <a:lnTo>
                    <a:pt x="108" y="115"/>
                  </a:lnTo>
                  <a:lnTo>
                    <a:pt x="109" y="118"/>
                  </a:lnTo>
                  <a:lnTo>
                    <a:pt x="110" y="123"/>
                  </a:lnTo>
                  <a:lnTo>
                    <a:pt x="112" y="130"/>
                  </a:lnTo>
                  <a:lnTo>
                    <a:pt x="112" y="133"/>
                  </a:lnTo>
                  <a:lnTo>
                    <a:pt x="113" y="136"/>
                  </a:lnTo>
                  <a:lnTo>
                    <a:pt x="113" y="141"/>
                  </a:lnTo>
                  <a:lnTo>
                    <a:pt x="115" y="145"/>
                  </a:lnTo>
                  <a:lnTo>
                    <a:pt x="113" y="152"/>
                  </a:lnTo>
                  <a:lnTo>
                    <a:pt x="113" y="158"/>
                  </a:lnTo>
                  <a:lnTo>
                    <a:pt x="113" y="161"/>
                  </a:lnTo>
                  <a:lnTo>
                    <a:pt x="114" y="164"/>
                  </a:lnTo>
                  <a:lnTo>
                    <a:pt x="117" y="168"/>
                  </a:lnTo>
                  <a:lnTo>
                    <a:pt x="117" y="170"/>
                  </a:lnTo>
                  <a:lnTo>
                    <a:pt x="118" y="172"/>
                  </a:lnTo>
                  <a:lnTo>
                    <a:pt x="119" y="173"/>
                  </a:lnTo>
                  <a:lnTo>
                    <a:pt x="120" y="175"/>
                  </a:lnTo>
                  <a:lnTo>
                    <a:pt x="120" y="181"/>
                  </a:lnTo>
                  <a:lnTo>
                    <a:pt x="120" y="184"/>
                  </a:lnTo>
                  <a:lnTo>
                    <a:pt x="121" y="186"/>
                  </a:lnTo>
                  <a:lnTo>
                    <a:pt x="122" y="189"/>
                  </a:lnTo>
                  <a:lnTo>
                    <a:pt x="121" y="191"/>
                  </a:lnTo>
                  <a:lnTo>
                    <a:pt x="124" y="197"/>
                  </a:lnTo>
                  <a:lnTo>
                    <a:pt x="126" y="205"/>
                  </a:lnTo>
                  <a:lnTo>
                    <a:pt x="129" y="210"/>
                  </a:lnTo>
                  <a:lnTo>
                    <a:pt x="135" y="212"/>
                  </a:lnTo>
                  <a:lnTo>
                    <a:pt x="135" y="213"/>
                  </a:lnTo>
                  <a:lnTo>
                    <a:pt x="132" y="216"/>
                  </a:lnTo>
                  <a:lnTo>
                    <a:pt x="132" y="223"/>
                  </a:lnTo>
                  <a:lnTo>
                    <a:pt x="134" y="237"/>
                  </a:lnTo>
                  <a:lnTo>
                    <a:pt x="134" y="245"/>
                  </a:lnTo>
                  <a:lnTo>
                    <a:pt x="119" y="316"/>
                  </a:lnTo>
                  <a:lnTo>
                    <a:pt x="121" y="314"/>
                  </a:lnTo>
                  <a:lnTo>
                    <a:pt x="123" y="309"/>
                  </a:lnTo>
                  <a:lnTo>
                    <a:pt x="124" y="305"/>
                  </a:lnTo>
                  <a:lnTo>
                    <a:pt x="125" y="301"/>
                  </a:lnTo>
                  <a:lnTo>
                    <a:pt x="126" y="296"/>
                  </a:lnTo>
                  <a:lnTo>
                    <a:pt x="127" y="290"/>
                  </a:lnTo>
                  <a:lnTo>
                    <a:pt x="128" y="285"/>
                  </a:lnTo>
                  <a:lnTo>
                    <a:pt x="131" y="281"/>
                  </a:lnTo>
                  <a:lnTo>
                    <a:pt x="132" y="283"/>
                  </a:lnTo>
                  <a:lnTo>
                    <a:pt x="132" y="283"/>
                  </a:lnTo>
                  <a:lnTo>
                    <a:pt x="134" y="280"/>
                  </a:lnTo>
                  <a:lnTo>
                    <a:pt x="134" y="276"/>
                  </a:lnTo>
                  <a:lnTo>
                    <a:pt x="135" y="281"/>
                  </a:lnTo>
                  <a:lnTo>
                    <a:pt x="129" y="289"/>
                  </a:lnTo>
                  <a:lnTo>
                    <a:pt x="131" y="295"/>
                  </a:lnTo>
                  <a:lnTo>
                    <a:pt x="132" y="297"/>
                  </a:lnTo>
                  <a:lnTo>
                    <a:pt x="136" y="298"/>
                  </a:lnTo>
                  <a:lnTo>
                    <a:pt x="136" y="298"/>
                  </a:lnTo>
                  <a:lnTo>
                    <a:pt x="137" y="298"/>
                  </a:lnTo>
                  <a:lnTo>
                    <a:pt x="140" y="297"/>
                  </a:lnTo>
                  <a:lnTo>
                    <a:pt x="144" y="295"/>
                  </a:lnTo>
                  <a:lnTo>
                    <a:pt x="147" y="295"/>
                  </a:lnTo>
                  <a:lnTo>
                    <a:pt x="145" y="297"/>
                  </a:lnTo>
                  <a:lnTo>
                    <a:pt x="142" y="299"/>
                  </a:lnTo>
                  <a:lnTo>
                    <a:pt x="139" y="300"/>
                  </a:lnTo>
                  <a:lnTo>
                    <a:pt x="136" y="300"/>
                  </a:lnTo>
                  <a:lnTo>
                    <a:pt x="132" y="302"/>
                  </a:lnTo>
                  <a:lnTo>
                    <a:pt x="132" y="304"/>
                  </a:lnTo>
                  <a:lnTo>
                    <a:pt x="133" y="306"/>
                  </a:lnTo>
                  <a:lnTo>
                    <a:pt x="136" y="308"/>
                  </a:lnTo>
                  <a:lnTo>
                    <a:pt x="134" y="311"/>
                  </a:lnTo>
                  <a:lnTo>
                    <a:pt x="133" y="313"/>
                  </a:lnTo>
                  <a:lnTo>
                    <a:pt x="131" y="313"/>
                  </a:lnTo>
                  <a:lnTo>
                    <a:pt x="131" y="313"/>
                  </a:lnTo>
                  <a:lnTo>
                    <a:pt x="130" y="312"/>
                  </a:lnTo>
                  <a:lnTo>
                    <a:pt x="129" y="311"/>
                  </a:lnTo>
                  <a:lnTo>
                    <a:pt x="127" y="312"/>
                  </a:lnTo>
                  <a:lnTo>
                    <a:pt x="127" y="313"/>
                  </a:lnTo>
                  <a:lnTo>
                    <a:pt x="127" y="315"/>
                  </a:lnTo>
                  <a:lnTo>
                    <a:pt x="128" y="316"/>
                  </a:lnTo>
                  <a:lnTo>
                    <a:pt x="128" y="316"/>
                  </a:lnTo>
                  <a:lnTo>
                    <a:pt x="128" y="317"/>
                  </a:lnTo>
                  <a:lnTo>
                    <a:pt x="127" y="317"/>
                  </a:lnTo>
                  <a:lnTo>
                    <a:pt x="125" y="316"/>
                  </a:lnTo>
                  <a:lnTo>
                    <a:pt x="123" y="318"/>
                  </a:lnTo>
                  <a:lnTo>
                    <a:pt x="120" y="323"/>
                  </a:lnTo>
                  <a:lnTo>
                    <a:pt x="120" y="322"/>
                  </a:lnTo>
                  <a:lnTo>
                    <a:pt x="120" y="317"/>
                  </a:lnTo>
                  <a:lnTo>
                    <a:pt x="119" y="318"/>
                  </a:lnTo>
                  <a:lnTo>
                    <a:pt x="118" y="319"/>
                  </a:lnTo>
                  <a:lnTo>
                    <a:pt x="116" y="331"/>
                  </a:lnTo>
                  <a:lnTo>
                    <a:pt x="113" y="341"/>
                  </a:lnTo>
                  <a:lnTo>
                    <a:pt x="111" y="353"/>
                  </a:lnTo>
                  <a:lnTo>
                    <a:pt x="101" y="395"/>
                  </a:lnTo>
                  <a:lnTo>
                    <a:pt x="96" y="405"/>
                  </a:lnTo>
                  <a:lnTo>
                    <a:pt x="94" y="410"/>
                  </a:lnTo>
                  <a:lnTo>
                    <a:pt x="94" y="415"/>
                  </a:lnTo>
                  <a:lnTo>
                    <a:pt x="96" y="418"/>
                  </a:lnTo>
                  <a:lnTo>
                    <a:pt x="98" y="420"/>
                  </a:lnTo>
                  <a:lnTo>
                    <a:pt x="106" y="420"/>
                  </a:lnTo>
                  <a:lnTo>
                    <a:pt x="108" y="421"/>
                  </a:lnTo>
                  <a:lnTo>
                    <a:pt x="111" y="423"/>
                  </a:lnTo>
                  <a:lnTo>
                    <a:pt x="113" y="426"/>
                  </a:lnTo>
                  <a:lnTo>
                    <a:pt x="113" y="427"/>
                  </a:lnTo>
                  <a:lnTo>
                    <a:pt x="107" y="427"/>
                  </a:lnTo>
                  <a:lnTo>
                    <a:pt x="104" y="426"/>
                  </a:lnTo>
                  <a:lnTo>
                    <a:pt x="103" y="423"/>
                  </a:lnTo>
                  <a:lnTo>
                    <a:pt x="100" y="426"/>
                  </a:lnTo>
                  <a:lnTo>
                    <a:pt x="80" y="484"/>
                  </a:lnTo>
                  <a:lnTo>
                    <a:pt x="68" y="518"/>
                  </a:lnTo>
                  <a:lnTo>
                    <a:pt x="67" y="525"/>
                  </a:lnTo>
                  <a:lnTo>
                    <a:pt x="65" y="531"/>
                  </a:lnTo>
                  <a:lnTo>
                    <a:pt x="65" y="535"/>
                  </a:lnTo>
                  <a:lnTo>
                    <a:pt x="65" y="538"/>
                  </a:lnTo>
                  <a:lnTo>
                    <a:pt x="62" y="544"/>
                  </a:lnTo>
                  <a:lnTo>
                    <a:pt x="60" y="547"/>
                  </a:lnTo>
                  <a:lnTo>
                    <a:pt x="58" y="551"/>
                  </a:lnTo>
                  <a:lnTo>
                    <a:pt x="53" y="554"/>
                  </a:lnTo>
                  <a:lnTo>
                    <a:pt x="50" y="556"/>
                  </a:lnTo>
                  <a:lnTo>
                    <a:pt x="49" y="558"/>
                  </a:lnTo>
                  <a:lnTo>
                    <a:pt x="45" y="562"/>
                  </a:lnTo>
                  <a:lnTo>
                    <a:pt x="43" y="567"/>
                  </a:lnTo>
                  <a:lnTo>
                    <a:pt x="45" y="569"/>
                  </a:lnTo>
                  <a:lnTo>
                    <a:pt x="46" y="572"/>
                  </a:lnTo>
                  <a:lnTo>
                    <a:pt x="44" y="574"/>
                  </a:lnTo>
                  <a:lnTo>
                    <a:pt x="43" y="573"/>
                  </a:lnTo>
                  <a:lnTo>
                    <a:pt x="41" y="571"/>
                  </a:lnTo>
                  <a:lnTo>
                    <a:pt x="38" y="571"/>
                  </a:lnTo>
                  <a:lnTo>
                    <a:pt x="35" y="574"/>
                  </a:lnTo>
                  <a:lnTo>
                    <a:pt x="23" y="581"/>
                  </a:lnTo>
                  <a:lnTo>
                    <a:pt x="16" y="580"/>
                  </a:lnTo>
                  <a:lnTo>
                    <a:pt x="14" y="580"/>
                  </a:lnTo>
                  <a:lnTo>
                    <a:pt x="15" y="582"/>
                  </a:lnTo>
                  <a:lnTo>
                    <a:pt x="21" y="588"/>
                  </a:lnTo>
                  <a:lnTo>
                    <a:pt x="23" y="592"/>
                  </a:lnTo>
                  <a:lnTo>
                    <a:pt x="25" y="602"/>
                  </a:lnTo>
                  <a:lnTo>
                    <a:pt x="24" y="609"/>
                  </a:lnTo>
                  <a:lnTo>
                    <a:pt x="24" y="616"/>
                  </a:lnTo>
                  <a:lnTo>
                    <a:pt x="20" y="624"/>
                  </a:lnTo>
                  <a:lnTo>
                    <a:pt x="18" y="629"/>
                  </a:lnTo>
                  <a:lnTo>
                    <a:pt x="12" y="641"/>
                  </a:lnTo>
                  <a:lnTo>
                    <a:pt x="11" y="646"/>
                  </a:lnTo>
                  <a:lnTo>
                    <a:pt x="10" y="651"/>
                  </a:lnTo>
                  <a:lnTo>
                    <a:pt x="12" y="658"/>
                  </a:lnTo>
                  <a:lnTo>
                    <a:pt x="12" y="670"/>
                  </a:lnTo>
                  <a:lnTo>
                    <a:pt x="7" y="687"/>
                  </a:lnTo>
                  <a:lnTo>
                    <a:pt x="3" y="691"/>
                  </a:lnTo>
                  <a:lnTo>
                    <a:pt x="1" y="693"/>
                  </a:lnTo>
                  <a:lnTo>
                    <a:pt x="0" y="695"/>
                  </a:lnTo>
                  <a:lnTo>
                    <a:pt x="0" y="700"/>
                  </a:lnTo>
                  <a:lnTo>
                    <a:pt x="2" y="708"/>
                  </a:lnTo>
                  <a:lnTo>
                    <a:pt x="1" y="712"/>
                  </a:lnTo>
                  <a:lnTo>
                    <a:pt x="1" y="716"/>
                  </a:lnTo>
                  <a:lnTo>
                    <a:pt x="4" y="717"/>
                  </a:lnTo>
                  <a:lnTo>
                    <a:pt x="11" y="716"/>
                  </a:lnTo>
                  <a:lnTo>
                    <a:pt x="15" y="717"/>
                  </a:lnTo>
                  <a:lnTo>
                    <a:pt x="22" y="720"/>
                  </a:lnTo>
                  <a:lnTo>
                    <a:pt x="28" y="723"/>
                  </a:lnTo>
                  <a:lnTo>
                    <a:pt x="31" y="720"/>
                  </a:lnTo>
                  <a:lnTo>
                    <a:pt x="34" y="718"/>
                  </a:lnTo>
                  <a:lnTo>
                    <a:pt x="44" y="719"/>
                  </a:lnTo>
                  <a:lnTo>
                    <a:pt x="53" y="717"/>
                  </a:lnTo>
                  <a:lnTo>
                    <a:pt x="61" y="715"/>
                  </a:lnTo>
                  <a:lnTo>
                    <a:pt x="64" y="710"/>
                  </a:lnTo>
                  <a:lnTo>
                    <a:pt x="63" y="705"/>
                  </a:lnTo>
                  <a:lnTo>
                    <a:pt x="63" y="698"/>
                  </a:lnTo>
                  <a:lnTo>
                    <a:pt x="62" y="694"/>
                  </a:lnTo>
                  <a:lnTo>
                    <a:pt x="63" y="691"/>
                  </a:lnTo>
                  <a:lnTo>
                    <a:pt x="65" y="689"/>
                  </a:lnTo>
                  <a:lnTo>
                    <a:pt x="70" y="683"/>
                  </a:lnTo>
                  <a:lnTo>
                    <a:pt x="78" y="665"/>
                  </a:lnTo>
                  <a:lnTo>
                    <a:pt x="86" y="654"/>
                  </a:lnTo>
                  <a:lnTo>
                    <a:pt x="89" y="648"/>
                  </a:lnTo>
                  <a:lnTo>
                    <a:pt x="91" y="647"/>
                  </a:lnTo>
                  <a:lnTo>
                    <a:pt x="105" y="645"/>
                  </a:lnTo>
                  <a:lnTo>
                    <a:pt x="112" y="640"/>
                  </a:lnTo>
                  <a:lnTo>
                    <a:pt x="117" y="637"/>
                  </a:lnTo>
                  <a:lnTo>
                    <a:pt x="115" y="640"/>
                  </a:lnTo>
                  <a:lnTo>
                    <a:pt x="113" y="642"/>
                  </a:lnTo>
                  <a:lnTo>
                    <a:pt x="107" y="647"/>
                  </a:lnTo>
                  <a:lnTo>
                    <a:pt x="104" y="648"/>
                  </a:lnTo>
                  <a:lnTo>
                    <a:pt x="97" y="649"/>
                  </a:lnTo>
                  <a:lnTo>
                    <a:pt x="94" y="649"/>
                  </a:lnTo>
                  <a:lnTo>
                    <a:pt x="88" y="654"/>
                  </a:lnTo>
                  <a:lnTo>
                    <a:pt x="84" y="660"/>
                  </a:lnTo>
                  <a:lnTo>
                    <a:pt x="77" y="674"/>
                  </a:lnTo>
                  <a:lnTo>
                    <a:pt x="79" y="679"/>
                  </a:lnTo>
                  <a:lnTo>
                    <a:pt x="80" y="684"/>
                  </a:lnTo>
                  <a:lnTo>
                    <a:pt x="81" y="687"/>
                  </a:lnTo>
                  <a:lnTo>
                    <a:pt x="85" y="687"/>
                  </a:lnTo>
                  <a:lnTo>
                    <a:pt x="84" y="690"/>
                  </a:lnTo>
                  <a:lnTo>
                    <a:pt x="85" y="694"/>
                  </a:lnTo>
                  <a:lnTo>
                    <a:pt x="87" y="698"/>
                  </a:lnTo>
                  <a:lnTo>
                    <a:pt x="88" y="701"/>
                  </a:lnTo>
                  <a:lnTo>
                    <a:pt x="88" y="702"/>
                  </a:lnTo>
                  <a:lnTo>
                    <a:pt x="88" y="703"/>
                  </a:lnTo>
                  <a:lnTo>
                    <a:pt x="87" y="703"/>
                  </a:lnTo>
                  <a:lnTo>
                    <a:pt x="86" y="704"/>
                  </a:lnTo>
                  <a:lnTo>
                    <a:pt x="80" y="708"/>
                  </a:lnTo>
                  <a:lnTo>
                    <a:pt x="76" y="712"/>
                  </a:lnTo>
                  <a:lnTo>
                    <a:pt x="73" y="715"/>
                  </a:lnTo>
                  <a:lnTo>
                    <a:pt x="71" y="718"/>
                  </a:lnTo>
                  <a:lnTo>
                    <a:pt x="71" y="719"/>
                  </a:lnTo>
                  <a:lnTo>
                    <a:pt x="69" y="719"/>
                  </a:lnTo>
                  <a:lnTo>
                    <a:pt x="64" y="720"/>
                  </a:lnTo>
                  <a:lnTo>
                    <a:pt x="61" y="722"/>
                  </a:lnTo>
                  <a:lnTo>
                    <a:pt x="62" y="726"/>
                  </a:lnTo>
                  <a:lnTo>
                    <a:pt x="61" y="726"/>
                  </a:lnTo>
                  <a:lnTo>
                    <a:pt x="59" y="723"/>
                  </a:lnTo>
                  <a:lnTo>
                    <a:pt x="56" y="721"/>
                  </a:lnTo>
                  <a:lnTo>
                    <a:pt x="49" y="722"/>
                  </a:lnTo>
                  <a:lnTo>
                    <a:pt x="42" y="723"/>
                  </a:lnTo>
                  <a:lnTo>
                    <a:pt x="39" y="724"/>
                  </a:lnTo>
                  <a:lnTo>
                    <a:pt x="41" y="731"/>
                  </a:lnTo>
                  <a:lnTo>
                    <a:pt x="46" y="738"/>
                  </a:lnTo>
                  <a:lnTo>
                    <a:pt x="50" y="747"/>
                  </a:lnTo>
                  <a:lnTo>
                    <a:pt x="50" y="757"/>
                  </a:lnTo>
                  <a:lnTo>
                    <a:pt x="49" y="763"/>
                  </a:lnTo>
                  <a:lnTo>
                    <a:pt x="44" y="768"/>
                  </a:lnTo>
                  <a:lnTo>
                    <a:pt x="43" y="770"/>
                  </a:lnTo>
                  <a:lnTo>
                    <a:pt x="43" y="771"/>
                  </a:lnTo>
                  <a:lnTo>
                    <a:pt x="42" y="772"/>
                  </a:lnTo>
                  <a:lnTo>
                    <a:pt x="42" y="773"/>
                  </a:lnTo>
                  <a:lnTo>
                    <a:pt x="43" y="774"/>
                  </a:lnTo>
                  <a:lnTo>
                    <a:pt x="43" y="774"/>
                  </a:lnTo>
                  <a:lnTo>
                    <a:pt x="47" y="776"/>
                  </a:lnTo>
                  <a:lnTo>
                    <a:pt x="50" y="775"/>
                  </a:lnTo>
                  <a:lnTo>
                    <a:pt x="53" y="773"/>
                  </a:lnTo>
                  <a:lnTo>
                    <a:pt x="56" y="772"/>
                  </a:lnTo>
                  <a:lnTo>
                    <a:pt x="71" y="770"/>
                  </a:lnTo>
                  <a:lnTo>
                    <a:pt x="80" y="766"/>
                  </a:lnTo>
                  <a:lnTo>
                    <a:pt x="79" y="765"/>
                  </a:lnTo>
                  <a:lnTo>
                    <a:pt x="86" y="757"/>
                  </a:lnTo>
                  <a:lnTo>
                    <a:pt x="94" y="756"/>
                  </a:lnTo>
                  <a:lnTo>
                    <a:pt x="100" y="757"/>
                  </a:lnTo>
                  <a:lnTo>
                    <a:pt x="106" y="761"/>
                  </a:lnTo>
                  <a:lnTo>
                    <a:pt x="109" y="762"/>
                  </a:lnTo>
                  <a:lnTo>
                    <a:pt x="113" y="762"/>
                  </a:lnTo>
                  <a:lnTo>
                    <a:pt x="114" y="760"/>
                  </a:lnTo>
                  <a:lnTo>
                    <a:pt x="114" y="757"/>
                  </a:lnTo>
                  <a:lnTo>
                    <a:pt x="113" y="754"/>
                  </a:lnTo>
                  <a:lnTo>
                    <a:pt x="109" y="753"/>
                  </a:lnTo>
                  <a:lnTo>
                    <a:pt x="109" y="752"/>
                  </a:lnTo>
                  <a:lnTo>
                    <a:pt x="112" y="751"/>
                  </a:lnTo>
                  <a:lnTo>
                    <a:pt x="115" y="745"/>
                  </a:lnTo>
                  <a:lnTo>
                    <a:pt x="117" y="745"/>
                  </a:lnTo>
                  <a:lnTo>
                    <a:pt x="117" y="747"/>
                  </a:lnTo>
                  <a:lnTo>
                    <a:pt x="117" y="750"/>
                  </a:lnTo>
                  <a:lnTo>
                    <a:pt x="119" y="752"/>
                  </a:lnTo>
                  <a:lnTo>
                    <a:pt x="121" y="753"/>
                  </a:lnTo>
                  <a:lnTo>
                    <a:pt x="121" y="755"/>
                  </a:lnTo>
                  <a:lnTo>
                    <a:pt x="119" y="756"/>
                  </a:lnTo>
                  <a:lnTo>
                    <a:pt x="119" y="758"/>
                  </a:lnTo>
                  <a:lnTo>
                    <a:pt x="118" y="760"/>
                  </a:lnTo>
                  <a:lnTo>
                    <a:pt x="119" y="763"/>
                  </a:lnTo>
                  <a:lnTo>
                    <a:pt x="120" y="766"/>
                  </a:lnTo>
                  <a:lnTo>
                    <a:pt x="121" y="768"/>
                  </a:lnTo>
                  <a:lnTo>
                    <a:pt x="133" y="773"/>
                  </a:lnTo>
                  <a:lnTo>
                    <a:pt x="137" y="774"/>
                  </a:lnTo>
                  <a:lnTo>
                    <a:pt x="142" y="774"/>
                  </a:lnTo>
                  <a:lnTo>
                    <a:pt x="134" y="777"/>
                  </a:lnTo>
                  <a:lnTo>
                    <a:pt x="118" y="773"/>
                  </a:lnTo>
                  <a:lnTo>
                    <a:pt x="111" y="773"/>
                  </a:lnTo>
                  <a:lnTo>
                    <a:pt x="111" y="770"/>
                  </a:lnTo>
                  <a:lnTo>
                    <a:pt x="108" y="768"/>
                  </a:lnTo>
                  <a:lnTo>
                    <a:pt x="100" y="766"/>
                  </a:lnTo>
                  <a:lnTo>
                    <a:pt x="94" y="761"/>
                  </a:lnTo>
                  <a:lnTo>
                    <a:pt x="91" y="759"/>
                  </a:lnTo>
                  <a:lnTo>
                    <a:pt x="88" y="762"/>
                  </a:lnTo>
                  <a:lnTo>
                    <a:pt x="93" y="763"/>
                  </a:lnTo>
                  <a:lnTo>
                    <a:pt x="98" y="768"/>
                  </a:lnTo>
                  <a:lnTo>
                    <a:pt x="103" y="774"/>
                  </a:lnTo>
                  <a:lnTo>
                    <a:pt x="108" y="778"/>
                  </a:lnTo>
                  <a:lnTo>
                    <a:pt x="112" y="786"/>
                  </a:lnTo>
                  <a:lnTo>
                    <a:pt x="113" y="797"/>
                  </a:lnTo>
                  <a:lnTo>
                    <a:pt x="114" y="810"/>
                  </a:lnTo>
                  <a:lnTo>
                    <a:pt x="115" y="821"/>
                  </a:lnTo>
                  <a:lnTo>
                    <a:pt x="111" y="832"/>
                  </a:lnTo>
                  <a:lnTo>
                    <a:pt x="108" y="846"/>
                  </a:lnTo>
                  <a:lnTo>
                    <a:pt x="100" y="864"/>
                  </a:lnTo>
                  <a:lnTo>
                    <a:pt x="99" y="865"/>
                  </a:lnTo>
                  <a:lnTo>
                    <a:pt x="98" y="866"/>
                  </a:lnTo>
                  <a:lnTo>
                    <a:pt x="97" y="866"/>
                  </a:lnTo>
                  <a:lnTo>
                    <a:pt x="96" y="868"/>
                  </a:lnTo>
                  <a:lnTo>
                    <a:pt x="102" y="872"/>
                  </a:lnTo>
                  <a:lnTo>
                    <a:pt x="108" y="873"/>
                  </a:lnTo>
                  <a:lnTo>
                    <a:pt x="110" y="878"/>
                  </a:lnTo>
                  <a:lnTo>
                    <a:pt x="111" y="883"/>
                  </a:lnTo>
                  <a:lnTo>
                    <a:pt x="111" y="890"/>
                  </a:lnTo>
                  <a:lnTo>
                    <a:pt x="109" y="900"/>
                  </a:lnTo>
                  <a:lnTo>
                    <a:pt x="108" y="911"/>
                  </a:lnTo>
                  <a:lnTo>
                    <a:pt x="109" y="914"/>
                  </a:lnTo>
                  <a:lnTo>
                    <a:pt x="113" y="914"/>
                  </a:lnTo>
                  <a:lnTo>
                    <a:pt x="117" y="913"/>
                  </a:lnTo>
                  <a:lnTo>
                    <a:pt x="118" y="912"/>
                  </a:lnTo>
                  <a:lnTo>
                    <a:pt x="118" y="913"/>
                  </a:lnTo>
                  <a:lnTo>
                    <a:pt x="117" y="917"/>
                  </a:lnTo>
                  <a:lnTo>
                    <a:pt x="113" y="918"/>
                  </a:lnTo>
                  <a:lnTo>
                    <a:pt x="111" y="919"/>
                  </a:lnTo>
                  <a:lnTo>
                    <a:pt x="110" y="924"/>
                  </a:lnTo>
                  <a:lnTo>
                    <a:pt x="109" y="930"/>
                  </a:lnTo>
                  <a:lnTo>
                    <a:pt x="107" y="938"/>
                  </a:lnTo>
                  <a:lnTo>
                    <a:pt x="107" y="941"/>
                  </a:lnTo>
                  <a:lnTo>
                    <a:pt x="109" y="944"/>
                  </a:lnTo>
                  <a:lnTo>
                    <a:pt x="111" y="947"/>
                  </a:lnTo>
                  <a:lnTo>
                    <a:pt x="112" y="952"/>
                  </a:lnTo>
                  <a:lnTo>
                    <a:pt x="111" y="961"/>
                  </a:lnTo>
                  <a:lnTo>
                    <a:pt x="110" y="966"/>
                  </a:lnTo>
                  <a:lnTo>
                    <a:pt x="108" y="975"/>
                  </a:lnTo>
                  <a:lnTo>
                    <a:pt x="106" y="982"/>
                  </a:lnTo>
                  <a:lnTo>
                    <a:pt x="105" y="987"/>
                  </a:lnTo>
                  <a:lnTo>
                    <a:pt x="100" y="992"/>
                  </a:lnTo>
                  <a:lnTo>
                    <a:pt x="98" y="997"/>
                  </a:lnTo>
                  <a:lnTo>
                    <a:pt x="99" y="1000"/>
                  </a:lnTo>
                  <a:lnTo>
                    <a:pt x="100" y="1003"/>
                  </a:lnTo>
                  <a:lnTo>
                    <a:pt x="98" y="1012"/>
                  </a:lnTo>
                  <a:lnTo>
                    <a:pt x="94" y="1016"/>
                  </a:lnTo>
                  <a:lnTo>
                    <a:pt x="91" y="1018"/>
                  </a:lnTo>
                  <a:lnTo>
                    <a:pt x="93" y="1024"/>
                  </a:lnTo>
                  <a:lnTo>
                    <a:pt x="91" y="1029"/>
                  </a:lnTo>
                  <a:lnTo>
                    <a:pt x="88" y="1034"/>
                  </a:lnTo>
                  <a:lnTo>
                    <a:pt x="82" y="1044"/>
                  </a:lnTo>
                  <a:lnTo>
                    <a:pt x="81" y="1045"/>
                  </a:lnTo>
                  <a:lnTo>
                    <a:pt x="81" y="1048"/>
                  </a:lnTo>
                  <a:lnTo>
                    <a:pt x="79" y="1054"/>
                  </a:lnTo>
                  <a:lnTo>
                    <a:pt x="82" y="1053"/>
                  </a:lnTo>
                  <a:lnTo>
                    <a:pt x="83" y="1054"/>
                  </a:lnTo>
                  <a:lnTo>
                    <a:pt x="85" y="1055"/>
                  </a:lnTo>
                  <a:lnTo>
                    <a:pt x="88" y="1056"/>
                  </a:lnTo>
                  <a:lnTo>
                    <a:pt x="89" y="1056"/>
                  </a:lnTo>
                  <a:lnTo>
                    <a:pt x="93" y="1053"/>
                  </a:lnTo>
                  <a:lnTo>
                    <a:pt x="94" y="1052"/>
                  </a:lnTo>
                  <a:lnTo>
                    <a:pt x="96" y="1051"/>
                  </a:lnTo>
                  <a:lnTo>
                    <a:pt x="98" y="1049"/>
                  </a:lnTo>
                  <a:lnTo>
                    <a:pt x="102" y="1050"/>
                  </a:lnTo>
                  <a:lnTo>
                    <a:pt x="105" y="1047"/>
                  </a:lnTo>
                  <a:lnTo>
                    <a:pt x="109" y="1046"/>
                  </a:lnTo>
                  <a:lnTo>
                    <a:pt x="111" y="1046"/>
                  </a:lnTo>
                  <a:lnTo>
                    <a:pt x="113" y="1045"/>
                  </a:lnTo>
                  <a:lnTo>
                    <a:pt x="117" y="1042"/>
                  </a:lnTo>
                  <a:lnTo>
                    <a:pt x="119" y="1041"/>
                  </a:lnTo>
                  <a:lnTo>
                    <a:pt x="129" y="1041"/>
                  </a:lnTo>
                  <a:lnTo>
                    <a:pt x="134" y="1036"/>
                  </a:lnTo>
                  <a:lnTo>
                    <a:pt x="136" y="1035"/>
                  </a:lnTo>
                  <a:lnTo>
                    <a:pt x="138" y="1034"/>
                  </a:lnTo>
                  <a:lnTo>
                    <a:pt x="146" y="1033"/>
                  </a:lnTo>
                  <a:lnTo>
                    <a:pt x="152" y="1035"/>
                  </a:lnTo>
                  <a:lnTo>
                    <a:pt x="161" y="1039"/>
                  </a:lnTo>
                  <a:lnTo>
                    <a:pt x="161" y="1039"/>
                  </a:lnTo>
                  <a:lnTo>
                    <a:pt x="168" y="1041"/>
                  </a:lnTo>
                  <a:lnTo>
                    <a:pt x="175" y="1041"/>
                  </a:lnTo>
                  <a:lnTo>
                    <a:pt x="180" y="1038"/>
                  </a:lnTo>
                  <a:lnTo>
                    <a:pt x="186" y="1041"/>
                  </a:lnTo>
                  <a:lnTo>
                    <a:pt x="191" y="1042"/>
                  </a:lnTo>
                  <a:lnTo>
                    <a:pt x="204" y="1041"/>
                  </a:lnTo>
                  <a:lnTo>
                    <a:pt x="210" y="1041"/>
                  </a:lnTo>
                  <a:lnTo>
                    <a:pt x="215" y="1043"/>
                  </a:lnTo>
                  <a:lnTo>
                    <a:pt x="221" y="1044"/>
                  </a:lnTo>
                  <a:lnTo>
                    <a:pt x="232" y="1050"/>
                  </a:lnTo>
                  <a:lnTo>
                    <a:pt x="238" y="1055"/>
                  </a:lnTo>
                  <a:lnTo>
                    <a:pt x="242" y="1060"/>
                  </a:lnTo>
                  <a:lnTo>
                    <a:pt x="241" y="1059"/>
                  </a:lnTo>
                  <a:lnTo>
                    <a:pt x="241" y="1058"/>
                  </a:lnTo>
                  <a:lnTo>
                    <a:pt x="239" y="1055"/>
                  </a:lnTo>
                  <a:lnTo>
                    <a:pt x="241" y="1056"/>
                  </a:lnTo>
                  <a:lnTo>
                    <a:pt x="243" y="1057"/>
                  </a:lnTo>
                  <a:lnTo>
                    <a:pt x="244" y="1057"/>
                  </a:lnTo>
                  <a:lnTo>
                    <a:pt x="246" y="1055"/>
                  </a:lnTo>
                  <a:lnTo>
                    <a:pt x="249" y="1056"/>
                  </a:lnTo>
                  <a:lnTo>
                    <a:pt x="259" y="1056"/>
                  </a:lnTo>
                  <a:lnTo>
                    <a:pt x="262" y="1057"/>
                  </a:lnTo>
                  <a:lnTo>
                    <a:pt x="264" y="1058"/>
                  </a:lnTo>
                  <a:lnTo>
                    <a:pt x="267" y="1058"/>
                  </a:lnTo>
                  <a:lnTo>
                    <a:pt x="272" y="1053"/>
                  </a:lnTo>
                  <a:lnTo>
                    <a:pt x="296" y="1037"/>
                  </a:lnTo>
                  <a:lnTo>
                    <a:pt x="297" y="1035"/>
                  </a:lnTo>
                  <a:lnTo>
                    <a:pt x="306" y="1029"/>
                  </a:lnTo>
                  <a:lnTo>
                    <a:pt x="309" y="1028"/>
                  </a:lnTo>
                  <a:lnTo>
                    <a:pt x="315" y="1024"/>
                  </a:lnTo>
                  <a:lnTo>
                    <a:pt x="319" y="1022"/>
                  </a:lnTo>
                  <a:lnTo>
                    <a:pt x="322" y="1022"/>
                  </a:lnTo>
                  <a:lnTo>
                    <a:pt x="326" y="1022"/>
                  </a:lnTo>
                  <a:lnTo>
                    <a:pt x="329" y="1023"/>
                  </a:lnTo>
                  <a:lnTo>
                    <a:pt x="332" y="1025"/>
                  </a:lnTo>
                  <a:lnTo>
                    <a:pt x="333" y="1024"/>
                  </a:lnTo>
                  <a:lnTo>
                    <a:pt x="333" y="1022"/>
                  </a:lnTo>
                  <a:lnTo>
                    <a:pt x="332" y="1022"/>
                  </a:lnTo>
                  <a:lnTo>
                    <a:pt x="332" y="1021"/>
                  </a:lnTo>
                  <a:lnTo>
                    <a:pt x="331" y="1021"/>
                  </a:lnTo>
                  <a:lnTo>
                    <a:pt x="331" y="1020"/>
                  </a:lnTo>
                  <a:lnTo>
                    <a:pt x="328" y="1011"/>
                  </a:lnTo>
                  <a:lnTo>
                    <a:pt x="328" y="1006"/>
                  </a:lnTo>
                  <a:lnTo>
                    <a:pt x="329" y="1003"/>
                  </a:lnTo>
                  <a:lnTo>
                    <a:pt x="327" y="997"/>
                  </a:lnTo>
                  <a:lnTo>
                    <a:pt x="326" y="981"/>
                  </a:lnTo>
                  <a:lnTo>
                    <a:pt x="323" y="975"/>
                  </a:lnTo>
                  <a:lnTo>
                    <a:pt x="323" y="973"/>
                  </a:lnTo>
                  <a:lnTo>
                    <a:pt x="323" y="968"/>
                  </a:lnTo>
                  <a:lnTo>
                    <a:pt x="322" y="963"/>
                  </a:lnTo>
                  <a:lnTo>
                    <a:pt x="321" y="960"/>
                  </a:lnTo>
                  <a:lnTo>
                    <a:pt x="320" y="958"/>
                  </a:lnTo>
                  <a:lnTo>
                    <a:pt x="318" y="956"/>
                  </a:lnTo>
                  <a:lnTo>
                    <a:pt x="316" y="955"/>
                  </a:lnTo>
                  <a:lnTo>
                    <a:pt x="315" y="953"/>
                  </a:lnTo>
                  <a:lnTo>
                    <a:pt x="315" y="953"/>
                  </a:lnTo>
                  <a:lnTo>
                    <a:pt x="314" y="952"/>
                  </a:lnTo>
                  <a:lnTo>
                    <a:pt x="314" y="950"/>
                  </a:lnTo>
                  <a:lnTo>
                    <a:pt x="313" y="948"/>
                  </a:lnTo>
                  <a:lnTo>
                    <a:pt x="313" y="948"/>
                  </a:lnTo>
                  <a:lnTo>
                    <a:pt x="313" y="947"/>
                  </a:lnTo>
                  <a:lnTo>
                    <a:pt x="313" y="945"/>
                  </a:lnTo>
                  <a:lnTo>
                    <a:pt x="313" y="944"/>
                  </a:lnTo>
                  <a:lnTo>
                    <a:pt x="315" y="943"/>
                  </a:lnTo>
                  <a:lnTo>
                    <a:pt x="315" y="942"/>
                  </a:lnTo>
                  <a:lnTo>
                    <a:pt x="315" y="941"/>
                  </a:lnTo>
                  <a:lnTo>
                    <a:pt x="315" y="940"/>
                  </a:lnTo>
                  <a:lnTo>
                    <a:pt x="315" y="938"/>
                  </a:lnTo>
                  <a:lnTo>
                    <a:pt x="317" y="937"/>
                  </a:lnTo>
                  <a:lnTo>
                    <a:pt x="321" y="933"/>
                  </a:lnTo>
                  <a:lnTo>
                    <a:pt x="322" y="931"/>
                  </a:lnTo>
                  <a:lnTo>
                    <a:pt x="323" y="928"/>
                  </a:lnTo>
                  <a:lnTo>
                    <a:pt x="324" y="919"/>
                  </a:lnTo>
                  <a:lnTo>
                    <a:pt x="326" y="913"/>
                  </a:lnTo>
                  <a:lnTo>
                    <a:pt x="329" y="909"/>
                  </a:lnTo>
                  <a:lnTo>
                    <a:pt x="343" y="896"/>
                  </a:lnTo>
                  <a:lnTo>
                    <a:pt x="348" y="889"/>
                  </a:lnTo>
                  <a:lnTo>
                    <a:pt x="350" y="882"/>
                  </a:lnTo>
                  <a:lnTo>
                    <a:pt x="353" y="872"/>
                  </a:lnTo>
                  <a:lnTo>
                    <a:pt x="354" y="869"/>
                  </a:lnTo>
                  <a:lnTo>
                    <a:pt x="354" y="867"/>
                  </a:lnTo>
                  <a:lnTo>
                    <a:pt x="353" y="865"/>
                  </a:lnTo>
                  <a:lnTo>
                    <a:pt x="353" y="863"/>
                  </a:lnTo>
                  <a:lnTo>
                    <a:pt x="354" y="862"/>
                  </a:lnTo>
                  <a:lnTo>
                    <a:pt x="359" y="861"/>
                  </a:lnTo>
                  <a:lnTo>
                    <a:pt x="361" y="860"/>
                  </a:lnTo>
                  <a:lnTo>
                    <a:pt x="363" y="860"/>
                  </a:lnTo>
                  <a:lnTo>
                    <a:pt x="365" y="861"/>
                  </a:lnTo>
                  <a:lnTo>
                    <a:pt x="367" y="861"/>
                  </a:lnTo>
                  <a:lnTo>
                    <a:pt x="369" y="860"/>
                  </a:lnTo>
                  <a:lnTo>
                    <a:pt x="371" y="859"/>
                  </a:lnTo>
                  <a:lnTo>
                    <a:pt x="372" y="859"/>
                  </a:lnTo>
                  <a:lnTo>
                    <a:pt x="374" y="856"/>
                  </a:lnTo>
                  <a:lnTo>
                    <a:pt x="376" y="852"/>
                  </a:lnTo>
                  <a:lnTo>
                    <a:pt x="377" y="850"/>
                  </a:lnTo>
                  <a:lnTo>
                    <a:pt x="380" y="851"/>
                  </a:lnTo>
                  <a:lnTo>
                    <a:pt x="389" y="855"/>
                  </a:lnTo>
                  <a:lnTo>
                    <a:pt x="393" y="854"/>
                  </a:lnTo>
                  <a:lnTo>
                    <a:pt x="394" y="849"/>
                  </a:lnTo>
                  <a:lnTo>
                    <a:pt x="396" y="847"/>
                  </a:lnTo>
                  <a:lnTo>
                    <a:pt x="397" y="840"/>
                  </a:lnTo>
                  <a:lnTo>
                    <a:pt x="400" y="835"/>
                  </a:lnTo>
                  <a:lnTo>
                    <a:pt x="402" y="828"/>
                  </a:lnTo>
                  <a:lnTo>
                    <a:pt x="403" y="825"/>
                  </a:lnTo>
                  <a:lnTo>
                    <a:pt x="405" y="819"/>
                  </a:lnTo>
                  <a:lnTo>
                    <a:pt x="405" y="819"/>
                  </a:lnTo>
                  <a:lnTo>
                    <a:pt x="402" y="817"/>
                  </a:lnTo>
                  <a:lnTo>
                    <a:pt x="398" y="818"/>
                  </a:lnTo>
                  <a:lnTo>
                    <a:pt x="394" y="819"/>
                  </a:lnTo>
                  <a:lnTo>
                    <a:pt x="393" y="819"/>
                  </a:lnTo>
                  <a:lnTo>
                    <a:pt x="392" y="819"/>
                  </a:lnTo>
                  <a:lnTo>
                    <a:pt x="391" y="821"/>
                  </a:lnTo>
                  <a:lnTo>
                    <a:pt x="386" y="823"/>
                  </a:lnTo>
                  <a:lnTo>
                    <a:pt x="383" y="824"/>
                  </a:lnTo>
                  <a:lnTo>
                    <a:pt x="380" y="824"/>
                  </a:lnTo>
                  <a:lnTo>
                    <a:pt x="378" y="822"/>
                  </a:lnTo>
                  <a:lnTo>
                    <a:pt x="376" y="820"/>
                  </a:lnTo>
                  <a:lnTo>
                    <a:pt x="370" y="804"/>
                  </a:lnTo>
                  <a:lnTo>
                    <a:pt x="369" y="803"/>
                  </a:lnTo>
                  <a:lnTo>
                    <a:pt x="367" y="801"/>
                  </a:lnTo>
                  <a:lnTo>
                    <a:pt x="366" y="800"/>
                  </a:lnTo>
                  <a:lnTo>
                    <a:pt x="365" y="799"/>
                  </a:lnTo>
                  <a:lnTo>
                    <a:pt x="364" y="796"/>
                  </a:lnTo>
                  <a:lnTo>
                    <a:pt x="363" y="795"/>
                  </a:lnTo>
                  <a:lnTo>
                    <a:pt x="346" y="773"/>
                  </a:lnTo>
                  <a:lnTo>
                    <a:pt x="342" y="770"/>
                  </a:lnTo>
                  <a:lnTo>
                    <a:pt x="340" y="769"/>
                  </a:lnTo>
                  <a:lnTo>
                    <a:pt x="342" y="767"/>
                  </a:lnTo>
                  <a:lnTo>
                    <a:pt x="343" y="764"/>
                  </a:lnTo>
                  <a:lnTo>
                    <a:pt x="344" y="762"/>
                  </a:lnTo>
                  <a:lnTo>
                    <a:pt x="342" y="759"/>
                  </a:lnTo>
                  <a:lnTo>
                    <a:pt x="343" y="757"/>
                  </a:lnTo>
                  <a:lnTo>
                    <a:pt x="346" y="747"/>
                  </a:lnTo>
                  <a:lnTo>
                    <a:pt x="353" y="737"/>
                  </a:lnTo>
                  <a:lnTo>
                    <a:pt x="354" y="734"/>
                  </a:lnTo>
                  <a:lnTo>
                    <a:pt x="353" y="733"/>
                  </a:lnTo>
                  <a:lnTo>
                    <a:pt x="352" y="732"/>
                  </a:lnTo>
                  <a:lnTo>
                    <a:pt x="351" y="731"/>
                  </a:lnTo>
                  <a:lnTo>
                    <a:pt x="350" y="730"/>
                  </a:lnTo>
                  <a:lnTo>
                    <a:pt x="350" y="728"/>
                  </a:lnTo>
                  <a:lnTo>
                    <a:pt x="350" y="726"/>
                  </a:lnTo>
                  <a:lnTo>
                    <a:pt x="350" y="722"/>
                  </a:lnTo>
                  <a:lnTo>
                    <a:pt x="352" y="715"/>
                  </a:lnTo>
                  <a:lnTo>
                    <a:pt x="352" y="713"/>
                  </a:lnTo>
                  <a:lnTo>
                    <a:pt x="353" y="711"/>
                  </a:lnTo>
                  <a:lnTo>
                    <a:pt x="354" y="710"/>
                  </a:lnTo>
                  <a:lnTo>
                    <a:pt x="361" y="704"/>
                  </a:lnTo>
                  <a:lnTo>
                    <a:pt x="363" y="702"/>
                  </a:lnTo>
                  <a:lnTo>
                    <a:pt x="366" y="701"/>
                  </a:lnTo>
                  <a:lnTo>
                    <a:pt x="368" y="699"/>
                  </a:lnTo>
                  <a:lnTo>
                    <a:pt x="370" y="697"/>
                  </a:lnTo>
                  <a:lnTo>
                    <a:pt x="371" y="695"/>
                  </a:lnTo>
                  <a:lnTo>
                    <a:pt x="373" y="693"/>
                  </a:lnTo>
                  <a:lnTo>
                    <a:pt x="380" y="692"/>
                  </a:lnTo>
                  <a:lnTo>
                    <a:pt x="382" y="690"/>
                  </a:lnTo>
                  <a:lnTo>
                    <a:pt x="385" y="689"/>
                  </a:lnTo>
                  <a:lnTo>
                    <a:pt x="386" y="687"/>
                  </a:lnTo>
                  <a:lnTo>
                    <a:pt x="388" y="686"/>
                  </a:lnTo>
                  <a:lnTo>
                    <a:pt x="387" y="683"/>
                  </a:lnTo>
                  <a:lnTo>
                    <a:pt x="388" y="680"/>
                  </a:lnTo>
                  <a:lnTo>
                    <a:pt x="386" y="676"/>
                  </a:lnTo>
                  <a:lnTo>
                    <a:pt x="390" y="673"/>
                  </a:lnTo>
                  <a:lnTo>
                    <a:pt x="393" y="668"/>
                  </a:lnTo>
                  <a:lnTo>
                    <a:pt x="398" y="658"/>
                  </a:lnTo>
                  <a:lnTo>
                    <a:pt x="400" y="656"/>
                  </a:lnTo>
                  <a:lnTo>
                    <a:pt x="401" y="654"/>
                  </a:lnTo>
                  <a:lnTo>
                    <a:pt x="401" y="652"/>
                  </a:lnTo>
                  <a:lnTo>
                    <a:pt x="399" y="650"/>
                  </a:lnTo>
                  <a:lnTo>
                    <a:pt x="400" y="647"/>
                  </a:lnTo>
                  <a:lnTo>
                    <a:pt x="399" y="643"/>
                  </a:lnTo>
                  <a:lnTo>
                    <a:pt x="397" y="640"/>
                  </a:lnTo>
                  <a:lnTo>
                    <a:pt x="394" y="637"/>
                  </a:lnTo>
                  <a:lnTo>
                    <a:pt x="391" y="635"/>
                  </a:lnTo>
                  <a:lnTo>
                    <a:pt x="386" y="633"/>
                  </a:lnTo>
                  <a:lnTo>
                    <a:pt x="382" y="634"/>
                  </a:lnTo>
                  <a:lnTo>
                    <a:pt x="378" y="636"/>
                  </a:lnTo>
                  <a:lnTo>
                    <a:pt x="376" y="637"/>
                  </a:lnTo>
                  <a:lnTo>
                    <a:pt x="374" y="636"/>
                  </a:lnTo>
                  <a:lnTo>
                    <a:pt x="372" y="635"/>
                  </a:lnTo>
                  <a:lnTo>
                    <a:pt x="370" y="634"/>
                  </a:lnTo>
                  <a:lnTo>
                    <a:pt x="370" y="632"/>
                  </a:lnTo>
                  <a:lnTo>
                    <a:pt x="371" y="628"/>
                  </a:lnTo>
                  <a:lnTo>
                    <a:pt x="372" y="626"/>
                  </a:lnTo>
                  <a:lnTo>
                    <a:pt x="370" y="622"/>
                  </a:lnTo>
                  <a:lnTo>
                    <a:pt x="366" y="620"/>
                  </a:lnTo>
                  <a:lnTo>
                    <a:pt x="362" y="619"/>
                  </a:lnTo>
                  <a:lnTo>
                    <a:pt x="358" y="617"/>
                  </a:lnTo>
                  <a:lnTo>
                    <a:pt x="356" y="614"/>
                  </a:lnTo>
                  <a:lnTo>
                    <a:pt x="354" y="610"/>
                  </a:lnTo>
                  <a:lnTo>
                    <a:pt x="355" y="605"/>
                  </a:lnTo>
                  <a:lnTo>
                    <a:pt x="357" y="601"/>
                  </a:lnTo>
                  <a:lnTo>
                    <a:pt x="349" y="592"/>
                  </a:lnTo>
                  <a:lnTo>
                    <a:pt x="346" y="589"/>
                  </a:lnTo>
                  <a:lnTo>
                    <a:pt x="345" y="587"/>
                  </a:lnTo>
                  <a:lnTo>
                    <a:pt x="344" y="583"/>
                  </a:lnTo>
                  <a:lnTo>
                    <a:pt x="344" y="578"/>
                  </a:lnTo>
                  <a:lnTo>
                    <a:pt x="345" y="575"/>
                  </a:lnTo>
                  <a:lnTo>
                    <a:pt x="346" y="572"/>
                  </a:lnTo>
                  <a:lnTo>
                    <a:pt x="347" y="568"/>
                  </a:lnTo>
                  <a:lnTo>
                    <a:pt x="347" y="563"/>
                  </a:lnTo>
                  <a:lnTo>
                    <a:pt x="346" y="561"/>
                  </a:lnTo>
                  <a:lnTo>
                    <a:pt x="339" y="559"/>
                  </a:lnTo>
                  <a:lnTo>
                    <a:pt x="336" y="558"/>
                  </a:lnTo>
                  <a:lnTo>
                    <a:pt x="333" y="556"/>
                  </a:lnTo>
                  <a:lnTo>
                    <a:pt x="332" y="551"/>
                  </a:lnTo>
                  <a:lnTo>
                    <a:pt x="330" y="550"/>
                  </a:lnTo>
                  <a:lnTo>
                    <a:pt x="325" y="547"/>
                  </a:lnTo>
                  <a:lnTo>
                    <a:pt x="322" y="544"/>
                  </a:lnTo>
                  <a:lnTo>
                    <a:pt x="318" y="538"/>
                  </a:lnTo>
                  <a:lnTo>
                    <a:pt x="315" y="535"/>
                  </a:lnTo>
                  <a:lnTo>
                    <a:pt x="310" y="521"/>
                  </a:lnTo>
                  <a:lnTo>
                    <a:pt x="308" y="518"/>
                  </a:lnTo>
                  <a:lnTo>
                    <a:pt x="308" y="518"/>
                  </a:lnTo>
                  <a:lnTo>
                    <a:pt x="342" y="519"/>
                  </a:lnTo>
                  <a:lnTo>
                    <a:pt x="345" y="519"/>
                  </a:lnTo>
                  <a:lnTo>
                    <a:pt x="347" y="518"/>
                  </a:lnTo>
                  <a:lnTo>
                    <a:pt x="350" y="517"/>
                  </a:lnTo>
                  <a:lnTo>
                    <a:pt x="357" y="517"/>
                  </a:lnTo>
                  <a:lnTo>
                    <a:pt x="359" y="516"/>
                  </a:lnTo>
                  <a:lnTo>
                    <a:pt x="363" y="518"/>
                  </a:lnTo>
                  <a:lnTo>
                    <a:pt x="367" y="519"/>
                  </a:lnTo>
                  <a:lnTo>
                    <a:pt x="391" y="516"/>
                  </a:lnTo>
                  <a:lnTo>
                    <a:pt x="393" y="515"/>
                  </a:lnTo>
                  <a:lnTo>
                    <a:pt x="395" y="510"/>
                  </a:lnTo>
                  <a:lnTo>
                    <a:pt x="395" y="509"/>
                  </a:lnTo>
                  <a:lnTo>
                    <a:pt x="395" y="508"/>
                  </a:lnTo>
                  <a:lnTo>
                    <a:pt x="395" y="506"/>
                  </a:lnTo>
                  <a:lnTo>
                    <a:pt x="395" y="503"/>
                  </a:lnTo>
                  <a:lnTo>
                    <a:pt x="397" y="500"/>
                  </a:lnTo>
                  <a:lnTo>
                    <a:pt x="398" y="498"/>
                  </a:lnTo>
                  <a:lnTo>
                    <a:pt x="397" y="497"/>
                  </a:lnTo>
                  <a:lnTo>
                    <a:pt x="397" y="495"/>
                  </a:lnTo>
                  <a:lnTo>
                    <a:pt x="396" y="493"/>
                  </a:lnTo>
                  <a:lnTo>
                    <a:pt x="398" y="490"/>
                  </a:lnTo>
                  <a:lnTo>
                    <a:pt x="399" y="488"/>
                  </a:lnTo>
                  <a:lnTo>
                    <a:pt x="403" y="487"/>
                  </a:lnTo>
                  <a:lnTo>
                    <a:pt x="404" y="486"/>
                  </a:lnTo>
                  <a:lnTo>
                    <a:pt x="408" y="480"/>
                  </a:lnTo>
                  <a:lnTo>
                    <a:pt x="409" y="478"/>
                  </a:lnTo>
                  <a:lnTo>
                    <a:pt x="409" y="475"/>
                  </a:lnTo>
                  <a:lnTo>
                    <a:pt x="409" y="473"/>
                  </a:lnTo>
                  <a:lnTo>
                    <a:pt x="409" y="472"/>
                  </a:lnTo>
                  <a:lnTo>
                    <a:pt x="409" y="470"/>
                  </a:lnTo>
                  <a:lnTo>
                    <a:pt x="409" y="469"/>
                  </a:lnTo>
                  <a:lnTo>
                    <a:pt x="409" y="468"/>
                  </a:lnTo>
                  <a:lnTo>
                    <a:pt x="411" y="467"/>
                  </a:lnTo>
                  <a:lnTo>
                    <a:pt x="411" y="466"/>
                  </a:lnTo>
                  <a:lnTo>
                    <a:pt x="412" y="461"/>
                  </a:lnTo>
                  <a:lnTo>
                    <a:pt x="412" y="459"/>
                  </a:lnTo>
                  <a:lnTo>
                    <a:pt x="412" y="457"/>
                  </a:lnTo>
                  <a:lnTo>
                    <a:pt x="413" y="454"/>
                  </a:lnTo>
                  <a:lnTo>
                    <a:pt x="416" y="450"/>
                  </a:lnTo>
                  <a:lnTo>
                    <a:pt x="409" y="438"/>
                  </a:lnTo>
                  <a:lnTo>
                    <a:pt x="406" y="434"/>
                  </a:lnTo>
                  <a:lnTo>
                    <a:pt x="404" y="430"/>
                  </a:lnTo>
                  <a:lnTo>
                    <a:pt x="402" y="429"/>
                  </a:lnTo>
                  <a:lnTo>
                    <a:pt x="400" y="428"/>
                  </a:lnTo>
                  <a:lnTo>
                    <a:pt x="396" y="428"/>
                  </a:lnTo>
                  <a:lnTo>
                    <a:pt x="394" y="427"/>
                  </a:lnTo>
                  <a:lnTo>
                    <a:pt x="392" y="424"/>
                  </a:lnTo>
                  <a:lnTo>
                    <a:pt x="391" y="417"/>
                  </a:lnTo>
                  <a:lnTo>
                    <a:pt x="390" y="414"/>
                  </a:lnTo>
                  <a:lnTo>
                    <a:pt x="391" y="412"/>
                  </a:lnTo>
                  <a:lnTo>
                    <a:pt x="393" y="407"/>
                  </a:lnTo>
                  <a:lnTo>
                    <a:pt x="394" y="405"/>
                  </a:lnTo>
                  <a:lnTo>
                    <a:pt x="397" y="404"/>
                  </a:lnTo>
                  <a:lnTo>
                    <a:pt x="404" y="399"/>
                  </a:lnTo>
                  <a:lnTo>
                    <a:pt x="406" y="399"/>
                  </a:lnTo>
                  <a:lnTo>
                    <a:pt x="407" y="399"/>
                  </a:lnTo>
                  <a:lnTo>
                    <a:pt x="410" y="399"/>
                  </a:lnTo>
                  <a:lnTo>
                    <a:pt x="413" y="399"/>
                  </a:lnTo>
                  <a:lnTo>
                    <a:pt x="416" y="397"/>
                  </a:lnTo>
                  <a:lnTo>
                    <a:pt x="416" y="395"/>
                  </a:lnTo>
                  <a:lnTo>
                    <a:pt x="416" y="394"/>
                  </a:lnTo>
                  <a:lnTo>
                    <a:pt x="417" y="392"/>
                  </a:lnTo>
                  <a:lnTo>
                    <a:pt x="417" y="390"/>
                  </a:lnTo>
                  <a:lnTo>
                    <a:pt x="418" y="390"/>
                  </a:lnTo>
                  <a:lnTo>
                    <a:pt x="425" y="384"/>
                  </a:lnTo>
                  <a:lnTo>
                    <a:pt x="426" y="383"/>
                  </a:lnTo>
                  <a:lnTo>
                    <a:pt x="429" y="378"/>
                  </a:lnTo>
                  <a:lnTo>
                    <a:pt x="424" y="373"/>
                  </a:lnTo>
                  <a:lnTo>
                    <a:pt x="420" y="367"/>
                  </a:lnTo>
                  <a:lnTo>
                    <a:pt x="419" y="360"/>
                  </a:lnTo>
                  <a:lnTo>
                    <a:pt x="422" y="353"/>
                  </a:lnTo>
                  <a:lnTo>
                    <a:pt x="426" y="348"/>
                  </a:lnTo>
                  <a:lnTo>
                    <a:pt x="426" y="345"/>
                  </a:lnTo>
                  <a:lnTo>
                    <a:pt x="425" y="342"/>
                  </a:lnTo>
                  <a:lnTo>
                    <a:pt x="424" y="339"/>
                  </a:lnTo>
                  <a:lnTo>
                    <a:pt x="422" y="337"/>
                  </a:lnTo>
                  <a:lnTo>
                    <a:pt x="421" y="335"/>
                  </a:lnTo>
                  <a:lnTo>
                    <a:pt x="420" y="331"/>
                  </a:lnTo>
                  <a:lnTo>
                    <a:pt x="421" y="328"/>
                  </a:lnTo>
                  <a:lnTo>
                    <a:pt x="425" y="321"/>
                  </a:lnTo>
                  <a:lnTo>
                    <a:pt x="426" y="317"/>
                  </a:lnTo>
                  <a:lnTo>
                    <a:pt x="426" y="315"/>
                  </a:lnTo>
                  <a:lnTo>
                    <a:pt x="426" y="311"/>
                  </a:lnTo>
                  <a:lnTo>
                    <a:pt x="425" y="304"/>
                  </a:lnTo>
                  <a:lnTo>
                    <a:pt x="422" y="298"/>
                  </a:lnTo>
                  <a:lnTo>
                    <a:pt x="422" y="294"/>
                  </a:lnTo>
                  <a:lnTo>
                    <a:pt x="422" y="290"/>
                  </a:lnTo>
                  <a:lnTo>
                    <a:pt x="422" y="288"/>
                  </a:lnTo>
                  <a:lnTo>
                    <a:pt x="423" y="287"/>
                  </a:lnTo>
                  <a:lnTo>
                    <a:pt x="423" y="286"/>
                  </a:lnTo>
                  <a:lnTo>
                    <a:pt x="423" y="284"/>
                  </a:lnTo>
                  <a:lnTo>
                    <a:pt x="422" y="283"/>
                  </a:lnTo>
                  <a:lnTo>
                    <a:pt x="423" y="277"/>
                  </a:lnTo>
                  <a:lnTo>
                    <a:pt x="425" y="276"/>
                  </a:lnTo>
                  <a:lnTo>
                    <a:pt x="426" y="274"/>
                  </a:lnTo>
                  <a:lnTo>
                    <a:pt x="425" y="271"/>
                  </a:lnTo>
                  <a:lnTo>
                    <a:pt x="423" y="270"/>
                  </a:lnTo>
                  <a:lnTo>
                    <a:pt x="421" y="269"/>
                  </a:lnTo>
                  <a:lnTo>
                    <a:pt x="420" y="267"/>
                  </a:lnTo>
                  <a:lnTo>
                    <a:pt x="418" y="263"/>
                  </a:lnTo>
                  <a:lnTo>
                    <a:pt x="415" y="254"/>
                  </a:lnTo>
                  <a:lnTo>
                    <a:pt x="413" y="251"/>
                  </a:lnTo>
                  <a:lnTo>
                    <a:pt x="408" y="245"/>
                  </a:lnTo>
                  <a:lnTo>
                    <a:pt x="406" y="243"/>
                  </a:lnTo>
                  <a:lnTo>
                    <a:pt x="406" y="240"/>
                  </a:lnTo>
                  <a:lnTo>
                    <a:pt x="407" y="238"/>
                  </a:lnTo>
                  <a:lnTo>
                    <a:pt x="408" y="234"/>
                  </a:lnTo>
                  <a:lnTo>
                    <a:pt x="408" y="234"/>
                  </a:lnTo>
                  <a:lnTo>
                    <a:pt x="411" y="232"/>
                  </a:lnTo>
                  <a:lnTo>
                    <a:pt x="421" y="233"/>
                  </a:lnTo>
                  <a:lnTo>
                    <a:pt x="425" y="232"/>
                  </a:lnTo>
                  <a:lnTo>
                    <a:pt x="428" y="230"/>
                  </a:lnTo>
                  <a:lnTo>
                    <a:pt x="434" y="221"/>
                  </a:lnTo>
                  <a:lnTo>
                    <a:pt x="435" y="217"/>
                  </a:lnTo>
                  <a:lnTo>
                    <a:pt x="435" y="212"/>
                  </a:lnTo>
                  <a:lnTo>
                    <a:pt x="435" y="210"/>
                  </a:lnTo>
                  <a:lnTo>
                    <a:pt x="438" y="208"/>
                  </a:lnTo>
                  <a:lnTo>
                    <a:pt x="443" y="203"/>
                  </a:lnTo>
                  <a:lnTo>
                    <a:pt x="444" y="201"/>
                  </a:lnTo>
                  <a:lnTo>
                    <a:pt x="445" y="198"/>
                  </a:lnTo>
                  <a:lnTo>
                    <a:pt x="451" y="190"/>
                  </a:lnTo>
                  <a:lnTo>
                    <a:pt x="453" y="188"/>
                  </a:lnTo>
                  <a:lnTo>
                    <a:pt x="455" y="187"/>
                  </a:lnTo>
                  <a:lnTo>
                    <a:pt x="466" y="187"/>
                  </a:lnTo>
                  <a:lnTo>
                    <a:pt x="467" y="186"/>
                  </a:lnTo>
                  <a:lnTo>
                    <a:pt x="477" y="182"/>
                  </a:lnTo>
                  <a:lnTo>
                    <a:pt x="482" y="178"/>
                  </a:lnTo>
                  <a:lnTo>
                    <a:pt x="487" y="173"/>
                  </a:lnTo>
                  <a:lnTo>
                    <a:pt x="492" y="165"/>
                  </a:lnTo>
                  <a:lnTo>
                    <a:pt x="493" y="164"/>
                  </a:lnTo>
                  <a:lnTo>
                    <a:pt x="494" y="165"/>
                  </a:lnTo>
                  <a:lnTo>
                    <a:pt x="495" y="165"/>
                  </a:lnTo>
                  <a:lnTo>
                    <a:pt x="496" y="163"/>
                  </a:lnTo>
                  <a:lnTo>
                    <a:pt x="496" y="162"/>
                  </a:lnTo>
                  <a:lnTo>
                    <a:pt x="496" y="161"/>
                  </a:lnTo>
                  <a:lnTo>
                    <a:pt x="495" y="160"/>
                  </a:lnTo>
                  <a:lnTo>
                    <a:pt x="497" y="159"/>
                  </a:lnTo>
                  <a:lnTo>
                    <a:pt x="499" y="158"/>
                  </a:lnTo>
                  <a:lnTo>
                    <a:pt x="504" y="157"/>
                  </a:lnTo>
                  <a:lnTo>
                    <a:pt x="504" y="156"/>
                  </a:lnTo>
                  <a:lnTo>
                    <a:pt x="510" y="146"/>
                  </a:lnTo>
                  <a:lnTo>
                    <a:pt x="510" y="145"/>
                  </a:lnTo>
                  <a:lnTo>
                    <a:pt x="510" y="143"/>
                  </a:lnTo>
                  <a:lnTo>
                    <a:pt x="510" y="141"/>
                  </a:lnTo>
                  <a:lnTo>
                    <a:pt x="511" y="139"/>
                  </a:lnTo>
                  <a:lnTo>
                    <a:pt x="515" y="135"/>
                  </a:lnTo>
                  <a:lnTo>
                    <a:pt x="523" y="124"/>
                  </a:lnTo>
                  <a:lnTo>
                    <a:pt x="521" y="122"/>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16" name="Freeform 18">
              <a:extLst>
                <a:ext uri="{FF2B5EF4-FFF2-40B4-BE49-F238E27FC236}">
                  <a16:creationId xmlns:a16="http://schemas.microsoft.com/office/drawing/2014/main" id="{63F766F6-4DDB-4646-B323-9506B8746AE1}"/>
                </a:ext>
              </a:extLst>
            </p:cNvPr>
            <p:cNvSpPr>
              <a:spLocks/>
            </p:cNvSpPr>
            <p:nvPr/>
          </p:nvSpPr>
          <p:spPr bwMode="gray">
            <a:xfrm>
              <a:off x="9445693" y="3817169"/>
              <a:ext cx="990978" cy="936754"/>
            </a:xfrm>
            <a:custGeom>
              <a:avLst/>
              <a:gdLst>
                <a:gd name="T0" fmla="*/ 1552 w 1590"/>
                <a:gd name="T1" fmla="*/ 993 h 1503"/>
                <a:gd name="T2" fmla="*/ 1517 w 1590"/>
                <a:gd name="T3" fmla="*/ 908 h 1503"/>
                <a:gd name="T4" fmla="*/ 1495 w 1590"/>
                <a:gd name="T5" fmla="*/ 846 h 1503"/>
                <a:gd name="T6" fmla="*/ 1505 w 1590"/>
                <a:gd name="T7" fmla="*/ 799 h 1503"/>
                <a:gd name="T8" fmla="*/ 1506 w 1590"/>
                <a:gd name="T9" fmla="*/ 731 h 1503"/>
                <a:gd name="T10" fmla="*/ 1471 w 1590"/>
                <a:gd name="T11" fmla="*/ 705 h 1503"/>
                <a:gd name="T12" fmla="*/ 1546 w 1590"/>
                <a:gd name="T13" fmla="*/ 581 h 1503"/>
                <a:gd name="T14" fmla="*/ 1546 w 1590"/>
                <a:gd name="T15" fmla="*/ 468 h 1503"/>
                <a:gd name="T16" fmla="*/ 1492 w 1590"/>
                <a:gd name="T17" fmla="*/ 286 h 1503"/>
                <a:gd name="T18" fmla="*/ 1482 w 1590"/>
                <a:gd name="T19" fmla="*/ 192 h 1503"/>
                <a:gd name="T20" fmla="*/ 1415 w 1590"/>
                <a:gd name="T21" fmla="*/ 136 h 1503"/>
                <a:gd name="T22" fmla="*/ 1137 w 1590"/>
                <a:gd name="T23" fmla="*/ 123 h 1503"/>
                <a:gd name="T24" fmla="*/ 725 w 1590"/>
                <a:gd name="T25" fmla="*/ 119 h 1503"/>
                <a:gd name="T26" fmla="*/ 690 w 1590"/>
                <a:gd name="T27" fmla="*/ 45 h 1503"/>
                <a:gd name="T28" fmla="*/ 726 w 1590"/>
                <a:gd name="T29" fmla="*/ 37 h 1503"/>
                <a:gd name="T30" fmla="*/ 570 w 1590"/>
                <a:gd name="T31" fmla="*/ 13 h 1503"/>
                <a:gd name="T32" fmla="*/ 342 w 1590"/>
                <a:gd name="T33" fmla="*/ 131 h 1503"/>
                <a:gd name="T34" fmla="*/ 332 w 1590"/>
                <a:gd name="T35" fmla="*/ 152 h 1503"/>
                <a:gd name="T36" fmla="*/ 38 w 1590"/>
                <a:gd name="T37" fmla="*/ 250 h 1503"/>
                <a:gd name="T38" fmla="*/ 32 w 1590"/>
                <a:gd name="T39" fmla="*/ 274 h 1503"/>
                <a:gd name="T40" fmla="*/ 49 w 1590"/>
                <a:gd name="T41" fmla="*/ 255 h 1503"/>
                <a:gd name="T42" fmla="*/ 78 w 1590"/>
                <a:gd name="T43" fmla="*/ 283 h 1503"/>
                <a:gd name="T44" fmla="*/ 67 w 1590"/>
                <a:gd name="T45" fmla="*/ 324 h 1503"/>
                <a:gd name="T46" fmla="*/ 23 w 1590"/>
                <a:gd name="T47" fmla="*/ 309 h 1503"/>
                <a:gd name="T48" fmla="*/ 45 w 1590"/>
                <a:gd name="T49" fmla="*/ 422 h 1503"/>
                <a:gd name="T50" fmla="*/ 4 w 1590"/>
                <a:gd name="T51" fmla="*/ 509 h 1503"/>
                <a:gd name="T52" fmla="*/ 77 w 1590"/>
                <a:gd name="T53" fmla="*/ 601 h 1503"/>
                <a:gd name="T54" fmla="*/ 92 w 1590"/>
                <a:gd name="T55" fmla="*/ 708 h 1503"/>
                <a:gd name="T56" fmla="*/ 78 w 1590"/>
                <a:gd name="T57" fmla="*/ 811 h 1503"/>
                <a:gd name="T58" fmla="*/ 127 w 1590"/>
                <a:gd name="T59" fmla="*/ 892 h 1503"/>
                <a:gd name="T60" fmla="*/ 133 w 1590"/>
                <a:gd name="T61" fmla="*/ 981 h 1503"/>
                <a:gd name="T62" fmla="*/ 138 w 1590"/>
                <a:gd name="T63" fmla="*/ 1019 h 1503"/>
                <a:gd name="T64" fmla="*/ 162 w 1590"/>
                <a:gd name="T65" fmla="*/ 1006 h 1503"/>
                <a:gd name="T66" fmla="*/ 195 w 1590"/>
                <a:gd name="T67" fmla="*/ 1065 h 1503"/>
                <a:gd name="T68" fmla="*/ 293 w 1590"/>
                <a:gd name="T69" fmla="*/ 1090 h 1503"/>
                <a:gd name="T70" fmla="*/ 345 w 1590"/>
                <a:gd name="T71" fmla="*/ 1095 h 1503"/>
                <a:gd name="T72" fmla="*/ 337 w 1590"/>
                <a:gd name="T73" fmla="*/ 1143 h 1503"/>
                <a:gd name="T74" fmla="*/ 353 w 1590"/>
                <a:gd name="T75" fmla="*/ 1173 h 1503"/>
                <a:gd name="T76" fmla="*/ 424 w 1590"/>
                <a:gd name="T77" fmla="*/ 1215 h 1503"/>
                <a:gd name="T78" fmla="*/ 458 w 1590"/>
                <a:gd name="T79" fmla="*/ 1201 h 1503"/>
                <a:gd name="T80" fmla="*/ 479 w 1590"/>
                <a:gd name="T81" fmla="*/ 1165 h 1503"/>
                <a:gd name="T82" fmla="*/ 514 w 1590"/>
                <a:gd name="T83" fmla="*/ 1191 h 1503"/>
                <a:gd name="T84" fmla="*/ 573 w 1590"/>
                <a:gd name="T85" fmla="*/ 1187 h 1503"/>
                <a:gd name="T86" fmla="*/ 566 w 1590"/>
                <a:gd name="T87" fmla="*/ 1232 h 1503"/>
                <a:gd name="T88" fmla="*/ 615 w 1590"/>
                <a:gd name="T89" fmla="*/ 1259 h 1503"/>
                <a:gd name="T90" fmla="*/ 657 w 1590"/>
                <a:gd name="T91" fmla="*/ 1276 h 1503"/>
                <a:gd name="T92" fmla="*/ 708 w 1590"/>
                <a:gd name="T93" fmla="*/ 1313 h 1503"/>
                <a:gd name="T94" fmla="*/ 747 w 1590"/>
                <a:gd name="T95" fmla="*/ 1378 h 1503"/>
                <a:gd name="T96" fmla="*/ 803 w 1590"/>
                <a:gd name="T97" fmla="*/ 1394 h 1503"/>
                <a:gd name="T98" fmla="*/ 846 w 1590"/>
                <a:gd name="T99" fmla="*/ 1356 h 1503"/>
                <a:gd name="T100" fmla="*/ 896 w 1590"/>
                <a:gd name="T101" fmla="*/ 1406 h 1503"/>
                <a:gd name="T102" fmla="*/ 892 w 1590"/>
                <a:gd name="T103" fmla="*/ 1452 h 1503"/>
                <a:gd name="T104" fmla="*/ 954 w 1590"/>
                <a:gd name="T105" fmla="*/ 1427 h 1503"/>
                <a:gd name="T106" fmla="*/ 1027 w 1590"/>
                <a:gd name="T107" fmla="*/ 1405 h 1503"/>
                <a:gd name="T108" fmla="*/ 1102 w 1590"/>
                <a:gd name="T109" fmla="*/ 1415 h 1503"/>
                <a:gd name="T110" fmla="*/ 1170 w 1590"/>
                <a:gd name="T111" fmla="*/ 1402 h 1503"/>
                <a:gd name="T112" fmla="*/ 1244 w 1590"/>
                <a:gd name="T113" fmla="*/ 1427 h 1503"/>
                <a:gd name="T114" fmla="*/ 1330 w 1590"/>
                <a:gd name="T115" fmla="*/ 1481 h 1503"/>
                <a:gd name="T116" fmla="*/ 1384 w 1590"/>
                <a:gd name="T117" fmla="*/ 1491 h 1503"/>
                <a:gd name="T118" fmla="*/ 1364 w 1590"/>
                <a:gd name="T119" fmla="*/ 1409 h 1503"/>
                <a:gd name="T120" fmla="*/ 1398 w 1590"/>
                <a:gd name="T121" fmla="*/ 1309 h 1503"/>
                <a:gd name="T122" fmla="*/ 1519 w 1590"/>
                <a:gd name="T123" fmla="*/ 1165 h 1503"/>
                <a:gd name="T124" fmla="*/ 1580 w 1590"/>
                <a:gd name="T125" fmla="*/ 1081 h 1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90" h="1503">
                  <a:moveTo>
                    <a:pt x="1566" y="1050"/>
                  </a:moveTo>
                  <a:lnTo>
                    <a:pt x="1570" y="1049"/>
                  </a:lnTo>
                  <a:lnTo>
                    <a:pt x="1575" y="1052"/>
                  </a:lnTo>
                  <a:lnTo>
                    <a:pt x="1578" y="1050"/>
                  </a:lnTo>
                  <a:lnTo>
                    <a:pt x="1583" y="1050"/>
                  </a:lnTo>
                  <a:lnTo>
                    <a:pt x="1588" y="1049"/>
                  </a:lnTo>
                  <a:lnTo>
                    <a:pt x="1590" y="1045"/>
                  </a:lnTo>
                  <a:lnTo>
                    <a:pt x="1588" y="1042"/>
                  </a:lnTo>
                  <a:lnTo>
                    <a:pt x="1575" y="1034"/>
                  </a:lnTo>
                  <a:lnTo>
                    <a:pt x="1564" y="1025"/>
                  </a:lnTo>
                  <a:lnTo>
                    <a:pt x="1561" y="1021"/>
                  </a:lnTo>
                  <a:lnTo>
                    <a:pt x="1561" y="1017"/>
                  </a:lnTo>
                  <a:lnTo>
                    <a:pt x="1561" y="1015"/>
                  </a:lnTo>
                  <a:lnTo>
                    <a:pt x="1560" y="1013"/>
                  </a:lnTo>
                  <a:lnTo>
                    <a:pt x="1558" y="1010"/>
                  </a:lnTo>
                  <a:lnTo>
                    <a:pt x="1556" y="1009"/>
                  </a:lnTo>
                  <a:lnTo>
                    <a:pt x="1554" y="1008"/>
                  </a:lnTo>
                  <a:lnTo>
                    <a:pt x="1553" y="1007"/>
                  </a:lnTo>
                  <a:lnTo>
                    <a:pt x="1554" y="1005"/>
                  </a:lnTo>
                  <a:lnTo>
                    <a:pt x="1554" y="1004"/>
                  </a:lnTo>
                  <a:lnTo>
                    <a:pt x="1552" y="993"/>
                  </a:lnTo>
                  <a:lnTo>
                    <a:pt x="1551" y="990"/>
                  </a:lnTo>
                  <a:lnTo>
                    <a:pt x="1546" y="983"/>
                  </a:lnTo>
                  <a:lnTo>
                    <a:pt x="1544" y="978"/>
                  </a:lnTo>
                  <a:lnTo>
                    <a:pt x="1545" y="976"/>
                  </a:lnTo>
                  <a:lnTo>
                    <a:pt x="1547" y="974"/>
                  </a:lnTo>
                  <a:lnTo>
                    <a:pt x="1546" y="972"/>
                  </a:lnTo>
                  <a:lnTo>
                    <a:pt x="1538" y="964"/>
                  </a:lnTo>
                  <a:lnTo>
                    <a:pt x="1530" y="959"/>
                  </a:lnTo>
                  <a:lnTo>
                    <a:pt x="1526" y="954"/>
                  </a:lnTo>
                  <a:lnTo>
                    <a:pt x="1517" y="935"/>
                  </a:lnTo>
                  <a:lnTo>
                    <a:pt x="1515" y="933"/>
                  </a:lnTo>
                  <a:lnTo>
                    <a:pt x="1512" y="933"/>
                  </a:lnTo>
                  <a:lnTo>
                    <a:pt x="1509" y="932"/>
                  </a:lnTo>
                  <a:lnTo>
                    <a:pt x="1508" y="927"/>
                  </a:lnTo>
                  <a:lnTo>
                    <a:pt x="1509" y="923"/>
                  </a:lnTo>
                  <a:lnTo>
                    <a:pt x="1511" y="920"/>
                  </a:lnTo>
                  <a:lnTo>
                    <a:pt x="1514" y="916"/>
                  </a:lnTo>
                  <a:lnTo>
                    <a:pt x="1517" y="915"/>
                  </a:lnTo>
                  <a:lnTo>
                    <a:pt x="1516" y="912"/>
                  </a:lnTo>
                  <a:lnTo>
                    <a:pt x="1516" y="909"/>
                  </a:lnTo>
                  <a:lnTo>
                    <a:pt x="1517" y="908"/>
                  </a:lnTo>
                  <a:lnTo>
                    <a:pt x="1519" y="907"/>
                  </a:lnTo>
                  <a:lnTo>
                    <a:pt x="1518" y="904"/>
                  </a:lnTo>
                  <a:lnTo>
                    <a:pt x="1512" y="894"/>
                  </a:lnTo>
                  <a:lnTo>
                    <a:pt x="1511" y="893"/>
                  </a:lnTo>
                  <a:lnTo>
                    <a:pt x="1514" y="887"/>
                  </a:lnTo>
                  <a:lnTo>
                    <a:pt x="1512" y="886"/>
                  </a:lnTo>
                  <a:lnTo>
                    <a:pt x="1509" y="885"/>
                  </a:lnTo>
                  <a:lnTo>
                    <a:pt x="1506" y="883"/>
                  </a:lnTo>
                  <a:lnTo>
                    <a:pt x="1505" y="880"/>
                  </a:lnTo>
                  <a:lnTo>
                    <a:pt x="1505" y="878"/>
                  </a:lnTo>
                  <a:lnTo>
                    <a:pt x="1504" y="875"/>
                  </a:lnTo>
                  <a:lnTo>
                    <a:pt x="1502" y="873"/>
                  </a:lnTo>
                  <a:lnTo>
                    <a:pt x="1499" y="872"/>
                  </a:lnTo>
                  <a:lnTo>
                    <a:pt x="1497" y="868"/>
                  </a:lnTo>
                  <a:lnTo>
                    <a:pt x="1498" y="868"/>
                  </a:lnTo>
                  <a:lnTo>
                    <a:pt x="1500" y="868"/>
                  </a:lnTo>
                  <a:lnTo>
                    <a:pt x="1496" y="862"/>
                  </a:lnTo>
                  <a:lnTo>
                    <a:pt x="1495" y="859"/>
                  </a:lnTo>
                  <a:lnTo>
                    <a:pt x="1494" y="855"/>
                  </a:lnTo>
                  <a:lnTo>
                    <a:pt x="1495" y="848"/>
                  </a:lnTo>
                  <a:lnTo>
                    <a:pt x="1495" y="846"/>
                  </a:lnTo>
                  <a:lnTo>
                    <a:pt x="1493" y="844"/>
                  </a:lnTo>
                  <a:lnTo>
                    <a:pt x="1493" y="842"/>
                  </a:lnTo>
                  <a:lnTo>
                    <a:pt x="1494" y="842"/>
                  </a:lnTo>
                  <a:lnTo>
                    <a:pt x="1495" y="841"/>
                  </a:lnTo>
                  <a:lnTo>
                    <a:pt x="1497" y="839"/>
                  </a:lnTo>
                  <a:lnTo>
                    <a:pt x="1497" y="837"/>
                  </a:lnTo>
                  <a:lnTo>
                    <a:pt x="1496" y="836"/>
                  </a:lnTo>
                  <a:lnTo>
                    <a:pt x="1495" y="834"/>
                  </a:lnTo>
                  <a:lnTo>
                    <a:pt x="1496" y="833"/>
                  </a:lnTo>
                  <a:lnTo>
                    <a:pt x="1497" y="833"/>
                  </a:lnTo>
                  <a:lnTo>
                    <a:pt x="1497" y="831"/>
                  </a:lnTo>
                  <a:lnTo>
                    <a:pt x="1496" y="829"/>
                  </a:lnTo>
                  <a:lnTo>
                    <a:pt x="1495" y="828"/>
                  </a:lnTo>
                  <a:lnTo>
                    <a:pt x="1496" y="822"/>
                  </a:lnTo>
                  <a:lnTo>
                    <a:pt x="1497" y="819"/>
                  </a:lnTo>
                  <a:lnTo>
                    <a:pt x="1497" y="817"/>
                  </a:lnTo>
                  <a:lnTo>
                    <a:pt x="1500" y="814"/>
                  </a:lnTo>
                  <a:lnTo>
                    <a:pt x="1503" y="813"/>
                  </a:lnTo>
                  <a:lnTo>
                    <a:pt x="1507" y="809"/>
                  </a:lnTo>
                  <a:lnTo>
                    <a:pt x="1508" y="803"/>
                  </a:lnTo>
                  <a:lnTo>
                    <a:pt x="1505" y="799"/>
                  </a:lnTo>
                  <a:lnTo>
                    <a:pt x="1503" y="795"/>
                  </a:lnTo>
                  <a:lnTo>
                    <a:pt x="1505" y="793"/>
                  </a:lnTo>
                  <a:lnTo>
                    <a:pt x="1505" y="787"/>
                  </a:lnTo>
                  <a:lnTo>
                    <a:pt x="1507" y="786"/>
                  </a:lnTo>
                  <a:lnTo>
                    <a:pt x="1507" y="785"/>
                  </a:lnTo>
                  <a:lnTo>
                    <a:pt x="1507" y="784"/>
                  </a:lnTo>
                  <a:lnTo>
                    <a:pt x="1507" y="784"/>
                  </a:lnTo>
                  <a:lnTo>
                    <a:pt x="1506" y="784"/>
                  </a:lnTo>
                  <a:lnTo>
                    <a:pt x="1507" y="781"/>
                  </a:lnTo>
                  <a:lnTo>
                    <a:pt x="1507" y="773"/>
                  </a:lnTo>
                  <a:lnTo>
                    <a:pt x="1508" y="769"/>
                  </a:lnTo>
                  <a:lnTo>
                    <a:pt x="1511" y="761"/>
                  </a:lnTo>
                  <a:lnTo>
                    <a:pt x="1513" y="758"/>
                  </a:lnTo>
                  <a:lnTo>
                    <a:pt x="1516" y="756"/>
                  </a:lnTo>
                  <a:lnTo>
                    <a:pt x="1514" y="752"/>
                  </a:lnTo>
                  <a:lnTo>
                    <a:pt x="1512" y="742"/>
                  </a:lnTo>
                  <a:lnTo>
                    <a:pt x="1511" y="739"/>
                  </a:lnTo>
                  <a:lnTo>
                    <a:pt x="1510" y="736"/>
                  </a:lnTo>
                  <a:lnTo>
                    <a:pt x="1510" y="733"/>
                  </a:lnTo>
                  <a:lnTo>
                    <a:pt x="1508" y="731"/>
                  </a:lnTo>
                  <a:lnTo>
                    <a:pt x="1506" y="731"/>
                  </a:lnTo>
                  <a:lnTo>
                    <a:pt x="1505" y="729"/>
                  </a:lnTo>
                  <a:lnTo>
                    <a:pt x="1504" y="727"/>
                  </a:lnTo>
                  <a:lnTo>
                    <a:pt x="1503" y="725"/>
                  </a:lnTo>
                  <a:lnTo>
                    <a:pt x="1500" y="723"/>
                  </a:lnTo>
                  <a:lnTo>
                    <a:pt x="1493" y="724"/>
                  </a:lnTo>
                  <a:lnTo>
                    <a:pt x="1490" y="723"/>
                  </a:lnTo>
                  <a:lnTo>
                    <a:pt x="1485" y="714"/>
                  </a:lnTo>
                  <a:lnTo>
                    <a:pt x="1486" y="713"/>
                  </a:lnTo>
                  <a:lnTo>
                    <a:pt x="1487" y="710"/>
                  </a:lnTo>
                  <a:lnTo>
                    <a:pt x="1486" y="708"/>
                  </a:lnTo>
                  <a:lnTo>
                    <a:pt x="1483" y="710"/>
                  </a:lnTo>
                  <a:lnTo>
                    <a:pt x="1482" y="709"/>
                  </a:lnTo>
                  <a:lnTo>
                    <a:pt x="1481" y="708"/>
                  </a:lnTo>
                  <a:lnTo>
                    <a:pt x="1480" y="707"/>
                  </a:lnTo>
                  <a:lnTo>
                    <a:pt x="1478" y="709"/>
                  </a:lnTo>
                  <a:lnTo>
                    <a:pt x="1476" y="709"/>
                  </a:lnTo>
                  <a:lnTo>
                    <a:pt x="1475" y="708"/>
                  </a:lnTo>
                  <a:lnTo>
                    <a:pt x="1473" y="707"/>
                  </a:lnTo>
                  <a:lnTo>
                    <a:pt x="1471" y="708"/>
                  </a:lnTo>
                  <a:lnTo>
                    <a:pt x="1470" y="707"/>
                  </a:lnTo>
                  <a:lnTo>
                    <a:pt x="1471" y="705"/>
                  </a:lnTo>
                  <a:lnTo>
                    <a:pt x="1471" y="703"/>
                  </a:lnTo>
                  <a:lnTo>
                    <a:pt x="1468" y="703"/>
                  </a:lnTo>
                  <a:lnTo>
                    <a:pt x="1458" y="699"/>
                  </a:lnTo>
                  <a:lnTo>
                    <a:pt x="1456" y="697"/>
                  </a:lnTo>
                  <a:lnTo>
                    <a:pt x="1453" y="698"/>
                  </a:lnTo>
                  <a:lnTo>
                    <a:pt x="1442" y="695"/>
                  </a:lnTo>
                  <a:lnTo>
                    <a:pt x="1438" y="693"/>
                  </a:lnTo>
                  <a:lnTo>
                    <a:pt x="1440" y="688"/>
                  </a:lnTo>
                  <a:lnTo>
                    <a:pt x="1439" y="685"/>
                  </a:lnTo>
                  <a:lnTo>
                    <a:pt x="1438" y="682"/>
                  </a:lnTo>
                  <a:lnTo>
                    <a:pt x="1436" y="681"/>
                  </a:lnTo>
                  <a:lnTo>
                    <a:pt x="1435" y="680"/>
                  </a:lnTo>
                  <a:lnTo>
                    <a:pt x="1435" y="680"/>
                  </a:lnTo>
                  <a:lnTo>
                    <a:pt x="1442" y="665"/>
                  </a:lnTo>
                  <a:lnTo>
                    <a:pt x="1445" y="660"/>
                  </a:lnTo>
                  <a:lnTo>
                    <a:pt x="1451" y="652"/>
                  </a:lnTo>
                  <a:lnTo>
                    <a:pt x="1471" y="623"/>
                  </a:lnTo>
                  <a:lnTo>
                    <a:pt x="1485" y="611"/>
                  </a:lnTo>
                  <a:lnTo>
                    <a:pt x="1499" y="603"/>
                  </a:lnTo>
                  <a:lnTo>
                    <a:pt x="1525" y="595"/>
                  </a:lnTo>
                  <a:lnTo>
                    <a:pt x="1546" y="581"/>
                  </a:lnTo>
                  <a:lnTo>
                    <a:pt x="1553" y="573"/>
                  </a:lnTo>
                  <a:lnTo>
                    <a:pt x="1555" y="562"/>
                  </a:lnTo>
                  <a:lnTo>
                    <a:pt x="1555" y="554"/>
                  </a:lnTo>
                  <a:lnTo>
                    <a:pt x="1553" y="522"/>
                  </a:lnTo>
                  <a:lnTo>
                    <a:pt x="1553" y="520"/>
                  </a:lnTo>
                  <a:lnTo>
                    <a:pt x="1552" y="519"/>
                  </a:lnTo>
                  <a:lnTo>
                    <a:pt x="1552" y="517"/>
                  </a:lnTo>
                  <a:lnTo>
                    <a:pt x="1551" y="514"/>
                  </a:lnTo>
                  <a:lnTo>
                    <a:pt x="1552" y="513"/>
                  </a:lnTo>
                  <a:lnTo>
                    <a:pt x="1554" y="509"/>
                  </a:lnTo>
                  <a:lnTo>
                    <a:pt x="1554" y="507"/>
                  </a:lnTo>
                  <a:lnTo>
                    <a:pt x="1554" y="505"/>
                  </a:lnTo>
                  <a:lnTo>
                    <a:pt x="1553" y="498"/>
                  </a:lnTo>
                  <a:lnTo>
                    <a:pt x="1553" y="496"/>
                  </a:lnTo>
                  <a:lnTo>
                    <a:pt x="1553" y="493"/>
                  </a:lnTo>
                  <a:lnTo>
                    <a:pt x="1553" y="491"/>
                  </a:lnTo>
                  <a:lnTo>
                    <a:pt x="1551" y="487"/>
                  </a:lnTo>
                  <a:lnTo>
                    <a:pt x="1546" y="481"/>
                  </a:lnTo>
                  <a:lnTo>
                    <a:pt x="1545" y="476"/>
                  </a:lnTo>
                  <a:lnTo>
                    <a:pt x="1545" y="471"/>
                  </a:lnTo>
                  <a:lnTo>
                    <a:pt x="1546" y="468"/>
                  </a:lnTo>
                  <a:lnTo>
                    <a:pt x="1549" y="465"/>
                  </a:lnTo>
                  <a:lnTo>
                    <a:pt x="1550" y="461"/>
                  </a:lnTo>
                  <a:lnTo>
                    <a:pt x="1550" y="454"/>
                  </a:lnTo>
                  <a:lnTo>
                    <a:pt x="1549" y="451"/>
                  </a:lnTo>
                  <a:lnTo>
                    <a:pt x="1546" y="449"/>
                  </a:lnTo>
                  <a:lnTo>
                    <a:pt x="1543" y="446"/>
                  </a:lnTo>
                  <a:lnTo>
                    <a:pt x="1541" y="442"/>
                  </a:lnTo>
                  <a:lnTo>
                    <a:pt x="1540" y="438"/>
                  </a:lnTo>
                  <a:lnTo>
                    <a:pt x="1538" y="434"/>
                  </a:lnTo>
                  <a:lnTo>
                    <a:pt x="1536" y="431"/>
                  </a:lnTo>
                  <a:lnTo>
                    <a:pt x="1533" y="423"/>
                  </a:lnTo>
                  <a:lnTo>
                    <a:pt x="1526" y="398"/>
                  </a:lnTo>
                  <a:lnTo>
                    <a:pt x="1523" y="389"/>
                  </a:lnTo>
                  <a:lnTo>
                    <a:pt x="1516" y="374"/>
                  </a:lnTo>
                  <a:lnTo>
                    <a:pt x="1502" y="333"/>
                  </a:lnTo>
                  <a:lnTo>
                    <a:pt x="1498" y="314"/>
                  </a:lnTo>
                  <a:lnTo>
                    <a:pt x="1498" y="297"/>
                  </a:lnTo>
                  <a:lnTo>
                    <a:pt x="1498" y="297"/>
                  </a:lnTo>
                  <a:lnTo>
                    <a:pt x="1498" y="297"/>
                  </a:lnTo>
                  <a:lnTo>
                    <a:pt x="1494" y="292"/>
                  </a:lnTo>
                  <a:lnTo>
                    <a:pt x="1492" y="286"/>
                  </a:lnTo>
                  <a:lnTo>
                    <a:pt x="1491" y="272"/>
                  </a:lnTo>
                  <a:lnTo>
                    <a:pt x="1489" y="265"/>
                  </a:lnTo>
                  <a:lnTo>
                    <a:pt x="1487" y="259"/>
                  </a:lnTo>
                  <a:lnTo>
                    <a:pt x="1486" y="252"/>
                  </a:lnTo>
                  <a:lnTo>
                    <a:pt x="1486" y="245"/>
                  </a:lnTo>
                  <a:lnTo>
                    <a:pt x="1486" y="243"/>
                  </a:lnTo>
                  <a:lnTo>
                    <a:pt x="1486" y="241"/>
                  </a:lnTo>
                  <a:lnTo>
                    <a:pt x="1486" y="240"/>
                  </a:lnTo>
                  <a:lnTo>
                    <a:pt x="1485" y="239"/>
                  </a:lnTo>
                  <a:lnTo>
                    <a:pt x="1483" y="238"/>
                  </a:lnTo>
                  <a:lnTo>
                    <a:pt x="1482" y="236"/>
                  </a:lnTo>
                  <a:lnTo>
                    <a:pt x="1481" y="233"/>
                  </a:lnTo>
                  <a:lnTo>
                    <a:pt x="1481" y="230"/>
                  </a:lnTo>
                  <a:lnTo>
                    <a:pt x="1482" y="229"/>
                  </a:lnTo>
                  <a:lnTo>
                    <a:pt x="1483" y="228"/>
                  </a:lnTo>
                  <a:lnTo>
                    <a:pt x="1485" y="226"/>
                  </a:lnTo>
                  <a:lnTo>
                    <a:pt x="1487" y="222"/>
                  </a:lnTo>
                  <a:lnTo>
                    <a:pt x="1487" y="216"/>
                  </a:lnTo>
                  <a:lnTo>
                    <a:pt x="1485" y="204"/>
                  </a:lnTo>
                  <a:lnTo>
                    <a:pt x="1484" y="198"/>
                  </a:lnTo>
                  <a:lnTo>
                    <a:pt x="1482" y="192"/>
                  </a:lnTo>
                  <a:lnTo>
                    <a:pt x="1480" y="187"/>
                  </a:lnTo>
                  <a:lnTo>
                    <a:pt x="1477" y="182"/>
                  </a:lnTo>
                  <a:lnTo>
                    <a:pt x="1476" y="182"/>
                  </a:lnTo>
                  <a:lnTo>
                    <a:pt x="1472" y="181"/>
                  </a:lnTo>
                  <a:lnTo>
                    <a:pt x="1471" y="180"/>
                  </a:lnTo>
                  <a:lnTo>
                    <a:pt x="1469" y="177"/>
                  </a:lnTo>
                  <a:lnTo>
                    <a:pt x="1466" y="172"/>
                  </a:lnTo>
                  <a:lnTo>
                    <a:pt x="1465" y="170"/>
                  </a:lnTo>
                  <a:lnTo>
                    <a:pt x="1462" y="167"/>
                  </a:lnTo>
                  <a:lnTo>
                    <a:pt x="1459" y="164"/>
                  </a:lnTo>
                  <a:lnTo>
                    <a:pt x="1446" y="159"/>
                  </a:lnTo>
                  <a:lnTo>
                    <a:pt x="1440" y="156"/>
                  </a:lnTo>
                  <a:lnTo>
                    <a:pt x="1430" y="148"/>
                  </a:lnTo>
                  <a:lnTo>
                    <a:pt x="1427" y="146"/>
                  </a:lnTo>
                  <a:lnTo>
                    <a:pt x="1424" y="147"/>
                  </a:lnTo>
                  <a:lnTo>
                    <a:pt x="1420" y="148"/>
                  </a:lnTo>
                  <a:lnTo>
                    <a:pt x="1416" y="148"/>
                  </a:lnTo>
                  <a:lnTo>
                    <a:pt x="1414" y="144"/>
                  </a:lnTo>
                  <a:lnTo>
                    <a:pt x="1414" y="142"/>
                  </a:lnTo>
                  <a:lnTo>
                    <a:pt x="1414" y="138"/>
                  </a:lnTo>
                  <a:lnTo>
                    <a:pt x="1415" y="136"/>
                  </a:lnTo>
                  <a:lnTo>
                    <a:pt x="1414" y="134"/>
                  </a:lnTo>
                  <a:lnTo>
                    <a:pt x="1409" y="134"/>
                  </a:lnTo>
                  <a:lnTo>
                    <a:pt x="1407" y="133"/>
                  </a:lnTo>
                  <a:lnTo>
                    <a:pt x="1406" y="131"/>
                  </a:lnTo>
                  <a:lnTo>
                    <a:pt x="1405" y="129"/>
                  </a:lnTo>
                  <a:lnTo>
                    <a:pt x="1404" y="127"/>
                  </a:lnTo>
                  <a:lnTo>
                    <a:pt x="1403" y="125"/>
                  </a:lnTo>
                  <a:lnTo>
                    <a:pt x="1401" y="124"/>
                  </a:lnTo>
                  <a:lnTo>
                    <a:pt x="1397" y="125"/>
                  </a:lnTo>
                  <a:lnTo>
                    <a:pt x="1395" y="125"/>
                  </a:lnTo>
                  <a:lnTo>
                    <a:pt x="1386" y="120"/>
                  </a:lnTo>
                  <a:lnTo>
                    <a:pt x="1383" y="120"/>
                  </a:lnTo>
                  <a:lnTo>
                    <a:pt x="1379" y="122"/>
                  </a:lnTo>
                  <a:lnTo>
                    <a:pt x="1379" y="122"/>
                  </a:lnTo>
                  <a:lnTo>
                    <a:pt x="1375" y="129"/>
                  </a:lnTo>
                  <a:lnTo>
                    <a:pt x="1371" y="132"/>
                  </a:lnTo>
                  <a:lnTo>
                    <a:pt x="1360" y="135"/>
                  </a:lnTo>
                  <a:lnTo>
                    <a:pt x="1331" y="134"/>
                  </a:lnTo>
                  <a:lnTo>
                    <a:pt x="1294" y="132"/>
                  </a:lnTo>
                  <a:lnTo>
                    <a:pt x="1205" y="127"/>
                  </a:lnTo>
                  <a:lnTo>
                    <a:pt x="1137" y="123"/>
                  </a:lnTo>
                  <a:lnTo>
                    <a:pt x="1080" y="120"/>
                  </a:lnTo>
                  <a:lnTo>
                    <a:pt x="988" y="116"/>
                  </a:lnTo>
                  <a:lnTo>
                    <a:pt x="927" y="112"/>
                  </a:lnTo>
                  <a:lnTo>
                    <a:pt x="894" y="111"/>
                  </a:lnTo>
                  <a:lnTo>
                    <a:pt x="881" y="110"/>
                  </a:lnTo>
                  <a:lnTo>
                    <a:pt x="874" y="107"/>
                  </a:lnTo>
                  <a:lnTo>
                    <a:pt x="870" y="104"/>
                  </a:lnTo>
                  <a:lnTo>
                    <a:pt x="867" y="106"/>
                  </a:lnTo>
                  <a:lnTo>
                    <a:pt x="858" y="116"/>
                  </a:lnTo>
                  <a:lnTo>
                    <a:pt x="853" y="118"/>
                  </a:lnTo>
                  <a:lnTo>
                    <a:pt x="847" y="120"/>
                  </a:lnTo>
                  <a:lnTo>
                    <a:pt x="833" y="126"/>
                  </a:lnTo>
                  <a:lnTo>
                    <a:pt x="774" y="135"/>
                  </a:lnTo>
                  <a:lnTo>
                    <a:pt x="769" y="133"/>
                  </a:lnTo>
                  <a:lnTo>
                    <a:pt x="768" y="133"/>
                  </a:lnTo>
                  <a:lnTo>
                    <a:pt x="766" y="131"/>
                  </a:lnTo>
                  <a:lnTo>
                    <a:pt x="761" y="134"/>
                  </a:lnTo>
                  <a:lnTo>
                    <a:pt x="755" y="133"/>
                  </a:lnTo>
                  <a:lnTo>
                    <a:pt x="729" y="125"/>
                  </a:lnTo>
                  <a:lnTo>
                    <a:pt x="726" y="121"/>
                  </a:lnTo>
                  <a:lnTo>
                    <a:pt x="725" y="119"/>
                  </a:lnTo>
                  <a:lnTo>
                    <a:pt x="723" y="117"/>
                  </a:lnTo>
                  <a:lnTo>
                    <a:pt x="720" y="116"/>
                  </a:lnTo>
                  <a:lnTo>
                    <a:pt x="718" y="116"/>
                  </a:lnTo>
                  <a:lnTo>
                    <a:pt x="715" y="115"/>
                  </a:lnTo>
                  <a:lnTo>
                    <a:pt x="711" y="112"/>
                  </a:lnTo>
                  <a:lnTo>
                    <a:pt x="708" y="111"/>
                  </a:lnTo>
                  <a:lnTo>
                    <a:pt x="706" y="106"/>
                  </a:lnTo>
                  <a:lnTo>
                    <a:pt x="705" y="96"/>
                  </a:lnTo>
                  <a:lnTo>
                    <a:pt x="705" y="85"/>
                  </a:lnTo>
                  <a:lnTo>
                    <a:pt x="706" y="79"/>
                  </a:lnTo>
                  <a:lnTo>
                    <a:pt x="704" y="76"/>
                  </a:lnTo>
                  <a:lnTo>
                    <a:pt x="700" y="64"/>
                  </a:lnTo>
                  <a:lnTo>
                    <a:pt x="698" y="61"/>
                  </a:lnTo>
                  <a:lnTo>
                    <a:pt x="697" y="57"/>
                  </a:lnTo>
                  <a:lnTo>
                    <a:pt x="698" y="53"/>
                  </a:lnTo>
                  <a:lnTo>
                    <a:pt x="695" y="56"/>
                  </a:lnTo>
                  <a:lnTo>
                    <a:pt x="692" y="57"/>
                  </a:lnTo>
                  <a:lnTo>
                    <a:pt x="690" y="55"/>
                  </a:lnTo>
                  <a:lnTo>
                    <a:pt x="691" y="49"/>
                  </a:lnTo>
                  <a:lnTo>
                    <a:pt x="690" y="47"/>
                  </a:lnTo>
                  <a:lnTo>
                    <a:pt x="690" y="45"/>
                  </a:lnTo>
                  <a:lnTo>
                    <a:pt x="690" y="44"/>
                  </a:lnTo>
                  <a:lnTo>
                    <a:pt x="690" y="41"/>
                  </a:lnTo>
                  <a:lnTo>
                    <a:pt x="688" y="36"/>
                  </a:lnTo>
                  <a:lnTo>
                    <a:pt x="686" y="33"/>
                  </a:lnTo>
                  <a:lnTo>
                    <a:pt x="685" y="32"/>
                  </a:lnTo>
                  <a:lnTo>
                    <a:pt x="681" y="30"/>
                  </a:lnTo>
                  <a:lnTo>
                    <a:pt x="681" y="29"/>
                  </a:lnTo>
                  <a:lnTo>
                    <a:pt x="681" y="25"/>
                  </a:lnTo>
                  <a:lnTo>
                    <a:pt x="681" y="23"/>
                  </a:lnTo>
                  <a:lnTo>
                    <a:pt x="683" y="16"/>
                  </a:lnTo>
                  <a:lnTo>
                    <a:pt x="684" y="14"/>
                  </a:lnTo>
                  <a:lnTo>
                    <a:pt x="686" y="13"/>
                  </a:lnTo>
                  <a:lnTo>
                    <a:pt x="687" y="14"/>
                  </a:lnTo>
                  <a:lnTo>
                    <a:pt x="692" y="18"/>
                  </a:lnTo>
                  <a:lnTo>
                    <a:pt x="694" y="20"/>
                  </a:lnTo>
                  <a:lnTo>
                    <a:pt x="703" y="25"/>
                  </a:lnTo>
                  <a:lnTo>
                    <a:pt x="713" y="31"/>
                  </a:lnTo>
                  <a:lnTo>
                    <a:pt x="717" y="33"/>
                  </a:lnTo>
                  <a:lnTo>
                    <a:pt x="719" y="35"/>
                  </a:lnTo>
                  <a:lnTo>
                    <a:pt x="720" y="36"/>
                  </a:lnTo>
                  <a:lnTo>
                    <a:pt x="726" y="37"/>
                  </a:lnTo>
                  <a:lnTo>
                    <a:pt x="727" y="38"/>
                  </a:lnTo>
                  <a:lnTo>
                    <a:pt x="735" y="50"/>
                  </a:lnTo>
                  <a:lnTo>
                    <a:pt x="737" y="54"/>
                  </a:lnTo>
                  <a:lnTo>
                    <a:pt x="739" y="59"/>
                  </a:lnTo>
                  <a:lnTo>
                    <a:pt x="742" y="61"/>
                  </a:lnTo>
                  <a:lnTo>
                    <a:pt x="743" y="63"/>
                  </a:lnTo>
                  <a:lnTo>
                    <a:pt x="744" y="65"/>
                  </a:lnTo>
                  <a:lnTo>
                    <a:pt x="745" y="66"/>
                  </a:lnTo>
                  <a:lnTo>
                    <a:pt x="747" y="65"/>
                  </a:lnTo>
                  <a:lnTo>
                    <a:pt x="747" y="61"/>
                  </a:lnTo>
                  <a:lnTo>
                    <a:pt x="746" y="56"/>
                  </a:lnTo>
                  <a:lnTo>
                    <a:pt x="744" y="54"/>
                  </a:lnTo>
                  <a:lnTo>
                    <a:pt x="734" y="41"/>
                  </a:lnTo>
                  <a:lnTo>
                    <a:pt x="680" y="8"/>
                  </a:lnTo>
                  <a:lnTo>
                    <a:pt x="676" y="7"/>
                  </a:lnTo>
                  <a:lnTo>
                    <a:pt x="675" y="6"/>
                  </a:lnTo>
                  <a:lnTo>
                    <a:pt x="669" y="1"/>
                  </a:lnTo>
                  <a:lnTo>
                    <a:pt x="665" y="0"/>
                  </a:lnTo>
                  <a:lnTo>
                    <a:pt x="639" y="0"/>
                  </a:lnTo>
                  <a:lnTo>
                    <a:pt x="597" y="4"/>
                  </a:lnTo>
                  <a:lnTo>
                    <a:pt x="570" y="13"/>
                  </a:lnTo>
                  <a:lnTo>
                    <a:pt x="510" y="25"/>
                  </a:lnTo>
                  <a:lnTo>
                    <a:pt x="462" y="47"/>
                  </a:lnTo>
                  <a:lnTo>
                    <a:pt x="447" y="64"/>
                  </a:lnTo>
                  <a:lnTo>
                    <a:pt x="441" y="66"/>
                  </a:lnTo>
                  <a:lnTo>
                    <a:pt x="434" y="67"/>
                  </a:lnTo>
                  <a:lnTo>
                    <a:pt x="421" y="72"/>
                  </a:lnTo>
                  <a:lnTo>
                    <a:pt x="388" y="77"/>
                  </a:lnTo>
                  <a:lnTo>
                    <a:pt x="377" y="84"/>
                  </a:lnTo>
                  <a:lnTo>
                    <a:pt x="371" y="89"/>
                  </a:lnTo>
                  <a:lnTo>
                    <a:pt x="368" y="96"/>
                  </a:lnTo>
                  <a:lnTo>
                    <a:pt x="371" y="94"/>
                  </a:lnTo>
                  <a:lnTo>
                    <a:pt x="373" y="93"/>
                  </a:lnTo>
                  <a:lnTo>
                    <a:pt x="373" y="94"/>
                  </a:lnTo>
                  <a:lnTo>
                    <a:pt x="373" y="98"/>
                  </a:lnTo>
                  <a:lnTo>
                    <a:pt x="370" y="100"/>
                  </a:lnTo>
                  <a:lnTo>
                    <a:pt x="368" y="101"/>
                  </a:lnTo>
                  <a:lnTo>
                    <a:pt x="366" y="100"/>
                  </a:lnTo>
                  <a:lnTo>
                    <a:pt x="367" y="98"/>
                  </a:lnTo>
                  <a:lnTo>
                    <a:pt x="367" y="96"/>
                  </a:lnTo>
                  <a:lnTo>
                    <a:pt x="349" y="119"/>
                  </a:lnTo>
                  <a:lnTo>
                    <a:pt x="342" y="131"/>
                  </a:lnTo>
                  <a:lnTo>
                    <a:pt x="344" y="129"/>
                  </a:lnTo>
                  <a:lnTo>
                    <a:pt x="346" y="127"/>
                  </a:lnTo>
                  <a:lnTo>
                    <a:pt x="349" y="127"/>
                  </a:lnTo>
                  <a:lnTo>
                    <a:pt x="351" y="131"/>
                  </a:lnTo>
                  <a:lnTo>
                    <a:pt x="349" y="133"/>
                  </a:lnTo>
                  <a:lnTo>
                    <a:pt x="343" y="136"/>
                  </a:lnTo>
                  <a:lnTo>
                    <a:pt x="341" y="139"/>
                  </a:lnTo>
                  <a:lnTo>
                    <a:pt x="339" y="140"/>
                  </a:lnTo>
                  <a:lnTo>
                    <a:pt x="336" y="140"/>
                  </a:lnTo>
                  <a:lnTo>
                    <a:pt x="334" y="141"/>
                  </a:lnTo>
                  <a:lnTo>
                    <a:pt x="335" y="139"/>
                  </a:lnTo>
                  <a:lnTo>
                    <a:pt x="339" y="135"/>
                  </a:lnTo>
                  <a:lnTo>
                    <a:pt x="341" y="131"/>
                  </a:lnTo>
                  <a:lnTo>
                    <a:pt x="331" y="143"/>
                  </a:lnTo>
                  <a:lnTo>
                    <a:pt x="325" y="147"/>
                  </a:lnTo>
                  <a:lnTo>
                    <a:pt x="319" y="150"/>
                  </a:lnTo>
                  <a:lnTo>
                    <a:pt x="328" y="147"/>
                  </a:lnTo>
                  <a:lnTo>
                    <a:pt x="332" y="147"/>
                  </a:lnTo>
                  <a:lnTo>
                    <a:pt x="331" y="152"/>
                  </a:lnTo>
                  <a:lnTo>
                    <a:pt x="332" y="152"/>
                  </a:lnTo>
                  <a:lnTo>
                    <a:pt x="332" y="152"/>
                  </a:lnTo>
                  <a:lnTo>
                    <a:pt x="332" y="152"/>
                  </a:lnTo>
                  <a:lnTo>
                    <a:pt x="332" y="153"/>
                  </a:lnTo>
                  <a:lnTo>
                    <a:pt x="325" y="153"/>
                  </a:lnTo>
                  <a:lnTo>
                    <a:pt x="325" y="155"/>
                  </a:lnTo>
                  <a:lnTo>
                    <a:pt x="326" y="155"/>
                  </a:lnTo>
                  <a:lnTo>
                    <a:pt x="326" y="157"/>
                  </a:lnTo>
                  <a:lnTo>
                    <a:pt x="312" y="160"/>
                  </a:lnTo>
                  <a:lnTo>
                    <a:pt x="308" y="157"/>
                  </a:lnTo>
                  <a:lnTo>
                    <a:pt x="316" y="153"/>
                  </a:lnTo>
                  <a:lnTo>
                    <a:pt x="318" y="152"/>
                  </a:lnTo>
                  <a:lnTo>
                    <a:pt x="301" y="158"/>
                  </a:lnTo>
                  <a:lnTo>
                    <a:pt x="275" y="161"/>
                  </a:lnTo>
                  <a:lnTo>
                    <a:pt x="244" y="175"/>
                  </a:lnTo>
                  <a:lnTo>
                    <a:pt x="213" y="183"/>
                  </a:lnTo>
                  <a:lnTo>
                    <a:pt x="184" y="191"/>
                  </a:lnTo>
                  <a:lnTo>
                    <a:pt x="140" y="209"/>
                  </a:lnTo>
                  <a:lnTo>
                    <a:pt x="104" y="219"/>
                  </a:lnTo>
                  <a:lnTo>
                    <a:pt x="62" y="238"/>
                  </a:lnTo>
                  <a:lnTo>
                    <a:pt x="51" y="246"/>
                  </a:lnTo>
                  <a:lnTo>
                    <a:pt x="45" y="249"/>
                  </a:lnTo>
                  <a:lnTo>
                    <a:pt x="38" y="250"/>
                  </a:lnTo>
                  <a:lnTo>
                    <a:pt x="22" y="249"/>
                  </a:lnTo>
                  <a:lnTo>
                    <a:pt x="17" y="247"/>
                  </a:lnTo>
                  <a:lnTo>
                    <a:pt x="16" y="246"/>
                  </a:lnTo>
                  <a:lnTo>
                    <a:pt x="13" y="245"/>
                  </a:lnTo>
                  <a:lnTo>
                    <a:pt x="11" y="252"/>
                  </a:lnTo>
                  <a:lnTo>
                    <a:pt x="9" y="253"/>
                  </a:lnTo>
                  <a:lnTo>
                    <a:pt x="8" y="253"/>
                  </a:lnTo>
                  <a:lnTo>
                    <a:pt x="11" y="257"/>
                  </a:lnTo>
                  <a:lnTo>
                    <a:pt x="12" y="261"/>
                  </a:lnTo>
                  <a:lnTo>
                    <a:pt x="12" y="261"/>
                  </a:lnTo>
                  <a:lnTo>
                    <a:pt x="12" y="261"/>
                  </a:lnTo>
                  <a:lnTo>
                    <a:pt x="16" y="263"/>
                  </a:lnTo>
                  <a:lnTo>
                    <a:pt x="23" y="274"/>
                  </a:lnTo>
                  <a:lnTo>
                    <a:pt x="26" y="275"/>
                  </a:lnTo>
                  <a:lnTo>
                    <a:pt x="28" y="276"/>
                  </a:lnTo>
                  <a:lnTo>
                    <a:pt x="31" y="277"/>
                  </a:lnTo>
                  <a:lnTo>
                    <a:pt x="32" y="277"/>
                  </a:lnTo>
                  <a:lnTo>
                    <a:pt x="34" y="277"/>
                  </a:lnTo>
                  <a:lnTo>
                    <a:pt x="34" y="276"/>
                  </a:lnTo>
                  <a:lnTo>
                    <a:pt x="32" y="275"/>
                  </a:lnTo>
                  <a:lnTo>
                    <a:pt x="32" y="274"/>
                  </a:lnTo>
                  <a:lnTo>
                    <a:pt x="34" y="273"/>
                  </a:lnTo>
                  <a:lnTo>
                    <a:pt x="36" y="273"/>
                  </a:lnTo>
                  <a:lnTo>
                    <a:pt x="41" y="270"/>
                  </a:lnTo>
                  <a:lnTo>
                    <a:pt x="42" y="271"/>
                  </a:lnTo>
                  <a:lnTo>
                    <a:pt x="44" y="270"/>
                  </a:lnTo>
                  <a:lnTo>
                    <a:pt x="46" y="268"/>
                  </a:lnTo>
                  <a:lnTo>
                    <a:pt x="46" y="265"/>
                  </a:lnTo>
                  <a:lnTo>
                    <a:pt x="45" y="263"/>
                  </a:lnTo>
                  <a:lnTo>
                    <a:pt x="42" y="262"/>
                  </a:lnTo>
                  <a:lnTo>
                    <a:pt x="37" y="261"/>
                  </a:lnTo>
                  <a:lnTo>
                    <a:pt x="39" y="259"/>
                  </a:lnTo>
                  <a:lnTo>
                    <a:pt x="40" y="257"/>
                  </a:lnTo>
                  <a:lnTo>
                    <a:pt x="41" y="256"/>
                  </a:lnTo>
                  <a:lnTo>
                    <a:pt x="42" y="255"/>
                  </a:lnTo>
                  <a:lnTo>
                    <a:pt x="44" y="256"/>
                  </a:lnTo>
                  <a:lnTo>
                    <a:pt x="46" y="256"/>
                  </a:lnTo>
                  <a:lnTo>
                    <a:pt x="47" y="256"/>
                  </a:lnTo>
                  <a:lnTo>
                    <a:pt x="48" y="254"/>
                  </a:lnTo>
                  <a:lnTo>
                    <a:pt x="49" y="255"/>
                  </a:lnTo>
                  <a:lnTo>
                    <a:pt x="49" y="255"/>
                  </a:lnTo>
                  <a:lnTo>
                    <a:pt x="49" y="255"/>
                  </a:lnTo>
                  <a:lnTo>
                    <a:pt x="50" y="255"/>
                  </a:lnTo>
                  <a:lnTo>
                    <a:pt x="47" y="260"/>
                  </a:lnTo>
                  <a:lnTo>
                    <a:pt x="50" y="263"/>
                  </a:lnTo>
                  <a:lnTo>
                    <a:pt x="68" y="265"/>
                  </a:lnTo>
                  <a:lnTo>
                    <a:pt x="71" y="267"/>
                  </a:lnTo>
                  <a:lnTo>
                    <a:pt x="74" y="272"/>
                  </a:lnTo>
                  <a:lnTo>
                    <a:pt x="72" y="273"/>
                  </a:lnTo>
                  <a:lnTo>
                    <a:pt x="71" y="275"/>
                  </a:lnTo>
                  <a:lnTo>
                    <a:pt x="70" y="275"/>
                  </a:lnTo>
                  <a:lnTo>
                    <a:pt x="71" y="277"/>
                  </a:lnTo>
                  <a:lnTo>
                    <a:pt x="72" y="278"/>
                  </a:lnTo>
                  <a:lnTo>
                    <a:pt x="73" y="279"/>
                  </a:lnTo>
                  <a:lnTo>
                    <a:pt x="75" y="279"/>
                  </a:lnTo>
                  <a:lnTo>
                    <a:pt x="74" y="277"/>
                  </a:lnTo>
                  <a:lnTo>
                    <a:pt x="77" y="274"/>
                  </a:lnTo>
                  <a:lnTo>
                    <a:pt x="79" y="271"/>
                  </a:lnTo>
                  <a:lnTo>
                    <a:pt x="79" y="268"/>
                  </a:lnTo>
                  <a:lnTo>
                    <a:pt x="80" y="268"/>
                  </a:lnTo>
                  <a:lnTo>
                    <a:pt x="80" y="273"/>
                  </a:lnTo>
                  <a:lnTo>
                    <a:pt x="78" y="278"/>
                  </a:lnTo>
                  <a:lnTo>
                    <a:pt x="78" y="283"/>
                  </a:lnTo>
                  <a:lnTo>
                    <a:pt x="79" y="290"/>
                  </a:lnTo>
                  <a:lnTo>
                    <a:pt x="76" y="290"/>
                  </a:lnTo>
                  <a:lnTo>
                    <a:pt x="75" y="291"/>
                  </a:lnTo>
                  <a:lnTo>
                    <a:pt x="73" y="292"/>
                  </a:lnTo>
                  <a:lnTo>
                    <a:pt x="71" y="290"/>
                  </a:lnTo>
                  <a:lnTo>
                    <a:pt x="67" y="302"/>
                  </a:lnTo>
                  <a:lnTo>
                    <a:pt x="66" y="308"/>
                  </a:lnTo>
                  <a:lnTo>
                    <a:pt x="71" y="319"/>
                  </a:lnTo>
                  <a:lnTo>
                    <a:pt x="73" y="320"/>
                  </a:lnTo>
                  <a:lnTo>
                    <a:pt x="77" y="321"/>
                  </a:lnTo>
                  <a:lnTo>
                    <a:pt x="79" y="321"/>
                  </a:lnTo>
                  <a:lnTo>
                    <a:pt x="79" y="323"/>
                  </a:lnTo>
                  <a:lnTo>
                    <a:pt x="79" y="324"/>
                  </a:lnTo>
                  <a:lnTo>
                    <a:pt x="79" y="325"/>
                  </a:lnTo>
                  <a:lnTo>
                    <a:pt x="77" y="327"/>
                  </a:lnTo>
                  <a:lnTo>
                    <a:pt x="75" y="328"/>
                  </a:lnTo>
                  <a:lnTo>
                    <a:pt x="75" y="331"/>
                  </a:lnTo>
                  <a:lnTo>
                    <a:pt x="75" y="335"/>
                  </a:lnTo>
                  <a:lnTo>
                    <a:pt x="74" y="336"/>
                  </a:lnTo>
                  <a:lnTo>
                    <a:pt x="72" y="334"/>
                  </a:lnTo>
                  <a:lnTo>
                    <a:pt x="67" y="324"/>
                  </a:lnTo>
                  <a:lnTo>
                    <a:pt x="64" y="320"/>
                  </a:lnTo>
                  <a:lnTo>
                    <a:pt x="61" y="318"/>
                  </a:lnTo>
                  <a:lnTo>
                    <a:pt x="53" y="315"/>
                  </a:lnTo>
                  <a:lnTo>
                    <a:pt x="46" y="314"/>
                  </a:lnTo>
                  <a:lnTo>
                    <a:pt x="44" y="312"/>
                  </a:lnTo>
                  <a:lnTo>
                    <a:pt x="41" y="309"/>
                  </a:lnTo>
                  <a:lnTo>
                    <a:pt x="36" y="306"/>
                  </a:lnTo>
                  <a:lnTo>
                    <a:pt x="34" y="305"/>
                  </a:lnTo>
                  <a:lnTo>
                    <a:pt x="32" y="299"/>
                  </a:lnTo>
                  <a:lnTo>
                    <a:pt x="30" y="298"/>
                  </a:lnTo>
                  <a:lnTo>
                    <a:pt x="28" y="297"/>
                  </a:lnTo>
                  <a:lnTo>
                    <a:pt x="26" y="296"/>
                  </a:lnTo>
                  <a:lnTo>
                    <a:pt x="26" y="298"/>
                  </a:lnTo>
                  <a:lnTo>
                    <a:pt x="27" y="299"/>
                  </a:lnTo>
                  <a:lnTo>
                    <a:pt x="28" y="299"/>
                  </a:lnTo>
                  <a:lnTo>
                    <a:pt x="27" y="300"/>
                  </a:lnTo>
                  <a:lnTo>
                    <a:pt x="26" y="301"/>
                  </a:lnTo>
                  <a:lnTo>
                    <a:pt x="28" y="303"/>
                  </a:lnTo>
                  <a:lnTo>
                    <a:pt x="28" y="305"/>
                  </a:lnTo>
                  <a:lnTo>
                    <a:pt x="26" y="307"/>
                  </a:lnTo>
                  <a:lnTo>
                    <a:pt x="23" y="309"/>
                  </a:lnTo>
                  <a:lnTo>
                    <a:pt x="22" y="309"/>
                  </a:lnTo>
                  <a:lnTo>
                    <a:pt x="22" y="309"/>
                  </a:lnTo>
                  <a:lnTo>
                    <a:pt x="22" y="309"/>
                  </a:lnTo>
                  <a:lnTo>
                    <a:pt x="22" y="316"/>
                  </a:lnTo>
                  <a:lnTo>
                    <a:pt x="21" y="320"/>
                  </a:lnTo>
                  <a:lnTo>
                    <a:pt x="24" y="326"/>
                  </a:lnTo>
                  <a:lnTo>
                    <a:pt x="27" y="336"/>
                  </a:lnTo>
                  <a:lnTo>
                    <a:pt x="27" y="339"/>
                  </a:lnTo>
                  <a:lnTo>
                    <a:pt x="27" y="348"/>
                  </a:lnTo>
                  <a:lnTo>
                    <a:pt x="27" y="354"/>
                  </a:lnTo>
                  <a:lnTo>
                    <a:pt x="28" y="360"/>
                  </a:lnTo>
                  <a:lnTo>
                    <a:pt x="32" y="366"/>
                  </a:lnTo>
                  <a:lnTo>
                    <a:pt x="34" y="371"/>
                  </a:lnTo>
                  <a:lnTo>
                    <a:pt x="37" y="377"/>
                  </a:lnTo>
                  <a:lnTo>
                    <a:pt x="39" y="391"/>
                  </a:lnTo>
                  <a:lnTo>
                    <a:pt x="42" y="406"/>
                  </a:lnTo>
                  <a:lnTo>
                    <a:pt x="43" y="411"/>
                  </a:lnTo>
                  <a:lnTo>
                    <a:pt x="43" y="413"/>
                  </a:lnTo>
                  <a:lnTo>
                    <a:pt x="43" y="418"/>
                  </a:lnTo>
                  <a:lnTo>
                    <a:pt x="44" y="421"/>
                  </a:lnTo>
                  <a:lnTo>
                    <a:pt x="45" y="422"/>
                  </a:lnTo>
                  <a:lnTo>
                    <a:pt x="47" y="425"/>
                  </a:lnTo>
                  <a:lnTo>
                    <a:pt x="48" y="426"/>
                  </a:lnTo>
                  <a:lnTo>
                    <a:pt x="50" y="428"/>
                  </a:lnTo>
                  <a:lnTo>
                    <a:pt x="46" y="436"/>
                  </a:lnTo>
                  <a:lnTo>
                    <a:pt x="45" y="438"/>
                  </a:lnTo>
                  <a:lnTo>
                    <a:pt x="43" y="439"/>
                  </a:lnTo>
                  <a:lnTo>
                    <a:pt x="41" y="441"/>
                  </a:lnTo>
                  <a:lnTo>
                    <a:pt x="40" y="444"/>
                  </a:lnTo>
                  <a:lnTo>
                    <a:pt x="40" y="448"/>
                  </a:lnTo>
                  <a:lnTo>
                    <a:pt x="41" y="452"/>
                  </a:lnTo>
                  <a:lnTo>
                    <a:pt x="41" y="456"/>
                  </a:lnTo>
                  <a:lnTo>
                    <a:pt x="42" y="460"/>
                  </a:lnTo>
                  <a:lnTo>
                    <a:pt x="37" y="475"/>
                  </a:lnTo>
                  <a:lnTo>
                    <a:pt x="36" y="477"/>
                  </a:lnTo>
                  <a:lnTo>
                    <a:pt x="34" y="482"/>
                  </a:lnTo>
                  <a:lnTo>
                    <a:pt x="30" y="487"/>
                  </a:lnTo>
                  <a:lnTo>
                    <a:pt x="20" y="494"/>
                  </a:lnTo>
                  <a:lnTo>
                    <a:pt x="11" y="499"/>
                  </a:lnTo>
                  <a:lnTo>
                    <a:pt x="3" y="505"/>
                  </a:lnTo>
                  <a:lnTo>
                    <a:pt x="3" y="507"/>
                  </a:lnTo>
                  <a:lnTo>
                    <a:pt x="4" y="509"/>
                  </a:lnTo>
                  <a:lnTo>
                    <a:pt x="6" y="519"/>
                  </a:lnTo>
                  <a:lnTo>
                    <a:pt x="6" y="522"/>
                  </a:lnTo>
                  <a:lnTo>
                    <a:pt x="6" y="527"/>
                  </a:lnTo>
                  <a:lnTo>
                    <a:pt x="4" y="530"/>
                  </a:lnTo>
                  <a:lnTo>
                    <a:pt x="0" y="534"/>
                  </a:lnTo>
                  <a:lnTo>
                    <a:pt x="2" y="537"/>
                  </a:lnTo>
                  <a:lnTo>
                    <a:pt x="4" y="539"/>
                  </a:lnTo>
                  <a:lnTo>
                    <a:pt x="7" y="541"/>
                  </a:lnTo>
                  <a:lnTo>
                    <a:pt x="11" y="541"/>
                  </a:lnTo>
                  <a:lnTo>
                    <a:pt x="14" y="542"/>
                  </a:lnTo>
                  <a:lnTo>
                    <a:pt x="19" y="549"/>
                  </a:lnTo>
                  <a:lnTo>
                    <a:pt x="24" y="551"/>
                  </a:lnTo>
                  <a:lnTo>
                    <a:pt x="41" y="563"/>
                  </a:lnTo>
                  <a:lnTo>
                    <a:pt x="43" y="566"/>
                  </a:lnTo>
                  <a:lnTo>
                    <a:pt x="48" y="577"/>
                  </a:lnTo>
                  <a:lnTo>
                    <a:pt x="50" y="578"/>
                  </a:lnTo>
                  <a:lnTo>
                    <a:pt x="53" y="580"/>
                  </a:lnTo>
                  <a:lnTo>
                    <a:pt x="58" y="586"/>
                  </a:lnTo>
                  <a:lnTo>
                    <a:pt x="67" y="590"/>
                  </a:lnTo>
                  <a:lnTo>
                    <a:pt x="76" y="600"/>
                  </a:lnTo>
                  <a:lnTo>
                    <a:pt x="77" y="601"/>
                  </a:lnTo>
                  <a:lnTo>
                    <a:pt x="82" y="605"/>
                  </a:lnTo>
                  <a:lnTo>
                    <a:pt x="78" y="615"/>
                  </a:lnTo>
                  <a:lnTo>
                    <a:pt x="77" y="621"/>
                  </a:lnTo>
                  <a:lnTo>
                    <a:pt x="80" y="623"/>
                  </a:lnTo>
                  <a:lnTo>
                    <a:pt x="80" y="626"/>
                  </a:lnTo>
                  <a:lnTo>
                    <a:pt x="78" y="632"/>
                  </a:lnTo>
                  <a:lnTo>
                    <a:pt x="74" y="638"/>
                  </a:lnTo>
                  <a:lnTo>
                    <a:pt x="65" y="646"/>
                  </a:lnTo>
                  <a:lnTo>
                    <a:pt x="66" y="656"/>
                  </a:lnTo>
                  <a:lnTo>
                    <a:pt x="70" y="667"/>
                  </a:lnTo>
                  <a:lnTo>
                    <a:pt x="74" y="675"/>
                  </a:lnTo>
                  <a:lnTo>
                    <a:pt x="73" y="680"/>
                  </a:lnTo>
                  <a:lnTo>
                    <a:pt x="76" y="683"/>
                  </a:lnTo>
                  <a:lnTo>
                    <a:pt x="81" y="686"/>
                  </a:lnTo>
                  <a:lnTo>
                    <a:pt x="86" y="687"/>
                  </a:lnTo>
                  <a:lnTo>
                    <a:pt x="90" y="689"/>
                  </a:lnTo>
                  <a:lnTo>
                    <a:pt x="93" y="694"/>
                  </a:lnTo>
                  <a:lnTo>
                    <a:pt x="93" y="699"/>
                  </a:lnTo>
                  <a:lnTo>
                    <a:pt x="90" y="703"/>
                  </a:lnTo>
                  <a:lnTo>
                    <a:pt x="90" y="705"/>
                  </a:lnTo>
                  <a:lnTo>
                    <a:pt x="92" y="708"/>
                  </a:lnTo>
                  <a:lnTo>
                    <a:pt x="91" y="712"/>
                  </a:lnTo>
                  <a:lnTo>
                    <a:pt x="90" y="717"/>
                  </a:lnTo>
                  <a:lnTo>
                    <a:pt x="89" y="723"/>
                  </a:lnTo>
                  <a:lnTo>
                    <a:pt x="90" y="727"/>
                  </a:lnTo>
                  <a:lnTo>
                    <a:pt x="101" y="735"/>
                  </a:lnTo>
                  <a:lnTo>
                    <a:pt x="98" y="739"/>
                  </a:lnTo>
                  <a:lnTo>
                    <a:pt x="97" y="741"/>
                  </a:lnTo>
                  <a:lnTo>
                    <a:pt x="96" y="743"/>
                  </a:lnTo>
                  <a:lnTo>
                    <a:pt x="96" y="745"/>
                  </a:lnTo>
                  <a:lnTo>
                    <a:pt x="95" y="748"/>
                  </a:lnTo>
                  <a:lnTo>
                    <a:pt x="92" y="754"/>
                  </a:lnTo>
                  <a:lnTo>
                    <a:pt x="91" y="756"/>
                  </a:lnTo>
                  <a:lnTo>
                    <a:pt x="90" y="772"/>
                  </a:lnTo>
                  <a:lnTo>
                    <a:pt x="89" y="777"/>
                  </a:lnTo>
                  <a:lnTo>
                    <a:pt x="86" y="782"/>
                  </a:lnTo>
                  <a:lnTo>
                    <a:pt x="84" y="786"/>
                  </a:lnTo>
                  <a:lnTo>
                    <a:pt x="75" y="795"/>
                  </a:lnTo>
                  <a:lnTo>
                    <a:pt x="72" y="799"/>
                  </a:lnTo>
                  <a:lnTo>
                    <a:pt x="73" y="805"/>
                  </a:lnTo>
                  <a:lnTo>
                    <a:pt x="75" y="809"/>
                  </a:lnTo>
                  <a:lnTo>
                    <a:pt x="78" y="811"/>
                  </a:lnTo>
                  <a:lnTo>
                    <a:pt x="80" y="814"/>
                  </a:lnTo>
                  <a:lnTo>
                    <a:pt x="81" y="821"/>
                  </a:lnTo>
                  <a:lnTo>
                    <a:pt x="83" y="827"/>
                  </a:lnTo>
                  <a:lnTo>
                    <a:pt x="86" y="831"/>
                  </a:lnTo>
                  <a:lnTo>
                    <a:pt x="94" y="838"/>
                  </a:lnTo>
                  <a:lnTo>
                    <a:pt x="96" y="842"/>
                  </a:lnTo>
                  <a:lnTo>
                    <a:pt x="98" y="849"/>
                  </a:lnTo>
                  <a:lnTo>
                    <a:pt x="98" y="855"/>
                  </a:lnTo>
                  <a:lnTo>
                    <a:pt x="96" y="860"/>
                  </a:lnTo>
                  <a:lnTo>
                    <a:pt x="93" y="865"/>
                  </a:lnTo>
                  <a:lnTo>
                    <a:pt x="92" y="870"/>
                  </a:lnTo>
                  <a:lnTo>
                    <a:pt x="92" y="872"/>
                  </a:lnTo>
                  <a:lnTo>
                    <a:pt x="93" y="875"/>
                  </a:lnTo>
                  <a:lnTo>
                    <a:pt x="96" y="878"/>
                  </a:lnTo>
                  <a:lnTo>
                    <a:pt x="106" y="882"/>
                  </a:lnTo>
                  <a:lnTo>
                    <a:pt x="110" y="884"/>
                  </a:lnTo>
                  <a:lnTo>
                    <a:pt x="110" y="884"/>
                  </a:lnTo>
                  <a:lnTo>
                    <a:pt x="114" y="886"/>
                  </a:lnTo>
                  <a:lnTo>
                    <a:pt x="121" y="889"/>
                  </a:lnTo>
                  <a:lnTo>
                    <a:pt x="124" y="890"/>
                  </a:lnTo>
                  <a:lnTo>
                    <a:pt x="127" y="892"/>
                  </a:lnTo>
                  <a:lnTo>
                    <a:pt x="130" y="895"/>
                  </a:lnTo>
                  <a:lnTo>
                    <a:pt x="132" y="899"/>
                  </a:lnTo>
                  <a:lnTo>
                    <a:pt x="130" y="902"/>
                  </a:lnTo>
                  <a:lnTo>
                    <a:pt x="131" y="909"/>
                  </a:lnTo>
                  <a:lnTo>
                    <a:pt x="132" y="920"/>
                  </a:lnTo>
                  <a:lnTo>
                    <a:pt x="132" y="920"/>
                  </a:lnTo>
                  <a:lnTo>
                    <a:pt x="133" y="924"/>
                  </a:lnTo>
                  <a:lnTo>
                    <a:pt x="133" y="926"/>
                  </a:lnTo>
                  <a:lnTo>
                    <a:pt x="136" y="931"/>
                  </a:lnTo>
                  <a:lnTo>
                    <a:pt x="139" y="935"/>
                  </a:lnTo>
                  <a:lnTo>
                    <a:pt x="142" y="940"/>
                  </a:lnTo>
                  <a:lnTo>
                    <a:pt x="141" y="948"/>
                  </a:lnTo>
                  <a:lnTo>
                    <a:pt x="141" y="949"/>
                  </a:lnTo>
                  <a:lnTo>
                    <a:pt x="142" y="949"/>
                  </a:lnTo>
                  <a:lnTo>
                    <a:pt x="139" y="954"/>
                  </a:lnTo>
                  <a:lnTo>
                    <a:pt x="137" y="961"/>
                  </a:lnTo>
                  <a:lnTo>
                    <a:pt x="136" y="968"/>
                  </a:lnTo>
                  <a:lnTo>
                    <a:pt x="136" y="975"/>
                  </a:lnTo>
                  <a:lnTo>
                    <a:pt x="135" y="978"/>
                  </a:lnTo>
                  <a:lnTo>
                    <a:pt x="134" y="980"/>
                  </a:lnTo>
                  <a:lnTo>
                    <a:pt x="133" y="981"/>
                  </a:lnTo>
                  <a:lnTo>
                    <a:pt x="132" y="983"/>
                  </a:lnTo>
                  <a:lnTo>
                    <a:pt x="132" y="985"/>
                  </a:lnTo>
                  <a:lnTo>
                    <a:pt x="132" y="990"/>
                  </a:lnTo>
                  <a:lnTo>
                    <a:pt x="132" y="993"/>
                  </a:lnTo>
                  <a:lnTo>
                    <a:pt x="124" y="1011"/>
                  </a:lnTo>
                  <a:lnTo>
                    <a:pt x="116" y="1030"/>
                  </a:lnTo>
                  <a:lnTo>
                    <a:pt x="111" y="1036"/>
                  </a:lnTo>
                  <a:lnTo>
                    <a:pt x="109" y="1040"/>
                  </a:lnTo>
                  <a:lnTo>
                    <a:pt x="109" y="1044"/>
                  </a:lnTo>
                  <a:lnTo>
                    <a:pt x="112" y="1045"/>
                  </a:lnTo>
                  <a:lnTo>
                    <a:pt x="118" y="1043"/>
                  </a:lnTo>
                  <a:lnTo>
                    <a:pt x="136" y="1044"/>
                  </a:lnTo>
                  <a:lnTo>
                    <a:pt x="136" y="1042"/>
                  </a:lnTo>
                  <a:lnTo>
                    <a:pt x="136" y="1033"/>
                  </a:lnTo>
                  <a:lnTo>
                    <a:pt x="136" y="1033"/>
                  </a:lnTo>
                  <a:lnTo>
                    <a:pt x="136" y="1032"/>
                  </a:lnTo>
                  <a:lnTo>
                    <a:pt x="136" y="1030"/>
                  </a:lnTo>
                  <a:lnTo>
                    <a:pt x="136" y="1029"/>
                  </a:lnTo>
                  <a:lnTo>
                    <a:pt x="138" y="1028"/>
                  </a:lnTo>
                  <a:lnTo>
                    <a:pt x="138" y="1027"/>
                  </a:lnTo>
                  <a:lnTo>
                    <a:pt x="138" y="1019"/>
                  </a:lnTo>
                  <a:lnTo>
                    <a:pt x="136" y="1016"/>
                  </a:lnTo>
                  <a:lnTo>
                    <a:pt x="133" y="1013"/>
                  </a:lnTo>
                  <a:lnTo>
                    <a:pt x="133" y="1011"/>
                  </a:lnTo>
                  <a:lnTo>
                    <a:pt x="133" y="1011"/>
                  </a:lnTo>
                  <a:lnTo>
                    <a:pt x="133" y="1010"/>
                  </a:lnTo>
                  <a:lnTo>
                    <a:pt x="134" y="1009"/>
                  </a:lnTo>
                  <a:lnTo>
                    <a:pt x="135" y="1009"/>
                  </a:lnTo>
                  <a:lnTo>
                    <a:pt x="136" y="1008"/>
                  </a:lnTo>
                  <a:lnTo>
                    <a:pt x="138" y="1007"/>
                  </a:lnTo>
                  <a:lnTo>
                    <a:pt x="139" y="1006"/>
                  </a:lnTo>
                  <a:lnTo>
                    <a:pt x="139" y="1004"/>
                  </a:lnTo>
                  <a:lnTo>
                    <a:pt x="142" y="1007"/>
                  </a:lnTo>
                  <a:lnTo>
                    <a:pt x="150" y="1008"/>
                  </a:lnTo>
                  <a:lnTo>
                    <a:pt x="152" y="1011"/>
                  </a:lnTo>
                  <a:lnTo>
                    <a:pt x="153" y="1013"/>
                  </a:lnTo>
                  <a:lnTo>
                    <a:pt x="156" y="1014"/>
                  </a:lnTo>
                  <a:lnTo>
                    <a:pt x="158" y="1013"/>
                  </a:lnTo>
                  <a:lnTo>
                    <a:pt x="158" y="1011"/>
                  </a:lnTo>
                  <a:lnTo>
                    <a:pt x="158" y="1011"/>
                  </a:lnTo>
                  <a:lnTo>
                    <a:pt x="159" y="1008"/>
                  </a:lnTo>
                  <a:lnTo>
                    <a:pt x="162" y="1006"/>
                  </a:lnTo>
                  <a:lnTo>
                    <a:pt x="163" y="1007"/>
                  </a:lnTo>
                  <a:lnTo>
                    <a:pt x="164" y="1011"/>
                  </a:lnTo>
                  <a:lnTo>
                    <a:pt x="166" y="1014"/>
                  </a:lnTo>
                  <a:lnTo>
                    <a:pt x="175" y="1015"/>
                  </a:lnTo>
                  <a:lnTo>
                    <a:pt x="179" y="1017"/>
                  </a:lnTo>
                  <a:lnTo>
                    <a:pt x="182" y="1021"/>
                  </a:lnTo>
                  <a:lnTo>
                    <a:pt x="181" y="1023"/>
                  </a:lnTo>
                  <a:lnTo>
                    <a:pt x="180" y="1026"/>
                  </a:lnTo>
                  <a:lnTo>
                    <a:pt x="179" y="1031"/>
                  </a:lnTo>
                  <a:lnTo>
                    <a:pt x="179" y="1034"/>
                  </a:lnTo>
                  <a:lnTo>
                    <a:pt x="181" y="1038"/>
                  </a:lnTo>
                  <a:lnTo>
                    <a:pt x="183" y="1042"/>
                  </a:lnTo>
                  <a:lnTo>
                    <a:pt x="184" y="1045"/>
                  </a:lnTo>
                  <a:lnTo>
                    <a:pt x="188" y="1048"/>
                  </a:lnTo>
                  <a:lnTo>
                    <a:pt x="190" y="1049"/>
                  </a:lnTo>
                  <a:lnTo>
                    <a:pt x="193" y="1051"/>
                  </a:lnTo>
                  <a:lnTo>
                    <a:pt x="195" y="1056"/>
                  </a:lnTo>
                  <a:lnTo>
                    <a:pt x="195" y="1058"/>
                  </a:lnTo>
                  <a:lnTo>
                    <a:pt x="194" y="1061"/>
                  </a:lnTo>
                  <a:lnTo>
                    <a:pt x="194" y="1063"/>
                  </a:lnTo>
                  <a:lnTo>
                    <a:pt x="195" y="1065"/>
                  </a:lnTo>
                  <a:lnTo>
                    <a:pt x="197" y="1066"/>
                  </a:lnTo>
                  <a:lnTo>
                    <a:pt x="197" y="1066"/>
                  </a:lnTo>
                  <a:lnTo>
                    <a:pt x="199" y="1064"/>
                  </a:lnTo>
                  <a:lnTo>
                    <a:pt x="201" y="1062"/>
                  </a:lnTo>
                  <a:lnTo>
                    <a:pt x="202" y="1060"/>
                  </a:lnTo>
                  <a:lnTo>
                    <a:pt x="209" y="1059"/>
                  </a:lnTo>
                  <a:lnTo>
                    <a:pt x="241" y="1070"/>
                  </a:lnTo>
                  <a:lnTo>
                    <a:pt x="242" y="1072"/>
                  </a:lnTo>
                  <a:lnTo>
                    <a:pt x="244" y="1075"/>
                  </a:lnTo>
                  <a:lnTo>
                    <a:pt x="246" y="1076"/>
                  </a:lnTo>
                  <a:lnTo>
                    <a:pt x="247" y="1076"/>
                  </a:lnTo>
                  <a:lnTo>
                    <a:pt x="261" y="1073"/>
                  </a:lnTo>
                  <a:lnTo>
                    <a:pt x="264" y="1073"/>
                  </a:lnTo>
                  <a:lnTo>
                    <a:pt x="265" y="1075"/>
                  </a:lnTo>
                  <a:lnTo>
                    <a:pt x="265" y="1077"/>
                  </a:lnTo>
                  <a:lnTo>
                    <a:pt x="273" y="1090"/>
                  </a:lnTo>
                  <a:lnTo>
                    <a:pt x="274" y="1091"/>
                  </a:lnTo>
                  <a:lnTo>
                    <a:pt x="279" y="1091"/>
                  </a:lnTo>
                  <a:lnTo>
                    <a:pt x="288" y="1087"/>
                  </a:lnTo>
                  <a:lnTo>
                    <a:pt x="291" y="1087"/>
                  </a:lnTo>
                  <a:lnTo>
                    <a:pt x="293" y="1090"/>
                  </a:lnTo>
                  <a:lnTo>
                    <a:pt x="295" y="1093"/>
                  </a:lnTo>
                  <a:lnTo>
                    <a:pt x="296" y="1097"/>
                  </a:lnTo>
                  <a:lnTo>
                    <a:pt x="297" y="1100"/>
                  </a:lnTo>
                  <a:lnTo>
                    <a:pt x="297" y="1103"/>
                  </a:lnTo>
                  <a:lnTo>
                    <a:pt x="295" y="1105"/>
                  </a:lnTo>
                  <a:lnTo>
                    <a:pt x="294" y="1106"/>
                  </a:lnTo>
                  <a:lnTo>
                    <a:pt x="294" y="1107"/>
                  </a:lnTo>
                  <a:lnTo>
                    <a:pt x="294" y="1107"/>
                  </a:lnTo>
                  <a:lnTo>
                    <a:pt x="295" y="1108"/>
                  </a:lnTo>
                  <a:lnTo>
                    <a:pt x="301" y="1107"/>
                  </a:lnTo>
                  <a:lnTo>
                    <a:pt x="311" y="1097"/>
                  </a:lnTo>
                  <a:lnTo>
                    <a:pt x="318" y="1098"/>
                  </a:lnTo>
                  <a:lnTo>
                    <a:pt x="323" y="1102"/>
                  </a:lnTo>
                  <a:lnTo>
                    <a:pt x="325" y="1103"/>
                  </a:lnTo>
                  <a:lnTo>
                    <a:pt x="328" y="1102"/>
                  </a:lnTo>
                  <a:lnTo>
                    <a:pt x="330" y="1100"/>
                  </a:lnTo>
                  <a:lnTo>
                    <a:pt x="331" y="1097"/>
                  </a:lnTo>
                  <a:lnTo>
                    <a:pt x="332" y="1094"/>
                  </a:lnTo>
                  <a:lnTo>
                    <a:pt x="334" y="1094"/>
                  </a:lnTo>
                  <a:lnTo>
                    <a:pt x="340" y="1094"/>
                  </a:lnTo>
                  <a:lnTo>
                    <a:pt x="345" y="1095"/>
                  </a:lnTo>
                  <a:lnTo>
                    <a:pt x="350" y="1098"/>
                  </a:lnTo>
                  <a:lnTo>
                    <a:pt x="363" y="1112"/>
                  </a:lnTo>
                  <a:lnTo>
                    <a:pt x="365" y="1117"/>
                  </a:lnTo>
                  <a:lnTo>
                    <a:pt x="360" y="1119"/>
                  </a:lnTo>
                  <a:lnTo>
                    <a:pt x="361" y="1121"/>
                  </a:lnTo>
                  <a:lnTo>
                    <a:pt x="361" y="1122"/>
                  </a:lnTo>
                  <a:lnTo>
                    <a:pt x="360" y="1123"/>
                  </a:lnTo>
                  <a:lnTo>
                    <a:pt x="359" y="1124"/>
                  </a:lnTo>
                  <a:lnTo>
                    <a:pt x="359" y="1125"/>
                  </a:lnTo>
                  <a:lnTo>
                    <a:pt x="359" y="1127"/>
                  </a:lnTo>
                  <a:lnTo>
                    <a:pt x="359" y="1129"/>
                  </a:lnTo>
                  <a:lnTo>
                    <a:pt x="359" y="1129"/>
                  </a:lnTo>
                  <a:lnTo>
                    <a:pt x="358" y="1130"/>
                  </a:lnTo>
                  <a:lnTo>
                    <a:pt x="355" y="1134"/>
                  </a:lnTo>
                  <a:lnTo>
                    <a:pt x="353" y="1136"/>
                  </a:lnTo>
                  <a:lnTo>
                    <a:pt x="351" y="1136"/>
                  </a:lnTo>
                  <a:lnTo>
                    <a:pt x="345" y="1135"/>
                  </a:lnTo>
                  <a:lnTo>
                    <a:pt x="343" y="1136"/>
                  </a:lnTo>
                  <a:lnTo>
                    <a:pt x="342" y="1139"/>
                  </a:lnTo>
                  <a:lnTo>
                    <a:pt x="339" y="1141"/>
                  </a:lnTo>
                  <a:lnTo>
                    <a:pt x="337" y="1143"/>
                  </a:lnTo>
                  <a:lnTo>
                    <a:pt x="334" y="1145"/>
                  </a:lnTo>
                  <a:lnTo>
                    <a:pt x="333" y="1145"/>
                  </a:lnTo>
                  <a:lnTo>
                    <a:pt x="332" y="1146"/>
                  </a:lnTo>
                  <a:lnTo>
                    <a:pt x="331" y="1146"/>
                  </a:lnTo>
                  <a:lnTo>
                    <a:pt x="332" y="1149"/>
                  </a:lnTo>
                  <a:lnTo>
                    <a:pt x="332" y="1150"/>
                  </a:lnTo>
                  <a:lnTo>
                    <a:pt x="329" y="1149"/>
                  </a:lnTo>
                  <a:lnTo>
                    <a:pt x="328" y="1153"/>
                  </a:lnTo>
                  <a:lnTo>
                    <a:pt x="329" y="1157"/>
                  </a:lnTo>
                  <a:lnTo>
                    <a:pt x="334" y="1158"/>
                  </a:lnTo>
                  <a:lnTo>
                    <a:pt x="336" y="1165"/>
                  </a:lnTo>
                  <a:lnTo>
                    <a:pt x="337" y="1166"/>
                  </a:lnTo>
                  <a:lnTo>
                    <a:pt x="339" y="1168"/>
                  </a:lnTo>
                  <a:lnTo>
                    <a:pt x="340" y="1167"/>
                  </a:lnTo>
                  <a:lnTo>
                    <a:pt x="341" y="1166"/>
                  </a:lnTo>
                  <a:lnTo>
                    <a:pt x="343" y="1166"/>
                  </a:lnTo>
                  <a:lnTo>
                    <a:pt x="350" y="1166"/>
                  </a:lnTo>
                  <a:lnTo>
                    <a:pt x="352" y="1166"/>
                  </a:lnTo>
                  <a:lnTo>
                    <a:pt x="353" y="1169"/>
                  </a:lnTo>
                  <a:lnTo>
                    <a:pt x="353" y="1171"/>
                  </a:lnTo>
                  <a:lnTo>
                    <a:pt x="353" y="1173"/>
                  </a:lnTo>
                  <a:lnTo>
                    <a:pt x="354" y="1175"/>
                  </a:lnTo>
                  <a:lnTo>
                    <a:pt x="356" y="1179"/>
                  </a:lnTo>
                  <a:lnTo>
                    <a:pt x="363" y="1182"/>
                  </a:lnTo>
                  <a:lnTo>
                    <a:pt x="367" y="1184"/>
                  </a:lnTo>
                  <a:lnTo>
                    <a:pt x="369" y="1187"/>
                  </a:lnTo>
                  <a:lnTo>
                    <a:pt x="373" y="1195"/>
                  </a:lnTo>
                  <a:lnTo>
                    <a:pt x="375" y="1198"/>
                  </a:lnTo>
                  <a:lnTo>
                    <a:pt x="378" y="1202"/>
                  </a:lnTo>
                  <a:lnTo>
                    <a:pt x="382" y="1207"/>
                  </a:lnTo>
                  <a:lnTo>
                    <a:pt x="384" y="1211"/>
                  </a:lnTo>
                  <a:lnTo>
                    <a:pt x="386" y="1220"/>
                  </a:lnTo>
                  <a:lnTo>
                    <a:pt x="387" y="1223"/>
                  </a:lnTo>
                  <a:lnTo>
                    <a:pt x="390" y="1226"/>
                  </a:lnTo>
                  <a:lnTo>
                    <a:pt x="396" y="1231"/>
                  </a:lnTo>
                  <a:lnTo>
                    <a:pt x="402" y="1235"/>
                  </a:lnTo>
                  <a:lnTo>
                    <a:pt x="409" y="1234"/>
                  </a:lnTo>
                  <a:lnTo>
                    <a:pt x="413" y="1228"/>
                  </a:lnTo>
                  <a:lnTo>
                    <a:pt x="417" y="1225"/>
                  </a:lnTo>
                  <a:lnTo>
                    <a:pt x="419" y="1223"/>
                  </a:lnTo>
                  <a:lnTo>
                    <a:pt x="421" y="1219"/>
                  </a:lnTo>
                  <a:lnTo>
                    <a:pt x="424" y="1215"/>
                  </a:lnTo>
                  <a:lnTo>
                    <a:pt x="427" y="1212"/>
                  </a:lnTo>
                  <a:lnTo>
                    <a:pt x="430" y="1211"/>
                  </a:lnTo>
                  <a:lnTo>
                    <a:pt x="433" y="1211"/>
                  </a:lnTo>
                  <a:lnTo>
                    <a:pt x="435" y="1211"/>
                  </a:lnTo>
                  <a:lnTo>
                    <a:pt x="437" y="1210"/>
                  </a:lnTo>
                  <a:lnTo>
                    <a:pt x="439" y="1209"/>
                  </a:lnTo>
                  <a:lnTo>
                    <a:pt x="441" y="1205"/>
                  </a:lnTo>
                  <a:lnTo>
                    <a:pt x="443" y="1204"/>
                  </a:lnTo>
                  <a:lnTo>
                    <a:pt x="445" y="1204"/>
                  </a:lnTo>
                  <a:lnTo>
                    <a:pt x="447" y="1205"/>
                  </a:lnTo>
                  <a:lnTo>
                    <a:pt x="449" y="1205"/>
                  </a:lnTo>
                  <a:lnTo>
                    <a:pt x="449" y="1204"/>
                  </a:lnTo>
                  <a:lnTo>
                    <a:pt x="449" y="1201"/>
                  </a:lnTo>
                  <a:lnTo>
                    <a:pt x="450" y="1200"/>
                  </a:lnTo>
                  <a:lnTo>
                    <a:pt x="452" y="1201"/>
                  </a:lnTo>
                  <a:lnTo>
                    <a:pt x="453" y="1201"/>
                  </a:lnTo>
                  <a:lnTo>
                    <a:pt x="454" y="1203"/>
                  </a:lnTo>
                  <a:lnTo>
                    <a:pt x="456" y="1205"/>
                  </a:lnTo>
                  <a:lnTo>
                    <a:pt x="457" y="1206"/>
                  </a:lnTo>
                  <a:lnTo>
                    <a:pt x="458" y="1204"/>
                  </a:lnTo>
                  <a:lnTo>
                    <a:pt x="458" y="1201"/>
                  </a:lnTo>
                  <a:lnTo>
                    <a:pt x="456" y="1198"/>
                  </a:lnTo>
                  <a:lnTo>
                    <a:pt x="456" y="1192"/>
                  </a:lnTo>
                  <a:lnTo>
                    <a:pt x="454" y="1187"/>
                  </a:lnTo>
                  <a:lnTo>
                    <a:pt x="451" y="1184"/>
                  </a:lnTo>
                  <a:lnTo>
                    <a:pt x="447" y="1182"/>
                  </a:lnTo>
                  <a:lnTo>
                    <a:pt x="444" y="1179"/>
                  </a:lnTo>
                  <a:lnTo>
                    <a:pt x="443" y="1174"/>
                  </a:lnTo>
                  <a:lnTo>
                    <a:pt x="442" y="1169"/>
                  </a:lnTo>
                  <a:lnTo>
                    <a:pt x="440" y="1164"/>
                  </a:lnTo>
                  <a:lnTo>
                    <a:pt x="435" y="1157"/>
                  </a:lnTo>
                  <a:lnTo>
                    <a:pt x="435" y="1153"/>
                  </a:lnTo>
                  <a:lnTo>
                    <a:pt x="439" y="1151"/>
                  </a:lnTo>
                  <a:lnTo>
                    <a:pt x="443" y="1151"/>
                  </a:lnTo>
                  <a:lnTo>
                    <a:pt x="447" y="1154"/>
                  </a:lnTo>
                  <a:lnTo>
                    <a:pt x="450" y="1155"/>
                  </a:lnTo>
                  <a:lnTo>
                    <a:pt x="453" y="1155"/>
                  </a:lnTo>
                  <a:lnTo>
                    <a:pt x="470" y="1160"/>
                  </a:lnTo>
                  <a:lnTo>
                    <a:pt x="471" y="1160"/>
                  </a:lnTo>
                  <a:lnTo>
                    <a:pt x="475" y="1164"/>
                  </a:lnTo>
                  <a:lnTo>
                    <a:pt x="477" y="1165"/>
                  </a:lnTo>
                  <a:lnTo>
                    <a:pt x="479" y="1165"/>
                  </a:lnTo>
                  <a:lnTo>
                    <a:pt x="484" y="1164"/>
                  </a:lnTo>
                  <a:lnTo>
                    <a:pt x="486" y="1164"/>
                  </a:lnTo>
                  <a:lnTo>
                    <a:pt x="486" y="1165"/>
                  </a:lnTo>
                  <a:lnTo>
                    <a:pt x="486" y="1168"/>
                  </a:lnTo>
                  <a:lnTo>
                    <a:pt x="487" y="1171"/>
                  </a:lnTo>
                  <a:lnTo>
                    <a:pt x="488" y="1173"/>
                  </a:lnTo>
                  <a:lnTo>
                    <a:pt x="490" y="1175"/>
                  </a:lnTo>
                  <a:lnTo>
                    <a:pt x="495" y="1178"/>
                  </a:lnTo>
                  <a:lnTo>
                    <a:pt x="499" y="1179"/>
                  </a:lnTo>
                  <a:lnTo>
                    <a:pt x="506" y="1179"/>
                  </a:lnTo>
                  <a:lnTo>
                    <a:pt x="510" y="1180"/>
                  </a:lnTo>
                  <a:lnTo>
                    <a:pt x="507" y="1182"/>
                  </a:lnTo>
                  <a:lnTo>
                    <a:pt x="507" y="1183"/>
                  </a:lnTo>
                  <a:lnTo>
                    <a:pt x="508" y="1184"/>
                  </a:lnTo>
                  <a:lnTo>
                    <a:pt x="508" y="1184"/>
                  </a:lnTo>
                  <a:lnTo>
                    <a:pt x="509" y="1185"/>
                  </a:lnTo>
                  <a:lnTo>
                    <a:pt x="509" y="1188"/>
                  </a:lnTo>
                  <a:lnTo>
                    <a:pt x="509" y="1191"/>
                  </a:lnTo>
                  <a:lnTo>
                    <a:pt x="510" y="1194"/>
                  </a:lnTo>
                  <a:lnTo>
                    <a:pt x="512" y="1195"/>
                  </a:lnTo>
                  <a:lnTo>
                    <a:pt x="514" y="1191"/>
                  </a:lnTo>
                  <a:lnTo>
                    <a:pt x="518" y="1190"/>
                  </a:lnTo>
                  <a:lnTo>
                    <a:pt x="521" y="1193"/>
                  </a:lnTo>
                  <a:lnTo>
                    <a:pt x="523" y="1198"/>
                  </a:lnTo>
                  <a:lnTo>
                    <a:pt x="523" y="1199"/>
                  </a:lnTo>
                  <a:lnTo>
                    <a:pt x="524" y="1199"/>
                  </a:lnTo>
                  <a:lnTo>
                    <a:pt x="525" y="1199"/>
                  </a:lnTo>
                  <a:lnTo>
                    <a:pt x="526" y="1198"/>
                  </a:lnTo>
                  <a:lnTo>
                    <a:pt x="530" y="1192"/>
                  </a:lnTo>
                  <a:lnTo>
                    <a:pt x="538" y="1192"/>
                  </a:lnTo>
                  <a:lnTo>
                    <a:pt x="552" y="1194"/>
                  </a:lnTo>
                  <a:lnTo>
                    <a:pt x="556" y="1193"/>
                  </a:lnTo>
                  <a:lnTo>
                    <a:pt x="559" y="1191"/>
                  </a:lnTo>
                  <a:lnTo>
                    <a:pt x="564" y="1184"/>
                  </a:lnTo>
                  <a:lnTo>
                    <a:pt x="564" y="1182"/>
                  </a:lnTo>
                  <a:lnTo>
                    <a:pt x="565" y="1181"/>
                  </a:lnTo>
                  <a:lnTo>
                    <a:pt x="566" y="1180"/>
                  </a:lnTo>
                  <a:lnTo>
                    <a:pt x="569" y="1181"/>
                  </a:lnTo>
                  <a:lnTo>
                    <a:pt x="569" y="1182"/>
                  </a:lnTo>
                  <a:lnTo>
                    <a:pt x="572" y="1186"/>
                  </a:lnTo>
                  <a:lnTo>
                    <a:pt x="573" y="1186"/>
                  </a:lnTo>
                  <a:lnTo>
                    <a:pt x="573" y="1187"/>
                  </a:lnTo>
                  <a:lnTo>
                    <a:pt x="573" y="1188"/>
                  </a:lnTo>
                  <a:lnTo>
                    <a:pt x="572" y="1189"/>
                  </a:lnTo>
                  <a:lnTo>
                    <a:pt x="571" y="1193"/>
                  </a:lnTo>
                  <a:lnTo>
                    <a:pt x="570" y="1195"/>
                  </a:lnTo>
                  <a:lnTo>
                    <a:pt x="571" y="1198"/>
                  </a:lnTo>
                  <a:lnTo>
                    <a:pt x="572" y="1199"/>
                  </a:lnTo>
                  <a:lnTo>
                    <a:pt x="575" y="1204"/>
                  </a:lnTo>
                  <a:lnTo>
                    <a:pt x="573" y="1208"/>
                  </a:lnTo>
                  <a:lnTo>
                    <a:pt x="570" y="1211"/>
                  </a:lnTo>
                  <a:lnTo>
                    <a:pt x="563" y="1215"/>
                  </a:lnTo>
                  <a:lnTo>
                    <a:pt x="559" y="1216"/>
                  </a:lnTo>
                  <a:lnTo>
                    <a:pt x="551" y="1217"/>
                  </a:lnTo>
                  <a:lnTo>
                    <a:pt x="550" y="1218"/>
                  </a:lnTo>
                  <a:lnTo>
                    <a:pt x="549" y="1220"/>
                  </a:lnTo>
                  <a:lnTo>
                    <a:pt x="549" y="1222"/>
                  </a:lnTo>
                  <a:lnTo>
                    <a:pt x="557" y="1232"/>
                  </a:lnTo>
                  <a:lnTo>
                    <a:pt x="559" y="1233"/>
                  </a:lnTo>
                  <a:lnTo>
                    <a:pt x="561" y="1233"/>
                  </a:lnTo>
                  <a:lnTo>
                    <a:pt x="562" y="1232"/>
                  </a:lnTo>
                  <a:lnTo>
                    <a:pt x="564" y="1231"/>
                  </a:lnTo>
                  <a:lnTo>
                    <a:pt x="566" y="1232"/>
                  </a:lnTo>
                  <a:lnTo>
                    <a:pt x="570" y="1234"/>
                  </a:lnTo>
                  <a:lnTo>
                    <a:pt x="572" y="1234"/>
                  </a:lnTo>
                  <a:lnTo>
                    <a:pt x="572" y="1235"/>
                  </a:lnTo>
                  <a:lnTo>
                    <a:pt x="572" y="1235"/>
                  </a:lnTo>
                  <a:lnTo>
                    <a:pt x="572" y="1235"/>
                  </a:lnTo>
                  <a:lnTo>
                    <a:pt x="572" y="1235"/>
                  </a:lnTo>
                  <a:lnTo>
                    <a:pt x="571" y="1237"/>
                  </a:lnTo>
                  <a:lnTo>
                    <a:pt x="570" y="1238"/>
                  </a:lnTo>
                  <a:lnTo>
                    <a:pt x="571" y="1239"/>
                  </a:lnTo>
                  <a:lnTo>
                    <a:pt x="572" y="1241"/>
                  </a:lnTo>
                  <a:lnTo>
                    <a:pt x="574" y="1243"/>
                  </a:lnTo>
                  <a:lnTo>
                    <a:pt x="575" y="1246"/>
                  </a:lnTo>
                  <a:lnTo>
                    <a:pt x="576" y="1249"/>
                  </a:lnTo>
                  <a:lnTo>
                    <a:pt x="577" y="1252"/>
                  </a:lnTo>
                  <a:lnTo>
                    <a:pt x="579" y="1254"/>
                  </a:lnTo>
                  <a:lnTo>
                    <a:pt x="589" y="1264"/>
                  </a:lnTo>
                  <a:lnTo>
                    <a:pt x="595" y="1266"/>
                  </a:lnTo>
                  <a:lnTo>
                    <a:pt x="601" y="1264"/>
                  </a:lnTo>
                  <a:lnTo>
                    <a:pt x="606" y="1260"/>
                  </a:lnTo>
                  <a:lnTo>
                    <a:pt x="608" y="1259"/>
                  </a:lnTo>
                  <a:lnTo>
                    <a:pt x="615" y="1259"/>
                  </a:lnTo>
                  <a:lnTo>
                    <a:pt x="620" y="1257"/>
                  </a:lnTo>
                  <a:lnTo>
                    <a:pt x="621" y="1256"/>
                  </a:lnTo>
                  <a:lnTo>
                    <a:pt x="621" y="1253"/>
                  </a:lnTo>
                  <a:lnTo>
                    <a:pt x="619" y="1252"/>
                  </a:lnTo>
                  <a:lnTo>
                    <a:pt x="618" y="1252"/>
                  </a:lnTo>
                  <a:lnTo>
                    <a:pt x="617" y="1252"/>
                  </a:lnTo>
                  <a:lnTo>
                    <a:pt x="616" y="1252"/>
                  </a:lnTo>
                  <a:lnTo>
                    <a:pt x="615" y="1246"/>
                  </a:lnTo>
                  <a:lnTo>
                    <a:pt x="618" y="1247"/>
                  </a:lnTo>
                  <a:lnTo>
                    <a:pt x="620" y="1248"/>
                  </a:lnTo>
                  <a:lnTo>
                    <a:pt x="629" y="1253"/>
                  </a:lnTo>
                  <a:lnTo>
                    <a:pt x="628" y="1258"/>
                  </a:lnTo>
                  <a:lnTo>
                    <a:pt x="630" y="1261"/>
                  </a:lnTo>
                  <a:lnTo>
                    <a:pt x="641" y="1262"/>
                  </a:lnTo>
                  <a:lnTo>
                    <a:pt x="643" y="1264"/>
                  </a:lnTo>
                  <a:lnTo>
                    <a:pt x="648" y="1268"/>
                  </a:lnTo>
                  <a:lnTo>
                    <a:pt x="650" y="1269"/>
                  </a:lnTo>
                  <a:lnTo>
                    <a:pt x="654" y="1270"/>
                  </a:lnTo>
                  <a:lnTo>
                    <a:pt x="656" y="1271"/>
                  </a:lnTo>
                  <a:lnTo>
                    <a:pt x="656" y="1272"/>
                  </a:lnTo>
                  <a:lnTo>
                    <a:pt x="657" y="1276"/>
                  </a:lnTo>
                  <a:lnTo>
                    <a:pt x="658" y="1278"/>
                  </a:lnTo>
                  <a:lnTo>
                    <a:pt x="661" y="1281"/>
                  </a:lnTo>
                  <a:lnTo>
                    <a:pt x="664" y="1280"/>
                  </a:lnTo>
                  <a:lnTo>
                    <a:pt x="668" y="1276"/>
                  </a:lnTo>
                  <a:lnTo>
                    <a:pt x="668" y="1276"/>
                  </a:lnTo>
                  <a:lnTo>
                    <a:pt x="668" y="1276"/>
                  </a:lnTo>
                  <a:lnTo>
                    <a:pt x="667" y="1275"/>
                  </a:lnTo>
                  <a:lnTo>
                    <a:pt x="667" y="1275"/>
                  </a:lnTo>
                  <a:lnTo>
                    <a:pt x="673" y="1275"/>
                  </a:lnTo>
                  <a:lnTo>
                    <a:pt x="680" y="1277"/>
                  </a:lnTo>
                  <a:lnTo>
                    <a:pt x="691" y="1283"/>
                  </a:lnTo>
                  <a:lnTo>
                    <a:pt x="695" y="1283"/>
                  </a:lnTo>
                  <a:lnTo>
                    <a:pt x="701" y="1279"/>
                  </a:lnTo>
                  <a:lnTo>
                    <a:pt x="704" y="1281"/>
                  </a:lnTo>
                  <a:lnTo>
                    <a:pt x="705" y="1285"/>
                  </a:lnTo>
                  <a:lnTo>
                    <a:pt x="704" y="1289"/>
                  </a:lnTo>
                  <a:lnTo>
                    <a:pt x="705" y="1292"/>
                  </a:lnTo>
                  <a:lnTo>
                    <a:pt x="709" y="1294"/>
                  </a:lnTo>
                  <a:lnTo>
                    <a:pt x="705" y="1299"/>
                  </a:lnTo>
                  <a:lnTo>
                    <a:pt x="705" y="1306"/>
                  </a:lnTo>
                  <a:lnTo>
                    <a:pt x="708" y="1313"/>
                  </a:lnTo>
                  <a:lnTo>
                    <a:pt x="711" y="1321"/>
                  </a:lnTo>
                  <a:lnTo>
                    <a:pt x="713" y="1328"/>
                  </a:lnTo>
                  <a:lnTo>
                    <a:pt x="714" y="1330"/>
                  </a:lnTo>
                  <a:lnTo>
                    <a:pt x="716" y="1331"/>
                  </a:lnTo>
                  <a:lnTo>
                    <a:pt x="721" y="1332"/>
                  </a:lnTo>
                  <a:lnTo>
                    <a:pt x="723" y="1332"/>
                  </a:lnTo>
                  <a:lnTo>
                    <a:pt x="725" y="1334"/>
                  </a:lnTo>
                  <a:lnTo>
                    <a:pt x="728" y="1338"/>
                  </a:lnTo>
                  <a:lnTo>
                    <a:pt x="730" y="1339"/>
                  </a:lnTo>
                  <a:lnTo>
                    <a:pt x="733" y="1339"/>
                  </a:lnTo>
                  <a:lnTo>
                    <a:pt x="735" y="1338"/>
                  </a:lnTo>
                  <a:lnTo>
                    <a:pt x="738" y="1337"/>
                  </a:lnTo>
                  <a:lnTo>
                    <a:pt x="740" y="1339"/>
                  </a:lnTo>
                  <a:lnTo>
                    <a:pt x="741" y="1341"/>
                  </a:lnTo>
                  <a:lnTo>
                    <a:pt x="742" y="1350"/>
                  </a:lnTo>
                  <a:lnTo>
                    <a:pt x="742" y="1352"/>
                  </a:lnTo>
                  <a:lnTo>
                    <a:pt x="744" y="1356"/>
                  </a:lnTo>
                  <a:lnTo>
                    <a:pt x="745" y="1358"/>
                  </a:lnTo>
                  <a:lnTo>
                    <a:pt x="747" y="1369"/>
                  </a:lnTo>
                  <a:lnTo>
                    <a:pt x="748" y="1374"/>
                  </a:lnTo>
                  <a:lnTo>
                    <a:pt x="747" y="1378"/>
                  </a:lnTo>
                  <a:lnTo>
                    <a:pt x="763" y="1379"/>
                  </a:lnTo>
                  <a:lnTo>
                    <a:pt x="767" y="1382"/>
                  </a:lnTo>
                  <a:lnTo>
                    <a:pt x="766" y="1386"/>
                  </a:lnTo>
                  <a:lnTo>
                    <a:pt x="766" y="1389"/>
                  </a:lnTo>
                  <a:lnTo>
                    <a:pt x="767" y="1393"/>
                  </a:lnTo>
                  <a:lnTo>
                    <a:pt x="767" y="1397"/>
                  </a:lnTo>
                  <a:lnTo>
                    <a:pt x="767" y="1404"/>
                  </a:lnTo>
                  <a:lnTo>
                    <a:pt x="768" y="1407"/>
                  </a:lnTo>
                  <a:lnTo>
                    <a:pt x="771" y="1408"/>
                  </a:lnTo>
                  <a:lnTo>
                    <a:pt x="775" y="1408"/>
                  </a:lnTo>
                  <a:lnTo>
                    <a:pt x="781" y="1404"/>
                  </a:lnTo>
                  <a:lnTo>
                    <a:pt x="784" y="1403"/>
                  </a:lnTo>
                  <a:lnTo>
                    <a:pt x="786" y="1404"/>
                  </a:lnTo>
                  <a:lnTo>
                    <a:pt x="789" y="1406"/>
                  </a:lnTo>
                  <a:lnTo>
                    <a:pt x="790" y="1407"/>
                  </a:lnTo>
                  <a:lnTo>
                    <a:pt x="792" y="1407"/>
                  </a:lnTo>
                  <a:lnTo>
                    <a:pt x="796" y="1406"/>
                  </a:lnTo>
                  <a:lnTo>
                    <a:pt x="801" y="1404"/>
                  </a:lnTo>
                  <a:lnTo>
                    <a:pt x="802" y="1402"/>
                  </a:lnTo>
                  <a:lnTo>
                    <a:pt x="803" y="1399"/>
                  </a:lnTo>
                  <a:lnTo>
                    <a:pt x="803" y="1394"/>
                  </a:lnTo>
                  <a:lnTo>
                    <a:pt x="804" y="1394"/>
                  </a:lnTo>
                  <a:lnTo>
                    <a:pt x="806" y="1394"/>
                  </a:lnTo>
                  <a:lnTo>
                    <a:pt x="807" y="1394"/>
                  </a:lnTo>
                  <a:lnTo>
                    <a:pt x="807" y="1392"/>
                  </a:lnTo>
                  <a:lnTo>
                    <a:pt x="807" y="1391"/>
                  </a:lnTo>
                  <a:lnTo>
                    <a:pt x="806" y="1390"/>
                  </a:lnTo>
                  <a:lnTo>
                    <a:pt x="806" y="1390"/>
                  </a:lnTo>
                  <a:lnTo>
                    <a:pt x="808" y="1382"/>
                  </a:lnTo>
                  <a:lnTo>
                    <a:pt x="811" y="1379"/>
                  </a:lnTo>
                  <a:lnTo>
                    <a:pt x="813" y="1376"/>
                  </a:lnTo>
                  <a:lnTo>
                    <a:pt x="816" y="1375"/>
                  </a:lnTo>
                  <a:lnTo>
                    <a:pt x="819" y="1375"/>
                  </a:lnTo>
                  <a:lnTo>
                    <a:pt x="823" y="1375"/>
                  </a:lnTo>
                  <a:lnTo>
                    <a:pt x="825" y="1374"/>
                  </a:lnTo>
                  <a:lnTo>
                    <a:pt x="828" y="1373"/>
                  </a:lnTo>
                  <a:lnTo>
                    <a:pt x="829" y="1372"/>
                  </a:lnTo>
                  <a:lnTo>
                    <a:pt x="842" y="1357"/>
                  </a:lnTo>
                  <a:lnTo>
                    <a:pt x="843" y="1356"/>
                  </a:lnTo>
                  <a:lnTo>
                    <a:pt x="844" y="1355"/>
                  </a:lnTo>
                  <a:lnTo>
                    <a:pt x="845" y="1356"/>
                  </a:lnTo>
                  <a:lnTo>
                    <a:pt x="846" y="1356"/>
                  </a:lnTo>
                  <a:lnTo>
                    <a:pt x="849" y="1361"/>
                  </a:lnTo>
                  <a:lnTo>
                    <a:pt x="850" y="1362"/>
                  </a:lnTo>
                  <a:lnTo>
                    <a:pt x="854" y="1365"/>
                  </a:lnTo>
                  <a:lnTo>
                    <a:pt x="856" y="1370"/>
                  </a:lnTo>
                  <a:lnTo>
                    <a:pt x="858" y="1382"/>
                  </a:lnTo>
                  <a:lnTo>
                    <a:pt x="861" y="1390"/>
                  </a:lnTo>
                  <a:lnTo>
                    <a:pt x="862" y="1391"/>
                  </a:lnTo>
                  <a:lnTo>
                    <a:pt x="865" y="1394"/>
                  </a:lnTo>
                  <a:lnTo>
                    <a:pt x="868" y="1394"/>
                  </a:lnTo>
                  <a:lnTo>
                    <a:pt x="874" y="1394"/>
                  </a:lnTo>
                  <a:lnTo>
                    <a:pt x="874" y="1396"/>
                  </a:lnTo>
                  <a:lnTo>
                    <a:pt x="873" y="1397"/>
                  </a:lnTo>
                  <a:lnTo>
                    <a:pt x="873" y="1401"/>
                  </a:lnTo>
                  <a:lnTo>
                    <a:pt x="873" y="1404"/>
                  </a:lnTo>
                  <a:lnTo>
                    <a:pt x="873" y="1404"/>
                  </a:lnTo>
                  <a:lnTo>
                    <a:pt x="882" y="1407"/>
                  </a:lnTo>
                  <a:lnTo>
                    <a:pt x="886" y="1408"/>
                  </a:lnTo>
                  <a:lnTo>
                    <a:pt x="889" y="1407"/>
                  </a:lnTo>
                  <a:lnTo>
                    <a:pt x="894" y="1405"/>
                  </a:lnTo>
                  <a:lnTo>
                    <a:pt x="896" y="1406"/>
                  </a:lnTo>
                  <a:lnTo>
                    <a:pt x="896" y="1406"/>
                  </a:lnTo>
                  <a:lnTo>
                    <a:pt x="897" y="1411"/>
                  </a:lnTo>
                  <a:lnTo>
                    <a:pt x="898" y="1415"/>
                  </a:lnTo>
                  <a:lnTo>
                    <a:pt x="899" y="1427"/>
                  </a:lnTo>
                  <a:lnTo>
                    <a:pt x="899" y="1428"/>
                  </a:lnTo>
                  <a:lnTo>
                    <a:pt x="897" y="1429"/>
                  </a:lnTo>
                  <a:lnTo>
                    <a:pt x="897" y="1430"/>
                  </a:lnTo>
                  <a:lnTo>
                    <a:pt x="897" y="1431"/>
                  </a:lnTo>
                  <a:lnTo>
                    <a:pt x="898" y="1431"/>
                  </a:lnTo>
                  <a:lnTo>
                    <a:pt x="900" y="1433"/>
                  </a:lnTo>
                  <a:lnTo>
                    <a:pt x="900" y="1433"/>
                  </a:lnTo>
                  <a:lnTo>
                    <a:pt x="900" y="1433"/>
                  </a:lnTo>
                  <a:lnTo>
                    <a:pt x="900" y="1433"/>
                  </a:lnTo>
                  <a:lnTo>
                    <a:pt x="901" y="1435"/>
                  </a:lnTo>
                  <a:lnTo>
                    <a:pt x="901" y="1435"/>
                  </a:lnTo>
                  <a:lnTo>
                    <a:pt x="902" y="1436"/>
                  </a:lnTo>
                  <a:lnTo>
                    <a:pt x="901" y="1437"/>
                  </a:lnTo>
                  <a:lnTo>
                    <a:pt x="901" y="1438"/>
                  </a:lnTo>
                  <a:lnTo>
                    <a:pt x="900" y="1438"/>
                  </a:lnTo>
                  <a:lnTo>
                    <a:pt x="899" y="1439"/>
                  </a:lnTo>
                  <a:lnTo>
                    <a:pt x="893" y="1448"/>
                  </a:lnTo>
                  <a:lnTo>
                    <a:pt x="892" y="1452"/>
                  </a:lnTo>
                  <a:lnTo>
                    <a:pt x="892" y="1452"/>
                  </a:lnTo>
                  <a:lnTo>
                    <a:pt x="894" y="1455"/>
                  </a:lnTo>
                  <a:lnTo>
                    <a:pt x="898" y="1456"/>
                  </a:lnTo>
                  <a:lnTo>
                    <a:pt x="906" y="1457"/>
                  </a:lnTo>
                  <a:lnTo>
                    <a:pt x="909" y="1455"/>
                  </a:lnTo>
                  <a:lnTo>
                    <a:pt x="911" y="1453"/>
                  </a:lnTo>
                  <a:lnTo>
                    <a:pt x="915" y="1450"/>
                  </a:lnTo>
                  <a:lnTo>
                    <a:pt x="917" y="1448"/>
                  </a:lnTo>
                  <a:lnTo>
                    <a:pt x="922" y="1447"/>
                  </a:lnTo>
                  <a:lnTo>
                    <a:pt x="927" y="1449"/>
                  </a:lnTo>
                  <a:lnTo>
                    <a:pt x="935" y="1457"/>
                  </a:lnTo>
                  <a:lnTo>
                    <a:pt x="940" y="1460"/>
                  </a:lnTo>
                  <a:lnTo>
                    <a:pt x="943" y="1457"/>
                  </a:lnTo>
                  <a:lnTo>
                    <a:pt x="945" y="1451"/>
                  </a:lnTo>
                  <a:lnTo>
                    <a:pt x="946" y="1443"/>
                  </a:lnTo>
                  <a:lnTo>
                    <a:pt x="948" y="1440"/>
                  </a:lnTo>
                  <a:lnTo>
                    <a:pt x="949" y="1438"/>
                  </a:lnTo>
                  <a:lnTo>
                    <a:pt x="950" y="1435"/>
                  </a:lnTo>
                  <a:lnTo>
                    <a:pt x="953" y="1428"/>
                  </a:lnTo>
                  <a:lnTo>
                    <a:pt x="954" y="1427"/>
                  </a:lnTo>
                  <a:lnTo>
                    <a:pt x="954" y="1427"/>
                  </a:lnTo>
                  <a:lnTo>
                    <a:pt x="958" y="1428"/>
                  </a:lnTo>
                  <a:lnTo>
                    <a:pt x="959" y="1426"/>
                  </a:lnTo>
                  <a:lnTo>
                    <a:pt x="963" y="1422"/>
                  </a:lnTo>
                  <a:lnTo>
                    <a:pt x="965" y="1421"/>
                  </a:lnTo>
                  <a:lnTo>
                    <a:pt x="977" y="1419"/>
                  </a:lnTo>
                  <a:lnTo>
                    <a:pt x="978" y="1419"/>
                  </a:lnTo>
                  <a:lnTo>
                    <a:pt x="979" y="1415"/>
                  </a:lnTo>
                  <a:lnTo>
                    <a:pt x="980" y="1412"/>
                  </a:lnTo>
                  <a:lnTo>
                    <a:pt x="980" y="1409"/>
                  </a:lnTo>
                  <a:lnTo>
                    <a:pt x="981" y="1408"/>
                  </a:lnTo>
                  <a:lnTo>
                    <a:pt x="983" y="1407"/>
                  </a:lnTo>
                  <a:lnTo>
                    <a:pt x="984" y="1407"/>
                  </a:lnTo>
                  <a:lnTo>
                    <a:pt x="991" y="1409"/>
                  </a:lnTo>
                  <a:lnTo>
                    <a:pt x="999" y="1409"/>
                  </a:lnTo>
                  <a:lnTo>
                    <a:pt x="999" y="1404"/>
                  </a:lnTo>
                  <a:lnTo>
                    <a:pt x="1002" y="1404"/>
                  </a:lnTo>
                  <a:lnTo>
                    <a:pt x="1015" y="1411"/>
                  </a:lnTo>
                  <a:lnTo>
                    <a:pt x="1018" y="1412"/>
                  </a:lnTo>
                  <a:lnTo>
                    <a:pt x="1023" y="1410"/>
                  </a:lnTo>
                  <a:lnTo>
                    <a:pt x="1024" y="1409"/>
                  </a:lnTo>
                  <a:lnTo>
                    <a:pt x="1027" y="1405"/>
                  </a:lnTo>
                  <a:lnTo>
                    <a:pt x="1028" y="1404"/>
                  </a:lnTo>
                  <a:lnTo>
                    <a:pt x="1030" y="1404"/>
                  </a:lnTo>
                  <a:lnTo>
                    <a:pt x="1033" y="1405"/>
                  </a:lnTo>
                  <a:lnTo>
                    <a:pt x="1039" y="1404"/>
                  </a:lnTo>
                  <a:lnTo>
                    <a:pt x="1042" y="1404"/>
                  </a:lnTo>
                  <a:lnTo>
                    <a:pt x="1056" y="1421"/>
                  </a:lnTo>
                  <a:lnTo>
                    <a:pt x="1058" y="1423"/>
                  </a:lnTo>
                  <a:lnTo>
                    <a:pt x="1062" y="1424"/>
                  </a:lnTo>
                  <a:lnTo>
                    <a:pt x="1065" y="1424"/>
                  </a:lnTo>
                  <a:lnTo>
                    <a:pt x="1067" y="1424"/>
                  </a:lnTo>
                  <a:lnTo>
                    <a:pt x="1070" y="1426"/>
                  </a:lnTo>
                  <a:lnTo>
                    <a:pt x="1073" y="1429"/>
                  </a:lnTo>
                  <a:lnTo>
                    <a:pt x="1075" y="1431"/>
                  </a:lnTo>
                  <a:lnTo>
                    <a:pt x="1078" y="1431"/>
                  </a:lnTo>
                  <a:lnTo>
                    <a:pt x="1082" y="1430"/>
                  </a:lnTo>
                  <a:lnTo>
                    <a:pt x="1085" y="1427"/>
                  </a:lnTo>
                  <a:lnTo>
                    <a:pt x="1091" y="1419"/>
                  </a:lnTo>
                  <a:lnTo>
                    <a:pt x="1094" y="1416"/>
                  </a:lnTo>
                  <a:lnTo>
                    <a:pt x="1096" y="1416"/>
                  </a:lnTo>
                  <a:lnTo>
                    <a:pt x="1100" y="1416"/>
                  </a:lnTo>
                  <a:lnTo>
                    <a:pt x="1102" y="1415"/>
                  </a:lnTo>
                  <a:lnTo>
                    <a:pt x="1104" y="1413"/>
                  </a:lnTo>
                  <a:lnTo>
                    <a:pt x="1102" y="1409"/>
                  </a:lnTo>
                  <a:lnTo>
                    <a:pt x="1098" y="1407"/>
                  </a:lnTo>
                  <a:lnTo>
                    <a:pt x="1096" y="1405"/>
                  </a:lnTo>
                  <a:lnTo>
                    <a:pt x="1100" y="1401"/>
                  </a:lnTo>
                  <a:lnTo>
                    <a:pt x="1102" y="1400"/>
                  </a:lnTo>
                  <a:lnTo>
                    <a:pt x="1108" y="1399"/>
                  </a:lnTo>
                  <a:lnTo>
                    <a:pt x="1111" y="1399"/>
                  </a:lnTo>
                  <a:lnTo>
                    <a:pt x="1114" y="1401"/>
                  </a:lnTo>
                  <a:lnTo>
                    <a:pt x="1116" y="1403"/>
                  </a:lnTo>
                  <a:lnTo>
                    <a:pt x="1118" y="1405"/>
                  </a:lnTo>
                  <a:lnTo>
                    <a:pt x="1122" y="1404"/>
                  </a:lnTo>
                  <a:lnTo>
                    <a:pt x="1125" y="1402"/>
                  </a:lnTo>
                  <a:lnTo>
                    <a:pt x="1130" y="1394"/>
                  </a:lnTo>
                  <a:lnTo>
                    <a:pt x="1132" y="1393"/>
                  </a:lnTo>
                  <a:lnTo>
                    <a:pt x="1135" y="1393"/>
                  </a:lnTo>
                  <a:lnTo>
                    <a:pt x="1143" y="1398"/>
                  </a:lnTo>
                  <a:lnTo>
                    <a:pt x="1159" y="1402"/>
                  </a:lnTo>
                  <a:lnTo>
                    <a:pt x="1161" y="1402"/>
                  </a:lnTo>
                  <a:lnTo>
                    <a:pt x="1167" y="1401"/>
                  </a:lnTo>
                  <a:lnTo>
                    <a:pt x="1170" y="1402"/>
                  </a:lnTo>
                  <a:lnTo>
                    <a:pt x="1173" y="1400"/>
                  </a:lnTo>
                  <a:lnTo>
                    <a:pt x="1175" y="1399"/>
                  </a:lnTo>
                  <a:lnTo>
                    <a:pt x="1186" y="1398"/>
                  </a:lnTo>
                  <a:lnTo>
                    <a:pt x="1189" y="1399"/>
                  </a:lnTo>
                  <a:lnTo>
                    <a:pt x="1191" y="1400"/>
                  </a:lnTo>
                  <a:lnTo>
                    <a:pt x="1194" y="1403"/>
                  </a:lnTo>
                  <a:lnTo>
                    <a:pt x="1196" y="1404"/>
                  </a:lnTo>
                  <a:lnTo>
                    <a:pt x="1197" y="1404"/>
                  </a:lnTo>
                  <a:lnTo>
                    <a:pt x="1199" y="1404"/>
                  </a:lnTo>
                  <a:lnTo>
                    <a:pt x="1201" y="1404"/>
                  </a:lnTo>
                  <a:lnTo>
                    <a:pt x="1204" y="1407"/>
                  </a:lnTo>
                  <a:lnTo>
                    <a:pt x="1209" y="1415"/>
                  </a:lnTo>
                  <a:lnTo>
                    <a:pt x="1211" y="1417"/>
                  </a:lnTo>
                  <a:lnTo>
                    <a:pt x="1213" y="1416"/>
                  </a:lnTo>
                  <a:lnTo>
                    <a:pt x="1215" y="1413"/>
                  </a:lnTo>
                  <a:lnTo>
                    <a:pt x="1218" y="1411"/>
                  </a:lnTo>
                  <a:lnTo>
                    <a:pt x="1221" y="1410"/>
                  </a:lnTo>
                  <a:lnTo>
                    <a:pt x="1224" y="1412"/>
                  </a:lnTo>
                  <a:lnTo>
                    <a:pt x="1230" y="1417"/>
                  </a:lnTo>
                  <a:lnTo>
                    <a:pt x="1238" y="1421"/>
                  </a:lnTo>
                  <a:lnTo>
                    <a:pt x="1244" y="1427"/>
                  </a:lnTo>
                  <a:lnTo>
                    <a:pt x="1249" y="1434"/>
                  </a:lnTo>
                  <a:lnTo>
                    <a:pt x="1251" y="1443"/>
                  </a:lnTo>
                  <a:lnTo>
                    <a:pt x="1252" y="1450"/>
                  </a:lnTo>
                  <a:lnTo>
                    <a:pt x="1256" y="1454"/>
                  </a:lnTo>
                  <a:lnTo>
                    <a:pt x="1267" y="1456"/>
                  </a:lnTo>
                  <a:lnTo>
                    <a:pt x="1272" y="1459"/>
                  </a:lnTo>
                  <a:lnTo>
                    <a:pt x="1274" y="1460"/>
                  </a:lnTo>
                  <a:lnTo>
                    <a:pt x="1276" y="1460"/>
                  </a:lnTo>
                  <a:lnTo>
                    <a:pt x="1280" y="1460"/>
                  </a:lnTo>
                  <a:lnTo>
                    <a:pt x="1281" y="1460"/>
                  </a:lnTo>
                  <a:lnTo>
                    <a:pt x="1283" y="1462"/>
                  </a:lnTo>
                  <a:lnTo>
                    <a:pt x="1283" y="1463"/>
                  </a:lnTo>
                  <a:lnTo>
                    <a:pt x="1282" y="1465"/>
                  </a:lnTo>
                  <a:lnTo>
                    <a:pt x="1283" y="1467"/>
                  </a:lnTo>
                  <a:lnTo>
                    <a:pt x="1284" y="1468"/>
                  </a:lnTo>
                  <a:lnTo>
                    <a:pt x="1292" y="1470"/>
                  </a:lnTo>
                  <a:lnTo>
                    <a:pt x="1300" y="1470"/>
                  </a:lnTo>
                  <a:lnTo>
                    <a:pt x="1304" y="1471"/>
                  </a:lnTo>
                  <a:lnTo>
                    <a:pt x="1312" y="1479"/>
                  </a:lnTo>
                  <a:lnTo>
                    <a:pt x="1317" y="1481"/>
                  </a:lnTo>
                  <a:lnTo>
                    <a:pt x="1330" y="1481"/>
                  </a:lnTo>
                  <a:lnTo>
                    <a:pt x="1336" y="1484"/>
                  </a:lnTo>
                  <a:lnTo>
                    <a:pt x="1339" y="1481"/>
                  </a:lnTo>
                  <a:lnTo>
                    <a:pt x="1342" y="1482"/>
                  </a:lnTo>
                  <a:lnTo>
                    <a:pt x="1348" y="1488"/>
                  </a:lnTo>
                  <a:lnTo>
                    <a:pt x="1352" y="1491"/>
                  </a:lnTo>
                  <a:lnTo>
                    <a:pt x="1355" y="1492"/>
                  </a:lnTo>
                  <a:lnTo>
                    <a:pt x="1359" y="1491"/>
                  </a:lnTo>
                  <a:lnTo>
                    <a:pt x="1364" y="1492"/>
                  </a:lnTo>
                  <a:lnTo>
                    <a:pt x="1368" y="1491"/>
                  </a:lnTo>
                  <a:lnTo>
                    <a:pt x="1370" y="1491"/>
                  </a:lnTo>
                  <a:lnTo>
                    <a:pt x="1371" y="1492"/>
                  </a:lnTo>
                  <a:lnTo>
                    <a:pt x="1374" y="1496"/>
                  </a:lnTo>
                  <a:lnTo>
                    <a:pt x="1376" y="1497"/>
                  </a:lnTo>
                  <a:lnTo>
                    <a:pt x="1379" y="1498"/>
                  </a:lnTo>
                  <a:lnTo>
                    <a:pt x="1382" y="1502"/>
                  </a:lnTo>
                  <a:lnTo>
                    <a:pt x="1385" y="1503"/>
                  </a:lnTo>
                  <a:lnTo>
                    <a:pt x="1387" y="1499"/>
                  </a:lnTo>
                  <a:lnTo>
                    <a:pt x="1387" y="1498"/>
                  </a:lnTo>
                  <a:lnTo>
                    <a:pt x="1387" y="1498"/>
                  </a:lnTo>
                  <a:lnTo>
                    <a:pt x="1384" y="1493"/>
                  </a:lnTo>
                  <a:lnTo>
                    <a:pt x="1384" y="1491"/>
                  </a:lnTo>
                  <a:lnTo>
                    <a:pt x="1384" y="1488"/>
                  </a:lnTo>
                  <a:lnTo>
                    <a:pt x="1385" y="1483"/>
                  </a:lnTo>
                  <a:lnTo>
                    <a:pt x="1385" y="1481"/>
                  </a:lnTo>
                  <a:lnTo>
                    <a:pt x="1383" y="1479"/>
                  </a:lnTo>
                  <a:lnTo>
                    <a:pt x="1376" y="1475"/>
                  </a:lnTo>
                  <a:lnTo>
                    <a:pt x="1373" y="1473"/>
                  </a:lnTo>
                  <a:lnTo>
                    <a:pt x="1369" y="1466"/>
                  </a:lnTo>
                  <a:lnTo>
                    <a:pt x="1364" y="1463"/>
                  </a:lnTo>
                  <a:lnTo>
                    <a:pt x="1364" y="1463"/>
                  </a:lnTo>
                  <a:lnTo>
                    <a:pt x="1364" y="1463"/>
                  </a:lnTo>
                  <a:lnTo>
                    <a:pt x="1362" y="1461"/>
                  </a:lnTo>
                  <a:lnTo>
                    <a:pt x="1360" y="1463"/>
                  </a:lnTo>
                  <a:lnTo>
                    <a:pt x="1359" y="1464"/>
                  </a:lnTo>
                  <a:lnTo>
                    <a:pt x="1358" y="1463"/>
                  </a:lnTo>
                  <a:lnTo>
                    <a:pt x="1359" y="1460"/>
                  </a:lnTo>
                  <a:lnTo>
                    <a:pt x="1361" y="1454"/>
                  </a:lnTo>
                  <a:lnTo>
                    <a:pt x="1364" y="1446"/>
                  </a:lnTo>
                  <a:lnTo>
                    <a:pt x="1366" y="1438"/>
                  </a:lnTo>
                  <a:lnTo>
                    <a:pt x="1367" y="1435"/>
                  </a:lnTo>
                  <a:lnTo>
                    <a:pt x="1365" y="1413"/>
                  </a:lnTo>
                  <a:lnTo>
                    <a:pt x="1364" y="1409"/>
                  </a:lnTo>
                  <a:lnTo>
                    <a:pt x="1363" y="1407"/>
                  </a:lnTo>
                  <a:lnTo>
                    <a:pt x="1360" y="1403"/>
                  </a:lnTo>
                  <a:lnTo>
                    <a:pt x="1358" y="1400"/>
                  </a:lnTo>
                  <a:lnTo>
                    <a:pt x="1357" y="1399"/>
                  </a:lnTo>
                  <a:lnTo>
                    <a:pt x="1356" y="1396"/>
                  </a:lnTo>
                  <a:lnTo>
                    <a:pt x="1355" y="1385"/>
                  </a:lnTo>
                  <a:lnTo>
                    <a:pt x="1355" y="1382"/>
                  </a:lnTo>
                  <a:lnTo>
                    <a:pt x="1351" y="1373"/>
                  </a:lnTo>
                  <a:lnTo>
                    <a:pt x="1355" y="1364"/>
                  </a:lnTo>
                  <a:lnTo>
                    <a:pt x="1367" y="1348"/>
                  </a:lnTo>
                  <a:lnTo>
                    <a:pt x="1370" y="1340"/>
                  </a:lnTo>
                  <a:lnTo>
                    <a:pt x="1371" y="1338"/>
                  </a:lnTo>
                  <a:lnTo>
                    <a:pt x="1373" y="1336"/>
                  </a:lnTo>
                  <a:lnTo>
                    <a:pt x="1376" y="1336"/>
                  </a:lnTo>
                  <a:lnTo>
                    <a:pt x="1378" y="1335"/>
                  </a:lnTo>
                  <a:lnTo>
                    <a:pt x="1381" y="1332"/>
                  </a:lnTo>
                  <a:lnTo>
                    <a:pt x="1391" y="1314"/>
                  </a:lnTo>
                  <a:lnTo>
                    <a:pt x="1392" y="1312"/>
                  </a:lnTo>
                  <a:lnTo>
                    <a:pt x="1394" y="1311"/>
                  </a:lnTo>
                  <a:lnTo>
                    <a:pt x="1396" y="1311"/>
                  </a:lnTo>
                  <a:lnTo>
                    <a:pt x="1398" y="1309"/>
                  </a:lnTo>
                  <a:lnTo>
                    <a:pt x="1399" y="1307"/>
                  </a:lnTo>
                  <a:lnTo>
                    <a:pt x="1400" y="1302"/>
                  </a:lnTo>
                  <a:lnTo>
                    <a:pt x="1401" y="1301"/>
                  </a:lnTo>
                  <a:lnTo>
                    <a:pt x="1407" y="1294"/>
                  </a:lnTo>
                  <a:lnTo>
                    <a:pt x="1424" y="1268"/>
                  </a:lnTo>
                  <a:lnTo>
                    <a:pt x="1431" y="1261"/>
                  </a:lnTo>
                  <a:lnTo>
                    <a:pt x="1437" y="1257"/>
                  </a:lnTo>
                  <a:lnTo>
                    <a:pt x="1442" y="1249"/>
                  </a:lnTo>
                  <a:lnTo>
                    <a:pt x="1478" y="1210"/>
                  </a:lnTo>
                  <a:lnTo>
                    <a:pt x="1485" y="1204"/>
                  </a:lnTo>
                  <a:lnTo>
                    <a:pt x="1493" y="1198"/>
                  </a:lnTo>
                  <a:lnTo>
                    <a:pt x="1494" y="1198"/>
                  </a:lnTo>
                  <a:lnTo>
                    <a:pt x="1494" y="1198"/>
                  </a:lnTo>
                  <a:lnTo>
                    <a:pt x="1494" y="1198"/>
                  </a:lnTo>
                  <a:lnTo>
                    <a:pt x="1498" y="1194"/>
                  </a:lnTo>
                  <a:lnTo>
                    <a:pt x="1511" y="1180"/>
                  </a:lnTo>
                  <a:lnTo>
                    <a:pt x="1513" y="1177"/>
                  </a:lnTo>
                  <a:lnTo>
                    <a:pt x="1513" y="1177"/>
                  </a:lnTo>
                  <a:lnTo>
                    <a:pt x="1515" y="1170"/>
                  </a:lnTo>
                  <a:lnTo>
                    <a:pt x="1517" y="1167"/>
                  </a:lnTo>
                  <a:lnTo>
                    <a:pt x="1519" y="1165"/>
                  </a:lnTo>
                  <a:lnTo>
                    <a:pt x="1522" y="1163"/>
                  </a:lnTo>
                  <a:lnTo>
                    <a:pt x="1527" y="1161"/>
                  </a:lnTo>
                  <a:lnTo>
                    <a:pt x="1556" y="1161"/>
                  </a:lnTo>
                  <a:lnTo>
                    <a:pt x="1564" y="1158"/>
                  </a:lnTo>
                  <a:lnTo>
                    <a:pt x="1568" y="1150"/>
                  </a:lnTo>
                  <a:lnTo>
                    <a:pt x="1568" y="1147"/>
                  </a:lnTo>
                  <a:lnTo>
                    <a:pt x="1569" y="1144"/>
                  </a:lnTo>
                  <a:lnTo>
                    <a:pt x="1568" y="1139"/>
                  </a:lnTo>
                  <a:lnTo>
                    <a:pt x="1569" y="1136"/>
                  </a:lnTo>
                  <a:lnTo>
                    <a:pt x="1579" y="1130"/>
                  </a:lnTo>
                  <a:lnTo>
                    <a:pt x="1582" y="1127"/>
                  </a:lnTo>
                  <a:lnTo>
                    <a:pt x="1584" y="1124"/>
                  </a:lnTo>
                  <a:lnTo>
                    <a:pt x="1584" y="1124"/>
                  </a:lnTo>
                  <a:lnTo>
                    <a:pt x="1584" y="1123"/>
                  </a:lnTo>
                  <a:lnTo>
                    <a:pt x="1582" y="1120"/>
                  </a:lnTo>
                  <a:lnTo>
                    <a:pt x="1581" y="1108"/>
                  </a:lnTo>
                  <a:lnTo>
                    <a:pt x="1585" y="1102"/>
                  </a:lnTo>
                  <a:lnTo>
                    <a:pt x="1584" y="1101"/>
                  </a:lnTo>
                  <a:lnTo>
                    <a:pt x="1580" y="1092"/>
                  </a:lnTo>
                  <a:lnTo>
                    <a:pt x="1579" y="1086"/>
                  </a:lnTo>
                  <a:lnTo>
                    <a:pt x="1580" y="1081"/>
                  </a:lnTo>
                  <a:lnTo>
                    <a:pt x="1576" y="1080"/>
                  </a:lnTo>
                  <a:lnTo>
                    <a:pt x="1571" y="1077"/>
                  </a:lnTo>
                  <a:lnTo>
                    <a:pt x="1569" y="1073"/>
                  </a:lnTo>
                  <a:lnTo>
                    <a:pt x="1571" y="1069"/>
                  </a:lnTo>
                  <a:lnTo>
                    <a:pt x="1571" y="1067"/>
                  </a:lnTo>
                  <a:lnTo>
                    <a:pt x="1567" y="1067"/>
                  </a:lnTo>
                  <a:lnTo>
                    <a:pt x="1563" y="1065"/>
                  </a:lnTo>
                  <a:lnTo>
                    <a:pt x="1561" y="1062"/>
                  </a:lnTo>
                  <a:lnTo>
                    <a:pt x="1561" y="1057"/>
                  </a:lnTo>
                  <a:lnTo>
                    <a:pt x="1562" y="1053"/>
                  </a:lnTo>
                  <a:lnTo>
                    <a:pt x="1566" y="1050"/>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17" name="Freeform 19">
              <a:extLst>
                <a:ext uri="{FF2B5EF4-FFF2-40B4-BE49-F238E27FC236}">
                  <a16:creationId xmlns:a16="http://schemas.microsoft.com/office/drawing/2014/main" id="{D605146F-1640-4000-9828-CCA448CB0C8D}"/>
                </a:ext>
              </a:extLst>
            </p:cNvPr>
            <p:cNvSpPr>
              <a:spLocks noEditPoints="1"/>
            </p:cNvSpPr>
            <p:nvPr/>
          </p:nvSpPr>
          <p:spPr bwMode="gray">
            <a:xfrm>
              <a:off x="8379301" y="4033439"/>
              <a:ext cx="380810" cy="451861"/>
            </a:xfrm>
            <a:custGeom>
              <a:avLst/>
              <a:gdLst>
                <a:gd name="T0" fmla="*/ 105 w 611"/>
                <a:gd name="T1" fmla="*/ 558 h 725"/>
                <a:gd name="T2" fmla="*/ 28 w 611"/>
                <a:gd name="T3" fmla="*/ 557 h 725"/>
                <a:gd name="T4" fmla="*/ 25 w 611"/>
                <a:gd name="T5" fmla="*/ 599 h 725"/>
                <a:gd name="T6" fmla="*/ 69 w 611"/>
                <a:gd name="T7" fmla="*/ 607 h 725"/>
                <a:gd name="T8" fmla="*/ 132 w 611"/>
                <a:gd name="T9" fmla="*/ 567 h 725"/>
                <a:gd name="T10" fmla="*/ 91 w 611"/>
                <a:gd name="T11" fmla="*/ 502 h 725"/>
                <a:gd name="T12" fmla="*/ 100 w 611"/>
                <a:gd name="T13" fmla="*/ 477 h 725"/>
                <a:gd name="T14" fmla="*/ 230 w 611"/>
                <a:gd name="T15" fmla="*/ 148 h 725"/>
                <a:gd name="T16" fmla="*/ 245 w 611"/>
                <a:gd name="T17" fmla="*/ 101 h 725"/>
                <a:gd name="T18" fmla="*/ 256 w 611"/>
                <a:gd name="T19" fmla="*/ 83 h 725"/>
                <a:gd name="T20" fmla="*/ 317 w 611"/>
                <a:gd name="T21" fmla="*/ 45 h 725"/>
                <a:gd name="T22" fmla="*/ 327 w 611"/>
                <a:gd name="T23" fmla="*/ 36 h 725"/>
                <a:gd name="T24" fmla="*/ 609 w 611"/>
                <a:gd name="T25" fmla="*/ 83 h 725"/>
                <a:gd name="T26" fmla="*/ 586 w 611"/>
                <a:gd name="T27" fmla="*/ 66 h 725"/>
                <a:gd name="T28" fmla="*/ 537 w 611"/>
                <a:gd name="T29" fmla="*/ 26 h 725"/>
                <a:gd name="T30" fmla="*/ 398 w 611"/>
                <a:gd name="T31" fmla="*/ 50 h 725"/>
                <a:gd name="T32" fmla="*/ 323 w 611"/>
                <a:gd name="T33" fmla="*/ 122 h 725"/>
                <a:gd name="T34" fmla="*/ 232 w 611"/>
                <a:gd name="T35" fmla="*/ 166 h 725"/>
                <a:gd name="T36" fmla="*/ 205 w 611"/>
                <a:gd name="T37" fmla="*/ 226 h 725"/>
                <a:gd name="T38" fmla="*/ 105 w 611"/>
                <a:gd name="T39" fmla="*/ 413 h 725"/>
                <a:gd name="T40" fmla="*/ 114 w 611"/>
                <a:gd name="T41" fmla="*/ 449 h 725"/>
                <a:gd name="T42" fmla="*/ 86 w 611"/>
                <a:gd name="T43" fmla="*/ 461 h 725"/>
                <a:gd name="T44" fmla="*/ 126 w 611"/>
                <a:gd name="T45" fmla="*/ 489 h 725"/>
                <a:gd name="T46" fmla="*/ 136 w 611"/>
                <a:gd name="T47" fmla="*/ 512 h 725"/>
                <a:gd name="T48" fmla="*/ 140 w 611"/>
                <a:gd name="T49" fmla="*/ 530 h 725"/>
                <a:gd name="T50" fmla="*/ 118 w 611"/>
                <a:gd name="T51" fmla="*/ 546 h 725"/>
                <a:gd name="T52" fmla="*/ 80 w 611"/>
                <a:gd name="T53" fmla="*/ 507 h 725"/>
                <a:gd name="T54" fmla="*/ 45 w 611"/>
                <a:gd name="T55" fmla="*/ 549 h 725"/>
                <a:gd name="T56" fmla="*/ 97 w 611"/>
                <a:gd name="T57" fmla="*/ 547 h 725"/>
                <a:gd name="T58" fmla="*/ 144 w 611"/>
                <a:gd name="T59" fmla="*/ 568 h 725"/>
                <a:gd name="T60" fmla="*/ 165 w 611"/>
                <a:gd name="T61" fmla="*/ 554 h 725"/>
                <a:gd name="T62" fmla="*/ 196 w 611"/>
                <a:gd name="T63" fmla="*/ 555 h 725"/>
                <a:gd name="T64" fmla="*/ 233 w 611"/>
                <a:gd name="T65" fmla="*/ 553 h 725"/>
                <a:gd name="T66" fmla="*/ 263 w 611"/>
                <a:gd name="T67" fmla="*/ 546 h 725"/>
                <a:gd name="T68" fmla="*/ 281 w 611"/>
                <a:gd name="T69" fmla="*/ 581 h 725"/>
                <a:gd name="T70" fmla="*/ 337 w 611"/>
                <a:gd name="T71" fmla="*/ 589 h 725"/>
                <a:gd name="T72" fmla="*/ 376 w 611"/>
                <a:gd name="T73" fmla="*/ 615 h 725"/>
                <a:gd name="T74" fmla="*/ 394 w 611"/>
                <a:gd name="T75" fmla="*/ 637 h 725"/>
                <a:gd name="T76" fmla="*/ 386 w 611"/>
                <a:gd name="T77" fmla="*/ 656 h 725"/>
                <a:gd name="T78" fmla="*/ 361 w 611"/>
                <a:gd name="T79" fmla="*/ 705 h 725"/>
                <a:gd name="T80" fmla="*/ 382 w 611"/>
                <a:gd name="T81" fmla="*/ 719 h 725"/>
                <a:gd name="T82" fmla="*/ 417 w 611"/>
                <a:gd name="T83" fmla="*/ 717 h 725"/>
                <a:gd name="T84" fmla="*/ 430 w 611"/>
                <a:gd name="T85" fmla="*/ 689 h 725"/>
                <a:gd name="T86" fmla="*/ 412 w 611"/>
                <a:gd name="T87" fmla="*/ 668 h 725"/>
                <a:gd name="T88" fmla="*/ 413 w 611"/>
                <a:gd name="T89" fmla="*/ 652 h 725"/>
                <a:gd name="T90" fmla="*/ 430 w 611"/>
                <a:gd name="T91" fmla="*/ 608 h 725"/>
                <a:gd name="T92" fmla="*/ 453 w 611"/>
                <a:gd name="T93" fmla="*/ 551 h 725"/>
                <a:gd name="T94" fmla="*/ 419 w 611"/>
                <a:gd name="T95" fmla="*/ 478 h 725"/>
                <a:gd name="T96" fmla="*/ 422 w 611"/>
                <a:gd name="T97" fmla="*/ 451 h 725"/>
                <a:gd name="T98" fmla="*/ 457 w 611"/>
                <a:gd name="T99" fmla="*/ 443 h 725"/>
                <a:gd name="T100" fmla="*/ 495 w 611"/>
                <a:gd name="T101" fmla="*/ 446 h 725"/>
                <a:gd name="T102" fmla="*/ 549 w 611"/>
                <a:gd name="T103" fmla="*/ 412 h 725"/>
                <a:gd name="T104" fmla="*/ 540 w 611"/>
                <a:gd name="T105" fmla="*/ 381 h 725"/>
                <a:gd name="T106" fmla="*/ 584 w 611"/>
                <a:gd name="T107" fmla="*/ 346 h 725"/>
                <a:gd name="T108" fmla="*/ 564 w 611"/>
                <a:gd name="T109" fmla="*/ 296 h 725"/>
                <a:gd name="T110" fmla="*/ 533 w 611"/>
                <a:gd name="T111" fmla="*/ 257 h 725"/>
                <a:gd name="T112" fmla="*/ 586 w 611"/>
                <a:gd name="T113" fmla="*/ 240 h 725"/>
                <a:gd name="T114" fmla="*/ 607 w 611"/>
                <a:gd name="T115" fmla="*/ 114 h 725"/>
                <a:gd name="T116" fmla="*/ 363 w 611"/>
                <a:gd name="T117" fmla="*/ 29 h 725"/>
                <a:gd name="T118" fmla="*/ 445 w 611"/>
                <a:gd name="T119" fmla="*/ 16 h 725"/>
                <a:gd name="T120" fmla="*/ 494 w 611"/>
                <a:gd name="T121" fmla="*/ 4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11" h="725">
                  <a:moveTo>
                    <a:pt x="132" y="567"/>
                  </a:moveTo>
                  <a:lnTo>
                    <a:pt x="131" y="568"/>
                  </a:lnTo>
                  <a:lnTo>
                    <a:pt x="129" y="572"/>
                  </a:lnTo>
                  <a:lnTo>
                    <a:pt x="123" y="571"/>
                  </a:lnTo>
                  <a:lnTo>
                    <a:pt x="122" y="571"/>
                  </a:lnTo>
                  <a:lnTo>
                    <a:pt x="120" y="569"/>
                  </a:lnTo>
                  <a:lnTo>
                    <a:pt x="116" y="569"/>
                  </a:lnTo>
                  <a:lnTo>
                    <a:pt x="115" y="568"/>
                  </a:lnTo>
                  <a:lnTo>
                    <a:pt x="113" y="567"/>
                  </a:lnTo>
                  <a:lnTo>
                    <a:pt x="111" y="563"/>
                  </a:lnTo>
                  <a:lnTo>
                    <a:pt x="110" y="561"/>
                  </a:lnTo>
                  <a:lnTo>
                    <a:pt x="108" y="560"/>
                  </a:lnTo>
                  <a:lnTo>
                    <a:pt x="105" y="558"/>
                  </a:lnTo>
                  <a:lnTo>
                    <a:pt x="101" y="558"/>
                  </a:lnTo>
                  <a:lnTo>
                    <a:pt x="100" y="560"/>
                  </a:lnTo>
                  <a:lnTo>
                    <a:pt x="99" y="565"/>
                  </a:lnTo>
                  <a:lnTo>
                    <a:pt x="96" y="568"/>
                  </a:lnTo>
                  <a:lnTo>
                    <a:pt x="81" y="575"/>
                  </a:lnTo>
                  <a:lnTo>
                    <a:pt x="77" y="575"/>
                  </a:lnTo>
                  <a:lnTo>
                    <a:pt x="71" y="573"/>
                  </a:lnTo>
                  <a:lnTo>
                    <a:pt x="65" y="573"/>
                  </a:lnTo>
                  <a:lnTo>
                    <a:pt x="61" y="572"/>
                  </a:lnTo>
                  <a:lnTo>
                    <a:pt x="56" y="568"/>
                  </a:lnTo>
                  <a:lnTo>
                    <a:pt x="41" y="563"/>
                  </a:lnTo>
                  <a:lnTo>
                    <a:pt x="31" y="557"/>
                  </a:lnTo>
                  <a:lnTo>
                    <a:pt x="28" y="557"/>
                  </a:lnTo>
                  <a:lnTo>
                    <a:pt x="26" y="559"/>
                  </a:lnTo>
                  <a:lnTo>
                    <a:pt x="0" y="567"/>
                  </a:lnTo>
                  <a:lnTo>
                    <a:pt x="0" y="567"/>
                  </a:lnTo>
                  <a:lnTo>
                    <a:pt x="2" y="577"/>
                  </a:lnTo>
                  <a:lnTo>
                    <a:pt x="1" y="583"/>
                  </a:lnTo>
                  <a:lnTo>
                    <a:pt x="1" y="589"/>
                  </a:lnTo>
                  <a:lnTo>
                    <a:pt x="3" y="595"/>
                  </a:lnTo>
                  <a:lnTo>
                    <a:pt x="7" y="600"/>
                  </a:lnTo>
                  <a:lnTo>
                    <a:pt x="8" y="600"/>
                  </a:lnTo>
                  <a:lnTo>
                    <a:pt x="12" y="602"/>
                  </a:lnTo>
                  <a:lnTo>
                    <a:pt x="17" y="602"/>
                  </a:lnTo>
                  <a:lnTo>
                    <a:pt x="24" y="601"/>
                  </a:lnTo>
                  <a:lnTo>
                    <a:pt x="25" y="599"/>
                  </a:lnTo>
                  <a:lnTo>
                    <a:pt x="24" y="596"/>
                  </a:lnTo>
                  <a:lnTo>
                    <a:pt x="25" y="593"/>
                  </a:lnTo>
                  <a:lnTo>
                    <a:pt x="27" y="591"/>
                  </a:lnTo>
                  <a:lnTo>
                    <a:pt x="29" y="590"/>
                  </a:lnTo>
                  <a:lnTo>
                    <a:pt x="32" y="590"/>
                  </a:lnTo>
                  <a:lnTo>
                    <a:pt x="38" y="589"/>
                  </a:lnTo>
                  <a:lnTo>
                    <a:pt x="42" y="589"/>
                  </a:lnTo>
                  <a:lnTo>
                    <a:pt x="46" y="589"/>
                  </a:lnTo>
                  <a:lnTo>
                    <a:pt x="65" y="596"/>
                  </a:lnTo>
                  <a:lnTo>
                    <a:pt x="68" y="598"/>
                  </a:lnTo>
                  <a:lnTo>
                    <a:pt x="69" y="601"/>
                  </a:lnTo>
                  <a:lnTo>
                    <a:pt x="69" y="604"/>
                  </a:lnTo>
                  <a:lnTo>
                    <a:pt x="69" y="607"/>
                  </a:lnTo>
                  <a:lnTo>
                    <a:pt x="71" y="609"/>
                  </a:lnTo>
                  <a:lnTo>
                    <a:pt x="73" y="610"/>
                  </a:lnTo>
                  <a:lnTo>
                    <a:pt x="92" y="610"/>
                  </a:lnTo>
                  <a:lnTo>
                    <a:pt x="95" y="609"/>
                  </a:lnTo>
                  <a:lnTo>
                    <a:pt x="103" y="603"/>
                  </a:lnTo>
                  <a:lnTo>
                    <a:pt x="122" y="593"/>
                  </a:lnTo>
                  <a:lnTo>
                    <a:pt x="130" y="587"/>
                  </a:lnTo>
                  <a:lnTo>
                    <a:pt x="137" y="578"/>
                  </a:lnTo>
                  <a:lnTo>
                    <a:pt x="138" y="576"/>
                  </a:lnTo>
                  <a:lnTo>
                    <a:pt x="139" y="570"/>
                  </a:lnTo>
                  <a:lnTo>
                    <a:pt x="139" y="569"/>
                  </a:lnTo>
                  <a:lnTo>
                    <a:pt x="135" y="567"/>
                  </a:lnTo>
                  <a:lnTo>
                    <a:pt x="132" y="567"/>
                  </a:lnTo>
                  <a:close/>
                  <a:moveTo>
                    <a:pt x="59" y="490"/>
                  </a:moveTo>
                  <a:lnTo>
                    <a:pt x="66" y="490"/>
                  </a:lnTo>
                  <a:lnTo>
                    <a:pt x="67" y="489"/>
                  </a:lnTo>
                  <a:lnTo>
                    <a:pt x="71" y="485"/>
                  </a:lnTo>
                  <a:lnTo>
                    <a:pt x="73" y="485"/>
                  </a:lnTo>
                  <a:lnTo>
                    <a:pt x="75" y="486"/>
                  </a:lnTo>
                  <a:lnTo>
                    <a:pt x="76" y="487"/>
                  </a:lnTo>
                  <a:lnTo>
                    <a:pt x="77" y="488"/>
                  </a:lnTo>
                  <a:lnTo>
                    <a:pt x="83" y="490"/>
                  </a:lnTo>
                  <a:lnTo>
                    <a:pt x="86" y="493"/>
                  </a:lnTo>
                  <a:lnTo>
                    <a:pt x="86" y="496"/>
                  </a:lnTo>
                  <a:lnTo>
                    <a:pt x="88" y="499"/>
                  </a:lnTo>
                  <a:lnTo>
                    <a:pt x="91" y="502"/>
                  </a:lnTo>
                  <a:lnTo>
                    <a:pt x="97" y="504"/>
                  </a:lnTo>
                  <a:lnTo>
                    <a:pt x="100" y="504"/>
                  </a:lnTo>
                  <a:lnTo>
                    <a:pt x="112" y="502"/>
                  </a:lnTo>
                  <a:lnTo>
                    <a:pt x="115" y="500"/>
                  </a:lnTo>
                  <a:lnTo>
                    <a:pt x="118" y="499"/>
                  </a:lnTo>
                  <a:lnTo>
                    <a:pt x="119" y="496"/>
                  </a:lnTo>
                  <a:lnTo>
                    <a:pt x="119" y="492"/>
                  </a:lnTo>
                  <a:lnTo>
                    <a:pt x="116" y="490"/>
                  </a:lnTo>
                  <a:lnTo>
                    <a:pt x="110" y="488"/>
                  </a:lnTo>
                  <a:lnTo>
                    <a:pt x="108" y="487"/>
                  </a:lnTo>
                  <a:lnTo>
                    <a:pt x="107" y="485"/>
                  </a:lnTo>
                  <a:lnTo>
                    <a:pt x="106" y="484"/>
                  </a:lnTo>
                  <a:lnTo>
                    <a:pt x="100" y="477"/>
                  </a:lnTo>
                  <a:lnTo>
                    <a:pt x="97" y="475"/>
                  </a:lnTo>
                  <a:lnTo>
                    <a:pt x="94" y="474"/>
                  </a:lnTo>
                  <a:lnTo>
                    <a:pt x="79" y="474"/>
                  </a:lnTo>
                  <a:lnTo>
                    <a:pt x="77" y="472"/>
                  </a:lnTo>
                  <a:lnTo>
                    <a:pt x="74" y="472"/>
                  </a:lnTo>
                  <a:lnTo>
                    <a:pt x="73" y="472"/>
                  </a:lnTo>
                  <a:lnTo>
                    <a:pt x="60" y="474"/>
                  </a:lnTo>
                  <a:lnTo>
                    <a:pt x="54" y="478"/>
                  </a:lnTo>
                  <a:lnTo>
                    <a:pt x="54" y="486"/>
                  </a:lnTo>
                  <a:lnTo>
                    <a:pt x="56" y="490"/>
                  </a:lnTo>
                  <a:lnTo>
                    <a:pt x="59" y="490"/>
                  </a:lnTo>
                  <a:close/>
                  <a:moveTo>
                    <a:pt x="225" y="149"/>
                  </a:moveTo>
                  <a:lnTo>
                    <a:pt x="230" y="148"/>
                  </a:lnTo>
                  <a:lnTo>
                    <a:pt x="233" y="140"/>
                  </a:lnTo>
                  <a:lnTo>
                    <a:pt x="241" y="134"/>
                  </a:lnTo>
                  <a:lnTo>
                    <a:pt x="245" y="128"/>
                  </a:lnTo>
                  <a:lnTo>
                    <a:pt x="247" y="123"/>
                  </a:lnTo>
                  <a:lnTo>
                    <a:pt x="248" y="120"/>
                  </a:lnTo>
                  <a:lnTo>
                    <a:pt x="245" y="120"/>
                  </a:lnTo>
                  <a:lnTo>
                    <a:pt x="245" y="118"/>
                  </a:lnTo>
                  <a:lnTo>
                    <a:pt x="248" y="116"/>
                  </a:lnTo>
                  <a:lnTo>
                    <a:pt x="248" y="112"/>
                  </a:lnTo>
                  <a:lnTo>
                    <a:pt x="247" y="107"/>
                  </a:lnTo>
                  <a:lnTo>
                    <a:pt x="244" y="104"/>
                  </a:lnTo>
                  <a:lnTo>
                    <a:pt x="245" y="102"/>
                  </a:lnTo>
                  <a:lnTo>
                    <a:pt x="245" y="101"/>
                  </a:lnTo>
                  <a:lnTo>
                    <a:pt x="245" y="100"/>
                  </a:lnTo>
                  <a:lnTo>
                    <a:pt x="244" y="98"/>
                  </a:lnTo>
                  <a:lnTo>
                    <a:pt x="239" y="98"/>
                  </a:lnTo>
                  <a:lnTo>
                    <a:pt x="235" y="104"/>
                  </a:lnTo>
                  <a:lnTo>
                    <a:pt x="232" y="112"/>
                  </a:lnTo>
                  <a:lnTo>
                    <a:pt x="224" y="119"/>
                  </a:lnTo>
                  <a:lnTo>
                    <a:pt x="220" y="125"/>
                  </a:lnTo>
                  <a:lnTo>
                    <a:pt x="217" y="133"/>
                  </a:lnTo>
                  <a:lnTo>
                    <a:pt x="216" y="140"/>
                  </a:lnTo>
                  <a:lnTo>
                    <a:pt x="219" y="147"/>
                  </a:lnTo>
                  <a:lnTo>
                    <a:pt x="225" y="149"/>
                  </a:lnTo>
                  <a:close/>
                  <a:moveTo>
                    <a:pt x="252" y="88"/>
                  </a:moveTo>
                  <a:lnTo>
                    <a:pt x="256" y="83"/>
                  </a:lnTo>
                  <a:lnTo>
                    <a:pt x="268" y="70"/>
                  </a:lnTo>
                  <a:lnTo>
                    <a:pt x="273" y="69"/>
                  </a:lnTo>
                  <a:lnTo>
                    <a:pt x="275" y="68"/>
                  </a:lnTo>
                  <a:lnTo>
                    <a:pt x="279" y="68"/>
                  </a:lnTo>
                  <a:lnTo>
                    <a:pt x="279" y="66"/>
                  </a:lnTo>
                  <a:lnTo>
                    <a:pt x="271" y="65"/>
                  </a:lnTo>
                  <a:lnTo>
                    <a:pt x="260" y="71"/>
                  </a:lnTo>
                  <a:lnTo>
                    <a:pt x="250" y="80"/>
                  </a:lnTo>
                  <a:lnTo>
                    <a:pt x="243" y="89"/>
                  </a:lnTo>
                  <a:lnTo>
                    <a:pt x="248" y="91"/>
                  </a:lnTo>
                  <a:lnTo>
                    <a:pt x="252" y="88"/>
                  </a:lnTo>
                  <a:close/>
                  <a:moveTo>
                    <a:pt x="296" y="54"/>
                  </a:moveTo>
                  <a:lnTo>
                    <a:pt x="317" y="45"/>
                  </a:lnTo>
                  <a:lnTo>
                    <a:pt x="323" y="43"/>
                  </a:lnTo>
                  <a:lnTo>
                    <a:pt x="330" y="40"/>
                  </a:lnTo>
                  <a:lnTo>
                    <a:pt x="337" y="40"/>
                  </a:lnTo>
                  <a:lnTo>
                    <a:pt x="339" y="38"/>
                  </a:lnTo>
                  <a:lnTo>
                    <a:pt x="339" y="37"/>
                  </a:lnTo>
                  <a:lnTo>
                    <a:pt x="338" y="35"/>
                  </a:lnTo>
                  <a:lnTo>
                    <a:pt x="338" y="35"/>
                  </a:lnTo>
                  <a:lnTo>
                    <a:pt x="347" y="34"/>
                  </a:lnTo>
                  <a:lnTo>
                    <a:pt x="351" y="33"/>
                  </a:lnTo>
                  <a:lnTo>
                    <a:pt x="355" y="27"/>
                  </a:lnTo>
                  <a:lnTo>
                    <a:pt x="332" y="32"/>
                  </a:lnTo>
                  <a:lnTo>
                    <a:pt x="330" y="34"/>
                  </a:lnTo>
                  <a:lnTo>
                    <a:pt x="327" y="36"/>
                  </a:lnTo>
                  <a:lnTo>
                    <a:pt x="306" y="40"/>
                  </a:lnTo>
                  <a:lnTo>
                    <a:pt x="302" y="40"/>
                  </a:lnTo>
                  <a:lnTo>
                    <a:pt x="299" y="43"/>
                  </a:lnTo>
                  <a:lnTo>
                    <a:pt x="291" y="45"/>
                  </a:lnTo>
                  <a:lnTo>
                    <a:pt x="289" y="50"/>
                  </a:lnTo>
                  <a:lnTo>
                    <a:pt x="291" y="54"/>
                  </a:lnTo>
                  <a:lnTo>
                    <a:pt x="296" y="54"/>
                  </a:lnTo>
                  <a:close/>
                  <a:moveTo>
                    <a:pt x="610" y="103"/>
                  </a:moveTo>
                  <a:lnTo>
                    <a:pt x="611" y="99"/>
                  </a:lnTo>
                  <a:lnTo>
                    <a:pt x="611" y="94"/>
                  </a:lnTo>
                  <a:lnTo>
                    <a:pt x="611" y="90"/>
                  </a:lnTo>
                  <a:lnTo>
                    <a:pt x="611" y="83"/>
                  </a:lnTo>
                  <a:lnTo>
                    <a:pt x="609" y="83"/>
                  </a:lnTo>
                  <a:lnTo>
                    <a:pt x="597" y="80"/>
                  </a:lnTo>
                  <a:lnTo>
                    <a:pt x="593" y="77"/>
                  </a:lnTo>
                  <a:lnTo>
                    <a:pt x="592" y="73"/>
                  </a:lnTo>
                  <a:lnTo>
                    <a:pt x="591" y="70"/>
                  </a:lnTo>
                  <a:lnTo>
                    <a:pt x="591" y="70"/>
                  </a:lnTo>
                  <a:lnTo>
                    <a:pt x="592" y="69"/>
                  </a:lnTo>
                  <a:lnTo>
                    <a:pt x="593" y="68"/>
                  </a:lnTo>
                  <a:lnTo>
                    <a:pt x="593" y="66"/>
                  </a:lnTo>
                  <a:lnTo>
                    <a:pt x="592" y="66"/>
                  </a:lnTo>
                  <a:lnTo>
                    <a:pt x="591" y="67"/>
                  </a:lnTo>
                  <a:lnTo>
                    <a:pt x="589" y="68"/>
                  </a:lnTo>
                  <a:lnTo>
                    <a:pt x="587" y="67"/>
                  </a:lnTo>
                  <a:lnTo>
                    <a:pt x="586" y="66"/>
                  </a:lnTo>
                  <a:lnTo>
                    <a:pt x="583" y="67"/>
                  </a:lnTo>
                  <a:lnTo>
                    <a:pt x="577" y="63"/>
                  </a:lnTo>
                  <a:lnTo>
                    <a:pt x="572" y="61"/>
                  </a:lnTo>
                  <a:lnTo>
                    <a:pt x="570" y="60"/>
                  </a:lnTo>
                  <a:lnTo>
                    <a:pt x="570" y="59"/>
                  </a:lnTo>
                  <a:lnTo>
                    <a:pt x="569" y="58"/>
                  </a:lnTo>
                  <a:lnTo>
                    <a:pt x="569" y="58"/>
                  </a:lnTo>
                  <a:lnTo>
                    <a:pt x="565" y="55"/>
                  </a:lnTo>
                  <a:lnTo>
                    <a:pt x="564" y="55"/>
                  </a:lnTo>
                  <a:lnTo>
                    <a:pt x="559" y="33"/>
                  </a:lnTo>
                  <a:lnTo>
                    <a:pt x="556" y="30"/>
                  </a:lnTo>
                  <a:lnTo>
                    <a:pt x="553" y="28"/>
                  </a:lnTo>
                  <a:lnTo>
                    <a:pt x="537" y="26"/>
                  </a:lnTo>
                  <a:lnTo>
                    <a:pt x="500" y="31"/>
                  </a:lnTo>
                  <a:lnTo>
                    <a:pt x="476" y="38"/>
                  </a:lnTo>
                  <a:lnTo>
                    <a:pt x="472" y="41"/>
                  </a:lnTo>
                  <a:lnTo>
                    <a:pt x="471" y="42"/>
                  </a:lnTo>
                  <a:lnTo>
                    <a:pt x="469" y="41"/>
                  </a:lnTo>
                  <a:lnTo>
                    <a:pt x="466" y="39"/>
                  </a:lnTo>
                  <a:lnTo>
                    <a:pt x="465" y="38"/>
                  </a:lnTo>
                  <a:lnTo>
                    <a:pt x="451" y="39"/>
                  </a:lnTo>
                  <a:lnTo>
                    <a:pt x="433" y="39"/>
                  </a:lnTo>
                  <a:lnTo>
                    <a:pt x="418" y="40"/>
                  </a:lnTo>
                  <a:lnTo>
                    <a:pt x="407" y="45"/>
                  </a:lnTo>
                  <a:lnTo>
                    <a:pt x="404" y="46"/>
                  </a:lnTo>
                  <a:lnTo>
                    <a:pt x="398" y="50"/>
                  </a:lnTo>
                  <a:lnTo>
                    <a:pt x="373" y="60"/>
                  </a:lnTo>
                  <a:lnTo>
                    <a:pt x="367" y="65"/>
                  </a:lnTo>
                  <a:lnTo>
                    <a:pt x="359" y="66"/>
                  </a:lnTo>
                  <a:lnTo>
                    <a:pt x="356" y="68"/>
                  </a:lnTo>
                  <a:lnTo>
                    <a:pt x="353" y="70"/>
                  </a:lnTo>
                  <a:lnTo>
                    <a:pt x="351" y="74"/>
                  </a:lnTo>
                  <a:lnTo>
                    <a:pt x="348" y="77"/>
                  </a:lnTo>
                  <a:lnTo>
                    <a:pt x="342" y="79"/>
                  </a:lnTo>
                  <a:lnTo>
                    <a:pt x="339" y="83"/>
                  </a:lnTo>
                  <a:lnTo>
                    <a:pt x="333" y="89"/>
                  </a:lnTo>
                  <a:lnTo>
                    <a:pt x="330" y="97"/>
                  </a:lnTo>
                  <a:lnTo>
                    <a:pt x="326" y="115"/>
                  </a:lnTo>
                  <a:lnTo>
                    <a:pt x="323" y="122"/>
                  </a:lnTo>
                  <a:lnTo>
                    <a:pt x="319" y="124"/>
                  </a:lnTo>
                  <a:lnTo>
                    <a:pt x="312" y="126"/>
                  </a:lnTo>
                  <a:lnTo>
                    <a:pt x="309" y="128"/>
                  </a:lnTo>
                  <a:lnTo>
                    <a:pt x="307" y="131"/>
                  </a:lnTo>
                  <a:lnTo>
                    <a:pt x="275" y="160"/>
                  </a:lnTo>
                  <a:lnTo>
                    <a:pt x="268" y="162"/>
                  </a:lnTo>
                  <a:lnTo>
                    <a:pt x="262" y="163"/>
                  </a:lnTo>
                  <a:lnTo>
                    <a:pt x="259" y="164"/>
                  </a:lnTo>
                  <a:lnTo>
                    <a:pt x="252" y="170"/>
                  </a:lnTo>
                  <a:lnTo>
                    <a:pt x="248" y="172"/>
                  </a:lnTo>
                  <a:lnTo>
                    <a:pt x="242" y="173"/>
                  </a:lnTo>
                  <a:lnTo>
                    <a:pt x="236" y="171"/>
                  </a:lnTo>
                  <a:lnTo>
                    <a:pt x="232" y="166"/>
                  </a:lnTo>
                  <a:lnTo>
                    <a:pt x="234" y="158"/>
                  </a:lnTo>
                  <a:lnTo>
                    <a:pt x="233" y="156"/>
                  </a:lnTo>
                  <a:lnTo>
                    <a:pt x="232" y="158"/>
                  </a:lnTo>
                  <a:lnTo>
                    <a:pt x="222" y="156"/>
                  </a:lnTo>
                  <a:lnTo>
                    <a:pt x="220" y="158"/>
                  </a:lnTo>
                  <a:lnTo>
                    <a:pt x="219" y="164"/>
                  </a:lnTo>
                  <a:lnTo>
                    <a:pt x="218" y="170"/>
                  </a:lnTo>
                  <a:lnTo>
                    <a:pt x="218" y="175"/>
                  </a:lnTo>
                  <a:lnTo>
                    <a:pt x="217" y="183"/>
                  </a:lnTo>
                  <a:lnTo>
                    <a:pt x="210" y="201"/>
                  </a:lnTo>
                  <a:lnTo>
                    <a:pt x="208" y="209"/>
                  </a:lnTo>
                  <a:lnTo>
                    <a:pt x="208" y="213"/>
                  </a:lnTo>
                  <a:lnTo>
                    <a:pt x="205" y="226"/>
                  </a:lnTo>
                  <a:lnTo>
                    <a:pt x="198" y="276"/>
                  </a:lnTo>
                  <a:lnTo>
                    <a:pt x="195" y="283"/>
                  </a:lnTo>
                  <a:lnTo>
                    <a:pt x="195" y="285"/>
                  </a:lnTo>
                  <a:lnTo>
                    <a:pt x="194" y="293"/>
                  </a:lnTo>
                  <a:lnTo>
                    <a:pt x="184" y="321"/>
                  </a:lnTo>
                  <a:lnTo>
                    <a:pt x="168" y="350"/>
                  </a:lnTo>
                  <a:lnTo>
                    <a:pt x="149" y="378"/>
                  </a:lnTo>
                  <a:lnTo>
                    <a:pt x="126" y="406"/>
                  </a:lnTo>
                  <a:lnTo>
                    <a:pt x="121" y="410"/>
                  </a:lnTo>
                  <a:lnTo>
                    <a:pt x="115" y="411"/>
                  </a:lnTo>
                  <a:lnTo>
                    <a:pt x="107" y="409"/>
                  </a:lnTo>
                  <a:lnTo>
                    <a:pt x="106" y="411"/>
                  </a:lnTo>
                  <a:lnTo>
                    <a:pt x="105" y="413"/>
                  </a:lnTo>
                  <a:lnTo>
                    <a:pt x="107" y="417"/>
                  </a:lnTo>
                  <a:lnTo>
                    <a:pt x="110" y="427"/>
                  </a:lnTo>
                  <a:lnTo>
                    <a:pt x="110" y="431"/>
                  </a:lnTo>
                  <a:lnTo>
                    <a:pt x="110" y="432"/>
                  </a:lnTo>
                  <a:lnTo>
                    <a:pt x="110" y="433"/>
                  </a:lnTo>
                  <a:lnTo>
                    <a:pt x="109" y="434"/>
                  </a:lnTo>
                  <a:lnTo>
                    <a:pt x="108" y="436"/>
                  </a:lnTo>
                  <a:lnTo>
                    <a:pt x="109" y="438"/>
                  </a:lnTo>
                  <a:lnTo>
                    <a:pt x="110" y="439"/>
                  </a:lnTo>
                  <a:lnTo>
                    <a:pt x="111" y="440"/>
                  </a:lnTo>
                  <a:lnTo>
                    <a:pt x="115" y="445"/>
                  </a:lnTo>
                  <a:lnTo>
                    <a:pt x="116" y="448"/>
                  </a:lnTo>
                  <a:lnTo>
                    <a:pt x="114" y="449"/>
                  </a:lnTo>
                  <a:lnTo>
                    <a:pt x="112" y="450"/>
                  </a:lnTo>
                  <a:lnTo>
                    <a:pt x="111" y="450"/>
                  </a:lnTo>
                  <a:lnTo>
                    <a:pt x="110" y="450"/>
                  </a:lnTo>
                  <a:lnTo>
                    <a:pt x="106" y="448"/>
                  </a:lnTo>
                  <a:lnTo>
                    <a:pt x="101" y="446"/>
                  </a:lnTo>
                  <a:lnTo>
                    <a:pt x="98" y="447"/>
                  </a:lnTo>
                  <a:lnTo>
                    <a:pt x="96" y="449"/>
                  </a:lnTo>
                  <a:lnTo>
                    <a:pt x="86" y="452"/>
                  </a:lnTo>
                  <a:lnTo>
                    <a:pt x="82" y="455"/>
                  </a:lnTo>
                  <a:lnTo>
                    <a:pt x="83" y="462"/>
                  </a:lnTo>
                  <a:lnTo>
                    <a:pt x="85" y="462"/>
                  </a:lnTo>
                  <a:lnTo>
                    <a:pt x="86" y="462"/>
                  </a:lnTo>
                  <a:lnTo>
                    <a:pt x="86" y="461"/>
                  </a:lnTo>
                  <a:lnTo>
                    <a:pt x="90" y="460"/>
                  </a:lnTo>
                  <a:lnTo>
                    <a:pt x="94" y="460"/>
                  </a:lnTo>
                  <a:lnTo>
                    <a:pt x="98" y="459"/>
                  </a:lnTo>
                  <a:lnTo>
                    <a:pt x="101" y="456"/>
                  </a:lnTo>
                  <a:lnTo>
                    <a:pt x="105" y="459"/>
                  </a:lnTo>
                  <a:lnTo>
                    <a:pt x="109" y="463"/>
                  </a:lnTo>
                  <a:lnTo>
                    <a:pt x="112" y="468"/>
                  </a:lnTo>
                  <a:lnTo>
                    <a:pt x="113" y="477"/>
                  </a:lnTo>
                  <a:lnTo>
                    <a:pt x="115" y="480"/>
                  </a:lnTo>
                  <a:lnTo>
                    <a:pt x="126" y="484"/>
                  </a:lnTo>
                  <a:lnTo>
                    <a:pt x="130" y="486"/>
                  </a:lnTo>
                  <a:lnTo>
                    <a:pt x="132" y="488"/>
                  </a:lnTo>
                  <a:lnTo>
                    <a:pt x="126" y="489"/>
                  </a:lnTo>
                  <a:lnTo>
                    <a:pt x="124" y="490"/>
                  </a:lnTo>
                  <a:lnTo>
                    <a:pt x="121" y="492"/>
                  </a:lnTo>
                  <a:lnTo>
                    <a:pt x="121" y="494"/>
                  </a:lnTo>
                  <a:lnTo>
                    <a:pt x="121" y="497"/>
                  </a:lnTo>
                  <a:lnTo>
                    <a:pt x="121" y="500"/>
                  </a:lnTo>
                  <a:lnTo>
                    <a:pt x="122" y="502"/>
                  </a:lnTo>
                  <a:lnTo>
                    <a:pt x="124" y="504"/>
                  </a:lnTo>
                  <a:lnTo>
                    <a:pt x="125" y="505"/>
                  </a:lnTo>
                  <a:lnTo>
                    <a:pt x="127" y="505"/>
                  </a:lnTo>
                  <a:lnTo>
                    <a:pt x="133" y="506"/>
                  </a:lnTo>
                  <a:lnTo>
                    <a:pt x="134" y="506"/>
                  </a:lnTo>
                  <a:lnTo>
                    <a:pt x="136" y="508"/>
                  </a:lnTo>
                  <a:lnTo>
                    <a:pt x="136" y="512"/>
                  </a:lnTo>
                  <a:lnTo>
                    <a:pt x="136" y="512"/>
                  </a:lnTo>
                  <a:lnTo>
                    <a:pt x="133" y="509"/>
                  </a:lnTo>
                  <a:lnTo>
                    <a:pt x="129" y="508"/>
                  </a:lnTo>
                  <a:lnTo>
                    <a:pt x="114" y="507"/>
                  </a:lnTo>
                  <a:lnTo>
                    <a:pt x="110" y="509"/>
                  </a:lnTo>
                  <a:lnTo>
                    <a:pt x="102" y="512"/>
                  </a:lnTo>
                  <a:lnTo>
                    <a:pt x="114" y="524"/>
                  </a:lnTo>
                  <a:lnTo>
                    <a:pt x="118" y="527"/>
                  </a:lnTo>
                  <a:lnTo>
                    <a:pt x="120" y="527"/>
                  </a:lnTo>
                  <a:lnTo>
                    <a:pt x="125" y="526"/>
                  </a:lnTo>
                  <a:lnTo>
                    <a:pt x="128" y="527"/>
                  </a:lnTo>
                  <a:lnTo>
                    <a:pt x="135" y="529"/>
                  </a:lnTo>
                  <a:lnTo>
                    <a:pt x="140" y="530"/>
                  </a:lnTo>
                  <a:lnTo>
                    <a:pt x="142" y="531"/>
                  </a:lnTo>
                  <a:lnTo>
                    <a:pt x="146" y="533"/>
                  </a:lnTo>
                  <a:lnTo>
                    <a:pt x="149" y="538"/>
                  </a:lnTo>
                  <a:lnTo>
                    <a:pt x="151" y="543"/>
                  </a:lnTo>
                  <a:lnTo>
                    <a:pt x="149" y="549"/>
                  </a:lnTo>
                  <a:lnTo>
                    <a:pt x="145" y="549"/>
                  </a:lnTo>
                  <a:lnTo>
                    <a:pt x="144" y="550"/>
                  </a:lnTo>
                  <a:lnTo>
                    <a:pt x="139" y="550"/>
                  </a:lnTo>
                  <a:lnTo>
                    <a:pt x="135" y="551"/>
                  </a:lnTo>
                  <a:lnTo>
                    <a:pt x="132" y="549"/>
                  </a:lnTo>
                  <a:lnTo>
                    <a:pt x="124" y="550"/>
                  </a:lnTo>
                  <a:lnTo>
                    <a:pt x="120" y="549"/>
                  </a:lnTo>
                  <a:lnTo>
                    <a:pt x="118" y="546"/>
                  </a:lnTo>
                  <a:lnTo>
                    <a:pt x="115" y="537"/>
                  </a:lnTo>
                  <a:lnTo>
                    <a:pt x="113" y="533"/>
                  </a:lnTo>
                  <a:lnTo>
                    <a:pt x="106" y="528"/>
                  </a:lnTo>
                  <a:lnTo>
                    <a:pt x="98" y="524"/>
                  </a:lnTo>
                  <a:lnTo>
                    <a:pt x="83" y="523"/>
                  </a:lnTo>
                  <a:lnTo>
                    <a:pt x="83" y="521"/>
                  </a:lnTo>
                  <a:lnTo>
                    <a:pt x="84" y="520"/>
                  </a:lnTo>
                  <a:lnTo>
                    <a:pt x="87" y="519"/>
                  </a:lnTo>
                  <a:lnTo>
                    <a:pt x="89" y="518"/>
                  </a:lnTo>
                  <a:lnTo>
                    <a:pt x="87" y="514"/>
                  </a:lnTo>
                  <a:lnTo>
                    <a:pt x="85" y="511"/>
                  </a:lnTo>
                  <a:lnTo>
                    <a:pt x="82" y="509"/>
                  </a:lnTo>
                  <a:lnTo>
                    <a:pt x="80" y="507"/>
                  </a:lnTo>
                  <a:lnTo>
                    <a:pt x="76" y="507"/>
                  </a:lnTo>
                  <a:lnTo>
                    <a:pt x="34" y="511"/>
                  </a:lnTo>
                  <a:lnTo>
                    <a:pt x="17" y="521"/>
                  </a:lnTo>
                  <a:lnTo>
                    <a:pt x="16" y="524"/>
                  </a:lnTo>
                  <a:lnTo>
                    <a:pt x="17" y="528"/>
                  </a:lnTo>
                  <a:lnTo>
                    <a:pt x="18" y="531"/>
                  </a:lnTo>
                  <a:lnTo>
                    <a:pt x="23" y="535"/>
                  </a:lnTo>
                  <a:lnTo>
                    <a:pt x="25" y="538"/>
                  </a:lnTo>
                  <a:lnTo>
                    <a:pt x="27" y="542"/>
                  </a:lnTo>
                  <a:lnTo>
                    <a:pt x="30" y="546"/>
                  </a:lnTo>
                  <a:lnTo>
                    <a:pt x="33" y="547"/>
                  </a:lnTo>
                  <a:lnTo>
                    <a:pt x="42" y="549"/>
                  </a:lnTo>
                  <a:lnTo>
                    <a:pt x="45" y="549"/>
                  </a:lnTo>
                  <a:lnTo>
                    <a:pt x="52" y="547"/>
                  </a:lnTo>
                  <a:lnTo>
                    <a:pt x="54" y="547"/>
                  </a:lnTo>
                  <a:lnTo>
                    <a:pt x="61" y="553"/>
                  </a:lnTo>
                  <a:lnTo>
                    <a:pt x="70" y="558"/>
                  </a:lnTo>
                  <a:lnTo>
                    <a:pt x="75" y="562"/>
                  </a:lnTo>
                  <a:lnTo>
                    <a:pt x="76" y="563"/>
                  </a:lnTo>
                  <a:lnTo>
                    <a:pt x="78" y="563"/>
                  </a:lnTo>
                  <a:lnTo>
                    <a:pt x="80" y="562"/>
                  </a:lnTo>
                  <a:lnTo>
                    <a:pt x="86" y="561"/>
                  </a:lnTo>
                  <a:lnTo>
                    <a:pt x="88" y="559"/>
                  </a:lnTo>
                  <a:lnTo>
                    <a:pt x="90" y="557"/>
                  </a:lnTo>
                  <a:lnTo>
                    <a:pt x="95" y="548"/>
                  </a:lnTo>
                  <a:lnTo>
                    <a:pt x="97" y="547"/>
                  </a:lnTo>
                  <a:lnTo>
                    <a:pt x="103" y="547"/>
                  </a:lnTo>
                  <a:lnTo>
                    <a:pt x="106" y="549"/>
                  </a:lnTo>
                  <a:lnTo>
                    <a:pt x="115" y="556"/>
                  </a:lnTo>
                  <a:lnTo>
                    <a:pt x="118" y="558"/>
                  </a:lnTo>
                  <a:lnTo>
                    <a:pt x="121" y="559"/>
                  </a:lnTo>
                  <a:lnTo>
                    <a:pt x="135" y="559"/>
                  </a:lnTo>
                  <a:lnTo>
                    <a:pt x="139" y="558"/>
                  </a:lnTo>
                  <a:lnTo>
                    <a:pt x="141" y="556"/>
                  </a:lnTo>
                  <a:lnTo>
                    <a:pt x="143" y="557"/>
                  </a:lnTo>
                  <a:lnTo>
                    <a:pt x="143" y="559"/>
                  </a:lnTo>
                  <a:lnTo>
                    <a:pt x="143" y="562"/>
                  </a:lnTo>
                  <a:lnTo>
                    <a:pt x="143" y="565"/>
                  </a:lnTo>
                  <a:lnTo>
                    <a:pt x="144" y="568"/>
                  </a:lnTo>
                  <a:lnTo>
                    <a:pt x="145" y="568"/>
                  </a:lnTo>
                  <a:lnTo>
                    <a:pt x="148" y="569"/>
                  </a:lnTo>
                  <a:lnTo>
                    <a:pt x="150" y="569"/>
                  </a:lnTo>
                  <a:lnTo>
                    <a:pt x="155" y="572"/>
                  </a:lnTo>
                  <a:lnTo>
                    <a:pt x="159" y="573"/>
                  </a:lnTo>
                  <a:lnTo>
                    <a:pt x="166" y="573"/>
                  </a:lnTo>
                  <a:lnTo>
                    <a:pt x="169" y="572"/>
                  </a:lnTo>
                  <a:lnTo>
                    <a:pt x="170" y="568"/>
                  </a:lnTo>
                  <a:lnTo>
                    <a:pt x="169" y="565"/>
                  </a:lnTo>
                  <a:lnTo>
                    <a:pt x="165" y="561"/>
                  </a:lnTo>
                  <a:lnTo>
                    <a:pt x="164" y="558"/>
                  </a:lnTo>
                  <a:lnTo>
                    <a:pt x="164" y="556"/>
                  </a:lnTo>
                  <a:lnTo>
                    <a:pt x="165" y="554"/>
                  </a:lnTo>
                  <a:lnTo>
                    <a:pt x="165" y="552"/>
                  </a:lnTo>
                  <a:lnTo>
                    <a:pt x="164" y="550"/>
                  </a:lnTo>
                  <a:lnTo>
                    <a:pt x="172" y="545"/>
                  </a:lnTo>
                  <a:lnTo>
                    <a:pt x="180" y="542"/>
                  </a:lnTo>
                  <a:lnTo>
                    <a:pt x="185" y="541"/>
                  </a:lnTo>
                  <a:lnTo>
                    <a:pt x="187" y="542"/>
                  </a:lnTo>
                  <a:lnTo>
                    <a:pt x="188" y="544"/>
                  </a:lnTo>
                  <a:lnTo>
                    <a:pt x="188" y="548"/>
                  </a:lnTo>
                  <a:lnTo>
                    <a:pt x="187" y="551"/>
                  </a:lnTo>
                  <a:lnTo>
                    <a:pt x="186" y="554"/>
                  </a:lnTo>
                  <a:lnTo>
                    <a:pt x="189" y="556"/>
                  </a:lnTo>
                  <a:lnTo>
                    <a:pt x="192" y="556"/>
                  </a:lnTo>
                  <a:lnTo>
                    <a:pt x="196" y="555"/>
                  </a:lnTo>
                  <a:lnTo>
                    <a:pt x="201" y="556"/>
                  </a:lnTo>
                  <a:lnTo>
                    <a:pt x="203" y="556"/>
                  </a:lnTo>
                  <a:lnTo>
                    <a:pt x="206" y="555"/>
                  </a:lnTo>
                  <a:lnTo>
                    <a:pt x="208" y="554"/>
                  </a:lnTo>
                  <a:lnTo>
                    <a:pt x="220" y="539"/>
                  </a:lnTo>
                  <a:lnTo>
                    <a:pt x="225" y="536"/>
                  </a:lnTo>
                  <a:lnTo>
                    <a:pt x="227" y="537"/>
                  </a:lnTo>
                  <a:lnTo>
                    <a:pt x="230" y="538"/>
                  </a:lnTo>
                  <a:lnTo>
                    <a:pt x="233" y="539"/>
                  </a:lnTo>
                  <a:lnTo>
                    <a:pt x="234" y="542"/>
                  </a:lnTo>
                  <a:lnTo>
                    <a:pt x="235" y="545"/>
                  </a:lnTo>
                  <a:lnTo>
                    <a:pt x="234" y="549"/>
                  </a:lnTo>
                  <a:lnTo>
                    <a:pt x="233" y="553"/>
                  </a:lnTo>
                  <a:lnTo>
                    <a:pt x="234" y="557"/>
                  </a:lnTo>
                  <a:lnTo>
                    <a:pt x="227" y="554"/>
                  </a:lnTo>
                  <a:lnTo>
                    <a:pt x="225" y="554"/>
                  </a:lnTo>
                  <a:lnTo>
                    <a:pt x="225" y="558"/>
                  </a:lnTo>
                  <a:lnTo>
                    <a:pt x="228" y="559"/>
                  </a:lnTo>
                  <a:lnTo>
                    <a:pt x="239" y="559"/>
                  </a:lnTo>
                  <a:lnTo>
                    <a:pt x="242" y="560"/>
                  </a:lnTo>
                  <a:lnTo>
                    <a:pt x="248" y="563"/>
                  </a:lnTo>
                  <a:lnTo>
                    <a:pt x="252" y="562"/>
                  </a:lnTo>
                  <a:lnTo>
                    <a:pt x="256" y="558"/>
                  </a:lnTo>
                  <a:lnTo>
                    <a:pt x="259" y="553"/>
                  </a:lnTo>
                  <a:lnTo>
                    <a:pt x="262" y="549"/>
                  </a:lnTo>
                  <a:lnTo>
                    <a:pt x="263" y="546"/>
                  </a:lnTo>
                  <a:lnTo>
                    <a:pt x="263" y="544"/>
                  </a:lnTo>
                  <a:lnTo>
                    <a:pt x="264" y="542"/>
                  </a:lnTo>
                  <a:lnTo>
                    <a:pt x="267" y="541"/>
                  </a:lnTo>
                  <a:lnTo>
                    <a:pt x="267" y="542"/>
                  </a:lnTo>
                  <a:lnTo>
                    <a:pt x="272" y="545"/>
                  </a:lnTo>
                  <a:lnTo>
                    <a:pt x="275" y="551"/>
                  </a:lnTo>
                  <a:lnTo>
                    <a:pt x="274" y="555"/>
                  </a:lnTo>
                  <a:lnTo>
                    <a:pt x="273" y="559"/>
                  </a:lnTo>
                  <a:lnTo>
                    <a:pt x="272" y="565"/>
                  </a:lnTo>
                  <a:lnTo>
                    <a:pt x="273" y="567"/>
                  </a:lnTo>
                  <a:lnTo>
                    <a:pt x="279" y="573"/>
                  </a:lnTo>
                  <a:lnTo>
                    <a:pt x="279" y="576"/>
                  </a:lnTo>
                  <a:lnTo>
                    <a:pt x="281" y="581"/>
                  </a:lnTo>
                  <a:lnTo>
                    <a:pt x="282" y="583"/>
                  </a:lnTo>
                  <a:lnTo>
                    <a:pt x="285" y="584"/>
                  </a:lnTo>
                  <a:lnTo>
                    <a:pt x="291" y="584"/>
                  </a:lnTo>
                  <a:lnTo>
                    <a:pt x="294" y="584"/>
                  </a:lnTo>
                  <a:lnTo>
                    <a:pt x="296" y="588"/>
                  </a:lnTo>
                  <a:lnTo>
                    <a:pt x="296" y="597"/>
                  </a:lnTo>
                  <a:lnTo>
                    <a:pt x="299" y="597"/>
                  </a:lnTo>
                  <a:lnTo>
                    <a:pt x="300" y="597"/>
                  </a:lnTo>
                  <a:lnTo>
                    <a:pt x="305" y="596"/>
                  </a:lnTo>
                  <a:lnTo>
                    <a:pt x="324" y="597"/>
                  </a:lnTo>
                  <a:lnTo>
                    <a:pt x="327" y="595"/>
                  </a:lnTo>
                  <a:lnTo>
                    <a:pt x="334" y="591"/>
                  </a:lnTo>
                  <a:lnTo>
                    <a:pt x="337" y="589"/>
                  </a:lnTo>
                  <a:lnTo>
                    <a:pt x="341" y="590"/>
                  </a:lnTo>
                  <a:lnTo>
                    <a:pt x="344" y="592"/>
                  </a:lnTo>
                  <a:lnTo>
                    <a:pt x="347" y="596"/>
                  </a:lnTo>
                  <a:lnTo>
                    <a:pt x="348" y="601"/>
                  </a:lnTo>
                  <a:lnTo>
                    <a:pt x="349" y="607"/>
                  </a:lnTo>
                  <a:lnTo>
                    <a:pt x="350" y="607"/>
                  </a:lnTo>
                  <a:lnTo>
                    <a:pt x="353" y="610"/>
                  </a:lnTo>
                  <a:lnTo>
                    <a:pt x="362" y="612"/>
                  </a:lnTo>
                  <a:lnTo>
                    <a:pt x="364" y="614"/>
                  </a:lnTo>
                  <a:lnTo>
                    <a:pt x="365" y="616"/>
                  </a:lnTo>
                  <a:lnTo>
                    <a:pt x="367" y="617"/>
                  </a:lnTo>
                  <a:lnTo>
                    <a:pt x="370" y="617"/>
                  </a:lnTo>
                  <a:lnTo>
                    <a:pt x="376" y="615"/>
                  </a:lnTo>
                  <a:lnTo>
                    <a:pt x="378" y="616"/>
                  </a:lnTo>
                  <a:lnTo>
                    <a:pt x="381" y="617"/>
                  </a:lnTo>
                  <a:lnTo>
                    <a:pt x="384" y="622"/>
                  </a:lnTo>
                  <a:lnTo>
                    <a:pt x="386" y="623"/>
                  </a:lnTo>
                  <a:lnTo>
                    <a:pt x="391" y="622"/>
                  </a:lnTo>
                  <a:lnTo>
                    <a:pt x="394" y="622"/>
                  </a:lnTo>
                  <a:lnTo>
                    <a:pt x="395" y="626"/>
                  </a:lnTo>
                  <a:lnTo>
                    <a:pt x="396" y="627"/>
                  </a:lnTo>
                  <a:lnTo>
                    <a:pt x="394" y="629"/>
                  </a:lnTo>
                  <a:lnTo>
                    <a:pt x="393" y="632"/>
                  </a:lnTo>
                  <a:lnTo>
                    <a:pt x="397" y="636"/>
                  </a:lnTo>
                  <a:lnTo>
                    <a:pt x="395" y="637"/>
                  </a:lnTo>
                  <a:lnTo>
                    <a:pt x="394" y="637"/>
                  </a:lnTo>
                  <a:lnTo>
                    <a:pt x="392" y="638"/>
                  </a:lnTo>
                  <a:lnTo>
                    <a:pt x="390" y="637"/>
                  </a:lnTo>
                  <a:lnTo>
                    <a:pt x="390" y="639"/>
                  </a:lnTo>
                  <a:lnTo>
                    <a:pt x="391" y="640"/>
                  </a:lnTo>
                  <a:lnTo>
                    <a:pt x="391" y="641"/>
                  </a:lnTo>
                  <a:lnTo>
                    <a:pt x="390" y="645"/>
                  </a:lnTo>
                  <a:lnTo>
                    <a:pt x="389" y="646"/>
                  </a:lnTo>
                  <a:lnTo>
                    <a:pt x="388" y="648"/>
                  </a:lnTo>
                  <a:lnTo>
                    <a:pt x="386" y="646"/>
                  </a:lnTo>
                  <a:lnTo>
                    <a:pt x="385" y="647"/>
                  </a:lnTo>
                  <a:lnTo>
                    <a:pt x="384" y="650"/>
                  </a:lnTo>
                  <a:lnTo>
                    <a:pt x="384" y="653"/>
                  </a:lnTo>
                  <a:lnTo>
                    <a:pt x="386" y="656"/>
                  </a:lnTo>
                  <a:lnTo>
                    <a:pt x="383" y="662"/>
                  </a:lnTo>
                  <a:lnTo>
                    <a:pt x="377" y="672"/>
                  </a:lnTo>
                  <a:lnTo>
                    <a:pt x="380" y="671"/>
                  </a:lnTo>
                  <a:lnTo>
                    <a:pt x="382" y="671"/>
                  </a:lnTo>
                  <a:lnTo>
                    <a:pt x="384" y="672"/>
                  </a:lnTo>
                  <a:lnTo>
                    <a:pt x="382" y="675"/>
                  </a:lnTo>
                  <a:lnTo>
                    <a:pt x="379" y="681"/>
                  </a:lnTo>
                  <a:lnTo>
                    <a:pt x="377" y="684"/>
                  </a:lnTo>
                  <a:lnTo>
                    <a:pt x="376" y="685"/>
                  </a:lnTo>
                  <a:lnTo>
                    <a:pt x="374" y="686"/>
                  </a:lnTo>
                  <a:lnTo>
                    <a:pt x="373" y="686"/>
                  </a:lnTo>
                  <a:lnTo>
                    <a:pt x="361" y="699"/>
                  </a:lnTo>
                  <a:lnTo>
                    <a:pt x="361" y="705"/>
                  </a:lnTo>
                  <a:lnTo>
                    <a:pt x="364" y="708"/>
                  </a:lnTo>
                  <a:lnTo>
                    <a:pt x="367" y="710"/>
                  </a:lnTo>
                  <a:lnTo>
                    <a:pt x="368" y="711"/>
                  </a:lnTo>
                  <a:lnTo>
                    <a:pt x="371" y="712"/>
                  </a:lnTo>
                  <a:lnTo>
                    <a:pt x="374" y="713"/>
                  </a:lnTo>
                  <a:lnTo>
                    <a:pt x="373" y="716"/>
                  </a:lnTo>
                  <a:lnTo>
                    <a:pt x="372" y="722"/>
                  </a:lnTo>
                  <a:lnTo>
                    <a:pt x="374" y="724"/>
                  </a:lnTo>
                  <a:lnTo>
                    <a:pt x="376" y="724"/>
                  </a:lnTo>
                  <a:lnTo>
                    <a:pt x="378" y="724"/>
                  </a:lnTo>
                  <a:lnTo>
                    <a:pt x="379" y="722"/>
                  </a:lnTo>
                  <a:lnTo>
                    <a:pt x="380" y="720"/>
                  </a:lnTo>
                  <a:lnTo>
                    <a:pt x="382" y="719"/>
                  </a:lnTo>
                  <a:lnTo>
                    <a:pt x="383" y="720"/>
                  </a:lnTo>
                  <a:lnTo>
                    <a:pt x="387" y="723"/>
                  </a:lnTo>
                  <a:lnTo>
                    <a:pt x="388" y="724"/>
                  </a:lnTo>
                  <a:lnTo>
                    <a:pt x="402" y="724"/>
                  </a:lnTo>
                  <a:lnTo>
                    <a:pt x="404" y="724"/>
                  </a:lnTo>
                  <a:lnTo>
                    <a:pt x="404" y="724"/>
                  </a:lnTo>
                  <a:lnTo>
                    <a:pt x="406" y="725"/>
                  </a:lnTo>
                  <a:lnTo>
                    <a:pt x="417" y="725"/>
                  </a:lnTo>
                  <a:lnTo>
                    <a:pt x="420" y="725"/>
                  </a:lnTo>
                  <a:lnTo>
                    <a:pt x="421" y="721"/>
                  </a:lnTo>
                  <a:lnTo>
                    <a:pt x="419" y="720"/>
                  </a:lnTo>
                  <a:lnTo>
                    <a:pt x="418" y="719"/>
                  </a:lnTo>
                  <a:lnTo>
                    <a:pt x="417" y="717"/>
                  </a:lnTo>
                  <a:lnTo>
                    <a:pt x="416" y="714"/>
                  </a:lnTo>
                  <a:lnTo>
                    <a:pt x="418" y="714"/>
                  </a:lnTo>
                  <a:lnTo>
                    <a:pt x="421" y="712"/>
                  </a:lnTo>
                  <a:lnTo>
                    <a:pt x="422" y="709"/>
                  </a:lnTo>
                  <a:lnTo>
                    <a:pt x="421" y="707"/>
                  </a:lnTo>
                  <a:lnTo>
                    <a:pt x="421" y="705"/>
                  </a:lnTo>
                  <a:lnTo>
                    <a:pt x="423" y="702"/>
                  </a:lnTo>
                  <a:lnTo>
                    <a:pt x="425" y="701"/>
                  </a:lnTo>
                  <a:lnTo>
                    <a:pt x="428" y="701"/>
                  </a:lnTo>
                  <a:lnTo>
                    <a:pt x="430" y="699"/>
                  </a:lnTo>
                  <a:lnTo>
                    <a:pt x="431" y="696"/>
                  </a:lnTo>
                  <a:lnTo>
                    <a:pt x="431" y="694"/>
                  </a:lnTo>
                  <a:lnTo>
                    <a:pt x="430" y="689"/>
                  </a:lnTo>
                  <a:lnTo>
                    <a:pt x="430" y="687"/>
                  </a:lnTo>
                  <a:lnTo>
                    <a:pt x="431" y="686"/>
                  </a:lnTo>
                  <a:lnTo>
                    <a:pt x="431" y="685"/>
                  </a:lnTo>
                  <a:lnTo>
                    <a:pt x="426" y="683"/>
                  </a:lnTo>
                  <a:lnTo>
                    <a:pt x="422" y="681"/>
                  </a:lnTo>
                  <a:lnTo>
                    <a:pt x="421" y="680"/>
                  </a:lnTo>
                  <a:lnTo>
                    <a:pt x="421" y="678"/>
                  </a:lnTo>
                  <a:lnTo>
                    <a:pt x="420" y="674"/>
                  </a:lnTo>
                  <a:lnTo>
                    <a:pt x="421" y="672"/>
                  </a:lnTo>
                  <a:lnTo>
                    <a:pt x="422" y="670"/>
                  </a:lnTo>
                  <a:lnTo>
                    <a:pt x="422" y="669"/>
                  </a:lnTo>
                  <a:lnTo>
                    <a:pt x="416" y="669"/>
                  </a:lnTo>
                  <a:lnTo>
                    <a:pt x="412" y="668"/>
                  </a:lnTo>
                  <a:lnTo>
                    <a:pt x="410" y="667"/>
                  </a:lnTo>
                  <a:lnTo>
                    <a:pt x="408" y="668"/>
                  </a:lnTo>
                  <a:lnTo>
                    <a:pt x="403" y="670"/>
                  </a:lnTo>
                  <a:lnTo>
                    <a:pt x="401" y="671"/>
                  </a:lnTo>
                  <a:lnTo>
                    <a:pt x="401" y="664"/>
                  </a:lnTo>
                  <a:lnTo>
                    <a:pt x="398" y="657"/>
                  </a:lnTo>
                  <a:lnTo>
                    <a:pt x="398" y="651"/>
                  </a:lnTo>
                  <a:lnTo>
                    <a:pt x="402" y="649"/>
                  </a:lnTo>
                  <a:lnTo>
                    <a:pt x="404" y="650"/>
                  </a:lnTo>
                  <a:lnTo>
                    <a:pt x="406" y="652"/>
                  </a:lnTo>
                  <a:lnTo>
                    <a:pt x="408" y="654"/>
                  </a:lnTo>
                  <a:lnTo>
                    <a:pt x="411" y="654"/>
                  </a:lnTo>
                  <a:lnTo>
                    <a:pt x="413" y="652"/>
                  </a:lnTo>
                  <a:lnTo>
                    <a:pt x="416" y="646"/>
                  </a:lnTo>
                  <a:lnTo>
                    <a:pt x="418" y="643"/>
                  </a:lnTo>
                  <a:lnTo>
                    <a:pt x="433" y="632"/>
                  </a:lnTo>
                  <a:lnTo>
                    <a:pt x="442" y="627"/>
                  </a:lnTo>
                  <a:lnTo>
                    <a:pt x="444" y="623"/>
                  </a:lnTo>
                  <a:lnTo>
                    <a:pt x="441" y="620"/>
                  </a:lnTo>
                  <a:lnTo>
                    <a:pt x="445" y="617"/>
                  </a:lnTo>
                  <a:lnTo>
                    <a:pt x="446" y="617"/>
                  </a:lnTo>
                  <a:lnTo>
                    <a:pt x="442" y="616"/>
                  </a:lnTo>
                  <a:lnTo>
                    <a:pt x="434" y="621"/>
                  </a:lnTo>
                  <a:lnTo>
                    <a:pt x="431" y="619"/>
                  </a:lnTo>
                  <a:lnTo>
                    <a:pt x="430" y="614"/>
                  </a:lnTo>
                  <a:lnTo>
                    <a:pt x="430" y="608"/>
                  </a:lnTo>
                  <a:lnTo>
                    <a:pt x="431" y="603"/>
                  </a:lnTo>
                  <a:lnTo>
                    <a:pt x="433" y="601"/>
                  </a:lnTo>
                  <a:lnTo>
                    <a:pt x="436" y="597"/>
                  </a:lnTo>
                  <a:lnTo>
                    <a:pt x="444" y="582"/>
                  </a:lnTo>
                  <a:lnTo>
                    <a:pt x="446" y="580"/>
                  </a:lnTo>
                  <a:lnTo>
                    <a:pt x="450" y="577"/>
                  </a:lnTo>
                  <a:lnTo>
                    <a:pt x="452" y="575"/>
                  </a:lnTo>
                  <a:lnTo>
                    <a:pt x="452" y="572"/>
                  </a:lnTo>
                  <a:lnTo>
                    <a:pt x="453" y="566"/>
                  </a:lnTo>
                  <a:lnTo>
                    <a:pt x="454" y="564"/>
                  </a:lnTo>
                  <a:lnTo>
                    <a:pt x="452" y="561"/>
                  </a:lnTo>
                  <a:lnTo>
                    <a:pt x="452" y="556"/>
                  </a:lnTo>
                  <a:lnTo>
                    <a:pt x="453" y="551"/>
                  </a:lnTo>
                  <a:lnTo>
                    <a:pt x="454" y="546"/>
                  </a:lnTo>
                  <a:lnTo>
                    <a:pt x="453" y="541"/>
                  </a:lnTo>
                  <a:lnTo>
                    <a:pt x="452" y="533"/>
                  </a:lnTo>
                  <a:lnTo>
                    <a:pt x="445" y="526"/>
                  </a:lnTo>
                  <a:lnTo>
                    <a:pt x="435" y="511"/>
                  </a:lnTo>
                  <a:lnTo>
                    <a:pt x="434" y="508"/>
                  </a:lnTo>
                  <a:lnTo>
                    <a:pt x="435" y="504"/>
                  </a:lnTo>
                  <a:lnTo>
                    <a:pt x="437" y="499"/>
                  </a:lnTo>
                  <a:lnTo>
                    <a:pt x="426" y="494"/>
                  </a:lnTo>
                  <a:lnTo>
                    <a:pt x="423" y="489"/>
                  </a:lnTo>
                  <a:lnTo>
                    <a:pt x="424" y="482"/>
                  </a:lnTo>
                  <a:lnTo>
                    <a:pt x="423" y="480"/>
                  </a:lnTo>
                  <a:lnTo>
                    <a:pt x="419" y="478"/>
                  </a:lnTo>
                  <a:lnTo>
                    <a:pt x="418" y="477"/>
                  </a:lnTo>
                  <a:lnTo>
                    <a:pt x="413" y="477"/>
                  </a:lnTo>
                  <a:lnTo>
                    <a:pt x="411" y="476"/>
                  </a:lnTo>
                  <a:lnTo>
                    <a:pt x="412" y="474"/>
                  </a:lnTo>
                  <a:lnTo>
                    <a:pt x="413" y="473"/>
                  </a:lnTo>
                  <a:lnTo>
                    <a:pt x="415" y="470"/>
                  </a:lnTo>
                  <a:lnTo>
                    <a:pt x="415" y="465"/>
                  </a:lnTo>
                  <a:lnTo>
                    <a:pt x="413" y="460"/>
                  </a:lnTo>
                  <a:lnTo>
                    <a:pt x="410" y="457"/>
                  </a:lnTo>
                  <a:lnTo>
                    <a:pt x="410" y="455"/>
                  </a:lnTo>
                  <a:lnTo>
                    <a:pt x="413" y="453"/>
                  </a:lnTo>
                  <a:lnTo>
                    <a:pt x="419" y="452"/>
                  </a:lnTo>
                  <a:lnTo>
                    <a:pt x="422" y="451"/>
                  </a:lnTo>
                  <a:lnTo>
                    <a:pt x="426" y="448"/>
                  </a:lnTo>
                  <a:lnTo>
                    <a:pt x="428" y="447"/>
                  </a:lnTo>
                  <a:lnTo>
                    <a:pt x="434" y="445"/>
                  </a:lnTo>
                  <a:lnTo>
                    <a:pt x="440" y="446"/>
                  </a:lnTo>
                  <a:lnTo>
                    <a:pt x="443" y="447"/>
                  </a:lnTo>
                  <a:lnTo>
                    <a:pt x="446" y="448"/>
                  </a:lnTo>
                  <a:lnTo>
                    <a:pt x="444" y="445"/>
                  </a:lnTo>
                  <a:lnTo>
                    <a:pt x="438" y="439"/>
                  </a:lnTo>
                  <a:lnTo>
                    <a:pt x="436" y="437"/>
                  </a:lnTo>
                  <a:lnTo>
                    <a:pt x="441" y="434"/>
                  </a:lnTo>
                  <a:lnTo>
                    <a:pt x="446" y="436"/>
                  </a:lnTo>
                  <a:lnTo>
                    <a:pt x="452" y="441"/>
                  </a:lnTo>
                  <a:lnTo>
                    <a:pt x="457" y="443"/>
                  </a:lnTo>
                  <a:lnTo>
                    <a:pt x="462" y="442"/>
                  </a:lnTo>
                  <a:lnTo>
                    <a:pt x="463" y="442"/>
                  </a:lnTo>
                  <a:lnTo>
                    <a:pt x="464" y="443"/>
                  </a:lnTo>
                  <a:lnTo>
                    <a:pt x="466" y="446"/>
                  </a:lnTo>
                  <a:lnTo>
                    <a:pt x="467" y="447"/>
                  </a:lnTo>
                  <a:lnTo>
                    <a:pt x="473" y="448"/>
                  </a:lnTo>
                  <a:lnTo>
                    <a:pt x="475" y="450"/>
                  </a:lnTo>
                  <a:lnTo>
                    <a:pt x="476" y="453"/>
                  </a:lnTo>
                  <a:lnTo>
                    <a:pt x="482" y="452"/>
                  </a:lnTo>
                  <a:lnTo>
                    <a:pt x="482" y="449"/>
                  </a:lnTo>
                  <a:lnTo>
                    <a:pt x="481" y="443"/>
                  </a:lnTo>
                  <a:lnTo>
                    <a:pt x="491" y="446"/>
                  </a:lnTo>
                  <a:lnTo>
                    <a:pt x="495" y="446"/>
                  </a:lnTo>
                  <a:lnTo>
                    <a:pt x="497" y="445"/>
                  </a:lnTo>
                  <a:lnTo>
                    <a:pt x="505" y="439"/>
                  </a:lnTo>
                  <a:lnTo>
                    <a:pt x="521" y="434"/>
                  </a:lnTo>
                  <a:lnTo>
                    <a:pt x="535" y="433"/>
                  </a:lnTo>
                  <a:lnTo>
                    <a:pt x="539" y="431"/>
                  </a:lnTo>
                  <a:lnTo>
                    <a:pt x="543" y="427"/>
                  </a:lnTo>
                  <a:lnTo>
                    <a:pt x="546" y="420"/>
                  </a:lnTo>
                  <a:lnTo>
                    <a:pt x="548" y="419"/>
                  </a:lnTo>
                  <a:lnTo>
                    <a:pt x="549" y="418"/>
                  </a:lnTo>
                  <a:lnTo>
                    <a:pt x="550" y="418"/>
                  </a:lnTo>
                  <a:lnTo>
                    <a:pt x="550" y="415"/>
                  </a:lnTo>
                  <a:lnTo>
                    <a:pt x="550" y="413"/>
                  </a:lnTo>
                  <a:lnTo>
                    <a:pt x="549" y="412"/>
                  </a:lnTo>
                  <a:lnTo>
                    <a:pt x="545" y="407"/>
                  </a:lnTo>
                  <a:lnTo>
                    <a:pt x="534" y="402"/>
                  </a:lnTo>
                  <a:lnTo>
                    <a:pt x="531" y="400"/>
                  </a:lnTo>
                  <a:lnTo>
                    <a:pt x="528" y="399"/>
                  </a:lnTo>
                  <a:lnTo>
                    <a:pt x="528" y="395"/>
                  </a:lnTo>
                  <a:lnTo>
                    <a:pt x="529" y="392"/>
                  </a:lnTo>
                  <a:lnTo>
                    <a:pt x="530" y="391"/>
                  </a:lnTo>
                  <a:lnTo>
                    <a:pt x="532" y="391"/>
                  </a:lnTo>
                  <a:lnTo>
                    <a:pt x="534" y="390"/>
                  </a:lnTo>
                  <a:lnTo>
                    <a:pt x="535" y="389"/>
                  </a:lnTo>
                  <a:lnTo>
                    <a:pt x="536" y="385"/>
                  </a:lnTo>
                  <a:lnTo>
                    <a:pt x="537" y="384"/>
                  </a:lnTo>
                  <a:lnTo>
                    <a:pt x="540" y="381"/>
                  </a:lnTo>
                  <a:lnTo>
                    <a:pt x="543" y="380"/>
                  </a:lnTo>
                  <a:lnTo>
                    <a:pt x="544" y="380"/>
                  </a:lnTo>
                  <a:lnTo>
                    <a:pt x="553" y="378"/>
                  </a:lnTo>
                  <a:lnTo>
                    <a:pt x="555" y="377"/>
                  </a:lnTo>
                  <a:lnTo>
                    <a:pt x="558" y="369"/>
                  </a:lnTo>
                  <a:lnTo>
                    <a:pt x="561" y="366"/>
                  </a:lnTo>
                  <a:lnTo>
                    <a:pt x="568" y="363"/>
                  </a:lnTo>
                  <a:lnTo>
                    <a:pt x="571" y="360"/>
                  </a:lnTo>
                  <a:lnTo>
                    <a:pt x="575" y="354"/>
                  </a:lnTo>
                  <a:lnTo>
                    <a:pt x="577" y="353"/>
                  </a:lnTo>
                  <a:lnTo>
                    <a:pt x="584" y="348"/>
                  </a:lnTo>
                  <a:lnTo>
                    <a:pt x="584" y="347"/>
                  </a:lnTo>
                  <a:lnTo>
                    <a:pt x="584" y="346"/>
                  </a:lnTo>
                  <a:lnTo>
                    <a:pt x="583" y="344"/>
                  </a:lnTo>
                  <a:lnTo>
                    <a:pt x="582" y="339"/>
                  </a:lnTo>
                  <a:lnTo>
                    <a:pt x="582" y="334"/>
                  </a:lnTo>
                  <a:lnTo>
                    <a:pt x="583" y="330"/>
                  </a:lnTo>
                  <a:lnTo>
                    <a:pt x="586" y="323"/>
                  </a:lnTo>
                  <a:lnTo>
                    <a:pt x="587" y="313"/>
                  </a:lnTo>
                  <a:lnTo>
                    <a:pt x="585" y="307"/>
                  </a:lnTo>
                  <a:lnTo>
                    <a:pt x="575" y="291"/>
                  </a:lnTo>
                  <a:lnTo>
                    <a:pt x="574" y="291"/>
                  </a:lnTo>
                  <a:lnTo>
                    <a:pt x="574" y="293"/>
                  </a:lnTo>
                  <a:lnTo>
                    <a:pt x="572" y="295"/>
                  </a:lnTo>
                  <a:lnTo>
                    <a:pt x="568" y="296"/>
                  </a:lnTo>
                  <a:lnTo>
                    <a:pt x="564" y="296"/>
                  </a:lnTo>
                  <a:lnTo>
                    <a:pt x="560" y="295"/>
                  </a:lnTo>
                  <a:lnTo>
                    <a:pt x="551" y="292"/>
                  </a:lnTo>
                  <a:lnTo>
                    <a:pt x="539" y="290"/>
                  </a:lnTo>
                  <a:lnTo>
                    <a:pt x="535" y="288"/>
                  </a:lnTo>
                  <a:lnTo>
                    <a:pt x="531" y="285"/>
                  </a:lnTo>
                  <a:lnTo>
                    <a:pt x="530" y="281"/>
                  </a:lnTo>
                  <a:lnTo>
                    <a:pt x="530" y="276"/>
                  </a:lnTo>
                  <a:lnTo>
                    <a:pt x="530" y="271"/>
                  </a:lnTo>
                  <a:lnTo>
                    <a:pt x="528" y="267"/>
                  </a:lnTo>
                  <a:lnTo>
                    <a:pt x="530" y="267"/>
                  </a:lnTo>
                  <a:lnTo>
                    <a:pt x="539" y="263"/>
                  </a:lnTo>
                  <a:lnTo>
                    <a:pt x="534" y="258"/>
                  </a:lnTo>
                  <a:lnTo>
                    <a:pt x="533" y="257"/>
                  </a:lnTo>
                  <a:lnTo>
                    <a:pt x="533" y="255"/>
                  </a:lnTo>
                  <a:lnTo>
                    <a:pt x="534" y="252"/>
                  </a:lnTo>
                  <a:lnTo>
                    <a:pt x="534" y="250"/>
                  </a:lnTo>
                  <a:lnTo>
                    <a:pt x="532" y="247"/>
                  </a:lnTo>
                  <a:lnTo>
                    <a:pt x="535" y="245"/>
                  </a:lnTo>
                  <a:lnTo>
                    <a:pt x="538" y="243"/>
                  </a:lnTo>
                  <a:lnTo>
                    <a:pt x="543" y="241"/>
                  </a:lnTo>
                  <a:lnTo>
                    <a:pt x="558" y="241"/>
                  </a:lnTo>
                  <a:lnTo>
                    <a:pt x="567" y="244"/>
                  </a:lnTo>
                  <a:lnTo>
                    <a:pt x="575" y="243"/>
                  </a:lnTo>
                  <a:lnTo>
                    <a:pt x="577" y="244"/>
                  </a:lnTo>
                  <a:lnTo>
                    <a:pt x="583" y="246"/>
                  </a:lnTo>
                  <a:lnTo>
                    <a:pt x="586" y="240"/>
                  </a:lnTo>
                  <a:lnTo>
                    <a:pt x="587" y="231"/>
                  </a:lnTo>
                  <a:lnTo>
                    <a:pt x="588" y="202"/>
                  </a:lnTo>
                  <a:lnTo>
                    <a:pt x="589" y="194"/>
                  </a:lnTo>
                  <a:lnTo>
                    <a:pt x="591" y="189"/>
                  </a:lnTo>
                  <a:lnTo>
                    <a:pt x="593" y="186"/>
                  </a:lnTo>
                  <a:lnTo>
                    <a:pt x="605" y="165"/>
                  </a:lnTo>
                  <a:lnTo>
                    <a:pt x="609" y="156"/>
                  </a:lnTo>
                  <a:lnTo>
                    <a:pt x="610" y="148"/>
                  </a:lnTo>
                  <a:lnTo>
                    <a:pt x="611" y="138"/>
                  </a:lnTo>
                  <a:lnTo>
                    <a:pt x="609" y="120"/>
                  </a:lnTo>
                  <a:lnTo>
                    <a:pt x="609" y="117"/>
                  </a:lnTo>
                  <a:lnTo>
                    <a:pt x="608" y="116"/>
                  </a:lnTo>
                  <a:lnTo>
                    <a:pt x="607" y="114"/>
                  </a:lnTo>
                  <a:lnTo>
                    <a:pt x="607" y="111"/>
                  </a:lnTo>
                  <a:lnTo>
                    <a:pt x="608" y="109"/>
                  </a:lnTo>
                  <a:lnTo>
                    <a:pt x="610" y="103"/>
                  </a:lnTo>
                  <a:close/>
                  <a:moveTo>
                    <a:pt x="370" y="34"/>
                  </a:moveTo>
                  <a:lnTo>
                    <a:pt x="378" y="30"/>
                  </a:lnTo>
                  <a:lnTo>
                    <a:pt x="382" y="29"/>
                  </a:lnTo>
                  <a:lnTo>
                    <a:pt x="398" y="29"/>
                  </a:lnTo>
                  <a:lnTo>
                    <a:pt x="414" y="26"/>
                  </a:lnTo>
                  <a:lnTo>
                    <a:pt x="407" y="22"/>
                  </a:lnTo>
                  <a:lnTo>
                    <a:pt x="369" y="24"/>
                  </a:lnTo>
                  <a:lnTo>
                    <a:pt x="367" y="23"/>
                  </a:lnTo>
                  <a:lnTo>
                    <a:pt x="364" y="25"/>
                  </a:lnTo>
                  <a:lnTo>
                    <a:pt x="363" y="29"/>
                  </a:lnTo>
                  <a:lnTo>
                    <a:pt x="366" y="33"/>
                  </a:lnTo>
                  <a:lnTo>
                    <a:pt x="370" y="34"/>
                  </a:lnTo>
                  <a:close/>
                  <a:moveTo>
                    <a:pt x="441" y="25"/>
                  </a:moveTo>
                  <a:lnTo>
                    <a:pt x="441" y="26"/>
                  </a:lnTo>
                  <a:lnTo>
                    <a:pt x="442" y="27"/>
                  </a:lnTo>
                  <a:lnTo>
                    <a:pt x="445" y="23"/>
                  </a:lnTo>
                  <a:lnTo>
                    <a:pt x="473" y="15"/>
                  </a:lnTo>
                  <a:lnTo>
                    <a:pt x="475" y="15"/>
                  </a:lnTo>
                  <a:lnTo>
                    <a:pt x="475" y="13"/>
                  </a:lnTo>
                  <a:lnTo>
                    <a:pt x="470" y="11"/>
                  </a:lnTo>
                  <a:lnTo>
                    <a:pt x="455" y="13"/>
                  </a:lnTo>
                  <a:lnTo>
                    <a:pt x="451" y="14"/>
                  </a:lnTo>
                  <a:lnTo>
                    <a:pt x="445" y="16"/>
                  </a:lnTo>
                  <a:lnTo>
                    <a:pt x="441" y="20"/>
                  </a:lnTo>
                  <a:lnTo>
                    <a:pt x="442" y="24"/>
                  </a:lnTo>
                  <a:lnTo>
                    <a:pt x="441" y="25"/>
                  </a:lnTo>
                  <a:close/>
                  <a:moveTo>
                    <a:pt x="494" y="4"/>
                  </a:moveTo>
                  <a:lnTo>
                    <a:pt x="500" y="6"/>
                  </a:lnTo>
                  <a:lnTo>
                    <a:pt x="500" y="5"/>
                  </a:lnTo>
                  <a:lnTo>
                    <a:pt x="501" y="4"/>
                  </a:lnTo>
                  <a:lnTo>
                    <a:pt x="501" y="3"/>
                  </a:lnTo>
                  <a:lnTo>
                    <a:pt x="502" y="3"/>
                  </a:lnTo>
                  <a:lnTo>
                    <a:pt x="493" y="0"/>
                  </a:lnTo>
                  <a:lnTo>
                    <a:pt x="491" y="0"/>
                  </a:lnTo>
                  <a:lnTo>
                    <a:pt x="491" y="2"/>
                  </a:lnTo>
                  <a:lnTo>
                    <a:pt x="494" y="4"/>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22" name="Freeform 20">
              <a:extLst>
                <a:ext uri="{FF2B5EF4-FFF2-40B4-BE49-F238E27FC236}">
                  <a16:creationId xmlns:a16="http://schemas.microsoft.com/office/drawing/2014/main" id="{9ED4B168-7627-4064-B2B2-2413F92DE995}"/>
                </a:ext>
              </a:extLst>
            </p:cNvPr>
            <p:cNvSpPr>
              <a:spLocks/>
            </p:cNvSpPr>
            <p:nvPr/>
          </p:nvSpPr>
          <p:spPr bwMode="gray">
            <a:xfrm>
              <a:off x="9872000" y="5531747"/>
              <a:ext cx="190093" cy="227488"/>
            </a:xfrm>
            <a:custGeom>
              <a:avLst/>
              <a:gdLst>
                <a:gd name="T0" fmla="*/ 271 w 305"/>
                <a:gd name="T1" fmla="*/ 125 h 365"/>
                <a:gd name="T2" fmla="*/ 242 w 305"/>
                <a:gd name="T3" fmla="*/ 102 h 365"/>
                <a:gd name="T4" fmla="*/ 234 w 305"/>
                <a:gd name="T5" fmla="*/ 95 h 365"/>
                <a:gd name="T6" fmla="*/ 210 w 305"/>
                <a:gd name="T7" fmla="*/ 95 h 365"/>
                <a:gd name="T8" fmla="*/ 195 w 305"/>
                <a:gd name="T9" fmla="*/ 85 h 365"/>
                <a:gd name="T10" fmla="*/ 171 w 305"/>
                <a:gd name="T11" fmla="*/ 67 h 365"/>
                <a:gd name="T12" fmla="*/ 146 w 305"/>
                <a:gd name="T13" fmla="*/ 34 h 365"/>
                <a:gd name="T14" fmla="*/ 113 w 305"/>
                <a:gd name="T15" fmla="*/ 2 h 365"/>
                <a:gd name="T16" fmla="*/ 94 w 305"/>
                <a:gd name="T17" fmla="*/ 6 h 365"/>
                <a:gd name="T18" fmla="*/ 77 w 305"/>
                <a:gd name="T19" fmla="*/ 8 h 365"/>
                <a:gd name="T20" fmla="*/ 80 w 305"/>
                <a:gd name="T21" fmla="*/ 15 h 365"/>
                <a:gd name="T22" fmla="*/ 86 w 305"/>
                <a:gd name="T23" fmla="*/ 23 h 365"/>
                <a:gd name="T24" fmla="*/ 94 w 305"/>
                <a:gd name="T25" fmla="*/ 54 h 365"/>
                <a:gd name="T26" fmla="*/ 88 w 305"/>
                <a:gd name="T27" fmla="*/ 60 h 365"/>
                <a:gd name="T28" fmla="*/ 83 w 305"/>
                <a:gd name="T29" fmla="*/ 48 h 365"/>
                <a:gd name="T30" fmla="*/ 62 w 305"/>
                <a:gd name="T31" fmla="*/ 46 h 365"/>
                <a:gd name="T32" fmla="*/ 40 w 305"/>
                <a:gd name="T33" fmla="*/ 71 h 365"/>
                <a:gd name="T34" fmla="*/ 32 w 305"/>
                <a:gd name="T35" fmla="*/ 115 h 365"/>
                <a:gd name="T36" fmla="*/ 0 w 305"/>
                <a:gd name="T37" fmla="*/ 133 h 365"/>
                <a:gd name="T38" fmla="*/ 1 w 305"/>
                <a:gd name="T39" fmla="*/ 155 h 365"/>
                <a:gd name="T40" fmla="*/ 17 w 305"/>
                <a:gd name="T41" fmla="*/ 185 h 365"/>
                <a:gd name="T42" fmla="*/ 11 w 305"/>
                <a:gd name="T43" fmla="*/ 206 h 365"/>
                <a:gd name="T44" fmla="*/ 6 w 305"/>
                <a:gd name="T45" fmla="*/ 212 h 365"/>
                <a:gd name="T46" fmla="*/ 0 w 305"/>
                <a:gd name="T47" fmla="*/ 228 h 365"/>
                <a:gd name="T48" fmla="*/ 10 w 305"/>
                <a:gd name="T49" fmla="*/ 242 h 365"/>
                <a:gd name="T50" fmla="*/ 11 w 305"/>
                <a:gd name="T51" fmla="*/ 238 h 365"/>
                <a:gd name="T52" fmla="*/ 39 w 305"/>
                <a:gd name="T53" fmla="*/ 236 h 365"/>
                <a:gd name="T54" fmla="*/ 33 w 305"/>
                <a:gd name="T55" fmla="*/ 244 h 365"/>
                <a:gd name="T56" fmla="*/ 22 w 305"/>
                <a:gd name="T57" fmla="*/ 249 h 365"/>
                <a:gd name="T58" fmla="*/ 27 w 305"/>
                <a:gd name="T59" fmla="*/ 253 h 365"/>
                <a:gd name="T60" fmla="*/ 35 w 305"/>
                <a:gd name="T61" fmla="*/ 251 h 365"/>
                <a:gd name="T62" fmla="*/ 43 w 305"/>
                <a:gd name="T63" fmla="*/ 261 h 365"/>
                <a:gd name="T64" fmla="*/ 54 w 305"/>
                <a:gd name="T65" fmla="*/ 276 h 365"/>
                <a:gd name="T66" fmla="*/ 61 w 305"/>
                <a:gd name="T67" fmla="*/ 272 h 365"/>
                <a:gd name="T68" fmla="*/ 71 w 305"/>
                <a:gd name="T69" fmla="*/ 273 h 365"/>
                <a:gd name="T70" fmla="*/ 87 w 305"/>
                <a:gd name="T71" fmla="*/ 298 h 365"/>
                <a:gd name="T72" fmla="*/ 97 w 305"/>
                <a:gd name="T73" fmla="*/ 304 h 365"/>
                <a:gd name="T74" fmla="*/ 112 w 305"/>
                <a:gd name="T75" fmla="*/ 325 h 365"/>
                <a:gd name="T76" fmla="*/ 115 w 305"/>
                <a:gd name="T77" fmla="*/ 340 h 365"/>
                <a:gd name="T78" fmla="*/ 122 w 305"/>
                <a:gd name="T79" fmla="*/ 349 h 365"/>
                <a:gd name="T80" fmla="*/ 148 w 305"/>
                <a:gd name="T81" fmla="*/ 365 h 365"/>
                <a:gd name="T82" fmla="*/ 144 w 305"/>
                <a:gd name="T83" fmla="*/ 352 h 365"/>
                <a:gd name="T84" fmla="*/ 145 w 305"/>
                <a:gd name="T85" fmla="*/ 341 h 365"/>
                <a:gd name="T86" fmla="*/ 146 w 305"/>
                <a:gd name="T87" fmla="*/ 332 h 365"/>
                <a:gd name="T88" fmla="*/ 148 w 305"/>
                <a:gd name="T89" fmla="*/ 311 h 365"/>
                <a:gd name="T90" fmla="*/ 133 w 305"/>
                <a:gd name="T91" fmla="*/ 293 h 365"/>
                <a:gd name="T92" fmla="*/ 155 w 305"/>
                <a:gd name="T93" fmla="*/ 255 h 365"/>
                <a:gd name="T94" fmla="*/ 174 w 305"/>
                <a:gd name="T95" fmla="*/ 232 h 365"/>
                <a:gd name="T96" fmla="*/ 183 w 305"/>
                <a:gd name="T97" fmla="*/ 220 h 365"/>
                <a:gd name="T98" fmla="*/ 194 w 305"/>
                <a:gd name="T99" fmla="*/ 198 h 365"/>
                <a:gd name="T100" fmla="*/ 208 w 305"/>
                <a:gd name="T101" fmla="*/ 208 h 365"/>
                <a:gd name="T102" fmla="*/ 206 w 305"/>
                <a:gd name="T103" fmla="*/ 218 h 365"/>
                <a:gd name="T104" fmla="*/ 220 w 305"/>
                <a:gd name="T105" fmla="*/ 234 h 365"/>
                <a:gd name="T106" fmla="*/ 230 w 305"/>
                <a:gd name="T107" fmla="*/ 228 h 365"/>
                <a:gd name="T108" fmla="*/ 259 w 305"/>
                <a:gd name="T109" fmla="*/ 217 h 365"/>
                <a:gd name="T110" fmla="*/ 263 w 305"/>
                <a:gd name="T111" fmla="*/ 199 h 365"/>
                <a:gd name="T112" fmla="*/ 252 w 305"/>
                <a:gd name="T113" fmla="*/ 179 h 365"/>
                <a:gd name="T114" fmla="*/ 266 w 305"/>
                <a:gd name="T115" fmla="*/ 169 h 365"/>
                <a:gd name="T116" fmla="*/ 281 w 305"/>
                <a:gd name="T117" fmla="*/ 164 h 365"/>
                <a:gd name="T118" fmla="*/ 305 w 305"/>
                <a:gd name="T119" fmla="*/ 143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5" h="365">
                  <a:moveTo>
                    <a:pt x="305" y="143"/>
                  </a:moveTo>
                  <a:lnTo>
                    <a:pt x="302" y="139"/>
                  </a:lnTo>
                  <a:lnTo>
                    <a:pt x="292" y="134"/>
                  </a:lnTo>
                  <a:lnTo>
                    <a:pt x="284" y="128"/>
                  </a:lnTo>
                  <a:lnTo>
                    <a:pt x="279" y="126"/>
                  </a:lnTo>
                  <a:lnTo>
                    <a:pt x="271" y="125"/>
                  </a:lnTo>
                  <a:lnTo>
                    <a:pt x="269" y="125"/>
                  </a:lnTo>
                  <a:lnTo>
                    <a:pt x="267" y="124"/>
                  </a:lnTo>
                  <a:lnTo>
                    <a:pt x="257" y="115"/>
                  </a:lnTo>
                  <a:lnTo>
                    <a:pt x="257" y="114"/>
                  </a:lnTo>
                  <a:lnTo>
                    <a:pt x="251" y="109"/>
                  </a:lnTo>
                  <a:lnTo>
                    <a:pt x="242" y="102"/>
                  </a:lnTo>
                  <a:lnTo>
                    <a:pt x="240" y="100"/>
                  </a:lnTo>
                  <a:lnTo>
                    <a:pt x="239" y="98"/>
                  </a:lnTo>
                  <a:lnTo>
                    <a:pt x="238" y="96"/>
                  </a:lnTo>
                  <a:lnTo>
                    <a:pt x="237" y="95"/>
                  </a:lnTo>
                  <a:lnTo>
                    <a:pt x="235" y="94"/>
                  </a:lnTo>
                  <a:lnTo>
                    <a:pt x="234" y="95"/>
                  </a:lnTo>
                  <a:lnTo>
                    <a:pt x="230" y="98"/>
                  </a:lnTo>
                  <a:lnTo>
                    <a:pt x="228" y="100"/>
                  </a:lnTo>
                  <a:lnTo>
                    <a:pt x="222" y="100"/>
                  </a:lnTo>
                  <a:lnTo>
                    <a:pt x="217" y="100"/>
                  </a:lnTo>
                  <a:lnTo>
                    <a:pt x="214" y="98"/>
                  </a:lnTo>
                  <a:lnTo>
                    <a:pt x="210" y="95"/>
                  </a:lnTo>
                  <a:lnTo>
                    <a:pt x="207" y="92"/>
                  </a:lnTo>
                  <a:lnTo>
                    <a:pt x="203" y="83"/>
                  </a:lnTo>
                  <a:lnTo>
                    <a:pt x="202" y="83"/>
                  </a:lnTo>
                  <a:lnTo>
                    <a:pt x="200" y="85"/>
                  </a:lnTo>
                  <a:lnTo>
                    <a:pt x="198" y="85"/>
                  </a:lnTo>
                  <a:lnTo>
                    <a:pt x="195" y="85"/>
                  </a:lnTo>
                  <a:lnTo>
                    <a:pt x="188" y="83"/>
                  </a:lnTo>
                  <a:lnTo>
                    <a:pt x="184" y="81"/>
                  </a:lnTo>
                  <a:lnTo>
                    <a:pt x="182" y="78"/>
                  </a:lnTo>
                  <a:lnTo>
                    <a:pt x="177" y="72"/>
                  </a:lnTo>
                  <a:lnTo>
                    <a:pt x="177" y="72"/>
                  </a:lnTo>
                  <a:lnTo>
                    <a:pt x="171" y="67"/>
                  </a:lnTo>
                  <a:lnTo>
                    <a:pt x="169" y="65"/>
                  </a:lnTo>
                  <a:lnTo>
                    <a:pt x="167" y="58"/>
                  </a:lnTo>
                  <a:lnTo>
                    <a:pt x="165" y="56"/>
                  </a:lnTo>
                  <a:lnTo>
                    <a:pt x="155" y="46"/>
                  </a:lnTo>
                  <a:lnTo>
                    <a:pt x="149" y="36"/>
                  </a:lnTo>
                  <a:lnTo>
                    <a:pt x="146" y="34"/>
                  </a:lnTo>
                  <a:lnTo>
                    <a:pt x="124" y="24"/>
                  </a:lnTo>
                  <a:lnTo>
                    <a:pt x="120" y="21"/>
                  </a:lnTo>
                  <a:lnTo>
                    <a:pt x="118" y="15"/>
                  </a:lnTo>
                  <a:lnTo>
                    <a:pt x="117" y="8"/>
                  </a:lnTo>
                  <a:lnTo>
                    <a:pt x="120" y="3"/>
                  </a:lnTo>
                  <a:lnTo>
                    <a:pt x="113" y="2"/>
                  </a:lnTo>
                  <a:lnTo>
                    <a:pt x="109" y="3"/>
                  </a:lnTo>
                  <a:lnTo>
                    <a:pt x="105" y="8"/>
                  </a:lnTo>
                  <a:lnTo>
                    <a:pt x="102" y="9"/>
                  </a:lnTo>
                  <a:lnTo>
                    <a:pt x="98" y="9"/>
                  </a:lnTo>
                  <a:lnTo>
                    <a:pt x="95" y="8"/>
                  </a:lnTo>
                  <a:lnTo>
                    <a:pt x="94" y="6"/>
                  </a:lnTo>
                  <a:lnTo>
                    <a:pt x="92" y="2"/>
                  </a:lnTo>
                  <a:lnTo>
                    <a:pt x="90" y="0"/>
                  </a:lnTo>
                  <a:lnTo>
                    <a:pt x="86" y="0"/>
                  </a:lnTo>
                  <a:lnTo>
                    <a:pt x="84" y="2"/>
                  </a:lnTo>
                  <a:lnTo>
                    <a:pt x="80" y="7"/>
                  </a:lnTo>
                  <a:lnTo>
                    <a:pt x="77" y="8"/>
                  </a:lnTo>
                  <a:lnTo>
                    <a:pt x="75" y="9"/>
                  </a:lnTo>
                  <a:lnTo>
                    <a:pt x="75" y="11"/>
                  </a:lnTo>
                  <a:lnTo>
                    <a:pt x="75" y="12"/>
                  </a:lnTo>
                  <a:lnTo>
                    <a:pt x="76" y="14"/>
                  </a:lnTo>
                  <a:lnTo>
                    <a:pt x="79" y="14"/>
                  </a:lnTo>
                  <a:lnTo>
                    <a:pt x="80" y="15"/>
                  </a:lnTo>
                  <a:lnTo>
                    <a:pt x="82" y="18"/>
                  </a:lnTo>
                  <a:lnTo>
                    <a:pt x="82" y="20"/>
                  </a:lnTo>
                  <a:lnTo>
                    <a:pt x="81" y="22"/>
                  </a:lnTo>
                  <a:lnTo>
                    <a:pt x="81" y="23"/>
                  </a:lnTo>
                  <a:lnTo>
                    <a:pt x="85" y="22"/>
                  </a:lnTo>
                  <a:lnTo>
                    <a:pt x="86" y="23"/>
                  </a:lnTo>
                  <a:lnTo>
                    <a:pt x="91" y="30"/>
                  </a:lnTo>
                  <a:lnTo>
                    <a:pt x="96" y="43"/>
                  </a:lnTo>
                  <a:lnTo>
                    <a:pt x="101" y="52"/>
                  </a:lnTo>
                  <a:lnTo>
                    <a:pt x="100" y="53"/>
                  </a:lnTo>
                  <a:lnTo>
                    <a:pt x="95" y="53"/>
                  </a:lnTo>
                  <a:lnTo>
                    <a:pt x="94" y="54"/>
                  </a:lnTo>
                  <a:lnTo>
                    <a:pt x="93" y="55"/>
                  </a:lnTo>
                  <a:lnTo>
                    <a:pt x="92" y="56"/>
                  </a:lnTo>
                  <a:lnTo>
                    <a:pt x="91" y="58"/>
                  </a:lnTo>
                  <a:lnTo>
                    <a:pt x="90" y="60"/>
                  </a:lnTo>
                  <a:lnTo>
                    <a:pt x="88" y="61"/>
                  </a:lnTo>
                  <a:lnTo>
                    <a:pt x="88" y="60"/>
                  </a:lnTo>
                  <a:lnTo>
                    <a:pt x="88" y="60"/>
                  </a:lnTo>
                  <a:lnTo>
                    <a:pt x="85" y="56"/>
                  </a:lnTo>
                  <a:lnTo>
                    <a:pt x="83" y="53"/>
                  </a:lnTo>
                  <a:lnTo>
                    <a:pt x="83" y="51"/>
                  </a:lnTo>
                  <a:lnTo>
                    <a:pt x="83" y="50"/>
                  </a:lnTo>
                  <a:lnTo>
                    <a:pt x="83" y="48"/>
                  </a:lnTo>
                  <a:lnTo>
                    <a:pt x="82" y="47"/>
                  </a:lnTo>
                  <a:lnTo>
                    <a:pt x="77" y="44"/>
                  </a:lnTo>
                  <a:lnTo>
                    <a:pt x="74" y="43"/>
                  </a:lnTo>
                  <a:lnTo>
                    <a:pt x="64" y="44"/>
                  </a:lnTo>
                  <a:lnTo>
                    <a:pt x="61" y="45"/>
                  </a:lnTo>
                  <a:lnTo>
                    <a:pt x="62" y="46"/>
                  </a:lnTo>
                  <a:lnTo>
                    <a:pt x="63" y="48"/>
                  </a:lnTo>
                  <a:lnTo>
                    <a:pt x="63" y="49"/>
                  </a:lnTo>
                  <a:lnTo>
                    <a:pt x="59" y="50"/>
                  </a:lnTo>
                  <a:lnTo>
                    <a:pt x="39" y="65"/>
                  </a:lnTo>
                  <a:lnTo>
                    <a:pt x="36" y="69"/>
                  </a:lnTo>
                  <a:lnTo>
                    <a:pt x="40" y="71"/>
                  </a:lnTo>
                  <a:lnTo>
                    <a:pt x="33" y="80"/>
                  </a:lnTo>
                  <a:lnTo>
                    <a:pt x="31" y="85"/>
                  </a:lnTo>
                  <a:lnTo>
                    <a:pt x="29" y="92"/>
                  </a:lnTo>
                  <a:lnTo>
                    <a:pt x="29" y="93"/>
                  </a:lnTo>
                  <a:lnTo>
                    <a:pt x="29" y="98"/>
                  </a:lnTo>
                  <a:lnTo>
                    <a:pt x="32" y="115"/>
                  </a:lnTo>
                  <a:lnTo>
                    <a:pt x="26" y="114"/>
                  </a:lnTo>
                  <a:lnTo>
                    <a:pt x="17" y="114"/>
                  </a:lnTo>
                  <a:lnTo>
                    <a:pt x="7" y="116"/>
                  </a:lnTo>
                  <a:lnTo>
                    <a:pt x="3" y="120"/>
                  </a:lnTo>
                  <a:lnTo>
                    <a:pt x="0" y="129"/>
                  </a:lnTo>
                  <a:lnTo>
                    <a:pt x="0" y="133"/>
                  </a:lnTo>
                  <a:lnTo>
                    <a:pt x="1" y="137"/>
                  </a:lnTo>
                  <a:lnTo>
                    <a:pt x="5" y="145"/>
                  </a:lnTo>
                  <a:lnTo>
                    <a:pt x="6" y="149"/>
                  </a:lnTo>
                  <a:lnTo>
                    <a:pt x="5" y="151"/>
                  </a:lnTo>
                  <a:lnTo>
                    <a:pt x="3" y="153"/>
                  </a:lnTo>
                  <a:lnTo>
                    <a:pt x="1" y="155"/>
                  </a:lnTo>
                  <a:lnTo>
                    <a:pt x="2" y="159"/>
                  </a:lnTo>
                  <a:lnTo>
                    <a:pt x="3" y="164"/>
                  </a:lnTo>
                  <a:lnTo>
                    <a:pt x="5" y="169"/>
                  </a:lnTo>
                  <a:lnTo>
                    <a:pt x="11" y="178"/>
                  </a:lnTo>
                  <a:lnTo>
                    <a:pt x="14" y="181"/>
                  </a:lnTo>
                  <a:lnTo>
                    <a:pt x="17" y="185"/>
                  </a:lnTo>
                  <a:lnTo>
                    <a:pt x="18" y="191"/>
                  </a:lnTo>
                  <a:lnTo>
                    <a:pt x="18" y="197"/>
                  </a:lnTo>
                  <a:lnTo>
                    <a:pt x="17" y="200"/>
                  </a:lnTo>
                  <a:lnTo>
                    <a:pt x="16" y="201"/>
                  </a:lnTo>
                  <a:lnTo>
                    <a:pt x="13" y="205"/>
                  </a:lnTo>
                  <a:lnTo>
                    <a:pt x="11" y="206"/>
                  </a:lnTo>
                  <a:lnTo>
                    <a:pt x="8" y="208"/>
                  </a:lnTo>
                  <a:lnTo>
                    <a:pt x="9" y="210"/>
                  </a:lnTo>
                  <a:lnTo>
                    <a:pt x="10" y="212"/>
                  </a:lnTo>
                  <a:lnTo>
                    <a:pt x="9" y="213"/>
                  </a:lnTo>
                  <a:lnTo>
                    <a:pt x="7" y="213"/>
                  </a:lnTo>
                  <a:lnTo>
                    <a:pt x="6" y="212"/>
                  </a:lnTo>
                  <a:lnTo>
                    <a:pt x="4" y="212"/>
                  </a:lnTo>
                  <a:lnTo>
                    <a:pt x="2" y="212"/>
                  </a:lnTo>
                  <a:lnTo>
                    <a:pt x="0" y="214"/>
                  </a:lnTo>
                  <a:lnTo>
                    <a:pt x="1" y="217"/>
                  </a:lnTo>
                  <a:lnTo>
                    <a:pt x="0" y="224"/>
                  </a:lnTo>
                  <a:lnTo>
                    <a:pt x="0" y="228"/>
                  </a:lnTo>
                  <a:lnTo>
                    <a:pt x="1" y="232"/>
                  </a:lnTo>
                  <a:lnTo>
                    <a:pt x="3" y="234"/>
                  </a:lnTo>
                  <a:lnTo>
                    <a:pt x="5" y="237"/>
                  </a:lnTo>
                  <a:lnTo>
                    <a:pt x="6" y="237"/>
                  </a:lnTo>
                  <a:lnTo>
                    <a:pt x="9" y="239"/>
                  </a:lnTo>
                  <a:lnTo>
                    <a:pt x="10" y="242"/>
                  </a:lnTo>
                  <a:lnTo>
                    <a:pt x="10" y="245"/>
                  </a:lnTo>
                  <a:lnTo>
                    <a:pt x="12" y="247"/>
                  </a:lnTo>
                  <a:lnTo>
                    <a:pt x="15" y="248"/>
                  </a:lnTo>
                  <a:lnTo>
                    <a:pt x="12" y="246"/>
                  </a:lnTo>
                  <a:lnTo>
                    <a:pt x="14" y="240"/>
                  </a:lnTo>
                  <a:lnTo>
                    <a:pt x="11" y="238"/>
                  </a:lnTo>
                  <a:lnTo>
                    <a:pt x="11" y="236"/>
                  </a:lnTo>
                  <a:lnTo>
                    <a:pt x="27" y="238"/>
                  </a:lnTo>
                  <a:lnTo>
                    <a:pt x="35" y="237"/>
                  </a:lnTo>
                  <a:lnTo>
                    <a:pt x="40" y="231"/>
                  </a:lnTo>
                  <a:lnTo>
                    <a:pt x="39" y="234"/>
                  </a:lnTo>
                  <a:lnTo>
                    <a:pt x="39" y="236"/>
                  </a:lnTo>
                  <a:lnTo>
                    <a:pt x="43" y="244"/>
                  </a:lnTo>
                  <a:lnTo>
                    <a:pt x="43" y="247"/>
                  </a:lnTo>
                  <a:lnTo>
                    <a:pt x="42" y="250"/>
                  </a:lnTo>
                  <a:lnTo>
                    <a:pt x="40" y="247"/>
                  </a:lnTo>
                  <a:lnTo>
                    <a:pt x="35" y="245"/>
                  </a:lnTo>
                  <a:lnTo>
                    <a:pt x="33" y="244"/>
                  </a:lnTo>
                  <a:lnTo>
                    <a:pt x="20" y="240"/>
                  </a:lnTo>
                  <a:lnTo>
                    <a:pt x="18" y="241"/>
                  </a:lnTo>
                  <a:lnTo>
                    <a:pt x="17" y="243"/>
                  </a:lnTo>
                  <a:lnTo>
                    <a:pt x="19" y="245"/>
                  </a:lnTo>
                  <a:lnTo>
                    <a:pt x="22" y="248"/>
                  </a:lnTo>
                  <a:lnTo>
                    <a:pt x="22" y="249"/>
                  </a:lnTo>
                  <a:lnTo>
                    <a:pt x="22" y="249"/>
                  </a:lnTo>
                  <a:lnTo>
                    <a:pt x="22" y="249"/>
                  </a:lnTo>
                  <a:lnTo>
                    <a:pt x="22" y="250"/>
                  </a:lnTo>
                  <a:lnTo>
                    <a:pt x="23" y="250"/>
                  </a:lnTo>
                  <a:lnTo>
                    <a:pt x="25" y="252"/>
                  </a:lnTo>
                  <a:lnTo>
                    <a:pt x="27" y="253"/>
                  </a:lnTo>
                  <a:lnTo>
                    <a:pt x="28" y="255"/>
                  </a:lnTo>
                  <a:lnTo>
                    <a:pt x="29" y="255"/>
                  </a:lnTo>
                  <a:lnTo>
                    <a:pt x="32" y="255"/>
                  </a:lnTo>
                  <a:lnTo>
                    <a:pt x="33" y="256"/>
                  </a:lnTo>
                  <a:lnTo>
                    <a:pt x="35" y="256"/>
                  </a:lnTo>
                  <a:lnTo>
                    <a:pt x="35" y="251"/>
                  </a:lnTo>
                  <a:lnTo>
                    <a:pt x="39" y="251"/>
                  </a:lnTo>
                  <a:lnTo>
                    <a:pt x="41" y="254"/>
                  </a:lnTo>
                  <a:lnTo>
                    <a:pt x="41" y="257"/>
                  </a:lnTo>
                  <a:lnTo>
                    <a:pt x="41" y="258"/>
                  </a:lnTo>
                  <a:lnTo>
                    <a:pt x="42" y="259"/>
                  </a:lnTo>
                  <a:lnTo>
                    <a:pt x="43" y="261"/>
                  </a:lnTo>
                  <a:lnTo>
                    <a:pt x="44" y="261"/>
                  </a:lnTo>
                  <a:lnTo>
                    <a:pt x="44" y="264"/>
                  </a:lnTo>
                  <a:lnTo>
                    <a:pt x="46" y="267"/>
                  </a:lnTo>
                  <a:lnTo>
                    <a:pt x="52" y="271"/>
                  </a:lnTo>
                  <a:lnTo>
                    <a:pt x="53" y="275"/>
                  </a:lnTo>
                  <a:lnTo>
                    <a:pt x="54" y="276"/>
                  </a:lnTo>
                  <a:lnTo>
                    <a:pt x="56" y="275"/>
                  </a:lnTo>
                  <a:lnTo>
                    <a:pt x="56" y="275"/>
                  </a:lnTo>
                  <a:lnTo>
                    <a:pt x="57" y="274"/>
                  </a:lnTo>
                  <a:lnTo>
                    <a:pt x="58" y="273"/>
                  </a:lnTo>
                  <a:lnTo>
                    <a:pt x="61" y="271"/>
                  </a:lnTo>
                  <a:lnTo>
                    <a:pt x="61" y="272"/>
                  </a:lnTo>
                  <a:lnTo>
                    <a:pt x="62" y="273"/>
                  </a:lnTo>
                  <a:lnTo>
                    <a:pt x="63" y="274"/>
                  </a:lnTo>
                  <a:lnTo>
                    <a:pt x="64" y="273"/>
                  </a:lnTo>
                  <a:lnTo>
                    <a:pt x="66" y="272"/>
                  </a:lnTo>
                  <a:lnTo>
                    <a:pt x="69" y="272"/>
                  </a:lnTo>
                  <a:lnTo>
                    <a:pt x="71" y="273"/>
                  </a:lnTo>
                  <a:lnTo>
                    <a:pt x="73" y="276"/>
                  </a:lnTo>
                  <a:lnTo>
                    <a:pt x="74" y="283"/>
                  </a:lnTo>
                  <a:lnTo>
                    <a:pt x="76" y="286"/>
                  </a:lnTo>
                  <a:lnTo>
                    <a:pt x="82" y="291"/>
                  </a:lnTo>
                  <a:lnTo>
                    <a:pt x="85" y="293"/>
                  </a:lnTo>
                  <a:lnTo>
                    <a:pt x="87" y="298"/>
                  </a:lnTo>
                  <a:lnTo>
                    <a:pt x="88" y="299"/>
                  </a:lnTo>
                  <a:lnTo>
                    <a:pt x="89" y="299"/>
                  </a:lnTo>
                  <a:lnTo>
                    <a:pt x="90" y="299"/>
                  </a:lnTo>
                  <a:lnTo>
                    <a:pt x="90" y="302"/>
                  </a:lnTo>
                  <a:lnTo>
                    <a:pt x="91" y="304"/>
                  </a:lnTo>
                  <a:lnTo>
                    <a:pt x="97" y="304"/>
                  </a:lnTo>
                  <a:lnTo>
                    <a:pt x="100" y="308"/>
                  </a:lnTo>
                  <a:lnTo>
                    <a:pt x="102" y="309"/>
                  </a:lnTo>
                  <a:lnTo>
                    <a:pt x="103" y="310"/>
                  </a:lnTo>
                  <a:lnTo>
                    <a:pt x="101" y="313"/>
                  </a:lnTo>
                  <a:lnTo>
                    <a:pt x="103" y="316"/>
                  </a:lnTo>
                  <a:lnTo>
                    <a:pt x="112" y="325"/>
                  </a:lnTo>
                  <a:lnTo>
                    <a:pt x="112" y="335"/>
                  </a:lnTo>
                  <a:lnTo>
                    <a:pt x="112" y="336"/>
                  </a:lnTo>
                  <a:lnTo>
                    <a:pt x="111" y="337"/>
                  </a:lnTo>
                  <a:lnTo>
                    <a:pt x="113" y="338"/>
                  </a:lnTo>
                  <a:lnTo>
                    <a:pt x="114" y="340"/>
                  </a:lnTo>
                  <a:lnTo>
                    <a:pt x="115" y="340"/>
                  </a:lnTo>
                  <a:lnTo>
                    <a:pt x="115" y="342"/>
                  </a:lnTo>
                  <a:lnTo>
                    <a:pt x="115" y="344"/>
                  </a:lnTo>
                  <a:lnTo>
                    <a:pt x="115" y="345"/>
                  </a:lnTo>
                  <a:lnTo>
                    <a:pt x="117" y="347"/>
                  </a:lnTo>
                  <a:lnTo>
                    <a:pt x="118" y="348"/>
                  </a:lnTo>
                  <a:lnTo>
                    <a:pt x="122" y="349"/>
                  </a:lnTo>
                  <a:lnTo>
                    <a:pt x="124" y="351"/>
                  </a:lnTo>
                  <a:lnTo>
                    <a:pt x="136" y="355"/>
                  </a:lnTo>
                  <a:lnTo>
                    <a:pt x="139" y="356"/>
                  </a:lnTo>
                  <a:lnTo>
                    <a:pt x="145" y="363"/>
                  </a:lnTo>
                  <a:lnTo>
                    <a:pt x="148" y="365"/>
                  </a:lnTo>
                  <a:lnTo>
                    <a:pt x="148" y="365"/>
                  </a:lnTo>
                  <a:lnTo>
                    <a:pt x="147" y="363"/>
                  </a:lnTo>
                  <a:lnTo>
                    <a:pt x="148" y="357"/>
                  </a:lnTo>
                  <a:lnTo>
                    <a:pt x="146" y="355"/>
                  </a:lnTo>
                  <a:lnTo>
                    <a:pt x="145" y="354"/>
                  </a:lnTo>
                  <a:lnTo>
                    <a:pt x="144" y="353"/>
                  </a:lnTo>
                  <a:lnTo>
                    <a:pt x="144" y="352"/>
                  </a:lnTo>
                  <a:lnTo>
                    <a:pt x="144" y="350"/>
                  </a:lnTo>
                  <a:lnTo>
                    <a:pt x="144" y="349"/>
                  </a:lnTo>
                  <a:lnTo>
                    <a:pt x="145" y="348"/>
                  </a:lnTo>
                  <a:lnTo>
                    <a:pt x="146" y="347"/>
                  </a:lnTo>
                  <a:lnTo>
                    <a:pt x="144" y="342"/>
                  </a:lnTo>
                  <a:lnTo>
                    <a:pt x="145" y="341"/>
                  </a:lnTo>
                  <a:lnTo>
                    <a:pt x="147" y="341"/>
                  </a:lnTo>
                  <a:lnTo>
                    <a:pt x="148" y="340"/>
                  </a:lnTo>
                  <a:lnTo>
                    <a:pt x="149" y="336"/>
                  </a:lnTo>
                  <a:lnTo>
                    <a:pt x="147" y="335"/>
                  </a:lnTo>
                  <a:lnTo>
                    <a:pt x="147" y="335"/>
                  </a:lnTo>
                  <a:lnTo>
                    <a:pt x="146" y="332"/>
                  </a:lnTo>
                  <a:lnTo>
                    <a:pt x="145" y="328"/>
                  </a:lnTo>
                  <a:lnTo>
                    <a:pt x="145" y="324"/>
                  </a:lnTo>
                  <a:lnTo>
                    <a:pt x="146" y="320"/>
                  </a:lnTo>
                  <a:lnTo>
                    <a:pt x="149" y="314"/>
                  </a:lnTo>
                  <a:lnTo>
                    <a:pt x="149" y="311"/>
                  </a:lnTo>
                  <a:lnTo>
                    <a:pt x="148" y="311"/>
                  </a:lnTo>
                  <a:lnTo>
                    <a:pt x="146" y="308"/>
                  </a:lnTo>
                  <a:lnTo>
                    <a:pt x="137" y="301"/>
                  </a:lnTo>
                  <a:lnTo>
                    <a:pt x="134" y="299"/>
                  </a:lnTo>
                  <a:lnTo>
                    <a:pt x="134" y="299"/>
                  </a:lnTo>
                  <a:lnTo>
                    <a:pt x="133" y="295"/>
                  </a:lnTo>
                  <a:lnTo>
                    <a:pt x="133" y="293"/>
                  </a:lnTo>
                  <a:lnTo>
                    <a:pt x="138" y="288"/>
                  </a:lnTo>
                  <a:lnTo>
                    <a:pt x="153" y="264"/>
                  </a:lnTo>
                  <a:lnTo>
                    <a:pt x="153" y="263"/>
                  </a:lnTo>
                  <a:lnTo>
                    <a:pt x="153" y="260"/>
                  </a:lnTo>
                  <a:lnTo>
                    <a:pt x="153" y="258"/>
                  </a:lnTo>
                  <a:lnTo>
                    <a:pt x="155" y="255"/>
                  </a:lnTo>
                  <a:lnTo>
                    <a:pt x="156" y="254"/>
                  </a:lnTo>
                  <a:lnTo>
                    <a:pt x="164" y="244"/>
                  </a:lnTo>
                  <a:lnTo>
                    <a:pt x="166" y="241"/>
                  </a:lnTo>
                  <a:lnTo>
                    <a:pt x="169" y="239"/>
                  </a:lnTo>
                  <a:lnTo>
                    <a:pt x="172" y="236"/>
                  </a:lnTo>
                  <a:lnTo>
                    <a:pt x="174" y="232"/>
                  </a:lnTo>
                  <a:lnTo>
                    <a:pt x="176" y="228"/>
                  </a:lnTo>
                  <a:lnTo>
                    <a:pt x="176" y="228"/>
                  </a:lnTo>
                  <a:lnTo>
                    <a:pt x="177" y="225"/>
                  </a:lnTo>
                  <a:lnTo>
                    <a:pt x="179" y="223"/>
                  </a:lnTo>
                  <a:lnTo>
                    <a:pt x="181" y="222"/>
                  </a:lnTo>
                  <a:lnTo>
                    <a:pt x="183" y="220"/>
                  </a:lnTo>
                  <a:lnTo>
                    <a:pt x="184" y="217"/>
                  </a:lnTo>
                  <a:lnTo>
                    <a:pt x="185" y="212"/>
                  </a:lnTo>
                  <a:lnTo>
                    <a:pt x="186" y="208"/>
                  </a:lnTo>
                  <a:lnTo>
                    <a:pt x="188" y="204"/>
                  </a:lnTo>
                  <a:lnTo>
                    <a:pt x="193" y="199"/>
                  </a:lnTo>
                  <a:lnTo>
                    <a:pt x="194" y="198"/>
                  </a:lnTo>
                  <a:lnTo>
                    <a:pt x="197" y="195"/>
                  </a:lnTo>
                  <a:lnTo>
                    <a:pt x="201" y="193"/>
                  </a:lnTo>
                  <a:lnTo>
                    <a:pt x="204" y="195"/>
                  </a:lnTo>
                  <a:lnTo>
                    <a:pt x="207" y="200"/>
                  </a:lnTo>
                  <a:lnTo>
                    <a:pt x="208" y="206"/>
                  </a:lnTo>
                  <a:lnTo>
                    <a:pt x="208" y="208"/>
                  </a:lnTo>
                  <a:lnTo>
                    <a:pt x="208" y="210"/>
                  </a:lnTo>
                  <a:lnTo>
                    <a:pt x="208" y="210"/>
                  </a:lnTo>
                  <a:lnTo>
                    <a:pt x="207" y="211"/>
                  </a:lnTo>
                  <a:lnTo>
                    <a:pt x="206" y="213"/>
                  </a:lnTo>
                  <a:lnTo>
                    <a:pt x="206" y="215"/>
                  </a:lnTo>
                  <a:lnTo>
                    <a:pt x="206" y="218"/>
                  </a:lnTo>
                  <a:lnTo>
                    <a:pt x="206" y="220"/>
                  </a:lnTo>
                  <a:lnTo>
                    <a:pt x="206" y="222"/>
                  </a:lnTo>
                  <a:lnTo>
                    <a:pt x="209" y="228"/>
                  </a:lnTo>
                  <a:lnTo>
                    <a:pt x="214" y="232"/>
                  </a:lnTo>
                  <a:lnTo>
                    <a:pt x="217" y="234"/>
                  </a:lnTo>
                  <a:lnTo>
                    <a:pt x="220" y="234"/>
                  </a:lnTo>
                  <a:lnTo>
                    <a:pt x="221" y="233"/>
                  </a:lnTo>
                  <a:lnTo>
                    <a:pt x="222" y="233"/>
                  </a:lnTo>
                  <a:lnTo>
                    <a:pt x="228" y="230"/>
                  </a:lnTo>
                  <a:lnTo>
                    <a:pt x="230" y="228"/>
                  </a:lnTo>
                  <a:lnTo>
                    <a:pt x="230" y="228"/>
                  </a:lnTo>
                  <a:lnTo>
                    <a:pt x="230" y="228"/>
                  </a:lnTo>
                  <a:lnTo>
                    <a:pt x="234" y="225"/>
                  </a:lnTo>
                  <a:lnTo>
                    <a:pt x="241" y="226"/>
                  </a:lnTo>
                  <a:lnTo>
                    <a:pt x="245" y="224"/>
                  </a:lnTo>
                  <a:lnTo>
                    <a:pt x="251" y="217"/>
                  </a:lnTo>
                  <a:lnTo>
                    <a:pt x="255" y="214"/>
                  </a:lnTo>
                  <a:lnTo>
                    <a:pt x="259" y="217"/>
                  </a:lnTo>
                  <a:lnTo>
                    <a:pt x="261" y="214"/>
                  </a:lnTo>
                  <a:lnTo>
                    <a:pt x="261" y="211"/>
                  </a:lnTo>
                  <a:lnTo>
                    <a:pt x="260" y="208"/>
                  </a:lnTo>
                  <a:lnTo>
                    <a:pt x="260" y="205"/>
                  </a:lnTo>
                  <a:lnTo>
                    <a:pt x="261" y="203"/>
                  </a:lnTo>
                  <a:lnTo>
                    <a:pt x="263" y="199"/>
                  </a:lnTo>
                  <a:lnTo>
                    <a:pt x="265" y="194"/>
                  </a:lnTo>
                  <a:lnTo>
                    <a:pt x="265" y="193"/>
                  </a:lnTo>
                  <a:lnTo>
                    <a:pt x="263" y="191"/>
                  </a:lnTo>
                  <a:lnTo>
                    <a:pt x="254" y="182"/>
                  </a:lnTo>
                  <a:lnTo>
                    <a:pt x="254" y="182"/>
                  </a:lnTo>
                  <a:lnTo>
                    <a:pt x="252" y="179"/>
                  </a:lnTo>
                  <a:lnTo>
                    <a:pt x="252" y="174"/>
                  </a:lnTo>
                  <a:lnTo>
                    <a:pt x="254" y="173"/>
                  </a:lnTo>
                  <a:lnTo>
                    <a:pt x="257" y="170"/>
                  </a:lnTo>
                  <a:lnTo>
                    <a:pt x="259" y="169"/>
                  </a:lnTo>
                  <a:lnTo>
                    <a:pt x="261" y="168"/>
                  </a:lnTo>
                  <a:lnTo>
                    <a:pt x="266" y="169"/>
                  </a:lnTo>
                  <a:lnTo>
                    <a:pt x="272" y="173"/>
                  </a:lnTo>
                  <a:lnTo>
                    <a:pt x="277" y="175"/>
                  </a:lnTo>
                  <a:lnTo>
                    <a:pt x="281" y="170"/>
                  </a:lnTo>
                  <a:lnTo>
                    <a:pt x="282" y="168"/>
                  </a:lnTo>
                  <a:lnTo>
                    <a:pt x="281" y="166"/>
                  </a:lnTo>
                  <a:lnTo>
                    <a:pt x="281" y="164"/>
                  </a:lnTo>
                  <a:lnTo>
                    <a:pt x="283" y="162"/>
                  </a:lnTo>
                  <a:lnTo>
                    <a:pt x="284" y="161"/>
                  </a:lnTo>
                  <a:lnTo>
                    <a:pt x="290" y="159"/>
                  </a:lnTo>
                  <a:lnTo>
                    <a:pt x="303" y="156"/>
                  </a:lnTo>
                  <a:lnTo>
                    <a:pt x="305" y="148"/>
                  </a:lnTo>
                  <a:lnTo>
                    <a:pt x="305" y="143"/>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23" name="Freeform 21">
              <a:extLst>
                <a:ext uri="{FF2B5EF4-FFF2-40B4-BE49-F238E27FC236}">
                  <a16:creationId xmlns:a16="http://schemas.microsoft.com/office/drawing/2014/main" id="{3EFF38E6-6BBE-45BD-AFEE-7B547E98D316}"/>
                </a:ext>
              </a:extLst>
            </p:cNvPr>
            <p:cNvSpPr>
              <a:spLocks/>
            </p:cNvSpPr>
            <p:nvPr/>
          </p:nvSpPr>
          <p:spPr bwMode="gray">
            <a:xfrm>
              <a:off x="8776939" y="5502454"/>
              <a:ext cx="6856" cy="6233"/>
            </a:xfrm>
            <a:custGeom>
              <a:avLst/>
              <a:gdLst>
                <a:gd name="T0" fmla="*/ 10 w 11"/>
                <a:gd name="T1" fmla="*/ 2 h 10"/>
                <a:gd name="T2" fmla="*/ 6 w 11"/>
                <a:gd name="T3" fmla="*/ 0 h 10"/>
                <a:gd name="T4" fmla="*/ 3 w 11"/>
                <a:gd name="T5" fmla="*/ 1 h 10"/>
                <a:gd name="T6" fmla="*/ 1 w 11"/>
                <a:gd name="T7" fmla="*/ 4 h 10"/>
                <a:gd name="T8" fmla="*/ 0 w 11"/>
                <a:gd name="T9" fmla="*/ 6 h 10"/>
                <a:gd name="T10" fmla="*/ 0 w 11"/>
                <a:gd name="T11" fmla="*/ 9 h 10"/>
                <a:gd name="T12" fmla="*/ 2 w 11"/>
                <a:gd name="T13" fmla="*/ 10 h 10"/>
                <a:gd name="T14" fmla="*/ 6 w 11"/>
                <a:gd name="T15" fmla="*/ 10 h 10"/>
                <a:gd name="T16" fmla="*/ 8 w 11"/>
                <a:gd name="T17" fmla="*/ 7 h 10"/>
                <a:gd name="T18" fmla="*/ 10 w 11"/>
                <a:gd name="T19" fmla="*/ 5 h 10"/>
                <a:gd name="T20" fmla="*/ 11 w 11"/>
                <a:gd name="T21" fmla="*/ 4 h 10"/>
                <a:gd name="T22" fmla="*/ 10 w 11"/>
                <a:gd name="T23"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0">
                  <a:moveTo>
                    <a:pt x="10" y="2"/>
                  </a:moveTo>
                  <a:lnTo>
                    <a:pt x="6" y="0"/>
                  </a:lnTo>
                  <a:lnTo>
                    <a:pt x="3" y="1"/>
                  </a:lnTo>
                  <a:lnTo>
                    <a:pt x="1" y="4"/>
                  </a:lnTo>
                  <a:lnTo>
                    <a:pt x="0" y="6"/>
                  </a:lnTo>
                  <a:lnTo>
                    <a:pt x="0" y="9"/>
                  </a:lnTo>
                  <a:lnTo>
                    <a:pt x="2" y="10"/>
                  </a:lnTo>
                  <a:lnTo>
                    <a:pt x="6" y="10"/>
                  </a:lnTo>
                  <a:lnTo>
                    <a:pt x="8" y="7"/>
                  </a:lnTo>
                  <a:lnTo>
                    <a:pt x="10" y="5"/>
                  </a:lnTo>
                  <a:lnTo>
                    <a:pt x="11" y="4"/>
                  </a:lnTo>
                  <a:lnTo>
                    <a:pt x="10" y="2"/>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24" name="Freeform 22">
              <a:extLst>
                <a:ext uri="{FF2B5EF4-FFF2-40B4-BE49-F238E27FC236}">
                  <a16:creationId xmlns:a16="http://schemas.microsoft.com/office/drawing/2014/main" id="{02F6E100-C97B-4F1B-9BAD-AAC4C380FF20}"/>
                </a:ext>
              </a:extLst>
            </p:cNvPr>
            <p:cNvSpPr>
              <a:spLocks/>
            </p:cNvSpPr>
            <p:nvPr/>
          </p:nvSpPr>
          <p:spPr bwMode="gray">
            <a:xfrm>
              <a:off x="8776939" y="5502454"/>
              <a:ext cx="6856" cy="6233"/>
            </a:xfrm>
            <a:custGeom>
              <a:avLst/>
              <a:gdLst>
                <a:gd name="T0" fmla="*/ 10 w 11"/>
                <a:gd name="T1" fmla="*/ 2 h 10"/>
                <a:gd name="T2" fmla="*/ 6 w 11"/>
                <a:gd name="T3" fmla="*/ 0 h 10"/>
                <a:gd name="T4" fmla="*/ 3 w 11"/>
                <a:gd name="T5" fmla="*/ 1 h 10"/>
                <a:gd name="T6" fmla="*/ 1 w 11"/>
                <a:gd name="T7" fmla="*/ 4 h 10"/>
                <a:gd name="T8" fmla="*/ 0 w 11"/>
                <a:gd name="T9" fmla="*/ 6 h 10"/>
                <a:gd name="T10" fmla="*/ 0 w 11"/>
                <a:gd name="T11" fmla="*/ 9 h 10"/>
                <a:gd name="T12" fmla="*/ 2 w 11"/>
                <a:gd name="T13" fmla="*/ 10 h 10"/>
                <a:gd name="T14" fmla="*/ 6 w 11"/>
                <a:gd name="T15" fmla="*/ 10 h 10"/>
                <a:gd name="T16" fmla="*/ 8 w 11"/>
                <a:gd name="T17" fmla="*/ 7 h 10"/>
                <a:gd name="T18" fmla="*/ 10 w 11"/>
                <a:gd name="T19" fmla="*/ 5 h 10"/>
                <a:gd name="T20" fmla="*/ 11 w 11"/>
                <a:gd name="T21" fmla="*/ 4 h 10"/>
                <a:gd name="T22" fmla="*/ 10 w 11"/>
                <a:gd name="T23"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0">
                  <a:moveTo>
                    <a:pt x="10" y="2"/>
                  </a:moveTo>
                  <a:lnTo>
                    <a:pt x="6" y="0"/>
                  </a:lnTo>
                  <a:lnTo>
                    <a:pt x="3" y="1"/>
                  </a:lnTo>
                  <a:lnTo>
                    <a:pt x="1" y="4"/>
                  </a:lnTo>
                  <a:lnTo>
                    <a:pt x="0" y="6"/>
                  </a:lnTo>
                  <a:lnTo>
                    <a:pt x="0" y="9"/>
                  </a:lnTo>
                  <a:lnTo>
                    <a:pt x="2" y="10"/>
                  </a:lnTo>
                  <a:lnTo>
                    <a:pt x="6" y="10"/>
                  </a:lnTo>
                  <a:lnTo>
                    <a:pt x="8" y="7"/>
                  </a:lnTo>
                  <a:lnTo>
                    <a:pt x="10" y="5"/>
                  </a:lnTo>
                  <a:lnTo>
                    <a:pt x="11" y="4"/>
                  </a:lnTo>
                  <a:lnTo>
                    <a:pt x="10" y="2"/>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89" name="Freeform 23">
              <a:extLst>
                <a:ext uri="{FF2B5EF4-FFF2-40B4-BE49-F238E27FC236}">
                  <a16:creationId xmlns:a16="http://schemas.microsoft.com/office/drawing/2014/main" id="{AC9A999C-AEBF-43CF-803F-E073FD05A432}"/>
                </a:ext>
              </a:extLst>
            </p:cNvPr>
            <p:cNvSpPr>
              <a:spLocks/>
            </p:cNvSpPr>
            <p:nvPr/>
          </p:nvSpPr>
          <p:spPr bwMode="gray">
            <a:xfrm>
              <a:off x="10681611" y="4829960"/>
              <a:ext cx="347154" cy="437526"/>
            </a:xfrm>
            <a:custGeom>
              <a:avLst/>
              <a:gdLst>
                <a:gd name="T0" fmla="*/ 533 w 557"/>
                <a:gd name="T1" fmla="*/ 467 h 702"/>
                <a:gd name="T2" fmla="*/ 526 w 557"/>
                <a:gd name="T3" fmla="*/ 440 h 702"/>
                <a:gd name="T4" fmla="*/ 526 w 557"/>
                <a:gd name="T5" fmla="*/ 395 h 702"/>
                <a:gd name="T6" fmla="*/ 497 w 557"/>
                <a:gd name="T7" fmla="*/ 383 h 702"/>
                <a:gd name="T8" fmla="*/ 467 w 557"/>
                <a:gd name="T9" fmla="*/ 362 h 702"/>
                <a:gd name="T10" fmla="*/ 465 w 557"/>
                <a:gd name="T11" fmla="*/ 329 h 702"/>
                <a:gd name="T12" fmla="*/ 464 w 557"/>
                <a:gd name="T13" fmla="*/ 318 h 702"/>
                <a:gd name="T14" fmla="*/ 454 w 557"/>
                <a:gd name="T15" fmla="*/ 271 h 702"/>
                <a:gd name="T16" fmla="*/ 436 w 557"/>
                <a:gd name="T17" fmla="*/ 271 h 702"/>
                <a:gd name="T18" fmla="*/ 410 w 557"/>
                <a:gd name="T19" fmla="*/ 246 h 702"/>
                <a:gd name="T20" fmla="*/ 399 w 557"/>
                <a:gd name="T21" fmla="*/ 219 h 702"/>
                <a:gd name="T22" fmla="*/ 406 w 557"/>
                <a:gd name="T23" fmla="*/ 162 h 702"/>
                <a:gd name="T24" fmla="*/ 399 w 557"/>
                <a:gd name="T25" fmla="*/ 123 h 702"/>
                <a:gd name="T26" fmla="*/ 355 w 557"/>
                <a:gd name="T27" fmla="*/ 113 h 702"/>
                <a:gd name="T28" fmla="*/ 325 w 557"/>
                <a:gd name="T29" fmla="*/ 85 h 702"/>
                <a:gd name="T30" fmla="*/ 290 w 557"/>
                <a:gd name="T31" fmla="*/ 96 h 702"/>
                <a:gd name="T32" fmla="*/ 269 w 557"/>
                <a:gd name="T33" fmla="*/ 80 h 702"/>
                <a:gd name="T34" fmla="*/ 257 w 557"/>
                <a:gd name="T35" fmla="*/ 65 h 702"/>
                <a:gd name="T36" fmla="*/ 234 w 557"/>
                <a:gd name="T37" fmla="*/ 44 h 702"/>
                <a:gd name="T38" fmla="*/ 180 w 557"/>
                <a:gd name="T39" fmla="*/ 8 h 702"/>
                <a:gd name="T40" fmla="*/ 118 w 557"/>
                <a:gd name="T41" fmla="*/ 13 h 702"/>
                <a:gd name="T42" fmla="*/ 65 w 557"/>
                <a:gd name="T43" fmla="*/ 25 h 702"/>
                <a:gd name="T44" fmla="*/ 46 w 557"/>
                <a:gd name="T45" fmla="*/ 29 h 702"/>
                <a:gd name="T46" fmla="*/ 26 w 557"/>
                <a:gd name="T47" fmla="*/ 33 h 702"/>
                <a:gd name="T48" fmla="*/ 8 w 557"/>
                <a:gd name="T49" fmla="*/ 42 h 702"/>
                <a:gd name="T50" fmla="*/ 29 w 557"/>
                <a:gd name="T51" fmla="*/ 54 h 702"/>
                <a:gd name="T52" fmla="*/ 55 w 557"/>
                <a:gd name="T53" fmla="*/ 74 h 702"/>
                <a:gd name="T54" fmla="*/ 68 w 557"/>
                <a:gd name="T55" fmla="*/ 87 h 702"/>
                <a:gd name="T56" fmla="*/ 75 w 557"/>
                <a:gd name="T57" fmla="*/ 113 h 702"/>
                <a:gd name="T58" fmla="*/ 89 w 557"/>
                <a:gd name="T59" fmla="*/ 130 h 702"/>
                <a:gd name="T60" fmla="*/ 95 w 557"/>
                <a:gd name="T61" fmla="*/ 159 h 702"/>
                <a:gd name="T62" fmla="*/ 107 w 557"/>
                <a:gd name="T63" fmla="*/ 182 h 702"/>
                <a:gd name="T64" fmla="*/ 130 w 557"/>
                <a:gd name="T65" fmla="*/ 224 h 702"/>
                <a:gd name="T66" fmla="*/ 145 w 557"/>
                <a:gd name="T67" fmla="*/ 239 h 702"/>
                <a:gd name="T68" fmla="*/ 154 w 557"/>
                <a:gd name="T69" fmla="*/ 264 h 702"/>
                <a:gd name="T70" fmla="*/ 180 w 557"/>
                <a:gd name="T71" fmla="*/ 291 h 702"/>
                <a:gd name="T72" fmla="*/ 195 w 557"/>
                <a:gd name="T73" fmla="*/ 321 h 702"/>
                <a:gd name="T74" fmla="*/ 223 w 557"/>
                <a:gd name="T75" fmla="*/ 342 h 702"/>
                <a:gd name="T76" fmla="*/ 239 w 557"/>
                <a:gd name="T77" fmla="*/ 382 h 702"/>
                <a:gd name="T78" fmla="*/ 257 w 557"/>
                <a:gd name="T79" fmla="*/ 443 h 702"/>
                <a:gd name="T80" fmla="*/ 258 w 557"/>
                <a:gd name="T81" fmla="*/ 473 h 702"/>
                <a:gd name="T82" fmla="*/ 249 w 557"/>
                <a:gd name="T83" fmla="*/ 499 h 702"/>
                <a:gd name="T84" fmla="*/ 240 w 557"/>
                <a:gd name="T85" fmla="*/ 525 h 702"/>
                <a:gd name="T86" fmla="*/ 235 w 557"/>
                <a:gd name="T87" fmla="*/ 561 h 702"/>
                <a:gd name="T88" fmla="*/ 238 w 557"/>
                <a:gd name="T89" fmla="*/ 596 h 702"/>
                <a:gd name="T90" fmla="*/ 240 w 557"/>
                <a:gd name="T91" fmla="*/ 626 h 702"/>
                <a:gd name="T92" fmla="*/ 238 w 557"/>
                <a:gd name="T93" fmla="*/ 676 h 702"/>
                <a:gd name="T94" fmla="*/ 254 w 557"/>
                <a:gd name="T95" fmla="*/ 694 h 702"/>
                <a:gd name="T96" fmla="*/ 299 w 557"/>
                <a:gd name="T97" fmla="*/ 678 h 702"/>
                <a:gd name="T98" fmla="*/ 299 w 557"/>
                <a:gd name="T99" fmla="*/ 649 h 702"/>
                <a:gd name="T100" fmla="*/ 325 w 557"/>
                <a:gd name="T101" fmla="*/ 624 h 702"/>
                <a:gd name="T102" fmla="*/ 340 w 557"/>
                <a:gd name="T103" fmla="*/ 588 h 702"/>
                <a:gd name="T104" fmla="*/ 370 w 557"/>
                <a:gd name="T105" fmla="*/ 524 h 702"/>
                <a:gd name="T106" fmla="*/ 387 w 557"/>
                <a:gd name="T107" fmla="*/ 465 h 702"/>
                <a:gd name="T108" fmla="*/ 407 w 557"/>
                <a:gd name="T109" fmla="*/ 496 h 702"/>
                <a:gd name="T110" fmla="*/ 429 w 557"/>
                <a:gd name="T111" fmla="*/ 472 h 702"/>
                <a:gd name="T112" fmla="*/ 454 w 557"/>
                <a:gd name="T113" fmla="*/ 475 h 702"/>
                <a:gd name="T114" fmla="*/ 476 w 557"/>
                <a:gd name="T115" fmla="*/ 497 h 702"/>
                <a:gd name="T116" fmla="*/ 505 w 557"/>
                <a:gd name="T117" fmla="*/ 488 h 702"/>
                <a:gd name="T118" fmla="*/ 554 w 557"/>
                <a:gd name="T119" fmla="*/ 490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7" h="702">
                  <a:moveTo>
                    <a:pt x="555" y="482"/>
                  </a:moveTo>
                  <a:lnTo>
                    <a:pt x="553" y="481"/>
                  </a:lnTo>
                  <a:lnTo>
                    <a:pt x="550" y="482"/>
                  </a:lnTo>
                  <a:lnTo>
                    <a:pt x="549" y="483"/>
                  </a:lnTo>
                  <a:lnTo>
                    <a:pt x="546" y="480"/>
                  </a:lnTo>
                  <a:lnTo>
                    <a:pt x="539" y="474"/>
                  </a:lnTo>
                  <a:lnTo>
                    <a:pt x="540" y="472"/>
                  </a:lnTo>
                  <a:lnTo>
                    <a:pt x="538" y="468"/>
                  </a:lnTo>
                  <a:lnTo>
                    <a:pt x="537" y="466"/>
                  </a:lnTo>
                  <a:lnTo>
                    <a:pt x="536" y="465"/>
                  </a:lnTo>
                  <a:lnTo>
                    <a:pt x="535" y="465"/>
                  </a:lnTo>
                  <a:lnTo>
                    <a:pt x="533" y="467"/>
                  </a:lnTo>
                  <a:lnTo>
                    <a:pt x="532" y="467"/>
                  </a:lnTo>
                  <a:lnTo>
                    <a:pt x="531" y="467"/>
                  </a:lnTo>
                  <a:lnTo>
                    <a:pt x="530" y="464"/>
                  </a:lnTo>
                  <a:lnTo>
                    <a:pt x="530" y="464"/>
                  </a:lnTo>
                  <a:lnTo>
                    <a:pt x="523" y="461"/>
                  </a:lnTo>
                  <a:lnTo>
                    <a:pt x="521" y="458"/>
                  </a:lnTo>
                  <a:lnTo>
                    <a:pt x="521" y="453"/>
                  </a:lnTo>
                  <a:lnTo>
                    <a:pt x="523" y="453"/>
                  </a:lnTo>
                  <a:lnTo>
                    <a:pt x="527" y="452"/>
                  </a:lnTo>
                  <a:lnTo>
                    <a:pt x="529" y="447"/>
                  </a:lnTo>
                  <a:lnTo>
                    <a:pt x="528" y="445"/>
                  </a:lnTo>
                  <a:lnTo>
                    <a:pt x="526" y="440"/>
                  </a:lnTo>
                  <a:lnTo>
                    <a:pt x="526" y="438"/>
                  </a:lnTo>
                  <a:lnTo>
                    <a:pt x="526" y="435"/>
                  </a:lnTo>
                  <a:lnTo>
                    <a:pt x="526" y="433"/>
                  </a:lnTo>
                  <a:lnTo>
                    <a:pt x="527" y="430"/>
                  </a:lnTo>
                  <a:lnTo>
                    <a:pt x="528" y="428"/>
                  </a:lnTo>
                  <a:lnTo>
                    <a:pt x="529" y="413"/>
                  </a:lnTo>
                  <a:lnTo>
                    <a:pt x="529" y="409"/>
                  </a:lnTo>
                  <a:lnTo>
                    <a:pt x="528" y="407"/>
                  </a:lnTo>
                  <a:lnTo>
                    <a:pt x="526" y="404"/>
                  </a:lnTo>
                  <a:lnTo>
                    <a:pt x="526" y="402"/>
                  </a:lnTo>
                  <a:lnTo>
                    <a:pt x="526" y="400"/>
                  </a:lnTo>
                  <a:lnTo>
                    <a:pt x="526" y="395"/>
                  </a:lnTo>
                  <a:lnTo>
                    <a:pt x="525" y="394"/>
                  </a:lnTo>
                  <a:lnTo>
                    <a:pt x="524" y="393"/>
                  </a:lnTo>
                  <a:lnTo>
                    <a:pt x="522" y="393"/>
                  </a:lnTo>
                  <a:lnTo>
                    <a:pt x="521" y="395"/>
                  </a:lnTo>
                  <a:lnTo>
                    <a:pt x="519" y="394"/>
                  </a:lnTo>
                  <a:lnTo>
                    <a:pt x="518" y="393"/>
                  </a:lnTo>
                  <a:lnTo>
                    <a:pt x="517" y="389"/>
                  </a:lnTo>
                  <a:lnTo>
                    <a:pt x="516" y="387"/>
                  </a:lnTo>
                  <a:lnTo>
                    <a:pt x="512" y="383"/>
                  </a:lnTo>
                  <a:lnTo>
                    <a:pt x="507" y="383"/>
                  </a:lnTo>
                  <a:lnTo>
                    <a:pt x="503" y="383"/>
                  </a:lnTo>
                  <a:lnTo>
                    <a:pt x="497" y="383"/>
                  </a:lnTo>
                  <a:lnTo>
                    <a:pt x="495" y="380"/>
                  </a:lnTo>
                  <a:lnTo>
                    <a:pt x="491" y="374"/>
                  </a:lnTo>
                  <a:lnTo>
                    <a:pt x="488" y="372"/>
                  </a:lnTo>
                  <a:lnTo>
                    <a:pt x="486" y="371"/>
                  </a:lnTo>
                  <a:lnTo>
                    <a:pt x="481" y="371"/>
                  </a:lnTo>
                  <a:lnTo>
                    <a:pt x="478" y="370"/>
                  </a:lnTo>
                  <a:lnTo>
                    <a:pt x="477" y="368"/>
                  </a:lnTo>
                  <a:lnTo>
                    <a:pt x="474" y="366"/>
                  </a:lnTo>
                  <a:lnTo>
                    <a:pt x="473" y="365"/>
                  </a:lnTo>
                  <a:lnTo>
                    <a:pt x="469" y="365"/>
                  </a:lnTo>
                  <a:lnTo>
                    <a:pt x="468" y="365"/>
                  </a:lnTo>
                  <a:lnTo>
                    <a:pt x="467" y="362"/>
                  </a:lnTo>
                  <a:lnTo>
                    <a:pt x="467" y="359"/>
                  </a:lnTo>
                  <a:lnTo>
                    <a:pt x="467" y="359"/>
                  </a:lnTo>
                  <a:lnTo>
                    <a:pt x="467" y="356"/>
                  </a:lnTo>
                  <a:lnTo>
                    <a:pt x="469" y="347"/>
                  </a:lnTo>
                  <a:lnTo>
                    <a:pt x="471" y="344"/>
                  </a:lnTo>
                  <a:lnTo>
                    <a:pt x="472" y="342"/>
                  </a:lnTo>
                  <a:lnTo>
                    <a:pt x="474" y="339"/>
                  </a:lnTo>
                  <a:lnTo>
                    <a:pt x="473" y="336"/>
                  </a:lnTo>
                  <a:lnTo>
                    <a:pt x="472" y="332"/>
                  </a:lnTo>
                  <a:lnTo>
                    <a:pt x="471" y="330"/>
                  </a:lnTo>
                  <a:lnTo>
                    <a:pt x="468" y="328"/>
                  </a:lnTo>
                  <a:lnTo>
                    <a:pt x="465" y="329"/>
                  </a:lnTo>
                  <a:lnTo>
                    <a:pt x="463" y="331"/>
                  </a:lnTo>
                  <a:lnTo>
                    <a:pt x="462" y="334"/>
                  </a:lnTo>
                  <a:lnTo>
                    <a:pt x="460" y="336"/>
                  </a:lnTo>
                  <a:lnTo>
                    <a:pt x="459" y="334"/>
                  </a:lnTo>
                  <a:lnTo>
                    <a:pt x="454" y="325"/>
                  </a:lnTo>
                  <a:lnTo>
                    <a:pt x="454" y="324"/>
                  </a:lnTo>
                  <a:lnTo>
                    <a:pt x="454" y="324"/>
                  </a:lnTo>
                  <a:lnTo>
                    <a:pt x="454" y="323"/>
                  </a:lnTo>
                  <a:lnTo>
                    <a:pt x="454" y="322"/>
                  </a:lnTo>
                  <a:lnTo>
                    <a:pt x="459" y="322"/>
                  </a:lnTo>
                  <a:lnTo>
                    <a:pt x="462" y="321"/>
                  </a:lnTo>
                  <a:lnTo>
                    <a:pt x="464" y="318"/>
                  </a:lnTo>
                  <a:lnTo>
                    <a:pt x="465" y="312"/>
                  </a:lnTo>
                  <a:lnTo>
                    <a:pt x="464" y="300"/>
                  </a:lnTo>
                  <a:lnTo>
                    <a:pt x="464" y="295"/>
                  </a:lnTo>
                  <a:lnTo>
                    <a:pt x="468" y="293"/>
                  </a:lnTo>
                  <a:lnTo>
                    <a:pt x="470" y="289"/>
                  </a:lnTo>
                  <a:lnTo>
                    <a:pt x="470" y="284"/>
                  </a:lnTo>
                  <a:lnTo>
                    <a:pt x="468" y="278"/>
                  </a:lnTo>
                  <a:lnTo>
                    <a:pt x="466" y="274"/>
                  </a:lnTo>
                  <a:lnTo>
                    <a:pt x="463" y="272"/>
                  </a:lnTo>
                  <a:lnTo>
                    <a:pt x="461" y="271"/>
                  </a:lnTo>
                  <a:lnTo>
                    <a:pt x="457" y="271"/>
                  </a:lnTo>
                  <a:lnTo>
                    <a:pt x="454" y="271"/>
                  </a:lnTo>
                  <a:lnTo>
                    <a:pt x="452" y="274"/>
                  </a:lnTo>
                  <a:lnTo>
                    <a:pt x="452" y="278"/>
                  </a:lnTo>
                  <a:lnTo>
                    <a:pt x="451" y="281"/>
                  </a:lnTo>
                  <a:lnTo>
                    <a:pt x="448" y="284"/>
                  </a:lnTo>
                  <a:lnTo>
                    <a:pt x="445" y="285"/>
                  </a:lnTo>
                  <a:lnTo>
                    <a:pt x="443" y="285"/>
                  </a:lnTo>
                  <a:lnTo>
                    <a:pt x="440" y="283"/>
                  </a:lnTo>
                  <a:lnTo>
                    <a:pt x="438" y="282"/>
                  </a:lnTo>
                  <a:lnTo>
                    <a:pt x="437" y="279"/>
                  </a:lnTo>
                  <a:lnTo>
                    <a:pt x="436" y="278"/>
                  </a:lnTo>
                  <a:lnTo>
                    <a:pt x="436" y="275"/>
                  </a:lnTo>
                  <a:lnTo>
                    <a:pt x="436" y="271"/>
                  </a:lnTo>
                  <a:lnTo>
                    <a:pt x="435" y="268"/>
                  </a:lnTo>
                  <a:lnTo>
                    <a:pt x="433" y="264"/>
                  </a:lnTo>
                  <a:lnTo>
                    <a:pt x="430" y="263"/>
                  </a:lnTo>
                  <a:lnTo>
                    <a:pt x="428" y="263"/>
                  </a:lnTo>
                  <a:lnTo>
                    <a:pt x="426" y="262"/>
                  </a:lnTo>
                  <a:lnTo>
                    <a:pt x="424" y="259"/>
                  </a:lnTo>
                  <a:lnTo>
                    <a:pt x="423" y="256"/>
                  </a:lnTo>
                  <a:lnTo>
                    <a:pt x="423" y="254"/>
                  </a:lnTo>
                  <a:lnTo>
                    <a:pt x="418" y="251"/>
                  </a:lnTo>
                  <a:lnTo>
                    <a:pt x="415" y="246"/>
                  </a:lnTo>
                  <a:lnTo>
                    <a:pt x="413" y="244"/>
                  </a:lnTo>
                  <a:lnTo>
                    <a:pt x="410" y="246"/>
                  </a:lnTo>
                  <a:lnTo>
                    <a:pt x="408" y="248"/>
                  </a:lnTo>
                  <a:lnTo>
                    <a:pt x="407" y="249"/>
                  </a:lnTo>
                  <a:lnTo>
                    <a:pt x="404" y="247"/>
                  </a:lnTo>
                  <a:lnTo>
                    <a:pt x="403" y="245"/>
                  </a:lnTo>
                  <a:lnTo>
                    <a:pt x="400" y="238"/>
                  </a:lnTo>
                  <a:lnTo>
                    <a:pt x="400" y="237"/>
                  </a:lnTo>
                  <a:lnTo>
                    <a:pt x="399" y="235"/>
                  </a:lnTo>
                  <a:lnTo>
                    <a:pt x="399" y="235"/>
                  </a:lnTo>
                  <a:lnTo>
                    <a:pt x="399" y="235"/>
                  </a:lnTo>
                  <a:lnTo>
                    <a:pt x="399" y="235"/>
                  </a:lnTo>
                  <a:lnTo>
                    <a:pt x="397" y="225"/>
                  </a:lnTo>
                  <a:lnTo>
                    <a:pt x="399" y="219"/>
                  </a:lnTo>
                  <a:lnTo>
                    <a:pt x="403" y="214"/>
                  </a:lnTo>
                  <a:lnTo>
                    <a:pt x="407" y="207"/>
                  </a:lnTo>
                  <a:lnTo>
                    <a:pt x="408" y="198"/>
                  </a:lnTo>
                  <a:lnTo>
                    <a:pt x="408" y="190"/>
                  </a:lnTo>
                  <a:lnTo>
                    <a:pt x="409" y="182"/>
                  </a:lnTo>
                  <a:lnTo>
                    <a:pt x="414" y="176"/>
                  </a:lnTo>
                  <a:lnTo>
                    <a:pt x="416" y="173"/>
                  </a:lnTo>
                  <a:lnTo>
                    <a:pt x="415" y="170"/>
                  </a:lnTo>
                  <a:lnTo>
                    <a:pt x="413" y="169"/>
                  </a:lnTo>
                  <a:lnTo>
                    <a:pt x="408" y="166"/>
                  </a:lnTo>
                  <a:lnTo>
                    <a:pt x="406" y="165"/>
                  </a:lnTo>
                  <a:lnTo>
                    <a:pt x="406" y="162"/>
                  </a:lnTo>
                  <a:lnTo>
                    <a:pt x="408" y="158"/>
                  </a:lnTo>
                  <a:lnTo>
                    <a:pt x="409" y="155"/>
                  </a:lnTo>
                  <a:lnTo>
                    <a:pt x="412" y="152"/>
                  </a:lnTo>
                  <a:lnTo>
                    <a:pt x="415" y="149"/>
                  </a:lnTo>
                  <a:lnTo>
                    <a:pt x="415" y="146"/>
                  </a:lnTo>
                  <a:lnTo>
                    <a:pt x="414" y="145"/>
                  </a:lnTo>
                  <a:lnTo>
                    <a:pt x="408" y="143"/>
                  </a:lnTo>
                  <a:lnTo>
                    <a:pt x="405" y="141"/>
                  </a:lnTo>
                  <a:lnTo>
                    <a:pt x="404" y="138"/>
                  </a:lnTo>
                  <a:lnTo>
                    <a:pt x="403" y="130"/>
                  </a:lnTo>
                  <a:lnTo>
                    <a:pt x="401" y="126"/>
                  </a:lnTo>
                  <a:lnTo>
                    <a:pt x="399" y="123"/>
                  </a:lnTo>
                  <a:lnTo>
                    <a:pt x="398" y="121"/>
                  </a:lnTo>
                  <a:lnTo>
                    <a:pt x="395" y="120"/>
                  </a:lnTo>
                  <a:lnTo>
                    <a:pt x="393" y="120"/>
                  </a:lnTo>
                  <a:lnTo>
                    <a:pt x="388" y="122"/>
                  </a:lnTo>
                  <a:lnTo>
                    <a:pt x="381" y="132"/>
                  </a:lnTo>
                  <a:lnTo>
                    <a:pt x="375" y="133"/>
                  </a:lnTo>
                  <a:lnTo>
                    <a:pt x="370" y="131"/>
                  </a:lnTo>
                  <a:lnTo>
                    <a:pt x="368" y="129"/>
                  </a:lnTo>
                  <a:lnTo>
                    <a:pt x="364" y="126"/>
                  </a:lnTo>
                  <a:lnTo>
                    <a:pt x="359" y="121"/>
                  </a:lnTo>
                  <a:lnTo>
                    <a:pt x="356" y="115"/>
                  </a:lnTo>
                  <a:lnTo>
                    <a:pt x="355" y="113"/>
                  </a:lnTo>
                  <a:lnTo>
                    <a:pt x="352" y="111"/>
                  </a:lnTo>
                  <a:lnTo>
                    <a:pt x="351" y="110"/>
                  </a:lnTo>
                  <a:lnTo>
                    <a:pt x="351" y="108"/>
                  </a:lnTo>
                  <a:lnTo>
                    <a:pt x="350" y="102"/>
                  </a:lnTo>
                  <a:lnTo>
                    <a:pt x="348" y="96"/>
                  </a:lnTo>
                  <a:lnTo>
                    <a:pt x="348" y="94"/>
                  </a:lnTo>
                  <a:lnTo>
                    <a:pt x="347" y="92"/>
                  </a:lnTo>
                  <a:lnTo>
                    <a:pt x="347" y="91"/>
                  </a:lnTo>
                  <a:lnTo>
                    <a:pt x="346" y="89"/>
                  </a:lnTo>
                  <a:lnTo>
                    <a:pt x="341" y="86"/>
                  </a:lnTo>
                  <a:lnTo>
                    <a:pt x="336" y="85"/>
                  </a:lnTo>
                  <a:lnTo>
                    <a:pt x="325" y="85"/>
                  </a:lnTo>
                  <a:lnTo>
                    <a:pt x="310" y="79"/>
                  </a:lnTo>
                  <a:lnTo>
                    <a:pt x="305" y="78"/>
                  </a:lnTo>
                  <a:lnTo>
                    <a:pt x="301" y="80"/>
                  </a:lnTo>
                  <a:lnTo>
                    <a:pt x="299" y="89"/>
                  </a:lnTo>
                  <a:lnTo>
                    <a:pt x="299" y="89"/>
                  </a:lnTo>
                  <a:lnTo>
                    <a:pt x="298" y="90"/>
                  </a:lnTo>
                  <a:lnTo>
                    <a:pt x="298" y="94"/>
                  </a:lnTo>
                  <a:lnTo>
                    <a:pt x="297" y="98"/>
                  </a:lnTo>
                  <a:lnTo>
                    <a:pt x="297" y="100"/>
                  </a:lnTo>
                  <a:lnTo>
                    <a:pt x="295" y="100"/>
                  </a:lnTo>
                  <a:lnTo>
                    <a:pt x="292" y="98"/>
                  </a:lnTo>
                  <a:lnTo>
                    <a:pt x="290" y="96"/>
                  </a:lnTo>
                  <a:lnTo>
                    <a:pt x="286" y="87"/>
                  </a:lnTo>
                  <a:lnTo>
                    <a:pt x="288" y="83"/>
                  </a:lnTo>
                  <a:lnTo>
                    <a:pt x="288" y="80"/>
                  </a:lnTo>
                  <a:lnTo>
                    <a:pt x="287" y="77"/>
                  </a:lnTo>
                  <a:lnTo>
                    <a:pt x="285" y="75"/>
                  </a:lnTo>
                  <a:lnTo>
                    <a:pt x="281" y="75"/>
                  </a:lnTo>
                  <a:lnTo>
                    <a:pt x="279" y="78"/>
                  </a:lnTo>
                  <a:lnTo>
                    <a:pt x="277" y="82"/>
                  </a:lnTo>
                  <a:lnTo>
                    <a:pt x="275" y="85"/>
                  </a:lnTo>
                  <a:lnTo>
                    <a:pt x="271" y="85"/>
                  </a:lnTo>
                  <a:lnTo>
                    <a:pt x="270" y="83"/>
                  </a:lnTo>
                  <a:lnTo>
                    <a:pt x="269" y="80"/>
                  </a:lnTo>
                  <a:lnTo>
                    <a:pt x="270" y="77"/>
                  </a:lnTo>
                  <a:lnTo>
                    <a:pt x="273" y="74"/>
                  </a:lnTo>
                  <a:lnTo>
                    <a:pt x="275" y="72"/>
                  </a:lnTo>
                  <a:lnTo>
                    <a:pt x="277" y="70"/>
                  </a:lnTo>
                  <a:lnTo>
                    <a:pt x="278" y="65"/>
                  </a:lnTo>
                  <a:lnTo>
                    <a:pt x="277" y="61"/>
                  </a:lnTo>
                  <a:lnTo>
                    <a:pt x="276" y="59"/>
                  </a:lnTo>
                  <a:lnTo>
                    <a:pt x="273" y="58"/>
                  </a:lnTo>
                  <a:lnTo>
                    <a:pt x="266" y="59"/>
                  </a:lnTo>
                  <a:lnTo>
                    <a:pt x="263" y="61"/>
                  </a:lnTo>
                  <a:lnTo>
                    <a:pt x="261" y="63"/>
                  </a:lnTo>
                  <a:lnTo>
                    <a:pt x="257" y="65"/>
                  </a:lnTo>
                  <a:lnTo>
                    <a:pt x="254" y="66"/>
                  </a:lnTo>
                  <a:lnTo>
                    <a:pt x="251" y="65"/>
                  </a:lnTo>
                  <a:lnTo>
                    <a:pt x="249" y="63"/>
                  </a:lnTo>
                  <a:lnTo>
                    <a:pt x="249" y="58"/>
                  </a:lnTo>
                  <a:lnTo>
                    <a:pt x="247" y="54"/>
                  </a:lnTo>
                  <a:lnTo>
                    <a:pt x="245" y="54"/>
                  </a:lnTo>
                  <a:lnTo>
                    <a:pt x="240" y="58"/>
                  </a:lnTo>
                  <a:lnTo>
                    <a:pt x="237" y="59"/>
                  </a:lnTo>
                  <a:lnTo>
                    <a:pt x="234" y="59"/>
                  </a:lnTo>
                  <a:lnTo>
                    <a:pt x="232" y="57"/>
                  </a:lnTo>
                  <a:lnTo>
                    <a:pt x="235" y="48"/>
                  </a:lnTo>
                  <a:lnTo>
                    <a:pt x="234" y="44"/>
                  </a:lnTo>
                  <a:lnTo>
                    <a:pt x="231" y="41"/>
                  </a:lnTo>
                  <a:lnTo>
                    <a:pt x="228" y="39"/>
                  </a:lnTo>
                  <a:lnTo>
                    <a:pt x="220" y="38"/>
                  </a:lnTo>
                  <a:lnTo>
                    <a:pt x="214" y="37"/>
                  </a:lnTo>
                  <a:lnTo>
                    <a:pt x="208" y="35"/>
                  </a:lnTo>
                  <a:lnTo>
                    <a:pt x="204" y="29"/>
                  </a:lnTo>
                  <a:lnTo>
                    <a:pt x="203" y="28"/>
                  </a:lnTo>
                  <a:lnTo>
                    <a:pt x="201" y="26"/>
                  </a:lnTo>
                  <a:lnTo>
                    <a:pt x="198" y="21"/>
                  </a:lnTo>
                  <a:lnTo>
                    <a:pt x="195" y="18"/>
                  </a:lnTo>
                  <a:lnTo>
                    <a:pt x="185" y="10"/>
                  </a:lnTo>
                  <a:lnTo>
                    <a:pt x="180" y="8"/>
                  </a:lnTo>
                  <a:lnTo>
                    <a:pt x="160" y="8"/>
                  </a:lnTo>
                  <a:lnTo>
                    <a:pt x="157" y="7"/>
                  </a:lnTo>
                  <a:lnTo>
                    <a:pt x="156" y="0"/>
                  </a:lnTo>
                  <a:lnTo>
                    <a:pt x="153" y="0"/>
                  </a:lnTo>
                  <a:lnTo>
                    <a:pt x="149" y="3"/>
                  </a:lnTo>
                  <a:lnTo>
                    <a:pt x="147" y="3"/>
                  </a:lnTo>
                  <a:lnTo>
                    <a:pt x="140" y="3"/>
                  </a:lnTo>
                  <a:lnTo>
                    <a:pt x="137" y="8"/>
                  </a:lnTo>
                  <a:lnTo>
                    <a:pt x="127" y="16"/>
                  </a:lnTo>
                  <a:lnTo>
                    <a:pt x="125" y="18"/>
                  </a:lnTo>
                  <a:lnTo>
                    <a:pt x="122" y="17"/>
                  </a:lnTo>
                  <a:lnTo>
                    <a:pt x="118" y="13"/>
                  </a:lnTo>
                  <a:lnTo>
                    <a:pt x="115" y="12"/>
                  </a:lnTo>
                  <a:lnTo>
                    <a:pt x="109" y="15"/>
                  </a:lnTo>
                  <a:lnTo>
                    <a:pt x="100" y="26"/>
                  </a:lnTo>
                  <a:lnTo>
                    <a:pt x="100" y="27"/>
                  </a:lnTo>
                  <a:lnTo>
                    <a:pt x="94" y="30"/>
                  </a:lnTo>
                  <a:lnTo>
                    <a:pt x="88" y="29"/>
                  </a:lnTo>
                  <a:lnTo>
                    <a:pt x="71" y="23"/>
                  </a:lnTo>
                  <a:lnTo>
                    <a:pt x="68" y="21"/>
                  </a:lnTo>
                  <a:lnTo>
                    <a:pt x="66" y="20"/>
                  </a:lnTo>
                  <a:lnTo>
                    <a:pt x="65" y="21"/>
                  </a:lnTo>
                  <a:lnTo>
                    <a:pt x="64" y="23"/>
                  </a:lnTo>
                  <a:lnTo>
                    <a:pt x="65" y="25"/>
                  </a:lnTo>
                  <a:lnTo>
                    <a:pt x="65" y="26"/>
                  </a:lnTo>
                  <a:lnTo>
                    <a:pt x="65" y="27"/>
                  </a:lnTo>
                  <a:lnTo>
                    <a:pt x="66" y="29"/>
                  </a:lnTo>
                  <a:lnTo>
                    <a:pt x="66" y="30"/>
                  </a:lnTo>
                  <a:lnTo>
                    <a:pt x="65" y="30"/>
                  </a:lnTo>
                  <a:lnTo>
                    <a:pt x="63" y="30"/>
                  </a:lnTo>
                  <a:lnTo>
                    <a:pt x="61" y="30"/>
                  </a:lnTo>
                  <a:lnTo>
                    <a:pt x="60" y="29"/>
                  </a:lnTo>
                  <a:lnTo>
                    <a:pt x="59" y="29"/>
                  </a:lnTo>
                  <a:lnTo>
                    <a:pt x="57" y="31"/>
                  </a:lnTo>
                  <a:lnTo>
                    <a:pt x="52" y="32"/>
                  </a:lnTo>
                  <a:lnTo>
                    <a:pt x="46" y="29"/>
                  </a:lnTo>
                  <a:lnTo>
                    <a:pt x="41" y="24"/>
                  </a:lnTo>
                  <a:lnTo>
                    <a:pt x="36" y="22"/>
                  </a:lnTo>
                  <a:lnTo>
                    <a:pt x="34" y="23"/>
                  </a:lnTo>
                  <a:lnTo>
                    <a:pt x="33" y="24"/>
                  </a:lnTo>
                  <a:lnTo>
                    <a:pt x="33" y="26"/>
                  </a:lnTo>
                  <a:lnTo>
                    <a:pt x="31" y="27"/>
                  </a:lnTo>
                  <a:lnTo>
                    <a:pt x="30" y="27"/>
                  </a:lnTo>
                  <a:lnTo>
                    <a:pt x="27" y="26"/>
                  </a:lnTo>
                  <a:lnTo>
                    <a:pt x="27" y="26"/>
                  </a:lnTo>
                  <a:lnTo>
                    <a:pt x="25" y="28"/>
                  </a:lnTo>
                  <a:lnTo>
                    <a:pt x="25" y="31"/>
                  </a:lnTo>
                  <a:lnTo>
                    <a:pt x="26" y="33"/>
                  </a:lnTo>
                  <a:lnTo>
                    <a:pt x="27" y="38"/>
                  </a:lnTo>
                  <a:lnTo>
                    <a:pt x="27" y="43"/>
                  </a:lnTo>
                  <a:lnTo>
                    <a:pt x="26" y="46"/>
                  </a:lnTo>
                  <a:lnTo>
                    <a:pt x="25" y="47"/>
                  </a:lnTo>
                  <a:lnTo>
                    <a:pt x="22" y="48"/>
                  </a:lnTo>
                  <a:lnTo>
                    <a:pt x="18" y="46"/>
                  </a:lnTo>
                  <a:lnTo>
                    <a:pt x="17" y="43"/>
                  </a:lnTo>
                  <a:lnTo>
                    <a:pt x="15" y="41"/>
                  </a:lnTo>
                  <a:lnTo>
                    <a:pt x="13" y="38"/>
                  </a:lnTo>
                  <a:lnTo>
                    <a:pt x="10" y="37"/>
                  </a:lnTo>
                  <a:lnTo>
                    <a:pt x="9" y="39"/>
                  </a:lnTo>
                  <a:lnTo>
                    <a:pt x="8" y="42"/>
                  </a:lnTo>
                  <a:lnTo>
                    <a:pt x="3" y="45"/>
                  </a:lnTo>
                  <a:lnTo>
                    <a:pt x="1" y="48"/>
                  </a:lnTo>
                  <a:lnTo>
                    <a:pt x="0" y="52"/>
                  </a:lnTo>
                  <a:lnTo>
                    <a:pt x="0" y="54"/>
                  </a:lnTo>
                  <a:lnTo>
                    <a:pt x="7" y="50"/>
                  </a:lnTo>
                  <a:lnTo>
                    <a:pt x="11" y="50"/>
                  </a:lnTo>
                  <a:lnTo>
                    <a:pt x="15" y="53"/>
                  </a:lnTo>
                  <a:lnTo>
                    <a:pt x="16" y="54"/>
                  </a:lnTo>
                  <a:lnTo>
                    <a:pt x="18" y="51"/>
                  </a:lnTo>
                  <a:lnTo>
                    <a:pt x="20" y="55"/>
                  </a:lnTo>
                  <a:lnTo>
                    <a:pt x="23" y="55"/>
                  </a:lnTo>
                  <a:lnTo>
                    <a:pt x="29" y="54"/>
                  </a:lnTo>
                  <a:lnTo>
                    <a:pt x="32" y="56"/>
                  </a:lnTo>
                  <a:lnTo>
                    <a:pt x="36" y="60"/>
                  </a:lnTo>
                  <a:lnTo>
                    <a:pt x="37" y="59"/>
                  </a:lnTo>
                  <a:lnTo>
                    <a:pt x="44" y="66"/>
                  </a:lnTo>
                  <a:lnTo>
                    <a:pt x="45" y="67"/>
                  </a:lnTo>
                  <a:lnTo>
                    <a:pt x="46" y="72"/>
                  </a:lnTo>
                  <a:lnTo>
                    <a:pt x="47" y="71"/>
                  </a:lnTo>
                  <a:lnTo>
                    <a:pt x="49" y="68"/>
                  </a:lnTo>
                  <a:lnTo>
                    <a:pt x="51" y="67"/>
                  </a:lnTo>
                  <a:lnTo>
                    <a:pt x="52" y="68"/>
                  </a:lnTo>
                  <a:lnTo>
                    <a:pt x="53" y="71"/>
                  </a:lnTo>
                  <a:lnTo>
                    <a:pt x="55" y="74"/>
                  </a:lnTo>
                  <a:lnTo>
                    <a:pt x="60" y="76"/>
                  </a:lnTo>
                  <a:lnTo>
                    <a:pt x="60" y="78"/>
                  </a:lnTo>
                  <a:lnTo>
                    <a:pt x="58" y="80"/>
                  </a:lnTo>
                  <a:lnTo>
                    <a:pt x="55" y="80"/>
                  </a:lnTo>
                  <a:lnTo>
                    <a:pt x="55" y="82"/>
                  </a:lnTo>
                  <a:lnTo>
                    <a:pt x="59" y="84"/>
                  </a:lnTo>
                  <a:lnTo>
                    <a:pt x="62" y="85"/>
                  </a:lnTo>
                  <a:lnTo>
                    <a:pt x="64" y="83"/>
                  </a:lnTo>
                  <a:lnTo>
                    <a:pt x="66" y="84"/>
                  </a:lnTo>
                  <a:lnTo>
                    <a:pt x="67" y="85"/>
                  </a:lnTo>
                  <a:lnTo>
                    <a:pt x="68" y="87"/>
                  </a:lnTo>
                  <a:lnTo>
                    <a:pt x="68" y="87"/>
                  </a:lnTo>
                  <a:lnTo>
                    <a:pt x="68" y="88"/>
                  </a:lnTo>
                  <a:lnTo>
                    <a:pt x="66" y="90"/>
                  </a:lnTo>
                  <a:lnTo>
                    <a:pt x="66" y="91"/>
                  </a:lnTo>
                  <a:lnTo>
                    <a:pt x="67" y="97"/>
                  </a:lnTo>
                  <a:lnTo>
                    <a:pt x="70" y="102"/>
                  </a:lnTo>
                  <a:lnTo>
                    <a:pt x="74" y="105"/>
                  </a:lnTo>
                  <a:lnTo>
                    <a:pt x="78" y="107"/>
                  </a:lnTo>
                  <a:lnTo>
                    <a:pt x="78" y="109"/>
                  </a:lnTo>
                  <a:lnTo>
                    <a:pt x="75" y="111"/>
                  </a:lnTo>
                  <a:lnTo>
                    <a:pt x="75" y="112"/>
                  </a:lnTo>
                  <a:lnTo>
                    <a:pt x="75" y="112"/>
                  </a:lnTo>
                  <a:lnTo>
                    <a:pt x="75" y="113"/>
                  </a:lnTo>
                  <a:lnTo>
                    <a:pt x="76" y="114"/>
                  </a:lnTo>
                  <a:lnTo>
                    <a:pt x="80" y="112"/>
                  </a:lnTo>
                  <a:lnTo>
                    <a:pt x="82" y="115"/>
                  </a:lnTo>
                  <a:lnTo>
                    <a:pt x="83" y="118"/>
                  </a:lnTo>
                  <a:lnTo>
                    <a:pt x="85" y="117"/>
                  </a:lnTo>
                  <a:lnTo>
                    <a:pt x="87" y="119"/>
                  </a:lnTo>
                  <a:lnTo>
                    <a:pt x="87" y="121"/>
                  </a:lnTo>
                  <a:lnTo>
                    <a:pt x="86" y="124"/>
                  </a:lnTo>
                  <a:lnTo>
                    <a:pt x="84" y="125"/>
                  </a:lnTo>
                  <a:lnTo>
                    <a:pt x="88" y="128"/>
                  </a:lnTo>
                  <a:lnTo>
                    <a:pt x="89" y="129"/>
                  </a:lnTo>
                  <a:lnTo>
                    <a:pt x="89" y="130"/>
                  </a:lnTo>
                  <a:lnTo>
                    <a:pt x="86" y="134"/>
                  </a:lnTo>
                  <a:lnTo>
                    <a:pt x="88" y="136"/>
                  </a:lnTo>
                  <a:lnTo>
                    <a:pt x="91" y="138"/>
                  </a:lnTo>
                  <a:lnTo>
                    <a:pt x="94" y="141"/>
                  </a:lnTo>
                  <a:lnTo>
                    <a:pt x="94" y="143"/>
                  </a:lnTo>
                  <a:lnTo>
                    <a:pt x="94" y="150"/>
                  </a:lnTo>
                  <a:lnTo>
                    <a:pt x="94" y="151"/>
                  </a:lnTo>
                  <a:lnTo>
                    <a:pt x="96" y="153"/>
                  </a:lnTo>
                  <a:lnTo>
                    <a:pt x="98" y="153"/>
                  </a:lnTo>
                  <a:lnTo>
                    <a:pt x="100" y="154"/>
                  </a:lnTo>
                  <a:lnTo>
                    <a:pt x="100" y="156"/>
                  </a:lnTo>
                  <a:lnTo>
                    <a:pt x="95" y="159"/>
                  </a:lnTo>
                  <a:lnTo>
                    <a:pt x="97" y="161"/>
                  </a:lnTo>
                  <a:lnTo>
                    <a:pt x="99" y="164"/>
                  </a:lnTo>
                  <a:lnTo>
                    <a:pt x="101" y="168"/>
                  </a:lnTo>
                  <a:lnTo>
                    <a:pt x="102" y="170"/>
                  </a:lnTo>
                  <a:lnTo>
                    <a:pt x="102" y="171"/>
                  </a:lnTo>
                  <a:lnTo>
                    <a:pt x="105" y="173"/>
                  </a:lnTo>
                  <a:lnTo>
                    <a:pt x="106" y="174"/>
                  </a:lnTo>
                  <a:lnTo>
                    <a:pt x="106" y="174"/>
                  </a:lnTo>
                  <a:lnTo>
                    <a:pt x="107" y="176"/>
                  </a:lnTo>
                  <a:lnTo>
                    <a:pt x="106" y="179"/>
                  </a:lnTo>
                  <a:lnTo>
                    <a:pt x="107" y="180"/>
                  </a:lnTo>
                  <a:lnTo>
                    <a:pt x="107" y="182"/>
                  </a:lnTo>
                  <a:lnTo>
                    <a:pt x="104" y="183"/>
                  </a:lnTo>
                  <a:lnTo>
                    <a:pt x="105" y="188"/>
                  </a:lnTo>
                  <a:lnTo>
                    <a:pt x="109" y="194"/>
                  </a:lnTo>
                  <a:lnTo>
                    <a:pt x="119" y="208"/>
                  </a:lnTo>
                  <a:lnTo>
                    <a:pt x="123" y="212"/>
                  </a:lnTo>
                  <a:lnTo>
                    <a:pt x="128" y="214"/>
                  </a:lnTo>
                  <a:lnTo>
                    <a:pt x="129" y="215"/>
                  </a:lnTo>
                  <a:lnTo>
                    <a:pt x="129" y="216"/>
                  </a:lnTo>
                  <a:lnTo>
                    <a:pt x="130" y="219"/>
                  </a:lnTo>
                  <a:lnTo>
                    <a:pt x="130" y="220"/>
                  </a:lnTo>
                  <a:lnTo>
                    <a:pt x="130" y="221"/>
                  </a:lnTo>
                  <a:lnTo>
                    <a:pt x="130" y="224"/>
                  </a:lnTo>
                  <a:lnTo>
                    <a:pt x="130" y="224"/>
                  </a:lnTo>
                  <a:lnTo>
                    <a:pt x="131" y="225"/>
                  </a:lnTo>
                  <a:lnTo>
                    <a:pt x="133" y="225"/>
                  </a:lnTo>
                  <a:lnTo>
                    <a:pt x="133" y="225"/>
                  </a:lnTo>
                  <a:lnTo>
                    <a:pt x="135" y="232"/>
                  </a:lnTo>
                  <a:lnTo>
                    <a:pt x="135" y="235"/>
                  </a:lnTo>
                  <a:lnTo>
                    <a:pt x="137" y="237"/>
                  </a:lnTo>
                  <a:lnTo>
                    <a:pt x="139" y="237"/>
                  </a:lnTo>
                  <a:lnTo>
                    <a:pt x="140" y="237"/>
                  </a:lnTo>
                  <a:lnTo>
                    <a:pt x="140" y="238"/>
                  </a:lnTo>
                  <a:lnTo>
                    <a:pt x="141" y="238"/>
                  </a:lnTo>
                  <a:lnTo>
                    <a:pt x="145" y="239"/>
                  </a:lnTo>
                  <a:lnTo>
                    <a:pt x="145" y="238"/>
                  </a:lnTo>
                  <a:lnTo>
                    <a:pt x="147" y="239"/>
                  </a:lnTo>
                  <a:lnTo>
                    <a:pt x="150" y="240"/>
                  </a:lnTo>
                  <a:lnTo>
                    <a:pt x="152" y="242"/>
                  </a:lnTo>
                  <a:lnTo>
                    <a:pt x="153" y="245"/>
                  </a:lnTo>
                  <a:lnTo>
                    <a:pt x="152" y="246"/>
                  </a:lnTo>
                  <a:lnTo>
                    <a:pt x="151" y="248"/>
                  </a:lnTo>
                  <a:lnTo>
                    <a:pt x="150" y="250"/>
                  </a:lnTo>
                  <a:lnTo>
                    <a:pt x="150" y="253"/>
                  </a:lnTo>
                  <a:lnTo>
                    <a:pt x="153" y="255"/>
                  </a:lnTo>
                  <a:lnTo>
                    <a:pt x="151" y="262"/>
                  </a:lnTo>
                  <a:lnTo>
                    <a:pt x="154" y="264"/>
                  </a:lnTo>
                  <a:lnTo>
                    <a:pt x="154" y="264"/>
                  </a:lnTo>
                  <a:lnTo>
                    <a:pt x="156" y="266"/>
                  </a:lnTo>
                  <a:lnTo>
                    <a:pt x="159" y="275"/>
                  </a:lnTo>
                  <a:lnTo>
                    <a:pt x="161" y="278"/>
                  </a:lnTo>
                  <a:lnTo>
                    <a:pt x="163" y="279"/>
                  </a:lnTo>
                  <a:lnTo>
                    <a:pt x="167" y="280"/>
                  </a:lnTo>
                  <a:lnTo>
                    <a:pt x="169" y="281"/>
                  </a:lnTo>
                  <a:lnTo>
                    <a:pt x="170" y="282"/>
                  </a:lnTo>
                  <a:lnTo>
                    <a:pt x="171" y="283"/>
                  </a:lnTo>
                  <a:lnTo>
                    <a:pt x="175" y="284"/>
                  </a:lnTo>
                  <a:lnTo>
                    <a:pt x="177" y="286"/>
                  </a:lnTo>
                  <a:lnTo>
                    <a:pt x="180" y="291"/>
                  </a:lnTo>
                  <a:lnTo>
                    <a:pt x="180" y="294"/>
                  </a:lnTo>
                  <a:lnTo>
                    <a:pt x="182" y="297"/>
                  </a:lnTo>
                  <a:lnTo>
                    <a:pt x="185" y="302"/>
                  </a:lnTo>
                  <a:lnTo>
                    <a:pt x="188" y="308"/>
                  </a:lnTo>
                  <a:lnTo>
                    <a:pt x="188" y="309"/>
                  </a:lnTo>
                  <a:lnTo>
                    <a:pt x="188" y="311"/>
                  </a:lnTo>
                  <a:lnTo>
                    <a:pt x="188" y="312"/>
                  </a:lnTo>
                  <a:lnTo>
                    <a:pt x="188" y="313"/>
                  </a:lnTo>
                  <a:lnTo>
                    <a:pt x="187" y="313"/>
                  </a:lnTo>
                  <a:lnTo>
                    <a:pt x="188" y="316"/>
                  </a:lnTo>
                  <a:lnTo>
                    <a:pt x="195" y="320"/>
                  </a:lnTo>
                  <a:lnTo>
                    <a:pt x="195" y="321"/>
                  </a:lnTo>
                  <a:lnTo>
                    <a:pt x="194" y="323"/>
                  </a:lnTo>
                  <a:lnTo>
                    <a:pt x="195" y="324"/>
                  </a:lnTo>
                  <a:lnTo>
                    <a:pt x="197" y="324"/>
                  </a:lnTo>
                  <a:lnTo>
                    <a:pt x="198" y="325"/>
                  </a:lnTo>
                  <a:lnTo>
                    <a:pt x="203" y="331"/>
                  </a:lnTo>
                  <a:lnTo>
                    <a:pt x="207" y="334"/>
                  </a:lnTo>
                  <a:lnTo>
                    <a:pt x="209" y="336"/>
                  </a:lnTo>
                  <a:lnTo>
                    <a:pt x="209" y="339"/>
                  </a:lnTo>
                  <a:lnTo>
                    <a:pt x="213" y="340"/>
                  </a:lnTo>
                  <a:lnTo>
                    <a:pt x="217" y="342"/>
                  </a:lnTo>
                  <a:lnTo>
                    <a:pt x="220" y="344"/>
                  </a:lnTo>
                  <a:lnTo>
                    <a:pt x="223" y="342"/>
                  </a:lnTo>
                  <a:lnTo>
                    <a:pt x="225" y="346"/>
                  </a:lnTo>
                  <a:lnTo>
                    <a:pt x="225" y="346"/>
                  </a:lnTo>
                  <a:lnTo>
                    <a:pt x="230" y="352"/>
                  </a:lnTo>
                  <a:lnTo>
                    <a:pt x="232" y="356"/>
                  </a:lnTo>
                  <a:lnTo>
                    <a:pt x="235" y="365"/>
                  </a:lnTo>
                  <a:lnTo>
                    <a:pt x="236" y="368"/>
                  </a:lnTo>
                  <a:lnTo>
                    <a:pt x="236" y="369"/>
                  </a:lnTo>
                  <a:lnTo>
                    <a:pt x="234" y="372"/>
                  </a:lnTo>
                  <a:lnTo>
                    <a:pt x="237" y="374"/>
                  </a:lnTo>
                  <a:lnTo>
                    <a:pt x="237" y="377"/>
                  </a:lnTo>
                  <a:lnTo>
                    <a:pt x="237" y="380"/>
                  </a:lnTo>
                  <a:lnTo>
                    <a:pt x="239" y="382"/>
                  </a:lnTo>
                  <a:lnTo>
                    <a:pt x="239" y="383"/>
                  </a:lnTo>
                  <a:lnTo>
                    <a:pt x="239" y="386"/>
                  </a:lnTo>
                  <a:lnTo>
                    <a:pt x="238" y="388"/>
                  </a:lnTo>
                  <a:lnTo>
                    <a:pt x="241" y="395"/>
                  </a:lnTo>
                  <a:lnTo>
                    <a:pt x="247" y="405"/>
                  </a:lnTo>
                  <a:lnTo>
                    <a:pt x="247" y="410"/>
                  </a:lnTo>
                  <a:lnTo>
                    <a:pt x="256" y="428"/>
                  </a:lnTo>
                  <a:lnTo>
                    <a:pt x="258" y="434"/>
                  </a:lnTo>
                  <a:lnTo>
                    <a:pt x="258" y="435"/>
                  </a:lnTo>
                  <a:lnTo>
                    <a:pt x="258" y="437"/>
                  </a:lnTo>
                  <a:lnTo>
                    <a:pt x="258" y="440"/>
                  </a:lnTo>
                  <a:lnTo>
                    <a:pt x="257" y="443"/>
                  </a:lnTo>
                  <a:lnTo>
                    <a:pt x="256" y="446"/>
                  </a:lnTo>
                  <a:lnTo>
                    <a:pt x="255" y="449"/>
                  </a:lnTo>
                  <a:lnTo>
                    <a:pt x="256" y="453"/>
                  </a:lnTo>
                  <a:lnTo>
                    <a:pt x="255" y="454"/>
                  </a:lnTo>
                  <a:lnTo>
                    <a:pt x="254" y="456"/>
                  </a:lnTo>
                  <a:lnTo>
                    <a:pt x="254" y="464"/>
                  </a:lnTo>
                  <a:lnTo>
                    <a:pt x="254" y="466"/>
                  </a:lnTo>
                  <a:lnTo>
                    <a:pt x="256" y="470"/>
                  </a:lnTo>
                  <a:lnTo>
                    <a:pt x="257" y="471"/>
                  </a:lnTo>
                  <a:lnTo>
                    <a:pt x="257" y="470"/>
                  </a:lnTo>
                  <a:lnTo>
                    <a:pt x="258" y="471"/>
                  </a:lnTo>
                  <a:lnTo>
                    <a:pt x="258" y="473"/>
                  </a:lnTo>
                  <a:lnTo>
                    <a:pt x="258" y="480"/>
                  </a:lnTo>
                  <a:lnTo>
                    <a:pt x="258" y="482"/>
                  </a:lnTo>
                  <a:lnTo>
                    <a:pt x="257" y="483"/>
                  </a:lnTo>
                  <a:lnTo>
                    <a:pt x="255" y="484"/>
                  </a:lnTo>
                  <a:lnTo>
                    <a:pt x="256" y="488"/>
                  </a:lnTo>
                  <a:lnTo>
                    <a:pt x="255" y="489"/>
                  </a:lnTo>
                  <a:lnTo>
                    <a:pt x="255" y="489"/>
                  </a:lnTo>
                  <a:lnTo>
                    <a:pt x="254" y="490"/>
                  </a:lnTo>
                  <a:lnTo>
                    <a:pt x="253" y="491"/>
                  </a:lnTo>
                  <a:lnTo>
                    <a:pt x="252" y="498"/>
                  </a:lnTo>
                  <a:lnTo>
                    <a:pt x="251" y="499"/>
                  </a:lnTo>
                  <a:lnTo>
                    <a:pt x="249" y="499"/>
                  </a:lnTo>
                  <a:lnTo>
                    <a:pt x="249" y="501"/>
                  </a:lnTo>
                  <a:lnTo>
                    <a:pt x="250" y="506"/>
                  </a:lnTo>
                  <a:lnTo>
                    <a:pt x="250" y="508"/>
                  </a:lnTo>
                  <a:lnTo>
                    <a:pt x="249" y="509"/>
                  </a:lnTo>
                  <a:lnTo>
                    <a:pt x="247" y="514"/>
                  </a:lnTo>
                  <a:lnTo>
                    <a:pt x="245" y="516"/>
                  </a:lnTo>
                  <a:lnTo>
                    <a:pt x="244" y="517"/>
                  </a:lnTo>
                  <a:lnTo>
                    <a:pt x="242" y="517"/>
                  </a:lnTo>
                  <a:lnTo>
                    <a:pt x="241" y="518"/>
                  </a:lnTo>
                  <a:lnTo>
                    <a:pt x="240" y="520"/>
                  </a:lnTo>
                  <a:lnTo>
                    <a:pt x="241" y="523"/>
                  </a:lnTo>
                  <a:lnTo>
                    <a:pt x="240" y="525"/>
                  </a:lnTo>
                  <a:lnTo>
                    <a:pt x="238" y="525"/>
                  </a:lnTo>
                  <a:lnTo>
                    <a:pt x="237" y="526"/>
                  </a:lnTo>
                  <a:lnTo>
                    <a:pt x="237" y="528"/>
                  </a:lnTo>
                  <a:lnTo>
                    <a:pt x="240" y="533"/>
                  </a:lnTo>
                  <a:lnTo>
                    <a:pt x="241" y="534"/>
                  </a:lnTo>
                  <a:lnTo>
                    <a:pt x="242" y="536"/>
                  </a:lnTo>
                  <a:lnTo>
                    <a:pt x="242" y="538"/>
                  </a:lnTo>
                  <a:lnTo>
                    <a:pt x="240" y="543"/>
                  </a:lnTo>
                  <a:lnTo>
                    <a:pt x="239" y="549"/>
                  </a:lnTo>
                  <a:lnTo>
                    <a:pt x="237" y="556"/>
                  </a:lnTo>
                  <a:lnTo>
                    <a:pt x="236" y="558"/>
                  </a:lnTo>
                  <a:lnTo>
                    <a:pt x="235" y="561"/>
                  </a:lnTo>
                  <a:lnTo>
                    <a:pt x="234" y="562"/>
                  </a:lnTo>
                  <a:lnTo>
                    <a:pt x="233" y="563"/>
                  </a:lnTo>
                  <a:lnTo>
                    <a:pt x="233" y="564"/>
                  </a:lnTo>
                  <a:lnTo>
                    <a:pt x="234" y="565"/>
                  </a:lnTo>
                  <a:lnTo>
                    <a:pt x="234" y="566"/>
                  </a:lnTo>
                  <a:lnTo>
                    <a:pt x="232" y="574"/>
                  </a:lnTo>
                  <a:lnTo>
                    <a:pt x="232" y="576"/>
                  </a:lnTo>
                  <a:lnTo>
                    <a:pt x="233" y="579"/>
                  </a:lnTo>
                  <a:lnTo>
                    <a:pt x="237" y="591"/>
                  </a:lnTo>
                  <a:lnTo>
                    <a:pt x="237" y="593"/>
                  </a:lnTo>
                  <a:lnTo>
                    <a:pt x="237" y="595"/>
                  </a:lnTo>
                  <a:lnTo>
                    <a:pt x="238" y="596"/>
                  </a:lnTo>
                  <a:lnTo>
                    <a:pt x="239" y="598"/>
                  </a:lnTo>
                  <a:lnTo>
                    <a:pt x="239" y="600"/>
                  </a:lnTo>
                  <a:lnTo>
                    <a:pt x="238" y="601"/>
                  </a:lnTo>
                  <a:lnTo>
                    <a:pt x="238" y="603"/>
                  </a:lnTo>
                  <a:lnTo>
                    <a:pt x="238" y="605"/>
                  </a:lnTo>
                  <a:lnTo>
                    <a:pt x="240" y="608"/>
                  </a:lnTo>
                  <a:lnTo>
                    <a:pt x="240" y="609"/>
                  </a:lnTo>
                  <a:lnTo>
                    <a:pt x="239" y="610"/>
                  </a:lnTo>
                  <a:lnTo>
                    <a:pt x="237" y="611"/>
                  </a:lnTo>
                  <a:lnTo>
                    <a:pt x="237" y="613"/>
                  </a:lnTo>
                  <a:lnTo>
                    <a:pt x="237" y="619"/>
                  </a:lnTo>
                  <a:lnTo>
                    <a:pt x="240" y="626"/>
                  </a:lnTo>
                  <a:lnTo>
                    <a:pt x="242" y="631"/>
                  </a:lnTo>
                  <a:lnTo>
                    <a:pt x="244" y="634"/>
                  </a:lnTo>
                  <a:lnTo>
                    <a:pt x="245" y="656"/>
                  </a:lnTo>
                  <a:lnTo>
                    <a:pt x="245" y="660"/>
                  </a:lnTo>
                  <a:lnTo>
                    <a:pt x="246" y="663"/>
                  </a:lnTo>
                  <a:lnTo>
                    <a:pt x="243" y="664"/>
                  </a:lnTo>
                  <a:lnTo>
                    <a:pt x="238" y="664"/>
                  </a:lnTo>
                  <a:lnTo>
                    <a:pt x="236" y="665"/>
                  </a:lnTo>
                  <a:lnTo>
                    <a:pt x="234" y="667"/>
                  </a:lnTo>
                  <a:lnTo>
                    <a:pt x="231" y="669"/>
                  </a:lnTo>
                  <a:lnTo>
                    <a:pt x="229" y="672"/>
                  </a:lnTo>
                  <a:lnTo>
                    <a:pt x="238" y="676"/>
                  </a:lnTo>
                  <a:lnTo>
                    <a:pt x="242" y="679"/>
                  </a:lnTo>
                  <a:lnTo>
                    <a:pt x="244" y="684"/>
                  </a:lnTo>
                  <a:lnTo>
                    <a:pt x="245" y="685"/>
                  </a:lnTo>
                  <a:lnTo>
                    <a:pt x="245" y="686"/>
                  </a:lnTo>
                  <a:lnTo>
                    <a:pt x="245" y="687"/>
                  </a:lnTo>
                  <a:lnTo>
                    <a:pt x="246" y="694"/>
                  </a:lnTo>
                  <a:lnTo>
                    <a:pt x="247" y="696"/>
                  </a:lnTo>
                  <a:lnTo>
                    <a:pt x="251" y="702"/>
                  </a:lnTo>
                  <a:lnTo>
                    <a:pt x="251" y="700"/>
                  </a:lnTo>
                  <a:lnTo>
                    <a:pt x="252" y="697"/>
                  </a:lnTo>
                  <a:lnTo>
                    <a:pt x="254" y="694"/>
                  </a:lnTo>
                  <a:lnTo>
                    <a:pt x="254" y="694"/>
                  </a:lnTo>
                  <a:lnTo>
                    <a:pt x="254" y="694"/>
                  </a:lnTo>
                  <a:lnTo>
                    <a:pt x="262" y="688"/>
                  </a:lnTo>
                  <a:lnTo>
                    <a:pt x="262" y="688"/>
                  </a:lnTo>
                  <a:lnTo>
                    <a:pt x="273" y="689"/>
                  </a:lnTo>
                  <a:lnTo>
                    <a:pt x="285" y="692"/>
                  </a:lnTo>
                  <a:lnTo>
                    <a:pt x="296" y="693"/>
                  </a:lnTo>
                  <a:lnTo>
                    <a:pt x="299" y="691"/>
                  </a:lnTo>
                  <a:lnTo>
                    <a:pt x="300" y="688"/>
                  </a:lnTo>
                  <a:lnTo>
                    <a:pt x="299" y="681"/>
                  </a:lnTo>
                  <a:lnTo>
                    <a:pt x="298" y="680"/>
                  </a:lnTo>
                  <a:lnTo>
                    <a:pt x="298" y="680"/>
                  </a:lnTo>
                  <a:lnTo>
                    <a:pt x="299" y="678"/>
                  </a:lnTo>
                  <a:lnTo>
                    <a:pt x="299" y="678"/>
                  </a:lnTo>
                  <a:lnTo>
                    <a:pt x="300" y="677"/>
                  </a:lnTo>
                  <a:lnTo>
                    <a:pt x="304" y="675"/>
                  </a:lnTo>
                  <a:lnTo>
                    <a:pt x="302" y="672"/>
                  </a:lnTo>
                  <a:lnTo>
                    <a:pt x="301" y="669"/>
                  </a:lnTo>
                  <a:lnTo>
                    <a:pt x="301" y="665"/>
                  </a:lnTo>
                  <a:lnTo>
                    <a:pt x="300" y="662"/>
                  </a:lnTo>
                  <a:lnTo>
                    <a:pt x="298" y="660"/>
                  </a:lnTo>
                  <a:lnTo>
                    <a:pt x="296" y="659"/>
                  </a:lnTo>
                  <a:lnTo>
                    <a:pt x="294" y="657"/>
                  </a:lnTo>
                  <a:lnTo>
                    <a:pt x="296" y="654"/>
                  </a:lnTo>
                  <a:lnTo>
                    <a:pt x="299" y="649"/>
                  </a:lnTo>
                  <a:lnTo>
                    <a:pt x="301" y="647"/>
                  </a:lnTo>
                  <a:lnTo>
                    <a:pt x="304" y="645"/>
                  </a:lnTo>
                  <a:lnTo>
                    <a:pt x="308" y="644"/>
                  </a:lnTo>
                  <a:lnTo>
                    <a:pt x="309" y="642"/>
                  </a:lnTo>
                  <a:lnTo>
                    <a:pt x="309" y="639"/>
                  </a:lnTo>
                  <a:lnTo>
                    <a:pt x="308" y="638"/>
                  </a:lnTo>
                  <a:lnTo>
                    <a:pt x="311" y="634"/>
                  </a:lnTo>
                  <a:lnTo>
                    <a:pt x="321" y="633"/>
                  </a:lnTo>
                  <a:lnTo>
                    <a:pt x="325" y="630"/>
                  </a:lnTo>
                  <a:lnTo>
                    <a:pt x="326" y="628"/>
                  </a:lnTo>
                  <a:lnTo>
                    <a:pt x="326" y="625"/>
                  </a:lnTo>
                  <a:lnTo>
                    <a:pt x="325" y="624"/>
                  </a:lnTo>
                  <a:lnTo>
                    <a:pt x="325" y="622"/>
                  </a:lnTo>
                  <a:lnTo>
                    <a:pt x="327" y="621"/>
                  </a:lnTo>
                  <a:lnTo>
                    <a:pt x="331" y="620"/>
                  </a:lnTo>
                  <a:lnTo>
                    <a:pt x="334" y="619"/>
                  </a:lnTo>
                  <a:lnTo>
                    <a:pt x="336" y="616"/>
                  </a:lnTo>
                  <a:lnTo>
                    <a:pt x="337" y="614"/>
                  </a:lnTo>
                  <a:lnTo>
                    <a:pt x="338" y="609"/>
                  </a:lnTo>
                  <a:lnTo>
                    <a:pt x="337" y="605"/>
                  </a:lnTo>
                  <a:lnTo>
                    <a:pt x="335" y="597"/>
                  </a:lnTo>
                  <a:lnTo>
                    <a:pt x="335" y="594"/>
                  </a:lnTo>
                  <a:lnTo>
                    <a:pt x="337" y="590"/>
                  </a:lnTo>
                  <a:lnTo>
                    <a:pt x="340" y="588"/>
                  </a:lnTo>
                  <a:lnTo>
                    <a:pt x="367" y="581"/>
                  </a:lnTo>
                  <a:lnTo>
                    <a:pt x="371" y="579"/>
                  </a:lnTo>
                  <a:lnTo>
                    <a:pt x="371" y="575"/>
                  </a:lnTo>
                  <a:lnTo>
                    <a:pt x="369" y="565"/>
                  </a:lnTo>
                  <a:lnTo>
                    <a:pt x="368" y="559"/>
                  </a:lnTo>
                  <a:lnTo>
                    <a:pt x="369" y="556"/>
                  </a:lnTo>
                  <a:lnTo>
                    <a:pt x="375" y="549"/>
                  </a:lnTo>
                  <a:lnTo>
                    <a:pt x="379" y="543"/>
                  </a:lnTo>
                  <a:lnTo>
                    <a:pt x="380" y="538"/>
                  </a:lnTo>
                  <a:lnTo>
                    <a:pt x="379" y="533"/>
                  </a:lnTo>
                  <a:lnTo>
                    <a:pt x="375" y="529"/>
                  </a:lnTo>
                  <a:lnTo>
                    <a:pt x="370" y="524"/>
                  </a:lnTo>
                  <a:lnTo>
                    <a:pt x="370" y="524"/>
                  </a:lnTo>
                  <a:lnTo>
                    <a:pt x="367" y="520"/>
                  </a:lnTo>
                  <a:lnTo>
                    <a:pt x="367" y="517"/>
                  </a:lnTo>
                  <a:lnTo>
                    <a:pt x="368" y="514"/>
                  </a:lnTo>
                  <a:lnTo>
                    <a:pt x="369" y="510"/>
                  </a:lnTo>
                  <a:lnTo>
                    <a:pt x="369" y="506"/>
                  </a:lnTo>
                  <a:lnTo>
                    <a:pt x="366" y="495"/>
                  </a:lnTo>
                  <a:lnTo>
                    <a:pt x="365" y="487"/>
                  </a:lnTo>
                  <a:lnTo>
                    <a:pt x="366" y="481"/>
                  </a:lnTo>
                  <a:lnTo>
                    <a:pt x="369" y="475"/>
                  </a:lnTo>
                  <a:lnTo>
                    <a:pt x="381" y="468"/>
                  </a:lnTo>
                  <a:lnTo>
                    <a:pt x="387" y="465"/>
                  </a:lnTo>
                  <a:lnTo>
                    <a:pt x="390" y="464"/>
                  </a:lnTo>
                  <a:lnTo>
                    <a:pt x="404" y="456"/>
                  </a:lnTo>
                  <a:lnTo>
                    <a:pt x="407" y="456"/>
                  </a:lnTo>
                  <a:lnTo>
                    <a:pt x="407" y="456"/>
                  </a:lnTo>
                  <a:lnTo>
                    <a:pt x="410" y="459"/>
                  </a:lnTo>
                  <a:lnTo>
                    <a:pt x="411" y="464"/>
                  </a:lnTo>
                  <a:lnTo>
                    <a:pt x="411" y="484"/>
                  </a:lnTo>
                  <a:lnTo>
                    <a:pt x="410" y="487"/>
                  </a:lnTo>
                  <a:lnTo>
                    <a:pt x="409" y="489"/>
                  </a:lnTo>
                  <a:lnTo>
                    <a:pt x="408" y="491"/>
                  </a:lnTo>
                  <a:lnTo>
                    <a:pt x="407" y="493"/>
                  </a:lnTo>
                  <a:lnTo>
                    <a:pt x="407" y="496"/>
                  </a:lnTo>
                  <a:lnTo>
                    <a:pt x="410" y="498"/>
                  </a:lnTo>
                  <a:lnTo>
                    <a:pt x="413" y="496"/>
                  </a:lnTo>
                  <a:lnTo>
                    <a:pt x="419" y="489"/>
                  </a:lnTo>
                  <a:lnTo>
                    <a:pt x="421" y="489"/>
                  </a:lnTo>
                  <a:lnTo>
                    <a:pt x="422" y="489"/>
                  </a:lnTo>
                  <a:lnTo>
                    <a:pt x="423" y="489"/>
                  </a:lnTo>
                  <a:lnTo>
                    <a:pt x="424" y="486"/>
                  </a:lnTo>
                  <a:lnTo>
                    <a:pt x="424" y="484"/>
                  </a:lnTo>
                  <a:lnTo>
                    <a:pt x="423" y="479"/>
                  </a:lnTo>
                  <a:lnTo>
                    <a:pt x="424" y="476"/>
                  </a:lnTo>
                  <a:lnTo>
                    <a:pt x="427" y="472"/>
                  </a:lnTo>
                  <a:lnTo>
                    <a:pt x="429" y="472"/>
                  </a:lnTo>
                  <a:lnTo>
                    <a:pt x="433" y="480"/>
                  </a:lnTo>
                  <a:lnTo>
                    <a:pt x="435" y="484"/>
                  </a:lnTo>
                  <a:lnTo>
                    <a:pt x="437" y="484"/>
                  </a:lnTo>
                  <a:lnTo>
                    <a:pt x="444" y="474"/>
                  </a:lnTo>
                  <a:lnTo>
                    <a:pt x="447" y="470"/>
                  </a:lnTo>
                  <a:lnTo>
                    <a:pt x="450" y="469"/>
                  </a:lnTo>
                  <a:lnTo>
                    <a:pt x="451" y="468"/>
                  </a:lnTo>
                  <a:lnTo>
                    <a:pt x="454" y="469"/>
                  </a:lnTo>
                  <a:lnTo>
                    <a:pt x="455" y="471"/>
                  </a:lnTo>
                  <a:lnTo>
                    <a:pt x="455" y="472"/>
                  </a:lnTo>
                  <a:lnTo>
                    <a:pt x="455" y="474"/>
                  </a:lnTo>
                  <a:lnTo>
                    <a:pt x="454" y="475"/>
                  </a:lnTo>
                  <a:lnTo>
                    <a:pt x="453" y="477"/>
                  </a:lnTo>
                  <a:lnTo>
                    <a:pt x="453" y="479"/>
                  </a:lnTo>
                  <a:lnTo>
                    <a:pt x="453" y="481"/>
                  </a:lnTo>
                  <a:lnTo>
                    <a:pt x="454" y="482"/>
                  </a:lnTo>
                  <a:lnTo>
                    <a:pt x="457" y="483"/>
                  </a:lnTo>
                  <a:lnTo>
                    <a:pt x="462" y="484"/>
                  </a:lnTo>
                  <a:lnTo>
                    <a:pt x="464" y="485"/>
                  </a:lnTo>
                  <a:lnTo>
                    <a:pt x="466" y="487"/>
                  </a:lnTo>
                  <a:lnTo>
                    <a:pt x="468" y="492"/>
                  </a:lnTo>
                  <a:lnTo>
                    <a:pt x="470" y="495"/>
                  </a:lnTo>
                  <a:lnTo>
                    <a:pt x="473" y="497"/>
                  </a:lnTo>
                  <a:lnTo>
                    <a:pt x="476" y="497"/>
                  </a:lnTo>
                  <a:lnTo>
                    <a:pt x="478" y="496"/>
                  </a:lnTo>
                  <a:lnTo>
                    <a:pt x="480" y="494"/>
                  </a:lnTo>
                  <a:lnTo>
                    <a:pt x="482" y="490"/>
                  </a:lnTo>
                  <a:lnTo>
                    <a:pt x="481" y="484"/>
                  </a:lnTo>
                  <a:lnTo>
                    <a:pt x="482" y="483"/>
                  </a:lnTo>
                  <a:lnTo>
                    <a:pt x="486" y="483"/>
                  </a:lnTo>
                  <a:lnTo>
                    <a:pt x="489" y="482"/>
                  </a:lnTo>
                  <a:lnTo>
                    <a:pt x="491" y="478"/>
                  </a:lnTo>
                  <a:lnTo>
                    <a:pt x="491" y="472"/>
                  </a:lnTo>
                  <a:lnTo>
                    <a:pt x="493" y="475"/>
                  </a:lnTo>
                  <a:lnTo>
                    <a:pt x="501" y="483"/>
                  </a:lnTo>
                  <a:lnTo>
                    <a:pt x="505" y="488"/>
                  </a:lnTo>
                  <a:lnTo>
                    <a:pt x="506" y="490"/>
                  </a:lnTo>
                  <a:lnTo>
                    <a:pt x="506" y="493"/>
                  </a:lnTo>
                  <a:lnTo>
                    <a:pt x="506" y="497"/>
                  </a:lnTo>
                  <a:lnTo>
                    <a:pt x="506" y="498"/>
                  </a:lnTo>
                  <a:lnTo>
                    <a:pt x="509" y="502"/>
                  </a:lnTo>
                  <a:lnTo>
                    <a:pt x="512" y="502"/>
                  </a:lnTo>
                  <a:lnTo>
                    <a:pt x="518" y="496"/>
                  </a:lnTo>
                  <a:lnTo>
                    <a:pt x="521" y="495"/>
                  </a:lnTo>
                  <a:lnTo>
                    <a:pt x="524" y="494"/>
                  </a:lnTo>
                  <a:lnTo>
                    <a:pt x="542" y="495"/>
                  </a:lnTo>
                  <a:lnTo>
                    <a:pt x="550" y="494"/>
                  </a:lnTo>
                  <a:lnTo>
                    <a:pt x="554" y="490"/>
                  </a:lnTo>
                  <a:lnTo>
                    <a:pt x="557" y="483"/>
                  </a:lnTo>
                  <a:lnTo>
                    <a:pt x="555" y="482"/>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90" name="Freeform 25">
              <a:extLst>
                <a:ext uri="{FF2B5EF4-FFF2-40B4-BE49-F238E27FC236}">
                  <a16:creationId xmlns:a16="http://schemas.microsoft.com/office/drawing/2014/main" id="{7ADEB62F-3086-47BC-9DCB-B8AD4AA8F61B}"/>
                </a:ext>
              </a:extLst>
            </p:cNvPr>
            <p:cNvSpPr>
              <a:spLocks noEditPoints="1"/>
            </p:cNvSpPr>
            <p:nvPr/>
          </p:nvSpPr>
          <p:spPr bwMode="gray">
            <a:xfrm>
              <a:off x="9451302" y="6492185"/>
              <a:ext cx="38019" cy="33032"/>
            </a:xfrm>
            <a:custGeom>
              <a:avLst/>
              <a:gdLst>
                <a:gd name="T0" fmla="*/ 60 w 61"/>
                <a:gd name="T1" fmla="*/ 40 h 53"/>
                <a:gd name="T2" fmla="*/ 58 w 61"/>
                <a:gd name="T3" fmla="*/ 36 h 53"/>
                <a:gd name="T4" fmla="*/ 53 w 61"/>
                <a:gd name="T5" fmla="*/ 34 h 53"/>
                <a:gd name="T6" fmla="*/ 52 w 61"/>
                <a:gd name="T7" fmla="*/ 34 h 53"/>
                <a:gd name="T8" fmla="*/ 52 w 61"/>
                <a:gd name="T9" fmla="*/ 32 h 53"/>
                <a:gd name="T10" fmla="*/ 52 w 61"/>
                <a:gd name="T11" fmla="*/ 30 h 53"/>
                <a:gd name="T12" fmla="*/ 52 w 61"/>
                <a:gd name="T13" fmla="*/ 28 h 53"/>
                <a:gd name="T14" fmla="*/ 47 w 61"/>
                <a:gd name="T15" fmla="*/ 27 h 53"/>
                <a:gd name="T16" fmla="*/ 42 w 61"/>
                <a:gd name="T17" fmla="*/ 22 h 53"/>
                <a:gd name="T18" fmla="*/ 39 w 61"/>
                <a:gd name="T19" fmla="*/ 21 h 53"/>
                <a:gd name="T20" fmla="*/ 26 w 61"/>
                <a:gd name="T21" fmla="*/ 20 h 53"/>
                <a:gd name="T22" fmla="*/ 28 w 61"/>
                <a:gd name="T23" fmla="*/ 18 h 53"/>
                <a:gd name="T24" fmla="*/ 29 w 61"/>
                <a:gd name="T25" fmla="*/ 17 h 53"/>
                <a:gd name="T26" fmla="*/ 31 w 61"/>
                <a:gd name="T27" fmla="*/ 17 h 53"/>
                <a:gd name="T28" fmla="*/ 31 w 61"/>
                <a:gd name="T29" fmla="*/ 16 h 53"/>
                <a:gd name="T30" fmla="*/ 28 w 61"/>
                <a:gd name="T31" fmla="*/ 16 h 53"/>
                <a:gd name="T32" fmla="*/ 26 w 61"/>
                <a:gd name="T33" fmla="*/ 17 h 53"/>
                <a:gd name="T34" fmla="*/ 24 w 61"/>
                <a:gd name="T35" fmla="*/ 18 h 53"/>
                <a:gd name="T36" fmla="*/ 22 w 61"/>
                <a:gd name="T37" fmla="*/ 20 h 53"/>
                <a:gd name="T38" fmla="*/ 24 w 61"/>
                <a:gd name="T39" fmla="*/ 22 h 53"/>
                <a:gd name="T40" fmla="*/ 25 w 61"/>
                <a:gd name="T41" fmla="*/ 25 h 53"/>
                <a:gd name="T42" fmla="*/ 25 w 61"/>
                <a:gd name="T43" fmla="*/ 32 h 53"/>
                <a:gd name="T44" fmla="*/ 25 w 61"/>
                <a:gd name="T45" fmla="*/ 38 h 53"/>
                <a:gd name="T46" fmla="*/ 26 w 61"/>
                <a:gd name="T47" fmla="*/ 39 h 53"/>
                <a:gd name="T48" fmla="*/ 28 w 61"/>
                <a:gd name="T49" fmla="*/ 40 h 53"/>
                <a:gd name="T50" fmla="*/ 28 w 61"/>
                <a:gd name="T51" fmla="*/ 40 h 53"/>
                <a:gd name="T52" fmla="*/ 32 w 61"/>
                <a:gd name="T53" fmla="*/ 45 h 53"/>
                <a:gd name="T54" fmla="*/ 38 w 61"/>
                <a:gd name="T55" fmla="*/ 49 h 53"/>
                <a:gd name="T56" fmla="*/ 46 w 61"/>
                <a:gd name="T57" fmla="*/ 51 h 53"/>
                <a:gd name="T58" fmla="*/ 52 w 61"/>
                <a:gd name="T59" fmla="*/ 52 h 53"/>
                <a:gd name="T60" fmla="*/ 52 w 61"/>
                <a:gd name="T61" fmla="*/ 52 h 53"/>
                <a:gd name="T62" fmla="*/ 55 w 61"/>
                <a:gd name="T63" fmla="*/ 53 h 53"/>
                <a:gd name="T64" fmla="*/ 55 w 61"/>
                <a:gd name="T65" fmla="*/ 51 h 53"/>
                <a:gd name="T66" fmla="*/ 56 w 61"/>
                <a:gd name="T67" fmla="*/ 49 h 53"/>
                <a:gd name="T68" fmla="*/ 58 w 61"/>
                <a:gd name="T69" fmla="*/ 46 h 53"/>
                <a:gd name="T70" fmla="*/ 60 w 61"/>
                <a:gd name="T71" fmla="*/ 48 h 53"/>
                <a:gd name="T72" fmla="*/ 61 w 61"/>
                <a:gd name="T73" fmla="*/ 45 h 53"/>
                <a:gd name="T74" fmla="*/ 60 w 61"/>
                <a:gd name="T75" fmla="*/ 40 h 53"/>
                <a:gd name="T76" fmla="*/ 24 w 61"/>
                <a:gd name="T77" fmla="*/ 8 h 53"/>
                <a:gd name="T78" fmla="*/ 21 w 61"/>
                <a:gd name="T79" fmla="*/ 5 h 53"/>
                <a:gd name="T80" fmla="*/ 16 w 61"/>
                <a:gd name="T81" fmla="*/ 1 h 53"/>
                <a:gd name="T82" fmla="*/ 12 w 61"/>
                <a:gd name="T83" fmla="*/ 0 h 53"/>
                <a:gd name="T84" fmla="*/ 2 w 61"/>
                <a:gd name="T85" fmla="*/ 1 h 53"/>
                <a:gd name="T86" fmla="*/ 0 w 61"/>
                <a:gd name="T87" fmla="*/ 2 h 53"/>
                <a:gd name="T88" fmla="*/ 0 w 61"/>
                <a:gd name="T89" fmla="*/ 3 h 53"/>
                <a:gd name="T90" fmla="*/ 1 w 61"/>
                <a:gd name="T91" fmla="*/ 6 h 53"/>
                <a:gd name="T92" fmla="*/ 0 w 61"/>
                <a:gd name="T93" fmla="*/ 8 h 53"/>
                <a:gd name="T94" fmla="*/ 3 w 61"/>
                <a:gd name="T95" fmla="*/ 9 h 53"/>
                <a:gd name="T96" fmla="*/ 6 w 61"/>
                <a:gd name="T97" fmla="*/ 11 h 53"/>
                <a:gd name="T98" fmla="*/ 9 w 61"/>
                <a:gd name="T99" fmla="*/ 12 h 53"/>
                <a:gd name="T100" fmla="*/ 12 w 61"/>
                <a:gd name="T101" fmla="*/ 12 h 53"/>
                <a:gd name="T102" fmla="*/ 15 w 61"/>
                <a:gd name="T103" fmla="*/ 11 h 53"/>
                <a:gd name="T104" fmla="*/ 19 w 61"/>
                <a:gd name="T105" fmla="*/ 9 h 53"/>
                <a:gd name="T106" fmla="*/ 22 w 61"/>
                <a:gd name="T107" fmla="*/ 9 h 53"/>
                <a:gd name="T108" fmla="*/ 24 w 61"/>
                <a:gd name="T109" fmla="*/ 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 h="53">
                  <a:moveTo>
                    <a:pt x="60" y="40"/>
                  </a:moveTo>
                  <a:lnTo>
                    <a:pt x="58" y="36"/>
                  </a:lnTo>
                  <a:lnTo>
                    <a:pt x="53" y="34"/>
                  </a:lnTo>
                  <a:lnTo>
                    <a:pt x="52" y="34"/>
                  </a:lnTo>
                  <a:lnTo>
                    <a:pt x="52" y="32"/>
                  </a:lnTo>
                  <a:lnTo>
                    <a:pt x="52" y="30"/>
                  </a:lnTo>
                  <a:lnTo>
                    <a:pt x="52" y="28"/>
                  </a:lnTo>
                  <a:lnTo>
                    <a:pt x="47" y="27"/>
                  </a:lnTo>
                  <a:lnTo>
                    <a:pt x="42" y="22"/>
                  </a:lnTo>
                  <a:lnTo>
                    <a:pt x="39" y="21"/>
                  </a:lnTo>
                  <a:lnTo>
                    <a:pt x="26" y="20"/>
                  </a:lnTo>
                  <a:lnTo>
                    <a:pt x="28" y="18"/>
                  </a:lnTo>
                  <a:lnTo>
                    <a:pt x="29" y="17"/>
                  </a:lnTo>
                  <a:lnTo>
                    <a:pt x="31" y="17"/>
                  </a:lnTo>
                  <a:lnTo>
                    <a:pt x="31" y="16"/>
                  </a:lnTo>
                  <a:lnTo>
                    <a:pt x="28" y="16"/>
                  </a:lnTo>
                  <a:lnTo>
                    <a:pt x="26" y="17"/>
                  </a:lnTo>
                  <a:lnTo>
                    <a:pt x="24" y="18"/>
                  </a:lnTo>
                  <a:lnTo>
                    <a:pt x="22" y="20"/>
                  </a:lnTo>
                  <a:lnTo>
                    <a:pt x="24" y="22"/>
                  </a:lnTo>
                  <a:lnTo>
                    <a:pt x="25" y="25"/>
                  </a:lnTo>
                  <a:lnTo>
                    <a:pt x="25" y="32"/>
                  </a:lnTo>
                  <a:lnTo>
                    <a:pt x="25" y="38"/>
                  </a:lnTo>
                  <a:lnTo>
                    <a:pt x="26" y="39"/>
                  </a:lnTo>
                  <a:lnTo>
                    <a:pt x="28" y="40"/>
                  </a:lnTo>
                  <a:lnTo>
                    <a:pt x="28" y="40"/>
                  </a:lnTo>
                  <a:lnTo>
                    <a:pt x="32" y="45"/>
                  </a:lnTo>
                  <a:lnTo>
                    <a:pt x="38" y="49"/>
                  </a:lnTo>
                  <a:lnTo>
                    <a:pt x="46" y="51"/>
                  </a:lnTo>
                  <a:lnTo>
                    <a:pt x="52" y="52"/>
                  </a:lnTo>
                  <a:lnTo>
                    <a:pt x="52" y="52"/>
                  </a:lnTo>
                  <a:lnTo>
                    <a:pt x="55" y="53"/>
                  </a:lnTo>
                  <a:lnTo>
                    <a:pt x="55" y="51"/>
                  </a:lnTo>
                  <a:lnTo>
                    <a:pt x="56" y="49"/>
                  </a:lnTo>
                  <a:lnTo>
                    <a:pt x="58" y="46"/>
                  </a:lnTo>
                  <a:lnTo>
                    <a:pt x="60" y="48"/>
                  </a:lnTo>
                  <a:lnTo>
                    <a:pt x="61" y="45"/>
                  </a:lnTo>
                  <a:lnTo>
                    <a:pt x="60" y="40"/>
                  </a:lnTo>
                  <a:close/>
                  <a:moveTo>
                    <a:pt x="24" y="8"/>
                  </a:moveTo>
                  <a:lnTo>
                    <a:pt x="21" y="5"/>
                  </a:lnTo>
                  <a:lnTo>
                    <a:pt x="16" y="1"/>
                  </a:lnTo>
                  <a:lnTo>
                    <a:pt x="12" y="0"/>
                  </a:lnTo>
                  <a:lnTo>
                    <a:pt x="2" y="1"/>
                  </a:lnTo>
                  <a:lnTo>
                    <a:pt x="0" y="2"/>
                  </a:lnTo>
                  <a:lnTo>
                    <a:pt x="0" y="3"/>
                  </a:lnTo>
                  <a:lnTo>
                    <a:pt x="1" y="6"/>
                  </a:lnTo>
                  <a:lnTo>
                    <a:pt x="0" y="8"/>
                  </a:lnTo>
                  <a:lnTo>
                    <a:pt x="3" y="9"/>
                  </a:lnTo>
                  <a:lnTo>
                    <a:pt x="6" y="11"/>
                  </a:lnTo>
                  <a:lnTo>
                    <a:pt x="9" y="12"/>
                  </a:lnTo>
                  <a:lnTo>
                    <a:pt x="12" y="12"/>
                  </a:lnTo>
                  <a:lnTo>
                    <a:pt x="15" y="11"/>
                  </a:lnTo>
                  <a:lnTo>
                    <a:pt x="19" y="9"/>
                  </a:lnTo>
                  <a:lnTo>
                    <a:pt x="22" y="9"/>
                  </a:lnTo>
                  <a:lnTo>
                    <a:pt x="24" y="8"/>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91" name="Freeform 26">
              <a:extLst>
                <a:ext uri="{FF2B5EF4-FFF2-40B4-BE49-F238E27FC236}">
                  <a16:creationId xmlns:a16="http://schemas.microsoft.com/office/drawing/2014/main" id="{5D457D48-8879-4570-BDF1-7F8443E72A4C}"/>
                </a:ext>
              </a:extLst>
            </p:cNvPr>
            <p:cNvSpPr>
              <a:spLocks/>
            </p:cNvSpPr>
            <p:nvPr/>
          </p:nvSpPr>
          <p:spPr bwMode="gray">
            <a:xfrm>
              <a:off x="10070819" y="5690677"/>
              <a:ext cx="253666" cy="200065"/>
            </a:xfrm>
            <a:custGeom>
              <a:avLst/>
              <a:gdLst>
                <a:gd name="T0" fmla="*/ 396 w 407"/>
                <a:gd name="T1" fmla="*/ 126 h 321"/>
                <a:gd name="T2" fmla="*/ 387 w 407"/>
                <a:gd name="T3" fmla="*/ 106 h 321"/>
                <a:gd name="T4" fmla="*/ 383 w 407"/>
                <a:gd name="T5" fmla="*/ 90 h 321"/>
                <a:gd name="T6" fmla="*/ 381 w 407"/>
                <a:gd name="T7" fmla="*/ 77 h 321"/>
                <a:gd name="T8" fmla="*/ 374 w 407"/>
                <a:gd name="T9" fmla="*/ 74 h 321"/>
                <a:gd name="T10" fmla="*/ 362 w 407"/>
                <a:gd name="T11" fmla="*/ 70 h 321"/>
                <a:gd name="T12" fmla="*/ 346 w 407"/>
                <a:gd name="T13" fmla="*/ 62 h 321"/>
                <a:gd name="T14" fmla="*/ 323 w 407"/>
                <a:gd name="T15" fmla="*/ 37 h 321"/>
                <a:gd name="T16" fmla="*/ 291 w 407"/>
                <a:gd name="T17" fmla="*/ 6 h 321"/>
                <a:gd name="T18" fmla="*/ 262 w 407"/>
                <a:gd name="T19" fmla="*/ 13 h 321"/>
                <a:gd name="T20" fmla="*/ 235 w 407"/>
                <a:gd name="T21" fmla="*/ 7 h 321"/>
                <a:gd name="T22" fmla="*/ 202 w 407"/>
                <a:gd name="T23" fmla="*/ 23 h 321"/>
                <a:gd name="T24" fmla="*/ 187 w 407"/>
                <a:gd name="T25" fmla="*/ 27 h 321"/>
                <a:gd name="T26" fmla="*/ 164 w 407"/>
                <a:gd name="T27" fmla="*/ 26 h 321"/>
                <a:gd name="T28" fmla="*/ 155 w 407"/>
                <a:gd name="T29" fmla="*/ 27 h 321"/>
                <a:gd name="T30" fmla="*/ 146 w 407"/>
                <a:gd name="T31" fmla="*/ 31 h 321"/>
                <a:gd name="T32" fmla="*/ 135 w 407"/>
                <a:gd name="T33" fmla="*/ 51 h 321"/>
                <a:gd name="T34" fmla="*/ 127 w 407"/>
                <a:gd name="T35" fmla="*/ 58 h 321"/>
                <a:gd name="T36" fmla="*/ 114 w 407"/>
                <a:gd name="T37" fmla="*/ 43 h 321"/>
                <a:gd name="T38" fmla="*/ 94 w 407"/>
                <a:gd name="T39" fmla="*/ 45 h 321"/>
                <a:gd name="T40" fmla="*/ 54 w 407"/>
                <a:gd name="T41" fmla="*/ 61 h 321"/>
                <a:gd name="T42" fmla="*/ 49 w 407"/>
                <a:gd name="T43" fmla="*/ 93 h 321"/>
                <a:gd name="T44" fmla="*/ 41 w 407"/>
                <a:gd name="T45" fmla="*/ 111 h 321"/>
                <a:gd name="T46" fmla="*/ 29 w 407"/>
                <a:gd name="T47" fmla="*/ 109 h 321"/>
                <a:gd name="T48" fmla="*/ 15 w 407"/>
                <a:gd name="T49" fmla="*/ 112 h 321"/>
                <a:gd name="T50" fmla="*/ 12 w 407"/>
                <a:gd name="T51" fmla="*/ 128 h 321"/>
                <a:gd name="T52" fmla="*/ 14 w 407"/>
                <a:gd name="T53" fmla="*/ 165 h 321"/>
                <a:gd name="T54" fmla="*/ 8 w 407"/>
                <a:gd name="T55" fmla="*/ 173 h 321"/>
                <a:gd name="T56" fmla="*/ 4 w 407"/>
                <a:gd name="T57" fmla="*/ 188 h 321"/>
                <a:gd name="T58" fmla="*/ 8 w 407"/>
                <a:gd name="T59" fmla="*/ 199 h 321"/>
                <a:gd name="T60" fmla="*/ 15 w 407"/>
                <a:gd name="T61" fmla="*/ 208 h 321"/>
                <a:gd name="T62" fmla="*/ 5 w 407"/>
                <a:gd name="T63" fmla="*/ 222 h 321"/>
                <a:gd name="T64" fmla="*/ 19 w 407"/>
                <a:gd name="T65" fmla="*/ 259 h 321"/>
                <a:gd name="T66" fmla="*/ 28 w 407"/>
                <a:gd name="T67" fmla="*/ 272 h 321"/>
                <a:gd name="T68" fmla="*/ 38 w 407"/>
                <a:gd name="T69" fmla="*/ 291 h 321"/>
                <a:gd name="T70" fmla="*/ 54 w 407"/>
                <a:gd name="T71" fmla="*/ 311 h 321"/>
                <a:gd name="T72" fmla="*/ 81 w 407"/>
                <a:gd name="T73" fmla="*/ 312 h 321"/>
                <a:gd name="T74" fmla="*/ 127 w 407"/>
                <a:gd name="T75" fmla="*/ 319 h 321"/>
                <a:gd name="T76" fmla="*/ 152 w 407"/>
                <a:gd name="T77" fmla="*/ 309 h 321"/>
                <a:gd name="T78" fmla="*/ 182 w 407"/>
                <a:gd name="T79" fmla="*/ 317 h 321"/>
                <a:gd name="T80" fmla="*/ 191 w 407"/>
                <a:gd name="T81" fmla="*/ 310 h 321"/>
                <a:gd name="T82" fmla="*/ 210 w 407"/>
                <a:gd name="T83" fmla="*/ 306 h 321"/>
                <a:gd name="T84" fmla="*/ 220 w 407"/>
                <a:gd name="T85" fmla="*/ 291 h 321"/>
                <a:gd name="T86" fmla="*/ 230 w 407"/>
                <a:gd name="T87" fmla="*/ 279 h 321"/>
                <a:gd name="T88" fmla="*/ 235 w 407"/>
                <a:gd name="T89" fmla="*/ 267 h 321"/>
                <a:gd name="T90" fmla="*/ 255 w 407"/>
                <a:gd name="T91" fmla="*/ 258 h 321"/>
                <a:gd name="T92" fmla="*/ 263 w 407"/>
                <a:gd name="T93" fmla="*/ 264 h 321"/>
                <a:gd name="T94" fmla="*/ 283 w 407"/>
                <a:gd name="T95" fmla="*/ 256 h 321"/>
                <a:gd name="T96" fmla="*/ 296 w 407"/>
                <a:gd name="T97" fmla="*/ 264 h 321"/>
                <a:gd name="T98" fmla="*/ 308 w 407"/>
                <a:gd name="T99" fmla="*/ 263 h 321"/>
                <a:gd name="T100" fmla="*/ 326 w 407"/>
                <a:gd name="T101" fmla="*/ 264 h 321"/>
                <a:gd name="T102" fmla="*/ 343 w 407"/>
                <a:gd name="T103" fmla="*/ 261 h 321"/>
                <a:gd name="T104" fmla="*/ 351 w 407"/>
                <a:gd name="T105" fmla="*/ 252 h 321"/>
                <a:gd name="T106" fmla="*/ 359 w 407"/>
                <a:gd name="T107" fmla="*/ 260 h 321"/>
                <a:gd name="T108" fmla="*/ 366 w 407"/>
                <a:gd name="T109" fmla="*/ 224 h 321"/>
                <a:gd name="T110" fmla="*/ 396 w 407"/>
                <a:gd name="T111" fmla="*/ 216 h 321"/>
                <a:gd name="T112" fmla="*/ 398 w 407"/>
                <a:gd name="T113" fmla="*/ 199 h 321"/>
                <a:gd name="T114" fmla="*/ 397 w 407"/>
                <a:gd name="T115" fmla="*/ 173 h 321"/>
                <a:gd name="T116" fmla="*/ 395 w 407"/>
                <a:gd name="T117" fmla="*/ 161 h 321"/>
                <a:gd name="T118" fmla="*/ 401 w 407"/>
                <a:gd name="T119" fmla="*/ 15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7" h="321">
                  <a:moveTo>
                    <a:pt x="407" y="134"/>
                  </a:moveTo>
                  <a:lnTo>
                    <a:pt x="404" y="129"/>
                  </a:lnTo>
                  <a:lnTo>
                    <a:pt x="402" y="129"/>
                  </a:lnTo>
                  <a:lnTo>
                    <a:pt x="399" y="129"/>
                  </a:lnTo>
                  <a:lnTo>
                    <a:pt x="397" y="128"/>
                  </a:lnTo>
                  <a:lnTo>
                    <a:pt x="396" y="126"/>
                  </a:lnTo>
                  <a:lnTo>
                    <a:pt x="392" y="118"/>
                  </a:lnTo>
                  <a:lnTo>
                    <a:pt x="391" y="111"/>
                  </a:lnTo>
                  <a:lnTo>
                    <a:pt x="390" y="108"/>
                  </a:lnTo>
                  <a:lnTo>
                    <a:pt x="389" y="107"/>
                  </a:lnTo>
                  <a:lnTo>
                    <a:pt x="387" y="106"/>
                  </a:lnTo>
                  <a:lnTo>
                    <a:pt x="387" y="106"/>
                  </a:lnTo>
                  <a:lnTo>
                    <a:pt x="387" y="106"/>
                  </a:lnTo>
                  <a:lnTo>
                    <a:pt x="386" y="104"/>
                  </a:lnTo>
                  <a:lnTo>
                    <a:pt x="386" y="101"/>
                  </a:lnTo>
                  <a:lnTo>
                    <a:pt x="386" y="99"/>
                  </a:lnTo>
                  <a:lnTo>
                    <a:pt x="384" y="94"/>
                  </a:lnTo>
                  <a:lnTo>
                    <a:pt x="383" y="90"/>
                  </a:lnTo>
                  <a:lnTo>
                    <a:pt x="383" y="85"/>
                  </a:lnTo>
                  <a:lnTo>
                    <a:pt x="382" y="82"/>
                  </a:lnTo>
                  <a:lnTo>
                    <a:pt x="381" y="80"/>
                  </a:lnTo>
                  <a:lnTo>
                    <a:pt x="381" y="80"/>
                  </a:lnTo>
                  <a:lnTo>
                    <a:pt x="381" y="77"/>
                  </a:lnTo>
                  <a:lnTo>
                    <a:pt x="381" y="77"/>
                  </a:lnTo>
                  <a:lnTo>
                    <a:pt x="381" y="75"/>
                  </a:lnTo>
                  <a:lnTo>
                    <a:pt x="380" y="75"/>
                  </a:lnTo>
                  <a:lnTo>
                    <a:pt x="378" y="73"/>
                  </a:lnTo>
                  <a:lnTo>
                    <a:pt x="377" y="73"/>
                  </a:lnTo>
                  <a:lnTo>
                    <a:pt x="375" y="74"/>
                  </a:lnTo>
                  <a:lnTo>
                    <a:pt x="374" y="74"/>
                  </a:lnTo>
                  <a:lnTo>
                    <a:pt x="372" y="73"/>
                  </a:lnTo>
                  <a:lnTo>
                    <a:pt x="372" y="72"/>
                  </a:lnTo>
                  <a:lnTo>
                    <a:pt x="372" y="70"/>
                  </a:lnTo>
                  <a:lnTo>
                    <a:pt x="371" y="70"/>
                  </a:lnTo>
                  <a:lnTo>
                    <a:pt x="369" y="69"/>
                  </a:lnTo>
                  <a:lnTo>
                    <a:pt x="362" y="70"/>
                  </a:lnTo>
                  <a:lnTo>
                    <a:pt x="361" y="69"/>
                  </a:lnTo>
                  <a:lnTo>
                    <a:pt x="360" y="68"/>
                  </a:lnTo>
                  <a:lnTo>
                    <a:pt x="359" y="67"/>
                  </a:lnTo>
                  <a:lnTo>
                    <a:pt x="359" y="67"/>
                  </a:lnTo>
                  <a:lnTo>
                    <a:pt x="354" y="66"/>
                  </a:lnTo>
                  <a:lnTo>
                    <a:pt x="346" y="62"/>
                  </a:lnTo>
                  <a:lnTo>
                    <a:pt x="345" y="61"/>
                  </a:lnTo>
                  <a:lnTo>
                    <a:pt x="331" y="51"/>
                  </a:lnTo>
                  <a:lnTo>
                    <a:pt x="328" y="48"/>
                  </a:lnTo>
                  <a:lnTo>
                    <a:pt x="327" y="47"/>
                  </a:lnTo>
                  <a:lnTo>
                    <a:pt x="325" y="44"/>
                  </a:lnTo>
                  <a:lnTo>
                    <a:pt x="323" y="37"/>
                  </a:lnTo>
                  <a:lnTo>
                    <a:pt x="317" y="33"/>
                  </a:lnTo>
                  <a:lnTo>
                    <a:pt x="302" y="12"/>
                  </a:lnTo>
                  <a:lnTo>
                    <a:pt x="299" y="11"/>
                  </a:lnTo>
                  <a:lnTo>
                    <a:pt x="296" y="11"/>
                  </a:lnTo>
                  <a:lnTo>
                    <a:pt x="293" y="9"/>
                  </a:lnTo>
                  <a:lnTo>
                    <a:pt x="291" y="6"/>
                  </a:lnTo>
                  <a:lnTo>
                    <a:pt x="290" y="4"/>
                  </a:lnTo>
                  <a:lnTo>
                    <a:pt x="290" y="1"/>
                  </a:lnTo>
                  <a:lnTo>
                    <a:pt x="289" y="0"/>
                  </a:lnTo>
                  <a:lnTo>
                    <a:pt x="288" y="0"/>
                  </a:lnTo>
                  <a:lnTo>
                    <a:pt x="284" y="4"/>
                  </a:lnTo>
                  <a:lnTo>
                    <a:pt x="262" y="13"/>
                  </a:lnTo>
                  <a:lnTo>
                    <a:pt x="256" y="14"/>
                  </a:lnTo>
                  <a:lnTo>
                    <a:pt x="254" y="14"/>
                  </a:lnTo>
                  <a:lnTo>
                    <a:pt x="251" y="14"/>
                  </a:lnTo>
                  <a:lnTo>
                    <a:pt x="246" y="12"/>
                  </a:lnTo>
                  <a:lnTo>
                    <a:pt x="237" y="7"/>
                  </a:lnTo>
                  <a:lnTo>
                    <a:pt x="235" y="7"/>
                  </a:lnTo>
                  <a:lnTo>
                    <a:pt x="234" y="8"/>
                  </a:lnTo>
                  <a:lnTo>
                    <a:pt x="228" y="13"/>
                  </a:lnTo>
                  <a:lnTo>
                    <a:pt x="227" y="13"/>
                  </a:lnTo>
                  <a:lnTo>
                    <a:pt x="221" y="13"/>
                  </a:lnTo>
                  <a:lnTo>
                    <a:pt x="218" y="14"/>
                  </a:lnTo>
                  <a:lnTo>
                    <a:pt x="202" y="23"/>
                  </a:lnTo>
                  <a:lnTo>
                    <a:pt x="200" y="24"/>
                  </a:lnTo>
                  <a:lnTo>
                    <a:pt x="198" y="27"/>
                  </a:lnTo>
                  <a:lnTo>
                    <a:pt x="196" y="29"/>
                  </a:lnTo>
                  <a:lnTo>
                    <a:pt x="196" y="29"/>
                  </a:lnTo>
                  <a:lnTo>
                    <a:pt x="193" y="28"/>
                  </a:lnTo>
                  <a:lnTo>
                    <a:pt x="187" y="27"/>
                  </a:lnTo>
                  <a:lnTo>
                    <a:pt x="179" y="27"/>
                  </a:lnTo>
                  <a:lnTo>
                    <a:pt x="177" y="26"/>
                  </a:lnTo>
                  <a:lnTo>
                    <a:pt x="177" y="26"/>
                  </a:lnTo>
                  <a:lnTo>
                    <a:pt x="171" y="28"/>
                  </a:lnTo>
                  <a:lnTo>
                    <a:pt x="167" y="28"/>
                  </a:lnTo>
                  <a:lnTo>
                    <a:pt x="164" y="26"/>
                  </a:lnTo>
                  <a:lnTo>
                    <a:pt x="163" y="28"/>
                  </a:lnTo>
                  <a:lnTo>
                    <a:pt x="162" y="29"/>
                  </a:lnTo>
                  <a:lnTo>
                    <a:pt x="161" y="28"/>
                  </a:lnTo>
                  <a:lnTo>
                    <a:pt x="159" y="26"/>
                  </a:lnTo>
                  <a:lnTo>
                    <a:pt x="157" y="26"/>
                  </a:lnTo>
                  <a:lnTo>
                    <a:pt x="155" y="27"/>
                  </a:lnTo>
                  <a:lnTo>
                    <a:pt x="155" y="29"/>
                  </a:lnTo>
                  <a:lnTo>
                    <a:pt x="156" y="31"/>
                  </a:lnTo>
                  <a:lnTo>
                    <a:pt x="156" y="33"/>
                  </a:lnTo>
                  <a:lnTo>
                    <a:pt x="155" y="33"/>
                  </a:lnTo>
                  <a:lnTo>
                    <a:pt x="149" y="31"/>
                  </a:lnTo>
                  <a:lnTo>
                    <a:pt x="146" y="31"/>
                  </a:lnTo>
                  <a:lnTo>
                    <a:pt x="145" y="32"/>
                  </a:lnTo>
                  <a:lnTo>
                    <a:pt x="144" y="33"/>
                  </a:lnTo>
                  <a:lnTo>
                    <a:pt x="135" y="47"/>
                  </a:lnTo>
                  <a:lnTo>
                    <a:pt x="135" y="49"/>
                  </a:lnTo>
                  <a:lnTo>
                    <a:pt x="135" y="50"/>
                  </a:lnTo>
                  <a:lnTo>
                    <a:pt x="135" y="51"/>
                  </a:lnTo>
                  <a:lnTo>
                    <a:pt x="136" y="53"/>
                  </a:lnTo>
                  <a:lnTo>
                    <a:pt x="136" y="57"/>
                  </a:lnTo>
                  <a:lnTo>
                    <a:pt x="136" y="58"/>
                  </a:lnTo>
                  <a:lnTo>
                    <a:pt x="136" y="59"/>
                  </a:lnTo>
                  <a:lnTo>
                    <a:pt x="134" y="60"/>
                  </a:lnTo>
                  <a:lnTo>
                    <a:pt x="127" y="58"/>
                  </a:lnTo>
                  <a:lnTo>
                    <a:pt x="126" y="58"/>
                  </a:lnTo>
                  <a:lnTo>
                    <a:pt x="124" y="56"/>
                  </a:lnTo>
                  <a:lnTo>
                    <a:pt x="124" y="56"/>
                  </a:lnTo>
                  <a:lnTo>
                    <a:pt x="122" y="53"/>
                  </a:lnTo>
                  <a:lnTo>
                    <a:pt x="120" y="49"/>
                  </a:lnTo>
                  <a:lnTo>
                    <a:pt x="114" y="43"/>
                  </a:lnTo>
                  <a:lnTo>
                    <a:pt x="108" y="38"/>
                  </a:lnTo>
                  <a:lnTo>
                    <a:pt x="106" y="37"/>
                  </a:lnTo>
                  <a:lnTo>
                    <a:pt x="105" y="37"/>
                  </a:lnTo>
                  <a:lnTo>
                    <a:pt x="104" y="37"/>
                  </a:lnTo>
                  <a:lnTo>
                    <a:pt x="100" y="39"/>
                  </a:lnTo>
                  <a:lnTo>
                    <a:pt x="94" y="45"/>
                  </a:lnTo>
                  <a:lnTo>
                    <a:pt x="93" y="46"/>
                  </a:lnTo>
                  <a:lnTo>
                    <a:pt x="89" y="48"/>
                  </a:lnTo>
                  <a:lnTo>
                    <a:pt x="84" y="50"/>
                  </a:lnTo>
                  <a:lnTo>
                    <a:pt x="73" y="54"/>
                  </a:lnTo>
                  <a:lnTo>
                    <a:pt x="58" y="59"/>
                  </a:lnTo>
                  <a:lnTo>
                    <a:pt x="54" y="61"/>
                  </a:lnTo>
                  <a:lnTo>
                    <a:pt x="51" y="65"/>
                  </a:lnTo>
                  <a:lnTo>
                    <a:pt x="49" y="70"/>
                  </a:lnTo>
                  <a:lnTo>
                    <a:pt x="47" y="80"/>
                  </a:lnTo>
                  <a:lnTo>
                    <a:pt x="47" y="85"/>
                  </a:lnTo>
                  <a:lnTo>
                    <a:pt x="49" y="91"/>
                  </a:lnTo>
                  <a:lnTo>
                    <a:pt x="49" y="93"/>
                  </a:lnTo>
                  <a:lnTo>
                    <a:pt x="49" y="98"/>
                  </a:lnTo>
                  <a:lnTo>
                    <a:pt x="49" y="99"/>
                  </a:lnTo>
                  <a:lnTo>
                    <a:pt x="47" y="102"/>
                  </a:lnTo>
                  <a:lnTo>
                    <a:pt x="44" y="107"/>
                  </a:lnTo>
                  <a:lnTo>
                    <a:pt x="43" y="109"/>
                  </a:lnTo>
                  <a:lnTo>
                    <a:pt x="41" y="111"/>
                  </a:lnTo>
                  <a:lnTo>
                    <a:pt x="37" y="112"/>
                  </a:lnTo>
                  <a:lnTo>
                    <a:pt x="36" y="111"/>
                  </a:lnTo>
                  <a:lnTo>
                    <a:pt x="33" y="106"/>
                  </a:lnTo>
                  <a:lnTo>
                    <a:pt x="31" y="105"/>
                  </a:lnTo>
                  <a:lnTo>
                    <a:pt x="30" y="106"/>
                  </a:lnTo>
                  <a:lnTo>
                    <a:pt x="29" y="109"/>
                  </a:lnTo>
                  <a:lnTo>
                    <a:pt x="27" y="110"/>
                  </a:lnTo>
                  <a:lnTo>
                    <a:pt x="25" y="110"/>
                  </a:lnTo>
                  <a:lnTo>
                    <a:pt x="23" y="109"/>
                  </a:lnTo>
                  <a:lnTo>
                    <a:pt x="19" y="106"/>
                  </a:lnTo>
                  <a:lnTo>
                    <a:pt x="15" y="108"/>
                  </a:lnTo>
                  <a:lnTo>
                    <a:pt x="15" y="112"/>
                  </a:lnTo>
                  <a:lnTo>
                    <a:pt x="15" y="113"/>
                  </a:lnTo>
                  <a:lnTo>
                    <a:pt x="16" y="118"/>
                  </a:lnTo>
                  <a:lnTo>
                    <a:pt x="17" y="121"/>
                  </a:lnTo>
                  <a:lnTo>
                    <a:pt x="17" y="123"/>
                  </a:lnTo>
                  <a:lnTo>
                    <a:pt x="16" y="124"/>
                  </a:lnTo>
                  <a:lnTo>
                    <a:pt x="12" y="128"/>
                  </a:lnTo>
                  <a:lnTo>
                    <a:pt x="10" y="130"/>
                  </a:lnTo>
                  <a:lnTo>
                    <a:pt x="9" y="133"/>
                  </a:lnTo>
                  <a:lnTo>
                    <a:pt x="9" y="135"/>
                  </a:lnTo>
                  <a:lnTo>
                    <a:pt x="10" y="150"/>
                  </a:lnTo>
                  <a:lnTo>
                    <a:pt x="11" y="155"/>
                  </a:lnTo>
                  <a:lnTo>
                    <a:pt x="14" y="165"/>
                  </a:lnTo>
                  <a:lnTo>
                    <a:pt x="14" y="166"/>
                  </a:lnTo>
                  <a:lnTo>
                    <a:pt x="14" y="167"/>
                  </a:lnTo>
                  <a:lnTo>
                    <a:pt x="13" y="169"/>
                  </a:lnTo>
                  <a:lnTo>
                    <a:pt x="12" y="170"/>
                  </a:lnTo>
                  <a:lnTo>
                    <a:pt x="10" y="172"/>
                  </a:lnTo>
                  <a:lnTo>
                    <a:pt x="8" y="173"/>
                  </a:lnTo>
                  <a:lnTo>
                    <a:pt x="0" y="174"/>
                  </a:lnTo>
                  <a:lnTo>
                    <a:pt x="1" y="177"/>
                  </a:lnTo>
                  <a:lnTo>
                    <a:pt x="0" y="183"/>
                  </a:lnTo>
                  <a:lnTo>
                    <a:pt x="1" y="186"/>
                  </a:lnTo>
                  <a:lnTo>
                    <a:pt x="3" y="187"/>
                  </a:lnTo>
                  <a:lnTo>
                    <a:pt x="4" y="188"/>
                  </a:lnTo>
                  <a:lnTo>
                    <a:pt x="6" y="191"/>
                  </a:lnTo>
                  <a:lnTo>
                    <a:pt x="6" y="192"/>
                  </a:lnTo>
                  <a:lnTo>
                    <a:pt x="6" y="193"/>
                  </a:lnTo>
                  <a:lnTo>
                    <a:pt x="7" y="197"/>
                  </a:lnTo>
                  <a:lnTo>
                    <a:pt x="7" y="198"/>
                  </a:lnTo>
                  <a:lnTo>
                    <a:pt x="8" y="199"/>
                  </a:lnTo>
                  <a:lnTo>
                    <a:pt x="11" y="200"/>
                  </a:lnTo>
                  <a:lnTo>
                    <a:pt x="12" y="200"/>
                  </a:lnTo>
                  <a:lnTo>
                    <a:pt x="14" y="203"/>
                  </a:lnTo>
                  <a:lnTo>
                    <a:pt x="15" y="205"/>
                  </a:lnTo>
                  <a:lnTo>
                    <a:pt x="15" y="206"/>
                  </a:lnTo>
                  <a:lnTo>
                    <a:pt x="15" y="208"/>
                  </a:lnTo>
                  <a:lnTo>
                    <a:pt x="14" y="212"/>
                  </a:lnTo>
                  <a:lnTo>
                    <a:pt x="12" y="215"/>
                  </a:lnTo>
                  <a:lnTo>
                    <a:pt x="10" y="217"/>
                  </a:lnTo>
                  <a:lnTo>
                    <a:pt x="8" y="219"/>
                  </a:lnTo>
                  <a:lnTo>
                    <a:pt x="6" y="218"/>
                  </a:lnTo>
                  <a:lnTo>
                    <a:pt x="5" y="222"/>
                  </a:lnTo>
                  <a:lnTo>
                    <a:pt x="5" y="223"/>
                  </a:lnTo>
                  <a:lnTo>
                    <a:pt x="6" y="229"/>
                  </a:lnTo>
                  <a:lnTo>
                    <a:pt x="9" y="240"/>
                  </a:lnTo>
                  <a:lnTo>
                    <a:pt x="11" y="246"/>
                  </a:lnTo>
                  <a:lnTo>
                    <a:pt x="16" y="254"/>
                  </a:lnTo>
                  <a:lnTo>
                    <a:pt x="19" y="259"/>
                  </a:lnTo>
                  <a:lnTo>
                    <a:pt x="20" y="264"/>
                  </a:lnTo>
                  <a:lnTo>
                    <a:pt x="20" y="267"/>
                  </a:lnTo>
                  <a:lnTo>
                    <a:pt x="21" y="270"/>
                  </a:lnTo>
                  <a:lnTo>
                    <a:pt x="24" y="272"/>
                  </a:lnTo>
                  <a:lnTo>
                    <a:pt x="25" y="272"/>
                  </a:lnTo>
                  <a:lnTo>
                    <a:pt x="28" y="272"/>
                  </a:lnTo>
                  <a:lnTo>
                    <a:pt x="30" y="272"/>
                  </a:lnTo>
                  <a:lnTo>
                    <a:pt x="30" y="272"/>
                  </a:lnTo>
                  <a:lnTo>
                    <a:pt x="31" y="273"/>
                  </a:lnTo>
                  <a:lnTo>
                    <a:pt x="33" y="274"/>
                  </a:lnTo>
                  <a:lnTo>
                    <a:pt x="35" y="277"/>
                  </a:lnTo>
                  <a:lnTo>
                    <a:pt x="38" y="291"/>
                  </a:lnTo>
                  <a:lnTo>
                    <a:pt x="41" y="303"/>
                  </a:lnTo>
                  <a:lnTo>
                    <a:pt x="43" y="308"/>
                  </a:lnTo>
                  <a:lnTo>
                    <a:pt x="45" y="310"/>
                  </a:lnTo>
                  <a:lnTo>
                    <a:pt x="47" y="311"/>
                  </a:lnTo>
                  <a:lnTo>
                    <a:pt x="51" y="312"/>
                  </a:lnTo>
                  <a:lnTo>
                    <a:pt x="54" y="311"/>
                  </a:lnTo>
                  <a:lnTo>
                    <a:pt x="59" y="306"/>
                  </a:lnTo>
                  <a:lnTo>
                    <a:pt x="62" y="306"/>
                  </a:lnTo>
                  <a:lnTo>
                    <a:pt x="62" y="306"/>
                  </a:lnTo>
                  <a:lnTo>
                    <a:pt x="71" y="307"/>
                  </a:lnTo>
                  <a:lnTo>
                    <a:pt x="79" y="309"/>
                  </a:lnTo>
                  <a:lnTo>
                    <a:pt x="81" y="312"/>
                  </a:lnTo>
                  <a:lnTo>
                    <a:pt x="83" y="316"/>
                  </a:lnTo>
                  <a:lnTo>
                    <a:pt x="83" y="321"/>
                  </a:lnTo>
                  <a:lnTo>
                    <a:pt x="106" y="320"/>
                  </a:lnTo>
                  <a:lnTo>
                    <a:pt x="117" y="317"/>
                  </a:lnTo>
                  <a:lnTo>
                    <a:pt x="121" y="317"/>
                  </a:lnTo>
                  <a:lnTo>
                    <a:pt x="127" y="319"/>
                  </a:lnTo>
                  <a:lnTo>
                    <a:pt x="129" y="319"/>
                  </a:lnTo>
                  <a:lnTo>
                    <a:pt x="135" y="319"/>
                  </a:lnTo>
                  <a:lnTo>
                    <a:pt x="140" y="318"/>
                  </a:lnTo>
                  <a:lnTo>
                    <a:pt x="143" y="316"/>
                  </a:lnTo>
                  <a:lnTo>
                    <a:pt x="148" y="311"/>
                  </a:lnTo>
                  <a:lnTo>
                    <a:pt x="152" y="309"/>
                  </a:lnTo>
                  <a:lnTo>
                    <a:pt x="156" y="309"/>
                  </a:lnTo>
                  <a:lnTo>
                    <a:pt x="168" y="310"/>
                  </a:lnTo>
                  <a:lnTo>
                    <a:pt x="169" y="311"/>
                  </a:lnTo>
                  <a:lnTo>
                    <a:pt x="176" y="317"/>
                  </a:lnTo>
                  <a:lnTo>
                    <a:pt x="180" y="318"/>
                  </a:lnTo>
                  <a:lnTo>
                    <a:pt x="182" y="317"/>
                  </a:lnTo>
                  <a:lnTo>
                    <a:pt x="186" y="313"/>
                  </a:lnTo>
                  <a:lnTo>
                    <a:pt x="187" y="312"/>
                  </a:lnTo>
                  <a:lnTo>
                    <a:pt x="188" y="312"/>
                  </a:lnTo>
                  <a:lnTo>
                    <a:pt x="190" y="312"/>
                  </a:lnTo>
                  <a:lnTo>
                    <a:pt x="191" y="312"/>
                  </a:lnTo>
                  <a:lnTo>
                    <a:pt x="191" y="310"/>
                  </a:lnTo>
                  <a:lnTo>
                    <a:pt x="192" y="308"/>
                  </a:lnTo>
                  <a:lnTo>
                    <a:pt x="192" y="307"/>
                  </a:lnTo>
                  <a:lnTo>
                    <a:pt x="197" y="305"/>
                  </a:lnTo>
                  <a:lnTo>
                    <a:pt x="205" y="307"/>
                  </a:lnTo>
                  <a:lnTo>
                    <a:pt x="208" y="306"/>
                  </a:lnTo>
                  <a:lnTo>
                    <a:pt x="210" y="306"/>
                  </a:lnTo>
                  <a:lnTo>
                    <a:pt x="211" y="304"/>
                  </a:lnTo>
                  <a:lnTo>
                    <a:pt x="212" y="301"/>
                  </a:lnTo>
                  <a:lnTo>
                    <a:pt x="212" y="299"/>
                  </a:lnTo>
                  <a:lnTo>
                    <a:pt x="212" y="297"/>
                  </a:lnTo>
                  <a:lnTo>
                    <a:pt x="214" y="295"/>
                  </a:lnTo>
                  <a:lnTo>
                    <a:pt x="220" y="291"/>
                  </a:lnTo>
                  <a:lnTo>
                    <a:pt x="220" y="291"/>
                  </a:lnTo>
                  <a:lnTo>
                    <a:pt x="220" y="291"/>
                  </a:lnTo>
                  <a:lnTo>
                    <a:pt x="220" y="291"/>
                  </a:lnTo>
                  <a:lnTo>
                    <a:pt x="222" y="287"/>
                  </a:lnTo>
                  <a:lnTo>
                    <a:pt x="228" y="282"/>
                  </a:lnTo>
                  <a:lnTo>
                    <a:pt x="230" y="279"/>
                  </a:lnTo>
                  <a:lnTo>
                    <a:pt x="230" y="277"/>
                  </a:lnTo>
                  <a:lnTo>
                    <a:pt x="230" y="276"/>
                  </a:lnTo>
                  <a:lnTo>
                    <a:pt x="230" y="273"/>
                  </a:lnTo>
                  <a:lnTo>
                    <a:pt x="231" y="271"/>
                  </a:lnTo>
                  <a:lnTo>
                    <a:pt x="232" y="269"/>
                  </a:lnTo>
                  <a:lnTo>
                    <a:pt x="235" y="267"/>
                  </a:lnTo>
                  <a:lnTo>
                    <a:pt x="236" y="266"/>
                  </a:lnTo>
                  <a:lnTo>
                    <a:pt x="241" y="264"/>
                  </a:lnTo>
                  <a:lnTo>
                    <a:pt x="251" y="261"/>
                  </a:lnTo>
                  <a:lnTo>
                    <a:pt x="252" y="260"/>
                  </a:lnTo>
                  <a:lnTo>
                    <a:pt x="254" y="258"/>
                  </a:lnTo>
                  <a:lnTo>
                    <a:pt x="255" y="258"/>
                  </a:lnTo>
                  <a:lnTo>
                    <a:pt x="255" y="258"/>
                  </a:lnTo>
                  <a:lnTo>
                    <a:pt x="256" y="259"/>
                  </a:lnTo>
                  <a:lnTo>
                    <a:pt x="256" y="260"/>
                  </a:lnTo>
                  <a:lnTo>
                    <a:pt x="257" y="261"/>
                  </a:lnTo>
                  <a:lnTo>
                    <a:pt x="262" y="264"/>
                  </a:lnTo>
                  <a:lnTo>
                    <a:pt x="263" y="264"/>
                  </a:lnTo>
                  <a:lnTo>
                    <a:pt x="266" y="263"/>
                  </a:lnTo>
                  <a:lnTo>
                    <a:pt x="272" y="258"/>
                  </a:lnTo>
                  <a:lnTo>
                    <a:pt x="276" y="256"/>
                  </a:lnTo>
                  <a:lnTo>
                    <a:pt x="279" y="256"/>
                  </a:lnTo>
                  <a:lnTo>
                    <a:pt x="281" y="256"/>
                  </a:lnTo>
                  <a:lnTo>
                    <a:pt x="283" y="256"/>
                  </a:lnTo>
                  <a:lnTo>
                    <a:pt x="289" y="258"/>
                  </a:lnTo>
                  <a:lnTo>
                    <a:pt x="293" y="259"/>
                  </a:lnTo>
                  <a:lnTo>
                    <a:pt x="295" y="259"/>
                  </a:lnTo>
                  <a:lnTo>
                    <a:pt x="295" y="260"/>
                  </a:lnTo>
                  <a:lnTo>
                    <a:pt x="295" y="263"/>
                  </a:lnTo>
                  <a:lnTo>
                    <a:pt x="296" y="264"/>
                  </a:lnTo>
                  <a:lnTo>
                    <a:pt x="297" y="264"/>
                  </a:lnTo>
                  <a:lnTo>
                    <a:pt x="298" y="263"/>
                  </a:lnTo>
                  <a:lnTo>
                    <a:pt x="301" y="263"/>
                  </a:lnTo>
                  <a:lnTo>
                    <a:pt x="305" y="262"/>
                  </a:lnTo>
                  <a:lnTo>
                    <a:pt x="307" y="262"/>
                  </a:lnTo>
                  <a:lnTo>
                    <a:pt x="308" y="263"/>
                  </a:lnTo>
                  <a:lnTo>
                    <a:pt x="312" y="265"/>
                  </a:lnTo>
                  <a:lnTo>
                    <a:pt x="314" y="266"/>
                  </a:lnTo>
                  <a:lnTo>
                    <a:pt x="318" y="266"/>
                  </a:lnTo>
                  <a:lnTo>
                    <a:pt x="321" y="266"/>
                  </a:lnTo>
                  <a:lnTo>
                    <a:pt x="323" y="265"/>
                  </a:lnTo>
                  <a:lnTo>
                    <a:pt x="326" y="264"/>
                  </a:lnTo>
                  <a:lnTo>
                    <a:pt x="329" y="264"/>
                  </a:lnTo>
                  <a:lnTo>
                    <a:pt x="334" y="265"/>
                  </a:lnTo>
                  <a:lnTo>
                    <a:pt x="338" y="265"/>
                  </a:lnTo>
                  <a:lnTo>
                    <a:pt x="340" y="264"/>
                  </a:lnTo>
                  <a:lnTo>
                    <a:pt x="340" y="264"/>
                  </a:lnTo>
                  <a:lnTo>
                    <a:pt x="343" y="261"/>
                  </a:lnTo>
                  <a:lnTo>
                    <a:pt x="346" y="258"/>
                  </a:lnTo>
                  <a:lnTo>
                    <a:pt x="346" y="256"/>
                  </a:lnTo>
                  <a:lnTo>
                    <a:pt x="346" y="254"/>
                  </a:lnTo>
                  <a:lnTo>
                    <a:pt x="347" y="253"/>
                  </a:lnTo>
                  <a:lnTo>
                    <a:pt x="349" y="252"/>
                  </a:lnTo>
                  <a:lnTo>
                    <a:pt x="351" y="252"/>
                  </a:lnTo>
                  <a:lnTo>
                    <a:pt x="351" y="253"/>
                  </a:lnTo>
                  <a:lnTo>
                    <a:pt x="352" y="254"/>
                  </a:lnTo>
                  <a:lnTo>
                    <a:pt x="352" y="255"/>
                  </a:lnTo>
                  <a:lnTo>
                    <a:pt x="354" y="257"/>
                  </a:lnTo>
                  <a:lnTo>
                    <a:pt x="357" y="260"/>
                  </a:lnTo>
                  <a:lnTo>
                    <a:pt x="359" y="260"/>
                  </a:lnTo>
                  <a:lnTo>
                    <a:pt x="360" y="259"/>
                  </a:lnTo>
                  <a:lnTo>
                    <a:pt x="362" y="255"/>
                  </a:lnTo>
                  <a:lnTo>
                    <a:pt x="364" y="247"/>
                  </a:lnTo>
                  <a:lnTo>
                    <a:pt x="364" y="230"/>
                  </a:lnTo>
                  <a:lnTo>
                    <a:pt x="365" y="230"/>
                  </a:lnTo>
                  <a:lnTo>
                    <a:pt x="366" y="224"/>
                  </a:lnTo>
                  <a:lnTo>
                    <a:pt x="368" y="222"/>
                  </a:lnTo>
                  <a:lnTo>
                    <a:pt x="371" y="219"/>
                  </a:lnTo>
                  <a:lnTo>
                    <a:pt x="373" y="219"/>
                  </a:lnTo>
                  <a:lnTo>
                    <a:pt x="378" y="218"/>
                  </a:lnTo>
                  <a:lnTo>
                    <a:pt x="392" y="219"/>
                  </a:lnTo>
                  <a:lnTo>
                    <a:pt x="396" y="216"/>
                  </a:lnTo>
                  <a:lnTo>
                    <a:pt x="397" y="212"/>
                  </a:lnTo>
                  <a:lnTo>
                    <a:pt x="396" y="208"/>
                  </a:lnTo>
                  <a:lnTo>
                    <a:pt x="396" y="203"/>
                  </a:lnTo>
                  <a:lnTo>
                    <a:pt x="396" y="202"/>
                  </a:lnTo>
                  <a:lnTo>
                    <a:pt x="398" y="200"/>
                  </a:lnTo>
                  <a:lnTo>
                    <a:pt x="398" y="199"/>
                  </a:lnTo>
                  <a:lnTo>
                    <a:pt x="398" y="198"/>
                  </a:lnTo>
                  <a:lnTo>
                    <a:pt x="397" y="196"/>
                  </a:lnTo>
                  <a:lnTo>
                    <a:pt x="397" y="194"/>
                  </a:lnTo>
                  <a:lnTo>
                    <a:pt x="396" y="180"/>
                  </a:lnTo>
                  <a:lnTo>
                    <a:pt x="396" y="177"/>
                  </a:lnTo>
                  <a:lnTo>
                    <a:pt x="397" y="173"/>
                  </a:lnTo>
                  <a:lnTo>
                    <a:pt x="397" y="172"/>
                  </a:lnTo>
                  <a:lnTo>
                    <a:pt x="397" y="170"/>
                  </a:lnTo>
                  <a:lnTo>
                    <a:pt x="396" y="168"/>
                  </a:lnTo>
                  <a:lnTo>
                    <a:pt x="395" y="167"/>
                  </a:lnTo>
                  <a:lnTo>
                    <a:pt x="395" y="164"/>
                  </a:lnTo>
                  <a:lnTo>
                    <a:pt x="395" y="161"/>
                  </a:lnTo>
                  <a:lnTo>
                    <a:pt x="395" y="158"/>
                  </a:lnTo>
                  <a:lnTo>
                    <a:pt x="396" y="156"/>
                  </a:lnTo>
                  <a:lnTo>
                    <a:pt x="397" y="155"/>
                  </a:lnTo>
                  <a:lnTo>
                    <a:pt x="399" y="154"/>
                  </a:lnTo>
                  <a:lnTo>
                    <a:pt x="400" y="153"/>
                  </a:lnTo>
                  <a:lnTo>
                    <a:pt x="401" y="153"/>
                  </a:lnTo>
                  <a:lnTo>
                    <a:pt x="402" y="149"/>
                  </a:lnTo>
                  <a:lnTo>
                    <a:pt x="403" y="147"/>
                  </a:lnTo>
                  <a:lnTo>
                    <a:pt x="405" y="144"/>
                  </a:lnTo>
                  <a:lnTo>
                    <a:pt x="407" y="139"/>
                  </a:lnTo>
                  <a:lnTo>
                    <a:pt x="407" y="134"/>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92" name="Freeform 27">
              <a:extLst>
                <a:ext uri="{FF2B5EF4-FFF2-40B4-BE49-F238E27FC236}">
                  <a16:creationId xmlns:a16="http://schemas.microsoft.com/office/drawing/2014/main" id="{AD40A90E-5592-4458-A0CA-8B6DFECD1ACB}"/>
                </a:ext>
              </a:extLst>
            </p:cNvPr>
            <p:cNvSpPr>
              <a:spLocks/>
            </p:cNvSpPr>
            <p:nvPr/>
          </p:nvSpPr>
          <p:spPr bwMode="gray">
            <a:xfrm>
              <a:off x="8613646" y="4574425"/>
              <a:ext cx="77907" cy="111563"/>
            </a:xfrm>
            <a:custGeom>
              <a:avLst/>
              <a:gdLst>
                <a:gd name="T0" fmla="*/ 111 w 125"/>
                <a:gd name="T1" fmla="*/ 91 h 179"/>
                <a:gd name="T2" fmla="*/ 98 w 125"/>
                <a:gd name="T3" fmla="*/ 82 h 179"/>
                <a:gd name="T4" fmla="*/ 93 w 125"/>
                <a:gd name="T5" fmla="*/ 82 h 179"/>
                <a:gd name="T6" fmla="*/ 88 w 125"/>
                <a:gd name="T7" fmla="*/ 76 h 179"/>
                <a:gd name="T8" fmla="*/ 72 w 125"/>
                <a:gd name="T9" fmla="*/ 53 h 179"/>
                <a:gd name="T10" fmla="*/ 64 w 125"/>
                <a:gd name="T11" fmla="*/ 44 h 179"/>
                <a:gd name="T12" fmla="*/ 62 w 125"/>
                <a:gd name="T13" fmla="*/ 32 h 179"/>
                <a:gd name="T14" fmla="*/ 62 w 125"/>
                <a:gd name="T15" fmla="*/ 27 h 179"/>
                <a:gd name="T16" fmla="*/ 63 w 125"/>
                <a:gd name="T17" fmla="*/ 17 h 179"/>
                <a:gd name="T18" fmla="*/ 61 w 125"/>
                <a:gd name="T19" fmla="*/ 8 h 179"/>
                <a:gd name="T20" fmla="*/ 56 w 125"/>
                <a:gd name="T21" fmla="*/ 5 h 179"/>
                <a:gd name="T22" fmla="*/ 49 w 125"/>
                <a:gd name="T23" fmla="*/ 6 h 179"/>
                <a:gd name="T24" fmla="*/ 45 w 125"/>
                <a:gd name="T25" fmla="*/ 0 h 179"/>
                <a:gd name="T26" fmla="*/ 37 w 125"/>
                <a:gd name="T27" fmla="*/ 8 h 179"/>
                <a:gd name="T28" fmla="*/ 25 w 125"/>
                <a:gd name="T29" fmla="*/ 19 h 179"/>
                <a:gd name="T30" fmla="*/ 22 w 125"/>
                <a:gd name="T31" fmla="*/ 28 h 179"/>
                <a:gd name="T32" fmla="*/ 19 w 125"/>
                <a:gd name="T33" fmla="*/ 36 h 179"/>
                <a:gd name="T34" fmla="*/ 14 w 125"/>
                <a:gd name="T35" fmla="*/ 42 h 179"/>
                <a:gd name="T36" fmla="*/ 13 w 125"/>
                <a:gd name="T37" fmla="*/ 52 h 179"/>
                <a:gd name="T38" fmla="*/ 8 w 125"/>
                <a:gd name="T39" fmla="*/ 56 h 179"/>
                <a:gd name="T40" fmla="*/ 0 w 125"/>
                <a:gd name="T41" fmla="*/ 70 h 179"/>
                <a:gd name="T42" fmla="*/ 7 w 125"/>
                <a:gd name="T43" fmla="*/ 78 h 179"/>
                <a:gd name="T44" fmla="*/ 2 w 125"/>
                <a:gd name="T45" fmla="*/ 80 h 179"/>
                <a:gd name="T46" fmla="*/ 1 w 125"/>
                <a:gd name="T47" fmla="*/ 86 h 179"/>
                <a:gd name="T48" fmla="*/ 5 w 125"/>
                <a:gd name="T49" fmla="*/ 96 h 179"/>
                <a:gd name="T50" fmla="*/ 14 w 125"/>
                <a:gd name="T51" fmla="*/ 106 h 179"/>
                <a:gd name="T52" fmla="*/ 15 w 125"/>
                <a:gd name="T53" fmla="*/ 112 h 179"/>
                <a:gd name="T54" fmla="*/ 20 w 125"/>
                <a:gd name="T55" fmla="*/ 113 h 179"/>
                <a:gd name="T56" fmla="*/ 22 w 125"/>
                <a:gd name="T57" fmla="*/ 116 h 179"/>
                <a:gd name="T58" fmla="*/ 21 w 125"/>
                <a:gd name="T59" fmla="*/ 121 h 179"/>
                <a:gd name="T60" fmla="*/ 22 w 125"/>
                <a:gd name="T61" fmla="*/ 126 h 179"/>
                <a:gd name="T62" fmla="*/ 26 w 125"/>
                <a:gd name="T63" fmla="*/ 132 h 179"/>
                <a:gd name="T64" fmla="*/ 20 w 125"/>
                <a:gd name="T65" fmla="*/ 143 h 179"/>
                <a:gd name="T66" fmla="*/ 16 w 125"/>
                <a:gd name="T67" fmla="*/ 154 h 179"/>
                <a:gd name="T68" fmla="*/ 23 w 125"/>
                <a:gd name="T69" fmla="*/ 167 h 179"/>
                <a:gd name="T70" fmla="*/ 42 w 125"/>
                <a:gd name="T71" fmla="*/ 179 h 179"/>
                <a:gd name="T72" fmla="*/ 61 w 125"/>
                <a:gd name="T73" fmla="*/ 174 h 179"/>
                <a:gd name="T74" fmla="*/ 63 w 125"/>
                <a:gd name="T75" fmla="*/ 169 h 179"/>
                <a:gd name="T76" fmla="*/ 80 w 125"/>
                <a:gd name="T77" fmla="*/ 166 h 179"/>
                <a:gd name="T78" fmla="*/ 97 w 125"/>
                <a:gd name="T79" fmla="*/ 176 h 179"/>
                <a:gd name="T80" fmla="*/ 101 w 125"/>
                <a:gd name="T81" fmla="*/ 159 h 179"/>
                <a:gd name="T82" fmla="*/ 104 w 125"/>
                <a:gd name="T83" fmla="*/ 143 h 179"/>
                <a:gd name="T84" fmla="*/ 111 w 125"/>
                <a:gd name="T85" fmla="*/ 131 h 179"/>
                <a:gd name="T86" fmla="*/ 109 w 125"/>
                <a:gd name="T87" fmla="*/ 127 h 179"/>
                <a:gd name="T88" fmla="*/ 122 w 125"/>
                <a:gd name="T89" fmla="*/ 115 h 179"/>
                <a:gd name="T90" fmla="*/ 123 w 125"/>
                <a:gd name="T91" fmla="*/ 112 h 179"/>
                <a:gd name="T92" fmla="*/ 124 w 125"/>
                <a:gd name="T93" fmla="*/ 105 h 179"/>
                <a:gd name="T94" fmla="*/ 124 w 125"/>
                <a:gd name="T95" fmla="*/ 96 h 179"/>
                <a:gd name="T96" fmla="*/ 125 w 125"/>
                <a:gd name="T97" fmla="*/ 9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 h="179">
                  <a:moveTo>
                    <a:pt x="124" y="92"/>
                  </a:moveTo>
                  <a:lnTo>
                    <a:pt x="123" y="92"/>
                  </a:lnTo>
                  <a:lnTo>
                    <a:pt x="119" y="91"/>
                  </a:lnTo>
                  <a:lnTo>
                    <a:pt x="111" y="91"/>
                  </a:lnTo>
                  <a:lnTo>
                    <a:pt x="108" y="90"/>
                  </a:lnTo>
                  <a:lnTo>
                    <a:pt x="106" y="88"/>
                  </a:lnTo>
                  <a:lnTo>
                    <a:pt x="101" y="84"/>
                  </a:lnTo>
                  <a:lnTo>
                    <a:pt x="98" y="82"/>
                  </a:lnTo>
                  <a:lnTo>
                    <a:pt x="97" y="82"/>
                  </a:lnTo>
                  <a:lnTo>
                    <a:pt x="94" y="83"/>
                  </a:lnTo>
                  <a:lnTo>
                    <a:pt x="93" y="83"/>
                  </a:lnTo>
                  <a:lnTo>
                    <a:pt x="93" y="82"/>
                  </a:lnTo>
                  <a:lnTo>
                    <a:pt x="92" y="80"/>
                  </a:lnTo>
                  <a:lnTo>
                    <a:pt x="91" y="78"/>
                  </a:lnTo>
                  <a:lnTo>
                    <a:pt x="91" y="77"/>
                  </a:lnTo>
                  <a:lnTo>
                    <a:pt x="88" y="76"/>
                  </a:lnTo>
                  <a:lnTo>
                    <a:pt x="83" y="73"/>
                  </a:lnTo>
                  <a:lnTo>
                    <a:pt x="81" y="71"/>
                  </a:lnTo>
                  <a:lnTo>
                    <a:pt x="75" y="58"/>
                  </a:lnTo>
                  <a:lnTo>
                    <a:pt x="72" y="53"/>
                  </a:lnTo>
                  <a:lnTo>
                    <a:pt x="71" y="57"/>
                  </a:lnTo>
                  <a:lnTo>
                    <a:pt x="70" y="55"/>
                  </a:lnTo>
                  <a:lnTo>
                    <a:pt x="67" y="48"/>
                  </a:lnTo>
                  <a:lnTo>
                    <a:pt x="64" y="44"/>
                  </a:lnTo>
                  <a:lnTo>
                    <a:pt x="64" y="42"/>
                  </a:lnTo>
                  <a:lnTo>
                    <a:pt x="64" y="39"/>
                  </a:lnTo>
                  <a:lnTo>
                    <a:pt x="63" y="34"/>
                  </a:lnTo>
                  <a:lnTo>
                    <a:pt x="62" y="32"/>
                  </a:lnTo>
                  <a:lnTo>
                    <a:pt x="60" y="31"/>
                  </a:lnTo>
                  <a:lnTo>
                    <a:pt x="62" y="28"/>
                  </a:lnTo>
                  <a:lnTo>
                    <a:pt x="62" y="27"/>
                  </a:lnTo>
                  <a:lnTo>
                    <a:pt x="62" y="27"/>
                  </a:lnTo>
                  <a:lnTo>
                    <a:pt x="61" y="27"/>
                  </a:lnTo>
                  <a:lnTo>
                    <a:pt x="61" y="27"/>
                  </a:lnTo>
                  <a:lnTo>
                    <a:pt x="62" y="20"/>
                  </a:lnTo>
                  <a:lnTo>
                    <a:pt x="63" y="17"/>
                  </a:lnTo>
                  <a:lnTo>
                    <a:pt x="64" y="13"/>
                  </a:lnTo>
                  <a:lnTo>
                    <a:pt x="61" y="12"/>
                  </a:lnTo>
                  <a:lnTo>
                    <a:pt x="61" y="10"/>
                  </a:lnTo>
                  <a:lnTo>
                    <a:pt x="61" y="8"/>
                  </a:lnTo>
                  <a:lnTo>
                    <a:pt x="61" y="5"/>
                  </a:lnTo>
                  <a:lnTo>
                    <a:pt x="58" y="3"/>
                  </a:lnTo>
                  <a:lnTo>
                    <a:pt x="57" y="4"/>
                  </a:lnTo>
                  <a:lnTo>
                    <a:pt x="56" y="5"/>
                  </a:lnTo>
                  <a:lnTo>
                    <a:pt x="55" y="6"/>
                  </a:lnTo>
                  <a:lnTo>
                    <a:pt x="51" y="6"/>
                  </a:lnTo>
                  <a:lnTo>
                    <a:pt x="49" y="6"/>
                  </a:lnTo>
                  <a:lnTo>
                    <a:pt x="49" y="6"/>
                  </a:lnTo>
                  <a:lnTo>
                    <a:pt x="47" y="5"/>
                  </a:lnTo>
                  <a:lnTo>
                    <a:pt x="46" y="3"/>
                  </a:lnTo>
                  <a:lnTo>
                    <a:pt x="46" y="1"/>
                  </a:lnTo>
                  <a:lnTo>
                    <a:pt x="45" y="0"/>
                  </a:lnTo>
                  <a:lnTo>
                    <a:pt x="42" y="2"/>
                  </a:lnTo>
                  <a:lnTo>
                    <a:pt x="39" y="2"/>
                  </a:lnTo>
                  <a:lnTo>
                    <a:pt x="37" y="4"/>
                  </a:lnTo>
                  <a:lnTo>
                    <a:pt x="37" y="8"/>
                  </a:lnTo>
                  <a:lnTo>
                    <a:pt x="36" y="11"/>
                  </a:lnTo>
                  <a:lnTo>
                    <a:pt x="33" y="13"/>
                  </a:lnTo>
                  <a:lnTo>
                    <a:pt x="27" y="17"/>
                  </a:lnTo>
                  <a:lnTo>
                    <a:pt x="25" y="19"/>
                  </a:lnTo>
                  <a:lnTo>
                    <a:pt x="24" y="20"/>
                  </a:lnTo>
                  <a:lnTo>
                    <a:pt x="24" y="24"/>
                  </a:lnTo>
                  <a:lnTo>
                    <a:pt x="23" y="26"/>
                  </a:lnTo>
                  <a:lnTo>
                    <a:pt x="22" y="28"/>
                  </a:lnTo>
                  <a:lnTo>
                    <a:pt x="20" y="30"/>
                  </a:lnTo>
                  <a:lnTo>
                    <a:pt x="19" y="31"/>
                  </a:lnTo>
                  <a:lnTo>
                    <a:pt x="19" y="34"/>
                  </a:lnTo>
                  <a:lnTo>
                    <a:pt x="19" y="36"/>
                  </a:lnTo>
                  <a:lnTo>
                    <a:pt x="19" y="38"/>
                  </a:lnTo>
                  <a:lnTo>
                    <a:pt x="18" y="39"/>
                  </a:lnTo>
                  <a:lnTo>
                    <a:pt x="15" y="41"/>
                  </a:lnTo>
                  <a:lnTo>
                    <a:pt x="14" y="42"/>
                  </a:lnTo>
                  <a:lnTo>
                    <a:pt x="13" y="46"/>
                  </a:lnTo>
                  <a:lnTo>
                    <a:pt x="15" y="47"/>
                  </a:lnTo>
                  <a:lnTo>
                    <a:pt x="15" y="48"/>
                  </a:lnTo>
                  <a:lnTo>
                    <a:pt x="13" y="52"/>
                  </a:lnTo>
                  <a:lnTo>
                    <a:pt x="12" y="53"/>
                  </a:lnTo>
                  <a:lnTo>
                    <a:pt x="10" y="53"/>
                  </a:lnTo>
                  <a:lnTo>
                    <a:pt x="9" y="54"/>
                  </a:lnTo>
                  <a:lnTo>
                    <a:pt x="8" y="56"/>
                  </a:lnTo>
                  <a:lnTo>
                    <a:pt x="7" y="57"/>
                  </a:lnTo>
                  <a:lnTo>
                    <a:pt x="7" y="58"/>
                  </a:lnTo>
                  <a:lnTo>
                    <a:pt x="6" y="60"/>
                  </a:lnTo>
                  <a:lnTo>
                    <a:pt x="0" y="70"/>
                  </a:lnTo>
                  <a:lnTo>
                    <a:pt x="0" y="72"/>
                  </a:lnTo>
                  <a:lnTo>
                    <a:pt x="2" y="73"/>
                  </a:lnTo>
                  <a:lnTo>
                    <a:pt x="5" y="76"/>
                  </a:lnTo>
                  <a:lnTo>
                    <a:pt x="7" y="78"/>
                  </a:lnTo>
                  <a:lnTo>
                    <a:pt x="3" y="77"/>
                  </a:lnTo>
                  <a:lnTo>
                    <a:pt x="3" y="79"/>
                  </a:lnTo>
                  <a:lnTo>
                    <a:pt x="2" y="79"/>
                  </a:lnTo>
                  <a:lnTo>
                    <a:pt x="2" y="80"/>
                  </a:lnTo>
                  <a:lnTo>
                    <a:pt x="2" y="81"/>
                  </a:lnTo>
                  <a:lnTo>
                    <a:pt x="3" y="82"/>
                  </a:lnTo>
                  <a:lnTo>
                    <a:pt x="1" y="84"/>
                  </a:lnTo>
                  <a:lnTo>
                    <a:pt x="1" y="86"/>
                  </a:lnTo>
                  <a:lnTo>
                    <a:pt x="1" y="89"/>
                  </a:lnTo>
                  <a:lnTo>
                    <a:pt x="2" y="92"/>
                  </a:lnTo>
                  <a:lnTo>
                    <a:pt x="3" y="95"/>
                  </a:lnTo>
                  <a:lnTo>
                    <a:pt x="5" y="96"/>
                  </a:lnTo>
                  <a:lnTo>
                    <a:pt x="7" y="96"/>
                  </a:lnTo>
                  <a:lnTo>
                    <a:pt x="9" y="97"/>
                  </a:lnTo>
                  <a:lnTo>
                    <a:pt x="10" y="99"/>
                  </a:lnTo>
                  <a:lnTo>
                    <a:pt x="14" y="106"/>
                  </a:lnTo>
                  <a:lnTo>
                    <a:pt x="14" y="107"/>
                  </a:lnTo>
                  <a:lnTo>
                    <a:pt x="14" y="111"/>
                  </a:lnTo>
                  <a:lnTo>
                    <a:pt x="14" y="111"/>
                  </a:lnTo>
                  <a:lnTo>
                    <a:pt x="15" y="112"/>
                  </a:lnTo>
                  <a:lnTo>
                    <a:pt x="18" y="113"/>
                  </a:lnTo>
                  <a:lnTo>
                    <a:pt x="18" y="113"/>
                  </a:lnTo>
                  <a:lnTo>
                    <a:pt x="19" y="113"/>
                  </a:lnTo>
                  <a:lnTo>
                    <a:pt x="20" y="113"/>
                  </a:lnTo>
                  <a:lnTo>
                    <a:pt x="21" y="113"/>
                  </a:lnTo>
                  <a:lnTo>
                    <a:pt x="22" y="115"/>
                  </a:lnTo>
                  <a:lnTo>
                    <a:pt x="22" y="115"/>
                  </a:lnTo>
                  <a:lnTo>
                    <a:pt x="22" y="116"/>
                  </a:lnTo>
                  <a:lnTo>
                    <a:pt x="22" y="117"/>
                  </a:lnTo>
                  <a:lnTo>
                    <a:pt x="21" y="118"/>
                  </a:lnTo>
                  <a:lnTo>
                    <a:pt x="21" y="120"/>
                  </a:lnTo>
                  <a:lnTo>
                    <a:pt x="21" y="121"/>
                  </a:lnTo>
                  <a:lnTo>
                    <a:pt x="20" y="122"/>
                  </a:lnTo>
                  <a:lnTo>
                    <a:pt x="20" y="123"/>
                  </a:lnTo>
                  <a:lnTo>
                    <a:pt x="21" y="125"/>
                  </a:lnTo>
                  <a:lnTo>
                    <a:pt x="22" y="126"/>
                  </a:lnTo>
                  <a:lnTo>
                    <a:pt x="25" y="126"/>
                  </a:lnTo>
                  <a:lnTo>
                    <a:pt x="26" y="127"/>
                  </a:lnTo>
                  <a:lnTo>
                    <a:pt x="27" y="130"/>
                  </a:lnTo>
                  <a:lnTo>
                    <a:pt x="26" y="132"/>
                  </a:lnTo>
                  <a:lnTo>
                    <a:pt x="24" y="134"/>
                  </a:lnTo>
                  <a:lnTo>
                    <a:pt x="23" y="135"/>
                  </a:lnTo>
                  <a:lnTo>
                    <a:pt x="21" y="141"/>
                  </a:lnTo>
                  <a:lnTo>
                    <a:pt x="20" y="143"/>
                  </a:lnTo>
                  <a:lnTo>
                    <a:pt x="18" y="145"/>
                  </a:lnTo>
                  <a:lnTo>
                    <a:pt x="21" y="147"/>
                  </a:lnTo>
                  <a:lnTo>
                    <a:pt x="19" y="150"/>
                  </a:lnTo>
                  <a:lnTo>
                    <a:pt x="16" y="154"/>
                  </a:lnTo>
                  <a:lnTo>
                    <a:pt x="12" y="156"/>
                  </a:lnTo>
                  <a:lnTo>
                    <a:pt x="17" y="163"/>
                  </a:lnTo>
                  <a:lnTo>
                    <a:pt x="20" y="165"/>
                  </a:lnTo>
                  <a:lnTo>
                    <a:pt x="23" y="167"/>
                  </a:lnTo>
                  <a:lnTo>
                    <a:pt x="34" y="170"/>
                  </a:lnTo>
                  <a:lnTo>
                    <a:pt x="37" y="173"/>
                  </a:lnTo>
                  <a:lnTo>
                    <a:pt x="39" y="179"/>
                  </a:lnTo>
                  <a:lnTo>
                    <a:pt x="42" y="179"/>
                  </a:lnTo>
                  <a:lnTo>
                    <a:pt x="55" y="178"/>
                  </a:lnTo>
                  <a:lnTo>
                    <a:pt x="57" y="177"/>
                  </a:lnTo>
                  <a:lnTo>
                    <a:pt x="59" y="174"/>
                  </a:lnTo>
                  <a:lnTo>
                    <a:pt x="61" y="174"/>
                  </a:lnTo>
                  <a:lnTo>
                    <a:pt x="61" y="173"/>
                  </a:lnTo>
                  <a:lnTo>
                    <a:pt x="61" y="171"/>
                  </a:lnTo>
                  <a:lnTo>
                    <a:pt x="62" y="170"/>
                  </a:lnTo>
                  <a:lnTo>
                    <a:pt x="63" y="169"/>
                  </a:lnTo>
                  <a:lnTo>
                    <a:pt x="68" y="169"/>
                  </a:lnTo>
                  <a:lnTo>
                    <a:pt x="67" y="166"/>
                  </a:lnTo>
                  <a:lnTo>
                    <a:pt x="76" y="165"/>
                  </a:lnTo>
                  <a:lnTo>
                    <a:pt x="80" y="166"/>
                  </a:lnTo>
                  <a:lnTo>
                    <a:pt x="85" y="168"/>
                  </a:lnTo>
                  <a:lnTo>
                    <a:pt x="85" y="168"/>
                  </a:lnTo>
                  <a:lnTo>
                    <a:pt x="92" y="174"/>
                  </a:lnTo>
                  <a:lnTo>
                    <a:pt x="97" y="176"/>
                  </a:lnTo>
                  <a:lnTo>
                    <a:pt x="100" y="176"/>
                  </a:lnTo>
                  <a:lnTo>
                    <a:pt x="100" y="174"/>
                  </a:lnTo>
                  <a:lnTo>
                    <a:pt x="99" y="167"/>
                  </a:lnTo>
                  <a:lnTo>
                    <a:pt x="101" y="159"/>
                  </a:lnTo>
                  <a:lnTo>
                    <a:pt x="101" y="157"/>
                  </a:lnTo>
                  <a:lnTo>
                    <a:pt x="101" y="149"/>
                  </a:lnTo>
                  <a:lnTo>
                    <a:pt x="102" y="146"/>
                  </a:lnTo>
                  <a:lnTo>
                    <a:pt x="104" y="143"/>
                  </a:lnTo>
                  <a:lnTo>
                    <a:pt x="108" y="137"/>
                  </a:lnTo>
                  <a:lnTo>
                    <a:pt x="110" y="134"/>
                  </a:lnTo>
                  <a:lnTo>
                    <a:pt x="111" y="132"/>
                  </a:lnTo>
                  <a:lnTo>
                    <a:pt x="111" y="131"/>
                  </a:lnTo>
                  <a:lnTo>
                    <a:pt x="111" y="130"/>
                  </a:lnTo>
                  <a:lnTo>
                    <a:pt x="110" y="129"/>
                  </a:lnTo>
                  <a:lnTo>
                    <a:pt x="109" y="128"/>
                  </a:lnTo>
                  <a:lnTo>
                    <a:pt x="109" y="127"/>
                  </a:lnTo>
                  <a:lnTo>
                    <a:pt x="111" y="124"/>
                  </a:lnTo>
                  <a:lnTo>
                    <a:pt x="123" y="116"/>
                  </a:lnTo>
                  <a:lnTo>
                    <a:pt x="123" y="116"/>
                  </a:lnTo>
                  <a:lnTo>
                    <a:pt x="122" y="115"/>
                  </a:lnTo>
                  <a:lnTo>
                    <a:pt x="122" y="113"/>
                  </a:lnTo>
                  <a:lnTo>
                    <a:pt x="123" y="113"/>
                  </a:lnTo>
                  <a:lnTo>
                    <a:pt x="124" y="113"/>
                  </a:lnTo>
                  <a:lnTo>
                    <a:pt x="123" y="112"/>
                  </a:lnTo>
                  <a:lnTo>
                    <a:pt x="122" y="110"/>
                  </a:lnTo>
                  <a:lnTo>
                    <a:pt x="122" y="108"/>
                  </a:lnTo>
                  <a:lnTo>
                    <a:pt x="122" y="106"/>
                  </a:lnTo>
                  <a:lnTo>
                    <a:pt x="124" y="105"/>
                  </a:lnTo>
                  <a:lnTo>
                    <a:pt x="124" y="104"/>
                  </a:lnTo>
                  <a:lnTo>
                    <a:pt x="123" y="103"/>
                  </a:lnTo>
                  <a:lnTo>
                    <a:pt x="123" y="101"/>
                  </a:lnTo>
                  <a:lnTo>
                    <a:pt x="124" y="96"/>
                  </a:lnTo>
                  <a:lnTo>
                    <a:pt x="125" y="95"/>
                  </a:lnTo>
                  <a:lnTo>
                    <a:pt x="125" y="93"/>
                  </a:lnTo>
                  <a:lnTo>
                    <a:pt x="125" y="93"/>
                  </a:lnTo>
                  <a:lnTo>
                    <a:pt x="125" y="93"/>
                  </a:lnTo>
                  <a:lnTo>
                    <a:pt x="124" y="92"/>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93" name="Freeform 28">
              <a:extLst>
                <a:ext uri="{FF2B5EF4-FFF2-40B4-BE49-F238E27FC236}">
                  <a16:creationId xmlns:a16="http://schemas.microsoft.com/office/drawing/2014/main" id="{63798882-EFC9-4CF1-85AC-E433AE0FD95B}"/>
                </a:ext>
              </a:extLst>
            </p:cNvPr>
            <p:cNvSpPr>
              <a:spLocks noEditPoints="1"/>
            </p:cNvSpPr>
            <p:nvPr/>
          </p:nvSpPr>
          <p:spPr bwMode="gray">
            <a:xfrm>
              <a:off x="10118187" y="3536703"/>
              <a:ext cx="581499" cy="441889"/>
            </a:xfrm>
            <a:custGeom>
              <a:avLst/>
              <a:gdLst>
                <a:gd name="T0" fmla="*/ 25 w 933"/>
                <a:gd name="T1" fmla="*/ 267 h 709"/>
                <a:gd name="T2" fmla="*/ 21 w 933"/>
                <a:gd name="T3" fmla="*/ 303 h 709"/>
                <a:gd name="T4" fmla="*/ 31 w 933"/>
                <a:gd name="T5" fmla="*/ 259 h 709"/>
                <a:gd name="T6" fmla="*/ 892 w 933"/>
                <a:gd name="T7" fmla="*/ 320 h 709"/>
                <a:gd name="T8" fmla="*/ 886 w 933"/>
                <a:gd name="T9" fmla="*/ 284 h 709"/>
                <a:gd name="T10" fmla="*/ 902 w 933"/>
                <a:gd name="T11" fmla="*/ 234 h 709"/>
                <a:gd name="T12" fmla="*/ 834 w 933"/>
                <a:gd name="T13" fmla="*/ 168 h 709"/>
                <a:gd name="T14" fmla="*/ 756 w 933"/>
                <a:gd name="T15" fmla="*/ 98 h 709"/>
                <a:gd name="T16" fmla="*/ 664 w 933"/>
                <a:gd name="T17" fmla="*/ 74 h 709"/>
                <a:gd name="T18" fmla="*/ 633 w 933"/>
                <a:gd name="T19" fmla="*/ 6 h 709"/>
                <a:gd name="T20" fmla="*/ 616 w 933"/>
                <a:gd name="T21" fmla="*/ 9 h 709"/>
                <a:gd name="T22" fmla="*/ 544 w 933"/>
                <a:gd name="T23" fmla="*/ 43 h 709"/>
                <a:gd name="T24" fmla="*/ 468 w 933"/>
                <a:gd name="T25" fmla="*/ 31 h 709"/>
                <a:gd name="T26" fmla="*/ 442 w 933"/>
                <a:gd name="T27" fmla="*/ 25 h 709"/>
                <a:gd name="T28" fmla="*/ 357 w 933"/>
                <a:gd name="T29" fmla="*/ 24 h 709"/>
                <a:gd name="T30" fmla="*/ 312 w 933"/>
                <a:gd name="T31" fmla="*/ 10 h 709"/>
                <a:gd name="T32" fmla="*/ 252 w 933"/>
                <a:gd name="T33" fmla="*/ 13 h 709"/>
                <a:gd name="T34" fmla="*/ 107 w 933"/>
                <a:gd name="T35" fmla="*/ 38 h 709"/>
                <a:gd name="T36" fmla="*/ 46 w 933"/>
                <a:gd name="T37" fmla="*/ 89 h 709"/>
                <a:gd name="T38" fmla="*/ 19 w 933"/>
                <a:gd name="T39" fmla="*/ 146 h 709"/>
                <a:gd name="T40" fmla="*/ 34 w 933"/>
                <a:gd name="T41" fmla="*/ 214 h 709"/>
                <a:gd name="T42" fmla="*/ 44 w 933"/>
                <a:gd name="T43" fmla="*/ 256 h 709"/>
                <a:gd name="T44" fmla="*/ 48 w 933"/>
                <a:gd name="T45" fmla="*/ 295 h 709"/>
                <a:gd name="T46" fmla="*/ 55 w 933"/>
                <a:gd name="T47" fmla="*/ 314 h 709"/>
                <a:gd name="T48" fmla="*/ 54 w 933"/>
                <a:gd name="T49" fmla="*/ 329 h 709"/>
                <a:gd name="T50" fmla="*/ 108 w 933"/>
                <a:gd name="T51" fmla="*/ 352 h 709"/>
                <a:gd name="T52" fmla="*/ 160 w 933"/>
                <a:gd name="T53" fmla="*/ 383 h 709"/>
                <a:gd name="T54" fmla="*/ 179 w 933"/>
                <a:gd name="T55" fmla="*/ 396 h 709"/>
                <a:gd name="T56" fmla="*/ 257 w 933"/>
                <a:gd name="T57" fmla="*/ 384 h 709"/>
                <a:gd name="T58" fmla="*/ 283 w 933"/>
                <a:gd name="T59" fmla="*/ 418 h 709"/>
                <a:gd name="T60" fmla="*/ 301 w 933"/>
                <a:gd name="T61" fmla="*/ 437 h 709"/>
                <a:gd name="T62" fmla="*/ 292 w 933"/>
                <a:gd name="T63" fmla="*/ 478 h 709"/>
                <a:gd name="T64" fmla="*/ 283 w 933"/>
                <a:gd name="T65" fmla="*/ 492 h 709"/>
                <a:gd name="T66" fmla="*/ 283 w 933"/>
                <a:gd name="T67" fmla="*/ 565 h 709"/>
                <a:gd name="T68" fmla="*/ 322 w 933"/>
                <a:gd name="T69" fmla="*/ 574 h 709"/>
                <a:gd name="T70" fmla="*/ 335 w 933"/>
                <a:gd name="T71" fmla="*/ 588 h 709"/>
                <a:gd name="T72" fmla="*/ 367 w 933"/>
                <a:gd name="T73" fmla="*/ 609 h 709"/>
                <a:gd name="T74" fmla="*/ 398 w 933"/>
                <a:gd name="T75" fmla="*/ 632 h 709"/>
                <a:gd name="T76" fmla="*/ 403 w 933"/>
                <a:gd name="T77" fmla="*/ 679 h 709"/>
                <a:gd name="T78" fmla="*/ 407 w 933"/>
                <a:gd name="T79" fmla="*/ 695 h 709"/>
                <a:gd name="T80" fmla="*/ 456 w 933"/>
                <a:gd name="T81" fmla="*/ 698 h 709"/>
                <a:gd name="T82" fmla="*/ 496 w 933"/>
                <a:gd name="T83" fmla="*/ 697 h 709"/>
                <a:gd name="T84" fmla="*/ 537 w 933"/>
                <a:gd name="T85" fmla="*/ 707 h 709"/>
                <a:gd name="T86" fmla="*/ 595 w 933"/>
                <a:gd name="T87" fmla="*/ 680 h 709"/>
                <a:gd name="T88" fmla="*/ 618 w 933"/>
                <a:gd name="T89" fmla="*/ 680 h 709"/>
                <a:gd name="T90" fmla="*/ 618 w 933"/>
                <a:gd name="T91" fmla="*/ 648 h 709"/>
                <a:gd name="T92" fmla="*/ 651 w 933"/>
                <a:gd name="T93" fmla="*/ 644 h 709"/>
                <a:gd name="T94" fmla="*/ 706 w 933"/>
                <a:gd name="T95" fmla="*/ 611 h 709"/>
                <a:gd name="T96" fmla="*/ 730 w 933"/>
                <a:gd name="T97" fmla="*/ 617 h 709"/>
                <a:gd name="T98" fmla="*/ 729 w 933"/>
                <a:gd name="T99" fmla="*/ 639 h 709"/>
                <a:gd name="T100" fmla="*/ 768 w 933"/>
                <a:gd name="T101" fmla="*/ 636 h 709"/>
                <a:gd name="T102" fmla="*/ 770 w 933"/>
                <a:gd name="T103" fmla="*/ 611 h 709"/>
                <a:gd name="T104" fmla="*/ 759 w 933"/>
                <a:gd name="T105" fmla="*/ 596 h 709"/>
                <a:gd name="T106" fmla="*/ 731 w 933"/>
                <a:gd name="T107" fmla="*/ 584 h 709"/>
                <a:gd name="T108" fmla="*/ 759 w 933"/>
                <a:gd name="T109" fmla="*/ 531 h 709"/>
                <a:gd name="T110" fmla="*/ 761 w 933"/>
                <a:gd name="T111" fmla="*/ 490 h 709"/>
                <a:gd name="T112" fmla="*/ 770 w 933"/>
                <a:gd name="T113" fmla="*/ 459 h 709"/>
                <a:gd name="T114" fmla="*/ 782 w 933"/>
                <a:gd name="T115" fmla="*/ 428 h 709"/>
                <a:gd name="T116" fmla="*/ 828 w 933"/>
                <a:gd name="T117" fmla="*/ 414 h 709"/>
                <a:gd name="T118" fmla="*/ 848 w 933"/>
                <a:gd name="T119" fmla="*/ 367 h 709"/>
                <a:gd name="T120" fmla="*/ 897 w 933"/>
                <a:gd name="T121" fmla="*/ 373 h 709"/>
                <a:gd name="T122" fmla="*/ 923 w 933"/>
                <a:gd name="T123" fmla="*/ 33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33" h="709">
                  <a:moveTo>
                    <a:pt x="31" y="211"/>
                  </a:moveTo>
                  <a:lnTo>
                    <a:pt x="26" y="204"/>
                  </a:lnTo>
                  <a:lnTo>
                    <a:pt x="27" y="212"/>
                  </a:lnTo>
                  <a:lnTo>
                    <a:pt x="27" y="229"/>
                  </a:lnTo>
                  <a:lnTo>
                    <a:pt x="28" y="235"/>
                  </a:lnTo>
                  <a:lnTo>
                    <a:pt x="27" y="237"/>
                  </a:lnTo>
                  <a:lnTo>
                    <a:pt x="28" y="239"/>
                  </a:lnTo>
                  <a:lnTo>
                    <a:pt x="27" y="244"/>
                  </a:lnTo>
                  <a:lnTo>
                    <a:pt x="25" y="267"/>
                  </a:lnTo>
                  <a:lnTo>
                    <a:pt x="19" y="290"/>
                  </a:lnTo>
                  <a:lnTo>
                    <a:pt x="12" y="306"/>
                  </a:lnTo>
                  <a:lnTo>
                    <a:pt x="0" y="327"/>
                  </a:lnTo>
                  <a:lnTo>
                    <a:pt x="0" y="327"/>
                  </a:lnTo>
                  <a:lnTo>
                    <a:pt x="10" y="330"/>
                  </a:lnTo>
                  <a:lnTo>
                    <a:pt x="10" y="325"/>
                  </a:lnTo>
                  <a:lnTo>
                    <a:pt x="18" y="314"/>
                  </a:lnTo>
                  <a:lnTo>
                    <a:pt x="20" y="309"/>
                  </a:lnTo>
                  <a:lnTo>
                    <a:pt x="21" y="303"/>
                  </a:lnTo>
                  <a:lnTo>
                    <a:pt x="24" y="297"/>
                  </a:lnTo>
                  <a:lnTo>
                    <a:pt x="27" y="291"/>
                  </a:lnTo>
                  <a:lnTo>
                    <a:pt x="29" y="289"/>
                  </a:lnTo>
                  <a:lnTo>
                    <a:pt x="29" y="287"/>
                  </a:lnTo>
                  <a:lnTo>
                    <a:pt x="26" y="283"/>
                  </a:lnTo>
                  <a:lnTo>
                    <a:pt x="27" y="279"/>
                  </a:lnTo>
                  <a:lnTo>
                    <a:pt x="29" y="274"/>
                  </a:lnTo>
                  <a:lnTo>
                    <a:pt x="31" y="270"/>
                  </a:lnTo>
                  <a:lnTo>
                    <a:pt x="31" y="259"/>
                  </a:lnTo>
                  <a:lnTo>
                    <a:pt x="32" y="256"/>
                  </a:lnTo>
                  <a:lnTo>
                    <a:pt x="33" y="251"/>
                  </a:lnTo>
                  <a:lnTo>
                    <a:pt x="33" y="247"/>
                  </a:lnTo>
                  <a:lnTo>
                    <a:pt x="33" y="223"/>
                  </a:lnTo>
                  <a:lnTo>
                    <a:pt x="31" y="211"/>
                  </a:lnTo>
                  <a:close/>
                  <a:moveTo>
                    <a:pt x="931" y="325"/>
                  </a:moveTo>
                  <a:lnTo>
                    <a:pt x="928" y="322"/>
                  </a:lnTo>
                  <a:lnTo>
                    <a:pt x="901" y="318"/>
                  </a:lnTo>
                  <a:lnTo>
                    <a:pt x="892" y="320"/>
                  </a:lnTo>
                  <a:lnTo>
                    <a:pt x="889" y="320"/>
                  </a:lnTo>
                  <a:lnTo>
                    <a:pt x="880" y="316"/>
                  </a:lnTo>
                  <a:lnTo>
                    <a:pt x="877" y="315"/>
                  </a:lnTo>
                  <a:lnTo>
                    <a:pt x="876" y="312"/>
                  </a:lnTo>
                  <a:lnTo>
                    <a:pt x="878" y="307"/>
                  </a:lnTo>
                  <a:lnTo>
                    <a:pt x="882" y="300"/>
                  </a:lnTo>
                  <a:lnTo>
                    <a:pt x="883" y="297"/>
                  </a:lnTo>
                  <a:lnTo>
                    <a:pt x="885" y="287"/>
                  </a:lnTo>
                  <a:lnTo>
                    <a:pt x="886" y="284"/>
                  </a:lnTo>
                  <a:lnTo>
                    <a:pt x="892" y="278"/>
                  </a:lnTo>
                  <a:lnTo>
                    <a:pt x="892" y="275"/>
                  </a:lnTo>
                  <a:lnTo>
                    <a:pt x="889" y="269"/>
                  </a:lnTo>
                  <a:lnTo>
                    <a:pt x="890" y="262"/>
                  </a:lnTo>
                  <a:lnTo>
                    <a:pt x="893" y="257"/>
                  </a:lnTo>
                  <a:lnTo>
                    <a:pt x="897" y="252"/>
                  </a:lnTo>
                  <a:lnTo>
                    <a:pt x="900" y="247"/>
                  </a:lnTo>
                  <a:lnTo>
                    <a:pt x="902" y="241"/>
                  </a:lnTo>
                  <a:lnTo>
                    <a:pt x="902" y="234"/>
                  </a:lnTo>
                  <a:lnTo>
                    <a:pt x="902" y="226"/>
                  </a:lnTo>
                  <a:lnTo>
                    <a:pt x="900" y="220"/>
                  </a:lnTo>
                  <a:lnTo>
                    <a:pt x="891" y="219"/>
                  </a:lnTo>
                  <a:lnTo>
                    <a:pt x="882" y="217"/>
                  </a:lnTo>
                  <a:lnTo>
                    <a:pt x="860" y="206"/>
                  </a:lnTo>
                  <a:lnTo>
                    <a:pt x="850" y="198"/>
                  </a:lnTo>
                  <a:lnTo>
                    <a:pt x="842" y="183"/>
                  </a:lnTo>
                  <a:lnTo>
                    <a:pt x="838" y="175"/>
                  </a:lnTo>
                  <a:lnTo>
                    <a:pt x="834" y="168"/>
                  </a:lnTo>
                  <a:lnTo>
                    <a:pt x="818" y="155"/>
                  </a:lnTo>
                  <a:lnTo>
                    <a:pt x="809" y="143"/>
                  </a:lnTo>
                  <a:lnTo>
                    <a:pt x="799" y="138"/>
                  </a:lnTo>
                  <a:lnTo>
                    <a:pt x="785" y="128"/>
                  </a:lnTo>
                  <a:lnTo>
                    <a:pt x="773" y="114"/>
                  </a:lnTo>
                  <a:lnTo>
                    <a:pt x="769" y="109"/>
                  </a:lnTo>
                  <a:lnTo>
                    <a:pt x="760" y="103"/>
                  </a:lnTo>
                  <a:lnTo>
                    <a:pt x="757" y="101"/>
                  </a:lnTo>
                  <a:lnTo>
                    <a:pt x="756" y="98"/>
                  </a:lnTo>
                  <a:lnTo>
                    <a:pt x="753" y="88"/>
                  </a:lnTo>
                  <a:lnTo>
                    <a:pt x="752" y="86"/>
                  </a:lnTo>
                  <a:lnTo>
                    <a:pt x="750" y="85"/>
                  </a:lnTo>
                  <a:lnTo>
                    <a:pt x="741" y="86"/>
                  </a:lnTo>
                  <a:lnTo>
                    <a:pt x="738" y="85"/>
                  </a:lnTo>
                  <a:lnTo>
                    <a:pt x="730" y="81"/>
                  </a:lnTo>
                  <a:lnTo>
                    <a:pt x="719" y="83"/>
                  </a:lnTo>
                  <a:lnTo>
                    <a:pt x="702" y="80"/>
                  </a:lnTo>
                  <a:lnTo>
                    <a:pt x="664" y="74"/>
                  </a:lnTo>
                  <a:lnTo>
                    <a:pt x="658" y="70"/>
                  </a:lnTo>
                  <a:lnTo>
                    <a:pt x="654" y="61"/>
                  </a:lnTo>
                  <a:lnTo>
                    <a:pt x="651" y="52"/>
                  </a:lnTo>
                  <a:lnTo>
                    <a:pt x="650" y="49"/>
                  </a:lnTo>
                  <a:lnTo>
                    <a:pt x="644" y="43"/>
                  </a:lnTo>
                  <a:lnTo>
                    <a:pt x="643" y="40"/>
                  </a:lnTo>
                  <a:lnTo>
                    <a:pt x="641" y="35"/>
                  </a:lnTo>
                  <a:lnTo>
                    <a:pt x="637" y="18"/>
                  </a:lnTo>
                  <a:lnTo>
                    <a:pt x="633" y="6"/>
                  </a:lnTo>
                  <a:lnTo>
                    <a:pt x="630" y="1"/>
                  </a:lnTo>
                  <a:lnTo>
                    <a:pt x="626" y="0"/>
                  </a:lnTo>
                  <a:lnTo>
                    <a:pt x="624" y="2"/>
                  </a:lnTo>
                  <a:lnTo>
                    <a:pt x="624" y="5"/>
                  </a:lnTo>
                  <a:lnTo>
                    <a:pt x="623" y="8"/>
                  </a:lnTo>
                  <a:lnTo>
                    <a:pt x="623" y="11"/>
                  </a:lnTo>
                  <a:lnTo>
                    <a:pt x="621" y="11"/>
                  </a:lnTo>
                  <a:lnTo>
                    <a:pt x="618" y="9"/>
                  </a:lnTo>
                  <a:lnTo>
                    <a:pt x="616" y="9"/>
                  </a:lnTo>
                  <a:lnTo>
                    <a:pt x="602" y="16"/>
                  </a:lnTo>
                  <a:lnTo>
                    <a:pt x="596" y="18"/>
                  </a:lnTo>
                  <a:lnTo>
                    <a:pt x="590" y="23"/>
                  </a:lnTo>
                  <a:lnTo>
                    <a:pt x="577" y="41"/>
                  </a:lnTo>
                  <a:lnTo>
                    <a:pt x="574" y="44"/>
                  </a:lnTo>
                  <a:lnTo>
                    <a:pt x="565" y="49"/>
                  </a:lnTo>
                  <a:lnTo>
                    <a:pt x="559" y="52"/>
                  </a:lnTo>
                  <a:lnTo>
                    <a:pt x="554" y="50"/>
                  </a:lnTo>
                  <a:lnTo>
                    <a:pt x="544" y="43"/>
                  </a:lnTo>
                  <a:lnTo>
                    <a:pt x="539" y="41"/>
                  </a:lnTo>
                  <a:lnTo>
                    <a:pt x="534" y="42"/>
                  </a:lnTo>
                  <a:lnTo>
                    <a:pt x="515" y="52"/>
                  </a:lnTo>
                  <a:lnTo>
                    <a:pt x="511" y="53"/>
                  </a:lnTo>
                  <a:lnTo>
                    <a:pt x="510" y="53"/>
                  </a:lnTo>
                  <a:lnTo>
                    <a:pt x="506" y="52"/>
                  </a:lnTo>
                  <a:lnTo>
                    <a:pt x="500" y="49"/>
                  </a:lnTo>
                  <a:lnTo>
                    <a:pt x="485" y="37"/>
                  </a:lnTo>
                  <a:lnTo>
                    <a:pt x="468" y="31"/>
                  </a:lnTo>
                  <a:lnTo>
                    <a:pt x="466" y="31"/>
                  </a:lnTo>
                  <a:lnTo>
                    <a:pt x="460" y="31"/>
                  </a:lnTo>
                  <a:lnTo>
                    <a:pt x="449" y="33"/>
                  </a:lnTo>
                  <a:lnTo>
                    <a:pt x="445" y="32"/>
                  </a:lnTo>
                  <a:lnTo>
                    <a:pt x="444" y="31"/>
                  </a:lnTo>
                  <a:lnTo>
                    <a:pt x="444" y="30"/>
                  </a:lnTo>
                  <a:lnTo>
                    <a:pt x="444" y="27"/>
                  </a:lnTo>
                  <a:lnTo>
                    <a:pt x="443" y="26"/>
                  </a:lnTo>
                  <a:lnTo>
                    <a:pt x="442" y="25"/>
                  </a:lnTo>
                  <a:lnTo>
                    <a:pt x="437" y="26"/>
                  </a:lnTo>
                  <a:lnTo>
                    <a:pt x="426" y="25"/>
                  </a:lnTo>
                  <a:lnTo>
                    <a:pt x="421" y="26"/>
                  </a:lnTo>
                  <a:lnTo>
                    <a:pt x="412" y="32"/>
                  </a:lnTo>
                  <a:lnTo>
                    <a:pt x="406" y="32"/>
                  </a:lnTo>
                  <a:lnTo>
                    <a:pt x="389" y="25"/>
                  </a:lnTo>
                  <a:lnTo>
                    <a:pt x="379" y="20"/>
                  </a:lnTo>
                  <a:lnTo>
                    <a:pt x="375" y="20"/>
                  </a:lnTo>
                  <a:lnTo>
                    <a:pt x="357" y="24"/>
                  </a:lnTo>
                  <a:lnTo>
                    <a:pt x="354" y="26"/>
                  </a:lnTo>
                  <a:lnTo>
                    <a:pt x="355" y="29"/>
                  </a:lnTo>
                  <a:lnTo>
                    <a:pt x="347" y="37"/>
                  </a:lnTo>
                  <a:lnTo>
                    <a:pt x="339" y="39"/>
                  </a:lnTo>
                  <a:lnTo>
                    <a:pt x="332" y="34"/>
                  </a:lnTo>
                  <a:lnTo>
                    <a:pt x="326" y="20"/>
                  </a:lnTo>
                  <a:lnTo>
                    <a:pt x="323" y="11"/>
                  </a:lnTo>
                  <a:lnTo>
                    <a:pt x="317" y="8"/>
                  </a:lnTo>
                  <a:lnTo>
                    <a:pt x="312" y="10"/>
                  </a:lnTo>
                  <a:lnTo>
                    <a:pt x="307" y="13"/>
                  </a:lnTo>
                  <a:lnTo>
                    <a:pt x="301" y="17"/>
                  </a:lnTo>
                  <a:lnTo>
                    <a:pt x="279" y="26"/>
                  </a:lnTo>
                  <a:lnTo>
                    <a:pt x="276" y="26"/>
                  </a:lnTo>
                  <a:lnTo>
                    <a:pt x="274" y="25"/>
                  </a:lnTo>
                  <a:lnTo>
                    <a:pt x="267" y="18"/>
                  </a:lnTo>
                  <a:lnTo>
                    <a:pt x="262" y="16"/>
                  </a:lnTo>
                  <a:lnTo>
                    <a:pt x="262" y="16"/>
                  </a:lnTo>
                  <a:lnTo>
                    <a:pt x="252" y="13"/>
                  </a:lnTo>
                  <a:lnTo>
                    <a:pt x="205" y="15"/>
                  </a:lnTo>
                  <a:lnTo>
                    <a:pt x="202" y="13"/>
                  </a:lnTo>
                  <a:lnTo>
                    <a:pt x="196" y="9"/>
                  </a:lnTo>
                  <a:lnTo>
                    <a:pt x="193" y="7"/>
                  </a:lnTo>
                  <a:lnTo>
                    <a:pt x="186" y="7"/>
                  </a:lnTo>
                  <a:lnTo>
                    <a:pt x="168" y="15"/>
                  </a:lnTo>
                  <a:lnTo>
                    <a:pt x="165" y="16"/>
                  </a:lnTo>
                  <a:lnTo>
                    <a:pt x="121" y="38"/>
                  </a:lnTo>
                  <a:lnTo>
                    <a:pt x="107" y="38"/>
                  </a:lnTo>
                  <a:lnTo>
                    <a:pt x="101" y="41"/>
                  </a:lnTo>
                  <a:lnTo>
                    <a:pt x="79" y="58"/>
                  </a:lnTo>
                  <a:lnTo>
                    <a:pt x="76" y="59"/>
                  </a:lnTo>
                  <a:lnTo>
                    <a:pt x="69" y="60"/>
                  </a:lnTo>
                  <a:lnTo>
                    <a:pt x="64" y="62"/>
                  </a:lnTo>
                  <a:lnTo>
                    <a:pt x="58" y="67"/>
                  </a:lnTo>
                  <a:lnTo>
                    <a:pt x="52" y="73"/>
                  </a:lnTo>
                  <a:lnTo>
                    <a:pt x="48" y="80"/>
                  </a:lnTo>
                  <a:lnTo>
                    <a:pt x="46" y="89"/>
                  </a:lnTo>
                  <a:lnTo>
                    <a:pt x="45" y="96"/>
                  </a:lnTo>
                  <a:lnTo>
                    <a:pt x="42" y="102"/>
                  </a:lnTo>
                  <a:lnTo>
                    <a:pt x="36" y="104"/>
                  </a:lnTo>
                  <a:lnTo>
                    <a:pt x="27" y="104"/>
                  </a:lnTo>
                  <a:lnTo>
                    <a:pt x="21" y="105"/>
                  </a:lnTo>
                  <a:lnTo>
                    <a:pt x="21" y="115"/>
                  </a:lnTo>
                  <a:lnTo>
                    <a:pt x="21" y="139"/>
                  </a:lnTo>
                  <a:lnTo>
                    <a:pt x="21" y="142"/>
                  </a:lnTo>
                  <a:lnTo>
                    <a:pt x="19" y="146"/>
                  </a:lnTo>
                  <a:lnTo>
                    <a:pt x="19" y="149"/>
                  </a:lnTo>
                  <a:lnTo>
                    <a:pt x="19" y="162"/>
                  </a:lnTo>
                  <a:lnTo>
                    <a:pt x="22" y="185"/>
                  </a:lnTo>
                  <a:lnTo>
                    <a:pt x="23" y="191"/>
                  </a:lnTo>
                  <a:lnTo>
                    <a:pt x="24" y="198"/>
                  </a:lnTo>
                  <a:lnTo>
                    <a:pt x="25" y="200"/>
                  </a:lnTo>
                  <a:lnTo>
                    <a:pt x="26" y="201"/>
                  </a:lnTo>
                  <a:lnTo>
                    <a:pt x="28" y="202"/>
                  </a:lnTo>
                  <a:lnTo>
                    <a:pt x="34" y="214"/>
                  </a:lnTo>
                  <a:lnTo>
                    <a:pt x="35" y="217"/>
                  </a:lnTo>
                  <a:lnTo>
                    <a:pt x="36" y="222"/>
                  </a:lnTo>
                  <a:lnTo>
                    <a:pt x="37" y="227"/>
                  </a:lnTo>
                  <a:lnTo>
                    <a:pt x="43" y="243"/>
                  </a:lnTo>
                  <a:lnTo>
                    <a:pt x="43" y="246"/>
                  </a:lnTo>
                  <a:lnTo>
                    <a:pt x="43" y="248"/>
                  </a:lnTo>
                  <a:lnTo>
                    <a:pt x="43" y="250"/>
                  </a:lnTo>
                  <a:lnTo>
                    <a:pt x="43" y="253"/>
                  </a:lnTo>
                  <a:lnTo>
                    <a:pt x="44" y="256"/>
                  </a:lnTo>
                  <a:lnTo>
                    <a:pt x="45" y="258"/>
                  </a:lnTo>
                  <a:lnTo>
                    <a:pt x="47" y="260"/>
                  </a:lnTo>
                  <a:lnTo>
                    <a:pt x="47" y="261"/>
                  </a:lnTo>
                  <a:lnTo>
                    <a:pt x="48" y="263"/>
                  </a:lnTo>
                  <a:lnTo>
                    <a:pt x="50" y="271"/>
                  </a:lnTo>
                  <a:lnTo>
                    <a:pt x="52" y="283"/>
                  </a:lnTo>
                  <a:lnTo>
                    <a:pt x="52" y="290"/>
                  </a:lnTo>
                  <a:lnTo>
                    <a:pt x="49" y="293"/>
                  </a:lnTo>
                  <a:lnTo>
                    <a:pt x="48" y="295"/>
                  </a:lnTo>
                  <a:lnTo>
                    <a:pt x="42" y="309"/>
                  </a:lnTo>
                  <a:lnTo>
                    <a:pt x="41" y="309"/>
                  </a:lnTo>
                  <a:lnTo>
                    <a:pt x="41" y="309"/>
                  </a:lnTo>
                  <a:lnTo>
                    <a:pt x="42" y="312"/>
                  </a:lnTo>
                  <a:lnTo>
                    <a:pt x="51" y="303"/>
                  </a:lnTo>
                  <a:lnTo>
                    <a:pt x="53" y="303"/>
                  </a:lnTo>
                  <a:lnTo>
                    <a:pt x="53" y="309"/>
                  </a:lnTo>
                  <a:lnTo>
                    <a:pt x="53" y="312"/>
                  </a:lnTo>
                  <a:lnTo>
                    <a:pt x="55" y="314"/>
                  </a:lnTo>
                  <a:lnTo>
                    <a:pt x="56" y="315"/>
                  </a:lnTo>
                  <a:lnTo>
                    <a:pt x="57" y="318"/>
                  </a:lnTo>
                  <a:lnTo>
                    <a:pt x="58" y="321"/>
                  </a:lnTo>
                  <a:lnTo>
                    <a:pt x="58" y="323"/>
                  </a:lnTo>
                  <a:lnTo>
                    <a:pt x="57" y="326"/>
                  </a:lnTo>
                  <a:lnTo>
                    <a:pt x="56" y="326"/>
                  </a:lnTo>
                  <a:lnTo>
                    <a:pt x="55" y="326"/>
                  </a:lnTo>
                  <a:lnTo>
                    <a:pt x="54" y="327"/>
                  </a:lnTo>
                  <a:lnTo>
                    <a:pt x="54" y="329"/>
                  </a:lnTo>
                  <a:lnTo>
                    <a:pt x="55" y="335"/>
                  </a:lnTo>
                  <a:lnTo>
                    <a:pt x="55" y="337"/>
                  </a:lnTo>
                  <a:lnTo>
                    <a:pt x="55" y="337"/>
                  </a:lnTo>
                  <a:lnTo>
                    <a:pt x="67" y="326"/>
                  </a:lnTo>
                  <a:lnTo>
                    <a:pt x="71" y="325"/>
                  </a:lnTo>
                  <a:lnTo>
                    <a:pt x="76" y="330"/>
                  </a:lnTo>
                  <a:lnTo>
                    <a:pt x="86" y="347"/>
                  </a:lnTo>
                  <a:lnTo>
                    <a:pt x="92" y="352"/>
                  </a:lnTo>
                  <a:lnTo>
                    <a:pt x="108" y="352"/>
                  </a:lnTo>
                  <a:lnTo>
                    <a:pt x="115" y="355"/>
                  </a:lnTo>
                  <a:lnTo>
                    <a:pt x="126" y="364"/>
                  </a:lnTo>
                  <a:lnTo>
                    <a:pt x="128" y="368"/>
                  </a:lnTo>
                  <a:lnTo>
                    <a:pt x="131" y="370"/>
                  </a:lnTo>
                  <a:lnTo>
                    <a:pt x="142" y="373"/>
                  </a:lnTo>
                  <a:lnTo>
                    <a:pt x="148" y="377"/>
                  </a:lnTo>
                  <a:lnTo>
                    <a:pt x="151" y="379"/>
                  </a:lnTo>
                  <a:lnTo>
                    <a:pt x="156" y="381"/>
                  </a:lnTo>
                  <a:lnTo>
                    <a:pt x="160" y="383"/>
                  </a:lnTo>
                  <a:lnTo>
                    <a:pt x="162" y="384"/>
                  </a:lnTo>
                  <a:lnTo>
                    <a:pt x="163" y="383"/>
                  </a:lnTo>
                  <a:lnTo>
                    <a:pt x="167" y="380"/>
                  </a:lnTo>
                  <a:lnTo>
                    <a:pt x="171" y="380"/>
                  </a:lnTo>
                  <a:lnTo>
                    <a:pt x="173" y="381"/>
                  </a:lnTo>
                  <a:lnTo>
                    <a:pt x="174" y="384"/>
                  </a:lnTo>
                  <a:lnTo>
                    <a:pt x="174" y="389"/>
                  </a:lnTo>
                  <a:lnTo>
                    <a:pt x="175" y="393"/>
                  </a:lnTo>
                  <a:lnTo>
                    <a:pt x="179" y="396"/>
                  </a:lnTo>
                  <a:lnTo>
                    <a:pt x="183" y="397"/>
                  </a:lnTo>
                  <a:lnTo>
                    <a:pt x="187" y="397"/>
                  </a:lnTo>
                  <a:lnTo>
                    <a:pt x="189" y="395"/>
                  </a:lnTo>
                  <a:lnTo>
                    <a:pt x="191" y="392"/>
                  </a:lnTo>
                  <a:lnTo>
                    <a:pt x="193" y="390"/>
                  </a:lnTo>
                  <a:lnTo>
                    <a:pt x="211" y="386"/>
                  </a:lnTo>
                  <a:lnTo>
                    <a:pt x="213" y="386"/>
                  </a:lnTo>
                  <a:lnTo>
                    <a:pt x="240" y="389"/>
                  </a:lnTo>
                  <a:lnTo>
                    <a:pt x="257" y="384"/>
                  </a:lnTo>
                  <a:lnTo>
                    <a:pt x="261" y="387"/>
                  </a:lnTo>
                  <a:lnTo>
                    <a:pt x="262" y="388"/>
                  </a:lnTo>
                  <a:lnTo>
                    <a:pt x="263" y="390"/>
                  </a:lnTo>
                  <a:lnTo>
                    <a:pt x="265" y="395"/>
                  </a:lnTo>
                  <a:lnTo>
                    <a:pt x="267" y="407"/>
                  </a:lnTo>
                  <a:lnTo>
                    <a:pt x="269" y="414"/>
                  </a:lnTo>
                  <a:lnTo>
                    <a:pt x="271" y="417"/>
                  </a:lnTo>
                  <a:lnTo>
                    <a:pt x="274" y="418"/>
                  </a:lnTo>
                  <a:lnTo>
                    <a:pt x="283" y="418"/>
                  </a:lnTo>
                  <a:lnTo>
                    <a:pt x="284" y="419"/>
                  </a:lnTo>
                  <a:lnTo>
                    <a:pt x="285" y="420"/>
                  </a:lnTo>
                  <a:lnTo>
                    <a:pt x="286" y="422"/>
                  </a:lnTo>
                  <a:lnTo>
                    <a:pt x="288" y="424"/>
                  </a:lnTo>
                  <a:lnTo>
                    <a:pt x="290" y="424"/>
                  </a:lnTo>
                  <a:lnTo>
                    <a:pt x="288" y="428"/>
                  </a:lnTo>
                  <a:lnTo>
                    <a:pt x="290" y="430"/>
                  </a:lnTo>
                  <a:lnTo>
                    <a:pt x="299" y="435"/>
                  </a:lnTo>
                  <a:lnTo>
                    <a:pt x="301" y="437"/>
                  </a:lnTo>
                  <a:lnTo>
                    <a:pt x="302" y="441"/>
                  </a:lnTo>
                  <a:lnTo>
                    <a:pt x="305" y="452"/>
                  </a:lnTo>
                  <a:lnTo>
                    <a:pt x="306" y="457"/>
                  </a:lnTo>
                  <a:lnTo>
                    <a:pt x="305" y="461"/>
                  </a:lnTo>
                  <a:lnTo>
                    <a:pt x="303" y="466"/>
                  </a:lnTo>
                  <a:lnTo>
                    <a:pt x="301" y="469"/>
                  </a:lnTo>
                  <a:lnTo>
                    <a:pt x="296" y="473"/>
                  </a:lnTo>
                  <a:lnTo>
                    <a:pt x="293" y="476"/>
                  </a:lnTo>
                  <a:lnTo>
                    <a:pt x="292" y="478"/>
                  </a:lnTo>
                  <a:lnTo>
                    <a:pt x="289" y="479"/>
                  </a:lnTo>
                  <a:lnTo>
                    <a:pt x="288" y="481"/>
                  </a:lnTo>
                  <a:lnTo>
                    <a:pt x="286" y="481"/>
                  </a:lnTo>
                  <a:lnTo>
                    <a:pt x="286" y="481"/>
                  </a:lnTo>
                  <a:lnTo>
                    <a:pt x="286" y="483"/>
                  </a:lnTo>
                  <a:lnTo>
                    <a:pt x="286" y="484"/>
                  </a:lnTo>
                  <a:lnTo>
                    <a:pt x="286" y="485"/>
                  </a:lnTo>
                  <a:lnTo>
                    <a:pt x="286" y="486"/>
                  </a:lnTo>
                  <a:lnTo>
                    <a:pt x="283" y="492"/>
                  </a:lnTo>
                  <a:lnTo>
                    <a:pt x="282" y="494"/>
                  </a:lnTo>
                  <a:lnTo>
                    <a:pt x="282" y="496"/>
                  </a:lnTo>
                  <a:lnTo>
                    <a:pt x="283" y="503"/>
                  </a:lnTo>
                  <a:lnTo>
                    <a:pt x="283" y="506"/>
                  </a:lnTo>
                  <a:lnTo>
                    <a:pt x="282" y="510"/>
                  </a:lnTo>
                  <a:lnTo>
                    <a:pt x="279" y="524"/>
                  </a:lnTo>
                  <a:lnTo>
                    <a:pt x="278" y="545"/>
                  </a:lnTo>
                  <a:lnTo>
                    <a:pt x="279" y="555"/>
                  </a:lnTo>
                  <a:lnTo>
                    <a:pt x="283" y="565"/>
                  </a:lnTo>
                  <a:lnTo>
                    <a:pt x="292" y="582"/>
                  </a:lnTo>
                  <a:lnTo>
                    <a:pt x="296" y="579"/>
                  </a:lnTo>
                  <a:lnTo>
                    <a:pt x="300" y="572"/>
                  </a:lnTo>
                  <a:lnTo>
                    <a:pt x="300" y="572"/>
                  </a:lnTo>
                  <a:lnTo>
                    <a:pt x="304" y="570"/>
                  </a:lnTo>
                  <a:lnTo>
                    <a:pt x="307" y="570"/>
                  </a:lnTo>
                  <a:lnTo>
                    <a:pt x="316" y="575"/>
                  </a:lnTo>
                  <a:lnTo>
                    <a:pt x="318" y="575"/>
                  </a:lnTo>
                  <a:lnTo>
                    <a:pt x="322" y="574"/>
                  </a:lnTo>
                  <a:lnTo>
                    <a:pt x="324" y="575"/>
                  </a:lnTo>
                  <a:lnTo>
                    <a:pt x="325" y="577"/>
                  </a:lnTo>
                  <a:lnTo>
                    <a:pt x="326" y="579"/>
                  </a:lnTo>
                  <a:lnTo>
                    <a:pt x="327" y="581"/>
                  </a:lnTo>
                  <a:lnTo>
                    <a:pt x="328" y="583"/>
                  </a:lnTo>
                  <a:lnTo>
                    <a:pt x="330" y="584"/>
                  </a:lnTo>
                  <a:lnTo>
                    <a:pt x="335" y="584"/>
                  </a:lnTo>
                  <a:lnTo>
                    <a:pt x="336" y="586"/>
                  </a:lnTo>
                  <a:lnTo>
                    <a:pt x="335" y="588"/>
                  </a:lnTo>
                  <a:lnTo>
                    <a:pt x="335" y="592"/>
                  </a:lnTo>
                  <a:lnTo>
                    <a:pt x="335" y="594"/>
                  </a:lnTo>
                  <a:lnTo>
                    <a:pt x="337" y="598"/>
                  </a:lnTo>
                  <a:lnTo>
                    <a:pt x="341" y="598"/>
                  </a:lnTo>
                  <a:lnTo>
                    <a:pt x="345" y="597"/>
                  </a:lnTo>
                  <a:lnTo>
                    <a:pt x="348" y="596"/>
                  </a:lnTo>
                  <a:lnTo>
                    <a:pt x="351" y="598"/>
                  </a:lnTo>
                  <a:lnTo>
                    <a:pt x="361" y="606"/>
                  </a:lnTo>
                  <a:lnTo>
                    <a:pt x="367" y="609"/>
                  </a:lnTo>
                  <a:lnTo>
                    <a:pt x="380" y="614"/>
                  </a:lnTo>
                  <a:lnTo>
                    <a:pt x="383" y="617"/>
                  </a:lnTo>
                  <a:lnTo>
                    <a:pt x="386" y="620"/>
                  </a:lnTo>
                  <a:lnTo>
                    <a:pt x="387" y="622"/>
                  </a:lnTo>
                  <a:lnTo>
                    <a:pt x="390" y="627"/>
                  </a:lnTo>
                  <a:lnTo>
                    <a:pt x="392" y="630"/>
                  </a:lnTo>
                  <a:lnTo>
                    <a:pt x="393" y="631"/>
                  </a:lnTo>
                  <a:lnTo>
                    <a:pt x="397" y="632"/>
                  </a:lnTo>
                  <a:lnTo>
                    <a:pt x="398" y="632"/>
                  </a:lnTo>
                  <a:lnTo>
                    <a:pt x="401" y="637"/>
                  </a:lnTo>
                  <a:lnTo>
                    <a:pt x="403" y="642"/>
                  </a:lnTo>
                  <a:lnTo>
                    <a:pt x="405" y="648"/>
                  </a:lnTo>
                  <a:lnTo>
                    <a:pt x="406" y="654"/>
                  </a:lnTo>
                  <a:lnTo>
                    <a:pt x="408" y="666"/>
                  </a:lnTo>
                  <a:lnTo>
                    <a:pt x="408" y="672"/>
                  </a:lnTo>
                  <a:lnTo>
                    <a:pt x="406" y="676"/>
                  </a:lnTo>
                  <a:lnTo>
                    <a:pt x="404" y="678"/>
                  </a:lnTo>
                  <a:lnTo>
                    <a:pt x="403" y="679"/>
                  </a:lnTo>
                  <a:lnTo>
                    <a:pt x="402" y="680"/>
                  </a:lnTo>
                  <a:lnTo>
                    <a:pt x="402" y="683"/>
                  </a:lnTo>
                  <a:lnTo>
                    <a:pt x="403" y="686"/>
                  </a:lnTo>
                  <a:lnTo>
                    <a:pt x="404" y="688"/>
                  </a:lnTo>
                  <a:lnTo>
                    <a:pt x="406" y="689"/>
                  </a:lnTo>
                  <a:lnTo>
                    <a:pt x="407" y="690"/>
                  </a:lnTo>
                  <a:lnTo>
                    <a:pt x="407" y="691"/>
                  </a:lnTo>
                  <a:lnTo>
                    <a:pt x="407" y="693"/>
                  </a:lnTo>
                  <a:lnTo>
                    <a:pt x="407" y="695"/>
                  </a:lnTo>
                  <a:lnTo>
                    <a:pt x="412" y="696"/>
                  </a:lnTo>
                  <a:lnTo>
                    <a:pt x="426" y="705"/>
                  </a:lnTo>
                  <a:lnTo>
                    <a:pt x="429" y="705"/>
                  </a:lnTo>
                  <a:lnTo>
                    <a:pt x="432" y="705"/>
                  </a:lnTo>
                  <a:lnTo>
                    <a:pt x="439" y="702"/>
                  </a:lnTo>
                  <a:lnTo>
                    <a:pt x="449" y="700"/>
                  </a:lnTo>
                  <a:lnTo>
                    <a:pt x="452" y="699"/>
                  </a:lnTo>
                  <a:lnTo>
                    <a:pt x="454" y="698"/>
                  </a:lnTo>
                  <a:lnTo>
                    <a:pt x="456" y="698"/>
                  </a:lnTo>
                  <a:lnTo>
                    <a:pt x="458" y="700"/>
                  </a:lnTo>
                  <a:lnTo>
                    <a:pt x="460" y="700"/>
                  </a:lnTo>
                  <a:lnTo>
                    <a:pt x="461" y="700"/>
                  </a:lnTo>
                  <a:lnTo>
                    <a:pt x="473" y="693"/>
                  </a:lnTo>
                  <a:lnTo>
                    <a:pt x="476" y="692"/>
                  </a:lnTo>
                  <a:lnTo>
                    <a:pt x="478" y="693"/>
                  </a:lnTo>
                  <a:lnTo>
                    <a:pt x="483" y="696"/>
                  </a:lnTo>
                  <a:lnTo>
                    <a:pt x="485" y="697"/>
                  </a:lnTo>
                  <a:lnTo>
                    <a:pt x="496" y="697"/>
                  </a:lnTo>
                  <a:lnTo>
                    <a:pt x="500" y="696"/>
                  </a:lnTo>
                  <a:lnTo>
                    <a:pt x="510" y="690"/>
                  </a:lnTo>
                  <a:lnTo>
                    <a:pt x="515" y="689"/>
                  </a:lnTo>
                  <a:lnTo>
                    <a:pt x="520" y="691"/>
                  </a:lnTo>
                  <a:lnTo>
                    <a:pt x="525" y="696"/>
                  </a:lnTo>
                  <a:lnTo>
                    <a:pt x="527" y="704"/>
                  </a:lnTo>
                  <a:lnTo>
                    <a:pt x="529" y="707"/>
                  </a:lnTo>
                  <a:lnTo>
                    <a:pt x="532" y="707"/>
                  </a:lnTo>
                  <a:lnTo>
                    <a:pt x="537" y="707"/>
                  </a:lnTo>
                  <a:lnTo>
                    <a:pt x="542" y="709"/>
                  </a:lnTo>
                  <a:lnTo>
                    <a:pt x="548" y="709"/>
                  </a:lnTo>
                  <a:lnTo>
                    <a:pt x="554" y="706"/>
                  </a:lnTo>
                  <a:lnTo>
                    <a:pt x="572" y="690"/>
                  </a:lnTo>
                  <a:lnTo>
                    <a:pt x="580" y="685"/>
                  </a:lnTo>
                  <a:lnTo>
                    <a:pt x="590" y="683"/>
                  </a:lnTo>
                  <a:lnTo>
                    <a:pt x="594" y="680"/>
                  </a:lnTo>
                  <a:lnTo>
                    <a:pt x="595" y="680"/>
                  </a:lnTo>
                  <a:lnTo>
                    <a:pt x="595" y="680"/>
                  </a:lnTo>
                  <a:lnTo>
                    <a:pt x="596" y="680"/>
                  </a:lnTo>
                  <a:lnTo>
                    <a:pt x="598" y="686"/>
                  </a:lnTo>
                  <a:lnTo>
                    <a:pt x="600" y="688"/>
                  </a:lnTo>
                  <a:lnTo>
                    <a:pt x="603" y="688"/>
                  </a:lnTo>
                  <a:lnTo>
                    <a:pt x="614" y="686"/>
                  </a:lnTo>
                  <a:lnTo>
                    <a:pt x="616" y="685"/>
                  </a:lnTo>
                  <a:lnTo>
                    <a:pt x="618" y="680"/>
                  </a:lnTo>
                  <a:lnTo>
                    <a:pt x="618" y="680"/>
                  </a:lnTo>
                  <a:lnTo>
                    <a:pt x="618" y="680"/>
                  </a:lnTo>
                  <a:lnTo>
                    <a:pt x="618" y="673"/>
                  </a:lnTo>
                  <a:lnTo>
                    <a:pt x="617" y="668"/>
                  </a:lnTo>
                  <a:lnTo>
                    <a:pt x="615" y="663"/>
                  </a:lnTo>
                  <a:lnTo>
                    <a:pt x="613" y="657"/>
                  </a:lnTo>
                  <a:lnTo>
                    <a:pt x="612" y="653"/>
                  </a:lnTo>
                  <a:lnTo>
                    <a:pt x="613" y="652"/>
                  </a:lnTo>
                  <a:lnTo>
                    <a:pt x="614" y="652"/>
                  </a:lnTo>
                  <a:lnTo>
                    <a:pt x="615" y="650"/>
                  </a:lnTo>
                  <a:lnTo>
                    <a:pt x="618" y="648"/>
                  </a:lnTo>
                  <a:lnTo>
                    <a:pt x="618" y="647"/>
                  </a:lnTo>
                  <a:lnTo>
                    <a:pt x="618" y="646"/>
                  </a:lnTo>
                  <a:lnTo>
                    <a:pt x="618" y="644"/>
                  </a:lnTo>
                  <a:lnTo>
                    <a:pt x="618" y="642"/>
                  </a:lnTo>
                  <a:lnTo>
                    <a:pt x="623" y="639"/>
                  </a:lnTo>
                  <a:lnTo>
                    <a:pt x="624" y="639"/>
                  </a:lnTo>
                  <a:lnTo>
                    <a:pt x="631" y="638"/>
                  </a:lnTo>
                  <a:lnTo>
                    <a:pt x="639" y="639"/>
                  </a:lnTo>
                  <a:lnTo>
                    <a:pt x="651" y="644"/>
                  </a:lnTo>
                  <a:lnTo>
                    <a:pt x="658" y="642"/>
                  </a:lnTo>
                  <a:lnTo>
                    <a:pt x="665" y="638"/>
                  </a:lnTo>
                  <a:lnTo>
                    <a:pt x="672" y="631"/>
                  </a:lnTo>
                  <a:lnTo>
                    <a:pt x="674" y="625"/>
                  </a:lnTo>
                  <a:lnTo>
                    <a:pt x="678" y="612"/>
                  </a:lnTo>
                  <a:lnTo>
                    <a:pt x="680" y="609"/>
                  </a:lnTo>
                  <a:lnTo>
                    <a:pt x="682" y="608"/>
                  </a:lnTo>
                  <a:lnTo>
                    <a:pt x="692" y="612"/>
                  </a:lnTo>
                  <a:lnTo>
                    <a:pt x="706" y="611"/>
                  </a:lnTo>
                  <a:lnTo>
                    <a:pt x="710" y="609"/>
                  </a:lnTo>
                  <a:lnTo>
                    <a:pt x="716" y="599"/>
                  </a:lnTo>
                  <a:lnTo>
                    <a:pt x="720" y="598"/>
                  </a:lnTo>
                  <a:lnTo>
                    <a:pt x="722" y="598"/>
                  </a:lnTo>
                  <a:lnTo>
                    <a:pt x="723" y="599"/>
                  </a:lnTo>
                  <a:lnTo>
                    <a:pt x="724" y="600"/>
                  </a:lnTo>
                  <a:lnTo>
                    <a:pt x="735" y="616"/>
                  </a:lnTo>
                  <a:lnTo>
                    <a:pt x="734" y="617"/>
                  </a:lnTo>
                  <a:lnTo>
                    <a:pt x="730" y="617"/>
                  </a:lnTo>
                  <a:lnTo>
                    <a:pt x="726" y="618"/>
                  </a:lnTo>
                  <a:lnTo>
                    <a:pt x="726" y="621"/>
                  </a:lnTo>
                  <a:lnTo>
                    <a:pt x="730" y="623"/>
                  </a:lnTo>
                  <a:lnTo>
                    <a:pt x="731" y="625"/>
                  </a:lnTo>
                  <a:lnTo>
                    <a:pt x="730" y="627"/>
                  </a:lnTo>
                  <a:lnTo>
                    <a:pt x="725" y="629"/>
                  </a:lnTo>
                  <a:lnTo>
                    <a:pt x="724" y="631"/>
                  </a:lnTo>
                  <a:lnTo>
                    <a:pt x="725" y="636"/>
                  </a:lnTo>
                  <a:lnTo>
                    <a:pt x="729" y="639"/>
                  </a:lnTo>
                  <a:lnTo>
                    <a:pt x="733" y="641"/>
                  </a:lnTo>
                  <a:lnTo>
                    <a:pt x="747" y="644"/>
                  </a:lnTo>
                  <a:lnTo>
                    <a:pt x="751" y="643"/>
                  </a:lnTo>
                  <a:lnTo>
                    <a:pt x="752" y="642"/>
                  </a:lnTo>
                  <a:lnTo>
                    <a:pt x="755" y="639"/>
                  </a:lnTo>
                  <a:lnTo>
                    <a:pt x="756" y="638"/>
                  </a:lnTo>
                  <a:lnTo>
                    <a:pt x="763" y="639"/>
                  </a:lnTo>
                  <a:lnTo>
                    <a:pt x="765" y="639"/>
                  </a:lnTo>
                  <a:lnTo>
                    <a:pt x="768" y="636"/>
                  </a:lnTo>
                  <a:lnTo>
                    <a:pt x="769" y="632"/>
                  </a:lnTo>
                  <a:lnTo>
                    <a:pt x="770" y="619"/>
                  </a:lnTo>
                  <a:lnTo>
                    <a:pt x="770" y="618"/>
                  </a:lnTo>
                  <a:lnTo>
                    <a:pt x="772" y="616"/>
                  </a:lnTo>
                  <a:lnTo>
                    <a:pt x="772" y="614"/>
                  </a:lnTo>
                  <a:lnTo>
                    <a:pt x="772" y="613"/>
                  </a:lnTo>
                  <a:lnTo>
                    <a:pt x="771" y="612"/>
                  </a:lnTo>
                  <a:lnTo>
                    <a:pt x="770" y="612"/>
                  </a:lnTo>
                  <a:lnTo>
                    <a:pt x="770" y="611"/>
                  </a:lnTo>
                  <a:lnTo>
                    <a:pt x="769" y="608"/>
                  </a:lnTo>
                  <a:lnTo>
                    <a:pt x="767" y="606"/>
                  </a:lnTo>
                  <a:lnTo>
                    <a:pt x="766" y="603"/>
                  </a:lnTo>
                  <a:lnTo>
                    <a:pt x="764" y="602"/>
                  </a:lnTo>
                  <a:lnTo>
                    <a:pt x="764" y="602"/>
                  </a:lnTo>
                  <a:lnTo>
                    <a:pt x="762" y="602"/>
                  </a:lnTo>
                  <a:lnTo>
                    <a:pt x="761" y="602"/>
                  </a:lnTo>
                  <a:lnTo>
                    <a:pt x="760" y="601"/>
                  </a:lnTo>
                  <a:lnTo>
                    <a:pt x="759" y="596"/>
                  </a:lnTo>
                  <a:lnTo>
                    <a:pt x="758" y="594"/>
                  </a:lnTo>
                  <a:lnTo>
                    <a:pt x="757" y="591"/>
                  </a:lnTo>
                  <a:lnTo>
                    <a:pt x="755" y="590"/>
                  </a:lnTo>
                  <a:lnTo>
                    <a:pt x="753" y="591"/>
                  </a:lnTo>
                  <a:lnTo>
                    <a:pt x="743" y="596"/>
                  </a:lnTo>
                  <a:lnTo>
                    <a:pt x="736" y="596"/>
                  </a:lnTo>
                  <a:lnTo>
                    <a:pt x="733" y="595"/>
                  </a:lnTo>
                  <a:lnTo>
                    <a:pt x="731" y="591"/>
                  </a:lnTo>
                  <a:lnTo>
                    <a:pt x="731" y="584"/>
                  </a:lnTo>
                  <a:lnTo>
                    <a:pt x="734" y="579"/>
                  </a:lnTo>
                  <a:lnTo>
                    <a:pt x="741" y="570"/>
                  </a:lnTo>
                  <a:lnTo>
                    <a:pt x="744" y="564"/>
                  </a:lnTo>
                  <a:lnTo>
                    <a:pt x="745" y="559"/>
                  </a:lnTo>
                  <a:lnTo>
                    <a:pt x="745" y="553"/>
                  </a:lnTo>
                  <a:lnTo>
                    <a:pt x="745" y="546"/>
                  </a:lnTo>
                  <a:lnTo>
                    <a:pt x="747" y="540"/>
                  </a:lnTo>
                  <a:lnTo>
                    <a:pt x="750" y="537"/>
                  </a:lnTo>
                  <a:lnTo>
                    <a:pt x="759" y="531"/>
                  </a:lnTo>
                  <a:lnTo>
                    <a:pt x="762" y="528"/>
                  </a:lnTo>
                  <a:lnTo>
                    <a:pt x="765" y="524"/>
                  </a:lnTo>
                  <a:lnTo>
                    <a:pt x="765" y="519"/>
                  </a:lnTo>
                  <a:lnTo>
                    <a:pt x="765" y="513"/>
                  </a:lnTo>
                  <a:lnTo>
                    <a:pt x="760" y="504"/>
                  </a:lnTo>
                  <a:lnTo>
                    <a:pt x="759" y="498"/>
                  </a:lnTo>
                  <a:lnTo>
                    <a:pt x="760" y="495"/>
                  </a:lnTo>
                  <a:lnTo>
                    <a:pt x="760" y="492"/>
                  </a:lnTo>
                  <a:lnTo>
                    <a:pt x="761" y="490"/>
                  </a:lnTo>
                  <a:lnTo>
                    <a:pt x="762" y="486"/>
                  </a:lnTo>
                  <a:lnTo>
                    <a:pt x="762" y="484"/>
                  </a:lnTo>
                  <a:lnTo>
                    <a:pt x="761" y="470"/>
                  </a:lnTo>
                  <a:lnTo>
                    <a:pt x="762" y="466"/>
                  </a:lnTo>
                  <a:lnTo>
                    <a:pt x="764" y="464"/>
                  </a:lnTo>
                  <a:lnTo>
                    <a:pt x="767" y="461"/>
                  </a:lnTo>
                  <a:lnTo>
                    <a:pt x="769" y="460"/>
                  </a:lnTo>
                  <a:lnTo>
                    <a:pt x="770" y="460"/>
                  </a:lnTo>
                  <a:lnTo>
                    <a:pt x="770" y="459"/>
                  </a:lnTo>
                  <a:lnTo>
                    <a:pt x="771" y="457"/>
                  </a:lnTo>
                  <a:lnTo>
                    <a:pt x="771" y="455"/>
                  </a:lnTo>
                  <a:lnTo>
                    <a:pt x="770" y="449"/>
                  </a:lnTo>
                  <a:lnTo>
                    <a:pt x="770" y="446"/>
                  </a:lnTo>
                  <a:lnTo>
                    <a:pt x="771" y="441"/>
                  </a:lnTo>
                  <a:lnTo>
                    <a:pt x="774" y="438"/>
                  </a:lnTo>
                  <a:lnTo>
                    <a:pt x="778" y="435"/>
                  </a:lnTo>
                  <a:lnTo>
                    <a:pt x="781" y="431"/>
                  </a:lnTo>
                  <a:lnTo>
                    <a:pt x="782" y="428"/>
                  </a:lnTo>
                  <a:lnTo>
                    <a:pt x="783" y="426"/>
                  </a:lnTo>
                  <a:lnTo>
                    <a:pt x="783" y="424"/>
                  </a:lnTo>
                  <a:lnTo>
                    <a:pt x="785" y="422"/>
                  </a:lnTo>
                  <a:lnTo>
                    <a:pt x="791" y="420"/>
                  </a:lnTo>
                  <a:lnTo>
                    <a:pt x="794" y="420"/>
                  </a:lnTo>
                  <a:lnTo>
                    <a:pt x="800" y="421"/>
                  </a:lnTo>
                  <a:lnTo>
                    <a:pt x="803" y="421"/>
                  </a:lnTo>
                  <a:lnTo>
                    <a:pt x="822" y="417"/>
                  </a:lnTo>
                  <a:lnTo>
                    <a:pt x="828" y="414"/>
                  </a:lnTo>
                  <a:lnTo>
                    <a:pt x="830" y="412"/>
                  </a:lnTo>
                  <a:lnTo>
                    <a:pt x="833" y="407"/>
                  </a:lnTo>
                  <a:lnTo>
                    <a:pt x="835" y="403"/>
                  </a:lnTo>
                  <a:lnTo>
                    <a:pt x="841" y="390"/>
                  </a:lnTo>
                  <a:lnTo>
                    <a:pt x="842" y="388"/>
                  </a:lnTo>
                  <a:lnTo>
                    <a:pt x="842" y="385"/>
                  </a:lnTo>
                  <a:lnTo>
                    <a:pt x="842" y="378"/>
                  </a:lnTo>
                  <a:lnTo>
                    <a:pt x="843" y="375"/>
                  </a:lnTo>
                  <a:lnTo>
                    <a:pt x="848" y="367"/>
                  </a:lnTo>
                  <a:lnTo>
                    <a:pt x="855" y="365"/>
                  </a:lnTo>
                  <a:lnTo>
                    <a:pt x="873" y="370"/>
                  </a:lnTo>
                  <a:lnTo>
                    <a:pt x="874" y="370"/>
                  </a:lnTo>
                  <a:lnTo>
                    <a:pt x="875" y="369"/>
                  </a:lnTo>
                  <a:lnTo>
                    <a:pt x="876" y="368"/>
                  </a:lnTo>
                  <a:lnTo>
                    <a:pt x="877" y="367"/>
                  </a:lnTo>
                  <a:lnTo>
                    <a:pt x="878" y="365"/>
                  </a:lnTo>
                  <a:lnTo>
                    <a:pt x="881" y="365"/>
                  </a:lnTo>
                  <a:lnTo>
                    <a:pt x="897" y="373"/>
                  </a:lnTo>
                  <a:lnTo>
                    <a:pt x="901" y="372"/>
                  </a:lnTo>
                  <a:lnTo>
                    <a:pt x="903" y="368"/>
                  </a:lnTo>
                  <a:lnTo>
                    <a:pt x="905" y="360"/>
                  </a:lnTo>
                  <a:lnTo>
                    <a:pt x="906" y="352"/>
                  </a:lnTo>
                  <a:lnTo>
                    <a:pt x="907" y="349"/>
                  </a:lnTo>
                  <a:lnTo>
                    <a:pt x="910" y="346"/>
                  </a:lnTo>
                  <a:lnTo>
                    <a:pt x="915" y="341"/>
                  </a:lnTo>
                  <a:lnTo>
                    <a:pt x="917" y="340"/>
                  </a:lnTo>
                  <a:lnTo>
                    <a:pt x="923" y="338"/>
                  </a:lnTo>
                  <a:lnTo>
                    <a:pt x="927" y="337"/>
                  </a:lnTo>
                  <a:lnTo>
                    <a:pt x="931" y="334"/>
                  </a:lnTo>
                  <a:lnTo>
                    <a:pt x="933" y="330"/>
                  </a:lnTo>
                  <a:lnTo>
                    <a:pt x="931" y="325"/>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94" name="Freeform 29">
              <a:extLst>
                <a:ext uri="{FF2B5EF4-FFF2-40B4-BE49-F238E27FC236}">
                  <a16:creationId xmlns:a16="http://schemas.microsoft.com/office/drawing/2014/main" id="{31926D7C-F5E0-4BD2-8F3C-9B711B1759B3}"/>
                </a:ext>
              </a:extLst>
            </p:cNvPr>
            <p:cNvSpPr>
              <a:spLocks/>
            </p:cNvSpPr>
            <p:nvPr/>
          </p:nvSpPr>
          <p:spPr bwMode="gray">
            <a:xfrm>
              <a:off x="8985730" y="5009458"/>
              <a:ext cx="13712" cy="30539"/>
            </a:xfrm>
            <a:custGeom>
              <a:avLst/>
              <a:gdLst>
                <a:gd name="T0" fmla="*/ 20 w 22"/>
                <a:gd name="T1" fmla="*/ 31 h 49"/>
                <a:gd name="T2" fmla="*/ 17 w 22"/>
                <a:gd name="T3" fmla="*/ 26 h 49"/>
                <a:gd name="T4" fmla="*/ 12 w 22"/>
                <a:gd name="T5" fmla="*/ 23 h 49"/>
                <a:gd name="T6" fmla="*/ 12 w 22"/>
                <a:gd name="T7" fmla="*/ 21 h 49"/>
                <a:gd name="T8" fmla="*/ 13 w 22"/>
                <a:gd name="T9" fmla="*/ 17 h 49"/>
                <a:gd name="T10" fmla="*/ 14 w 22"/>
                <a:gd name="T11" fmla="*/ 16 h 49"/>
                <a:gd name="T12" fmla="*/ 12 w 22"/>
                <a:gd name="T13" fmla="*/ 12 h 49"/>
                <a:gd name="T14" fmla="*/ 11 w 22"/>
                <a:gd name="T15" fmla="*/ 10 h 49"/>
                <a:gd name="T16" fmla="*/ 10 w 22"/>
                <a:gd name="T17" fmla="*/ 8 h 49"/>
                <a:gd name="T18" fmla="*/ 11 w 22"/>
                <a:gd name="T19" fmla="*/ 5 h 49"/>
                <a:gd name="T20" fmla="*/ 8 w 22"/>
                <a:gd name="T21" fmla="*/ 3 h 49"/>
                <a:gd name="T22" fmla="*/ 7 w 22"/>
                <a:gd name="T23" fmla="*/ 0 h 49"/>
                <a:gd name="T24" fmla="*/ 4 w 22"/>
                <a:gd name="T25" fmla="*/ 5 h 49"/>
                <a:gd name="T26" fmla="*/ 2 w 22"/>
                <a:gd name="T27" fmla="*/ 13 h 49"/>
                <a:gd name="T28" fmla="*/ 1 w 22"/>
                <a:gd name="T29" fmla="*/ 21 h 49"/>
                <a:gd name="T30" fmla="*/ 2 w 22"/>
                <a:gd name="T31" fmla="*/ 24 h 49"/>
                <a:gd name="T32" fmla="*/ 4 w 22"/>
                <a:gd name="T33" fmla="*/ 28 h 49"/>
                <a:gd name="T34" fmla="*/ 6 w 22"/>
                <a:gd name="T35" fmla="*/ 32 h 49"/>
                <a:gd name="T36" fmla="*/ 6 w 22"/>
                <a:gd name="T37" fmla="*/ 37 h 49"/>
                <a:gd name="T38" fmla="*/ 4 w 22"/>
                <a:gd name="T39" fmla="*/ 40 h 49"/>
                <a:gd name="T40" fmla="*/ 2 w 22"/>
                <a:gd name="T41" fmla="*/ 42 h 49"/>
                <a:gd name="T42" fmla="*/ 0 w 22"/>
                <a:gd name="T43" fmla="*/ 45 h 49"/>
                <a:gd name="T44" fmla="*/ 0 w 22"/>
                <a:gd name="T45" fmla="*/ 47 h 49"/>
                <a:gd name="T46" fmla="*/ 3 w 22"/>
                <a:gd name="T47" fmla="*/ 48 h 49"/>
                <a:gd name="T48" fmla="*/ 13 w 22"/>
                <a:gd name="T49" fmla="*/ 49 h 49"/>
                <a:gd name="T50" fmla="*/ 17 w 22"/>
                <a:gd name="T51" fmla="*/ 48 h 49"/>
                <a:gd name="T52" fmla="*/ 21 w 22"/>
                <a:gd name="T53" fmla="*/ 43 h 49"/>
                <a:gd name="T54" fmla="*/ 22 w 22"/>
                <a:gd name="T55" fmla="*/ 37 h 49"/>
                <a:gd name="T56" fmla="*/ 20 w 22"/>
                <a:gd name="T57" fmla="*/ 3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 h="49">
                  <a:moveTo>
                    <a:pt x="20" y="31"/>
                  </a:moveTo>
                  <a:lnTo>
                    <a:pt x="17" y="26"/>
                  </a:lnTo>
                  <a:lnTo>
                    <a:pt x="12" y="23"/>
                  </a:lnTo>
                  <a:lnTo>
                    <a:pt x="12" y="21"/>
                  </a:lnTo>
                  <a:lnTo>
                    <a:pt x="13" y="17"/>
                  </a:lnTo>
                  <a:lnTo>
                    <a:pt x="14" y="16"/>
                  </a:lnTo>
                  <a:lnTo>
                    <a:pt x="12" y="12"/>
                  </a:lnTo>
                  <a:lnTo>
                    <a:pt x="11" y="10"/>
                  </a:lnTo>
                  <a:lnTo>
                    <a:pt x="10" y="8"/>
                  </a:lnTo>
                  <a:lnTo>
                    <a:pt x="11" y="5"/>
                  </a:lnTo>
                  <a:lnTo>
                    <a:pt x="8" y="3"/>
                  </a:lnTo>
                  <a:lnTo>
                    <a:pt x="7" y="0"/>
                  </a:lnTo>
                  <a:lnTo>
                    <a:pt x="4" y="5"/>
                  </a:lnTo>
                  <a:lnTo>
                    <a:pt x="2" y="13"/>
                  </a:lnTo>
                  <a:lnTo>
                    <a:pt x="1" y="21"/>
                  </a:lnTo>
                  <a:lnTo>
                    <a:pt x="2" y="24"/>
                  </a:lnTo>
                  <a:lnTo>
                    <a:pt x="4" y="28"/>
                  </a:lnTo>
                  <a:lnTo>
                    <a:pt x="6" y="32"/>
                  </a:lnTo>
                  <a:lnTo>
                    <a:pt x="6" y="37"/>
                  </a:lnTo>
                  <a:lnTo>
                    <a:pt x="4" y="40"/>
                  </a:lnTo>
                  <a:lnTo>
                    <a:pt x="2" y="42"/>
                  </a:lnTo>
                  <a:lnTo>
                    <a:pt x="0" y="45"/>
                  </a:lnTo>
                  <a:lnTo>
                    <a:pt x="0" y="47"/>
                  </a:lnTo>
                  <a:lnTo>
                    <a:pt x="3" y="48"/>
                  </a:lnTo>
                  <a:lnTo>
                    <a:pt x="13" y="49"/>
                  </a:lnTo>
                  <a:lnTo>
                    <a:pt x="17" y="48"/>
                  </a:lnTo>
                  <a:lnTo>
                    <a:pt x="21" y="43"/>
                  </a:lnTo>
                  <a:lnTo>
                    <a:pt x="22" y="37"/>
                  </a:lnTo>
                  <a:lnTo>
                    <a:pt x="20" y="31"/>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95" name="Freeform 30">
              <a:extLst>
                <a:ext uri="{FF2B5EF4-FFF2-40B4-BE49-F238E27FC236}">
                  <a16:creationId xmlns:a16="http://schemas.microsoft.com/office/drawing/2014/main" id="{293749A5-454A-40FF-B575-AEBB4BA758C5}"/>
                </a:ext>
              </a:extLst>
            </p:cNvPr>
            <p:cNvSpPr>
              <a:spLocks/>
            </p:cNvSpPr>
            <p:nvPr/>
          </p:nvSpPr>
          <p:spPr bwMode="gray">
            <a:xfrm>
              <a:off x="8985730" y="5009458"/>
              <a:ext cx="13712" cy="30539"/>
            </a:xfrm>
            <a:custGeom>
              <a:avLst/>
              <a:gdLst>
                <a:gd name="T0" fmla="*/ 20 w 22"/>
                <a:gd name="T1" fmla="*/ 31 h 49"/>
                <a:gd name="T2" fmla="*/ 17 w 22"/>
                <a:gd name="T3" fmla="*/ 26 h 49"/>
                <a:gd name="T4" fmla="*/ 12 w 22"/>
                <a:gd name="T5" fmla="*/ 23 h 49"/>
                <a:gd name="T6" fmla="*/ 12 w 22"/>
                <a:gd name="T7" fmla="*/ 21 h 49"/>
                <a:gd name="T8" fmla="*/ 13 w 22"/>
                <a:gd name="T9" fmla="*/ 17 h 49"/>
                <a:gd name="T10" fmla="*/ 14 w 22"/>
                <a:gd name="T11" fmla="*/ 16 h 49"/>
                <a:gd name="T12" fmla="*/ 12 w 22"/>
                <a:gd name="T13" fmla="*/ 12 h 49"/>
                <a:gd name="T14" fmla="*/ 11 w 22"/>
                <a:gd name="T15" fmla="*/ 10 h 49"/>
                <a:gd name="T16" fmla="*/ 10 w 22"/>
                <a:gd name="T17" fmla="*/ 8 h 49"/>
                <a:gd name="T18" fmla="*/ 11 w 22"/>
                <a:gd name="T19" fmla="*/ 5 h 49"/>
                <a:gd name="T20" fmla="*/ 8 w 22"/>
                <a:gd name="T21" fmla="*/ 3 h 49"/>
                <a:gd name="T22" fmla="*/ 7 w 22"/>
                <a:gd name="T23" fmla="*/ 0 h 49"/>
                <a:gd name="T24" fmla="*/ 4 w 22"/>
                <a:gd name="T25" fmla="*/ 5 h 49"/>
                <a:gd name="T26" fmla="*/ 2 w 22"/>
                <a:gd name="T27" fmla="*/ 13 h 49"/>
                <a:gd name="T28" fmla="*/ 1 w 22"/>
                <a:gd name="T29" fmla="*/ 21 h 49"/>
                <a:gd name="T30" fmla="*/ 2 w 22"/>
                <a:gd name="T31" fmla="*/ 24 h 49"/>
                <a:gd name="T32" fmla="*/ 4 w 22"/>
                <a:gd name="T33" fmla="*/ 28 h 49"/>
                <a:gd name="T34" fmla="*/ 6 w 22"/>
                <a:gd name="T35" fmla="*/ 32 h 49"/>
                <a:gd name="T36" fmla="*/ 6 w 22"/>
                <a:gd name="T37" fmla="*/ 37 h 49"/>
                <a:gd name="T38" fmla="*/ 4 w 22"/>
                <a:gd name="T39" fmla="*/ 40 h 49"/>
                <a:gd name="T40" fmla="*/ 2 w 22"/>
                <a:gd name="T41" fmla="*/ 42 h 49"/>
                <a:gd name="T42" fmla="*/ 0 w 22"/>
                <a:gd name="T43" fmla="*/ 45 h 49"/>
                <a:gd name="T44" fmla="*/ 0 w 22"/>
                <a:gd name="T45" fmla="*/ 47 h 49"/>
                <a:gd name="T46" fmla="*/ 3 w 22"/>
                <a:gd name="T47" fmla="*/ 48 h 49"/>
                <a:gd name="T48" fmla="*/ 13 w 22"/>
                <a:gd name="T49" fmla="*/ 49 h 49"/>
                <a:gd name="T50" fmla="*/ 17 w 22"/>
                <a:gd name="T51" fmla="*/ 48 h 49"/>
                <a:gd name="T52" fmla="*/ 21 w 22"/>
                <a:gd name="T53" fmla="*/ 43 h 49"/>
                <a:gd name="T54" fmla="*/ 22 w 22"/>
                <a:gd name="T55" fmla="*/ 37 h 49"/>
                <a:gd name="T56" fmla="*/ 20 w 22"/>
                <a:gd name="T57" fmla="*/ 3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 h="49">
                  <a:moveTo>
                    <a:pt x="20" y="31"/>
                  </a:moveTo>
                  <a:lnTo>
                    <a:pt x="17" y="26"/>
                  </a:lnTo>
                  <a:lnTo>
                    <a:pt x="12" y="23"/>
                  </a:lnTo>
                  <a:lnTo>
                    <a:pt x="12" y="21"/>
                  </a:lnTo>
                  <a:lnTo>
                    <a:pt x="13" y="17"/>
                  </a:lnTo>
                  <a:lnTo>
                    <a:pt x="14" y="16"/>
                  </a:lnTo>
                  <a:lnTo>
                    <a:pt x="12" y="12"/>
                  </a:lnTo>
                  <a:lnTo>
                    <a:pt x="11" y="10"/>
                  </a:lnTo>
                  <a:lnTo>
                    <a:pt x="10" y="8"/>
                  </a:lnTo>
                  <a:lnTo>
                    <a:pt x="11" y="5"/>
                  </a:lnTo>
                  <a:lnTo>
                    <a:pt x="8" y="3"/>
                  </a:lnTo>
                  <a:lnTo>
                    <a:pt x="7" y="0"/>
                  </a:lnTo>
                  <a:lnTo>
                    <a:pt x="4" y="5"/>
                  </a:lnTo>
                  <a:lnTo>
                    <a:pt x="2" y="13"/>
                  </a:lnTo>
                  <a:lnTo>
                    <a:pt x="1" y="21"/>
                  </a:lnTo>
                  <a:lnTo>
                    <a:pt x="2" y="24"/>
                  </a:lnTo>
                  <a:lnTo>
                    <a:pt x="4" y="28"/>
                  </a:lnTo>
                  <a:lnTo>
                    <a:pt x="6" y="32"/>
                  </a:lnTo>
                  <a:lnTo>
                    <a:pt x="6" y="37"/>
                  </a:lnTo>
                  <a:lnTo>
                    <a:pt x="4" y="40"/>
                  </a:lnTo>
                  <a:lnTo>
                    <a:pt x="2" y="42"/>
                  </a:lnTo>
                  <a:lnTo>
                    <a:pt x="0" y="45"/>
                  </a:lnTo>
                  <a:lnTo>
                    <a:pt x="0" y="47"/>
                  </a:lnTo>
                  <a:lnTo>
                    <a:pt x="3" y="48"/>
                  </a:lnTo>
                  <a:lnTo>
                    <a:pt x="13" y="49"/>
                  </a:lnTo>
                  <a:lnTo>
                    <a:pt x="17" y="48"/>
                  </a:lnTo>
                  <a:lnTo>
                    <a:pt x="21" y="43"/>
                  </a:lnTo>
                  <a:lnTo>
                    <a:pt x="22" y="37"/>
                  </a:lnTo>
                  <a:lnTo>
                    <a:pt x="20" y="31"/>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96" name="Freeform 31">
              <a:extLst>
                <a:ext uri="{FF2B5EF4-FFF2-40B4-BE49-F238E27FC236}">
                  <a16:creationId xmlns:a16="http://schemas.microsoft.com/office/drawing/2014/main" id="{8BF62927-B85A-4ECE-9247-C88CF9A48D56}"/>
                </a:ext>
              </a:extLst>
            </p:cNvPr>
            <p:cNvSpPr>
              <a:spLocks/>
            </p:cNvSpPr>
            <p:nvPr/>
          </p:nvSpPr>
          <p:spPr bwMode="gray">
            <a:xfrm>
              <a:off x="10122550" y="3238787"/>
              <a:ext cx="717369" cy="435033"/>
            </a:xfrm>
            <a:custGeom>
              <a:avLst/>
              <a:gdLst>
                <a:gd name="T0" fmla="*/ 1131 w 1151"/>
                <a:gd name="T1" fmla="*/ 464 h 698"/>
                <a:gd name="T2" fmla="*/ 1116 w 1151"/>
                <a:gd name="T3" fmla="*/ 431 h 698"/>
                <a:gd name="T4" fmla="*/ 1102 w 1151"/>
                <a:gd name="T5" fmla="*/ 369 h 698"/>
                <a:gd name="T6" fmla="*/ 1060 w 1151"/>
                <a:gd name="T7" fmla="*/ 352 h 698"/>
                <a:gd name="T8" fmla="*/ 1072 w 1151"/>
                <a:gd name="T9" fmla="*/ 294 h 698"/>
                <a:gd name="T10" fmla="*/ 1091 w 1151"/>
                <a:gd name="T11" fmla="*/ 232 h 698"/>
                <a:gd name="T12" fmla="*/ 1041 w 1151"/>
                <a:gd name="T13" fmla="*/ 180 h 698"/>
                <a:gd name="T14" fmla="*/ 958 w 1151"/>
                <a:gd name="T15" fmla="*/ 141 h 698"/>
                <a:gd name="T16" fmla="*/ 932 w 1151"/>
                <a:gd name="T17" fmla="*/ 138 h 698"/>
                <a:gd name="T18" fmla="*/ 894 w 1151"/>
                <a:gd name="T19" fmla="*/ 160 h 698"/>
                <a:gd name="T20" fmla="*/ 878 w 1151"/>
                <a:gd name="T21" fmla="*/ 166 h 698"/>
                <a:gd name="T22" fmla="*/ 826 w 1151"/>
                <a:gd name="T23" fmla="*/ 110 h 698"/>
                <a:gd name="T24" fmla="*/ 801 w 1151"/>
                <a:gd name="T25" fmla="*/ 69 h 698"/>
                <a:gd name="T26" fmla="*/ 743 w 1151"/>
                <a:gd name="T27" fmla="*/ 48 h 698"/>
                <a:gd name="T28" fmla="*/ 726 w 1151"/>
                <a:gd name="T29" fmla="*/ 33 h 698"/>
                <a:gd name="T30" fmla="*/ 691 w 1151"/>
                <a:gd name="T31" fmla="*/ 11 h 698"/>
                <a:gd name="T32" fmla="*/ 685 w 1151"/>
                <a:gd name="T33" fmla="*/ 20 h 698"/>
                <a:gd name="T34" fmla="*/ 655 w 1151"/>
                <a:gd name="T35" fmla="*/ 2 h 698"/>
                <a:gd name="T36" fmla="*/ 611 w 1151"/>
                <a:gd name="T37" fmla="*/ 29 h 698"/>
                <a:gd name="T38" fmla="*/ 566 w 1151"/>
                <a:gd name="T39" fmla="*/ 38 h 698"/>
                <a:gd name="T40" fmla="*/ 528 w 1151"/>
                <a:gd name="T41" fmla="*/ 64 h 698"/>
                <a:gd name="T42" fmla="*/ 541 w 1151"/>
                <a:gd name="T43" fmla="*/ 137 h 698"/>
                <a:gd name="T44" fmla="*/ 545 w 1151"/>
                <a:gd name="T45" fmla="*/ 241 h 698"/>
                <a:gd name="T46" fmla="*/ 515 w 1151"/>
                <a:gd name="T47" fmla="*/ 281 h 698"/>
                <a:gd name="T48" fmla="*/ 460 w 1151"/>
                <a:gd name="T49" fmla="*/ 320 h 698"/>
                <a:gd name="T50" fmla="*/ 377 w 1151"/>
                <a:gd name="T51" fmla="*/ 300 h 698"/>
                <a:gd name="T52" fmla="*/ 352 w 1151"/>
                <a:gd name="T53" fmla="*/ 236 h 698"/>
                <a:gd name="T54" fmla="*/ 336 w 1151"/>
                <a:gd name="T55" fmla="*/ 206 h 698"/>
                <a:gd name="T56" fmla="*/ 259 w 1151"/>
                <a:gd name="T57" fmla="*/ 98 h 698"/>
                <a:gd name="T58" fmla="*/ 247 w 1151"/>
                <a:gd name="T59" fmla="*/ 97 h 698"/>
                <a:gd name="T60" fmla="*/ 87 w 1151"/>
                <a:gd name="T61" fmla="*/ 203 h 698"/>
                <a:gd name="T62" fmla="*/ 70 w 1151"/>
                <a:gd name="T63" fmla="*/ 265 h 698"/>
                <a:gd name="T64" fmla="*/ 57 w 1151"/>
                <a:gd name="T65" fmla="*/ 324 h 698"/>
                <a:gd name="T66" fmla="*/ 13 w 1151"/>
                <a:gd name="T67" fmla="*/ 367 h 698"/>
                <a:gd name="T68" fmla="*/ 4 w 1151"/>
                <a:gd name="T69" fmla="*/ 447 h 698"/>
                <a:gd name="T70" fmla="*/ 15 w 1151"/>
                <a:gd name="T71" fmla="*/ 463 h 698"/>
                <a:gd name="T72" fmla="*/ 15 w 1151"/>
                <a:gd name="T73" fmla="*/ 494 h 698"/>
                <a:gd name="T74" fmla="*/ 10 w 1151"/>
                <a:gd name="T75" fmla="*/ 461 h 698"/>
                <a:gd name="T76" fmla="*/ 5 w 1151"/>
                <a:gd name="T77" fmla="*/ 483 h 698"/>
                <a:gd name="T78" fmla="*/ 2 w 1151"/>
                <a:gd name="T79" fmla="*/ 524 h 698"/>
                <a:gd name="T80" fmla="*/ 14 w 1151"/>
                <a:gd name="T81" fmla="*/ 583 h 698"/>
                <a:gd name="T82" fmla="*/ 57 w 1151"/>
                <a:gd name="T83" fmla="*/ 540 h 698"/>
                <a:gd name="T84" fmla="*/ 179 w 1151"/>
                <a:gd name="T85" fmla="*/ 485 h 698"/>
                <a:gd name="T86" fmla="*/ 267 w 1151"/>
                <a:gd name="T87" fmla="*/ 503 h 698"/>
                <a:gd name="T88" fmla="*/ 325 w 1151"/>
                <a:gd name="T89" fmla="*/ 512 h 698"/>
                <a:gd name="T90" fmla="*/ 399 w 1151"/>
                <a:gd name="T91" fmla="*/ 510 h 698"/>
                <a:gd name="T92" fmla="*/ 437 w 1151"/>
                <a:gd name="T93" fmla="*/ 509 h 698"/>
                <a:gd name="T94" fmla="*/ 503 w 1151"/>
                <a:gd name="T95" fmla="*/ 531 h 698"/>
                <a:gd name="T96" fmla="*/ 567 w 1151"/>
                <a:gd name="T97" fmla="*/ 522 h 698"/>
                <a:gd name="T98" fmla="*/ 616 w 1151"/>
                <a:gd name="T99" fmla="*/ 486 h 698"/>
                <a:gd name="T100" fmla="*/ 637 w 1151"/>
                <a:gd name="T101" fmla="*/ 521 h 698"/>
                <a:gd name="T102" fmla="*/ 731 w 1151"/>
                <a:gd name="T103" fmla="*/ 563 h 698"/>
                <a:gd name="T104" fmla="*/ 766 w 1151"/>
                <a:gd name="T105" fmla="*/ 592 h 698"/>
                <a:gd name="T106" fmla="*/ 853 w 1151"/>
                <a:gd name="T107" fmla="*/ 684 h 698"/>
                <a:gd name="T108" fmla="*/ 929 w 1151"/>
                <a:gd name="T109" fmla="*/ 687 h 698"/>
                <a:gd name="T110" fmla="*/ 995 w 1151"/>
                <a:gd name="T111" fmla="*/ 661 h 698"/>
                <a:gd name="T112" fmla="*/ 1051 w 1151"/>
                <a:gd name="T113" fmla="*/ 662 h 698"/>
                <a:gd name="T114" fmla="*/ 1097 w 1151"/>
                <a:gd name="T115" fmla="*/ 586 h 698"/>
                <a:gd name="T116" fmla="*/ 1127 w 1151"/>
                <a:gd name="T117" fmla="*/ 562 h 698"/>
                <a:gd name="T118" fmla="*/ 1150 w 1151"/>
                <a:gd name="T119" fmla="*/ 531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51" h="698">
                  <a:moveTo>
                    <a:pt x="1150" y="524"/>
                  </a:moveTo>
                  <a:lnTo>
                    <a:pt x="1144" y="504"/>
                  </a:lnTo>
                  <a:lnTo>
                    <a:pt x="1143" y="499"/>
                  </a:lnTo>
                  <a:lnTo>
                    <a:pt x="1142" y="492"/>
                  </a:lnTo>
                  <a:lnTo>
                    <a:pt x="1143" y="482"/>
                  </a:lnTo>
                  <a:lnTo>
                    <a:pt x="1142" y="479"/>
                  </a:lnTo>
                  <a:lnTo>
                    <a:pt x="1141" y="477"/>
                  </a:lnTo>
                  <a:lnTo>
                    <a:pt x="1133" y="466"/>
                  </a:lnTo>
                  <a:lnTo>
                    <a:pt x="1131" y="464"/>
                  </a:lnTo>
                  <a:lnTo>
                    <a:pt x="1131" y="461"/>
                  </a:lnTo>
                  <a:lnTo>
                    <a:pt x="1132" y="457"/>
                  </a:lnTo>
                  <a:lnTo>
                    <a:pt x="1136" y="454"/>
                  </a:lnTo>
                  <a:lnTo>
                    <a:pt x="1137" y="451"/>
                  </a:lnTo>
                  <a:lnTo>
                    <a:pt x="1136" y="448"/>
                  </a:lnTo>
                  <a:lnTo>
                    <a:pt x="1133" y="445"/>
                  </a:lnTo>
                  <a:lnTo>
                    <a:pt x="1121" y="439"/>
                  </a:lnTo>
                  <a:lnTo>
                    <a:pt x="1118" y="436"/>
                  </a:lnTo>
                  <a:lnTo>
                    <a:pt x="1116" y="431"/>
                  </a:lnTo>
                  <a:lnTo>
                    <a:pt x="1115" y="425"/>
                  </a:lnTo>
                  <a:lnTo>
                    <a:pt x="1115" y="412"/>
                  </a:lnTo>
                  <a:lnTo>
                    <a:pt x="1113" y="407"/>
                  </a:lnTo>
                  <a:lnTo>
                    <a:pt x="1097" y="396"/>
                  </a:lnTo>
                  <a:lnTo>
                    <a:pt x="1095" y="391"/>
                  </a:lnTo>
                  <a:lnTo>
                    <a:pt x="1096" y="387"/>
                  </a:lnTo>
                  <a:lnTo>
                    <a:pt x="1100" y="380"/>
                  </a:lnTo>
                  <a:lnTo>
                    <a:pt x="1103" y="373"/>
                  </a:lnTo>
                  <a:lnTo>
                    <a:pt x="1102" y="369"/>
                  </a:lnTo>
                  <a:lnTo>
                    <a:pt x="1099" y="366"/>
                  </a:lnTo>
                  <a:lnTo>
                    <a:pt x="1093" y="359"/>
                  </a:lnTo>
                  <a:lnTo>
                    <a:pt x="1089" y="356"/>
                  </a:lnTo>
                  <a:lnTo>
                    <a:pt x="1082" y="354"/>
                  </a:lnTo>
                  <a:lnTo>
                    <a:pt x="1076" y="356"/>
                  </a:lnTo>
                  <a:lnTo>
                    <a:pt x="1062" y="363"/>
                  </a:lnTo>
                  <a:lnTo>
                    <a:pt x="1060" y="363"/>
                  </a:lnTo>
                  <a:lnTo>
                    <a:pt x="1057" y="362"/>
                  </a:lnTo>
                  <a:lnTo>
                    <a:pt x="1060" y="352"/>
                  </a:lnTo>
                  <a:lnTo>
                    <a:pt x="1071" y="329"/>
                  </a:lnTo>
                  <a:lnTo>
                    <a:pt x="1071" y="326"/>
                  </a:lnTo>
                  <a:lnTo>
                    <a:pt x="1072" y="320"/>
                  </a:lnTo>
                  <a:lnTo>
                    <a:pt x="1072" y="317"/>
                  </a:lnTo>
                  <a:lnTo>
                    <a:pt x="1073" y="314"/>
                  </a:lnTo>
                  <a:lnTo>
                    <a:pt x="1076" y="308"/>
                  </a:lnTo>
                  <a:lnTo>
                    <a:pt x="1076" y="304"/>
                  </a:lnTo>
                  <a:lnTo>
                    <a:pt x="1076" y="297"/>
                  </a:lnTo>
                  <a:lnTo>
                    <a:pt x="1072" y="294"/>
                  </a:lnTo>
                  <a:lnTo>
                    <a:pt x="1068" y="292"/>
                  </a:lnTo>
                  <a:lnTo>
                    <a:pt x="1066" y="287"/>
                  </a:lnTo>
                  <a:lnTo>
                    <a:pt x="1069" y="282"/>
                  </a:lnTo>
                  <a:lnTo>
                    <a:pt x="1083" y="275"/>
                  </a:lnTo>
                  <a:lnTo>
                    <a:pt x="1088" y="270"/>
                  </a:lnTo>
                  <a:lnTo>
                    <a:pt x="1090" y="264"/>
                  </a:lnTo>
                  <a:lnTo>
                    <a:pt x="1091" y="255"/>
                  </a:lnTo>
                  <a:lnTo>
                    <a:pt x="1092" y="239"/>
                  </a:lnTo>
                  <a:lnTo>
                    <a:pt x="1091" y="232"/>
                  </a:lnTo>
                  <a:lnTo>
                    <a:pt x="1089" y="228"/>
                  </a:lnTo>
                  <a:lnTo>
                    <a:pt x="1086" y="225"/>
                  </a:lnTo>
                  <a:lnTo>
                    <a:pt x="1070" y="215"/>
                  </a:lnTo>
                  <a:lnTo>
                    <a:pt x="1068" y="213"/>
                  </a:lnTo>
                  <a:lnTo>
                    <a:pt x="1059" y="203"/>
                  </a:lnTo>
                  <a:lnTo>
                    <a:pt x="1042" y="195"/>
                  </a:lnTo>
                  <a:lnTo>
                    <a:pt x="1039" y="191"/>
                  </a:lnTo>
                  <a:lnTo>
                    <a:pt x="1039" y="186"/>
                  </a:lnTo>
                  <a:lnTo>
                    <a:pt x="1041" y="180"/>
                  </a:lnTo>
                  <a:lnTo>
                    <a:pt x="1040" y="173"/>
                  </a:lnTo>
                  <a:lnTo>
                    <a:pt x="1041" y="162"/>
                  </a:lnTo>
                  <a:lnTo>
                    <a:pt x="1013" y="162"/>
                  </a:lnTo>
                  <a:lnTo>
                    <a:pt x="1008" y="166"/>
                  </a:lnTo>
                  <a:lnTo>
                    <a:pt x="984" y="157"/>
                  </a:lnTo>
                  <a:lnTo>
                    <a:pt x="971" y="156"/>
                  </a:lnTo>
                  <a:lnTo>
                    <a:pt x="967" y="154"/>
                  </a:lnTo>
                  <a:lnTo>
                    <a:pt x="964" y="150"/>
                  </a:lnTo>
                  <a:lnTo>
                    <a:pt x="958" y="141"/>
                  </a:lnTo>
                  <a:lnTo>
                    <a:pt x="954" y="138"/>
                  </a:lnTo>
                  <a:lnTo>
                    <a:pt x="949" y="136"/>
                  </a:lnTo>
                  <a:lnTo>
                    <a:pt x="946" y="136"/>
                  </a:lnTo>
                  <a:lnTo>
                    <a:pt x="944" y="137"/>
                  </a:lnTo>
                  <a:lnTo>
                    <a:pt x="941" y="136"/>
                  </a:lnTo>
                  <a:lnTo>
                    <a:pt x="939" y="134"/>
                  </a:lnTo>
                  <a:lnTo>
                    <a:pt x="937" y="133"/>
                  </a:lnTo>
                  <a:lnTo>
                    <a:pt x="934" y="134"/>
                  </a:lnTo>
                  <a:lnTo>
                    <a:pt x="932" y="138"/>
                  </a:lnTo>
                  <a:lnTo>
                    <a:pt x="930" y="142"/>
                  </a:lnTo>
                  <a:lnTo>
                    <a:pt x="928" y="147"/>
                  </a:lnTo>
                  <a:lnTo>
                    <a:pt x="925" y="149"/>
                  </a:lnTo>
                  <a:lnTo>
                    <a:pt x="922" y="150"/>
                  </a:lnTo>
                  <a:lnTo>
                    <a:pt x="910" y="149"/>
                  </a:lnTo>
                  <a:lnTo>
                    <a:pt x="905" y="151"/>
                  </a:lnTo>
                  <a:lnTo>
                    <a:pt x="899" y="154"/>
                  </a:lnTo>
                  <a:lnTo>
                    <a:pt x="895" y="158"/>
                  </a:lnTo>
                  <a:lnTo>
                    <a:pt x="894" y="160"/>
                  </a:lnTo>
                  <a:lnTo>
                    <a:pt x="893" y="162"/>
                  </a:lnTo>
                  <a:lnTo>
                    <a:pt x="892" y="164"/>
                  </a:lnTo>
                  <a:lnTo>
                    <a:pt x="891" y="165"/>
                  </a:lnTo>
                  <a:lnTo>
                    <a:pt x="889" y="165"/>
                  </a:lnTo>
                  <a:lnTo>
                    <a:pt x="886" y="162"/>
                  </a:lnTo>
                  <a:lnTo>
                    <a:pt x="885" y="162"/>
                  </a:lnTo>
                  <a:lnTo>
                    <a:pt x="883" y="163"/>
                  </a:lnTo>
                  <a:lnTo>
                    <a:pt x="880" y="165"/>
                  </a:lnTo>
                  <a:lnTo>
                    <a:pt x="878" y="166"/>
                  </a:lnTo>
                  <a:lnTo>
                    <a:pt x="875" y="162"/>
                  </a:lnTo>
                  <a:lnTo>
                    <a:pt x="870" y="155"/>
                  </a:lnTo>
                  <a:lnTo>
                    <a:pt x="867" y="152"/>
                  </a:lnTo>
                  <a:lnTo>
                    <a:pt x="867" y="152"/>
                  </a:lnTo>
                  <a:lnTo>
                    <a:pt x="855" y="147"/>
                  </a:lnTo>
                  <a:lnTo>
                    <a:pt x="852" y="146"/>
                  </a:lnTo>
                  <a:lnTo>
                    <a:pt x="846" y="141"/>
                  </a:lnTo>
                  <a:lnTo>
                    <a:pt x="841" y="135"/>
                  </a:lnTo>
                  <a:lnTo>
                    <a:pt x="826" y="110"/>
                  </a:lnTo>
                  <a:lnTo>
                    <a:pt x="820" y="104"/>
                  </a:lnTo>
                  <a:lnTo>
                    <a:pt x="802" y="89"/>
                  </a:lnTo>
                  <a:lnTo>
                    <a:pt x="801" y="85"/>
                  </a:lnTo>
                  <a:lnTo>
                    <a:pt x="801" y="79"/>
                  </a:lnTo>
                  <a:lnTo>
                    <a:pt x="801" y="77"/>
                  </a:lnTo>
                  <a:lnTo>
                    <a:pt x="802" y="75"/>
                  </a:lnTo>
                  <a:lnTo>
                    <a:pt x="803" y="73"/>
                  </a:lnTo>
                  <a:lnTo>
                    <a:pt x="802" y="70"/>
                  </a:lnTo>
                  <a:lnTo>
                    <a:pt x="801" y="69"/>
                  </a:lnTo>
                  <a:lnTo>
                    <a:pt x="799" y="68"/>
                  </a:lnTo>
                  <a:lnTo>
                    <a:pt x="766" y="65"/>
                  </a:lnTo>
                  <a:lnTo>
                    <a:pt x="762" y="61"/>
                  </a:lnTo>
                  <a:lnTo>
                    <a:pt x="760" y="55"/>
                  </a:lnTo>
                  <a:lnTo>
                    <a:pt x="758" y="49"/>
                  </a:lnTo>
                  <a:lnTo>
                    <a:pt x="756" y="45"/>
                  </a:lnTo>
                  <a:lnTo>
                    <a:pt x="753" y="45"/>
                  </a:lnTo>
                  <a:lnTo>
                    <a:pt x="752" y="45"/>
                  </a:lnTo>
                  <a:lnTo>
                    <a:pt x="743" y="48"/>
                  </a:lnTo>
                  <a:lnTo>
                    <a:pt x="739" y="49"/>
                  </a:lnTo>
                  <a:lnTo>
                    <a:pt x="735" y="48"/>
                  </a:lnTo>
                  <a:lnTo>
                    <a:pt x="732" y="46"/>
                  </a:lnTo>
                  <a:lnTo>
                    <a:pt x="729" y="42"/>
                  </a:lnTo>
                  <a:lnTo>
                    <a:pt x="728" y="39"/>
                  </a:lnTo>
                  <a:lnTo>
                    <a:pt x="728" y="37"/>
                  </a:lnTo>
                  <a:lnTo>
                    <a:pt x="728" y="37"/>
                  </a:lnTo>
                  <a:lnTo>
                    <a:pt x="727" y="35"/>
                  </a:lnTo>
                  <a:lnTo>
                    <a:pt x="726" y="33"/>
                  </a:lnTo>
                  <a:lnTo>
                    <a:pt x="724" y="32"/>
                  </a:lnTo>
                  <a:lnTo>
                    <a:pt x="719" y="31"/>
                  </a:lnTo>
                  <a:lnTo>
                    <a:pt x="713" y="27"/>
                  </a:lnTo>
                  <a:lnTo>
                    <a:pt x="703" y="15"/>
                  </a:lnTo>
                  <a:lnTo>
                    <a:pt x="696" y="11"/>
                  </a:lnTo>
                  <a:lnTo>
                    <a:pt x="695" y="12"/>
                  </a:lnTo>
                  <a:lnTo>
                    <a:pt x="694" y="12"/>
                  </a:lnTo>
                  <a:lnTo>
                    <a:pt x="693" y="12"/>
                  </a:lnTo>
                  <a:lnTo>
                    <a:pt x="691" y="11"/>
                  </a:lnTo>
                  <a:lnTo>
                    <a:pt x="690" y="10"/>
                  </a:lnTo>
                  <a:lnTo>
                    <a:pt x="689" y="4"/>
                  </a:lnTo>
                  <a:lnTo>
                    <a:pt x="688" y="2"/>
                  </a:lnTo>
                  <a:lnTo>
                    <a:pt x="685" y="0"/>
                  </a:lnTo>
                  <a:lnTo>
                    <a:pt x="682" y="0"/>
                  </a:lnTo>
                  <a:lnTo>
                    <a:pt x="680" y="1"/>
                  </a:lnTo>
                  <a:lnTo>
                    <a:pt x="680" y="7"/>
                  </a:lnTo>
                  <a:lnTo>
                    <a:pt x="684" y="15"/>
                  </a:lnTo>
                  <a:lnTo>
                    <a:pt x="685" y="20"/>
                  </a:lnTo>
                  <a:lnTo>
                    <a:pt x="682" y="24"/>
                  </a:lnTo>
                  <a:lnTo>
                    <a:pt x="677" y="26"/>
                  </a:lnTo>
                  <a:lnTo>
                    <a:pt x="674" y="26"/>
                  </a:lnTo>
                  <a:lnTo>
                    <a:pt x="672" y="24"/>
                  </a:lnTo>
                  <a:lnTo>
                    <a:pt x="670" y="18"/>
                  </a:lnTo>
                  <a:lnTo>
                    <a:pt x="669" y="10"/>
                  </a:lnTo>
                  <a:lnTo>
                    <a:pt x="666" y="4"/>
                  </a:lnTo>
                  <a:lnTo>
                    <a:pt x="662" y="1"/>
                  </a:lnTo>
                  <a:lnTo>
                    <a:pt x="655" y="2"/>
                  </a:lnTo>
                  <a:lnTo>
                    <a:pt x="651" y="3"/>
                  </a:lnTo>
                  <a:lnTo>
                    <a:pt x="648" y="5"/>
                  </a:lnTo>
                  <a:lnTo>
                    <a:pt x="646" y="7"/>
                  </a:lnTo>
                  <a:lnTo>
                    <a:pt x="636" y="17"/>
                  </a:lnTo>
                  <a:lnTo>
                    <a:pt x="632" y="20"/>
                  </a:lnTo>
                  <a:lnTo>
                    <a:pt x="620" y="22"/>
                  </a:lnTo>
                  <a:lnTo>
                    <a:pt x="616" y="24"/>
                  </a:lnTo>
                  <a:lnTo>
                    <a:pt x="612" y="27"/>
                  </a:lnTo>
                  <a:lnTo>
                    <a:pt x="611" y="29"/>
                  </a:lnTo>
                  <a:lnTo>
                    <a:pt x="607" y="28"/>
                  </a:lnTo>
                  <a:lnTo>
                    <a:pt x="602" y="25"/>
                  </a:lnTo>
                  <a:lnTo>
                    <a:pt x="598" y="24"/>
                  </a:lnTo>
                  <a:lnTo>
                    <a:pt x="595" y="27"/>
                  </a:lnTo>
                  <a:lnTo>
                    <a:pt x="592" y="35"/>
                  </a:lnTo>
                  <a:lnTo>
                    <a:pt x="590" y="38"/>
                  </a:lnTo>
                  <a:lnTo>
                    <a:pt x="580" y="39"/>
                  </a:lnTo>
                  <a:lnTo>
                    <a:pt x="569" y="38"/>
                  </a:lnTo>
                  <a:lnTo>
                    <a:pt x="566" y="38"/>
                  </a:lnTo>
                  <a:lnTo>
                    <a:pt x="558" y="46"/>
                  </a:lnTo>
                  <a:lnTo>
                    <a:pt x="551" y="49"/>
                  </a:lnTo>
                  <a:lnTo>
                    <a:pt x="549" y="52"/>
                  </a:lnTo>
                  <a:lnTo>
                    <a:pt x="547" y="59"/>
                  </a:lnTo>
                  <a:lnTo>
                    <a:pt x="545" y="62"/>
                  </a:lnTo>
                  <a:lnTo>
                    <a:pt x="541" y="64"/>
                  </a:lnTo>
                  <a:lnTo>
                    <a:pt x="537" y="64"/>
                  </a:lnTo>
                  <a:lnTo>
                    <a:pt x="530" y="61"/>
                  </a:lnTo>
                  <a:lnTo>
                    <a:pt x="528" y="64"/>
                  </a:lnTo>
                  <a:lnTo>
                    <a:pt x="527" y="68"/>
                  </a:lnTo>
                  <a:lnTo>
                    <a:pt x="527" y="72"/>
                  </a:lnTo>
                  <a:lnTo>
                    <a:pt x="527" y="79"/>
                  </a:lnTo>
                  <a:lnTo>
                    <a:pt x="529" y="93"/>
                  </a:lnTo>
                  <a:lnTo>
                    <a:pt x="529" y="98"/>
                  </a:lnTo>
                  <a:lnTo>
                    <a:pt x="531" y="104"/>
                  </a:lnTo>
                  <a:lnTo>
                    <a:pt x="538" y="116"/>
                  </a:lnTo>
                  <a:lnTo>
                    <a:pt x="539" y="119"/>
                  </a:lnTo>
                  <a:lnTo>
                    <a:pt x="541" y="137"/>
                  </a:lnTo>
                  <a:lnTo>
                    <a:pt x="539" y="148"/>
                  </a:lnTo>
                  <a:lnTo>
                    <a:pt x="538" y="156"/>
                  </a:lnTo>
                  <a:lnTo>
                    <a:pt x="539" y="159"/>
                  </a:lnTo>
                  <a:lnTo>
                    <a:pt x="541" y="162"/>
                  </a:lnTo>
                  <a:lnTo>
                    <a:pt x="542" y="168"/>
                  </a:lnTo>
                  <a:lnTo>
                    <a:pt x="542" y="179"/>
                  </a:lnTo>
                  <a:lnTo>
                    <a:pt x="546" y="216"/>
                  </a:lnTo>
                  <a:lnTo>
                    <a:pt x="546" y="230"/>
                  </a:lnTo>
                  <a:lnTo>
                    <a:pt x="545" y="241"/>
                  </a:lnTo>
                  <a:lnTo>
                    <a:pt x="541" y="250"/>
                  </a:lnTo>
                  <a:lnTo>
                    <a:pt x="531" y="262"/>
                  </a:lnTo>
                  <a:lnTo>
                    <a:pt x="527" y="264"/>
                  </a:lnTo>
                  <a:lnTo>
                    <a:pt x="525" y="267"/>
                  </a:lnTo>
                  <a:lnTo>
                    <a:pt x="525" y="270"/>
                  </a:lnTo>
                  <a:lnTo>
                    <a:pt x="523" y="271"/>
                  </a:lnTo>
                  <a:lnTo>
                    <a:pt x="519" y="273"/>
                  </a:lnTo>
                  <a:lnTo>
                    <a:pt x="516" y="277"/>
                  </a:lnTo>
                  <a:lnTo>
                    <a:pt x="515" y="281"/>
                  </a:lnTo>
                  <a:lnTo>
                    <a:pt x="499" y="291"/>
                  </a:lnTo>
                  <a:lnTo>
                    <a:pt x="493" y="295"/>
                  </a:lnTo>
                  <a:lnTo>
                    <a:pt x="487" y="297"/>
                  </a:lnTo>
                  <a:lnTo>
                    <a:pt x="485" y="299"/>
                  </a:lnTo>
                  <a:lnTo>
                    <a:pt x="483" y="303"/>
                  </a:lnTo>
                  <a:lnTo>
                    <a:pt x="480" y="308"/>
                  </a:lnTo>
                  <a:lnTo>
                    <a:pt x="474" y="313"/>
                  </a:lnTo>
                  <a:lnTo>
                    <a:pt x="470" y="315"/>
                  </a:lnTo>
                  <a:lnTo>
                    <a:pt x="460" y="320"/>
                  </a:lnTo>
                  <a:lnTo>
                    <a:pt x="433" y="326"/>
                  </a:lnTo>
                  <a:lnTo>
                    <a:pt x="423" y="325"/>
                  </a:lnTo>
                  <a:lnTo>
                    <a:pt x="415" y="323"/>
                  </a:lnTo>
                  <a:lnTo>
                    <a:pt x="414" y="322"/>
                  </a:lnTo>
                  <a:lnTo>
                    <a:pt x="413" y="321"/>
                  </a:lnTo>
                  <a:lnTo>
                    <a:pt x="405" y="309"/>
                  </a:lnTo>
                  <a:lnTo>
                    <a:pt x="403" y="308"/>
                  </a:lnTo>
                  <a:lnTo>
                    <a:pt x="390" y="305"/>
                  </a:lnTo>
                  <a:lnTo>
                    <a:pt x="377" y="300"/>
                  </a:lnTo>
                  <a:lnTo>
                    <a:pt x="369" y="291"/>
                  </a:lnTo>
                  <a:lnTo>
                    <a:pt x="366" y="290"/>
                  </a:lnTo>
                  <a:lnTo>
                    <a:pt x="364" y="288"/>
                  </a:lnTo>
                  <a:lnTo>
                    <a:pt x="362" y="284"/>
                  </a:lnTo>
                  <a:lnTo>
                    <a:pt x="358" y="256"/>
                  </a:lnTo>
                  <a:lnTo>
                    <a:pt x="356" y="254"/>
                  </a:lnTo>
                  <a:lnTo>
                    <a:pt x="354" y="251"/>
                  </a:lnTo>
                  <a:lnTo>
                    <a:pt x="353" y="246"/>
                  </a:lnTo>
                  <a:lnTo>
                    <a:pt x="352" y="236"/>
                  </a:lnTo>
                  <a:lnTo>
                    <a:pt x="350" y="230"/>
                  </a:lnTo>
                  <a:lnTo>
                    <a:pt x="348" y="225"/>
                  </a:lnTo>
                  <a:lnTo>
                    <a:pt x="348" y="224"/>
                  </a:lnTo>
                  <a:lnTo>
                    <a:pt x="344" y="216"/>
                  </a:lnTo>
                  <a:lnTo>
                    <a:pt x="344" y="214"/>
                  </a:lnTo>
                  <a:lnTo>
                    <a:pt x="344" y="211"/>
                  </a:lnTo>
                  <a:lnTo>
                    <a:pt x="343" y="208"/>
                  </a:lnTo>
                  <a:lnTo>
                    <a:pt x="341" y="207"/>
                  </a:lnTo>
                  <a:lnTo>
                    <a:pt x="336" y="206"/>
                  </a:lnTo>
                  <a:lnTo>
                    <a:pt x="328" y="201"/>
                  </a:lnTo>
                  <a:lnTo>
                    <a:pt x="315" y="190"/>
                  </a:lnTo>
                  <a:lnTo>
                    <a:pt x="303" y="176"/>
                  </a:lnTo>
                  <a:lnTo>
                    <a:pt x="268" y="145"/>
                  </a:lnTo>
                  <a:lnTo>
                    <a:pt x="259" y="132"/>
                  </a:lnTo>
                  <a:lnTo>
                    <a:pt x="258" y="127"/>
                  </a:lnTo>
                  <a:lnTo>
                    <a:pt x="257" y="122"/>
                  </a:lnTo>
                  <a:lnTo>
                    <a:pt x="258" y="109"/>
                  </a:lnTo>
                  <a:lnTo>
                    <a:pt x="259" y="98"/>
                  </a:lnTo>
                  <a:lnTo>
                    <a:pt x="260" y="96"/>
                  </a:lnTo>
                  <a:lnTo>
                    <a:pt x="260" y="95"/>
                  </a:lnTo>
                  <a:lnTo>
                    <a:pt x="261" y="95"/>
                  </a:lnTo>
                  <a:lnTo>
                    <a:pt x="259" y="94"/>
                  </a:lnTo>
                  <a:lnTo>
                    <a:pt x="257" y="93"/>
                  </a:lnTo>
                  <a:lnTo>
                    <a:pt x="255" y="94"/>
                  </a:lnTo>
                  <a:lnTo>
                    <a:pt x="253" y="96"/>
                  </a:lnTo>
                  <a:lnTo>
                    <a:pt x="251" y="96"/>
                  </a:lnTo>
                  <a:lnTo>
                    <a:pt x="247" y="97"/>
                  </a:lnTo>
                  <a:lnTo>
                    <a:pt x="240" y="98"/>
                  </a:lnTo>
                  <a:lnTo>
                    <a:pt x="195" y="124"/>
                  </a:lnTo>
                  <a:lnTo>
                    <a:pt x="164" y="141"/>
                  </a:lnTo>
                  <a:lnTo>
                    <a:pt x="157" y="143"/>
                  </a:lnTo>
                  <a:lnTo>
                    <a:pt x="128" y="145"/>
                  </a:lnTo>
                  <a:lnTo>
                    <a:pt x="121" y="149"/>
                  </a:lnTo>
                  <a:lnTo>
                    <a:pt x="116" y="154"/>
                  </a:lnTo>
                  <a:lnTo>
                    <a:pt x="98" y="188"/>
                  </a:lnTo>
                  <a:lnTo>
                    <a:pt x="87" y="203"/>
                  </a:lnTo>
                  <a:lnTo>
                    <a:pt x="81" y="219"/>
                  </a:lnTo>
                  <a:lnTo>
                    <a:pt x="79" y="222"/>
                  </a:lnTo>
                  <a:lnTo>
                    <a:pt x="76" y="223"/>
                  </a:lnTo>
                  <a:lnTo>
                    <a:pt x="74" y="227"/>
                  </a:lnTo>
                  <a:lnTo>
                    <a:pt x="72" y="232"/>
                  </a:lnTo>
                  <a:lnTo>
                    <a:pt x="71" y="238"/>
                  </a:lnTo>
                  <a:lnTo>
                    <a:pt x="70" y="244"/>
                  </a:lnTo>
                  <a:lnTo>
                    <a:pt x="71" y="263"/>
                  </a:lnTo>
                  <a:lnTo>
                    <a:pt x="70" y="265"/>
                  </a:lnTo>
                  <a:lnTo>
                    <a:pt x="69" y="269"/>
                  </a:lnTo>
                  <a:lnTo>
                    <a:pt x="69" y="273"/>
                  </a:lnTo>
                  <a:lnTo>
                    <a:pt x="70" y="280"/>
                  </a:lnTo>
                  <a:lnTo>
                    <a:pt x="71" y="284"/>
                  </a:lnTo>
                  <a:lnTo>
                    <a:pt x="71" y="295"/>
                  </a:lnTo>
                  <a:lnTo>
                    <a:pt x="69" y="306"/>
                  </a:lnTo>
                  <a:lnTo>
                    <a:pt x="66" y="314"/>
                  </a:lnTo>
                  <a:lnTo>
                    <a:pt x="62" y="320"/>
                  </a:lnTo>
                  <a:lnTo>
                    <a:pt x="57" y="324"/>
                  </a:lnTo>
                  <a:lnTo>
                    <a:pt x="53" y="328"/>
                  </a:lnTo>
                  <a:lnTo>
                    <a:pt x="51" y="330"/>
                  </a:lnTo>
                  <a:lnTo>
                    <a:pt x="49" y="332"/>
                  </a:lnTo>
                  <a:lnTo>
                    <a:pt x="43" y="341"/>
                  </a:lnTo>
                  <a:lnTo>
                    <a:pt x="40" y="343"/>
                  </a:lnTo>
                  <a:lnTo>
                    <a:pt x="30" y="350"/>
                  </a:lnTo>
                  <a:lnTo>
                    <a:pt x="28" y="353"/>
                  </a:lnTo>
                  <a:lnTo>
                    <a:pt x="15" y="361"/>
                  </a:lnTo>
                  <a:lnTo>
                    <a:pt x="13" y="367"/>
                  </a:lnTo>
                  <a:lnTo>
                    <a:pt x="14" y="371"/>
                  </a:lnTo>
                  <a:lnTo>
                    <a:pt x="15" y="377"/>
                  </a:lnTo>
                  <a:lnTo>
                    <a:pt x="15" y="382"/>
                  </a:lnTo>
                  <a:lnTo>
                    <a:pt x="14" y="407"/>
                  </a:lnTo>
                  <a:lnTo>
                    <a:pt x="12" y="416"/>
                  </a:lnTo>
                  <a:lnTo>
                    <a:pt x="7" y="433"/>
                  </a:lnTo>
                  <a:lnTo>
                    <a:pt x="5" y="445"/>
                  </a:lnTo>
                  <a:lnTo>
                    <a:pt x="4" y="446"/>
                  </a:lnTo>
                  <a:lnTo>
                    <a:pt x="4" y="447"/>
                  </a:lnTo>
                  <a:lnTo>
                    <a:pt x="5" y="450"/>
                  </a:lnTo>
                  <a:lnTo>
                    <a:pt x="6" y="453"/>
                  </a:lnTo>
                  <a:lnTo>
                    <a:pt x="7" y="453"/>
                  </a:lnTo>
                  <a:lnTo>
                    <a:pt x="8" y="454"/>
                  </a:lnTo>
                  <a:lnTo>
                    <a:pt x="10" y="454"/>
                  </a:lnTo>
                  <a:lnTo>
                    <a:pt x="13" y="457"/>
                  </a:lnTo>
                  <a:lnTo>
                    <a:pt x="13" y="458"/>
                  </a:lnTo>
                  <a:lnTo>
                    <a:pt x="14" y="460"/>
                  </a:lnTo>
                  <a:lnTo>
                    <a:pt x="15" y="463"/>
                  </a:lnTo>
                  <a:lnTo>
                    <a:pt x="16" y="468"/>
                  </a:lnTo>
                  <a:lnTo>
                    <a:pt x="16" y="470"/>
                  </a:lnTo>
                  <a:lnTo>
                    <a:pt x="16" y="473"/>
                  </a:lnTo>
                  <a:lnTo>
                    <a:pt x="15" y="478"/>
                  </a:lnTo>
                  <a:lnTo>
                    <a:pt x="16" y="483"/>
                  </a:lnTo>
                  <a:lnTo>
                    <a:pt x="18" y="489"/>
                  </a:lnTo>
                  <a:lnTo>
                    <a:pt x="17" y="491"/>
                  </a:lnTo>
                  <a:lnTo>
                    <a:pt x="16" y="493"/>
                  </a:lnTo>
                  <a:lnTo>
                    <a:pt x="15" y="494"/>
                  </a:lnTo>
                  <a:lnTo>
                    <a:pt x="14" y="493"/>
                  </a:lnTo>
                  <a:lnTo>
                    <a:pt x="10" y="488"/>
                  </a:lnTo>
                  <a:lnTo>
                    <a:pt x="12" y="484"/>
                  </a:lnTo>
                  <a:lnTo>
                    <a:pt x="12" y="478"/>
                  </a:lnTo>
                  <a:lnTo>
                    <a:pt x="11" y="477"/>
                  </a:lnTo>
                  <a:lnTo>
                    <a:pt x="10" y="476"/>
                  </a:lnTo>
                  <a:lnTo>
                    <a:pt x="12" y="472"/>
                  </a:lnTo>
                  <a:lnTo>
                    <a:pt x="11" y="469"/>
                  </a:lnTo>
                  <a:lnTo>
                    <a:pt x="10" y="461"/>
                  </a:lnTo>
                  <a:lnTo>
                    <a:pt x="9" y="458"/>
                  </a:lnTo>
                  <a:lnTo>
                    <a:pt x="6" y="455"/>
                  </a:lnTo>
                  <a:lnTo>
                    <a:pt x="5" y="458"/>
                  </a:lnTo>
                  <a:lnTo>
                    <a:pt x="6" y="463"/>
                  </a:lnTo>
                  <a:lnTo>
                    <a:pt x="7" y="468"/>
                  </a:lnTo>
                  <a:lnTo>
                    <a:pt x="6" y="471"/>
                  </a:lnTo>
                  <a:lnTo>
                    <a:pt x="6" y="477"/>
                  </a:lnTo>
                  <a:lnTo>
                    <a:pt x="6" y="480"/>
                  </a:lnTo>
                  <a:lnTo>
                    <a:pt x="5" y="483"/>
                  </a:lnTo>
                  <a:lnTo>
                    <a:pt x="4" y="485"/>
                  </a:lnTo>
                  <a:lnTo>
                    <a:pt x="2" y="489"/>
                  </a:lnTo>
                  <a:lnTo>
                    <a:pt x="0" y="493"/>
                  </a:lnTo>
                  <a:lnTo>
                    <a:pt x="0" y="499"/>
                  </a:lnTo>
                  <a:lnTo>
                    <a:pt x="1" y="504"/>
                  </a:lnTo>
                  <a:lnTo>
                    <a:pt x="2" y="515"/>
                  </a:lnTo>
                  <a:lnTo>
                    <a:pt x="2" y="518"/>
                  </a:lnTo>
                  <a:lnTo>
                    <a:pt x="2" y="521"/>
                  </a:lnTo>
                  <a:lnTo>
                    <a:pt x="2" y="524"/>
                  </a:lnTo>
                  <a:lnTo>
                    <a:pt x="1" y="530"/>
                  </a:lnTo>
                  <a:lnTo>
                    <a:pt x="0" y="532"/>
                  </a:lnTo>
                  <a:lnTo>
                    <a:pt x="1" y="538"/>
                  </a:lnTo>
                  <a:lnTo>
                    <a:pt x="2" y="544"/>
                  </a:lnTo>
                  <a:lnTo>
                    <a:pt x="10" y="562"/>
                  </a:lnTo>
                  <a:lnTo>
                    <a:pt x="12" y="571"/>
                  </a:lnTo>
                  <a:lnTo>
                    <a:pt x="13" y="582"/>
                  </a:lnTo>
                  <a:lnTo>
                    <a:pt x="14" y="583"/>
                  </a:lnTo>
                  <a:lnTo>
                    <a:pt x="14" y="583"/>
                  </a:lnTo>
                  <a:lnTo>
                    <a:pt x="20" y="582"/>
                  </a:lnTo>
                  <a:lnTo>
                    <a:pt x="29" y="582"/>
                  </a:lnTo>
                  <a:lnTo>
                    <a:pt x="35" y="580"/>
                  </a:lnTo>
                  <a:lnTo>
                    <a:pt x="38" y="574"/>
                  </a:lnTo>
                  <a:lnTo>
                    <a:pt x="39" y="567"/>
                  </a:lnTo>
                  <a:lnTo>
                    <a:pt x="41" y="558"/>
                  </a:lnTo>
                  <a:lnTo>
                    <a:pt x="45" y="551"/>
                  </a:lnTo>
                  <a:lnTo>
                    <a:pt x="51" y="545"/>
                  </a:lnTo>
                  <a:lnTo>
                    <a:pt x="57" y="540"/>
                  </a:lnTo>
                  <a:lnTo>
                    <a:pt x="62" y="538"/>
                  </a:lnTo>
                  <a:lnTo>
                    <a:pt x="69" y="537"/>
                  </a:lnTo>
                  <a:lnTo>
                    <a:pt x="72" y="536"/>
                  </a:lnTo>
                  <a:lnTo>
                    <a:pt x="94" y="519"/>
                  </a:lnTo>
                  <a:lnTo>
                    <a:pt x="100" y="516"/>
                  </a:lnTo>
                  <a:lnTo>
                    <a:pt x="114" y="516"/>
                  </a:lnTo>
                  <a:lnTo>
                    <a:pt x="158" y="494"/>
                  </a:lnTo>
                  <a:lnTo>
                    <a:pt x="161" y="493"/>
                  </a:lnTo>
                  <a:lnTo>
                    <a:pt x="179" y="485"/>
                  </a:lnTo>
                  <a:lnTo>
                    <a:pt x="186" y="485"/>
                  </a:lnTo>
                  <a:lnTo>
                    <a:pt x="189" y="487"/>
                  </a:lnTo>
                  <a:lnTo>
                    <a:pt x="195" y="491"/>
                  </a:lnTo>
                  <a:lnTo>
                    <a:pt x="198" y="493"/>
                  </a:lnTo>
                  <a:lnTo>
                    <a:pt x="245" y="491"/>
                  </a:lnTo>
                  <a:lnTo>
                    <a:pt x="255" y="494"/>
                  </a:lnTo>
                  <a:lnTo>
                    <a:pt x="255" y="494"/>
                  </a:lnTo>
                  <a:lnTo>
                    <a:pt x="260" y="496"/>
                  </a:lnTo>
                  <a:lnTo>
                    <a:pt x="267" y="503"/>
                  </a:lnTo>
                  <a:lnTo>
                    <a:pt x="269" y="504"/>
                  </a:lnTo>
                  <a:lnTo>
                    <a:pt x="272" y="504"/>
                  </a:lnTo>
                  <a:lnTo>
                    <a:pt x="294" y="495"/>
                  </a:lnTo>
                  <a:lnTo>
                    <a:pt x="300" y="491"/>
                  </a:lnTo>
                  <a:lnTo>
                    <a:pt x="305" y="488"/>
                  </a:lnTo>
                  <a:lnTo>
                    <a:pt x="310" y="486"/>
                  </a:lnTo>
                  <a:lnTo>
                    <a:pt x="316" y="489"/>
                  </a:lnTo>
                  <a:lnTo>
                    <a:pt x="319" y="498"/>
                  </a:lnTo>
                  <a:lnTo>
                    <a:pt x="325" y="512"/>
                  </a:lnTo>
                  <a:lnTo>
                    <a:pt x="332" y="517"/>
                  </a:lnTo>
                  <a:lnTo>
                    <a:pt x="340" y="515"/>
                  </a:lnTo>
                  <a:lnTo>
                    <a:pt x="348" y="507"/>
                  </a:lnTo>
                  <a:lnTo>
                    <a:pt x="347" y="504"/>
                  </a:lnTo>
                  <a:lnTo>
                    <a:pt x="350" y="502"/>
                  </a:lnTo>
                  <a:lnTo>
                    <a:pt x="368" y="498"/>
                  </a:lnTo>
                  <a:lnTo>
                    <a:pt x="372" y="498"/>
                  </a:lnTo>
                  <a:lnTo>
                    <a:pt x="382" y="503"/>
                  </a:lnTo>
                  <a:lnTo>
                    <a:pt x="399" y="510"/>
                  </a:lnTo>
                  <a:lnTo>
                    <a:pt x="405" y="510"/>
                  </a:lnTo>
                  <a:lnTo>
                    <a:pt x="414" y="504"/>
                  </a:lnTo>
                  <a:lnTo>
                    <a:pt x="419" y="503"/>
                  </a:lnTo>
                  <a:lnTo>
                    <a:pt x="430" y="504"/>
                  </a:lnTo>
                  <a:lnTo>
                    <a:pt x="435" y="503"/>
                  </a:lnTo>
                  <a:lnTo>
                    <a:pt x="436" y="504"/>
                  </a:lnTo>
                  <a:lnTo>
                    <a:pt x="437" y="505"/>
                  </a:lnTo>
                  <a:lnTo>
                    <a:pt x="437" y="508"/>
                  </a:lnTo>
                  <a:lnTo>
                    <a:pt x="437" y="509"/>
                  </a:lnTo>
                  <a:lnTo>
                    <a:pt x="438" y="510"/>
                  </a:lnTo>
                  <a:lnTo>
                    <a:pt x="442" y="511"/>
                  </a:lnTo>
                  <a:lnTo>
                    <a:pt x="453" y="509"/>
                  </a:lnTo>
                  <a:lnTo>
                    <a:pt x="459" y="509"/>
                  </a:lnTo>
                  <a:lnTo>
                    <a:pt x="461" y="509"/>
                  </a:lnTo>
                  <a:lnTo>
                    <a:pt x="478" y="515"/>
                  </a:lnTo>
                  <a:lnTo>
                    <a:pt x="493" y="527"/>
                  </a:lnTo>
                  <a:lnTo>
                    <a:pt x="499" y="530"/>
                  </a:lnTo>
                  <a:lnTo>
                    <a:pt x="503" y="531"/>
                  </a:lnTo>
                  <a:lnTo>
                    <a:pt x="504" y="531"/>
                  </a:lnTo>
                  <a:lnTo>
                    <a:pt x="508" y="530"/>
                  </a:lnTo>
                  <a:lnTo>
                    <a:pt x="527" y="520"/>
                  </a:lnTo>
                  <a:lnTo>
                    <a:pt x="532" y="519"/>
                  </a:lnTo>
                  <a:lnTo>
                    <a:pt x="537" y="521"/>
                  </a:lnTo>
                  <a:lnTo>
                    <a:pt x="547" y="528"/>
                  </a:lnTo>
                  <a:lnTo>
                    <a:pt x="552" y="530"/>
                  </a:lnTo>
                  <a:lnTo>
                    <a:pt x="558" y="527"/>
                  </a:lnTo>
                  <a:lnTo>
                    <a:pt x="567" y="522"/>
                  </a:lnTo>
                  <a:lnTo>
                    <a:pt x="570" y="519"/>
                  </a:lnTo>
                  <a:lnTo>
                    <a:pt x="583" y="501"/>
                  </a:lnTo>
                  <a:lnTo>
                    <a:pt x="589" y="496"/>
                  </a:lnTo>
                  <a:lnTo>
                    <a:pt x="595" y="494"/>
                  </a:lnTo>
                  <a:lnTo>
                    <a:pt x="609" y="487"/>
                  </a:lnTo>
                  <a:lnTo>
                    <a:pt x="611" y="487"/>
                  </a:lnTo>
                  <a:lnTo>
                    <a:pt x="614" y="489"/>
                  </a:lnTo>
                  <a:lnTo>
                    <a:pt x="616" y="489"/>
                  </a:lnTo>
                  <a:lnTo>
                    <a:pt x="616" y="486"/>
                  </a:lnTo>
                  <a:lnTo>
                    <a:pt x="617" y="483"/>
                  </a:lnTo>
                  <a:lnTo>
                    <a:pt x="617" y="480"/>
                  </a:lnTo>
                  <a:lnTo>
                    <a:pt x="619" y="478"/>
                  </a:lnTo>
                  <a:lnTo>
                    <a:pt x="623" y="479"/>
                  </a:lnTo>
                  <a:lnTo>
                    <a:pt x="626" y="484"/>
                  </a:lnTo>
                  <a:lnTo>
                    <a:pt x="630" y="496"/>
                  </a:lnTo>
                  <a:lnTo>
                    <a:pt x="634" y="513"/>
                  </a:lnTo>
                  <a:lnTo>
                    <a:pt x="636" y="518"/>
                  </a:lnTo>
                  <a:lnTo>
                    <a:pt x="637" y="521"/>
                  </a:lnTo>
                  <a:lnTo>
                    <a:pt x="643" y="527"/>
                  </a:lnTo>
                  <a:lnTo>
                    <a:pt x="644" y="530"/>
                  </a:lnTo>
                  <a:lnTo>
                    <a:pt x="647" y="539"/>
                  </a:lnTo>
                  <a:lnTo>
                    <a:pt x="651" y="548"/>
                  </a:lnTo>
                  <a:lnTo>
                    <a:pt x="657" y="552"/>
                  </a:lnTo>
                  <a:lnTo>
                    <a:pt x="695" y="558"/>
                  </a:lnTo>
                  <a:lnTo>
                    <a:pt x="712" y="561"/>
                  </a:lnTo>
                  <a:lnTo>
                    <a:pt x="723" y="559"/>
                  </a:lnTo>
                  <a:lnTo>
                    <a:pt x="731" y="563"/>
                  </a:lnTo>
                  <a:lnTo>
                    <a:pt x="734" y="564"/>
                  </a:lnTo>
                  <a:lnTo>
                    <a:pt x="743" y="563"/>
                  </a:lnTo>
                  <a:lnTo>
                    <a:pt x="745" y="564"/>
                  </a:lnTo>
                  <a:lnTo>
                    <a:pt x="746" y="566"/>
                  </a:lnTo>
                  <a:lnTo>
                    <a:pt x="749" y="576"/>
                  </a:lnTo>
                  <a:lnTo>
                    <a:pt x="750" y="579"/>
                  </a:lnTo>
                  <a:lnTo>
                    <a:pt x="753" y="581"/>
                  </a:lnTo>
                  <a:lnTo>
                    <a:pt x="762" y="587"/>
                  </a:lnTo>
                  <a:lnTo>
                    <a:pt x="766" y="592"/>
                  </a:lnTo>
                  <a:lnTo>
                    <a:pt x="778" y="606"/>
                  </a:lnTo>
                  <a:lnTo>
                    <a:pt x="792" y="616"/>
                  </a:lnTo>
                  <a:lnTo>
                    <a:pt x="802" y="621"/>
                  </a:lnTo>
                  <a:lnTo>
                    <a:pt x="811" y="633"/>
                  </a:lnTo>
                  <a:lnTo>
                    <a:pt x="827" y="646"/>
                  </a:lnTo>
                  <a:lnTo>
                    <a:pt x="831" y="653"/>
                  </a:lnTo>
                  <a:lnTo>
                    <a:pt x="835" y="661"/>
                  </a:lnTo>
                  <a:lnTo>
                    <a:pt x="843" y="676"/>
                  </a:lnTo>
                  <a:lnTo>
                    <a:pt x="853" y="684"/>
                  </a:lnTo>
                  <a:lnTo>
                    <a:pt x="875" y="695"/>
                  </a:lnTo>
                  <a:lnTo>
                    <a:pt x="884" y="697"/>
                  </a:lnTo>
                  <a:lnTo>
                    <a:pt x="893" y="698"/>
                  </a:lnTo>
                  <a:lnTo>
                    <a:pt x="896" y="692"/>
                  </a:lnTo>
                  <a:lnTo>
                    <a:pt x="900" y="690"/>
                  </a:lnTo>
                  <a:lnTo>
                    <a:pt x="905" y="690"/>
                  </a:lnTo>
                  <a:lnTo>
                    <a:pt x="913" y="694"/>
                  </a:lnTo>
                  <a:lnTo>
                    <a:pt x="917" y="693"/>
                  </a:lnTo>
                  <a:lnTo>
                    <a:pt x="929" y="687"/>
                  </a:lnTo>
                  <a:lnTo>
                    <a:pt x="933" y="683"/>
                  </a:lnTo>
                  <a:lnTo>
                    <a:pt x="942" y="666"/>
                  </a:lnTo>
                  <a:lnTo>
                    <a:pt x="951" y="655"/>
                  </a:lnTo>
                  <a:lnTo>
                    <a:pt x="954" y="653"/>
                  </a:lnTo>
                  <a:lnTo>
                    <a:pt x="954" y="653"/>
                  </a:lnTo>
                  <a:lnTo>
                    <a:pt x="975" y="650"/>
                  </a:lnTo>
                  <a:lnTo>
                    <a:pt x="982" y="651"/>
                  </a:lnTo>
                  <a:lnTo>
                    <a:pt x="985" y="653"/>
                  </a:lnTo>
                  <a:lnTo>
                    <a:pt x="995" y="661"/>
                  </a:lnTo>
                  <a:lnTo>
                    <a:pt x="999" y="664"/>
                  </a:lnTo>
                  <a:lnTo>
                    <a:pt x="1002" y="663"/>
                  </a:lnTo>
                  <a:lnTo>
                    <a:pt x="1010" y="655"/>
                  </a:lnTo>
                  <a:lnTo>
                    <a:pt x="1013" y="651"/>
                  </a:lnTo>
                  <a:lnTo>
                    <a:pt x="1017" y="656"/>
                  </a:lnTo>
                  <a:lnTo>
                    <a:pt x="1022" y="659"/>
                  </a:lnTo>
                  <a:lnTo>
                    <a:pt x="1027" y="661"/>
                  </a:lnTo>
                  <a:lnTo>
                    <a:pt x="1047" y="662"/>
                  </a:lnTo>
                  <a:lnTo>
                    <a:pt x="1051" y="662"/>
                  </a:lnTo>
                  <a:lnTo>
                    <a:pt x="1053" y="658"/>
                  </a:lnTo>
                  <a:lnTo>
                    <a:pt x="1054" y="651"/>
                  </a:lnTo>
                  <a:lnTo>
                    <a:pt x="1055" y="638"/>
                  </a:lnTo>
                  <a:lnTo>
                    <a:pt x="1060" y="626"/>
                  </a:lnTo>
                  <a:lnTo>
                    <a:pt x="1076" y="615"/>
                  </a:lnTo>
                  <a:lnTo>
                    <a:pt x="1081" y="606"/>
                  </a:lnTo>
                  <a:lnTo>
                    <a:pt x="1081" y="599"/>
                  </a:lnTo>
                  <a:lnTo>
                    <a:pt x="1086" y="594"/>
                  </a:lnTo>
                  <a:lnTo>
                    <a:pt x="1097" y="586"/>
                  </a:lnTo>
                  <a:lnTo>
                    <a:pt x="1099" y="582"/>
                  </a:lnTo>
                  <a:lnTo>
                    <a:pt x="1100" y="578"/>
                  </a:lnTo>
                  <a:lnTo>
                    <a:pt x="1102" y="575"/>
                  </a:lnTo>
                  <a:lnTo>
                    <a:pt x="1105" y="573"/>
                  </a:lnTo>
                  <a:lnTo>
                    <a:pt x="1106" y="572"/>
                  </a:lnTo>
                  <a:lnTo>
                    <a:pt x="1113" y="570"/>
                  </a:lnTo>
                  <a:lnTo>
                    <a:pt x="1120" y="567"/>
                  </a:lnTo>
                  <a:lnTo>
                    <a:pt x="1124" y="564"/>
                  </a:lnTo>
                  <a:lnTo>
                    <a:pt x="1127" y="562"/>
                  </a:lnTo>
                  <a:lnTo>
                    <a:pt x="1134" y="559"/>
                  </a:lnTo>
                  <a:lnTo>
                    <a:pt x="1140" y="563"/>
                  </a:lnTo>
                  <a:lnTo>
                    <a:pt x="1143" y="558"/>
                  </a:lnTo>
                  <a:lnTo>
                    <a:pt x="1144" y="552"/>
                  </a:lnTo>
                  <a:lnTo>
                    <a:pt x="1145" y="545"/>
                  </a:lnTo>
                  <a:lnTo>
                    <a:pt x="1147" y="538"/>
                  </a:lnTo>
                  <a:lnTo>
                    <a:pt x="1148" y="535"/>
                  </a:lnTo>
                  <a:lnTo>
                    <a:pt x="1149" y="533"/>
                  </a:lnTo>
                  <a:lnTo>
                    <a:pt x="1150" y="531"/>
                  </a:lnTo>
                  <a:lnTo>
                    <a:pt x="1151" y="527"/>
                  </a:lnTo>
                  <a:lnTo>
                    <a:pt x="1150" y="524"/>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97" name="Freeform 32">
              <a:extLst>
                <a:ext uri="{FF2B5EF4-FFF2-40B4-BE49-F238E27FC236}">
                  <a16:creationId xmlns:a16="http://schemas.microsoft.com/office/drawing/2014/main" id="{D19BEF7D-8ACD-4A78-998E-7995AABF8FC3}"/>
                </a:ext>
              </a:extLst>
            </p:cNvPr>
            <p:cNvSpPr>
              <a:spLocks/>
            </p:cNvSpPr>
            <p:nvPr/>
          </p:nvSpPr>
          <p:spPr bwMode="gray">
            <a:xfrm>
              <a:off x="10029061" y="5570389"/>
              <a:ext cx="173265" cy="190093"/>
            </a:xfrm>
            <a:custGeom>
              <a:avLst/>
              <a:gdLst>
                <a:gd name="T0" fmla="*/ 264 w 278"/>
                <a:gd name="T1" fmla="*/ 125 h 305"/>
                <a:gd name="T2" fmla="*/ 245 w 278"/>
                <a:gd name="T3" fmla="*/ 117 h 305"/>
                <a:gd name="T4" fmla="*/ 217 w 278"/>
                <a:gd name="T5" fmla="*/ 113 h 305"/>
                <a:gd name="T6" fmla="*/ 217 w 278"/>
                <a:gd name="T7" fmla="*/ 107 h 305"/>
                <a:gd name="T8" fmla="*/ 218 w 278"/>
                <a:gd name="T9" fmla="*/ 88 h 305"/>
                <a:gd name="T10" fmla="*/ 204 w 278"/>
                <a:gd name="T11" fmla="*/ 82 h 305"/>
                <a:gd name="T12" fmla="*/ 191 w 278"/>
                <a:gd name="T13" fmla="*/ 70 h 305"/>
                <a:gd name="T14" fmla="*/ 181 w 278"/>
                <a:gd name="T15" fmla="*/ 60 h 305"/>
                <a:gd name="T16" fmla="*/ 170 w 278"/>
                <a:gd name="T17" fmla="*/ 38 h 305"/>
                <a:gd name="T18" fmla="*/ 129 w 278"/>
                <a:gd name="T19" fmla="*/ 20 h 305"/>
                <a:gd name="T20" fmla="*/ 130 w 278"/>
                <a:gd name="T21" fmla="*/ 11 h 305"/>
                <a:gd name="T22" fmla="*/ 131 w 278"/>
                <a:gd name="T23" fmla="*/ 5 h 305"/>
                <a:gd name="T24" fmla="*/ 118 w 278"/>
                <a:gd name="T25" fmla="*/ 1 h 305"/>
                <a:gd name="T26" fmla="*/ 92 w 278"/>
                <a:gd name="T27" fmla="*/ 14 h 305"/>
                <a:gd name="T28" fmla="*/ 96 w 278"/>
                <a:gd name="T29" fmla="*/ 30 h 305"/>
                <a:gd name="T30" fmla="*/ 102 w 278"/>
                <a:gd name="T31" fmla="*/ 33 h 305"/>
                <a:gd name="T32" fmla="*/ 89 w 278"/>
                <a:gd name="T33" fmla="*/ 56 h 305"/>
                <a:gd name="T34" fmla="*/ 82 w 278"/>
                <a:gd name="T35" fmla="*/ 61 h 305"/>
                <a:gd name="T36" fmla="*/ 69 w 278"/>
                <a:gd name="T37" fmla="*/ 68 h 305"/>
                <a:gd name="T38" fmla="*/ 75 w 278"/>
                <a:gd name="T39" fmla="*/ 83 h 305"/>
                <a:gd name="T40" fmla="*/ 32 w 278"/>
                <a:gd name="T41" fmla="*/ 99 h 305"/>
                <a:gd name="T42" fmla="*/ 29 w 278"/>
                <a:gd name="T43" fmla="*/ 108 h 305"/>
                <a:gd name="T44" fmla="*/ 7 w 278"/>
                <a:gd name="T45" fmla="*/ 107 h 305"/>
                <a:gd name="T46" fmla="*/ 2 w 278"/>
                <a:gd name="T47" fmla="*/ 120 h 305"/>
                <a:gd name="T48" fmla="*/ 11 w 278"/>
                <a:gd name="T49" fmla="*/ 137 h 305"/>
                <a:gd name="T50" fmla="*/ 9 w 278"/>
                <a:gd name="T51" fmla="*/ 152 h 305"/>
                <a:gd name="T52" fmla="*/ 20 w 278"/>
                <a:gd name="T53" fmla="*/ 166 h 305"/>
                <a:gd name="T54" fmla="*/ 26 w 278"/>
                <a:gd name="T55" fmla="*/ 178 h 305"/>
                <a:gd name="T56" fmla="*/ 27 w 278"/>
                <a:gd name="T57" fmla="*/ 188 h 305"/>
                <a:gd name="T58" fmla="*/ 31 w 278"/>
                <a:gd name="T59" fmla="*/ 197 h 305"/>
                <a:gd name="T60" fmla="*/ 47 w 278"/>
                <a:gd name="T61" fmla="*/ 203 h 305"/>
                <a:gd name="T62" fmla="*/ 76 w 278"/>
                <a:gd name="T63" fmla="*/ 227 h 305"/>
                <a:gd name="T64" fmla="*/ 85 w 278"/>
                <a:gd name="T65" fmla="*/ 260 h 305"/>
                <a:gd name="T66" fmla="*/ 90 w 278"/>
                <a:gd name="T67" fmla="*/ 287 h 305"/>
                <a:gd name="T68" fmla="*/ 86 w 278"/>
                <a:gd name="T69" fmla="*/ 294 h 305"/>
                <a:gd name="T70" fmla="*/ 94 w 278"/>
                <a:gd name="T71" fmla="*/ 303 h 305"/>
                <a:gd name="T72" fmla="*/ 103 w 278"/>
                <a:gd name="T73" fmla="*/ 304 h 305"/>
                <a:gd name="T74" fmla="*/ 114 w 278"/>
                <a:gd name="T75" fmla="*/ 295 h 305"/>
                <a:gd name="T76" fmla="*/ 114 w 278"/>
                <a:gd name="T77" fmla="*/ 278 h 305"/>
                <a:gd name="T78" fmla="*/ 125 w 278"/>
                <a:gd name="T79" fmla="*/ 252 h 305"/>
                <a:gd name="T80" fmla="*/ 161 w 278"/>
                <a:gd name="T81" fmla="*/ 238 h 305"/>
                <a:gd name="T82" fmla="*/ 175 w 278"/>
                <a:gd name="T83" fmla="*/ 231 h 305"/>
                <a:gd name="T84" fmla="*/ 191 w 278"/>
                <a:gd name="T85" fmla="*/ 249 h 305"/>
                <a:gd name="T86" fmla="*/ 203 w 278"/>
                <a:gd name="T87" fmla="*/ 251 h 305"/>
                <a:gd name="T88" fmla="*/ 202 w 278"/>
                <a:gd name="T89" fmla="*/ 242 h 305"/>
                <a:gd name="T90" fmla="*/ 216 w 278"/>
                <a:gd name="T91" fmla="*/ 224 h 305"/>
                <a:gd name="T92" fmla="*/ 222 w 278"/>
                <a:gd name="T93" fmla="*/ 220 h 305"/>
                <a:gd name="T94" fmla="*/ 230 w 278"/>
                <a:gd name="T95" fmla="*/ 221 h 305"/>
                <a:gd name="T96" fmla="*/ 244 w 278"/>
                <a:gd name="T97" fmla="*/ 219 h 305"/>
                <a:gd name="T98" fmla="*/ 250 w 278"/>
                <a:gd name="T99" fmla="*/ 192 h 305"/>
                <a:gd name="T100" fmla="*/ 255 w 278"/>
                <a:gd name="T101" fmla="*/ 173 h 305"/>
                <a:gd name="T102" fmla="*/ 269 w 278"/>
                <a:gd name="T103" fmla="*/ 146 h 305"/>
                <a:gd name="T104" fmla="*/ 271 w 278"/>
                <a:gd name="T105" fmla="*/ 143 h 305"/>
                <a:gd name="T106" fmla="*/ 277 w 278"/>
                <a:gd name="T107" fmla="*/ 13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8" h="305">
                  <a:moveTo>
                    <a:pt x="276" y="128"/>
                  </a:moveTo>
                  <a:lnTo>
                    <a:pt x="273" y="126"/>
                  </a:lnTo>
                  <a:lnTo>
                    <a:pt x="272" y="126"/>
                  </a:lnTo>
                  <a:lnTo>
                    <a:pt x="268" y="125"/>
                  </a:lnTo>
                  <a:lnTo>
                    <a:pt x="264" y="125"/>
                  </a:lnTo>
                  <a:lnTo>
                    <a:pt x="257" y="128"/>
                  </a:lnTo>
                  <a:lnTo>
                    <a:pt x="255" y="128"/>
                  </a:lnTo>
                  <a:lnTo>
                    <a:pt x="252" y="126"/>
                  </a:lnTo>
                  <a:lnTo>
                    <a:pt x="247" y="120"/>
                  </a:lnTo>
                  <a:lnTo>
                    <a:pt x="245" y="117"/>
                  </a:lnTo>
                  <a:lnTo>
                    <a:pt x="241" y="116"/>
                  </a:lnTo>
                  <a:lnTo>
                    <a:pt x="225" y="114"/>
                  </a:lnTo>
                  <a:lnTo>
                    <a:pt x="221" y="114"/>
                  </a:lnTo>
                  <a:lnTo>
                    <a:pt x="219" y="114"/>
                  </a:lnTo>
                  <a:lnTo>
                    <a:pt x="217" y="113"/>
                  </a:lnTo>
                  <a:lnTo>
                    <a:pt x="215" y="112"/>
                  </a:lnTo>
                  <a:lnTo>
                    <a:pt x="215" y="112"/>
                  </a:lnTo>
                  <a:lnTo>
                    <a:pt x="216" y="111"/>
                  </a:lnTo>
                  <a:lnTo>
                    <a:pt x="216" y="110"/>
                  </a:lnTo>
                  <a:lnTo>
                    <a:pt x="217" y="107"/>
                  </a:lnTo>
                  <a:lnTo>
                    <a:pt x="219" y="99"/>
                  </a:lnTo>
                  <a:lnTo>
                    <a:pt x="220" y="96"/>
                  </a:lnTo>
                  <a:lnTo>
                    <a:pt x="220" y="91"/>
                  </a:lnTo>
                  <a:lnTo>
                    <a:pt x="220" y="90"/>
                  </a:lnTo>
                  <a:lnTo>
                    <a:pt x="218" y="88"/>
                  </a:lnTo>
                  <a:lnTo>
                    <a:pt x="215" y="88"/>
                  </a:lnTo>
                  <a:lnTo>
                    <a:pt x="210" y="87"/>
                  </a:lnTo>
                  <a:lnTo>
                    <a:pt x="209" y="86"/>
                  </a:lnTo>
                  <a:lnTo>
                    <a:pt x="205" y="83"/>
                  </a:lnTo>
                  <a:lnTo>
                    <a:pt x="204" y="82"/>
                  </a:lnTo>
                  <a:lnTo>
                    <a:pt x="202" y="82"/>
                  </a:lnTo>
                  <a:lnTo>
                    <a:pt x="198" y="82"/>
                  </a:lnTo>
                  <a:lnTo>
                    <a:pt x="196" y="82"/>
                  </a:lnTo>
                  <a:lnTo>
                    <a:pt x="192" y="76"/>
                  </a:lnTo>
                  <a:lnTo>
                    <a:pt x="191" y="70"/>
                  </a:lnTo>
                  <a:lnTo>
                    <a:pt x="191" y="63"/>
                  </a:lnTo>
                  <a:lnTo>
                    <a:pt x="188" y="58"/>
                  </a:lnTo>
                  <a:lnTo>
                    <a:pt x="186" y="58"/>
                  </a:lnTo>
                  <a:lnTo>
                    <a:pt x="184" y="59"/>
                  </a:lnTo>
                  <a:lnTo>
                    <a:pt x="181" y="60"/>
                  </a:lnTo>
                  <a:lnTo>
                    <a:pt x="179" y="59"/>
                  </a:lnTo>
                  <a:lnTo>
                    <a:pt x="177" y="56"/>
                  </a:lnTo>
                  <a:lnTo>
                    <a:pt x="175" y="44"/>
                  </a:lnTo>
                  <a:lnTo>
                    <a:pt x="172" y="39"/>
                  </a:lnTo>
                  <a:lnTo>
                    <a:pt x="170" y="38"/>
                  </a:lnTo>
                  <a:lnTo>
                    <a:pt x="159" y="37"/>
                  </a:lnTo>
                  <a:lnTo>
                    <a:pt x="156" y="36"/>
                  </a:lnTo>
                  <a:lnTo>
                    <a:pt x="154" y="34"/>
                  </a:lnTo>
                  <a:lnTo>
                    <a:pt x="141" y="27"/>
                  </a:lnTo>
                  <a:lnTo>
                    <a:pt x="129" y="20"/>
                  </a:lnTo>
                  <a:lnTo>
                    <a:pt x="128" y="18"/>
                  </a:lnTo>
                  <a:lnTo>
                    <a:pt x="129" y="18"/>
                  </a:lnTo>
                  <a:lnTo>
                    <a:pt x="130" y="15"/>
                  </a:lnTo>
                  <a:lnTo>
                    <a:pt x="130" y="12"/>
                  </a:lnTo>
                  <a:lnTo>
                    <a:pt x="130" y="11"/>
                  </a:lnTo>
                  <a:lnTo>
                    <a:pt x="131" y="9"/>
                  </a:lnTo>
                  <a:lnTo>
                    <a:pt x="133" y="10"/>
                  </a:lnTo>
                  <a:lnTo>
                    <a:pt x="134" y="10"/>
                  </a:lnTo>
                  <a:lnTo>
                    <a:pt x="132" y="7"/>
                  </a:lnTo>
                  <a:lnTo>
                    <a:pt x="131" y="5"/>
                  </a:lnTo>
                  <a:lnTo>
                    <a:pt x="129" y="4"/>
                  </a:lnTo>
                  <a:lnTo>
                    <a:pt x="126" y="1"/>
                  </a:lnTo>
                  <a:lnTo>
                    <a:pt x="125" y="1"/>
                  </a:lnTo>
                  <a:lnTo>
                    <a:pt x="122" y="0"/>
                  </a:lnTo>
                  <a:lnTo>
                    <a:pt x="118" y="1"/>
                  </a:lnTo>
                  <a:lnTo>
                    <a:pt x="115" y="2"/>
                  </a:lnTo>
                  <a:lnTo>
                    <a:pt x="102" y="12"/>
                  </a:lnTo>
                  <a:lnTo>
                    <a:pt x="99" y="13"/>
                  </a:lnTo>
                  <a:lnTo>
                    <a:pt x="93" y="13"/>
                  </a:lnTo>
                  <a:lnTo>
                    <a:pt x="92" y="14"/>
                  </a:lnTo>
                  <a:lnTo>
                    <a:pt x="91" y="17"/>
                  </a:lnTo>
                  <a:lnTo>
                    <a:pt x="92" y="19"/>
                  </a:lnTo>
                  <a:lnTo>
                    <a:pt x="93" y="23"/>
                  </a:lnTo>
                  <a:lnTo>
                    <a:pt x="95" y="28"/>
                  </a:lnTo>
                  <a:lnTo>
                    <a:pt x="96" y="30"/>
                  </a:lnTo>
                  <a:lnTo>
                    <a:pt x="97" y="32"/>
                  </a:lnTo>
                  <a:lnTo>
                    <a:pt x="98" y="32"/>
                  </a:lnTo>
                  <a:lnTo>
                    <a:pt x="100" y="32"/>
                  </a:lnTo>
                  <a:lnTo>
                    <a:pt x="101" y="32"/>
                  </a:lnTo>
                  <a:lnTo>
                    <a:pt x="102" y="33"/>
                  </a:lnTo>
                  <a:lnTo>
                    <a:pt x="102" y="38"/>
                  </a:lnTo>
                  <a:lnTo>
                    <a:pt x="98" y="46"/>
                  </a:lnTo>
                  <a:lnTo>
                    <a:pt x="94" y="52"/>
                  </a:lnTo>
                  <a:lnTo>
                    <a:pt x="91" y="56"/>
                  </a:lnTo>
                  <a:lnTo>
                    <a:pt x="89" y="56"/>
                  </a:lnTo>
                  <a:lnTo>
                    <a:pt x="87" y="55"/>
                  </a:lnTo>
                  <a:lnTo>
                    <a:pt x="86" y="55"/>
                  </a:lnTo>
                  <a:lnTo>
                    <a:pt x="84" y="57"/>
                  </a:lnTo>
                  <a:lnTo>
                    <a:pt x="82" y="60"/>
                  </a:lnTo>
                  <a:lnTo>
                    <a:pt x="82" y="61"/>
                  </a:lnTo>
                  <a:lnTo>
                    <a:pt x="81" y="62"/>
                  </a:lnTo>
                  <a:lnTo>
                    <a:pt x="77" y="63"/>
                  </a:lnTo>
                  <a:lnTo>
                    <a:pt x="75" y="63"/>
                  </a:lnTo>
                  <a:lnTo>
                    <a:pt x="72" y="64"/>
                  </a:lnTo>
                  <a:lnTo>
                    <a:pt x="69" y="68"/>
                  </a:lnTo>
                  <a:lnTo>
                    <a:pt x="68" y="74"/>
                  </a:lnTo>
                  <a:lnTo>
                    <a:pt x="70" y="77"/>
                  </a:lnTo>
                  <a:lnTo>
                    <a:pt x="74" y="79"/>
                  </a:lnTo>
                  <a:lnTo>
                    <a:pt x="75" y="82"/>
                  </a:lnTo>
                  <a:lnTo>
                    <a:pt x="75" y="83"/>
                  </a:lnTo>
                  <a:lnTo>
                    <a:pt x="72" y="88"/>
                  </a:lnTo>
                  <a:lnTo>
                    <a:pt x="64" y="92"/>
                  </a:lnTo>
                  <a:lnTo>
                    <a:pt x="51" y="94"/>
                  </a:lnTo>
                  <a:lnTo>
                    <a:pt x="38" y="97"/>
                  </a:lnTo>
                  <a:lnTo>
                    <a:pt x="32" y="99"/>
                  </a:lnTo>
                  <a:lnTo>
                    <a:pt x="31" y="100"/>
                  </a:lnTo>
                  <a:lnTo>
                    <a:pt x="29" y="102"/>
                  </a:lnTo>
                  <a:lnTo>
                    <a:pt x="29" y="104"/>
                  </a:lnTo>
                  <a:lnTo>
                    <a:pt x="30" y="106"/>
                  </a:lnTo>
                  <a:lnTo>
                    <a:pt x="29" y="108"/>
                  </a:lnTo>
                  <a:lnTo>
                    <a:pt x="25" y="113"/>
                  </a:lnTo>
                  <a:lnTo>
                    <a:pt x="20" y="111"/>
                  </a:lnTo>
                  <a:lnTo>
                    <a:pt x="14" y="107"/>
                  </a:lnTo>
                  <a:lnTo>
                    <a:pt x="9" y="106"/>
                  </a:lnTo>
                  <a:lnTo>
                    <a:pt x="7" y="107"/>
                  </a:lnTo>
                  <a:lnTo>
                    <a:pt x="5" y="108"/>
                  </a:lnTo>
                  <a:lnTo>
                    <a:pt x="2" y="111"/>
                  </a:lnTo>
                  <a:lnTo>
                    <a:pt x="0" y="112"/>
                  </a:lnTo>
                  <a:lnTo>
                    <a:pt x="0" y="117"/>
                  </a:lnTo>
                  <a:lnTo>
                    <a:pt x="2" y="120"/>
                  </a:lnTo>
                  <a:lnTo>
                    <a:pt x="2" y="120"/>
                  </a:lnTo>
                  <a:lnTo>
                    <a:pt x="11" y="129"/>
                  </a:lnTo>
                  <a:lnTo>
                    <a:pt x="13" y="131"/>
                  </a:lnTo>
                  <a:lnTo>
                    <a:pt x="13" y="132"/>
                  </a:lnTo>
                  <a:lnTo>
                    <a:pt x="11" y="137"/>
                  </a:lnTo>
                  <a:lnTo>
                    <a:pt x="9" y="141"/>
                  </a:lnTo>
                  <a:lnTo>
                    <a:pt x="8" y="143"/>
                  </a:lnTo>
                  <a:lnTo>
                    <a:pt x="8" y="146"/>
                  </a:lnTo>
                  <a:lnTo>
                    <a:pt x="9" y="149"/>
                  </a:lnTo>
                  <a:lnTo>
                    <a:pt x="9" y="152"/>
                  </a:lnTo>
                  <a:lnTo>
                    <a:pt x="7" y="155"/>
                  </a:lnTo>
                  <a:lnTo>
                    <a:pt x="10" y="158"/>
                  </a:lnTo>
                  <a:lnTo>
                    <a:pt x="18" y="163"/>
                  </a:lnTo>
                  <a:lnTo>
                    <a:pt x="20" y="166"/>
                  </a:lnTo>
                  <a:lnTo>
                    <a:pt x="20" y="166"/>
                  </a:lnTo>
                  <a:lnTo>
                    <a:pt x="20" y="166"/>
                  </a:lnTo>
                  <a:lnTo>
                    <a:pt x="20" y="166"/>
                  </a:lnTo>
                  <a:lnTo>
                    <a:pt x="20" y="166"/>
                  </a:lnTo>
                  <a:lnTo>
                    <a:pt x="25" y="177"/>
                  </a:lnTo>
                  <a:lnTo>
                    <a:pt x="26" y="178"/>
                  </a:lnTo>
                  <a:lnTo>
                    <a:pt x="28" y="180"/>
                  </a:lnTo>
                  <a:lnTo>
                    <a:pt x="29" y="182"/>
                  </a:lnTo>
                  <a:lnTo>
                    <a:pt x="29" y="184"/>
                  </a:lnTo>
                  <a:lnTo>
                    <a:pt x="27" y="186"/>
                  </a:lnTo>
                  <a:lnTo>
                    <a:pt x="27" y="188"/>
                  </a:lnTo>
                  <a:lnTo>
                    <a:pt x="28" y="189"/>
                  </a:lnTo>
                  <a:lnTo>
                    <a:pt x="30" y="191"/>
                  </a:lnTo>
                  <a:lnTo>
                    <a:pt x="31" y="192"/>
                  </a:lnTo>
                  <a:lnTo>
                    <a:pt x="31" y="194"/>
                  </a:lnTo>
                  <a:lnTo>
                    <a:pt x="31" y="197"/>
                  </a:lnTo>
                  <a:lnTo>
                    <a:pt x="31" y="199"/>
                  </a:lnTo>
                  <a:lnTo>
                    <a:pt x="33" y="202"/>
                  </a:lnTo>
                  <a:lnTo>
                    <a:pt x="34" y="203"/>
                  </a:lnTo>
                  <a:lnTo>
                    <a:pt x="36" y="204"/>
                  </a:lnTo>
                  <a:lnTo>
                    <a:pt x="47" y="203"/>
                  </a:lnTo>
                  <a:lnTo>
                    <a:pt x="49" y="204"/>
                  </a:lnTo>
                  <a:lnTo>
                    <a:pt x="69" y="218"/>
                  </a:lnTo>
                  <a:lnTo>
                    <a:pt x="72" y="221"/>
                  </a:lnTo>
                  <a:lnTo>
                    <a:pt x="73" y="223"/>
                  </a:lnTo>
                  <a:lnTo>
                    <a:pt x="76" y="227"/>
                  </a:lnTo>
                  <a:lnTo>
                    <a:pt x="82" y="240"/>
                  </a:lnTo>
                  <a:lnTo>
                    <a:pt x="83" y="245"/>
                  </a:lnTo>
                  <a:lnTo>
                    <a:pt x="84" y="249"/>
                  </a:lnTo>
                  <a:lnTo>
                    <a:pt x="84" y="256"/>
                  </a:lnTo>
                  <a:lnTo>
                    <a:pt x="85" y="260"/>
                  </a:lnTo>
                  <a:lnTo>
                    <a:pt x="90" y="273"/>
                  </a:lnTo>
                  <a:lnTo>
                    <a:pt x="91" y="277"/>
                  </a:lnTo>
                  <a:lnTo>
                    <a:pt x="92" y="280"/>
                  </a:lnTo>
                  <a:lnTo>
                    <a:pt x="92" y="283"/>
                  </a:lnTo>
                  <a:lnTo>
                    <a:pt x="90" y="287"/>
                  </a:lnTo>
                  <a:lnTo>
                    <a:pt x="88" y="288"/>
                  </a:lnTo>
                  <a:lnTo>
                    <a:pt x="87" y="289"/>
                  </a:lnTo>
                  <a:lnTo>
                    <a:pt x="86" y="290"/>
                  </a:lnTo>
                  <a:lnTo>
                    <a:pt x="86" y="293"/>
                  </a:lnTo>
                  <a:lnTo>
                    <a:pt x="86" y="294"/>
                  </a:lnTo>
                  <a:lnTo>
                    <a:pt x="87" y="297"/>
                  </a:lnTo>
                  <a:lnTo>
                    <a:pt x="86" y="299"/>
                  </a:lnTo>
                  <a:lnTo>
                    <a:pt x="90" y="302"/>
                  </a:lnTo>
                  <a:lnTo>
                    <a:pt x="92" y="303"/>
                  </a:lnTo>
                  <a:lnTo>
                    <a:pt x="94" y="303"/>
                  </a:lnTo>
                  <a:lnTo>
                    <a:pt x="96" y="302"/>
                  </a:lnTo>
                  <a:lnTo>
                    <a:pt x="97" y="299"/>
                  </a:lnTo>
                  <a:lnTo>
                    <a:pt x="98" y="298"/>
                  </a:lnTo>
                  <a:lnTo>
                    <a:pt x="100" y="299"/>
                  </a:lnTo>
                  <a:lnTo>
                    <a:pt x="103" y="304"/>
                  </a:lnTo>
                  <a:lnTo>
                    <a:pt x="104" y="305"/>
                  </a:lnTo>
                  <a:lnTo>
                    <a:pt x="108" y="304"/>
                  </a:lnTo>
                  <a:lnTo>
                    <a:pt x="110" y="302"/>
                  </a:lnTo>
                  <a:lnTo>
                    <a:pt x="111" y="300"/>
                  </a:lnTo>
                  <a:lnTo>
                    <a:pt x="114" y="295"/>
                  </a:lnTo>
                  <a:lnTo>
                    <a:pt x="116" y="292"/>
                  </a:lnTo>
                  <a:lnTo>
                    <a:pt x="116" y="291"/>
                  </a:lnTo>
                  <a:lnTo>
                    <a:pt x="116" y="286"/>
                  </a:lnTo>
                  <a:lnTo>
                    <a:pt x="116" y="284"/>
                  </a:lnTo>
                  <a:lnTo>
                    <a:pt x="114" y="278"/>
                  </a:lnTo>
                  <a:lnTo>
                    <a:pt x="114" y="273"/>
                  </a:lnTo>
                  <a:lnTo>
                    <a:pt x="116" y="263"/>
                  </a:lnTo>
                  <a:lnTo>
                    <a:pt x="118" y="258"/>
                  </a:lnTo>
                  <a:lnTo>
                    <a:pt x="121" y="254"/>
                  </a:lnTo>
                  <a:lnTo>
                    <a:pt x="125" y="252"/>
                  </a:lnTo>
                  <a:lnTo>
                    <a:pt x="140" y="247"/>
                  </a:lnTo>
                  <a:lnTo>
                    <a:pt x="151" y="243"/>
                  </a:lnTo>
                  <a:lnTo>
                    <a:pt x="156" y="241"/>
                  </a:lnTo>
                  <a:lnTo>
                    <a:pt x="160" y="239"/>
                  </a:lnTo>
                  <a:lnTo>
                    <a:pt x="161" y="238"/>
                  </a:lnTo>
                  <a:lnTo>
                    <a:pt x="167" y="232"/>
                  </a:lnTo>
                  <a:lnTo>
                    <a:pt x="171" y="230"/>
                  </a:lnTo>
                  <a:lnTo>
                    <a:pt x="172" y="230"/>
                  </a:lnTo>
                  <a:lnTo>
                    <a:pt x="173" y="230"/>
                  </a:lnTo>
                  <a:lnTo>
                    <a:pt x="175" y="231"/>
                  </a:lnTo>
                  <a:lnTo>
                    <a:pt x="181" y="236"/>
                  </a:lnTo>
                  <a:lnTo>
                    <a:pt x="187" y="242"/>
                  </a:lnTo>
                  <a:lnTo>
                    <a:pt x="189" y="246"/>
                  </a:lnTo>
                  <a:lnTo>
                    <a:pt x="191" y="249"/>
                  </a:lnTo>
                  <a:lnTo>
                    <a:pt x="191" y="249"/>
                  </a:lnTo>
                  <a:lnTo>
                    <a:pt x="193" y="251"/>
                  </a:lnTo>
                  <a:lnTo>
                    <a:pt x="194" y="251"/>
                  </a:lnTo>
                  <a:lnTo>
                    <a:pt x="201" y="253"/>
                  </a:lnTo>
                  <a:lnTo>
                    <a:pt x="203" y="252"/>
                  </a:lnTo>
                  <a:lnTo>
                    <a:pt x="203" y="251"/>
                  </a:lnTo>
                  <a:lnTo>
                    <a:pt x="203" y="250"/>
                  </a:lnTo>
                  <a:lnTo>
                    <a:pt x="203" y="246"/>
                  </a:lnTo>
                  <a:lnTo>
                    <a:pt x="202" y="244"/>
                  </a:lnTo>
                  <a:lnTo>
                    <a:pt x="202" y="243"/>
                  </a:lnTo>
                  <a:lnTo>
                    <a:pt x="202" y="242"/>
                  </a:lnTo>
                  <a:lnTo>
                    <a:pt x="202" y="240"/>
                  </a:lnTo>
                  <a:lnTo>
                    <a:pt x="211" y="226"/>
                  </a:lnTo>
                  <a:lnTo>
                    <a:pt x="212" y="225"/>
                  </a:lnTo>
                  <a:lnTo>
                    <a:pt x="213" y="224"/>
                  </a:lnTo>
                  <a:lnTo>
                    <a:pt x="216" y="224"/>
                  </a:lnTo>
                  <a:lnTo>
                    <a:pt x="222" y="226"/>
                  </a:lnTo>
                  <a:lnTo>
                    <a:pt x="223" y="226"/>
                  </a:lnTo>
                  <a:lnTo>
                    <a:pt x="223" y="224"/>
                  </a:lnTo>
                  <a:lnTo>
                    <a:pt x="222" y="222"/>
                  </a:lnTo>
                  <a:lnTo>
                    <a:pt x="222" y="220"/>
                  </a:lnTo>
                  <a:lnTo>
                    <a:pt x="224" y="219"/>
                  </a:lnTo>
                  <a:lnTo>
                    <a:pt x="226" y="219"/>
                  </a:lnTo>
                  <a:lnTo>
                    <a:pt x="228" y="221"/>
                  </a:lnTo>
                  <a:lnTo>
                    <a:pt x="229" y="222"/>
                  </a:lnTo>
                  <a:lnTo>
                    <a:pt x="230" y="221"/>
                  </a:lnTo>
                  <a:lnTo>
                    <a:pt x="231" y="219"/>
                  </a:lnTo>
                  <a:lnTo>
                    <a:pt x="234" y="221"/>
                  </a:lnTo>
                  <a:lnTo>
                    <a:pt x="238" y="221"/>
                  </a:lnTo>
                  <a:lnTo>
                    <a:pt x="244" y="219"/>
                  </a:lnTo>
                  <a:lnTo>
                    <a:pt x="244" y="219"/>
                  </a:lnTo>
                  <a:lnTo>
                    <a:pt x="243" y="213"/>
                  </a:lnTo>
                  <a:lnTo>
                    <a:pt x="237" y="204"/>
                  </a:lnTo>
                  <a:lnTo>
                    <a:pt x="237" y="199"/>
                  </a:lnTo>
                  <a:lnTo>
                    <a:pt x="240" y="195"/>
                  </a:lnTo>
                  <a:lnTo>
                    <a:pt x="250" y="192"/>
                  </a:lnTo>
                  <a:lnTo>
                    <a:pt x="253" y="189"/>
                  </a:lnTo>
                  <a:lnTo>
                    <a:pt x="254" y="186"/>
                  </a:lnTo>
                  <a:lnTo>
                    <a:pt x="253" y="179"/>
                  </a:lnTo>
                  <a:lnTo>
                    <a:pt x="253" y="176"/>
                  </a:lnTo>
                  <a:lnTo>
                    <a:pt x="255" y="173"/>
                  </a:lnTo>
                  <a:lnTo>
                    <a:pt x="261" y="167"/>
                  </a:lnTo>
                  <a:lnTo>
                    <a:pt x="269" y="154"/>
                  </a:lnTo>
                  <a:lnTo>
                    <a:pt x="271" y="149"/>
                  </a:lnTo>
                  <a:lnTo>
                    <a:pt x="270" y="148"/>
                  </a:lnTo>
                  <a:lnTo>
                    <a:pt x="269" y="146"/>
                  </a:lnTo>
                  <a:lnTo>
                    <a:pt x="269" y="145"/>
                  </a:lnTo>
                  <a:lnTo>
                    <a:pt x="269" y="145"/>
                  </a:lnTo>
                  <a:lnTo>
                    <a:pt x="270" y="144"/>
                  </a:lnTo>
                  <a:lnTo>
                    <a:pt x="271" y="144"/>
                  </a:lnTo>
                  <a:lnTo>
                    <a:pt x="271" y="143"/>
                  </a:lnTo>
                  <a:lnTo>
                    <a:pt x="272" y="139"/>
                  </a:lnTo>
                  <a:lnTo>
                    <a:pt x="272" y="138"/>
                  </a:lnTo>
                  <a:lnTo>
                    <a:pt x="273" y="137"/>
                  </a:lnTo>
                  <a:lnTo>
                    <a:pt x="275" y="136"/>
                  </a:lnTo>
                  <a:lnTo>
                    <a:pt x="277" y="135"/>
                  </a:lnTo>
                  <a:lnTo>
                    <a:pt x="278" y="133"/>
                  </a:lnTo>
                  <a:lnTo>
                    <a:pt x="276" y="128"/>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98" name="Freeform 34">
              <a:extLst>
                <a:ext uri="{FF2B5EF4-FFF2-40B4-BE49-F238E27FC236}">
                  <a16:creationId xmlns:a16="http://schemas.microsoft.com/office/drawing/2014/main" id="{A76CCAF7-A845-44E7-ADAC-CAB53D694882}"/>
                </a:ext>
              </a:extLst>
            </p:cNvPr>
            <p:cNvSpPr>
              <a:spLocks noEditPoints="1"/>
            </p:cNvSpPr>
            <p:nvPr/>
          </p:nvSpPr>
          <p:spPr bwMode="gray">
            <a:xfrm>
              <a:off x="8701525" y="5035635"/>
              <a:ext cx="1178578" cy="1527601"/>
            </a:xfrm>
            <a:custGeom>
              <a:avLst/>
              <a:gdLst>
                <a:gd name="T0" fmla="*/ 562 w 1891"/>
                <a:gd name="T1" fmla="*/ 972 h 2451"/>
                <a:gd name="T2" fmla="*/ 903 w 1891"/>
                <a:gd name="T3" fmla="*/ 1967 h 2451"/>
                <a:gd name="T4" fmla="*/ 263 w 1891"/>
                <a:gd name="T5" fmla="*/ 1730 h 2451"/>
                <a:gd name="T6" fmla="*/ 487 w 1891"/>
                <a:gd name="T7" fmla="*/ 1382 h 2451"/>
                <a:gd name="T8" fmla="*/ 471 w 1891"/>
                <a:gd name="T9" fmla="*/ 1339 h 2451"/>
                <a:gd name="T10" fmla="*/ 447 w 1891"/>
                <a:gd name="T11" fmla="*/ 1308 h 2451"/>
                <a:gd name="T12" fmla="*/ 369 w 1891"/>
                <a:gd name="T13" fmla="*/ 1331 h 2451"/>
                <a:gd name="T14" fmla="*/ 252 w 1891"/>
                <a:gd name="T15" fmla="*/ 1408 h 2451"/>
                <a:gd name="T16" fmla="*/ 286 w 1891"/>
                <a:gd name="T17" fmla="*/ 1547 h 2451"/>
                <a:gd name="T18" fmla="*/ 292 w 1891"/>
                <a:gd name="T19" fmla="*/ 1604 h 2451"/>
                <a:gd name="T20" fmla="*/ 304 w 1891"/>
                <a:gd name="T21" fmla="*/ 1737 h 2451"/>
                <a:gd name="T22" fmla="*/ 386 w 1891"/>
                <a:gd name="T23" fmla="*/ 1717 h 2451"/>
                <a:gd name="T24" fmla="*/ 463 w 1891"/>
                <a:gd name="T25" fmla="*/ 1728 h 2451"/>
                <a:gd name="T26" fmla="*/ 494 w 1891"/>
                <a:gd name="T27" fmla="*/ 1564 h 2451"/>
                <a:gd name="T28" fmla="*/ 286 w 1891"/>
                <a:gd name="T29" fmla="*/ 1759 h 2451"/>
                <a:gd name="T30" fmla="*/ 456 w 1891"/>
                <a:gd name="T31" fmla="*/ 1294 h 2451"/>
                <a:gd name="T32" fmla="*/ 1367 w 1891"/>
                <a:gd name="T33" fmla="*/ 1792 h 2451"/>
                <a:gd name="T34" fmla="*/ 1811 w 1891"/>
                <a:gd name="T35" fmla="*/ 1415 h 2451"/>
                <a:gd name="T36" fmla="*/ 1521 w 1891"/>
                <a:gd name="T37" fmla="*/ 1176 h 2451"/>
                <a:gd name="T38" fmla="*/ 1159 w 1891"/>
                <a:gd name="T39" fmla="*/ 936 h 2451"/>
                <a:gd name="T40" fmla="*/ 918 w 1891"/>
                <a:gd name="T41" fmla="*/ 648 h 2451"/>
                <a:gd name="T42" fmla="*/ 934 w 1891"/>
                <a:gd name="T43" fmla="*/ 506 h 2451"/>
                <a:gd name="T44" fmla="*/ 905 w 1891"/>
                <a:gd name="T45" fmla="*/ 451 h 2451"/>
                <a:gd name="T46" fmla="*/ 898 w 1891"/>
                <a:gd name="T47" fmla="*/ 379 h 2451"/>
                <a:gd name="T48" fmla="*/ 930 w 1891"/>
                <a:gd name="T49" fmla="*/ 365 h 2451"/>
                <a:gd name="T50" fmla="*/ 1084 w 1891"/>
                <a:gd name="T51" fmla="*/ 316 h 2451"/>
                <a:gd name="T52" fmla="*/ 1106 w 1891"/>
                <a:gd name="T53" fmla="*/ 291 h 2451"/>
                <a:gd name="T54" fmla="*/ 1080 w 1891"/>
                <a:gd name="T55" fmla="*/ 176 h 2451"/>
                <a:gd name="T56" fmla="*/ 915 w 1891"/>
                <a:gd name="T57" fmla="*/ 86 h 2451"/>
                <a:gd name="T58" fmla="*/ 801 w 1891"/>
                <a:gd name="T59" fmla="*/ 21 h 2451"/>
                <a:gd name="T60" fmla="*/ 655 w 1891"/>
                <a:gd name="T61" fmla="*/ 69 h 2451"/>
                <a:gd name="T62" fmla="*/ 552 w 1891"/>
                <a:gd name="T63" fmla="*/ 113 h 2451"/>
                <a:gd name="T64" fmla="*/ 487 w 1891"/>
                <a:gd name="T65" fmla="*/ 183 h 2451"/>
                <a:gd name="T66" fmla="*/ 380 w 1891"/>
                <a:gd name="T67" fmla="*/ 241 h 2451"/>
                <a:gd name="T68" fmla="*/ 317 w 1891"/>
                <a:gd name="T69" fmla="*/ 221 h 2451"/>
                <a:gd name="T70" fmla="*/ 205 w 1891"/>
                <a:gd name="T71" fmla="*/ 254 h 2451"/>
                <a:gd name="T72" fmla="*/ 38 w 1891"/>
                <a:gd name="T73" fmla="*/ 287 h 2451"/>
                <a:gd name="T74" fmla="*/ 48 w 1891"/>
                <a:gd name="T75" fmla="*/ 437 h 2451"/>
                <a:gd name="T76" fmla="*/ 69 w 1891"/>
                <a:gd name="T77" fmla="*/ 546 h 2451"/>
                <a:gd name="T78" fmla="*/ 165 w 1891"/>
                <a:gd name="T79" fmla="*/ 666 h 2451"/>
                <a:gd name="T80" fmla="*/ 286 w 1891"/>
                <a:gd name="T81" fmla="*/ 654 h 2451"/>
                <a:gd name="T82" fmla="*/ 459 w 1891"/>
                <a:gd name="T83" fmla="*/ 648 h 2451"/>
                <a:gd name="T84" fmla="*/ 581 w 1891"/>
                <a:gd name="T85" fmla="*/ 739 h 2451"/>
                <a:gd name="T86" fmla="*/ 718 w 1891"/>
                <a:gd name="T87" fmla="*/ 1010 h 2451"/>
                <a:gd name="T88" fmla="*/ 829 w 1891"/>
                <a:gd name="T89" fmla="*/ 1122 h 2451"/>
                <a:gd name="T90" fmla="*/ 1048 w 1891"/>
                <a:gd name="T91" fmla="*/ 1281 h 2451"/>
                <a:gd name="T92" fmla="*/ 1235 w 1891"/>
                <a:gd name="T93" fmla="*/ 1388 h 2451"/>
                <a:gd name="T94" fmla="*/ 1323 w 1891"/>
                <a:gd name="T95" fmla="*/ 1502 h 2451"/>
                <a:gd name="T96" fmla="*/ 1468 w 1891"/>
                <a:gd name="T97" fmla="*/ 1628 h 2451"/>
                <a:gd name="T98" fmla="*/ 1435 w 1891"/>
                <a:gd name="T99" fmla="*/ 1923 h 2451"/>
                <a:gd name="T100" fmla="*/ 1640 w 1891"/>
                <a:gd name="T101" fmla="*/ 1766 h 2451"/>
                <a:gd name="T102" fmla="*/ 1578 w 1891"/>
                <a:gd name="T103" fmla="*/ 1619 h 2451"/>
                <a:gd name="T104" fmla="*/ 1684 w 1891"/>
                <a:gd name="T105" fmla="*/ 1465 h 2451"/>
                <a:gd name="T106" fmla="*/ 1870 w 1891"/>
                <a:gd name="T107" fmla="*/ 1587 h 2451"/>
                <a:gd name="T108" fmla="*/ 912 w 1891"/>
                <a:gd name="T109" fmla="*/ 384 h 2451"/>
                <a:gd name="T110" fmla="*/ 1414 w 1891"/>
                <a:gd name="T111" fmla="*/ 1896 h 2451"/>
                <a:gd name="T112" fmla="*/ 1193 w 1891"/>
                <a:gd name="T113" fmla="*/ 1951 h 2451"/>
                <a:gd name="T114" fmla="*/ 1029 w 1891"/>
                <a:gd name="T115" fmla="*/ 1922 h 2451"/>
                <a:gd name="T116" fmla="*/ 930 w 1891"/>
                <a:gd name="T117" fmla="*/ 1991 h 2451"/>
                <a:gd name="T118" fmla="*/ 1110 w 1891"/>
                <a:gd name="T119" fmla="*/ 2104 h 2451"/>
                <a:gd name="T120" fmla="*/ 1360 w 1891"/>
                <a:gd name="T121" fmla="*/ 2166 h 2451"/>
                <a:gd name="T122" fmla="*/ 1348 w 1891"/>
                <a:gd name="T123" fmla="*/ 2087 h 2451"/>
                <a:gd name="T124" fmla="*/ 1165 w 1891"/>
                <a:gd name="T125" fmla="*/ 1403 h 2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91" h="2451">
                  <a:moveTo>
                    <a:pt x="554" y="1002"/>
                  </a:moveTo>
                  <a:lnTo>
                    <a:pt x="553" y="1000"/>
                  </a:lnTo>
                  <a:lnTo>
                    <a:pt x="552" y="998"/>
                  </a:lnTo>
                  <a:lnTo>
                    <a:pt x="551" y="998"/>
                  </a:lnTo>
                  <a:lnTo>
                    <a:pt x="551" y="1001"/>
                  </a:lnTo>
                  <a:lnTo>
                    <a:pt x="549" y="1003"/>
                  </a:lnTo>
                  <a:lnTo>
                    <a:pt x="547" y="1004"/>
                  </a:lnTo>
                  <a:lnTo>
                    <a:pt x="547" y="1005"/>
                  </a:lnTo>
                  <a:lnTo>
                    <a:pt x="548" y="1007"/>
                  </a:lnTo>
                  <a:lnTo>
                    <a:pt x="551" y="1007"/>
                  </a:lnTo>
                  <a:lnTo>
                    <a:pt x="553" y="1007"/>
                  </a:lnTo>
                  <a:lnTo>
                    <a:pt x="554" y="1006"/>
                  </a:lnTo>
                  <a:lnTo>
                    <a:pt x="555" y="1005"/>
                  </a:lnTo>
                  <a:lnTo>
                    <a:pt x="555" y="1004"/>
                  </a:lnTo>
                  <a:lnTo>
                    <a:pt x="554" y="1003"/>
                  </a:lnTo>
                  <a:lnTo>
                    <a:pt x="554" y="1002"/>
                  </a:lnTo>
                  <a:close/>
                  <a:moveTo>
                    <a:pt x="608" y="950"/>
                  </a:moveTo>
                  <a:lnTo>
                    <a:pt x="610" y="949"/>
                  </a:lnTo>
                  <a:lnTo>
                    <a:pt x="609" y="946"/>
                  </a:lnTo>
                  <a:lnTo>
                    <a:pt x="607" y="945"/>
                  </a:lnTo>
                  <a:lnTo>
                    <a:pt x="606" y="943"/>
                  </a:lnTo>
                  <a:lnTo>
                    <a:pt x="605" y="942"/>
                  </a:lnTo>
                  <a:lnTo>
                    <a:pt x="602" y="944"/>
                  </a:lnTo>
                  <a:lnTo>
                    <a:pt x="601" y="946"/>
                  </a:lnTo>
                  <a:lnTo>
                    <a:pt x="600" y="951"/>
                  </a:lnTo>
                  <a:lnTo>
                    <a:pt x="599" y="952"/>
                  </a:lnTo>
                  <a:lnTo>
                    <a:pt x="597" y="953"/>
                  </a:lnTo>
                  <a:lnTo>
                    <a:pt x="596" y="955"/>
                  </a:lnTo>
                  <a:lnTo>
                    <a:pt x="595" y="956"/>
                  </a:lnTo>
                  <a:lnTo>
                    <a:pt x="594" y="957"/>
                  </a:lnTo>
                  <a:lnTo>
                    <a:pt x="592" y="957"/>
                  </a:lnTo>
                  <a:lnTo>
                    <a:pt x="590" y="956"/>
                  </a:lnTo>
                  <a:lnTo>
                    <a:pt x="591" y="953"/>
                  </a:lnTo>
                  <a:lnTo>
                    <a:pt x="585" y="953"/>
                  </a:lnTo>
                  <a:lnTo>
                    <a:pt x="582" y="952"/>
                  </a:lnTo>
                  <a:lnTo>
                    <a:pt x="582" y="954"/>
                  </a:lnTo>
                  <a:lnTo>
                    <a:pt x="580" y="956"/>
                  </a:lnTo>
                  <a:lnTo>
                    <a:pt x="581" y="956"/>
                  </a:lnTo>
                  <a:lnTo>
                    <a:pt x="581" y="956"/>
                  </a:lnTo>
                  <a:lnTo>
                    <a:pt x="581" y="956"/>
                  </a:lnTo>
                  <a:lnTo>
                    <a:pt x="581" y="957"/>
                  </a:lnTo>
                  <a:lnTo>
                    <a:pt x="577" y="958"/>
                  </a:lnTo>
                  <a:lnTo>
                    <a:pt x="575" y="957"/>
                  </a:lnTo>
                  <a:lnTo>
                    <a:pt x="573" y="957"/>
                  </a:lnTo>
                  <a:lnTo>
                    <a:pt x="569" y="955"/>
                  </a:lnTo>
                  <a:lnTo>
                    <a:pt x="567" y="954"/>
                  </a:lnTo>
                  <a:lnTo>
                    <a:pt x="564" y="955"/>
                  </a:lnTo>
                  <a:lnTo>
                    <a:pt x="560" y="956"/>
                  </a:lnTo>
                  <a:lnTo>
                    <a:pt x="557" y="958"/>
                  </a:lnTo>
                  <a:lnTo>
                    <a:pt x="555" y="962"/>
                  </a:lnTo>
                  <a:lnTo>
                    <a:pt x="556" y="968"/>
                  </a:lnTo>
                  <a:lnTo>
                    <a:pt x="559" y="970"/>
                  </a:lnTo>
                  <a:lnTo>
                    <a:pt x="562" y="972"/>
                  </a:lnTo>
                  <a:lnTo>
                    <a:pt x="575" y="972"/>
                  </a:lnTo>
                  <a:lnTo>
                    <a:pt x="576" y="972"/>
                  </a:lnTo>
                  <a:lnTo>
                    <a:pt x="577" y="971"/>
                  </a:lnTo>
                  <a:lnTo>
                    <a:pt x="578" y="968"/>
                  </a:lnTo>
                  <a:lnTo>
                    <a:pt x="581" y="970"/>
                  </a:lnTo>
                  <a:lnTo>
                    <a:pt x="587" y="967"/>
                  </a:lnTo>
                  <a:lnTo>
                    <a:pt x="589" y="970"/>
                  </a:lnTo>
                  <a:lnTo>
                    <a:pt x="590" y="966"/>
                  </a:lnTo>
                  <a:lnTo>
                    <a:pt x="593" y="966"/>
                  </a:lnTo>
                  <a:lnTo>
                    <a:pt x="595" y="968"/>
                  </a:lnTo>
                  <a:lnTo>
                    <a:pt x="597" y="969"/>
                  </a:lnTo>
                  <a:lnTo>
                    <a:pt x="597" y="970"/>
                  </a:lnTo>
                  <a:lnTo>
                    <a:pt x="599" y="974"/>
                  </a:lnTo>
                  <a:lnTo>
                    <a:pt x="600" y="975"/>
                  </a:lnTo>
                  <a:lnTo>
                    <a:pt x="601" y="976"/>
                  </a:lnTo>
                  <a:lnTo>
                    <a:pt x="603" y="976"/>
                  </a:lnTo>
                  <a:lnTo>
                    <a:pt x="604" y="976"/>
                  </a:lnTo>
                  <a:lnTo>
                    <a:pt x="605" y="978"/>
                  </a:lnTo>
                  <a:lnTo>
                    <a:pt x="607" y="975"/>
                  </a:lnTo>
                  <a:lnTo>
                    <a:pt x="606" y="971"/>
                  </a:lnTo>
                  <a:lnTo>
                    <a:pt x="604" y="968"/>
                  </a:lnTo>
                  <a:lnTo>
                    <a:pt x="601" y="966"/>
                  </a:lnTo>
                  <a:lnTo>
                    <a:pt x="604" y="965"/>
                  </a:lnTo>
                  <a:lnTo>
                    <a:pt x="606" y="963"/>
                  </a:lnTo>
                  <a:lnTo>
                    <a:pt x="607" y="961"/>
                  </a:lnTo>
                  <a:lnTo>
                    <a:pt x="608" y="957"/>
                  </a:lnTo>
                  <a:lnTo>
                    <a:pt x="607" y="955"/>
                  </a:lnTo>
                  <a:lnTo>
                    <a:pt x="607" y="952"/>
                  </a:lnTo>
                  <a:lnTo>
                    <a:pt x="608" y="950"/>
                  </a:lnTo>
                  <a:close/>
                  <a:moveTo>
                    <a:pt x="586" y="1056"/>
                  </a:moveTo>
                  <a:lnTo>
                    <a:pt x="586" y="1060"/>
                  </a:lnTo>
                  <a:lnTo>
                    <a:pt x="589" y="1061"/>
                  </a:lnTo>
                  <a:lnTo>
                    <a:pt x="589" y="1057"/>
                  </a:lnTo>
                  <a:lnTo>
                    <a:pt x="588" y="1055"/>
                  </a:lnTo>
                  <a:lnTo>
                    <a:pt x="586" y="1056"/>
                  </a:lnTo>
                  <a:close/>
                  <a:moveTo>
                    <a:pt x="686" y="1054"/>
                  </a:moveTo>
                  <a:lnTo>
                    <a:pt x="684" y="1049"/>
                  </a:lnTo>
                  <a:lnTo>
                    <a:pt x="681" y="1047"/>
                  </a:lnTo>
                  <a:lnTo>
                    <a:pt x="679" y="1046"/>
                  </a:lnTo>
                  <a:lnTo>
                    <a:pt x="678" y="1047"/>
                  </a:lnTo>
                  <a:lnTo>
                    <a:pt x="678" y="1050"/>
                  </a:lnTo>
                  <a:lnTo>
                    <a:pt x="676" y="1052"/>
                  </a:lnTo>
                  <a:lnTo>
                    <a:pt x="677" y="1054"/>
                  </a:lnTo>
                  <a:lnTo>
                    <a:pt x="683" y="1060"/>
                  </a:lnTo>
                  <a:lnTo>
                    <a:pt x="686" y="1062"/>
                  </a:lnTo>
                  <a:lnTo>
                    <a:pt x="688" y="1059"/>
                  </a:lnTo>
                  <a:lnTo>
                    <a:pt x="687" y="1057"/>
                  </a:lnTo>
                  <a:lnTo>
                    <a:pt x="686" y="1054"/>
                  </a:lnTo>
                  <a:close/>
                  <a:moveTo>
                    <a:pt x="910" y="1969"/>
                  </a:moveTo>
                  <a:lnTo>
                    <a:pt x="908" y="1967"/>
                  </a:lnTo>
                  <a:lnTo>
                    <a:pt x="906" y="1967"/>
                  </a:lnTo>
                  <a:lnTo>
                    <a:pt x="905" y="1967"/>
                  </a:lnTo>
                  <a:lnTo>
                    <a:pt x="903" y="1967"/>
                  </a:lnTo>
                  <a:lnTo>
                    <a:pt x="902" y="1968"/>
                  </a:lnTo>
                  <a:lnTo>
                    <a:pt x="900" y="1968"/>
                  </a:lnTo>
                  <a:lnTo>
                    <a:pt x="901" y="1970"/>
                  </a:lnTo>
                  <a:lnTo>
                    <a:pt x="902" y="1971"/>
                  </a:lnTo>
                  <a:lnTo>
                    <a:pt x="904" y="1972"/>
                  </a:lnTo>
                  <a:lnTo>
                    <a:pt x="906" y="1971"/>
                  </a:lnTo>
                  <a:lnTo>
                    <a:pt x="908" y="1972"/>
                  </a:lnTo>
                  <a:lnTo>
                    <a:pt x="911" y="1973"/>
                  </a:lnTo>
                  <a:lnTo>
                    <a:pt x="913" y="1973"/>
                  </a:lnTo>
                  <a:lnTo>
                    <a:pt x="915" y="1971"/>
                  </a:lnTo>
                  <a:lnTo>
                    <a:pt x="913" y="1970"/>
                  </a:lnTo>
                  <a:lnTo>
                    <a:pt x="910" y="1969"/>
                  </a:lnTo>
                  <a:close/>
                  <a:moveTo>
                    <a:pt x="868" y="1962"/>
                  </a:moveTo>
                  <a:lnTo>
                    <a:pt x="867" y="1958"/>
                  </a:lnTo>
                  <a:lnTo>
                    <a:pt x="865" y="1957"/>
                  </a:lnTo>
                  <a:lnTo>
                    <a:pt x="862" y="1957"/>
                  </a:lnTo>
                  <a:lnTo>
                    <a:pt x="861" y="1959"/>
                  </a:lnTo>
                  <a:lnTo>
                    <a:pt x="862" y="1961"/>
                  </a:lnTo>
                  <a:lnTo>
                    <a:pt x="864" y="1963"/>
                  </a:lnTo>
                  <a:lnTo>
                    <a:pt x="867" y="1966"/>
                  </a:lnTo>
                  <a:lnTo>
                    <a:pt x="869" y="1966"/>
                  </a:lnTo>
                  <a:lnTo>
                    <a:pt x="869" y="1964"/>
                  </a:lnTo>
                  <a:lnTo>
                    <a:pt x="868" y="1962"/>
                  </a:lnTo>
                  <a:close/>
                  <a:moveTo>
                    <a:pt x="862" y="2193"/>
                  </a:moveTo>
                  <a:lnTo>
                    <a:pt x="856" y="2187"/>
                  </a:lnTo>
                  <a:lnTo>
                    <a:pt x="855" y="2189"/>
                  </a:lnTo>
                  <a:lnTo>
                    <a:pt x="854" y="2190"/>
                  </a:lnTo>
                  <a:lnTo>
                    <a:pt x="853" y="2189"/>
                  </a:lnTo>
                  <a:lnTo>
                    <a:pt x="852" y="2189"/>
                  </a:lnTo>
                  <a:lnTo>
                    <a:pt x="851" y="2188"/>
                  </a:lnTo>
                  <a:lnTo>
                    <a:pt x="850" y="2186"/>
                  </a:lnTo>
                  <a:lnTo>
                    <a:pt x="849" y="2186"/>
                  </a:lnTo>
                  <a:lnTo>
                    <a:pt x="848" y="2186"/>
                  </a:lnTo>
                  <a:lnTo>
                    <a:pt x="847" y="2187"/>
                  </a:lnTo>
                  <a:lnTo>
                    <a:pt x="846" y="2187"/>
                  </a:lnTo>
                  <a:lnTo>
                    <a:pt x="844" y="2189"/>
                  </a:lnTo>
                  <a:lnTo>
                    <a:pt x="844" y="2192"/>
                  </a:lnTo>
                  <a:lnTo>
                    <a:pt x="846" y="2195"/>
                  </a:lnTo>
                  <a:lnTo>
                    <a:pt x="846" y="2196"/>
                  </a:lnTo>
                  <a:lnTo>
                    <a:pt x="850" y="2201"/>
                  </a:lnTo>
                  <a:lnTo>
                    <a:pt x="856" y="2205"/>
                  </a:lnTo>
                  <a:lnTo>
                    <a:pt x="861" y="2206"/>
                  </a:lnTo>
                  <a:lnTo>
                    <a:pt x="865" y="2201"/>
                  </a:lnTo>
                  <a:lnTo>
                    <a:pt x="865" y="2196"/>
                  </a:lnTo>
                  <a:lnTo>
                    <a:pt x="862" y="2193"/>
                  </a:lnTo>
                  <a:close/>
                  <a:moveTo>
                    <a:pt x="270" y="1714"/>
                  </a:moveTo>
                  <a:lnTo>
                    <a:pt x="267" y="1715"/>
                  </a:lnTo>
                  <a:lnTo>
                    <a:pt x="260" y="1717"/>
                  </a:lnTo>
                  <a:lnTo>
                    <a:pt x="258" y="1718"/>
                  </a:lnTo>
                  <a:lnTo>
                    <a:pt x="257" y="1722"/>
                  </a:lnTo>
                  <a:lnTo>
                    <a:pt x="258" y="1724"/>
                  </a:lnTo>
                  <a:lnTo>
                    <a:pt x="263" y="1728"/>
                  </a:lnTo>
                  <a:lnTo>
                    <a:pt x="263" y="1730"/>
                  </a:lnTo>
                  <a:lnTo>
                    <a:pt x="262" y="1732"/>
                  </a:lnTo>
                  <a:lnTo>
                    <a:pt x="264" y="1733"/>
                  </a:lnTo>
                  <a:lnTo>
                    <a:pt x="267" y="1733"/>
                  </a:lnTo>
                  <a:lnTo>
                    <a:pt x="270" y="1732"/>
                  </a:lnTo>
                  <a:lnTo>
                    <a:pt x="271" y="1729"/>
                  </a:lnTo>
                  <a:lnTo>
                    <a:pt x="270" y="1721"/>
                  </a:lnTo>
                  <a:lnTo>
                    <a:pt x="270" y="1714"/>
                  </a:lnTo>
                  <a:close/>
                  <a:moveTo>
                    <a:pt x="514" y="902"/>
                  </a:moveTo>
                  <a:lnTo>
                    <a:pt x="514" y="901"/>
                  </a:lnTo>
                  <a:lnTo>
                    <a:pt x="514" y="901"/>
                  </a:lnTo>
                  <a:lnTo>
                    <a:pt x="511" y="899"/>
                  </a:lnTo>
                  <a:lnTo>
                    <a:pt x="508" y="901"/>
                  </a:lnTo>
                  <a:lnTo>
                    <a:pt x="505" y="909"/>
                  </a:lnTo>
                  <a:lnTo>
                    <a:pt x="507" y="913"/>
                  </a:lnTo>
                  <a:lnTo>
                    <a:pt x="511" y="913"/>
                  </a:lnTo>
                  <a:lnTo>
                    <a:pt x="514" y="910"/>
                  </a:lnTo>
                  <a:lnTo>
                    <a:pt x="516" y="906"/>
                  </a:lnTo>
                  <a:lnTo>
                    <a:pt x="515" y="902"/>
                  </a:lnTo>
                  <a:lnTo>
                    <a:pt x="514" y="902"/>
                  </a:lnTo>
                  <a:close/>
                  <a:moveTo>
                    <a:pt x="955" y="2447"/>
                  </a:moveTo>
                  <a:lnTo>
                    <a:pt x="956" y="2446"/>
                  </a:lnTo>
                  <a:lnTo>
                    <a:pt x="955" y="2446"/>
                  </a:lnTo>
                  <a:lnTo>
                    <a:pt x="954" y="2446"/>
                  </a:lnTo>
                  <a:lnTo>
                    <a:pt x="947" y="2445"/>
                  </a:lnTo>
                  <a:lnTo>
                    <a:pt x="945" y="2445"/>
                  </a:lnTo>
                  <a:lnTo>
                    <a:pt x="941" y="2445"/>
                  </a:lnTo>
                  <a:lnTo>
                    <a:pt x="940" y="2446"/>
                  </a:lnTo>
                  <a:lnTo>
                    <a:pt x="942" y="2446"/>
                  </a:lnTo>
                  <a:lnTo>
                    <a:pt x="945" y="2447"/>
                  </a:lnTo>
                  <a:lnTo>
                    <a:pt x="951" y="2450"/>
                  </a:lnTo>
                  <a:lnTo>
                    <a:pt x="952" y="2450"/>
                  </a:lnTo>
                  <a:lnTo>
                    <a:pt x="952" y="2450"/>
                  </a:lnTo>
                  <a:lnTo>
                    <a:pt x="953" y="2451"/>
                  </a:lnTo>
                  <a:lnTo>
                    <a:pt x="955" y="2450"/>
                  </a:lnTo>
                  <a:lnTo>
                    <a:pt x="956" y="2449"/>
                  </a:lnTo>
                  <a:lnTo>
                    <a:pt x="955" y="2447"/>
                  </a:lnTo>
                  <a:lnTo>
                    <a:pt x="955" y="2447"/>
                  </a:lnTo>
                  <a:close/>
                  <a:moveTo>
                    <a:pt x="511" y="1438"/>
                  </a:moveTo>
                  <a:lnTo>
                    <a:pt x="506" y="1433"/>
                  </a:lnTo>
                  <a:lnTo>
                    <a:pt x="505" y="1431"/>
                  </a:lnTo>
                  <a:lnTo>
                    <a:pt x="505" y="1429"/>
                  </a:lnTo>
                  <a:lnTo>
                    <a:pt x="504" y="1428"/>
                  </a:lnTo>
                  <a:lnTo>
                    <a:pt x="502" y="1428"/>
                  </a:lnTo>
                  <a:lnTo>
                    <a:pt x="501" y="1427"/>
                  </a:lnTo>
                  <a:lnTo>
                    <a:pt x="500" y="1425"/>
                  </a:lnTo>
                  <a:lnTo>
                    <a:pt x="500" y="1423"/>
                  </a:lnTo>
                  <a:lnTo>
                    <a:pt x="499" y="1410"/>
                  </a:lnTo>
                  <a:lnTo>
                    <a:pt x="498" y="1408"/>
                  </a:lnTo>
                  <a:lnTo>
                    <a:pt x="494" y="1398"/>
                  </a:lnTo>
                  <a:lnTo>
                    <a:pt x="493" y="1394"/>
                  </a:lnTo>
                  <a:lnTo>
                    <a:pt x="492" y="1391"/>
                  </a:lnTo>
                  <a:lnTo>
                    <a:pt x="487" y="1385"/>
                  </a:lnTo>
                  <a:lnTo>
                    <a:pt x="487" y="1382"/>
                  </a:lnTo>
                  <a:lnTo>
                    <a:pt x="487" y="1385"/>
                  </a:lnTo>
                  <a:lnTo>
                    <a:pt x="485" y="1383"/>
                  </a:lnTo>
                  <a:lnTo>
                    <a:pt x="485" y="1381"/>
                  </a:lnTo>
                  <a:lnTo>
                    <a:pt x="487" y="1380"/>
                  </a:lnTo>
                  <a:lnTo>
                    <a:pt x="490" y="1380"/>
                  </a:lnTo>
                  <a:lnTo>
                    <a:pt x="490" y="1379"/>
                  </a:lnTo>
                  <a:lnTo>
                    <a:pt x="488" y="1376"/>
                  </a:lnTo>
                  <a:lnTo>
                    <a:pt x="490" y="1375"/>
                  </a:lnTo>
                  <a:lnTo>
                    <a:pt x="495" y="1373"/>
                  </a:lnTo>
                  <a:lnTo>
                    <a:pt x="493" y="1373"/>
                  </a:lnTo>
                  <a:lnTo>
                    <a:pt x="491" y="1372"/>
                  </a:lnTo>
                  <a:lnTo>
                    <a:pt x="490" y="1371"/>
                  </a:lnTo>
                  <a:lnTo>
                    <a:pt x="489" y="1369"/>
                  </a:lnTo>
                  <a:lnTo>
                    <a:pt x="487" y="1370"/>
                  </a:lnTo>
                  <a:lnTo>
                    <a:pt x="486" y="1370"/>
                  </a:lnTo>
                  <a:lnTo>
                    <a:pt x="485" y="1369"/>
                  </a:lnTo>
                  <a:lnTo>
                    <a:pt x="484" y="1367"/>
                  </a:lnTo>
                  <a:lnTo>
                    <a:pt x="483" y="1366"/>
                  </a:lnTo>
                  <a:lnTo>
                    <a:pt x="478" y="1363"/>
                  </a:lnTo>
                  <a:lnTo>
                    <a:pt x="478" y="1362"/>
                  </a:lnTo>
                  <a:lnTo>
                    <a:pt x="479" y="1361"/>
                  </a:lnTo>
                  <a:lnTo>
                    <a:pt x="481" y="1361"/>
                  </a:lnTo>
                  <a:lnTo>
                    <a:pt x="481" y="1359"/>
                  </a:lnTo>
                  <a:lnTo>
                    <a:pt x="482" y="1357"/>
                  </a:lnTo>
                  <a:lnTo>
                    <a:pt x="479" y="1357"/>
                  </a:lnTo>
                  <a:lnTo>
                    <a:pt x="477" y="1358"/>
                  </a:lnTo>
                  <a:lnTo>
                    <a:pt x="474" y="1360"/>
                  </a:lnTo>
                  <a:lnTo>
                    <a:pt x="471" y="1360"/>
                  </a:lnTo>
                  <a:lnTo>
                    <a:pt x="470" y="1360"/>
                  </a:lnTo>
                  <a:lnTo>
                    <a:pt x="468" y="1358"/>
                  </a:lnTo>
                  <a:lnTo>
                    <a:pt x="466" y="1357"/>
                  </a:lnTo>
                  <a:lnTo>
                    <a:pt x="464" y="1358"/>
                  </a:lnTo>
                  <a:lnTo>
                    <a:pt x="463" y="1359"/>
                  </a:lnTo>
                  <a:lnTo>
                    <a:pt x="462" y="1359"/>
                  </a:lnTo>
                  <a:lnTo>
                    <a:pt x="460" y="1356"/>
                  </a:lnTo>
                  <a:lnTo>
                    <a:pt x="462" y="1356"/>
                  </a:lnTo>
                  <a:lnTo>
                    <a:pt x="461" y="1355"/>
                  </a:lnTo>
                  <a:lnTo>
                    <a:pt x="462" y="1355"/>
                  </a:lnTo>
                  <a:lnTo>
                    <a:pt x="469" y="1355"/>
                  </a:lnTo>
                  <a:lnTo>
                    <a:pt x="471" y="1354"/>
                  </a:lnTo>
                  <a:lnTo>
                    <a:pt x="470" y="1351"/>
                  </a:lnTo>
                  <a:lnTo>
                    <a:pt x="472" y="1349"/>
                  </a:lnTo>
                  <a:lnTo>
                    <a:pt x="473" y="1345"/>
                  </a:lnTo>
                  <a:lnTo>
                    <a:pt x="473" y="1342"/>
                  </a:lnTo>
                  <a:lnTo>
                    <a:pt x="476" y="1340"/>
                  </a:lnTo>
                  <a:lnTo>
                    <a:pt x="479" y="1341"/>
                  </a:lnTo>
                  <a:lnTo>
                    <a:pt x="481" y="1342"/>
                  </a:lnTo>
                  <a:lnTo>
                    <a:pt x="484" y="1343"/>
                  </a:lnTo>
                  <a:lnTo>
                    <a:pt x="485" y="1340"/>
                  </a:lnTo>
                  <a:lnTo>
                    <a:pt x="482" y="1338"/>
                  </a:lnTo>
                  <a:lnTo>
                    <a:pt x="478" y="1337"/>
                  </a:lnTo>
                  <a:lnTo>
                    <a:pt x="473" y="1336"/>
                  </a:lnTo>
                  <a:lnTo>
                    <a:pt x="471" y="1339"/>
                  </a:lnTo>
                  <a:lnTo>
                    <a:pt x="471" y="1339"/>
                  </a:lnTo>
                  <a:lnTo>
                    <a:pt x="470" y="1338"/>
                  </a:lnTo>
                  <a:lnTo>
                    <a:pt x="469" y="1337"/>
                  </a:lnTo>
                  <a:lnTo>
                    <a:pt x="469" y="1338"/>
                  </a:lnTo>
                  <a:lnTo>
                    <a:pt x="469" y="1338"/>
                  </a:lnTo>
                  <a:lnTo>
                    <a:pt x="469" y="1339"/>
                  </a:lnTo>
                  <a:lnTo>
                    <a:pt x="468" y="1339"/>
                  </a:lnTo>
                  <a:lnTo>
                    <a:pt x="469" y="1336"/>
                  </a:lnTo>
                  <a:lnTo>
                    <a:pt x="468" y="1334"/>
                  </a:lnTo>
                  <a:lnTo>
                    <a:pt x="467" y="1333"/>
                  </a:lnTo>
                  <a:lnTo>
                    <a:pt x="463" y="1334"/>
                  </a:lnTo>
                  <a:lnTo>
                    <a:pt x="465" y="1337"/>
                  </a:lnTo>
                  <a:lnTo>
                    <a:pt x="462" y="1337"/>
                  </a:lnTo>
                  <a:lnTo>
                    <a:pt x="463" y="1334"/>
                  </a:lnTo>
                  <a:lnTo>
                    <a:pt x="466" y="1321"/>
                  </a:lnTo>
                  <a:lnTo>
                    <a:pt x="466" y="1322"/>
                  </a:lnTo>
                  <a:lnTo>
                    <a:pt x="467" y="1323"/>
                  </a:lnTo>
                  <a:lnTo>
                    <a:pt x="467" y="1325"/>
                  </a:lnTo>
                  <a:lnTo>
                    <a:pt x="468" y="1322"/>
                  </a:lnTo>
                  <a:lnTo>
                    <a:pt x="469" y="1321"/>
                  </a:lnTo>
                  <a:lnTo>
                    <a:pt x="470" y="1318"/>
                  </a:lnTo>
                  <a:lnTo>
                    <a:pt x="470" y="1316"/>
                  </a:lnTo>
                  <a:lnTo>
                    <a:pt x="470" y="1315"/>
                  </a:lnTo>
                  <a:lnTo>
                    <a:pt x="469" y="1315"/>
                  </a:lnTo>
                  <a:lnTo>
                    <a:pt x="469" y="1315"/>
                  </a:lnTo>
                  <a:lnTo>
                    <a:pt x="469" y="1314"/>
                  </a:lnTo>
                  <a:lnTo>
                    <a:pt x="468" y="1314"/>
                  </a:lnTo>
                  <a:lnTo>
                    <a:pt x="467" y="1316"/>
                  </a:lnTo>
                  <a:lnTo>
                    <a:pt x="466" y="1315"/>
                  </a:lnTo>
                  <a:lnTo>
                    <a:pt x="465" y="1314"/>
                  </a:lnTo>
                  <a:lnTo>
                    <a:pt x="463" y="1313"/>
                  </a:lnTo>
                  <a:lnTo>
                    <a:pt x="465" y="1311"/>
                  </a:lnTo>
                  <a:lnTo>
                    <a:pt x="463" y="1309"/>
                  </a:lnTo>
                  <a:lnTo>
                    <a:pt x="463" y="1310"/>
                  </a:lnTo>
                  <a:lnTo>
                    <a:pt x="462" y="1311"/>
                  </a:lnTo>
                  <a:lnTo>
                    <a:pt x="461" y="1311"/>
                  </a:lnTo>
                  <a:lnTo>
                    <a:pt x="459" y="1311"/>
                  </a:lnTo>
                  <a:lnTo>
                    <a:pt x="457" y="1310"/>
                  </a:lnTo>
                  <a:lnTo>
                    <a:pt x="455" y="1310"/>
                  </a:lnTo>
                  <a:lnTo>
                    <a:pt x="453" y="1311"/>
                  </a:lnTo>
                  <a:lnTo>
                    <a:pt x="454" y="1312"/>
                  </a:lnTo>
                  <a:lnTo>
                    <a:pt x="454" y="1312"/>
                  </a:lnTo>
                  <a:lnTo>
                    <a:pt x="454" y="1313"/>
                  </a:lnTo>
                  <a:lnTo>
                    <a:pt x="455" y="1314"/>
                  </a:lnTo>
                  <a:lnTo>
                    <a:pt x="453" y="1316"/>
                  </a:lnTo>
                  <a:lnTo>
                    <a:pt x="452" y="1317"/>
                  </a:lnTo>
                  <a:lnTo>
                    <a:pt x="451" y="1321"/>
                  </a:lnTo>
                  <a:lnTo>
                    <a:pt x="449" y="1316"/>
                  </a:lnTo>
                  <a:lnTo>
                    <a:pt x="450" y="1315"/>
                  </a:lnTo>
                  <a:lnTo>
                    <a:pt x="451" y="1313"/>
                  </a:lnTo>
                  <a:lnTo>
                    <a:pt x="449" y="1311"/>
                  </a:lnTo>
                  <a:lnTo>
                    <a:pt x="448" y="1309"/>
                  </a:lnTo>
                  <a:lnTo>
                    <a:pt x="447" y="1308"/>
                  </a:lnTo>
                  <a:lnTo>
                    <a:pt x="445" y="1307"/>
                  </a:lnTo>
                  <a:lnTo>
                    <a:pt x="446" y="1306"/>
                  </a:lnTo>
                  <a:lnTo>
                    <a:pt x="446" y="1306"/>
                  </a:lnTo>
                  <a:lnTo>
                    <a:pt x="446" y="1305"/>
                  </a:lnTo>
                  <a:lnTo>
                    <a:pt x="447" y="1304"/>
                  </a:lnTo>
                  <a:lnTo>
                    <a:pt x="447" y="1303"/>
                  </a:lnTo>
                  <a:lnTo>
                    <a:pt x="446" y="1303"/>
                  </a:lnTo>
                  <a:lnTo>
                    <a:pt x="444" y="1303"/>
                  </a:lnTo>
                  <a:lnTo>
                    <a:pt x="443" y="1302"/>
                  </a:lnTo>
                  <a:lnTo>
                    <a:pt x="442" y="1302"/>
                  </a:lnTo>
                  <a:lnTo>
                    <a:pt x="442" y="1303"/>
                  </a:lnTo>
                  <a:lnTo>
                    <a:pt x="436" y="1297"/>
                  </a:lnTo>
                  <a:lnTo>
                    <a:pt x="434" y="1296"/>
                  </a:lnTo>
                  <a:lnTo>
                    <a:pt x="433" y="1302"/>
                  </a:lnTo>
                  <a:lnTo>
                    <a:pt x="430" y="1300"/>
                  </a:lnTo>
                  <a:lnTo>
                    <a:pt x="430" y="1298"/>
                  </a:lnTo>
                  <a:lnTo>
                    <a:pt x="429" y="1299"/>
                  </a:lnTo>
                  <a:lnTo>
                    <a:pt x="428" y="1300"/>
                  </a:lnTo>
                  <a:lnTo>
                    <a:pt x="425" y="1300"/>
                  </a:lnTo>
                  <a:lnTo>
                    <a:pt x="425" y="1298"/>
                  </a:lnTo>
                  <a:lnTo>
                    <a:pt x="426" y="1297"/>
                  </a:lnTo>
                  <a:lnTo>
                    <a:pt x="426" y="1297"/>
                  </a:lnTo>
                  <a:lnTo>
                    <a:pt x="425" y="1294"/>
                  </a:lnTo>
                  <a:lnTo>
                    <a:pt x="424" y="1294"/>
                  </a:lnTo>
                  <a:lnTo>
                    <a:pt x="424" y="1296"/>
                  </a:lnTo>
                  <a:lnTo>
                    <a:pt x="424" y="1298"/>
                  </a:lnTo>
                  <a:lnTo>
                    <a:pt x="424" y="1299"/>
                  </a:lnTo>
                  <a:lnTo>
                    <a:pt x="424" y="1300"/>
                  </a:lnTo>
                  <a:lnTo>
                    <a:pt x="423" y="1298"/>
                  </a:lnTo>
                  <a:lnTo>
                    <a:pt x="423" y="1291"/>
                  </a:lnTo>
                  <a:lnTo>
                    <a:pt x="421" y="1288"/>
                  </a:lnTo>
                  <a:lnTo>
                    <a:pt x="419" y="1289"/>
                  </a:lnTo>
                  <a:lnTo>
                    <a:pt x="418" y="1288"/>
                  </a:lnTo>
                  <a:lnTo>
                    <a:pt x="417" y="1287"/>
                  </a:lnTo>
                  <a:lnTo>
                    <a:pt x="417" y="1286"/>
                  </a:lnTo>
                  <a:lnTo>
                    <a:pt x="414" y="1287"/>
                  </a:lnTo>
                  <a:lnTo>
                    <a:pt x="410" y="1288"/>
                  </a:lnTo>
                  <a:lnTo>
                    <a:pt x="407" y="1290"/>
                  </a:lnTo>
                  <a:lnTo>
                    <a:pt x="406" y="1293"/>
                  </a:lnTo>
                  <a:lnTo>
                    <a:pt x="406" y="1302"/>
                  </a:lnTo>
                  <a:lnTo>
                    <a:pt x="405" y="1305"/>
                  </a:lnTo>
                  <a:lnTo>
                    <a:pt x="403" y="1309"/>
                  </a:lnTo>
                  <a:lnTo>
                    <a:pt x="402" y="1307"/>
                  </a:lnTo>
                  <a:lnTo>
                    <a:pt x="397" y="1311"/>
                  </a:lnTo>
                  <a:lnTo>
                    <a:pt x="395" y="1312"/>
                  </a:lnTo>
                  <a:lnTo>
                    <a:pt x="384" y="1314"/>
                  </a:lnTo>
                  <a:lnTo>
                    <a:pt x="381" y="1315"/>
                  </a:lnTo>
                  <a:lnTo>
                    <a:pt x="379" y="1320"/>
                  </a:lnTo>
                  <a:lnTo>
                    <a:pt x="376" y="1323"/>
                  </a:lnTo>
                  <a:lnTo>
                    <a:pt x="374" y="1326"/>
                  </a:lnTo>
                  <a:lnTo>
                    <a:pt x="372" y="1327"/>
                  </a:lnTo>
                  <a:lnTo>
                    <a:pt x="371" y="1328"/>
                  </a:lnTo>
                  <a:lnTo>
                    <a:pt x="369" y="1331"/>
                  </a:lnTo>
                  <a:lnTo>
                    <a:pt x="368" y="1333"/>
                  </a:lnTo>
                  <a:lnTo>
                    <a:pt x="366" y="1334"/>
                  </a:lnTo>
                  <a:lnTo>
                    <a:pt x="361" y="1336"/>
                  </a:lnTo>
                  <a:lnTo>
                    <a:pt x="362" y="1336"/>
                  </a:lnTo>
                  <a:lnTo>
                    <a:pt x="362" y="1336"/>
                  </a:lnTo>
                  <a:lnTo>
                    <a:pt x="362" y="1336"/>
                  </a:lnTo>
                  <a:lnTo>
                    <a:pt x="362" y="1337"/>
                  </a:lnTo>
                  <a:lnTo>
                    <a:pt x="360" y="1339"/>
                  </a:lnTo>
                  <a:lnTo>
                    <a:pt x="355" y="1349"/>
                  </a:lnTo>
                  <a:lnTo>
                    <a:pt x="352" y="1352"/>
                  </a:lnTo>
                  <a:lnTo>
                    <a:pt x="343" y="1359"/>
                  </a:lnTo>
                  <a:lnTo>
                    <a:pt x="341" y="1358"/>
                  </a:lnTo>
                  <a:lnTo>
                    <a:pt x="338" y="1357"/>
                  </a:lnTo>
                  <a:lnTo>
                    <a:pt x="334" y="1357"/>
                  </a:lnTo>
                  <a:lnTo>
                    <a:pt x="323" y="1362"/>
                  </a:lnTo>
                  <a:lnTo>
                    <a:pt x="322" y="1365"/>
                  </a:lnTo>
                  <a:lnTo>
                    <a:pt x="320" y="1369"/>
                  </a:lnTo>
                  <a:lnTo>
                    <a:pt x="316" y="1371"/>
                  </a:lnTo>
                  <a:lnTo>
                    <a:pt x="304" y="1377"/>
                  </a:lnTo>
                  <a:lnTo>
                    <a:pt x="301" y="1378"/>
                  </a:lnTo>
                  <a:lnTo>
                    <a:pt x="297" y="1377"/>
                  </a:lnTo>
                  <a:lnTo>
                    <a:pt x="288" y="1375"/>
                  </a:lnTo>
                  <a:lnTo>
                    <a:pt x="271" y="1372"/>
                  </a:lnTo>
                  <a:lnTo>
                    <a:pt x="266" y="1369"/>
                  </a:lnTo>
                  <a:lnTo>
                    <a:pt x="258" y="1360"/>
                  </a:lnTo>
                  <a:lnTo>
                    <a:pt x="258" y="1357"/>
                  </a:lnTo>
                  <a:lnTo>
                    <a:pt x="258" y="1355"/>
                  </a:lnTo>
                  <a:lnTo>
                    <a:pt x="259" y="1352"/>
                  </a:lnTo>
                  <a:lnTo>
                    <a:pt x="259" y="1350"/>
                  </a:lnTo>
                  <a:lnTo>
                    <a:pt x="258" y="1349"/>
                  </a:lnTo>
                  <a:lnTo>
                    <a:pt x="257" y="1349"/>
                  </a:lnTo>
                  <a:lnTo>
                    <a:pt x="255" y="1348"/>
                  </a:lnTo>
                  <a:lnTo>
                    <a:pt x="255" y="1346"/>
                  </a:lnTo>
                  <a:lnTo>
                    <a:pt x="253" y="1346"/>
                  </a:lnTo>
                  <a:lnTo>
                    <a:pt x="252" y="1348"/>
                  </a:lnTo>
                  <a:lnTo>
                    <a:pt x="250" y="1352"/>
                  </a:lnTo>
                  <a:lnTo>
                    <a:pt x="250" y="1356"/>
                  </a:lnTo>
                  <a:lnTo>
                    <a:pt x="252" y="1357"/>
                  </a:lnTo>
                  <a:lnTo>
                    <a:pt x="255" y="1359"/>
                  </a:lnTo>
                  <a:lnTo>
                    <a:pt x="256" y="1362"/>
                  </a:lnTo>
                  <a:lnTo>
                    <a:pt x="256" y="1365"/>
                  </a:lnTo>
                  <a:lnTo>
                    <a:pt x="255" y="1369"/>
                  </a:lnTo>
                  <a:lnTo>
                    <a:pt x="243" y="1397"/>
                  </a:lnTo>
                  <a:lnTo>
                    <a:pt x="245" y="1398"/>
                  </a:lnTo>
                  <a:lnTo>
                    <a:pt x="246" y="1399"/>
                  </a:lnTo>
                  <a:lnTo>
                    <a:pt x="248" y="1403"/>
                  </a:lnTo>
                  <a:lnTo>
                    <a:pt x="249" y="1404"/>
                  </a:lnTo>
                  <a:lnTo>
                    <a:pt x="250" y="1404"/>
                  </a:lnTo>
                  <a:lnTo>
                    <a:pt x="252" y="1405"/>
                  </a:lnTo>
                  <a:lnTo>
                    <a:pt x="253" y="1405"/>
                  </a:lnTo>
                  <a:lnTo>
                    <a:pt x="253" y="1407"/>
                  </a:lnTo>
                  <a:lnTo>
                    <a:pt x="252" y="1408"/>
                  </a:lnTo>
                  <a:lnTo>
                    <a:pt x="252" y="1408"/>
                  </a:lnTo>
                  <a:lnTo>
                    <a:pt x="251" y="1413"/>
                  </a:lnTo>
                  <a:lnTo>
                    <a:pt x="249" y="1416"/>
                  </a:lnTo>
                  <a:lnTo>
                    <a:pt x="247" y="1418"/>
                  </a:lnTo>
                  <a:lnTo>
                    <a:pt x="244" y="1419"/>
                  </a:lnTo>
                  <a:lnTo>
                    <a:pt x="244" y="1420"/>
                  </a:lnTo>
                  <a:lnTo>
                    <a:pt x="245" y="1426"/>
                  </a:lnTo>
                  <a:lnTo>
                    <a:pt x="246" y="1429"/>
                  </a:lnTo>
                  <a:lnTo>
                    <a:pt x="247" y="1432"/>
                  </a:lnTo>
                  <a:lnTo>
                    <a:pt x="248" y="1427"/>
                  </a:lnTo>
                  <a:lnTo>
                    <a:pt x="249" y="1423"/>
                  </a:lnTo>
                  <a:lnTo>
                    <a:pt x="252" y="1421"/>
                  </a:lnTo>
                  <a:lnTo>
                    <a:pt x="256" y="1422"/>
                  </a:lnTo>
                  <a:lnTo>
                    <a:pt x="254" y="1425"/>
                  </a:lnTo>
                  <a:lnTo>
                    <a:pt x="253" y="1429"/>
                  </a:lnTo>
                  <a:lnTo>
                    <a:pt x="256" y="1430"/>
                  </a:lnTo>
                  <a:lnTo>
                    <a:pt x="264" y="1426"/>
                  </a:lnTo>
                  <a:lnTo>
                    <a:pt x="268" y="1425"/>
                  </a:lnTo>
                  <a:lnTo>
                    <a:pt x="271" y="1429"/>
                  </a:lnTo>
                  <a:lnTo>
                    <a:pt x="272" y="1434"/>
                  </a:lnTo>
                  <a:lnTo>
                    <a:pt x="273" y="1439"/>
                  </a:lnTo>
                  <a:lnTo>
                    <a:pt x="274" y="1443"/>
                  </a:lnTo>
                  <a:lnTo>
                    <a:pt x="277" y="1445"/>
                  </a:lnTo>
                  <a:lnTo>
                    <a:pt x="280" y="1447"/>
                  </a:lnTo>
                  <a:lnTo>
                    <a:pt x="282" y="1452"/>
                  </a:lnTo>
                  <a:lnTo>
                    <a:pt x="283" y="1457"/>
                  </a:lnTo>
                  <a:lnTo>
                    <a:pt x="284" y="1461"/>
                  </a:lnTo>
                  <a:lnTo>
                    <a:pt x="282" y="1472"/>
                  </a:lnTo>
                  <a:lnTo>
                    <a:pt x="283" y="1476"/>
                  </a:lnTo>
                  <a:lnTo>
                    <a:pt x="286" y="1479"/>
                  </a:lnTo>
                  <a:lnTo>
                    <a:pt x="287" y="1477"/>
                  </a:lnTo>
                  <a:lnTo>
                    <a:pt x="292" y="1480"/>
                  </a:lnTo>
                  <a:lnTo>
                    <a:pt x="295" y="1484"/>
                  </a:lnTo>
                  <a:lnTo>
                    <a:pt x="297" y="1488"/>
                  </a:lnTo>
                  <a:lnTo>
                    <a:pt x="297" y="1494"/>
                  </a:lnTo>
                  <a:lnTo>
                    <a:pt x="294" y="1504"/>
                  </a:lnTo>
                  <a:lnTo>
                    <a:pt x="295" y="1515"/>
                  </a:lnTo>
                  <a:lnTo>
                    <a:pt x="296" y="1519"/>
                  </a:lnTo>
                  <a:lnTo>
                    <a:pt x="298" y="1524"/>
                  </a:lnTo>
                  <a:lnTo>
                    <a:pt x="299" y="1527"/>
                  </a:lnTo>
                  <a:lnTo>
                    <a:pt x="299" y="1530"/>
                  </a:lnTo>
                  <a:lnTo>
                    <a:pt x="297" y="1533"/>
                  </a:lnTo>
                  <a:lnTo>
                    <a:pt x="296" y="1536"/>
                  </a:lnTo>
                  <a:lnTo>
                    <a:pt x="294" y="1537"/>
                  </a:lnTo>
                  <a:lnTo>
                    <a:pt x="293" y="1537"/>
                  </a:lnTo>
                  <a:lnTo>
                    <a:pt x="291" y="1538"/>
                  </a:lnTo>
                  <a:lnTo>
                    <a:pt x="286" y="1538"/>
                  </a:lnTo>
                  <a:lnTo>
                    <a:pt x="285" y="1538"/>
                  </a:lnTo>
                  <a:lnTo>
                    <a:pt x="282" y="1540"/>
                  </a:lnTo>
                  <a:lnTo>
                    <a:pt x="282" y="1542"/>
                  </a:lnTo>
                  <a:lnTo>
                    <a:pt x="282" y="1542"/>
                  </a:lnTo>
                  <a:lnTo>
                    <a:pt x="284" y="1541"/>
                  </a:lnTo>
                  <a:lnTo>
                    <a:pt x="286" y="1544"/>
                  </a:lnTo>
                  <a:lnTo>
                    <a:pt x="286" y="1547"/>
                  </a:lnTo>
                  <a:lnTo>
                    <a:pt x="284" y="1551"/>
                  </a:lnTo>
                  <a:lnTo>
                    <a:pt x="284" y="1553"/>
                  </a:lnTo>
                  <a:lnTo>
                    <a:pt x="285" y="1561"/>
                  </a:lnTo>
                  <a:lnTo>
                    <a:pt x="285" y="1562"/>
                  </a:lnTo>
                  <a:lnTo>
                    <a:pt x="284" y="1564"/>
                  </a:lnTo>
                  <a:lnTo>
                    <a:pt x="284" y="1565"/>
                  </a:lnTo>
                  <a:lnTo>
                    <a:pt x="284" y="1567"/>
                  </a:lnTo>
                  <a:lnTo>
                    <a:pt x="285" y="1568"/>
                  </a:lnTo>
                  <a:lnTo>
                    <a:pt x="285" y="1569"/>
                  </a:lnTo>
                  <a:lnTo>
                    <a:pt x="286" y="1569"/>
                  </a:lnTo>
                  <a:lnTo>
                    <a:pt x="288" y="1571"/>
                  </a:lnTo>
                  <a:lnTo>
                    <a:pt x="290" y="1572"/>
                  </a:lnTo>
                  <a:lnTo>
                    <a:pt x="291" y="1574"/>
                  </a:lnTo>
                  <a:lnTo>
                    <a:pt x="290" y="1576"/>
                  </a:lnTo>
                  <a:lnTo>
                    <a:pt x="291" y="1578"/>
                  </a:lnTo>
                  <a:lnTo>
                    <a:pt x="292" y="1573"/>
                  </a:lnTo>
                  <a:lnTo>
                    <a:pt x="293" y="1571"/>
                  </a:lnTo>
                  <a:lnTo>
                    <a:pt x="295" y="1570"/>
                  </a:lnTo>
                  <a:lnTo>
                    <a:pt x="294" y="1570"/>
                  </a:lnTo>
                  <a:lnTo>
                    <a:pt x="293" y="1570"/>
                  </a:lnTo>
                  <a:lnTo>
                    <a:pt x="292" y="1570"/>
                  </a:lnTo>
                  <a:lnTo>
                    <a:pt x="292" y="1571"/>
                  </a:lnTo>
                  <a:lnTo>
                    <a:pt x="291" y="1570"/>
                  </a:lnTo>
                  <a:lnTo>
                    <a:pt x="295" y="1566"/>
                  </a:lnTo>
                  <a:lnTo>
                    <a:pt x="300" y="1567"/>
                  </a:lnTo>
                  <a:lnTo>
                    <a:pt x="305" y="1570"/>
                  </a:lnTo>
                  <a:lnTo>
                    <a:pt x="308" y="1574"/>
                  </a:lnTo>
                  <a:lnTo>
                    <a:pt x="309" y="1577"/>
                  </a:lnTo>
                  <a:lnTo>
                    <a:pt x="310" y="1579"/>
                  </a:lnTo>
                  <a:lnTo>
                    <a:pt x="309" y="1586"/>
                  </a:lnTo>
                  <a:lnTo>
                    <a:pt x="309" y="1589"/>
                  </a:lnTo>
                  <a:lnTo>
                    <a:pt x="307" y="1592"/>
                  </a:lnTo>
                  <a:lnTo>
                    <a:pt x="306" y="1595"/>
                  </a:lnTo>
                  <a:lnTo>
                    <a:pt x="304" y="1598"/>
                  </a:lnTo>
                  <a:lnTo>
                    <a:pt x="305" y="1597"/>
                  </a:lnTo>
                  <a:lnTo>
                    <a:pt x="306" y="1596"/>
                  </a:lnTo>
                  <a:lnTo>
                    <a:pt x="307" y="1595"/>
                  </a:lnTo>
                  <a:lnTo>
                    <a:pt x="307" y="1594"/>
                  </a:lnTo>
                  <a:lnTo>
                    <a:pt x="308" y="1594"/>
                  </a:lnTo>
                  <a:lnTo>
                    <a:pt x="307" y="1596"/>
                  </a:lnTo>
                  <a:lnTo>
                    <a:pt x="304" y="1599"/>
                  </a:lnTo>
                  <a:lnTo>
                    <a:pt x="302" y="1603"/>
                  </a:lnTo>
                  <a:lnTo>
                    <a:pt x="302" y="1606"/>
                  </a:lnTo>
                  <a:lnTo>
                    <a:pt x="303" y="1608"/>
                  </a:lnTo>
                  <a:lnTo>
                    <a:pt x="311" y="1610"/>
                  </a:lnTo>
                  <a:lnTo>
                    <a:pt x="307" y="1611"/>
                  </a:lnTo>
                  <a:lnTo>
                    <a:pt x="304" y="1610"/>
                  </a:lnTo>
                  <a:lnTo>
                    <a:pt x="301" y="1607"/>
                  </a:lnTo>
                  <a:lnTo>
                    <a:pt x="296" y="1599"/>
                  </a:lnTo>
                  <a:lnTo>
                    <a:pt x="294" y="1598"/>
                  </a:lnTo>
                  <a:lnTo>
                    <a:pt x="292" y="1598"/>
                  </a:lnTo>
                  <a:lnTo>
                    <a:pt x="292" y="1599"/>
                  </a:lnTo>
                  <a:lnTo>
                    <a:pt x="292" y="1604"/>
                  </a:lnTo>
                  <a:lnTo>
                    <a:pt x="292" y="1606"/>
                  </a:lnTo>
                  <a:lnTo>
                    <a:pt x="292" y="1608"/>
                  </a:lnTo>
                  <a:lnTo>
                    <a:pt x="292" y="1610"/>
                  </a:lnTo>
                  <a:lnTo>
                    <a:pt x="293" y="1619"/>
                  </a:lnTo>
                  <a:lnTo>
                    <a:pt x="295" y="1628"/>
                  </a:lnTo>
                  <a:lnTo>
                    <a:pt x="295" y="1631"/>
                  </a:lnTo>
                  <a:lnTo>
                    <a:pt x="294" y="1634"/>
                  </a:lnTo>
                  <a:lnTo>
                    <a:pt x="295" y="1636"/>
                  </a:lnTo>
                  <a:lnTo>
                    <a:pt x="293" y="1639"/>
                  </a:lnTo>
                  <a:lnTo>
                    <a:pt x="291" y="1646"/>
                  </a:lnTo>
                  <a:lnTo>
                    <a:pt x="288" y="1650"/>
                  </a:lnTo>
                  <a:lnTo>
                    <a:pt x="284" y="1655"/>
                  </a:lnTo>
                  <a:lnTo>
                    <a:pt x="283" y="1658"/>
                  </a:lnTo>
                  <a:lnTo>
                    <a:pt x="283" y="1659"/>
                  </a:lnTo>
                  <a:lnTo>
                    <a:pt x="283" y="1659"/>
                  </a:lnTo>
                  <a:lnTo>
                    <a:pt x="286" y="1665"/>
                  </a:lnTo>
                  <a:lnTo>
                    <a:pt x="286" y="1666"/>
                  </a:lnTo>
                  <a:lnTo>
                    <a:pt x="285" y="1669"/>
                  </a:lnTo>
                  <a:lnTo>
                    <a:pt x="284" y="1671"/>
                  </a:lnTo>
                  <a:lnTo>
                    <a:pt x="282" y="1674"/>
                  </a:lnTo>
                  <a:lnTo>
                    <a:pt x="281" y="1676"/>
                  </a:lnTo>
                  <a:lnTo>
                    <a:pt x="282" y="1680"/>
                  </a:lnTo>
                  <a:lnTo>
                    <a:pt x="288" y="1684"/>
                  </a:lnTo>
                  <a:lnTo>
                    <a:pt x="287" y="1688"/>
                  </a:lnTo>
                  <a:lnTo>
                    <a:pt x="290" y="1692"/>
                  </a:lnTo>
                  <a:lnTo>
                    <a:pt x="289" y="1696"/>
                  </a:lnTo>
                  <a:lnTo>
                    <a:pt x="281" y="1705"/>
                  </a:lnTo>
                  <a:lnTo>
                    <a:pt x="281" y="1707"/>
                  </a:lnTo>
                  <a:lnTo>
                    <a:pt x="281" y="1708"/>
                  </a:lnTo>
                  <a:lnTo>
                    <a:pt x="282" y="1711"/>
                  </a:lnTo>
                  <a:lnTo>
                    <a:pt x="283" y="1712"/>
                  </a:lnTo>
                  <a:lnTo>
                    <a:pt x="284" y="1712"/>
                  </a:lnTo>
                  <a:lnTo>
                    <a:pt x="285" y="1712"/>
                  </a:lnTo>
                  <a:lnTo>
                    <a:pt x="285" y="1715"/>
                  </a:lnTo>
                  <a:lnTo>
                    <a:pt x="285" y="1717"/>
                  </a:lnTo>
                  <a:lnTo>
                    <a:pt x="286" y="1718"/>
                  </a:lnTo>
                  <a:lnTo>
                    <a:pt x="287" y="1719"/>
                  </a:lnTo>
                  <a:lnTo>
                    <a:pt x="287" y="1720"/>
                  </a:lnTo>
                  <a:lnTo>
                    <a:pt x="287" y="1718"/>
                  </a:lnTo>
                  <a:lnTo>
                    <a:pt x="288" y="1717"/>
                  </a:lnTo>
                  <a:lnTo>
                    <a:pt x="290" y="1718"/>
                  </a:lnTo>
                  <a:lnTo>
                    <a:pt x="291" y="1720"/>
                  </a:lnTo>
                  <a:lnTo>
                    <a:pt x="291" y="1722"/>
                  </a:lnTo>
                  <a:lnTo>
                    <a:pt x="291" y="1727"/>
                  </a:lnTo>
                  <a:lnTo>
                    <a:pt x="292" y="1730"/>
                  </a:lnTo>
                  <a:lnTo>
                    <a:pt x="294" y="1728"/>
                  </a:lnTo>
                  <a:lnTo>
                    <a:pt x="295" y="1729"/>
                  </a:lnTo>
                  <a:lnTo>
                    <a:pt x="297" y="1732"/>
                  </a:lnTo>
                  <a:lnTo>
                    <a:pt x="297" y="1735"/>
                  </a:lnTo>
                  <a:lnTo>
                    <a:pt x="298" y="1737"/>
                  </a:lnTo>
                  <a:lnTo>
                    <a:pt x="298" y="1737"/>
                  </a:lnTo>
                  <a:lnTo>
                    <a:pt x="302" y="1735"/>
                  </a:lnTo>
                  <a:lnTo>
                    <a:pt x="304" y="1737"/>
                  </a:lnTo>
                  <a:lnTo>
                    <a:pt x="302" y="1740"/>
                  </a:lnTo>
                  <a:lnTo>
                    <a:pt x="302" y="1741"/>
                  </a:lnTo>
                  <a:lnTo>
                    <a:pt x="304" y="1741"/>
                  </a:lnTo>
                  <a:lnTo>
                    <a:pt x="308" y="1743"/>
                  </a:lnTo>
                  <a:lnTo>
                    <a:pt x="309" y="1742"/>
                  </a:lnTo>
                  <a:lnTo>
                    <a:pt x="310" y="1742"/>
                  </a:lnTo>
                  <a:lnTo>
                    <a:pt x="312" y="1751"/>
                  </a:lnTo>
                  <a:lnTo>
                    <a:pt x="314" y="1762"/>
                  </a:lnTo>
                  <a:lnTo>
                    <a:pt x="317" y="1761"/>
                  </a:lnTo>
                  <a:lnTo>
                    <a:pt x="319" y="1764"/>
                  </a:lnTo>
                  <a:lnTo>
                    <a:pt x="319" y="1769"/>
                  </a:lnTo>
                  <a:lnTo>
                    <a:pt x="317" y="1773"/>
                  </a:lnTo>
                  <a:lnTo>
                    <a:pt x="317" y="1774"/>
                  </a:lnTo>
                  <a:lnTo>
                    <a:pt x="319" y="1775"/>
                  </a:lnTo>
                  <a:lnTo>
                    <a:pt x="322" y="1775"/>
                  </a:lnTo>
                  <a:lnTo>
                    <a:pt x="324" y="1776"/>
                  </a:lnTo>
                  <a:lnTo>
                    <a:pt x="322" y="1780"/>
                  </a:lnTo>
                  <a:lnTo>
                    <a:pt x="323" y="1781"/>
                  </a:lnTo>
                  <a:lnTo>
                    <a:pt x="326" y="1780"/>
                  </a:lnTo>
                  <a:lnTo>
                    <a:pt x="325" y="1776"/>
                  </a:lnTo>
                  <a:lnTo>
                    <a:pt x="328" y="1772"/>
                  </a:lnTo>
                  <a:lnTo>
                    <a:pt x="332" y="1769"/>
                  </a:lnTo>
                  <a:lnTo>
                    <a:pt x="335" y="1767"/>
                  </a:lnTo>
                  <a:lnTo>
                    <a:pt x="339" y="1768"/>
                  </a:lnTo>
                  <a:lnTo>
                    <a:pt x="343" y="1770"/>
                  </a:lnTo>
                  <a:lnTo>
                    <a:pt x="347" y="1773"/>
                  </a:lnTo>
                  <a:lnTo>
                    <a:pt x="349" y="1777"/>
                  </a:lnTo>
                  <a:lnTo>
                    <a:pt x="349" y="1773"/>
                  </a:lnTo>
                  <a:lnTo>
                    <a:pt x="353" y="1776"/>
                  </a:lnTo>
                  <a:lnTo>
                    <a:pt x="355" y="1778"/>
                  </a:lnTo>
                  <a:lnTo>
                    <a:pt x="357" y="1778"/>
                  </a:lnTo>
                  <a:lnTo>
                    <a:pt x="358" y="1778"/>
                  </a:lnTo>
                  <a:lnTo>
                    <a:pt x="360" y="1775"/>
                  </a:lnTo>
                  <a:lnTo>
                    <a:pt x="361" y="1774"/>
                  </a:lnTo>
                  <a:lnTo>
                    <a:pt x="362" y="1774"/>
                  </a:lnTo>
                  <a:lnTo>
                    <a:pt x="364" y="1773"/>
                  </a:lnTo>
                  <a:lnTo>
                    <a:pt x="380" y="1757"/>
                  </a:lnTo>
                  <a:lnTo>
                    <a:pt x="381" y="1755"/>
                  </a:lnTo>
                  <a:lnTo>
                    <a:pt x="382" y="1756"/>
                  </a:lnTo>
                  <a:lnTo>
                    <a:pt x="383" y="1756"/>
                  </a:lnTo>
                  <a:lnTo>
                    <a:pt x="384" y="1755"/>
                  </a:lnTo>
                  <a:lnTo>
                    <a:pt x="383" y="1755"/>
                  </a:lnTo>
                  <a:lnTo>
                    <a:pt x="385" y="1747"/>
                  </a:lnTo>
                  <a:lnTo>
                    <a:pt x="387" y="1743"/>
                  </a:lnTo>
                  <a:lnTo>
                    <a:pt x="387" y="1742"/>
                  </a:lnTo>
                  <a:lnTo>
                    <a:pt x="386" y="1741"/>
                  </a:lnTo>
                  <a:lnTo>
                    <a:pt x="385" y="1739"/>
                  </a:lnTo>
                  <a:lnTo>
                    <a:pt x="384" y="1736"/>
                  </a:lnTo>
                  <a:lnTo>
                    <a:pt x="383" y="1732"/>
                  </a:lnTo>
                  <a:lnTo>
                    <a:pt x="383" y="1728"/>
                  </a:lnTo>
                  <a:lnTo>
                    <a:pt x="383" y="1724"/>
                  </a:lnTo>
                  <a:lnTo>
                    <a:pt x="385" y="1720"/>
                  </a:lnTo>
                  <a:lnTo>
                    <a:pt x="386" y="1717"/>
                  </a:lnTo>
                  <a:lnTo>
                    <a:pt x="393" y="1710"/>
                  </a:lnTo>
                  <a:lnTo>
                    <a:pt x="393" y="1709"/>
                  </a:lnTo>
                  <a:lnTo>
                    <a:pt x="393" y="1708"/>
                  </a:lnTo>
                  <a:lnTo>
                    <a:pt x="392" y="1707"/>
                  </a:lnTo>
                  <a:lnTo>
                    <a:pt x="388" y="1707"/>
                  </a:lnTo>
                  <a:lnTo>
                    <a:pt x="386" y="1707"/>
                  </a:lnTo>
                  <a:lnTo>
                    <a:pt x="386" y="1707"/>
                  </a:lnTo>
                  <a:lnTo>
                    <a:pt x="386" y="1706"/>
                  </a:lnTo>
                  <a:lnTo>
                    <a:pt x="385" y="1706"/>
                  </a:lnTo>
                  <a:lnTo>
                    <a:pt x="384" y="1705"/>
                  </a:lnTo>
                  <a:lnTo>
                    <a:pt x="384" y="1703"/>
                  </a:lnTo>
                  <a:lnTo>
                    <a:pt x="384" y="1702"/>
                  </a:lnTo>
                  <a:lnTo>
                    <a:pt x="382" y="1701"/>
                  </a:lnTo>
                  <a:lnTo>
                    <a:pt x="382" y="1700"/>
                  </a:lnTo>
                  <a:lnTo>
                    <a:pt x="384" y="1700"/>
                  </a:lnTo>
                  <a:lnTo>
                    <a:pt x="386" y="1700"/>
                  </a:lnTo>
                  <a:lnTo>
                    <a:pt x="388" y="1702"/>
                  </a:lnTo>
                  <a:lnTo>
                    <a:pt x="389" y="1703"/>
                  </a:lnTo>
                  <a:lnTo>
                    <a:pt x="390" y="1704"/>
                  </a:lnTo>
                  <a:lnTo>
                    <a:pt x="392" y="1703"/>
                  </a:lnTo>
                  <a:lnTo>
                    <a:pt x="398" y="1711"/>
                  </a:lnTo>
                  <a:lnTo>
                    <a:pt x="402" y="1714"/>
                  </a:lnTo>
                  <a:lnTo>
                    <a:pt x="407" y="1716"/>
                  </a:lnTo>
                  <a:lnTo>
                    <a:pt x="407" y="1714"/>
                  </a:lnTo>
                  <a:lnTo>
                    <a:pt x="409" y="1712"/>
                  </a:lnTo>
                  <a:lnTo>
                    <a:pt x="412" y="1708"/>
                  </a:lnTo>
                  <a:lnTo>
                    <a:pt x="414" y="1707"/>
                  </a:lnTo>
                  <a:lnTo>
                    <a:pt x="420" y="1708"/>
                  </a:lnTo>
                  <a:lnTo>
                    <a:pt x="423" y="1709"/>
                  </a:lnTo>
                  <a:lnTo>
                    <a:pt x="425" y="1710"/>
                  </a:lnTo>
                  <a:lnTo>
                    <a:pt x="427" y="1708"/>
                  </a:lnTo>
                  <a:lnTo>
                    <a:pt x="428" y="1710"/>
                  </a:lnTo>
                  <a:lnTo>
                    <a:pt x="430" y="1711"/>
                  </a:lnTo>
                  <a:lnTo>
                    <a:pt x="432" y="1712"/>
                  </a:lnTo>
                  <a:lnTo>
                    <a:pt x="434" y="1713"/>
                  </a:lnTo>
                  <a:lnTo>
                    <a:pt x="435" y="1714"/>
                  </a:lnTo>
                  <a:lnTo>
                    <a:pt x="439" y="1717"/>
                  </a:lnTo>
                  <a:lnTo>
                    <a:pt x="440" y="1718"/>
                  </a:lnTo>
                  <a:lnTo>
                    <a:pt x="441" y="1719"/>
                  </a:lnTo>
                  <a:lnTo>
                    <a:pt x="445" y="1724"/>
                  </a:lnTo>
                  <a:lnTo>
                    <a:pt x="448" y="1725"/>
                  </a:lnTo>
                  <a:lnTo>
                    <a:pt x="450" y="1727"/>
                  </a:lnTo>
                  <a:lnTo>
                    <a:pt x="451" y="1728"/>
                  </a:lnTo>
                  <a:lnTo>
                    <a:pt x="452" y="1728"/>
                  </a:lnTo>
                  <a:lnTo>
                    <a:pt x="454" y="1727"/>
                  </a:lnTo>
                  <a:lnTo>
                    <a:pt x="457" y="1726"/>
                  </a:lnTo>
                  <a:lnTo>
                    <a:pt x="459" y="1727"/>
                  </a:lnTo>
                  <a:lnTo>
                    <a:pt x="462" y="1728"/>
                  </a:lnTo>
                  <a:lnTo>
                    <a:pt x="461" y="1730"/>
                  </a:lnTo>
                  <a:lnTo>
                    <a:pt x="461" y="1731"/>
                  </a:lnTo>
                  <a:lnTo>
                    <a:pt x="461" y="1732"/>
                  </a:lnTo>
                  <a:lnTo>
                    <a:pt x="463" y="1732"/>
                  </a:lnTo>
                  <a:lnTo>
                    <a:pt x="463" y="1728"/>
                  </a:lnTo>
                  <a:lnTo>
                    <a:pt x="466" y="1726"/>
                  </a:lnTo>
                  <a:lnTo>
                    <a:pt x="469" y="1725"/>
                  </a:lnTo>
                  <a:lnTo>
                    <a:pt x="470" y="1723"/>
                  </a:lnTo>
                  <a:lnTo>
                    <a:pt x="471" y="1721"/>
                  </a:lnTo>
                  <a:lnTo>
                    <a:pt x="472" y="1717"/>
                  </a:lnTo>
                  <a:lnTo>
                    <a:pt x="472" y="1716"/>
                  </a:lnTo>
                  <a:lnTo>
                    <a:pt x="472" y="1714"/>
                  </a:lnTo>
                  <a:lnTo>
                    <a:pt x="471" y="1713"/>
                  </a:lnTo>
                  <a:lnTo>
                    <a:pt x="470" y="1712"/>
                  </a:lnTo>
                  <a:lnTo>
                    <a:pt x="471" y="1710"/>
                  </a:lnTo>
                  <a:lnTo>
                    <a:pt x="470" y="1705"/>
                  </a:lnTo>
                  <a:lnTo>
                    <a:pt x="473" y="1699"/>
                  </a:lnTo>
                  <a:lnTo>
                    <a:pt x="477" y="1695"/>
                  </a:lnTo>
                  <a:lnTo>
                    <a:pt x="481" y="1693"/>
                  </a:lnTo>
                  <a:lnTo>
                    <a:pt x="481" y="1692"/>
                  </a:lnTo>
                  <a:lnTo>
                    <a:pt x="477" y="1689"/>
                  </a:lnTo>
                  <a:lnTo>
                    <a:pt x="476" y="1687"/>
                  </a:lnTo>
                  <a:lnTo>
                    <a:pt x="476" y="1684"/>
                  </a:lnTo>
                  <a:lnTo>
                    <a:pt x="476" y="1681"/>
                  </a:lnTo>
                  <a:lnTo>
                    <a:pt x="478" y="1672"/>
                  </a:lnTo>
                  <a:lnTo>
                    <a:pt x="482" y="1661"/>
                  </a:lnTo>
                  <a:lnTo>
                    <a:pt x="482" y="1655"/>
                  </a:lnTo>
                  <a:lnTo>
                    <a:pt x="480" y="1651"/>
                  </a:lnTo>
                  <a:lnTo>
                    <a:pt x="484" y="1638"/>
                  </a:lnTo>
                  <a:lnTo>
                    <a:pt x="484" y="1632"/>
                  </a:lnTo>
                  <a:lnTo>
                    <a:pt x="483" y="1623"/>
                  </a:lnTo>
                  <a:lnTo>
                    <a:pt x="484" y="1620"/>
                  </a:lnTo>
                  <a:lnTo>
                    <a:pt x="484" y="1618"/>
                  </a:lnTo>
                  <a:lnTo>
                    <a:pt x="485" y="1616"/>
                  </a:lnTo>
                  <a:lnTo>
                    <a:pt x="485" y="1615"/>
                  </a:lnTo>
                  <a:lnTo>
                    <a:pt x="486" y="1612"/>
                  </a:lnTo>
                  <a:lnTo>
                    <a:pt x="487" y="1609"/>
                  </a:lnTo>
                  <a:lnTo>
                    <a:pt x="487" y="1607"/>
                  </a:lnTo>
                  <a:lnTo>
                    <a:pt x="487" y="1604"/>
                  </a:lnTo>
                  <a:lnTo>
                    <a:pt x="487" y="1599"/>
                  </a:lnTo>
                  <a:lnTo>
                    <a:pt x="487" y="1596"/>
                  </a:lnTo>
                  <a:lnTo>
                    <a:pt x="487" y="1591"/>
                  </a:lnTo>
                  <a:lnTo>
                    <a:pt x="487" y="1586"/>
                  </a:lnTo>
                  <a:lnTo>
                    <a:pt x="489" y="1582"/>
                  </a:lnTo>
                  <a:lnTo>
                    <a:pt x="491" y="1579"/>
                  </a:lnTo>
                  <a:lnTo>
                    <a:pt x="491" y="1578"/>
                  </a:lnTo>
                  <a:lnTo>
                    <a:pt x="490" y="1578"/>
                  </a:lnTo>
                  <a:lnTo>
                    <a:pt x="489" y="1577"/>
                  </a:lnTo>
                  <a:lnTo>
                    <a:pt x="489" y="1576"/>
                  </a:lnTo>
                  <a:lnTo>
                    <a:pt x="489" y="1575"/>
                  </a:lnTo>
                  <a:lnTo>
                    <a:pt x="490" y="1575"/>
                  </a:lnTo>
                  <a:lnTo>
                    <a:pt x="489" y="1573"/>
                  </a:lnTo>
                  <a:lnTo>
                    <a:pt x="489" y="1571"/>
                  </a:lnTo>
                  <a:lnTo>
                    <a:pt x="490" y="1568"/>
                  </a:lnTo>
                  <a:lnTo>
                    <a:pt x="491" y="1565"/>
                  </a:lnTo>
                  <a:lnTo>
                    <a:pt x="492" y="1565"/>
                  </a:lnTo>
                  <a:lnTo>
                    <a:pt x="493" y="1565"/>
                  </a:lnTo>
                  <a:lnTo>
                    <a:pt x="494" y="1564"/>
                  </a:lnTo>
                  <a:lnTo>
                    <a:pt x="494" y="1562"/>
                  </a:lnTo>
                  <a:lnTo>
                    <a:pt x="494" y="1561"/>
                  </a:lnTo>
                  <a:lnTo>
                    <a:pt x="493" y="1561"/>
                  </a:lnTo>
                  <a:lnTo>
                    <a:pt x="492" y="1562"/>
                  </a:lnTo>
                  <a:lnTo>
                    <a:pt x="491" y="1562"/>
                  </a:lnTo>
                  <a:lnTo>
                    <a:pt x="489" y="1557"/>
                  </a:lnTo>
                  <a:lnTo>
                    <a:pt x="490" y="1550"/>
                  </a:lnTo>
                  <a:lnTo>
                    <a:pt x="496" y="1535"/>
                  </a:lnTo>
                  <a:lnTo>
                    <a:pt x="497" y="1531"/>
                  </a:lnTo>
                  <a:lnTo>
                    <a:pt x="493" y="1529"/>
                  </a:lnTo>
                  <a:lnTo>
                    <a:pt x="489" y="1524"/>
                  </a:lnTo>
                  <a:lnTo>
                    <a:pt x="488" y="1523"/>
                  </a:lnTo>
                  <a:lnTo>
                    <a:pt x="486" y="1522"/>
                  </a:lnTo>
                  <a:lnTo>
                    <a:pt x="484" y="1519"/>
                  </a:lnTo>
                  <a:lnTo>
                    <a:pt x="480" y="1508"/>
                  </a:lnTo>
                  <a:lnTo>
                    <a:pt x="480" y="1506"/>
                  </a:lnTo>
                  <a:lnTo>
                    <a:pt x="479" y="1497"/>
                  </a:lnTo>
                  <a:lnTo>
                    <a:pt x="480" y="1494"/>
                  </a:lnTo>
                  <a:lnTo>
                    <a:pt x="481" y="1490"/>
                  </a:lnTo>
                  <a:lnTo>
                    <a:pt x="483" y="1487"/>
                  </a:lnTo>
                  <a:lnTo>
                    <a:pt x="487" y="1484"/>
                  </a:lnTo>
                  <a:lnTo>
                    <a:pt x="489" y="1482"/>
                  </a:lnTo>
                  <a:lnTo>
                    <a:pt x="492" y="1476"/>
                  </a:lnTo>
                  <a:lnTo>
                    <a:pt x="493" y="1473"/>
                  </a:lnTo>
                  <a:lnTo>
                    <a:pt x="496" y="1472"/>
                  </a:lnTo>
                  <a:lnTo>
                    <a:pt x="499" y="1471"/>
                  </a:lnTo>
                  <a:lnTo>
                    <a:pt x="501" y="1468"/>
                  </a:lnTo>
                  <a:lnTo>
                    <a:pt x="504" y="1460"/>
                  </a:lnTo>
                  <a:lnTo>
                    <a:pt x="507" y="1454"/>
                  </a:lnTo>
                  <a:lnTo>
                    <a:pt x="509" y="1451"/>
                  </a:lnTo>
                  <a:lnTo>
                    <a:pt x="509" y="1447"/>
                  </a:lnTo>
                  <a:lnTo>
                    <a:pt x="510" y="1445"/>
                  </a:lnTo>
                  <a:lnTo>
                    <a:pt x="512" y="1441"/>
                  </a:lnTo>
                  <a:lnTo>
                    <a:pt x="512" y="1439"/>
                  </a:lnTo>
                  <a:lnTo>
                    <a:pt x="511" y="1438"/>
                  </a:lnTo>
                  <a:close/>
                  <a:moveTo>
                    <a:pt x="297" y="1739"/>
                  </a:moveTo>
                  <a:lnTo>
                    <a:pt x="297" y="1739"/>
                  </a:lnTo>
                  <a:lnTo>
                    <a:pt x="296" y="1740"/>
                  </a:lnTo>
                  <a:lnTo>
                    <a:pt x="295" y="1740"/>
                  </a:lnTo>
                  <a:lnTo>
                    <a:pt x="294" y="1740"/>
                  </a:lnTo>
                  <a:lnTo>
                    <a:pt x="294" y="1739"/>
                  </a:lnTo>
                  <a:lnTo>
                    <a:pt x="292" y="1733"/>
                  </a:lnTo>
                  <a:lnTo>
                    <a:pt x="288" y="1732"/>
                  </a:lnTo>
                  <a:lnTo>
                    <a:pt x="283" y="1732"/>
                  </a:lnTo>
                  <a:lnTo>
                    <a:pt x="279" y="1730"/>
                  </a:lnTo>
                  <a:lnTo>
                    <a:pt x="277" y="1734"/>
                  </a:lnTo>
                  <a:lnTo>
                    <a:pt x="277" y="1735"/>
                  </a:lnTo>
                  <a:lnTo>
                    <a:pt x="277" y="1735"/>
                  </a:lnTo>
                  <a:lnTo>
                    <a:pt x="277" y="1737"/>
                  </a:lnTo>
                  <a:lnTo>
                    <a:pt x="277" y="1741"/>
                  </a:lnTo>
                  <a:lnTo>
                    <a:pt x="279" y="1748"/>
                  </a:lnTo>
                  <a:lnTo>
                    <a:pt x="285" y="1757"/>
                  </a:lnTo>
                  <a:lnTo>
                    <a:pt x="286" y="1759"/>
                  </a:lnTo>
                  <a:lnTo>
                    <a:pt x="286" y="1760"/>
                  </a:lnTo>
                  <a:lnTo>
                    <a:pt x="287" y="1761"/>
                  </a:lnTo>
                  <a:lnTo>
                    <a:pt x="288" y="1762"/>
                  </a:lnTo>
                  <a:lnTo>
                    <a:pt x="290" y="1761"/>
                  </a:lnTo>
                  <a:lnTo>
                    <a:pt x="291" y="1760"/>
                  </a:lnTo>
                  <a:lnTo>
                    <a:pt x="292" y="1755"/>
                  </a:lnTo>
                  <a:lnTo>
                    <a:pt x="294" y="1748"/>
                  </a:lnTo>
                  <a:lnTo>
                    <a:pt x="295" y="1745"/>
                  </a:lnTo>
                  <a:lnTo>
                    <a:pt x="294" y="1743"/>
                  </a:lnTo>
                  <a:lnTo>
                    <a:pt x="295" y="1742"/>
                  </a:lnTo>
                  <a:lnTo>
                    <a:pt x="298" y="1739"/>
                  </a:lnTo>
                  <a:lnTo>
                    <a:pt x="297" y="1739"/>
                  </a:lnTo>
                  <a:lnTo>
                    <a:pt x="297" y="1739"/>
                  </a:lnTo>
                  <a:close/>
                  <a:moveTo>
                    <a:pt x="263" y="1327"/>
                  </a:moveTo>
                  <a:lnTo>
                    <a:pt x="260" y="1330"/>
                  </a:lnTo>
                  <a:lnTo>
                    <a:pt x="258" y="1332"/>
                  </a:lnTo>
                  <a:lnTo>
                    <a:pt x="257" y="1334"/>
                  </a:lnTo>
                  <a:lnTo>
                    <a:pt x="257" y="1336"/>
                  </a:lnTo>
                  <a:lnTo>
                    <a:pt x="257" y="1338"/>
                  </a:lnTo>
                  <a:lnTo>
                    <a:pt x="256" y="1340"/>
                  </a:lnTo>
                  <a:lnTo>
                    <a:pt x="255" y="1342"/>
                  </a:lnTo>
                  <a:lnTo>
                    <a:pt x="261" y="1342"/>
                  </a:lnTo>
                  <a:lnTo>
                    <a:pt x="261" y="1337"/>
                  </a:lnTo>
                  <a:lnTo>
                    <a:pt x="261" y="1331"/>
                  </a:lnTo>
                  <a:lnTo>
                    <a:pt x="265" y="1329"/>
                  </a:lnTo>
                  <a:lnTo>
                    <a:pt x="274" y="1327"/>
                  </a:lnTo>
                  <a:lnTo>
                    <a:pt x="276" y="1325"/>
                  </a:lnTo>
                  <a:lnTo>
                    <a:pt x="276" y="1323"/>
                  </a:lnTo>
                  <a:lnTo>
                    <a:pt x="276" y="1320"/>
                  </a:lnTo>
                  <a:lnTo>
                    <a:pt x="274" y="1319"/>
                  </a:lnTo>
                  <a:lnTo>
                    <a:pt x="273" y="1317"/>
                  </a:lnTo>
                  <a:lnTo>
                    <a:pt x="273" y="1316"/>
                  </a:lnTo>
                  <a:lnTo>
                    <a:pt x="273" y="1314"/>
                  </a:lnTo>
                  <a:lnTo>
                    <a:pt x="271" y="1316"/>
                  </a:lnTo>
                  <a:lnTo>
                    <a:pt x="270" y="1317"/>
                  </a:lnTo>
                  <a:lnTo>
                    <a:pt x="270" y="1318"/>
                  </a:lnTo>
                  <a:lnTo>
                    <a:pt x="269" y="1319"/>
                  </a:lnTo>
                  <a:lnTo>
                    <a:pt x="267" y="1318"/>
                  </a:lnTo>
                  <a:lnTo>
                    <a:pt x="266" y="1319"/>
                  </a:lnTo>
                  <a:lnTo>
                    <a:pt x="265" y="1321"/>
                  </a:lnTo>
                  <a:lnTo>
                    <a:pt x="266" y="1324"/>
                  </a:lnTo>
                  <a:lnTo>
                    <a:pt x="265" y="1326"/>
                  </a:lnTo>
                  <a:lnTo>
                    <a:pt x="263" y="1327"/>
                  </a:lnTo>
                  <a:close/>
                  <a:moveTo>
                    <a:pt x="450" y="1302"/>
                  </a:moveTo>
                  <a:lnTo>
                    <a:pt x="452" y="1302"/>
                  </a:lnTo>
                  <a:lnTo>
                    <a:pt x="453" y="1303"/>
                  </a:lnTo>
                  <a:lnTo>
                    <a:pt x="454" y="1305"/>
                  </a:lnTo>
                  <a:lnTo>
                    <a:pt x="455" y="1305"/>
                  </a:lnTo>
                  <a:lnTo>
                    <a:pt x="456" y="1303"/>
                  </a:lnTo>
                  <a:lnTo>
                    <a:pt x="456" y="1302"/>
                  </a:lnTo>
                  <a:lnTo>
                    <a:pt x="455" y="1301"/>
                  </a:lnTo>
                  <a:lnTo>
                    <a:pt x="456" y="1295"/>
                  </a:lnTo>
                  <a:lnTo>
                    <a:pt x="456" y="1294"/>
                  </a:lnTo>
                  <a:lnTo>
                    <a:pt x="456" y="1293"/>
                  </a:lnTo>
                  <a:lnTo>
                    <a:pt x="456" y="1291"/>
                  </a:lnTo>
                  <a:lnTo>
                    <a:pt x="454" y="1290"/>
                  </a:lnTo>
                  <a:lnTo>
                    <a:pt x="453" y="1290"/>
                  </a:lnTo>
                  <a:lnTo>
                    <a:pt x="452" y="1292"/>
                  </a:lnTo>
                  <a:lnTo>
                    <a:pt x="451" y="1295"/>
                  </a:lnTo>
                  <a:lnTo>
                    <a:pt x="451" y="1297"/>
                  </a:lnTo>
                  <a:lnTo>
                    <a:pt x="451" y="1298"/>
                  </a:lnTo>
                  <a:lnTo>
                    <a:pt x="450" y="1302"/>
                  </a:lnTo>
                  <a:lnTo>
                    <a:pt x="450" y="1302"/>
                  </a:lnTo>
                  <a:close/>
                  <a:moveTo>
                    <a:pt x="448" y="1289"/>
                  </a:moveTo>
                  <a:lnTo>
                    <a:pt x="448" y="1287"/>
                  </a:lnTo>
                  <a:lnTo>
                    <a:pt x="447" y="1286"/>
                  </a:lnTo>
                  <a:lnTo>
                    <a:pt x="446" y="1286"/>
                  </a:lnTo>
                  <a:lnTo>
                    <a:pt x="445" y="1287"/>
                  </a:lnTo>
                  <a:lnTo>
                    <a:pt x="444" y="1287"/>
                  </a:lnTo>
                  <a:lnTo>
                    <a:pt x="443" y="1287"/>
                  </a:lnTo>
                  <a:lnTo>
                    <a:pt x="443" y="1289"/>
                  </a:lnTo>
                  <a:lnTo>
                    <a:pt x="443" y="1290"/>
                  </a:lnTo>
                  <a:lnTo>
                    <a:pt x="441" y="1291"/>
                  </a:lnTo>
                  <a:lnTo>
                    <a:pt x="440" y="1292"/>
                  </a:lnTo>
                  <a:lnTo>
                    <a:pt x="439" y="1292"/>
                  </a:lnTo>
                  <a:lnTo>
                    <a:pt x="439" y="1294"/>
                  </a:lnTo>
                  <a:lnTo>
                    <a:pt x="440" y="1296"/>
                  </a:lnTo>
                  <a:lnTo>
                    <a:pt x="443" y="1297"/>
                  </a:lnTo>
                  <a:lnTo>
                    <a:pt x="449" y="1295"/>
                  </a:lnTo>
                  <a:lnTo>
                    <a:pt x="449" y="1294"/>
                  </a:lnTo>
                  <a:lnTo>
                    <a:pt x="449" y="1294"/>
                  </a:lnTo>
                  <a:lnTo>
                    <a:pt x="448" y="1293"/>
                  </a:lnTo>
                  <a:lnTo>
                    <a:pt x="448" y="1291"/>
                  </a:lnTo>
                  <a:lnTo>
                    <a:pt x="448" y="1289"/>
                  </a:lnTo>
                  <a:close/>
                  <a:moveTo>
                    <a:pt x="1326" y="1869"/>
                  </a:moveTo>
                  <a:lnTo>
                    <a:pt x="1324" y="1873"/>
                  </a:lnTo>
                  <a:lnTo>
                    <a:pt x="1324" y="1876"/>
                  </a:lnTo>
                  <a:lnTo>
                    <a:pt x="1327" y="1879"/>
                  </a:lnTo>
                  <a:lnTo>
                    <a:pt x="1331" y="1882"/>
                  </a:lnTo>
                  <a:lnTo>
                    <a:pt x="1333" y="1881"/>
                  </a:lnTo>
                  <a:lnTo>
                    <a:pt x="1334" y="1880"/>
                  </a:lnTo>
                  <a:lnTo>
                    <a:pt x="1333" y="1877"/>
                  </a:lnTo>
                  <a:lnTo>
                    <a:pt x="1332" y="1874"/>
                  </a:lnTo>
                  <a:lnTo>
                    <a:pt x="1330" y="1873"/>
                  </a:lnTo>
                  <a:lnTo>
                    <a:pt x="1327" y="1871"/>
                  </a:lnTo>
                  <a:lnTo>
                    <a:pt x="1327" y="1869"/>
                  </a:lnTo>
                  <a:lnTo>
                    <a:pt x="1326" y="1869"/>
                  </a:lnTo>
                  <a:close/>
                  <a:moveTo>
                    <a:pt x="1367" y="1800"/>
                  </a:moveTo>
                  <a:lnTo>
                    <a:pt x="1368" y="1799"/>
                  </a:lnTo>
                  <a:lnTo>
                    <a:pt x="1369" y="1798"/>
                  </a:lnTo>
                  <a:lnTo>
                    <a:pt x="1370" y="1796"/>
                  </a:lnTo>
                  <a:lnTo>
                    <a:pt x="1370" y="1795"/>
                  </a:lnTo>
                  <a:lnTo>
                    <a:pt x="1371" y="1793"/>
                  </a:lnTo>
                  <a:lnTo>
                    <a:pt x="1370" y="1793"/>
                  </a:lnTo>
                  <a:lnTo>
                    <a:pt x="1369" y="1792"/>
                  </a:lnTo>
                  <a:lnTo>
                    <a:pt x="1367" y="1792"/>
                  </a:lnTo>
                  <a:lnTo>
                    <a:pt x="1366" y="1792"/>
                  </a:lnTo>
                  <a:lnTo>
                    <a:pt x="1366" y="1793"/>
                  </a:lnTo>
                  <a:lnTo>
                    <a:pt x="1365" y="1794"/>
                  </a:lnTo>
                  <a:lnTo>
                    <a:pt x="1363" y="1795"/>
                  </a:lnTo>
                  <a:lnTo>
                    <a:pt x="1362" y="1796"/>
                  </a:lnTo>
                  <a:lnTo>
                    <a:pt x="1362" y="1796"/>
                  </a:lnTo>
                  <a:lnTo>
                    <a:pt x="1365" y="1799"/>
                  </a:lnTo>
                  <a:lnTo>
                    <a:pt x="1367" y="1800"/>
                  </a:lnTo>
                  <a:close/>
                  <a:moveTo>
                    <a:pt x="1326" y="1850"/>
                  </a:moveTo>
                  <a:lnTo>
                    <a:pt x="1321" y="1850"/>
                  </a:lnTo>
                  <a:lnTo>
                    <a:pt x="1318" y="1852"/>
                  </a:lnTo>
                  <a:lnTo>
                    <a:pt x="1317" y="1855"/>
                  </a:lnTo>
                  <a:lnTo>
                    <a:pt x="1317" y="1859"/>
                  </a:lnTo>
                  <a:lnTo>
                    <a:pt x="1318" y="1860"/>
                  </a:lnTo>
                  <a:lnTo>
                    <a:pt x="1320" y="1861"/>
                  </a:lnTo>
                  <a:lnTo>
                    <a:pt x="1322" y="1863"/>
                  </a:lnTo>
                  <a:lnTo>
                    <a:pt x="1324" y="1865"/>
                  </a:lnTo>
                  <a:lnTo>
                    <a:pt x="1327" y="1864"/>
                  </a:lnTo>
                  <a:lnTo>
                    <a:pt x="1327" y="1863"/>
                  </a:lnTo>
                  <a:lnTo>
                    <a:pt x="1327" y="1862"/>
                  </a:lnTo>
                  <a:lnTo>
                    <a:pt x="1326" y="1861"/>
                  </a:lnTo>
                  <a:lnTo>
                    <a:pt x="1325" y="1859"/>
                  </a:lnTo>
                  <a:lnTo>
                    <a:pt x="1329" y="1859"/>
                  </a:lnTo>
                  <a:lnTo>
                    <a:pt x="1329" y="1858"/>
                  </a:lnTo>
                  <a:lnTo>
                    <a:pt x="1328" y="1857"/>
                  </a:lnTo>
                  <a:lnTo>
                    <a:pt x="1327" y="1855"/>
                  </a:lnTo>
                  <a:lnTo>
                    <a:pt x="1326" y="1854"/>
                  </a:lnTo>
                  <a:lnTo>
                    <a:pt x="1327" y="1852"/>
                  </a:lnTo>
                  <a:lnTo>
                    <a:pt x="1326" y="1850"/>
                  </a:lnTo>
                  <a:close/>
                  <a:moveTo>
                    <a:pt x="1890" y="1524"/>
                  </a:moveTo>
                  <a:lnTo>
                    <a:pt x="1890" y="1522"/>
                  </a:lnTo>
                  <a:lnTo>
                    <a:pt x="1891" y="1520"/>
                  </a:lnTo>
                  <a:lnTo>
                    <a:pt x="1890" y="1519"/>
                  </a:lnTo>
                  <a:lnTo>
                    <a:pt x="1889" y="1518"/>
                  </a:lnTo>
                  <a:lnTo>
                    <a:pt x="1888" y="1517"/>
                  </a:lnTo>
                  <a:lnTo>
                    <a:pt x="1878" y="1493"/>
                  </a:lnTo>
                  <a:lnTo>
                    <a:pt x="1868" y="1479"/>
                  </a:lnTo>
                  <a:lnTo>
                    <a:pt x="1866" y="1477"/>
                  </a:lnTo>
                  <a:lnTo>
                    <a:pt x="1863" y="1476"/>
                  </a:lnTo>
                  <a:lnTo>
                    <a:pt x="1861" y="1473"/>
                  </a:lnTo>
                  <a:lnTo>
                    <a:pt x="1857" y="1466"/>
                  </a:lnTo>
                  <a:lnTo>
                    <a:pt x="1852" y="1462"/>
                  </a:lnTo>
                  <a:lnTo>
                    <a:pt x="1850" y="1459"/>
                  </a:lnTo>
                  <a:lnTo>
                    <a:pt x="1847" y="1454"/>
                  </a:lnTo>
                  <a:lnTo>
                    <a:pt x="1846" y="1453"/>
                  </a:lnTo>
                  <a:lnTo>
                    <a:pt x="1842" y="1453"/>
                  </a:lnTo>
                  <a:lnTo>
                    <a:pt x="1828" y="1444"/>
                  </a:lnTo>
                  <a:lnTo>
                    <a:pt x="1815" y="1433"/>
                  </a:lnTo>
                  <a:lnTo>
                    <a:pt x="1816" y="1424"/>
                  </a:lnTo>
                  <a:lnTo>
                    <a:pt x="1815" y="1423"/>
                  </a:lnTo>
                  <a:lnTo>
                    <a:pt x="1811" y="1419"/>
                  </a:lnTo>
                  <a:lnTo>
                    <a:pt x="1811" y="1417"/>
                  </a:lnTo>
                  <a:lnTo>
                    <a:pt x="1811" y="1415"/>
                  </a:lnTo>
                  <a:lnTo>
                    <a:pt x="1810" y="1414"/>
                  </a:lnTo>
                  <a:lnTo>
                    <a:pt x="1807" y="1413"/>
                  </a:lnTo>
                  <a:lnTo>
                    <a:pt x="1803" y="1414"/>
                  </a:lnTo>
                  <a:lnTo>
                    <a:pt x="1802" y="1414"/>
                  </a:lnTo>
                  <a:lnTo>
                    <a:pt x="1802" y="1409"/>
                  </a:lnTo>
                  <a:lnTo>
                    <a:pt x="1797" y="1407"/>
                  </a:lnTo>
                  <a:lnTo>
                    <a:pt x="1784" y="1405"/>
                  </a:lnTo>
                  <a:lnTo>
                    <a:pt x="1769" y="1394"/>
                  </a:lnTo>
                  <a:lnTo>
                    <a:pt x="1753" y="1387"/>
                  </a:lnTo>
                  <a:lnTo>
                    <a:pt x="1751" y="1386"/>
                  </a:lnTo>
                  <a:lnTo>
                    <a:pt x="1737" y="1382"/>
                  </a:lnTo>
                  <a:lnTo>
                    <a:pt x="1731" y="1378"/>
                  </a:lnTo>
                  <a:lnTo>
                    <a:pt x="1728" y="1378"/>
                  </a:lnTo>
                  <a:lnTo>
                    <a:pt x="1726" y="1376"/>
                  </a:lnTo>
                  <a:lnTo>
                    <a:pt x="1716" y="1366"/>
                  </a:lnTo>
                  <a:lnTo>
                    <a:pt x="1710" y="1361"/>
                  </a:lnTo>
                  <a:lnTo>
                    <a:pt x="1707" y="1360"/>
                  </a:lnTo>
                  <a:lnTo>
                    <a:pt x="1705" y="1359"/>
                  </a:lnTo>
                  <a:lnTo>
                    <a:pt x="1699" y="1350"/>
                  </a:lnTo>
                  <a:lnTo>
                    <a:pt x="1694" y="1345"/>
                  </a:lnTo>
                  <a:lnTo>
                    <a:pt x="1682" y="1336"/>
                  </a:lnTo>
                  <a:lnTo>
                    <a:pt x="1659" y="1324"/>
                  </a:lnTo>
                  <a:lnTo>
                    <a:pt x="1632" y="1315"/>
                  </a:lnTo>
                  <a:lnTo>
                    <a:pt x="1629" y="1311"/>
                  </a:lnTo>
                  <a:lnTo>
                    <a:pt x="1628" y="1311"/>
                  </a:lnTo>
                  <a:lnTo>
                    <a:pt x="1628" y="1313"/>
                  </a:lnTo>
                  <a:lnTo>
                    <a:pt x="1626" y="1313"/>
                  </a:lnTo>
                  <a:lnTo>
                    <a:pt x="1623" y="1310"/>
                  </a:lnTo>
                  <a:lnTo>
                    <a:pt x="1586" y="1297"/>
                  </a:lnTo>
                  <a:lnTo>
                    <a:pt x="1579" y="1293"/>
                  </a:lnTo>
                  <a:lnTo>
                    <a:pt x="1577" y="1291"/>
                  </a:lnTo>
                  <a:lnTo>
                    <a:pt x="1574" y="1288"/>
                  </a:lnTo>
                  <a:lnTo>
                    <a:pt x="1564" y="1286"/>
                  </a:lnTo>
                  <a:lnTo>
                    <a:pt x="1539" y="1272"/>
                  </a:lnTo>
                  <a:lnTo>
                    <a:pt x="1509" y="1258"/>
                  </a:lnTo>
                  <a:lnTo>
                    <a:pt x="1507" y="1256"/>
                  </a:lnTo>
                  <a:lnTo>
                    <a:pt x="1505" y="1254"/>
                  </a:lnTo>
                  <a:lnTo>
                    <a:pt x="1495" y="1251"/>
                  </a:lnTo>
                  <a:lnTo>
                    <a:pt x="1485" y="1244"/>
                  </a:lnTo>
                  <a:lnTo>
                    <a:pt x="1481" y="1240"/>
                  </a:lnTo>
                  <a:lnTo>
                    <a:pt x="1477" y="1235"/>
                  </a:lnTo>
                  <a:lnTo>
                    <a:pt x="1475" y="1228"/>
                  </a:lnTo>
                  <a:lnTo>
                    <a:pt x="1474" y="1219"/>
                  </a:lnTo>
                  <a:lnTo>
                    <a:pt x="1475" y="1211"/>
                  </a:lnTo>
                  <a:lnTo>
                    <a:pt x="1479" y="1206"/>
                  </a:lnTo>
                  <a:lnTo>
                    <a:pt x="1496" y="1198"/>
                  </a:lnTo>
                  <a:lnTo>
                    <a:pt x="1501" y="1193"/>
                  </a:lnTo>
                  <a:lnTo>
                    <a:pt x="1506" y="1188"/>
                  </a:lnTo>
                  <a:lnTo>
                    <a:pt x="1509" y="1185"/>
                  </a:lnTo>
                  <a:lnTo>
                    <a:pt x="1512" y="1184"/>
                  </a:lnTo>
                  <a:lnTo>
                    <a:pt x="1514" y="1183"/>
                  </a:lnTo>
                  <a:lnTo>
                    <a:pt x="1518" y="1180"/>
                  </a:lnTo>
                  <a:lnTo>
                    <a:pt x="1521" y="1176"/>
                  </a:lnTo>
                  <a:lnTo>
                    <a:pt x="1522" y="1174"/>
                  </a:lnTo>
                  <a:lnTo>
                    <a:pt x="1522" y="1170"/>
                  </a:lnTo>
                  <a:lnTo>
                    <a:pt x="1522" y="1168"/>
                  </a:lnTo>
                  <a:lnTo>
                    <a:pt x="1520" y="1160"/>
                  </a:lnTo>
                  <a:lnTo>
                    <a:pt x="1519" y="1156"/>
                  </a:lnTo>
                  <a:lnTo>
                    <a:pt x="1520" y="1152"/>
                  </a:lnTo>
                  <a:lnTo>
                    <a:pt x="1517" y="1152"/>
                  </a:lnTo>
                  <a:lnTo>
                    <a:pt x="1514" y="1147"/>
                  </a:lnTo>
                  <a:lnTo>
                    <a:pt x="1509" y="1145"/>
                  </a:lnTo>
                  <a:lnTo>
                    <a:pt x="1509" y="1145"/>
                  </a:lnTo>
                  <a:lnTo>
                    <a:pt x="1496" y="1141"/>
                  </a:lnTo>
                  <a:lnTo>
                    <a:pt x="1455" y="1146"/>
                  </a:lnTo>
                  <a:lnTo>
                    <a:pt x="1430" y="1145"/>
                  </a:lnTo>
                  <a:lnTo>
                    <a:pt x="1403" y="1150"/>
                  </a:lnTo>
                  <a:lnTo>
                    <a:pt x="1396" y="1149"/>
                  </a:lnTo>
                  <a:lnTo>
                    <a:pt x="1377" y="1145"/>
                  </a:lnTo>
                  <a:lnTo>
                    <a:pt x="1359" y="1145"/>
                  </a:lnTo>
                  <a:lnTo>
                    <a:pt x="1355" y="1144"/>
                  </a:lnTo>
                  <a:lnTo>
                    <a:pt x="1352" y="1144"/>
                  </a:lnTo>
                  <a:lnTo>
                    <a:pt x="1349" y="1142"/>
                  </a:lnTo>
                  <a:lnTo>
                    <a:pt x="1343" y="1137"/>
                  </a:lnTo>
                  <a:lnTo>
                    <a:pt x="1340" y="1136"/>
                  </a:lnTo>
                  <a:lnTo>
                    <a:pt x="1338" y="1135"/>
                  </a:lnTo>
                  <a:lnTo>
                    <a:pt x="1334" y="1129"/>
                  </a:lnTo>
                  <a:lnTo>
                    <a:pt x="1332" y="1127"/>
                  </a:lnTo>
                  <a:lnTo>
                    <a:pt x="1325" y="1125"/>
                  </a:lnTo>
                  <a:lnTo>
                    <a:pt x="1312" y="1123"/>
                  </a:lnTo>
                  <a:lnTo>
                    <a:pt x="1307" y="1120"/>
                  </a:lnTo>
                  <a:lnTo>
                    <a:pt x="1301" y="1116"/>
                  </a:lnTo>
                  <a:lnTo>
                    <a:pt x="1298" y="1114"/>
                  </a:lnTo>
                  <a:lnTo>
                    <a:pt x="1295" y="1113"/>
                  </a:lnTo>
                  <a:lnTo>
                    <a:pt x="1294" y="1113"/>
                  </a:lnTo>
                  <a:lnTo>
                    <a:pt x="1291" y="1111"/>
                  </a:lnTo>
                  <a:lnTo>
                    <a:pt x="1290" y="1109"/>
                  </a:lnTo>
                  <a:lnTo>
                    <a:pt x="1289" y="1104"/>
                  </a:lnTo>
                  <a:lnTo>
                    <a:pt x="1288" y="1096"/>
                  </a:lnTo>
                  <a:lnTo>
                    <a:pt x="1286" y="1092"/>
                  </a:lnTo>
                  <a:lnTo>
                    <a:pt x="1284" y="1090"/>
                  </a:lnTo>
                  <a:lnTo>
                    <a:pt x="1278" y="1089"/>
                  </a:lnTo>
                  <a:lnTo>
                    <a:pt x="1269" y="1085"/>
                  </a:lnTo>
                  <a:lnTo>
                    <a:pt x="1263" y="1082"/>
                  </a:lnTo>
                  <a:lnTo>
                    <a:pt x="1242" y="1061"/>
                  </a:lnTo>
                  <a:lnTo>
                    <a:pt x="1235" y="1050"/>
                  </a:lnTo>
                  <a:lnTo>
                    <a:pt x="1230" y="1046"/>
                  </a:lnTo>
                  <a:lnTo>
                    <a:pt x="1219" y="1038"/>
                  </a:lnTo>
                  <a:lnTo>
                    <a:pt x="1209" y="1029"/>
                  </a:lnTo>
                  <a:lnTo>
                    <a:pt x="1186" y="1002"/>
                  </a:lnTo>
                  <a:lnTo>
                    <a:pt x="1185" y="999"/>
                  </a:lnTo>
                  <a:lnTo>
                    <a:pt x="1184" y="996"/>
                  </a:lnTo>
                  <a:lnTo>
                    <a:pt x="1174" y="980"/>
                  </a:lnTo>
                  <a:lnTo>
                    <a:pt x="1171" y="973"/>
                  </a:lnTo>
                  <a:lnTo>
                    <a:pt x="1165" y="959"/>
                  </a:lnTo>
                  <a:lnTo>
                    <a:pt x="1159" y="936"/>
                  </a:lnTo>
                  <a:lnTo>
                    <a:pt x="1152" y="914"/>
                  </a:lnTo>
                  <a:lnTo>
                    <a:pt x="1150" y="895"/>
                  </a:lnTo>
                  <a:lnTo>
                    <a:pt x="1148" y="887"/>
                  </a:lnTo>
                  <a:lnTo>
                    <a:pt x="1142" y="876"/>
                  </a:lnTo>
                  <a:lnTo>
                    <a:pt x="1141" y="873"/>
                  </a:lnTo>
                  <a:lnTo>
                    <a:pt x="1140" y="872"/>
                  </a:lnTo>
                  <a:lnTo>
                    <a:pt x="1139" y="864"/>
                  </a:lnTo>
                  <a:lnTo>
                    <a:pt x="1138" y="862"/>
                  </a:lnTo>
                  <a:lnTo>
                    <a:pt x="1136" y="858"/>
                  </a:lnTo>
                  <a:lnTo>
                    <a:pt x="1113" y="800"/>
                  </a:lnTo>
                  <a:lnTo>
                    <a:pt x="1114" y="796"/>
                  </a:lnTo>
                  <a:lnTo>
                    <a:pt x="1113" y="793"/>
                  </a:lnTo>
                  <a:lnTo>
                    <a:pt x="1110" y="791"/>
                  </a:lnTo>
                  <a:lnTo>
                    <a:pt x="1107" y="791"/>
                  </a:lnTo>
                  <a:lnTo>
                    <a:pt x="1106" y="789"/>
                  </a:lnTo>
                  <a:lnTo>
                    <a:pt x="1104" y="785"/>
                  </a:lnTo>
                  <a:lnTo>
                    <a:pt x="1101" y="782"/>
                  </a:lnTo>
                  <a:lnTo>
                    <a:pt x="1098" y="780"/>
                  </a:lnTo>
                  <a:lnTo>
                    <a:pt x="1098" y="780"/>
                  </a:lnTo>
                  <a:lnTo>
                    <a:pt x="1098" y="779"/>
                  </a:lnTo>
                  <a:lnTo>
                    <a:pt x="1097" y="778"/>
                  </a:lnTo>
                  <a:lnTo>
                    <a:pt x="1096" y="777"/>
                  </a:lnTo>
                  <a:lnTo>
                    <a:pt x="1095" y="778"/>
                  </a:lnTo>
                  <a:lnTo>
                    <a:pt x="1095" y="778"/>
                  </a:lnTo>
                  <a:lnTo>
                    <a:pt x="1094" y="779"/>
                  </a:lnTo>
                  <a:lnTo>
                    <a:pt x="1094" y="779"/>
                  </a:lnTo>
                  <a:lnTo>
                    <a:pt x="1093" y="779"/>
                  </a:lnTo>
                  <a:lnTo>
                    <a:pt x="1092" y="781"/>
                  </a:lnTo>
                  <a:lnTo>
                    <a:pt x="1090" y="782"/>
                  </a:lnTo>
                  <a:lnTo>
                    <a:pt x="1086" y="779"/>
                  </a:lnTo>
                  <a:lnTo>
                    <a:pt x="1079" y="777"/>
                  </a:lnTo>
                  <a:lnTo>
                    <a:pt x="1077" y="775"/>
                  </a:lnTo>
                  <a:lnTo>
                    <a:pt x="1074" y="774"/>
                  </a:lnTo>
                  <a:lnTo>
                    <a:pt x="1055" y="762"/>
                  </a:lnTo>
                  <a:lnTo>
                    <a:pt x="1007" y="720"/>
                  </a:lnTo>
                  <a:lnTo>
                    <a:pt x="1005" y="718"/>
                  </a:lnTo>
                  <a:lnTo>
                    <a:pt x="1004" y="715"/>
                  </a:lnTo>
                  <a:lnTo>
                    <a:pt x="993" y="711"/>
                  </a:lnTo>
                  <a:lnTo>
                    <a:pt x="987" y="706"/>
                  </a:lnTo>
                  <a:lnTo>
                    <a:pt x="984" y="704"/>
                  </a:lnTo>
                  <a:lnTo>
                    <a:pt x="976" y="703"/>
                  </a:lnTo>
                  <a:lnTo>
                    <a:pt x="976" y="703"/>
                  </a:lnTo>
                  <a:lnTo>
                    <a:pt x="969" y="701"/>
                  </a:lnTo>
                  <a:lnTo>
                    <a:pt x="966" y="699"/>
                  </a:lnTo>
                  <a:lnTo>
                    <a:pt x="961" y="695"/>
                  </a:lnTo>
                  <a:lnTo>
                    <a:pt x="956" y="691"/>
                  </a:lnTo>
                  <a:lnTo>
                    <a:pt x="947" y="678"/>
                  </a:lnTo>
                  <a:lnTo>
                    <a:pt x="943" y="676"/>
                  </a:lnTo>
                  <a:lnTo>
                    <a:pt x="937" y="672"/>
                  </a:lnTo>
                  <a:lnTo>
                    <a:pt x="932" y="666"/>
                  </a:lnTo>
                  <a:lnTo>
                    <a:pt x="929" y="660"/>
                  </a:lnTo>
                  <a:lnTo>
                    <a:pt x="923" y="654"/>
                  </a:lnTo>
                  <a:lnTo>
                    <a:pt x="918" y="648"/>
                  </a:lnTo>
                  <a:lnTo>
                    <a:pt x="915" y="642"/>
                  </a:lnTo>
                  <a:lnTo>
                    <a:pt x="912" y="633"/>
                  </a:lnTo>
                  <a:lnTo>
                    <a:pt x="911" y="629"/>
                  </a:lnTo>
                  <a:lnTo>
                    <a:pt x="911" y="624"/>
                  </a:lnTo>
                  <a:lnTo>
                    <a:pt x="910" y="623"/>
                  </a:lnTo>
                  <a:lnTo>
                    <a:pt x="908" y="620"/>
                  </a:lnTo>
                  <a:lnTo>
                    <a:pt x="908" y="619"/>
                  </a:lnTo>
                  <a:lnTo>
                    <a:pt x="907" y="617"/>
                  </a:lnTo>
                  <a:lnTo>
                    <a:pt x="906" y="612"/>
                  </a:lnTo>
                  <a:lnTo>
                    <a:pt x="902" y="589"/>
                  </a:lnTo>
                  <a:lnTo>
                    <a:pt x="901" y="579"/>
                  </a:lnTo>
                  <a:lnTo>
                    <a:pt x="902" y="564"/>
                  </a:lnTo>
                  <a:lnTo>
                    <a:pt x="902" y="561"/>
                  </a:lnTo>
                  <a:lnTo>
                    <a:pt x="900" y="560"/>
                  </a:lnTo>
                  <a:lnTo>
                    <a:pt x="899" y="556"/>
                  </a:lnTo>
                  <a:lnTo>
                    <a:pt x="897" y="549"/>
                  </a:lnTo>
                  <a:lnTo>
                    <a:pt x="896" y="539"/>
                  </a:lnTo>
                  <a:lnTo>
                    <a:pt x="897" y="531"/>
                  </a:lnTo>
                  <a:lnTo>
                    <a:pt x="901" y="515"/>
                  </a:lnTo>
                  <a:lnTo>
                    <a:pt x="899" y="515"/>
                  </a:lnTo>
                  <a:lnTo>
                    <a:pt x="899" y="514"/>
                  </a:lnTo>
                  <a:lnTo>
                    <a:pt x="903" y="510"/>
                  </a:lnTo>
                  <a:lnTo>
                    <a:pt x="904" y="510"/>
                  </a:lnTo>
                  <a:lnTo>
                    <a:pt x="908" y="512"/>
                  </a:lnTo>
                  <a:lnTo>
                    <a:pt x="912" y="516"/>
                  </a:lnTo>
                  <a:lnTo>
                    <a:pt x="913" y="519"/>
                  </a:lnTo>
                  <a:lnTo>
                    <a:pt x="916" y="522"/>
                  </a:lnTo>
                  <a:lnTo>
                    <a:pt x="920" y="521"/>
                  </a:lnTo>
                  <a:lnTo>
                    <a:pt x="922" y="519"/>
                  </a:lnTo>
                  <a:lnTo>
                    <a:pt x="924" y="515"/>
                  </a:lnTo>
                  <a:lnTo>
                    <a:pt x="922" y="515"/>
                  </a:lnTo>
                  <a:lnTo>
                    <a:pt x="921" y="514"/>
                  </a:lnTo>
                  <a:lnTo>
                    <a:pt x="919" y="514"/>
                  </a:lnTo>
                  <a:lnTo>
                    <a:pt x="919" y="512"/>
                  </a:lnTo>
                  <a:lnTo>
                    <a:pt x="921" y="512"/>
                  </a:lnTo>
                  <a:lnTo>
                    <a:pt x="922" y="510"/>
                  </a:lnTo>
                  <a:lnTo>
                    <a:pt x="922" y="509"/>
                  </a:lnTo>
                  <a:lnTo>
                    <a:pt x="919" y="507"/>
                  </a:lnTo>
                  <a:lnTo>
                    <a:pt x="919" y="505"/>
                  </a:lnTo>
                  <a:lnTo>
                    <a:pt x="921" y="501"/>
                  </a:lnTo>
                  <a:lnTo>
                    <a:pt x="921" y="500"/>
                  </a:lnTo>
                  <a:lnTo>
                    <a:pt x="922" y="498"/>
                  </a:lnTo>
                  <a:lnTo>
                    <a:pt x="924" y="496"/>
                  </a:lnTo>
                  <a:lnTo>
                    <a:pt x="926" y="497"/>
                  </a:lnTo>
                  <a:lnTo>
                    <a:pt x="927" y="500"/>
                  </a:lnTo>
                  <a:lnTo>
                    <a:pt x="926" y="503"/>
                  </a:lnTo>
                  <a:lnTo>
                    <a:pt x="924" y="508"/>
                  </a:lnTo>
                  <a:lnTo>
                    <a:pt x="925" y="510"/>
                  </a:lnTo>
                  <a:lnTo>
                    <a:pt x="926" y="512"/>
                  </a:lnTo>
                  <a:lnTo>
                    <a:pt x="927" y="514"/>
                  </a:lnTo>
                  <a:lnTo>
                    <a:pt x="927" y="515"/>
                  </a:lnTo>
                  <a:lnTo>
                    <a:pt x="932" y="510"/>
                  </a:lnTo>
                  <a:lnTo>
                    <a:pt x="934" y="506"/>
                  </a:lnTo>
                  <a:lnTo>
                    <a:pt x="935" y="502"/>
                  </a:lnTo>
                  <a:lnTo>
                    <a:pt x="935" y="495"/>
                  </a:lnTo>
                  <a:lnTo>
                    <a:pt x="936" y="493"/>
                  </a:lnTo>
                  <a:lnTo>
                    <a:pt x="937" y="493"/>
                  </a:lnTo>
                  <a:lnTo>
                    <a:pt x="938" y="493"/>
                  </a:lnTo>
                  <a:lnTo>
                    <a:pt x="938" y="491"/>
                  </a:lnTo>
                  <a:lnTo>
                    <a:pt x="939" y="490"/>
                  </a:lnTo>
                  <a:lnTo>
                    <a:pt x="940" y="488"/>
                  </a:lnTo>
                  <a:lnTo>
                    <a:pt x="939" y="486"/>
                  </a:lnTo>
                  <a:lnTo>
                    <a:pt x="941" y="484"/>
                  </a:lnTo>
                  <a:lnTo>
                    <a:pt x="941" y="482"/>
                  </a:lnTo>
                  <a:lnTo>
                    <a:pt x="940" y="480"/>
                  </a:lnTo>
                  <a:lnTo>
                    <a:pt x="938" y="478"/>
                  </a:lnTo>
                  <a:lnTo>
                    <a:pt x="936" y="477"/>
                  </a:lnTo>
                  <a:lnTo>
                    <a:pt x="934" y="477"/>
                  </a:lnTo>
                  <a:lnTo>
                    <a:pt x="934" y="479"/>
                  </a:lnTo>
                  <a:lnTo>
                    <a:pt x="934" y="479"/>
                  </a:lnTo>
                  <a:lnTo>
                    <a:pt x="935" y="479"/>
                  </a:lnTo>
                  <a:lnTo>
                    <a:pt x="936" y="479"/>
                  </a:lnTo>
                  <a:lnTo>
                    <a:pt x="934" y="480"/>
                  </a:lnTo>
                  <a:lnTo>
                    <a:pt x="930" y="477"/>
                  </a:lnTo>
                  <a:lnTo>
                    <a:pt x="927" y="473"/>
                  </a:lnTo>
                  <a:lnTo>
                    <a:pt x="925" y="472"/>
                  </a:lnTo>
                  <a:lnTo>
                    <a:pt x="924" y="471"/>
                  </a:lnTo>
                  <a:lnTo>
                    <a:pt x="922" y="468"/>
                  </a:lnTo>
                  <a:lnTo>
                    <a:pt x="922" y="466"/>
                  </a:lnTo>
                  <a:lnTo>
                    <a:pt x="920" y="464"/>
                  </a:lnTo>
                  <a:lnTo>
                    <a:pt x="917" y="463"/>
                  </a:lnTo>
                  <a:lnTo>
                    <a:pt x="915" y="461"/>
                  </a:lnTo>
                  <a:lnTo>
                    <a:pt x="917" y="464"/>
                  </a:lnTo>
                  <a:lnTo>
                    <a:pt x="918" y="466"/>
                  </a:lnTo>
                  <a:lnTo>
                    <a:pt x="917" y="469"/>
                  </a:lnTo>
                  <a:lnTo>
                    <a:pt x="915" y="473"/>
                  </a:lnTo>
                  <a:lnTo>
                    <a:pt x="913" y="470"/>
                  </a:lnTo>
                  <a:lnTo>
                    <a:pt x="914" y="469"/>
                  </a:lnTo>
                  <a:lnTo>
                    <a:pt x="914" y="469"/>
                  </a:lnTo>
                  <a:lnTo>
                    <a:pt x="915" y="468"/>
                  </a:lnTo>
                  <a:lnTo>
                    <a:pt x="916" y="468"/>
                  </a:lnTo>
                  <a:lnTo>
                    <a:pt x="916" y="466"/>
                  </a:lnTo>
                  <a:lnTo>
                    <a:pt x="914" y="464"/>
                  </a:lnTo>
                  <a:lnTo>
                    <a:pt x="912" y="460"/>
                  </a:lnTo>
                  <a:lnTo>
                    <a:pt x="911" y="457"/>
                  </a:lnTo>
                  <a:lnTo>
                    <a:pt x="908" y="454"/>
                  </a:lnTo>
                  <a:lnTo>
                    <a:pt x="908" y="456"/>
                  </a:lnTo>
                  <a:lnTo>
                    <a:pt x="908" y="456"/>
                  </a:lnTo>
                  <a:lnTo>
                    <a:pt x="908" y="457"/>
                  </a:lnTo>
                  <a:lnTo>
                    <a:pt x="905" y="458"/>
                  </a:lnTo>
                  <a:lnTo>
                    <a:pt x="903" y="456"/>
                  </a:lnTo>
                  <a:lnTo>
                    <a:pt x="904" y="451"/>
                  </a:lnTo>
                  <a:lnTo>
                    <a:pt x="905" y="446"/>
                  </a:lnTo>
                  <a:lnTo>
                    <a:pt x="905" y="447"/>
                  </a:lnTo>
                  <a:lnTo>
                    <a:pt x="905" y="450"/>
                  </a:lnTo>
                  <a:lnTo>
                    <a:pt x="905" y="451"/>
                  </a:lnTo>
                  <a:lnTo>
                    <a:pt x="907" y="452"/>
                  </a:lnTo>
                  <a:lnTo>
                    <a:pt x="908" y="453"/>
                  </a:lnTo>
                  <a:lnTo>
                    <a:pt x="908" y="444"/>
                  </a:lnTo>
                  <a:lnTo>
                    <a:pt x="908" y="437"/>
                  </a:lnTo>
                  <a:lnTo>
                    <a:pt x="907" y="433"/>
                  </a:lnTo>
                  <a:lnTo>
                    <a:pt x="905" y="430"/>
                  </a:lnTo>
                  <a:lnTo>
                    <a:pt x="904" y="427"/>
                  </a:lnTo>
                  <a:lnTo>
                    <a:pt x="905" y="423"/>
                  </a:lnTo>
                  <a:lnTo>
                    <a:pt x="903" y="424"/>
                  </a:lnTo>
                  <a:lnTo>
                    <a:pt x="900" y="428"/>
                  </a:lnTo>
                  <a:lnTo>
                    <a:pt x="898" y="430"/>
                  </a:lnTo>
                  <a:lnTo>
                    <a:pt x="898" y="430"/>
                  </a:lnTo>
                  <a:lnTo>
                    <a:pt x="898" y="430"/>
                  </a:lnTo>
                  <a:lnTo>
                    <a:pt x="899" y="431"/>
                  </a:lnTo>
                  <a:lnTo>
                    <a:pt x="896" y="431"/>
                  </a:lnTo>
                  <a:lnTo>
                    <a:pt x="893" y="429"/>
                  </a:lnTo>
                  <a:lnTo>
                    <a:pt x="892" y="427"/>
                  </a:lnTo>
                  <a:lnTo>
                    <a:pt x="892" y="423"/>
                  </a:lnTo>
                  <a:lnTo>
                    <a:pt x="891" y="422"/>
                  </a:lnTo>
                  <a:lnTo>
                    <a:pt x="890" y="421"/>
                  </a:lnTo>
                  <a:lnTo>
                    <a:pt x="890" y="420"/>
                  </a:lnTo>
                  <a:lnTo>
                    <a:pt x="892" y="419"/>
                  </a:lnTo>
                  <a:lnTo>
                    <a:pt x="892" y="415"/>
                  </a:lnTo>
                  <a:lnTo>
                    <a:pt x="892" y="412"/>
                  </a:lnTo>
                  <a:lnTo>
                    <a:pt x="891" y="409"/>
                  </a:lnTo>
                  <a:lnTo>
                    <a:pt x="888" y="408"/>
                  </a:lnTo>
                  <a:lnTo>
                    <a:pt x="888" y="411"/>
                  </a:lnTo>
                  <a:lnTo>
                    <a:pt x="888" y="414"/>
                  </a:lnTo>
                  <a:lnTo>
                    <a:pt x="887" y="416"/>
                  </a:lnTo>
                  <a:lnTo>
                    <a:pt x="885" y="417"/>
                  </a:lnTo>
                  <a:lnTo>
                    <a:pt x="883" y="417"/>
                  </a:lnTo>
                  <a:lnTo>
                    <a:pt x="882" y="412"/>
                  </a:lnTo>
                  <a:lnTo>
                    <a:pt x="880" y="410"/>
                  </a:lnTo>
                  <a:lnTo>
                    <a:pt x="881" y="405"/>
                  </a:lnTo>
                  <a:lnTo>
                    <a:pt x="882" y="404"/>
                  </a:lnTo>
                  <a:lnTo>
                    <a:pt x="884" y="406"/>
                  </a:lnTo>
                  <a:lnTo>
                    <a:pt x="886" y="407"/>
                  </a:lnTo>
                  <a:lnTo>
                    <a:pt x="890" y="406"/>
                  </a:lnTo>
                  <a:lnTo>
                    <a:pt x="891" y="404"/>
                  </a:lnTo>
                  <a:lnTo>
                    <a:pt x="892" y="402"/>
                  </a:lnTo>
                  <a:lnTo>
                    <a:pt x="893" y="399"/>
                  </a:lnTo>
                  <a:lnTo>
                    <a:pt x="892" y="396"/>
                  </a:lnTo>
                  <a:lnTo>
                    <a:pt x="893" y="395"/>
                  </a:lnTo>
                  <a:lnTo>
                    <a:pt x="894" y="395"/>
                  </a:lnTo>
                  <a:lnTo>
                    <a:pt x="895" y="394"/>
                  </a:lnTo>
                  <a:lnTo>
                    <a:pt x="896" y="392"/>
                  </a:lnTo>
                  <a:lnTo>
                    <a:pt x="896" y="390"/>
                  </a:lnTo>
                  <a:lnTo>
                    <a:pt x="896" y="389"/>
                  </a:lnTo>
                  <a:lnTo>
                    <a:pt x="898" y="387"/>
                  </a:lnTo>
                  <a:lnTo>
                    <a:pt x="896" y="385"/>
                  </a:lnTo>
                  <a:lnTo>
                    <a:pt x="896" y="383"/>
                  </a:lnTo>
                  <a:lnTo>
                    <a:pt x="896" y="381"/>
                  </a:lnTo>
                  <a:lnTo>
                    <a:pt x="898" y="379"/>
                  </a:lnTo>
                  <a:lnTo>
                    <a:pt x="897" y="379"/>
                  </a:lnTo>
                  <a:lnTo>
                    <a:pt x="897" y="377"/>
                  </a:lnTo>
                  <a:lnTo>
                    <a:pt x="900" y="371"/>
                  </a:lnTo>
                  <a:lnTo>
                    <a:pt x="906" y="365"/>
                  </a:lnTo>
                  <a:lnTo>
                    <a:pt x="912" y="362"/>
                  </a:lnTo>
                  <a:lnTo>
                    <a:pt x="917" y="362"/>
                  </a:lnTo>
                  <a:lnTo>
                    <a:pt x="917" y="364"/>
                  </a:lnTo>
                  <a:lnTo>
                    <a:pt x="919" y="365"/>
                  </a:lnTo>
                  <a:lnTo>
                    <a:pt x="922" y="364"/>
                  </a:lnTo>
                  <a:lnTo>
                    <a:pt x="924" y="363"/>
                  </a:lnTo>
                  <a:lnTo>
                    <a:pt x="924" y="362"/>
                  </a:lnTo>
                  <a:lnTo>
                    <a:pt x="918" y="360"/>
                  </a:lnTo>
                  <a:lnTo>
                    <a:pt x="917" y="358"/>
                  </a:lnTo>
                  <a:lnTo>
                    <a:pt x="919" y="354"/>
                  </a:lnTo>
                  <a:lnTo>
                    <a:pt x="921" y="359"/>
                  </a:lnTo>
                  <a:lnTo>
                    <a:pt x="922" y="359"/>
                  </a:lnTo>
                  <a:lnTo>
                    <a:pt x="923" y="358"/>
                  </a:lnTo>
                  <a:lnTo>
                    <a:pt x="926" y="360"/>
                  </a:lnTo>
                  <a:lnTo>
                    <a:pt x="928" y="360"/>
                  </a:lnTo>
                  <a:lnTo>
                    <a:pt x="928" y="359"/>
                  </a:lnTo>
                  <a:lnTo>
                    <a:pt x="927" y="356"/>
                  </a:lnTo>
                  <a:lnTo>
                    <a:pt x="929" y="352"/>
                  </a:lnTo>
                  <a:lnTo>
                    <a:pt x="933" y="348"/>
                  </a:lnTo>
                  <a:lnTo>
                    <a:pt x="937" y="346"/>
                  </a:lnTo>
                  <a:lnTo>
                    <a:pt x="937" y="349"/>
                  </a:lnTo>
                  <a:lnTo>
                    <a:pt x="939" y="352"/>
                  </a:lnTo>
                  <a:lnTo>
                    <a:pt x="942" y="355"/>
                  </a:lnTo>
                  <a:lnTo>
                    <a:pt x="943" y="355"/>
                  </a:lnTo>
                  <a:lnTo>
                    <a:pt x="947" y="352"/>
                  </a:lnTo>
                  <a:lnTo>
                    <a:pt x="949" y="351"/>
                  </a:lnTo>
                  <a:lnTo>
                    <a:pt x="947" y="354"/>
                  </a:lnTo>
                  <a:lnTo>
                    <a:pt x="946" y="356"/>
                  </a:lnTo>
                  <a:lnTo>
                    <a:pt x="943" y="357"/>
                  </a:lnTo>
                  <a:lnTo>
                    <a:pt x="941" y="357"/>
                  </a:lnTo>
                  <a:lnTo>
                    <a:pt x="939" y="358"/>
                  </a:lnTo>
                  <a:lnTo>
                    <a:pt x="939" y="362"/>
                  </a:lnTo>
                  <a:lnTo>
                    <a:pt x="938" y="364"/>
                  </a:lnTo>
                  <a:lnTo>
                    <a:pt x="935" y="365"/>
                  </a:lnTo>
                  <a:lnTo>
                    <a:pt x="935" y="363"/>
                  </a:lnTo>
                  <a:lnTo>
                    <a:pt x="936" y="363"/>
                  </a:lnTo>
                  <a:lnTo>
                    <a:pt x="937" y="363"/>
                  </a:lnTo>
                  <a:lnTo>
                    <a:pt x="937" y="363"/>
                  </a:lnTo>
                  <a:lnTo>
                    <a:pt x="936" y="362"/>
                  </a:lnTo>
                  <a:lnTo>
                    <a:pt x="936" y="362"/>
                  </a:lnTo>
                  <a:lnTo>
                    <a:pt x="936" y="362"/>
                  </a:lnTo>
                  <a:lnTo>
                    <a:pt x="935" y="361"/>
                  </a:lnTo>
                  <a:lnTo>
                    <a:pt x="934" y="362"/>
                  </a:lnTo>
                  <a:lnTo>
                    <a:pt x="932" y="362"/>
                  </a:lnTo>
                  <a:lnTo>
                    <a:pt x="930" y="362"/>
                  </a:lnTo>
                  <a:lnTo>
                    <a:pt x="932" y="365"/>
                  </a:lnTo>
                  <a:lnTo>
                    <a:pt x="931" y="366"/>
                  </a:lnTo>
                  <a:lnTo>
                    <a:pt x="931" y="366"/>
                  </a:lnTo>
                  <a:lnTo>
                    <a:pt x="930" y="365"/>
                  </a:lnTo>
                  <a:lnTo>
                    <a:pt x="929" y="363"/>
                  </a:lnTo>
                  <a:lnTo>
                    <a:pt x="928" y="363"/>
                  </a:lnTo>
                  <a:lnTo>
                    <a:pt x="928" y="365"/>
                  </a:lnTo>
                  <a:lnTo>
                    <a:pt x="927" y="366"/>
                  </a:lnTo>
                  <a:lnTo>
                    <a:pt x="926" y="367"/>
                  </a:lnTo>
                  <a:lnTo>
                    <a:pt x="925" y="367"/>
                  </a:lnTo>
                  <a:lnTo>
                    <a:pt x="926" y="368"/>
                  </a:lnTo>
                  <a:lnTo>
                    <a:pt x="925" y="371"/>
                  </a:lnTo>
                  <a:lnTo>
                    <a:pt x="923" y="374"/>
                  </a:lnTo>
                  <a:lnTo>
                    <a:pt x="922" y="377"/>
                  </a:lnTo>
                  <a:lnTo>
                    <a:pt x="924" y="377"/>
                  </a:lnTo>
                  <a:lnTo>
                    <a:pt x="928" y="374"/>
                  </a:lnTo>
                  <a:lnTo>
                    <a:pt x="934" y="373"/>
                  </a:lnTo>
                  <a:lnTo>
                    <a:pt x="935" y="372"/>
                  </a:lnTo>
                  <a:lnTo>
                    <a:pt x="938" y="369"/>
                  </a:lnTo>
                  <a:lnTo>
                    <a:pt x="953" y="364"/>
                  </a:lnTo>
                  <a:lnTo>
                    <a:pt x="981" y="351"/>
                  </a:lnTo>
                  <a:lnTo>
                    <a:pt x="1006" y="334"/>
                  </a:lnTo>
                  <a:lnTo>
                    <a:pt x="1012" y="332"/>
                  </a:lnTo>
                  <a:lnTo>
                    <a:pt x="1025" y="332"/>
                  </a:lnTo>
                  <a:lnTo>
                    <a:pt x="1029" y="331"/>
                  </a:lnTo>
                  <a:lnTo>
                    <a:pt x="1030" y="329"/>
                  </a:lnTo>
                  <a:lnTo>
                    <a:pt x="1030" y="329"/>
                  </a:lnTo>
                  <a:lnTo>
                    <a:pt x="1031" y="325"/>
                  </a:lnTo>
                  <a:lnTo>
                    <a:pt x="1037" y="320"/>
                  </a:lnTo>
                  <a:lnTo>
                    <a:pt x="1039" y="317"/>
                  </a:lnTo>
                  <a:lnTo>
                    <a:pt x="1033" y="319"/>
                  </a:lnTo>
                  <a:lnTo>
                    <a:pt x="1030" y="320"/>
                  </a:lnTo>
                  <a:lnTo>
                    <a:pt x="1027" y="318"/>
                  </a:lnTo>
                  <a:lnTo>
                    <a:pt x="1026" y="314"/>
                  </a:lnTo>
                  <a:lnTo>
                    <a:pt x="1028" y="311"/>
                  </a:lnTo>
                  <a:lnTo>
                    <a:pt x="1031" y="309"/>
                  </a:lnTo>
                  <a:lnTo>
                    <a:pt x="1035" y="309"/>
                  </a:lnTo>
                  <a:lnTo>
                    <a:pt x="1035" y="308"/>
                  </a:lnTo>
                  <a:lnTo>
                    <a:pt x="1033" y="307"/>
                  </a:lnTo>
                  <a:lnTo>
                    <a:pt x="1032" y="305"/>
                  </a:lnTo>
                  <a:lnTo>
                    <a:pt x="1033" y="302"/>
                  </a:lnTo>
                  <a:lnTo>
                    <a:pt x="1034" y="301"/>
                  </a:lnTo>
                  <a:lnTo>
                    <a:pt x="1036" y="302"/>
                  </a:lnTo>
                  <a:lnTo>
                    <a:pt x="1037" y="305"/>
                  </a:lnTo>
                  <a:lnTo>
                    <a:pt x="1039" y="306"/>
                  </a:lnTo>
                  <a:lnTo>
                    <a:pt x="1040" y="305"/>
                  </a:lnTo>
                  <a:lnTo>
                    <a:pt x="1042" y="302"/>
                  </a:lnTo>
                  <a:lnTo>
                    <a:pt x="1048" y="300"/>
                  </a:lnTo>
                  <a:lnTo>
                    <a:pt x="1049" y="300"/>
                  </a:lnTo>
                  <a:lnTo>
                    <a:pt x="1050" y="300"/>
                  </a:lnTo>
                  <a:lnTo>
                    <a:pt x="1054" y="304"/>
                  </a:lnTo>
                  <a:lnTo>
                    <a:pt x="1056" y="305"/>
                  </a:lnTo>
                  <a:lnTo>
                    <a:pt x="1071" y="309"/>
                  </a:lnTo>
                  <a:lnTo>
                    <a:pt x="1074" y="308"/>
                  </a:lnTo>
                  <a:lnTo>
                    <a:pt x="1076" y="311"/>
                  </a:lnTo>
                  <a:lnTo>
                    <a:pt x="1082" y="312"/>
                  </a:lnTo>
                  <a:lnTo>
                    <a:pt x="1084" y="316"/>
                  </a:lnTo>
                  <a:lnTo>
                    <a:pt x="1083" y="318"/>
                  </a:lnTo>
                  <a:lnTo>
                    <a:pt x="1080" y="319"/>
                  </a:lnTo>
                  <a:lnTo>
                    <a:pt x="1077" y="321"/>
                  </a:lnTo>
                  <a:lnTo>
                    <a:pt x="1075" y="321"/>
                  </a:lnTo>
                  <a:lnTo>
                    <a:pt x="1079" y="323"/>
                  </a:lnTo>
                  <a:lnTo>
                    <a:pt x="1083" y="322"/>
                  </a:lnTo>
                  <a:lnTo>
                    <a:pt x="1087" y="319"/>
                  </a:lnTo>
                  <a:lnTo>
                    <a:pt x="1090" y="316"/>
                  </a:lnTo>
                  <a:lnTo>
                    <a:pt x="1091" y="315"/>
                  </a:lnTo>
                  <a:lnTo>
                    <a:pt x="1096" y="314"/>
                  </a:lnTo>
                  <a:lnTo>
                    <a:pt x="1097" y="313"/>
                  </a:lnTo>
                  <a:lnTo>
                    <a:pt x="1098" y="312"/>
                  </a:lnTo>
                  <a:lnTo>
                    <a:pt x="1103" y="309"/>
                  </a:lnTo>
                  <a:lnTo>
                    <a:pt x="1099" y="309"/>
                  </a:lnTo>
                  <a:lnTo>
                    <a:pt x="1098" y="304"/>
                  </a:lnTo>
                  <a:lnTo>
                    <a:pt x="1100" y="299"/>
                  </a:lnTo>
                  <a:lnTo>
                    <a:pt x="1103" y="297"/>
                  </a:lnTo>
                  <a:lnTo>
                    <a:pt x="1106" y="297"/>
                  </a:lnTo>
                  <a:lnTo>
                    <a:pt x="1115" y="301"/>
                  </a:lnTo>
                  <a:lnTo>
                    <a:pt x="1118" y="304"/>
                  </a:lnTo>
                  <a:lnTo>
                    <a:pt x="1130" y="317"/>
                  </a:lnTo>
                  <a:lnTo>
                    <a:pt x="1132" y="319"/>
                  </a:lnTo>
                  <a:lnTo>
                    <a:pt x="1135" y="324"/>
                  </a:lnTo>
                  <a:lnTo>
                    <a:pt x="1135" y="328"/>
                  </a:lnTo>
                  <a:lnTo>
                    <a:pt x="1132" y="329"/>
                  </a:lnTo>
                  <a:lnTo>
                    <a:pt x="1138" y="332"/>
                  </a:lnTo>
                  <a:lnTo>
                    <a:pt x="1140" y="335"/>
                  </a:lnTo>
                  <a:lnTo>
                    <a:pt x="1142" y="336"/>
                  </a:lnTo>
                  <a:lnTo>
                    <a:pt x="1143" y="337"/>
                  </a:lnTo>
                  <a:lnTo>
                    <a:pt x="1140" y="338"/>
                  </a:lnTo>
                  <a:lnTo>
                    <a:pt x="1135" y="337"/>
                  </a:lnTo>
                  <a:lnTo>
                    <a:pt x="1131" y="337"/>
                  </a:lnTo>
                  <a:lnTo>
                    <a:pt x="1129" y="340"/>
                  </a:lnTo>
                  <a:lnTo>
                    <a:pt x="1128" y="342"/>
                  </a:lnTo>
                  <a:lnTo>
                    <a:pt x="1136" y="341"/>
                  </a:lnTo>
                  <a:lnTo>
                    <a:pt x="1142" y="344"/>
                  </a:lnTo>
                  <a:lnTo>
                    <a:pt x="1150" y="344"/>
                  </a:lnTo>
                  <a:lnTo>
                    <a:pt x="1153" y="340"/>
                  </a:lnTo>
                  <a:lnTo>
                    <a:pt x="1156" y="336"/>
                  </a:lnTo>
                  <a:lnTo>
                    <a:pt x="1157" y="333"/>
                  </a:lnTo>
                  <a:lnTo>
                    <a:pt x="1157" y="333"/>
                  </a:lnTo>
                  <a:lnTo>
                    <a:pt x="1157" y="333"/>
                  </a:lnTo>
                  <a:lnTo>
                    <a:pt x="1156" y="332"/>
                  </a:lnTo>
                  <a:lnTo>
                    <a:pt x="1153" y="331"/>
                  </a:lnTo>
                  <a:lnTo>
                    <a:pt x="1152" y="329"/>
                  </a:lnTo>
                  <a:lnTo>
                    <a:pt x="1139" y="308"/>
                  </a:lnTo>
                  <a:lnTo>
                    <a:pt x="1128" y="303"/>
                  </a:lnTo>
                  <a:lnTo>
                    <a:pt x="1126" y="302"/>
                  </a:lnTo>
                  <a:lnTo>
                    <a:pt x="1120" y="297"/>
                  </a:lnTo>
                  <a:lnTo>
                    <a:pt x="1117" y="296"/>
                  </a:lnTo>
                  <a:lnTo>
                    <a:pt x="1112" y="295"/>
                  </a:lnTo>
                  <a:lnTo>
                    <a:pt x="1108" y="293"/>
                  </a:lnTo>
                  <a:lnTo>
                    <a:pt x="1106" y="291"/>
                  </a:lnTo>
                  <a:lnTo>
                    <a:pt x="1105" y="288"/>
                  </a:lnTo>
                  <a:lnTo>
                    <a:pt x="1106" y="280"/>
                  </a:lnTo>
                  <a:lnTo>
                    <a:pt x="1110" y="270"/>
                  </a:lnTo>
                  <a:lnTo>
                    <a:pt x="1112" y="266"/>
                  </a:lnTo>
                  <a:lnTo>
                    <a:pt x="1113" y="262"/>
                  </a:lnTo>
                  <a:lnTo>
                    <a:pt x="1114" y="257"/>
                  </a:lnTo>
                  <a:lnTo>
                    <a:pt x="1111" y="253"/>
                  </a:lnTo>
                  <a:lnTo>
                    <a:pt x="1111" y="253"/>
                  </a:lnTo>
                  <a:lnTo>
                    <a:pt x="1106" y="254"/>
                  </a:lnTo>
                  <a:lnTo>
                    <a:pt x="1101" y="256"/>
                  </a:lnTo>
                  <a:lnTo>
                    <a:pt x="1096" y="257"/>
                  </a:lnTo>
                  <a:lnTo>
                    <a:pt x="1092" y="252"/>
                  </a:lnTo>
                  <a:lnTo>
                    <a:pt x="1092" y="252"/>
                  </a:lnTo>
                  <a:lnTo>
                    <a:pt x="1092" y="251"/>
                  </a:lnTo>
                  <a:lnTo>
                    <a:pt x="1091" y="251"/>
                  </a:lnTo>
                  <a:lnTo>
                    <a:pt x="1091" y="251"/>
                  </a:lnTo>
                  <a:lnTo>
                    <a:pt x="1091" y="251"/>
                  </a:lnTo>
                  <a:lnTo>
                    <a:pt x="1088" y="248"/>
                  </a:lnTo>
                  <a:lnTo>
                    <a:pt x="1091" y="246"/>
                  </a:lnTo>
                  <a:lnTo>
                    <a:pt x="1092" y="245"/>
                  </a:lnTo>
                  <a:lnTo>
                    <a:pt x="1093" y="244"/>
                  </a:lnTo>
                  <a:lnTo>
                    <a:pt x="1093" y="242"/>
                  </a:lnTo>
                  <a:lnTo>
                    <a:pt x="1093" y="241"/>
                  </a:lnTo>
                  <a:lnTo>
                    <a:pt x="1092" y="239"/>
                  </a:lnTo>
                  <a:lnTo>
                    <a:pt x="1095" y="235"/>
                  </a:lnTo>
                  <a:lnTo>
                    <a:pt x="1098" y="232"/>
                  </a:lnTo>
                  <a:lnTo>
                    <a:pt x="1113" y="221"/>
                  </a:lnTo>
                  <a:lnTo>
                    <a:pt x="1118" y="213"/>
                  </a:lnTo>
                  <a:lnTo>
                    <a:pt x="1117" y="210"/>
                  </a:lnTo>
                  <a:lnTo>
                    <a:pt x="1116" y="208"/>
                  </a:lnTo>
                  <a:lnTo>
                    <a:pt x="1115" y="208"/>
                  </a:lnTo>
                  <a:lnTo>
                    <a:pt x="1113" y="208"/>
                  </a:lnTo>
                  <a:lnTo>
                    <a:pt x="1108" y="208"/>
                  </a:lnTo>
                  <a:lnTo>
                    <a:pt x="1104" y="207"/>
                  </a:lnTo>
                  <a:lnTo>
                    <a:pt x="1099" y="203"/>
                  </a:lnTo>
                  <a:lnTo>
                    <a:pt x="1096" y="201"/>
                  </a:lnTo>
                  <a:lnTo>
                    <a:pt x="1092" y="200"/>
                  </a:lnTo>
                  <a:lnTo>
                    <a:pt x="1089" y="198"/>
                  </a:lnTo>
                  <a:lnTo>
                    <a:pt x="1085" y="198"/>
                  </a:lnTo>
                  <a:lnTo>
                    <a:pt x="1082" y="197"/>
                  </a:lnTo>
                  <a:lnTo>
                    <a:pt x="1085" y="202"/>
                  </a:lnTo>
                  <a:lnTo>
                    <a:pt x="1080" y="202"/>
                  </a:lnTo>
                  <a:lnTo>
                    <a:pt x="1079" y="200"/>
                  </a:lnTo>
                  <a:lnTo>
                    <a:pt x="1079" y="197"/>
                  </a:lnTo>
                  <a:lnTo>
                    <a:pt x="1076" y="194"/>
                  </a:lnTo>
                  <a:lnTo>
                    <a:pt x="1076" y="194"/>
                  </a:lnTo>
                  <a:lnTo>
                    <a:pt x="1076" y="194"/>
                  </a:lnTo>
                  <a:lnTo>
                    <a:pt x="1075" y="188"/>
                  </a:lnTo>
                  <a:lnTo>
                    <a:pt x="1074" y="186"/>
                  </a:lnTo>
                  <a:lnTo>
                    <a:pt x="1073" y="183"/>
                  </a:lnTo>
                  <a:lnTo>
                    <a:pt x="1077" y="181"/>
                  </a:lnTo>
                  <a:lnTo>
                    <a:pt x="1078" y="179"/>
                  </a:lnTo>
                  <a:lnTo>
                    <a:pt x="1080" y="176"/>
                  </a:lnTo>
                  <a:lnTo>
                    <a:pt x="1082" y="171"/>
                  </a:lnTo>
                  <a:lnTo>
                    <a:pt x="1084" y="169"/>
                  </a:lnTo>
                  <a:lnTo>
                    <a:pt x="1086" y="168"/>
                  </a:lnTo>
                  <a:lnTo>
                    <a:pt x="1088" y="168"/>
                  </a:lnTo>
                  <a:lnTo>
                    <a:pt x="1092" y="165"/>
                  </a:lnTo>
                  <a:lnTo>
                    <a:pt x="1099" y="161"/>
                  </a:lnTo>
                  <a:lnTo>
                    <a:pt x="1103" y="157"/>
                  </a:lnTo>
                  <a:lnTo>
                    <a:pt x="1107" y="152"/>
                  </a:lnTo>
                  <a:lnTo>
                    <a:pt x="1110" y="148"/>
                  </a:lnTo>
                  <a:lnTo>
                    <a:pt x="1116" y="148"/>
                  </a:lnTo>
                  <a:lnTo>
                    <a:pt x="1120" y="148"/>
                  </a:lnTo>
                  <a:lnTo>
                    <a:pt x="1123" y="146"/>
                  </a:lnTo>
                  <a:lnTo>
                    <a:pt x="1124" y="143"/>
                  </a:lnTo>
                  <a:lnTo>
                    <a:pt x="1124" y="143"/>
                  </a:lnTo>
                  <a:lnTo>
                    <a:pt x="1125" y="137"/>
                  </a:lnTo>
                  <a:lnTo>
                    <a:pt x="1126" y="135"/>
                  </a:lnTo>
                  <a:lnTo>
                    <a:pt x="1126" y="134"/>
                  </a:lnTo>
                  <a:lnTo>
                    <a:pt x="1127" y="132"/>
                  </a:lnTo>
                  <a:lnTo>
                    <a:pt x="1127" y="131"/>
                  </a:lnTo>
                  <a:lnTo>
                    <a:pt x="1124" y="131"/>
                  </a:lnTo>
                  <a:lnTo>
                    <a:pt x="1122" y="131"/>
                  </a:lnTo>
                  <a:lnTo>
                    <a:pt x="1102" y="124"/>
                  </a:lnTo>
                  <a:lnTo>
                    <a:pt x="1096" y="124"/>
                  </a:lnTo>
                  <a:lnTo>
                    <a:pt x="1094" y="124"/>
                  </a:lnTo>
                  <a:lnTo>
                    <a:pt x="1092" y="121"/>
                  </a:lnTo>
                  <a:lnTo>
                    <a:pt x="1091" y="120"/>
                  </a:lnTo>
                  <a:lnTo>
                    <a:pt x="1081" y="121"/>
                  </a:lnTo>
                  <a:lnTo>
                    <a:pt x="1074" y="120"/>
                  </a:lnTo>
                  <a:lnTo>
                    <a:pt x="1058" y="124"/>
                  </a:lnTo>
                  <a:lnTo>
                    <a:pt x="1052" y="123"/>
                  </a:lnTo>
                  <a:lnTo>
                    <a:pt x="1049" y="122"/>
                  </a:lnTo>
                  <a:lnTo>
                    <a:pt x="1039" y="116"/>
                  </a:lnTo>
                  <a:lnTo>
                    <a:pt x="1025" y="113"/>
                  </a:lnTo>
                  <a:lnTo>
                    <a:pt x="988" y="110"/>
                  </a:lnTo>
                  <a:lnTo>
                    <a:pt x="979" y="104"/>
                  </a:lnTo>
                  <a:lnTo>
                    <a:pt x="975" y="103"/>
                  </a:lnTo>
                  <a:lnTo>
                    <a:pt x="974" y="102"/>
                  </a:lnTo>
                  <a:lnTo>
                    <a:pt x="973" y="102"/>
                  </a:lnTo>
                  <a:lnTo>
                    <a:pt x="970" y="103"/>
                  </a:lnTo>
                  <a:lnTo>
                    <a:pt x="969" y="104"/>
                  </a:lnTo>
                  <a:lnTo>
                    <a:pt x="967" y="103"/>
                  </a:lnTo>
                  <a:lnTo>
                    <a:pt x="964" y="100"/>
                  </a:lnTo>
                  <a:lnTo>
                    <a:pt x="963" y="100"/>
                  </a:lnTo>
                  <a:lnTo>
                    <a:pt x="963" y="100"/>
                  </a:lnTo>
                  <a:lnTo>
                    <a:pt x="955" y="99"/>
                  </a:lnTo>
                  <a:lnTo>
                    <a:pt x="946" y="100"/>
                  </a:lnTo>
                  <a:lnTo>
                    <a:pt x="943" y="100"/>
                  </a:lnTo>
                  <a:lnTo>
                    <a:pt x="941" y="99"/>
                  </a:lnTo>
                  <a:lnTo>
                    <a:pt x="936" y="95"/>
                  </a:lnTo>
                  <a:lnTo>
                    <a:pt x="931" y="94"/>
                  </a:lnTo>
                  <a:lnTo>
                    <a:pt x="927" y="94"/>
                  </a:lnTo>
                  <a:lnTo>
                    <a:pt x="921" y="91"/>
                  </a:lnTo>
                  <a:lnTo>
                    <a:pt x="915" y="86"/>
                  </a:lnTo>
                  <a:lnTo>
                    <a:pt x="912" y="79"/>
                  </a:lnTo>
                  <a:lnTo>
                    <a:pt x="911" y="74"/>
                  </a:lnTo>
                  <a:lnTo>
                    <a:pt x="908" y="72"/>
                  </a:lnTo>
                  <a:lnTo>
                    <a:pt x="905" y="72"/>
                  </a:lnTo>
                  <a:lnTo>
                    <a:pt x="902" y="70"/>
                  </a:lnTo>
                  <a:lnTo>
                    <a:pt x="900" y="70"/>
                  </a:lnTo>
                  <a:lnTo>
                    <a:pt x="899" y="69"/>
                  </a:lnTo>
                  <a:lnTo>
                    <a:pt x="899" y="67"/>
                  </a:lnTo>
                  <a:lnTo>
                    <a:pt x="899" y="64"/>
                  </a:lnTo>
                  <a:lnTo>
                    <a:pt x="899" y="61"/>
                  </a:lnTo>
                  <a:lnTo>
                    <a:pt x="900" y="60"/>
                  </a:lnTo>
                  <a:lnTo>
                    <a:pt x="900" y="58"/>
                  </a:lnTo>
                  <a:lnTo>
                    <a:pt x="900" y="55"/>
                  </a:lnTo>
                  <a:lnTo>
                    <a:pt x="899" y="50"/>
                  </a:lnTo>
                  <a:lnTo>
                    <a:pt x="896" y="48"/>
                  </a:lnTo>
                  <a:lnTo>
                    <a:pt x="890" y="48"/>
                  </a:lnTo>
                  <a:lnTo>
                    <a:pt x="888" y="47"/>
                  </a:lnTo>
                  <a:lnTo>
                    <a:pt x="886" y="46"/>
                  </a:lnTo>
                  <a:lnTo>
                    <a:pt x="886" y="45"/>
                  </a:lnTo>
                  <a:lnTo>
                    <a:pt x="884" y="43"/>
                  </a:lnTo>
                  <a:lnTo>
                    <a:pt x="882" y="42"/>
                  </a:lnTo>
                  <a:lnTo>
                    <a:pt x="878" y="41"/>
                  </a:lnTo>
                  <a:lnTo>
                    <a:pt x="877" y="41"/>
                  </a:lnTo>
                  <a:lnTo>
                    <a:pt x="879" y="38"/>
                  </a:lnTo>
                  <a:lnTo>
                    <a:pt x="879" y="36"/>
                  </a:lnTo>
                  <a:lnTo>
                    <a:pt x="878" y="34"/>
                  </a:lnTo>
                  <a:lnTo>
                    <a:pt x="877" y="31"/>
                  </a:lnTo>
                  <a:lnTo>
                    <a:pt x="876" y="26"/>
                  </a:lnTo>
                  <a:lnTo>
                    <a:pt x="875" y="24"/>
                  </a:lnTo>
                  <a:lnTo>
                    <a:pt x="874" y="21"/>
                  </a:lnTo>
                  <a:lnTo>
                    <a:pt x="876" y="17"/>
                  </a:lnTo>
                  <a:lnTo>
                    <a:pt x="885" y="12"/>
                  </a:lnTo>
                  <a:lnTo>
                    <a:pt x="889" y="7"/>
                  </a:lnTo>
                  <a:lnTo>
                    <a:pt x="889" y="4"/>
                  </a:lnTo>
                  <a:lnTo>
                    <a:pt x="889" y="1"/>
                  </a:lnTo>
                  <a:lnTo>
                    <a:pt x="885" y="0"/>
                  </a:lnTo>
                  <a:lnTo>
                    <a:pt x="878" y="1"/>
                  </a:lnTo>
                  <a:lnTo>
                    <a:pt x="875" y="2"/>
                  </a:lnTo>
                  <a:lnTo>
                    <a:pt x="859" y="10"/>
                  </a:lnTo>
                  <a:lnTo>
                    <a:pt x="848" y="11"/>
                  </a:lnTo>
                  <a:lnTo>
                    <a:pt x="840" y="13"/>
                  </a:lnTo>
                  <a:lnTo>
                    <a:pt x="834" y="17"/>
                  </a:lnTo>
                  <a:lnTo>
                    <a:pt x="828" y="21"/>
                  </a:lnTo>
                  <a:lnTo>
                    <a:pt x="821" y="22"/>
                  </a:lnTo>
                  <a:lnTo>
                    <a:pt x="819" y="23"/>
                  </a:lnTo>
                  <a:lnTo>
                    <a:pt x="816" y="26"/>
                  </a:lnTo>
                  <a:lnTo>
                    <a:pt x="814" y="26"/>
                  </a:lnTo>
                  <a:lnTo>
                    <a:pt x="811" y="25"/>
                  </a:lnTo>
                  <a:lnTo>
                    <a:pt x="806" y="21"/>
                  </a:lnTo>
                  <a:lnTo>
                    <a:pt x="803" y="21"/>
                  </a:lnTo>
                  <a:lnTo>
                    <a:pt x="802" y="21"/>
                  </a:lnTo>
                  <a:lnTo>
                    <a:pt x="801" y="21"/>
                  </a:lnTo>
                  <a:lnTo>
                    <a:pt x="801" y="21"/>
                  </a:lnTo>
                  <a:lnTo>
                    <a:pt x="800" y="21"/>
                  </a:lnTo>
                  <a:lnTo>
                    <a:pt x="792" y="20"/>
                  </a:lnTo>
                  <a:lnTo>
                    <a:pt x="789" y="20"/>
                  </a:lnTo>
                  <a:lnTo>
                    <a:pt x="784" y="21"/>
                  </a:lnTo>
                  <a:lnTo>
                    <a:pt x="784" y="21"/>
                  </a:lnTo>
                  <a:lnTo>
                    <a:pt x="784" y="21"/>
                  </a:lnTo>
                  <a:lnTo>
                    <a:pt x="784" y="21"/>
                  </a:lnTo>
                  <a:lnTo>
                    <a:pt x="782" y="22"/>
                  </a:lnTo>
                  <a:lnTo>
                    <a:pt x="781" y="22"/>
                  </a:lnTo>
                  <a:lnTo>
                    <a:pt x="780" y="22"/>
                  </a:lnTo>
                  <a:lnTo>
                    <a:pt x="778" y="21"/>
                  </a:lnTo>
                  <a:lnTo>
                    <a:pt x="777" y="20"/>
                  </a:lnTo>
                  <a:lnTo>
                    <a:pt x="776" y="19"/>
                  </a:lnTo>
                  <a:lnTo>
                    <a:pt x="776" y="19"/>
                  </a:lnTo>
                  <a:lnTo>
                    <a:pt x="773" y="18"/>
                  </a:lnTo>
                  <a:lnTo>
                    <a:pt x="771" y="18"/>
                  </a:lnTo>
                  <a:lnTo>
                    <a:pt x="770" y="19"/>
                  </a:lnTo>
                  <a:lnTo>
                    <a:pt x="768" y="21"/>
                  </a:lnTo>
                  <a:lnTo>
                    <a:pt x="768" y="21"/>
                  </a:lnTo>
                  <a:lnTo>
                    <a:pt x="763" y="26"/>
                  </a:lnTo>
                  <a:lnTo>
                    <a:pt x="758" y="26"/>
                  </a:lnTo>
                  <a:lnTo>
                    <a:pt x="753" y="24"/>
                  </a:lnTo>
                  <a:lnTo>
                    <a:pt x="747" y="23"/>
                  </a:lnTo>
                  <a:lnTo>
                    <a:pt x="737" y="25"/>
                  </a:lnTo>
                  <a:lnTo>
                    <a:pt x="725" y="28"/>
                  </a:lnTo>
                  <a:lnTo>
                    <a:pt x="722" y="30"/>
                  </a:lnTo>
                  <a:lnTo>
                    <a:pt x="712" y="40"/>
                  </a:lnTo>
                  <a:lnTo>
                    <a:pt x="711" y="43"/>
                  </a:lnTo>
                  <a:lnTo>
                    <a:pt x="709" y="51"/>
                  </a:lnTo>
                  <a:lnTo>
                    <a:pt x="706" y="58"/>
                  </a:lnTo>
                  <a:lnTo>
                    <a:pt x="706" y="59"/>
                  </a:lnTo>
                  <a:lnTo>
                    <a:pt x="706" y="61"/>
                  </a:lnTo>
                  <a:lnTo>
                    <a:pt x="706" y="62"/>
                  </a:lnTo>
                  <a:lnTo>
                    <a:pt x="705" y="63"/>
                  </a:lnTo>
                  <a:lnTo>
                    <a:pt x="704" y="64"/>
                  </a:lnTo>
                  <a:lnTo>
                    <a:pt x="703" y="65"/>
                  </a:lnTo>
                  <a:lnTo>
                    <a:pt x="699" y="71"/>
                  </a:lnTo>
                  <a:lnTo>
                    <a:pt x="697" y="73"/>
                  </a:lnTo>
                  <a:lnTo>
                    <a:pt x="695" y="73"/>
                  </a:lnTo>
                  <a:lnTo>
                    <a:pt x="692" y="73"/>
                  </a:lnTo>
                  <a:lnTo>
                    <a:pt x="687" y="72"/>
                  </a:lnTo>
                  <a:lnTo>
                    <a:pt x="684" y="72"/>
                  </a:lnTo>
                  <a:lnTo>
                    <a:pt x="679" y="74"/>
                  </a:lnTo>
                  <a:lnTo>
                    <a:pt x="677" y="74"/>
                  </a:lnTo>
                  <a:lnTo>
                    <a:pt x="676" y="74"/>
                  </a:lnTo>
                  <a:lnTo>
                    <a:pt x="673" y="71"/>
                  </a:lnTo>
                  <a:lnTo>
                    <a:pt x="671" y="70"/>
                  </a:lnTo>
                  <a:lnTo>
                    <a:pt x="670" y="70"/>
                  </a:lnTo>
                  <a:lnTo>
                    <a:pt x="667" y="71"/>
                  </a:lnTo>
                  <a:lnTo>
                    <a:pt x="665" y="71"/>
                  </a:lnTo>
                  <a:lnTo>
                    <a:pt x="661" y="69"/>
                  </a:lnTo>
                  <a:lnTo>
                    <a:pt x="659" y="68"/>
                  </a:lnTo>
                  <a:lnTo>
                    <a:pt x="655" y="69"/>
                  </a:lnTo>
                  <a:lnTo>
                    <a:pt x="654" y="69"/>
                  </a:lnTo>
                  <a:lnTo>
                    <a:pt x="653" y="67"/>
                  </a:lnTo>
                  <a:lnTo>
                    <a:pt x="654" y="66"/>
                  </a:lnTo>
                  <a:lnTo>
                    <a:pt x="657" y="63"/>
                  </a:lnTo>
                  <a:lnTo>
                    <a:pt x="658" y="61"/>
                  </a:lnTo>
                  <a:lnTo>
                    <a:pt x="656" y="59"/>
                  </a:lnTo>
                  <a:lnTo>
                    <a:pt x="644" y="52"/>
                  </a:lnTo>
                  <a:lnTo>
                    <a:pt x="642" y="51"/>
                  </a:lnTo>
                  <a:lnTo>
                    <a:pt x="639" y="51"/>
                  </a:lnTo>
                  <a:lnTo>
                    <a:pt x="623" y="56"/>
                  </a:lnTo>
                  <a:lnTo>
                    <a:pt x="616" y="55"/>
                  </a:lnTo>
                  <a:lnTo>
                    <a:pt x="611" y="51"/>
                  </a:lnTo>
                  <a:lnTo>
                    <a:pt x="610" y="59"/>
                  </a:lnTo>
                  <a:lnTo>
                    <a:pt x="610" y="60"/>
                  </a:lnTo>
                  <a:lnTo>
                    <a:pt x="609" y="62"/>
                  </a:lnTo>
                  <a:lnTo>
                    <a:pt x="605" y="66"/>
                  </a:lnTo>
                  <a:lnTo>
                    <a:pt x="605" y="70"/>
                  </a:lnTo>
                  <a:lnTo>
                    <a:pt x="607" y="73"/>
                  </a:lnTo>
                  <a:lnTo>
                    <a:pt x="607" y="76"/>
                  </a:lnTo>
                  <a:lnTo>
                    <a:pt x="605" y="79"/>
                  </a:lnTo>
                  <a:lnTo>
                    <a:pt x="602" y="81"/>
                  </a:lnTo>
                  <a:lnTo>
                    <a:pt x="602" y="83"/>
                  </a:lnTo>
                  <a:lnTo>
                    <a:pt x="602" y="85"/>
                  </a:lnTo>
                  <a:lnTo>
                    <a:pt x="602" y="89"/>
                  </a:lnTo>
                  <a:lnTo>
                    <a:pt x="600" y="92"/>
                  </a:lnTo>
                  <a:lnTo>
                    <a:pt x="598" y="93"/>
                  </a:lnTo>
                  <a:lnTo>
                    <a:pt x="598" y="95"/>
                  </a:lnTo>
                  <a:lnTo>
                    <a:pt x="599" y="100"/>
                  </a:lnTo>
                  <a:lnTo>
                    <a:pt x="602" y="103"/>
                  </a:lnTo>
                  <a:lnTo>
                    <a:pt x="609" y="104"/>
                  </a:lnTo>
                  <a:lnTo>
                    <a:pt x="612" y="107"/>
                  </a:lnTo>
                  <a:lnTo>
                    <a:pt x="613" y="111"/>
                  </a:lnTo>
                  <a:lnTo>
                    <a:pt x="613" y="117"/>
                  </a:lnTo>
                  <a:lnTo>
                    <a:pt x="612" y="123"/>
                  </a:lnTo>
                  <a:lnTo>
                    <a:pt x="611" y="124"/>
                  </a:lnTo>
                  <a:lnTo>
                    <a:pt x="610" y="126"/>
                  </a:lnTo>
                  <a:lnTo>
                    <a:pt x="607" y="127"/>
                  </a:lnTo>
                  <a:lnTo>
                    <a:pt x="595" y="124"/>
                  </a:lnTo>
                  <a:lnTo>
                    <a:pt x="590" y="124"/>
                  </a:lnTo>
                  <a:lnTo>
                    <a:pt x="588" y="124"/>
                  </a:lnTo>
                  <a:lnTo>
                    <a:pt x="586" y="123"/>
                  </a:lnTo>
                  <a:lnTo>
                    <a:pt x="585" y="122"/>
                  </a:lnTo>
                  <a:lnTo>
                    <a:pt x="584" y="121"/>
                  </a:lnTo>
                  <a:lnTo>
                    <a:pt x="583" y="120"/>
                  </a:lnTo>
                  <a:lnTo>
                    <a:pt x="576" y="118"/>
                  </a:lnTo>
                  <a:lnTo>
                    <a:pt x="575" y="115"/>
                  </a:lnTo>
                  <a:lnTo>
                    <a:pt x="576" y="110"/>
                  </a:lnTo>
                  <a:lnTo>
                    <a:pt x="576" y="108"/>
                  </a:lnTo>
                  <a:lnTo>
                    <a:pt x="574" y="106"/>
                  </a:lnTo>
                  <a:lnTo>
                    <a:pt x="570" y="106"/>
                  </a:lnTo>
                  <a:lnTo>
                    <a:pt x="555" y="110"/>
                  </a:lnTo>
                  <a:lnTo>
                    <a:pt x="553" y="111"/>
                  </a:lnTo>
                  <a:lnTo>
                    <a:pt x="552" y="113"/>
                  </a:lnTo>
                  <a:lnTo>
                    <a:pt x="550" y="120"/>
                  </a:lnTo>
                  <a:lnTo>
                    <a:pt x="549" y="122"/>
                  </a:lnTo>
                  <a:lnTo>
                    <a:pt x="546" y="125"/>
                  </a:lnTo>
                  <a:lnTo>
                    <a:pt x="544" y="128"/>
                  </a:lnTo>
                  <a:lnTo>
                    <a:pt x="544" y="129"/>
                  </a:lnTo>
                  <a:lnTo>
                    <a:pt x="544" y="134"/>
                  </a:lnTo>
                  <a:lnTo>
                    <a:pt x="543" y="137"/>
                  </a:lnTo>
                  <a:lnTo>
                    <a:pt x="543" y="139"/>
                  </a:lnTo>
                  <a:lnTo>
                    <a:pt x="544" y="140"/>
                  </a:lnTo>
                  <a:lnTo>
                    <a:pt x="545" y="142"/>
                  </a:lnTo>
                  <a:lnTo>
                    <a:pt x="546" y="143"/>
                  </a:lnTo>
                  <a:lnTo>
                    <a:pt x="543" y="148"/>
                  </a:lnTo>
                  <a:lnTo>
                    <a:pt x="546" y="151"/>
                  </a:lnTo>
                  <a:lnTo>
                    <a:pt x="550" y="152"/>
                  </a:lnTo>
                  <a:lnTo>
                    <a:pt x="557" y="154"/>
                  </a:lnTo>
                  <a:lnTo>
                    <a:pt x="560" y="155"/>
                  </a:lnTo>
                  <a:lnTo>
                    <a:pt x="561" y="158"/>
                  </a:lnTo>
                  <a:lnTo>
                    <a:pt x="560" y="163"/>
                  </a:lnTo>
                  <a:lnTo>
                    <a:pt x="559" y="164"/>
                  </a:lnTo>
                  <a:lnTo>
                    <a:pt x="556" y="167"/>
                  </a:lnTo>
                  <a:lnTo>
                    <a:pt x="555" y="169"/>
                  </a:lnTo>
                  <a:lnTo>
                    <a:pt x="554" y="172"/>
                  </a:lnTo>
                  <a:lnTo>
                    <a:pt x="554" y="174"/>
                  </a:lnTo>
                  <a:lnTo>
                    <a:pt x="554" y="176"/>
                  </a:lnTo>
                  <a:lnTo>
                    <a:pt x="556" y="179"/>
                  </a:lnTo>
                  <a:lnTo>
                    <a:pt x="562" y="186"/>
                  </a:lnTo>
                  <a:lnTo>
                    <a:pt x="564" y="190"/>
                  </a:lnTo>
                  <a:lnTo>
                    <a:pt x="562" y="194"/>
                  </a:lnTo>
                  <a:lnTo>
                    <a:pt x="558" y="197"/>
                  </a:lnTo>
                  <a:lnTo>
                    <a:pt x="551" y="199"/>
                  </a:lnTo>
                  <a:lnTo>
                    <a:pt x="546" y="199"/>
                  </a:lnTo>
                  <a:lnTo>
                    <a:pt x="546" y="194"/>
                  </a:lnTo>
                  <a:lnTo>
                    <a:pt x="544" y="190"/>
                  </a:lnTo>
                  <a:lnTo>
                    <a:pt x="538" y="185"/>
                  </a:lnTo>
                  <a:lnTo>
                    <a:pt x="536" y="182"/>
                  </a:lnTo>
                  <a:lnTo>
                    <a:pt x="534" y="177"/>
                  </a:lnTo>
                  <a:lnTo>
                    <a:pt x="534" y="172"/>
                  </a:lnTo>
                  <a:lnTo>
                    <a:pt x="533" y="168"/>
                  </a:lnTo>
                  <a:lnTo>
                    <a:pt x="529" y="166"/>
                  </a:lnTo>
                  <a:lnTo>
                    <a:pt x="526" y="165"/>
                  </a:lnTo>
                  <a:lnTo>
                    <a:pt x="523" y="164"/>
                  </a:lnTo>
                  <a:lnTo>
                    <a:pt x="516" y="166"/>
                  </a:lnTo>
                  <a:lnTo>
                    <a:pt x="506" y="171"/>
                  </a:lnTo>
                  <a:lnTo>
                    <a:pt x="502" y="172"/>
                  </a:lnTo>
                  <a:lnTo>
                    <a:pt x="500" y="172"/>
                  </a:lnTo>
                  <a:lnTo>
                    <a:pt x="496" y="169"/>
                  </a:lnTo>
                  <a:lnTo>
                    <a:pt x="495" y="169"/>
                  </a:lnTo>
                  <a:lnTo>
                    <a:pt x="493" y="171"/>
                  </a:lnTo>
                  <a:lnTo>
                    <a:pt x="492" y="174"/>
                  </a:lnTo>
                  <a:lnTo>
                    <a:pt x="493" y="177"/>
                  </a:lnTo>
                  <a:lnTo>
                    <a:pt x="493" y="178"/>
                  </a:lnTo>
                  <a:lnTo>
                    <a:pt x="490" y="182"/>
                  </a:lnTo>
                  <a:lnTo>
                    <a:pt x="487" y="183"/>
                  </a:lnTo>
                  <a:lnTo>
                    <a:pt x="469" y="183"/>
                  </a:lnTo>
                  <a:lnTo>
                    <a:pt x="465" y="181"/>
                  </a:lnTo>
                  <a:lnTo>
                    <a:pt x="462" y="179"/>
                  </a:lnTo>
                  <a:lnTo>
                    <a:pt x="460" y="176"/>
                  </a:lnTo>
                  <a:lnTo>
                    <a:pt x="457" y="168"/>
                  </a:lnTo>
                  <a:lnTo>
                    <a:pt x="455" y="167"/>
                  </a:lnTo>
                  <a:lnTo>
                    <a:pt x="452" y="165"/>
                  </a:lnTo>
                  <a:lnTo>
                    <a:pt x="451" y="164"/>
                  </a:lnTo>
                  <a:lnTo>
                    <a:pt x="450" y="163"/>
                  </a:lnTo>
                  <a:lnTo>
                    <a:pt x="451" y="159"/>
                  </a:lnTo>
                  <a:lnTo>
                    <a:pt x="450" y="137"/>
                  </a:lnTo>
                  <a:lnTo>
                    <a:pt x="449" y="135"/>
                  </a:lnTo>
                  <a:lnTo>
                    <a:pt x="448" y="136"/>
                  </a:lnTo>
                  <a:lnTo>
                    <a:pt x="445" y="138"/>
                  </a:lnTo>
                  <a:lnTo>
                    <a:pt x="444" y="139"/>
                  </a:lnTo>
                  <a:lnTo>
                    <a:pt x="444" y="141"/>
                  </a:lnTo>
                  <a:lnTo>
                    <a:pt x="443" y="142"/>
                  </a:lnTo>
                  <a:lnTo>
                    <a:pt x="441" y="143"/>
                  </a:lnTo>
                  <a:lnTo>
                    <a:pt x="440" y="142"/>
                  </a:lnTo>
                  <a:lnTo>
                    <a:pt x="436" y="138"/>
                  </a:lnTo>
                  <a:lnTo>
                    <a:pt x="436" y="136"/>
                  </a:lnTo>
                  <a:lnTo>
                    <a:pt x="433" y="135"/>
                  </a:lnTo>
                  <a:lnTo>
                    <a:pt x="425" y="136"/>
                  </a:lnTo>
                  <a:lnTo>
                    <a:pt x="422" y="138"/>
                  </a:lnTo>
                  <a:lnTo>
                    <a:pt x="419" y="144"/>
                  </a:lnTo>
                  <a:lnTo>
                    <a:pt x="418" y="150"/>
                  </a:lnTo>
                  <a:lnTo>
                    <a:pt x="419" y="153"/>
                  </a:lnTo>
                  <a:lnTo>
                    <a:pt x="422" y="154"/>
                  </a:lnTo>
                  <a:lnTo>
                    <a:pt x="422" y="157"/>
                  </a:lnTo>
                  <a:lnTo>
                    <a:pt x="422" y="159"/>
                  </a:lnTo>
                  <a:lnTo>
                    <a:pt x="422" y="163"/>
                  </a:lnTo>
                  <a:lnTo>
                    <a:pt x="424" y="171"/>
                  </a:lnTo>
                  <a:lnTo>
                    <a:pt x="424" y="174"/>
                  </a:lnTo>
                  <a:lnTo>
                    <a:pt x="423" y="179"/>
                  </a:lnTo>
                  <a:lnTo>
                    <a:pt x="418" y="188"/>
                  </a:lnTo>
                  <a:lnTo>
                    <a:pt x="416" y="197"/>
                  </a:lnTo>
                  <a:lnTo>
                    <a:pt x="414" y="199"/>
                  </a:lnTo>
                  <a:lnTo>
                    <a:pt x="413" y="201"/>
                  </a:lnTo>
                  <a:lnTo>
                    <a:pt x="411" y="202"/>
                  </a:lnTo>
                  <a:lnTo>
                    <a:pt x="409" y="203"/>
                  </a:lnTo>
                  <a:lnTo>
                    <a:pt x="408" y="205"/>
                  </a:lnTo>
                  <a:lnTo>
                    <a:pt x="407" y="208"/>
                  </a:lnTo>
                  <a:lnTo>
                    <a:pt x="406" y="210"/>
                  </a:lnTo>
                  <a:lnTo>
                    <a:pt x="406" y="210"/>
                  </a:lnTo>
                  <a:lnTo>
                    <a:pt x="395" y="218"/>
                  </a:lnTo>
                  <a:lnTo>
                    <a:pt x="392" y="222"/>
                  </a:lnTo>
                  <a:lnTo>
                    <a:pt x="391" y="225"/>
                  </a:lnTo>
                  <a:lnTo>
                    <a:pt x="391" y="231"/>
                  </a:lnTo>
                  <a:lnTo>
                    <a:pt x="391" y="233"/>
                  </a:lnTo>
                  <a:lnTo>
                    <a:pt x="390" y="236"/>
                  </a:lnTo>
                  <a:lnTo>
                    <a:pt x="388" y="236"/>
                  </a:lnTo>
                  <a:lnTo>
                    <a:pt x="385" y="237"/>
                  </a:lnTo>
                  <a:lnTo>
                    <a:pt x="380" y="241"/>
                  </a:lnTo>
                  <a:lnTo>
                    <a:pt x="380" y="243"/>
                  </a:lnTo>
                  <a:lnTo>
                    <a:pt x="383" y="251"/>
                  </a:lnTo>
                  <a:lnTo>
                    <a:pt x="378" y="256"/>
                  </a:lnTo>
                  <a:lnTo>
                    <a:pt x="377" y="256"/>
                  </a:lnTo>
                  <a:lnTo>
                    <a:pt x="377" y="257"/>
                  </a:lnTo>
                  <a:lnTo>
                    <a:pt x="377" y="258"/>
                  </a:lnTo>
                  <a:lnTo>
                    <a:pt x="378" y="258"/>
                  </a:lnTo>
                  <a:lnTo>
                    <a:pt x="379" y="260"/>
                  </a:lnTo>
                  <a:lnTo>
                    <a:pt x="380" y="264"/>
                  </a:lnTo>
                  <a:lnTo>
                    <a:pt x="382" y="266"/>
                  </a:lnTo>
                  <a:lnTo>
                    <a:pt x="384" y="267"/>
                  </a:lnTo>
                  <a:lnTo>
                    <a:pt x="387" y="268"/>
                  </a:lnTo>
                  <a:lnTo>
                    <a:pt x="389" y="269"/>
                  </a:lnTo>
                  <a:lnTo>
                    <a:pt x="390" y="272"/>
                  </a:lnTo>
                  <a:lnTo>
                    <a:pt x="390" y="276"/>
                  </a:lnTo>
                  <a:lnTo>
                    <a:pt x="386" y="284"/>
                  </a:lnTo>
                  <a:lnTo>
                    <a:pt x="381" y="290"/>
                  </a:lnTo>
                  <a:lnTo>
                    <a:pt x="376" y="290"/>
                  </a:lnTo>
                  <a:lnTo>
                    <a:pt x="371" y="287"/>
                  </a:lnTo>
                  <a:lnTo>
                    <a:pt x="364" y="289"/>
                  </a:lnTo>
                  <a:lnTo>
                    <a:pt x="365" y="285"/>
                  </a:lnTo>
                  <a:lnTo>
                    <a:pt x="366" y="283"/>
                  </a:lnTo>
                  <a:lnTo>
                    <a:pt x="366" y="280"/>
                  </a:lnTo>
                  <a:lnTo>
                    <a:pt x="366" y="276"/>
                  </a:lnTo>
                  <a:lnTo>
                    <a:pt x="365" y="273"/>
                  </a:lnTo>
                  <a:lnTo>
                    <a:pt x="364" y="270"/>
                  </a:lnTo>
                  <a:lnTo>
                    <a:pt x="361" y="265"/>
                  </a:lnTo>
                  <a:lnTo>
                    <a:pt x="360" y="261"/>
                  </a:lnTo>
                  <a:lnTo>
                    <a:pt x="359" y="260"/>
                  </a:lnTo>
                  <a:lnTo>
                    <a:pt x="358" y="259"/>
                  </a:lnTo>
                  <a:lnTo>
                    <a:pt x="349" y="254"/>
                  </a:lnTo>
                  <a:lnTo>
                    <a:pt x="346" y="254"/>
                  </a:lnTo>
                  <a:lnTo>
                    <a:pt x="343" y="253"/>
                  </a:lnTo>
                  <a:lnTo>
                    <a:pt x="344" y="253"/>
                  </a:lnTo>
                  <a:lnTo>
                    <a:pt x="344" y="252"/>
                  </a:lnTo>
                  <a:lnTo>
                    <a:pt x="347" y="245"/>
                  </a:lnTo>
                  <a:lnTo>
                    <a:pt x="352" y="240"/>
                  </a:lnTo>
                  <a:lnTo>
                    <a:pt x="354" y="234"/>
                  </a:lnTo>
                  <a:lnTo>
                    <a:pt x="350" y="229"/>
                  </a:lnTo>
                  <a:lnTo>
                    <a:pt x="347" y="228"/>
                  </a:lnTo>
                  <a:lnTo>
                    <a:pt x="343" y="228"/>
                  </a:lnTo>
                  <a:lnTo>
                    <a:pt x="340" y="228"/>
                  </a:lnTo>
                  <a:lnTo>
                    <a:pt x="339" y="227"/>
                  </a:lnTo>
                  <a:lnTo>
                    <a:pt x="338" y="225"/>
                  </a:lnTo>
                  <a:lnTo>
                    <a:pt x="337" y="225"/>
                  </a:lnTo>
                  <a:lnTo>
                    <a:pt x="336" y="225"/>
                  </a:lnTo>
                  <a:lnTo>
                    <a:pt x="336" y="225"/>
                  </a:lnTo>
                  <a:lnTo>
                    <a:pt x="333" y="227"/>
                  </a:lnTo>
                  <a:lnTo>
                    <a:pt x="332" y="228"/>
                  </a:lnTo>
                  <a:lnTo>
                    <a:pt x="329" y="228"/>
                  </a:lnTo>
                  <a:lnTo>
                    <a:pt x="322" y="223"/>
                  </a:lnTo>
                  <a:lnTo>
                    <a:pt x="319" y="222"/>
                  </a:lnTo>
                  <a:lnTo>
                    <a:pt x="317" y="221"/>
                  </a:lnTo>
                  <a:lnTo>
                    <a:pt x="307" y="207"/>
                  </a:lnTo>
                  <a:lnTo>
                    <a:pt x="302" y="202"/>
                  </a:lnTo>
                  <a:lnTo>
                    <a:pt x="298" y="200"/>
                  </a:lnTo>
                  <a:lnTo>
                    <a:pt x="294" y="198"/>
                  </a:lnTo>
                  <a:lnTo>
                    <a:pt x="291" y="196"/>
                  </a:lnTo>
                  <a:lnTo>
                    <a:pt x="289" y="192"/>
                  </a:lnTo>
                  <a:lnTo>
                    <a:pt x="289" y="187"/>
                  </a:lnTo>
                  <a:lnTo>
                    <a:pt x="289" y="181"/>
                  </a:lnTo>
                  <a:lnTo>
                    <a:pt x="292" y="169"/>
                  </a:lnTo>
                  <a:lnTo>
                    <a:pt x="292" y="162"/>
                  </a:lnTo>
                  <a:lnTo>
                    <a:pt x="292" y="155"/>
                  </a:lnTo>
                  <a:lnTo>
                    <a:pt x="292" y="150"/>
                  </a:lnTo>
                  <a:lnTo>
                    <a:pt x="289" y="147"/>
                  </a:lnTo>
                  <a:lnTo>
                    <a:pt x="285" y="146"/>
                  </a:lnTo>
                  <a:lnTo>
                    <a:pt x="283" y="147"/>
                  </a:lnTo>
                  <a:lnTo>
                    <a:pt x="276" y="148"/>
                  </a:lnTo>
                  <a:lnTo>
                    <a:pt x="272" y="150"/>
                  </a:lnTo>
                  <a:lnTo>
                    <a:pt x="268" y="154"/>
                  </a:lnTo>
                  <a:lnTo>
                    <a:pt x="267" y="157"/>
                  </a:lnTo>
                  <a:lnTo>
                    <a:pt x="267" y="158"/>
                  </a:lnTo>
                  <a:lnTo>
                    <a:pt x="269" y="158"/>
                  </a:lnTo>
                  <a:lnTo>
                    <a:pt x="269" y="161"/>
                  </a:lnTo>
                  <a:lnTo>
                    <a:pt x="268" y="163"/>
                  </a:lnTo>
                  <a:lnTo>
                    <a:pt x="266" y="165"/>
                  </a:lnTo>
                  <a:lnTo>
                    <a:pt x="264" y="166"/>
                  </a:lnTo>
                  <a:lnTo>
                    <a:pt x="260" y="168"/>
                  </a:lnTo>
                  <a:lnTo>
                    <a:pt x="252" y="179"/>
                  </a:lnTo>
                  <a:lnTo>
                    <a:pt x="249" y="181"/>
                  </a:lnTo>
                  <a:lnTo>
                    <a:pt x="242" y="183"/>
                  </a:lnTo>
                  <a:lnTo>
                    <a:pt x="238" y="184"/>
                  </a:lnTo>
                  <a:lnTo>
                    <a:pt x="235" y="187"/>
                  </a:lnTo>
                  <a:lnTo>
                    <a:pt x="234" y="190"/>
                  </a:lnTo>
                  <a:lnTo>
                    <a:pt x="233" y="192"/>
                  </a:lnTo>
                  <a:lnTo>
                    <a:pt x="234" y="192"/>
                  </a:lnTo>
                  <a:lnTo>
                    <a:pt x="237" y="196"/>
                  </a:lnTo>
                  <a:lnTo>
                    <a:pt x="242" y="205"/>
                  </a:lnTo>
                  <a:lnTo>
                    <a:pt x="243" y="213"/>
                  </a:lnTo>
                  <a:lnTo>
                    <a:pt x="239" y="221"/>
                  </a:lnTo>
                  <a:lnTo>
                    <a:pt x="232" y="226"/>
                  </a:lnTo>
                  <a:lnTo>
                    <a:pt x="230" y="227"/>
                  </a:lnTo>
                  <a:lnTo>
                    <a:pt x="227" y="227"/>
                  </a:lnTo>
                  <a:lnTo>
                    <a:pt x="226" y="229"/>
                  </a:lnTo>
                  <a:lnTo>
                    <a:pt x="224" y="231"/>
                  </a:lnTo>
                  <a:lnTo>
                    <a:pt x="224" y="234"/>
                  </a:lnTo>
                  <a:lnTo>
                    <a:pt x="224" y="236"/>
                  </a:lnTo>
                  <a:lnTo>
                    <a:pt x="223" y="243"/>
                  </a:lnTo>
                  <a:lnTo>
                    <a:pt x="223" y="243"/>
                  </a:lnTo>
                  <a:lnTo>
                    <a:pt x="221" y="246"/>
                  </a:lnTo>
                  <a:lnTo>
                    <a:pt x="221" y="247"/>
                  </a:lnTo>
                  <a:lnTo>
                    <a:pt x="219" y="250"/>
                  </a:lnTo>
                  <a:lnTo>
                    <a:pt x="218" y="251"/>
                  </a:lnTo>
                  <a:lnTo>
                    <a:pt x="217" y="251"/>
                  </a:lnTo>
                  <a:lnTo>
                    <a:pt x="205" y="254"/>
                  </a:lnTo>
                  <a:lnTo>
                    <a:pt x="201" y="256"/>
                  </a:lnTo>
                  <a:lnTo>
                    <a:pt x="198" y="263"/>
                  </a:lnTo>
                  <a:lnTo>
                    <a:pt x="198" y="264"/>
                  </a:lnTo>
                  <a:lnTo>
                    <a:pt x="197" y="266"/>
                  </a:lnTo>
                  <a:lnTo>
                    <a:pt x="197" y="267"/>
                  </a:lnTo>
                  <a:lnTo>
                    <a:pt x="197" y="268"/>
                  </a:lnTo>
                  <a:lnTo>
                    <a:pt x="195" y="269"/>
                  </a:lnTo>
                  <a:lnTo>
                    <a:pt x="194" y="269"/>
                  </a:lnTo>
                  <a:lnTo>
                    <a:pt x="191" y="268"/>
                  </a:lnTo>
                  <a:lnTo>
                    <a:pt x="187" y="268"/>
                  </a:lnTo>
                  <a:lnTo>
                    <a:pt x="179" y="265"/>
                  </a:lnTo>
                  <a:lnTo>
                    <a:pt x="177" y="265"/>
                  </a:lnTo>
                  <a:lnTo>
                    <a:pt x="176" y="266"/>
                  </a:lnTo>
                  <a:lnTo>
                    <a:pt x="175" y="266"/>
                  </a:lnTo>
                  <a:lnTo>
                    <a:pt x="173" y="266"/>
                  </a:lnTo>
                  <a:lnTo>
                    <a:pt x="173" y="265"/>
                  </a:lnTo>
                  <a:lnTo>
                    <a:pt x="170" y="261"/>
                  </a:lnTo>
                  <a:lnTo>
                    <a:pt x="167" y="259"/>
                  </a:lnTo>
                  <a:lnTo>
                    <a:pt x="165" y="257"/>
                  </a:lnTo>
                  <a:lnTo>
                    <a:pt x="149" y="253"/>
                  </a:lnTo>
                  <a:lnTo>
                    <a:pt x="146" y="255"/>
                  </a:lnTo>
                  <a:lnTo>
                    <a:pt x="145" y="257"/>
                  </a:lnTo>
                  <a:lnTo>
                    <a:pt x="143" y="259"/>
                  </a:lnTo>
                  <a:lnTo>
                    <a:pt x="140" y="260"/>
                  </a:lnTo>
                  <a:lnTo>
                    <a:pt x="135" y="262"/>
                  </a:lnTo>
                  <a:lnTo>
                    <a:pt x="125" y="269"/>
                  </a:lnTo>
                  <a:lnTo>
                    <a:pt x="120" y="270"/>
                  </a:lnTo>
                  <a:lnTo>
                    <a:pt x="108" y="269"/>
                  </a:lnTo>
                  <a:lnTo>
                    <a:pt x="106" y="270"/>
                  </a:lnTo>
                  <a:lnTo>
                    <a:pt x="102" y="273"/>
                  </a:lnTo>
                  <a:lnTo>
                    <a:pt x="92" y="277"/>
                  </a:lnTo>
                  <a:lnTo>
                    <a:pt x="87" y="278"/>
                  </a:lnTo>
                  <a:lnTo>
                    <a:pt x="82" y="278"/>
                  </a:lnTo>
                  <a:lnTo>
                    <a:pt x="77" y="277"/>
                  </a:lnTo>
                  <a:lnTo>
                    <a:pt x="73" y="275"/>
                  </a:lnTo>
                  <a:lnTo>
                    <a:pt x="66" y="266"/>
                  </a:lnTo>
                  <a:lnTo>
                    <a:pt x="64" y="268"/>
                  </a:lnTo>
                  <a:lnTo>
                    <a:pt x="62" y="270"/>
                  </a:lnTo>
                  <a:lnTo>
                    <a:pt x="61" y="272"/>
                  </a:lnTo>
                  <a:lnTo>
                    <a:pt x="60" y="275"/>
                  </a:lnTo>
                  <a:lnTo>
                    <a:pt x="58" y="279"/>
                  </a:lnTo>
                  <a:lnTo>
                    <a:pt x="55" y="282"/>
                  </a:lnTo>
                  <a:lnTo>
                    <a:pt x="51" y="284"/>
                  </a:lnTo>
                  <a:lnTo>
                    <a:pt x="48" y="285"/>
                  </a:lnTo>
                  <a:lnTo>
                    <a:pt x="44" y="285"/>
                  </a:lnTo>
                  <a:lnTo>
                    <a:pt x="43" y="285"/>
                  </a:lnTo>
                  <a:lnTo>
                    <a:pt x="42" y="285"/>
                  </a:lnTo>
                  <a:lnTo>
                    <a:pt x="41" y="284"/>
                  </a:lnTo>
                  <a:lnTo>
                    <a:pt x="40" y="284"/>
                  </a:lnTo>
                  <a:lnTo>
                    <a:pt x="39" y="285"/>
                  </a:lnTo>
                  <a:lnTo>
                    <a:pt x="39" y="285"/>
                  </a:lnTo>
                  <a:lnTo>
                    <a:pt x="38" y="286"/>
                  </a:lnTo>
                  <a:lnTo>
                    <a:pt x="38" y="287"/>
                  </a:lnTo>
                  <a:lnTo>
                    <a:pt x="33" y="288"/>
                  </a:lnTo>
                  <a:lnTo>
                    <a:pt x="31" y="289"/>
                  </a:lnTo>
                  <a:lnTo>
                    <a:pt x="29" y="292"/>
                  </a:lnTo>
                  <a:lnTo>
                    <a:pt x="28" y="296"/>
                  </a:lnTo>
                  <a:lnTo>
                    <a:pt x="28" y="300"/>
                  </a:lnTo>
                  <a:lnTo>
                    <a:pt x="28" y="304"/>
                  </a:lnTo>
                  <a:lnTo>
                    <a:pt x="30" y="314"/>
                  </a:lnTo>
                  <a:lnTo>
                    <a:pt x="33" y="318"/>
                  </a:lnTo>
                  <a:lnTo>
                    <a:pt x="38" y="322"/>
                  </a:lnTo>
                  <a:lnTo>
                    <a:pt x="42" y="322"/>
                  </a:lnTo>
                  <a:lnTo>
                    <a:pt x="44" y="323"/>
                  </a:lnTo>
                  <a:lnTo>
                    <a:pt x="48" y="327"/>
                  </a:lnTo>
                  <a:lnTo>
                    <a:pt x="50" y="329"/>
                  </a:lnTo>
                  <a:lnTo>
                    <a:pt x="55" y="330"/>
                  </a:lnTo>
                  <a:lnTo>
                    <a:pt x="57" y="331"/>
                  </a:lnTo>
                  <a:lnTo>
                    <a:pt x="58" y="334"/>
                  </a:lnTo>
                  <a:lnTo>
                    <a:pt x="57" y="336"/>
                  </a:lnTo>
                  <a:lnTo>
                    <a:pt x="56" y="340"/>
                  </a:lnTo>
                  <a:lnTo>
                    <a:pt x="55" y="342"/>
                  </a:lnTo>
                  <a:lnTo>
                    <a:pt x="56" y="344"/>
                  </a:lnTo>
                  <a:lnTo>
                    <a:pt x="57" y="346"/>
                  </a:lnTo>
                  <a:lnTo>
                    <a:pt x="58" y="348"/>
                  </a:lnTo>
                  <a:lnTo>
                    <a:pt x="59" y="357"/>
                  </a:lnTo>
                  <a:lnTo>
                    <a:pt x="60" y="360"/>
                  </a:lnTo>
                  <a:lnTo>
                    <a:pt x="67" y="364"/>
                  </a:lnTo>
                  <a:lnTo>
                    <a:pt x="74" y="370"/>
                  </a:lnTo>
                  <a:lnTo>
                    <a:pt x="75" y="370"/>
                  </a:lnTo>
                  <a:lnTo>
                    <a:pt x="76" y="372"/>
                  </a:lnTo>
                  <a:lnTo>
                    <a:pt x="77" y="375"/>
                  </a:lnTo>
                  <a:lnTo>
                    <a:pt x="78" y="378"/>
                  </a:lnTo>
                  <a:lnTo>
                    <a:pt x="80" y="379"/>
                  </a:lnTo>
                  <a:lnTo>
                    <a:pt x="87" y="382"/>
                  </a:lnTo>
                  <a:lnTo>
                    <a:pt x="88" y="383"/>
                  </a:lnTo>
                  <a:lnTo>
                    <a:pt x="88" y="386"/>
                  </a:lnTo>
                  <a:lnTo>
                    <a:pt x="87" y="389"/>
                  </a:lnTo>
                  <a:lnTo>
                    <a:pt x="83" y="395"/>
                  </a:lnTo>
                  <a:lnTo>
                    <a:pt x="78" y="401"/>
                  </a:lnTo>
                  <a:lnTo>
                    <a:pt x="77" y="402"/>
                  </a:lnTo>
                  <a:lnTo>
                    <a:pt x="78" y="409"/>
                  </a:lnTo>
                  <a:lnTo>
                    <a:pt x="80" y="414"/>
                  </a:lnTo>
                  <a:lnTo>
                    <a:pt x="80" y="417"/>
                  </a:lnTo>
                  <a:lnTo>
                    <a:pt x="76" y="421"/>
                  </a:lnTo>
                  <a:lnTo>
                    <a:pt x="73" y="426"/>
                  </a:lnTo>
                  <a:lnTo>
                    <a:pt x="72" y="427"/>
                  </a:lnTo>
                  <a:lnTo>
                    <a:pt x="71" y="427"/>
                  </a:lnTo>
                  <a:lnTo>
                    <a:pt x="69" y="425"/>
                  </a:lnTo>
                  <a:lnTo>
                    <a:pt x="67" y="424"/>
                  </a:lnTo>
                  <a:lnTo>
                    <a:pt x="62" y="426"/>
                  </a:lnTo>
                  <a:lnTo>
                    <a:pt x="56" y="428"/>
                  </a:lnTo>
                  <a:lnTo>
                    <a:pt x="54" y="430"/>
                  </a:lnTo>
                  <a:lnTo>
                    <a:pt x="52" y="435"/>
                  </a:lnTo>
                  <a:lnTo>
                    <a:pt x="49" y="437"/>
                  </a:lnTo>
                  <a:lnTo>
                    <a:pt x="48" y="437"/>
                  </a:lnTo>
                  <a:lnTo>
                    <a:pt x="44" y="437"/>
                  </a:lnTo>
                  <a:lnTo>
                    <a:pt x="43" y="438"/>
                  </a:lnTo>
                  <a:lnTo>
                    <a:pt x="42" y="440"/>
                  </a:lnTo>
                  <a:lnTo>
                    <a:pt x="43" y="441"/>
                  </a:lnTo>
                  <a:lnTo>
                    <a:pt x="43" y="442"/>
                  </a:lnTo>
                  <a:lnTo>
                    <a:pt x="43" y="444"/>
                  </a:lnTo>
                  <a:lnTo>
                    <a:pt x="38" y="446"/>
                  </a:lnTo>
                  <a:lnTo>
                    <a:pt x="32" y="444"/>
                  </a:lnTo>
                  <a:lnTo>
                    <a:pt x="27" y="441"/>
                  </a:lnTo>
                  <a:lnTo>
                    <a:pt x="21" y="440"/>
                  </a:lnTo>
                  <a:lnTo>
                    <a:pt x="20" y="441"/>
                  </a:lnTo>
                  <a:lnTo>
                    <a:pt x="17" y="443"/>
                  </a:lnTo>
                  <a:lnTo>
                    <a:pt x="15" y="444"/>
                  </a:lnTo>
                  <a:lnTo>
                    <a:pt x="14" y="444"/>
                  </a:lnTo>
                  <a:lnTo>
                    <a:pt x="11" y="444"/>
                  </a:lnTo>
                  <a:lnTo>
                    <a:pt x="10" y="444"/>
                  </a:lnTo>
                  <a:lnTo>
                    <a:pt x="4" y="447"/>
                  </a:lnTo>
                  <a:lnTo>
                    <a:pt x="4" y="447"/>
                  </a:lnTo>
                  <a:lnTo>
                    <a:pt x="2" y="450"/>
                  </a:lnTo>
                  <a:lnTo>
                    <a:pt x="0" y="452"/>
                  </a:lnTo>
                  <a:lnTo>
                    <a:pt x="3" y="456"/>
                  </a:lnTo>
                  <a:lnTo>
                    <a:pt x="5" y="459"/>
                  </a:lnTo>
                  <a:lnTo>
                    <a:pt x="5" y="460"/>
                  </a:lnTo>
                  <a:lnTo>
                    <a:pt x="5" y="462"/>
                  </a:lnTo>
                  <a:lnTo>
                    <a:pt x="6" y="464"/>
                  </a:lnTo>
                  <a:lnTo>
                    <a:pt x="8" y="467"/>
                  </a:lnTo>
                  <a:lnTo>
                    <a:pt x="9" y="469"/>
                  </a:lnTo>
                  <a:lnTo>
                    <a:pt x="15" y="469"/>
                  </a:lnTo>
                  <a:lnTo>
                    <a:pt x="19" y="472"/>
                  </a:lnTo>
                  <a:lnTo>
                    <a:pt x="20" y="479"/>
                  </a:lnTo>
                  <a:lnTo>
                    <a:pt x="20" y="491"/>
                  </a:lnTo>
                  <a:lnTo>
                    <a:pt x="22" y="496"/>
                  </a:lnTo>
                  <a:lnTo>
                    <a:pt x="28" y="500"/>
                  </a:lnTo>
                  <a:lnTo>
                    <a:pt x="38" y="507"/>
                  </a:lnTo>
                  <a:lnTo>
                    <a:pt x="42" y="507"/>
                  </a:lnTo>
                  <a:lnTo>
                    <a:pt x="49" y="506"/>
                  </a:lnTo>
                  <a:lnTo>
                    <a:pt x="52" y="506"/>
                  </a:lnTo>
                  <a:lnTo>
                    <a:pt x="60" y="510"/>
                  </a:lnTo>
                  <a:lnTo>
                    <a:pt x="63" y="513"/>
                  </a:lnTo>
                  <a:lnTo>
                    <a:pt x="63" y="514"/>
                  </a:lnTo>
                  <a:lnTo>
                    <a:pt x="64" y="515"/>
                  </a:lnTo>
                  <a:lnTo>
                    <a:pt x="64" y="516"/>
                  </a:lnTo>
                  <a:lnTo>
                    <a:pt x="64" y="516"/>
                  </a:lnTo>
                  <a:lnTo>
                    <a:pt x="64" y="517"/>
                  </a:lnTo>
                  <a:lnTo>
                    <a:pt x="63" y="518"/>
                  </a:lnTo>
                  <a:lnTo>
                    <a:pt x="63" y="521"/>
                  </a:lnTo>
                  <a:lnTo>
                    <a:pt x="62" y="521"/>
                  </a:lnTo>
                  <a:lnTo>
                    <a:pt x="64" y="526"/>
                  </a:lnTo>
                  <a:lnTo>
                    <a:pt x="65" y="532"/>
                  </a:lnTo>
                  <a:lnTo>
                    <a:pt x="66" y="534"/>
                  </a:lnTo>
                  <a:lnTo>
                    <a:pt x="71" y="543"/>
                  </a:lnTo>
                  <a:lnTo>
                    <a:pt x="72" y="545"/>
                  </a:lnTo>
                  <a:lnTo>
                    <a:pt x="69" y="546"/>
                  </a:lnTo>
                  <a:lnTo>
                    <a:pt x="63" y="544"/>
                  </a:lnTo>
                  <a:lnTo>
                    <a:pt x="60" y="544"/>
                  </a:lnTo>
                  <a:lnTo>
                    <a:pt x="57" y="546"/>
                  </a:lnTo>
                  <a:lnTo>
                    <a:pt x="53" y="549"/>
                  </a:lnTo>
                  <a:lnTo>
                    <a:pt x="52" y="554"/>
                  </a:lnTo>
                  <a:lnTo>
                    <a:pt x="54" y="559"/>
                  </a:lnTo>
                  <a:lnTo>
                    <a:pt x="52" y="560"/>
                  </a:lnTo>
                  <a:lnTo>
                    <a:pt x="47" y="570"/>
                  </a:lnTo>
                  <a:lnTo>
                    <a:pt x="38" y="576"/>
                  </a:lnTo>
                  <a:lnTo>
                    <a:pt x="37" y="579"/>
                  </a:lnTo>
                  <a:lnTo>
                    <a:pt x="37" y="586"/>
                  </a:lnTo>
                  <a:lnTo>
                    <a:pt x="41" y="592"/>
                  </a:lnTo>
                  <a:lnTo>
                    <a:pt x="46" y="597"/>
                  </a:lnTo>
                  <a:lnTo>
                    <a:pt x="50" y="601"/>
                  </a:lnTo>
                  <a:lnTo>
                    <a:pt x="44" y="604"/>
                  </a:lnTo>
                  <a:lnTo>
                    <a:pt x="43" y="606"/>
                  </a:lnTo>
                  <a:lnTo>
                    <a:pt x="42" y="612"/>
                  </a:lnTo>
                  <a:lnTo>
                    <a:pt x="42" y="614"/>
                  </a:lnTo>
                  <a:lnTo>
                    <a:pt x="42" y="615"/>
                  </a:lnTo>
                  <a:lnTo>
                    <a:pt x="42" y="617"/>
                  </a:lnTo>
                  <a:lnTo>
                    <a:pt x="43" y="618"/>
                  </a:lnTo>
                  <a:lnTo>
                    <a:pt x="46" y="622"/>
                  </a:lnTo>
                  <a:lnTo>
                    <a:pt x="48" y="624"/>
                  </a:lnTo>
                  <a:lnTo>
                    <a:pt x="49" y="629"/>
                  </a:lnTo>
                  <a:lnTo>
                    <a:pt x="50" y="630"/>
                  </a:lnTo>
                  <a:lnTo>
                    <a:pt x="52" y="632"/>
                  </a:lnTo>
                  <a:lnTo>
                    <a:pt x="55" y="634"/>
                  </a:lnTo>
                  <a:lnTo>
                    <a:pt x="56" y="636"/>
                  </a:lnTo>
                  <a:lnTo>
                    <a:pt x="57" y="638"/>
                  </a:lnTo>
                  <a:lnTo>
                    <a:pt x="58" y="640"/>
                  </a:lnTo>
                  <a:lnTo>
                    <a:pt x="58" y="642"/>
                  </a:lnTo>
                  <a:lnTo>
                    <a:pt x="60" y="644"/>
                  </a:lnTo>
                  <a:lnTo>
                    <a:pt x="62" y="645"/>
                  </a:lnTo>
                  <a:lnTo>
                    <a:pt x="64" y="644"/>
                  </a:lnTo>
                  <a:lnTo>
                    <a:pt x="66" y="644"/>
                  </a:lnTo>
                  <a:lnTo>
                    <a:pt x="68" y="643"/>
                  </a:lnTo>
                  <a:lnTo>
                    <a:pt x="70" y="644"/>
                  </a:lnTo>
                  <a:lnTo>
                    <a:pt x="79" y="649"/>
                  </a:lnTo>
                  <a:lnTo>
                    <a:pt x="86" y="652"/>
                  </a:lnTo>
                  <a:lnTo>
                    <a:pt x="103" y="662"/>
                  </a:lnTo>
                  <a:lnTo>
                    <a:pt x="106" y="663"/>
                  </a:lnTo>
                  <a:lnTo>
                    <a:pt x="110" y="664"/>
                  </a:lnTo>
                  <a:lnTo>
                    <a:pt x="112" y="665"/>
                  </a:lnTo>
                  <a:lnTo>
                    <a:pt x="113" y="666"/>
                  </a:lnTo>
                  <a:lnTo>
                    <a:pt x="114" y="668"/>
                  </a:lnTo>
                  <a:lnTo>
                    <a:pt x="115" y="670"/>
                  </a:lnTo>
                  <a:lnTo>
                    <a:pt x="117" y="670"/>
                  </a:lnTo>
                  <a:lnTo>
                    <a:pt x="123" y="670"/>
                  </a:lnTo>
                  <a:lnTo>
                    <a:pt x="151" y="662"/>
                  </a:lnTo>
                  <a:lnTo>
                    <a:pt x="155" y="661"/>
                  </a:lnTo>
                  <a:lnTo>
                    <a:pt x="162" y="657"/>
                  </a:lnTo>
                  <a:lnTo>
                    <a:pt x="167" y="658"/>
                  </a:lnTo>
                  <a:lnTo>
                    <a:pt x="165" y="666"/>
                  </a:lnTo>
                  <a:lnTo>
                    <a:pt x="167" y="670"/>
                  </a:lnTo>
                  <a:lnTo>
                    <a:pt x="170" y="673"/>
                  </a:lnTo>
                  <a:lnTo>
                    <a:pt x="172" y="677"/>
                  </a:lnTo>
                  <a:lnTo>
                    <a:pt x="173" y="678"/>
                  </a:lnTo>
                  <a:lnTo>
                    <a:pt x="172" y="682"/>
                  </a:lnTo>
                  <a:lnTo>
                    <a:pt x="170" y="685"/>
                  </a:lnTo>
                  <a:lnTo>
                    <a:pt x="168" y="686"/>
                  </a:lnTo>
                  <a:lnTo>
                    <a:pt x="166" y="688"/>
                  </a:lnTo>
                  <a:lnTo>
                    <a:pt x="165" y="691"/>
                  </a:lnTo>
                  <a:lnTo>
                    <a:pt x="164" y="696"/>
                  </a:lnTo>
                  <a:lnTo>
                    <a:pt x="163" y="698"/>
                  </a:lnTo>
                  <a:lnTo>
                    <a:pt x="160" y="702"/>
                  </a:lnTo>
                  <a:lnTo>
                    <a:pt x="151" y="709"/>
                  </a:lnTo>
                  <a:lnTo>
                    <a:pt x="148" y="715"/>
                  </a:lnTo>
                  <a:lnTo>
                    <a:pt x="141" y="722"/>
                  </a:lnTo>
                  <a:lnTo>
                    <a:pt x="139" y="727"/>
                  </a:lnTo>
                  <a:lnTo>
                    <a:pt x="140" y="732"/>
                  </a:lnTo>
                  <a:lnTo>
                    <a:pt x="142" y="743"/>
                  </a:lnTo>
                  <a:lnTo>
                    <a:pt x="144" y="743"/>
                  </a:lnTo>
                  <a:lnTo>
                    <a:pt x="146" y="743"/>
                  </a:lnTo>
                  <a:lnTo>
                    <a:pt x="147" y="744"/>
                  </a:lnTo>
                  <a:lnTo>
                    <a:pt x="149" y="744"/>
                  </a:lnTo>
                  <a:lnTo>
                    <a:pt x="154" y="743"/>
                  </a:lnTo>
                  <a:lnTo>
                    <a:pt x="173" y="743"/>
                  </a:lnTo>
                  <a:lnTo>
                    <a:pt x="180" y="741"/>
                  </a:lnTo>
                  <a:lnTo>
                    <a:pt x="188" y="736"/>
                  </a:lnTo>
                  <a:lnTo>
                    <a:pt x="215" y="729"/>
                  </a:lnTo>
                  <a:lnTo>
                    <a:pt x="227" y="722"/>
                  </a:lnTo>
                  <a:lnTo>
                    <a:pt x="230" y="721"/>
                  </a:lnTo>
                  <a:lnTo>
                    <a:pt x="232" y="720"/>
                  </a:lnTo>
                  <a:lnTo>
                    <a:pt x="233" y="718"/>
                  </a:lnTo>
                  <a:lnTo>
                    <a:pt x="233" y="717"/>
                  </a:lnTo>
                  <a:lnTo>
                    <a:pt x="234" y="716"/>
                  </a:lnTo>
                  <a:lnTo>
                    <a:pt x="236" y="715"/>
                  </a:lnTo>
                  <a:lnTo>
                    <a:pt x="240" y="713"/>
                  </a:lnTo>
                  <a:lnTo>
                    <a:pt x="244" y="707"/>
                  </a:lnTo>
                  <a:lnTo>
                    <a:pt x="248" y="707"/>
                  </a:lnTo>
                  <a:lnTo>
                    <a:pt x="248" y="705"/>
                  </a:lnTo>
                  <a:lnTo>
                    <a:pt x="246" y="701"/>
                  </a:lnTo>
                  <a:lnTo>
                    <a:pt x="248" y="696"/>
                  </a:lnTo>
                  <a:lnTo>
                    <a:pt x="256" y="687"/>
                  </a:lnTo>
                  <a:lnTo>
                    <a:pt x="257" y="685"/>
                  </a:lnTo>
                  <a:lnTo>
                    <a:pt x="258" y="681"/>
                  </a:lnTo>
                  <a:lnTo>
                    <a:pt x="258" y="679"/>
                  </a:lnTo>
                  <a:lnTo>
                    <a:pt x="258" y="676"/>
                  </a:lnTo>
                  <a:lnTo>
                    <a:pt x="258" y="674"/>
                  </a:lnTo>
                  <a:lnTo>
                    <a:pt x="262" y="669"/>
                  </a:lnTo>
                  <a:lnTo>
                    <a:pt x="264" y="666"/>
                  </a:lnTo>
                  <a:lnTo>
                    <a:pt x="267" y="664"/>
                  </a:lnTo>
                  <a:lnTo>
                    <a:pt x="271" y="662"/>
                  </a:lnTo>
                  <a:lnTo>
                    <a:pt x="280" y="659"/>
                  </a:lnTo>
                  <a:lnTo>
                    <a:pt x="284" y="657"/>
                  </a:lnTo>
                  <a:lnTo>
                    <a:pt x="286" y="654"/>
                  </a:lnTo>
                  <a:lnTo>
                    <a:pt x="286" y="652"/>
                  </a:lnTo>
                  <a:lnTo>
                    <a:pt x="286" y="650"/>
                  </a:lnTo>
                  <a:lnTo>
                    <a:pt x="287" y="647"/>
                  </a:lnTo>
                  <a:lnTo>
                    <a:pt x="288" y="646"/>
                  </a:lnTo>
                  <a:lnTo>
                    <a:pt x="290" y="645"/>
                  </a:lnTo>
                  <a:lnTo>
                    <a:pt x="291" y="644"/>
                  </a:lnTo>
                  <a:lnTo>
                    <a:pt x="291" y="642"/>
                  </a:lnTo>
                  <a:lnTo>
                    <a:pt x="291" y="641"/>
                  </a:lnTo>
                  <a:lnTo>
                    <a:pt x="293" y="639"/>
                  </a:lnTo>
                  <a:lnTo>
                    <a:pt x="292" y="634"/>
                  </a:lnTo>
                  <a:lnTo>
                    <a:pt x="296" y="630"/>
                  </a:lnTo>
                  <a:lnTo>
                    <a:pt x="307" y="622"/>
                  </a:lnTo>
                  <a:lnTo>
                    <a:pt x="311" y="618"/>
                  </a:lnTo>
                  <a:lnTo>
                    <a:pt x="313" y="617"/>
                  </a:lnTo>
                  <a:lnTo>
                    <a:pt x="316" y="617"/>
                  </a:lnTo>
                  <a:lnTo>
                    <a:pt x="326" y="610"/>
                  </a:lnTo>
                  <a:lnTo>
                    <a:pt x="327" y="610"/>
                  </a:lnTo>
                  <a:lnTo>
                    <a:pt x="328" y="610"/>
                  </a:lnTo>
                  <a:lnTo>
                    <a:pt x="329" y="610"/>
                  </a:lnTo>
                  <a:lnTo>
                    <a:pt x="330" y="609"/>
                  </a:lnTo>
                  <a:lnTo>
                    <a:pt x="332" y="607"/>
                  </a:lnTo>
                  <a:lnTo>
                    <a:pt x="336" y="603"/>
                  </a:lnTo>
                  <a:lnTo>
                    <a:pt x="339" y="603"/>
                  </a:lnTo>
                  <a:lnTo>
                    <a:pt x="342" y="602"/>
                  </a:lnTo>
                  <a:lnTo>
                    <a:pt x="353" y="603"/>
                  </a:lnTo>
                  <a:lnTo>
                    <a:pt x="355" y="605"/>
                  </a:lnTo>
                  <a:lnTo>
                    <a:pt x="356" y="606"/>
                  </a:lnTo>
                  <a:lnTo>
                    <a:pt x="359" y="607"/>
                  </a:lnTo>
                  <a:lnTo>
                    <a:pt x="367" y="607"/>
                  </a:lnTo>
                  <a:lnTo>
                    <a:pt x="368" y="606"/>
                  </a:lnTo>
                  <a:lnTo>
                    <a:pt x="373" y="609"/>
                  </a:lnTo>
                  <a:lnTo>
                    <a:pt x="380" y="612"/>
                  </a:lnTo>
                  <a:lnTo>
                    <a:pt x="396" y="615"/>
                  </a:lnTo>
                  <a:lnTo>
                    <a:pt x="401" y="617"/>
                  </a:lnTo>
                  <a:lnTo>
                    <a:pt x="404" y="622"/>
                  </a:lnTo>
                  <a:lnTo>
                    <a:pt x="404" y="625"/>
                  </a:lnTo>
                  <a:lnTo>
                    <a:pt x="406" y="627"/>
                  </a:lnTo>
                  <a:lnTo>
                    <a:pt x="414" y="630"/>
                  </a:lnTo>
                  <a:lnTo>
                    <a:pt x="414" y="626"/>
                  </a:lnTo>
                  <a:lnTo>
                    <a:pt x="414" y="623"/>
                  </a:lnTo>
                  <a:lnTo>
                    <a:pt x="415" y="621"/>
                  </a:lnTo>
                  <a:lnTo>
                    <a:pt x="417" y="619"/>
                  </a:lnTo>
                  <a:lnTo>
                    <a:pt x="422" y="623"/>
                  </a:lnTo>
                  <a:lnTo>
                    <a:pt x="439" y="632"/>
                  </a:lnTo>
                  <a:lnTo>
                    <a:pt x="440" y="637"/>
                  </a:lnTo>
                  <a:lnTo>
                    <a:pt x="447" y="641"/>
                  </a:lnTo>
                  <a:lnTo>
                    <a:pt x="448" y="642"/>
                  </a:lnTo>
                  <a:lnTo>
                    <a:pt x="449" y="644"/>
                  </a:lnTo>
                  <a:lnTo>
                    <a:pt x="452" y="645"/>
                  </a:lnTo>
                  <a:lnTo>
                    <a:pt x="455" y="644"/>
                  </a:lnTo>
                  <a:lnTo>
                    <a:pt x="457" y="643"/>
                  </a:lnTo>
                  <a:lnTo>
                    <a:pt x="458" y="646"/>
                  </a:lnTo>
                  <a:lnTo>
                    <a:pt x="459" y="648"/>
                  </a:lnTo>
                  <a:lnTo>
                    <a:pt x="461" y="650"/>
                  </a:lnTo>
                  <a:lnTo>
                    <a:pt x="468" y="653"/>
                  </a:lnTo>
                  <a:lnTo>
                    <a:pt x="471" y="655"/>
                  </a:lnTo>
                  <a:lnTo>
                    <a:pt x="472" y="658"/>
                  </a:lnTo>
                  <a:lnTo>
                    <a:pt x="473" y="658"/>
                  </a:lnTo>
                  <a:lnTo>
                    <a:pt x="479" y="664"/>
                  </a:lnTo>
                  <a:lnTo>
                    <a:pt x="480" y="665"/>
                  </a:lnTo>
                  <a:lnTo>
                    <a:pt x="482" y="666"/>
                  </a:lnTo>
                  <a:lnTo>
                    <a:pt x="487" y="666"/>
                  </a:lnTo>
                  <a:lnTo>
                    <a:pt x="489" y="667"/>
                  </a:lnTo>
                  <a:lnTo>
                    <a:pt x="493" y="671"/>
                  </a:lnTo>
                  <a:lnTo>
                    <a:pt x="495" y="672"/>
                  </a:lnTo>
                  <a:lnTo>
                    <a:pt x="503" y="680"/>
                  </a:lnTo>
                  <a:lnTo>
                    <a:pt x="510" y="683"/>
                  </a:lnTo>
                  <a:lnTo>
                    <a:pt x="512" y="685"/>
                  </a:lnTo>
                  <a:lnTo>
                    <a:pt x="512" y="688"/>
                  </a:lnTo>
                  <a:lnTo>
                    <a:pt x="514" y="688"/>
                  </a:lnTo>
                  <a:lnTo>
                    <a:pt x="515" y="687"/>
                  </a:lnTo>
                  <a:lnTo>
                    <a:pt x="512" y="686"/>
                  </a:lnTo>
                  <a:lnTo>
                    <a:pt x="513" y="684"/>
                  </a:lnTo>
                  <a:lnTo>
                    <a:pt x="514" y="683"/>
                  </a:lnTo>
                  <a:lnTo>
                    <a:pt x="515" y="682"/>
                  </a:lnTo>
                  <a:lnTo>
                    <a:pt x="515" y="681"/>
                  </a:lnTo>
                  <a:lnTo>
                    <a:pt x="513" y="681"/>
                  </a:lnTo>
                  <a:lnTo>
                    <a:pt x="512" y="680"/>
                  </a:lnTo>
                  <a:lnTo>
                    <a:pt x="511" y="678"/>
                  </a:lnTo>
                  <a:lnTo>
                    <a:pt x="510" y="676"/>
                  </a:lnTo>
                  <a:lnTo>
                    <a:pt x="511" y="676"/>
                  </a:lnTo>
                  <a:lnTo>
                    <a:pt x="512" y="676"/>
                  </a:lnTo>
                  <a:lnTo>
                    <a:pt x="512" y="675"/>
                  </a:lnTo>
                  <a:lnTo>
                    <a:pt x="512" y="673"/>
                  </a:lnTo>
                  <a:lnTo>
                    <a:pt x="514" y="673"/>
                  </a:lnTo>
                  <a:lnTo>
                    <a:pt x="519" y="678"/>
                  </a:lnTo>
                  <a:lnTo>
                    <a:pt x="521" y="676"/>
                  </a:lnTo>
                  <a:lnTo>
                    <a:pt x="524" y="680"/>
                  </a:lnTo>
                  <a:lnTo>
                    <a:pt x="529" y="684"/>
                  </a:lnTo>
                  <a:lnTo>
                    <a:pt x="531" y="686"/>
                  </a:lnTo>
                  <a:lnTo>
                    <a:pt x="533" y="687"/>
                  </a:lnTo>
                  <a:lnTo>
                    <a:pt x="535" y="687"/>
                  </a:lnTo>
                  <a:lnTo>
                    <a:pt x="536" y="686"/>
                  </a:lnTo>
                  <a:lnTo>
                    <a:pt x="536" y="685"/>
                  </a:lnTo>
                  <a:lnTo>
                    <a:pt x="537" y="684"/>
                  </a:lnTo>
                  <a:lnTo>
                    <a:pt x="539" y="684"/>
                  </a:lnTo>
                  <a:lnTo>
                    <a:pt x="541" y="686"/>
                  </a:lnTo>
                  <a:lnTo>
                    <a:pt x="545" y="686"/>
                  </a:lnTo>
                  <a:lnTo>
                    <a:pt x="551" y="691"/>
                  </a:lnTo>
                  <a:lnTo>
                    <a:pt x="553" y="691"/>
                  </a:lnTo>
                  <a:lnTo>
                    <a:pt x="556" y="693"/>
                  </a:lnTo>
                  <a:lnTo>
                    <a:pt x="561" y="702"/>
                  </a:lnTo>
                  <a:lnTo>
                    <a:pt x="568" y="707"/>
                  </a:lnTo>
                  <a:lnTo>
                    <a:pt x="572" y="715"/>
                  </a:lnTo>
                  <a:lnTo>
                    <a:pt x="579" y="731"/>
                  </a:lnTo>
                  <a:lnTo>
                    <a:pt x="581" y="739"/>
                  </a:lnTo>
                  <a:lnTo>
                    <a:pt x="586" y="792"/>
                  </a:lnTo>
                  <a:lnTo>
                    <a:pt x="589" y="808"/>
                  </a:lnTo>
                  <a:lnTo>
                    <a:pt x="591" y="812"/>
                  </a:lnTo>
                  <a:lnTo>
                    <a:pt x="596" y="814"/>
                  </a:lnTo>
                  <a:lnTo>
                    <a:pt x="598" y="817"/>
                  </a:lnTo>
                  <a:lnTo>
                    <a:pt x="608" y="831"/>
                  </a:lnTo>
                  <a:lnTo>
                    <a:pt x="621" y="857"/>
                  </a:lnTo>
                  <a:lnTo>
                    <a:pt x="623" y="862"/>
                  </a:lnTo>
                  <a:lnTo>
                    <a:pt x="624" y="866"/>
                  </a:lnTo>
                  <a:lnTo>
                    <a:pt x="624" y="875"/>
                  </a:lnTo>
                  <a:lnTo>
                    <a:pt x="624" y="880"/>
                  </a:lnTo>
                  <a:lnTo>
                    <a:pt x="626" y="883"/>
                  </a:lnTo>
                  <a:lnTo>
                    <a:pt x="624" y="886"/>
                  </a:lnTo>
                  <a:lnTo>
                    <a:pt x="624" y="891"/>
                  </a:lnTo>
                  <a:lnTo>
                    <a:pt x="624" y="895"/>
                  </a:lnTo>
                  <a:lnTo>
                    <a:pt x="624" y="898"/>
                  </a:lnTo>
                  <a:lnTo>
                    <a:pt x="621" y="910"/>
                  </a:lnTo>
                  <a:lnTo>
                    <a:pt x="619" y="914"/>
                  </a:lnTo>
                  <a:lnTo>
                    <a:pt x="615" y="917"/>
                  </a:lnTo>
                  <a:lnTo>
                    <a:pt x="618" y="928"/>
                  </a:lnTo>
                  <a:lnTo>
                    <a:pt x="621" y="931"/>
                  </a:lnTo>
                  <a:lnTo>
                    <a:pt x="626" y="929"/>
                  </a:lnTo>
                  <a:lnTo>
                    <a:pt x="625" y="928"/>
                  </a:lnTo>
                  <a:lnTo>
                    <a:pt x="624" y="926"/>
                  </a:lnTo>
                  <a:lnTo>
                    <a:pt x="632" y="924"/>
                  </a:lnTo>
                  <a:lnTo>
                    <a:pt x="639" y="924"/>
                  </a:lnTo>
                  <a:lnTo>
                    <a:pt x="647" y="926"/>
                  </a:lnTo>
                  <a:lnTo>
                    <a:pt x="658" y="931"/>
                  </a:lnTo>
                  <a:lnTo>
                    <a:pt x="660" y="933"/>
                  </a:lnTo>
                  <a:lnTo>
                    <a:pt x="662" y="935"/>
                  </a:lnTo>
                  <a:lnTo>
                    <a:pt x="663" y="938"/>
                  </a:lnTo>
                  <a:lnTo>
                    <a:pt x="662" y="939"/>
                  </a:lnTo>
                  <a:lnTo>
                    <a:pt x="661" y="940"/>
                  </a:lnTo>
                  <a:lnTo>
                    <a:pt x="660" y="942"/>
                  </a:lnTo>
                  <a:lnTo>
                    <a:pt x="661" y="947"/>
                  </a:lnTo>
                  <a:lnTo>
                    <a:pt x="660" y="951"/>
                  </a:lnTo>
                  <a:lnTo>
                    <a:pt x="659" y="954"/>
                  </a:lnTo>
                  <a:lnTo>
                    <a:pt x="655" y="957"/>
                  </a:lnTo>
                  <a:lnTo>
                    <a:pt x="680" y="966"/>
                  </a:lnTo>
                  <a:lnTo>
                    <a:pt x="689" y="970"/>
                  </a:lnTo>
                  <a:lnTo>
                    <a:pt x="693" y="975"/>
                  </a:lnTo>
                  <a:lnTo>
                    <a:pt x="695" y="976"/>
                  </a:lnTo>
                  <a:lnTo>
                    <a:pt x="696" y="978"/>
                  </a:lnTo>
                  <a:lnTo>
                    <a:pt x="697" y="981"/>
                  </a:lnTo>
                  <a:lnTo>
                    <a:pt x="698" y="984"/>
                  </a:lnTo>
                  <a:lnTo>
                    <a:pt x="699" y="987"/>
                  </a:lnTo>
                  <a:lnTo>
                    <a:pt x="706" y="991"/>
                  </a:lnTo>
                  <a:lnTo>
                    <a:pt x="710" y="994"/>
                  </a:lnTo>
                  <a:lnTo>
                    <a:pt x="711" y="999"/>
                  </a:lnTo>
                  <a:lnTo>
                    <a:pt x="713" y="1000"/>
                  </a:lnTo>
                  <a:lnTo>
                    <a:pt x="715" y="1003"/>
                  </a:lnTo>
                  <a:lnTo>
                    <a:pt x="716" y="1007"/>
                  </a:lnTo>
                  <a:lnTo>
                    <a:pt x="718" y="1010"/>
                  </a:lnTo>
                  <a:lnTo>
                    <a:pt x="719" y="1010"/>
                  </a:lnTo>
                  <a:lnTo>
                    <a:pt x="721" y="1009"/>
                  </a:lnTo>
                  <a:lnTo>
                    <a:pt x="723" y="1009"/>
                  </a:lnTo>
                  <a:lnTo>
                    <a:pt x="724" y="1013"/>
                  </a:lnTo>
                  <a:lnTo>
                    <a:pt x="727" y="1018"/>
                  </a:lnTo>
                  <a:lnTo>
                    <a:pt x="728" y="1022"/>
                  </a:lnTo>
                  <a:lnTo>
                    <a:pt x="728" y="1027"/>
                  </a:lnTo>
                  <a:lnTo>
                    <a:pt x="726" y="1032"/>
                  </a:lnTo>
                  <a:lnTo>
                    <a:pt x="724" y="1036"/>
                  </a:lnTo>
                  <a:lnTo>
                    <a:pt x="720" y="1036"/>
                  </a:lnTo>
                  <a:lnTo>
                    <a:pt x="716" y="1034"/>
                  </a:lnTo>
                  <a:lnTo>
                    <a:pt x="713" y="1035"/>
                  </a:lnTo>
                  <a:lnTo>
                    <a:pt x="712" y="1038"/>
                  </a:lnTo>
                  <a:lnTo>
                    <a:pt x="712" y="1040"/>
                  </a:lnTo>
                  <a:lnTo>
                    <a:pt x="713" y="1044"/>
                  </a:lnTo>
                  <a:lnTo>
                    <a:pt x="715" y="1046"/>
                  </a:lnTo>
                  <a:lnTo>
                    <a:pt x="719" y="1048"/>
                  </a:lnTo>
                  <a:lnTo>
                    <a:pt x="721" y="1050"/>
                  </a:lnTo>
                  <a:lnTo>
                    <a:pt x="722" y="1052"/>
                  </a:lnTo>
                  <a:lnTo>
                    <a:pt x="723" y="1051"/>
                  </a:lnTo>
                  <a:lnTo>
                    <a:pt x="724" y="1051"/>
                  </a:lnTo>
                  <a:lnTo>
                    <a:pt x="726" y="1051"/>
                  </a:lnTo>
                  <a:lnTo>
                    <a:pt x="727" y="1052"/>
                  </a:lnTo>
                  <a:lnTo>
                    <a:pt x="727" y="1049"/>
                  </a:lnTo>
                  <a:lnTo>
                    <a:pt x="730" y="1045"/>
                  </a:lnTo>
                  <a:lnTo>
                    <a:pt x="730" y="1042"/>
                  </a:lnTo>
                  <a:lnTo>
                    <a:pt x="731" y="1040"/>
                  </a:lnTo>
                  <a:lnTo>
                    <a:pt x="734" y="1039"/>
                  </a:lnTo>
                  <a:lnTo>
                    <a:pt x="737" y="1039"/>
                  </a:lnTo>
                  <a:lnTo>
                    <a:pt x="739" y="1040"/>
                  </a:lnTo>
                  <a:lnTo>
                    <a:pt x="751" y="1044"/>
                  </a:lnTo>
                  <a:lnTo>
                    <a:pt x="755" y="1044"/>
                  </a:lnTo>
                  <a:lnTo>
                    <a:pt x="754" y="1043"/>
                  </a:lnTo>
                  <a:lnTo>
                    <a:pt x="756" y="1043"/>
                  </a:lnTo>
                  <a:lnTo>
                    <a:pt x="757" y="1043"/>
                  </a:lnTo>
                  <a:lnTo>
                    <a:pt x="759" y="1043"/>
                  </a:lnTo>
                  <a:lnTo>
                    <a:pt x="761" y="1044"/>
                  </a:lnTo>
                  <a:lnTo>
                    <a:pt x="761" y="1046"/>
                  </a:lnTo>
                  <a:lnTo>
                    <a:pt x="765" y="1047"/>
                  </a:lnTo>
                  <a:lnTo>
                    <a:pt x="776" y="1053"/>
                  </a:lnTo>
                  <a:lnTo>
                    <a:pt x="783" y="1055"/>
                  </a:lnTo>
                  <a:lnTo>
                    <a:pt x="802" y="1070"/>
                  </a:lnTo>
                  <a:lnTo>
                    <a:pt x="806" y="1076"/>
                  </a:lnTo>
                  <a:lnTo>
                    <a:pt x="815" y="1094"/>
                  </a:lnTo>
                  <a:lnTo>
                    <a:pt x="816" y="1097"/>
                  </a:lnTo>
                  <a:lnTo>
                    <a:pt x="816" y="1101"/>
                  </a:lnTo>
                  <a:lnTo>
                    <a:pt x="817" y="1102"/>
                  </a:lnTo>
                  <a:lnTo>
                    <a:pt x="820" y="1107"/>
                  </a:lnTo>
                  <a:lnTo>
                    <a:pt x="821" y="1110"/>
                  </a:lnTo>
                  <a:lnTo>
                    <a:pt x="824" y="1112"/>
                  </a:lnTo>
                  <a:lnTo>
                    <a:pt x="826" y="1116"/>
                  </a:lnTo>
                  <a:lnTo>
                    <a:pt x="828" y="1120"/>
                  </a:lnTo>
                  <a:lnTo>
                    <a:pt x="829" y="1122"/>
                  </a:lnTo>
                  <a:lnTo>
                    <a:pt x="831" y="1122"/>
                  </a:lnTo>
                  <a:lnTo>
                    <a:pt x="843" y="1121"/>
                  </a:lnTo>
                  <a:lnTo>
                    <a:pt x="846" y="1123"/>
                  </a:lnTo>
                  <a:lnTo>
                    <a:pt x="849" y="1125"/>
                  </a:lnTo>
                  <a:lnTo>
                    <a:pt x="852" y="1127"/>
                  </a:lnTo>
                  <a:lnTo>
                    <a:pt x="854" y="1130"/>
                  </a:lnTo>
                  <a:lnTo>
                    <a:pt x="855" y="1131"/>
                  </a:lnTo>
                  <a:lnTo>
                    <a:pt x="860" y="1131"/>
                  </a:lnTo>
                  <a:lnTo>
                    <a:pt x="861" y="1133"/>
                  </a:lnTo>
                  <a:lnTo>
                    <a:pt x="861" y="1136"/>
                  </a:lnTo>
                  <a:lnTo>
                    <a:pt x="863" y="1137"/>
                  </a:lnTo>
                  <a:lnTo>
                    <a:pt x="864" y="1138"/>
                  </a:lnTo>
                  <a:lnTo>
                    <a:pt x="880" y="1150"/>
                  </a:lnTo>
                  <a:lnTo>
                    <a:pt x="883" y="1155"/>
                  </a:lnTo>
                  <a:lnTo>
                    <a:pt x="887" y="1162"/>
                  </a:lnTo>
                  <a:lnTo>
                    <a:pt x="889" y="1166"/>
                  </a:lnTo>
                  <a:lnTo>
                    <a:pt x="890" y="1170"/>
                  </a:lnTo>
                  <a:lnTo>
                    <a:pt x="890" y="1175"/>
                  </a:lnTo>
                  <a:lnTo>
                    <a:pt x="891" y="1179"/>
                  </a:lnTo>
                  <a:lnTo>
                    <a:pt x="892" y="1183"/>
                  </a:lnTo>
                  <a:lnTo>
                    <a:pt x="894" y="1186"/>
                  </a:lnTo>
                  <a:lnTo>
                    <a:pt x="896" y="1186"/>
                  </a:lnTo>
                  <a:lnTo>
                    <a:pt x="900" y="1187"/>
                  </a:lnTo>
                  <a:lnTo>
                    <a:pt x="902" y="1188"/>
                  </a:lnTo>
                  <a:lnTo>
                    <a:pt x="904" y="1189"/>
                  </a:lnTo>
                  <a:lnTo>
                    <a:pt x="908" y="1191"/>
                  </a:lnTo>
                  <a:lnTo>
                    <a:pt x="911" y="1193"/>
                  </a:lnTo>
                  <a:lnTo>
                    <a:pt x="927" y="1208"/>
                  </a:lnTo>
                  <a:lnTo>
                    <a:pt x="943" y="1226"/>
                  </a:lnTo>
                  <a:lnTo>
                    <a:pt x="955" y="1244"/>
                  </a:lnTo>
                  <a:lnTo>
                    <a:pt x="957" y="1247"/>
                  </a:lnTo>
                  <a:lnTo>
                    <a:pt x="958" y="1244"/>
                  </a:lnTo>
                  <a:lnTo>
                    <a:pt x="960" y="1243"/>
                  </a:lnTo>
                  <a:lnTo>
                    <a:pt x="964" y="1244"/>
                  </a:lnTo>
                  <a:lnTo>
                    <a:pt x="975" y="1252"/>
                  </a:lnTo>
                  <a:lnTo>
                    <a:pt x="977" y="1252"/>
                  </a:lnTo>
                  <a:lnTo>
                    <a:pt x="990" y="1253"/>
                  </a:lnTo>
                  <a:lnTo>
                    <a:pt x="993" y="1254"/>
                  </a:lnTo>
                  <a:lnTo>
                    <a:pt x="998" y="1257"/>
                  </a:lnTo>
                  <a:lnTo>
                    <a:pt x="1003" y="1261"/>
                  </a:lnTo>
                  <a:lnTo>
                    <a:pt x="1012" y="1271"/>
                  </a:lnTo>
                  <a:lnTo>
                    <a:pt x="1014" y="1274"/>
                  </a:lnTo>
                  <a:lnTo>
                    <a:pt x="1017" y="1281"/>
                  </a:lnTo>
                  <a:lnTo>
                    <a:pt x="1019" y="1283"/>
                  </a:lnTo>
                  <a:lnTo>
                    <a:pt x="1020" y="1287"/>
                  </a:lnTo>
                  <a:lnTo>
                    <a:pt x="1021" y="1290"/>
                  </a:lnTo>
                  <a:lnTo>
                    <a:pt x="1022" y="1293"/>
                  </a:lnTo>
                  <a:lnTo>
                    <a:pt x="1026" y="1294"/>
                  </a:lnTo>
                  <a:lnTo>
                    <a:pt x="1030" y="1293"/>
                  </a:lnTo>
                  <a:lnTo>
                    <a:pt x="1033" y="1288"/>
                  </a:lnTo>
                  <a:lnTo>
                    <a:pt x="1039" y="1286"/>
                  </a:lnTo>
                  <a:lnTo>
                    <a:pt x="1045" y="1282"/>
                  </a:lnTo>
                  <a:lnTo>
                    <a:pt x="1048" y="1281"/>
                  </a:lnTo>
                  <a:lnTo>
                    <a:pt x="1060" y="1279"/>
                  </a:lnTo>
                  <a:lnTo>
                    <a:pt x="1067" y="1279"/>
                  </a:lnTo>
                  <a:lnTo>
                    <a:pt x="1091" y="1291"/>
                  </a:lnTo>
                  <a:lnTo>
                    <a:pt x="1094" y="1294"/>
                  </a:lnTo>
                  <a:lnTo>
                    <a:pt x="1096" y="1294"/>
                  </a:lnTo>
                  <a:lnTo>
                    <a:pt x="1097" y="1292"/>
                  </a:lnTo>
                  <a:lnTo>
                    <a:pt x="1098" y="1293"/>
                  </a:lnTo>
                  <a:lnTo>
                    <a:pt x="1098" y="1296"/>
                  </a:lnTo>
                  <a:lnTo>
                    <a:pt x="1100" y="1297"/>
                  </a:lnTo>
                  <a:lnTo>
                    <a:pt x="1102" y="1297"/>
                  </a:lnTo>
                  <a:lnTo>
                    <a:pt x="1107" y="1297"/>
                  </a:lnTo>
                  <a:lnTo>
                    <a:pt x="1105" y="1291"/>
                  </a:lnTo>
                  <a:lnTo>
                    <a:pt x="1109" y="1288"/>
                  </a:lnTo>
                  <a:lnTo>
                    <a:pt x="1119" y="1286"/>
                  </a:lnTo>
                  <a:lnTo>
                    <a:pt x="1120" y="1288"/>
                  </a:lnTo>
                  <a:lnTo>
                    <a:pt x="1123" y="1288"/>
                  </a:lnTo>
                  <a:lnTo>
                    <a:pt x="1127" y="1287"/>
                  </a:lnTo>
                  <a:lnTo>
                    <a:pt x="1130" y="1288"/>
                  </a:lnTo>
                  <a:lnTo>
                    <a:pt x="1141" y="1297"/>
                  </a:lnTo>
                  <a:lnTo>
                    <a:pt x="1150" y="1310"/>
                  </a:lnTo>
                  <a:lnTo>
                    <a:pt x="1156" y="1319"/>
                  </a:lnTo>
                  <a:lnTo>
                    <a:pt x="1160" y="1327"/>
                  </a:lnTo>
                  <a:lnTo>
                    <a:pt x="1160" y="1329"/>
                  </a:lnTo>
                  <a:lnTo>
                    <a:pt x="1160" y="1334"/>
                  </a:lnTo>
                  <a:lnTo>
                    <a:pt x="1161" y="1336"/>
                  </a:lnTo>
                  <a:lnTo>
                    <a:pt x="1163" y="1338"/>
                  </a:lnTo>
                  <a:lnTo>
                    <a:pt x="1168" y="1341"/>
                  </a:lnTo>
                  <a:lnTo>
                    <a:pt x="1177" y="1357"/>
                  </a:lnTo>
                  <a:lnTo>
                    <a:pt x="1181" y="1367"/>
                  </a:lnTo>
                  <a:lnTo>
                    <a:pt x="1182" y="1375"/>
                  </a:lnTo>
                  <a:lnTo>
                    <a:pt x="1181" y="1383"/>
                  </a:lnTo>
                  <a:lnTo>
                    <a:pt x="1181" y="1385"/>
                  </a:lnTo>
                  <a:lnTo>
                    <a:pt x="1186" y="1385"/>
                  </a:lnTo>
                  <a:lnTo>
                    <a:pt x="1187" y="1386"/>
                  </a:lnTo>
                  <a:lnTo>
                    <a:pt x="1187" y="1383"/>
                  </a:lnTo>
                  <a:lnTo>
                    <a:pt x="1186" y="1380"/>
                  </a:lnTo>
                  <a:lnTo>
                    <a:pt x="1186" y="1378"/>
                  </a:lnTo>
                  <a:lnTo>
                    <a:pt x="1187" y="1376"/>
                  </a:lnTo>
                  <a:lnTo>
                    <a:pt x="1189" y="1375"/>
                  </a:lnTo>
                  <a:lnTo>
                    <a:pt x="1191" y="1376"/>
                  </a:lnTo>
                  <a:lnTo>
                    <a:pt x="1195" y="1379"/>
                  </a:lnTo>
                  <a:lnTo>
                    <a:pt x="1200" y="1379"/>
                  </a:lnTo>
                  <a:lnTo>
                    <a:pt x="1203" y="1382"/>
                  </a:lnTo>
                  <a:lnTo>
                    <a:pt x="1206" y="1382"/>
                  </a:lnTo>
                  <a:lnTo>
                    <a:pt x="1208" y="1378"/>
                  </a:lnTo>
                  <a:lnTo>
                    <a:pt x="1209" y="1376"/>
                  </a:lnTo>
                  <a:lnTo>
                    <a:pt x="1213" y="1375"/>
                  </a:lnTo>
                  <a:lnTo>
                    <a:pt x="1218" y="1374"/>
                  </a:lnTo>
                  <a:lnTo>
                    <a:pt x="1220" y="1375"/>
                  </a:lnTo>
                  <a:lnTo>
                    <a:pt x="1224" y="1377"/>
                  </a:lnTo>
                  <a:lnTo>
                    <a:pt x="1229" y="1383"/>
                  </a:lnTo>
                  <a:lnTo>
                    <a:pt x="1232" y="1387"/>
                  </a:lnTo>
                  <a:lnTo>
                    <a:pt x="1235" y="1388"/>
                  </a:lnTo>
                  <a:lnTo>
                    <a:pt x="1236" y="1391"/>
                  </a:lnTo>
                  <a:lnTo>
                    <a:pt x="1238" y="1392"/>
                  </a:lnTo>
                  <a:lnTo>
                    <a:pt x="1241" y="1393"/>
                  </a:lnTo>
                  <a:lnTo>
                    <a:pt x="1244" y="1392"/>
                  </a:lnTo>
                  <a:lnTo>
                    <a:pt x="1247" y="1394"/>
                  </a:lnTo>
                  <a:lnTo>
                    <a:pt x="1249" y="1397"/>
                  </a:lnTo>
                  <a:lnTo>
                    <a:pt x="1250" y="1401"/>
                  </a:lnTo>
                  <a:lnTo>
                    <a:pt x="1250" y="1404"/>
                  </a:lnTo>
                  <a:lnTo>
                    <a:pt x="1245" y="1406"/>
                  </a:lnTo>
                  <a:lnTo>
                    <a:pt x="1238" y="1413"/>
                  </a:lnTo>
                  <a:lnTo>
                    <a:pt x="1237" y="1415"/>
                  </a:lnTo>
                  <a:lnTo>
                    <a:pt x="1235" y="1417"/>
                  </a:lnTo>
                  <a:lnTo>
                    <a:pt x="1234" y="1417"/>
                  </a:lnTo>
                  <a:lnTo>
                    <a:pt x="1231" y="1418"/>
                  </a:lnTo>
                  <a:lnTo>
                    <a:pt x="1227" y="1419"/>
                  </a:lnTo>
                  <a:lnTo>
                    <a:pt x="1226" y="1423"/>
                  </a:lnTo>
                  <a:lnTo>
                    <a:pt x="1226" y="1428"/>
                  </a:lnTo>
                  <a:lnTo>
                    <a:pt x="1228" y="1430"/>
                  </a:lnTo>
                  <a:lnTo>
                    <a:pt x="1230" y="1428"/>
                  </a:lnTo>
                  <a:lnTo>
                    <a:pt x="1238" y="1424"/>
                  </a:lnTo>
                  <a:lnTo>
                    <a:pt x="1241" y="1421"/>
                  </a:lnTo>
                  <a:lnTo>
                    <a:pt x="1249" y="1419"/>
                  </a:lnTo>
                  <a:lnTo>
                    <a:pt x="1251" y="1418"/>
                  </a:lnTo>
                  <a:lnTo>
                    <a:pt x="1256" y="1420"/>
                  </a:lnTo>
                  <a:lnTo>
                    <a:pt x="1260" y="1421"/>
                  </a:lnTo>
                  <a:lnTo>
                    <a:pt x="1264" y="1421"/>
                  </a:lnTo>
                  <a:lnTo>
                    <a:pt x="1271" y="1415"/>
                  </a:lnTo>
                  <a:lnTo>
                    <a:pt x="1273" y="1414"/>
                  </a:lnTo>
                  <a:lnTo>
                    <a:pt x="1282" y="1414"/>
                  </a:lnTo>
                  <a:lnTo>
                    <a:pt x="1284" y="1414"/>
                  </a:lnTo>
                  <a:lnTo>
                    <a:pt x="1288" y="1410"/>
                  </a:lnTo>
                  <a:lnTo>
                    <a:pt x="1293" y="1408"/>
                  </a:lnTo>
                  <a:lnTo>
                    <a:pt x="1298" y="1410"/>
                  </a:lnTo>
                  <a:lnTo>
                    <a:pt x="1303" y="1413"/>
                  </a:lnTo>
                  <a:lnTo>
                    <a:pt x="1307" y="1418"/>
                  </a:lnTo>
                  <a:lnTo>
                    <a:pt x="1311" y="1423"/>
                  </a:lnTo>
                  <a:lnTo>
                    <a:pt x="1315" y="1430"/>
                  </a:lnTo>
                  <a:lnTo>
                    <a:pt x="1329" y="1459"/>
                  </a:lnTo>
                  <a:lnTo>
                    <a:pt x="1332" y="1466"/>
                  </a:lnTo>
                  <a:lnTo>
                    <a:pt x="1333" y="1473"/>
                  </a:lnTo>
                  <a:lnTo>
                    <a:pt x="1332" y="1474"/>
                  </a:lnTo>
                  <a:lnTo>
                    <a:pt x="1328" y="1476"/>
                  </a:lnTo>
                  <a:lnTo>
                    <a:pt x="1327" y="1477"/>
                  </a:lnTo>
                  <a:lnTo>
                    <a:pt x="1325" y="1478"/>
                  </a:lnTo>
                  <a:lnTo>
                    <a:pt x="1323" y="1479"/>
                  </a:lnTo>
                  <a:lnTo>
                    <a:pt x="1322" y="1480"/>
                  </a:lnTo>
                  <a:lnTo>
                    <a:pt x="1322" y="1482"/>
                  </a:lnTo>
                  <a:lnTo>
                    <a:pt x="1323" y="1485"/>
                  </a:lnTo>
                  <a:lnTo>
                    <a:pt x="1322" y="1490"/>
                  </a:lnTo>
                  <a:lnTo>
                    <a:pt x="1318" y="1495"/>
                  </a:lnTo>
                  <a:lnTo>
                    <a:pt x="1318" y="1499"/>
                  </a:lnTo>
                  <a:lnTo>
                    <a:pt x="1320" y="1499"/>
                  </a:lnTo>
                  <a:lnTo>
                    <a:pt x="1323" y="1502"/>
                  </a:lnTo>
                  <a:lnTo>
                    <a:pt x="1326" y="1501"/>
                  </a:lnTo>
                  <a:lnTo>
                    <a:pt x="1327" y="1502"/>
                  </a:lnTo>
                  <a:lnTo>
                    <a:pt x="1329" y="1503"/>
                  </a:lnTo>
                  <a:lnTo>
                    <a:pt x="1333" y="1505"/>
                  </a:lnTo>
                  <a:lnTo>
                    <a:pt x="1336" y="1508"/>
                  </a:lnTo>
                  <a:lnTo>
                    <a:pt x="1338" y="1512"/>
                  </a:lnTo>
                  <a:lnTo>
                    <a:pt x="1340" y="1514"/>
                  </a:lnTo>
                  <a:lnTo>
                    <a:pt x="1343" y="1514"/>
                  </a:lnTo>
                  <a:lnTo>
                    <a:pt x="1348" y="1513"/>
                  </a:lnTo>
                  <a:lnTo>
                    <a:pt x="1351" y="1512"/>
                  </a:lnTo>
                  <a:lnTo>
                    <a:pt x="1353" y="1514"/>
                  </a:lnTo>
                  <a:lnTo>
                    <a:pt x="1363" y="1524"/>
                  </a:lnTo>
                  <a:lnTo>
                    <a:pt x="1366" y="1526"/>
                  </a:lnTo>
                  <a:lnTo>
                    <a:pt x="1370" y="1528"/>
                  </a:lnTo>
                  <a:lnTo>
                    <a:pt x="1374" y="1533"/>
                  </a:lnTo>
                  <a:lnTo>
                    <a:pt x="1377" y="1539"/>
                  </a:lnTo>
                  <a:lnTo>
                    <a:pt x="1374" y="1541"/>
                  </a:lnTo>
                  <a:lnTo>
                    <a:pt x="1374" y="1543"/>
                  </a:lnTo>
                  <a:lnTo>
                    <a:pt x="1376" y="1543"/>
                  </a:lnTo>
                  <a:lnTo>
                    <a:pt x="1377" y="1542"/>
                  </a:lnTo>
                  <a:lnTo>
                    <a:pt x="1379" y="1542"/>
                  </a:lnTo>
                  <a:lnTo>
                    <a:pt x="1381" y="1541"/>
                  </a:lnTo>
                  <a:lnTo>
                    <a:pt x="1382" y="1542"/>
                  </a:lnTo>
                  <a:lnTo>
                    <a:pt x="1387" y="1548"/>
                  </a:lnTo>
                  <a:lnTo>
                    <a:pt x="1390" y="1549"/>
                  </a:lnTo>
                  <a:lnTo>
                    <a:pt x="1398" y="1550"/>
                  </a:lnTo>
                  <a:lnTo>
                    <a:pt x="1401" y="1549"/>
                  </a:lnTo>
                  <a:lnTo>
                    <a:pt x="1406" y="1543"/>
                  </a:lnTo>
                  <a:lnTo>
                    <a:pt x="1411" y="1539"/>
                  </a:lnTo>
                  <a:lnTo>
                    <a:pt x="1414" y="1535"/>
                  </a:lnTo>
                  <a:lnTo>
                    <a:pt x="1417" y="1533"/>
                  </a:lnTo>
                  <a:lnTo>
                    <a:pt x="1430" y="1534"/>
                  </a:lnTo>
                  <a:lnTo>
                    <a:pt x="1432" y="1533"/>
                  </a:lnTo>
                  <a:lnTo>
                    <a:pt x="1432" y="1535"/>
                  </a:lnTo>
                  <a:lnTo>
                    <a:pt x="1433" y="1537"/>
                  </a:lnTo>
                  <a:lnTo>
                    <a:pt x="1436" y="1540"/>
                  </a:lnTo>
                  <a:lnTo>
                    <a:pt x="1440" y="1547"/>
                  </a:lnTo>
                  <a:lnTo>
                    <a:pt x="1446" y="1553"/>
                  </a:lnTo>
                  <a:lnTo>
                    <a:pt x="1448" y="1556"/>
                  </a:lnTo>
                  <a:lnTo>
                    <a:pt x="1449" y="1560"/>
                  </a:lnTo>
                  <a:lnTo>
                    <a:pt x="1450" y="1563"/>
                  </a:lnTo>
                  <a:lnTo>
                    <a:pt x="1455" y="1571"/>
                  </a:lnTo>
                  <a:lnTo>
                    <a:pt x="1457" y="1576"/>
                  </a:lnTo>
                  <a:lnTo>
                    <a:pt x="1455" y="1584"/>
                  </a:lnTo>
                  <a:lnTo>
                    <a:pt x="1455" y="1585"/>
                  </a:lnTo>
                  <a:lnTo>
                    <a:pt x="1456" y="1586"/>
                  </a:lnTo>
                  <a:lnTo>
                    <a:pt x="1457" y="1588"/>
                  </a:lnTo>
                  <a:lnTo>
                    <a:pt x="1458" y="1592"/>
                  </a:lnTo>
                  <a:lnTo>
                    <a:pt x="1458" y="1591"/>
                  </a:lnTo>
                  <a:lnTo>
                    <a:pt x="1461" y="1611"/>
                  </a:lnTo>
                  <a:lnTo>
                    <a:pt x="1462" y="1615"/>
                  </a:lnTo>
                  <a:lnTo>
                    <a:pt x="1465" y="1620"/>
                  </a:lnTo>
                  <a:lnTo>
                    <a:pt x="1468" y="1628"/>
                  </a:lnTo>
                  <a:lnTo>
                    <a:pt x="1469" y="1633"/>
                  </a:lnTo>
                  <a:lnTo>
                    <a:pt x="1470" y="1639"/>
                  </a:lnTo>
                  <a:lnTo>
                    <a:pt x="1472" y="1641"/>
                  </a:lnTo>
                  <a:lnTo>
                    <a:pt x="1476" y="1644"/>
                  </a:lnTo>
                  <a:lnTo>
                    <a:pt x="1481" y="1649"/>
                  </a:lnTo>
                  <a:lnTo>
                    <a:pt x="1485" y="1656"/>
                  </a:lnTo>
                  <a:lnTo>
                    <a:pt x="1491" y="1664"/>
                  </a:lnTo>
                  <a:lnTo>
                    <a:pt x="1497" y="1683"/>
                  </a:lnTo>
                  <a:lnTo>
                    <a:pt x="1498" y="1690"/>
                  </a:lnTo>
                  <a:lnTo>
                    <a:pt x="1504" y="1738"/>
                  </a:lnTo>
                  <a:lnTo>
                    <a:pt x="1514" y="1759"/>
                  </a:lnTo>
                  <a:lnTo>
                    <a:pt x="1516" y="1763"/>
                  </a:lnTo>
                  <a:lnTo>
                    <a:pt x="1518" y="1764"/>
                  </a:lnTo>
                  <a:lnTo>
                    <a:pt x="1522" y="1765"/>
                  </a:lnTo>
                  <a:lnTo>
                    <a:pt x="1524" y="1767"/>
                  </a:lnTo>
                  <a:lnTo>
                    <a:pt x="1525" y="1770"/>
                  </a:lnTo>
                  <a:lnTo>
                    <a:pt x="1526" y="1774"/>
                  </a:lnTo>
                  <a:lnTo>
                    <a:pt x="1527" y="1783"/>
                  </a:lnTo>
                  <a:lnTo>
                    <a:pt x="1525" y="1791"/>
                  </a:lnTo>
                  <a:lnTo>
                    <a:pt x="1523" y="1799"/>
                  </a:lnTo>
                  <a:lnTo>
                    <a:pt x="1520" y="1805"/>
                  </a:lnTo>
                  <a:lnTo>
                    <a:pt x="1516" y="1808"/>
                  </a:lnTo>
                  <a:lnTo>
                    <a:pt x="1513" y="1810"/>
                  </a:lnTo>
                  <a:lnTo>
                    <a:pt x="1511" y="1810"/>
                  </a:lnTo>
                  <a:lnTo>
                    <a:pt x="1499" y="1809"/>
                  </a:lnTo>
                  <a:lnTo>
                    <a:pt x="1492" y="1809"/>
                  </a:lnTo>
                  <a:lnTo>
                    <a:pt x="1486" y="1812"/>
                  </a:lnTo>
                  <a:lnTo>
                    <a:pt x="1476" y="1819"/>
                  </a:lnTo>
                  <a:lnTo>
                    <a:pt x="1470" y="1821"/>
                  </a:lnTo>
                  <a:lnTo>
                    <a:pt x="1467" y="1823"/>
                  </a:lnTo>
                  <a:lnTo>
                    <a:pt x="1465" y="1825"/>
                  </a:lnTo>
                  <a:lnTo>
                    <a:pt x="1465" y="1827"/>
                  </a:lnTo>
                  <a:lnTo>
                    <a:pt x="1465" y="1828"/>
                  </a:lnTo>
                  <a:lnTo>
                    <a:pt x="1465" y="1829"/>
                  </a:lnTo>
                  <a:lnTo>
                    <a:pt x="1467" y="1831"/>
                  </a:lnTo>
                  <a:lnTo>
                    <a:pt x="1468" y="1832"/>
                  </a:lnTo>
                  <a:lnTo>
                    <a:pt x="1470" y="1833"/>
                  </a:lnTo>
                  <a:lnTo>
                    <a:pt x="1471" y="1834"/>
                  </a:lnTo>
                  <a:lnTo>
                    <a:pt x="1475" y="1839"/>
                  </a:lnTo>
                  <a:lnTo>
                    <a:pt x="1478" y="1845"/>
                  </a:lnTo>
                  <a:lnTo>
                    <a:pt x="1478" y="1852"/>
                  </a:lnTo>
                  <a:lnTo>
                    <a:pt x="1476" y="1860"/>
                  </a:lnTo>
                  <a:lnTo>
                    <a:pt x="1464" y="1885"/>
                  </a:lnTo>
                  <a:lnTo>
                    <a:pt x="1462" y="1894"/>
                  </a:lnTo>
                  <a:lnTo>
                    <a:pt x="1462" y="1895"/>
                  </a:lnTo>
                  <a:lnTo>
                    <a:pt x="1460" y="1897"/>
                  </a:lnTo>
                  <a:lnTo>
                    <a:pt x="1459" y="1898"/>
                  </a:lnTo>
                  <a:lnTo>
                    <a:pt x="1457" y="1900"/>
                  </a:lnTo>
                  <a:lnTo>
                    <a:pt x="1441" y="1905"/>
                  </a:lnTo>
                  <a:lnTo>
                    <a:pt x="1436" y="1907"/>
                  </a:lnTo>
                  <a:lnTo>
                    <a:pt x="1433" y="1911"/>
                  </a:lnTo>
                  <a:lnTo>
                    <a:pt x="1434" y="1918"/>
                  </a:lnTo>
                  <a:lnTo>
                    <a:pt x="1435" y="1923"/>
                  </a:lnTo>
                  <a:lnTo>
                    <a:pt x="1435" y="1927"/>
                  </a:lnTo>
                  <a:lnTo>
                    <a:pt x="1435" y="1930"/>
                  </a:lnTo>
                  <a:lnTo>
                    <a:pt x="1432" y="1934"/>
                  </a:lnTo>
                  <a:lnTo>
                    <a:pt x="1432" y="1937"/>
                  </a:lnTo>
                  <a:lnTo>
                    <a:pt x="1433" y="1941"/>
                  </a:lnTo>
                  <a:lnTo>
                    <a:pt x="1437" y="1947"/>
                  </a:lnTo>
                  <a:lnTo>
                    <a:pt x="1434" y="1950"/>
                  </a:lnTo>
                  <a:lnTo>
                    <a:pt x="1433" y="1954"/>
                  </a:lnTo>
                  <a:lnTo>
                    <a:pt x="1435" y="1958"/>
                  </a:lnTo>
                  <a:lnTo>
                    <a:pt x="1438" y="1962"/>
                  </a:lnTo>
                  <a:lnTo>
                    <a:pt x="1441" y="1965"/>
                  </a:lnTo>
                  <a:lnTo>
                    <a:pt x="1445" y="1967"/>
                  </a:lnTo>
                  <a:lnTo>
                    <a:pt x="1449" y="1969"/>
                  </a:lnTo>
                  <a:lnTo>
                    <a:pt x="1454" y="1971"/>
                  </a:lnTo>
                  <a:lnTo>
                    <a:pt x="1482" y="1969"/>
                  </a:lnTo>
                  <a:lnTo>
                    <a:pt x="1492" y="1972"/>
                  </a:lnTo>
                  <a:lnTo>
                    <a:pt x="1494" y="1971"/>
                  </a:lnTo>
                  <a:lnTo>
                    <a:pt x="1501" y="1969"/>
                  </a:lnTo>
                  <a:lnTo>
                    <a:pt x="1504" y="1968"/>
                  </a:lnTo>
                  <a:lnTo>
                    <a:pt x="1506" y="1966"/>
                  </a:lnTo>
                  <a:lnTo>
                    <a:pt x="1508" y="1963"/>
                  </a:lnTo>
                  <a:lnTo>
                    <a:pt x="1509" y="1961"/>
                  </a:lnTo>
                  <a:lnTo>
                    <a:pt x="1511" y="1955"/>
                  </a:lnTo>
                  <a:lnTo>
                    <a:pt x="1515" y="1933"/>
                  </a:lnTo>
                  <a:lnTo>
                    <a:pt x="1518" y="1927"/>
                  </a:lnTo>
                  <a:lnTo>
                    <a:pt x="1540" y="1900"/>
                  </a:lnTo>
                  <a:lnTo>
                    <a:pt x="1545" y="1895"/>
                  </a:lnTo>
                  <a:lnTo>
                    <a:pt x="1560" y="1887"/>
                  </a:lnTo>
                  <a:lnTo>
                    <a:pt x="1566" y="1885"/>
                  </a:lnTo>
                  <a:lnTo>
                    <a:pt x="1570" y="1881"/>
                  </a:lnTo>
                  <a:lnTo>
                    <a:pt x="1572" y="1881"/>
                  </a:lnTo>
                  <a:lnTo>
                    <a:pt x="1574" y="1878"/>
                  </a:lnTo>
                  <a:lnTo>
                    <a:pt x="1581" y="1872"/>
                  </a:lnTo>
                  <a:lnTo>
                    <a:pt x="1582" y="1869"/>
                  </a:lnTo>
                  <a:lnTo>
                    <a:pt x="1583" y="1854"/>
                  </a:lnTo>
                  <a:lnTo>
                    <a:pt x="1583" y="1849"/>
                  </a:lnTo>
                  <a:lnTo>
                    <a:pt x="1580" y="1835"/>
                  </a:lnTo>
                  <a:lnTo>
                    <a:pt x="1578" y="1820"/>
                  </a:lnTo>
                  <a:lnTo>
                    <a:pt x="1578" y="1816"/>
                  </a:lnTo>
                  <a:lnTo>
                    <a:pt x="1578" y="1816"/>
                  </a:lnTo>
                  <a:lnTo>
                    <a:pt x="1576" y="1815"/>
                  </a:lnTo>
                  <a:lnTo>
                    <a:pt x="1577" y="1810"/>
                  </a:lnTo>
                  <a:lnTo>
                    <a:pt x="1579" y="1806"/>
                  </a:lnTo>
                  <a:lnTo>
                    <a:pt x="1581" y="1803"/>
                  </a:lnTo>
                  <a:lnTo>
                    <a:pt x="1582" y="1797"/>
                  </a:lnTo>
                  <a:lnTo>
                    <a:pt x="1584" y="1795"/>
                  </a:lnTo>
                  <a:lnTo>
                    <a:pt x="1588" y="1791"/>
                  </a:lnTo>
                  <a:lnTo>
                    <a:pt x="1598" y="1786"/>
                  </a:lnTo>
                  <a:lnTo>
                    <a:pt x="1599" y="1785"/>
                  </a:lnTo>
                  <a:lnTo>
                    <a:pt x="1601" y="1783"/>
                  </a:lnTo>
                  <a:lnTo>
                    <a:pt x="1607" y="1778"/>
                  </a:lnTo>
                  <a:lnTo>
                    <a:pt x="1625" y="1770"/>
                  </a:lnTo>
                  <a:lnTo>
                    <a:pt x="1640" y="1766"/>
                  </a:lnTo>
                  <a:lnTo>
                    <a:pt x="1643" y="1766"/>
                  </a:lnTo>
                  <a:lnTo>
                    <a:pt x="1647" y="1766"/>
                  </a:lnTo>
                  <a:lnTo>
                    <a:pt x="1650" y="1768"/>
                  </a:lnTo>
                  <a:lnTo>
                    <a:pt x="1654" y="1773"/>
                  </a:lnTo>
                  <a:lnTo>
                    <a:pt x="1657" y="1771"/>
                  </a:lnTo>
                  <a:lnTo>
                    <a:pt x="1661" y="1769"/>
                  </a:lnTo>
                  <a:lnTo>
                    <a:pt x="1665" y="1770"/>
                  </a:lnTo>
                  <a:lnTo>
                    <a:pt x="1667" y="1774"/>
                  </a:lnTo>
                  <a:lnTo>
                    <a:pt x="1669" y="1770"/>
                  </a:lnTo>
                  <a:lnTo>
                    <a:pt x="1670" y="1768"/>
                  </a:lnTo>
                  <a:lnTo>
                    <a:pt x="1671" y="1767"/>
                  </a:lnTo>
                  <a:lnTo>
                    <a:pt x="1672" y="1766"/>
                  </a:lnTo>
                  <a:lnTo>
                    <a:pt x="1677" y="1762"/>
                  </a:lnTo>
                  <a:lnTo>
                    <a:pt x="1677" y="1761"/>
                  </a:lnTo>
                  <a:lnTo>
                    <a:pt x="1677" y="1752"/>
                  </a:lnTo>
                  <a:lnTo>
                    <a:pt x="1678" y="1751"/>
                  </a:lnTo>
                  <a:lnTo>
                    <a:pt x="1680" y="1750"/>
                  </a:lnTo>
                  <a:lnTo>
                    <a:pt x="1683" y="1748"/>
                  </a:lnTo>
                  <a:lnTo>
                    <a:pt x="1681" y="1747"/>
                  </a:lnTo>
                  <a:lnTo>
                    <a:pt x="1675" y="1745"/>
                  </a:lnTo>
                  <a:lnTo>
                    <a:pt x="1674" y="1744"/>
                  </a:lnTo>
                  <a:lnTo>
                    <a:pt x="1674" y="1742"/>
                  </a:lnTo>
                  <a:lnTo>
                    <a:pt x="1670" y="1735"/>
                  </a:lnTo>
                  <a:lnTo>
                    <a:pt x="1670" y="1729"/>
                  </a:lnTo>
                  <a:lnTo>
                    <a:pt x="1672" y="1717"/>
                  </a:lnTo>
                  <a:lnTo>
                    <a:pt x="1673" y="1711"/>
                  </a:lnTo>
                  <a:lnTo>
                    <a:pt x="1673" y="1708"/>
                  </a:lnTo>
                  <a:lnTo>
                    <a:pt x="1670" y="1704"/>
                  </a:lnTo>
                  <a:lnTo>
                    <a:pt x="1669" y="1702"/>
                  </a:lnTo>
                  <a:lnTo>
                    <a:pt x="1668" y="1699"/>
                  </a:lnTo>
                  <a:lnTo>
                    <a:pt x="1668" y="1696"/>
                  </a:lnTo>
                  <a:lnTo>
                    <a:pt x="1670" y="1685"/>
                  </a:lnTo>
                  <a:lnTo>
                    <a:pt x="1675" y="1671"/>
                  </a:lnTo>
                  <a:lnTo>
                    <a:pt x="1670" y="1670"/>
                  </a:lnTo>
                  <a:lnTo>
                    <a:pt x="1664" y="1667"/>
                  </a:lnTo>
                  <a:lnTo>
                    <a:pt x="1659" y="1663"/>
                  </a:lnTo>
                  <a:lnTo>
                    <a:pt x="1656" y="1659"/>
                  </a:lnTo>
                  <a:lnTo>
                    <a:pt x="1654" y="1657"/>
                  </a:lnTo>
                  <a:lnTo>
                    <a:pt x="1652" y="1654"/>
                  </a:lnTo>
                  <a:lnTo>
                    <a:pt x="1649" y="1653"/>
                  </a:lnTo>
                  <a:lnTo>
                    <a:pt x="1645" y="1653"/>
                  </a:lnTo>
                  <a:lnTo>
                    <a:pt x="1643" y="1652"/>
                  </a:lnTo>
                  <a:lnTo>
                    <a:pt x="1635" y="1645"/>
                  </a:lnTo>
                  <a:lnTo>
                    <a:pt x="1626" y="1641"/>
                  </a:lnTo>
                  <a:lnTo>
                    <a:pt x="1624" y="1639"/>
                  </a:lnTo>
                  <a:lnTo>
                    <a:pt x="1623" y="1636"/>
                  </a:lnTo>
                  <a:lnTo>
                    <a:pt x="1621" y="1633"/>
                  </a:lnTo>
                  <a:lnTo>
                    <a:pt x="1618" y="1630"/>
                  </a:lnTo>
                  <a:lnTo>
                    <a:pt x="1616" y="1629"/>
                  </a:lnTo>
                  <a:lnTo>
                    <a:pt x="1610" y="1627"/>
                  </a:lnTo>
                  <a:lnTo>
                    <a:pt x="1591" y="1626"/>
                  </a:lnTo>
                  <a:lnTo>
                    <a:pt x="1585" y="1624"/>
                  </a:lnTo>
                  <a:lnTo>
                    <a:pt x="1578" y="1619"/>
                  </a:lnTo>
                  <a:lnTo>
                    <a:pt x="1573" y="1613"/>
                  </a:lnTo>
                  <a:lnTo>
                    <a:pt x="1575" y="1608"/>
                  </a:lnTo>
                  <a:lnTo>
                    <a:pt x="1575" y="1606"/>
                  </a:lnTo>
                  <a:lnTo>
                    <a:pt x="1571" y="1601"/>
                  </a:lnTo>
                  <a:lnTo>
                    <a:pt x="1569" y="1595"/>
                  </a:lnTo>
                  <a:lnTo>
                    <a:pt x="1569" y="1589"/>
                  </a:lnTo>
                  <a:lnTo>
                    <a:pt x="1572" y="1582"/>
                  </a:lnTo>
                  <a:lnTo>
                    <a:pt x="1577" y="1572"/>
                  </a:lnTo>
                  <a:lnTo>
                    <a:pt x="1585" y="1565"/>
                  </a:lnTo>
                  <a:lnTo>
                    <a:pt x="1587" y="1561"/>
                  </a:lnTo>
                  <a:lnTo>
                    <a:pt x="1590" y="1558"/>
                  </a:lnTo>
                  <a:lnTo>
                    <a:pt x="1592" y="1556"/>
                  </a:lnTo>
                  <a:lnTo>
                    <a:pt x="1589" y="1549"/>
                  </a:lnTo>
                  <a:lnTo>
                    <a:pt x="1587" y="1542"/>
                  </a:lnTo>
                  <a:lnTo>
                    <a:pt x="1586" y="1539"/>
                  </a:lnTo>
                  <a:lnTo>
                    <a:pt x="1587" y="1531"/>
                  </a:lnTo>
                  <a:lnTo>
                    <a:pt x="1591" y="1527"/>
                  </a:lnTo>
                  <a:lnTo>
                    <a:pt x="1593" y="1524"/>
                  </a:lnTo>
                  <a:lnTo>
                    <a:pt x="1599" y="1518"/>
                  </a:lnTo>
                  <a:lnTo>
                    <a:pt x="1605" y="1509"/>
                  </a:lnTo>
                  <a:lnTo>
                    <a:pt x="1607" y="1507"/>
                  </a:lnTo>
                  <a:lnTo>
                    <a:pt x="1608" y="1505"/>
                  </a:lnTo>
                  <a:lnTo>
                    <a:pt x="1612" y="1493"/>
                  </a:lnTo>
                  <a:lnTo>
                    <a:pt x="1616" y="1486"/>
                  </a:lnTo>
                  <a:lnTo>
                    <a:pt x="1628" y="1468"/>
                  </a:lnTo>
                  <a:lnTo>
                    <a:pt x="1636" y="1457"/>
                  </a:lnTo>
                  <a:lnTo>
                    <a:pt x="1646" y="1447"/>
                  </a:lnTo>
                  <a:lnTo>
                    <a:pt x="1658" y="1441"/>
                  </a:lnTo>
                  <a:lnTo>
                    <a:pt x="1670" y="1442"/>
                  </a:lnTo>
                  <a:lnTo>
                    <a:pt x="1671" y="1443"/>
                  </a:lnTo>
                  <a:lnTo>
                    <a:pt x="1675" y="1443"/>
                  </a:lnTo>
                  <a:lnTo>
                    <a:pt x="1676" y="1443"/>
                  </a:lnTo>
                  <a:lnTo>
                    <a:pt x="1677" y="1445"/>
                  </a:lnTo>
                  <a:lnTo>
                    <a:pt x="1678" y="1447"/>
                  </a:lnTo>
                  <a:lnTo>
                    <a:pt x="1679" y="1448"/>
                  </a:lnTo>
                  <a:lnTo>
                    <a:pt x="1680" y="1449"/>
                  </a:lnTo>
                  <a:lnTo>
                    <a:pt x="1684" y="1448"/>
                  </a:lnTo>
                  <a:lnTo>
                    <a:pt x="1686" y="1446"/>
                  </a:lnTo>
                  <a:lnTo>
                    <a:pt x="1689" y="1444"/>
                  </a:lnTo>
                  <a:lnTo>
                    <a:pt x="1693" y="1446"/>
                  </a:lnTo>
                  <a:lnTo>
                    <a:pt x="1692" y="1447"/>
                  </a:lnTo>
                  <a:lnTo>
                    <a:pt x="1692" y="1448"/>
                  </a:lnTo>
                  <a:lnTo>
                    <a:pt x="1698" y="1445"/>
                  </a:lnTo>
                  <a:lnTo>
                    <a:pt x="1701" y="1445"/>
                  </a:lnTo>
                  <a:lnTo>
                    <a:pt x="1700" y="1449"/>
                  </a:lnTo>
                  <a:lnTo>
                    <a:pt x="1697" y="1451"/>
                  </a:lnTo>
                  <a:lnTo>
                    <a:pt x="1689" y="1449"/>
                  </a:lnTo>
                  <a:lnTo>
                    <a:pt x="1686" y="1450"/>
                  </a:lnTo>
                  <a:lnTo>
                    <a:pt x="1689" y="1454"/>
                  </a:lnTo>
                  <a:lnTo>
                    <a:pt x="1689" y="1457"/>
                  </a:lnTo>
                  <a:lnTo>
                    <a:pt x="1685" y="1460"/>
                  </a:lnTo>
                  <a:lnTo>
                    <a:pt x="1682" y="1462"/>
                  </a:lnTo>
                  <a:lnTo>
                    <a:pt x="1684" y="1465"/>
                  </a:lnTo>
                  <a:lnTo>
                    <a:pt x="1688" y="1467"/>
                  </a:lnTo>
                  <a:lnTo>
                    <a:pt x="1697" y="1470"/>
                  </a:lnTo>
                  <a:lnTo>
                    <a:pt x="1706" y="1475"/>
                  </a:lnTo>
                  <a:lnTo>
                    <a:pt x="1709" y="1476"/>
                  </a:lnTo>
                  <a:lnTo>
                    <a:pt x="1709" y="1477"/>
                  </a:lnTo>
                  <a:lnTo>
                    <a:pt x="1712" y="1479"/>
                  </a:lnTo>
                  <a:lnTo>
                    <a:pt x="1714" y="1480"/>
                  </a:lnTo>
                  <a:lnTo>
                    <a:pt x="1715" y="1480"/>
                  </a:lnTo>
                  <a:lnTo>
                    <a:pt x="1719" y="1480"/>
                  </a:lnTo>
                  <a:lnTo>
                    <a:pt x="1720" y="1480"/>
                  </a:lnTo>
                  <a:lnTo>
                    <a:pt x="1729" y="1485"/>
                  </a:lnTo>
                  <a:lnTo>
                    <a:pt x="1731" y="1486"/>
                  </a:lnTo>
                  <a:lnTo>
                    <a:pt x="1785" y="1489"/>
                  </a:lnTo>
                  <a:lnTo>
                    <a:pt x="1787" y="1490"/>
                  </a:lnTo>
                  <a:lnTo>
                    <a:pt x="1795" y="1496"/>
                  </a:lnTo>
                  <a:lnTo>
                    <a:pt x="1795" y="1497"/>
                  </a:lnTo>
                  <a:lnTo>
                    <a:pt x="1793" y="1497"/>
                  </a:lnTo>
                  <a:lnTo>
                    <a:pt x="1795" y="1499"/>
                  </a:lnTo>
                  <a:lnTo>
                    <a:pt x="1796" y="1502"/>
                  </a:lnTo>
                  <a:lnTo>
                    <a:pt x="1796" y="1505"/>
                  </a:lnTo>
                  <a:lnTo>
                    <a:pt x="1796" y="1509"/>
                  </a:lnTo>
                  <a:lnTo>
                    <a:pt x="1797" y="1512"/>
                  </a:lnTo>
                  <a:lnTo>
                    <a:pt x="1799" y="1515"/>
                  </a:lnTo>
                  <a:lnTo>
                    <a:pt x="1804" y="1518"/>
                  </a:lnTo>
                  <a:lnTo>
                    <a:pt x="1808" y="1524"/>
                  </a:lnTo>
                  <a:lnTo>
                    <a:pt x="1811" y="1529"/>
                  </a:lnTo>
                  <a:lnTo>
                    <a:pt x="1809" y="1533"/>
                  </a:lnTo>
                  <a:lnTo>
                    <a:pt x="1804" y="1537"/>
                  </a:lnTo>
                  <a:lnTo>
                    <a:pt x="1805" y="1538"/>
                  </a:lnTo>
                  <a:lnTo>
                    <a:pt x="1810" y="1539"/>
                  </a:lnTo>
                  <a:lnTo>
                    <a:pt x="1811" y="1541"/>
                  </a:lnTo>
                  <a:lnTo>
                    <a:pt x="1812" y="1544"/>
                  </a:lnTo>
                  <a:lnTo>
                    <a:pt x="1812" y="1546"/>
                  </a:lnTo>
                  <a:lnTo>
                    <a:pt x="1811" y="1548"/>
                  </a:lnTo>
                  <a:lnTo>
                    <a:pt x="1808" y="1548"/>
                  </a:lnTo>
                  <a:lnTo>
                    <a:pt x="1808" y="1550"/>
                  </a:lnTo>
                  <a:lnTo>
                    <a:pt x="1810" y="1551"/>
                  </a:lnTo>
                  <a:lnTo>
                    <a:pt x="1820" y="1567"/>
                  </a:lnTo>
                  <a:lnTo>
                    <a:pt x="1822" y="1568"/>
                  </a:lnTo>
                  <a:lnTo>
                    <a:pt x="1824" y="1569"/>
                  </a:lnTo>
                  <a:lnTo>
                    <a:pt x="1830" y="1573"/>
                  </a:lnTo>
                  <a:lnTo>
                    <a:pt x="1835" y="1577"/>
                  </a:lnTo>
                  <a:lnTo>
                    <a:pt x="1838" y="1579"/>
                  </a:lnTo>
                  <a:lnTo>
                    <a:pt x="1842" y="1582"/>
                  </a:lnTo>
                  <a:lnTo>
                    <a:pt x="1845" y="1582"/>
                  </a:lnTo>
                  <a:lnTo>
                    <a:pt x="1851" y="1582"/>
                  </a:lnTo>
                  <a:lnTo>
                    <a:pt x="1854" y="1583"/>
                  </a:lnTo>
                  <a:lnTo>
                    <a:pt x="1861" y="1589"/>
                  </a:lnTo>
                  <a:lnTo>
                    <a:pt x="1863" y="1590"/>
                  </a:lnTo>
                  <a:lnTo>
                    <a:pt x="1864" y="1590"/>
                  </a:lnTo>
                  <a:lnTo>
                    <a:pt x="1867" y="1591"/>
                  </a:lnTo>
                  <a:lnTo>
                    <a:pt x="1868" y="1590"/>
                  </a:lnTo>
                  <a:lnTo>
                    <a:pt x="1870" y="1587"/>
                  </a:lnTo>
                  <a:lnTo>
                    <a:pt x="1870" y="1586"/>
                  </a:lnTo>
                  <a:lnTo>
                    <a:pt x="1870" y="1585"/>
                  </a:lnTo>
                  <a:lnTo>
                    <a:pt x="1872" y="1574"/>
                  </a:lnTo>
                  <a:lnTo>
                    <a:pt x="1872" y="1571"/>
                  </a:lnTo>
                  <a:lnTo>
                    <a:pt x="1871" y="1566"/>
                  </a:lnTo>
                  <a:lnTo>
                    <a:pt x="1871" y="1564"/>
                  </a:lnTo>
                  <a:lnTo>
                    <a:pt x="1873" y="1560"/>
                  </a:lnTo>
                  <a:lnTo>
                    <a:pt x="1874" y="1555"/>
                  </a:lnTo>
                  <a:lnTo>
                    <a:pt x="1874" y="1553"/>
                  </a:lnTo>
                  <a:lnTo>
                    <a:pt x="1878" y="1544"/>
                  </a:lnTo>
                  <a:lnTo>
                    <a:pt x="1884" y="1540"/>
                  </a:lnTo>
                  <a:lnTo>
                    <a:pt x="1885" y="1537"/>
                  </a:lnTo>
                  <a:lnTo>
                    <a:pt x="1887" y="1531"/>
                  </a:lnTo>
                  <a:lnTo>
                    <a:pt x="1890" y="1529"/>
                  </a:lnTo>
                  <a:lnTo>
                    <a:pt x="1891" y="1527"/>
                  </a:lnTo>
                  <a:lnTo>
                    <a:pt x="1891" y="1525"/>
                  </a:lnTo>
                  <a:lnTo>
                    <a:pt x="1890" y="1524"/>
                  </a:lnTo>
                  <a:close/>
                  <a:moveTo>
                    <a:pt x="934" y="710"/>
                  </a:moveTo>
                  <a:lnTo>
                    <a:pt x="933" y="713"/>
                  </a:lnTo>
                  <a:lnTo>
                    <a:pt x="933" y="713"/>
                  </a:lnTo>
                  <a:lnTo>
                    <a:pt x="932" y="713"/>
                  </a:lnTo>
                  <a:lnTo>
                    <a:pt x="932" y="714"/>
                  </a:lnTo>
                  <a:lnTo>
                    <a:pt x="932" y="715"/>
                  </a:lnTo>
                  <a:lnTo>
                    <a:pt x="932" y="715"/>
                  </a:lnTo>
                  <a:lnTo>
                    <a:pt x="930" y="720"/>
                  </a:lnTo>
                  <a:lnTo>
                    <a:pt x="925" y="721"/>
                  </a:lnTo>
                  <a:lnTo>
                    <a:pt x="920" y="718"/>
                  </a:lnTo>
                  <a:lnTo>
                    <a:pt x="918" y="714"/>
                  </a:lnTo>
                  <a:lnTo>
                    <a:pt x="919" y="708"/>
                  </a:lnTo>
                  <a:lnTo>
                    <a:pt x="922" y="706"/>
                  </a:lnTo>
                  <a:lnTo>
                    <a:pt x="923" y="704"/>
                  </a:lnTo>
                  <a:lnTo>
                    <a:pt x="928" y="702"/>
                  </a:lnTo>
                  <a:lnTo>
                    <a:pt x="933" y="701"/>
                  </a:lnTo>
                  <a:lnTo>
                    <a:pt x="934" y="703"/>
                  </a:lnTo>
                  <a:lnTo>
                    <a:pt x="935" y="707"/>
                  </a:lnTo>
                  <a:lnTo>
                    <a:pt x="934" y="710"/>
                  </a:lnTo>
                  <a:close/>
                  <a:moveTo>
                    <a:pt x="912" y="378"/>
                  </a:moveTo>
                  <a:lnTo>
                    <a:pt x="914" y="377"/>
                  </a:lnTo>
                  <a:lnTo>
                    <a:pt x="914" y="374"/>
                  </a:lnTo>
                  <a:lnTo>
                    <a:pt x="912" y="372"/>
                  </a:lnTo>
                  <a:lnTo>
                    <a:pt x="909" y="372"/>
                  </a:lnTo>
                  <a:lnTo>
                    <a:pt x="907" y="376"/>
                  </a:lnTo>
                  <a:lnTo>
                    <a:pt x="907" y="379"/>
                  </a:lnTo>
                  <a:lnTo>
                    <a:pt x="910" y="379"/>
                  </a:lnTo>
                  <a:lnTo>
                    <a:pt x="912" y="378"/>
                  </a:lnTo>
                  <a:close/>
                  <a:moveTo>
                    <a:pt x="916" y="380"/>
                  </a:moveTo>
                  <a:lnTo>
                    <a:pt x="921" y="380"/>
                  </a:lnTo>
                  <a:lnTo>
                    <a:pt x="923" y="381"/>
                  </a:lnTo>
                  <a:lnTo>
                    <a:pt x="925" y="382"/>
                  </a:lnTo>
                  <a:lnTo>
                    <a:pt x="921" y="378"/>
                  </a:lnTo>
                  <a:lnTo>
                    <a:pt x="918" y="378"/>
                  </a:lnTo>
                  <a:lnTo>
                    <a:pt x="915" y="380"/>
                  </a:lnTo>
                  <a:lnTo>
                    <a:pt x="912" y="384"/>
                  </a:lnTo>
                  <a:lnTo>
                    <a:pt x="908" y="392"/>
                  </a:lnTo>
                  <a:lnTo>
                    <a:pt x="907" y="396"/>
                  </a:lnTo>
                  <a:lnTo>
                    <a:pt x="908" y="397"/>
                  </a:lnTo>
                  <a:lnTo>
                    <a:pt x="916" y="380"/>
                  </a:lnTo>
                  <a:close/>
                  <a:moveTo>
                    <a:pt x="1311" y="1847"/>
                  </a:moveTo>
                  <a:lnTo>
                    <a:pt x="1311" y="1845"/>
                  </a:lnTo>
                  <a:lnTo>
                    <a:pt x="1312" y="1843"/>
                  </a:lnTo>
                  <a:lnTo>
                    <a:pt x="1312" y="1842"/>
                  </a:lnTo>
                  <a:lnTo>
                    <a:pt x="1313" y="1841"/>
                  </a:lnTo>
                  <a:lnTo>
                    <a:pt x="1312" y="1839"/>
                  </a:lnTo>
                  <a:lnTo>
                    <a:pt x="1309" y="1838"/>
                  </a:lnTo>
                  <a:lnTo>
                    <a:pt x="1303" y="1838"/>
                  </a:lnTo>
                  <a:lnTo>
                    <a:pt x="1300" y="1840"/>
                  </a:lnTo>
                  <a:lnTo>
                    <a:pt x="1305" y="1844"/>
                  </a:lnTo>
                  <a:lnTo>
                    <a:pt x="1311" y="1847"/>
                  </a:lnTo>
                  <a:close/>
                  <a:moveTo>
                    <a:pt x="1083" y="1383"/>
                  </a:moveTo>
                  <a:lnTo>
                    <a:pt x="1082" y="1384"/>
                  </a:lnTo>
                  <a:lnTo>
                    <a:pt x="1081" y="1385"/>
                  </a:lnTo>
                  <a:lnTo>
                    <a:pt x="1083" y="1385"/>
                  </a:lnTo>
                  <a:lnTo>
                    <a:pt x="1084" y="1382"/>
                  </a:lnTo>
                  <a:lnTo>
                    <a:pt x="1083" y="1383"/>
                  </a:lnTo>
                  <a:close/>
                  <a:moveTo>
                    <a:pt x="1043" y="1816"/>
                  </a:moveTo>
                  <a:lnTo>
                    <a:pt x="1046" y="1813"/>
                  </a:lnTo>
                  <a:lnTo>
                    <a:pt x="1046" y="1812"/>
                  </a:lnTo>
                  <a:lnTo>
                    <a:pt x="1044" y="1811"/>
                  </a:lnTo>
                  <a:lnTo>
                    <a:pt x="1042" y="1811"/>
                  </a:lnTo>
                  <a:lnTo>
                    <a:pt x="1040" y="1813"/>
                  </a:lnTo>
                  <a:lnTo>
                    <a:pt x="1040" y="1814"/>
                  </a:lnTo>
                  <a:lnTo>
                    <a:pt x="1040" y="1815"/>
                  </a:lnTo>
                  <a:lnTo>
                    <a:pt x="1041" y="1816"/>
                  </a:lnTo>
                  <a:lnTo>
                    <a:pt x="1043" y="1816"/>
                  </a:lnTo>
                  <a:close/>
                  <a:moveTo>
                    <a:pt x="1265" y="1844"/>
                  </a:moveTo>
                  <a:lnTo>
                    <a:pt x="1267" y="1843"/>
                  </a:lnTo>
                  <a:lnTo>
                    <a:pt x="1267" y="1843"/>
                  </a:lnTo>
                  <a:lnTo>
                    <a:pt x="1266" y="1842"/>
                  </a:lnTo>
                  <a:lnTo>
                    <a:pt x="1265" y="1839"/>
                  </a:lnTo>
                  <a:lnTo>
                    <a:pt x="1264" y="1838"/>
                  </a:lnTo>
                  <a:lnTo>
                    <a:pt x="1261" y="1837"/>
                  </a:lnTo>
                  <a:lnTo>
                    <a:pt x="1260" y="1837"/>
                  </a:lnTo>
                  <a:lnTo>
                    <a:pt x="1260" y="1840"/>
                  </a:lnTo>
                  <a:lnTo>
                    <a:pt x="1261" y="1843"/>
                  </a:lnTo>
                  <a:lnTo>
                    <a:pt x="1265" y="1844"/>
                  </a:lnTo>
                  <a:close/>
                  <a:moveTo>
                    <a:pt x="1423" y="1910"/>
                  </a:moveTo>
                  <a:lnTo>
                    <a:pt x="1425" y="1907"/>
                  </a:lnTo>
                  <a:lnTo>
                    <a:pt x="1432" y="1903"/>
                  </a:lnTo>
                  <a:lnTo>
                    <a:pt x="1433" y="1903"/>
                  </a:lnTo>
                  <a:lnTo>
                    <a:pt x="1435" y="1903"/>
                  </a:lnTo>
                  <a:lnTo>
                    <a:pt x="1435" y="1902"/>
                  </a:lnTo>
                  <a:lnTo>
                    <a:pt x="1436" y="1900"/>
                  </a:lnTo>
                  <a:lnTo>
                    <a:pt x="1430" y="1899"/>
                  </a:lnTo>
                  <a:lnTo>
                    <a:pt x="1421" y="1895"/>
                  </a:lnTo>
                  <a:lnTo>
                    <a:pt x="1416" y="1895"/>
                  </a:lnTo>
                  <a:lnTo>
                    <a:pt x="1414" y="1896"/>
                  </a:lnTo>
                  <a:lnTo>
                    <a:pt x="1408" y="1902"/>
                  </a:lnTo>
                  <a:lnTo>
                    <a:pt x="1401" y="1905"/>
                  </a:lnTo>
                  <a:lnTo>
                    <a:pt x="1400" y="1907"/>
                  </a:lnTo>
                  <a:lnTo>
                    <a:pt x="1396" y="1909"/>
                  </a:lnTo>
                  <a:lnTo>
                    <a:pt x="1384" y="1913"/>
                  </a:lnTo>
                  <a:lnTo>
                    <a:pt x="1379" y="1914"/>
                  </a:lnTo>
                  <a:lnTo>
                    <a:pt x="1376" y="1914"/>
                  </a:lnTo>
                  <a:lnTo>
                    <a:pt x="1373" y="1913"/>
                  </a:lnTo>
                  <a:lnTo>
                    <a:pt x="1372" y="1912"/>
                  </a:lnTo>
                  <a:lnTo>
                    <a:pt x="1371" y="1909"/>
                  </a:lnTo>
                  <a:lnTo>
                    <a:pt x="1372" y="1904"/>
                  </a:lnTo>
                  <a:lnTo>
                    <a:pt x="1371" y="1903"/>
                  </a:lnTo>
                  <a:lnTo>
                    <a:pt x="1370" y="1903"/>
                  </a:lnTo>
                  <a:lnTo>
                    <a:pt x="1371" y="1903"/>
                  </a:lnTo>
                  <a:lnTo>
                    <a:pt x="1370" y="1905"/>
                  </a:lnTo>
                  <a:lnTo>
                    <a:pt x="1370" y="1905"/>
                  </a:lnTo>
                  <a:lnTo>
                    <a:pt x="1370" y="1906"/>
                  </a:lnTo>
                  <a:lnTo>
                    <a:pt x="1371" y="1907"/>
                  </a:lnTo>
                  <a:lnTo>
                    <a:pt x="1365" y="1919"/>
                  </a:lnTo>
                  <a:lnTo>
                    <a:pt x="1361" y="1924"/>
                  </a:lnTo>
                  <a:lnTo>
                    <a:pt x="1352" y="1927"/>
                  </a:lnTo>
                  <a:lnTo>
                    <a:pt x="1349" y="1929"/>
                  </a:lnTo>
                  <a:lnTo>
                    <a:pt x="1347" y="1930"/>
                  </a:lnTo>
                  <a:lnTo>
                    <a:pt x="1343" y="1929"/>
                  </a:lnTo>
                  <a:lnTo>
                    <a:pt x="1343" y="1928"/>
                  </a:lnTo>
                  <a:lnTo>
                    <a:pt x="1341" y="1926"/>
                  </a:lnTo>
                  <a:lnTo>
                    <a:pt x="1340" y="1925"/>
                  </a:lnTo>
                  <a:lnTo>
                    <a:pt x="1339" y="1925"/>
                  </a:lnTo>
                  <a:lnTo>
                    <a:pt x="1334" y="1925"/>
                  </a:lnTo>
                  <a:lnTo>
                    <a:pt x="1330" y="1924"/>
                  </a:lnTo>
                  <a:lnTo>
                    <a:pt x="1328" y="1924"/>
                  </a:lnTo>
                  <a:lnTo>
                    <a:pt x="1327" y="1923"/>
                  </a:lnTo>
                  <a:lnTo>
                    <a:pt x="1324" y="1919"/>
                  </a:lnTo>
                  <a:lnTo>
                    <a:pt x="1322" y="1918"/>
                  </a:lnTo>
                  <a:lnTo>
                    <a:pt x="1318" y="1918"/>
                  </a:lnTo>
                  <a:lnTo>
                    <a:pt x="1316" y="1918"/>
                  </a:lnTo>
                  <a:lnTo>
                    <a:pt x="1315" y="1919"/>
                  </a:lnTo>
                  <a:lnTo>
                    <a:pt x="1313" y="1920"/>
                  </a:lnTo>
                  <a:lnTo>
                    <a:pt x="1301" y="1923"/>
                  </a:lnTo>
                  <a:lnTo>
                    <a:pt x="1297" y="1924"/>
                  </a:lnTo>
                  <a:lnTo>
                    <a:pt x="1292" y="1923"/>
                  </a:lnTo>
                  <a:lnTo>
                    <a:pt x="1290" y="1924"/>
                  </a:lnTo>
                  <a:lnTo>
                    <a:pt x="1284" y="1931"/>
                  </a:lnTo>
                  <a:lnTo>
                    <a:pt x="1280" y="1936"/>
                  </a:lnTo>
                  <a:lnTo>
                    <a:pt x="1275" y="1939"/>
                  </a:lnTo>
                  <a:lnTo>
                    <a:pt x="1255" y="1947"/>
                  </a:lnTo>
                  <a:lnTo>
                    <a:pt x="1248" y="1948"/>
                  </a:lnTo>
                  <a:lnTo>
                    <a:pt x="1242" y="1946"/>
                  </a:lnTo>
                  <a:lnTo>
                    <a:pt x="1235" y="1950"/>
                  </a:lnTo>
                  <a:lnTo>
                    <a:pt x="1226" y="1952"/>
                  </a:lnTo>
                  <a:lnTo>
                    <a:pt x="1217" y="1952"/>
                  </a:lnTo>
                  <a:lnTo>
                    <a:pt x="1198" y="1950"/>
                  </a:lnTo>
                  <a:lnTo>
                    <a:pt x="1193" y="1951"/>
                  </a:lnTo>
                  <a:lnTo>
                    <a:pt x="1191" y="1951"/>
                  </a:lnTo>
                  <a:lnTo>
                    <a:pt x="1187" y="1951"/>
                  </a:lnTo>
                  <a:lnTo>
                    <a:pt x="1184" y="1950"/>
                  </a:lnTo>
                  <a:lnTo>
                    <a:pt x="1177" y="1946"/>
                  </a:lnTo>
                  <a:lnTo>
                    <a:pt x="1175" y="1948"/>
                  </a:lnTo>
                  <a:lnTo>
                    <a:pt x="1164" y="1950"/>
                  </a:lnTo>
                  <a:lnTo>
                    <a:pt x="1162" y="1951"/>
                  </a:lnTo>
                  <a:lnTo>
                    <a:pt x="1160" y="1953"/>
                  </a:lnTo>
                  <a:lnTo>
                    <a:pt x="1158" y="1955"/>
                  </a:lnTo>
                  <a:lnTo>
                    <a:pt x="1151" y="1956"/>
                  </a:lnTo>
                  <a:lnTo>
                    <a:pt x="1144" y="1960"/>
                  </a:lnTo>
                  <a:lnTo>
                    <a:pt x="1141" y="1961"/>
                  </a:lnTo>
                  <a:lnTo>
                    <a:pt x="1131" y="1959"/>
                  </a:lnTo>
                  <a:lnTo>
                    <a:pt x="1127" y="1960"/>
                  </a:lnTo>
                  <a:lnTo>
                    <a:pt x="1127" y="1959"/>
                  </a:lnTo>
                  <a:lnTo>
                    <a:pt x="1127" y="1959"/>
                  </a:lnTo>
                  <a:lnTo>
                    <a:pt x="1128" y="1958"/>
                  </a:lnTo>
                  <a:lnTo>
                    <a:pt x="1126" y="1957"/>
                  </a:lnTo>
                  <a:lnTo>
                    <a:pt x="1118" y="1955"/>
                  </a:lnTo>
                  <a:lnTo>
                    <a:pt x="1114" y="1952"/>
                  </a:lnTo>
                  <a:lnTo>
                    <a:pt x="1108" y="1948"/>
                  </a:lnTo>
                  <a:lnTo>
                    <a:pt x="1104" y="1946"/>
                  </a:lnTo>
                  <a:lnTo>
                    <a:pt x="1102" y="1944"/>
                  </a:lnTo>
                  <a:lnTo>
                    <a:pt x="1101" y="1942"/>
                  </a:lnTo>
                  <a:lnTo>
                    <a:pt x="1101" y="1940"/>
                  </a:lnTo>
                  <a:lnTo>
                    <a:pt x="1101" y="1937"/>
                  </a:lnTo>
                  <a:lnTo>
                    <a:pt x="1097" y="1933"/>
                  </a:lnTo>
                  <a:lnTo>
                    <a:pt x="1077" y="1935"/>
                  </a:lnTo>
                  <a:lnTo>
                    <a:pt x="1075" y="1929"/>
                  </a:lnTo>
                  <a:lnTo>
                    <a:pt x="1074" y="1927"/>
                  </a:lnTo>
                  <a:lnTo>
                    <a:pt x="1074" y="1921"/>
                  </a:lnTo>
                  <a:lnTo>
                    <a:pt x="1073" y="1919"/>
                  </a:lnTo>
                  <a:lnTo>
                    <a:pt x="1067" y="1915"/>
                  </a:lnTo>
                  <a:lnTo>
                    <a:pt x="1067" y="1914"/>
                  </a:lnTo>
                  <a:lnTo>
                    <a:pt x="1067" y="1913"/>
                  </a:lnTo>
                  <a:lnTo>
                    <a:pt x="1066" y="1912"/>
                  </a:lnTo>
                  <a:lnTo>
                    <a:pt x="1066" y="1911"/>
                  </a:lnTo>
                  <a:lnTo>
                    <a:pt x="1064" y="1912"/>
                  </a:lnTo>
                  <a:lnTo>
                    <a:pt x="1062" y="1913"/>
                  </a:lnTo>
                  <a:lnTo>
                    <a:pt x="1059" y="1913"/>
                  </a:lnTo>
                  <a:lnTo>
                    <a:pt x="1057" y="1914"/>
                  </a:lnTo>
                  <a:lnTo>
                    <a:pt x="1055" y="1915"/>
                  </a:lnTo>
                  <a:lnTo>
                    <a:pt x="1053" y="1914"/>
                  </a:lnTo>
                  <a:lnTo>
                    <a:pt x="1052" y="1918"/>
                  </a:lnTo>
                  <a:lnTo>
                    <a:pt x="1048" y="1920"/>
                  </a:lnTo>
                  <a:lnTo>
                    <a:pt x="1044" y="1920"/>
                  </a:lnTo>
                  <a:lnTo>
                    <a:pt x="1040" y="1919"/>
                  </a:lnTo>
                  <a:lnTo>
                    <a:pt x="1035" y="1917"/>
                  </a:lnTo>
                  <a:lnTo>
                    <a:pt x="1033" y="1917"/>
                  </a:lnTo>
                  <a:lnTo>
                    <a:pt x="1031" y="1918"/>
                  </a:lnTo>
                  <a:lnTo>
                    <a:pt x="1030" y="1919"/>
                  </a:lnTo>
                  <a:lnTo>
                    <a:pt x="1029" y="1921"/>
                  </a:lnTo>
                  <a:lnTo>
                    <a:pt x="1029" y="1922"/>
                  </a:lnTo>
                  <a:lnTo>
                    <a:pt x="1024" y="1927"/>
                  </a:lnTo>
                  <a:lnTo>
                    <a:pt x="1024" y="1929"/>
                  </a:lnTo>
                  <a:lnTo>
                    <a:pt x="1026" y="1931"/>
                  </a:lnTo>
                  <a:lnTo>
                    <a:pt x="1026" y="1933"/>
                  </a:lnTo>
                  <a:lnTo>
                    <a:pt x="1026" y="1935"/>
                  </a:lnTo>
                  <a:lnTo>
                    <a:pt x="1026" y="1937"/>
                  </a:lnTo>
                  <a:lnTo>
                    <a:pt x="1026" y="1937"/>
                  </a:lnTo>
                  <a:lnTo>
                    <a:pt x="1025" y="1939"/>
                  </a:lnTo>
                  <a:lnTo>
                    <a:pt x="1020" y="1943"/>
                  </a:lnTo>
                  <a:lnTo>
                    <a:pt x="1006" y="1949"/>
                  </a:lnTo>
                  <a:lnTo>
                    <a:pt x="1000" y="1950"/>
                  </a:lnTo>
                  <a:lnTo>
                    <a:pt x="995" y="1947"/>
                  </a:lnTo>
                  <a:lnTo>
                    <a:pt x="994" y="1945"/>
                  </a:lnTo>
                  <a:lnTo>
                    <a:pt x="992" y="1944"/>
                  </a:lnTo>
                  <a:lnTo>
                    <a:pt x="988" y="1942"/>
                  </a:lnTo>
                  <a:lnTo>
                    <a:pt x="986" y="1940"/>
                  </a:lnTo>
                  <a:lnTo>
                    <a:pt x="982" y="1932"/>
                  </a:lnTo>
                  <a:lnTo>
                    <a:pt x="978" y="1923"/>
                  </a:lnTo>
                  <a:lnTo>
                    <a:pt x="977" y="1919"/>
                  </a:lnTo>
                  <a:lnTo>
                    <a:pt x="976" y="1919"/>
                  </a:lnTo>
                  <a:lnTo>
                    <a:pt x="974" y="1919"/>
                  </a:lnTo>
                  <a:lnTo>
                    <a:pt x="973" y="1917"/>
                  </a:lnTo>
                  <a:lnTo>
                    <a:pt x="971" y="1920"/>
                  </a:lnTo>
                  <a:lnTo>
                    <a:pt x="971" y="1925"/>
                  </a:lnTo>
                  <a:lnTo>
                    <a:pt x="971" y="1930"/>
                  </a:lnTo>
                  <a:lnTo>
                    <a:pt x="968" y="1933"/>
                  </a:lnTo>
                  <a:lnTo>
                    <a:pt x="966" y="1933"/>
                  </a:lnTo>
                  <a:lnTo>
                    <a:pt x="964" y="1932"/>
                  </a:lnTo>
                  <a:lnTo>
                    <a:pt x="961" y="1932"/>
                  </a:lnTo>
                  <a:lnTo>
                    <a:pt x="961" y="1934"/>
                  </a:lnTo>
                  <a:lnTo>
                    <a:pt x="960" y="1937"/>
                  </a:lnTo>
                  <a:lnTo>
                    <a:pt x="958" y="1940"/>
                  </a:lnTo>
                  <a:lnTo>
                    <a:pt x="953" y="1943"/>
                  </a:lnTo>
                  <a:lnTo>
                    <a:pt x="948" y="1941"/>
                  </a:lnTo>
                  <a:lnTo>
                    <a:pt x="944" y="1945"/>
                  </a:lnTo>
                  <a:lnTo>
                    <a:pt x="940" y="1949"/>
                  </a:lnTo>
                  <a:lnTo>
                    <a:pt x="935" y="1951"/>
                  </a:lnTo>
                  <a:lnTo>
                    <a:pt x="937" y="1953"/>
                  </a:lnTo>
                  <a:lnTo>
                    <a:pt x="936" y="1956"/>
                  </a:lnTo>
                  <a:lnTo>
                    <a:pt x="935" y="1960"/>
                  </a:lnTo>
                  <a:lnTo>
                    <a:pt x="934" y="1965"/>
                  </a:lnTo>
                  <a:lnTo>
                    <a:pt x="931" y="1972"/>
                  </a:lnTo>
                  <a:lnTo>
                    <a:pt x="930" y="1973"/>
                  </a:lnTo>
                  <a:lnTo>
                    <a:pt x="930" y="1973"/>
                  </a:lnTo>
                  <a:lnTo>
                    <a:pt x="930" y="1975"/>
                  </a:lnTo>
                  <a:lnTo>
                    <a:pt x="931" y="1976"/>
                  </a:lnTo>
                  <a:lnTo>
                    <a:pt x="932" y="1978"/>
                  </a:lnTo>
                  <a:lnTo>
                    <a:pt x="932" y="1979"/>
                  </a:lnTo>
                  <a:lnTo>
                    <a:pt x="932" y="1981"/>
                  </a:lnTo>
                  <a:lnTo>
                    <a:pt x="932" y="1985"/>
                  </a:lnTo>
                  <a:lnTo>
                    <a:pt x="931" y="1985"/>
                  </a:lnTo>
                  <a:lnTo>
                    <a:pt x="930" y="1991"/>
                  </a:lnTo>
                  <a:lnTo>
                    <a:pt x="930" y="1991"/>
                  </a:lnTo>
                  <a:lnTo>
                    <a:pt x="930" y="1992"/>
                  </a:lnTo>
                  <a:lnTo>
                    <a:pt x="927" y="1993"/>
                  </a:lnTo>
                  <a:lnTo>
                    <a:pt x="927" y="1992"/>
                  </a:lnTo>
                  <a:lnTo>
                    <a:pt x="924" y="1994"/>
                  </a:lnTo>
                  <a:lnTo>
                    <a:pt x="924" y="1996"/>
                  </a:lnTo>
                  <a:lnTo>
                    <a:pt x="926" y="1999"/>
                  </a:lnTo>
                  <a:lnTo>
                    <a:pt x="927" y="2001"/>
                  </a:lnTo>
                  <a:lnTo>
                    <a:pt x="929" y="2004"/>
                  </a:lnTo>
                  <a:lnTo>
                    <a:pt x="929" y="2006"/>
                  </a:lnTo>
                  <a:lnTo>
                    <a:pt x="930" y="2009"/>
                  </a:lnTo>
                  <a:lnTo>
                    <a:pt x="930" y="2012"/>
                  </a:lnTo>
                  <a:lnTo>
                    <a:pt x="932" y="2015"/>
                  </a:lnTo>
                  <a:lnTo>
                    <a:pt x="934" y="2019"/>
                  </a:lnTo>
                  <a:lnTo>
                    <a:pt x="937" y="2023"/>
                  </a:lnTo>
                  <a:lnTo>
                    <a:pt x="940" y="2024"/>
                  </a:lnTo>
                  <a:lnTo>
                    <a:pt x="946" y="2024"/>
                  </a:lnTo>
                  <a:lnTo>
                    <a:pt x="948" y="2025"/>
                  </a:lnTo>
                  <a:lnTo>
                    <a:pt x="951" y="2028"/>
                  </a:lnTo>
                  <a:lnTo>
                    <a:pt x="957" y="2039"/>
                  </a:lnTo>
                  <a:lnTo>
                    <a:pt x="961" y="2043"/>
                  </a:lnTo>
                  <a:lnTo>
                    <a:pt x="967" y="2043"/>
                  </a:lnTo>
                  <a:lnTo>
                    <a:pt x="981" y="2041"/>
                  </a:lnTo>
                  <a:lnTo>
                    <a:pt x="993" y="2040"/>
                  </a:lnTo>
                  <a:lnTo>
                    <a:pt x="1006" y="2042"/>
                  </a:lnTo>
                  <a:lnTo>
                    <a:pt x="1011" y="2044"/>
                  </a:lnTo>
                  <a:lnTo>
                    <a:pt x="1015" y="2049"/>
                  </a:lnTo>
                  <a:lnTo>
                    <a:pt x="1016" y="2050"/>
                  </a:lnTo>
                  <a:lnTo>
                    <a:pt x="1017" y="2054"/>
                  </a:lnTo>
                  <a:lnTo>
                    <a:pt x="1018" y="2056"/>
                  </a:lnTo>
                  <a:lnTo>
                    <a:pt x="1019" y="2057"/>
                  </a:lnTo>
                  <a:lnTo>
                    <a:pt x="1021" y="2057"/>
                  </a:lnTo>
                  <a:lnTo>
                    <a:pt x="1023" y="2055"/>
                  </a:lnTo>
                  <a:lnTo>
                    <a:pt x="1043" y="2058"/>
                  </a:lnTo>
                  <a:lnTo>
                    <a:pt x="1044" y="2059"/>
                  </a:lnTo>
                  <a:lnTo>
                    <a:pt x="1045" y="2062"/>
                  </a:lnTo>
                  <a:lnTo>
                    <a:pt x="1046" y="2062"/>
                  </a:lnTo>
                  <a:lnTo>
                    <a:pt x="1048" y="2063"/>
                  </a:lnTo>
                  <a:lnTo>
                    <a:pt x="1049" y="2064"/>
                  </a:lnTo>
                  <a:lnTo>
                    <a:pt x="1051" y="2066"/>
                  </a:lnTo>
                  <a:lnTo>
                    <a:pt x="1054" y="2068"/>
                  </a:lnTo>
                  <a:lnTo>
                    <a:pt x="1055" y="2069"/>
                  </a:lnTo>
                  <a:lnTo>
                    <a:pt x="1059" y="2077"/>
                  </a:lnTo>
                  <a:lnTo>
                    <a:pt x="1061" y="2078"/>
                  </a:lnTo>
                  <a:lnTo>
                    <a:pt x="1063" y="2078"/>
                  </a:lnTo>
                  <a:lnTo>
                    <a:pt x="1064" y="2079"/>
                  </a:lnTo>
                  <a:lnTo>
                    <a:pt x="1068" y="2082"/>
                  </a:lnTo>
                  <a:lnTo>
                    <a:pt x="1074" y="2086"/>
                  </a:lnTo>
                  <a:lnTo>
                    <a:pt x="1082" y="2093"/>
                  </a:lnTo>
                  <a:lnTo>
                    <a:pt x="1087" y="2096"/>
                  </a:lnTo>
                  <a:lnTo>
                    <a:pt x="1093" y="2098"/>
                  </a:lnTo>
                  <a:lnTo>
                    <a:pt x="1100" y="2099"/>
                  </a:lnTo>
                  <a:lnTo>
                    <a:pt x="1106" y="2101"/>
                  </a:lnTo>
                  <a:lnTo>
                    <a:pt x="1110" y="2104"/>
                  </a:lnTo>
                  <a:lnTo>
                    <a:pt x="1124" y="2117"/>
                  </a:lnTo>
                  <a:lnTo>
                    <a:pt x="1129" y="2121"/>
                  </a:lnTo>
                  <a:lnTo>
                    <a:pt x="1134" y="2123"/>
                  </a:lnTo>
                  <a:lnTo>
                    <a:pt x="1141" y="2125"/>
                  </a:lnTo>
                  <a:lnTo>
                    <a:pt x="1147" y="2127"/>
                  </a:lnTo>
                  <a:lnTo>
                    <a:pt x="1157" y="2135"/>
                  </a:lnTo>
                  <a:lnTo>
                    <a:pt x="1164" y="2136"/>
                  </a:lnTo>
                  <a:lnTo>
                    <a:pt x="1166" y="2135"/>
                  </a:lnTo>
                  <a:lnTo>
                    <a:pt x="1169" y="2133"/>
                  </a:lnTo>
                  <a:lnTo>
                    <a:pt x="1170" y="2133"/>
                  </a:lnTo>
                  <a:lnTo>
                    <a:pt x="1188" y="2132"/>
                  </a:lnTo>
                  <a:lnTo>
                    <a:pt x="1194" y="2133"/>
                  </a:lnTo>
                  <a:lnTo>
                    <a:pt x="1207" y="2139"/>
                  </a:lnTo>
                  <a:lnTo>
                    <a:pt x="1218" y="2146"/>
                  </a:lnTo>
                  <a:lnTo>
                    <a:pt x="1233" y="2160"/>
                  </a:lnTo>
                  <a:lnTo>
                    <a:pt x="1236" y="2166"/>
                  </a:lnTo>
                  <a:lnTo>
                    <a:pt x="1250" y="2193"/>
                  </a:lnTo>
                  <a:lnTo>
                    <a:pt x="1251" y="2196"/>
                  </a:lnTo>
                  <a:lnTo>
                    <a:pt x="1264" y="2199"/>
                  </a:lnTo>
                  <a:lnTo>
                    <a:pt x="1266" y="2198"/>
                  </a:lnTo>
                  <a:lnTo>
                    <a:pt x="1269" y="2200"/>
                  </a:lnTo>
                  <a:lnTo>
                    <a:pt x="1279" y="2203"/>
                  </a:lnTo>
                  <a:lnTo>
                    <a:pt x="1280" y="2206"/>
                  </a:lnTo>
                  <a:lnTo>
                    <a:pt x="1283" y="2209"/>
                  </a:lnTo>
                  <a:lnTo>
                    <a:pt x="1292" y="2210"/>
                  </a:lnTo>
                  <a:lnTo>
                    <a:pt x="1295" y="2213"/>
                  </a:lnTo>
                  <a:lnTo>
                    <a:pt x="1297" y="2212"/>
                  </a:lnTo>
                  <a:lnTo>
                    <a:pt x="1297" y="2213"/>
                  </a:lnTo>
                  <a:lnTo>
                    <a:pt x="1298" y="2214"/>
                  </a:lnTo>
                  <a:lnTo>
                    <a:pt x="1308" y="2209"/>
                  </a:lnTo>
                  <a:lnTo>
                    <a:pt x="1314" y="2208"/>
                  </a:lnTo>
                  <a:lnTo>
                    <a:pt x="1320" y="2210"/>
                  </a:lnTo>
                  <a:lnTo>
                    <a:pt x="1326" y="2215"/>
                  </a:lnTo>
                  <a:lnTo>
                    <a:pt x="1330" y="2216"/>
                  </a:lnTo>
                  <a:lnTo>
                    <a:pt x="1332" y="2215"/>
                  </a:lnTo>
                  <a:lnTo>
                    <a:pt x="1332" y="2214"/>
                  </a:lnTo>
                  <a:lnTo>
                    <a:pt x="1334" y="2214"/>
                  </a:lnTo>
                  <a:lnTo>
                    <a:pt x="1336" y="2214"/>
                  </a:lnTo>
                  <a:lnTo>
                    <a:pt x="1338" y="2215"/>
                  </a:lnTo>
                  <a:lnTo>
                    <a:pt x="1339" y="2216"/>
                  </a:lnTo>
                  <a:lnTo>
                    <a:pt x="1341" y="2220"/>
                  </a:lnTo>
                  <a:lnTo>
                    <a:pt x="1344" y="2222"/>
                  </a:lnTo>
                  <a:lnTo>
                    <a:pt x="1347" y="2223"/>
                  </a:lnTo>
                  <a:lnTo>
                    <a:pt x="1351" y="2222"/>
                  </a:lnTo>
                  <a:lnTo>
                    <a:pt x="1354" y="2219"/>
                  </a:lnTo>
                  <a:lnTo>
                    <a:pt x="1354" y="2216"/>
                  </a:lnTo>
                  <a:lnTo>
                    <a:pt x="1351" y="2205"/>
                  </a:lnTo>
                  <a:lnTo>
                    <a:pt x="1348" y="2198"/>
                  </a:lnTo>
                  <a:lnTo>
                    <a:pt x="1347" y="2195"/>
                  </a:lnTo>
                  <a:lnTo>
                    <a:pt x="1350" y="2193"/>
                  </a:lnTo>
                  <a:lnTo>
                    <a:pt x="1350" y="2191"/>
                  </a:lnTo>
                  <a:lnTo>
                    <a:pt x="1358" y="2170"/>
                  </a:lnTo>
                  <a:lnTo>
                    <a:pt x="1360" y="2166"/>
                  </a:lnTo>
                  <a:lnTo>
                    <a:pt x="1364" y="2164"/>
                  </a:lnTo>
                  <a:lnTo>
                    <a:pt x="1366" y="2163"/>
                  </a:lnTo>
                  <a:lnTo>
                    <a:pt x="1369" y="2162"/>
                  </a:lnTo>
                  <a:lnTo>
                    <a:pt x="1372" y="2160"/>
                  </a:lnTo>
                  <a:lnTo>
                    <a:pt x="1375" y="2160"/>
                  </a:lnTo>
                  <a:lnTo>
                    <a:pt x="1375" y="2159"/>
                  </a:lnTo>
                  <a:lnTo>
                    <a:pt x="1375" y="2157"/>
                  </a:lnTo>
                  <a:lnTo>
                    <a:pt x="1375" y="2157"/>
                  </a:lnTo>
                  <a:lnTo>
                    <a:pt x="1376" y="2156"/>
                  </a:lnTo>
                  <a:lnTo>
                    <a:pt x="1375" y="2155"/>
                  </a:lnTo>
                  <a:lnTo>
                    <a:pt x="1381" y="2152"/>
                  </a:lnTo>
                  <a:lnTo>
                    <a:pt x="1382" y="2151"/>
                  </a:lnTo>
                  <a:lnTo>
                    <a:pt x="1382" y="2152"/>
                  </a:lnTo>
                  <a:lnTo>
                    <a:pt x="1384" y="2153"/>
                  </a:lnTo>
                  <a:lnTo>
                    <a:pt x="1385" y="2152"/>
                  </a:lnTo>
                  <a:lnTo>
                    <a:pt x="1385" y="2149"/>
                  </a:lnTo>
                  <a:lnTo>
                    <a:pt x="1384" y="2147"/>
                  </a:lnTo>
                  <a:lnTo>
                    <a:pt x="1382" y="2146"/>
                  </a:lnTo>
                  <a:lnTo>
                    <a:pt x="1379" y="2147"/>
                  </a:lnTo>
                  <a:lnTo>
                    <a:pt x="1378" y="2145"/>
                  </a:lnTo>
                  <a:lnTo>
                    <a:pt x="1377" y="2143"/>
                  </a:lnTo>
                  <a:lnTo>
                    <a:pt x="1378" y="2141"/>
                  </a:lnTo>
                  <a:lnTo>
                    <a:pt x="1381" y="2143"/>
                  </a:lnTo>
                  <a:lnTo>
                    <a:pt x="1382" y="2138"/>
                  </a:lnTo>
                  <a:lnTo>
                    <a:pt x="1381" y="2135"/>
                  </a:lnTo>
                  <a:lnTo>
                    <a:pt x="1378" y="2133"/>
                  </a:lnTo>
                  <a:lnTo>
                    <a:pt x="1375" y="2133"/>
                  </a:lnTo>
                  <a:lnTo>
                    <a:pt x="1372" y="2132"/>
                  </a:lnTo>
                  <a:lnTo>
                    <a:pt x="1369" y="2128"/>
                  </a:lnTo>
                  <a:lnTo>
                    <a:pt x="1369" y="2125"/>
                  </a:lnTo>
                  <a:lnTo>
                    <a:pt x="1372" y="2125"/>
                  </a:lnTo>
                  <a:lnTo>
                    <a:pt x="1372" y="2123"/>
                  </a:lnTo>
                  <a:lnTo>
                    <a:pt x="1370" y="2122"/>
                  </a:lnTo>
                  <a:lnTo>
                    <a:pt x="1367" y="2124"/>
                  </a:lnTo>
                  <a:lnTo>
                    <a:pt x="1363" y="2120"/>
                  </a:lnTo>
                  <a:lnTo>
                    <a:pt x="1362" y="2114"/>
                  </a:lnTo>
                  <a:lnTo>
                    <a:pt x="1364" y="2110"/>
                  </a:lnTo>
                  <a:lnTo>
                    <a:pt x="1363" y="2107"/>
                  </a:lnTo>
                  <a:lnTo>
                    <a:pt x="1365" y="2106"/>
                  </a:lnTo>
                  <a:lnTo>
                    <a:pt x="1367" y="2106"/>
                  </a:lnTo>
                  <a:lnTo>
                    <a:pt x="1368" y="2108"/>
                  </a:lnTo>
                  <a:lnTo>
                    <a:pt x="1367" y="2111"/>
                  </a:lnTo>
                  <a:lnTo>
                    <a:pt x="1369" y="2109"/>
                  </a:lnTo>
                  <a:lnTo>
                    <a:pt x="1370" y="2107"/>
                  </a:lnTo>
                  <a:lnTo>
                    <a:pt x="1372" y="2106"/>
                  </a:lnTo>
                  <a:lnTo>
                    <a:pt x="1374" y="2108"/>
                  </a:lnTo>
                  <a:lnTo>
                    <a:pt x="1373" y="2104"/>
                  </a:lnTo>
                  <a:lnTo>
                    <a:pt x="1370" y="2100"/>
                  </a:lnTo>
                  <a:lnTo>
                    <a:pt x="1367" y="2099"/>
                  </a:lnTo>
                  <a:lnTo>
                    <a:pt x="1361" y="2097"/>
                  </a:lnTo>
                  <a:lnTo>
                    <a:pt x="1350" y="2091"/>
                  </a:lnTo>
                  <a:lnTo>
                    <a:pt x="1349" y="2089"/>
                  </a:lnTo>
                  <a:lnTo>
                    <a:pt x="1348" y="2087"/>
                  </a:lnTo>
                  <a:lnTo>
                    <a:pt x="1347" y="2083"/>
                  </a:lnTo>
                  <a:lnTo>
                    <a:pt x="1347" y="2064"/>
                  </a:lnTo>
                  <a:lnTo>
                    <a:pt x="1347" y="2060"/>
                  </a:lnTo>
                  <a:lnTo>
                    <a:pt x="1348" y="2057"/>
                  </a:lnTo>
                  <a:lnTo>
                    <a:pt x="1351" y="2051"/>
                  </a:lnTo>
                  <a:lnTo>
                    <a:pt x="1359" y="2042"/>
                  </a:lnTo>
                  <a:lnTo>
                    <a:pt x="1361" y="2035"/>
                  </a:lnTo>
                  <a:lnTo>
                    <a:pt x="1362" y="2030"/>
                  </a:lnTo>
                  <a:lnTo>
                    <a:pt x="1364" y="2025"/>
                  </a:lnTo>
                  <a:lnTo>
                    <a:pt x="1364" y="2020"/>
                  </a:lnTo>
                  <a:lnTo>
                    <a:pt x="1365" y="2019"/>
                  </a:lnTo>
                  <a:lnTo>
                    <a:pt x="1367" y="2016"/>
                  </a:lnTo>
                  <a:lnTo>
                    <a:pt x="1367" y="2014"/>
                  </a:lnTo>
                  <a:lnTo>
                    <a:pt x="1367" y="2012"/>
                  </a:lnTo>
                  <a:lnTo>
                    <a:pt x="1366" y="2008"/>
                  </a:lnTo>
                  <a:lnTo>
                    <a:pt x="1365" y="2006"/>
                  </a:lnTo>
                  <a:lnTo>
                    <a:pt x="1367" y="2003"/>
                  </a:lnTo>
                  <a:lnTo>
                    <a:pt x="1371" y="1996"/>
                  </a:lnTo>
                  <a:lnTo>
                    <a:pt x="1375" y="1993"/>
                  </a:lnTo>
                  <a:lnTo>
                    <a:pt x="1378" y="1989"/>
                  </a:lnTo>
                  <a:lnTo>
                    <a:pt x="1381" y="1983"/>
                  </a:lnTo>
                  <a:lnTo>
                    <a:pt x="1395" y="1960"/>
                  </a:lnTo>
                  <a:lnTo>
                    <a:pt x="1412" y="1938"/>
                  </a:lnTo>
                  <a:lnTo>
                    <a:pt x="1416" y="1928"/>
                  </a:lnTo>
                  <a:lnTo>
                    <a:pt x="1424" y="1915"/>
                  </a:lnTo>
                  <a:lnTo>
                    <a:pt x="1421" y="1916"/>
                  </a:lnTo>
                  <a:lnTo>
                    <a:pt x="1422" y="1913"/>
                  </a:lnTo>
                  <a:lnTo>
                    <a:pt x="1423" y="1910"/>
                  </a:lnTo>
                  <a:close/>
                  <a:moveTo>
                    <a:pt x="994" y="2377"/>
                  </a:moveTo>
                  <a:lnTo>
                    <a:pt x="993" y="2377"/>
                  </a:lnTo>
                  <a:lnTo>
                    <a:pt x="992" y="2377"/>
                  </a:lnTo>
                  <a:lnTo>
                    <a:pt x="991" y="2377"/>
                  </a:lnTo>
                  <a:lnTo>
                    <a:pt x="991" y="2378"/>
                  </a:lnTo>
                  <a:lnTo>
                    <a:pt x="991" y="2380"/>
                  </a:lnTo>
                  <a:lnTo>
                    <a:pt x="992" y="2380"/>
                  </a:lnTo>
                  <a:lnTo>
                    <a:pt x="995" y="2380"/>
                  </a:lnTo>
                  <a:lnTo>
                    <a:pt x="996" y="2380"/>
                  </a:lnTo>
                  <a:lnTo>
                    <a:pt x="995" y="2377"/>
                  </a:lnTo>
                  <a:lnTo>
                    <a:pt x="994" y="2377"/>
                  </a:lnTo>
                  <a:close/>
                  <a:moveTo>
                    <a:pt x="1230" y="1844"/>
                  </a:moveTo>
                  <a:lnTo>
                    <a:pt x="1228" y="1845"/>
                  </a:lnTo>
                  <a:lnTo>
                    <a:pt x="1229" y="1848"/>
                  </a:lnTo>
                  <a:lnTo>
                    <a:pt x="1231" y="1847"/>
                  </a:lnTo>
                  <a:lnTo>
                    <a:pt x="1230" y="1844"/>
                  </a:lnTo>
                  <a:close/>
                  <a:moveTo>
                    <a:pt x="1151" y="1396"/>
                  </a:moveTo>
                  <a:lnTo>
                    <a:pt x="1150" y="1400"/>
                  </a:lnTo>
                  <a:lnTo>
                    <a:pt x="1152" y="1402"/>
                  </a:lnTo>
                  <a:lnTo>
                    <a:pt x="1155" y="1404"/>
                  </a:lnTo>
                  <a:lnTo>
                    <a:pt x="1157" y="1405"/>
                  </a:lnTo>
                  <a:lnTo>
                    <a:pt x="1159" y="1404"/>
                  </a:lnTo>
                  <a:lnTo>
                    <a:pt x="1161" y="1403"/>
                  </a:lnTo>
                  <a:lnTo>
                    <a:pt x="1164" y="1402"/>
                  </a:lnTo>
                  <a:lnTo>
                    <a:pt x="1165" y="1403"/>
                  </a:lnTo>
                  <a:lnTo>
                    <a:pt x="1167" y="1401"/>
                  </a:lnTo>
                  <a:lnTo>
                    <a:pt x="1168" y="1400"/>
                  </a:lnTo>
                  <a:lnTo>
                    <a:pt x="1168" y="1399"/>
                  </a:lnTo>
                  <a:lnTo>
                    <a:pt x="1168" y="1397"/>
                  </a:lnTo>
                  <a:lnTo>
                    <a:pt x="1168" y="1396"/>
                  </a:lnTo>
                  <a:lnTo>
                    <a:pt x="1165" y="1394"/>
                  </a:lnTo>
                  <a:lnTo>
                    <a:pt x="1155" y="1390"/>
                  </a:lnTo>
                  <a:lnTo>
                    <a:pt x="1152" y="1390"/>
                  </a:lnTo>
                  <a:lnTo>
                    <a:pt x="1153" y="1393"/>
                  </a:lnTo>
                  <a:lnTo>
                    <a:pt x="1153" y="1393"/>
                  </a:lnTo>
                  <a:lnTo>
                    <a:pt x="1152" y="1394"/>
                  </a:lnTo>
                  <a:lnTo>
                    <a:pt x="1151" y="1396"/>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99" name="Freeform 35">
              <a:extLst>
                <a:ext uri="{FF2B5EF4-FFF2-40B4-BE49-F238E27FC236}">
                  <a16:creationId xmlns:a16="http://schemas.microsoft.com/office/drawing/2014/main" id="{113B0B04-9B2D-4CC6-BE73-D901C74AD099}"/>
                </a:ext>
              </a:extLst>
            </p:cNvPr>
            <p:cNvSpPr>
              <a:spLocks noEditPoints="1"/>
            </p:cNvSpPr>
            <p:nvPr/>
          </p:nvSpPr>
          <p:spPr bwMode="gray">
            <a:xfrm>
              <a:off x="7011253" y="3722434"/>
              <a:ext cx="443759" cy="653173"/>
            </a:xfrm>
            <a:custGeom>
              <a:avLst/>
              <a:gdLst>
                <a:gd name="T0" fmla="*/ 133 w 712"/>
                <a:gd name="T1" fmla="*/ 622 h 1048"/>
                <a:gd name="T2" fmla="*/ 80 w 712"/>
                <a:gd name="T3" fmla="*/ 411 h 1048"/>
                <a:gd name="T4" fmla="*/ 316 w 712"/>
                <a:gd name="T5" fmla="*/ 110 h 1048"/>
                <a:gd name="T6" fmla="*/ 696 w 712"/>
                <a:gd name="T7" fmla="*/ 590 h 1048"/>
                <a:gd name="T8" fmla="*/ 686 w 712"/>
                <a:gd name="T9" fmla="*/ 521 h 1048"/>
                <a:gd name="T10" fmla="*/ 653 w 712"/>
                <a:gd name="T11" fmla="*/ 385 h 1048"/>
                <a:gd name="T12" fmla="*/ 644 w 712"/>
                <a:gd name="T13" fmla="*/ 365 h 1048"/>
                <a:gd name="T14" fmla="*/ 579 w 712"/>
                <a:gd name="T15" fmla="*/ 312 h 1048"/>
                <a:gd name="T16" fmla="*/ 527 w 712"/>
                <a:gd name="T17" fmla="*/ 315 h 1048"/>
                <a:gd name="T18" fmla="*/ 483 w 712"/>
                <a:gd name="T19" fmla="*/ 340 h 1048"/>
                <a:gd name="T20" fmla="*/ 387 w 712"/>
                <a:gd name="T21" fmla="*/ 241 h 1048"/>
                <a:gd name="T22" fmla="*/ 455 w 712"/>
                <a:gd name="T23" fmla="*/ 179 h 1048"/>
                <a:gd name="T24" fmla="*/ 527 w 712"/>
                <a:gd name="T25" fmla="*/ 66 h 1048"/>
                <a:gd name="T26" fmla="*/ 494 w 712"/>
                <a:gd name="T27" fmla="*/ 21 h 1048"/>
                <a:gd name="T28" fmla="*/ 448 w 712"/>
                <a:gd name="T29" fmla="*/ 119 h 1048"/>
                <a:gd name="T30" fmla="*/ 432 w 712"/>
                <a:gd name="T31" fmla="*/ 38 h 1048"/>
                <a:gd name="T32" fmla="*/ 424 w 712"/>
                <a:gd name="T33" fmla="*/ 55 h 1048"/>
                <a:gd name="T34" fmla="*/ 402 w 712"/>
                <a:gd name="T35" fmla="*/ 49 h 1048"/>
                <a:gd name="T36" fmla="*/ 330 w 712"/>
                <a:gd name="T37" fmla="*/ 103 h 1048"/>
                <a:gd name="T38" fmla="*/ 342 w 712"/>
                <a:gd name="T39" fmla="*/ 154 h 1048"/>
                <a:gd name="T40" fmla="*/ 267 w 712"/>
                <a:gd name="T41" fmla="*/ 192 h 1048"/>
                <a:gd name="T42" fmla="*/ 328 w 712"/>
                <a:gd name="T43" fmla="*/ 219 h 1048"/>
                <a:gd name="T44" fmla="*/ 361 w 712"/>
                <a:gd name="T45" fmla="*/ 244 h 1048"/>
                <a:gd name="T46" fmla="*/ 314 w 712"/>
                <a:gd name="T47" fmla="*/ 300 h 1048"/>
                <a:gd name="T48" fmla="*/ 249 w 712"/>
                <a:gd name="T49" fmla="*/ 305 h 1048"/>
                <a:gd name="T50" fmla="*/ 184 w 712"/>
                <a:gd name="T51" fmla="*/ 295 h 1048"/>
                <a:gd name="T52" fmla="*/ 95 w 712"/>
                <a:gd name="T53" fmla="*/ 320 h 1048"/>
                <a:gd name="T54" fmla="*/ 60 w 712"/>
                <a:gd name="T55" fmla="*/ 319 h 1048"/>
                <a:gd name="T56" fmla="*/ 84 w 712"/>
                <a:gd name="T57" fmla="*/ 333 h 1048"/>
                <a:gd name="T58" fmla="*/ 94 w 712"/>
                <a:gd name="T59" fmla="*/ 376 h 1048"/>
                <a:gd name="T60" fmla="*/ 91 w 712"/>
                <a:gd name="T61" fmla="*/ 418 h 1048"/>
                <a:gd name="T62" fmla="*/ 90 w 712"/>
                <a:gd name="T63" fmla="*/ 457 h 1048"/>
                <a:gd name="T64" fmla="*/ 56 w 712"/>
                <a:gd name="T65" fmla="*/ 510 h 1048"/>
                <a:gd name="T66" fmla="*/ 89 w 712"/>
                <a:gd name="T67" fmla="*/ 541 h 1048"/>
                <a:gd name="T68" fmla="*/ 104 w 712"/>
                <a:gd name="T69" fmla="*/ 564 h 1048"/>
                <a:gd name="T70" fmla="*/ 135 w 712"/>
                <a:gd name="T71" fmla="*/ 581 h 1048"/>
                <a:gd name="T72" fmla="*/ 242 w 712"/>
                <a:gd name="T73" fmla="*/ 599 h 1048"/>
                <a:gd name="T74" fmla="*/ 174 w 712"/>
                <a:gd name="T75" fmla="*/ 644 h 1048"/>
                <a:gd name="T76" fmla="*/ 136 w 712"/>
                <a:gd name="T77" fmla="*/ 720 h 1048"/>
                <a:gd name="T78" fmla="*/ 184 w 712"/>
                <a:gd name="T79" fmla="*/ 753 h 1048"/>
                <a:gd name="T80" fmla="*/ 231 w 712"/>
                <a:gd name="T81" fmla="*/ 746 h 1048"/>
                <a:gd name="T82" fmla="*/ 132 w 712"/>
                <a:gd name="T83" fmla="*/ 779 h 1048"/>
                <a:gd name="T84" fmla="*/ 118 w 712"/>
                <a:gd name="T85" fmla="*/ 842 h 1048"/>
                <a:gd name="T86" fmla="*/ 17 w 712"/>
                <a:gd name="T87" fmla="*/ 856 h 1048"/>
                <a:gd name="T88" fmla="*/ 42 w 712"/>
                <a:gd name="T89" fmla="*/ 873 h 1048"/>
                <a:gd name="T90" fmla="*/ 29 w 712"/>
                <a:gd name="T91" fmla="*/ 916 h 1048"/>
                <a:gd name="T92" fmla="*/ 39 w 712"/>
                <a:gd name="T93" fmla="*/ 945 h 1048"/>
                <a:gd name="T94" fmla="*/ 119 w 712"/>
                <a:gd name="T95" fmla="*/ 948 h 1048"/>
                <a:gd name="T96" fmla="*/ 67 w 712"/>
                <a:gd name="T97" fmla="*/ 1000 h 1048"/>
                <a:gd name="T98" fmla="*/ 149 w 712"/>
                <a:gd name="T99" fmla="*/ 969 h 1048"/>
                <a:gd name="T100" fmla="*/ 118 w 712"/>
                <a:gd name="T101" fmla="*/ 1027 h 1048"/>
                <a:gd name="T102" fmla="*/ 168 w 712"/>
                <a:gd name="T103" fmla="*/ 1020 h 1048"/>
                <a:gd name="T104" fmla="*/ 193 w 712"/>
                <a:gd name="T105" fmla="*/ 1038 h 1048"/>
                <a:gd name="T106" fmla="*/ 262 w 712"/>
                <a:gd name="T107" fmla="*/ 1011 h 1048"/>
                <a:gd name="T108" fmla="*/ 313 w 712"/>
                <a:gd name="T109" fmla="*/ 984 h 1048"/>
                <a:gd name="T110" fmla="*/ 345 w 712"/>
                <a:gd name="T111" fmla="*/ 950 h 1048"/>
                <a:gd name="T112" fmla="*/ 355 w 712"/>
                <a:gd name="T113" fmla="*/ 957 h 1048"/>
                <a:gd name="T114" fmla="*/ 459 w 712"/>
                <a:gd name="T115" fmla="*/ 907 h 1048"/>
                <a:gd name="T116" fmla="*/ 533 w 712"/>
                <a:gd name="T117" fmla="*/ 864 h 1048"/>
                <a:gd name="T118" fmla="*/ 566 w 712"/>
                <a:gd name="T119" fmla="*/ 872 h 1048"/>
                <a:gd name="T120" fmla="*/ 634 w 712"/>
                <a:gd name="T121" fmla="*/ 855 h 1048"/>
                <a:gd name="T122" fmla="*/ 634 w 712"/>
                <a:gd name="T123" fmla="*/ 811 h 1048"/>
                <a:gd name="T124" fmla="*/ 710 w 712"/>
                <a:gd name="T125" fmla="*/ 659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12" h="1048">
                  <a:moveTo>
                    <a:pt x="107" y="1001"/>
                  </a:moveTo>
                  <a:lnTo>
                    <a:pt x="108" y="999"/>
                  </a:lnTo>
                  <a:lnTo>
                    <a:pt x="107" y="999"/>
                  </a:lnTo>
                  <a:lnTo>
                    <a:pt x="106" y="999"/>
                  </a:lnTo>
                  <a:lnTo>
                    <a:pt x="104" y="999"/>
                  </a:lnTo>
                  <a:lnTo>
                    <a:pt x="99" y="998"/>
                  </a:lnTo>
                  <a:lnTo>
                    <a:pt x="95" y="999"/>
                  </a:lnTo>
                  <a:lnTo>
                    <a:pt x="92" y="1000"/>
                  </a:lnTo>
                  <a:lnTo>
                    <a:pt x="90" y="1002"/>
                  </a:lnTo>
                  <a:lnTo>
                    <a:pt x="89" y="1004"/>
                  </a:lnTo>
                  <a:lnTo>
                    <a:pt x="92" y="1005"/>
                  </a:lnTo>
                  <a:lnTo>
                    <a:pt x="93" y="1006"/>
                  </a:lnTo>
                  <a:lnTo>
                    <a:pt x="106" y="1002"/>
                  </a:lnTo>
                  <a:lnTo>
                    <a:pt x="107" y="1001"/>
                  </a:lnTo>
                  <a:close/>
                  <a:moveTo>
                    <a:pt x="25" y="931"/>
                  </a:moveTo>
                  <a:lnTo>
                    <a:pt x="28" y="930"/>
                  </a:lnTo>
                  <a:lnTo>
                    <a:pt x="29" y="928"/>
                  </a:lnTo>
                  <a:lnTo>
                    <a:pt x="29" y="926"/>
                  </a:lnTo>
                  <a:lnTo>
                    <a:pt x="27" y="926"/>
                  </a:lnTo>
                  <a:lnTo>
                    <a:pt x="26" y="926"/>
                  </a:lnTo>
                  <a:lnTo>
                    <a:pt x="25" y="925"/>
                  </a:lnTo>
                  <a:lnTo>
                    <a:pt x="24" y="924"/>
                  </a:lnTo>
                  <a:lnTo>
                    <a:pt x="21" y="924"/>
                  </a:lnTo>
                  <a:lnTo>
                    <a:pt x="19" y="925"/>
                  </a:lnTo>
                  <a:lnTo>
                    <a:pt x="11" y="931"/>
                  </a:lnTo>
                  <a:lnTo>
                    <a:pt x="8" y="935"/>
                  </a:lnTo>
                  <a:lnTo>
                    <a:pt x="9" y="937"/>
                  </a:lnTo>
                  <a:lnTo>
                    <a:pt x="12" y="936"/>
                  </a:lnTo>
                  <a:lnTo>
                    <a:pt x="14" y="935"/>
                  </a:lnTo>
                  <a:lnTo>
                    <a:pt x="19" y="934"/>
                  </a:lnTo>
                  <a:lnTo>
                    <a:pt x="25" y="931"/>
                  </a:lnTo>
                  <a:close/>
                  <a:moveTo>
                    <a:pt x="116" y="611"/>
                  </a:moveTo>
                  <a:lnTo>
                    <a:pt x="112" y="608"/>
                  </a:lnTo>
                  <a:lnTo>
                    <a:pt x="108" y="608"/>
                  </a:lnTo>
                  <a:lnTo>
                    <a:pt x="106" y="610"/>
                  </a:lnTo>
                  <a:lnTo>
                    <a:pt x="112" y="614"/>
                  </a:lnTo>
                  <a:lnTo>
                    <a:pt x="130" y="622"/>
                  </a:lnTo>
                  <a:lnTo>
                    <a:pt x="133" y="622"/>
                  </a:lnTo>
                  <a:lnTo>
                    <a:pt x="133" y="620"/>
                  </a:lnTo>
                  <a:lnTo>
                    <a:pt x="133" y="619"/>
                  </a:lnTo>
                  <a:lnTo>
                    <a:pt x="132" y="620"/>
                  </a:lnTo>
                  <a:lnTo>
                    <a:pt x="129" y="618"/>
                  </a:lnTo>
                  <a:lnTo>
                    <a:pt x="128" y="616"/>
                  </a:lnTo>
                  <a:lnTo>
                    <a:pt x="130" y="614"/>
                  </a:lnTo>
                  <a:lnTo>
                    <a:pt x="129" y="612"/>
                  </a:lnTo>
                  <a:lnTo>
                    <a:pt x="125" y="610"/>
                  </a:lnTo>
                  <a:lnTo>
                    <a:pt x="122" y="610"/>
                  </a:lnTo>
                  <a:lnTo>
                    <a:pt x="118" y="611"/>
                  </a:lnTo>
                  <a:lnTo>
                    <a:pt x="116" y="611"/>
                  </a:lnTo>
                  <a:close/>
                  <a:moveTo>
                    <a:pt x="122" y="583"/>
                  </a:moveTo>
                  <a:lnTo>
                    <a:pt x="125" y="587"/>
                  </a:lnTo>
                  <a:lnTo>
                    <a:pt x="131" y="585"/>
                  </a:lnTo>
                  <a:lnTo>
                    <a:pt x="134" y="580"/>
                  </a:lnTo>
                  <a:lnTo>
                    <a:pt x="130" y="574"/>
                  </a:lnTo>
                  <a:lnTo>
                    <a:pt x="129" y="572"/>
                  </a:lnTo>
                  <a:lnTo>
                    <a:pt x="127" y="572"/>
                  </a:lnTo>
                  <a:lnTo>
                    <a:pt x="124" y="572"/>
                  </a:lnTo>
                  <a:lnTo>
                    <a:pt x="122" y="574"/>
                  </a:lnTo>
                  <a:lnTo>
                    <a:pt x="121" y="576"/>
                  </a:lnTo>
                  <a:lnTo>
                    <a:pt x="121" y="578"/>
                  </a:lnTo>
                  <a:lnTo>
                    <a:pt x="122" y="580"/>
                  </a:lnTo>
                  <a:lnTo>
                    <a:pt x="122" y="583"/>
                  </a:lnTo>
                  <a:close/>
                  <a:moveTo>
                    <a:pt x="46" y="390"/>
                  </a:moveTo>
                  <a:lnTo>
                    <a:pt x="51" y="391"/>
                  </a:lnTo>
                  <a:lnTo>
                    <a:pt x="63" y="388"/>
                  </a:lnTo>
                  <a:lnTo>
                    <a:pt x="66" y="389"/>
                  </a:lnTo>
                  <a:lnTo>
                    <a:pt x="68" y="391"/>
                  </a:lnTo>
                  <a:lnTo>
                    <a:pt x="68" y="394"/>
                  </a:lnTo>
                  <a:lnTo>
                    <a:pt x="67" y="397"/>
                  </a:lnTo>
                  <a:lnTo>
                    <a:pt x="67" y="401"/>
                  </a:lnTo>
                  <a:lnTo>
                    <a:pt x="68" y="403"/>
                  </a:lnTo>
                  <a:lnTo>
                    <a:pt x="69" y="404"/>
                  </a:lnTo>
                  <a:lnTo>
                    <a:pt x="72" y="403"/>
                  </a:lnTo>
                  <a:lnTo>
                    <a:pt x="73" y="404"/>
                  </a:lnTo>
                  <a:lnTo>
                    <a:pt x="77" y="407"/>
                  </a:lnTo>
                  <a:lnTo>
                    <a:pt x="80" y="411"/>
                  </a:lnTo>
                  <a:lnTo>
                    <a:pt x="83" y="412"/>
                  </a:lnTo>
                  <a:lnTo>
                    <a:pt x="87" y="409"/>
                  </a:lnTo>
                  <a:lnTo>
                    <a:pt x="86" y="406"/>
                  </a:lnTo>
                  <a:lnTo>
                    <a:pt x="86" y="401"/>
                  </a:lnTo>
                  <a:lnTo>
                    <a:pt x="88" y="397"/>
                  </a:lnTo>
                  <a:lnTo>
                    <a:pt x="89" y="394"/>
                  </a:lnTo>
                  <a:lnTo>
                    <a:pt x="89" y="393"/>
                  </a:lnTo>
                  <a:lnTo>
                    <a:pt x="88" y="391"/>
                  </a:lnTo>
                  <a:lnTo>
                    <a:pt x="86" y="391"/>
                  </a:lnTo>
                  <a:lnTo>
                    <a:pt x="84" y="392"/>
                  </a:lnTo>
                  <a:lnTo>
                    <a:pt x="82" y="393"/>
                  </a:lnTo>
                  <a:lnTo>
                    <a:pt x="82" y="391"/>
                  </a:lnTo>
                  <a:lnTo>
                    <a:pt x="83" y="389"/>
                  </a:lnTo>
                  <a:lnTo>
                    <a:pt x="84" y="388"/>
                  </a:lnTo>
                  <a:lnTo>
                    <a:pt x="84" y="385"/>
                  </a:lnTo>
                  <a:lnTo>
                    <a:pt x="83" y="383"/>
                  </a:lnTo>
                  <a:lnTo>
                    <a:pt x="87" y="383"/>
                  </a:lnTo>
                  <a:lnTo>
                    <a:pt x="83" y="376"/>
                  </a:lnTo>
                  <a:lnTo>
                    <a:pt x="80" y="374"/>
                  </a:lnTo>
                  <a:lnTo>
                    <a:pt x="66" y="374"/>
                  </a:lnTo>
                  <a:lnTo>
                    <a:pt x="63" y="376"/>
                  </a:lnTo>
                  <a:lnTo>
                    <a:pt x="59" y="379"/>
                  </a:lnTo>
                  <a:lnTo>
                    <a:pt x="55" y="380"/>
                  </a:lnTo>
                  <a:lnTo>
                    <a:pt x="52" y="376"/>
                  </a:lnTo>
                  <a:lnTo>
                    <a:pt x="50" y="378"/>
                  </a:lnTo>
                  <a:lnTo>
                    <a:pt x="49" y="378"/>
                  </a:lnTo>
                  <a:lnTo>
                    <a:pt x="48" y="378"/>
                  </a:lnTo>
                  <a:lnTo>
                    <a:pt x="46" y="376"/>
                  </a:lnTo>
                  <a:lnTo>
                    <a:pt x="44" y="381"/>
                  </a:lnTo>
                  <a:lnTo>
                    <a:pt x="42" y="384"/>
                  </a:lnTo>
                  <a:lnTo>
                    <a:pt x="38" y="385"/>
                  </a:lnTo>
                  <a:lnTo>
                    <a:pt x="34" y="385"/>
                  </a:lnTo>
                  <a:lnTo>
                    <a:pt x="34" y="387"/>
                  </a:lnTo>
                  <a:lnTo>
                    <a:pt x="39" y="387"/>
                  </a:lnTo>
                  <a:lnTo>
                    <a:pt x="46" y="390"/>
                  </a:lnTo>
                  <a:close/>
                  <a:moveTo>
                    <a:pt x="310" y="116"/>
                  </a:moveTo>
                  <a:lnTo>
                    <a:pt x="317" y="114"/>
                  </a:lnTo>
                  <a:lnTo>
                    <a:pt x="316" y="110"/>
                  </a:lnTo>
                  <a:lnTo>
                    <a:pt x="315" y="107"/>
                  </a:lnTo>
                  <a:lnTo>
                    <a:pt x="313" y="106"/>
                  </a:lnTo>
                  <a:lnTo>
                    <a:pt x="311" y="105"/>
                  </a:lnTo>
                  <a:lnTo>
                    <a:pt x="310" y="104"/>
                  </a:lnTo>
                  <a:lnTo>
                    <a:pt x="309" y="103"/>
                  </a:lnTo>
                  <a:lnTo>
                    <a:pt x="308" y="103"/>
                  </a:lnTo>
                  <a:lnTo>
                    <a:pt x="306" y="105"/>
                  </a:lnTo>
                  <a:lnTo>
                    <a:pt x="307" y="105"/>
                  </a:lnTo>
                  <a:lnTo>
                    <a:pt x="307" y="106"/>
                  </a:lnTo>
                  <a:lnTo>
                    <a:pt x="307" y="107"/>
                  </a:lnTo>
                  <a:lnTo>
                    <a:pt x="307" y="107"/>
                  </a:lnTo>
                  <a:lnTo>
                    <a:pt x="304" y="109"/>
                  </a:lnTo>
                  <a:lnTo>
                    <a:pt x="304" y="111"/>
                  </a:lnTo>
                  <a:lnTo>
                    <a:pt x="305" y="111"/>
                  </a:lnTo>
                  <a:lnTo>
                    <a:pt x="304" y="111"/>
                  </a:lnTo>
                  <a:lnTo>
                    <a:pt x="304" y="113"/>
                  </a:lnTo>
                  <a:lnTo>
                    <a:pt x="304" y="114"/>
                  </a:lnTo>
                  <a:lnTo>
                    <a:pt x="307" y="116"/>
                  </a:lnTo>
                  <a:lnTo>
                    <a:pt x="310" y="116"/>
                  </a:lnTo>
                  <a:close/>
                  <a:moveTo>
                    <a:pt x="712" y="656"/>
                  </a:moveTo>
                  <a:lnTo>
                    <a:pt x="705" y="648"/>
                  </a:lnTo>
                  <a:lnTo>
                    <a:pt x="703" y="644"/>
                  </a:lnTo>
                  <a:lnTo>
                    <a:pt x="704" y="640"/>
                  </a:lnTo>
                  <a:lnTo>
                    <a:pt x="705" y="636"/>
                  </a:lnTo>
                  <a:lnTo>
                    <a:pt x="706" y="630"/>
                  </a:lnTo>
                  <a:lnTo>
                    <a:pt x="706" y="623"/>
                  </a:lnTo>
                  <a:lnTo>
                    <a:pt x="705" y="619"/>
                  </a:lnTo>
                  <a:lnTo>
                    <a:pt x="706" y="618"/>
                  </a:lnTo>
                  <a:lnTo>
                    <a:pt x="706" y="618"/>
                  </a:lnTo>
                  <a:lnTo>
                    <a:pt x="706" y="618"/>
                  </a:lnTo>
                  <a:lnTo>
                    <a:pt x="707" y="617"/>
                  </a:lnTo>
                  <a:lnTo>
                    <a:pt x="701" y="606"/>
                  </a:lnTo>
                  <a:lnTo>
                    <a:pt x="699" y="603"/>
                  </a:lnTo>
                  <a:lnTo>
                    <a:pt x="700" y="598"/>
                  </a:lnTo>
                  <a:lnTo>
                    <a:pt x="699" y="595"/>
                  </a:lnTo>
                  <a:lnTo>
                    <a:pt x="697" y="593"/>
                  </a:lnTo>
                  <a:lnTo>
                    <a:pt x="697" y="593"/>
                  </a:lnTo>
                  <a:lnTo>
                    <a:pt x="696" y="590"/>
                  </a:lnTo>
                  <a:lnTo>
                    <a:pt x="695" y="586"/>
                  </a:lnTo>
                  <a:lnTo>
                    <a:pt x="694" y="582"/>
                  </a:lnTo>
                  <a:lnTo>
                    <a:pt x="695" y="576"/>
                  </a:lnTo>
                  <a:lnTo>
                    <a:pt x="695" y="575"/>
                  </a:lnTo>
                  <a:lnTo>
                    <a:pt x="696" y="573"/>
                  </a:lnTo>
                  <a:lnTo>
                    <a:pt x="696" y="571"/>
                  </a:lnTo>
                  <a:lnTo>
                    <a:pt x="694" y="570"/>
                  </a:lnTo>
                  <a:lnTo>
                    <a:pt x="693" y="570"/>
                  </a:lnTo>
                  <a:lnTo>
                    <a:pt x="691" y="569"/>
                  </a:lnTo>
                  <a:lnTo>
                    <a:pt x="687" y="567"/>
                  </a:lnTo>
                  <a:lnTo>
                    <a:pt x="685" y="566"/>
                  </a:lnTo>
                  <a:lnTo>
                    <a:pt x="682" y="561"/>
                  </a:lnTo>
                  <a:lnTo>
                    <a:pt x="678" y="557"/>
                  </a:lnTo>
                  <a:lnTo>
                    <a:pt x="677" y="555"/>
                  </a:lnTo>
                  <a:lnTo>
                    <a:pt x="677" y="552"/>
                  </a:lnTo>
                  <a:lnTo>
                    <a:pt x="686" y="544"/>
                  </a:lnTo>
                  <a:lnTo>
                    <a:pt x="688" y="544"/>
                  </a:lnTo>
                  <a:lnTo>
                    <a:pt x="690" y="543"/>
                  </a:lnTo>
                  <a:lnTo>
                    <a:pt x="692" y="543"/>
                  </a:lnTo>
                  <a:lnTo>
                    <a:pt x="693" y="543"/>
                  </a:lnTo>
                  <a:lnTo>
                    <a:pt x="694" y="546"/>
                  </a:lnTo>
                  <a:lnTo>
                    <a:pt x="695" y="546"/>
                  </a:lnTo>
                  <a:lnTo>
                    <a:pt x="697" y="548"/>
                  </a:lnTo>
                  <a:lnTo>
                    <a:pt x="699" y="549"/>
                  </a:lnTo>
                  <a:lnTo>
                    <a:pt x="702" y="549"/>
                  </a:lnTo>
                  <a:lnTo>
                    <a:pt x="703" y="544"/>
                  </a:lnTo>
                  <a:lnTo>
                    <a:pt x="700" y="543"/>
                  </a:lnTo>
                  <a:lnTo>
                    <a:pt x="694" y="542"/>
                  </a:lnTo>
                  <a:lnTo>
                    <a:pt x="691" y="541"/>
                  </a:lnTo>
                  <a:lnTo>
                    <a:pt x="692" y="540"/>
                  </a:lnTo>
                  <a:lnTo>
                    <a:pt x="693" y="538"/>
                  </a:lnTo>
                  <a:lnTo>
                    <a:pt x="694" y="537"/>
                  </a:lnTo>
                  <a:lnTo>
                    <a:pt x="692" y="535"/>
                  </a:lnTo>
                  <a:lnTo>
                    <a:pt x="691" y="532"/>
                  </a:lnTo>
                  <a:lnTo>
                    <a:pt x="691" y="530"/>
                  </a:lnTo>
                  <a:lnTo>
                    <a:pt x="680" y="525"/>
                  </a:lnTo>
                  <a:lnTo>
                    <a:pt x="683" y="522"/>
                  </a:lnTo>
                  <a:lnTo>
                    <a:pt x="686" y="521"/>
                  </a:lnTo>
                  <a:lnTo>
                    <a:pt x="689" y="522"/>
                  </a:lnTo>
                  <a:lnTo>
                    <a:pt x="690" y="525"/>
                  </a:lnTo>
                  <a:lnTo>
                    <a:pt x="692" y="523"/>
                  </a:lnTo>
                  <a:lnTo>
                    <a:pt x="694" y="518"/>
                  </a:lnTo>
                  <a:lnTo>
                    <a:pt x="695" y="515"/>
                  </a:lnTo>
                  <a:lnTo>
                    <a:pt x="695" y="513"/>
                  </a:lnTo>
                  <a:lnTo>
                    <a:pt x="696" y="511"/>
                  </a:lnTo>
                  <a:lnTo>
                    <a:pt x="699" y="507"/>
                  </a:lnTo>
                  <a:lnTo>
                    <a:pt x="699" y="504"/>
                  </a:lnTo>
                  <a:lnTo>
                    <a:pt x="699" y="500"/>
                  </a:lnTo>
                  <a:lnTo>
                    <a:pt x="698" y="496"/>
                  </a:lnTo>
                  <a:lnTo>
                    <a:pt x="697" y="494"/>
                  </a:lnTo>
                  <a:lnTo>
                    <a:pt x="694" y="491"/>
                  </a:lnTo>
                  <a:lnTo>
                    <a:pt x="689" y="489"/>
                  </a:lnTo>
                  <a:lnTo>
                    <a:pt x="684" y="486"/>
                  </a:lnTo>
                  <a:lnTo>
                    <a:pt x="682" y="480"/>
                  </a:lnTo>
                  <a:lnTo>
                    <a:pt x="680" y="478"/>
                  </a:lnTo>
                  <a:lnTo>
                    <a:pt x="678" y="477"/>
                  </a:lnTo>
                  <a:lnTo>
                    <a:pt x="676" y="475"/>
                  </a:lnTo>
                  <a:lnTo>
                    <a:pt x="675" y="472"/>
                  </a:lnTo>
                  <a:lnTo>
                    <a:pt x="674" y="469"/>
                  </a:lnTo>
                  <a:lnTo>
                    <a:pt x="673" y="465"/>
                  </a:lnTo>
                  <a:lnTo>
                    <a:pt x="672" y="453"/>
                  </a:lnTo>
                  <a:lnTo>
                    <a:pt x="672" y="446"/>
                  </a:lnTo>
                  <a:lnTo>
                    <a:pt x="673" y="439"/>
                  </a:lnTo>
                  <a:lnTo>
                    <a:pt x="676" y="435"/>
                  </a:lnTo>
                  <a:lnTo>
                    <a:pt x="673" y="432"/>
                  </a:lnTo>
                  <a:lnTo>
                    <a:pt x="671" y="428"/>
                  </a:lnTo>
                  <a:lnTo>
                    <a:pt x="671" y="423"/>
                  </a:lnTo>
                  <a:lnTo>
                    <a:pt x="673" y="418"/>
                  </a:lnTo>
                  <a:lnTo>
                    <a:pt x="673" y="417"/>
                  </a:lnTo>
                  <a:lnTo>
                    <a:pt x="661" y="415"/>
                  </a:lnTo>
                  <a:lnTo>
                    <a:pt x="656" y="412"/>
                  </a:lnTo>
                  <a:lnTo>
                    <a:pt x="652" y="407"/>
                  </a:lnTo>
                  <a:lnTo>
                    <a:pt x="651" y="402"/>
                  </a:lnTo>
                  <a:lnTo>
                    <a:pt x="651" y="398"/>
                  </a:lnTo>
                  <a:lnTo>
                    <a:pt x="652" y="390"/>
                  </a:lnTo>
                  <a:lnTo>
                    <a:pt x="653" y="385"/>
                  </a:lnTo>
                  <a:lnTo>
                    <a:pt x="655" y="382"/>
                  </a:lnTo>
                  <a:lnTo>
                    <a:pt x="656" y="379"/>
                  </a:lnTo>
                  <a:lnTo>
                    <a:pt x="654" y="378"/>
                  </a:lnTo>
                  <a:lnTo>
                    <a:pt x="654" y="376"/>
                  </a:lnTo>
                  <a:lnTo>
                    <a:pt x="663" y="377"/>
                  </a:lnTo>
                  <a:lnTo>
                    <a:pt x="674" y="382"/>
                  </a:lnTo>
                  <a:lnTo>
                    <a:pt x="676" y="382"/>
                  </a:lnTo>
                  <a:lnTo>
                    <a:pt x="678" y="383"/>
                  </a:lnTo>
                  <a:lnTo>
                    <a:pt x="682" y="386"/>
                  </a:lnTo>
                  <a:lnTo>
                    <a:pt x="686" y="387"/>
                  </a:lnTo>
                  <a:lnTo>
                    <a:pt x="689" y="386"/>
                  </a:lnTo>
                  <a:lnTo>
                    <a:pt x="694" y="380"/>
                  </a:lnTo>
                  <a:lnTo>
                    <a:pt x="694" y="377"/>
                  </a:lnTo>
                  <a:lnTo>
                    <a:pt x="691" y="372"/>
                  </a:lnTo>
                  <a:lnTo>
                    <a:pt x="690" y="371"/>
                  </a:lnTo>
                  <a:lnTo>
                    <a:pt x="689" y="371"/>
                  </a:lnTo>
                  <a:lnTo>
                    <a:pt x="685" y="370"/>
                  </a:lnTo>
                  <a:lnTo>
                    <a:pt x="684" y="369"/>
                  </a:lnTo>
                  <a:lnTo>
                    <a:pt x="682" y="366"/>
                  </a:lnTo>
                  <a:lnTo>
                    <a:pt x="681" y="365"/>
                  </a:lnTo>
                  <a:lnTo>
                    <a:pt x="679" y="363"/>
                  </a:lnTo>
                  <a:lnTo>
                    <a:pt x="669" y="354"/>
                  </a:lnTo>
                  <a:lnTo>
                    <a:pt x="669" y="354"/>
                  </a:lnTo>
                  <a:lnTo>
                    <a:pt x="666" y="352"/>
                  </a:lnTo>
                  <a:lnTo>
                    <a:pt x="664" y="352"/>
                  </a:lnTo>
                  <a:lnTo>
                    <a:pt x="662" y="353"/>
                  </a:lnTo>
                  <a:lnTo>
                    <a:pt x="659" y="354"/>
                  </a:lnTo>
                  <a:lnTo>
                    <a:pt x="658" y="353"/>
                  </a:lnTo>
                  <a:lnTo>
                    <a:pt x="656" y="351"/>
                  </a:lnTo>
                  <a:lnTo>
                    <a:pt x="655" y="350"/>
                  </a:lnTo>
                  <a:lnTo>
                    <a:pt x="653" y="354"/>
                  </a:lnTo>
                  <a:lnTo>
                    <a:pt x="653" y="356"/>
                  </a:lnTo>
                  <a:lnTo>
                    <a:pt x="653" y="358"/>
                  </a:lnTo>
                  <a:lnTo>
                    <a:pt x="653" y="360"/>
                  </a:lnTo>
                  <a:lnTo>
                    <a:pt x="652" y="362"/>
                  </a:lnTo>
                  <a:lnTo>
                    <a:pt x="651" y="363"/>
                  </a:lnTo>
                  <a:lnTo>
                    <a:pt x="648" y="364"/>
                  </a:lnTo>
                  <a:lnTo>
                    <a:pt x="644" y="365"/>
                  </a:lnTo>
                  <a:lnTo>
                    <a:pt x="642" y="365"/>
                  </a:lnTo>
                  <a:lnTo>
                    <a:pt x="641" y="364"/>
                  </a:lnTo>
                  <a:lnTo>
                    <a:pt x="640" y="363"/>
                  </a:lnTo>
                  <a:lnTo>
                    <a:pt x="640" y="362"/>
                  </a:lnTo>
                  <a:lnTo>
                    <a:pt x="640" y="362"/>
                  </a:lnTo>
                  <a:lnTo>
                    <a:pt x="635" y="362"/>
                  </a:lnTo>
                  <a:lnTo>
                    <a:pt x="622" y="367"/>
                  </a:lnTo>
                  <a:lnTo>
                    <a:pt x="620" y="367"/>
                  </a:lnTo>
                  <a:lnTo>
                    <a:pt x="618" y="366"/>
                  </a:lnTo>
                  <a:lnTo>
                    <a:pt x="617" y="366"/>
                  </a:lnTo>
                  <a:lnTo>
                    <a:pt x="616" y="367"/>
                  </a:lnTo>
                  <a:lnTo>
                    <a:pt x="615" y="368"/>
                  </a:lnTo>
                  <a:lnTo>
                    <a:pt x="614" y="370"/>
                  </a:lnTo>
                  <a:lnTo>
                    <a:pt x="614" y="370"/>
                  </a:lnTo>
                  <a:lnTo>
                    <a:pt x="611" y="369"/>
                  </a:lnTo>
                  <a:lnTo>
                    <a:pt x="607" y="364"/>
                  </a:lnTo>
                  <a:lnTo>
                    <a:pt x="605" y="362"/>
                  </a:lnTo>
                  <a:lnTo>
                    <a:pt x="607" y="355"/>
                  </a:lnTo>
                  <a:lnTo>
                    <a:pt x="607" y="352"/>
                  </a:lnTo>
                  <a:lnTo>
                    <a:pt x="606" y="349"/>
                  </a:lnTo>
                  <a:lnTo>
                    <a:pt x="609" y="345"/>
                  </a:lnTo>
                  <a:lnTo>
                    <a:pt x="611" y="340"/>
                  </a:lnTo>
                  <a:lnTo>
                    <a:pt x="610" y="335"/>
                  </a:lnTo>
                  <a:lnTo>
                    <a:pt x="608" y="333"/>
                  </a:lnTo>
                  <a:lnTo>
                    <a:pt x="606" y="331"/>
                  </a:lnTo>
                  <a:lnTo>
                    <a:pt x="603" y="328"/>
                  </a:lnTo>
                  <a:lnTo>
                    <a:pt x="601" y="327"/>
                  </a:lnTo>
                  <a:lnTo>
                    <a:pt x="599" y="326"/>
                  </a:lnTo>
                  <a:lnTo>
                    <a:pt x="597" y="328"/>
                  </a:lnTo>
                  <a:lnTo>
                    <a:pt x="596" y="329"/>
                  </a:lnTo>
                  <a:lnTo>
                    <a:pt x="595" y="331"/>
                  </a:lnTo>
                  <a:lnTo>
                    <a:pt x="593" y="330"/>
                  </a:lnTo>
                  <a:lnTo>
                    <a:pt x="590" y="328"/>
                  </a:lnTo>
                  <a:lnTo>
                    <a:pt x="586" y="325"/>
                  </a:lnTo>
                  <a:lnTo>
                    <a:pt x="583" y="322"/>
                  </a:lnTo>
                  <a:lnTo>
                    <a:pt x="581" y="317"/>
                  </a:lnTo>
                  <a:lnTo>
                    <a:pt x="580" y="315"/>
                  </a:lnTo>
                  <a:lnTo>
                    <a:pt x="579" y="312"/>
                  </a:lnTo>
                  <a:lnTo>
                    <a:pt x="578" y="310"/>
                  </a:lnTo>
                  <a:lnTo>
                    <a:pt x="577" y="308"/>
                  </a:lnTo>
                  <a:lnTo>
                    <a:pt x="571" y="305"/>
                  </a:lnTo>
                  <a:lnTo>
                    <a:pt x="574" y="304"/>
                  </a:lnTo>
                  <a:lnTo>
                    <a:pt x="575" y="301"/>
                  </a:lnTo>
                  <a:lnTo>
                    <a:pt x="575" y="297"/>
                  </a:lnTo>
                  <a:lnTo>
                    <a:pt x="573" y="292"/>
                  </a:lnTo>
                  <a:lnTo>
                    <a:pt x="572" y="288"/>
                  </a:lnTo>
                  <a:lnTo>
                    <a:pt x="571" y="287"/>
                  </a:lnTo>
                  <a:lnTo>
                    <a:pt x="569" y="286"/>
                  </a:lnTo>
                  <a:lnTo>
                    <a:pt x="567" y="286"/>
                  </a:lnTo>
                  <a:lnTo>
                    <a:pt x="566" y="281"/>
                  </a:lnTo>
                  <a:lnTo>
                    <a:pt x="565" y="279"/>
                  </a:lnTo>
                  <a:lnTo>
                    <a:pt x="555" y="271"/>
                  </a:lnTo>
                  <a:lnTo>
                    <a:pt x="550" y="268"/>
                  </a:lnTo>
                  <a:lnTo>
                    <a:pt x="545" y="269"/>
                  </a:lnTo>
                  <a:lnTo>
                    <a:pt x="540" y="273"/>
                  </a:lnTo>
                  <a:lnTo>
                    <a:pt x="532" y="285"/>
                  </a:lnTo>
                  <a:lnTo>
                    <a:pt x="527" y="290"/>
                  </a:lnTo>
                  <a:lnTo>
                    <a:pt x="526" y="290"/>
                  </a:lnTo>
                  <a:lnTo>
                    <a:pt x="523" y="289"/>
                  </a:lnTo>
                  <a:lnTo>
                    <a:pt x="523" y="290"/>
                  </a:lnTo>
                  <a:lnTo>
                    <a:pt x="522" y="290"/>
                  </a:lnTo>
                  <a:lnTo>
                    <a:pt x="522" y="291"/>
                  </a:lnTo>
                  <a:lnTo>
                    <a:pt x="522" y="293"/>
                  </a:lnTo>
                  <a:lnTo>
                    <a:pt x="523" y="294"/>
                  </a:lnTo>
                  <a:lnTo>
                    <a:pt x="523" y="295"/>
                  </a:lnTo>
                  <a:lnTo>
                    <a:pt x="523" y="295"/>
                  </a:lnTo>
                  <a:lnTo>
                    <a:pt x="522" y="297"/>
                  </a:lnTo>
                  <a:lnTo>
                    <a:pt x="522" y="297"/>
                  </a:lnTo>
                  <a:lnTo>
                    <a:pt x="521" y="298"/>
                  </a:lnTo>
                  <a:lnTo>
                    <a:pt x="520" y="298"/>
                  </a:lnTo>
                  <a:lnTo>
                    <a:pt x="519" y="298"/>
                  </a:lnTo>
                  <a:lnTo>
                    <a:pt x="519" y="301"/>
                  </a:lnTo>
                  <a:lnTo>
                    <a:pt x="525" y="304"/>
                  </a:lnTo>
                  <a:lnTo>
                    <a:pt x="524" y="307"/>
                  </a:lnTo>
                  <a:lnTo>
                    <a:pt x="529" y="312"/>
                  </a:lnTo>
                  <a:lnTo>
                    <a:pt x="527" y="315"/>
                  </a:lnTo>
                  <a:lnTo>
                    <a:pt x="528" y="319"/>
                  </a:lnTo>
                  <a:lnTo>
                    <a:pt x="525" y="322"/>
                  </a:lnTo>
                  <a:lnTo>
                    <a:pt x="516" y="324"/>
                  </a:lnTo>
                  <a:lnTo>
                    <a:pt x="514" y="325"/>
                  </a:lnTo>
                  <a:lnTo>
                    <a:pt x="513" y="327"/>
                  </a:lnTo>
                  <a:lnTo>
                    <a:pt x="512" y="329"/>
                  </a:lnTo>
                  <a:lnTo>
                    <a:pt x="511" y="331"/>
                  </a:lnTo>
                  <a:lnTo>
                    <a:pt x="512" y="333"/>
                  </a:lnTo>
                  <a:lnTo>
                    <a:pt x="513" y="334"/>
                  </a:lnTo>
                  <a:lnTo>
                    <a:pt x="513" y="335"/>
                  </a:lnTo>
                  <a:lnTo>
                    <a:pt x="511" y="337"/>
                  </a:lnTo>
                  <a:lnTo>
                    <a:pt x="511" y="339"/>
                  </a:lnTo>
                  <a:lnTo>
                    <a:pt x="511" y="342"/>
                  </a:lnTo>
                  <a:lnTo>
                    <a:pt x="510" y="344"/>
                  </a:lnTo>
                  <a:lnTo>
                    <a:pt x="508" y="346"/>
                  </a:lnTo>
                  <a:lnTo>
                    <a:pt x="506" y="347"/>
                  </a:lnTo>
                  <a:lnTo>
                    <a:pt x="505" y="346"/>
                  </a:lnTo>
                  <a:lnTo>
                    <a:pt x="506" y="344"/>
                  </a:lnTo>
                  <a:lnTo>
                    <a:pt x="506" y="341"/>
                  </a:lnTo>
                  <a:lnTo>
                    <a:pt x="506" y="338"/>
                  </a:lnTo>
                  <a:lnTo>
                    <a:pt x="506" y="336"/>
                  </a:lnTo>
                  <a:lnTo>
                    <a:pt x="506" y="336"/>
                  </a:lnTo>
                  <a:lnTo>
                    <a:pt x="501" y="339"/>
                  </a:lnTo>
                  <a:lnTo>
                    <a:pt x="500" y="340"/>
                  </a:lnTo>
                  <a:lnTo>
                    <a:pt x="500" y="342"/>
                  </a:lnTo>
                  <a:lnTo>
                    <a:pt x="503" y="349"/>
                  </a:lnTo>
                  <a:lnTo>
                    <a:pt x="503" y="349"/>
                  </a:lnTo>
                  <a:lnTo>
                    <a:pt x="501" y="349"/>
                  </a:lnTo>
                  <a:lnTo>
                    <a:pt x="493" y="347"/>
                  </a:lnTo>
                  <a:lnTo>
                    <a:pt x="491" y="348"/>
                  </a:lnTo>
                  <a:lnTo>
                    <a:pt x="490" y="347"/>
                  </a:lnTo>
                  <a:lnTo>
                    <a:pt x="490" y="346"/>
                  </a:lnTo>
                  <a:lnTo>
                    <a:pt x="488" y="344"/>
                  </a:lnTo>
                  <a:lnTo>
                    <a:pt x="487" y="344"/>
                  </a:lnTo>
                  <a:lnTo>
                    <a:pt x="486" y="344"/>
                  </a:lnTo>
                  <a:lnTo>
                    <a:pt x="485" y="343"/>
                  </a:lnTo>
                  <a:lnTo>
                    <a:pt x="487" y="341"/>
                  </a:lnTo>
                  <a:lnTo>
                    <a:pt x="483" y="340"/>
                  </a:lnTo>
                  <a:lnTo>
                    <a:pt x="476" y="346"/>
                  </a:lnTo>
                  <a:lnTo>
                    <a:pt x="473" y="346"/>
                  </a:lnTo>
                  <a:lnTo>
                    <a:pt x="456" y="343"/>
                  </a:lnTo>
                  <a:lnTo>
                    <a:pt x="454" y="341"/>
                  </a:lnTo>
                  <a:lnTo>
                    <a:pt x="454" y="339"/>
                  </a:lnTo>
                  <a:lnTo>
                    <a:pt x="453" y="336"/>
                  </a:lnTo>
                  <a:lnTo>
                    <a:pt x="452" y="335"/>
                  </a:lnTo>
                  <a:lnTo>
                    <a:pt x="441" y="326"/>
                  </a:lnTo>
                  <a:lnTo>
                    <a:pt x="438" y="325"/>
                  </a:lnTo>
                  <a:lnTo>
                    <a:pt x="429" y="326"/>
                  </a:lnTo>
                  <a:lnTo>
                    <a:pt x="420" y="325"/>
                  </a:lnTo>
                  <a:lnTo>
                    <a:pt x="417" y="323"/>
                  </a:lnTo>
                  <a:lnTo>
                    <a:pt x="415" y="319"/>
                  </a:lnTo>
                  <a:lnTo>
                    <a:pt x="414" y="307"/>
                  </a:lnTo>
                  <a:lnTo>
                    <a:pt x="413" y="303"/>
                  </a:lnTo>
                  <a:lnTo>
                    <a:pt x="410" y="301"/>
                  </a:lnTo>
                  <a:lnTo>
                    <a:pt x="404" y="300"/>
                  </a:lnTo>
                  <a:lnTo>
                    <a:pt x="403" y="300"/>
                  </a:lnTo>
                  <a:lnTo>
                    <a:pt x="402" y="299"/>
                  </a:lnTo>
                  <a:lnTo>
                    <a:pt x="399" y="296"/>
                  </a:lnTo>
                  <a:lnTo>
                    <a:pt x="397" y="292"/>
                  </a:lnTo>
                  <a:lnTo>
                    <a:pt x="394" y="283"/>
                  </a:lnTo>
                  <a:lnTo>
                    <a:pt x="389" y="283"/>
                  </a:lnTo>
                  <a:lnTo>
                    <a:pt x="385" y="281"/>
                  </a:lnTo>
                  <a:lnTo>
                    <a:pt x="381" y="277"/>
                  </a:lnTo>
                  <a:lnTo>
                    <a:pt x="375" y="268"/>
                  </a:lnTo>
                  <a:lnTo>
                    <a:pt x="371" y="264"/>
                  </a:lnTo>
                  <a:lnTo>
                    <a:pt x="369" y="261"/>
                  </a:lnTo>
                  <a:lnTo>
                    <a:pt x="369" y="259"/>
                  </a:lnTo>
                  <a:lnTo>
                    <a:pt x="368" y="257"/>
                  </a:lnTo>
                  <a:lnTo>
                    <a:pt x="366" y="255"/>
                  </a:lnTo>
                  <a:lnTo>
                    <a:pt x="367" y="255"/>
                  </a:lnTo>
                  <a:lnTo>
                    <a:pt x="370" y="253"/>
                  </a:lnTo>
                  <a:lnTo>
                    <a:pt x="378" y="251"/>
                  </a:lnTo>
                  <a:lnTo>
                    <a:pt x="382" y="248"/>
                  </a:lnTo>
                  <a:lnTo>
                    <a:pt x="384" y="246"/>
                  </a:lnTo>
                  <a:lnTo>
                    <a:pt x="385" y="245"/>
                  </a:lnTo>
                  <a:lnTo>
                    <a:pt x="387" y="241"/>
                  </a:lnTo>
                  <a:lnTo>
                    <a:pt x="390" y="236"/>
                  </a:lnTo>
                  <a:lnTo>
                    <a:pt x="394" y="233"/>
                  </a:lnTo>
                  <a:lnTo>
                    <a:pt x="405" y="236"/>
                  </a:lnTo>
                  <a:lnTo>
                    <a:pt x="412" y="236"/>
                  </a:lnTo>
                  <a:lnTo>
                    <a:pt x="418" y="233"/>
                  </a:lnTo>
                  <a:lnTo>
                    <a:pt x="434" y="218"/>
                  </a:lnTo>
                  <a:lnTo>
                    <a:pt x="440" y="216"/>
                  </a:lnTo>
                  <a:lnTo>
                    <a:pt x="440" y="216"/>
                  </a:lnTo>
                  <a:lnTo>
                    <a:pt x="440" y="216"/>
                  </a:lnTo>
                  <a:lnTo>
                    <a:pt x="440" y="211"/>
                  </a:lnTo>
                  <a:lnTo>
                    <a:pt x="438" y="210"/>
                  </a:lnTo>
                  <a:lnTo>
                    <a:pt x="436" y="212"/>
                  </a:lnTo>
                  <a:lnTo>
                    <a:pt x="433" y="213"/>
                  </a:lnTo>
                  <a:lnTo>
                    <a:pt x="430" y="212"/>
                  </a:lnTo>
                  <a:lnTo>
                    <a:pt x="425" y="208"/>
                  </a:lnTo>
                  <a:lnTo>
                    <a:pt x="423" y="207"/>
                  </a:lnTo>
                  <a:lnTo>
                    <a:pt x="422" y="207"/>
                  </a:lnTo>
                  <a:lnTo>
                    <a:pt x="420" y="209"/>
                  </a:lnTo>
                  <a:lnTo>
                    <a:pt x="418" y="209"/>
                  </a:lnTo>
                  <a:lnTo>
                    <a:pt x="417" y="207"/>
                  </a:lnTo>
                  <a:lnTo>
                    <a:pt x="415" y="204"/>
                  </a:lnTo>
                  <a:lnTo>
                    <a:pt x="414" y="203"/>
                  </a:lnTo>
                  <a:lnTo>
                    <a:pt x="411" y="202"/>
                  </a:lnTo>
                  <a:lnTo>
                    <a:pt x="409" y="201"/>
                  </a:lnTo>
                  <a:lnTo>
                    <a:pt x="407" y="198"/>
                  </a:lnTo>
                  <a:lnTo>
                    <a:pt x="409" y="194"/>
                  </a:lnTo>
                  <a:lnTo>
                    <a:pt x="408" y="193"/>
                  </a:lnTo>
                  <a:lnTo>
                    <a:pt x="405" y="191"/>
                  </a:lnTo>
                  <a:lnTo>
                    <a:pt x="413" y="187"/>
                  </a:lnTo>
                  <a:lnTo>
                    <a:pt x="418" y="182"/>
                  </a:lnTo>
                  <a:lnTo>
                    <a:pt x="420" y="182"/>
                  </a:lnTo>
                  <a:lnTo>
                    <a:pt x="425" y="186"/>
                  </a:lnTo>
                  <a:lnTo>
                    <a:pt x="430" y="188"/>
                  </a:lnTo>
                  <a:lnTo>
                    <a:pt x="436" y="188"/>
                  </a:lnTo>
                  <a:lnTo>
                    <a:pt x="441" y="185"/>
                  </a:lnTo>
                  <a:lnTo>
                    <a:pt x="447" y="179"/>
                  </a:lnTo>
                  <a:lnTo>
                    <a:pt x="449" y="178"/>
                  </a:lnTo>
                  <a:lnTo>
                    <a:pt x="455" y="179"/>
                  </a:lnTo>
                  <a:lnTo>
                    <a:pt x="460" y="178"/>
                  </a:lnTo>
                  <a:lnTo>
                    <a:pt x="463" y="179"/>
                  </a:lnTo>
                  <a:lnTo>
                    <a:pt x="464" y="179"/>
                  </a:lnTo>
                  <a:lnTo>
                    <a:pt x="466" y="178"/>
                  </a:lnTo>
                  <a:lnTo>
                    <a:pt x="466" y="178"/>
                  </a:lnTo>
                  <a:lnTo>
                    <a:pt x="466" y="177"/>
                  </a:lnTo>
                  <a:lnTo>
                    <a:pt x="465" y="175"/>
                  </a:lnTo>
                  <a:lnTo>
                    <a:pt x="465" y="168"/>
                  </a:lnTo>
                  <a:lnTo>
                    <a:pt x="466" y="164"/>
                  </a:lnTo>
                  <a:lnTo>
                    <a:pt x="478" y="150"/>
                  </a:lnTo>
                  <a:lnTo>
                    <a:pt x="480" y="145"/>
                  </a:lnTo>
                  <a:lnTo>
                    <a:pt x="482" y="139"/>
                  </a:lnTo>
                  <a:lnTo>
                    <a:pt x="482" y="136"/>
                  </a:lnTo>
                  <a:lnTo>
                    <a:pt x="481" y="129"/>
                  </a:lnTo>
                  <a:lnTo>
                    <a:pt x="482" y="126"/>
                  </a:lnTo>
                  <a:lnTo>
                    <a:pt x="483" y="124"/>
                  </a:lnTo>
                  <a:lnTo>
                    <a:pt x="486" y="123"/>
                  </a:lnTo>
                  <a:lnTo>
                    <a:pt x="487" y="123"/>
                  </a:lnTo>
                  <a:lnTo>
                    <a:pt x="488" y="121"/>
                  </a:lnTo>
                  <a:lnTo>
                    <a:pt x="488" y="119"/>
                  </a:lnTo>
                  <a:lnTo>
                    <a:pt x="487" y="112"/>
                  </a:lnTo>
                  <a:lnTo>
                    <a:pt x="488" y="110"/>
                  </a:lnTo>
                  <a:lnTo>
                    <a:pt x="488" y="109"/>
                  </a:lnTo>
                  <a:lnTo>
                    <a:pt x="489" y="109"/>
                  </a:lnTo>
                  <a:lnTo>
                    <a:pt x="488" y="106"/>
                  </a:lnTo>
                  <a:lnTo>
                    <a:pt x="493" y="99"/>
                  </a:lnTo>
                  <a:lnTo>
                    <a:pt x="494" y="98"/>
                  </a:lnTo>
                  <a:lnTo>
                    <a:pt x="496" y="96"/>
                  </a:lnTo>
                  <a:lnTo>
                    <a:pt x="506" y="94"/>
                  </a:lnTo>
                  <a:lnTo>
                    <a:pt x="508" y="93"/>
                  </a:lnTo>
                  <a:lnTo>
                    <a:pt x="509" y="91"/>
                  </a:lnTo>
                  <a:lnTo>
                    <a:pt x="510" y="90"/>
                  </a:lnTo>
                  <a:lnTo>
                    <a:pt x="513" y="88"/>
                  </a:lnTo>
                  <a:lnTo>
                    <a:pt x="514" y="87"/>
                  </a:lnTo>
                  <a:lnTo>
                    <a:pt x="516" y="82"/>
                  </a:lnTo>
                  <a:lnTo>
                    <a:pt x="518" y="78"/>
                  </a:lnTo>
                  <a:lnTo>
                    <a:pt x="525" y="68"/>
                  </a:lnTo>
                  <a:lnTo>
                    <a:pt x="527" y="66"/>
                  </a:lnTo>
                  <a:lnTo>
                    <a:pt x="532" y="65"/>
                  </a:lnTo>
                  <a:lnTo>
                    <a:pt x="537" y="62"/>
                  </a:lnTo>
                  <a:lnTo>
                    <a:pt x="542" y="56"/>
                  </a:lnTo>
                  <a:lnTo>
                    <a:pt x="547" y="53"/>
                  </a:lnTo>
                  <a:lnTo>
                    <a:pt x="552" y="51"/>
                  </a:lnTo>
                  <a:lnTo>
                    <a:pt x="557" y="50"/>
                  </a:lnTo>
                  <a:lnTo>
                    <a:pt x="562" y="47"/>
                  </a:lnTo>
                  <a:lnTo>
                    <a:pt x="562" y="41"/>
                  </a:lnTo>
                  <a:lnTo>
                    <a:pt x="560" y="37"/>
                  </a:lnTo>
                  <a:lnTo>
                    <a:pt x="557" y="39"/>
                  </a:lnTo>
                  <a:lnTo>
                    <a:pt x="553" y="36"/>
                  </a:lnTo>
                  <a:lnTo>
                    <a:pt x="546" y="33"/>
                  </a:lnTo>
                  <a:lnTo>
                    <a:pt x="540" y="32"/>
                  </a:lnTo>
                  <a:lnTo>
                    <a:pt x="532" y="28"/>
                  </a:lnTo>
                  <a:lnTo>
                    <a:pt x="530" y="26"/>
                  </a:lnTo>
                  <a:lnTo>
                    <a:pt x="522" y="14"/>
                  </a:lnTo>
                  <a:lnTo>
                    <a:pt x="519" y="12"/>
                  </a:lnTo>
                  <a:lnTo>
                    <a:pt x="513" y="8"/>
                  </a:lnTo>
                  <a:lnTo>
                    <a:pt x="511" y="8"/>
                  </a:lnTo>
                  <a:lnTo>
                    <a:pt x="500" y="4"/>
                  </a:lnTo>
                  <a:lnTo>
                    <a:pt x="494" y="1"/>
                  </a:lnTo>
                  <a:lnTo>
                    <a:pt x="492" y="0"/>
                  </a:lnTo>
                  <a:lnTo>
                    <a:pt x="489" y="2"/>
                  </a:lnTo>
                  <a:lnTo>
                    <a:pt x="490" y="4"/>
                  </a:lnTo>
                  <a:lnTo>
                    <a:pt x="492" y="6"/>
                  </a:lnTo>
                  <a:lnTo>
                    <a:pt x="497" y="8"/>
                  </a:lnTo>
                  <a:lnTo>
                    <a:pt x="497" y="15"/>
                  </a:lnTo>
                  <a:lnTo>
                    <a:pt x="502" y="21"/>
                  </a:lnTo>
                  <a:lnTo>
                    <a:pt x="512" y="29"/>
                  </a:lnTo>
                  <a:lnTo>
                    <a:pt x="509" y="31"/>
                  </a:lnTo>
                  <a:lnTo>
                    <a:pt x="505" y="31"/>
                  </a:lnTo>
                  <a:lnTo>
                    <a:pt x="502" y="29"/>
                  </a:lnTo>
                  <a:lnTo>
                    <a:pt x="499" y="27"/>
                  </a:lnTo>
                  <a:lnTo>
                    <a:pt x="500" y="27"/>
                  </a:lnTo>
                  <a:lnTo>
                    <a:pt x="503" y="27"/>
                  </a:lnTo>
                  <a:lnTo>
                    <a:pt x="501" y="22"/>
                  </a:lnTo>
                  <a:lnTo>
                    <a:pt x="498" y="20"/>
                  </a:lnTo>
                  <a:lnTo>
                    <a:pt x="494" y="21"/>
                  </a:lnTo>
                  <a:lnTo>
                    <a:pt x="488" y="28"/>
                  </a:lnTo>
                  <a:lnTo>
                    <a:pt x="485" y="28"/>
                  </a:lnTo>
                  <a:lnTo>
                    <a:pt x="481" y="26"/>
                  </a:lnTo>
                  <a:lnTo>
                    <a:pt x="478" y="23"/>
                  </a:lnTo>
                  <a:lnTo>
                    <a:pt x="479" y="25"/>
                  </a:lnTo>
                  <a:lnTo>
                    <a:pt x="479" y="26"/>
                  </a:lnTo>
                  <a:lnTo>
                    <a:pt x="479" y="26"/>
                  </a:lnTo>
                  <a:lnTo>
                    <a:pt x="479" y="27"/>
                  </a:lnTo>
                  <a:lnTo>
                    <a:pt x="477" y="29"/>
                  </a:lnTo>
                  <a:lnTo>
                    <a:pt x="474" y="28"/>
                  </a:lnTo>
                  <a:lnTo>
                    <a:pt x="472" y="27"/>
                  </a:lnTo>
                  <a:lnTo>
                    <a:pt x="469" y="27"/>
                  </a:lnTo>
                  <a:lnTo>
                    <a:pt x="471" y="31"/>
                  </a:lnTo>
                  <a:lnTo>
                    <a:pt x="471" y="37"/>
                  </a:lnTo>
                  <a:lnTo>
                    <a:pt x="469" y="42"/>
                  </a:lnTo>
                  <a:lnTo>
                    <a:pt x="465" y="45"/>
                  </a:lnTo>
                  <a:lnTo>
                    <a:pt x="465" y="48"/>
                  </a:lnTo>
                  <a:lnTo>
                    <a:pt x="466" y="51"/>
                  </a:lnTo>
                  <a:lnTo>
                    <a:pt x="467" y="53"/>
                  </a:lnTo>
                  <a:lnTo>
                    <a:pt x="468" y="54"/>
                  </a:lnTo>
                  <a:lnTo>
                    <a:pt x="472" y="57"/>
                  </a:lnTo>
                  <a:lnTo>
                    <a:pt x="478" y="67"/>
                  </a:lnTo>
                  <a:lnTo>
                    <a:pt x="479" y="68"/>
                  </a:lnTo>
                  <a:lnTo>
                    <a:pt x="479" y="75"/>
                  </a:lnTo>
                  <a:lnTo>
                    <a:pt x="478" y="78"/>
                  </a:lnTo>
                  <a:lnTo>
                    <a:pt x="477" y="81"/>
                  </a:lnTo>
                  <a:lnTo>
                    <a:pt x="478" y="82"/>
                  </a:lnTo>
                  <a:lnTo>
                    <a:pt x="480" y="84"/>
                  </a:lnTo>
                  <a:lnTo>
                    <a:pt x="481" y="87"/>
                  </a:lnTo>
                  <a:lnTo>
                    <a:pt x="480" y="92"/>
                  </a:lnTo>
                  <a:lnTo>
                    <a:pt x="478" y="95"/>
                  </a:lnTo>
                  <a:lnTo>
                    <a:pt x="475" y="97"/>
                  </a:lnTo>
                  <a:lnTo>
                    <a:pt x="472" y="98"/>
                  </a:lnTo>
                  <a:lnTo>
                    <a:pt x="469" y="99"/>
                  </a:lnTo>
                  <a:lnTo>
                    <a:pt x="467" y="102"/>
                  </a:lnTo>
                  <a:lnTo>
                    <a:pt x="466" y="102"/>
                  </a:lnTo>
                  <a:lnTo>
                    <a:pt x="450" y="117"/>
                  </a:lnTo>
                  <a:lnTo>
                    <a:pt x="448" y="119"/>
                  </a:lnTo>
                  <a:lnTo>
                    <a:pt x="444" y="120"/>
                  </a:lnTo>
                  <a:lnTo>
                    <a:pt x="444" y="118"/>
                  </a:lnTo>
                  <a:lnTo>
                    <a:pt x="447" y="116"/>
                  </a:lnTo>
                  <a:lnTo>
                    <a:pt x="452" y="109"/>
                  </a:lnTo>
                  <a:lnTo>
                    <a:pt x="460" y="103"/>
                  </a:lnTo>
                  <a:lnTo>
                    <a:pt x="462" y="101"/>
                  </a:lnTo>
                  <a:lnTo>
                    <a:pt x="464" y="95"/>
                  </a:lnTo>
                  <a:lnTo>
                    <a:pt x="460" y="94"/>
                  </a:lnTo>
                  <a:lnTo>
                    <a:pt x="451" y="95"/>
                  </a:lnTo>
                  <a:lnTo>
                    <a:pt x="451" y="94"/>
                  </a:lnTo>
                  <a:lnTo>
                    <a:pt x="459" y="88"/>
                  </a:lnTo>
                  <a:lnTo>
                    <a:pt x="462" y="84"/>
                  </a:lnTo>
                  <a:lnTo>
                    <a:pt x="464" y="83"/>
                  </a:lnTo>
                  <a:lnTo>
                    <a:pt x="467" y="82"/>
                  </a:lnTo>
                  <a:lnTo>
                    <a:pt x="468" y="80"/>
                  </a:lnTo>
                  <a:lnTo>
                    <a:pt x="469" y="75"/>
                  </a:lnTo>
                  <a:lnTo>
                    <a:pt x="469" y="71"/>
                  </a:lnTo>
                  <a:lnTo>
                    <a:pt x="467" y="69"/>
                  </a:lnTo>
                  <a:lnTo>
                    <a:pt x="465" y="67"/>
                  </a:lnTo>
                  <a:lnTo>
                    <a:pt x="463" y="64"/>
                  </a:lnTo>
                  <a:lnTo>
                    <a:pt x="462" y="61"/>
                  </a:lnTo>
                  <a:lnTo>
                    <a:pt x="462" y="57"/>
                  </a:lnTo>
                  <a:lnTo>
                    <a:pt x="457" y="55"/>
                  </a:lnTo>
                  <a:lnTo>
                    <a:pt x="455" y="53"/>
                  </a:lnTo>
                  <a:lnTo>
                    <a:pt x="454" y="51"/>
                  </a:lnTo>
                  <a:lnTo>
                    <a:pt x="454" y="49"/>
                  </a:lnTo>
                  <a:lnTo>
                    <a:pt x="455" y="45"/>
                  </a:lnTo>
                  <a:lnTo>
                    <a:pt x="455" y="41"/>
                  </a:lnTo>
                  <a:lnTo>
                    <a:pt x="455" y="39"/>
                  </a:lnTo>
                  <a:lnTo>
                    <a:pt x="453" y="37"/>
                  </a:lnTo>
                  <a:lnTo>
                    <a:pt x="452" y="35"/>
                  </a:lnTo>
                  <a:lnTo>
                    <a:pt x="450" y="32"/>
                  </a:lnTo>
                  <a:lnTo>
                    <a:pt x="448" y="31"/>
                  </a:lnTo>
                  <a:lnTo>
                    <a:pt x="446" y="31"/>
                  </a:lnTo>
                  <a:lnTo>
                    <a:pt x="440" y="36"/>
                  </a:lnTo>
                  <a:lnTo>
                    <a:pt x="438" y="37"/>
                  </a:lnTo>
                  <a:lnTo>
                    <a:pt x="432" y="36"/>
                  </a:lnTo>
                  <a:lnTo>
                    <a:pt x="432" y="38"/>
                  </a:lnTo>
                  <a:lnTo>
                    <a:pt x="428" y="47"/>
                  </a:lnTo>
                  <a:lnTo>
                    <a:pt x="427" y="50"/>
                  </a:lnTo>
                  <a:lnTo>
                    <a:pt x="429" y="52"/>
                  </a:lnTo>
                  <a:lnTo>
                    <a:pt x="434" y="54"/>
                  </a:lnTo>
                  <a:lnTo>
                    <a:pt x="435" y="55"/>
                  </a:lnTo>
                  <a:lnTo>
                    <a:pt x="436" y="57"/>
                  </a:lnTo>
                  <a:lnTo>
                    <a:pt x="438" y="59"/>
                  </a:lnTo>
                  <a:lnTo>
                    <a:pt x="440" y="59"/>
                  </a:lnTo>
                  <a:lnTo>
                    <a:pt x="439" y="56"/>
                  </a:lnTo>
                  <a:lnTo>
                    <a:pt x="438" y="52"/>
                  </a:lnTo>
                  <a:lnTo>
                    <a:pt x="438" y="48"/>
                  </a:lnTo>
                  <a:lnTo>
                    <a:pt x="439" y="46"/>
                  </a:lnTo>
                  <a:lnTo>
                    <a:pt x="441" y="47"/>
                  </a:lnTo>
                  <a:lnTo>
                    <a:pt x="442" y="50"/>
                  </a:lnTo>
                  <a:lnTo>
                    <a:pt x="443" y="54"/>
                  </a:lnTo>
                  <a:lnTo>
                    <a:pt x="443" y="56"/>
                  </a:lnTo>
                  <a:lnTo>
                    <a:pt x="444" y="58"/>
                  </a:lnTo>
                  <a:lnTo>
                    <a:pt x="445" y="62"/>
                  </a:lnTo>
                  <a:lnTo>
                    <a:pt x="447" y="67"/>
                  </a:lnTo>
                  <a:lnTo>
                    <a:pt x="446" y="69"/>
                  </a:lnTo>
                  <a:lnTo>
                    <a:pt x="445" y="70"/>
                  </a:lnTo>
                  <a:lnTo>
                    <a:pt x="442" y="78"/>
                  </a:lnTo>
                  <a:lnTo>
                    <a:pt x="441" y="80"/>
                  </a:lnTo>
                  <a:lnTo>
                    <a:pt x="441" y="78"/>
                  </a:lnTo>
                  <a:lnTo>
                    <a:pt x="442" y="73"/>
                  </a:lnTo>
                  <a:lnTo>
                    <a:pt x="442" y="70"/>
                  </a:lnTo>
                  <a:lnTo>
                    <a:pt x="442" y="69"/>
                  </a:lnTo>
                  <a:lnTo>
                    <a:pt x="440" y="65"/>
                  </a:lnTo>
                  <a:lnTo>
                    <a:pt x="440" y="64"/>
                  </a:lnTo>
                  <a:lnTo>
                    <a:pt x="439" y="61"/>
                  </a:lnTo>
                  <a:lnTo>
                    <a:pt x="436" y="59"/>
                  </a:lnTo>
                  <a:lnTo>
                    <a:pt x="432" y="56"/>
                  </a:lnTo>
                  <a:lnTo>
                    <a:pt x="430" y="55"/>
                  </a:lnTo>
                  <a:lnTo>
                    <a:pt x="429" y="55"/>
                  </a:lnTo>
                  <a:lnTo>
                    <a:pt x="427" y="57"/>
                  </a:lnTo>
                  <a:lnTo>
                    <a:pt x="426" y="57"/>
                  </a:lnTo>
                  <a:lnTo>
                    <a:pt x="425" y="56"/>
                  </a:lnTo>
                  <a:lnTo>
                    <a:pt x="424" y="55"/>
                  </a:lnTo>
                  <a:lnTo>
                    <a:pt x="424" y="54"/>
                  </a:lnTo>
                  <a:lnTo>
                    <a:pt x="423" y="54"/>
                  </a:lnTo>
                  <a:lnTo>
                    <a:pt x="423" y="51"/>
                  </a:lnTo>
                  <a:lnTo>
                    <a:pt x="427" y="39"/>
                  </a:lnTo>
                  <a:lnTo>
                    <a:pt x="426" y="38"/>
                  </a:lnTo>
                  <a:lnTo>
                    <a:pt x="426" y="38"/>
                  </a:lnTo>
                  <a:lnTo>
                    <a:pt x="426" y="36"/>
                  </a:lnTo>
                  <a:lnTo>
                    <a:pt x="422" y="41"/>
                  </a:lnTo>
                  <a:lnTo>
                    <a:pt x="418" y="45"/>
                  </a:lnTo>
                  <a:lnTo>
                    <a:pt x="415" y="48"/>
                  </a:lnTo>
                  <a:lnTo>
                    <a:pt x="416" y="54"/>
                  </a:lnTo>
                  <a:lnTo>
                    <a:pt x="420" y="59"/>
                  </a:lnTo>
                  <a:lnTo>
                    <a:pt x="420" y="62"/>
                  </a:lnTo>
                  <a:lnTo>
                    <a:pt x="418" y="67"/>
                  </a:lnTo>
                  <a:lnTo>
                    <a:pt x="417" y="69"/>
                  </a:lnTo>
                  <a:lnTo>
                    <a:pt x="415" y="69"/>
                  </a:lnTo>
                  <a:lnTo>
                    <a:pt x="414" y="69"/>
                  </a:lnTo>
                  <a:lnTo>
                    <a:pt x="410" y="69"/>
                  </a:lnTo>
                  <a:lnTo>
                    <a:pt x="410" y="67"/>
                  </a:lnTo>
                  <a:lnTo>
                    <a:pt x="412" y="66"/>
                  </a:lnTo>
                  <a:lnTo>
                    <a:pt x="414" y="65"/>
                  </a:lnTo>
                  <a:lnTo>
                    <a:pt x="415" y="64"/>
                  </a:lnTo>
                  <a:lnTo>
                    <a:pt x="416" y="61"/>
                  </a:lnTo>
                  <a:lnTo>
                    <a:pt x="414" y="62"/>
                  </a:lnTo>
                  <a:lnTo>
                    <a:pt x="411" y="64"/>
                  </a:lnTo>
                  <a:lnTo>
                    <a:pt x="410" y="64"/>
                  </a:lnTo>
                  <a:lnTo>
                    <a:pt x="410" y="61"/>
                  </a:lnTo>
                  <a:lnTo>
                    <a:pt x="410" y="59"/>
                  </a:lnTo>
                  <a:lnTo>
                    <a:pt x="408" y="55"/>
                  </a:lnTo>
                  <a:lnTo>
                    <a:pt x="407" y="56"/>
                  </a:lnTo>
                  <a:lnTo>
                    <a:pt x="404" y="57"/>
                  </a:lnTo>
                  <a:lnTo>
                    <a:pt x="402" y="58"/>
                  </a:lnTo>
                  <a:lnTo>
                    <a:pt x="401" y="56"/>
                  </a:lnTo>
                  <a:lnTo>
                    <a:pt x="400" y="56"/>
                  </a:lnTo>
                  <a:lnTo>
                    <a:pt x="393" y="59"/>
                  </a:lnTo>
                  <a:lnTo>
                    <a:pt x="393" y="57"/>
                  </a:lnTo>
                  <a:lnTo>
                    <a:pt x="400" y="52"/>
                  </a:lnTo>
                  <a:lnTo>
                    <a:pt x="402" y="49"/>
                  </a:lnTo>
                  <a:lnTo>
                    <a:pt x="398" y="46"/>
                  </a:lnTo>
                  <a:lnTo>
                    <a:pt x="394" y="47"/>
                  </a:lnTo>
                  <a:lnTo>
                    <a:pt x="392" y="51"/>
                  </a:lnTo>
                  <a:lnTo>
                    <a:pt x="391" y="55"/>
                  </a:lnTo>
                  <a:lnTo>
                    <a:pt x="388" y="57"/>
                  </a:lnTo>
                  <a:lnTo>
                    <a:pt x="385" y="59"/>
                  </a:lnTo>
                  <a:lnTo>
                    <a:pt x="376" y="65"/>
                  </a:lnTo>
                  <a:lnTo>
                    <a:pt x="371" y="71"/>
                  </a:lnTo>
                  <a:lnTo>
                    <a:pt x="369" y="73"/>
                  </a:lnTo>
                  <a:lnTo>
                    <a:pt x="368" y="72"/>
                  </a:lnTo>
                  <a:lnTo>
                    <a:pt x="369" y="69"/>
                  </a:lnTo>
                  <a:lnTo>
                    <a:pt x="369" y="67"/>
                  </a:lnTo>
                  <a:lnTo>
                    <a:pt x="371" y="65"/>
                  </a:lnTo>
                  <a:lnTo>
                    <a:pt x="371" y="63"/>
                  </a:lnTo>
                  <a:lnTo>
                    <a:pt x="369" y="64"/>
                  </a:lnTo>
                  <a:lnTo>
                    <a:pt x="364" y="66"/>
                  </a:lnTo>
                  <a:lnTo>
                    <a:pt x="361" y="67"/>
                  </a:lnTo>
                  <a:lnTo>
                    <a:pt x="352" y="63"/>
                  </a:lnTo>
                  <a:lnTo>
                    <a:pt x="350" y="63"/>
                  </a:lnTo>
                  <a:lnTo>
                    <a:pt x="348" y="66"/>
                  </a:lnTo>
                  <a:lnTo>
                    <a:pt x="346" y="75"/>
                  </a:lnTo>
                  <a:lnTo>
                    <a:pt x="344" y="76"/>
                  </a:lnTo>
                  <a:lnTo>
                    <a:pt x="343" y="79"/>
                  </a:lnTo>
                  <a:lnTo>
                    <a:pt x="344" y="83"/>
                  </a:lnTo>
                  <a:lnTo>
                    <a:pt x="346" y="91"/>
                  </a:lnTo>
                  <a:lnTo>
                    <a:pt x="344" y="93"/>
                  </a:lnTo>
                  <a:lnTo>
                    <a:pt x="343" y="98"/>
                  </a:lnTo>
                  <a:lnTo>
                    <a:pt x="342" y="99"/>
                  </a:lnTo>
                  <a:lnTo>
                    <a:pt x="341" y="98"/>
                  </a:lnTo>
                  <a:lnTo>
                    <a:pt x="340" y="91"/>
                  </a:lnTo>
                  <a:lnTo>
                    <a:pt x="339" y="90"/>
                  </a:lnTo>
                  <a:lnTo>
                    <a:pt x="338" y="91"/>
                  </a:lnTo>
                  <a:lnTo>
                    <a:pt x="335" y="97"/>
                  </a:lnTo>
                  <a:lnTo>
                    <a:pt x="333" y="99"/>
                  </a:lnTo>
                  <a:lnTo>
                    <a:pt x="331" y="98"/>
                  </a:lnTo>
                  <a:lnTo>
                    <a:pt x="330" y="99"/>
                  </a:lnTo>
                  <a:lnTo>
                    <a:pt x="329" y="103"/>
                  </a:lnTo>
                  <a:lnTo>
                    <a:pt x="330" y="103"/>
                  </a:lnTo>
                  <a:lnTo>
                    <a:pt x="330" y="104"/>
                  </a:lnTo>
                  <a:lnTo>
                    <a:pt x="328" y="107"/>
                  </a:lnTo>
                  <a:lnTo>
                    <a:pt x="326" y="105"/>
                  </a:lnTo>
                  <a:lnTo>
                    <a:pt x="324" y="105"/>
                  </a:lnTo>
                  <a:lnTo>
                    <a:pt x="323" y="105"/>
                  </a:lnTo>
                  <a:lnTo>
                    <a:pt x="322" y="107"/>
                  </a:lnTo>
                  <a:lnTo>
                    <a:pt x="322" y="109"/>
                  </a:lnTo>
                  <a:lnTo>
                    <a:pt x="327" y="116"/>
                  </a:lnTo>
                  <a:lnTo>
                    <a:pt x="331" y="120"/>
                  </a:lnTo>
                  <a:lnTo>
                    <a:pt x="336" y="122"/>
                  </a:lnTo>
                  <a:lnTo>
                    <a:pt x="332" y="124"/>
                  </a:lnTo>
                  <a:lnTo>
                    <a:pt x="330" y="125"/>
                  </a:lnTo>
                  <a:lnTo>
                    <a:pt x="327" y="125"/>
                  </a:lnTo>
                  <a:lnTo>
                    <a:pt x="325" y="125"/>
                  </a:lnTo>
                  <a:lnTo>
                    <a:pt x="324" y="123"/>
                  </a:lnTo>
                  <a:lnTo>
                    <a:pt x="322" y="122"/>
                  </a:lnTo>
                  <a:lnTo>
                    <a:pt x="320" y="124"/>
                  </a:lnTo>
                  <a:lnTo>
                    <a:pt x="322" y="129"/>
                  </a:lnTo>
                  <a:lnTo>
                    <a:pt x="325" y="135"/>
                  </a:lnTo>
                  <a:lnTo>
                    <a:pt x="329" y="138"/>
                  </a:lnTo>
                  <a:lnTo>
                    <a:pt x="333" y="139"/>
                  </a:lnTo>
                  <a:lnTo>
                    <a:pt x="333" y="138"/>
                  </a:lnTo>
                  <a:lnTo>
                    <a:pt x="334" y="136"/>
                  </a:lnTo>
                  <a:lnTo>
                    <a:pt x="334" y="134"/>
                  </a:lnTo>
                  <a:lnTo>
                    <a:pt x="335" y="133"/>
                  </a:lnTo>
                  <a:lnTo>
                    <a:pt x="335" y="133"/>
                  </a:lnTo>
                  <a:lnTo>
                    <a:pt x="338" y="133"/>
                  </a:lnTo>
                  <a:lnTo>
                    <a:pt x="340" y="134"/>
                  </a:lnTo>
                  <a:lnTo>
                    <a:pt x="342" y="139"/>
                  </a:lnTo>
                  <a:lnTo>
                    <a:pt x="344" y="141"/>
                  </a:lnTo>
                  <a:lnTo>
                    <a:pt x="342" y="141"/>
                  </a:lnTo>
                  <a:lnTo>
                    <a:pt x="336" y="140"/>
                  </a:lnTo>
                  <a:lnTo>
                    <a:pt x="333" y="143"/>
                  </a:lnTo>
                  <a:lnTo>
                    <a:pt x="333" y="147"/>
                  </a:lnTo>
                  <a:lnTo>
                    <a:pt x="336" y="150"/>
                  </a:lnTo>
                  <a:lnTo>
                    <a:pt x="339" y="152"/>
                  </a:lnTo>
                  <a:lnTo>
                    <a:pt x="342" y="152"/>
                  </a:lnTo>
                  <a:lnTo>
                    <a:pt x="342" y="154"/>
                  </a:lnTo>
                  <a:lnTo>
                    <a:pt x="339" y="154"/>
                  </a:lnTo>
                  <a:lnTo>
                    <a:pt x="330" y="150"/>
                  </a:lnTo>
                  <a:lnTo>
                    <a:pt x="322" y="152"/>
                  </a:lnTo>
                  <a:lnTo>
                    <a:pt x="319" y="151"/>
                  </a:lnTo>
                  <a:lnTo>
                    <a:pt x="316" y="148"/>
                  </a:lnTo>
                  <a:lnTo>
                    <a:pt x="314" y="150"/>
                  </a:lnTo>
                  <a:lnTo>
                    <a:pt x="312" y="153"/>
                  </a:lnTo>
                  <a:lnTo>
                    <a:pt x="311" y="154"/>
                  </a:lnTo>
                  <a:lnTo>
                    <a:pt x="309" y="154"/>
                  </a:lnTo>
                  <a:lnTo>
                    <a:pt x="307" y="154"/>
                  </a:lnTo>
                  <a:lnTo>
                    <a:pt x="306" y="155"/>
                  </a:lnTo>
                  <a:lnTo>
                    <a:pt x="305" y="158"/>
                  </a:lnTo>
                  <a:lnTo>
                    <a:pt x="309" y="158"/>
                  </a:lnTo>
                  <a:lnTo>
                    <a:pt x="315" y="162"/>
                  </a:lnTo>
                  <a:lnTo>
                    <a:pt x="321" y="164"/>
                  </a:lnTo>
                  <a:lnTo>
                    <a:pt x="329" y="173"/>
                  </a:lnTo>
                  <a:lnTo>
                    <a:pt x="326" y="174"/>
                  </a:lnTo>
                  <a:lnTo>
                    <a:pt x="323" y="173"/>
                  </a:lnTo>
                  <a:lnTo>
                    <a:pt x="321" y="169"/>
                  </a:lnTo>
                  <a:lnTo>
                    <a:pt x="319" y="166"/>
                  </a:lnTo>
                  <a:lnTo>
                    <a:pt x="317" y="165"/>
                  </a:lnTo>
                  <a:lnTo>
                    <a:pt x="310" y="166"/>
                  </a:lnTo>
                  <a:lnTo>
                    <a:pt x="307" y="167"/>
                  </a:lnTo>
                  <a:lnTo>
                    <a:pt x="310" y="170"/>
                  </a:lnTo>
                  <a:lnTo>
                    <a:pt x="322" y="173"/>
                  </a:lnTo>
                  <a:lnTo>
                    <a:pt x="322" y="174"/>
                  </a:lnTo>
                  <a:lnTo>
                    <a:pt x="317" y="174"/>
                  </a:lnTo>
                  <a:lnTo>
                    <a:pt x="309" y="172"/>
                  </a:lnTo>
                  <a:lnTo>
                    <a:pt x="293" y="171"/>
                  </a:lnTo>
                  <a:lnTo>
                    <a:pt x="289" y="173"/>
                  </a:lnTo>
                  <a:lnTo>
                    <a:pt x="278" y="181"/>
                  </a:lnTo>
                  <a:lnTo>
                    <a:pt x="276" y="183"/>
                  </a:lnTo>
                  <a:lnTo>
                    <a:pt x="275" y="187"/>
                  </a:lnTo>
                  <a:lnTo>
                    <a:pt x="274" y="188"/>
                  </a:lnTo>
                  <a:lnTo>
                    <a:pt x="272" y="189"/>
                  </a:lnTo>
                  <a:lnTo>
                    <a:pt x="270" y="190"/>
                  </a:lnTo>
                  <a:lnTo>
                    <a:pt x="268" y="190"/>
                  </a:lnTo>
                  <a:lnTo>
                    <a:pt x="267" y="192"/>
                  </a:lnTo>
                  <a:lnTo>
                    <a:pt x="268" y="194"/>
                  </a:lnTo>
                  <a:lnTo>
                    <a:pt x="270" y="196"/>
                  </a:lnTo>
                  <a:lnTo>
                    <a:pt x="270" y="197"/>
                  </a:lnTo>
                  <a:lnTo>
                    <a:pt x="269" y="198"/>
                  </a:lnTo>
                  <a:lnTo>
                    <a:pt x="269" y="199"/>
                  </a:lnTo>
                  <a:lnTo>
                    <a:pt x="269" y="200"/>
                  </a:lnTo>
                  <a:lnTo>
                    <a:pt x="268" y="201"/>
                  </a:lnTo>
                  <a:lnTo>
                    <a:pt x="271" y="201"/>
                  </a:lnTo>
                  <a:lnTo>
                    <a:pt x="284" y="206"/>
                  </a:lnTo>
                  <a:lnTo>
                    <a:pt x="286" y="207"/>
                  </a:lnTo>
                  <a:lnTo>
                    <a:pt x="284" y="210"/>
                  </a:lnTo>
                  <a:lnTo>
                    <a:pt x="287" y="212"/>
                  </a:lnTo>
                  <a:lnTo>
                    <a:pt x="299" y="212"/>
                  </a:lnTo>
                  <a:lnTo>
                    <a:pt x="302" y="214"/>
                  </a:lnTo>
                  <a:lnTo>
                    <a:pt x="304" y="215"/>
                  </a:lnTo>
                  <a:lnTo>
                    <a:pt x="306" y="211"/>
                  </a:lnTo>
                  <a:lnTo>
                    <a:pt x="308" y="211"/>
                  </a:lnTo>
                  <a:lnTo>
                    <a:pt x="312" y="210"/>
                  </a:lnTo>
                  <a:lnTo>
                    <a:pt x="313" y="210"/>
                  </a:lnTo>
                  <a:lnTo>
                    <a:pt x="314" y="209"/>
                  </a:lnTo>
                  <a:lnTo>
                    <a:pt x="315" y="208"/>
                  </a:lnTo>
                  <a:lnTo>
                    <a:pt x="317" y="209"/>
                  </a:lnTo>
                  <a:lnTo>
                    <a:pt x="317" y="210"/>
                  </a:lnTo>
                  <a:lnTo>
                    <a:pt x="317" y="211"/>
                  </a:lnTo>
                  <a:lnTo>
                    <a:pt x="317" y="213"/>
                  </a:lnTo>
                  <a:lnTo>
                    <a:pt x="319" y="215"/>
                  </a:lnTo>
                  <a:lnTo>
                    <a:pt x="321" y="217"/>
                  </a:lnTo>
                  <a:lnTo>
                    <a:pt x="322" y="215"/>
                  </a:lnTo>
                  <a:lnTo>
                    <a:pt x="323" y="210"/>
                  </a:lnTo>
                  <a:lnTo>
                    <a:pt x="325" y="206"/>
                  </a:lnTo>
                  <a:lnTo>
                    <a:pt x="327" y="206"/>
                  </a:lnTo>
                  <a:lnTo>
                    <a:pt x="327" y="212"/>
                  </a:lnTo>
                  <a:lnTo>
                    <a:pt x="328" y="212"/>
                  </a:lnTo>
                  <a:lnTo>
                    <a:pt x="330" y="210"/>
                  </a:lnTo>
                  <a:lnTo>
                    <a:pt x="332" y="212"/>
                  </a:lnTo>
                  <a:lnTo>
                    <a:pt x="333" y="216"/>
                  </a:lnTo>
                  <a:lnTo>
                    <a:pt x="331" y="218"/>
                  </a:lnTo>
                  <a:lnTo>
                    <a:pt x="328" y="219"/>
                  </a:lnTo>
                  <a:lnTo>
                    <a:pt x="325" y="221"/>
                  </a:lnTo>
                  <a:lnTo>
                    <a:pt x="322" y="225"/>
                  </a:lnTo>
                  <a:lnTo>
                    <a:pt x="322" y="227"/>
                  </a:lnTo>
                  <a:lnTo>
                    <a:pt x="324" y="226"/>
                  </a:lnTo>
                  <a:lnTo>
                    <a:pt x="326" y="225"/>
                  </a:lnTo>
                  <a:lnTo>
                    <a:pt x="328" y="223"/>
                  </a:lnTo>
                  <a:lnTo>
                    <a:pt x="336" y="215"/>
                  </a:lnTo>
                  <a:lnTo>
                    <a:pt x="340" y="213"/>
                  </a:lnTo>
                  <a:lnTo>
                    <a:pt x="344" y="208"/>
                  </a:lnTo>
                  <a:lnTo>
                    <a:pt x="346" y="207"/>
                  </a:lnTo>
                  <a:lnTo>
                    <a:pt x="348" y="207"/>
                  </a:lnTo>
                  <a:lnTo>
                    <a:pt x="349" y="209"/>
                  </a:lnTo>
                  <a:lnTo>
                    <a:pt x="349" y="212"/>
                  </a:lnTo>
                  <a:lnTo>
                    <a:pt x="347" y="214"/>
                  </a:lnTo>
                  <a:lnTo>
                    <a:pt x="347" y="216"/>
                  </a:lnTo>
                  <a:lnTo>
                    <a:pt x="351" y="214"/>
                  </a:lnTo>
                  <a:lnTo>
                    <a:pt x="356" y="209"/>
                  </a:lnTo>
                  <a:lnTo>
                    <a:pt x="367" y="207"/>
                  </a:lnTo>
                  <a:lnTo>
                    <a:pt x="371" y="206"/>
                  </a:lnTo>
                  <a:lnTo>
                    <a:pt x="374" y="203"/>
                  </a:lnTo>
                  <a:lnTo>
                    <a:pt x="374" y="204"/>
                  </a:lnTo>
                  <a:lnTo>
                    <a:pt x="374" y="204"/>
                  </a:lnTo>
                  <a:lnTo>
                    <a:pt x="374" y="204"/>
                  </a:lnTo>
                  <a:lnTo>
                    <a:pt x="375" y="205"/>
                  </a:lnTo>
                  <a:lnTo>
                    <a:pt x="374" y="207"/>
                  </a:lnTo>
                  <a:lnTo>
                    <a:pt x="372" y="216"/>
                  </a:lnTo>
                  <a:lnTo>
                    <a:pt x="370" y="216"/>
                  </a:lnTo>
                  <a:lnTo>
                    <a:pt x="369" y="214"/>
                  </a:lnTo>
                  <a:lnTo>
                    <a:pt x="368" y="213"/>
                  </a:lnTo>
                  <a:lnTo>
                    <a:pt x="366" y="212"/>
                  </a:lnTo>
                  <a:lnTo>
                    <a:pt x="366" y="219"/>
                  </a:lnTo>
                  <a:lnTo>
                    <a:pt x="359" y="226"/>
                  </a:lnTo>
                  <a:lnTo>
                    <a:pt x="360" y="231"/>
                  </a:lnTo>
                  <a:lnTo>
                    <a:pt x="351" y="238"/>
                  </a:lnTo>
                  <a:lnTo>
                    <a:pt x="353" y="241"/>
                  </a:lnTo>
                  <a:lnTo>
                    <a:pt x="355" y="242"/>
                  </a:lnTo>
                  <a:lnTo>
                    <a:pt x="361" y="242"/>
                  </a:lnTo>
                  <a:lnTo>
                    <a:pt x="361" y="244"/>
                  </a:lnTo>
                  <a:lnTo>
                    <a:pt x="356" y="245"/>
                  </a:lnTo>
                  <a:lnTo>
                    <a:pt x="348" y="250"/>
                  </a:lnTo>
                  <a:lnTo>
                    <a:pt x="346" y="251"/>
                  </a:lnTo>
                  <a:lnTo>
                    <a:pt x="333" y="253"/>
                  </a:lnTo>
                  <a:lnTo>
                    <a:pt x="333" y="253"/>
                  </a:lnTo>
                  <a:lnTo>
                    <a:pt x="328" y="256"/>
                  </a:lnTo>
                  <a:lnTo>
                    <a:pt x="323" y="259"/>
                  </a:lnTo>
                  <a:lnTo>
                    <a:pt x="323" y="257"/>
                  </a:lnTo>
                  <a:lnTo>
                    <a:pt x="323" y="257"/>
                  </a:lnTo>
                  <a:lnTo>
                    <a:pt x="322" y="257"/>
                  </a:lnTo>
                  <a:lnTo>
                    <a:pt x="322" y="255"/>
                  </a:lnTo>
                  <a:lnTo>
                    <a:pt x="321" y="252"/>
                  </a:lnTo>
                  <a:lnTo>
                    <a:pt x="320" y="251"/>
                  </a:lnTo>
                  <a:lnTo>
                    <a:pt x="319" y="256"/>
                  </a:lnTo>
                  <a:lnTo>
                    <a:pt x="319" y="261"/>
                  </a:lnTo>
                  <a:lnTo>
                    <a:pt x="319" y="264"/>
                  </a:lnTo>
                  <a:lnTo>
                    <a:pt x="318" y="265"/>
                  </a:lnTo>
                  <a:lnTo>
                    <a:pt x="315" y="266"/>
                  </a:lnTo>
                  <a:lnTo>
                    <a:pt x="297" y="279"/>
                  </a:lnTo>
                  <a:lnTo>
                    <a:pt x="292" y="280"/>
                  </a:lnTo>
                  <a:lnTo>
                    <a:pt x="290" y="281"/>
                  </a:lnTo>
                  <a:lnTo>
                    <a:pt x="288" y="283"/>
                  </a:lnTo>
                  <a:lnTo>
                    <a:pt x="288" y="285"/>
                  </a:lnTo>
                  <a:lnTo>
                    <a:pt x="288" y="288"/>
                  </a:lnTo>
                  <a:lnTo>
                    <a:pt x="289" y="289"/>
                  </a:lnTo>
                  <a:lnTo>
                    <a:pt x="305" y="289"/>
                  </a:lnTo>
                  <a:lnTo>
                    <a:pt x="308" y="290"/>
                  </a:lnTo>
                  <a:lnTo>
                    <a:pt x="312" y="292"/>
                  </a:lnTo>
                  <a:lnTo>
                    <a:pt x="313" y="295"/>
                  </a:lnTo>
                  <a:lnTo>
                    <a:pt x="309" y="296"/>
                  </a:lnTo>
                  <a:lnTo>
                    <a:pt x="306" y="293"/>
                  </a:lnTo>
                  <a:lnTo>
                    <a:pt x="304" y="293"/>
                  </a:lnTo>
                  <a:lnTo>
                    <a:pt x="303" y="295"/>
                  </a:lnTo>
                  <a:lnTo>
                    <a:pt x="303" y="298"/>
                  </a:lnTo>
                  <a:lnTo>
                    <a:pt x="305" y="298"/>
                  </a:lnTo>
                  <a:lnTo>
                    <a:pt x="308" y="298"/>
                  </a:lnTo>
                  <a:lnTo>
                    <a:pt x="311" y="299"/>
                  </a:lnTo>
                  <a:lnTo>
                    <a:pt x="314" y="300"/>
                  </a:lnTo>
                  <a:lnTo>
                    <a:pt x="317" y="302"/>
                  </a:lnTo>
                  <a:lnTo>
                    <a:pt x="319" y="305"/>
                  </a:lnTo>
                  <a:lnTo>
                    <a:pt x="308" y="303"/>
                  </a:lnTo>
                  <a:lnTo>
                    <a:pt x="306" y="305"/>
                  </a:lnTo>
                  <a:lnTo>
                    <a:pt x="305" y="306"/>
                  </a:lnTo>
                  <a:lnTo>
                    <a:pt x="303" y="305"/>
                  </a:lnTo>
                  <a:lnTo>
                    <a:pt x="300" y="304"/>
                  </a:lnTo>
                  <a:lnTo>
                    <a:pt x="298" y="305"/>
                  </a:lnTo>
                  <a:lnTo>
                    <a:pt x="296" y="308"/>
                  </a:lnTo>
                  <a:lnTo>
                    <a:pt x="295" y="309"/>
                  </a:lnTo>
                  <a:lnTo>
                    <a:pt x="295" y="311"/>
                  </a:lnTo>
                  <a:lnTo>
                    <a:pt x="298" y="311"/>
                  </a:lnTo>
                  <a:lnTo>
                    <a:pt x="301" y="312"/>
                  </a:lnTo>
                  <a:lnTo>
                    <a:pt x="303" y="314"/>
                  </a:lnTo>
                  <a:lnTo>
                    <a:pt x="304" y="316"/>
                  </a:lnTo>
                  <a:lnTo>
                    <a:pt x="305" y="319"/>
                  </a:lnTo>
                  <a:lnTo>
                    <a:pt x="308" y="320"/>
                  </a:lnTo>
                  <a:lnTo>
                    <a:pt x="310" y="321"/>
                  </a:lnTo>
                  <a:lnTo>
                    <a:pt x="313" y="322"/>
                  </a:lnTo>
                  <a:lnTo>
                    <a:pt x="313" y="324"/>
                  </a:lnTo>
                  <a:lnTo>
                    <a:pt x="308" y="324"/>
                  </a:lnTo>
                  <a:lnTo>
                    <a:pt x="305" y="324"/>
                  </a:lnTo>
                  <a:lnTo>
                    <a:pt x="303" y="326"/>
                  </a:lnTo>
                  <a:lnTo>
                    <a:pt x="300" y="321"/>
                  </a:lnTo>
                  <a:lnTo>
                    <a:pt x="298" y="319"/>
                  </a:lnTo>
                  <a:lnTo>
                    <a:pt x="293" y="317"/>
                  </a:lnTo>
                  <a:lnTo>
                    <a:pt x="292" y="315"/>
                  </a:lnTo>
                  <a:lnTo>
                    <a:pt x="292" y="312"/>
                  </a:lnTo>
                  <a:lnTo>
                    <a:pt x="291" y="309"/>
                  </a:lnTo>
                  <a:lnTo>
                    <a:pt x="287" y="307"/>
                  </a:lnTo>
                  <a:lnTo>
                    <a:pt x="277" y="309"/>
                  </a:lnTo>
                  <a:lnTo>
                    <a:pt x="273" y="305"/>
                  </a:lnTo>
                  <a:lnTo>
                    <a:pt x="269" y="308"/>
                  </a:lnTo>
                  <a:lnTo>
                    <a:pt x="266" y="309"/>
                  </a:lnTo>
                  <a:lnTo>
                    <a:pt x="258" y="309"/>
                  </a:lnTo>
                  <a:lnTo>
                    <a:pt x="255" y="309"/>
                  </a:lnTo>
                  <a:lnTo>
                    <a:pt x="252" y="306"/>
                  </a:lnTo>
                  <a:lnTo>
                    <a:pt x="249" y="305"/>
                  </a:lnTo>
                  <a:lnTo>
                    <a:pt x="247" y="303"/>
                  </a:lnTo>
                  <a:lnTo>
                    <a:pt x="245" y="302"/>
                  </a:lnTo>
                  <a:lnTo>
                    <a:pt x="244" y="302"/>
                  </a:lnTo>
                  <a:lnTo>
                    <a:pt x="243" y="303"/>
                  </a:lnTo>
                  <a:lnTo>
                    <a:pt x="242" y="304"/>
                  </a:lnTo>
                  <a:lnTo>
                    <a:pt x="232" y="301"/>
                  </a:lnTo>
                  <a:lnTo>
                    <a:pt x="227" y="302"/>
                  </a:lnTo>
                  <a:lnTo>
                    <a:pt x="225" y="306"/>
                  </a:lnTo>
                  <a:lnTo>
                    <a:pt x="224" y="314"/>
                  </a:lnTo>
                  <a:lnTo>
                    <a:pt x="221" y="319"/>
                  </a:lnTo>
                  <a:lnTo>
                    <a:pt x="217" y="323"/>
                  </a:lnTo>
                  <a:lnTo>
                    <a:pt x="214" y="324"/>
                  </a:lnTo>
                  <a:lnTo>
                    <a:pt x="215" y="328"/>
                  </a:lnTo>
                  <a:lnTo>
                    <a:pt x="215" y="332"/>
                  </a:lnTo>
                  <a:lnTo>
                    <a:pt x="214" y="336"/>
                  </a:lnTo>
                  <a:lnTo>
                    <a:pt x="214" y="341"/>
                  </a:lnTo>
                  <a:lnTo>
                    <a:pt x="213" y="341"/>
                  </a:lnTo>
                  <a:lnTo>
                    <a:pt x="213" y="336"/>
                  </a:lnTo>
                  <a:lnTo>
                    <a:pt x="211" y="331"/>
                  </a:lnTo>
                  <a:lnTo>
                    <a:pt x="210" y="328"/>
                  </a:lnTo>
                  <a:lnTo>
                    <a:pt x="202" y="321"/>
                  </a:lnTo>
                  <a:lnTo>
                    <a:pt x="201" y="319"/>
                  </a:lnTo>
                  <a:lnTo>
                    <a:pt x="204" y="317"/>
                  </a:lnTo>
                  <a:lnTo>
                    <a:pt x="204" y="315"/>
                  </a:lnTo>
                  <a:lnTo>
                    <a:pt x="200" y="313"/>
                  </a:lnTo>
                  <a:lnTo>
                    <a:pt x="200" y="311"/>
                  </a:lnTo>
                  <a:lnTo>
                    <a:pt x="201" y="310"/>
                  </a:lnTo>
                  <a:lnTo>
                    <a:pt x="202" y="308"/>
                  </a:lnTo>
                  <a:lnTo>
                    <a:pt x="202" y="306"/>
                  </a:lnTo>
                  <a:lnTo>
                    <a:pt x="200" y="304"/>
                  </a:lnTo>
                  <a:lnTo>
                    <a:pt x="200" y="304"/>
                  </a:lnTo>
                  <a:lnTo>
                    <a:pt x="199" y="305"/>
                  </a:lnTo>
                  <a:lnTo>
                    <a:pt x="196" y="305"/>
                  </a:lnTo>
                  <a:lnTo>
                    <a:pt x="195" y="304"/>
                  </a:lnTo>
                  <a:lnTo>
                    <a:pt x="194" y="299"/>
                  </a:lnTo>
                  <a:lnTo>
                    <a:pt x="193" y="298"/>
                  </a:lnTo>
                  <a:lnTo>
                    <a:pt x="191" y="298"/>
                  </a:lnTo>
                  <a:lnTo>
                    <a:pt x="184" y="295"/>
                  </a:lnTo>
                  <a:lnTo>
                    <a:pt x="182" y="294"/>
                  </a:lnTo>
                  <a:lnTo>
                    <a:pt x="181" y="295"/>
                  </a:lnTo>
                  <a:lnTo>
                    <a:pt x="180" y="297"/>
                  </a:lnTo>
                  <a:lnTo>
                    <a:pt x="178" y="298"/>
                  </a:lnTo>
                  <a:lnTo>
                    <a:pt x="176" y="300"/>
                  </a:lnTo>
                  <a:lnTo>
                    <a:pt x="174" y="300"/>
                  </a:lnTo>
                  <a:lnTo>
                    <a:pt x="161" y="298"/>
                  </a:lnTo>
                  <a:lnTo>
                    <a:pt x="160" y="297"/>
                  </a:lnTo>
                  <a:lnTo>
                    <a:pt x="158" y="295"/>
                  </a:lnTo>
                  <a:lnTo>
                    <a:pt x="157" y="294"/>
                  </a:lnTo>
                  <a:lnTo>
                    <a:pt x="155" y="295"/>
                  </a:lnTo>
                  <a:lnTo>
                    <a:pt x="152" y="296"/>
                  </a:lnTo>
                  <a:lnTo>
                    <a:pt x="150" y="296"/>
                  </a:lnTo>
                  <a:lnTo>
                    <a:pt x="123" y="294"/>
                  </a:lnTo>
                  <a:lnTo>
                    <a:pt x="120" y="294"/>
                  </a:lnTo>
                  <a:lnTo>
                    <a:pt x="114" y="290"/>
                  </a:lnTo>
                  <a:lnTo>
                    <a:pt x="111" y="289"/>
                  </a:lnTo>
                  <a:lnTo>
                    <a:pt x="101" y="291"/>
                  </a:lnTo>
                  <a:lnTo>
                    <a:pt x="101" y="293"/>
                  </a:lnTo>
                  <a:lnTo>
                    <a:pt x="102" y="297"/>
                  </a:lnTo>
                  <a:lnTo>
                    <a:pt x="103" y="300"/>
                  </a:lnTo>
                  <a:lnTo>
                    <a:pt x="112" y="302"/>
                  </a:lnTo>
                  <a:lnTo>
                    <a:pt x="115" y="304"/>
                  </a:lnTo>
                  <a:lnTo>
                    <a:pt x="111" y="303"/>
                  </a:lnTo>
                  <a:lnTo>
                    <a:pt x="110" y="303"/>
                  </a:lnTo>
                  <a:lnTo>
                    <a:pt x="108" y="304"/>
                  </a:lnTo>
                  <a:lnTo>
                    <a:pt x="108" y="305"/>
                  </a:lnTo>
                  <a:lnTo>
                    <a:pt x="112" y="307"/>
                  </a:lnTo>
                  <a:lnTo>
                    <a:pt x="113" y="309"/>
                  </a:lnTo>
                  <a:lnTo>
                    <a:pt x="114" y="311"/>
                  </a:lnTo>
                  <a:lnTo>
                    <a:pt x="110" y="310"/>
                  </a:lnTo>
                  <a:lnTo>
                    <a:pt x="105" y="306"/>
                  </a:lnTo>
                  <a:lnTo>
                    <a:pt x="101" y="305"/>
                  </a:lnTo>
                  <a:lnTo>
                    <a:pt x="99" y="307"/>
                  </a:lnTo>
                  <a:lnTo>
                    <a:pt x="96" y="311"/>
                  </a:lnTo>
                  <a:lnTo>
                    <a:pt x="95" y="315"/>
                  </a:lnTo>
                  <a:lnTo>
                    <a:pt x="97" y="319"/>
                  </a:lnTo>
                  <a:lnTo>
                    <a:pt x="95" y="320"/>
                  </a:lnTo>
                  <a:lnTo>
                    <a:pt x="93" y="323"/>
                  </a:lnTo>
                  <a:lnTo>
                    <a:pt x="91" y="325"/>
                  </a:lnTo>
                  <a:lnTo>
                    <a:pt x="88" y="323"/>
                  </a:lnTo>
                  <a:lnTo>
                    <a:pt x="85" y="322"/>
                  </a:lnTo>
                  <a:lnTo>
                    <a:pt x="82" y="322"/>
                  </a:lnTo>
                  <a:lnTo>
                    <a:pt x="79" y="320"/>
                  </a:lnTo>
                  <a:lnTo>
                    <a:pt x="80" y="315"/>
                  </a:lnTo>
                  <a:lnTo>
                    <a:pt x="84" y="319"/>
                  </a:lnTo>
                  <a:lnTo>
                    <a:pt x="88" y="319"/>
                  </a:lnTo>
                  <a:lnTo>
                    <a:pt x="92" y="316"/>
                  </a:lnTo>
                  <a:lnTo>
                    <a:pt x="95" y="309"/>
                  </a:lnTo>
                  <a:lnTo>
                    <a:pt x="94" y="309"/>
                  </a:lnTo>
                  <a:lnTo>
                    <a:pt x="94" y="309"/>
                  </a:lnTo>
                  <a:lnTo>
                    <a:pt x="94" y="308"/>
                  </a:lnTo>
                  <a:lnTo>
                    <a:pt x="94" y="307"/>
                  </a:lnTo>
                  <a:lnTo>
                    <a:pt x="93" y="309"/>
                  </a:lnTo>
                  <a:lnTo>
                    <a:pt x="91" y="309"/>
                  </a:lnTo>
                  <a:lnTo>
                    <a:pt x="90" y="308"/>
                  </a:lnTo>
                  <a:lnTo>
                    <a:pt x="89" y="305"/>
                  </a:lnTo>
                  <a:lnTo>
                    <a:pt x="87" y="307"/>
                  </a:lnTo>
                  <a:lnTo>
                    <a:pt x="84" y="307"/>
                  </a:lnTo>
                  <a:lnTo>
                    <a:pt x="81" y="305"/>
                  </a:lnTo>
                  <a:lnTo>
                    <a:pt x="79" y="304"/>
                  </a:lnTo>
                  <a:lnTo>
                    <a:pt x="78" y="302"/>
                  </a:lnTo>
                  <a:lnTo>
                    <a:pt x="78" y="300"/>
                  </a:lnTo>
                  <a:lnTo>
                    <a:pt x="78" y="299"/>
                  </a:lnTo>
                  <a:lnTo>
                    <a:pt x="77" y="298"/>
                  </a:lnTo>
                  <a:lnTo>
                    <a:pt x="75" y="298"/>
                  </a:lnTo>
                  <a:lnTo>
                    <a:pt x="74" y="299"/>
                  </a:lnTo>
                  <a:lnTo>
                    <a:pt x="74" y="300"/>
                  </a:lnTo>
                  <a:lnTo>
                    <a:pt x="73" y="302"/>
                  </a:lnTo>
                  <a:lnTo>
                    <a:pt x="67" y="306"/>
                  </a:lnTo>
                  <a:lnTo>
                    <a:pt x="65" y="307"/>
                  </a:lnTo>
                  <a:lnTo>
                    <a:pt x="63" y="311"/>
                  </a:lnTo>
                  <a:lnTo>
                    <a:pt x="63" y="314"/>
                  </a:lnTo>
                  <a:lnTo>
                    <a:pt x="61" y="317"/>
                  </a:lnTo>
                  <a:lnTo>
                    <a:pt x="58" y="317"/>
                  </a:lnTo>
                  <a:lnTo>
                    <a:pt x="60" y="319"/>
                  </a:lnTo>
                  <a:lnTo>
                    <a:pt x="62" y="320"/>
                  </a:lnTo>
                  <a:lnTo>
                    <a:pt x="67" y="320"/>
                  </a:lnTo>
                  <a:lnTo>
                    <a:pt x="65" y="324"/>
                  </a:lnTo>
                  <a:lnTo>
                    <a:pt x="63" y="325"/>
                  </a:lnTo>
                  <a:lnTo>
                    <a:pt x="62" y="328"/>
                  </a:lnTo>
                  <a:lnTo>
                    <a:pt x="61" y="332"/>
                  </a:lnTo>
                  <a:lnTo>
                    <a:pt x="61" y="335"/>
                  </a:lnTo>
                  <a:lnTo>
                    <a:pt x="57" y="343"/>
                  </a:lnTo>
                  <a:lnTo>
                    <a:pt x="56" y="346"/>
                  </a:lnTo>
                  <a:lnTo>
                    <a:pt x="56" y="352"/>
                  </a:lnTo>
                  <a:lnTo>
                    <a:pt x="58" y="354"/>
                  </a:lnTo>
                  <a:lnTo>
                    <a:pt x="60" y="355"/>
                  </a:lnTo>
                  <a:lnTo>
                    <a:pt x="63" y="356"/>
                  </a:lnTo>
                  <a:lnTo>
                    <a:pt x="66" y="355"/>
                  </a:lnTo>
                  <a:lnTo>
                    <a:pt x="65" y="352"/>
                  </a:lnTo>
                  <a:lnTo>
                    <a:pt x="63" y="350"/>
                  </a:lnTo>
                  <a:lnTo>
                    <a:pt x="61" y="348"/>
                  </a:lnTo>
                  <a:lnTo>
                    <a:pt x="64" y="347"/>
                  </a:lnTo>
                  <a:lnTo>
                    <a:pt x="66" y="346"/>
                  </a:lnTo>
                  <a:lnTo>
                    <a:pt x="65" y="341"/>
                  </a:lnTo>
                  <a:lnTo>
                    <a:pt x="65" y="340"/>
                  </a:lnTo>
                  <a:lnTo>
                    <a:pt x="63" y="339"/>
                  </a:lnTo>
                  <a:lnTo>
                    <a:pt x="63" y="337"/>
                  </a:lnTo>
                  <a:lnTo>
                    <a:pt x="66" y="335"/>
                  </a:lnTo>
                  <a:lnTo>
                    <a:pt x="68" y="335"/>
                  </a:lnTo>
                  <a:lnTo>
                    <a:pt x="70" y="335"/>
                  </a:lnTo>
                  <a:lnTo>
                    <a:pt x="70" y="333"/>
                  </a:lnTo>
                  <a:lnTo>
                    <a:pt x="69" y="332"/>
                  </a:lnTo>
                  <a:lnTo>
                    <a:pt x="68" y="329"/>
                  </a:lnTo>
                  <a:lnTo>
                    <a:pt x="71" y="330"/>
                  </a:lnTo>
                  <a:lnTo>
                    <a:pt x="74" y="329"/>
                  </a:lnTo>
                  <a:lnTo>
                    <a:pt x="75" y="327"/>
                  </a:lnTo>
                  <a:lnTo>
                    <a:pt x="72" y="324"/>
                  </a:lnTo>
                  <a:lnTo>
                    <a:pt x="75" y="321"/>
                  </a:lnTo>
                  <a:lnTo>
                    <a:pt x="78" y="323"/>
                  </a:lnTo>
                  <a:lnTo>
                    <a:pt x="87" y="329"/>
                  </a:lnTo>
                  <a:lnTo>
                    <a:pt x="86" y="332"/>
                  </a:lnTo>
                  <a:lnTo>
                    <a:pt x="84" y="333"/>
                  </a:lnTo>
                  <a:lnTo>
                    <a:pt x="82" y="333"/>
                  </a:lnTo>
                  <a:lnTo>
                    <a:pt x="80" y="331"/>
                  </a:lnTo>
                  <a:lnTo>
                    <a:pt x="86" y="338"/>
                  </a:lnTo>
                  <a:lnTo>
                    <a:pt x="88" y="341"/>
                  </a:lnTo>
                  <a:lnTo>
                    <a:pt x="87" y="340"/>
                  </a:lnTo>
                  <a:lnTo>
                    <a:pt x="84" y="339"/>
                  </a:lnTo>
                  <a:lnTo>
                    <a:pt x="83" y="339"/>
                  </a:lnTo>
                  <a:lnTo>
                    <a:pt x="84" y="342"/>
                  </a:lnTo>
                  <a:lnTo>
                    <a:pt x="86" y="345"/>
                  </a:lnTo>
                  <a:lnTo>
                    <a:pt x="91" y="348"/>
                  </a:lnTo>
                  <a:lnTo>
                    <a:pt x="88" y="350"/>
                  </a:lnTo>
                  <a:lnTo>
                    <a:pt x="81" y="352"/>
                  </a:lnTo>
                  <a:lnTo>
                    <a:pt x="78" y="352"/>
                  </a:lnTo>
                  <a:lnTo>
                    <a:pt x="81" y="359"/>
                  </a:lnTo>
                  <a:lnTo>
                    <a:pt x="85" y="362"/>
                  </a:lnTo>
                  <a:lnTo>
                    <a:pt x="89" y="361"/>
                  </a:lnTo>
                  <a:lnTo>
                    <a:pt x="94" y="356"/>
                  </a:lnTo>
                  <a:lnTo>
                    <a:pt x="93" y="356"/>
                  </a:lnTo>
                  <a:lnTo>
                    <a:pt x="93" y="354"/>
                  </a:lnTo>
                  <a:lnTo>
                    <a:pt x="95" y="354"/>
                  </a:lnTo>
                  <a:lnTo>
                    <a:pt x="96" y="353"/>
                  </a:lnTo>
                  <a:lnTo>
                    <a:pt x="96" y="352"/>
                  </a:lnTo>
                  <a:lnTo>
                    <a:pt x="95" y="350"/>
                  </a:lnTo>
                  <a:lnTo>
                    <a:pt x="99" y="349"/>
                  </a:lnTo>
                  <a:lnTo>
                    <a:pt x="101" y="349"/>
                  </a:lnTo>
                  <a:lnTo>
                    <a:pt x="103" y="350"/>
                  </a:lnTo>
                  <a:lnTo>
                    <a:pt x="98" y="354"/>
                  </a:lnTo>
                  <a:lnTo>
                    <a:pt x="100" y="356"/>
                  </a:lnTo>
                  <a:lnTo>
                    <a:pt x="97" y="357"/>
                  </a:lnTo>
                  <a:lnTo>
                    <a:pt x="96" y="358"/>
                  </a:lnTo>
                  <a:lnTo>
                    <a:pt x="96" y="360"/>
                  </a:lnTo>
                  <a:lnTo>
                    <a:pt x="98" y="361"/>
                  </a:lnTo>
                  <a:lnTo>
                    <a:pt x="97" y="363"/>
                  </a:lnTo>
                  <a:lnTo>
                    <a:pt x="94" y="364"/>
                  </a:lnTo>
                  <a:lnTo>
                    <a:pt x="93" y="365"/>
                  </a:lnTo>
                  <a:lnTo>
                    <a:pt x="92" y="369"/>
                  </a:lnTo>
                  <a:lnTo>
                    <a:pt x="93" y="373"/>
                  </a:lnTo>
                  <a:lnTo>
                    <a:pt x="94" y="376"/>
                  </a:lnTo>
                  <a:lnTo>
                    <a:pt x="95" y="377"/>
                  </a:lnTo>
                  <a:lnTo>
                    <a:pt x="95" y="379"/>
                  </a:lnTo>
                  <a:lnTo>
                    <a:pt x="96" y="380"/>
                  </a:lnTo>
                  <a:lnTo>
                    <a:pt x="98" y="379"/>
                  </a:lnTo>
                  <a:lnTo>
                    <a:pt x="100" y="380"/>
                  </a:lnTo>
                  <a:lnTo>
                    <a:pt x="100" y="381"/>
                  </a:lnTo>
                  <a:lnTo>
                    <a:pt x="100" y="382"/>
                  </a:lnTo>
                  <a:lnTo>
                    <a:pt x="100" y="383"/>
                  </a:lnTo>
                  <a:lnTo>
                    <a:pt x="102" y="390"/>
                  </a:lnTo>
                  <a:lnTo>
                    <a:pt x="103" y="392"/>
                  </a:lnTo>
                  <a:lnTo>
                    <a:pt x="105" y="393"/>
                  </a:lnTo>
                  <a:lnTo>
                    <a:pt x="104" y="391"/>
                  </a:lnTo>
                  <a:lnTo>
                    <a:pt x="104" y="389"/>
                  </a:lnTo>
                  <a:lnTo>
                    <a:pt x="106" y="389"/>
                  </a:lnTo>
                  <a:lnTo>
                    <a:pt x="108" y="391"/>
                  </a:lnTo>
                  <a:lnTo>
                    <a:pt x="109" y="393"/>
                  </a:lnTo>
                  <a:lnTo>
                    <a:pt x="111" y="394"/>
                  </a:lnTo>
                  <a:lnTo>
                    <a:pt x="110" y="398"/>
                  </a:lnTo>
                  <a:lnTo>
                    <a:pt x="110" y="401"/>
                  </a:lnTo>
                  <a:lnTo>
                    <a:pt x="110" y="403"/>
                  </a:lnTo>
                  <a:lnTo>
                    <a:pt x="109" y="404"/>
                  </a:lnTo>
                  <a:lnTo>
                    <a:pt x="107" y="402"/>
                  </a:lnTo>
                  <a:lnTo>
                    <a:pt x="106" y="396"/>
                  </a:lnTo>
                  <a:lnTo>
                    <a:pt x="104" y="394"/>
                  </a:lnTo>
                  <a:lnTo>
                    <a:pt x="102" y="394"/>
                  </a:lnTo>
                  <a:lnTo>
                    <a:pt x="99" y="391"/>
                  </a:lnTo>
                  <a:lnTo>
                    <a:pt x="97" y="391"/>
                  </a:lnTo>
                  <a:lnTo>
                    <a:pt x="90" y="393"/>
                  </a:lnTo>
                  <a:lnTo>
                    <a:pt x="90" y="394"/>
                  </a:lnTo>
                  <a:lnTo>
                    <a:pt x="91" y="394"/>
                  </a:lnTo>
                  <a:lnTo>
                    <a:pt x="91" y="396"/>
                  </a:lnTo>
                  <a:lnTo>
                    <a:pt x="90" y="398"/>
                  </a:lnTo>
                  <a:lnTo>
                    <a:pt x="91" y="399"/>
                  </a:lnTo>
                  <a:lnTo>
                    <a:pt x="91" y="402"/>
                  </a:lnTo>
                  <a:lnTo>
                    <a:pt x="88" y="404"/>
                  </a:lnTo>
                  <a:lnTo>
                    <a:pt x="87" y="411"/>
                  </a:lnTo>
                  <a:lnTo>
                    <a:pt x="85" y="413"/>
                  </a:lnTo>
                  <a:lnTo>
                    <a:pt x="91" y="418"/>
                  </a:lnTo>
                  <a:lnTo>
                    <a:pt x="99" y="416"/>
                  </a:lnTo>
                  <a:lnTo>
                    <a:pt x="115" y="407"/>
                  </a:lnTo>
                  <a:lnTo>
                    <a:pt x="137" y="407"/>
                  </a:lnTo>
                  <a:lnTo>
                    <a:pt x="142" y="409"/>
                  </a:lnTo>
                  <a:lnTo>
                    <a:pt x="143" y="408"/>
                  </a:lnTo>
                  <a:lnTo>
                    <a:pt x="143" y="408"/>
                  </a:lnTo>
                  <a:lnTo>
                    <a:pt x="144" y="407"/>
                  </a:lnTo>
                  <a:lnTo>
                    <a:pt x="145" y="407"/>
                  </a:lnTo>
                  <a:lnTo>
                    <a:pt x="145" y="410"/>
                  </a:lnTo>
                  <a:lnTo>
                    <a:pt x="144" y="412"/>
                  </a:lnTo>
                  <a:lnTo>
                    <a:pt x="143" y="413"/>
                  </a:lnTo>
                  <a:lnTo>
                    <a:pt x="142" y="415"/>
                  </a:lnTo>
                  <a:lnTo>
                    <a:pt x="145" y="416"/>
                  </a:lnTo>
                  <a:lnTo>
                    <a:pt x="146" y="417"/>
                  </a:lnTo>
                  <a:lnTo>
                    <a:pt x="141" y="421"/>
                  </a:lnTo>
                  <a:lnTo>
                    <a:pt x="139" y="423"/>
                  </a:lnTo>
                  <a:lnTo>
                    <a:pt x="140" y="426"/>
                  </a:lnTo>
                  <a:lnTo>
                    <a:pt x="140" y="427"/>
                  </a:lnTo>
                  <a:lnTo>
                    <a:pt x="139" y="428"/>
                  </a:lnTo>
                  <a:lnTo>
                    <a:pt x="138" y="428"/>
                  </a:lnTo>
                  <a:lnTo>
                    <a:pt x="137" y="429"/>
                  </a:lnTo>
                  <a:lnTo>
                    <a:pt x="137" y="429"/>
                  </a:lnTo>
                  <a:lnTo>
                    <a:pt x="143" y="432"/>
                  </a:lnTo>
                  <a:lnTo>
                    <a:pt x="145" y="433"/>
                  </a:lnTo>
                  <a:lnTo>
                    <a:pt x="145" y="435"/>
                  </a:lnTo>
                  <a:lnTo>
                    <a:pt x="116" y="440"/>
                  </a:lnTo>
                  <a:lnTo>
                    <a:pt x="114" y="440"/>
                  </a:lnTo>
                  <a:lnTo>
                    <a:pt x="111" y="437"/>
                  </a:lnTo>
                  <a:lnTo>
                    <a:pt x="110" y="437"/>
                  </a:lnTo>
                  <a:lnTo>
                    <a:pt x="108" y="439"/>
                  </a:lnTo>
                  <a:lnTo>
                    <a:pt x="107" y="440"/>
                  </a:lnTo>
                  <a:lnTo>
                    <a:pt x="103" y="440"/>
                  </a:lnTo>
                  <a:lnTo>
                    <a:pt x="98" y="442"/>
                  </a:lnTo>
                  <a:lnTo>
                    <a:pt x="93" y="443"/>
                  </a:lnTo>
                  <a:lnTo>
                    <a:pt x="91" y="444"/>
                  </a:lnTo>
                  <a:lnTo>
                    <a:pt x="93" y="449"/>
                  </a:lnTo>
                  <a:lnTo>
                    <a:pt x="91" y="453"/>
                  </a:lnTo>
                  <a:lnTo>
                    <a:pt x="90" y="457"/>
                  </a:lnTo>
                  <a:lnTo>
                    <a:pt x="89" y="463"/>
                  </a:lnTo>
                  <a:lnTo>
                    <a:pt x="91" y="475"/>
                  </a:lnTo>
                  <a:lnTo>
                    <a:pt x="104" y="483"/>
                  </a:lnTo>
                  <a:lnTo>
                    <a:pt x="111" y="486"/>
                  </a:lnTo>
                  <a:lnTo>
                    <a:pt x="122" y="485"/>
                  </a:lnTo>
                  <a:lnTo>
                    <a:pt x="125" y="486"/>
                  </a:lnTo>
                  <a:lnTo>
                    <a:pt x="125" y="488"/>
                  </a:lnTo>
                  <a:lnTo>
                    <a:pt x="112" y="487"/>
                  </a:lnTo>
                  <a:lnTo>
                    <a:pt x="105" y="486"/>
                  </a:lnTo>
                  <a:lnTo>
                    <a:pt x="101" y="483"/>
                  </a:lnTo>
                  <a:lnTo>
                    <a:pt x="100" y="483"/>
                  </a:lnTo>
                  <a:lnTo>
                    <a:pt x="97" y="483"/>
                  </a:lnTo>
                  <a:lnTo>
                    <a:pt x="92" y="486"/>
                  </a:lnTo>
                  <a:lnTo>
                    <a:pt x="88" y="487"/>
                  </a:lnTo>
                  <a:lnTo>
                    <a:pt x="75" y="486"/>
                  </a:lnTo>
                  <a:lnTo>
                    <a:pt x="69" y="488"/>
                  </a:lnTo>
                  <a:lnTo>
                    <a:pt x="71" y="491"/>
                  </a:lnTo>
                  <a:lnTo>
                    <a:pt x="81" y="497"/>
                  </a:lnTo>
                  <a:lnTo>
                    <a:pt x="79" y="499"/>
                  </a:lnTo>
                  <a:lnTo>
                    <a:pt x="77" y="502"/>
                  </a:lnTo>
                  <a:lnTo>
                    <a:pt x="76" y="502"/>
                  </a:lnTo>
                  <a:lnTo>
                    <a:pt x="73" y="498"/>
                  </a:lnTo>
                  <a:lnTo>
                    <a:pt x="72" y="497"/>
                  </a:lnTo>
                  <a:lnTo>
                    <a:pt x="65" y="495"/>
                  </a:lnTo>
                  <a:lnTo>
                    <a:pt x="58" y="495"/>
                  </a:lnTo>
                  <a:lnTo>
                    <a:pt x="58" y="497"/>
                  </a:lnTo>
                  <a:lnTo>
                    <a:pt x="59" y="500"/>
                  </a:lnTo>
                  <a:lnTo>
                    <a:pt x="59" y="501"/>
                  </a:lnTo>
                  <a:lnTo>
                    <a:pt x="55" y="500"/>
                  </a:lnTo>
                  <a:lnTo>
                    <a:pt x="52" y="500"/>
                  </a:lnTo>
                  <a:lnTo>
                    <a:pt x="48" y="499"/>
                  </a:lnTo>
                  <a:lnTo>
                    <a:pt x="44" y="502"/>
                  </a:lnTo>
                  <a:lnTo>
                    <a:pt x="46" y="504"/>
                  </a:lnTo>
                  <a:lnTo>
                    <a:pt x="48" y="504"/>
                  </a:lnTo>
                  <a:lnTo>
                    <a:pt x="52" y="502"/>
                  </a:lnTo>
                  <a:lnTo>
                    <a:pt x="54" y="504"/>
                  </a:lnTo>
                  <a:lnTo>
                    <a:pt x="55" y="507"/>
                  </a:lnTo>
                  <a:lnTo>
                    <a:pt x="56" y="510"/>
                  </a:lnTo>
                  <a:lnTo>
                    <a:pt x="56" y="512"/>
                  </a:lnTo>
                  <a:lnTo>
                    <a:pt x="59" y="515"/>
                  </a:lnTo>
                  <a:lnTo>
                    <a:pt x="65" y="518"/>
                  </a:lnTo>
                  <a:lnTo>
                    <a:pt x="71" y="520"/>
                  </a:lnTo>
                  <a:lnTo>
                    <a:pt x="74" y="519"/>
                  </a:lnTo>
                  <a:lnTo>
                    <a:pt x="73" y="522"/>
                  </a:lnTo>
                  <a:lnTo>
                    <a:pt x="70" y="521"/>
                  </a:lnTo>
                  <a:lnTo>
                    <a:pt x="66" y="520"/>
                  </a:lnTo>
                  <a:lnTo>
                    <a:pt x="63" y="519"/>
                  </a:lnTo>
                  <a:lnTo>
                    <a:pt x="63" y="521"/>
                  </a:lnTo>
                  <a:lnTo>
                    <a:pt x="65" y="523"/>
                  </a:lnTo>
                  <a:lnTo>
                    <a:pt x="66" y="524"/>
                  </a:lnTo>
                  <a:lnTo>
                    <a:pt x="68" y="525"/>
                  </a:lnTo>
                  <a:lnTo>
                    <a:pt x="68" y="526"/>
                  </a:lnTo>
                  <a:lnTo>
                    <a:pt x="66" y="529"/>
                  </a:lnTo>
                  <a:lnTo>
                    <a:pt x="63" y="530"/>
                  </a:lnTo>
                  <a:lnTo>
                    <a:pt x="57" y="528"/>
                  </a:lnTo>
                  <a:lnTo>
                    <a:pt x="54" y="529"/>
                  </a:lnTo>
                  <a:lnTo>
                    <a:pt x="52" y="530"/>
                  </a:lnTo>
                  <a:lnTo>
                    <a:pt x="50" y="533"/>
                  </a:lnTo>
                  <a:lnTo>
                    <a:pt x="49" y="537"/>
                  </a:lnTo>
                  <a:lnTo>
                    <a:pt x="51" y="537"/>
                  </a:lnTo>
                  <a:lnTo>
                    <a:pt x="53" y="537"/>
                  </a:lnTo>
                  <a:lnTo>
                    <a:pt x="54" y="535"/>
                  </a:lnTo>
                  <a:lnTo>
                    <a:pt x="56" y="538"/>
                  </a:lnTo>
                  <a:lnTo>
                    <a:pt x="60" y="539"/>
                  </a:lnTo>
                  <a:lnTo>
                    <a:pt x="66" y="537"/>
                  </a:lnTo>
                  <a:lnTo>
                    <a:pt x="68" y="538"/>
                  </a:lnTo>
                  <a:lnTo>
                    <a:pt x="70" y="540"/>
                  </a:lnTo>
                  <a:lnTo>
                    <a:pt x="71" y="542"/>
                  </a:lnTo>
                  <a:lnTo>
                    <a:pt x="72" y="544"/>
                  </a:lnTo>
                  <a:lnTo>
                    <a:pt x="74" y="546"/>
                  </a:lnTo>
                  <a:lnTo>
                    <a:pt x="76" y="546"/>
                  </a:lnTo>
                  <a:lnTo>
                    <a:pt x="83" y="546"/>
                  </a:lnTo>
                  <a:lnTo>
                    <a:pt x="85" y="545"/>
                  </a:lnTo>
                  <a:lnTo>
                    <a:pt x="87" y="544"/>
                  </a:lnTo>
                  <a:lnTo>
                    <a:pt x="89" y="544"/>
                  </a:lnTo>
                  <a:lnTo>
                    <a:pt x="89" y="541"/>
                  </a:lnTo>
                  <a:lnTo>
                    <a:pt x="88" y="538"/>
                  </a:lnTo>
                  <a:lnTo>
                    <a:pt x="89" y="535"/>
                  </a:lnTo>
                  <a:lnTo>
                    <a:pt x="91" y="534"/>
                  </a:lnTo>
                  <a:lnTo>
                    <a:pt x="92" y="534"/>
                  </a:lnTo>
                  <a:lnTo>
                    <a:pt x="93" y="535"/>
                  </a:lnTo>
                  <a:lnTo>
                    <a:pt x="95" y="535"/>
                  </a:lnTo>
                  <a:lnTo>
                    <a:pt x="96" y="535"/>
                  </a:lnTo>
                  <a:lnTo>
                    <a:pt x="97" y="534"/>
                  </a:lnTo>
                  <a:lnTo>
                    <a:pt x="99" y="532"/>
                  </a:lnTo>
                  <a:lnTo>
                    <a:pt x="101" y="532"/>
                  </a:lnTo>
                  <a:lnTo>
                    <a:pt x="99" y="534"/>
                  </a:lnTo>
                  <a:lnTo>
                    <a:pt x="96" y="537"/>
                  </a:lnTo>
                  <a:lnTo>
                    <a:pt x="95" y="539"/>
                  </a:lnTo>
                  <a:lnTo>
                    <a:pt x="96" y="542"/>
                  </a:lnTo>
                  <a:lnTo>
                    <a:pt x="99" y="542"/>
                  </a:lnTo>
                  <a:lnTo>
                    <a:pt x="101" y="541"/>
                  </a:lnTo>
                  <a:lnTo>
                    <a:pt x="101" y="539"/>
                  </a:lnTo>
                  <a:lnTo>
                    <a:pt x="104" y="536"/>
                  </a:lnTo>
                  <a:lnTo>
                    <a:pt x="106" y="535"/>
                  </a:lnTo>
                  <a:lnTo>
                    <a:pt x="108" y="535"/>
                  </a:lnTo>
                  <a:lnTo>
                    <a:pt x="108" y="537"/>
                  </a:lnTo>
                  <a:lnTo>
                    <a:pt x="105" y="539"/>
                  </a:lnTo>
                  <a:lnTo>
                    <a:pt x="105" y="541"/>
                  </a:lnTo>
                  <a:lnTo>
                    <a:pt x="111" y="541"/>
                  </a:lnTo>
                  <a:lnTo>
                    <a:pt x="111" y="543"/>
                  </a:lnTo>
                  <a:lnTo>
                    <a:pt x="108" y="545"/>
                  </a:lnTo>
                  <a:lnTo>
                    <a:pt x="102" y="549"/>
                  </a:lnTo>
                  <a:lnTo>
                    <a:pt x="99" y="550"/>
                  </a:lnTo>
                  <a:lnTo>
                    <a:pt x="97" y="550"/>
                  </a:lnTo>
                  <a:lnTo>
                    <a:pt x="95" y="550"/>
                  </a:lnTo>
                  <a:lnTo>
                    <a:pt x="94" y="552"/>
                  </a:lnTo>
                  <a:lnTo>
                    <a:pt x="94" y="554"/>
                  </a:lnTo>
                  <a:lnTo>
                    <a:pt x="93" y="556"/>
                  </a:lnTo>
                  <a:lnTo>
                    <a:pt x="93" y="560"/>
                  </a:lnTo>
                  <a:lnTo>
                    <a:pt x="92" y="561"/>
                  </a:lnTo>
                  <a:lnTo>
                    <a:pt x="94" y="563"/>
                  </a:lnTo>
                  <a:lnTo>
                    <a:pt x="101" y="561"/>
                  </a:lnTo>
                  <a:lnTo>
                    <a:pt x="104" y="564"/>
                  </a:lnTo>
                  <a:lnTo>
                    <a:pt x="107" y="567"/>
                  </a:lnTo>
                  <a:lnTo>
                    <a:pt x="110" y="567"/>
                  </a:lnTo>
                  <a:lnTo>
                    <a:pt x="117" y="564"/>
                  </a:lnTo>
                  <a:lnTo>
                    <a:pt x="120" y="560"/>
                  </a:lnTo>
                  <a:lnTo>
                    <a:pt x="123" y="554"/>
                  </a:lnTo>
                  <a:lnTo>
                    <a:pt x="125" y="549"/>
                  </a:lnTo>
                  <a:lnTo>
                    <a:pt x="127" y="547"/>
                  </a:lnTo>
                  <a:lnTo>
                    <a:pt x="128" y="546"/>
                  </a:lnTo>
                  <a:lnTo>
                    <a:pt x="131" y="544"/>
                  </a:lnTo>
                  <a:lnTo>
                    <a:pt x="132" y="543"/>
                  </a:lnTo>
                  <a:lnTo>
                    <a:pt x="132" y="543"/>
                  </a:lnTo>
                  <a:lnTo>
                    <a:pt x="133" y="544"/>
                  </a:lnTo>
                  <a:lnTo>
                    <a:pt x="134" y="544"/>
                  </a:lnTo>
                  <a:lnTo>
                    <a:pt x="134" y="547"/>
                  </a:lnTo>
                  <a:lnTo>
                    <a:pt x="132" y="551"/>
                  </a:lnTo>
                  <a:lnTo>
                    <a:pt x="132" y="556"/>
                  </a:lnTo>
                  <a:lnTo>
                    <a:pt x="134" y="559"/>
                  </a:lnTo>
                  <a:lnTo>
                    <a:pt x="137" y="558"/>
                  </a:lnTo>
                  <a:lnTo>
                    <a:pt x="139" y="554"/>
                  </a:lnTo>
                  <a:lnTo>
                    <a:pt x="139" y="549"/>
                  </a:lnTo>
                  <a:lnTo>
                    <a:pt x="137" y="546"/>
                  </a:lnTo>
                  <a:lnTo>
                    <a:pt x="139" y="545"/>
                  </a:lnTo>
                  <a:lnTo>
                    <a:pt x="142" y="544"/>
                  </a:lnTo>
                  <a:lnTo>
                    <a:pt x="147" y="544"/>
                  </a:lnTo>
                  <a:lnTo>
                    <a:pt x="141" y="548"/>
                  </a:lnTo>
                  <a:lnTo>
                    <a:pt x="140" y="550"/>
                  </a:lnTo>
                  <a:lnTo>
                    <a:pt x="146" y="556"/>
                  </a:lnTo>
                  <a:lnTo>
                    <a:pt x="146" y="557"/>
                  </a:lnTo>
                  <a:lnTo>
                    <a:pt x="145" y="558"/>
                  </a:lnTo>
                  <a:lnTo>
                    <a:pt x="144" y="560"/>
                  </a:lnTo>
                  <a:lnTo>
                    <a:pt x="144" y="561"/>
                  </a:lnTo>
                  <a:lnTo>
                    <a:pt x="142" y="561"/>
                  </a:lnTo>
                  <a:lnTo>
                    <a:pt x="141" y="559"/>
                  </a:lnTo>
                  <a:lnTo>
                    <a:pt x="140" y="559"/>
                  </a:lnTo>
                  <a:lnTo>
                    <a:pt x="137" y="562"/>
                  </a:lnTo>
                  <a:lnTo>
                    <a:pt x="138" y="574"/>
                  </a:lnTo>
                  <a:lnTo>
                    <a:pt x="135" y="579"/>
                  </a:lnTo>
                  <a:lnTo>
                    <a:pt x="135" y="581"/>
                  </a:lnTo>
                  <a:lnTo>
                    <a:pt x="138" y="584"/>
                  </a:lnTo>
                  <a:lnTo>
                    <a:pt x="141" y="584"/>
                  </a:lnTo>
                  <a:lnTo>
                    <a:pt x="142" y="580"/>
                  </a:lnTo>
                  <a:lnTo>
                    <a:pt x="143" y="575"/>
                  </a:lnTo>
                  <a:lnTo>
                    <a:pt x="144" y="570"/>
                  </a:lnTo>
                  <a:lnTo>
                    <a:pt x="147" y="570"/>
                  </a:lnTo>
                  <a:lnTo>
                    <a:pt x="148" y="573"/>
                  </a:lnTo>
                  <a:lnTo>
                    <a:pt x="145" y="577"/>
                  </a:lnTo>
                  <a:lnTo>
                    <a:pt x="147" y="580"/>
                  </a:lnTo>
                  <a:lnTo>
                    <a:pt x="149" y="582"/>
                  </a:lnTo>
                  <a:lnTo>
                    <a:pt x="151" y="585"/>
                  </a:lnTo>
                  <a:lnTo>
                    <a:pt x="154" y="586"/>
                  </a:lnTo>
                  <a:lnTo>
                    <a:pt x="161" y="586"/>
                  </a:lnTo>
                  <a:lnTo>
                    <a:pt x="164" y="585"/>
                  </a:lnTo>
                  <a:lnTo>
                    <a:pt x="166" y="583"/>
                  </a:lnTo>
                  <a:lnTo>
                    <a:pt x="171" y="581"/>
                  </a:lnTo>
                  <a:lnTo>
                    <a:pt x="223" y="577"/>
                  </a:lnTo>
                  <a:lnTo>
                    <a:pt x="229" y="574"/>
                  </a:lnTo>
                  <a:lnTo>
                    <a:pt x="232" y="574"/>
                  </a:lnTo>
                  <a:lnTo>
                    <a:pt x="244" y="576"/>
                  </a:lnTo>
                  <a:lnTo>
                    <a:pt x="244" y="577"/>
                  </a:lnTo>
                  <a:lnTo>
                    <a:pt x="242" y="578"/>
                  </a:lnTo>
                  <a:lnTo>
                    <a:pt x="238" y="580"/>
                  </a:lnTo>
                  <a:lnTo>
                    <a:pt x="237" y="581"/>
                  </a:lnTo>
                  <a:lnTo>
                    <a:pt x="237" y="583"/>
                  </a:lnTo>
                  <a:lnTo>
                    <a:pt x="241" y="583"/>
                  </a:lnTo>
                  <a:lnTo>
                    <a:pt x="241" y="584"/>
                  </a:lnTo>
                  <a:lnTo>
                    <a:pt x="238" y="585"/>
                  </a:lnTo>
                  <a:lnTo>
                    <a:pt x="231" y="586"/>
                  </a:lnTo>
                  <a:lnTo>
                    <a:pt x="228" y="588"/>
                  </a:lnTo>
                  <a:lnTo>
                    <a:pt x="230" y="589"/>
                  </a:lnTo>
                  <a:lnTo>
                    <a:pt x="246" y="590"/>
                  </a:lnTo>
                  <a:lnTo>
                    <a:pt x="247" y="589"/>
                  </a:lnTo>
                  <a:lnTo>
                    <a:pt x="250" y="588"/>
                  </a:lnTo>
                  <a:lnTo>
                    <a:pt x="252" y="588"/>
                  </a:lnTo>
                  <a:lnTo>
                    <a:pt x="247" y="592"/>
                  </a:lnTo>
                  <a:lnTo>
                    <a:pt x="244" y="595"/>
                  </a:lnTo>
                  <a:lnTo>
                    <a:pt x="242" y="599"/>
                  </a:lnTo>
                  <a:lnTo>
                    <a:pt x="243" y="601"/>
                  </a:lnTo>
                  <a:lnTo>
                    <a:pt x="244" y="603"/>
                  </a:lnTo>
                  <a:lnTo>
                    <a:pt x="245" y="608"/>
                  </a:lnTo>
                  <a:lnTo>
                    <a:pt x="243" y="608"/>
                  </a:lnTo>
                  <a:lnTo>
                    <a:pt x="241" y="607"/>
                  </a:lnTo>
                  <a:lnTo>
                    <a:pt x="239" y="605"/>
                  </a:lnTo>
                  <a:lnTo>
                    <a:pt x="238" y="603"/>
                  </a:lnTo>
                  <a:lnTo>
                    <a:pt x="239" y="600"/>
                  </a:lnTo>
                  <a:lnTo>
                    <a:pt x="237" y="600"/>
                  </a:lnTo>
                  <a:lnTo>
                    <a:pt x="235" y="601"/>
                  </a:lnTo>
                  <a:lnTo>
                    <a:pt x="234" y="603"/>
                  </a:lnTo>
                  <a:lnTo>
                    <a:pt x="232" y="602"/>
                  </a:lnTo>
                  <a:lnTo>
                    <a:pt x="228" y="601"/>
                  </a:lnTo>
                  <a:lnTo>
                    <a:pt x="228" y="603"/>
                  </a:lnTo>
                  <a:lnTo>
                    <a:pt x="234" y="606"/>
                  </a:lnTo>
                  <a:lnTo>
                    <a:pt x="234" y="608"/>
                  </a:lnTo>
                  <a:lnTo>
                    <a:pt x="231" y="608"/>
                  </a:lnTo>
                  <a:lnTo>
                    <a:pt x="227" y="604"/>
                  </a:lnTo>
                  <a:lnTo>
                    <a:pt x="224" y="603"/>
                  </a:lnTo>
                  <a:lnTo>
                    <a:pt x="215" y="604"/>
                  </a:lnTo>
                  <a:lnTo>
                    <a:pt x="215" y="606"/>
                  </a:lnTo>
                  <a:lnTo>
                    <a:pt x="222" y="609"/>
                  </a:lnTo>
                  <a:lnTo>
                    <a:pt x="224" y="611"/>
                  </a:lnTo>
                  <a:lnTo>
                    <a:pt x="224" y="615"/>
                  </a:lnTo>
                  <a:lnTo>
                    <a:pt x="220" y="613"/>
                  </a:lnTo>
                  <a:lnTo>
                    <a:pt x="216" y="614"/>
                  </a:lnTo>
                  <a:lnTo>
                    <a:pt x="213" y="616"/>
                  </a:lnTo>
                  <a:lnTo>
                    <a:pt x="210" y="617"/>
                  </a:lnTo>
                  <a:lnTo>
                    <a:pt x="206" y="616"/>
                  </a:lnTo>
                  <a:lnTo>
                    <a:pt x="199" y="609"/>
                  </a:lnTo>
                  <a:lnTo>
                    <a:pt x="195" y="606"/>
                  </a:lnTo>
                  <a:lnTo>
                    <a:pt x="192" y="608"/>
                  </a:lnTo>
                  <a:lnTo>
                    <a:pt x="189" y="613"/>
                  </a:lnTo>
                  <a:lnTo>
                    <a:pt x="187" y="618"/>
                  </a:lnTo>
                  <a:lnTo>
                    <a:pt x="184" y="622"/>
                  </a:lnTo>
                  <a:lnTo>
                    <a:pt x="181" y="626"/>
                  </a:lnTo>
                  <a:lnTo>
                    <a:pt x="172" y="642"/>
                  </a:lnTo>
                  <a:lnTo>
                    <a:pt x="174" y="644"/>
                  </a:lnTo>
                  <a:lnTo>
                    <a:pt x="172" y="645"/>
                  </a:lnTo>
                  <a:lnTo>
                    <a:pt x="171" y="647"/>
                  </a:lnTo>
                  <a:lnTo>
                    <a:pt x="166" y="655"/>
                  </a:lnTo>
                  <a:lnTo>
                    <a:pt x="164" y="658"/>
                  </a:lnTo>
                  <a:lnTo>
                    <a:pt x="159" y="662"/>
                  </a:lnTo>
                  <a:lnTo>
                    <a:pt x="164" y="664"/>
                  </a:lnTo>
                  <a:lnTo>
                    <a:pt x="176" y="663"/>
                  </a:lnTo>
                  <a:lnTo>
                    <a:pt x="179" y="664"/>
                  </a:lnTo>
                  <a:lnTo>
                    <a:pt x="177" y="669"/>
                  </a:lnTo>
                  <a:lnTo>
                    <a:pt x="167" y="679"/>
                  </a:lnTo>
                  <a:lnTo>
                    <a:pt x="167" y="682"/>
                  </a:lnTo>
                  <a:lnTo>
                    <a:pt x="167" y="684"/>
                  </a:lnTo>
                  <a:lnTo>
                    <a:pt x="166" y="685"/>
                  </a:lnTo>
                  <a:lnTo>
                    <a:pt x="165" y="686"/>
                  </a:lnTo>
                  <a:lnTo>
                    <a:pt x="165" y="689"/>
                  </a:lnTo>
                  <a:lnTo>
                    <a:pt x="164" y="691"/>
                  </a:lnTo>
                  <a:lnTo>
                    <a:pt x="162" y="693"/>
                  </a:lnTo>
                  <a:lnTo>
                    <a:pt x="161" y="696"/>
                  </a:lnTo>
                  <a:lnTo>
                    <a:pt x="159" y="697"/>
                  </a:lnTo>
                  <a:lnTo>
                    <a:pt x="157" y="698"/>
                  </a:lnTo>
                  <a:lnTo>
                    <a:pt x="158" y="700"/>
                  </a:lnTo>
                  <a:lnTo>
                    <a:pt x="158" y="702"/>
                  </a:lnTo>
                  <a:lnTo>
                    <a:pt x="157" y="702"/>
                  </a:lnTo>
                  <a:lnTo>
                    <a:pt x="157" y="702"/>
                  </a:lnTo>
                  <a:lnTo>
                    <a:pt x="158" y="704"/>
                  </a:lnTo>
                  <a:lnTo>
                    <a:pt x="157" y="706"/>
                  </a:lnTo>
                  <a:lnTo>
                    <a:pt x="157" y="709"/>
                  </a:lnTo>
                  <a:lnTo>
                    <a:pt x="156" y="711"/>
                  </a:lnTo>
                  <a:lnTo>
                    <a:pt x="155" y="712"/>
                  </a:lnTo>
                  <a:lnTo>
                    <a:pt x="153" y="713"/>
                  </a:lnTo>
                  <a:lnTo>
                    <a:pt x="150" y="714"/>
                  </a:lnTo>
                  <a:lnTo>
                    <a:pt x="148" y="714"/>
                  </a:lnTo>
                  <a:lnTo>
                    <a:pt x="143" y="714"/>
                  </a:lnTo>
                  <a:lnTo>
                    <a:pt x="141" y="714"/>
                  </a:lnTo>
                  <a:lnTo>
                    <a:pt x="139" y="715"/>
                  </a:lnTo>
                  <a:lnTo>
                    <a:pt x="137" y="717"/>
                  </a:lnTo>
                  <a:lnTo>
                    <a:pt x="135" y="718"/>
                  </a:lnTo>
                  <a:lnTo>
                    <a:pt x="136" y="720"/>
                  </a:lnTo>
                  <a:lnTo>
                    <a:pt x="137" y="721"/>
                  </a:lnTo>
                  <a:lnTo>
                    <a:pt x="104" y="753"/>
                  </a:lnTo>
                  <a:lnTo>
                    <a:pt x="96" y="754"/>
                  </a:lnTo>
                  <a:lnTo>
                    <a:pt x="89" y="759"/>
                  </a:lnTo>
                  <a:lnTo>
                    <a:pt x="87" y="761"/>
                  </a:lnTo>
                  <a:lnTo>
                    <a:pt x="87" y="763"/>
                  </a:lnTo>
                  <a:lnTo>
                    <a:pt x="115" y="759"/>
                  </a:lnTo>
                  <a:lnTo>
                    <a:pt x="119" y="755"/>
                  </a:lnTo>
                  <a:lnTo>
                    <a:pt x="120" y="756"/>
                  </a:lnTo>
                  <a:lnTo>
                    <a:pt x="122" y="757"/>
                  </a:lnTo>
                  <a:lnTo>
                    <a:pt x="123" y="756"/>
                  </a:lnTo>
                  <a:lnTo>
                    <a:pt x="123" y="753"/>
                  </a:lnTo>
                  <a:lnTo>
                    <a:pt x="125" y="750"/>
                  </a:lnTo>
                  <a:lnTo>
                    <a:pt x="128" y="748"/>
                  </a:lnTo>
                  <a:lnTo>
                    <a:pt x="135" y="747"/>
                  </a:lnTo>
                  <a:lnTo>
                    <a:pt x="147" y="741"/>
                  </a:lnTo>
                  <a:lnTo>
                    <a:pt x="147" y="739"/>
                  </a:lnTo>
                  <a:lnTo>
                    <a:pt x="146" y="737"/>
                  </a:lnTo>
                  <a:lnTo>
                    <a:pt x="144" y="736"/>
                  </a:lnTo>
                  <a:lnTo>
                    <a:pt x="143" y="736"/>
                  </a:lnTo>
                  <a:lnTo>
                    <a:pt x="143" y="734"/>
                  </a:lnTo>
                  <a:lnTo>
                    <a:pt x="149" y="734"/>
                  </a:lnTo>
                  <a:lnTo>
                    <a:pt x="151" y="735"/>
                  </a:lnTo>
                  <a:lnTo>
                    <a:pt x="150" y="739"/>
                  </a:lnTo>
                  <a:lnTo>
                    <a:pt x="152" y="742"/>
                  </a:lnTo>
                  <a:lnTo>
                    <a:pt x="157" y="742"/>
                  </a:lnTo>
                  <a:lnTo>
                    <a:pt x="158" y="744"/>
                  </a:lnTo>
                  <a:lnTo>
                    <a:pt x="160" y="746"/>
                  </a:lnTo>
                  <a:lnTo>
                    <a:pt x="163" y="747"/>
                  </a:lnTo>
                  <a:lnTo>
                    <a:pt x="166" y="748"/>
                  </a:lnTo>
                  <a:lnTo>
                    <a:pt x="174" y="748"/>
                  </a:lnTo>
                  <a:lnTo>
                    <a:pt x="186" y="744"/>
                  </a:lnTo>
                  <a:lnTo>
                    <a:pt x="191" y="741"/>
                  </a:lnTo>
                  <a:lnTo>
                    <a:pt x="191" y="745"/>
                  </a:lnTo>
                  <a:lnTo>
                    <a:pt x="188" y="747"/>
                  </a:lnTo>
                  <a:lnTo>
                    <a:pt x="185" y="750"/>
                  </a:lnTo>
                  <a:lnTo>
                    <a:pt x="182" y="752"/>
                  </a:lnTo>
                  <a:lnTo>
                    <a:pt x="184" y="753"/>
                  </a:lnTo>
                  <a:lnTo>
                    <a:pt x="186" y="754"/>
                  </a:lnTo>
                  <a:lnTo>
                    <a:pt x="188" y="754"/>
                  </a:lnTo>
                  <a:lnTo>
                    <a:pt x="190" y="754"/>
                  </a:lnTo>
                  <a:lnTo>
                    <a:pt x="191" y="752"/>
                  </a:lnTo>
                  <a:lnTo>
                    <a:pt x="194" y="749"/>
                  </a:lnTo>
                  <a:lnTo>
                    <a:pt x="195" y="748"/>
                  </a:lnTo>
                  <a:lnTo>
                    <a:pt x="209" y="747"/>
                  </a:lnTo>
                  <a:lnTo>
                    <a:pt x="212" y="745"/>
                  </a:lnTo>
                  <a:lnTo>
                    <a:pt x="226" y="726"/>
                  </a:lnTo>
                  <a:lnTo>
                    <a:pt x="231" y="716"/>
                  </a:lnTo>
                  <a:lnTo>
                    <a:pt x="231" y="713"/>
                  </a:lnTo>
                  <a:lnTo>
                    <a:pt x="235" y="709"/>
                  </a:lnTo>
                  <a:lnTo>
                    <a:pt x="240" y="706"/>
                  </a:lnTo>
                  <a:lnTo>
                    <a:pt x="244" y="706"/>
                  </a:lnTo>
                  <a:lnTo>
                    <a:pt x="243" y="707"/>
                  </a:lnTo>
                  <a:lnTo>
                    <a:pt x="241" y="710"/>
                  </a:lnTo>
                  <a:lnTo>
                    <a:pt x="240" y="712"/>
                  </a:lnTo>
                  <a:lnTo>
                    <a:pt x="242" y="713"/>
                  </a:lnTo>
                  <a:lnTo>
                    <a:pt x="243" y="716"/>
                  </a:lnTo>
                  <a:lnTo>
                    <a:pt x="243" y="719"/>
                  </a:lnTo>
                  <a:lnTo>
                    <a:pt x="243" y="721"/>
                  </a:lnTo>
                  <a:lnTo>
                    <a:pt x="243" y="723"/>
                  </a:lnTo>
                  <a:lnTo>
                    <a:pt x="241" y="725"/>
                  </a:lnTo>
                  <a:lnTo>
                    <a:pt x="241" y="727"/>
                  </a:lnTo>
                  <a:lnTo>
                    <a:pt x="243" y="728"/>
                  </a:lnTo>
                  <a:lnTo>
                    <a:pt x="246" y="729"/>
                  </a:lnTo>
                  <a:lnTo>
                    <a:pt x="256" y="727"/>
                  </a:lnTo>
                  <a:lnTo>
                    <a:pt x="261" y="728"/>
                  </a:lnTo>
                  <a:lnTo>
                    <a:pt x="272" y="732"/>
                  </a:lnTo>
                  <a:lnTo>
                    <a:pt x="275" y="732"/>
                  </a:lnTo>
                  <a:lnTo>
                    <a:pt x="269" y="734"/>
                  </a:lnTo>
                  <a:lnTo>
                    <a:pt x="242" y="738"/>
                  </a:lnTo>
                  <a:lnTo>
                    <a:pt x="240" y="739"/>
                  </a:lnTo>
                  <a:lnTo>
                    <a:pt x="239" y="741"/>
                  </a:lnTo>
                  <a:lnTo>
                    <a:pt x="238" y="743"/>
                  </a:lnTo>
                  <a:lnTo>
                    <a:pt x="237" y="745"/>
                  </a:lnTo>
                  <a:lnTo>
                    <a:pt x="234" y="746"/>
                  </a:lnTo>
                  <a:lnTo>
                    <a:pt x="231" y="746"/>
                  </a:lnTo>
                  <a:lnTo>
                    <a:pt x="228" y="746"/>
                  </a:lnTo>
                  <a:lnTo>
                    <a:pt x="227" y="743"/>
                  </a:lnTo>
                  <a:lnTo>
                    <a:pt x="224" y="745"/>
                  </a:lnTo>
                  <a:lnTo>
                    <a:pt x="205" y="751"/>
                  </a:lnTo>
                  <a:lnTo>
                    <a:pt x="202" y="753"/>
                  </a:lnTo>
                  <a:lnTo>
                    <a:pt x="200" y="755"/>
                  </a:lnTo>
                  <a:lnTo>
                    <a:pt x="198" y="756"/>
                  </a:lnTo>
                  <a:lnTo>
                    <a:pt x="192" y="757"/>
                  </a:lnTo>
                  <a:lnTo>
                    <a:pt x="182" y="757"/>
                  </a:lnTo>
                  <a:lnTo>
                    <a:pt x="180" y="758"/>
                  </a:lnTo>
                  <a:lnTo>
                    <a:pt x="178" y="758"/>
                  </a:lnTo>
                  <a:lnTo>
                    <a:pt x="178" y="758"/>
                  </a:lnTo>
                  <a:lnTo>
                    <a:pt x="166" y="757"/>
                  </a:lnTo>
                  <a:lnTo>
                    <a:pt x="164" y="757"/>
                  </a:lnTo>
                  <a:lnTo>
                    <a:pt x="163" y="758"/>
                  </a:lnTo>
                  <a:lnTo>
                    <a:pt x="162" y="760"/>
                  </a:lnTo>
                  <a:lnTo>
                    <a:pt x="161" y="761"/>
                  </a:lnTo>
                  <a:lnTo>
                    <a:pt x="159" y="761"/>
                  </a:lnTo>
                  <a:lnTo>
                    <a:pt x="157" y="759"/>
                  </a:lnTo>
                  <a:lnTo>
                    <a:pt x="156" y="759"/>
                  </a:lnTo>
                  <a:lnTo>
                    <a:pt x="144" y="759"/>
                  </a:lnTo>
                  <a:lnTo>
                    <a:pt x="137" y="757"/>
                  </a:lnTo>
                  <a:lnTo>
                    <a:pt x="135" y="758"/>
                  </a:lnTo>
                  <a:lnTo>
                    <a:pt x="134" y="759"/>
                  </a:lnTo>
                  <a:lnTo>
                    <a:pt x="133" y="760"/>
                  </a:lnTo>
                  <a:lnTo>
                    <a:pt x="132" y="759"/>
                  </a:lnTo>
                  <a:lnTo>
                    <a:pt x="128" y="764"/>
                  </a:lnTo>
                  <a:lnTo>
                    <a:pt x="128" y="765"/>
                  </a:lnTo>
                  <a:lnTo>
                    <a:pt x="128" y="769"/>
                  </a:lnTo>
                  <a:lnTo>
                    <a:pt x="128" y="770"/>
                  </a:lnTo>
                  <a:lnTo>
                    <a:pt x="127" y="772"/>
                  </a:lnTo>
                  <a:lnTo>
                    <a:pt x="127" y="773"/>
                  </a:lnTo>
                  <a:lnTo>
                    <a:pt x="128" y="775"/>
                  </a:lnTo>
                  <a:lnTo>
                    <a:pt x="128" y="776"/>
                  </a:lnTo>
                  <a:lnTo>
                    <a:pt x="128" y="777"/>
                  </a:lnTo>
                  <a:lnTo>
                    <a:pt x="127" y="779"/>
                  </a:lnTo>
                  <a:lnTo>
                    <a:pt x="129" y="778"/>
                  </a:lnTo>
                  <a:lnTo>
                    <a:pt x="132" y="779"/>
                  </a:lnTo>
                  <a:lnTo>
                    <a:pt x="134" y="781"/>
                  </a:lnTo>
                  <a:lnTo>
                    <a:pt x="134" y="784"/>
                  </a:lnTo>
                  <a:lnTo>
                    <a:pt x="132" y="783"/>
                  </a:lnTo>
                  <a:lnTo>
                    <a:pt x="128" y="782"/>
                  </a:lnTo>
                  <a:lnTo>
                    <a:pt x="123" y="782"/>
                  </a:lnTo>
                  <a:lnTo>
                    <a:pt x="121" y="783"/>
                  </a:lnTo>
                  <a:lnTo>
                    <a:pt x="118" y="787"/>
                  </a:lnTo>
                  <a:lnTo>
                    <a:pt x="116" y="789"/>
                  </a:lnTo>
                  <a:lnTo>
                    <a:pt x="101" y="796"/>
                  </a:lnTo>
                  <a:lnTo>
                    <a:pt x="90" y="797"/>
                  </a:lnTo>
                  <a:lnTo>
                    <a:pt x="87" y="798"/>
                  </a:lnTo>
                  <a:lnTo>
                    <a:pt x="84" y="800"/>
                  </a:lnTo>
                  <a:lnTo>
                    <a:pt x="87" y="803"/>
                  </a:lnTo>
                  <a:lnTo>
                    <a:pt x="92" y="805"/>
                  </a:lnTo>
                  <a:lnTo>
                    <a:pt x="100" y="807"/>
                  </a:lnTo>
                  <a:lnTo>
                    <a:pt x="103" y="810"/>
                  </a:lnTo>
                  <a:lnTo>
                    <a:pt x="102" y="822"/>
                  </a:lnTo>
                  <a:lnTo>
                    <a:pt x="104" y="827"/>
                  </a:lnTo>
                  <a:lnTo>
                    <a:pt x="100" y="828"/>
                  </a:lnTo>
                  <a:lnTo>
                    <a:pt x="98" y="828"/>
                  </a:lnTo>
                  <a:lnTo>
                    <a:pt x="98" y="830"/>
                  </a:lnTo>
                  <a:lnTo>
                    <a:pt x="100" y="830"/>
                  </a:lnTo>
                  <a:lnTo>
                    <a:pt x="101" y="831"/>
                  </a:lnTo>
                  <a:lnTo>
                    <a:pt x="103" y="832"/>
                  </a:lnTo>
                  <a:lnTo>
                    <a:pt x="100" y="833"/>
                  </a:lnTo>
                  <a:lnTo>
                    <a:pt x="99" y="833"/>
                  </a:lnTo>
                  <a:lnTo>
                    <a:pt x="97" y="832"/>
                  </a:lnTo>
                  <a:lnTo>
                    <a:pt x="95" y="830"/>
                  </a:lnTo>
                  <a:lnTo>
                    <a:pt x="96" y="833"/>
                  </a:lnTo>
                  <a:lnTo>
                    <a:pt x="96" y="834"/>
                  </a:lnTo>
                  <a:lnTo>
                    <a:pt x="97" y="836"/>
                  </a:lnTo>
                  <a:lnTo>
                    <a:pt x="98" y="837"/>
                  </a:lnTo>
                  <a:lnTo>
                    <a:pt x="101" y="836"/>
                  </a:lnTo>
                  <a:lnTo>
                    <a:pt x="103" y="836"/>
                  </a:lnTo>
                  <a:lnTo>
                    <a:pt x="108" y="839"/>
                  </a:lnTo>
                  <a:lnTo>
                    <a:pt x="113" y="839"/>
                  </a:lnTo>
                  <a:lnTo>
                    <a:pt x="116" y="840"/>
                  </a:lnTo>
                  <a:lnTo>
                    <a:pt x="118" y="842"/>
                  </a:lnTo>
                  <a:lnTo>
                    <a:pt x="107" y="844"/>
                  </a:lnTo>
                  <a:lnTo>
                    <a:pt x="104" y="842"/>
                  </a:lnTo>
                  <a:lnTo>
                    <a:pt x="105" y="842"/>
                  </a:lnTo>
                  <a:lnTo>
                    <a:pt x="106" y="841"/>
                  </a:lnTo>
                  <a:lnTo>
                    <a:pt x="104" y="840"/>
                  </a:lnTo>
                  <a:lnTo>
                    <a:pt x="102" y="841"/>
                  </a:lnTo>
                  <a:lnTo>
                    <a:pt x="99" y="845"/>
                  </a:lnTo>
                  <a:lnTo>
                    <a:pt x="97" y="847"/>
                  </a:lnTo>
                  <a:lnTo>
                    <a:pt x="90" y="847"/>
                  </a:lnTo>
                  <a:lnTo>
                    <a:pt x="85" y="845"/>
                  </a:lnTo>
                  <a:lnTo>
                    <a:pt x="80" y="843"/>
                  </a:lnTo>
                  <a:lnTo>
                    <a:pt x="77" y="842"/>
                  </a:lnTo>
                  <a:lnTo>
                    <a:pt x="75" y="841"/>
                  </a:lnTo>
                  <a:lnTo>
                    <a:pt x="74" y="838"/>
                  </a:lnTo>
                  <a:lnTo>
                    <a:pt x="74" y="834"/>
                  </a:lnTo>
                  <a:lnTo>
                    <a:pt x="73" y="830"/>
                  </a:lnTo>
                  <a:lnTo>
                    <a:pt x="74" y="828"/>
                  </a:lnTo>
                  <a:lnTo>
                    <a:pt x="73" y="827"/>
                  </a:lnTo>
                  <a:lnTo>
                    <a:pt x="67" y="827"/>
                  </a:lnTo>
                  <a:lnTo>
                    <a:pt x="71" y="832"/>
                  </a:lnTo>
                  <a:lnTo>
                    <a:pt x="69" y="837"/>
                  </a:lnTo>
                  <a:lnTo>
                    <a:pt x="65" y="842"/>
                  </a:lnTo>
                  <a:lnTo>
                    <a:pt x="60" y="844"/>
                  </a:lnTo>
                  <a:lnTo>
                    <a:pt x="50" y="846"/>
                  </a:lnTo>
                  <a:lnTo>
                    <a:pt x="50" y="844"/>
                  </a:lnTo>
                  <a:lnTo>
                    <a:pt x="52" y="835"/>
                  </a:lnTo>
                  <a:lnTo>
                    <a:pt x="49" y="833"/>
                  </a:lnTo>
                  <a:lnTo>
                    <a:pt x="33" y="837"/>
                  </a:lnTo>
                  <a:lnTo>
                    <a:pt x="31" y="838"/>
                  </a:lnTo>
                  <a:lnTo>
                    <a:pt x="27" y="844"/>
                  </a:lnTo>
                  <a:lnTo>
                    <a:pt x="25" y="846"/>
                  </a:lnTo>
                  <a:lnTo>
                    <a:pt x="23" y="847"/>
                  </a:lnTo>
                  <a:lnTo>
                    <a:pt x="20" y="847"/>
                  </a:lnTo>
                  <a:lnTo>
                    <a:pt x="18" y="848"/>
                  </a:lnTo>
                  <a:lnTo>
                    <a:pt x="17" y="852"/>
                  </a:lnTo>
                  <a:lnTo>
                    <a:pt x="17" y="852"/>
                  </a:lnTo>
                  <a:lnTo>
                    <a:pt x="19" y="853"/>
                  </a:lnTo>
                  <a:lnTo>
                    <a:pt x="17" y="856"/>
                  </a:lnTo>
                  <a:lnTo>
                    <a:pt x="17" y="857"/>
                  </a:lnTo>
                  <a:lnTo>
                    <a:pt x="18" y="859"/>
                  </a:lnTo>
                  <a:lnTo>
                    <a:pt x="17" y="861"/>
                  </a:lnTo>
                  <a:lnTo>
                    <a:pt x="16" y="862"/>
                  </a:lnTo>
                  <a:lnTo>
                    <a:pt x="14" y="862"/>
                  </a:lnTo>
                  <a:lnTo>
                    <a:pt x="10" y="859"/>
                  </a:lnTo>
                  <a:lnTo>
                    <a:pt x="11" y="855"/>
                  </a:lnTo>
                  <a:lnTo>
                    <a:pt x="9" y="856"/>
                  </a:lnTo>
                  <a:lnTo>
                    <a:pt x="5" y="858"/>
                  </a:lnTo>
                  <a:lnTo>
                    <a:pt x="3" y="860"/>
                  </a:lnTo>
                  <a:lnTo>
                    <a:pt x="5" y="862"/>
                  </a:lnTo>
                  <a:lnTo>
                    <a:pt x="5" y="864"/>
                  </a:lnTo>
                  <a:lnTo>
                    <a:pt x="2" y="867"/>
                  </a:lnTo>
                  <a:lnTo>
                    <a:pt x="0" y="867"/>
                  </a:lnTo>
                  <a:lnTo>
                    <a:pt x="2" y="872"/>
                  </a:lnTo>
                  <a:lnTo>
                    <a:pt x="2" y="877"/>
                  </a:lnTo>
                  <a:lnTo>
                    <a:pt x="3" y="880"/>
                  </a:lnTo>
                  <a:lnTo>
                    <a:pt x="7" y="881"/>
                  </a:lnTo>
                  <a:lnTo>
                    <a:pt x="10" y="881"/>
                  </a:lnTo>
                  <a:lnTo>
                    <a:pt x="17" y="878"/>
                  </a:lnTo>
                  <a:lnTo>
                    <a:pt x="20" y="878"/>
                  </a:lnTo>
                  <a:lnTo>
                    <a:pt x="19" y="877"/>
                  </a:lnTo>
                  <a:lnTo>
                    <a:pt x="18" y="876"/>
                  </a:lnTo>
                  <a:lnTo>
                    <a:pt x="18" y="874"/>
                  </a:lnTo>
                  <a:lnTo>
                    <a:pt x="22" y="874"/>
                  </a:lnTo>
                  <a:lnTo>
                    <a:pt x="29" y="877"/>
                  </a:lnTo>
                  <a:lnTo>
                    <a:pt x="33" y="878"/>
                  </a:lnTo>
                  <a:lnTo>
                    <a:pt x="33" y="876"/>
                  </a:lnTo>
                  <a:lnTo>
                    <a:pt x="31" y="875"/>
                  </a:lnTo>
                  <a:lnTo>
                    <a:pt x="29" y="874"/>
                  </a:lnTo>
                  <a:lnTo>
                    <a:pt x="28" y="874"/>
                  </a:lnTo>
                  <a:lnTo>
                    <a:pt x="28" y="873"/>
                  </a:lnTo>
                  <a:lnTo>
                    <a:pt x="32" y="872"/>
                  </a:lnTo>
                  <a:lnTo>
                    <a:pt x="34" y="872"/>
                  </a:lnTo>
                  <a:lnTo>
                    <a:pt x="38" y="876"/>
                  </a:lnTo>
                  <a:lnTo>
                    <a:pt x="39" y="875"/>
                  </a:lnTo>
                  <a:lnTo>
                    <a:pt x="40" y="873"/>
                  </a:lnTo>
                  <a:lnTo>
                    <a:pt x="42" y="873"/>
                  </a:lnTo>
                  <a:lnTo>
                    <a:pt x="44" y="874"/>
                  </a:lnTo>
                  <a:lnTo>
                    <a:pt x="45" y="877"/>
                  </a:lnTo>
                  <a:lnTo>
                    <a:pt x="47" y="878"/>
                  </a:lnTo>
                  <a:lnTo>
                    <a:pt x="51" y="876"/>
                  </a:lnTo>
                  <a:lnTo>
                    <a:pt x="72" y="871"/>
                  </a:lnTo>
                  <a:lnTo>
                    <a:pt x="77" y="871"/>
                  </a:lnTo>
                  <a:lnTo>
                    <a:pt x="79" y="872"/>
                  </a:lnTo>
                  <a:lnTo>
                    <a:pt x="81" y="873"/>
                  </a:lnTo>
                  <a:lnTo>
                    <a:pt x="83" y="874"/>
                  </a:lnTo>
                  <a:lnTo>
                    <a:pt x="84" y="879"/>
                  </a:lnTo>
                  <a:lnTo>
                    <a:pt x="84" y="877"/>
                  </a:lnTo>
                  <a:lnTo>
                    <a:pt x="85" y="874"/>
                  </a:lnTo>
                  <a:lnTo>
                    <a:pt x="83" y="869"/>
                  </a:lnTo>
                  <a:lnTo>
                    <a:pt x="115" y="867"/>
                  </a:lnTo>
                  <a:lnTo>
                    <a:pt x="109" y="871"/>
                  </a:lnTo>
                  <a:lnTo>
                    <a:pt x="110" y="872"/>
                  </a:lnTo>
                  <a:lnTo>
                    <a:pt x="112" y="873"/>
                  </a:lnTo>
                  <a:lnTo>
                    <a:pt x="113" y="874"/>
                  </a:lnTo>
                  <a:lnTo>
                    <a:pt x="101" y="876"/>
                  </a:lnTo>
                  <a:lnTo>
                    <a:pt x="96" y="876"/>
                  </a:lnTo>
                  <a:lnTo>
                    <a:pt x="91" y="873"/>
                  </a:lnTo>
                  <a:lnTo>
                    <a:pt x="88" y="888"/>
                  </a:lnTo>
                  <a:lnTo>
                    <a:pt x="88" y="891"/>
                  </a:lnTo>
                  <a:lnTo>
                    <a:pt x="86" y="891"/>
                  </a:lnTo>
                  <a:lnTo>
                    <a:pt x="84" y="890"/>
                  </a:lnTo>
                  <a:lnTo>
                    <a:pt x="82" y="888"/>
                  </a:lnTo>
                  <a:lnTo>
                    <a:pt x="82" y="883"/>
                  </a:lnTo>
                  <a:lnTo>
                    <a:pt x="81" y="883"/>
                  </a:lnTo>
                  <a:lnTo>
                    <a:pt x="78" y="892"/>
                  </a:lnTo>
                  <a:lnTo>
                    <a:pt x="71" y="896"/>
                  </a:lnTo>
                  <a:lnTo>
                    <a:pt x="56" y="899"/>
                  </a:lnTo>
                  <a:lnTo>
                    <a:pt x="46" y="904"/>
                  </a:lnTo>
                  <a:lnTo>
                    <a:pt x="42" y="907"/>
                  </a:lnTo>
                  <a:lnTo>
                    <a:pt x="38" y="908"/>
                  </a:lnTo>
                  <a:lnTo>
                    <a:pt x="34" y="910"/>
                  </a:lnTo>
                  <a:lnTo>
                    <a:pt x="35" y="913"/>
                  </a:lnTo>
                  <a:lnTo>
                    <a:pt x="34" y="914"/>
                  </a:lnTo>
                  <a:lnTo>
                    <a:pt x="29" y="916"/>
                  </a:lnTo>
                  <a:lnTo>
                    <a:pt x="28" y="917"/>
                  </a:lnTo>
                  <a:lnTo>
                    <a:pt x="28" y="919"/>
                  </a:lnTo>
                  <a:lnTo>
                    <a:pt x="31" y="919"/>
                  </a:lnTo>
                  <a:lnTo>
                    <a:pt x="32" y="921"/>
                  </a:lnTo>
                  <a:lnTo>
                    <a:pt x="34" y="924"/>
                  </a:lnTo>
                  <a:lnTo>
                    <a:pt x="36" y="926"/>
                  </a:lnTo>
                  <a:lnTo>
                    <a:pt x="36" y="926"/>
                  </a:lnTo>
                  <a:lnTo>
                    <a:pt x="37" y="928"/>
                  </a:lnTo>
                  <a:lnTo>
                    <a:pt x="36" y="930"/>
                  </a:lnTo>
                  <a:lnTo>
                    <a:pt x="35" y="931"/>
                  </a:lnTo>
                  <a:lnTo>
                    <a:pt x="32" y="931"/>
                  </a:lnTo>
                  <a:lnTo>
                    <a:pt x="19" y="935"/>
                  </a:lnTo>
                  <a:lnTo>
                    <a:pt x="14" y="936"/>
                  </a:lnTo>
                  <a:lnTo>
                    <a:pt x="14" y="938"/>
                  </a:lnTo>
                  <a:lnTo>
                    <a:pt x="14" y="938"/>
                  </a:lnTo>
                  <a:lnTo>
                    <a:pt x="15" y="938"/>
                  </a:lnTo>
                  <a:lnTo>
                    <a:pt x="16" y="938"/>
                  </a:lnTo>
                  <a:lnTo>
                    <a:pt x="16" y="939"/>
                  </a:lnTo>
                  <a:lnTo>
                    <a:pt x="15" y="940"/>
                  </a:lnTo>
                  <a:lnTo>
                    <a:pt x="15" y="940"/>
                  </a:lnTo>
                  <a:lnTo>
                    <a:pt x="15" y="941"/>
                  </a:lnTo>
                  <a:lnTo>
                    <a:pt x="15" y="942"/>
                  </a:lnTo>
                  <a:lnTo>
                    <a:pt x="15" y="942"/>
                  </a:lnTo>
                  <a:lnTo>
                    <a:pt x="16" y="942"/>
                  </a:lnTo>
                  <a:lnTo>
                    <a:pt x="16" y="943"/>
                  </a:lnTo>
                  <a:lnTo>
                    <a:pt x="15" y="946"/>
                  </a:lnTo>
                  <a:lnTo>
                    <a:pt x="17" y="946"/>
                  </a:lnTo>
                  <a:lnTo>
                    <a:pt x="20" y="946"/>
                  </a:lnTo>
                  <a:lnTo>
                    <a:pt x="22" y="947"/>
                  </a:lnTo>
                  <a:lnTo>
                    <a:pt x="23" y="950"/>
                  </a:lnTo>
                  <a:lnTo>
                    <a:pt x="21" y="958"/>
                  </a:lnTo>
                  <a:lnTo>
                    <a:pt x="22" y="961"/>
                  </a:lnTo>
                  <a:lnTo>
                    <a:pt x="25" y="960"/>
                  </a:lnTo>
                  <a:lnTo>
                    <a:pt x="30" y="955"/>
                  </a:lnTo>
                  <a:lnTo>
                    <a:pt x="32" y="954"/>
                  </a:lnTo>
                  <a:lnTo>
                    <a:pt x="33" y="952"/>
                  </a:lnTo>
                  <a:lnTo>
                    <a:pt x="37" y="946"/>
                  </a:lnTo>
                  <a:lnTo>
                    <a:pt x="39" y="945"/>
                  </a:lnTo>
                  <a:lnTo>
                    <a:pt x="46" y="948"/>
                  </a:lnTo>
                  <a:lnTo>
                    <a:pt x="48" y="955"/>
                  </a:lnTo>
                  <a:lnTo>
                    <a:pt x="47" y="960"/>
                  </a:lnTo>
                  <a:lnTo>
                    <a:pt x="41" y="962"/>
                  </a:lnTo>
                  <a:lnTo>
                    <a:pt x="56" y="969"/>
                  </a:lnTo>
                  <a:lnTo>
                    <a:pt x="55" y="973"/>
                  </a:lnTo>
                  <a:lnTo>
                    <a:pt x="59" y="972"/>
                  </a:lnTo>
                  <a:lnTo>
                    <a:pt x="63" y="969"/>
                  </a:lnTo>
                  <a:lnTo>
                    <a:pt x="67" y="966"/>
                  </a:lnTo>
                  <a:lnTo>
                    <a:pt x="70" y="962"/>
                  </a:lnTo>
                  <a:lnTo>
                    <a:pt x="74" y="965"/>
                  </a:lnTo>
                  <a:lnTo>
                    <a:pt x="78" y="963"/>
                  </a:lnTo>
                  <a:lnTo>
                    <a:pt x="84" y="957"/>
                  </a:lnTo>
                  <a:lnTo>
                    <a:pt x="86" y="957"/>
                  </a:lnTo>
                  <a:lnTo>
                    <a:pt x="90" y="956"/>
                  </a:lnTo>
                  <a:lnTo>
                    <a:pt x="92" y="955"/>
                  </a:lnTo>
                  <a:lnTo>
                    <a:pt x="93" y="954"/>
                  </a:lnTo>
                  <a:lnTo>
                    <a:pt x="94" y="953"/>
                  </a:lnTo>
                  <a:lnTo>
                    <a:pt x="95" y="952"/>
                  </a:lnTo>
                  <a:lnTo>
                    <a:pt x="97" y="952"/>
                  </a:lnTo>
                  <a:lnTo>
                    <a:pt x="97" y="953"/>
                  </a:lnTo>
                  <a:lnTo>
                    <a:pt x="97" y="956"/>
                  </a:lnTo>
                  <a:lnTo>
                    <a:pt x="96" y="957"/>
                  </a:lnTo>
                  <a:lnTo>
                    <a:pt x="98" y="957"/>
                  </a:lnTo>
                  <a:lnTo>
                    <a:pt x="103" y="954"/>
                  </a:lnTo>
                  <a:lnTo>
                    <a:pt x="102" y="952"/>
                  </a:lnTo>
                  <a:lnTo>
                    <a:pt x="104" y="951"/>
                  </a:lnTo>
                  <a:lnTo>
                    <a:pt x="109" y="951"/>
                  </a:lnTo>
                  <a:lnTo>
                    <a:pt x="111" y="949"/>
                  </a:lnTo>
                  <a:lnTo>
                    <a:pt x="112" y="948"/>
                  </a:lnTo>
                  <a:lnTo>
                    <a:pt x="115" y="946"/>
                  </a:lnTo>
                  <a:lnTo>
                    <a:pt x="132" y="940"/>
                  </a:lnTo>
                  <a:lnTo>
                    <a:pt x="143" y="938"/>
                  </a:lnTo>
                  <a:lnTo>
                    <a:pt x="143" y="940"/>
                  </a:lnTo>
                  <a:lnTo>
                    <a:pt x="138" y="942"/>
                  </a:lnTo>
                  <a:lnTo>
                    <a:pt x="129" y="947"/>
                  </a:lnTo>
                  <a:lnTo>
                    <a:pt x="123" y="949"/>
                  </a:lnTo>
                  <a:lnTo>
                    <a:pt x="119" y="948"/>
                  </a:lnTo>
                  <a:lnTo>
                    <a:pt x="118" y="949"/>
                  </a:lnTo>
                  <a:lnTo>
                    <a:pt x="117" y="950"/>
                  </a:lnTo>
                  <a:lnTo>
                    <a:pt x="115" y="953"/>
                  </a:lnTo>
                  <a:lnTo>
                    <a:pt x="112" y="955"/>
                  </a:lnTo>
                  <a:lnTo>
                    <a:pt x="108" y="960"/>
                  </a:lnTo>
                  <a:lnTo>
                    <a:pt x="106" y="961"/>
                  </a:lnTo>
                  <a:lnTo>
                    <a:pt x="106" y="962"/>
                  </a:lnTo>
                  <a:lnTo>
                    <a:pt x="109" y="964"/>
                  </a:lnTo>
                  <a:lnTo>
                    <a:pt x="111" y="964"/>
                  </a:lnTo>
                  <a:lnTo>
                    <a:pt x="111" y="966"/>
                  </a:lnTo>
                  <a:lnTo>
                    <a:pt x="104" y="966"/>
                  </a:lnTo>
                  <a:lnTo>
                    <a:pt x="102" y="966"/>
                  </a:lnTo>
                  <a:lnTo>
                    <a:pt x="100" y="964"/>
                  </a:lnTo>
                  <a:lnTo>
                    <a:pt x="99" y="969"/>
                  </a:lnTo>
                  <a:lnTo>
                    <a:pt x="97" y="971"/>
                  </a:lnTo>
                  <a:lnTo>
                    <a:pt x="95" y="972"/>
                  </a:lnTo>
                  <a:lnTo>
                    <a:pt x="92" y="973"/>
                  </a:lnTo>
                  <a:lnTo>
                    <a:pt x="93" y="971"/>
                  </a:lnTo>
                  <a:lnTo>
                    <a:pt x="94" y="969"/>
                  </a:lnTo>
                  <a:lnTo>
                    <a:pt x="94" y="968"/>
                  </a:lnTo>
                  <a:lnTo>
                    <a:pt x="90" y="969"/>
                  </a:lnTo>
                  <a:lnTo>
                    <a:pt x="84" y="971"/>
                  </a:lnTo>
                  <a:lnTo>
                    <a:pt x="79" y="975"/>
                  </a:lnTo>
                  <a:lnTo>
                    <a:pt x="77" y="980"/>
                  </a:lnTo>
                  <a:lnTo>
                    <a:pt x="83" y="980"/>
                  </a:lnTo>
                  <a:lnTo>
                    <a:pt x="83" y="982"/>
                  </a:lnTo>
                  <a:lnTo>
                    <a:pt x="76" y="989"/>
                  </a:lnTo>
                  <a:lnTo>
                    <a:pt x="72" y="990"/>
                  </a:lnTo>
                  <a:lnTo>
                    <a:pt x="66" y="990"/>
                  </a:lnTo>
                  <a:lnTo>
                    <a:pt x="63" y="991"/>
                  </a:lnTo>
                  <a:lnTo>
                    <a:pt x="60" y="994"/>
                  </a:lnTo>
                  <a:lnTo>
                    <a:pt x="63" y="994"/>
                  </a:lnTo>
                  <a:lnTo>
                    <a:pt x="65" y="994"/>
                  </a:lnTo>
                  <a:lnTo>
                    <a:pt x="67" y="996"/>
                  </a:lnTo>
                  <a:lnTo>
                    <a:pt x="66" y="999"/>
                  </a:lnTo>
                  <a:lnTo>
                    <a:pt x="66" y="1000"/>
                  </a:lnTo>
                  <a:lnTo>
                    <a:pt x="67" y="1000"/>
                  </a:lnTo>
                  <a:lnTo>
                    <a:pt x="67" y="1000"/>
                  </a:lnTo>
                  <a:lnTo>
                    <a:pt x="67" y="1001"/>
                  </a:lnTo>
                  <a:lnTo>
                    <a:pt x="64" y="1003"/>
                  </a:lnTo>
                  <a:lnTo>
                    <a:pt x="54" y="1005"/>
                  </a:lnTo>
                  <a:lnTo>
                    <a:pt x="53" y="1006"/>
                  </a:lnTo>
                  <a:lnTo>
                    <a:pt x="52" y="1008"/>
                  </a:lnTo>
                  <a:lnTo>
                    <a:pt x="52" y="1009"/>
                  </a:lnTo>
                  <a:lnTo>
                    <a:pt x="52" y="1011"/>
                  </a:lnTo>
                  <a:lnTo>
                    <a:pt x="51" y="1011"/>
                  </a:lnTo>
                  <a:lnTo>
                    <a:pt x="52" y="1013"/>
                  </a:lnTo>
                  <a:lnTo>
                    <a:pt x="54" y="1010"/>
                  </a:lnTo>
                  <a:lnTo>
                    <a:pt x="58" y="1009"/>
                  </a:lnTo>
                  <a:lnTo>
                    <a:pt x="65" y="1008"/>
                  </a:lnTo>
                  <a:lnTo>
                    <a:pt x="67" y="1008"/>
                  </a:lnTo>
                  <a:lnTo>
                    <a:pt x="70" y="1009"/>
                  </a:lnTo>
                  <a:lnTo>
                    <a:pt x="72" y="1010"/>
                  </a:lnTo>
                  <a:lnTo>
                    <a:pt x="76" y="1007"/>
                  </a:lnTo>
                  <a:lnTo>
                    <a:pt x="86" y="1004"/>
                  </a:lnTo>
                  <a:lnTo>
                    <a:pt x="87" y="1003"/>
                  </a:lnTo>
                  <a:lnTo>
                    <a:pt x="87" y="1002"/>
                  </a:lnTo>
                  <a:lnTo>
                    <a:pt x="87" y="1001"/>
                  </a:lnTo>
                  <a:lnTo>
                    <a:pt x="87" y="1000"/>
                  </a:lnTo>
                  <a:lnTo>
                    <a:pt x="88" y="999"/>
                  </a:lnTo>
                  <a:lnTo>
                    <a:pt x="90" y="998"/>
                  </a:lnTo>
                  <a:lnTo>
                    <a:pt x="96" y="995"/>
                  </a:lnTo>
                  <a:lnTo>
                    <a:pt x="117" y="992"/>
                  </a:lnTo>
                  <a:lnTo>
                    <a:pt x="122" y="989"/>
                  </a:lnTo>
                  <a:lnTo>
                    <a:pt x="132" y="988"/>
                  </a:lnTo>
                  <a:lnTo>
                    <a:pt x="136" y="987"/>
                  </a:lnTo>
                  <a:lnTo>
                    <a:pt x="139" y="985"/>
                  </a:lnTo>
                  <a:lnTo>
                    <a:pt x="143" y="981"/>
                  </a:lnTo>
                  <a:lnTo>
                    <a:pt x="145" y="979"/>
                  </a:lnTo>
                  <a:lnTo>
                    <a:pt x="148" y="978"/>
                  </a:lnTo>
                  <a:lnTo>
                    <a:pt x="147" y="975"/>
                  </a:lnTo>
                  <a:lnTo>
                    <a:pt x="147" y="973"/>
                  </a:lnTo>
                  <a:lnTo>
                    <a:pt x="147" y="971"/>
                  </a:lnTo>
                  <a:lnTo>
                    <a:pt x="146" y="968"/>
                  </a:lnTo>
                  <a:lnTo>
                    <a:pt x="148" y="968"/>
                  </a:lnTo>
                  <a:lnTo>
                    <a:pt x="149" y="969"/>
                  </a:lnTo>
                  <a:lnTo>
                    <a:pt x="151" y="970"/>
                  </a:lnTo>
                  <a:lnTo>
                    <a:pt x="152" y="971"/>
                  </a:lnTo>
                  <a:lnTo>
                    <a:pt x="152" y="972"/>
                  </a:lnTo>
                  <a:lnTo>
                    <a:pt x="151" y="976"/>
                  </a:lnTo>
                  <a:lnTo>
                    <a:pt x="152" y="977"/>
                  </a:lnTo>
                  <a:lnTo>
                    <a:pt x="152" y="977"/>
                  </a:lnTo>
                  <a:lnTo>
                    <a:pt x="154" y="977"/>
                  </a:lnTo>
                  <a:lnTo>
                    <a:pt x="157" y="980"/>
                  </a:lnTo>
                  <a:lnTo>
                    <a:pt x="160" y="979"/>
                  </a:lnTo>
                  <a:lnTo>
                    <a:pt x="163" y="977"/>
                  </a:lnTo>
                  <a:lnTo>
                    <a:pt x="165" y="978"/>
                  </a:lnTo>
                  <a:lnTo>
                    <a:pt x="165" y="980"/>
                  </a:lnTo>
                  <a:lnTo>
                    <a:pt x="164" y="981"/>
                  </a:lnTo>
                  <a:lnTo>
                    <a:pt x="163" y="982"/>
                  </a:lnTo>
                  <a:lnTo>
                    <a:pt x="163" y="984"/>
                  </a:lnTo>
                  <a:lnTo>
                    <a:pt x="162" y="988"/>
                  </a:lnTo>
                  <a:lnTo>
                    <a:pt x="158" y="990"/>
                  </a:lnTo>
                  <a:lnTo>
                    <a:pt x="152" y="991"/>
                  </a:lnTo>
                  <a:lnTo>
                    <a:pt x="146" y="994"/>
                  </a:lnTo>
                  <a:lnTo>
                    <a:pt x="141" y="995"/>
                  </a:lnTo>
                  <a:lnTo>
                    <a:pt x="139" y="998"/>
                  </a:lnTo>
                  <a:lnTo>
                    <a:pt x="119" y="1009"/>
                  </a:lnTo>
                  <a:lnTo>
                    <a:pt x="113" y="1011"/>
                  </a:lnTo>
                  <a:lnTo>
                    <a:pt x="112" y="1013"/>
                  </a:lnTo>
                  <a:lnTo>
                    <a:pt x="110" y="1016"/>
                  </a:lnTo>
                  <a:lnTo>
                    <a:pt x="109" y="1017"/>
                  </a:lnTo>
                  <a:lnTo>
                    <a:pt x="107" y="1018"/>
                  </a:lnTo>
                  <a:lnTo>
                    <a:pt x="101" y="1022"/>
                  </a:lnTo>
                  <a:lnTo>
                    <a:pt x="111" y="1021"/>
                  </a:lnTo>
                  <a:lnTo>
                    <a:pt x="141" y="1005"/>
                  </a:lnTo>
                  <a:lnTo>
                    <a:pt x="148" y="1006"/>
                  </a:lnTo>
                  <a:lnTo>
                    <a:pt x="145" y="1009"/>
                  </a:lnTo>
                  <a:lnTo>
                    <a:pt x="140" y="1011"/>
                  </a:lnTo>
                  <a:lnTo>
                    <a:pt x="137" y="1013"/>
                  </a:lnTo>
                  <a:lnTo>
                    <a:pt x="130" y="1021"/>
                  </a:lnTo>
                  <a:lnTo>
                    <a:pt x="127" y="1023"/>
                  </a:lnTo>
                  <a:lnTo>
                    <a:pt x="123" y="1025"/>
                  </a:lnTo>
                  <a:lnTo>
                    <a:pt x="118" y="1027"/>
                  </a:lnTo>
                  <a:lnTo>
                    <a:pt x="115" y="1029"/>
                  </a:lnTo>
                  <a:lnTo>
                    <a:pt x="109" y="1034"/>
                  </a:lnTo>
                  <a:lnTo>
                    <a:pt x="106" y="1037"/>
                  </a:lnTo>
                  <a:lnTo>
                    <a:pt x="103" y="1038"/>
                  </a:lnTo>
                  <a:lnTo>
                    <a:pt x="104" y="1040"/>
                  </a:lnTo>
                  <a:lnTo>
                    <a:pt x="105" y="1041"/>
                  </a:lnTo>
                  <a:lnTo>
                    <a:pt x="106" y="1041"/>
                  </a:lnTo>
                  <a:lnTo>
                    <a:pt x="106" y="1043"/>
                  </a:lnTo>
                  <a:lnTo>
                    <a:pt x="106" y="1044"/>
                  </a:lnTo>
                  <a:lnTo>
                    <a:pt x="105" y="1045"/>
                  </a:lnTo>
                  <a:lnTo>
                    <a:pt x="105" y="1048"/>
                  </a:lnTo>
                  <a:lnTo>
                    <a:pt x="106" y="1046"/>
                  </a:lnTo>
                  <a:lnTo>
                    <a:pt x="107" y="1048"/>
                  </a:lnTo>
                  <a:lnTo>
                    <a:pt x="112" y="1044"/>
                  </a:lnTo>
                  <a:lnTo>
                    <a:pt x="113" y="1043"/>
                  </a:lnTo>
                  <a:lnTo>
                    <a:pt x="113" y="1046"/>
                  </a:lnTo>
                  <a:lnTo>
                    <a:pt x="123" y="1041"/>
                  </a:lnTo>
                  <a:lnTo>
                    <a:pt x="123" y="1041"/>
                  </a:lnTo>
                  <a:lnTo>
                    <a:pt x="122" y="1041"/>
                  </a:lnTo>
                  <a:lnTo>
                    <a:pt x="121" y="1039"/>
                  </a:lnTo>
                  <a:lnTo>
                    <a:pt x="130" y="1032"/>
                  </a:lnTo>
                  <a:lnTo>
                    <a:pt x="131" y="1029"/>
                  </a:lnTo>
                  <a:lnTo>
                    <a:pt x="133" y="1031"/>
                  </a:lnTo>
                  <a:lnTo>
                    <a:pt x="135" y="1033"/>
                  </a:lnTo>
                  <a:lnTo>
                    <a:pt x="135" y="1036"/>
                  </a:lnTo>
                  <a:lnTo>
                    <a:pt x="138" y="1036"/>
                  </a:lnTo>
                  <a:lnTo>
                    <a:pt x="140" y="1035"/>
                  </a:lnTo>
                  <a:lnTo>
                    <a:pt x="143" y="1032"/>
                  </a:lnTo>
                  <a:lnTo>
                    <a:pt x="144" y="1032"/>
                  </a:lnTo>
                  <a:lnTo>
                    <a:pt x="147" y="1032"/>
                  </a:lnTo>
                  <a:lnTo>
                    <a:pt x="147" y="1032"/>
                  </a:lnTo>
                  <a:lnTo>
                    <a:pt x="148" y="1029"/>
                  </a:lnTo>
                  <a:lnTo>
                    <a:pt x="148" y="1028"/>
                  </a:lnTo>
                  <a:lnTo>
                    <a:pt x="160" y="1026"/>
                  </a:lnTo>
                  <a:lnTo>
                    <a:pt x="164" y="1023"/>
                  </a:lnTo>
                  <a:lnTo>
                    <a:pt x="163" y="1020"/>
                  </a:lnTo>
                  <a:lnTo>
                    <a:pt x="165" y="1019"/>
                  </a:lnTo>
                  <a:lnTo>
                    <a:pt x="168" y="1020"/>
                  </a:lnTo>
                  <a:lnTo>
                    <a:pt x="170" y="1021"/>
                  </a:lnTo>
                  <a:lnTo>
                    <a:pt x="171" y="1023"/>
                  </a:lnTo>
                  <a:lnTo>
                    <a:pt x="171" y="1026"/>
                  </a:lnTo>
                  <a:lnTo>
                    <a:pt x="170" y="1029"/>
                  </a:lnTo>
                  <a:lnTo>
                    <a:pt x="170" y="1032"/>
                  </a:lnTo>
                  <a:lnTo>
                    <a:pt x="171" y="1034"/>
                  </a:lnTo>
                  <a:lnTo>
                    <a:pt x="175" y="1031"/>
                  </a:lnTo>
                  <a:lnTo>
                    <a:pt x="176" y="1029"/>
                  </a:lnTo>
                  <a:lnTo>
                    <a:pt x="177" y="1028"/>
                  </a:lnTo>
                  <a:lnTo>
                    <a:pt x="182" y="1025"/>
                  </a:lnTo>
                  <a:lnTo>
                    <a:pt x="183" y="1023"/>
                  </a:lnTo>
                  <a:lnTo>
                    <a:pt x="184" y="1024"/>
                  </a:lnTo>
                  <a:lnTo>
                    <a:pt x="184" y="1025"/>
                  </a:lnTo>
                  <a:lnTo>
                    <a:pt x="184" y="1025"/>
                  </a:lnTo>
                  <a:lnTo>
                    <a:pt x="184" y="1026"/>
                  </a:lnTo>
                  <a:lnTo>
                    <a:pt x="182" y="1028"/>
                  </a:lnTo>
                  <a:lnTo>
                    <a:pt x="178" y="1030"/>
                  </a:lnTo>
                  <a:lnTo>
                    <a:pt x="177" y="1032"/>
                  </a:lnTo>
                  <a:lnTo>
                    <a:pt x="175" y="1036"/>
                  </a:lnTo>
                  <a:lnTo>
                    <a:pt x="176" y="1037"/>
                  </a:lnTo>
                  <a:lnTo>
                    <a:pt x="178" y="1036"/>
                  </a:lnTo>
                  <a:lnTo>
                    <a:pt x="180" y="1034"/>
                  </a:lnTo>
                  <a:lnTo>
                    <a:pt x="179" y="1037"/>
                  </a:lnTo>
                  <a:lnTo>
                    <a:pt x="178" y="1038"/>
                  </a:lnTo>
                  <a:lnTo>
                    <a:pt x="176" y="1040"/>
                  </a:lnTo>
                  <a:lnTo>
                    <a:pt x="175" y="1041"/>
                  </a:lnTo>
                  <a:lnTo>
                    <a:pt x="180" y="1041"/>
                  </a:lnTo>
                  <a:lnTo>
                    <a:pt x="182" y="1040"/>
                  </a:lnTo>
                  <a:lnTo>
                    <a:pt x="184" y="1038"/>
                  </a:lnTo>
                  <a:lnTo>
                    <a:pt x="185" y="1038"/>
                  </a:lnTo>
                  <a:lnTo>
                    <a:pt x="186" y="1038"/>
                  </a:lnTo>
                  <a:lnTo>
                    <a:pt x="187" y="1037"/>
                  </a:lnTo>
                  <a:lnTo>
                    <a:pt x="188" y="1035"/>
                  </a:lnTo>
                  <a:lnTo>
                    <a:pt x="192" y="1032"/>
                  </a:lnTo>
                  <a:lnTo>
                    <a:pt x="192" y="1034"/>
                  </a:lnTo>
                  <a:lnTo>
                    <a:pt x="193" y="1035"/>
                  </a:lnTo>
                  <a:lnTo>
                    <a:pt x="193" y="1036"/>
                  </a:lnTo>
                  <a:lnTo>
                    <a:pt x="193" y="1038"/>
                  </a:lnTo>
                  <a:lnTo>
                    <a:pt x="195" y="1037"/>
                  </a:lnTo>
                  <a:lnTo>
                    <a:pt x="196" y="1037"/>
                  </a:lnTo>
                  <a:lnTo>
                    <a:pt x="198" y="1038"/>
                  </a:lnTo>
                  <a:lnTo>
                    <a:pt x="200" y="1038"/>
                  </a:lnTo>
                  <a:lnTo>
                    <a:pt x="201" y="1036"/>
                  </a:lnTo>
                  <a:lnTo>
                    <a:pt x="202" y="1034"/>
                  </a:lnTo>
                  <a:lnTo>
                    <a:pt x="203" y="1033"/>
                  </a:lnTo>
                  <a:lnTo>
                    <a:pt x="205" y="1032"/>
                  </a:lnTo>
                  <a:lnTo>
                    <a:pt x="205" y="1031"/>
                  </a:lnTo>
                  <a:lnTo>
                    <a:pt x="205" y="1028"/>
                  </a:lnTo>
                  <a:lnTo>
                    <a:pt x="206" y="1028"/>
                  </a:lnTo>
                  <a:lnTo>
                    <a:pt x="210" y="1029"/>
                  </a:lnTo>
                  <a:lnTo>
                    <a:pt x="212" y="1028"/>
                  </a:lnTo>
                  <a:lnTo>
                    <a:pt x="215" y="1027"/>
                  </a:lnTo>
                  <a:lnTo>
                    <a:pt x="217" y="1025"/>
                  </a:lnTo>
                  <a:lnTo>
                    <a:pt x="218" y="1022"/>
                  </a:lnTo>
                  <a:lnTo>
                    <a:pt x="217" y="1021"/>
                  </a:lnTo>
                  <a:lnTo>
                    <a:pt x="216" y="1020"/>
                  </a:lnTo>
                  <a:lnTo>
                    <a:pt x="216" y="1018"/>
                  </a:lnTo>
                  <a:lnTo>
                    <a:pt x="218" y="1019"/>
                  </a:lnTo>
                  <a:lnTo>
                    <a:pt x="222" y="1021"/>
                  </a:lnTo>
                  <a:lnTo>
                    <a:pt x="224" y="1022"/>
                  </a:lnTo>
                  <a:lnTo>
                    <a:pt x="232" y="1020"/>
                  </a:lnTo>
                  <a:lnTo>
                    <a:pt x="235" y="1018"/>
                  </a:lnTo>
                  <a:lnTo>
                    <a:pt x="237" y="1018"/>
                  </a:lnTo>
                  <a:lnTo>
                    <a:pt x="238" y="1019"/>
                  </a:lnTo>
                  <a:lnTo>
                    <a:pt x="242" y="1021"/>
                  </a:lnTo>
                  <a:lnTo>
                    <a:pt x="243" y="1022"/>
                  </a:lnTo>
                  <a:lnTo>
                    <a:pt x="243" y="1023"/>
                  </a:lnTo>
                  <a:lnTo>
                    <a:pt x="244" y="1025"/>
                  </a:lnTo>
                  <a:lnTo>
                    <a:pt x="246" y="1025"/>
                  </a:lnTo>
                  <a:lnTo>
                    <a:pt x="246" y="1023"/>
                  </a:lnTo>
                  <a:lnTo>
                    <a:pt x="247" y="1022"/>
                  </a:lnTo>
                  <a:lnTo>
                    <a:pt x="253" y="1020"/>
                  </a:lnTo>
                  <a:lnTo>
                    <a:pt x="254" y="1017"/>
                  </a:lnTo>
                  <a:lnTo>
                    <a:pt x="256" y="1013"/>
                  </a:lnTo>
                  <a:lnTo>
                    <a:pt x="258" y="1010"/>
                  </a:lnTo>
                  <a:lnTo>
                    <a:pt x="262" y="1011"/>
                  </a:lnTo>
                  <a:lnTo>
                    <a:pt x="263" y="1010"/>
                  </a:lnTo>
                  <a:lnTo>
                    <a:pt x="264" y="1010"/>
                  </a:lnTo>
                  <a:lnTo>
                    <a:pt x="265" y="1011"/>
                  </a:lnTo>
                  <a:lnTo>
                    <a:pt x="267" y="1011"/>
                  </a:lnTo>
                  <a:lnTo>
                    <a:pt x="273" y="1011"/>
                  </a:lnTo>
                  <a:lnTo>
                    <a:pt x="274" y="1013"/>
                  </a:lnTo>
                  <a:lnTo>
                    <a:pt x="275" y="1014"/>
                  </a:lnTo>
                  <a:lnTo>
                    <a:pt x="276" y="1015"/>
                  </a:lnTo>
                  <a:lnTo>
                    <a:pt x="277" y="1014"/>
                  </a:lnTo>
                  <a:lnTo>
                    <a:pt x="283" y="1015"/>
                  </a:lnTo>
                  <a:lnTo>
                    <a:pt x="283" y="1012"/>
                  </a:lnTo>
                  <a:lnTo>
                    <a:pt x="283" y="1010"/>
                  </a:lnTo>
                  <a:lnTo>
                    <a:pt x="284" y="1008"/>
                  </a:lnTo>
                  <a:lnTo>
                    <a:pt x="286" y="1006"/>
                  </a:lnTo>
                  <a:lnTo>
                    <a:pt x="282" y="1005"/>
                  </a:lnTo>
                  <a:lnTo>
                    <a:pt x="283" y="1004"/>
                  </a:lnTo>
                  <a:lnTo>
                    <a:pt x="284" y="1003"/>
                  </a:lnTo>
                  <a:lnTo>
                    <a:pt x="284" y="1001"/>
                  </a:lnTo>
                  <a:lnTo>
                    <a:pt x="278" y="1001"/>
                  </a:lnTo>
                  <a:lnTo>
                    <a:pt x="276" y="1000"/>
                  </a:lnTo>
                  <a:lnTo>
                    <a:pt x="273" y="998"/>
                  </a:lnTo>
                  <a:lnTo>
                    <a:pt x="293" y="999"/>
                  </a:lnTo>
                  <a:lnTo>
                    <a:pt x="300" y="997"/>
                  </a:lnTo>
                  <a:lnTo>
                    <a:pt x="303" y="998"/>
                  </a:lnTo>
                  <a:lnTo>
                    <a:pt x="305" y="999"/>
                  </a:lnTo>
                  <a:lnTo>
                    <a:pt x="308" y="1004"/>
                  </a:lnTo>
                  <a:lnTo>
                    <a:pt x="309" y="1006"/>
                  </a:lnTo>
                  <a:lnTo>
                    <a:pt x="309" y="1003"/>
                  </a:lnTo>
                  <a:lnTo>
                    <a:pt x="308" y="999"/>
                  </a:lnTo>
                  <a:lnTo>
                    <a:pt x="308" y="997"/>
                  </a:lnTo>
                  <a:lnTo>
                    <a:pt x="309" y="995"/>
                  </a:lnTo>
                  <a:lnTo>
                    <a:pt x="311" y="989"/>
                  </a:lnTo>
                  <a:lnTo>
                    <a:pt x="312" y="989"/>
                  </a:lnTo>
                  <a:lnTo>
                    <a:pt x="313" y="988"/>
                  </a:lnTo>
                  <a:lnTo>
                    <a:pt x="315" y="987"/>
                  </a:lnTo>
                  <a:lnTo>
                    <a:pt x="315" y="985"/>
                  </a:lnTo>
                  <a:lnTo>
                    <a:pt x="314" y="983"/>
                  </a:lnTo>
                  <a:lnTo>
                    <a:pt x="313" y="984"/>
                  </a:lnTo>
                  <a:lnTo>
                    <a:pt x="312" y="985"/>
                  </a:lnTo>
                  <a:lnTo>
                    <a:pt x="310" y="985"/>
                  </a:lnTo>
                  <a:lnTo>
                    <a:pt x="307" y="984"/>
                  </a:lnTo>
                  <a:lnTo>
                    <a:pt x="305" y="984"/>
                  </a:lnTo>
                  <a:lnTo>
                    <a:pt x="305" y="982"/>
                  </a:lnTo>
                  <a:lnTo>
                    <a:pt x="312" y="982"/>
                  </a:lnTo>
                  <a:lnTo>
                    <a:pt x="316" y="984"/>
                  </a:lnTo>
                  <a:lnTo>
                    <a:pt x="317" y="989"/>
                  </a:lnTo>
                  <a:lnTo>
                    <a:pt x="319" y="988"/>
                  </a:lnTo>
                  <a:lnTo>
                    <a:pt x="320" y="985"/>
                  </a:lnTo>
                  <a:lnTo>
                    <a:pt x="319" y="982"/>
                  </a:lnTo>
                  <a:lnTo>
                    <a:pt x="317" y="980"/>
                  </a:lnTo>
                  <a:lnTo>
                    <a:pt x="319" y="979"/>
                  </a:lnTo>
                  <a:lnTo>
                    <a:pt x="322" y="980"/>
                  </a:lnTo>
                  <a:lnTo>
                    <a:pt x="324" y="983"/>
                  </a:lnTo>
                  <a:lnTo>
                    <a:pt x="325" y="985"/>
                  </a:lnTo>
                  <a:lnTo>
                    <a:pt x="327" y="982"/>
                  </a:lnTo>
                  <a:lnTo>
                    <a:pt x="329" y="981"/>
                  </a:lnTo>
                  <a:lnTo>
                    <a:pt x="335" y="979"/>
                  </a:lnTo>
                  <a:lnTo>
                    <a:pt x="339" y="977"/>
                  </a:lnTo>
                  <a:lnTo>
                    <a:pt x="341" y="974"/>
                  </a:lnTo>
                  <a:lnTo>
                    <a:pt x="346" y="969"/>
                  </a:lnTo>
                  <a:lnTo>
                    <a:pt x="347" y="967"/>
                  </a:lnTo>
                  <a:lnTo>
                    <a:pt x="346" y="965"/>
                  </a:lnTo>
                  <a:lnTo>
                    <a:pt x="346" y="964"/>
                  </a:lnTo>
                  <a:lnTo>
                    <a:pt x="346" y="962"/>
                  </a:lnTo>
                  <a:lnTo>
                    <a:pt x="346" y="961"/>
                  </a:lnTo>
                  <a:lnTo>
                    <a:pt x="349" y="957"/>
                  </a:lnTo>
                  <a:lnTo>
                    <a:pt x="343" y="957"/>
                  </a:lnTo>
                  <a:lnTo>
                    <a:pt x="344" y="956"/>
                  </a:lnTo>
                  <a:lnTo>
                    <a:pt x="345" y="956"/>
                  </a:lnTo>
                  <a:lnTo>
                    <a:pt x="347" y="955"/>
                  </a:lnTo>
                  <a:lnTo>
                    <a:pt x="347" y="955"/>
                  </a:lnTo>
                  <a:lnTo>
                    <a:pt x="346" y="954"/>
                  </a:lnTo>
                  <a:lnTo>
                    <a:pt x="346" y="952"/>
                  </a:lnTo>
                  <a:lnTo>
                    <a:pt x="347" y="952"/>
                  </a:lnTo>
                  <a:lnTo>
                    <a:pt x="347" y="950"/>
                  </a:lnTo>
                  <a:lnTo>
                    <a:pt x="345" y="950"/>
                  </a:lnTo>
                  <a:lnTo>
                    <a:pt x="339" y="950"/>
                  </a:lnTo>
                  <a:lnTo>
                    <a:pt x="342" y="942"/>
                  </a:lnTo>
                  <a:lnTo>
                    <a:pt x="338" y="939"/>
                  </a:lnTo>
                  <a:lnTo>
                    <a:pt x="331" y="938"/>
                  </a:lnTo>
                  <a:lnTo>
                    <a:pt x="326" y="936"/>
                  </a:lnTo>
                  <a:lnTo>
                    <a:pt x="329" y="934"/>
                  </a:lnTo>
                  <a:lnTo>
                    <a:pt x="332" y="934"/>
                  </a:lnTo>
                  <a:lnTo>
                    <a:pt x="339" y="934"/>
                  </a:lnTo>
                  <a:lnTo>
                    <a:pt x="342" y="933"/>
                  </a:lnTo>
                  <a:lnTo>
                    <a:pt x="345" y="932"/>
                  </a:lnTo>
                  <a:lnTo>
                    <a:pt x="347" y="931"/>
                  </a:lnTo>
                  <a:lnTo>
                    <a:pt x="349" y="933"/>
                  </a:lnTo>
                  <a:lnTo>
                    <a:pt x="349" y="934"/>
                  </a:lnTo>
                  <a:lnTo>
                    <a:pt x="355" y="934"/>
                  </a:lnTo>
                  <a:lnTo>
                    <a:pt x="358" y="935"/>
                  </a:lnTo>
                  <a:lnTo>
                    <a:pt x="361" y="936"/>
                  </a:lnTo>
                  <a:lnTo>
                    <a:pt x="362" y="934"/>
                  </a:lnTo>
                  <a:lnTo>
                    <a:pt x="363" y="933"/>
                  </a:lnTo>
                  <a:lnTo>
                    <a:pt x="364" y="934"/>
                  </a:lnTo>
                  <a:lnTo>
                    <a:pt x="365" y="936"/>
                  </a:lnTo>
                  <a:lnTo>
                    <a:pt x="364" y="937"/>
                  </a:lnTo>
                  <a:lnTo>
                    <a:pt x="363" y="938"/>
                  </a:lnTo>
                  <a:lnTo>
                    <a:pt x="362" y="941"/>
                  </a:lnTo>
                  <a:lnTo>
                    <a:pt x="363" y="942"/>
                  </a:lnTo>
                  <a:lnTo>
                    <a:pt x="364" y="942"/>
                  </a:lnTo>
                  <a:lnTo>
                    <a:pt x="365" y="943"/>
                  </a:lnTo>
                  <a:lnTo>
                    <a:pt x="366" y="943"/>
                  </a:lnTo>
                  <a:lnTo>
                    <a:pt x="364" y="945"/>
                  </a:lnTo>
                  <a:lnTo>
                    <a:pt x="362" y="947"/>
                  </a:lnTo>
                  <a:lnTo>
                    <a:pt x="360" y="948"/>
                  </a:lnTo>
                  <a:lnTo>
                    <a:pt x="357" y="949"/>
                  </a:lnTo>
                  <a:lnTo>
                    <a:pt x="358" y="951"/>
                  </a:lnTo>
                  <a:lnTo>
                    <a:pt x="358" y="952"/>
                  </a:lnTo>
                  <a:lnTo>
                    <a:pt x="357" y="952"/>
                  </a:lnTo>
                  <a:lnTo>
                    <a:pt x="356" y="953"/>
                  </a:lnTo>
                  <a:lnTo>
                    <a:pt x="355" y="955"/>
                  </a:lnTo>
                  <a:lnTo>
                    <a:pt x="354" y="956"/>
                  </a:lnTo>
                  <a:lnTo>
                    <a:pt x="355" y="957"/>
                  </a:lnTo>
                  <a:lnTo>
                    <a:pt x="356" y="957"/>
                  </a:lnTo>
                  <a:lnTo>
                    <a:pt x="358" y="957"/>
                  </a:lnTo>
                  <a:lnTo>
                    <a:pt x="363" y="958"/>
                  </a:lnTo>
                  <a:lnTo>
                    <a:pt x="373" y="957"/>
                  </a:lnTo>
                  <a:lnTo>
                    <a:pt x="379" y="954"/>
                  </a:lnTo>
                  <a:lnTo>
                    <a:pt x="391" y="952"/>
                  </a:lnTo>
                  <a:lnTo>
                    <a:pt x="393" y="950"/>
                  </a:lnTo>
                  <a:lnTo>
                    <a:pt x="390" y="947"/>
                  </a:lnTo>
                  <a:lnTo>
                    <a:pt x="393" y="944"/>
                  </a:lnTo>
                  <a:lnTo>
                    <a:pt x="401" y="940"/>
                  </a:lnTo>
                  <a:lnTo>
                    <a:pt x="407" y="939"/>
                  </a:lnTo>
                  <a:lnTo>
                    <a:pt x="411" y="937"/>
                  </a:lnTo>
                  <a:lnTo>
                    <a:pt x="413" y="934"/>
                  </a:lnTo>
                  <a:lnTo>
                    <a:pt x="411" y="934"/>
                  </a:lnTo>
                  <a:lnTo>
                    <a:pt x="406" y="929"/>
                  </a:lnTo>
                  <a:lnTo>
                    <a:pt x="410" y="929"/>
                  </a:lnTo>
                  <a:lnTo>
                    <a:pt x="412" y="927"/>
                  </a:lnTo>
                  <a:lnTo>
                    <a:pt x="415" y="925"/>
                  </a:lnTo>
                  <a:lnTo>
                    <a:pt x="417" y="921"/>
                  </a:lnTo>
                  <a:lnTo>
                    <a:pt x="417" y="919"/>
                  </a:lnTo>
                  <a:lnTo>
                    <a:pt x="417" y="913"/>
                  </a:lnTo>
                  <a:lnTo>
                    <a:pt x="417" y="912"/>
                  </a:lnTo>
                  <a:lnTo>
                    <a:pt x="418" y="912"/>
                  </a:lnTo>
                  <a:lnTo>
                    <a:pt x="420" y="913"/>
                  </a:lnTo>
                  <a:lnTo>
                    <a:pt x="420" y="915"/>
                  </a:lnTo>
                  <a:lnTo>
                    <a:pt x="420" y="917"/>
                  </a:lnTo>
                  <a:lnTo>
                    <a:pt x="421" y="919"/>
                  </a:lnTo>
                  <a:lnTo>
                    <a:pt x="438" y="921"/>
                  </a:lnTo>
                  <a:lnTo>
                    <a:pt x="439" y="920"/>
                  </a:lnTo>
                  <a:lnTo>
                    <a:pt x="439" y="917"/>
                  </a:lnTo>
                  <a:lnTo>
                    <a:pt x="440" y="913"/>
                  </a:lnTo>
                  <a:lnTo>
                    <a:pt x="443" y="911"/>
                  </a:lnTo>
                  <a:lnTo>
                    <a:pt x="452" y="912"/>
                  </a:lnTo>
                  <a:lnTo>
                    <a:pt x="455" y="911"/>
                  </a:lnTo>
                  <a:lnTo>
                    <a:pt x="456" y="910"/>
                  </a:lnTo>
                  <a:lnTo>
                    <a:pt x="458" y="909"/>
                  </a:lnTo>
                  <a:lnTo>
                    <a:pt x="459" y="909"/>
                  </a:lnTo>
                  <a:lnTo>
                    <a:pt x="459" y="907"/>
                  </a:lnTo>
                  <a:lnTo>
                    <a:pt x="460" y="899"/>
                  </a:lnTo>
                  <a:lnTo>
                    <a:pt x="465" y="896"/>
                  </a:lnTo>
                  <a:lnTo>
                    <a:pt x="466" y="892"/>
                  </a:lnTo>
                  <a:lnTo>
                    <a:pt x="466" y="891"/>
                  </a:lnTo>
                  <a:lnTo>
                    <a:pt x="465" y="891"/>
                  </a:lnTo>
                  <a:lnTo>
                    <a:pt x="460" y="889"/>
                  </a:lnTo>
                  <a:lnTo>
                    <a:pt x="457" y="888"/>
                  </a:lnTo>
                  <a:lnTo>
                    <a:pt x="454" y="888"/>
                  </a:lnTo>
                  <a:lnTo>
                    <a:pt x="453" y="891"/>
                  </a:lnTo>
                  <a:lnTo>
                    <a:pt x="452" y="886"/>
                  </a:lnTo>
                  <a:lnTo>
                    <a:pt x="454" y="883"/>
                  </a:lnTo>
                  <a:lnTo>
                    <a:pt x="457" y="881"/>
                  </a:lnTo>
                  <a:lnTo>
                    <a:pt x="460" y="880"/>
                  </a:lnTo>
                  <a:lnTo>
                    <a:pt x="461" y="881"/>
                  </a:lnTo>
                  <a:lnTo>
                    <a:pt x="461" y="882"/>
                  </a:lnTo>
                  <a:lnTo>
                    <a:pt x="462" y="884"/>
                  </a:lnTo>
                  <a:lnTo>
                    <a:pt x="463" y="885"/>
                  </a:lnTo>
                  <a:lnTo>
                    <a:pt x="464" y="885"/>
                  </a:lnTo>
                  <a:lnTo>
                    <a:pt x="465" y="883"/>
                  </a:lnTo>
                  <a:lnTo>
                    <a:pt x="466" y="882"/>
                  </a:lnTo>
                  <a:lnTo>
                    <a:pt x="467" y="881"/>
                  </a:lnTo>
                  <a:lnTo>
                    <a:pt x="473" y="880"/>
                  </a:lnTo>
                  <a:lnTo>
                    <a:pt x="484" y="874"/>
                  </a:lnTo>
                  <a:lnTo>
                    <a:pt x="514" y="871"/>
                  </a:lnTo>
                  <a:lnTo>
                    <a:pt x="520" y="872"/>
                  </a:lnTo>
                  <a:lnTo>
                    <a:pt x="523" y="872"/>
                  </a:lnTo>
                  <a:lnTo>
                    <a:pt x="526" y="871"/>
                  </a:lnTo>
                  <a:lnTo>
                    <a:pt x="527" y="870"/>
                  </a:lnTo>
                  <a:lnTo>
                    <a:pt x="528" y="868"/>
                  </a:lnTo>
                  <a:lnTo>
                    <a:pt x="529" y="866"/>
                  </a:lnTo>
                  <a:lnTo>
                    <a:pt x="531" y="866"/>
                  </a:lnTo>
                  <a:lnTo>
                    <a:pt x="532" y="866"/>
                  </a:lnTo>
                  <a:lnTo>
                    <a:pt x="534" y="867"/>
                  </a:lnTo>
                  <a:lnTo>
                    <a:pt x="536" y="867"/>
                  </a:lnTo>
                  <a:lnTo>
                    <a:pt x="535" y="866"/>
                  </a:lnTo>
                  <a:lnTo>
                    <a:pt x="535" y="865"/>
                  </a:lnTo>
                  <a:lnTo>
                    <a:pt x="534" y="865"/>
                  </a:lnTo>
                  <a:lnTo>
                    <a:pt x="533" y="864"/>
                  </a:lnTo>
                  <a:lnTo>
                    <a:pt x="533" y="862"/>
                  </a:lnTo>
                  <a:lnTo>
                    <a:pt x="536" y="862"/>
                  </a:lnTo>
                  <a:lnTo>
                    <a:pt x="538" y="862"/>
                  </a:lnTo>
                  <a:lnTo>
                    <a:pt x="541" y="864"/>
                  </a:lnTo>
                  <a:lnTo>
                    <a:pt x="537" y="870"/>
                  </a:lnTo>
                  <a:lnTo>
                    <a:pt x="536" y="873"/>
                  </a:lnTo>
                  <a:lnTo>
                    <a:pt x="539" y="872"/>
                  </a:lnTo>
                  <a:lnTo>
                    <a:pt x="546" y="872"/>
                  </a:lnTo>
                  <a:lnTo>
                    <a:pt x="550" y="871"/>
                  </a:lnTo>
                  <a:lnTo>
                    <a:pt x="553" y="869"/>
                  </a:lnTo>
                  <a:lnTo>
                    <a:pt x="557" y="862"/>
                  </a:lnTo>
                  <a:lnTo>
                    <a:pt x="560" y="860"/>
                  </a:lnTo>
                  <a:lnTo>
                    <a:pt x="560" y="859"/>
                  </a:lnTo>
                  <a:lnTo>
                    <a:pt x="556" y="859"/>
                  </a:lnTo>
                  <a:lnTo>
                    <a:pt x="556" y="856"/>
                  </a:lnTo>
                  <a:lnTo>
                    <a:pt x="557" y="850"/>
                  </a:lnTo>
                  <a:lnTo>
                    <a:pt x="557" y="847"/>
                  </a:lnTo>
                  <a:lnTo>
                    <a:pt x="555" y="843"/>
                  </a:lnTo>
                  <a:lnTo>
                    <a:pt x="554" y="842"/>
                  </a:lnTo>
                  <a:lnTo>
                    <a:pt x="554" y="839"/>
                  </a:lnTo>
                  <a:lnTo>
                    <a:pt x="554" y="838"/>
                  </a:lnTo>
                  <a:lnTo>
                    <a:pt x="553" y="835"/>
                  </a:lnTo>
                  <a:lnTo>
                    <a:pt x="553" y="832"/>
                  </a:lnTo>
                  <a:lnTo>
                    <a:pt x="555" y="835"/>
                  </a:lnTo>
                  <a:lnTo>
                    <a:pt x="557" y="843"/>
                  </a:lnTo>
                  <a:lnTo>
                    <a:pt x="559" y="844"/>
                  </a:lnTo>
                  <a:lnTo>
                    <a:pt x="561" y="845"/>
                  </a:lnTo>
                  <a:lnTo>
                    <a:pt x="563" y="847"/>
                  </a:lnTo>
                  <a:lnTo>
                    <a:pt x="564" y="850"/>
                  </a:lnTo>
                  <a:lnTo>
                    <a:pt x="565" y="852"/>
                  </a:lnTo>
                  <a:lnTo>
                    <a:pt x="568" y="862"/>
                  </a:lnTo>
                  <a:lnTo>
                    <a:pt x="568" y="865"/>
                  </a:lnTo>
                  <a:lnTo>
                    <a:pt x="566" y="867"/>
                  </a:lnTo>
                  <a:lnTo>
                    <a:pt x="564" y="868"/>
                  </a:lnTo>
                  <a:lnTo>
                    <a:pt x="562" y="870"/>
                  </a:lnTo>
                  <a:lnTo>
                    <a:pt x="561" y="873"/>
                  </a:lnTo>
                  <a:lnTo>
                    <a:pt x="563" y="874"/>
                  </a:lnTo>
                  <a:lnTo>
                    <a:pt x="566" y="872"/>
                  </a:lnTo>
                  <a:lnTo>
                    <a:pt x="567" y="869"/>
                  </a:lnTo>
                  <a:lnTo>
                    <a:pt x="569" y="867"/>
                  </a:lnTo>
                  <a:lnTo>
                    <a:pt x="581" y="860"/>
                  </a:lnTo>
                  <a:lnTo>
                    <a:pt x="579" y="859"/>
                  </a:lnTo>
                  <a:lnTo>
                    <a:pt x="580" y="858"/>
                  </a:lnTo>
                  <a:lnTo>
                    <a:pt x="581" y="859"/>
                  </a:lnTo>
                  <a:lnTo>
                    <a:pt x="581" y="859"/>
                  </a:lnTo>
                  <a:lnTo>
                    <a:pt x="581" y="857"/>
                  </a:lnTo>
                  <a:lnTo>
                    <a:pt x="580" y="857"/>
                  </a:lnTo>
                  <a:lnTo>
                    <a:pt x="579" y="857"/>
                  </a:lnTo>
                  <a:lnTo>
                    <a:pt x="581" y="855"/>
                  </a:lnTo>
                  <a:lnTo>
                    <a:pt x="581" y="853"/>
                  </a:lnTo>
                  <a:lnTo>
                    <a:pt x="581" y="850"/>
                  </a:lnTo>
                  <a:lnTo>
                    <a:pt x="581" y="850"/>
                  </a:lnTo>
                  <a:lnTo>
                    <a:pt x="580" y="851"/>
                  </a:lnTo>
                  <a:lnTo>
                    <a:pt x="578" y="852"/>
                  </a:lnTo>
                  <a:lnTo>
                    <a:pt x="579" y="850"/>
                  </a:lnTo>
                  <a:lnTo>
                    <a:pt x="579" y="849"/>
                  </a:lnTo>
                  <a:lnTo>
                    <a:pt x="578" y="848"/>
                  </a:lnTo>
                  <a:lnTo>
                    <a:pt x="578" y="846"/>
                  </a:lnTo>
                  <a:lnTo>
                    <a:pt x="579" y="844"/>
                  </a:lnTo>
                  <a:lnTo>
                    <a:pt x="582" y="846"/>
                  </a:lnTo>
                  <a:lnTo>
                    <a:pt x="586" y="845"/>
                  </a:lnTo>
                  <a:lnTo>
                    <a:pt x="588" y="842"/>
                  </a:lnTo>
                  <a:lnTo>
                    <a:pt x="590" y="839"/>
                  </a:lnTo>
                  <a:lnTo>
                    <a:pt x="590" y="843"/>
                  </a:lnTo>
                  <a:lnTo>
                    <a:pt x="588" y="847"/>
                  </a:lnTo>
                  <a:lnTo>
                    <a:pt x="586" y="849"/>
                  </a:lnTo>
                  <a:lnTo>
                    <a:pt x="583" y="850"/>
                  </a:lnTo>
                  <a:lnTo>
                    <a:pt x="583" y="852"/>
                  </a:lnTo>
                  <a:lnTo>
                    <a:pt x="586" y="852"/>
                  </a:lnTo>
                  <a:lnTo>
                    <a:pt x="598" y="851"/>
                  </a:lnTo>
                  <a:lnTo>
                    <a:pt x="610" y="854"/>
                  </a:lnTo>
                  <a:lnTo>
                    <a:pt x="612" y="856"/>
                  </a:lnTo>
                  <a:lnTo>
                    <a:pt x="616" y="860"/>
                  </a:lnTo>
                  <a:lnTo>
                    <a:pt x="619" y="861"/>
                  </a:lnTo>
                  <a:lnTo>
                    <a:pt x="626" y="857"/>
                  </a:lnTo>
                  <a:lnTo>
                    <a:pt x="634" y="855"/>
                  </a:lnTo>
                  <a:lnTo>
                    <a:pt x="636" y="853"/>
                  </a:lnTo>
                  <a:lnTo>
                    <a:pt x="638" y="853"/>
                  </a:lnTo>
                  <a:lnTo>
                    <a:pt x="640" y="855"/>
                  </a:lnTo>
                  <a:lnTo>
                    <a:pt x="637" y="855"/>
                  </a:lnTo>
                  <a:lnTo>
                    <a:pt x="637" y="857"/>
                  </a:lnTo>
                  <a:lnTo>
                    <a:pt x="644" y="857"/>
                  </a:lnTo>
                  <a:lnTo>
                    <a:pt x="644" y="856"/>
                  </a:lnTo>
                  <a:lnTo>
                    <a:pt x="645" y="856"/>
                  </a:lnTo>
                  <a:lnTo>
                    <a:pt x="646" y="854"/>
                  </a:lnTo>
                  <a:lnTo>
                    <a:pt x="648" y="852"/>
                  </a:lnTo>
                  <a:lnTo>
                    <a:pt x="649" y="852"/>
                  </a:lnTo>
                  <a:lnTo>
                    <a:pt x="651" y="852"/>
                  </a:lnTo>
                  <a:lnTo>
                    <a:pt x="651" y="853"/>
                  </a:lnTo>
                  <a:lnTo>
                    <a:pt x="650" y="856"/>
                  </a:lnTo>
                  <a:lnTo>
                    <a:pt x="648" y="857"/>
                  </a:lnTo>
                  <a:lnTo>
                    <a:pt x="648" y="859"/>
                  </a:lnTo>
                  <a:lnTo>
                    <a:pt x="650" y="860"/>
                  </a:lnTo>
                  <a:lnTo>
                    <a:pt x="651" y="861"/>
                  </a:lnTo>
                  <a:lnTo>
                    <a:pt x="653" y="860"/>
                  </a:lnTo>
                  <a:lnTo>
                    <a:pt x="654" y="859"/>
                  </a:lnTo>
                  <a:lnTo>
                    <a:pt x="656" y="856"/>
                  </a:lnTo>
                  <a:lnTo>
                    <a:pt x="661" y="844"/>
                  </a:lnTo>
                  <a:lnTo>
                    <a:pt x="653" y="836"/>
                  </a:lnTo>
                  <a:lnTo>
                    <a:pt x="650" y="830"/>
                  </a:lnTo>
                  <a:lnTo>
                    <a:pt x="652" y="825"/>
                  </a:lnTo>
                  <a:lnTo>
                    <a:pt x="652" y="823"/>
                  </a:lnTo>
                  <a:lnTo>
                    <a:pt x="648" y="830"/>
                  </a:lnTo>
                  <a:lnTo>
                    <a:pt x="646" y="832"/>
                  </a:lnTo>
                  <a:lnTo>
                    <a:pt x="645" y="829"/>
                  </a:lnTo>
                  <a:lnTo>
                    <a:pt x="644" y="827"/>
                  </a:lnTo>
                  <a:lnTo>
                    <a:pt x="639" y="826"/>
                  </a:lnTo>
                  <a:lnTo>
                    <a:pt x="640" y="823"/>
                  </a:lnTo>
                  <a:lnTo>
                    <a:pt x="639" y="820"/>
                  </a:lnTo>
                  <a:lnTo>
                    <a:pt x="637" y="817"/>
                  </a:lnTo>
                  <a:lnTo>
                    <a:pt x="635" y="815"/>
                  </a:lnTo>
                  <a:lnTo>
                    <a:pt x="633" y="814"/>
                  </a:lnTo>
                  <a:lnTo>
                    <a:pt x="633" y="813"/>
                  </a:lnTo>
                  <a:lnTo>
                    <a:pt x="634" y="811"/>
                  </a:lnTo>
                  <a:lnTo>
                    <a:pt x="635" y="810"/>
                  </a:lnTo>
                  <a:lnTo>
                    <a:pt x="636" y="809"/>
                  </a:lnTo>
                  <a:lnTo>
                    <a:pt x="638" y="809"/>
                  </a:lnTo>
                  <a:lnTo>
                    <a:pt x="637" y="813"/>
                  </a:lnTo>
                  <a:lnTo>
                    <a:pt x="640" y="815"/>
                  </a:lnTo>
                  <a:lnTo>
                    <a:pt x="650" y="814"/>
                  </a:lnTo>
                  <a:lnTo>
                    <a:pt x="651" y="814"/>
                  </a:lnTo>
                  <a:lnTo>
                    <a:pt x="652" y="816"/>
                  </a:lnTo>
                  <a:lnTo>
                    <a:pt x="653" y="818"/>
                  </a:lnTo>
                  <a:lnTo>
                    <a:pt x="654" y="814"/>
                  </a:lnTo>
                  <a:lnTo>
                    <a:pt x="653" y="810"/>
                  </a:lnTo>
                  <a:lnTo>
                    <a:pt x="653" y="805"/>
                  </a:lnTo>
                  <a:lnTo>
                    <a:pt x="655" y="801"/>
                  </a:lnTo>
                  <a:lnTo>
                    <a:pt x="659" y="794"/>
                  </a:lnTo>
                  <a:lnTo>
                    <a:pt x="661" y="791"/>
                  </a:lnTo>
                  <a:lnTo>
                    <a:pt x="664" y="789"/>
                  </a:lnTo>
                  <a:lnTo>
                    <a:pt x="666" y="786"/>
                  </a:lnTo>
                  <a:lnTo>
                    <a:pt x="676" y="770"/>
                  </a:lnTo>
                  <a:lnTo>
                    <a:pt x="678" y="765"/>
                  </a:lnTo>
                  <a:lnTo>
                    <a:pt x="679" y="754"/>
                  </a:lnTo>
                  <a:lnTo>
                    <a:pt x="678" y="750"/>
                  </a:lnTo>
                  <a:lnTo>
                    <a:pt x="677" y="743"/>
                  </a:lnTo>
                  <a:lnTo>
                    <a:pt x="676" y="739"/>
                  </a:lnTo>
                  <a:lnTo>
                    <a:pt x="677" y="734"/>
                  </a:lnTo>
                  <a:lnTo>
                    <a:pt x="684" y="721"/>
                  </a:lnTo>
                  <a:lnTo>
                    <a:pt x="687" y="714"/>
                  </a:lnTo>
                  <a:lnTo>
                    <a:pt x="688" y="713"/>
                  </a:lnTo>
                  <a:lnTo>
                    <a:pt x="687" y="707"/>
                  </a:lnTo>
                  <a:lnTo>
                    <a:pt x="691" y="695"/>
                  </a:lnTo>
                  <a:lnTo>
                    <a:pt x="693" y="691"/>
                  </a:lnTo>
                  <a:lnTo>
                    <a:pt x="694" y="689"/>
                  </a:lnTo>
                  <a:lnTo>
                    <a:pt x="701" y="682"/>
                  </a:lnTo>
                  <a:lnTo>
                    <a:pt x="700" y="680"/>
                  </a:lnTo>
                  <a:lnTo>
                    <a:pt x="705" y="667"/>
                  </a:lnTo>
                  <a:lnTo>
                    <a:pt x="707" y="666"/>
                  </a:lnTo>
                  <a:lnTo>
                    <a:pt x="708" y="665"/>
                  </a:lnTo>
                  <a:lnTo>
                    <a:pt x="709" y="660"/>
                  </a:lnTo>
                  <a:lnTo>
                    <a:pt x="710" y="659"/>
                  </a:lnTo>
                  <a:lnTo>
                    <a:pt x="712" y="658"/>
                  </a:lnTo>
                  <a:lnTo>
                    <a:pt x="712" y="656"/>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00" name="Freeform 36">
              <a:extLst>
                <a:ext uri="{FF2B5EF4-FFF2-40B4-BE49-F238E27FC236}">
                  <a16:creationId xmlns:a16="http://schemas.microsoft.com/office/drawing/2014/main" id="{60B116C5-A207-4CCB-9F1A-649FE6D84BED}"/>
                </a:ext>
              </a:extLst>
            </p:cNvPr>
            <p:cNvSpPr>
              <a:spLocks noEditPoints="1"/>
            </p:cNvSpPr>
            <p:nvPr/>
          </p:nvSpPr>
          <p:spPr bwMode="gray">
            <a:xfrm>
              <a:off x="5620144" y="1419501"/>
              <a:ext cx="1092569" cy="741052"/>
            </a:xfrm>
            <a:custGeom>
              <a:avLst/>
              <a:gdLst>
                <a:gd name="T0" fmla="*/ 1748 w 1753"/>
                <a:gd name="T1" fmla="*/ 565 h 1189"/>
                <a:gd name="T2" fmla="*/ 1728 w 1753"/>
                <a:gd name="T3" fmla="*/ 490 h 1189"/>
                <a:gd name="T4" fmla="*/ 1703 w 1753"/>
                <a:gd name="T5" fmla="*/ 388 h 1189"/>
                <a:gd name="T6" fmla="*/ 1563 w 1753"/>
                <a:gd name="T7" fmla="*/ 319 h 1189"/>
                <a:gd name="T8" fmla="*/ 1486 w 1753"/>
                <a:gd name="T9" fmla="*/ 178 h 1189"/>
                <a:gd name="T10" fmla="*/ 1455 w 1753"/>
                <a:gd name="T11" fmla="*/ 163 h 1189"/>
                <a:gd name="T12" fmla="*/ 1367 w 1753"/>
                <a:gd name="T13" fmla="*/ 41 h 1189"/>
                <a:gd name="T14" fmla="*/ 1277 w 1753"/>
                <a:gd name="T15" fmla="*/ 28 h 1189"/>
                <a:gd name="T16" fmla="*/ 1289 w 1753"/>
                <a:gd name="T17" fmla="*/ 165 h 1189"/>
                <a:gd name="T18" fmla="*/ 1202 w 1753"/>
                <a:gd name="T19" fmla="*/ 151 h 1189"/>
                <a:gd name="T20" fmla="*/ 1110 w 1753"/>
                <a:gd name="T21" fmla="*/ 256 h 1189"/>
                <a:gd name="T22" fmla="*/ 1012 w 1753"/>
                <a:gd name="T23" fmla="*/ 256 h 1189"/>
                <a:gd name="T24" fmla="*/ 1005 w 1753"/>
                <a:gd name="T25" fmla="*/ 278 h 1189"/>
                <a:gd name="T26" fmla="*/ 901 w 1753"/>
                <a:gd name="T27" fmla="*/ 149 h 1189"/>
                <a:gd name="T28" fmla="*/ 800 w 1753"/>
                <a:gd name="T29" fmla="*/ 234 h 1189"/>
                <a:gd name="T30" fmla="*/ 738 w 1753"/>
                <a:gd name="T31" fmla="*/ 247 h 1189"/>
                <a:gd name="T32" fmla="*/ 667 w 1753"/>
                <a:gd name="T33" fmla="*/ 291 h 1189"/>
                <a:gd name="T34" fmla="*/ 636 w 1753"/>
                <a:gd name="T35" fmla="*/ 412 h 1189"/>
                <a:gd name="T36" fmla="*/ 565 w 1753"/>
                <a:gd name="T37" fmla="*/ 428 h 1189"/>
                <a:gd name="T38" fmla="*/ 531 w 1753"/>
                <a:gd name="T39" fmla="*/ 462 h 1189"/>
                <a:gd name="T40" fmla="*/ 448 w 1753"/>
                <a:gd name="T41" fmla="*/ 309 h 1189"/>
                <a:gd name="T42" fmla="*/ 474 w 1753"/>
                <a:gd name="T43" fmla="*/ 207 h 1189"/>
                <a:gd name="T44" fmla="*/ 416 w 1753"/>
                <a:gd name="T45" fmla="*/ 136 h 1189"/>
                <a:gd name="T46" fmla="*/ 331 w 1753"/>
                <a:gd name="T47" fmla="*/ 42 h 1189"/>
                <a:gd name="T48" fmla="*/ 223 w 1753"/>
                <a:gd name="T49" fmla="*/ 94 h 1189"/>
                <a:gd name="T50" fmla="*/ 315 w 1753"/>
                <a:gd name="T51" fmla="*/ 125 h 1189"/>
                <a:gd name="T52" fmla="*/ 337 w 1753"/>
                <a:gd name="T53" fmla="*/ 254 h 1189"/>
                <a:gd name="T54" fmla="*/ 274 w 1753"/>
                <a:gd name="T55" fmla="*/ 242 h 1189"/>
                <a:gd name="T56" fmla="*/ 218 w 1753"/>
                <a:gd name="T57" fmla="*/ 163 h 1189"/>
                <a:gd name="T58" fmla="*/ 135 w 1753"/>
                <a:gd name="T59" fmla="*/ 238 h 1189"/>
                <a:gd name="T60" fmla="*/ 175 w 1753"/>
                <a:gd name="T61" fmla="*/ 326 h 1189"/>
                <a:gd name="T62" fmla="*/ 105 w 1753"/>
                <a:gd name="T63" fmla="*/ 358 h 1189"/>
                <a:gd name="T64" fmla="*/ 88 w 1753"/>
                <a:gd name="T65" fmla="*/ 425 h 1189"/>
                <a:gd name="T66" fmla="*/ 238 w 1753"/>
                <a:gd name="T67" fmla="*/ 398 h 1189"/>
                <a:gd name="T68" fmla="*/ 291 w 1753"/>
                <a:gd name="T69" fmla="*/ 388 h 1189"/>
                <a:gd name="T70" fmla="*/ 387 w 1753"/>
                <a:gd name="T71" fmla="*/ 378 h 1189"/>
                <a:gd name="T72" fmla="*/ 437 w 1753"/>
                <a:gd name="T73" fmla="*/ 438 h 1189"/>
                <a:gd name="T74" fmla="*/ 406 w 1753"/>
                <a:gd name="T75" fmla="*/ 558 h 1189"/>
                <a:gd name="T76" fmla="*/ 289 w 1753"/>
                <a:gd name="T77" fmla="*/ 594 h 1189"/>
                <a:gd name="T78" fmla="*/ 212 w 1753"/>
                <a:gd name="T79" fmla="*/ 598 h 1189"/>
                <a:gd name="T80" fmla="*/ 96 w 1753"/>
                <a:gd name="T81" fmla="*/ 696 h 1189"/>
                <a:gd name="T82" fmla="*/ 309 w 1753"/>
                <a:gd name="T83" fmla="*/ 683 h 1189"/>
                <a:gd name="T84" fmla="*/ 346 w 1753"/>
                <a:gd name="T85" fmla="*/ 738 h 1189"/>
                <a:gd name="T86" fmla="*/ 390 w 1753"/>
                <a:gd name="T87" fmla="*/ 794 h 1189"/>
                <a:gd name="T88" fmla="*/ 483 w 1753"/>
                <a:gd name="T89" fmla="*/ 765 h 1189"/>
                <a:gd name="T90" fmla="*/ 409 w 1753"/>
                <a:gd name="T91" fmla="*/ 865 h 1189"/>
                <a:gd name="T92" fmla="*/ 422 w 1753"/>
                <a:gd name="T93" fmla="*/ 887 h 1189"/>
                <a:gd name="T94" fmla="*/ 408 w 1753"/>
                <a:gd name="T95" fmla="*/ 931 h 1189"/>
                <a:gd name="T96" fmla="*/ 290 w 1753"/>
                <a:gd name="T97" fmla="*/ 965 h 1189"/>
                <a:gd name="T98" fmla="*/ 447 w 1753"/>
                <a:gd name="T99" fmla="*/ 1024 h 1189"/>
                <a:gd name="T100" fmla="*/ 612 w 1753"/>
                <a:gd name="T101" fmla="*/ 1022 h 1189"/>
                <a:gd name="T102" fmla="*/ 653 w 1753"/>
                <a:gd name="T103" fmla="*/ 1057 h 1189"/>
                <a:gd name="T104" fmla="*/ 713 w 1753"/>
                <a:gd name="T105" fmla="*/ 1132 h 1189"/>
                <a:gd name="T106" fmla="*/ 1002 w 1753"/>
                <a:gd name="T107" fmla="*/ 1142 h 1189"/>
                <a:gd name="T108" fmla="*/ 1058 w 1753"/>
                <a:gd name="T109" fmla="*/ 1070 h 1189"/>
                <a:gd name="T110" fmla="*/ 1196 w 1753"/>
                <a:gd name="T111" fmla="*/ 1035 h 1189"/>
                <a:gd name="T112" fmla="*/ 1225 w 1753"/>
                <a:gd name="T113" fmla="*/ 1032 h 1189"/>
                <a:gd name="T114" fmla="*/ 1346 w 1753"/>
                <a:gd name="T115" fmla="*/ 938 h 1189"/>
                <a:gd name="T116" fmla="*/ 1464 w 1753"/>
                <a:gd name="T117" fmla="*/ 862 h 1189"/>
                <a:gd name="T118" fmla="*/ 1531 w 1753"/>
                <a:gd name="T119" fmla="*/ 845 h 1189"/>
                <a:gd name="T120" fmla="*/ 1603 w 1753"/>
                <a:gd name="T121" fmla="*/ 768 h 1189"/>
                <a:gd name="T122" fmla="*/ 1676 w 1753"/>
                <a:gd name="T123" fmla="*/ 701 h 1189"/>
                <a:gd name="T124" fmla="*/ 1682 w 1753"/>
                <a:gd name="T125" fmla="*/ 584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53" h="1189">
                  <a:moveTo>
                    <a:pt x="679" y="1172"/>
                  </a:moveTo>
                  <a:lnTo>
                    <a:pt x="680" y="1170"/>
                  </a:lnTo>
                  <a:lnTo>
                    <a:pt x="680" y="1169"/>
                  </a:lnTo>
                  <a:lnTo>
                    <a:pt x="676" y="1170"/>
                  </a:lnTo>
                  <a:lnTo>
                    <a:pt x="673" y="1171"/>
                  </a:lnTo>
                  <a:lnTo>
                    <a:pt x="673" y="1175"/>
                  </a:lnTo>
                  <a:lnTo>
                    <a:pt x="674" y="1179"/>
                  </a:lnTo>
                  <a:lnTo>
                    <a:pt x="675" y="1182"/>
                  </a:lnTo>
                  <a:lnTo>
                    <a:pt x="676" y="1185"/>
                  </a:lnTo>
                  <a:lnTo>
                    <a:pt x="677" y="1186"/>
                  </a:lnTo>
                  <a:lnTo>
                    <a:pt x="678" y="1184"/>
                  </a:lnTo>
                  <a:lnTo>
                    <a:pt x="680" y="1181"/>
                  </a:lnTo>
                  <a:lnTo>
                    <a:pt x="681" y="1177"/>
                  </a:lnTo>
                  <a:lnTo>
                    <a:pt x="680" y="1173"/>
                  </a:lnTo>
                  <a:lnTo>
                    <a:pt x="679" y="1172"/>
                  </a:lnTo>
                  <a:close/>
                  <a:moveTo>
                    <a:pt x="1078" y="1074"/>
                  </a:moveTo>
                  <a:lnTo>
                    <a:pt x="1076" y="1074"/>
                  </a:lnTo>
                  <a:lnTo>
                    <a:pt x="1074" y="1074"/>
                  </a:lnTo>
                  <a:lnTo>
                    <a:pt x="1072" y="1076"/>
                  </a:lnTo>
                  <a:lnTo>
                    <a:pt x="1067" y="1081"/>
                  </a:lnTo>
                  <a:lnTo>
                    <a:pt x="1067" y="1084"/>
                  </a:lnTo>
                  <a:lnTo>
                    <a:pt x="1074" y="1081"/>
                  </a:lnTo>
                  <a:lnTo>
                    <a:pt x="1075" y="1081"/>
                  </a:lnTo>
                  <a:lnTo>
                    <a:pt x="1077" y="1082"/>
                  </a:lnTo>
                  <a:lnTo>
                    <a:pt x="1077" y="1084"/>
                  </a:lnTo>
                  <a:lnTo>
                    <a:pt x="1076" y="1086"/>
                  </a:lnTo>
                  <a:lnTo>
                    <a:pt x="1075" y="1087"/>
                  </a:lnTo>
                  <a:lnTo>
                    <a:pt x="1076" y="1087"/>
                  </a:lnTo>
                  <a:lnTo>
                    <a:pt x="1079" y="1083"/>
                  </a:lnTo>
                  <a:lnTo>
                    <a:pt x="1079" y="1080"/>
                  </a:lnTo>
                  <a:lnTo>
                    <a:pt x="1079" y="1077"/>
                  </a:lnTo>
                  <a:lnTo>
                    <a:pt x="1078" y="1074"/>
                  </a:lnTo>
                  <a:close/>
                  <a:moveTo>
                    <a:pt x="975" y="223"/>
                  </a:moveTo>
                  <a:lnTo>
                    <a:pt x="976" y="226"/>
                  </a:lnTo>
                  <a:lnTo>
                    <a:pt x="976" y="228"/>
                  </a:lnTo>
                  <a:lnTo>
                    <a:pt x="978" y="230"/>
                  </a:lnTo>
                  <a:lnTo>
                    <a:pt x="980" y="231"/>
                  </a:lnTo>
                  <a:lnTo>
                    <a:pt x="982" y="229"/>
                  </a:lnTo>
                  <a:lnTo>
                    <a:pt x="982" y="225"/>
                  </a:lnTo>
                  <a:lnTo>
                    <a:pt x="980" y="220"/>
                  </a:lnTo>
                  <a:lnTo>
                    <a:pt x="978" y="217"/>
                  </a:lnTo>
                  <a:lnTo>
                    <a:pt x="977" y="215"/>
                  </a:lnTo>
                  <a:lnTo>
                    <a:pt x="974" y="212"/>
                  </a:lnTo>
                  <a:lnTo>
                    <a:pt x="973" y="213"/>
                  </a:lnTo>
                  <a:lnTo>
                    <a:pt x="974" y="218"/>
                  </a:lnTo>
                  <a:lnTo>
                    <a:pt x="975" y="223"/>
                  </a:lnTo>
                  <a:close/>
                  <a:moveTo>
                    <a:pt x="1752" y="570"/>
                  </a:moveTo>
                  <a:lnTo>
                    <a:pt x="1748" y="568"/>
                  </a:lnTo>
                  <a:lnTo>
                    <a:pt x="1748" y="565"/>
                  </a:lnTo>
                  <a:lnTo>
                    <a:pt x="1749" y="561"/>
                  </a:lnTo>
                  <a:lnTo>
                    <a:pt x="1750" y="553"/>
                  </a:lnTo>
                  <a:lnTo>
                    <a:pt x="1750" y="545"/>
                  </a:lnTo>
                  <a:lnTo>
                    <a:pt x="1750" y="540"/>
                  </a:lnTo>
                  <a:lnTo>
                    <a:pt x="1743" y="547"/>
                  </a:lnTo>
                  <a:lnTo>
                    <a:pt x="1738" y="556"/>
                  </a:lnTo>
                  <a:lnTo>
                    <a:pt x="1738" y="558"/>
                  </a:lnTo>
                  <a:lnTo>
                    <a:pt x="1737" y="559"/>
                  </a:lnTo>
                  <a:lnTo>
                    <a:pt x="1734" y="564"/>
                  </a:lnTo>
                  <a:lnTo>
                    <a:pt x="1733" y="565"/>
                  </a:lnTo>
                  <a:lnTo>
                    <a:pt x="1732" y="565"/>
                  </a:lnTo>
                  <a:lnTo>
                    <a:pt x="1731" y="563"/>
                  </a:lnTo>
                  <a:lnTo>
                    <a:pt x="1730" y="561"/>
                  </a:lnTo>
                  <a:lnTo>
                    <a:pt x="1728" y="560"/>
                  </a:lnTo>
                  <a:lnTo>
                    <a:pt x="1724" y="560"/>
                  </a:lnTo>
                  <a:lnTo>
                    <a:pt x="1725" y="558"/>
                  </a:lnTo>
                  <a:lnTo>
                    <a:pt x="1726" y="557"/>
                  </a:lnTo>
                  <a:lnTo>
                    <a:pt x="1727" y="555"/>
                  </a:lnTo>
                  <a:lnTo>
                    <a:pt x="1729" y="555"/>
                  </a:lnTo>
                  <a:lnTo>
                    <a:pt x="1729" y="553"/>
                  </a:lnTo>
                  <a:lnTo>
                    <a:pt x="1726" y="550"/>
                  </a:lnTo>
                  <a:lnTo>
                    <a:pt x="1714" y="553"/>
                  </a:lnTo>
                  <a:lnTo>
                    <a:pt x="1714" y="550"/>
                  </a:lnTo>
                  <a:lnTo>
                    <a:pt x="1719" y="548"/>
                  </a:lnTo>
                  <a:lnTo>
                    <a:pt x="1724" y="547"/>
                  </a:lnTo>
                  <a:lnTo>
                    <a:pt x="1730" y="545"/>
                  </a:lnTo>
                  <a:lnTo>
                    <a:pt x="1731" y="543"/>
                  </a:lnTo>
                  <a:lnTo>
                    <a:pt x="1731" y="541"/>
                  </a:lnTo>
                  <a:lnTo>
                    <a:pt x="1731" y="540"/>
                  </a:lnTo>
                  <a:lnTo>
                    <a:pt x="1731" y="537"/>
                  </a:lnTo>
                  <a:lnTo>
                    <a:pt x="1733" y="533"/>
                  </a:lnTo>
                  <a:lnTo>
                    <a:pt x="1734" y="530"/>
                  </a:lnTo>
                  <a:lnTo>
                    <a:pt x="1733" y="529"/>
                  </a:lnTo>
                  <a:lnTo>
                    <a:pt x="1727" y="529"/>
                  </a:lnTo>
                  <a:lnTo>
                    <a:pt x="1716" y="532"/>
                  </a:lnTo>
                  <a:lnTo>
                    <a:pt x="1691" y="529"/>
                  </a:lnTo>
                  <a:lnTo>
                    <a:pt x="1673" y="533"/>
                  </a:lnTo>
                  <a:lnTo>
                    <a:pt x="1668" y="529"/>
                  </a:lnTo>
                  <a:lnTo>
                    <a:pt x="1678" y="529"/>
                  </a:lnTo>
                  <a:lnTo>
                    <a:pt x="1687" y="527"/>
                  </a:lnTo>
                  <a:lnTo>
                    <a:pt x="1708" y="527"/>
                  </a:lnTo>
                  <a:lnTo>
                    <a:pt x="1728" y="522"/>
                  </a:lnTo>
                  <a:lnTo>
                    <a:pt x="1732" y="519"/>
                  </a:lnTo>
                  <a:lnTo>
                    <a:pt x="1738" y="509"/>
                  </a:lnTo>
                  <a:lnTo>
                    <a:pt x="1742" y="506"/>
                  </a:lnTo>
                  <a:lnTo>
                    <a:pt x="1741" y="504"/>
                  </a:lnTo>
                  <a:lnTo>
                    <a:pt x="1740" y="500"/>
                  </a:lnTo>
                  <a:lnTo>
                    <a:pt x="1736" y="496"/>
                  </a:lnTo>
                  <a:lnTo>
                    <a:pt x="1728" y="490"/>
                  </a:lnTo>
                  <a:lnTo>
                    <a:pt x="1723" y="489"/>
                  </a:lnTo>
                  <a:lnTo>
                    <a:pt x="1708" y="493"/>
                  </a:lnTo>
                  <a:lnTo>
                    <a:pt x="1700" y="492"/>
                  </a:lnTo>
                  <a:lnTo>
                    <a:pt x="1675" y="502"/>
                  </a:lnTo>
                  <a:lnTo>
                    <a:pt x="1672" y="498"/>
                  </a:lnTo>
                  <a:lnTo>
                    <a:pt x="1676" y="496"/>
                  </a:lnTo>
                  <a:lnTo>
                    <a:pt x="1690" y="493"/>
                  </a:lnTo>
                  <a:lnTo>
                    <a:pt x="1696" y="489"/>
                  </a:lnTo>
                  <a:lnTo>
                    <a:pt x="1700" y="488"/>
                  </a:lnTo>
                  <a:lnTo>
                    <a:pt x="1708" y="488"/>
                  </a:lnTo>
                  <a:lnTo>
                    <a:pt x="1713" y="485"/>
                  </a:lnTo>
                  <a:lnTo>
                    <a:pt x="1716" y="481"/>
                  </a:lnTo>
                  <a:lnTo>
                    <a:pt x="1716" y="475"/>
                  </a:lnTo>
                  <a:lnTo>
                    <a:pt x="1704" y="470"/>
                  </a:lnTo>
                  <a:lnTo>
                    <a:pt x="1699" y="467"/>
                  </a:lnTo>
                  <a:lnTo>
                    <a:pt x="1706" y="463"/>
                  </a:lnTo>
                  <a:lnTo>
                    <a:pt x="1720" y="466"/>
                  </a:lnTo>
                  <a:lnTo>
                    <a:pt x="1726" y="462"/>
                  </a:lnTo>
                  <a:lnTo>
                    <a:pt x="1726" y="457"/>
                  </a:lnTo>
                  <a:lnTo>
                    <a:pt x="1726" y="454"/>
                  </a:lnTo>
                  <a:lnTo>
                    <a:pt x="1726" y="451"/>
                  </a:lnTo>
                  <a:lnTo>
                    <a:pt x="1725" y="449"/>
                  </a:lnTo>
                  <a:lnTo>
                    <a:pt x="1730" y="445"/>
                  </a:lnTo>
                  <a:lnTo>
                    <a:pt x="1731" y="443"/>
                  </a:lnTo>
                  <a:lnTo>
                    <a:pt x="1731" y="440"/>
                  </a:lnTo>
                  <a:lnTo>
                    <a:pt x="1729" y="433"/>
                  </a:lnTo>
                  <a:lnTo>
                    <a:pt x="1729" y="431"/>
                  </a:lnTo>
                  <a:lnTo>
                    <a:pt x="1731" y="427"/>
                  </a:lnTo>
                  <a:lnTo>
                    <a:pt x="1733" y="423"/>
                  </a:lnTo>
                  <a:lnTo>
                    <a:pt x="1736" y="418"/>
                  </a:lnTo>
                  <a:lnTo>
                    <a:pt x="1735" y="410"/>
                  </a:lnTo>
                  <a:lnTo>
                    <a:pt x="1734" y="408"/>
                  </a:lnTo>
                  <a:lnTo>
                    <a:pt x="1729" y="402"/>
                  </a:lnTo>
                  <a:lnTo>
                    <a:pt x="1728" y="401"/>
                  </a:lnTo>
                  <a:lnTo>
                    <a:pt x="1726" y="402"/>
                  </a:lnTo>
                  <a:lnTo>
                    <a:pt x="1725" y="402"/>
                  </a:lnTo>
                  <a:lnTo>
                    <a:pt x="1724" y="400"/>
                  </a:lnTo>
                  <a:lnTo>
                    <a:pt x="1724" y="398"/>
                  </a:lnTo>
                  <a:lnTo>
                    <a:pt x="1724" y="396"/>
                  </a:lnTo>
                  <a:lnTo>
                    <a:pt x="1724" y="394"/>
                  </a:lnTo>
                  <a:lnTo>
                    <a:pt x="1719" y="393"/>
                  </a:lnTo>
                  <a:lnTo>
                    <a:pt x="1714" y="396"/>
                  </a:lnTo>
                  <a:lnTo>
                    <a:pt x="1707" y="407"/>
                  </a:lnTo>
                  <a:lnTo>
                    <a:pt x="1704" y="404"/>
                  </a:lnTo>
                  <a:lnTo>
                    <a:pt x="1703" y="402"/>
                  </a:lnTo>
                  <a:lnTo>
                    <a:pt x="1702" y="399"/>
                  </a:lnTo>
                  <a:lnTo>
                    <a:pt x="1703" y="395"/>
                  </a:lnTo>
                  <a:lnTo>
                    <a:pt x="1703" y="391"/>
                  </a:lnTo>
                  <a:lnTo>
                    <a:pt x="1703" y="388"/>
                  </a:lnTo>
                  <a:lnTo>
                    <a:pt x="1701" y="386"/>
                  </a:lnTo>
                  <a:lnTo>
                    <a:pt x="1699" y="385"/>
                  </a:lnTo>
                  <a:lnTo>
                    <a:pt x="1694" y="386"/>
                  </a:lnTo>
                  <a:lnTo>
                    <a:pt x="1694" y="383"/>
                  </a:lnTo>
                  <a:lnTo>
                    <a:pt x="1696" y="383"/>
                  </a:lnTo>
                  <a:lnTo>
                    <a:pt x="1697" y="380"/>
                  </a:lnTo>
                  <a:lnTo>
                    <a:pt x="1697" y="376"/>
                  </a:lnTo>
                  <a:lnTo>
                    <a:pt x="1696" y="371"/>
                  </a:lnTo>
                  <a:lnTo>
                    <a:pt x="1694" y="369"/>
                  </a:lnTo>
                  <a:lnTo>
                    <a:pt x="1691" y="369"/>
                  </a:lnTo>
                  <a:lnTo>
                    <a:pt x="1674" y="374"/>
                  </a:lnTo>
                  <a:lnTo>
                    <a:pt x="1669" y="373"/>
                  </a:lnTo>
                  <a:lnTo>
                    <a:pt x="1634" y="352"/>
                  </a:lnTo>
                  <a:lnTo>
                    <a:pt x="1636" y="356"/>
                  </a:lnTo>
                  <a:lnTo>
                    <a:pt x="1641" y="361"/>
                  </a:lnTo>
                  <a:lnTo>
                    <a:pt x="1643" y="365"/>
                  </a:lnTo>
                  <a:lnTo>
                    <a:pt x="1631" y="355"/>
                  </a:lnTo>
                  <a:lnTo>
                    <a:pt x="1626" y="354"/>
                  </a:lnTo>
                  <a:lnTo>
                    <a:pt x="1623" y="357"/>
                  </a:lnTo>
                  <a:lnTo>
                    <a:pt x="1603" y="386"/>
                  </a:lnTo>
                  <a:lnTo>
                    <a:pt x="1600" y="393"/>
                  </a:lnTo>
                  <a:lnTo>
                    <a:pt x="1598" y="395"/>
                  </a:lnTo>
                  <a:lnTo>
                    <a:pt x="1593" y="401"/>
                  </a:lnTo>
                  <a:lnTo>
                    <a:pt x="1591" y="402"/>
                  </a:lnTo>
                  <a:lnTo>
                    <a:pt x="1590" y="403"/>
                  </a:lnTo>
                  <a:lnTo>
                    <a:pt x="1586" y="412"/>
                  </a:lnTo>
                  <a:lnTo>
                    <a:pt x="1584" y="415"/>
                  </a:lnTo>
                  <a:lnTo>
                    <a:pt x="1585" y="408"/>
                  </a:lnTo>
                  <a:lnTo>
                    <a:pt x="1587" y="403"/>
                  </a:lnTo>
                  <a:lnTo>
                    <a:pt x="1589" y="398"/>
                  </a:lnTo>
                  <a:lnTo>
                    <a:pt x="1601" y="383"/>
                  </a:lnTo>
                  <a:lnTo>
                    <a:pt x="1605" y="375"/>
                  </a:lnTo>
                  <a:lnTo>
                    <a:pt x="1613" y="365"/>
                  </a:lnTo>
                  <a:lnTo>
                    <a:pt x="1617" y="355"/>
                  </a:lnTo>
                  <a:lnTo>
                    <a:pt x="1621" y="352"/>
                  </a:lnTo>
                  <a:lnTo>
                    <a:pt x="1630" y="349"/>
                  </a:lnTo>
                  <a:lnTo>
                    <a:pt x="1627" y="345"/>
                  </a:lnTo>
                  <a:lnTo>
                    <a:pt x="1617" y="339"/>
                  </a:lnTo>
                  <a:lnTo>
                    <a:pt x="1613" y="336"/>
                  </a:lnTo>
                  <a:lnTo>
                    <a:pt x="1613" y="334"/>
                  </a:lnTo>
                  <a:lnTo>
                    <a:pt x="1612" y="333"/>
                  </a:lnTo>
                  <a:lnTo>
                    <a:pt x="1611" y="330"/>
                  </a:lnTo>
                  <a:lnTo>
                    <a:pt x="1611" y="327"/>
                  </a:lnTo>
                  <a:lnTo>
                    <a:pt x="1614" y="323"/>
                  </a:lnTo>
                  <a:lnTo>
                    <a:pt x="1621" y="307"/>
                  </a:lnTo>
                  <a:lnTo>
                    <a:pt x="1616" y="301"/>
                  </a:lnTo>
                  <a:lnTo>
                    <a:pt x="1610" y="303"/>
                  </a:lnTo>
                  <a:lnTo>
                    <a:pt x="1597" y="310"/>
                  </a:lnTo>
                  <a:lnTo>
                    <a:pt x="1563" y="319"/>
                  </a:lnTo>
                  <a:lnTo>
                    <a:pt x="1551" y="326"/>
                  </a:lnTo>
                  <a:lnTo>
                    <a:pt x="1545" y="328"/>
                  </a:lnTo>
                  <a:lnTo>
                    <a:pt x="1539" y="325"/>
                  </a:lnTo>
                  <a:lnTo>
                    <a:pt x="1541" y="318"/>
                  </a:lnTo>
                  <a:lnTo>
                    <a:pt x="1546" y="309"/>
                  </a:lnTo>
                  <a:lnTo>
                    <a:pt x="1548" y="301"/>
                  </a:lnTo>
                  <a:lnTo>
                    <a:pt x="1541" y="311"/>
                  </a:lnTo>
                  <a:lnTo>
                    <a:pt x="1537" y="315"/>
                  </a:lnTo>
                  <a:lnTo>
                    <a:pt x="1532" y="315"/>
                  </a:lnTo>
                  <a:lnTo>
                    <a:pt x="1540" y="306"/>
                  </a:lnTo>
                  <a:lnTo>
                    <a:pt x="1543" y="300"/>
                  </a:lnTo>
                  <a:lnTo>
                    <a:pt x="1543" y="294"/>
                  </a:lnTo>
                  <a:lnTo>
                    <a:pt x="1547" y="289"/>
                  </a:lnTo>
                  <a:lnTo>
                    <a:pt x="1558" y="280"/>
                  </a:lnTo>
                  <a:lnTo>
                    <a:pt x="1568" y="267"/>
                  </a:lnTo>
                  <a:lnTo>
                    <a:pt x="1570" y="266"/>
                  </a:lnTo>
                  <a:lnTo>
                    <a:pt x="1571" y="263"/>
                  </a:lnTo>
                  <a:lnTo>
                    <a:pt x="1574" y="253"/>
                  </a:lnTo>
                  <a:lnTo>
                    <a:pt x="1575" y="252"/>
                  </a:lnTo>
                  <a:lnTo>
                    <a:pt x="1574" y="247"/>
                  </a:lnTo>
                  <a:lnTo>
                    <a:pt x="1574" y="246"/>
                  </a:lnTo>
                  <a:lnTo>
                    <a:pt x="1575" y="244"/>
                  </a:lnTo>
                  <a:lnTo>
                    <a:pt x="1577" y="242"/>
                  </a:lnTo>
                  <a:lnTo>
                    <a:pt x="1578" y="240"/>
                  </a:lnTo>
                  <a:lnTo>
                    <a:pt x="1577" y="236"/>
                  </a:lnTo>
                  <a:lnTo>
                    <a:pt x="1576" y="227"/>
                  </a:lnTo>
                  <a:lnTo>
                    <a:pt x="1576" y="223"/>
                  </a:lnTo>
                  <a:lnTo>
                    <a:pt x="1575" y="222"/>
                  </a:lnTo>
                  <a:lnTo>
                    <a:pt x="1572" y="221"/>
                  </a:lnTo>
                  <a:lnTo>
                    <a:pt x="1570" y="219"/>
                  </a:lnTo>
                  <a:lnTo>
                    <a:pt x="1569" y="215"/>
                  </a:lnTo>
                  <a:lnTo>
                    <a:pt x="1568" y="206"/>
                  </a:lnTo>
                  <a:lnTo>
                    <a:pt x="1566" y="200"/>
                  </a:lnTo>
                  <a:lnTo>
                    <a:pt x="1563" y="197"/>
                  </a:lnTo>
                  <a:lnTo>
                    <a:pt x="1559" y="195"/>
                  </a:lnTo>
                  <a:lnTo>
                    <a:pt x="1551" y="196"/>
                  </a:lnTo>
                  <a:lnTo>
                    <a:pt x="1538" y="207"/>
                  </a:lnTo>
                  <a:lnTo>
                    <a:pt x="1531" y="208"/>
                  </a:lnTo>
                  <a:lnTo>
                    <a:pt x="1521" y="203"/>
                  </a:lnTo>
                  <a:lnTo>
                    <a:pt x="1503" y="203"/>
                  </a:lnTo>
                  <a:lnTo>
                    <a:pt x="1499" y="200"/>
                  </a:lnTo>
                  <a:lnTo>
                    <a:pt x="1501" y="199"/>
                  </a:lnTo>
                  <a:lnTo>
                    <a:pt x="1504" y="196"/>
                  </a:lnTo>
                  <a:lnTo>
                    <a:pt x="1506" y="195"/>
                  </a:lnTo>
                  <a:lnTo>
                    <a:pt x="1505" y="187"/>
                  </a:lnTo>
                  <a:lnTo>
                    <a:pt x="1503" y="184"/>
                  </a:lnTo>
                  <a:lnTo>
                    <a:pt x="1494" y="183"/>
                  </a:lnTo>
                  <a:lnTo>
                    <a:pt x="1491" y="183"/>
                  </a:lnTo>
                  <a:lnTo>
                    <a:pt x="1486" y="178"/>
                  </a:lnTo>
                  <a:lnTo>
                    <a:pt x="1489" y="170"/>
                  </a:lnTo>
                  <a:lnTo>
                    <a:pt x="1494" y="166"/>
                  </a:lnTo>
                  <a:lnTo>
                    <a:pt x="1503" y="165"/>
                  </a:lnTo>
                  <a:lnTo>
                    <a:pt x="1506" y="164"/>
                  </a:lnTo>
                  <a:lnTo>
                    <a:pt x="1521" y="149"/>
                  </a:lnTo>
                  <a:lnTo>
                    <a:pt x="1522" y="146"/>
                  </a:lnTo>
                  <a:lnTo>
                    <a:pt x="1524" y="140"/>
                  </a:lnTo>
                  <a:lnTo>
                    <a:pt x="1525" y="135"/>
                  </a:lnTo>
                  <a:lnTo>
                    <a:pt x="1524" y="133"/>
                  </a:lnTo>
                  <a:lnTo>
                    <a:pt x="1523" y="131"/>
                  </a:lnTo>
                  <a:lnTo>
                    <a:pt x="1520" y="124"/>
                  </a:lnTo>
                  <a:lnTo>
                    <a:pt x="1519" y="124"/>
                  </a:lnTo>
                  <a:lnTo>
                    <a:pt x="1518" y="120"/>
                  </a:lnTo>
                  <a:lnTo>
                    <a:pt x="1516" y="119"/>
                  </a:lnTo>
                  <a:lnTo>
                    <a:pt x="1513" y="117"/>
                  </a:lnTo>
                  <a:lnTo>
                    <a:pt x="1516" y="110"/>
                  </a:lnTo>
                  <a:lnTo>
                    <a:pt x="1521" y="106"/>
                  </a:lnTo>
                  <a:lnTo>
                    <a:pt x="1536" y="102"/>
                  </a:lnTo>
                  <a:lnTo>
                    <a:pt x="1548" y="92"/>
                  </a:lnTo>
                  <a:lnTo>
                    <a:pt x="1577" y="80"/>
                  </a:lnTo>
                  <a:lnTo>
                    <a:pt x="1584" y="71"/>
                  </a:lnTo>
                  <a:lnTo>
                    <a:pt x="1554" y="76"/>
                  </a:lnTo>
                  <a:lnTo>
                    <a:pt x="1550" y="75"/>
                  </a:lnTo>
                  <a:lnTo>
                    <a:pt x="1544" y="69"/>
                  </a:lnTo>
                  <a:lnTo>
                    <a:pt x="1540" y="68"/>
                  </a:lnTo>
                  <a:lnTo>
                    <a:pt x="1527" y="71"/>
                  </a:lnTo>
                  <a:lnTo>
                    <a:pt x="1522" y="74"/>
                  </a:lnTo>
                  <a:lnTo>
                    <a:pt x="1516" y="80"/>
                  </a:lnTo>
                  <a:lnTo>
                    <a:pt x="1513" y="85"/>
                  </a:lnTo>
                  <a:lnTo>
                    <a:pt x="1513" y="91"/>
                  </a:lnTo>
                  <a:lnTo>
                    <a:pt x="1511" y="96"/>
                  </a:lnTo>
                  <a:lnTo>
                    <a:pt x="1499" y="103"/>
                  </a:lnTo>
                  <a:lnTo>
                    <a:pt x="1499" y="106"/>
                  </a:lnTo>
                  <a:lnTo>
                    <a:pt x="1499" y="110"/>
                  </a:lnTo>
                  <a:lnTo>
                    <a:pt x="1498" y="113"/>
                  </a:lnTo>
                  <a:lnTo>
                    <a:pt x="1486" y="117"/>
                  </a:lnTo>
                  <a:lnTo>
                    <a:pt x="1467" y="117"/>
                  </a:lnTo>
                  <a:lnTo>
                    <a:pt x="1462" y="119"/>
                  </a:lnTo>
                  <a:lnTo>
                    <a:pt x="1461" y="124"/>
                  </a:lnTo>
                  <a:lnTo>
                    <a:pt x="1462" y="129"/>
                  </a:lnTo>
                  <a:lnTo>
                    <a:pt x="1462" y="137"/>
                  </a:lnTo>
                  <a:lnTo>
                    <a:pt x="1462" y="145"/>
                  </a:lnTo>
                  <a:lnTo>
                    <a:pt x="1461" y="151"/>
                  </a:lnTo>
                  <a:lnTo>
                    <a:pt x="1459" y="155"/>
                  </a:lnTo>
                  <a:lnTo>
                    <a:pt x="1456" y="157"/>
                  </a:lnTo>
                  <a:lnTo>
                    <a:pt x="1456" y="159"/>
                  </a:lnTo>
                  <a:lnTo>
                    <a:pt x="1457" y="159"/>
                  </a:lnTo>
                  <a:lnTo>
                    <a:pt x="1458" y="160"/>
                  </a:lnTo>
                  <a:lnTo>
                    <a:pt x="1455" y="163"/>
                  </a:lnTo>
                  <a:lnTo>
                    <a:pt x="1451" y="160"/>
                  </a:lnTo>
                  <a:lnTo>
                    <a:pt x="1448" y="155"/>
                  </a:lnTo>
                  <a:lnTo>
                    <a:pt x="1443" y="151"/>
                  </a:lnTo>
                  <a:lnTo>
                    <a:pt x="1438" y="145"/>
                  </a:lnTo>
                  <a:lnTo>
                    <a:pt x="1434" y="143"/>
                  </a:lnTo>
                  <a:lnTo>
                    <a:pt x="1432" y="141"/>
                  </a:lnTo>
                  <a:lnTo>
                    <a:pt x="1431" y="137"/>
                  </a:lnTo>
                  <a:lnTo>
                    <a:pt x="1431" y="133"/>
                  </a:lnTo>
                  <a:lnTo>
                    <a:pt x="1429" y="135"/>
                  </a:lnTo>
                  <a:lnTo>
                    <a:pt x="1428" y="135"/>
                  </a:lnTo>
                  <a:lnTo>
                    <a:pt x="1428" y="135"/>
                  </a:lnTo>
                  <a:lnTo>
                    <a:pt x="1426" y="133"/>
                  </a:lnTo>
                  <a:lnTo>
                    <a:pt x="1425" y="131"/>
                  </a:lnTo>
                  <a:lnTo>
                    <a:pt x="1423" y="130"/>
                  </a:lnTo>
                  <a:lnTo>
                    <a:pt x="1418" y="133"/>
                  </a:lnTo>
                  <a:lnTo>
                    <a:pt x="1406" y="133"/>
                  </a:lnTo>
                  <a:lnTo>
                    <a:pt x="1404" y="130"/>
                  </a:lnTo>
                  <a:lnTo>
                    <a:pt x="1405" y="125"/>
                  </a:lnTo>
                  <a:lnTo>
                    <a:pt x="1406" y="121"/>
                  </a:lnTo>
                  <a:lnTo>
                    <a:pt x="1405" y="118"/>
                  </a:lnTo>
                  <a:lnTo>
                    <a:pt x="1400" y="116"/>
                  </a:lnTo>
                  <a:lnTo>
                    <a:pt x="1398" y="113"/>
                  </a:lnTo>
                  <a:lnTo>
                    <a:pt x="1396" y="112"/>
                  </a:lnTo>
                  <a:lnTo>
                    <a:pt x="1394" y="114"/>
                  </a:lnTo>
                  <a:lnTo>
                    <a:pt x="1392" y="109"/>
                  </a:lnTo>
                  <a:lnTo>
                    <a:pt x="1396" y="105"/>
                  </a:lnTo>
                  <a:lnTo>
                    <a:pt x="1400" y="100"/>
                  </a:lnTo>
                  <a:lnTo>
                    <a:pt x="1407" y="87"/>
                  </a:lnTo>
                  <a:lnTo>
                    <a:pt x="1404" y="76"/>
                  </a:lnTo>
                  <a:lnTo>
                    <a:pt x="1404" y="74"/>
                  </a:lnTo>
                  <a:lnTo>
                    <a:pt x="1404" y="70"/>
                  </a:lnTo>
                  <a:lnTo>
                    <a:pt x="1403" y="66"/>
                  </a:lnTo>
                  <a:lnTo>
                    <a:pt x="1400" y="64"/>
                  </a:lnTo>
                  <a:lnTo>
                    <a:pt x="1397" y="63"/>
                  </a:lnTo>
                  <a:lnTo>
                    <a:pt x="1382" y="63"/>
                  </a:lnTo>
                  <a:lnTo>
                    <a:pt x="1382" y="61"/>
                  </a:lnTo>
                  <a:lnTo>
                    <a:pt x="1383" y="56"/>
                  </a:lnTo>
                  <a:lnTo>
                    <a:pt x="1383" y="55"/>
                  </a:lnTo>
                  <a:lnTo>
                    <a:pt x="1380" y="56"/>
                  </a:lnTo>
                  <a:lnTo>
                    <a:pt x="1374" y="55"/>
                  </a:lnTo>
                  <a:lnTo>
                    <a:pt x="1368" y="56"/>
                  </a:lnTo>
                  <a:lnTo>
                    <a:pt x="1366" y="56"/>
                  </a:lnTo>
                  <a:lnTo>
                    <a:pt x="1368" y="52"/>
                  </a:lnTo>
                  <a:lnTo>
                    <a:pt x="1367" y="51"/>
                  </a:lnTo>
                  <a:lnTo>
                    <a:pt x="1365" y="48"/>
                  </a:lnTo>
                  <a:lnTo>
                    <a:pt x="1365" y="46"/>
                  </a:lnTo>
                  <a:lnTo>
                    <a:pt x="1368" y="44"/>
                  </a:lnTo>
                  <a:lnTo>
                    <a:pt x="1368" y="41"/>
                  </a:lnTo>
                  <a:lnTo>
                    <a:pt x="1367" y="41"/>
                  </a:lnTo>
                  <a:lnTo>
                    <a:pt x="1366" y="41"/>
                  </a:lnTo>
                  <a:lnTo>
                    <a:pt x="1367" y="35"/>
                  </a:lnTo>
                  <a:lnTo>
                    <a:pt x="1369" y="32"/>
                  </a:lnTo>
                  <a:lnTo>
                    <a:pt x="1371" y="31"/>
                  </a:lnTo>
                  <a:lnTo>
                    <a:pt x="1373" y="27"/>
                  </a:lnTo>
                  <a:lnTo>
                    <a:pt x="1366" y="24"/>
                  </a:lnTo>
                  <a:lnTo>
                    <a:pt x="1352" y="11"/>
                  </a:lnTo>
                  <a:lnTo>
                    <a:pt x="1345" y="14"/>
                  </a:lnTo>
                  <a:lnTo>
                    <a:pt x="1343" y="15"/>
                  </a:lnTo>
                  <a:lnTo>
                    <a:pt x="1334" y="11"/>
                  </a:lnTo>
                  <a:lnTo>
                    <a:pt x="1330" y="11"/>
                  </a:lnTo>
                  <a:lnTo>
                    <a:pt x="1326" y="13"/>
                  </a:lnTo>
                  <a:lnTo>
                    <a:pt x="1325" y="15"/>
                  </a:lnTo>
                  <a:lnTo>
                    <a:pt x="1323" y="22"/>
                  </a:lnTo>
                  <a:lnTo>
                    <a:pt x="1322" y="24"/>
                  </a:lnTo>
                  <a:lnTo>
                    <a:pt x="1320" y="24"/>
                  </a:lnTo>
                  <a:lnTo>
                    <a:pt x="1319" y="19"/>
                  </a:lnTo>
                  <a:lnTo>
                    <a:pt x="1319" y="18"/>
                  </a:lnTo>
                  <a:lnTo>
                    <a:pt x="1317" y="21"/>
                  </a:lnTo>
                  <a:lnTo>
                    <a:pt x="1315" y="24"/>
                  </a:lnTo>
                  <a:lnTo>
                    <a:pt x="1313" y="27"/>
                  </a:lnTo>
                  <a:lnTo>
                    <a:pt x="1313" y="30"/>
                  </a:lnTo>
                  <a:lnTo>
                    <a:pt x="1313" y="31"/>
                  </a:lnTo>
                  <a:lnTo>
                    <a:pt x="1309" y="32"/>
                  </a:lnTo>
                  <a:lnTo>
                    <a:pt x="1306" y="33"/>
                  </a:lnTo>
                  <a:lnTo>
                    <a:pt x="1304" y="30"/>
                  </a:lnTo>
                  <a:lnTo>
                    <a:pt x="1305" y="30"/>
                  </a:lnTo>
                  <a:lnTo>
                    <a:pt x="1307" y="27"/>
                  </a:lnTo>
                  <a:lnTo>
                    <a:pt x="1304" y="27"/>
                  </a:lnTo>
                  <a:lnTo>
                    <a:pt x="1302" y="24"/>
                  </a:lnTo>
                  <a:lnTo>
                    <a:pt x="1300" y="21"/>
                  </a:lnTo>
                  <a:lnTo>
                    <a:pt x="1298" y="19"/>
                  </a:lnTo>
                  <a:lnTo>
                    <a:pt x="1297" y="20"/>
                  </a:lnTo>
                  <a:lnTo>
                    <a:pt x="1292" y="24"/>
                  </a:lnTo>
                  <a:lnTo>
                    <a:pt x="1289" y="25"/>
                  </a:lnTo>
                  <a:lnTo>
                    <a:pt x="1290" y="27"/>
                  </a:lnTo>
                  <a:lnTo>
                    <a:pt x="1290" y="29"/>
                  </a:lnTo>
                  <a:lnTo>
                    <a:pt x="1290" y="31"/>
                  </a:lnTo>
                  <a:lnTo>
                    <a:pt x="1291" y="33"/>
                  </a:lnTo>
                  <a:lnTo>
                    <a:pt x="1289" y="31"/>
                  </a:lnTo>
                  <a:lnTo>
                    <a:pt x="1288" y="29"/>
                  </a:lnTo>
                  <a:lnTo>
                    <a:pt x="1287" y="25"/>
                  </a:lnTo>
                  <a:lnTo>
                    <a:pt x="1288" y="21"/>
                  </a:lnTo>
                  <a:lnTo>
                    <a:pt x="1288" y="17"/>
                  </a:lnTo>
                  <a:lnTo>
                    <a:pt x="1285" y="17"/>
                  </a:lnTo>
                  <a:lnTo>
                    <a:pt x="1281" y="19"/>
                  </a:lnTo>
                  <a:lnTo>
                    <a:pt x="1279" y="21"/>
                  </a:lnTo>
                  <a:lnTo>
                    <a:pt x="1278" y="25"/>
                  </a:lnTo>
                  <a:lnTo>
                    <a:pt x="1277" y="28"/>
                  </a:lnTo>
                  <a:lnTo>
                    <a:pt x="1276" y="30"/>
                  </a:lnTo>
                  <a:lnTo>
                    <a:pt x="1275" y="30"/>
                  </a:lnTo>
                  <a:lnTo>
                    <a:pt x="1274" y="27"/>
                  </a:lnTo>
                  <a:lnTo>
                    <a:pt x="1274" y="24"/>
                  </a:lnTo>
                  <a:lnTo>
                    <a:pt x="1273" y="22"/>
                  </a:lnTo>
                  <a:lnTo>
                    <a:pt x="1270" y="22"/>
                  </a:lnTo>
                  <a:lnTo>
                    <a:pt x="1267" y="27"/>
                  </a:lnTo>
                  <a:lnTo>
                    <a:pt x="1265" y="33"/>
                  </a:lnTo>
                  <a:lnTo>
                    <a:pt x="1269" y="38"/>
                  </a:lnTo>
                  <a:lnTo>
                    <a:pt x="1273" y="51"/>
                  </a:lnTo>
                  <a:lnTo>
                    <a:pt x="1275" y="55"/>
                  </a:lnTo>
                  <a:lnTo>
                    <a:pt x="1275" y="57"/>
                  </a:lnTo>
                  <a:lnTo>
                    <a:pt x="1272" y="57"/>
                  </a:lnTo>
                  <a:lnTo>
                    <a:pt x="1274" y="62"/>
                  </a:lnTo>
                  <a:lnTo>
                    <a:pt x="1274" y="64"/>
                  </a:lnTo>
                  <a:lnTo>
                    <a:pt x="1275" y="65"/>
                  </a:lnTo>
                  <a:lnTo>
                    <a:pt x="1275" y="66"/>
                  </a:lnTo>
                  <a:lnTo>
                    <a:pt x="1274" y="70"/>
                  </a:lnTo>
                  <a:lnTo>
                    <a:pt x="1273" y="71"/>
                  </a:lnTo>
                  <a:lnTo>
                    <a:pt x="1275" y="71"/>
                  </a:lnTo>
                  <a:lnTo>
                    <a:pt x="1275" y="71"/>
                  </a:lnTo>
                  <a:lnTo>
                    <a:pt x="1274" y="78"/>
                  </a:lnTo>
                  <a:lnTo>
                    <a:pt x="1275" y="81"/>
                  </a:lnTo>
                  <a:lnTo>
                    <a:pt x="1280" y="85"/>
                  </a:lnTo>
                  <a:lnTo>
                    <a:pt x="1280" y="87"/>
                  </a:lnTo>
                  <a:lnTo>
                    <a:pt x="1280" y="90"/>
                  </a:lnTo>
                  <a:lnTo>
                    <a:pt x="1280" y="94"/>
                  </a:lnTo>
                  <a:lnTo>
                    <a:pt x="1281" y="95"/>
                  </a:lnTo>
                  <a:lnTo>
                    <a:pt x="1282" y="95"/>
                  </a:lnTo>
                  <a:lnTo>
                    <a:pt x="1283" y="96"/>
                  </a:lnTo>
                  <a:lnTo>
                    <a:pt x="1284" y="98"/>
                  </a:lnTo>
                  <a:lnTo>
                    <a:pt x="1286" y="104"/>
                  </a:lnTo>
                  <a:lnTo>
                    <a:pt x="1288" y="106"/>
                  </a:lnTo>
                  <a:lnTo>
                    <a:pt x="1289" y="110"/>
                  </a:lnTo>
                  <a:lnTo>
                    <a:pt x="1289" y="115"/>
                  </a:lnTo>
                  <a:lnTo>
                    <a:pt x="1289" y="119"/>
                  </a:lnTo>
                  <a:lnTo>
                    <a:pt x="1288" y="123"/>
                  </a:lnTo>
                  <a:lnTo>
                    <a:pt x="1287" y="126"/>
                  </a:lnTo>
                  <a:lnTo>
                    <a:pt x="1286" y="128"/>
                  </a:lnTo>
                  <a:lnTo>
                    <a:pt x="1286" y="129"/>
                  </a:lnTo>
                  <a:lnTo>
                    <a:pt x="1286" y="130"/>
                  </a:lnTo>
                  <a:lnTo>
                    <a:pt x="1284" y="133"/>
                  </a:lnTo>
                  <a:lnTo>
                    <a:pt x="1281" y="137"/>
                  </a:lnTo>
                  <a:lnTo>
                    <a:pt x="1279" y="142"/>
                  </a:lnTo>
                  <a:lnTo>
                    <a:pt x="1279" y="148"/>
                  </a:lnTo>
                  <a:lnTo>
                    <a:pt x="1280" y="152"/>
                  </a:lnTo>
                  <a:lnTo>
                    <a:pt x="1283" y="157"/>
                  </a:lnTo>
                  <a:lnTo>
                    <a:pt x="1289" y="163"/>
                  </a:lnTo>
                  <a:lnTo>
                    <a:pt x="1289" y="165"/>
                  </a:lnTo>
                  <a:lnTo>
                    <a:pt x="1284" y="165"/>
                  </a:lnTo>
                  <a:lnTo>
                    <a:pt x="1278" y="155"/>
                  </a:lnTo>
                  <a:lnTo>
                    <a:pt x="1274" y="152"/>
                  </a:lnTo>
                  <a:lnTo>
                    <a:pt x="1271" y="152"/>
                  </a:lnTo>
                  <a:lnTo>
                    <a:pt x="1257" y="157"/>
                  </a:lnTo>
                  <a:lnTo>
                    <a:pt x="1261" y="152"/>
                  </a:lnTo>
                  <a:lnTo>
                    <a:pt x="1275" y="144"/>
                  </a:lnTo>
                  <a:lnTo>
                    <a:pt x="1272" y="144"/>
                  </a:lnTo>
                  <a:lnTo>
                    <a:pt x="1265" y="148"/>
                  </a:lnTo>
                  <a:lnTo>
                    <a:pt x="1254" y="152"/>
                  </a:lnTo>
                  <a:lnTo>
                    <a:pt x="1247" y="157"/>
                  </a:lnTo>
                  <a:lnTo>
                    <a:pt x="1250" y="160"/>
                  </a:lnTo>
                  <a:lnTo>
                    <a:pt x="1251" y="163"/>
                  </a:lnTo>
                  <a:lnTo>
                    <a:pt x="1251" y="167"/>
                  </a:lnTo>
                  <a:lnTo>
                    <a:pt x="1252" y="172"/>
                  </a:lnTo>
                  <a:lnTo>
                    <a:pt x="1254" y="175"/>
                  </a:lnTo>
                  <a:lnTo>
                    <a:pt x="1256" y="178"/>
                  </a:lnTo>
                  <a:lnTo>
                    <a:pt x="1261" y="182"/>
                  </a:lnTo>
                  <a:lnTo>
                    <a:pt x="1261" y="184"/>
                  </a:lnTo>
                  <a:lnTo>
                    <a:pt x="1256" y="183"/>
                  </a:lnTo>
                  <a:lnTo>
                    <a:pt x="1253" y="177"/>
                  </a:lnTo>
                  <a:lnTo>
                    <a:pt x="1249" y="170"/>
                  </a:lnTo>
                  <a:lnTo>
                    <a:pt x="1245" y="165"/>
                  </a:lnTo>
                  <a:lnTo>
                    <a:pt x="1243" y="166"/>
                  </a:lnTo>
                  <a:lnTo>
                    <a:pt x="1241" y="169"/>
                  </a:lnTo>
                  <a:lnTo>
                    <a:pt x="1238" y="178"/>
                  </a:lnTo>
                  <a:lnTo>
                    <a:pt x="1237" y="178"/>
                  </a:lnTo>
                  <a:lnTo>
                    <a:pt x="1234" y="172"/>
                  </a:lnTo>
                  <a:lnTo>
                    <a:pt x="1232" y="171"/>
                  </a:lnTo>
                  <a:lnTo>
                    <a:pt x="1234" y="168"/>
                  </a:lnTo>
                  <a:lnTo>
                    <a:pt x="1236" y="166"/>
                  </a:lnTo>
                  <a:lnTo>
                    <a:pt x="1239" y="165"/>
                  </a:lnTo>
                  <a:lnTo>
                    <a:pt x="1242" y="165"/>
                  </a:lnTo>
                  <a:lnTo>
                    <a:pt x="1236" y="163"/>
                  </a:lnTo>
                  <a:lnTo>
                    <a:pt x="1216" y="169"/>
                  </a:lnTo>
                  <a:lnTo>
                    <a:pt x="1210" y="173"/>
                  </a:lnTo>
                  <a:lnTo>
                    <a:pt x="1212" y="176"/>
                  </a:lnTo>
                  <a:lnTo>
                    <a:pt x="1213" y="176"/>
                  </a:lnTo>
                  <a:lnTo>
                    <a:pt x="1211" y="178"/>
                  </a:lnTo>
                  <a:lnTo>
                    <a:pt x="1210" y="179"/>
                  </a:lnTo>
                  <a:lnTo>
                    <a:pt x="1208" y="178"/>
                  </a:lnTo>
                  <a:lnTo>
                    <a:pt x="1206" y="176"/>
                  </a:lnTo>
                  <a:lnTo>
                    <a:pt x="1206" y="173"/>
                  </a:lnTo>
                  <a:lnTo>
                    <a:pt x="1208" y="173"/>
                  </a:lnTo>
                  <a:lnTo>
                    <a:pt x="1208" y="172"/>
                  </a:lnTo>
                  <a:lnTo>
                    <a:pt x="1208" y="171"/>
                  </a:lnTo>
                  <a:lnTo>
                    <a:pt x="1208" y="170"/>
                  </a:lnTo>
                  <a:lnTo>
                    <a:pt x="1208" y="168"/>
                  </a:lnTo>
                  <a:lnTo>
                    <a:pt x="1202" y="151"/>
                  </a:lnTo>
                  <a:lnTo>
                    <a:pt x="1199" y="144"/>
                  </a:lnTo>
                  <a:lnTo>
                    <a:pt x="1199" y="144"/>
                  </a:lnTo>
                  <a:lnTo>
                    <a:pt x="1194" y="141"/>
                  </a:lnTo>
                  <a:lnTo>
                    <a:pt x="1178" y="139"/>
                  </a:lnTo>
                  <a:lnTo>
                    <a:pt x="1174" y="135"/>
                  </a:lnTo>
                  <a:lnTo>
                    <a:pt x="1172" y="142"/>
                  </a:lnTo>
                  <a:lnTo>
                    <a:pt x="1163" y="146"/>
                  </a:lnTo>
                  <a:lnTo>
                    <a:pt x="1158" y="151"/>
                  </a:lnTo>
                  <a:lnTo>
                    <a:pt x="1155" y="156"/>
                  </a:lnTo>
                  <a:lnTo>
                    <a:pt x="1154" y="159"/>
                  </a:lnTo>
                  <a:lnTo>
                    <a:pt x="1156" y="160"/>
                  </a:lnTo>
                  <a:lnTo>
                    <a:pt x="1157" y="162"/>
                  </a:lnTo>
                  <a:lnTo>
                    <a:pt x="1157" y="167"/>
                  </a:lnTo>
                  <a:lnTo>
                    <a:pt x="1156" y="171"/>
                  </a:lnTo>
                  <a:lnTo>
                    <a:pt x="1154" y="173"/>
                  </a:lnTo>
                  <a:lnTo>
                    <a:pt x="1150" y="175"/>
                  </a:lnTo>
                  <a:lnTo>
                    <a:pt x="1146" y="179"/>
                  </a:lnTo>
                  <a:lnTo>
                    <a:pt x="1142" y="184"/>
                  </a:lnTo>
                  <a:lnTo>
                    <a:pt x="1139" y="189"/>
                  </a:lnTo>
                  <a:lnTo>
                    <a:pt x="1139" y="195"/>
                  </a:lnTo>
                  <a:lnTo>
                    <a:pt x="1140" y="201"/>
                  </a:lnTo>
                  <a:lnTo>
                    <a:pt x="1139" y="203"/>
                  </a:lnTo>
                  <a:lnTo>
                    <a:pt x="1139" y="206"/>
                  </a:lnTo>
                  <a:lnTo>
                    <a:pt x="1137" y="208"/>
                  </a:lnTo>
                  <a:lnTo>
                    <a:pt x="1135" y="211"/>
                  </a:lnTo>
                  <a:lnTo>
                    <a:pt x="1136" y="216"/>
                  </a:lnTo>
                  <a:lnTo>
                    <a:pt x="1135" y="220"/>
                  </a:lnTo>
                  <a:lnTo>
                    <a:pt x="1133" y="223"/>
                  </a:lnTo>
                  <a:lnTo>
                    <a:pt x="1131" y="224"/>
                  </a:lnTo>
                  <a:lnTo>
                    <a:pt x="1131" y="227"/>
                  </a:lnTo>
                  <a:lnTo>
                    <a:pt x="1132" y="229"/>
                  </a:lnTo>
                  <a:lnTo>
                    <a:pt x="1133" y="232"/>
                  </a:lnTo>
                  <a:lnTo>
                    <a:pt x="1132" y="235"/>
                  </a:lnTo>
                  <a:lnTo>
                    <a:pt x="1132" y="237"/>
                  </a:lnTo>
                  <a:lnTo>
                    <a:pt x="1131" y="237"/>
                  </a:lnTo>
                  <a:lnTo>
                    <a:pt x="1128" y="230"/>
                  </a:lnTo>
                  <a:lnTo>
                    <a:pt x="1127" y="226"/>
                  </a:lnTo>
                  <a:lnTo>
                    <a:pt x="1126" y="224"/>
                  </a:lnTo>
                  <a:lnTo>
                    <a:pt x="1100" y="224"/>
                  </a:lnTo>
                  <a:lnTo>
                    <a:pt x="1104" y="228"/>
                  </a:lnTo>
                  <a:lnTo>
                    <a:pt x="1119" y="227"/>
                  </a:lnTo>
                  <a:lnTo>
                    <a:pt x="1116" y="229"/>
                  </a:lnTo>
                  <a:lnTo>
                    <a:pt x="1112" y="231"/>
                  </a:lnTo>
                  <a:lnTo>
                    <a:pt x="1109" y="232"/>
                  </a:lnTo>
                  <a:lnTo>
                    <a:pt x="1106" y="232"/>
                  </a:lnTo>
                  <a:lnTo>
                    <a:pt x="1107" y="238"/>
                  </a:lnTo>
                  <a:lnTo>
                    <a:pt x="1109" y="243"/>
                  </a:lnTo>
                  <a:lnTo>
                    <a:pt x="1111" y="249"/>
                  </a:lnTo>
                  <a:lnTo>
                    <a:pt x="1110" y="256"/>
                  </a:lnTo>
                  <a:lnTo>
                    <a:pt x="1108" y="251"/>
                  </a:lnTo>
                  <a:lnTo>
                    <a:pt x="1103" y="235"/>
                  </a:lnTo>
                  <a:lnTo>
                    <a:pt x="1098" y="227"/>
                  </a:lnTo>
                  <a:lnTo>
                    <a:pt x="1096" y="223"/>
                  </a:lnTo>
                  <a:lnTo>
                    <a:pt x="1090" y="219"/>
                  </a:lnTo>
                  <a:lnTo>
                    <a:pt x="1089" y="214"/>
                  </a:lnTo>
                  <a:lnTo>
                    <a:pt x="1086" y="203"/>
                  </a:lnTo>
                  <a:lnTo>
                    <a:pt x="1084" y="198"/>
                  </a:lnTo>
                  <a:lnTo>
                    <a:pt x="1078" y="189"/>
                  </a:lnTo>
                  <a:lnTo>
                    <a:pt x="1076" y="187"/>
                  </a:lnTo>
                  <a:lnTo>
                    <a:pt x="1073" y="185"/>
                  </a:lnTo>
                  <a:lnTo>
                    <a:pt x="1068" y="178"/>
                  </a:lnTo>
                  <a:lnTo>
                    <a:pt x="1065" y="176"/>
                  </a:lnTo>
                  <a:lnTo>
                    <a:pt x="1059" y="177"/>
                  </a:lnTo>
                  <a:lnTo>
                    <a:pt x="1057" y="176"/>
                  </a:lnTo>
                  <a:lnTo>
                    <a:pt x="1055" y="173"/>
                  </a:lnTo>
                  <a:lnTo>
                    <a:pt x="1054" y="166"/>
                  </a:lnTo>
                  <a:lnTo>
                    <a:pt x="1052" y="163"/>
                  </a:lnTo>
                  <a:lnTo>
                    <a:pt x="1046" y="159"/>
                  </a:lnTo>
                  <a:lnTo>
                    <a:pt x="1030" y="163"/>
                  </a:lnTo>
                  <a:lnTo>
                    <a:pt x="1024" y="160"/>
                  </a:lnTo>
                  <a:lnTo>
                    <a:pt x="1025" y="159"/>
                  </a:lnTo>
                  <a:lnTo>
                    <a:pt x="1025" y="159"/>
                  </a:lnTo>
                  <a:lnTo>
                    <a:pt x="1025" y="158"/>
                  </a:lnTo>
                  <a:lnTo>
                    <a:pt x="1025" y="157"/>
                  </a:lnTo>
                  <a:lnTo>
                    <a:pt x="1023" y="157"/>
                  </a:lnTo>
                  <a:lnTo>
                    <a:pt x="1016" y="157"/>
                  </a:lnTo>
                  <a:lnTo>
                    <a:pt x="1014" y="157"/>
                  </a:lnTo>
                  <a:lnTo>
                    <a:pt x="1010" y="153"/>
                  </a:lnTo>
                  <a:lnTo>
                    <a:pt x="1008" y="152"/>
                  </a:lnTo>
                  <a:lnTo>
                    <a:pt x="994" y="151"/>
                  </a:lnTo>
                  <a:lnTo>
                    <a:pt x="991" y="152"/>
                  </a:lnTo>
                  <a:lnTo>
                    <a:pt x="987" y="163"/>
                  </a:lnTo>
                  <a:lnTo>
                    <a:pt x="986" y="182"/>
                  </a:lnTo>
                  <a:lnTo>
                    <a:pt x="988" y="200"/>
                  </a:lnTo>
                  <a:lnTo>
                    <a:pt x="993" y="211"/>
                  </a:lnTo>
                  <a:lnTo>
                    <a:pt x="993" y="213"/>
                  </a:lnTo>
                  <a:lnTo>
                    <a:pt x="991" y="213"/>
                  </a:lnTo>
                  <a:lnTo>
                    <a:pt x="991" y="216"/>
                  </a:lnTo>
                  <a:lnTo>
                    <a:pt x="993" y="220"/>
                  </a:lnTo>
                  <a:lnTo>
                    <a:pt x="997" y="228"/>
                  </a:lnTo>
                  <a:lnTo>
                    <a:pt x="1001" y="231"/>
                  </a:lnTo>
                  <a:lnTo>
                    <a:pt x="1003" y="235"/>
                  </a:lnTo>
                  <a:lnTo>
                    <a:pt x="1004" y="240"/>
                  </a:lnTo>
                  <a:lnTo>
                    <a:pt x="1002" y="246"/>
                  </a:lnTo>
                  <a:lnTo>
                    <a:pt x="1004" y="249"/>
                  </a:lnTo>
                  <a:lnTo>
                    <a:pt x="1009" y="255"/>
                  </a:lnTo>
                  <a:lnTo>
                    <a:pt x="1011" y="256"/>
                  </a:lnTo>
                  <a:lnTo>
                    <a:pt x="1012" y="256"/>
                  </a:lnTo>
                  <a:lnTo>
                    <a:pt x="1013" y="252"/>
                  </a:lnTo>
                  <a:lnTo>
                    <a:pt x="1014" y="251"/>
                  </a:lnTo>
                  <a:lnTo>
                    <a:pt x="1015" y="251"/>
                  </a:lnTo>
                  <a:lnTo>
                    <a:pt x="1015" y="252"/>
                  </a:lnTo>
                  <a:lnTo>
                    <a:pt x="1015" y="253"/>
                  </a:lnTo>
                  <a:lnTo>
                    <a:pt x="1015" y="253"/>
                  </a:lnTo>
                  <a:lnTo>
                    <a:pt x="1017" y="255"/>
                  </a:lnTo>
                  <a:lnTo>
                    <a:pt x="1020" y="262"/>
                  </a:lnTo>
                  <a:lnTo>
                    <a:pt x="1020" y="262"/>
                  </a:lnTo>
                  <a:lnTo>
                    <a:pt x="1022" y="261"/>
                  </a:lnTo>
                  <a:lnTo>
                    <a:pt x="1023" y="261"/>
                  </a:lnTo>
                  <a:lnTo>
                    <a:pt x="1023" y="263"/>
                  </a:lnTo>
                  <a:lnTo>
                    <a:pt x="1023" y="268"/>
                  </a:lnTo>
                  <a:lnTo>
                    <a:pt x="1023" y="270"/>
                  </a:lnTo>
                  <a:lnTo>
                    <a:pt x="1028" y="288"/>
                  </a:lnTo>
                  <a:lnTo>
                    <a:pt x="1028" y="294"/>
                  </a:lnTo>
                  <a:lnTo>
                    <a:pt x="1027" y="301"/>
                  </a:lnTo>
                  <a:lnTo>
                    <a:pt x="1027" y="303"/>
                  </a:lnTo>
                  <a:lnTo>
                    <a:pt x="1024" y="305"/>
                  </a:lnTo>
                  <a:lnTo>
                    <a:pt x="1023" y="307"/>
                  </a:lnTo>
                  <a:lnTo>
                    <a:pt x="1022" y="311"/>
                  </a:lnTo>
                  <a:lnTo>
                    <a:pt x="1023" y="314"/>
                  </a:lnTo>
                  <a:lnTo>
                    <a:pt x="1023" y="316"/>
                  </a:lnTo>
                  <a:lnTo>
                    <a:pt x="1023" y="320"/>
                  </a:lnTo>
                  <a:lnTo>
                    <a:pt x="1023" y="322"/>
                  </a:lnTo>
                  <a:lnTo>
                    <a:pt x="1022" y="324"/>
                  </a:lnTo>
                  <a:lnTo>
                    <a:pt x="1021" y="326"/>
                  </a:lnTo>
                  <a:lnTo>
                    <a:pt x="1022" y="330"/>
                  </a:lnTo>
                  <a:lnTo>
                    <a:pt x="1023" y="332"/>
                  </a:lnTo>
                  <a:lnTo>
                    <a:pt x="1026" y="334"/>
                  </a:lnTo>
                  <a:lnTo>
                    <a:pt x="1027" y="336"/>
                  </a:lnTo>
                  <a:lnTo>
                    <a:pt x="1029" y="341"/>
                  </a:lnTo>
                  <a:lnTo>
                    <a:pt x="1030" y="348"/>
                  </a:lnTo>
                  <a:lnTo>
                    <a:pt x="1030" y="355"/>
                  </a:lnTo>
                  <a:lnTo>
                    <a:pt x="1029" y="359"/>
                  </a:lnTo>
                  <a:lnTo>
                    <a:pt x="1026" y="359"/>
                  </a:lnTo>
                  <a:lnTo>
                    <a:pt x="1024" y="353"/>
                  </a:lnTo>
                  <a:lnTo>
                    <a:pt x="1023" y="346"/>
                  </a:lnTo>
                  <a:lnTo>
                    <a:pt x="1024" y="341"/>
                  </a:lnTo>
                  <a:lnTo>
                    <a:pt x="1016" y="333"/>
                  </a:lnTo>
                  <a:lnTo>
                    <a:pt x="1012" y="326"/>
                  </a:lnTo>
                  <a:lnTo>
                    <a:pt x="1010" y="325"/>
                  </a:lnTo>
                  <a:lnTo>
                    <a:pt x="1010" y="323"/>
                  </a:lnTo>
                  <a:lnTo>
                    <a:pt x="1010" y="307"/>
                  </a:lnTo>
                  <a:lnTo>
                    <a:pt x="1009" y="304"/>
                  </a:lnTo>
                  <a:lnTo>
                    <a:pt x="1006" y="297"/>
                  </a:lnTo>
                  <a:lnTo>
                    <a:pt x="1005" y="292"/>
                  </a:lnTo>
                  <a:lnTo>
                    <a:pt x="1006" y="281"/>
                  </a:lnTo>
                  <a:lnTo>
                    <a:pt x="1005" y="278"/>
                  </a:lnTo>
                  <a:lnTo>
                    <a:pt x="1004" y="274"/>
                  </a:lnTo>
                  <a:lnTo>
                    <a:pt x="1003" y="272"/>
                  </a:lnTo>
                  <a:lnTo>
                    <a:pt x="1001" y="272"/>
                  </a:lnTo>
                  <a:lnTo>
                    <a:pt x="999" y="272"/>
                  </a:lnTo>
                  <a:lnTo>
                    <a:pt x="997" y="272"/>
                  </a:lnTo>
                  <a:lnTo>
                    <a:pt x="997" y="271"/>
                  </a:lnTo>
                  <a:lnTo>
                    <a:pt x="996" y="269"/>
                  </a:lnTo>
                  <a:lnTo>
                    <a:pt x="995" y="264"/>
                  </a:lnTo>
                  <a:lnTo>
                    <a:pt x="994" y="259"/>
                  </a:lnTo>
                  <a:lnTo>
                    <a:pt x="993" y="255"/>
                  </a:lnTo>
                  <a:lnTo>
                    <a:pt x="989" y="252"/>
                  </a:lnTo>
                  <a:lnTo>
                    <a:pt x="987" y="246"/>
                  </a:lnTo>
                  <a:lnTo>
                    <a:pt x="985" y="243"/>
                  </a:lnTo>
                  <a:lnTo>
                    <a:pt x="983" y="242"/>
                  </a:lnTo>
                  <a:lnTo>
                    <a:pt x="971" y="240"/>
                  </a:lnTo>
                  <a:lnTo>
                    <a:pt x="964" y="235"/>
                  </a:lnTo>
                  <a:lnTo>
                    <a:pt x="953" y="232"/>
                  </a:lnTo>
                  <a:lnTo>
                    <a:pt x="952" y="229"/>
                  </a:lnTo>
                  <a:lnTo>
                    <a:pt x="954" y="222"/>
                  </a:lnTo>
                  <a:lnTo>
                    <a:pt x="957" y="211"/>
                  </a:lnTo>
                  <a:lnTo>
                    <a:pt x="955" y="205"/>
                  </a:lnTo>
                  <a:lnTo>
                    <a:pt x="954" y="197"/>
                  </a:lnTo>
                  <a:lnTo>
                    <a:pt x="952" y="190"/>
                  </a:lnTo>
                  <a:lnTo>
                    <a:pt x="950" y="187"/>
                  </a:lnTo>
                  <a:lnTo>
                    <a:pt x="948" y="186"/>
                  </a:lnTo>
                  <a:lnTo>
                    <a:pt x="946" y="183"/>
                  </a:lnTo>
                  <a:lnTo>
                    <a:pt x="944" y="181"/>
                  </a:lnTo>
                  <a:lnTo>
                    <a:pt x="942" y="183"/>
                  </a:lnTo>
                  <a:lnTo>
                    <a:pt x="940" y="185"/>
                  </a:lnTo>
                  <a:lnTo>
                    <a:pt x="938" y="186"/>
                  </a:lnTo>
                  <a:lnTo>
                    <a:pt x="936" y="187"/>
                  </a:lnTo>
                  <a:lnTo>
                    <a:pt x="934" y="187"/>
                  </a:lnTo>
                  <a:lnTo>
                    <a:pt x="938" y="177"/>
                  </a:lnTo>
                  <a:lnTo>
                    <a:pt x="940" y="171"/>
                  </a:lnTo>
                  <a:lnTo>
                    <a:pt x="939" y="168"/>
                  </a:lnTo>
                  <a:lnTo>
                    <a:pt x="936" y="165"/>
                  </a:lnTo>
                  <a:lnTo>
                    <a:pt x="932" y="160"/>
                  </a:lnTo>
                  <a:lnTo>
                    <a:pt x="929" y="156"/>
                  </a:lnTo>
                  <a:lnTo>
                    <a:pt x="924" y="154"/>
                  </a:lnTo>
                  <a:lnTo>
                    <a:pt x="912" y="167"/>
                  </a:lnTo>
                  <a:lnTo>
                    <a:pt x="911" y="167"/>
                  </a:lnTo>
                  <a:lnTo>
                    <a:pt x="911" y="161"/>
                  </a:lnTo>
                  <a:lnTo>
                    <a:pt x="914" y="152"/>
                  </a:lnTo>
                  <a:lnTo>
                    <a:pt x="915" y="146"/>
                  </a:lnTo>
                  <a:lnTo>
                    <a:pt x="907" y="143"/>
                  </a:lnTo>
                  <a:lnTo>
                    <a:pt x="903" y="142"/>
                  </a:lnTo>
                  <a:lnTo>
                    <a:pt x="900" y="144"/>
                  </a:lnTo>
                  <a:lnTo>
                    <a:pt x="901" y="145"/>
                  </a:lnTo>
                  <a:lnTo>
                    <a:pt x="901" y="149"/>
                  </a:lnTo>
                  <a:lnTo>
                    <a:pt x="898" y="158"/>
                  </a:lnTo>
                  <a:lnTo>
                    <a:pt x="896" y="161"/>
                  </a:lnTo>
                  <a:lnTo>
                    <a:pt x="893" y="163"/>
                  </a:lnTo>
                  <a:lnTo>
                    <a:pt x="894" y="150"/>
                  </a:lnTo>
                  <a:lnTo>
                    <a:pt x="889" y="148"/>
                  </a:lnTo>
                  <a:lnTo>
                    <a:pt x="874" y="153"/>
                  </a:lnTo>
                  <a:lnTo>
                    <a:pt x="869" y="158"/>
                  </a:lnTo>
                  <a:lnTo>
                    <a:pt x="867" y="160"/>
                  </a:lnTo>
                  <a:lnTo>
                    <a:pt x="866" y="164"/>
                  </a:lnTo>
                  <a:lnTo>
                    <a:pt x="865" y="173"/>
                  </a:lnTo>
                  <a:lnTo>
                    <a:pt x="863" y="176"/>
                  </a:lnTo>
                  <a:lnTo>
                    <a:pt x="863" y="178"/>
                  </a:lnTo>
                  <a:lnTo>
                    <a:pt x="864" y="179"/>
                  </a:lnTo>
                  <a:lnTo>
                    <a:pt x="865" y="181"/>
                  </a:lnTo>
                  <a:lnTo>
                    <a:pt x="866" y="182"/>
                  </a:lnTo>
                  <a:lnTo>
                    <a:pt x="866" y="184"/>
                  </a:lnTo>
                  <a:lnTo>
                    <a:pt x="865" y="184"/>
                  </a:lnTo>
                  <a:lnTo>
                    <a:pt x="866" y="188"/>
                  </a:lnTo>
                  <a:lnTo>
                    <a:pt x="867" y="190"/>
                  </a:lnTo>
                  <a:lnTo>
                    <a:pt x="868" y="193"/>
                  </a:lnTo>
                  <a:lnTo>
                    <a:pt x="871" y="195"/>
                  </a:lnTo>
                  <a:lnTo>
                    <a:pt x="867" y="194"/>
                  </a:lnTo>
                  <a:lnTo>
                    <a:pt x="862" y="188"/>
                  </a:lnTo>
                  <a:lnTo>
                    <a:pt x="859" y="187"/>
                  </a:lnTo>
                  <a:lnTo>
                    <a:pt x="859" y="183"/>
                  </a:lnTo>
                  <a:lnTo>
                    <a:pt x="860" y="182"/>
                  </a:lnTo>
                  <a:lnTo>
                    <a:pt x="859" y="181"/>
                  </a:lnTo>
                  <a:lnTo>
                    <a:pt x="857" y="182"/>
                  </a:lnTo>
                  <a:lnTo>
                    <a:pt x="856" y="183"/>
                  </a:lnTo>
                  <a:lnTo>
                    <a:pt x="854" y="184"/>
                  </a:lnTo>
                  <a:lnTo>
                    <a:pt x="855" y="190"/>
                  </a:lnTo>
                  <a:lnTo>
                    <a:pt x="851" y="190"/>
                  </a:lnTo>
                  <a:lnTo>
                    <a:pt x="844" y="184"/>
                  </a:lnTo>
                  <a:lnTo>
                    <a:pt x="822" y="188"/>
                  </a:lnTo>
                  <a:lnTo>
                    <a:pt x="813" y="193"/>
                  </a:lnTo>
                  <a:lnTo>
                    <a:pt x="810" y="196"/>
                  </a:lnTo>
                  <a:lnTo>
                    <a:pt x="809" y="199"/>
                  </a:lnTo>
                  <a:lnTo>
                    <a:pt x="808" y="200"/>
                  </a:lnTo>
                  <a:lnTo>
                    <a:pt x="808" y="202"/>
                  </a:lnTo>
                  <a:lnTo>
                    <a:pt x="810" y="210"/>
                  </a:lnTo>
                  <a:lnTo>
                    <a:pt x="811" y="214"/>
                  </a:lnTo>
                  <a:lnTo>
                    <a:pt x="812" y="217"/>
                  </a:lnTo>
                  <a:lnTo>
                    <a:pt x="814" y="219"/>
                  </a:lnTo>
                  <a:lnTo>
                    <a:pt x="812" y="224"/>
                  </a:lnTo>
                  <a:lnTo>
                    <a:pt x="809" y="227"/>
                  </a:lnTo>
                  <a:lnTo>
                    <a:pt x="806" y="229"/>
                  </a:lnTo>
                  <a:lnTo>
                    <a:pt x="803" y="230"/>
                  </a:lnTo>
                  <a:lnTo>
                    <a:pt x="801" y="231"/>
                  </a:lnTo>
                  <a:lnTo>
                    <a:pt x="800" y="234"/>
                  </a:lnTo>
                  <a:lnTo>
                    <a:pt x="799" y="238"/>
                  </a:lnTo>
                  <a:lnTo>
                    <a:pt x="799" y="240"/>
                  </a:lnTo>
                  <a:lnTo>
                    <a:pt x="808" y="251"/>
                  </a:lnTo>
                  <a:lnTo>
                    <a:pt x="809" y="253"/>
                  </a:lnTo>
                  <a:lnTo>
                    <a:pt x="813" y="267"/>
                  </a:lnTo>
                  <a:lnTo>
                    <a:pt x="815" y="276"/>
                  </a:lnTo>
                  <a:lnTo>
                    <a:pt x="816" y="286"/>
                  </a:lnTo>
                  <a:lnTo>
                    <a:pt x="816" y="295"/>
                  </a:lnTo>
                  <a:lnTo>
                    <a:pt x="815" y="307"/>
                  </a:lnTo>
                  <a:lnTo>
                    <a:pt x="814" y="318"/>
                  </a:lnTo>
                  <a:lnTo>
                    <a:pt x="812" y="323"/>
                  </a:lnTo>
                  <a:lnTo>
                    <a:pt x="810" y="325"/>
                  </a:lnTo>
                  <a:lnTo>
                    <a:pt x="807" y="327"/>
                  </a:lnTo>
                  <a:lnTo>
                    <a:pt x="806" y="327"/>
                  </a:lnTo>
                  <a:lnTo>
                    <a:pt x="805" y="324"/>
                  </a:lnTo>
                  <a:lnTo>
                    <a:pt x="806" y="322"/>
                  </a:lnTo>
                  <a:lnTo>
                    <a:pt x="807" y="321"/>
                  </a:lnTo>
                  <a:lnTo>
                    <a:pt x="809" y="320"/>
                  </a:lnTo>
                  <a:lnTo>
                    <a:pt x="804" y="320"/>
                  </a:lnTo>
                  <a:lnTo>
                    <a:pt x="802" y="320"/>
                  </a:lnTo>
                  <a:lnTo>
                    <a:pt x="801" y="319"/>
                  </a:lnTo>
                  <a:lnTo>
                    <a:pt x="799" y="315"/>
                  </a:lnTo>
                  <a:lnTo>
                    <a:pt x="798" y="315"/>
                  </a:lnTo>
                  <a:lnTo>
                    <a:pt x="794" y="314"/>
                  </a:lnTo>
                  <a:lnTo>
                    <a:pt x="792" y="317"/>
                  </a:lnTo>
                  <a:lnTo>
                    <a:pt x="791" y="325"/>
                  </a:lnTo>
                  <a:lnTo>
                    <a:pt x="788" y="320"/>
                  </a:lnTo>
                  <a:lnTo>
                    <a:pt x="780" y="318"/>
                  </a:lnTo>
                  <a:lnTo>
                    <a:pt x="777" y="313"/>
                  </a:lnTo>
                  <a:lnTo>
                    <a:pt x="776" y="309"/>
                  </a:lnTo>
                  <a:lnTo>
                    <a:pt x="775" y="298"/>
                  </a:lnTo>
                  <a:lnTo>
                    <a:pt x="774" y="294"/>
                  </a:lnTo>
                  <a:lnTo>
                    <a:pt x="773" y="291"/>
                  </a:lnTo>
                  <a:lnTo>
                    <a:pt x="770" y="283"/>
                  </a:lnTo>
                  <a:lnTo>
                    <a:pt x="769" y="281"/>
                  </a:lnTo>
                  <a:lnTo>
                    <a:pt x="769" y="278"/>
                  </a:lnTo>
                  <a:lnTo>
                    <a:pt x="768" y="275"/>
                  </a:lnTo>
                  <a:lnTo>
                    <a:pt x="767" y="272"/>
                  </a:lnTo>
                  <a:lnTo>
                    <a:pt x="766" y="271"/>
                  </a:lnTo>
                  <a:lnTo>
                    <a:pt x="765" y="272"/>
                  </a:lnTo>
                  <a:lnTo>
                    <a:pt x="764" y="271"/>
                  </a:lnTo>
                  <a:lnTo>
                    <a:pt x="762" y="268"/>
                  </a:lnTo>
                  <a:lnTo>
                    <a:pt x="760" y="267"/>
                  </a:lnTo>
                  <a:lnTo>
                    <a:pt x="758" y="267"/>
                  </a:lnTo>
                  <a:lnTo>
                    <a:pt x="751" y="263"/>
                  </a:lnTo>
                  <a:lnTo>
                    <a:pt x="743" y="262"/>
                  </a:lnTo>
                  <a:lnTo>
                    <a:pt x="740" y="259"/>
                  </a:lnTo>
                  <a:lnTo>
                    <a:pt x="741" y="252"/>
                  </a:lnTo>
                  <a:lnTo>
                    <a:pt x="738" y="247"/>
                  </a:lnTo>
                  <a:lnTo>
                    <a:pt x="733" y="243"/>
                  </a:lnTo>
                  <a:lnTo>
                    <a:pt x="731" y="237"/>
                  </a:lnTo>
                  <a:lnTo>
                    <a:pt x="731" y="236"/>
                  </a:lnTo>
                  <a:lnTo>
                    <a:pt x="732" y="233"/>
                  </a:lnTo>
                  <a:lnTo>
                    <a:pt x="732" y="232"/>
                  </a:lnTo>
                  <a:lnTo>
                    <a:pt x="731" y="231"/>
                  </a:lnTo>
                  <a:lnTo>
                    <a:pt x="730" y="228"/>
                  </a:lnTo>
                  <a:lnTo>
                    <a:pt x="729" y="225"/>
                  </a:lnTo>
                  <a:lnTo>
                    <a:pt x="728" y="222"/>
                  </a:lnTo>
                  <a:lnTo>
                    <a:pt x="722" y="209"/>
                  </a:lnTo>
                  <a:lnTo>
                    <a:pt x="720" y="203"/>
                  </a:lnTo>
                  <a:lnTo>
                    <a:pt x="718" y="197"/>
                  </a:lnTo>
                  <a:lnTo>
                    <a:pt x="717" y="194"/>
                  </a:lnTo>
                  <a:lnTo>
                    <a:pt x="715" y="193"/>
                  </a:lnTo>
                  <a:lnTo>
                    <a:pt x="716" y="189"/>
                  </a:lnTo>
                  <a:lnTo>
                    <a:pt x="712" y="187"/>
                  </a:lnTo>
                  <a:lnTo>
                    <a:pt x="709" y="184"/>
                  </a:lnTo>
                  <a:lnTo>
                    <a:pt x="707" y="179"/>
                  </a:lnTo>
                  <a:lnTo>
                    <a:pt x="707" y="171"/>
                  </a:lnTo>
                  <a:lnTo>
                    <a:pt x="703" y="174"/>
                  </a:lnTo>
                  <a:lnTo>
                    <a:pt x="701" y="174"/>
                  </a:lnTo>
                  <a:lnTo>
                    <a:pt x="700" y="174"/>
                  </a:lnTo>
                  <a:lnTo>
                    <a:pt x="692" y="171"/>
                  </a:lnTo>
                  <a:lnTo>
                    <a:pt x="689" y="173"/>
                  </a:lnTo>
                  <a:lnTo>
                    <a:pt x="683" y="180"/>
                  </a:lnTo>
                  <a:lnTo>
                    <a:pt x="681" y="182"/>
                  </a:lnTo>
                  <a:lnTo>
                    <a:pt x="675" y="181"/>
                  </a:lnTo>
                  <a:lnTo>
                    <a:pt x="673" y="182"/>
                  </a:lnTo>
                  <a:lnTo>
                    <a:pt x="671" y="183"/>
                  </a:lnTo>
                  <a:lnTo>
                    <a:pt x="668" y="186"/>
                  </a:lnTo>
                  <a:lnTo>
                    <a:pt x="667" y="187"/>
                  </a:lnTo>
                  <a:lnTo>
                    <a:pt x="660" y="186"/>
                  </a:lnTo>
                  <a:lnTo>
                    <a:pt x="656" y="187"/>
                  </a:lnTo>
                  <a:lnTo>
                    <a:pt x="653" y="189"/>
                  </a:lnTo>
                  <a:lnTo>
                    <a:pt x="655" y="194"/>
                  </a:lnTo>
                  <a:lnTo>
                    <a:pt x="654" y="201"/>
                  </a:lnTo>
                  <a:lnTo>
                    <a:pt x="652" y="207"/>
                  </a:lnTo>
                  <a:lnTo>
                    <a:pt x="650" y="211"/>
                  </a:lnTo>
                  <a:lnTo>
                    <a:pt x="653" y="214"/>
                  </a:lnTo>
                  <a:lnTo>
                    <a:pt x="655" y="218"/>
                  </a:lnTo>
                  <a:lnTo>
                    <a:pt x="657" y="223"/>
                  </a:lnTo>
                  <a:lnTo>
                    <a:pt x="658" y="230"/>
                  </a:lnTo>
                  <a:lnTo>
                    <a:pt x="659" y="243"/>
                  </a:lnTo>
                  <a:lnTo>
                    <a:pt x="660" y="246"/>
                  </a:lnTo>
                  <a:lnTo>
                    <a:pt x="666" y="260"/>
                  </a:lnTo>
                  <a:lnTo>
                    <a:pt x="670" y="273"/>
                  </a:lnTo>
                  <a:lnTo>
                    <a:pt x="672" y="284"/>
                  </a:lnTo>
                  <a:lnTo>
                    <a:pt x="667" y="288"/>
                  </a:lnTo>
                  <a:lnTo>
                    <a:pt x="667" y="291"/>
                  </a:lnTo>
                  <a:lnTo>
                    <a:pt x="671" y="295"/>
                  </a:lnTo>
                  <a:lnTo>
                    <a:pt x="675" y="302"/>
                  </a:lnTo>
                  <a:lnTo>
                    <a:pt x="678" y="311"/>
                  </a:lnTo>
                  <a:lnTo>
                    <a:pt x="679" y="321"/>
                  </a:lnTo>
                  <a:lnTo>
                    <a:pt x="679" y="327"/>
                  </a:lnTo>
                  <a:lnTo>
                    <a:pt x="678" y="333"/>
                  </a:lnTo>
                  <a:lnTo>
                    <a:pt x="677" y="337"/>
                  </a:lnTo>
                  <a:lnTo>
                    <a:pt x="674" y="339"/>
                  </a:lnTo>
                  <a:lnTo>
                    <a:pt x="672" y="341"/>
                  </a:lnTo>
                  <a:lnTo>
                    <a:pt x="673" y="346"/>
                  </a:lnTo>
                  <a:lnTo>
                    <a:pt x="675" y="351"/>
                  </a:lnTo>
                  <a:lnTo>
                    <a:pt x="678" y="352"/>
                  </a:lnTo>
                  <a:lnTo>
                    <a:pt x="675" y="353"/>
                  </a:lnTo>
                  <a:lnTo>
                    <a:pt x="672" y="353"/>
                  </a:lnTo>
                  <a:lnTo>
                    <a:pt x="671" y="354"/>
                  </a:lnTo>
                  <a:lnTo>
                    <a:pt x="670" y="357"/>
                  </a:lnTo>
                  <a:lnTo>
                    <a:pt x="669" y="363"/>
                  </a:lnTo>
                  <a:lnTo>
                    <a:pt x="669" y="366"/>
                  </a:lnTo>
                  <a:lnTo>
                    <a:pt x="667" y="371"/>
                  </a:lnTo>
                  <a:lnTo>
                    <a:pt x="661" y="378"/>
                  </a:lnTo>
                  <a:lnTo>
                    <a:pt x="660" y="383"/>
                  </a:lnTo>
                  <a:lnTo>
                    <a:pt x="662" y="389"/>
                  </a:lnTo>
                  <a:lnTo>
                    <a:pt x="660" y="393"/>
                  </a:lnTo>
                  <a:lnTo>
                    <a:pt x="659" y="398"/>
                  </a:lnTo>
                  <a:lnTo>
                    <a:pt x="660" y="404"/>
                  </a:lnTo>
                  <a:lnTo>
                    <a:pt x="657" y="399"/>
                  </a:lnTo>
                  <a:lnTo>
                    <a:pt x="658" y="382"/>
                  </a:lnTo>
                  <a:lnTo>
                    <a:pt x="656" y="378"/>
                  </a:lnTo>
                  <a:lnTo>
                    <a:pt x="653" y="379"/>
                  </a:lnTo>
                  <a:lnTo>
                    <a:pt x="649" y="383"/>
                  </a:lnTo>
                  <a:lnTo>
                    <a:pt x="647" y="383"/>
                  </a:lnTo>
                  <a:lnTo>
                    <a:pt x="642" y="383"/>
                  </a:lnTo>
                  <a:lnTo>
                    <a:pt x="637" y="386"/>
                  </a:lnTo>
                  <a:lnTo>
                    <a:pt x="639" y="388"/>
                  </a:lnTo>
                  <a:lnTo>
                    <a:pt x="642" y="389"/>
                  </a:lnTo>
                  <a:lnTo>
                    <a:pt x="647" y="388"/>
                  </a:lnTo>
                  <a:lnTo>
                    <a:pt x="649" y="390"/>
                  </a:lnTo>
                  <a:lnTo>
                    <a:pt x="651" y="395"/>
                  </a:lnTo>
                  <a:lnTo>
                    <a:pt x="653" y="396"/>
                  </a:lnTo>
                  <a:lnTo>
                    <a:pt x="651" y="405"/>
                  </a:lnTo>
                  <a:lnTo>
                    <a:pt x="650" y="411"/>
                  </a:lnTo>
                  <a:lnTo>
                    <a:pt x="649" y="415"/>
                  </a:lnTo>
                  <a:lnTo>
                    <a:pt x="646" y="417"/>
                  </a:lnTo>
                  <a:lnTo>
                    <a:pt x="646" y="417"/>
                  </a:lnTo>
                  <a:lnTo>
                    <a:pt x="644" y="418"/>
                  </a:lnTo>
                  <a:lnTo>
                    <a:pt x="642" y="417"/>
                  </a:lnTo>
                  <a:lnTo>
                    <a:pt x="640" y="416"/>
                  </a:lnTo>
                  <a:lnTo>
                    <a:pt x="638" y="415"/>
                  </a:lnTo>
                  <a:lnTo>
                    <a:pt x="636" y="412"/>
                  </a:lnTo>
                  <a:lnTo>
                    <a:pt x="635" y="410"/>
                  </a:lnTo>
                  <a:lnTo>
                    <a:pt x="635" y="408"/>
                  </a:lnTo>
                  <a:lnTo>
                    <a:pt x="634" y="404"/>
                  </a:lnTo>
                  <a:lnTo>
                    <a:pt x="633" y="403"/>
                  </a:lnTo>
                  <a:lnTo>
                    <a:pt x="630" y="402"/>
                  </a:lnTo>
                  <a:lnTo>
                    <a:pt x="629" y="402"/>
                  </a:lnTo>
                  <a:lnTo>
                    <a:pt x="629" y="399"/>
                  </a:lnTo>
                  <a:lnTo>
                    <a:pt x="629" y="397"/>
                  </a:lnTo>
                  <a:lnTo>
                    <a:pt x="630" y="394"/>
                  </a:lnTo>
                  <a:lnTo>
                    <a:pt x="630" y="389"/>
                  </a:lnTo>
                  <a:lnTo>
                    <a:pt x="630" y="387"/>
                  </a:lnTo>
                  <a:lnTo>
                    <a:pt x="629" y="386"/>
                  </a:lnTo>
                  <a:lnTo>
                    <a:pt x="628" y="383"/>
                  </a:lnTo>
                  <a:lnTo>
                    <a:pt x="624" y="380"/>
                  </a:lnTo>
                  <a:lnTo>
                    <a:pt x="622" y="383"/>
                  </a:lnTo>
                  <a:lnTo>
                    <a:pt x="622" y="389"/>
                  </a:lnTo>
                  <a:lnTo>
                    <a:pt x="624" y="396"/>
                  </a:lnTo>
                  <a:lnTo>
                    <a:pt x="620" y="398"/>
                  </a:lnTo>
                  <a:lnTo>
                    <a:pt x="619" y="394"/>
                  </a:lnTo>
                  <a:lnTo>
                    <a:pt x="619" y="387"/>
                  </a:lnTo>
                  <a:lnTo>
                    <a:pt x="620" y="381"/>
                  </a:lnTo>
                  <a:lnTo>
                    <a:pt x="619" y="375"/>
                  </a:lnTo>
                  <a:lnTo>
                    <a:pt x="619" y="367"/>
                  </a:lnTo>
                  <a:lnTo>
                    <a:pt x="620" y="352"/>
                  </a:lnTo>
                  <a:lnTo>
                    <a:pt x="621" y="351"/>
                  </a:lnTo>
                  <a:lnTo>
                    <a:pt x="622" y="351"/>
                  </a:lnTo>
                  <a:lnTo>
                    <a:pt x="622" y="350"/>
                  </a:lnTo>
                  <a:lnTo>
                    <a:pt x="622" y="346"/>
                  </a:lnTo>
                  <a:lnTo>
                    <a:pt x="621" y="346"/>
                  </a:lnTo>
                  <a:lnTo>
                    <a:pt x="619" y="346"/>
                  </a:lnTo>
                  <a:lnTo>
                    <a:pt x="619" y="346"/>
                  </a:lnTo>
                  <a:lnTo>
                    <a:pt x="615" y="342"/>
                  </a:lnTo>
                  <a:lnTo>
                    <a:pt x="614" y="341"/>
                  </a:lnTo>
                  <a:lnTo>
                    <a:pt x="612" y="341"/>
                  </a:lnTo>
                  <a:lnTo>
                    <a:pt x="611" y="345"/>
                  </a:lnTo>
                  <a:lnTo>
                    <a:pt x="609" y="346"/>
                  </a:lnTo>
                  <a:lnTo>
                    <a:pt x="606" y="347"/>
                  </a:lnTo>
                  <a:lnTo>
                    <a:pt x="603" y="349"/>
                  </a:lnTo>
                  <a:lnTo>
                    <a:pt x="593" y="362"/>
                  </a:lnTo>
                  <a:lnTo>
                    <a:pt x="575" y="376"/>
                  </a:lnTo>
                  <a:lnTo>
                    <a:pt x="570" y="386"/>
                  </a:lnTo>
                  <a:lnTo>
                    <a:pt x="570" y="388"/>
                  </a:lnTo>
                  <a:lnTo>
                    <a:pt x="568" y="399"/>
                  </a:lnTo>
                  <a:lnTo>
                    <a:pt x="568" y="401"/>
                  </a:lnTo>
                  <a:lnTo>
                    <a:pt x="566" y="405"/>
                  </a:lnTo>
                  <a:lnTo>
                    <a:pt x="565" y="407"/>
                  </a:lnTo>
                  <a:lnTo>
                    <a:pt x="564" y="413"/>
                  </a:lnTo>
                  <a:lnTo>
                    <a:pt x="565" y="419"/>
                  </a:lnTo>
                  <a:lnTo>
                    <a:pt x="565" y="428"/>
                  </a:lnTo>
                  <a:lnTo>
                    <a:pt x="566" y="439"/>
                  </a:lnTo>
                  <a:lnTo>
                    <a:pt x="569" y="452"/>
                  </a:lnTo>
                  <a:lnTo>
                    <a:pt x="573" y="463"/>
                  </a:lnTo>
                  <a:lnTo>
                    <a:pt x="577" y="472"/>
                  </a:lnTo>
                  <a:lnTo>
                    <a:pt x="576" y="475"/>
                  </a:lnTo>
                  <a:lnTo>
                    <a:pt x="574" y="473"/>
                  </a:lnTo>
                  <a:lnTo>
                    <a:pt x="568" y="471"/>
                  </a:lnTo>
                  <a:lnTo>
                    <a:pt x="567" y="468"/>
                  </a:lnTo>
                  <a:lnTo>
                    <a:pt x="566" y="466"/>
                  </a:lnTo>
                  <a:lnTo>
                    <a:pt x="562" y="457"/>
                  </a:lnTo>
                  <a:lnTo>
                    <a:pt x="557" y="440"/>
                  </a:lnTo>
                  <a:lnTo>
                    <a:pt x="554" y="433"/>
                  </a:lnTo>
                  <a:lnTo>
                    <a:pt x="549" y="431"/>
                  </a:lnTo>
                  <a:lnTo>
                    <a:pt x="547" y="436"/>
                  </a:lnTo>
                  <a:lnTo>
                    <a:pt x="547" y="448"/>
                  </a:lnTo>
                  <a:lnTo>
                    <a:pt x="551" y="477"/>
                  </a:lnTo>
                  <a:lnTo>
                    <a:pt x="551" y="482"/>
                  </a:lnTo>
                  <a:lnTo>
                    <a:pt x="550" y="488"/>
                  </a:lnTo>
                  <a:lnTo>
                    <a:pt x="549" y="490"/>
                  </a:lnTo>
                  <a:lnTo>
                    <a:pt x="547" y="492"/>
                  </a:lnTo>
                  <a:lnTo>
                    <a:pt x="546" y="495"/>
                  </a:lnTo>
                  <a:lnTo>
                    <a:pt x="546" y="498"/>
                  </a:lnTo>
                  <a:lnTo>
                    <a:pt x="546" y="499"/>
                  </a:lnTo>
                  <a:lnTo>
                    <a:pt x="543" y="504"/>
                  </a:lnTo>
                  <a:lnTo>
                    <a:pt x="545" y="507"/>
                  </a:lnTo>
                  <a:lnTo>
                    <a:pt x="547" y="513"/>
                  </a:lnTo>
                  <a:lnTo>
                    <a:pt x="549" y="516"/>
                  </a:lnTo>
                  <a:lnTo>
                    <a:pt x="549" y="519"/>
                  </a:lnTo>
                  <a:lnTo>
                    <a:pt x="550" y="525"/>
                  </a:lnTo>
                  <a:lnTo>
                    <a:pt x="552" y="535"/>
                  </a:lnTo>
                  <a:lnTo>
                    <a:pt x="551" y="540"/>
                  </a:lnTo>
                  <a:lnTo>
                    <a:pt x="549" y="541"/>
                  </a:lnTo>
                  <a:lnTo>
                    <a:pt x="548" y="542"/>
                  </a:lnTo>
                  <a:lnTo>
                    <a:pt x="546" y="540"/>
                  </a:lnTo>
                  <a:lnTo>
                    <a:pt x="546" y="537"/>
                  </a:lnTo>
                  <a:lnTo>
                    <a:pt x="547" y="531"/>
                  </a:lnTo>
                  <a:lnTo>
                    <a:pt x="545" y="523"/>
                  </a:lnTo>
                  <a:lnTo>
                    <a:pt x="542" y="517"/>
                  </a:lnTo>
                  <a:lnTo>
                    <a:pt x="539" y="514"/>
                  </a:lnTo>
                  <a:lnTo>
                    <a:pt x="539" y="513"/>
                  </a:lnTo>
                  <a:lnTo>
                    <a:pt x="539" y="512"/>
                  </a:lnTo>
                  <a:lnTo>
                    <a:pt x="540" y="512"/>
                  </a:lnTo>
                  <a:lnTo>
                    <a:pt x="540" y="511"/>
                  </a:lnTo>
                  <a:lnTo>
                    <a:pt x="538" y="507"/>
                  </a:lnTo>
                  <a:lnTo>
                    <a:pt x="532" y="487"/>
                  </a:lnTo>
                  <a:lnTo>
                    <a:pt x="532" y="484"/>
                  </a:lnTo>
                  <a:lnTo>
                    <a:pt x="532" y="476"/>
                  </a:lnTo>
                  <a:lnTo>
                    <a:pt x="532" y="470"/>
                  </a:lnTo>
                  <a:lnTo>
                    <a:pt x="531" y="462"/>
                  </a:lnTo>
                  <a:lnTo>
                    <a:pt x="531" y="457"/>
                  </a:lnTo>
                  <a:lnTo>
                    <a:pt x="532" y="453"/>
                  </a:lnTo>
                  <a:lnTo>
                    <a:pt x="531" y="450"/>
                  </a:lnTo>
                  <a:lnTo>
                    <a:pt x="529" y="449"/>
                  </a:lnTo>
                  <a:lnTo>
                    <a:pt x="530" y="442"/>
                  </a:lnTo>
                  <a:lnTo>
                    <a:pt x="529" y="439"/>
                  </a:lnTo>
                  <a:lnTo>
                    <a:pt x="523" y="433"/>
                  </a:lnTo>
                  <a:lnTo>
                    <a:pt x="518" y="425"/>
                  </a:lnTo>
                  <a:lnTo>
                    <a:pt x="516" y="423"/>
                  </a:lnTo>
                  <a:lnTo>
                    <a:pt x="512" y="422"/>
                  </a:lnTo>
                  <a:lnTo>
                    <a:pt x="509" y="424"/>
                  </a:lnTo>
                  <a:lnTo>
                    <a:pt x="503" y="429"/>
                  </a:lnTo>
                  <a:lnTo>
                    <a:pt x="487" y="436"/>
                  </a:lnTo>
                  <a:lnTo>
                    <a:pt x="487" y="433"/>
                  </a:lnTo>
                  <a:lnTo>
                    <a:pt x="494" y="430"/>
                  </a:lnTo>
                  <a:lnTo>
                    <a:pt x="504" y="420"/>
                  </a:lnTo>
                  <a:lnTo>
                    <a:pt x="512" y="407"/>
                  </a:lnTo>
                  <a:lnTo>
                    <a:pt x="515" y="393"/>
                  </a:lnTo>
                  <a:lnTo>
                    <a:pt x="512" y="376"/>
                  </a:lnTo>
                  <a:lnTo>
                    <a:pt x="503" y="378"/>
                  </a:lnTo>
                  <a:lnTo>
                    <a:pt x="493" y="387"/>
                  </a:lnTo>
                  <a:lnTo>
                    <a:pt x="486" y="391"/>
                  </a:lnTo>
                  <a:lnTo>
                    <a:pt x="486" y="388"/>
                  </a:lnTo>
                  <a:lnTo>
                    <a:pt x="489" y="385"/>
                  </a:lnTo>
                  <a:lnTo>
                    <a:pt x="497" y="372"/>
                  </a:lnTo>
                  <a:lnTo>
                    <a:pt x="499" y="368"/>
                  </a:lnTo>
                  <a:lnTo>
                    <a:pt x="497" y="363"/>
                  </a:lnTo>
                  <a:lnTo>
                    <a:pt x="492" y="360"/>
                  </a:lnTo>
                  <a:lnTo>
                    <a:pt x="466" y="361"/>
                  </a:lnTo>
                  <a:lnTo>
                    <a:pt x="463" y="358"/>
                  </a:lnTo>
                  <a:lnTo>
                    <a:pt x="462" y="357"/>
                  </a:lnTo>
                  <a:lnTo>
                    <a:pt x="460" y="356"/>
                  </a:lnTo>
                  <a:lnTo>
                    <a:pt x="458" y="353"/>
                  </a:lnTo>
                  <a:lnTo>
                    <a:pt x="458" y="348"/>
                  </a:lnTo>
                  <a:lnTo>
                    <a:pt x="457" y="346"/>
                  </a:lnTo>
                  <a:lnTo>
                    <a:pt x="456" y="344"/>
                  </a:lnTo>
                  <a:lnTo>
                    <a:pt x="453" y="341"/>
                  </a:lnTo>
                  <a:lnTo>
                    <a:pt x="455" y="338"/>
                  </a:lnTo>
                  <a:lnTo>
                    <a:pt x="456" y="335"/>
                  </a:lnTo>
                  <a:lnTo>
                    <a:pt x="457" y="332"/>
                  </a:lnTo>
                  <a:lnTo>
                    <a:pt x="456" y="328"/>
                  </a:lnTo>
                  <a:lnTo>
                    <a:pt x="456" y="327"/>
                  </a:lnTo>
                  <a:lnTo>
                    <a:pt x="452" y="321"/>
                  </a:lnTo>
                  <a:lnTo>
                    <a:pt x="452" y="320"/>
                  </a:lnTo>
                  <a:lnTo>
                    <a:pt x="449" y="317"/>
                  </a:lnTo>
                  <a:lnTo>
                    <a:pt x="442" y="312"/>
                  </a:lnTo>
                  <a:lnTo>
                    <a:pt x="439" y="312"/>
                  </a:lnTo>
                  <a:lnTo>
                    <a:pt x="443" y="309"/>
                  </a:lnTo>
                  <a:lnTo>
                    <a:pt x="448" y="309"/>
                  </a:lnTo>
                  <a:lnTo>
                    <a:pt x="453" y="312"/>
                  </a:lnTo>
                  <a:lnTo>
                    <a:pt x="458" y="317"/>
                  </a:lnTo>
                  <a:lnTo>
                    <a:pt x="458" y="320"/>
                  </a:lnTo>
                  <a:lnTo>
                    <a:pt x="460" y="326"/>
                  </a:lnTo>
                  <a:lnTo>
                    <a:pt x="463" y="331"/>
                  </a:lnTo>
                  <a:lnTo>
                    <a:pt x="466" y="333"/>
                  </a:lnTo>
                  <a:lnTo>
                    <a:pt x="466" y="334"/>
                  </a:lnTo>
                  <a:lnTo>
                    <a:pt x="469" y="339"/>
                  </a:lnTo>
                  <a:lnTo>
                    <a:pt x="470" y="341"/>
                  </a:lnTo>
                  <a:lnTo>
                    <a:pt x="492" y="342"/>
                  </a:lnTo>
                  <a:lnTo>
                    <a:pt x="497" y="339"/>
                  </a:lnTo>
                  <a:lnTo>
                    <a:pt x="510" y="323"/>
                  </a:lnTo>
                  <a:lnTo>
                    <a:pt x="507" y="320"/>
                  </a:lnTo>
                  <a:lnTo>
                    <a:pt x="499" y="315"/>
                  </a:lnTo>
                  <a:lnTo>
                    <a:pt x="496" y="314"/>
                  </a:lnTo>
                  <a:lnTo>
                    <a:pt x="490" y="315"/>
                  </a:lnTo>
                  <a:lnTo>
                    <a:pt x="487" y="315"/>
                  </a:lnTo>
                  <a:lnTo>
                    <a:pt x="487" y="312"/>
                  </a:lnTo>
                  <a:lnTo>
                    <a:pt x="503" y="305"/>
                  </a:lnTo>
                  <a:lnTo>
                    <a:pt x="507" y="301"/>
                  </a:lnTo>
                  <a:lnTo>
                    <a:pt x="510" y="296"/>
                  </a:lnTo>
                  <a:lnTo>
                    <a:pt x="518" y="278"/>
                  </a:lnTo>
                  <a:lnTo>
                    <a:pt x="518" y="275"/>
                  </a:lnTo>
                  <a:lnTo>
                    <a:pt x="511" y="270"/>
                  </a:lnTo>
                  <a:lnTo>
                    <a:pt x="516" y="266"/>
                  </a:lnTo>
                  <a:lnTo>
                    <a:pt x="517" y="261"/>
                  </a:lnTo>
                  <a:lnTo>
                    <a:pt x="517" y="255"/>
                  </a:lnTo>
                  <a:lnTo>
                    <a:pt x="515" y="247"/>
                  </a:lnTo>
                  <a:lnTo>
                    <a:pt x="510" y="243"/>
                  </a:lnTo>
                  <a:lnTo>
                    <a:pt x="493" y="248"/>
                  </a:lnTo>
                  <a:lnTo>
                    <a:pt x="493" y="246"/>
                  </a:lnTo>
                  <a:lnTo>
                    <a:pt x="500" y="241"/>
                  </a:lnTo>
                  <a:lnTo>
                    <a:pt x="502" y="237"/>
                  </a:lnTo>
                  <a:lnTo>
                    <a:pt x="497" y="235"/>
                  </a:lnTo>
                  <a:lnTo>
                    <a:pt x="482" y="237"/>
                  </a:lnTo>
                  <a:lnTo>
                    <a:pt x="473" y="242"/>
                  </a:lnTo>
                  <a:lnTo>
                    <a:pt x="469" y="243"/>
                  </a:lnTo>
                  <a:lnTo>
                    <a:pt x="466" y="237"/>
                  </a:lnTo>
                  <a:lnTo>
                    <a:pt x="468" y="237"/>
                  </a:lnTo>
                  <a:lnTo>
                    <a:pt x="485" y="232"/>
                  </a:lnTo>
                  <a:lnTo>
                    <a:pt x="489" y="229"/>
                  </a:lnTo>
                  <a:lnTo>
                    <a:pt x="512" y="227"/>
                  </a:lnTo>
                  <a:lnTo>
                    <a:pt x="510" y="219"/>
                  </a:lnTo>
                  <a:lnTo>
                    <a:pt x="507" y="214"/>
                  </a:lnTo>
                  <a:lnTo>
                    <a:pt x="503" y="212"/>
                  </a:lnTo>
                  <a:lnTo>
                    <a:pt x="499" y="211"/>
                  </a:lnTo>
                  <a:lnTo>
                    <a:pt x="482" y="215"/>
                  </a:lnTo>
                  <a:lnTo>
                    <a:pt x="478" y="212"/>
                  </a:lnTo>
                  <a:lnTo>
                    <a:pt x="474" y="207"/>
                  </a:lnTo>
                  <a:lnTo>
                    <a:pt x="474" y="204"/>
                  </a:lnTo>
                  <a:lnTo>
                    <a:pt x="475" y="200"/>
                  </a:lnTo>
                  <a:lnTo>
                    <a:pt x="476" y="200"/>
                  </a:lnTo>
                  <a:lnTo>
                    <a:pt x="480" y="197"/>
                  </a:lnTo>
                  <a:lnTo>
                    <a:pt x="482" y="194"/>
                  </a:lnTo>
                  <a:lnTo>
                    <a:pt x="479" y="193"/>
                  </a:lnTo>
                  <a:lnTo>
                    <a:pt x="478" y="191"/>
                  </a:lnTo>
                  <a:lnTo>
                    <a:pt x="477" y="188"/>
                  </a:lnTo>
                  <a:lnTo>
                    <a:pt x="477" y="185"/>
                  </a:lnTo>
                  <a:lnTo>
                    <a:pt x="475" y="184"/>
                  </a:lnTo>
                  <a:lnTo>
                    <a:pt x="468" y="184"/>
                  </a:lnTo>
                  <a:lnTo>
                    <a:pt x="463" y="187"/>
                  </a:lnTo>
                  <a:lnTo>
                    <a:pt x="461" y="189"/>
                  </a:lnTo>
                  <a:lnTo>
                    <a:pt x="464" y="197"/>
                  </a:lnTo>
                  <a:lnTo>
                    <a:pt x="464" y="200"/>
                  </a:lnTo>
                  <a:lnTo>
                    <a:pt x="464" y="207"/>
                  </a:lnTo>
                  <a:lnTo>
                    <a:pt x="463" y="209"/>
                  </a:lnTo>
                  <a:lnTo>
                    <a:pt x="461" y="211"/>
                  </a:lnTo>
                  <a:lnTo>
                    <a:pt x="458" y="213"/>
                  </a:lnTo>
                  <a:lnTo>
                    <a:pt x="456" y="213"/>
                  </a:lnTo>
                  <a:lnTo>
                    <a:pt x="458" y="209"/>
                  </a:lnTo>
                  <a:lnTo>
                    <a:pt x="459" y="205"/>
                  </a:lnTo>
                  <a:lnTo>
                    <a:pt x="461" y="200"/>
                  </a:lnTo>
                  <a:lnTo>
                    <a:pt x="461" y="195"/>
                  </a:lnTo>
                  <a:lnTo>
                    <a:pt x="458" y="192"/>
                  </a:lnTo>
                  <a:lnTo>
                    <a:pt x="456" y="193"/>
                  </a:lnTo>
                  <a:lnTo>
                    <a:pt x="453" y="194"/>
                  </a:lnTo>
                  <a:lnTo>
                    <a:pt x="451" y="195"/>
                  </a:lnTo>
                  <a:lnTo>
                    <a:pt x="449" y="193"/>
                  </a:lnTo>
                  <a:lnTo>
                    <a:pt x="448" y="190"/>
                  </a:lnTo>
                  <a:lnTo>
                    <a:pt x="447" y="183"/>
                  </a:lnTo>
                  <a:lnTo>
                    <a:pt x="447" y="176"/>
                  </a:lnTo>
                  <a:lnTo>
                    <a:pt x="447" y="176"/>
                  </a:lnTo>
                  <a:lnTo>
                    <a:pt x="446" y="174"/>
                  </a:lnTo>
                  <a:lnTo>
                    <a:pt x="445" y="170"/>
                  </a:lnTo>
                  <a:lnTo>
                    <a:pt x="444" y="168"/>
                  </a:lnTo>
                  <a:lnTo>
                    <a:pt x="447" y="166"/>
                  </a:lnTo>
                  <a:lnTo>
                    <a:pt x="447" y="161"/>
                  </a:lnTo>
                  <a:lnTo>
                    <a:pt x="445" y="156"/>
                  </a:lnTo>
                  <a:lnTo>
                    <a:pt x="442" y="154"/>
                  </a:lnTo>
                  <a:lnTo>
                    <a:pt x="443" y="151"/>
                  </a:lnTo>
                  <a:lnTo>
                    <a:pt x="443" y="149"/>
                  </a:lnTo>
                  <a:lnTo>
                    <a:pt x="434" y="144"/>
                  </a:lnTo>
                  <a:lnTo>
                    <a:pt x="432" y="144"/>
                  </a:lnTo>
                  <a:lnTo>
                    <a:pt x="429" y="147"/>
                  </a:lnTo>
                  <a:lnTo>
                    <a:pt x="427" y="146"/>
                  </a:lnTo>
                  <a:lnTo>
                    <a:pt x="426" y="145"/>
                  </a:lnTo>
                  <a:lnTo>
                    <a:pt x="424" y="142"/>
                  </a:lnTo>
                  <a:lnTo>
                    <a:pt x="416" y="136"/>
                  </a:lnTo>
                  <a:lnTo>
                    <a:pt x="414" y="135"/>
                  </a:lnTo>
                  <a:lnTo>
                    <a:pt x="412" y="137"/>
                  </a:lnTo>
                  <a:lnTo>
                    <a:pt x="409" y="139"/>
                  </a:lnTo>
                  <a:lnTo>
                    <a:pt x="407" y="140"/>
                  </a:lnTo>
                  <a:lnTo>
                    <a:pt x="405" y="139"/>
                  </a:lnTo>
                  <a:lnTo>
                    <a:pt x="414" y="130"/>
                  </a:lnTo>
                  <a:lnTo>
                    <a:pt x="416" y="128"/>
                  </a:lnTo>
                  <a:lnTo>
                    <a:pt x="410" y="118"/>
                  </a:lnTo>
                  <a:lnTo>
                    <a:pt x="409" y="117"/>
                  </a:lnTo>
                  <a:lnTo>
                    <a:pt x="408" y="115"/>
                  </a:lnTo>
                  <a:lnTo>
                    <a:pt x="407" y="114"/>
                  </a:lnTo>
                  <a:lnTo>
                    <a:pt x="405" y="114"/>
                  </a:lnTo>
                  <a:lnTo>
                    <a:pt x="404" y="117"/>
                  </a:lnTo>
                  <a:lnTo>
                    <a:pt x="401" y="116"/>
                  </a:lnTo>
                  <a:lnTo>
                    <a:pt x="390" y="117"/>
                  </a:lnTo>
                  <a:lnTo>
                    <a:pt x="391" y="111"/>
                  </a:lnTo>
                  <a:lnTo>
                    <a:pt x="390" y="109"/>
                  </a:lnTo>
                  <a:lnTo>
                    <a:pt x="387" y="109"/>
                  </a:lnTo>
                  <a:lnTo>
                    <a:pt x="385" y="114"/>
                  </a:lnTo>
                  <a:lnTo>
                    <a:pt x="383" y="117"/>
                  </a:lnTo>
                  <a:lnTo>
                    <a:pt x="382" y="116"/>
                  </a:lnTo>
                  <a:lnTo>
                    <a:pt x="380" y="113"/>
                  </a:lnTo>
                  <a:lnTo>
                    <a:pt x="379" y="111"/>
                  </a:lnTo>
                  <a:lnTo>
                    <a:pt x="377" y="111"/>
                  </a:lnTo>
                  <a:lnTo>
                    <a:pt x="374" y="113"/>
                  </a:lnTo>
                  <a:lnTo>
                    <a:pt x="371" y="114"/>
                  </a:lnTo>
                  <a:lnTo>
                    <a:pt x="369" y="117"/>
                  </a:lnTo>
                  <a:lnTo>
                    <a:pt x="367" y="114"/>
                  </a:lnTo>
                  <a:lnTo>
                    <a:pt x="367" y="111"/>
                  </a:lnTo>
                  <a:lnTo>
                    <a:pt x="370" y="109"/>
                  </a:lnTo>
                  <a:lnTo>
                    <a:pt x="370" y="105"/>
                  </a:lnTo>
                  <a:lnTo>
                    <a:pt x="368" y="103"/>
                  </a:lnTo>
                  <a:lnTo>
                    <a:pt x="367" y="101"/>
                  </a:lnTo>
                  <a:lnTo>
                    <a:pt x="367" y="97"/>
                  </a:lnTo>
                  <a:lnTo>
                    <a:pt x="367" y="93"/>
                  </a:lnTo>
                  <a:lnTo>
                    <a:pt x="369" y="91"/>
                  </a:lnTo>
                  <a:lnTo>
                    <a:pt x="371" y="92"/>
                  </a:lnTo>
                  <a:lnTo>
                    <a:pt x="371" y="90"/>
                  </a:lnTo>
                  <a:lnTo>
                    <a:pt x="365" y="88"/>
                  </a:lnTo>
                  <a:lnTo>
                    <a:pt x="363" y="86"/>
                  </a:lnTo>
                  <a:lnTo>
                    <a:pt x="365" y="82"/>
                  </a:lnTo>
                  <a:lnTo>
                    <a:pt x="361" y="75"/>
                  </a:lnTo>
                  <a:lnTo>
                    <a:pt x="348" y="67"/>
                  </a:lnTo>
                  <a:lnTo>
                    <a:pt x="345" y="61"/>
                  </a:lnTo>
                  <a:lnTo>
                    <a:pt x="344" y="52"/>
                  </a:lnTo>
                  <a:lnTo>
                    <a:pt x="340" y="44"/>
                  </a:lnTo>
                  <a:lnTo>
                    <a:pt x="335" y="39"/>
                  </a:lnTo>
                  <a:lnTo>
                    <a:pt x="330" y="38"/>
                  </a:lnTo>
                  <a:lnTo>
                    <a:pt x="331" y="42"/>
                  </a:lnTo>
                  <a:lnTo>
                    <a:pt x="336" y="45"/>
                  </a:lnTo>
                  <a:lnTo>
                    <a:pt x="337" y="49"/>
                  </a:lnTo>
                  <a:lnTo>
                    <a:pt x="336" y="54"/>
                  </a:lnTo>
                  <a:lnTo>
                    <a:pt x="334" y="54"/>
                  </a:lnTo>
                  <a:lnTo>
                    <a:pt x="323" y="49"/>
                  </a:lnTo>
                  <a:lnTo>
                    <a:pt x="318" y="43"/>
                  </a:lnTo>
                  <a:lnTo>
                    <a:pt x="312" y="39"/>
                  </a:lnTo>
                  <a:lnTo>
                    <a:pt x="306" y="41"/>
                  </a:lnTo>
                  <a:lnTo>
                    <a:pt x="307" y="45"/>
                  </a:lnTo>
                  <a:lnTo>
                    <a:pt x="307" y="46"/>
                  </a:lnTo>
                  <a:lnTo>
                    <a:pt x="303" y="49"/>
                  </a:lnTo>
                  <a:lnTo>
                    <a:pt x="297" y="57"/>
                  </a:lnTo>
                  <a:lnTo>
                    <a:pt x="293" y="57"/>
                  </a:lnTo>
                  <a:lnTo>
                    <a:pt x="290" y="55"/>
                  </a:lnTo>
                  <a:lnTo>
                    <a:pt x="284" y="48"/>
                  </a:lnTo>
                  <a:lnTo>
                    <a:pt x="277" y="45"/>
                  </a:lnTo>
                  <a:lnTo>
                    <a:pt x="272" y="40"/>
                  </a:lnTo>
                  <a:lnTo>
                    <a:pt x="269" y="38"/>
                  </a:lnTo>
                  <a:lnTo>
                    <a:pt x="253" y="38"/>
                  </a:lnTo>
                  <a:lnTo>
                    <a:pt x="261" y="46"/>
                  </a:lnTo>
                  <a:lnTo>
                    <a:pt x="263" y="46"/>
                  </a:lnTo>
                  <a:lnTo>
                    <a:pt x="266" y="49"/>
                  </a:lnTo>
                  <a:lnTo>
                    <a:pt x="267" y="52"/>
                  </a:lnTo>
                  <a:lnTo>
                    <a:pt x="265" y="56"/>
                  </a:lnTo>
                  <a:lnTo>
                    <a:pt x="262" y="55"/>
                  </a:lnTo>
                  <a:lnTo>
                    <a:pt x="261" y="53"/>
                  </a:lnTo>
                  <a:lnTo>
                    <a:pt x="259" y="48"/>
                  </a:lnTo>
                  <a:lnTo>
                    <a:pt x="258" y="46"/>
                  </a:lnTo>
                  <a:lnTo>
                    <a:pt x="257" y="46"/>
                  </a:lnTo>
                  <a:lnTo>
                    <a:pt x="240" y="49"/>
                  </a:lnTo>
                  <a:lnTo>
                    <a:pt x="241" y="51"/>
                  </a:lnTo>
                  <a:lnTo>
                    <a:pt x="242" y="53"/>
                  </a:lnTo>
                  <a:lnTo>
                    <a:pt x="243" y="57"/>
                  </a:lnTo>
                  <a:lnTo>
                    <a:pt x="238" y="55"/>
                  </a:lnTo>
                  <a:lnTo>
                    <a:pt x="233" y="50"/>
                  </a:lnTo>
                  <a:lnTo>
                    <a:pt x="228" y="48"/>
                  </a:lnTo>
                  <a:lnTo>
                    <a:pt x="223" y="52"/>
                  </a:lnTo>
                  <a:lnTo>
                    <a:pt x="227" y="58"/>
                  </a:lnTo>
                  <a:lnTo>
                    <a:pt x="232" y="64"/>
                  </a:lnTo>
                  <a:lnTo>
                    <a:pt x="237" y="67"/>
                  </a:lnTo>
                  <a:lnTo>
                    <a:pt x="241" y="68"/>
                  </a:lnTo>
                  <a:lnTo>
                    <a:pt x="238" y="80"/>
                  </a:lnTo>
                  <a:lnTo>
                    <a:pt x="231" y="81"/>
                  </a:lnTo>
                  <a:lnTo>
                    <a:pt x="223" y="79"/>
                  </a:lnTo>
                  <a:lnTo>
                    <a:pt x="217" y="79"/>
                  </a:lnTo>
                  <a:lnTo>
                    <a:pt x="215" y="83"/>
                  </a:lnTo>
                  <a:lnTo>
                    <a:pt x="216" y="85"/>
                  </a:lnTo>
                  <a:lnTo>
                    <a:pt x="219" y="88"/>
                  </a:lnTo>
                  <a:lnTo>
                    <a:pt x="223" y="94"/>
                  </a:lnTo>
                  <a:lnTo>
                    <a:pt x="229" y="97"/>
                  </a:lnTo>
                  <a:lnTo>
                    <a:pt x="254" y="104"/>
                  </a:lnTo>
                  <a:lnTo>
                    <a:pt x="258" y="99"/>
                  </a:lnTo>
                  <a:lnTo>
                    <a:pt x="260" y="99"/>
                  </a:lnTo>
                  <a:lnTo>
                    <a:pt x="266" y="87"/>
                  </a:lnTo>
                  <a:lnTo>
                    <a:pt x="269" y="84"/>
                  </a:lnTo>
                  <a:lnTo>
                    <a:pt x="271" y="81"/>
                  </a:lnTo>
                  <a:lnTo>
                    <a:pt x="277" y="79"/>
                  </a:lnTo>
                  <a:lnTo>
                    <a:pt x="277" y="82"/>
                  </a:lnTo>
                  <a:lnTo>
                    <a:pt x="275" y="85"/>
                  </a:lnTo>
                  <a:lnTo>
                    <a:pt x="272" y="90"/>
                  </a:lnTo>
                  <a:lnTo>
                    <a:pt x="271" y="95"/>
                  </a:lnTo>
                  <a:lnTo>
                    <a:pt x="273" y="98"/>
                  </a:lnTo>
                  <a:lnTo>
                    <a:pt x="280" y="97"/>
                  </a:lnTo>
                  <a:lnTo>
                    <a:pt x="282" y="95"/>
                  </a:lnTo>
                  <a:lnTo>
                    <a:pt x="295" y="81"/>
                  </a:lnTo>
                  <a:lnTo>
                    <a:pt x="300" y="78"/>
                  </a:lnTo>
                  <a:lnTo>
                    <a:pt x="307" y="76"/>
                  </a:lnTo>
                  <a:lnTo>
                    <a:pt x="300" y="80"/>
                  </a:lnTo>
                  <a:lnTo>
                    <a:pt x="297" y="82"/>
                  </a:lnTo>
                  <a:lnTo>
                    <a:pt x="297" y="85"/>
                  </a:lnTo>
                  <a:lnTo>
                    <a:pt x="296" y="92"/>
                  </a:lnTo>
                  <a:lnTo>
                    <a:pt x="295" y="95"/>
                  </a:lnTo>
                  <a:lnTo>
                    <a:pt x="292" y="99"/>
                  </a:lnTo>
                  <a:lnTo>
                    <a:pt x="291" y="102"/>
                  </a:lnTo>
                  <a:lnTo>
                    <a:pt x="291" y="106"/>
                  </a:lnTo>
                  <a:lnTo>
                    <a:pt x="292" y="107"/>
                  </a:lnTo>
                  <a:lnTo>
                    <a:pt x="300" y="109"/>
                  </a:lnTo>
                  <a:lnTo>
                    <a:pt x="309" y="108"/>
                  </a:lnTo>
                  <a:lnTo>
                    <a:pt x="317" y="103"/>
                  </a:lnTo>
                  <a:lnTo>
                    <a:pt x="323" y="96"/>
                  </a:lnTo>
                  <a:lnTo>
                    <a:pt x="326" y="96"/>
                  </a:lnTo>
                  <a:lnTo>
                    <a:pt x="329" y="98"/>
                  </a:lnTo>
                  <a:lnTo>
                    <a:pt x="329" y="101"/>
                  </a:lnTo>
                  <a:lnTo>
                    <a:pt x="326" y="101"/>
                  </a:lnTo>
                  <a:lnTo>
                    <a:pt x="324" y="102"/>
                  </a:lnTo>
                  <a:lnTo>
                    <a:pt x="321" y="105"/>
                  </a:lnTo>
                  <a:lnTo>
                    <a:pt x="320" y="107"/>
                  </a:lnTo>
                  <a:lnTo>
                    <a:pt x="317" y="110"/>
                  </a:lnTo>
                  <a:lnTo>
                    <a:pt x="315" y="110"/>
                  </a:lnTo>
                  <a:lnTo>
                    <a:pt x="314" y="111"/>
                  </a:lnTo>
                  <a:lnTo>
                    <a:pt x="317" y="114"/>
                  </a:lnTo>
                  <a:lnTo>
                    <a:pt x="324" y="118"/>
                  </a:lnTo>
                  <a:lnTo>
                    <a:pt x="345" y="114"/>
                  </a:lnTo>
                  <a:lnTo>
                    <a:pt x="342" y="117"/>
                  </a:lnTo>
                  <a:lnTo>
                    <a:pt x="334" y="118"/>
                  </a:lnTo>
                  <a:lnTo>
                    <a:pt x="327" y="124"/>
                  </a:lnTo>
                  <a:lnTo>
                    <a:pt x="323" y="125"/>
                  </a:lnTo>
                  <a:lnTo>
                    <a:pt x="315" y="125"/>
                  </a:lnTo>
                  <a:lnTo>
                    <a:pt x="316" y="130"/>
                  </a:lnTo>
                  <a:lnTo>
                    <a:pt x="317" y="132"/>
                  </a:lnTo>
                  <a:lnTo>
                    <a:pt x="318" y="133"/>
                  </a:lnTo>
                  <a:lnTo>
                    <a:pt x="316" y="135"/>
                  </a:lnTo>
                  <a:lnTo>
                    <a:pt x="314" y="135"/>
                  </a:lnTo>
                  <a:lnTo>
                    <a:pt x="309" y="130"/>
                  </a:lnTo>
                  <a:lnTo>
                    <a:pt x="309" y="129"/>
                  </a:lnTo>
                  <a:lnTo>
                    <a:pt x="308" y="127"/>
                  </a:lnTo>
                  <a:lnTo>
                    <a:pt x="307" y="125"/>
                  </a:lnTo>
                  <a:lnTo>
                    <a:pt x="306" y="125"/>
                  </a:lnTo>
                  <a:lnTo>
                    <a:pt x="301" y="125"/>
                  </a:lnTo>
                  <a:lnTo>
                    <a:pt x="284" y="119"/>
                  </a:lnTo>
                  <a:lnTo>
                    <a:pt x="279" y="119"/>
                  </a:lnTo>
                  <a:lnTo>
                    <a:pt x="256" y="125"/>
                  </a:lnTo>
                  <a:lnTo>
                    <a:pt x="248" y="130"/>
                  </a:lnTo>
                  <a:lnTo>
                    <a:pt x="255" y="148"/>
                  </a:lnTo>
                  <a:lnTo>
                    <a:pt x="266" y="160"/>
                  </a:lnTo>
                  <a:lnTo>
                    <a:pt x="304" y="176"/>
                  </a:lnTo>
                  <a:lnTo>
                    <a:pt x="313" y="186"/>
                  </a:lnTo>
                  <a:lnTo>
                    <a:pt x="326" y="192"/>
                  </a:lnTo>
                  <a:lnTo>
                    <a:pt x="329" y="191"/>
                  </a:lnTo>
                  <a:lnTo>
                    <a:pt x="332" y="188"/>
                  </a:lnTo>
                  <a:lnTo>
                    <a:pt x="340" y="184"/>
                  </a:lnTo>
                  <a:lnTo>
                    <a:pt x="343" y="184"/>
                  </a:lnTo>
                  <a:lnTo>
                    <a:pt x="341" y="189"/>
                  </a:lnTo>
                  <a:lnTo>
                    <a:pt x="339" y="191"/>
                  </a:lnTo>
                  <a:lnTo>
                    <a:pt x="335" y="191"/>
                  </a:lnTo>
                  <a:lnTo>
                    <a:pt x="332" y="193"/>
                  </a:lnTo>
                  <a:lnTo>
                    <a:pt x="330" y="196"/>
                  </a:lnTo>
                  <a:lnTo>
                    <a:pt x="329" y="201"/>
                  </a:lnTo>
                  <a:lnTo>
                    <a:pt x="328" y="206"/>
                  </a:lnTo>
                  <a:lnTo>
                    <a:pt x="327" y="211"/>
                  </a:lnTo>
                  <a:lnTo>
                    <a:pt x="330" y="212"/>
                  </a:lnTo>
                  <a:lnTo>
                    <a:pt x="333" y="216"/>
                  </a:lnTo>
                  <a:lnTo>
                    <a:pt x="336" y="221"/>
                  </a:lnTo>
                  <a:lnTo>
                    <a:pt x="339" y="227"/>
                  </a:lnTo>
                  <a:lnTo>
                    <a:pt x="340" y="234"/>
                  </a:lnTo>
                  <a:lnTo>
                    <a:pt x="341" y="242"/>
                  </a:lnTo>
                  <a:lnTo>
                    <a:pt x="343" y="250"/>
                  </a:lnTo>
                  <a:lnTo>
                    <a:pt x="346" y="253"/>
                  </a:lnTo>
                  <a:lnTo>
                    <a:pt x="346" y="256"/>
                  </a:lnTo>
                  <a:lnTo>
                    <a:pt x="341" y="260"/>
                  </a:lnTo>
                  <a:lnTo>
                    <a:pt x="335" y="282"/>
                  </a:lnTo>
                  <a:lnTo>
                    <a:pt x="329" y="286"/>
                  </a:lnTo>
                  <a:lnTo>
                    <a:pt x="329" y="283"/>
                  </a:lnTo>
                  <a:lnTo>
                    <a:pt x="331" y="279"/>
                  </a:lnTo>
                  <a:lnTo>
                    <a:pt x="334" y="271"/>
                  </a:lnTo>
                  <a:lnTo>
                    <a:pt x="336" y="267"/>
                  </a:lnTo>
                  <a:lnTo>
                    <a:pt x="337" y="254"/>
                  </a:lnTo>
                  <a:lnTo>
                    <a:pt x="337" y="251"/>
                  </a:lnTo>
                  <a:lnTo>
                    <a:pt x="336" y="250"/>
                  </a:lnTo>
                  <a:lnTo>
                    <a:pt x="335" y="253"/>
                  </a:lnTo>
                  <a:lnTo>
                    <a:pt x="334" y="257"/>
                  </a:lnTo>
                  <a:lnTo>
                    <a:pt x="333" y="259"/>
                  </a:lnTo>
                  <a:lnTo>
                    <a:pt x="331" y="257"/>
                  </a:lnTo>
                  <a:lnTo>
                    <a:pt x="331" y="255"/>
                  </a:lnTo>
                  <a:lnTo>
                    <a:pt x="332" y="251"/>
                  </a:lnTo>
                  <a:lnTo>
                    <a:pt x="332" y="248"/>
                  </a:lnTo>
                  <a:lnTo>
                    <a:pt x="331" y="245"/>
                  </a:lnTo>
                  <a:lnTo>
                    <a:pt x="330" y="245"/>
                  </a:lnTo>
                  <a:lnTo>
                    <a:pt x="329" y="246"/>
                  </a:lnTo>
                  <a:lnTo>
                    <a:pt x="328" y="246"/>
                  </a:lnTo>
                  <a:lnTo>
                    <a:pt x="326" y="241"/>
                  </a:lnTo>
                  <a:lnTo>
                    <a:pt x="324" y="235"/>
                  </a:lnTo>
                  <a:lnTo>
                    <a:pt x="321" y="232"/>
                  </a:lnTo>
                  <a:lnTo>
                    <a:pt x="318" y="232"/>
                  </a:lnTo>
                  <a:lnTo>
                    <a:pt x="318" y="235"/>
                  </a:lnTo>
                  <a:lnTo>
                    <a:pt x="317" y="243"/>
                  </a:lnTo>
                  <a:lnTo>
                    <a:pt x="307" y="271"/>
                  </a:lnTo>
                  <a:lnTo>
                    <a:pt x="303" y="286"/>
                  </a:lnTo>
                  <a:lnTo>
                    <a:pt x="301" y="287"/>
                  </a:lnTo>
                  <a:lnTo>
                    <a:pt x="300" y="283"/>
                  </a:lnTo>
                  <a:lnTo>
                    <a:pt x="301" y="276"/>
                  </a:lnTo>
                  <a:lnTo>
                    <a:pt x="309" y="253"/>
                  </a:lnTo>
                  <a:lnTo>
                    <a:pt x="309" y="252"/>
                  </a:lnTo>
                  <a:lnTo>
                    <a:pt x="308" y="251"/>
                  </a:lnTo>
                  <a:lnTo>
                    <a:pt x="310" y="249"/>
                  </a:lnTo>
                  <a:lnTo>
                    <a:pt x="311" y="245"/>
                  </a:lnTo>
                  <a:lnTo>
                    <a:pt x="311" y="241"/>
                  </a:lnTo>
                  <a:lnTo>
                    <a:pt x="312" y="232"/>
                  </a:lnTo>
                  <a:lnTo>
                    <a:pt x="312" y="231"/>
                  </a:lnTo>
                  <a:lnTo>
                    <a:pt x="311" y="229"/>
                  </a:lnTo>
                  <a:lnTo>
                    <a:pt x="305" y="218"/>
                  </a:lnTo>
                  <a:lnTo>
                    <a:pt x="299" y="212"/>
                  </a:lnTo>
                  <a:lnTo>
                    <a:pt x="298" y="210"/>
                  </a:lnTo>
                  <a:lnTo>
                    <a:pt x="297" y="207"/>
                  </a:lnTo>
                  <a:lnTo>
                    <a:pt x="297" y="202"/>
                  </a:lnTo>
                  <a:lnTo>
                    <a:pt x="295" y="200"/>
                  </a:lnTo>
                  <a:lnTo>
                    <a:pt x="285" y="199"/>
                  </a:lnTo>
                  <a:lnTo>
                    <a:pt x="284" y="200"/>
                  </a:lnTo>
                  <a:lnTo>
                    <a:pt x="282" y="203"/>
                  </a:lnTo>
                  <a:lnTo>
                    <a:pt x="281" y="209"/>
                  </a:lnTo>
                  <a:lnTo>
                    <a:pt x="279" y="219"/>
                  </a:lnTo>
                  <a:lnTo>
                    <a:pt x="279" y="229"/>
                  </a:lnTo>
                  <a:lnTo>
                    <a:pt x="279" y="237"/>
                  </a:lnTo>
                  <a:lnTo>
                    <a:pt x="274" y="256"/>
                  </a:lnTo>
                  <a:lnTo>
                    <a:pt x="273" y="251"/>
                  </a:lnTo>
                  <a:lnTo>
                    <a:pt x="274" y="242"/>
                  </a:lnTo>
                  <a:lnTo>
                    <a:pt x="275" y="231"/>
                  </a:lnTo>
                  <a:lnTo>
                    <a:pt x="273" y="220"/>
                  </a:lnTo>
                  <a:lnTo>
                    <a:pt x="271" y="222"/>
                  </a:lnTo>
                  <a:lnTo>
                    <a:pt x="269" y="227"/>
                  </a:lnTo>
                  <a:lnTo>
                    <a:pt x="266" y="237"/>
                  </a:lnTo>
                  <a:lnTo>
                    <a:pt x="263" y="241"/>
                  </a:lnTo>
                  <a:lnTo>
                    <a:pt x="260" y="242"/>
                  </a:lnTo>
                  <a:lnTo>
                    <a:pt x="254" y="243"/>
                  </a:lnTo>
                  <a:lnTo>
                    <a:pt x="259" y="239"/>
                  </a:lnTo>
                  <a:lnTo>
                    <a:pt x="264" y="232"/>
                  </a:lnTo>
                  <a:lnTo>
                    <a:pt x="267" y="222"/>
                  </a:lnTo>
                  <a:lnTo>
                    <a:pt x="270" y="213"/>
                  </a:lnTo>
                  <a:lnTo>
                    <a:pt x="268" y="211"/>
                  </a:lnTo>
                  <a:lnTo>
                    <a:pt x="265" y="213"/>
                  </a:lnTo>
                  <a:lnTo>
                    <a:pt x="263" y="217"/>
                  </a:lnTo>
                  <a:lnTo>
                    <a:pt x="261" y="219"/>
                  </a:lnTo>
                  <a:lnTo>
                    <a:pt x="261" y="218"/>
                  </a:lnTo>
                  <a:lnTo>
                    <a:pt x="262" y="216"/>
                  </a:lnTo>
                  <a:lnTo>
                    <a:pt x="259" y="207"/>
                  </a:lnTo>
                  <a:lnTo>
                    <a:pt x="258" y="204"/>
                  </a:lnTo>
                  <a:lnTo>
                    <a:pt x="256" y="203"/>
                  </a:lnTo>
                  <a:lnTo>
                    <a:pt x="254" y="204"/>
                  </a:lnTo>
                  <a:lnTo>
                    <a:pt x="253" y="207"/>
                  </a:lnTo>
                  <a:lnTo>
                    <a:pt x="253" y="210"/>
                  </a:lnTo>
                  <a:lnTo>
                    <a:pt x="252" y="213"/>
                  </a:lnTo>
                  <a:lnTo>
                    <a:pt x="249" y="219"/>
                  </a:lnTo>
                  <a:lnTo>
                    <a:pt x="240" y="230"/>
                  </a:lnTo>
                  <a:lnTo>
                    <a:pt x="237" y="235"/>
                  </a:lnTo>
                  <a:lnTo>
                    <a:pt x="236" y="235"/>
                  </a:lnTo>
                  <a:lnTo>
                    <a:pt x="237" y="231"/>
                  </a:lnTo>
                  <a:lnTo>
                    <a:pt x="244" y="218"/>
                  </a:lnTo>
                  <a:lnTo>
                    <a:pt x="245" y="217"/>
                  </a:lnTo>
                  <a:lnTo>
                    <a:pt x="248" y="212"/>
                  </a:lnTo>
                  <a:lnTo>
                    <a:pt x="248" y="209"/>
                  </a:lnTo>
                  <a:lnTo>
                    <a:pt x="248" y="205"/>
                  </a:lnTo>
                  <a:lnTo>
                    <a:pt x="248" y="199"/>
                  </a:lnTo>
                  <a:lnTo>
                    <a:pt x="248" y="193"/>
                  </a:lnTo>
                  <a:lnTo>
                    <a:pt x="247" y="191"/>
                  </a:lnTo>
                  <a:lnTo>
                    <a:pt x="244" y="187"/>
                  </a:lnTo>
                  <a:lnTo>
                    <a:pt x="242" y="182"/>
                  </a:lnTo>
                  <a:lnTo>
                    <a:pt x="241" y="180"/>
                  </a:lnTo>
                  <a:lnTo>
                    <a:pt x="239" y="178"/>
                  </a:lnTo>
                  <a:lnTo>
                    <a:pt x="236" y="180"/>
                  </a:lnTo>
                  <a:lnTo>
                    <a:pt x="228" y="193"/>
                  </a:lnTo>
                  <a:lnTo>
                    <a:pt x="227" y="184"/>
                  </a:lnTo>
                  <a:lnTo>
                    <a:pt x="228" y="178"/>
                  </a:lnTo>
                  <a:lnTo>
                    <a:pt x="225" y="171"/>
                  </a:lnTo>
                  <a:lnTo>
                    <a:pt x="221" y="165"/>
                  </a:lnTo>
                  <a:lnTo>
                    <a:pt x="218" y="163"/>
                  </a:lnTo>
                  <a:lnTo>
                    <a:pt x="213" y="161"/>
                  </a:lnTo>
                  <a:lnTo>
                    <a:pt x="197" y="149"/>
                  </a:lnTo>
                  <a:lnTo>
                    <a:pt x="172" y="142"/>
                  </a:lnTo>
                  <a:lnTo>
                    <a:pt x="168" y="144"/>
                  </a:lnTo>
                  <a:lnTo>
                    <a:pt x="168" y="149"/>
                  </a:lnTo>
                  <a:lnTo>
                    <a:pt x="165" y="152"/>
                  </a:lnTo>
                  <a:lnTo>
                    <a:pt x="159" y="152"/>
                  </a:lnTo>
                  <a:lnTo>
                    <a:pt x="158" y="152"/>
                  </a:lnTo>
                  <a:lnTo>
                    <a:pt x="156" y="153"/>
                  </a:lnTo>
                  <a:lnTo>
                    <a:pt x="153" y="156"/>
                  </a:lnTo>
                  <a:lnTo>
                    <a:pt x="151" y="159"/>
                  </a:lnTo>
                  <a:lnTo>
                    <a:pt x="150" y="163"/>
                  </a:lnTo>
                  <a:lnTo>
                    <a:pt x="150" y="165"/>
                  </a:lnTo>
                  <a:lnTo>
                    <a:pt x="153" y="168"/>
                  </a:lnTo>
                  <a:lnTo>
                    <a:pt x="169" y="168"/>
                  </a:lnTo>
                  <a:lnTo>
                    <a:pt x="172" y="170"/>
                  </a:lnTo>
                  <a:lnTo>
                    <a:pt x="178" y="180"/>
                  </a:lnTo>
                  <a:lnTo>
                    <a:pt x="182" y="184"/>
                  </a:lnTo>
                  <a:lnTo>
                    <a:pt x="168" y="172"/>
                  </a:lnTo>
                  <a:lnTo>
                    <a:pt x="158" y="171"/>
                  </a:lnTo>
                  <a:lnTo>
                    <a:pt x="144" y="172"/>
                  </a:lnTo>
                  <a:lnTo>
                    <a:pt x="139" y="176"/>
                  </a:lnTo>
                  <a:lnTo>
                    <a:pt x="144" y="184"/>
                  </a:lnTo>
                  <a:lnTo>
                    <a:pt x="153" y="192"/>
                  </a:lnTo>
                  <a:lnTo>
                    <a:pt x="158" y="199"/>
                  </a:lnTo>
                  <a:lnTo>
                    <a:pt x="160" y="200"/>
                  </a:lnTo>
                  <a:lnTo>
                    <a:pt x="164" y="201"/>
                  </a:lnTo>
                  <a:lnTo>
                    <a:pt x="171" y="205"/>
                  </a:lnTo>
                  <a:lnTo>
                    <a:pt x="175" y="206"/>
                  </a:lnTo>
                  <a:lnTo>
                    <a:pt x="178" y="208"/>
                  </a:lnTo>
                  <a:lnTo>
                    <a:pt x="183" y="220"/>
                  </a:lnTo>
                  <a:lnTo>
                    <a:pt x="185" y="224"/>
                  </a:lnTo>
                  <a:lnTo>
                    <a:pt x="185" y="227"/>
                  </a:lnTo>
                  <a:lnTo>
                    <a:pt x="182" y="226"/>
                  </a:lnTo>
                  <a:lnTo>
                    <a:pt x="179" y="222"/>
                  </a:lnTo>
                  <a:lnTo>
                    <a:pt x="178" y="217"/>
                  </a:lnTo>
                  <a:lnTo>
                    <a:pt x="177" y="211"/>
                  </a:lnTo>
                  <a:lnTo>
                    <a:pt x="171" y="214"/>
                  </a:lnTo>
                  <a:lnTo>
                    <a:pt x="163" y="212"/>
                  </a:lnTo>
                  <a:lnTo>
                    <a:pt x="134" y="194"/>
                  </a:lnTo>
                  <a:lnTo>
                    <a:pt x="126" y="192"/>
                  </a:lnTo>
                  <a:lnTo>
                    <a:pt x="119" y="195"/>
                  </a:lnTo>
                  <a:lnTo>
                    <a:pt x="117" y="199"/>
                  </a:lnTo>
                  <a:lnTo>
                    <a:pt x="116" y="206"/>
                  </a:lnTo>
                  <a:lnTo>
                    <a:pt x="116" y="218"/>
                  </a:lnTo>
                  <a:lnTo>
                    <a:pt x="117" y="221"/>
                  </a:lnTo>
                  <a:lnTo>
                    <a:pt x="124" y="230"/>
                  </a:lnTo>
                  <a:lnTo>
                    <a:pt x="131" y="237"/>
                  </a:lnTo>
                  <a:lnTo>
                    <a:pt x="135" y="238"/>
                  </a:lnTo>
                  <a:lnTo>
                    <a:pt x="136" y="242"/>
                  </a:lnTo>
                  <a:lnTo>
                    <a:pt x="141" y="244"/>
                  </a:lnTo>
                  <a:lnTo>
                    <a:pt x="150" y="256"/>
                  </a:lnTo>
                  <a:lnTo>
                    <a:pt x="153" y="259"/>
                  </a:lnTo>
                  <a:lnTo>
                    <a:pt x="170" y="263"/>
                  </a:lnTo>
                  <a:lnTo>
                    <a:pt x="177" y="270"/>
                  </a:lnTo>
                  <a:lnTo>
                    <a:pt x="181" y="272"/>
                  </a:lnTo>
                  <a:lnTo>
                    <a:pt x="194" y="273"/>
                  </a:lnTo>
                  <a:lnTo>
                    <a:pt x="199" y="279"/>
                  </a:lnTo>
                  <a:lnTo>
                    <a:pt x="212" y="283"/>
                  </a:lnTo>
                  <a:lnTo>
                    <a:pt x="206" y="286"/>
                  </a:lnTo>
                  <a:lnTo>
                    <a:pt x="200" y="283"/>
                  </a:lnTo>
                  <a:lnTo>
                    <a:pt x="189" y="275"/>
                  </a:lnTo>
                  <a:lnTo>
                    <a:pt x="182" y="275"/>
                  </a:lnTo>
                  <a:lnTo>
                    <a:pt x="163" y="267"/>
                  </a:lnTo>
                  <a:lnTo>
                    <a:pt x="153" y="270"/>
                  </a:lnTo>
                  <a:lnTo>
                    <a:pt x="150" y="270"/>
                  </a:lnTo>
                  <a:lnTo>
                    <a:pt x="147" y="267"/>
                  </a:lnTo>
                  <a:lnTo>
                    <a:pt x="142" y="261"/>
                  </a:lnTo>
                  <a:lnTo>
                    <a:pt x="139" y="259"/>
                  </a:lnTo>
                  <a:lnTo>
                    <a:pt x="127" y="256"/>
                  </a:lnTo>
                  <a:lnTo>
                    <a:pt x="118" y="251"/>
                  </a:lnTo>
                  <a:lnTo>
                    <a:pt x="115" y="251"/>
                  </a:lnTo>
                  <a:lnTo>
                    <a:pt x="108" y="259"/>
                  </a:lnTo>
                  <a:lnTo>
                    <a:pt x="107" y="271"/>
                  </a:lnTo>
                  <a:lnTo>
                    <a:pt x="111" y="283"/>
                  </a:lnTo>
                  <a:lnTo>
                    <a:pt x="116" y="294"/>
                  </a:lnTo>
                  <a:lnTo>
                    <a:pt x="125" y="304"/>
                  </a:lnTo>
                  <a:lnTo>
                    <a:pt x="127" y="308"/>
                  </a:lnTo>
                  <a:lnTo>
                    <a:pt x="129" y="310"/>
                  </a:lnTo>
                  <a:lnTo>
                    <a:pt x="138" y="307"/>
                  </a:lnTo>
                  <a:lnTo>
                    <a:pt x="143" y="312"/>
                  </a:lnTo>
                  <a:lnTo>
                    <a:pt x="151" y="315"/>
                  </a:lnTo>
                  <a:lnTo>
                    <a:pt x="194" y="316"/>
                  </a:lnTo>
                  <a:lnTo>
                    <a:pt x="201" y="310"/>
                  </a:lnTo>
                  <a:lnTo>
                    <a:pt x="206" y="308"/>
                  </a:lnTo>
                  <a:lnTo>
                    <a:pt x="215" y="307"/>
                  </a:lnTo>
                  <a:lnTo>
                    <a:pt x="213" y="310"/>
                  </a:lnTo>
                  <a:lnTo>
                    <a:pt x="205" y="315"/>
                  </a:lnTo>
                  <a:lnTo>
                    <a:pt x="205" y="317"/>
                  </a:lnTo>
                  <a:lnTo>
                    <a:pt x="206" y="317"/>
                  </a:lnTo>
                  <a:lnTo>
                    <a:pt x="207" y="318"/>
                  </a:lnTo>
                  <a:lnTo>
                    <a:pt x="209" y="320"/>
                  </a:lnTo>
                  <a:lnTo>
                    <a:pt x="206" y="323"/>
                  </a:lnTo>
                  <a:lnTo>
                    <a:pt x="203" y="322"/>
                  </a:lnTo>
                  <a:lnTo>
                    <a:pt x="196" y="320"/>
                  </a:lnTo>
                  <a:lnTo>
                    <a:pt x="193" y="321"/>
                  </a:lnTo>
                  <a:lnTo>
                    <a:pt x="188" y="325"/>
                  </a:lnTo>
                  <a:lnTo>
                    <a:pt x="175" y="326"/>
                  </a:lnTo>
                  <a:lnTo>
                    <a:pt x="173" y="324"/>
                  </a:lnTo>
                  <a:lnTo>
                    <a:pt x="171" y="323"/>
                  </a:lnTo>
                  <a:lnTo>
                    <a:pt x="161" y="328"/>
                  </a:lnTo>
                  <a:lnTo>
                    <a:pt x="159" y="330"/>
                  </a:lnTo>
                  <a:lnTo>
                    <a:pt x="161" y="334"/>
                  </a:lnTo>
                  <a:lnTo>
                    <a:pt x="164" y="339"/>
                  </a:lnTo>
                  <a:lnTo>
                    <a:pt x="166" y="341"/>
                  </a:lnTo>
                  <a:lnTo>
                    <a:pt x="172" y="345"/>
                  </a:lnTo>
                  <a:lnTo>
                    <a:pt x="181" y="348"/>
                  </a:lnTo>
                  <a:lnTo>
                    <a:pt x="199" y="346"/>
                  </a:lnTo>
                  <a:lnTo>
                    <a:pt x="197" y="349"/>
                  </a:lnTo>
                  <a:lnTo>
                    <a:pt x="195" y="349"/>
                  </a:lnTo>
                  <a:lnTo>
                    <a:pt x="192" y="349"/>
                  </a:lnTo>
                  <a:lnTo>
                    <a:pt x="190" y="349"/>
                  </a:lnTo>
                  <a:lnTo>
                    <a:pt x="183" y="354"/>
                  </a:lnTo>
                  <a:lnTo>
                    <a:pt x="180" y="354"/>
                  </a:lnTo>
                  <a:lnTo>
                    <a:pt x="181" y="358"/>
                  </a:lnTo>
                  <a:lnTo>
                    <a:pt x="182" y="359"/>
                  </a:lnTo>
                  <a:lnTo>
                    <a:pt x="183" y="359"/>
                  </a:lnTo>
                  <a:lnTo>
                    <a:pt x="183" y="362"/>
                  </a:lnTo>
                  <a:lnTo>
                    <a:pt x="179" y="363"/>
                  </a:lnTo>
                  <a:lnTo>
                    <a:pt x="171" y="361"/>
                  </a:lnTo>
                  <a:lnTo>
                    <a:pt x="169" y="365"/>
                  </a:lnTo>
                  <a:lnTo>
                    <a:pt x="166" y="361"/>
                  </a:lnTo>
                  <a:lnTo>
                    <a:pt x="166" y="359"/>
                  </a:lnTo>
                  <a:lnTo>
                    <a:pt x="160" y="369"/>
                  </a:lnTo>
                  <a:lnTo>
                    <a:pt x="156" y="372"/>
                  </a:lnTo>
                  <a:lnTo>
                    <a:pt x="153" y="370"/>
                  </a:lnTo>
                  <a:lnTo>
                    <a:pt x="154" y="364"/>
                  </a:lnTo>
                  <a:lnTo>
                    <a:pt x="156" y="360"/>
                  </a:lnTo>
                  <a:lnTo>
                    <a:pt x="157" y="356"/>
                  </a:lnTo>
                  <a:lnTo>
                    <a:pt x="155" y="349"/>
                  </a:lnTo>
                  <a:lnTo>
                    <a:pt x="154" y="347"/>
                  </a:lnTo>
                  <a:lnTo>
                    <a:pt x="150" y="344"/>
                  </a:lnTo>
                  <a:lnTo>
                    <a:pt x="147" y="338"/>
                  </a:lnTo>
                  <a:lnTo>
                    <a:pt x="145" y="336"/>
                  </a:lnTo>
                  <a:lnTo>
                    <a:pt x="78" y="298"/>
                  </a:lnTo>
                  <a:lnTo>
                    <a:pt x="72" y="298"/>
                  </a:lnTo>
                  <a:lnTo>
                    <a:pt x="65" y="304"/>
                  </a:lnTo>
                  <a:lnTo>
                    <a:pt x="66" y="309"/>
                  </a:lnTo>
                  <a:lnTo>
                    <a:pt x="67" y="313"/>
                  </a:lnTo>
                  <a:lnTo>
                    <a:pt x="66" y="318"/>
                  </a:lnTo>
                  <a:lnTo>
                    <a:pt x="67" y="323"/>
                  </a:lnTo>
                  <a:lnTo>
                    <a:pt x="73" y="336"/>
                  </a:lnTo>
                  <a:lnTo>
                    <a:pt x="79" y="344"/>
                  </a:lnTo>
                  <a:lnTo>
                    <a:pt x="82" y="348"/>
                  </a:lnTo>
                  <a:lnTo>
                    <a:pt x="90" y="350"/>
                  </a:lnTo>
                  <a:lnTo>
                    <a:pt x="98" y="356"/>
                  </a:lnTo>
                  <a:lnTo>
                    <a:pt x="105" y="358"/>
                  </a:lnTo>
                  <a:lnTo>
                    <a:pt x="110" y="362"/>
                  </a:lnTo>
                  <a:lnTo>
                    <a:pt x="114" y="367"/>
                  </a:lnTo>
                  <a:lnTo>
                    <a:pt x="117" y="373"/>
                  </a:lnTo>
                  <a:lnTo>
                    <a:pt x="112" y="371"/>
                  </a:lnTo>
                  <a:lnTo>
                    <a:pt x="96" y="362"/>
                  </a:lnTo>
                  <a:lnTo>
                    <a:pt x="72" y="357"/>
                  </a:lnTo>
                  <a:lnTo>
                    <a:pt x="75" y="363"/>
                  </a:lnTo>
                  <a:lnTo>
                    <a:pt x="80" y="369"/>
                  </a:lnTo>
                  <a:lnTo>
                    <a:pt x="85" y="377"/>
                  </a:lnTo>
                  <a:lnTo>
                    <a:pt x="92" y="386"/>
                  </a:lnTo>
                  <a:lnTo>
                    <a:pt x="96" y="387"/>
                  </a:lnTo>
                  <a:lnTo>
                    <a:pt x="98" y="391"/>
                  </a:lnTo>
                  <a:lnTo>
                    <a:pt x="100" y="396"/>
                  </a:lnTo>
                  <a:lnTo>
                    <a:pt x="103" y="399"/>
                  </a:lnTo>
                  <a:lnTo>
                    <a:pt x="106" y="401"/>
                  </a:lnTo>
                  <a:lnTo>
                    <a:pt x="110" y="402"/>
                  </a:lnTo>
                  <a:lnTo>
                    <a:pt x="117" y="402"/>
                  </a:lnTo>
                  <a:lnTo>
                    <a:pt x="108" y="406"/>
                  </a:lnTo>
                  <a:lnTo>
                    <a:pt x="103" y="407"/>
                  </a:lnTo>
                  <a:lnTo>
                    <a:pt x="98" y="404"/>
                  </a:lnTo>
                  <a:lnTo>
                    <a:pt x="96" y="401"/>
                  </a:lnTo>
                  <a:lnTo>
                    <a:pt x="93" y="396"/>
                  </a:lnTo>
                  <a:lnTo>
                    <a:pt x="91" y="393"/>
                  </a:lnTo>
                  <a:lnTo>
                    <a:pt x="80" y="390"/>
                  </a:lnTo>
                  <a:lnTo>
                    <a:pt x="73" y="386"/>
                  </a:lnTo>
                  <a:lnTo>
                    <a:pt x="65" y="374"/>
                  </a:lnTo>
                  <a:lnTo>
                    <a:pt x="62" y="373"/>
                  </a:lnTo>
                  <a:lnTo>
                    <a:pt x="57" y="372"/>
                  </a:lnTo>
                  <a:lnTo>
                    <a:pt x="42" y="363"/>
                  </a:lnTo>
                  <a:lnTo>
                    <a:pt x="38" y="362"/>
                  </a:lnTo>
                  <a:lnTo>
                    <a:pt x="36" y="363"/>
                  </a:lnTo>
                  <a:lnTo>
                    <a:pt x="33" y="367"/>
                  </a:lnTo>
                  <a:lnTo>
                    <a:pt x="28" y="370"/>
                  </a:lnTo>
                  <a:lnTo>
                    <a:pt x="27" y="376"/>
                  </a:lnTo>
                  <a:lnTo>
                    <a:pt x="27" y="383"/>
                  </a:lnTo>
                  <a:lnTo>
                    <a:pt x="27" y="388"/>
                  </a:lnTo>
                  <a:lnTo>
                    <a:pt x="24" y="392"/>
                  </a:lnTo>
                  <a:lnTo>
                    <a:pt x="14" y="398"/>
                  </a:lnTo>
                  <a:lnTo>
                    <a:pt x="13" y="400"/>
                  </a:lnTo>
                  <a:lnTo>
                    <a:pt x="11" y="404"/>
                  </a:lnTo>
                  <a:lnTo>
                    <a:pt x="8" y="408"/>
                  </a:lnTo>
                  <a:lnTo>
                    <a:pt x="0" y="412"/>
                  </a:lnTo>
                  <a:lnTo>
                    <a:pt x="4" y="418"/>
                  </a:lnTo>
                  <a:lnTo>
                    <a:pt x="10" y="420"/>
                  </a:lnTo>
                  <a:lnTo>
                    <a:pt x="55" y="415"/>
                  </a:lnTo>
                  <a:lnTo>
                    <a:pt x="79" y="425"/>
                  </a:lnTo>
                  <a:lnTo>
                    <a:pt x="83" y="431"/>
                  </a:lnTo>
                  <a:lnTo>
                    <a:pt x="85" y="426"/>
                  </a:lnTo>
                  <a:lnTo>
                    <a:pt x="88" y="425"/>
                  </a:lnTo>
                  <a:lnTo>
                    <a:pt x="91" y="428"/>
                  </a:lnTo>
                  <a:lnTo>
                    <a:pt x="91" y="436"/>
                  </a:lnTo>
                  <a:lnTo>
                    <a:pt x="90" y="434"/>
                  </a:lnTo>
                  <a:lnTo>
                    <a:pt x="88" y="433"/>
                  </a:lnTo>
                  <a:lnTo>
                    <a:pt x="86" y="433"/>
                  </a:lnTo>
                  <a:lnTo>
                    <a:pt x="87" y="435"/>
                  </a:lnTo>
                  <a:lnTo>
                    <a:pt x="89" y="437"/>
                  </a:lnTo>
                  <a:lnTo>
                    <a:pt x="90" y="440"/>
                  </a:lnTo>
                  <a:lnTo>
                    <a:pt x="89" y="443"/>
                  </a:lnTo>
                  <a:lnTo>
                    <a:pt x="89" y="446"/>
                  </a:lnTo>
                  <a:lnTo>
                    <a:pt x="95" y="451"/>
                  </a:lnTo>
                  <a:lnTo>
                    <a:pt x="102" y="452"/>
                  </a:lnTo>
                  <a:lnTo>
                    <a:pt x="131" y="443"/>
                  </a:lnTo>
                  <a:lnTo>
                    <a:pt x="138" y="433"/>
                  </a:lnTo>
                  <a:lnTo>
                    <a:pt x="139" y="432"/>
                  </a:lnTo>
                  <a:lnTo>
                    <a:pt x="140" y="431"/>
                  </a:lnTo>
                  <a:lnTo>
                    <a:pt x="140" y="430"/>
                  </a:lnTo>
                  <a:lnTo>
                    <a:pt x="141" y="425"/>
                  </a:lnTo>
                  <a:lnTo>
                    <a:pt x="146" y="428"/>
                  </a:lnTo>
                  <a:lnTo>
                    <a:pt x="167" y="423"/>
                  </a:lnTo>
                  <a:lnTo>
                    <a:pt x="175" y="417"/>
                  </a:lnTo>
                  <a:lnTo>
                    <a:pt x="180" y="415"/>
                  </a:lnTo>
                  <a:lnTo>
                    <a:pt x="179" y="413"/>
                  </a:lnTo>
                  <a:lnTo>
                    <a:pt x="179" y="413"/>
                  </a:lnTo>
                  <a:lnTo>
                    <a:pt x="178" y="412"/>
                  </a:lnTo>
                  <a:lnTo>
                    <a:pt x="179" y="410"/>
                  </a:lnTo>
                  <a:lnTo>
                    <a:pt x="180" y="410"/>
                  </a:lnTo>
                  <a:lnTo>
                    <a:pt x="181" y="410"/>
                  </a:lnTo>
                  <a:lnTo>
                    <a:pt x="182" y="410"/>
                  </a:lnTo>
                  <a:lnTo>
                    <a:pt x="184" y="413"/>
                  </a:lnTo>
                  <a:lnTo>
                    <a:pt x="186" y="416"/>
                  </a:lnTo>
                  <a:lnTo>
                    <a:pt x="188" y="417"/>
                  </a:lnTo>
                  <a:lnTo>
                    <a:pt x="191" y="418"/>
                  </a:lnTo>
                  <a:lnTo>
                    <a:pt x="195" y="419"/>
                  </a:lnTo>
                  <a:lnTo>
                    <a:pt x="206" y="421"/>
                  </a:lnTo>
                  <a:lnTo>
                    <a:pt x="208" y="420"/>
                  </a:lnTo>
                  <a:lnTo>
                    <a:pt x="210" y="418"/>
                  </a:lnTo>
                  <a:lnTo>
                    <a:pt x="214" y="412"/>
                  </a:lnTo>
                  <a:lnTo>
                    <a:pt x="216" y="410"/>
                  </a:lnTo>
                  <a:lnTo>
                    <a:pt x="216" y="407"/>
                  </a:lnTo>
                  <a:lnTo>
                    <a:pt x="213" y="402"/>
                  </a:lnTo>
                  <a:lnTo>
                    <a:pt x="213" y="393"/>
                  </a:lnTo>
                  <a:lnTo>
                    <a:pt x="216" y="386"/>
                  </a:lnTo>
                  <a:lnTo>
                    <a:pt x="220" y="383"/>
                  </a:lnTo>
                  <a:lnTo>
                    <a:pt x="220" y="386"/>
                  </a:lnTo>
                  <a:lnTo>
                    <a:pt x="220" y="391"/>
                  </a:lnTo>
                  <a:lnTo>
                    <a:pt x="224" y="396"/>
                  </a:lnTo>
                  <a:lnTo>
                    <a:pt x="233" y="400"/>
                  </a:lnTo>
                  <a:lnTo>
                    <a:pt x="238" y="398"/>
                  </a:lnTo>
                  <a:lnTo>
                    <a:pt x="247" y="396"/>
                  </a:lnTo>
                  <a:lnTo>
                    <a:pt x="251" y="391"/>
                  </a:lnTo>
                  <a:lnTo>
                    <a:pt x="251" y="388"/>
                  </a:lnTo>
                  <a:lnTo>
                    <a:pt x="252" y="375"/>
                  </a:lnTo>
                  <a:lnTo>
                    <a:pt x="252" y="373"/>
                  </a:lnTo>
                  <a:lnTo>
                    <a:pt x="254" y="374"/>
                  </a:lnTo>
                  <a:lnTo>
                    <a:pt x="255" y="378"/>
                  </a:lnTo>
                  <a:lnTo>
                    <a:pt x="256" y="383"/>
                  </a:lnTo>
                  <a:lnTo>
                    <a:pt x="257" y="387"/>
                  </a:lnTo>
                  <a:lnTo>
                    <a:pt x="260" y="389"/>
                  </a:lnTo>
                  <a:lnTo>
                    <a:pt x="264" y="386"/>
                  </a:lnTo>
                  <a:lnTo>
                    <a:pt x="267" y="378"/>
                  </a:lnTo>
                  <a:lnTo>
                    <a:pt x="268" y="370"/>
                  </a:lnTo>
                  <a:lnTo>
                    <a:pt x="274" y="374"/>
                  </a:lnTo>
                  <a:lnTo>
                    <a:pt x="276" y="376"/>
                  </a:lnTo>
                  <a:lnTo>
                    <a:pt x="278" y="381"/>
                  </a:lnTo>
                  <a:lnTo>
                    <a:pt x="274" y="383"/>
                  </a:lnTo>
                  <a:lnTo>
                    <a:pt x="267" y="393"/>
                  </a:lnTo>
                  <a:lnTo>
                    <a:pt x="263" y="396"/>
                  </a:lnTo>
                  <a:lnTo>
                    <a:pt x="263" y="399"/>
                  </a:lnTo>
                  <a:lnTo>
                    <a:pt x="267" y="399"/>
                  </a:lnTo>
                  <a:lnTo>
                    <a:pt x="268" y="399"/>
                  </a:lnTo>
                  <a:lnTo>
                    <a:pt x="268" y="403"/>
                  </a:lnTo>
                  <a:lnTo>
                    <a:pt x="270" y="403"/>
                  </a:lnTo>
                  <a:lnTo>
                    <a:pt x="275" y="402"/>
                  </a:lnTo>
                  <a:lnTo>
                    <a:pt x="277" y="402"/>
                  </a:lnTo>
                  <a:lnTo>
                    <a:pt x="279" y="404"/>
                  </a:lnTo>
                  <a:lnTo>
                    <a:pt x="280" y="407"/>
                  </a:lnTo>
                  <a:lnTo>
                    <a:pt x="279" y="410"/>
                  </a:lnTo>
                  <a:lnTo>
                    <a:pt x="279" y="412"/>
                  </a:lnTo>
                  <a:lnTo>
                    <a:pt x="282" y="413"/>
                  </a:lnTo>
                  <a:lnTo>
                    <a:pt x="285" y="414"/>
                  </a:lnTo>
                  <a:lnTo>
                    <a:pt x="287" y="414"/>
                  </a:lnTo>
                  <a:lnTo>
                    <a:pt x="290" y="412"/>
                  </a:lnTo>
                  <a:lnTo>
                    <a:pt x="285" y="383"/>
                  </a:lnTo>
                  <a:lnTo>
                    <a:pt x="284" y="378"/>
                  </a:lnTo>
                  <a:lnTo>
                    <a:pt x="282" y="370"/>
                  </a:lnTo>
                  <a:lnTo>
                    <a:pt x="282" y="368"/>
                  </a:lnTo>
                  <a:lnTo>
                    <a:pt x="283" y="365"/>
                  </a:lnTo>
                  <a:lnTo>
                    <a:pt x="284" y="365"/>
                  </a:lnTo>
                  <a:lnTo>
                    <a:pt x="287" y="365"/>
                  </a:lnTo>
                  <a:lnTo>
                    <a:pt x="291" y="368"/>
                  </a:lnTo>
                  <a:lnTo>
                    <a:pt x="292" y="367"/>
                  </a:lnTo>
                  <a:lnTo>
                    <a:pt x="293" y="366"/>
                  </a:lnTo>
                  <a:lnTo>
                    <a:pt x="294" y="365"/>
                  </a:lnTo>
                  <a:lnTo>
                    <a:pt x="295" y="368"/>
                  </a:lnTo>
                  <a:lnTo>
                    <a:pt x="292" y="375"/>
                  </a:lnTo>
                  <a:lnTo>
                    <a:pt x="291" y="381"/>
                  </a:lnTo>
                  <a:lnTo>
                    <a:pt x="291" y="388"/>
                  </a:lnTo>
                  <a:lnTo>
                    <a:pt x="295" y="399"/>
                  </a:lnTo>
                  <a:lnTo>
                    <a:pt x="296" y="403"/>
                  </a:lnTo>
                  <a:lnTo>
                    <a:pt x="297" y="404"/>
                  </a:lnTo>
                  <a:lnTo>
                    <a:pt x="300" y="404"/>
                  </a:lnTo>
                  <a:lnTo>
                    <a:pt x="301" y="403"/>
                  </a:lnTo>
                  <a:lnTo>
                    <a:pt x="302" y="400"/>
                  </a:lnTo>
                  <a:lnTo>
                    <a:pt x="303" y="390"/>
                  </a:lnTo>
                  <a:lnTo>
                    <a:pt x="305" y="391"/>
                  </a:lnTo>
                  <a:lnTo>
                    <a:pt x="308" y="398"/>
                  </a:lnTo>
                  <a:lnTo>
                    <a:pt x="310" y="402"/>
                  </a:lnTo>
                  <a:lnTo>
                    <a:pt x="312" y="401"/>
                  </a:lnTo>
                  <a:lnTo>
                    <a:pt x="314" y="399"/>
                  </a:lnTo>
                  <a:lnTo>
                    <a:pt x="317" y="392"/>
                  </a:lnTo>
                  <a:lnTo>
                    <a:pt x="318" y="389"/>
                  </a:lnTo>
                  <a:lnTo>
                    <a:pt x="318" y="386"/>
                  </a:lnTo>
                  <a:lnTo>
                    <a:pt x="315" y="378"/>
                  </a:lnTo>
                  <a:lnTo>
                    <a:pt x="315" y="374"/>
                  </a:lnTo>
                  <a:lnTo>
                    <a:pt x="315" y="369"/>
                  </a:lnTo>
                  <a:lnTo>
                    <a:pt x="315" y="367"/>
                  </a:lnTo>
                  <a:lnTo>
                    <a:pt x="317" y="364"/>
                  </a:lnTo>
                  <a:lnTo>
                    <a:pt x="319" y="369"/>
                  </a:lnTo>
                  <a:lnTo>
                    <a:pt x="322" y="382"/>
                  </a:lnTo>
                  <a:lnTo>
                    <a:pt x="324" y="388"/>
                  </a:lnTo>
                  <a:lnTo>
                    <a:pt x="324" y="393"/>
                  </a:lnTo>
                  <a:lnTo>
                    <a:pt x="323" y="398"/>
                  </a:lnTo>
                  <a:lnTo>
                    <a:pt x="324" y="404"/>
                  </a:lnTo>
                  <a:lnTo>
                    <a:pt x="325" y="411"/>
                  </a:lnTo>
                  <a:lnTo>
                    <a:pt x="328" y="412"/>
                  </a:lnTo>
                  <a:lnTo>
                    <a:pt x="336" y="408"/>
                  </a:lnTo>
                  <a:lnTo>
                    <a:pt x="339" y="406"/>
                  </a:lnTo>
                  <a:lnTo>
                    <a:pt x="340" y="402"/>
                  </a:lnTo>
                  <a:lnTo>
                    <a:pt x="338" y="399"/>
                  </a:lnTo>
                  <a:lnTo>
                    <a:pt x="338" y="396"/>
                  </a:lnTo>
                  <a:lnTo>
                    <a:pt x="341" y="397"/>
                  </a:lnTo>
                  <a:lnTo>
                    <a:pt x="342" y="399"/>
                  </a:lnTo>
                  <a:lnTo>
                    <a:pt x="344" y="401"/>
                  </a:lnTo>
                  <a:lnTo>
                    <a:pt x="348" y="399"/>
                  </a:lnTo>
                  <a:lnTo>
                    <a:pt x="352" y="394"/>
                  </a:lnTo>
                  <a:lnTo>
                    <a:pt x="354" y="391"/>
                  </a:lnTo>
                  <a:lnTo>
                    <a:pt x="357" y="391"/>
                  </a:lnTo>
                  <a:lnTo>
                    <a:pt x="357" y="394"/>
                  </a:lnTo>
                  <a:lnTo>
                    <a:pt x="355" y="397"/>
                  </a:lnTo>
                  <a:lnTo>
                    <a:pt x="349" y="402"/>
                  </a:lnTo>
                  <a:lnTo>
                    <a:pt x="349" y="404"/>
                  </a:lnTo>
                  <a:lnTo>
                    <a:pt x="360" y="403"/>
                  </a:lnTo>
                  <a:lnTo>
                    <a:pt x="365" y="401"/>
                  </a:lnTo>
                  <a:lnTo>
                    <a:pt x="370" y="396"/>
                  </a:lnTo>
                  <a:lnTo>
                    <a:pt x="382" y="379"/>
                  </a:lnTo>
                  <a:lnTo>
                    <a:pt x="387" y="378"/>
                  </a:lnTo>
                  <a:lnTo>
                    <a:pt x="383" y="381"/>
                  </a:lnTo>
                  <a:lnTo>
                    <a:pt x="381" y="383"/>
                  </a:lnTo>
                  <a:lnTo>
                    <a:pt x="380" y="386"/>
                  </a:lnTo>
                  <a:lnTo>
                    <a:pt x="380" y="389"/>
                  </a:lnTo>
                  <a:lnTo>
                    <a:pt x="380" y="394"/>
                  </a:lnTo>
                  <a:lnTo>
                    <a:pt x="379" y="398"/>
                  </a:lnTo>
                  <a:lnTo>
                    <a:pt x="378" y="399"/>
                  </a:lnTo>
                  <a:lnTo>
                    <a:pt x="374" y="400"/>
                  </a:lnTo>
                  <a:lnTo>
                    <a:pt x="366" y="406"/>
                  </a:lnTo>
                  <a:lnTo>
                    <a:pt x="349" y="409"/>
                  </a:lnTo>
                  <a:lnTo>
                    <a:pt x="345" y="412"/>
                  </a:lnTo>
                  <a:lnTo>
                    <a:pt x="342" y="418"/>
                  </a:lnTo>
                  <a:lnTo>
                    <a:pt x="343" y="422"/>
                  </a:lnTo>
                  <a:lnTo>
                    <a:pt x="350" y="425"/>
                  </a:lnTo>
                  <a:lnTo>
                    <a:pt x="359" y="434"/>
                  </a:lnTo>
                  <a:lnTo>
                    <a:pt x="363" y="441"/>
                  </a:lnTo>
                  <a:lnTo>
                    <a:pt x="366" y="442"/>
                  </a:lnTo>
                  <a:lnTo>
                    <a:pt x="372" y="441"/>
                  </a:lnTo>
                  <a:lnTo>
                    <a:pt x="374" y="439"/>
                  </a:lnTo>
                  <a:lnTo>
                    <a:pt x="375" y="436"/>
                  </a:lnTo>
                  <a:lnTo>
                    <a:pt x="376" y="432"/>
                  </a:lnTo>
                  <a:lnTo>
                    <a:pt x="376" y="431"/>
                  </a:lnTo>
                  <a:lnTo>
                    <a:pt x="378" y="430"/>
                  </a:lnTo>
                  <a:lnTo>
                    <a:pt x="380" y="429"/>
                  </a:lnTo>
                  <a:lnTo>
                    <a:pt x="382" y="425"/>
                  </a:lnTo>
                  <a:lnTo>
                    <a:pt x="385" y="421"/>
                  </a:lnTo>
                  <a:lnTo>
                    <a:pt x="386" y="416"/>
                  </a:lnTo>
                  <a:lnTo>
                    <a:pt x="386" y="411"/>
                  </a:lnTo>
                  <a:lnTo>
                    <a:pt x="385" y="404"/>
                  </a:lnTo>
                  <a:lnTo>
                    <a:pt x="388" y="407"/>
                  </a:lnTo>
                  <a:lnTo>
                    <a:pt x="390" y="417"/>
                  </a:lnTo>
                  <a:lnTo>
                    <a:pt x="392" y="420"/>
                  </a:lnTo>
                  <a:lnTo>
                    <a:pt x="394" y="421"/>
                  </a:lnTo>
                  <a:lnTo>
                    <a:pt x="396" y="422"/>
                  </a:lnTo>
                  <a:lnTo>
                    <a:pt x="397" y="420"/>
                  </a:lnTo>
                  <a:lnTo>
                    <a:pt x="396" y="415"/>
                  </a:lnTo>
                  <a:lnTo>
                    <a:pt x="399" y="415"/>
                  </a:lnTo>
                  <a:lnTo>
                    <a:pt x="401" y="415"/>
                  </a:lnTo>
                  <a:lnTo>
                    <a:pt x="403" y="414"/>
                  </a:lnTo>
                  <a:lnTo>
                    <a:pt x="405" y="412"/>
                  </a:lnTo>
                  <a:lnTo>
                    <a:pt x="406" y="418"/>
                  </a:lnTo>
                  <a:lnTo>
                    <a:pt x="408" y="422"/>
                  </a:lnTo>
                  <a:lnTo>
                    <a:pt x="414" y="428"/>
                  </a:lnTo>
                  <a:lnTo>
                    <a:pt x="410" y="432"/>
                  </a:lnTo>
                  <a:lnTo>
                    <a:pt x="407" y="438"/>
                  </a:lnTo>
                  <a:lnTo>
                    <a:pt x="410" y="438"/>
                  </a:lnTo>
                  <a:lnTo>
                    <a:pt x="420" y="436"/>
                  </a:lnTo>
                  <a:lnTo>
                    <a:pt x="431" y="438"/>
                  </a:lnTo>
                  <a:lnTo>
                    <a:pt x="437" y="438"/>
                  </a:lnTo>
                  <a:lnTo>
                    <a:pt x="452" y="433"/>
                  </a:lnTo>
                  <a:lnTo>
                    <a:pt x="448" y="435"/>
                  </a:lnTo>
                  <a:lnTo>
                    <a:pt x="442" y="439"/>
                  </a:lnTo>
                  <a:lnTo>
                    <a:pt x="422" y="445"/>
                  </a:lnTo>
                  <a:lnTo>
                    <a:pt x="412" y="451"/>
                  </a:lnTo>
                  <a:lnTo>
                    <a:pt x="413" y="453"/>
                  </a:lnTo>
                  <a:lnTo>
                    <a:pt x="414" y="459"/>
                  </a:lnTo>
                  <a:lnTo>
                    <a:pt x="412" y="459"/>
                  </a:lnTo>
                  <a:lnTo>
                    <a:pt x="408" y="454"/>
                  </a:lnTo>
                  <a:lnTo>
                    <a:pt x="405" y="454"/>
                  </a:lnTo>
                  <a:lnTo>
                    <a:pt x="405" y="456"/>
                  </a:lnTo>
                  <a:lnTo>
                    <a:pt x="405" y="456"/>
                  </a:lnTo>
                  <a:lnTo>
                    <a:pt x="406" y="456"/>
                  </a:lnTo>
                  <a:lnTo>
                    <a:pt x="406" y="457"/>
                  </a:lnTo>
                  <a:lnTo>
                    <a:pt x="403" y="461"/>
                  </a:lnTo>
                  <a:lnTo>
                    <a:pt x="392" y="466"/>
                  </a:lnTo>
                  <a:lnTo>
                    <a:pt x="387" y="473"/>
                  </a:lnTo>
                  <a:lnTo>
                    <a:pt x="372" y="485"/>
                  </a:lnTo>
                  <a:lnTo>
                    <a:pt x="354" y="490"/>
                  </a:lnTo>
                  <a:lnTo>
                    <a:pt x="350" y="493"/>
                  </a:lnTo>
                  <a:lnTo>
                    <a:pt x="345" y="502"/>
                  </a:lnTo>
                  <a:lnTo>
                    <a:pt x="344" y="504"/>
                  </a:lnTo>
                  <a:lnTo>
                    <a:pt x="338" y="502"/>
                  </a:lnTo>
                  <a:lnTo>
                    <a:pt x="336" y="504"/>
                  </a:lnTo>
                  <a:lnTo>
                    <a:pt x="336" y="510"/>
                  </a:lnTo>
                  <a:lnTo>
                    <a:pt x="333" y="513"/>
                  </a:lnTo>
                  <a:lnTo>
                    <a:pt x="326" y="516"/>
                  </a:lnTo>
                  <a:lnTo>
                    <a:pt x="321" y="524"/>
                  </a:lnTo>
                  <a:lnTo>
                    <a:pt x="318" y="529"/>
                  </a:lnTo>
                  <a:lnTo>
                    <a:pt x="316" y="535"/>
                  </a:lnTo>
                  <a:lnTo>
                    <a:pt x="324" y="531"/>
                  </a:lnTo>
                  <a:lnTo>
                    <a:pt x="328" y="532"/>
                  </a:lnTo>
                  <a:lnTo>
                    <a:pt x="331" y="535"/>
                  </a:lnTo>
                  <a:lnTo>
                    <a:pt x="331" y="537"/>
                  </a:lnTo>
                  <a:lnTo>
                    <a:pt x="328" y="537"/>
                  </a:lnTo>
                  <a:lnTo>
                    <a:pt x="327" y="536"/>
                  </a:lnTo>
                  <a:lnTo>
                    <a:pt x="326" y="535"/>
                  </a:lnTo>
                  <a:lnTo>
                    <a:pt x="322" y="538"/>
                  </a:lnTo>
                  <a:lnTo>
                    <a:pt x="317" y="539"/>
                  </a:lnTo>
                  <a:lnTo>
                    <a:pt x="315" y="541"/>
                  </a:lnTo>
                  <a:lnTo>
                    <a:pt x="318" y="545"/>
                  </a:lnTo>
                  <a:lnTo>
                    <a:pt x="322" y="546"/>
                  </a:lnTo>
                  <a:lnTo>
                    <a:pt x="337" y="544"/>
                  </a:lnTo>
                  <a:lnTo>
                    <a:pt x="339" y="543"/>
                  </a:lnTo>
                  <a:lnTo>
                    <a:pt x="340" y="542"/>
                  </a:lnTo>
                  <a:lnTo>
                    <a:pt x="342" y="543"/>
                  </a:lnTo>
                  <a:lnTo>
                    <a:pt x="353" y="552"/>
                  </a:lnTo>
                  <a:lnTo>
                    <a:pt x="398" y="561"/>
                  </a:lnTo>
                  <a:lnTo>
                    <a:pt x="406" y="558"/>
                  </a:lnTo>
                  <a:lnTo>
                    <a:pt x="430" y="537"/>
                  </a:lnTo>
                  <a:lnTo>
                    <a:pt x="430" y="535"/>
                  </a:lnTo>
                  <a:lnTo>
                    <a:pt x="429" y="535"/>
                  </a:lnTo>
                  <a:lnTo>
                    <a:pt x="429" y="532"/>
                  </a:lnTo>
                  <a:lnTo>
                    <a:pt x="434" y="527"/>
                  </a:lnTo>
                  <a:lnTo>
                    <a:pt x="441" y="526"/>
                  </a:lnTo>
                  <a:lnTo>
                    <a:pt x="446" y="531"/>
                  </a:lnTo>
                  <a:lnTo>
                    <a:pt x="445" y="545"/>
                  </a:lnTo>
                  <a:lnTo>
                    <a:pt x="439" y="564"/>
                  </a:lnTo>
                  <a:lnTo>
                    <a:pt x="437" y="568"/>
                  </a:lnTo>
                  <a:lnTo>
                    <a:pt x="434" y="571"/>
                  </a:lnTo>
                  <a:lnTo>
                    <a:pt x="432" y="572"/>
                  </a:lnTo>
                  <a:lnTo>
                    <a:pt x="429" y="574"/>
                  </a:lnTo>
                  <a:lnTo>
                    <a:pt x="428" y="579"/>
                  </a:lnTo>
                  <a:lnTo>
                    <a:pt x="433" y="579"/>
                  </a:lnTo>
                  <a:lnTo>
                    <a:pt x="436" y="583"/>
                  </a:lnTo>
                  <a:lnTo>
                    <a:pt x="435" y="588"/>
                  </a:lnTo>
                  <a:lnTo>
                    <a:pt x="431" y="591"/>
                  </a:lnTo>
                  <a:lnTo>
                    <a:pt x="414" y="594"/>
                  </a:lnTo>
                  <a:lnTo>
                    <a:pt x="409" y="591"/>
                  </a:lnTo>
                  <a:lnTo>
                    <a:pt x="407" y="594"/>
                  </a:lnTo>
                  <a:lnTo>
                    <a:pt x="406" y="594"/>
                  </a:lnTo>
                  <a:lnTo>
                    <a:pt x="403" y="593"/>
                  </a:lnTo>
                  <a:lnTo>
                    <a:pt x="400" y="590"/>
                  </a:lnTo>
                  <a:lnTo>
                    <a:pt x="396" y="589"/>
                  </a:lnTo>
                  <a:lnTo>
                    <a:pt x="385" y="589"/>
                  </a:lnTo>
                  <a:lnTo>
                    <a:pt x="383" y="590"/>
                  </a:lnTo>
                  <a:lnTo>
                    <a:pt x="381" y="593"/>
                  </a:lnTo>
                  <a:lnTo>
                    <a:pt x="379" y="594"/>
                  </a:lnTo>
                  <a:lnTo>
                    <a:pt x="365" y="587"/>
                  </a:lnTo>
                  <a:lnTo>
                    <a:pt x="343" y="582"/>
                  </a:lnTo>
                  <a:lnTo>
                    <a:pt x="330" y="585"/>
                  </a:lnTo>
                  <a:lnTo>
                    <a:pt x="317" y="585"/>
                  </a:lnTo>
                  <a:lnTo>
                    <a:pt x="314" y="586"/>
                  </a:lnTo>
                  <a:lnTo>
                    <a:pt x="314" y="591"/>
                  </a:lnTo>
                  <a:lnTo>
                    <a:pt x="311" y="591"/>
                  </a:lnTo>
                  <a:lnTo>
                    <a:pt x="308" y="593"/>
                  </a:lnTo>
                  <a:lnTo>
                    <a:pt x="304" y="599"/>
                  </a:lnTo>
                  <a:lnTo>
                    <a:pt x="308" y="606"/>
                  </a:lnTo>
                  <a:lnTo>
                    <a:pt x="310" y="608"/>
                  </a:lnTo>
                  <a:lnTo>
                    <a:pt x="311" y="609"/>
                  </a:lnTo>
                  <a:lnTo>
                    <a:pt x="311" y="612"/>
                  </a:lnTo>
                  <a:lnTo>
                    <a:pt x="309" y="611"/>
                  </a:lnTo>
                  <a:lnTo>
                    <a:pt x="302" y="604"/>
                  </a:lnTo>
                  <a:lnTo>
                    <a:pt x="297" y="602"/>
                  </a:lnTo>
                  <a:lnTo>
                    <a:pt x="295" y="598"/>
                  </a:lnTo>
                  <a:lnTo>
                    <a:pt x="294" y="591"/>
                  </a:lnTo>
                  <a:lnTo>
                    <a:pt x="292" y="594"/>
                  </a:lnTo>
                  <a:lnTo>
                    <a:pt x="289" y="594"/>
                  </a:lnTo>
                  <a:lnTo>
                    <a:pt x="287" y="595"/>
                  </a:lnTo>
                  <a:lnTo>
                    <a:pt x="284" y="594"/>
                  </a:lnTo>
                  <a:lnTo>
                    <a:pt x="286" y="592"/>
                  </a:lnTo>
                  <a:lnTo>
                    <a:pt x="291" y="589"/>
                  </a:lnTo>
                  <a:lnTo>
                    <a:pt x="293" y="586"/>
                  </a:lnTo>
                  <a:lnTo>
                    <a:pt x="293" y="584"/>
                  </a:lnTo>
                  <a:lnTo>
                    <a:pt x="293" y="584"/>
                  </a:lnTo>
                  <a:lnTo>
                    <a:pt x="293" y="584"/>
                  </a:lnTo>
                  <a:lnTo>
                    <a:pt x="293" y="581"/>
                  </a:lnTo>
                  <a:lnTo>
                    <a:pt x="291" y="579"/>
                  </a:lnTo>
                  <a:lnTo>
                    <a:pt x="288" y="579"/>
                  </a:lnTo>
                  <a:lnTo>
                    <a:pt x="289" y="578"/>
                  </a:lnTo>
                  <a:lnTo>
                    <a:pt x="290" y="576"/>
                  </a:lnTo>
                  <a:lnTo>
                    <a:pt x="283" y="578"/>
                  </a:lnTo>
                  <a:lnTo>
                    <a:pt x="272" y="590"/>
                  </a:lnTo>
                  <a:lnTo>
                    <a:pt x="265" y="591"/>
                  </a:lnTo>
                  <a:lnTo>
                    <a:pt x="265" y="594"/>
                  </a:lnTo>
                  <a:lnTo>
                    <a:pt x="277" y="593"/>
                  </a:lnTo>
                  <a:lnTo>
                    <a:pt x="279" y="594"/>
                  </a:lnTo>
                  <a:lnTo>
                    <a:pt x="270" y="601"/>
                  </a:lnTo>
                  <a:lnTo>
                    <a:pt x="260" y="603"/>
                  </a:lnTo>
                  <a:lnTo>
                    <a:pt x="257" y="606"/>
                  </a:lnTo>
                  <a:lnTo>
                    <a:pt x="254" y="609"/>
                  </a:lnTo>
                  <a:lnTo>
                    <a:pt x="250" y="603"/>
                  </a:lnTo>
                  <a:lnTo>
                    <a:pt x="246" y="599"/>
                  </a:lnTo>
                  <a:lnTo>
                    <a:pt x="242" y="600"/>
                  </a:lnTo>
                  <a:lnTo>
                    <a:pt x="237" y="605"/>
                  </a:lnTo>
                  <a:lnTo>
                    <a:pt x="236" y="608"/>
                  </a:lnTo>
                  <a:lnTo>
                    <a:pt x="235" y="613"/>
                  </a:lnTo>
                  <a:lnTo>
                    <a:pt x="234" y="615"/>
                  </a:lnTo>
                  <a:lnTo>
                    <a:pt x="233" y="616"/>
                  </a:lnTo>
                  <a:lnTo>
                    <a:pt x="230" y="616"/>
                  </a:lnTo>
                  <a:lnTo>
                    <a:pt x="229" y="617"/>
                  </a:lnTo>
                  <a:lnTo>
                    <a:pt x="228" y="621"/>
                  </a:lnTo>
                  <a:lnTo>
                    <a:pt x="227" y="625"/>
                  </a:lnTo>
                  <a:lnTo>
                    <a:pt x="227" y="629"/>
                  </a:lnTo>
                  <a:lnTo>
                    <a:pt x="228" y="635"/>
                  </a:lnTo>
                  <a:lnTo>
                    <a:pt x="219" y="622"/>
                  </a:lnTo>
                  <a:lnTo>
                    <a:pt x="220" y="619"/>
                  </a:lnTo>
                  <a:lnTo>
                    <a:pt x="221" y="617"/>
                  </a:lnTo>
                  <a:lnTo>
                    <a:pt x="223" y="615"/>
                  </a:lnTo>
                  <a:lnTo>
                    <a:pt x="225" y="615"/>
                  </a:lnTo>
                  <a:lnTo>
                    <a:pt x="224" y="611"/>
                  </a:lnTo>
                  <a:lnTo>
                    <a:pt x="223" y="609"/>
                  </a:lnTo>
                  <a:lnTo>
                    <a:pt x="228" y="606"/>
                  </a:lnTo>
                  <a:lnTo>
                    <a:pt x="230" y="603"/>
                  </a:lnTo>
                  <a:lnTo>
                    <a:pt x="231" y="599"/>
                  </a:lnTo>
                  <a:lnTo>
                    <a:pt x="218" y="597"/>
                  </a:lnTo>
                  <a:lnTo>
                    <a:pt x="212" y="598"/>
                  </a:lnTo>
                  <a:lnTo>
                    <a:pt x="207" y="604"/>
                  </a:lnTo>
                  <a:lnTo>
                    <a:pt x="207" y="609"/>
                  </a:lnTo>
                  <a:lnTo>
                    <a:pt x="208" y="615"/>
                  </a:lnTo>
                  <a:lnTo>
                    <a:pt x="209" y="620"/>
                  </a:lnTo>
                  <a:lnTo>
                    <a:pt x="209" y="623"/>
                  </a:lnTo>
                  <a:lnTo>
                    <a:pt x="209" y="627"/>
                  </a:lnTo>
                  <a:lnTo>
                    <a:pt x="206" y="631"/>
                  </a:lnTo>
                  <a:lnTo>
                    <a:pt x="203" y="632"/>
                  </a:lnTo>
                  <a:lnTo>
                    <a:pt x="201" y="630"/>
                  </a:lnTo>
                  <a:lnTo>
                    <a:pt x="198" y="634"/>
                  </a:lnTo>
                  <a:lnTo>
                    <a:pt x="197" y="631"/>
                  </a:lnTo>
                  <a:lnTo>
                    <a:pt x="197" y="626"/>
                  </a:lnTo>
                  <a:lnTo>
                    <a:pt x="196" y="622"/>
                  </a:lnTo>
                  <a:lnTo>
                    <a:pt x="194" y="622"/>
                  </a:lnTo>
                  <a:lnTo>
                    <a:pt x="193" y="624"/>
                  </a:lnTo>
                  <a:lnTo>
                    <a:pt x="192" y="627"/>
                  </a:lnTo>
                  <a:lnTo>
                    <a:pt x="190" y="625"/>
                  </a:lnTo>
                  <a:lnTo>
                    <a:pt x="191" y="618"/>
                  </a:lnTo>
                  <a:lnTo>
                    <a:pt x="189" y="617"/>
                  </a:lnTo>
                  <a:lnTo>
                    <a:pt x="182" y="617"/>
                  </a:lnTo>
                  <a:lnTo>
                    <a:pt x="183" y="618"/>
                  </a:lnTo>
                  <a:lnTo>
                    <a:pt x="183" y="620"/>
                  </a:lnTo>
                  <a:lnTo>
                    <a:pt x="184" y="621"/>
                  </a:lnTo>
                  <a:lnTo>
                    <a:pt x="184" y="622"/>
                  </a:lnTo>
                  <a:lnTo>
                    <a:pt x="184" y="625"/>
                  </a:lnTo>
                  <a:lnTo>
                    <a:pt x="170" y="622"/>
                  </a:lnTo>
                  <a:lnTo>
                    <a:pt x="164" y="625"/>
                  </a:lnTo>
                  <a:lnTo>
                    <a:pt x="158" y="634"/>
                  </a:lnTo>
                  <a:lnTo>
                    <a:pt x="156" y="635"/>
                  </a:lnTo>
                  <a:lnTo>
                    <a:pt x="150" y="635"/>
                  </a:lnTo>
                  <a:lnTo>
                    <a:pt x="148" y="637"/>
                  </a:lnTo>
                  <a:lnTo>
                    <a:pt x="145" y="642"/>
                  </a:lnTo>
                  <a:lnTo>
                    <a:pt x="144" y="642"/>
                  </a:lnTo>
                  <a:lnTo>
                    <a:pt x="126" y="639"/>
                  </a:lnTo>
                  <a:lnTo>
                    <a:pt x="113" y="631"/>
                  </a:lnTo>
                  <a:lnTo>
                    <a:pt x="110" y="631"/>
                  </a:lnTo>
                  <a:lnTo>
                    <a:pt x="93" y="635"/>
                  </a:lnTo>
                  <a:lnTo>
                    <a:pt x="90" y="638"/>
                  </a:lnTo>
                  <a:lnTo>
                    <a:pt x="84" y="644"/>
                  </a:lnTo>
                  <a:lnTo>
                    <a:pt x="81" y="646"/>
                  </a:lnTo>
                  <a:lnTo>
                    <a:pt x="78" y="642"/>
                  </a:lnTo>
                  <a:lnTo>
                    <a:pt x="77" y="645"/>
                  </a:lnTo>
                  <a:lnTo>
                    <a:pt x="81" y="661"/>
                  </a:lnTo>
                  <a:lnTo>
                    <a:pt x="83" y="667"/>
                  </a:lnTo>
                  <a:lnTo>
                    <a:pt x="87" y="673"/>
                  </a:lnTo>
                  <a:lnTo>
                    <a:pt x="93" y="684"/>
                  </a:lnTo>
                  <a:lnTo>
                    <a:pt x="94" y="687"/>
                  </a:lnTo>
                  <a:lnTo>
                    <a:pt x="95" y="694"/>
                  </a:lnTo>
                  <a:lnTo>
                    <a:pt x="96" y="696"/>
                  </a:lnTo>
                  <a:lnTo>
                    <a:pt x="99" y="696"/>
                  </a:lnTo>
                  <a:lnTo>
                    <a:pt x="101" y="700"/>
                  </a:lnTo>
                  <a:lnTo>
                    <a:pt x="113" y="707"/>
                  </a:lnTo>
                  <a:lnTo>
                    <a:pt x="116" y="706"/>
                  </a:lnTo>
                  <a:lnTo>
                    <a:pt x="123" y="702"/>
                  </a:lnTo>
                  <a:lnTo>
                    <a:pt x="126" y="701"/>
                  </a:lnTo>
                  <a:lnTo>
                    <a:pt x="138" y="701"/>
                  </a:lnTo>
                  <a:lnTo>
                    <a:pt x="142" y="697"/>
                  </a:lnTo>
                  <a:lnTo>
                    <a:pt x="145" y="689"/>
                  </a:lnTo>
                  <a:lnTo>
                    <a:pt x="146" y="682"/>
                  </a:lnTo>
                  <a:lnTo>
                    <a:pt x="151" y="675"/>
                  </a:lnTo>
                  <a:lnTo>
                    <a:pt x="157" y="672"/>
                  </a:lnTo>
                  <a:lnTo>
                    <a:pt x="160" y="673"/>
                  </a:lnTo>
                  <a:lnTo>
                    <a:pt x="157" y="673"/>
                  </a:lnTo>
                  <a:lnTo>
                    <a:pt x="155" y="674"/>
                  </a:lnTo>
                  <a:lnTo>
                    <a:pt x="154" y="676"/>
                  </a:lnTo>
                  <a:lnTo>
                    <a:pt x="172" y="682"/>
                  </a:lnTo>
                  <a:lnTo>
                    <a:pt x="174" y="681"/>
                  </a:lnTo>
                  <a:lnTo>
                    <a:pt x="176" y="680"/>
                  </a:lnTo>
                  <a:lnTo>
                    <a:pt x="178" y="678"/>
                  </a:lnTo>
                  <a:lnTo>
                    <a:pt x="179" y="677"/>
                  </a:lnTo>
                  <a:lnTo>
                    <a:pt x="182" y="672"/>
                  </a:lnTo>
                  <a:lnTo>
                    <a:pt x="182" y="671"/>
                  </a:lnTo>
                  <a:lnTo>
                    <a:pt x="197" y="667"/>
                  </a:lnTo>
                  <a:lnTo>
                    <a:pt x="206" y="668"/>
                  </a:lnTo>
                  <a:lnTo>
                    <a:pt x="215" y="678"/>
                  </a:lnTo>
                  <a:lnTo>
                    <a:pt x="237" y="679"/>
                  </a:lnTo>
                  <a:lnTo>
                    <a:pt x="256" y="679"/>
                  </a:lnTo>
                  <a:lnTo>
                    <a:pt x="276" y="681"/>
                  </a:lnTo>
                  <a:lnTo>
                    <a:pt x="275" y="681"/>
                  </a:lnTo>
                  <a:lnTo>
                    <a:pt x="279" y="682"/>
                  </a:lnTo>
                  <a:lnTo>
                    <a:pt x="287" y="689"/>
                  </a:lnTo>
                  <a:lnTo>
                    <a:pt x="291" y="689"/>
                  </a:lnTo>
                  <a:lnTo>
                    <a:pt x="291" y="686"/>
                  </a:lnTo>
                  <a:lnTo>
                    <a:pt x="282" y="681"/>
                  </a:lnTo>
                  <a:lnTo>
                    <a:pt x="280" y="678"/>
                  </a:lnTo>
                  <a:lnTo>
                    <a:pt x="297" y="678"/>
                  </a:lnTo>
                  <a:lnTo>
                    <a:pt x="298" y="680"/>
                  </a:lnTo>
                  <a:lnTo>
                    <a:pt x="300" y="682"/>
                  </a:lnTo>
                  <a:lnTo>
                    <a:pt x="302" y="686"/>
                  </a:lnTo>
                  <a:lnTo>
                    <a:pt x="302" y="687"/>
                  </a:lnTo>
                  <a:lnTo>
                    <a:pt x="301" y="689"/>
                  </a:lnTo>
                  <a:lnTo>
                    <a:pt x="299" y="689"/>
                  </a:lnTo>
                  <a:lnTo>
                    <a:pt x="295" y="689"/>
                  </a:lnTo>
                  <a:lnTo>
                    <a:pt x="299" y="691"/>
                  </a:lnTo>
                  <a:lnTo>
                    <a:pt x="314" y="689"/>
                  </a:lnTo>
                  <a:lnTo>
                    <a:pt x="311" y="686"/>
                  </a:lnTo>
                  <a:lnTo>
                    <a:pt x="309" y="686"/>
                  </a:lnTo>
                  <a:lnTo>
                    <a:pt x="309" y="683"/>
                  </a:lnTo>
                  <a:lnTo>
                    <a:pt x="312" y="682"/>
                  </a:lnTo>
                  <a:lnTo>
                    <a:pt x="317" y="677"/>
                  </a:lnTo>
                  <a:lnTo>
                    <a:pt x="319" y="676"/>
                  </a:lnTo>
                  <a:lnTo>
                    <a:pt x="328" y="678"/>
                  </a:lnTo>
                  <a:lnTo>
                    <a:pt x="328" y="676"/>
                  </a:lnTo>
                  <a:lnTo>
                    <a:pt x="330" y="674"/>
                  </a:lnTo>
                  <a:lnTo>
                    <a:pt x="331" y="673"/>
                  </a:lnTo>
                  <a:lnTo>
                    <a:pt x="332" y="675"/>
                  </a:lnTo>
                  <a:lnTo>
                    <a:pt x="333" y="678"/>
                  </a:lnTo>
                  <a:lnTo>
                    <a:pt x="335" y="675"/>
                  </a:lnTo>
                  <a:lnTo>
                    <a:pt x="336" y="673"/>
                  </a:lnTo>
                  <a:lnTo>
                    <a:pt x="337" y="671"/>
                  </a:lnTo>
                  <a:lnTo>
                    <a:pt x="339" y="671"/>
                  </a:lnTo>
                  <a:lnTo>
                    <a:pt x="337" y="675"/>
                  </a:lnTo>
                  <a:lnTo>
                    <a:pt x="335" y="682"/>
                  </a:lnTo>
                  <a:lnTo>
                    <a:pt x="333" y="686"/>
                  </a:lnTo>
                  <a:lnTo>
                    <a:pt x="337" y="686"/>
                  </a:lnTo>
                  <a:lnTo>
                    <a:pt x="334" y="691"/>
                  </a:lnTo>
                  <a:lnTo>
                    <a:pt x="345" y="691"/>
                  </a:lnTo>
                  <a:lnTo>
                    <a:pt x="349" y="692"/>
                  </a:lnTo>
                  <a:lnTo>
                    <a:pt x="353" y="696"/>
                  </a:lnTo>
                  <a:lnTo>
                    <a:pt x="351" y="700"/>
                  </a:lnTo>
                  <a:lnTo>
                    <a:pt x="350" y="701"/>
                  </a:lnTo>
                  <a:lnTo>
                    <a:pt x="349" y="701"/>
                  </a:lnTo>
                  <a:lnTo>
                    <a:pt x="350" y="704"/>
                  </a:lnTo>
                  <a:lnTo>
                    <a:pt x="348" y="708"/>
                  </a:lnTo>
                  <a:lnTo>
                    <a:pt x="346" y="711"/>
                  </a:lnTo>
                  <a:lnTo>
                    <a:pt x="343" y="714"/>
                  </a:lnTo>
                  <a:lnTo>
                    <a:pt x="339" y="720"/>
                  </a:lnTo>
                  <a:lnTo>
                    <a:pt x="337" y="722"/>
                  </a:lnTo>
                  <a:lnTo>
                    <a:pt x="340" y="725"/>
                  </a:lnTo>
                  <a:lnTo>
                    <a:pt x="344" y="722"/>
                  </a:lnTo>
                  <a:lnTo>
                    <a:pt x="349" y="717"/>
                  </a:lnTo>
                  <a:lnTo>
                    <a:pt x="354" y="714"/>
                  </a:lnTo>
                  <a:lnTo>
                    <a:pt x="359" y="713"/>
                  </a:lnTo>
                  <a:lnTo>
                    <a:pt x="364" y="710"/>
                  </a:lnTo>
                  <a:lnTo>
                    <a:pt x="374" y="701"/>
                  </a:lnTo>
                  <a:lnTo>
                    <a:pt x="374" y="704"/>
                  </a:lnTo>
                  <a:lnTo>
                    <a:pt x="369" y="710"/>
                  </a:lnTo>
                  <a:lnTo>
                    <a:pt x="351" y="719"/>
                  </a:lnTo>
                  <a:lnTo>
                    <a:pt x="351" y="722"/>
                  </a:lnTo>
                  <a:lnTo>
                    <a:pt x="351" y="722"/>
                  </a:lnTo>
                  <a:lnTo>
                    <a:pt x="353" y="724"/>
                  </a:lnTo>
                  <a:lnTo>
                    <a:pt x="351" y="726"/>
                  </a:lnTo>
                  <a:lnTo>
                    <a:pt x="349" y="727"/>
                  </a:lnTo>
                  <a:lnTo>
                    <a:pt x="347" y="730"/>
                  </a:lnTo>
                  <a:lnTo>
                    <a:pt x="346" y="735"/>
                  </a:lnTo>
                  <a:lnTo>
                    <a:pt x="350" y="735"/>
                  </a:lnTo>
                  <a:lnTo>
                    <a:pt x="346" y="738"/>
                  </a:lnTo>
                  <a:lnTo>
                    <a:pt x="341" y="735"/>
                  </a:lnTo>
                  <a:lnTo>
                    <a:pt x="337" y="731"/>
                  </a:lnTo>
                  <a:lnTo>
                    <a:pt x="333" y="729"/>
                  </a:lnTo>
                  <a:lnTo>
                    <a:pt x="335" y="732"/>
                  </a:lnTo>
                  <a:lnTo>
                    <a:pt x="337" y="736"/>
                  </a:lnTo>
                  <a:lnTo>
                    <a:pt x="340" y="738"/>
                  </a:lnTo>
                  <a:lnTo>
                    <a:pt x="341" y="740"/>
                  </a:lnTo>
                  <a:lnTo>
                    <a:pt x="342" y="741"/>
                  </a:lnTo>
                  <a:lnTo>
                    <a:pt x="344" y="744"/>
                  </a:lnTo>
                  <a:lnTo>
                    <a:pt x="346" y="747"/>
                  </a:lnTo>
                  <a:lnTo>
                    <a:pt x="349" y="747"/>
                  </a:lnTo>
                  <a:lnTo>
                    <a:pt x="349" y="750"/>
                  </a:lnTo>
                  <a:lnTo>
                    <a:pt x="346" y="753"/>
                  </a:lnTo>
                  <a:lnTo>
                    <a:pt x="346" y="759"/>
                  </a:lnTo>
                  <a:lnTo>
                    <a:pt x="347" y="765"/>
                  </a:lnTo>
                  <a:lnTo>
                    <a:pt x="350" y="770"/>
                  </a:lnTo>
                  <a:lnTo>
                    <a:pt x="353" y="770"/>
                  </a:lnTo>
                  <a:lnTo>
                    <a:pt x="358" y="768"/>
                  </a:lnTo>
                  <a:lnTo>
                    <a:pt x="365" y="762"/>
                  </a:lnTo>
                  <a:lnTo>
                    <a:pt x="365" y="765"/>
                  </a:lnTo>
                  <a:lnTo>
                    <a:pt x="363" y="769"/>
                  </a:lnTo>
                  <a:lnTo>
                    <a:pt x="363" y="770"/>
                  </a:lnTo>
                  <a:lnTo>
                    <a:pt x="364" y="770"/>
                  </a:lnTo>
                  <a:lnTo>
                    <a:pt x="366" y="770"/>
                  </a:lnTo>
                  <a:lnTo>
                    <a:pt x="367" y="771"/>
                  </a:lnTo>
                  <a:lnTo>
                    <a:pt x="368" y="773"/>
                  </a:lnTo>
                  <a:lnTo>
                    <a:pt x="367" y="774"/>
                  </a:lnTo>
                  <a:lnTo>
                    <a:pt x="366" y="775"/>
                  </a:lnTo>
                  <a:lnTo>
                    <a:pt x="368" y="779"/>
                  </a:lnTo>
                  <a:lnTo>
                    <a:pt x="367" y="785"/>
                  </a:lnTo>
                  <a:lnTo>
                    <a:pt x="365" y="790"/>
                  </a:lnTo>
                  <a:lnTo>
                    <a:pt x="363" y="795"/>
                  </a:lnTo>
                  <a:lnTo>
                    <a:pt x="364" y="794"/>
                  </a:lnTo>
                  <a:lnTo>
                    <a:pt x="365" y="794"/>
                  </a:lnTo>
                  <a:lnTo>
                    <a:pt x="367" y="792"/>
                  </a:lnTo>
                  <a:lnTo>
                    <a:pt x="368" y="790"/>
                  </a:lnTo>
                  <a:lnTo>
                    <a:pt x="370" y="796"/>
                  </a:lnTo>
                  <a:lnTo>
                    <a:pt x="372" y="801"/>
                  </a:lnTo>
                  <a:lnTo>
                    <a:pt x="375" y="804"/>
                  </a:lnTo>
                  <a:lnTo>
                    <a:pt x="378" y="805"/>
                  </a:lnTo>
                  <a:lnTo>
                    <a:pt x="379" y="805"/>
                  </a:lnTo>
                  <a:lnTo>
                    <a:pt x="380" y="804"/>
                  </a:lnTo>
                  <a:lnTo>
                    <a:pt x="382" y="803"/>
                  </a:lnTo>
                  <a:lnTo>
                    <a:pt x="382" y="802"/>
                  </a:lnTo>
                  <a:lnTo>
                    <a:pt x="383" y="800"/>
                  </a:lnTo>
                  <a:lnTo>
                    <a:pt x="389" y="800"/>
                  </a:lnTo>
                  <a:lnTo>
                    <a:pt x="390" y="798"/>
                  </a:lnTo>
                  <a:lnTo>
                    <a:pt x="390" y="796"/>
                  </a:lnTo>
                  <a:lnTo>
                    <a:pt x="390" y="794"/>
                  </a:lnTo>
                  <a:lnTo>
                    <a:pt x="391" y="790"/>
                  </a:lnTo>
                  <a:lnTo>
                    <a:pt x="395" y="783"/>
                  </a:lnTo>
                  <a:lnTo>
                    <a:pt x="395" y="781"/>
                  </a:lnTo>
                  <a:lnTo>
                    <a:pt x="395" y="775"/>
                  </a:lnTo>
                  <a:lnTo>
                    <a:pt x="396" y="770"/>
                  </a:lnTo>
                  <a:lnTo>
                    <a:pt x="398" y="766"/>
                  </a:lnTo>
                  <a:lnTo>
                    <a:pt x="401" y="765"/>
                  </a:lnTo>
                  <a:lnTo>
                    <a:pt x="398" y="773"/>
                  </a:lnTo>
                  <a:lnTo>
                    <a:pt x="398" y="776"/>
                  </a:lnTo>
                  <a:lnTo>
                    <a:pt x="400" y="780"/>
                  </a:lnTo>
                  <a:lnTo>
                    <a:pt x="402" y="781"/>
                  </a:lnTo>
                  <a:lnTo>
                    <a:pt x="405" y="779"/>
                  </a:lnTo>
                  <a:lnTo>
                    <a:pt x="409" y="775"/>
                  </a:lnTo>
                  <a:lnTo>
                    <a:pt x="418" y="767"/>
                  </a:lnTo>
                  <a:lnTo>
                    <a:pt x="422" y="766"/>
                  </a:lnTo>
                  <a:lnTo>
                    <a:pt x="427" y="767"/>
                  </a:lnTo>
                  <a:lnTo>
                    <a:pt x="426" y="762"/>
                  </a:lnTo>
                  <a:lnTo>
                    <a:pt x="429" y="760"/>
                  </a:lnTo>
                  <a:lnTo>
                    <a:pt x="437" y="757"/>
                  </a:lnTo>
                  <a:lnTo>
                    <a:pt x="443" y="750"/>
                  </a:lnTo>
                  <a:lnTo>
                    <a:pt x="445" y="750"/>
                  </a:lnTo>
                  <a:lnTo>
                    <a:pt x="447" y="748"/>
                  </a:lnTo>
                  <a:lnTo>
                    <a:pt x="448" y="739"/>
                  </a:lnTo>
                  <a:lnTo>
                    <a:pt x="449" y="737"/>
                  </a:lnTo>
                  <a:lnTo>
                    <a:pt x="451" y="736"/>
                  </a:lnTo>
                  <a:lnTo>
                    <a:pt x="458" y="729"/>
                  </a:lnTo>
                  <a:lnTo>
                    <a:pt x="457" y="733"/>
                  </a:lnTo>
                  <a:lnTo>
                    <a:pt x="455" y="735"/>
                  </a:lnTo>
                  <a:lnTo>
                    <a:pt x="451" y="740"/>
                  </a:lnTo>
                  <a:lnTo>
                    <a:pt x="451" y="742"/>
                  </a:lnTo>
                  <a:lnTo>
                    <a:pt x="455" y="741"/>
                  </a:lnTo>
                  <a:lnTo>
                    <a:pt x="465" y="732"/>
                  </a:lnTo>
                  <a:lnTo>
                    <a:pt x="469" y="732"/>
                  </a:lnTo>
                  <a:lnTo>
                    <a:pt x="481" y="735"/>
                  </a:lnTo>
                  <a:lnTo>
                    <a:pt x="481" y="737"/>
                  </a:lnTo>
                  <a:lnTo>
                    <a:pt x="469" y="735"/>
                  </a:lnTo>
                  <a:lnTo>
                    <a:pt x="466" y="736"/>
                  </a:lnTo>
                  <a:lnTo>
                    <a:pt x="463" y="739"/>
                  </a:lnTo>
                  <a:lnTo>
                    <a:pt x="454" y="745"/>
                  </a:lnTo>
                  <a:lnTo>
                    <a:pt x="454" y="747"/>
                  </a:lnTo>
                  <a:lnTo>
                    <a:pt x="470" y="747"/>
                  </a:lnTo>
                  <a:lnTo>
                    <a:pt x="470" y="750"/>
                  </a:lnTo>
                  <a:lnTo>
                    <a:pt x="464" y="752"/>
                  </a:lnTo>
                  <a:lnTo>
                    <a:pt x="467" y="754"/>
                  </a:lnTo>
                  <a:lnTo>
                    <a:pt x="470" y="760"/>
                  </a:lnTo>
                  <a:lnTo>
                    <a:pt x="473" y="762"/>
                  </a:lnTo>
                  <a:lnTo>
                    <a:pt x="475" y="763"/>
                  </a:lnTo>
                  <a:lnTo>
                    <a:pt x="481" y="763"/>
                  </a:lnTo>
                  <a:lnTo>
                    <a:pt x="483" y="765"/>
                  </a:lnTo>
                  <a:lnTo>
                    <a:pt x="470" y="764"/>
                  </a:lnTo>
                  <a:lnTo>
                    <a:pt x="468" y="761"/>
                  </a:lnTo>
                  <a:lnTo>
                    <a:pt x="466" y="757"/>
                  </a:lnTo>
                  <a:lnTo>
                    <a:pt x="462" y="757"/>
                  </a:lnTo>
                  <a:lnTo>
                    <a:pt x="459" y="756"/>
                  </a:lnTo>
                  <a:lnTo>
                    <a:pt x="460" y="750"/>
                  </a:lnTo>
                  <a:lnTo>
                    <a:pt x="453" y="749"/>
                  </a:lnTo>
                  <a:lnTo>
                    <a:pt x="451" y="750"/>
                  </a:lnTo>
                  <a:lnTo>
                    <a:pt x="449" y="751"/>
                  </a:lnTo>
                  <a:lnTo>
                    <a:pt x="447" y="754"/>
                  </a:lnTo>
                  <a:lnTo>
                    <a:pt x="441" y="756"/>
                  </a:lnTo>
                  <a:lnTo>
                    <a:pt x="435" y="765"/>
                  </a:lnTo>
                  <a:lnTo>
                    <a:pt x="433" y="767"/>
                  </a:lnTo>
                  <a:lnTo>
                    <a:pt x="433" y="770"/>
                  </a:lnTo>
                  <a:lnTo>
                    <a:pt x="435" y="769"/>
                  </a:lnTo>
                  <a:lnTo>
                    <a:pt x="437" y="770"/>
                  </a:lnTo>
                  <a:lnTo>
                    <a:pt x="438" y="772"/>
                  </a:lnTo>
                  <a:lnTo>
                    <a:pt x="439" y="775"/>
                  </a:lnTo>
                  <a:lnTo>
                    <a:pt x="429" y="776"/>
                  </a:lnTo>
                  <a:lnTo>
                    <a:pt x="412" y="785"/>
                  </a:lnTo>
                  <a:lnTo>
                    <a:pt x="408" y="789"/>
                  </a:lnTo>
                  <a:lnTo>
                    <a:pt x="407" y="793"/>
                  </a:lnTo>
                  <a:lnTo>
                    <a:pt x="405" y="798"/>
                  </a:lnTo>
                  <a:lnTo>
                    <a:pt x="404" y="801"/>
                  </a:lnTo>
                  <a:lnTo>
                    <a:pt x="404" y="807"/>
                  </a:lnTo>
                  <a:lnTo>
                    <a:pt x="403" y="807"/>
                  </a:lnTo>
                  <a:lnTo>
                    <a:pt x="401" y="806"/>
                  </a:lnTo>
                  <a:lnTo>
                    <a:pt x="400" y="807"/>
                  </a:lnTo>
                  <a:lnTo>
                    <a:pt x="399" y="812"/>
                  </a:lnTo>
                  <a:lnTo>
                    <a:pt x="399" y="817"/>
                  </a:lnTo>
                  <a:lnTo>
                    <a:pt x="399" y="822"/>
                  </a:lnTo>
                  <a:lnTo>
                    <a:pt x="396" y="825"/>
                  </a:lnTo>
                  <a:lnTo>
                    <a:pt x="399" y="831"/>
                  </a:lnTo>
                  <a:lnTo>
                    <a:pt x="402" y="833"/>
                  </a:lnTo>
                  <a:lnTo>
                    <a:pt x="404" y="833"/>
                  </a:lnTo>
                  <a:lnTo>
                    <a:pt x="407" y="830"/>
                  </a:lnTo>
                  <a:lnTo>
                    <a:pt x="412" y="829"/>
                  </a:lnTo>
                  <a:lnTo>
                    <a:pt x="426" y="830"/>
                  </a:lnTo>
                  <a:lnTo>
                    <a:pt x="423" y="833"/>
                  </a:lnTo>
                  <a:lnTo>
                    <a:pt x="416" y="835"/>
                  </a:lnTo>
                  <a:lnTo>
                    <a:pt x="413" y="838"/>
                  </a:lnTo>
                  <a:lnTo>
                    <a:pt x="409" y="836"/>
                  </a:lnTo>
                  <a:lnTo>
                    <a:pt x="406" y="838"/>
                  </a:lnTo>
                  <a:lnTo>
                    <a:pt x="401" y="845"/>
                  </a:lnTo>
                  <a:lnTo>
                    <a:pt x="394" y="852"/>
                  </a:lnTo>
                  <a:lnTo>
                    <a:pt x="388" y="856"/>
                  </a:lnTo>
                  <a:lnTo>
                    <a:pt x="388" y="858"/>
                  </a:lnTo>
                  <a:lnTo>
                    <a:pt x="402" y="864"/>
                  </a:lnTo>
                  <a:lnTo>
                    <a:pt x="409" y="865"/>
                  </a:lnTo>
                  <a:lnTo>
                    <a:pt x="415" y="859"/>
                  </a:lnTo>
                  <a:lnTo>
                    <a:pt x="418" y="857"/>
                  </a:lnTo>
                  <a:lnTo>
                    <a:pt x="425" y="851"/>
                  </a:lnTo>
                  <a:lnTo>
                    <a:pt x="428" y="850"/>
                  </a:lnTo>
                  <a:lnTo>
                    <a:pt x="429" y="850"/>
                  </a:lnTo>
                  <a:lnTo>
                    <a:pt x="432" y="849"/>
                  </a:lnTo>
                  <a:lnTo>
                    <a:pt x="434" y="848"/>
                  </a:lnTo>
                  <a:lnTo>
                    <a:pt x="435" y="846"/>
                  </a:lnTo>
                  <a:lnTo>
                    <a:pt x="436" y="844"/>
                  </a:lnTo>
                  <a:lnTo>
                    <a:pt x="436" y="842"/>
                  </a:lnTo>
                  <a:lnTo>
                    <a:pt x="437" y="840"/>
                  </a:lnTo>
                  <a:lnTo>
                    <a:pt x="449" y="829"/>
                  </a:lnTo>
                  <a:lnTo>
                    <a:pt x="462" y="826"/>
                  </a:lnTo>
                  <a:lnTo>
                    <a:pt x="491" y="828"/>
                  </a:lnTo>
                  <a:lnTo>
                    <a:pt x="490" y="828"/>
                  </a:lnTo>
                  <a:lnTo>
                    <a:pt x="491" y="828"/>
                  </a:lnTo>
                  <a:lnTo>
                    <a:pt x="491" y="828"/>
                  </a:lnTo>
                  <a:lnTo>
                    <a:pt x="491" y="829"/>
                  </a:lnTo>
                  <a:lnTo>
                    <a:pt x="491" y="830"/>
                  </a:lnTo>
                  <a:lnTo>
                    <a:pt x="488" y="833"/>
                  </a:lnTo>
                  <a:lnTo>
                    <a:pt x="487" y="833"/>
                  </a:lnTo>
                  <a:lnTo>
                    <a:pt x="486" y="833"/>
                  </a:lnTo>
                  <a:lnTo>
                    <a:pt x="486" y="835"/>
                  </a:lnTo>
                  <a:lnTo>
                    <a:pt x="489" y="837"/>
                  </a:lnTo>
                  <a:lnTo>
                    <a:pt x="497" y="833"/>
                  </a:lnTo>
                  <a:lnTo>
                    <a:pt x="495" y="836"/>
                  </a:lnTo>
                  <a:lnTo>
                    <a:pt x="492" y="840"/>
                  </a:lnTo>
                  <a:lnTo>
                    <a:pt x="488" y="841"/>
                  </a:lnTo>
                  <a:lnTo>
                    <a:pt x="467" y="835"/>
                  </a:lnTo>
                  <a:lnTo>
                    <a:pt x="463" y="836"/>
                  </a:lnTo>
                  <a:lnTo>
                    <a:pt x="459" y="838"/>
                  </a:lnTo>
                  <a:lnTo>
                    <a:pt x="453" y="843"/>
                  </a:lnTo>
                  <a:lnTo>
                    <a:pt x="454" y="843"/>
                  </a:lnTo>
                  <a:lnTo>
                    <a:pt x="456" y="844"/>
                  </a:lnTo>
                  <a:lnTo>
                    <a:pt x="459" y="846"/>
                  </a:lnTo>
                  <a:lnTo>
                    <a:pt x="456" y="846"/>
                  </a:lnTo>
                  <a:lnTo>
                    <a:pt x="449" y="845"/>
                  </a:lnTo>
                  <a:lnTo>
                    <a:pt x="445" y="845"/>
                  </a:lnTo>
                  <a:lnTo>
                    <a:pt x="443" y="847"/>
                  </a:lnTo>
                  <a:lnTo>
                    <a:pt x="441" y="849"/>
                  </a:lnTo>
                  <a:lnTo>
                    <a:pt x="438" y="857"/>
                  </a:lnTo>
                  <a:lnTo>
                    <a:pt x="435" y="863"/>
                  </a:lnTo>
                  <a:lnTo>
                    <a:pt x="430" y="868"/>
                  </a:lnTo>
                  <a:lnTo>
                    <a:pt x="420" y="875"/>
                  </a:lnTo>
                  <a:lnTo>
                    <a:pt x="421" y="881"/>
                  </a:lnTo>
                  <a:lnTo>
                    <a:pt x="420" y="884"/>
                  </a:lnTo>
                  <a:lnTo>
                    <a:pt x="415" y="888"/>
                  </a:lnTo>
                  <a:lnTo>
                    <a:pt x="421" y="889"/>
                  </a:lnTo>
                  <a:lnTo>
                    <a:pt x="422" y="887"/>
                  </a:lnTo>
                  <a:lnTo>
                    <a:pt x="424" y="886"/>
                  </a:lnTo>
                  <a:lnTo>
                    <a:pt x="425" y="886"/>
                  </a:lnTo>
                  <a:lnTo>
                    <a:pt x="429" y="886"/>
                  </a:lnTo>
                  <a:lnTo>
                    <a:pt x="433" y="886"/>
                  </a:lnTo>
                  <a:lnTo>
                    <a:pt x="434" y="889"/>
                  </a:lnTo>
                  <a:lnTo>
                    <a:pt x="434" y="895"/>
                  </a:lnTo>
                  <a:lnTo>
                    <a:pt x="437" y="893"/>
                  </a:lnTo>
                  <a:lnTo>
                    <a:pt x="442" y="893"/>
                  </a:lnTo>
                  <a:lnTo>
                    <a:pt x="447" y="893"/>
                  </a:lnTo>
                  <a:lnTo>
                    <a:pt x="450" y="895"/>
                  </a:lnTo>
                  <a:lnTo>
                    <a:pt x="445" y="898"/>
                  </a:lnTo>
                  <a:lnTo>
                    <a:pt x="442" y="900"/>
                  </a:lnTo>
                  <a:lnTo>
                    <a:pt x="441" y="904"/>
                  </a:lnTo>
                  <a:lnTo>
                    <a:pt x="442" y="907"/>
                  </a:lnTo>
                  <a:lnTo>
                    <a:pt x="445" y="906"/>
                  </a:lnTo>
                  <a:lnTo>
                    <a:pt x="451" y="903"/>
                  </a:lnTo>
                  <a:lnTo>
                    <a:pt x="448" y="911"/>
                  </a:lnTo>
                  <a:lnTo>
                    <a:pt x="444" y="911"/>
                  </a:lnTo>
                  <a:lnTo>
                    <a:pt x="442" y="911"/>
                  </a:lnTo>
                  <a:lnTo>
                    <a:pt x="437" y="909"/>
                  </a:lnTo>
                  <a:lnTo>
                    <a:pt x="433" y="911"/>
                  </a:lnTo>
                  <a:lnTo>
                    <a:pt x="436" y="913"/>
                  </a:lnTo>
                  <a:lnTo>
                    <a:pt x="434" y="914"/>
                  </a:lnTo>
                  <a:lnTo>
                    <a:pt x="433" y="915"/>
                  </a:lnTo>
                  <a:lnTo>
                    <a:pt x="431" y="918"/>
                  </a:lnTo>
                  <a:lnTo>
                    <a:pt x="433" y="920"/>
                  </a:lnTo>
                  <a:lnTo>
                    <a:pt x="434" y="921"/>
                  </a:lnTo>
                  <a:lnTo>
                    <a:pt x="436" y="921"/>
                  </a:lnTo>
                  <a:lnTo>
                    <a:pt x="438" y="921"/>
                  </a:lnTo>
                  <a:lnTo>
                    <a:pt x="435" y="923"/>
                  </a:lnTo>
                  <a:lnTo>
                    <a:pt x="433" y="923"/>
                  </a:lnTo>
                  <a:lnTo>
                    <a:pt x="428" y="921"/>
                  </a:lnTo>
                  <a:lnTo>
                    <a:pt x="427" y="919"/>
                  </a:lnTo>
                  <a:lnTo>
                    <a:pt x="426" y="917"/>
                  </a:lnTo>
                  <a:lnTo>
                    <a:pt x="425" y="916"/>
                  </a:lnTo>
                  <a:lnTo>
                    <a:pt x="401" y="912"/>
                  </a:lnTo>
                  <a:lnTo>
                    <a:pt x="396" y="916"/>
                  </a:lnTo>
                  <a:lnTo>
                    <a:pt x="402" y="916"/>
                  </a:lnTo>
                  <a:lnTo>
                    <a:pt x="407" y="919"/>
                  </a:lnTo>
                  <a:lnTo>
                    <a:pt x="417" y="928"/>
                  </a:lnTo>
                  <a:lnTo>
                    <a:pt x="416" y="928"/>
                  </a:lnTo>
                  <a:lnTo>
                    <a:pt x="414" y="930"/>
                  </a:lnTo>
                  <a:lnTo>
                    <a:pt x="417" y="930"/>
                  </a:lnTo>
                  <a:lnTo>
                    <a:pt x="417" y="933"/>
                  </a:lnTo>
                  <a:lnTo>
                    <a:pt x="414" y="934"/>
                  </a:lnTo>
                  <a:lnTo>
                    <a:pt x="411" y="935"/>
                  </a:lnTo>
                  <a:lnTo>
                    <a:pt x="408" y="935"/>
                  </a:lnTo>
                  <a:lnTo>
                    <a:pt x="405" y="933"/>
                  </a:lnTo>
                  <a:lnTo>
                    <a:pt x="408" y="931"/>
                  </a:lnTo>
                  <a:lnTo>
                    <a:pt x="409" y="930"/>
                  </a:lnTo>
                  <a:lnTo>
                    <a:pt x="406" y="929"/>
                  </a:lnTo>
                  <a:lnTo>
                    <a:pt x="402" y="929"/>
                  </a:lnTo>
                  <a:lnTo>
                    <a:pt x="398" y="932"/>
                  </a:lnTo>
                  <a:lnTo>
                    <a:pt x="396" y="938"/>
                  </a:lnTo>
                  <a:lnTo>
                    <a:pt x="399" y="936"/>
                  </a:lnTo>
                  <a:lnTo>
                    <a:pt x="403" y="937"/>
                  </a:lnTo>
                  <a:lnTo>
                    <a:pt x="407" y="940"/>
                  </a:lnTo>
                  <a:lnTo>
                    <a:pt x="409" y="943"/>
                  </a:lnTo>
                  <a:lnTo>
                    <a:pt x="409" y="945"/>
                  </a:lnTo>
                  <a:lnTo>
                    <a:pt x="409" y="947"/>
                  </a:lnTo>
                  <a:lnTo>
                    <a:pt x="408" y="948"/>
                  </a:lnTo>
                  <a:lnTo>
                    <a:pt x="407" y="947"/>
                  </a:lnTo>
                  <a:lnTo>
                    <a:pt x="405" y="945"/>
                  </a:lnTo>
                  <a:lnTo>
                    <a:pt x="401" y="951"/>
                  </a:lnTo>
                  <a:lnTo>
                    <a:pt x="397" y="954"/>
                  </a:lnTo>
                  <a:lnTo>
                    <a:pt x="384" y="957"/>
                  </a:lnTo>
                  <a:lnTo>
                    <a:pt x="376" y="964"/>
                  </a:lnTo>
                  <a:lnTo>
                    <a:pt x="372" y="965"/>
                  </a:lnTo>
                  <a:lnTo>
                    <a:pt x="370" y="965"/>
                  </a:lnTo>
                  <a:lnTo>
                    <a:pt x="366" y="961"/>
                  </a:lnTo>
                  <a:lnTo>
                    <a:pt x="364" y="960"/>
                  </a:lnTo>
                  <a:lnTo>
                    <a:pt x="362" y="961"/>
                  </a:lnTo>
                  <a:lnTo>
                    <a:pt x="356" y="965"/>
                  </a:lnTo>
                  <a:lnTo>
                    <a:pt x="349" y="966"/>
                  </a:lnTo>
                  <a:lnTo>
                    <a:pt x="346" y="968"/>
                  </a:lnTo>
                  <a:lnTo>
                    <a:pt x="345" y="970"/>
                  </a:lnTo>
                  <a:lnTo>
                    <a:pt x="342" y="972"/>
                  </a:lnTo>
                  <a:lnTo>
                    <a:pt x="341" y="975"/>
                  </a:lnTo>
                  <a:lnTo>
                    <a:pt x="343" y="978"/>
                  </a:lnTo>
                  <a:lnTo>
                    <a:pt x="341" y="980"/>
                  </a:lnTo>
                  <a:lnTo>
                    <a:pt x="337" y="981"/>
                  </a:lnTo>
                  <a:lnTo>
                    <a:pt x="321" y="980"/>
                  </a:lnTo>
                  <a:lnTo>
                    <a:pt x="317" y="979"/>
                  </a:lnTo>
                  <a:lnTo>
                    <a:pt x="315" y="975"/>
                  </a:lnTo>
                  <a:lnTo>
                    <a:pt x="317" y="975"/>
                  </a:lnTo>
                  <a:lnTo>
                    <a:pt x="315" y="966"/>
                  </a:lnTo>
                  <a:lnTo>
                    <a:pt x="311" y="957"/>
                  </a:lnTo>
                  <a:lnTo>
                    <a:pt x="307" y="950"/>
                  </a:lnTo>
                  <a:lnTo>
                    <a:pt x="301" y="947"/>
                  </a:lnTo>
                  <a:lnTo>
                    <a:pt x="297" y="941"/>
                  </a:lnTo>
                  <a:lnTo>
                    <a:pt x="294" y="940"/>
                  </a:lnTo>
                  <a:lnTo>
                    <a:pt x="292" y="942"/>
                  </a:lnTo>
                  <a:lnTo>
                    <a:pt x="291" y="944"/>
                  </a:lnTo>
                  <a:lnTo>
                    <a:pt x="290" y="947"/>
                  </a:lnTo>
                  <a:lnTo>
                    <a:pt x="290" y="950"/>
                  </a:lnTo>
                  <a:lnTo>
                    <a:pt x="290" y="954"/>
                  </a:lnTo>
                  <a:lnTo>
                    <a:pt x="290" y="961"/>
                  </a:lnTo>
                  <a:lnTo>
                    <a:pt x="290" y="965"/>
                  </a:lnTo>
                  <a:lnTo>
                    <a:pt x="289" y="968"/>
                  </a:lnTo>
                  <a:lnTo>
                    <a:pt x="287" y="975"/>
                  </a:lnTo>
                  <a:lnTo>
                    <a:pt x="288" y="982"/>
                  </a:lnTo>
                  <a:lnTo>
                    <a:pt x="291" y="986"/>
                  </a:lnTo>
                  <a:lnTo>
                    <a:pt x="294" y="989"/>
                  </a:lnTo>
                  <a:lnTo>
                    <a:pt x="297" y="990"/>
                  </a:lnTo>
                  <a:lnTo>
                    <a:pt x="301" y="987"/>
                  </a:lnTo>
                  <a:lnTo>
                    <a:pt x="302" y="987"/>
                  </a:lnTo>
                  <a:lnTo>
                    <a:pt x="303" y="991"/>
                  </a:lnTo>
                  <a:lnTo>
                    <a:pt x="302" y="992"/>
                  </a:lnTo>
                  <a:lnTo>
                    <a:pt x="295" y="992"/>
                  </a:lnTo>
                  <a:lnTo>
                    <a:pt x="293" y="995"/>
                  </a:lnTo>
                  <a:lnTo>
                    <a:pt x="290" y="1009"/>
                  </a:lnTo>
                  <a:lnTo>
                    <a:pt x="288" y="1012"/>
                  </a:lnTo>
                  <a:lnTo>
                    <a:pt x="289" y="1015"/>
                  </a:lnTo>
                  <a:lnTo>
                    <a:pt x="291" y="1016"/>
                  </a:lnTo>
                  <a:lnTo>
                    <a:pt x="292" y="1018"/>
                  </a:lnTo>
                  <a:lnTo>
                    <a:pt x="293" y="1022"/>
                  </a:lnTo>
                  <a:lnTo>
                    <a:pt x="293" y="1026"/>
                  </a:lnTo>
                  <a:lnTo>
                    <a:pt x="292" y="1029"/>
                  </a:lnTo>
                  <a:lnTo>
                    <a:pt x="291" y="1031"/>
                  </a:lnTo>
                  <a:lnTo>
                    <a:pt x="290" y="1035"/>
                  </a:lnTo>
                  <a:lnTo>
                    <a:pt x="292" y="1036"/>
                  </a:lnTo>
                  <a:lnTo>
                    <a:pt x="294" y="1040"/>
                  </a:lnTo>
                  <a:lnTo>
                    <a:pt x="296" y="1042"/>
                  </a:lnTo>
                  <a:lnTo>
                    <a:pt x="297" y="1041"/>
                  </a:lnTo>
                  <a:lnTo>
                    <a:pt x="298" y="1039"/>
                  </a:lnTo>
                  <a:lnTo>
                    <a:pt x="299" y="1038"/>
                  </a:lnTo>
                  <a:lnTo>
                    <a:pt x="300" y="1037"/>
                  </a:lnTo>
                  <a:lnTo>
                    <a:pt x="303" y="1035"/>
                  </a:lnTo>
                  <a:lnTo>
                    <a:pt x="319" y="1037"/>
                  </a:lnTo>
                  <a:lnTo>
                    <a:pt x="320" y="1037"/>
                  </a:lnTo>
                  <a:lnTo>
                    <a:pt x="322" y="1036"/>
                  </a:lnTo>
                  <a:lnTo>
                    <a:pt x="325" y="1033"/>
                  </a:lnTo>
                  <a:lnTo>
                    <a:pt x="330" y="1031"/>
                  </a:lnTo>
                  <a:lnTo>
                    <a:pt x="336" y="1027"/>
                  </a:lnTo>
                  <a:lnTo>
                    <a:pt x="340" y="1027"/>
                  </a:lnTo>
                  <a:lnTo>
                    <a:pt x="338" y="1029"/>
                  </a:lnTo>
                  <a:lnTo>
                    <a:pt x="341" y="1032"/>
                  </a:lnTo>
                  <a:lnTo>
                    <a:pt x="344" y="1029"/>
                  </a:lnTo>
                  <a:lnTo>
                    <a:pt x="347" y="1024"/>
                  </a:lnTo>
                  <a:lnTo>
                    <a:pt x="350" y="1022"/>
                  </a:lnTo>
                  <a:lnTo>
                    <a:pt x="393" y="1032"/>
                  </a:lnTo>
                  <a:lnTo>
                    <a:pt x="401" y="1029"/>
                  </a:lnTo>
                  <a:lnTo>
                    <a:pt x="404" y="1029"/>
                  </a:lnTo>
                  <a:lnTo>
                    <a:pt x="410" y="1029"/>
                  </a:lnTo>
                  <a:lnTo>
                    <a:pt x="437" y="1019"/>
                  </a:lnTo>
                  <a:lnTo>
                    <a:pt x="442" y="1020"/>
                  </a:lnTo>
                  <a:lnTo>
                    <a:pt x="447" y="1024"/>
                  </a:lnTo>
                  <a:lnTo>
                    <a:pt x="452" y="1029"/>
                  </a:lnTo>
                  <a:lnTo>
                    <a:pt x="458" y="1033"/>
                  </a:lnTo>
                  <a:lnTo>
                    <a:pt x="504" y="1027"/>
                  </a:lnTo>
                  <a:lnTo>
                    <a:pt x="505" y="1026"/>
                  </a:lnTo>
                  <a:lnTo>
                    <a:pt x="505" y="1025"/>
                  </a:lnTo>
                  <a:lnTo>
                    <a:pt x="506" y="1025"/>
                  </a:lnTo>
                  <a:lnTo>
                    <a:pt x="507" y="1024"/>
                  </a:lnTo>
                  <a:lnTo>
                    <a:pt x="504" y="1018"/>
                  </a:lnTo>
                  <a:lnTo>
                    <a:pt x="507" y="1014"/>
                  </a:lnTo>
                  <a:lnTo>
                    <a:pt x="511" y="1013"/>
                  </a:lnTo>
                  <a:lnTo>
                    <a:pt x="519" y="1012"/>
                  </a:lnTo>
                  <a:lnTo>
                    <a:pt x="526" y="1013"/>
                  </a:lnTo>
                  <a:lnTo>
                    <a:pt x="529" y="1015"/>
                  </a:lnTo>
                  <a:lnTo>
                    <a:pt x="527" y="1009"/>
                  </a:lnTo>
                  <a:lnTo>
                    <a:pt x="523" y="1006"/>
                  </a:lnTo>
                  <a:lnTo>
                    <a:pt x="515" y="1002"/>
                  </a:lnTo>
                  <a:lnTo>
                    <a:pt x="515" y="1000"/>
                  </a:lnTo>
                  <a:lnTo>
                    <a:pt x="517" y="999"/>
                  </a:lnTo>
                  <a:lnTo>
                    <a:pt x="522" y="993"/>
                  </a:lnTo>
                  <a:lnTo>
                    <a:pt x="523" y="991"/>
                  </a:lnTo>
                  <a:lnTo>
                    <a:pt x="525" y="989"/>
                  </a:lnTo>
                  <a:lnTo>
                    <a:pt x="533" y="987"/>
                  </a:lnTo>
                  <a:lnTo>
                    <a:pt x="536" y="988"/>
                  </a:lnTo>
                  <a:lnTo>
                    <a:pt x="543" y="992"/>
                  </a:lnTo>
                  <a:lnTo>
                    <a:pt x="555" y="992"/>
                  </a:lnTo>
                  <a:lnTo>
                    <a:pt x="551" y="997"/>
                  </a:lnTo>
                  <a:lnTo>
                    <a:pt x="544" y="998"/>
                  </a:lnTo>
                  <a:lnTo>
                    <a:pt x="531" y="997"/>
                  </a:lnTo>
                  <a:lnTo>
                    <a:pt x="533" y="1006"/>
                  </a:lnTo>
                  <a:lnTo>
                    <a:pt x="533" y="1009"/>
                  </a:lnTo>
                  <a:lnTo>
                    <a:pt x="532" y="1012"/>
                  </a:lnTo>
                  <a:lnTo>
                    <a:pt x="536" y="1018"/>
                  </a:lnTo>
                  <a:lnTo>
                    <a:pt x="540" y="1021"/>
                  </a:lnTo>
                  <a:lnTo>
                    <a:pt x="543" y="1022"/>
                  </a:lnTo>
                  <a:lnTo>
                    <a:pt x="550" y="1028"/>
                  </a:lnTo>
                  <a:lnTo>
                    <a:pt x="570" y="1035"/>
                  </a:lnTo>
                  <a:lnTo>
                    <a:pt x="585" y="1045"/>
                  </a:lnTo>
                  <a:lnTo>
                    <a:pt x="591" y="1052"/>
                  </a:lnTo>
                  <a:lnTo>
                    <a:pt x="591" y="1050"/>
                  </a:lnTo>
                  <a:lnTo>
                    <a:pt x="589" y="1044"/>
                  </a:lnTo>
                  <a:lnTo>
                    <a:pt x="593" y="1047"/>
                  </a:lnTo>
                  <a:lnTo>
                    <a:pt x="598" y="1046"/>
                  </a:lnTo>
                  <a:lnTo>
                    <a:pt x="601" y="1043"/>
                  </a:lnTo>
                  <a:lnTo>
                    <a:pt x="607" y="1035"/>
                  </a:lnTo>
                  <a:lnTo>
                    <a:pt x="610" y="1029"/>
                  </a:lnTo>
                  <a:lnTo>
                    <a:pt x="611" y="1024"/>
                  </a:lnTo>
                  <a:lnTo>
                    <a:pt x="606" y="1022"/>
                  </a:lnTo>
                  <a:lnTo>
                    <a:pt x="606" y="1020"/>
                  </a:lnTo>
                  <a:lnTo>
                    <a:pt x="612" y="1022"/>
                  </a:lnTo>
                  <a:lnTo>
                    <a:pt x="614" y="1031"/>
                  </a:lnTo>
                  <a:lnTo>
                    <a:pt x="613" y="1042"/>
                  </a:lnTo>
                  <a:lnTo>
                    <a:pt x="608" y="1049"/>
                  </a:lnTo>
                  <a:lnTo>
                    <a:pt x="608" y="1052"/>
                  </a:lnTo>
                  <a:lnTo>
                    <a:pt x="611" y="1052"/>
                  </a:lnTo>
                  <a:lnTo>
                    <a:pt x="623" y="1049"/>
                  </a:lnTo>
                  <a:lnTo>
                    <a:pt x="623" y="1052"/>
                  </a:lnTo>
                  <a:lnTo>
                    <a:pt x="622" y="1052"/>
                  </a:lnTo>
                  <a:lnTo>
                    <a:pt x="621" y="1052"/>
                  </a:lnTo>
                  <a:lnTo>
                    <a:pt x="620" y="1052"/>
                  </a:lnTo>
                  <a:lnTo>
                    <a:pt x="620" y="1054"/>
                  </a:lnTo>
                  <a:lnTo>
                    <a:pt x="625" y="1054"/>
                  </a:lnTo>
                  <a:lnTo>
                    <a:pt x="625" y="1057"/>
                  </a:lnTo>
                  <a:lnTo>
                    <a:pt x="620" y="1056"/>
                  </a:lnTo>
                  <a:lnTo>
                    <a:pt x="618" y="1057"/>
                  </a:lnTo>
                  <a:lnTo>
                    <a:pt x="617" y="1059"/>
                  </a:lnTo>
                  <a:lnTo>
                    <a:pt x="615" y="1059"/>
                  </a:lnTo>
                  <a:lnTo>
                    <a:pt x="611" y="1055"/>
                  </a:lnTo>
                  <a:lnTo>
                    <a:pt x="609" y="1054"/>
                  </a:lnTo>
                  <a:lnTo>
                    <a:pt x="599" y="1054"/>
                  </a:lnTo>
                  <a:lnTo>
                    <a:pt x="610" y="1063"/>
                  </a:lnTo>
                  <a:lnTo>
                    <a:pt x="615" y="1065"/>
                  </a:lnTo>
                  <a:lnTo>
                    <a:pt x="622" y="1072"/>
                  </a:lnTo>
                  <a:lnTo>
                    <a:pt x="629" y="1076"/>
                  </a:lnTo>
                  <a:lnTo>
                    <a:pt x="630" y="1075"/>
                  </a:lnTo>
                  <a:lnTo>
                    <a:pt x="631" y="1071"/>
                  </a:lnTo>
                  <a:lnTo>
                    <a:pt x="632" y="1068"/>
                  </a:lnTo>
                  <a:lnTo>
                    <a:pt x="632" y="1064"/>
                  </a:lnTo>
                  <a:lnTo>
                    <a:pt x="632" y="1060"/>
                  </a:lnTo>
                  <a:lnTo>
                    <a:pt x="633" y="1059"/>
                  </a:lnTo>
                  <a:lnTo>
                    <a:pt x="637" y="1058"/>
                  </a:lnTo>
                  <a:lnTo>
                    <a:pt x="640" y="1054"/>
                  </a:lnTo>
                  <a:lnTo>
                    <a:pt x="644" y="1049"/>
                  </a:lnTo>
                  <a:lnTo>
                    <a:pt x="651" y="1040"/>
                  </a:lnTo>
                  <a:lnTo>
                    <a:pt x="653" y="1037"/>
                  </a:lnTo>
                  <a:lnTo>
                    <a:pt x="653" y="1035"/>
                  </a:lnTo>
                  <a:lnTo>
                    <a:pt x="653" y="1032"/>
                  </a:lnTo>
                  <a:lnTo>
                    <a:pt x="654" y="1030"/>
                  </a:lnTo>
                  <a:lnTo>
                    <a:pt x="656" y="1032"/>
                  </a:lnTo>
                  <a:lnTo>
                    <a:pt x="656" y="1037"/>
                  </a:lnTo>
                  <a:lnTo>
                    <a:pt x="656" y="1040"/>
                  </a:lnTo>
                  <a:lnTo>
                    <a:pt x="651" y="1049"/>
                  </a:lnTo>
                  <a:lnTo>
                    <a:pt x="663" y="1057"/>
                  </a:lnTo>
                  <a:lnTo>
                    <a:pt x="665" y="1059"/>
                  </a:lnTo>
                  <a:lnTo>
                    <a:pt x="669" y="1065"/>
                  </a:lnTo>
                  <a:lnTo>
                    <a:pt x="672" y="1069"/>
                  </a:lnTo>
                  <a:lnTo>
                    <a:pt x="667" y="1068"/>
                  </a:lnTo>
                  <a:lnTo>
                    <a:pt x="658" y="1059"/>
                  </a:lnTo>
                  <a:lnTo>
                    <a:pt x="653" y="1057"/>
                  </a:lnTo>
                  <a:lnTo>
                    <a:pt x="642" y="1058"/>
                  </a:lnTo>
                  <a:lnTo>
                    <a:pt x="637" y="1061"/>
                  </a:lnTo>
                  <a:lnTo>
                    <a:pt x="633" y="1066"/>
                  </a:lnTo>
                  <a:lnTo>
                    <a:pt x="635" y="1072"/>
                  </a:lnTo>
                  <a:lnTo>
                    <a:pt x="636" y="1074"/>
                  </a:lnTo>
                  <a:lnTo>
                    <a:pt x="634" y="1076"/>
                  </a:lnTo>
                  <a:lnTo>
                    <a:pt x="634" y="1076"/>
                  </a:lnTo>
                  <a:lnTo>
                    <a:pt x="637" y="1085"/>
                  </a:lnTo>
                  <a:lnTo>
                    <a:pt x="642" y="1091"/>
                  </a:lnTo>
                  <a:lnTo>
                    <a:pt x="652" y="1101"/>
                  </a:lnTo>
                  <a:lnTo>
                    <a:pt x="650" y="1095"/>
                  </a:lnTo>
                  <a:lnTo>
                    <a:pt x="647" y="1089"/>
                  </a:lnTo>
                  <a:lnTo>
                    <a:pt x="641" y="1081"/>
                  </a:lnTo>
                  <a:lnTo>
                    <a:pt x="641" y="1079"/>
                  </a:lnTo>
                  <a:lnTo>
                    <a:pt x="645" y="1078"/>
                  </a:lnTo>
                  <a:lnTo>
                    <a:pt x="647" y="1081"/>
                  </a:lnTo>
                  <a:lnTo>
                    <a:pt x="649" y="1085"/>
                  </a:lnTo>
                  <a:lnTo>
                    <a:pt x="651" y="1091"/>
                  </a:lnTo>
                  <a:lnTo>
                    <a:pt x="654" y="1094"/>
                  </a:lnTo>
                  <a:lnTo>
                    <a:pt x="657" y="1097"/>
                  </a:lnTo>
                  <a:lnTo>
                    <a:pt x="660" y="1100"/>
                  </a:lnTo>
                  <a:lnTo>
                    <a:pt x="662" y="1106"/>
                  </a:lnTo>
                  <a:lnTo>
                    <a:pt x="656" y="1103"/>
                  </a:lnTo>
                  <a:lnTo>
                    <a:pt x="656" y="1106"/>
                  </a:lnTo>
                  <a:lnTo>
                    <a:pt x="660" y="1109"/>
                  </a:lnTo>
                  <a:lnTo>
                    <a:pt x="663" y="1109"/>
                  </a:lnTo>
                  <a:lnTo>
                    <a:pt x="665" y="1108"/>
                  </a:lnTo>
                  <a:lnTo>
                    <a:pt x="668" y="1103"/>
                  </a:lnTo>
                  <a:lnTo>
                    <a:pt x="668" y="1105"/>
                  </a:lnTo>
                  <a:lnTo>
                    <a:pt x="667" y="1111"/>
                  </a:lnTo>
                  <a:lnTo>
                    <a:pt x="669" y="1111"/>
                  </a:lnTo>
                  <a:lnTo>
                    <a:pt x="673" y="1112"/>
                  </a:lnTo>
                  <a:lnTo>
                    <a:pt x="675" y="1113"/>
                  </a:lnTo>
                  <a:lnTo>
                    <a:pt x="673" y="1115"/>
                  </a:lnTo>
                  <a:lnTo>
                    <a:pt x="670" y="1116"/>
                  </a:lnTo>
                  <a:lnTo>
                    <a:pt x="667" y="1115"/>
                  </a:lnTo>
                  <a:lnTo>
                    <a:pt x="665" y="1113"/>
                  </a:lnTo>
                  <a:lnTo>
                    <a:pt x="668" y="1116"/>
                  </a:lnTo>
                  <a:lnTo>
                    <a:pt x="692" y="1136"/>
                  </a:lnTo>
                  <a:lnTo>
                    <a:pt x="697" y="1138"/>
                  </a:lnTo>
                  <a:lnTo>
                    <a:pt x="710" y="1137"/>
                  </a:lnTo>
                  <a:lnTo>
                    <a:pt x="709" y="1132"/>
                  </a:lnTo>
                  <a:lnTo>
                    <a:pt x="710" y="1133"/>
                  </a:lnTo>
                  <a:lnTo>
                    <a:pt x="710" y="1133"/>
                  </a:lnTo>
                  <a:lnTo>
                    <a:pt x="711" y="1135"/>
                  </a:lnTo>
                  <a:lnTo>
                    <a:pt x="712" y="1134"/>
                  </a:lnTo>
                  <a:lnTo>
                    <a:pt x="712" y="1133"/>
                  </a:lnTo>
                  <a:lnTo>
                    <a:pt x="712" y="1133"/>
                  </a:lnTo>
                  <a:lnTo>
                    <a:pt x="713" y="1132"/>
                  </a:lnTo>
                  <a:lnTo>
                    <a:pt x="716" y="1137"/>
                  </a:lnTo>
                  <a:lnTo>
                    <a:pt x="758" y="1140"/>
                  </a:lnTo>
                  <a:lnTo>
                    <a:pt x="742" y="1136"/>
                  </a:lnTo>
                  <a:lnTo>
                    <a:pt x="741" y="1135"/>
                  </a:lnTo>
                  <a:lnTo>
                    <a:pt x="756" y="1137"/>
                  </a:lnTo>
                  <a:lnTo>
                    <a:pt x="758" y="1137"/>
                  </a:lnTo>
                  <a:lnTo>
                    <a:pt x="761" y="1135"/>
                  </a:lnTo>
                  <a:lnTo>
                    <a:pt x="763" y="1135"/>
                  </a:lnTo>
                  <a:lnTo>
                    <a:pt x="765" y="1136"/>
                  </a:lnTo>
                  <a:lnTo>
                    <a:pt x="765" y="1138"/>
                  </a:lnTo>
                  <a:lnTo>
                    <a:pt x="764" y="1139"/>
                  </a:lnTo>
                  <a:lnTo>
                    <a:pt x="762" y="1140"/>
                  </a:lnTo>
                  <a:lnTo>
                    <a:pt x="767" y="1144"/>
                  </a:lnTo>
                  <a:lnTo>
                    <a:pt x="792" y="1151"/>
                  </a:lnTo>
                  <a:lnTo>
                    <a:pt x="811" y="1164"/>
                  </a:lnTo>
                  <a:lnTo>
                    <a:pt x="824" y="1166"/>
                  </a:lnTo>
                  <a:lnTo>
                    <a:pt x="832" y="1173"/>
                  </a:lnTo>
                  <a:lnTo>
                    <a:pt x="834" y="1174"/>
                  </a:lnTo>
                  <a:lnTo>
                    <a:pt x="856" y="1178"/>
                  </a:lnTo>
                  <a:lnTo>
                    <a:pt x="859" y="1174"/>
                  </a:lnTo>
                  <a:lnTo>
                    <a:pt x="861" y="1176"/>
                  </a:lnTo>
                  <a:lnTo>
                    <a:pt x="864" y="1178"/>
                  </a:lnTo>
                  <a:lnTo>
                    <a:pt x="870" y="1179"/>
                  </a:lnTo>
                  <a:lnTo>
                    <a:pt x="869" y="1180"/>
                  </a:lnTo>
                  <a:lnTo>
                    <a:pt x="868" y="1181"/>
                  </a:lnTo>
                  <a:lnTo>
                    <a:pt x="866" y="1181"/>
                  </a:lnTo>
                  <a:lnTo>
                    <a:pt x="871" y="1182"/>
                  </a:lnTo>
                  <a:lnTo>
                    <a:pt x="884" y="1179"/>
                  </a:lnTo>
                  <a:lnTo>
                    <a:pt x="914" y="1188"/>
                  </a:lnTo>
                  <a:lnTo>
                    <a:pt x="922" y="1189"/>
                  </a:lnTo>
                  <a:lnTo>
                    <a:pt x="956" y="1180"/>
                  </a:lnTo>
                  <a:lnTo>
                    <a:pt x="976" y="1170"/>
                  </a:lnTo>
                  <a:lnTo>
                    <a:pt x="1010" y="1165"/>
                  </a:lnTo>
                  <a:lnTo>
                    <a:pt x="1007" y="1164"/>
                  </a:lnTo>
                  <a:lnTo>
                    <a:pt x="1003" y="1164"/>
                  </a:lnTo>
                  <a:lnTo>
                    <a:pt x="996" y="1164"/>
                  </a:lnTo>
                  <a:lnTo>
                    <a:pt x="996" y="1162"/>
                  </a:lnTo>
                  <a:lnTo>
                    <a:pt x="996" y="1156"/>
                  </a:lnTo>
                  <a:lnTo>
                    <a:pt x="995" y="1151"/>
                  </a:lnTo>
                  <a:lnTo>
                    <a:pt x="993" y="1149"/>
                  </a:lnTo>
                  <a:lnTo>
                    <a:pt x="992" y="1148"/>
                  </a:lnTo>
                  <a:lnTo>
                    <a:pt x="989" y="1142"/>
                  </a:lnTo>
                  <a:lnTo>
                    <a:pt x="987" y="1140"/>
                  </a:lnTo>
                  <a:lnTo>
                    <a:pt x="988" y="1139"/>
                  </a:lnTo>
                  <a:lnTo>
                    <a:pt x="988" y="1138"/>
                  </a:lnTo>
                  <a:lnTo>
                    <a:pt x="989" y="1137"/>
                  </a:lnTo>
                  <a:lnTo>
                    <a:pt x="988" y="1135"/>
                  </a:lnTo>
                  <a:lnTo>
                    <a:pt x="991" y="1136"/>
                  </a:lnTo>
                  <a:lnTo>
                    <a:pt x="1002" y="1142"/>
                  </a:lnTo>
                  <a:lnTo>
                    <a:pt x="1007" y="1142"/>
                  </a:lnTo>
                  <a:lnTo>
                    <a:pt x="1015" y="1140"/>
                  </a:lnTo>
                  <a:lnTo>
                    <a:pt x="1020" y="1140"/>
                  </a:lnTo>
                  <a:lnTo>
                    <a:pt x="1020" y="1142"/>
                  </a:lnTo>
                  <a:lnTo>
                    <a:pt x="1015" y="1143"/>
                  </a:lnTo>
                  <a:lnTo>
                    <a:pt x="1013" y="1144"/>
                  </a:lnTo>
                  <a:lnTo>
                    <a:pt x="1010" y="1148"/>
                  </a:lnTo>
                  <a:lnTo>
                    <a:pt x="1009" y="1150"/>
                  </a:lnTo>
                  <a:lnTo>
                    <a:pt x="1004" y="1152"/>
                  </a:lnTo>
                  <a:lnTo>
                    <a:pt x="1002" y="1154"/>
                  </a:lnTo>
                  <a:lnTo>
                    <a:pt x="1008" y="1162"/>
                  </a:lnTo>
                  <a:lnTo>
                    <a:pt x="1017" y="1159"/>
                  </a:lnTo>
                  <a:lnTo>
                    <a:pt x="1028" y="1151"/>
                  </a:lnTo>
                  <a:lnTo>
                    <a:pt x="1044" y="1144"/>
                  </a:lnTo>
                  <a:lnTo>
                    <a:pt x="1051" y="1136"/>
                  </a:lnTo>
                  <a:lnTo>
                    <a:pt x="1057" y="1125"/>
                  </a:lnTo>
                  <a:lnTo>
                    <a:pt x="1061" y="1113"/>
                  </a:lnTo>
                  <a:lnTo>
                    <a:pt x="1059" y="1115"/>
                  </a:lnTo>
                  <a:lnTo>
                    <a:pt x="1047" y="1116"/>
                  </a:lnTo>
                  <a:lnTo>
                    <a:pt x="1048" y="1112"/>
                  </a:lnTo>
                  <a:lnTo>
                    <a:pt x="1047" y="1109"/>
                  </a:lnTo>
                  <a:lnTo>
                    <a:pt x="1046" y="1108"/>
                  </a:lnTo>
                  <a:lnTo>
                    <a:pt x="1044" y="1108"/>
                  </a:lnTo>
                  <a:lnTo>
                    <a:pt x="1046" y="1106"/>
                  </a:lnTo>
                  <a:lnTo>
                    <a:pt x="1050" y="1107"/>
                  </a:lnTo>
                  <a:lnTo>
                    <a:pt x="1050" y="1103"/>
                  </a:lnTo>
                  <a:lnTo>
                    <a:pt x="1057" y="1103"/>
                  </a:lnTo>
                  <a:lnTo>
                    <a:pt x="1056" y="1105"/>
                  </a:lnTo>
                  <a:lnTo>
                    <a:pt x="1056" y="1105"/>
                  </a:lnTo>
                  <a:lnTo>
                    <a:pt x="1056" y="1105"/>
                  </a:lnTo>
                  <a:lnTo>
                    <a:pt x="1056" y="1106"/>
                  </a:lnTo>
                  <a:lnTo>
                    <a:pt x="1060" y="1108"/>
                  </a:lnTo>
                  <a:lnTo>
                    <a:pt x="1064" y="1104"/>
                  </a:lnTo>
                  <a:lnTo>
                    <a:pt x="1071" y="1091"/>
                  </a:lnTo>
                  <a:lnTo>
                    <a:pt x="1067" y="1092"/>
                  </a:lnTo>
                  <a:lnTo>
                    <a:pt x="1054" y="1091"/>
                  </a:lnTo>
                  <a:lnTo>
                    <a:pt x="1052" y="1092"/>
                  </a:lnTo>
                  <a:lnTo>
                    <a:pt x="1049" y="1095"/>
                  </a:lnTo>
                  <a:lnTo>
                    <a:pt x="1046" y="1096"/>
                  </a:lnTo>
                  <a:lnTo>
                    <a:pt x="1044" y="1095"/>
                  </a:lnTo>
                  <a:lnTo>
                    <a:pt x="1043" y="1092"/>
                  </a:lnTo>
                  <a:lnTo>
                    <a:pt x="1044" y="1089"/>
                  </a:lnTo>
                  <a:lnTo>
                    <a:pt x="1046" y="1086"/>
                  </a:lnTo>
                  <a:lnTo>
                    <a:pt x="1049" y="1089"/>
                  </a:lnTo>
                  <a:lnTo>
                    <a:pt x="1052" y="1088"/>
                  </a:lnTo>
                  <a:lnTo>
                    <a:pt x="1054" y="1084"/>
                  </a:lnTo>
                  <a:lnTo>
                    <a:pt x="1054" y="1077"/>
                  </a:lnTo>
                  <a:lnTo>
                    <a:pt x="1055" y="1073"/>
                  </a:lnTo>
                  <a:lnTo>
                    <a:pt x="1058" y="1070"/>
                  </a:lnTo>
                  <a:lnTo>
                    <a:pt x="1061" y="1068"/>
                  </a:lnTo>
                  <a:lnTo>
                    <a:pt x="1063" y="1069"/>
                  </a:lnTo>
                  <a:lnTo>
                    <a:pt x="1065" y="1067"/>
                  </a:lnTo>
                  <a:lnTo>
                    <a:pt x="1067" y="1066"/>
                  </a:lnTo>
                  <a:lnTo>
                    <a:pt x="1071" y="1066"/>
                  </a:lnTo>
                  <a:lnTo>
                    <a:pt x="1071" y="1064"/>
                  </a:lnTo>
                  <a:lnTo>
                    <a:pt x="1068" y="1061"/>
                  </a:lnTo>
                  <a:lnTo>
                    <a:pt x="1072" y="1062"/>
                  </a:lnTo>
                  <a:lnTo>
                    <a:pt x="1076" y="1063"/>
                  </a:lnTo>
                  <a:lnTo>
                    <a:pt x="1080" y="1064"/>
                  </a:lnTo>
                  <a:lnTo>
                    <a:pt x="1084" y="1061"/>
                  </a:lnTo>
                  <a:lnTo>
                    <a:pt x="1083" y="1058"/>
                  </a:lnTo>
                  <a:lnTo>
                    <a:pt x="1083" y="1056"/>
                  </a:lnTo>
                  <a:lnTo>
                    <a:pt x="1084" y="1052"/>
                  </a:lnTo>
                  <a:lnTo>
                    <a:pt x="1088" y="1056"/>
                  </a:lnTo>
                  <a:lnTo>
                    <a:pt x="1098" y="1061"/>
                  </a:lnTo>
                  <a:lnTo>
                    <a:pt x="1098" y="1064"/>
                  </a:lnTo>
                  <a:lnTo>
                    <a:pt x="1093" y="1064"/>
                  </a:lnTo>
                  <a:lnTo>
                    <a:pt x="1088" y="1067"/>
                  </a:lnTo>
                  <a:lnTo>
                    <a:pt x="1084" y="1071"/>
                  </a:lnTo>
                  <a:lnTo>
                    <a:pt x="1083" y="1079"/>
                  </a:lnTo>
                  <a:lnTo>
                    <a:pt x="1103" y="1064"/>
                  </a:lnTo>
                  <a:lnTo>
                    <a:pt x="1103" y="1061"/>
                  </a:lnTo>
                  <a:lnTo>
                    <a:pt x="1103" y="1060"/>
                  </a:lnTo>
                  <a:lnTo>
                    <a:pt x="1103" y="1059"/>
                  </a:lnTo>
                  <a:lnTo>
                    <a:pt x="1103" y="1058"/>
                  </a:lnTo>
                  <a:lnTo>
                    <a:pt x="1103" y="1057"/>
                  </a:lnTo>
                  <a:lnTo>
                    <a:pt x="1105" y="1059"/>
                  </a:lnTo>
                  <a:lnTo>
                    <a:pt x="1107" y="1058"/>
                  </a:lnTo>
                  <a:lnTo>
                    <a:pt x="1109" y="1054"/>
                  </a:lnTo>
                  <a:lnTo>
                    <a:pt x="1110" y="1049"/>
                  </a:lnTo>
                  <a:lnTo>
                    <a:pt x="1111" y="1053"/>
                  </a:lnTo>
                  <a:lnTo>
                    <a:pt x="1111" y="1057"/>
                  </a:lnTo>
                  <a:lnTo>
                    <a:pt x="1110" y="1060"/>
                  </a:lnTo>
                  <a:lnTo>
                    <a:pt x="1108" y="1063"/>
                  </a:lnTo>
                  <a:lnTo>
                    <a:pt x="1123" y="1059"/>
                  </a:lnTo>
                  <a:lnTo>
                    <a:pt x="1145" y="1052"/>
                  </a:lnTo>
                  <a:lnTo>
                    <a:pt x="1164" y="1039"/>
                  </a:lnTo>
                  <a:lnTo>
                    <a:pt x="1165" y="1045"/>
                  </a:lnTo>
                  <a:lnTo>
                    <a:pt x="1167" y="1046"/>
                  </a:lnTo>
                  <a:lnTo>
                    <a:pt x="1169" y="1043"/>
                  </a:lnTo>
                  <a:lnTo>
                    <a:pt x="1171" y="1042"/>
                  </a:lnTo>
                  <a:lnTo>
                    <a:pt x="1177" y="1046"/>
                  </a:lnTo>
                  <a:lnTo>
                    <a:pt x="1179" y="1047"/>
                  </a:lnTo>
                  <a:lnTo>
                    <a:pt x="1191" y="1047"/>
                  </a:lnTo>
                  <a:lnTo>
                    <a:pt x="1196" y="1046"/>
                  </a:lnTo>
                  <a:lnTo>
                    <a:pt x="1199" y="1042"/>
                  </a:lnTo>
                  <a:lnTo>
                    <a:pt x="1196" y="1039"/>
                  </a:lnTo>
                  <a:lnTo>
                    <a:pt x="1196" y="1035"/>
                  </a:lnTo>
                  <a:lnTo>
                    <a:pt x="1195" y="1031"/>
                  </a:lnTo>
                  <a:lnTo>
                    <a:pt x="1193" y="1027"/>
                  </a:lnTo>
                  <a:lnTo>
                    <a:pt x="1194" y="1023"/>
                  </a:lnTo>
                  <a:lnTo>
                    <a:pt x="1197" y="1022"/>
                  </a:lnTo>
                  <a:lnTo>
                    <a:pt x="1200" y="1022"/>
                  </a:lnTo>
                  <a:lnTo>
                    <a:pt x="1203" y="1020"/>
                  </a:lnTo>
                  <a:lnTo>
                    <a:pt x="1201" y="1017"/>
                  </a:lnTo>
                  <a:lnTo>
                    <a:pt x="1201" y="1013"/>
                  </a:lnTo>
                  <a:lnTo>
                    <a:pt x="1201" y="1004"/>
                  </a:lnTo>
                  <a:lnTo>
                    <a:pt x="1202" y="1002"/>
                  </a:lnTo>
                  <a:lnTo>
                    <a:pt x="1204" y="1003"/>
                  </a:lnTo>
                  <a:lnTo>
                    <a:pt x="1206" y="1006"/>
                  </a:lnTo>
                  <a:lnTo>
                    <a:pt x="1206" y="1007"/>
                  </a:lnTo>
                  <a:lnTo>
                    <a:pt x="1207" y="1010"/>
                  </a:lnTo>
                  <a:lnTo>
                    <a:pt x="1207" y="1015"/>
                  </a:lnTo>
                  <a:lnTo>
                    <a:pt x="1206" y="1024"/>
                  </a:lnTo>
                  <a:lnTo>
                    <a:pt x="1206" y="1025"/>
                  </a:lnTo>
                  <a:lnTo>
                    <a:pt x="1207" y="1026"/>
                  </a:lnTo>
                  <a:lnTo>
                    <a:pt x="1207" y="1029"/>
                  </a:lnTo>
                  <a:lnTo>
                    <a:pt x="1205" y="1029"/>
                  </a:lnTo>
                  <a:lnTo>
                    <a:pt x="1205" y="1030"/>
                  </a:lnTo>
                  <a:lnTo>
                    <a:pt x="1204" y="1032"/>
                  </a:lnTo>
                  <a:lnTo>
                    <a:pt x="1204" y="1035"/>
                  </a:lnTo>
                  <a:lnTo>
                    <a:pt x="1205" y="1038"/>
                  </a:lnTo>
                  <a:lnTo>
                    <a:pt x="1204" y="1041"/>
                  </a:lnTo>
                  <a:lnTo>
                    <a:pt x="1203" y="1049"/>
                  </a:lnTo>
                  <a:lnTo>
                    <a:pt x="1206" y="1049"/>
                  </a:lnTo>
                  <a:lnTo>
                    <a:pt x="1208" y="1047"/>
                  </a:lnTo>
                  <a:lnTo>
                    <a:pt x="1209" y="1045"/>
                  </a:lnTo>
                  <a:lnTo>
                    <a:pt x="1207" y="1042"/>
                  </a:lnTo>
                  <a:lnTo>
                    <a:pt x="1208" y="1038"/>
                  </a:lnTo>
                  <a:lnTo>
                    <a:pt x="1208" y="1033"/>
                  </a:lnTo>
                  <a:lnTo>
                    <a:pt x="1208" y="1023"/>
                  </a:lnTo>
                  <a:lnTo>
                    <a:pt x="1208" y="1021"/>
                  </a:lnTo>
                  <a:lnTo>
                    <a:pt x="1210" y="1023"/>
                  </a:lnTo>
                  <a:lnTo>
                    <a:pt x="1211" y="1028"/>
                  </a:lnTo>
                  <a:lnTo>
                    <a:pt x="1211" y="1031"/>
                  </a:lnTo>
                  <a:lnTo>
                    <a:pt x="1211" y="1040"/>
                  </a:lnTo>
                  <a:lnTo>
                    <a:pt x="1211" y="1043"/>
                  </a:lnTo>
                  <a:lnTo>
                    <a:pt x="1213" y="1044"/>
                  </a:lnTo>
                  <a:lnTo>
                    <a:pt x="1214" y="1042"/>
                  </a:lnTo>
                  <a:lnTo>
                    <a:pt x="1214" y="1037"/>
                  </a:lnTo>
                  <a:lnTo>
                    <a:pt x="1213" y="1031"/>
                  </a:lnTo>
                  <a:lnTo>
                    <a:pt x="1213" y="1025"/>
                  </a:lnTo>
                  <a:lnTo>
                    <a:pt x="1214" y="1022"/>
                  </a:lnTo>
                  <a:lnTo>
                    <a:pt x="1215" y="1021"/>
                  </a:lnTo>
                  <a:lnTo>
                    <a:pt x="1218" y="1022"/>
                  </a:lnTo>
                  <a:lnTo>
                    <a:pt x="1219" y="1024"/>
                  </a:lnTo>
                  <a:lnTo>
                    <a:pt x="1225" y="1032"/>
                  </a:lnTo>
                  <a:lnTo>
                    <a:pt x="1228" y="1034"/>
                  </a:lnTo>
                  <a:lnTo>
                    <a:pt x="1229" y="1036"/>
                  </a:lnTo>
                  <a:lnTo>
                    <a:pt x="1229" y="1041"/>
                  </a:lnTo>
                  <a:lnTo>
                    <a:pt x="1229" y="1043"/>
                  </a:lnTo>
                  <a:lnTo>
                    <a:pt x="1230" y="1044"/>
                  </a:lnTo>
                  <a:lnTo>
                    <a:pt x="1231" y="1043"/>
                  </a:lnTo>
                  <a:lnTo>
                    <a:pt x="1232" y="1038"/>
                  </a:lnTo>
                  <a:lnTo>
                    <a:pt x="1232" y="1033"/>
                  </a:lnTo>
                  <a:lnTo>
                    <a:pt x="1232" y="1029"/>
                  </a:lnTo>
                  <a:lnTo>
                    <a:pt x="1235" y="1029"/>
                  </a:lnTo>
                  <a:lnTo>
                    <a:pt x="1237" y="1027"/>
                  </a:lnTo>
                  <a:lnTo>
                    <a:pt x="1236" y="1027"/>
                  </a:lnTo>
                  <a:lnTo>
                    <a:pt x="1234" y="1026"/>
                  </a:lnTo>
                  <a:lnTo>
                    <a:pt x="1233" y="1024"/>
                  </a:lnTo>
                  <a:lnTo>
                    <a:pt x="1232" y="1022"/>
                  </a:lnTo>
                  <a:lnTo>
                    <a:pt x="1235" y="1025"/>
                  </a:lnTo>
                  <a:lnTo>
                    <a:pt x="1238" y="1026"/>
                  </a:lnTo>
                  <a:lnTo>
                    <a:pt x="1259" y="1020"/>
                  </a:lnTo>
                  <a:lnTo>
                    <a:pt x="1283" y="1000"/>
                  </a:lnTo>
                  <a:lnTo>
                    <a:pt x="1282" y="1004"/>
                  </a:lnTo>
                  <a:lnTo>
                    <a:pt x="1280" y="1007"/>
                  </a:lnTo>
                  <a:lnTo>
                    <a:pt x="1279" y="1009"/>
                  </a:lnTo>
                  <a:lnTo>
                    <a:pt x="1276" y="1010"/>
                  </a:lnTo>
                  <a:lnTo>
                    <a:pt x="1281" y="1007"/>
                  </a:lnTo>
                  <a:lnTo>
                    <a:pt x="1289" y="995"/>
                  </a:lnTo>
                  <a:lnTo>
                    <a:pt x="1300" y="985"/>
                  </a:lnTo>
                  <a:lnTo>
                    <a:pt x="1303" y="982"/>
                  </a:lnTo>
                  <a:lnTo>
                    <a:pt x="1307" y="974"/>
                  </a:lnTo>
                  <a:lnTo>
                    <a:pt x="1305" y="976"/>
                  </a:lnTo>
                  <a:lnTo>
                    <a:pt x="1303" y="978"/>
                  </a:lnTo>
                  <a:lnTo>
                    <a:pt x="1300" y="978"/>
                  </a:lnTo>
                  <a:lnTo>
                    <a:pt x="1303" y="972"/>
                  </a:lnTo>
                  <a:lnTo>
                    <a:pt x="1307" y="967"/>
                  </a:lnTo>
                  <a:lnTo>
                    <a:pt x="1316" y="960"/>
                  </a:lnTo>
                  <a:lnTo>
                    <a:pt x="1315" y="965"/>
                  </a:lnTo>
                  <a:lnTo>
                    <a:pt x="1318" y="964"/>
                  </a:lnTo>
                  <a:lnTo>
                    <a:pt x="1328" y="958"/>
                  </a:lnTo>
                  <a:lnTo>
                    <a:pt x="1328" y="955"/>
                  </a:lnTo>
                  <a:lnTo>
                    <a:pt x="1325" y="955"/>
                  </a:lnTo>
                  <a:lnTo>
                    <a:pt x="1325" y="953"/>
                  </a:lnTo>
                  <a:lnTo>
                    <a:pt x="1327" y="950"/>
                  </a:lnTo>
                  <a:lnTo>
                    <a:pt x="1329" y="949"/>
                  </a:lnTo>
                  <a:lnTo>
                    <a:pt x="1330" y="949"/>
                  </a:lnTo>
                  <a:lnTo>
                    <a:pt x="1332" y="953"/>
                  </a:lnTo>
                  <a:lnTo>
                    <a:pt x="1333" y="950"/>
                  </a:lnTo>
                  <a:lnTo>
                    <a:pt x="1335" y="948"/>
                  </a:lnTo>
                  <a:lnTo>
                    <a:pt x="1338" y="945"/>
                  </a:lnTo>
                  <a:lnTo>
                    <a:pt x="1344" y="939"/>
                  </a:lnTo>
                  <a:lnTo>
                    <a:pt x="1346" y="938"/>
                  </a:lnTo>
                  <a:lnTo>
                    <a:pt x="1349" y="937"/>
                  </a:lnTo>
                  <a:lnTo>
                    <a:pt x="1359" y="928"/>
                  </a:lnTo>
                  <a:lnTo>
                    <a:pt x="1359" y="926"/>
                  </a:lnTo>
                  <a:lnTo>
                    <a:pt x="1352" y="926"/>
                  </a:lnTo>
                  <a:lnTo>
                    <a:pt x="1357" y="921"/>
                  </a:lnTo>
                  <a:lnTo>
                    <a:pt x="1398" y="908"/>
                  </a:lnTo>
                  <a:lnTo>
                    <a:pt x="1404" y="903"/>
                  </a:lnTo>
                  <a:lnTo>
                    <a:pt x="1401" y="901"/>
                  </a:lnTo>
                  <a:lnTo>
                    <a:pt x="1387" y="906"/>
                  </a:lnTo>
                  <a:lnTo>
                    <a:pt x="1401" y="894"/>
                  </a:lnTo>
                  <a:lnTo>
                    <a:pt x="1406" y="888"/>
                  </a:lnTo>
                  <a:lnTo>
                    <a:pt x="1406" y="890"/>
                  </a:lnTo>
                  <a:lnTo>
                    <a:pt x="1407" y="891"/>
                  </a:lnTo>
                  <a:lnTo>
                    <a:pt x="1408" y="893"/>
                  </a:lnTo>
                  <a:lnTo>
                    <a:pt x="1412" y="890"/>
                  </a:lnTo>
                  <a:lnTo>
                    <a:pt x="1422" y="886"/>
                  </a:lnTo>
                  <a:lnTo>
                    <a:pt x="1431" y="885"/>
                  </a:lnTo>
                  <a:lnTo>
                    <a:pt x="1441" y="882"/>
                  </a:lnTo>
                  <a:lnTo>
                    <a:pt x="1445" y="878"/>
                  </a:lnTo>
                  <a:lnTo>
                    <a:pt x="1440" y="878"/>
                  </a:lnTo>
                  <a:lnTo>
                    <a:pt x="1437" y="877"/>
                  </a:lnTo>
                  <a:lnTo>
                    <a:pt x="1435" y="875"/>
                  </a:lnTo>
                  <a:lnTo>
                    <a:pt x="1439" y="873"/>
                  </a:lnTo>
                  <a:lnTo>
                    <a:pt x="1448" y="875"/>
                  </a:lnTo>
                  <a:lnTo>
                    <a:pt x="1452" y="873"/>
                  </a:lnTo>
                  <a:lnTo>
                    <a:pt x="1454" y="868"/>
                  </a:lnTo>
                  <a:lnTo>
                    <a:pt x="1455" y="862"/>
                  </a:lnTo>
                  <a:lnTo>
                    <a:pt x="1455" y="856"/>
                  </a:lnTo>
                  <a:lnTo>
                    <a:pt x="1452" y="853"/>
                  </a:lnTo>
                  <a:lnTo>
                    <a:pt x="1452" y="850"/>
                  </a:lnTo>
                  <a:lnTo>
                    <a:pt x="1453" y="852"/>
                  </a:lnTo>
                  <a:lnTo>
                    <a:pt x="1454" y="853"/>
                  </a:lnTo>
                  <a:lnTo>
                    <a:pt x="1456" y="852"/>
                  </a:lnTo>
                  <a:lnTo>
                    <a:pt x="1457" y="850"/>
                  </a:lnTo>
                  <a:lnTo>
                    <a:pt x="1456" y="847"/>
                  </a:lnTo>
                  <a:lnTo>
                    <a:pt x="1453" y="838"/>
                  </a:lnTo>
                  <a:lnTo>
                    <a:pt x="1451" y="834"/>
                  </a:lnTo>
                  <a:lnTo>
                    <a:pt x="1448" y="833"/>
                  </a:lnTo>
                  <a:lnTo>
                    <a:pt x="1442" y="830"/>
                  </a:lnTo>
                  <a:lnTo>
                    <a:pt x="1440" y="828"/>
                  </a:lnTo>
                  <a:lnTo>
                    <a:pt x="1444" y="829"/>
                  </a:lnTo>
                  <a:lnTo>
                    <a:pt x="1450" y="832"/>
                  </a:lnTo>
                  <a:lnTo>
                    <a:pt x="1453" y="835"/>
                  </a:lnTo>
                  <a:lnTo>
                    <a:pt x="1457" y="838"/>
                  </a:lnTo>
                  <a:lnTo>
                    <a:pt x="1460" y="845"/>
                  </a:lnTo>
                  <a:lnTo>
                    <a:pt x="1463" y="853"/>
                  </a:lnTo>
                  <a:lnTo>
                    <a:pt x="1461" y="858"/>
                  </a:lnTo>
                  <a:lnTo>
                    <a:pt x="1461" y="861"/>
                  </a:lnTo>
                  <a:lnTo>
                    <a:pt x="1464" y="862"/>
                  </a:lnTo>
                  <a:lnTo>
                    <a:pt x="1468" y="864"/>
                  </a:lnTo>
                  <a:lnTo>
                    <a:pt x="1470" y="865"/>
                  </a:lnTo>
                  <a:lnTo>
                    <a:pt x="1470" y="862"/>
                  </a:lnTo>
                  <a:lnTo>
                    <a:pt x="1469" y="859"/>
                  </a:lnTo>
                  <a:lnTo>
                    <a:pt x="1468" y="857"/>
                  </a:lnTo>
                  <a:lnTo>
                    <a:pt x="1467" y="856"/>
                  </a:lnTo>
                  <a:lnTo>
                    <a:pt x="1467" y="853"/>
                  </a:lnTo>
                  <a:lnTo>
                    <a:pt x="1469" y="851"/>
                  </a:lnTo>
                  <a:lnTo>
                    <a:pt x="1471" y="853"/>
                  </a:lnTo>
                  <a:lnTo>
                    <a:pt x="1473" y="856"/>
                  </a:lnTo>
                  <a:lnTo>
                    <a:pt x="1473" y="862"/>
                  </a:lnTo>
                  <a:lnTo>
                    <a:pt x="1474" y="864"/>
                  </a:lnTo>
                  <a:lnTo>
                    <a:pt x="1477" y="865"/>
                  </a:lnTo>
                  <a:lnTo>
                    <a:pt x="1482" y="863"/>
                  </a:lnTo>
                  <a:lnTo>
                    <a:pt x="1482" y="865"/>
                  </a:lnTo>
                  <a:lnTo>
                    <a:pt x="1479" y="875"/>
                  </a:lnTo>
                  <a:lnTo>
                    <a:pt x="1483" y="876"/>
                  </a:lnTo>
                  <a:lnTo>
                    <a:pt x="1484" y="875"/>
                  </a:lnTo>
                  <a:lnTo>
                    <a:pt x="1486" y="873"/>
                  </a:lnTo>
                  <a:lnTo>
                    <a:pt x="1484" y="871"/>
                  </a:lnTo>
                  <a:lnTo>
                    <a:pt x="1486" y="868"/>
                  </a:lnTo>
                  <a:lnTo>
                    <a:pt x="1488" y="869"/>
                  </a:lnTo>
                  <a:lnTo>
                    <a:pt x="1490" y="870"/>
                  </a:lnTo>
                  <a:lnTo>
                    <a:pt x="1492" y="871"/>
                  </a:lnTo>
                  <a:lnTo>
                    <a:pt x="1494" y="869"/>
                  </a:lnTo>
                  <a:lnTo>
                    <a:pt x="1496" y="864"/>
                  </a:lnTo>
                  <a:lnTo>
                    <a:pt x="1498" y="863"/>
                  </a:lnTo>
                  <a:lnTo>
                    <a:pt x="1501" y="864"/>
                  </a:lnTo>
                  <a:lnTo>
                    <a:pt x="1504" y="867"/>
                  </a:lnTo>
                  <a:lnTo>
                    <a:pt x="1509" y="873"/>
                  </a:lnTo>
                  <a:lnTo>
                    <a:pt x="1512" y="876"/>
                  </a:lnTo>
                  <a:lnTo>
                    <a:pt x="1515" y="877"/>
                  </a:lnTo>
                  <a:lnTo>
                    <a:pt x="1523" y="878"/>
                  </a:lnTo>
                  <a:lnTo>
                    <a:pt x="1526" y="877"/>
                  </a:lnTo>
                  <a:lnTo>
                    <a:pt x="1531" y="870"/>
                  </a:lnTo>
                  <a:lnTo>
                    <a:pt x="1534" y="871"/>
                  </a:lnTo>
                  <a:lnTo>
                    <a:pt x="1533" y="866"/>
                  </a:lnTo>
                  <a:lnTo>
                    <a:pt x="1532" y="861"/>
                  </a:lnTo>
                  <a:lnTo>
                    <a:pt x="1531" y="862"/>
                  </a:lnTo>
                  <a:lnTo>
                    <a:pt x="1529" y="863"/>
                  </a:lnTo>
                  <a:lnTo>
                    <a:pt x="1526" y="863"/>
                  </a:lnTo>
                  <a:lnTo>
                    <a:pt x="1524" y="862"/>
                  </a:lnTo>
                  <a:lnTo>
                    <a:pt x="1523" y="859"/>
                  </a:lnTo>
                  <a:lnTo>
                    <a:pt x="1522" y="857"/>
                  </a:lnTo>
                  <a:lnTo>
                    <a:pt x="1523" y="856"/>
                  </a:lnTo>
                  <a:lnTo>
                    <a:pt x="1525" y="855"/>
                  </a:lnTo>
                  <a:lnTo>
                    <a:pt x="1528" y="852"/>
                  </a:lnTo>
                  <a:lnTo>
                    <a:pt x="1530" y="849"/>
                  </a:lnTo>
                  <a:lnTo>
                    <a:pt x="1531" y="845"/>
                  </a:lnTo>
                  <a:lnTo>
                    <a:pt x="1532" y="845"/>
                  </a:lnTo>
                  <a:lnTo>
                    <a:pt x="1532" y="848"/>
                  </a:lnTo>
                  <a:lnTo>
                    <a:pt x="1531" y="849"/>
                  </a:lnTo>
                  <a:lnTo>
                    <a:pt x="1531" y="851"/>
                  </a:lnTo>
                  <a:lnTo>
                    <a:pt x="1530" y="856"/>
                  </a:lnTo>
                  <a:lnTo>
                    <a:pt x="1532" y="851"/>
                  </a:lnTo>
                  <a:lnTo>
                    <a:pt x="1535" y="847"/>
                  </a:lnTo>
                  <a:lnTo>
                    <a:pt x="1539" y="843"/>
                  </a:lnTo>
                  <a:lnTo>
                    <a:pt x="1548" y="837"/>
                  </a:lnTo>
                  <a:lnTo>
                    <a:pt x="1549" y="835"/>
                  </a:lnTo>
                  <a:lnTo>
                    <a:pt x="1553" y="829"/>
                  </a:lnTo>
                  <a:lnTo>
                    <a:pt x="1553" y="828"/>
                  </a:lnTo>
                  <a:lnTo>
                    <a:pt x="1555" y="827"/>
                  </a:lnTo>
                  <a:lnTo>
                    <a:pt x="1559" y="824"/>
                  </a:lnTo>
                  <a:lnTo>
                    <a:pt x="1560" y="823"/>
                  </a:lnTo>
                  <a:lnTo>
                    <a:pt x="1560" y="822"/>
                  </a:lnTo>
                  <a:lnTo>
                    <a:pt x="1560" y="817"/>
                  </a:lnTo>
                  <a:lnTo>
                    <a:pt x="1560" y="815"/>
                  </a:lnTo>
                  <a:lnTo>
                    <a:pt x="1562" y="815"/>
                  </a:lnTo>
                  <a:lnTo>
                    <a:pt x="1579" y="818"/>
                  </a:lnTo>
                  <a:lnTo>
                    <a:pt x="1583" y="820"/>
                  </a:lnTo>
                  <a:lnTo>
                    <a:pt x="1576" y="823"/>
                  </a:lnTo>
                  <a:lnTo>
                    <a:pt x="1562" y="828"/>
                  </a:lnTo>
                  <a:lnTo>
                    <a:pt x="1555" y="833"/>
                  </a:lnTo>
                  <a:lnTo>
                    <a:pt x="1559" y="831"/>
                  </a:lnTo>
                  <a:lnTo>
                    <a:pt x="1571" y="827"/>
                  </a:lnTo>
                  <a:lnTo>
                    <a:pt x="1587" y="825"/>
                  </a:lnTo>
                  <a:lnTo>
                    <a:pt x="1588" y="824"/>
                  </a:lnTo>
                  <a:lnTo>
                    <a:pt x="1589" y="818"/>
                  </a:lnTo>
                  <a:lnTo>
                    <a:pt x="1590" y="817"/>
                  </a:lnTo>
                  <a:lnTo>
                    <a:pt x="1590" y="814"/>
                  </a:lnTo>
                  <a:lnTo>
                    <a:pt x="1591" y="813"/>
                  </a:lnTo>
                  <a:lnTo>
                    <a:pt x="1592" y="813"/>
                  </a:lnTo>
                  <a:lnTo>
                    <a:pt x="1592" y="812"/>
                  </a:lnTo>
                  <a:lnTo>
                    <a:pt x="1593" y="810"/>
                  </a:lnTo>
                  <a:lnTo>
                    <a:pt x="1592" y="808"/>
                  </a:lnTo>
                  <a:lnTo>
                    <a:pt x="1592" y="806"/>
                  </a:lnTo>
                  <a:lnTo>
                    <a:pt x="1592" y="804"/>
                  </a:lnTo>
                  <a:lnTo>
                    <a:pt x="1593" y="801"/>
                  </a:lnTo>
                  <a:lnTo>
                    <a:pt x="1598" y="791"/>
                  </a:lnTo>
                  <a:lnTo>
                    <a:pt x="1598" y="789"/>
                  </a:lnTo>
                  <a:lnTo>
                    <a:pt x="1599" y="781"/>
                  </a:lnTo>
                  <a:lnTo>
                    <a:pt x="1600" y="778"/>
                  </a:lnTo>
                  <a:lnTo>
                    <a:pt x="1601" y="773"/>
                  </a:lnTo>
                  <a:lnTo>
                    <a:pt x="1616" y="755"/>
                  </a:lnTo>
                  <a:lnTo>
                    <a:pt x="1619" y="751"/>
                  </a:lnTo>
                  <a:lnTo>
                    <a:pt x="1617" y="750"/>
                  </a:lnTo>
                  <a:lnTo>
                    <a:pt x="1613" y="753"/>
                  </a:lnTo>
                  <a:lnTo>
                    <a:pt x="1603" y="768"/>
                  </a:lnTo>
                  <a:lnTo>
                    <a:pt x="1596" y="770"/>
                  </a:lnTo>
                  <a:lnTo>
                    <a:pt x="1596" y="773"/>
                  </a:lnTo>
                  <a:lnTo>
                    <a:pt x="1592" y="772"/>
                  </a:lnTo>
                  <a:lnTo>
                    <a:pt x="1589" y="770"/>
                  </a:lnTo>
                  <a:lnTo>
                    <a:pt x="1587" y="766"/>
                  </a:lnTo>
                  <a:lnTo>
                    <a:pt x="1586" y="766"/>
                  </a:lnTo>
                  <a:lnTo>
                    <a:pt x="1583" y="762"/>
                  </a:lnTo>
                  <a:lnTo>
                    <a:pt x="1581" y="757"/>
                  </a:lnTo>
                  <a:lnTo>
                    <a:pt x="1583" y="755"/>
                  </a:lnTo>
                  <a:lnTo>
                    <a:pt x="1604" y="755"/>
                  </a:lnTo>
                  <a:lnTo>
                    <a:pt x="1607" y="753"/>
                  </a:lnTo>
                  <a:lnTo>
                    <a:pt x="1609" y="750"/>
                  </a:lnTo>
                  <a:lnTo>
                    <a:pt x="1609" y="746"/>
                  </a:lnTo>
                  <a:lnTo>
                    <a:pt x="1607" y="742"/>
                  </a:lnTo>
                  <a:lnTo>
                    <a:pt x="1604" y="738"/>
                  </a:lnTo>
                  <a:lnTo>
                    <a:pt x="1598" y="735"/>
                  </a:lnTo>
                  <a:lnTo>
                    <a:pt x="1595" y="732"/>
                  </a:lnTo>
                  <a:lnTo>
                    <a:pt x="1603" y="726"/>
                  </a:lnTo>
                  <a:lnTo>
                    <a:pt x="1630" y="735"/>
                  </a:lnTo>
                  <a:lnTo>
                    <a:pt x="1629" y="732"/>
                  </a:lnTo>
                  <a:lnTo>
                    <a:pt x="1631" y="728"/>
                  </a:lnTo>
                  <a:lnTo>
                    <a:pt x="1628" y="725"/>
                  </a:lnTo>
                  <a:lnTo>
                    <a:pt x="1620" y="722"/>
                  </a:lnTo>
                  <a:lnTo>
                    <a:pt x="1617" y="720"/>
                  </a:lnTo>
                  <a:lnTo>
                    <a:pt x="1615" y="715"/>
                  </a:lnTo>
                  <a:lnTo>
                    <a:pt x="1612" y="709"/>
                  </a:lnTo>
                  <a:lnTo>
                    <a:pt x="1613" y="704"/>
                  </a:lnTo>
                  <a:lnTo>
                    <a:pt x="1613" y="701"/>
                  </a:lnTo>
                  <a:lnTo>
                    <a:pt x="1610" y="701"/>
                  </a:lnTo>
                  <a:lnTo>
                    <a:pt x="1602" y="697"/>
                  </a:lnTo>
                  <a:lnTo>
                    <a:pt x="1600" y="694"/>
                  </a:lnTo>
                  <a:lnTo>
                    <a:pt x="1600" y="691"/>
                  </a:lnTo>
                  <a:lnTo>
                    <a:pt x="1601" y="687"/>
                  </a:lnTo>
                  <a:lnTo>
                    <a:pt x="1601" y="683"/>
                  </a:lnTo>
                  <a:lnTo>
                    <a:pt x="1599" y="681"/>
                  </a:lnTo>
                  <a:lnTo>
                    <a:pt x="1595" y="681"/>
                  </a:lnTo>
                  <a:lnTo>
                    <a:pt x="1593" y="681"/>
                  </a:lnTo>
                  <a:lnTo>
                    <a:pt x="1592" y="678"/>
                  </a:lnTo>
                  <a:lnTo>
                    <a:pt x="1604" y="681"/>
                  </a:lnTo>
                  <a:lnTo>
                    <a:pt x="1607" y="683"/>
                  </a:lnTo>
                  <a:lnTo>
                    <a:pt x="1611" y="692"/>
                  </a:lnTo>
                  <a:lnTo>
                    <a:pt x="1615" y="696"/>
                  </a:lnTo>
                  <a:lnTo>
                    <a:pt x="1620" y="710"/>
                  </a:lnTo>
                  <a:lnTo>
                    <a:pt x="1622" y="713"/>
                  </a:lnTo>
                  <a:lnTo>
                    <a:pt x="1625" y="715"/>
                  </a:lnTo>
                  <a:lnTo>
                    <a:pt x="1631" y="717"/>
                  </a:lnTo>
                  <a:lnTo>
                    <a:pt x="1666" y="709"/>
                  </a:lnTo>
                  <a:lnTo>
                    <a:pt x="1673" y="702"/>
                  </a:lnTo>
                  <a:lnTo>
                    <a:pt x="1676" y="701"/>
                  </a:lnTo>
                  <a:lnTo>
                    <a:pt x="1673" y="696"/>
                  </a:lnTo>
                  <a:lnTo>
                    <a:pt x="1671" y="692"/>
                  </a:lnTo>
                  <a:lnTo>
                    <a:pt x="1666" y="686"/>
                  </a:lnTo>
                  <a:lnTo>
                    <a:pt x="1666" y="683"/>
                  </a:lnTo>
                  <a:lnTo>
                    <a:pt x="1669" y="682"/>
                  </a:lnTo>
                  <a:lnTo>
                    <a:pt x="1670" y="680"/>
                  </a:lnTo>
                  <a:lnTo>
                    <a:pt x="1671" y="678"/>
                  </a:lnTo>
                  <a:lnTo>
                    <a:pt x="1676" y="681"/>
                  </a:lnTo>
                  <a:lnTo>
                    <a:pt x="1694" y="681"/>
                  </a:lnTo>
                  <a:lnTo>
                    <a:pt x="1699" y="680"/>
                  </a:lnTo>
                  <a:lnTo>
                    <a:pt x="1699" y="676"/>
                  </a:lnTo>
                  <a:lnTo>
                    <a:pt x="1696" y="673"/>
                  </a:lnTo>
                  <a:lnTo>
                    <a:pt x="1679" y="666"/>
                  </a:lnTo>
                  <a:lnTo>
                    <a:pt x="1684" y="662"/>
                  </a:lnTo>
                  <a:lnTo>
                    <a:pt x="1700" y="668"/>
                  </a:lnTo>
                  <a:lnTo>
                    <a:pt x="1702" y="667"/>
                  </a:lnTo>
                  <a:lnTo>
                    <a:pt x="1706" y="662"/>
                  </a:lnTo>
                  <a:lnTo>
                    <a:pt x="1709" y="661"/>
                  </a:lnTo>
                  <a:lnTo>
                    <a:pt x="1710" y="659"/>
                  </a:lnTo>
                  <a:lnTo>
                    <a:pt x="1710" y="656"/>
                  </a:lnTo>
                  <a:lnTo>
                    <a:pt x="1709" y="652"/>
                  </a:lnTo>
                  <a:lnTo>
                    <a:pt x="1707" y="650"/>
                  </a:lnTo>
                  <a:lnTo>
                    <a:pt x="1697" y="642"/>
                  </a:lnTo>
                  <a:lnTo>
                    <a:pt x="1674" y="637"/>
                  </a:lnTo>
                  <a:lnTo>
                    <a:pt x="1665" y="630"/>
                  </a:lnTo>
                  <a:lnTo>
                    <a:pt x="1668" y="628"/>
                  </a:lnTo>
                  <a:lnTo>
                    <a:pt x="1677" y="633"/>
                  </a:lnTo>
                  <a:lnTo>
                    <a:pt x="1693" y="630"/>
                  </a:lnTo>
                  <a:lnTo>
                    <a:pt x="1707" y="637"/>
                  </a:lnTo>
                  <a:lnTo>
                    <a:pt x="1715" y="638"/>
                  </a:lnTo>
                  <a:lnTo>
                    <a:pt x="1721" y="633"/>
                  </a:lnTo>
                  <a:lnTo>
                    <a:pt x="1718" y="627"/>
                  </a:lnTo>
                  <a:lnTo>
                    <a:pt x="1702" y="619"/>
                  </a:lnTo>
                  <a:lnTo>
                    <a:pt x="1694" y="613"/>
                  </a:lnTo>
                  <a:lnTo>
                    <a:pt x="1693" y="611"/>
                  </a:lnTo>
                  <a:lnTo>
                    <a:pt x="1692" y="607"/>
                  </a:lnTo>
                  <a:lnTo>
                    <a:pt x="1690" y="603"/>
                  </a:lnTo>
                  <a:lnTo>
                    <a:pt x="1688" y="600"/>
                  </a:lnTo>
                  <a:lnTo>
                    <a:pt x="1686" y="599"/>
                  </a:lnTo>
                  <a:lnTo>
                    <a:pt x="1636" y="594"/>
                  </a:lnTo>
                  <a:lnTo>
                    <a:pt x="1636" y="591"/>
                  </a:lnTo>
                  <a:lnTo>
                    <a:pt x="1669" y="590"/>
                  </a:lnTo>
                  <a:lnTo>
                    <a:pt x="1675" y="584"/>
                  </a:lnTo>
                  <a:lnTo>
                    <a:pt x="1673" y="583"/>
                  </a:lnTo>
                  <a:lnTo>
                    <a:pt x="1671" y="580"/>
                  </a:lnTo>
                  <a:lnTo>
                    <a:pt x="1669" y="578"/>
                  </a:lnTo>
                  <a:lnTo>
                    <a:pt x="1668" y="573"/>
                  </a:lnTo>
                  <a:lnTo>
                    <a:pt x="1673" y="575"/>
                  </a:lnTo>
                  <a:lnTo>
                    <a:pt x="1682" y="584"/>
                  </a:lnTo>
                  <a:lnTo>
                    <a:pt x="1690" y="587"/>
                  </a:lnTo>
                  <a:lnTo>
                    <a:pt x="1695" y="590"/>
                  </a:lnTo>
                  <a:lnTo>
                    <a:pt x="1698" y="591"/>
                  </a:lnTo>
                  <a:lnTo>
                    <a:pt x="1700" y="594"/>
                  </a:lnTo>
                  <a:lnTo>
                    <a:pt x="1702" y="598"/>
                  </a:lnTo>
                  <a:lnTo>
                    <a:pt x="1704" y="603"/>
                  </a:lnTo>
                  <a:lnTo>
                    <a:pt x="1705" y="607"/>
                  </a:lnTo>
                  <a:lnTo>
                    <a:pt x="1708" y="608"/>
                  </a:lnTo>
                  <a:lnTo>
                    <a:pt x="1718" y="607"/>
                  </a:lnTo>
                  <a:lnTo>
                    <a:pt x="1729" y="609"/>
                  </a:lnTo>
                  <a:lnTo>
                    <a:pt x="1732" y="608"/>
                  </a:lnTo>
                  <a:lnTo>
                    <a:pt x="1737" y="603"/>
                  </a:lnTo>
                  <a:lnTo>
                    <a:pt x="1739" y="602"/>
                  </a:lnTo>
                  <a:lnTo>
                    <a:pt x="1740" y="600"/>
                  </a:lnTo>
                  <a:lnTo>
                    <a:pt x="1738" y="596"/>
                  </a:lnTo>
                  <a:lnTo>
                    <a:pt x="1735" y="591"/>
                  </a:lnTo>
                  <a:lnTo>
                    <a:pt x="1739" y="589"/>
                  </a:lnTo>
                  <a:lnTo>
                    <a:pt x="1745" y="587"/>
                  </a:lnTo>
                  <a:lnTo>
                    <a:pt x="1748" y="584"/>
                  </a:lnTo>
                  <a:lnTo>
                    <a:pt x="1751" y="579"/>
                  </a:lnTo>
                  <a:lnTo>
                    <a:pt x="1753" y="574"/>
                  </a:lnTo>
                  <a:lnTo>
                    <a:pt x="1752" y="570"/>
                  </a:lnTo>
                  <a:close/>
                  <a:moveTo>
                    <a:pt x="1039" y="12"/>
                  </a:moveTo>
                  <a:lnTo>
                    <a:pt x="1042" y="10"/>
                  </a:lnTo>
                  <a:lnTo>
                    <a:pt x="1042" y="6"/>
                  </a:lnTo>
                  <a:lnTo>
                    <a:pt x="1041" y="5"/>
                  </a:lnTo>
                  <a:lnTo>
                    <a:pt x="1037" y="0"/>
                  </a:lnTo>
                  <a:lnTo>
                    <a:pt x="1035" y="1"/>
                  </a:lnTo>
                  <a:lnTo>
                    <a:pt x="1036" y="7"/>
                  </a:lnTo>
                  <a:lnTo>
                    <a:pt x="1039" y="12"/>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01" name="Freeform 37">
              <a:extLst>
                <a:ext uri="{FF2B5EF4-FFF2-40B4-BE49-F238E27FC236}">
                  <a16:creationId xmlns:a16="http://schemas.microsoft.com/office/drawing/2014/main" id="{FA5F8F7E-5803-4D53-B0CF-E60AD0AAF8F6}"/>
                </a:ext>
              </a:extLst>
            </p:cNvPr>
            <p:cNvSpPr>
              <a:spLocks/>
            </p:cNvSpPr>
            <p:nvPr/>
          </p:nvSpPr>
          <p:spPr bwMode="gray">
            <a:xfrm>
              <a:off x="9640149" y="4817495"/>
              <a:ext cx="671248" cy="410103"/>
            </a:xfrm>
            <a:custGeom>
              <a:avLst/>
              <a:gdLst>
                <a:gd name="T0" fmla="*/ 1053 w 1077"/>
                <a:gd name="T1" fmla="*/ 109 h 658"/>
                <a:gd name="T2" fmla="*/ 1009 w 1077"/>
                <a:gd name="T3" fmla="*/ 79 h 658"/>
                <a:gd name="T4" fmla="*/ 985 w 1077"/>
                <a:gd name="T5" fmla="*/ 55 h 658"/>
                <a:gd name="T6" fmla="*/ 959 w 1077"/>
                <a:gd name="T7" fmla="*/ 39 h 658"/>
                <a:gd name="T8" fmla="*/ 890 w 1077"/>
                <a:gd name="T9" fmla="*/ 51 h 658"/>
                <a:gd name="T10" fmla="*/ 849 w 1077"/>
                <a:gd name="T11" fmla="*/ 3 h 658"/>
                <a:gd name="T12" fmla="*/ 796 w 1077"/>
                <a:gd name="T13" fmla="*/ 19 h 658"/>
                <a:gd name="T14" fmla="*/ 701 w 1077"/>
                <a:gd name="T15" fmla="*/ 9 h 658"/>
                <a:gd name="T16" fmla="*/ 679 w 1077"/>
                <a:gd name="T17" fmla="*/ 56 h 658"/>
                <a:gd name="T18" fmla="*/ 640 w 1077"/>
                <a:gd name="T19" fmla="*/ 79 h 658"/>
                <a:gd name="T20" fmla="*/ 592 w 1077"/>
                <a:gd name="T21" fmla="*/ 98 h 658"/>
                <a:gd name="T22" fmla="*/ 560 w 1077"/>
                <a:gd name="T23" fmla="*/ 82 h 658"/>
                <a:gd name="T24" fmla="*/ 530 w 1077"/>
                <a:gd name="T25" fmla="*/ 115 h 658"/>
                <a:gd name="T26" fmla="*/ 424 w 1077"/>
                <a:gd name="T27" fmla="*/ 139 h 658"/>
                <a:gd name="T28" fmla="*/ 422 w 1077"/>
                <a:gd name="T29" fmla="*/ 179 h 658"/>
                <a:gd name="T30" fmla="*/ 258 w 1077"/>
                <a:gd name="T31" fmla="*/ 189 h 658"/>
                <a:gd name="T32" fmla="*/ 221 w 1077"/>
                <a:gd name="T33" fmla="*/ 163 h 658"/>
                <a:gd name="T34" fmla="*/ 158 w 1077"/>
                <a:gd name="T35" fmla="*/ 150 h 658"/>
                <a:gd name="T36" fmla="*/ 146 w 1077"/>
                <a:gd name="T37" fmla="*/ 171 h 658"/>
                <a:gd name="T38" fmla="*/ 129 w 1077"/>
                <a:gd name="T39" fmla="*/ 210 h 658"/>
                <a:gd name="T40" fmla="*/ 82 w 1077"/>
                <a:gd name="T41" fmla="*/ 194 h 658"/>
                <a:gd name="T42" fmla="*/ 51 w 1077"/>
                <a:gd name="T43" fmla="*/ 214 h 658"/>
                <a:gd name="T44" fmla="*/ 95 w 1077"/>
                <a:gd name="T45" fmla="*/ 248 h 658"/>
                <a:gd name="T46" fmla="*/ 53 w 1077"/>
                <a:gd name="T47" fmla="*/ 287 h 658"/>
                <a:gd name="T48" fmla="*/ 50 w 1077"/>
                <a:gd name="T49" fmla="*/ 322 h 658"/>
                <a:gd name="T50" fmla="*/ 62 w 1077"/>
                <a:gd name="T51" fmla="*/ 345 h 658"/>
                <a:gd name="T52" fmla="*/ 62 w 1077"/>
                <a:gd name="T53" fmla="*/ 370 h 658"/>
                <a:gd name="T54" fmla="*/ 27 w 1077"/>
                <a:gd name="T55" fmla="*/ 371 h 658"/>
                <a:gd name="T56" fmla="*/ 3 w 1077"/>
                <a:gd name="T57" fmla="*/ 400 h 658"/>
                <a:gd name="T58" fmla="*/ 35 w 1077"/>
                <a:gd name="T59" fmla="*/ 415 h 658"/>
                <a:gd name="T60" fmla="*/ 44 w 1077"/>
                <a:gd name="T61" fmla="*/ 440 h 658"/>
                <a:gd name="T62" fmla="*/ 67 w 1077"/>
                <a:gd name="T63" fmla="*/ 485 h 658"/>
                <a:gd name="T64" fmla="*/ 103 w 1077"/>
                <a:gd name="T65" fmla="*/ 508 h 658"/>
                <a:gd name="T66" fmla="*/ 120 w 1077"/>
                <a:gd name="T67" fmla="*/ 514 h 658"/>
                <a:gd name="T68" fmla="*/ 151 w 1077"/>
                <a:gd name="T69" fmla="*/ 562 h 658"/>
                <a:gd name="T70" fmla="*/ 193 w 1077"/>
                <a:gd name="T71" fmla="*/ 600 h 658"/>
                <a:gd name="T72" fmla="*/ 208 w 1077"/>
                <a:gd name="T73" fmla="*/ 609 h 658"/>
                <a:gd name="T74" fmla="*/ 248 w 1077"/>
                <a:gd name="T75" fmla="*/ 633 h 658"/>
                <a:gd name="T76" fmla="*/ 317 w 1077"/>
                <a:gd name="T77" fmla="*/ 651 h 658"/>
                <a:gd name="T78" fmla="*/ 364 w 1077"/>
                <a:gd name="T79" fmla="*/ 658 h 658"/>
                <a:gd name="T80" fmla="*/ 402 w 1077"/>
                <a:gd name="T81" fmla="*/ 630 h 658"/>
                <a:gd name="T82" fmla="*/ 433 w 1077"/>
                <a:gd name="T83" fmla="*/ 621 h 658"/>
                <a:gd name="T84" fmla="*/ 458 w 1077"/>
                <a:gd name="T85" fmla="*/ 611 h 658"/>
                <a:gd name="T86" fmla="*/ 505 w 1077"/>
                <a:gd name="T87" fmla="*/ 601 h 658"/>
                <a:gd name="T88" fmla="*/ 534 w 1077"/>
                <a:gd name="T89" fmla="*/ 582 h 658"/>
                <a:gd name="T90" fmla="*/ 568 w 1077"/>
                <a:gd name="T91" fmla="*/ 560 h 658"/>
                <a:gd name="T92" fmla="*/ 639 w 1077"/>
                <a:gd name="T93" fmla="*/ 566 h 658"/>
                <a:gd name="T94" fmla="*/ 716 w 1077"/>
                <a:gd name="T95" fmla="*/ 570 h 658"/>
                <a:gd name="T96" fmla="*/ 737 w 1077"/>
                <a:gd name="T97" fmla="*/ 549 h 658"/>
                <a:gd name="T98" fmla="*/ 767 w 1077"/>
                <a:gd name="T99" fmla="*/ 540 h 658"/>
                <a:gd name="T100" fmla="*/ 805 w 1077"/>
                <a:gd name="T101" fmla="*/ 527 h 658"/>
                <a:gd name="T102" fmla="*/ 827 w 1077"/>
                <a:gd name="T103" fmla="*/ 461 h 658"/>
                <a:gd name="T104" fmla="*/ 854 w 1077"/>
                <a:gd name="T105" fmla="*/ 430 h 658"/>
                <a:gd name="T106" fmla="*/ 872 w 1077"/>
                <a:gd name="T107" fmla="*/ 397 h 658"/>
                <a:gd name="T108" fmla="*/ 880 w 1077"/>
                <a:gd name="T109" fmla="*/ 365 h 658"/>
                <a:gd name="T110" fmla="*/ 910 w 1077"/>
                <a:gd name="T111" fmla="*/ 322 h 658"/>
                <a:gd name="T112" fmla="*/ 936 w 1077"/>
                <a:gd name="T113" fmla="*/ 255 h 658"/>
                <a:gd name="T114" fmla="*/ 970 w 1077"/>
                <a:gd name="T115" fmla="*/ 214 h 658"/>
                <a:gd name="T116" fmla="*/ 1005 w 1077"/>
                <a:gd name="T117" fmla="*/ 187 h 658"/>
                <a:gd name="T118" fmla="*/ 1057 w 1077"/>
                <a:gd name="T119" fmla="*/ 17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77" h="658">
                  <a:moveTo>
                    <a:pt x="1071" y="143"/>
                  </a:moveTo>
                  <a:lnTo>
                    <a:pt x="1070" y="140"/>
                  </a:lnTo>
                  <a:lnTo>
                    <a:pt x="1073" y="137"/>
                  </a:lnTo>
                  <a:lnTo>
                    <a:pt x="1073" y="133"/>
                  </a:lnTo>
                  <a:lnTo>
                    <a:pt x="1074" y="131"/>
                  </a:lnTo>
                  <a:lnTo>
                    <a:pt x="1074" y="129"/>
                  </a:lnTo>
                  <a:lnTo>
                    <a:pt x="1073" y="124"/>
                  </a:lnTo>
                  <a:lnTo>
                    <a:pt x="1072" y="121"/>
                  </a:lnTo>
                  <a:lnTo>
                    <a:pt x="1070" y="118"/>
                  </a:lnTo>
                  <a:lnTo>
                    <a:pt x="1065" y="114"/>
                  </a:lnTo>
                  <a:lnTo>
                    <a:pt x="1059" y="111"/>
                  </a:lnTo>
                  <a:lnTo>
                    <a:pt x="1059" y="110"/>
                  </a:lnTo>
                  <a:lnTo>
                    <a:pt x="1056" y="108"/>
                  </a:lnTo>
                  <a:lnTo>
                    <a:pt x="1053" y="109"/>
                  </a:lnTo>
                  <a:lnTo>
                    <a:pt x="1051" y="110"/>
                  </a:lnTo>
                  <a:lnTo>
                    <a:pt x="1048" y="111"/>
                  </a:lnTo>
                  <a:lnTo>
                    <a:pt x="1036" y="111"/>
                  </a:lnTo>
                  <a:lnTo>
                    <a:pt x="1034" y="112"/>
                  </a:lnTo>
                  <a:lnTo>
                    <a:pt x="1034" y="112"/>
                  </a:lnTo>
                  <a:lnTo>
                    <a:pt x="1033" y="112"/>
                  </a:lnTo>
                  <a:lnTo>
                    <a:pt x="1030" y="106"/>
                  </a:lnTo>
                  <a:lnTo>
                    <a:pt x="1028" y="98"/>
                  </a:lnTo>
                  <a:lnTo>
                    <a:pt x="1026" y="93"/>
                  </a:lnTo>
                  <a:lnTo>
                    <a:pt x="1014" y="78"/>
                  </a:lnTo>
                  <a:lnTo>
                    <a:pt x="1014" y="78"/>
                  </a:lnTo>
                  <a:lnTo>
                    <a:pt x="1013" y="78"/>
                  </a:lnTo>
                  <a:lnTo>
                    <a:pt x="1012" y="78"/>
                  </a:lnTo>
                  <a:lnTo>
                    <a:pt x="1009" y="79"/>
                  </a:lnTo>
                  <a:lnTo>
                    <a:pt x="1007" y="79"/>
                  </a:lnTo>
                  <a:lnTo>
                    <a:pt x="1004" y="79"/>
                  </a:lnTo>
                  <a:lnTo>
                    <a:pt x="1001" y="78"/>
                  </a:lnTo>
                  <a:lnTo>
                    <a:pt x="1000" y="78"/>
                  </a:lnTo>
                  <a:lnTo>
                    <a:pt x="1000" y="78"/>
                  </a:lnTo>
                  <a:lnTo>
                    <a:pt x="999" y="78"/>
                  </a:lnTo>
                  <a:lnTo>
                    <a:pt x="998" y="79"/>
                  </a:lnTo>
                  <a:lnTo>
                    <a:pt x="997" y="79"/>
                  </a:lnTo>
                  <a:lnTo>
                    <a:pt x="995" y="79"/>
                  </a:lnTo>
                  <a:lnTo>
                    <a:pt x="995" y="78"/>
                  </a:lnTo>
                  <a:lnTo>
                    <a:pt x="987" y="66"/>
                  </a:lnTo>
                  <a:lnTo>
                    <a:pt x="985" y="61"/>
                  </a:lnTo>
                  <a:lnTo>
                    <a:pt x="985" y="58"/>
                  </a:lnTo>
                  <a:lnTo>
                    <a:pt x="985" y="55"/>
                  </a:lnTo>
                  <a:lnTo>
                    <a:pt x="985" y="53"/>
                  </a:lnTo>
                  <a:lnTo>
                    <a:pt x="984" y="50"/>
                  </a:lnTo>
                  <a:lnTo>
                    <a:pt x="983" y="50"/>
                  </a:lnTo>
                  <a:lnTo>
                    <a:pt x="979" y="51"/>
                  </a:lnTo>
                  <a:lnTo>
                    <a:pt x="979" y="47"/>
                  </a:lnTo>
                  <a:lnTo>
                    <a:pt x="981" y="39"/>
                  </a:lnTo>
                  <a:lnTo>
                    <a:pt x="975" y="37"/>
                  </a:lnTo>
                  <a:lnTo>
                    <a:pt x="970" y="36"/>
                  </a:lnTo>
                  <a:lnTo>
                    <a:pt x="965" y="38"/>
                  </a:lnTo>
                  <a:lnTo>
                    <a:pt x="963" y="40"/>
                  </a:lnTo>
                  <a:lnTo>
                    <a:pt x="963" y="40"/>
                  </a:lnTo>
                  <a:lnTo>
                    <a:pt x="963" y="40"/>
                  </a:lnTo>
                  <a:lnTo>
                    <a:pt x="963" y="40"/>
                  </a:lnTo>
                  <a:lnTo>
                    <a:pt x="959" y="39"/>
                  </a:lnTo>
                  <a:lnTo>
                    <a:pt x="956" y="43"/>
                  </a:lnTo>
                  <a:lnTo>
                    <a:pt x="953" y="45"/>
                  </a:lnTo>
                  <a:lnTo>
                    <a:pt x="950" y="46"/>
                  </a:lnTo>
                  <a:lnTo>
                    <a:pt x="941" y="45"/>
                  </a:lnTo>
                  <a:lnTo>
                    <a:pt x="938" y="45"/>
                  </a:lnTo>
                  <a:lnTo>
                    <a:pt x="935" y="46"/>
                  </a:lnTo>
                  <a:lnTo>
                    <a:pt x="926" y="47"/>
                  </a:lnTo>
                  <a:lnTo>
                    <a:pt x="924" y="48"/>
                  </a:lnTo>
                  <a:lnTo>
                    <a:pt x="919" y="51"/>
                  </a:lnTo>
                  <a:lnTo>
                    <a:pt x="912" y="52"/>
                  </a:lnTo>
                  <a:lnTo>
                    <a:pt x="904" y="56"/>
                  </a:lnTo>
                  <a:lnTo>
                    <a:pt x="900" y="56"/>
                  </a:lnTo>
                  <a:lnTo>
                    <a:pt x="895" y="54"/>
                  </a:lnTo>
                  <a:lnTo>
                    <a:pt x="890" y="51"/>
                  </a:lnTo>
                  <a:lnTo>
                    <a:pt x="887" y="47"/>
                  </a:lnTo>
                  <a:lnTo>
                    <a:pt x="878" y="33"/>
                  </a:lnTo>
                  <a:lnTo>
                    <a:pt x="876" y="31"/>
                  </a:lnTo>
                  <a:lnTo>
                    <a:pt x="874" y="21"/>
                  </a:lnTo>
                  <a:lnTo>
                    <a:pt x="873" y="18"/>
                  </a:lnTo>
                  <a:lnTo>
                    <a:pt x="870" y="18"/>
                  </a:lnTo>
                  <a:lnTo>
                    <a:pt x="864" y="18"/>
                  </a:lnTo>
                  <a:lnTo>
                    <a:pt x="862" y="17"/>
                  </a:lnTo>
                  <a:lnTo>
                    <a:pt x="861" y="15"/>
                  </a:lnTo>
                  <a:lnTo>
                    <a:pt x="859" y="10"/>
                  </a:lnTo>
                  <a:lnTo>
                    <a:pt x="858" y="8"/>
                  </a:lnTo>
                  <a:lnTo>
                    <a:pt x="857" y="7"/>
                  </a:lnTo>
                  <a:lnTo>
                    <a:pt x="854" y="6"/>
                  </a:lnTo>
                  <a:lnTo>
                    <a:pt x="849" y="3"/>
                  </a:lnTo>
                  <a:lnTo>
                    <a:pt x="846" y="2"/>
                  </a:lnTo>
                  <a:lnTo>
                    <a:pt x="838" y="4"/>
                  </a:lnTo>
                  <a:lnTo>
                    <a:pt x="833" y="4"/>
                  </a:lnTo>
                  <a:lnTo>
                    <a:pt x="830" y="5"/>
                  </a:lnTo>
                  <a:lnTo>
                    <a:pt x="827" y="7"/>
                  </a:lnTo>
                  <a:lnTo>
                    <a:pt x="826" y="9"/>
                  </a:lnTo>
                  <a:lnTo>
                    <a:pt x="825" y="12"/>
                  </a:lnTo>
                  <a:lnTo>
                    <a:pt x="823" y="14"/>
                  </a:lnTo>
                  <a:lnTo>
                    <a:pt x="821" y="16"/>
                  </a:lnTo>
                  <a:lnTo>
                    <a:pt x="819" y="15"/>
                  </a:lnTo>
                  <a:lnTo>
                    <a:pt x="817" y="13"/>
                  </a:lnTo>
                  <a:lnTo>
                    <a:pt x="814" y="12"/>
                  </a:lnTo>
                  <a:lnTo>
                    <a:pt x="809" y="13"/>
                  </a:lnTo>
                  <a:lnTo>
                    <a:pt x="796" y="19"/>
                  </a:lnTo>
                  <a:lnTo>
                    <a:pt x="792" y="18"/>
                  </a:lnTo>
                  <a:lnTo>
                    <a:pt x="789" y="15"/>
                  </a:lnTo>
                  <a:lnTo>
                    <a:pt x="785" y="13"/>
                  </a:lnTo>
                  <a:lnTo>
                    <a:pt x="780" y="12"/>
                  </a:lnTo>
                  <a:lnTo>
                    <a:pt x="776" y="13"/>
                  </a:lnTo>
                  <a:lnTo>
                    <a:pt x="770" y="12"/>
                  </a:lnTo>
                  <a:lnTo>
                    <a:pt x="762" y="7"/>
                  </a:lnTo>
                  <a:lnTo>
                    <a:pt x="757" y="6"/>
                  </a:lnTo>
                  <a:lnTo>
                    <a:pt x="755" y="6"/>
                  </a:lnTo>
                  <a:lnTo>
                    <a:pt x="750" y="1"/>
                  </a:lnTo>
                  <a:lnTo>
                    <a:pt x="747" y="0"/>
                  </a:lnTo>
                  <a:lnTo>
                    <a:pt x="745" y="0"/>
                  </a:lnTo>
                  <a:lnTo>
                    <a:pt x="711" y="8"/>
                  </a:lnTo>
                  <a:lnTo>
                    <a:pt x="701" y="9"/>
                  </a:lnTo>
                  <a:lnTo>
                    <a:pt x="697" y="10"/>
                  </a:lnTo>
                  <a:lnTo>
                    <a:pt x="696" y="12"/>
                  </a:lnTo>
                  <a:lnTo>
                    <a:pt x="696" y="14"/>
                  </a:lnTo>
                  <a:lnTo>
                    <a:pt x="697" y="18"/>
                  </a:lnTo>
                  <a:lnTo>
                    <a:pt x="697" y="19"/>
                  </a:lnTo>
                  <a:lnTo>
                    <a:pt x="697" y="20"/>
                  </a:lnTo>
                  <a:lnTo>
                    <a:pt x="697" y="21"/>
                  </a:lnTo>
                  <a:lnTo>
                    <a:pt x="697" y="22"/>
                  </a:lnTo>
                  <a:lnTo>
                    <a:pt x="695" y="25"/>
                  </a:lnTo>
                  <a:lnTo>
                    <a:pt x="694" y="25"/>
                  </a:lnTo>
                  <a:lnTo>
                    <a:pt x="689" y="30"/>
                  </a:lnTo>
                  <a:lnTo>
                    <a:pt x="687" y="34"/>
                  </a:lnTo>
                  <a:lnTo>
                    <a:pt x="685" y="37"/>
                  </a:lnTo>
                  <a:lnTo>
                    <a:pt x="679" y="56"/>
                  </a:lnTo>
                  <a:lnTo>
                    <a:pt x="676" y="63"/>
                  </a:lnTo>
                  <a:lnTo>
                    <a:pt x="672" y="69"/>
                  </a:lnTo>
                  <a:lnTo>
                    <a:pt x="667" y="74"/>
                  </a:lnTo>
                  <a:lnTo>
                    <a:pt x="663" y="76"/>
                  </a:lnTo>
                  <a:lnTo>
                    <a:pt x="662" y="75"/>
                  </a:lnTo>
                  <a:lnTo>
                    <a:pt x="660" y="73"/>
                  </a:lnTo>
                  <a:lnTo>
                    <a:pt x="657" y="71"/>
                  </a:lnTo>
                  <a:lnTo>
                    <a:pt x="655" y="72"/>
                  </a:lnTo>
                  <a:lnTo>
                    <a:pt x="650" y="76"/>
                  </a:lnTo>
                  <a:lnTo>
                    <a:pt x="648" y="78"/>
                  </a:lnTo>
                  <a:lnTo>
                    <a:pt x="645" y="77"/>
                  </a:lnTo>
                  <a:lnTo>
                    <a:pt x="643" y="77"/>
                  </a:lnTo>
                  <a:lnTo>
                    <a:pt x="642" y="77"/>
                  </a:lnTo>
                  <a:lnTo>
                    <a:pt x="640" y="79"/>
                  </a:lnTo>
                  <a:lnTo>
                    <a:pt x="639" y="81"/>
                  </a:lnTo>
                  <a:lnTo>
                    <a:pt x="638" y="85"/>
                  </a:lnTo>
                  <a:lnTo>
                    <a:pt x="637" y="87"/>
                  </a:lnTo>
                  <a:lnTo>
                    <a:pt x="636" y="88"/>
                  </a:lnTo>
                  <a:lnTo>
                    <a:pt x="633" y="89"/>
                  </a:lnTo>
                  <a:lnTo>
                    <a:pt x="626" y="93"/>
                  </a:lnTo>
                  <a:lnTo>
                    <a:pt x="626" y="94"/>
                  </a:lnTo>
                  <a:lnTo>
                    <a:pt x="620" y="96"/>
                  </a:lnTo>
                  <a:lnTo>
                    <a:pt x="616" y="98"/>
                  </a:lnTo>
                  <a:lnTo>
                    <a:pt x="609" y="105"/>
                  </a:lnTo>
                  <a:lnTo>
                    <a:pt x="605" y="106"/>
                  </a:lnTo>
                  <a:lnTo>
                    <a:pt x="602" y="105"/>
                  </a:lnTo>
                  <a:lnTo>
                    <a:pt x="596" y="99"/>
                  </a:lnTo>
                  <a:lnTo>
                    <a:pt x="592" y="98"/>
                  </a:lnTo>
                  <a:lnTo>
                    <a:pt x="586" y="100"/>
                  </a:lnTo>
                  <a:lnTo>
                    <a:pt x="585" y="100"/>
                  </a:lnTo>
                  <a:lnTo>
                    <a:pt x="583" y="98"/>
                  </a:lnTo>
                  <a:lnTo>
                    <a:pt x="584" y="96"/>
                  </a:lnTo>
                  <a:lnTo>
                    <a:pt x="584" y="94"/>
                  </a:lnTo>
                  <a:lnTo>
                    <a:pt x="584" y="91"/>
                  </a:lnTo>
                  <a:lnTo>
                    <a:pt x="582" y="88"/>
                  </a:lnTo>
                  <a:lnTo>
                    <a:pt x="578" y="87"/>
                  </a:lnTo>
                  <a:lnTo>
                    <a:pt x="571" y="89"/>
                  </a:lnTo>
                  <a:lnTo>
                    <a:pt x="569" y="88"/>
                  </a:lnTo>
                  <a:lnTo>
                    <a:pt x="565" y="84"/>
                  </a:lnTo>
                  <a:lnTo>
                    <a:pt x="564" y="82"/>
                  </a:lnTo>
                  <a:lnTo>
                    <a:pt x="562" y="82"/>
                  </a:lnTo>
                  <a:lnTo>
                    <a:pt x="560" y="82"/>
                  </a:lnTo>
                  <a:lnTo>
                    <a:pt x="546" y="85"/>
                  </a:lnTo>
                  <a:lnTo>
                    <a:pt x="543" y="87"/>
                  </a:lnTo>
                  <a:lnTo>
                    <a:pt x="541" y="91"/>
                  </a:lnTo>
                  <a:lnTo>
                    <a:pt x="540" y="100"/>
                  </a:lnTo>
                  <a:lnTo>
                    <a:pt x="538" y="103"/>
                  </a:lnTo>
                  <a:lnTo>
                    <a:pt x="538" y="103"/>
                  </a:lnTo>
                  <a:lnTo>
                    <a:pt x="538" y="104"/>
                  </a:lnTo>
                  <a:lnTo>
                    <a:pt x="538" y="104"/>
                  </a:lnTo>
                  <a:lnTo>
                    <a:pt x="538" y="104"/>
                  </a:lnTo>
                  <a:lnTo>
                    <a:pt x="538" y="105"/>
                  </a:lnTo>
                  <a:lnTo>
                    <a:pt x="538" y="107"/>
                  </a:lnTo>
                  <a:lnTo>
                    <a:pt x="538" y="108"/>
                  </a:lnTo>
                  <a:lnTo>
                    <a:pt x="538" y="109"/>
                  </a:lnTo>
                  <a:lnTo>
                    <a:pt x="530" y="115"/>
                  </a:lnTo>
                  <a:lnTo>
                    <a:pt x="508" y="115"/>
                  </a:lnTo>
                  <a:lnTo>
                    <a:pt x="499" y="121"/>
                  </a:lnTo>
                  <a:lnTo>
                    <a:pt x="497" y="121"/>
                  </a:lnTo>
                  <a:lnTo>
                    <a:pt x="477" y="119"/>
                  </a:lnTo>
                  <a:lnTo>
                    <a:pt x="468" y="120"/>
                  </a:lnTo>
                  <a:lnTo>
                    <a:pt x="465" y="120"/>
                  </a:lnTo>
                  <a:lnTo>
                    <a:pt x="461" y="120"/>
                  </a:lnTo>
                  <a:lnTo>
                    <a:pt x="459" y="121"/>
                  </a:lnTo>
                  <a:lnTo>
                    <a:pt x="451" y="122"/>
                  </a:lnTo>
                  <a:lnTo>
                    <a:pt x="436" y="126"/>
                  </a:lnTo>
                  <a:lnTo>
                    <a:pt x="433" y="128"/>
                  </a:lnTo>
                  <a:lnTo>
                    <a:pt x="429" y="137"/>
                  </a:lnTo>
                  <a:lnTo>
                    <a:pt x="428" y="138"/>
                  </a:lnTo>
                  <a:lnTo>
                    <a:pt x="424" y="139"/>
                  </a:lnTo>
                  <a:lnTo>
                    <a:pt x="423" y="140"/>
                  </a:lnTo>
                  <a:lnTo>
                    <a:pt x="421" y="142"/>
                  </a:lnTo>
                  <a:lnTo>
                    <a:pt x="421" y="143"/>
                  </a:lnTo>
                  <a:lnTo>
                    <a:pt x="422" y="144"/>
                  </a:lnTo>
                  <a:lnTo>
                    <a:pt x="423" y="147"/>
                  </a:lnTo>
                  <a:lnTo>
                    <a:pt x="421" y="156"/>
                  </a:lnTo>
                  <a:lnTo>
                    <a:pt x="421" y="161"/>
                  </a:lnTo>
                  <a:lnTo>
                    <a:pt x="422" y="166"/>
                  </a:lnTo>
                  <a:lnTo>
                    <a:pt x="426" y="171"/>
                  </a:lnTo>
                  <a:lnTo>
                    <a:pt x="433" y="175"/>
                  </a:lnTo>
                  <a:lnTo>
                    <a:pt x="432" y="175"/>
                  </a:lnTo>
                  <a:lnTo>
                    <a:pt x="428" y="176"/>
                  </a:lnTo>
                  <a:lnTo>
                    <a:pt x="425" y="177"/>
                  </a:lnTo>
                  <a:lnTo>
                    <a:pt x="422" y="179"/>
                  </a:lnTo>
                  <a:lnTo>
                    <a:pt x="417" y="185"/>
                  </a:lnTo>
                  <a:lnTo>
                    <a:pt x="413" y="188"/>
                  </a:lnTo>
                  <a:lnTo>
                    <a:pt x="408" y="188"/>
                  </a:lnTo>
                  <a:lnTo>
                    <a:pt x="403" y="187"/>
                  </a:lnTo>
                  <a:lnTo>
                    <a:pt x="398" y="185"/>
                  </a:lnTo>
                  <a:lnTo>
                    <a:pt x="390" y="184"/>
                  </a:lnTo>
                  <a:lnTo>
                    <a:pt x="358" y="188"/>
                  </a:lnTo>
                  <a:lnTo>
                    <a:pt x="346" y="193"/>
                  </a:lnTo>
                  <a:lnTo>
                    <a:pt x="340" y="194"/>
                  </a:lnTo>
                  <a:lnTo>
                    <a:pt x="321" y="191"/>
                  </a:lnTo>
                  <a:lnTo>
                    <a:pt x="284" y="194"/>
                  </a:lnTo>
                  <a:lnTo>
                    <a:pt x="275" y="194"/>
                  </a:lnTo>
                  <a:lnTo>
                    <a:pt x="262" y="191"/>
                  </a:lnTo>
                  <a:lnTo>
                    <a:pt x="258" y="189"/>
                  </a:lnTo>
                  <a:lnTo>
                    <a:pt x="252" y="185"/>
                  </a:lnTo>
                  <a:lnTo>
                    <a:pt x="250" y="183"/>
                  </a:lnTo>
                  <a:lnTo>
                    <a:pt x="249" y="181"/>
                  </a:lnTo>
                  <a:lnTo>
                    <a:pt x="246" y="178"/>
                  </a:lnTo>
                  <a:lnTo>
                    <a:pt x="242" y="176"/>
                  </a:lnTo>
                  <a:lnTo>
                    <a:pt x="240" y="175"/>
                  </a:lnTo>
                  <a:lnTo>
                    <a:pt x="238" y="175"/>
                  </a:lnTo>
                  <a:lnTo>
                    <a:pt x="237" y="175"/>
                  </a:lnTo>
                  <a:lnTo>
                    <a:pt x="235" y="175"/>
                  </a:lnTo>
                  <a:lnTo>
                    <a:pt x="233" y="174"/>
                  </a:lnTo>
                  <a:lnTo>
                    <a:pt x="228" y="166"/>
                  </a:lnTo>
                  <a:lnTo>
                    <a:pt x="226" y="165"/>
                  </a:lnTo>
                  <a:lnTo>
                    <a:pt x="222" y="164"/>
                  </a:lnTo>
                  <a:lnTo>
                    <a:pt x="221" y="163"/>
                  </a:lnTo>
                  <a:lnTo>
                    <a:pt x="219" y="162"/>
                  </a:lnTo>
                  <a:lnTo>
                    <a:pt x="203" y="140"/>
                  </a:lnTo>
                  <a:lnTo>
                    <a:pt x="198" y="136"/>
                  </a:lnTo>
                  <a:lnTo>
                    <a:pt x="187" y="134"/>
                  </a:lnTo>
                  <a:lnTo>
                    <a:pt x="186" y="134"/>
                  </a:lnTo>
                  <a:lnTo>
                    <a:pt x="179" y="132"/>
                  </a:lnTo>
                  <a:lnTo>
                    <a:pt x="174" y="131"/>
                  </a:lnTo>
                  <a:lnTo>
                    <a:pt x="168" y="134"/>
                  </a:lnTo>
                  <a:lnTo>
                    <a:pt x="158" y="142"/>
                  </a:lnTo>
                  <a:lnTo>
                    <a:pt x="159" y="144"/>
                  </a:lnTo>
                  <a:lnTo>
                    <a:pt x="159" y="146"/>
                  </a:lnTo>
                  <a:lnTo>
                    <a:pt x="159" y="147"/>
                  </a:lnTo>
                  <a:lnTo>
                    <a:pt x="158" y="149"/>
                  </a:lnTo>
                  <a:lnTo>
                    <a:pt x="158" y="150"/>
                  </a:lnTo>
                  <a:lnTo>
                    <a:pt x="156" y="151"/>
                  </a:lnTo>
                  <a:lnTo>
                    <a:pt x="156" y="151"/>
                  </a:lnTo>
                  <a:lnTo>
                    <a:pt x="156" y="152"/>
                  </a:lnTo>
                  <a:lnTo>
                    <a:pt x="157" y="153"/>
                  </a:lnTo>
                  <a:lnTo>
                    <a:pt x="158" y="153"/>
                  </a:lnTo>
                  <a:lnTo>
                    <a:pt x="158" y="154"/>
                  </a:lnTo>
                  <a:lnTo>
                    <a:pt x="157" y="158"/>
                  </a:lnTo>
                  <a:lnTo>
                    <a:pt x="156" y="161"/>
                  </a:lnTo>
                  <a:lnTo>
                    <a:pt x="155" y="163"/>
                  </a:lnTo>
                  <a:lnTo>
                    <a:pt x="152" y="166"/>
                  </a:lnTo>
                  <a:lnTo>
                    <a:pt x="147" y="167"/>
                  </a:lnTo>
                  <a:lnTo>
                    <a:pt x="145" y="168"/>
                  </a:lnTo>
                  <a:lnTo>
                    <a:pt x="145" y="170"/>
                  </a:lnTo>
                  <a:lnTo>
                    <a:pt x="146" y="171"/>
                  </a:lnTo>
                  <a:lnTo>
                    <a:pt x="149" y="173"/>
                  </a:lnTo>
                  <a:lnTo>
                    <a:pt x="150" y="174"/>
                  </a:lnTo>
                  <a:lnTo>
                    <a:pt x="152" y="178"/>
                  </a:lnTo>
                  <a:lnTo>
                    <a:pt x="153" y="180"/>
                  </a:lnTo>
                  <a:lnTo>
                    <a:pt x="150" y="182"/>
                  </a:lnTo>
                  <a:lnTo>
                    <a:pt x="151" y="186"/>
                  </a:lnTo>
                  <a:lnTo>
                    <a:pt x="152" y="191"/>
                  </a:lnTo>
                  <a:lnTo>
                    <a:pt x="152" y="199"/>
                  </a:lnTo>
                  <a:lnTo>
                    <a:pt x="153" y="201"/>
                  </a:lnTo>
                  <a:lnTo>
                    <a:pt x="154" y="203"/>
                  </a:lnTo>
                  <a:lnTo>
                    <a:pt x="156" y="204"/>
                  </a:lnTo>
                  <a:lnTo>
                    <a:pt x="153" y="206"/>
                  </a:lnTo>
                  <a:lnTo>
                    <a:pt x="141" y="207"/>
                  </a:lnTo>
                  <a:lnTo>
                    <a:pt x="129" y="210"/>
                  </a:lnTo>
                  <a:lnTo>
                    <a:pt x="123" y="209"/>
                  </a:lnTo>
                  <a:lnTo>
                    <a:pt x="120" y="203"/>
                  </a:lnTo>
                  <a:lnTo>
                    <a:pt x="118" y="205"/>
                  </a:lnTo>
                  <a:lnTo>
                    <a:pt x="115" y="210"/>
                  </a:lnTo>
                  <a:lnTo>
                    <a:pt x="113" y="212"/>
                  </a:lnTo>
                  <a:lnTo>
                    <a:pt x="112" y="212"/>
                  </a:lnTo>
                  <a:lnTo>
                    <a:pt x="103" y="210"/>
                  </a:lnTo>
                  <a:lnTo>
                    <a:pt x="101" y="210"/>
                  </a:lnTo>
                  <a:lnTo>
                    <a:pt x="100" y="208"/>
                  </a:lnTo>
                  <a:lnTo>
                    <a:pt x="98" y="205"/>
                  </a:lnTo>
                  <a:lnTo>
                    <a:pt x="98" y="203"/>
                  </a:lnTo>
                  <a:lnTo>
                    <a:pt x="97" y="200"/>
                  </a:lnTo>
                  <a:lnTo>
                    <a:pt x="95" y="199"/>
                  </a:lnTo>
                  <a:lnTo>
                    <a:pt x="82" y="194"/>
                  </a:lnTo>
                  <a:lnTo>
                    <a:pt x="76" y="193"/>
                  </a:lnTo>
                  <a:lnTo>
                    <a:pt x="70" y="196"/>
                  </a:lnTo>
                  <a:lnTo>
                    <a:pt x="69" y="198"/>
                  </a:lnTo>
                  <a:lnTo>
                    <a:pt x="69" y="201"/>
                  </a:lnTo>
                  <a:lnTo>
                    <a:pt x="68" y="203"/>
                  </a:lnTo>
                  <a:lnTo>
                    <a:pt x="67" y="205"/>
                  </a:lnTo>
                  <a:lnTo>
                    <a:pt x="61" y="208"/>
                  </a:lnTo>
                  <a:lnTo>
                    <a:pt x="59" y="210"/>
                  </a:lnTo>
                  <a:lnTo>
                    <a:pt x="57" y="210"/>
                  </a:lnTo>
                  <a:lnTo>
                    <a:pt x="57" y="210"/>
                  </a:lnTo>
                  <a:lnTo>
                    <a:pt x="56" y="210"/>
                  </a:lnTo>
                  <a:lnTo>
                    <a:pt x="55" y="208"/>
                  </a:lnTo>
                  <a:lnTo>
                    <a:pt x="54" y="210"/>
                  </a:lnTo>
                  <a:lnTo>
                    <a:pt x="51" y="214"/>
                  </a:lnTo>
                  <a:lnTo>
                    <a:pt x="50" y="215"/>
                  </a:lnTo>
                  <a:lnTo>
                    <a:pt x="53" y="217"/>
                  </a:lnTo>
                  <a:lnTo>
                    <a:pt x="62" y="220"/>
                  </a:lnTo>
                  <a:lnTo>
                    <a:pt x="66" y="219"/>
                  </a:lnTo>
                  <a:lnTo>
                    <a:pt x="77" y="224"/>
                  </a:lnTo>
                  <a:lnTo>
                    <a:pt x="82" y="223"/>
                  </a:lnTo>
                  <a:lnTo>
                    <a:pt x="86" y="224"/>
                  </a:lnTo>
                  <a:lnTo>
                    <a:pt x="88" y="228"/>
                  </a:lnTo>
                  <a:lnTo>
                    <a:pt x="90" y="233"/>
                  </a:lnTo>
                  <a:lnTo>
                    <a:pt x="89" y="238"/>
                  </a:lnTo>
                  <a:lnTo>
                    <a:pt x="91" y="239"/>
                  </a:lnTo>
                  <a:lnTo>
                    <a:pt x="94" y="241"/>
                  </a:lnTo>
                  <a:lnTo>
                    <a:pt x="95" y="244"/>
                  </a:lnTo>
                  <a:lnTo>
                    <a:pt x="95" y="248"/>
                  </a:lnTo>
                  <a:lnTo>
                    <a:pt x="93" y="251"/>
                  </a:lnTo>
                  <a:lnTo>
                    <a:pt x="88" y="253"/>
                  </a:lnTo>
                  <a:lnTo>
                    <a:pt x="86" y="255"/>
                  </a:lnTo>
                  <a:lnTo>
                    <a:pt x="87" y="264"/>
                  </a:lnTo>
                  <a:lnTo>
                    <a:pt x="85" y="266"/>
                  </a:lnTo>
                  <a:lnTo>
                    <a:pt x="79" y="270"/>
                  </a:lnTo>
                  <a:lnTo>
                    <a:pt x="62" y="278"/>
                  </a:lnTo>
                  <a:lnTo>
                    <a:pt x="60" y="275"/>
                  </a:lnTo>
                  <a:lnTo>
                    <a:pt x="58" y="274"/>
                  </a:lnTo>
                  <a:lnTo>
                    <a:pt x="56" y="274"/>
                  </a:lnTo>
                  <a:lnTo>
                    <a:pt x="54" y="277"/>
                  </a:lnTo>
                  <a:lnTo>
                    <a:pt x="55" y="286"/>
                  </a:lnTo>
                  <a:lnTo>
                    <a:pt x="54" y="287"/>
                  </a:lnTo>
                  <a:lnTo>
                    <a:pt x="53" y="287"/>
                  </a:lnTo>
                  <a:lnTo>
                    <a:pt x="53" y="288"/>
                  </a:lnTo>
                  <a:lnTo>
                    <a:pt x="53" y="289"/>
                  </a:lnTo>
                  <a:lnTo>
                    <a:pt x="53" y="290"/>
                  </a:lnTo>
                  <a:lnTo>
                    <a:pt x="54" y="291"/>
                  </a:lnTo>
                  <a:lnTo>
                    <a:pt x="55" y="291"/>
                  </a:lnTo>
                  <a:lnTo>
                    <a:pt x="55" y="291"/>
                  </a:lnTo>
                  <a:lnTo>
                    <a:pt x="60" y="301"/>
                  </a:lnTo>
                  <a:lnTo>
                    <a:pt x="61" y="305"/>
                  </a:lnTo>
                  <a:lnTo>
                    <a:pt x="59" y="308"/>
                  </a:lnTo>
                  <a:lnTo>
                    <a:pt x="57" y="310"/>
                  </a:lnTo>
                  <a:lnTo>
                    <a:pt x="52" y="313"/>
                  </a:lnTo>
                  <a:lnTo>
                    <a:pt x="52" y="313"/>
                  </a:lnTo>
                  <a:lnTo>
                    <a:pt x="53" y="317"/>
                  </a:lnTo>
                  <a:lnTo>
                    <a:pt x="50" y="322"/>
                  </a:lnTo>
                  <a:lnTo>
                    <a:pt x="51" y="326"/>
                  </a:lnTo>
                  <a:lnTo>
                    <a:pt x="52" y="327"/>
                  </a:lnTo>
                  <a:lnTo>
                    <a:pt x="53" y="327"/>
                  </a:lnTo>
                  <a:lnTo>
                    <a:pt x="54" y="327"/>
                  </a:lnTo>
                  <a:lnTo>
                    <a:pt x="56" y="328"/>
                  </a:lnTo>
                  <a:lnTo>
                    <a:pt x="56" y="331"/>
                  </a:lnTo>
                  <a:lnTo>
                    <a:pt x="54" y="334"/>
                  </a:lnTo>
                  <a:lnTo>
                    <a:pt x="54" y="336"/>
                  </a:lnTo>
                  <a:lnTo>
                    <a:pt x="56" y="337"/>
                  </a:lnTo>
                  <a:lnTo>
                    <a:pt x="62" y="335"/>
                  </a:lnTo>
                  <a:lnTo>
                    <a:pt x="64" y="335"/>
                  </a:lnTo>
                  <a:lnTo>
                    <a:pt x="66" y="338"/>
                  </a:lnTo>
                  <a:lnTo>
                    <a:pt x="66" y="340"/>
                  </a:lnTo>
                  <a:lnTo>
                    <a:pt x="62" y="345"/>
                  </a:lnTo>
                  <a:lnTo>
                    <a:pt x="58" y="347"/>
                  </a:lnTo>
                  <a:lnTo>
                    <a:pt x="57" y="351"/>
                  </a:lnTo>
                  <a:lnTo>
                    <a:pt x="59" y="354"/>
                  </a:lnTo>
                  <a:lnTo>
                    <a:pt x="62" y="355"/>
                  </a:lnTo>
                  <a:lnTo>
                    <a:pt x="64" y="356"/>
                  </a:lnTo>
                  <a:lnTo>
                    <a:pt x="64" y="357"/>
                  </a:lnTo>
                  <a:lnTo>
                    <a:pt x="64" y="358"/>
                  </a:lnTo>
                  <a:lnTo>
                    <a:pt x="62" y="359"/>
                  </a:lnTo>
                  <a:lnTo>
                    <a:pt x="55" y="362"/>
                  </a:lnTo>
                  <a:lnTo>
                    <a:pt x="53" y="364"/>
                  </a:lnTo>
                  <a:lnTo>
                    <a:pt x="57" y="365"/>
                  </a:lnTo>
                  <a:lnTo>
                    <a:pt x="60" y="365"/>
                  </a:lnTo>
                  <a:lnTo>
                    <a:pt x="62" y="367"/>
                  </a:lnTo>
                  <a:lnTo>
                    <a:pt x="62" y="370"/>
                  </a:lnTo>
                  <a:lnTo>
                    <a:pt x="60" y="371"/>
                  </a:lnTo>
                  <a:lnTo>
                    <a:pt x="56" y="371"/>
                  </a:lnTo>
                  <a:lnTo>
                    <a:pt x="53" y="371"/>
                  </a:lnTo>
                  <a:lnTo>
                    <a:pt x="53" y="371"/>
                  </a:lnTo>
                  <a:lnTo>
                    <a:pt x="52" y="372"/>
                  </a:lnTo>
                  <a:lnTo>
                    <a:pt x="51" y="372"/>
                  </a:lnTo>
                  <a:lnTo>
                    <a:pt x="51" y="372"/>
                  </a:lnTo>
                  <a:lnTo>
                    <a:pt x="50" y="371"/>
                  </a:lnTo>
                  <a:lnTo>
                    <a:pt x="47" y="369"/>
                  </a:lnTo>
                  <a:lnTo>
                    <a:pt x="44" y="369"/>
                  </a:lnTo>
                  <a:lnTo>
                    <a:pt x="37" y="370"/>
                  </a:lnTo>
                  <a:lnTo>
                    <a:pt x="31" y="368"/>
                  </a:lnTo>
                  <a:lnTo>
                    <a:pt x="29" y="369"/>
                  </a:lnTo>
                  <a:lnTo>
                    <a:pt x="27" y="371"/>
                  </a:lnTo>
                  <a:lnTo>
                    <a:pt x="27" y="375"/>
                  </a:lnTo>
                  <a:lnTo>
                    <a:pt x="26" y="376"/>
                  </a:lnTo>
                  <a:lnTo>
                    <a:pt x="24" y="376"/>
                  </a:lnTo>
                  <a:lnTo>
                    <a:pt x="22" y="377"/>
                  </a:lnTo>
                  <a:lnTo>
                    <a:pt x="22" y="379"/>
                  </a:lnTo>
                  <a:lnTo>
                    <a:pt x="22" y="380"/>
                  </a:lnTo>
                  <a:lnTo>
                    <a:pt x="22" y="381"/>
                  </a:lnTo>
                  <a:lnTo>
                    <a:pt x="21" y="383"/>
                  </a:lnTo>
                  <a:lnTo>
                    <a:pt x="20" y="384"/>
                  </a:lnTo>
                  <a:lnTo>
                    <a:pt x="17" y="386"/>
                  </a:lnTo>
                  <a:lnTo>
                    <a:pt x="12" y="389"/>
                  </a:lnTo>
                  <a:lnTo>
                    <a:pt x="11" y="391"/>
                  </a:lnTo>
                  <a:lnTo>
                    <a:pt x="5" y="398"/>
                  </a:lnTo>
                  <a:lnTo>
                    <a:pt x="3" y="400"/>
                  </a:lnTo>
                  <a:lnTo>
                    <a:pt x="0" y="401"/>
                  </a:lnTo>
                  <a:lnTo>
                    <a:pt x="6" y="403"/>
                  </a:lnTo>
                  <a:lnTo>
                    <a:pt x="7" y="403"/>
                  </a:lnTo>
                  <a:lnTo>
                    <a:pt x="14" y="402"/>
                  </a:lnTo>
                  <a:lnTo>
                    <a:pt x="28" y="401"/>
                  </a:lnTo>
                  <a:lnTo>
                    <a:pt x="30" y="402"/>
                  </a:lnTo>
                  <a:lnTo>
                    <a:pt x="32" y="405"/>
                  </a:lnTo>
                  <a:lnTo>
                    <a:pt x="33" y="406"/>
                  </a:lnTo>
                  <a:lnTo>
                    <a:pt x="35" y="407"/>
                  </a:lnTo>
                  <a:lnTo>
                    <a:pt x="37" y="407"/>
                  </a:lnTo>
                  <a:lnTo>
                    <a:pt x="38" y="408"/>
                  </a:lnTo>
                  <a:lnTo>
                    <a:pt x="37" y="410"/>
                  </a:lnTo>
                  <a:lnTo>
                    <a:pt x="37" y="413"/>
                  </a:lnTo>
                  <a:lnTo>
                    <a:pt x="35" y="415"/>
                  </a:lnTo>
                  <a:lnTo>
                    <a:pt x="35" y="416"/>
                  </a:lnTo>
                  <a:lnTo>
                    <a:pt x="33" y="419"/>
                  </a:lnTo>
                  <a:lnTo>
                    <a:pt x="33" y="421"/>
                  </a:lnTo>
                  <a:lnTo>
                    <a:pt x="33" y="421"/>
                  </a:lnTo>
                  <a:lnTo>
                    <a:pt x="33" y="422"/>
                  </a:lnTo>
                  <a:lnTo>
                    <a:pt x="35" y="429"/>
                  </a:lnTo>
                  <a:lnTo>
                    <a:pt x="37" y="431"/>
                  </a:lnTo>
                  <a:lnTo>
                    <a:pt x="38" y="434"/>
                  </a:lnTo>
                  <a:lnTo>
                    <a:pt x="40" y="436"/>
                  </a:lnTo>
                  <a:lnTo>
                    <a:pt x="42" y="435"/>
                  </a:lnTo>
                  <a:lnTo>
                    <a:pt x="42" y="439"/>
                  </a:lnTo>
                  <a:lnTo>
                    <a:pt x="43" y="440"/>
                  </a:lnTo>
                  <a:lnTo>
                    <a:pt x="43" y="440"/>
                  </a:lnTo>
                  <a:lnTo>
                    <a:pt x="44" y="440"/>
                  </a:lnTo>
                  <a:lnTo>
                    <a:pt x="47" y="440"/>
                  </a:lnTo>
                  <a:lnTo>
                    <a:pt x="50" y="442"/>
                  </a:lnTo>
                  <a:lnTo>
                    <a:pt x="51" y="446"/>
                  </a:lnTo>
                  <a:lnTo>
                    <a:pt x="49" y="448"/>
                  </a:lnTo>
                  <a:lnTo>
                    <a:pt x="48" y="449"/>
                  </a:lnTo>
                  <a:lnTo>
                    <a:pt x="45" y="450"/>
                  </a:lnTo>
                  <a:lnTo>
                    <a:pt x="44" y="452"/>
                  </a:lnTo>
                  <a:lnTo>
                    <a:pt x="44" y="454"/>
                  </a:lnTo>
                  <a:lnTo>
                    <a:pt x="45" y="455"/>
                  </a:lnTo>
                  <a:lnTo>
                    <a:pt x="48" y="458"/>
                  </a:lnTo>
                  <a:lnTo>
                    <a:pt x="54" y="461"/>
                  </a:lnTo>
                  <a:lnTo>
                    <a:pt x="60" y="470"/>
                  </a:lnTo>
                  <a:lnTo>
                    <a:pt x="65" y="475"/>
                  </a:lnTo>
                  <a:lnTo>
                    <a:pt x="67" y="485"/>
                  </a:lnTo>
                  <a:lnTo>
                    <a:pt x="68" y="485"/>
                  </a:lnTo>
                  <a:lnTo>
                    <a:pt x="75" y="490"/>
                  </a:lnTo>
                  <a:lnTo>
                    <a:pt x="77" y="492"/>
                  </a:lnTo>
                  <a:lnTo>
                    <a:pt x="78" y="492"/>
                  </a:lnTo>
                  <a:lnTo>
                    <a:pt x="79" y="490"/>
                  </a:lnTo>
                  <a:lnTo>
                    <a:pt x="80" y="489"/>
                  </a:lnTo>
                  <a:lnTo>
                    <a:pt x="81" y="489"/>
                  </a:lnTo>
                  <a:lnTo>
                    <a:pt x="82" y="490"/>
                  </a:lnTo>
                  <a:lnTo>
                    <a:pt x="86" y="491"/>
                  </a:lnTo>
                  <a:lnTo>
                    <a:pt x="90" y="493"/>
                  </a:lnTo>
                  <a:lnTo>
                    <a:pt x="93" y="497"/>
                  </a:lnTo>
                  <a:lnTo>
                    <a:pt x="95" y="501"/>
                  </a:lnTo>
                  <a:lnTo>
                    <a:pt x="98" y="505"/>
                  </a:lnTo>
                  <a:lnTo>
                    <a:pt x="103" y="508"/>
                  </a:lnTo>
                  <a:lnTo>
                    <a:pt x="105" y="512"/>
                  </a:lnTo>
                  <a:lnTo>
                    <a:pt x="106" y="512"/>
                  </a:lnTo>
                  <a:lnTo>
                    <a:pt x="107" y="509"/>
                  </a:lnTo>
                  <a:lnTo>
                    <a:pt x="109" y="510"/>
                  </a:lnTo>
                  <a:lnTo>
                    <a:pt x="113" y="511"/>
                  </a:lnTo>
                  <a:lnTo>
                    <a:pt x="114" y="511"/>
                  </a:lnTo>
                  <a:lnTo>
                    <a:pt x="114" y="512"/>
                  </a:lnTo>
                  <a:lnTo>
                    <a:pt x="115" y="512"/>
                  </a:lnTo>
                  <a:lnTo>
                    <a:pt x="116" y="513"/>
                  </a:lnTo>
                  <a:lnTo>
                    <a:pt x="117" y="514"/>
                  </a:lnTo>
                  <a:lnTo>
                    <a:pt x="117" y="513"/>
                  </a:lnTo>
                  <a:lnTo>
                    <a:pt x="117" y="512"/>
                  </a:lnTo>
                  <a:lnTo>
                    <a:pt x="118" y="512"/>
                  </a:lnTo>
                  <a:lnTo>
                    <a:pt x="120" y="514"/>
                  </a:lnTo>
                  <a:lnTo>
                    <a:pt x="122" y="516"/>
                  </a:lnTo>
                  <a:lnTo>
                    <a:pt x="123" y="518"/>
                  </a:lnTo>
                  <a:lnTo>
                    <a:pt x="124" y="521"/>
                  </a:lnTo>
                  <a:lnTo>
                    <a:pt x="124" y="525"/>
                  </a:lnTo>
                  <a:lnTo>
                    <a:pt x="125" y="528"/>
                  </a:lnTo>
                  <a:lnTo>
                    <a:pt x="126" y="533"/>
                  </a:lnTo>
                  <a:lnTo>
                    <a:pt x="128" y="534"/>
                  </a:lnTo>
                  <a:lnTo>
                    <a:pt x="129" y="535"/>
                  </a:lnTo>
                  <a:lnTo>
                    <a:pt x="135" y="542"/>
                  </a:lnTo>
                  <a:lnTo>
                    <a:pt x="139" y="549"/>
                  </a:lnTo>
                  <a:lnTo>
                    <a:pt x="140" y="552"/>
                  </a:lnTo>
                  <a:lnTo>
                    <a:pt x="149" y="558"/>
                  </a:lnTo>
                  <a:lnTo>
                    <a:pt x="150" y="560"/>
                  </a:lnTo>
                  <a:lnTo>
                    <a:pt x="151" y="562"/>
                  </a:lnTo>
                  <a:lnTo>
                    <a:pt x="153" y="565"/>
                  </a:lnTo>
                  <a:lnTo>
                    <a:pt x="160" y="570"/>
                  </a:lnTo>
                  <a:lnTo>
                    <a:pt x="163" y="571"/>
                  </a:lnTo>
                  <a:lnTo>
                    <a:pt x="175" y="572"/>
                  </a:lnTo>
                  <a:lnTo>
                    <a:pt x="177" y="573"/>
                  </a:lnTo>
                  <a:lnTo>
                    <a:pt x="183" y="581"/>
                  </a:lnTo>
                  <a:lnTo>
                    <a:pt x="184" y="583"/>
                  </a:lnTo>
                  <a:lnTo>
                    <a:pt x="186" y="591"/>
                  </a:lnTo>
                  <a:lnTo>
                    <a:pt x="187" y="593"/>
                  </a:lnTo>
                  <a:lnTo>
                    <a:pt x="188" y="597"/>
                  </a:lnTo>
                  <a:lnTo>
                    <a:pt x="190" y="598"/>
                  </a:lnTo>
                  <a:lnTo>
                    <a:pt x="193" y="598"/>
                  </a:lnTo>
                  <a:lnTo>
                    <a:pt x="194" y="600"/>
                  </a:lnTo>
                  <a:lnTo>
                    <a:pt x="193" y="600"/>
                  </a:lnTo>
                  <a:lnTo>
                    <a:pt x="191" y="601"/>
                  </a:lnTo>
                  <a:lnTo>
                    <a:pt x="190" y="601"/>
                  </a:lnTo>
                  <a:lnTo>
                    <a:pt x="190" y="603"/>
                  </a:lnTo>
                  <a:lnTo>
                    <a:pt x="193" y="604"/>
                  </a:lnTo>
                  <a:lnTo>
                    <a:pt x="193" y="604"/>
                  </a:lnTo>
                  <a:lnTo>
                    <a:pt x="194" y="606"/>
                  </a:lnTo>
                  <a:lnTo>
                    <a:pt x="196" y="606"/>
                  </a:lnTo>
                  <a:lnTo>
                    <a:pt x="198" y="603"/>
                  </a:lnTo>
                  <a:lnTo>
                    <a:pt x="199" y="607"/>
                  </a:lnTo>
                  <a:lnTo>
                    <a:pt x="198" y="609"/>
                  </a:lnTo>
                  <a:lnTo>
                    <a:pt x="199" y="610"/>
                  </a:lnTo>
                  <a:lnTo>
                    <a:pt x="202" y="609"/>
                  </a:lnTo>
                  <a:lnTo>
                    <a:pt x="206" y="608"/>
                  </a:lnTo>
                  <a:lnTo>
                    <a:pt x="208" y="609"/>
                  </a:lnTo>
                  <a:lnTo>
                    <a:pt x="208" y="612"/>
                  </a:lnTo>
                  <a:lnTo>
                    <a:pt x="209" y="612"/>
                  </a:lnTo>
                  <a:lnTo>
                    <a:pt x="210" y="611"/>
                  </a:lnTo>
                  <a:lnTo>
                    <a:pt x="210" y="610"/>
                  </a:lnTo>
                  <a:lnTo>
                    <a:pt x="212" y="609"/>
                  </a:lnTo>
                  <a:lnTo>
                    <a:pt x="225" y="610"/>
                  </a:lnTo>
                  <a:lnTo>
                    <a:pt x="232" y="611"/>
                  </a:lnTo>
                  <a:lnTo>
                    <a:pt x="238" y="614"/>
                  </a:lnTo>
                  <a:lnTo>
                    <a:pt x="245" y="622"/>
                  </a:lnTo>
                  <a:lnTo>
                    <a:pt x="247" y="624"/>
                  </a:lnTo>
                  <a:lnTo>
                    <a:pt x="247" y="626"/>
                  </a:lnTo>
                  <a:lnTo>
                    <a:pt x="247" y="629"/>
                  </a:lnTo>
                  <a:lnTo>
                    <a:pt x="248" y="632"/>
                  </a:lnTo>
                  <a:lnTo>
                    <a:pt x="248" y="633"/>
                  </a:lnTo>
                  <a:lnTo>
                    <a:pt x="248" y="635"/>
                  </a:lnTo>
                  <a:lnTo>
                    <a:pt x="250" y="635"/>
                  </a:lnTo>
                  <a:lnTo>
                    <a:pt x="253" y="636"/>
                  </a:lnTo>
                  <a:lnTo>
                    <a:pt x="272" y="642"/>
                  </a:lnTo>
                  <a:lnTo>
                    <a:pt x="277" y="645"/>
                  </a:lnTo>
                  <a:lnTo>
                    <a:pt x="280" y="650"/>
                  </a:lnTo>
                  <a:lnTo>
                    <a:pt x="280" y="651"/>
                  </a:lnTo>
                  <a:lnTo>
                    <a:pt x="282" y="651"/>
                  </a:lnTo>
                  <a:lnTo>
                    <a:pt x="283" y="650"/>
                  </a:lnTo>
                  <a:lnTo>
                    <a:pt x="284" y="648"/>
                  </a:lnTo>
                  <a:lnTo>
                    <a:pt x="285" y="647"/>
                  </a:lnTo>
                  <a:lnTo>
                    <a:pt x="299" y="647"/>
                  </a:lnTo>
                  <a:lnTo>
                    <a:pt x="315" y="651"/>
                  </a:lnTo>
                  <a:lnTo>
                    <a:pt x="317" y="651"/>
                  </a:lnTo>
                  <a:lnTo>
                    <a:pt x="319" y="651"/>
                  </a:lnTo>
                  <a:lnTo>
                    <a:pt x="322" y="649"/>
                  </a:lnTo>
                  <a:lnTo>
                    <a:pt x="323" y="648"/>
                  </a:lnTo>
                  <a:lnTo>
                    <a:pt x="336" y="648"/>
                  </a:lnTo>
                  <a:lnTo>
                    <a:pt x="339" y="649"/>
                  </a:lnTo>
                  <a:lnTo>
                    <a:pt x="344" y="653"/>
                  </a:lnTo>
                  <a:lnTo>
                    <a:pt x="348" y="653"/>
                  </a:lnTo>
                  <a:lnTo>
                    <a:pt x="350" y="656"/>
                  </a:lnTo>
                  <a:lnTo>
                    <a:pt x="353" y="657"/>
                  </a:lnTo>
                  <a:lnTo>
                    <a:pt x="356" y="656"/>
                  </a:lnTo>
                  <a:lnTo>
                    <a:pt x="359" y="655"/>
                  </a:lnTo>
                  <a:lnTo>
                    <a:pt x="361" y="655"/>
                  </a:lnTo>
                  <a:lnTo>
                    <a:pt x="364" y="658"/>
                  </a:lnTo>
                  <a:lnTo>
                    <a:pt x="364" y="658"/>
                  </a:lnTo>
                  <a:lnTo>
                    <a:pt x="365" y="658"/>
                  </a:lnTo>
                  <a:lnTo>
                    <a:pt x="366" y="658"/>
                  </a:lnTo>
                  <a:lnTo>
                    <a:pt x="367" y="658"/>
                  </a:lnTo>
                  <a:lnTo>
                    <a:pt x="368" y="658"/>
                  </a:lnTo>
                  <a:lnTo>
                    <a:pt x="371" y="655"/>
                  </a:lnTo>
                  <a:lnTo>
                    <a:pt x="377" y="649"/>
                  </a:lnTo>
                  <a:lnTo>
                    <a:pt x="379" y="647"/>
                  </a:lnTo>
                  <a:lnTo>
                    <a:pt x="383" y="649"/>
                  </a:lnTo>
                  <a:lnTo>
                    <a:pt x="387" y="647"/>
                  </a:lnTo>
                  <a:lnTo>
                    <a:pt x="394" y="641"/>
                  </a:lnTo>
                  <a:lnTo>
                    <a:pt x="396" y="639"/>
                  </a:lnTo>
                  <a:lnTo>
                    <a:pt x="399" y="632"/>
                  </a:lnTo>
                  <a:lnTo>
                    <a:pt x="402" y="630"/>
                  </a:lnTo>
                  <a:lnTo>
                    <a:pt x="402" y="630"/>
                  </a:lnTo>
                  <a:lnTo>
                    <a:pt x="402" y="628"/>
                  </a:lnTo>
                  <a:lnTo>
                    <a:pt x="403" y="625"/>
                  </a:lnTo>
                  <a:lnTo>
                    <a:pt x="403" y="624"/>
                  </a:lnTo>
                  <a:lnTo>
                    <a:pt x="407" y="620"/>
                  </a:lnTo>
                  <a:lnTo>
                    <a:pt x="410" y="620"/>
                  </a:lnTo>
                  <a:lnTo>
                    <a:pt x="418" y="623"/>
                  </a:lnTo>
                  <a:lnTo>
                    <a:pt x="424" y="626"/>
                  </a:lnTo>
                  <a:lnTo>
                    <a:pt x="426" y="626"/>
                  </a:lnTo>
                  <a:lnTo>
                    <a:pt x="428" y="625"/>
                  </a:lnTo>
                  <a:lnTo>
                    <a:pt x="428" y="624"/>
                  </a:lnTo>
                  <a:lnTo>
                    <a:pt x="429" y="621"/>
                  </a:lnTo>
                  <a:lnTo>
                    <a:pt x="431" y="619"/>
                  </a:lnTo>
                  <a:lnTo>
                    <a:pt x="433" y="621"/>
                  </a:lnTo>
                  <a:lnTo>
                    <a:pt x="433" y="621"/>
                  </a:lnTo>
                  <a:lnTo>
                    <a:pt x="434" y="621"/>
                  </a:lnTo>
                  <a:lnTo>
                    <a:pt x="437" y="619"/>
                  </a:lnTo>
                  <a:lnTo>
                    <a:pt x="440" y="618"/>
                  </a:lnTo>
                  <a:lnTo>
                    <a:pt x="442" y="617"/>
                  </a:lnTo>
                  <a:lnTo>
                    <a:pt x="443" y="615"/>
                  </a:lnTo>
                  <a:lnTo>
                    <a:pt x="446" y="615"/>
                  </a:lnTo>
                  <a:lnTo>
                    <a:pt x="456" y="616"/>
                  </a:lnTo>
                  <a:lnTo>
                    <a:pt x="459" y="617"/>
                  </a:lnTo>
                  <a:lnTo>
                    <a:pt x="460" y="617"/>
                  </a:lnTo>
                  <a:lnTo>
                    <a:pt x="460" y="616"/>
                  </a:lnTo>
                  <a:lnTo>
                    <a:pt x="459" y="615"/>
                  </a:lnTo>
                  <a:lnTo>
                    <a:pt x="458" y="613"/>
                  </a:lnTo>
                  <a:lnTo>
                    <a:pt x="458" y="612"/>
                  </a:lnTo>
                  <a:lnTo>
                    <a:pt x="458" y="611"/>
                  </a:lnTo>
                  <a:lnTo>
                    <a:pt x="459" y="611"/>
                  </a:lnTo>
                  <a:lnTo>
                    <a:pt x="462" y="608"/>
                  </a:lnTo>
                  <a:lnTo>
                    <a:pt x="467" y="609"/>
                  </a:lnTo>
                  <a:lnTo>
                    <a:pt x="469" y="608"/>
                  </a:lnTo>
                  <a:lnTo>
                    <a:pt x="469" y="601"/>
                  </a:lnTo>
                  <a:lnTo>
                    <a:pt x="472" y="597"/>
                  </a:lnTo>
                  <a:lnTo>
                    <a:pt x="476" y="595"/>
                  </a:lnTo>
                  <a:lnTo>
                    <a:pt x="479" y="596"/>
                  </a:lnTo>
                  <a:lnTo>
                    <a:pt x="481" y="601"/>
                  </a:lnTo>
                  <a:lnTo>
                    <a:pt x="481" y="601"/>
                  </a:lnTo>
                  <a:lnTo>
                    <a:pt x="485" y="603"/>
                  </a:lnTo>
                  <a:lnTo>
                    <a:pt x="499" y="605"/>
                  </a:lnTo>
                  <a:lnTo>
                    <a:pt x="503" y="604"/>
                  </a:lnTo>
                  <a:lnTo>
                    <a:pt x="505" y="601"/>
                  </a:lnTo>
                  <a:lnTo>
                    <a:pt x="506" y="599"/>
                  </a:lnTo>
                  <a:lnTo>
                    <a:pt x="507" y="596"/>
                  </a:lnTo>
                  <a:lnTo>
                    <a:pt x="509" y="595"/>
                  </a:lnTo>
                  <a:lnTo>
                    <a:pt x="510" y="593"/>
                  </a:lnTo>
                  <a:lnTo>
                    <a:pt x="513" y="593"/>
                  </a:lnTo>
                  <a:lnTo>
                    <a:pt x="519" y="593"/>
                  </a:lnTo>
                  <a:lnTo>
                    <a:pt x="522" y="592"/>
                  </a:lnTo>
                  <a:lnTo>
                    <a:pt x="523" y="590"/>
                  </a:lnTo>
                  <a:lnTo>
                    <a:pt x="525" y="588"/>
                  </a:lnTo>
                  <a:lnTo>
                    <a:pt x="526" y="586"/>
                  </a:lnTo>
                  <a:lnTo>
                    <a:pt x="528" y="585"/>
                  </a:lnTo>
                  <a:lnTo>
                    <a:pt x="530" y="585"/>
                  </a:lnTo>
                  <a:lnTo>
                    <a:pt x="531" y="584"/>
                  </a:lnTo>
                  <a:lnTo>
                    <a:pt x="534" y="582"/>
                  </a:lnTo>
                  <a:lnTo>
                    <a:pt x="535" y="580"/>
                  </a:lnTo>
                  <a:lnTo>
                    <a:pt x="535" y="579"/>
                  </a:lnTo>
                  <a:lnTo>
                    <a:pt x="537" y="577"/>
                  </a:lnTo>
                  <a:lnTo>
                    <a:pt x="541" y="575"/>
                  </a:lnTo>
                  <a:lnTo>
                    <a:pt x="540" y="573"/>
                  </a:lnTo>
                  <a:lnTo>
                    <a:pt x="539" y="571"/>
                  </a:lnTo>
                  <a:lnTo>
                    <a:pt x="539" y="569"/>
                  </a:lnTo>
                  <a:lnTo>
                    <a:pt x="541" y="566"/>
                  </a:lnTo>
                  <a:lnTo>
                    <a:pt x="545" y="564"/>
                  </a:lnTo>
                  <a:lnTo>
                    <a:pt x="549" y="562"/>
                  </a:lnTo>
                  <a:lnTo>
                    <a:pt x="552" y="562"/>
                  </a:lnTo>
                  <a:lnTo>
                    <a:pt x="555" y="562"/>
                  </a:lnTo>
                  <a:lnTo>
                    <a:pt x="565" y="560"/>
                  </a:lnTo>
                  <a:lnTo>
                    <a:pt x="568" y="560"/>
                  </a:lnTo>
                  <a:lnTo>
                    <a:pt x="571" y="561"/>
                  </a:lnTo>
                  <a:lnTo>
                    <a:pt x="574" y="563"/>
                  </a:lnTo>
                  <a:lnTo>
                    <a:pt x="584" y="570"/>
                  </a:lnTo>
                  <a:lnTo>
                    <a:pt x="587" y="570"/>
                  </a:lnTo>
                  <a:lnTo>
                    <a:pt x="600" y="565"/>
                  </a:lnTo>
                  <a:lnTo>
                    <a:pt x="603" y="564"/>
                  </a:lnTo>
                  <a:lnTo>
                    <a:pt x="609" y="562"/>
                  </a:lnTo>
                  <a:lnTo>
                    <a:pt x="619" y="563"/>
                  </a:lnTo>
                  <a:lnTo>
                    <a:pt x="626" y="567"/>
                  </a:lnTo>
                  <a:lnTo>
                    <a:pt x="630" y="567"/>
                  </a:lnTo>
                  <a:lnTo>
                    <a:pt x="634" y="564"/>
                  </a:lnTo>
                  <a:lnTo>
                    <a:pt x="636" y="564"/>
                  </a:lnTo>
                  <a:lnTo>
                    <a:pt x="638" y="565"/>
                  </a:lnTo>
                  <a:lnTo>
                    <a:pt x="639" y="566"/>
                  </a:lnTo>
                  <a:lnTo>
                    <a:pt x="641" y="568"/>
                  </a:lnTo>
                  <a:lnTo>
                    <a:pt x="642" y="568"/>
                  </a:lnTo>
                  <a:lnTo>
                    <a:pt x="643" y="568"/>
                  </a:lnTo>
                  <a:lnTo>
                    <a:pt x="647" y="566"/>
                  </a:lnTo>
                  <a:lnTo>
                    <a:pt x="650" y="567"/>
                  </a:lnTo>
                  <a:lnTo>
                    <a:pt x="659" y="575"/>
                  </a:lnTo>
                  <a:lnTo>
                    <a:pt x="665" y="567"/>
                  </a:lnTo>
                  <a:lnTo>
                    <a:pt x="691" y="566"/>
                  </a:lnTo>
                  <a:lnTo>
                    <a:pt x="695" y="560"/>
                  </a:lnTo>
                  <a:lnTo>
                    <a:pt x="701" y="561"/>
                  </a:lnTo>
                  <a:lnTo>
                    <a:pt x="707" y="564"/>
                  </a:lnTo>
                  <a:lnTo>
                    <a:pt x="712" y="568"/>
                  </a:lnTo>
                  <a:lnTo>
                    <a:pt x="714" y="569"/>
                  </a:lnTo>
                  <a:lnTo>
                    <a:pt x="716" y="570"/>
                  </a:lnTo>
                  <a:lnTo>
                    <a:pt x="717" y="570"/>
                  </a:lnTo>
                  <a:lnTo>
                    <a:pt x="726" y="568"/>
                  </a:lnTo>
                  <a:lnTo>
                    <a:pt x="729" y="567"/>
                  </a:lnTo>
                  <a:lnTo>
                    <a:pt x="731" y="564"/>
                  </a:lnTo>
                  <a:lnTo>
                    <a:pt x="732" y="562"/>
                  </a:lnTo>
                  <a:lnTo>
                    <a:pt x="732" y="561"/>
                  </a:lnTo>
                  <a:lnTo>
                    <a:pt x="732" y="558"/>
                  </a:lnTo>
                  <a:lnTo>
                    <a:pt x="733" y="557"/>
                  </a:lnTo>
                  <a:lnTo>
                    <a:pt x="734" y="556"/>
                  </a:lnTo>
                  <a:lnTo>
                    <a:pt x="736" y="557"/>
                  </a:lnTo>
                  <a:lnTo>
                    <a:pt x="737" y="557"/>
                  </a:lnTo>
                  <a:lnTo>
                    <a:pt x="739" y="556"/>
                  </a:lnTo>
                  <a:lnTo>
                    <a:pt x="739" y="554"/>
                  </a:lnTo>
                  <a:lnTo>
                    <a:pt x="737" y="549"/>
                  </a:lnTo>
                  <a:lnTo>
                    <a:pt x="737" y="547"/>
                  </a:lnTo>
                  <a:lnTo>
                    <a:pt x="738" y="545"/>
                  </a:lnTo>
                  <a:lnTo>
                    <a:pt x="744" y="540"/>
                  </a:lnTo>
                  <a:lnTo>
                    <a:pt x="745" y="539"/>
                  </a:lnTo>
                  <a:lnTo>
                    <a:pt x="747" y="538"/>
                  </a:lnTo>
                  <a:lnTo>
                    <a:pt x="750" y="537"/>
                  </a:lnTo>
                  <a:lnTo>
                    <a:pt x="754" y="537"/>
                  </a:lnTo>
                  <a:lnTo>
                    <a:pt x="755" y="538"/>
                  </a:lnTo>
                  <a:lnTo>
                    <a:pt x="758" y="541"/>
                  </a:lnTo>
                  <a:lnTo>
                    <a:pt x="759" y="542"/>
                  </a:lnTo>
                  <a:lnTo>
                    <a:pt x="761" y="541"/>
                  </a:lnTo>
                  <a:lnTo>
                    <a:pt x="763" y="540"/>
                  </a:lnTo>
                  <a:lnTo>
                    <a:pt x="764" y="540"/>
                  </a:lnTo>
                  <a:lnTo>
                    <a:pt x="767" y="540"/>
                  </a:lnTo>
                  <a:lnTo>
                    <a:pt x="773" y="543"/>
                  </a:lnTo>
                  <a:lnTo>
                    <a:pt x="776" y="543"/>
                  </a:lnTo>
                  <a:lnTo>
                    <a:pt x="778" y="542"/>
                  </a:lnTo>
                  <a:lnTo>
                    <a:pt x="779" y="542"/>
                  </a:lnTo>
                  <a:lnTo>
                    <a:pt x="780" y="543"/>
                  </a:lnTo>
                  <a:lnTo>
                    <a:pt x="781" y="544"/>
                  </a:lnTo>
                  <a:lnTo>
                    <a:pt x="784" y="547"/>
                  </a:lnTo>
                  <a:lnTo>
                    <a:pt x="787" y="546"/>
                  </a:lnTo>
                  <a:lnTo>
                    <a:pt x="795" y="537"/>
                  </a:lnTo>
                  <a:lnTo>
                    <a:pt x="796" y="536"/>
                  </a:lnTo>
                  <a:lnTo>
                    <a:pt x="800" y="536"/>
                  </a:lnTo>
                  <a:lnTo>
                    <a:pt x="802" y="535"/>
                  </a:lnTo>
                  <a:lnTo>
                    <a:pt x="804" y="531"/>
                  </a:lnTo>
                  <a:lnTo>
                    <a:pt x="805" y="527"/>
                  </a:lnTo>
                  <a:lnTo>
                    <a:pt x="806" y="517"/>
                  </a:lnTo>
                  <a:lnTo>
                    <a:pt x="807" y="512"/>
                  </a:lnTo>
                  <a:lnTo>
                    <a:pt x="810" y="508"/>
                  </a:lnTo>
                  <a:lnTo>
                    <a:pt x="813" y="508"/>
                  </a:lnTo>
                  <a:lnTo>
                    <a:pt x="820" y="507"/>
                  </a:lnTo>
                  <a:lnTo>
                    <a:pt x="824" y="504"/>
                  </a:lnTo>
                  <a:lnTo>
                    <a:pt x="823" y="499"/>
                  </a:lnTo>
                  <a:lnTo>
                    <a:pt x="818" y="490"/>
                  </a:lnTo>
                  <a:lnTo>
                    <a:pt x="818" y="486"/>
                  </a:lnTo>
                  <a:lnTo>
                    <a:pt x="821" y="482"/>
                  </a:lnTo>
                  <a:lnTo>
                    <a:pt x="823" y="479"/>
                  </a:lnTo>
                  <a:lnTo>
                    <a:pt x="825" y="474"/>
                  </a:lnTo>
                  <a:lnTo>
                    <a:pt x="826" y="465"/>
                  </a:lnTo>
                  <a:lnTo>
                    <a:pt x="827" y="461"/>
                  </a:lnTo>
                  <a:lnTo>
                    <a:pt x="829" y="458"/>
                  </a:lnTo>
                  <a:lnTo>
                    <a:pt x="833" y="457"/>
                  </a:lnTo>
                  <a:lnTo>
                    <a:pt x="838" y="458"/>
                  </a:lnTo>
                  <a:lnTo>
                    <a:pt x="842" y="456"/>
                  </a:lnTo>
                  <a:lnTo>
                    <a:pt x="845" y="452"/>
                  </a:lnTo>
                  <a:lnTo>
                    <a:pt x="846" y="449"/>
                  </a:lnTo>
                  <a:lnTo>
                    <a:pt x="847" y="448"/>
                  </a:lnTo>
                  <a:lnTo>
                    <a:pt x="848" y="445"/>
                  </a:lnTo>
                  <a:lnTo>
                    <a:pt x="853" y="444"/>
                  </a:lnTo>
                  <a:lnTo>
                    <a:pt x="856" y="443"/>
                  </a:lnTo>
                  <a:lnTo>
                    <a:pt x="859" y="438"/>
                  </a:lnTo>
                  <a:lnTo>
                    <a:pt x="859" y="434"/>
                  </a:lnTo>
                  <a:lnTo>
                    <a:pt x="855" y="431"/>
                  </a:lnTo>
                  <a:lnTo>
                    <a:pt x="854" y="430"/>
                  </a:lnTo>
                  <a:lnTo>
                    <a:pt x="854" y="430"/>
                  </a:lnTo>
                  <a:lnTo>
                    <a:pt x="854" y="429"/>
                  </a:lnTo>
                  <a:lnTo>
                    <a:pt x="854" y="428"/>
                  </a:lnTo>
                  <a:lnTo>
                    <a:pt x="854" y="426"/>
                  </a:lnTo>
                  <a:lnTo>
                    <a:pt x="855" y="425"/>
                  </a:lnTo>
                  <a:lnTo>
                    <a:pt x="855" y="424"/>
                  </a:lnTo>
                  <a:lnTo>
                    <a:pt x="859" y="415"/>
                  </a:lnTo>
                  <a:lnTo>
                    <a:pt x="861" y="411"/>
                  </a:lnTo>
                  <a:lnTo>
                    <a:pt x="864" y="408"/>
                  </a:lnTo>
                  <a:lnTo>
                    <a:pt x="870" y="406"/>
                  </a:lnTo>
                  <a:lnTo>
                    <a:pt x="872" y="405"/>
                  </a:lnTo>
                  <a:lnTo>
                    <a:pt x="873" y="402"/>
                  </a:lnTo>
                  <a:lnTo>
                    <a:pt x="873" y="400"/>
                  </a:lnTo>
                  <a:lnTo>
                    <a:pt x="872" y="397"/>
                  </a:lnTo>
                  <a:lnTo>
                    <a:pt x="872" y="394"/>
                  </a:lnTo>
                  <a:lnTo>
                    <a:pt x="872" y="391"/>
                  </a:lnTo>
                  <a:lnTo>
                    <a:pt x="873" y="391"/>
                  </a:lnTo>
                  <a:lnTo>
                    <a:pt x="873" y="391"/>
                  </a:lnTo>
                  <a:lnTo>
                    <a:pt x="881" y="385"/>
                  </a:lnTo>
                  <a:lnTo>
                    <a:pt x="882" y="383"/>
                  </a:lnTo>
                  <a:lnTo>
                    <a:pt x="885" y="371"/>
                  </a:lnTo>
                  <a:lnTo>
                    <a:pt x="886" y="371"/>
                  </a:lnTo>
                  <a:lnTo>
                    <a:pt x="886" y="371"/>
                  </a:lnTo>
                  <a:lnTo>
                    <a:pt x="884" y="368"/>
                  </a:lnTo>
                  <a:lnTo>
                    <a:pt x="883" y="367"/>
                  </a:lnTo>
                  <a:lnTo>
                    <a:pt x="882" y="367"/>
                  </a:lnTo>
                  <a:lnTo>
                    <a:pt x="880" y="366"/>
                  </a:lnTo>
                  <a:lnTo>
                    <a:pt x="880" y="365"/>
                  </a:lnTo>
                  <a:lnTo>
                    <a:pt x="879" y="364"/>
                  </a:lnTo>
                  <a:lnTo>
                    <a:pt x="886" y="357"/>
                  </a:lnTo>
                  <a:lnTo>
                    <a:pt x="889" y="354"/>
                  </a:lnTo>
                  <a:lnTo>
                    <a:pt x="897" y="348"/>
                  </a:lnTo>
                  <a:lnTo>
                    <a:pt x="900" y="345"/>
                  </a:lnTo>
                  <a:lnTo>
                    <a:pt x="901" y="343"/>
                  </a:lnTo>
                  <a:lnTo>
                    <a:pt x="902" y="339"/>
                  </a:lnTo>
                  <a:lnTo>
                    <a:pt x="903" y="337"/>
                  </a:lnTo>
                  <a:lnTo>
                    <a:pt x="904" y="335"/>
                  </a:lnTo>
                  <a:lnTo>
                    <a:pt x="908" y="331"/>
                  </a:lnTo>
                  <a:lnTo>
                    <a:pt x="909" y="329"/>
                  </a:lnTo>
                  <a:lnTo>
                    <a:pt x="910" y="327"/>
                  </a:lnTo>
                  <a:lnTo>
                    <a:pt x="910" y="324"/>
                  </a:lnTo>
                  <a:lnTo>
                    <a:pt x="910" y="322"/>
                  </a:lnTo>
                  <a:lnTo>
                    <a:pt x="910" y="320"/>
                  </a:lnTo>
                  <a:lnTo>
                    <a:pt x="910" y="317"/>
                  </a:lnTo>
                  <a:lnTo>
                    <a:pt x="912" y="314"/>
                  </a:lnTo>
                  <a:lnTo>
                    <a:pt x="913" y="312"/>
                  </a:lnTo>
                  <a:lnTo>
                    <a:pt x="915" y="303"/>
                  </a:lnTo>
                  <a:lnTo>
                    <a:pt x="916" y="300"/>
                  </a:lnTo>
                  <a:lnTo>
                    <a:pt x="922" y="292"/>
                  </a:lnTo>
                  <a:lnTo>
                    <a:pt x="925" y="288"/>
                  </a:lnTo>
                  <a:lnTo>
                    <a:pt x="928" y="287"/>
                  </a:lnTo>
                  <a:lnTo>
                    <a:pt x="935" y="284"/>
                  </a:lnTo>
                  <a:lnTo>
                    <a:pt x="938" y="278"/>
                  </a:lnTo>
                  <a:lnTo>
                    <a:pt x="938" y="270"/>
                  </a:lnTo>
                  <a:lnTo>
                    <a:pt x="936" y="262"/>
                  </a:lnTo>
                  <a:lnTo>
                    <a:pt x="936" y="255"/>
                  </a:lnTo>
                  <a:lnTo>
                    <a:pt x="939" y="249"/>
                  </a:lnTo>
                  <a:lnTo>
                    <a:pt x="944" y="244"/>
                  </a:lnTo>
                  <a:lnTo>
                    <a:pt x="954" y="236"/>
                  </a:lnTo>
                  <a:lnTo>
                    <a:pt x="961" y="234"/>
                  </a:lnTo>
                  <a:lnTo>
                    <a:pt x="962" y="234"/>
                  </a:lnTo>
                  <a:lnTo>
                    <a:pt x="964" y="233"/>
                  </a:lnTo>
                  <a:lnTo>
                    <a:pt x="964" y="231"/>
                  </a:lnTo>
                  <a:lnTo>
                    <a:pt x="964" y="231"/>
                  </a:lnTo>
                  <a:lnTo>
                    <a:pt x="965" y="229"/>
                  </a:lnTo>
                  <a:lnTo>
                    <a:pt x="965" y="228"/>
                  </a:lnTo>
                  <a:lnTo>
                    <a:pt x="965" y="226"/>
                  </a:lnTo>
                  <a:lnTo>
                    <a:pt x="969" y="220"/>
                  </a:lnTo>
                  <a:lnTo>
                    <a:pt x="970" y="218"/>
                  </a:lnTo>
                  <a:lnTo>
                    <a:pt x="970" y="214"/>
                  </a:lnTo>
                  <a:lnTo>
                    <a:pt x="971" y="212"/>
                  </a:lnTo>
                  <a:lnTo>
                    <a:pt x="972" y="211"/>
                  </a:lnTo>
                  <a:lnTo>
                    <a:pt x="975" y="209"/>
                  </a:lnTo>
                  <a:lnTo>
                    <a:pt x="976" y="208"/>
                  </a:lnTo>
                  <a:lnTo>
                    <a:pt x="979" y="202"/>
                  </a:lnTo>
                  <a:lnTo>
                    <a:pt x="981" y="200"/>
                  </a:lnTo>
                  <a:lnTo>
                    <a:pt x="984" y="199"/>
                  </a:lnTo>
                  <a:lnTo>
                    <a:pt x="987" y="198"/>
                  </a:lnTo>
                  <a:lnTo>
                    <a:pt x="989" y="198"/>
                  </a:lnTo>
                  <a:lnTo>
                    <a:pt x="996" y="199"/>
                  </a:lnTo>
                  <a:lnTo>
                    <a:pt x="999" y="199"/>
                  </a:lnTo>
                  <a:lnTo>
                    <a:pt x="1000" y="198"/>
                  </a:lnTo>
                  <a:lnTo>
                    <a:pt x="1002" y="196"/>
                  </a:lnTo>
                  <a:lnTo>
                    <a:pt x="1005" y="187"/>
                  </a:lnTo>
                  <a:lnTo>
                    <a:pt x="1010" y="185"/>
                  </a:lnTo>
                  <a:lnTo>
                    <a:pt x="1022" y="192"/>
                  </a:lnTo>
                  <a:lnTo>
                    <a:pt x="1027" y="193"/>
                  </a:lnTo>
                  <a:lnTo>
                    <a:pt x="1033" y="192"/>
                  </a:lnTo>
                  <a:lnTo>
                    <a:pt x="1039" y="189"/>
                  </a:lnTo>
                  <a:lnTo>
                    <a:pt x="1043" y="185"/>
                  </a:lnTo>
                  <a:lnTo>
                    <a:pt x="1048" y="180"/>
                  </a:lnTo>
                  <a:lnTo>
                    <a:pt x="1049" y="179"/>
                  </a:lnTo>
                  <a:lnTo>
                    <a:pt x="1053" y="177"/>
                  </a:lnTo>
                  <a:lnTo>
                    <a:pt x="1056" y="177"/>
                  </a:lnTo>
                  <a:lnTo>
                    <a:pt x="1057" y="176"/>
                  </a:lnTo>
                  <a:lnTo>
                    <a:pt x="1058" y="173"/>
                  </a:lnTo>
                  <a:lnTo>
                    <a:pt x="1058" y="172"/>
                  </a:lnTo>
                  <a:lnTo>
                    <a:pt x="1057" y="170"/>
                  </a:lnTo>
                  <a:lnTo>
                    <a:pt x="1057" y="168"/>
                  </a:lnTo>
                  <a:lnTo>
                    <a:pt x="1059" y="165"/>
                  </a:lnTo>
                  <a:lnTo>
                    <a:pt x="1062" y="163"/>
                  </a:lnTo>
                  <a:lnTo>
                    <a:pt x="1068" y="161"/>
                  </a:lnTo>
                  <a:lnTo>
                    <a:pt x="1070" y="158"/>
                  </a:lnTo>
                  <a:lnTo>
                    <a:pt x="1074" y="151"/>
                  </a:lnTo>
                  <a:lnTo>
                    <a:pt x="1077" y="148"/>
                  </a:lnTo>
                  <a:lnTo>
                    <a:pt x="1071" y="143"/>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02" name="Freeform 38">
              <a:extLst>
                <a:ext uri="{FF2B5EF4-FFF2-40B4-BE49-F238E27FC236}">
                  <a16:creationId xmlns:a16="http://schemas.microsoft.com/office/drawing/2014/main" id="{1F292102-FE1F-45FE-A781-D6152714715F}"/>
                </a:ext>
              </a:extLst>
            </p:cNvPr>
            <p:cNvSpPr>
              <a:spLocks noEditPoints="1"/>
            </p:cNvSpPr>
            <p:nvPr/>
          </p:nvSpPr>
          <p:spPr bwMode="gray">
            <a:xfrm>
              <a:off x="9989796" y="5772947"/>
              <a:ext cx="851992" cy="871312"/>
            </a:xfrm>
            <a:custGeom>
              <a:avLst/>
              <a:gdLst>
                <a:gd name="T0" fmla="*/ 979 w 1367"/>
                <a:gd name="T1" fmla="*/ 1340 h 1398"/>
                <a:gd name="T2" fmla="*/ 736 w 1367"/>
                <a:gd name="T3" fmla="*/ 1279 h 1398"/>
                <a:gd name="T4" fmla="*/ 623 w 1367"/>
                <a:gd name="T5" fmla="*/ 1286 h 1398"/>
                <a:gd name="T6" fmla="*/ 867 w 1367"/>
                <a:gd name="T7" fmla="*/ 1374 h 1398"/>
                <a:gd name="T8" fmla="*/ 1195 w 1367"/>
                <a:gd name="T9" fmla="*/ 1207 h 1398"/>
                <a:gd name="T10" fmla="*/ 524 w 1367"/>
                <a:gd name="T11" fmla="*/ 1134 h 1398"/>
                <a:gd name="T12" fmla="*/ 1328 w 1367"/>
                <a:gd name="T13" fmla="*/ 1156 h 1398"/>
                <a:gd name="T14" fmla="*/ 1236 w 1367"/>
                <a:gd name="T15" fmla="*/ 1094 h 1398"/>
                <a:gd name="T16" fmla="*/ 1308 w 1367"/>
                <a:gd name="T17" fmla="*/ 1046 h 1398"/>
                <a:gd name="T18" fmla="*/ 771 w 1367"/>
                <a:gd name="T19" fmla="*/ 1038 h 1398"/>
                <a:gd name="T20" fmla="*/ 922 w 1367"/>
                <a:gd name="T21" fmla="*/ 1007 h 1398"/>
                <a:gd name="T22" fmla="*/ 1007 w 1367"/>
                <a:gd name="T23" fmla="*/ 991 h 1398"/>
                <a:gd name="T24" fmla="*/ 1171 w 1367"/>
                <a:gd name="T25" fmla="*/ 969 h 1398"/>
                <a:gd name="T26" fmla="*/ 1151 w 1367"/>
                <a:gd name="T27" fmla="*/ 952 h 1398"/>
                <a:gd name="T28" fmla="*/ 775 w 1367"/>
                <a:gd name="T29" fmla="*/ 931 h 1398"/>
                <a:gd name="T30" fmla="*/ 1101 w 1367"/>
                <a:gd name="T31" fmla="*/ 911 h 1398"/>
                <a:gd name="T32" fmla="*/ 842 w 1367"/>
                <a:gd name="T33" fmla="*/ 871 h 1398"/>
                <a:gd name="T34" fmla="*/ 850 w 1367"/>
                <a:gd name="T35" fmla="*/ 839 h 1398"/>
                <a:gd name="T36" fmla="*/ 1151 w 1367"/>
                <a:gd name="T37" fmla="*/ 843 h 1398"/>
                <a:gd name="T38" fmla="*/ 194 w 1367"/>
                <a:gd name="T39" fmla="*/ 841 h 1398"/>
                <a:gd name="T40" fmla="*/ 613 w 1367"/>
                <a:gd name="T41" fmla="*/ 772 h 1398"/>
                <a:gd name="T42" fmla="*/ 131 w 1367"/>
                <a:gd name="T43" fmla="*/ 708 h 1398"/>
                <a:gd name="T44" fmla="*/ 179 w 1367"/>
                <a:gd name="T45" fmla="*/ 698 h 1398"/>
                <a:gd name="T46" fmla="*/ 1033 w 1367"/>
                <a:gd name="T47" fmla="*/ 677 h 1398"/>
                <a:gd name="T48" fmla="*/ 169 w 1367"/>
                <a:gd name="T49" fmla="*/ 603 h 1398"/>
                <a:gd name="T50" fmla="*/ 801 w 1367"/>
                <a:gd name="T51" fmla="*/ 614 h 1398"/>
                <a:gd name="T52" fmla="*/ 728 w 1367"/>
                <a:gd name="T53" fmla="*/ 699 h 1398"/>
                <a:gd name="T54" fmla="*/ 512 w 1367"/>
                <a:gd name="T55" fmla="*/ 605 h 1398"/>
                <a:gd name="T56" fmla="*/ 714 w 1367"/>
                <a:gd name="T57" fmla="*/ 720 h 1398"/>
                <a:gd name="T58" fmla="*/ 674 w 1367"/>
                <a:gd name="T59" fmla="*/ 534 h 1398"/>
                <a:gd name="T60" fmla="*/ 1033 w 1367"/>
                <a:gd name="T61" fmla="*/ 506 h 1398"/>
                <a:gd name="T62" fmla="*/ 859 w 1367"/>
                <a:gd name="T63" fmla="*/ 464 h 1398"/>
                <a:gd name="T64" fmla="*/ 58 w 1367"/>
                <a:gd name="T65" fmla="*/ 488 h 1398"/>
                <a:gd name="T66" fmla="*/ 901 w 1367"/>
                <a:gd name="T67" fmla="*/ 406 h 1398"/>
                <a:gd name="T68" fmla="*/ 794 w 1367"/>
                <a:gd name="T69" fmla="*/ 244 h 1398"/>
                <a:gd name="T70" fmla="*/ 555 w 1367"/>
                <a:gd name="T71" fmla="*/ 821 h 1398"/>
                <a:gd name="T72" fmla="*/ 680 w 1367"/>
                <a:gd name="T73" fmla="*/ 825 h 1398"/>
                <a:gd name="T74" fmla="*/ 630 w 1367"/>
                <a:gd name="T75" fmla="*/ 683 h 1398"/>
                <a:gd name="T76" fmla="*/ 471 w 1367"/>
                <a:gd name="T77" fmla="*/ 590 h 1398"/>
                <a:gd name="T78" fmla="*/ 538 w 1367"/>
                <a:gd name="T79" fmla="*/ 502 h 1398"/>
                <a:gd name="T80" fmla="*/ 468 w 1367"/>
                <a:gd name="T81" fmla="*/ 354 h 1398"/>
                <a:gd name="T82" fmla="*/ 562 w 1367"/>
                <a:gd name="T83" fmla="*/ 308 h 1398"/>
                <a:gd name="T84" fmla="*/ 696 w 1367"/>
                <a:gd name="T85" fmla="*/ 359 h 1398"/>
                <a:gd name="T86" fmla="*/ 668 w 1367"/>
                <a:gd name="T87" fmla="*/ 258 h 1398"/>
                <a:gd name="T88" fmla="*/ 874 w 1367"/>
                <a:gd name="T89" fmla="*/ 166 h 1398"/>
                <a:gd name="T90" fmla="*/ 1069 w 1367"/>
                <a:gd name="T91" fmla="*/ 157 h 1398"/>
                <a:gd name="T92" fmla="*/ 1035 w 1367"/>
                <a:gd name="T93" fmla="*/ 56 h 1398"/>
                <a:gd name="T94" fmla="*/ 764 w 1367"/>
                <a:gd name="T95" fmla="*/ 47 h 1398"/>
                <a:gd name="T96" fmla="*/ 482 w 1367"/>
                <a:gd name="T97" fmla="*/ 122 h 1398"/>
                <a:gd name="T98" fmla="*/ 213 w 1367"/>
                <a:gd name="T99" fmla="*/ 189 h 1398"/>
                <a:gd name="T100" fmla="*/ 104 w 1367"/>
                <a:gd name="T101" fmla="*/ 406 h 1398"/>
                <a:gd name="T102" fmla="*/ 106 w 1367"/>
                <a:gd name="T103" fmla="*/ 496 h 1398"/>
                <a:gd name="T104" fmla="*/ 201 w 1367"/>
                <a:gd name="T105" fmla="*/ 555 h 1398"/>
                <a:gd name="T106" fmla="*/ 181 w 1367"/>
                <a:gd name="T107" fmla="*/ 579 h 1398"/>
                <a:gd name="T108" fmla="*/ 233 w 1367"/>
                <a:gd name="T109" fmla="*/ 703 h 1398"/>
                <a:gd name="T110" fmla="*/ 336 w 1367"/>
                <a:gd name="T111" fmla="*/ 705 h 1398"/>
                <a:gd name="T112" fmla="*/ 484 w 1367"/>
                <a:gd name="T113" fmla="*/ 704 h 1398"/>
                <a:gd name="T114" fmla="*/ 458 w 1367"/>
                <a:gd name="T115" fmla="*/ 747 h 1398"/>
                <a:gd name="T116" fmla="*/ 263 w 1367"/>
                <a:gd name="T117" fmla="*/ 816 h 1398"/>
                <a:gd name="T118" fmla="*/ 400 w 1367"/>
                <a:gd name="T119" fmla="*/ 978 h 1398"/>
                <a:gd name="T120" fmla="*/ 506 w 1367"/>
                <a:gd name="T121" fmla="*/ 1035 h 1398"/>
                <a:gd name="T122" fmla="*/ 534 w 1367"/>
                <a:gd name="T123" fmla="*/ 974 h 1398"/>
                <a:gd name="T124" fmla="*/ 543 w 1367"/>
                <a:gd name="T125" fmla="*/ 875 h 1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67" h="1398">
                  <a:moveTo>
                    <a:pt x="713" y="1394"/>
                  </a:moveTo>
                  <a:lnTo>
                    <a:pt x="714" y="1392"/>
                  </a:lnTo>
                  <a:lnTo>
                    <a:pt x="715" y="1390"/>
                  </a:lnTo>
                  <a:lnTo>
                    <a:pt x="715" y="1389"/>
                  </a:lnTo>
                  <a:lnTo>
                    <a:pt x="711" y="1388"/>
                  </a:lnTo>
                  <a:lnTo>
                    <a:pt x="709" y="1388"/>
                  </a:lnTo>
                  <a:lnTo>
                    <a:pt x="707" y="1388"/>
                  </a:lnTo>
                  <a:lnTo>
                    <a:pt x="706" y="1389"/>
                  </a:lnTo>
                  <a:lnTo>
                    <a:pt x="705" y="1390"/>
                  </a:lnTo>
                  <a:lnTo>
                    <a:pt x="703" y="1390"/>
                  </a:lnTo>
                  <a:lnTo>
                    <a:pt x="702" y="1390"/>
                  </a:lnTo>
                  <a:lnTo>
                    <a:pt x="702" y="1392"/>
                  </a:lnTo>
                  <a:lnTo>
                    <a:pt x="708" y="1396"/>
                  </a:lnTo>
                  <a:lnTo>
                    <a:pt x="712" y="1398"/>
                  </a:lnTo>
                  <a:lnTo>
                    <a:pt x="716" y="1398"/>
                  </a:lnTo>
                  <a:lnTo>
                    <a:pt x="716" y="1397"/>
                  </a:lnTo>
                  <a:lnTo>
                    <a:pt x="714" y="1396"/>
                  </a:lnTo>
                  <a:lnTo>
                    <a:pt x="713" y="1394"/>
                  </a:lnTo>
                  <a:close/>
                  <a:moveTo>
                    <a:pt x="1171" y="1278"/>
                  </a:moveTo>
                  <a:lnTo>
                    <a:pt x="1167" y="1279"/>
                  </a:lnTo>
                  <a:lnTo>
                    <a:pt x="1164" y="1279"/>
                  </a:lnTo>
                  <a:lnTo>
                    <a:pt x="1158" y="1282"/>
                  </a:lnTo>
                  <a:lnTo>
                    <a:pt x="1158" y="1282"/>
                  </a:lnTo>
                  <a:lnTo>
                    <a:pt x="1156" y="1281"/>
                  </a:lnTo>
                  <a:lnTo>
                    <a:pt x="1155" y="1281"/>
                  </a:lnTo>
                  <a:lnTo>
                    <a:pt x="1154" y="1281"/>
                  </a:lnTo>
                  <a:lnTo>
                    <a:pt x="1153" y="1284"/>
                  </a:lnTo>
                  <a:lnTo>
                    <a:pt x="1152" y="1284"/>
                  </a:lnTo>
                  <a:lnTo>
                    <a:pt x="1151" y="1285"/>
                  </a:lnTo>
                  <a:lnTo>
                    <a:pt x="1148" y="1289"/>
                  </a:lnTo>
                  <a:lnTo>
                    <a:pt x="1147" y="1290"/>
                  </a:lnTo>
                  <a:lnTo>
                    <a:pt x="1146" y="1291"/>
                  </a:lnTo>
                  <a:lnTo>
                    <a:pt x="1147" y="1292"/>
                  </a:lnTo>
                  <a:lnTo>
                    <a:pt x="1149" y="1294"/>
                  </a:lnTo>
                  <a:lnTo>
                    <a:pt x="1151" y="1295"/>
                  </a:lnTo>
                  <a:lnTo>
                    <a:pt x="1153" y="1294"/>
                  </a:lnTo>
                  <a:lnTo>
                    <a:pt x="1156" y="1292"/>
                  </a:lnTo>
                  <a:lnTo>
                    <a:pt x="1157" y="1291"/>
                  </a:lnTo>
                  <a:lnTo>
                    <a:pt x="1159" y="1291"/>
                  </a:lnTo>
                  <a:lnTo>
                    <a:pt x="1160" y="1290"/>
                  </a:lnTo>
                  <a:lnTo>
                    <a:pt x="1162" y="1288"/>
                  </a:lnTo>
                  <a:lnTo>
                    <a:pt x="1164" y="1287"/>
                  </a:lnTo>
                  <a:lnTo>
                    <a:pt x="1165" y="1287"/>
                  </a:lnTo>
                  <a:lnTo>
                    <a:pt x="1169" y="1286"/>
                  </a:lnTo>
                  <a:lnTo>
                    <a:pt x="1171" y="1286"/>
                  </a:lnTo>
                  <a:lnTo>
                    <a:pt x="1171" y="1284"/>
                  </a:lnTo>
                  <a:lnTo>
                    <a:pt x="1170" y="1281"/>
                  </a:lnTo>
                  <a:lnTo>
                    <a:pt x="1171" y="1280"/>
                  </a:lnTo>
                  <a:lnTo>
                    <a:pt x="1172" y="1279"/>
                  </a:lnTo>
                  <a:lnTo>
                    <a:pt x="1172" y="1278"/>
                  </a:lnTo>
                  <a:lnTo>
                    <a:pt x="1171" y="1278"/>
                  </a:lnTo>
                  <a:close/>
                  <a:moveTo>
                    <a:pt x="1059" y="1307"/>
                  </a:moveTo>
                  <a:lnTo>
                    <a:pt x="1061" y="1305"/>
                  </a:lnTo>
                  <a:lnTo>
                    <a:pt x="1063" y="1302"/>
                  </a:lnTo>
                  <a:lnTo>
                    <a:pt x="1058" y="1302"/>
                  </a:lnTo>
                  <a:lnTo>
                    <a:pt x="1059" y="1302"/>
                  </a:lnTo>
                  <a:lnTo>
                    <a:pt x="1059" y="1304"/>
                  </a:lnTo>
                  <a:lnTo>
                    <a:pt x="1059" y="1304"/>
                  </a:lnTo>
                  <a:lnTo>
                    <a:pt x="1059" y="1305"/>
                  </a:lnTo>
                  <a:lnTo>
                    <a:pt x="1057" y="1304"/>
                  </a:lnTo>
                  <a:lnTo>
                    <a:pt x="1058" y="1307"/>
                  </a:lnTo>
                  <a:lnTo>
                    <a:pt x="1053" y="1308"/>
                  </a:lnTo>
                  <a:lnTo>
                    <a:pt x="1049" y="1311"/>
                  </a:lnTo>
                  <a:lnTo>
                    <a:pt x="1046" y="1315"/>
                  </a:lnTo>
                  <a:lnTo>
                    <a:pt x="1042" y="1319"/>
                  </a:lnTo>
                  <a:lnTo>
                    <a:pt x="1042" y="1320"/>
                  </a:lnTo>
                  <a:lnTo>
                    <a:pt x="1042" y="1320"/>
                  </a:lnTo>
                  <a:lnTo>
                    <a:pt x="1043" y="1320"/>
                  </a:lnTo>
                  <a:lnTo>
                    <a:pt x="1040" y="1322"/>
                  </a:lnTo>
                  <a:lnTo>
                    <a:pt x="1036" y="1324"/>
                  </a:lnTo>
                  <a:lnTo>
                    <a:pt x="1032" y="1325"/>
                  </a:lnTo>
                  <a:lnTo>
                    <a:pt x="1029" y="1323"/>
                  </a:lnTo>
                  <a:lnTo>
                    <a:pt x="1031" y="1321"/>
                  </a:lnTo>
                  <a:lnTo>
                    <a:pt x="1025" y="1319"/>
                  </a:lnTo>
                  <a:lnTo>
                    <a:pt x="1022" y="1317"/>
                  </a:lnTo>
                  <a:lnTo>
                    <a:pt x="1021" y="1317"/>
                  </a:lnTo>
                  <a:lnTo>
                    <a:pt x="1020" y="1319"/>
                  </a:lnTo>
                  <a:lnTo>
                    <a:pt x="1020" y="1319"/>
                  </a:lnTo>
                  <a:lnTo>
                    <a:pt x="1019" y="1319"/>
                  </a:lnTo>
                  <a:lnTo>
                    <a:pt x="1017" y="1319"/>
                  </a:lnTo>
                  <a:lnTo>
                    <a:pt x="1016" y="1320"/>
                  </a:lnTo>
                  <a:lnTo>
                    <a:pt x="1014" y="1321"/>
                  </a:lnTo>
                  <a:lnTo>
                    <a:pt x="1009" y="1324"/>
                  </a:lnTo>
                  <a:lnTo>
                    <a:pt x="1008" y="1325"/>
                  </a:lnTo>
                  <a:lnTo>
                    <a:pt x="1002" y="1326"/>
                  </a:lnTo>
                  <a:lnTo>
                    <a:pt x="997" y="1326"/>
                  </a:lnTo>
                  <a:lnTo>
                    <a:pt x="995" y="1327"/>
                  </a:lnTo>
                  <a:lnTo>
                    <a:pt x="995" y="1327"/>
                  </a:lnTo>
                  <a:lnTo>
                    <a:pt x="993" y="1331"/>
                  </a:lnTo>
                  <a:lnTo>
                    <a:pt x="991" y="1332"/>
                  </a:lnTo>
                  <a:lnTo>
                    <a:pt x="991" y="1332"/>
                  </a:lnTo>
                  <a:lnTo>
                    <a:pt x="989" y="1332"/>
                  </a:lnTo>
                  <a:lnTo>
                    <a:pt x="987" y="1334"/>
                  </a:lnTo>
                  <a:lnTo>
                    <a:pt x="985" y="1339"/>
                  </a:lnTo>
                  <a:lnTo>
                    <a:pt x="983" y="1340"/>
                  </a:lnTo>
                  <a:lnTo>
                    <a:pt x="979" y="1340"/>
                  </a:lnTo>
                  <a:lnTo>
                    <a:pt x="977" y="1340"/>
                  </a:lnTo>
                  <a:lnTo>
                    <a:pt x="975" y="1338"/>
                  </a:lnTo>
                  <a:lnTo>
                    <a:pt x="972" y="1337"/>
                  </a:lnTo>
                  <a:lnTo>
                    <a:pt x="970" y="1337"/>
                  </a:lnTo>
                  <a:lnTo>
                    <a:pt x="969" y="1337"/>
                  </a:lnTo>
                  <a:lnTo>
                    <a:pt x="968" y="1333"/>
                  </a:lnTo>
                  <a:lnTo>
                    <a:pt x="967" y="1331"/>
                  </a:lnTo>
                  <a:lnTo>
                    <a:pt x="966" y="1329"/>
                  </a:lnTo>
                  <a:lnTo>
                    <a:pt x="966" y="1327"/>
                  </a:lnTo>
                  <a:lnTo>
                    <a:pt x="968" y="1326"/>
                  </a:lnTo>
                  <a:lnTo>
                    <a:pt x="967" y="1322"/>
                  </a:lnTo>
                  <a:lnTo>
                    <a:pt x="968" y="1319"/>
                  </a:lnTo>
                  <a:lnTo>
                    <a:pt x="970" y="1317"/>
                  </a:lnTo>
                  <a:lnTo>
                    <a:pt x="969" y="1315"/>
                  </a:lnTo>
                  <a:lnTo>
                    <a:pt x="971" y="1313"/>
                  </a:lnTo>
                  <a:lnTo>
                    <a:pt x="971" y="1313"/>
                  </a:lnTo>
                  <a:lnTo>
                    <a:pt x="972" y="1313"/>
                  </a:lnTo>
                  <a:lnTo>
                    <a:pt x="972" y="1314"/>
                  </a:lnTo>
                  <a:lnTo>
                    <a:pt x="973" y="1312"/>
                  </a:lnTo>
                  <a:lnTo>
                    <a:pt x="973" y="1311"/>
                  </a:lnTo>
                  <a:lnTo>
                    <a:pt x="973" y="1311"/>
                  </a:lnTo>
                  <a:lnTo>
                    <a:pt x="973" y="1310"/>
                  </a:lnTo>
                  <a:lnTo>
                    <a:pt x="972" y="1308"/>
                  </a:lnTo>
                  <a:lnTo>
                    <a:pt x="971" y="1307"/>
                  </a:lnTo>
                  <a:lnTo>
                    <a:pt x="970" y="1309"/>
                  </a:lnTo>
                  <a:lnTo>
                    <a:pt x="970" y="1312"/>
                  </a:lnTo>
                  <a:lnTo>
                    <a:pt x="969" y="1311"/>
                  </a:lnTo>
                  <a:lnTo>
                    <a:pt x="968" y="1310"/>
                  </a:lnTo>
                  <a:lnTo>
                    <a:pt x="968" y="1309"/>
                  </a:lnTo>
                  <a:lnTo>
                    <a:pt x="969" y="1307"/>
                  </a:lnTo>
                  <a:lnTo>
                    <a:pt x="968" y="1306"/>
                  </a:lnTo>
                  <a:lnTo>
                    <a:pt x="971" y="1302"/>
                  </a:lnTo>
                  <a:lnTo>
                    <a:pt x="973" y="1300"/>
                  </a:lnTo>
                  <a:lnTo>
                    <a:pt x="975" y="1298"/>
                  </a:lnTo>
                  <a:lnTo>
                    <a:pt x="965" y="1298"/>
                  </a:lnTo>
                  <a:lnTo>
                    <a:pt x="963" y="1297"/>
                  </a:lnTo>
                  <a:lnTo>
                    <a:pt x="960" y="1296"/>
                  </a:lnTo>
                  <a:lnTo>
                    <a:pt x="958" y="1295"/>
                  </a:lnTo>
                  <a:lnTo>
                    <a:pt x="954" y="1296"/>
                  </a:lnTo>
                  <a:lnTo>
                    <a:pt x="929" y="1305"/>
                  </a:lnTo>
                  <a:lnTo>
                    <a:pt x="925" y="1306"/>
                  </a:lnTo>
                  <a:lnTo>
                    <a:pt x="920" y="1305"/>
                  </a:lnTo>
                  <a:lnTo>
                    <a:pt x="918" y="1302"/>
                  </a:lnTo>
                  <a:lnTo>
                    <a:pt x="916" y="1299"/>
                  </a:lnTo>
                  <a:lnTo>
                    <a:pt x="912" y="1296"/>
                  </a:lnTo>
                  <a:lnTo>
                    <a:pt x="912" y="1298"/>
                  </a:lnTo>
                  <a:lnTo>
                    <a:pt x="910" y="1296"/>
                  </a:lnTo>
                  <a:lnTo>
                    <a:pt x="908" y="1298"/>
                  </a:lnTo>
                  <a:lnTo>
                    <a:pt x="906" y="1297"/>
                  </a:lnTo>
                  <a:lnTo>
                    <a:pt x="902" y="1296"/>
                  </a:lnTo>
                  <a:lnTo>
                    <a:pt x="893" y="1298"/>
                  </a:lnTo>
                  <a:lnTo>
                    <a:pt x="888" y="1298"/>
                  </a:lnTo>
                  <a:lnTo>
                    <a:pt x="887" y="1297"/>
                  </a:lnTo>
                  <a:lnTo>
                    <a:pt x="886" y="1297"/>
                  </a:lnTo>
                  <a:lnTo>
                    <a:pt x="885" y="1296"/>
                  </a:lnTo>
                  <a:lnTo>
                    <a:pt x="884" y="1295"/>
                  </a:lnTo>
                  <a:lnTo>
                    <a:pt x="882" y="1295"/>
                  </a:lnTo>
                  <a:lnTo>
                    <a:pt x="877" y="1296"/>
                  </a:lnTo>
                  <a:lnTo>
                    <a:pt x="870" y="1297"/>
                  </a:lnTo>
                  <a:lnTo>
                    <a:pt x="865" y="1296"/>
                  </a:lnTo>
                  <a:lnTo>
                    <a:pt x="862" y="1294"/>
                  </a:lnTo>
                  <a:lnTo>
                    <a:pt x="860" y="1289"/>
                  </a:lnTo>
                  <a:lnTo>
                    <a:pt x="861" y="1288"/>
                  </a:lnTo>
                  <a:lnTo>
                    <a:pt x="861" y="1287"/>
                  </a:lnTo>
                  <a:lnTo>
                    <a:pt x="862" y="1286"/>
                  </a:lnTo>
                  <a:lnTo>
                    <a:pt x="861" y="1284"/>
                  </a:lnTo>
                  <a:lnTo>
                    <a:pt x="860" y="1284"/>
                  </a:lnTo>
                  <a:lnTo>
                    <a:pt x="858" y="1285"/>
                  </a:lnTo>
                  <a:lnTo>
                    <a:pt x="856" y="1282"/>
                  </a:lnTo>
                  <a:lnTo>
                    <a:pt x="848" y="1281"/>
                  </a:lnTo>
                  <a:lnTo>
                    <a:pt x="848" y="1282"/>
                  </a:lnTo>
                  <a:lnTo>
                    <a:pt x="848" y="1283"/>
                  </a:lnTo>
                  <a:lnTo>
                    <a:pt x="847" y="1283"/>
                  </a:lnTo>
                  <a:lnTo>
                    <a:pt x="846" y="1284"/>
                  </a:lnTo>
                  <a:lnTo>
                    <a:pt x="836" y="1281"/>
                  </a:lnTo>
                  <a:lnTo>
                    <a:pt x="832" y="1282"/>
                  </a:lnTo>
                  <a:lnTo>
                    <a:pt x="829" y="1283"/>
                  </a:lnTo>
                  <a:lnTo>
                    <a:pt x="828" y="1284"/>
                  </a:lnTo>
                  <a:lnTo>
                    <a:pt x="824" y="1283"/>
                  </a:lnTo>
                  <a:lnTo>
                    <a:pt x="809" y="1280"/>
                  </a:lnTo>
                  <a:lnTo>
                    <a:pt x="805" y="1280"/>
                  </a:lnTo>
                  <a:lnTo>
                    <a:pt x="802" y="1281"/>
                  </a:lnTo>
                  <a:lnTo>
                    <a:pt x="798" y="1282"/>
                  </a:lnTo>
                  <a:lnTo>
                    <a:pt x="788" y="1287"/>
                  </a:lnTo>
                  <a:lnTo>
                    <a:pt x="784" y="1288"/>
                  </a:lnTo>
                  <a:lnTo>
                    <a:pt x="771" y="1291"/>
                  </a:lnTo>
                  <a:lnTo>
                    <a:pt x="768" y="1292"/>
                  </a:lnTo>
                  <a:lnTo>
                    <a:pt x="762" y="1291"/>
                  </a:lnTo>
                  <a:lnTo>
                    <a:pt x="748" y="1295"/>
                  </a:lnTo>
                  <a:lnTo>
                    <a:pt x="742" y="1293"/>
                  </a:lnTo>
                  <a:lnTo>
                    <a:pt x="741" y="1292"/>
                  </a:lnTo>
                  <a:lnTo>
                    <a:pt x="737" y="1292"/>
                  </a:lnTo>
                  <a:lnTo>
                    <a:pt x="737" y="1291"/>
                  </a:lnTo>
                  <a:lnTo>
                    <a:pt x="736" y="1289"/>
                  </a:lnTo>
                  <a:lnTo>
                    <a:pt x="737" y="1282"/>
                  </a:lnTo>
                  <a:lnTo>
                    <a:pt x="736" y="1279"/>
                  </a:lnTo>
                  <a:lnTo>
                    <a:pt x="734" y="1270"/>
                  </a:lnTo>
                  <a:lnTo>
                    <a:pt x="732" y="1272"/>
                  </a:lnTo>
                  <a:lnTo>
                    <a:pt x="730" y="1273"/>
                  </a:lnTo>
                  <a:lnTo>
                    <a:pt x="727" y="1275"/>
                  </a:lnTo>
                  <a:lnTo>
                    <a:pt x="724" y="1275"/>
                  </a:lnTo>
                  <a:lnTo>
                    <a:pt x="721" y="1274"/>
                  </a:lnTo>
                  <a:lnTo>
                    <a:pt x="716" y="1271"/>
                  </a:lnTo>
                  <a:lnTo>
                    <a:pt x="711" y="1269"/>
                  </a:lnTo>
                  <a:lnTo>
                    <a:pt x="708" y="1268"/>
                  </a:lnTo>
                  <a:lnTo>
                    <a:pt x="706" y="1266"/>
                  </a:lnTo>
                  <a:lnTo>
                    <a:pt x="705" y="1264"/>
                  </a:lnTo>
                  <a:lnTo>
                    <a:pt x="707" y="1263"/>
                  </a:lnTo>
                  <a:lnTo>
                    <a:pt x="711" y="1263"/>
                  </a:lnTo>
                  <a:lnTo>
                    <a:pt x="717" y="1264"/>
                  </a:lnTo>
                  <a:lnTo>
                    <a:pt x="720" y="1264"/>
                  </a:lnTo>
                  <a:lnTo>
                    <a:pt x="722" y="1264"/>
                  </a:lnTo>
                  <a:lnTo>
                    <a:pt x="723" y="1263"/>
                  </a:lnTo>
                  <a:lnTo>
                    <a:pt x="724" y="1262"/>
                  </a:lnTo>
                  <a:lnTo>
                    <a:pt x="725" y="1260"/>
                  </a:lnTo>
                  <a:lnTo>
                    <a:pt x="726" y="1259"/>
                  </a:lnTo>
                  <a:lnTo>
                    <a:pt x="727" y="1258"/>
                  </a:lnTo>
                  <a:lnTo>
                    <a:pt x="723" y="1249"/>
                  </a:lnTo>
                  <a:lnTo>
                    <a:pt x="720" y="1247"/>
                  </a:lnTo>
                  <a:lnTo>
                    <a:pt x="712" y="1246"/>
                  </a:lnTo>
                  <a:lnTo>
                    <a:pt x="707" y="1248"/>
                  </a:lnTo>
                  <a:lnTo>
                    <a:pt x="709" y="1255"/>
                  </a:lnTo>
                  <a:lnTo>
                    <a:pt x="705" y="1255"/>
                  </a:lnTo>
                  <a:lnTo>
                    <a:pt x="703" y="1256"/>
                  </a:lnTo>
                  <a:lnTo>
                    <a:pt x="703" y="1257"/>
                  </a:lnTo>
                  <a:lnTo>
                    <a:pt x="702" y="1259"/>
                  </a:lnTo>
                  <a:lnTo>
                    <a:pt x="701" y="1260"/>
                  </a:lnTo>
                  <a:lnTo>
                    <a:pt x="700" y="1261"/>
                  </a:lnTo>
                  <a:lnTo>
                    <a:pt x="698" y="1262"/>
                  </a:lnTo>
                  <a:lnTo>
                    <a:pt x="694" y="1262"/>
                  </a:lnTo>
                  <a:lnTo>
                    <a:pt x="685" y="1261"/>
                  </a:lnTo>
                  <a:lnTo>
                    <a:pt x="683" y="1262"/>
                  </a:lnTo>
                  <a:lnTo>
                    <a:pt x="678" y="1261"/>
                  </a:lnTo>
                  <a:lnTo>
                    <a:pt x="665" y="1259"/>
                  </a:lnTo>
                  <a:lnTo>
                    <a:pt x="662" y="1257"/>
                  </a:lnTo>
                  <a:lnTo>
                    <a:pt x="659" y="1251"/>
                  </a:lnTo>
                  <a:lnTo>
                    <a:pt x="659" y="1250"/>
                  </a:lnTo>
                  <a:lnTo>
                    <a:pt x="659" y="1245"/>
                  </a:lnTo>
                  <a:lnTo>
                    <a:pt x="657" y="1238"/>
                  </a:lnTo>
                  <a:lnTo>
                    <a:pt x="657" y="1236"/>
                  </a:lnTo>
                  <a:lnTo>
                    <a:pt x="659" y="1234"/>
                  </a:lnTo>
                  <a:lnTo>
                    <a:pt x="659" y="1233"/>
                  </a:lnTo>
                  <a:lnTo>
                    <a:pt x="656" y="1231"/>
                  </a:lnTo>
                  <a:lnTo>
                    <a:pt x="654" y="1229"/>
                  </a:lnTo>
                  <a:lnTo>
                    <a:pt x="653" y="1229"/>
                  </a:lnTo>
                  <a:lnTo>
                    <a:pt x="651" y="1232"/>
                  </a:lnTo>
                  <a:lnTo>
                    <a:pt x="649" y="1234"/>
                  </a:lnTo>
                  <a:lnTo>
                    <a:pt x="649" y="1237"/>
                  </a:lnTo>
                  <a:lnTo>
                    <a:pt x="649" y="1240"/>
                  </a:lnTo>
                  <a:lnTo>
                    <a:pt x="650" y="1243"/>
                  </a:lnTo>
                  <a:lnTo>
                    <a:pt x="649" y="1245"/>
                  </a:lnTo>
                  <a:lnTo>
                    <a:pt x="649" y="1248"/>
                  </a:lnTo>
                  <a:lnTo>
                    <a:pt x="651" y="1252"/>
                  </a:lnTo>
                  <a:lnTo>
                    <a:pt x="651" y="1255"/>
                  </a:lnTo>
                  <a:lnTo>
                    <a:pt x="651" y="1260"/>
                  </a:lnTo>
                  <a:lnTo>
                    <a:pt x="649" y="1263"/>
                  </a:lnTo>
                  <a:lnTo>
                    <a:pt x="647" y="1265"/>
                  </a:lnTo>
                  <a:lnTo>
                    <a:pt x="644" y="1266"/>
                  </a:lnTo>
                  <a:lnTo>
                    <a:pt x="640" y="1266"/>
                  </a:lnTo>
                  <a:lnTo>
                    <a:pt x="639" y="1265"/>
                  </a:lnTo>
                  <a:lnTo>
                    <a:pt x="637" y="1264"/>
                  </a:lnTo>
                  <a:lnTo>
                    <a:pt x="637" y="1264"/>
                  </a:lnTo>
                  <a:lnTo>
                    <a:pt x="637" y="1263"/>
                  </a:lnTo>
                  <a:lnTo>
                    <a:pt x="637" y="1262"/>
                  </a:lnTo>
                  <a:lnTo>
                    <a:pt x="636" y="1262"/>
                  </a:lnTo>
                  <a:lnTo>
                    <a:pt x="634" y="1262"/>
                  </a:lnTo>
                  <a:lnTo>
                    <a:pt x="634" y="1261"/>
                  </a:lnTo>
                  <a:lnTo>
                    <a:pt x="633" y="1259"/>
                  </a:lnTo>
                  <a:lnTo>
                    <a:pt x="632" y="1256"/>
                  </a:lnTo>
                  <a:lnTo>
                    <a:pt x="632" y="1248"/>
                  </a:lnTo>
                  <a:lnTo>
                    <a:pt x="631" y="1244"/>
                  </a:lnTo>
                  <a:lnTo>
                    <a:pt x="631" y="1246"/>
                  </a:lnTo>
                  <a:lnTo>
                    <a:pt x="628" y="1251"/>
                  </a:lnTo>
                  <a:lnTo>
                    <a:pt x="628" y="1253"/>
                  </a:lnTo>
                  <a:lnTo>
                    <a:pt x="628" y="1256"/>
                  </a:lnTo>
                  <a:lnTo>
                    <a:pt x="625" y="1261"/>
                  </a:lnTo>
                  <a:lnTo>
                    <a:pt x="626" y="1262"/>
                  </a:lnTo>
                  <a:lnTo>
                    <a:pt x="626" y="1262"/>
                  </a:lnTo>
                  <a:lnTo>
                    <a:pt x="626" y="1262"/>
                  </a:lnTo>
                  <a:lnTo>
                    <a:pt x="625" y="1263"/>
                  </a:lnTo>
                  <a:lnTo>
                    <a:pt x="625" y="1264"/>
                  </a:lnTo>
                  <a:lnTo>
                    <a:pt x="627" y="1266"/>
                  </a:lnTo>
                  <a:lnTo>
                    <a:pt x="627" y="1267"/>
                  </a:lnTo>
                  <a:lnTo>
                    <a:pt x="626" y="1269"/>
                  </a:lnTo>
                  <a:lnTo>
                    <a:pt x="624" y="1274"/>
                  </a:lnTo>
                  <a:lnTo>
                    <a:pt x="624" y="1275"/>
                  </a:lnTo>
                  <a:lnTo>
                    <a:pt x="625" y="1275"/>
                  </a:lnTo>
                  <a:lnTo>
                    <a:pt x="625" y="1276"/>
                  </a:lnTo>
                  <a:lnTo>
                    <a:pt x="626" y="1277"/>
                  </a:lnTo>
                  <a:lnTo>
                    <a:pt x="627" y="1278"/>
                  </a:lnTo>
                  <a:lnTo>
                    <a:pt x="625" y="1282"/>
                  </a:lnTo>
                  <a:lnTo>
                    <a:pt x="623" y="1286"/>
                  </a:lnTo>
                  <a:lnTo>
                    <a:pt x="621" y="1290"/>
                  </a:lnTo>
                  <a:lnTo>
                    <a:pt x="622" y="1294"/>
                  </a:lnTo>
                  <a:lnTo>
                    <a:pt x="621" y="1296"/>
                  </a:lnTo>
                  <a:lnTo>
                    <a:pt x="621" y="1297"/>
                  </a:lnTo>
                  <a:lnTo>
                    <a:pt x="622" y="1299"/>
                  </a:lnTo>
                  <a:lnTo>
                    <a:pt x="623" y="1301"/>
                  </a:lnTo>
                  <a:lnTo>
                    <a:pt x="623" y="1301"/>
                  </a:lnTo>
                  <a:lnTo>
                    <a:pt x="622" y="1301"/>
                  </a:lnTo>
                  <a:lnTo>
                    <a:pt x="622" y="1301"/>
                  </a:lnTo>
                  <a:lnTo>
                    <a:pt x="622" y="1302"/>
                  </a:lnTo>
                  <a:lnTo>
                    <a:pt x="621" y="1302"/>
                  </a:lnTo>
                  <a:lnTo>
                    <a:pt x="620" y="1302"/>
                  </a:lnTo>
                  <a:lnTo>
                    <a:pt x="618" y="1303"/>
                  </a:lnTo>
                  <a:lnTo>
                    <a:pt x="618" y="1304"/>
                  </a:lnTo>
                  <a:lnTo>
                    <a:pt x="618" y="1304"/>
                  </a:lnTo>
                  <a:lnTo>
                    <a:pt x="618" y="1304"/>
                  </a:lnTo>
                  <a:lnTo>
                    <a:pt x="619" y="1304"/>
                  </a:lnTo>
                  <a:lnTo>
                    <a:pt x="618" y="1306"/>
                  </a:lnTo>
                  <a:lnTo>
                    <a:pt x="620" y="1307"/>
                  </a:lnTo>
                  <a:lnTo>
                    <a:pt x="621" y="1308"/>
                  </a:lnTo>
                  <a:lnTo>
                    <a:pt x="622" y="1310"/>
                  </a:lnTo>
                  <a:lnTo>
                    <a:pt x="623" y="1311"/>
                  </a:lnTo>
                  <a:lnTo>
                    <a:pt x="624" y="1311"/>
                  </a:lnTo>
                  <a:lnTo>
                    <a:pt x="626" y="1312"/>
                  </a:lnTo>
                  <a:lnTo>
                    <a:pt x="628" y="1312"/>
                  </a:lnTo>
                  <a:lnTo>
                    <a:pt x="628" y="1313"/>
                  </a:lnTo>
                  <a:lnTo>
                    <a:pt x="628" y="1315"/>
                  </a:lnTo>
                  <a:lnTo>
                    <a:pt x="629" y="1316"/>
                  </a:lnTo>
                  <a:lnTo>
                    <a:pt x="632" y="1317"/>
                  </a:lnTo>
                  <a:lnTo>
                    <a:pt x="642" y="1317"/>
                  </a:lnTo>
                  <a:lnTo>
                    <a:pt x="644" y="1319"/>
                  </a:lnTo>
                  <a:lnTo>
                    <a:pt x="649" y="1317"/>
                  </a:lnTo>
                  <a:lnTo>
                    <a:pt x="660" y="1317"/>
                  </a:lnTo>
                  <a:lnTo>
                    <a:pt x="662" y="1315"/>
                  </a:lnTo>
                  <a:lnTo>
                    <a:pt x="663" y="1315"/>
                  </a:lnTo>
                  <a:lnTo>
                    <a:pt x="664" y="1315"/>
                  </a:lnTo>
                  <a:lnTo>
                    <a:pt x="665" y="1315"/>
                  </a:lnTo>
                  <a:lnTo>
                    <a:pt x="667" y="1314"/>
                  </a:lnTo>
                  <a:lnTo>
                    <a:pt x="672" y="1317"/>
                  </a:lnTo>
                  <a:lnTo>
                    <a:pt x="679" y="1318"/>
                  </a:lnTo>
                  <a:lnTo>
                    <a:pt x="692" y="1317"/>
                  </a:lnTo>
                  <a:lnTo>
                    <a:pt x="695" y="1319"/>
                  </a:lnTo>
                  <a:lnTo>
                    <a:pt x="699" y="1324"/>
                  </a:lnTo>
                  <a:lnTo>
                    <a:pt x="702" y="1326"/>
                  </a:lnTo>
                  <a:lnTo>
                    <a:pt x="706" y="1325"/>
                  </a:lnTo>
                  <a:lnTo>
                    <a:pt x="707" y="1325"/>
                  </a:lnTo>
                  <a:lnTo>
                    <a:pt x="708" y="1323"/>
                  </a:lnTo>
                  <a:lnTo>
                    <a:pt x="709" y="1323"/>
                  </a:lnTo>
                  <a:lnTo>
                    <a:pt x="712" y="1324"/>
                  </a:lnTo>
                  <a:lnTo>
                    <a:pt x="723" y="1324"/>
                  </a:lnTo>
                  <a:lnTo>
                    <a:pt x="724" y="1324"/>
                  </a:lnTo>
                  <a:lnTo>
                    <a:pt x="725" y="1323"/>
                  </a:lnTo>
                  <a:lnTo>
                    <a:pt x="726" y="1323"/>
                  </a:lnTo>
                  <a:lnTo>
                    <a:pt x="727" y="1323"/>
                  </a:lnTo>
                  <a:lnTo>
                    <a:pt x="727" y="1323"/>
                  </a:lnTo>
                  <a:lnTo>
                    <a:pt x="727" y="1324"/>
                  </a:lnTo>
                  <a:lnTo>
                    <a:pt x="728" y="1325"/>
                  </a:lnTo>
                  <a:lnTo>
                    <a:pt x="729" y="1326"/>
                  </a:lnTo>
                  <a:lnTo>
                    <a:pt x="741" y="1327"/>
                  </a:lnTo>
                  <a:lnTo>
                    <a:pt x="758" y="1326"/>
                  </a:lnTo>
                  <a:lnTo>
                    <a:pt x="758" y="1327"/>
                  </a:lnTo>
                  <a:lnTo>
                    <a:pt x="758" y="1329"/>
                  </a:lnTo>
                  <a:lnTo>
                    <a:pt x="768" y="1334"/>
                  </a:lnTo>
                  <a:lnTo>
                    <a:pt x="771" y="1332"/>
                  </a:lnTo>
                  <a:lnTo>
                    <a:pt x="774" y="1333"/>
                  </a:lnTo>
                  <a:lnTo>
                    <a:pt x="776" y="1335"/>
                  </a:lnTo>
                  <a:lnTo>
                    <a:pt x="779" y="1336"/>
                  </a:lnTo>
                  <a:lnTo>
                    <a:pt x="782" y="1341"/>
                  </a:lnTo>
                  <a:lnTo>
                    <a:pt x="784" y="1342"/>
                  </a:lnTo>
                  <a:lnTo>
                    <a:pt x="785" y="1341"/>
                  </a:lnTo>
                  <a:lnTo>
                    <a:pt x="786" y="1341"/>
                  </a:lnTo>
                  <a:lnTo>
                    <a:pt x="789" y="1343"/>
                  </a:lnTo>
                  <a:lnTo>
                    <a:pt x="792" y="1344"/>
                  </a:lnTo>
                  <a:lnTo>
                    <a:pt x="806" y="1344"/>
                  </a:lnTo>
                  <a:lnTo>
                    <a:pt x="808" y="1345"/>
                  </a:lnTo>
                  <a:lnTo>
                    <a:pt x="809" y="1345"/>
                  </a:lnTo>
                  <a:lnTo>
                    <a:pt x="810" y="1346"/>
                  </a:lnTo>
                  <a:lnTo>
                    <a:pt x="811" y="1347"/>
                  </a:lnTo>
                  <a:lnTo>
                    <a:pt x="812" y="1348"/>
                  </a:lnTo>
                  <a:lnTo>
                    <a:pt x="813" y="1350"/>
                  </a:lnTo>
                  <a:lnTo>
                    <a:pt x="814" y="1353"/>
                  </a:lnTo>
                  <a:lnTo>
                    <a:pt x="815" y="1355"/>
                  </a:lnTo>
                  <a:lnTo>
                    <a:pt x="815" y="1357"/>
                  </a:lnTo>
                  <a:lnTo>
                    <a:pt x="814" y="1361"/>
                  </a:lnTo>
                  <a:lnTo>
                    <a:pt x="814" y="1363"/>
                  </a:lnTo>
                  <a:lnTo>
                    <a:pt x="814" y="1371"/>
                  </a:lnTo>
                  <a:lnTo>
                    <a:pt x="814" y="1373"/>
                  </a:lnTo>
                  <a:lnTo>
                    <a:pt x="811" y="1375"/>
                  </a:lnTo>
                  <a:lnTo>
                    <a:pt x="811" y="1376"/>
                  </a:lnTo>
                  <a:lnTo>
                    <a:pt x="850" y="1375"/>
                  </a:lnTo>
                  <a:lnTo>
                    <a:pt x="854" y="1375"/>
                  </a:lnTo>
                  <a:lnTo>
                    <a:pt x="856" y="1376"/>
                  </a:lnTo>
                  <a:lnTo>
                    <a:pt x="860" y="1374"/>
                  </a:lnTo>
                  <a:lnTo>
                    <a:pt x="863" y="1374"/>
                  </a:lnTo>
                  <a:lnTo>
                    <a:pt x="865" y="1373"/>
                  </a:lnTo>
                  <a:lnTo>
                    <a:pt x="867" y="1374"/>
                  </a:lnTo>
                  <a:lnTo>
                    <a:pt x="867" y="1374"/>
                  </a:lnTo>
                  <a:lnTo>
                    <a:pt x="868" y="1375"/>
                  </a:lnTo>
                  <a:lnTo>
                    <a:pt x="870" y="1375"/>
                  </a:lnTo>
                  <a:lnTo>
                    <a:pt x="871" y="1374"/>
                  </a:lnTo>
                  <a:lnTo>
                    <a:pt x="873" y="1373"/>
                  </a:lnTo>
                  <a:lnTo>
                    <a:pt x="873" y="1372"/>
                  </a:lnTo>
                  <a:lnTo>
                    <a:pt x="877" y="1371"/>
                  </a:lnTo>
                  <a:lnTo>
                    <a:pt x="886" y="1372"/>
                  </a:lnTo>
                  <a:lnTo>
                    <a:pt x="888" y="1371"/>
                  </a:lnTo>
                  <a:lnTo>
                    <a:pt x="897" y="1368"/>
                  </a:lnTo>
                  <a:lnTo>
                    <a:pt x="900" y="1366"/>
                  </a:lnTo>
                  <a:lnTo>
                    <a:pt x="901" y="1365"/>
                  </a:lnTo>
                  <a:lnTo>
                    <a:pt x="905" y="1365"/>
                  </a:lnTo>
                  <a:lnTo>
                    <a:pt x="908" y="1364"/>
                  </a:lnTo>
                  <a:lnTo>
                    <a:pt x="919" y="1364"/>
                  </a:lnTo>
                  <a:lnTo>
                    <a:pt x="933" y="1365"/>
                  </a:lnTo>
                  <a:lnTo>
                    <a:pt x="936" y="1365"/>
                  </a:lnTo>
                  <a:lnTo>
                    <a:pt x="938" y="1363"/>
                  </a:lnTo>
                  <a:lnTo>
                    <a:pt x="948" y="1360"/>
                  </a:lnTo>
                  <a:lnTo>
                    <a:pt x="981" y="1361"/>
                  </a:lnTo>
                  <a:lnTo>
                    <a:pt x="993" y="1357"/>
                  </a:lnTo>
                  <a:lnTo>
                    <a:pt x="1000" y="1356"/>
                  </a:lnTo>
                  <a:lnTo>
                    <a:pt x="1005" y="1357"/>
                  </a:lnTo>
                  <a:lnTo>
                    <a:pt x="1007" y="1357"/>
                  </a:lnTo>
                  <a:lnTo>
                    <a:pt x="1008" y="1355"/>
                  </a:lnTo>
                  <a:lnTo>
                    <a:pt x="1009" y="1355"/>
                  </a:lnTo>
                  <a:lnTo>
                    <a:pt x="1010" y="1355"/>
                  </a:lnTo>
                  <a:lnTo>
                    <a:pt x="1012" y="1357"/>
                  </a:lnTo>
                  <a:lnTo>
                    <a:pt x="1015" y="1359"/>
                  </a:lnTo>
                  <a:lnTo>
                    <a:pt x="1018" y="1359"/>
                  </a:lnTo>
                  <a:lnTo>
                    <a:pt x="1021" y="1358"/>
                  </a:lnTo>
                  <a:lnTo>
                    <a:pt x="1025" y="1359"/>
                  </a:lnTo>
                  <a:lnTo>
                    <a:pt x="1026" y="1360"/>
                  </a:lnTo>
                  <a:lnTo>
                    <a:pt x="1028" y="1362"/>
                  </a:lnTo>
                  <a:lnTo>
                    <a:pt x="1028" y="1363"/>
                  </a:lnTo>
                  <a:lnTo>
                    <a:pt x="1033" y="1363"/>
                  </a:lnTo>
                  <a:lnTo>
                    <a:pt x="1035" y="1362"/>
                  </a:lnTo>
                  <a:lnTo>
                    <a:pt x="1044" y="1358"/>
                  </a:lnTo>
                  <a:lnTo>
                    <a:pt x="1046" y="1357"/>
                  </a:lnTo>
                  <a:lnTo>
                    <a:pt x="1047" y="1356"/>
                  </a:lnTo>
                  <a:lnTo>
                    <a:pt x="1049" y="1356"/>
                  </a:lnTo>
                  <a:lnTo>
                    <a:pt x="1050" y="1355"/>
                  </a:lnTo>
                  <a:lnTo>
                    <a:pt x="1051" y="1351"/>
                  </a:lnTo>
                  <a:lnTo>
                    <a:pt x="1052" y="1349"/>
                  </a:lnTo>
                  <a:lnTo>
                    <a:pt x="1054" y="1346"/>
                  </a:lnTo>
                  <a:lnTo>
                    <a:pt x="1056" y="1343"/>
                  </a:lnTo>
                  <a:lnTo>
                    <a:pt x="1057" y="1340"/>
                  </a:lnTo>
                  <a:lnTo>
                    <a:pt x="1058" y="1336"/>
                  </a:lnTo>
                  <a:lnTo>
                    <a:pt x="1057" y="1333"/>
                  </a:lnTo>
                  <a:lnTo>
                    <a:pt x="1059" y="1331"/>
                  </a:lnTo>
                  <a:lnTo>
                    <a:pt x="1061" y="1327"/>
                  </a:lnTo>
                  <a:lnTo>
                    <a:pt x="1063" y="1324"/>
                  </a:lnTo>
                  <a:lnTo>
                    <a:pt x="1059" y="1327"/>
                  </a:lnTo>
                  <a:lnTo>
                    <a:pt x="1057" y="1322"/>
                  </a:lnTo>
                  <a:lnTo>
                    <a:pt x="1054" y="1312"/>
                  </a:lnTo>
                  <a:lnTo>
                    <a:pt x="1056" y="1310"/>
                  </a:lnTo>
                  <a:lnTo>
                    <a:pt x="1059" y="1307"/>
                  </a:lnTo>
                  <a:close/>
                  <a:moveTo>
                    <a:pt x="1204" y="1262"/>
                  </a:moveTo>
                  <a:lnTo>
                    <a:pt x="1203" y="1261"/>
                  </a:lnTo>
                  <a:lnTo>
                    <a:pt x="1203" y="1261"/>
                  </a:lnTo>
                  <a:lnTo>
                    <a:pt x="1203" y="1260"/>
                  </a:lnTo>
                  <a:lnTo>
                    <a:pt x="1203" y="1259"/>
                  </a:lnTo>
                  <a:lnTo>
                    <a:pt x="1204" y="1259"/>
                  </a:lnTo>
                  <a:lnTo>
                    <a:pt x="1205" y="1257"/>
                  </a:lnTo>
                  <a:lnTo>
                    <a:pt x="1206" y="1256"/>
                  </a:lnTo>
                  <a:lnTo>
                    <a:pt x="1205" y="1255"/>
                  </a:lnTo>
                  <a:lnTo>
                    <a:pt x="1204" y="1254"/>
                  </a:lnTo>
                  <a:lnTo>
                    <a:pt x="1200" y="1247"/>
                  </a:lnTo>
                  <a:lnTo>
                    <a:pt x="1196" y="1244"/>
                  </a:lnTo>
                  <a:lnTo>
                    <a:pt x="1195" y="1243"/>
                  </a:lnTo>
                  <a:lnTo>
                    <a:pt x="1195" y="1240"/>
                  </a:lnTo>
                  <a:lnTo>
                    <a:pt x="1196" y="1236"/>
                  </a:lnTo>
                  <a:lnTo>
                    <a:pt x="1197" y="1234"/>
                  </a:lnTo>
                  <a:lnTo>
                    <a:pt x="1199" y="1232"/>
                  </a:lnTo>
                  <a:lnTo>
                    <a:pt x="1200" y="1230"/>
                  </a:lnTo>
                  <a:lnTo>
                    <a:pt x="1201" y="1228"/>
                  </a:lnTo>
                  <a:lnTo>
                    <a:pt x="1202" y="1225"/>
                  </a:lnTo>
                  <a:lnTo>
                    <a:pt x="1204" y="1223"/>
                  </a:lnTo>
                  <a:lnTo>
                    <a:pt x="1205" y="1222"/>
                  </a:lnTo>
                  <a:lnTo>
                    <a:pt x="1205" y="1220"/>
                  </a:lnTo>
                  <a:lnTo>
                    <a:pt x="1204" y="1218"/>
                  </a:lnTo>
                  <a:lnTo>
                    <a:pt x="1204" y="1217"/>
                  </a:lnTo>
                  <a:lnTo>
                    <a:pt x="1204" y="1212"/>
                  </a:lnTo>
                  <a:lnTo>
                    <a:pt x="1205" y="1209"/>
                  </a:lnTo>
                  <a:lnTo>
                    <a:pt x="1207" y="1206"/>
                  </a:lnTo>
                  <a:lnTo>
                    <a:pt x="1207" y="1203"/>
                  </a:lnTo>
                  <a:lnTo>
                    <a:pt x="1206" y="1202"/>
                  </a:lnTo>
                  <a:lnTo>
                    <a:pt x="1206" y="1202"/>
                  </a:lnTo>
                  <a:lnTo>
                    <a:pt x="1204" y="1202"/>
                  </a:lnTo>
                  <a:lnTo>
                    <a:pt x="1203" y="1203"/>
                  </a:lnTo>
                  <a:lnTo>
                    <a:pt x="1201" y="1206"/>
                  </a:lnTo>
                  <a:lnTo>
                    <a:pt x="1200" y="1207"/>
                  </a:lnTo>
                  <a:lnTo>
                    <a:pt x="1199" y="1207"/>
                  </a:lnTo>
                  <a:lnTo>
                    <a:pt x="1199" y="1206"/>
                  </a:lnTo>
                  <a:lnTo>
                    <a:pt x="1198" y="1206"/>
                  </a:lnTo>
                  <a:lnTo>
                    <a:pt x="1195" y="1207"/>
                  </a:lnTo>
                  <a:lnTo>
                    <a:pt x="1195" y="1209"/>
                  </a:lnTo>
                  <a:lnTo>
                    <a:pt x="1196" y="1212"/>
                  </a:lnTo>
                  <a:lnTo>
                    <a:pt x="1196" y="1218"/>
                  </a:lnTo>
                  <a:lnTo>
                    <a:pt x="1195" y="1223"/>
                  </a:lnTo>
                  <a:lnTo>
                    <a:pt x="1191" y="1228"/>
                  </a:lnTo>
                  <a:lnTo>
                    <a:pt x="1190" y="1233"/>
                  </a:lnTo>
                  <a:lnTo>
                    <a:pt x="1189" y="1238"/>
                  </a:lnTo>
                  <a:lnTo>
                    <a:pt x="1185" y="1240"/>
                  </a:lnTo>
                  <a:lnTo>
                    <a:pt x="1184" y="1241"/>
                  </a:lnTo>
                  <a:lnTo>
                    <a:pt x="1182" y="1243"/>
                  </a:lnTo>
                  <a:lnTo>
                    <a:pt x="1181" y="1246"/>
                  </a:lnTo>
                  <a:lnTo>
                    <a:pt x="1181" y="1248"/>
                  </a:lnTo>
                  <a:lnTo>
                    <a:pt x="1182" y="1250"/>
                  </a:lnTo>
                  <a:lnTo>
                    <a:pt x="1186" y="1253"/>
                  </a:lnTo>
                  <a:lnTo>
                    <a:pt x="1188" y="1254"/>
                  </a:lnTo>
                  <a:lnTo>
                    <a:pt x="1188" y="1256"/>
                  </a:lnTo>
                  <a:lnTo>
                    <a:pt x="1188" y="1258"/>
                  </a:lnTo>
                  <a:lnTo>
                    <a:pt x="1188" y="1259"/>
                  </a:lnTo>
                  <a:lnTo>
                    <a:pt x="1188" y="1262"/>
                  </a:lnTo>
                  <a:lnTo>
                    <a:pt x="1189" y="1267"/>
                  </a:lnTo>
                  <a:lnTo>
                    <a:pt x="1189" y="1269"/>
                  </a:lnTo>
                  <a:lnTo>
                    <a:pt x="1186" y="1270"/>
                  </a:lnTo>
                  <a:lnTo>
                    <a:pt x="1186" y="1271"/>
                  </a:lnTo>
                  <a:lnTo>
                    <a:pt x="1188" y="1271"/>
                  </a:lnTo>
                  <a:lnTo>
                    <a:pt x="1188" y="1272"/>
                  </a:lnTo>
                  <a:lnTo>
                    <a:pt x="1185" y="1273"/>
                  </a:lnTo>
                  <a:lnTo>
                    <a:pt x="1185" y="1275"/>
                  </a:lnTo>
                  <a:lnTo>
                    <a:pt x="1186" y="1277"/>
                  </a:lnTo>
                  <a:lnTo>
                    <a:pt x="1188" y="1279"/>
                  </a:lnTo>
                  <a:lnTo>
                    <a:pt x="1190" y="1280"/>
                  </a:lnTo>
                  <a:lnTo>
                    <a:pt x="1192" y="1280"/>
                  </a:lnTo>
                  <a:lnTo>
                    <a:pt x="1193" y="1281"/>
                  </a:lnTo>
                  <a:lnTo>
                    <a:pt x="1192" y="1284"/>
                  </a:lnTo>
                  <a:lnTo>
                    <a:pt x="1194" y="1283"/>
                  </a:lnTo>
                  <a:lnTo>
                    <a:pt x="1196" y="1282"/>
                  </a:lnTo>
                  <a:lnTo>
                    <a:pt x="1197" y="1281"/>
                  </a:lnTo>
                  <a:lnTo>
                    <a:pt x="1198" y="1279"/>
                  </a:lnTo>
                  <a:lnTo>
                    <a:pt x="1196" y="1279"/>
                  </a:lnTo>
                  <a:lnTo>
                    <a:pt x="1196" y="1279"/>
                  </a:lnTo>
                  <a:lnTo>
                    <a:pt x="1196" y="1280"/>
                  </a:lnTo>
                  <a:lnTo>
                    <a:pt x="1195" y="1281"/>
                  </a:lnTo>
                  <a:lnTo>
                    <a:pt x="1196" y="1276"/>
                  </a:lnTo>
                  <a:lnTo>
                    <a:pt x="1199" y="1272"/>
                  </a:lnTo>
                  <a:lnTo>
                    <a:pt x="1203" y="1270"/>
                  </a:lnTo>
                  <a:lnTo>
                    <a:pt x="1207" y="1271"/>
                  </a:lnTo>
                  <a:lnTo>
                    <a:pt x="1208" y="1267"/>
                  </a:lnTo>
                  <a:lnTo>
                    <a:pt x="1207" y="1265"/>
                  </a:lnTo>
                  <a:lnTo>
                    <a:pt x="1204" y="1262"/>
                  </a:lnTo>
                  <a:close/>
                  <a:moveTo>
                    <a:pt x="585" y="1192"/>
                  </a:moveTo>
                  <a:lnTo>
                    <a:pt x="582" y="1191"/>
                  </a:lnTo>
                  <a:lnTo>
                    <a:pt x="580" y="1189"/>
                  </a:lnTo>
                  <a:lnTo>
                    <a:pt x="580" y="1188"/>
                  </a:lnTo>
                  <a:lnTo>
                    <a:pt x="580" y="1187"/>
                  </a:lnTo>
                  <a:lnTo>
                    <a:pt x="579" y="1187"/>
                  </a:lnTo>
                  <a:lnTo>
                    <a:pt x="579" y="1187"/>
                  </a:lnTo>
                  <a:lnTo>
                    <a:pt x="580" y="1191"/>
                  </a:lnTo>
                  <a:lnTo>
                    <a:pt x="581" y="1194"/>
                  </a:lnTo>
                  <a:lnTo>
                    <a:pt x="582" y="1196"/>
                  </a:lnTo>
                  <a:lnTo>
                    <a:pt x="586" y="1200"/>
                  </a:lnTo>
                  <a:lnTo>
                    <a:pt x="587" y="1202"/>
                  </a:lnTo>
                  <a:lnTo>
                    <a:pt x="588" y="1202"/>
                  </a:lnTo>
                  <a:lnTo>
                    <a:pt x="588" y="1195"/>
                  </a:lnTo>
                  <a:lnTo>
                    <a:pt x="585" y="1192"/>
                  </a:lnTo>
                  <a:close/>
                  <a:moveTo>
                    <a:pt x="1260" y="1121"/>
                  </a:moveTo>
                  <a:lnTo>
                    <a:pt x="1258" y="1121"/>
                  </a:lnTo>
                  <a:lnTo>
                    <a:pt x="1255" y="1121"/>
                  </a:lnTo>
                  <a:lnTo>
                    <a:pt x="1254" y="1121"/>
                  </a:lnTo>
                  <a:lnTo>
                    <a:pt x="1253" y="1123"/>
                  </a:lnTo>
                  <a:lnTo>
                    <a:pt x="1253" y="1126"/>
                  </a:lnTo>
                  <a:lnTo>
                    <a:pt x="1255" y="1127"/>
                  </a:lnTo>
                  <a:lnTo>
                    <a:pt x="1258" y="1126"/>
                  </a:lnTo>
                  <a:lnTo>
                    <a:pt x="1261" y="1126"/>
                  </a:lnTo>
                  <a:lnTo>
                    <a:pt x="1263" y="1127"/>
                  </a:lnTo>
                  <a:lnTo>
                    <a:pt x="1266" y="1126"/>
                  </a:lnTo>
                  <a:lnTo>
                    <a:pt x="1267" y="1126"/>
                  </a:lnTo>
                  <a:lnTo>
                    <a:pt x="1268" y="1126"/>
                  </a:lnTo>
                  <a:lnTo>
                    <a:pt x="1269" y="1124"/>
                  </a:lnTo>
                  <a:lnTo>
                    <a:pt x="1269" y="1122"/>
                  </a:lnTo>
                  <a:lnTo>
                    <a:pt x="1268" y="1121"/>
                  </a:lnTo>
                  <a:lnTo>
                    <a:pt x="1260" y="1121"/>
                  </a:lnTo>
                  <a:close/>
                  <a:moveTo>
                    <a:pt x="548" y="1116"/>
                  </a:moveTo>
                  <a:lnTo>
                    <a:pt x="537" y="1108"/>
                  </a:lnTo>
                  <a:lnTo>
                    <a:pt x="535" y="1105"/>
                  </a:lnTo>
                  <a:lnTo>
                    <a:pt x="529" y="1093"/>
                  </a:lnTo>
                  <a:lnTo>
                    <a:pt x="527" y="1092"/>
                  </a:lnTo>
                  <a:lnTo>
                    <a:pt x="525" y="1094"/>
                  </a:lnTo>
                  <a:lnTo>
                    <a:pt x="520" y="1102"/>
                  </a:lnTo>
                  <a:lnTo>
                    <a:pt x="520" y="1104"/>
                  </a:lnTo>
                  <a:lnTo>
                    <a:pt x="520" y="1106"/>
                  </a:lnTo>
                  <a:lnTo>
                    <a:pt x="521" y="1108"/>
                  </a:lnTo>
                  <a:lnTo>
                    <a:pt x="522" y="1113"/>
                  </a:lnTo>
                  <a:lnTo>
                    <a:pt x="522" y="1117"/>
                  </a:lnTo>
                  <a:lnTo>
                    <a:pt x="521" y="1128"/>
                  </a:lnTo>
                  <a:lnTo>
                    <a:pt x="522" y="1129"/>
                  </a:lnTo>
                  <a:lnTo>
                    <a:pt x="523" y="1132"/>
                  </a:lnTo>
                  <a:lnTo>
                    <a:pt x="524" y="1134"/>
                  </a:lnTo>
                  <a:lnTo>
                    <a:pt x="525" y="1134"/>
                  </a:lnTo>
                  <a:lnTo>
                    <a:pt x="527" y="1134"/>
                  </a:lnTo>
                  <a:lnTo>
                    <a:pt x="527" y="1134"/>
                  </a:lnTo>
                  <a:lnTo>
                    <a:pt x="527" y="1135"/>
                  </a:lnTo>
                  <a:lnTo>
                    <a:pt x="527" y="1135"/>
                  </a:lnTo>
                  <a:lnTo>
                    <a:pt x="527" y="1136"/>
                  </a:lnTo>
                  <a:lnTo>
                    <a:pt x="532" y="1138"/>
                  </a:lnTo>
                  <a:lnTo>
                    <a:pt x="533" y="1139"/>
                  </a:lnTo>
                  <a:lnTo>
                    <a:pt x="534" y="1142"/>
                  </a:lnTo>
                  <a:lnTo>
                    <a:pt x="536" y="1140"/>
                  </a:lnTo>
                  <a:lnTo>
                    <a:pt x="538" y="1140"/>
                  </a:lnTo>
                  <a:lnTo>
                    <a:pt x="541" y="1140"/>
                  </a:lnTo>
                  <a:lnTo>
                    <a:pt x="543" y="1140"/>
                  </a:lnTo>
                  <a:lnTo>
                    <a:pt x="544" y="1140"/>
                  </a:lnTo>
                  <a:lnTo>
                    <a:pt x="544" y="1129"/>
                  </a:lnTo>
                  <a:lnTo>
                    <a:pt x="545" y="1126"/>
                  </a:lnTo>
                  <a:lnTo>
                    <a:pt x="546" y="1124"/>
                  </a:lnTo>
                  <a:lnTo>
                    <a:pt x="549" y="1123"/>
                  </a:lnTo>
                  <a:lnTo>
                    <a:pt x="551" y="1123"/>
                  </a:lnTo>
                  <a:lnTo>
                    <a:pt x="552" y="1122"/>
                  </a:lnTo>
                  <a:lnTo>
                    <a:pt x="551" y="1119"/>
                  </a:lnTo>
                  <a:lnTo>
                    <a:pt x="548" y="1116"/>
                  </a:lnTo>
                  <a:close/>
                  <a:moveTo>
                    <a:pt x="975" y="1090"/>
                  </a:moveTo>
                  <a:lnTo>
                    <a:pt x="973" y="1091"/>
                  </a:lnTo>
                  <a:lnTo>
                    <a:pt x="972" y="1092"/>
                  </a:lnTo>
                  <a:lnTo>
                    <a:pt x="970" y="1093"/>
                  </a:lnTo>
                  <a:lnTo>
                    <a:pt x="969" y="1094"/>
                  </a:lnTo>
                  <a:lnTo>
                    <a:pt x="969" y="1096"/>
                  </a:lnTo>
                  <a:lnTo>
                    <a:pt x="970" y="1097"/>
                  </a:lnTo>
                  <a:lnTo>
                    <a:pt x="971" y="1098"/>
                  </a:lnTo>
                  <a:lnTo>
                    <a:pt x="971" y="1098"/>
                  </a:lnTo>
                  <a:lnTo>
                    <a:pt x="972" y="1098"/>
                  </a:lnTo>
                  <a:lnTo>
                    <a:pt x="976" y="1099"/>
                  </a:lnTo>
                  <a:lnTo>
                    <a:pt x="978" y="1099"/>
                  </a:lnTo>
                  <a:lnTo>
                    <a:pt x="980" y="1098"/>
                  </a:lnTo>
                  <a:lnTo>
                    <a:pt x="983" y="1097"/>
                  </a:lnTo>
                  <a:lnTo>
                    <a:pt x="985" y="1098"/>
                  </a:lnTo>
                  <a:lnTo>
                    <a:pt x="986" y="1100"/>
                  </a:lnTo>
                  <a:lnTo>
                    <a:pt x="987" y="1100"/>
                  </a:lnTo>
                  <a:lnTo>
                    <a:pt x="989" y="1097"/>
                  </a:lnTo>
                  <a:lnTo>
                    <a:pt x="986" y="1097"/>
                  </a:lnTo>
                  <a:lnTo>
                    <a:pt x="981" y="1092"/>
                  </a:lnTo>
                  <a:lnTo>
                    <a:pt x="975" y="1090"/>
                  </a:lnTo>
                  <a:close/>
                  <a:moveTo>
                    <a:pt x="1367" y="1082"/>
                  </a:moveTo>
                  <a:lnTo>
                    <a:pt x="1366" y="1080"/>
                  </a:lnTo>
                  <a:lnTo>
                    <a:pt x="1364" y="1079"/>
                  </a:lnTo>
                  <a:lnTo>
                    <a:pt x="1363" y="1079"/>
                  </a:lnTo>
                  <a:lnTo>
                    <a:pt x="1358" y="1085"/>
                  </a:lnTo>
                  <a:lnTo>
                    <a:pt x="1348" y="1085"/>
                  </a:lnTo>
                  <a:lnTo>
                    <a:pt x="1343" y="1087"/>
                  </a:lnTo>
                  <a:lnTo>
                    <a:pt x="1340" y="1089"/>
                  </a:lnTo>
                  <a:lnTo>
                    <a:pt x="1323" y="1099"/>
                  </a:lnTo>
                  <a:lnTo>
                    <a:pt x="1313" y="1102"/>
                  </a:lnTo>
                  <a:lnTo>
                    <a:pt x="1312" y="1103"/>
                  </a:lnTo>
                  <a:lnTo>
                    <a:pt x="1311" y="1106"/>
                  </a:lnTo>
                  <a:lnTo>
                    <a:pt x="1305" y="1111"/>
                  </a:lnTo>
                  <a:lnTo>
                    <a:pt x="1304" y="1113"/>
                  </a:lnTo>
                  <a:lnTo>
                    <a:pt x="1303" y="1113"/>
                  </a:lnTo>
                  <a:lnTo>
                    <a:pt x="1298" y="1115"/>
                  </a:lnTo>
                  <a:lnTo>
                    <a:pt x="1298" y="1116"/>
                  </a:lnTo>
                  <a:lnTo>
                    <a:pt x="1296" y="1119"/>
                  </a:lnTo>
                  <a:lnTo>
                    <a:pt x="1295" y="1121"/>
                  </a:lnTo>
                  <a:lnTo>
                    <a:pt x="1294" y="1123"/>
                  </a:lnTo>
                  <a:lnTo>
                    <a:pt x="1294" y="1125"/>
                  </a:lnTo>
                  <a:lnTo>
                    <a:pt x="1294" y="1126"/>
                  </a:lnTo>
                  <a:lnTo>
                    <a:pt x="1294" y="1127"/>
                  </a:lnTo>
                  <a:lnTo>
                    <a:pt x="1292" y="1128"/>
                  </a:lnTo>
                  <a:lnTo>
                    <a:pt x="1293" y="1130"/>
                  </a:lnTo>
                  <a:lnTo>
                    <a:pt x="1292" y="1131"/>
                  </a:lnTo>
                  <a:lnTo>
                    <a:pt x="1288" y="1132"/>
                  </a:lnTo>
                  <a:lnTo>
                    <a:pt x="1282" y="1136"/>
                  </a:lnTo>
                  <a:lnTo>
                    <a:pt x="1279" y="1138"/>
                  </a:lnTo>
                  <a:lnTo>
                    <a:pt x="1280" y="1139"/>
                  </a:lnTo>
                  <a:lnTo>
                    <a:pt x="1281" y="1139"/>
                  </a:lnTo>
                  <a:lnTo>
                    <a:pt x="1282" y="1139"/>
                  </a:lnTo>
                  <a:lnTo>
                    <a:pt x="1284" y="1140"/>
                  </a:lnTo>
                  <a:lnTo>
                    <a:pt x="1284" y="1141"/>
                  </a:lnTo>
                  <a:lnTo>
                    <a:pt x="1283" y="1143"/>
                  </a:lnTo>
                  <a:lnTo>
                    <a:pt x="1283" y="1144"/>
                  </a:lnTo>
                  <a:lnTo>
                    <a:pt x="1287" y="1148"/>
                  </a:lnTo>
                  <a:lnTo>
                    <a:pt x="1289" y="1150"/>
                  </a:lnTo>
                  <a:lnTo>
                    <a:pt x="1291" y="1152"/>
                  </a:lnTo>
                  <a:lnTo>
                    <a:pt x="1291" y="1156"/>
                  </a:lnTo>
                  <a:lnTo>
                    <a:pt x="1290" y="1161"/>
                  </a:lnTo>
                  <a:lnTo>
                    <a:pt x="1285" y="1175"/>
                  </a:lnTo>
                  <a:lnTo>
                    <a:pt x="1284" y="1178"/>
                  </a:lnTo>
                  <a:lnTo>
                    <a:pt x="1286" y="1184"/>
                  </a:lnTo>
                  <a:lnTo>
                    <a:pt x="1287" y="1185"/>
                  </a:lnTo>
                  <a:lnTo>
                    <a:pt x="1288" y="1185"/>
                  </a:lnTo>
                  <a:lnTo>
                    <a:pt x="1294" y="1190"/>
                  </a:lnTo>
                  <a:lnTo>
                    <a:pt x="1302" y="1185"/>
                  </a:lnTo>
                  <a:lnTo>
                    <a:pt x="1308" y="1180"/>
                  </a:lnTo>
                  <a:lnTo>
                    <a:pt x="1312" y="1174"/>
                  </a:lnTo>
                  <a:lnTo>
                    <a:pt x="1318" y="1164"/>
                  </a:lnTo>
                  <a:lnTo>
                    <a:pt x="1321" y="1161"/>
                  </a:lnTo>
                  <a:lnTo>
                    <a:pt x="1328" y="1156"/>
                  </a:lnTo>
                  <a:lnTo>
                    <a:pt x="1332" y="1155"/>
                  </a:lnTo>
                  <a:lnTo>
                    <a:pt x="1335" y="1155"/>
                  </a:lnTo>
                  <a:lnTo>
                    <a:pt x="1343" y="1158"/>
                  </a:lnTo>
                  <a:lnTo>
                    <a:pt x="1342" y="1155"/>
                  </a:lnTo>
                  <a:lnTo>
                    <a:pt x="1341" y="1154"/>
                  </a:lnTo>
                  <a:lnTo>
                    <a:pt x="1342" y="1152"/>
                  </a:lnTo>
                  <a:lnTo>
                    <a:pt x="1343" y="1151"/>
                  </a:lnTo>
                  <a:lnTo>
                    <a:pt x="1344" y="1150"/>
                  </a:lnTo>
                  <a:lnTo>
                    <a:pt x="1344" y="1148"/>
                  </a:lnTo>
                  <a:lnTo>
                    <a:pt x="1343" y="1148"/>
                  </a:lnTo>
                  <a:lnTo>
                    <a:pt x="1342" y="1147"/>
                  </a:lnTo>
                  <a:lnTo>
                    <a:pt x="1340" y="1147"/>
                  </a:lnTo>
                  <a:lnTo>
                    <a:pt x="1339" y="1146"/>
                  </a:lnTo>
                  <a:lnTo>
                    <a:pt x="1343" y="1136"/>
                  </a:lnTo>
                  <a:lnTo>
                    <a:pt x="1344" y="1135"/>
                  </a:lnTo>
                  <a:lnTo>
                    <a:pt x="1345" y="1134"/>
                  </a:lnTo>
                  <a:lnTo>
                    <a:pt x="1345" y="1133"/>
                  </a:lnTo>
                  <a:lnTo>
                    <a:pt x="1346" y="1132"/>
                  </a:lnTo>
                  <a:lnTo>
                    <a:pt x="1347" y="1132"/>
                  </a:lnTo>
                  <a:lnTo>
                    <a:pt x="1349" y="1132"/>
                  </a:lnTo>
                  <a:lnTo>
                    <a:pt x="1350" y="1132"/>
                  </a:lnTo>
                  <a:lnTo>
                    <a:pt x="1351" y="1130"/>
                  </a:lnTo>
                  <a:lnTo>
                    <a:pt x="1353" y="1124"/>
                  </a:lnTo>
                  <a:lnTo>
                    <a:pt x="1354" y="1123"/>
                  </a:lnTo>
                  <a:lnTo>
                    <a:pt x="1355" y="1122"/>
                  </a:lnTo>
                  <a:lnTo>
                    <a:pt x="1356" y="1120"/>
                  </a:lnTo>
                  <a:lnTo>
                    <a:pt x="1356" y="1114"/>
                  </a:lnTo>
                  <a:lnTo>
                    <a:pt x="1357" y="1112"/>
                  </a:lnTo>
                  <a:lnTo>
                    <a:pt x="1361" y="1107"/>
                  </a:lnTo>
                  <a:lnTo>
                    <a:pt x="1362" y="1105"/>
                  </a:lnTo>
                  <a:lnTo>
                    <a:pt x="1363" y="1098"/>
                  </a:lnTo>
                  <a:lnTo>
                    <a:pt x="1363" y="1097"/>
                  </a:lnTo>
                  <a:lnTo>
                    <a:pt x="1367" y="1096"/>
                  </a:lnTo>
                  <a:lnTo>
                    <a:pt x="1365" y="1087"/>
                  </a:lnTo>
                  <a:lnTo>
                    <a:pt x="1367" y="1084"/>
                  </a:lnTo>
                  <a:lnTo>
                    <a:pt x="1367" y="1082"/>
                  </a:lnTo>
                  <a:close/>
                  <a:moveTo>
                    <a:pt x="919" y="1096"/>
                  </a:moveTo>
                  <a:lnTo>
                    <a:pt x="918" y="1097"/>
                  </a:lnTo>
                  <a:lnTo>
                    <a:pt x="916" y="1098"/>
                  </a:lnTo>
                  <a:lnTo>
                    <a:pt x="912" y="1098"/>
                  </a:lnTo>
                  <a:lnTo>
                    <a:pt x="910" y="1099"/>
                  </a:lnTo>
                  <a:lnTo>
                    <a:pt x="913" y="1100"/>
                  </a:lnTo>
                  <a:lnTo>
                    <a:pt x="921" y="1102"/>
                  </a:lnTo>
                  <a:lnTo>
                    <a:pt x="924" y="1103"/>
                  </a:lnTo>
                  <a:lnTo>
                    <a:pt x="927" y="1101"/>
                  </a:lnTo>
                  <a:lnTo>
                    <a:pt x="929" y="1098"/>
                  </a:lnTo>
                  <a:lnTo>
                    <a:pt x="931" y="1095"/>
                  </a:lnTo>
                  <a:lnTo>
                    <a:pt x="931" y="1091"/>
                  </a:lnTo>
                  <a:lnTo>
                    <a:pt x="929" y="1085"/>
                  </a:lnTo>
                  <a:lnTo>
                    <a:pt x="925" y="1080"/>
                  </a:lnTo>
                  <a:lnTo>
                    <a:pt x="919" y="1076"/>
                  </a:lnTo>
                  <a:lnTo>
                    <a:pt x="913" y="1074"/>
                  </a:lnTo>
                  <a:lnTo>
                    <a:pt x="913" y="1075"/>
                  </a:lnTo>
                  <a:lnTo>
                    <a:pt x="912" y="1075"/>
                  </a:lnTo>
                  <a:lnTo>
                    <a:pt x="912" y="1076"/>
                  </a:lnTo>
                  <a:lnTo>
                    <a:pt x="912" y="1077"/>
                  </a:lnTo>
                  <a:lnTo>
                    <a:pt x="917" y="1079"/>
                  </a:lnTo>
                  <a:lnTo>
                    <a:pt x="920" y="1080"/>
                  </a:lnTo>
                  <a:lnTo>
                    <a:pt x="919" y="1082"/>
                  </a:lnTo>
                  <a:lnTo>
                    <a:pt x="919" y="1084"/>
                  </a:lnTo>
                  <a:lnTo>
                    <a:pt x="920" y="1085"/>
                  </a:lnTo>
                  <a:lnTo>
                    <a:pt x="921" y="1087"/>
                  </a:lnTo>
                  <a:lnTo>
                    <a:pt x="922" y="1092"/>
                  </a:lnTo>
                  <a:lnTo>
                    <a:pt x="921" y="1093"/>
                  </a:lnTo>
                  <a:lnTo>
                    <a:pt x="919" y="1096"/>
                  </a:lnTo>
                  <a:close/>
                  <a:moveTo>
                    <a:pt x="1240" y="1087"/>
                  </a:moveTo>
                  <a:lnTo>
                    <a:pt x="1240" y="1087"/>
                  </a:lnTo>
                  <a:lnTo>
                    <a:pt x="1237" y="1088"/>
                  </a:lnTo>
                  <a:lnTo>
                    <a:pt x="1234" y="1088"/>
                  </a:lnTo>
                  <a:lnTo>
                    <a:pt x="1232" y="1086"/>
                  </a:lnTo>
                  <a:lnTo>
                    <a:pt x="1233" y="1082"/>
                  </a:lnTo>
                  <a:lnTo>
                    <a:pt x="1231" y="1082"/>
                  </a:lnTo>
                  <a:lnTo>
                    <a:pt x="1229" y="1076"/>
                  </a:lnTo>
                  <a:lnTo>
                    <a:pt x="1227" y="1074"/>
                  </a:lnTo>
                  <a:lnTo>
                    <a:pt x="1225" y="1076"/>
                  </a:lnTo>
                  <a:lnTo>
                    <a:pt x="1222" y="1078"/>
                  </a:lnTo>
                  <a:lnTo>
                    <a:pt x="1220" y="1079"/>
                  </a:lnTo>
                  <a:lnTo>
                    <a:pt x="1218" y="1076"/>
                  </a:lnTo>
                  <a:lnTo>
                    <a:pt x="1218" y="1077"/>
                  </a:lnTo>
                  <a:lnTo>
                    <a:pt x="1217" y="1079"/>
                  </a:lnTo>
                  <a:lnTo>
                    <a:pt x="1217" y="1083"/>
                  </a:lnTo>
                  <a:lnTo>
                    <a:pt x="1218" y="1085"/>
                  </a:lnTo>
                  <a:lnTo>
                    <a:pt x="1220" y="1086"/>
                  </a:lnTo>
                  <a:lnTo>
                    <a:pt x="1220" y="1088"/>
                  </a:lnTo>
                  <a:lnTo>
                    <a:pt x="1221" y="1088"/>
                  </a:lnTo>
                  <a:lnTo>
                    <a:pt x="1223" y="1086"/>
                  </a:lnTo>
                  <a:lnTo>
                    <a:pt x="1224" y="1085"/>
                  </a:lnTo>
                  <a:lnTo>
                    <a:pt x="1226" y="1084"/>
                  </a:lnTo>
                  <a:lnTo>
                    <a:pt x="1228" y="1085"/>
                  </a:lnTo>
                  <a:lnTo>
                    <a:pt x="1227" y="1088"/>
                  </a:lnTo>
                  <a:lnTo>
                    <a:pt x="1228" y="1091"/>
                  </a:lnTo>
                  <a:lnTo>
                    <a:pt x="1230" y="1094"/>
                  </a:lnTo>
                  <a:lnTo>
                    <a:pt x="1232" y="1093"/>
                  </a:lnTo>
                  <a:lnTo>
                    <a:pt x="1234" y="1094"/>
                  </a:lnTo>
                  <a:lnTo>
                    <a:pt x="1235" y="1093"/>
                  </a:lnTo>
                  <a:lnTo>
                    <a:pt x="1236" y="1094"/>
                  </a:lnTo>
                  <a:lnTo>
                    <a:pt x="1238" y="1093"/>
                  </a:lnTo>
                  <a:lnTo>
                    <a:pt x="1240" y="1091"/>
                  </a:lnTo>
                  <a:lnTo>
                    <a:pt x="1241" y="1089"/>
                  </a:lnTo>
                  <a:lnTo>
                    <a:pt x="1241" y="1088"/>
                  </a:lnTo>
                  <a:lnTo>
                    <a:pt x="1240" y="1087"/>
                  </a:lnTo>
                  <a:close/>
                  <a:moveTo>
                    <a:pt x="1197" y="1048"/>
                  </a:moveTo>
                  <a:lnTo>
                    <a:pt x="1192" y="1051"/>
                  </a:lnTo>
                  <a:lnTo>
                    <a:pt x="1191" y="1055"/>
                  </a:lnTo>
                  <a:lnTo>
                    <a:pt x="1191" y="1057"/>
                  </a:lnTo>
                  <a:lnTo>
                    <a:pt x="1193" y="1058"/>
                  </a:lnTo>
                  <a:lnTo>
                    <a:pt x="1196" y="1059"/>
                  </a:lnTo>
                  <a:lnTo>
                    <a:pt x="1198" y="1059"/>
                  </a:lnTo>
                  <a:lnTo>
                    <a:pt x="1202" y="1057"/>
                  </a:lnTo>
                  <a:lnTo>
                    <a:pt x="1203" y="1053"/>
                  </a:lnTo>
                  <a:lnTo>
                    <a:pt x="1201" y="1049"/>
                  </a:lnTo>
                  <a:lnTo>
                    <a:pt x="1200" y="1048"/>
                  </a:lnTo>
                  <a:lnTo>
                    <a:pt x="1197" y="1048"/>
                  </a:lnTo>
                  <a:close/>
                  <a:moveTo>
                    <a:pt x="1080" y="1047"/>
                  </a:moveTo>
                  <a:lnTo>
                    <a:pt x="1074" y="1044"/>
                  </a:lnTo>
                  <a:lnTo>
                    <a:pt x="1069" y="1043"/>
                  </a:lnTo>
                  <a:lnTo>
                    <a:pt x="1069" y="1045"/>
                  </a:lnTo>
                  <a:lnTo>
                    <a:pt x="1070" y="1046"/>
                  </a:lnTo>
                  <a:lnTo>
                    <a:pt x="1072" y="1047"/>
                  </a:lnTo>
                  <a:lnTo>
                    <a:pt x="1074" y="1047"/>
                  </a:lnTo>
                  <a:lnTo>
                    <a:pt x="1074" y="1048"/>
                  </a:lnTo>
                  <a:lnTo>
                    <a:pt x="1073" y="1050"/>
                  </a:lnTo>
                  <a:lnTo>
                    <a:pt x="1074" y="1052"/>
                  </a:lnTo>
                  <a:lnTo>
                    <a:pt x="1076" y="1053"/>
                  </a:lnTo>
                  <a:lnTo>
                    <a:pt x="1074" y="1054"/>
                  </a:lnTo>
                  <a:lnTo>
                    <a:pt x="1073" y="1053"/>
                  </a:lnTo>
                  <a:lnTo>
                    <a:pt x="1072" y="1053"/>
                  </a:lnTo>
                  <a:lnTo>
                    <a:pt x="1070" y="1053"/>
                  </a:lnTo>
                  <a:lnTo>
                    <a:pt x="1069" y="1053"/>
                  </a:lnTo>
                  <a:lnTo>
                    <a:pt x="1067" y="1056"/>
                  </a:lnTo>
                  <a:lnTo>
                    <a:pt x="1066" y="1057"/>
                  </a:lnTo>
                  <a:lnTo>
                    <a:pt x="1064" y="1056"/>
                  </a:lnTo>
                  <a:lnTo>
                    <a:pt x="1061" y="1053"/>
                  </a:lnTo>
                  <a:lnTo>
                    <a:pt x="1059" y="1052"/>
                  </a:lnTo>
                  <a:lnTo>
                    <a:pt x="1056" y="1053"/>
                  </a:lnTo>
                  <a:lnTo>
                    <a:pt x="1054" y="1052"/>
                  </a:lnTo>
                  <a:lnTo>
                    <a:pt x="1053" y="1053"/>
                  </a:lnTo>
                  <a:lnTo>
                    <a:pt x="1054" y="1056"/>
                  </a:lnTo>
                  <a:lnTo>
                    <a:pt x="1055" y="1058"/>
                  </a:lnTo>
                  <a:lnTo>
                    <a:pt x="1054" y="1059"/>
                  </a:lnTo>
                  <a:lnTo>
                    <a:pt x="1054" y="1060"/>
                  </a:lnTo>
                  <a:lnTo>
                    <a:pt x="1054" y="1061"/>
                  </a:lnTo>
                  <a:lnTo>
                    <a:pt x="1056" y="1063"/>
                  </a:lnTo>
                  <a:lnTo>
                    <a:pt x="1059" y="1068"/>
                  </a:lnTo>
                  <a:lnTo>
                    <a:pt x="1062" y="1069"/>
                  </a:lnTo>
                  <a:lnTo>
                    <a:pt x="1066" y="1069"/>
                  </a:lnTo>
                  <a:lnTo>
                    <a:pt x="1067" y="1067"/>
                  </a:lnTo>
                  <a:lnTo>
                    <a:pt x="1067" y="1065"/>
                  </a:lnTo>
                  <a:lnTo>
                    <a:pt x="1067" y="1062"/>
                  </a:lnTo>
                  <a:lnTo>
                    <a:pt x="1069" y="1058"/>
                  </a:lnTo>
                  <a:lnTo>
                    <a:pt x="1071" y="1056"/>
                  </a:lnTo>
                  <a:lnTo>
                    <a:pt x="1073" y="1056"/>
                  </a:lnTo>
                  <a:lnTo>
                    <a:pt x="1078" y="1056"/>
                  </a:lnTo>
                  <a:lnTo>
                    <a:pt x="1080" y="1055"/>
                  </a:lnTo>
                  <a:lnTo>
                    <a:pt x="1082" y="1053"/>
                  </a:lnTo>
                  <a:lnTo>
                    <a:pt x="1083" y="1055"/>
                  </a:lnTo>
                  <a:lnTo>
                    <a:pt x="1084" y="1055"/>
                  </a:lnTo>
                  <a:lnTo>
                    <a:pt x="1085" y="1055"/>
                  </a:lnTo>
                  <a:lnTo>
                    <a:pt x="1086" y="1054"/>
                  </a:lnTo>
                  <a:lnTo>
                    <a:pt x="1085" y="1052"/>
                  </a:lnTo>
                  <a:lnTo>
                    <a:pt x="1080" y="1047"/>
                  </a:lnTo>
                  <a:close/>
                  <a:moveTo>
                    <a:pt x="1296" y="1057"/>
                  </a:moveTo>
                  <a:lnTo>
                    <a:pt x="1298" y="1059"/>
                  </a:lnTo>
                  <a:lnTo>
                    <a:pt x="1305" y="1061"/>
                  </a:lnTo>
                  <a:lnTo>
                    <a:pt x="1304" y="1062"/>
                  </a:lnTo>
                  <a:lnTo>
                    <a:pt x="1303" y="1063"/>
                  </a:lnTo>
                  <a:lnTo>
                    <a:pt x="1302" y="1064"/>
                  </a:lnTo>
                  <a:lnTo>
                    <a:pt x="1302" y="1065"/>
                  </a:lnTo>
                  <a:lnTo>
                    <a:pt x="1304" y="1065"/>
                  </a:lnTo>
                  <a:lnTo>
                    <a:pt x="1306" y="1064"/>
                  </a:lnTo>
                  <a:lnTo>
                    <a:pt x="1309" y="1062"/>
                  </a:lnTo>
                  <a:lnTo>
                    <a:pt x="1309" y="1061"/>
                  </a:lnTo>
                  <a:lnTo>
                    <a:pt x="1309" y="1061"/>
                  </a:lnTo>
                  <a:lnTo>
                    <a:pt x="1308" y="1060"/>
                  </a:lnTo>
                  <a:lnTo>
                    <a:pt x="1308" y="1060"/>
                  </a:lnTo>
                  <a:lnTo>
                    <a:pt x="1308" y="1059"/>
                  </a:lnTo>
                  <a:lnTo>
                    <a:pt x="1309" y="1058"/>
                  </a:lnTo>
                  <a:lnTo>
                    <a:pt x="1309" y="1057"/>
                  </a:lnTo>
                  <a:lnTo>
                    <a:pt x="1308" y="1055"/>
                  </a:lnTo>
                  <a:lnTo>
                    <a:pt x="1308" y="1053"/>
                  </a:lnTo>
                  <a:lnTo>
                    <a:pt x="1309" y="1051"/>
                  </a:lnTo>
                  <a:lnTo>
                    <a:pt x="1309" y="1050"/>
                  </a:lnTo>
                  <a:lnTo>
                    <a:pt x="1308" y="1049"/>
                  </a:lnTo>
                  <a:lnTo>
                    <a:pt x="1308" y="1050"/>
                  </a:lnTo>
                  <a:lnTo>
                    <a:pt x="1308" y="1050"/>
                  </a:lnTo>
                  <a:lnTo>
                    <a:pt x="1308" y="1049"/>
                  </a:lnTo>
                  <a:lnTo>
                    <a:pt x="1309" y="1048"/>
                  </a:lnTo>
                  <a:lnTo>
                    <a:pt x="1309" y="1047"/>
                  </a:lnTo>
                  <a:lnTo>
                    <a:pt x="1309" y="1047"/>
                  </a:lnTo>
                  <a:lnTo>
                    <a:pt x="1309" y="1047"/>
                  </a:lnTo>
                  <a:lnTo>
                    <a:pt x="1309" y="1047"/>
                  </a:lnTo>
                  <a:lnTo>
                    <a:pt x="1308" y="1046"/>
                  </a:lnTo>
                  <a:lnTo>
                    <a:pt x="1303" y="1050"/>
                  </a:lnTo>
                  <a:lnTo>
                    <a:pt x="1302" y="1048"/>
                  </a:lnTo>
                  <a:lnTo>
                    <a:pt x="1301" y="1048"/>
                  </a:lnTo>
                  <a:lnTo>
                    <a:pt x="1300" y="1049"/>
                  </a:lnTo>
                  <a:lnTo>
                    <a:pt x="1301" y="1046"/>
                  </a:lnTo>
                  <a:lnTo>
                    <a:pt x="1303" y="1045"/>
                  </a:lnTo>
                  <a:lnTo>
                    <a:pt x="1308" y="1043"/>
                  </a:lnTo>
                  <a:lnTo>
                    <a:pt x="1307" y="1042"/>
                  </a:lnTo>
                  <a:lnTo>
                    <a:pt x="1304" y="1042"/>
                  </a:lnTo>
                  <a:lnTo>
                    <a:pt x="1300" y="1044"/>
                  </a:lnTo>
                  <a:lnTo>
                    <a:pt x="1298" y="1047"/>
                  </a:lnTo>
                  <a:lnTo>
                    <a:pt x="1298" y="1046"/>
                  </a:lnTo>
                  <a:lnTo>
                    <a:pt x="1297" y="1047"/>
                  </a:lnTo>
                  <a:lnTo>
                    <a:pt x="1296" y="1047"/>
                  </a:lnTo>
                  <a:lnTo>
                    <a:pt x="1295" y="1047"/>
                  </a:lnTo>
                  <a:lnTo>
                    <a:pt x="1295" y="1050"/>
                  </a:lnTo>
                  <a:lnTo>
                    <a:pt x="1294" y="1052"/>
                  </a:lnTo>
                  <a:lnTo>
                    <a:pt x="1292" y="1054"/>
                  </a:lnTo>
                  <a:lnTo>
                    <a:pt x="1291" y="1056"/>
                  </a:lnTo>
                  <a:lnTo>
                    <a:pt x="1298" y="1056"/>
                  </a:lnTo>
                  <a:lnTo>
                    <a:pt x="1296" y="1057"/>
                  </a:lnTo>
                  <a:close/>
                  <a:moveTo>
                    <a:pt x="832" y="1038"/>
                  </a:moveTo>
                  <a:lnTo>
                    <a:pt x="831" y="1038"/>
                  </a:lnTo>
                  <a:lnTo>
                    <a:pt x="828" y="1038"/>
                  </a:lnTo>
                  <a:lnTo>
                    <a:pt x="829" y="1042"/>
                  </a:lnTo>
                  <a:lnTo>
                    <a:pt x="831" y="1043"/>
                  </a:lnTo>
                  <a:lnTo>
                    <a:pt x="834" y="1044"/>
                  </a:lnTo>
                  <a:lnTo>
                    <a:pt x="836" y="1046"/>
                  </a:lnTo>
                  <a:lnTo>
                    <a:pt x="841" y="1050"/>
                  </a:lnTo>
                  <a:lnTo>
                    <a:pt x="843" y="1051"/>
                  </a:lnTo>
                  <a:lnTo>
                    <a:pt x="847" y="1052"/>
                  </a:lnTo>
                  <a:lnTo>
                    <a:pt x="847" y="1050"/>
                  </a:lnTo>
                  <a:lnTo>
                    <a:pt x="845" y="1046"/>
                  </a:lnTo>
                  <a:lnTo>
                    <a:pt x="832" y="1038"/>
                  </a:lnTo>
                  <a:close/>
                  <a:moveTo>
                    <a:pt x="883" y="1027"/>
                  </a:moveTo>
                  <a:lnTo>
                    <a:pt x="876" y="1027"/>
                  </a:lnTo>
                  <a:lnTo>
                    <a:pt x="875" y="1028"/>
                  </a:lnTo>
                  <a:lnTo>
                    <a:pt x="871" y="1031"/>
                  </a:lnTo>
                  <a:lnTo>
                    <a:pt x="869" y="1031"/>
                  </a:lnTo>
                  <a:lnTo>
                    <a:pt x="864" y="1043"/>
                  </a:lnTo>
                  <a:lnTo>
                    <a:pt x="868" y="1043"/>
                  </a:lnTo>
                  <a:lnTo>
                    <a:pt x="873" y="1039"/>
                  </a:lnTo>
                  <a:lnTo>
                    <a:pt x="882" y="1030"/>
                  </a:lnTo>
                  <a:lnTo>
                    <a:pt x="882" y="1029"/>
                  </a:lnTo>
                  <a:lnTo>
                    <a:pt x="882" y="1028"/>
                  </a:lnTo>
                  <a:lnTo>
                    <a:pt x="883" y="1027"/>
                  </a:lnTo>
                  <a:close/>
                  <a:moveTo>
                    <a:pt x="339" y="1020"/>
                  </a:moveTo>
                  <a:lnTo>
                    <a:pt x="339" y="1021"/>
                  </a:lnTo>
                  <a:lnTo>
                    <a:pt x="338" y="1023"/>
                  </a:lnTo>
                  <a:lnTo>
                    <a:pt x="337" y="1029"/>
                  </a:lnTo>
                  <a:lnTo>
                    <a:pt x="339" y="1027"/>
                  </a:lnTo>
                  <a:lnTo>
                    <a:pt x="340" y="1029"/>
                  </a:lnTo>
                  <a:lnTo>
                    <a:pt x="340" y="1029"/>
                  </a:lnTo>
                  <a:lnTo>
                    <a:pt x="341" y="1030"/>
                  </a:lnTo>
                  <a:lnTo>
                    <a:pt x="341" y="1031"/>
                  </a:lnTo>
                  <a:lnTo>
                    <a:pt x="341" y="1027"/>
                  </a:lnTo>
                  <a:lnTo>
                    <a:pt x="342" y="1024"/>
                  </a:lnTo>
                  <a:lnTo>
                    <a:pt x="342" y="1022"/>
                  </a:lnTo>
                  <a:lnTo>
                    <a:pt x="339" y="1020"/>
                  </a:lnTo>
                  <a:close/>
                  <a:moveTo>
                    <a:pt x="779" y="1018"/>
                  </a:moveTo>
                  <a:lnTo>
                    <a:pt x="776" y="1018"/>
                  </a:lnTo>
                  <a:lnTo>
                    <a:pt x="770" y="1022"/>
                  </a:lnTo>
                  <a:lnTo>
                    <a:pt x="766" y="1021"/>
                  </a:lnTo>
                  <a:lnTo>
                    <a:pt x="763" y="1018"/>
                  </a:lnTo>
                  <a:lnTo>
                    <a:pt x="761" y="1017"/>
                  </a:lnTo>
                  <a:lnTo>
                    <a:pt x="759" y="1019"/>
                  </a:lnTo>
                  <a:lnTo>
                    <a:pt x="759" y="1020"/>
                  </a:lnTo>
                  <a:lnTo>
                    <a:pt x="761" y="1022"/>
                  </a:lnTo>
                  <a:lnTo>
                    <a:pt x="762" y="1024"/>
                  </a:lnTo>
                  <a:lnTo>
                    <a:pt x="764" y="1026"/>
                  </a:lnTo>
                  <a:lnTo>
                    <a:pt x="766" y="1024"/>
                  </a:lnTo>
                  <a:lnTo>
                    <a:pt x="767" y="1026"/>
                  </a:lnTo>
                  <a:lnTo>
                    <a:pt x="769" y="1028"/>
                  </a:lnTo>
                  <a:lnTo>
                    <a:pt x="769" y="1030"/>
                  </a:lnTo>
                  <a:lnTo>
                    <a:pt x="767" y="1031"/>
                  </a:lnTo>
                  <a:lnTo>
                    <a:pt x="762" y="1031"/>
                  </a:lnTo>
                  <a:lnTo>
                    <a:pt x="759" y="1030"/>
                  </a:lnTo>
                  <a:lnTo>
                    <a:pt x="757" y="1024"/>
                  </a:lnTo>
                  <a:lnTo>
                    <a:pt x="755" y="1024"/>
                  </a:lnTo>
                  <a:lnTo>
                    <a:pt x="753" y="1024"/>
                  </a:lnTo>
                  <a:lnTo>
                    <a:pt x="752" y="1023"/>
                  </a:lnTo>
                  <a:lnTo>
                    <a:pt x="751" y="1022"/>
                  </a:lnTo>
                  <a:lnTo>
                    <a:pt x="751" y="1020"/>
                  </a:lnTo>
                  <a:lnTo>
                    <a:pt x="749" y="1022"/>
                  </a:lnTo>
                  <a:lnTo>
                    <a:pt x="748" y="1026"/>
                  </a:lnTo>
                  <a:lnTo>
                    <a:pt x="746" y="1027"/>
                  </a:lnTo>
                  <a:lnTo>
                    <a:pt x="747" y="1028"/>
                  </a:lnTo>
                  <a:lnTo>
                    <a:pt x="748" y="1029"/>
                  </a:lnTo>
                  <a:lnTo>
                    <a:pt x="747" y="1029"/>
                  </a:lnTo>
                  <a:lnTo>
                    <a:pt x="747" y="1031"/>
                  </a:lnTo>
                  <a:lnTo>
                    <a:pt x="746" y="1031"/>
                  </a:lnTo>
                  <a:lnTo>
                    <a:pt x="747" y="1034"/>
                  </a:lnTo>
                  <a:lnTo>
                    <a:pt x="746" y="1038"/>
                  </a:lnTo>
                  <a:lnTo>
                    <a:pt x="746" y="1041"/>
                  </a:lnTo>
                  <a:lnTo>
                    <a:pt x="752" y="1038"/>
                  </a:lnTo>
                  <a:lnTo>
                    <a:pt x="771" y="1038"/>
                  </a:lnTo>
                  <a:lnTo>
                    <a:pt x="776" y="1036"/>
                  </a:lnTo>
                  <a:lnTo>
                    <a:pt x="780" y="1035"/>
                  </a:lnTo>
                  <a:lnTo>
                    <a:pt x="781" y="1033"/>
                  </a:lnTo>
                  <a:lnTo>
                    <a:pt x="780" y="1023"/>
                  </a:lnTo>
                  <a:lnTo>
                    <a:pt x="781" y="1020"/>
                  </a:lnTo>
                  <a:lnTo>
                    <a:pt x="779" y="1018"/>
                  </a:lnTo>
                  <a:close/>
                  <a:moveTo>
                    <a:pt x="796" y="1022"/>
                  </a:moveTo>
                  <a:lnTo>
                    <a:pt x="799" y="1021"/>
                  </a:lnTo>
                  <a:lnTo>
                    <a:pt x="800" y="1018"/>
                  </a:lnTo>
                  <a:lnTo>
                    <a:pt x="800" y="1016"/>
                  </a:lnTo>
                  <a:lnTo>
                    <a:pt x="798" y="1015"/>
                  </a:lnTo>
                  <a:lnTo>
                    <a:pt x="796" y="1013"/>
                  </a:lnTo>
                  <a:lnTo>
                    <a:pt x="796" y="1013"/>
                  </a:lnTo>
                  <a:lnTo>
                    <a:pt x="795" y="1013"/>
                  </a:lnTo>
                  <a:lnTo>
                    <a:pt x="793" y="1012"/>
                  </a:lnTo>
                  <a:lnTo>
                    <a:pt x="791" y="1015"/>
                  </a:lnTo>
                  <a:lnTo>
                    <a:pt x="794" y="1020"/>
                  </a:lnTo>
                  <a:lnTo>
                    <a:pt x="796" y="1022"/>
                  </a:lnTo>
                  <a:close/>
                  <a:moveTo>
                    <a:pt x="897" y="1027"/>
                  </a:moveTo>
                  <a:lnTo>
                    <a:pt x="897" y="1027"/>
                  </a:lnTo>
                  <a:lnTo>
                    <a:pt x="896" y="1027"/>
                  </a:lnTo>
                  <a:lnTo>
                    <a:pt x="907" y="1038"/>
                  </a:lnTo>
                  <a:lnTo>
                    <a:pt x="912" y="1040"/>
                  </a:lnTo>
                  <a:lnTo>
                    <a:pt x="916" y="1035"/>
                  </a:lnTo>
                  <a:lnTo>
                    <a:pt x="916" y="1034"/>
                  </a:lnTo>
                  <a:lnTo>
                    <a:pt x="915" y="1032"/>
                  </a:lnTo>
                  <a:lnTo>
                    <a:pt x="915" y="1030"/>
                  </a:lnTo>
                  <a:lnTo>
                    <a:pt x="916" y="1029"/>
                  </a:lnTo>
                  <a:lnTo>
                    <a:pt x="918" y="1029"/>
                  </a:lnTo>
                  <a:lnTo>
                    <a:pt x="916" y="1026"/>
                  </a:lnTo>
                  <a:lnTo>
                    <a:pt x="914" y="1024"/>
                  </a:lnTo>
                  <a:lnTo>
                    <a:pt x="911" y="1023"/>
                  </a:lnTo>
                  <a:lnTo>
                    <a:pt x="908" y="1022"/>
                  </a:lnTo>
                  <a:lnTo>
                    <a:pt x="906" y="1020"/>
                  </a:lnTo>
                  <a:lnTo>
                    <a:pt x="904" y="1015"/>
                  </a:lnTo>
                  <a:lnTo>
                    <a:pt x="902" y="1012"/>
                  </a:lnTo>
                  <a:lnTo>
                    <a:pt x="895" y="1018"/>
                  </a:lnTo>
                  <a:lnTo>
                    <a:pt x="895" y="1019"/>
                  </a:lnTo>
                  <a:lnTo>
                    <a:pt x="895" y="1021"/>
                  </a:lnTo>
                  <a:lnTo>
                    <a:pt x="894" y="1024"/>
                  </a:lnTo>
                  <a:lnTo>
                    <a:pt x="893" y="1026"/>
                  </a:lnTo>
                  <a:lnTo>
                    <a:pt x="896" y="1026"/>
                  </a:lnTo>
                  <a:lnTo>
                    <a:pt x="897" y="1026"/>
                  </a:lnTo>
                  <a:lnTo>
                    <a:pt x="897" y="1027"/>
                  </a:lnTo>
                  <a:lnTo>
                    <a:pt x="897" y="1027"/>
                  </a:lnTo>
                  <a:close/>
                  <a:moveTo>
                    <a:pt x="332" y="1012"/>
                  </a:moveTo>
                  <a:lnTo>
                    <a:pt x="331" y="1012"/>
                  </a:lnTo>
                  <a:lnTo>
                    <a:pt x="331" y="1011"/>
                  </a:lnTo>
                  <a:lnTo>
                    <a:pt x="329" y="1013"/>
                  </a:lnTo>
                  <a:lnTo>
                    <a:pt x="329" y="1016"/>
                  </a:lnTo>
                  <a:lnTo>
                    <a:pt x="328" y="1023"/>
                  </a:lnTo>
                  <a:lnTo>
                    <a:pt x="330" y="1021"/>
                  </a:lnTo>
                  <a:lnTo>
                    <a:pt x="331" y="1019"/>
                  </a:lnTo>
                  <a:lnTo>
                    <a:pt x="332" y="1017"/>
                  </a:lnTo>
                  <a:lnTo>
                    <a:pt x="332" y="1015"/>
                  </a:lnTo>
                  <a:lnTo>
                    <a:pt x="332" y="1015"/>
                  </a:lnTo>
                  <a:lnTo>
                    <a:pt x="333" y="1014"/>
                  </a:lnTo>
                  <a:lnTo>
                    <a:pt x="334" y="1013"/>
                  </a:lnTo>
                  <a:lnTo>
                    <a:pt x="334" y="1012"/>
                  </a:lnTo>
                  <a:lnTo>
                    <a:pt x="333" y="1013"/>
                  </a:lnTo>
                  <a:lnTo>
                    <a:pt x="332" y="1012"/>
                  </a:lnTo>
                  <a:close/>
                  <a:moveTo>
                    <a:pt x="676" y="1003"/>
                  </a:moveTo>
                  <a:lnTo>
                    <a:pt x="675" y="1003"/>
                  </a:lnTo>
                  <a:lnTo>
                    <a:pt x="675" y="1004"/>
                  </a:lnTo>
                  <a:lnTo>
                    <a:pt x="676" y="1005"/>
                  </a:lnTo>
                  <a:lnTo>
                    <a:pt x="677" y="1005"/>
                  </a:lnTo>
                  <a:lnTo>
                    <a:pt x="676" y="1004"/>
                  </a:lnTo>
                  <a:lnTo>
                    <a:pt x="676" y="1003"/>
                  </a:lnTo>
                  <a:close/>
                  <a:moveTo>
                    <a:pt x="785" y="1015"/>
                  </a:moveTo>
                  <a:lnTo>
                    <a:pt x="790" y="1007"/>
                  </a:lnTo>
                  <a:lnTo>
                    <a:pt x="791" y="1006"/>
                  </a:lnTo>
                  <a:lnTo>
                    <a:pt x="791" y="1004"/>
                  </a:lnTo>
                  <a:lnTo>
                    <a:pt x="790" y="1004"/>
                  </a:lnTo>
                  <a:lnTo>
                    <a:pt x="790" y="1004"/>
                  </a:lnTo>
                  <a:lnTo>
                    <a:pt x="790" y="1003"/>
                  </a:lnTo>
                  <a:lnTo>
                    <a:pt x="790" y="1003"/>
                  </a:lnTo>
                  <a:lnTo>
                    <a:pt x="788" y="1004"/>
                  </a:lnTo>
                  <a:lnTo>
                    <a:pt x="787" y="1004"/>
                  </a:lnTo>
                  <a:lnTo>
                    <a:pt x="786" y="1004"/>
                  </a:lnTo>
                  <a:lnTo>
                    <a:pt x="785" y="1003"/>
                  </a:lnTo>
                  <a:lnTo>
                    <a:pt x="783" y="1002"/>
                  </a:lnTo>
                  <a:lnTo>
                    <a:pt x="781" y="1003"/>
                  </a:lnTo>
                  <a:lnTo>
                    <a:pt x="779" y="1004"/>
                  </a:lnTo>
                  <a:lnTo>
                    <a:pt x="778" y="1006"/>
                  </a:lnTo>
                  <a:lnTo>
                    <a:pt x="777" y="1008"/>
                  </a:lnTo>
                  <a:lnTo>
                    <a:pt x="777" y="1009"/>
                  </a:lnTo>
                  <a:lnTo>
                    <a:pt x="778" y="1011"/>
                  </a:lnTo>
                  <a:lnTo>
                    <a:pt x="779" y="1013"/>
                  </a:lnTo>
                  <a:lnTo>
                    <a:pt x="780" y="1014"/>
                  </a:lnTo>
                  <a:lnTo>
                    <a:pt x="782" y="1015"/>
                  </a:lnTo>
                  <a:lnTo>
                    <a:pt x="785" y="1015"/>
                  </a:lnTo>
                  <a:close/>
                  <a:moveTo>
                    <a:pt x="928" y="998"/>
                  </a:moveTo>
                  <a:lnTo>
                    <a:pt x="924" y="1000"/>
                  </a:lnTo>
                  <a:lnTo>
                    <a:pt x="921" y="1003"/>
                  </a:lnTo>
                  <a:lnTo>
                    <a:pt x="920" y="1005"/>
                  </a:lnTo>
                  <a:lnTo>
                    <a:pt x="922" y="1007"/>
                  </a:lnTo>
                  <a:lnTo>
                    <a:pt x="926" y="1007"/>
                  </a:lnTo>
                  <a:lnTo>
                    <a:pt x="929" y="1004"/>
                  </a:lnTo>
                  <a:lnTo>
                    <a:pt x="929" y="999"/>
                  </a:lnTo>
                  <a:lnTo>
                    <a:pt x="928" y="999"/>
                  </a:lnTo>
                  <a:lnTo>
                    <a:pt x="928" y="999"/>
                  </a:lnTo>
                  <a:lnTo>
                    <a:pt x="929" y="998"/>
                  </a:lnTo>
                  <a:lnTo>
                    <a:pt x="928" y="998"/>
                  </a:lnTo>
                  <a:close/>
                  <a:moveTo>
                    <a:pt x="1188" y="1020"/>
                  </a:moveTo>
                  <a:lnTo>
                    <a:pt x="1191" y="1019"/>
                  </a:lnTo>
                  <a:lnTo>
                    <a:pt x="1201" y="1009"/>
                  </a:lnTo>
                  <a:lnTo>
                    <a:pt x="1204" y="1007"/>
                  </a:lnTo>
                  <a:lnTo>
                    <a:pt x="1222" y="1002"/>
                  </a:lnTo>
                  <a:lnTo>
                    <a:pt x="1227" y="999"/>
                  </a:lnTo>
                  <a:lnTo>
                    <a:pt x="1225" y="995"/>
                  </a:lnTo>
                  <a:lnTo>
                    <a:pt x="1217" y="993"/>
                  </a:lnTo>
                  <a:lnTo>
                    <a:pt x="1215" y="990"/>
                  </a:lnTo>
                  <a:lnTo>
                    <a:pt x="1213" y="991"/>
                  </a:lnTo>
                  <a:lnTo>
                    <a:pt x="1196" y="994"/>
                  </a:lnTo>
                  <a:lnTo>
                    <a:pt x="1180" y="1003"/>
                  </a:lnTo>
                  <a:lnTo>
                    <a:pt x="1179" y="1005"/>
                  </a:lnTo>
                  <a:lnTo>
                    <a:pt x="1174" y="1010"/>
                  </a:lnTo>
                  <a:lnTo>
                    <a:pt x="1171" y="1014"/>
                  </a:lnTo>
                  <a:lnTo>
                    <a:pt x="1170" y="1016"/>
                  </a:lnTo>
                  <a:lnTo>
                    <a:pt x="1168" y="1018"/>
                  </a:lnTo>
                  <a:lnTo>
                    <a:pt x="1165" y="1016"/>
                  </a:lnTo>
                  <a:lnTo>
                    <a:pt x="1164" y="1015"/>
                  </a:lnTo>
                  <a:lnTo>
                    <a:pt x="1163" y="1016"/>
                  </a:lnTo>
                  <a:lnTo>
                    <a:pt x="1161" y="1018"/>
                  </a:lnTo>
                  <a:lnTo>
                    <a:pt x="1161" y="1019"/>
                  </a:lnTo>
                  <a:lnTo>
                    <a:pt x="1159" y="1018"/>
                  </a:lnTo>
                  <a:lnTo>
                    <a:pt x="1158" y="1021"/>
                  </a:lnTo>
                  <a:lnTo>
                    <a:pt x="1157" y="1028"/>
                  </a:lnTo>
                  <a:lnTo>
                    <a:pt x="1158" y="1030"/>
                  </a:lnTo>
                  <a:lnTo>
                    <a:pt x="1161" y="1033"/>
                  </a:lnTo>
                  <a:lnTo>
                    <a:pt x="1163" y="1035"/>
                  </a:lnTo>
                  <a:lnTo>
                    <a:pt x="1166" y="1035"/>
                  </a:lnTo>
                  <a:lnTo>
                    <a:pt x="1165" y="1033"/>
                  </a:lnTo>
                  <a:lnTo>
                    <a:pt x="1165" y="1030"/>
                  </a:lnTo>
                  <a:lnTo>
                    <a:pt x="1166" y="1028"/>
                  </a:lnTo>
                  <a:lnTo>
                    <a:pt x="1168" y="1027"/>
                  </a:lnTo>
                  <a:lnTo>
                    <a:pt x="1167" y="1023"/>
                  </a:lnTo>
                  <a:lnTo>
                    <a:pt x="1169" y="1021"/>
                  </a:lnTo>
                  <a:lnTo>
                    <a:pt x="1178" y="1016"/>
                  </a:lnTo>
                  <a:lnTo>
                    <a:pt x="1180" y="1018"/>
                  </a:lnTo>
                  <a:lnTo>
                    <a:pt x="1184" y="1019"/>
                  </a:lnTo>
                  <a:lnTo>
                    <a:pt x="1188" y="1020"/>
                  </a:lnTo>
                  <a:close/>
                  <a:moveTo>
                    <a:pt x="957" y="996"/>
                  </a:moveTo>
                  <a:lnTo>
                    <a:pt x="960" y="996"/>
                  </a:lnTo>
                  <a:lnTo>
                    <a:pt x="961" y="994"/>
                  </a:lnTo>
                  <a:lnTo>
                    <a:pt x="958" y="990"/>
                  </a:lnTo>
                  <a:lnTo>
                    <a:pt x="956" y="989"/>
                  </a:lnTo>
                  <a:lnTo>
                    <a:pt x="954" y="991"/>
                  </a:lnTo>
                  <a:lnTo>
                    <a:pt x="952" y="992"/>
                  </a:lnTo>
                  <a:lnTo>
                    <a:pt x="951" y="993"/>
                  </a:lnTo>
                  <a:lnTo>
                    <a:pt x="950" y="995"/>
                  </a:lnTo>
                  <a:lnTo>
                    <a:pt x="953" y="995"/>
                  </a:lnTo>
                  <a:lnTo>
                    <a:pt x="957" y="996"/>
                  </a:lnTo>
                  <a:close/>
                  <a:moveTo>
                    <a:pt x="609" y="987"/>
                  </a:moveTo>
                  <a:lnTo>
                    <a:pt x="608" y="986"/>
                  </a:lnTo>
                  <a:lnTo>
                    <a:pt x="607" y="986"/>
                  </a:lnTo>
                  <a:lnTo>
                    <a:pt x="607" y="987"/>
                  </a:lnTo>
                  <a:lnTo>
                    <a:pt x="607" y="989"/>
                  </a:lnTo>
                  <a:lnTo>
                    <a:pt x="608" y="989"/>
                  </a:lnTo>
                  <a:lnTo>
                    <a:pt x="608" y="989"/>
                  </a:lnTo>
                  <a:lnTo>
                    <a:pt x="608" y="990"/>
                  </a:lnTo>
                  <a:lnTo>
                    <a:pt x="609" y="991"/>
                  </a:lnTo>
                  <a:lnTo>
                    <a:pt x="609" y="990"/>
                  </a:lnTo>
                  <a:lnTo>
                    <a:pt x="609" y="988"/>
                  </a:lnTo>
                  <a:lnTo>
                    <a:pt x="609" y="987"/>
                  </a:lnTo>
                  <a:close/>
                  <a:moveTo>
                    <a:pt x="995" y="1011"/>
                  </a:moveTo>
                  <a:lnTo>
                    <a:pt x="999" y="1003"/>
                  </a:lnTo>
                  <a:lnTo>
                    <a:pt x="1001" y="1002"/>
                  </a:lnTo>
                  <a:lnTo>
                    <a:pt x="1004" y="1001"/>
                  </a:lnTo>
                  <a:lnTo>
                    <a:pt x="1010" y="996"/>
                  </a:lnTo>
                  <a:lnTo>
                    <a:pt x="1013" y="994"/>
                  </a:lnTo>
                  <a:lnTo>
                    <a:pt x="1014" y="994"/>
                  </a:lnTo>
                  <a:lnTo>
                    <a:pt x="1017" y="993"/>
                  </a:lnTo>
                  <a:lnTo>
                    <a:pt x="1020" y="992"/>
                  </a:lnTo>
                  <a:lnTo>
                    <a:pt x="1022" y="994"/>
                  </a:lnTo>
                  <a:lnTo>
                    <a:pt x="1023" y="993"/>
                  </a:lnTo>
                  <a:lnTo>
                    <a:pt x="1023" y="993"/>
                  </a:lnTo>
                  <a:lnTo>
                    <a:pt x="1024" y="993"/>
                  </a:lnTo>
                  <a:lnTo>
                    <a:pt x="1024" y="992"/>
                  </a:lnTo>
                  <a:lnTo>
                    <a:pt x="1020" y="991"/>
                  </a:lnTo>
                  <a:lnTo>
                    <a:pt x="1017" y="989"/>
                  </a:lnTo>
                  <a:lnTo>
                    <a:pt x="1015" y="987"/>
                  </a:lnTo>
                  <a:lnTo>
                    <a:pt x="1013" y="984"/>
                  </a:lnTo>
                  <a:lnTo>
                    <a:pt x="1011" y="984"/>
                  </a:lnTo>
                  <a:lnTo>
                    <a:pt x="1010" y="986"/>
                  </a:lnTo>
                  <a:lnTo>
                    <a:pt x="1008" y="987"/>
                  </a:lnTo>
                  <a:lnTo>
                    <a:pt x="1004" y="988"/>
                  </a:lnTo>
                  <a:lnTo>
                    <a:pt x="1004" y="989"/>
                  </a:lnTo>
                  <a:lnTo>
                    <a:pt x="1005" y="989"/>
                  </a:lnTo>
                  <a:lnTo>
                    <a:pt x="1006" y="990"/>
                  </a:lnTo>
                  <a:lnTo>
                    <a:pt x="1006" y="990"/>
                  </a:lnTo>
                  <a:lnTo>
                    <a:pt x="1007" y="991"/>
                  </a:lnTo>
                  <a:lnTo>
                    <a:pt x="1007" y="992"/>
                  </a:lnTo>
                  <a:lnTo>
                    <a:pt x="989" y="1001"/>
                  </a:lnTo>
                  <a:lnTo>
                    <a:pt x="987" y="1002"/>
                  </a:lnTo>
                  <a:lnTo>
                    <a:pt x="987" y="1003"/>
                  </a:lnTo>
                  <a:lnTo>
                    <a:pt x="987" y="1004"/>
                  </a:lnTo>
                  <a:lnTo>
                    <a:pt x="988" y="1005"/>
                  </a:lnTo>
                  <a:lnTo>
                    <a:pt x="990" y="1004"/>
                  </a:lnTo>
                  <a:lnTo>
                    <a:pt x="988" y="1009"/>
                  </a:lnTo>
                  <a:lnTo>
                    <a:pt x="987" y="1010"/>
                  </a:lnTo>
                  <a:lnTo>
                    <a:pt x="984" y="1010"/>
                  </a:lnTo>
                  <a:lnTo>
                    <a:pt x="982" y="1010"/>
                  </a:lnTo>
                  <a:lnTo>
                    <a:pt x="981" y="1011"/>
                  </a:lnTo>
                  <a:lnTo>
                    <a:pt x="980" y="1011"/>
                  </a:lnTo>
                  <a:lnTo>
                    <a:pt x="978" y="1009"/>
                  </a:lnTo>
                  <a:lnTo>
                    <a:pt x="976" y="1010"/>
                  </a:lnTo>
                  <a:lnTo>
                    <a:pt x="974" y="1012"/>
                  </a:lnTo>
                  <a:lnTo>
                    <a:pt x="972" y="1013"/>
                  </a:lnTo>
                  <a:lnTo>
                    <a:pt x="970" y="1012"/>
                  </a:lnTo>
                  <a:lnTo>
                    <a:pt x="973" y="1017"/>
                  </a:lnTo>
                  <a:lnTo>
                    <a:pt x="980" y="1017"/>
                  </a:lnTo>
                  <a:lnTo>
                    <a:pt x="993" y="1012"/>
                  </a:lnTo>
                  <a:lnTo>
                    <a:pt x="995" y="1011"/>
                  </a:lnTo>
                  <a:close/>
                  <a:moveTo>
                    <a:pt x="860" y="978"/>
                  </a:moveTo>
                  <a:lnTo>
                    <a:pt x="864" y="981"/>
                  </a:lnTo>
                  <a:lnTo>
                    <a:pt x="866" y="981"/>
                  </a:lnTo>
                  <a:lnTo>
                    <a:pt x="864" y="979"/>
                  </a:lnTo>
                  <a:lnTo>
                    <a:pt x="864" y="978"/>
                  </a:lnTo>
                  <a:lnTo>
                    <a:pt x="863" y="977"/>
                  </a:lnTo>
                  <a:lnTo>
                    <a:pt x="864" y="974"/>
                  </a:lnTo>
                  <a:lnTo>
                    <a:pt x="867" y="964"/>
                  </a:lnTo>
                  <a:lnTo>
                    <a:pt x="864" y="964"/>
                  </a:lnTo>
                  <a:lnTo>
                    <a:pt x="861" y="965"/>
                  </a:lnTo>
                  <a:lnTo>
                    <a:pt x="859" y="968"/>
                  </a:lnTo>
                  <a:lnTo>
                    <a:pt x="857" y="970"/>
                  </a:lnTo>
                  <a:lnTo>
                    <a:pt x="858" y="974"/>
                  </a:lnTo>
                  <a:lnTo>
                    <a:pt x="860" y="978"/>
                  </a:lnTo>
                  <a:close/>
                  <a:moveTo>
                    <a:pt x="800" y="976"/>
                  </a:moveTo>
                  <a:lnTo>
                    <a:pt x="802" y="981"/>
                  </a:lnTo>
                  <a:lnTo>
                    <a:pt x="805" y="987"/>
                  </a:lnTo>
                  <a:lnTo>
                    <a:pt x="807" y="991"/>
                  </a:lnTo>
                  <a:lnTo>
                    <a:pt x="813" y="984"/>
                  </a:lnTo>
                  <a:lnTo>
                    <a:pt x="813" y="984"/>
                  </a:lnTo>
                  <a:lnTo>
                    <a:pt x="815" y="983"/>
                  </a:lnTo>
                  <a:lnTo>
                    <a:pt x="816" y="982"/>
                  </a:lnTo>
                  <a:lnTo>
                    <a:pt x="815" y="980"/>
                  </a:lnTo>
                  <a:lnTo>
                    <a:pt x="814" y="975"/>
                  </a:lnTo>
                  <a:lnTo>
                    <a:pt x="808" y="968"/>
                  </a:lnTo>
                  <a:lnTo>
                    <a:pt x="806" y="965"/>
                  </a:lnTo>
                  <a:lnTo>
                    <a:pt x="805" y="965"/>
                  </a:lnTo>
                  <a:lnTo>
                    <a:pt x="804" y="966"/>
                  </a:lnTo>
                  <a:lnTo>
                    <a:pt x="802" y="965"/>
                  </a:lnTo>
                  <a:lnTo>
                    <a:pt x="798" y="962"/>
                  </a:lnTo>
                  <a:lnTo>
                    <a:pt x="796" y="962"/>
                  </a:lnTo>
                  <a:lnTo>
                    <a:pt x="796" y="963"/>
                  </a:lnTo>
                  <a:lnTo>
                    <a:pt x="796" y="963"/>
                  </a:lnTo>
                  <a:lnTo>
                    <a:pt x="797" y="963"/>
                  </a:lnTo>
                  <a:lnTo>
                    <a:pt x="797" y="964"/>
                  </a:lnTo>
                  <a:lnTo>
                    <a:pt x="796" y="965"/>
                  </a:lnTo>
                  <a:lnTo>
                    <a:pt x="796" y="965"/>
                  </a:lnTo>
                  <a:lnTo>
                    <a:pt x="796" y="966"/>
                  </a:lnTo>
                  <a:lnTo>
                    <a:pt x="798" y="967"/>
                  </a:lnTo>
                  <a:lnTo>
                    <a:pt x="800" y="970"/>
                  </a:lnTo>
                  <a:lnTo>
                    <a:pt x="802" y="972"/>
                  </a:lnTo>
                  <a:lnTo>
                    <a:pt x="802" y="973"/>
                  </a:lnTo>
                  <a:lnTo>
                    <a:pt x="800" y="976"/>
                  </a:lnTo>
                  <a:close/>
                  <a:moveTo>
                    <a:pt x="1158" y="980"/>
                  </a:moveTo>
                  <a:lnTo>
                    <a:pt x="1157" y="983"/>
                  </a:lnTo>
                  <a:lnTo>
                    <a:pt x="1158" y="982"/>
                  </a:lnTo>
                  <a:lnTo>
                    <a:pt x="1159" y="983"/>
                  </a:lnTo>
                  <a:lnTo>
                    <a:pt x="1161" y="985"/>
                  </a:lnTo>
                  <a:lnTo>
                    <a:pt x="1162" y="987"/>
                  </a:lnTo>
                  <a:lnTo>
                    <a:pt x="1163" y="985"/>
                  </a:lnTo>
                  <a:lnTo>
                    <a:pt x="1164" y="985"/>
                  </a:lnTo>
                  <a:lnTo>
                    <a:pt x="1165" y="986"/>
                  </a:lnTo>
                  <a:lnTo>
                    <a:pt x="1167" y="987"/>
                  </a:lnTo>
                  <a:lnTo>
                    <a:pt x="1168" y="986"/>
                  </a:lnTo>
                  <a:lnTo>
                    <a:pt x="1168" y="984"/>
                  </a:lnTo>
                  <a:lnTo>
                    <a:pt x="1169" y="982"/>
                  </a:lnTo>
                  <a:lnTo>
                    <a:pt x="1169" y="981"/>
                  </a:lnTo>
                  <a:lnTo>
                    <a:pt x="1174" y="983"/>
                  </a:lnTo>
                  <a:lnTo>
                    <a:pt x="1177" y="983"/>
                  </a:lnTo>
                  <a:lnTo>
                    <a:pt x="1178" y="980"/>
                  </a:lnTo>
                  <a:lnTo>
                    <a:pt x="1177" y="980"/>
                  </a:lnTo>
                  <a:lnTo>
                    <a:pt x="1177" y="981"/>
                  </a:lnTo>
                  <a:lnTo>
                    <a:pt x="1176" y="981"/>
                  </a:lnTo>
                  <a:lnTo>
                    <a:pt x="1176" y="980"/>
                  </a:lnTo>
                  <a:lnTo>
                    <a:pt x="1176" y="980"/>
                  </a:lnTo>
                  <a:lnTo>
                    <a:pt x="1177" y="979"/>
                  </a:lnTo>
                  <a:lnTo>
                    <a:pt x="1176" y="976"/>
                  </a:lnTo>
                  <a:lnTo>
                    <a:pt x="1177" y="973"/>
                  </a:lnTo>
                  <a:lnTo>
                    <a:pt x="1177" y="970"/>
                  </a:lnTo>
                  <a:lnTo>
                    <a:pt x="1176" y="969"/>
                  </a:lnTo>
                  <a:lnTo>
                    <a:pt x="1174" y="969"/>
                  </a:lnTo>
                  <a:lnTo>
                    <a:pt x="1173" y="970"/>
                  </a:lnTo>
                  <a:lnTo>
                    <a:pt x="1171" y="972"/>
                  </a:lnTo>
                  <a:lnTo>
                    <a:pt x="1171" y="969"/>
                  </a:lnTo>
                  <a:lnTo>
                    <a:pt x="1170" y="967"/>
                  </a:lnTo>
                  <a:lnTo>
                    <a:pt x="1167" y="966"/>
                  </a:lnTo>
                  <a:lnTo>
                    <a:pt x="1166" y="964"/>
                  </a:lnTo>
                  <a:lnTo>
                    <a:pt x="1168" y="964"/>
                  </a:lnTo>
                  <a:lnTo>
                    <a:pt x="1168" y="962"/>
                  </a:lnTo>
                  <a:lnTo>
                    <a:pt x="1155" y="957"/>
                  </a:lnTo>
                  <a:lnTo>
                    <a:pt x="1153" y="954"/>
                  </a:lnTo>
                  <a:lnTo>
                    <a:pt x="1152" y="957"/>
                  </a:lnTo>
                  <a:lnTo>
                    <a:pt x="1153" y="958"/>
                  </a:lnTo>
                  <a:lnTo>
                    <a:pt x="1154" y="958"/>
                  </a:lnTo>
                  <a:lnTo>
                    <a:pt x="1155" y="960"/>
                  </a:lnTo>
                  <a:lnTo>
                    <a:pt x="1157" y="963"/>
                  </a:lnTo>
                  <a:lnTo>
                    <a:pt x="1157" y="964"/>
                  </a:lnTo>
                  <a:lnTo>
                    <a:pt x="1158" y="965"/>
                  </a:lnTo>
                  <a:lnTo>
                    <a:pt x="1159" y="965"/>
                  </a:lnTo>
                  <a:lnTo>
                    <a:pt x="1160" y="964"/>
                  </a:lnTo>
                  <a:lnTo>
                    <a:pt x="1162" y="964"/>
                  </a:lnTo>
                  <a:lnTo>
                    <a:pt x="1163" y="965"/>
                  </a:lnTo>
                  <a:lnTo>
                    <a:pt x="1163" y="966"/>
                  </a:lnTo>
                  <a:lnTo>
                    <a:pt x="1163" y="968"/>
                  </a:lnTo>
                  <a:lnTo>
                    <a:pt x="1162" y="969"/>
                  </a:lnTo>
                  <a:lnTo>
                    <a:pt x="1162" y="969"/>
                  </a:lnTo>
                  <a:lnTo>
                    <a:pt x="1161" y="971"/>
                  </a:lnTo>
                  <a:lnTo>
                    <a:pt x="1159" y="973"/>
                  </a:lnTo>
                  <a:lnTo>
                    <a:pt x="1158" y="975"/>
                  </a:lnTo>
                  <a:lnTo>
                    <a:pt x="1160" y="979"/>
                  </a:lnTo>
                  <a:lnTo>
                    <a:pt x="1158" y="979"/>
                  </a:lnTo>
                  <a:lnTo>
                    <a:pt x="1158" y="980"/>
                  </a:lnTo>
                  <a:close/>
                  <a:moveTo>
                    <a:pt x="986" y="945"/>
                  </a:moveTo>
                  <a:lnTo>
                    <a:pt x="981" y="947"/>
                  </a:lnTo>
                  <a:lnTo>
                    <a:pt x="980" y="947"/>
                  </a:lnTo>
                  <a:lnTo>
                    <a:pt x="977" y="947"/>
                  </a:lnTo>
                  <a:lnTo>
                    <a:pt x="980" y="953"/>
                  </a:lnTo>
                  <a:lnTo>
                    <a:pt x="981" y="952"/>
                  </a:lnTo>
                  <a:lnTo>
                    <a:pt x="981" y="952"/>
                  </a:lnTo>
                  <a:lnTo>
                    <a:pt x="981" y="952"/>
                  </a:lnTo>
                  <a:lnTo>
                    <a:pt x="981" y="951"/>
                  </a:lnTo>
                  <a:lnTo>
                    <a:pt x="983" y="953"/>
                  </a:lnTo>
                  <a:lnTo>
                    <a:pt x="985" y="953"/>
                  </a:lnTo>
                  <a:lnTo>
                    <a:pt x="986" y="952"/>
                  </a:lnTo>
                  <a:lnTo>
                    <a:pt x="986" y="950"/>
                  </a:lnTo>
                  <a:lnTo>
                    <a:pt x="986" y="949"/>
                  </a:lnTo>
                  <a:lnTo>
                    <a:pt x="985" y="947"/>
                  </a:lnTo>
                  <a:lnTo>
                    <a:pt x="985" y="946"/>
                  </a:lnTo>
                  <a:lnTo>
                    <a:pt x="986" y="945"/>
                  </a:lnTo>
                  <a:close/>
                  <a:moveTo>
                    <a:pt x="885" y="974"/>
                  </a:moveTo>
                  <a:lnTo>
                    <a:pt x="890" y="971"/>
                  </a:lnTo>
                  <a:lnTo>
                    <a:pt x="892" y="969"/>
                  </a:lnTo>
                  <a:lnTo>
                    <a:pt x="893" y="968"/>
                  </a:lnTo>
                  <a:lnTo>
                    <a:pt x="894" y="966"/>
                  </a:lnTo>
                  <a:lnTo>
                    <a:pt x="895" y="964"/>
                  </a:lnTo>
                  <a:lnTo>
                    <a:pt x="896" y="963"/>
                  </a:lnTo>
                  <a:lnTo>
                    <a:pt x="897" y="962"/>
                  </a:lnTo>
                  <a:lnTo>
                    <a:pt x="897" y="961"/>
                  </a:lnTo>
                  <a:lnTo>
                    <a:pt x="895" y="961"/>
                  </a:lnTo>
                  <a:lnTo>
                    <a:pt x="895" y="960"/>
                  </a:lnTo>
                  <a:lnTo>
                    <a:pt x="897" y="960"/>
                  </a:lnTo>
                  <a:lnTo>
                    <a:pt x="897" y="958"/>
                  </a:lnTo>
                  <a:lnTo>
                    <a:pt x="895" y="957"/>
                  </a:lnTo>
                  <a:lnTo>
                    <a:pt x="895" y="954"/>
                  </a:lnTo>
                  <a:lnTo>
                    <a:pt x="897" y="947"/>
                  </a:lnTo>
                  <a:lnTo>
                    <a:pt x="898" y="946"/>
                  </a:lnTo>
                  <a:lnTo>
                    <a:pt x="899" y="945"/>
                  </a:lnTo>
                  <a:lnTo>
                    <a:pt x="899" y="943"/>
                  </a:lnTo>
                  <a:lnTo>
                    <a:pt x="899" y="942"/>
                  </a:lnTo>
                  <a:lnTo>
                    <a:pt x="897" y="942"/>
                  </a:lnTo>
                  <a:lnTo>
                    <a:pt x="895" y="942"/>
                  </a:lnTo>
                  <a:lnTo>
                    <a:pt x="896" y="944"/>
                  </a:lnTo>
                  <a:lnTo>
                    <a:pt x="896" y="945"/>
                  </a:lnTo>
                  <a:lnTo>
                    <a:pt x="894" y="947"/>
                  </a:lnTo>
                  <a:lnTo>
                    <a:pt x="890" y="947"/>
                  </a:lnTo>
                  <a:lnTo>
                    <a:pt x="888" y="945"/>
                  </a:lnTo>
                  <a:lnTo>
                    <a:pt x="891" y="942"/>
                  </a:lnTo>
                  <a:lnTo>
                    <a:pt x="886" y="943"/>
                  </a:lnTo>
                  <a:lnTo>
                    <a:pt x="881" y="946"/>
                  </a:lnTo>
                  <a:lnTo>
                    <a:pt x="877" y="950"/>
                  </a:lnTo>
                  <a:lnTo>
                    <a:pt x="874" y="953"/>
                  </a:lnTo>
                  <a:lnTo>
                    <a:pt x="876" y="953"/>
                  </a:lnTo>
                  <a:lnTo>
                    <a:pt x="877" y="953"/>
                  </a:lnTo>
                  <a:lnTo>
                    <a:pt x="878" y="954"/>
                  </a:lnTo>
                  <a:lnTo>
                    <a:pt x="873" y="957"/>
                  </a:lnTo>
                  <a:lnTo>
                    <a:pt x="871" y="960"/>
                  </a:lnTo>
                  <a:lnTo>
                    <a:pt x="869" y="967"/>
                  </a:lnTo>
                  <a:lnTo>
                    <a:pt x="869" y="969"/>
                  </a:lnTo>
                  <a:lnTo>
                    <a:pt x="871" y="970"/>
                  </a:lnTo>
                  <a:lnTo>
                    <a:pt x="872" y="971"/>
                  </a:lnTo>
                  <a:lnTo>
                    <a:pt x="876" y="974"/>
                  </a:lnTo>
                  <a:lnTo>
                    <a:pt x="877" y="974"/>
                  </a:lnTo>
                  <a:lnTo>
                    <a:pt x="883" y="975"/>
                  </a:lnTo>
                  <a:lnTo>
                    <a:pt x="885" y="974"/>
                  </a:lnTo>
                  <a:close/>
                  <a:moveTo>
                    <a:pt x="1145" y="950"/>
                  </a:moveTo>
                  <a:lnTo>
                    <a:pt x="1145" y="951"/>
                  </a:lnTo>
                  <a:lnTo>
                    <a:pt x="1147" y="952"/>
                  </a:lnTo>
                  <a:lnTo>
                    <a:pt x="1148" y="953"/>
                  </a:lnTo>
                  <a:lnTo>
                    <a:pt x="1150" y="952"/>
                  </a:lnTo>
                  <a:lnTo>
                    <a:pt x="1151" y="952"/>
                  </a:lnTo>
                  <a:lnTo>
                    <a:pt x="1151" y="951"/>
                  </a:lnTo>
                  <a:lnTo>
                    <a:pt x="1151" y="951"/>
                  </a:lnTo>
                  <a:lnTo>
                    <a:pt x="1152" y="951"/>
                  </a:lnTo>
                  <a:lnTo>
                    <a:pt x="1152" y="949"/>
                  </a:lnTo>
                  <a:lnTo>
                    <a:pt x="1151" y="946"/>
                  </a:lnTo>
                  <a:lnTo>
                    <a:pt x="1150" y="945"/>
                  </a:lnTo>
                  <a:lnTo>
                    <a:pt x="1150" y="944"/>
                  </a:lnTo>
                  <a:lnTo>
                    <a:pt x="1149" y="941"/>
                  </a:lnTo>
                  <a:lnTo>
                    <a:pt x="1147" y="940"/>
                  </a:lnTo>
                  <a:lnTo>
                    <a:pt x="1146" y="940"/>
                  </a:lnTo>
                  <a:lnTo>
                    <a:pt x="1146" y="938"/>
                  </a:lnTo>
                  <a:lnTo>
                    <a:pt x="1147" y="936"/>
                  </a:lnTo>
                  <a:lnTo>
                    <a:pt x="1147" y="935"/>
                  </a:lnTo>
                  <a:lnTo>
                    <a:pt x="1145" y="934"/>
                  </a:lnTo>
                  <a:lnTo>
                    <a:pt x="1144" y="934"/>
                  </a:lnTo>
                  <a:lnTo>
                    <a:pt x="1143" y="934"/>
                  </a:lnTo>
                  <a:lnTo>
                    <a:pt x="1143" y="933"/>
                  </a:lnTo>
                  <a:lnTo>
                    <a:pt x="1142" y="934"/>
                  </a:lnTo>
                  <a:lnTo>
                    <a:pt x="1142" y="933"/>
                  </a:lnTo>
                  <a:lnTo>
                    <a:pt x="1140" y="932"/>
                  </a:lnTo>
                  <a:lnTo>
                    <a:pt x="1139" y="932"/>
                  </a:lnTo>
                  <a:lnTo>
                    <a:pt x="1139" y="934"/>
                  </a:lnTo>
                  <a:lnTo>
                    <a:pt x="1138" y="934"/>
                  </a:lnTo>
                  <a:lnTo>
                    <a:pt x="1136" y="934"/>
                  </a:lnTo>
                  <a:lnTo>
                    <a:pt x="1134" y="936"/>
                  </a:lnTo>
                  <a:lnTo>
                    <a:pt x="1135" y="938"/>
                  </a:lnTo>
                  <a:lnTo>
                    <a:pt x="1137" y="940"/>
                  </a:lnTo>
                  <a:lnTo>
                    <a:pt x="1138" y="941"/>
                  </a:lnTo>
                  <a:lnTo>
                    <a:pt x="1140" y="942"/>
                  </a:lnTo>
                  <a:lnTo>
                    <a:pt x="1141" y="943"/>
                  </a:lnTo>
                  <a:lnTo>
                    <a:pt x="1141" y="945"/>
                  </a:lnTo>
                  <a:lnTo>
                    <a:pt x="1140" y="946"/>
                  </a:lnTo>
                  <a:lnTo>
                    <a:pt x="1142" y="948"/>
                  </a:lnTo>
                  <a:lnTo>
                    <a:pt x="1143" y="948"/>
                  </a:lnTo>
                  <a:lnTo>
                    <a:pt x="1146" y="947"/>
                  </a:lnTo>
                  <a:lnTo>
                    <a:pt x="1147" y="947"/>
                  </a:lnTo>
                  <a:lnTo>
                    <a:pt x="1146" y="949"/>
                  </a:lnTo>
                  <a:lnTo>
                    <a:pt x="1145" y="950"/>
                  </a:lnTo>
                  <a:close/>
                  <a:moveTo>
                    <a:pt x="937" y="980"/>
                  </a:moveTo>
                  <a:lnTo>
                    <a:pt x="939" y="979"/>
                  </a:lnTo>
                  <a:lnTo>
                    <a:pt x="940" y="979"/>
                  </a:lnTo>
                  <a:lnTo>
                    <a:pt x="941" y="978"/>
                  </a:lnTo>
                  <a:lnTo>
                    <a:pt x="945" y="968"/>
                  </a:lnTo>
                  <a:lnTo>
                    <a:pt x="946" y="964"/>
                  </a:lnTo>
                  <a:lnTo>
                    <a:pt x="947" y="956"/>
                  </a:lnTo>
                  <a:lnTo>
                    <a:pt x="947" y="952"/>
                  </a:lnTo>
                  <a:lnTo>
                    <a:pt x="947" y="944"/>
                  </a:lnTo>
                  <a:lnTo>
                    <a:pt x="946" y="940"/>
                  </a:lnTo>
                  <a:lnTo>
                    <a:pt x="944" y="936"/>
                  </a:lnTo>
                  <a:lnTo>
                    <a:pt x="940" y="934"/>
                  </a:lnTo>
                  <a:lnTo>
                    <a:pt x="938" y="932"/>
                  </a:lnTo>
                  <a:lnTo>
                    <a:pt x="937" y="933"/>
                  </a:lnTo>
                  <a:lnTo>
                    <a:pt x="936" y="934"/>
                  </a:lnTo>
                  <a:lnTo>
                    <a:pt x="933" y="934"/>
                  </a:lnTo>
                  <a:lnTo>
                    <a:pt x="932" y="935"/>
                  </a:lnTo>
                  <a:lnTo>
                    <a:pt x="929" y="939"/>
                  </a:lnTo>
                  <a:lnTo>
                    <a:pt x="928" y="940"/>
                  </a:lnTo>
                  <a:lnTo>
                    <a:pt x="918" y="947"/>
                  </a:lnTo>
                  <a:lnTo>
                    <a:pt x="912" y="954"/>
                  </a:lnTo>
                  <a:lnTo>
                    <a:pt x="910" y="955"/>
                  </a:lnTo>
                  <a:lnTo>
                    <a:pt x="910" y="955"/>
                  </a:lnTo>
                  <a:lnTo>
                    <a:pt x="909" y="954"/>
                  </a:lnTo>
                  <a:lnTo>
                    <a:pt x="908" y="955"/>
                  </a:lnTo>
                  <a:lnTo>
                    <a:pt x="907" y="955"/>
                  </a:lnTo>
                  <a:lnTo>
                    <a:pt x="907" y="957"/>
                  </a:lnTo>
                  <a:lnTo>
                    <a:pt x="909" y="958"/>
                  </a:lnTo>
                  <a:lnTo>
                    <a:pt x="911" y="960"/>
                  </a:lnTo>
                  <a:lnTo>
                    <a:pt x="913" y="965"/>
                  </a:lnTo>
                  <a:lnTo>
                    <a:pt x="913" y="965"/>
                  </a:lnTo>
                  <a:lnTo>
                    <a:pt x="913" y="967"/>
                  </a:lnTo>
                  <a:lnTo>
                    <a:pt x="913" y="968"/>
                  </a:lnTo>
                  <a:lnTo>
                    <a:pt x="914" y="970"/>
                  </a:lnTo>
                  <a:lnTo>
                    <a:pt x="915" y="971"/>
                  </a:lnTo>
                  <a:lnTo>
                    <a:pt x="916" y="972"/>
                  </a:lnTo>
                  <a:lnTo>
                    <a:pt x="915" y="974"/>
                  </a:lnTo>
                  <a:lnTo>
                    <a:pt x="915" y="974"/>
                  </a:lnTo>
                  <a:lnTo>
                    <a:pt x="919" y="977"/>
                  </a:lnTo>
                  <a:lnTo>
                    <a:pt x="920" y="979"/>
                  </a:lnTo>
                  <a:lnTo>
                    <a:pt x="921" y="980"/>
                  </a:lnTo>
                  <a:lnTo>
                    <a:pt x="922" y="984"/>
                  </a:lnTo>
                  <a:lnTo>
                    <a:pt x="922" y="985"/>
                  </a:lnTo>
                  <a:lnTo>
                    <a:pt x="923" y="986"/>
                  </a:lnTo>
                  <a:lnTo>
                    <a:pt x="924" y="987"/>
                  </a:lnTo>
                  <a:lnTo>
                    <a:pt x="924" y="988"/>
                  </a:lnTo>
                  <a:lnTo>
                    <a:pt x="926" y="987"/>
                  </a:lnTo>
                  <a:lnTo>
                    <a:pt x="929" y="986"/>
                  </a:lnTo>
                  <a:lnTo>
                    <a:pt x="931" y="985"/>
                  </a:lnTo>
                  <a:lnTo>
                    <a:pt x="937" y="980"/>
                  </a:lnTo>
                  <a:close/>
                  <a:moveTo>
                    <a:pt x="779" y="946"/>
                  </a:moveTo>
                  <a:lnTo>
                    <a:pt x="779" y="942"/>
                  </a:lnTo>
                  <a:lnTo>
                    <a:pt x="779" y="939"/>
                  </a:lnTo>
                  <a:lnTo>
                    <a:pt x="779" y="935"/>
                  </a:lnTo>
                  <a:lnTo>
                    <a:pt x="778" y="932"/>
                  </a:lnTo>
                  <a:lnTo>
                    <a:pt x="777" y="931"/>
                  </a:lnTo>
                  <a:lnTo>
                    <a:pt x="776" y="931"/>
                  </a:lnTo>
                  <a:lnTo>
                    <a:pt x="775" y="931"/>
                  </a:lnTo>
                  <a:lnTo>
                    <a:pt x="774" y="932"/>
                  </a:lnTo>
                  <a:lnTo>
                    <a:pt x="773" y="932"/>
                  </a:lnTo>
                  <a:lnTo>
                    <a:pt x="771" y="931"/>
                  </a:lnTo>
                  <a:lnTo>
                    <a:pt x="769" y="932"/>
                  </a:lnTo>
                  <a:lnTo>
                    <a:pt x="763" y="935"/>
                  </a:lnTo>
                  <a:lnTo>
                    <a:pt x="765" y="936"/>
                  </a:lnTo>
                  <a:lnTo>
                    <a:pt x="763" y="937"/>
                  </a:lnTo>
                  <a:lnTo>
                    <a:pt x="763" y="938"/>
                  </a:lnTo>
                  <a:lnTo>
                    <a:pt x="763" y="939"/>
                  </a:lnTo>
                  <a:lnTo>
                    <a:pt x="762" y="940"/>
                  </a:lnTo>
                  <a:lnTo>
                    <a:pt x="761" y="941"/>
                  </a:lnTo>
                  <a:lnTo>
                    <a:pt x="761" y="942"/>
                  </a:lnTo>
                  <a:lnTo>
                    <a:pt x="762" y="943"/>
                  </a:lnTo>
                  <a:lnTo>
                    <a:pt x="761" y="945"/>
                  </a:lnTo>
                  <a:lnTo>
                    <a:pt x="761" y="945"/>
                  </a:lnTo>
                  <a:lnTo>
                    <a:pt x="761" y="947"/>
                  </a:lnTo>
                  <a:lnTo>
                    <a:pt x="762" y="946"/>
                  </a:lnTo>
                  <a:lnTo>
                    <a:pt x="763" y="945"/>
                  </a:lnTo>
                  <a:lnTo>
                    <a:pt x="764" y="945"/>
                  </a:lnTo>
                  <a:lnTo>
                    <a:pt x="766" y="946"/>
                  </a:lnTo>
                  <a:lnTo>
                    <a:pt x="766" y="945"/>
                  </a:lnTo>
                  <a:lnTo>
                    <a:pt x="767" y="945"/>
                  </a:lnTo>
                  <a:lnTo>
                    <a:pt x="768" y="945"/>
                  </a:lnTo>
                  <a:lnTo>
                    <a:pt x="768" y="947"/>
                  </a:lnTo>
                  <a:lnTo>
                    <a:pt x="769" y="946"/>
                  </a:lnTo>
                  <a:lnTo>
                    <a:pt x="771" y="946"/>
                  </a:lnTo>
                  <a:lnTo>
                    <a:pt x="772" y="946"/>
                  </a:lnTo>
                  <a:lnTo>
                    <a:pt x="773" y="947"/>
                  </a:lnTo>
                  <a:lnTo>
                    <a:pt x="773" y="948"/>
                  </a:lnTo>
                  <a:lnTo>
                    <a:pt x="772" y="947"/>
                  </a:lnTo>
                  <a:lnTo>
                    <a:pt x="772" y="948"/>
                  </a:lnTo>
                  <a:lnTo>
                    <a:pt x="772" y="949"/>
                  </a:lnTo>
                  <a:lnTo>
                    <a:pt x="773" y="949"/>
                  </a:lnTo>
                  <a:lnTo>
                    <a:pt x="773" y="949"/>
                  </a:lnTo>
                  <a:lnTo>
                    <a:pt x="773" y="950"/>
                  </a:lnTo>
                  <a:lnTo>
                    <a:pt x="773" y="950"/>
                  </a:lnTo>
                  <a:lnTo>
                    <a:pt x="775" y="949"/>
                  </a:lnTo>
                  <a:lnTo>
                    <a:pt x="776" y="948"/>
                  </a:lnTo>
                  <a:lnTo>
                    <a:pt x="776" y="946"/>
                  </a:lnTo>
                  <a:lnTo>
                    <a:pt x="776" y="943"/>
                  </a:lnTo>
                  <a:lnTo>
                    <a:pt x="778" y="943"/>
                  </a:lnTo>
                  <a:lnTo>
                    <a:pt x="779" y="946"/>
                  </a:lnTo>
                  <a:close/>
                  <a:moveTo>
                    <a:pt x="560" y="917"/>
                  </a:moveTo>
                  <a:lnTo>
                    <a:pt x="557" y="916"/>
                  </a:lnTo>
                  <a:lnTo>
                    <a:pt x="556" y="915"/>
                  </a:lnTo>
                  <a:lnTo>
                    <a:pt x="554" y="915"/>
                  </a:lnTo>
                  <a:lnTo>
                    <a:pt x="553" y="915"/>
                  </a:lnTo>
                  <a:lnTo>
                    <a:pt x="551" y="916"/>
                  </a:lnTo>
                  <a:lnTo>
                    <a:pt x="551" y="917"/>
                  </a:lnTo>
                  <a:lnTo>
                    <a:pt x="553" y="920"/>
                  </a:lnTo>
                  <a:lnTo>
                    <a:pt x="554" y="922"/>
                  </a:lnTo>
                  <a:lnTo>
                    <a:pt x="556" y="924"/>
                  </a:lnTo>
                  <a:lnTo>
                    <a:pt x="560" y="924"/>
                  </a:lnTo>
                  <a:lnTo>
                    <a:pt x="561" y="923"/>
                  </a:lnTo>
                  <a:lnTo>
                    <a:pt x="562" y="921"/>
                  </a:lnTo>
                  <a:lnTo>
                    <a:pt x="561" y="920"/>
                  </a:lnTo>
                  <a:lnTo>
                    <a:pt x="561" y="918"/>
                  </a:lnTo>
                  <a:lnTo>
                    <a:pt x="560" y="917"/>
                  </a:lnTo>
                  <a:close/>
                  <a:moveTo>
                    <a:pt x="619" y="903"/>
                  </a:moveTo>
                  <a:lnTo>
                    <a:pt x="622" y="902"/>
                  </a:lnTo>
                  <a:lnTo>
                    <a:pt x="626" y="901"/>
                  </a:lnTo>
                  <a:lnTo>
                    <a:pt x="629" y="898"/>
                  </a:lnTo>
                  <a:lnTo>
                    <a:pt x="623" y="898"/>
                  </a:lnTo>
                  <a:lnTo>
                    <a:pt x="620" y="900"/>
                  </a:lnTo>
                  <a:lnTo>
                    <a:pt x="613" y="900"/>
                  </a:lnTo>
                  <a:lnTo>
                    <a:pt x="609" y="901"/>
                  </a:lnTo>
                  <a:lnTo>
                    <a:pt x="595" y="911"/>
                  </a:lnTo>
                  <a:lnTo>
                    <a:pt x="595" y="912"/>
                  </a:lnTo>
                  <a:lnTo>
                    <a:pt x="598" y="912"/>
                  </a:lnTo>
                  <a:lnTo>
                    <a:pt x="608" y="909"/>
                  </a:lnTo>
                  <a:lnTo>
                    <a:pt x="611" y="909"/>
                  </a:lnTo>
                  <a:lnTo>
                    <a:pt x="614" y="908"/>
                  </a:lnTo>
                  <a:lnTo>
                    <a:pt x="616" y="906"/>
                  </a:lnTo>
                  <a:lnTo>
                    <a:pt x="616" y="902"/>
                  </a:lnTo>
                  <a:lnTo>
                    <a:pt x="619" y="903"/>
                  </a:lnTo>
                  <a:close/>
                  <a:moveTo>
                    <a:pt x="1107" y="901"/>
                  </a:moveTo>
                  <a:lnTo>
                    <a:pt x="1106" y="901"/>
                  </a:lnTo>
                  <a:lnTo>
                    <a:pt x="1105" y="900"/>
                  </a:lnTo>
                  <a:lnTo>
                    <a:pt x="1104" y="898"/>
                  </a:lnTo>
                  <a:lnTo>
                    <a:pt x="1102" y="898"/>
                  </a:lnTo>
                  <a:lnTo>
                    <a:pt x="1100" y="898"/>
                  </a:lnTo>
                  <a:lnTo>
                    <a:pt x="1098" y="898"/>
                  </a:lnTo>
                  <a:lnTo>
                    <a:pt x="1097" y="898"/>
                  </a:lnTo>
                  <a:lnTo>
                    <a:pt x="1096" y="900"/>
                  </a:lnTo>
                  <a:lnTo>
                    <a:pt x="1097" y="903"/>
                  </a:lnTo>
                  <a:lnTo>
                    <a:pt x="1097" y="905"/>
                  </a:lnTo>
                  <a:lnTo>
                    <a:pt x="1097" y="906"/>
                  </a:lnTo>
                  <a:lnTo>
                    <a:pt x="1096" y="907"/>
                  </a:lnTo>
                  <a:lnTo>
                    <a:pt x="1096" y="912"/>
                  </a:lnTo>
                  <a:lnTo>
                    <a:pt x="1096" y="914"/>
                  </a:lnTo>
                  <a:lnTo>
                    <a:pt x="1098" y="915"/>
                  </a:lnTo>
                  <a:lnTo>
                    <a:pt x="1098" y="916"/>
                  </a:lnTo>
                  <a:lnTo>
                    <a:pt x="1098" y="917"/>
                  </a:lnTo>
                  <a:lnTo>
                    <a:pt x="1100" y="918"/>
                  </a:lnTo>
                  <a:lnTo>
                    <a:pt x="1102" y="917"/>
                  </a:lnTo>
                  <a:lnTo>
                    <a:pt x="1101" y="911"/>
                  </a:lnTo>
                  <a:lnTo>
                    <a:pt x="1100" y="908"/>
                  </a:lnTo>
                  <a:lnTo>
                    <a:pt x="1099" y="907"/>
                  </a:lnTo>
                  <a:lnTo>
                    <a:pt x="1100" y="907"/>
                  </a:lnTo>
                  <a:lnTo>
                    <a:pt x="1100" y="906"/>
                  </a:lnTo>
                  <a:lnTo>
                    <a:pt x="1101" y="906"/>
                  </a:lnTo>
                  <a:lnTo>
                    <a:pt x="1101" y="904"/>
                  </a:lnTo>
                  <a:lnTo>
                    <a:pt x="1103" y="903"/>
                  </a:lnTo>
                  <a:lnTo>
                    <a:pt x="1104" y="903"/>
                  </a:lnTo>
                  <a:lnTo>
                    <a:pt x="1104" y="903"/>
                  </a:lnTo>
                  <a:lnTo>
                    <a:pt x="1105" y="903"/>
                  </a:lnTo>
                  <a:lnTo>
                    <a:pt x="1106" y="904"/>
                  </a:lnTo>
                  <a:lnTo>
                    <a:pt x="1107" y="905"/>
                  </a:lnTo>
                  <a:lnTo>
                    <a:pt x="1108" y="905"/>
                  </a:lnTo>
                  <a:lnTo>
                    <a:pt x="1108" y="902"/>
                  </a:lnTo>
                  <a:lnTo>
                    <a:pt x="1107" y="901"/>
                  </a:lnTo>
                  <a:close/>
                  <a:moveTo>
                    <a:pt x="756" y="900"/>
                  </a:moveTo>
                  <a:lnTo>
                    <a:pt x="754" y="903"/>
                  </a:lnTo>
                  <a:lnTo>
                    <a:pt x="753" y="911"/>
                  </a:lnTo>
                  <a:lnTo>
                    <a:pt x="756" y="910"/>
                  </a:lnTo>
                  <a:lnTo>
                    <a:pt x="760" y="908"/>
                  </a:lnTo>
                  <a:lnTo>
                    <a:pt x="762" y="905"/>
                  </a:lnTo>
                  <a:lnTo>
                    <a:pt x="765" y="902"/>
                  </a:lnTo>
                  <a:lnTo>
                    <a:pt x="765" y="899"/>
                  </a:lnTo>
                  <a:lnTo>
                    <a:pt x="766" y="896"/>
                  </a:lnTo>
                  <a:lnTo>
                    <a:pt x="768" y="894"/>
                  </a:lnTo>
                  <a:lnTo>
                    <a:pt x="770" y="894"/>
                  </a:lnTo>
                  <a:lnTo>
                    <a:pt x="771" y="890"/>
                  </a:lnTo>
                  <a:lnTo>
                    <a:pt x="769" y="887"/>
                  </a:lnTo>
                  <a:lnTo>
                    <a:pt x="762" y="883"/>
                  </a:lnTo>
                  <a:lnTo>
                    <a:pt x="763" y="882"/>
                  </a:lnTo>
                  <a:lnTo>
                    <a:pt x="764" y="880"/>
                  </a:lnTo>
                  <a:lnTo>
                    <a:pt x="765" y="878"/>
                  </a:lnTo>
                  <a:lnTo>
                    <a:pt x="765" y="875"/>
                  </a:lnTo>
                  <a:lnTo>
                    <a:pt x="763" y="875"/>
                  </a:lnTo>
                  <a:lnTo>
                    <a:pt x="761" y="878"/>
                  </a:lnTo>
                  <a:lnTo>
                    <a:pt x="757" y="881"/>
                  </a:lnTo>
                  <a:lnTo>
                    <a:pt x="754" y="885"/>
                  </a:lnTo>
                  <a:lnTo>
                    <a:pt x="753" y="890"/>
                  </a:lnTo>
                  <a:lnTo>
                    <a:pt x="755" y="889"/>
                  </a:lnTo>
                  <a:lnTo>
                    <a:pt x="757" y="890"/>
                  </a:lnTo>
                  <a:lnTo>
                    <a:pt x="757" y="892"/>
                  </a:lnTo>
                  <a:lnTo>
                    <a:pt x="756" y="894"/>
                  </a:lnTo>
                  <a:lnTo>
                    <a:pt x="756" y="896"/>
                  </a:lnTo>
                  <a:lnTo>
                    <a:pt x="757" y="896"/>
                  </a:lnTo>
                  <a:lnTo>
                    <a:pt x="757" y="896"/>
                  </a:lnTo>
                  <a:lnTo>
                    <a:pt x="758" y="897"/>
                  </a:lnTo>
                  <a:lnTo>
                    <a:pt x="758" y="898"/>
                  </a:lnTo>
                  <a:lnTo>
                    <a:pt x="756" y="900"/>
                  </a:lnTo>
                  <a:close/>
                  <a:moveTo>
                    <a:pt x="914" y="889"/>
                  </a:moveTo>
                  <a:lnTo>
                    <a:pt x="916" y="889"/>
                  </a:lnTo>
                  <a:lnTo>
                    <a:pt x="917" y="889"/>
                  </a:lnTo>
                  <a:lnTo>
                    <a:pt x="918" y="885"/>
                  </a:lnTo>
                  <a:lnTo>
                    <a:pt x="920" y="884"/>
                  </a:lnTo>
                  <a:lnTo>
                    <a:pt x="923" y="884"/>
                  </a:lnTo>
                  <a:lnTo>
                    <a:pt x="926" y="883"/>
                  </a:lnTo>
                  <a:lnTo>
                    <a:pt x="927" y="881"/>
                  </a:lnTo>
                  <a:lnTo>
                    <a:pt x="927" y="880"/>
                  </a:lnTo>
                  <a:lnTo>
                    <a:pt x="927" y="879"/>
                  </a:lnTo>
                  <a:lnTo>
                    <a:pt x="923" y="877"/>
                  </a:lnTo>
                  <a:lnTo>
                    <a:pt x="922" y="876"/>
                  </a:lnTo>
                  <a:lnTo>
                    <a:pt x="921" y="876"/>
                  </a:lnTo>
                  <a:lnTo>
                    <a:pt x="921" y="875"/>
                  </a:lnTo>
                  <a:lnTo>
                    <a:pt x="916" y="874"/>
                  </a:lnTo>
                  <a:lnTo>
                    <a:pt x="914" y="875"/>
                  </a:lnTo>
                  <a:lnTo>
                    <a:pt x="913" y="879"/>
                  </a:lnTo>
                  <a:lnTo>
                    <a:pt x="913" y="879"/>
                  </a:lnTo>
                  <a:lnTo>
                    <a:pt x="908" y="871"/>
                  </a:lnTo>
                  <a:lnTo>
                    <a:pt x="907" y="873"/>
                  </a:lnTo>
                  <a:lnTo>
                    <a:pt x="904" y="874"/>
                  </a:lnTo>
                  <a:lnTo>
                    <a:pt x="903" y="875"/>
                  </a:lnTo>
                  <a:lnTo>
                    <a:pt x="902" y="878"/>
                  </a:lnTo>
                  <a:lnTo>
                    <a:pt x="904" y="878"/>
                  </a:lnTo>
                  <a:lnTo>
                    <a:pt x="905" y="880"/>
                  </a:lnTo>
                  <a:lnTo>
                    <a:pt x="904" y="885"/>
                  </a:lnTo>
                  <a:lnTo>
                    <a:pt x="903" y="885"/>
                  </a:lnTo>
                  <a:lnTo>
                    <a:pt x="903" y="885"/>
                  </a:lnTo>
                  <a:lnTo>
                    <a:pt x="902" y="885"/>
                  </a:lnTo>
                  <a:lnTo>
                    <a:pt x="902" y="887"/>
                  </a:lnTo>
                  <a:lnTo>
                    <a:pt x="902" y="888"/>
                  </a:lnTo>
                  <a:lnTo>
                    <a:pt x="902" y="888"/>
                  </a:lnTo>
                  <a:lnTo>
                    <a:pt x="902" y="889"/>
                  </a:lnTo>
                  <a:lnTo>
                    <a:pt x="902" y="890"/>
                  </a:lnTo>
                  <a:lnTo>
                    <a:pt x="914" y="889"/>
                  </a:lnTo>
                  <a:close/>
                  <a:moveTo>
                    <a:pt x="848" y="891"/>
                  </a:moveTo>
                  <a:lnTo>
                    <a:pt x="847" y="889"/>
                  </a:lnTo>
                  <a:lnTo>
                    <a:pt x="846" y="887"/>
                  </a:lnTo>
                  <a:lnTo>
                    <a:pt x="845" y="886"/>
                  </a:lnTo>
                  <a:lnTo>
                    <a:pt x="844" y="886"/>
                  </a:lnTo>
                  <a:lnTo>
                    <a:pt x="844" y="886"/>
                  </a:lnTo>
                  <a:lnTo>
                    <a:pt x="844" y="884"/>
                  </a:lnTo>
                  <a:lnTo>
                    <a:pt x="846" y="882"/>
                  </a:lnTo>
                  <a:lnTo>
                    <a:pt x="846" y="881"/>
                  </a:lnTo>
                  <a:lnTo>
                    <a:pt x="846" y="878"/>
                  </a:lnTo>
                  <a:lnTo>
                    <a:pt x="845" y="876"/>
                  </a:lnTo>
                  <a:lnTo>
                    <a:pt x="843" y="873"/>
                  </a:lnTo>
                  <a:lnTo>
                    <a:pt x="842" y="871"/>
                  </a:lnTo>
                  <a:lnTo>
                    <a:pt x="838" y="871"/>
                  </a:lnTo>
                  <a:lnTo>
                    <a:pt x="836" y="871"/>
                  </a:lnTo>
                  <a:lnTo>
                    <a:pt x="836" y="872"/>
                  </a:lnTo>
                  <a:lnTo>
                    <a:pt x="837" y="876"/>
                  </a:lnTo>
                  <a:lnTo>
                    <a:pt x="838" y="879"/>
                  </a:lnTo>
                  <a:lnTo>
                    <a:pt x="837" y="883"/>
                  </a:lnTo>
                  <a:lnTo>
                    <a:pt x="835" y="886"/>
                  </a:lnTo>
                  <a:lnTo>
                    <a:pt x="832" y="886"/>
                  </a:lnTo>
                  <a:lnTo>
                    <a:pt x="834" y="887"/>
                  </a:lnTo>
                  <a:lnTo>
                    <a:pt x="834" y="887"/>
                  </a:lnTo>
                  <a:lnTo>
                    <a:pt x="833" y="888"/>
                  </a:lnTo>
                  <a:lnTo>
                    <a:pt x="832" y="890"/>
                  </a:lnTo>
                  <a:lnTo>
                    <a:pt x="831" y="891"/>
                  </a:lnTo>
                  <a:lnTo>
                    <a:pt x="831" y="893"/>
                  </a:lnTo>
                  <a:lnTo>
                    <a:pt x="834" y="893"/>
                  </a:lnTo>
                  <a:lnTo>
                    <a:pt x="835" y="893"/>
                  </a:lnTo>
                  <a:lnTo>
                    <a:pt x="835" y="894"/>
                  </a:lnTo>
                  <a:lnTo>
                    <a:pt x="834" y="895"/>
                  </a:lnTo>
                  <a:lnTo>
                    <a:pt x="834" y="896"/>
                  </a:lnTo>
                  <a:lnTo>
                    <a:pt x="834" y="898"/>
                  </a:lnTo>
                  <a:lnTo>
                    <a:pt x="834" y="900"/>
                  </a:lnTo>
                  <a:lnTo>
                    <a:pt x="836" y="898"/>
                  </a:lnTo>
                  <a:lnTo>
                    <a:pt x="846" y="893"/>
                  </a:lnTo>
                  <a:lnTo>
                    <a:pt x="847" y="892"/>
                  </a:lnTo>
                  <a:lnTo>
                    <a:pt x="848" y="891"/>
                  </a:lnTo>
                  <a:close/>
                  <a:moveTo>
                    <a:pt x="612" y="861"/>
                  </a:moveTo>
                  <a:lnTo>
                    <a:pt x="611" y="862"/>
                  </a:lnTo>
                  <a:lnTo>
                    <a:pt x="611" y="864"/>
                  </a:lnTo>
                  <a:lnTo>
                    <a:pt x="609" y="866"/>
                  </a:lnTo>
                  <a:lnTo>
                    <a:pt x="605" y="867"/>
                  </a:lnTo>
                  <a:lnTo>
                    <a:pt x="605" y="868"/>
                  </a:lnTo>
                  <a:lnTo>
                    <a:pt x="608" y="870"/>
                  </a:lnTo>
                  <a:lnTo>
                    <a:pt x="612" y="871"/>
                  </a:lnTo>
                  <a:lnTo>
                    <a:pt x="616" y="870"/>
                  </a:lnTo>
                  <a:lnTo>
                    <a:pt x="619" y="868"/>
                  </a:lnTo>
                  <a:lnTo>
                    <a:pt x="619" y="867"/>
                  </a:lnTo>
                  <a:lnTo>
                    <a:pt x="617" y="867"/>
                  </a:lnTo>
                  <a:lnTo>
                    <a:pt x="615" y="866"/>
                  </a:lnTo>
                  <a:lnTo>
                    <a:pt x="614" y="865"/>
                  </a:lnTo>
                  <a:lnTo>
                    <a:pt x="612" y="863"/>
                  </a:lnTo>
                  <a:lnTo>
                    <a:pt x="612" y="862"/>
                  </a:lnTo>
                  <a:lnTo>
                    <a:pt x="612" y="862"/>
                  </a:lnTo>
                  <a:lnTo>
                    <a:pt x="612" y="861"/>
                  </a:lnTo>
                  <a:close/>
                  <a:moveTo>
                    <a:pt x="812" y="847"/>
                  </a:moveTo>
                  <a:lnTo>
                    <a:pt x="810" y="846"/>
                  </a:lnTo>
                  <a:lnTo>
                    <a:pt x="808" y="847"/>
                  </a:lnTo>
                  <a:lnTo>
                    <a:pt x="806" y="848"/>
                  </a:lnTo>
                  <a:lnTo>
                    <a:pt x="804" y="850"/>
                  </a:lnTo>
                  <a:lnTo>
                    <a:pt x="802" y="851"/>
                  </a:lnTo>
                  <a:lnTo>
                    <a:pt x="799" y="851"/>
                  </a:lnTo>
                  <a:lnTo>
                    <a:pt x="801" y="852"/>
                  </a:lnTo>
                  <a:lnTo>
                    <a:pt x="808" y="854"/>
                  </a:lnTo>
                  <a:lnTo>
                    <a:pt x="812" y="853"/>
                  </a:lnTo>
                  <a:lnTo>
                    <a:pt x="811" y="851"/>
                  </a:lnTo>
                  <a:lnTo>
                    <a:pt x="812" y="850"/>
                  </a:lnTo>
                  <a:lnTo>
                    <a:pt x="812" y="847"/>
                  </a:lnTo>
                  <a:close/>
                  <a:moveTo>
                    <a:pt x="852" y="843"/>
                  </a:moveTo>
                  <a:lnTo>
                    <a:pt x="853" y="845"/>
                  </a:lnTo>
                  <a:lnTo>
                    <a:pt x="854" y="846"/>
                  </a:lnTo>
                  <a:lnTo>
                    <a:pt x="860" y="849"/>
                  </a:lnTo>
                  <a:lnTo>
                    <a:pt x="866" y="855"/>
                  </a:lnTo>
                  <a:lnTo>
                    <a:pt x="868" y="856"/>
                  </a:lnTo>
                  <a:lnTo>
                    <a:pt x="869" y="857"/>
                  </a:lnTo>
                  <a:lnTo>
                    <a:pt x="871" y="861"/>
                  </a:lnTo>
                  <a:lnTo>
                    <a:pt x="873" y="862"/>
                  </a:lnTo>
                  <a:lnTo>
                    <a:pt x="875" y="862"/>
                  </a:lnTo>
                  <a:lnTo>
                    <a:pt x="880" y="865"/>
                  </a:lnTo>
                  <a:lnTo>
                    <a:pt x="887" y="866"/>
                  </a:lnTo>
                  <a:lnTo>
                    <a:pt x="889" y="865"/>
                  </a:lnTo>
                  <a:lnTo>
                    <a:pt x="890" y="860"/>
                  </a:lnTo>
                  <a:lnTo>
                    <a:pt x="894" y="855"/>
                  </a:lnTo>
                  <a:lnTo>
                    <a:pt x="894" y="852"/>
                  </a:lnTo>
                  <a:lnTo>
                    <a:pt x="893" y="851"/>
                  </a:lnTo>
                  <a:lnTo>
                    <a:pt x="892" y="850"/>
                  </a:lnTo>
                  <a:lnTo>
                    <a:pt x="891" y="849"/>
                  </a:lnTo>
                  <a:lnTo>
                    <a:pt x="892" y="848"/>
                  </a:lnTo>
                  <a:lnTo>
                    <a:pt x="888" y="847"/>
                  </a:lnTo>
                  <a:lnTo>
                    <a:pt x="883" y="844"/>
                  </a:lnTo>
                  <a:lnTo>
                    <a:pt x="879" y="843"/>
                  </a:lnTo>
                  <a:lnTo>
                    <a:pt x="877" y="847"/>
                  </a:lnTo>
                  <a:lnTo>
                    <a:pt x="875" y="844"/>
                  </a:lnTo>
                  <a:lnTo>
                    <a:pt x="873" y="842"/>
                  </a:lnTo>
                  <a:lnTo>
                    <a:pt x="869" y="842"/>
                  </a:lnTo>
                  <a:lnTo>
                    <a:pt x="867" y="844"/>
                  </a:lnTo>
                  <a:lnTo>
                    <a:pt x="866" y="842"/>
                  </a:lnTo>
                  <a:lnTo>
                    <a:pt x="865" y="842"/>
                  </a:lnTo>
                  <a:lnTo>
                    <a:pt x="864" y="841"/>
                  </a:lnTo>
                  <a:lnTo>
                    <a:pt x="863" y="841"/>
                  </a:lnTo>
                  <a:lnTo>
                    <a:pt x="863" y="840"/>
                  </a:lnTo>
                  <a:lnTo>
                    <a:pt x="864" y="840"/>
                  </a:lnTo>
                  <a:lnTo>
                    <a:pt x="864" y="838"/>
                  </a:lnTo>
                  <a:lnTo>
                    <a:pt x="862" y="837"/>
                  </a:lnTo>
                  <a:lnTo>
                    <a:pt x="861" y="837"/>
                  </a:lnTo>
                  <a:lnTo>
                    <a:pt x="853" y="836"/>
                  </a:lnTo>
                  <a:lnTo>
                    <a:pt x="850" y="837"/>
                  </a:lnTo>
                  <a:lnTo>
                    <a:pt x="850" y="839"/>
                  </a:lnTo>
                  <a:lnTo>
                    <a:pt x="850" y="841"/>
                  </a:lnTo>
                  <a:lnTo>
                    <a:pt x="852" y="843"/>
                  </a:lnTo>
                  <a:close/>
                  <a:moveTo>
                    <a:pt x="738" y="866"/>
                  </a:moveTo>
                  <a:lnTo>
                    <a:pt x="741" y="867"/>
                  </a:lnTo>
                  <a:lnTo>
                    <a:pt x="744" y="865"/>
                  </a:lnTo>
                  <a:lnTo>
                    <a:pt x="748" y="859"/>
                  </a:lnTo>
                  <a:lnTo>
                    <a:pt x="753" y="854"/>
                  </a:lnTo>
                  <a:lnTo>
                    <a:pt x="757" y="848"/>
                  </a:lnTo>
                  <a:lnTo>
                    <a:pt x="758" y="842"/>
                  </a:lnTo>
                  <a:lnTo>
                    <a:pt x="754" y="835"/>
                  </a:lnTo>
                  <a:lnTo>
                    <a:pt x="753" y="836"/>
                  </a:lnTo>
                  <a:lnTo>
                    <a:pt x="752" y="835"/>
                  </a:lnTo>
                  <a:lnTo>
                    <a:pt x="751" y="836"/>
                  </a:lnTo>
                  <a:lnTo>
                    <a:pt x="751" y="837"/>
                  </a:lnTo>
                  <a:lnTo>
                    <a:pt x="751" y="837"/>
                  </a:lnTo>
                  <a:lnTo>
                    <a:pt x="749" y="836"/>
                  </a:lnTo>
                  <a:lnTo>
                    <a:pt x="748" y="835"/>
                  </a:lnTo>
                  <a:lnTo>
                    <a:pt x="747" y="836"/>
                  </a:lnTo>
                  <a:lnTo>
                    <a:pt x="745" y="837"/>
                  </a:lnTo>
                  <a:lnTo>
                    <a:pt x="745" y="838"/>
                  </a:lnTo>
                  <a:lnTo>
                    <a:pt x="746" y="838"/>
                  </a:lnTo>
                  <a:lnTo>
                    <a:pt x="747" y="838"/>
                  </a:lnTo>
                  <a:lnTo>
                    <a:pt x="746" y="840"/>
                  </a:lnTo>
                  <a:lnTo>
                    <a:pt x="745" y="841"/>
                  </a:lnTo>
                  <a:lnTo>
                    <a:pt x="743" y="841"/>
                  </a:lnTo>
                  <a:lnTo>
                    <a:pt x="740" y="844"/>
                  </a:lnTo>
                  <a:lnTo>
                    <a:pt x="738" y="848"/>
                  </a:lnTo>
                  <a:lnTo>
                    <a:pt x="738" y="852"/>
                  </a:lnTo>
                  <a:lnTo>
                    <a:pt x="739" y="853"/>
                  </a:lnTo>
                  <a:lnTo>
                    <a:pt x="738" y="863"/>
                  </a:lnTo>
                  <a:lnTo>
                    <a:pt x="738" y="866"/>
                  </a:lnTo>
                  <a:close/>
                  <a:moveTo>
                    <a:pt x="1027" y="864"/>
                  </a:moveTo>
                  <a:lnTo>
                    <a:pt x="1029" y="863"/>
                  </a:lnTo>
                  <a:lnTo>
                    <a:pt x="1032" y="862"/>
                  </a:lnTo>
                  <a:lnTo>
                    <a:pt x="1046" y="860"/>
                  </a:lnTo>
                  <a:lnTo>
                    <a:pt x="1048" y="858"/>
                  </a:lnTo>
                  <a:lnTo>
                    <a:pt x="1062" y="846"/>
                  </a:lnTo>
                  <a:lnTo>
                    <a:pt x="1066" y="841"/>
                  </a:lnTo>
                  <a:lnTo>
                    <a:pt x="1069" y="835"/>
                  </a:lnTo>
                  <a:lnTo>
                    <a:pt x="1061" y="836"/>
                  </a:lnTo>
                  <a:lnTo>
                    <a:pt x="1056" y="837"/>
                  </a:lnTo>
                  <a:lnTo>
                    <a:pt x="1052" y="842"/>
                  </a:lnTo>
                  <a:lnTo>
                    <a:pt x="1048" y="845"/>
                  </a:lnTo>
                  <a:lnTo>
                    <a:pt x="1043" y="846"/>
                  </a:lnTo>
                  <a:lnTo>
                    <a:pt x="1040" y="845"/>
                  </a:lnTo>
                  <a:lnTo>
                    <a:pt x="1036" y="846"/>
                  </a:lnTo>
                  <a:lnTo>
                    <a:pt x="1027" y="845"/>
                  </a:lnTo>
                  <a:lnTo>
                    <a:pt x="1024" y="845"/>
                  </a:lnTo>
                  <a:lnTo>
                    <a:pt x="1021" y="847"/>
                  </a:lnTo>
                  <a:lnTo>
                    <a:pt x="1018" y="849"/>
                  </a:lnTo>
                  <a:lnTo>
                    <a:pt x="1016" y="852"/>
                  </a:lnTo>
                  <a:lnTo>
                    <a:pt x="1015" y="855"/>
                  </a:lnTo>
                  <a:lnTo>
                    <a:pt x="1014" y="858"/>
                  </a:lnTo>
                  <a:lnTo>
                    <a:pt x="1009" y="863"/>
                  </a:lnTo>
                  <a:lnTo>
                    <a:pt x="1007" y="866"/>
                  </a:lnTo>
                  <a:lnTo>
                    <a:pt x="1008" y="869"/>
                  </a:lnTo>
                  <a:lnTo>
                    <a:pt x="1010" y="870"/>
                  </a:lnTo>
                  <a:lnTo>
                    <a:pt x="1016" y="868"/>
                  </a:lnTo>
                  <a:lnTo>
                    <a:pt x="1019" y="868"/>
                  </a:lnTo>
                  <a:lnTo>
                    <a:pt x="1020" y="869"/>
                  </a:lnTo>
                  <a:lnTo>
                    <a:pt x="1021" y="869"/>
                  </a:lnTo>
                  <a:lnTo>
                    <a:pt x="1022" y="868"/>
                  </a:lnTo>
                  <a:lnTo>
                    <a:pt x="1024" y="867"/>
                  </a:lnTo>
                  <a:lnTo>
                    <a:pt x="1027" y="864"/>
                  </a:lnTo>
                  <a:close/>
                  <a:moveTo>
                    <a:pt x="625" y="819"/>
                  </a:moveTo>
                  <a:lnTo>
                    <a:pt x="622" y="818"/>
                  </a:lnTo>
                  <a:lnTo>
                    <a:pt x="603" y="819"/>
                  </a:lnTo>
                  <a:lnTo>
                    <a:pt x="603" y="820"/>
                  </a:lnTo>
                  <a:lnTo>
                    <a:pt x="603" y="823"/>
                  </a:lnTo>
                  <a:lnTo>
                    <a:pt x="605" y="826"/>
                  </a:lnTo>
                  <a:lnTo>
                    <a:pt x="606" y="827"/>
                  </a:lnTo>
                  <a:lnTo>
                    <a:pt x="608" y="828"/>
                  </a:lnTo>
                  <a:lnTo>
                    <a:pt x="610" y="830"/>
                  </a:lnTo>
                  <a:lnTo>
                    <a:pt x="610" y="832"/>
                  </a:lnTo>
                  <a:lnTo>
                    <a:pt x="608" y="833"/>
                  </a:lnTo>
                  <a:lnTo>
                    <a:pt x="608" y="834"/>
                  </a:lnTo>
                  <a:lnTo>
                    <a:pt x="610" y="835"/>
                  </a:lnTo>
                  <a:lnTo>
                    <a:pt x="611" y="836"/>
                  </a:lnTo>
                  <a:lnTo>
                    <a:pt x="612" y="837"/>
                  </a:lnTo>
                  <a:lnTo>
                    <a:pt x="614" y="836"/>
                  </a:lnTo>
                  <a:lnTo>
                    <a:pt x="618" y="835"/>
                  </a:lnTo>
                  <a:lnTo>
                    <a:pt x="619" y="834"/>
                  </a:lnTo>
                  <a:lnTo>
                    <a:pt x="619" y="832"/>
                  </a:lnTo>
                  <a:lnTo>
                    <a:pt x="619" y="830"/>
                  </a:lnTo>
                  <a:lnTo>
                    <a:pt x="620" y="828"/>
                  </a:lnTo>
                  <a:lnTo>
                    <a:pt x="622" y="826"/>
                  </a:lnTo>
                  <a:lnTo>
                    <a:pt x="622" y="824"/>
                  </a:lnTo>
                  <a:lnTo>
                    <a:pt x="624" y="821"/>
                  </a:lnTo>
                  <a:lnTo>
                    <a:pt x="625" y="819"/>
                  </a:lnTo>
                  <a:close/>
                  <a:moveTo>
                    <a:pt x="1136" y="840"/>
                  </a:moveTo>
                  <a:lnTo>
                    <a:pt x="1136" y="842"/>
                  </a:lnTo>
                  <a:lnTo>
                    <a:pt x="1137" y="843"/>
                  </a:lnTo>
                  <a:lnTo>
                    <a:pt x="1138" y="844"/>
                  </a:lnTo>
                  <a:lnTo>
                    <a:pt x="1148" y="844"/>
                  </a:lnTo>
                  <a:lnTo>
                    <a:pt x="1150" y="844"/>
                  </a:lnTo>
                  <a:lnTo>
                    <a:pt x="1151" y="843"/>
                  </a:lnTo>
                  <a:lnTo>
                    <a:pt x="1152" y="842"/>
                  </a:lnTo>
                  <a:lnTo>
                    <a:pt x="1152" y="841"/>
                  </a:lnTo>
                  <a:lnTo>
                    <a:pt x="1153" y="840"/>
                  </a:lnTo>
                  <a:lnTo>
                    <a:pt x="1155" y="838"/>
                  </a:lnTo>
                  <a:lnTo>
                    <a:pt x="1156" y="837"/>
                  </a:lnTo>
                  <a:lnTo>
                    <a:pt x="1171" y="831"/>
                  </a:lnTo>
                  <a:lnTo>
                    <a:pt x="1176" y="830"/>
                  </a:lnTo>
                  <a:lnTo>
                    <a:pt x="1180" y="831"/>
                  </a:lnTo>
                  <a:lnTo>
                    <a:pt x="1181" y="829"/>
                  </a:lnTo>
                  <a:lnTo>
                    <a:pt x="1181" y="827"/>
                  </a:lnTo>
                  <a:lnTo>
                    <a:pt x="1180" y="826"/>
                  </a:lnTo>
                  <a:lnTo>
                    <a:pt x="1178" y="827"/>
                  </a:lnTo>
                  <a:lnTo>
                    <a:pt x="1177" y="825"/>
                  </a:lnTo>
                  <a:lnTo>
                    <a:pt x="1176" y="823"/>
                  </a:lnTo>
                  <a:lnTo>
                    <a:pt x="1176" y="822"/>
                  </a:lnTo>
                  <a:lnTo>
                    <a:pt x="1176" y="820"/>
                  </a:lnTo>
                  <a:lnTo>
                    <a:pt x="1176" y="820"/>
                  </a:lnTo>
                  <a:lnTo>
                    <a:pt x="1181" y="818"/>
                  </a:lnTo>
                  <a:lnTo>
                    <a:pt x="1174" y="817"/>
                  </a:lnTo>
                  <a:lnTo>
                    <a:pt x="1169" y="816"/>
                  </a:lnTo>
                  <a:lnTo>
                    <a:pt x="1169" y="813"/>
                  </a:lnTo>
                  <a:lnTo>
                    <a:pt x="1168" y="815"/>
                  </a:lnTo>
                  <a:lnTo>
                    <a:pt x="1166" y="816"/>
                  </a:lnTo>
                  <a:lnTo>
                    <a:pt x="1164" y="816"/>
                  </a:lnTo>
                  <a:lnTo>
                    <a:pt x="1162" y="815"/>
                  </a:lnTo>
                  <a:lnTo>
                    <a:pt x="1163" y="818"/>
                  </a:lnTo>
                  <a:lnTo>
                    <a:pt x="1165" y="819"/>
                  </a:lnTo>
                  <a:lnTo>
                    <a:pt x="1166" y="821"/>
                  </a:lnTo>
                  <a:lnTo>
                    <a:pt x="1165" y="823"/>
                  </a:lnTo>
                  <a:lnTo>
                    <a:pt x="1163" y="821"/>
                  </a:lnTo>
                  <a:lnTo>
                    <a:pt x="1157" y="817"/>
                  </a:lnTo>
                  <a:lnTo>
                    <a:pt x="1152" y="816"/>
                  </a:lnTo>
                  <a:lnTo>
                    <a:pt x="1147" y="812"/>
                  </a:lnTo>
                  <a:lnTo>
                    <a:pt x="1145" y="811"/>
                  </a:lnTo>
                  <a:lnTo>
                    <a:pt x="1140" y="810"/>
                  </a:lnTo>
                  <a:lnTo>
                    <a:pt x="1134" y="810"/>
                  </a:lnTo>
                  <a:lnTo>
                    <a:pt x="1116" y="814"/>
                  </a:lnTo>
                  <a:lnTo>
                    <a:pt x="1115" y="816"/>
                  </a:lnTo>
                  <a:lnTo>
                    <a:pt x="1114" y="818"/>
                  </a:lnTo>
                  <a:lnTo>
                    <a:pt x="1112" y="819"/>
                  </a:lnTo>
                  <a:lnTo>
                    <a:pt x="1109" y="820"/>
                  </a:lnTo>
                  <a:lnTo>
                    <a:pt x="1106" y="820"/>
                  </a:lnTo>
                  <a:lnTo>
                    <a:pt x="1104" y="822"/>
                  </a:lnTo>
                  <a:lnTo>
                    <a:pt x="1104" y="824"/>
                  </a:lnTo>
                  <a:lnTo>
                    <a:pt x="1104" y="829"/>
                  </a:lnTo>
                  <a:lnTo>
                    <a:pt x="1104" y="832"/>
                  </a:lnTo>
                  <a:lnTo>
                    <a:pt x="1105" y="835"/>
                  </a:lnTo>
                  <a:lnTo>
                    <a:pt x="1107" y="837"/>
                  </a:lnTo>
                  <a:lnTo>
                    <a:pt x="1108" y="835"/>
                  </a:lnTo>
                  <a:lnTo>
                    <a:pt x="1109" y="835"/>
                  </a:lnTo>
                  <a:lnTo>
                    <a:pt x="1109" y="837"/>
                  </a:lnTo>
                  <a:lnTo>
                    <a:pt x="1111" y="837"/>
                  </a:lnTo>
                  <a:lnTo>
                    <a:pt x="1111" y="835"/>
                  </a:lnTo>
                  <a:lnTo>
                    <a:pt x="1113" y="833"/>
                  </a:lnTo>
                  <a:lnTo>
                    <a:pt x="1116" y="832"/>
                  </a:lnTo>
                  <a:lnTo>
                    <a:pt x="1120" y="831"/>
                  </a:lnTo>
                  <a:lnTo>
                    <a:pt x="1123" y="830"/>
                  </a:lnTo>
                  <a:lnTo>
                    <a:pt x="1124" y="830"/>
                  </a:lnTo>
                  <a:lnTo>
                    <a:pt x="1125" y="830"/>
                  </a:lnTo>
                  <a:lnTo>
                    <a:pt x="1127" y="832"/>
                  </a:lnTo>
                  <a:lnTo>
                    <a:pt x="1131" y="833"/>
                  </a:lnTo>
                  <a:lnTo>
                    <a:pt x="1132" y="835"/>
                  </a:lnTo>
                  <a:lnTo>
                    <a:pt x="1135" y="839"/>
                  </a:lnTo>
                  <a:lnTo>
                    <a:pt x="1136" y="840"/>
                  </a:lnTo>
                  <a:close/>
                  <a:moveTo>
                    <a:pt x="205" y="820"/>
                  </a:moveTo>
                  <a:lnTo>
                    <a:pt x="202" y="814"/>
                  </a:lnTo>
                  <a:lnTo>
                    <a:pt x="200" y="810"/>
                  </a:lnTo>
                  <a:lnTo>
                    <a:pt x="194" y="805"/>
                  </a:lnTo>
                  <a:lnTo>
                    <a:pt x="188" y="803"/>
                  </a:lnTo>
                  <a:lnTo>
                    <a:pt x="183" y="804"/>
                  </a:lnTo>
                  <a:lnTo>
                    <a:pt x="179" y="802"/>
                  </a:lnTo>
                  <a:lnTo>
                    <a:pt x="177" y="800"/>
                  </a:lnTo>
                  <a:lnTo>
                    <a:pt x="176" y="796"/>
                  </a:lnTo>
                  <a:lnTo>
                    <a:pt x="173" y="790"/>
                  </a:lnTo>
                  <a:lnTo>
                    <a:pt x="173" y="790"/>
                  </a:lnTo>
                  <a:lnTo>
                    <a:pt x="172" y="789"/>
                  </a:lnTo>
                  <a:lnTo>
                    <a:pt x="172" y="788"/>
                  </a:lnTo>
                  <a:lnTo>
                    <a:pt x="172" y="788"/>
                  </a:lnTo>
                  <a:lnTo>
                    <a:pt x="168" y="787"/>
                  </a:lnTo>
                  <a:lnTo>
                    <a:pt x="164" y="791"/>
                  </a:lnTo>
                  <a:lnTo>
                    <a:pt x="158" y="800"/>
                  </a:lnTo>
                  <a:lnTo>
                    <a:pt x="159" y="801"/>
                  </a:lnTo>
                  <a:lnTo>
                    <a:pt x="158" y="803"/>
                  </a:lnTo>
                  <a:lnTo>
                    <a:pt x="159" y="806"/>
                  </a:lnTo>
                  <a:lnTo>
                    <a:pt x="158" y="808"/>
                  </a:lnTo>
                  <a:lnTo>
                    <a:pt x="161" y="810"/>
                  </a:lnTo>
                  <a:lnTo>
                    <a:pt x="167" y="819"/>
                  </a:lnTo>
                  <a:lnTo>
                    <a:pt x="171" y="822"/>
                  </a:lnTo>
                  <a:lnTo>
                    <a:pt x="171" y="825"/>
                  </a:lnTo>
                  <a:lnTo>
                    <a:pt x="175" y="829"/>
                  </a:lnTo>
                  <a:lnTo>
                    <a:pt x="183" y="835"/>
                  </a:lnTo>
                  <a:lnTo>
                    <a:pt x="188" y="842"/>
                  </a:lnTo>
                  <a:lnTo>
                    <a:pt x="189" y="842"/>
                  </a:lnTo>
                  <a:lnTo>
                    <a:pt x="192" y="842"/>
                  </a:lnTo>
                  <a:lnTo>
                    <a:pt x="194" y="842"/>
                  </a:lnTo>
                  <a:lnTo>
                    <a:pt x="194" y="841"/>
                  </a:lnTo>
                  <a:lnTo>
                    <a:pt x="195" y="838"/>
                  </a:lnTo>
                  <a:lnTo>
                    <a:pt x="194" y="837"/>
                  </a:lnTo>
                  <a:lnTo>
                    <a:pt x="193" y="835"/>
                  </a:lnTo>
                  <a:lnTo>
                    <a:pt x="193" y="832"/>
                  </a:lnTo>
                  <a:lnTo>
                    <a:pt x="195" y="831"/>
                  </a:lnTo>
                  <a:lnTo>
                    <a:pt x="196" y="831"/>
                  </a:lnTo>
                  <a:lnTo>
                    <a:pt x="197" y="829"/>
                  </a:lnTo>
                  <a:lnTo>
                    <a:pt x="199" y="827"/>
                  </a:lnTo>
                  <a:lnTo>
                    <a:pt x="201" y="826"/>
                  </a:lnTo>
                  <a:lnTo>
                    <a:pt x="205" y="826"/>
                  </a:lnTo>
                  <a:lnTo>
                    <a:pt x="211" y="828"/>
                  </a:lnTo>
                  <a:lnTo>
                    <a:pt x="215" y="830"/>
                  </a:lnTo>
                  <a:lnTo>
                    <a:pt x="218" y="833"/>
                  </a:lnTo>
                  <a:lnTo>
                    <a:pt x="216" y="827"/>
                  </a:lnTo>
                  <a:lnTo>
                    <a:pt x="205" y="820"/>
                  </a:lnTo>
                  <a:close/>
                  <a:moveTo>
                    <a:pt x="851" y="826"/>
                  </a:moveTo>
                  <a:lnTo>
                    <a:pt x="852" y="822"/>
                  </a:lnTo>
                  <a:lnTo>
                    <a:pt x="852" y="819"/>
                  </a:lnTo>
                  <a:lnTo>
                    <a:pt x="850" y="818"/>
                  </a:lnTo>
                  <a:lnTo>
                    <a:pt x="847" y="819"/>
                  </a:lnTo>
                  <a:lnTo>
                    <a:pt x="846" y="818"/>
                  </a:lnTo>
                  <a:lnTo>
                    <a:pt x="846" y="817"/>
                  </a:lnTo>
                  <a:lnTo>
                    <a:pt x="848" y="815"/>
                  </a:lnTo>
                  <a:lnTo>
                    <a:pt x="849" y="813"/>
                  </a:lnTo>
                  <a:lnTo>
                    <a:pt x="848" y="811"/>
                  </a:lnTo>
                  <a:lnTo>
                    <a:pt x="849" y="811"/>
                  </a:lnTo>
                  <a:lnTo>
                    <a:pt x="849" y="810"/>
                  </a:lnTo>
                  <a:lnTo>
                    <a:pt x="850" y="809"/>
                  </a:lnTo>
                  <a:lnTo>
                    <a:pt x="844" y="804"/>
                  </a:lnTo>
                  <a:lnTo>
                    <a:pt x="846" y="798"/>
                  </a:lnTo>
                  <a:lnTo>
                    <a:pt x="847" y="793"/>
                  </a:lnTo>
                  <a:lnTo>
                    <a:pt x="846" y="792"/>
                  </a:lnTo>
                  <a:lnTo>
                    <a:pt x="833" y="792"/>
                  </a:lnTo>
                  <a:lnTo>
                    <a:pt x="829" y="790"/>
                  </a:lnTo>
                  <a:lnTo>
                    <a:pt x="828" y="789"/>
                  </a:lnTo>
                  <a:lnTo>
                    <a:pt x="827" y="788"/>
                  </a:lnTo>
                  <a:lnTo>
                    <a:pt x="826" y="783"/>
                  </a:lnTo>
                  <a:lnTo>
                    <a:pt x="826" y="782"/>
                  </a:lnTo>
                  <a:lnTo>
                    <a:pt x="827" y="782"/>
                  </a:lnTo>
                  <a:lnTo>
                    <a:pt x="826" y="780"/>
                  </a:lnTo>
                  <a:lnTo>
                    <a:pt x="824" y="779"/>
                  </a:lnTo>
                  <a:lnTo>
                    <a:pt x="823" y="778"/>
                  </a:lnTo>
                  <a:lnTo>
                    <a:pt x="821" y="778"/>
                  </a:lnTo>
                  <a:lnTo>
                    <a:pt x="820" y="777"/>
                  </a:lnTo>
                  <a:lnTo>
                    <a:pt x="820" y="776"/>
                  </a:lnTo>
                  <a:lnTo>
                    <a:pt x="820" y="774"/>
                  </a:lnTo>
                  <a:lnTo>
                    <a:pt x="818" y="773"/>
                  </a:lnTo>
                  <a:lnTo>
                    <a:pt x="815" y="773"/>
                  </a:lnTo>
                  <a:lnTo>
                    <a:pt x="806" y="778"/>
                  </a:lnTo>
                  <a:lnTo>
                    <a:pt x="804" y="779"/>
                  </a:lnTo>
                  <a:lnTo>
                    <a:pt x="804" y="781"/>
                  </a:lnTo>
                  <a:lnTo>
                    <a:pt x="804" y="783"/>
                  </a:lnTo>
                  <a:lnTo>
                    <a:pt x="805" y="785"/>
                  </a:lnTo>
                  <a:lnTo>
                    <a:pt x="805" y="786"/>
                  </a:lnTo>
                  <a:lnTo>
                    <a:pt x="803" y="786"/>
                  </a:lnTo>
                  <a:lnTo>
                    <a:pt x="805" y="788"/>
                  </a:lnTo>
                  <a:lnTo>
                    <a:pt x="807" y="791"/>
                  </a:lnTo>
                  <a:lnTo>
                    <a:pt x="808" y="793"/>
                  </a:lnTo>
                  <a:lnTo>
                    <a:pt x="807" y="796"/>
                  </a:lnTo>
                  <a:lnTo>
                    <a:pt x="808" y="797"/>
                  </a:lnTo>
                  <a:lnTo>
                    <a:pt x="809" y="796"/>
                  </a:lnTo>
                  <a:lnTo>
                    <a:pt x="810" y="794"/>
                  </a:lnTo>
                  <a:lnTo>
                    <a:pt x="811" y="794"/>
                  </a:lnTo>
                  <a:lnTo>
                    <a:pt x="814" y="797"/>
                  </a:lnTo>
                  <a:lnTo>
                    <a:pt x="817" y="800"/>
                  </a:lnTo>
                  <a:lnTo>
                    <a:pt x="820" y="804"/>
                  </a:lnTo>
                  <a:lnTo>
                    <a:pt x="821" y="809"/>
                  </a:lnTo>
                  <a:lnTo>
                    <a:pt x="824" y="808"/>
                  </a:lnTo>
                  <a:lnTo>
                    <a:pt x="826" y="809"/>
                  </a:lnTo>
                  <a:lnTo>
                    <a:pt x="828" y="814"/>
                  </a:lnTo>
                  <a:lnTo>
                    <a:pt x="830" y="816"/>
                  </a:lnTo>
                  <a:lnTo>
                    <a:pt x="832" y="818"/>
                  </a:lnTo>
                  <a:lnTo>
                    <a:pt x="833" y="819"/>
                  </a:lnTo>
                  <a:lnTo>
                    <a:pt x="836" y="819"/>
                  </a:lnTo>
                  <a:lnTo>
                    <a:pt x="837" y="820"/>
                  </a:lnTo>
                  <a:lnTo>
                    <a:pt x="839" y="829"/>
                  </a:lnTo>
                  <a:lnTo>
                    <a:pt x="841" y="831"/>
                  </a:lnTo>
                  <a:lnTo>
                    <a:pt x="845" y="833"/>
                  </a:lnTo>
                  <a:lnTo>
                    <a:pt x="846" y="835"/>
                  </a:lnTo>
                  <a:lnTo>
                    <a:pt x="847" y="835"/>
                  </a:lnTo>
                  <a:lnTo>
                    <a:pt x="847" y="832"/>
                  </a:lnTo>
                  <a:lnTo>
                    <a:pt x="846" y="831"/>
                  </a:lnTo>
                  <a:lnTo>
                    <a:pt x="848" y="829"/>
                  </a:lnTo>
                  <a:lnTo>
                    <a:pt x="851" y="826"/>
                  </a:lnTo>
                  <a:close/>
                  <a:moveTo>
                    <a:pt x="622" y="782"/>
                  </a:moveTo>
                  <a:lnTo>
                    <a:pt x="622" y="781"/>
                  </a:lnTo>
                  <a:lnTo>
                    <a:pt x="622" y="781"/>
                  </a:lnTo>
                  <a:lnTo>
                    <a:pt x="621" y="780"/>
                  </a:lnTo>
                  <a:lnTo>
                    <a:pt x="620" y="779"/>
                  </a:lnTo>
                  <a:lnTo>
                    <a:pt x="620" y="778"/>
                  </a:lnTo>
                  <a:lnTo>
                    <a:pt x="620" y="777"/>
                  </a:lnTo>
                  <a:lnTo>
                    <a:pt x="621" y="775"/>
                  </a:lnTo>
                  <a:lnTo>
                    <a:pt x="620" y="774"/>
                  </a:lnTo>
                  <a:lnTo>
                    <a:pt x="618" y="773"/>
                  </a:lnTo>
                  <a:lnTo>
                    <a:pt x="614" y="772"/>
                  </a:lnTo>
                  <a:lnTo>
                    <a:pt x="613" y="772"/>
                  </a:lnTo>
                  <a:lnTo>
                    <a:pt x="611" y="773"/>
                  </a:lnTo>
                  <a:lnTo>
                    <a:pt x="610" y="774"/>
                  </a:lnTo>
                  <a:lnTo>
                    <a:pt x="611" y="775"/>
                  </a:lnTo>
                  <a:lnTo>
                    <a:pt x="611" y="775"/>
                  </a:lnTo>
                  <a:lnTo>
                    <a:pt x="610" y="775"/>
                  </a:lnTo>
                  <a:lnTo>
                    <a:pt x="610" y="777"/>
                  </a:lnTo>
                  <a:lnTo>
                    <a:pt x="609" y="775"/>
                  </a:lnTo>
                  <a:lnTo>
                    <a:pt x="607" y="775"/>
                  </a:lnTo>
                  <a:lnTo>
                    <a:pt x="605" y="775"/>
                  </a:lnTo>
                  <a:lnTo>
                    <a:pt x="604" y="775"/>
                  </a:lnTo>
                  <a:lnTo>
                    <a:pt x="606" y="777"/>
                  </a:lnTo>
                  <a:lnTo>
                    <a:pt x="608" y="778"/>
                  </a:lnTo>
                  <a:lnTo>
                    <a:pt x="602" y="781"/>
                  </a:lnTo>
                  <a:lnTo>
                    <a:pt x="604" y="781"/>
                  </a:lnTo>
                  <a:lnTo>
                    <a:pt x="607" y="782"/>
                  </a:lnTo>
                  <a:lnTo>
                    <a:pt x="609" y="782"/>
                  </a:lnTo>
                  <a:lnTo>
                    <a:pt x="610" y="782"/>
                  </a:lnTo>
                  <a:lnTo>
                    <a:pt x="611" y="780"/>
                  </a:lnTo>
                  <a:lnTo>
                    <a:pt x="613" y="779"/>
                  </a:lnTo>
                  <a:lnTo>
                    <a:pt x="614" y="779"/>
                  </a:lnTo>
                  <a:lnTo>
                    <a:pt x="614" y="781"/>
                  </a:lnTo>
                  <a:lnTo>
                    <a:pt x="612" y="784"/>
                  </a:lnTo>
                  <a:lnTo>
                    <a:pt x="610" y="786"/>
                  </a:lnTo>
                  <a:lnTo>
                    <a:pt x="605" y="785"/>
                  </a:lnTo>
                  <a:lnTo>
                    <a:pt x="603" y="786"/>
                  </a:lnTo>
                  <a:lnTo>
                    <a:pt x="600" y="788"/>
                  </a:lnTo>
                  <a:lnTo>
                    <a:pt x="599" y="790"/>
                  </a:lnTo>
                  <a:lnTo>
                    <a:pt x="599" y="792"/>
                  </a:lnTo>
                  <a:lnTo>
                    <a:pt x="600" y="793"/>
                  </a:lnTo>
                  <a:lnTo>
                    <a:pt x="602" y="794"/>
                  </a:lnTo>
                  <a:lnTo>
                    <a:pt x="607" y="796"/>
                  </a:lnTo>
                  <a:lnTo>
                    <a:pt x="609" y="796"/>
                  </a:lnTo>
                  <a:lnTo>
                    <a:pt x="612" y="795"/>
                  </a:lnTo>
                  <a:lnTo>
                    <a:pt x="614" y="793"/>
                  </a:lnTo>
                  <a:lnTo>
                    <a:pt x="615" y="791"/>
                  </a:lnTo>
                  <a:lnTo>
                    <a:pt x="617" y="793"/>
                  </a:lnTo>
                  <a:lnTo>
                    <a:pt x="618" y="793"/>
                  </a:lnTo>
                  <a:lnTo>
                    <a:pt x="618" y="790"/>
                  </a:lnTo>
                  <a:lnTo>
                    <a:pt x="622" y="787"/>
                  </a:lnTo>
                  <a:lnTo>
                    <a:pt x="621" y="785"/>
                  </a:lnTo>
                  <a:lnTo>
                    <a:pt x="627" y="782"/>
                  </a:lnTo>
                  <a:lnTo>
                    <a:pt x="622" y="782"/>
                  </a:lnTo>
                  <a:close/>
                  <a:moveTo>
                    <a:pt x="167" y="753"/>
                  </a:moveTo>
                  <a:lnTo>
                    <a:pt x="171" y="757"/>
                  </a:lnTo>
                  <a:lnTo>
                    <a:pt x="173" y="759"/>
                  </a:lnTo>
                  <a:lnTo>
                    <a:pt x="176" y="760"/>
                  </a:lnTo>
                  <a:lnTo>
                    <a:pt x="177" y="760"/>
                  </a:lnTo>
                  <a:lnTo>
                    <a:pt x="179" y="759"/>
                  </a:lnTo>
                  <a:lnTo>
                    <a:pt x="180" y="759"/>
                  </a:lnTo>
                  <a:lnTo>
                    <a:pt x="184" y="759"/>
                  </a:lnTo>
                  <a:lnTo>
                    <a:pt x="185" y="759"/>
                  </a:lnTo>
                  <a:lnTo>
                    <a:pt x="187" y="756"/>
                  </a:lnTo>
                  <a:lnTo>
                    <a:pt x="188" y="753"/>
                  </a:lnTo>
                  <a:lnTo>
                    <a:pt x="187" y="749"/>
                  </a:lnTo>
                  <a:lnTo>
                    <a:pt x="186" y="746"/>
                  </a:lnTo>
                  <a:lnTo>
                    <a:pt x="180" y="738"/>
                  </a:lnTo>
                  <a:lnTo>
                    <a:pt x="179" y="733"/>
                  </a:lnTo>
                  <a:lnTo>
                    <a:pt x="172" y="727"/>
                  </a:lnTo>
                  <a:lnTo>
                    <a:pt x="171" y="724"/>
                  </a:lnTo>
                  <a:lnTo>
                    <a:pt x="170" y="721"/>
                  </a:lnTo>
                  <a:lnTo>
                    <a:pt x="170" y="720"/>
                  </a:lnTo>
                  <a:lnTo>
                    <a:pt x="166" y="719"/>
                  </a:lnTo>
                  <a:lnTo>
                    <a:pt x="167" y="718"/>
                  </a:lnTo>
                  <a:lnTo>
                    <a:pt x="167" y="717"/>
                  </a:lnTo>
                  <a:lnTo>
                    <a:pt x="167" y="716"/>
                  </a:lnTo>
                  <a:lnTo>
                    <a:pt x="166" y="717"/>
                  </a:lnTo>
                  <a:lnTo>
                    <a:pt x="164" y="720"/>
                  </a:lnTo>
                  <a:lnTo>
                    <a:pt x="161" y="722"/>
                  </a:lnTo>
                  <a:lnTo>
                    <a:pt x="159" y="721"/>
                  </a:lnTo>
                  <a:lnTo>
                    <a:pt x="156" y="714"/>
                  </a:lnTo>
                  <a:lnTo>
                    <a:pt x="155" y="712"/>
                  </a:lnTo>
                  <a:lnTo>
                    <a:pt x="156" y="710"/>
                  </a:lnTo>
                  <a:lnTo>
                    <a:pt x="158" y="708"/>
                  </a:lnTo>
                  <a:lnTo>
                    <a:pt x="159" y="707"/>
                  </a:lnTo>
                  <a:lnTo>
                    <a:pt x="159" y="704"/>
                  </a:lnTo>
                  <a:lnTo>
                    <a:pt x="159" y="702"/>
                  </a:lnTo>
                  <a:lnTo>
                    <a:pt x="150" y="677"/>
                  </a:lnTo>
                  <a:lnTo>
                    <a:pt x="145" y="677"/>
                  </a:lnTo>
                  <a:lnTo>
                    <a:pt x="145" y="678"/>
                  </a:lnTo>
                  <a:lnTo>
                    <a:pt x="145" y="680"/>
                  </a:lnTo>
                  <a:lnTo>
                    <a:pt x="145" y="682"/>
                  </a:lnTo>
                  <a:lnTo>
                    <a:pt x="145" y="684"/>
                  </a:lnTo>
                  <a:lnTo>
                    <a:pt x="145" y="687"/>
                  </a:lnTo>
                  <a:lnTo>
                    <a:pt x="145" y="688"/>
                  </a:lnTo>
                  <a:lnTo>
                    <a:pt x="147" y="695"/>
                  </a:lnTo>
                  <a:lnTo>
                    <a:pt x="144" y="694"/>
                  </a:lnTo>
                  <a:lnTo>
                    <a:pt x="145" y="697"/>
                  </a:lnTo>
                  <a:lnTo>
                    <a:pt x="145" y="701"/>
                  </a:lnTo>
                  <a:lnTo>
                    <a:pt x="143" y="705"/>
                  </a:lnTo>
                  <a:lnTo>
                    <a:pt x="140" y="707"/>
                  </a:lnTo>
                  <a:lnTo>
                    <a:pt x="137" y="710"/>
                  </a:lnTo>
                  <a:lnTo>
                    <a:pt x="135" y="710"/>
                  </a:lnTo>
                  <a:lnTo>
                    <a:pt x="134" y="709"/>
                  </a:lnTo>
                  <a:lnTo>
                    <a:pt x="133" y="707"/>
                  </a:lnTo>
                  <a:lnTo>
                    <a:pt x="133" y="706"/>
                  </a:lnTo>
                  <a:lnTo>
                    <a:pt x="131" y="708"/>
                  </a:lnTo>
                  <a:lnTo>
                    <a:pt x="130" y="705"/>
                  </a:lnTo>
                  <a:lnTo>
                    <a:pt x="128" y="701"/>
                  </a:lnTo>
                  <a:lnTo>
                    <a:pt x="127" y="700"/>
                  </a:lnTo>
                  <a:lnTo>
                    <a:pt x="125" y="704"/>
                  </a:lnTo>
                  <a:lnTo>
                    <a:pt x="124" y="704"/>
                  </a:lnTo>
                  <a:lnTo>
                    <a:pt x="124" y="702"/>
                  </a:lnTo>
                  <a:lnTo>
                    <a:pt x="123" y="699"/>
                  </a:lnTo>
                  <a:lnTo>
                    <a:pt x="122" y="706"/>
                  </a:lnTo>
                  <a:lnTo>
                    <a:pt x="121" y="712"/>
                  </a:lnTo>
                  <a:lnTo>
                    <a:pt x="120" y="718"/>
                  </a:lnTo>
                  <a:lnTo>
                    <a:pt x="117" y="720"/>
                  </a:lnTo>
                  <a:lnTo>
                    <a:pt x="116" y="720"/>
                  </a:lnTo>
                  <a:lnTo>
                    <a:pt x="116" y="722"/>
                  </a:lnTo>
                  <a:lnTo>
                    <a:pt x="115" y="723"/>
                  </a:lnTo>
                  <a:lnTo>
                    <a:pt x="116" y="725"/>
                  </a:lnTo>
                  <a:lnTo>
                    <a:pt x="116" y="727"/>
                  </a:lnTo>
                  <a:lnTo>
                    <a:pt x="115" y="729"/>
                  </a:lnTo>
                  <a:lnTo>
                    <a:pt x="114" y="731"/>
                  </a:lnTo>
                  <a:lnTo>
                    <a:pt x="113" y="732"/>
                  </a:lnTo>
                  <a:lnTo>
                    <a:pt x="114" y="736"/>
                  </a:lnTo>
                  <a:lnTo>
                    <a:pt x="119" y="739"/>
                  </a:lnTo>
                  <a:lnTo>
                    <a:pt x="120" y="742"/>
                  </a:lnTo>
                  <a:lnTo>
                    <a:pt x="121" y="742"/>
                  </a:lnTo>
                  <a:lnTo>
                    <a:pt x="122" y="740"/>
                  </a:lnTo>
                  <a:lnTo>
                    <a:pt x="125" y="739"/>
                  </a:lnTo>
                  <a:lnTo>
                    <a:pt x="127" y="737"/>
                  </a:lnTo>
                  <a:lnTo>
                    <a:pt x="128" y="734"/>
                  </a:lnTo>
                  <a:lnTo>
                    <a:pt x="129" y="730"/>
                  </a:lnTo>
                  <a:lnTo>
                    <a:pt x="127" y="723"/>
                  </a:lnTo>
                  <a:lnTo>
                    <a:pt x="127" y="720"/>
                  </a:lnTo>
                  <a:lnTo>
                    <a:pt x="128" y="717"/>
                  </a:lnTo>
                  <a:lnTo>
                    <a:pt x="130" y="717"/>
                  </a:lnTo>
                  <a:lnTo>
                    <a:pt x="132" y="720"/>
                  </a:lnTo>
                  <a:lnTo>
                    <a:pt x="136" y="731"/>
                  </a:lnTo>
                  <a:lnTo>
                    <a:pt x="138" y="734"/>
                  </a:lnTo>
                  <a:lnTo>
                    <a:pt x="140" y="736"/>
                  </a:lnTo>
                  <a:lnTo>
                    <a:pt x="140" y="738"/>
                  </a:lnTo>
                  <a:lnTo>
                    <a:pt x="138" y="737"/>
                  </a:lnTo>
                  <a:lnTo>
                    <a:pt x="136" y="735"/>
                  </a:lnTo>
                  <a:lnTo>
                    <a:pt x="134" y="734"/>
                  </a:lnTo>
                  <a:lnTo>
                    <a:pt x="134" y="736"/>
                  </a:lnTo>
                  <a:lnTo>
                    <a:pt x="137" y="741"/>
                  </a:lnTo>
                  <a:lnTo>
                    <a:pt x="137" y="742"/>
                  </a:lnTo>
                  <a:lnTo>
                    <a:pt x="138" y="746"/>
                  </a:lnTo>
                  <a:lnTo>
                    <a:pt x="138" y="748"/>
                  </a:lnTo>
                  <a:lnTo>
                    <a:pt x="140" y="750"/>
                  </a:lnTo>
                  <a:lnTo>
                    <a:pt x="146" y="752"/>
                  </a:lnTo>
                  <a:lnTo>
                    <a:pt x="149" y="754"/>
                  </a:lnTo>
                  <a:lnTo>
                    <a:pt x="151" y="749"/>
                  </a:lnTo>
                  <a:lnTo>
                    <a:pt x="157" y="749"/>
                  </a:lnTo>
                  <a:lnTo>
                    <a:pt x="163" y="750"/>
                  </a:lnTo>
                  <a:lnTo>
                    <a:pt x="167" y="753"/>
                  </a:lnTo>
                  <a:close/>
                  <a:moveTo>
                    <a:pt x="173" y="694"/>
                  </a:moveTo>
                  <a:lnTo>
                    <a:pt x="174" y="695"/>
                  </a:lnTo>
                  <a:lnTo>
                    <a:pt x="171" y="695"/>
                  </a:lnTo>
                  <a:lnTo>
                    <a:pt x="173" y="697"/>
                  </a:lnTo>
                  <a:lnTo>
                    <a:pt x="173" y="698"/>
                  </a:lnTo>
                  <a:lnTo>
                    <a:pt x="171" y="698"/>
                  </a:lnTo>
                  <a:lnTo>
                    <a:pt x="169" y="698"/>
                  </a:lnTo>
                  <a:lnTo>
                    <a:pt x="168" y="697"/>
                  </a:lnTo>
                  <a:lnTo>
                    <a:pt x="166" y="697"/>
                  </a:lnTo>
                  <a:lnTo>
                    <a:pt x="170" y="691"/>
                  </a:lnTo>
                  <a:lnTo>
                    <a:pt x="171" y="687"/>
                  </a:lnTo>
                  <a:lnTo>
                    <a:pt x="172" y="683"/>
                  </a:lnTo>
                  <a:lnTo>
                    <a:pt x="170" y="682"/>
                  </a:lnTo>
                  <a:lnTo>
                    <a:pt x="169" y="681"/>
                  </a:lnTo>
                  <a:lnTo>
                    <a:pt x="167" y="680"/>
                  </a:lnTo>
                  <a:lnTo>
                    <a:pt x="164" y="680"/>
                  </a:lnTo>
                  <a:lnTo>
                    <a:pt x="165" y="678"/>
                  </a:lnTo>
                  <a:lnTo>
                    <a:pt x="166" y="675"/>
                  </a:lnTo>
                  <a:lnTo>
                    <a:pt x="166" y="672"/>
                  </a:lnTo>
                  <a:lnTo>
                    <a:pt x="163" y="671"/>
                  </a:lnTo>
                  <a:lnTo>
                    <a:pt x="161" y="676"/>
                  </a:lnTo>
                  <a:lnTo>
                    <a:pt x="160" y="677"/>
                  </a:lnTo>
                  <a:lnTo>
                    <a:pt x="158" y="676"/>
                  </a:lnTo>
                  <a:lnTo>
                    <a:pt x="157" y="679"/>
                  </a:lnTo>
                  <a:lnTo>
                    <a:pt x="158" y="681"/>
                  </a:lnTo>
                  <a:lnTo>
                    <a:pt x="160" y="681"/>
                  </a:lnTo>
                  <a:lnTo>
                    <a:pt x="161" y="683"/>
                  </a:lnTo>
                  <a:lnTo>
                    <a:pt x="161" y="685"/>
                  </a:lnTo>
                  <a:lnTo>
                    <a:pt x="162" y="690"/>
                  </a:lnTo>
                  <a:lnTo>
                    <a:pt x="162" y="691"/>
                  </a:lnTo>
                  <a:lnTo>
                    <a:pt x="165" y="698"/>
                  </a:lnTo>
                  <a:lnTo>
                    <a:pt x="167" y="701"/>
                  </a:lnTo>
                  <a:lnTo>
                    <a:pt x="170" y="704"/>
                  </a:lnTo>
                  <a:lnTo>
                    <a:pt x="169" y="705"/>
                  </a:lnTo>
                  <a:lnTo>
                    <a:pt x="171" y="709"/>
                  </a:lnTo>
                  <a:lnTo>
                    <a:pt x="174" y="709"/>
                  </a:lnTo>
                  <a:lnTo>
                    <a:pt x="176" y="708"/>
                  </a:lnTo>
                  <a:lnTo>
                    <a:pt x="180" y="708"/>
                  </a:lnTo>
                  <a:lnTo>
                    <a:pt x="180" y="706"/>
                  </a:lnTo>
                  <a:lnTo>
                    <a:pt x="178" y="705"/>
                  </a:lnTo>
                  <a:lnTo>
                    <a:pt x="177" y="703"/>
                  </a:lnTo>
                  <a:lnTo>
                    <a:pt x="176" y="698"/>
                  </a:lnTo>
                  <a:lnTo>
                    <a:pt x="179" y="698"/>
                  </a:lnTo>
                  <a:lnTo>
                    <a:pt x="179" y="698"/>
                  </a:lnTo>
                  <a:lnTo>
                    <a:pt x="177" y="695"/>
                  </a:lnTo>
                  <a:lnTo>
                    <a:pt x="175" y="694"/>
                  </a:lnTo>
                  <a:lnTo>
                    <a:pt x="173" y="694"/>
                  </a:lnTo>
                  <a:close/>
                  <a:moveTo>
                    <a:pt x="201" y="662"/>
                  </a:moveTo>
                  <a:lnTo>
                    <a:pt x="203" y="662"/>
                  </a:lnTo>
                  <a:lnTo>
                    <a:pt x="204" y="659"/>
                  </a:lnTo>
                  <a:lnTo>
                    <a:pt x="205" y="656"/>
                  </a:lnTo>
                  <a:lnTo>
                    <a:pt x="209" y="651"/>
                  </a:lnTo>
                  <a:lnTo>
                    <a:pt x="207" y="651"/>
                  </a:lnTo>
                  <a:lnTo>
                    <a:pt x="201" y="661"/>
                  </a:lnTo>
                  <a:lnTo>
                    <a:pt x="201" y="662"/>
                  </a:lnTo>
                  <a:close/>
                  <a:moveTo>
                    <a:pt x="1030" y="661"/>
                  </a:moveTo>
                  <a:lnTo>
                    <a:pt x="1030" y="661"/>
                  </a:lnTo>
                  <a:lnTo>
                    <a:pt x="1029" y="662"/>
                  </a:lnTo>
                  <a:lnTo>
                    <a:pt x="1029" y="663"/>
                  </a:lnTo>
                  <a:lnTo>
                    <a:pt x="1022" y="655"/>
                  </a:lnTo>
                  <a:lnTo>
                    <a:pt x="1022" y="654"/>
                  </a:lnTo>
                  <a:lnTo>
                    <a:pt x="1014" y="651"/>
                  </a:lnTo>
                  <a:lnTo>
                    <a:pt x="1011" y="651"/>
                  </a:lnTo>
                  <a:lnTo>
                    <a:pt x="988" y="656"/>
                  </a:lnTo>
                  <a:lnTo>
                    <a:pt x="987" y="659"/>
                  </a:lnTo>
                  <a:lnTo>
                    <a:pt x="986" y="661"/>
                  </a:lnTo>
                  <a:lnTo>
                    <a:pt x="985" y="663"/>
                  </a:lnTo>
                  <a:lnTo>
                    <a:pt x="986" y="666"/>
                  </a:lnTo>
                  <a:lnTo>
                    <a:pt x="987" y="669"/>
                  </a:lnTo>
                  <a:lnTo>
                    <a:pt x="992" y="675"/>
                  </a:lnTo>
                  <a:lnTo>
                    <a:pt x="994" y="677"/>
                  </a:lnTo>
                  <a:lnTo>
                    <a:pt x="997" y="678"/>
                  </a:lnTo>
                  <a:lnTo>
                    <a:pt x="999" y="679"/>
                  </a:lnTo>
                  <a:lnTo>
                    <a:pt x="1001" y="679"/>
                  </a:lnTo>
                  <a:lnTo>
                    <a:pt x="1003" y="681"/>
                  </a:lnTo>
                  <a:lnTo>
                    <a:pt x="1004" y="684"/>
                  </a:lnTo>
                  <a:lnTo>
                    <a:pt x="1005" y="686"/>
                  </a:lnTo>
                  <a:lnTo>
                    <a:pt x="1005" y="689"/>
                  </a:lnTo>
                  <a:lnTo>
                    <a:pt x="1004" y="691"/>
                  </a:lnTo>
                  <a:lnTo>
                    <a:pt x="1005" y="692"/>
                  </a:lnTo>
                  <a:lnTo>
                    <a:pt x="1006" y="692"/>
                  </a:lnTo>
                  <a:lnTo>
                    <a:pt x="1007" y="694"/>
                  </a:lnTo>
                  <a:lnTo>
                    <a:pt x="1008" y="695"/>
                  </a:lnTo>
                  <a:lnTo>
                    <a:pt x="1009" y="695"/>
                  </a:lnTo>
                  <a:lnTo>
                    <a:pt x="1009" y="695"/>
                  </a:lnTo>
                  <a:lnTo>
                    <a:pt x="1009" y="695"/>
                  </a:lnTo>
                  <a:lnTo>
                    <a:pt x="1009" y="694"/>
                  </a:lnTo>
                  <a:lnTo>
                    <a:pt x="1010" y="696"/>
                  </a:lnTo>
                  <a:lnTo>
                    <a:pt x="1010" y="701"/>
                  </a:lnTo>
                  <a:lnTo>
                    <a:pt x="1010" y="704"/>
                  </a:lnTo>
                  <a:lnTo>
                    <a:pt x="1008" y="705"/>
                  </a:lnTo>
                  <a:lnTo>
                    <a:pt x="1007" y="707"/>
                  </a:lnTo>
                  <a:lnTo>
                    <a:pt x="1007" y="710"/>
                  </a:lnTo>
                  <a:lnTo>
                    <a:pt x="1006" y="712"/>
                  </a:lnTo>
                  <a:lnTo>
                    <a:pt x="1005" y="712"/>
                  </a:lnTo>
                  <a:lnTo>
                    <a:pt x="1001" y="712"/>
                  </a:lnTo>
                  <a:lnTo>
                    <a:pt x="999" y="714"/>
                  </a:lnTo>
                  <a:lnTo>
                    <a:pt x="999" y="715"/>
                  </a:lnTo>
                  <a:lnTo>
                    <a:pt x="995" y="715"/>
                  </a:lnTo>
                  <a:lnTo>
                    <a:pt x="994" y="716"/>
                  </a:lnTo>
                  <a:lnTo>
                    <a:pt x="992" y="717"/>
                  </a:lnTo>
                  <a:lnTo>
                    <a:pt x="991" y="720"/>
                  </a:lnTo>
                  <a:lnTo>
                    <a:pt x="991" y="723"/>
                  </a:lnTo>
                  <a:lnTo>
                    <a:pt x="991" y="725"/>
                  </a:lnTo>
                  <a:lnTo>
                    <a:pt x="994" y="723"/>
                  </a:lnTo>
                  <a:lnTo>
                    <a:pt x="994" y="724"/>
                  </a:lnTo>
                  <a:lnTo>
                    <a:pt x="994" y="727"/>
                  </a:lnTo>
                  <a:lnTo>
                    <a:pt x="994" y="728"/>
                  </a:lnTo>
                  <a:lnTo>
                    <a:pt x="995" y="728"/>
                  </a:lnTo>
                  <a:lnTo>
                    <a:pt x="997" y="727"/>
                  </a:lnTo>
                  <a:lnTo>
                    <a:pt x="997" y="727"/>
                  </a:lnTo>
                  <a:lnTo>
                    <a:pt x="998" y="730"/>
                  </a:lnTo>
                  <a:lnTo>
                    <a:pt x="1000" y="732"/>
                  </a:lnTo>
                  <a:lnTo>
                    <a:pt x="1001" y="733"/>
                  </a:lnTo>
                  <a:lnTo>
                    <a:pt x="1002" y="733"/>
                  </a:lnTo>
                  <a:lnTo>
                    <a:pt x="1003" y="734"/>
                  </a:lnTo>
                  <a:lnTo>
                    <a:pt x="1006" y="738"/>
                  </a:lnTo>
                  <a:lnTo>
                    <a:pt x="1008" y="739"/>
                  </a:lnTo>
                  <a:lnTo>
                    <a:pt x="1010" y="740"/>
                  </a:lnTo>
                  <a:lnTo>
                    <a:pt x="1013" y="741"/>
                  </a:lnTo>
                  <a:lnTo>
                    <a:pt x="1015" y="741"/>
                  </a:lnTo>
                  <a:lnTo>
                    <a:pt x="1016" y="739"/>
                  </a:lnTo>
                  <a:lnTo>
                    <a:pt x="1017" y="735"/>
                  </a:lnTo>
                  <a:lnTo>
                    <a:pt x="1018" y="732"/>
                  </a:lnTo>
                  <a:lnTo>
                    <a:pt x="1026" y="730"/>
                  </a:lnTo>
                  <a:lnTo>
                    <a:pt x="1030" y="728"/>
                  </a:lnTo>
                  <a:lnTo>
                    <a:pt x="1030" y="725"/>
                  </a:lnTo>
                  <a:lnTo>
                    <a:pt x="1028" y="720"/>
                  </a:lnTo>
                  <a:lnTo>
                    <a:pt x="1030" y="715"/>
                  </a:lnTo>
                  <a:lnTo>
                    <a:pt x="1034" y="712"/>
                  </a:lnTo>
                  <a:lnTo>
                    <a:pt x="1038" y="712"/>
                  </a:lnTo>
                  <a:lnTo>
                    <a:pt x="1035" y="704"/>
                  </a:lnTo>
                  <a:lnTo>
                    <a:pt x="1034" y="688"/>
                  </a:lnTo>
                  <a:lnTo>
                    <a:pt x="1034" y="686"/>
                  </a:lnTo>
                  <a:lnTo>
                    <a:pt x="1034" y="683"/>
                  </a:lnTo>
                  <a:lnTo>
                    <a:pt x="1036" y="680"/>
                  </a:lnTo>
                  <a:lnTo>
                    <a:pt x="1036" y="679"/>
                  </a:lnTo>
                  <a:lnTo>
                    <a:pt x="1033" y="678"/>
                  </a:lnTo>
                  <a:lnTo>
                    <a:pt x="1034" y="677"/>
                  </a:lnTo>
                  <a:lnTo>
                    <a:pt x="1033" y="677"/>
                  </a:lnTo>
                  <a:lnTo>
                    <a:pt x="1032" y="676"/>
                  </a:lnTo>
                  <a:lnTo>
                    <a:pt x="1031" y="675"/>
                  </a:lnTo>
                  <a:lnTo>
                    <a:pt x="1035" y="673"/>
                  </a:lnTo>
                  <a:lnTo>
                    <a:pt x="1035" y="670"/>
                  </a:lnTo>
                  <a:lnTo>
                    <a:pt x="1036" y="666"/>
                  </a:lnTo>
                  <a:lnTo>
                    <a:pt x="1038" y="663"/>
                  </a:lnTo>
                  <a:lnTo>
                    <a:pt x="1036" y="661"/>
                  </a:lnTo>
                  <a:lnTo>
                    <a:pt x="1035" y="659"/>
                  </a:lnTo>
                  <a:lnTo>
                    <a:pt x="1032" y="658"/>
                  </a:lnTo>
                  <a:lnTo>
                    <a:pt x="1030" y="659"/>
                  </a:lnTo>
                  <a:lnTo>
                    <a:pt x="1030" y="659"/>
                  </a:lnTo>
                  <a:lnTo>
                    <a:pt x="1031" y="659"/>
                  </a:lnTo>
                  <a:lnTo>
                    <a:pt x="1031" y="660"/>
                  </a:lnTo>
                  <a:lnTo>
                    <a:pt x="1031" y="661"/>
                  </a:lnTo>
                  <a:lnTo>
                    <a:pt x="1030" y="661"/>
                  </a:lnTo>
                  <a:close/>
                  <a:moveTo>
                    <a:pt x="949" y="664"/>
                  </a:moveTo>
                  <a:lnTo>
                    <a:pt x="951" y="656"/>
                  </a:lnTo>
                  <a:lnTo>
                    <a:pt x="951" y="656"/>
                  </a:lnTo>
                  <a:lnTo>
                    <a:pt x="952" y="656"/>
                  </a:lnTo>
                  <a:lnTo>
                    <a:pt x="952" y="656"/>
                  </a:lnTo>
                  <a:lnTo>
                    <a:pt x="952" y="655"/>
                  </a:lnTo>
                  <a:lnTo>
                    <a:pt x="947" y="651"/>
                  </a:lnTo>
                  <a:lnTo>
                    <a:pt x="947" y="649"/>
                  </a:lnTo>
                  <a:lnTo>
                    <a:pt x="945" y="649"/>
                  </a:lnTo>
                  <a:lnTo>
                    <a:pt x="945" y="651"/>
                  </a:lnTo>
                  <a:lnTo>
                    <a:pt x="944" y="651"/>
                  </a:lnTo>
                  <a:lnTo>
                    <a:pt x="943" y="650"/>
                  </a:lnTo>
                  <a:lnTo>
                    <a:pt x="942" y="650"/>
                  </a:lnTo>
                  <a:lnTo>
                    <a:pt x="941" y="651"/>
                  </a:lnTo>
                  <a:lnTo>
                    <a:pt x="940" y="652"/>
                  </a:lnTo>
                  <a:lnTo>
                    <a:pt x="939" y="652"/>
                  </a:lnTo>
                  <a:lnTo>
                    <a:pt x="938" y="651"/>
                  </a:lnTo>
                  <a:lnTo>
                    <a:pt x="937" y="650"/>
                  </a:lnTo>
                  <a:lnTo>
                    <a:pt x="937" y="651"/>
                  </a:lnTo>
                  <a:lnTo>
                    <a:pt x="936" y="652"/>
                  </a:lnTo>
                  <a:lnTo>
                    <a:pt x="937" y="653"/>
                  </a:lnTo>
                  <a:lnTo>
                    <a:pt x="939" y="655"/>
                  </a:lnTo>
                  <a:lnTo>
                    <a:pt x="939" y="656"/>
                  </a:lnTo>
                  <a:lnTo>
                    <a:pt x="941" y="658"/>
                  </a:lnTo>
                  <a:lnTo>
                    <a:pt x="942" y="659"/>
                  </a:lnTo>
                  <a:lnTo>
                    <a:pt x="942" y="661"/>
                  </a:lnTo>
                  <a:lnTo>
                    <a:pt x="942" y="661"/>
                  </a:lnTo>
                  <a:lnTo>
                    <a:pt x="942" y="663"/>
                  </a:lnTo>
                  <a:lnTo>
                    <a:pt x="942" y="665"/>
                  </a:lnTo>
                  <a:lnTo>
                    <a:pt x="944" y="664"/>
                  </a:lnTo>
                  <a:lnTo>
                    <a:pt x="945" y="664"/>
                  </a:lnTo>
                  <a:lnTo>
                    <a:pt x="947" y="664"/>
                  </a:lnTo>
                  <a:lnTo>
                    <a:pt x="949" y="665"/>
                  </a:lnTo>
                  <a:lnTo>
                    <a:pt x="949" y="664"/>
                  </a:lnTo>
                  <a:close/>
                  <a:moveTo>
                    <a:pt x="210" y="644"/>
                  </a:moveTo>
                  <a:lnTo>
                    <a:pt x="210" y="642"/>
                  </a:lnTo>
                  <a:lnTo>
                    <a:pt x="209" y="641"/>
                  </a:lnTo>
                  <a:lnTo>
                    <a:pt x="205" y="642"/>
                  </a:lnTo>
                  <a:lnTo>
                    <a:pt x="203" y="643"/>
                  </a:lnTo>
                  <a:lnTo>
                    <a:pt x="200" y="646"/>
                  </a:lnTo>
                  <a:lnTo>
                    <a:pt x="197" y="651"/>
                  </a:lnTo>
                  <a:lnTo>
                    <a:pt x="197" y="653"/>
                  </a:lnTo>
                  <a:lnTo>
                    <a:pt x="198" y="655"/>
                  </a:lnTo>
                  <a:lnTo>
                    <a:pt x="199" y="655"/>
                  </a:lnTo>
                  <a:lnTo>
                    <a:pt x="200" y="652"/>
                  </a:lnTo>
                  <a:lnTo>
                    <a:pt x="202" y="651"/>
                  </a:lnTo>
                  <a:lnTo>
                    <a:pt x="203" y="650"/>
                  </a:lnTo>
                  <a:lnTo>
                    <a:pt x="204" y="649"/>
                  </a:lnTo>
                  <a:lnTo>
                    <a:pt x="207" y="648"/>
                  </a:lnTo>
                  <a:lnTo>
                    <a:pt x="209" y="646"/>
                  </a:lnTo>
                  <a:lnTo>
                    <a:pt x="210" y="644"/>
                  </a:lnTo>
                  <a:close/>
                  <a:moveTo>
                    <a:pt x="186" y="637"/>
                  </a:moveTo>
                  <a:lnTo>
                    <a:pt x="185" y="638"/>
                  </a:lnTo>
                  <a:lnTo>
                    <a:pt x="184" y="637"/>
                  </a:lnTo>
                  <a:lnTo>
                    <a:pt x="184" y="637"/>
                  </a:lnTo>
                  <a:lnTo>
                    <a:pt x="180" y="638"/>
                  </a:lnTo>
                  <a:lnTo>
                    <a:pt x="178" y="639"/>
                  </a:lnTo>
                  <a:lnTo>
                    <a:pt x="176" y="641"/>
                  </a:lnTo>
                  <a:lnTo>
                    <a:pt x="179" y="647"/>
                  </a:lnTo>
                  <a:lnTo>
                    <a:pt x="184" y="652"/>
                  </a:lnTo>
                  <a:lnTo>
                    <a:pt x="186" y="653"/>
                  </a:lnTo>
                  <a:lnTo>
                    <a:pt x="185" y="651"/>
                  </a:lnTo>
                  <a:lnTo>
                    <a:pt x="184" y="650"/>
                  </a:lnTo>
                  <a:lnTo>
                    <a:pt x="183" y="649"/>
                  </a:lnTo>
                  <a:lnTo>
                    <a:pt x="182" y="648"/>
                  </a:lnTo>
                  <a:lnTo>
                    <a:pt x="180" y="646"/>
                  </a:lnTo>
                  <a:lnTo>
                    <a:pt x="180" y="644"/>
                  </a:lnTo>
                  <a:lnTo>
                    <a:pt x="184" y="643"/>
                  </a:lnTo>
                  <a:lnTo>
                    <a:pt x="186" y="642"/>
                  </a:lnTo>
                  <a:lnTo>
                    <a:pt x="187" y="640"/>
                  </a:lnTo>
                  <a:lnTo>
                    <a:pt x="187" y="639"/>
                  </a:lnTo>
                  <a:lnTo>
                    <a:pt x="187" y="638"/>
                  </a:lnTo>
                  <a:lnTo>
                    <a:pt x="186" y="638"/>
                  </a:lnTo>
                  <a:lnTo>
                    <a:pt x="186" y="638"/>
                  </a:lnTo>
                  <a:lnTo>
                    <a:pt x="186" y="638"/>
                  </a:lnTo>
                  <a:lnTo>
                    <a:pt x="186" y="637"/>
                  </a:lnTo>
                  <a:close/>
                  <a:moveTo>
                    <a:pt x="174" y="612"/>
                  </a:moveTo>
                  <a:lnTo>
                    <a:pt x="174" y="610"/>
                  </a:lnTo>
                  <a:lnTo>
                    <a:pt x="173" y="607"/>
                  </a:lnTo>
                  <a:lnTo>
                    <a:pt x="171" y="604"/>
                  </a:lnTo>
                  <a:lnTo>
                    <a:pt x="169" y="603"/>
                  </a:lnTo>
                  <a:lnTo>
                    <a:pt x="169" y="602"/>
                  </a:lnTo>
                  <a:lnTo>
                    <a:pt x="168" y="601"/>
                  </a:lnTo>
                  <a:lnTo>
                    <a:pt x="165" y="603"/>
                  </a:lnTo>
                  <a:lnTo>
                    <a:pt x="162" y="606"/>
                  </a:lnTo>
                  <a:lnTo>
                    <a:pt x="160" y="608"/>
                  </a:lnTo>
                  <a:lnTo>
                    <a:pt x="158" y="612"/>
                  </a:lnTo>
                  <a:lnTo>
                    <a:pt x="156" y="614"/>
                  </a:lnTo>
                  <a:lnTo>
                    <a:pt x="155" y="615"/>
                  </a:lnTo>
                  <a:lnTo>
                    <a:pt x="152" y="622"/>
                  </a:lnTo>
                  <a:lnTo>
                    <a:pt x="151" y="627"/>
                  </a:lnTo>
                  <a:lnTo>
                    <a:pt x="149" y="633"/>
                  </a:lnTo>
                  <a:lnTo>
                    <a:pt x="146" y="653"/>
                  </a:lnTo>
                  <a:lnTo>
                    <a:pt x="146" y="658"/>
                  </a:lnTo>
                  <a:lnTo>
                    <a:pt x="147" y="658"/>
                  </a:lnTo>
                  <a:lnTo>
                    <a:pt x="149" y="653"/>
                  </a:lnTo>
                  <a:lnTo>
                    <a:pt x="151" y="650"/>
                  </a:lnTo>
                  <a:lnTo>
                    <a:pt x="152" y="648"/>
                  </a:lnTo>
                  <a:lnTo>
                    <a:pt x="155" y="646"/>
                  </a:lnTo>
                  <a:lnTo>
                    <a:pt x="157" y="650"/>
                  </a:lnTo>
                  <a:lnTo>
                    <a:pt x="160" y="651"/>
                  </a:lnTo>
                  <a:lnTo>
                    <a:pt x="159" y="653"/>
                  </a:lnTo>
                  <a:lnTo>
                    <a:pt x="160" y="654"/>
                  </a:lnTo>
                  <a:lnTo>
                    <a:pt x="160" y="655"/>
                  </a:lnTo>
                  <a:lnTo>
                    <a:pt x="162" y="655"/>
                  </a:lnTo>
                  <a:lnTo>
                    <a:pt x="162" y="654"/>
                  </a:lnTo>
                  <a:lnTo>
                    <a:pt x="161" y="652"/>
                  </a:lnTo>
                  <a:lnTo>
                    <a:pt x="162" y="650"/>
                  </a:lnTo>
                  <a:lnTo>
                    <a:pt x="165" y="650"/>
                  </a:lnTo>
                  <a:lnTo>
                    <a:pt x="167" y="651"/>
                  </a:lnTo>
                  <a:lnTo>
                    <a:pt x="168" y="650"/>
                  </a:lnTo>
                  <a:lnTo>
                    <a:pt x="168" y="649"/>
                  </a:lnTo>
                  <a:lnTo>
                    <a:pt x="168" y="648"/>
                  </a:lnTo>
                  <a:lnTo>
                    <a:pt x="169" y="647"/>
                  </a:lnTo>
                  <a:lnTo>
                    <a:pt x="170" y="648"/>
                  </a:lnTo>
                  <a:lnTo>
                    <a:pt x="171" y="648"/>
                  </a:lnTo>
                  <a:lnTo>
                    <a:pt x="170" y="645"/>
                  </a:lnTo>
                  <a:lnTo>
                    <a:pt x="170" y="644"/>
                  </a:lnTo>
                  <a:lnTo>
                    <a:pt x="171" y="644"/>
                  </a:lnTo>
                  <a:lnTo>
                    <a:pt x="172" y="647"/>
                  </a:lnTo>
                  <a:lnTo>
                    <a:pt x="173" y="646"/>
                  </a:lnTo>
                  <a:lnTo>
                    <a:pt x="174" y="644"/>
                  </a:lnTo>
                  <a:lnTo>
                    <a:pt x="174" y="633"/>
                  </a:lnTo>
                  <a:lnTo>
                    <a:pt x="174" y="630"/>
                  </a:lnTo>
                  <a:lnTo>
                    <a:pt x="173" y="632"/>
                  </a:lnTo>
                  <a:lnTo>
                    <a:pt x="172" y="634"/>
                  </a:lnTo>
                  <a:lnTo>
                    <a:pt x="171" y="636"/>
                  </a:lnTo>
                  <a:lnTo>
                    <a:pt x="170" y="635"/>
                  </a:lnTo>
                  <a:lnTo>
                    <a:pt x="170" y="634"/>
                  </a:lnTo>
                  <a:lnTo>
                    <a:pt x="171" y="632"/>
                  </a:lnTo>
                  <a:lnTo>
                    <a:pt x="175" y="627"/>
                  </a:lnTo>
                  <a:lnTo>
                    <a:pt x="175" y="625"/>
                  </a:lnTo>
                  <a:lnTo>
                    <a:pt x="175" y="624"/>
                  </a:lnTo>
                  <a:lnTo>
                    <a:pt x="175" y="622"/>
                  </a:lnTo>
                  <a:lnTo>
                    <a:pt x="175" y="621"/>
                  </a:lnTo>
                  <a:lnTo>
                    <a:pt x="174" y="619"/>
                  </a:lnTo>
                  <a:lnTo>
                    <a:pt x="174" y="617"/>
                  </a:lnTo>
                  <a:lnTo>
                    <a:pt x="175" y="615"/>
                  </a:lnTo>
                  <a:lnTo>
                    <a:pt x="174" y="612"/>
                  </a:lnTo>
                  <a:close/>
                  <a:moveTo>
                    <a:pt x="766" y="590"/>
                  </a:moveTo>
                  <a:lnTo>
                    <a:pt x="765" y="590"/>
                  </a:lnTo>
                  <a:lnTo>
                    <a:pt x="764" y="592"/>
                  </a:lnTo>
                  <a:lnTo>
                    <a:pt x="763" y="593"/>
                  </a:lnTo>
                  <a:lnTo>
                    <a:pt x="763" y="595"/>
                  </a:lnTo>
                  <a:lnTo>
                    <a:pt x="765" y="594"/>
                  </a:lnTo>
                  <a:lnTo>
                    <a:pt x="766" y="594"/>
                  </a:lnTo>
                  <a:lnTo>
                    <a:pt x="768" y="595"/>
                  </a:lnTo>
                  <a:lnTo>
                    <a:pt x="769" y="597"/>
                  </a:lnTo>
                  <a:lnTo>
                    <a:pt x="770" y="596"/>
                  </a:lnTo>
                  <a:lnTo>
                    <a:pt x="770" y="595"/>
                  </a:lnTo>
                  <a:lnTo>
                    <a:pt x="771" y="598"/>
                  </a:lnTo>
                  <a:lnTo>
                    <a:pt x="774" y="600"/>
                  </a:lnTo>
                  <a:lnTo>
                    <a:pt x="774" y="602"/>
                  </a:lnTo>
                  <a:lnTo>
                    <a:pt x="776" y="601"/>
                  </a:lnTo>
                  <a:lnTo>
                    <a:pt x="778" y="601"/>
                  </a:lnTo>
                  <a:lnTo>
                    <a:pt x="780" y="602"/>
                  </a:lnTo>
                  <a:lnTo>
                    <a:pt x="780" y="604"/>
                  </a:lnTo>
                  <a:lnTo>
                    <a:pt x="781" y="604"/>
                  </a:lnTo>
                  <a:lnTo>
                    <a:pt x="783" y="602"/>
                  </a:lnTo>
                  <a:lnTo>
                    <a:pt x="784" y="603"/>
                  </a:lnTo>
                  <a:lnTo>
                    <a:pt x="785" y="609"/>
                  </a:lnTo>
                  <a:lnTo>
                    <a:pt x="779" y="612"/>
                  </a:lnTo>
                  <a:lnTo>
                    <a:pt x="784" y="619"/>
                  </a:lnTo>
                  <a:lnTo>
                    <a:pt x="785" y="616"/>
                  </a:lnTo>
                  <a:lnTo>
                    <a:pt x="786" y="614"/>
                  </a:lnTo>
                  <a:lnTo>
                    <a:pt x="789" y="613"/>
                  </a:lnTo>
                  <a:lnTo>
                    <a:pt x="790" y="613"/>
                  </a:lnTo>
                  <a:lnTo>
                    <a:pt x="790" y="615"/>
                  </a:lnTo>
                  <a:lnTo>
                    <a:pt x="792" y="617"/>
                  </a:lnTo>
                  <a:lnTo>
                    <a:pt x="794" y="617"/>
                  </a:lnTo>
                  <a:lnTo>
                    <a:pt x="795" y="616"/>
                  </a:lnTo>
                  <a:lnTo>
                    <a:pt x="796" y="616"/>
                  </a:lnTo>
                  <a:lnTo>
                    <a:pt x="797" y="618"/>
                  </a:lnTo>
                  <a:lnTo>
                    <a:pt x="799" y="617"/>
                  </a:lnTo>
                  <a:lnTo>
                    <a:pt x="800" y="616"/>
                  </a:lnTo>
                  <a:lnTo>
                    <a:pt x="800" y="615"/>
                  </a:lnTo>
                  <a:lnTo>
                    <a:pt x="801" y="614"/>
                  </a:lnTo>
                  <a:lnTo>
                    <a:pt x="802" y="615"/>
                  </a:lnTo>
                  <a:lnTo>
                    <a:pt x="803" y="614"/>
                  </a:lnTo>
                  <a:lnTo>
                    <a:pt x="803" y="613"/>
                  </a:lnTo>
                  <a:lnTo>
                    <a:pt x="803" y="611"/>
                  </a:lnTo>
                  <a:lnTo>
                    <a:pt x="802" y="610"/>
                  </a:lnTo>
                  <a:lnTo>
                    <a:pt x="802" y="610"/>
                  </a:lnTo>
                  <a:lnTo>
                    <a:pt x="802" y="609"/>
                  </a:lnTo>
                  <a:lnTo>
                    <a:pt x="800" y="606"/>
                  </a:lnTo>
                  <a:lnTo>
                    <a:pt x="796" y="603"/>
                  </a:lnTo>
                  <a:lnTo>
                    <a:pt x="790" y="598"/>
                  </a:lnTo>
                  <a:lnTo>
                    <a:pt x="787" y="597"/>
                  </a:lnTo>
                  <a:lnTo>
                    <a:pt x="786" y="596"/>
                  </a:lnTo>
                  <a:lnTo>
                    <a:pt x="785" y="594"/>
                  </a:lnTo>
                  <a:lnTo>
                    <a:pt x="785" y="591"/>
                  </a:lnTo>
                  <a:lnTo>
                    <a:pt x="785" y="586"/>
                  </a:lnTo>
                  <a:lnTo>
                    <a:pt x="785" y="584"/>
                  </a:lnTo>
                  <a:lnTo>
                    <a:pt x="783" y="582"/>
                  </a:lnTo>
                  <a:lnTo>
                    <a:pt x="772" y="574"/>
                  </a:lnTo>
                  <a:lnTo>
                    <a:pt x="769" y="575"/>
                  </a:lnTo>
                  <a:lnTo>
                    <a:pt x="767" y="577"/>
                  </a:lnTo>
                  <a:lnTo>
                    <a:pt x="767" y="580"/>
                  </a:lnTo>
                  <a:lnTo>
                    <a:pt x="767" y="583"/>
                  </a:lnTo>
                  <a:lnTo>
                    <a:pt x="768" y="586"/>
                  </a:lnTo>
                  <a:lnTo>
                    <a:pt x="768" y="589"/>
                  </a:lnTo>
                  <a:lnTo>
                    <a:pt x="766" y="590"/>
                  </a:lnTo>
                  <a:close/>
                  <a:moveTo>
                    <a:pt x="727" y="753"/>
                  </a:moveTo>
                  <a:lnTo>
                    <a:pt x="727" y="753"/>
                  </a:lnTo>
                  <a:lnTo>
                    <a:pt x="727" y="754"/>
                  </a:lnTo>
                  <a:lnTo>
                    <a:pt x="727" y="754"/>
                  </a:lnTo>
                  <a:lnTo>
                    <a:pt x="728" y="753"/>
                  </a:lnTo>
                  <a:lnTo>
                    <a:pt x="729" y="753"/>
                  </a:lnTo>
                  <a:lnTo>
                    <a:pt x="731" y="754"/>
                  </a:lnTo>
                  <a:lnTo>
                    <a:pt x="734" y="753"/>
                  </a:lnTo>
                  <a:lnTo>
                    <a:pt x="737" y="754"/>
                  </a:lnTo>
                  <a:lnTo>
                    <a:pt x="740" y="755"/>
                  </a:lnTo>
                  <a:lnTo>
                    <a:pt x="741" y="759"/>
                  </a:lnTo>
                  <a:lnTo>
                    <a:pt x="743" y="758"/>
                  </a:lnTo>
                  <a:lnTo>
                    <a:pt x="744" y="759"/>
                  </a:lnTo>
                  <a:lnTo>
                    <a:pt x="746" y="764"/>
                  </a:lnTo>
                  <a:lnTo>
                    <a:pt x="744" y="766"/>
                  </a:lnTo>
                  <a:lnTo>
                    <a:pt x="744" y="767"/>
                  </a:lnTo>
                  <a:lnTo>
                    <a:pt x="745" y="768"/>
                  </a:lnTo>
                  <a:lnTo>
                    <a:pt x="746" y="769"/>
                  </a:lnTo>
                  <a:lnTo>
                    <a:pt x="747" y="772"/>
                  </a:lnTo>
                  <a:lnTo>
                    <a:pt x="748" y="773"/>
                  </a:lnTo>
                  <a:lnTo>
                    <a:pt x="751" y="777"/>
                  </a:lnTo>
                  <a:lnTo>
                    <a:pt x="753" y="778"/>
                  </a:lnTo>
                  <a:lnTo>
                    <a:pt x="756" y="779"/>
                  </a:lnTo>
                  <a:lnTo>
                    <a:pt x="758" y="777"/>
                  </a:lnTo>
                  <a:lnTo>
                    <a:pt x="758" y="775"/>
                  </a:lnTo>
                  <a:lnTo>
                    <a:pt x="756" y="773"/>
                  </a:lnTo>
                  <a:lnTo>
                    <a:pt x="758" y="770"/>
                  </a:lnTo>
                  <a:lnTo>
                    <a:pt x="762" y="768"/>
                  </a:lnTo>
                  <a:lnTo>
                    <a:pt x="765" y="770"/>
                  </a:lnTo>
                  <a:lnTo>
                    <a:pt x="765" y="770"/>
                  </a:lnTo>
                  <a:lnTo>
                    <a:pt x="769" y="777"/>
                  </a:lnTo>
                  <a:lnTo>
                    <a:pt x="769" y="779"/>
                  </a:lnTo>
                  <a:lnTo>
                    <a:pt x="770" y="780"/>
                  </a:lnTo>
                  <a:lnTo>
                    <a:pt x="772" y="781"/>
                  </a:lnTo>
                  <a:lnTo>
                    <a:pt x="775" y="780"/>
                  </a:lnTo>
                  <a:lnTo>
                    <a:pt x="779" y="779"/>
                  </a:lnTo>
                  <a:lnTo>
                    <a:pt x="782" y="777"/>
                  </a:lnTo>
                  <a:lnTo>
                    <a:pt x="784" y="775"/>
                  </a:lnTo>
                  <a:lnTo>
                    <a:pt x="785" y="772"/>
                  </a:lnTo>
                  <a:lnTo>
                    <a:pt x="787" y="763"/>
                  </a:lnTo>
                  <a:lnTo>
                    <a:pt x="789" y="760"/>
                  </a:lnTo>
                  <a:lnTo>
                    <a:pt x="786" y="756"/>
                  </a:lnTo>
                  <a:lnTo>
                    <a:pt x="786" y="751"/>
                  </a:lnTo>
                  <a:lnTo>
                    <a:pt x="787" y="741"/>
                  </a:lnTo>
                  <a:lnTo>
                    <a:pt x="773" y="743"/>
                  </a:lnTo>
                  <a:lnTo>
                    <a:pt x="770" y="745"/>
                  </a:lnTo>
                  <a:lnTo>
                    <a:pt x="767" y="744"/>
                  </a:lnTo>
                  <a:lnTo>
                    <a:pt x="761" y="743"/>
                  </a:lnTo>
                  <a:lnTo>
                    <a:pt x="756" y="740"/>
                  </a:lnTo>
                  <a:lnTo>
                    <a:pt x="754" y="740"/>
                  </a:lnTo>
                  <a:lnTo>
                    <a:pt x="749" y="741"/>
                  </a:lnTo>
                  <a:lnTo>
                    <a:pt x="748" y="740"/>
                  </a:lnTo>
                  <a:lnTo>
                    <a:pt x="747" y="738"/>
                  </a:lnTo>
                  <a:lnTo>
                    <a:pt x="746" y="736"/>
                  </a:lnTo>
                  <a:lnTo>
                    <a:pt x="746" y="735"/>
                  </a:lnTo>
                  <a:lnTo>
                    <a:pt x="741" y="732"/>
                  </a:lnTo>
                  <a:lnTo>
                    <a:pt x="736" y="729"/>
                  </a:lnTo>
                  <a:lnTo>
                    <a:pt x="734" y="727"/>
                  </a:lnTo>
                  <a:lnTo>
                    <a:pt x="733" y="724"/>
                  </a:lnTo>
                  <a:lnTo>
                    <a:pt x="733" y="723"/>
                  </a:lnTo>
                  <a:lnTo>
                    <a:pt x="735" y="720"/>
                  </a:lnTo>
                  <a:lnTo>
                    <a:pt x="734" y="719"/>
                  </a:lnTo>
                  <a:lnTo>
                    <a:pt x="734" y="717"/>
                  </a:lnTo>
                  <a:lnTo>
                    <a:pt x="734" y="714"/>
                  </a:lnTo>
                  <a:lnTo>
                    <a:pt x="734" y="713"/>
                  </a:lnTo>
                  <a:lnTo>
                    <a:pt x="733" y="713"/>
                  </a:lnTo>
                  <a:lnTo>
                    <a:pt x="732" y="712"/>
                  </a:lnTo>
                  <a:lnTo>
                    <a:pt x="732" y="710"/>
                  </a:lnTo>
                  <a:lnTo>
                    <a:pt x="728" y="705"/>
                  </a:lnTo>
                  <a:lnTo>
                    <a:pt x="728" y="702"/>
                  </a:lnTo>
                  <a:lnTo>
                    <a:pt x="728" y="699"/>
                  </a:lnTo>
                  <a:lnTo>
                    <a:pt x="728" y="697"/>
                  </a:lnTo>
                  <a:lnTo>
                    <a:pt x="724" y="692"/>
                  </a:lnTo>
                  <a:lnTo>
                    <a:pt x="724" y="691"/>
                  </a:lnTo>
                  <a:lnTo>
                    <a:pt x="727" y="690"/>
                  </a:lnTo>
                  <a:lnTo>
                    <a:pt x="727" y="688"/>
                  </a:lnTo>
                  <a:lnTo>
                    <a:pt x="723" y="684"/>
                  </a:lnTo>
                  <a:lnTo>
                    <a:pt x="724" y="677"/>
                  </a:lnTo>
                  <a:lnTo>
                    <a:pt x="727" y="671"/>
                  </a:lnTo>
                  <a:lnTo>
                    <a:pt x="731" y="667"/>
                  </a:lnTo>
                  <a:lnTo>
                    <a:pt x="728" y="664"/>
                  </a:lnTo>
                  <a:lnTo>
                    <a:pt x="714" y="652"/>
                  </a:lnTo>
                  <a:lnTo>
                    <a:pt x="713" y="650"/>
                  </a:lnTo>
                  <a:lnTo>
                    <a:pt x="713" y="647"/>
                  </a:lnTo>
                  <a:lnTo>
                    <a:pt x="714" y="645"/>
                  </a:lnTo>
                  <a:lnTo>
                    <a:pt x="716" y="643"/>
                  </a:lnTo>
                  <a:lnTo>
                    <a:pt x="717" y="642"/>
                  </a:lnTo>
                  <a:lnTo>
                    <a:pt x="719" y="641"/>
                  </a:lnTo>
                  <a:lnTo>
                    <a:pt x="716" y="639"/>
                  </a:lnTo>
                  <a:lnTo>
                    <a:pt x="706" y="636"/>
                  </a:lnTo>
                  <a:lnTo>
                    <a:pt x="702" y="636"/>
                  </a:lnTo>
                  <a:lnTo>
                    <a:pt x="699" y="636"/>
                  </a:lnTo>
                  <a:lnTo>
                    <a:pt x="695" y="636"/>
                  </a:lnTo>
                  <a:lnTo>
                    <a:pt x="692" y="634"/>
                  </a:lnTo>
                  <a:lnTo>
                    <a:pt x="689" y="637"/>
                  </a:lnTo>
                  <a:lnTo>
                    <a:pt x="686" y="638"/>
                  </a:lnTo>
                  <a:lnTo>
                    <a:pt x="683" y="637"/>
                  </a:lnTo>
                  <a:lnTo>
                    <a:pt x="679" y="636"/>
                  </a:lnTo>
                  <a:lnTo>
                    <a:pt x="672" y="635"/>
                  </a:lnTo>
                  <a:lnTo>
                    <a:pt x="664" y="633"/>
                  </a:lnTo>
                  <a:lnTo>
                    <a:pt x="658" y="630"/>
                  </a:lnTo>
                  <a:lnTo>
                    <a:pt x="655" y="627"/>
                  </a:lnTo>
                  <a:lnTo>
                    <a:pt x="654" y="625"/>
                  </a:lnTo>
                  <a:lnTo>
                    <a:pt x="653" y="622"/>
                  </a:lnTo>
                  <a:lnTo>
                    <a:pt x="650" y="619"/>
                  </a:lnTo>
                  <a:lnTo>
                    <a:pt x="647" y="618"/>
                  </a:lnTo>
                  <a:lnTo>
                    <a:pt x="644" y="620"/>
                  </a:lnTo>
                  <a:lnTo>
                    <a:pt x="642" y="619"/>
                  </a:lnTo>
                  <a:lnTo>
                    <a:pt x="641" y="620"/>
                  </a:lnTo>
                  <a:lnTo>
                    <a:pt x="639" y="619"/>
                  </a:lnTo>
                  <a:lnTo>
                    <a:pt x="634" y="618"/>
                  </a:lnTo>
                  <a:lnTo>
                    <a:pt x="632" y="616"/>
                  </a:lnTo>
                  <a:lnTo>
                    <a:pt x="631" y="617"/>
                  </a:lnTo>
                  <a:lnTo>
                    <a:pt x="630" y="617"/>
                  </a:lnTo>
                  <a:lnTo>
                    <a:pt x="629" y="617"/>
                  </a:lnTo>
                  <a:lnTo>
                    <a:pt x="630" y="615"/>
                  </a:lnTo>
                  <a:lnTo>
                    <a:pt x="630" y="613"/>
                  </a:lnTo>
                  <a:lnTo>
                    <a:pt x="626" y="612"/>
                  </a:lnTo>
                  <a:lnTo>
                    <a:pt x="619" y="607"/>
                  </a:lnTo>
                  <a:lnTo>
                    <a:pt x="612" y="603"/>
                  </a:lnTo>
                  <a:lnTo>
                    <a:pt x="609" y="600"/>
                  </a:lnTo>
                  <a:lnTo>
                    <a:pt x="607" y="596"/>
                  </a:lnTo>
                  <a:lnTo>
                    <a:pt x="607" y="594"/>
                  </a:lnTo>
                  <a:lnTo>
                    <a:pt x="606" y="591"/>
                  </a:lnTo>
                  <a:lnTo>
                    <a:pt x="603" y="582"/>
                  </a:lnTo>
                  <a:lnTo>
                    <a:pt x="603" y="580"/>
                  </a:lnTo>
                  <a:lnTo>
                    <a:pt x="600" y="579"/>
                  </a:lnTo>
                  <a:lnTo>
                    <a:pt x="596" y="577"/>
                  </a:lnTo>
                  <a:lnTo>
                    <a:pt x="595" y="574"/>
                  </a:lnTo>
                  <a:lnTo>
                    <a:pt x="596" y="570"/>
                  </a:lnTo>
                  <a:lnTo>
                    <a:pt x="595" y="568"/>
                  </a:lnTo>
                  <a:lnTo>
                    <a:pt x="592" y="567"/>
                  </a:lnTo>
                  <a:lnTo>
                    <a:pt x="590" y="566"/>
                  </a:lnTo>
                  <a:lnTo>
                    <a:pt x="588" y="566"/>
                  </a:lnTo>
                  <a:lnTo>
                    <a:pt x="587" y="566"/>
                  </a:lnTo>
                  <a:lnTo>
                    <a:pt x="585" y="563"/>
                  </a:lnTo>
                  <a:lnTo>
                    <a:pt x="583" y="562"/>
                  </a:lnTo>
                  <a:lnTo>
                    <a:pt x="579" y="563"/>
                  </a:lnTo>
                  <a:lnTo>
                    <a:pt x="570" y="568"/>
                  </a:lnTo>
                  <a:lnTo>
                    <a:pt x="567" y="569"/>
                  </a:lnTo>
                  <a:lnTo>
                    <a:pt x="557" y="569"/>
                  </a:lnTo>
                  <a:lnTo>
                    <a:pt x="556" y="569"/>
                  </a:lnTo>
                  <a:lnTo>
                    <a:pt x="553" y="572"/>
                  </a:lnTo>
                  <a:lnTo>
                    <a:pt x="551" y="573"/>
                  </a:lnTo>
                  <a:lnTo>
                    <a:pt x="551" y="574"/>
                  </a:lnTo>
                  <a:lnTo>
                    <a:pt x="551" y="576"/>
                  </a:lnTo>
                  <a:lnTo>
                    <a:pt x="550" y="578"/>
                  </a:lnTo>
                  <a:lnTo>
                    <a:pt x="549" y="580"/>
                  </a:lnTo>
                  <a:lnTo>
                    <a:pt x="548" y="581"/>
                  </a:lnTo>
                  <a:lnTo>
                    <a:pt x="545" y="581"/>
                  </a:lnTo>
                  <a:lnTo>
                    <a:pt x="543" y="581"/>
                  </a:lnTo>
                  <a:lnTo>
                    <a:pt x="542" y="582"/>
                  </a:lnTo>
                  <a:lnTo>
                    <a:pt x="542" y="585"/>
                  </a:lnTo>
                  <a:lnTo>
                    <a:pt x="541" y="586"/>
                  </a:lnTo>
                  <a:lnTo>
                    <a:pt x="537" y="587"/>
                  </a:lnTo>
                  <a:lnTo>
                    <a:pt x="533" y="589"/>
                  </a:lnTo>
                  <a:lnTo>
                    <a:pt x="528" y="591"/>
                  </a:lnTo>
                  <a:lnTo>
                    <a:pt x="521" y="594"/>
                  </a:lnTo>
                  <a:lnTo>
                    <a:pt x="517" y="595"/>
                  </a:lnTo>
                  <a:lnTo>
                    <a:pt x="516" y="596"/>
                  </a:lnTo>
                  <a:lnTo>
                    <a:pt x="512" y="599"/>
                  </a:lnTo>
                  <a:lnTo>
                    <a:pt x="511" y="599"/>
                  </a:lnTo>
                  <a:lnTo>
                    <a:pt x="510" y="600"/>
                  </a:lnTo>
                  <a:lnTo>
                    <a:pt x="509" y="602"/>
                  </a:lnTo>
                  <a:lnTo>
                    <a:pt x="509" y="604"/>
                  </a:lnTo>
                  <a:lnTo>
                    <a:pt x="509" y="607"/>
                  </a:lnTo>
                  <a:lnTo>
                    <a:pt x="512" y="605"/>
                  </a:lnTo>
                  <a:lnTo>
                    <a:pt x="530" y="603"/>
                  </a:lnTo>
                  <a:lnTo>
                    <a:pt x="533" y="602"/>
                  </a:lnTo>
                  <a:lnTo>
                    <a:pt x="534" y="601"/>
                  </a:lnTo>
                  <a:lnTo>
                    <a:pt x="534" y="598"/>
                  </a:lnTo>
                  <a:lnTo>
                    <a:pt x="533" y="596"/>
                  </a:lnTo>
                  <a:lnTo>
                    <a:pt x="531" y="595"/>
                  </a:lnTo>
                  <a:lnTo>
                    <a:pt x="529" y="595"/>
                  </a:lnTo>
                  <a:lnTo>
                    <a:pt x="529" y="594"/>
                  </a:lnTo>
                  <a:lnTo>
                    <a:pt x="531" y="593"/>
                  </a:lnTo>
                  <a:lnTo>
                    <a:pt x="533" y="594"/>
                  </a:lnTo>
                  <a:lnTo>
                    <a:pt x="535" y="595"/>
                  </a:lnTo>
                  <a:lnTo>
                    <a:pt x="538" y="595"/>
                  </a:lnTo>
                  <a:lnTo>
                    <a:pt x="540" y="596"/>
                  </a:lnTo>
                  <a:lnTo>
                    <a:pt x="541" y="596"/>
                  </a:lnTo>
                  <a:lnTo>
                    <a:pt x="544" y="600"/>
                  </a:lnTo>
                  <a:lnTo>
                    <a:pt x="546" y="602"/>
                  </a:lnTo>
                  <a:lnTo>
                    <a:pt x="549" y="602"/>
                  </a:lnTo>
                  <a:lnTo>
                    <a:pt x="554" y="601"/>
                  </a:lnTo>
                  <a:lnTo>
                    <a:pt x="556" y="601"/>
                  </a:lnTo>
                  <a:lnTo>
                    <a:pt x="558" y="601"/>
                  </a:lnTo>
                  <a:lnTo>
                    <a:pt x="562" y="602"/>
                  </a:lnTo>
                  <a:lnTo>
                    <a:pt x="568" y="605"/>
                  </a:lnTo>
                  <a:lnTo>
                    <a:pt x="583" y="617"/>
                  </a:lnTo>
                  <a:lnTo>
                    <a:pt x="587" y="619"/>
                  </a:lnTo>
                  <a:lnTo>
                    <a:pt x="588" y="620"/>
                  </a:lnTo>
                  <a:lnTo>
                    <a:pt x="589" y="624"/>
                  </a:lnTo>
                  <a:lnTo>
                    <a:pt x="590" y="624"/>
                  </a:lnTo>
                  <a:lnTo>
                    <a:pt x="592" y="625"/>
                  </a:lnTo>
                  <a:lnTo>
                    <a:pt x="596" y="630"/>
                  </a:lnTo>
                  <a:lnTo>
                    <a:pt x="600" y="632"/>
                  </a:lnTo>
                  <a:lnTo>
                    <a:pt x="605" y="635"/>
                  </a:lnTo>
                  <a:lnTo>
                    <a:pt x="606" y="636"/>
                  </a:lnTo>
                  <a:lnTo>
                    <a:pt x="607" y="638"/>
                  </a:lnTo>
                  <a:lnTo>
                    <a:pt x="607" y="640"/>
                  </a:lnTo>
                  <a:lnTo>
                    <a:pt x="609" y="641"/>
                  </a:lnTo>
                  <a:lnTo>
                    <a:pt x="609" y="641"/>
                  </a:lnTo>
                  <a:lnTo>
                    <a:pt x="610" y="642"/>
                  </a:lnTo>
                  <a:lnTo>
                    <a:pt x="611" y="642"/>
                  </a:lnTo>
                  <a:lnTo>
                    <a:pt x="614" y="646"/>
                  </a:lnTo>
                  <a:lnTo>
                    <a:pt x="615" y="647"/>
                  </a:lnTo>
                  <a:lnTo>
                    <a:pt x="615" y="651"/>
                  </a:lnTo>
                  <a:lnTo>
                    <a:pt x="616" y="652"/>
                  </a:lnTo>
                  <a:lnTo>
                    <a:pt x="618" y="654"/>
                  </a:lnTo>
                  <a:lnTo>
                    <a:pt x="621" y="655"/>
                  </a:lnTo>
                  <a:lnTo>
                    <a:pt x="628" y="656"/>
                  </a:lnTo>
                  <a:lnTo>
                    <a:pt x="631" y="657"/>
                  </a:lnTo>
                  <a:lnTo>
                    <a:pt x="633" y="660"/>
                  </a:lnTo>
                  <a:lnTo>
                    <a:pt x="636" y="666"/>
                  </a:lnTo>
                  <a:lnTo>
                    <a:pt x="636" y="667"/>
                  </a:lnTo>
                  <a:lnTo>
                    <a:pt x="635" y="667"/>
                  </a:lnTo>
                  <a:lnTo>
                    <a:pt x="635" y="669"/>
                  </a:lnTo>
                  <a:lnTo>
                    <a:pt x="636" y="672"/>
                  </a:lnTo>
                  <a:lnTo>
                    <a:pt x="634" y="675"/>
                  </a:lnTo>
                  <a:lnTo>
                    <a:pt x="631" y="678"/>
                  </a:lnTo>
                  <a:lnTo>
                    <a:pt x="630" y="681"/>
                  </a:lnTo>
                  <a:lnTo>
                    <a:pt x="631" y="681"/>
                  </a:lnTo>
                  <a:lnTo>
                    <a:pt x="632" y="681"/>
                  </a:lnTo>
                  <a:lnTo>
                    <a:pt x="633" y="681"/>
                  </a:lnTo>
                  <a:lnTo>
                    <a:pt x="633" y="680"/>
                  </a:lnTo>
                  <a:lnTo>
                    <a:pt x="637" y="689"/>
                  </a:lnTo>
                  <a:lnTo>
                    <a:pt x="639" y="691"/>
                  </a:lnTo>
                  <a:lnTo>
                    <a:pt x="641" y="691"/>
                  </a:lnTo>
                  <a:lnTo>
                    <a:pt x="646" y="690"/>
                  </a:lnTo>
                  <a:lnTo>
                    <a:pt x="648" y="690"/>
                  </a:lnTo>
                  <a:lnTo>
                    <a:pt x="659" y="692"/>
                  </a:lnTo>
                  <a:lnTo>
                    <a:pt x="662" y="692"/>
                  </a:lnTo>
                  <a:lnTo>
                    <a:pt x="666" y="691"/>
                  </a:lnTo>
                  <a:lnTo>
                    <a:pt x="669" y="691"/>
                  </a:lnTo>
                  <a:lnTo>
                    <a:pt x="672" y="691"/>
                  </a:lnTo>
                  <a:lnTo>
                    <a:pt x="677" y="693"/>
                  </a:lnTo>
                  <a:lnTo>
                    <a:pt x="680" y="694"/>
                  </a:lnTo>
                  <a:lnTo>
                    <a:pt x="691" y="692"/>
                  </a:lnTo>
                  <a:lnTo>
                    <a:pt x="700" y="693"/>
                  </a:lnTo>
                  <a:lnTo>
                    <a:pt x="701" y="692"/>
                  </a:lnTo>
                  <a:lnTo>
                    <a:pt x="702" y="693"/>
                  </a:lnTo>
                  <a:lnTo>
                    <a:pt x="704" y="697"/>
                  </a:lnTo>
                  <a:lnTo>
                    <a:pt x="703" y="697"/>
                  </a:lnTo>
                  <a:lnTo>
                    <a:pt x="703" y="698"/>
                  </a:lnTo>
                  <a:lnTo>
                    <a:pt x="704" y="700"/>
                  </a:lnTo>
                  <a:lnTo>
                    <a:pt x="705" y="702"/>
                  </a:lnTo>
                  <a:lnTo>
                    <a:pt x="704" y="704"/>
                  </a:lnTo>
                  <a:lnTo>
                    <a:pt x="702" y="705"/>
                  </a:lnTo>
                  <a:lnTo>
                    <a:pt x="698" y="706"/>
                  </a:lnTo>
                  <a:lnTo>
                    <a:pt x="703" y="706"/>
                  </a:lnTo>
                  <a:lnTo>
                    <a:pt x="707" y="707"/>
                  </a:lnTo>
                  <a:lnTo>
                    <a:pt x="710" y="709"/>
                  </a:lnTo>
                  <a:lnTo>
                    <a:pt x="713" y="710"/>
                  </a:lnTo>
                  <a:lnTo>
                    <a:pt x="710" y="717"/>
                  </a:lnTo>
                  <a:lnTo>
                    <a:pt x="712" y="717"/>
                  </a:lnTo>
                  <a:lnTo>
                    <a:pt x="712" y="719"/>
                  </a:lnTo>
                  <a:lnTo>
                    <a:pt x="712" y="719"/>
                  </a:lnTo>
                  <a:lnTo>
                    <a:pt x="712" y="720"/>
                  </a:lnTo>
                  <a:lnTo>
                    <a:pt x="712" y="721"/>
                  </a:lnTo>
                  <a:lnTo>
                    <a:pt x="713" y="721"/>
                  </a:lnTo>
                  <a:lnTo>
                    <a:pt x="714" y="721"/>
                  </a:lnTo>
                  <a:lnTo>
                    <a:pt x="714" y="720"/>
                  </a:lnTo>
                  <a:lnTo>
                    <a:pt x="714" y="719"/>
                  </a:lnTo>
                  <a:lnTo>
                    <a:pt x="715" y="719"/>
                  </a:lnTo>
                  <a:lnTo>
                    <a:pt x="716" y="718"/>
                  </a:lnTo>
                  <a:lnTo>
                    <a:pt x="717" y="716"/>
                  </a:lnTo>
                  <a:lnTo>
                    <a:pt x="719" y="716"/>
                  </a:lnTo>
                  <a:lnTo>
                    <a:pt x="720" y="719"/>
                  </a:lnTo>
                  <a:lnTo>
                    <a:pt x="718" y="721"/>
                  </a:lnTo>
                  <a:lnTo>
                    <a:pt x="715" y="725"/>
                  </a:lnTo>
                  <a:lnTo>
                    <a:pt x="714" y="729"/>
                  </a:lnTo>
                  <a:lnTo>
                    <a:pt x="718" y="730"/>
                  </a:lnTo>
                  <a:lnTo>
                    <a:pt x="717" y="727"/>
                  </a:lnTo>
                  <a:lnTo>
                    <a:pt x="719" y="726"/>
                  </a:lnTo>
                  <a:lnTo>
                    <a:pt x="722" y="727"/>
                  </a:lnTo>
                  <a:lnTo>
                    <a:pt x="724" y="729"/>
                  </a:lnTo>
                  <a:lnTo>
                    <a:pt x="725" y="734"/>
                  </a:lnTo>
                  <a:lnTo>
                    <a:pt x="727" y="737"/>
                  </a:lnTo>
                  <a:lnTo>
                    <a:pt x="728" y="739"/>
                  </a:lnTo>
                  <a:lnTo>
                    <a:pt x="727" y="741"/>
                  </a:lnTo>
                  <a:lnTo>
                    <a:pt x="724" y="744"/>
                  </a:lnTo>
                  <a:lnTo>
                    <a:pt x="723" y="745"/>
                  </a:lnTo>
                  <a:lnTo>
                    <a:pt x="724" y="747"/>
                  </a:lnTo>
                  <a:lnTo>
                    <a:pt x="727" y="746"/>
                  </a:lnTo>
                  <a:lnTo>
                    <a:pt x="728" y="748"/>
                  </a:lnTo>
                  <a:lnTo>
                    <a:pt x="728" y="753"/>
                  </a:lnTo>
                  <a:lnTo>
                    <a:pt x="727" y="753"/>
                  </a:lnTo>
                  <a:close/>
                  <a:moveTo>
                    <a:pt x="603" y="540"/>
                  </a:moveTo>
                  <a:lnTo>
                    <a:pt x="605" y="541"/>
                  </a:lnTo>
                  <a:lnTo>
                    <a:pt x="606" y="542"/>
                  </a:lnTo>
                  <a:lnTo>
                    <a:pt x="607" y="544"/>
                  </a:lnTo>
                  <a:lnTo>
                    <a:pt x="609" y="544"/>
                  </a:lnTo>
                  <a:lnTo>
                    <a:pt x="611" y="539"/>
                  </a:lnTo>
                  <a:lnTo>
                    <a:pt x="613" y="536"/>
                  </a:lnTo>
                  <a:lnTo>
                    <a:pt x="616" y="538"/>
                  </a:lnTo>
                  <a:lnTo>
                    <a:pt x="617" y="534"/>
                  </a:lnTo>
                  <a:lnTo>
                    <a:pt x="615" y="531"/>
                  </a:lnTo>
                  <a:lnTo>
                    <a:pt x="613" y="529"/>
                  </a:lnTo>
                  <a:lnTo>
                    <a:pt x="610" y="527"/>
                  </a:lnTo>
                  <a:lnTo>
                    <a:pt x="608" y="528"/>
                  </a:lnTo>
                  <a:lnTo>
                    <a:pt x="606" y="530"/>
                  </a:lnTo>
                  <a:lnTo>
                    <a:pt x="604" y="533"/>
                  </a:lnTo>
                  <a:lnTo>
                    <a:pt x="604" y="535"/>
                  </a:lnTo>
                  <a:lnTo>
                    <a:pt x="603" y="535"/>
                  </a:lnTo>
                  <a:lnTo>
                    <a:pt x="601" y="536"/>
                  </a:lnTo>
                  <a:lnTo>
                    <a:pt x="599" y="537"/>
                  </a:lnTo>
                  <a:lnTo>
                    <a:pt x="598" y="541"/>
                  </a:lnTo>
                  <a:lnTo>
                    <a:pt x="600" y="540"/>
                  </a:lnTo>
                  <a:lnTo>
                    <a:pt x="601" y="540"/>
                  </a:lnTo>
                  <a:lnTo>
                    <a:pt x="603" y="540"/>
                  </a:lnTo>
                  <a:close/>
                  <a:moveTo>
                    <a:pt x="646" y="539"/>
                  </a:moveTo>
                  <a:lnTo>
                    <a:pt x="641" y="536"/>
                  </a:lnTo>
                  <a:lnTo>
                    <a:pt x="637" y="532"/>
                  </a:lnTo>
                  <a:lnTo>
                    <a:pt x="633" y="528"/>
                  </a:lnTo>
                  <a:lnTo>
                    <a:pt x="632" y="528"/>
                  </a:lnTo>
                  <a:lnTo>
                    <a:pt x="632" y="528"/>
                  </a:lnTo>
                  <a:lnTo>
                    <a:pt x="631" y="528"/>
                  </a:lnTo>
                  <a:lnTo>
                    <a:pt x="631" y="527"/>
                  </a:lnTo>
                  <a:lnTo>
                    <a:pt x="629" y="528"/>
                  </a:lnTo>
                  <a:lnTo>
                    <a:pt x="634" y="536"/>
                  </a:lnTo>
                  <a:lnTo>
                    <a:pt x="634" y="539"/>
                  </a:lnTo>
                  <a:lnTo>
                    <a:pt x="635" y="541"/>
                  </a:lnTo>
                  <a:lnTo>
                    <a:pt x="640" y="546"/>
                  </a:lnTo>
                  <a:lnTo>
                    <a:pt x="642" y="547"/>
                  </a:lnTo>
                  <a:lnTo>
                    <a:pt x="642" y="548"/>
                  </a:lnTo>
                  <a:lnTo>
                    <a:pt x="640" y="549"/>
                  </a:lnTo>
                  <a:lnTo>
                    <a:pt x="640" y="551"/>
                  </a:lnTo>
                  <a:lnTo>
                    <a:pt x="641" y="552"/>
                  </a:lnTo>
                  <a:lnTo>
                    <a:pt x="645" y="553"/>
                  </a:lnTo>
                  <a:lnTo>
                    <a:pt x="648" y="554"/>
                  </a:lnTo>
                  <a:lnTo>
                    <a:pt x="649" y="555"/>
                  </a:lnTo>
                  <a:lnTo>
                    <a:pt x="653" y="554"/>
                  </a:lnTo>
                  <a:lnTo>
                    <a:pt x="656" y="552"/>
                  </a:lnTo>
                  <a:lnTo>
                    <a:pt x="661" y="547"/>
                  </a:lnTo>
                  <a:lnTo>
                    <a:pt x="661" y="545"/>
                  </a:lnTo>
                  <a:lnTo>
                    <a:pt x="658" y="544"/>
                  </a:lnTo>
                  <a:lnTo>
                    <a:pt x="654" y="544"/>
                  </a:lnTo>
                  <a:lnTo>
                    <a:pt x="651" y="544"/>
                  </a:lnTo>
                  <a:lnTo>
                    <a:pt x="651" y="541"/>
                  </a:lnTo>
                  <a:lnTo>
                    <a:pt x="646" y="539"/>
                  </a:lnTo>
                  <a:close/>
                  <a:moveTo>
                    <a:pt x="87" y="526"/>
                  </a:moveTo>
                  <a:lnTo>
                    <a:pt x="84" y="524"/>
                  </a:lnTo>
                  <a:lnTo>
                    <a:pt x="82" y="521"/>
                  </a:lnTo>
                  <a:lnTo>
                    <a:pt x="79" y="523"/>
                  </a:lnTo>
                  <a:lnTo>
                    <a:pt x="80" y="525"/>
                  </a:lnTo>
                  <a:lnTo>
                    <a:pt x="81" y="528"/>
                  </a:lnTo>
                  <a:lnTo>
                    <a:pt x="84" y="532"/>
                  </a:lnTo>
                  <a:lnTo>
                    <a:pt x="86" y="533"/>
                  </a:lnTo>
                  <a:lnTo>
                    <a:pt x="88" y="534"/>
                  </a:lnTo>
                  <a:lnTo>
                    <a:pt x="91" y="534"/>
                  </a:lnTo>
                  <a:lnTo>
                    <a:pt x="89" y="529"/>
                  </a:lnTo>
                  <a:lnTo>
                    <a:pt x="87" y="526"/>
                  </a:lnTo>
                  <a:close/>
                  <a:moveTo>
                    <a:pt x="687" y="513"/>
                  </a:moveTo>
                  <a:lnTo>
                    <a:pt x="687" y="512"/>
                  </a:lnTo>
                  <a:lnTo>
                    <a:pt x="688" y="512"/>
                  </a:lnTo>
                  <a:lnTo>
                    <a:pt x="685" y="514"/>
                  </a:lnTo>
                  <a:lnTo>
                    <a:pt x="677" y="526"/>
                  </a:lnTo>
                  <a:lnTo>
                    <a:pt x="674" y="534"/>
                  </a:lnTo>
                  <a:lnTo>
                    <a:pt x="672" y="536"/>
                  </a:lnTo>
                  <a:lnTo>
                    <a:pt x="670" y="538"/>
                  </a:lnTo>
                  <a:lnTo>
                    <a:pt x="668" y="541"/>
                  </a:lnTo>
                  <a:lnTo>
                    <a:pt x="673" y="541"/>
                  </a:lnTo>
                  <a:lnTo>
                    <a:pt x="678" y="538"/>
                  </a:lnTo>
                  <a:lnTo>
                    <a:pt x="682" y="532"/>
                  </a:lnTo>
                  <a:lnTo>
                    <a:pt x="684" y="525"/>
                  </a:lnTo>
                  <a:lnTo>
                    <a:pt x="686" y="524"/>
                  </a:lnTo>
                  <a:lnTo>
                    <a:pt x="689" y="520"/>
                  </a:lnTo>
                  <a:lnTo>
                    <a:pt x="690" y="515"/>
                  </a:lnTo>
                  <a:lnTo>
                    <a:pt x="686" y="515"/>
                  </a:lnTo>
                  <a:lnTo>
                    <a:pt x="687" y="514"/>
                  </a:lnTo>
                  <a:lnTo>
                    <a:pt x="687" y="513"/>
                  </a:lnTo>
                  <a:close/>
                  <a:moveTo>
                    <a:pt x="703" y="508"/>
                  </a:moveTo>
                  <a:lnTo>
                    <a:pt x="704" y="510"/>
                  </a:lnTo>
                  <a:lnTo>
                    <a:pt x="707" y="509"/>
                  </a:lnTo>
                  <a:lnTo>
                    <a:pt x="709" y="503"/>
                  </a:lnTo>
                  <a:lnTo>
                    <a:pt x="709" y="500"/>
                  </a:lnTo>
                  <a:lnTo>
                    <a:pt x="709" y="500"/>
                  </a:lnTo>
                  <a:lnTo>
                    <a:pt x="707" y="499"/>
                  </a:lnTo>
                  <a:lnTo>
                    <a:pt x="706" y="500"/>
                  </a:lnTo>
                  <a:lnTo>
                    <a:pt x="705" y="500"/>
                  </a:lnTo>
                  <a:lnTo>
                    <a:pt x="705" y="499"/>
                  </a:lnTo>
                  <a:lnTo>
                    <a:pt x="705" y="497"/>
                  </a:lnTo>
                  <a:lnTo>
                    <a:pt x="703" y="497"/>
                  </a:lnTo>
                  <a:lnTo>
                    <a:pt x="702" y="499"/>
                  </a:lnTo>
                  <a:lnTo>
                    <a:pt x="701" y="501"/>
                  </a:lnTo>
                  <a:lnTo>
                    <a:pt x="701" y="503"/>
                  </a:lnTo>
                  <a:lnTo>
                    <a:pt x="702" y="505"/>
                  </a:lnTo>
                  <a:lnTo>
                    <a:pt x="703" y="505"/>
                  </a:lnTo>
                  <a:lnTo>
                    <a:pt x="704" y="506"/>
                  </a:lnTo>
                  <a:lnTo>
                    <a:pt x="703" y="507"/>
                  </a:lnTo>
                  <a:lnTo>
                    <a:pt x="703" y="508"/>
                  </a:lnTo>
                  <a:close/>
                  <a:moveTo>
                    <a:pt x="1098" y="571"/>
                  </a:moveTo>
                  <a:lnTo>
                    <a:pt x="1098" y="571"/>
                  </a:lnTo>
                  <a:lnTo>
                    <a:pt x="1098" y="571"/>
                  </a:lnTo>
                  <a:lnTo>
                    <a:pt x="1098" y="570"/>
                  </a:lnTo>
                  <a:lnTo>
                    <a:pt x="1098" y="569"/>
                  </a:lnTo>
                  <a:lnTo>
                    <a:pt x="1096" y="566"/>
                  </a:lnTo>
                  <a:lnTo>
                    <a:pt x="1090" y="558"/>
                  </a:lnTo>
                  <a:lnTo>
                    <a:pt x="1083" y="553"/>
                  </a:lnTo>
                  <a:lnTo>
                    <a:pt x="1081" y="549"/>
                  </a:lnTo>
                  <a:lnTo>
                    <a:pt x="1084" y="548"/>
                  </a:lnTo>
                  <a:lnTo>
                    <a:pt x="1089" y="548"/>
                  </a:lnTo>
                  <a:lnTo>
                    <a:pt x="1092" y="549"/>
                  </a:lnTo>
                  <a:lnTo>
                    <a:pt x="1093" y="551"/>
                  </a:lnTo>
                  <a:lnTo>
                    <a:pt x="1093" y="552"/>
                  </a:lnTo>
                  <a:lnTo>
                    <a:pt x="1095" y="554"/>
                  </a:lnTo>
                  <a:lnTo>
                    <a:pt x="1095" y="555"/>
                  </a:lnTo>
                  <a:lnTo>
                    <a:pt x="1094" y="557"/>
                  </a:lnTo>
                  <a:lnTo>
                    <a:pt x="1094" y="558"/>
                  </a:lnTo>
                  <a:lnTo>
                    <a:pt x="1094" y="559"/>
                  </a:lnTo>
                  <a:lnTo>
                    <a:pt x="1093" y="560"/>
                  </a:lnTo>
                  <a:lnTo>
                    <a:pt x="1094" y="561"/>
                  </a:lnTo>
                  <a:lnTo>
                    <a:pt x="1095" y="562"/>
                  </a:lnTo>
                  <a:lnTo>
                    <a:pt x="1094" y="563"/>
                  </a:lnTo>
                  <a:lnTo>
                    <a:pt x="1096" y="565"/>
                  </a:lnTo>
                  <a:lnTo>
                    <a:pt x="1097" y="567"/>
                  </a:lnTo>
                  <a:lnTo>
                    <a:pt x="1099" y="568"/>
                  </a:lnTo>
                  <a:lnTo>
                    <a:pt x="1102" y="566"/>
                  </a:lnTo>
                  <a:lnTo>
                    <a:pt x="1107" y="568"/>
                  </a:lnTo>
                  <a:lnTo>
                    <a:pt x="1108" y="566"/>
                  </a:lnTo>
                  <a:lnTo>
                    <a:pt x="1109" y="563"/>
                  </a:lnTo>
                  <a:lnTo>
                    <a:pt x="1109" y="561"/>
                  </a:lnTo>
                  <a:lnTo>
                    <a:pt x="1107" y="559"/>
                  </a:lnTo>
                  <a:lnTo>
                    <a:pt x="1104" y="555"/>
                  </a:lnTo>
                  <a:lnTo>
                    <a:pt x="1102" y="551"/>
                  </a:lnTo>
                  <a:lnTo>
                    <a:pt x="1102" y="547"/>
                  </a:lnTo>
                  <a:lnTo>
                    <a:pt x="1100" y="547"/>
                  </a:lnTo>
                  <a:lnTo>
                    <a:pt x="1099" y="546"/>
                  </a:lnTo>
                  <a:lnTo>
                    <a:pt x="1098" y="545"/>
                  </a:lnTo>
                  <a:lnTo>
                    <a:pt x="1098" y="543"/>
                  </a:lnTo>
                  <a:lnTo>
                    <a:pt x="1097" y="541"/>
                  </a:lnTo>
                  <a:lnTo>
                    <a:pt x="1096" y="540"/>
                  </a:lnTo>
                  <a:lnTo>
                    <a:pt x="1095" y="538"/>
                  </a:lnTo>
                  <a:lnTo>
                    <a:pt x="1097" y="537"/>
                  </a:lnTo>
                  <a:lnTo>
                    <a:pt x="1094" y="535"/>
                  </a:lnTo>
                  <a:lnTo>
                    <a:pt x="1092" y="533"/>
                  </a:lnTo>
                  <a:lnTo>
                    <a:pt x="1086" y="525"/>
                  </a:lnTo>
                  <a:lnTo>
                    <a:pt x="1086" y="524"/>
                  </a:lnTo>
                  <a:lnTo>
                    <a:pt x="1084" y="523"/>
                  </a:lnTo>
                  <a:lnTo>
                    <a:pt x="1079" y="521"/>
                  </a:lnTo>
                  <a:lnTo>
                    <a:pt x="1072" y="514"/>
                  </a:lnTo>
                  <a:lnTo>
                    <a:pt x="1072" y="513"/>
                  </a:lnTo>
                  <a:lnTo>
                    <a:pt x="1077" y="505"/>
                  </a:lnTo>
                  <a:lnTo>
                    <a:pt x="1078" y="503"/>
                  </a:lnTo>
                  <a:lnTo>
                    <a:pt x="1075" y="501"/>
                  </a:lnTo>
                  <a:lnTo>
                    <a:pt x="1071" y="500"/>
                  </a:lnTo>
                  <a:lnTo>
                    <a:pt x="1068" y="498"/>
                  </a:lnTo>
                  <a:lnTo>
                    <a:pt x="1069" y="493"/>
                  </a:lnTo>
                  <a:lnTo>
                    <a:pt x="1066" y="492"/>
                  </a:lnTo>
                  <a:lnTo>
                    <a:pt x="1038" y="493"/>
                  </a:lnTo>
                  <a:lnTo>
                    <a:pt x="1039" y="499"/>
                  </a:lnTo>
                  <a:lnTo>
                    <a:pt x="1039" y="502"/>
                  </a:lnTo>
                  <a:lnTo>
                    <a:pt x="1038" y="505"/>
                  </a:lnTo>
                  <a:lnTo>
                    <a:pt x="1033" y="506"/>
                  </a:lnTo>
                  <a:lnTo>
                    <a:pt x="1027" y="507"/>
                  </a:lnTo>
                  <a:lnTo>
                    <a:pt x="1023" y="509"/>
                  </a:lnTo>
                  <a:lnTo>
                    <a:pt x="1021" y="512"/>
                  </a:lnTo>
                  <a:lnTo>
                    <a:pt x="1020" y="512"/>
                  </a:lnTo>
                  <a:lnTo>
                    <a:pt x="1020" y="511"/>
                  </a:lnTo>
                  <a:lnTo>
                    <a:pt x="1019" y="509"/>
                  </a:lnTo>
                  <a:lnTo>
                    <a:pt x="1019" y="510"/>
                  </a:lnTo>
                  <a:lnTo>
                    <a:pt x="1018" y="511"/>
                  </a:lnTo>
                  <a:lnTo>
                    <a:pt x="1018" y="512"/>
                  </a:lnTo>
                  <a:lnTo>
                    <a:pt x="1017" y="513"/>
                  </a:lnTo>
                  <a:lnTo>
                    <a:pt x="1013" y="512"/>
                  </a:lnTo>
                  <a:lnTo>
                    <a:pt x="1007" y="514"/>
                  </a:lnTo>
                  <a:lnTo>
                    <a:pt x="1001" y="514"/>
                  </a:lnTo>
                  <a:lnTo>
                    <a:pt x="1000" y="510"/>
                  </a:lnTo>
                  <a:lnTo>
                    <a:pt x="999" y="510"/>
                  </a:lnTo>
                  <a:lnTo>
                    <a:pt x="997" y="512"/>
                  </a:lnTo>
                  <a:lnTo>
                    <a:pt x="993" y="516"/>
                  </a:lnTo>
                  <a:lnTo>
                    <a:pt x="992" y="516"/>
                  </a:lnTo>
                  <a:lnTo>
                    <a:pt x="991" y="517"/>
                  </a:lnTo>
                  <a:lnTo>
                    <a:pt x="989" y="518"/>
                  </a:lnTo>
                  <a:lnTo>
                    <a:pt x="989" y="519"/>
                  </a:lnTo>
                  <a:lnTo>
                    <a:pt x="989" y="521"/>
                  </a:lnTo>
                  <a:lnTo>
                    <a:pt x="988" y="522"/>
                  </a:lnTo>
                  <a:lnTo>
                    <a:pt x="988" y="523"/>
                  </a:lnTo>
                  <a:lnTo>
                    <a:pt x="986" y="524"/>
                  </a:lnTo>
                  <a:lnTo>
                    <a:pt x="987" y="524"/>
                  </a:lnTo>
                  <a:lnTo>
                    <a:pt x="988" y="525"/>
                  </a:lnTo>
                  <a:lnTo>
                    <a:pt x="988" y="525"/>
                  </a:lnTo>
                  <a:lnTo>
                    <a:pt x="989" y="525"/>
                  </a:lnTo>
                  <a:lnTo>
                    <a:pt x="988" y="528"/>
                  </a:lnTo>
                  <a:lnTo>
                    <a:pt x="988" y="530"/>
                  </a:lnTo>
                  <a:lnTo>
                    <a:pt x="987" y="532"/>
                  </a:lnTo>
                  <a:lnTo>
                    <a:pt x="986" y="533"/>
                  </a:lnTo>
                  <a:lnTo>
                    <a:pt x="986" y="534"/>
                  </a:lnTo>
                  <a:lnTo>
                    <a:pt x="989" y="535"/>
                  </a:lnTo>
                  <a:lnTo>
                    <a:pt x="994" y="541"/>
                  </a:lnTo>
                  <a:lnTo>
                    <a:pt x="997" y="542"/>
                  </a:lnTo>
                  <a:lnTo>
                    <a:pt x="999" y="543"/>
                  </a:lnTo>
                  <a:lnTo>
                    <a:pt x="1000" y="544"/>
                  </a:lnTo>
                  <a:lnTo>
                    <a:pt x="1003" y="545"/>
                  </a:lnTo>
                  <a:lnTo>
                    <a:pt x="1005" y="547"/>
                  </a:lnTo>
                  <a:lnTo>
                    <a:pt x="1019" y="552"/>
                  </a:lnTo>
                  <a:lnTo>
                    <a:pt x="1022" y="552"/>
                  </a:lnTo>
                  <a:lnTo>
                    <a:pt x="1025" y="551"/>
                  </a:lnTo>
                  <a:lnTo>
                    <a:pt x="1027" y="549"/>
                  </a:lnTo>
                  <a:lnTo>
                    <a:pt x="1034" y="539"/>
                  </a:lnTo>
                  <a:lnTo>
                    <a:pt x="1035" y="539"/>
                  </a:lnTo>
                  <a:lnTo>
                    <a:pt x="1037" y="533"/>
                  </a:lnTo>
                  <a:lnTo>
                    <a:pt x="1039" y="531"/>
                  </a:lnTo>
                  <a:lnTo>
                    <a:pt x="1041" y="529"/>
                  </a:lnTo>
                  <a:lnTo>
                    <a:pt x="1044" y="529"/>
                  </a:lnTo>
                  <a:lnTo>
                    <a:pt x="1048" y="528"/>
                  </a:lnTo>
                  <a:lnTo>
                    <a:pt x="1049" y="529"/>
                  </a:lnTo>
                  <a:lnTo>
                    <a:pt x="1054" y="530"/>
                  </a:lnTo>
                  <a:lnTo>
                    <a:pt x="1056" y="531"/>
                  </a:lnTo>
                  <a:lnTo>
                    <a:pt x="1058" y="533"/>
                  </a:lnTo>
                  <a:lnTo>
                    <a:pt x="1058" y="534"/>
                  </a:lnTo>
                  <a:lnTo>
                    <a:pt x="1057" y="535"/>
                  </a:lnTo>
                  <a:lnTo>
                    <a:pt x="1056" y="536"/>
                  </a:lnTo>
                  <a:lnTo>
                    <a:pt x="1052" y="539"/>
                  </a:lnTo>
                  <a:lnTo>
                    <a:pt x="1048" y="544"/>
                  </a:lnTo>
                  <a:lnTo>
                    <a:pt x="1046" y="544"/>
                  </a:lnTo>
                  <a:lnTo>
                    <a:pt x="1044" y="544"/>
                  </a:lnTo>
                  <a:lnTo>
                    <a:pt x="1042" y="545"/>
                  </a:lnTo>
                  <a:lnTo>
                    <a:pt x="1040" y="546"/>
                  </a:lnTo>
                  <a:lnTo>
                    <a:pt x="1038" y="550"/>
                  </a:lnTo>
                  <a:lnTo>
                    <a:pt x="1037" y="551"/>
                  </a:lnTo>
                  <a:lnTo>
                    <a:pt x="1031" y="552"/>
                  </a:lnTo>
                  <a:lnTo>
                    <a:pt x="1030" y="552"/>
                  </a:lnTo>
                  <a:lnTo>
                    <a:pt x="1030" y="552"/>
                  </a:lnTo>
                  <a:lnTo>
                    <a:pt x="1029" y="552"/>
                  </a:lnTo>
                  <a:lnTo>
                    <a:pt x="1028" y="552"/>
                  </a:lnTo>
                  <a:lnTo>
                    <a:pt x="1027" y="553"/>
                  </a:lnTo>
                  <a:lnTo>
                    <a:pt x="1026" y="554"/>
                  </a:lnTo>
                  <a:lnTo>
                    <a:pt x="1026" y="555"/>
                  </a:lnTo>
                  <a:lnTo>
                    <a:pt x="1028" y="555"/>
                  </a:lnTo>
                  <a:lnTo>
                    <a:pt x="1030" y="557"/>
                  </a:lnTo>
                  <a:lnTo>
                    <a:pt x="1035" y="564"/>
                  </a:lnTo>
                  <a:lnTo>
                    <a:pt x="1036" y="566"/>
                  </a:lnTo>
                  <a:lnTo>
                    <a:pt x="1038" y="566"/>
                  </a:lnTo>
                  <a:lnTo>
                    <a:pt x="1046" y="566"/>
                  </a:lnTo>
                  <a:lnTo>
                    <a:pt x="1055" y="568"/>
                  </a:lnTo>
                  <a:lnTo>
                    <a:pt x="1059" y="570"/>
                  </a:lnTo>
                  <a:lnTo>
                    <a:pt x="1063" y="573"/>
                  </a:lnTo>
                  <a:lnTo>
                    <a:pt x="1065" y="574"/>
                  </a:lnTo>
                  <a:lnTo>
                    <a:pt x="1071" y="575"/>
                  </a:lnTo>
                  <a:lnTo>
                    <a:pt x="1076" y="577"/>
                  </a:lnTo>
                  <a:lnTo>
                    <a:pt x="1079" y="577"/>
                  </a:lnTo>
                  <a:lnTo>
                    <a:pt x="1089" y="576"/>
                  </a:lnTo>
                  <a:lnTo>
                    <a:pt x="1094" y="575"/>
                  </a:lnTo>
                  <a:lnTo>
                    <a:pt x="1098" y="573"/>
                  </a:lnTo>
                  <a:lnTo>
                    <a:pt x="1098" y="571"/>
                  </a:lnTo>
                  <a:close/>
                  <a:moveTo>
                    <a:pt x="849" y="466"/>
                  </a:moveTo>
                  <a:lnTo>
                    <a:pt x="850" y="475"/>
                  </a:lnTo>
                  <a:lnTo>
                    <a:pt x="852" y="475"/>
                  </a:lnTo>
                  <a:lnTo>
                    <a:pt x="859" y="464"/>
                  </a:lnTo>
                  <a:lnTo>
                    <a:pt x="860" y="459"/>
                  </a:lnTo>
                  <a:lnTo>
                    <a:pt x="855" y="456"/>
                  </a:lnTo>
                  <a:lnTo>
                    <a:pt x="854" y="456"/>
                  </a:lnTo>
                  <a:lnTo>
                    <a:pt x="852" y="456"/>
                  </a:lnTo>
                  <a:lnTo>
                    <a:pt x="852" y="456"/>
                  </a:lnTo>
                  <a:lnTo>
                    <a:pt x="853" y="458"/>
                  </a:lnTo>
                  <a:lnTo>
                    <a:pt x="849" y="461"/>
                  </a:lnTo>
                  <a:lnTo>
                    <a:pt x="849" y="466"/>
                  </a:lnTo>
                  <a:close/>
                  <a:moveTo>
                    <a:pt x="76" y="490"/>
                  </a:moveTo>
                  <a:lnTo>
                    <a:pt x="75" y="484"/>
                  </a:lnTo>
                  <a:lnTo>
                    <a:pt x="74" y="482"/>
                  </a:lnTo>
                  <a:lnTo>
                    <a:pt x="72" y="479"/>
                  </a:lnTo>
                  <a:lnTo>
                    <a:pt x="71" y="479"/>
                  </a:lnTo>
                  <a:lnTo>
                    <a:pt x="70" y="480"/>
                  </a:lnTo>
                  <a:lnTo>
                    <a:pt x="67" y="481"/>
                  </a:lnTo>
                  <a:lnTo>
                    <a:pt x="64" y="481"/>
                  </a:lnTo>
                  <a:lnTo>
                    <a:pt x="63" y="480"/>
                  </a:lnTo>
                  <a:lnTo>
                    <a:pt x="60" y="478"/>
                  </a:lnTo>
                  <a:lnTo>
                    <a:pt x="57" y="477"/>
                  </a:lnTo>
                  <a:lnTo>
                    <a:pt x="53" y="476"/>
                  </a:lnTo>
                  <a:lnTo>
                    <a:pt x="51" y="475"/>
                  </a:lnTo>
                  <a:lnTo>
                    <a:pt x="49" y="474"/>
                  </a:lnTo>
                  <a:lnTo>
                    <a:pt x="48" y="473"/>
                  </a:lnTo>
                  <a:lnTo>
                    <a:pt x="45" y="451"/>
                  </a:lnTo>
                  <a:lnTo>
                    <a:pt x="43" y="447"/>
                  </a:lnTo>
                  <a:lnTo>
                    <a:pt x="46" y="448"/>
                  </a:lnTo>
                  <a:lnTo>
                    <a:pt x="47" y="447"/>
                  </a:lnTo>
                  <a:lnTo>
                    <a:pt x="48" y="443"/>
                  </a:lnTo>
                  <a:lnTo>
                    <a:pt x="44" y="442"/>
                  </a:lnTo>
                  <a:lnTo>
                    <a:pt x="35" y="437"/>
                  </a:lnTo>
                  <a:lnTo>
                    <a:pt x="35" y="436"/>
                  </a:lnTo>
                  <a:lnTo>
                    <a:pt x="37" y="436"/>
                  </a:lnTo>
                  <a:lnTo>
                    <a:pt x="37" y="434"/>
                  </a:lnTo>
                  <a:lnTo>
                    <a:pt x="35" y="434"/>
                  </a:lnTo>
                  <a:lnTo>
                    <a:pt x="34" y="432"/>
                  </a:lnTo>
                  <a:lnTo>
                    <a:pt x="33" y="429"/>
                  </a:lnTo>
                  <a:lnTo>
                    <a:pt x="34" y="427"/>
                  </a:lnTo>
                  <a:lnTo>
                    <a:pt x="36" y="425"/>
                  </a:lnTo>
                  <a:lnTo>
                    <a:pt x="45" y="421"/>
                  </a:lnTo>
                  <a:lnTo>
                    <a:pt x="49" y="419"/>
                  </a:lnTo>
                  <a:lnTo>
                    <a:pt x="51" y="415"/>
                  </a:lnTo>
                  <a:lnTo>
                    <a:pt x="51" y="409"/>
                  </a:lnTo>
                  <a:lnTo>
                    <a:pt x="50" y="409"/>
                  </a:lnTo>
                  <a:lnTo>
                    <a:pt x="50" y="411"/>
                  </a:lnTo>
                  <a:lnTo>
                    <a:pt x="49" y="411"/>
                  </a:lnTo>
                  <a:lnTo>
                    <a:pt x="48" y="408"/>
                  </a:lnTo>
                  <a:lnTo>
                    <a:pt x="46" y="407"/>
                  </a:lnTo>
                  <a:lnTo>
                    <a:pt x="42" y="406"/>
                  </a:lnTo>
                  <a:lnTo>
                    <a:pt x="41" y="405"/>
                  </a:lnTo>
                  <a:lnTo>
                    <a:pt x="39" y="404"/>
                  </a:lnTo>
                  <a:lnTo>
                    <a:pt x="38" y="402"/>
                  </a:lnTo>
                  <a:lnTo>
                    <a:pt x="36" y="402"/>
                  </a:lnTo>
                  <a:lnTo>
                    <a:pt x="32" y="405"/>
                  </a:lnTo>
                  <a:lnTo>
                    <a:pt x="28" y="406"/>
                  </a:lnTo>
                  <a:lnTo>
                    <a:pt x="23" y="407"/>
                  </a:lnTo>
                  <a:lnTo>
                    <a:pt x="8" y="408"/>
                  </a:lnTo>
                  <a:lnTo>
                    <a:pt x="7" y="408"/>
                  </a:lnTo>
                  <a:lnTo>
                    <a:pt x="6" y="410"/>
                  </a:lnTo>
                  <a:lnTo>
                    <a:pt x="2" y="416"/>
                  </a:lnTo>
                  <a:lnTo>
                    <a:pt x="0" y="417"/>
                  </a:lnTo>
                  <a:lnTo>
                    <a:pt x="2" y="418"/>
                  </a:lnTo>
                  <a:lnTo>
                    <a:pt x="4" y="419"/>
                  </a:lnTo>
                  <a:lnTo>
                    <a:pt x="4" y="421"/>
                  </a:lnTo>
                  <a:lnTo>
                    <a:pt x="4" y="425"/>
                  </a:lnTo>
                  <a:lnTo>
                    <a:pt x="7" y="422"/>
                  </a:lnTo>
                  <a:lnTo>
                    <a:pt x="8" y="424"/>
                  </a:lnTo>
                  <a:lnTo>
                    <a:pt x="8" y="429"/>
                  </a:lnTo>
                  <a:lnTo>
                    <a:pt x="9" y="432"/>
                  </a:lnTo>
                  <a:lnTo>
                    <a:pt x="10" y="433"/>
                  </a:lnTo>
                  <a:lnTo>
                    <a:pt x="12" y="433"/>
                  </a:lnTo>
                  <a:lnTo>
                    <a:pt x="15" y="433"/>
                  </a:lnTo>
                  <a:lnTo>
                    <a:pt x="15" y="434"/>
                  </a:lnTo>
                  <a:lnTo>
                    <a:pt x="19" y="444"/>
                  </a:lnTo>
                  <a:lnTo>
                    <a:pt x="21" y="445"/>
                  </a:lnTo>
                  <a:lnTo>
                    <a:pt x="25" y="447"/>
                  </a:lnTo>
                  <a:lnTo>
                    <a:pt x="29" y="450"/>
                  </a:lnTo>
                  <a:lnTo>
                    <a:pt x="32" y="454"/>
                  </a:lnTo>
                  <a:lnTo>
                    <a:pt x="34" y="458"/>
                  </a:lnTo>
                  <a:lnTo>
                    <a:pt x="35" y="466"/>
                  </a:lnTo>
                  <a:lnTo>
                    <a:pt x="36" y="471"/>
                  </a:lnTo>
                  <a:lnTo>
                    <a:pt x="38" y="475"/>
                  </a:lnTo>
                  <a:lnTo>
                    <a:pt x="40" y="478"/>
                  </a:lnTo>
                  <a:lnTo>
                    <a:pt x="40" y="478"/>
                  </a:lnTo>
                  <a:lnTo>
                    <a:pt x="40" y="477"/>
                  </a:lnTo>
                  <a:lnTo>
                    <a:pt x="40" y="476"/>
                  </a:lnTo>
                  <a:lnTo>
                    <a:pt x="42" y="478"/>
                  </a:lnTo>
                  <a:lnTo>
                    <a:pt x="48" y="479"/>
                  </a:lnTo>
                  <a:lnTo>
                    <a:pt x="47" y="481"/>
                  </a:lnTo>
                  <a:lnTo>
                    <a:pt x="46" y="482"/>
                  </a:lnTo>
                  <a:lnTo>
                    <a:pt x="45" y="482"/>
                  </a:lnTo>
                  <a:lnTo>
                    <a:pt x="45" y="483"/>
                  </a:lnTo>
                  <a:lnTo>
                    <a:pt x="47" y="483"/>
                  </a:lnTo>
                  <a:lnTo>
                    <a:pt x="49" y="483"/>
                  </a:lnTo>
                  <a:lnTo>
                    <a:pt x="52" y="484"/>
                  </a:lnTo>
                  <a:lnTo>
                    <a:pt x="54" y="485"/>
                  </a:lnTo>
                  <a:lnTo>
                    <a:pt x="58" y="488"/>
                  </a:lnTo>
                  <a:lnTo>
                    <a:pt x="59" y="489"/>
                  </a:lnTo>
                  <a:lnTo>
                    <a:pt x="62" y="489"/>
                  </a:lnTo>
                  <a:lnTo>
                    <a:pt x="64" y="490"/>
                  </a:lnTo>
                  <a:lnTo>
                    <a:pt x="67" y="491"/>
                  </a:lnTo>
                  <a:lnTo>
                    <a:pt x="71" y="494"/>
                  </a:lnTo>
                  <a:lnTo>
                    <a:pt x="75" y="495"/>
                  </a:lnTo>
                  <a:lnTo>
                    <a:pt x="76" y="496"/>
                  </a:lnTo>
                  <a:lnTo>
                    <a:pt x="78" y="495"/>
                  </a:lnTo>
                  <a:lnTo>
                    <a:pt x="78" y="494"/>
                  </a:lnTo>
                  <a:lnTo>
                    <a:pt x="76" y="490"/>
                  </a:lnTo>
                  <a:close/>
                  <a:moveTo>
                    <a:pt x="896" y="371"/>
                  </a:moveTo>
                  <a:lnTo>
                    <a:pt x="894" y="368"/>
                  </a:lnTo>
                  <a:lnTo>
                    <a:pt x="892" y="365"/>
                  </a:lnTo>
                  <a:lnTo>
                    <a:pt x="889" y="364"/>
                  </a:lnTo>
                  <a:lnTo>
                    <a:pt x="880" y="366"/>
                  </a:lnTo>
                  <a:lnTo>
                    <a:pt x="878" y="367"/>
                  </a:lnTo>
                  <a:lnTo>
                    <a:pt x="877" y="366"/>
                  </a:lnTo>
                  <a:lnTo>
                    <a:pt x="877" y="365"/>
                  </a:lnTo>
                  <a:lnTo>
                    <a:pt x="876" y="364"/>
                  </a:lnTo>
                  <a:lnTo>
                    <a:pt x="874" y="364"/>
                  </a:lnTo>
                  <a:lnTo>
                    <a:pt x="864" y="366"/>
                  </a:lnTo>
                  <a:lnTo>
                    <a:pt x="858" y="367"/>
                  </a:lnTo>
                  <a:lnTo>
                    <a:pt x="858" y="368"/>
                  </a:lnTo>
                  <a:lnTo>
                    <a:pt x="860" y="369"/>
                  </a:lnTo>
                  <a:lnTo>
                    <a:pt x="860" y="371"/>
                  </a:lnTo>
                  <a:lnTo>
                    <a:pt x="860" y="374"/>
                  </a:lnTo>
                  <a:lnTo>
                    <a:pt x="860" y="377"/>
                  </a:lnTo>
                  <a:lnTo>
                    <a:pt x="862" y="379"/>
                  </a:lnTo>
                  <a:lnTo>
                    <a:pt x="863" y="380"/>
                  </a:lnTo>
                  <a:lnTo>
                    <a:pt x="864" y="382"/>
                  </a:lnTo>
                  <a:lnTo>
                    <a:pt x="863" y="385"/>
                  </a:lnTo>
                  <a:lnTo>
                    <a:pt x="864" y="385"/>
                  </a:lnTo>
                  <a:lnTo>
                    <a:pt x="863" y="386"/>
                  </a:lnTo>
                  <a:lnTo>
                    <a:pt x="862" y="386"/>
                  </a:lnTo>
                  <a:lnTo>
                    <a:pt x="861" y="387"/>
                  </a:lnTo>
                  <a:lnTo>
                    <a:pt x="861" y="388"/>
                  </a:lnTo>
                  <a:lnTo>
                    <a:pt x="863" y="388"/>
                  </a:lnTo>
                  <a:lnTo>
                    <a:pt x="863" y="389"/>
                  </a:lnTo>
                  <a:lnTo>
                    <a:pt x="861" y="390"/>
                  </a:lnTo>
                  <a:lnTo>
                    <a:pt x="860" y="391"/>
                  </a:lnTo>
                  <a:lnTo>
                    <a:pt x="861" y="392"/>
                  </a:lnTo>
                  <a:lnTo>
                    <a:pt x="860" y="393"/>
                  </a:lnTo>
                  <a:lnTo>
                    <a:pt x="862" y="394"/>
                  </a:lnTo>
                  <a:lnTo>
                    <a:pt x="863" y="395"/>
                  </a:lnTo>
                  <a:lnTo>
                    <a:pt x="864" y="395"/>
                  </a:lnTo>
                  <a:lnTo>
                    <a:pt x="862" y="396"/>
                  </a:lnTo>
                  <a:lnTo>
                    <a:pt x="862" y="397"/>
                  </a:lnTo>
                  <a:lnTo>
                    <a:pt x="861" y="398"/>
                  </a:lnTo>
                  <a:lnTo>
                    <a:pt x="860" y="399"/>
                  </a:lnTo>
                  <a:lnTo>
                    <a:pt x="861" y="399"/>
                  </a:lnTo>
                  <a:lnTo>
                    <a:pt x="863" y="398"/>
                  </a:lnTo>
                  <a:lnTo>
                    <a:pt x="872" y="395"/>
                  </a:lnTo>
                  <a:lnTo>
                    <a:pt x="873" y="396"/>
                  </a:lnTo>
                  <a:lnTo>
                    <a:pt x="873" y="397"/>
                  </a:lnTo>
                  <a:lnTo>
                    <a:pt x="873" y="397"/>
                  </a:lnTo>
                  <a:lnTo>
                    <a:pt x="873" y="399"/>
                  </a:lnTo>
                  <a:lnTo>
                    <a:pt x="874" y="399"/>
                  </a:lnTo>
                  <a:lnTo>
                    <a:pt x="875" y="397"/>
                  </a:lnTo>
                  <a:lnTo>
                    <a:pt x="877" y="395"/>
                  </a:lnTo>
                  <a:lnTo>
                    <a:pt x="879" y="395"/>
                  </a:lnTo>
                  <a:lnTo>
                    <a:pt x="880" y="397"/>
                  </a:lnTo>
                  <a:lnTo>
                    <a:pt x="879" y="398"/>
                  </a:lnTo>
                  <a:lnTo>
                    <a:pt x="876" y="403"/>
                  </a:lnTo>
                  <a:lnTo>
                    <a:pt x="881" y="406"/>
                  </a:lnTo>
                  <a:lnTo>
                    <a:pt x="883" y="406"/>
                  </a:lnTo>
                  <a:lnTo>
                    <a:pt x="887" y="406"/>
                  </a:lnTo>
                  <a:lnTo>
                    <a:pt x="888" y="405"/>
                  </a:lnTo>
                  <a:lnTo>
                    <a:pt x="887" y="402"/>
                  </a:lnTo>
                  <a:lnTo>
                    <a:pt x="885" y="398"/>
                  </a:lnTo>
                  <a:lnTo>
                    <a:pt x="883" y="396"/>
                  </a:lnTo>
                  <a:lnTo>
                    <a:pt x="883" y="397"/>
                  </a:lnTo>
                  <a:lnTo>
                    <a:pt x="883" y="397"/>
                  </a:lnTo>
                  <a:lnTo>
                    <a:pt x="881" y="398"/>
                  </a:lnTo>
                  <a:lnTo>
                    <a:pt x="882" y="395"/>
                  </a:lnTo>
                  <a:lnTo>
                    <a:pt x="884" y="392"/>
                  </a:lnTo>
                  <a:lnTo>
                    <a:pt x="886" y="390"/>
                  </a:lnTo>
                  <a:lnTo>
                    <a:pt x="889" y="389"/>
                  </a:lnTo>
                  <a:lnTo>
                    <a:pt x="888" y="388"/>
                  </a:lnTo>
                  <a:lnTo>
                    <a:pt x="887" y="388"/>
                  </a:lnTo>
                  <a:lnTo>
                    <a:pt x="886" y="388"/>
                  </a:lnTo>
                  <a:lnTo>
                    <a:pt x="884" y="388"/>
                  </a:lnTo>
                  <a:lnTo>
                    <a:pt x="891" y="382"/>
                  </a:lnTo>
                  <a:lnTo>
                    <a:pt x="893" y="383"/>
                  </a:lnTo>
                  <a:lnTo>
                    <a:pt x="895" y="384"/>
                  </a:lnTo>
                  <a:lnTo>
                    <a:pt x="897" y="386"/>
                  </a:lnTo>
                  <a:lnTo>
                    <a:pt x="897" y="388"/>
                  </a:lnTo>
                  <a:lnTo>
                    <a:pt x="897" y="390"/>
                  </a:lnTo>
                  <a:lnTo>
                    <a:pt x="894" y="392"/>
                  </a:lnTo>
                  <a:lnTo>
                    <a:pt x="891" y="395"/>
                  </a:lnTo>
                  <a:lnTo>
                    <a:pt x="894" y="395"/>
                  </a:lnTo>
                  <a:lnTo>
                    <a:pt x="896" y="400"/>
                  </a:lnTo>
                  <a:lnTo>
                    <a:pt x="899" y="401"/>
                  </a:lnTo>
                  <a:lnTo>
                    <a:pt x="899" y="402"/>
                  </a:lnTo>
                  <a:lnTo>
                    <a:pt x="899" y="403"/>
                  </a:lnTo>
                  <a:lnTo>
                    <a:pt x="900" y="405"/>
                  </a:lnTo>
                  <a:lnTo>
                    <a:pt x="901" y="406"/>
                  </a:lnTo>
                  <a:lnTo>
                    <a:pt x="906" y="408"/>
                  </a:lnTo>
                  <a:lnTo>
                    <a:pt x="907" y="408"/>
                  </a:lnTo>
                  <a:lnTo>
                    <a:pt x="908" y="409"/>
                  </a:lnTo>
                  <a:lnTo>
                    <a:pt x="909" y="408"/>
                  </a:lnTo>
                  <a:lnTo>
                    <a:pt x="909" y="406"/>
                  </a:lnTo>
                  <a:lnTo>
                    <a:pt x="909" y="405"/>
                  </a:lnTo>
                  <a:lnTo>
                    <a:pt x="911" y="404"/>
                  </a:lnTo>
                  <a:lnTo>
                    <a:pt x="912" y="404"/>
                  </a:lnTo>
                  <a:lnTo>
                    <a:pt x="912" y="403"/>
                  </a:lnTo>
                  <a:lnTo>
                    <a:pt x="912" y="402"/>
                  </a:lnTo>
                  <a:lnTo>
                    <a:pt x="910" y="400"/>
                  </a:lnTo>
                  <a:lnTo>
                    <a:pt x="908" y="398"/>
                  </a:lnTo>
                  <a:lnTo>
                    <a:pt x="908" y="396"/>
                  </a:lnTo>
                  <a:lnTo>
                    <a:pt x="909" y="393"/>
                  </a:lnTo>
                  <a:lnTo>
                    <a:pt x="907" y="392"/>
                  </a:lnTo>
                  <a:lnTo>
                    <a:pt x="907" y="390"/>
                  </a:lnTo>
                  <a:lnTo>
                    <a:pt x="909" y="388"/>
                  </a:lnTo>
                  <a:lnTo>
                    <a:pt x="912" y="387"/>
                  </a:lnTo>
                  <a:lnTo>
                    <a:pt x="910" y="386"/>
                  </a:lnTo>
                  <a:lnTo>
                    <a:pt x="908" y="385"/>
                  </a:lnTo>
                  <a:lnTo>
                    <a:pt x="909" y="384"/>
                  </a:lnTo>
                  <a:lnTo>
                    <a:pt x="911" y="383"/>
                  </a:lnTo>
                  <a:lnTo>
                    <a:pt x="912" y="382"/>
                  </a:lnTo>
                  <a:lnTo>
                    <a:pt x="915" y="382"/>
                  </a:lnTo>
                  <a:lnTo>
                    <a:pt x="914" y="377"/>
                  </a:lnTo>
                  <a:lnTo>
                    <a:pt x="917" y="373"/>
                  </a:lnTo>
                  <a:lnTo>
                    <a:pt x="921" y="370"/>
                  </a:lnTo>
                  <a:lnTo>
                    <a:pt x="924" y="368"/>
                  </a:lnTo>
                  <a:lnTo>
                    <a:pt x="924" y="367"/>
                  </a:lnTo>
                  <a:lnTo>
                    <a:pt x="924" y="365"/>
                  </a:lnTo>
                  <a:lnTo>
                    <a:pt x="923" y="363"/>
                  </a:lnTo>
                  <a:lnTo>
                    <a:pt x="923" y="363"/>
                  </a:lnTo>
                  <a:lnTo>
                    <a:pt x="923" y="362"/>
                  </a:lnTo>
                  <a:lnTo>
                    <a:pt x="922" y="362"/>
                  </a:lnTo>
                  <a:lnTo>
                    <a:pt x="922" y="361"/>
                  </a:lnTo>
                  <a:lnTo>
                    <a:pt x="923" y="360"/>
                  </a:lnTo>
                  <a:lnTo>
                    <a:pt x="924" y="358"/>
                  </a:lnTo>
                  <a:lnTo>
                    <a:pt x="920" y="361"/>
                  </a:lnTo>
                  <a:lnTo>
                    <a:pt x="918" y="361"/>
                  </a:lnTo>
                  <a:lnTo>
                    <a:pt x="914" y="361"/>
                  </a:lnTo>
                  <a:lnTo>
                    <a:pt x="913" y="361"/>
                  </a:lnTo>
                  <a:lnTo>
                    <a:pt x="912" y="363"/>
                  </a:lnTo>
                  <a:lnTo>
                    <a:pt x="908" y="368"/>
                  </a:lnTo>
                  <a:lnTo>
                    <a:pt x="908" y="369"/>
                  </a:lnTo>
                  <a:lnTo>
                    <a:pt x="906" y="371"/>
                  </a:lnTo>
                  <a:lnTo>
                    <a:pt x="902" y="374"/>
                  </a:lnTo>
                  <a:lnTo>
                    <a:pt x="898" y="375"/>
                  </a:lnTo>
                  <a:lnTo>
                    <a:pt x="898" y="374"/>
                  </a:lnTo>
                  <a:lnTo>
                    <a:pt x="896" y="371"/>
                  </a:lnTo>
                  <a:close/>
                  <a:moveTo>
                    <a:pt x="962" y="267"/>
                  </a:moveTo>
                  <a:lnTo>
                    <a:pt x="960" y="265"/>
                  </a:lnTo>
                  <a:lnTo>
                    <a:pt x="957" y="263"/>
                  </a:lnTo>
                  <a:lnTo>
                    <a:pt x="944" y="259"/>
                  </a:lnTo>
                  <a:lnTo>
                    <a:pt x="940" y="259"/>
                  </a:lnTo>
                  <a:lnTo>
                    <a:pt x="936" y="260"/>
                  </a:lnTo>
                  <a:lnTo>
                    <a:pt x="926" y="266"/>
                  </a:lnTo>
                  <a:lnTo>
                    <a:pt x="923" y="266"/>
                  </a:lnTo>
                  <a:lnTo>
                    <a:pt x="925" y="269"/>
                  </a:lnTo>
                  <a:lnTo>
                    <a:pt x="927" y="271"/>
                  </a:lnTo>
                  <a:lnTo>
                    <a:pt x="937" y="280"/>
                  </a:lnTo>
                  <a:lnTo>
                    <a:pt x="943" y="283"/>
                  </a:lnTo>
                  <a:lnTo>
                    <a:pt x="947" y="283"/>
                  </a:lnTo>
                  <a:lnTo>
                    <a:pt x="961" y="278"/>
                  </a:lnTo>
                  <a:lnTo>
                    <a:pt x="963" y="276"/>
                  </a:lnTo>
                  <a:lnTo>
                    <a:pt x="962" y="273"/>
                  </a:lnTo>
                  <a:lnTo>
                    <a:pt x="964" y="270"/>
                  </a:lnTo>
                  <a:lnTo>
                    <a:pt x="962" y="267"/>
                  </a:lnTo>
                  <a:close/>
                  <a:moveTo>
                    <a:pt x="819" y="213"/>
                  </a:moveTo>
                  <a:lnTo>
                    <a:pt x="819" y="212"/>
                  </a:lnTo>
                  <a:lnTo>
                    <a:pt x="817" y="210"/>
                  </a:lnTo>
                  <a:lnTo>
                    <a:pt x="816" y="209"/>
                  </a:lnTo>
                  <a:lnTo>
                    <a:pt x="814" y="209"/>
                  </a:lnTo>
                  <a:lnTo>
                    <a:pt x="812" y="208"/>
                  </a:lnTo>
                  <a:lnTo>
                    <a:pt x="811" y="206"/>
                  </a:lnTo>
                  <a:lnTo>
                    <a:pt x="811" y="204"/>
                  </a:lnTo>
                  <a:lnTo>
                    <a:pt x="810" y="203"/>
                  </a:lnTo>
                  <a:lnTo>
                    <a:pt x="808" y="202"/>
                  </a:lnTo>
                  <a:lnTo>
                    <a:pt x="801" y="201"/>
                  </a:lnTo>
                  <a:lnTo>
                    <a:pt x="796" y="199"/>
                  </a:lnTo>
                  <a:lnTo>
                    <a:pt x="784" y="209"/>
                  </a:lnTo>
                  <a:lnTo>
                    <a:pt x="779" y="217"/>
                  </a:lnTo>
                  <a:lnTo>
                    <a:pt x="776" y="222"/>
                  </a:lnTo>
                  <a:lnTo>
                    <a:pt x="776" y="227"/>
                  </a:lnTo>
                  <a:lnTo>
                    <a:pt x="776" y="233"/>
                  </a:lnTo>
                  <a:lnTo>
                    <a:pt x="778" y="235"/>
                  </a:lnTo>
                  <a:lnTo>
                    <a:pt x="782" y="235"/>
                  </a:lnTo>
                  <a:lnTo>
                    <a:pt x="786" y="236"/>
                  </a:lnTo>
                  <a:lnTo>
                    <a:pt x="787" y="237"/>
                  </a:lnTo>
                  <a:lnTo>
                    <a:pt x="790" y="239"/>
                  </a:lnTo>
                  <a:lnTo>
                    <a:pt x="790" y="239"/>
                  </a:lnTo>
                  <a:lnTo>
                    <a:pt x="790" y="241"/>
                  </a:lnTo>
                  <a:lnTo>
                    <a:pt x="790" y="242"/>
                  </a:lnTo>
                  <a:lnTo>
                    <a:pt x="790" y="242"/>
                  </a:lnTo>
                  <a:lnTo>
                    <a:pt x="791" y="241"/>
                  </a:lnTo>
                  <a:lnTo>
                    <a:pt x="792" y="242"/>
                  </a:lnTo>
                  <a:lnTo>
                    <a:pt x="794" y="244"/>
                  </a:lnTo>
                  <a:lnTo>
                    <a:pt x="795" y="246"/>
                  </a:lnTo>
                  <a:lnTo>
                    <a:pt x="796" y="247"/>
                  </a:lnTo>
                  <a:lnTo>
                    <a:pt x="799" y="246"/>
                  </a:lnTo>
                  <a:lnTo>
                    <a:pt x="802" y="242"/>
                  </a:lnTo>
                  <a:lnTo>
                    <a:pt x="804" y="242"/>
                  </a:lnTo>
                  <a:lnTo>
                    <a:pt x="810" y="241"/>
                  </a:lnTo>
                  <a:lnTo>
                    <a:pt x="812" y="240"/>
                  </a:lnTo>
                  <a:lnTo>
                    <a:pt x="814" y="238"/>
                  </a:lnTo>
                  <a:lnTo>
                    <a:pt x="814" y="237"/>
                  </a:lnTo>
                  <a:lnTo>
                    <a:pt x="817" y="239"/>
                  </a:lnTo>
                  <a:lnTo>
                    <a:pt x="818" y="239"/>
                  </a:lnTo>
                  <a:lnTo>
                    <a:pt x="818" y="237"/>
                  </a:lnTo>
                  <a:lnTo>
                    <a:pt x="818" y="236"/>
                  </a:lnTo>
                  <a:lnTo>
                    <a:pt x="817" y="233"/>
                  </a:lnTo>
                  <a:lnTo>
                    <a:pt x="816" y="227"/>
                  </a:lnTo>
                  <a:lnTo>
                    <a:pt x="816" y="224"/>
                  </a:lnTo>
                  <a:lnTo>
                    <a:pt x="819" y="223"/>
                  </a:lnTo>
                  <a:lnTo>
                    <a:pt x="819" y="219"/>
                  </a:lnTo>
                  <a:lnTo>
                    <a:pt x="816" y="218"/>
                  </a:lnTo>
                  <a:lnTo>
                    <a:pt x="815" y="216"/>
                  </a:lnTo>
                  <a:lnTo>
                    <a:pt x="816" y="213"/>
                  </a:lnTo>
                  <a:lnTo>
                    <a:pt x="819" y="213"/>
                  </a:lnTo>
                  <a:close/>
                  <a:moveTo>
                    <a:pt x="577" y="901"/>
                  </a:moveTo>
                  <a:lnTo>
                    <a:pt x="575" y="901"/>
                  </a:lnTo>
                  <a:lnTo>
                    <a:pt x="575" y="900"/>
                  </a:lnTo>
                  <a:lnTo>
                    <a:pt x="576" y="898"/>
                  </a:lnTo>
                  <a:lnTo>
                    <a:pt x="575" y="899"/>
                  </a:lnTo>
                  <a:lnTo>
                    <a:pt x="573" y="898"/>
                  </a:lnTo>
                  <a:lnTo>
                    <a:pt x="572" y="897"/>
                  </a:lnTo>
                  <a:lnTo>
                    <a:pt x="572" y="896"/>
                  </a:lnTo>
                  <a:lnTo>
                    <a:pt x="577" y="894"/>
                  </a:lnTo>
                  <a:lnTo>
                    <a:pt x="577" y="892"/>
                  </a:lnTo>
                  <a:lnTo>
                    <a:pt x="579" y="892"/>
                  </a:lnTo>
                  <a:lnTo>
                    <a:pt x="585" y="893"/>
                  </a:lnTo>
                  <a:lnTo>
                    <a:pt x="585" y="892"/>
                  </a:lnTo>
                  <a:lnTo>
                    <a:pt x="585" y="891"/>
                  </a:lnTo>
                  <a:lnTo>
                    <a:pt x="584" y="891"/>
                  </a:lnTo>
                  <a:lnTo>
                    <a:pt x="584" y="890"/>
                  </a:lnTo>
                  <a:lnTo>
                    <a:pt x="587" y="891"/>
                  </a:lnTo>
                  <a:lnTo>
                    <a:pt x="606" y="890"/>
                  </a:lnTo>
                  <a:lnTo>
                    <a:pt x="606" y="890"/>
                  </a:lnTo>
                  <a:lnTo>
                    <a:pt x="616" y="886"/>
                  </a:lnTo>
                  <a:lnTo>
                    <a:pt x="619" y="885"/>
                  </a:lnTo>
                  <a:lnTo>
                    <a:pt x="619" y="883"/>
                  </a:lnTo>
                  <a:lnTo>
                    <a:pt x="618" y="882"/>
                  </a:lnTo>
                  <a:lnTo>
                    <a:pt x="618" y="882"/>
                  </a:lnTo>
                  <a:lnTo>
                    <a:pt x="618" y="881"/>
                  </a:lnTo>
                  <a:lnTo>
                    <a:pt x="619" y="881"/>
                  </a:lnTo>
                  <a:lnTo>
                    <a:pt x="612" y="874"/>
                  </a:lnTo>
                  <a:lnTo>
                    <a:pt x="608" y="873"/>
                  </a:lnTo>
                  <a:lnTo>
                    <a:pt x="605" y="871"/>
                  </a:lnTo>
                  <a:lnTo>
                    <a:pt x="601" y="870"/>
                  </a:lnTo>
                  <a:lnTo>
                    <a:pt x="599" y="870"/>
                  </a:lnTo>
                  <a:lnTo>
                    <a:pt x="598" y="870"/>
                  </a:lnTo>
                  <a:lnTo>
                    <a:pt x="598" y="868"/>
                  </a:lnTo>
                  <a:lnTo>
                    <a:pt x="600" y="868"/>
                  </a:lnTo>
                  <a:lnTo>
                    <a:pt x="602" y="867"/>
                  </a:lnTo>
                  <a:lnTo>
                    <a:pt x="602" y="866"/>
                  </a:lnTo>
                  <a:lnTo>
                    <a:pt x="600" y="865"/>
                  </a:lnTo>
                  <a:lnTo>
                    <a:pt x="598" y="864"/>
                  </a:lnTo>
                  <a:lnTo>
                    <a:pt x="596" y="863"/>
                  </a:lnTo>
                  <a:lnTo>
                    <a:pt x="595" y="862"/>
                  </a:lnTo>
                  <a:lnTo>
                    <a:pt x="598" y="858"/>
                  </a:lnTo>
                  <a:lnTo>
                    <a:pt x="600" y="853"/>
                  </a:lnTo>
                  <a:lnTo>
                    <a:pt x="600" y="847"/>
                  </a:lnTo>
                  <a:lnTo>
                    <a:pt x="599" y="845"/>
                  </a:lnTo>
                  <a:lnTo>
                    <a:pt x="591" y="846"/>
                  </a:lnTo>
                  <a:lnTo>
                    <a:pt x="588" y="847"/>
                  </a:lnTo>
                  <a:lnTo>
                    <a:pt x="585" y="849"/>
                  </a:lnTo>
                  <a:lnTo>
                    <a:pt x="585" y="851"/>
                  </a:lnTo>
                  <a:lnTo>
                    <a:pt x="590" y="852"/>
                  </a:lnTo>
                  <a:lnTo>
                    <a:pt x="592" y="858"/>
                  </a:lnTo>
                  <a:lnTo>
                    <a:pt x="593" y="863"/>
                  </a:lnTo>
                  <a:lnTo>
                    <a:pt x="589" y="866"/>
                  </a:lnTo>
                  <a:lnTo>
                    <a:pt x="587" y="865"/>
                  </a:lnTo>
                  <a:lnTo>
                    <a:pt x="585" y="864"/>
                  </a:lnTo>
                  <a:lnTo>
                    <a:pt x="582" y="862"/>
                  </a:lnTo>
                  <a:lnTo>
                    <a:pt x="580" y="861"/>
                  </a:lnTo>
                  <a:lnTo>
                    <a:pt x="580" y="861"/>
                  </a:lnTo>
                  <a:lnTo>
                    <a:pt x="579" y="860"/>
                  </a:lnTo>
                  <a:lnTo>
                    <a:pt x="573" y="855"/>
                  </a:lnTo>
                  <a:lnTo>
                    <a:pt x="572" y="856"/>
                  </a:lnTo>
                  <a:lnTo>
                    <a:pt x="565" y="851"/>
                  </a:lnTo>
                  <a:lnTo>
                    <a:pt x="562" y="850"/>
                  </a:lnTo>
                  <a:lnTo>
                    <a:pt x="561" y="848"/>
                  </a:lnTo>
                  <a:lnTo>
                    <a:pt x="561" y="844"/>
                  </a:lnTo>
                  <a:lnTo>
                    <a:pt x="563" y="844"/>
                  </a:lnTo>
                  <a:lnTo>
                    <a:pt x="562" y="839"/>
                  </a:lnTo>
                  <a:lnTo>
                    <a:pt x="561" y="836"/>
                  </a:lnTo>
                  <a:lnTo>
                    <a:pt x="562" y="833"/>
                  </a:lnTo>
                  <a:lnTo>
                    <a:pt x="563" y="829"/>
                  </a:lnTo>
                  <a:lnTo>
                    <a:pt x="561" y="828"/>
                  </a:lnTo>
                  <a:lnTo>
                    <a:pt x="559" y="828"/>
                  </a:lnTo>
                  <a:lnTo>
                    <a:pt x="555" y="824"/>
                  </a:lnTo>
                  <a:lnTo>
                    <a:pt x="555" y="823"/>
                  </a:lnTo>
                  <a:lnTo>
                    <a:pt x="555" y="821"/>
                  </a:lnTo>
                  <a:lnTo>
                    <a:pt x="556" y="821"/>
                  </a:lnTo>
                  <a:lnTo>
                    <a:pt x="559" y="820"/>
                  </a:lnTo>
                  <a:lnTo>
                    <a:pt x="562" y="818"/>
                  </a:lnTo>
                  <a:lnTo>
                    <a:pt x="565" y="818"/>
                  </a:lnTo>
                  <a:lnTo>
                    <a:pt x="564" y="816"/>
                  </a:lnTo>
                  <a:lnTo>
                    <a:pt x="564" y="815"/>
                  </a:lnTo>
                  <a:lnTo>
                    <a:pt x="564" y="813"/>
                  </a:lnTo>
                  <a:lnTo>
                    <a:pt x="565" y="811"/>
                  </a:lnTo>
                  <a:lnTo>
                    <a:pt x="561" y="810"/>
                  </a:lnTo>
                  <a:lnTo>
                    <a:pt x="559" y="808"/>
                  </a:lnTo>
                  <a:lnTo>
                    <a:pt x="554" y="803"/>
                  </a:lnTo>
                  <a:lnTo>
                    <a:pt x="551" y="804"/>
                  </a:lnTo>
                  <a:lnTo>
                    <a:pt x="547" y="804"/>
                  </a:lnTo>
                  <a:lnTo>
                    <a:pt x="543" y="804"/>
                  </a:lnTo>
                  <a:lnTo>
                    <a:pt x="541" y="803"/>
                  </a:lnTo>
                  <a:lnTo>
                    <a:pt x="537" y="803"/>
                  </a:lnTo>
                  <a:lnTo>
                    <a:pt x="536" y="800"/>
                  </a:lnTo>
                  <a:lnTo>
                    <a:pt x="535" y="796"/>
                  </a:lnTo>
                  <a:lnTo>
                    <a:pt x="536" y="794"/>
                  </a:lnTo>
                  <a:lnTo>
                    <a:pt x="537" y="793"/>
                  </a:lnTo>
                  <a:lnTo>
                    <a:pt x="537" y="791"/>
                  </a:lnTo>
                  <a:lnTo>
                    <a:pt x="537" y="789"/>
                  </a:lnTo>
                  <a:lnTo>
                    <a:pt x="538" y="788"/>
                  </a:lnTo>
                  <a:lnTo>
                    <a:pt x="540" y="788"/>
                  </a:lnTo>
                  <a:lnTo>
                    <a:pt x="541" y="788"/>
                  </a:lnTo>
                  <a:lnTo>
                    <a:pt x="542" y="788"/>
                  </a:lnTo>
                  <a:lnTo>
                    <a:pt x="544" y="788"/>
                  </a:lnTo>
                  <a:lnTo>
                    <a:pt x="551" y="790"/>
                  </a:lnTo>
                  <a:lnTo>
                    <a:pt x="558" y="787"/>
                  </a:lnTo>
                  <a:lnTo>
                    <a:pt x="561" y="784"/>
                  </a:lnTo>
                  <a:lnTo>
                    <a:pt x="565" y="781"/>
                  </a:lnTo>
                  <a:lnTo>
                    <a:pt x="571" y="778"/>
                  </a:lnTo>
                  <a:lnTo>
                    <a:pt x="588" y="777"/>
                  </a:lnTo>
                  <a:lnTo>
                    <a:pt x="600" y="778"/>
                  </a:lnTo>
                  <a:lnTo>
                    <a:pt x="604" y="777"/>
                  </a:lnTo>
                  <a:lnTo>
                    <a:pt x="598" y="775"/>
                  </a:lnTo>
                  <a:lnTo>
                    <a:pt x="601" y="774"/>
                  </a:lnTo>
                  <a:lnTo>
                    <a:pt x="607" y="768"/>
                  </a:lnTo>
                  <a:lnTo>
                    <a:pt x="609" y="768"/>
                  </a:lnTo>
                  <a:lnTo>
                    <a:pt x="610" y="767"/>
                  </a:lnTo>
                  <a:lnTo>
                    <a:pt x="614" y="767"/>
                  </a:lnTo>
                  <a:lnTo>
                    <a:pt x="615" y="766"/>
                  </a:lnTo>
                  <a:lnTo>
                    <a:pt x="616" y="765"/>
                  </a:lnTo>
                  <a:lnTo>
                    <a:pt x="617" y="764"/>
                  </a:lnTo>
                  <a:lnTo>
                    <a:pt x="618" y="764"/>
                  </a:lnTo>
                  <a:lnTo>
                    <a:pt x="624" y="764"/>
                  </a:lnTo>
                  <a:lnTo>
                    <a:pt x="626" y="764"/>
                  </a:lnTo>
                  <a:lnTo>
                    <a:pt x="627" y="763"/>
                  </a:lnTo>
                  <a:lnTo>
                    <a:pt x="628" y="763"/>
                  </a:lnTo>
                  <a:lnTo>
                    <a:pt x="629" y="765"/>
                  </a:lnTo>
                  <a:lnTo>
                    <a:pt x="630" y="769"/>
                  </a:lnTo>
                  <a:lnTo>
                    <a:pt x="629" y="771"/>
                  </a:lnTo>
                  <a:lnTo>
                    <a:pt x="623" y="777"/>
                  </a:lnTo>
                  <a:lnTo>
                    <a:pt x="624" y="778"/>
                  </a:lnTo>
                  <a:lnTo>
                    <a:pt x="626" y="779"/>
                  </a:lnTo>
                  <a:lnTo>
                    <a:pt x="628" y="779"/>
                  </a:lnTo>
                  <a:lnTo>
                    <a:pt x="630" y="779"/>
                  </a:lnTo>
                  <a:lnTo>
                    <a:pt x="632" y="780"/>
                  </a:lnTo>
                  <a:lnTo>
                    <a:pt x="634" y="782"/>
                  </a:lnTo>
                  <a:lnTo>
                    <a:pt x="635" y="783"/>
                  </a:lnTo>
                  <a:lnTo>
                    <a:pt x="637" y="782"/>
                  </a:lnTo>
                  <a:lnTo>
                    <a:pt x="637" y="784"/>
                  </a:lnTo>
                  <a:lnTo>
                    <a:pt x="637" y="784"/>
                  </a:lnTo>
                  <a:lnTo>
                    <a:pt x="635" y="785"/>
                  </a:lnTo>
                  <a:lnTo>
                    <a:pt x="635" y="785"/>
                  </a:lnTo>
                  <a:lnTo>
                    <a:pt x="635" y="786"/>
                  </a:lnTo>
                  <a:lnTo>
                    <a:pt x="638" y="785"/>
                  </a:lnTo>
                  <a:lnTo>
                    <a:pt x="641" y="784"/>
                  </a:lnTo>
                  <a:lnTo>
                    <a:pt x="644" y="784"/>
                  </a:lnTo>
                  <a:lnTo>
                    <a:pt x="646" y="785"/>
                  </a:lnTo>
                  <a:lnTo>
                    <a:pt x="647" y="788"/>
                  </a:lnTo>
                  <a:lnTo>
                    <a:pt x="653" y="797"/>
                  </a:lnTo>
                  <a:lnTo>
                    <a:pt x="654" y="801"/>
                  </a:lnTo>
                  <a:lnTo>
                    <a:pt x="657" y="805"/>
                  </a:lnTo>
                  <a:lnTo>
                    <a:pt x="658" y="807"/>
                  </a:lnTo>
                  <a:lnTo>
                    <a:pt x="657" y="809"/>
                  </a:lnTo>
                  <a:lnTo>
                    <a:pt x="658" y="809"/>
                  </a:lnTo>
                  <a:lnTo>
                    <a:pt x="659" y="810"/>
                  </a:lnTo>
                  <a:lnTo>
                    <a:pt x="659" y="811"/>
                  </a:lnTo>
                  <a:lnTo>
                    <a:pt x="659" y="812"/>
                  </a:lnTo>
                  <a:lnTo>
                    <a:pt x="660" y="810"/>
                  </a:lnTo>
                  <a:lnTo>
                    <a:pt x="662" y="811"/>
                  </a:lnTo>
                  <a:lnTo>
                    <a:pt x="663" y="811"/>
                  </a:lnTo>
                  <a:lnTo>
                    <a:pt x="664" y="807"/>
                  </a:lnTo>
                  <a:lnTo>
                    <a:pt x="665" y="807"/>
                  </a:lnTo>
                  <a:lnTo>
                    <a:pt x="666" y="808"/>
                  </a:lnTo>
                  <a:lnTo>
                    <a:pt x="667" y="808"/>
                  </a:lnTo>
                  <a:lnTo>
                    <a:pt x="667" y="809"/>
                  </a:lnTo>
                  <a:lnTo>
                    <a:pt x="668" y="809"/>
                  </a:lnTo>
                  <a:lnTo>
                    <a:pt x="670" y="809"/>
                  </a:lnTo>
                  <a:lnTo>
                    <a:pt x="673" y="811"/>
                  </a:lnTo>
                  <a:lnTo>
                    <a:pt x="675" y="814"/>
                  </a:lnTo>
                  <a:lnTo>
                    <a:pt x="677" y="818"/>
                  </a:lnTo>
                  <a:lnTo>
                    <a:pt x="678" y="817"/>
                  </a:lnTo>
                  <a:lnTo>
                    <a:pt x="679" y="816"/>
                  </a:lnTo>
                  <a:lnTo>
                    <a:pt x="680" y="825"/>
                  </a:lnTo>
                  <a:lnTo>
                    <a:pt x="682" y="828"/>
                  </a:lnTo>
                  <a:lnTo>
                    <a:pt x="684" y="827"/>
                  </a:lnTo>
                  <a:lnTo>
                    <a:pt x="685" y="827"/>
                  </a:lnTo>
                  <a:lnTo>
                    <a:pt x="685" y="835"/>
                  </a:lnTo>
                  <a:lnTo>
                    <a:pt x="686" y="837"/>
                  </a:lnTo>
                  <a:lnTo>
                    <a:pt x="689" y="838"/>
                  </a:lnTo>
                  <a:lnTo>
                    <a:pt x="692" y="839"/>
                  </a:lnTo>
                  <a:lnTo>
                    <a:pt x="697" y="841"/>
                  </a:lnTo>
                  <a:lnTo>
                    <a:pt x="699" y="842"/>
                  </a:lnTo>
                  <a:lnTo>
                    <a:pt x="702" y="839"/>
                  </a:lnTo>
                  <a:lnTo>
                    <a:pt x="704" y="837"/>
                  </a:lnTo>
                  <a:lnTo>
                    <a:pt x="706" y="835"/>
                  </a:lnTo>
                  <a:lnTo>
                    <a:pt x="704" y="833"/>
                  </a:lnTo>
                  <a:lnTo>
                    <a:pt x="704" y="832"/>
                  </a:lnTo>
                  <a:lnTo>
                    <a:pt x="705" y="832"/>
                  </a:lnTo>
                  <a:lnTo>
                    <a:pt x="705" y="832"/>
                  </a:lnTo>
                  <a:lnTo>
                    <a:pt x="705" y="833"/>
                  </a:lnTo>
                  <a:lnTo>
                    <a:pt x="705" y="832"/>
                  </a:lnTo>
                  <a:lnTo>
                    <a:pt x="705" y="831"/>
                  </a:lnTo>
                  <a:lnTo>
                    <a:pt x="705" y="830"/>
                  </a:lnTo>
                  <a:lnTo>
                    <a:pt x="704" y="830"/>
                  </a:lnTo>
                  <a:lnTo>
                    <a:pt x="704" y="829"/>
                  </a:lnTo>
                  <a:lnTo>
                    <a:pt x="706" y="829"/>
                  </a:lnTo>
                  <a:lnTo>
                    <a:pt x="706" y="827"/>
                  </a:lnTo>
                  <a:lnTo>
                    <a:pt x="704" y="826"/>
                  </a:lnTo>
                  <a:lnTo>
                    <a:pt x="707" y="822"/>
                  </a:lnTo>
                  <a:lnTo>
                    <a:pt x="708" y="820"/>
                  </a:lnTo>
                  <a:lnTo>
                    <a:pt x="708" y="816"/>
                  </a:lnTo>
                  <a:lnTo>
                    <a:pt x="708" y="812"/>
                  </a:lnTo>
                  <a:lnTo>
                    <a:pt x="707" y="810"/>
                  </a:lnTo>
                  <a:lnTo>
                    <a:pt x="703" y="808"/>
                  </a:lnTo>
                  <a:lnTo>
                    <a:pt x="703" y="807"/>
                  </a:lnTo>
                  <a:lnTo>
                    <a:pt x="703" y="806"/>
                  </a:lnTo>
                  <a:lnTo>
                    <a:pt x="704" y="806"/>
                  </a:lnTo>
                  <a:lnTo>
                    <a:pt x="705" y="805"/>
                  </a:lnTo>
                  <a:lnTo>
                    <a:pt x="704" y="804"/>
                  </a:lnTo>
                  <a:lnTo>
                    <a:pt x="704" y="803"/>
                  </a:lnTo>
                  <a:lnTo>
                    <a:pt x="704" y="802"/>
                  </a:lnTo>
                  <a:lnTo>
                    <a:pt x="705" y="800"/>
                  </a:lnTo>
                  <a:lnTo>
                    <a:pt x="702" y="799"/>
                  </a:lnTo>
                  <a:lnTo>
                    <a:pt x="702" y="798"/>
                  </a:lnTo>
                  <a:lnTo>
                    <a:pt x="703" y="797"/>
                  </a:lnTo>
                  <a:lnTo>
                    <a:pt x="700" y="797"/>
                  </a:lnTo>
                  <a:lnTo>
                    <a:pt x="699" y="797"/>
                  </a:lnTo>
                  <a:lnTo>
                    <a:pt x="697" y="796"/>
                  </a:lnTo>
                  <a:lnTo>
                    <a:pt x="696" y="794"/>
                  </a:lnTo>
                  <a:lnTo>
                    <a:pt x="701" y="793"/>
                  </a:lnTo>
                  <a:lnTo>
                    <a:pt x="702" y="792"/>
                  </a:lnTo>
                  <a:lnTo>
                    <a:pt x="701" y="789"/>
                  </a:lnTo>
                  <a:lnTo>
                    <a:pt x="700" y="788"/>
                  </a:lnTo>
                  <a:lnTo>
                    <a:pt x="698" y="788"/>
                  </a:lnTo>
                  <a:lnTo>
                    <a:pt x="696" y="788"/>
                  </a:lnTo>
                  <a:lnTo>
                    <a:pt x="697" y="785"/>
                  </a:lnTo>
                  <a:lnTo>
                    <a:pt x="697" y="783"/>
                  </a:lnTo>
                  <a:lnTo>
                    <a:pt x="696" y="781"/>
                  </a:lnTo>
                  <a:lnTo>
                    <a:pt x="696" y="779"/>
                  </a:lnTo>
                  <a:lnTo>
                    <a:pt x="697" y="777"/>
                  </a:lnTo>
                  <a:lnTo>
                    <a:pt x="699" y="773"/>
                  </a:lnTo>
                  <a:lnTo>
                    <a:pt x="699" y="771"/>
                  </a:lnTo>
                  <a:lnTo>
                    <a:pt x="699" y="769"/>
                  </a:lnTo>
                  <a:lnTo>
                    <a:pt x="697" y="767"/>
                  </a:lnTo>
                  <a:lnTo>
                    <a:pt x="696" y="764"/>
                  </a:lnTo>
                  <a:lnTo>
                    <a:pt x="695" y="761"/>
                  </a:lnTo>
                  <a:lnTo>
                    <a:pt x="693" y="752"/>
                  </a:lnTo>
                  <a:lnTo>
                    <a:pt x="693" y="748"/>
                  </a:lnTo>
                  <a:lnTo>
                    <a:pt x="700" y="744"/>
                  </a:lnTo>
                  <a:lnTo>
                    <a:pt x="703" y="744"/>
                  </a:lnTo>
                  <a:lnTo>
                    <a:pt x="704" y="746"/>
                  </a:lnTo>
                  <a:lnTo>
                    <a:pt x="704" y="744"/>
                  </a:lnTo>
                  <a:lnTo>
                    <a:pt x="704" y="741"/>
                  </a:lnTo>
                  <a:lnTo>
                    <a:pt x="705" y="740"/>
                  </a:lnTo>
                  <a:lnTo>
                    <a:pt x="707" y="739"/>
                  </a:lnTo>
                  <a:lnTo>
                    <a:pt x="705" y="738"/>
                  </a:lnTo>
                  <a:lnTo>
                    <a:pt x="705" y="736"/>
                  </a:lnTo>
                  <a:lnTo>
                    <a:pt x="706" y="735"/>
                  </a:lnTo>
                  <a:lnTo>
                    <a:pt x="706" y="733"/>
                  </a:lnTo>
                  <a:lnTo>
                    <a:pt x="705" y="731"/>
                  </a:lnTo>
                  <a:lnTo>
                    <a:pt x="702" y="730"/>
                  </a:lnTo>
                  <a:lnTo>
                    <a:pt x="702" y="729"/>
                  </a:lnTo>
                  <a:lnTo>
                    <a:pt x="700" y="728"/>
                  </a:lnTo>
                  <a:lnTo>
                    <a:pt x="693" y="721"/>
                  </a:lnTo>
                  <a:lnTo>
                    <a:pt x="689" y="716"/>
                  </a:lnTo>
                  <a:lnTo>
                    <a:pt x="687" y="714"/>
                  </a:lnTo>
                  <a:lnTo>
                    <a:pt x="683" y="713"/>
                  </a:lnTo>
                  <a:lnTo>
                    <a:pt x="680" y="713"/>
                  </a:lnTo>
                  <a:lnTo>
                    <a:pt x="665" y="706"/>
                  </a:lnTo>
                  <a:lnTo>
                    <a:pt x="663" y="706"/>
                  </a:lnTo>
                  <a:lnTo>
                    <a:pt x="660" y="704"/>
                  </a:lnTo>
                  <a:lnTo>
                    <a:pt x="651" y="705"/>
                  </a:lnTo>
                  <a:lnTo>
                    <a:pt x="648" y="705"/>
                  </a:lnTo>
                  <a:lnTo>
                    <a:pt x="642" y="701"/>
                  </a:lnTo>
                  <a:lnTo>
                    <a:pt x="635" y="689"/>
                  </a:lnTo>
                  <a:lnTo>
                    <a:pt x="630" y="687"/>
                  </a:lnTo>
                  <a:lnTo>
                    <a:pt x="630" y="686"/>
                  </a:lnTo>
                  <a:lnTo>
                    <a:pt x="631" y="684"/>
                  </a:lnTo>
                  <a:lnTo>
                    <a:pt x="630" y="683"/>
                  </a:lnTo>
                  <a:lnTo>
                    <a:pt x="629" y="682"/>
                  </a:lnTo>
                  <a:lnTo>
                    <a:pt x="627" y="681"/>
                  </a:lnTo>
                  <a:lnTo>
                    <a:pt x="627" y="680"/>
                  </a:lnTo>
                  <a:lnTo>
                    <a:pt x="628" y="679"/>
                  </a:lnTo>
                  <a:lnTo>
                    <a:pt x="631" y="677"/>
                  </a:lnTo>
                  <a:lnTo>
                    <a:pt x="625" y="672"/>
                  </a:lnTo>
                  <a:lnTo>
                    <a:pt x="622" y="670"/>
                  </a:lnTo>
                  <a:lnTo>
                    <a:pt x="620" y="672"/>
                  </a:lnTo>
                  <a:lnTo>
                    <a:pt x="618" y="674"/>
                  </a:lnTo>
                  <a:lnTo>
                    <a:pt x="602" y="671"/>
                  </a:lnTo>
                  <a:lnTo>
                    <a:pt x="591" y="671"/>
                  </a:lnTo>
                  <a:lnTo>
                    <a:pt x="589" y="671"/>
                  </a:lnTo>
                  <a:lnTo>
                    <a:pt x="588" y="670"/>
                  </a:lnTo>
                  <a:lnTo>
                    <a:pt x="588" y="669"/>
                  </a:lnTo>
                  <a:lnTo>
                    <a:pt x="590" y="667"/>
                  </a:lnTo>
                  <a:lnTo>
                    <a:pt x="591" y="667"/>
                  </a:lnTo>
                  <a:lnTo>
                    <a:pt x="595" y="667"/>
                  </a:lnTo>
                  <a:lnTo>
                    <a:pt x="596" y="666"/>
                  </a:lnTo>
                  <a:lnTo>
                    <a:pt x="596" y="665"/>
                  </a:lnTo>
                  <a:lnTo>
                    <a:pt x="594" y="664"/>
                  </a:lnTo>
                  <a:lnTo>
                    <a:pt x="590" y="663"/>
                  </a:lnTo>
                  <a:lnTo>
                    <a:pt x="588" y="661"/>
                  </a:lnTo>
                  <a:lnTo>
                    <a:pt x="586" y="659"/>
                  </a:lnTo>
                  <a:lnTo>
                    <a:pt x="584" y="658"/>
                  </a:lnTo>
                  <a:lnTo>
                    <a:pt x="582" y="658"/>
                  </a:lnTo>
                  <a:lnTo>
                    <a:pt x="581" y="661"/>
                  </a:lnTo>
                  <a:lnTo>
                    <a:pt x="582" y="656"/>
                  </a:lnTo>
                  <a:lnTo>
                    <a:pt x="584" y="654"/>
                  </a:lnTo>
                  <a:lnTo>
                    <a:pt x="586" y="653"/>
                  </a:lnTo>
                  <a:lnTo>
                    <a:pt x="588" y="651"/>
                  </a:lnTo>
                  <a:lnTo>
                    <a:pt x="589" y="648"/>
                  </a:lnTo>
                  <a:lnTo>
                    <a:pt x="588" y="646"/>
                  </a:lnTo>
                  <a:lnTo>
                    <a:pt x="586" y="643"/>
                  </a:lnTo>
                  <a:lnTo>
                    <a:pt x="584" y="641"/>
                  </a:lnTo>
                  <a:lnTo>
                    <a:pt x="581" y="640"/>
                  </a:lnTo>
                  <a:lnTo>
                    <a:pt x="576" y="639"/>
                  </a:lnTo>
                  <a:lnTo>
                    <a:pt x="573" y="638"/>
                  </a:lnTo>
                  <a:lnTo>
                    <a:pt x="568" y="635"/>
                  </a:lnTo>
                  <a:lnTo>
                    <a:pt x="565" y="634"/>
                  </a:lnTo>
                  <a:lnTo>
                    <a:pt x="562" y="636"/>
                  </a:lnTo>
                  <a:lnTo>
                    <a:pt x="564" y="636"/>
                  </a:lnTo>
                  <a:lnTo>
                    <a:pt x="567" y="638"/>
                  </a:lnTo>
                  <a:lnTo>
                    <a:pt x="565" y="641"/>
                  </a:lnTo>
                  <a:lnTo>
                    <a:pt x="562" y="641"/>
                  </a:lnTo>
                  <a:lnTo>
                    <a:pt x="560" y="641"/>
                  </a:lnTo>
                  <a:lnTo>
                    <a:pt x="559" y="642"/>
                  </a:lnTo>
                  <a:lnTo>
                    <a:pt x="557" y="644"/>
                  </a:lnTo>
                  <a:lnTo>
                    <a:pt x="555" y="644"/>
                  </a:lnTo>
                  <a:lnTo>
                    <a:pt x="552" y="644"/>
                  </a:lnTo>
                  <a:lnTo>
                    <a:pt x="550" y="642"/>
                  </a:lnTo>
                  <a:lnTo>
                    <a:pt x="545" y="626"/>
                  </a:lnTo>
                  <a:lnTo>
                    <a:pt x="542" y="622"/>
                  </a:lnTo>
                  <a:lnTo>
                    <a:pt x="538" y="621"/>
                  </a:lnTo>
                  <a:lnTo>
                    <a:pt x="529" y="620"/>
                  </a:lnTo>
                  <a:lnTo>
                    <a:pt x="527" y="620"/>
                  </a:lnTo>
                  <a:lnTo>
                    <a:pt x="524" y="617"/>
                  </a:lnTo>
                  <a:lnTo>
                    <a:pt x="522" y="616"/>
                  </a:lnTo>
                  <a:lnTo>
                    <a:pt x="519" y="616"/>
                  </a:lnTo>
                  <a:lnTo>
                    <a:pt x="518" y="617"/>
                  </a:lnTo>
                  <a:lnTo>
                    <a:pt x="514" y="620"/>
                  </a:lnTo>
                  <a:lnTo>
                    <a:pt x="513" y="618"/>
                  </a:lnTo>
                  <a:lnTo>
                    <a:pt x="511" y="616"/>
                  </a:lnTo>
                  <a:lnTo>
                    <a:pt x="508" y="614"/>
                  </a:lnTo>
                  <a:lnTo>
                    <a:pt x="506" y="613"/>
                  </a:lnTo>
                  <a:lnTo>
                    <a:pt x="505" y="614"/>
                  </a:lnTo>
                  <a:lnTo>
                    <a:pt x="502" y="615"/>
                  </a:lnTo>
                  <a:lnTo>
                    <a:pt x="500" y="615"/>
                  </a:lnTo>
                  <a:lnTo>
                    <a:pt x="499" y="614"/>
                  </a:lnTo>
                  <a:lnTo>
                    <a:pt x="497" y="612"/>
                  </a:lnTo>
                  <a:lnTo>
                    <a:pt x="496" y="611"/>
                  </a:lnTo>
                  <a:lnTo>
                    <a:pt x="492" y="607"/>
                  </a:lnTo>
                  <a:lnTo>
                    <a:pt x="488" y="601"/>
                  </a:lnTo>
                  <a:lnTo>
                    <a:pt x="486" y="601"/>
                  </a:lnTo>
                  <a:lnTo>
                    <a:pt x="478" y="605"/>
                  </a:lnTo>
                  <a:lnTo>
                    <a:pt x="477" y="604"/>
                  </a:lnTo>
                  <a:lnTo>
                    <a:pt x="475" y="604"/>
                  </a:lnTo>
                  <a:lnTo>
                    <a:pt x="473" y="605"/>
                  </a:lnTo>
                  <a:lnTo>
                    <a:pt x="471" y="605"/>
                  </a:lnTo>
                  <a:lnTo>
                    <a:pt x="472" y="602"/>
                  </a:lnTo>
                  <a:lnTo>
                    <a:pt x="471" y="602"/>
                  </a:lnTo>
                  <a:lnTo>
                    <a:pt x="469" y="605"/>
                  </a:lnTo>
                  <a:lnTo>
                    <a:pt x="466" y="604"/>
                  </a:lnTo>
                  <a:lnTo>
                    <a:pt x="465" y="602"/>
                  </a:lnTo>
                  <a:lnTo>
                    <a:pt x="468" y="599"/>
                  </a:lnTo>
                  <a:lnTo>
                    <a:pt x="468" y="598"/>
                  </a:lnTo>
                  <a:lnTo>
                    <a:pt x="460" y="599"/>
                  </a:lnTo>
                  <a:lnTo>
                    <a:pt x="460" y="594"/>
                  </a:lnTo>
                  <a:lnTo>
                    <a:pt x="462" y="595"/>
                  </a:lnTo>
                  <a:lnTo>
                    <a:pt x="462" y="595"/>
                  </a:lnTo>
                  <a:lnTo>
                    <a:pt x="463" y="594"/>
                  </a:lnTo>
                  <a:lnTo>
                    <a:pt x="464" y="593"/>
                  </a:lnTo>
                  <a:lnTo>
                    <a:pt x="466" y="593"/>
                  </a:lnTo>
                  <a:lnTo>
                    <a:pt x="467" y="593"/>
                  </a:lnTo>
                  <a:lnTo>
                    <a:pt x="469" y="592"/>
                  </a:lnTo>
                  <a:lnTo>
                    <a:pt x="470" y="591"/>
                  </a:lnTo>
                  <a:lnTo>
                    <a:pt x="471" y="590"/>
                  </a:lnTo>
                  <a:lnTo>
                    <a:pt x="474" y="588"/>
                  </a:lnTo>
                  <a:lnTo>
                    <a:pt x="475" y="588"/>
                  </a:lnTo>
                  <a:lnTo>
                    <a:pt x="481" y="592"/>
                  </a:lnTo>
                  <a:lnTo>
                    <a:pt x="481" y="593"/>
                  </a:lnTo>
                  <a:lnTo>
                    <a:pt x="482" y="593"/>
                  </a:lnTo>
                  <a:lnTo>
                    <a:pt x="485" y="595"/>
                  </a:lnTo>
                  <a:lnTo>
                    <a:pt x="486" y="595"/>
                  </a:lnTo>
                  <a:lnTo>
                    <a:pt x="489" y="593"/>
                  </a:lnTo>
                  <a:lnTo>
                    <a:pt x="491" y="593"/>
                  </a:lnTo>
                  <a:lnTo>
                    <a:pt x="492" y="595"/>
                  </a:lnTo>
                  <a:lnTo>
                    <a:pt x="493" y="597"/>
                  </a:lnTo>
                  <a:lnTo>
                    <a:pt x="497" y="596"/>
                  </a:lnTo>
                  <a:lnTo>
                    <a:pt x="500" y="595"/>
                  </a:lnTo>
                  <a:lnTo>
                    <a:pt x="502" y="595"/>
                  </a:lnTo>
                  <a:lnTo>
                    <a:pt x="503" y="593"/>
                  </a:lnTo>
                  <a:lnTo>
                    <a:pt x="504" y="593"/>
                  </a:lnTo>
                  <a:lnTo>
                    <a:pt x="508" y="593"/>
                  </a:lnTo>
                  <a:lnTo>
                    <a:pt x="510" y="592"/>
                  </a:lnTo>
                  <a:lnTo>
                    <a:pt x="510" y="587"/>
                  </a:lnTo>
                  <a:lnTo>
                    <a:pt x="511" y="586"/>
                  </a:lnTo>
                  <a:lnTo>
                    <a:pt x="513" y="585"/>
                  </a:lnTo>
                  <a:lnTo>
                    <a:pt x="515" y="586"/>
                  </a:lnTo>
                  <a:lnTo>
                    <a:pt x="517" y="587"/>
                  </a:lnTo>
                  <a:lnTo>
                    <a:pt x="519" y="587"/>
                  </a:lnTo>
                  <a:lnTo>
                    <a:pt x="521" y="587"/>
                  </a:lnTo>
                  <a:lnTo>
                    <a:pt x="524" y="584"/>
                  </a:lnTo>
                  <a:lnTo>
                    <a:pt x="526" y="584"/>
                  </a:lnTo>
                  <a:lnTo>
                    <a:pt x="526" y="583"/>
                  </a:lnTo>
                  <a:lnTo>
                    <a:pt x="525" y="581"/>
                  </a:lnTo>
                  <a:lnTo>
                    <a:pt x="526" y="581"/>
                  </a:lnTo>
                  <a:lnTo>
                    <a:pt x="527" y="581"/>
                  </a:lnTo>
                  <a:lnTo>
                    <a:pt x="529" y="580"/>
                  </a:lnTo>
                  <a:lnTo>
                    <a:pt x="530" y="580"/>
                  </a:lnTo>
                  <a:lnTo>
                    <a:pt x="532" y="580"/>
                  </a:lnTo>
                  <a:lnTo>
                    <a:pt x="533" y="580"/>
                  </a:lnTo>
                  <a:lnTo>
                    <a:pt x="534" y="579"/>
                  </a:lnTo>
                  <a:lnTo>
                    <a:pt x="535" y="578"/>
                  </a:lnTo>
                  <a:lnTo>
                    <a:pt x="536" y="578"/>
                  </a:lnTo>
                  <a:lnTo>
                    <a:pt x="536" y="576"/>
                  </a:lnTo>
                  <a:lnTo>
                    <a:pt x="537" y="574"/>
                  </a:lnTo>
                  <a:lnTo>
                    <a:pt x="538" y="570"/>
                  </a:lnTo>
                  <a:lnTo>
                    <a:pt x="539" y="569"/>
                  </a:lnTo>
                  <a:lnTo>
                    <a:pt x="541" y="568"/>
                  </a:lnTo>
                  <a:lnTo>
                    <a:pt x="546" y="565"/>
                  </a:lnTo>
                  <a:lnTo>
                    <a:pt x="547" y="563"/>
                  </a:lnTo>
                  <a:lnTo>
                    <a:pt x="547" y="562"/>
                  </a:lnTo>
                  <a:lnTo>
                    <a:pt x="542" y="563"/>
                  </a:lnTo>
                  <a:lnTo>
                    <a:pt x="538" y="564"/>
                  </a:lnTo>
                  <a:lnTo>
                    <a:pt x="530" y="569"/>
                  </a:lnTo>
                  <a:lnTo>
                    <a:pt x="529" y="565"/>
                  </a:lnTo>
                  <a:lnTo>
                    <a:pt x="530" y="564"/>
                  </a:lnTo>
                  <a:lnTo>
                    <a:pt x="535" y="561"/>
                  </a:lnTo>
                  <a:lnTo>
                    <a:pt x="534" y="559"/>
                  </a:lnTo>
                  <a:lnTo>
                    <a:pt x="534" y="559"/>
                  </a:lnTo>
                  <a:lnTo>
                    <a:pt x="535" y="556"/>
                  </a:lnTo>
                  <a:lnTo>
                    <a:pt x="533" y="554"/>
                  </a:lnTo>
                  <a:lnTo>
                    <a:pt x="531" y="550"/>
                  </a:lnTo>
                  <a:lnTo>
                    <a:pt x="529" y="546"/>
                  </a:lnTo>
                  <a:lnTo>
                    <a:pt x="525" y="544"/>
                  </a:lnTo>
                  <a:lnTo>
                    <a:pt x="526" y="545"/>
                  </a:lnTo>
                  <a:lnTo>
                    <a:pt x="526" y="547"/>
                  </a:lnTo>
                  <a:lnTo>
                    <a:pt x="526" y="547"/>
                  </a:lnTo>
                  <a:lnTo>
                    <a:pt x="526" y="547"/>
                  </a:lnTo>
                  <a:lnTo>
                    <a:pt x="525" y="547"/>
                  </a:lnTo>
                  <a:lnTo>
                    <a:pt x="525" y="548"/>
                  </a:lnTo>
                  <a:lnTo>
                    <a:pt x="523" y="545"/>
                  </a:lnTo>
                  <a:lnTo>
                    <a:pt x="522" y="541"/>
                  </a:lnTo>
                  <a:lnTo>
                    <a:pt x="521" y="537"/>
                  </a:lnTo>
                  <a:lnTo>
                    <a:pt x="520" y="534"/>
                  </a:lnTo>
                  <a:lnTo>
                    <a:pt x="519" y="535"/>
                  </a:lnTo>
                  <a:lnTo>
                    <a:pt x="518" y="533"/>
                  </a:lnTo>
                  <a:lnTo>
                    <a:pt x="517" y="532"/>
                  </a:lnTo>
                  <a:lnTo>
                    <a:pt x="516" y="532"/>
                  </a:lnTo>
                  <a:lnTo>
                    <a:pt x="517" y="534"/>
                  </a:lnTo>
                  <a:lnTo>
                    <a:pt x="515" y="536"/>
                  </a:lnTo>
                  <a:lnTo>
                    <a:pt x="513" y="538"/>
                  </a:lnTo>
                  <a:lnTo>
                    <a:pt x="512" y="538"/>
                  </a:lnTo>
                  <a:lnTo>
                    <a:pt x="508" y="525"/>
                  </a:lnTo>
                  <a:lnTo>
                    <a:pt x="507" y="523"/>
                  </a:lnTo>
                  <a:lnTo>
                    <a:pt x="508" y="515"/>
                  </a:lnTo>
                  <a:lnTo>
                    <a:pt x="511" y="512"/>
                  </a:lnTo>
                  <a:lnTo>
                    <a:pt x="517" y="510"/>
                  </a:lnTo>
                  <a:lnTo>
                    <a:pt x="523" y="510"/>
                  </a:lnTo>
                  <a:lnTo>
                    <a:pt x="526" y="509"/>
                  </a:lnTo>
                  <a:lnTo>
                    <a:pt x="525" y="507"/>
                  </a:lnTo>
                  <a:lnTo>
                    <a:pt x="524" y="505"/>
                  </a:lnTo>
                  <a:lnTo>
                    <a:pt x="525" y="502"/>
                  </a:lnTo>
                  <a:lnTo>
                    <a:pt x="526" y="500"/>
                  </a:lnTo>
                  <a:lnTo>
                    <a:pt x="526" y="499"/>
                  </a:lnTo>
                  <a:lnTo>
                    <a:pt x="525" y="497"/>
                  </a:lnTo>
                  <a:lnTo>
                    <a:pt x="526" y="497"/>
                  </a:lnTo>
                  <a:lnTo>
                    <a:pt x="530" y="498"/>
                  </a:lnTo>
                  <a:lnTo>
                    <a:pt x="534" y="498"/>
                  </a:lnTo>
                  <a:lnTo>
                    <a:pt x="535" y="498"/>
                  </a:lnTo>
                  <a:lnTo>
                    <a:pt x="536" y="499"/>
                  </a:lnTo>
                  <a:lnTo>
                    <a:pt x="538" y="502"/>
                  </a:lnTo>
                  <a:lnTo>
                    <a:pt x="538" y="503"/>
                  </a:lnTo>
                  <a:lnTo>
                    <a:pt x="539" y="504"/>
                  </a:lnTo>
                  <a:lnTo>
                    <a:pt x="539" y="505"/>
                  </a:lnTo>
                  <a:lnTo>
                    <a:pt x="539" y="506"/>
                  </a:lnTo>
                  <a:lnTo>
                    <a:pt x="551" y="507"/>
                  </a:lnTo>
                  <a:lnTo>
                    <a:pt x="554" y="508"/>
                  </a:lnTo>
                  <a:lnTo>
                    <a:pt x="557" y="510"/>
                  </a:lnTo>
                  <a:lnTo>
                    <a:pt x="560" y="513"/>
                  </a:lnTo>
                  <a:lnTo>
                    <a:pt x="562" y="516"/>
                  </a:lnTo>
                  <a:lnTo>
                    <a:pt x="564" y="520"/>
                  </a:lnTo>
                  <a:lnTo>
                    <a:pt x="563" y="523"/>
                  </a:lnTo>
                  <a:lnTo>
                    <a:pt x="565" y="525"/>
                  </a:lnTo>
                  <a:lnTo>
                    <a:pt x="569" y="532"/>
                  </a:lnTo>
                  <a:lnTo>
                    <a:pt x="570" y="534"/>
                  </a:lnTo>
                  <a:lnTo>
                    <a:pt x="569" y="536"/>
                  </a:lnTo>
                  <a:lnTo>
                    <a:pt x="568" y="539"/>
                  </a:lnTo>
                  <a:lnTo>
                    <a:pt x="567" y="540"/>
                  </a:lnTo>
                  <a:lnTo>
                    <a:pt x="567" y="539"/>
                  </a:lnTo>
                  <a:lnTo>
                    <a:pt x="566" y="539"/>
                  </a:lnTo>
                  <a:lnTo>
                    <a:pt x="564" y="538"/>
                  </a:lnTo>
                  <a:lnTo>
                    <a:pt x="563" y="539"/>
                  </a:lnTo>
                  <a:lnTo>
                    <a:pt x="565" y="541"/>
                  </a:lnTo>
                  <a:lnTo>
                    <a:pt x="563" y="543"/>
                  </a:lnTo>
                  <a:lnTo>
                    <a:pt x="551" y="549"/>
                  </a:lnTo>
                  <a:lnTo>
                    <a:pt x="554" y="541"/>
                  </a:lnTo>
                  <a:lnTo>
                    <a:pt x="554" y="538"/>
                  </a:lnTo>
                  <a:lnTo>
                    <a:pt x="548" y="541"/>
                  </a:lnTo>
                  <a:lnTo>
                    <a:pt x="546" y="543"/>
                  </a:lnTo>
                  <a:lnTo>
                    <a:pt x="547" y="545"/>
                  </a:lnTo>
                  <a:lnTo>
                    <a:pt x="545" y="548"/>
                  </a:lnTo>
                  <a:lnTo>
                    <a:pt x="544" y="551"/>
                  </a:lnTo>
                  <a:lnTo>
                    <a:pt x="550" y="553"/>
                  </a:lnTo>
                  <a:lnTo>
                    <a:pt x="554" y="553"/>
                  </a:lnTo>
                  <a:lnTo>
                    <a:pt x="556" y="551"/>
                  </a:lnTo>
                  <a:lnTo>
                    <a:pt x="559" y="550"/>
                  </a:lnTo>
                  <a:lnTo>
                    <a:pt x="562" y="549"/>
                  </a:lnTo>
                  <a:lnTo>
                    <a:pt x="566" y="549"/>
                  </a:lnTo>
                  <a:lnTo>
                    <a:pt x="568" y="549"/>
                  </a:lnTo>
                  <a:lnTo>
                    <a:pt x="569" y="549"/>
                  </a:lnTo>
                  <a:lnTo>
                    <a:pt x="570" y="548"/>
                  </a:lnTo>
                  <a:lnTo>
                    <a:pt x="570" y="547"/>
                  </a:lnTo>
                  <a:lnTo>
                    <a:pt x="572" y="547"/>
                  </a:lnTo>
                  <a:lnTo>
                    <a:pt x="572" y="545"/>
                  </a:lnTo>
                  <a:lnTo>
                    <a:pt x="571" y="545"/>
                  </a:lnTo>
                  <a:lnTo>
                    <a:pt x="570" y="545"/>
                  </a:lnTo>
                  <a:lnTo>
                    <a:pt x="570" y="544"/>
                  </a:lnTo>
                  <a:lnTo>
                    <a:pt x="569" y="544"/>
                  </a:lnTo>
                  <a:lnTo>
                    <a:pt x="571" y="543"/>
                  </a:lnTo>
                  <a:lnTo>
                    <a:pt x="574" y="542"/>
                  </a:lnTo>
                  <a:lnTo>
                    <a:pt x="580" y="541"/>
                  </a:lnTo>
                  <a:lnTo>
                    <a:pt x="583" y="540"/>
                  </a:lnTo>
                  <a:lnTo>
                    <a:pt x="588" y="535"/>
                  </a:lnTo>
                  <a:lnTo>
                    <a:pt x="590" y="534"/>
                  </a:lnTo>
                  <a:lnTo>
                    <a:pt x="590" y="531"/>
                  </a:lnTo>
                  <a:lnTo>
                    <a:pt x="582" y="516"/>
                  </a:lnTo>
                  <a:lnTo>
                    <a:pt x="579" y="505"/>
                  </a:lnTo>
                  <a:lnTo>
                    <a:pt x="571" y="497"/>
                  </a:lnTo>
                  <a:lnTo>
                    <a:pt x="569" y="493"/>
                  </a:lnTo>
                  <a:lnTo>
                    <a:pt x="556" y="478"/>
                  </a:lnTo>
                  <a:lnTo>
                    <a:pt x="554" y="475"/>
                  </a:lnTo>
                  <a:lnTo>
                    <a:pt x="552" y="469"/>
                  </a:lnTo>
                  <a:lnTo>
                    <a:pt x="551" y="468"/>
                  </a:lnTo>
                  <a:lnTo>
                    <a:pt x="551" y="468"/>
                  </a:lnTo>
                  <a:lnTo>
                    <a:pt x="544" y="463"/>
                  </a:lnTo>
                  <a:lnTo>
                    <a:pt x="536" y="460"/>
                  </a:lnTo>
                  <a:lnTo>
                    <a:pt x="528" y="454"/>
                  </a:lnTo>
                  <a:lnTo>
                    <a:pt x="526" y="452"/>
                  </a:lnTo>
                  <a:lnTo>
                    <a:pt x="524" y="448"/>
                  </a:lnTo>
                  <a:lnTo>
                    <a:pt x="520" y="436"/>
                  </a:lnTo>
                  <a:lnTo>
                    <a:pt x="515" y="424"/>
                  </a:lnTo>
                  <a:lnTo>
                    <a:pt x="514" y="421"/>
                  </a:lnTo>
                  <a:lnTo>
                    <a:pt x="514" y="417"/>
                  </a:lnTo>
                  <a:lnTo>
                    <a:pt x="513" y="412"/>
                  </a:lnTo>
                  <a:lnTo>
                    <a:pt x="512" y="409"/>
                  </a:lnTo>
                  <a:lnTo>
                    <a:pt x="510" y="406"/>
                  </a:lnTo>
                  <a:lnTo>
                    <a:pt x="506" y="401"/>
                  </a:lnTo>
                  <a:lnTo>
                    <a:pt x="504" y="399"/>
                  </a:lnTo>
                  <a:lnTo>
                    <a:pt x="500" y="397"/>
                  </a:lnTo>
                  <a:lnTo>
                    <a:pt x="494" y="392"/>
                  </a:lnTo>
                  <a:lnTo>
                    <a:pt x="493" y="389"/>
                  </a:lnTo>
                  <a:lnTo>
                    <a:pt x="492" y="387"/>
                  </a:lnTo>
                  <a:lnTo>
                    <a:pt x="489" y="379"/>
                  </a:lnTo>
                  <a:lnTo>
                    <a:pt x="489" y="379"/>
                  </a:lnTo>
                  <a:lnTo>
                    <a:pt x="489" y="378"/>
                  </a:lnTo>
                  <a:lnTo>
                    <a:pt x="489" y="374"/>
                  </a:lnTo>
                  <a:lnTo>
                    <a:pt x="489" y="374"/>
                  </a:lnTo>
                  <a:lnTo>
                    <a:pt x="487" y="374"/>
                  </a:lnTo>
                  <a:lnTo>
                    <a:pt x="487" y="373"/>
                  </a:lnTo>
                  <a:lnTo>
                    <a:pt x="487" y="372"/>
                  </a:lnTo>
                  <a:lnTo>
                    <a:pt x="482" y="371"/>
                  </a:lnTo>
                  <a:lnTo>
                    <a:pt x="482" y="370"/>
                  </a:lnTo>
                  <a:lnTo>
                    <a:pt x="480" y="369"/>
                  </a:lnTo>
                  <a:lnTo>
                    <a:pt x="472" y="362"/>
                  </a:lnTo>
                  <a:lnTo>
                    <a:pt x="470" y="356"/>
                  </a:lnTo>
                  <a:lnTo>
                    <a:pt x="469" y="355"/>
                  </a:lnTo>
                  <a:lnTo>
                    <a:pt x="468" y="354"/>
                  </a:lnTo>
                  <a:lnTo>
                    <a:pt x="467" y="352"/>
                  </a:lnTo>
                  <a:lnTo>
                    <a:pt x="468" y="348"/>
                  </a:lnTo>
                  <a:lnTo>
                    <a:pt x="467" y="343"/>
                  </a:lnTo>
                  <a:lnTo>
                    <a:pt x="465" y="339"/>
                  </a:lnTo>
                  <a:lnTo>
                    <a:pt x="464" y="336"/>
                  </a:lnTo>
                  <a:lnTo>
                    <a:pt x="464" y="331"/>
                  </a:lnTo>
                  <a:lnTo>
                    <a:pt x="471" y="318"/>
                  </a:lnTo>
                  <a:lnTo>
                    <a:pt x="470" y="316"/>
                  </a:lnTo>
                  <a:lnTo>
                    <a:pt x="475" y="301"/>
                  </a:lnTo>
                  <a:lnTo>
                    <a:pt x="480" y="294"/>
                  </a:lnTo>
                  <a:lnTo>
                    <a:pt x="482" y="289"/>
                  </a:lnTo>
                  <a:lnTo>
                    <a:pt x="481" y="287"/>
                  </a:lnTo>
                  <a:lnTo>
                    <a:pt x="478" y="286"/>
                  </a:lnTo>
                  <a:lnTo>
                    <a:pt x="477" y="284"/>
                  </a:lnTo>
                  <a:lnTo>
                    <a:pt x="475" y="282"/>
                  </a:lnTo>
                  <a:lnTo>
                    <a:pt x="473" y="280"/>
                  </a:lnTo>
                  <a:lnTo>
                    <a:pt x="473" y="277"/>
                  </a:lnTo>
                  <a:lnTo>
                    <a:pt x="473" y="274"/>
                  </a:lnTo>
                  <a:lnTo>
                    <a:pt x="471" y="271"/>
                  </a:lnTo>
                  <a:lnTo>
                    <a:pt x="469" y="269"/>
                  </a:lnTo>
                  <a:lnTo>
                    <a:pt x="470" y="267"/>
                  </a:lnTo>
                  <a:lnTo>
                    <a:pt x="473" y="266"/>
                  </a:lnTo>
                  <a:lnTo>
                    <a:pt x="476" y="266"/>
                  </a:lnTo>
                  <a:lnTo>
                    <a:pt x="478" y="267"/>
                  </a:lnTo>
                  <a:lnTo>
                    <a:pt x="480" y="268"/>
                  </a:lnTo>
                  <a:lnTo>
                    <a:pt x="481" y="267"/>
                  </a:lnTo>
                  <a:lnTo>
                    <a:pt x="481" y="265"/>
                  </a:lnTo>
                  <a:lnTo>
                    <a:pt x="482" y="264"/>
                  </a:lnTo>
                  <a:lnTo>
                    <a:pt x="482" y="263"/>
                  </a:lnTo>
                  <a:lnTo>
                    <a:pt x="484" y="263"/>
                  </a:lnTo>
                  <a:lnTo>
                    <a:pt x="481" y="261"/>
                  </a:lnTo>
                  <a:lnTo>
                    <a:pt x="481" y="259"/>
                  </a:lnTo>
                  <a:lnTo>
                    <a:pt x="484" y="256"/>
                  </a:lnTo>
                  <a:lnTo>
                    <a:pt x="486" y="256"/>
                  </a:lnTo>
                  <a:lnTo>
                    <a:pt x="486" y="257"/>
                  </a:lnTo>
                  <a:lnTo>
                    <a:pt x="488" y="258"/>
                  </a:lnTo>
                  <a:lnTo>
                    <a:pt x="490" y="260"/>
                  </a:lnTo>
                  <a:lnTo>
                    <a:pt x="491" y="260"/>
                  </a:lnTo>
                  <a:lnTo>
                    <a:pt x="492" y="257"/>
                  </a:lnTo>
                  <a:lnTo>
                    <a:pt x="493" y="257"/>
                  </a:lnTo>
                  <a:lnTo>
                    <a:pt x="493" y="259"/>
                  </a:lnTo>
                  <a:lnTo>
                    <a:pt x="494" y="259"/>
                  </a:lnTo>
                  <a:lnTo>
                    <a:pt x="494" y="256"/>
                  </a:lnTo>
                  <a:lnTo>
                    <a:pt x="495" y="257"/>
                  </a:lnTo>
                  <a:lnTo>
                    <a:pt x="496" y="257"/>
                  </a:lnTo>
                  <a:lnTo>
                    <a:pt x="495" y="254"/>
                  </a:lnTo>
                  <a:lnTo>
                    <a:pt x="495" y="251"/>
                  </a:lnTo>
                  <a:lnTo>
                    <a:pt x="497" y="248"/>
                  </a:lnTo>
                  <a:lnTo>
                    <a:pt x="500" y="246"/>
                  </a:lnTo>
                  <a:lnTo>
                    <a:pt x="502" y="247"/>
                  </a:lnTo>
                  <a:lnTo>
                    <a:pt x="503" y="247"/>
                  </a:lnTo>
                  <a:lnTo>
                    <a:pt x="506" y="247"/>
                  </a:lnTo>
                  <a:lnTo>
                    <a:pt x="506" y="247"/>
                  </a:lnTo>
                  <a:lnTo>
                    <a:pt x="507" y="246"/>
                  </a:lnTo>
                  <a:lnTo>
                    <a:pt x="510" y="245"/>
                  </a:lnTo>
                  <a:lnTo>
                    <a:pt x="512" y="243"/>
                  </a:lnTo>
                  <a:lnTo>
                    <a:pt x="513" y="240"/>
                  </a:lnTo>
                  <a:lnTo>
                    <a:pt x="513" y="237"/>
                  </a:lnTo>
                  <a:lnTo>
                    <a:pt x="512" y="233"/>
                  </a:lnTo>
                  <a:lnTo>
                    <a:pt x="517" y="231"/>
                  </a:lnTo>
                  <a:lnTo>
                    <a:pt x="521" y="232"/>
                  </a:lnTo>
                  <a:lnTo>
                    <a:pt x="525" y="235"/>
                  </a:lnTo>
                  <a:lnTo>
                    <a:pt x="527" y="240"/>
                  </a:lnTo>
                  <a:lnTo>
                    <a:pt x="526" y="242"/>
                  </a:lnTo>
                  <a:lnTo>
                    <a:pt x="526" y="244"/>
                  </a:lnTo>
                  <a:lnTo>
                    <a:pt x="527" y="245"/>
                  </a:lnTo>
                  <a:lnTo>
                    <a:pt x="528" y="245"/>
                  </a:lnTo>
                  <a:lnTo>
                    <a:pt x="532" y="247"/>
                  </a:lnTo>
                  <a:lnTo>
                    <a:pt x="533" y="251"/>
                  </a:lnTo>
                  <a:lnTo>
                    <a:pt x="531" y="253"/>
                  </a:lnTo>
                  <a:lnTo>
                    <a:pt x="530" y="255"/>
                  </a:lnTo>
                  <a:lnTo>
                    <a:pt x="529" y="257"/>
                  </a:lnTo>
                  <a:lnTo>
                    <a:pt x="526" y="259"/>
                  </a:lnTo>
                  <a:lnTo>
                    <a:pt x="521" y="260"/>
                  </a:lnTo>
                  <a:lnTo>
                    <a:pt x="511" y="260"/>
                  </a:lnTo>
                  <a:lnTo>
                    <a:pt x="507" y="262"/>
                  </a:lnTo>
                  <a:lnTo>
                    <a:pt x="509" y="265"/>
                  </a:lnTo>
                  <a:lnTo>
                    <a:pt x="514" y="272"/>
                  </a:lnTo>
                  <a:lnTo>
                    <a:pt x="514" y="273"/>
                  </a:lnTo>
                  <a:lnTo>
                    <a:pt x="514" y="273"/>
                  </a:lnTo>
                  <a:lnTo>
                    <a:pt x="514" y="273"/>
                  </a:lnTo>
                  <a:lnTo>
                    <a:pt x="513" y="273"/>
                  </a:lnTo>
                  <a:lnTo>
                    <a:pt x="518" y="279"/>
                  </a:lnTo>
                  <a:lnTo>
                    <a:pt x="519" y="282"/>
                  </a:lnTo>
                  <a:lnTo>
                    <a:pt x="518" y="286"/>
                  </a:lnTo>
                  <a:lnTo>
                    <a:pt x="524" y="285"/>
                  </a:lnTo>
                  <a:lnTo>
                    <a:pt x="527" y="286"/>
                  </a:lnTo>
                  <a:lnTo>
                    <a:pt x="530" y="287"/>
                  </a:lnTo>
                  <a:lnTo>
                    <a:pt x="537" y="293"/>
                  </a:lnTo>
                  <a:lnTo>
                    <a:pt x="540" y="298"/>
                  </a:lnTo>
                  <a:lnTo>
                    <a:pt x="544" y="300"/>
                  </a:lnTo>
                  <a:lnTo>
                    <a:pt x="548" y="301"/>
                  </a:lnTo>
                  <a:lnTo>
                    <a:pt x="549" y="302"/>
                  </a:lnTo>
                  <a:lnTo>
                    <a:pt x="551" y="302"/>
                  </a:lnTo>
                  <a:lnTo>
                    <a:pt x="559" y="309"/>
                  </a:lnTo>
                  <a:lnTo>
                    <a:pt x="562" y="308"/>
                  </a:lnTo>
                  <a:lnTo>
                    <a:pt x="565" y="309"/>
                  </a:lnTo>
                  <a:lnTo>
                    <a:pt x="567" y="311"/>
                  </a:lnTo>
                  <a:lnTo>
                    <a:pt x="573" y="312"/>
                  </a:lnTo>
                  <a:lnTo>
                    <a:pt x="576" y="313"/>
                  </a:lnTo>
                  <a:lnTo>
                    <a:pt x="583" y="317"/>
                  </a:lnTo>
                  <a:lnTo>
                    <a:pt x="586" y="322"/>
                  </a:lnTo>
                  <a:lnTo>
                    <a:pt x="587" y="329"/>
                  </a:lnTo>
                  <a:lnTo>
                    <a:pt x="586" y="338"/>
                  </a:lnTo>
                  <a:lnTo>
                    <a:pt x="584" y="344"/>
                  </a:lnTo>
                  <a:lnTo>
                    <a:pt x="586" y="347"/>
                  </a:lnTo>
                  <a:lnTo>
                    <a:pt x="589" y="350"/>
                  </a:lnTo>
                  <a:lnTo>
                    <a:pt x="591" y="354"/>
                  </a:lnTo>
                  <a:lnTo>
                    <a:pt x="593" y="359"/>
                  </a:lnTo>
                  <a:lnTo>
                    <a:pt x="593" y="360"/>
                  </a:lnTo>
                  <a:lnTo>
                    <a:pt x="595" y="363"/>
                  </a:lnTo>
                  <a:lnTo>
                    <a:pt x="596" y="365"/>
                  </a:lnTo>
                  <a:lnTo>
                    <a:pt x="595" y="368"/>
                  </a:lnTo>
                  <a:lnTo>
                    <a:pt x="594" y="372"/>
                  </a:lnTo>
                  <a:lnTo>
                    <a:pt x="593" y="374"/>
                  </a:lnTo>
                  <a:lnTo>
                    <a:pt x="595" y="373"/>
                  </a:lnTo>
                  <a:lnTo>
                    <a:pt x="606" y="371"/>
                  </a:lnTo>
                  <a:lnTo>
                    <a:pt x="610" y="372"/>
                  </a:lnTo>
                  <a:lnTo>
                    <a:pt x="633" y="382"/>
                  </a:lnTo>
                  <a:lnTo>
                    <a:pt x="647" y="384"/>
                  </a:lnTo>
                  <a:lnTo>
                    <a:pt x="650" y="383"/>
                  </a:lnTo>
                  <a:lnTo>
                    <a:pt x="653" y="382"/>
                  </a:lnTo>
                  <a:lnTo>
                    <a:pt x="654" y="380"/>
                  </a:lnTo>
                  <a:lnTo>
                    <a:pt x="652" y="379"/>
                  </a:lnTo>
                  <a:lnTo>
                    <a:pt x="649" y="379"/>
                  </a:lnTo>
                  <a:lnTo>
                    <a:pt x="646" y="378"/>
                  </a:lnTo>
                  <a:lnTo>
                    <a:pt x="644" y="376"/>
                  </a:lnTo>
                  <a:lnTo>
                    <a:pt x="643" y="374"/>
                  </a:lnTo>
                  <a:lnTo>
                    <a:pt x="642" y="372"/>
                  </a:lnTo>
                  <a:lnTo>
                    <a:pt x="642" y="370"/>
                  </a:lnTo>
                  <a:lnTo>
                    <a:pt x="642" y="368"/>
                  </a:lnTo>
                  <a:lnTo>
                    <a:pt x="631" y="366"/>
                  </a:lnTo>
                  <a:lnTo>
                    <a:pt x="615" y="357"/>
                  </a:lnTo>
                  <a:lnTo>
                    <a:pt x="610" y="352"/>
                  </a:lnTo>
                  <a:lnTo>
                    <a:pt x="601" y="340"/>
                  </a:lnTo>
                  <a:lnTo>
                    <a:pt x="600" y="337"/>
                  </a:lnTo>
                  <a:lnTo>
                    <a:pt x="599" y="336"/>
                  </a:lnTo>
                  <a:lnTo>
                    <a:pt x="598" y="335"/>
                  </a:lnTo>
                  <a:lnTo>
                    <a:pt x="595" y="335"/>
                  </a:lnTo>
                  <a:lnTo>
                    <a:pt x="593" y="335"/>
                  </a:lnTo>
                  <a:lnTo>
                    <a:pt x="593" y="333"/>
                  </a:lnTo>
                  <a:lnTo>
                    <a:pt x="592" y="329"/>
                  </a:lnTo>
                  <a:lnTo>
                    <a:pt x="590" y="326"/>
                  </a:lnTo>
                  <a:lnTo>
                    <a:pt x="589" y="323"/>
                  </a:lnTo>
                  <a:lnTo>
                    <a:pt x="590" y="319"/>
                  </a:lnTo>
                  <a:lnTo>
                    <a:pt x="593" y="312"/>
                  </a:lnTo>
                  <a:lnTo>
                    <a:pt x="599" y="308"/>
                  </a:lnTo>
                  <a:lnTo>
                    <a:pt x="605" y="308"/>
                  </a:lnTo>
                  <a:lnTo>
                    <a:pt x="612" y="310"/>
                  </a:lnTo>
                  <a:lnTo>
                    <a:pt x="621" y="315"/>
                  </a:lnTo>
                  <a:lnTo>
                    <a:pt x="634" y="316"/>
                  </a:lnTo>
                  <a:lnTo>
                    <a:pt x="637" y="317"/>
                  </a:lnTo>
                  <a:lnTo>
                    <a:pt x="643" y="321"/>
                  </a:lnTo>
                  <a:lnTo>
                    <a:pt x="657" y="340"/>
                  </a:lnTo>
                  <a:lnTo>
                    <a:pt x="658" y="341"/>
                  </a:lnTo>
                  <a:lnTo>
                    <a:pt x="658" y="343"/>
                  </a:lnTo>
                  <a:lnTo>
                    <a:pt x="659" y="345"/>
                  </a:lnTo>
                  <a:lnTo>
                    <a:pt x="661" y="345"/>
                  </a:lnTo>
                  <a:lnTo>
                    <a:pt x="661" y="346"/>
                  </a:lnTo>
                  <a:lnTo>
                    <a:pt x="661" y="348"/>
                  </a:lnTo>
                  <a:lnTo>
                    <a:pt x="660" y="352"/>
                  </a:lnTo>
                  <a:lnTo>
                    <a:pt x="661" y="354"/>
                  </a:lnTo>
                  <a:lnTo>
                    <a:pt x="667" y="364"/>
                  </a:lnTo>
                  <a:lnTo>
                    <a:pt x="666" y="362"/>
                  </a:lnTo>
                  <a:lnTo>
                    <a:pt x="666" y="361"/>
                  </a:lnTo>
                  <a:lnTo>
                    <a:pt x="668" y="360"/>
                  </a:lnTo>
                  <a:lnTo>
                    <a:pt x="670" y="361"/>
                  </a:lnTo>
                  <a:lnTo>
                    <a:pt x="671" y="362"/>
                  </a:lnTo>
                  <a:lnTo>
                    <a:pt x="672" y="364"/>
                  </a:lnTo>
                  <a:lnTo>
                    <a:pt x="673" y="365"/>
                  </a:lnTo>
                  <a:lnTo>
                    <a:pt x="679" y="368"/>
                  </a:lnTo>
                  <a:lnTo>
                    <a:pt x="678" y="370"/>
                  </a:lnTo>
                  <a:lnTo>
                    <a:pt x="678" y="372"/>
                  </a:lnTo>
                  <a:lnTo>
                    <a:pt x="680" y="372"/>
                  </a:lnTo>
                  <a:lnTo>
                    <a:pt x="681" y="371"/>
                  </a:lnTo>
                  <a:lnTo>
                    <a:pt x="682" y="371"/>
                  </a:lnTo>
                  <a:lnTo>
                    <a:pt x="682" y="372"/>
                  </a:lnTo>
                  <a:lnTo>
                    <a:pt x="682" y="375"/>
                  </a:lnTo>
                  <a:lnTo>
                    <a:pt x="685" y="376"/>
                  </a:lnTo>
                  <a:lnTo>
                    <a:pt x="693" y="375"/>
                  </a:lnTo>
                  <a:lnTo>
                    <a:pt x="693" y="374"/>
                  </a:lnTo>
                  <a:lnTo>
                    <a:pt x="690" y="373"/>
                  </a:lnTo>
                  <a:lnTo>
                    <a:pt x="689" y="372"/>
                  </a:lnTo>
                  <a:lnTo>
                    <a:pt x="691" y="371"/>
                  </a:lnTo>
                  <a:lnTo>
                    <a:pt x="694" y="371"/>
                  </a:lnTo>
                  <a:lnTo>
                    <a:pt x="694" y="369"/>
                  </a:lnTo>
                  <a:lnTo>
                    <a:pt x="692" y="368"/>
                  </a:lnTo>
                  <a:lnTo>
                    <a:pt x="693" y="366"/>
                  </a:lnTo>
                  <a:lnTo>
                    <a:pt x="697" y="362"/>
                  </a:lnTo>
                  <a:lnTo>
                    <a:pt x="697" y="361"/>
                  </a:lnTo>
                  <a:lnTo>
                    <a:pt x="696" y="360"/>
                  </a:lnTo>
                  <a:lnTo>
                    <a:pt x="696" y="359"/>
                  </a:lnTo>
                  <a:lnTo>
                    <a:pt x="696" y="357"/>
                  </a:lnTo>
                  <a:lnTo>
                    <a:pt x="695" y="358"/>
                  </a:lnTo>
                  <a:lnTo>
                    <a:pt x="693" y="358"/>
                  </a:lnTo>
                  <a:lnTo>
                    <a:pt x="692" y="357"/>
                  </a:lnTo>
                  <a:lnTo>
                    <a:pt x="692" y="355"/>
                  </a:lnTo>
                  <a:lnTo>
                    <a:pt x="692" y="354"/>
                  </a:lnTo>
                  <a:lnTo>
                    <a:pt x="693" y="354"/>
                  </a:lnTo>
                  <a:lnTo>
                    <a:pt x="694" y="353"/>
                  </a:lnTo>
                  <a:lnTo>
                    <a:pt x="695" y="352"/>
                  </a:lnTo>
                  <a:lnTo>
                    <a:pt x="694" y="350"/>
                  </a:lnTo>
                  <a:lnTo>
                    <a:pt x="692" y="348"/>
                  </a:lnTo>
                  <a:lnTo>
                    <a:pt x="691" y="347"/>
                  </a:lnTo>
                  <a:lnTo>
                    <a:pt x="691" y="345"/>
                  </a:lnTo>
                  <a:lnTo>
                    <a:pt x="693" y="343"/>
                  </a:lnTo>
                  <a:lnTo>
                    <a:pt x="693" y="341"/>
                  </a:lnTo>
                  <a:lnTo>
                    <a:pt x="691" y="339"/>
                  </a:lnTo>
                  <a:lnTo>
                    <a:pt x="685" y="336"/>
                  </a:lnTo>
                  <a:lnTo>
                    <a:pt x="683" y="335"/>
                  </a:lnTo>
                  <a:lnTo>
                    <a:pt x="680" y="332"/>
                  </a:lnTo>
                  <a:lnTo>
                    <a:pt x="678" y="330"/>
                  </a:lnTo>
                  <a:lnTo>
                    <a:pt x="675" y="329"/>
                  </a:lnTo>
                  <a:lnTo>
                    <a:pt x="673" y="330"/>
                  </a:lnTo>
                  <a:lnTo>
                    <a:pt x="662" y="325"/>
                  </a:lnTo>
                  <a:lnTo>
                    <a:pt x="661" y="325"/>
                  </a:lnTo>
                  <a:lnTo>
                    <a:pt x="659" y="324"/>
                  </a:lnTo>
                  <a:lnTo>
                    <a:pt x="657" y="321"/>
                  </a:lnTo>
                  <a:lnTo>
                    <a:pt x="656" y="318"/>
                  </a:lnTo>
                  <a:lnTo>
                    <a:pt x="650" y="314"/>
                  </a:lnTo>
                  <a:lnTo>
                    <a:pt x="649" y="313"/>
                  </a:lnTo>
                  <a:lnTo>
                    <a:pt x="649" y="312"/>
                  </a:lnTo>
                  <a:lnTo>
                    <a:pt x="646" y="305"/>
                  </a:lnTo>
                  <a:lnTo>
                    <a:pt x="646" y="302"/>
                  </a:lnTo>
                  <a:lnTo>
                    <a:pt x="647" y="298"/>
                  </a:lnTo>
                  <a:lnTo>
                    <a:pt x="649" y="294"/>
                  </a:lnTo>
                  <a:lnTo>
                    <a:pt x="650" y="295"/>
                  </a:lnTo>
                  <a:lnTo>
                    <a:pt x="651" y="293"/>
                  </a:lnTo>
                  <a:lnTo>
                    <a:pt x="651" y="291"/>
                  </a:lnTo>
                  <a:lnTo>
                    <a:pt x="656" y="294"/>
                  </a:lnTo>
                  <a:lnTo>
                    <a:pt x="660" y="293"/>
                  </a:lnTo>
                  <a:lnTo>
                    <a:pt x="668" y="289"/>
                  </a:lnTo>
                  <a:lnTo>
                    <a:pt x="670" y="289"/>
                  </a:lnTo>
                  <a:lnTo>
                    <a:pt x="676" y="290"/>
                  </a:lnTo>
                  <a:lnTo>
                    <a:pt x="682" y="289"/>
                  </a:lnTo>
                  <a:lnTo>
                    <a:pt x="684" y="290"/>
                  </a:lnTo>
                  <a:lnTo>
                    <a:pt x="688" y="293"/>
                  </a:lnTo>
                  <a:lnTo>
                    <a:pt x="693" y="299"/>
                  </a:lnTo>
                  <a:lnTo>
                    <a:pt x="697" y="301"/>
                  </a:lnTo>
                  <a:lnTo>
                    <a:pt x="702" y="304"/>
                  </a:lnTo>
                  <a:lnTo>
                    <a:pt x="715" y="306"/>
                  </a:lnTo>
                  <a:lnTo>
                    <a:pt x="721" y="309"/>
                  </a:lnTo>
                  <a:lnTo>
                    <a:pt x="725" y="314"/>
                  </a:lnTo>
                  <a:lnTo>
                    <a:pt x="728" y="321"/>
                  </a:lnTo>
                  <a:lnTo>
                    <a:pt x="732" y="327"/>
                  </a:lnTo>
                  <a:lnTo>
                    <a:pt x="735" y="329"/>
                  </a:lnTo>
                  <a:lnTo>
                    <a:pt x="737" y="330"/>
                  </a:lnTo>
                  <a:lnTo>
                    <a:pt x="740" y="333"/>
                  </a:lnTo>
                  <a:lnTo>
                    <a:pt x="741" y="336"/>
                  </a:lnTo>
                  <a:lnTo>
                    <a:pt x="742" y="339"/>
                  </a:lnTo>
                  <a:lnTo>
                    <a:pt x="745" y="340"/>
                  </a:lnTo>
                  <a:lnTo>
                    <a:pt x="751" y="339"/>
                  </a:lnTo>
                  <a:lnTo>
                    <a:pt x="757" y="334"/>
                  </a:lnTo>
                  <a:lnTo>
                    <a:pt x="755" y="329"/>
                  </a:lnTo>
                  <a:lnTo>
                    <a:pt x="745" y="319"/>
                  </a:lnTo>
                  <a:lnTo>
                    <a:pt x="737" y="306"/>
                  </a:lnTo>
                  <a:lnTo>
                    <a:pt x="731" y="300"/>
                  </a:lnTo>
                  <a:lnTo>
                    <a:pt x="727" y="300"/>
                  </a:lnTo>
                  <a:lnTo>
                    <a:pt x="726" y="299"/>
                  </a:lnTo>
                  <a:lnTo>
                    <a:pt x="724" y="294"/>
                  </a:lnTo>
                  <a:lnTo>
                    <a:pt x="723" y="293"/>
                  </a:lnTo>
                  <a:lnTo>
                    <a:pt x="721" y="293"/>
                  </a:lnTo>
                  <a:lnTo>
                    <a:pt x="716" y="291"/>
                  </a:lnTo>
                  <a:lnTo>
                    <a:pt x="715" y="290"/>
                  </a:lnTo>
                  <a:lnTo>
                    <a:pt x="712" y="292"/>
                  </a:lnTo>
                  <a:lnTo>
                    <a:pt x="708" y="290"/>
                  </a:lnTo>
                  <a:lnTo>
                    <a:pt x="705" y="287"/>
                  </a:lnTo>
                  <a:lnTo>
                    <a:pt x="703" y="285"/>
                  </a:lnTo>
                  <a:lnTo>
                    <a:pt x="699" y="276"/>
                  </a:lnTo>
                  <a:lnTo>
                    <a:pt x="696" y="273"/>
                  </a:lnTo>
                  <a:lnTo>
                    <a:pt x="693" y="273"/>
                  </a:lnTo>
                  <a:lnTo>
                    <a:pt x="694" y="275"/>
                  </a:lnTo>
                  <a:lnTo>
                    <a:pt x="693" y="276"/>
                  </a:lnTo>
                  <a:lnTo>
                    <a:pt x="695" y="280"/>
                  </a:lnTo>
                  <a:lnTo>
                    <a:pt x="696" y="283"/>
                  </a:lnTo>
                  <a:lnTo>
                    <a:pt x="696" y="285"/>
                  </a:lnTo>
                  <a:lnTo>
                    <a:pt x="695" y="286"/>
                  </a:lnTo>
                  <a:lnTo>
                    <a:pt x="690" y="286"/>
                  </a:lnTo>
                  <a:lnTo>
                    <a:pt x="688" y="287"/>
                  </a:lnTo>
                  <a:lnTo>
                    <a:pt x="687" y="286"/>
                  </a:lnTo>
                  <a:lnTo>
                    <a:pt x="681" y="285"/>
                  </a:lnTo>
                  <a:lnTo>
                    <a:pt x="680" y="284"/>
                  </a:lnTo>
                  <a:lnTo>
                    <a:pt x="675" y="282"/>
                  </a:lnTo>
                  <a:lnTo>
                    <a:pt x="673" y="280"/>
                  </a:lnTo>
                  <a:lnTo>
                    <a:pt x="667" y="270"/>
                  </a:lnTo>
                  <a:lnTo>
                    <a:pt x="665" y="265"/>
                  </a:lnTo>
                  <a:lnTo>
                    <a:pt x="666" y="261"/>
                  </a:lnTo>
                  <a:lnTo>
                    <a:pt x="668" y="258"/>
                  </a:lnTo>
                  <a:lnTo>
                    <a:pt x="679" y="257"/>
                  </a:lnTo>
                  <a:lnTo>
                    <a:pt x="681" y="256"/>
                  </a:lnTo>
                  <a:lnTo>
                    <a:pt x="681" y="254"/>
                  </a:lnTo>
                  <a:lnTo>
                    <a:pt x="678" y="251"/>
                  </a:lnTo>
                  <a:lnTo>
                    <a:pt x="677" y="249"/>
                  </a:lnTo>
                  <a:lnTo>
                    <a:pt x="675" y="250"/>
                  </a:lnTo>
                  <a:lnTo>
                    <a:pt x="673" y="250"/>
                  </a:lnTo>
                  <a:lnTo>
                    <a:pt x="670" y="250"/>
                  </a:lnTo>
                  <a:lnTo>
                    <a:pt x="668" y="249"/>
                  </a:lnTo>
                  <a:lnTo>
                    <a:pt x="662" y="244"/>
                  </a:lnTo>
                  <a:lnTo>
                    <a:pt x="661" y="244"/>
                  </a:lnTo>
                  <a:lnTo>
                    <a:pt x="660" y="240"/>
                  </a:lnTo>
                  <a:lnTo>
                    <a:pt x="658" y="236"/>
                  </a:lnTo>
                  <a:lnTo>
                    <a:pt x="655" y="232"/>
                  </a:lnTo>
                  <a:lnTo>
                    <a:pt x="653" y="230"/>
                  </a:lnTo>
                  <a:lnTo>
                    <a:pt x="649" y="229"/>
                  </a:lnTo>
                  <a:lnTo>
                    <a:pt x="647" y="226"/>
                  </a:lnTo>
                  <a:lnTo>
                    <a:pt x="645" y="221"/>
                  </a:lnTo>
                  <a:lnTo>
                    <a:pt x="646" y="216"/>
                  </a:lnTo>
                  <a:lnTo>
                    <a:pt x="648" y="213"/>
                  </a:lnTo>
                  <a:lnTo>
                    <a:pt x="652" y="210"/>
                  </a:lnTo>
                  <a:lnTo>
                    <a:pt x="655" y="207"/>
                  </a:lnTo>
                  <a:lnTo>
                    <a:pt x="664" y="204"/>
                  </a:lnTo>
                  <a:lnTo>
                    <a:pt x="669" y="203"/>
                  </a:lnTo>
                  <a:lnTo>
                    <a:pt x="671" y="203"/>
                  </a:lnTo>
                  <a:lnTo>
                    <a:pt x="674" y="204"/>
                  </a:lnTo>
                  <a:lnTo>
                    <a:pt x="692" y="214"/>
                  </a:lnTo>
                  <a:lnTo>
                    <a:pt x="699" y="216"/>
                  </a:lnTo>
                  <a:lnTo>
                    <a:pt x="706" y="216"/>
                  </a:lnTo>
                  <a:lnTo>
                    <a:pt x="712" y="215"/>
                  </a:lnTo>
                  <a:lnTo>
                    <a:pt x="728" y="205"/>
                  </a:lnTo>
                  <a:lnTo>
                    <a:pt x="748" y="193"/>
                  </a:lnTo>
                  <a:lnTo>
                    <a:pt x="747" y="193"/>
                  </a:lnTo>
                  <a:lnTo>
                    <a:pt x="744" y="193"/>
                  </a:lnTo>
                  <a:lnTo>
                    <a:pt x="743" y="192"/>
                  </a:lnTo>
                  <a:lnTo>
                    <a:pt x="743" y="191"/>
                  </a:lnTo>
                  <a:lnTo>
                    <a:pt x="743" y="190"/>
                  </a:lnTo>
                  <a:lnTo>
                    <a:pt x="743" y="189"/>
                  </a:lnTo>
                  <a:lnTo>
                    <a:pt x="747" y="188"/>
                  </a:lnTo>
                  <a:lnTo>
                    <a:pt x="747" y="187"/>
                  </a:lnTo>
                  <a:lnTo>
                    <a:pt x="746" y="185"/>
                  </a:lnTo>
                  <a:lnTo>
                    <a:pt x="744" y="183"/>
                  </a:lnTo>
                  <a:lnTo>
                    <a:pt x="746" y="182"/>
                  </a:lnTo>
                  <a:lnTo>
                    <a:pt x="753" y="176"/>
                  </a:lnTo>
                  <a:lnTo>
                    <a:pt x="756" y="171"/>
                  </a:lnTo>
                  <a:lnTo>
                    <a:pt x="760" y="169"/>
                  </a:lnTo>
                  <a:lnTo>
                    <a:pt x="765" y="169"/>
                  </a:lnTo>
                  <a:lnTo>
                    <a:pt x="768" y="170"/>
                  </a:lnTo>
                  <a:lnTo>
                    <a:pt x="769" y="168"/>
                  </a:lnTo>
                  <a:lnTo>
                    <a:pt x="771" y="167"/>
                  </a:lnTo>
                  <a:lnTo>
                    <a:pt x="773" y="167"/>
                  </a:lnTo>
                  <a:lnTo>
                    <a:pt x="774" y="166"/>
                  </a:lnTo>
                  <a:lnTo>
                    <a:pt x="776" y="167"/>
                  </a:lnTo>
                  <a:lnTo>
                    <a:pt x="784" y="168"/>
                  </a:lnTo>
                  <a:lnTo>
                    <a:pt x="785" y="171"/>
                  </a:lnTo>
                  <a:lnTo>
                    <a:pt x="785" y="173"/>
                  </a:lnTo>
                  <a:lnTo>
                    <a:pt x="787" y="175"/>
                  </a:lnTo>
                  <a:lnTo>
                    <a:pt x="790" y="176"/>
                  </a:lnTo>
                  <a:lnTo>
                    <a:pt x="789" y="178"/>
                  </a:lnTo>
                  <a:lnTo>
                    <a:pt x="791" y="181"/>
                  </a:lnTo>
                  <a:lnTo>
                    <a:pt x="793" y="184"/>
                  </a:lnTo>
                  <a:lnTo>
                    <a:pt x="794" y="187"/>
                  </a:lnTo>
                  <a:lnTo>
                    <a:pt x="795" y="187"/>
                  </a:lnTo>
                  <a:lnTo>
                    <a:pt x="796" y="186"/>
                  </a:lnTo>
                  <a:lnTo>
                    <a:pt x="800" y="183"/>
                  </a:lnTo>
                  <a:lnTo>
                    <a:pt x="805" y="186"/>
                  </a:lnTo>
                  <a:lnTo>
                    <a:pt x="805" y="187"/>
                  </a:lnTo>
                  <a:lnTo>
                    <a:pt x="805" y="187"/>
                  </a:lnTo>
                  <a:lnTo>
                    <a:pt x="804" y="187"/>
                  </a:lnTo>
                  <a:lnTo>
                    <a:pt x="807" y="189"/>
                  </a:lnTo>
                  <a:lnTo>
                    <a:pt x="810" y="189"/>
                  </a:lnTo>
                  <a:lnTo>
                    <a:pt x="816" y="186"/>
                  </a:lnTo>
                  <a:lnTo>
                    <a:pt x="821" y="188"/>
                  </a:lnTo>
                  <a:lnTo>
                    <a:pt x="827" y="184"/>
                  </a:lnTo>
                  <a:lnTo>
                    <a:pt x="831" y="177"/>
                  </a:lnTo>
                  <a:lnTo>
                    <a:pt x="836" y="174"/>
                  </a:lnTo>
                  <a:lnTo>
                    <a:pt x="838" y="174"/>
                  </a:lnTo>
                  <a:lnTo>
                    <a:pt x="844" y="171"/>
                  </a:lnTo>
                  <a:lnTo>
                    <a:pt x="846" y="170"/>
                  </a:lnTo>
                  <a:lnTo>
                    <a:pt x="849" y="170"/>
                  </a:lnTo>
                  <a:lnTo>
                    <a:pt x="851" y="170"/>
                  </a:lnTo>
                  <a:lnTo>
                    <a:pt x="853" y="168"/>
                  </a:lnTo>
                  <a:lnTo>
                    <a:pt x="852" y="164"/>
                  </a:lnTo>
                  <a:lnTo>
                    <a:pt x="854" y="164"/>
                  </a:lnTo>
                  <a:lnTo>
                    <a:pt x="856" y="163"/>
                  </a:lnTo>
                  <a:lnTo>
                    <a:pt x="859" y="160"/>
                  </a:lnTo>
                  <a:lnTo>
                    <a:pt x="859" y="157"/>
                  </a:lnTo>
                  <a:lnTo>
                    <a:pt x="862" y="156"/>
                  </a:lnTo>
                  <a:lnTo>
                    <a:pt x="875" y="156"/>
                  </a:lnTo>
                  <a:lnTo>
                    <a:pt x="877" y="157"/>
                  </a:lnTo>
                  <a:lnTo>
                    <a:pt x="880" y="159"/>
                  </a:lnTo>
                  <a:lnTo>
                    <a:pt x="878" y="159"/>
                  </a:lnTo>
                  <a:lnTo>
                    <a:pt x="877" y="160"/>
                  </a:lnTo>
                  <a:lnTo>
                    <a:pt x="875" y="161"/>
                  </a:lnTo>
                  <a:lnTo>
                    <a:pt x="874" y="163"/>
                  </a:lnTo>
                  <a:lnTo>
                    <a:pt x="874" y="166"/>
                  </a:lnTo>
                  <a:lnTo>
                    <a:pt x="875" y="166"/>
                  </a:lnTo>
                  <a:lnTo>
                    <a:pt x="876" y="166"/>
                  </a:lnTo>
                  <a:lnTo>
                    <a:pt x="878" y="168"/>
                  </a:lnTo>
                  <a:lnTo>
                    <a:pt x="882" y="170"/>
                  </a:lnTo>
                  <a:lnTo>
                    <a:pt x="894" y="172"/>
                  </a:lnTo>
                  <a:lnTo>
                    <a:pt x="894" y="173"/>
                  </a:lnTo>
                  <a:lnTo>
                    <a:pt x="895" y="173"/>
                  </a:lnTo>
                  <a:lnTo>
                    <a:pt x="901" y="168"/>
                  </a:lnTo>
                  <a:lnTo>
                    <a:pt x="907" y="170"/>
                  </a:lnTo>
                  <a:lnTo>
                    <a:pt x="914" y="175"/>
                  </a:lnTo>
                  <a:lnTo>
                    <a:pt x="920" y="177"/>
                  </a:lnTo>
                  <a:lnTo>
                    <a:pt x="922" y="177"/>
                  </a:lnTo>
                  <a:lnTo>
                    <a:pt x="930" y="179"/>
                  </a:lnTo>
                  <a:lnTo>
                    <a:pt x="933" y="181"/>
                  </a:lnTo>
                  <a:lnTo>
                    <a:pt x="935" y="183"/>
                  </a:lnTo>
                  <a:lnTo>
                    <a:pt x="938" y="185"/>
                  </a:lnTo>
                  <a:lnTo>
                    <a:pt x="942" y="186"/>
                  </a:lnTo>
                  <a:lnTo>
                    <a:pt x="943" y="186"/>
                  </a:lnTo>
                  <a:lnTo>
                    <a:pt x="949" y="184"/>
                  </a:lnTo>
                  <a:lnTo>
                    <a:pt x="956" y="185"/>
                  </a:lnTo>
                  <a:lnTo>
                    <a:pt x="963" y="187"/>
                  </a:lnTo>
                  <a:lnTo>
                    <a:pt x="969" y="189"/>
                  </a:lnTo>
                  <a:lnTo>
                    <a:pt x="981" y="188"/>
                  </a:lnTo>
                  <a:lnTo>
                    <a:pt x="982" y="188"/>
                  </a:lnTo>
                  <a:lnTo>
                    <a:pt x="984" y="189"/>
                  </a:lnTo>
                  <a:lnTo>
                    <a:pt x="993" y="190"/>
                  </a:lnTo>
                  <a:lnTo>
                    <a:pt x="995" y="190"/>
                  </a:lnTo>
                  <a:lnTo>
                    <a:pt x="999" y="188"/>
                  </a:lnTo>
                  <a:lnTo>
                    <a:pt x="1004" y="190"/>
                  </a:lnTo>
                  <a:lnTo>
                    <a:pt x="1009" y="193"/>
                  </a:lnTo>
                  <a:lnTo>
                    <a:pt x="1011" y="196"/>
                  </a:lnTo>
                  <a:lnTo>
                    <a:pt x="1013" y="196"/>
                  </a:lnTo>
                  <a:lnTo>
                    <a:pt x="1012" y="194"/>
                  </a:lnTo>
                  <a:lnTo>
                    <a:pt x="1011" y="193"/>
                  </a:lnTo>
                  <a:lnTo>
                    <a:pt x="1011" y="192"/>
                  </a:lnTo>
                  <a:lnTo>
                    <a:pt x="1013" y="192"/>
                  </a:lnTo>
                  <a:lnTo>
                    <a:pt x="1013" y="193"/>
                  </a:lnTo>
                  <a:lnTo>
                    <a:pt x="1014" y="195"/>
                  </a:lnTo>
                  <a:lnTo>
                    <a:pt x="1015" y="193"/>
                  </a:lnTo>
                  <a:lnTo>
                    <a:pt x="1018" y="193"/>
                  </a:lnTo>
                  <a:lnTo>
                    <a:pt x="1020" y="193"/>
                  </a:lnTo>
                  <a:lnTo>
                    <a:pt x="1021" y="195"/>
                  </a:lnTo>
                  <a:lnTo>
                    <a:pt x="1020" y="196"/>
                  </a:lnTo>
                  <a:lnTo>
                    <a:pt x="1018" y="197"/>
                  </a:lnTo>
                  <a:lnTo>
                    <a:pt x="1015" y="197"/>
                  </a:lnTo>
                  <a:lnTo>
                    <a:pt x="1013" y="197"/>
                  </a:lnTo>
                  <a:lnTo>
                    <a:pt x="1013" y="199"/>
                  </a:lnTo>
                  <a:lnTo>
                    <a:pt x="1016" y="200"/>
                  </a:lnTo>
                  <a:lnTo>
                    <a:pt x="1017" y="204"/>
                  </a:lnTo>
                  <a:lnTo>
                    <a:pt x="1017" y="208"/>
                  </a:lnTo>
                  <a:lnTo>
                    <a:pt x="1019" y="212"/>
                  </a:lnTo>
                  <a:lnTo>
                    <a:pt x="1019" y="212"/>
                  </a:lnTo>
                  <a:lnTo>
                    <a:pt x="1025" y="213"/>
                  </a:lnTo>
                  <a:lnTo>
                    <a:pt x="1030" y="211"/>
                  </a:lnTo>
                  <a:lnTo>
                    <a:pt x="1033" y="207"/>
                  </a:lnTo>
                  <a:lnTo>
                    <a:pt x="1035" y="201"/>
                  </a:lnTo>
                  <a:lnTo>
                    <a:pt x="1037" y="197"/>
                  </a:lnTo>
                  <a:lnTo>
                    <a:pt x="1045" y="190"/>
                  </a:lnTo>
                  <a:lnTo>
                    <a:pt x="1044" y="187"/>
                  </a:lnTo>
                  <a:lnTo>
                    <a:pt x="1044" y="186"/>
                  </a:lnTo>
                  <a:lnTo>
                    <a:pt x="1045" y="185"/>
                  </a:lnTo>
                  <a:lnTo>
                    <a:pt x="1046" y="185"/>
                  </a:lnTo>
                  <a:lnTo>
                    <a:pt x="1046" y="184"/>
                  </a:lnTo>
                  <a:lnTo>
                    <a:pt x="1045" y="184"/>
                  </a:lnTo>
                  <a:lnTo>
                    <a:pt x="1045" y="184"/>
                  </a:lnTo>
                  <a:lnTo>
                    <a:pt x="1045" y="183"/>
                  </a:lnTo>
                  <a:lnTo>
                    <a:pt x="1047" y="182"/>
                  </a:lnTo>
                  <a:lnTo>
                    <a:pt x="1047" y="182"/>
                  </a:lnTo>
                  <a:lnTo>
                    <a:pt x="1048" y="181"/>
                  </a:lnTo>
                  <a:lnTo>
                    <a:pt x="1048" y="179"/>
                  </a:lnTo>
                  <a:lnTo>
                    <a:pt x="1048" y="181"/>
                  </a:lnTo>
                  <a:lnTo>
                    <a:pt x="1049" y="182"/>
                  </a:lnTo>
                  <a:lnTo>
                    <a:pt x="1049" y="182"/>
                  </a:lnTo>
                  <a:lnTo>
                    <a:pt x="1051" y="181"/>
                  </a:lnTo>
                  <a:lnTo>
                    <a:pt x="1052" y="179"/>
                  </a:lnTo>
                  <a:lnTo>
                    <a:pt x="1053" y="174"/>
                  </a:lnTo>
                  <a:lnTo>
                    <a:pt x="1054" y="174"/>
                  </a:lnTo>
                  <a:lnTo>
                    <a:pt x="1054" y="176"/>
                  </a:lnTo>
                  <a:lnTo>
                    <a:pt x="1055" y="177"/>
                  </a:lnTo>
                  <a:lnTo>
                    <a:pt x="1056" y="177"/>
                  </a:lnTo>
                  <a:lnTo>
                    <a:pt x="1058" y="177"/>
                  </a:lnTo>
                  <a:lnTo>
                    <a:pt x="1060" y="177"/>
                  </a:lnTo>
                  <a:lnTo>
                    <a:pt x="1060" y="176"/>
                  </a:lnTo>
                  <a:lnTo>
                    <a:pt x="1059" y="174"/>
                  </a:lnTo>
                  <a:lnTo>
                    <a:pt x="1059" y="173"/>
                  </a:lnTo>
                  <a:lnTo>
                    <a:pt x="1060" y="171"/>
                  </a:lnTo>
                  <a:lnTo>
                    <a:pt x="1065" y="169"/>
                  </a:lnTo>
                  <a:lnTo>
                    <a:pt x="1067" y="167"/>
                  </a:lnTo>
                  <a:lnTo>
                    <a:pt x="1069" y="165"/>
                  </a:lnTo>
                  <a:lnTo>
                    <a:pt x="1068" y="164"/>
                  </a:lnTo>
                  <a:lnTo>
                    <a:pt x="1067" y="164"/>
                  </a:lnTo>
                  <a:lnTo>
                    <a:pt x="1065" y="162"/>
                  </a:lnTo>
                  <a:lnTo>
                    <a:pt x="1064" y="160"/>
                  </a:lnTo>
                  <a:lnTo>
                    <a:pt x="1065" y="158"/>
                  </a:lnTo>
                  <a:lnTo>
                    <a:pt x="1066" y="158"/>
                  </a:lnTo>
                  <a:lnTo>
                    <a:pt x="1069" y="157"/>
                  </a:lnTo>
                  <a:lnTo>
                    <a:pt x="1070" y="156"/>
                  </a:lnTo>
                  <a:lnTo>
                    <a:pt x="1071" y="154"/>
                  </a:lnTo>
                  <a:lnTo>
                    <a:pt x="1071" y="151"/>
                  </a:lnTo>
                  <a:lnTo>
                    <a:pt x="1067" y="149"/>
                  </a:lnTo>
                  <a:lnTo>
                    <a:pt x="1065" y="147"/>
                  </a:lnTo>
                  <a:lnTo>
                    <a:pt x="1063" y="142"/>
                  </a:lnTo>
                  <a:lnTo>
                    <a:pt x="1063" y="139"/>
                  </a:lnTo>
                  <a:lnTo>
                    <a:pt x="1065" y="134"/>
                  </a:lnTo>
                  <a:lnTo>
                    <a:pt x="1064" y="133"/>
                  </a:lnTo>
                  <a:lnTo>
                    <a:pt x="1062" y="132"/>
                  </a:lnTo>
                  <a:lnTo>
                    <a:pt x="1062" y="130"/>
                  </a:lnTo>
                  <a:lnTo>
                    <a:pt x="1065" y="126"/>
                  </a:lnTo>
                  <a:lnTo>
                    <a:pt x="1063" y="122"/>
                  </a:lnTo>
                  <a:lnTo>
                    <a:pt x="1063" y="119"/>
                  </a:lnTo>
                  <a:lnTo>
                    <a:pt x="1063" y="114"/>
                  </a:lnTo>
                  <a:lnTo>
                    <a:pt x="1065" y="110"/>
                  </a:lnTo>
                  <a:lnTo>
                    <a:pt x="1063" y="106"/>
                  </a:lnTo>
                  <a:lnTo>
                    <a:pt x="1064" y="104"/>
                  </a:lnTo>
                  <a:lnTo>
                    <a:pt x="1074" y="104"/>
                  </a:lnTo>
                  <a:lnTo>
                    <a:pt x="1077" y="102"/>
                  </a:lnTo>
                  <a:lnTo>
                    <a:pt x="1081" y="98"/>
                  </a:lnTo>
                  <a:lnTo>
                    <a:pt x="1086" y="95"/>
                  </a:lnTo>
                  <a:lnTo>
                    <a:pt x="1087" y="94"/>
                  </a:lnTo>
                  <a:lnTo>
                    <a:pt x="1087" y="94"/>
                  </a:lnTo>
                  <a:lnTo>
                    <a:pt x="1088" y="93"/>
                  </a:lnTo>
                  <a:lnTo>
                    <a:pt x="1089" y="93"/>
                  </a:lnTo>
                  <a:lnTo>
                    <a:pt x="1098" y="84"/>
                  </a:lnTo>
                  <a:lnTo>
                    <a:pt x="1099" y="86"/>
                  </a:lnTo>
                  <a:lnTo>
                    <a:pt x="1102" y="88"/>
                  </a:lnTo>
                  <a:lnTo>
                    <a:pt x="1105" y="89"/>
                  </a:lnTo>
                  <a:lnTo>
                    <a:pt x="1108" y="88"/>
                  </a:lnTo>
                  <a:lnTo>
                    <a:pt x="1111" y="86"/>
                  </a:lnTo>
                  <a:lnTo>
                    <a:pt x="1112" y="83"/>
                  </a:lnTo>
                  <a:lnTo>
                    <a:pt x="1113" y="78"/>
                  </a:lnTo>
                  <a:lnTo>
                    <a:pt x="1113" y="74"/>
                  </a:lnTo>
                  <a:lnTo>
                    <a:pt x="1112" y="70"/>
                  </a:lnTo>
                  <a:lnTo>
                    <a:pt x="1109" y="59"/>
                  </a:lnTo>
                  <a:lnTo>
                    <a:pt x="1109" y="51"/>
                  </a:lnTo>
                  <a:lnTo>
                    <a:pt x="1108" y="48"/>
                  </a:lnTo>
                  <a:lnTo>
                    <a:pt x="1106" y="45"/>
                  </a:lnTo>
                  <a:lnTo>
                    <a:pt x="1107" y="43"/>
                  </a:lnTo>
                  <a:lnTo>
                    <a:pt x="1107" y="37"/>
                  </a:lnTo>
                  <a:lnTo>
                    <a:pt x="1107" y="35"/>
                  </a:lnTo>
                  <a:lnTo>
                    <a:pt x="1107" y="33"/>
                  </a:lnTo>
                  <a:lnTo>
                    <a:pt x="1106" y="32"/>
                  </a:lnTo>
                  <a:lnTo>
                    <a:pt x="1106" y="31"/>
                  </a:lnTo>
                  <a:lnTo>
                    <a:pt x="1106" y="29"/>
                  </a:lnTo>
                  <a:lnTo>
                    <a:pt x="1103" y="33"/>
                  </a:lnTo>
                  <a:lnTo>
                    <a:pt x="1102" y="32"/>
                  </a:lnTo>
                  <a:lnTo>
                    <a:pt x="1094" y="28"/>
                  </a:lnTo>
                  <a:lnTo>
                    <a:pt x="1085" y="21"/>
                  </a:lnTo>
                  <a:lnTo>
                    <a:pt x="1087" y="19"/>
                  </a:lnTo>
                  <a:lnTo>
                    <a:pt x="1087" y="16"/>
                  </a:lnTo>
                  <a:lnTo>
                    <a:pt x="1085" y="15"/>
                  </a:lnTo>
                  <a:lnTo>
                    <a:pt x="1082" y="14"/>
                  </a:lnTo>
                  <a:lnTo>
                    <a:pt x="1076" y="12"/>
                  </a:lnTo>
                  <a:lnTo>
                    <a:pt x="1072" y="8"/>
                  </a:lnTo>
                  <a:lnTo>
                    <a:pt x="1069" y="7"/>
                  </a:lnTo>
                  <a:lnTo>
                    <a:pt x="1064" y="7"/>
                  </a:lnTo>
                  <a:lnTo>
                    <a:pt x="1059" y="8"/>
                  </a:lnTo>
                  <a:lnTo>
                    <a:pt x="1055" y="7"/>
                  </a:lnTo>
                  <a:lnTo>
                    <a:pt x="1053" y="6"/>
                  </a:lnTo>
                  <a:lnTo>
                    <a:pt x="1049" y="1"/>
                  </a:lnTo>
                  <a:lnTo>
                    <a:pt x="1048" y="0"/>
                  </a:lnTo>
                  <a:lnTo>
                    <a:pt x="1045" y="0"/>
                  </a:lnTo>
                  <a:lnTo>
                    <a:pt x="1042" y="3"/>
                  </a:lnTo>
                  <a:lnTo>
                    <a:pt x="1033" y="3"/>
                  </a:lnTo>
                  <a:lnTo>
                    <a:pt x="1029" y="4"/>
                  </a:lnTo>
                  <a:lnTo>
                    <a:pt x="1025" y="8"/>
                  </a:lnTo>
                  <a:lnTo>
                    <a:pt x="1023" y="8"/>
                  </a:lnTo>
                  <a:lnTo>
                    <a:pt x="1022" y="8"/>
                  </a:lnTo>
                  <a:lnTo>
                    <a:pt x="1021" y="9"/>
                  </a:lnTo>
                  <a:lnTo>
                    <a:pt x="1020" y="10"/>
                  </a:lnTo>
                  <a:lnTo>
                    <a:pt x="1019" y="13"/>
                  </a:lnTo>
                  <a:lnTo>
                    <a:pt x="1019" y="16"/>
                  </a:lnTo>
                  <a:lnTo>
                    <a:pt x="1020" y="19"/>
                  </a:lnTo>
                  <a:lnTo>
                    <a:pt x="1020" y="21"/>
                  </a:lnTo>
                  <a:lnTo>
                    <a:pt x="1021" y="22"/>
                  </a:lnTo>
                  <a:lnTo>
                    <a:pt x="1022" y="24"/>
                  </a:lnTo>
                  <a:lnTo>
                    <a:pt x="1025" y="25"/>
                  </a:lnTo>
                  <a:lnTo>
                    <a:pt x="1027" y="26"/>
                  </a:lnTo>
                  <a:lnTo>
                    <a:pt x="1029" y="26"/>
                  </a:lnTo>
                  <a:lnTo>
                    <a:pt x="1030" y="28"/>
                  </a:lnTo>
                  <a:lnTo>
                    <a:pt x="1031" y="30"/>
                  </a:lnTo>
                  <a:lnTo>
                    <a:pt x="1032" y="35"/>
                  </a:lnTo>
                  <a:lnTo>
                    <a:pt x="1032" y="37"/>
                  </a:lnTo>
                  <a:lnTo>
                    <a:pt x="1032" y="40"/>
                  </a:lnTo>
                  <a:lnTo>
                    <a:pt x="1033" y="41"/>
                  </a:lnTo>
                  <a:lnTo>
                    <a:pt x="1033" y="42"/>
                  </a:lnTo>
                  <a:lnTo>
                    <a:pt x="1036" y="43"/>
                  </a:lnTo>
                  <a:lnTo>
                    <a:pt x="1037" y="44"/>
                  </a:lnTo>
                  <a:lnTo>
                    <a:pt x="1038" y="46"/>
                  </a:lnTo>
                  <a:lnTo>
                    <a:pt x="1038" y="49"/>
                  </a:lnTo>
                  <a:lnTo>
                    <a:pt x="1038" y="51"/>
                  </a:lnTo>
                  <a:lnTo>
                    <a:pt x="1037" y="54"/>
                  </a:lnTo>
                  <a:lnTo>
                    <a:pt x="1035" y="56"/>
                  </a:lnTo>
                  <a:lnTo>
                    <a:pt x="1035" y="57"/>
                  </a:lnTo>
                  <a:lnTo>
                    <a:pt x="1036" y="61"/>
                  </a:lnTo>
                  <a:lnTo>
                    <a:pt x="1037" y="62"/>
                  </a:lnTo>
                  <a:lnTo>
                    <a:pt x="1039" y="64"/>
                  </a:lnTo>
                  <a:lnTo>
                    <a:pt x="1040" y="65"/>
                  </a:lnTo>
                  <a:lnTo>
                    <a:pt x="1039" y="67"/>
                  </a:lnTo>
                  <a:lnTo>
                    <a:pt x="1039" y="67"/>
                  </a:lnTo>
                  <a:lnTo>
                    <a:pt x="1038" y="68"/>
                  </a:lnTo>
                  <a:lnTo>
                    <a:pt x="1037" y="69"/>
                  </a:lnTo>
                  <a:lnTo>
                    <a:pt x="1035" y="74"/>
                  </a:lnTo>
                  <a:lnTo>
                    <a:pt x="1033" y="80"/>
                  </a:lnTo>
                  <a:lnTo>
                    <a:pt x="1031" y="83"/>
                  </a:lnTo>
                  <a:lnTo>
                    <a:pt x="1030" y="83"/>
                  </a:lnTo>
                  <a:lnTo>
                    <a:pt x="1029" y="83"/>
                  </a:lnTo>
                  <a:lnTo>
                    <a:pt x="1015" y="86"/>
                  </a:lnTo>
                  <a:lnTo>
                    <a:pt x="1013" y="87"/>
                  </a:lnTo>
                  <a:lnTo>
                    <a:pt x="1009" y="90"/>
                  </a:lnTo>
                  <a:lnTo>
                    <a:pt x="1005" y="92"/>
                  </a:lnTo>
                  <a:lnTo>
                    <a:pt x="1004" y="92"/>
                  </a:lnTo>
                  <a:lnTo>
                    <a:pt x="1001" y="91"/>
                  </a:lnTo>
                  <a:lnTo>
                    <a:pt x="999" y="91"/>
                  </a:lnTo>
                  <a:lnTo>
                    <a:pt x="995" y="94"/>
                  </a:lnTo>
                  <a:lnTo>
                    <a:pt x="993" y="94"/>
                  </a:lnTo>
                  <a:lnTo>
                    <a:pt x="990" y="93"/>
                  </a:lnTo>
                  <a:lnTo>
                    <a:pt x="985" y="88"/>
                  </a:lnTo>
                  <a:lnTo>
                    <a:pt x="982" y="86"/>
                  </a:lnTo>
                  <a:lnTo>
                    <a:pt x="980" y="87"/>
                  </a:lnTo>
                  <a:lnTo>
                    <a:pt x="974" y="91"/>
                  </a:lnTo>
                  <a:lnTo>
                    <a:pt x="969" y="91"/>
                  </a:lnTo>
                  <a:lnTo>
                    <a:pt x="967" y="92"/>
                  </a:lnTo>
                  <a:lnTo>
                    <a:pt x="965" y="93"/>
                  </a:lnTo>
                  <a:lnTo>
                    <a:pt x="964" y="94"/>
                  </a:lnTo>
                  <a:lnTo>
                    <a:pt x="963" y="95"/>
                  </a:lnTo>
                  <a:lnTo>
                    <a:pt x="961" y="95"/>
                  </a:lnTo>
                  <a:lnTo>
                    <a:pt x="959" y="95"/>
                  </a:lnTo>
                  <a:lnTo>
                    <a:pt x="956" y="93"/>
                  </a:lnTo>
                  <a:lnTo>
                    <a:pt x="955" y="92"/>
                  </a:lnTo>
                  <a:lnTo>
                    <a:pt x="941" y="91"/>
                  </a:lnTo>
                  <a:lnTo>
                    <a:pt x="938" y="92"/>
                  </a:lnTo>
                  <a:lnTo>
                    <a:pt x="937" y="94"/>
                  </a:lnTo>
                  <a:lnTo>
                    <a:pt x="936" y="97"/>
                  </a:lnTo>
                  <a:lnTo>
                    <a:pt x="935" y="98"/>
                  </a:lnTo>
                  <a:lnTo>
                    <a:pt x="933" y="99"/>
                  </a:lnTo>
                  <a:lnTo>
                    <a:pt x="932" y="99"/>
                  </a:lnTo>
                  <a:lnTo>
                    <a:pt x="931" y="98"/>
                  </a:lnTo>
                  <a:lnTo>
                    <a:pt x="929" y="98"/>
                  </a:lnTo>
                  <a:lnTo>
                    <a:pt x="925" y="99"/>
                  </a:lnTo>
                  <a:lnTo>
                    <a:pt x="898" y="108"/>
                  </a:lnTo>
                  <a:lnTo>
                    <a:pt x="895" y="108"/>
                  </a:lnTo>
                  <a:lnTo>
                    <a:pt x="891" y="107"/>
                  </a:lnTo>
                  <a:lnTo>
                    <a:pt x="888" y="105"/>
                  </a:lnTo>
                  <a:lnTo>
                    <a:pt x="881" y="96"/>
                  </a:lnTo>
                  <a:lnTo>
                    <a:pt x="878" y="94"/>
                  </a:lnTo>
                  <a:lnTo>
                    <a:pt x="877" y="93"/>
                  </a:lnTo>
                  <a:lnTo>
                    <a:pt x="871" y="90"/>
                  </a:lnTo>
                  <a:lnTo>
                    <a:pt x="871" y="90"/>
                  </a:lnTo>
                  <a:lnTo>
                    <a:pt x="869" y="88"/>
                  </a:lnTo>
                  <a:lnTo>
                    <a:pt x="869" y="87"/>
                  </a:lnTo>
                  <a:lnTo>
                    <a:pt x="868" y="87"/>
                  </a:lnTo>
                  <a:lnTo>
                    <a:pt x="866" y="88"/>
                  </a:lnTo>
                  <a:lnTo>
                    <a:pt x="840" y="77"/>
                  </a:lnTo>
                  <a:lnTo>
                    <a:pt x="835" y="74"/>
                  </a:lnTo>
                  <a:lnTo>
                    <a:pt x="833" y="73"/>
                  </a:lnTo>
                  <a:lnTo>
                    <a:pt x="831" y="74"/>
                  </a:lnTo>
                  <a:lnTo>
                    <a:pt x="828" y="75"/>
                  </a:lnTo>
                  <a:lnTo>
                    <a:pt x="822" y="75"/>
                  </a:lnTo>
                  <a:lnTo>
                    <a:pt x="821" y="78"/>
                  </a:lnTo>
                  <a:lnTo>
                    <a:pt x="822" y="82"/>
                  </a:lnTo>
                  <a:lnTo>
                    <a:pt x="820" y="85"/>
                  </a:lnTo>
                  <a:lnTo>
                    <a:pt x="817" y="85"/>
                  </a:lnTo>
                  <a:lnTo>
                    <a:pt x="814" y="82"/>
                  </a:lnTo>
                  <a:lnTo>
                    <a:pt x="808" y="75"/>
                  </a:lnTo>
                  <a:lnTo>
                    <a:pt x="805" y="72"/>
                  </a:lnTo>
                  <a:lnTo>
                    <a:pt x="802" y="70"/>
                  </a:lnTo>
                  <a:lnTo>
                    <a:pt x="799" y="70"/>
                  </a:lnTo>
                  <a:lnTo>
                    <a:pt x="795" y="70"/>
                  </a:lnTo>
                  <a:lnTo>
                    <a:pt x="796" y="68"/>
                  </a:lnTo>
                  <a:lnTo>
                    <a:pt x="791" y="68"/>
                  </a:lnTo>
                  <a:lnTo>
                    <a:pt x="789" y="67"/>
                  </a:lnTo>
                  <a:lnTo>
                    <a:pt x="786" y="65"/>
                  </a:lnTo>
                  <a:lnTo>
                    <a:pt x="786" y="65"/>
                  </a:lnTo>
                  <a:lnTo>
                    <a:pt x="787" y="62"/>
                  </a:lnTo>
                  <a:lnTo>
                    <a:pt x="786" y="61"/>
                  </a:lnTo>
                  <a:lnTo>
                    <a:pt x="786" y="60"/>
                  </a:lnTo>
                  <a:lnTo>
                    <a:pt x="784" y="59"/>
                  </a:lnTo>
                  <a:lnTo>
                    <a:pt x="784" y="59"/>
                  </a:lnTo>
                  <a:lnTo>
                    <a:pt x="783" y="57"/>
                  </a:lnTo>
                  <a:lnTo>
                    <a:pt x="782" y="57"/>
                  </a:lnTo>
                  <a:lnTo>
                    <a:pt x="781" y="56"/>
                  </a:lnTo>
                  <a:lnTo>
                    <a:pt x="781" y="54"/>
                  </a:lnTo>
                  <a:lnTo>
                    <a:pt x="780" y="48"/>
                  </a:lnTo>
                  <a:lnTo>
                    <a:pt x="779" y="43"/>
                  </a:lnTo>
                  <a:lnTo>
                    <a:pt x="775" y="40"/>
                  </a:lnTo>
                  <a:lnTo>
                    <a:pt x="771" y="41"/>
                  </a:lnTo>
                  <a:lnTo>
                    <a:pt x="767" y="42"/>
                  </a:lnTo>
                  <a:lnTo>
                    <a:pt x="764" y="47"/>
                  </a:lnTo>
                  <a:lnTo>
                    <a:pt x="761" y="47"/>
                  </a:lnTo>
                  <a:lnTo>
                    <a:pt x="758" y="47"/>
                  </a:lnTo>
                  <a:lnTo>
                    <a:pt x="756" y="47"/>
                  </a:lnTo>
                  <a:lnTo>
                    <a:pt x="750" y="49"/>
                  </a:lnTo>
                  <a:lnTo>
                    <a:pt x="749" y="49"/>
                  </a:lnTo>
                  <a:lnTo>
                    <a:pt x="745" y="48"/>
                  </a:lnTo>
                  <a:lnTo>
                    <a:pt x="743" y="48"/>
                  </a:lnTo>
                  <a:lnTo>
                    <a:pt x="742" y="49"/>
                  </a:lnTo>
                  <a:lnTo>
                    <a:pt x="741" y="49"/>
                  </a:lnTo>
                  <a:lnTo>
                    <a:pt x="740" y="49"/>
                  </a:lnTo>
                  <a:lnTo>
                    <a:pt x="739" y="48"/>
                  </a:lnTo>
                  <a:lnTo>
                    <a:pt x="740" y="46"/>
                  </a:lnTo>
                  <a:lnTo>
                    <a:pt x="740" y="44"/>
                  </a:lnTo>
                  <a:lnTo>
                    <a:pt x="737" y="42"/>
                  </a:lnTo>
                  <a:lnTo>
                    <a:pt x="734" y="39"/>
                  </a:lnTo>
                  <a:lnTo>
                    <a:pt x="731" y="40"/>
                  </a:lnTo>
                  <a:lnTo>
                    <a:pt x="728" y="41"/>
                  </a:lnTo>
                  <a:lnTo>
                    <a:pt x="726" y="42"/>
                  </a:lnTo>
                  <a:lnTo>
                    <a:pt x="725" y="43"/>
                  </a:lnTo>
                  <a:lnTo>
                    <a:pt x="723" y="45"/>
                  </a:lnTo>
                  <a:lnTo>
                    <a:pt x="722" y="46"/>
                  </a:lnTo>
                  <a:lnTo>
                    <a:pt x="722" y="49"/>
                  </a:lnTo>
                  <a:lnTo>
                    <a:pt x="721" y="50"/>
                  </a:lnTo>
                  <a:lnTo>
                    <a:pt x="720" y="50"/>
                  </a:lnTo>
                  <a:lnTo>
                    <a:pt x="719" y="49"/>
                  </a:lnTo>
                  <a:lnTo>
                    <a:pt x="719" y="48"/>
                  </a:lnTo>
                  <a:lnTo>
                    <a:pt x="717" y="47"/>
                  </a:lnTo>
                  <a:lnTo>
                    <a:pt x="713" y="45"/>
                  </a:lnTo>
                  <a:lnTo>
                    <a:pt x="706" y="45"/>
                  </a:lnTo>
                  <a:lnTo>
                    <a:pt x="702" y="47"/>
                  </a:lnTo>
                  <a:lnTo>
                    <a:pt x="702" y="54"/>
                  </a:lnTo>
                  <a:lnTo>
                    <a:pt x="702" y="59"/>
                  </a:lnTo>
                  <a:lnTo>
                    <a:pt x="702" y="60"/>
                  </a:lnTo>
                  <a:lnTo>
                    <a:pt x="702" y="62"/>
                  </a:lnTo>
                  <a:lnTo>
                    <a:pt x="700" y="63"/>
                  </a:lnTo>
                  <a:lnTo>
                    <a:pt x="698" y="63"/>
                  </a:lnTo>
                  <a:lnTo>
                    <a:pt x="694" y="60"/>
                  </a:lnTo>
                  <a:lnTo>
                    <a:pt x="694" y="62"/>
                  </a:lnTo>
                  <a:lnTo>
                    <a:pt x="693" y="62"/>
                  </a:lnTo>
                  <a:lnTo>
                    <a:pt x="692" y="62"/>
                  </a:lnTo>
                  <a:lnTo>
                    <a:pt x="691" y="63"/>
                  </a:lnTo>
                  <a:lnTo>
                    <a:pt x="688" y="65"/>
                  </a:lnTo>
                  <a:lnTo>
                    <a:pt x="686" y="66"/>
                  </a:lnTo>
                  <a:lnTo>
                    <a:pt x="679" y="60"/>
                  </a:lnTo>
                  <a:lnTo>
                    <a:pt x="678" y="60"/>
                  </a:lnTo>
                  <a:lnTo>
                    <a:pt x="673" y="64"/>
                  </a:lnTo>
                  <a:lnTo>
                    <a:pt x="671" y="65"/>
                  </a:lnTo>
                  <a:lnTo>
                    <a:pt x="667" y="66"/>
                  </a:lnTo>
                  <a:lnTo>
                    <a:pt x="664" y="67"/>
                  </a:lnTo>
                  <a:lnTo>
                    <a:pt x="661" y="66"/>
                  </a:lnTo>
                  <a:lnTo>
                    <a:pt x="659" y="68"/>
                  </a:lnTo>
                  <a:lnTo>
                    <a:pt x="655" y="74"/>
                  </a:lnTo>
                  <a:lnTo>
                    <a:pt x="653" y="74"/>
                  </a:lnTo>
                  <a:lnTo>
                    <a:pt x="648" y="73"/>
                  </a:lnTo>
                  <a:lnTo>
                    <a:pt x="642" y="73"/>
                  </a:lnTo>
                  <a:lnTo>
                    <a:pt x="639" y="74"/>
                  </a:lnTo>
                  <a:lnTo>
                    <a:pt x="635" y="78"/>
                  </a:lnTo>
                  <a:lnTo>
                    <a:pt x="635" y="79"/>
                  </a:lnTo>
                  <a:lnTo>
                    <a:pt x="633" y="80"/>
                  </a:lnTo>
                  <a:lnTo>
                    <a:pt x="627" y="80"/>
                  </a:lnTo>
                  <a:lnTo>
                    <a:pt x="617" y="74"/>
                  </a:lnTo>
                  <a:lnTo>
                    <a:pt x="601" y="74"/>
                  </a:lnTo>
                  <a:lnTo>
                    <a:pt x="598" y="75"/>
                  </a:lnTo>
                  <a:lnTo>
                    <a:pt x="594" y="78"/>
                  </a:lnTo>
                  <a:lnTo>
                    <a:pt x="590" y="80"/>
                  </a:lnTo>
                  <a:lnTo>
                    <a:pt x="587" y="80"/>
                  </a:lnTo>
                  <a:lnTo>
                    <a:pt x="585" y="79"/>
                  </a:lnTo>
                  <a:lnTo>
                    <a:pt x="584" y="76"/>
                  </a:lnTo>
                  <a:lnTo>
                    <a:pt x="581" y="74"/>
                  </a:lnTo>
                  <a:lnTo>
                    <a:pt x="578" y="74"/>
                  </a:lnTo>
                  <a:lnTo>
                    <a:pt x="575" y="76"/>
                  </a:lnTo>
                  <a:lnTo>
                    <a:pt x="571" y="78"/>
                  </a:lnTo>
                  <a:lnTo>
                    <a:pt x="569" y="80"/>
                  </a:lnTo>
                  <a:lnTo>
                    <a:pt x="568" y="82"/>
                  </a:lnTo>
                  <a:lnTo>
                    <a:pt x="568" y="86"/>
                  </a:lnTo>
                  <a:lnTo>
                    <a:pt x="567" y="88"/>
                  </a:lnTo>
                  <a:lnTo>
                    <a:pt x="566" y="89"/>
                  </a:lnTo>
                  <a:lnTo>
                    <a:pt x="564" y="90"/>
                  </a:lnTo>
                  <a:lnTo>
                    <a:pt x="561" y="91"/>
                  </a:lnTo>
                  <a:lnTo>
                    <a:pt x="554" y="92"/>
                  </a:lnTo>
                  <a:lnTo>
                    <a:pt x="522" y="87"/>
                  </a:lnTo>
                  <a:lnTo>
                    <a:pt x="508" y="86"/>
                  </a:lnTo>
                  <a:lnTo>
                    <a:pt x="503" y="87"/>
                  </a:lnTo>
                  <a:lnTo>
                    <a:pt x="501" y="87"/>
                  </a:lnTo>
                  <a:lnTo>
                    <a:pt x="498" y="90"/>
                  </a:lnTo>
                  <a:lnTo>
                    <a:pt x="496" y="92"/>
                  </a:lnTo>
                  <a:lnTo>
                    <a:pt x="495" y="98"/>
                  </a:lnTo>
                  <a:lnTo>
                    <a:pt x="494" y="98"/>
                  </a:lnTo>
                  <a:lnTo>
                    <a:pt x="494" y="115"/>
                  </a:lnTo>
                  <a:lnTo>
                    <a:pt x="492" y="123"/>
                  </a:lnTo>
                  <a:lnTo>
                    <a:pt x="490" y="127"/>
                  </a:lnTo>
                  <a:lnTo>
                    <a:pt x="489" y="128"/>
                  </a:lnTo>
                  <a:lnTo>
                    <a:pt x="487" y="128"/>
                  </a:lnTo>
                  <a:lnTo>
                    <a:pt x="484" y="125"/>
                  </a:lnTo>
                  <a:lnTo>
                    <a:pt x="482" y="123"/>
                  </a:lnTo>
                  <a:lnTo>
                    <a:pt x="482" y="122"/>
                  </a:lnTo>
                  <a:lnTo>
                    <a:pt x="481" y="121"/>
                  </a:lnTo>
                  <a:lnTo>
                    <a:pt x="481" y="120"/>
                  </a:lnTo>
                  <a:lnTo>
                    <a:pt x="479" y="120"/>
                  </a:lnTo>
                  <a:lnTo>
                    <a:pt x="477" y="121"/>
                  </a:lnTo>
                  <a:lnTo>
                    <a:pt x="476" y="122"/>
                  </a:lnTo>
                  <a:lnTo>
                    <a:pt x="476" y="124"/>
                  </a:lnTo>
                  <a:lnTo>
                    <a:pt x="476" y="126"/>
                  </a:lnTo>
                  <a:lnTo>
                    <a:pt x="473" y="129"/>
                  </a:lnTo>
                  <a:lnTo>
                    <a:pt x="470" y="132"/>
                  </a:lnTo>
                  <a:lnTo>
                    <a:pt x="470" y="132"/>
                  </a:lnTo>
                  <a:lnTo>
                    <a:pt x="468" y="133"/>
                  </a:lnTo>
                  <a:lnTo>
                    <a:pt x="464" y="133"/>
                  </a:lnTo>
                  <a:lnTo>
                    <a:pt x="459" y="132"/>
                  </a:lnTo>
                  <a:lnTo>
                    <a:pt x="456" y="132"/>
                  </a:lnTo>
                  <a:lnTo>
                    <a:pt x="453" y="133"/>
                  </a:lnTo>
                  <a:lnTo>
                    <a:pt x="451" y="134"/>
                  </a:lnTo>
                  <a:lnTo>
                    <a:pt x="448" y="134"/>
                  </a:lnTo>
                  <a:lnTo>
                    <a:pt x="444" y="134"/>
                  </a:lnTo>
                  <a:lnTo>
                    <a:pt x="442" y="133"/>
                  </a:lnTo>
                  <a:lnTo>
                    <a:pt x="438" y="131"/>
                  </a:lnTo>
                  <a:lnTo>
                    <a:pt x="437" y="130"/>
                  </a:lnTo>
                  <a:lnTo>
                    <a:pt x="435" y="130"/>
                  </a:lnTo>
                  <a:lnTo>
                    <a:pt x="431" y="131"/>
                  </a:lnTo>
                  <a:lnTo>
                    <a:pt x="428" y="131"/>
                  </a:lnTo>
                  <a:lnTo>
                    <a:pt x="427" y="132"/>
                  </a:lnTo>
                  <a:lnTo>
                    <a:pt x="426" y="132"/>
                  </a:lnTo>
                  <a:lnTo>
                    <a:pt x="425" y="131"/>
                  </a:lnTo>
                  <a:lnTo>
                    <a:pt x="425" y="128"/>
                  </a:lnTo>
                  <a:lnTo>
                    <a:pt x="425" y="127"/>
                  </a:lnTo>
                  <a:lnTo>
                    <a:pt x="423" y="127"/>
                  </a:lnTo>
                  <a:lnTo>
                    <a:pt x="419" y="126"/>
                  </a:lnTo>
                  <a:lnTo>
                    <a:pt x="413" y="124"/>
                  </a:lnTo>
                  <a:lnTo>
                    <a:pt x="411" y="124"/>
                  </a:lnTo>
                  <a:lnTo>
                    <a:pt x="409" y="124"/>
                  </a:lnTo>
                  <a:lnTo>
                    <a:pt x="406" y="124"/>
                  </a:lnTo>
                  <a:lnTo>
                    <a:pt x="402" y="126"/>
                  </a:lnTo>
                  <a:lnTo>
                    <a:pt x="396" y="131"/>
                  </a:lnTo>
                  <a:lnTo>
                    <a:pt x="393" y="132"/>
                  </a:lnTo>
                  <a:lnTo>
                    <a:pt x="392" y="132"/>
                  </a:lnTo>
                  <a:lnTo>
                    <a:pt x="387" y="129"/>
                  </a:lnTo>
                  <a:lnTo>
                    <a:pt x="386" y="128"/>
                  </a:lnTo>
                  <a:lnTo>
                    <a:pt x="386" y="127"/>
                  </a:lnTo>
                  <a:lnTo>
                    <a:pt x="385" y="126"/>
                  </a:lnTo>
                  <a:lnTo>
                    <a:pt x="385" y="126"/>
                  </a:lnTo>
                  <a:lnTo>
                    <a:pt x="384" y="126"/>
                  </a:lnTo>
                  <a:lnTo>
                    <a:pt x="382" y="128"/>
                  </a:lnTo>
                  <a:lnTo>
                    <a:pt x="381" y="129"/>
                  </a:lnTo>
                  <a:lnTo>
                    <a:pt x="371" y="132"/>
                  </a:lnTo>
                  <a:lnTo>
                    <a:pt x="366" y="134"/>
                  </a:lnTo>
                  <a:lnTo>
                    <a:pt x="365" y="135"/>
                  </a:lnTo>
                  <a:lnTo>
                    <a:pt x="362" y="137"/>
                  </a:lnTo>
                  <a:lnTo>
                    <a:pt x="361" y="139"/>
                  </a:lnTo>
                  <a:lnTo>
                    <a:pt x="360" y="141"/>
                  </a:lnTo>
                  <a:lnTo>
                    <a:pt x="360" y="144"/>
                  </a:lnTo>
                  <a:lnTo>
                    <a:pt x="360" y="145"/>
                  </a:lnTo>
                  <a:lnTo>
                    <a:pt x="360" y="147"/>
                  </a:lnTo>
                  <a:lnTo>
                    <a:pt x="358" y="150"/>
                  </a:lnTo>
                  <a:lnTo>
                    <a:pt x="352" y="155"/>
                  </a:lnTo>
                  <a:lnTo>
                    <a:pt x="350" y="159"/>
                  </a:lnTo>
                  <a:lnTo>
                    <a:pt x="350" y="159"/>
                  </a:lnTo>
                  <a:lnTo>
                    <a:pt x="350" y="159"/>
                  </a:lnTo>
                  <a:lnTo>
                    <a:pt x="350" y="159"/>
                  </a:lnTo>
                  <a:lnTo>
                    <a:pt x="344" y="163"/>
                  </a:lnTo>
                  <a:lnTo>
                    <a:pt x="342" y="165"/>
                  </a:lnTo>
                  <a:lnTo>
                    <a:pt x="342" y="167"/>
                  </a:lnTo>
                  <a:lnTo>
                    <a:pt x="342" y="169"/>
                  </a:lnTo>
                  <a:lnTo>
                    <a:pt x="341" y="172"/>
                  </a:lnTo>
                  <a:lnTo>
                    <a:pt x="340" y="174"/>
                  </a:lnTo>
                  <a:lnTo>
                    <a:pt x="338" y="174"/>
                  </a:lnTo>
                  <a:lnTo>
                    <a:pt x="335" y="175"/>
                  </a:lnTo>
                  <a:lnTo>
                    <a:pt x="327" y="173"/>
                  </a:lnTo>
                  <a:lnTo>
                    <a:pt x="322" y="175"/>
                  </a:lnTo>
                  <a:lnTo>
                    <a:pt x="322" y="176"/>
                  </a:lnTo>
                  <a:lnTo>
                    <a:pt x="321" y="178"/>
                  </a:lnTo>
                  <a:lnTo>
                    <a:pt x="321" y="180"/>
                  </a:lnTo>
                  <a:lnTo>
                    <a:pt x="320" y="180"/>
                  </a:lnTo>
                  <a:lnTo>
                    <a:pt x="318" y="180"/>
                  </a:lnTo>
                  <a:lnTo>
                    <a:pt x="317" y="180"/>
                  </a:lnTo>
                  <a:lnTo>
                    <a:pt x="316" y="181"/>
                  </a:lnTo>
                  <a:lnTo>
                    <a:pt x="312" y="185"/>
                  </a:lnTo>
                  <a:lnTo>
                    <a:pt x="310" y="186"/>
                  </a:lnTo>
                  <a:lnTo>
                    <a:pt x="306" y="185"/>
                  </a:lnTo>
                  <a:lnTo>
                    <a:pt x="299" y="179"/>
                  </a:lnTo>
                  <a:lnTo>
                    <a:pt x="298" y="178"/>
                  </a:lnTo>
                  <a:lnTo>
                    <a:pt x="286" y="177"/>
                  </a:lnTo>
                  <a:lnTo>
                    <a:pt x="282" y="177"/>
                  </a:lnTo>
                  <a:lnTo>
                    <a:pt x="278" y="179"/>
                  </a:lnTo>
                  <a:lnTo>
                    <a:pt x="273" y="184"/>
                  </a:lnTo>
                  <a:lnTo>
                    <a:pt x="270" y="186"/>
                  </a:lnTo>
                  <a:lnTo>
                    <a:pt x="265" y="187"/>
                  </a:lnTo>
                  <a:lnTo>
                    <a:pt x="259" y="187"/>
                  </a:lnTo>
                  <a:lnTo>
                    <a:pt x="257" y="187"/>
                  </a:lnTo>
                  <a:lnTo>
                    <a:pt x="251" y="185"/>
                  </a:lnTo>
                  <a:lnTo>
                    <a:pt x="247" y="185"/>
                  </a:lnTo>
                  <a:lnTo>
                    <a:pt x="236" y="188"/>
                  </a:lnTo>
                  <a:lnTo>
                    <a:pt x="213" y="189"/>
                  </a:lnTo>
                  <a:lnTo>
                    <a:pt x="213" y="199"/>
                  </a:lnTo>
                  <a:lnTo>
                    <a:pt x="212" y="204"/>
                  </a:lnTo>
                  <a:lnTo>
                    <a:pt x="209" y="207"/>
                  </a:lnTo>
                  <a:lnTo>
                    <a:pt x="211" y="208"/>
                  </a:lnTo>
                  <a:lnTo>
                    <a:pt x="211" y="210"/>
                  </a:lnTo>
                  <a:lnTo>
                    <a:pt x="212" y="212"/>
                  </a:lnTo>
                  <a:lnTo>
                    <a:pt x="212" y="213"/>
                  </a:lnTo>
                  <a:lnTo>
                    <a:pt x="217" y="217"/>
                  </a:lnTo>
                  <a:lnTo>
                    <a:pt x="221" y="222"/>
                  </a:lnTo>
                  <a:lnTo>
                    <a:pt x="223" y="225"/>
                  </a:lnTo>
                  <a:lnTo>
                    <a:pt x="223" y="229"/>
                  </a:lnTo>
                  <a:lnTo>
                    <a:pt x="224" y="233"/>
                  </a:lnTo>
                  <a:lnTo>
                    <a:pt x="223" y="237"/>
                  </a:lnTo>
                  <a:lnTo>
                    <a:pt x="222" y="244"/>
                  </a:lnTo>
                  <a:lnTo>
                    <a:pt x="221" y="246"/>
                  </a:lnTo>
                  <a:lnTo>
                    <a:pt x="221" y="248"/>
                  </a:lnTo>
                  <a:lnTo>
                    <a:pt x="221" y="250"/>
                  </a:lnTo>
                  <a:lnTo>
                    <a:pt x="220" y="252"/>
                  </a:lnTo>
                  <a:lnTo>
                    <a:pt x="219" y="253"/>
                  </a:lnTo>
                  <a:lnTo>
                    <a:pt x="218" y="254"/>
                  </a:lnTo>
                  <a:lnTo>
                    <a:pt x="216" y="255"/>
                  </a:lnTo>
                  <a:lnTo>
                    <a:pt x="215" y="257"/>
                  </a:lnTo>
                  <a:lnTo>
                    <a:pt x="213" y="258"/>
                  </a:lnTo>
                  <a:lnTo>
                    <a:pt x="211" y="259"/>
                  </a:lnTo>
                  <a:lnTo>
                    <a:pt x="210" y="261"/>
                  </a:lnTo>
                  <a:lnTo>
                    <a:pt x="210" y="263"/>
                  </a:lnTo>
                  <a:lnTo>
                    <a:pt x="210" y="265"/>
                  </a:lnTo>
                  <a:lnTo>
                    <a:pt x="209" y="266"/>
                  </a:lnTo>
                  <a:lnTo>
                    <a:pt x="208" y="268"/>
                  </a:lnTo>
                  <a:lnTo>
                    <a:pt x="204" y="270"/>
                  </a:lnTo>
                  <a:lnTo>
                    <a:pt x="200" y="270"/>
                  </a:lnTo>
                  <a:lnTo>
                    <a:pt x="197" y="268"/>
                  </a:lnTo>
                  <a:lnTo>
                    <a:pt x="193" y="268"/>
                  </a:lnTo>
                  <a:lnTo>
                    <a:pt x="190" y="270"/>
                  </a:lnTo>
                  <a:lnTo>
                    <a:pt x="190" y="271"/>
                  </a:lnTo>
                  <a:lnTo>
                    <a:pt x="189" y="273"/>
                  </a:lnTo>
                  <a:lnTo>
                    <a:pt x="188" y="275"/>
                  </a:lnTo>
                  <a:lnTo>
                    <a:pt x="186" y="276"/>
                  </a:lnTo>
                  <a:lnTo>
                    <a:pt x="183" y="277"/>
                  </a:lnTo>
                  <a:lnTo>
                    <a:pt x="182" y="278"/>
                  </a:lnTo>
                  <a:lnTo>
                    <a:pt x="181" y="280"/>
                  </a:lnTo>
                  <a:lnTo>
                    <a:pt x="182" y="286"/>
                  </a:lnTo>
                  <a:lnTo>
                    <a:pt x="182" y="288"/>
                  </a:lnTo>
                  <a:lnTo>
                    <a:pt x="182" y="291"/>
                  </a:lnTo>
                  <a:lnTo>
                    <a:pt x="181" y="292"/>
                  </a:lnTo>
                  <a:lnTo>
                    <a:pt x="179" y="296"/>
                  </a:lnTo>
                  <a:lnTo>
                    <a:pt x="177" y="302"/>
                  </a:lnTo>
                  <a:lnTo>
                    <a:pt x="176" y="303"/>
                  </a:lnTo>
                  <a:lnTo>
                    <a:pt x="175" y="304"/>
                  </a:lnTo>
                  <a:lnTo>
                    <a:pt x="173" y="305"/>
                  </a:lnTo>
                  <a:lnTo>
                    <a:pt x="171" y="306"/>
                  </a:lnTo>
                  <a:lnTo>
                    <a:pt x="170" y="308"/>
                  </a:lnTo>
                  <a:lnTo>
                    <a:pt x="170" y="313"/>
                  </a:lnTo>
                  <a:lnTo>
                    <a:pt x="170" y="317"/>
                  </a:lnTo>
                  <a:lnTo>
                    <a:pt x="170" y="321"/>
                  </a:lnTo>
                  <a:lnTo>
                    <a:pt x="168" y="326"/>
                  </a:lnTo>
                  <a:lnTo>
                    <a:pt x="167" y="327"/>
                  </a:lnTo>
                  <a:lnTo>
                    <a:pt x="165" y="328"/>
                  </a:lnTo>
                  <a:lnTo>
                    <a:pt x="164" y="329"/>
                  </a:lnTo>
                  <a:lnTo>
                    <a:pt x="164" y="330"/>
                  </a:lnTo>
                  <a:lnTo>
                    <a:pt x="165" y="332"/>
                  </a:lnTo>
                  <a:lnTo>
                    <a:pt x="165" y="333"/>
                  </a:lnTo>
                  <a:lnTo>
                    <a:pt x="165" y="337"/>
                  </a:lnTo>
                  <a:lnTo>
                    <a:pt x="165" y="338"/>
                  </a:lnTo>
                  <a:lnTo>
                    <a:pt x="163" y="345"/>
                  </a:lnTo>
                  <a:lnTo>
                    <a:pt x="162" y="346"/>
                  </a:lnTo>
                  <a:lnTo>
                    <a:pt x="161" y="347"/>
                  </a:lnTo>
                  <a:lnTo>
                    <a:pt x="157" y="349"/>
                  </a:lnTo>
                  <a:lnTo>
                    <a:pt x="151" y="352"/>
                  </a:lnTo>
                  <a:lnTo>
                    <a:pt x="147" y="352"/>
                  </a:lnTo>
                  <a:lnTo>
                    <a:pt x="139" y="351"/>
                  </a:lnTo>
                  <a:lnTo>
                    <a:pt x="136" y="352"/>
                  </a:lnTo>
                  <a:lnTo>
                    <a:pt x="133" y="353"/>
                  </a:lnTo>
                  <a:lnTo>
                    <a:pt x="128" y="353"/>
                  </a:lnTo>
                  <a:lnTo>
                    <a:pt x="125" y="354"/>
                  </a:lnTo>
                  <a:lnTo>
                    <a:pt x="123" y="356"/>
                  </a:lnTo>
                  <a:lnTo>
                    <a:pt x="121" y="360"/>
                  </a:lnTo>
                  <a:lnTo>
                    <a:pt x="120" y="363"/>
                  </a:lnTo>
                  <a:lnTo>
                    <a:pt x="119" y="367"/>
                  </a:lnTo>
                  <a:lnTo>
                    <a:pt x="116" y="368"/>
                  </a:lnTo>
                  <a:lnTo>
                    <a:pt x="108" y="368"/>
                  </a:lnTo>
                  <a:lnTo>
                    <a:pt x="106" y="368"/>
                  </a:lnTo>
                  <a:lnTo>
                    <a:pt x="107" y="370"/>
                  </a:lnTo>
                  <a:lnTo>
                    <a:pt x="110" y="383"/>
                  </a:lnTo>
                  <a:lnTo>
                    <a:pt x="111" y="384"/>
                  </a:lnTo>
                  <a:lnTo>
                    <a:pt x="114" y="388"/>
                  </a:lnTo>
                  <a:lnTo>
                    <a:pt x="122" y="400"/>
                  </a:lnTo>
                  <a:lnTo>
                    <a:pt x="122" y="403"/>
                  </a:lnTo>
                  <a:lnTo>
                    <a:pt x="121" y="407"/>
                  </a:lnTo>
                  <a:lnTo>
                    <a:pt x="118" y="410"/>
                  </a:lnTo>
                  <a:lnTo>
                    <a:pt x="116" y="410"/>
                  </a:lnTo>
                  <a:lnTo>
                    <a:pt x="113" y="408"/>
                  </a:lnTo>
                  <a:lnTo>
                    <a:pt x="107" y="406"/>
                  </a:lnTo>
                  <a:lnTo>
                    <a:pt x="107" y="406"/>
                  </a:lnTo>
                  <a:lnTo>
                    <a:pt x="105" y="406"/>
                  </a:lnTo>
                  <a:lnTo>
                    <a:pt x="104" y="406"/>
                  </a:lnTo>
                  <a:lnTo>
                    <a:pt x="103" y="408"/>
                  </a:lnTo>
                  <a:lnTo>
                    <a:pt x="103" y="408"/>
                  </a:lnTo>
                  <a:lnTo>
                    <a:pt x="104" y="409"/>
                  </a:lnTo>
                  <a:lnTo>
                    <a:pt x="105" y="411"/>
                  </a:lnTo>
                  <a:lnTo>
                    <a:pt x="104" y="412"/>
                  </a:lnTo>
                  <a:lnTo>
                    <a:pt x="103" y="415"/>
                  </a:lnTo>
                  <a:lnTo>
                    <a:pt x="103" y="415"/>
                  </a:lnTo>
                  <a:lnTo>
                    <a:pt x="103" y="416"/>
                  </a:lnTo>
                  <a:lnTo>
                    <a:pt x="105" y="417"/>
                  </a:lnTo>
                  <a:lnTo>
                    <a:pt x="105" y="418"/>
                  </a:lnTo>
                  <a:lnTo>
                    <a:pt x="106" y="420"/>
                  </a:lnTo>
                  <a:lnTo>
                    <a:pt x="106" y="421"/>
                  </a:lnTo>
                  <a:lnTo>
                    <a:pt x="107" y="422"/>
                  </a:lnTo>
                  <a:lnTo>
                    <a:pt x="106" y="424"/>
                  </a:lnTo>
                  <a:lnTo>
                    <a:pt x="104" y="427"/>
                  </a:lnTo>
                  <a:lnTo>
                    <a:pt x="101" y="428"/>
                  </a:lnTo>
                  <a:lnTo>
                    <a:pt x="99" y="431"/>
                  </a:lnTo>
                  <a:lnTo>
                    <a:pt x="98" y="435"/>
                  </a:lnTo>
                  <a:lnTo>
                    <a:pt x="97" y="434"/>
                  </a:lnTo>
                  <a:lnTo>
                    <a:pt x="96" y="434"/>
                  </a:lnTo>
                  <a:lnTo>
                    <a:pt x="94" y="434"/>
                  </a:lnTo>
                  <a:lnTo>
                    <a:pt x="93" y="434"/>
                  </a:lnTo>
                  <a:lnTo>
                    <a:pt x="92" y="436"/>
                  </a:lnTo>
                  <a:lnTo>
                    <a:pt x="92" y="437"/>
                  </a:lnTo>
                  <a:lnTo>
                    <a:pt x="92" y="439"/>
                  </a:lnTo>
                  <a:lnTo>
                    <a:pt x="91" y="440"/>
                  </a:lnTo>
                  <a:lnTo>
                    <a:pt x="88" y="441"/>
                  </a:lnTo>
                  <a:lnTo>
                    <a:pt x="85" y="439"/>
                  </a:lnTo>
                  <a:lnTo>
                    <a:pt x="81" y="435"/>
                  </a:lnTo>
                  <a:lnTo>
                    <a:pt x="73" y="431"/>
                  </a:lnTo>
                  <a:lnTo>
                    <a:pt x="67" y="429"/>
                  </a:lnTo>
                  <a:lnTo>
                    <a:pt x="62" y="427"/>
                  </a:lnTo>
                  <a:lnTo>
                    <a:pt x="59" y="429"/>
                  </a:lnTo>
                  <a:lnTo>
                    <a:pt x="60" y="429"/>
                  </a:lnTo>
                  <a:lnTo>
                    <a:pt x="61" y="429"/>
                  </a:lnTo>
                  <a:lnTo>
                    <a:pt x="63" y="430"/>
                  </a:lnTo>
                  <a:lnTo>
                    <a:pt x="66" y="432"/>
                  </a:lnTo>
                  <a:lnTo>
                    <a:pt x="73" y="433"/>
                  </a:lnTo>
                  <a:lnTo>
                    <a:pt x="75" y="435"/>
                  </a:lnTo>
                  <a:lnTo>
                    <a:pt x="76" y="436"/>
                  </a:lnTo>
                  <a:lnTo>
                    <a:pt x="78" y="436"/>
                  </a:lnTo>
                  <a:lnTo>
                    <a:pt x="78" y="436"/>
                  </a:lnTo>
                  <a:lnTo>
                    <a:pt x="81" y="438"/>
                  </a:lnTo>
                  <a:lnTo>
                    <a:pt x="82" y="439"/>
                  </a:lnTo>
                  <a:lnTo>
                    <a:pt x="83" y="440"/>
                  </a:lnTo>
                  <a:lnTo>
                    <a:pt x="86" y="441"/>
                  </a:lnTo>
                  <a:lnTo>
                    <a:pt x="88" y="443"/>
                  </a:lnTo>
                  <a:lnTo>
                    <a:pt x="89" y="447"/>
                  </a:lnTo>
                  <a:lnTo>
                    <a:pt x="89" y="447"/>
                  </a:lnTo>
                  <a:lnTo>
                    <a:pt x="87" y="448"/>
                  </a:lnTo>
                  <a:lnTo>
                    <a:pt x="87" y="448"/>
                  </a:lnTo>
                  <a:lnTo>
                    <a:pt x="87" y="449"/>
                  </a:lnTo>
                  <a:lnTo>
                    <a:pt x="87" y="452"/>
                  </a:lnTo>
                  <a:lnTo>
                    <a:pt x="87" y="453"/>
                  </a:lnTo>
                  <a:lnTo>
                    <a:pt x="86" y="454"/>
                  </a:lnTo>
                  <a:lnTo>
                    <a:pt x="85" y="455"/>
                  </a:lnTo>
                  <a:lnTo>
                    <a:pt x="84" y="456"/>
                  </a:lnTo>
                  <a:lnTo>
                    <a:pt x="82" y="454"/>
                  </a:lnTo>
                  <a:lnTo>
                    <a:pt x="83" y="457"/>
                  </a:lnTo>
                  <a:lnTo>
                    <a:pt x="82" y="459"/>
                  </a:lnTo>
                  <a:lnTo>
                    <a:pt x="82" y="461"/>
                  </a:lnTo>
                  <a:lnTo>
                    <a:pt x="81" y="462"/>
                  </a:lnTo>
                  <a:lnTo>
                    <a:pt x="83" y="462"/>
                  </a:lnTo>
                  <a:lnTo>
                    <a:pt x="86" y="461"/>
                  </a:lnTo>
                  <a:lnTo>
                    <a:pt x="88" y="462"/>
                  </a:lnTo>
                  <a:lnTo>
                    <a:pt x="91" y="462"/>
                  </a:lnTo>
                  <a:lnTo>
                    <a:pt x="90" y="464"/>
                  </a:lnTo>
                  <a:lnTo>
                    <a:pt x="92" y="464"/>
                  </a:lnTo>
                  <a:lnTo>
                    <a:pt x="93" y="466"/>
                  </a:lnTo>
                  <a:lnTo>
                    <a:pt x="95" y="467"/>
                  </a:lnTo>
                  <a:lnTo>
                    <a:pt x="95" y="464"/>
                  </a:lnTo>
                  <a:lnTo>
                    <a:pt x="97" y="464"/>
                  </a:lnTo>
                  <a:lnTo>
                    <a:pt x="100" y="466"/>
                  </a:lnTo>
                  <a:lnTo>
                    <a:pt x="101" y="467"/>
                  </a:lnTo>
                  <a:lnTo>
                    <a:pt x="101" y="468"/>
                  </a:lnTo>
                  <a:lnTo>
                    <a:pt x="100" y="470"/>
                  </a:lnTo>
                  <a:lnTo>
                    <a:pt x="98" y="470"/>
                  </a:lnTo>
                  <a:lnTo>
                    <a:pt x="96" y="470"/>
                  </a:lnTo>
                  <a:lnTo>
                    <a:pt x="93" y="470"/>
                  </a:lnTo>
                  <a:lnTo>
                    <a:pt x="93" y="471"/>
                  </a:lnTo>
                  <a:lnTo>
                    <a:pt x="100" y="475"/>
                  </a:lnTo>
                  <a:lnTo>
                    <a:pt x="101" y="476"/>
                  </a:lnTo>
                  <a:lnTo>
                    <a:pt x="102" y="480"/>
                  </a:lnTo>
                  <a:lnTo>
                    <a:pt x="100" y="480"/>
                  </a:lnTo>
                  <a:lnTo>
                    <a:pt x="96" y="480"/>
                  </a:lnTo>
                  <a:lnTo>
                    <a:pt x="93" y="481"/>
                  </a:lnTo>
                  <a:lnTo>
                    <a:pt x="95" y="482"/>
                  </a:lnTo>
                  <a:lnTo>
                    <a:pt x="96" y="485"/>
                  </a:lnTo>
                  <a:lnTo>
                    <a:pt x="98" y="486"/>
                  </a:lnTo>
                  <a:lnTo>
                    <a:pt x="98" y="488"/>
                  </a:lnTo>
                  <a:lnTo>
                    <a:pt x="97" y="488"/>
                  </a:lnTo>
                  <a:lnTo>
                    <a:pt x="97" y="489"/>
                  </a:lnTo>
                  <a:lnTo>
                    <a:pt x="100" y="490"/>
                  </a:lnTo>
                  <a:lnTo>
                    <a:pt x="102" y="492"/>
                  </a:lnTo>
                  <a:lnTo>
                    <a:pt x="103" y="494"/>
                  </a:lnTo>
                  <a:lnTo>
                    <a:pt x="106" y="496"/>
                  </a:lnTo>
                  <a:lnTo>
                    <a:pt x="106" y="503"/>
                  </a:lnTo>
                  <a:lnTo>
                    <a:pt x="111" y="509"/>
                  </a:lnTo>
                  <a:lnTo>
                    <a:pt x="117" y="512"/>
                  </a:lnTo>
                  <a:lnTo>
                    <a:pt x="122" y="510"/>
                  </a:lnTo>
                  <a:lnTo>
                    <a:pt x="124" y="512"/>
                  </a:lnTo>
                  <a:lnTo>
                    <a:pt x="126" y="513"/>
                  </a:lnTo>
                  <a:lnTo>
                    <a:pt x="128" y="513"/>
                  </a:lnTo>
                  <a:lnTo>
                    <a:pt x="131" y="512"/>
                  </a:lnTo>
                  <a:lnTo>
                    <a:pt x="131" y="514"/>
                  </a:lnTo>
                  <a:lnTo>
                    <a:pt x="132" y="514"/>
                  </a:lnTo>
                  <a:lnTo>
                    <a:pt x="134" y="514"/>
                  </a:lnTo>
                  <a:lnTo>
                    <a:pt x="136" y="513"/>
                  </a:lnTo>
                  <a:lnTo>
                    <a:pt x="136" y="515"/>
                  </a:lnTo>
                  <a:lnTo>
                    <a:pt x="135" y="516"/>
                  </a:lnTo>
                  <a:lnTo>
                    <a:pt x="135" y="519"/>
                  </a:lnTo>
                  <a:lnTo>
                    <a:pt x="135" y="521"/>
                  </a:lnTo>
                  <a:lnTo>
                    <a:pt x="136" y="523"/>
                  </a:lnTo>
                  <a:lnTo>
                    <a:pt x="135" y="525"/>
                  </a:lnTo>
                  <a:lnTo>
                    <a:pt x="137" y="526"/>
                  </a:lnTo>
                  <a:lnTo>
                    <a:pt x="141" y="530"/>
                  </a:lnTo>
                  <a:lnTo>
                    <a:pt x="154" y="545"/>
                  </a:lnTo>
                  <a:lnTo>
                    <a:pt x="159" y="549"/>
                  </a:lnTo>
                  <a:lnTo>
                    <a:pt x="164" y="552"/>
                  </a:lnTo>
                  <a:lnTo>
                    <a:pt x="168" y="556"/>
                  </a:lnTo>
                  <a:lnTo>
                    <a:pt x="171" y="561"/>
                  </a:lnTo>
                  <a:lnTo>
                    <a:pt x="173" y="568"/>
                  </a:lnTo>
                  <a:lnTo>
                    <a:pt x="173" y="568"/>
                  </a:lnTo>
                  <a:lnTo>
                    <a:pt x="172" y="569"/>
                  </a:lnTo>
                  <a:lnTo>
                    <a:pt x="171" y="570"/>
                  </a:lnTo>
                  <a:lnTo>
                    <a:pt x="171" y="571"/>
                  </a:lnTo>
                  <a:lnTo>
                    <a:pt x="171" y="572"/>
                  </a:lnTo>
                  <a:lnTo>
                    <a:pt x="171" y="572"/>
                  </a:lnTo>
                  <a:lnTo>
                    <a:pt x="172" y="573"/>
                  </a:lnTo>
                  <a:lnTo>
                    <a:pt x="172" y="574"/>
                  </a:lnTo>
                  <a:lnTo>
                    <a:pt x="172" y="575"/>
                  </a:lnTo>
                  <a:lnTo>
                    <a:pt x="174" y="576"/>
                  </a:lnTo>
                  <a:lnTo>
                    <a:pt x="175" y="577"/>
                  </a:lnTo>
                  <a:lnTo>
                    <a:pt x="175" y="579"/>
                  </a:lnTo>
                  <a:lnTo>
                    <a:pt x="176" y="581"/>
                  </a:lnTo>
                  <a:lnTo>
                    <a:pt x="178" y="579"/>
                  </a:lnTo>
                  <a:lnTo>
                    <a:pt x="179" y="577"/>
                  </a:lnTo>
                  <a:lnTo>
                    <a:pt x="179" y="576"/>
                  </a:lnTo>
                  <a:lnTo>
                    <a:pt x="181" y="575"/>
                  </a:lnTo>
                  <a:lnTo>
                    <a:pt x="182" y="575"/>
                  </a:lnTo>
                  <a:lnTo>
                    <a:pt x="187" y="577"/>
                  </a:lnTo>
                  <a:lnTo>
                    <a:pt x="189" y="578"/>
                  </a:lnTo>
                  <a:lnTo>
                    <a:pt x="191" y="579"/>
                  </a:lnTo>
                  <a:lnTo>
                    <a:pt x="191" y="578"/>
                  </a:lnTo>
                  <a:lnTo>
                    <a:pt x="191" y="577"/>
                  </a:lnTo>
                  <a:lnTo>
                    <a:pt x="190" y="575"/>
                  </a:lnTo>
                  <a:lnTo>
                    <a:pt x="187" y="573"/>
                  </a:lnTo>
                  <a:lnTo>
                    <a:pt x="179" y="568"/>
                  </a:lnTo>
                  <a:lnTo>
                    <a:pt x="178" y="568"/>
                  </a:lnTo>
                  <a:lnTo>
                    <a:pt x="178" y="568"/>
                  </a:lnTo>
                  <a:lnTo>
                    <a:pt x="177" y="567"/>
                  </a:lnTo>
                  <a:lnTo>
                    <a:pt x="177" y="565"/>
                  </a:lnTo>
                  <a:lnTo>
                    <a:pt x="179" y="566"/>
                  </a:lnTo>
                  <a:lnTo>
                    <a:pt x="180" y="564"/>
                  </a:lnTo>
                  <a:lnTo>
                    <a:pt x="181" y="563"/>
                  </a:lnTo>
                  <a:lnTo>
                    <a:pt x="183" y="562"/>
                  </a:lnTo>
                  <a:lnTo>
                    <a:pt x="184" y="561"/>
                  </a:lnTo>
                  <a:lnTo>
                    <a:pt x="184" y="558"/>
                  </a:lnTo>
                  <a:lnTo>
                    <a:pt x="184" y="556"/>
                  </a:lnTo>
                  <a:lnTo>
                    <a:pt x="185" y="554"/>
                  </a:lnTo>
                  <a:lnTo>
                    <a:pt x="183" y="554"/>
                  </a:lnTo>
                  <a:lnTo>
                    <a:pt x="183" y="552"/>
                  </a:lnTo>
                  <a:lnTo>
                    <a:pt x="184" y="551"/>
                  </a:lnTo>
                  <a:lnTo>
                    <a:pt x="185" y="550"/>
                  </a:lnTo>
                  <a:lnTo>
                    <a:pt x="186" y="549"/>
                  </a:lnTo>
                  <a:lnTo>
                    <a:pt x="187" y="548"/>
                  </a:lnTo>
                  <a:lnTo>
                    <a:pt x="188" y="549"/>
                  </a:lnTo>
                  <a:lnTo>
                    <a:pt x="190" y="547"/>
                  </a:lnTo>
                  <a:lnTo>
                    <a:pt x="192" y="549"/>
                  </a:lnTo>
                  <a:lnTo>
                    <a:pt x="192" y="552"/>
                  </a:lnTo>
                  <a:lnTo>
                    <a:pt x="190" y="556"/>
                  </a:lnTo>
                  <a:lnTo>
                    <a:pt x="191" y="556"/>
                  </a:lnTo>
                  <a:lnTo>
                    <a:pt x="191" y="555"/>
                  </a:lnTo>
                  <a:lnTo>
                    <a:pt x="192" y="555"/>
                  </a:lnTo>
                  <a:lnTo>
                    <a:pt x="194" y="555"/>
                  </a:lnTo>
                  <a:lnTo>
                    <a:pt x="194" y="556"/>
                  </a:lnTo>
                  <a:lnTo>
                    <a:pt x="194" y="556"/>
                  </a:lnTo>
                  <a:lnTo>
                    <a:pt x="194" y="557"/>
                  </a:lnTo>
                  <a:lnTo>
                    <a:pt x="194" y="557"/>
                  </a:lnTo>
                  <a:lnTo>
                    <a:pt x="194" y="558"/>
                  </a:lnTo>
                  <a:lnTo>
                    <a:pt x="195" y="557"/>
                  </a:lnTo>
                  <a:lnTo>
                    <a:pt x="195" y="559"/>
                  </a:lnTo>
                  <a:lnTo>
                    <a:pt x="195" y="561"/>
                  </a:lnTo>
                  <a:lnTo>
                    <a:pt x="196" y="562"/>
                  </a:lnTo>
                  <a:lnTo>
                    <a:pt x="194" y="563"/>
                  </a:lnTo>
                  <a:lnTo>
                    <a:pt x="200" y="563"/>
                  </a:lnTo>
                  <a:lnTo>
                    <a:pt x="199" y="562"/>
                  </a:lnTo>
                  <a:lnTo>
                    <a:pt x="198" y="562"/>
                  </a:lnTo>
                  <a:lnTo>
                    <a:pt x="197" y="560"/>
                  </a:lnTo>
                  <a:lnTo>
                    <a:pt x="197" y="559"/>
                  </a:lnTo>
                  <a:lnTo>
                    <a:pt x="200" y="557"/>
                  </a:lnTo>
                  <a:lnTo>
                    <a:pt x="201" y="555"/>
                  </a:lnTo>
                  <a:lnTo>
                    <a:pt x="202" y="555"/>
                  </a:lnTo>
                  <a:lnTo>
                    <a:pt x="204" y="557"/>
                  </a:lnTo>
                  <a:lnTo>
                    <a:pt x="205" y="558"/>
                  </a:lnTo>
                  <a:lnTo>
                    <a:pt x="207" y="558"/>
                  </a:lnTo>
                  <a:lnTo>
                    <a:pt x="209" y="556"/>
                  </a:lnTo>
                  <a:lnTo>
                    <a:pt x="210" y="556"/>
                  </a:lnTo>
                  <a:lnTo>
                    <a:pt x="210" y="558"/>
                  </a:lnTo>
                  <a:lnTo>
                    <a:pt x="209" y="558"/>
                  </a:lnTo>
                  <a:lnTo>
                    <a:pt x="208" y="559"/>
                  </a:lnTo>
                  <a:lnTo>
                    <a:pt x="208" y="559"/>
                  </a:lnTo>
                  <a:lnTo>
                    <a:pt x="208" y="561"/>
                  </a:lnTo>
                  <a:lnTo>
                    <a:pt x="209" y="563"/>
                  </a:lnTo>
                  <a:lnTo>
                    <a:pt x="211" y="564"/>
                  </a:lnTo>
                  <a:lnTo>
                    <a:pt x="213" y="563"/>
                  </a:lnTo>
                  <a:lnTo>
                    <a:pt x="213" y="563"/>
                  </a:lnTo>
                  <a:lnTo>
                    <a:pt x="215" y="564"/>
                  </a:lnTo>
                  <a:lnTo>
                    <a:pt x="217" y="566"/>
                  </a:lnTo>
                  <a:lnTo>
                    <a:pt x="219" y="566"/>
                  </a:lnTo>
                  <a:lnTo>
                    <a:pt x="219" y="568"/>
                  </a:lnTo>
                  <a:lnTo>
                    <a:pt x="227" y="569"/>
                  </a:lnTo>
                  <a:lnTo>
                    <a:pt x="224" y="566"/>
                  </a:lnTo>
                  <a:lnTo>
                    <a:pt x="227" y="563"/>
                  </a:lnTo>
                  <a:lnTo>
                    <a:pt x="228" y="563"/>
                  </a:lnTo>
                  <a:lnTo>
                    <a:pt x="228" y="562"/>
                  </a:lnTo>
                  <a:lnTo>
                    <a:pt x="231" y="563"/>
                  </a:lnTo>
                  <a:lnTo>
                    <a:pt x="230" y="562"/>
                  </a:lnTo>
                  <a:lnTo>
                    <a:pt x="230" y="560"/>
                  </a:lnTo>
                  <a:lnTo>
                    <a:pt x="230" y="559"/>
                  </a:lnTo>
                  <a:lnTo>
                    <a:pt x="232" y="558"/>
                  </a:lnTo>
                  <a:lnTo>
                    <a:pt x="239" y="566"/>
                  </a:lnTo>
                  <a:lnTo>
                    <a:pt x="243" y="571"/>
                  </a:lnTo>
                  <a:lnTo>
                    <a:pt x="243" y="576"/>
                  </a:lnTo>
                  <a:lnTo>
                    <a:pt x="242" y="575"/>
                  </a:lnTo>
                  <a:lnTo>
                    <a:pt x="241" y="576"/>
                  </a:lnTo>
                  <a:lnTo>
                    <a:pt x="241" y="578"/>
                  </a:lnTo>
                  <a:lnTo>
                    <a:pt x="241" y="580"/>
                  </a:lnTo>
                  <a:lnTo>
                    <a:pt x="240" y="583"/>
                  </a:lnTo>
                  <a:lnTo>
                    <a:pt x="241" y="585"/>
                  </a:lnTo>
                  <a:lnTo>
                    <a:pt x="243" y="588"/>
                  </a:lnTo>
                  <a:lnTo>
                    <a:pt x="243" y="589"/>
                  </a:lnTo>
                  <a:lnTo>
                    <a:pt x="244" y="588"/>
                  </a:lnTo>
                  <a:lnTo>
                    <a:pt x="244" y="589"/>
                  </a:lnTo>
                  <a:lnTo>
                    <a:pt x="245" y="592"/>
                  </a:lnTo>
                  <a:lnTo>
                    <a:pt x="245" y="593"/>
                  </a:lnTo>
                  <a:lnTo>
                    <a:pt x="247" y="594"/>
                  </a:lnTo>
                  <a:lnTo>
                    <a:pt x="246" y="596"/>
                  </a:lnTo>
                  <a:lnTo>
                    <a:pt x="245" y="596"/>
                  </a:lnTo>
                  <a:lnTo>
                    <a:pt x="244" y="596"/>
                  </a:lnTo>
                  <a:lnTo>
                    <a:pt x="243" y="595"/>
                  </a:lnTo>
                  <a:lnTo>
                    <a:pt x="243" y="595"/>
                  </a:lnTo>
                  <a:lnTo>
                    <a:pt x="240" y="590"/>
                  </a:lnTo>
                  <a:lnTo>
                    <a:pt x="237" y="589"/>
                  </a:lnTo>
                  <a:lnTo>
                    <a:pt x="234" y="589"/>
                  </a:lnTo>
                  <a:lnTo>
                    <a:pt x="233" y="590"/>
                  </a:lnTo>
                  <a:lnTo>
                    <a:pt x="234" y="593"/>
                  </a:lnTo>
                  <a:lnTo>
                    <a:pt x="234" y="594"/>
                  </a:lnTo>
                  <a:lnTo>
                    <a:pt x="233" y="595"/>
                  </a:lnTo>
                  <a:lnTo>
                    <a:pt x="232" y="595"/>
                  </a:lnTo>
                  <a:lnTo>
                    <a:pt x="232" y="596"/>
                  </a:lnTo>
                  <a:lnTo>
                    <a:pt x="232" y="598"/>
                  </a:lnTo>
                  <a:lnTo>
                    <a:pt x="228" y="594"/>
                  </a:lnTo>
                  <a:lnTo>
                    <a:pt x="226" y="593"/>
                  </a:lnTo>
                  <a:lnTo>
                    <a:pt x="223" y="593"/>
                  </a:lnTo>
                  <a:lnTo>
                    <a:pt x="222" y="591"/>
                  </a:lnTo>
                  <a:lnTo>
                    <a:pt x="222" y="588"/>
                  </a:lnTo>
                  <a:lnTo>
                    <a:pt x="223" y="586"/>
                  </a:lnTo>
                  <a:lnTo>
                    <a:pt x="222" y="584"/>
                  </a:lnTo>
                  <a:lnTo>
                    <a:pt x="219" y="584"/>
                  </a:lnTo>
                  <a:lnTo>
                    <a:pt x="218" y="583"/>
                  </a:lnTo>
                  <a:lnTo>
                    <a:pt x="216" y="582"/>
                  </a:lnTo>
                  <a:lnTo>
                    <a:pt x="214" y="581"/>
                  </a:lnTo>
                  <a:lnTo>
                    <a:pt x="212" y="582"/>
                  </a:lnTo>
                  <a:lnTo>
                    <a:pt x="210" y="582"/>
                  </a:lnTo>
                  <a:lnTo>
                    <a:pt x="208" y="582"/>
                  </a:lnTo>
                  <a:lnTo>
                    <a:pt x="207" y="580"/>
                  </a:lnTo>
                  <a:lnTo>
                    <a:pt x="205" y="580"/>
                  </a:lnTo>
                  <a:lnTo>
                    <a:pt x="205" y="583"/>
                  </a:lnTo>
                  <a:lnTo>
                    <a:pt x="203" y="585"/>
                  </a:lnTo>
                  <a:lnTo>
                    <a:pt x="200" y="586"/>
                  </a:lnTo>
                  <a:lnTo>
                    <a:pt x="197" y="586"/>
                  </a:lnTo>
                  <a:lnTo>
                    <a:pt x="198" y="584"/>
                  </a:lnTo>
                  <a:lnTo>
                    <a:pt x="198" y="583"/>
                  </a:lnTo>
                  <a:lnTo>
                    <a:pt x="197" y="583"/>
                  </a:lnTo>
                  <a:lnTo>
                    <a:pt x="197" y="583"/>
                  </a:lnTo>
                  <a:lnTo>
                    <a:pt x="197" y="582"/>
                  </a:lnTo>
                  <a:lnTo>
                    <a:pt x="198" y="581"/>
                  </a:lnTo>
                  <a:lnTo>
                    <a:pt x="197" y="580"/>
                  </a:lnTo>
                  <a:lnTo>
                    <a:pt x="197" y="579"/>
                  </a:lnTo>
                  <a:lnTo>
                    <a:pt x="196" y="579"/>
                  </a:lnTo>
                  <a:lnTo>
                    <a:pt x="194" y="582"/>
                  </a:lnTo>
                  <a:lnTo>
                    <a:pt x="192" y="585"/>
                  </a:lnTo>
                  <a:lnTo>
                    <a:pt x="189" y="587"/>
                  </a:lnTo>
                  <a:lnTo>
                    <a:pt x="186" y="586"/>
                  </a:lnTo>
                  <a:lnTo>
                    <a:pt x="183" y="584"/>
                  </a:lnTo>
                  <a:lnTo>
                    <a:pt x="182" y="580"/>
                  </a:lnTo>
                  <a:lnTo>
                    <a:pt x="181" y="579"/>
                  </a:lnTo>
                  <a:lnTo>
                    <a:pt x="179" y="583"/>
                  </a:lnTo>
                  <a:lnTo>
                    <a:pt x="179" y="586"/>
                  </a:lnTo>
                  <a:lnTo>
                    <a:pt x="179" y="589"/>
                  </a:lnTo>
                  <a:lnTo>
                    <a:pt x="181" y="593"/>
                  </a:lnTo>
                  <a:lnTo>
                    <a:pt x="184" y="594"/>
                  </a:lnTo>
                  <a:lnTo>
                    <a:pt x="185" y="595"/>
                  </a:lnTo>
                  <a:lnTo>
                    <a:pt x="187" y="596"/>
                  </a:lnTo>
                  <a:lnTo>
                    <a:pt x="187" y="598"/>
                  </a:lnTo>
                  <a:lnTo>
                    <a:pt x="186" y="598"/>
                  </a:lnTo>
                  <a:lnTo>
                    <a:pt x="184" y="598"/>
                  </a:lnTo>
                  <a:lnTo>
                    <a:pt x="181" y="598"/>
                  </a:lnTo>
                  <a:lnTo>
                    <a:pt x="178" y="600"/>
                  </a:lnTo>
                  <a:lnTo>
                    <a:pt x="177" y="603"/>
                  </a:lnTo>
                  <a:lnTo>
                    <a:pt x="176" y="607"/>
                  </a:lnTo>
                  <a:lnTo>
                    <a:pt x="175" y="609"/>
                  </a:lnTo>
                  <a:lnTo>
                    <a:pt x="175" y="611"/>
                  </a:lnTo>
                  <a:lnTo>
                    <a:pt x="180" y="615"/>
                  </a:lnTo>
                  <a:lnTo>
                    <a:pt x="181" y="617"/>
                  </a:lnTo>
                  <a:lnTo>
                    <a:pt x="181" y="618"/>
                  </a:lnTo>
                  <a:lnTo>
                    <a:pt x="182" y="619"/>
                  </a:lnTo>
                  <a:lnTo>
                    <a:pt x="184" y="618"/>
                  </a:lnTo>
                  <a:lnTo>
                    <a:pt x="185" y="618"/>
                  </a:lnTo>
                  <a:lnTo>
                    <a:pt x="186" y="617"/>
                  </a:lnTo>
                  <a:lnTo>
                    <a:pt x="187" y="617"/>
                  </a:lnTo>
                  <a:lnTo>
                    <a:pt x="188" y="619"/>
                  </a:lnTo>
                  <a:lnTo>
                    <a:pt x="189" y="617"/>
                  </a:lnTo>
                  <a:lnTo>
                    <a:pt x="191" y="614"/>
                  </a:lnTo>
                  <a:lnTo>
                    <a:pt x="194" y="611"/>
                  </a:lnTo>
                  <a:lnTo>
                    <a:pt x="196" y="611"/>
                  </a:lnTo>
                  <a:lnTo>
                    <a:pt x="198" y="612"/>
                  </a:lnTo>
                  <a:lnTo>
                    <a:pt x="199" y="615"/>
                  </a:lnTo>
                  <a:lnTo>
                    <a:pt x="203" y="632"/>
                  </a:lnTo>
                  <a:lnTo>
                    <a:pt x="204" y="634"/>
                  </a:lnTo>
                  <a:lnTo>
                    <a:pt x="206" y="636"/>
                  </a:lnTo>
                  <a:lnTo>
                    <a:pt x="209" y="637"/>
                  </a:lnTo>
                  <a:lnTo>
                    <a:pt x="215" y="637"/>
                  </a:lnTo>
                  <a:lnTo>
                    <a:pt x="216" y="639"/>
                  </a:lnTo>
                  <a:lnTo>
                    <a:pt x="219" y="647"/>
                  </a:lnTo>
                  <a:lnTo>
                    <a:pt x="222" y="650"/>
                  </a:lnTo>
                  <a:lnTo>
                    <a:pt x="222" y="654"/>
                  </a:lnTo>
                  <a:lnTo>
                    <a:pt x="221" y="663"/>
                  </a:lnTo>
                  <a:lnTo>
                    <a:pt x="221" y="665"/>
                  </a:lnTo>
                  <a:lnTo>
                    <a:pt x="223" y="668"/>
                  </a:lnTo>
                  <a:lnTo>
                    <a:pt x="223" y="670"/>
                  </a:lnTo>
                  <a:lnTo>
                    <a:pt x="224" y="671"/>
                  </a:lnTo>
                  <a:lnTo>
                    <a:pt x="225" y="670"/>
                  </a:lnTo>
                  <a:lnTo>
                    <a:pt x="227" y="668"/>
                  </a:lnTo>
                  <a:lnTo>
                    <a:pt x="228" y="667"/>
                  </a:lnTo>
                  <a:lnTo>
                    <a:pt x="229" y="667"/>
                  </a:lnTo>
                  <a:lnTo>
                    <a:pt x="231" y="666"/>
                  </a:lnTo>
                  <a:lnTo>
                    <a:pt x="232" y="665"/>
                  </a:lnTo>
                  <a:lnTo>
                    <a:pt x="233" y="666"/>
                  </a:lnTo>
                  <a:lnTo>
                    <a:pt x="233" y="667"/>
                  </a:lnTo>
                  <a:lnTo>
                    <a:pt x="233" y="668"/>
                  </a:lnTo>
                  <a:lnTo>
                    <a:pt x="232" y="671"/>
                  </a:lnTo>
                  <a:lnTo>
                    <a:pt x="232" y="672"/>
                  </a:lnTo>
                  <a:lnTo>
                    <a:pt x="233" y="673"/>
                  </a:lnTo>
                  <a:lnTo>
                    <a:pt x="234" y="673"/>
                  </a:lnTo>
                  <a:lnTo>
                    <a:pt x="233" y="673"/>
                  </a:lnTo>
                  <a:lnTo>
                    <a:pt x="232" y="674"/>
                  </a:lnTo>
                  <a:lnTo>
                    <a:pt x="231" y="675"/>
                  </a:lnTo>
                  <a:lnTo>
                    <a:pt x="232" y="675"/>
                  </a:lnTo>
                  <a:lnTo>
                    <a:pt x="233" y="676"/>
                  </a:lnTo>
                  <a:lnTo>
                    <a:pt x="235" y="676"/>
                  </a:lnTo>
                  <a:lnTo>
                    <a:pt x="235" y="677"/>
                  </a:lnTo>
                  <a:lnTo>
                    <a:pt x="234" y="679"/>
                  </a:lnTo>
                  <a:lnTo>
                    <a:pt x="236" y="683"/>
                  </a:lnTo>
                  <a:lnTo>
                    <a:pt x="235" y="686"/>
                  </a:lnTo>
                  <a:lnTo>
                    <a:pt x="237" y="684"/>
                  </a:lnTo>
                  <a:lnTo>
                    <a:pt x="237" y="686"/>
                  </a:lnTo>
                  <a:lnTo>
                    <a:pt x="235" y="687"/>
                  </a:lnTo>
                  <a:lnTo>
                    <a:pt x="233" y="686"/>
                  </a:lnTo>
                  <a:lnTo>
                    <a:pt x="232" y="684"/>
                  </a:lnTo>
                  <a:lnTo>
                    <a:pt x="231" y="685"/>
                  </a:lnTo>
                  <a:lnTo>
                    <a:pt x="231" y="685"/>
                  </a:lnTo>
                  <a:lnTo>
                    <a:pt x="231" y="685"/>
                  </a:lnTo>
                  <a:lnTo>
                    <a:pt x="231" y="686"/>
                  </a:lnTo>
                  <a:lnTo>
                    <a:pt x="231" y="688"/>
                  </a:lnTo>
                  <a:lnTo>
                    <a:pt x="232" y="690"/>
                  </a:lnTo>
                  <a:lnTo>
                    <a:pt x="233" y="691"/>
                  </a:lnTo>
                  <a:lnTo>
                    <a:pt x="235" y="692"/>
                  </a:lnTo>
                  <a:lnTo>
                    <a:pt x="236" y="690"/>
                  </a:lnTo>
                  <a:lnTo>
                    <a:pt x="238" y="690"/>
                  </a:lnTo>
                  <a:lnTo>
                    <a:pt x="240" y="692"/>
                  </a:lnTo>
                  <a:lnTo>
                    <a:pt x="239" y="695"/>
                  </a:lnTo>
                  <a:lnTo>
                    <a:pt x="238" y="696"/>
                  </a:lnTo>
                  <a:lnTo>
                    <a:pt x="236" y="697"/>
                  </a:lnTo>
                  <a:lnTo>
                    <a:pt x="234" y="696"/>
                  </a:lnTo>
                  <a:lnTo>
                    <a:pt x="235" y="695"/>
                  </a:lnTo>
                  <a:lnTo>
                    <a:pt x="234" y="696"/>
                  </a:lnTo>
                  <a:lnTo>
                    <a:pt x="233" y="699"/>
                  </a:lnTo>
                  <a:lnTo>
                    <a:pt x="233" y="699"/>
                  </a:lnTo>
                  <a:lnTo>
                    <a:pt x="235" y="698"/>
                  </a:lnTo>
                  <a:lnTo>
                    <a:pt x="235" y="700"/>
                  </a:lnTo>
                  <a:lnTo>
                    <a:pt x="235" y="702"/>
                  </a:lnTo>
                  <a:lnTo>
                    <a:pt x="233" y="703"/>
                  </a:lnTo>
                  <a:lnTo>
                    <a:pt x="232" y="704"/>
                  </a:lnTo>
                  <a:lnTo>
                    <a:pt x="233" y="704"/>
                  </a:lnTo>
                  <a:lnTo>
                    <a:pt x="238" y="704"/>
                  </a:lnTo>
                  <a:lnTo>
                    <a:pt x="240" y="705"/>
                  </a:lnTo>
                  <a:lnTo>
                    <a:pt x="241" y="707"/>
                  </a:lnTo>
                  <a:lnTo>
                    <a:pt x="242" y="710"/>
                  </a:lnTo>
                  <a:lnTo>
                    <a:pt x="243" y="711"/>
                  </a:lnTo>
                  <a:lnTo>
                    <a:pt x="246" y="712"/>
                  </a:lnTo>
                  <a:lnTo>
                    <a:pt x="246" y="710"/>
                  </a:lnTo>
                  <a:lnTo>
                    <a:pt x="247" y="708"/>
                  </a:lnTo>
                  <a:lnTo>
                    <a:pt x="249" y="708"/>
                  </a:lnTo>
                  <a:lnTo>
                    <a:pt x="250" y="708"/>
                  </a:lnTo>
                  <a:lnTo>
                    <a:pt x="248" y="707"/>
                  </a:lnTo>
                  <a:lnTo>
                    <a:pt x="248" y="707"/>
                  </a:lnTo>
                  <a:lnTo>
                    <a:pt x="247" y="706"/>
                  </a:lnTo>
                  <a:lnTo>
                    <a:pt x="248" y="704"/>
                  </a:lnTo>
                  <a:lnTo>
                    <a:pt x="249" y="704"/>
                  </a:lnTo>
                  <a:lnTo>
                    <a:pt x="251" y="705"/>
                  </a:lnTo>
                  <a:lnTo>
                    <a:pt x="252" y="706"/>
                  </a:lnTo>
                  <a:lnTo>
                    <a:pt x="255" y="706"/>
                  </a:lnTo>
                  <a:lnTo>
                    <a:pt x="256" y="706"/>
                  </a:lnTo>
                  <a:lnTo>
                    <a:pt x="258" y="705"/>
                  </a:lnTo>
                  <a:lnTo>
                    <a:pt x="260" y="703"/>
                  </a:lnTo>
                  <a:lnTo>
                    <a:pt x="261" y="701"/>
                  </a:lnTo>
                  <a:lnTo>
                    <a:pt x="261" y="701"/>
                  </a:lnTo>
                  <a:lnTo>
                    <a:pt x="260" y="700"/>
                  </a:lnTo>
                  <a:lnTo>
                    <a:pt x="261" y="699"/>
                  </a:lnTo>
                  <a:lnTo>
                    <a:pt x="262" y="698"/>
                  </a:lnTo>
                  <a:lnTo>
                    <a:pt x="264" y="699"/>
                  </a:lnTo>
                  <a:lnTo>
                    <a:pt x="265" y="698"/>
                  </a:lnTo>
                  <a:lnTo>
                    <a:pt x="265" y="697"/>
                  </a:lnTo>
                  <a:lnTo>
                    <a:pt x="265" y="697"/>
                  </a:lnTo>
                  <a:lnTo>
                    <a:pt x="264" y="697"/>
                  </a:lnTo>
                  <a:lnTo>
                    <a:pt x="265" y="696"/>
                  </a:lnTo>
                  <a:lnTo>
                    <a:pt x="269" y="694"/>
                  </a:lnTo>
                  <a:lnTo>
                    <a:pt x="270" y="694"/>
                  </a:lnTo>
                  <a:lnTo>
                    <a:pt x="272" y="693"/>
                  </a:lnTo>
                  <a:lnTo>
                    <a:pt x="272" y="691"/>
                  </a:lnTo>
                  <a:lnTo>
                    <a:pt x="272" y="689"/>
                  </a:lnTo>
                  <a:lnTo>
                    <a:pt x="273" y="687"/>
                  </a:lnTo>
                  <a:lnTo>
                    <a:pt x="272" y="686"/>
                  </a:lnTo>
                  <a:lnTo>
                    <a:pt x="272" y="686"/>
                  </a:lnTo>
                  <a:lnTo>
                    <a:pt x="272" y="686"/>
                  </a:lnTo>
                  <a:lnTo>
                    <a:pt x="272" y="686"/>
                  </a:lnTo>
                  <a:lnTo>
                    <a:pt x="274" y="686"/>
                  </a:lnTo>
                  <a:lnTo>
                    <a:pt x="267" y="675"/>
                  </a:lnTo>
                  <a:lnTo>
                    <a:pt x="267" y="673"/>
                  </a:lnTo>
                  <a:lnTo>
                    <a:pt x="268" y="673"/>
                  </a:lnTo>
                  <a:lnTo>
                    <a:pt x="269" y="673"/>
                  </a:lnTo>
                  <a:lnTo>
                    <a:pt x="270" y="673"/>
                  </a:lnTo>
                  <a:lnTo>
                    <a:pt x="272" y="675"/>
                  </a:lnTo>
                  <a:lnTo>
                    <a:pt x="275" y="678"/>
                  </a:lnTo>
                  <a:lnTo>
                    <a:pt x="277" y="691"/>
                  </a:lnTo>
                  <a:lnTo>
                    <a:pt x="278" y="692"/>
                  </a:lnTo>
                  <a:lnTo>
                    <a:pt x="281" y="692"/>
                  </a:lnTo>
                  <a:lnTo>
                    <a:pt x="284" y="693"/>
                  </a:lnTo>
                  <a:lnTo>
                    <a:pt x="286" y="696"/>
                  </a:lnTo>
                  <a:lnTo>
                    <a:pt x="285" y="699"/>
                  </a:lnTo>
                  <a:lnTo>
                    <a:pt x="287" y="699"/>
                  </a:lnTo>
                  <a:lnTo>
                    <a:pt x="287" y="699"/>
                  </a:lnTo>
                  <a:lnTo>
                    <a:pt x="288" y="698"/>
                  </a:lnTo>
                  <a:lnTo>
                    <a:pt x="290" y="699"/>
                  </a:lnTo>
                  <a:lnTo>
                    <a:pt x="291" y="699"/>
                  </a:lnTo>
                  <a:lnTo>
                    <a:pt x="292" y="699"/>
                  </a:lnTo>
                  <a:lnTo>
                    <a:pt x="294" y="698"/>
                  </a:lnTo>
                  <a:lnTo>
                    <a:pt x="292" y="701"/>
                  </a:lnTo>
                  <a:lnTo>
                    <a:pt x="296" y="701"/>
                  </a:lnTo>
                  <a:lnTo>
                    <a:pt x="294" y="702"/>
                  </a:lnTo>
                  <a:lnTo>
                    <a:pt x="294" y="702"/>
                  </a:lnTo>
                  <a:lnTo>
                    <a:pt x="294" y="704"/>
                  </a:lnTo>
                  <a:lnTo>
                    <a:pt x="294" y="704"/>
                  </a:lnTo>
                  <a:lnTo>
                    <a:pt x="296" y="705"/>
                  </a:lnTo>
                  <a:lnTo>
                    <a:pt x="295" y="706"/>
                  </a:lnTo>
                  <a:lnTo>
                    <a:pt x="295" y="707"/>
                  </a:lnTo>
                  <a:lnTo>
                    <a:pt x="295" y="708"/>
                  </a:lnTo>
                  <a:lnTo>
                    <a:pt x="296" y="709"/>
                  </a:lnTo>
                  <a:lnTo>
                    <a:pt x="296" y="710"/>
                  </a:lnTo>
                  <a:lnTo>
                    <a:pt x="294" y="709"/>
                  </a:lnTo>
                  <a:lnTo>
                    <a:pt x="291" y="707"/>
                  </a:lnTo>
                  <a:lnTo>
                    <a:pt x="289" y="705"/>
                  </a:lnTo>
                  <a:lnTo>
                    <a:pt x="286" y="706"/>
                  </a:lnTo>
                  <a:lnTo>
                    <a:pt x="292" y="710"/>
                  </a:lnTo>
                  <a:lnTo>
                    <a:pt x="294" y="711"/>
                  </a:lnTo>
                  <a:lnTo>
                    <a:pt x="294" y="711"/>
                  </a:lnTo>
                  <a:lnTo>
                    <a:pt x="297" y="711"/>
                  </a:lnTo>
                  <a:lnTo>
                    <a:pt x="299" y="712"/>
                  </a:lnTo>
                  <a:lnTo>
                    <a:pt x="300" y="713"/>
                  </a:lnTo>
                  <a:lnTo>
                    <a:pt x="301" y="713"/>
                  </a:lnTo>
                  <a:lnTo>
                    <a:pt x="303" y="710"/>
                  </a:lnTo>
                  <a:lnTo>
                    <a:pt x="313" y="702"/>
                  </a:lnTo>
                  <a:lnTo>
                    <a:pt x="316" y="703"/>
                  </a:lnTo>
                  <a:lnTo>
                    <a:pt x="317" y="703"/>
                  </a:lnTo>
                  <a:lnTo>
                    <a:pt x="320" y="701"/>
                  </a:lnTo>
                  <a:lnTo>
                    <a:pt x="322" y="701"/>
                  </a:lnTo>
                  <a:lnTo>
                    <a:pt x="332" y="701"/>
                  </a:lnTo>
                  <a:lnTo>
                    <a:pt x="336" y="705"/>
                  </a:lnTo>
                  <a:lnTo>
                    <a:pt x="339" y="707"/>
                  </a:lnTo>
                  <a:lnTo>
                    <a:pt x="341" y="705"/>
                  </a:lnTo>
                  <a:lnTo>
                    <a:pt x="341" y="702"/>
                  </a:lnTo>
                  <a:lnTo>
                    <a:pt x="342" y="700"/>
                  </a:lnTo>
                  <a:lnTo>
                    <a:pt x="350" y="693"/>
                  </a:lnTo>
                  <a:lnTo>
                    <a:pt x="351" y="692"/>
                  </a:lnTo>
                  <a:lnTo>
                    <a:pt x="352" y="693"/>
                  </a:lnTo>
                  <a:lnTo>
                    <a:pt x="353" y="695"/>
                  </a:lnTo>
                  <a:lnTo>
                    <a:pt x="354" y="696"/>
                  </a:lnTo>
                  <a:lnTo>
                    <a:pt x="355" y="697"/>
                  </a:lnTo>
                  <a:lnTo>
                    <a:pt x="358" y="696"/>
                  </a:lnTo>
                  <a:lnTo>
                    <a:pt x="359" y="696"/>
                  </a:lnTo>
                  <a:lnTo>
                    <a:pt x="365" y="691"/>
                  </a:lnTo>
                  <a:lnTo>
                    <a:pt x="370" y="690"/>
                  </a:lnTo>
                  <a:lnTo>
                    <a:pt x="375" y="690"/>
                  </a:lnTo>
                  <a:lnTo>
                    <a:pt x="379" y="694"/>
                  </a:lnTo>
                  <a:lnTo>
                    <a:pt x="381" y="692"/>
                  </a:lnTo>
                  <a:lnTo>
                    <a:pt x="385" y="692"/>
                  </a:lnTo>
                  <a:lnTo>
                    <a:pt x="393" y="696"/>
                  </a:lnTo>
                  <a:lnTo>
                    <a:pt x="398" y="698"/>
                  </a:lnTo>
                  <a:lnTo>
                    <a:pt x="400" y="699"/>
                  </a:lnTo>
                  <a:lnTo>
                    <a:pt x="400" y="701"/>
                  </a:lnTo>
                  <a:lnTo>
                    <a:pt x="401" y="702"/>
                  </a:lnTo>
                  <a:lnTo>
                    <a:pt x="402" y="701"/>
                  </a:lnTo>
                  <a:lnTo>
                    <a:pt x="404" y="702"/>
                  </a:lnTo>
                  <a:lnTo>
                    <a:pt x="404" y="704"/>
                  </a:lnTo>
                  <a:lnTo>
                    <a:pt x="405" y="706"/>
                  </a:lnTo>
                  <a:lnTo>
                    <a:pt x="407" y="708"/>
                  </a:lnTo>
                  <a:lnTo>
                    <a:pt x="408" y="704"/>
                  </a:lnTo>
                  <a:lnTo>
                    <a:pt x="410" y="702"/>
                  </a:lnTo>
                  <a:lnTo>
                    <a:pt x="412" y="700"/>
                  </a:lnTo>
                  <a:lnTo>
                    <a:pt x="414" y="701"/>
                  </a:lnTo>
                  <a:lnTo>
                    <a:pt x="415" y="701"/>
                  </a:lnTo>
                  <a:lnTo>
                    <a:pt x="417" y="700"/>
                  </a:lnTo>
                  <a:lnTo>
                    <a:pt x="419" y="700"/>
                  </a:lnTo>
                  <a:lnTo>
                    <a:pt x="421" y="702"/>
                  </a:lnTo>
                  <a:lnTo>
                    <a:pt x="422" y="703"/>
                  </a:lnTo>
                  <a:lnTo>
                    <a:pt x="428" y="702"/>
                  </a:lnTo>
                  <a:lnTo>
                    <a:pt x="432" y="703"/>
                  </a:lnTo>
                  <a:lnTo>
                    <a:pt x="435" y="704"/>
                  </a:lnTo>
                  <a:lnTo>
                    <a:pt x="438" y="704"/>
                  </a:lnTo>
                  <a:lnTo>
                    <a:pt x="438" y="702"/>
                  </a:lnTo>
                  <a:lnTo>
                    <a:pt x="437" y="701"/>
                  </a:lnTo>
                  <a:lnTo>
                    <a:pt x="438" y="700"/>
                  </a:lnTo>
                  <a:lnTo>
                    <a:pt x="440" y="699"/>
                  </a:lnTo>
                  <a:lnTo>
                    <a:pt x="440" y="697"/>
                  </a:lnTo>
                  <a:lnTo>
                    <a:pt x="439" y="695"/>
                  </a:lnTo>
                  <a:lnTo>
                    <a:pt x="438" y="696"/>
                  </a:lnTo>
                  <a:lnTo>
                    <a:pt x="438" y="696"/>
                  </a:lnTo>
                  <a:lnTo>
                    <a:pt x="437" y="696"/>
                  </a:lnTo>
                  <a:lnTo>
                    <a:pt x="436" y="694"/>
                  </a:lnTo>
                  <a:lnTo>
                    <a:pt x="437" y="692"/>
                  </a:lnTo>
                  <a:lnTo>
                    <a:pt x="442" y="689"/>
                  </a:lnTo>
                  <a:lnTo>
                    <a:pt x="441" y="687"/>
                  </a:lnTo>
                  <a:lnTo>
                    <a:pt x="441" y="683"/>
                  </a:lnTo>
                  <a:lnTo>
                    <a:pt x="440" y="681"/>
                  </a:lnTo>
                  <a:lnTo>
                    <a:pt x="448" y="686"/>
                  </a:lnTo>
                  <a:lnTo>
                    <a:pt x="450" y="686"/>
                  </a:lnTo>
                  <a:lnTo>
                    <a:pt x="450" y="687"/>
                  </a:lnTo>
                  <a:lnTo>
                    <a:pt x="451" y="688"/>
                  </a:lnTo>
                  <a:lnTo>
                    <a:pt x="453" y="691"/>
                  </a:lnTo>
                  <a:lnTo>
                    <a:pt x="460" y="700"/>
                  </a:lnTo>
                  <a:lnTo>
                    <a:pt x="462" y="705"/>
                  </a:lnTo>
                  <a:lnTo>
                    <a:pt x="461" y="705"/>
                  </a:lnTo>
                  <a:lnTo>
                    <a:pt x="460" y="706"/>
                  </a:lnTo>
                  <a:lnTo>
                    <a:pt x="461" y="706"/>
                  </a:lnTo>
                  <a:lnTo>
                    <a:pt x="461" y="708"/>
                  </a:lnTo>
                  <a:lnTo>
                    <a:pt x="462" y="708"/>
                  </a:lnTo>
                  <a:lnTo>
                    <a:pt x="463" y="711"/>
                  </a:lnTo>
                  <a:lnTo>
                    <a:pt x="463" y="712"/>
                  </a:lnTo>
                  <a:lnTo>
                    <a:pt x="466" y="714"/>
                  </a:lnTo>
                  <a:lnTo>
                    <a:pt x="468" y="714"/>
                  </a:lnTo>
                  <a:lnTo>
                    <a:pt x="470" y="714"/>
                  </a:lnTo>
                  <a:lnTo>
                    <a:pt x="472" y="712"/>
                  </a:lnTo>
                  <a:lnTo>
                    <a:pt x="472" y="711"/>
                  </a:lnTo>
                  <a:lnTo>
                    <a:pt x="472" y="710"/>
                  </a:lnTo>
                  <a:lnTo>
                    <a:pt x="472" y="710"/>
                  </a:lnTo>
                  <a:lnTo>
                    <a:pt x="473" y="709"/>
                  </a:lnTo>
                  <a:lnTo>
                    <a:pt x="473" y="708"/>
                  </a:lnTo>
                  <a:lnTo>
                    <a:pt x="472" y="707"/>
                  </a:lnTo>
                  <a:lnTo>
                    <a:pt x="471" y="707"/>
                  </a:lnTo>
                  <a:lnTo>
                    <a:pt x="471" y="707"/>
                  </a:lnTo>
                  <a:lnTo>
                    <a:pt x="470" y="706"/>
                  </a:lnTo>
                  <a:lnTo>
                    <a:pt x="470" y="705"/>
                  </a:lnTo>
                  <a:lnTo>
                    <a:pt x="471" y="703"/>
                  </a:lnTo>
                  <a:lnTo>
                    <a:pt x="472" y="701"/>
                  </a:lnTo>
                  <a:lnTo>
                    <a:pt x="474" y="700"/>
                  </a:lnTo>
                  <a:lnTo>
                    <a:pt x="476" y="700"/>
                  </a:lnTo>
                  <a:lnTo>
                    <a:pt x="478" y="701"/>
                  </a:lnTo>
                  <a:lnTo>
                    <a:pt x="479" y="700"/>
                  </a:lnTo>
                  <a:lnTo>
                    <a:pt x="479" y="698"/>
                  </a:lnTo>
                  <a:lnTo>
                    <a:pt x="476" y="698"/>
                  </a:lnTo>
                  <a:lnTo>
                    <a:pt x="479" y="694"/>
                  </a:lnTo>
                  <a:lnTo>
                    <a:pt x="483" y="696"/>
                  </a:lnTo>
                  <a:lnTo>
                    <a:pt x="485" y="700"/>
                  </a:lnTo>
                  <a:lnTo>
                    <a:pt x="484" y="704"/>
                  </a:lnTo>
                  <a:lnTo>
                    <a:pt x="487" y="708"/>
                  </a:lnTo>
                  <a:lnTo>
                    <a:pt x="487" y="709"/>
                  </a:lnTo>
                  <a:lnTo>
                    <a:pt x="488" y="710"/>
                  </a:lnTo>
                  <a:lnTo>
                    <a:pt x="491" y="710"/>
                  </a:lnTo>
                  <a:lnTo>
                    <a:pt x="495" y="713"/>
                  </a:lnTo>
                  <a:lnTo>
                    <a:pt x="501" y="715"/>
                  </a:lnTo>
                  <a:lnTo>
                    <a:pt x="503" y="716"/>
                  </a:lnTo>
                  <a:lnTo>
                    <a:pt x="502" y="718"/>
                  </a:lnTo>
                  <a:lnTo>
                    <a:pt x="499" y="721"/>
                  </a:lnTo>
                  <a:lnTo>
                    <a:pt x="498" y="723"/>
                  </a:lnTo>
                  <a:lnTo>
                    <a:pt x="505" y="727"/>
                  </a:lnTo>
                  <a:lnTo>
                    <a:pt x="507" y="726"/>
                  </a:lnTo>
                  <a:lnTo>
                    <a:pt x="513" y="725"/>
                  </a:lnTo>
                  <a:lnTo>
                    <a:pt x="516" y="724"/>
                  </a:lnTo>
                  <a:lnTo>
                    <a:pt x="516" y="725"/>
                  </a:lnTo>
                  <a:lnTo>
                    <a:pt x="517" y="726"/>
                  </a:lnTo>
                  <a:lnTo>
                    <a:pt x="517" y="727"/>
                  </a:lnTo>
                  <a:lnTo>
                    <a:pt x="518" y="724"/>
                  </a:lnTo>
                  <a:lnTo>
                    <a:pt x="519" y="724"/>
                  </a:lnTo>
                  <a:lnTo>
                    <a:pt x="521" y="734"/>
                  </a:lnTo>
                  <a:lnTo>
                    <a:pt x="523" y="733"/>
                  </a:lnTo>
                  <a:lnTo>
                    <a:pt x="528" y="734"/>
                  </a:lnTo>
                  <a:lnTo>
                    <a:pt x="531" y="734"/>
                  </a:lnTo>
                  <a:lnTo>
                    <a:pt x="530" y="732"/>
                  </a:lnTo>
                  <a:lnTo>
                    <a:pt x="528" y="730"/>
                  </a:lnTo>
                  <a:lnTo>
                    <a:pt x="525" y="730"/>
                  </a:lnTo>
                  <a:lnTo>
                    <a:pt x="523" y="731"/>
                  </a:lnTo>
                  <a:lnTo>
                    <a:pt x="525" y="728"/>
                  </a:lnTo>
                  <a:lnTo>
                    <a:pt x="528" y="727"/>
                  </a:lnTo>
                  <a:lnTo>
                    <a:pt x="537" y="728"/>
                  </a:lnTo>
                  <a:lnTo>
                    <a:pt x="540" y="729"/>
                  </a:lnTo>
                  <a:lnTo>
                    <a:pt x="542" y="731"/>
                  </a:lnTo>
                  <a:lnTo>
                    <a:pt x="544" y="734"/>
                  </a:lnTo>
                  <a:lnTo>
                    <a:pt x="541" y="734"/>
                  </a:lnTo>
                  <a:lnTo>
                    <a:pt x="541" y="735"/>
                  </a:lnTo>
                  <a:lnTo>
                    <a:pt x="546" y="736"/>
                  </a:lnTo>
                  <a:lnTo>
                    <a:pt x="548" y="735"/>
                  </a:lnTo>
                  <a:lnTo>
                    <a:pt x="553" y="730"/>
                  </a:lnTo>
                  <a:lnTo>
                    <a:pt x="555" y="731"/>
                  </a:lnTo>
                  <a:lnTo>
                    <a:pt x="559" y="735"/>
                  </a:lnTo>
                  <a:lnTo>
                    <a:pt x="556" y="738"/>
                  </a:lnTo>
                  <a:lnTo>
                    <a:pt x="558" y="739"/>
                  </a:lnTo>
                  <a:lnTo>
                    <a:pt x="569" y="740"/>
                  </a:lnTo>
                  <a:lnTo>
                    <a:pt x="571" y="741"/>
                  </a:lnTo>
                  <a:lnTo>
                    <a:pt x="571" y="742"/>
                  </a:lnTo>
                  <a:lnTo>
                    <a:pt x="569" y="742"/>
                  </a:lnTo>
                  <a:lnTo>
                    <a:pt x="565" y="743"/>
                  </a:lnTo>
                  <a:lnTo>
                    <a:pt x="563" y="744"/>
                  </a:lnTo>
                  <a:lnTo>
                    <a:pt x="563" y="745"/>
                  </a:lnTo>
                  <a:lnTo>
                    <a:pt x="563" y="746"/>
                  </a:lnTo>
                  <a:lnTo>
                    <a:pt x="566" y="747"/>
                  </a:lnTo>
                  <a:lnTo>
                    <a:pt x="569" y="749"/>
                  </a:lnTo>
                  <a:lnTo>
                    <a:pt x="570" y="752"/>
                  </a:lnTo>
                  <a:lnTo>
                    <a:pt x="568" y="753"/>
                  </a:lnTo>
                  <a:lnTo>
                    <a:pt x="565" y="754"/>
                  </a:lnTo>
                  <a:lnTo>
                    <a:pt x="563" y="757"/>
                  </a:lnTo>
                  <a:lnTo>
                    <a:pt x="551" y="760"/>
                  </a:lnTo>
                  <a:lnTo>
                    <a:pt x="546" y="761"/>
                  </a:lnTo>
                  <a:lnTo>
                    <a:pt x="542" y="759"/>
                  </a:lnTo>
                  <a:lnTo>
                    <a:pt x="538" y="759"/>
                  </a:lnTo>
                  <a:lnTo>
                    <a:pt x="531" y="756"/>
                  </a:lnTo>
                  <a:lnTo>
                    <a:pt x="526" y="756"/>
                  </a:lnTo>
                  <a:lnTo>
                    <a:pt x="525" y="757"/>
                  </a:lnTo>
                  <a:lnTo>
                    <a:pt x="522" y="760"/>
                  </a:lnTo>
                  <a:lnTo>
                    <a:pt x="519" y="761"/>
                  </a:lnTo>
                  <a:lnTo>
                    <a:pt x="517" y="762"/>
                  </a:lnTo>
                  <a:lnTo>
                    <a:pt x="516" y="763"/>
                  </a:lnTo>
                  <a:lnTo>
                    <a:pt x="512" y="766"/>
                  </a:lnTo>
                  <a:lnTo>
                    <a:pt x="518" y="766"/>
                  </a:lnTo>
                  <a:lnTo>
                    <a:pt x="517" y="766"/>
                  </a:lnTo>
                  <a:lnTo>
                    <a:pt x="517" y="767"/>
                  </a:lnTo>
                  <a:lnTo>
                    <a:pt x="519" y="767"/>
                  </a:lnTo>
                  <a:lnTo>
                    <a:pt x="523" y="770"/>
                  </a:lnTo>
                  <a:lnTo>
                    <a:pt x="526" y="771"/>
                  </a:lnTo>
                  <a:lnTo>
                    <a:pt x="528" y="772"/>
                  </a:lnTo>
                  <a:lnTo>
                    <a:pt x="530" y="774"/>
                  </a:lnTo>
                  <a:lnTo>
                    <a:pt x="531" y="777"/>
                  </a:lnTo>
                  <a:lnTo>
                    <a:pt x="531" y="778"/>
                  </a:lnTo>
                  <a:lnTo>
                    <a:pt x="528" y="783"/>
                  </a:lnTo>
                  <a:lnTo>
                    <a:pt x="527" y="784"/>
                  </a:lnTo>
                  <a:lnTo>
                    <a:pt x="526" y="784"/>
                  </a:lnTo>
                  <a:lnTo>
                    <a:pt x="524" y="783"/>
                  </a:lnTo>
                  <a:lnTo>
                    <a:pt x="523" y="784"/>
                  </a:lnTo>
                  <a:lnTo>
                    <a:pt x="519" y="785"/>
                  </a:lnTo>
                  <a:lnTo>
                    <a:pt x="517" y="785"/>
                  </a:lnTo>
                  <a:lnTo>
                    <a:pt x="514" y="785"/>
                  </a:lnTo>
                  <a:lnTo>
                    <a:pt x="512" y="783"/>
                  </a:lnTo>
                  <a:lnTo>
                    <a:pt x="507" y="779"/>
                  </a:lnTo>
                  <a:lnTo>
                    <a:pt x="504" y="778"/>
                  </a:lnTo>
                  <a:lnTo>
                    <a:pt x="503" y="777"/>
                  </a:lnTo>
                  <a:lnTo>
                    <a:pt x="500" y="772"/>
                  </a:lnTo>
                  <a:lnTo>
                    <a:pt x="487" y="761"/>
                  </a:lnTo>
                  <a:lnTo>
                    <a:pt x="486" y="761"/>
                  </a:lnTo>
                  <a:lnTo>
                    <a:pt x="485" y="759"/>
                  </a:lnTo>
                  <a:lnTo>
                    <a:pt x="475" y="756"/>
                  </a:lnTo>
                  <a:lnTo>
                    <a:pt x="458" y="747"/>
                  </a:lnTo>
                  <a:lnTo>
                    <a:pt x="445" y="744"/>
                  </a:lnTo>
                  <a:lnTo>
                    <a:pt x="444" y="744"/>
                  </a:lnTo>
                  <a:lnTo>
                    <a:pt x="443" y="745"/>
                  </a:lnTo>
                  <a:lnTo>
                    <a:pt x="441" y="744"/>
                  </a:lnTo>
                  <a:lnTo>
                    <a:pt x="439" y="743"/>
                  </a:lnTo>
                  <a:lnTo>
                    <a:pt x="434" y="741"/>
                  </a:lnTo>
                  <a:lnTo>
                    <a:pt x="432" y="738"/>
                  </a:lnTo>
                  <a:lnTo>
                    <a:pt x="429" y="737"/>
                  </a:lnTo>
                  <a:lnTo>
                    <a:pt x="426" y="738"/>
                  </a:lnTo>
                  <a:lnTo>
                    <a:pt x="424" y="737"/>
                  </a:lnTo>
                  <a:lnTo>
                    <a:pt x="418" y="735"/>
                  </a:lnTo>
                  <a:lnTo>
                    <a:pt x="413" y="735"/>
                  </a:lnTo>
                  <a:lnTo>
                    <a:pt x="411" y="735"/>
                  </a:lnTo>
                  <a:lnTo>
                    <a:pt x="410" y="734"/>
                  </a:lnTo>
                  <a:lnTo>
                    <a:pt x="410" y="733"/>
                  </a:lnTo>
                  <a:lnTo>
                    <a:pt x="409" y="732"/>
                  </a:lnTo>
                  <a:lnTo>
                    <a:pt x="404" y="730"/>
                  </a:lnTo>
                  <a:lnTo>
                    <a:pt x="402" y="730"/>
                  </a:lnTo>
                  <a:lnTo>
                    <a:pt x="401" y="728"/>
                  </a:lnTo>
                  <a:lnTo>
                    <a:pt x="399" y="723"/>
                  </a:lnTo>
                  <a:lnTo>
                    <a:pt x="399" y="721"/>
                  </a:lnTo>
                  <a:lnTo>
                    <a:pt x="397" y="721"/>
                  </a:lnTo>
                  <a:lnTo>
                    <a:pt x="396" y="720"/>
                  </a:lnTo>
                  <a:lnTo>
                    <a:pt x="395" y="719"/>
                  </a:lnTo>
                  <a:lnTo>
                    <a:pt x="394" y="719"/>
                  </a:lnTo>
                  <a:lnTo>
                    <a:pt x="392" y="720"/>
                  </a:lnTo>
                  <a:lnTo>
                    <a:pt x="391" y="720"/>
                  </a:lnTo>
                  <a:lnTo>
                    <a:pt x="389" y="720"/>
                  </a:lnTo>
                  <a:lnTo>
                    <a:pt x="385" y="717"/>
                  </a:lnTo>
                  <a:lnTo>
                    <a:pt x="383" y="716"/>
                  </a:lnTo>
                  <a:lnTo>
                    <a:pt x="382" y="714"/>
                  </a:lnTo>
                  <a:lnTo>
                    <a:pt x="381" y="711"/>
                  </a:lnTo>
                  <a:lnTo>
                    <a:pt x="380" y="710"/>
                  </a:lnTo>
                  <a:lnTo>
                    <a:pt x="378" y="709"/>
                  </a:lnTo>
                  <a:lnTo>
                    <a:pt x="375" y="709"/>
                  </a:lnTo>
                  <a:lnTo>
                    <a:pt x="373" y="708"/>
                  </a:lnTo>
                  <a:lnTo>
                    <a:pt x="371" y="706"/>
                  </a:lnTo>
                  <a:lnTo>
                    <a:pt x="370" y="705"/>
                  </a:lnTo>
                  <a:lnTo>
                    <a:pt x="368" y="706"/>
                  </a:lnTo>
                  <a:lnTo>
                    <a:pt x="367" y="706"/>
                  </a:lnTo>
                  <a:lnTo>
                    <a:pt x="363" y="706"/>
                  </a:lnTo>
                  <a:lnTo>
                    <a:pt x="353" y="704"/>
                  </a:lnTo>
                  <a:lnTo>
                    <a:pt x="351" y="705"/>
                  </a:lnTo>
                  <a:lnTo>
                    <a:pt x="339" y="713"/>
                  </a:lnTo>
                  <a:lnTo>
                    <a:pt x="336" y="718"/>
                  </a:lnTo>
                  <a:lnTo>
                    <a:pt x="329" y="731"/>
                  </a:lnTo>
                  <a:lnTo>
                    <a:pt x="325" y="736"/>
                  </a:lnTo>
                  <a:lnTo>
                    <a:pt x="320" y="740"/>
                  </a:lnTo>
                  <a:lnTo>
                    <a:pt x="317" y="742"/>
                  </a:lnTo>
                  <a:lnTo>
                    <a:pt x="314" y="742"/>
                  </a:lnTo>
                  <a:lnTo>
                    <a:pt x="301" y="739"/>
                  </a:lnTo>
                  <a:lnTo>
                    <a:pt x="293" y="733"/>
                  </a:lnTo>
                  <a:lnTo>
                    <a:pt x="291" y="732"/>
                  </a:lnTo>
                  <a:lnTo>
                    <a:pt x="287" y="732"/>
                  </a:lnTo>
                  <a:lnTo>
                    <a:pt x="285" y="732"/>
                  </a:lnTo>
                  <a:lnTo>
                    <a:pt x="282" y="731"/>
                  </a:lnTo>
                  <a:lnTo>
                    <a:pt x="282" y="730"/>
                  </a:lnTo>
                  <a:lnTo>
                    <a:pt x="282" y="731"/>
                  </a:lnTo>
                  <a:lnTo>
                    <a:pt x="283" y="733"/>
                  </a:lnTo>
                  <a:lnTo>
                    <a:pt x="283" y="735"/>
                  </a:lnTo>
                  <a:lnTo>
                    <a:pt x="281" y="734"/>
                  </a:lnTo>
                  <a:lnTo>
                    <a:pt x="279" y="730"/>
                  </a:lnTo>
                  <a:lnTo>
                    <a:pt x="277" y="728"/>
                  </a:lnTo>
                  <a:lnTo>
                    <a:pt x="278" y="732"/>
                  </a:lnTo>
                  <a:lnTo>
                    <a:pt x="277" y="744"/>
                  </a:lnTo>
                  <a:lnTo>
                    <a:pt x="277" y="746"/>
                  </a:lnTo>
                  <a:lnTo>
                    <a:pt x="276" y="748"/>
                  </a:lnTo>
                  <a:lnTo>
                    <a:pt x="271" y="757"/>
                  </a:lnTo>
                  <a:lnTo>
                    <a:pt x="270" y="759"/>
                  </a:lnTo>
                  <a:lnTo>
                    <a:pt x="263" y="769"/>
                  </a:lnTo>
                  <a:lnTo>
                    <a:pt x="264" y="769"/>
                  </a:lnTo>
                  <a:lnTo>
                    <a:pt x="266" y="767"/>
                  </a:lnTo>
                  <a:lnTo>
                    <a:pt x="267" y="766"/>
                  </a:lnTo>
                  <a:lnTo>
                    <a:pt x="268" y="766"/>
                  </a:lnTo>
                  <a:lnTo>
                    <a:pt x="269" y="766"/>
                  </a:lnTo>
                  <a:lnTo>
                    <a:pt x="269" y="766"/>
                  </a:lnTo>
                  <a:lnTo>
                    <a:pt x="269" y="766"/>
                  </a:lnTo>
                  <a:lnTo>
                    <a:pt x="270" y="767"/>
                  </a:lnTo>
                  <a:lnTo>
                    <a:pt x="270" y="768"/>
                  </a:lnTo>
                  <a:lnTo>
                    <a:pt x="268" y="770"/>
                  </a:lnTo>
                  <a:lnTo>
                    <a:pt x="266" y="772"/>
                  </a:lnTo>
                  <a:lnTo>
                    <a:pt x="264" y="773"/>
                  </a:lnTo>
                  <a:lnTo>
                    <a:pt x="262" y="772"/>
                  </a:lnTo>
                  <a:lnTo>
                    <a:pt x="258" y="777"/>
                  </a:lnTo>
                  <a:lnTo>
                    <a:pt x="251" y="784"/>
                  </a:lnTo>
                  <a:lnTo>
                    <a:pt x="244" y="787"/>
                  </a:lnTo>
                  <a:lnTo>
                    <a:pt x="240" y="784"/>
                  </a:lnTo>
                  <a:lnTo>
                    <a:pt x="239" y="784"/>
                  </a:lnTo>
                  <a:lnTo>
                    <a:pt x="235" y="797"/>
                  </a:lnTo>
                  <a:lnTo>
                    <a:pt x="236" y="798"/>
                  </a:lnTo>
                  <a:lnTo>
                    <a:pt x="235" y="802"/>
                  </a:lnTo>
                  <a:lnTo>
                    <a:pt x="236" y="804"/>
                  </a:lnTo>
                  <a:lnTo>
                    <a:pt x="238" y="805"/>
                  </a:lnTo>
                  <a:lnTo>
                    <a:pt x="254" y="810"/>
                  </a:lnTo>
                  <a:lnTo>
                    <a:pt x="261" y="814"/>
                  </a:lnTo>
                  <a:lnTo>
                    <a:pt x="263" y="816"/>
                  </a:lnTo>
                  <a:lnTo>
                    <a:pt x="265" y="818"/>
                  </a:lnTo>
                  <a:lnTo>
                    <a:pt x="267" y="828"/>
                  </a:lnTo>
                  <a:lnTo>
                    <a:pt x="268" y="831"/>
                  </a:lnTo>
                  <a:lnTo>
                    <a:pt x="267" y="834"/>
                  </a:lnTo>
                  <a:lnTo>
                    <a:pt x="265" y="838"/>
                  </a:lnTo>
                  <a:lnTo>
                    <a:pt x="267" y="839"/>
                  </a:lnTo>
                  <a:lnTo>
                    <a:pt x="267" y="841"/>
                  </a:lnTo>
                  <a:lnTo>
                    <a:pt x="267" y="843"/>
                  </a:lnTo>
                  <a:lnTo>
                    <a:pt x="267" y="845"/>
                  </a:lnTo>
                  <a:lnTo>
                    <a:pt x="268" y="845"/>
                  </a:lnTo>
                  <a:lnTo>
                    <a:pt x="269" y="840"/>
                  </a:lnTo>
                  <a:lnTo>
                    <a:pt x="272" y="839"/>
                  </a:lnTo>
                  <a:lnTo>
                    <a:pt x="282" y="842"/>
                  </a:lnTo>
                  <a:lnTo>
                    <a:pt x="283" y="843"/>
                  </a:lnTo>
                  <a:lnTo>
                    <a:pt x="287" y="847"/>
                  </a:lnTo>
                  <a:lnTo>
                    <a:pt x="288" y="849"/>
                  </a:lnTo>
                  <a:lnTo>
                    <a:pt x="292" y="851"/>
                  </a:lnTo>
                  <a:lnTo>
                    <a:pt x="305" y="860"/>
                  </a:lnTo>
                  <a:lnTo>
                    <a:pt x="308" y="863"/>
                  </a:lnTo>
                  <a:lnTo>
                    <a:pt x="314" y="873"/>
                  </a:lnTo>
                  <a:lnTo>
                    <a:pt x="325" y="893"/>
                  </a:lnTo>
                  <a:lnTo>
                    <a:pt x="326" y="897"/>
                  </a:lnTo>
                  <a:lnTo>
                    <a:pt x="328" y="901"/>
                  </a:lnTo>
                  <a:lnTo>
                    <a:pt x="328" y="909"/>
                  </a:lnTo>
                  <a:lnTo>
                    <a:pt x="326" y="916"/>
                  </a:lnTo>
                  <a:lnTo>
                    <a:pt x="322" y="920"/>
                  </a:lnTo>
                  <a:lnTo>
                    <a:pt x="312" y="928"/>
                  </a:lnTo>
                  <a:lnTo>
                    <a:pt x="309" y="934"/>
                  </a:lnTo>
                  <a:lnTo>
                    <a:pt x="308" y="941"/>
                  </a:lnTo>
                  <a:lnTo>
                    <a:pt x="308" y="949"/>
                  </a:lnTo>
                  <a:lnTo>
                    <a:pt x="310" y="957"/>
                  </a:lnTo>
                  <a:lnTo>
                    <a:pt x="313" y="963"/>
                  </a:lnTo>
                  <a:lnTo>
                    <a:pt x="318" y="968"/>
                  </a:lnTo>
                  <a:lnTo>
                    <a:pt x="322" y="973"/>
                  </a:lnTo>
                  <a:lnTo>
                    <a:pt x="323" y="980"/>
                  </a:lnTo>
                  <a:lnTo>
                    <a:pt x="324" y="978"/>
                  </a:lnTo>
                  <a:lnTo>
                    <a:pt x="325" y="977"/>
                  </a:lnTo>
                  <a:lnTo>
                    <a:pt x="326" y="977"/>
                  </a:lnTo>
                  <a:lnTo>
                    <a:pt x="326" y="979"/>
                  </a:lnTo>
                  <a:lnTo>
                    <a:pt x="326" y="979"/>
                  </a:lnTo>
                  <a:lnTo>
                    <a:pt x="324" y="980"/>
                  </a:lnTo>
                  <a:lnTo>
                    <a:pt x="327" y="979"/>
                  </a:lnTo>
                  <a:lnTo>
                    <a:pt x="330" y="980"/>
                  </a:lnTo>
                  <a:lnTo>
                    <a:pt x="331" y="983"/>
                  </a:lnTo>
                  <a:lnTo>
                    <a:pt x="331" y="987"/>
                  </a:lnTo>
                  <a:lnTo>
                    <a:pt x="330" y="988"/>
                  </a:lnTo>
                  <a:lnTo>
                    <a:pt x="328" y="992"/>
                  </a:lnTo>
                  <a:lnTo>
                    <a:pt x="327" y="994"/>
                  </a:lnTo>
                  <a:lnTo>
                    <a:pt x="327" y="996"/>
                  </a:lnTo>
                  <a:lnTo>
                    <a:pt x="328" y="998"/>
                  </a:lnTo>
                  <a:lnTo>
                    <a:pt x="328" y="1000"/>
                  </a:lnTo>
                  <a:lnTo>
                    <a:pt x="327" y="1002"/>
                  </a:lnTo>
                  <a:lnTo>
                    <a:pt x="329" y="1004"/>
                  </a:lnTo>
                  <a:lnTo>
                    <a:pt x="329" y="1006"/>
                  </a:lnTo>
                  <a:lnTo>
                    <a:pt x="330" y="1008"/>
                  </a:lnTo>
                  <a:lnTo>
                    <a:pt x="332" y="1007"/>
                  </a:lnTo>
                  <a:lnTo>
                    <a:pt x="333" y="1007"/>
                  </a:lnTo>
                  <a:lnTo>
                    <a:pt x="334" y="1009"/>
                  </a:lnTo>
                  <a:lnTo>
                    <a:pt x="337" y="1010"/>
                  </a:lnTo>
                  <a:lnTo>
                    <a:pt x="339" y="1012"/>
                  </a:lnTo>
                  <a:lnTo>
                    <a:pt x="343" y="1010"/>
                  </a:lnTo>
                  <a:lnTo>
                    <a:pt x="346" y="1010"/>
                  </a:lnTo>
                  <a:lnTo>
                    <a:pt x="349" y="1010"/>
                  </a:lnTo>
                  <a:lnTo>
                    <a:pt x="354" y="1020"/>
                  </a:lnTo>
                  <a:lnTo>
                    <a:pt x="354" y="1020"/>
                  </a:lnTo>
                  <a:lnTo>
                    <a:pt x="357" y="1026"/>
                  </a:lnTo>
                  <a:lnTo>
                    <a:pt x="358" y="1026"/>
                  </a:lnTo>
                  <a:lnTo>
                    <a:pt x="359" y="1025"/>
                  </a:lnTo>
                  <a:lnTo>
                    <a:pt x="360" y="1024"/>
                  </a:lnTo>
                  <a:lnTo>
                    <a:pt x="366" y="1018"/>
                  </a:lnTo>
                  <a:lnTo>
                    <a:pt x="368" y="1016"/>
                  </a:lnTo>
                  <a:lnTo>
                    <a:pt x="367" y="1015"/>
                  </a:lnTo>
                  <a:lnTo>
                    <a:pt x="368" y="1013"/>
                  </a:lnTo>
                  <a:lnTo>
                    <a:pt x="370" y="1013"/>
                  </a:lnTo>
                  <a:lnTo>
                    <a:pt x="372" y="1012"/>
                  </a:lnTo>
                  <a:lnTo>
                    <a:pt x="372" y="1011"/>
                  </a:lnTo>
                  <a:lnTo>
                    <a:pt x="370" y="1011"/>
                  </a:lnTo>
                  <a:lnTo>
                    <a:pt x="368" y="1010"/>
                  </a:lnTo>
                  <a:lnTo>
                    <a:pt x="365" y="1007"/>
                  </a:lnTo>
                  <a:lnTo>
                    <a:pt x="366" y="1005"/>
                  </a:lnTo>
                  <a:lnTo>
                    <a:pt x="366" y="1003"/>
                  </a:lnTo>
                  <a:lnTo>
                    <a:pt x="365" y="1001"/>
                  </a:lnTo>
                  <a:lnTo>
                    <a:pt x="364" y="999"/>
                  </a:lnTo>
                  <a:lnTo>
                    <a:pt x="365" y="997"/>
                  </a:lnTo>
                  <a:lnTo>
                    <a:pt x="365" y="995"/>
                  </a:lnTo>
                  <a:lnTo>
                    <a:pt x="367" y="976"/>
                  </a:lnTo>
                  <a:lnTo>
                    <a:pt x="368" y="973"/>
                  </a:lnTo>
                  <a:lnTo>
                    <a:pt x="370" y="971"/>
                  </a:lnTo>
                  <a:lnTo>
                    <a:pt x="375" y="969"/>
                  </a:lnTo>
                  <a:lnTo>
                    <a:pt x="381" y="966"/>
                  </a:lnTo>
                  <a:lnTo>
                    <a:pt x="385" y="965"/>
                  </a:lnTo>
                  <a:lnTo>
                    <a:pt x="390" y="965"/>
                  </a:lnTo>
                  <a:lnTo>
                    <a:pt x="401" y="968"/>
                  </a:lnTo>
                  <a:lnTo>
                    <a:pt x="401" y="969"/>
                  </a:lnTo>
                  <a:lnTo>
                    <a:pt x="401" y="974"/>
                  </a:lnTo>
                  <a:lnTo>
                    <a:pt x="400" y="978"/>
                  </a:lnTo>
                  <a:lnTo>
                    <a:pt x="400" y="980"/>
                  </a:lnTo>
                  <a:lnTo>
                    <a:pt x="400" y="983"/>
                  </a:lnTo>
                  <a:lnTo>
                    <a:pt x="399" y="984"/>
                  </a:lnTo>
                  <a:lnTo>
                    <a:pt x="398" y="985"/>
                  </a:lnTo>
                  <a:lnTo>
                    <a:pt x="398" y="985"/>
                  </a:lnTo>
                  <a:lnTo>
                    <a:pt x="399" y="988"/>
                  </a:lnTo>
                  <a:lnTo>
                    <a:pt x="400" y="990"/>
                  </a:lnTo>
                  <a:lnTo>
                    <a:pt x="404" y="994"/>
                  </a:lnTo>
                  <a:lnTo>
                    <a:pt x="409" y="990"/>
                  </a:lnTo>
                  <a:lnTo>
                    <a:pt x="412" y="992"/>
                  </a:lnTo>
                  <a:lnTo>
                    <a:pt x="423" y="1008"/>
                  </a:lnTo>
                  <a:lnTo>
                    <a:pt x="425" y="1013"/>
                  </a:lnTo>
                  <a:lnTo>
                    <a:pt x="425" y="1016"/>
                  </a:lnTo>
                  <a:lnTo>
                    <a:pt x="428" y="1020"/>
                  </a:lnTo>
                  <a:lnTo>
                    <a:pt x="431" y="1026"/>
                  </a:lnTo>
                  <a:lnTo>
                    <a:pt x="434" y="1031"/>
                  </a:lnTo>
                  <a:lnTo>
                    <a:pt x="438" y="1030"/>
                  </a:lnTo>
                  <a:lnTo>
                    <a:pt x="436" y="1036"/>
                  </a:lnTo>
                  <a:lnTo>
                    <a:pt x="435" y="1040"/>
                  </a:lnTo>
                  <a:lnTo>
                    <a:pt x="438" y="1041"/>
                  </a:lnTo>
                  <a:lnTo>
                    <a:pt x="438" y="1042"/>
                  </a:lnTo>
                  <a:lnTo>
                    <a:pt x="436" y="1043"/>
                  </a:lnTo>
                  <a:lnTo>
                    <a:pt x="435" y="1045"/>
                  </a:lnTo>
                  <a:lnTo>
                    <a:pt x="435" y="1048"/>
                  </a:lnTo>
                  <a:lnTo>
                    <a:pt x="435" y="1050"/>
                  </a:lnTo>
                  <a:lnTo>
                    <a:pt x="438" y="1050"/>
                  </a:lnTo>
                  <a:lnTo>
                    <a:pt x="437" y="1053"/>
                  </a:lnTo>
                  <a:lnTo>
                    <a:pt x="436" y="1054"/>
                  </a:lnTo>
                  <a:lnTo>
                    <a:pt x="438" y="1056"/>
                  </a:lnTo>
                  <a:lnTo>
                    <a:pt x="438" y="1059"/>
                  </a:lnTo>
                  <a:lnTo>
                    <a:pt x="438" y="1062"/>
                  </a:lnTo>
                  <a:lnTo>
                    <a:pt x="435" y="1061"/>
                  </a:lnTo>
                  <a:lnTo>
                    <a:pt x="434" y="1064"/>
                  </a:lnTo>
                  <a:lnTo>
                    <a:pt x="433" y="1066"/>
                  </a:lnTo>
                  <a:lnTo>
                    <a:pt x="433" y="1068"/>
                  </a:lnTo>
                  <a:lnTo>
                    <a:pt x="434" y="1071"/>
                  </a:lnTo>
                  <a:lnTo>
                    <a:pt x="436" y="1073"/>
                  </a:lnTo>
                  <a:lnTo>
                    <a:pt x="437" y="1074"/>
                  </a:lnTo>
                  <a:lnTo>
                    <a:pt x="439" y="1075"/>
                  </a:lnTo>
                  <a:lnTo>
                    <a:pt x="440" y="1073"/>
                  </a:lnTo>
                  <a:lnTo>
                    <a:pt x="442" y="1073"/>
                  </a:lnTo>
                  <a:lnTo>
                    <a:pt x="443" y="1076"/>
                  </a:lnTo>
                  <a:lnTo>
                    <a:pt x="449" y="1078"/>
                  </a:lnTo>
                  <a:lnTo>
                    <a:pt x="451" y="1080"/>
                  </a:lnTo>
                  <a:lnTo>
                    <a:pt x="452" y="1083"/>
                  </a:lnTo>
                  <a:lnTo>
                    <a:pt x="452" y="1087"/>
                  </a:lnTo>
                  <a:lnTo>
                    <a:pt x="453" y="1090"/>
                  </a:lnTo>
                  <a:lnTo>
                    <a:pt x="455" y="1092"/>
                  </a:lnTo>
                  <a:lnTo>
                    <a:pt x="455" y="1091"/>
                  </a:lnTo>
                  <a:lnTo>
                    <a:pt x="455" y="1090"/>
                  </a:lnTo>
                  <a:lnTo>
                    <a:pt x="455" y="1089"/>
                  </a:lnTo>
                  <a:lnTo>
                    <a:pt x="457" y="1089"/>
                  </a:lnTo>
                  <a:lnTo>
                    <a:pt x="457" y="1088"/>
                  </a:lnTo>
                  <a:lnTo>
                    <a:pt x="456" y="1086"/>
                  </a:lnTo>
                  <a:lnTo>
                    <a:pt x="455" y="1083"/>
                  </a:lnTo>
                  <a:lnTo>
                    <a:pt x="456" y="1081"/>
                  </a:lnTo>
                  <a:lnTo>
                    <a:pt x="458" y="1080"/>
                  </a:lnTo>
                  <a:lnTo>
                    <a:pt x="457" y="1078"/>
                  </a:lnTo>
                  <a:lnTo>
                    <a:pt x="458" y="1077"/>
                  </a:lnTo>
                  <a:lnTo>
                    <a:pt x="455" y="1069"/>
                  </a:lnTo>
                  <a:lnTo>
                    <a:pt x="454" y="1066"/>
                  </a:lnTo>
                  <a:lnTo>
                    <a:pt x="453" y="1061"/>
                  </a:lnTo>
                  <a:lnTo>
                    <a:pt x="453" y="1049"/>
                  </a:lnTo>
                  <a:lnTo>
                    <a:pt x="454" y="1047"/>
                  </a:lnTo>
                  <a:lnTo>
                    <a:pt x="457" y="1046"/>
                  </a:lnTo>
                  <a:lnTo>
                    <a:pt x="458" y="1050"/>
                  </a:lnTo>
                  <a:lnTo>
                    <a:pt x="460" y="1048"/>
                  </a:lnTo>
                  <a:lnTo>
                    <a:pt x="461" y="1044"/>
                  </a:lnTo>
                  <a:lnTo>
                    <a:pt x="458" y="1042"/>
                  </a:lnTo>
                  <a:lnTo>
                    <a:pt x="458" y="1041"/>
                  </a:lnTo>
                  <a:lnTo>
                    <a:pt x="458" y="1040"/>
                  </a:lnTo>
                  <a:lnTo>
                    <a:pt x="459" y="1038"/>
                  </a:lnTo>
                  <a:lnTo>
                    <a:pt x="460" y="1037"/>
                  </a:lnTo>
                  <a:lnTo>
                    <a:pt x="462" y="1037"/>
                  </a:lnTo>
                  <a:lnTo>
                    <a:pt x="463" y="1038"/>
                  </a:lnTo>
                  <a:lnTo>
                    <a:pt x="463" y="1039"/>
                  </a:lnTo>
                  <a:lnTo>
                    <a:pt x="463" y="1041"/>
                  </a:lnTo>
                  <a:lnTo>
                    <a:pt x="464" y="1041"/>
                  </a:lnTo>
                  <a:lnTo>
                    <a:pt x="465" y="1038"/>
                  </a:lnTo>
                  <a:lnTo>
                    <a:pt x="464" y="1035"/>
                  </a:lnTo>
                  <a:lnTo>
                    <a:pt x="463" y="1034"/>
                  </a:lnTo>
                  <a:lnTo>
                    <a:pt x="460" y="1034"/>
                  </a:lnTo>
                  <a:lnTo>
                    <a:pt x="461" y="1030"/>
                  </a:lnTo>
                  <a:lnTo>
                    <a:pt x="463" y="1027"/>
                  </a:lnTo>
                  <a:lnTo>
                    <a:pt x="469" y="1023"/>
                  </a:lnTo>
                  <a:lnTo>
                    <a:pt x="468" y="1015"/>
                  </a:lnTo>
                  <a:lnTo>
                    <a:pt x="476" y="1011"/>
                  </a:lnTo>
                  <a:lnTo>
                    <a:pt x="486" y="1009"/>
                  </a:lnTo>
                  <a:lnTo>
                    <a:pt x="494" y="1010"/>
                  </a:lnTo>
                  <a:lnTo>
                    <a:pt x="498" y="1011"/>
                  </a:lnTo>
                  <a:lnTo>
                    <a:pt x="502" y="1013"/>
                  </a:lnTo>
                  <a:lnTo>
                    <a:pt x="504" y="1016"/>
                  </a:lnTo>
                  <a:lnTo>
                    <a:pt x="505" y="1023"/>
                  </a:lnTo>
                  <a:lnTo>
                    <a:pt x="507" y="1028"/>
                  </a:lnTo>
                  <a:lnTo>
                    <a:pt x="507" y="1031"/>
                  </a:lnTo>
                  <a:lnTo>
                    <a:pt x="506" y="1035"/>
                  </a:lnTo>
                  <a:lnTo>
                    <a:pt x="506" y="1037"/>
                  </a:lnTo>
                  <a:lnTo>
                    <a:pt x="507" y="1038"/>
                  </a:lnTo>
                  <a:lnTo>
                    <a:pt x="509" y="1035"/>
                  </a:lnTo>
                  <a:lnTo>
                    <a:pt x="510" y="1034"/>
                  </a:lnTo>
                  <a:lnTo>
                    <a:pt x="511" y="1034"/>
                  </a:lnTo>
                  <a:lnTo>
                    <a:pt x="517" y="1040"/>
                  </a:lnTo>
                  <a:lnTo>
                    <a:pt x="518" y="1043"/>
                  </a:lnTo>
                  <a:lnTo>
                    <a:pt x="516" y="1045"/>
                  </a:lnTo>
                  <a:lnTo>
                    <a:pt x="522" y="1050"/>
                  </a:lnTo>
                  <a:lnTo>
                    <a:pt x="524" y="1052"/>
                  </a:lnTo>
                  <a:lnTo>
                    <a:pt x="526" y="1053"/>
                  </a:lnTo>
                  <a:lnTo>
                    <a:pt x="529" y="1061"/>
                  </a:lnTo>
                  <a:lnTo>
                    <a:pt x="530" y="1064"/>
                  </a:lnTo>
                  <a:lnTo>
                    <a:pt x="531" y="1067"/>
                  </a:lnTo>
                  <a:lnTo>
                    <a:pt x="534" y="1067"/>
                  </a:lnTo>
                  <a:lnTo>
                    <a:pt x="541" y="1065"/>
                  </a:lnTo>
                  <a:lnTo>
                    <a:pt x="544" y="1066"/>
                  </a:lnTo>
                  <a:lnTo>
                    <a:pt x="546" y="1069"/>
                  </a:lnTo>
                  <a:lnTo>
                    <a:pt x="547" y="1072"/>
                  </a:lnTo>
                  <a:lnTo>
                    <a:pt x="546" y="1074"/>
                  </a:lnTo>
                  <a:lnTo>
                    <a:pt x="546" y="1076"/>
                  </a:lnTo>
                  <a:lnTo>
                    <a:pt x="548" y="1077"/>
                  </a:lnTo>
                  <a:lnTo>
                    <a:pt x="549" y="1080"/>
                  </a:lnTo>
                  <a:lnTo>
                    <a:pt x="551" y="1082"/>
                  </a:lnTo>
                  <a:lnTo>
                    <a:pt x="558" y="1083"/>
                  </a:lnTo>
                  <a:lnTo>
                    <a:pt x="560" y="1083"/>
                  </a:lnTo>
                  <a:lnTo>
                    <a:pt x="561" y="1081"/>
                  </a:lnTo>
                  <a:lnTo>
                    <a:pt x="567" y="1084"/>
                  </a:lnTo>
                  <a:lnTo>
                    <a:pt x="568" y="1079"/>
                  </a:lnTo>
                  <a:lnTo>
                    <a:pt x="564" y="1076"/>
                  </a:lnTo>
                  <a:lnTo>
                    <a:pt x="560" y="1073"/>
                  </a:lnTo>
                  <a:lnTo>
                    <a:pt x="557" y="1069"/>
                  </a:lnTo>
                  <a:lnTo>
                    <a:pt x="558" y="1068"/>
                  </a:lnTo>
                  <a:lnTo>
                    <a:pt x="559" y="1067"/>
                  </a:lnTo>
                  <a:lnTo>
                    <a:pt x="559" y="1066"/>
                  </a:lnTo>
                  <a:lnTo>
                    <a:pt x="558" y="1065"/>
                  </a:lnTo>
                  <a:lnTo>
                    <a:pt x="558" y="1064"/>
                  </a:lnTo>
                  <a:lnTo>
                    <a:pt x="559" y="1063"/>
                  </a:lnTo>
                  <a:lnTo>
                    <a:pt x="560" y="1062"/>
                  </a:lnTo>
                  <a:lnTo>
                    <a:pt x="559" y="1062"/>
                  </a:lnTo>
                  <a:lnTo>
                    <a:pt x="558" y="1062"/>
                  </a:lnTo>
                  <a:lnTo>
                    <a:pt x="557" y="1061"/>
                  </a:lnTo>
                  <a:lnTo>
                    <a:pt x="557" y="1060"/>
                  </a:lnTo>
                  <a:lnTo>
                    <a:pt x="554" y="1058"/>
                  </a:lnTo>
                  <a:lnTo>
                    <a:pt x="552" y="1057"/>
                  </a:lnTo>
                  <a:lnTo>
                    <a:pt x="549" y="1056"/>
                  </a:lnTo>
                  <a:lnTo>
                    <a:pt x="548" y="1055"/>
                  </a:lnTo>
                  <a:lnTo>
                    <a:pt x="546" y="1052"/>
                  </a:lnTo>
                  <a:lnTo>
                    <a:pt x="543" y="1046"/>
                  </a:lnTo>
                  <a:lnTo>
                    <a:pt x="541" y="1041"/>
                  </a:lnTo>
                  <a:lnTo>
                    <a:pt x="541" y="1036"/>
                  </a:lnTo>
                  <a:lnTo>
                    <a:pt x="545" y="1033"/>
                  </a:lnTo>
                  <a:lnTo>
                    <a:pt x="541" y="1033"/>
                  </a:lnTo>
                  <a:lnTo>
                    <a:pt x="541" y="1032"/>
                  </a:lnTo>
                  <a:lnTo>
                    <a:pt x="541" y="1031"/>
                  </a:lnTo>
                  <a:lnTo>
                    <a:pt x="542" y="1030"/>
                  </a:lnTo>
                  <a:lnTo>
                    <a:pt x="540" y="1028"/>
                  </a:lnTo>
                  <a:lnTo>
                    <a:pt x="541" y="1026"/>
                  </a:lnTo>
                  <a:lnTo>
                    <a:pt x="542" y="1024"/>
                  </a:lnTo>
                  <a:lnTo>
                    <a:pt x="544" y="1022"/>
                  </a:lnTo>
                  <a:lnTo>
                    <a:pt x="545" y="1023"/>
                  </a:lnTo>
                  <a:lnTo>
                    <a:pt x="547" y="1024"/>
                  </a:lnTo>
                  <a:lnTo>
                    <a:pt x="550" y="1025"/>
                  </a:lnTo>
                  <a:lnTo>
                    <a:pt x="551" y="1023"/>
                  </a:lnTo>
                  <a:lnTo>
                    <a:pt x="550" y="1022"/>
                  </a:lnTo>
                  <a:lnTo>
                    <a:pt x="550" y="1021"/>
                  </a:lnTo>
                  <a:lnTo>
                    <a:pt x="550" y="1020"/>
                  </a:lnTo>
                  <a:lnTo>
                    <a:pt x="551" y="1019"/>
                  </a:lnTo>
                  <a:lnTo>
                    <a:pt x="551" y="1018"/>
                  </a:lnTo>
                  <a:lnTo>
                    <a:pt x="553" y="1017"/>
                  </a:lnTo>
                  <a:lnTo>
                    <a:pt x="554" y="1015"/>
                  </a:lnTo>
                  <a:lnTo>
                    <a:pt x="551" y="1014"/>
                  </a:lnTo>
                  <a:lnTo>
                    <a:pt x="550" y="1014"/>
                  </a:lnTo>
                  <a:lnTo>
                    <a:pt x="548" y="1013"/>
                  </a:lnTo>
                  <a:lnTo>
                    <a:pt x="548" y="1012"/>
                  </a:lnTo>
                  <a:lnTo>
                    <a:pt x="550" y="1012"/>
                  </a:lnTo>
                  <a:lnTo>
                    <a:pt x="551" y="1010"/>
                  </a:lnTo>
                  <a:lnTo>
                    <a:pt x="550" y="1008"/>
                  </a:lnTo>
                  <a:lnTo>
                    <a:pt x="549" y="1006"/>
                  </a:lnTo>
                  <a:lnTo>
                    <a:pt x="545" y="1001"/>
                  </a:lnTo>
                  <a:lnTo>
                    <a:pt x="543" y="998"/>
                  </a:lnTo>
                  <a:lnTo>
                    <a:pt x="543" y="996"/>
                  </a:lnTo>
                  <a:lnTo>
                    <a:pt x="542" y="994"/>
                  </a:lnTo>
                  <a:lnTo>
                    <a:pt x="539" y="987"/>
                  </a:lnTo>
                  <a:lnTo>
                    <a:pt x="537" y="984"/>
                  </a:lnTo>
                  <a:lnTo>
                    <a:pt x="538" y="982"/>
                  </a:lnTo>
                  <a:lnTo>
                    <a:pt x="538" y="981"/>
                  </a:lnTo>
                  <a:lnTo>
                    <a:pt x="538" y="979"/>
                  </a:lnTo>
                  <a:lnTo>
                    <a:pt x="537" y="977"/>
                  </a:lnTo>
                  <a:lnTo>
                    <a:pt x="537" y="978"/>
                  </a:lnTo>
                  <a:lnTo>
                    <a:pt x="537" y="978"/>
                  </a:lnTo>
                  <a:lnTo>
                    <a:pt x="536" y="978"/>
                  </a:lnTo>
                  <a:lnTo>
                    <a:pt x="536" y="979"/>
                  </a:lnTo>
                  <a:lnTo>
                    <a:pt x="536" y="978"/>
                  </a:lnTo>
                  <a:lnTo>
                    <a:pt x="534" y="975"/>
                  </a:lnTo>
                  <a:lnTo>
                    <a:pt x="534" y="974"/>
                  </a:lnTo>
                  <a:lnTo>
                    <a:pt x="535" y="974"/>
                  </a:lnTo>
                  <a:lnTo>
                    <a:pt x="536" y="974"/>
                  </a:lnTo>
                  <a:lnTo>
                    <a:pt x="537" y="974"/>
                  </a:lnTo>
                  <a:lnTo>
                    <a:pt x="536" y="971"/>
                  </a:lnTo>
                  <a:lnTo>
                    <a:pt x="535" y="968"/>
                  </a:lnTo>
                  <a:lnTo>
                    <a:pt x="536" y="965"/>
                  </a:lnTo>
                  <a:lnTo>
                    <a:pt x="531" y="959"/>
                  </a:lnTo>
                  <a:lnTo>
                    <a:pt x="530" y="955"/>
                  </a:lnTo>
                  <a:lnTo>
                    <a:pt x="532" y="956"/>
                  </a:lnTo>
                  <a:lnTo>
                    <a:pt x="532" y="955"/>
                  </a:lnTo>
                  <a:lnTo>
                    <a:pt x="531" y="954"/>
                  </a:lnTo>
                  <a:lnTo>
                    <a:pt x="529" y="953"/>
                  </a:lnTo>
                  <a:lnTo>
                    <a:pt x="530" y="951"/>
                  </a:lnTo>
                  <a:lnTo>
                    <a:pt x="529" y="951"/>
                  </a:lnTo>
                  <a:lnTo>
                    <a:pt x="529" y="951"/>
                  </a:lnTo>
                  <a:lnTo>
                    <a:pt x="530" y="950"/>
                  </a:lnTo>
                  <a:lnTo>
                    <a:pt x="529" y="949"/>
                  </a:lnTo>
                  <a:lnTo>
                    <a:pt x="529" y="949"/>
                  </a:lnTo>
                  <a:lnTo>
                    <a:pt x="529" y="948"/>
                  </a:lnTo>
                  <a:lnTo>
                    <a:pt x="529" y="947"/>
                  </a:lnTo>
                  <a:lnTo>
                    <a:pt x="526" y="948"/>
                  </a:lnTo>
                  <a:lnTo>
                    <a:pt x="523" y="949"/>
                  </a:lnTo>
                  <a:lnTo>
                    <a:pt x="520" y="948"/>
                  </a:lnTo>
                  <a:lnTo>
                    <a:pt x="519" y="945"/>
                  </a:lnTo>
                  <a:lnTo>
                    <a:pt x="519" y="940"/>
                  </a:lnTo>
                  <a:lnTo>
                    <a:pt x="520" y="938"/>
                  </a:lnTo>
                  <a:lnTo>
                    <a:pt x="521" y="936"/>
                  </a:lnTo>
                  <a:lnTo>
                    <a:pt x="522" y="935"/>
                  </a:lnTo>
                  <a:lnTo>
                    <a:pt x="521" y="933"/>
                  </a:lnTo>
                  <a:lnTo>
                    <a:pt x="519" y="931"/>
                  </a:lnTo>
                  <a:lnTo>
                    <a:pt x="519" y="931"/>
                  </a:lnTo>
                  <a:lnTo>
                    <a:pt x="513" y="921"/>
                  </a:lnTo>
                  <a:lnTo>
                    <a:pt x="512" y="918"/>
                  </a:lnTo>
                  <a:lnTo>
                    <a:pt x="508" y="911"/>
                  </a:lnTo>
                  <a:lnTo>
                    <a:pt x="507" y="909"/>
                  </a:lnTo>
                  <a:lnTo>
                    <a:pt x="507" y="908"/>
                  </a:lnTo>
                  <a:lnTo>
                    <a:pt x="508" y="908"/>
                  </a:lnTo>
                  <a:lnTo>
                    <a:pt x="508" y="906"/>
                  </a:lnTo>
                  <a:lnTo>
                    <a:pt x="506" y="906"/>
                  </a:lnTo>
                  <a:lnTo>
                    <a:pt x="507" y="904"/>
                  </a:lnTo>
                  <a:lnTo>
                    <a:pt x="505" y="903"/>
                  </a:lnTo>
                  <a:lnTo>
                    <a:pt x="497" y="893"/>
                  </a:lnTo>
                  <a:lnTo>
                    <a:pt x="497" y="891"/>
                  </a:lnTo>
                  <a:lnTo>
                    <a:pt x="498" y="888"/>
                  </a:lnTo>
                  <a:lnTo>
                    <a:pt x="498" y="886"/>
                  </a:lnTo>
                  <a:lnTo>
                    <a:pt x="496" y="885"/>
                  </a:lnTo>
                  <a:lnTo>
                    <a:pt x="496" y="884"/>
                  </a:lnTo>
                  <a:lnTo>
                    <a:pt x="496" y="880"/>
                  </a:lnTo>
                  <a:lnTo>
                    <a:pt x="496" y="879"/>
                  </a:lnTo>
                  <a:lnTo>
                    <a:pt x="495" y="878"/>
                  </a:lnTo>
                  <a:lnTo>
                    <a:pt x="494" y="877"/>
                  </a:lnTo>
                  <a:lnTo>
                    <a:pt x="493" y="876"/>
                  </a:lnTo>
                  <a:lnTo>
                    <a:pt x="493" y="874"/>
                  </a:lnTo>
                  <a:lnTo>
                    <a:pt x="493" y="872"/>
                  </a:lnTo>
                  <a:lnTo>
                    <a:pt x="493" y="870"/>
                  </a:lnTo>
                  <a:lnTo>
                    <a:pt x="494" y="869"/>
                  </a:lnTo>
                  <a:lnTo>
                    <a:pt x="493" y="868"/>
                  </a:lnTo>
                  <a:lnTo>
                    <a:pt x="492" y="865"/>
                  </a:lnTo>
                  <a:lnTo>
                    <a:pt x="492" y="864"/>
                  </a:lnTo>
                  <a:lnTo>
                    <a:pt x="492" y="859"/>
                  </a:lnTo>
                  <a:lnTo>
                    <a:pt x="494" y="857"/>
                  </a:lnTo>
                  <a:lnTo>
                    <a:pt x="497" y="855"/>
                  </a:lnTo>
                  <a:lnTo>
                    <a:pt x="500" y="853"/>
                  </a:lnTo>
                  <a:lnTo>
                    <a:pt x="502" y="855"/>
                  </a:lnTo>
                  <a:lnTo>
                    <a:pt x="503" y="857"/>
                  </a:lnTo>
                  <a:lnTo>
                    <a:pt x="503" y="859"/>
                  </a:lnTo>
                  <a:lnTo>
                    <a:pt x="504" y="861"/>
                  </a:lnTo>
                  <a:lnTo>
                    <a:pt x="506" y="862"/>
                  </a:lnTo>
                  <a:lnTo>
                    <a:pt x="508" y="863"/>
                  </a:lnTo>
                  <a:lnTo>
                    <a:pt x="507" y="865"/>
                  </a:lnTo>
                  <a:lnTo>
                    <a:pt x="507" y="866"/>
                  </a:lnTo>
                  <a:lnTo>
                    <a:pt x="511" y="868"/>
                  </a:lnTo>
                  <a:lnTo>
                    <a:pt x="512" y="870"/>
                  </a:lnTo>
                  <a:lnTo>
                    <a:pt x="515" y="867"/>
                  </a:lnTo>
                  <a:lnTo>
                    <a:pt x="517" y="866"/>
                  </a:lnTo>
                  <a:lnTo>
                    <a:pt x="520" y="866"/>
                  </a:lnTo>
                  <a:lnTo>
                    <a:pt x="523" y="867"/>
                  </a:lnTo>
                  <a:lnTo>
                    <a:pt x="522" y="866"/>
                  </a:lnTo>
                  <a:lnTo>
                    <a:pt x="522" y="865"/>
                  </a:lnTo>
                  <a:lnTo>
                    <a:pt x="520" y="864"/>
                  </a:lnTo>
                  <a:lnTo>
                    <a:pt x="522" y="864"/>
                  </a:lnTo>
                  <a:lnTo>
                    <a:pt x="523" y="865"/>
                  </a:lnTo>
                  <a:lnTo>
                    <a:pt x="525" y="866"/>
                  </a:lnTo>
                  <a:lnTo>
                    <a:pt x="526" y="866"/>
                  </a:lnTo>
                  <a:lnTo>
                    <a:pt x="526" y="867"/>
                  </a:lnTo>
                  <a:lnTo>
                    <a:pt x="526" y="867"/>
                  </a:lnTo>
                  <a:lnTo>
                    <a:pt x="526" y="868"/>
                  </a:lnTo>
                  <a:lnTo>
                    <a:pt x="527" y="868"/>
                  </a:lnTo>
                  <a:lnTo>
                    <a:pt x="529" y="868"/>
                  </a:lnTo>
                  <a:lnTo>
                    <a:pt x="530" y="868"/>
                  </a:lnTo>
                  <a:lnTo>
                    <a:pt x="532" y="871"/>
                  </a:lnTo>
                  <a:lnTo>
                    <a:pt x="534" y="873"/>
                  </a:lnTo>
                  <a:lnTo>
                    <a:pt x="536" y="881"/>
                  </a:lnTo>
                  <a:lnTo>
                    <a:pt x="537" y="879"/>
                  </a:lnTo>
                  <a:lnTo>
                    <a:pt x="539" y="877"/>
                  </a:lnTo>
                  <a:lnTo>
                    <a:pt x="543" y="875"/>
                  </a:lnTo>
                  <a:lnTo>
                    <a:pt x="545" y="879"/>
                  </a:lnTo>
                  <a:lnTo>
                    <a:pt x="543" y="881"/>
                  </a:lnTo>
                  <a:lnTo>
                    <a:pt x="545" y="881"/>
                  </a:lnTo>
                  <a:lnTo>
                    <a:pt x="551" y="880"/>
                  </a:lnTo>
                  <a:lnTo>
                    <a:pt x="553" y="881"/>
                  </a:lnTo>
                  <a:lnTo>
                    <a:pt x="554" y="882"/>
                  </a:lnTo>
                  <a:lnTo>
                    <a:pt x="556" y="882"/>
                  </a:lnTo>
                  <a:lnTo>
                    <a:pt x="556" y="883"/>
                  </a:lnTo>
                  <a:lnTo>
                    <a:pt x="557" y="884"/>
                  </a:lnTo>
                  <a:lnTo>
                    <a:pt x="557" y="886"/>
                  </a:lnTo>
                  <a:lnTo>
                    <a:pt x="557" y="887"/>
                  </a:lnTo>
                  <a:lnTo>
                    <a:pt x="558" y="889"/>
                  </a:lnTo>
                  <a:lnTo>
                    <a:pt x="558" y="890"/>
                  </a:lnTo>
                  <a:lnTo>
                    <a:pt x="557" y="889"/>
                  </a:lnTo>
                  <a:lnTo>
                    <a:pt x="554" y="887"/>
                  </a:lnTo>
                  <a:lnTo>
                    <a:pt x="553" y="890"/>
                  </a:lnTo>
                  <a:lnTo>
                    <a:pt x="552" y="893"/>
                  </a:lnTo>
                  <a:lnTo>
                    <a:pt x="551" y="895"/>
                  </a:lnTo>
                  <a:lnTo>
                    <a:pt x="549" y="894"/>
                  </a:lnTo>
                  <a:lnTo>
                    <a:pt x="547" y="892"/>
                  </a:lnTo>
                  <a:lnTo>
                    <a:pt x="546" y="895"/>
                  </a:lnTo>
                  <a:lnTo>
                    <a:pt x="547" y="901"/>
                  </a:lnTo>
                  <a:lnTo>
                    <a:pt x="547" y="901"/>
                  </a:lnTo>
                  <a:lnTo>
                    <a:pt x="549" y="902"/>
                  </a:lnTo>
                  <a:lnTo>
                    <a:pt x="550" y="902"/>
                  </a:lnTo>
                  <a:lnTo>
                    <a:pt x="551" y="901"/>
                  </a:lnTo>
                  <a:lnTo>
                    <a:pt x="555" y="903"/>
                  </a:lnTo>
                  <a:lnTo>
                    <a:pt x="556" y="905"/>
                  </a:lnTo>
                  <a:lnTo>
                    <a:pt x="557" y="906"/>
                  </a:lnTo>
                  <a:lnTo>
                    <a:pt x="554" y="905"/>
                  </a:lnTo>
                  <a:lnTo>
                    <a:pt x="555" y="907"/>
                  </a:lnTo>
                  <a:lnTo>
                    <a:pt x="557" y="908"/>
                  </a:lnTo>
                  <a:lnTo>
                    <a:pt x="559" y="907"/>
                  </a:lnTo>
                  <a:lnTo>
                    <a:pt x="561" y="908"/>
                  </a:lnTo>
                  <a:lnTo>
                    <a:pt x="561" y="909"/>
                  </a:lnTo>
                  <a:lnTo>
                    <a:pt x="558" y="909"/>
                  </a:lnTo>
                  <a:lnTo>
                    <a:pt x="558" y="911"/>
                  </a:lnTo>
                  <a:lnTo>
                    <a:pt x="560" y="912"/>
                  </a:lnTo>
                  <a:lnTo>
                    <a:pt x="562" y="912"/>
                  </a:lnTo>
                  <a:lnTo>
                    <a:pt x="565" y="912"/>
                  </a:lnTo>
                  <a:lnTo>
                    <a:pt x="568" y="912"/>
                  </a:lnTo>
                  <a:lnTo>
                    <a:pt x="566" y="909"/>
                  </a:lnTo>
                  <a:lnTo>
                    <a:pt x="565" y="906"/>
                  </a:lnTo>
                  <a:lnTo>
                    <a:pt x="565" y="904"/>
                  </a:lnTo>
                  <a:lnTo>
                    <a:pt x="568" y="904"/>
                  </a:lnTo>
                  <a:lnTo>
                    <a:pt x="574" y="904"/>
                  </a:lnTo>
                  <a:lnTo>
                    <a:pt x="577" y="904"/>
                  </a:lnTo>
                  <a:lnTo>
                    <a:pt x="580" y="902"/>
                  </a:lnTo>
                  <a:lnTo>
                    <a:pt x="577" y="901"/>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03" name="Freeform 39">
              <a:extLst>
                <a:ext uri="{FF2B5EF4-FFF2-40B4-BE49-F238E27FC236}">
                  <a16:creationId xmlns:a16="http://schemas.microsoft.com/office/drawing/2014/main" id="{9E50D346-ED52-4D25-9F65-840F2F985D62}"/>
                </a:ext>
              </a:extLst>
            </p:cNvPr>
            <p:cNvSpPr>
              <a:spLocks noEditPoints="1"/>
            </p:cNvSpPr>
            <p:nvPr/>
          </p:nvSpPr>
          <p:spPr bwMode="gray">
            <a:xfrm>
              <a:off x="6694015" y="2699047"/>
              <a:ext cx="1529472" cy="2028076"/>
            </a:xfrm>
            <a:custGeom>
              <a:avLst/>
              <a:gdLst>
                <a:gd name="T0" fmla="*/ 1428 w 2454"/>
                <a:gd name="T1" fmla="*/ 2207 h 3254"/>
                <a:gd name="T2" fmla="*/ 1279 w 2454"/>
                <a:gd name="T3" fmla="*/ 1953 h 3254"/>
                <a:gd name="T4" fmla="*/ 1260 w 2454"/>
                <a:gd name="T5" fmla="*/ 1789 h 3254"/>
                <a:gd name="T6" fmla="*/ 958 w 2454"/>
                <a:gd name="T7" fmla="*/ 1820 h 3254"/>
                <a:gd name="T8" fmla="*/ 1038 w 2454"/>
                <a:gd name="T9" fmla="*/ 1954 h 3254"/>
                <a:gd name="T10" fmla="*/ 1241 w 2454"/>
                <a:gd name="T11" fmla="*/ 1963 h 3254"/>
                <a:gd name="T12" fmla="*/ 1212 w 2454"/>
                <a:gd name="T13" fmla="*/ 1563 h 3254"/>
                <a:gd name="T14" fmla="*/ 1193 w 2454"/>
                <a:gd name="T15" fmla="*/ 1440 h 3254"/>
                <a:gd name="T16" fmla="*/ 1067 w 2454"/>
                <a:gd name="T17" fmla="*/ 1324 h 3254"/>
                <a:gd name="T18" fmla="*/ 1244 w 2454"/>
                <a:gd name="T19" fmla="*/ 1370 h 3254"/>
                <a:gd name="T20" fmla="*/ 992 w 2454"/>
                <a:gd name="T21" fmla="*/ 1166 h 3254"/>
                <a:gd name="T22" fmla="*/ 996 w 2454"/>
                <a:gd name="T23" fmla="*/ 1122 h 3254"/>
                <a:gd name="T24" fmla="*/ 1225 w 2454"/>
                <a:gd name="T25" fmla="*/ 1031 h 3254"/>
                <a:gd name="T26" fmla="*/ 1195 w 2454"/>
                <a:gd name="T27" fmla="*/ 1008 h 3254"/>
                <a:gd name="T28" fmla="*/ 1135 w 2454"/>
                <a:gd name="T29" fmla="*/ 1065 h 3254"/>
                <a:gd name="T30" fmla="*/ 1233 w 2454"/>
                <a:gd name="T31" fmla="*/ 1168 h 3254"/>
                <a:gd name="T32" fmla="*/ 1080 w 2454"/>
                <a:gd name="T33" fmla="*/ 814 h 3254"/>
                <a:gd name="T34" fmla="*/ 1111 w 2454"/>
                <a:gd name="T35" fmla="*/ 911 h 3254"/>
                <a:gd name="T36" fmla="*/ 1195 w 2454"/>
                <a:gd name="T37" fmla="*/ 823 h 3254"/>
                <a:gd name="T38" fmla="*/ 1057 w 2454"/>
                <a:gd name="T39" fmla="*/ 814 h 3254"/>
                <a:gd name="T40" fmla="*/ 2150 w 2454"/>
                <a:gd name="T41" fmla="*/ 2128 h 3254"/>
                <a:gd name="T42" fmla="*/ 1986 w 2454"/>
                <a:gd name="T43" fmla="*/ 1842 h 3254"/>
                <a:gd name="T44" fmla="*/ 1783 w 2454"/>
                <a:gd name="T45" fmla="*/ 1474 h 3254"/>
                <a:gd name="T46" fmla="*/ 1673 w 2454"/>
                <a:gd name="T47" fmla="*/ 1363 h 3254"/>
                <a:gd name="T48" fmla="*/ 1788 w 2454"/>
                <a:gd name="T49" fmla="*/ 984 h 3254"/>
                <a:gd name="T50" fmla="*/ 1484 w 2454"/>
                <a:gd name="T51" fmla="*/ 993 h 3254"/>
                <a:gd name="T52" fmla="*/ 1678 w 2454"/>
                <a:gd name="T53" fmla="*/ 728 h 3254"/>
                <a:gd name="T54" fmla="*/ 1429 w 2454"/>
                <a:gd name="T55" fmla="*/ 719 h 3254"/>
                <a:gd name="T56" fmla="*/ 1327 w 2454"/>
                <a:gd name="T57" fmla="*/ 828 h 3254"/>
                <a:gd name="T58" fmla="*/ 1286 w 2454"/>
                <a:gd name="T59" fmla="*/ 938 h 3254"/>
                <a:gd name="T60" fmla="*/ 1281 w 2454"/>
                <a:gd name="T61" fmla="*/ 1063 h 3254"/>
                <a:gd name="T62" fmla="*/ 1265 w 2454"/>
                <a:gd name="T63" fmla="*/ 1178 h 3254"/>
                <a:gd name="T64" fmla="*/ 1269 w 2454"/>
                <a:gd name="T65" fmla="*/ 1323 h 3254"/>
                <a:gd name="T66" fmla="*/ 1303 w 2454"/>
                <a:gd name="T67" fmla="*/ 1352 h 3254"/>
                <a:gd name="T68" fmla="*/ 1282 w 2454"/>
                <a:gd name="T69" fmla="*/ 1547 h 3254"/>
                <a:gd name="T70" fmla="*/ 1325 w 2454"/>
                <a:gd name="T71" fmla="*/ 1454 h 3254"/>
                <a:gd name="T72" fmla="*/ 1402 w 2454"/>
                <a:gd name="T73" fmla="*/ 1473 h 3254"/>
                <a:gd name="T74" fmla="*/ 1354 w 2454"/>
                <a:gd name="T75" fmla="*/ 1745 h 3254"/>
                <a:gd name="T76" fmla="*/ 1530 w 2454"/>
                <a:gd name="T77" fmla="*/ 1810 h 3254"/>
                <a:gd name="T78" fmla="*/ 1634 w 2454"/>
                <a:gd name="T79" fmla="*/ 1951 h 3254"/>
                <a:gd name="T80" fmla="*/ 1728 w 2454"/>
                <a:gd name="T81" fmla="*/ 2204 h 3254"/>
                <a:gd name="T82" fmla="*/ 1435 w 2454"/>
                <a:gd name="T83" fmla="*/ 2341 h 3254"/>
                <a:gd name="T84" fmla="*/ 1404 w 2454"/>
                <a:gd name="T85" fmla="*/ 2545 h 3254"/>
                <a:gd name="T86" fmla="*/ 1420 w 2454"/>
                <a:gd name="T87" fmla="*/ 2637 h 3254"/>
                <a:gd name="T88" fmla="*/ 1567 w 2454"/>
                <a:gd name="T89" fmla="*/ 2652 h 3254"/>
                <a:gd name="T90" fmla="*/ 1693 w 2454"/>
                <a:gd name="T91" fmla="*/ 2749 h 3254"/>
                <a:gd name="T92" fmla="*/ 1315 w 2454"/>
                <a:gd name="T93" fmla="*/ 2998 h 3254"/>
                <a:gd name="T94" fmla="*/ 1429 w 2454"/>
                <a:gd name="T95" fmla="*/ 2967 h 3254"/>
                <a:gd name="T96" fmla="*/ 1624 w 2454"/>
                <a:gd name="T97" fmla="*/ 2889 h 3254"/>
                <a:gd name="T98" fmla="*/ 1964 w 2454"/>
                <a:gd name="T99" fmla="*/ 2853 h 3254"/>
                <a:gd name="T100" fmla="*/ 2378 w 2454"/>
                <a:gd name="T101" fmla="*/ 2773 h 3254"/>
                <a:gd name="T102" fmla="*/ 2312 w 2454"/>
                <a:gd name="T103" fmla="*/ 2612 h 3254"/>
                <a:gd name="T104" fmla="*/ 1637 w 2454"/>
                <a:gd name="T105" fmla="*/ 623 h 3254"/>
                <a:gd name="T106" fmla="*/ 1723 w 2454"/>
                <a:gd name="T107" fmla="*/ 588 h 3254"/>
                <a:gd name="T108" fmla="*/ 1689 w 2454"/>
                <a:gd name="T109" fmla="*/ 524 h 3254"/>
                <a:gd name="T110" fmla="*/ 1701 w 2454"/>
                <a:gd name="T111" fmla="*/ 498 h 3254"/>
                <a:gd name="T112" fmla="*/ 2000 w 2454"/>
                <a:gd name="T113" fmla="*/ 213 h 3254"/>
                <a:gd name="T114" fmla="*/ 1967 w 2454"/>
                <a:gd name="T115" fmla="*/ 204 h 3254"/>
                <a:gd name="T116" fmla="*/ 1990 w 2454"/>
                <a:gd name="T117" fmla="*/ 193 h 3254"/>
                <a:gd name="T118" fmla="*/ 1961 w 2454"/>
                <a:gd name="T119" fmla="*/ 102 h 3254"/>
                <a:gd name="T120" fmla="*/ 1930 w 2454"/>
                <a:gd name="T121" fmla="*/ 172 h 3254"/>
                <a:gd name="T122" fmla="*/ 2045 w 2454"/>
                <a:gd name="T123" fmla="*/ 29 h 3254"/>
                <a:gd name="T124" fmla="*/ 1441 w 2454"/>
                <a:gd name="T125" fmla="*/ 2007 h 3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54" h="3254">
                  <a:moveTo>
                    <a:pt x="1173" y="3068"/>
                  </a:moveTo>
                  <a:lnTo>
                    <a:pt x="1172" y="3070"/>
                  </a:lnTo>
                  <a:lnTo>
                    <a:pt x="1171" y="3073"/>
                  </a:lnTo>
                  <a:lnTo>
                    <a:pt x="1173" y="3074"/>
                  </a:lnTo>
                  <a:lnTo>
                    <a:pt x="1175" y="3073"/>
                  </a:lnTo>
                  <a:lnTo>
                    <a:pt x="1175" y="3071"/>
                  </a:lnTo>
                  <a:lnTo>
                    <a:pt x="1174" y="3069"/>
                  </a:lnTo>
                  <a:lnTo>
                    <a:pt x="1173" y="3068"/>
                  </a:lnTo>
                  <a:close/>
                  <a:moveTo>
                    <a:pt x="1167" y="3062"/>
                  </a:moveTo>
                  <a:lnTo>
                    <a:pt x="1167" y="3061"/>
                  </a:lnTo>
                  <a:lnTo>
                    <a:pt x="1166" y="3061"/>
                  </a:lnTo>
                  <a:lnTo>
                    <a:pt x="1165" y="3061"/>
                  </a:lnTo>
                  <a:lnTo>
                    <a:pt x="1165" y="3062"/>
                  </a:lnTo>
                  <a:lnTo>
                    <a:pt x="1166" y="3066"/>
                  </a:lnTo>
                  <a:lnTo>
                    <a:pt x="1168" y="3066"/>
                  </a:lnTo>
                  <a:lnTo>
                    <a:pt x="1168" y="3064"/>
                  </a:lnTo>
                  <a:lnTo>
                    <a:pt x="1168" y="3062"/>
                  </a:lnTo>
                  <a:lnTo>
                    <a:pt x="1167" y="3062"/>
                  </a:lnTo>
                  <a:close/>
                  <a:moveTo>
                    <a:pt x="2000" y="2875"/>
                  </a:moveTo>
                  <a:lnTo>
                    <a:pt x="1999" y="2875"/>
                  </a:lnTo>
                  <a:lnTo>
                    <a:pt x="1998" y="2875"/>
                  </a:lnTo>
                  <a:lnTo>
                    <a:pt x="1998" y="2874"/>
                  </a:lnTo>
                  <a:lnTo>
                    <a:pt x="1999" y="2872"/>
                  </a:lnTo>
                  <a:lnTo>
                    <a:pt x="1998" y="2871"/>
                  </a:lnTo>
                  <a:lnTo>
                    <a:pt x="1997" y="2870"/>
                  </a:lnTo>
                  <a:lnTo>
                    <a:pt x="1995" y="2870"/>
                  </a:lnTo>
                  <a:lnTo>
                    <a:pt x="1991" y="2870"/>
                  </a:lnTo>
                  <a:lnTo>
                    <a:pt x="1967" y="2860"/>
                  </a:lnTo>
                  <a:lnTo>
                    <a:pt x="1964" y="2860"/>
                  </a:lnTo>
                  <a:lnTo>
                    <a:pt x="1959" y="2863"/>
                  </a:lnTo>
                  <a:lnTo>
                    <a:pt x="1954" y="2870"/>
                  </a:lnTo>
                  <a:lnTo>
                    <a:pt x="1950" y="2873"/>
                  </a:lnTo>
                  <a:lnTo>
                    <a:pt x="1946" y="2873"/>
                  </a:lnTo>
                  <a:lnTo>
                    <a:pt x="1947" y="2872"/>
                  </a:lnTo>
                  <a:lnTo>
                    <a:pt x="1947" y="2871"/>
                  </a:lnTo>
                  <a:lnTo>
                    <a:pt x="1948" y="2870"/>
                  </a:lnTo>
                  <a:lnTo>
                    <a:pt x="1934" y="2876"/>
                  </a:lnTo>
                  <a:lnTo>
                    <a:pt x="1927" y="2882"/>
                  </a:lnTo>
                  <a:lnTo>
                    <a:pt x="1924" y="2889"/>
                  </a:lnTo>
                  <a:lnTo>
                    <a:pt x="1926" y="2887"/>
                  </a:lnTo>
                  <a:lnTo>
                    <a:pt x="1929" y="2886"/>
                  </a:lnTo>
                  <a:lnTo>
                    <a:pt x="1935" y="2885"/>
                  </a:lnTo>
                  <a:lnTo>
                    <a:pt x="1937" y="2886"/>
                  </a:lnTo>
                  <a:lnTo>
                    <a:pt x="1942" y="2890"/>
                  </a:lnTo>
                  <a:lnTo>
                    <a:pt x="1943" y="2891"/>
                  </a:lnTo>
                  <a:lnTo>
                    <a:pt x="1964" y="2906"/>
                  </a:lnTo>
                  <a:lnTo>
                    <a:pt x="1970" y="2907"/>
                  </a:lnTo>
                  <a:lnTo>
                    <a:pt x="1987" y="2902"/>
                  </a:lnTo>
                  <a:lnTo>
                    <a:pt x="1988" y="2901"/>
                  </a:lnTo>
                  <a:lnTo>
                    <a:pt x="1988" y="2898"/>
                  </a:lnTo>
                  <a:lnTo>
                    <a:pt x="1988" y="2893"/>
                  </a:lnTo>
                  <a:lnTo>
                    <a:pt x="1988" y="2892"/>
                  </a:lnTo>
                  <a:lnTo>
                    <a:pt x="1989" y="2890"/>
                  </a:lnTo>
                  <a:lnTo>
                    <a:pt x="1993" y="2886"/>
                  </a:lnTo>
                  <a:lnTo>
                    <a:pt x="1996" y="2885"/>
                  </a:lnTo>
                  <a:lnTo>
                    <a:pt x="2002" y="2884"/>
                  </a:lnTo>
                  <a:lnTo>
                    <a:pt x="2003" y="2883"/>
                  </a:lnTo>
                  <a:lnTo>
                    <a:pt x="2003" y="2882"/>
                  </a:lnTo>
                  <a:lnTo>
                    <a:pt x="2003" y="2882"/>
                  </a:lnTo>
                  <a:lnTo>
                    <a:pt x="2004" y="2882"/>
                  </a:lnTo>
                  <a:lnTo>
                    <a:pt x="2004" y="2880"/>
                  </a:lnTo>
                  <a:lnTo>
                    <a:pt x="2001" y="2875"/>
                  </a:lnTo>
                  <a:lnTo>
                    <a:pt x="2000" y="2875"/>
                  </a:lnTo>
                  <a:close/>
                  <a:moveTo>
                    <a:pt x="2021" y="2853"/>
                  </a:moveTo>
                  <a:lnTo>
                    <a:pt x="2020" y="2853"/>
                  </a:lnTo>
                  <a:lnTo>
                    <a:pt x="2020" y="2851"/>
                  </a:lnTo>
                  <a:lnTo>
                    <a:pt x="2022" y="2850"/>
                  </a:lnTo>
                  <a:lnTo>
                    <a:pt x="2022" y="2849"/>
                  </a:lnTo>
                  <a:lnTo>
                    <a:pt x="2022" y="2847"/>
                  </a:lnTo>
                  <a:lnTo>
                    <a:pt x="2020" y="2846"/>
                  </a:lnTo>
                  <a:lnTo>
                    <a:pt x="2018" y="2846"/>
                  </a:lnTo>
                  <a:lnTo>
                    <a:pt x="2014" y="2853"/>
                  </a:lnTo>
                  <a:lnTo>
                    <a:pt x="2011" y="2854"/>
                  </a:lnTo>
                  <a:lnTo>
                    <a:pt x="2011" y="2856"/>
                  </a:lnTo>
                  <a:lnTo>
                    <a:pt x="2024" y="2858"/>
                  </a:lnTo>
                  <a:lnTo>
                    <a:pt x="2024" y="2856"/>
                  </a:lnTo>
                  <a:lnTo>
                    <a:pt x="2023" y="2855"/>
                  </a:lnTo>
                  <a:lnTo>
                    <a:pt x="2021" y="2853"/>
                  </a:lnTo>
                  <a:close/>
                  <a:moveTo>
                    <a:pt x="1432" y="2761"/>
                  </a:moveTo>
                  <a:lnTo>
                    <a:pt x="1432" y="2758"/>
                  </a:lnTo>
                  <a:lnTo>
                    <a:pt x="1432" y="2757"/>
                  </a:lnTo>
                  <a:lnTo>
                    <a:pt x="1432" y="2756"/>
                  </a:lnTo>
                  <a:lnTo>
                    <a:pt x="1431" y="2754"/>
                  </a:lnTo>
                  <a:lnTo>
                    <a:pt x="1430" y="2754"/>
                  </a:lnTo>
                  <a:lnTo>
                    <a:pt x="1430" y="2758"/>
                  </a:lnTo>
                  <a:lnTo>
                    <a:pt x="1430" y="2761"/>
                  </a:lnTo>
                  <a:lnTo>
                    <a:pt x="1431" y="2763"/>
                  </a:lnTo>
                  <a:lnTo>
                    <a:pt x="1432" y="2761"/>
                  </a:lnTo>
                  <a:close/>
                  <a:moveTo>
                    <a:pt x="2316" y="2697"/>
                  </a:moveTo>
                  <a:lnTo>
                    <a:pt x="2314" y="2696"/>
                  </a:lnTo>
                  <a:lnTo>
                    <a:pt x="2294" y="2690"/>
                  </a:lnTo>
                  <a:lnTo>
                    <a:pt x="2292" y="2690"/>
                  </a:lnTo>
                  <a:lnTo>
                    <a:pt x="2291" y="2692"/>
                  </a:lnTo>
                  <a:lnTo>
                    <a:pt x="2289" y="2699"/>
                  </a:lnTo>
                  <a:lnTo>
                    <a:pt x="2291" y="2702"/>
                  </a:lnTo>
                  <a:lnTo>
                    <a:pt x="2293" y="2705"/>
                  </a:lnTo>
                  <a:lnTo>
                    <a:pt x="2296" y="2708"/>
                  </a:lnTo>
                  <a:lnTo>
                    <a:pt x="2299" y="2709"/>
                  </a:lnTo>
                  <a:lnTo>
                    <a:pt x="2317" y="2711"/>
                  </a:lnTo>
                  <a:lnTo>
                    <a:pt x="2321" y="2709"/>
                  </a:lnTo>
                  <a:lnTo>
                    <a:pt x="2322" y="2706"/>
                  </a:lnTo>
                  <a:lnTo>
                    <a:pt x="2321" y="2702"/>
                  </a:lnTo>
                  <a:lnTo>
                    <a:pt x="2317" y="2699"/>
                  </a:lnTo>
                  <a:lnTo>
                    <a:pt x="2316" y="2697"/>
                  </a:lnTo>
                  <a:close/>
                  <a:moveTo>
                    <a:pt x="1446" y="2217"/>
                  </a:moveTo>
                  <a:lnTo>
                    <a:pt x="1446" y="2213"/>
                  </a:lnTo>
                  <a:lnTo>
                    <a:pt x="1444" y="2210"/>
                  </a:lnTo>
                  <a:lnTo>
                    <a:pt x="1442" y="2207"/>
                  </a:lnTo>
                  <a:lnTo>
                    <a:pt x="1440" y="2205"/>
                  </a:lnTo>
                  <a:lnTo>
                    <a:pt x="1438" y="2204"/>
                  </a:lnTo>
                  <a:lnTo>
                    <a:pt x="1436" y="2204"/>
                  </a:lnTo>
                  <a:lnTo>
                    <a:pt x="1434" y="2204"/>
                  </a:lnTo>
                  <a:lnTo>
                    <a:pt x="1432" y="2203"/>
                  </a:lnTo>
                  <a:lnTo>
                    <a:pt x="1428" y="2207"/>
                  </a:lnTo>
                  <a:lnTo>
                    <a:pt x="1428" y="2209"/>
                  </a:lnTo>
                  <a:lnTo>
                    <a:pt x="1430" y="2213"/>
                  </a:lnTo>
                  <a:lnTo>
                    <a:pt x="1431" y="2214"/>
                  </a:lnTo>
                  <a:lnTo>
                    <a:pt x="1436" y="2213"/>
                  </a:lnTo>
                  <a:lnTo>
                    <a:pt x="1437" y="2214"/>
                  </a:lnTo>
                  <a:lnTo>
                    <a:pt x="1439" y="2216"/>
                  </a:lnTo>
                  <a:lnTo>
                    <a:pt x="1442" y="2222"/>
                  </a:lnTo>
                  <a:lnTo>
                    <a:pt x="1446" y="2225"/>
                  </a:lnTo>
                  <a:lnTo>
                    <a:pt x="1447" y="2225"/>
                  </a:lnTo>
                  <a:lnTo>
                    <a:pt x="1448" y="2225"/>
                  </a:lnTo>
                  <a:lnTo>
                    <a:pt x="1449" y="2222"/>
                  </a:lnTo>
                  <a:lnTo>
                    <a:pt x="1448" y="2220"/>
                  </a:lnTo>
                  <a:lnTo>
                    <a:pt x="1447" y="2218"/>
                  </a:lnTo>
                  <a:lnTo>
                    <a:pt x="1446" y="2217"/>
                  </a:lnTo>
                  <a:close/>
                  <a:moveTo>
                    <a:pt x="1495" y="2189"/>
                  </a:moveTo>
                  <a:lnTo>
                    <a:pt x="1495" y="2186"/>
                  </a:lnTo>
                  <a:lnTo>
                    <a:pt x="1494" y="2182"/>
                  </a:lnTo>
                  <a:lnTo>
                    <a:pt x="1492" y="2181"/>
                  </a:lnTo>
                  <a:lnTo>
                    <a:pt x="1486" y="2177"/>
                  </a:lnTo>
                  <a:lnTo>
                    <a:pt x="1483" y="2177"/>
                  </a:lnTo>
                  <a:lnTo>
                    <a:pt x="1472" y="2176"/>
                  </a:lnTo>
                  <a:lnTo>
                    <a:pt x="1470" y="2176"/>
                  </a:lnTo>
                  <a:lnTo>
                    <a:pt x="1450" y="2182"/>
                  </a:lnTo>
                  <a:lnTo>
                    <a:pt x="1447" y="2185"/>
                  </a:lnTo>
                  <a:lnTo>
                    <a:pt x="1449" y="2189"/>
                  </a:lnTo>
                  <a:lnTo>
                    <a:pt x="1449" y="2192"/>
                  </a:lnTo>
                  <a:lnTo>
                    <a:pt x="1448" y="2201"/>
                  </a:lnTo>
                  <a:lnTo>
                    <a:pt x="1448" y="2207"/>
                  </a:lnTo>
                  <a:lnTo>
                    <a:pt x="1448" y="2211"/>
                  </a:lnTo>
                  <a:lnTo>
                    <a:pt x="1447" y="2214"/>
                  </a:lnTo>
                  <a:lnTo>
                    <a:pt x="1447" y="2216"/>
                  </a:lnTo>
                  <a:lnTo>
                    <a:pt x="1450" y="2219"/>
                  </a:lnTo>
                  <a:lnTo>
                    <a:pt x="1455" y="2230"/>
                  </a:lnTo>
                  <a:lnTo>
                    <a:pt x="1458" y="2233"/>
                  </a:lnTo>
                  <a:lnTo>
                    <a:pt x="1459" y="2235"/>
                  </a:lnTo>
                  <a:lnTo>
                    <a:pt x="1459" y="2237"/>
                  </a:lnTo>
                  <a:lnTo>
                    <a:pt x="1459" y="2237"/>
                  </a:lnTo>
                  <a:lnTo>
                    <a:pt x="1459" y="2238"/>
                  </a:lnTo>
                  <a:lnTo>
                    <a:pt x="1459" y="2240"/>
                  </a:lnTo>
                  <a:lnTo>
                    <a:pt x="1459" y="2241"/>
                  </a:lnTo>
                  <a:lnTo>
                    <a:pt x="1460" y="2241"/>
                  </a:lnTo>
                  <a:lnTo>
                    <a:pt x="1461" y="2241"/>
                  </a:lnTo>
                  <a:lnTo>
                    <a:pt x="1461" y="2241"/>
                  </a:lnTo>
                  <a:lnTo>
                    <a:pt x="1466" y="2245"/>
                  </a:lnTo>
                  <a:lnTo>
                    <a:pt x="1467" y="2246"/>
                  </a:lnTo>
                  <a:lnTo>
                    <a:pt x="1469" y="2245"/>
                  </a:lnTo>
                  <a:lnTo>
                    <a:pt x="1473" y="2240"/>
                  </a:lnTo>
                  <a:lnTo>
                    <a:pt x="1475" y="2239"/>
                  </a:lnTo>
                  <a:lnTo>
                    <a:pt x="1477" y="2240"/>
                  </a:lnTo>
                  <a:lnTo>
                    <a:pt x="1476" y="2243"/>
                  </a:lnTo>
                  <a:lnTo>
                    <a:pt x="1474" y="2245"/>
                  </a:lnTo>
                  <a:lnTo>
                    <a:pt x="1473" y="2246"/>
                  </a:lnTo>
                  <a:lnTo>
                    <a:pt x="1472" y="2247"/>
                  </a:lnTo>
                  <a:lnTo>
                    <a:pt x="1472" y="2250"/>
                  </a:lnTo>
                  <a:lnTo>
                    <a:pt x="1472" y="2252"/>
                  </a:lnTo>
                  <a:lnTo>
                    <a:pt x="1472" y="2254"/>
                  </a:lnTo>
                  <a:lnTo>
                    <a:pt x="1473" y="2254"/>
                  </a:lnTo>
                  <a:lnTo>
                    <a:pt x="1475" y="2254"/>
                  </a:lnTo>
                  <a:lnTo>
                    <a:pt x="1475" y="2253"/>
                  </a:lnTo>
                  <a:lnTo>
                    <a:pt x="1475" y="2252"/>
                  </a:lnTo>
                  <a:lnTo>
                    <a:pt x="1480" y="2254"/>
                  </a:lnTo>
                  <a:lnTo>
                    <a:pt x="1481" y="2254"/>
                  </a:lnTo>
                  <a:lnTo>
                    <a:pt x="1483" y="2254"/>
                  </a:lnTo>
                  <a:lnTo>
                    <a:pt x="1493" y="2248"/>
                  </a:lnTo>
                  <a:lnTo>
                    <a:pt x="1496" y="2245"/>
                  </a:lnTo>
                  <a:lnTo>
                    <a:pt x="1501" y="2240"/>
                  </a:lnTo>
                  <a:lnTo>
                    <a:pt x="1502" y="2241"/>
                  </a:lnTo>
                  <a:lnTo>
                    <a:pt x="1503" y="2240"/>
                  </a:lnTo>
                  <a:lnTo>
                    <a:pt x="1503" y="2238"/>
                  </a:lnTo>
                  <a:lnTo>
                    <a:pt x="1503" y="2236"/>
                  </a:lnTo>
                  <a:lnTo>
                    <a:pt x="1503" y="2235"/>
                  </a:lnTo>
                  <a:lnTo>
                    <a:pt x="1503" y="2235"/>
                  </a:lnTo>
                  <a:lnTo>
                    <a:pt x="1504" y="2234"/>
                  </a:lnTo>
                  <a:lnTo>
                    <a:pt x="1507" y="2230"/>
                  </a:lnTo>
                  <a:lnTo>
                    <a:pt x="1510" y="2227"/>
                  </a:lnTo>
                  <a:lnTo>
                    <a:pt x="1514" y="2225"/>
                  </a:lnTo>
                  <a:lnTo>
                    <a:pt x="1518" y="2225"/>
                  </a:lnTo>
                  <a:lnTo>
                    <a:pt x="1522" y="2222"/>
                  </a:lnTo>
                  <a:lnTo>
                    <a:pt x="1528" y="2212"/>
                  </a:lnTo>
                  <a:lnTo>
                    <a:pt x="1531" y="2209"/>
                  </a:lnTo>
                  <a:lnTo>
                    <a:pt x="1529" y="2207"/>
                  </a:lnTo>
                  <a:lnTo>
                    <a:pt x="1527" y="2206"/>
                  </a:lnTo>
                  <a:lnTo>
                    <a:pt x="1522" y="2207"/>
                  </a:lnTo>
                  <a:lnTo>
                    <a:pt x="1521" y="2206"/>
                  </a:lnTo>
                  <a:lnTo>
                    <a:pt x="1519" y="2205"/>
                  </a:lnTo>
                  <a:lnTo>
                    <a:pt x="1518" y="2205"/>
                  </a:lnTo>
                  <a:lnTo>
                    <a:pt x="1518" y="2205"/>
                  </a:lnTo>
                  <a:lnTo>
                    <a:pt x="1516" y="2208"/>
                  </a:lnTo>
                  <a:lnTo>
                    <a:pt x="1515" y="2209"/>
                  </a:lnTo>
                  <a:lnTo>
                    <a:pt x="1513" y="2209"/>
                  </a:lnTo>
                  <a:lnTo>
                    <a:pt x="1509" y="2210"/>
                  </a:lnTo>
                  <a:lnTo>
                    <a:pt x="1508" y="2210"/>
                  </a:lnTo>
                  <a:lnTo>
                    <a:pt x="1505" y="2210"/>
                  </a:lnTo>
                  <a:lnTo>
                    <a:pt x="1505" y="2208"/>
                  </a:lnTo>
                  <a:lnTo>
                    <a:pt x="1505" y="2206"/>
                  </a:lnTo>
                  <a:lnTo>
                    <a:pt x="1504" y="2203"/>
                  </a:lnTo>
                  <a:lnTo>
                    <a:pt x="1501" y="2200"/>
                  </a:lnTo>
                  <a:lnTo>
                    <a:pt x="1501" y="2199"/>
                  </a:lnTo>
                  <a:lnTo>
                    <a:pt x="1500" y="2199"/>
                  </a:lnTo>
                  <a:lnTo>
                    <a:pt x="1500" y="2197"/>
                  </a:lnTo>
                  <a:lnTo>
                    <a:pt x="1501" y="2195"/>
                  </a:lnTo>
                  <a:lnTo>
                    <a:pt x="1500" y="2194"/>
                  </a:lnTo>
                  <a:lnTo>
                    <a:pt x="1500" y="2194"/>
                  </a:lnTo>
                  <a:lnTo>
                    <a:pt x="1497" y="2192"/>
                  </a:lnTo>
                  <a:lnTo>
                    <a:pt x="1495" y="2191"/>
                  </a:lnTo>
                  <a:lnTo>
                    <a:pt x="1495" y="2190"/>
                  </a:lnTo>
                  <a:lnTo>
                    <a:pt x="1495" y="2189"/>
                  </a:lnTo>
                  <a:close/>
                  <a:moveTo>
                    <a:pt x="1273" y="1958"/>
                  </a:moveTo>
                  <a:lnTo>
                    <a:pt x="1274" y="1960"/>
                  </a:lnTo>
                  <a:lnTo>
                    <a:pt x="1275" y="1960"/>
                  </a:lnTo>
                  <a:lnTo>
                    <a:pt x="1276" y="1960"/>
                  </a:lnTo>
                  <a:lnTo>
                    <a:pt x="1277" y="1959"/>
                  </a:lnTo>
                  <a:lnTo>
                    <a:pt x="1279" y="1953"/>
                  </a:lnTo>
                  <a:lnTo>
                    <a:pt x="1279" y="1953"/>
                  </a:lnTo>
                  <a:lnTo>
                    <a:pt x="1281" y="1953"/>
                  </a:lnTo>
                  <a:lnTo>
                    <a:pt x="1282" y="1953"/>
                  </a:lnTo>
                  <a:lnTo>
                    <a:pt x="1287" y="1948"/>
                  </a:lnTo>
                  <a:lnTo>
                    <a:pt x="1291" y="1942"/>
                  </a:lnTo>
                  <a:lnTo>
                    <a:pt x="1293" y="1934"/>
                  </a:lnTo>
                  <a:lnTo>
                    <a:pt x="1292" y="1923"/>
                  </a:lnTo>
                  <a:lnTo>
                    <a:pt x="1287" y="1918"/>
                  </a:lnTo>
                  <a:lnTo>
                    <a:pt x="1280" y="1920"/>
                  </a:lnTo>
                  <a:lnTo>
                    <a:pt x="1273" y="1925"/>
                  </a:lnTo>
                  <a:lnTo>
                    <a:pt x="1266" y="1927"/>
                  </a:lnTo>
                  <a:lnTo>
                    <a:pt x="1268" y="1924"/>
                  </a:lnTo>
                  <a:lnTo>
                    <a:pt x="1274" y="1919"/>
                  </a:lnTo>
                  <a:lnTo>
                    <a:pt x="1275" y="1917"/>
                  </a:lnTo>
                  <a:lnTo>
                    <a:pt x="1280" y="1903"/>
                  </a:lnTo>
                  <a:lnTo>
                    <a:pt x="1279" y="1901"/>
                  </a:lnTo>
                  <a:lnTo>
                    <a:pt x="1279" y="1899"/>
                  </a:lnTo>
                  <a:lnTo>
                    <a:pt x="1280" y="1898"/>
                  </a:lnTo>
                  <a:lnTo>
                    <a:pt x="1280" y="1897"/>
                  </a:lnTo>
                  <a:lnTo>
                    <a:pt x="1278" y="1897"/>
                  </a:lnTo>
                  <a:lnTo>
                    <a:pt x="1277" y="1894"/>
                  </a:lnTo>
                  <a:lnTo>
                    <a:pt x="1277" y="1891"/>
                  </a:lnTo>
                  <a:lnTo>
                    <a:pt x="1277" y="1888"/>
                  </a:lnTo>
                  <a:lnTo>
                    <a:pt x="1273" y="1885"/>
                  </a:lnTo>
                  <a:lnTo>
                    <a:pt x="1274" y="1884"/>
                  </a:lnTo>
                  <a:lnTo>
                    <a:pt x="1277" y="1883"/>
                  </a:lnTo>
                  <a:lnTo>
                    <a:pt x="1280" y="1882"/>
                  </a:lnTo>
                  <a:lnTo>
                    <a:pt x="1278" y="1881"/>
                  </a:lnTo>
                  <a:lnTo>
                    <a:pt x="1272" y="1880"/>
                  </a:lnTo>
                  <a:lnTo>
                    <a:pt x="1271" y="1879"/>
                  </a:lnTo>
                  <a:lnTo>
                    <a:pt x="1270" y="1878"/>
                  </a:lnTo>
                  <a:lnTo>
                    <a:pt x="1268" y="1877"/>
                  </a:lnTo>
                  <a:lnTo>
                    <a:pt x="1266" y="1877"/>
                  </a:lnTo>
                  <a:lnTo>
                    <a:pt x="1267" y="1875"/>
                  </a:lnTo>
                  <a:lnTo>
                    <a:pt x="1268" y="1873"/>
                  </a:lnTo>
                  <a:lnTo>
                    <a:pt x="1269" y="1870"/>
                  </a:lnTo>
                  <a:lnTo>
                    <a:pt x="1268" y="1867"/>
                  </a:lnTo>
                  <a:lnTo>
                    <a:pt x="1268" y="1865"/>
                  </a:lnTo>
                  <a:lnTo>
                    <a:pt x="1272" y="1866"/>
                  </a:lnTo>
                  <a:lnTo>
                    <a:pt x="1277" y="1868"/>
                  </a:lnTo>
                  <a:lnTo>
                    <a:pt x="1288" y="1879"/>
                  </a:lnTo>
                  <a:lnTo>
                    <a:pt x="1291" y="1883"/>
                  </a:lnTo>
                  <a:lnTo>
                    <a:pt x="1292" y="1890"/>
                  </a:lnTo>
                  <a:lnTo>
                    <a:pt x="1293" y="1898"/>
                  </a:lnTo>
                  <a:lnTo>
                    <a:pt x="1292" y="1902"/>
                  </a:lnTo>
                  <a:lnTo>
                    <a:pt x="1288" y="1907"/>
                  </a:lnTo>
                  <a:lnTo>
                    <a:pt x="1287" y="1910"/>
                  </a:lnTo>
                  <a:lnTo>
                    <a:pt x="1288" y="1913"/>
                  </a:lnTo>
                  <a:lnTo>
                    <a:pt x="1289" y="1916"/>
                  </a:lnTo>
                  <a:lnTo>
                    <a:pt x="1290" y="1919"/>
                  </a:lnTo>
                  <a:lnTo>
                    <a:pt x="1292" y="1920"/>
                  </a:lnTo>
                  <a:lnTo>
                    <a:pt x="1294" y="1925"/>
                  </a:lnTo>
                  <a:lnTo>
                    <a:pt x="1295" y="1929"/>
                  </a:lnTo>
                  <a:lnTo>
                    <a:pt x="1297" y="1931"/>
                  </a:lnTo>
                  <a:lnTo>
                    <a:pt x="1299" y="1930"/>
                  </a:lnTo>
                  <a:lnTo>
                    <a:pt x="1301" y="1927"/>
                  </a:lnTo>
                  <a:lnTo>
                    <a:pt x="1304" y="1925"/>
                  </a:lnTo>
                  <a:lnTo>
                    <a:pt x="1301" y="1922"/>
                  </a:lnTo>
                  <a:lnTo>
                    <a:pt x="1302" y="1920"/>
                  </a:lnTo>
                  <a:lnTo>
                    <a:pt x="1304" y="1918"/>
                  </a:lnTo>
                  <a:lnTo>
                    <a:pt x="1306" y="1916"/>
                  </a:lnTo>
                  <a:lnTo>
                    <a:pt x="1306" y="1912"/>
                  </a:lnTo>
                  <a:lnTo>
                    <a:pt x="1305" y="1907"/>
                  </a:lnTo>
                  <a:lnTo>
                    <a:pt x="1306" y="1904"/>
                  </a:lnTo>
                  <a:lnTo>
                    <a:pt x="1310" y="1899"/>
                  </a:lnTo>
                  <a:lnTo>
                    <a:pt x="1310" y="1897"/>
                  </a:lnTo>
                  <a:lnTo>
                    <a:pt x="1310" y="1896"/>
                  </a:lnTo>
                  <a:lnTo>
                    <a:pt x="1310" y="1895"/>
                  </a:lnTo>
                  <a:lnTo>
                    <a:pt x="1310" y="1893"/>
                  </a:lnTo>
                  <a:lnTo>
                    <a:pt x="1311" y="1891"/>
                  </a:lnTo>
                  <a:lnTo>
                    <a:pt x="1310" y="1890"/>
                  </a:lnTo>
                  <a:lnTo>
                    <a:pt x="1305" y="1882"/>
                  </a:lnTo>
                  <a:lnTo>
                    <a:pt x="1304" y="1878"/>
                  </a:lnTo>
                  <a:lnTo>
                    <a:pt x="1303" y="1868"/>
                  </a:lnTo>
                  <a:lnTo>
                    <a:pt x="1302" y="1865"/>
                  </a:lnTo>
                  <a:lnTo>
                    <a:pt x="1299" y="1864"/>
                  </a:lnTo>
                  <a:lnTo>
                    <a:pt x="1297" y="1860"/>
                  </a:lnTo>
                  <a:lnTo>
                    <a:pt x="1295" y="1850"/>
                  </a:lnTo>
                  <a:lnTo>
                    <a:pt x="1295" y="1848"/>
                  </a:lnTo>
                  <a:lnTo>
                    <a:pt x="1295" y="1845"/>
                  </a:lnTo>
                  <a:lnTo>
                    <a:pt x="1294" y="1844"/>
                  </a:lnTo>
                  <a:lnTo>
                    <a:pt x="1292" y="1843"/>
                  </a:lnTo>
                  <a:lnTo>
                    <a:pt x="1291" y="1842"/>
                  </a:lnTo>
                  <a:lnTo>
                    <a:pt x="1289" y="1838"/>
                  </a:lnTo>
                  <a:lnTo>
                    <a:pt x="1288" y="1838"/>
                  </a:lnTo>
                  <a:lnTo>
                    <a:pt x="1269" y="1841"/>
                  </a:lnTo>
                  <a:lnTo>
                    <a:pt x="1265" y="1840"/>
                  </a:lnTo>
                  <a:lnTo>
                    <a:pt x="1263" y="1838"/>
                  </a:lnTo>
                  <a:lnTo>
                    <a:pt x="1260" y="1837"/>
                  </a:lnTo>
                  <a:lnTo>
                    <a:pt x="1257" y="1839"/>
                  </a:lnTo>
                  <a:lnTo>
                    <a:pt x="1251" y="1843"/>
                  </a:lnTo>
                  <a:lnTo>
                    <a:pt x="1246" y="1846"/>
                  </a:lnTo>
                  <a:lnTo>
                    <a:pt x="1244" y="1848"/>
                  </a:lnTo>
                  <a:lnTo>
                    <a:pt x="1241" y="1853"/>
                  </a:lnTo>
                  <a:lnTo>
                    <a:pt x="1239" y="1855"/>
                  </a:lnTo>
                  <a:lnTo>
                    <a:pt x="1238" y="1857"/>
                  </a:lnTo>
                  <a:lnTo>
                    <a:pt x="1237" y="1858"/>
                  </a:lnTo>
                  <a:lnTo>
                    <a:pt x="1235" y="1858"/>
                  </a:lnTo>
                  <a:lnTo>
                    <a:pt x="1235" y="1857"/>
                  </a:lnTo>
                  <a:lnTo>
                    <a:pt x="1234" y="1854"/>
                  </a:lnTo>
                  <a:lnTo>
                    <a:pt x="1234" y="1852"/>
                  </a:lnTo>
                  <a:lnTo>
                    <a:pt x="1232" y="1850"/>
                  </a:lnTo>
                  <a:lnTo>
                    <a:pt x="1234" y="1847"/>
                  </a:lnTo>
                  <a:lnTo>
                    <a:pt x="1238" y="1839"/>
                  </a:lnTo>
                  <a:lnTo>
                    <a:pt x="1241" y="1835"/>
                  </a:lnTo>
                  <a:lnTo>
                    <a:pt x="1245" y="1832"/>
                  </a:lnTo>
                  <a:lnTo>
                    <a:pt x="1249" y="1829"/>
                  </a:lnTo>
                  <a:lnTo>
                    <a:pt x="1259" y="1827"/>
                  </a:lnTo>
                  <a:lnTo>
                    <a:pt x="1263" y="1824"/>
                  </a:lnTo>
                  <a:lnTo>
                    <a:pt x="1267" y="1820"/>
                  </a:lnTo>
                  <a:lnTo>
                    <a:pt x="1269" y="1814"/>
                  </a:lnTo>
                  <a:lnTo>
                    <a:pt x="1270" y="1806"/>
                  </a:lnTo>
                  <a:lnTo>
                    <a:pt x="1268" y="1798"/>
                  </a:lnTo>
                  <a:lnTo>
                    <a:pt x="1265" y="1793"/>
                  </a:lnTo>
                  <a:lnTo>
                    <a:pt x="1260" y="1789"/>
                  </a:lnTo>
                  <a:lnTo>
                    <a:pt x="1255" y="1788"/>
                  </a:lnTo>
                  <a:lnTo>
                    <a:pt x="1252" y="1792"/>
                  </a:lnTo>
                  <a:lnTo>
                    <a:pt x="1263" y="1803"/>
                  </a:lnTo>
                  <a:lnTo>
                    <a:pt x="1266" y="1809"/>
                  </a:lnTo>
                  <a:lnTo>
                    <a:pt x="1265" y="1809"/>
                  </a:lnTo>
                  <a:lnTo>
                    <a:pt x="1261" y="1803"/>
                  </a:lnTo>
                  <a:lnTo>
                    <a:pt x="1256" y="1801"/>
                  </a:lnTo>
                  <a:lnTo>
                    <a:pt x="1252" y="1799"/>
                  </a:lnTo>
                  <a:lnTo>
                    <a:pt x="1250" y="1791"/>
                  </a:lnTo>
                  <a:lnTo>
                    <a:pt x="1250" y="1787"/>
                  </a:lnTo>
                  <a:lnTo>
                    <a:pt x="1249" y="1784"/>
                  </a:lnTo>
                  <a:lnTo>
                    <a:pt x="1247" y="1781"/>
                  </a:lnTo>
                  <a:lnTo>
                    <a:pt x="1246" y="1779"/>
                  </a:lnTo>
                  <a:lnTo>
                    <a:pt x="1245" y="1778"/>
                  </a:lnTo>
                  <a:lnTo>
                    <a:pt x="1242" y="1776"/>
                  </a:lnTo>
                  <a:lnTo>
                    <a:pt x="1241" y="1774"/>
                  </a:lnTo>
                  <a:lnTo>
                    <a:pt x="1240" y="1772"/>
                  </a:lnTo>
                  <a:lnTo>
                    <a:pt x="1239" y="1768"/>
                  </a:lnTo>
                  <a:lnTo>
                    <a:pt x="1238" y="1766"/>
                  </a:lnTo>
                  <a:lnTo>
                    <a:pt x="1235" y="1761"/>
                  </a:lnTo>
                  <a:lnTo>
                    <a:pt x="1232" y="1757"/>
                  </a:lnTo>
                  <a:lnTo>
                    <a:pt x="1227" y="1755"/>
                  </a:lnTo>
                  <a:lnTo>
                    <a:pt x="1222" y="1755"/>
                  </a:lnTo>
                  <a:lnTo>
                    <a:pt x="1222" y="1753"/>
                  </a:lnTo>
                  <a:lnTo>
                    <a:pt x="1225" y="1742"/>
                  </a:lnTo>
                  <a:lnTo>
                    <a:pt x="1225" y="1737"/>
                  </a:lnTo>
                  <a:lnTo>
                    <a:pt x="1224" y="1735"/>
                  </a:lnTo>
                  <a:lnTo>
                    <a:pt x="1222" y="1733"/>
                  </a:lnTo>
                  <a:lnTo>
                    <a:pt x="1220" y="1732"/>
                  </a:lnTo>
                  <a:lnTo>
                    <a:pt x="1218" y="1732"/>
                  </a:lnTo>
                  <a:lnTo>
                    <a:pt x="1215" y="1732"/>
                  </a:lnTo>
                  <a:lnTo>
                    <a:pt x="1212" y="1732"/>
                  </a:lnTo>
                  <a:lnTo>
                    <a:pt x="1211" y="1729"/>
                  </a:lnTo>
                  <a:lnTo>
                    <a:pt x="1213" y="1723"/>
                  </a:lnTo>
                  <a:lnTo>
                    <a:pt x="1214" y="1718"/>
                  </a:lnTo>
                  <a:lnTo>
                    <a:pt x="1214" y="1703"/>
                  </a:lnTo>
                  <a:lnTo>
                    <a:pt x="1213" y="1700"/>
                  </a:lnTo>
                  <a:lnTo>
                    <a:pt x="1207" y="1693"/>
                  </a:lnTo>
                  <a:lnTo>
                    <a:pt x="1206" y="1693"/>
                  </a:lnTo>
                  <a:lnTo>
                    <a:pt x="1204" y="1691"/>
                  </a:lnTo>
                  <a:lnTo>
                    <a:pt x="1201" y="1689"/>
                  </a:lnTo>
                  <a:lnTo>
                    <a:pt x="1195" y="1688"/>
                  </a:lnTo>
                  <a:lnTo>
                    <a:pt x="1192" y="1689"/>
                  </a:lnTo>
                  <a:lnTo>
                    <a:pt x="1186" y="1691"/>
                  </a:lnTo>
                  <a:lnTo>
                    <a:pt x="1182" y="1692"/>
                  </a:lnTo>
                  <a:lnTo>
                    <a:pt x="1180" y="1691"/>
                  </a:lnTo>
                  <a:lnTo>
                    <a:pt x="1164" y="1682"/>
                  </a:lnTo>
                  <a:lnTo>
                    <a:pt x="1160" y="1681"/>
                  </a:lnTo>
                  <a:lnTo>
                    <a:pt x="1154" y="1685"/>
                  </a:lnTo>
                  <a:lnTo>
                    <a:pt x="1150" y="1684"/>
                  </a:lnTo>
                  <a:lnTo>
                    <a:pt x="1145" y="1681"/>
                  </a:lnTo>
                  <a:lnTo>
                    <a:pt x="1141" y="1681"/>
                  </a:lnTo>
                  <a:lnTo>
                    <a:pt x="1138" y="1683"/>
                  </a:lnTo>
                  <a:lnTo>
                    <a:pt x="1135" y="1686"/>
                  </a:lnTo>
                  <a:lnTo>
                    <a:pt x="1132" y="1689"/>
                  </a:lnTo>
                  <a:lnTo>
                    <a:pt x="1130" y="1691"/>
                  </a:lnTo>
                  <a:lnTo>
                    <a:pt x="1119" y="1692"/>
                  </a:lnTo>
                  <a:lnTo>
                    <a:pt x="1100" y="1700"/>
                  </a:lnTo>
                  <a:lnTo>
                    <a:pt x="1080" y="1701"/>
                  </a:lnTo>
                  <a:lnTo>
                    <a:pt x="1077" y="1700"/>
                  </a:lnTo>
                  <a:lnTo>
                    <a:pt x="1070" y="1695"/>
                  </a:lnTo>
                  <a:lnTo>
                    <a:pt x="1068" y="1696"/>
                  </a:lnTo>
                  <a:lnTo>
                    <a:pt x="1066" y="1699"/>
                  </a:lnTo>
                  <a:lnTo>
                    <a:pt x="1066" y="1712"/>
                  </a:lnTo>
                  <a:lnTo>
                    <a:pt x="1064" y="1715"/>
                  </a:lnTo>
                  <a:lnTo>
                    <a:pt x="1062" y="1717"/>
                  </a:lnTo>
                  <a:lnTo>
                    <a:pt x="1060" y="1721"/>
                  </a:lnTo>
                  <a:lnTo>
                    <a:pt x="1059" y="1726"/>
                  </a:lnTo>
                  <a:lnTo>
                    <a:pt x="1059" y="1730"/>
                  </a:lnTo>
                  <a:lnTo>
                    <a:pt x="1056" y="1732"/>
                  </a:lnTo>
                  <a:lnTo>
                    <a:pt x="1053" y="1736"/>
                  </a:lnTo>
                  <a:lnTo>
                    <a:pt x="1051" y="1737"/>
                  </a:lnTo>
                  <a:lnTo>
                    <a:pt x="1046" y="1738"/>
                  </a:lnTo>
                  <a:lnTo>
                    <a:pt x="1040" y="1737"/>
                  </a:lnTo>
                  <a:lnTo>
                    <a:pt x="1033" y="1734"/>
                  </a:lnTo>
                  <a:lnTo>
                    <a:pt x="1031" y="1733"/>
                  </a:lnTo>
                  <a:lnTo>
                    <a:pt x="1023" y="1736"/>
                  </a:lnTo>
                  <a:lnTo>
                    <a:pt x="1021" y="1736"/>
                  </a:lnTo>
                  <a:lnTo>
                    <a:pt x="1022" y="1730"/>
                  </a:lnTo>
                  <a:lnTo>
                    <a:pt x="1022" y="1730"/>
                  </a:lnTo>
                  <a:lnTo>
                    <a:pt x="1019" y="1732"/>
                  </a:lnTo>
                  <a:lnTo>
                    <a:pt x="1018" y="1733"/>
                  </a:lnTo>
                  <a:lnTo>
                    <a:pt x="1017" y="1735"/>
                  </a:lnTo>
                  <a:lnTo>
                    <a:pt x="1015" y="1736"/>
                  </a:lnTo>
                  <a:lnTo>
                    <a:pt x="1005" y="1738"/>
                  </a:lnTo>
                  <a:lnTo>
                    <a:pt x="1003" y="1740"/>
                  </a:lnTo>
                  <a:lnTo>
                    <a:pt x="1002" y="1741"/>
                  </a:lnTo>
                  <a:lnTo>
                    <a:pt x="997" y="1748"/>
                  </a:lnTo>
                  <a:lnTo>
                    <a:pt x="998" y="1751"/>
                  </a:lnTo>
                  <a:lnTo>
                    <a:pt x="997" y="1751"/>
                  </a:lnTo>
                  <a:lnTo>
                    <a:pt x="997" y="1752"/>
                  </a:lnTo>
                  <a:lnTo>
                    <a:pt x="996" y="1754"/>
                  </a:lnTo>
                  <a:lnTo>
                    <a:pt x="997" y="1761"/>
                  </a:lnTo>
                  <a:lnTo>
                    <a:pt x="997" y="1763"/>
                  </a:lnTo>
                  <a:lnTo>
                    <a:pt x="996" y="1765"/>
                  </a:lnTo>
                  <a:lnTo>
                    <a:pt x="995" y="1765"/>
                  </a:lnTo>
                  <a:lnTo>
                    <a:pt x="992" y="1766"/>
                  </a:lnTo>
                  <a:lnTo>
                    <a:pt x="991" y="1768"/>
                  </a:lnTo>
                  <a:lnTo>
                    <a:pt x="990" y="1771"/>
                  </a:lnTo>
                  <a:lnTo>
                    <a:pt x="991" y="1778"/>
                  </a:lnTo>
                  <a:lnTo>
                    <a:pt x="991" y="1781"/>
                  </a:lnTo>
                  <a:lnTo>
                    <a:pt x="989" y="1787"/>
                  </a:lnTo>
                  <a:lnTo>
                    <a:pt x="987" y="1792"/>
                  </a:lnTo>
                  <a:lnTo>
                    <a:pt x="975" y="1806"/>
                  </a:lnTo>
                  <a:lnTo>
                    <a:pt x="974" y="1810"/>
                  </a:lnTo>
                  <a:lnTo>
                    <a:pt x="974" y="1817"/>
                  </a:lnTo>
                  <a:lnTo>
                    <a:pt x="975" y="1819"/>
                  </a:lnTo>
                  <a:lnTo>
                    <a:pt x="975" y="1820"/>
                  </a:lnTo>
                  <a:lnTo>
                    <a:pt x="975" y="1820"/>
                  </a:lnTo>
                  <a:lnTo>
                    <a:pt x="973" y="1821"/>
                  </a:lnTo>
                  <a:lnTo>
                    <a:pt x="972" y="1821"/>
                  </a:lnTo>
                  <a:lnTo>
                    <a:pt x="969" y="1820"/>
                  </a:lnTo>
                  <a:lnTo>
                    <a:pt x="964" y="1821"/>
                  </a:lnTo>
                  <a:lnTo>
                    <a:pt x="958" y="1820"/>
                  </a:lnTo>
                  <a:lnTo>
                    <a:pt x="956" y="1821"/>
                  </a:lnTo>
                  <a:lnTo>
                    <a:pt x="950" y="1827"/>
                  </a:lnTo>
                  <a:lnTo>
                    <a:pt x="945" y="1830"/>
                  </a:lnTo>
                  <a:lnTo>
                    <a:pt x="939" y="1830"/>
                  </a:lnTo>
                  <a:lnTo>
                    <a:pt x="934" y="1828"/>
                  </a:lnTo>
                  <a:lnTo>
                    <a:pt x="929" y="1824"/>
                  </a:lnTo>
                  <a:lnTo>
                    <a:pt x="927" y="1824"/>
                  </a:lnTo>
                  <a:lnTo>
                    <a:pt x="922" y="1829"/>
                  </a:lnTo>
                  <a:lnTo>
                    <a:pt x="914" y="1833"/>
                  </a:lnTo>
                  <a:lnTo>
                    <a:pt x="917" y="1835"/>
                  </a:lnTo>
                  <a:lnTo>
                    <a:pt x="918" y="1836"/>
                  </a:lnTo>
                  <a:lnTo>
                    <a:pt x="916" y="1840"/>
                  </a:lnTo>
                  <a:lnTo>
                    <a:pt x="918" y="1843"/>
                  </a:lnTo>
                  <a:lnTo>
                    <a:pt x="920" y="1844"/>
                  </a:lnTo>
                  <a:lnTo>
                    <a:pt x="923" y="1845"/>
                  </a:lnTo>
                  <a:lnTo>
                    <a:pt x="924" y="1846"/>
                  </a:lnTo>
                  <a:lnTo>
                    <a:pt x="926" y="1849"/>
                  </a:lnTo>
                  <a:lnTo>
                    <a:pt x="927" y="1851"/>
                  </a:lnTo>
                  <a:lnTo>
                    <a:pt x="929" y="1851"/>
                  </a:lnTo>
                  <a:lnTo>
                    <a:pt x="931" y="1849"/>
                  </a:lnTo>
                  <a:lnTo>
                    <a:pt x="932" y="1849"/>
                  </a:lnTo>
                  <a:lnTo>
                    <a:pt x="934" y="1850"/>
                  </a:lnTo>
                  <a:lnTo>
                    <a:pt x="939" y="1854"/>
                  </a:lnTo>
                  <a:lnTo>
                    <a:pt x="942" y="1855"/>
                  </a:lnTo>
                  <a:lnTo>
                    <a:pt x="945" y="1854"/>
                  </a:lnTo>
                  <a:lnTo>
                    <a:pt x="947" y="1852"/>
                  </a:lnTo>
                  <a:lnTo>
                    <a:pt x="949" y="1853"/>
                  </a:lnTo>
                  <a:lnTo>
                    <a:pt x="949" y="1858"/>
                  </a:lnTo>
                  <a:lnTo>
                    <a:pt x="949" y="1858"/>
                  </a:lnTo>
                  <a:lnTo>
                    <a:pt x="949" y="1858"/>
                  </a:lnTo>
                  <a:lnTo>
                    <a:pt x="943" y="1860"/>
                  </a:lnTo>
                  <a:lnTo>
                    <a:pt x="927" y="1875"/>
                  </a:lnTo>
                  <a:lnTo>
                    <a:pt x="921" y="1878"/>
                  </a:lnTo>
                  <a:lnTo>
                    <a:pt x="914" y="1878"/>
                  </a:lnTo>
                  <a:lnTo>
                    <a:pt x="903" y="1875"/>
                  </a:lnTo>
                  <a:lnTo>
                    <a:pt x="899" y="1878"/>
                  </a:lnTo>
                  <a:lnTo>
                    <a:pt x="896" y="1883"/>
                  </a:lnTo>
                  <a:lnTo>
                    <a:pt x="894" y="1887"/>
                  </a:lnTo>
                  <a:lnTo>
                    <a:pt x="893" y="1888"/>
                  </a:lnTo>
                  <a:lnTo>
                    <a:pt x="891" y="1890"/>
                  </a:lnTo>
                  <a:lnTo>
                    <a:pt x="887" y="1893"/>
                  </a:lnTo>
                  <a:lnTo>
                    <a:pt x="879" y="1895"/>
                  </a:lnTo>
                  <a:lnTo>
                    <a:pt x="876" y="1897"/>
                  </a:lnTo>
                  <a:lnTo>
                    <a:pt x="875" y="1897"/>
                  </a:lnTo>
                  <a:lnTo>
                    <a:pt x="877" y="1899"/>
                  </a:lnTo>
                  <a:lnTo>
                    <a:pt x="878" y="1901"/>
                  </a:lnTo>
                  <a:lnTo>
                    <a:pt x="878" y="1903"/>
                  </a:lnTo>
                  <a:lnTo>
                    <a:pt x="880" y="1906"/>
                  </a:lnTo>
                  <a:lnTo>
                    <a:pt x="884" y="1910"/>
                  </a:lnTo>
                  <a:lnTo>
                    <a:pt x="890" y="1919"/>
                  </a:lnTo>
                  <a:lnTo>
                    <a:pt x="894" y="1923"/>
                  </a:lnTo>
                  <a:lnTo>
                    <a:pt x="898" y="1925"/>
                  </a:lnTo>
                  <a:lnTo>
                    <a:pt x="903" y="1925"/>
                  </a:lnTo>
                  <a:lnTo>
                    <a:pt x="906" y="1934"/>
                  </a:lnTo>
                  <a:lnTo>
                    <a:pt x="908" y="1938"/>
                  </a:lnTo>
                  <a:lnTo>
                    <a:pt x="911" y="1941"/>
                  </a:lnTo>
                  <a:lnTo>
                    <a:pt x="912" y="1942"/>
                  </a:lnTo>
                  <a:lnTo>
                    <a:pt x="913" y="1942"/>
                  </a:lnTo>
                  <a:lnTo>
                    <a:pt x="919" y="1943"/>
                  </a:lnTo>
                  <a:lnTo>
                    <a:pt x="922" y="1945"/>
                  </a:lnTo>
                  <a:lnTo>
                    <a:pt x="923" y="1949"/>
                  </a:lnTo>
                  <a:lnTo>
                    <a:pt x="924" y="1961"/>
                  </a:lnTo>
                  <a:lnTo>
                    <a:pt x="926" y="1965"/>
                  </a:lnTo>
                  <a:lnTo>
                    <a:pt x="929" y="1967"/>
                  </a:lnTo>
                  <a:lnTo>
                    <a:pt x="938" y="1968"/>
                  </a:lnTo>
                  <a:lnTo>
                    <a:pt x="947" y="1967"/>
                  </a:lnTo>
                  <a:lnTo>
                    <a:pt x="950" y="1968"/>
                  </a:lnTo>
                  <a:lnTo>
                    <a:pt x="961" y="1977"/>
                  </a:lnTo>
                  <a:lnTo>
                    <a:pt x="962" y="1978"/>
                  </a:lnTo>
                  <a:lnTo>
                    <a:pt x="963" y="1981"/>
                  </a:lnTo>
                  <a:lnTo>
                    <a:pt x="963" y="1983"/>
                  </a:lnTo>
                  <a:lnTo>
                    <a:pt x="965" y="1985"/>
                  </a:lnTo>
                  <a:lnTo>
                    <a:pt x="982" y="1988"/>
                  </a:lnTo>
                  <a:lnTo>
                    <a:pt x="985" y="1988"/>
                  </a:lnTo>
                  <a:lnTo>
                    <a:pt x="992" y="1982"/>
                  </a:lnTo>
                  <a:lnTo>
                    <a:pt x="996" y="1983"/>
                  </a:lnTo>
                  <a:lnTo>
                    <a:pt x="994" y="1985"/>
                  </a:lnTo>
                  <a:lnTo>
                    <a:pt x="995" y="1986"/>
                  </a:lnTo>
                  <a:lnTo>
                    <a:pt x="996" y="1986"/>
                  </a:lnTo>
                  <a:lnTo>
                    <a:pt x="997" y="1986"/>
                  </a:lnTo>
                  <a:lnTo>
                    <a:pt x="999" y="1988"/>
                  </a:lnTo>
                  <a:lnTo>
                    <a:pt x="999" y="1989"/>
                  </a:lnTo>
                  <a:lnTo>
                    <a:pt x="1000" y="1990"/>
                  </a:lnTo>
                  <a:lnTo>
                    <a:pt x="1002" y="1989"/>
                  </a:lnTo>
                  <a:lnTo>
                    <a:pt x="1010" y="1991"/>
                  </a:lnTo>
                  <a:lnTo>
                    <a:pt x="1012" y="1991"/>
                  </a:lnTo>
                  <a:lnTo>
                    <a:pt x="1012" y="1991"/>
                  </a:lnTo>
                  <a:lnTo>
                    <a:pt x="1009" y="1984"/>
                  </a:lnTo>
                  <a:lnTo>
                    <a:pt x="1009" y="1982"/>
                  </a:lnTo>
                  <a:lnTo>
                    <a:pt x="1010" y="1981"/>
                  </a:lnTo>
                  <a:lnTo>
                    <a:pt x="1015" y="1978"/>
                  </a:lnTo>
                  <a:lnTo>
                    <a:pt x="1015" y="1978"/>
                  </a:lnTo>
                  <a:lnTo>
                    <a:pt x="1015" y="1980"/>
                  </a:lnTo>
                  <a:lnTo>
                    <a:pt x="1015" y="1983"/>
                  </a:lnTo>
                  <a:lnTo>
                    <a:pt x="1015" y="1986"/>
                  </a:lnTo>
                  <a:lnTo>
                    <a:pt x="1014" y="1988"/>
                  </a:lnTo>
                  <a:lnTo>
                    <a:pt x="1015" y="1989"/>
                  </a:lnTo>
                  <a:lnTo>
                    <a:pt x="1017" y="1988"/>
                  </a:lnTo>
                  <a:lnTo>
                    <a:pt x="1019" y="1986"/>
                  </a:lnTo>
                  <a:lnTo>
                    <a:pt x="1020" y="1984"/>
                  </a:lnTo>
                  <a:lnTo>
                    <a:pt x="1020" y="1981"/>
                  </a:lnTo>
                  <a:lnTo>
                    <a:pt x="1020" y="1979"/>
                  </a:lnTo>
                  <a:lnTo>
                    <a:pt x="1022" y="1977"/>
                  </a:lnTo>
                  <a:lnTo>
                    <a:pt x="1022" y="1976"/>
                  </a:lnTo>
                  <a:lnTo>
                    <a:pt x="1021" y="1975"/>
                  </a:lnTo>
                  <a:lnTo>
                    <a:pt x="1020" y="1973"/>
                  </a:lnTo>
                  <a:lnTo>
                    <a:pt x="1021" y="1971"/>
                  </a:lnTo>
                  <a:lnTo>
                    <a:pt x="1022" y="1969"/>
                  </a:lnTo>
                  <a:lnTo>
                    <a:pt x="1023" y="1967"/>
                  </a:lnTo>
                  <a:lnTo>
                    <a:pt x="1025" y="1966"/>
                  </a:lnTo>
                  <a:lnTo>
                    <a:pt x="1034" y="1964"/>
                  </a:lnTo>
                  <a:lnTo>
                    <a:pt x="1037" y="1961"/>
                  </a:lnTo>
                  <a:lnTo>
                    <a:pt x="1036" y="1957"/>
                  </a:lnTo>
                  <a:lnTo>
                    <a:pt x="1038" y="1954"/>
                  </a:lnTo>
                  <a:lnTo>
                    <a:pt x="1033" y="1949"/>
                  </a:lnTo>
                  <a:lnTo>
                    <a:pt x="1034" y="1946"/>
                  </a:lnTo>
                  <a:lnTo>
                    <a:pt x="1028" y="1943"/>
                  </a:lnTo>
                  <a:lnTo>
                    <a:pt x="1028" y="1940"/>
                  </a:lnTo>
                  <a:lnTo>
                    <a:pt x="1029" y="1940"/>
                  </a:lnTo>
                  <a:lnTo>
                    <a:pt x="1030" y="1940"/>
                  </a:lnTo>
                  <a:lnTo>
                    <a:pt x="1031" y="1939"/>
                  </a:lnTo>
                  <a:lnTo>
                    <a:pt x="1031" y="1939"/>
                  </a:lnTo>
                  <a:lnTo>
                    <a:pt x="1032" y="1937"/>
                  </a:lnTo>
                  <a:lnTo>
                    <a:pt x="1032" y="1937"/>
                  </a:lnTo>
                  <a:lnTo>
                    <a:pt x="1032" y="1936"/>
                  </a:lnTo>
                  <a:lnTo>
                    <a:pt x="1031" y="1935"/>
                  </a:lnTo>
                  <a:lnTo>
                    <a:pt x="1031" y="1933"/>
                  </a:lnTo>
                  <a:lnTo>
                    <a:pt x="1031" y="1932"/>
                  </a:lnTo>
                  <a:lnTo>
                    <a:pt x="1032" y="1932"/>
                  </a:lnTo>
                  <a:lnTo>
                    <a:pt x="1032" y="1931"/>
                  </a:lnTo>
                  <a:lnTo>
                    <a:pt x="1035" y="1932"/>
                  </a:lnTo>
                  <a:lnTo>
                    <a:pt x="1036" y="1932"/>
                  </a:lnTo>
                  <a:lnTo>
                    <a:pt x="1041" y="1927"/>
                  </a:lnTo>
                  <a:lnTo>
                    <a:pt x="1049" y="1915"/>
                  </a:lnTo>
                  <a:lnTo>
                    <a:pt x="1054" y="1911"/>
                  </a:lnTo>
                  <a:lnTo>
                    <a:pt x="1059" y="1910"/>
                  </a:lnTo>
                  <a:lnTo>
                    <a:pt x="1064" y="1913"/>
                  </a:lnTo>
                  <a:lnTo>
                    <a:pt x="1074" y="1921"/>
                  </a:lnTo>
                  <a:lnTo>
                    <a:pt x="1075" y="1923"/>
                  </a:lnTo>
                  <a:lnTo>
                    <a:pt x="1076" y="1928"/>
                  </a:lnTo>
                  <a:lnTo>
                    <a:pt x="1078" y="1928"/>
                  </a:lnTo>
                  <a:lnTo>
                    <a:pt x="1080" y="1929"/>
                  </a:lnTo>
                  <a:lnTo>
                    <a:pt x="1081" y="1930"/>
                  </a:lnTo>
                  <a:lnTo>
                    <a:pt x="1082" y="1934"/>
                  </a:lnTo>
                  <a:lnTo>
                    <a:pt x="1084" y="1939"/>
                  </a:lnTo>
                  <a:lnTo>
                    <a:pt x="1084" y="1943"/>
                  </a:lnTo>
                  <a:lnTo>
                    <a:pt x="1083" y="1946"/>
                  </a:lnTo>
                  <a:lnTo>
                    <a:pt x="1080" y="1947"/>
                  </a:lnTo>
                  <a:lnTo>
                    <a:pt x="1086" y="1950"/>
                  </a:lnTo>
                  <a:lnTo>
                    <a:pt x="1087" y="1952"/>
                  </a:lnTo>
                  <a:lnTo>
                    <a:pt x="1088" y="1954"/>
                  </a:lnTo>
                  <a:lnTo>
                    <a:pt x="1089" y="1957"/>
                  </a:lnTo>
                  <a:lnTo>
                    <a:pt x="1090" y="1959"/>
                  </a:lnTo>
                  <a:lnTo>
                    <a:pt x="1092" y="1964"/>
                  </a:lnTo>
                  <a:lnTo>
                    <a:pt x="1095" y="1967"/>
                  </a:lnTo>
                  <a:lnTo>
                    <a:pt x="1099" y="1970"/>
                  </a:lnTo>
                  <a:lnTo>
                    <a:pt x="1102" y="1972"/>
                  </a:lnTo>
                  <a:lnTo>
                    <a:pt x="1104" y="1973"/>
                  </a:lnTo>
                  <a:lnTo>
                    <a:pt x="1105" y="1971"/>
                  </a:lnTo>
                  <a:lnTo>
                    <a:pt x="1106" y="1970"/>
                  </a:lnTo>
                  <a:lnTo>
                    <a:pt x="1108" y="1968"/>
                  </a:lnTo>
                  <a:lnTo>
                    <a:pt x="1110" y="1969"/>
                  </a:lnTo>
                  <a:lnTo>
                    <a:pt x="1112" y="1970"/>
                  </a:lnTo>
                  <a:lnTo>
                    <a:pt x="1115" y="1973"/>
                  </a:lnTo>
                  <a:lnTo>
                    <a:pt x="1117" y="1975"/>
                  </a:lnTo>
                  <a:lnTo>
                    <a:pt x="1119" y="1977"/>
                  </a:lnTo>
                  <a:lnTo>
                    <a:pt x="1120" y="1982"/>
                  </a:lnTo>
                  <a:lnTo>
                    <a:pt x="1118" y="1987"/>
                  </a:lnTo>
                  <a:lnTo>
                    <a:pt x="1115" y="1991"/>
                  </a:lnTo>
                  <a:lnTo>
                    <a:pt x="1116" y="1994"/>
                  </a:lnTo>
                  <a:lnTo>
                    <a:pt x="1116" y="1997"/>
                  </a:lnTo>
                  <a:lnTo>
                    <a:pt x="1114" y="2004"/>
                  </a:lnTo>
                  <a:lnTo>
                    <a:pt x="1116" y="2006"/>
                  </a:lnTo>
                  <a:lnTo>
                    <a:pt x="1120" y="2011"/>
                  </a:lnTo>
                  <a:lnTo>
                    <a:pt x="1123" y="2012"/>
                  </a:lnTo>
                  <a:lnTo>
                    <a:pt x="1123" y="2012"/>
                  </a:lnTo>
                  <a:lnTo>
                    <a:pt x="1124" y="2010"/>
                  </a:lnTo>
                  <a:lnTo>
                    <a:pt x="1125" y="2009"/>
                  </a:lnTo>
                  <a:lnTo>
                    <a:pt x="1126" y="2008"/>
                  </a:lnTo>
                  <a:lnTo>
                    <a:pt x="1127" y="2008"/>
                  </a:lnTo>
                  <a:lnTo>
                    <a:pt x="1129" y="2009"/>
                  </a:lnTo>
                  <a:lnTo>
                    <a:pt x="1131" y="2009"/>
                  </a:lnTo>
                  <a:lnTo>
                    <a:pt x="1144" y="2004"/>
                  </a:lnTo>
                  <a:lnTo>
                    <a:pt x="1149" y="2004"/>
                  </a:lnTo>
                  <a:lnTo>
                    <a:pt x="1149" y="2004"/>
                  </a:lnTo>
                  <a:lnTo>
                    <a:pt x="1149" y="2005"/>
                  </a:lnTo>
                  <a:lnTo>
                    <a:pt x="1150" y="2006"/>
                  </a:lnTo>
                  <a:lnTo>
                    <a:pt x="1151" y="2007"/>
                  </a:lnTo>
                  <a:lnTo>
                    <a:pt x="1153" y="2007"/>
                  </a:lnTo>
                  <a:lnTo>
                    <a:pt x="1157" y="2006"/>
                  </a:lnTo>
                  <a:lnTo>
                    <a:pt x="1160" y="2005"/>
                  </a:lnTo>
                  <a:lnTo>
                    <a:pt x="1161" y="2004"/>
                  </a:lnTo>
                  <a:lnTo>
                    <a:pt x="1162" y="2002"/>
                  </a:lnTo>
                  <a:lnTo>
                    <a:pt x="1162" y="2000"/>
                  </a:lnTo>
                  <a:lnTo>
                    <a:pt x="1162" y="1998"/>
                  </a:lnTo>
                  <a:lnTo>
                    <a:pt x="1162" y="1996"/>
                  </a:lnTo>
                  <a:lnTo>
                    <a:pt x="1164" y="1992"/>
                  </a:lnTo>
                  <a:lnTo>
                    <a:pt x="1165" y="1993"/>
                  </a:lnTo>
                  <a:lnTo>
                    <a:pt x="1167" y="1995"/>
                  </a:lnTo>
                  <a:lnTo>
                    <a:pt x="1168" y="1996"/>
                  </a:lnTo>
                  <a:lnTo>
                    <a:pt x="1171" y="1995"/>
                  </a:lnTo>
                  <a:lnTo>
                    <a:pt x="1173" y="1994"/>
                  </a:lnTo>
                  <a:lnTo>
                    <a:pt x="1175" y="1994"/>
                  </a:lnTo>
                  <a:lnTo>
                    <a:pt x="1178" y="1996"/>
                  </a:lnTo>
                  <a:lnTo>
                    <a:pt x="1178" y="1994"/>
                  </a:lnTo>
                  <a:lnTo>
                    <a:pt x="1182" y="1995"/>
                  </a:lnTo>
                  <a:lnTo>
                    <a:pt x="1187" y="1996"/>
                  </a:lnTo>
                  <a:lnTo>
                    <a:pt x="1191" y="1997"/>
                  </a:lnTo>
                  <a:lnTo>
                    <a:pt x="1193" y="2002"/>
                  </a:lnTo>
                  <a:lnTo>
                    <a:pt x="1195" y="2002"/>
                  </a:lnTo>
                  <a:lnTo>
                    <a:pt x="1207" y="2007"/>
                  </a:lnTo>
                  <a:lnTo>
                    <a:pt x="1206" y="2007"/>
                  </a:lnTo>
                  <a:lnTo>
                    <a:pt x="1203" y="2009"/>
                  </a:lnTo>
                  <a:lnTo>
                    <a:pt x="1203" y="2010"/>
                  </a:lnTo>
                  <a:lnTo>
                    <a:pt x="1205" y="2012"/>
                  </a:lnTo>
                  <a:lnTo>
                    <a:pt x="1208" y="2013"/>
                  </a:lnTo>
                  <a:lnTo>
                    <a:pt x="1214" y="2012"/>
                  </a:lnTo>
                  <a:lnTo>
                    <a:pt x="1216" y="2011"/>
                  </a:lnTo>
                  <a:lnTo>
                    <a:pt x="1223" y="2006"/>
                  </a:lnTo>
                  <a:lnTo>
                    <a:pt x="1228" y="2001"/>
                  </a:lnTo>
                  <a:lnTo>
                    <a:pt x="1234" y="1998"/>
                  </a:lnTo>
                  <a:lnTo>
                    <a:pt x="1237" y="1994"/>
                  </a:lnTo>
                  <a:lnTo>
                    <a:pt x="1239" y="1990"/>
                  </a:lnTo>
                  <a:lnTo>
                    <a:pt x="1240" y="1984"/>
                  </a:lnTo>
                  <a:lnTo>
                    <a:pt x="1241" y="1979"/>
                  </a:lnTo>
                  <a:lnTo>
                    <a:pt x="1242" y="1973"/>
                  </a:lnTo>
                  <a:lnTo>
                    <a:pt x="1242" y="1972"/>
                  </a:lnTo>
                  <a:lnTo>
                    <a:pt x="1241" y="1963"/>
                  </a:lnTo>
                  <a:lnTo>
                    <a:pt x="1242" y="1960"/>
                  </a:lnTo>
                  <a:lnTo>
                    <a:pt x="1245" y="1959"/>
                  </a:lnTo>
                  <a:lnTo>
                    <a:pt x="1248" y="1958"/>
                  </a:lnTo>
                  <a:lnTo>
                    <a:pt x="1255" y="1956"/>
                  </a:lnTo>
                  <a:lnTo>
                    <a:pt x="1262" y="1955"/>
                  </a:lnTo>
                  <a:lnTo>
                    <a:pt x="1271" y="1956"/>
                  </a:lnTo>
                  <a:lnTo>
                    <a:pt x="1273" y="1958"/>
                  </a:lnTo>
                  <a:close/>
                  <a:moveTo>
                    <a:pt x="1190" y="1673"/>
                  </a:moveTo>
                  <a:lnTo>
                    <a:pt x="1190" y="1674"/>
                  </a:lnTo>
                  <a:lnTo>
                    <a:pt x="1189" y="1677"/>
                  </a:lnTo>
                  <a:lnTo>
                    <a:pt x="1191" y="1675"/>
                  </a:lnTo>
                  <a:lnTo>
                    <a:pt x="1192" y="1672"/>
                  </a:lnTo>
                  <a:lnTo>
                    <a:pt x="1193" y="1668"/>
                  </a:lnTo>
                  <a:lnTo>
                    <a:pt x="1193" y="1665"/>
                  </a:lnTo>
                  <a:lnTo>
                    <a:pt x="1191" y="1664"/>
                  </a:lnTo>
                  <a:lnTo>
                    <a:pt x="1183" y="1663"/>
                  </a:lnTo>
                  <a:lnTo>
                    <a:pt x="1181" y="1663"/>
                  </a:lnTo>
                  <a:lnTo>
                    <a:pt x="1179" y="1664"/>
                  </a:lnTo>
                  <a:lnTo>
                    <a:pt x="1177" y="1665"/>
                  </a:lnTo>
                  <a:lnTo>
                    <a:pt x="1175" y="1667"/>
                  </a:lnTo>
                  <a:lnTo>
                    <a:pt x="1179" y="1668"/>
                  </a:lnTo>
                  <a:lnTo>
                    <a:pt x="1183" y="1667"/>
                  </a:lnTo>
                  <a:lnTo>
                    <a:pt x="1187" y="1668"/>
                  </a:lnTo>
                  <a:lnTo>
                    <a:pt x="1191" y="1671"/>
                  </a:lnTo>
                  <a:lnTo>
                    <a:pt x="1190" y="1672"/>
                  </a:lnTo>
                  <a:lnTo>
                    <a:pt x="1190" y="1673"/>
                  </a:lnTo>
                  <a:close/>
                  <a:moveTo>
                    <a:pt x="1323" y="1557"/>
                  </a:moveTo>
                  <a:lnTo>
                    <a:pt x="1319" y="1563"/>
                  </a:lnTo>
                  <a:lnTo>
                    <a:pt x="1317" y="1570"/>
                  </a:lnTo>
                  <a:lnTo>
                    <a:pt x="1316" y="1579"/>
                  </a:lnTo>
                  <a:lnTo>
                    <a:pt x="1317" y="1585"/>
                  </a:lnTo>
                  <a:lnTo>
                    <a:pt x="1320" y="1591"/>
                  </a:lnTo>
                  <a:lnTo>
                    <a:pt x="1324" y="1596"/>
                  </a:lnTo>
                  <a:lnTo>
                    <a:pt x="1324" y="1598"/>
                  </a:lnTo>
                  <a:lnTo>
                    <a:pt x="1323" y="1599"/>
                  </a:lnTo>
                  <a:lnTo>
                    <a:pt x="1323" y="1600"/>
                  </a:lnTo>
                  <a:lnTo>
                    <a:pt x="1322" y="1600"/>
                  </a:lnTo>
                  <a:lnTo>
                    <a:pt x="1322" y="1602"/>
                  </a:lnTo>
                  <a:lnTo>
                    <a:pt x="1323" y="1604"/>
                  </a:lnTo>
                  <a:lnTo>
                    <a:pt x="1324" y="1612"/>
                  </a:lnTo>
                  <a:lnTo>
                    <a:pt x="1324" y="1614"/>
                  </a:lnTo>
                  <a:lnTo>
                    <a:pt x="1324" y="1615"/>
                  </a:lnTo>
                  <a:lnTo>
                    <a:pt x="1331" y="1621"/>
                  </a:lnTo>
                  <a:lnTo>
                    <a:pt x="1337" y="1625"/>
                  </a:lnTo>
                  <a:lnTo>
                    <a:pt x="1344" y="1628"/>
                  </a:lnTo>
                  <a:lnTo>
                    <a:pt x="1353" y="1629"/>
                  </a:lnTo>
                  <a:lnTo>
                    <a:pt x="1360" y="1627"/>
                  </a:lnTo>
                  <a:lnTo>
                    <a:pt x="1364" y="1626"/>
                  </a:lnTo>
                  <a:lnTo>
                    <a:pt x="1367" y="1623"/>
                  </a:lnTo>
                  <a:lnTo>
                    <a:pt x="1366" y="1619"/>
                  </a:lnTo>
                  <a:lnTo>
                    <a:pt x="1365" y="1614"/>
                  </a:lnTo>
                  <a:lnTo>
                    <a:pt x="1364" y="1610"/>
                  </a:lnTo>
                  <a:lnTo>
                    <a:pt x="1368" y="1608"/>
                  </a:lnTo>
                  <a:lnTo>
                    <a:pt x="1361" y="1605"/>
                  </a:lnTo>
                  <a:lnTo>
                    <a:pt x="1360" y="1604"/>
                  </a:lnTo>
                  <a:lnTo>
                    <a:pt x="1359" y="1600"/>
                  </a:lnTo>
                  <a:lnTo>
                    <a:pt x="1361" y="1599"/>
                  </a:lnTo>
                  <a:lnTo>
                    <a:pt x="1363" y="1599"/>
                  </a:lnTo>
                  <a:lnTo>
                    <a:pt x="1364" y="1598"/>
                  </a:lnTo>
                  <a:lnTo>
                    <a:pt x="1364" y="1592"/>
                  </a:lnTo>
                  <a:lnTo>
                    <a:pt x="1357" y="1585"/>
                  </a:lnTo>
                  <a:lnTo>
                    <a:pt x="1359" y="1581"/>
                  </a:lnTo>
                  <a:lnTo>
                    <a:pt x="1356" y="1567"/>
                  </a:lnTo>
                  <a:lnTo>
                    <a:pt x="1353" y="1561"/>
                  </a:lnTo>
                  <a:lnTo>
                    <a:pt x="1350" y="1556"/>
                  </a:lnTo>
                  <a:lnTo>
                    <a:pt x="1348" y="1553"/>
                  </a:lnTo>
                  <a:lnTo>
                    <a:pt x="1337" y="1548"/>
                  </a:lnTo>
                  <a:lnTo>
                    <a:pt x="1336" y="1548"/>
                  </a:lnTo>
                  <a:lnTo>
                    <a:pt x="1332" y="1548"/>
                  </a:lnTo>
                  <a:lnTo>
                    <a:pt x="1332" y="1549"/>
                  </a:lnTo>
                  <a:lnTo>
                    <a:pt x="1333" y="1551"/>
                  </a:lnTo>
                  <a:lnTo>
                    <a:pt x="1333" y="1552"/>
                  </a:lnTo>
                  <a:lnTo>
                    <a:pt x="1328" y="1553"/>
                  </a:lnTo>
                  <a:lnTo>
                    <a:pt x="1323" y="1557"/>
                  </a:lnTo>
                  <a:close/>
                  <a:moveTo>
                    <a:pt x="1377" y="1535"/>
                  </a:moveTo>
                  <a:lnTo>
                    <a:pt x="1377" y="1533"/>
                  </a:lnTo>
                  <a:lnTo>
                    <a:pt x="1376" y="1525"/>
                  </a:lnTo>
                  <a:lnTo>
                    <a:pt x="1374" y="1521"/>
                  </a:lnTo>
                  <a:lnTo>
                    <a:pt x="1373" y="1517"/>
                  </a:lnTo>
                  <a:lnTo>
                    <a:pt x="1371" y="1513"/>
                  </a:lnTo>
                  <a:lnTo>
                    <a:pt x="1370" y="1512"/>
                  </a:lnTo>
                  <a:lnTo>
                    <a:pt x="1368" y="1512"/>
                  </a:lnTo>
                  <a:lnTo>
                    <a:pt x="1367" y="1510"/>
                  </a:lnTo>
                  <a:lnTo>
                    <a:pt x="1366" y="1504"/>
                  </a:lnTo>
                  <a:lnTo>
                    <a:pt x="1365" y="1503"/>
                  </a:lnTo>
                  <a:lnTo>
                    <a:pt x="1364" y="1503"/>
                  </a:lnTo>
                  <a:lnTo>
                    <a:pt x="1362" y="1502"/>
                  </a:lnTo>
                  <a:lnTo>
                    <a:pt x="1358" y="1497"/>
                  </a:lnTo>
                  <a:lnTo>
                    <a:pt x="1353" y="1492"/>
                  </a:lnTo>
                  <a:lnTo>
                    <a:pt x="1347" y="1495"/>
                  </a:lnTo>
                  <a:lnTo>
                    <a:pt x="1347" y="1499"/>
                  </a:lnTo>
                  <a:lnTo>
                    <a:pt x="1349" y="1504"/>
                  </a:lnTo>
                  <a:lnTo>
                    <a:pt x="1350" y="1509"/>
                  </a:lnTo>
                  <a:lnTo>
                    <a:pt x="1351" y="1511"/>
                  </a:lnTo>
                  <a:lnTo>
                    <a:pt x="1357" y="1514"/>
                  </a:lnTo>
                  <a:lnTo>
                    <a:pt x="1357" y="1518"/>
                  </a:lnTo>
                  <a:lnTo>
                    <a:pt x="1359" y="1526"/>
                  </a:lnTo>
                  <a:lnTo>
                    <a:pt x="1361" y="1531"/>
                  </a:lnTo>
                  <a:lnTo>
                    <a:pt x="1371" y="1541"/>
                  </a:lnTo>
                  <a:lnTo>
                    <a:pt x="1373" y="1546"/>
                  </a:lnTo>
                  <a:lnTo>
                    <a:pt x="1374" y="1548"/>
                  </a:lnTo>
                  <a:lnTo>
                    <a:pt x="1377" y="1548"/>
                  </a:lnTo>
                  <a:lnTo>
                    <a:pt x="1378" y="1546"/>
                  </a:lnTo>
                  <a:lnTo>
                    <a:pt x="1377" y="1544"/>
                  </a:lnTo>
                  <a:lnTo>
                    <a:pt x="1376" y="1542"/>
                  </a:lnTo>
                  <a:lnTo>
                    <a:pt x="1374" y="1541"/>
                  </a:lnTo>
                  <a:lnTo>
                    <a:pt x="1376" y="1537"/>
                  </a:lnTo>
                  <a:lnTo>
                    <a:pt x="1377" y="1535"/>
                  </a:lnTo>
                  <a:close/>
                  <a:moveTo>
                    <a:pt x="1199" y="1574"/>
                  </a:moveTo>
                  <a:lnTo>
                    <a:pt x="1204" y="1571"/>
                  </a:lnTo>
                  <a:lnTo>
                    <a:pt x="1207" y="1568"/>
                  </a:lnTo>
                  <a:lnTo>
                    <a:pt x="1210" y="1564"/>
                  </a:lnTo>
                  <a:lnTo>
                    <a:pt x="1211" y="1565"/>
                  </a:lnTo>
                  <a:lnTo>
                    <a:pt x="1212" y="1563"/>
                  </a:lnTo>
                  <a:lnTo>
                    <a:pt x="1213" y="1562"/>
                  </a:lnTo>
                  <a:lnTo>
                    <a:pt x="1215" y="1561"/>
                  </a:lnTo>
                  <a:lnTo>
                    <a:pt x="1217" y="1560"/>
                  </a:lnTo>
                  <a:lnTo>
                    <a:pt x="1217" y="1558"/>
                  </a:lnTo>
                  <a:lnTo>
                    <a:pt x="1216" y="1556"/>
                  </a:lnTo>
                  <a:lnTo>
                    <a:pt x="1215" y="1553"/>
                  </a:lnTo>
                  <a:lnTo>
                    <a:pt x="1215" y="1550"/>
                  </a:lnTo>
                  <a:lnTo>
                    <a:pt x="1216" y="1546"/>
                  </a:lnTo>
                  <a:lnTo>
                    <a:pt x="1213" y="1545"/>
                  </a:lnTo>
                  <a:lnTo>
                    <a:pt x="1212" y="1544"/>
                  </a:lnTo>
                  <a:lnTo>
                    <a:pt x="1211" y="1542"/>
                  </a:lnTo>
                  <a:lnTo>
                    <a:pt x="1211" y="1541"/>
                  </a:lnTo>
                  <a:lnTo>
                    <a:pt x="1212" y="1538"/>
                  </a:lnTo>
                  <a:lnTo>
                    <a:pt x="1212" y="1536"/>
                  </a:lnTo>
                  <a:lnTo>
                    <a:pt x="1212" y="1535"/>
                  </a:lnTo>
                  <a:lnTo>
                    <a:pt x="1210" y="1534"/>
                  </a:lnTo>
                  <a:lnTo>
                    <a:pt x="1208" y="1531"/>
                  </a:lnTo>
                  <a:lnTo>
                    <a:pt x="1206" y="1529"/>
                  </a:lnTo>
                  <a:lnTo>
                    <a:pt x="1205" y="1526"/>
                  </a:lnTo>
                  <a:lnTo>
                    <a:pt x="1204" y="1517"/>
                  </a:lnTo>
                  <a:lnTo>
                    <a:pt x="1202" y="1502"/>
                  </a:lnTo>
                  <a:lnTo>
                    <a:pt x="1201" y="1490"/>
                  </a:lnTo>
                  <a:lnTo>
                    <a:pt x="1201" y="1488"/>
                  </a:lnTo>
                  <a:lnTo>
                    <a:pt x="1200" y="1487"/>
                  </a:lnTo>
                  <a:lnTo>
                    <a:pt x="1198" y="1487"/>
                  </a:lnTo>
                  <a:lnTo>
                    <a:pt x="1197" y="1488"/>
                  </a:lnTo>
                  <a:lnTo>
                    <a:pt x="1195" y="1490"/>
                  </a:lnTo>
                  <a:lnTo>
                    <a:pt x="1192" y="1492"/>
                  </a:lnTo>
                  <a:lnTo>
                    <a:pt x="1190" y="1492"/>
                  </a:lnTo>
                  <a:lnTo>
                    <a:pt x="1188" y="1493"/>
                  </a:lnTo>
                  <a:lnTo>
                    <a:pt x="1184" y="1499"/>
                  </a:lnTo>
                  <a:lnTo>
                    <a:pt x="1178" y="1502"/>
                  </a:lnTo>
                  <a:lnTo>
                    <a:pt x="1173" y="1507"/>
                  </a:lnTo>
                  <a:lnTo>
                    <a:pt x="1170" y="1514"/>
                  </a:lnTo>
                  <a:lnTo>
                    <a:pt x="1171" y="1519"/>
                  </a:lnTo>
                  <a:lnTo>
                    <a:pt x="1171" y="1521"/>
                  </a:lnTo>
                  <a:lnTo>
                    <a:pt x="1169" y="1521"/>
                  </a:lnTo>
                  <a:lnTo>
                    <a:pt x="1168" y="1518"/>
                  </a:lnTo>
                  <a:lnTo>
                    <a:pt x="1167" y="1513"/>
                  </a:lnTo>
                  <a:lnTo>
                    <a:pt x="1167" y="1512"/>
                  </a:lnTo>
                  <a:lnTo>
                    <a:pt x="1168" y="1504"/>
                  </a:lnTo>
                  <a:lnTo>
                    <a:pt x="1170" y="1502"/>
                  </a:lnTo>
                  <a:lnTo>
                    <a:pt x="1168" y="1501"/>
                  </a:lnTo>
                  <a:lnTo>
                    <a:pt x="1166" y="1502"/>
                  </a:lnTo>
                  <a:lnTo>
                    <a:pt x="1164" y="1504"/>
                  </a:lnTo>
                  <a:lnTo>
                    <a:pt x="1155" y="1508"/>
                  </a:lnTo>
                  <a:lnTo>
                    <a:pt x="1150" y="1512"/>
                  </a:lnTo>
                  <a:lnTo>
                    <a:pt x="1149" y="1515"/>
                  </a:lnTo>
                  <a:lnTo>
                    <a:pt x="1148" y="1518"/>
                  </a:lnTo>
                  <a:lnTo>
                    <a:pt x="1148" y="1523"/>
                  </a:lnTo>
                  <a:lnTo>
                    <a:pt x="1147" y="1526"/>
                  </a:lnTo>
                  <a:lnTo>
                    <a:pt x="1146" y="1527"/>
                  </a:lnTo>
                  <a:lnTo>
                    <a:pt x="1144" y="1529"/>
                  </a:lnTo>
                  <a:lnTo>
                    <a:pt x="1149" y="1533"/>
                  </a:lnTo>
                  <a:lnTo>
                    <a:pt x="1142" y="1543"/>
                  </a:lnTo>
                  <a:lnTo>
                    <a:pt x="1140" y="1548"/>
                  </a:lnTo>
                  <a:lnTo>
                    <a:pt x="1141" y="1549"/>
                  </a:lnTo>
                  <a:lnTo>
                    <a:pt x="1142" y="1550"/>
                  </a:lnTo>
                  <a:lnTo>
                    <a:pt x="1143" y="1550"/>
                  </a:lnTo>
                  <a:lnTo>
                    <a:pt x="1141" y="1555"/>
                  </a:lnTo>
                  <a:lnTo>
                    <a:pt x="1140" y="1560"/>
                  </a:lnTo>
                  <a:lnTo>
                    <a:pt x="1142" y="1562"/>
                  </a:lnTo>
                  <a:lnTo>
                    <a:pt x="1147" y="1562"/>
                  </a:lnTo>
                  <a:lnTo>
                    <a:pt x="1149" y="1559"/>
                  </a:lnTo>
                  <a:lnTo>
                    <a:pt x="1154" y="1552"/>
                  </a:lnTo>
                  <a:lnTo>
                    <a:pt x="1159" y="1548"/>
                  </a:lnTo>
                  <a:lnTo>
                    <a:pt x="1161" y="1544"/>
                  </a:lnTo>
                  <a:lnTo>
                    <a:pt x="1165" y="1534"/>
                  </a:lnTo>
                  <a:lnTo>
                    <a:pt x="1168" y="1531"/>
                  </a:lnTo>
                  <a:lnTo>
                    <a:pt x="1173" y="1530"/>
                  </a:lnTo>
                  <a:lnTo>
                    <a:pt x="1177" y="1531"/>
                  </a:lnTo>
                  <a:lnTo>
                    <a:pt x="1181" y="1533"/>
                  </a:lnTo>
                  <a:lnTo>
                    <a:pt x="1173" y="1540"/>
                  </a:lnTo>
                  <a:lnTo>
                    <a:pt x="1169" y="1545"/>
                  </a:lnTo>
                  <a:lnTo>
                    <a:pt x="1169" y="1550"/>
                  </a:lnTo>
                  <a:lnTo>
                    <a:pt x="1170" y="1550"/>
                  </a:lnTo>
                  <a:lnTo>
                    <a:pt x="1176" y="1553"/>
                  </a:lnTo>
                  <a:lnTo>
                    <a:pt x="1178" y="1556"/>
                  </a:lnTo>
                  <a:lnTo>
                    <a:pt x="1182" y="1565"/>
                  </a:lnTo>
                  <a:lnTo>
                    <a:pt x="1173" y="1570"/>
                  </a:lnTo>
                  <a:lnTo>
                    <a:pt x="1170" y="1575"/>
                  </a:lnTo>
                  <a:lnTo>
                    <a:pt x="1169" y="1581"/>
                  </a:lnTo>
                  <a:lnTo>
                    <a:pt x="1171" y="1587"/>
                  </a:lnTo>
                  <a:lnTo>
                    <a:pt x="1175" y="1589"/>
                  </a:lnTo>
                  <a:lnTo>
                    <a:pt x="1179" y="1587"/>
                  </a:lnTo>
                  <a:lnTo>
                    <a:pt x="1183" y="1584"/>
                  </a:lnTo>
                  <a:lnTo>
                    <a:pt x="1184" y="1582"/>
                  </a:lnTo>
                  <a:lnTo>
                    <a:pt x="1185" y="1581"/>
                  </a:lnTo>
                  <a:lnTo>
                    <a:pt x="1186" y="1575"/>
                  </a:lnTo>
                  <a:lnTo>
                    <a:pt x="1188" y="1574"/>
                  </a:lnTo>
                  <a:lnTo>
                    <a:pt x="1195" y="1575"/>
                  </a:lnTo>
                  <a:lnTo>
                    <a:pt x="1199" y="1574"/>
                  </a:lnTo>
                  <a:close/>
                  <a:moveTo>
                    <a:pt x="1189" y="1440"/>
                  </a:moveTo>
                  <a:lnTo>
                    <a:pt x="1188" y="1441"/>
                  </a:lnTo>
                  <a:lnTo>
                    <a:pt x="1187" y="1442"/>
                  </a:lnTo>
                  <a:lnTo>
                    <a:pt x="1183" y="1447"/>
                  </a:lnTo>
                  <a:lnTo>
                    <a:pt x="1182" y="1450"/>
                  </a:lnTo>
                  <a:lnTo>
                    <a:pt x="1181" y="1454"/>
                  </a:lnTo>
                  <a:lnTo>
                    <a:pt x="1180" y="1457"/>
                  </a:lnTo>
                  <a:lnTo>
                    <a:pt x="1178" y="1459"/>
                  </a:lnTo>
                  <a:lnTo>
                    <a:pt x="1181" y="1461"/>
                  </a:lnTo>
                  <a:lnTo>
                    <a:pt x="1185" y="1461"/>
                  </a:lnTo>
                  <a:lnTo>
                    <a:pt x="1189" y="1460"/>
                  </a:lnTo>
                  <a:lnTo>
                    <a:pt x="1193" y="1458"/>
                  </a:lnTo>
                  <a:lnTo>
                    <a:pt x="1192" y="1453"/>
                  </a:lnTo>
                  <a:lnTo>
                    <a:pt x="1194" y="1447"/>
                  </a:lnTo>
                  <a:lnTo>
                    <a:pt x="1199" y="1438"/>
                  </a:lnTo>
                  <a:lnTo>
                    <a:pt x="1198" y="1434"/>
                  </a:lnTo>
                  <a:lnTo>
                    <a:pt x="1197" y="1434"/>
                  </a:lnTo>
                  <a:lnTo>
                    <a:pt x="1194" y="1436"/>
                  </a:lnTo>
                  <a:lnTo>
                    <a:pt x="1192" y="1436"/>
                  </a:lnTo>
                  <a:lnTo>
                    <a:pt x="1192" y="1438"/>
                  </a:lnTo>
                  <a:lnTo>
                    <a:pt x="1192" y="1438"/>
                  </a:lnTo>
                  <a:lnTo>
                    <a:pt x="1193" y="1440"/>
                  </a:lnTo>
                  <a:lnTo>
                    <a:pt x="1191" y="1441"/>
                  </a:lnTo>
                  <a:lnTo>
                    <a:pt x="1189" y="1440"/>
                  </a:lnTo>
                  <a:close/>
                  <a:moveTo>
                    <a:pt x="1226" y="1525"/>
                  </a:moveTo>
                  <a:lnTo>
                    <a:pt x="1227" y="1521"/>
                  </a:lnTo>
                  <a:lnTo>
                    <a:pt x="1229" y="1510"/>
                  </a:lnTo>
                  <a:lnTo>
                    <a:pt x="1230" y="1508"/>
                  </a:lnTo>
                  <a:lnTo>
                    <a:pt x="1233" y="1506"/>
                  </a:lnTo>
                  <a:lnTo>
                    <a:pt x="1237" y="1501"/>
                  </a:lnTo>
                  <a:lnTo>
                    <a:pt x="1238" y="1502"/>
                  </a:lnTo>
                  <a:lnTo>
                    <a:pt x="1242" y="1491"/>
                  </a:lnTo>
                  <a:lnTo>
                    <a:pt x="1255" y="1464"/>
                  </a:lnTo>
                  <a:lnTo>
                    <a:pt x="1261" y="1448"/>
                  </a:lnTo>
                  <a:lnTo>
                    <a:pt x="1265" y="1445"/>
                  </a:lnTo>
                  <a:lnTo>
                    <a:pt x="1267" y="1441"/>
                  </a:lnTo>
                  <a:lnTo>
                    <a:pt x="1270" y="1438"/>
                  </a:lnTo>
                  <a:lnTo>
                    <a:pt x="1270" y="1435"/>
                  </a:lnTo>
                  <a:lnTo>
                    <a:pt x="1269" y="1431"/>
                  </a:lnTo>
                  <a:lnTo>
                    <a:pt x="1269" y="1428"/>
                  </a:lnTo>
                  <a:lnTo>
                    <a:pt x="1266" y="1426"/>
                  </a:lnTo>
                  <a:lnTo>
                    <a:pt x="1261" y="1429"/>
                  </a:lnTo>
                  <a:lnTo>
                    <a:pt x="1252" y="1438"/>
                  </a:lnTo>
                  <a:lnTo>
                    <a:pt x="1240" y="1450"/>
                  </a:lnTo>
                  <a:lnTo>
                    <a:pt x="1236" y="1451"/>
                  </a:lnTo>
                  <a:lnTo>
                    <a:pt x="1232" y="1454"/>
                  </a:lnTo>
                  <a:lnTo>
                    <a:pt x="1227" y="1460"/>
                  </a:lnTo>
                  <a:lnTo>
                    <a:pt x="1223" y="1467"/>
                  </a:lnTo>
                  <a:lnTo>
                    <a:pt x="1221" y="1474"/>
                  </a:lnTo>
                  <a:lnTo>
                    <a:pt x="1223" y="1478"/>
                  </a:lnTo>
                  <a:lnTo>
                    <a:pt x="1229" y="1478"/>
                  </a:lnTo>
                  <a:lnTo>
                    <a:pt x="1235" y="1477"/>
                  </a:lnTo>
                  <a:lnTo>
                    <a:pt x="1238" y="1477"/>
                  </a:lnTo>
                  <a:lnTo>
                    <a:pt x="1233" y="1481"/>
                  </a:lnTo>
                  <a:lnTo>
                    <a:pt x="1221" y="1483"/>
                  </a:lnTo>
                  <a:lnTo>
                    <a:pt x="1216" y="1487"/>
                  </a:lnTo>
                  <a:lnTo>
                    <a:pt x="1213" y="1490"/>
                  </a:lnTo>
                  <a:lnTo>
                    <a:pt x="1211" y="1492"/>
                  </a:lnTo>
                  <a:lnTo>
                    <a:pt x="1208" y="1494"/>
                  </a:lnTo>
                  <a:lnTo>
                    <a:pt x="1207" y="1498"/>
                  </a:lnTo>
                  <a:lnTo>
                    <a:pt x="1207" y="1503"/>
                  </a:lnTo>
                  <a:lnTo>
                    <a:pt x="1208" y="1517"/>
                  </a:lnTo>
                  <a:lnTo>
                    <a:pt x="1210" y="1524"/>
                  </a:lnTo>
                  <a:lnTo>
                    <a:pt x="1216" y="1527"/>
                  </a:lnTo>
                  <a:lnTo>
                    <a:pt x="1222" y="1528"/>
                  </a:lnTo>
                  <a:lnTo>
                    <a:pt x="1226" y="1525"/>
                  </a:lnTo>
                  <a:close/>
                  <a:moveTo>
                    <a:pt x="1271" y="1414"/>
                  </a:moveTo>
                  <a:lnTo>
                    <a:pt x="1270" y="1412"/>
                  </a:lnTo>
                  <a:lnTo>
                    <a:pt x="1264" y="1417"/>
                  </a:lnTo>
                  <a:lnTo>
                    <a:pt x="1262" y="1419"/>
                  </a:lnTo>
                  <a:lnTo>
                    <a:pt x="1260" y="1424"/>
                  </a:lnTo>
                  <a:lnTo>
                    <a:pt x="1264" y="1424"/>
                  </a:lnTo>
                  <a:lnTo>
                    <a:pt x="1269" y="1422"/>
                  </a:lnTo>
                  <a:lnTo>
                    <a:pt x="1272" y="1419"/>
                  </a:lnTo>
                  <a:lnTo>
                    <a:pt x="1271" y="1414"/>
                  </a:lnTo>
                  <a:close/>
                  <a:moveTo>
                    <a:pt x="1273" y="1407"/>
                  </a:moveTo>
                  <a:lnTo>
                    <a:pt x="1276" y="1414"/>
                  </a:lnTo>
                  <a:lnTo>
                    <a:pt x="1278" y="1416"/>
                  </a:lnTo>
                  <a:lnTo>
                    <a:pt x="1279" y="1407"/>
                  </a:lnTo>
                  <a:lnTo>
                    <a:pt x="1281" y="1403"/>
                  </a:lnTo>
                  <a:lnTo>
                    <a:pt x="1282" y="1399"/>
                  </a:lnTo>
                  <a:lnTo>
                    <a:pt x="1282" y="1395"/>
                  </a:lnTo>
                  <a:lnTo>
                    <a:pt x="1281" y="1396"/>
                  </a:lnTo>
                  <a:lnTo>
                    <a:pt x="1280" y="1397"/>
                  </a:lnTo>
                  <a:lnTo>
                    <a:pt x="1279" y="1396"/>
                  </a:lnTo>
                  <a:lnTo>
                    <a:pt x="1279" y="1395"/>
                  </a:lnTo>
                  <a:lnTo>
                    <a:pt x="1277" y="1397"/>
                  </a:lnTo>
                  <a:lnTo>
                    <a:pt x="1275" y="1404"/>
                  </a:lnTo>
                  <a:lnTo>
                    <a:pt x="1273" y="1407"/>
                  </a:lnTo>
                  <a:close/>
                  <a:moveTo>
                    <a:pt x="1286" y="1380"/>
                  </a:moveTo>
                  <a:lnTo>
                    <a:pt x="1286" y="1377"/>
                  </a:lnTo>
                  <a:lnTo>
                    <a:pt x="1284" y="1378"/>
                  </a:lnTo>
                  <a:lnTo>
                    <a:pt x="1281" y="1378"/>
                  </a:lnTo>
                  <a:lnTo>
                    <a:pt x="1279" y="1379"/>
                  </a:lnTo>
                  <a:lnTo>
                    <a:pt x="1276" y="1385"/>
                  </a:lnTo>
                  <a:lnTo>
                    <a:pt x="1277" y="1389"/>
                  </a:lnTo>
                  <a:lnTo>
                    <a:pt x="1281" y="1391"/>
                  </a:lnTo>
                  <a:lnTo>
                    <a:pt x="1284" y="1389"/>
                  </a:lnTo>
                  <a:lnTo>
                    <a:pt x="1283" y="1385"/>
                  </a:lnTo>
                  <a:lnTo>
                    <a:pt x="1284" y="1383"/>
                  </a:lnTo>
                  <a:lnTo>
                    <a:pt x="1286" y="1380"/>
                  </a:lnTo>
                  <a:close/>
                  <a:moveTo>
                    <a:pt x="1294" y="1358"/>
                  </a:moveTo>
                  <a:lnTo>
                    <a:pt x="1297" y="1355"/>
                  </a:lnTo>
                  <a:lnTo>
                    <a:pt x="1299" y="1350"/>
                  </a:lnTo>
                  <a:lnTo>
                    <a:pt x="1298" y="1351"/>
                  </a:lnTo>
                  <a:lnTo>
                    <a:pt x="1295" y="1352"/>
                  </a:lnTo>
                  <a:lnTo>
                    <a:pt x="1291" y="1352"/>
                  </a:lnTo>
                  <a:lnTo>
                    <a:pt x="1288" y="1355"/>
                  </a:lnTo>
                  <a:lnTo>
                    <a:pt x="1287" y="1357"/>
                  </a:lnTo>
                  <a:lnTo>
                    <a:pt x="1286" y="1360"/>
                  </a:lnTo>
                  <a:lnTo>
                    <a:pt x="1291" y="1360"/>
                  </a:lnTo>
                  <a:lnTo>
                    <a:pt x="1294" y="1358"/>
                  </a:lnTo>
                  <a:close/>
                  <a:moveTo>
                    <a:pt x="1187" y="1336"/>
                  </a:moveTo>
                  <a:lnTo>
                    <a:pt x="1195" y="1336"/>
                  </a:lnTo>
                  <a:lnTo>
                    <a:pt x="1193" y="1333"/>
                  </a:lnTo>
                  <a:lnTo>
                    <a:pt x="1188" y="1329"/>
                  </a:lnTo>
                  <a:lnTo>
                    <a:pt x="1186" y="1326"/>
                  </a:lnTo>
                  <a:lnTo>
                    <a:pt x="1184" y="1326"/>
                  </a:lnTo>
                  <a:lnTo>
                    <a:pt x="1182" y="1327"/>
                  </a:lnTo>
                  <a:lnTo>
                    <a:pt x="1180" y="1329"/>
                  </a:lnTo>
                  <a:lnTo>
                    <a:pt x="1178" y="1332"/>
                  </a:lnTo>
                  <a:lnTo>
                    <a:pt x="1183" y="1336"/>
                  </a:lnTo>
                  <a:lnTo>
                    <a:pt x="1187" y="1336"/>
                  </a:lnTo>
                  <a:close/>
                  <a:moveTo>
                    <a:pt x="1086" y="1331"/>
                  </a:moveTo>
                  <a:lnTo>
                    <a:pt x="1089" y="1331"/>
                  </a:lnTo>
                  <a:lnTo>
                    <a:pt x="1092" y="1328"/>
                  </a:lnTo>
                  <a:lnTo>
                    <a:pt x="1093" y="1323"/>
                  </a:lnTo>
                  <a:lnTo>
                    <a:pt x="1102" y="1322"/>
                  </a:lnTo>
                  <a:lnTo>
                    <a:pt x="1105" y="1319"/>
                  </a:lnTo>
                  <a:lnTo>
                    <a:pt x="1103" y="1313"/>
                  </a:lnTo>
                  <a:lnTo>
                    <a:pt x="1099" y="1313"/>
                  </a:lnTo>
                  <a:lnTo>
                    <a:pt x="1090" y="1316"/>
                  </a:lnTo>
                  <a:lnTo>
                    <a:pt x="1087" y="1317"/>
                  </a:lnTo>
                  <a:lnTo>
                    <a:pt x="1081" y="1321"/>
                  </a:lnTo>
                  <a:lnTo>
                    <a:pt x="1077" y="1322"/>
                  </a:lnTo>
                  <a:lnTo>
                    <a:pt x="1067" y="1324"/>
                  </a:lnTo>
                  <a:lnTo>
                    <a:pt x="1063" y="1326"/>
                  </a:lnTo>
                  <a:lnTo>
                    <a:pt x="1065" y="1331"/>
                  </a:lnTo>
                  <a:lnTo>
                    <a:pt x="1066" y="1336"/>
                  </a:lnTo>
                  <a:lnTo>
                    <a:pt x="1067" y="1339"/>
                  </a:lnTo>
                  <a:lnTo>
                    <a:pt x="1077" y="1343"/>
                  </a:lnTo>
                  <a:lnTo>
                    <a:pt x="1080" y="1343"/>
                  </a:lnTo>
                  <a:lnTo>
                    <a:pt x="1080" y="1338"/>
                  </a:lnTo>
                  <a:lnTo>
                    <a:pt x="1082" y="1333"/>
                  </a:lnTo>
                  <a:lnTo>
                    <a:pt x="1086" y="1331"/>
                  </a:lnTo>
                  <a:close/>
                  <a:moveTo>
                    <a:pt x="1211" y="1288"/>
                  </a:moveTo>
                  <a:lnTo>
                    <a:pt x="1211" y="1287"/>
                  </a:lnTo>
                  <a:lnTo>
                    <a:pt x="1204" y="1285"/>
                  </a:lnTo>
                  <a:lnTo>
                    <a:pt x="1202" y="1283"/>
                  </a:lnTo>
                  <a:lnTo>
                    <a:pt x="1196" y="1284"/>
                  </a:lnTo>
                  <a:lnTo>
                    <a:pt x="1190" y="1286"/>
                  </a:lnTo>
                  <a:lnTo>
                    <a:pt x="1185" y="1289"/>
                  </a:lnTo>
                  <a:lnTo>
                    <a:pt x="1185" y="1295"/>
                  </a:lnTo>
                  <a:lnTo>
                    <a:pt x="1184" y="1296"/>
                  </a:lnTo>
                  <a:lnTo>
                    <a:pt x="1183" y="1296"/>
                  </a:lnTo>
                  <a:lnTo>
                    <a:pt x="1181" y="1295"/>
                  </a:lnTo>
                  <a:lnTo>
                    <a:pt x="1180" y="1293"/>
                  </a:lnTo>
                  <a:lnTo>
                    <a:pt x="1177" y="1295"/>
                  </a:lnTo>
                  <a:lnTo>
                    <a:pt x="1174" y="1296"/>
                  </a:lnTo>
                  <a:lnTo>
                    <a:pt x="1169" y="1297"/>
                  </a:lnTo>
                  <a:lnTo>
                    <a:pt x="1170" y="1300"/>
                  </a:lnTo>
                  <a:lnTo>
                    <a:pt x="1173" y="1304"/>
                  </a:lnTo>
                  <a:lnTo>
                    <a:pt x="1174" y="1306"/>
                  </a:lnTo>
                  <a:lnTo>
                    <a:pt x="1167" y="1312"/>
                  </a:lnTo>
                  <a:lnTo>
                    <a:pt x="1169" y="1315"/>
                  </a:lnTo>
                  <a:lnTo>
                    <a:pt x="1172" y="1316"/>
                  </a:lnTo>
                  <a:lnTo>
                    <a:pt x="1174" y="1318"/>
                  </a:lnTo>
                  <a:lnTo>
                    <a:pt x="1189" y="1321"/>
                  </a:lnTo>
                  <a:lnTo>
                    <a:pt x="1193" y="1322"/>
                  </a:lnTo>
                  <a:lnTo>
                    <a:pt x="1195" y="1325"/>
                  </a:lnTo>
                  <a:lnTo>
                    <a:pt x="1196" y="1327"/>
                  </a:lnTo>
                  <a:lnTo>
                    <a:pt x="1199" y="1333"/>
                  </a:lnTo>
                  <a:lnTo>
                    <a:pt x="1200" y="1335"/>
                  </a:lnTo>
                  <a:lnTo>
                    <a:pt x="1202" y="1334"/>
                  </a:lnTo>
                  <a:lnTo>
                    <a:pt x="1203" y="1333"/>
                  </a:lnTo>
                  <a:lnTo>
                    <a:pt x="1204" y="1332"/>
                  </a:lnTo>
                  <a:lnTo>
                    <a:pt x="1208" y="1331"/>
                  </a:lnTo>
                  <a:lnTo>
                    <a:pt x="1218" y="1326"/>
                  </a:lnTo>
                  <a:lnTo>
                    <a:pt x="1219" y="1328"/>
                  </a:lnTo>
                  <a:lnTo>
                    <a:pt x="1220" y="1330"/>
                  </a:lnTo>
                  <a:lnTo>
                    <a:pt x="1220" y="1333"/>
                  </a:lnTo>
                  <a:lnTo>
                    <a:pt x="1219" y="1336"/>
                  </a:lnTo>
                  <a:lnTo>
                    <a:pt x="1217" y="1337"/>
                  </a:lnTo>
                  <a:lnTo>
                    <a:pt x="1208" y="1342"/>
                  </a:lnTo>
                  <a:lnTo>
                    <a:pt x="1202" y="1341"/>
                  </a:lnTo>
                  <a:lnTo>
                    <a:pt x="1200" y="1342"/>
                  </a:lnTo>
                  <a:lnTo>
                    <a:pt x="1199" y="1344"/>
                  </a:lnTo>
                  <a:lnTo>
                    <a:pt x="1198" y="1346"/>
                  </a:lnTo>
                  <a:lnTo>
                    <a:pt x="1198" y="1348"/>
                  </a:lnTo>
                  <a:lnTo>
                    <a:pt x="1195" y="1354"/>
                  </a:lnTo>
                  <a:lnTo>
                    <a:pt x="1194" y="1355"/>
                  </a:lnTo>
                  <a:lnTo>
                    <a:pt x="1192" y="1356"/>
                  </a:lnTo>
                  <a:lnTo>
                    <a:pt x="1190" y="1356"/>
                  </a:lnTo>
                  <a:lnTo>
                    <a:pt x="1189" y="1359"/>
                  </a:lnTo>
                  <a:lnTo>
                    <a:pt x="1188" y="1361"/>
                  </a:lnTo>
                  <a:lnTo>
                    <a:pt x="1189" y="1365"/>
                  </a:lnTo>
                  <a:lnTo>
                    <a:pt x="1192" y="1367"/>
                  </a:lnTo>
                  <a:lnTo>
                    <a:pt x="1196" y="1368"/>
                  </a:lnTo>
                  <a:lnTo>
                    <a:pt x="1204" y="1366"/>
                  </a:lnTo>
                  <a:lnTo>
                    <a:pt x="1213" y="1360"/>
                  </a:lnTo>
                  <a:lnTo>
                    <a:pt x="1216" y="1360"/>
                  </a:lnTo>
                  <a:lnTo>
                    <a:pt x="1217" y="1361"/>
                  </a:lnTo>
                  <a:lnTo>
                    <a:pt x="1214" y="1364"/>
                  </a:lnTo>
                  <a:lnTo>
                    <a:pt x="1207" y="1370"/>
                  </a:lnTo>
                  <a:lnTo>
                    <a:pt x="1196" y="1372"/>
                  </a:lnTo>
                  <a:lnTo>
                    <a:pt x="1193" y="1374"/>
                  </a:lnTo>
                  <a:lnTo>
                    <a:pt x="1191" y="1375"/>
                  </a:lnTo>
                  <a:lnTo>
                    <a:pt x="1183" y="1374"/>
                  </a:lnTo>
                  <a:lnTo>
                    <a:pt x="1181" y="1375"/>
                  </a:lnTo>
                  <a:lnTo>
                    <a:pt x="1182" y="1376"/>
                  </a:lnTo>
                  <a:lnTo>
                    <a:pt x="1182" y="1376"/>
                  </a:lnTo>
                  <a:lnTo>
                    <a:pt x="1183" y="1377"/>
                  </a:lnTo>
                  <a:lnTo>
                    <a:pt x="1184" y="1377"/>
                  </a:lnTo>
                  <a:lnTo>
                    <a:pt x="1184" y="1379"/>
                  </a:lnTo>
                  <a:lnTo>
                    <a:pt x="1181" y="1381"/>
                  </a:lnTo>
                  <a:lnTo>
                    <a:pt x="1179" y="1379"/>
                  </a:lnTo>
                  <a:lnTo>
                    <a:pt x="1177" y="1375"/>
                  </a:lnTo>
                  <a:lnTo>
                    <a:pt x="1174" y="1371"/>
                  </a:lnTo>
                  <a:lnTo>
                    <a:pt x="1171" y="1371"/>
                  </a:lnTo>
                  <a:lnTo>
                    <a:pt x="1167" y="1372"/>
                  </a:lnTo>
                  <a:lnTo>
                    <a:pt x="1164" y="1374"/>
                  </a:lnTo>
                  <a:lnTo>
                    <a:pt x="1162" y="1378"/>
                  </a:lnTo>
                  <a:lnTo>
                    <a:pt x="1163" y="1384"/>
                  </a:lnTo>
                  <a:lnTo>
                    <a:pt x="1165" y="1388"/>
                  </a:lnTo>
                  <a:lnTo>
                    <a:pt x="1168" y="1391"/>
                  </a:lnTo>
                  <a:lnTo>
                    <a:pt x="1173" y="1394"/>
                  </a:lnTo>
                  <a:lnTo>
                    <a:pt x="1176" y="1395"/>
                  </a:lnTo>
                  <a:lnTo>
                    <a:pt x="1178" y="1395"/>
                  </a:lnTo>
                  <a:lnTo>
                    <a:pt x="1180" y="1394"/>
                  </a:lnTo>
                  <a:lnTo>
                    <a:pt x="1181" y="1392"/>
                  </a:lnTo>
                  <a:lnTo>
                    <a:pt x="1181" y="1390"/>
                  </a:lnTo>
                  <a:lnTo>
                    <a:pt x="1182" y="1389"/>
                  </a:lnTo>
                  <a:lnTo>
                    <a:pt x="1197" y="1389"/>
                  </a:lnTo>
                  <a:lnTo>
                    <a:pt x="1199" y="1388"/>
                  </a:lnTo>
                  <a:lnTo>
                    <a:pt x="1203" y="1385"/>
                  </a:lnTo>
                  <a:lnTo>
                    <a:pt x="1204" y="1385"/>
                  </a:lnTo>
                  <a:lnTo>
                    <a:pt x="1206" y="1386"/>
                  </a:lnTo>
                  <a:lnTo>
                    <a:pt x="1208" y="1387"/>
                  </a:lnTo>
                  <a:lnTo>
                    <a:pt x="1210" y="1388"/>
                  </a:lnTo>
                  <a:lnTo>
                    <a:pt x="1212" y="1386"/>
                  </a:lnTo>
                  <a:lnTo>
                    <a:pt x="1214" y="1383"/>
                  </a:lnTo>
                  <a:lnTo>
                    <a:pt x="1227" y="1376"/>
                  </a:lnTo>
                  <a:lnTo>
                    <a:pt x="1232" y="1375"/>
                  </a:lnTo>
                  <a:lnTo>
                    <a:pt x="1234" y="1374"/>
                  </a:lnTo>
                  <a:lnTo>
                    <a:pt x="1235" y="1372"/>
                  </a:lnTo>
                  <a:lnTo>
                    <a:pt x="1236" y="1370"/>
                  </a:lnTo>
                  <a:lnTo>
                    <a:pt x="1237" y="1370"/>
                  </a:lnTo>
                  <a:lnTo>
                    <a:pt x="1241" y="1368"/>
                  </a:lnTo>
                  <a:lnTo>
                    <a:pt x="1242" y="1368"/>
                  </a:lnTo>
                  <a:lnTo>
                    <a:pt x="1244" y="1370"/>
                  </a:lnTo>
                  <a:lnTo>
                    <a:pt x="1244" y="1372"/>
                  </a:lnTo>
                  <a:lnTo>
                    <a:pt x="1242" y="1375"/>
                  </a:lnTo>
                  <a:lnTo>
                    <a:pt x="1240" y="1376"/>
                  </a:lnTo>
                  <a:lnTo>
                    <a:pt x="1239" y="1377"/>
                  </a:lnTo>
                  <a:lnTo>
                    <a:pt x="1244" y="1380"/>
                  </a:lnTo>
                  <a:lnTo>
                    <a:pt x="1251" y="1379"/>
                  </a:lnTo>
                  <a:lnTo>
                    <a:pt x="1265" y="1370"/>
                  </a:lnTo>
                  <a:lnTo>
                    <a:pt x="1267" y="1366"/>
                  </a:lnTo>
                  <a:lnTo>
                    <a:pt x="1269" y="1363"/>
                  </a:lnTo>
                  <a:lnTo>
                    <a:pt x="1266" y="1362"/>
                  </a:lnTo>
                  <a:lnTo>
                    <a:pt x="1260" y="1362"/>
                  </a:lnTo>
                  <a:lnTo>
                    <a:pt x="1257" y="1364"/>
                  </a:lnTo>
                  <a:lnTo>
                    <a:pt x="1255" y="1366"/>
                  </a:lnTo>
                  <a:lnTo>
                    <a:pt x="1255" y="1364"/>
                  </a:lnTo>
                  <a:lnTo>
                    <a:pt x="1260" y="1359"/>
                  </a:lnTo>
                  <a:lnTo>
                    <a:pt x="1262" y="1355"/>
                  </a:lnTo>
                  <a:lnTo>
                    <a:pt x="1261" y="1352"/>
                  </a:lnTo>
                  <a:lnTo>
                    <a:pt x="1262" y="1352"/>
                  </a:lnTo>
                  <a:lnTo>
                    <a:pt x="1264" y="1352"/>
                  </a:lnTo>
                  <a:lnTo>
                    <a:pt x="1265" y="1352"/>
                  </a:lnTo>
                  <a:lnTo>
                    <a:pt x="1266" y="1354"/>
                  </a:lnTo>
                  <a:lnTo>
                    <a:pt x="1265" y="1357"/>
                  </a:lnTo>
                  <a:lnTo>
                    <a:pt x="1267" y="1358"/>
                  </a:lnTo>
                  <a:lnTo>
                    <a:pt x="1273" y="1358"/>
                  </a:lnTo>
                  <a:lnTo>
                    <a:pt x="1275" y="1356"/>
                  </a:lnTo>
                  <a:lnTo>
                    <a:pt x="1274" y="1352"/>
                  </a:lnTo>
                  <a:lnTo>
                    <a:pt x="1271" y="1348"/>
                  </a:lnTo>
                  <a:lnTo>
                    <a:pt x="1270" y="1346"/>
                  </a:lnTo>
                  <a:lnTo>
                    <a:pt x="1273" y="1346"/>
                  </a:lnTo>
                  <a:lnTo>
                    <a:pt x="1274" y="1347"/>
                  </a:lnTo>
                  <a:lnTo>
                    <a:pt x="1275" y="1348"/>
                  </a:lnTo>
                  <a:lnTo>
                    <a:pt x="1276" y="1342"/>
                  </a:lnTo>
                  <a:lnTo>
                    <a:pt x="1275" y="1341"/>
                  </a:lnTo>
                  <a:lnTo>
                    <a:pt x="1272" y="1342"/>
                  </a:lnTo>
                  <a:lnTo>
                    <a:pt x="1271" y="1341"/>
                  </a:lnTo>
                  <a:lnTo>
                    <a:pt x="1270" y="1338"/>
                  </a:lnTo>
                  <a:lnTo>
                    <a:pt x="1268" y="1334"/>
                  </a:lnTo>
                  <a:lnTo>
                    <a:pt x="1266" y="1331"/>
                  </a:lnTo>
                  <a:lnTo>
                    <a:pt x="1265" y="1330"/>
                  </a:lnTo>
                  <a:lnTo>
                    <a:pt x="1263" y="1330"/>
                  </a:lnTo>
                  <a:lnTo>
                    <a:pt x="1261" y="1331"/>
                  </a:lnTo>
                  <a:lnTo>
                    <a:pt x="1259" y="1330"/>
                  </a:lnTo>
                  <a:lnTo>
                    <a:pt x="1258" y="1329"/>
                  </a:lnTo>
                  <a:lnTo>
                    <a:pt x="1254" y="1323"/>
                  </a:lnTo>
                  <a:lnTo>
                    <a:pt x="1253" y="1322"/>
                  </a:lnTo>
                  <a:lnTo>
                    <a:pt x="1251" y="1322"/>
                  </a:lnTo>
                  <a:lnTo>
                    <a:pt x="1250" y="1322"/>
                  </a:lnTo>
                  <a:lnTo>
                    <a:pt x="1247" y="1324"/>
                  </a:lnTo>
                  <a:lnTo>
                    <a:pt x="1246" y="1323"/>
                  </a:lnTo>
                  <a:lnTo>
                    <a:pt x="1245" y="1321"/>
                  </a:lnTo>
                  <a:lnTo>
                    <a:pt x="1244" y="1320"/>
                  </a:lnTo>
                  <a:lnTo>
                    <a:pt x="1228" y="1320"/>
                  </a:lnTo>
                  <a:lnTo>
                    <a:pt x="1226" y="1320"/>
                  </a:lnTo>
                  <a:lnTo>
                    <a:pt x="1226" y="1318"/>
                  </a:lnTo>
                  <a:lnTo>
                    <a:pt x="1226" y="1316"/>
                  </a:lnTo>
                  <a:lnTo>
                    <a:pt x="1225" y="1314"/>
                  </a:lnTo>
                  <a:lnTo>
                    <a:pt x="1219" y="1299"/>
                  </a:lnTo>
                  <a:lnTo>
                    <a:pt x="1215" y="1293"/>
                  </a:lnTo>
                  <a:lnTo>
                    <a:pt x="1210" y="1293"/>
                  </a:lnTo>
                  <a:lnTo>
                    <a:pt x="1210" y="1291"/>
                  </a:lnTo>
                  <a:lnTo>
                    <a:pt x="1211" y="1288"/>
                  </a:lnTo>
                  <a:close/>
                  <a:moveTo>
                    <a:pt x="1113" y="1302"/>
                  </a:moveTo>
                  <a:lnTo>
                    <a:pt x="1109" y="1303"/>
                  </a:lnTo>
                  <a:lnTo>
                    <a:pt x="1110" y="1306"/>
                  </a:lnTo>
                  <a:lnTo>
                    <a:pt x="1111" y="1309"/>
                  </a:lnTo>
                  <a:lnTo>
                    <a:pt x="1113" y="1311"/>
                  </a:lnTo>
                  <a:lnTo>
                    <a:pt x="1113" y="1307"/>
                  </a:lnTo>
                  <a:lnTo>
                    <a:pt x="1114" y="1305"/>
                  </a:lnTo>
                  <a:lnTo>
                    <a:pt x="1116" y="1305"/>
                  </a:lnTo>
                  <a:lnTo>
                    <a:pt x="1120" y="1306"/>
                  </a:lnTo>
                  <a:lnTo>
                    <a:pt x="1123" y="1306"/>
                  </a:lnTo>
                  <a:lnTo>
                    <a:pt x="1131" y="1299"/>
                  </a:lnTo>
                  <a:lnTo>
                    <a:pt x="1137" y="1291"/>
                  </a:lnTo>
                  <a:lnTo>
                    <a:pt x="1139" y="1291"/>
                  </a:lnTo>
                  <a:lnTo>
                    <a:pt x="1140" y="1290"/>
                  </a:lnTo>
                  <a:lnTo>
                    <a:pt x="1141" y="1289"/>
                  </a:lnTo>
                  <a:lnTo>
                    <a:pt x="1143" y="1287"/>
                  </a:lnTo>
                  <a:lnTo>
                    <a:pt x="1144" y="1285"/>
                  </a:lnTo>
                  <a:lnTo>
                    <a:pt x="1146" y="1279"/>
                  </a:lnTo>
                  <a:lnTo>
                    <a:pt x="1148" y="1276"/>
                  </a:lnTo>
                  <a:lnTo>
                    <a:pt x="1149" y="1273"/>
                  </a:lnTo>
                  <a:lnTo>
                    <a:pt x="1147" y="1272"/>
                  </a:lnTo>
                  <a:lnTo>
                    <a:pt x="1143" y="1273"/>
                  </a:lnTo>
                  <a:lnTo>
                    <a:pt x="1140" y="1274"/>
                  </a:lnTo>
                  <a:lnTo>
                    <a:pt x="1135" y="1278"/>
                  </a:lnTo>
                  <a:lnTo>
                    <a:pt x="1132" y="1280"/>
                  </a:lnTo>
                  <a:lnTo>
                    <a:pt x="1126" y="1284"/>
                  </a:lnTo>
                  <a:lnTo>
                    <a:pt x="1124" y="1286"/>
                  </a:lnTo>
                  <a:lnTo>
                    <a:pt x="1117" y="1298"/>
                  </a:lnTo>
                  <a:lnTo>
                    <a:pt x="1113" y="1302"/>
                  </a:lnTo>
                  <a:close/>
                  <a:moveTo>
                    <a:pt x="986" y="1200"/>
                  </a:moveTo>
                  <a:lnTo>
                    <a:pt x="988" y="1199"/>
                  </a:lnTo>
                  <a:lnTo>
                    <a:pt x="991" y="1198"/>
                  </a:lnTo>
                  <a:lnTo>
                    <a:pt x="992" y="1196"/>
                  </a:lnTo>
                  <a:lnTo>
                    <a:pt x="991" y="1194"/>
                  </a:lnTo>
                  <a:lnTo>
                    <a:pt x="993" y="1193"/>
                  </a:lnTo>
                  <a:lnTo>
                    <a:pt x="994" y="1192"/>
                  </a:lnTo>
                  <a:lnTo>
                    <a:pt x="995" y="1190"/>
                  </a:lnTo>
                  <a:lnTo>
                    <a:pt x="996" y="1189"/>
                  </a:lnTo>
                  <a:lnTo>
                    <a:pt x="998" y="1188"/>
                  </a:lnTo>
                  <a:lnTo>
                    <a:pt x="1002" y="1188"/>
                  </a:lnTo>
                  <a:lnTo>
                    <a:pt x="1001" y="1186"/>
                  </a:lnTo>
                  <a:lnTo>
                    <a:pt x="1000" y="1184"/>
                  </a:lnTo>
                  <a:lnTo>
                    <a:pt x="1000" y="1182"/>
                  </a:lnTo>
                  <a:lnTo>
                    <a:pt x="999" y="1180"/>
                  </a:lnTo>
                  <a:lnTo>
                    <a:pt x="998" y="1179"/>
                  </a:lnTo>
                  <a:lnTo>
                    <a:pt x="993" y="1176"/>
                  </a:lnTo>
                  <a:lnTo>
                    <a:pt x="993" y="1175"/>
                  </a:lnTo>
                  <a:lnTo>
                    <a:pt x="996" y="1170"/>
                  </a:lnTo>
                  <a:lnTo>
                    <a:pt x="995" y="1169"/>
                  </a:lnTo>
                  <a:lnTo>
                    <a:pt x="994" y="1168"/>
                  </a:lnTo>
                  <a:lnTo>
                    <a:pt x="994" y="1168"/>
                  </a:lnTo>
                  <a:lnTo>
                    <a:pt x="993" y="1168"/>
                  </a:lnTo>
                  <a:lnTo>
                    <a:pt x="992" y="1166"/>
                  </a:lnTo>
                  <a:lnTo>
                    <a:pt x="991" y="1166"/>
                  </a:lnTo>
                  <a:lnTo>
                    <a:pt x="990" y="1166"/>
                  </a:lnTo>
                  <a:lnTo>
                    <a:pt x="989" y="1174"/>
                  </a:lnTo>
                  <a:lnTo>
                    <a:pt x="986" y="1176"/>
                  </a:lnTo>
                  <a:lnTo>
                    <a:pt x="982" y="1177"/>
                  </a:lnTo>
                  <a:lnTo>
                    <a:pt x="978" y="1180"/>
                  </a:lnTo>
                  <a:lnTo>
                    <a:pt x="980" y="1182"/>
                  </a:lnTo>
                  <a:lnTo>
                    <a:pt x="980" y="1185"/>
                  </a:lnTo>
                  <a:lnTo>
                    <a:pt x="980" y="1188"/>
                  </a:lnTo>
                  <a:lnTo>
                    <a:pt x="978" y="1189"/>
                  </a:lnTo>
                  <a:lnTo>
                    <a:pt x="975" y="1191"/>
                  </a:lnTo>
                  <a:lnTo>
                    <a:pt x="973" y="1194"/>
                  </a:lnTo>
                  <a:lnTo>
                    <a:pt x="973" y="1196"/>
                  </a:lnTo>
                  <a:lnTo>
                    <a:pt x="976" y="1198"/>
                  </a:lnTo>
                  <a:lnTo>
                    <a:pt x="986" y="1200"/>
                  </a:lnTo>
                  <a:close/>
                  <a:moveTo>
                    <a:pt x="1181" y="1175"/>
                  </a:moveTo>
                  <a:lnTo>
                    <a:pt x="1177" y="1171"/>
                  </a:lnTo>
                  <a:lnTo>
                    <a:pt x="1169" y="1166"/>
                  </a:lnTo>
                  <a:lnTo>
                    <a:pt x="1163" y="1167"/>
                  </a:lnTo>
                  <a:lnTo>
                    <a:pt x="1158" y="1170"/>
                  </a:lnTo>
                  <a:lnTo>
                    <a:pt x="1148" y="1182"/>
                  </a:lnTo>
                  <a:lnTo>
                    <a:pt x="1151" y="1183"/>
                  </a:lnTo>
                  <a:lnTo>
                    <a:pt x="1156" y="1189"/>
                  </a:lnTo>
                  <a:lnTo>
                    <a:pt x="1159" y="1189"/>
                  </a:lnTo>
                  <a:lnTo>
                    <a:pt x="1161" y="1191"/>
                  </a:lnTo>
                  <a:lnTo>
                    <a:pt x="1163" y="1198"/>
                  </a:lnTo>
                  <a:lnTo>
                    <a:pt x="1166" y="1200"/>
                  </a:lnTo>
                  <a:lnTo>
                    <a:pt x="1172" y="1199"/>
                  </a:lnTo>
                  <a:lnTo>
                    <a:pt x="1177" y="1196"/>
                  </a:lnTo>
                  <a:lnTo>
                    <a:pt x="1180" y="1190"/>
                  </a:lnTo>
                  <a:lnTo>
                    <a:pt x="1182" y="1180"/>
                  </a:lnTo>
                  <a:lnTo>
                    <a:pt x="1178" y="1180"/>
                  </a:lnTo>
                  <a:lnTo>
                    <a:pt x="1178" y="1178"/>
                  </a:lnTo>
                  <a:lnTo>
                    <a:pt x="1181" y="1175"/>
                  </a:lnTo>
                  <a:close/>
                  <a:moveTo>
                    <a:pt x="1133" y="1169"/>
                  </a:moveTo>
                  <a:lnTo>
                    <a:pt x="1139" y="1168"/>
                  </a:lnTo>
                  <a:lnTo>
                    <a:pt x="1143" y="1166"/>
                  </a:lnTo>
                  <a:lnTo>
                    <a:pt x="1141" y="1164"/>
                  </a:lnTo>
                  <a:lnTo>
                    <a:pt x="1137" y="1163"/>
                  </a:lnTo>
                  <a:lnTo>
                    <a:pt x="1135" y="1162"/>
                  </a:lnTo>
                  <a:lnTo>
                    <a:pt x="1132" y="1162"/>
                  </a:lnTo>
                  <a:lnTo>
                    <a:pt x="1127" y="1166"/>
                  </a:lnTo>
                  <a:lnTo>
                    <a:pt x="1124" y="1168"/>
                  </a:lnTo>
                  <a:lnTo>
                    <a:pt x="1128" y="1169"/>
                  </a:lnTo>
                  <a:lnTo>
                    <a:pt x="1133" y="1169"/>
                  </a:lnTo>
                  <a:close/>
                  <a:moveTo>
                    <a:pt x="1222" y="1088"/>
                  </a:moveTo>
                  <a:lnTo>
                    <a:pt x="1218" y="1090"/>
                  </a:lnTo>
                  <a:lnTo>
                    <a:pt x="1219" y="1094"/>
                  </a:lnTo>
                  <a:lnTo>
                    <a:pt x="1223" y="1098"/>
                  </a:lnTo>
                  <a:lnTo>
                    <a:pt x="1227" y="1100"/>
                  </a:lnTo>
                  <a:lnTo>
                    <a:pt x="1232" y="1098"/>
                  </a:lnTo>
                  <a:lnTo>
                    <a:pt x="1232" y="1093"/>
                  </a:lnTo>
                  <a:lnTo>
                    <a:pt x="1227" y="1089"/>
                  </a:lnTo>
                  <a:lnTo>
                    <a:pt x="1222" y="1088"/>
                  </a:lnTo>
                  <a:close/>
                  <a:moveTo>
                    <a:pt x="1018" y="1115"/>
                  </a:moveTo>
                  <a:lnTo>
                    <a:pt x="1021" y="1114"/>
                  </a:lnTo>
                  <a:lnTo>
                    <a:pt x="1022" y="1111"/>
                  </a:lnTo>
                  <a:lnTo>
                    <a:pt x="1024" y="1105"/>
                  </a:lnTo>
                  <a:lnTo>
                    <a:pt x="1025" y="1103"/>
                  </a:lnTo>
                  <a:lnTo>
                    <a:pt x="1027" y="1101"/>
                  </a:lnTo>
                  <a:lnTo>
                    <a:pt x="1028" y="1099"/>
                  </a:lnTo>
                  <a:lnTo>
                    <a:pt x="1030" y="1098"/>
                  </a:lnTo>
                  <a:lnTo>
                    <a:pt x="1031" y="1094"/>
                  </a:lnTo>
                  <a:lnTo>
                    <a:pt x="1028" y="1094"/>
                  </a:lnTo>
                  <a:lnTo>
                    <a:pt x="1026" y="1092"/>
                  </a:lnTo>
                  <a:lnTo>
                    <a:pt x="1025" y="1090"/>
                  </a:lnTo>
                  <a:lnTo>
                    <a:pt x="1023" y="1088"/>
                  </a:lnTo>
                  <a:lnTo>
                    <a:pt x="1021" y="1087"/>
                  </a:lnTo>
                  <a:lnTo>
                    <a:pt x="1016" y="1087"/>
                  </a:lnTo>
                  <a:lnTo>
                    <a:pt x="1013" y="1086"/>
                  </a:lnTo>
                  <a:lnTo>
                    <a:pt x="1011" y="1082"/>
                  </a:lnTo>
                  <a:lnTo>
                    <a:pt x="1011" y="1081"/>
                  </a:lnTo>
                  <a:lnTo>
                    <a:pt x="1007" y="1080"/>
                  </a:lnTo>
                  <a:lnTo>
                    <a:pt x="1005" y="1079"/>
                  </a:lnTo>
                  <a:lnTo>
                    <a:pt x="1004" y="1080"/>
                  </a:lnTo>
                  <a:lnTo>
                    <a:pt x="1003" y="1079"/>
                  </a:lnTo>
                  <a:lnTo>
                    <a:pt x="1002" y="1077"/>
                  </a:lnTo>
                  <a:lnTo>
                    <a:pt x="1002" y="1075"/>
                  </a:lnTo>
                  <a:lnTo>
                    <a:pt x="1001" y="1074"/>
                  </a:lnTo>
                  <a:lnTo>
                    <a:pt x="1000" y="1072"/>
                  </a:lnTo>
                  <a:lnTo>
                    <a:pt x="999" y="1072"/>
                  </a:lnTo>
                  <a:lnTo>
                    <a:pt x="1003" y="1069"/>
                  </a:lnTo>
                  <a:lnTo>
                    <a:pt x="1006" y="1073"/>
                  </a:lnTo>
                  <a:lnTo>
                    <a:pt x="1009" y="1077"/>
                  </a:lnTo>
                  <a:lnTo>
                    <a:pt x="1016" y="1081"/>
                  </a:lnTo>
                  <a:lnTo>
                    <a:pt x="1018" y="1084"/>
                  </a:lnTo>
                  <a:lnTo>
                    <a:pt x="1022" y="1086"/>
                  </a:lnTo>
                  <a:lnTo>
                    <a:pt x="1026" y="1083"/>
                  </a:lnTo>
                  <a:lnTo>
                    <a:pt x="1026" y="1081"/>
                  </a:lnTo>
                  <a:lnTo>
                    <a:pt x="1023" y="1081"/>
                  </a:lnTo>
                  <a:lnTo>
                    <a:pt x="1018" y="1076"/>
                  </a:lnTo>
                  <a:lnTo>
                    <a:pt x="1014" y="1076"/>
                  </a:lnTo>
                  <a:lnTo>
                    <a:pt x="1014" y="1073"/>
                  </a:lnTo>
                  <a:lnTo>
                    <a:pt x="1017" y="1075"/>
                  </a:lnTo>
                  <a:lnTo>
                    <a:pt x="1018" y="1075"/>
                  </a:lnTo>
                  <a:lnTo>
                    <a:pt x="1020" y="1073"/>
                  </a:lnTo>
                  <a:lnTo>
                    <a:pt x="1006" y="1063"/>
                  </a:lnTo>
                  <a:lnTo>
                    <a:pt x="1004" y="1063"/>
                  </a:lnTo>
                  <a:lnTo>
                    <a:pt x="997" y="1067"/>
                  </a:lnTo>
                  <a:lnTo>
                    <a:pt x="994" y="1069"/>
                  </a:lnTo>
                  <a:lnTo>
                    <a:pt x="998" y="1083"/>
                  </a:lnTo>
                  <a:lnTo>
                    <a:pt x="1000" y="1092"/>
                  </a:lnTo>
                  <a:lnTo>
                    <a:pt x="999" y="1096"/>
                  </a:lnTo>
                  <a:lnTo>
                    <a:pt x="997" y="1096"/>
                  </a:lnTo>
                  <a:lnTo>
                    <a:pt x="996" y="1098"/>
                  </a:lnTo>
                  <a:lnTo>
                    <a:pt x="995" y="1101"/>
                  </a:lnTo>
                  <a:lnTo>
                    <a:pt x="995" y="1104"/>
                  </a:lnTo>
                  <a:lnTo>
                    <a:pt x="993" y="1109"/>
                  </a:lnTo>
                  <a:lnTo>
                    <a:pt x="991" y="1111"/>
                  </a:lnTo>
                  <a:lnTo>
                    <a:pt x="989" y="1114"/>
                  </a:lnTo>
                  <a:lnTo>
                    <a:pt x="992" y="1114"/>
                  </a:lnTo>
                  <a:lnTo>
                    <a:pt x="993" y="1116"/>
                  </a:lnTo>
                  <a:lnTo>
                    <a:pt x="996" y="1120"/>
                  </a:lnTo>
                  <a:lnTo>
                    <a:pt x="996" y="1122"/>
                  </a:lnTo>
                  <a:lnTo>
                    <a:pt x="995" y="1125"/>
                  </a:lnTo>
                  <a:lnTo>
                    <a:pt x="996" y="1130"/>
                  </a:lnTo>
                  <a:lnTo>
                    <a:pt x="1000" y="1145"/>
                  </a:lnTo>
                  <a:lnTo>
                    <a:pt x="1001" y="1148"/>
                  </a:lnTo>
                  <a:lnTo>
                    <a:pt x="1006" y="1154"/>
                  </a:lnTo>
                  <a:lnTo>
                    <a:pt x="1011" y="1151"/>
                  </a:lnTo>
                  <a:lnTo>
                    <a:pt x="1024" y="1154"/>
                  </a:lnTo>
                  <a:lnTo>
                    <a:pt x="1027" y="1150"/>
                  </a:lnTo>
                  <a:lnTo>
                    <a:pt x="1027" y="1148"/>
                  </a:lnTo>
                  <a:lnTo>
                    <a:pt x="1024" y="1147"/>
                  </a:lnTo>
                  <a:lnTo>
                    <a:pt x="1022" y="1145"/>
                  </a:lnTo>
                  <a:lnTo>
                    <a:pt x="1020" y="1142"/>
                  </a:lnTo>
                  <a:lnTo>
                    <a:pt x="1017" y="1140"/>
                  </a:lnTo>
                  <a:lnTo>
                    <a:pt x="1015" y="1140"/>
                  </a:lnTo>
                  <a:lnTo>
                    <a:pt x="1009" y="1140"/>
                  </a:lnTo>
                  <a:lnTo>
                    <a:pt x="1007" y="1140"/>
                  </a:lnTo>
                  <a:lnTo>
                    <a:pt x="1007" y="1138"/>
                  </a:lnTo>
                  <a:lnTo>
                    <a:pt x="1013" y="1137"/>
                  </a:lnTo>
                  <a:lnTo>
                    <a:pt x="1016" y="1138"/>
                  </a:lnTo>
                  <a:lnTo>
                    <a:pt x="1019" y="1140"/>
                  </a:lnTo>
                  <a:lnTo>
                    <a:pt x="1020" y="1136"/>
                  </a:lnTo>
                  <a:lnTo>
                    <a:pt x="1021" y="1130"/>
                  </a:lnTo>
                  <a:lnTo>
                    <a:pt x="1020" y="1124"/>
                  </a:lnTo>
                  <a:lnTo>
                    <a:pt x="1019" y="1120"/>
                  </a:lnTo>
                  <a:lnTo>
                    <a:pt x="1016" y="1117"/>
                  </a:lnTo>
                  <a:lnTo>
                    <a:pt x="1006" y="1114"/>
                  </a:lnTo>
                  <a:lnTo>
                    <a:pt x="1006" y="1112"/>
                  </a:lnTo>
                  <a:lnTo>
                    <a:pt x="1018" y="1115"/>
                  </a:lnTo>
                  <a:close/>
                  <a:moveTo>
                    <a:pt x="1019" y="1043"/>
                  </a:moveTo>
                  <a:lnTo>
                    <a:pt x="1020" y="1042"/>
                  </a:lnTo>
                  <a:lnTo>
                    <a:pt x="1020" y="1041"/>
                  </a:lnTo>
                  <a:lnTo>
                    <a:pt x="1018" y="1042"/>
                  </a:lnTo>
                  <a:lnTo>
                    <a:pt x="1017" y="1042"/>
                  </a:lnTo>
                  <a:lnTo>
                    <a:pt x="1015" y="1041"/>
                  </a:lnTo>
                  <a:lnTo>
                    <a:pt x="1014" y="1039"/>
                  </a:lnTo>
                  <a:lnTo>
                    <a:pt x="1012" y="1041"/>
                  </a:lnTo>
                  <a:lnTo>
                    <a:pt x="1011" y="1041"/>
                  </a:lnTo>
                  <a:lnTo>
                    <a:pt x="1008" y="1041"/>
                  </a:lnTo>
                  <a:lnTo>
                    <a:pt x="1007" y="1039"/>
                  </a:lnTo>
                  <a:lnTo>
                    <a:pt x="1003" y="1039"/>
                  </a:lnTo>
                  <a:lnTo>
                    <a:pt x="1000" y="1042"/>
                  </a:lnTo>
                  <a:lnTo>
                    <a:pt x="998" y="1047"/>
                  </a:lnTo>
                  <a:lnTo>
                    <a:pt x="997" y="1052"/>
                  </a:lnTo>
                  <a:lnTo>
                    <a:pt x="999" y="1056"/>
                  </a:lnTo>
                  <a:lnTo>
                    <a:pt x="1011" y="1063"/>
                  </a:lnTo>
                  <a:lnTo>
                    <a:pt x="1015" y="1064"/>
                  </a:lnTo>
                  <a:lnTo>
                    <a:pt x="1029" y="1060"/>
                  </a:lnTo>
                  <a:lnTo>
                    <a:pt x="1029" y="1058"/>
                  </a:lnTo>
                  <a:lnTo>
                    <a:pt x="1028" y="1056"/>
                  </a:lnTo>
                  <a:lnTo>
                    <a:pt x="1026" y="1055"/>
                  </a:lnTo>
                  <a:lnTo>
                    <a:pt x="1022" y="1055"/>
                  </a:lnTo>
                  <a:lnTo>
                    <a:pt x="1021" y="1054"/>
                  </a:lnTo>
                  <a:lnTo>
                    <a:pt x="1020" y="1052"/>
                  </a:lnTo>
                  <a:lnTo>
                    <a:pt x="1023" y="1051"/>
                  </a:lnTo>
                  <a:lnTo>
                    <a:pt x="1027" y="1048"/>
                  </a:lnTo>
                  <a:lnTo>
                    <a:pt x="1028" y="1049"/>
                  </a:lnTo>
                  <a:lnTo>
                    <a:pt x="1030" y="1047"/>
                  </a:lnTo>
                  <a:lnTo>
                    <a:pt x="1025" y="1044"/>
                  </a:lnTo>
                  <a:lnTo>
                    <a:pt x="1024" y="1043"/>
                  </a:lnTo>
                  <a:lnTo>
                    <a:pt x="1022" y="1044"/>
                  </a:lnTo>
                  <a:lnTo>
                    <a:pt x="1021" y="1044"/>
                  </a:lnTo>
                  <a:lnTo>
                    <a:pt x="1020" y="1045"/>
                  </a:lnTo>
                  <a:lnTo>
                    <a:pt x="1019" y="1043"/>
                  </a:lnTo>
                  <a:lnTo>
                    <a:pt x="1019" y="1043"/>
                  </a:lnTo>
                  <a:lnTo>
                    <a:pt x="1019" y="1043"/>
                  </a:lnTo>
                  <a:close/>
                  <a:moveTo>
                    <a:pt x="1210" y="1081"/>
                  </a:moveTo>
                  <a:lnTo>
                    <a:pt x="1210" y="1083"/>
                  </a:lnTo>
                  <a:lnTo>
                    <a:pt x="1209" y="1084"/>
                  </a:lnTo>
                  <a:lnTo>
                    <a:pt x="1209" y="1086"/>
                  </a:lnTo>
                  <a:lnTo>
                    <a:pt x="1212" y="1087"/>
                  </a:lnTo>
                  <a:lnTo>
                    <a:pt x="1214" y="1086"/>
                  </a:lnTo>
                  <a:lnTo>
                    <a:pt x="1217" y="1085"/>
                  </a:lnTo>
                  <a:lnTo>
                    <a:pt x="1219" y="1083"/>
                  </a:lnTo>
                  <a:lnTo>
                    <a:pt x="1222" y="1081"/>
                  </a:lnTo>
                  <a:lnTo>
                    <a:pt x="1221" y="1077"/>
                  </a:lnTo>
                  <a:lnTo>
                    <a:pt x="1219" y="1072"/>
                  </a:lnTo>
                  <a:lnTo>
                    <a:pt x="1218" y="1069"/>
                  </a:lnTo>
                  <a:lnTo>
                    <a:pt x="1217" y="1061"/>
                  </a:lnTo>
                  <a:lnTo>
                    <a:pt x="1220" y="1050"/>
                  </a:lnTo>
                  <a:lnTo>
                    <a:pt x="1222" y="1042"/>
                  </a:lnTo>
                  <a:lnTo>
                    <a:pt x="1223" y="1037"/>
                  </a:lnTo>
                  <a:lnTo>
                    <a:pt x="1222" y="1036"/>
                  </a:lnTo>
                  <a:lnTo>
                    <a:pt x="1222" y="1034"/>
                  </a:lnTo>
                  <a:lnTo>
                    <a:pt x="1220" y="1033"/>
                  </a:lnTo>
                  <a:lnTo>
                    <a:pt x="1219" y="1033"/>
                  </a:lnTo>
                  <a:lnTo>
                    <a:pt x="1221" y="1037"/>
                  </a:lnTo>
                  <a:lnTo>
                    <a:pt x="1221" y="1039"/>
                  </a:lnTo>
                  <a:lnTo>
                    <a:pt x="1218" y="1037"/>
                  </a:lnTo>
                  <a:lnTo>
                    <a:pt x="1216" y="1037"/>
                  </a:lnTo>
                  <a:lnTo>
                    <a:pt x="1214" y="1039"/>
                  </a:lnTo>
                  <a:lnTo>
                    <a:pt x="1216" y="1042"/>
                  </a:lnTo>
                  <a:lnTo>
                    <a:pt x="1217" y="1044"/>
                  </a:lnTo>
                  <a:lnTo>
                    <a:pt x="1218" y="1045"/>
                  </a:lnTo>
                  <a:lnTo>
                    <a:pt x="1218" y="1047"/>
                  </a:lnTo>
                  <a:lnTo>
                    <a:pt x="1213" y="1048"/>
                  </a:lnTo>
                  <a:lnTo>
                    <a:pt x="1211" y="1050"/>
                  </a:lnTo>
                  <a:lnTo>
                    <a:pt x="1209" y="1055"/>
                  </a:lnTo>
                  <a:lnTo>
                    <a:pt x="1208" y="1074"/>
                  </a:lnTo>
                  <a:lnTo>
                    <a:pt x="1208" y="1079"/>
                  </a:lnTo>
                  <a:lnTo>
                    <a:pt x="1210" y="1081"/>
                  </a:lnTo>
                  <a:close/>
                  <a:moveTo>
                    <a:pt x="1225" y="1031"/>
                  </a:moveTo>
                  <a:lnTo>
                    <a:pt x="1225" y="1026"/>
                  </a:lnTo>
                  <a:lnTo>
                    <a:pt x="1227" y="1015"/>
                  </a:lnTo>
                  <a:lnTo>
                    <a:pt x="1227" y="1013"/>
                  </a:lnTo>
                  <a:lnTo>
                    <a:pt x="1225" y="1014"/>
                  </a:lnTo>
                  <a:lnTo>
                    <a:pt x="1224" y="1015"/>
                  </a:lnTo>
                  <a:lnTo>
                    <a:pt x="1223" y="1017"/>
                  </a:lnTo>
                  <a:lnTo>
                    <a:pt x="1223" y="1018"/>
                  </a:lnTo>
                  <a:lnTo>
                    <a:pt x="1223" y="1018"/>
                  </a:lnTo>
                  <a:lnTo>
                    <a:pt x="1224" y="1019"/>
                  </a:lnTo>
                  <a:lnTo>
                    <a:pt x="1222" y="1023"/>
                  </a:lnTo>
                  <a:lnTo>
                    <a:pt x="1222" y="1027"/>
                  </a:lnTo>
                  <a:lnTo>
                    <a:pt x="1223" y="1030"/>
                  </a:lnTo>
                  <a:lnTo>
                    <a:pt x="1225" y="1031"/>
                  </a:lnTo>
                  <a:close/>
                  <a:moveTo>
                    <a:pt x="0" y="1008"/>
                  </a:moveTo>
                  <a:lnTo>
                    <a:pt x="0" y="1008"/>
                  </a:lnTo>
                  <a:lnTo>
                    <a:pt x="0" y="1008"/>
                  </a:lnTo>
                  <a:lnTo>
                    <a:pt x="0" y="1008"/>
                  </a:lnTo>
                  <a:lnTo>
                    <a:pt x="0" y="1008"/>
                  </a:lnTo>
                  <a:lnTo>
                    <a:pt x="0" y="1008"/>
                  </a:lnTo>
                  <a:lnTo>
                    <a:pt x="0" y="1008"/>
                  </a:lnTo>
                  <a:lnTo>
                    <a:pt x="0" y="1008"/>
                  </a:lnTo>
                  <a:lnTo>
                    <a:pt x="0" y="1008"/>
                  </a:lnTo>
                  <a:close/>
                  <a:moveTo>
                    <a:pt x="985" y="1015"/>
                  </a:moveTo>
                  <a:lnTo>
                    <a:pt x="987" y="1017"/>
                  </a:lnTo>
                  <a:lnTo>
                    <a:pt x="988" y="1017"/>
                  </a:lnTo>
                  <a:lnTo>
                    <a:pt x="989" y="1016"/>
                  </a:lnTo>
                  <a:lnTo>
                    <a:pt x="990" y="1015"/>
                  </a:lnTo>
                  <a:lnTo>
                    <a:pt x="991" y="1013"/>
                  </a:lnTo>
                  <a:lnTo>
                    <a:pt x="996" y="1014"/>
                  </a:lnTo>
                  <a:lnTo>
                    <a:pt x="1006" y="1021"/>
                  </a:lnTo>
                  <a:lnTo>
                    <a:pt x="1011" y="1021"/>
                  </a:lnTo>
                  <a:lnTo>
                    <a:pt x="1008" y="1023"/>
                  </a:lnTo>
                  <a:lnTo>
                    <a:pt x="1007" y="1023"/>
                  </a:lnTo>
                  <a:lnTo>
                    <a:pt x="1008" y="1025"/>
                  </a:lnTo>
                  <a:lnTo>
                    <a:pt x="1009" y="1026"/>
                  </a:lnTo>
                  <a:lnTo>
                    <a:pt x="1009" y="1028"/>
                  </a:lnTo>
                  <a:lnTo>
                    <a:pt x="1011" y="1031"/>
                  </a:lnTo>
                  <a:lnTo>
                    <a:pt x="1012" y="1032"/>
                  </a:lnTo>
                  <a:lnTo>
                    <a:pt x="1013" y="1033"/>
                  </a:lnTo>
                  <a:lnTo>
                    <a:pt x="1016" y="1034"/>
                  </a:lnTo>
                  <a:lnTo>
                    <a:pt x="1022" y="1033"/>
                  </a:lnTo>
                  <a:lnTo>
                    <a:pt x="1024" y="1035"/>
                  </a:lnTo>
                  <a:lnTo>
                    <a:pt x="1027" y="1033"/>
                  </a:lnTo>
                  <a:lnTo>
                    <a:pt x="1030" y="1033"/>
                  </a:lnTo>
                  <a:lnTo>
                    <a:pt x="1036" y="1033"/>
                  </a:lnTo>
                  <a:lnTo>
                    <a:pt x="1040" y="1027"/>
                  </a:lnTo>
                  <a:lnTo>
                    <a:pt x="1040" y="1025"/>
                  </a:lnTo>
                  <a:lnTo>
                    <a:pt x="1040" y="1023"/>
                  </a:lnTo>
                  <a:lnTo>
                    <a:pt x="1039" y="1022"/>
                  </a:lnTo>
                  <a:lnTo>
                    <a:pt x="1036" y="1021"/>
                  </a:lnTo>
                  <a:lnTo>
                    <a:pt x="1033" y="1020"/>
                  </a:lnTo>
                  <a:lnTo>
                    <a:pt x="1023" y="1023"/>
                  </a:lnTo>
                  <a:lnTo>
                    <a:pt x="1012" y="1023"/>
                  </a:lnTo>
                  <a:lnTo>
                    <a:pt x="1012" y="1021"/>
                  </a:lnTo>
                  <a:lnTo>
                    <a:pt x="1019" y="1016"/>
                  </a:lnTo>
                  <a:lnTo>
                    <a:pt x="1021" y="1015"/>
                  </a:lnTo>
                  <a:lnTo>
                    <a:pt x="1022" y="1016"/>
                  </a:lnTo>
                  <a:lnTo>
                    <a:pt x="1023" y="1020"/>
                  </a:lnTo>
                  <a:lnTo>
                    <a:pt x="1024" y="1021"/>
                  </a:lnTo>
                  <a:lnTo>
                    <a:pt x="1025" y="1021"/>
                  </a:lnTo>
                  <a:lnTo>
                    <a:pt x="1027" y="1019"/>
                  </a:lnTo>
                  <a:lnTo>
                    <a:pt x="1028" y="1019"/>
                  </a:lnTo>
                  <a:lnTo>
                    <a:pt x="1038" y="1018"/>
                  </a:lnTo>
                  <a:lnTo>
                    <a:pt x="1042" y="1015"/>
                  </a:lnTo>
                  <a:lnTo>
                    <a:pt x="1045" y="1009"/>
                  </a:lnTo>
                  <a:lnTo>
                    <a:pt x="1040" y="1011"/>
                  </a:lnTo>
                  <a:lnTo>
                    <a:pt x="1037" y="1011"/>
                  </a:lnTo>
                  <a:lnTo>
                    <a:pt x="1036" y="1008"/>
                  </a:lnTo>
                  <a:lnTo>
                    <a:pt x="1036" y="1004"/>
                  </a:lnTo>
                  <a:lnTo>
                    <a:pt x="1034" y="1003"/>
                  </a:lnTo>
                  <a:lnTo>
                    <a:pt x="1030" y="1003"/>
                  </a:lnTo>
                  <a:lnTo>
                    <a:pt x="1030" y="1001"/>
                  </a:lnTo>
                  <a:lnTo>
                    <a:pt x="1031" y="999"/>
                  </a:lnTo>
                  <a:lnTo>
                    <a:pt x="1030" y="998"/>
                  </a:lnTo>
                  <a:lnTo>
                    <a:pt x="1029" y="997"/>
                  </a:lnTo>
                  <a:lnTo>
                    <a:pt x="1027" y="997"/>
                  </a:lnTo>
                  <a:lnTo>
                    <a:pt x="1027" y="994"/>
                  </a:lnTo>
                  <a:lnTo>
                    <a:pt x="1034" y="994"/>
                  </a:lnTo>
                  <a:lnTo>
                    <a:pt x="1038" y="998"/>
                  </a:lnTo>
                  <a:lnTo>
                    <a:pt x="1040" y="999"/>
                  </a:lnTo>
                  <a:lnTo>
                    <a:pt x="1041" y="1000"/>
                  </a:lnTo>
                  <a:lnTo>
                    <a:pt x="1042" y="1002"/>
                  </a:lnTo>
                  <a:lnTo>
                    <a:pt x="1044" y="1004"/>
                  </a:lnTo>
                  <a:lnTo>
                    <a:pt x="1046" y="1005"/>
                  </a:lnTo>
                  <a:lnTo>
                    <a:pt x="1047" y="1003"/>
                  </a:lnTo>
                  <a:lnTo>
                    <a:pt x="1050" y="998"/>
                  </a:lnTo>
                  <a:lnTo>
                    <a:pt x="1051" y="997"/>
                  </a:lnTo>
                  <a:lnTo>
                    <a:pt x="1050" y="993"/>
                  </a:lnTo>
                  <a:lnTo>
                    <a:pt x="1047" y="991"/>
                  </a:lnTo>
                  <a:lnTo>
                    <a:pt x="1043" y="991"/>
                  </a:lnTo>
                  <a:lnTo>
                    <a:pt x="1041" y="991"/>
                  </a:lnTo>
                  <a:lnTo>
                    <a:pt x="1039" y="990"/>
                  </a:lnTo>
                  <a:lnTo>
                    <a:pt x="1034" y="992"/>
                  </a:lnTo>
                  <a:lnTo>
                    <a:pt x="1032" y="990"/>
                  </a:lnTo>
                  <a:lnTo>
                    <a:pt x="1034" y="989"/>
                  </a:lnTo>
                  <a:lnTo>
                    <a:pt x="1035" y="986"/>
                  </a:lnTo>
                  <a:lnTo>
                    <a:pt x="1035" y="984"/>
                  </a:lnTo>
                  <a:lnTo>
                    <a:pt x="1033" y="981"/>
                  </a:lnTo>
                  <a:lnTo>
                    <a:pt x="1028" y="981"/>
                  </a:lnTo>
                  <a:lnTo>
                    <a:pt x="1021" y="987"/>
                  </a:lnTo>
                  <a:lnTo>
                    <a:pt x="1017" y="989"/>
                  </a:lnTo>
                  <a:lnTo>
                    <a:pt x="1020" y="990"/>
                  </a:lnTo>
                  <a:lnTo>
                    <a:pt x="1021" y="990"/>
                  </a:lnTo>
                  <a:lnTo>
                    <a:pt x="1021" y="993"/>
                  </a:lnTo>
                  <a:lnTo>
                    <a:pt x="1017" y="992"/>
                  </a:lnTo>
                  <a:lnTo>
                    <a:pt x="1009" y="989"/>
                  </a:lnTo>
                  <a:lnTo>
                    <a:pt x="1010" y="985"/>
                  </a:lnTo>
                  <a:lnTo>
                    <a:pt x="1011" y="984"/>
                  </a:lnTo>
                  <a:lnTo>
                    <a:pt x="1012" y="983"/>
                  </a:lnTo>
                  <a:lnTo>
                    <a:pt x="1012" y="981"/>
                  </a:lnTo>
                  <a:lnTo>
                    <a:pt x="1008" y="984"/>
                  </a:lnTo>
                  <a:lnTo>
                    <a:pt x="1003" y="992"/>
                  </a:lnTo>
                  <a:lnTo>
                    <a:pt x="999" y="996"/>
                  </a:lnTo>
                  <a:lnTo>
                    <a:pt x="996" y="993"/>
                  </a:lnTo>
                  <a:lnTo>
                    <a:pt x="999" y="991"/>
                  </a:lnTo>
                  <a:lnTo>
                    <a:pt x="1000" y="990"/>
                  </a:lnTo>
                  <a:lnTo>
                    <a:pt x="1000" y="989"/>
                  </a:lnTo>
                  <a:lnTo>
                    <a:pt x="989" y="990"/>
                  </a:lnTo>
                  <a:lnTo>
                    <a:pt x="986" y="989"/>
                  </a:lnTo>
                  <a:lnTo>
                    <a:pt x="983" y="993"/>
                  </a:lnTo>
                  <a:lnTo>
                    <a:pt x="981" y="999"/>
                  </a:lnTo>
                  <a:lnTo>
                    <a:pt x="979" y="1004"/>
                  </a:lnTo>
                  <a:lnTo>
                    <a:pt x="975" y="1007"/>
                  </a:lnTo>
                  <a:lnTo>
                    <a:pt x="975" y="1009"/>
                  </a:lnTo>
                  <a:lnTo>
                    <a:pt x="982" y="1014"/>
                  </a:lnTo>
                  <a:lnTo>
                    <a:pt x="985" y="1015"/>
                  </a:lnTo>
                  <a:close/>
                  <a:moveTo>
                    <a:pt x="1195" y="1008"/>
                  </a:moveTo>
                  <a:lnTo>
                    <a:pt x="1193" y="1004"/>
                  </a:lnTo>
                  <a:lnTo>
                    <a:pt x="1191" y="1001"/>
                  </a:lnTo>
                  <a:lnTo>
                    <a:pt x="1183" y="994"/>
                  </a:lnTo>
                  <a:lnTo>
                    <a:pt x="1183" y="993"/>
                  </a:lnTo>
                  <a:lnTo>
                    <a:pt x="1179" y="987"/>
                  </a:lnTo>
                  <a:lnTo>
                    <a:pt x="1178" y="984"/>
                  </a:lnTo>
                  <a:lnTo>
                    <a:pt x="1174" y="981"/>
                  </a:lnTo>
                  <a:lnTo>
                    <a:pt x="1172" y="979"/>
                  </a:lnTo>
                  <a:lnTo>
                    <a:pt x="1171" y="976"/>
                  </a:lnTo>
                  <a:lnTo>
                    <a:pt x="1170" y="978"/>
                  </a:lnTo>
                  <a:lnTo>
                    <a:pt x="1170" y="978"/>
                  </a:lnTo>
                  <a:lnTo>
                    <a:pt x="1169" y="979"/>
                  </a:lnTo>
                  <a:lnTo>
                    <a:pt x="1167" y="978"/>
                  </a:lnTo>
                  <a:lnTo>
                    <a:pt x="1166" y="979"/>
                  </a:lnTo>
                  <a:lnTo>
                    <a:pt x="1165" y="983"/>
                  </a:lnTo>
                  <a:lnTo>
                    <a:pt x="1163" y="987"/>
                  </a:lnTo>
                  <a:lnTo>
                    <a:pt x="1162" y="988"/>
                  </a:lnTo>
                  <a:lnTo>
                    <a:pt x="1156" y="992"/>
                  </a:lnTo>
                  <a:lnTo>
                    <a:pt x="1155" y="992"/>
                  </a:lnTo>
                  <a:lnTo>
                    <a:pt x="1154" y="993"/>
                  </a:lnTo>
                  <a:lnTo>
                    <a:pt x="1154" y="997"/>
                  </a:lnTo>
                  <a:lnTo>
                    <a:pt x="1155" y="999"/>
                  </a:lnTo>
                  <a:lnTo>
                    <a:pt x="1157" y="1000"/>
                  </a:lnTo>
                  <a:lnTo>
                    <a:pt x="1158" y="1003"/>
                  </a:lnTo>
                  <a:lnTo>
                    <a:pt x="1157" y="1007"/>
                  </a:lnTo>
                  <a:lnTo>
                    <a:pt x="1158" y="1008"/>
                  </a:lnTo>
                  <a:lnTo>
                    <a:pt x="1159" y="1009"/>
                  </a:lnTo>
                  <a:lnTo>
                    <a:pt x="1161" y="1009"/>
                  </a:lnTo>
                  <a:lnTo>
                    <a:pt x="1163" y="1009"/>
                  </a:lnTo>
                  <a:lnTo>
                    <a:pt x="1161" y="1015"/>
                  </a:lnTo>
                  <a:lnTo>
                    <a:pt x="1159" y="1018"/>
                  </a:lnTo>
                  <a:lnTo>
                    <a:pt x="1159" y="1021"/>
                  </a:lnTo>
                  <a:lnTo>
                    <a:pt x="1161" y="1027"/>
                  </a:lnTo>
                  <a:lnTo>
                    <a:pt x="1167" y="1033"/>
                  </a:lnTo>
                  <a:lnTo>
                    <a:pt x="1169" y="1037"/>
                  </a:lnTo>
                  <a:lnTo>
                    <a:pt x="1169" y="1041"/>
                  </a:lnTo>
                  <a:lnTo>
                    <a:pt x="1169" y="1042"/>
                  </a:lnTo>
                  <a:lnTo>
                    <a:pt x="1170" y="1044"/>
                  </a:lnTo>
                  <a:lnTo>
                    <a:pt x="1171" y="1045"/>
                  </a:lnTo>
                  <a:lnTo>
                    <a:pt x="1171" y="1047"/>
                  </a:lnTo>
                  <a:lnTo>
                    <a:pt x="1159" y="1031"/>
                  </a:lnTo>
                  <a:lnTo>
                    <a:pt x="1157" y="1030"/>
                  </a:lnTo>
                  <a:lnTo>
                    <a:pt x="1155" y="1036"/>
                  </a:lnTo>
                  <a:lnTo>
                    <a:pt x="1152" y="1040"/>
                  </a:lnTo>
                  <a:lnTo>
                    <a:pt x="1150" y="1040"/>
                  </a:lnTo>
                  <a:lnTo>
                    <a:pt x="1154" y="1031"/>
                  </a:lnTo>
                  <a:lnTo>
                    <a:pt x="1151" y="1031"/>
                  </a:lnTo>
                  <a:lnTo>
                    <a:pt x="1149" y="1033"/>
                  </a:lnTo>
                  <a:lnTo>
                    <a:pt x="1147" y="1033"/>
                  </a:lnTo>
                  <a:lnTo>
                    <a:pt x="1144" y="1030"/>
                  </a:lnTo>
                  <a:lnTo>
                    <a:pt x="1143" y="1028"/>
                  </a:lnTo>
                  <a:lnTo>
                    <a:pt x="1141" y="1026"/>
                  </a:lnTo>
                  <a:lnTo>
                    <a:pt x="1134" y="1022"/>
                  </a:lnTo>
                  <a:lnTo>
                    <a:pt x="1132" y="1021"/>
                  </a:lnTo>
                  <a:lnTo>
                    <a:pt x="1131" y="1019"/>
                  </a:lnTo>
                  <a:lnTo>
                    <a:pt x="1130" y="1017"/>
                  </a:lnTo>
                  <a:lnTo>
                    <a:pt x="1130" y="1014"/>
                  </a:lnTo>
                  <a:lnTo>
                    <a:pt x="1129" y="1012"/>
                  </a:lnTo>
                  <a:lnTo>
                    <a:pt x="1126" y="1010"/>
                  </a:lnTo>
                  <a:lnTo>
                    <a:pt x="1124" y="1007"/>
                  </a:lnTo>
                  <a:lnTo>
                    <a:pt x="1122" y="1005"/>
                  </a:lnTo>
                  <a:lnTo>
                    <a:pt x="1119" y="1005"/>
                  </a:lnTo>
                  <a:lnTo>
                    <a:pt x="1119" y="1007"/>
                  </a:lnTo>
                  <a:lnTo>
                    <a:pt x="1120" y="1009"/>
                  </a:lnTo>
                  <a:lnTo>
                    <a:pt x="1120" y="1014"/>
                  </a:lnTo>
                  <a:lnTo>
                    <a:pt x="1119" y="1018"/>
                  </a:lnTo>
                  <a:lnTo>
                    <a:pt x="1116" y="1021"/>
                  </a:lnTo>
                  <a:lnTo>
                    <a:pt x="1120" y="1022"/>
                  </a:lnTo>
                  <a:lnTo>
                    <a:pt x="1125" y="1025"/>
                  </a:lnTo>
                  <a:lnTo>
                    <a:pt x="1129" y="1030"/>
                  </a:lnTo>
                  <a:lnTo>
                    <a:pt x="1131" y="1035"/>
                  </a:lnTo>
                  <a:lnTo>
                    <a:pt x="1126" y="1033"/>
                  </a:lnTo>
                  <a:lnTo>
                    <a:pt x="1123" y="1033"/>
                  </a:lnTo>
                  <a:lnTo>
                    <a:pt x="1122" y="1034"/>
                  </a:lnTo>
                  <a:lnTo>
                    <a:pt x="1122" y="1035"/>
                  </a:lnTo>
                  <a:lnTo>
                    <a:pt x="1120" y="1036"/>
                  </a:lnTo>
                  <a:lnTo>
                    <a:pt x="1120" y="1037"/>
                  </a:lnTo>
                  <a:lnTo>
                    <a:pt x="1120" y="1038"/>
                  </a:lnTo>
                  <a:lnTo>
                    <a:pt x="1122" y="1040"/>
                  </a:lnTo>
                  <a:lnTo>
                    <a:pt x="1122" y="1041"/>
                  </a:lnTo>
                  <a:lnTo>
                    <a:pt x="1122" y="1042"/>
                  </a:lnTo>
                  <a:lnTo>
                    <a:pt x="1125" y="1045"/>
                  </a:lnTo>
                  <a:lnTo>
                    <a:pt x="1124" y="1046"/>
                  </a:lnTo>
                  <a:lnTo>
                    <a:pt x="1124" y="1047"/>
                  </a:lnTo>
                  <a:lnTo>
                    <a:pt x="1123" y="1047"/>
                  </a:lnTo>
                  <a:lnTo>
                    <a:pt x="1123" y="1049"/>
                  </a:lnTo>
                  <a:lnTo>
                    <a:pt x="1124" y="1053"/>
                  </a:lnTo>
                  <a:lnTo>
                    <a:pt x="1122" y="1052"/>
                  </a:lnTo>
                  <a:lnTo>
                    <a:pt x="1119" y="1050"/>
                  </a:lnTo>
                  <a:lnTo>
                    <a:pt x="1118" y="1048"/>
                  </a:lnTo>
                  <a:lnTo>
                    <a:pt x="1117" y="1046"/>
                  </a:lnTo>
                  <a:lnTo>
                    <a:pt x="1108" y="1033"/>
                  </a:lnTo>
                  <a:lnTo>
                    <a:pt x="1107" y="1032"/>
                  </a:lnTo>
                  <a:lnTo>
                    <a:pt x="1105" y="1033"/>
                  </a:lnTo>
                  <a:lnTo>
                    <a:pt x="1103" y="1036"/>
                  </a:lnTo>
                  <a:lnTo>
                    <a:pt x="1102" y="1040"/>
                  </a:lnTo>
                  <a:lnTo>
                    <a:pt x="1102" y="1043"/>
                  </a:lnTo>
                  <a:lnTo>
                    <a:pt x="1104" y="1047"/>
                  </a:lnTo>
                  <a:lnTo>
                    <a:pt x="1106" y="1049"/>
                  </a:lnTo>
                  <a:lnTo>
                    <a:pt x="1096" y="1049"/>
                  </a:lnTo>
                  <a:lnTo>
                    <a:pt x="1098" y="1056"/>
                  </a:lnTo>
                  <a:lnTo>
                    <a:pt x="1104" y="1061"/>
                  </a:lnTo>
                  <a:lnTo>
                    <a:pt x="1106" y="1068"/>
                  </a:lnTo>
                  <a:lnTo>
                    <a:pt x="1107" y="1073"/>
                  </a:lnTo>
                  <a:lnTo>
                    <a:pt x="1110" y="1076"/>
                  </a:lnTo>
                  <a:lnTo>
                    <a:pt x="1114" y="1079"/>
                  </a:lnTo>
                  <a:lnTo>
                    <a:pt x="1128" y="1084"/>
                  </a:lnTo>
                  <a:lnTo>
                    <a:pt x="1131" y="1081"/>
                  </a:lnTo>
                  <a:lnTo>
                    <a:pt x="1131" y="1078"/>
                  </a:lnTo>
                  <a:lnTo>
                    <a:pt x="1129" y="1073"/>
                  </a:lnTo>
                  <a:lnTo>
                    <a:pt x="1129" y="1069"/>
                  </a:lnTo>
                  <a:lnTo>
                    <a:pt x="1131" y="1067"/>
                  </a:lnTo>
                  <a:lnTo>
                    <a:pt x="1133" y="1067"/>
                  </a:lnTo>
                  <a:lnTo>
                    <a:pt x="1135" y="1065"/>
                  </a:lnTo>
                  <a:lnTo>
                    <a:pt x="1136" y="1061"/>
                  </a:lnTo>
                  <a:lnTo>
                    <a:pt x="1138" y="1063"/>
                  </a:lnTo>
                  <a:lnTo>
                    <a:pt x="1138" y="1066"/>
                  </a:lnTo>
                  <a:lnTo>
                    <a:pt x="1138" y="1069"/>
                  </a:lnTo>
                  <a:lnTo>
                    <a:pt x="1137" y="1072"/>
                  </a:lnTo>
                  <a:lnTo>
                    <a:pt x="1139" y="1070"/>
                  </a:lnTo>
                  <a:lnTo>
                    <a:pt x="1142" y="1066"/>
                  </a:lnTo>
                  <a:lnTo>
                    <a:pt x="1145" y="1066"/>
                  </a:lnTo>
                  <a:lnTo>
                    <a:pt x="1144" y="1069"/>
                  </a:lnTo>
                  <a:lnTo>
                    <a:pt x="1144" y="1071"/>
                  </a:lnTo>
                  <a:lnTo>
                    <a:pt x="1145" y="1073"/>
                  </a:lnTo>
                  <a:lnTo>
                    <a:pt x="1147" y="1073"/>
                  </a:lnTo>
                  <a:lnTo>
                    <a:pt x="1146" y="1075"/>
                  </a:lnTo>
                  <a:lnTo>
                    <a:pt x="1146" y="1075"/>
                  </a:lnTo>
                  <a:lnTo>
                    <a:pt x="1145" y="1076"/>
                  </a:lnTo>
                  <a:lnTo>
                    <a:pt x="1148" y="1077"/>
                  </a:lnTo>
                  <a:lnTo>
                    <a:pt x="1149" y="1077"/>
                  </a:lnTo>
                  <a:lnTo>
                    <a:pt x="1149" y="1080"/>
                  </a:lnTo>
                  <a:lnTo>
                    <a:pt x="1147" y="1081"/>
                  </a:lnTo>
                  <a:lnTo>
                    <a:pt x="1149" y="1081"/>
                  </a:lnTo>
                  <a:lnTo>
                    <a:pt x="1152" y="1080"/>
                  </a:lnTo>
                  <a:lnTo>
                    <a:pt x="1154" y="1080"/>
                  </a:lnTo>
                  <a:lnTo>
                    <a:pt x="1156" y="1080"/>
                  </a:lnTo>
                  <a:lnTo>
                    <a:pt x="1157" y="1081"/>
                  </a:lnTo>
                  <a:lnTo>
                    <a:pt x="1159" y="1083"/>
                  </a:lnTo>
                  <a:lnTo>
                    <a:pt x="1169" y="1092"/>
                  </a:lnTo>
                  <a:lnTo>
                    <a:pt x="1171" y="1096"/>
                  </a:lnTo>
                  <a:lnTo>
                    <a:pt x="1167" y="1095"/>
                  </a:lnTo>
                  <a:lnTo>
                    <a:pt x="1164" y="1092"/>
                  </a:lnTo>
                  <a:lnTo>
                    <a:pt x="1161" y="1088"/>
                  </a:lnTo>
                  <a:lnTo>
                    <a:pt x="1158" y="1086"/>
                  </a:lnTo>
                  <a:lnTo>
                    <a:pt x="1154" y="1085"/>
                  </a:lnTo>
                  <a:lnTo>
                    <a:pt x="1151" y="1086"/>
                  </a:lnTo>
                  <a:lnTo>
                    <a:pt x="1144" y="1092"/>
                  </a:lnTo>
                  <a:lnTo>
                    <a:pt x="1144" y="1094"/>
                  </a:lnTo>
                  <a:lnTo>
                    <a:pt x="1145" y="1095"/>
                  </a:lnTo>
                  <a:lnTo>
                    <a:pt x="1145" y="1096"/>
                  </a:lnTo>
                  <a:lnTo>
                    <a:pt x="1146" y="1097"/>
                  </a:lnTo>
                  <a:lnTo>
                    <a:pt x="1147" y="1098"/>
                  </a:lnTo>
                  <a:lnTo>
                    <a:pt x="1148" y="1101"/>
                  </a:lnTo>
                  <a:lnTo>
                    <a:pt x="1148" y="1102"/>
                  </a:lnTo>
                  <a:lnTo>
                    <a:pt x="1156" y="1112"/>
                  </a:lnTo>
                  <a:lnTo>
                    <a:pt x="1158" y="1113"/>
                  </a:lnTo>
                  <a:lnTo>
                    <a:pt x="1165" y="1112"/>
                  </a:lnTo>
                  <a:lnTo>
                    <a:pt x="1164" y="1114"/>
                  </a:lnTo>
                  <a:lnTo>
                    <a:pt x="1163" y="1116"/>
                  </a:lnTo>
                  <a:lnTo>
                    <a:pt x="1162" y="1117"/>
                  </a:lnTo>
                  <a:lnTo>
                    <a:pt x="1160" y="1118"/>
                  </a:lnTo>
                  <a:lnTo>
                    <a:pt x="1163" y="1123"/>
                  </a:lnTo>
                  <a:lnTo>
                    <a:pt x="1165" y="1128"/>
                  </a:lnTo>
                  <a:lnTo>
                    <a:pt x="1168" y="1126"/>
                  </a:lnTo>
                  <a:lnTo>
                    <a:pt x="1171" y="1125"/>
                  </a:lnTo>
                  <a:lnTo>
                    <a:pt x="1173" y="1124"/>
                  </a:lnTo>
                  <a:lnTo>
                    <a:pt x="1176" y="1124"/>
                  </a:lnTo>
                  <a:lnTo>
                    <a:pt x="1176" y="1126"/>
                  </a:lnTo>
                  <a:lnTo>
                    <a:pt x="1172" y="1132"/>
                  </a:lnTo>
                  <a:lnTo>
                    <a:pt x="1170" y="1134"/>
                  </a:lnTo>
                  <a:lnTo>
                    <a:pt x="1170" y="1136"/>
                  </a:lnTo>
                  <a:lnTo>
                    <a:pt x="1192" y="1130"/>
                  </a:lnTo>
                  <a:lnTo>
                    <a:pt x="1195" y="1128"/>
                  </a:lnTo>
                  <a:lnTo>
                    <a:pt x="1193" y="1126"/>
                  </a:lnTo>
                  <a:lnTo>
                    <a:pt x="1193" y="1124"/>
                  </a:lnTo>
                  <a:lnTo>
                    <a:pt x="1194" y="1124"/>
                  </a:lnTo>
                  <a:lnTo>
                    <a:pt x="1196" y="1125"/>
                  </a:lnTo>
                  <a:lnTo>
                    <a:pt x="1197" y="1126"/>
                  </a:lnTo>
                  <a:lnTo>
                    <a:pt x="1198" y="1128"/>
                  </a:lnTo>
                  <a:lnTo>
                    <a:pt x="1199" y="1126"/>
                  </a:lnTo>
                  <a:lnTo>
                    <a:pt x="1200" y="1126"/>
                  </a:lnTo>
                  <a:lnTo>
                    <a:pt x="1201" y="1126"/>
                  </a:lnTo>
                  <a:lnTo>
                    <a:pt x="1203" y="1128"/>
                  </a:lnTo>
                  <a:lnTo>
                    <a:pt x="1203" y="1132"/>
                  </a:lnTo>
                  <a:lnTo>
                    <a:pt x="1203" y="1138"/>
                  </a:lnTo>
                  <a:lnTo>
                    <a:pt x="1204" y="1143"/>
                  </a:lnTo>
                  <a:lnTo>
                    <a:pt x="1206" y="1146"/>
                  </a:lnTo>
                  <a:lnTo>
                    <a:pt x="1209" y="1144"/>
                  </a:lnTo>
                  <a:lnTo>
                    <a:pt x="1210" y="1141"/>
                  </a:lnTo>
                  <a:lnTo>
                    <a:pt x="1212" y="1138"/>
                  </a:lnTo>
                  <a:lnTo>
                    <a:pt x="1213" y="1136"/>
                  </a:lnTo>
                  <a:lnTo>
                    <a:pt x="1212" y="1134"/>
                  </a:lnTo>
                  <a:lnTo>
                    <a:pt x="1214" y="1132"/>
                  </a:lnTo>
                  <a:lnTo>
                    <a:pt x="1215" y="1130"/>
                  </a:lnTo>
                  <a:lnTo>
                    <a:pt x="1217" y="1126"/>
                  </a:lnTo>
                  <a:lnTo>
                    <a:pt x="1215" y="1121"/>
                  </a:lnTo>
                  <a:lnTo>
                    <a:pt x="1214" y="1119"/>
                  </a:lnTo>
                  <a:lnTo>
                    <a:pt x="1213" y="1116"/>
                  </a:lnTo>
                  <a:lnTo>
                    <a:pt x="1215" y="1117"/>
                  </a:lnTo>
                  <a:lnTo>
                    <a:pt x="1217" y="1119"/>
                  </a:lnTo>
                  <a:lnTo>
                    <a:pt x="1221" y="1126"/>
                  </a:lnTo>
                  <a:lnTo>
                    <a:pt x="1222" y="1127"/>
                  </a:lnTo>
                  <a:lnTo>
                    <a:pt x="1222" y="1129"/>
                  </a:lnTo>
                  <a:lnTo>
                    <a:pt x="1222" y="1131"/>
                  </a:lnTo>
                  <a:lnTo>
                    <a:pt x="1222" y="1132"/>
                  </a:lnTo>
                  <a:lnTo>
                    <a:pt x="1236" y="1132"/>
                  </a:lnTo>
                  <a:lnTo>
                    <a:pt x="1241" y="1130"/>
                  </a:lnTo>
                  <a:lnTo>
                    <a:pt x="1245" y="1128"/>
                  </a:lnTo>
                  <a:lnTo>
                    <a:pt x="1245" y="1130"/>
                  </a:lnTo>
                  <a:lnTo>
                    <a:pt x="1230" y="1138"/>
                  </a:lnTo>
                  <a:lnTo>
                    <a:pt x="1228" y="1140"/>
                  </a:lnTo>
                  <a:lnTo>
                    <a:pt x="1227" y="1141"/>
                  </a:lnTo>
                  <a:lnTo>
                    <a:pt x="1223" y="1147"/>
                  </a:lnTo>
                  <a:lnTo>
                    <a:pt x="1222" y="1148"/>
                  </a:lnTo>
                  <a:lnTo>
                    <a:pt x="1222" y="1150"/>
                  </a:lnTo>
                  <a:lnTo>
                    <a:pt x="1221" y="1152"/>
                  </a:lnTo>
                  <a:lnTo>
                    <a:pt x="1221" y="1153"/>
                  </a:lnTo>
                  <a:lnTo>
                    <a:pt x="1220" y="1154"/>
                  </a:lnTo>
                  <a:lnTo>
                    <a:pt x="1220" y="1156"/>
                  </a:lnTo>
                  <a:lnTo>
                    <a:pt x="1220" y="1158"/>
                  </a:lnTo>
                  <a:lnTo>
                    <a:pt x="1216" y="1165"/>
                  </a:lnTo>
                  <a:lnTo>
                    <a:pt x="1216" y="1170"/>
                  </a:lnTo>
                  <a:lnTo>
                    <a:pt x="1217" y="1174"/>
                  </a:lnTo>
                  <a:lnTo>
                    <a:pt x="1219" y="1174"/>
                  </a:lnTo>
                  <a:lnTo>
                    <a:pt x="1228" y="1173"/>
                  </a:lnTo>
                  <a:lnTo>
                    <a:pt x="1231" y="1171"/>
                  </a:lnTo>
                  <a:lnTo>
                    <a:pt x="1233" y="1168"/>
                  </a:lnTo>
                  <a:lnTo>
                    <a:pt x="1242" y="1155"/>
                  </a:lnTo>
                  <a:lnTo>
                    <a:pt x="1244" y="1153"/>
                  </a:lnTo>
                  <a:lnTo>
                    <a:pt x="1245" y="1151"/>
                  </a:lnTo>
                  <a:lnTo>
                    <a:pt x="1249" y="1150"/>
                  </a:lnTo>
                  <a:lnTo>
                    <a:pt x="1252" y="1147"/>
                  </a:lnTo>
                  <a:lnTo>
                    <a:pt x="1254" y="1143"/>
                  </a:lnTo>
                  <a:lnTo>
                    <a:pt x="1254" y="1136"/>
                  </a:lnTo>
                  <a:lnTo>
                    <a:pt x="1255" y="1134"/>
                  </a:lnTo>
                  <a:lnTo>
                    <a:pt x="1261" y="1134"/>
                  </a:lnTo>
                  <a:lnTo>
                    <a:pt x="1264" y="1132"/>
                  </a:lnTo>
                  <a:lnTo>
                    <a:pt x="1269" y="1127"/>
                  </a:lnTo>
                  <a:lnTo>
                    <a:pt x="1273" y="1123"/>
                  </a:lnTo>
                  <a:lnTo>
                    <a:pt x="1274" y="1121"/>
                  </a:lnTo>
                  <a:lnTo>
                    <a:pt x="1275" y="1118"/>
                  </a:lnTo>
                  <a:lnTo>
                    <a:pt x="1274" y="1115"/>
                  </a:lnTo>
                  <a:lnTo>
                    <a:pt x="1274" y="1113"/>
                  </a:lnTo>
                  <a:lnTo>
                    <a:pt x="1276" y="1106"/>
                  </a:lnTo>
                  <a:lnTo>
                    <a:pt x="1265" y="1106"/>
                  </a:lnTo>
                  <a:lnTo>
                    <a:pt x="1262" y="1102"/>
                  </a:lnTo>
                  <a:lnTo>
                    <a:pt x="1257" y="1102"/>
                  </a:lnTo>
                  <a:lnTo>
                    <a:pt x="1253" y="1103"/>
                  </a:lnTo>
                  <a:lnTo>
                    <a:pt x="1248" y="1108"/>
                  </a:lnTo>
                  <a:lnTo>
                    <a:pt x="1242" y="1108"/>
                  </a:lnTo>
                  <a:lnTo>
                    <a:pt x="1241" y="1109"/>
                  </a:lnTo>
                  <a:lnTo>
                    <a:pt x="1240" y="1111"/>
                  </a:lnTo>
                  <a:lnTo>
                    <a:pt x="1238" y="1112"/>
                  </a:lnTo>
                  <a:lnTo>
                    <a:pt x="1236" y="1112"/>
                  </a:lnTo>
                  <a:lnTo>
                    <a:pt x="1235" y="1110"/>
                  </a:lnTo>
                  <a:lnTo>
                    <a:pt x="1234" y="1107"/>
                  </a:lnTo>
                  <a:lnTo>
                    <a:pt x="1232" y="1105"/>
                  </a:lnTo>
                  <a:lnTo>
                    <a:pt x="1230" y="1104"/>
                  </a:lnTo>
                  <a:lnTo>
                    <a:pt x="1226" y="1104"/>
                  </a:lnTo>
                  <a:lnTo>
                    <a:pt x="1224" y="1104"/>
                  </a:lnTo>
                  <a:lnTo>
                    <a:pt x="1222" y="1103"/>
                  </a:lnTo>
                  <a:lnTo>
                    <a:pt x="1219" y="1099"/>
                  </a:lnTo>
                  <a:lnTo>
                    <a:pt x="1216" y="1100"/>
                  </a:lnTo>
                  <a:lnTo>
                    <a:pt x="1212" y="1101"/>
                  </a:lnTo>
                  <a:lnTo>
                    <a:pt x="1208" y="1102"/>
                  </a:lnTo>
                  <a:lnTo>
                    <a:pt x="1208" y="1100"/>
                  </a:lnTo>
                  <a:lnTo>
                    <a:pt x="1212" y="1098"/>
                  </a:lnTo>
                  <a:lnTo>
                    <a:pt x="1214" y="1095"/>
                  </a:lnTo>
                  <a:lnTo>
                    <a:pt x="1213" y="1093"/>
                  </a:lnTo>
                  <a:lnTo>
                    <a:pt x="1209" y="1092"/>
                  </a:lnTo>
                  <a:lnTo>
                    <a:pt x="1196" y="1094"/>
                  </a:lnTo>
                  <a:lnTo>
                    <a:pt x="1198" y="1091"/>
                  </a:lnTo>
                  <a:lnTo>
                    <a:pt x="1203" y="1088"/>
                  </a:lnTo>
                  <a:lnTo>
                    <a:pt x="1205" y="1086"/>
                  </a:lnTo>
                  <a:lnTo>
                    <a:pt x="1203" y="1083"/>
                  </a:lnTo>
                  <a:lnTo>
                    <a:pt x="1201" y="1081"/>
                  </a:lnTo>
                  <a:lnTo>
                    <a:pt x="1199" y="1078"/>
                  </a:lnTo>
                  <a:lnTo>
                    <a:pt x="1198" y="1073"/>
                  </a:lnTo>
                  <a:lnTo>
                    <a:pt x="1199" y="1072"/>
                  </a:lnTo>
                  <a:lnTo>
                    <a:pt x="1201" y="1069"/>
                  </a:lnTo>
                  <a:lnTo>
                    <a:pt x="1202" y="1067"/>
                  </a:lnTo>
                  <a:lnTo>
                    <a:pt x="1200" y="1063"/>
                  </a:lnTo>
                  <a:lnTo>
                    <a:pt x="1198" y="1063"/>
                  </a:lnTo>
                  <a:lnTo>
                    <a:pt x="1195" y="1064"/>
                  </a:lnTo>
                  <a:lnTo>
                    <a:pt x="1193" y="1066"/>
                  </a:lnTo>
                  <a:lnTo>
                    <a:pt x="1191" y="1067"/>
                  </a:lnTo>
                  <a:lnTo>
                    <a:pt x="1192" y="1065"/>
                  </a:lnTo>
                  <a:lnTo>
                    <a:pt x="1196" y="1061"/>
                  </a:lnTo>
                  <a:lnTo>
                    <a:pt x="1197" y="1058"/>
                  </a:lnTo>
                  <a:lnTo>
                    <a:pt x="1197" y="1054"/>
                  </a:lnTo>
                  <a:lnTo>
                    <a:pt x="1199" y="1048"/>
                  </a:lnTo>
                  <a:lnTo>
                    <a:pt x="1199" y="1043"/>
                  </a:lnTo>
                  <a:lnTo>
                    <a:pt x="1199" y="1039"/>
                  </a:lnTo>
                  <a:lnTo>
                    <a:pt x="1198" y="1030"/>
                  </a:lnTo>
                  <a:lnTo>
                    <a:pt x="1196" y="1010"/>
                  </a:lnTo>
                  <a:lnTo>
                    <a:pt x="1195" y="1008"/>
                  </a:lnTo>
                  <a:close/>
                  <a:moveTo>
                    <a:pt x="1035" y="973"/>
                  </a:moveTo>
                  <a:lnTo>
                    <a:pt x="1037" y="969"/>
                  </a:lnTo>
                  <a:lnTo>
                    <a:pt x="1036" y="966"/>
                  </a:lnTo>
                  <a:lnTo>
                    <a:pt x="1033" y="967"/>
                  </a:lnTo>
                  <a:lnTo>
                    <a:pt x="1026" y="974"/>
                  </a:lnTo>
                  <a:lnTo>
                    <a:pt x="1030" y="975"/>
                  </a:lnTo>
                  <a:lnTo>
                    <a:pt x="1035" y="973"/>
                  </a:lnTo>
                  <a:close/>
                  <a:moveTo>
                    <a:pt x="807" y="940"/>
                  </a:moveTo>
                  <a:lnTo>
                    <a:pt x="804" y="938"/>
                  </a:lnTo>
                  <a:lnTo>
                    <a:pt x="806" y="944"/>
                  </a:lnTo>
                  <a:lnTo>
                    <a:pt x="809" y="946"/>
                  </a:lnTo>
                  <a:lnTo>
                    <a:pt x="812" y="945"/>
                  </a:lnTo>
                  <a:lnTo>
                    <a:pt x="815" y="942"/>
                  </a:lnTo>
                  <a:lnTo>
                    <a:pt x="812" y="940"/>
                  </a:lnTo>
                  <a:lnTo>
                    <a:pt x="807" y="940"/>
                  </a:lnTo>
                  <a:close/>
                  <a:moveTo>
                    <a:pt x="1049" y="924"/>
                  </a:moveTo>
                  <a:lnTo>
                    <a:pt x="1051" y="923"/>
                  </a:lnTo>
                  <a:lnTo>
                    <a:pt x="1053" y="922"/>
                  </a:lnTo>
                  <a:lnTo>
                    <a:pt x="1054" y="920"/>
                  </a:lnTo>
                  <a:lnTo>
                    <a:pt x="1055" y="917"/>
                  </a:lnTo>
                  <a:lnTo>
                    <a:pt x="1060" y="921"/>
                  </a:lnTo>
                  <a:lnTo>
                    <a:pt x="1062" y="920"/>
                  </a:lnTo>
                  <a:lnTo>
                    <a:pt x="1062" y="913"/>
                  </a:lnTo>
                  <a:lnTo>
                    <a:pt x="1059" y="911"/>
                  </a:lnTo>
                  <a:lnTo>
                    <a:pt x="1056" y="913"/>
                  </a:lnTo>
                  <a:lnTo>
                    <a:pt x="1049" y="919"/>
                  </a:lnTo>
                  <a:lnTo>
                    <a:pt x="1049" y="920"/>
                  </a:lnTo>
                  <a:lnTo>
                    <a:pt x="1049" y="920"/>
                  </a:lnTo>
                  <a:lnTo>
                    <a:pt x="1049" y="921"/>
                  </a:lnTo>
                  <a:lnTo>
                    <a:pt x="1049" y="924"/>
                  </a:lnTo>
                  <a:close/>
                  <a:moveTo>
                    <a:pt x="1082" y="820"/>
                  </a:moveTo>
                  <a:lnTo>
                    <a:pt x="1084" y="821"/>
                  </a:lnTo>
                  <a:lnTo>
                    <a:pt x="1084" y="823"/>
                  </a:lnTo>
                  <a:lnTo>
                    <a:pt x="1083" y="823"/>
                  </a:lnTo>
                  <a:lnTo>
                    <a:pt x="1082" y="823"/>
                  </a:lnTo>
                  <a:lnTo>
                    <a:pt x="1082" y="825"/>
                  </a:lnTo>
                  <a:lnTo>
                    <a:pt x="1095" y="825"/>
                  </a:lnTo>
                  <a:lnTo>
                    <a:pt x="1094" y="822"/>
                  </a:lnTo>
                  <a:lnTo>
                    <a:pt x="1093" y="820"/>
                  </a:lnTo>
                  <a:lnTo>
                    <a:pt x="1092" y="818"/>
                  </a:lnTo>
                  <a:lnTo>
                    <a:pt x="1090" y="817"/>
                  </a:lnTo>
                  <a:lnTo>
                    <a:pt x="1089" y="818"/>
                  </a:lnTo>
                  <a:lnTo>
                    <a:pt x="1084" y="812"/>
                  </a:lnTo>
                  <a:lnTo>
                    <a:pt x="1081" y="811"/>
                  </a:lnTo>
                  <a:lnTo>
                    <a:pt x="1080" y="814"/>
                  </a:lnTo>
                  <a:lnTo>
                    <a:pt x="1080" y="817"/>
                  </a:lnTo>
                  <a:lnTo>
                    <a:pt x="1082" y="820"/>
                  </a:lnTo>
                  <a:close/>
                  <a:moveTo>
                    <a:pt x="1044" y="853"/>
                  </a:moveTo>
                  <a:lnTo>
                    <a:pt x="1045" y="854"/>
                  </a:lnTo>
                  <a:lnTo>
                    <a:pt x="1044" y="858"/>
                  </a:lnTo>
                  <a:lnTo>
                    <a:pt x="1045" y="860"/>
                  </a:lnTo>
                  <a:lnTo>
                    <a:pt x="1050" y="869"/>
                  </a:lnTo>
                  <a:lnTo>
                    <a:pt x="1051" y="869"/>
                  </a:lnTo>
                  <a:lnTo>
                    <a:pt x="1058" y="864"/>
                  </a:lnTo>
                  <a:lnTo>
                    <a:pt x="1057" y="866"/>
                  </a:lnTo>
                  <a:lnTo>
                    <a:pt x="1056" y="868"/>
                  </a:lnTo>
                  <a:lnTo>
                    <a:pt x="1055" y="869"/>
                  </a:lnTo>
                  <a:lnTo>
                    <a:pt x="1053" y="870"/>
                  </a:lnTo>
                  <a:lnTo>
                    <a:pt x="1058" y="870"/>
                  </a:lnTo>
                  <a:lnTo>
                    <a:pt x="1058" y="872"/>
                  </a:lnTo>
                  <a:lnTo>
                    <a:pt x="1056" y="872"/>
                  </a:lnTo>
                  <a:lnTo>
                    <a:pt x="1054" y="872"/>
                  </a:lnTo>
                  <a:lnTo>
                    <a:pt x="1053" y="874"/>
                  </a:lnTo>
                  <a:lnTo>
                    <a:pt x="1052" y="876"/>
                  </a:lnTo>
                  <a:lnTo>
                    <a:pt x="1057" y="876"/>
                  </a:lnTo>
                  <a:lnTo>
                    <a:pt x="1072" y="872"/>
                  </a:lnTo>
                  <a:lnTo>
                    <a:pt x="1062" y="878"/>
                  </a:lnTo>
                  <a:lnTo>
                    <a:pt x="1057" y="880"/>
                  </a:lnTo>
                  <a:lnTo>
                    <a:pt x="1052" y="881"/>
                  </a:lnTo>
                  <a:lnTo>
                    <a:pt x="1053" y="881"/>
                  </a:lnTo>
                  <a:lnTo>
                    <a:pt x="1053" y="882"/>
                  </a:lnTo>
                  <a:lnTo>
                    <a:pt x="1053" y="882"/>
                  </a:lnTo>
                  <a:lnTo>
                    <a:pt x="1053" y="883"/>
                  </a:lnTo>
                  <a:lnTo>
                    <a:pt x="1053" y="885"/>
                  </a:lnTo>
                  <a:lnTo>
                    <a:pt x="1050" y="884"/>
                  </a:lnTo>
                  <a:lnTo>
                    <a:pt x="1048" y="886"/>
                  </a:lnTo>
                  <a:lnTo>
                    <a:pt x="1046" y="889"/>
                  </a:lnTo>
                  <a:lnTo>
                    <a:pt x="1044" y="891"/>
                  </a:lnTo>
                  <a:lnTo>
                    <a:pt x="1051" y="896"/>
                  </a:lnTo>
                  <a:lnTo>
                    <a:pt x="1052" y="897"/>
                  </a:lnTo>
                  <a:lnTo>
                    <a:pt x="1055" y="895"/>
                  </a:lnTo>
                  <a:lnTo>
                    <a:pt x="1056" y="900"/>
                  </a:lnTo>
                  <a:lnTo>
                    <a:pt x="1060" y="901"/>
                  </a:lnTo>
                  <a:lnTo>
                    <a:pt x="1069" y="901"/>
                  </a:lnTo>
                  <a:lnTo>
                    <a:pt x="1072" y="902"/>
                  </a:lnTo>
                  <a:lnTo>
                    <a:pt x="1076" y="906"/>
                  </a:lnTo>
                  <a:lnTo>
                    <a:pt x="1078" y="907"/>
                  </a:lnTo>
                  <a:lnTo>
                    <a:pt x="1087" y="907"/>
                  </a:lnTo>
                  <a:lnTo>
                    <a:pt x="1087" y="909"/>
                  </a:lnTo>
                  <a:lnTo>
                    <a:pt x="1086" y="910"/>
                  </a:lnTo>
                  <a:lnTo>
                    <a:pt x="1083" y="911"/>
                  </a:lnTo>
                  <a:lnTo>
                    <a:pt x="1083" y="912"/>
                  </a:lnTo>
                  <a:lnTo>
                    <a:pt x="1084" y="913"/>
                  </a:lnTo>
                  <a:lnTo>
                    <a:pt x="1085" y="914"/>
                  </a:lnTo>
                  <a:lnTo>
                    <a:pt x="1087" y="916"/>
                  </a:lnTo>
                  <a:lnTo>
                    <a:pt x="1088" y="917"/>
                  </a:lnTo>
                  <a:lnTo>
                    <a:pt x="1085" y="915"/>
                  </a:lnTo>
                  <a:lnTo>
                    <a:pt x="1080" y="914"/>
                  </a:lnTo>
                  <a:lnTo>
                    <a:pt x="1076" y="915"/>
                  </a:lnTo>
                  <a:lnTo>
                    <a:pt x="1068" y="919"/>
                  </a:lnTo>
                  <a:lnTo>
                    <a:pt x="1068" y="921"/>
                  </a:lnTo>
                  <a:lnTo>
                    <a:pt x="1075" y="927"/>
                  </a:lnTo>
                  <a:lnTo>
                    <a:pt x="1068" y="927"/>
                  </a:lnTo>
                  <a:lnTo>
                    <a:pt x="1064" y="928"/>
                  </a:lnTo>
                  <a:lnTo>
                    <a:pt x="1062" y="931"/>
                  </a:lnTo>
                  <a:lnTo>
                    <a:pt x="1049" y="944"/>
                  </a:lnTo>
                  <a:lnTo>
                    <a:pt x="1048" y="940"/>
                  </a:lnTo>
                  <a:lnTo>
                    <a:pt x="1047" y="938"/>
                  </a:lnTo>
                  <a:lnTo>
                    <a:pt x="1046" y="936"/>
                  </a:lnTo>
                  <a:lnTo>
                    <a:pt x="1044" y="936"/>
                  </a:lnTo>
                  <a:lnTo>
                    <a:pt x="1042" y="936"/>
                  </a:lnTo>
                  <a:lnTo>
                    <a:pt x="1042" y="938"/>
                  </a:lnTo>
                  <a:lnTo>
                    <a:pt x="1043" y="941"/>
                  </a:lnTo>
                  <a:lnTo>
                    <a:pt x="1044" y="943"/>
                  </a:lnTo>
                  <a:lnTo>
                    <a:pt x="1046" y="944"/>
                  </a:lnTo>
                  <a:lnTo>
                    <a:pt x="1055" y="956"/>
                  </a:lnTo>
                  <a:lnTo>
                    <a:pt x="1056" y="957"/>
                  </a:lnTo>
                  <a:lnTo>
                    <a:pt x="1065" y="967"/>
                  </a:lnTo>
                  <a:lnTo>
                    <a:pt x="1066" y="967"/>
                  </a:lnTo>
                  <a:lnTo>
                    <a:pt x="1069" y="964"/>
                  </a:lnTo>
                  <a:lnTo>
                    <a:pt x="1078" y="958"/>
                  </a:lnTo>
                  <a:lnTo>
                    <a:pt x="1082" y="954"/>
                  </a:lnTo>
                  <a:lnTo>
                    <a:pt x="1081" y="954"/>
                  </a:lnTo>
                  <a:lnTo>
                    <a:pt x="1080" y="953"/>
                  </a:lnTo>
                  <a:lnTo>
                    <a:pt x="1080" y="952"/>
                  </a:lnTo>
                  <a:lnTo>
                    <a:pt x="1084" y="949"/>
                  </a:lnTo>
                  <a:lnTo>
                    <a:pt x="1085" y="947"/>
                  </a:lnTo>
                  <a:lnTo>
                    <a:pt x="1087" y="944"/>
                  </a:lnTo>
                  <a:lnTo>
                    <a:pt x="1086" y="943"/>
                  </a:lnTo>
                  <a:lnTo>
                    <a:pt x="1085" y="940"/>
                  </a:lnTo>
                  <a:lnTo>
                    <a:pt x="1084" y="940"/>
                  </a:lnTo>
                  <a:lnTo>
                    <a:pt x="1085" y="938"/>
                  </a:lnTo>
                  <a:lnTo>
                    <a:pt x="1092" y="943"/>
                  </a:lnTo>
                  <a:lnTo>
                    <a:pt x="1096" y="944"/>
                  </a:lnTo>
                  <a:lnTo>
                    <a:pt x="1096" y="942"/>
                  </a:lnTo>
                  <a:lnTo>
                    <a:pt x="1095" y="942"/>
                  </a:lnTo>
                  <a:lnTo>
                    <a:pt x="1095" y="940"/>
                  </a:lnTo>
                  <a:lnTo>
                    <a:pt x="1098" y="940"/>
                  </a:lnTo>
                  <a:lnTo>
                    <a:pt x="1100" y="940"/>
                  </a:lnTo>
                  <a:lnTo>
                    <a:pt x="1103" y="938"/>
                  </a:lnTo>
                  <a:lnTo>
                    <a:pt x="1103" y="936"/>
                  </a:lnTo>
                  <a:lnTo>
                    <a:pt x="1103" y="934"/>
                  </a:lnTo>
                  <a:lnTo>
                    <a:pt x="1099" y="927"/>
                  </a:lnTo>
                  <a:lnTo>
                    <a:pt x="1098" y="926"/>
                  </a:lnTo>
                  <a:lnTo>
                    <a:pt x="1094" y="925"/>
                  </a:lnTo>
                  <a:lnTo>
                    <a:pt x="1092" y="924"/>
                  </a:lnTo>
                  <a:lnTo>
                    <a:pt x="1094" y="921"/>
                  </a:lnTo>
                  <a:lnTo>
                    <a:pt x="1095" y="920"/>
                  </a:lnTo>
                  <a:lnTo>
                    <a:pt x="1095" y="918"/>
                  </a:lnTo>
                  <a:lnTo>
                    <a:pt x="1097" y="917"/>
                  </a:lnTo>
                  <a:lnTo>
                    <a:pt x="1102" y="920"/>
                  </a:lnTo>
                  <a:lnTo>
                    <a:pt x="1115" y="924"/>
                  </a:lnTo>
                  <a:lnTo>
                    <a:pt x="1115" y="917"/>
                  </a:lnTo>
                  <a:lnTo>
                    <a:pt x="1114" y="915"/>
                  </a:lnTo>
                  <a:lnTo>
                    <a:pt x="1114" y="915"/>
                  </a:lnTo>
                  <a:lnTo>
                    <a:pt x="1112" y="914"/>
                  </a:lnTo>
                  <a:lnTo>
                    <a:pt x="1111" y="913"/>
                  </a:lnTo>
                  <a:lnTo>
                    <a:pt x="1110" y="911"/>
                  </a:lnTo>
                  <a:lnTo>
                    <a:pt x="1111" y="911"/>
                  </a:lnTo>
                  <a:lnTo>
                    <a:pt x="1112" y="910"/>
                  </a:lnTo>
                  <a:lnTo>
                    <a:pt x="1113" y="910"/>
                  </a:lnTo>
                  <a:lnTo>
                    <a:pt x="1113" y="909"/>
                  </a:lnTo>
                  <a:lnTo>
                    <a:pt x="1112" y="907"/>
                  </a:lnTo>
                  <a:lnTo>
                    <a:pt x="1110" y="904"/>
                  </a:lnTo>
                  <a:lnTo>
                    <a:pt x="1109" y="902"/>
                  </a:lnTo>
                  <a:lnTo>
                    <a:pt x="1106" y="901"/>
                  </a:lnTo>
                  <a:lnTo>
                    <a:pt x="1105" y="899"/>
                  </a:lnTo>
                  <a:lnTo>
                    <a:pt x="1101" y="890"/>
                  </a:lnTo>
                  <a:lnTo>
                    <a:pt x="1099" y="887"/>
                  </a:lnTo>
                  <a:lnTo>
                    <a:pt x="1102" y="885"/>
                  </a:lnTo>
                  <a:lnTo>
                    <a:pt x="1107" y="881"/>
                  </a:lnTo>
                  <a:lnTo>
                    <a:pt x="1110" y="876"/>
                  </a:lnTo>
                  <a:lnTo>
                    <a:pt x="1111" y="872"/>
                  </a:lnTo>
                  <a:lnTo>
                    <a:pt x="1111" y="870"/>
                  </a:lnTo>
                  <a:lnTo>
                    <a:pt x="1126" y="870"/>
                  </a:lnTo>
                  <a:lnTo>
                    <a:pt x="1126" y="872"/>
                  </a:lnTo>
                  <a:lnTo>
                    <a:pt x="1120" y="873"/>
                  </a:lnTo>
                  <a:lnTo>
                    <a:pt x="1115" y="875"/>
                  </a:lnTo>
                  <a:lnTo>
                    <a:pt x="1110" y="879"/>
                  </a:lnTo>
                  <a:lnTo>
                    <a:pt x="1108" y="887"/>
                  </a:lnTo>
                  <a:lnTo>
                    <a:pt x="1108" y="891"/>
                  </a:lnTo>
                  <a:lnTo>
                    <a:pt x="1109" y="895"/>
                  </a:lnTo>
                  <a:lnTo>
                    <a:pt x="1114" y="904"/>
                  </a:lnTo>
                  <a:lnTo>
                    <a:pt x="1115" y="908"/>
                  </a:lnTo>
                  <a:lnTo>
                    <a:pt x="1115" y="909"/>
                  </a:lnTo>
                  <a:lnTo>
                    <a:pt x="1117" y="911"/>
                  </a:lnTo>
                  <a:lnTo>
                    <a:pt x="1122" y="913"/>
                  </a:lnTo>
                  <a:lnTo>
                    <a:pt x="1123" y="911"/>
                  </a:lnTo>
                  <a:lnTo>
                    <a:pt x="1122" y="909"/>
                  </a:lnTo>
                  <a:lnTo>
                    <a:pt x="1120" y="906"/>
                  </a:lnTo>
                  <a:lnTo>
                    <a:pt x="1120" y="902"/>
                  </a:lnTo>
                  <a:lnTo>
                    <a:pt x="1120" y="901"/>
                  </a:lnTo>
                  <a:lnTo>
                    <a:pt x="1122" y="901"/>
                  </a:lnTo>
                  <a:lnTo>
                    <a:pt x="1123" y="903"/>
                  </a:lnTo>
                  <a:lnTo>
                    <a:pt x="1124" y="907"/>
                  </a:lnTo>
                  <a:lnTo>
                    <a:pt x="1126" y="910"/>
                  </a:lnTo>
                  <a:lnTo>
                    <a:pt x="1129" y="913"/>
                  </a:lnTo>
                  <a:lnTo>
                    <a:pt x="1131" y="913"/>
                  </a:lnTo>
                  <a:lnTo>
                    <a:pt x="1135" y="911"/>
                  </a:lnTo>
                  <a:lnTo>
                    <a:pt x="1135" y="909"/>
                  </a:lnTo>
                  <a:lnTo>
                    <a:pt x="1134" y="909"/>
                  </a:lnTo>
                  <a:lnTo>
                    <a:pt x="1134" y="908"/>
                  </a:lnTo>
                  <a:lnTo>
                    <a:pt x="1133" y="907"/>
                  </a:lnTo>
                  <a:lnTo>
                    <a:pt x="1133" y="905"/>
                  </a:lnTo>
                  <a:lnTo>
                    <a:pt x="1136" y="906"/>
                  </a:lnTo>
                  <a:lnTo>
                    <a:pt x="1138" y="907"/>
                  </a:lnTo>
                  <a:lnTo>
                    <a:pt x="1140" y="907"/>
                  </a:lnTo>
                  <a:lnTo>
                    <a:pt x="1143" y="905"/>
                  </a:lnTo>
                  <a:lnTo>
                    <a:pt x="1144" y="903"/>
                  </a:lnTo>
                  <a:lnTo>
                    <a:pt x="1147" y="898"/>
                  </a:lnTo>
                  <a:lnTo>
                    <a:pt x="1148" y="897"/>
                  </a:lnTo>
                  <a:lnTo>
                    <a:pt x="1148" y="895"/>
                  </a:lnTo>
                  <a:lnTo>
                    <a:pt x="1146" y="892"/>
                  </a:lnTo>
                  <a:lnTo>
                    <a:pt x="1140" y="890"/>
                  </a:lnTo>
                  <a:lnTo>
                    <a:pt x="1138" y="888"/>
                  </a:lnTo>
                  <a:lnTo>
                    <a:pt x="1134" y="886"/>
                  </a:lnTo>
                  <a:lnTo>
                    <a:pt x="1133" y="885"/>
                  </a:lnTo>
                  <a:lnTo>
                    <a:pt x="1134" y="883"/>
                  </a:lnTo>
                  <a:lnTo>
                    <a:pt x="1135" y="883"/>
                  </a:lnTo>
                  <a:lnTo>
                    <a:pt x="1138" y="884"/>
                  </a:lnTo>
                  <a:lnTo>
                    <a:pt x="1153" y="887"/>
                  </a:lnTo>
                  <a:lnTo>
                    <a:pt x="1157" y="886"/>
                  </a:lnTo>
                  <a:lnTo>
                    <a:pt x="1159" y="883"/>
                  </a:lnTo>
                  <a:lnTo>
                    <a:pt x="1161" y="880"/>
                  </a:lnTo>
                  <a:lnTo>
                    <a:pt x="1164" y="876"/>
                  </a:lnTo>
                  <a:lnTo>
                    <a:pt x="1162" y="876"/>
                  </a:lnTo>
                  <a:lnTo>
                    <a:pt x="1160" y="876"/>
                  </a:lnTo>
                  <a:lnTo>
                    <a:pt x="1159" y="876"/>
                  </a:lnTo>
                  <a:lnTo>
                    <a:pt x="1157" y="874"/>
                  </a:lnTo>
                  <a:lnTo>
                    <a:pt x="1158" y="874"/>
                  </a:lnTo>
                  <a:lnTo>
                    <a:pt x="1160" y="873"/>
                  </a:lnTo>
                  <a:lnTo>
                    <a:pt x="1161" y="872"/>
                  </a:lnTo>
                  <a:lnTo>
                    <a:pt x="1162" y="870"/>
                  </a:lnTo>
                  <a:lnTo>
                    <a:pt x="1161" y="869"/>
                  </a:lnTo>
                  <a:lnTo>
                    <a:pt x="1160" y="868"/>
                  </a:lnTo>
                  <a:lnTo>
                    <a:pt x="1160" y="864"/>
                  </a:lnTo>
                  <a:lnTo>
                    <a:pt x="1159" y="861"/>
                  </a:lnTo>
                  <a:lnTo>
                    <a:pt x="1158" y="857"/>
                  </a:lnTo>
                  <a:lnTo>
                    <a:pt x="1156" y="856"/>
                  </a:lnTo>
                  <a:lnTo>
                    <a:pt x="1154" y="856"/>
                  </a:lnTo>
                  <a:lnTo>
                    <a:pt x="1149" y="859"/>
                  </a:lnTo>
                  <a:lnTo>
                    <a:pt x="1128" y="864"/>
                  </a:lnTo>
                  <a:lnTo>
                    <a:pt x="1122" y="864"/>
                  </a:lnTo>
                  <a:lnTo>
                    <a:pt x="1122" y="862"/>
                  </a:lnTo>
                  <a:lnTo>
                    <a:pt x="1124" y="862"/>
                  </a:lnTo>
                  <a:lnTo>
                    <a:pt x="1133" y="860"/>
                  </a:lnTo>
                  <a:lnTo>
                    <a:pt x="1137" y="856"/>
                  </a:lnTo>
                  <a:lnTo>
                    <a:pt x="1139" y="856"/>
                  </a:lnTo>
                  <a:lnTo>
                    <a:pt x="1141" y="858"/>
                  </a:lnTo>
                  <a:lnTo>
                    <a:pt x="1143" y="858"/>
                  </a:lnTo>
                  <a:lnTo>
                    <a:pt x="1145" y="857"/>
                  </a:lnTo>
                  <a:lnTo>
                    <a:pt x="1150" y="850"/>
                  </a:lnTo>
                  <a:lnTo>
                    <a:pt x="1158" y="848"/>
                  </a:lnTo>
                  <a:lnTo>
                    <a:pt x="1161" y="846"/>
                  </a:lnTo>
                  <a:lnTo>
                    <a:pt x="1160" y="843"/>
                  </a:lnTo>
                  <a:lnTo>
                    <a:pt x="1160" y="842"/>
                  </a:lnTo>
                  <a:lnTo>
                    <a:pt x="1161" y="841"/>
                  </a:lnTo>
                  <a:lnTo>
                    <a:pt x="1162" y="839"/>
                  </a:lnTo>
                  <a:lnTo>
                    <a:pt x="1160" y="836"/>
                  </a:lnTo>
                  <a:lnTo>
                    <a:pt x="1157" y="825"/>
                  </a:lnTo>
                  <a:lnTo>
                    <a:pt x="1159" y="825"/>
                  </a:lnTo>
                  <a:lnTo>
                    <a:pt x="1164" y="828"/>
                  </a:lnTo>
                  <a:lnTo>
                    <a:pt x="1167" y="829"/>
                  </a:lnTo>
                  <a:lnTo>
                    <a:pt x="1174" y="828"/>
                  </a:lnTo>
                  <a:lnTo>
                    <a:pt x="1176" y="829"/>
                  </a:lnTo>
                  <a:lnTo>
                    <a:pt x="1181" y="832"/>
                  </a:lnTo>
                  <a:lnTo>
                    <a:pt x="1183" y="833"/>
                  </a:lnTo>
                  <a:lnTo>
                    <a:pt x="1186" y="831"/>
                  </a:lnTo>
                  <a:lnTo>
                    <a:pt x="1187" y="830"/>
                  </a:lnTo>
                  <a:lnTo>
                    <a:pt x="1188" y="827"/>
                  </a:lnTo>
                  <a:lnTo>
                    <a:pt x="1189" y="826"/>
                  </a:lnTo>
                  <a:lnTo>
                    <a:pt x="1191" y="825"/>
                  </a:lnTo>
                  <a:lnTo>
                    <a:pt x="1195" y="823"/>
                  </a:lnTo>
                  <a:lnTo>
                    <a:pt x="1194" y="820"/>
                  </a:lnTo>
                  <a:lnTo>
                    <a:pt x="1194" y="819"/>
                  </a:lnTo>
                  <a:lnTo>
                    <a:pt x="1194" y="818"/>
                  </a:lnTo>
                  <a:lnTo>
                    <a:pt x="1195" y="816"/>
                  </a:lnTo>
                  <a:lnTo>
                    <a:pt x="1196" y="814"/>
                  </a:lnTo>
                  <a:lnTo>
                    <a:pt x="1195" y="814"/>
                  </a:lnTo>
                  <a:lnTo>
                    <a:pt x="1195" y="813"/>
                  </a:lnTo>
                  <a:lnTo>
                    <a:pt x="1197" y="810"/>
                  </a:lnTo>
                  <a:lnTo>
                    <a:pt x="1195" y="810"/>
                  </a:lnTo>
                  <a:lnTo>
                    <a:pt x="1192" y="811"/>
                  </a:lnTo>
                  <a:lnTo>
                    <a:pt x="1189" y="813"/>
                  </a:lnTo>
                  <a:lnTo>
                    <a:pt x="1182" y="821"/>
                  </a:lnTo>
                  <a:lnTo>
                    <a:pt x="1177" y="823"/>
                  </a:lnTo>
                  <a:lnTo>
                    <a:pt x="1171" y="823"/>
                  </a:lnTo>
                  <a:lnTo>
                    <a:pt x="1165" y="822"/>
                  </a:lnTo>
                  <a:lnTo>
                    <a:pt x="1162" y="817"/>
                  </a:lnTo>
                  <a:lnTo>
                    <a:pt x="1167" y="817"/>
                  </a:lnTo>
                  <a:lnTo>
                    <a:pt x="1168" y="816"/>
                  </a:lnTo>
                  <a:lnTo>
                    <a:pt x="1170" y="814"/>
                  </a:lnTo>
                  <a:lnTo>
                    <a:pt x="1170" y="812"/>
                  </a:lnTo>
                  <a:lnTo>
                    <a:pt x="1169" y="810"/>
                  </a:lnTo>
                  <a:lnTo>
                    <a:pt x="1170" y="808"/>
                  </a:lnTo>
                  <a:lnTo>
                    <a:pt x="1175" y="805"/>
                  </a:lnTo>
                  <a:lnTo>
                    <a:pt x="1176" y="801"/>
                  </a:lnTo>
                  <a:lnTo>
                    <a:pt x="1178" y="800"/>
                  </a:lnTo>
                  <a:lnTo>
                    <a:pt x="1180" y="800"/>
                  </a:lnTo>
                  <a:lnTo>
                    <a:pt x="1181" y="798"/>
                  </a:lnTo>
                  <a:lnTo>
                    <a:pt x="1182" y="797"/>
                  </a:lnTo>
                  <a:lnTo>
                    <a:pt x="1181" y="794"/>
                  </a:lnTo>
                  <a:lnTo>
                    <a:pt x="1183" y="791"/>
                  </a:lnTo>
                  <a:lnTo>
                    <a:pt x="1190" y="785"/>
                  </a:lnTo>
                  <a:lnTo>
                    <a:pt x="1194" y="784"/>
                  </a:lnTo>
                  <a:lnTo>
                    <a:pt x="1194" y="782"/>
                  </a:lnTo>
                  <a:lnTo>
                    <a:pt x="1191" y="782"/>
                  </a:lnTo>
                  <a:lnTo>
                    <a:pt x="1189" y="781"/>
                  </a:lnTo>
                  <a:lnTo>
                    <a:pt x="1188" y="779"/>
                  </a:lnTo>
                  <a:lnTo>
                    <a:pt x="1186" y="778"/>
                  </a:lnTo>
                  <a:lnTo>
                    <a:pt x="1190" y="765"/>
                  </a:lnTo>
                  <a:lnTo>
                    <a:pt x="1191" y="763"/>
                  </a:lnTo>
                  <a:lnTo>
                    <a:pt x="1194" y="762"/>
                  </a:lnTo>
                  <a:lnTo>
                    <a:pt x="1193" y="759"/>
                  </a:lnTo>
                  <a:lnTo>
                    <a:pt x="1191" y="754"/>
                  </a:lnTo>
                  <a:lnTo>
                    <a:pt x="1190" y="749"/>
                  </a:lnTo>
                  <a:lnTo>
                    <a:pt x="1188" y="743"/>
                  </a:lnTo>
                  <a:lnTo>
                    <a:pt x="1185" y="738"/>
                  </a:lnTo>
                  <a:lnTo>
                    <a:pt x="1182" y="734"/>
                  </a:lnTo>
                  <a:lnTo>
                    <a:pt x="1178" y="734"/>
                  </a:lnTo>
                  <a:lnTo>
                    <a:pt x="1173" y="738"/>
                  </a:lnTo>
                  <a:lnTo>
                    <a:pt x="1165" y="749"/>
                  </a:lnTo>
                  <a:lnTo>
                    <a:pt x="1137" y="770"/>
                  </a:lnTo>
                  <a:lnTo>
                    <a:pt x="1133" y="776"/>
                  </a:lnTo>
                  <a:lnTo>
                    <a:pt x="1132" y="777"/>
                  </a:lnTo>
                  <a:lnTo>
                    <a:pt x="1122" y="783"/>
                  </a:lnTo>
                  <a:lnTo>
                    <a:pt x="1118" y="784"/>
                  </a:lnTo>
                  <a:lnTo>
                    <a:pt x="1112" y="784"/>
                  </a:lnTo>
                  <a:lnTo>
                    <a:pt x="1111" y="785"/>
                  </a:lnTo>
                  <a:lnTo>
                    <a:pt x="1110" y="786"/>
                  </a:lnTo>
                  <a:lnTo>
                    <a:pt x="1109" y="787"/>
                  </a:lnTo>
                  <a:lnTo>
                    <a:pt x="1107" y="786"/>
                  </a:lnTo>
                  <a:lnTo>
                    <a:pt x="1103" y="791"/>
                  </a:lnTo>
                  <a:lnTo>
                    <a:pt x="1090" y="802"/>
                  </a:lnTo>
                  <a:lnTo>
                    <a:pt x="1092" y="802"/>
                  </a:lnTo>
                  <a:lnTo>
                    <a:pt x="1093" y="803"/>
                  </a:lnTo>
                  <a:lnTo>
                    <a:pt x="1094" y="804"/>
                  </a:lnTo>
                  <a:lnTo>
                    <a:pt x="1095" y="807"/>
                  </a:lnTo>
                  <a:lnTo>
                    <a:pt x="1094" y="807"/>
                  </a:lnTo>
                  <a:lnTo>
                    <a:pt x="1093" y="807"/>
                  </a:lnTo>
                  <a:lnTo>
                    <a:pt x="1092" y="808"/>
                  </a:lnTo>
                  <a:lnTo>
                    <a:pt x="1091" y="808"/>
                  </a:lnTo>
                  <a:lnTo>
                    <a:pt x="1092" y="810"/>
                  </a:lnTo>
                  <a:lnTo>
                    <a:pt x="1093" y="812"/>
                  </a:lnTo>
                  <a:lnTo>
                    <a:pt x="1095" y="814"/>
                  </a:lnTo>
                  <a:lnTo>
                    <a:pt x="1095" y="815"/>
                  </a:lnTo>
                  <a:lnTo>
                    <a:pt x="1095" y="818"/>
                  </a:lnTo>
                  <a:lnTo>
                    <a:pt x="1096" y="819"/>
                  </a:lnTo>
                  <a:lnTo>
                    <a:pt x="1097" y="819"/>
                  </a:lnTo>
                  <a:lnTo>
                    <a:pt x="1099" y="818"/>
                  </a:lnTo>
                  <a:lnTo>
                    <a:pt x="1100" y="819"/>
                  </a:lnTo>
                  <a:lnTo>
                    <a:pt x="1101" y="821"/>
                  </a:lnTo>
                  <a:lnTo>
                    <a:pt x="1102" y="825"/>
                  </a:lnTo>
                  <a:lnTo>
                    <a:pt x="1102" y="827"/>
                  </a:lnTo>
                  <a:lnTo>
                    <a:pt x="1104" y="829"/>
                  </a:lnTo>
                  <a:lnTo>
                    <a:pt x="1108" y="831"/>
                  </a:lnTo>
                  <a:lnTo>
                    <a:pt x="1103" y="837"/>
                  </a:lnTo>
                  <a:lnTo>
                    <a:pt x="1101" y="833"/>
                  </a:lnTo>
                  <a:lnTo>
                    <a:pt x="1098" y="829"/>
                  </a:lnTo>
                  <a:lnTo>
                    <a:pt x="1094" y="827"/>
                  </a:lnTo>
                  <a:lnTo>
                    <a:pt x="1091" y="828"/>
                  </a:lnTo>
                  <a:lnTo>
                    <a:pt x="1089" y="829"/>
                  </a:lnTo>
                  <a:lnTo>
                    <a:pt x="1082" y="831"/>
                  </a:lnTo>
                  <a:lnTo>
                    <a:pt x="1082" y="832"/>
                  </a:lnTo>
                  <a:lnTo>
                    <a:pt x="1082" y="834"/>
                  </a:lnTo>
                  <a:lnTo>
                    <a:pt x="1081" y="836"/>
                  </a:lnTo>
                  <a:lnTo>
                    <a:pt x="1080" y="837"/>
                  </a:lnTo>
                  <a:lnTo>
                    <a:pt x="1080" y="840"/>
                  </a:lnTo>
                  <a:lnTo>
                    <a:pt x="1083" y="846"/>
                  </a:lnTo>
                  <a:lnTo>
                    <a:pt x="1084" y="847"/>
                  </a:lnTo>
                  <a:lnTo>
                    <a:pt x="1084" y="852"/>
                  </a:lnTo>
                  <a:lnTo>
                    <a:pt x="1084" y="853"/>
                  </a:lnTo>
                  <a:lnTo>
                    <a:pt x="1084" y="856"/>
                  </a:lnTo>
                  <a:lnTo>
                    <a:pt x="1082" y="853"/>
                  </a:lnTo>
                  <a:lnTo>
                    <a:pt x="1079" y="847"/>
                  </a:lnTo>
                  <a:lnTo>
                    <a:pt x="1078" y="841"/>
                  </a:lnTo>
                  <a:lnTo>
                    <a:pt x="1078" y="836"/>
                  </a:lnTo>
                  <a:lnTo>
                    <a:pt x="1076" y="834"/>
                  </a:lnTo>
                  <a:lnTo>
                    <a:pt x="1073" y="829"/>
                  </a:lnTo>
                  <a:lnTo>
                    <a:pt x="1071" y="825"/>
                  </a:lnTo>
                  <a:lnTo>
                    <a:pt x="1076" y="825"/>
                  </a:lnTo>
                  <a:lnTo>
                    <a:pt x="1076" y="823"/>
                  </a:lnTo>
                  <a:lnTo>
                    <a:pt x="1068" y="819"/>
                  </a:lnTo>
                  <a:lnTo>
                    <a:pt x="1066" y="820"/>
                  </a:lnTo>
                  <a:lnTo>
                    <a:pt x="1065" y="820"/>
                  </a:lnTo>
                  <a:lnTo>
                    <a:pt x="1059" y="816"/>
                  </a:lnTo>
                  <a:lnTo>
                    <a:pt x="1057" y="814"/>
                  </a:lnTo>
                  <a:lnTo>
                    <a:pt x="1054" y="818"/>
                  </a:lnTo>
                  <a:lnTo>
                    <a:pt x="1053" y="820"/>
                  </a:lnTo>
                  <a:lnTo>
                    <a:pt x="1052" y="824"/>
                  </a:lnTo>
                  <a:lnTo>
                    <a:pt x="1053" y="827"/>
                  </a:lnTo>
                  <a:lnTo>
                    <a:pt x="1055" y="829"/>
                  </a:lnTo>
                  <a:lnTo>
                    <a:pt x="1059" y="831"/>
                  </a:lnTo>
                  <a:lnTo>
                    <a:pt x="1056" y="832"/>
                  </a:lnTo>
                  <a:lnTo>
                    <a:pt x="1044" y="833"/>
                  </a:lnTo>
                  <a:lnTo>
                    <a:pt x="1044" y="835"/>
                  </a:lnTo>
                  <a:lnTo>
                    <a:pt x="1045" y="836"/>
                  </a:lnTo>
                  <a:lnTo>
                    <a:pt x="1046" y="837"/>
                  </a:lnTo>
                  <a:lnTo>
                    <a:pt x="1047" y="837"/>
                  </a:lnTo>
                  <a:lnTo>
                    <a:pt x="1046" y="839"/>
                  </a:lnTo>
                  <a:lnTo>
                    <a:pt x="1046" y="840"/>
                  </a:lnTo>
                  <a:lnTo>
                    <a:pt x="1045" y="841"/>
                  </a:lnTo>
                  <a:lnTo>
                    <a:pt x="1044" y="841"/>
                  </a:lnTo>
                  <a:lnTo>
                    <a:pt x="1044" y="844"/>
                  </a:lnTo>
                  <a:lnTo>
                    <a:pt x="1042" y="847"/>
                  </a:lnTo>
                  <a:lnTo>
                    <a:pt x="1041" y="851"/>
                  </a:lnTo>
                  <a:lnTo>
                    <a:pt x="1042" y="852"/>
                  </a:lnTo>
                  <a:lnTo>
                    <a:pt x="1044" y="853"/>
                  </a:lnTo>
                  <a:close/>
                  <a:moveTo>
                    <a:pt x="2450" y="2411"/>
                  </a:moveTo>
                  <a:lnTo>
                    <a:pt x="2450" y="2401"/>
                  </a:lnTo>
                  <a:lnTo>
                    <a:pt x="2450" y="2396"/>
                  </a:lnTo>
                  <a:lnTo>
                    <a:pt x="2449" y="2392"/>
                  </a:lnTo>
                  <a:lnTo>
                    <a:pt x="2450" y="2387"/>
                  </a:lnTo>
                  <a:lnTo>
                    <a:pt x="2448" y="2379"/>
                  </a:lnTo>
                  <a:lnTo>
                    <a:pt x="2445" y="2371"/>
                  </a:lnTo>
                  <a:lnTo>
                    <a:pt x="2442" y="2359"/>
                  </a:lnTo>
                  <a:lnTo>
                    <a:pt x="2438" y="2352"/>
                  </a:lnTo>
                  <a:lnTo>
                    <a:pt x="2434" y="2347"/>
                  </a:lnTo>
                  <a:lnTo>
                    <a:pt x="2394" y="2317"/>
                  </a:lnTo>
                  <a:lnTo>
                    <a:pt x="2375" y="2307"/>
                  </a:lnTo>
                  <a:lnTo>
                    <a:pt x="2326" y="2295"/>
                  </a:lnTo>
                  <a:lnTo>
                    <a:pt x="2326" y="2297"/>
                  </a:lnTo>
                  <a:lnTo>
                    <a:pt x="2328" y="2297"/>
                  </a:lnTo>
                  <a:lnTo>
                    <a:pt x="2330" y="2297"/>
                  </a:lnTo>
                  <a:lnTo>
                    <a:pt x="2332" y="2298"/>
                  </a:lnTo>
                  <a:lnTo>
                    <a:pt x="2334" y="2299"/>
                  </a:lnTo>
                  <a:lnTo>
                    <a:pt x="2326" y="2302"/>
                  </a:lnTo>
                  <a:lnTo>
                    <a:pt x="2319" y="2300"/>
                  </a:lnTo>
                  <a:lnTo>
                    <a:pt x="2312" y="2297"/>
                  </a:lnTo>
                  <a:lnTo>
                    <a:pt x="2305" y="2295"/>
                  </a:lnTo>
                  <a:lnTo>
                    <a:pt x="2292" y="2295"/>
                  </a:lnTo>
                  <a:lnTo>
                    <a:pt x="2288" y="2294"/>
                  </a:lnTo>
                  <a:lnTo>
                    <a:pt x="2285" y="2293"/>
                  </a:lnTo>
                  <a:lnTo>
                    <a:pt x="2282" y="2292"/>
                  </a:lnTo>
                  <a:lnTo>
                    <a:pt x="2278" y="2293"/>
                  </a:lnTo>
                  <a:lnTo>
                    <a:pt x="2279" y="2295"/>
                  </a:lnTo>
                  <a:lnTo>
                    <a:pt x="2272" y="2295"/>
                  </a:lnTo>
                  <a:lnTo>
                    <a:pt x="2263" y="2297"/>
                  </a:lnTo>
                  <a:lnTo>
                    <a:pt x="2255" y="2300"/>
                  </a:lnTo>
                  <a:lnTo>
                    <a:pt x="2250" y="2306"/>
                  </a:lnTo>
                  <a:lnTo>
                    <a:pt x="2247" y="2310"/>
                  </a:lnTo>
                  <a:lnTo>
                    <a:pt x="2245" y="2317"/>
                  </a:lnTo>
                  <a:lnTo>
                    <a:pt x="2243" y="2324"/>
                  </a:lnTo>
                  <a:lnTo>
                    <a:pt x="2242" y="2330"/>
                  </a:lnTo>
                  <a:lnTo>
                    <a:pt x="2240" y="2334"/>
                  </a:lnTo>
                  <a:lnTo>
                    <a:pt x="2236" y="2338"/>
                  </a:lnTo>
                  <a:lnTo>
                    <a:pt x="2233" y="2343"/>
                  </a:lnTo>
                  <a:lnTo>
                    <a:pt x="2234" y="2348"/>
                  </a:lnTo>
                  <a:lnTo>
                    <a:pt x="2234" y="2349"/>
                  </a:lnTo>
                  <a:lnTo>
                    <a:pt x="2231" y="2348"/>
                  </a:lnTo>
                  <a:lnTo>
                    <a:pt x="2227" y="2342"/>
                  </a:lnTo>
                  <a:lnTo>
                    <a:pt x="2224" y="2340"/>
                  </a:lnTo>
                  <a:lnTo>
                    <a:pt x="2218" y="2339"/>
                  </a:lnTo>
                  <a:lnTo>
                    <a:pt x="2215" y="2340"/>
                  </a:lnTo>
                  <a:lnTo>
                    <a:pt x="2212" y="2342"/>
                  </a:lnTo>
                  <a:lnTo>
                    <a:pt x="2208" y="2338"/>
                  </a:lnTo>
                  <a:lnTo>
                    <a:pt x="2200" y="2325"/>
                  </a:lnTo>
                  <a:lnTo>
                    <a:pt x="2196" y="2322"/>
                  </a:lnTo>
                  <a:lnTo>
                    <a:pt x="2194" y="2321"/>
                  </a:lnTo>
                  <a:lnTo>
                    <a:pt x="2189" y="2318"/>
                  </a:lnTo>
                  <a:lnTo>
                    <a:pt x="2187" y="2317"/>
                  </a:lnTo>
                  <a:lnTo>
                    <a:pt x="2179" y="2319"/>
                  </a:lnTo>
                  <a:lnTo>
                    <a:pt x="2174" y="2318"/>
                  </a:lnTo>
                  <a:lnTo>
                    <a:pt x="2174" y="2315"/>
                  </a:lnTo>
                  <a:lnTo>
                    <a:pt x="2176" y="2311"/>
                  </a:lnTo>
                  <a:lnTo>
                    <a:pt x="2179" y="2310"/>
                  </a:lnTo>
                  <a:lnTo>
                    <a:pt x="2182" y="2308"/>
                  </a:lnTo>
                  <a:lnTo>
                    <a:pt x="2186" y="2304"/>
                  </a:lnTo>
                  <a:lnTo>
                    <a:pt x="2198" y="2286"/>
                  </a:lnTo>
                  <a:lnTo>
                    <a:pt x="2200" y="2284"/>
                  </a:lnTo>
                  <a:lnTo>
                    <a:pt x="2203" y="2283"/>
                  </a:lnTo>
                  <a:lnTo>
                    <a:pt x="2218" y="2269"/>
                  </a:lnTo>
                  <a:lnTo>
                    <a:pt x="2220" y="2267"/>
                  </a:lnTo>
                  <a:lnTo>
                    <a:pt x="2223" y="2266"/>
                  </a:lnTo>
                  <a:lnTo>
                    <a:pt x="2225" y="2266"/>
                  </a:lnTo>
                  <a:lnTo>
                    <a:pt x="2226" y="2264"/>
                  </a:lnTo>
                  <a:lnTo>
                    <a:pt x="2229" y="2250"/>
                  </a:lnTo>
                  <a:lnTo>
                    <a:pt x="2229" y="2239"/>
                  </a:lnTo>
                  <a:lnTo>
                    <a:pt x="2227" y="2229"/>
                  </a:lnTo>
                  <a:lnTo>
                    <a:pt x="2214" y="2193"/>
                  </a:lnTo>
                  <a:lnTo>
                    <a:pt x="2213" y="2189"/>
                  </a:lnTo>
                  <a:lnTo>
                    <a:pt x="2212" y="2185"/>
                  </a:lnTo>
                  <a:lnTo>
                    <a:pt x="2209" y="2181"/>
                  </a:lnTo>
                  <a:lnTo>
                    <a:pt x="2206" y="2179"/>
                  </a:lnTo>
                  <a:lnTo>
                    <a:pt x="2208" y="2177"/>
                  </a:lnTo>
                  <a:lnTo>
                    <a:pt x="2203" y="2174"/>
                  </a:lnTo>
                  <a:lnTo>
                    <a:pt x="2202" y="2174"/>
                  </a:lnTo>
                  <a:lnTo>
                    <a:pt x="2201" y="2173"/>
                  </a:lnTo>
                  <a:lnTo>
                    <a:pt x="2200" y="2170"/>
                  </a:lnTo>
                  <a:lnTo>
                    <a:pt x="2200" y="2167"/>
                  </a:lnTo>
                  <a:lnTo>
                    <a:pt x="2199" y="2166"/>
                  </a:lnTo>
                  <a:lnTo>
                    <a:pt x="2197" y="2162"/>
                  </a:lnTo>
                  <a:lnTo>
                    <a:pt x="2194" y="2161"/>
                  </a:lnTo>
                  <a:lnTo>
                    <a:pt x="2191" y="2161"/>
                  </a:lnTo>
                  <a:lnTo>
                    <a:pt x="2188" y="2159"/>
                  </a:lnTo>
                  <a:lnTo>
                    <a:pt x="2173" y="2147"/>
                  </a:lnTo>
                  <a:lnTo>
                    <a:pt x="2165" y="2137"/>
                  </a:lnTo>
                  <a:lnTo>
                    <a:pt x="2163" y="2137"/>
                  </a:lnTo>
                  <a:lnTo>
                    <a:pt x="2157" y="2136"/>
                  </a:lnTo>
                  <a:lnTo>
                    <a:pt x="2155" y="2133"/>
                  </a:lnTo>
                  <a:lnTo>
                    <a:pt x="2150" y="2128"/>
                  </a:lnTo>
                  <a:lnTo>
                    <a:pt x="2143" y="2124"/>
                  </a:lnTo>
                  <a:lnTo>
                    <a:pt x="2131" y="2106"/>
                  </a:lnTo>
                  <a:lnTo>
                    <a:pt x="2128" y="2101"/>
                  </a:lnTo>
                  <a:lnTo>
                    <a:pt x="2124" y="2099"/>
                  </a:lnTo>
                  <a:lnTo>
                    <a:pt x="2096" y="2104"/>
                  </a:lnTo>
                  <a:lnTo>
                    <a:pt x="2091" y="2108"/>
                  </a:lnTo>
                  <a:lnTo>
                    <a:pt x="2089" y="2109"/>
                  </a:lnTo>
                  <a:lnTo>
                    <a:pt x="2086" y="2107"/>
                  </a:lnTo>
                  <a:lnTo>
                    <a:pt x="2085" y="2105"/>
                  </a:lnTo>
                  <a:lnTo>
                    <a:pt x="2078" y="2101"/>
                  </a:lnTo>
                  <a:lnTo>
                    <a:pt x="2074" y="2100"/>
                  </a:lnTo>
                  <a:lnTo>
                    <a:pt x="2070" y="2100"/>
                  </a:lnTo>
                  <a:lnTo>
                    <a:pt x="2065" y="2102"/>
                  </a:lnTo>
                  <a:lnTo>
                    <a:pt x="2063" y="2106"/>
                  </a:lnTo>
                  <a:lnTo>
                    <a:pt x="2062" y="2105"/>
                  </a:lnTo>
                  <a:lnTo>
                    <a:pt x="2060" y="2104"/>
                  </a:lnTo>
                  <a:lnTo>
                    <a:pt x="2059" y="2103"/>
                  </a:lnTo>
                  <a:lnTo>
                    <a:pt x="2057" y="2103"/>
                  </a:lnTo>
                  <a:lnTo>
                    <a:pt x="2068" y="2095"/>
                  </a:lnTo>
                  <a:lnTo>
                    <a:pt x="2071" y="2094"/>
                  </a:lnTo>
                  <a:lnTo>
                    <a:pt x="2081" y="2095"/>
                  </a:lnTo>
                  <a:lnTo>
                    <a:pt x="2081" y="2096"/>
                  </a:lnTo>
                  <a:lnTo>
                    <a:pt x="2085" y="2100"/>
                  </a:lnTo>
                  <a:lnTo>
                    <a:pt x="2086" y="2100"/>
                  </a:lnTo>
                  <a:lnTo>
                    <a:pt x="2092" y="2099"/>
                  </a:lnTo>
                  <a:lnTo>
                    <a:pt x="2104" y="2099"/>
                  </a:lnTo>
                  <a:lnTo>
                    <a:pt x="2124" y="2092"/>
                  </a:lnTo>
                  <a:lnTo>
                    <a:pt x="2126" y="2092"/>
                  </a:lnTo>
                  <a:lnTo>
                    <a:pt x="2131" y="2093"/>
                  </a:lnTo>
                  <a:lnTo>
                    <a:pt x="2137" y="2098"/>
                  </a:lnTo>
                  <a:lnTo>
                    <a:pt x="2152" y="2117"/>
                  </a:lnTo>
                  <a:lnTo>
                    <a:pt x="2155" y="2119"/>
                  </a:lnTo>
                  <a:lnTo>
                    <a:pt x="2158" y="2121"/>
                  </a:lnTo>
                  <a:lnTo>
                    <a:pt x="2162" y="2122"/>
                  </a:lnTo>
                  <a:lnTo>
                    <a:pt x="2165" y="2123"/>
                  </a:lnTo>
                  <a:lnTo>
                    <a:pt x="2169" y="2122"/>
                  </a:lnTo>
                  <a:lnTo>
                    <a:pt x="2175" y="2118"/>
                  </a:lnTo>
                  <a:lnTo>
                    <a:pt x="2178" y="2117"/>
                  </a:lnTo>
                  <a:lnTo>
                    <a:pt x="2182" y="2118"/>
                  </a:lnTo>
                  <a:lnTo>
                    <a:pt x="2189" y="2123"/>
                  </a:lnTo>
                  <a:lnTo>
                    <a:pt x="2192" y="2125"/>
                  </a:lnTo>
                  <a:lnTo>
                    <a:pt x="2194" y="2127"/>
                  </a:lnTo>
                  <a:lnTo>
                    <a:pt x="2194" y="2131"/>
                  </a:lnTo>
                  <a:lnTo>
                    <a:pt x="2190" y="2139"/>
                  </a:lnTo>
                  <a:lnTo>
                    <a:pt x="2194" y="2137"/>
                  </a:lnTo>
                  <a:lnTo>
                    <a:pt x="2194" y="2136"/>
                  </a:lnTo>
                  <a:lnTo>
                    <a:pt x="2196" y="2127"/>
                  </a:lnTo>
                  <a:lnTo>
                    <a:pt x="2194" y="2118"/>
                  </a:lnTo>
                  <a:lnTo>
                    <a:pt x="2165" y="2076"/>
                  </a:lnTo>
                  <a:lnTo>
                    <a:pt x="2149" y="2049"/>
                  </a:lnTo>
                  <a:lnTo>
                    <a:pt x="2146" y="2041"/>
                  </a:lnTo>
                  <a:lnTo>
                    <a:pt x="2141" y="2024"/>
                  </a:lnTo>
                  <a:lnTo>
                    <a:pt x="2138" y="2016"/>
                  </a:lnTo>
                  <a:lnTo>
                    <a:pt x="2142" y="2005"/>
                  </a:lnTo>
                  <a:lnTo>
                    <a:pt x="2147" y="2000"/>
                  </a:lnTo>
                  <a:lnTo>
                    <a:pt x="2161" y="1992"/>
                  </a:lnTo>
                  <a:lnTo>
                    <a:pt x="2155" y="1987"/>
                  </a:lnTo>
                  <a:lnTo>
                    <a:pt x="2135" y="1979"/>
                  </a:lnTo>
                  <a:lnTo>
                    <a:pt x="2131" y="1974"/>
                  </a:lnTo>
                  <a:lnTo>
                    <a:pt x="2131" y="1973"/>
                  </a:lnTo>
                  <a:lnTo>
                    <a:pt x="2130" y="1966"/>
                  </a:lnTo>
                  <a:lnTo>
                    <a:pt x="2129" y="1963"/>
                  </a:lnTo>
                  <a:lnTo>
                    <a:pt x="2125" y="1961"/>
                  </a:lnTo>
                  <a:lnTo>
                    <a:pt x="2123" y="1960"/>
                  </a:lnTo>
                  <a:lnTo>
                    <a:pt x="2121" y="1958"/>
                  </a:lnTo>
                  <a:lnTo>
                    <a:pt x="2115" y="1957"/>
                  </a:lnTo>
                  <a:lnTo>
                    <a:pt x="2114" y="1955"/>
                  </a:lnTo>
                  <a:lnTo>
                    <a:pt x="2111" y="1951"/>
                  </a:lnTo>
                  <a:lnTo>
                    <a:pt x="2110" y="1949"/>
                  </a:lnTo>
                  <a:lnTo>
                    <a:pt x="2110" y="1948"/>
                  </a:lnTo>
                  <a:lnTo>
                    <a:pt x="2111" y="1946"/>
                  </a:lnTo>
                  <a:lnTo>
                    <a:pt x="2109" y="1945"/>
                  </a:lnTo>
                  <a:lnTo>
                    <a:pt x="2108" y="1944"/>
                  </a:lnTo>
                  <a:lnTo>
                    <a:pt x="2107" y="1942"/>
                  </a:lnTo>
                  <a:lnTo>
                    <a:pt x="2106" y="1940"/>
                  </a:lnTo>
                  <a:lnTo>
                    <a:pt x="2106" y="1935"/>
                  </a:lnTo>
                  <a:lnTo>
                    <a:pt x="2104" y="1928"/>
                  </a:lnTo>
                  <a:lnTo>
                    <a:pt x="2101" y="1921"/>
                  </a:lnTo>
                  <a:lnTo>
                    <a:pt x="2099" y="1917"/>
                  </a:lnTo>
                  <a:lnTo>
                    <a:pt x="2097" y="1915"/>
                  </a:lnTo>
                  <a:lnTo>
                    <a:pt x="2092" y="1911"/>
                  </a:lnTo>
                  <a:lnTo>
                    <a:pt x="2090" y="1908"/>
                  </a:lnTo>
                  <a:lnTo>
                    <a:pt x="2090" y="1906"/>
                  </a:lnTo>
                  <a:lnTo>
                    <a:pt x="2090" y="1903"/>
                  </a:lnTo>
                  <a:lnTo>
                    <a:pt x="2090" y="1901"/>
                  </a:lnTo>
                  <a:lnTo>
                    <a:pt x="2088" y="1897"/>
                  </a:lnTo>
                  <a:lnTo>
                    <a:pt x="2083" y="1893"/>
                  </a:lnTo>
                  <a:lnTo>
                    <a:pt x="2047" y="1870"/>
                  </a:lnTo>
                  <a:lnTo>
                    <a:pt x="2015" y="1860"/>
                  </a:lnTo>
                  <a:lnTo>
                    <a:pt x="2007" y="1855"/>
                  </a:lnTo>
                  <a:lnTo>
                    <a:pt x="2001" y="1854"/>
                  </a:lnTo>
                  <a:lnTo>
                    <a:pt x="1998" y="1853"/>
                  </a:lnTo>
                  <a:lnTo>
                    <a:pt x="1995" y="1850"/>
                  </a:lnTo>
                  <a:lnTo>
                    <a:pt x="1992" y="1847"/>
                  </a:lnTo>
                  <a:lnTo>
                    <a:pt x="1991" y="1854"/>
                  </a:lnTo>
                  <a:lnTo>
                    <a:pt x="1990" y="1856"/>
                  </a:lnTo>
                  <a:lnTo>
                    <a:pt x="1988" y="1856"/>
                  </a:lnTo>
                  <a:lnTo>
                    <a:pt x="1988" y="1856"/>
                  </a:lnTo>
                  <a:lnTo>
                    <a:pt x="1988" y="1854"/>
                  </a:lnTo>
                  <a:lnTo>
                    <a:pt x="1987" y="1853"/>
                  </a:lnTo>
                  <a:lnTo>
                    <a:pt x="1987" y="1852"/>
                  </a:lnTo>
                  <a:lnTo>
                    <a:pt x="1986" y="1852"/>
                  </a:lnTo>
                  <a:lnTo>
                    <a:pt x="1986" y="1853"/>
                  </a:lnTo>
                  <a:lnTo>
                    <a:pt x="1985" y="1854"/>
                  </a:lnTo>
                  <a:lnTo>
                    <a:pt x="1985" y="1854"/>
                  </a:lnTo>
                  <a:lnTo>
                    <a:pt x="1983" y="1854"/>
                  </a:lnTo>
                  <a:lnTo>
                    <a:pt x="1982" y="1854"/>
                  </a:lnTo>
                  <a:lnTo>
                    <a:pt x="1982" y="1852"/>
                  </a:lnTo>
                  <a:lnTo>
                    <a:pt x="1981" y="1850"/>
                  </a:lnTo>
                  <a:lnTo>
                    <a:pt x="1985" y="1849"/>
                  </a:lnTo>
                  <a:lnTo>
                    <a:pt x="1987" y="1847"/>
                  </a:lnTo>
                  <a:lnTo>
                    <a:pt x="1988" y="1845"/>
                  </a:lnTo>
                  <a:lnTo>
                    <a:pt x="1987" y="1844"/>
                  </a:lnTo>
                  <a:lnTo>
                    <a:pt x="1986" y="1842"/>
                  </a:lnTo>
                  <a:lnTo>
                    <a:pt x="1985" y="1840"/>
                  </a:lnTo>
                  <a:lnTo>
                    <a:pt x="1984" y="1838"/>
                  </a:lnTo>
                  <a:lnTo>
                    <a:pt x="1984" y="1836"/>
                  </a:lnTo>
                  <a:lnTo>
                    <a:pt x="1983" y="1835"/>
                  </a:lnTo>
                  <a:lnTo>
                    <a:pt x="1983" y="1834"/>
                  </a:lnTo>
                  <a:lnTo>
                    <a:pt x="1987" y="1834"/>
                  </a:lnTo>
                  <a:lnTo>
                    <a:pt x="1987" y="1832"/>
                  </a:lnTo>
                  <a:lnTo>
                    <a:pt x="1978" y="1828"/>
                  </a:lnTo>
                  <a:lnTo>
                    <a:pt x="1976" y="1826"/>
                  </a:lnTo>
                  <a:lnTo>
                    <a:pt x="1970" y="1819"/>
                  </a:lnTo>
                  <a:lnTo>
                    <a:pt x="1967" y="1810"/>
                  </a:lnTo>
                  <a:lnTo>
                    <a:pt x="1958" y="1776"/>
                  </a:lnTo>
                  <a:lnTo>
                    <a:pt x="1958" y="1773"/>
                  </a:lnTo>
                  <a:lnTo>
                    <a:pt x="1957" y="1772"/>
                  </a:lnTo>
                  <a:lnTo>
                    <a:pt x="1956" y="1770"/>
                  </a:lnTo>
                  <a:lnTo>
                    <a:pt x="1956" y="1764"/>
                  </a:lnTo>
                  <a:lnTo>
                    <a:pt x="1956" y="1762"/>
                  </a:lnTo>
                  <a:lnTo>
                    <a:pt x="1957" y="1761"/>
                  </a:lnTo>
                  <a:lnTo>
                    <a:pt x="1956" y="1759"/>
                  </a:lnTo>
                  <a:lnTo>
                    <a:pt x="1955" y="1756"/>
                  </a:lnTo>
                  <a:lnTo>
                    <a:pt x="1951" y="1751"/>
                  </a:lnTo>
                  <a:lnTo>
                    <a:pt x="1950" y="1751"/>
                  </a:lnTo>
                  <a:lnTo>
                    <a:pt x="1949" y="1749"/>
                  </a:lnTo>
                  <a:lnTo>
                    <a:pt x="1947" y="1746"/>
                  </a:lnTo>
                  <a:lnTo>
                    <a:pt x="1947" y="1743"/>
                  </a:lnTo>
                  <a:lnTo>
                    <a:pt x="1946" y="1740"/>
                  </a:lnTo>
                  <a:lnTo>
                    <a:pt x="1944" y="1738"/>
                  </a:lnTo>
                  <a:lnTo>
                    <a:pt x="1942" y="1731"/>
                  </a:lnTo>
                  <a:lnTo>
                    <a:pt x="1941" y="1728"/>
                  </a:lnTo>
                  <a:lnTo>
                    <a:pt x="1941" y="1728"/>
                  </a:lnTo>
                  <a:lnTo>
                    <a:pt x="1940" y="1727"/>
                  </a:lnTo>
                  <a:lnTo>
                    <a:pt x="1938" y="1726"/>
                  </a:lnTo>
                  <a:lnTo>
                    <a:pt x="1938" y="1726"/>
                  </a:lnTo>
                  <a:lnTo>
                    <a:pt x="1937" y="1724"/>
                  </a:lnTo>
                  <a:lnTo>
                    <a:pt x="1936" y="1718"/>
                  </a:lnTo>
                  <a:lnTo>
                    <a:pt x="1935" y="1712"/>
                  </a:lnTo>
                  <a:lnTo>
                    <a:pt x="1935" y="1710"/>
                  </a:lnTo>
                  <a:lnTo>
                    <a:pt x="1932" y="1706"/>
                  </a:lnTo>
                  <a:lnTo>
                    <a:pt x="1931" y="1703"/>
                  </a:lnTo>
                  <a:lnTo>
                    <a:pt x="1932" y="1701"/>
                  </a:lnTo>
                  <a:lnTo>
                    <a:pt x="1933" y="1698"/>
                  </a:lnTo>
                  <a:lnTo>
                    <a:pt x="1933" y="1696"/>
                  </a:lnTo>
                  <a:lnTo>
                    <a:pt x="1932" y="1693"/>
                  </a:lnTo>
                  <a:lnTo>
                    <a:pt x="1931" y="1691"/>
                  </a:lnTo>
                  <a:lnTo>
                    <a:pt x="1930" y="1690"/>
                  </a:lnTo>
                  <a:lnTo>
                    <a:pt x="1931" y="1686"/>
                  </a:lnTo>
                  <a:lnTo>
                    <a:pt x="1928" y="1682"/>
                  </a:lnTo>
                  <a:lnTo>
                    <a:pt x="1925" y="1679"/>
                  </a:lnTo>
                  <a:lnTo>
                    <a:pt x="1925" y="1676"/>
                  </a:lnTo>
                  <a:lnTo>
                    <a:pt x="1925" y="1674"/>
                  </a:lnTo>
                  <a:lnTo>
                    <a:pt x="1924" y="1672"/>
                  </a:lnTo>
                  <a:lnTo>
                    <a:pt x="1924" y="1670"/>
                  </a:lnTo>
                  <a:lnTo>
                    <a:pt x="1924" y="1668"/>
                  </a:lnTo>
                  <a:lnTo>
                    <a:pt x="1925" y="1667"/>
                  </a:lnTo>
                  <a:lnTo>
                    <a:pt x="1925" y="1666"/>
                  </a:lnTo>
                  <a:lnTo>
                    <a:pt x="1925" y="1664"/>
                  </a:lnTo>
                  <a:lnTo>
                    <a:pt x="1926" y="1663"/>
                  </a:lnTo>
                  <a:lnTo>
                    <a:pt x="1925" y="1658"/>
                  </a:lnTo>
                  <a:lnTo>
                    <a:pt x="1921" y="1651"/>
                  </a:lnTo>
                  <a:lnTo>
                    <a:pt x="1920" y="1645"/>
                  </a:lnTo>
                  <a:lnTo>
                    <a:pt x="1920" y="1643"/>
                  </a:lnTo>
                  <a:lnTo>
                    <a:pt x="1920" y="1641"/>
                  </a:lnTo>
                  <a:lnTo>
                    <a:pt x="1921" y="1637"/>
                  </a:lnTo>
                  <a:lnTo>
                    <a:pt x="1922" y="1634"/>
                  </a:lnTo>
                  <a:lnTo>
                    <a:pt x="1921" y="1615"/>
                  </a:lnTo>
                  <a:lnTo>
                    <a:pt x="1920" y="1612"/>
                  </a:lnTo>
                  <a:lnTo>
                    <a:pt x="1919" y="1610"/>
                  </a:lnTo>
                  <a:lnTo>
                    <a:pt x="1918" y="1609"/>
                  </a:lnTo>
                  <a:lnTo>
                    <a:pt x="1917" y="1608"/>
                  </a:lnTo>
                  <a:lnTo>
                    <a:pt x="1918" y="1606"/>
                  </a:lnTo>
                  <a:lnTo>
                    <a:pt x="1918" y="1604"/>
                  </a:lnTo>
                  <a:lnTo>
                    <a:pt x="1915" y="1601"/>
                  </a:lnTo>
                  <a:lnTo>
                    <a:pt x="1914" y="1600"/>
                  </a:lnTo>
                  <a:lnTo>
                    <a:pt x="1914" y="1598"/>
                  </a:lnTo>
                  <a:lnTo>
                    <a:pt x="1916" y="1596"/>
                  </a:lnTo>
                  <a:lnTo>
                    <a:pt x="1914" y="1595"/>
                  </a:lnTo>
                  <a:lnTo>
                    <a:pt x="1913" y="1593"/>
                  </a:lnTo>
                  <a:lnTo>
                    <a:pt x="1913" y="1590"/>
                  </a:lnTo>
                  <a:lnTo>
                    <a:pt x="1914" y="1589"/>
                  </a:lnTo>
                  <a:lnTo>
                    <a:pt x="1914" y="1587"/>
                  </a:lnTo>
                  <a:lnTo>
                    <a:pt x="1903" y="1579"/>
                  </a:lnTo>
                  <a:lnTo>
                    <a:pt x="1900" y="1578"/>
                  </a:lnTo>
                  <a:lnTo>
                    <a:pt x="1894" y="1580"/>
                  </a:lnTo>
                  <a:lnTo>
                    <a:pt x="1892" y="1579"/>
                  </a:lnTo>
                  <a:lnTo>
                    <a:pt x="1892" y="1577"/>
                  </a:lnTo>
                  <a:lnTo>
                    <a:pt x="1895" y="1577"/>
                  </a:lnTo>
                  <a:lnTo>
                    <a:pt x="1894" y="1573"/>
                  </a:lnTo>
                  <a:lnTo>
                    <a:pt x="1892" y="1571"/>
                  </a:lnTo>
                  <a:lnTo>
                    <a:pt x="1890" y="1570"/>
                  </a:lnTo>
                  <a:lnTo>
                    <a:pt x="1888" y="1570"/>
                  </a:lnTo>
                  <a:lnTo>
                    <a:pt x="1887" y="1570"/>
                  </a:lnTo>
                  <a:lnTo>
                    <a:pt x="1887" y="1571"/>
                  </a:lnTo>
                  <a:lnTo>
                    <a:pt x="1886" y="1573"/>
                  </a:lnTo>
                  <a:lnTo>
                    <a:pt x="1884" y="1573"/>
                  </a:lnTo>
                  <a:lnTo>
                    <a:pt x="1884" y="1572"/>
                  </a:lnTo>
                  <a:lnTo>
                    <a:pt x="1883" y="1570"/>
                  </a:lnTo>
                  <a:lnTo>
                    <a:pt x="1882" y="1568"/>
                  </a:lnTo>
                  <a:lnTo>
                    <a:pt x="1879" y="1566"/>
                  </a:lnTo>
                  <a:lnTo>
                    <a:pt x="1877" y="1562"/>
                  </a:lnTo>
                  <a:lnTo>
                    <a:pt x="1875" y="1556"/>
                  </a:lnTo>
                  <a:lnTo>
                    <a:pt x="1854" y="1529"/>
                  </a:lnTo>
                  <a:lnTo>
                    <a:pt x="1852" y="1525"/>
                  </a:lnTo>
                  <a:lnTo>
                    <a:pt x="1842" y="1507"/>
                  </a:lnTo>
                  <a:lnTo>
                    <a:pt x="1839" y="1503"/>
                  </a:lnTo>
                  <a:lnTo>
                    <a:pt x="1836" y="1502"/>
                  </a:lnTo>
                  <a:lnTo>
                    <a:pt x="1835" y="1501"/>
                  </a:lnTo>
                  <a:lnTo>
                    <a:pt x="1834" y="1499"/>
                  </a:lnTo>
                  <a:lnTo>
                    <a:pt x="1834" y="1496"/>
                  </a:lnTo>
                  <a:lnTo>
                    <a:pt x="1833" y="1494"/>
                  </a:lnTo>
                  <a:lnTo>
                    <a:pt x="1832" y="1493"/>
                  </a:lnTo>
                  <a:lnTo>
                    <a:pt x="1806" y="1488"/>
                  </a:lnTo>
                  <a:lnTo>
                    <a:pt x="1799" y="1484"/>
                  </a:lnTo>
                  <a:lnTo>
                    <a:pt x="1789" y="1476"/>
                  </a:lnTo>
                  <a:lnTo>
                    <a:pt x="1783" y="1474"/>
                  </a:lnTo>
                  <a:lnTo>
                    <a:pt x="1777" y="1469"/>
                  </a:lnTo>
                  <a:lnTo>
                    <a:pt x="1775" y="1467"/>
                  </a:lnTo>
                  <a:lnTo>
                    <a:pt x="1773" y="1468"/>
                  </a:lnTo>
                  <a:lnTo>
                    <a:pt x="1772" y="1470"/>
                  </a:lnTo>
                  <a:lnTo>
                    <a:pt x="1771" y="1471"/>
                  </a:lnTo>
                  <a:lnTo>
                    <a:pt x="1769" y="1469"/>
                  </a:lnTo>
                  <a:lnTo>
                    <a:pt x="1765" y="1470"/>
                  </a:lnTo>
                  <a:lnTo>
                    <a:pt x="1763" y="1469"/>
                  </a:lnTo>
                  <a:lnTo>
                    <a:pt x="1764" y="1468"/>
                  </a:lnTo>
                  <a:lnTo>
                    <a:pt x="1765" y="1463"/>
                  </a:lnTo>
                  <a:lnTo>
                    <a:pt x="1762" y="1461"/>
                  </a:lnTo>
                  <a:lnTo>
                    <a:pt x="1758" y="1455"/>
                  </a:lnTo>
                  <a:lnTo>
                    <a:pt x="1754" y="1453"/>
                  </a:lnTo>
                  <a:lnTo>
                    <a:pt x="1728" y="1451"/>
                  </a:lnTo>
                  <a:lnTo>
                    <a:pt x="1724" y="1453"/>
                  </a:lnTo>
                  <a:lnTo>
                    <a:pt x="1720" y="1458"/>
                  </a:lnTo>
                  <a:lnTo>
                    <a:pt x="1717" y="1461"/>
                  </a:lnTo>
                  <a:lnTo>
                    <a:pt x="1718" y="1462"/>
                  </a:lnTo>
                  <a:lnTo>
                    <a:pt x="1718" y="1463"/>
                  </a:lnTo>
                  <a:lnTo>
                    <a:pt x="1719" y="1467"/>
                  </a:lnTo>
                  <a:lnTo>
                    <a:pt x="1715" y="1468"/>
                  </a:lnTo>
                  <a:lnTo>
                    <a:pt x="1712" y="1471"/>
                  </a:lnTo>
                  <a:lnTo>
                    <a:pt x="1710" y="1475"/>
                  </a:lnTo>
                  <a:lnTo>
                    <a:pt x="1706" y="1478"/>
                  </a:lnTo>
                  <a:lnTo>
                    <a:pt x="1694" y="1484"/>
                  </a:lnTo>
                  <a:lnTo>
                    <a:pt x="1684" y="1485"/>
                  </a:lnTo>
                  <a:lnTo>
                    <a:pt x="1682" y="1484"/>
                  </a:lnTo>
                  <a:lnTo>
                    <a:pt x="1681" y="1483"/>
                  </a:lnTo>
                  <a:lnTo>
                    <a:pt x="1678" y="1479"/>
                  </a:lnTo>
                  <a:lnTo>
                    <a:pt x="1677" y="1478"/>
                  </a:lnTo>
                  <a:lnTo>
                    <a:pt x="1648" y="1476"/>
                  </a:lnTo>
                  <a:lnTo>
                    <a:pt x="1646" y="1474"/>
                  </a:lnTo>
                  <a:lnTo>
                    <a:pt x="1644" y="1472"/>
                  </a:lnTo>
                  <a:lnTo>
                    <a:pt x="1642" y="1471"/>
                  </a:lnTo>
                  <a:lnTo>
                    <a:pt x="1640" y="1473"/>
                  </a:lnTo>
                  <a:lnTo>
                    <a:pt x="1632" y="1473"/>
                  </a:lnTo>
                  <a:lnTo>
                    <a:pt x="1605" y="1465"/>
                  </a:lnTo>
                  <a:lnTo>
                    <a:pt x="1601" y="1465"/>
                  </a:lnTo>
                  <a:lnTo>
                    <a:pt x="1592" y="1467"/>
                  </a:lnTo>
                  <a:lnTo>
                    <a:pt x="1590" y="1466"/>
                  </a:lnTo>
                  <a:lnTo>
                    <a:pt x="1589" y="1464"/>
                  </a:lnTo>
                  <a:lnTo>
                    <a:pt x="1589" y="1463"/>
                  </a:lnTo>
                  <a:lnTo>
                    <a:pt x="1588" y="1461"/>
                  </a:lnTo>
                  <a:lnTo>
                    <a:pt x="1586" y="1461"/>
                  </a:lnTo>
                  <a:lnTo>
                    <a:pt x="1583" y="1462"/>
                  </a:lnTo>
                  <a:lnTo>
                    <a:pt x="1582" y="1461"/>
                  </a:lnTo>
                  <a:lnTo>
                    <a:pt x="1581" y="1459"/>
                  </a:lnTo>
                  <a:lnTo>
                    <a:pt x="1576" y="1449"/>
                  </a:lnTo>
                  <a:lnTo>
                    <a:pt x="1574" y="1448"/>
                  </a:lnTo>
                  <a:lnTo>
                    <a:pt x="1573" y="1446"/>
                  </a:lnTo>
                  <a:lnTo>
                    <a:pt x="1563" y="1440"/>
                  </a:lnTo>
                  <a:lnTo>
                    <a:pt x="1563" y="1438"/>
                  </a:lnTo>
                  <a:lnTo>
                    <a:pt x="1567" y="1438"/>
                  </a:lnTo>
                  <a:lnTo>
                    <a:pt x="1569" y="1439"/>
                  </a:lnTo>
                  <a:lnTo>
                    <a:pt x="1572" y="1444"/>
                  </a:lnTo>
                  <a:lnTo>
                    <a:pt x="1578" y="1449"/>
                  </a:lnTo>
                  <a:lnTo>
                    <a:pt x="1578" y="1449"/>
                  </a:lnTo>
                  <a:lnTo>
                    <a:pt x="1584" y="1453"/>
                  </a:lnTo>
                  <a:lnTo>
                    <a:pt x="1590" y="1455"/>
                  </a:lnTo>
                  <a:lnTo>
                    <a:pt x="1604" y="1455"/>
                  </a:lnTo>
                  <a:lnTo>
                    <a:pt x="1630" y="1463"/>
                  </a:lnTo>
                  <a:lnTo>
                    <a:pt x="1636" y="1463"/>
                  </a:lnTo>
                  <a:lnTo>
                    <a:pt x="1642" y="1462"/>
                  </a:lnTo>
                  <a:lnTo>
                    <a:pt x="1648" y="1459"/>
                  </a:lnTo>
                  <a:lnTo>
                    <a:pt x="1654" y="1455"/>
                  </a:lnTo>
                  <a:lnTo>
                    <a:pt x="1657" y="1454"/>
                  </a:lnTo>
                  <a:lnTo>
                    <a:pt x="1668" y="1453"/>
                  </a:lnTo>
                  <a:lnTo>
                    <a:pt x="1671" y="1452"/>
                  </a:lnTo>
                  <a:lnTo>
                    <a:pt x="1672" y="1448"/>
                  </a:lnTo>
                  <a:lnTo>
                    <a:pt x="1675" y="1438"/>
                  </a:lnTo>
                  <a:lnTo>
                    <a:pt x="1676" y="1435"/>
                  </a:lnTo>
                  <a:lnTo>
                    <a:pt x="1679" y="1434"/>
                  </a:lnTo>
                  <a:lnTo>
                    <a:pt x="1682" y="1432"/>
                  </a:lnTo>
                  <a:lnTo>
                    <a:pt x="1691" y="1422"/>
                  </a:lnTo>
                  <a:lnTo>
                    <a:pt x="1699" y="1416"/>
                  </a:lnTo>
                  <a:lnTo>
                    <a:pt x="1700" y="1414"/>
                  </a:lnTo>
                  <a:lnTo>
                    <a:pt x="1702" y="1411"/>
                  </a:lnTo>
                  <a:lnTo>
                    <a:pt x="1706" y="1410"/>
                  </a:lnTo>
                  <a:lnTo>
                    <a:pt x="1714" y="1410"/>
                  </a:lnTo>
                  <a:lnTo>
                    <a:pt x="1723" y="1416"/>
                  </a:lnTo>
                  <a:lnTo>
                    <a:pt x="1727" y="1416"/>
                  </a:lnTo>
                  <a:lnTo>
                    <a:pt x="1731" y="1415"/>
                  </a:lnTo>
                  <a:lnTo>
                    <a:pt x="1741" y="1408"/>
                  </a:lnTo>
                  <a:lnTo>
                    <a:pt x="1749" y="1407"/>
                  </a:lnTo>
                  <a:lnTo>
                    <a:pt x="1752" y="1405"/>
                  </a:lnTo>
                  <a:lnTo>
                    <a:pt x="1755" y="1399"/>
                  </a:lnTo>
                  <a:lnTo>
                    <a:pt x="1764" y="1391"/>
                  </a:lnTo>
                  <a:lnTo>
                    <a:pt x="1764" y="1389"/>
                  </a:lnTo>
                  <a:lnTo>
                    <a:pt x="1758" y="1384"/>
                  </a:lnTo>
                  <a:lnTo>
                    <a:pt x="1757" y="1383"/>
                  </a:lnTo>
                  <a:lnTo>
                    <a:pt x="1751" y="1378"/>
                  </a:lnTo>
                  <a:lnTo>
                    <a:pt x="1748" y="1376"/>
                  </a:lnTo>
                  <a:lnTo>
                    <a:pt x="1733" y="1375"/>
                  </a:lnTo>
                  <a:lnTo>
                    <a:pt x="1732" y="1373"/>
                  </a:lnTo>
                  <a:lnTo>
                    <a:pt x="1731" y="1373"/>
                  </a:lnTo>
                  <a:lnTo>
                    <a:pt x="1729" y="1372"/>
                  </a:lnTo>
                  <a:lnTo>
                    <a:pt x="1728" y="1371"/>
                  </a:lnTo>
                  <a:lnTo>
                    <a:pt x="1728" y="1370"/>
                  </a:lnTo>
                  <a:lnTo>
                    <a:pt x="1727" y="1366"/>
                  </a:lnTo>
                  <a:lnTo>
                    <a:pt x="1726" y="1366"/>
                  </a:lnTo>
                  <a:lnTo>
                    <a:pt x="1722" y="1366"/>
                  </a:lnTo>
                  <a:lnTo>
                    <a:pt x="1725" y="1363"/>
                  </a:lnTo>
                  <a:lnTo>
                    <a:pt x="1727" y="1359"/>
                  </a:lnTo>
                  <a:lnTo>
                    <a:pt x="1728" y="1353"/>
                  </a:lnTo>
                  <a:lnTo>
                    <a:pt x="1728" y="1348"/>
                  </a:lnTo>
                  <a:lnTo>
                    <a:pt x="1726" y="1344"/>
                  </a:lnTo>
                  <a:lnTo>
                    <a:pt x="1720" y="1344"/>
                  </a:lnTo>
                  <a:lnTo>
                    <a:pt x="1717" y="1341"/>
                  </a:lnTo>
                  <a:lnTo>
                    <a:pt x="1715" y="1339"/>
                  </a:lnTo>
                  <a:lnTo>
                    <a:pt x="1711" y="1340"/>
                  </a:lnTo>
                  <a:lnTo>
                    <a:pt x="1707" y="1342"/>
                  </a:lnTo>
                  <a:lnTo>
                    <a:pt x="1706" y="1345"/>
                  </a:lnTo>
                  <a:lnTo>
                    <a:pt x="1705" y="1347"/>
                  </a:lnTo>
                  <a:lnTo>
                    <a:pt x="1673" y="1363"/>
                  </a:lnTo>
                  <a:lnTo>
                    <a:pt x="1666" y="1365"/>
                  </a:lnTo>
                  <a:lnTo>
                    <a:pt x="1660" y="1369"/>
                  </a:lnTo>
                  <a:lnTo>
                    <a:pt x="1656" y="1370"/>
                  </a:lnTo>
                  <a:lnTo>
                    <a:pt x="1650" y="1370"/>
                  </a:lnTo>
                  <a:lnTo>
                    <a:pt x="1647" y="1368"/>
                  </a:lnTo>
                  <a:lnTo>
                    <a:pt x="1645" y="1366"/>
                  </a:lnTo>
                  <a:lnTo>
                    <a:pt x="1652" y="1368"/>
                  </a:lnTo>
                  <a:lnTo>
                    <a:pt x="1659" y="1365"/>
                  </a:lnTo>
                  <a:lnTo>
                    <a:pt x="1675" y="1348"/>
                  </a:lnTo>
                  <a:lnTo>
                    <a:pt x="1681" y="1344"/>
                  </a:lnTo>
                  <a:lnTo>
                    <a:pt x="1687" y="1341"/>
                  </a:lnTo>
                  <a:lnTo>
                    <a:pt x="1688" y="1341"/>
                  </a:lnTo>
                  <a:lnTo>
                    <a:pt x="1725" y="1336"/>
                  </a:lnTo>
                  <a:lnTo>
                    <a:pt x="1734" y="1334"/>
                  </a:lnTo>
                  <a:lnTo>
                    <a:pt x="1736" y="1335"/>
                  </a:lnTo>
                  <a:lnTo>
                    <a:pt x="1737" y="1336"/>
                  </a:lnTo>
                  <a:lnTo>
                    <a:pt x="1738" y="1337"/>
                  </a:lnTo>
                  <a:lnTo>
                    <a:pt x="1740" y="1336"/>
                  </a:lnTo>
                  <a:lnTo>
                    <a:pt x="1743" y="1328"/>
                  </a:lnTo>
                  <a:lnTo>
                    <a:pt x="1744" y="1326"/>
                  </a:lnTo>
                  <a:lnTo>
                    <a:pt x="1750" y="1323"/>
                  </a:lnTo>
                  <a:lnTo>
                    <a:pt x="1754" y="1321"/>
                  </a:lnTo>
                  <a:lnTo>
                    <a:pt x="1756" y="1315"/>
                  </a:lnTo>
                  <a:lnTo>
                    <a:pt x="1771" y="1304"/>
                  </a:lnTo>
                  <a:lnTo>
                    <a:pt x="1773" y="1301"/>
                  </a:lnTo>
                  <a:lnTo>
                    <a:pt x="1775" y="1296"/>
                  </a:lnTo>
                  <a:lnTo>
                    <a:pt x="1778" y="1293"/>
                  </a:lnTo>
                  <a:lnTo>
                    <a:pt x="1779" y="1291"/>
                  </a:lnTo>
                  <a:lnTo>
                    <a:pt x="1779" y="1289"/>
                  </a:lnTo>
                  <a:lnTo>
                    <a:pt x="1778" y="1285"/>
                  </a:lnTo>
                  <a:lnTo>
                    <a:pt x="1778" y="1283"/>
                  </a:lnTo>
                  <a:lnTo>
                    <a:pt x="1779" y="1279"/>
                  </a:lnTo>
                  <a:lnTo>
                    <a:pt x="1782" y="1276"/>
                  </a:lnTo>
                  <a:lnTo>
                    <a:pt x="1783" y="1272"/>
                  </a:lnTo>
                  <a:lnTo>
                    <a:pt x="1785" y="1260"/>
                  </a:lnTo>
                  <a:lnTo>
                    <a:pt x="1786" y="1258"/>
                  </a:lnTo>
                  <a:lnTo>
                    <a:pt x="1788" y="1255"/>
                  </a:lnTo>
                  <a:lnTo>
                    <a:pt x="1790" y="1252"/>
                  </a:lnTo>
                  <a:lnTo>
                    <a:pt x="1793" y="1249"/>
                  </a:lnTo>
                  <a:lnTo>
                    <a:pt x="1802" y="1243"/>
                  </a:lnTo>
                  <a:lnTo>
                    <a:pt x="1804" y="1240"/>
                  </a:lnTo>
                  <a:lnTo>
                    <a:pt x="1808" y="1233"/>
                  </a:lnTo>
                  <a:lnTo>
                    <a:pt x="1812" y="1227"/>
                  </a:lnTo>
                  <a:lnTo>
                    <a:pt x="1818" y="1223"/>
                  </a:lnTo>
                  <a:lnTo>
                    <a:pt x="1820" y="1220"/>
                  </a:lnTo>
                  <a:lnTo>
                    <a:pt x="1821" y="1214"/>
                  </a:lnTo>
                  <a:lnTo>
                    <a:pt x="1822" y="1213"/>
                  </a:lnTo>
                  <a:lnTo>
                    <a:pt x="1825" y="1209"/>
                  </a:lnTo>
                  <a:lnTo>
                    <a:pt x="1826" y="1208"/>
                  </a:lnTo>
                  <a:lnTo>
                    <a:pt x="1826" y="1204"/>
                  </a:lnTo>
                  <a:lnTo>
                    <a:pt x="1825" y="1202"/>
                  </a:lnTo>
                  <a:lnTo>
                    <a:pt x="1824" y="1200"/>
                  </a:lnTo>
                  <a:lnTo>
                    <a:pt x="1823" y="1198"/>
                  </a:lnTo>
                  <a:lnTo>
                    <a:pt x="1826" y="1187"/>
                  </a:lnTo>
                  <a:lnTo>
                    <a:pt x="1830" y="1177"/>
                  </a:lnTo>
                  <a:lnTo>
                    <a:pt x="1845" y="1154"/>
                  </a:lnTo>
                  <a:lnTo>
                    <a:pt x="1845" y="1154"/>
                  </a:lnTo>
                  <a:lnTo>
                    <a:pt x="1847" y="1148"/>
                  </a:lnTo>
                  <a:lnTo>
                    <a:pt x="1847" y="1146"/>
                  </a:lnTo>
                  <a:lnTo>
                    <a:pt x="1844" y="1143"/>
                  </a:lnTo>
                  <a:lnTo>
                    <a:pt x="1843" y="1138"/>
                  </a:lnTo>
                  <a:lnTo>
                    <a:pt x="1844" y="1132"/>
                  </a:lnTo>
                  <a:lnTo>
                    <a:pt x="1848" y="1117"/>
                  </a:lnTo>
                  <a:lnTo>
                    <a:pt x="1858" y="1090"/>
                  </a:lnTo>
                  <a:lnTo>
                    <a:pt x="1862" y="1083"/>
                  </a:lnTo>
                  <a:lnTo>
                    <a:pt x="1879" y="1067"/>
                  </a:lnTo>
                  <a:lnTo>
                    <a:pt x="1879" y="1063"/>
                  </a:lnTo>
                  <a:lnTo>
                    <a:pt x="1882" y="1058"/>
                  </a:lnTo>
                  <a:lnTo>
                    <a:pt x="1889" y="1049"/>
                  </a:lnTo>
                  <a:lnTo>
                    <a:pt x="1892" y="1046"/>
                  </a:lnTo>
                  <a:lnTo>
                    <a:pt x="1893" y="1044"/>
                  </a:lnTo>
                  <a:lnTo>
                    <a:pt x="1891" y="1043"/>
                  </a:lnTo>
                  <a:lnTo>
                    <a:pt x="1890" y="1042"/>
                  </a:lnTo>
                  <a:lnTo>
                    <a:pt x="1890" y="1040"/>
                  </a:lnTo>
                  <a:lnTo>
                    <a:pt x="1891" y="1037"/>
                  </a:lnTo>
                  <a:lnTo>
                    <a:pt x="1893" y="1037"/>
                  </a:lnTo>
                  <a:lnTo>
                    <a:pt x="1889" y="1032"/>
                  </a:lnTo>
                  <a:lnTo>
                    <a:pt x="1887" y="1029"/>
                  </a:lnTo>
                  <a:lnTo>
                    <a:pt x="1888" y="1025"/>
                  </a:lnTo>
                  <a:lnTo>
                    <a:pt x="1888" y="1023"/>
                  </a:lnTo>
                  <a:lnTo>
                    <a:pt x="1885" y="1018"/>
                  </a:lnTo>
                  <a:lnTo>
                    <a:pt x="1884" y="1013"/>
                  </a:lnTo>
                  <a:lnTo>
                    <a:pt x="1884" y="1008"/>
                  </a:lnTo>
                  <a:lnTo>
                    <a:pt x="1882" y="1003"/>
                  </a:lnTo>
                  <a:lnTo>
                    <a:pt x="1869" y="988"/>
                  </a:lnTo>
                  <a:lnTo>
                    <a:pt x="1867" y="984"/>
                  </a:lnTo>
                  <a:lnTo>
                    <a:pt x="1866" y="983"/>
                  </a:lnTo>
                  <a:lnTo>
                    <a:pt x="1864" y="982"/>
                  </a:lnTo>
                  <a:lnTo>
                    <a:pt x="1861" y="985"/>
                  </a:lnTo>
                  <a:lnTo>
                    <a:pt x="1859" y="984"/>
                  </a:lnTo>
                  <a:lnTo>
                    <a:pt x="1858" y="983"/>
                  </a:lnTo>
                  <a:lnTo>
                    <a:pt x="1857" y="980"/>
                  </a:lnTo>
                  <a:lnTo>
                    <a:pt x="1856" y="978"/>
                  </a:lnTo>
                  <a:lnTo>
                    <a:pt x="1856" y="976"/>
                  </a:lnTo>
                  <a:lnTo>
                    <a:pt x="1838" y="976"/>
                  </a:lnTo>
                  <a:lnTo>
                    <a:pt x="1836" y="976"/>
                  </a:lnTo>
                  <a:lnTo>
                    <a:pt x="1826" y="984"/>
                  </a:lnTo>
                  <a:lnTo>
                    <a:pt x="1822" y="984"/>
                  </a:lnTo>
                  <a:lnTo>
                    <a:pt x="1819" y="984"/>
                  </a:lnTo>
                  <a:lnTo>
                    <a:pt x="1812" y="979"/>
                  </a:lnTo>
                  <a:lnTo>
                    <a:pt x="1808" y="979"/>
                  </a:lnTo>
                  <a:lnTo>
                    <a:pt x="1807" y="979"/>
                  </a:lnTo>
                  <a:lnTo>
                    <a:pt x="1805" y="980"/>
                  </a:lnTo>
                  <a:lnTo>
                    <a:pt x="1804" y="982"/>
                  </a:lnTo>
                  <a:lnTo>
                    <a:pt x="1804" y="984"/>
                  </a:lnTo>
                  <a:lnTo>
                    <a:pt x="1803" y="985"/>
                  </a:lnTo>
                  <a:lnTo>
                    <a:pt x="1801" y="984"/>
                  </a:lnTo>
                  <a:lnTo>
                    <a:pt x="1798" y="983"/>
                  </a:lnTo>
                  <a:lnTo>
                    <a:pt x="1797" y="983"/>
                  </a:lnTo>
                  <a:lnTo>
                    <a:pt x="1794" y="986"/>
                  </a:lnTo>
                  <a:lnTo>
                    <a:pt x="1792" y="987"/>
                  </a:lnTo>
                  <a:lnTo>
                    <a:pt x="1790" y="986"/>
                  </a:lnTo>
                  <a:lnTo>
                    <a:pt x="1789" y="985"/>
                  </a:lnTo>
                  <a:lnTo>
                    <a:pt x="1788" y="984"/>
                  </a:lnTo>
                  <a:lnTo>
                    <a:pt x="1787" y="987"/>
                  </a:lnTo>
                  <a:lnTo>
                    <a:pt x="1779" y="983"/>
                  </a:lnTo>
                  <a:lnTo>
                    <a:pt x="1776" y="983"/>
                  </a:lnTo>
                  <a:lnTo>
                    <a:pt x="1774" y="984"/>
                  </a:lnTo>
                  <a:lnTo>
                    <a:pt x="1773" y="986"/>
                  </a:lnTo>
                  <a:lnTo>
                    <a:pt x="1772" y="987"/>
                  </a:lnTo>
                  <a:lnTo>
                    <a:pt x="1769" y="983"/>
                  </a:lnTo>
                  <a:lnTo>
                    <a:pt x="1764" y="983"/>
                  </a:lnTo>
                  <a:lnTo>
                    <a:pt x="1751" y="978"/>
                  </a:lnTo>
                  <a:lnTo>
                    <a:pt x="1745" y="981"/>
                  </a:lnTo>
                  <a:lnTo>
                    <a:pt x="1744" y="979"/>
                  </a:lnTo>
                  <a:lnTo>
                    <a:pt x="1742" y="979"/>
                  </a:lnTo>
                  <a:lnTo>
                    <a:pt x="1741" y="980"/>
                  </a:lnTo>
                  <a:lnTo>
                    <a:pt x="1739" y="981"/>
                  </a:lnTo>
                  <a:lnTo>
                    <a:pt x="1738" y="980"/>
                  </a:lnTo>
                  <a:lnTo>
                    <a:pt x="1736" y="977"/>
                  </a:lnTo>
                  <a:lnTo>
                    <a:pt x="1735" y="976"/>
                  </a:lnTo>
                  <a:lnTo>
                    <a:pt x="1710" y="976"/>
                  </a:lnTo>
                  <a:lnTo>
                    <a:pt x="1707" y="977"/>
                  </a:lnTo>
                  <a:lnTo>
                    <a:pt x="1697" y="984"/>
                  </a:lnTo>
                  <a:lnTo>
                    <a:pt x="1691" y="987"/>
                  </a:lnTo>
                  <a:lnTo>
                    <a:pt x="1684" y="986"/>
                  </a:lnTo>
                  <a:lnTo>
                    <a:pt x="1663" y="979"/>
                  </a:lnTo>
                  <a:lnTo>
                    <a:pt x="1651" y="971"/>
                  </a:lnTo>
                  <a:lnTo>
                    <a:pt x="1632" y="970"/>
                  </a:lnTo>
                  <a:lnTo>
                    <a:pt x="1630" y="971"/>
                  </a:lnTo>
                  <a:lnTo>
                    <a:pt x="1625" y="974"/>
                  </a:lnTo>
                  <a:lnTo>
                    <a:pt x="1623" y="974"/>
                  </a:lnTo>
                  <a:lnTo>
                    <a:pt x="1622" y="974"/>
                  </a:lnTo>
                  <a:lnTo>
                    <a:pt x="1620" y="973"/>
                  </a:lnTo>
                  <a:lnTo>
                    <a:pt x="1618" y="973"/>
                  </a:lnTo>
                  <a:lnTo>
                    <a:pt x="1617" y="976"/>
                  </a:lnTo>
                  <a:lnTo>
                    <a:pt x="1618" y="980"/>
                  </a:lnTo>
                  <a:lnTo>
                    <a:pt x="1616" y="984"/>
                  </a:lnTo>
                  <a:lnTo>
                    <a:pt x="1614" y="987"/>
                  </a:lnTo>
                  <a:lnTo>
                    <a:pt x="1612" y="989"/>
                  </a:lnTo>
                  <a:lnTo>
                    <a:pt x="1608" y="989"/>
                  </a:lnTo>
                  <a:lnTo>
                    <a:pt x="1605" y="989"/>
                  </a:lnTo>
                  <a:lnTo>
                    <a:pt x="1599" y="987"/>
                  </a:lnTo>
                  <a:lnTo>
                    <a:pt x="1603" y="994"/>
                  </a:lnTo>
                  <a:lnTo>
                    <a:pt x="1600" y="995"/>
                  </a:lnTo>
                  <a:lnTo>
                    <a:pt x="1598" y="996"/>
                  </a:lnTo>
                  <a:lnTo>
                    <a:pt x="1596" y="996"/>
                  </a:lnTo>
                  <a:lnTo>
                    <a:pt x="1594" y="994"/>
                  </a:lnTo>
                  <a:lnTo>
                    <a:pt x="1595" y="993"/>
                  </a:lnTo>
                  <a:lnTo>
                    <a:pt x="1596" y="992"/>
                  </a:lnTo>
                  <a:lnTo>
                    <a:pt x="1597" y="989"/>
                  </a:lnTo>
                  <a:lnTo>
                    <a:pt x="1588" y="991"/>
                  </a:lnTo>
                  <a:lnTo>
                    <a:pt x="1563" y="1009"/>
                  </a:lnTo>
                  <a:lnTo>
                    <a:pt x="1559" y="1010"/>
                  </a:lnTo>
                  <a:lnTo>
                    <a:pt x="1544" y="1009"/>
                  </a:lnTo>
                  <a:lnTo>
                    <a:pt x="1529" y="1011"/>
                  </a:lnTo>
                  <a:lnTo>
                    <a:pt x="1524" y="1011"/>
                  </a:lnTo>
                  <a:lnTo>
                    <a:pt x="1530" y="1016"/>
                  </a:lnTo>
                  <a:lnTo>
                    <a:pt x="1532" y="1020"/>
                  </a:lnTo>
                  <a:lnTo>
                    <a:pt x="1529" y="1021"/>
                  </a:lnTo>
                  <a:lnTo>
                    <a:pt x="1527" y="1022"/>
                  </a:lnTo>
                  <a:lnTo>
                    <a:pt x="1524" y="1023"/>
                  </a:lnTo>
                  <a:lnTo>
                    <a:pt x="1522" y="1026"/>
                  </a:lnTo>
                  <a:lnTo>
                    <a:pt x="1519" y="1030"/>
                  </a:lnTo>
                  <a:lnTo>
                    <a:pt x="1518" y="1031"/>
                  </a:lnTo>
                  <a:lnTo>
                    <a:pt x="1514" y="1031"/>
                  </a:lnTo>
                  <a:lnTo>
                    <a:pt x="1514" y="1032"/>
                  </a:lnTo>
                  <a:lnTo>
                    <a:pt x="1513" y="1034"/>
                  </a:lnTo>
                  <a:lnTo>
                    <a:pt x="1510" y="1037"/>
                  </a:lnTo>
                  <a:lnTo>
                    <a:pt x="1507" y="1039"/>
                  </a:lnTo>
                  <a:lnTo>
                    <a:pt x="1504" y="1039"/>
                  </a:lnTo>
                  <a:lnTo>
                    <a:pt x="1498" y="1037"/>
                  </a:lnTo>
                  <a:lnTo>
                    <a:pt x="1500" y="1035"/>
                  </a:lnTo>
                  <a:lnTo>
                    <a:pt x="1502" y="1032"/>
                  </a:lnTo>
                  <a:lnTo>
                    <a:pt x="1505" y="1025"/>
                  </a:lnTo>
                  <a:lnTo>
                    <a:pt x="1503" y="1023"/>
                  </a:lnTo>
                  <a:lnTo>
                    <a:pt x="1501" y="1023"/>
                  </a:lnTo>
                  <a:lnTo>
                    <a:pt x="1496" y="1023"/>
                  </a:lnTo>
                  <a:lnTo>
                    <a:pt x="1496" y="1021"/>
                  </a:lnTo>
                  <a:lnTo>
                    <a:pt x="1505" y="1021"/>
                  </a:lnTo>
                  <a:lnTo>
                    <a:pt x="1508" y="1022"/>
                  </a:lnTo>
                  <a:lnTo>
                    <a:pt x="1509" y="1022"/>
                  </a:lnTo>
                  <a:lnTo>
                    <a:pt x="1508" y="1019"/>
                  </a:lnTo>
                  <a:lnTo>
                    <a:pt x="1511" y="1015"/>
                  </a:lnTo>
                  <a:lnTo>
                    <a:pt x="1514" y="1014"/>
                  </a:lnTo>
                  <a:lnTo>
                    <a:pt x="1521" y="1013"/>
                  </a:lnTo>
                  <a:lnTo>
                    <a:pt x="1520" y="1012"/>
                  </a:lnTo>
                  <a:lnTo>
                    <a:pt x="1520" y="1012"/>
                  </a:lnTo>
                  <a:lnTo>
                    <a:pt x="1519" y="1010"/>
                  </a:lnTo>
                  <a:lnTo>
                    <a:pt x="1519" y="1009"/>
                  </a:lnTo>
                  <a:lnTo>
                    <a:pt x="1524" y="1000"/>
                  </a:lnTo>
                  <a:lnTo>
                    <a:pt x="1529" y="996"/>
                  </a:lnTo>
                  <a:lnTo>
                    <a:pt x="1534" y="990"/>
                  </a:lnTo>
                  <a:lnTo>
                    <a:pt x="1537" y="984"/>
                  </a:lnTo>
                  <a:lnTo>
                    <a:pt x="1536" y="981"/>
                  </a:lnTo>
                  <a:lnTo>
                    <a:pt x="1534" y="981"/>
                  </a:lnTo>
                  <a:lnTo>
                    <a:pt x="1527" y="985"/>
                  </a:lnTo>
                  <a:lnTo>
                    <a:pt x="1525" y="988"/>
                  </a:lnTo>
                  <a:lnTo>
                    <a:pt x="1522" y="990"/>
                  </a:lnTo>
                  <a:lnTo>
                    <a:pt x="1519" y="990"/>
                  </a:lnTo>
                  <a:lnTo>
                    <a:pt x="1511" y="988"/>
                  </a:lnTo>
                  <a:lnTo>
                    <a:pt x="1509" y="985"/>
                  </a:lnTo>
                  <a:lnTo>
                    <a:pt x="1507" y="984"/>
                  </a:lnTo>
                  <a:lnTo>
                    <a:pt x="1506" y="985"/>
                  </a:lnTo>
                  <a:lnTo>
                    <a:pt x="1499" y="988"/>
                  </a:lnTo>
                  <a:lnTo>
                    <a:pt x="1493" y="994"/>
                  </a:lnTo>
                  <a:lnTo>
                    <a:pt x="1485" y="999"/>
                  </a:lnTo>
                  <a:lnTo>
                    <a:pt x="1484" y="1002"/>
                  </a:lnTo>
                  <a:lnTo>
                    <a:pt x="1482" y="1005"/>
                  </a:lnTo>
                  <a:lnTo>
                    <a:pt x="1480" y="1008"/>
                  </a:lnTo>
                  <a:lnTo>
                    <a:pt x="1477" y="1010"/>
                  </a:lnTo>
                  <a:lnTo>
                    <a:pt x="1473" y="1012"/>
                  </a:lnTo>
                  <a:lnTo>
                    <a:pt x="1470" y="1014"/>
                  </a:lnTo>
                  <a:lnTo>
                    <a:pt x="1470" y="1013"/>
                  </a:lnTo>
                  <a:lnTo>
                    <a:pt x="1471" y="1009"/>
                  </a:lnTo>
                  <a:lnTo>
                    <a:pt x="1472" y="1006"/>
                  </a:lnTo>
                  <a:lnTo>
                    <a:pt x="1474" y="1004"/>
                  </a:lnTo>
                  <a:lnTo>
                    <a:pt x="1484" y="993"/>
                  </a:lnTo>
                  <a:lnTo>
                    <a:pt x="1486" y="993"/>
                  </a:lnTo>
                  <a:lnTo>
                    <a:pt x="1489" y="991"/>
                  </a:lnTo>
                  <a:lnTo>
                    <a:pt x="1490" y="987"/>
                  </a:lnTo>
                  <a:lnTo>
                    <a:pt x="1491" y="983"/>
                  </a:lnTo>
                  <a:lnTo>
                    <a:pt x="1494" y="983"/>
                  </a:lnTo>
                  <a:lnTo>
                    <a:pt x="1497" y="984"/>
                  </a:lnTo>
                  <a:lnTo>
                    <a:pt x="1507" y="981"/>
                  </a:lnTo>
                  <a:lnTo>
                    <a:pt x="1511" y="980"/>
                  </a:lnTo>
                  <a:lnTo>
                    <a:pt x="1513" y="979"/>
                  </a:lnTo>
                  <a:lnTo>
                    <a:pt x="1525" y="968"/>
                  </a:lnTo>
                  <a:lnTo>
                    <a:pt x="1531" y="966"/>
                  </a:lnTo>
                  <a:lnTo>
                    <a:pt x="1535" y="970"/>
                  </a:lnTo>
                  <a:lnTo>
                    <a:pt x="1533" y="975"/>
                  </a:lnTo>
                  <a:lnTo>
                    <a:pt x="1534" y="978"/>
                  </a:lnTo>
                  <a:lnTo>
                    <a:pt x="1536" y="979"/>
                  </a:lnTo>
                  <a:lnTo>
                    <a:pt x="1539" y="979"/>
                  </a:lnTo>
                  <a:lnTo>
                    <a:pt x="1542" y="976"/>
                  </a:lnTo>
                  <a:lnTo>
                    <a:pt x="1546" y="970"/>
                  </a:lnTo>
                  <a:lnTo>
                    <a:pt x="1549" y="967"/>
                  </a:lnTo>
                  <a:lnTo>
                    <a:pt x="1571" y="938"/>
                  </a:lnTo>
                  <a:lnTo>
                    <a:pt x="1572" y="936"/>
                  </a:lnTo>
                  <a:lnTo>
                    <a:pt x="1573" y="931"/>
                  </a:lnTo>
                  <a:lnTo>
                    <a:pt x="1572" y="928"/>
                  </a:lnTo>
                  <a:lnTo>
                    <a:pt x="1570" y="928"/>
                  </a:lnTo>
                  <a:lnTo>
                    <a:pt x="1567" y="930"/>
                  </a:lnTo>
                  <a:lnTo>
                    <a:pt x="1563" y="937"/>
                  </a:lnTo>
                  <a:lnTo>
                    <a:pt x="1557" y="943"/>
                  </a:lnTo>
                  <a:lnTo>
                    <a:pt x="1551" y="945"/>
                  </a:lnTo>
                  <a:lnTo>
                    <a:pt x="1546" y="944"/>
                  </a:lnTo>
                  <a:lnTo>
                    <a:pt x="1548" y="940"/>
                  </a:lnTo>
                  <a:lnTo>
                    <a:pt x="1545" y="936"/>
                  </a:lnTo>
                  <a:lnTo>
                    <a:pt x="1540" y="935"/>
                  </a:lnTo>
                  <a:lnTo>
                    <a:pt x="1531" y="942"/>
                  </a:lnTo>
                  <a:lnTo>
                    <a:pt x="1526" y="941"/>
                  </a:lnTo>
                  <a:lnTo>
                    <a:pt x="1516" y="934"/>
                  </a:lnTo>
                  <a:lnTo>
                    <a:pt x="1517" y="939"/>
                  </a:lnTo>
                  <a:lnTo>
                    <a:pt x="1514" y="939"/>
                  </a:lnTo>
                  <a:lnTo>
                    <a:pt x="1510" y="936"/>
                  </a:lnTo>
                  <a:lnTo>
                    <a:pt x="1508" y="933"/>
                  </a:lnTo>
                  <a:lnTo>
                    <a:pt x="1505" y="930"/>
                  </a:lnTo>
                  <a:lnTo>
                    <a:pt x="1501" y="930"/>
                  </a:lnTo>
                  <a:lnTo>
                    <a:pt x="1495" y="934"/>
                  </a:lnTo>
                  <a:lnTo>
                    <a:pt x="1489" y="932"/>
                  </a:lnTo>
                  <a:lnTo>
                    <a:pt x="1484" y="928"/>
                  </a:lnTo>
                  <a:lnTo>
                    <a:pt x="1475" y="915"/>
                  </a:lnTo>
                  <a:lnTo>
                    <a:pt x="1479" y="916"/>
                  </a:lnTo>
                  <a:lnTo>
                    <a:pt x="1482" y="919"/>
                  </a:lnTo>
                  <a:lnTo>
                    <a:pt x="1487" y="926"/>
                  </a:lnTo>
                  <a:lnTo>
                    <a:pt x="1490" y="929"/>
                  </a:lnTo>
                  <a:lnTo>
                    <a:pt x="1503" y="925"/>
                  </a:lnTo>
                  <a:lnTo>
                    <a:pt x="1508" y="927"/>
                  </a:lnTo>
                  <a:lnTo>
                    <a:pt x="1517" y="931"/>
                  </a:lnTo>
                  <a:lnTo>
                    <a:pt x="1521" y="931"/>
                  </a:lnTo>
                  <a:lnTo>
                    <a:pt x="1522" y="930"/>
                  </a:lnTo>
                  <a:lnTo>
                    <a:pt x="1525" y="927"/>
                  </a:lnTo>
                  <a:lnTo>
                    <a:pt x="1527" y="925"/>
                  </a:lnTo>
                  <a:lnTo>
                    <a:pt x="1529" y="925"/>
                  </a:lnTo>
                  <a:lnTo>
                    <a:pt x="1534" y="927"/>
                  </a:lnTo>
                  <a:lnTo>
                    <a:pt x="1536" y="927"/>
                  </a:lnTo>
                  <a:lnTo>
                    <a:pt x="1535" y="924"/>
                  </a:lnTo>
                  <a:lnTo>
                    <a:pt x="1536" y="921"/>
                  </a:lnTo>
                  <a:lnTo>
                    <a:pt x="1539" y="915"/>
                  </a:lnTo>
                  <a:lnTo>
                    <a:pt x="1536" y="910"/>
                  </a:lnTo>
                  <a:lnTo>
                    <a:pt x="1535" y="908"/>
                  </a:lnTo>
                  <a:lnTo>
                    <a:pt x="1533" y="907"/>
                  </a:lnTo>
                  <a:lnTo>
                    <a:pt x="1528" y="907"/>
                  </a:lnTo>
                  <a:lnTo>
                    <a:pt x="1525" y="905"/>
                  </a:lnTo>
                  <a:lnTo>
                    <a:pt x="1524" y="902"/>
                  </a:lnTo>
                  <a:lnTo>
                    <a:pt x="1524" y="900"/>
                  </a:lnTo>
                  <a:lnTo>
                    <a:pt x="1524" y="899"/>
                  </a:lnTo>
                  <a:lnTo>
                    <a:pt x="1529" y="901"/>
                  </a:lnTo>
                  <a:lnTo>
                    <a:pt x="1533" y="902"/>
                  </a:lnTo>
                  <a:lnTo>
                    <a:pt x="1535" y="903"/>
                  </a:lnTo>
                  <a:lnTo>
                    <a:pt x="1534" y="905"/>
                  </a:lnTo>
                  <a:lnTo>
                    <a:pt x="1535" y="905"/>
                  </a:lnTo>
                  <a:lnTo>
                    <a:pt x="1538" y="907"/>
                  </a:lnTo>
                  <a:lnTo>
                    <a:pt x="1538" y="904"/>
                  </a:lnTo>
                  <a:lnTo>
                    <a:pt x="1538" y="901"/>
                  </a:lnTo>
                  <a:lnTo>
                    <a:pt x="1539" y="900"/>
                  </a:lnTo>
                  <a:lnTo>
                    <a:pt x="1541" y="899"/>
                  </a:lnTo>
                  <a:lnTo>
                    <a:pt x="1551" y="892"/>
                  </a:lnTo>
                  <a:lnTo>
                    <a:pt x="1556" y="891"/>
                  </a:lnTo>
                  <a:lnTo>
                    <a:pt x="1560" y="888"/>
                  </a:lnTo>
                  <a:lnTo>
                    <a:pt x="1561" y="887"/>
                  </a:lnTo>
                  <a:lnTo>
                    <a:pt x="1562" y="885"/>
                  </a:lnTo>
                  <a:lnTo>
                    <a:pt x="1564" y="878"/>
                  </a:lnTo>
                  <a:lnTo>
                    <a:pt x="1565" y="875"/>
                  </a:lnTo>
                  <a:lnTo>
                    <a:pt x="1568" y="872"/>
                  </a:lnTo>
                  <a:lnTo>
                    <a:pt x="1580" y="866"/>
                  </a:lnTo>
                  <a:lnTo>
                    <a:pt x="1615" y="837"/>
                  </a:lnTo>
                  <a:lnTo>
                    <a:pt x="1621" y="830"/>
                  </a:lnTo>
                  <a:lnTo>
                    <a:pt x="1624" y="825"/>
                  </a:lnTo>
                  <a:lnTo>
                    <a:pt x="1626" y="820"/>
                  </a:lnTo>
                  <a:lnTo>
                    <a:pt x="1627" y="817"/>
                  </a:lnTo>
                  <a:lnTo>
                    <a:pt x="1635" y="808"/>
                  </a:lnTo>
                  <a:lnTo>
                    <a:pt x="1641" y="805"/>
                  </a:lnTo>
                  <a:lnTo>
                    <a:pt x="1655" y="800"/>
                  </a:lnTo>
                  <a:lnTo>
                    <a:pt x="1661" y="796"/>
                  </a:lnTo>
                  <a:lnTo>
                    <a:pt x="1667" y="789"/>
                  </a:lnTo>
                  <a:lnTo>
                    <a:pt x="1676" y="777"/>
                  </a:lnTo>
                  <a:lnTo>
                    <a:pt x="1683" y="763"/>
                  </a:lnTo>
                  <a:lnTo>
                    <a:pt x="1684" y="753"/>
                  </a:lnTo>
                  <a:lnTo>
                    <a:pt x="1686" y="752"/>
                  </a:lnTo>
                  <a:lnTo>
                    <a:pt x="1687" y="750"/>
                  </a:lnTo>
                  <a:lnTo>
                    <a:pt x="1688" y="748"/>
                  </a:lnTo>
                  <a:lnTo>
                    <a:pt x="1687" y="744"/>
                  </a:lnTo>
                  <a:lnTo>
                    <a:pt x="1686" y="743"/>
                  </a:lnTo>
                  <a:lnTo>
                    <a:pt x="1685" y="743"/>
                  </a:lnTo>
                  <a:lnTo>
                    <a:pt x="1683" y="744"/>
                  </a:lnTo>
                  <a:lnTo>
                    <a:pt x="1681" y="744"/>
                  </a:lnTo>
                  <a:lnTo>
                    <a:pt x="1678" y="742"/>
                  </a:lnTo>
                  <a:lnTo>
                    <a:pt x="1676" y="739"/>
                  </a:lnTo>
                  <a:lnTo>
                    <a:pt x="1676" y="734"/>
                  </a:lnTo>
                  <a:lnTo>
                    <a:pt x="1678" y="728"/>
                  </a:lnTo>
                  <a:lnTo>
                    <a:pt x="1679" y="726"/>
                  </a:lnTo>
                  <a:lnTo>
                    <a:pt x="1683" y="722"/>
                  </a:lnTo>
                  <a:lnTo>
                    <a:pt x="1685" y="719"/>
                  </a:lnTo>
                  <a:lnTo>
                    <a:pt x="1687" y="714"/>
                  </a:lnTo>
                  <a:lnTo>
                    <a:pt x="1689" y="711"/>
                  </a:lnTo>
                  <a:lnTo>
                    <a:pt x="1690" y="706"/>
                  </a:lnTo>
                  <a:lnTo>
                    <a:pt x="1692" y="700"/>
                  </a:lnTo>
                  <a:lnTo>
                    <a:pt x="1693" y="695"/>
                  </a:lnTo>
                  <a:lnTo>
                    <a:pt x="1688" y="692"/>
                  </a:lnTo>
                  <a:lnTo>
                    <a:pt x="1678" y="695"/>
                  </a:lnTo>
                  <a:lnTo>
                    <a:pt x="1672" y="695"/>
                  </a:lnTo>
                  <a:lnTo>
                    <a:pt x="1664" y="688"/>
                  </a:lnTo>
                  <a:lnTo>
                    <a:pt x="1658" y="689"/>
                  </a:lnTo>
                  <a:lnTo>
                    <a:pt x="1647" y="692"/>
                  </a:lnTo>
                  <a:lnTo>
                    <a:pt x="1642" y="692"/>
                  </a:lnTo>
                  <a:lnTo>
                    <a:pt x="1641" y="691"/>
                  </a:lnTo>
                  <a:lnTo>
                    <a:pt x="1641" y="688"/>
                  </a:lnTo>
                  <a:lnTo>
                    <a:pt x="1640" y="686"/>
                  </a:lnTo>
                  <a:lnTo>
                    <a:pt x="1640" y="684"/>
                  </a:lnTo>
                  <a:lnTo>
                    <a:pt x="1637" y="684"/>
                  </a:lnTo>
                  <a:lnTo>
                    <a:pt x="1635" y="685"/>
                  </a:lnTo>
                  <a:lnTo>
                    <a:pt x="1631" y="690"/>
                  </a:lnTo>
                  <a:lnTo>
                    <a:pt x="1633" y="694"/>
                  </a:lnTo>
                  <a:lnTo>
                    <a:pt x="1635" y="697"/>
                  </a:lnTo>
                  <a:lnTo>
                    <a:pt x="1638" y="700"/>
                  </a:lnTo>
                  <a:lnTo>
                    <a:pt x="1641" y="701"/>
                  </a:lnTo>
                  <a:lnTo>
                    <a:pt x="1639" y="707"/>
                  </a:lnTo>
                  <a:lnTo>
                    <a:pt x="1634" y="707"/>
                  </a:lnTo>
                  <a:lnTo>
                    <a:pt x="1626" y="703"/>
                  </a:lnTo>
                  <a:lnTo>
                    <a:pt x="1617" y="706"/>
                  </a:lnTo>
                  <a:lnTo>
                    <a:pt x="1612" y="706"/>
                  </a:lnTo>
                  <a:lnTo>
                    <a:pt x="1608" y="703"/>
                  </a:lnTo>
                  <a:lnTo>
                    <a:pt x="1609" y="702"/>
                  </a:lnTo>
                  <a:lnTo>
                    <a:pt x="1610" y="701"/>
                  </a:lnTo>
                  <a:lnTo>
                    <a:pt x="1607" y="699"/>
                  </a:lnTo>
                  <a:lnTo>
                    <a:pt x="1602" y="699"/>
                  </a:lnTo>
                  <a:lnTo>
                    <a:pt x="1592" y="701"/>
                  </a:lnTo>
                  <a:lnTo>
                    <a:pt x="1586" y="704"/>
                  </a:lnTo>
                  <a:lnTo>
                    <a:pt x="1575" y="712"/>
                  </a:lnTo>
                  <a:lnTo>
                    <a:pt x="1568" y="715"/>
                  </a:lnTo>
                  <a:lnTo>
                    <a:pt x="1554" y="717"/>
                  </a:lnTo>
                  <a:lnTo>
                    <a:pt x="1541" y="715"/>
                  </a:lnTo>
                  <a:lnTo>
                    <a:pt x="1537" y="716"/>
                  </a:lnTo>
                  <a:lnTo>
                    <a:pt x="1536" y="715"/>
                  </a:lnTo>
                  <a:lnTo>
                    <a:pt x="1533" y="709"/>
                  </a:lnTo>
                  <a:lnTo>
                    <a:pt x="1533" y="709"/>
                  </a:lnTo>
                  <a:lnTo>
                    <a:pt x="1533" y="709"/>
                  </a:lnTo>
                  <a:lnTo>
                    <a:pt x="1531" y="709"/>
                  </a:lnTo>
                  <a:lnTo>
                    <a:pt x="1530" y="710"/>
                  </a:lnTo>
                  <a:lnTo>
                    <a:pt x="1528" y="715"/>
                  </a:lnTo>
                  <a:lnTo>
                    <a:pt x="1527" y="717"/>
                  </a:lnTo>
                  <a:lnTo>
                    <a:pt x="1525" y="719"/>
                  </a:lnTo>
                  <a:lnTo>
                    <a:pt x="1524" y="719"/>
                  </a:lnTo>
                  <a:lnTo>
                    <a:pt x="1520" y="717"/>
                  </a:lnTo>
                  <a:lnTo>
                    <a:pt x="1514" y="717"/>
                  </a:lnTo>
                  <a:lnTo>
                    <a:pt x="1512" y="718"/>
                  </a:lnTo>
                  <a:lnTo>
                    <a:pt x="1511" y="722"/>
                  </a:lnTo>
                  <a:lnTo>
                    <a:pt x="1509" y="723"/>
                  </a:lnTo>
                  <a:lnTo>
                    <a:pt x="1507" y="723"/>
                  </a:lnTo>
                  <a:lnTo>
                    <a:pt x="1505" y="721"/>
                  </a:lnTo>
                  <a:lnTo>
                    <a:pt x="1503" y="722"/>
                  </a:lnTo>
                  <a:lnTo>
                    <a:pt x="1502" y="723"/>
                  </a:lnTo>
                  <a:lnTo>
                    <a:pt x="1501" y="725"/>
                  </a:lnTo>
                  <a:lnTo>
                    <a:pt x="1500" y="726"/>
                  </a:lnTo>
                  <a:lnTo>
                    <a:pt x="1498" y="728"/>
                  </a:lnTo>
                  <a:lnTo>
                    <a:pt x="1500" y="730"/>
                  </a:lnTo>
                  <a:lnTo>
                    <a:pt x="1497" y="729"/>
                  </a:lnTo>
                  <a:lnTo>
                    <a:pt x="1492" y="724"/>
                  </a:lnTo>
                  <a:lnTo>
                    <a:pt x="1489" y="723"/>
                  </a:lnTo>
                  <a:lnTo>
                    <a:pt x="1487" y="724"/>
                  </a:lnTo>
                  <a:lnTo>
                    <a:pt x="1483" y="725"/>
                  </a:lnTo>
                  <a:lnTo>
                    <a:pt x="1477" y="730"/>
                  </a:lnTo>
                  <a:lnTo>
                    <a:pt x="1476" y="730"/>
                  </a:lnTo>
                  <a:lnTo>
                    <a:pt x="1470" y="738"/>
                  </a:lnTo>
                  <a:lnTo>
                    <a:pt x="1470" y="738"/>
                  </a:lnTo>
                  <a:lnTo>
                    <a:pt x="1469" y="739"/>
                  </a:lnTo>
                  <a:lnTo>
                    <a:pt x="1469" y="740"/>
                  </a:lnTo>
                  <a:lnTo>
                    <a:pt x="1469" y="741"/>
                  </a:lnTo>
                  <a:lnTo>
                    <a:pt x="1469" y="742"/>
                  </a:lnTo>
                  <a:lnTo>
                    <a:pt x="1465" y="749"/>
                  </a:lnTo>
                  <a:lnTo>
                    <a:pt x="1462" y="751"/>
                  </a:lnTo>
                  <a:lnTo>
                    <a:pt x="1459" y="753"/>
                  </a:lnTo>
                  <a:lnTo>
                    <a:pt x="1462" y="746"/>
                  </a:lnTo>
                  <a:lnTo>
                    <a:pt x="1464" y="740"/>
                  </a:lnTo>
                  <a:lnTo>
                    <a:pt x="1466" y="734"/>
                  </a:lnTo>
                  <a:lnTo>
                    <a:pt x="1470" y="730"/>
                  </a:lnTo>
                  <a:lnTo>
                    <a:pt x="1470" y="727"/>
                  </a:lnTo>
                  <a:lnTo>
                    <a:pt x="1470" y="727"/>
                  </a:lnTo>
                  <a:lnTo>
                    <a:pt x="1470" y="725"/>
                  </a:lnTo>
                  <a:lnTo>
                    <a:pt x="1470" y="723"/>
                  </a:lnTo>
                  <a:lnTo>
                    <a:pt x="1462" y="717"/>
                  </a:lnTo>
                  <a:lnTo>
                    <a:pt x="1456" y="715"/>
                  </a:lnTo>
                  <a:lnTo>
                    <a:pt x="1449" y="713"/>
                  </a:lnTo>
                  <a:lnTo>
                    <a:pt x="1445" y="715"/>
                  </a:lnTo>
                  <a:lnTo>
                    <a:pt x="1443" y="719"/>
                  </a:lnTo>
                  <a:lnTo>
                    <a:pt x="1442" y="725"/>
                  </a:lnTo>
                  <a:lnTo>
                    <a:pt x="1441" y="730"/>
                  </a:lnTo>
                  <a:lnTo>
                    <a:pt x="1438" y="733"/>
                  </a:lnTo>
                  <a:lnTo>
                    <a:pt x="1435" y="734"/>
                  </a:lnTo>
                  <a:lnTo>
                    <a:pt x="1432" y="736"/>
                  </a:lnTo>
                  <a:lnTo>
                    <a:pt x="1431" y="741"/>
                  </a:lnTo>
                  <a:lnTo>
                    <a:pt x="1429" y="742"/>
                  </a:lnTo>
                  <a:lnTo>
                    <a:pt x="1420" y="753"/>
                  </a:lnTo>
                  <a:lnTo>
                    <a:pt x="1417" y="753"/>
                  </a:lnTo>
                  <a:lnTo>
                    <a:pt x="1418" y="749"/>
                  </a:lnTo>
                  <a:lnTo>
                    <a:pt x="1422" y="743"/>
                  </a:lnTo>
                  <a:lnTo>
                    <a:pt x="1424" y="736"/>
                  </a:lnTo>
                  <a:lnTo>
                    <a:pt x="1430" y="730"/>
                  </a:lnTo>
                  <a:lnTo>
                    <a:pt x="1432" y="728"/>
                  </a:lnTo>
                  <a:lnTo>
                    <a:pt x="1432" y="726"/>
                  </a:lnTo>
                  <a:lnTo>
                    <a:pt x="1433" y="723"/>
                  </a:lnTo>
                  <a:lnTo>
                    <a:pt x="1433" y="720"/>
                  </a:lnTo>
                  <a:lnTo>
                    <a:pt x="1431" y="719"/>
                  </a:lnTo>
                  <a:lnTo>
                    <a:pt x="1429" y="719"/>
                  </a:lnTo>
                  <a:lnTo>
                    <a:pt x="1425" y="715"/>
                  </a:lnTo>
                  <a:lnTo>
                    <a:pt x="1422" y="714"/>
                  </a:lnTo>
                  <a:lnTo>
                    <a:pt x="1417" y="707"/>
                  </a:lnTo>
                  <a:lnTo>
                    <a:pt x="1415" y="705"/>
                  </a:lnTo>
                  <a:lnTo>
                    <a:pt x="1415" y="710"/>
                  </a:lnTo>
                  <a:lnTo>
                    <a:pt x="1414" y="712"/>
                  </a:lnTo>
                  <a:lnTo>
                    <a:pt x="1413" y="714"/>
                  </a:lnTo>
                  <a:lnTo>
                    <a:pt x="1412" y="718"/>
                  </a:lnTo>
                  <a:lnTo>
                    <a:pt x="1412" y="722"/>
                  </a:lnTo>
                  <a:lnTo>
                    <a:pt x="1412" y="725"/>
                  </a:lnTo>
                  <a:lnTo>
                    <a:pt x="1411" y="728"/>
                  </a:lnTo>
                  <a:lnTo>
                    <a:pt x="1408" y="730"/>
                  </a:lnTo>
                  <a:lnTo>
                    <a:pt x="1409" y="728"/>
                  </a:lnTo>
                  <a:lnTo>
                    <a:pt x="1410" y="725"/>
                  </a:lnTo>
                  <a:lnTo>
                    <a:pt x="1410" y="723"/>
                  </a:lnTo>
                  <a:lnTo>
                    <a:pt x="1410" y="719"/>
                  </a:lnTo>
                  <a:lnTo>
                    <a:pt x="1410" y="720"/>
                  </a:lnTo>
                  <a:lnTo>
                    <a:pt x="1409" y="715"/>
                  </a:lnTo>
                  <a:lnTo>
                    <a:pt x="1408" y="711"/>
                  </a:lnTo>
                  <a:lnTo>
                    <a:pt x="1408" y="709"/>
                  </a:lnTo>
                  <a:lnTo>
                    <a:pt x="1405" y="705"/>
                  </a:lnTo>
                  <a:lnTo>
                    <a:pt x="1401" y="703"/>
                  </a:lnTo>
                  <a:lnTo>
                    <a:pt x="1381" y="698"/>
                  </a:lnTo>
                  <a:lnTo>
                    <a:pt x="1378" y="702"/>
                  </a:lnTo>
                  <a:lnTo>
                    <a:pt x="1377" y="707"/>
                  </a:lnTo>
                  <a:lnTo>
                    <a:pt x="1377" y="713"/>
                  </a:lnTo>
                  <a:lnTo>
                    <a:pt x="1375" y="719"/>
                  </a:lnTo>
                  <a:lnTo>
                    <a:pt x="1377" y="719"/>
                  </a:lnTo>
                  <a:lnTo>
                    <a:pt x="1375" y="724"/>
                  </a:lnTo>
                  <a:lnTo>
                    <a:pt x="1372" y="727"/>
                  </a:lnTo>
                  <a:lnTo>
                    <a:pt x="1364" y="732"/>
                  </a:lnTo>
                  <a:lnTo>
                    <a:pt x="1363" y="733"/>
                  </a:lnTo>
                  <a:lnTo>
                    <a:pt x="1362" y="736"/>
                  </a:lnTo>
                  <a:lnTo>
                    <a:pt x="1362" y="741"/>
                  </a:lnTo>
                  <a:lnTo>
                    <a:pt x="1380" y="757"/>
                  </a:lnTo>
                  <a:lnTo>
                    <a:pt x="1375" y="753"/>
                  </a:lnTo>
                  <a:lnTo>
                    <a:pt x="1371" y="751"/>
                  </a:lnTo>
                  <a:lnTo>
                    <a:pt x="1362" y="757"/>
                  </a:lnTo>
                  <a:lnTo>
                    <a:pt x="1364" y="758"/>
                  </a:lnTo>
                  <a:lnTo>
                    <a:pt x="1364" y="759"/>
                  </a:lnTo>
                  <a:lnTo>
                    <a:pt x="1366" y="759"/>
                  </a:lnTo>
                  <a:lnTo>
                    <a:pt x="1366" y="761"/>
                  </a:lnTo>
                  <a:lnTo>
                    <a:pt x="1365" y="761"/>
                  </a:lnTo>
                  <a:lnTo>
                    <a:pt x="1363" y="761"/>
                  </a:lnTo>
                  <a:lnTo>
                    <a:pt x="1363" y="763"/>
                  </a:lnTo>
                  <a:lnTo>
                    <a:pt x="1365" y="764"/>
                  </a:lnTo>
                  <a:lnTo>
                    <a:pt x="1367" y="763"/>
                  </a:lnTo>
                  <a:lnTo>
                    <a:pt x="1368" y="763"/>
                  </a:lnTo>
                  <a:lnTo>
                    <a:pt x="1370" y="761"/>
                  </a:lnTo>
                  <a:lnTo>
                    <a:pt x="1371" y="763"/>
                  </a:lnTo>
                  <a:lnTo>
                    <a:pt x="1371" y="766"/>
                  </a:lnTo>
                  <a:lnTo>
                    <a:pt x="1372" y="768"/>
                  </a:lnTo>
                  <a:lnTo>
                    <a:pt x="1377" y="771"/>
                  </a:lnTo>
                  <a:lnTo>
                    <a:pt x="1370" y="772"/>
                  </a:lnTo>
                  <a:lnTo>
                    <a:pt x="1361" y="765"/>
                  </a:lnTo>
                  <a:lnTo>
                    <a:pt x="1360" y="765"/>
                  </a:lnTo>
                  <a:lnTo>
                    <a:pt x="1358" y="764"/>
                  </a:lnTo>
                  <a:lnTo>
                    <a:pt x="1356" y="763"/>
                  </a:lnTo>
                  <a:lnTo>
                    <a:pt x="1356" y="764"/>
                  </a:lnTo>
                  <a:lnTo>
                    <a:pt x="1356" y="766"/>
                  </a:lnTo>
                  <a:lnTo>
                    <a:pt x="1356" y="768"/>
                  </a:lnTo>
                  <a:lnTo>
                    <a:pt x="1356" y="769"/>
                  </a:lnTo>
                  <a:lnTo>
                    <a:pt x="1354" y="772"/>
                  </a:lnTo>
                  <a:lnTo>
                    <a:pt x="1353" y="775"/>
                  </a:lnTo>
                  <a:lnTo>
                    <a:pt x="1353" y="778"/>
                  </a:lnTo>
                  <a:lnTo>
                    <a:pt x="1355" y="782"/>
                  </a:lnTo>
                  <a:lnTo>
                    <a:pt x="1352" y="782"/>
                  </a:lnTo>
                  <a:lnTo>
                    <a:pt x="1352" y="784"/>
                  </a:lnTo>
                  <a:lnTo>
                    <a:pt x="1352" y="786"/>
                  </a:lnTo>
                  <a:lnTo>
                    <a:pt x="1353" y="790"/>
                  </a:lnTo>
                  <a:lnTo>
                    <a:pt x="1354" y="790"/>
                  </a:lnTo>
                  <a:lnTo>
                    <a:pt x="1357" y="795"/>
                  </a:lnTo>
                  <a:lnTo>
                    <a:pt x="1358" y="796"/>
                  </a:lnTo>
                  <a:lnTo>
                    <a:pt x="1359" y="798"/>
                  </a:lnTo>
                  <a:lnTo>
                    <a:pt x="1364" y="805"/>
                  </a:lnTo>
                  <a:lnTo>
                    <a:pt x="1366" y="807"/>
                  </a:lnTo>
                  <a:lnTo>
                    <a:pt x="1368" y="807"/>
                  </a:lnTo>
                  <a:lnTo>
                    <a:pt x="1371" y="810"/>
                  </a:lnTo>
                  <a:lnTo>
                    <a:pt x="1373" y="811"/>
                  </a:lnTo>
                  <a:lnTo>
                    <a:pt x="1374" y="810"/>
                  </a:lnTo>
                  <a:lnTo>
                    <a:pt x="1376" y="807"/>
                  </a:lnTo>
                  <a:lnTo>
                    <a:pt x="1378" y="807"/>
                  </a:lnTo>
                  <a:lnTo>
                    <a:pt x="1381" y="807"/>
                  </a:lnTo>
                  <a:lnTo>
                    <a:pt x="1391" y="808"/>
                  </a:lnTo>
                  <a:lnTo>
                    <a:pt x="1388" y="810"/>
                  </a:lnTo>
                  <a:lnTo>
                    <a:pt x="1384" y="811"/>
                  </a:lnTo>
                  <a:lnTo>
                    <a:pt x="1382" y="813"/>
                  </a:lnTo>
                  <a:lnTo>
                    <a:pt x="1386" y="816"/>
                  </a:lnTo>
                  <a:lnTo>
                    <a:pt x="1388" y="818"/>
                  </a:lnTo>
                  <a:lnTo>
                    <a:pt x="1390" y="821"/>
                  </a:lnTo>
                  <a:lnTo>
                    <a:pt x="1379" y="813"/>
                  </a:lnTo>
                  <a:lnTo>
                    <a:pt x="1376" y="812"/>
                  </a:lnTo>
                  <a:lnTo>
                    <a:pt x="1368" y="813"/>
                  </a:lnTo>
                  <a:lnTo>
                    <a:pt x="1366" y="812"/>
                  </a:lnTo>
                  <a:lnTo>
                    <a:pt x="1361" y="808"/>
                  </a:lnTo>
                  <a:lnTo>
                    <a:pt x="1358" y="807"/>
                  </a:lnTo>
                  <a:lnTo>
                    <a:pt x="1357" y="807"/>
                  </a:lnTo>
                  <a:lnTo>
                    <a:pt x="1355" y="808"/>
                  </a:lnTo>
                  <a:lnTo>
                    <a:pt x="1353" y="810"/>
                  </a:lnTo>
                  <a:lnTo>
                    <a:pt x="1352" y="813"/>
                  </a:lnTo>
                  <a:lnTo>
                    <a:pt x="1348" y="810"/>
                  </a:lnTo>
                  <a:lnTo>
                    <a:pt x="1345" y="809"/>
                  </a:lnTo>
                  <a:lnTo>
                    <a:pt x="1341" y="811"/>
                  </a:lnTo>
                  <a:lnTo>
                    <a:pt x="1335" y="815"/>
                  </a:lnTo>
                  <a:lnTo>
                    <a:pt x="1332" y="816"/>
                  </a:lnTo>
                  <a:lnTo>
                    <a:pt x="1330" y="815"/>
                  </a:lnTo>
                  <a:lnTo>
                    <a:pt x="1323" y="810"/>
                  </a:lnTo>
                  <a:lnTo>
                    <a:pt x="1320" y="808"/>
                  </a:lnTo>
                  <a:lnTo>
                    <a:pt x="1317" y="809"/>
                  </a:lnTo>
                  <a:lnTo>
                    <a:pt x="1317" y="814"/>
                  </a:lnTo>
                  <a:lnTo>
                    <a:pt x="1324" y="826"/>
                  </a:lnTo>
                  <a:lnTo>
                    <a:pt x="1326" y="827"/>
                  </a:lnTo>
                  <a:lnTo>
                    <a:pt x="1328" y="827"/>
                  </a:lnTo>
                  <a:lnTo>
                    <a:pt x="1327" y="828"/>
                  </a:lnTo>
                  <a:lnTo>
                    <a:pt x="1327" y="832"/>
                  </a:lnTo>
                  <a:lnTo>
                    <a:pt x="1326" y="833"/>
                  </a:lnTo>
                  <a:lnTo>
                    <a:pt x="1328" y="834"/>
                  </a:lnTo>
                  <a:lnTo>
                    <a:pt x="1330" y="835"/>
                  </a:lnTo>
                  <a:lnTo>
                    <a:pt x="1331" y="836"/>
                  </a:lnTo>
                  <a:lnTo>
                    <a:pt x="1332" y="837"/>
                  </a:lnTo>
                  <a:lnTo>
                    <a:pt x="1331" y="839"/>
                  </a:lnTo>
                  <a:lnTo>
                    <a:pt x="1333" y="841"/>
                  </a:lnTo>
                  <a:lnTo>
                    <a:pt x="1335" y="842"/>
                  </a:lnTo>
                  <a:lnTo>
                    <a:pt x="1341" y="841"/>
                  </a:lnTo>
                  <a:lnTo>
                    <a:pt x="1341" y="844"/>
                  </a:lnTo>
                  <a:lnTo>
                    <a:pt x="1338" y="845"/>
                  </a:lnTo>
                  <a:lnTo>
                    <a:pt x="1334" y="846"/>
                  </a:lnTo>
                  <a:lnTo>
                    <a:pt x="1332" y="847"/>
                  </a:lnTo>
                  <a:lnTo>
                    <a:pt x="1335" y="850"/>
                  </a:lnTo>
                  <a:lnTo>
                    <a:pt x="1335" y="852"/>
                  </a:lnTo>
                  <a:lnTo>
                    <a:pt x="1333" y="852"/>
                  </a:lnTo>
                  <a:lnTo>
                    <a:pt x="1334" y="854"/>
                  </a:lnTo>
                  <a:lnTo>
                    <a:pt x="1335" y="856"/>
                  </a:lnTo>
                  <a:lnTo>
                    <a:pt x="1335" y="859"/>
                  </a:lnTo>
                  <a:lnTo>
                    <a:pt x="1334" y="862"/>
                  </a:lnTo>
                  <a:lnTo>
                    <a:pt x="1335" y="862"/>
                  </a:lnTo>
                  <a:lnTo>
                    <a:pt x="1331" y="867"/>
                  </a:lnTo>
                  <a:lnTo>
                    <a:pt x="1328" y="866"/>
                  </a:lnTo>
                  <a:lnTo>
                    <a:pt x="1325" y="865"/>
                  </a:lnTo>
                  <a:lnTo>
                    <a:pt x="1321" y="868"/>
                  </a:lnTo>
                  <a:lnTo>
                    <a:pt x="1317" y="860"/>
                  </a:lnTo>
                  <a:lnTo>
                    <a:pt x="1311" y="859"/>
                  </a:lnTo>
                  <a:lnTo>
                    <a:pt x="1308" y="863"/>
                  </a:lnTo>
                  <a:lnTo>
                    <a:pt x="1313" y="872"/>
                  </a:lnTo>
                  <a:lnTo>
                    <a:pt x="1313" y="874"/>
                  </a:lnTo>
                  <a:lnTo>
                    <a:pt x="1312" y="875"/>
                  </a:lnTo>
                  <a:lnTo>
                    <a:pt x="1312" y="876"/>
                  </a:lnTo>
                  <a:lnTo>
                    <a:pt x="1312" y="877"/>
                  </a:lnTo>
                  <a:lnTo>
                    <a:pt x="1311" y="879"/>
                  </a:lnTo>
                  <a:lnTo>
                    <a:pt x="1318" y="878"/>
                  </a:lnTo>
                  <a:lnTo>
                    <a:pt x="1321" y="879"/>
                  </a:lnTo>
                  <a:lnTo>
                    <a:pt x="1323" y="883"/>
                  </a:lnTo>
                  <a:lnTo>
                    <a:pt x="1322" y="883"/>
                  </a:lnTo>
                  <a:lnTo>
                    <a:pt x="1322" y="884"/>
                  </a:lnTo>
                  <a:lnTo>
                    <a:pt x="1322" y="885"/>
                  </a:lnTo>
                  <a:lnTo>
                    <a:pt x="1326" y="885"/>
                  </a:lnTo>
                  <a:lnTo>
                    <a:pt x="1333" y="894"/>
                  </a:lnTo>
                  <a:lnTo>
                    <a:pt x="1337" y="895"/>
                  </a:lnTo>
                  <a:lnTo>
                    <a:pt x="1339" y="897"/>
                  </a:lnTo>
                  <a:lnTo>
                    <a:pt x="1345" y="898"/>
                  </a:lnTo>
                  <a:lnTo>
                    <a:pt x="1347" y="900"/>
                  </a:lnTo>
                  <a:lnTo>
                    <a:pt x="1348" y="904"/>
                  </a:lnTo>
                  <a:lnTo>
                    <a:pt x="1348" y="907"/>
                  </a:lnTo>
                  <a:lnTo>
                    <a:pt x="1347" y="909"/>
                  </a:lnTo>
                  <a:lnTo>
                    <a:pt x="1344" y="909"/>
                  </a:lnTo>
                  <a:lnTo>
                    <a:pt x="1344" y="911"/>
                  </a:lnTo>
                  <a:lnTo>
                    <a:pt x="1348" y="912"/>
                  </a:lnTo>
                  <a:lnTo>
                    <a:pt x="1363" y="926"/>
                  </a:lnTo>
                  <a:lnTo>
                    <a:pt x="1364" y="928"/>
                  </a:lnTo>
                  <a:lnTo>
                    <a:pt x="1365" y="930"/>
                  </a:lnTo>
                  <a:lnTo>
                    <a:pt x="1366" y="933"/>
                  </a:lnTo>
                  <a:lnTo>
                    <a:pt x="1367" y="936"/>
                  </a:lnTo>
                  <a:lnTo>
                    <a:pt x="1368" y="938"/>
                  </a:lnTo>
                  <a:lnTo>
                    <a:pt x="1364" y="935"/>
                  </a:lnTo>
                  <a:lnTo>
                    <a:pt x="1360" y="927"/>
                  </a:lnTo>
                  <a:lnTo>
                    <a:pt x="1353" y="924"/>
                  </a:lnTo>
                  <a:lnTo>
                    <a:pt x="1348" y="918"/>
                  </a:lnTo>
                  <a:lnTo>
                    <a:pt x="1345" y="917"/>
                  </a:lnTo>
                  <a:lnTo>
                    <a:pt x="1344" y="916"/>
                  </a:lnTo>
                  <a:lnTo>
                    <a:pt x="1340" y="914"/>
                  </a:lnTo>
                  <a:lnTo>
                    <a:pt x="1338" y="913"/>
                  </a:lnTo>
                  <a:lnTo>
                    <a:pt x="1337" y="914"/>
                  </a:lnTo>
                  <a:lnTo>
                    <a:pt x="1334" y="915"/>
                  </a:lnTo>
                  <a:lnTo>
                    <a:pt x="1332" y="915"/>
                  </a:lnTo>
                  <a:lnTo>
                    <a:pt x="1328" y="913"/>
                  </a:lnTo>
                  <a:lnTo>
                    <a:pt x="1324" y="907"/>
                  </a:lnTo>
                  <a:lnTo>
                    <a:pt x="1321" y="905"/>
                  </a:lnTo>
                  <a:lnTo>
                    <a:pt x="1320" y="909"/>
                  </a:lnTo>
                  <a:lnTo>
                    <a:pt x="1319" y="908"/>
                  </a:lnTo>
                  <a:lnTo>
                    <a:pt x="1318" y="907"/>
                  </a:lnTo>
                  <a:lnTo>
                    <a:pt x="1317" y="907"/>
                  </a:lnTo>
                  <a:lnTo>
                    <a:pt x="1316" y="909"/>
                  </a:lnTo>
                  <a:lnTo>
                    <a:pt x="1316" y="910"/>
                  </a:lnTo>
                  <a:lnTo>
                    <a:pt x="1316" y="910"/>
                  </a:lnTo>
                  <a:lnTo>
                    <a:pt x="1317" y="912"/>
                  </a:lnTo>
                  <a:lnTo>
                    <a:pt x="1318" y="914"/>
                  </a:lnTo>
                  <a:lnTo>
                    <a:pt x="1328" y="918"/>
                  </a:lnTo>
                  <a:lnTo>
                    <a:pt x="1335" y="925"/>
                  </a:lnTo>
                  <a:lnTo>
                    <a:pt x="1340" y="928"/>
                  </a:lnTo>
                  <a:lnTo>
                    <a:pt x="1342" y="930"/>
                  </a:lnTo>
                  <a:lnTo>
                    <a:pt x="1344" y="934"/>
                  </a:lnTo>
                  <a:lnTo>
                    <a:pt x="1332" y="929"/>
                  </a:lnTo>
                  <a:lnTo>
                    <a:pt x="1327" y="926"/>
                  </a:lnTo>
                  <a:lnTo>
                    <a:pt x="1323" y="920"/>
                  </a:lnTo>
                  <a:lnTo>
                    <a:pt x="1320" y="919"/>
                  </a:lnTo>
                  <a:lnTo>
                    <a:pt x="1313" y="915"/>
                  </a:lnTo>
                  <a:lnTo>
                    <a:pt x="1311" y="915"/>
                  </a:lnTo>
                  <a:lnTo>
                    <a:pt x="1310" y="919"/>
                  </a:lnTo>
                  <a:lnTo>
                    <a:pt x="1308" y="927"/>
                  </a:lnTo>
                  <a:lnTo>
                    <a:pt x="1306" y="930"/>
                  </a:lnTo>
                  <a:lnTo>
                    <a:pt x="1307" y="931"/>
                  </a:lnTo>
                  <a:lnTo>
                    <a:pt x="1302" y="931"/>
                  </a:lnTo>
                  <a:lnTo>
                    <a:pt x="1295" y="927"/>
                  </a:lnTo>
                  <a:lnTo>
                    <a:pt x="1291" y="921"/>
                  </a:lnTo>
                  <a:lnTo>
                    <a:pt x="1292" y="913"/>
                  </a:lnTo>
                  <a:lnTo>
                    <a:pt x="1286" y="913"/>
                  </a:lnTo>
                  <a:lnTo>
                    <a:pt x="1284" y="912"/>
                  </a:lnTo>
                  <a:lnTo>
                    <a:pt x="1282" y="909"/>
                  </a:lnTo>
                  <a:lnTo>
                    <a:pt x="1281" y="911"/>
                  </a:lnTo>
                  <a:lnTo>
                    <a:pt x="1277" y="916"/>
                  </a:lnTo>
                  <a:lnTo>
                    <a:pt x="1275" y="919"/>
                  </a:lnTo>
                  <a:lnTo>
                    <a:pt x="1276" y="920"/>
                  </a:lnTo>
                  <a:lnTo>
                    <a:pt x="1276" y="921"/>
                  </a:lnTo>
                  <a:lnTo>
                    <a:pt x="1277" y="921"/>
                  </a:lnTo>
                  <a:lnTo>
                    <a:pt x="1276" y="925"/>
                  </a:lnTo>
                  <a:lnTo>
                    <a:pt x="1278" y="928"/>
                  </a:lnTo>
                  <a:lnTo>
                    <a:pt x="1284" y="934"/>
                  </a:lnTo>
                  <a:lnTo>
                    <a:pt x="1286" y="938"/>
                  </a:lnTo>
                  <a:lnTo>
                    <a:pt x="1286" y="942"/>
                  </a:lnTo>
                  <a:lnTo>
                    <a:pt x="1285" y="946"/>
                  </a:lnTo>
                  <a:lnTo>
                    <a:pt x="1286" y="952"/>
                  </a:lnTo>
                  <a:lnTo>
                    <a:pt x="1283" y="950"/>
                  </a:lnTo>
                  <a:lnTo>
                    <a:pt x="1282" y="950"/>
                  </a:lnTo>
                  <a:lnTo>
                    <a:pt x="1280" y="950"/>
                  </a:lnTo>
                  <a:lnTo>
                    <a:pt x="1281" y="954"/>
                  </a:lnTo>
                  <a:lnTo>
                    <a:pt x="1282" y="955"/>
                  </a:lnTo>
                  <a:lnTo>
                    <a:pt x="1283" y="956"/>
                  </a:lnTo>
                  <a:lnTo>
                    <a:pt x="1280" y="956"/>
                  </a:lnTo>
                  <a:lnTo>
                    <a:pt x="1278" y="955"/>
                  </a:lnTo>
                  <a:lnTo>
                    <a:pt x="1276" y="953"/>
                  </a:lnTo>
                  <a:lnTo>
                    <a:pt x="1274" y="950"/>
                  </a:lnTo>
                  <a:lnTo>
                    <a:pt x="1273" y="945"/>
                  </a:lnTo>
                  <a:lnTo>
                    <a:pt x="1272" y="940"/>
                  </a:lnTo>
                  <a:lnTo>
                    <a:pt x="1271" y="934"/>
                  </a:lnTo>
                  <a:lnTo>
                    <a:pt x="1272" y="930"/>
                  </a:lnTo>
                  <a:lnTo>
                    <a:pt x="1268" y="927"/>
                  </a:lnTo>
                  <a:lnTo>
                    <a:pt x="1264" y="926"/>
                  </a:lnTo>
                  <a:lnTo>
                    <a:pt x="1260" y="926"/>
                  </a:lnTo>
                  <a:lnTo>
                    <a:pt x="1256" y="927"/>
                  </a:lnTo>
                  <a:lnTo>
                    <a:pt x="1254" y="929"/>
                  </a:lnTo>
                  <a:lnTo>
                    <a:pt x="1252" y="931"/>
                  </a:lnTo>
                  <a:lnTo>
                    <a:pt x="1251" y="935"/>
                  </a:lnTo>
                  <a:lnTo>
                    <a:pt x="1250" y="938"/>
                  </a:lnTo>
                  <a:lnTo>
                    <a:pt x="1251" y="941"/>
                  </a:lnTo>
                  <a:lnTo>
                    <a:pt x="1252" y="947"/>
                  </a:lnTo>
                  <a:lnTo>
                    <a:pt x="1251" y="950"/>
                  </a:lnTo>
                  <a:lnTo>
                    <a:pt x="1252" y="953"/>
                  </a:lnTo>
                  <a:lnTo>
                    <a:pt x="1251" y="961"/>
                  </a:lnTo>
                  <a:lnTo>
                    <a:pt x="1251" y="964"/>
                  </a:lnTo>
                  <a:lnTo>
                    <a:pt x="1265" y="967"/>
                  </a:lnTo>
                  <a:lnTo>
                    <a:pt x="1266" y="969"/>
                  </a:lnTo>
                  <a:lnTo>
                    <a:pt x="1268" y="970"/>
                  </a:lnTo>
                  <a:lnTo>
                    <a:pt x="1269" y="972"/>
                  </a:lnTo>
                  <a:lnTo>
                    <a:pt x="1270" y="974"/>
                  </a:lnTo>
                  <a:lnTo>
                    <a:pt x="1272" y="974"/>
                  </a:lnTo>
                  <a:lnTo>
                    <a:pt x="1271" y="978"/>
                  </a:lnTo>
                  <a:lnTo>
                    <a:pt x="1269" y="980"/>
                  </a:lnTo>
                  <a:lnTo>
                    <a:pt x="1267" y="980"/>
                  </a:lnTo>
                  <a:lnTo>
                    <a:pt x="1262" y="975"/>
                  </a:lnTo>
                  <a:lnTo>
                    <a:pt x="1260" y="975"/>
                  </a:lnTo>
                  <a:lnTo>
                    <a:pt x="1254" y="979"/>
                  </a:lnTo>
                  <a:lnTo>
                    <a:pt x="1254" y="981"/>
                  </a:lnTo>
                  <a:lnTo>
                    <a:pt x="1255" y="983"/>
                  </a:lnTo>
                  <a:lnTo>
                    <a:pt x="1251" y="987"/>
                  </a:lnTo>
                  <a:lnTo>
                    <a:pt x="1250" y="990"/>
                  </a:lnTo>
                  <a:lnTo>
                    <a:pt x="1251" y="994"/>
                  </a:lnTo>
                  <a:lnTo>
                    <a:pt x="1253" y="995"/>
                  </a:lnTo>
                  <a:lnTo>
                    <a:pt x="1256" y="996"/>
                  </a:lnTo>
                  <a:lnTo>
                    <a:pt x="1258" y="997"/>
                  </a:lnTo>
                  <a:lnTo>
                    <a:pt x="1261" y="1002"/>
                  </a:lnTo>
                  <a:lnTo>
                    <a:pt x="1263" y="1007"/>
                  </a:lnTo>
                  <a:lnTo>
                    <a:pt x="1266" y="1012"/>
                  </a:lnTo>
                  <a:lnTo>
                    <a:pt x="1271" y="1013"/>
                  </a:lnTo>
                  <a:lnTo>
                    <a:pt x="1270" y="1016"/>
                  </a:lnTo>
                  <a:lnTo>
                    <a:pt x="1269" y="1017"/>
                  </a:lnTo>
                  <a:lnTo>
                    <a:pt x="1274" y="1023"/>
                  </a:lnTo>
                  <a:lnTo>
                    <a:pt x="1279" y="1019"/>
                  </a:lnTo>
                  <a:lnTo>
                    <a:pt x="1286" y="1018"/>
                  </a:lnTo>
                  <a:lnTo>
                    <a:pt x="1293" y="1020"/>
                  </a:lnTo>
                  <a:lnTo>
                    <a:pt x="1298" y="1024"/>
                  </a:lnTo>
                  <a:lnTo>
                    <a:pt x="1297" y="1026"/>
                  </a:lnTo>
                  <a:lnTo>
                    <a:pt x="1293" y="1026"/>
                  </a:lnTo>
                  <a:lnTo>
                    <a:pt x="1287" y="1025"/>
                  </a:lnTo>
                  <a:lnTo>
                    <a:pt x="1275" y="1027"/>
                  </a:lnTo>
                  <a:lnTo>
                    <a:pt x="1276" y="1028"/>
                  </a:lnTo>
                  <a:lnTo>
                    <a:pt x="1276" y="1030"/>
                  </a:lnTo>
                  <a:lnTo>
                    <a:pt x="1277" y="1032"/>
                  </a:lnTo>
                  <a:lnTo>
                    <a:pt x="1277" y="1033"/>
                  </a:lnTo>
                  <a:lnTo>
                    <a:pt x="1276" y="1033"/>
                  </a:lnTo>
                  <a:lnTo>
                    <a:pt x="1271" y="1029"/>
                  </a:lnTo>
                  <a:lnTo>
                    <a:pt x="1270" y="1028"/>
                  </a:lnTo>
                  <a:lnTo>
                    <a:pt x="1267" y="1024"/>
                  </a:lnTo>
                  <a:lnTo>
                    <a:pt x="1266" y="1025"/>
                  </a:lnTo>
                  <a:lnTo>
                    <a:pt x="1263" y="1023"/>
                  </a:lnTo>
                  <a:lnTo>
                    <a:pt x="1254" y="1014"/>
                  </a:lnTo>
                  <a:lnTo>
                    <a:pt x="1251" y="1012"/>
                  </a:lnTo>
                  <a:lnTo>
                    <a:pt x="1249" y="1012"/>
                  </a:lnTo>
                  <a:lnTo>
                    <a:pt x="1246" y="1013"/>
                  </a:lnTo>
                  <a:lnTo>
                    <a:pt x="1246" y="1014"/>
                  </a:lnTo>
                  <a:lnTo>
                    <a:pt x="1247" y="1018"/>
                  </a:lnTo>
                  <a:lnTo>
                    <a:pt x="1247" y="1019"/>
                  </a:lnTo>
                  <a:lnTo>
                    <a:pt x="1245" y="1019"/>
                  </a:lnTo>
                  <a:lnTo>
                    <a:pt x="1244" y="1021"/>
                  </a:lnTo>
                  <a:lnTo>
                    <a:pt x="1244" y="1025"/>
                  </a:lnTo>
                  <a:lnTo>
                    <a:pt x="1244" y="1029"/>
                  </a:lnTo>
                  <a:lnTo>
                    <a:pt x="1243" y="1031"/>
                  </a:lnTo>
                  <a:lnTo>
                    <a:pt x="1241" y="1036"/>
                  </a:lnTo>
                  <a:lnTo>
                    <a:pt x="1241" y="1038"/>
                  </a:lnTo>
                  <a:lnTo>
                    <a:pt x="1241" y="1042"/>
                  </a:lnTo>
                  <a:lnTo>
                    <a:pt x="1242" y="1047"/>
                  </a:lnTo>
                  <a:lnTo>
                    <a:pt x="1243" y="1050"/>
                  </a:lnTo>
                  <a:lnTo>
                    <a:pt x="1244" y="1051"/>
                  </a:lnTo>
                  <a:lnTo>
                    <a:pt x="1249" y="1052"/>
                  </a:lnTo>
                  <a:lnTo>
                    <a:pt x="1250" y="1053"/>
                  </a:lnTo>
                  <a:lnTo>
                    <a:pt x="1249" y="1055"/>
                  </a:lnTo>
                  <a:lnTo>
                    <a:pt x="1248" y="1057"/>
                  </a:lnTo>
                  <a:lnTo>
                    <a:pt x="1248" y="1061"/>
                  </a:lnTo>
                  <a:lnTo>
                    <a:pt x="1248" y="1062"/>
                  </a:lnTo>
                  <a:lnTo>
                    <a:pt x="1250" y="1064"/>
                  </a:lnTo>
                  <a:lnTo>
                    <a:pt x="1250" y="1066"/>
                  </a:lnTo>
                  <a:lnTo>
                    <a:pt x="1250" y="1066"/>
                  </a:lnTo>
                  <a:lnTo>
                    <a:pt x="1249" y="1067"/>
                  </a:lnTo>
                  <a:lnTo>
                    <a:pt x="1249" y="1068"/>
                  </a:lnTo>
                  <a:lnTo>
                    <a:pt x="1248" y="1067"/>
                  </a:lnTo>
                  <a:lnTo>
                    <a:pt x="1251" y="1079"/>
                  </a:lnTo>
                  <a:lnTo>
                    <a:pt x="1255" y="1081"/>
                  </a:lnTo>
                  <a:lnTo>
                    <a:pt x="1263" y="1080"/>
                  </a:lnTo>
                  <a:lnTo>
                    <a:pt x="1267" y="1078"/>
                  </a:lnTo>
                  <a:lnTo>
                    <a:pt x="1277" y="1063"/>
                  </a:lnTo>
                  <a:lnTo>
                    <a:pt x="1280" y="1061"/>
                  </a:lnTo>
                  <a:lnTo>
                    <a:pt x="1281" y="1061"/>
                  </a:lnTo>
                  <a:lnTo>
                    <a:pt x="1281" y="1063"/>
                  </a:lnTo>
                  <a:lnTo>
                    <a:pt x="1282" y="1067"/>
                  </a:lnTo>
                  <a:lnTo>
                    <a:pt x="1283" y="1069"/>
                  </a:lnTo>
                  <a:lnTo>
                    <a:pt x="1281" y="1071"/>
                  </a:lnTo>
                  <a:lnTo>
                    <a:pt x="1277" y="1073"/>
                  </a:lnTo>
                  <a:lnTo>
                    <a:pt x="1282" y="1074"/>
                  </a:lnTo>
                  <a:lnTo>
                    <a:pt x="1286" y="1076"/>
                  </a:lnTo>
                  <a:lnTo>
                    <a:pt x="1290" y="1077"/>
                  </a:lnTo>
                  <a:lnTo>
                    <a:pt x="1294" y="1073"/>
                  </a:lnTo>
                  <a:lnTo>
                    <a:pt x="1301" y="1063"/>
                  </a:lnTo>
                  <a:lnTo>
                    <a:pt x="1305" y="1059"/>
                  </a:lnTo>
                  <a:lnTo>
                    <a:pt x="1308" y="1059"/>
                  </a:lnTo>
                  <a:lnTo>
                    <a:pt x="1307" y="1068"/>
                  </a:lnTo>
                  <a:lnTo>
                    <a:pt x="1300" y="1074"/>
                  </a:lnTo>
                  <a:lnTo>
                    <a:pt x="1282" y="1083"/>
                  </a:lnTo>
                  <a:lnTo>
                    <a:pt x="1278" y="1083"/>
                  </a:lnTo>
                  <a:lnTo>
                    <a:pt x="1277" y="1082"/>
                  </a:lnTo>
                  <a:lnTo>
                    <a:pt x="1276" y="1081"/>
                  </a:lnTo>
                  <a:lnTo>
                    <a:pt x="1275" y="1079"/>
                  </a:lnTo>
                  <a:lnTo>
                    <a:pt x="1274" y="1081"/>
                  </a:lnTo>
                  <a:lnTo>
                    <a:pt x="1272" y="1082"/>
                  </a:lnTo>
                  <a:lnTo>
                    <a:pt x="1269" y="1084"/>
                  </a:lnTo>
                  <a:lnTo>
                    <a:pt x="1268" y="1086"/>
                  </a:lnTo>
                  <a:lnTo>
                    <a:pt x="1264" y="1095"/>
                  </a:lnTo>
                  <a:lnTo>
                    <a:pt x="1263" y="1096"/>
                  </a:lnTo>
                  <a:lnTo>
                    <a:pt x="1265" y="1100"/>
                  </a:lnTo>
                  <a:lnTo>
                    <a:pt x="1268" y="1100"/>
                  </a:lnTo>
                  <a:lnTo>
                    <a:pt x="1275" y="1098"/>
                  </a:lnTo>
                  <a:lnTo>
                    <a:pt x="1278" y="1098"/>
                  </a:lnTo>
                  <a:lnTo>
                    <a:pt x="1284" y="1101"/>
                  </a:lnTo>
                  <a:lnTo>
                    <a:pt x="1287" y="1102"/>
                  </a:lnTo>
                  <a:lnTo>
                    <a:pt x="1291" y="1101"/>
                  </a:lnTo>
                  <a:lnTo>
                    <a:pt x="1296" y="1096"/>
                  </a:lnTo>
                  <a:lnTo>
                    <a:pt x="1299" y="1096"/>
                  </a:lnTo>
                  <a:lnTo>
                    <a:pt x="1300" y="1094"/>
                  </a:lnTo>
                  <a:lnTo>
                    <a:pt x="1303" y="1090"/>
                  </a:lnTo>
                  <a:lnTo>
                    <a:pt x="1305" y="1088"/>
                  </a:lnTo>
                  <a:lnTo>
                    <a:pt x="1309" y="1090"/>
                  </a:lnTo>
                  <a:lnTo>
                    <a:pt x="1309" y="1092"/>
                  </a:lnTo>
                  <a:lnTo>
                    <a:pt x="1305" y="1093"/>
                  </a:lnTo>
                  <a:lnTo>
                    <a:pt x="1301" y="1097"/>
                  </a:lnTo>
                  <a:lnTo>
                    <a:pt x="1300" y="1102"/>
                  </a:lnTo>
                  <a:lnTo>
                    <a:pt x="1301" y="1104"/>
                  </a:lnTo>
                  <a:lnTo>
                    <a:pt x="1302" y="1105"/>
                  </a:lnTo>
                  <a:lnTo>
                    <a:pt x="1304" y="1106"/>
                  </a:lnTo>
                  <a:lnTo>
                    <a:pt x="1306" y="1111"/>
                  </a:lnTo>
                  <a:lnTo>
                    <a:pt x="1308" y="1112"/>
                  </a:lnTo>
                  <a:lnTo>
                    <a:pt x="1315" y="1114"/>
                  </a:lnTo>
                  <a:lnTo>
                    <a:pt x="1315" y="1116"/>
                  </a:lnTo>
                  <a:lnTo>
                    <a:pt x="1308" y="1118"/>
                  </a:lnTo>
                  <a:lnTo>
                    <a:pt x="1303" y="1114"/>
                  </a:lnTo>
                  <a:lnTo>
                    <a:pt x="1298" y="1108"/>
                  </a:lnTo>
                  <a:lnTo>
                    <a:pt x="1293" y="1104"/>
                  </a:lnTo>
                  <a:lnTo>
                    <a:pt x="1287" y="1105"/>
                  </a:lnTo>
                  <a:lnTo>
                    <a:pt x="1281" y="1109"/>
                  </a:lnTo>
                  <a:lnTo>
                    <a:pt x="1277" y="1115"/>
                  </a:lnTo>
                  <a:lnTo>
                    <a:pt x="1280" y="1120"/>
                  </a:lnTo>
                  <a:lnTo>
                    <a:pt x="1278" y="1124"/>
                  </a:lnTo>
                  <a:lnTo>
                    <a:pt x="1272" y="1132"/>
                  </a:lnTo>
                  <a:lnTo>
                    <a:pt x="1271" y="1137"/>
                  </a:lnTo>
                  <a:lnTo>
                    <a:pt x="1273" y="1140"/>
                  </a:lnTo>
                  <a:lnTo>
                    <a:pt x="1286" y="1144"/>
                  </a:lnTo>
                  <a:lnTo>
                    <a:pt x="1288" y="1145"/>
                  </a:lnTo>
                  <a:lnTo>
                    <a:pt x="1292" y="1151"/>
                  </a:lnTo>
                  <a:lnTo>
                    <a:pt x="1293" y="1152"/>
                  </a:lnTo>
                  <a:lnTo>
                    <a:pt x="1295" y="1151"/>
                  </a:lnTo>
                  <a:lnTo>
                    <a:pt x="1299" y="1150"/>
                  </a:lnTo>
                  <a:lnTo>
                    <a:pt x="1312" y="1148"/>
                  </a:lnTo>
                  <a:lnTo>
                    <a:pt x="1315" y="1150"/>
                  </a:lnTo>
                  <a:lnTo>
                    <a:pt x="1315" y="1152"/>
                  </a:lnTo>
                  <a:lnTo>
                    <a:pt x="1315" y="1152"/>
                  </a:lnTo>
                  <a:lnTo>
                    <a:pt x="1313" y="1151"/>
                  </a:lnTo>
                  <a:lnTo>
                    <a:pt x="1311" y="1150"/>
                  </a:lnTo>
                  <a:lnTo>
                    <a:pt x="1308" y="1151"/>
                  </a:lnTo>
                  <a:lnTo>
                    <a:pt x="1307" y="1153"/>
                  </a:lnTo>
                  <a:lnTo>
                    <a:pt x="1306" y="1154"/>
                  </a:lnTo>
                  <a:lnTo>
                    <a:pt x="1291" y="1154"/>
                  </a:lnTo>
                  <a:lnTo>
                    <a:pt x="1287" y="1152"/>
                  </a:lnTo>
                  <a:lnTo>
                    <a:pt x="1281" y="1147"/>
                  </a:lnTo>
                  <a:lnTo>
                    <a:pt x="1276" y="1145"/>
                  </a:lnTo>
                  <a:lnTo>
                    <a:pt x="1274" y="1147"/>
                  </a:lnTo>
                  <a:lnTo>
                    <a:pt x="1272" y="1148"/>
                  </a:lnTo>
                  <a:lnTo>
                    <a:pt x="1267" y="1148"/>
                  </a:lnTo>
                  <a:lnTo>
                    <a:pt x="1266" y="1148"/>
                  </a:lnTo>
                  <a:lnTo>
                    <a:pt x="1264" y="1149"/>
                  </a:lnTo>
                  <a:lnTo>
                    <a:pt x="1262" y="1152"/>
                  </a:lnTo>
                  <a:lnTo>
                    <a:pt x="1256" y="1161"/>
                  </a:lnTo>
                  <a:lnTo>
                    <a:pt x="1253" y="1165"/>
                  </a:lnTo>
                  <a:lnTo>
                    <a:pt x="1255" y="1168"/>
                  </a:lnTo>
                  <a:lnTo>
                    <a:pt x="1257" y="1168"/>
                  </a:lnTo>
                  <a:lnTo>
                    <a:pt x="1260" y="1171"/>
                  </a:lnTo>
                  <a:lnTo>
                    <a:pt x="1261" y="1172"/>
                  </a:lnTo>
                  <a:lnTo>
                    <a:pt x="1263" y="1171"/>
                  </a:lnTo>
                  <a:lnTo>
                    <a:pt x="1266" y="1170"/>
                  </a:lnTo>
                  <a:lnTo>
                    <a:pt x="1268" y="1170"/>
                  </a:lnTo>
                  <a:lnTo>
                    <a:pt x="1271" y="1172"/>
                  </a:lnTo>
                  <a:lnTo>
                    <a:pt x="1271" y="1176"/>
                  </a:lnTo>
                  <a:lnTo>
                    <a:pt x="1270" y="1180"/>
                  </a:lnTo>
                  <a:lnTo>
                    <a:pt x="1273" y="1182"/>
                  </a:lnTo>
                  <a:lnTo>
                    <a:pt x="1276" y="1183"/>
                  </a:lnTo>
                  <a:lnTo>
                    <a:pt x="1279" y="1185"/>
                  </a:lnTo>
                  <a:lnTo>
                    <a:pt x="1283" y="1186"/>
                  </a:lnTo>
                  <a:lnTo>
                    <a:pt x="1286" y="1184"/>
                  </a:lnTo>
                  <a:lnTo>
                    <a:pt x="1288" y="1185"/>
                  </a:lnTo>
                  <a:lnTo>
                    <a:pt x="1291" y="1184"/>
                  </a:lnTo>
                  <a:lnTo>
                    <a:pt x="1293" y="1182"/>
                  </a:lnTo>
                  <a:lnTo>
                    <a:pt x="1296" y="1182"/>
                  </a:lnTo>
                  <a:lnTo>
                    <a:pt x="1296" y="1184"/>
                  </a:lnTo>
                  <a:lnTo>
                    <a:pt x="1288" y="1188"/>
                  </a:lnTo>
                  <a:lnTo>
                    <a:pt x="1280" y="1189"/>
                  </a:lnTo>
                  <a:lnTo>
                    <a:pt x="1275" y="1189"/>
                  </a:lnTo>
                  <a:lnTo>
                    <a:pt x="1272" y="1188"/>
                  </a:lnTo>
                  <a:lnTo>
                    <a:pt x="1270" y="1186"/>
                  </a:lnTo>
                  <a:lnTo>
                    <a:pt x="1268" y="1183"/>
                  </a:lnTo>
                  <a:lnTo>
                    <a:pt x="1265" y="1178"/>
                  </a:lnTo>
                  <a:lnTo>
                    <a:pt x="1263" y="1176"/>
                  </a:lnTo>
                  <a:lnTo>
                    <a:pt x="1259" y="1175"/>
                  </a:lnTo>
                  <a:lnTo>
                    <a:pt x="1254" y="1177"/>
                  </a:lnTo>
                  <a:lnTo>
                    <a:pt x="1250" y="1180"/>
                  </a:lnTo>
                  <a:lnTo>
                    <a:pt x="1247" y="1184"/>
                  </a:lnTo>
                  <a:lnTo>
                    <a:pt x="1245" y="1189"/>
                  </a:lnTo>
                  <a:lnTo>
                    <a:pt x="1244" y="1196"/>
                  </a:lnTo>
                  <a:lnTo>
                    <a:pt x="1242" y="1202"/>
                  </a:lnTo>
                  <a:lnTo>
                    <a:pt x="1239" y="1205"/>
                  </a:lnTo>
                  <a:lnTo>
                    <a:pt x="1242" y="1209"/>
                  </a:lnTo>
                  <a:lnTo>
                    <a:pt x="1244" y="1209"/>
                  </a:lnTo>
                  <a:lnTo>
                    <a:pt x="1244" y="1212"/>
                  </a:lnTo>
                  <a:lnTo>
                    <a:pt x="1238" y="1212"/>
                  </a:lnTo>
                  <a:lnTo>
                    <a:pt x="1233" y="1213"/>
                  </a:lnTo>
                  <a:lnTo>
                    <a:pt x="1240" y="1216"/>
                  </a:lnTo>
                  <a:lnTo>
                    <a:pt x="1255" y="1212"/>
                  </a:lnTo>
                  <a:lnTo>
                    <a:pt x="1262" y="1213"/>
                  </a:lnTo>
                  <a:lnTo>
                    <a:pt x="1256" y="1221"/>
                  </a:lnTo>
                  <a:lnTo>
                    <a:pt x="1255" y="1223"/>
                  </a:lnTo>
                  <a:lnTo>
                    <a:pt x="1261" y="1225"/>
                  </a:lnTo>
                  <a:lnTo>
                    <a:pt x="1264" y="1225"/>
                  </a:lnTo>
                  <a:lnTo>
                    <a:pt x="1266" y="1220"/>
                  </a:lnTo>
                  <a:lnTo>
                    <a:pt x="1269" y="1219"/>
                  </a:lnTo>
                  <a:lnTo>
                    <a:pt x="1272" y="1218"/>
                  </a:lnTo>
                  <a:lnTo>
                    <a:pt x="1274" y="1220"/>
                  </a:lnTo>
                  <a:lnTo>
                    <a:pt x="1269" y="1225"/>
                  </a:lnTo>
                  <a:lnTo>
                    <a:pt x="1263" y="1228"/>
                  </a:lnTo>
                  <a:lnTo>
                    <a:pt x="1246" y="1230"/>
                  </a:lnTo>
                  <a:lnTo>
                    <a:pt x="1244" y="1233"/>
                  </a:lnTo>
                  <a:lnTo>
                    <a:pt x="1244" y="1236"/>
                  </a:lnTo>
                  <a:lnTo>
                    <a:pt x="1247" y="1239"/>
                  </a:lnTo>
                  <a:lnTo>
                    <a:pt x="1259" y="1245"/>
                  </a:lnTo>
                  <a:lnTo>
                    <a:pt x="1256" y="1244"/>
                  </a:lnTo>
                  <a:lnTo>
                    <a:pt x="1252" y="1243"/>
                  </a:lnTo>
                  <a:lnTo>
                    <a:pt x="1248" y="1244"/>
                  </a:lnTo>
                  <a:lnTo>
                    <a:pt x="1246" y="1247"/>
                  </a:lnTo>
                  <a:lnTo>
                    <a:pt x="1244" y="1246"/>
                  </a:lnTo>
                  <a:lnTo>
                    <a:pt x="1242" y="1245"/>
                  </a:lnTo>
                  <a:lnTo>
                    <a:pt x="1240" y="1245"/>
                  </a:lnTo>
                  <a:lnTo>
                    <a:pt x="1238" y="1245"/>
                  </a:lnTo>
                  <a:lnTo>
                    <a:pt x="1238" y="1247"/>
                  </a:lnTo>
                  <a:lnTo>
                    <a:pt x="1241" y="1248"/>
                  </a:lnTo>
                  <a:lnTo>
                    <a:pt x="1243" y="1250"/>
                  </a:lnTo>
                  <a:lnTo>
                    <a:pt x="1244" y="1253"/>
                  </a:lnTo>
                  <a:lnTo>
                    <a:pt x="1244" y="1256"/>
                  </a:lnTo>
                  <a:lnTo>
                    <a:pt x="1242" y="1255"/>
                  </a:lnTo>
                  <a:lnTo>
                    <a:pt x="1234" y="1251"/>
                  </a:lnTo>
                  <a:lnTo>
                    <a:pt x="1232" y="1249"/>
                  </a:lnTo>
                  <a:lnTo>
                    <a:pt x="1230" y="1248"/>
                  </a:lnTo>
                  <a:lnTo>
                    <a:pt x="1229" y="1246"/>
                  </a:lnTo>
                  <a:lnTo>
                    <a:pt x="1226" y="1245"/>
                  </a:lnTo>
                  <a:lnTo>
                    <a:pt x="1223" y="1246"/>
                  </a:lnTo>
                  <a:lnTo>
                    <a:pt x="1218" y="1250"/>
                  </a:lnTo>
                  <a:lnTo>
                    <a:pt x="1216" y="1251"/>
                  </a:lnTo>
                  <a:lnTo>
                    <a:pt x="1192" y="1254"/>
                  </a:lnTo>
                  <a:lnTo>
                    <a:pt x="1190" y="1256"/>
                  </a:lnTo>
                  <a:lnTo>
                    <a:pt x="1186" y="1261"/>
                  </a:lnTo>
                  <a:lnTo>
                    <a:pt x="1185" y="1262"/>
                  </a:lnTo>
                  <a:lnTo>
                    <a:pt x="1184" y="1261"/>
                  </a:lnTo>
                  <a:lnTo>
                    <a:pt x="1183" y="1262"/>
                  </a:lnTo>
                  <a:lnTo>
                    <a:pt x="1183" y="1264"/>
                  </a:lnTo>
                  <a:lnTo>
                    <a:pt x="1183" y="1266"/>
                  </a:lnTo>
                  <a:lnTo>
                    <a:pt x="1183" y="1268"/>
                  </a:lnTo>
                  <a:lnTo>
                    <a:pt x="1184" y="1269"/>
                  </a:lnTo>
                  <a:lnTo>
                    <a:pt x="1185" y="1271"/>
                  </a:lnTo>
                  <a:lnTo>
                    <a:pt x="1187" y="1273"/>
                  </a:lnTo>
                  <a:lnTo>
                    <a:pt x="1191" y="1275"/>
                  </a:lnTo>
                  <a:lnTo>
                    <a:pt x="1195" y="1276"/>
                  </a:lnTo>
                  <a:lnTo>
                    <a:pt x="1198" y="1274"/>
                  </a:lnTo>
                  <a:lnTo>
                    <a:pt x="1201" y="1271"/>
                  </a:lnTo>
                  <a:lnTo>
                    <a:pt x="1205" y="1271"/>
                  </a:lnTo>
                  <a:lnTo>
                    <a:pt x="1217" y="1274"/>
                  </a:lnTo>
                  <a:lnTo>
                    <a:pt x="1227" y="1273"/>
                  </a:lnTo>
                  <a:lnTo>
                    <a:pt x="1229" y="1273"/>
                  </a:lnTo>
                  <a:lnTo>
                    <a:pt x="1233" y="1276"/>
                  </a:lnTo>
                  <a:lnTo>
                    <a:pt x="1235" y="1277"/>
                  </a:lnTo>
                  <a:lnTo>
                    <a:pt x="1237" y="1277"/>
                  </a:lnTo>
                  <a:lnTo>
                    <a:pt x="1243" y="1275"/>
                  </a:lnTo>
                  <a:lnTo>
                    <a:pt x="1260" y="1266"/>
                  </a:lnTo>
                  <a:lnTo>
                    <a:pt x="1266" y="1267"/>
                  </a:lnTo>
                  <a:lnTo>
                    <a:pt x="1275" y="1272"/>
                  </a:lnTo>
                  <a:lnTo>
                    <a:pt x="1278" y="1273"/>
                  </a:lnTo>
                  <a:lnTo>
                    <a:pt x="1293" y="1271"/>
                  </a:lnTo>
                  <a:lnTo>
                    <a:pt x="1290" y="1273"/>
                  </a:lnTo>
                  <a:lnTo>
                    <a:pt x="1285" y="1274"/>
                  </a:lnTo>
                  <a:lnTo>
                    <a:pt x="1276" y="1275"/>
                  </a:lnTo>
                  <a:lnTo>
                    <a:pt x="1272" y="1274"/>
                  </a:lnTo>
                  <a:lnTo>
                    <a:pt x="1262" y="1269"/>
                  </a:lnTo>
                  <a:lnTo>
                    <a:pt x="1258" y="1269"/>
                  </a:lnTo>
                  <a:lnTo>
                    <a:pt x="1242" y="1281"/>
                  </a:lnTo>
                  <a:lnTo>
                    <a:pt x="1242" y="1284"/>
                  </a:lnTo>
                  <a:lnTo>
                    <a:pt x="1243" y="1286"/>
                  </a:lnTo>
                  <a:lnTo>
                    <a:pt x="1247" y="1289"/>
                  </a:lnTo>
                  <a:lnTo>
                    <a:pt x="1246" y="1291"/>
                  </a:lnTo>
                  <a:lnTo>
                    <a:pt x="1242" y="1287"/>
                  </a:lnTo>
                  <a:lnTo>
                    <a:pt x="1237" y="1284"/>
                  </a:lnTo>
                  <a:lnTo>
                    <a:pt x="1231" y="1283"/>
                  </a:lnTo>
                  <a:lnTo>
                    <a:pt x="1223" y="1283"/>
                  </a:lnTo>
                  <a:lnTo>
                    <a:pt x="1221" y="1284"/>
                  </a:lnTo>
                  <a:lnTo>
                    <a:pt x="1219" y="1286"/>
                  </a:lnTo>
                  <a:lnTo>
                    <a:pt x="1219" y="1291"/>
                  </a:lnTo>
                  <a:lnTo>
                    <a:pt x="1220" y="1293"/>
                  </a:lnTo>
                  <a:lnTo>
                    <a:pt x="1243" y="1313"/>
                  </a:lnTo>
                  <a:lnTo>
                    <a:pt x="1253" y="1315"/>
                  </a:lnTo>
                  <a:lnTo>
                    <a:pt x="1259" y="1306"/>
                  </a:lnTo>
                  <a:lnTo>
                    <a:pt x="1260" y="1306"/>
                  </a:lnTo>
                  <a:lnTo>
                    <a:pt x="1260" y="1309"/>
                  </a:lnTo>
                  <a:lnTo>
                    <a:pt x="1259" y="1312"/>
                  </a:lnTo>
                  <a:lnTo>
                    <a:pt x="1257" y="1316"/>
                  </a:lnTo>
                  <a:lnTo>
                    <a:pt x="1259" y="1319"/>
                  </a:lnTo>
                  <a:lnTo>
                    <a:pt x="1261" y="1321"/>
                  </a:lnTo>
                  <a:lnTo>
                    <a:pt x="1265" y="1322"/>
                  </a:lnTo>
                  <a:lnTo>
                    <a:pt x="1267" y="1322"/>
                  </a:lnTo>
                  <a:lnTo>
                    <a:pt x="1269" y="1323"/>
                  </a:lnTo>
                  <a:lnTo>
                    <a:pt x="1271" y="1327"/>
                  </a:lnTo>
                  <a:lnTo>
                    <a:pt x="1272" y="1328"/>
                  </a:lnTo>
                  <a:lnTo>
                    <a:pt x="1273" y="1328"/>
                  </a:lnTo>
                  <a:lnTo>
                    <a:pt x="1284" y="1319"/>
                  </a:lnTo>
                  <a:lnTo>
                    <a:pt x="1295" y="1306"/>
                  </a:lnTo>
                  <a:lnTo>
                    <a:pt x="1301" y="1297"/>
                  </a:lnTo>
                  <a:lnTo>
                    <a:pt x="1302" y="1295"/>
                  </a:lnTo>
                  <a:lnTo>
                    <a:pt x="1304" y="1293"/>
                  </a:lnTo>
                  <a:lnTo>
                    <a:pt x="1306" y="1293"/>
                  </a:lnTo>
                  <a:lnTo>
                    <a:pt x="1308" y="1292"/>
                  </a:lnTo>
                  <a:lnTo>
                    <a:pt x="1310" y="1286"/>
                  </a:lnTo>
                  <a:lnTo>
                    <a:pt x="1312" y="1285"/>
                  </a:lnTo>
                  <a:lnTo>
                    <a:pt x="1315" y="1284"/>
                  </a:lnTo>
                  <a:lnTo>
                    <a:pt x="1317" y="1282"/>
                  </a:lnTo>
                  <a:lnTo>
                    <a:pt x="1322" y="1277"/>
                  </a:lnTo>
                  <a:lnTo>
                    <a:pt x="1324" y="1273"/>
                  </a:lnTo>
                  <a:lnTo>
                    <a:pt x="1325" y="1272"/>
                  </a:lnTo>
                  <a:lnTo>
                    <a:pt x="1328" y="1270"/>
                  </a:lnTo>
                  <a:lnTo>
                    <a:pt x="1330" y="1268"/>
                  </a:lnTo>
                  <a:lnTo>
                    <a:pt x="1331" y="1267"/>
                  </a:lnTo>
                  <a:lnTo>
                    <a:pt x="1334" y="1267"/>
                  </a:lnTo>
                  <a:lnTo>
                    <a:pt x="1336" y="1266"/>
                  </a:lnTo>
                  <a:lnTo>
                    <a:pt x="1338" y="1263"/>
                  </a:lnTo>
                  <a:lnTo>
                    <a:pt x="1341" y="1259"/>
                  </a:lnTo>
                  <a:lnTo>
                    <a:pt x="1341" y="1257"/>
                  </a:lnTo>
                  <a:lnTo>
                    <a:pt x="1341" y="1254"/>
                  </a:lnTo>
                  <a:lnTo>
                    <a:pt x="1342" y="1252"/>
                  </a:lnTo>
                  <a:lnTo>
                    <a:pt x="1343" y="1251"/>
                  </a:lnTo>
                  <a:lnTo>
                    <a:pt x="1345" y="1251"/>
                  </a:lnTo>
                  <a:lnTo>
                    <a:pt x="1347" y="1250"/>
                  </a:lnTo>
                  <a:lnTo>
                    <a:pt x="1348" y="1248"/>
                  </a:lnTo>
                  <a:lnTo>
                    <a:pt x="1349" y="1246"/>
                  </a:lnTo>
                  <a:lnTo>
                    <a:pt x="1351" y="1244"/>
                  </a:lnTo>
                  <a:lnTo>
                    <a:pt x="1360" y="1235"/>
                  </a:lnTo>
                  <a:lnTo>
                    <a:pt x="1357" y="1241"/>
                  </a:lnTo>
                  <a:lnTo>
                    <a:pt x="1354" y="1246"/>
                  </a:lnTo>
                  <a:lnTo>
                    <a:pt x="1344" y="1258"/>
                  </a:lnTo>
                  <a:lnTo>
                    <a:pt x="1343" y="1259"/>
                  </a:lnTo>
                  <a:lnTo>
                    <a:pt x="1341" y="1263"/>
                  </a:lnTo>
                  <a:lnTo>
                    <a:pt x="1341" y="1265"/>
                  </a:lnTo>
                  <a:lnTo>
                    <a:pt x="1353" y="1271"/>
                  </a:lnTo>
                  <a:lnTo>
                    <a:pt x="1380" y="1265"/>
                  </a:lnTo>
                  <a:lnTo>
                    <a:pt x="1377" y="1267"/>
                  </a:lnTo>
                  <a:lnTo>
                    <a:pt x="1364" y="1270"/>
                  </a:lnTo>
                  <a:lnTo>
                    <a:pt x="1358" y="1274"/>
                  </a:lnTo>
                  <a:lnTo>
                    <a:pt x="1355" y="1275"/>
                  </a:lnTo>
                  <a:lnTo>
                    <a:pt x="1348" y="1273"/>
                  </a:lnTo>
                  <a:lnTo>
                    <a:pt x="1344" y="1273"/>
                  </a:lnTo>
                  <a:lnTo>
                    <a:pt x="1340" y="1277"/>
                  </a:lnTo>
                  <a:lnTo>
                    <a:pt x="1338" y="1277"/>
                  </a:lnTo>
                  <a:lnTo>
                    <a:pt x="1334" y="1277"/>
                  </a:lnTo>
                  <a:lnTo>
                    <a:pt x="1330" y="1280"/>
                  </a:lnTo>
                  <a:lnTo>
                    <a:pt x="1329" y="1281"/>
                  </a:lnTo>
                  <a:lnTo>
                    <a:pt x="1329" y="1283"/>
                  </a:lnTo>
                  <a:lnTo>
                    <a:pt x="1332" y="1285"/>
                  </a:lnTo>
                  <a:lnTo>
                    <a:pt x="1331" y="1287"/>
                  </a:lnTo>
                  <a:lnTo>
                    <a:pt x="1330" y="1289"/>
                  </a:lnTo>
                  <a:lnTo>
                    <a:pt x="1323" y="1295"/>
                  </a:lnTo>
                  <a:lnTo>
                    <a:pt x="1322" y="1297"/>
                  </a:lnTo>
                  <a:lnTo>
                    <a:pt x="1318" y="1305"/>
                  </a:lnTo>
                  <a:lnTo>
                    <a:pt x="1317" y="1306"/>
                  </a:lnTo>
                  <a:lnTo>
                    <a:pt x="1317" y="1308"/>
                  </a:lnTo>
                  <a:lnTo>
                    <a:pt x="1316" y="1310"/>
                  </a:lnTo>
                  <a:lnTo>
                    <a:pt x="1315" y="1311"/>
                  </a:lnTo>
                  <a:lnTo>
                    <a:pt x="1315" y="1311"/>
                  </a:lnTo>
                  <a:lnTo>
                    <a:pt x="1314" y="1312"/>
                  </a:lnTo>
                  <a:lnTo>
                    <a:pt x="1313" y="1314"/>
                  </a:lnTo>
                  <a:lnTo>
                    <a:pt x="1315" y="1315"/>
                  </a:lnTo>
                  <a:lnTo>
                    <a:pt x="1318" y="1318"/>
                  </a:lnTo>
                  <a:lnTo>
                    <a:pt x="1320" y="1319"/>
                  </a:lnTo>
                  <a:lnTo>
                    <a:pt x="1322" y="1318"/>
                  </a:lnTo>
                  <a:lnTo>
                    <a:pt x="1325" y="1315"/>
                  </a:lnTo>
                  <a:lnTo>
                    <a:pt x="1327" y="1314"/>
                  </a:lnTo>
                  <a:lnTo>
                    <a:pt x="1330" y="1312"/>
                  </a:lnTo>
                  <a:lnTo>
                    <a:pt x="1330" y="1312"/>
                  </a:lnTo>
                  <a:lnTo>
                    <a:pt x="1334" y="1312"/>
                  </a:lnTo>
                  <a:lnTo>
                    <a:pt x="1335" y="1312"/>
                  </a:lnTo>
                  <a:lnTo>
                    <a:pt x="1341" y="1309"/>
                  </a:lnTo>
                  <a:lnTo>
                    <a:pt x="1339" y="1311"/>
                  </a:lnTo>
                  <a:lnTo>
                    <a:pt x="1337" y="1312"/>
                  </a:lnTo>
                  <a:lnTo>
                    <a:pt x="1333" y="1314"/>
                  </a:lnTo>
                  <a:lnTo>
                    <a:pt x="1325" y="1320"/>
                  </a:lnTo>
                  <a:lnTo>
                    <a:pt x="1322" y="1321"/>
                  </a:lnTo>
                  <a:lnTo>
                    <a:pt x="1319" y="1322"/>
                  </a:lnTo>
                  <a:lnTo>
                    <a:pt x="1315" y="1320"/>
                  </a:lnTo>
                  <a:lnTo>
                    <a:pt x="1311" y="1316"/>
                  </a:lnTo>
                  <a:lnTo>
                    <a:pt x="1310" y="1321"/>
                  </a:lnTo>
                  <a:lnTo>
                    <a:pt x="1305" y="1334"/>
                  </a:lnTo>
                  <a:lnTo>
                    <a:pt x="1307" y="1336"/>
                  </a:lnTo>
                  <a:lnTo>
                    <a:pt x="1310" y="1330"/>
                  </a:lnTo>
                  <a:lnTo>
                    <a:pt x="1312" y="1327"/>
                  </a:lnTo>
                  <a:lnTo>
                    <a:pt x="1314" y="1326"/>
                  </a:lnTo>
                  <a:lnTo>
                    <a:pt x="1316" y="1337"/>
                  </a:lnTo>
                  <a:lnTo>
                    <a:pt x="1319" y="1339"/>
                  </a:lnTo>
                  <a:lnTo>
                    <a:pt x="1324" y="1335"/>
                  </a:lnTo>
                  <a:lnTo>
                    <a:pt x="1340" y="1339"/>
                  </a:lnTo>
                  <a:lnTo>
                    <a:pt x="1347" y="1338"/>
                  </a:lnTo>
                  <a:lnTo>
                    <a:pt x="1349" y="1336"/>
                  </a:lnTo>
                  <a:lnTo>
                    <a:pt x="1353" y="1330"/>
                  </a:lnTo>
                  <a:lnTo>
                    <a:pt x="1359" y="1324"/>
                  </a:lnTo>
                  <a:lnTo>
                    <a:pt x="1362" y="1320"/>
                  </a:lnTo>
                  <a:lnTo>
                    <a:pt x="1363" y="1315"/>
                  </a:lnTo>
                  <a:lnTo>
                    <a:pt x="1365" y="1311"/>
                  </a:lnTo>
                  <a:lnTo>
                    <a:pt x="1369" y="1309"/>
                  </a:lnTo>
                  <a:lnTo>
                    <a:pt x="1365" y="1313"/>
                  </a:lnTo>
                  <a:lnTo>
                    <a:pt x="1360" y="1325"/>
                  </a:lnTo>
                  <a:lnTo>
                    <a:pt x="1350" y="1339"/>
                  </a:lnTo>
                  <a:lnTo>
                    <a:pt x="1346" y="1342"/>
                  </a:lnTo>
                  <a:lnTo>
                    <a:pt x="1341" y="1344"/>
                  </a:lnTo>
                  <a:lnTo>
                    <a:pt x="1328" y="1340"/>
                  </a:lnTo>
                  <a:lnTo>
                    <a:pt x="1312" y="1341"/>
                  </a:lnTo>
                  <a:lnTo>
                    <a:pt x="1306" y="1344"/>
                  </a:lnTo>
                  <a:lnTo>
                    <a:pt x="1303" y="1350"/>
                  </a:lnTo>
                  <a:lnTo>
                    <a:pt x="1303" y="1352"/>
                  </a:lnTo>
                  <a:lnTo>
                    <a:pt x="1302" y="1354"/>
                  </a:lnTo>
                  <a:lnTo>
                    <a:pt x="1300" y="1355"/>
                  </a:lnTo>
                  <a:lnTo>
                    <a:pt x="1298" y="1356"/>
                  </a:lnTo>
                  <a:lnTo>
                    <a:pt x="1297" y="1358"/>
                  </a:lnTo>
                  <a:lnTo>
                    <a:pt x="1294" y="1367"/>
                  </a:lnTo>
                  <a:lnTo>
                    <a:pt x="1297" y="1368"/>
                  </a:lnTo>
                  <a:lnTo>
                    <a:pt x="1304" y="1366"/>
                  </a:lnTo>
                  <a:lnTo>
                    <a:pt x="1308" y="1366"/>
                  </a:lnTo>
                  <a:lnTo>
                    <a:pt x="1308" y="1367"/>
                  </a:lnTo>
                  <a:lnTo>
                    <a:pt x="1300" y="1371"/>
                  </a:lnTo>
                  <a:lnTo>
                    <a:pt x="1296" y="1371"/>
                  </a:lnTo>
                  <a:lnTo>
                    <a:pt x="1293" y="1370"/>
                  </a:lnTo>
                  <a:lnTo>
                    <a:pt x="1290" y="1373"/>
                  </a:lnTo>
                  <a:lnTo>
                    <a:pt x="1288" y="1376"/>
                  </a:lnTo>
                  <a:lnTo>
                    <a:pt x="1286" y="1387"/>
                  </a:lnTo>
                  <a:lnTo>
                    <a:pt x="1285" y="1393"/>
                  </a:lnTo>
                  <a:lnTo>
                    <a:pt x="1284" y="1396"/>
                  </a:lnTo>
                  <a:lnTo>
                    <a:pt x="1285" y="1399"/>
                  </a:lnTo>
                  <a:lnTo>
                    <a:pt x="1287" y="1399"/>
                  </a:lnTo>
                  <a:lnTo>
                    <a:pt x="1288" y="1398"/>
                  </a:lnTo>
                  <a:lnTo>
                    <a:pt x="1290" y="1396"/>
                  </a:lnTo>
                  <a:lnTo>
                    <a:pt x="1291" y="1395"/>
                  </a:lnTo>
                  <a:lnTo>
                    <a:pt x="1298" y="1393"/>
                  </a:lnTo>
                  <a:lnTo>
                    <a:pt x="1300" y="1394"/>
                  </a:lnTo>
                  <a:lnTo>
                    <a:pt x="1301" y="1396"/>
                  </a:lnTo>
                  <a:lnTo>
                    <a:pt x="1300" y="1398"/>
                  </a:lnTo>
                  <a:lnTo>
                    <a:pt x="1299" y="1399"/>
                  </a:lnTo>
                  <a:lnTo>
                    <a:pt x="1295" y="1399"/>
                  </a:lnTo>
                  <a:lnTo>
                    <a:pt x="1292" y="1402"/>
                  </a:lnTo>
                  <a:lnTo>
                    <a:pt x="1290" y="1404"/>
                  </a:lnTo>
                  <a:lnTo>
                    <a:pt x="1292" y="1408"/>
                  </a:lnTo>
                  <a:lnTo>
                    <a:pt x="1289" y="1413"/>
                  </a:lnTo>
                  <a:lnTo>
                    <a:pt x="1286" y="1419"/>
                  </a:lnTo>
                  <a:lnTo>
                    <a:pt x="1284" y="1424"/>
                  </a:lnTo>
                  <a:lnTo>
                    <a:pt x="1283" y="1430"/>
                  </a:lnTo>
                  <a:lnTo>
                    <a:pt x="1286" y="1427"/>
                  </a:lnTo>
                  <a:lnTo>
                    <a:pt x="1290" y="1422"/>
                  </a:lnTo>
                  <a:lnTo>
                    <a:pt x="1293" y="1418"/>
                  </a:lnTo>
                  <a:lnTo>
                    <a:pt x="1298" y="1416"/>
                  </a:lnTo>
                  <a:lnTo>
                    <a:pt x="1297" y="1420"/>
                  </a:lnTo>
                  <a:lnTo>
                    <a:pt x="1296" y="1423"/>
                  </a:lnTo>
                  <a:lnTo>
                    <a:pt x="1291" y="1431"/>
                  </a:lnTo>
                  <a:lnTo>
                    <a:pt x="1291" y="1433"/>
                  </a:lnTo>
                  <a:lnTo>
                    <a:pt x="1291" y="1435"/>
                  </a:lnTo>
                  <a:lnTo>
                    <a:pt x="1292" y="1440"/>
                  </a:lnTo>
                  <a:lnTo>
                    <a:pt x="1292" y="1440"/>
                  </a:lnTo>
                  <a:lnTo>
                    <a:pt x="1293" y="1441"/>
                  </a:lnTo>
                  <a:lnTo>
                    <a:pt x="1294" y="1442"/>
                  </a:lnTo>
                  <a:lnTo>
                    <a:pt x="1295" y="1444"/>
                  </a:lnTo>
                  <a:lnTo>
                    <a:pt x="1295" y="1445"/>
                  </a:lnTo>
                  <a:lnTo>
                    <a:pt x="1293" y="1445"/>
                  </a:lnTo>
                  <a:lnTo>
                    <a:pt x="1292" y="1444"/>
                  </a:lnTo>
                  <a:lnTo>
                    <a:pt x="1292" y="1444"/>
                  </a:lnTo>
                  <a:lnTo>
                    <a:pt x="1292" y="1443"/>
                  </a:lnTo>
                  <a:lnTo>
                    <a:pt x="1291" y="1443"/>
                  </a:lnTo>
                  <a:lnTo>
                    <a:pt x="1290" y="1442"/>
                  </a:lnTo>
                  <a:lnTo>
                    <a:pt x="1288" y="1442"/>
                  </a:lnTo>
                  <a:lnTo>
                    <a:pt x="1287" y="1442"/>
                  </a:lnTo>
                  <a:lnTo>
                    <a:pt x="1287" y="1443"/>
                  </a:lnTo>
                  <a:lnTo>
                    <a:pt x="1287" y="1445"/>
                  </a:lnTo>
                  <a:lnTo>
                    <a:pt x="1286" y="1446"/>
                  </a:lnTo>
                  <a:lnTo>
                    <a:pt x="1274" y="1463"/>
                  </a:lnTo>
                  <a:lnTo>
                    <a:pt x="1269" y="1475"/>
                  </a:lnTo>
                  <a:lnTo>
                    <a:pt x="1268" y="1482"/>
                  </a:lnTo>
                  <a:lnTo>
                    <a:pt x="1267" y="1484"/>
                  </a:lnTo>
                  <a:lnTo>
                    <a:pt x="1267" y="1486"/>
                  </a:lnTo>
                  <a:lnTo>
                    <a:pt x="1267" y="1488"/>
                  </a:lnTo>
                  <a:lnTo>
                    <a:pt x="1269" y="1488"/>
                  </a:lnTo>
                  <a:lnTo>
                    <a:pt x="1269" y="1487"/>
                  </a:lnTo>
                  <a:lnTo>
                    <a:pt x="1272" y="1482"/>
                  </a:lnTo>
                  <a:lnTo>
                    <a:pt x="1272" y="1476"/>
                  </a:lnTo>
                  <a:lnTo>
                    <a:pt x="1279" y="1468"/>
                  </a:lnTo>
                  <a:lnTo>
                    <a:pt x="1280" y="1463"/>
                  </a:lnTo>
                  <a:lnTo>
                    <a:pt x="1282" y="1461"/>
                  </a:lnTo>
                  <a:lnTo>
                    <a:pt x="1284" y="1459"/>
                  </a:lnTo>
                  <a:lnTo>
                    <a:pt x="1286" y="1458"/>
                  </a:lnTo>
                  <a:lnTo>
                    <a:pt x="1288" y="1459"/>
                  </a:lnTo>
                  <a:lnTo>
                    <a:pt x="1288" y="1461"/>
                  </a:lnTo>
                  <a:lnTo>
                    <a:pt x="1286" y="1462"/>
                  </a:lnTo>
                  <a:lnTo>
                    <a:pt x="1287" y="1463"/>
                  </a:lnTo>
                  <a:lnTo>
                    <a:pt x="1286" y="1466"/>
                  </a:lnTo>
                  <a:lnTo>
                    <a:pt x="1269" y="1494"/>
                  </a:lnTo>
                  <a:lnTo>
                    <a:pt x="1269" y="1497"/>
                  </a:lnTo>
                  <a:lnTo>
                    <a:pt x="1270" y="1500"/>
                  </a:lnTo>
                  <a:lnTo>
                    <a:pt x="1271" y="1502"/>
                  </a:lnTo>
                  <a:lnTo>
                    <a:pt x="1272" y="1502"/>
                  </a:lnTo>
                  <a:lnTo>
                    <a:pt x="1275" y="1499"/>
                  </a:lnTo>
                  <a:lnTo>
                    <a:pt x="1280" y="1497"/>
                  </a:lnTo>
                  <a:lnTo>
                    <a:pt x="1285" y="1490"/>
                  </a:lnTo>
                  <a:lnTo>
                    <a:pt x="1288" y="1488"/>
                  </a:lnTo>
                  <a:lnTo>
                    <a:pt x="1286" y="1492"/>
                  </a:lnTo>
                  <a:lnTo>
                    <a:pt x="1283" y="1494"/>
                  </a:lnTo>
                  <a:lnTo>
                    <a:pt x="1281" y="1497"/>
                  </a:lnTo>
                  <a:lnTo>
                    <a:pt x="1280" y="1501"/>
                  </a:lnTo>
                  <a:lnTo>
                    <a:pt x="1279" y="1503"/>
                  </a:lnTo>
                  <a:lnTo>
                    <a:pt x="1272" y="1513"/>
                  </a:lnTo>
                  <a:lnTo>
                    <a:pt x="1273" y="1516"/>
                  </a:lnTo>
                  <a:lnTo>
                    <a:pt x="1273" y="1523"/>
                  </a:lnTo>
                  <a:lnTo>
                    <a:pt x="1274" y="1527"/>
                  </a:lnTo>
                  <a:lnTo>
                    <a:pt x="1276" y="1530"/>
                  </a:lnTo>
                  <a:lnTo>
                    <a:pt x="1279" y="1531"/>
                  </a:lnTo>
                  <a:lnTo>
                    <a:pt x="1283" y="1533"/>
                  </a:lnTo>
                  <a:lnTo>
                    <a:pt x="1282" y="1536"/>
                  </a:lnTo>
                  <a:lnTo>
                    <a:pt x="1284" y="1536"/>
                  </a:lnTo>
                  <a:lnTo>
                    <a:pt x="1286" y="1536"/>
                  </a:lnTo>
                  <a:lnTo>
                    <a:pt x="1291" y="1531"/>
                  </a:lnTo>
                  <a:lnTo>
                    <a:pt x="1307" y="1513"/>
                  </a:lnTo>
                  <a:lnTo>
                    <a:pt x="1304" y="1522"/>
                  </a:lnTo>
                  <a:lnTo>
                    <a:pt x="1299" y="1529"/>
                  </a:lnTo>
                  <a:lnTo>
                    <a:pt x="1294" y="1535"/>
                  </a:lnTo>
                  <a:lnTo>
                    <a:pt x="1289" y="1536"/>
                  </a:lnTo>
                  <a:lnTo>
                    <a:pt x="1287" y="1538"/>
                  </a:lnTo>
                  <a:lnTo>
                    <a:pt x="1284" y="1542"/>
                  </a:lnTo>
                  <a:lnTo>
                    <a:pt x="1282" y="1547"/>
                  </a:lnTo>
                  <a:lnTo>
                    <a:pt x="1281" y="1551"/>
                  </a:lnTo>
                  <a:lnTo>
                    <a:pt x="1280" y="1554"/>
                  </a:lnTo>
                  <a:lnTo>
                    <a:pt x="1271" y="1562"/>
                  </a:lnTo>
                  <a:lnTo>
                    <a:pt x="1273" y="1565"/>
                  </a:lnTo>
                  <a:lnTo>
                    <a:pt x="1272" y="1571"/>
                  </a:lnTo>
                  <a:lnTo>
                    <a:pt x="1269" y="1581"/>
                  </a:lnTo>
                  <a:lnTo>
                    <a:pt x="1265" y="1589"/>
                  </a:lnTo>
                  <a:lnTo>
                    <a:pt x="1265" y="1592"/>
                  </a:lnTo>
                  <a:lnTo>
                    <a:pt x="1265" y="1595"/>
                  </a:lnTo>
                  <a:lnTo>
                    <a:pt x="1266" y="1596"/>
                  </a:lnTo>
                  <a:lnTo>
                    <a:pt x="1267" y="1598"/>
                  </a:lnTo>
                  <a:lnTo>
                    <a:pt x="1265" y="1607"/>
                  </a:lnTo>
                  <a:lnTo>
                    <a:pt x="1265" y="1613"/>
                  </a:lnTo>
                  <a:lnTo>
                    <a:pt x="1266" y="1619"/>
                  </a:lnTo>
                  <a:lnTo>
                    <a:pt x="1266" y="1625"/>
                  </a:lnTo>
                  <a:lnTo>
                    <a:pt x="1264" y="1628"/>
                  </a:lnTo>
                  <a:lnTo>
                    <a:pt x="1258" y="1635"/>
                  </a:lnTo>
                  <a:lnTo>
                    <a:pt x="1253" y="1639"/>
                  </a:lnTo>
                  <a:lnTo>
                    <a:pt x="1253" y="1644"/>
                  </a:lnTo>
                  <a:lnTo>
                    <a:pt x="1253" y="1651"/>
                  </a:lnTo>
                  <a:lnTo>
                    <a:pt x="1255" y="1663"/>
                  </a:lnTo>
                  <a:lnTo>
                    <a:pt x="1256" y="1666"/>
                  </a:lnTo>
                  <a:lnTo>
                    <a:pt x="1259" y="1667"/>
                  </a:lnTo>
                  <a:lnTo>
                    <a:pt x="1264" y="1667"/>
                  </a:lnTo>
                  <a:lnTo>
                    <a:pt x="1266" y="1667"/>
                  </a:lnTo>
                  <a:lnTo>
                    <a:pt x="1269" y="1664"/>
                  </a:lnTo>
                  <a:lnTo>
                    <a:pt x="1271" y="1663"/>
                  </a:lnTo>
                  <a:lnTo>
                    <a:pt x="1273" y="1663"/>
                  </a:lnTo>
                  <a:lnTo>
                    <a:pt x="1276" y="1665"/>
                  </a:lnTo>
                  <a:lnTo>
                    <a:pt x="1277" y="1665"/>
                  </a:lnTo>
                  <a:lnTo>
                    <a:pt x="1281" y="1664"/>
                  </a:lnTo>
                  <a:lnTo>
                    <a:pt x="1285" y="1663"/>
                  </a:lnTo>
                  <a:lnTo>
                    <a:pt x="1288" y="1660"/>
                  </a:lnTo>
                  <a:lnTo>
                    <a:pt x="1291" y="1658"/>
                  </a:lnTo>
                  <a:lnTo>
                    <a:pt x="1296" y="1650"/>
                  </a:lnTo>
                  <a:lnTo>
                    <a:pt x="1297" y="1646"/>
                  </a:lnTo>
                  <a:lnTo>
                    <a:pt x="1295" y="1644"/>
                  </a:lnTo>
                  <a:lnTo>
                    <a:pt x="1295" y="1643"/>
                  </a:lnTo>
                  <a:lnTo>
                    <a:pt x="1293" y="1637"/>
                  </a:lnTo>
                  <a:lnTo>
                    <a:pt x="1291" y="1634"/>
                  </a:lnTo>
                  <a:lnTo>
                    <a:pt x="1290" y="1633"/>
                  </a:lnTo>
                  <a:lnTo>
                    <a:pt x="1288" y="1632"/>
                  </a:lnTo>
                  <a:lnTo>
                    <a:pt x="1286" y="1633"/>
                  </a:lnTo>
                  <a:lnTo>
                    <a:pt x="1286" y="1631"/>
                  </a:lnTo>
                  <a:lnTo>
                    <a:pt x="1290" y="1629"/>
                  </a:lnTo>
                  <a:lnTo>
                    <a:pt x="1292" y="1625"/>
                  </a:lnTo>
                  <a:lnTo>
                    <a:pt x="1296" y="1615"/>
                  </a:lnTo>
                  <a:lnTo>
                    <a:pt x="1297" y="1615"/>
                  </a:lnTo>
                  <a:lnTo>
                    <a:pt x="1297" y="1615"/>
                  </a:lnTo>
                  <a:lnTo>
                    <a:pt x="1298" y="1615"/>
                  </a:lnTo>
                  <a:lnTo>
                    <a:pt x="1298" y="1613"/>
                  </a:lnTo>
                  <a:lnTo>
                    <a:pt x="1298" y="1607"/>
                  </a:lnTo>
                  <a:lnTo>
                    <a:pt x="1298" y="1606"/>
                  </a:lnTo>
                  <a:lnTo>
                    <a:pt x="1299" y="1603"/>
                  </a:lnTo>
                  <a:lnTo>
                    <a:pt x="1303" y="1596"/>
                  </a:lnTo>
                  <a:lnTo>
                    <a:pt x="1301" y="1591"/>
                  </a:lnTo>
                  <a:lnTo>
                    <a:pt x="1303" y="1590"/>
                  </a:lnTo>
                  <a:lnTo>
                    <a:pt x="1306" y="1589"/>
                  </a:lnTo>
                  <a:lnTo>
                    <a:pt x="1307" y="1585"/>
                  </a:lnTo>
                  <a:lnTo>
                    <a:pt x="1306" y="1582"/>
                  </a:lnTo>
                  <a:lnTo>
                    <a:pt x="1304" y="1581"/>
                  </a:lnTo>
                  <a:lnTo>
                    <a:pt x="1302" y="1580"/>
                  </a:lnTo>
                  <a:lnTo>
                    <a:pt x="1303" y="1573"/>
                  </a:lnTo>
                  <a:lnTo>
                    <a:pt x="1302" y="1572"/>
                  </a:lnTo>
                  <a:lnTo>
                    <a:pt x="1301" y="1571"/>
                  </a:lnTo>
                  <a:lnTo>
                    <a:pt x="1301" y="1570"/>
                  </a:lnTo>
                  <a:lnTo>
                    <a:pt x="1305" y="1567"/>
                  </a:lnTo>
                  <a:lnTo>
                    <a:pt x="1305" y="1565"/>
                  </a:lnTo>
                  <a:lnTo>
                    <a:pt x="1305" y="1560"/>
                  </a:lnTo>
                  <a:lnTo>
                    <a:pt x="1306" y="1558"/>
                  </a:lnTo>
                  <a:lnTo>
                    <a:pt x="1307" y="1554"/>
                  </a:lnTo>
                  <a:lnTo>
                    <a:pt x="1309" y="1551"/>
                  </a:lnTo>
                  <a:lnTo>
                    <a:pt x="1310" y="1549"/>
                  </a:lnTo>
                  <a:lnTo>
                    <a:pt x="1318" y="1540"/>
                  </a:lnTo>
                  <a:lnTo>
                    <a:pt x="1320" y="1539"/>
                  </a:lnTo>
                  <a:lnTo>
                    <a:pt x="1325" y="1537"/>
                  </a:lnTo>
                  <a:lnTo>
                    <a:pt x="1328" y="1535"/>
                  </a:lnTo>
                  <a:lnTo>
                    <a:pt x="1329" y="1531"/>
                  </a:lnTo>
                  <a:lnTo>
                    <a:pt x="1327" y="1524"/>
                  </a:lnTo>
                  <a:lnTo>
                    <a:pt x="1323" y="1517"/>
                  </a:lnTo>
                  <a:lnTo>
                    <a:pt x="1315" y="1508"/>
                  </a:lnTo>
                  <a:lnTo>
                    <a:pt x="1315" y="1507"/>
                  </a:lnTo>
                  <a:lnTo>
                    <a:pt x="1316" y="1506"/>
                  </a:lnTo>
                  <a:lnTo>
                    <a:pt x="1317" y="1506"/>
                  </a:lnTo>
                  <a:lnTo>
                    <a:pt x="1315" y="1504"/>
                  </a:lnTo>
                  <a:lnTo>
                    <a:pt x="1315" y="1504"/>
                  </a:lnTo>
                  <a:lnTo>
                    <a:pt x="1315" y="1502"/>
                  </a:lnTo>
                  <a:lnTo>
                    <a:pt x="1315" y="1502"/>
                  </a:lnTo>
                  <a:lnTo>
                    <a:pt x="1315" y="1500"/>
                  </a:lnTo>
                  <a:lnTo>
                    <a:pt x="1314" y="1498"/>
                  </a:lnTo>
                  <a:lnTo>
                    <a:pt x="1313" y="1496"/>
                  </a:lnTo>
                  <a:lnTo>
                    <a:pt x="1313" y="1493"/>
                  </a:lnTo>
                  <a:lnTo>
                    <a:pt x="1312" y="1490"/>
                  </a:lnTo>
                  <a:lnTo>
                    <a:pt x="1311" y="1484"/>
                  </a:lnTo>
                  <a:lnTo>
                    <a:pt x="1310" y="1484"/>
                  </a:lnTo>
                  <a:lnTo>
                    <a:pt x="1307" y="1483"/>
                  </a:lnTo>
                  <a:lnTo>
                    <a:pt x="1307" y="1482"/>
                  </a:lnTo>
                  <a:lnTo>
                    <a:pt x="1308" y="1467"/>
                  </a:lnTo>
                  <a:lnTo>
                    <a:pt x="1308" y="1465"/>
                  </a:lnTo>
                  <a:lnTo>
                    <a:pt x="1308" y="1463"/>
                  </a:lnTo>
                  <a:lnTo>
                    <a:pt x="1309" y="1462"/>
                  </a:lnTo>
                  <a:lnTo>
                    <a:pt x="1310" y="1461"/>
                  </a:lnTo>
                  <a:lnTo>
                    <a:pt x="1310" y="1463"/>
                  </a:lnTo>
                  <a:lnTo>
                    <a:pt x="1310" y="1466"/>
                  </a:lnTo>
                  <a:lnTo>
                    <a:pt x="1310" y="1467"/>
                  </a:lnTo>
                  <a:lnTo>
                    <a:pt x="1313" y="1468"/>
                  </a:lnTo>
                  <a:lnTo>
                    <a:pt x="1317" y="1468"/>
                  </a:lnTo>
                  <a:lnTo>
                    <a:pt x="1320" y="1467"/>
                  </a:lnTo>
                  <a:lnTo>
                    <a:pt x="1322" y="1464"/>
                  </a:lnTo>
                  <a:lnTo>
                    <a:pt x="1323" y="1464"/>
                  </a:lnTo>
                  <a:lnTo>
                    <a:pt x="1324" y="1461"/>
                  </a:lnTo>
                  <a:lnTo>
                    <a:pt x="1324" y="1457"/>
                  </a:lnTo>
                  <a:lnTo>
                    <a:pt x="1324" y="1455"/>
                  </a:lnTo>
                  <a:lnTo>
                    <a:pt x="1325" y="1454"/>
                  </a:lnTo>
                  <a:lnTo>
                    <a:pt x="1328" y="1454"/>
                  </a:lnTo>
                  <a:lnTo>
                    <a:pt x="1330" y="1453"/>
                  </a:lnTo>
                  <a:lnTo>
                    <a:pt x="1343" y="1433"/>
                  </a:lnTo>
                  <a:lnTo>
                    <a:pt x="1362" y="1420"/>
                  </a:lnTo>
                  <a:lnTo>
                    <a:pt x="1363" y="1418"/>
                  </a:lnTo>
                  <a:lnTo>
                    <a:pt x="1367" y="1408"/>
                  </a:lnTo>
                  <a:lnTo>
                    <a:pt x="1369" y="1405"/>
                  </a:lnTo>
                  <a:lnTo>
                    <a:pt x="1371" y="1402"/>
                  </a:lnTo>
                  <a:lnTo>
                    <a:pt x="1374" y="1401"/>
                  </a:lnTo>
                  <a:lnTo>
                    <a:pt x="1380" y="1401"/>
                  </a:lnTo>
                  <a:lnTo>
                    <a:pt x="1383" y="1399"/>
                  </a:lnTo>
                  <a:lnTo>
                    <a:pt x="1389" y="1393"/>
                  </a:lnTo>
                  <a:lnTo>
                    <a:pt x="1392" y="1391"/>
                  </a:lnTo>
                  <a:lnTo>
                    <a:pt x="1388" y="1398"/>
                  </a:lnTo>
                  <a:lnTo>
                    <a:pt x="1383" y="1403"/>
                  </a:lnTo>
                  <a:lnTo>
                    <a:pt x="1377" y="1405"/>
                  </a:lnTo>
                  <a:lnTo>
                    <a:pt x="1372" y="1408"/>
                  </a:lnTo>
                  <a:lnTo>
                    <a:pt x="1370" y="1412"/>
                  </a:lnTo>
                  <a:lnTo>
                    <a:pt x="1364" y="1425"/>
                  </a:lnTo>
                  <a:lnTo>
                    <a:pt x="1363" y="1427"/>
                  </a:lnTo>
                  <a:lnTo>
                    <a:pt x="1356" y="1432"/>
                  </a:lnTo>
                  <a:lnTo>
                    <a:pt x="1347" y="1436"/>
                  </a:lnTo>
                  <a:lnTo>
                    <a:pt x="1329" y="1466"/>
                  </a:lnTo>
                  <a:lnTo>
                    <a:pt x="1325" y="1471"/>
                  </a:lnTo>
                  <a:lnTo>
                    <a:pt x="1327" y="1479"/>
                  </a:lnTo>
                  <a:lnTo>
                    <a:pt x="1328" y="1482"/>
                  </a:lnTo>
                  <a:lnTo>
                    <a:pt x="1327" y="1484"/>
                  </a:lnTo>
                  <a:lnTo>
                    <a:pt x="1326" y="1487"/>
                  </a:lnTo>
                  <a:lnTo>
                    <a:pt x="1325" y="1489"/>
                  </a:lnTo>
                  <a:lnTo>
                    <a:pt x="1325" y="1494"/>
                  </a:lnTo>
                  <a:lnTo>
                    <a:pt x="1325" y="1497"/>
                  </a:lnTo>
                  <a:lnTo>
                    <a:pt x="1326" y="1499"/>
                  </a:lnTo>
                  <a:lnTo>
                    <a:pt x="1327" y="1501"/>
                  </a:lnTo>
                  <a:lnTo>
                    <a:pt x="1328" y="1501"/>
                  </a:lnTo>
                  <a:lnTo>
                    <a:pt x="1329" y="1502"/>
                  </a:lnTo>
                  <a:lnTo>
                    <a:pt x="1330" y="1509"/>
                  </a:lnTo>
                  <a:lnTo>
                    <a:pt x="1332" y="1512"/>
                  </a:lnTo>
                  <a:lnTo>
                    <a:pt x="1337" y="1513"/>
                  </a:lnTo>
                  <a:lnTo>
                    <a:pt x="1344" y="1517"/>
                  </a:lnTo>
                  <a:lnTo>
                    <a:pt x="1347" y="1517"/>
                  </a:lnTo>
                  <a:lnTo>
                    <a:pt x="1346" y="1512"/>
                  </a:lnTo>
                  <a:lnTo>
                    <a:pt x="1344" y="1508"/>
                  </a:lnTo>
                  <a:lnTo>
                    <a:pt x="1341" y="1500"/>
                  </a:lnTo>
                  <a:lnTo>
                    <a:pt x="1345" y="1493"/>
                  </a:lnTo>
                  <a:lnTo>
                    <a:pt x="1346" y="1491"/>
                  </a:lnTo>
                  <a:lnTo>
                    <a:pt x="1346" y="1488"/>
                  </a:lnTo>
                  <a:lnTo>
                    <a:pt x="1347" y="1484"/>
                  </a:lnTo>
                  <a:lnTo>
                    <a:pt x="1349" y="1481"/>
                  </a:lnTo>
                  <a:lnTo>
                    <a:pt x="1350" y="1478"/>
                  </a:lnTo>
                  <a:lnTo>
                    <a:pt x="1350" y="1484"/>
                  </a:lnTo>
                  <a:lnTo>
                    <a:pt x="1352" y="1488"/>
                  </a:lnTo>
                  <a:lnTo>
                    <a:pt x="1362" y="1497"/>
                  </a:lnTo>
                  <a:lnTo>
                    <a:pt x="1365" y="1498"/>
                  </a:lnTo>
                  <a:lnTo>
                    <a:pt x="1367" y="1495"/>
                  </a:lnTo>
                  <a:lnTo>
                    <a:pt x="1365" y="1489"/>
                  </a:lnTo>
                  <a:lnTo>
                    <a:pt x="1359" y="1474"/>
                  </a:lnTo>
                  <a:lnTo>
                    <a:pt x="1357" y="1469"/>
                  </a:lnTo>
                  <a:lnTo>
                    <a:pt x="1359" y="1467"/>
                  </a:lnTo>
                  <a:lnTo>
                    <a:pt x="1361" y="1469"/>
                  </a:lnTo>
                  <a:lnTo>
                    <a:pt x="1361" y="1473"/>
                  </a:lnTo>
                  <a:lnTo>
                    <a:pt x="1368" y="1482"/>
                  </a:lnTo>
                  <a:lnTo>
                    <a:pt x="1368" y="1487"/>
                  </a:lnTo>
                  <a:lnTo>
                    <a:pt x="1370" y="1495"/>
                  </a:lnTo>
                  <a:lnTo>
                    <a:pt x="1372" y="1502"/>
                  </a:lnTo>
                  <a:lnTo>
                    <a:pt x="1375" y="1506"/>
                  </a:lnTo>
                  <a:lnTo>
                    <a:pt x="1380" y="1507"/>
                  </a:lnTo>
                  <a:lnTo>
                    <a:pt x="1382" y="1506"/>
                  </a:lnTo>
                  <a:lnTo>
                    <a:pt x="1384" y="1504"/>
                  </a:lnTo>
                  <a:lnTo>
                    <a:pt x="1386" y="1501"/>
                  </a:lnTo>
                  <a:lnTo>
                    <a:pt x="1386" y="1498"/>
                  </a:lnTo>
                  <a:lnTo>
                    <a:pt x="1387" y="1496"/>
                  </a:lnTo>
                  <a:lnTo>
                    <a:pt x="1387" y="1492"/>
                  </a:lnTo>
                  <a:lnTo>
                    <a:pt x="1389" y="1490"/>
                  </a:lnTo>
                  <a:lnTo>
                    <a:pt x="1391" y="1487"/>
                  </a:lnTo>
                  <a:lnTo>
                    <a:pt x="1392" y="1485"/>
                  </a:lnTo>
                  <a:lnTo>
                    <a:pt x="1393" y="1481"/>
                  </a:lnTo>
                  <a:lnTo>
                    <a:pt x="1392" y="1477"/>
                  </a:lnTo>
                  <a:lnTo>
                    <a:pt x="1390" y="1475"/>
                  </a:lnTo>
                  <a:lnTo>
                    <a:pt x="1388" y="1474"/>
                  </a:lnTo>
                  <a:lnTo>
                    <a:pt x="1386" y="1473"/>
                  </a:lnTo>
                  <a:lnTo>
                    <a:pt x="1386" y="1471"/>
                  </a:lnTo>
                  <a:lnTo>
                    <a:pt x="1389" y="1472"/>
                  </a:lnTo>
                  <a:lnTo>
                    <a:pt x="1392" y="1473"/>
                  </a:lnTo>
                  <a:lnTo>
                    <a:pt x="1394" y="1474"/>
                  </a:lnTo>
                  <a:lnTo>
                    <a:pt x="1396" y="1473"/>
                  </a:lnTo>
                  <a:lnTo>
                    <a:pt x="1395" y="1469"/>
                  </a:lnTo>
                  <a:lnTo>
                    <a:pt x="1395" y="1466"/>
                  </a:lnTo>
                  <a:lnTo>
                    <a:pt x="1395" y="1460"/>
                  </a:lnTo>
                  <a:lnTo>
                    <a:pt x="1394" y="1454"/>
                  </a:lnTo>
                  <a:lnTo>
                    <a:pt x="1395" y="1452"/>
                  </a:lnTo>
                  <a:lnTo>
                    <a:pt x="1397" y="1451"/>
                  </a:lnTo>
                  <a:lnTo>
                    <a:pt x="1397" y="1447"/>
                  </a:lnTo>
                  <a:lnTo>
                    <a:pt x="1396" y="1437"/>
                  </a:lnTo>
                  <a:lnTo>
                    <a:pt x="1393" y="1427"/>
                  </a:lnTo>
                  <a:lnTo>
                    <a:pt x="1392" y="1422"/>
                  </a:lnTo>
                  <a:lnTo>
                    <a:pt x="1394" y="1419"/>
                  </a:lnTo>
                  <a:lnTo>
                    <a:pt x="1396" y="1420"/>
                  </a:lnTo>
                  <a:lnTo>
                    <a:pt x="1397" y="1423"/>
                  </a:lnTo>
                  <a:lnTo>
                    <a:pt x="1398" y="1427"/>
                  </a:lnTo>
                  <a:lnTo>
                    <a:pt x="1398" y="1436"/>
                  </a:lnTo>
                  <a:lnTo>
                    <a:pt x="1399" y="1438"/>
                  </a:lnTo>
                  <a:lnTo>
                    <a:pt x="1402" y="1438"/>
                  </a:lnTo>
                  <a:lnTo>
                    <a:pt x="1405" y="1434"/>
                  </a:lnTo>
                  <a:lnTo>
                    <a:pt x="1414" y="1415"/>
                  </a:lnTo>
                  <a:lnTo>
                    <a:pt x="1416" y="1412"/>
                  </a:lnTo>
                  <a:lnTo>
                    <a:pt x="1418" y="1411"/>
                  </a:lnTo>
                  <a:lnTo>
                    <a:pt x="1419" y="1412"/>
                  </a:lnTo>
                  <a:lnTo>
                    <a:pt x="1418" y="1416"/>
                  </a:lnTo>
                  <a:lnTo>
                    <a:pt x="1407" y="1434"/>
                  </a:lnTo>
                  <a:lnTo>
                    <a:pt x="1400" y="1451"/>
                  </a:lnTo>
                  <a:lnTo>
                    <a:pt x="1400" y="1453"/>
                  </a:lnTo>
                  <a:lnTo>
                    <a:pt x="1400" y="1464"/>
                  </a:lnTo>
                  <a:lnTo>
                    <a:pt x="1401" y="1469"/>
                  </a:lnTo>
                  <a:lnTo>
                    <a:pt x="1402" y="1473"/>
                  </a:lnTo>
                  <a:lnTo>
                    <a:pt x="1406" y="1475"/>
                  </a:lnTo>
                  <a:lnTo>
                    <a:pt x="1410" y="1475"/>
                  </a:lnTo>
                  <a:lnTo>
                    <a:pt x="1413" y="1474"/>
                  </a:lnTo>
                  <a:lnTo>
                    <a:pt x="1414" y="1472"/>
                  </a:lnTo>
                  <a:lnTo>
                    <a:pt x="1412" y="1467"/>
                  </a:lnTo>
                  <a:lnTo>
                    <a:pt x="1405" y="1455"/>
                  </a:lnTo>
                  <a:lnTo>
                    <a:pt x="1404" y="1452"/>
                  </a:lnTo>
                  <a:lnTo>
                    <a:pt x="1404" y="1449"/>
                  </a:lnTo>
                  <a:lnTo>
                    <a:pt x="1405" y="1447"/>
                  </a:lnTo>
                  <a:lnTo>
                    <a:pt x="1407" y="1448"/>
                  </a:lnTo>
                  <a:lnTo>
                    <a:pt x="1407" y="1449"/>
                  </a:lnTo>
                  <a:lnTo>
                    <a:pt x="1409" y="1458"/>
                  </a:lnTo>
                  <a:lnTo>
                    <a:pt x="1411" y="1461"/>
                  </a:lnTo>
                  <a:lnTo>
                    <a:pt x="1413" y="1465"/>
                  </a:lnTo>
                  <a:lnTo>
                    <a:pt x="1416" y="1468"/>
                  </a:lnTo>
                  <a:lnTo>
                    <a:pt x="1423" y="1470"/>
                  </a:lnTo>
                  <a:lnTo>
                    <a:pt x="1431" y="1481"/>
                  </a:lnTo>
                  <a:lnTo>
                    <a:pt x="1438" y="1485"/>
                  </a:lnTo>
                  <a:lnTo>
                    <a:pt x="1444" y="1486"/>
                  </a:lnTo>
                  <a:lnTo>
                    <a:pt x="1461" y="1490"/>
                  </a:lnTo>
                  <a:lnTo>
                    <a:pt x="1457" y="1493"/>
                  </a:lnTo>
                  <a:lnTo>
                    <a:pt x="1431" y="1488"/>
                  </a:lnTo>
                  <a:lnTo>
                    <a:pt x="1428" y="1487"/>
                  </a:lnTo>
                  <a:lnTo>
                    <a:pt x="1426" y="1487"/>
                  </a:lnTo>
                  <a:lnTo>
                    <a:pt x="1423" y="1487"/>
                  </a:lnTo>
                  <a:lnTo>
                    <a:pt x="1413" y="1482"/>
                  </a:lnTo>
                  <a:lnTo>
                    <a:pt x="1411" y="1482"/>
                  </a:lnTo>
                  <a:lnTo>
                    <a:pt x="1408" y="1482"/>
                  </a:lnTo>
                  <a:lnTo>
                    <a:pt x="1403" y="1484"/>
                  </a:lnTo>
                  <a:lnTo>
                    <a:pt x="1399" y="1487"/>
                  </a:lnTo>
                  <a:lnTo>
                    <a:pt x="1397" y="1492"/>
                  </a:lnTo>
                  <a:lnTo>
                    <a:pt x="1396" y="1500"/>
                  </a:lnTo>
                  <a:lnTo>
                    <a:pt x="1397" y="1508"/>
                  </a:lnTo>
                  <a:lnTo>
                    <a:pt x="1397" y="1508"/>
                  </a:lnTo>
                  <a:lnTo>
                    <a:pt x="1398" y="1520"/>
                  </a:lnTo>
                  <a:lnTo>
                    <a:pt x="1398" y="1523"/>
                  </a:lnTo>
                  <a:lnTo>
                    <a:pt x="1399" y="1526"/>
                  </a:lnTo>
                  <a:lnTo>
                    <a:pt x="1400" y="1529"/>
                  </a:lnTo>
                  <a:lnTo>
                    <a:pt x="1401" y="1538"/>
                  </a:lnTo>
                  <a:lnTo>
                    <a:pt x="1399" y="1545"/>
                  </a:lnTo>
                  <a:lnTo>
                    <a:pt x="1392" y="1552"/>
                  </a:lnTo>
                  <a:lnTo>
                    <a:pt x="1395" y="1557"/>
                  </a:lnTo>
                  <a:lnTo>
                    <a:pt x="1400" y="1561"/>
                  </a:lnTo>
                  <a:lnTo>
                    <a:pt x="1409" y="1567"/>
                  </a:lnTo>
                  <a:lnTo>
                    <a:pt x="1409" y="1570"/>
                  </a:lnTo>
                  <a:lnTo>
                    <a:pt x="1408" y="1572"/>
                  </a:lnTo>
                  <a:lnTo>
                    <a:pt x="1409" y="1573"/>
                  </a:lnTo>
                  <a:lnTo>
                    <a:pt x="1415" y="1573"/>
                  </a:lnTo>
                  <a:lnTo>
                    <a:pt x="1423" y="1577"/>
                  </a:lnTo>
                  <a:lnTo>
                    <a:pt x="1428" y="1581"/>
                  </a:lnTo>
                  <a:lnTo>
                    <a:pt x="1431" y="1587"/>
                  </a:lnTo>
                  <a:lnTo>
                    <a:pt x="1432" y="1593"/>
                  </a:lnTo>
                  <a:lnTo>
                    <a:pt x="1432" y="1593"/>
                  </a:lnTo>
                  <a:lnTo>
                    <a:pt x="1429" y="1598"/>
                  </a:lnTo>
                  <a:lnTo>
                    <a:pt x="1434" y="1600"/>
                  </a:lnTo>
                  <a:lnTo>
                    <a:pt x="1438" y="1605"/>
                  </a:lnTo>
                  <a:lnTo>
                    <a:pt x="1440" y="1612"/>
                  </a:lnTo>
                  <a:lnTo>
                    <a:pt x="1438" y="1619"/>
                  </a:lnTo>
                  <a:lnTo>
                    <a:pt x="1435" y="1625"/>
                  </a:lnTo>
                  <a:lnTo>
                    <a:pt x="1424" y="1630"/>
                  </a:lnTo>
                  <a:lnTo>
                    <a:pt x="1419" y="1635"/>
                  </a:lnTo>
                  <a:lnTo>
                    <a:pt x="1417" y="1638"/>
                  </a:lnTo>
                  <a:lnTo>
                    <a:pt x="1416" y="1644"/>
                  </a:lnTo>
                  <a:lnTo>
                    <a:pt x="1415" y="1647"/>
                  </a:lnTo>
                  <a:lnTo>
                    <a:pt x="1414" y="1648"/>
                  </a:lnTo>
                  <a:lnTo>
                    <a:pt x="1411" y="1651"/>
                  </a:lnTo>
                  <a:lnTo>
                    <a:pt x="1406" y="1658"/>
                  </a:lnTo>
                  <a:lnTo>
                    <a:pt x="1405" y="1659"/>
                  </a:lnTo>
                  <a:lnTo>
                    <a:pt x="1404" y="1662"/>
                  </a:lnTo>
                  <a:lnTo>
                    <a:pt x="1405" y="1668"/>
                  </a:lnTo>
                  <a:lnTo>
                    <a:pt x="1405" y="1671"/>
                  </a:lnTo>
                  <a:lnTo>
                    <a:pt x="1404" y="1673"/>
                  </a:lnTo>
                  <a:lnTo>
                    <a:pt x="1401" y="1683"/>
                  </a:lnTo>
                  <a:lnTo>
                    <a:pt x="1400" y="1684"/>
                  </a:lnTo>
                  <a:lnTo>
                    <a:pt x="1400" y="1687"/>
                  </a:lnTo>
                  <a:lnTo>
                    <a:pt x="1400" y="1688"/>
                  </a:lnTo>
                  <a:lnTo>
                    <a:pt x="1398" y="1688"/>
                  </a:lnTo>
                  <a:lnTo>
                    <a:pt x="1398" y="1689"/>
                  </a:lnTo>
                  <a:lnTo>
                    <a:pt x="1387" y="1703"/>
                  </a:lnTo>
                  <a:lnTo>
                    <a:pt x="1381" y="1707"/>
                  </a:lnTo>
                  <a:lnTo>
                    <a:pt x="1378" y="1710"/>
                  </a:lnTo>
                  <a:lnTo>
                    <a:pt x="1377" y="1716"/>
                  </a:lnTo>
                  <a:lnTo>
                    <a:pt x="1376" y="1721"/>
                  </a:lnTo>
                  <a:lnTo>
                    <a:pt x="1375" y="1725"/>
                  </a:lnTo>
                  <a:lnTo>
                    <a:pt x="1372" y="1732"/>
                  </a:lnTo>
                  <a:lnTo>
                    <a:pt x="1372" y="1734"/>
                  </a:lnTo>
                  <a:lnTo>
                    <a:pt x="1371" y="1736"/>
                  </a:lnTo>
                  <a:lnTo>
                    <a:pt x="1371" y="1742"/>
                  </a:lnTo>
                  <a:lnTo>
                    <a:pt x="1372" y="1745"/>
                  </a:lnTo>
                  <a:lnTo>
                    <a:pt x="1374" y="1751"/>
                  </a:lnTo>
                  <a:lnTo>
                    <a:pt x="1374" y="1751"/>
                  </a:lnTo>
                  <a:lnTo>
                    <a:pt x="1374" y="1753"/>
                  </a:lnTo>
                  <a:lnTo>
                    <a:pt x="1375" y="1756"/>
                  </a:lnTo>
                  <a:lnTo>
                    <a:pt x="1381" y="1767"/>
                  </a:lnTo>
                  <a:lnTo>
                    <a:pt x="1381" y="1769"/>
                  </a:lnTo>
                  <a:lnTo>
                    <a:pt x="1380" y="1771"/>
                  </a:lnTo>
                  <a:lnTo>
                    <a:pt x="1380" y="1771"/>
                  </a:lnTo>
                  <a:lnTo>
                    <a:pt x="1377" y="1774"/>
                  </a:lnTo>
                  <a:lnTo>
                    <a:pt x="1374" y="1774"/>
                  </a:lnTo>
                  <a:lnTo>
                    <a:pt x="1372" y="1771"/>
                  </a:lnTo>
                  <a:lnTo>
                    <a:pt x="1369" y="1768"/>
                  </a:lnTo>
                  <a:lnTo>
                    <a:pt x="1369" y="1766"/>
                  </a:lnTo>
                  <a:lnTo>
                    <a:pt x="1369" y="1759"/>
                  </a:lnTo>
                  <a:lnTo>
                    <a:pt x="1369" y="1756"/>
                  </a:lnTo>
                  <a:lnTo>
                    <a:pt x="1368" y="1753"/>
                  </a:lnTo>
                  <a:lnTo>
                    <a:pt x="1367" y="1751"/>
                  </a:lnTo>
                  <a:lnTo>
                    <a:pt x="1364" y="1747"/>
                  </a:lnTo>
                  <a:lnTo>
                    <a:pt x="1364" y="1745"/>
                  </a:lnTo>
                  <a:lnTo>
                    <a:pt x="1362" y="1742"/>
                  </a:lnTo>
                  <a:lnTo>
                    <a:pt x="1361" y="1741"/>
                  </a:lnTo>
                  <a:lnTo>
                    <a:pt x="1360" y="1744"/>
                  </a:lnTo>
                  <a:lnTo>
                    <a:pt x="1359" y="1745"/>
                  </a:lnTo>
                  <a:lnTo>
                    <a:pt x="1358" y="1745"/>
                  </a:lnTo>
                  <a:lnTo>
                    <a:pt x="1354" y="1745"/>
                  </a:lnTo>
                  <a:lnTo>
                    <a:pt x="1352" y="1747"/>
                  </a:lnTo>
                  <a:lnTo>
                    <a:pt x="1351" y="1752"/>
                  </a:lnTo>
                  <a:lnTo>
                    <a:pt x="1350" y="1762"/>
                  </a:lnTo>
                  <a:lnTo>
                    <a:pt x="1351" y="1773"/>
                  </a:lnTo>
                  <a:lnTo>
                    <a:pt x="1354" y="1783"/>
                  </a:lnTo>
                  <a:lnTo>
                    <a:pt x="1359" y="1791"/>
                  </a:lnTo>
                  <a:lnTo>
                    <a:pt x="1374" y="1810"/>
                  </a:lnTo>
                  <a:lnTo>
                    <a:pt x="1377" y="1811"/>
                  </a:lnTo>
                  <a:lnTo>
                    <a:pt x="1378" y="1812"/>
                  </a:lnTo>
                  <a:lnTo>
                    <a:pt x="1379" y="1816"/>
                  </a:lnTo>
                  <a:lnTo>
                    <a:pt x="1380" y="1820"/>
                  </a:lnTo>
                  <a:lnTo>
                    <a:pt x="1381" y="1822"/>
                  </a:lnTo>
                  <a:lnTo>
                    <a:pt x="1382" y="1823"/>
                  </a:lnTo>
                  <a:lnTo>
                    <a:pt x="1383" y="1824"/>
                  </a:lnTo>
                  <a:lnTo>
                    <a:pt x="1386" y="1824"/>
                  </a:lnTo>
                  <a:lnTo>
                    <a:pt x="1386" y="1826"/>
                  </a:lnTo>
                  <a:lnTo>
                    <a:pt x="1386" y="1828"/>
                  </a:lnTo>
                  <a:lnTo>
                    <a:pt x="1386" y="1830"/>
                  </a:lnTo>
                  <a:lnTo>
                    <a:pt x="1387" y="1832"/>
                  </a:lnTo>
                  <a:lnTo>
                    <a:pt x="1386" y="1834"/>
                  </a:lnTo>
                  <a:lnTo>
                    <a:pt x="1385" y="1839"/>
                  </a:lnTo>
                  <a:lnTo>
                    <a:pt x="1386" y="1843"/>
                  </a:lnTo>
                  <a:lnTo>
                    <a:pt x="1388" y="1845"/>
                  </a:lnTo>
                  <a:lnTo>
                    <a:pt x="1391" y="1846"/>
                  </a:lnTo>
                  <a:lnTo>
                    <a:pt x="1398" y="1849"/>
                  </a:lnTo>
                  <a:lnTo>
                    <a:pt x="1402" y="1850"/>
                  </a:lnTo>
                  <a:lnTo>
                    <a:pt x="1399" y="1846"/>
                  </a:lnTo>
                  <a:lnTo>
                    <a:pt x="1399" y="1844"/>
                  </a:lnTo>
                  <a:lnTo>
                    <a:pt x="1399" y="1842"/>
                  </a:lnTo>
                  <a:lnTo>
                    <a:pt x="1400" y="1837"/>
                  </a:lnTo>
                  <a:lnTo>
                    <a:pt x="1400" y="1835"/>
                  </a:lnTo>
                  <a:lnTo>
                    <a:pt x="1396" y="1831"/>
                  </a:lnTo>
                  <a:lnTo>
                    <a:pt x="1393" y="1824"/>
                  </a:lnTo>
                  <a:lnTo>
                    <a:pt x="1391" y="1818"/>
                  </a:lnTo>
                  <a:lnTo>
                    <a:pt x="1390" y="1815"/>
                  </a:lnTo>
                  <a:lnTo>
                    <a:pt x="1388" y="1814"/>
                  </a:lnTo>
                  <a:lnTo>
                    <a:pt x="1387" y="1811"/>
                  </a:lnTo>
                  <a:lnTo>
                    <a:pt x="1387" y="1808"/>
                  </a:lnTo>
                  <a:lnTo>
                    <a:pt x="1386" y="1805"/>
                  </a:lnTo>
                  <a:lnTo>
                    <a:pt x="1386" y="1803"/>
                  </a:lnTo>
                  <a:lnTo>
                    <a:pt x="1386" y="1802"/>
                  </a:lnTo>
                  <a:lnTo>
                    <a:pt x="1387" y="1800"/>
                  </a:lnTo>
                  <a:lnTo>
                    <a:pt x="1388" y="1798"/>
                  </a:lnTo>
                  <a:lnTo>
                    <a:pt x="1391" y="1794"/>
                  </a:lnTo>
                  <a:lnTo>
                    <a:pt x="1394" y="1791"/>
                  </a:lnTo>
                  <a:lnTo>
                    <a:pt x="1397" y="1788"/>
                  </a:lnTo>
                  <a:lnTo>
                    <a:pt x="1402" y="1786"/>
                  </a:lnTo>
                  <a:lnTo>
                    <a:pt x="1407" y="1786"/>
                  </a:lnTo>
                  <a:lnTo>
                    <a:pt x="1411" y="1788"/>
                  </a:lnTo>
                  <a:lnTo>
                    <a:pt x="1414" y="1795"/>
                  </a:lnTo>
                  <a:lnTo>
                    <a:pt x="1417" y="1798"/>
                  </a:lnTo>
                  <a:lnTo>
                    <a:pt x="1424" y="1800"/>
                  </a:lnTo>
                  <a:lnTo>
                    <a:pt x="1443" y="1811"/>
                  </a:lnTo>
                  <a:lnTo>
                    <a:pt x="1448" y="1816"/>
                  </a:lnTo>
                  <a:lnTo>
                    <a:pt x="1457" y="1831"/>
                  </a:lnTo>
                  <a:lnTo>
                    <a:pt x="1459" y="1832"/>
                  </a:lnTo>
                  <a:lnTo>
                    <a:pt x="1465" y="1832"/>
                  </a:lnTo>
                  <a:lnTo>
                    <a:pt x="1466" y="1832"/>
                  </a:lnTo>
                  <a:lnTo>
                    <a:pt x="1470" y="1835"/>
                  </a:lnTo>
                  <a:lnTo>
                    <a:pt x="1473" y="1837"/>
                  </a:lnTo>
                  <a:lnTo>
                    <a:pt x="1477" y="1838"/>
                  </a:lnTo>
                  <a:lnTo>
                    <a:pt x="1479" y="1837"/>
                  </a:lnTo>
                  <a:lnTo>
                    <a:pt x="1480" y="1835"/>
                  </a:lnTo>
                  <a:lnTo>
                    <a:pt x="1480" y="1834"/>
                  </a:lnTo>
                  <a:lnTo>
                    <a:pt x="1481" y="1834"/>
                  </a:lnTo>
                  <a:lnTo>
                    <a:pt x="1482" y="1831"/>
                  </a:lnTo>
                  <a:lnTo>
                    <a:pt x="1482" y="1826"/>
                  </a:lnTo>
                  <a:lnTo>
                    <a:pt x="1481" y="1820"/>
                  </a:lnTo>
                  <a:lnTo>
                    <a:pt x="1483" y="1816"/>
                  </a:lnTo>
                  <a:lnTo>
                    <a:pt x="1481" y="1813"/>
                  </a:lnTo>
                  <a:lnTo>
                    <a:pt x="1482" y="1809"/>
                  </a:lnTo>
                  <a:lnTo>
                    <a:pt x="1483" y="1806"/>
                  </a:lnTo>
                  <a:lnTo>
                    <a:pt x="1483" y="1803"/>
                  </a:lnTo>
                  <a:lnTo>
                    <a:pt x="1481" y="1800"/>
                  </a:lnTo>
                  <a:lnTo>
                    <a:pt x="1479" y="1799"/>
                  </a:lnTo>
                  <a:lnTo>
                    <a:pt x="1476" y="1798"/>
                  </a:lnTo>
                  <a:lnTo>
                    <a:pt x="1474" y="1798"/>
                  </a:lnTo>
                  <a:lnTo>
                    <a:pt x="1473" y="1796"/>
                  </a:lnTo>
                  <a:lnTo>
                    <a:pt x="1471" y="1792"/>
                  </a:lnTo>
                  <a:lnTo>
                    <a:pt x="1470" y="1785"/>
                  </a:lnTo>
                  <a:lnTo>
                    <a:pt x="1470" y="1782"/>
                  </a:lnTo>
                  <a:lnTo>
                    <a:pt x="1471" y="1779"/>
                  </a:lnTo>
                  <a:lnTo>
                    <a:pt x="1473" y="1776"/>
                  </a:lnTo>
                  <a:lnTo>
                    <a:pt x="1474" y="1775"/>
                  </a:lnTo>
                  <a:lnTo>
                    <a:pt x="1476" y="1776"/>
                  </a:lnTo>
                  <a:lnTo>
                    <a:pt x="1477" y="1778"/>
                  </a:lnTo>
                  <a:lnTo>
                    <a:pt x="1478" y="1780"/>
                  </a:lnTo>
                  <a:lnTo>
                    <a:pt x="1480" y="1785"/>
                  </a:lnTo>
                  <a:lnTo>
                    <a:pt x="1481" y="1786"/>
                  </a:lnTo>
                  <a:lnTo>
                    <a:pt x="1483" y="1788"/>
                  </a:lnTo>
                  <a:lnTo>
                    <a:pt x="1495" y="1794"/>
                  </a:lnTo>
                  <a:lnTo>
                    <a:pt x="1497" y="1794"/>
                  </a:lnTo>
                  <a:lnTo>
                    <a:pt x="1500" y="1793"/>
                  </a:lnTo>
                  <a:lnTo>
                    <a:pt x="1504" y="1788"/>
                  </a:lnTo>
                  <a:lnTo>
                    <a:pt x="1506" y="1786"/>
                  </a:lnTo>
                  <a:lnTo>
                    <a:pt x="1505" y="1797"/>
                  </a:lnTo>
                  <a:lnTo>
                    <a:pt x="1510" y="1807"/>
                  </a:lnTo>
                  <a:lnTo>
                    <a:pt x="1518" y="1812"/>
                  </a:lnTo>
                  <a:lnTo>
                    <a:pt x="1524" y="1811"/>
                  </a:lnTo>
                  <a:lnTo>
                    <a:pt x="1523" y="1807"/>
                  </a:lnTo>
                  <a:lnTo>
                    <a:pt x="1524" y="1802"/>
                  </a:lnTo>
                  <a:lnTo>
                    <a:pt x="1525" y="1798"/>
                  </a:lnTo>
                  <a:lnTo>
                    <a:pt x="1528" y="1796"/>
                  </a:lnTo>
                  <a:lnTo>
                    <a:pt x="1528" y="1797"/>
                  </a:lnTo>
                  <a:lnTo>
                    <a:pt x="1530" y="1798"/>
                  </a:lnTo>
                  <a:lnTo>
                    <a:pt x="1530" y="1801"/>
                  </a:lnTo>
                  <a:lnTo>
                    <a:pt x="1529" y="1805"/>
                  </a:lnTo>
                  <a:lnTo>
                    <a:pt x="1530" y="1807"/>
                  </a:lnTo>
                  <a:lnTo>
                    <a:pt x="1530" y="1808"/>
                  </a:lnTo>
                  <a:lnTo>
                    <a:pt x="1529" y="1809"/>
                  </a:lnTo>
                  <a:lnTo>
                    <a:pt x="1529" y="1809"/>
                  </a:lnTo>
                  <a:lnTo>
                    <a:pt x="1529" y="1810"/>
                  </a:lnTo>
                  <a:lnTo>
                    <a:pt x="1530" y="1810"/>
                  </a:lnTo>
                  <a:lnTo>
                    <a:pt x="1530" y="1810"/>
                  </a:lnTo>
                  <a:lnTo>
                    <a:pt x="1531" y="1811"/>
                  </a:lnTo>
                  <a:lnTo>
                    <a:pt x="1531" y="1813"/>
                  </a:lnTo>
                  <a:lnTo>
                    <a:pt x="1536" y="1813"/>
                  </a:lnTo>
                  <a:lnTo>
                    <a:pt x="1544" y="1812"/>
                  </a:lnTo>
                  <a:lnTo>
                    <a:pt x="1556" y="1803"/>
                  </a:lnTo>
                  <a:lnTo>
                    <a:pt x="1564" y="1799"/>
                  </a:lnTo>
                  <a:lnTo>
                    <a:pt x="1566" y="1798"/>
                  </a:lnTo>
                  <a:lnTo>
                    <a:pt x="1560" y="1792"/>
                  </a:lnTo>
                  <a:lnTo>
                    <a:pt x="1563" y="1790"/>
                  </a:lnTo>
                  <a:lnTo>
                    <a:pt x="1563" y="1790"/>
                  </a:lnTo>
                  <a:lnTo>
                    <a:pt x="1563" y="1789"/>
                  </a:lnTo>
                  <a:lnTo>
                    <a:pt x="1563" y="1786"/>
                  </a:lnTo>
                  <a:lnTo>
                    <a:pt x="1565" y="1784"/>
                  </a:lnTo>
                  <a:lnTo>
                    <a:pt x="1567" y="1781"/>
                  </a:lnTo>
                  <a:lnTo>
                    <a:pt x="1568" y="1782"/>
                  </a:lnTo>
                  <a:lnTo>
                    <a:pt x="1568" y="1783"/>
                  </a:lnTo>
                  <a:lnTo>
                    <a:pt x="1568" y="1785"/>
                  </a:lnTo>
                  <a:lnTo>
                    <a:pt x="1567" y="1783"/>
                  </a:lnTo>
                  <a:lnTo>
                    <a:pt x="1566" y="1783"/>
                  </a:lnTo>
                  <a:lnTo>
                    <a:pt x="1564" y="1786"/>
                  </a:lnTo>
                  <a:lnTo>
                    <a:pt x="1565" y="1788"/>
                  </a:lnTo>
                  <a:lnTo>
                    <a:pt x="1566" y="1789"/>
                  </a:lnTo>
                  <a:lnTo>
                    <a:pt x="1568" y="1789"/>
                  </a:lnTo>
                  <a:lnTo>
                    <a:pt x="1569" y="1788"/>
                  </a:lnTo>
                  <a:lnTo>
                    <a:pt x="1568" y="1788"/>
                  </a:lnTo>
                  <a:lnTo>
                    <a:pt x="1568" y="1788"/>
                  </a:lnTo>
                  <a:lnTo>
                    <a:pt x="1568" y="1786"/>
                  </a:lnTo>
                  <a:lnTo>
                    <a:pt x="1579" y="1788"/>
                  </a:lnTo>
                  <a:lnTo>
                    <a:pt x="1583" y="1782"/>
                  </a:lnTo>
                  <a:lnTo>
                    <a:pt x="1587" y="1782"/>
                  </a:lnTo>
                  <a:lnTo>
                    <a:pt x="1602" y="1783"/>
                  </a:lnTo>
                  <a:lnTo>
                    <a:pt x="1604" y="1781"/>
                  </a:lnTo>
                  <a:lnTo>
                    <a:pt x="1606" y="1777"/>
                  </a:lnTo>
                  <a:lnTo>
                    <a:pt x="1606" y="1773"/>
                  </a:lnTo>
                  <a:lnTo>
                    <a:pt x="1606" y="1767"/>
                  </a:lnTo>
                  <a:lnTo>
                    <a:pt x="1605" y="1761"/>
                  </a:lnTo>
                  <a:lnTo>
                    <a:pt x="1604" y="1758"/>
                  </a:lnTo>
                  <a:lnTo>
                    <a:pt x="1606" y="1751"/>
                  </a:lnTo>
                  <a:lnTo>
                    <a:pt x="1611" y="1755"/>
                  </a:lnTo>
                  <a:lnTo>
                    <a:pt x="1613" y="1756"/>
                  </a:lnTo>
                  <a:lnTo>
                    <a:pt x="1616" y="1755"/>
                  </a:lnTo>
                  <a:lnTo>
                    <a:pt x="1615" y="1753"/>
                  </a:lnTo>
                  <a:lnTo>
                    <a:pt x="1615" y="1753"/>
                  </a:lnTo>
                  <a:lnTo>
                    <a:pt x="1615" y="1753"/>
                  </a:lnTo>
                  <a:lnTo>
                    <a:pt x="1615" y="1752"/>
                  </a:lnTo>
                  <a:lnTo>
                    <a:pt x="1617" y="1751"/>
                  </a:lnTo>
                  <a:lnTo>
                    <a:pt x="1619" y="1752"/>
                  </a:lnTo>
                  <a:lnTo>
                    <a:pt x="1622" y="1754"/>
                  </a:lnTo>
                  <a:lnTo>
                    <a:pt x="1624" y="1755"/>
                  </a:lnTo>
                  <a:lnTo>
                    <a:pt x="1675" y="1758"/>
                  </a:lnTo>
                  <a:lnTo>
                    <a:pt x="1689" y="1755"/>
                  </a:lnTo>
                  <a:lnTo>
                    <a:pt x="1689" y="1755"/>
                  </a:lnTo>
                  <a:lnTo>
                    <a:pt x="1689" y="1754"/>
                  </a:lnTo>
                  <a:lnTo>
                    <a:pt x="1693" y="1756"/>
                  </a:lnTo>
                  <a:lnTo>
                    <a:pt x="1693" y="1758"/>
                  </a:lnTo>
                  <a:lnTo>
                    <a:pt x="1690" y="1757"/>
                  </a:lnTo>
                  <a:lnTo>
                    <a:pt x="1688" y="1758"/>
                  </a:lnTo>
                  <a:lnTo>
                    <a:pt x="1685" y="1760"/>
                  </a:lnTo>
                  <a:lnTo>
                    <a:pt x="1682" y="1760"/>
                  </a:lnTo>
                  <a:lnTo>
                    <a:pt x="1682" y="1762"/>
                  </a:lnTo>
                  <a:lnTo>
                    <a:pt x="1693" y="1762"/>
                  </a:lnTo>
                  <a:lnTo>
                    <a:pt x="1690" y="1764"/>
                  </a:lnTo>
                  <a:lnTo>
                    <a:pt x="1677" y="1768"/>
                  </a:lnTo>
                  <a:lnTo>
                    <a:pt x="1674" y="1768"/>
                  </a:lnTo>
                  <a:lnTo>
                    <a:pt x="1668" y="1766"/>
                  </a:lnTo>
                  <a:lnTo>
                    <a:pt x="1667" y="1765"/>
                  </a:lnTo>
                  <a:lnTo>
                    <a:pt x="1666" y="1764"/>
                  </a:lnTo>
                  <a:lnTo>
                    <a:pt x="1665" y="1763"/>
                  </a:lnTo>
                  <a:lnTo>
                    <a:pt x="1663" y="1762"/>
                  </a:lnTo>
                  <a:lnTo>
                    <a:pt x="1653" y="1765"/>
                  </a:lnTo>
                  <a:lnTo>
                    <a:pt x="1650" y="1767"/>
                  </a:lnTo>
                  <a:lnTo>
                    <a:pt x="1646" y="1771"/>
                  </a:lnTo>
                  <a:lnTo>
                    <a:pt x="1654" y="1776"/>
                  </a:lnTo>
                  <a:lnTo>
                    <a:pt x="1656" y="1777"/>
                  </a:lnTo>
                  <a:lnTo>
                    <a:pt x="1650" y="1780"/>
                  </a:lnTo>
                  <a:lnTo>
                    <a:pt x="1648" y="1781"/>
                  </a:lnTo>
                  <a:lnTo>
                    <a:pt x="1645" y="1780"/>
                  </a:lnTo>
                  <a:lnTo>
                    <a:pt x="1644" y="1778"/>
                  </a:lnTo>
                  <a:lnTo>
                    <a:pt x="1642" y="1776"/>
                  </a:lnTo>
                  <a:lnTo>
                    <a:pt x="1639" y="1777"/>
                  </a:lnTo>
                  <a:lnTo>
                    <a:pt x="1635" y="1782"/>
                  </a:lnTo>
                  <a:lnTo>
                    <a:pt x="1632" y="1789"/>
                  </a:lnTo>
                  <a:lnTo>
                    <a:pt x="1627" y="1805"/>
                  </a:lnTo>
                  <a:lnTo>
                    <a:pt x="1628" y="1810"/>
                  </a:lnTo>
                  <a:lnTo>
                    <a:pt x="1627" y="1815"/>
                  </a:lnTo>
                  <a:lnTo>
                    <a:pt x="1624" y="1820"/>
                  </a:lnTo>
                  <a:lnTo>
                    <a:pt x="1622" y="1822"/>
                  </a:lnTo>
                  <a:lnTo>
                    <a:pt x="1621" y="1824"/>
                  </a:lnTo>
                  <a:lnTo>
                    <a:pt x="1617" y="1825"/>
                  </a:lnTo>
                  <a:lnTo>
                    <a:pt x="1616" y="1826"/>
                  </a:lnTo>
                  <a:lnTo>
                    <a:pt x="1615" y="1829"/>
                  </a:lnTo>
                  <a:lnTo>
                    <a:pt x="1612" y="1835"/>
                  </a:lnTo>
                  <a:lnTo>
                    <a:pt x="1607" y="1848"/>
                  </a:lnTo>
                  <a:lnTo>
                    <a:pt x="1603" y="1869"/>
                  </a:lnTo>
                  <a:lnTo>
                    <a:pt x="1599" y="1878"/>
                  </a:lnTo>
                  <a:lnTo>
                    <a:pt x="1599" y="1879"/>
                  </a:lnTo>
                  <a:lnTo>
                    <a:pt x="1597" y="1881"/>
                  </a:lnTo>
                  <a:lnTo>
                    <a:pt x="1596" y="1883"/>
                  </a:lnTo>
                  <a:lnTo>
                    <a:pt x="1597" y="1885"/>
                  </a:lnTo>
                  <a:lnTo>
                    <a:pt x="1599" y="1889"/>
                  </a:lnTo>
                  <a:lnTo>
                    <a:pt x="1600" y="1890"/>
                  </a:lnTo>
                  <a:lnTo>
                    <a:pt x="1602" y="1891"/>
                  </a:lnTo>
                  <a:lnTo>
                    <a:pt x="1617" y="1912"/>
                  </a:lnTo>
                  <a:lnTo>
                    <a:pt x="1621" y="1916"/>
                  </a:lnTo>
                  <a:lnTo>
                    <a:pt x="1627" y="1927"/>
                  </a:lnTo>
                  <a:lnTo>
                    <a:pt x="1630" y="1929"/>
                  </a:lnTo>
                  <a:lnTo>
                    <a:pt x="1631" y="1929"/>
                  </a:lnTo>
                  <a:lnTo>
                    <a:pt x="1631" y="1932"/>
                  </a:lnTo>
                  <a:lnTo>
                    <a:pt x="1632" y="1936"/>
                  </a:lnTo>
                  <a:lnTo>
                    <a:pt x="1632" y="1938"/>
                  </a:lnTo>
                  <a:lnTo>
                    <a:pt x="1631" y="1941"/>
                  </a:lnTo>
                  <a:lnTo>
                    <a:pt x="1631" y="1943"/>
                  </a:lnTo>
                  <a:lnTo>
                    <a:pt x="1632" y="1947"/>
                  </a:lnTo>
                  <a:lnTo>
                    <a:pt x="1634" y="1951"/>
                  </a:lnTo>
                  <a:lnTo>
                    <a:pt x="1639" y="1957"/>
                  </a:lnTo>
                  <a:lnTo>
                    <a:pt x="1644" y="1967"/>
                  </a:lnTo>
                  <a:lnTo>
                    <a:pt x="1648" y="1971"/>
                  </a:lnTo>
                  <a:lnTo>
                    <a:pt x="1651" y="1969"/>
                  </a:lnTo>
                  <a:lnTo>
                    <a:pt x="1654" y="1968"/>
                  </a:lnTo>
                  <a:lnTo>
                    <a:pt x="1657" y="1969"/>
                  </a:lnTo>
                  <a:lnTo>
                    <a:pt x="1660" y="1967"/>
                  </a:lnTo>
                  <a:lnTo>
                    <a:pt x="1658" y="1962"/>
                  </a:lnTo>
                  <a:lnTo>
                    <a:pt x="1660" y="1955"/>
                  </a:lnTo>
                  <a:lnTo>
                    <a:pt x="1661" y="1952"/>
                  </a:lnTo>
                  <a:lnTo>
                    <a:pt x="1664" y="1951"/>
                  </a:lnTo>
                  <a:lnTo>
                    <a:pt x="1663" y="1956"/>
                  </a:lnTo>
                  <a:lnTo>
                    <a:pt x="1664" y="1966"/>
                  </a:lnTo>
                  <a:lnTo>
                    <a:pt x="1662" y="1974"/>
                  </a:lnTo>
                  <a:lnTo>
                    <a:pt x="1657" y="1975"/>
                  </a:lnTo>
                  <a:lnTo>
                    <a:pt x="1657" y="1977"/>
                  </a:lnTo>
                  <a:lnTo>
                    <a:pt x="1660" y="1979"/>
                  </a:lnTo>
                  <a:lnTo>
                    <a:pt x="1660" y="1983"/>
                  </a:lnTo>
                  <a:lnTo>
                    <a:pt x="1659" y="1988"/>
                  </a:lnTo>
                  <a:lnTo>
                    <a:pt x="1658" y="1992"/>
                  </a:lnTo>
                  <a:lnTo>
                    <a:pt x="1660" y="1994"/>
                  </a:lnTo>
                  <a:lnTo>
                    <a:pt x="1662" y="1995"/>
                  </a:lnTo>
                  <a:lnTo>
                    <a:pt x="1664" y="1996"/>
                  </a:lnTo>
                  <a:lnTo>
                    <a:pt x="1666" y="1996"/>
                  </a:lnTo>
                  <a:lnTo>
                    <a:pt x="1668" y="1997"/>
                  </a:lnTo>
                  <a:lnTo>
                    <a:pt x="1673" y="2005"/>
                  </a:lnTo>
                  <a:lnTo>
                    <a:pt x="1674" y="2002"/>
                  </a:lnTo>
                  <a:lnTo>
                    <a:pt x="1673" y="1998"/>
                  </a:lnTo>
                  <a:lnTo>
                    <a:pt x="1673" y="1995"/>
                  </a:lnTo>
                  <a:lnTo>
                    <a:pt x="1678" y="1993"/>
                  </a:lnTo>
                  <a:lnTo>
                    <a:pt x="1679" y="1990"/>
                  </a:lnTo>
                  <a:lnTo>
                    <a:pt x="1682" y="1985"/>
                  </a:lnTo>
                  <a:lnTo>
                    <a:pt x="1687" y="1978"/>
                  </a:lnTo>
                  <a:lnTo>
                    <a:pt x="1687" y="1976"/>
                  </a:lnTo>
                  <a:lnTo>
                    <a:pt x="1688" y="1973"/>
                  </a:lnTo>
                  <a:lnTo>
                    <a:pt x="1689" y="1970"/>
                  </a:lnTo>
                  <a:lnTo>
                    <a:pt x="1689" y="1966"/>
                  </a:lnTo>
                  <a:lnTo>
                    <a:pt x="1689" y="1962"/>
                  </a:lnTo>
                  <a:lnTo>
                    <a:pt x="1691" y="1961"/>
                  </a:lnTo>
                  <a:lnTo>
                    <a:pt x="1693" y="1962"/>
                  </a:lnTo>
                  <a:lnTo>
                    <a:pt x="1694" y="1965"/>
                  </a:lnTo>
                  <a:lnTo>
                    <a:pt x="1695" y="1968"/>
                  </a:lnTo>
                  <a:lnTo>
                    <a:pt x="1694" y="1971"/>
                  </a:lnTo>
                  <a:lnTo>
                    <a:pt x="1695" y="1975"/>
                  </a:lnTo>
                  <a:lnTo>
                    <a:pt x="1697" y="1979"/>
                  </a:lnTo>
                  <a:lnTo>
                    <a:pt x="1699" y="1981"/>
                  </a:lnTo>
                  <a:lnTo>
                    <a:pt x="1706" y="1980"/>
                  </a:lnTo>
                  <a:lnTo>
                    <a:pt x="1709" y="1978"/>
                  </a:lnTo>
                  <a:lnTo>
                    <a:pt x="1710" y="1974"/>
                  </a:lnTo>
                  <a:lnTo>
                    <a:pt x="1712" y="1971"/>
                  </a:lnTo>
                  <a:lnTo>
                    <a:pt x="1715" y="1969"/>
                  </a:lnTo>
                  <a:lnTo>
                    <a:pt x="1720" y="1966"/>
                  </a:lnTo>
                  <a:lnTo>
                    <a:pt x="1725" y="1962"/>
                  </a:lnTo>
                  <a:lnTo>
                    <a:pt x="1727" y="1959"/>
                  </a:lnTo>
                  <a:lnTo>
                    <a:pt x="1728" y="1955"/>
                  </a:lnTo>
                  <a:lnTo>
                    <a:pt x="1729" y="1955"/>
                  </a:lnTo>
                  <a:lnTo>
                    <a:pt x="1729" y="1960"/>
                  </a:lnTo>
                  <a:lnTo>
                    <a:pt x="1727" y="1965"/>
                  </a:lnTo>
                  <a:lnTo>
                    <a:pt x="1723" y="1968"/>
                  </a:lnTo>
                  <a:lnTo>
                    <a:pt x="1720" y="1970"/>
                  </a:lnTo>
                  <a:lnTo>
                    <a:pt x="1720" y="1972"/>
                  </a:lnTo>
                  <a:lnTo>
                    <a:pt x="1722" y="1977"/>
                  </a:lnTo>
                  <a:lnTo>
                    <a:pt x="1726" y="1985"/>
                  </a:lnTo>
                  <a:lnTo>
                    <a:pt x="1729" y="1988"/>
                  </a:lnTo>
                  <a:lnTo>
                    <a:pt x="1726" y="1996"/>
                  </a:lnTo>
                  <a:lnTo>
                    <a:pt x="1724" y="1998"/>
                  </a:lnTo>
                  <a:lnTo>
                    <a:pt x="1719" y="2000"/>
                  </a:lnTo>
                  <a:lnTo>
                    <a:pt x="1717" y="2003"/>
                  </a:lnTo>
                  <a:lnTo>
                    <a:pt x="1714" y="2009"/>
                  </a:lnTo>
                  <a:lnTo>
                    <a:pt x="1712" y="2010"/>
                  </a:lnTo>
                  <a:lnTo>
                    <a:pt x="1710" y="2011"/>
                  </a:lnTo>
                  <a:lnTo>
                    <a:pt x="1710" y="2013"/>
                  </a:lnTo>
                  <a:lnTo>
                    <a:pt x="1710" y="2015"/>
                  </a:lnTo>
                  <a:lnTo>
                    <a:pt x="1712" y="2021"/>
                  </a:lnTo>
                  <a:lnTo>
                    <a:pt x="1713" y="2022"/>
                  </a:lnTo>
                  <a:lnTo>
                    <a:pt x="1718" y="2021"/>
                  </a:lnTo>
                  <a:lnTo>
                    <a:pt x="1721" y="2020"/>
                  </a:lnTo>
                  <a:lnTo>
                    <a:pt x="1724" y="2018"/>
                  </a:lnTo>
                  <a:lnTo>
                    <a:pt x="1723" y="2022"/>
                  </a:lnTo>
                  <a:lnTo>
                    <a:pt x="1717" y="2028"/>
                  </a:lnTo>
                  <a:lnTo>
                    <a:pt x="1719" y="2031"/>
                  </a:lnTo>
                  <a:lnTo>
                    <a:pt x="1718" y="2031"/>
                  </a:lnTo>
                  <a:lnTo>
                    <a:pt x="1716" y="2033"/>
                  </a:lnTo>
                  <a:lnTo>
                    <a:pt x="1715" y="2034"/>
                  </a:lnTo>
                  <a:lnTo>
                    <a:pt x="1715" y="2035"/>
                  </a:lnTo>
                  <a:lnTo>
                    <a:pt x="1714" y="2037"/>
                  </a:lnTo>
                  <a:lnTo>
                    <a:pt x="1713" y="2036"/>
                  </a:lnTo>
                  <a:lnTo>
                    <a:pt x="1711" y="2035"/>
                  </a:lnTo>
                  <a:lnTo>
                    <a:pt x="1708" y="2035"/>
                  </a:lnTo>
                  <a:lnTo>
                    <a:pt x="1694" y="2040"/>
                  </a:lnTo>
                  <a:lnTo>
                    <a:pt x="1690" y="2043"/>
                  </a:lnTo>
                  <a:lnTo>
                    <a:pt x="1687" y="2048"/>
                  </a:lnTo>
                  <a:lnTo>
                    <a:pt x="1689" y="2055"/>
                  </a:lnTo>
                  <a:lnTo>
                    <a:pt x="1688" y="2075"/>
                  </a:lnTo>
                  <a:lnTo>
                    <a:pt x="1689" y="2084"/>
                  </a:lnTo>
                  <a:lnTo>
                    <a:pt x="1693" y="2090"/>
                  </a:lnTo>
                  <a:lnTo>
                    <a:pt x="1699" y="2093"/>
                  </a:lnTo>
                  <a:lnTo>
                    <a:pt x="1713" y="2093"/>
                  </a:lnTo>
                  <a:lnTo>
                    <a:pt x="1710" y="2096"/>
                  </a:lnTo>
                  <a:lnTo>
                    <a:pt x="1704" y="2101"/>
                  </a:lnTo>
                  <a:lnTo>
                    <a:pt x="1703" y="2103"/>
                  </a:lnTo>
                  <a:lnTo>
                    <a:pt x="1701" y="2104"/>
                  </a:lnTo>
                  <a:lnTo>
                    <a:pt x="1693" y="2115"/>
                  </a:lnTo>
                  <a:lnTo>
                    <a:pt x="1683" y="2133"/>
                  </a:lnTo>
                  <a:lnTo>
                    <a:pt x="1681" y="2137"/>
                  </a:lnTo>
                  <a:lnTo>
                    <a:pt x="1680" y="2141"/>
                  </a:lnTo>
                  <a:lnTo>
                    <a:pt x="1681" y="2144"/>
                  </a:lnTo>
                  <a:lnTo>
                    <a:pt x="1700" y="2185"/>
                  </a:lnTo>
                  <a:lnTo>
                    <a:pt x="1703" y="2191"/>
                  </a:lnTo>
                  <a:lnTo>
                    <a:pt x="1708" y="2196"/>
                  </a:lnTo>
                  <a:lnTo>
                    <a:pt x="1715" y="2200"/>
                  </a:lnTo>
                  <a:lnTo>
                    <a:pt x="1721" y="2203"/>
                  </a:lnTo>
                  <a:lnTo>
                    <a:pt x="1727" y="2203"/>
                  </a:lnTo>
                  <a:lnTo>
                    <a:pt x="1728" y="2204"/>
                  </a:lnTo>
                  <a:lnTo>
                    <a:pt x="1731" y="2202"/>
                  </a:lnTo>
                  <a:lnTo>
                    <a:pt x="1732" y="2198"/>
                  </a:lnTo>
                  <a:lnTo>
                    <a:pt x="1734" y="2197"/>
                  </a:lnTo>
                  <a:lnTo>
                    <a:pt x="1742" y="2195"/>
                  </a:lnTo>
                  <a:lnTo>
                    <a:pt x="1744" y="2196"/>
                  </a:lnTo>
                  <a:lnTo>
                    <a:pt x="1743" y="2197"/>
                  </a:lnTo>
                  <a:lnTo>
                    <a:pt x="1741" y="2198"/>
                  </a:lnTo>
                  <a:lnTo>
                    <a:pt x="1740" y="2198"/>
                  </a:lnTo>
                  <a:lnTo>
                    <a:pt x="1739" y="2197"/>
                  </a:lnTo>
                  <a:lnTo>
                    <a:pt x="1737" y="2199"/>
                  </a:lnTo>
                  <a:lnTo>
                    <a:pt x="1736" y="2201"/>
                  </a:lnTo>
                  <a:lnTo>
                    <a:pt x="1736" y="2203"/>
                  </a:lnTo>
                  <a:lnTo>
                    <a:pt x="1736" y="2207"/>
                  </a:lnTo>
                  <a:lnTo>
                    <a:pt x="1732" y="2209"/>
                  </a:lnTo>
                  <a:lnTo>
                    <a:pt x="1730" y="2210"/>
                  </a:lnTo>
                  <a:lnTo>
                    <a:pt x="1727" y="2210"/>
                  </a:lnTo>
                  <a:lnTo>
                    <a:pt x="1726" y="2210"/>
                  </a:lnTo>
                  <a:lnTo>
                    <a:pt x="1724" y="2209"/>
                  </a:lnTo>
                  <a:lnTo>
                    <a:pt x="1722" y="2209"/>
                  </a:lnTo>
                  <a:lnTo>
                    <a:pt x="1721" y="2209"/>
                  </a:lnTo>
                  <a:lnTo>
                    <a:pt x="1720" y="2211"/>
                  </a:lnTo>
                  <a:lnTo>
                    <a:pt x="1720" y="2211"/>
                  </a:lnTo>
                  <a:lnTo>
                    <a:pt x="1720" y="2212"/>
                  </a:lnTo>
                  <a:lnTo>
                    <a:pt x="1715" y="2212"/>
                  </a:lnTo>
                  <a:lnTo>
                    <a:pt x="1711" y="2210"/>
                  </a:lnTo>
                  <a:lnTo>
                    <a:pt x="1707" y="2207"/>
                  </a:lnTo>
                  <a:lnTo>
                    <a:pt x="1704" y="2203"/>
                  </a:lnTo>
                  <a:lnTo>
                    <a:pt x="1695" y="2178"/>
                  </a:lnTo>
                  <a:lnTo>
                    <a:pt x="1691" y="2174"/>
                  </a:lnTo>
                  <a:lnTo>
                    <a:pt x="1687" y="2173"/>
                  </a:lnTo>
                  <a:lnTo>
                    <a:pt x="1681" y="2178"/>
                  </a:lnTo>
                  <a:lnTo>
                    <a:pt x="1678" y="2179"/>
                  </a:lnTo>
                  <a:lnTo>
                    <a:pt x="1671" y="2180"/>
                  </a:lnTo>
                  <a:lnTo>
                    <a:pt x="1669" y="2182"/>
                  </a:lnTo>
                  <a:lnTo>
                    <a:pt x="1667" y="2185"/>
                  </a:lnTo>
                  <a:lnTo>
                    <a:pt x="1667" y="2189"/>
                  </a:lnTo>
                  <a:lnTo>
                    <a:pt x="1669" y="2193"/>
                  </a:lnTo>
                  <a:lnTo>
                    <a:pt x="1675" y="2200"/>
                  </a:lnTo>
                  <a:lnTo>
                    <a:pt x="1679" y="2209"/>
                  </a:lnTo>
                  <a:lnTo>
                    <a:pt x="1681" y="2213"/>
                  </a:lnTo>
                  <a:lnTo>
                    <a:pt x="1683" y="2216"/>
                  </a:lnTo>
                  <a:lnTo>
                    <a:pt x="1683" y="2225"/>
                  </a:lnTo>
                  <a:lnTo>
                    <a:pt x="1683" y="2226"/>
                  </a:lnTo>
                  <a:lnTo>
                    <a:pt x="1681" y="2225"/>
                  </a:lnTo>
                  <a:lnTo>
                    <a:pt x="1679" y="2222"/>
                  </a:lnTo>
                  <a:lnTo>
                    <a:pt x="1677" y="2219"/>
                  </a:lnTo>
                  <a:lnTo>
                    <a:pt x="1657" y="2206"/>
                  </a:lnTo>
                  <a:lnTo>
                    <a:pt x="1655" y="2204"/>
                  </a:lnTo>
                  <a:lnTo>
                    <a:pt x="1653" y="2201"/>
                  </a:lnTo>
                  <a:lnTo>
                    <a:pt x="1650" y="2199"/>
                  </a:lnTo>
                  <a:lnTo>
                    <a:pt x="1644" y="2196"/>
                  </a:lnTo>
                  <a:lnTo>
                    <a:pt x="1637" y="2196"/>
                  </a:lnTo>
                  <a:lnTo>
                    <a:pt x="1607" y="2211"/>
                  </a:lnTo>
                  <a:lnTo>
                    <a:pt x="1601" y="2212"/>
                  </a:lnTo>
                  <a:lnTo>
                    <a:pt x="1583" y="2213"/>
                  </a:lnTo>
                  <a:lnTo>
                    <a:pt x="1580" y="2211"/>
                  </a:lnTo>
                  <a:lnTo>
                    <a:pt x="1578" y="2207"/>
                  </a:lnTo>
                  <a:lnTo>
                    <a:pt x="1574" y="2204"/>
                  </a:lnTo>
                  <a:lnTo>
                    <a:pt x="1571" y="2203"/>
                  </a:lnTo>
                  <a:lnTo>
                    <a:pt x="1568" y="2205"/>
                  </a:lnTo>
                  <a:lnTo>
                    <a:pt x="1566" y="2202"/>
                  </a:lnTo>
                  <a:lnTo>
                    <a:pt x="1563" y="2201"/>
                  </a:lnTo>
                  <a:lnTo>
                    <a:pt x="1560" y="2200"/>
                  </a:lnTo>
                  <a:lnTo>
                    <a:pt x="1557" y="2199"/>
                  </a:lnTo>
                  <a:lnTo>
                    <a:pt x="1558" y="2202"/>
                  </a:lnTo>
                  <a:lnTo>
                    <a:pt x="1563" y="2207"/>
                  </a:lnTo>
                  <a:lnTo>
                    <a:pt x="1564" y="2212"/>
                  </a:lnTo>
                  <a:lnTo>
                    <a:pt x="1559" y="2212"/>
                  </a:lnTo>
                  <a:lnTo>
                    <a:pt x="1542" y="2219"/>
                  </a:lnTo>
                  <a:lnTo>
                    <a:pt x="1536" y="2224"/>
                  </a:lnTo>
                  <a:lnTo>
                    <a:pt x="1533" y="2225"/>
                  </a:lnTo>
                  <a:lnTo>
                    <a:pt x="1529" y="2227"/>
                  </a:lnTo>
                  <a:lnTo>
                    <a:pt x="1527" y="2228"/>
                  </a:lnTo>
                  <a:lnTo>
                    <a:pt x="1526" y="2228"/>
                  </a:lnTo>
                  <a:lnTo>
                    <a:pt x="1525" y="2227"/>
                  </a:lnTo>
                  <a:lnTo>
                    <a:pt x="1523" y="2226"/>
                  </a:lnTo>
                  <a:lnTo>
                    <a:pt x="1518" y="2227"/>
                  </a:lnTo>
                  <a:lnTo>
                    <a:pt x="1514" y="2228"/>
                  </a:lnTo>
                  <a:lnTo>
                    <a:pt x="1509" y="2231"/>
                  </a:lnTo>
                  <a:lnTo>
                    <a:pt x="1506" y="2235"/>
                  </a:lnTo>
                  <a:lnTo>
                    <a:pt x="1503" y="2242"/>
                  </a:lnTo>
                  <a:lnTo>
                    <a:pt x="1500" y="2245"/>
                  </a:lnTo>
                  <a:lnTo>
                    <a:pt x="1498" y="2246"/>
                  </a:lnTo>
                  <a:lnTo>
                    <a:pt x="1496" y="2248"/>
                  </a:lnTo>
                  <a:lnTo>
                    <a:pt x="1490" y="2255"/>
                  </a:lnTo>
                  <a:lnTo>
                    <a:pt x="1489" y="2257"/>
                  </a:lnTo>
                  <a:lnTo>
                    <a:pt x="1488" y="2260"/>
                  </a:lnTo>
                  <a:lnTo>
                    <a:pt x="1487" y="2262"/>
                  </a:lnTo>
                  <a:lnTo>
                    <a:pt x="1486" y="2260"/>
                  </a:lnTo>
                  <a:lnTo>
                    <a:pt x="1486" y="2258"/>
                  </a:lnTo>
                  <a:lnTo>
                    <a:pt x="1485" y="2258"/>
                  </a:lnTo>
                  <a:lnTo>
                    <a:pt x="1484" y="2259"/>
                  </a:lnTo>
                  <a:lnTo>
                    <a:pt x="1483" y="2262"/>
                  </a:lnTo>
                  <a:lnTo>
                    <a:pt x="1483" y="2273"/>
                  </a:lnTo>
                  <a:lnTo>
                    <a:pt x="1482" y="2278"/>
                  </a:lnTo>
                  <a:lnTo>
                    <a:pt x="1481" y="2281"/>
                  </a:lnTo>
                  <a:lnTo>
                    <a:pt x="1470" y="2288"/>
                  </a:lnTo>
                  <a:lnTo>
                    <a:pt x="1467" y="2293"/>
                  </a:lnTo>
                  <a:lnTo>
                    <a:pt x="1455" y="2303"/>
                  </a:lnTo>
                  <a:lnTo>
                    <a:pt x="1451" y="2305"/>
                  </a:lnTo>
                  <a:lnTo>
                    <a:pt x="1449" y="2306"/>
                  </a:lnTo>
                  <a:lnTo>
                    <a:pt x="1446" y="2306"/>
                  </a:lnTo>
                  <a:lnTo>
                    <a:pt x="1443" y="2307"/>
                  </a:lnTo>
                  <a:lnTo>
                    <a:pt x="1421" y="2333"/>
                  </a:lnTo>
                  <a:lnTo>
                    <a:pt x="1419" y="2337"/>
                  </a:lnTo>
                  <a:lnTo>
                    <a:pt x="1418" y="2338"/>
                  </a:lnTo>
                  <a:lnTo>
                    <a:pt x="1418" y="2340"/>
                  </a:lnTo>
                  <a:lnTo>
                    <a:pt x="1418" y="2341"/>
                  </a:lnTo>
                  <a:lnTo>
                    <a:pt x="1417" y="2344"/>
                  </a:lnTo>
                  <a:lnTo>
                    <a:pt x="1419" y="2345"/>
                  </a:lnTo>
                  <a:lnTo>
                    <a:pt x="1422" y="2344"/>
                  </a:lnTo>
                  <a:lnTo>
                    <a:pt x="1424" y="2342"/>
                  </a:lnTo>
                  <a:lnTo>
                    <a:pt x="1426" y="2340"/>
                  </a:lnTo>
                  <a:lnTo>
                    <a:pt x="1435" y="2341"/>
                  </a:lnTo>
                  <a:lnTo>
                    <a:pt x="1438" y="2340"/>
                  </a:lnTo>
                  <a:lnTo>
                    <a:pt x="1440" y="2339"/>
                  </a:lnTo>
                  <a:lnTo>
                    <a:pt x="1440" y="2338"/>
                  </a:lnTo>
                  <a:lnTo>
                    <a:pt x="1441" y="2337"/>
                  </a:lnTo>
                  <a:lnTo>
                    <a:pt x="1443" y="2337"/>
                  </a:lnTo>
                  <a:lnTo>
                    <a:pt x="1445" y="2337"/>
                  </a:lnTo>
                  <a:lnTo>
                    <a:pt x="1448" y="2340"/>
                  </a:lnTo>
                  <a:lnTo>
                    <a:pt x="1452" y="2341"/>
                  </a:lnTo>
                  <a:lnTo>
                    <a:pt x="1454" y="2343"/>
                  </a:lnTo>
                  <a:lnTo>
                    <a:pt x="1456" y="2344"/>
                  </a:lnTo>
                  <a:lnTo>
                    <a:pt x="1457" y="2343"/>
                  </a:lnTo>
                  <a:lnTo>
                    <a:pt x="1458" y="2342"/>
                  </a:lnTo>
                  <a:lnTo>
                    <a:pt x="1460" y="2340"/>
                  </a:lnTo>
                  <a:lnTo>
                    <a:pt x="1458" y="2337"/>
                  </a:lnTo>
                  <a:lnTo>
                    <a:pt x="1458" y="2334"/>
                  </a:lnTo>
                  <a:lnTo>
                    <a:pt x="1460" y="2331"/>
                  </a:lnTo>
                  <a:lnTo>
                    <a:pt x="1462" y="2329"/>
                  </a:lnTo>
                  <a:lnTo>
                    <a:pt x="1462" y="2328"/>
                  </a:lnTo>
                  <a:lnTo>
                    <a:pt x="1461" y="2328"/>
                  </a:lnTo>
                  <a:lnTo>
                    <a:pt x="1467" y="2321"/>
                  </a:lnTo>
                  <a:lnTo>
                    <a:pt x="1470" y="2318"/>
                  </a:lnTo>
                  <a:lnTo>
                    <a:pt x="1473" y="2317"/>
                  </a:lnTo>
                  <a:lnTo>
                    <a:pt x="1484" y="2317"/>
                  </a:lnTo>
                  <a:lnTo>
                    <a:pt x="1487" y="2315"/>
                  </a:lnTo>
                  <a:lnTo>
                    <a:pt x="1490" y="2313"/>
                  </a:lnTo>
                  <a:lnTo>
                    <a:pt x="1501" y="2310"/>
                  </a:lnTo>
                  <a:lnTo>
                    <a:pt x="1510" y="2311"/>
                  </a:lnTo>
                  <a:lnTo>
                    <a:pt x="1515" y="2311"/>
                  </a:lnTo>
                  <a:lnTo>
                    <a:pt x="1519" y="2308"/>
                  </a:lnTo>
                  <a:lnTo>
                    <a:pt x="1520" y="2311"/>
                  </a:lnTo>
                  <a:lnTo>
                    <a:pt x="1522" y="2311"/>
                  </a:lnTo>
                  <a:lnTo>
                    <a:pt x="1524" y="2310"/>
                  </a:lnTo>
                  <a:lnTo>
                    <a:pt x="1525" y="2308"/>
                  </a:lnTo>
                  <a:lnTo>
                    <a:pt x="1526" y="2309"/>
                  </a:lnTo>
                  <a:lnTo>
                    <a:pt x="1526" y="2309"/>
                  </a:lnTo>
                  <a:lnTo>
                    <a:pt x="1528" y="2310"/>
                  </a:lnTo>
                  <a:lnTo>
                    <a:pt x="1518" y="2317"/>
                  </a:lnTo>
                  <a:lnTo>
                    <a:pt x="1517" y="2318"/>
                  </a:lnTo>
                  <a:lnTo>
                    <a:pt x="1517" y="2319"/>
                  </a:lnTo>
                  <a:lnTo>
                    <a:pt x="1517" y="2323"/>
                  </a:lnTo>
                  <a:lnTo>
                    <a:pt x="1518" y="2325"/>
                  </a:lnTo>
                  <a:lnTo>
                    <a:pt x="1519" y="2329"/>
                  </a:lnTo>
                  <a:lnTo>
                    <a:pt x="1519" y="2333"/>
                  </a:lnTo>
                  <a:lnTo>
                    <a:pt x="1517" y="2335"/>
                  </a:lnTo>
                  <a:lnTo>
                    <a:pt x="1514" y="2336"/>
                  </a:lnTo>
                  <a:lnTo>
                    <a:pt x="1514" y="2338"/>
                  </a:lnTo>
                  <a:lnTo>
                    <a:pt x="1515" y="2340"/>
                  </a:lnTo>
                  <a:lnTo>
                    <a:pt x="1518" y="2347"/>
                  </a:lnTo>
                  <a:lnTo>
                    <a:pt x="1530" y="2362"/>
                  </a:lnTo>
                  <a:lnTo>
                    <a:pt x="1533" y="2361"/>
                  </a:lnTo>
                  <a:lnTo>
                    <a:pt x="1535" y="2359"/>
                  </a:lnTo>
                  <a:lnTo>
                    <a:pt x="1539" y="2358"/>
                  </a:lnTo>
                  <a:lnTo>
                    <a:pt x="1538" y="2361"/>
                  </a:lnTo>
                  <a:lnTo>
                    <a:pt x="1531" y="2366"/>
                  </a:lnTo>
                  <a:lnTo>
                    <a:pt x="1529" y="2367"/>
                  </a:lnTo>
                  <a:lnTo>
                    <a:pt x="1529" y="2367"/>
                  </a:lnTo>
                  <a:lnTo>
                    <a:pt x="1529" y="2368"/>
                  </a:lnTo>
                  <a:lnTo>
                    <a:pt x="1528" y="2372"/>
                  </a:lnTo>
                  <a:lnTo>
                    <a:pt x="1527" y="2372"/>
                  </a:lnTo>
                  <a:lnTo>
                    <a:pt x="1524" y="2374"/>
                  </a:lnTo>
                  <a:lnTo>
                    <a:pt x="1521" y="2379"/>
                  </a:lnTo>
                  <a:lnTo>
                    <a:pt x="1518" y="2386"/>
                  </a:lnTo>
                  <a:lnTo>
                    <a:pt x="1518" y="2392"/>
                  </a:lnTo>
                  <a:lnTo>
                    <a:pt x="1519" y="2396"/>
                  </a:lnTo>
                  <a:lnTo>
                    <a:pt x="1527" y="2406"/>
                  </a:lnTo>
                  <a:lnTo>
                    <a:pt x="1529" y="2408"/>
                  </a:lnTo>
                  <a:lnTo>
                    <a:pt x="1534" y="2407"/>
                  </a:lnTo>
                  <a:lnTo>
                    <a:pt x="1542" y="2405"/>
                  </a:lnTo>
                  <a:lnTo>
                    <a:pt x="1546" y="2405"/>
                  </a:lnTo>
                  <a:lnTo>
                    <a:pt x="1546" y="2406"/>
                  </a:lnTo>
                  <a:lnTo>
                    <a:pt x="1538" y="2412"/>
                  </a:lnTo>
                  <a:lnTo>
                    <a:pt x="1535" y="2414"/>
                  </a:lnTo>
                  <a:lnTo>
                    <a:pt x="1534" y="2413"/>
                  </a:lnTo>
                  <a:lnTo>
                    <a:pt x="1530" y="2411"/>
                  </a:lnTo>
                  <a:lnTo>
                    <a:pt x="1529" y="2411"/>
                  </a:lnTo>
                  <a:lnTo>
                    <a:pt x="1528" y="2414"/>
                  </a:lnTo>
                  <a:lnTo>
                    <a:pt x="1528" y="2417"/>
                  </a:lnTo>
                  <a:lnTo>
                    <a:pt x="1528" y="2420"/>
                  </a:lnTo>
                  <a:lnTo>
                    <a:pt x="1529" y="2422"/>
                  </a:lnTo>
                  <a:lnTo>
                    <a:pt x="1527" y="2426"/>
                  </a:lnTo>
                  <a:lnTo>
                    <a:pt x="1525" y="2431"/>
                  </a:lnTo>
                  <a:lnTo>
                    <a:pt x="1524" y="2437"/>
                  </a:lnTo>
                  <a:lnTo>
                    <a:pt x="1523" y="2448"/>
                  </a:lnTo>
                  <a:lnTo>
                    <a:pt x="1520" y="2454"/>
                  </a:lnTo>
                  <a:lnTo>
                    <a:pt x="1516" y="2463"/>
                  </a:lnTo>
                  <a:lnTo>
                    <a:pt x="1506" y="2476"/>
                  </a:lnTo>
                  <a:lnTo>
                    <a:pt x="1488" y="2493"/>
                  </a:lnTo>
                  <a:lnTo>
                    <a:pt x="1485" y="2494"/>
                  </a:lnTo>
                  <a:lnTo>
                    <a:pt x="1481" y="2494"/>
                  </a:lnTo>
                  <a:lnTo>
                    <a:pt x="1479" y="2494"/>
                  </a:lnTo>
                  <a:lnTo>
                    <a:pt x="1476" y="2496"/>
                  </a:lnTo>
                  <a:lnTo>
                    <a:pt x="1472" y="2502"/>
                  </a:lnTo>
                  <a:lnTo>
                    <a:pt x="1469" y="2505"/>
                  </a:lnTo>
                  <a:lnTo>
                    <a:pt x="1466" y="2507"/>
                  </a:lnTo>
                  <a:lnTo>
                    <a:pt x="1461" y="2508"/>
                  </a:lnTo>
                  <a:lnTo>
                    <a:pt x="1460" y="2510"/>
                  </a:lnTo>
                  <a:lnTo>
                    <a:pt x="1459" y="2512"/>
                  </a:lnTo>
                  <a:lnTo>
                    <a:pt x="1458" y="2513"/>
                  </a:lnTo>
                  <a:lnTo>
                    <a:pt x="1456" y="2514"/>
                  </a:lnTo>
                  <a:lnTo>
                    <a:pt x="1436" y="2513"/>
                  </a:lnTo>
                  <a:lnTo>
                    <a:pt x="1431" y="2516"/>
                  </a:lnTo>
                  <a:lnTo>
                    <a:pt x="1431" y="2523"/>
                  </a:lnTo>
                  <a:lnTo>
                    <a:pt x="1426" y="2519"/>
                  </a:lnTo>
                  <a:lnTo>
                    <a:pt x="1423" y="2519"/>
                  </a:lnTo>
                  <a:lnTo>
                    <a:pt x="1421" y="2523"/>
                  </a:lnTo>
                  <a:lnTo>
                    <a:pt x="1417" y="2529"/>
                  </a:lnTo>
                  <a:lnTo>
                    <a:pt x="1414" y="2532"/>
                  </a:lnTo>
                  <a:lnTo>
                    <a:pt x="1411" y="2534"/>
                  </a:lnTo>
                  <a:lnTo>
                    <a:pt x="1406" y="2535"/>
                  </a:lnTo>
                  <a:lnTo>
                    <a:pt x="1405" y="2536"/>
                  </a:lnTo>
                  <a:lnTo>
                    <a:pt x="1405" y="2538"/>
                  </a:lnTo>
                  <a:lnTo>
                    <a:pt x="1405" y="2541"/>
                  </a:lnTo>
                  <a:lnTo>
                    <a:pt x="1406" y="2544"/>
                  </a:lnTo>
                  <a:lnTo>
                    <a:pt x="1404" y="2545"/>
                  </a:lnTo>
                  <a:lnTo>
                    <a:pt x="1401" y="2544"/>
                  </a:lnTo>
                  <a:lnTo>
                    <a:pt x="1395" y="2542"/>
                  </a:lnTo>
                  <a:lnTo>
                    <a:pt x="1392" y="2541"/>
                  </a:lnTo>
                  <a:lnTo>
                    <a:pt x="1393" y="2545"/>
                  </a:lnTo>
                  <a:lnTo>
                    <a:pt x="1388" y="2547"/>
                  </a:lnTo>
                  <a:lnTo>
                    <a:pt x="1385" y="2547"/>
                  </a:lnTo>
                  <a:lnTo>
                    <a:pt x="1377" y="2542"/>
                  </a:lnTo>
                  <a:lnTo>
                    <a:pt x="1375" y="2542"/>
                  </a:lnTo>
                  <a:lnTo>
                    <a:pt x="1371" y="2541"/>
                  </a:lnTo>
                  <a:lnTo>
                    <a:pt x="1368" y="2542"/>
                  </a:lnTo>
                  <a:lnTo>
                    <a:pt x="1366" y="2543"/>
                  </a:lnTo>
                  <a:lnTo>
                    <a:pt x="1366" y="2545"/>
                  </a:lnTo>
                  <a:lnTo>
                    <a:pt x="1368" y="2547"/>
                  </a:lnTo>
                  <a:lnTo>
                    <a:pt x="1368" y="2548"/>
                  </a:lnTo>
                  <a:lnTo>
                    <a:pt x="1366" y="2548"/>
                  </a:lnTo>
                  <a:lnTo>
                    <a:pt x="1365" y="2555"/>
                  </a:lnTo>
                  <a:lnTo>
                    <a:pt x="1360" y="2559"/>
                  </a:lnTo>
                  <a:lnTo>
                    <a:pt x="1353" y="2562"/>
                  </a:lnTo>
                  <a:lnTo>
                    <a:pt x="1349" y="2562"/>
                  </a:lnTo>
                  <a:lnTo>
                    <a:pt x="1347" y="2563"/>
                  </a:lnTo>
                  <a:lnTo>
                    <a:pt x="1342" y="2568"/>
                  </a:lnTo>
                  <a:lnTo>
                    <a:pt x="1339" y="2569"/>
                  </a:lnTo>
                  <a:lnTo>
                    <a:pt x="1333" y="2570"/>
                  </a:lnTo>
                  <a:lnTo>
                    <a:pt x="1332" y="2572"/>
                  </a:lnTo>
                  <a:lnTo>
                    <a:pt x="1333" y="2575"/>
                  </a:lnTo>
                  <a:lnTo>
                    <a:pt x="1333" y="2576"/>
                  </a:lnTo>
                  <a:lnTo>
                    <a:pt x="1331" y="2577"/>
                  </a:lnTo>
                  <a:lnTo>
                    <a:pt x="1331" y="2578"/>
                  </a:lnTo>
                  <a:lnTo>
                    <a:pt x="1331" y="2579"/>
                  </a:lnTo>
                  <a:lnTo>
                    <a:pt x="1332" y="2580"/>
                  </a:lnTo>
                  <a:lnTo>
                    <a:pt x="1332" y="2582"/>
                  </a:lnTo>
                  <a:lnTo>
                    <a:pt x="1331" y="2582"/>
                  </a:lnTo>
                  <a:lnTo>
                    <a:pt x="1330" y="2583"/>
                  </a:lnTo>
                  <a:lnTo>
                    <a:pt x="1333" y="2583"/>
                  </a:lnTo>
                  <a:lnTo>
                    <a:pt x="1342" y="2582"/>
                  </a:lnTo>
                  <a:lnTo>
                    <a:pt x="1344" y="2580"/>
                  </a:lnTo>
                  <a:lnTo>
                    <a:pt x="1347" y="2582"/>
                  </a:lnTo>
                  <a:lnTo>
                    <a:pt x="1353" y="2583"/>
                  </a:lnTo>
                  <a:lnTo>
                    <a:pt x="1356" y="2585"/>
                  </a:lnTo>
                  <a:lnTo>
                    <a:pt x="1357" y="2583"/>
                  </a:lnTo>
                  <a:lnTo>
                    <a:pt x="1359" y="2586"/>
                  </a:lnTo>
                  <a:lnTo>
                    <a:pt x="1360" y="2589"/>
                  </a:lnTo>
                  <a:lnTo>
                    <a:pt x="1361" y="2592"/>
                  </a:lnTo>
                  <a:lnTo>
                    <a:pt x="1361" y="2597"/>
                  </a:lnTo>
                  <a:lnTo>
                    <a:pt x="1362" y="2603"/>
                  </a:lnTo>
                  <a:lnTo>
                    <a:pt x="1362" y="2605"/>
                  </a:lnTo>
                  <a:lnTo>
                    <a:pt x="1359" y="2608"/>
                  </a:lnTo>
                  <a:lnTo>
                    <a:pt x="1356" y="2609"/>
                  </a:lnTo>
                  <a:lnTo>
                    <a:pt x="1351" y="2610"/>
                  </a:lnTo>
                  <a:lnTo>
                    <a:pt x="1349" y="2612"/>
                  </a:lnTo>
                  <a:lnTo>
                    <a:pt x="1347" y="2615"/>
                  </a:lnTo>
                  <a:lnTo>
                    <a:pt x="1345" y="2616"/>
                  </a:lnTo>
                  <a:lnTo>
                    <a:pt x="1343" y="2617"/>
                  </a:lnTo>
                  <a:lnTo>
                    <a:pt x="1339" y="2617"/>
                  </a:lnTo>
                  <a:lnTo>
                    <a:pt x="1343" y="2618"/>
                  </a:lnTo>
                  <a:lnTo>
                    <a:pt x="1350" y="2624"/>
                  </a:lnTo>
                  <a:lnTo>
                    <a:pt x="1350" y="2626"/>
                  </a:lnTo>
                  <a:lnTo>
                    <a:pt x="1350" y="2628"/>
                  </a:lnTo>
                  <a:lnTo>
                    <a:pt x="1352" y="2628"/>
                  </a:lnTo>
                  <a:lnTo>
                    <a:pt x="1354" y="2626"/>
                  </a:lnTo>
                  <a:lnTo>
                    <a:pt x="1353" y="2622"/>
                  </a:lnTo>
                  <a:lnTo>
                    <a:pt x="1355" y="2621"/>
                  </a:lnTo>
                  <a:lnTo>
                    <a:pt x="1378" y="2624"/>
                  </a:lnTo>
                  <a:lnTo>
                    <a:pt x="1381" y="2624"/>
                  </a:lnTo>
                  <a:lnTo>
                    <a:pt x="1393" y="2621"/>
                  </a:lnTo>
                  <a:lnTo>
                    <a:pt x="1396" y="2618"/>
                  </a:lnTo>
                  <a:lnTo>
                    <a:pt x="1396" y="2615"/>
                  </a:lnTo>
                  <a:lnTo>
                    <a:pt x="1394" y="2613"/>
                  </a:lnTo>
                  <a:lnTo>
                    <a:pt x="1395" y="2610"/>
                  </a:lnTo>
                  <a:lnTo>
                    <a:pt x="1394" y="2607"/>
                  </a:lnTo>
                  <a:lnTo>
                    <a:pt x="1392" y="2606"/>
                  </a:lnTo>
                  <a:lnTo>
                    <a:pt x="1390" y="2606"/>
                  </a:lnTo>
                  <a:lnTo>
                    <a:pt x="1392" y="2605"/>
                  </a:lnTo>
                  <a:lnTo>
                    <a:pt x="1401" y="2604"/>
                  </a:lnTo>
                  <a:lnTo>
                    <a:pt x="1405" y="2602"/>
                  </a:lnTo>
                  <a:lnTo>
                    <a:pt x="1407" y="2601"/>
                  </a:lnTo>
                  <a:lnTo>
                    <a:pt x="1407" y="2603"/>
                  </a:lnTo>
                  <a:lnTo>
                    <a:pt x="1401" y="2604"/>
                  </a:lnTo>
                  <a:lnTo>
                    <a:pt x="1398" y="2610"/>
                  </a:lnTo>
                  <a:lnTo>
                    <a:pt x="1399" y="2616"/>
                  </a:lnTo>
                  <a:lnTo>
                    <a:pt x="1404" y="2620"/>
                  </a:lnTo>
                  <a:lnTo>
                    <a:pt x="1404" y="2622"/>
                  </a:lnTo>
                  <a:lnTo>
                    <a:pt x="1402" y="2621"/>
                  </a:lnTo>
                  <a:lnTo>
                    <a:pt x="1400" y="2621"/>
                  </a:lnTo>
                  <a:lnTo>
                    <a:pt x="1396" y="2624"/>
                  </a:lnTo>
                  <a:lnTo>
                    <a:pt x="1388" y="2626"/>
                  </a:lnTo>
                  <a:lnTo>
                    <a:pt x="1383" y="2629"/>
                  </a:lnTo>
                  <a:lnTo>
                    <a:pt x="1381" y="2629"/>
                  </a:lnTo>
                  <a:lnTo>
                    <a:pt x="1379" y="2629"/>
                  </a:lnTo>
                  <a:lnTo>
                    <a:pt x="1374" y="2627"/>
                  </a:lnTo>
                  <a:lnTo>
                    <a:pt x="1372" y="2627"/>
                  </a:lnTo>
                  <a:lnTo>
                    <a:pt x="1373" y="2628"/>
                  </a:lnTo>
                  <a:lnTo>
                    <a:pt x="1373" y="2630"/>
                  </a:lnTo>
                  <a:lnTo>
                    <a:pt x="1373" y="2631"/>
                  </a:lnTo>
                  <a:lnTo>
                    <a:pt x="1361" y="2629"/>
                  </a:lnTo>
                  <a:lnTo>
                    <a:pt x="1360" y="2631"/>
                  </a:lnTo>
                  <a:lnTo>
                    <a:pt x="1363" y="2635"/>
                  </a:lnTo>
                  <a:lnTo>
                    <a:pt x="1371" y="2636"/>
                  </a:lnTo>
                  <a:lnTo>
                    <a:pt x="1373" y="2641"/>
                  </a:lnTo>
                  <a:lnTo>
                    <a:pt x="1372" y="2644"/>
                  </a:lnTo>
                  <a:lnTo>
                    <a:pt x="1376" y="2647"/>
                  </a:lnTo>
                  <a:lnTo>
                    <a:pt x="1386" y="2650"/>
                  </a:lnTo>
                  <a:lnTo>
                    <a:pt x="1387" y="2651"/>
                  </a:lnTo>
                  <a:lnTo>
                    <a:pt x="1388" y="2652"/>
                  </a:lnTo>
                  <a:lnTo>
                    <a:pt x="1390" y="2651"/>
                  </a:lnTo>
                  <a:lnTo>
                    <a:pt x="1391" y="2649"/>
                  </a:lnTo>
                  <a:lnTo>
                    <a:pt x="1394" y="2647"/>
                  </a:lnTo>
                  <a:lnTo>
                    <a:pt x="1396" y="2646"/>
                  </a:lnTo>
                  <a:lnTo>
                    <a:pt x="1397" y="2643"/>
                  </a:lnTo>
                  <a:lnTo>
                    <a:pt x="1398" y="2641"/>
                  </a:lnTo>
                  <a:lnTo>
                    <a:pt x="1401" y="2640"/>
                  </a:lnTo>
                  <a:lnTo>
                    <a:pt x="1403" y="2639"/>
                  </a:lnTo>
                  <a:lnTo>
                    <a:pt x="1417" y="2640"/>
                  </a:lnTo>
                  <a:lnTo>
                    <a:pt x="1420" y="2637"/>
                  </a:lnTo>
                  <a:lnTo>
                    <a:pt x="1421" y="2636"/>
                  </a:lnTo>
                  <a:lnTo>
                    <a:pt x="1423" y="2638"/>
                  </a:lnTo>
                  <a:lnTo>
                    <a:pt x="1425" y="2638"/>
                  </a:lnTo>
                  <a:lnTo>
                    <a:pt x="1428" y="2631"/>
                  </a:lnTo>
                  <a:lnTo>
                    <a:pt x="1428" y="2629"/>
                  </a:lnTo>
                  <a:lnTo>
                    <a:pt x="1428" y="2628"/>
                  </a:lnTo>
                  <a:lnTo>
                    <a:pt x="1428" y="2628"/>
                  </a:lnTo>
                  <a:lnTo>
                    <a:pt x="1430" y="2627"/>
                  </a:lnTo>
                  <a:lnTo>
                    <a:pt x="1430" y="2621"/>
                  </a:lnTo>
                  <a:lnTo>
                    <a:pt x="1435" y="2617"/>
                  </a:lnTo>
                  <a:lnTo>
                    <a:pt x="1436" y="2617"/>
                  </a:lnTo>
                  <a:lnTo>
                    <a:pt x="1442" y="2616"/>
                  </a:lnTo>
                  <a:lnTo>
                    <a:pt x="1446" y="2615"/>
                  </a:lnTo>
                  <a:lnTo>
                    <a:pt x="1459" y="2616"/>
                  </a:lnTo>
                  <a:lnTo>
                    <a:pt x="1465" y="2616"/>
                  </a:lnTo>
                  <a:lnTo>
                    <a:pt x="1470" y="2613"/>
                  </a:lnTo>
                  <a:lnTo>
                    <a:pt x="1468" y="2611"/>
                  </a:lnTo>
                  <a:lnTo>
                    <a:pt x="1466" y="2608"/>
                  </a:lnTo>
                  <a:lnTo>
                    <a:pt x="1467" y="2607"/>
                  </a:lnTo>
                  <a:lnTo>
                    <a:pt x="1470" y="2606"/>
                  </a:lnTo>
                  <a:lnTo>
                    <a:pt x="1471" y="2608"/>
                  </a:lnTo>
                  <a:lnTo>
                    <a:pt x="1473" y="2609"/>
                  </a:lnTo>
                  <a:lnTo>
                    <a:pt x="1474" y="2610"/>
                  </a:lnTo>
                  <a:lnTo>
                    <a:pt x="1475" y="2609"/>
                  </a:lnTo>
                  <a:lnTo>
                    <a:pt x="1477" y="2607"/>
                  </a:lnTo>
                  <a:lnTo>
                    <a:pt x="1478" y="2606"/>
                  </a:lnTo>
                  <a:lnTo>
                    <a:pt x="1479" y="2603"/>
                  </a:lnTo>
                  <a:lnTo>
                    <a:pt x="1480" y="2603"/>
                  </a:lnTo>
                  <a:lnTo>
                    <a:pt x="1481" y="2604"/>
                  </a:lnTo>
                  <a:lnTo>
                    <a:pt x="1481" y="2607"/>
                  </a:lnTo>
                  <a:lnTo>
                    <a:pt x="1480" y="2609"/>
                  </a:lnTo>
                  <a:lnTo>
                    <a:pt x="1479" y="2611"/>
                  </a:lnTo>
                  <a:lnTo>
                    <a:pt x="1479" y="2611"/>
                  </a:lnTo>
                  <a:lnTo>
                    <a:pt x="1480" y="2615"/>
                  </a:lnTo>
                  <a:lnTo>
                    <a:pt x="1483" y="2616"/>
                  </a:lnTo>
                  <a:lnTo>
                    <a:pt x="1485" y="2617"/>
                  </a:lnTo>
                  <a:lnTo>
                    <a:pt x="1489" y="2617"/>
                  </a:lnTo>
                  <a:lnTo>
                    <a:pt x="1487" y="2619"/>
                  </a:lnTo>
                  <a:lnTo>
                    <a:pt x="1484" y="2620"/>
                  </a:lnTo>
                  <a:lnTo>
                    <a:pt x="1478" y="2619"/>
                  </a:lnTo>
                  <a:lnTo>
                    <a:pt x="1480" y="2623"/>
                  </a:lnTo>
                  <a:lnTo>
                    <a:pt x="1483" y="2628"/>
                  </a:lnTo>
                  <a:lnTo>
                    <a:pt x="1488" y="2631"/>
                  </a:lnTo>
                  <a:lnTo>
                    <a:pt x="1491" y="2632"/>
                  </a:lnTo>
                  <a:lnTo>
                    <a:pt x="1504" y="2631"/>
                  </a:lnTo>
                  <a:lnTo>
                    <a:pt x="1506" y="2629"/>
                  </a:lnTo>
                  <a:lnTo>
                    <a:pt x="1514" y="2634"/>
                  </a:lnTo>
                  <a:lnTo>
                    <a:pt x="1521" y="2635"/>
                  </a:lnTo>
                  <a:lnTo>
                    <a:pt x="1523" y="2634"/>
                  </a:lnTo>
                  <a:lnTo>
                    <a:pt x="1524" y="2633"/>
                  </a:lnTo>
                  <a:lnTo>
                    <a:pt x="1526" y="2631"/>
                  </a:lnTo>
                  <a:lnTo>
                    <a:pt x="1527" y="2631"/>
                  </a:lnTo>
                  <a:lnTo>
                    <a:pt x="1527" y="2632"/>
                  </a:lnTo>
                  <a:lnTo>
                    <a:pt x="1527" y="2633"/>
                  </a:lnTo>
                  <a:lnTo>
                    <a:pt x="1527" y="2635"/>
                  </a:lnTo>
                  <a:lnTo>
                    <a:pt x="1523" y="2641"/>
                  </a:lnTo>
                  <a:lnTo>
                    <a:pt x="1516" y="2643"/>
                  </a:lnTo>
                  <a:lnTo>
                    <a:pt x="1508" y="2643"/>
                  </a:lnTo>
                  <a:lnTo>
                    <a:pt x="1503" y="2645"/>
                  </a:lnTo>
                  <a:lnTo>
                    <a:pt x="1502" y="2644"/>
                  </a:lnTo>
                  <a:lnTo>
                    <a:pt x="1500" y="2643"/>
                  </a:lnTo>
                  <a:lnTo>
                    <a:pt x="1500" y="2641"/>
                  </a:lnTo>
                  <a:lnTo>
                    <a:pt x="1501" y="2641"/>
                  </a:lnTo>
                  <a:lnTo>
                    <a:pt x="1500" y="2640"/>
                  </a:lnTo>
                  <a:lnTo>
                    <a:pt x="1500" y="2641"/>
                  </a:lnTo>
                  <a:lnTo>
                    <a:pt x="1498" y="2644"/>
                  </a:lnTo>
                  <a:lnTo>
                    <a:pt x="1497" y="2645"/>
                  </a:lnTo>
                  <a:lnTo>
                    <a:pt x="1492" y="2647"/>
                  </a:lnTo>
                  <a:lnTo>
                    <a:pt x="1492" y="2651"/>
                  </a:lnTo>
                  <a:lnTo>
                    <a:pt x="1493" y="2654"/>
                  </a:lnTo>
                  <a:lnTo>
                    <a:pt x="1494" y="2656"/>
                  </a:lnTo>
                  <a:lnTo>
                    <a:pt x="1490" y="2659"/>
                  </a:lnTo>
                  <a:lnTo>
                    <a:pt x="1491" y="2661"/>
                  </a:lnTo>
                  <a:lnTo>
                    <a:pt x="1491" y="2661"/>
                  </a:lnTo>
                  <a:lnTo>
                    <a:pt x="1492" y="2662"/>
                  </a:lnTo>
                  <a:lnTo>
                    <a:pt x="1495" y="2662"/>
                  </a:lnTo>
                  <a:lnTo>
                    <a:pt x="1504" y="2666"/>
                  </a:lnTo>
                  <a:lnTo>
                    <a:pt x="1506" y="2666"/>
                  </a:lnTo>
                  <a:lnTo>
                    <a:pt x="1506" y="2664"/>
                  </a:lnTo>
                  <a:lnTo>
                    <a:pt x="1508" y="2664"/>
                  </a:lnTo>
                  <a:lnTo>
                    <a:pt x="1510" y="2665"/>
                  </a:lnTo>
                  <a:lnTo>
                    <a:pt x="1511" y="2665"/>
                  </a:lnTo>
                  <a:lnTo>
                    <a:pt x="1513" y="2665"/>
                  </a:lnTo>
                  <a:lnTo>
                    <a:pt x="1515" y="2662"/>
                  </a:lnTo>
                  <a:lnTo>
                    <a:pt x="1517" y="2660"/>
                  </a:lnTo>
                  <a:lnTo>
                    <a:pt x="1519" y="2660"/>
                  </a:lnTo>
                  <a:lnTo>
                    <a:pt x="1520" y="2660"/>
                  </a:lnTo>
                  <a:lnTo>
                    <a:pt x="1524" y="2661"/>
                  </a:lnTo>
                  <a:lnTo>
                    <a:pt x="1525" y="2662"/>
                  </a:lnTo>
                  <a:lnTo>
                    <a:pt x="1527" y="2662"/>
                  </a:lnTo>
                  <a:lnTo>
                    <a:pt x="1527" y="2662"/>
                  </a:lnTo>
                  <a:lnTo>
                    <a:pt x="1529" y="2659"/>
                  </a:lnTo>
                  <a:lnTo>
                    <a:pt x="1529" y="2659"/>
                  </a:lnTo>
                  <a:lnTo>
                    <a:pt x="1530" y="2659"/>
                  </a:lnTo>
                  <a:lnTo>
                    <a:pt x="1532" y="2660"/>
                  </a:lnTo>
                  <a:lnTo>
                    <a:pt x="1533" y="2660"/>
                  </a:lnTo>
                  <a:lnTo>
                    <a:pt x="1533" y="2661"/>
                  </a:lnTo>
                  <a:lnTo>
                    <a:pt x="1534" y="2663"/>
                  </a:lnTo>
                  <a:lnTo>
                    <a:pt x="1534" y="2662"/>
                  </a:lnTo>
                  <a:lnTo>
                    <a:pt x="1535" y="2661"/>
                  </a:lnTo>
                  <a:lnTo>
                    <a:pt x="1535" y="2660"/>
                  </a:lnTo>
                  <a:lnTo>
                    <a:pt x="1542" y="2660"/>
                  </a:lnTo>
                  <a:lnTo>
                    <a:pt x="1541" y="2658"/>
                  </a:lnTo>
                  <a:lnTo>
                    <a:pt x="1539" y="2656"/>
                  </a:lnTo>
                  <a:lnTo>
                    <a:pt x="1538" y="2653"/>
                  </a:lnTo>
                  <a:lnTo>
                    <a:pt x="1538" y="2651"/>
                  </a:lnTo>
                  <a:lnTo>
                    <a:pt x="1539" y="2649"/>
                  </a:lnTo>
                  <a:lnTo>
                    <a:pt x="1541" y="2648"/>
                  </a:lnTo>
                  <a:lnTo>
                    <a:pt x="1544" y="2647"/>
                  </a:lnTo>
                  <a:lnTo>
                    <a:pt x="1556" y="2646"/>
                  </a:lnTo>
                  <a:lnTo>
                    <a:pt x="1561" y="2645"/>
                  </a:lnTo>
                  <a:lnTo>
                    <a:pt x="1563" y="2646"/>
                  </a:lnTo>
                  <a:lnTo>
                    <a:pt x="1564" y="2647"/>
                  </a:lnTo>
                  <a:lnTo>
                    <a:pt x="1567" y="2652"/>
                  </a:lnTo>
                  <a:lnTo>
                    <a:pt x="1568" y="2654"/>
                  </a:lnTo>
                  <a:lnTo>
                    <a:pt x="1571" y="2655"/>
                  </a:lnTo>
                  <a:lnTo>
                    <a:pt x="1572" y="2657"/>
                  </a:lnTo>
                  <a:lnTo>
                    <a:pt x="1574" y="2660"/>
                  </a:lnTo>
                  <a:lnTo>
                    <a:pt x="1576" y="2665"/>
                  </a:lnTo>
                  <a:lnTo>
                    <a:pt x="1577" y="2668"/>
                  </a:lnTo>
                  <a:lnTo>
                    <a:pt x="1578" y="2669"/>
                  </a:lnTo>
                  <a:lnTo>
                    <a:pt x="1579" y="2674"/>
                  </a:lnTo>
                  <a:lnTo>
                    <a:pt x="1578" y="2675"/>
                  </a:lnTo>
                  <a:lnTo>
                    <a:pt x="1578" y="2675"/>
                  </a:lnTo>
                  <a:lnTo>
                    <a:pt x="1578" y="2675"/>
                  </a:lnTo>
                  <a:lnTo>
                    <a:pt x="1578" y="2676"/>
                  </a:lnTo>
                  <a:lnTo>
                    <a:pt x="1579" y="2679"/>
                  </a:lnTo>
                  <a:lnTo>
                    <a:pt x="1583" y="2682"/>
                  </a:lnTo>
                  <a:lnTo>
                    <a:pt x="1586" y="2684"/>
                  </a:lnTo>
                  <a:lnTo>
                    <a:pt x="1589" y="2682"/>
                  </a:lnTo>
                  <a:lnTo>
                    <a:pt x="1591" y="2682"/>
                  </a:lnTo>
                  <a:lnTo>
                    <a:pt x="1601" y="2690"/>
                  </a:lnTo>
                  <a:lnTo>
                    <a:pt x="1605" y="2697"/>
                  </a:lnTo>
                  <a:lnTo>
                    <a:pt x="1608" y="2700"/>
                  </a:lnTo>
                  <a:lnTo>
                    <a:pt x="1611" y="2702"/>
                  </a:lnTo>
                  <a:lnTo>
                    <a:pt x="1651" y="2706"/>
                  </a:lnTo>
                  <a:lnTo>
                    <a:pt x="1662" y="2701"/>
                  </a:lnTo>
                  <a:lnTo>
                    <a:pt x="1664" y="2701"/>
                  </a:lnTo>
                  <a:lnTo>
                    <a:pt x="1667" y="2702"/>
                  </a:lnTo>
                  <a:lnTo>
                    <a:pt x="1670" y="2699"/>
                  </a:lnTo>
                  <a:lnTo>
                    <a:pt x="1671" y="2694"/>
                  </a:lnTo>
                  <a:lnTo>
                    <a:pt x="1669" y="2688"/>
                  </a:lnTo>
                  <a:lnTo>
                    <a:pt x="1669" y="2688"/>
                  </a:lnTo>
                  <a:lnTo>
                    <a:pt x="1670" y="2688"/>
                  </a:lnTo>
                  <a:lnTo>
                    <a:pt x="1672" y="2687"/>
                  </a:lnTo>
                  <a:lnTo>
                    <a:pt x="1673" y="2687"/>
                  </a:lnTo>
                  <a:lnTo>
                    <a:pt x="1674" y="2685"/>
                  </a:lnTo>
                  <a:lnTo>
                    <a:pt x="1675" y="2682"/>
                  </a:lnTo>
                  <a:lnTo>
                    <a:pt x="1676" y="2681"/>
                  </a:lnTo>
                  <a:lnTo>
                    <a:pt x="1680" y="2677"/>
                  </a:lnTo>
                  <a:lnTo>
                    <a:pt x="1682" y="2675"/>
                  </a:lnTo>
                  <a:lnTo>
                    <a:pt x="1684" y="2675"/>
                  </a:lnTo>
                  <a:lnTo>
                    <a:pt x="1685" y="2674"/>
                  </a:lnTo>
                  <a:lnTo>
                    <a:pt x="1694" y="2668"/>
                  </a:lnTo>
                  <a:lnTo>
                    <a:pt x="1695" y="2667"/>
                  </a:lnTo>
                  <a:lnTo>
                    <a:pt x="1699" y="2661"/>
                  </a:lnTo>
                  <a:lnTo>
                    <a:pt x="1700" y="2660"/>
                  </a:lnTo>
                  <a:lnTo>
                    <a:pt x="1701" y="2661"/>
                  </a:lnTo>
                  <a:lnTo>
                    <a:pt x="1702" y="2663"/>
                  </a:lnTo>
                  <a:lnTo>
                    <a:pt x="1703" y="2665"/>
                  </a:lnTo>
                  <a:lnTo>
                    <a:pt x="1705" y="2665"/>
                  </a:lnTo>
                  <a:lnTo>
                    <a:pt x="1719" y="2665"/>
                  </a:lnTo>
                  <a:lnTo>
                    <a:pt x="1726" y="2662"/>
                  </a:lnTo>
                  <a:lnTo>
                    <a:pt x="1729" y="2660"/>
                  </a:lnTo>
                  <a:lnTo>
                    <a:pt x="1734" y="2656"/>
                  </a:lnTo>
                  <a:lnTo>
                    <a:pt x="1742" y="2654"/>
                  </a:lnTo>
                  <a:lnTo>
                    <a:pt x="1745" y="2652"/>
                  </a:lnTo>
                  <a:lnTo>
                    <a:pt x="1749" y="2646"/>
                  </a:lnTo>
                  <a:lnTo>
                    <a:pt x="1749" y="2646"/>
                  </a:lnTo>
                  <a:lnTo>
                    <a:pt x="1760" y="2634"/>
                  </a:lnTo>
                  <a:lnTo>
                    <a:pt x="1761" y="2632"/>
                  </a:lnTo>
                  <a:lnTo>
                    <a:pt x="1763" y="2630"/>
                  </a:lnTo>
                  <a:lnTo>
                    <a:pt x="1772" y="2624"/>
                  </a:lnTo>
                  <a:lnTo>
                    <a:pt x="1774" y="2621"/>
                  </a:lnTo>
                  <a:lnTo>
                    <a:pt x="1777" y="2617"/>
                  </a:lnTo>
                  <a:lnTo>
                    <a:pt x="1779" y="2615"/>
                  </a:lnTo>
                  <a:lnTo>
                    <a:pt x="1782" y="2613"/>
                  </a:lnTo>
                  <a:lnTo>
                    <a:pt x="1785" y="2613"/>
                  </a:lnTo>
                  <a:lnTo>
                    <a:pt x="1788" y="2612"/>
                  </a:lnTo>
                  <a:lnTo>
                    <a:pt x="1791" y="2609"/>
                  </a:lnTo>
                  <a:lnTo>
                    <a:pt x="1792" y="2604"/>
                  </a:lnTo>
                  <a:lnTo>
                    <a:pt x="1794" y="2607"/>
                  </a:lnTo>
                  <a:lnTo>
                    <a:pt x="1795" y="2610"/>
                  </a:lnTo>
                  <a:lnTo>
                    <a:pt x="1793" y="2612"/>
                  </a:lnTo>
                  <a:lnTo>
                    <a:pt x="1791" y="2615"/>
                  </a:lnTo>
                  <a:lnTo>
                    <a:pt x="1784" y="2617"/>
                  </a:lnTo>
                  <a:lnTo>
                    <a:pt x="1781" y="2619"/>
                  </a:lnTo>
                  <a:lnTo>
                    <a:pt x="1776" y="2626"/>
                  </a:lnTo>
                  <a:lnTo>
                    <a:pt x="1767" y="2636"/>
                  </a:lnTo>
                  <a:lnTo>
                    <a:pt x="1766" y="2637"/>
                  </a:lnTo>
                  <a:lnTo>
                    <a:pt x="1765" y="2640"/>
                  </a:lnTo>
                  <a:lnTo>
                    <a:pt x="1764" y="2642"/>
                  </a:lnTo>
                  <a:lnTo>
                    <a:pt x="1764" y="2644"/>
                  </a:lnTo>
                  <a:lnTo>
                    <a:pt x="1763" y="2646"/>
                  </a:lnTo>
                  <a:lnTo>
                    <a:pt x="1762" y="2647"/>
                  </a:lnTo>
                  <a:lnTo>
                    <a:pt x="1760" y="2648"/>
                  </a:lnTo>
                  <a:lnTo>
                    <a:pt x="1759" y="2649"/>
                  </a:lnTo>
                  <a:lnTo>
                    <a:pt x="1745" y="2673"/>
                  </a:lnTo>
                  <a:lnTo>
                    <a:pt x="1741" y="2676"/>
                  </a:lnTo>
                  <a:lnTo>
                    <a:pt x="1738" y="2678"/>
                  </a:lnTo>
                  <a:lnTo>
                    <a:pt x="1734" y="2678"/>
                  </a:lnTo>
                  <a:lnTo>
                    <a:pt x="1731" y="2679"/>
                  </a:lnTo>
                  <a:lnTo>
                    <a:pt x="1729" y="2681"/>
                  </a:lnTo>
                  <a:lnTo>
                    <a:pt x="1726" y="2683"/>
                  </a:lnTo>
                  <a:lnTo>
                    <a:pt x="1715" y="2698"/>
                  </a:lnTo>
                  <a:lnTo>
                    <a:pt x="1709" y="2703"/>
                  </a:lnTo>
                  <a:lnTo>
                    <a:pt x="1704" y="2702"/>
                  </a:lnTo>
                  <a:lnTo>
                    <a:pt x="1700" y="2706"/>
                  </a:lnTo>
                  <a:lnTo>
                    <a:pt x="1703" y="2708"/>
                  </a:lnTo>
                  <a:lnTo>
                    <a:pt x="1702" y="2711"/>
                  </a:lnTo>
                  <a:lnTo>
                    <a:pt x="1700" y="2713"/>
                  </a:lnTo>
                  <a:lnTo>
                    <a:pt x="1698" y="2715"/>
                  </a:lnTo>
                  <a:lnTo>
                    <a:pt x="1698" y="2719"/>
                  </a:lnTo>
                  <a:lnTo>
                    <a:pt x="1698" y="2722"/>
                  </a:lnTo>
                  <a:lnTo>
                    <a:pt x="1698" y="2722"/>
                  </a:lnTo>
                  <a:lnTo>
                    <a:pt x="1696" y="2722"/>
                  </a:lnTo>
                  <a:lnTo>
                    <a:pt x="1693" y="2721"/>
                  </a:lnTo>
                  <a:lnTo>
                    <a:pt x="1695" y="2724"/>
                  </a:lnTo>
                  <a:lnTo>
                    <a:pt x="1695" y="2729"/>
                  </a:lnTo>
                  <a:lnTo>
                    <a:pt x="1695" y="2739"/>
                  </a:lnTo>
                  <a:lnTo>
                    <a:pt x="1696" y="2741"/>
                  </a:lnTo>
                  <a:lnTo>
                    <a:pt x="1696" y="2743"/>
                  </a:lnTo>
                  <a:lnTo>
                    <a:pt x="1696" y="2744"/>
                  </a:lnTo>
                  <a:lnTo>
                    <a:pt x="1696" y="2747"/>
                  </a:lnTo>
                  <a:lnTo>
                    <a:pt x="1696" y="2749"/>
                  </a:lnTo>
                  <a:lnTo>
                    <a:pt x="1693" y="2754"/>
                  </a:lnTo>
                  <a:lnTo>
                    <a:pt x="1691" y="2753"/>
                  </a:lnTo>
                  <a:lnTo>
                    <a:pt x="1693" y="2749"/>
                  </a:lnTo>
                  <a:lnTo>
                    <a:pt x="1692" y="2747"/>
                  </a:lnTo>
                  <a:lnTo>
                    <a:pt x="1687" y="2750"/>
                  </a:lnTo>
                  <a:lnTo>
                    <a:pt x="1681" y="2751"/>
                  </a:lnTo>
                  <a:lnTo>
                    <a:pt x="1671" y="2751"/>
                  </a:lnTo>
                  <a:lnTo>
                    <a:pt x="1665" y="2752"/>
                  </a:lnTo>
                  <a:lnTo>
                    <a:pt x="1653" y="2755"/>
                  </a:lnTo>
                  <a:lnTo>
                    <a:pt x="1635" y="2756"/>
                  </a:lnTo>
                  <a:lnTo>
                    <a:pt x="1632" y="2754"/>
                  </a:lnTo>
                  <a:lnTo>
                    <a:pt x="1627" y="2750"/>
                  </a:lnTo>
                  <a:lnTo>
                    <a:pt x="1608" y="2745"/>
                  </a:lnTo>
                  <a:lnTo>
                    <a:pt x="1595" y="2746"/>
                  </a:lnTo>
                  <a:lnTo>
                    <a:pt x="1574" y="2740"/>
                  </a:lnTo>
                  <a:lnTo>
                    <a:pt x="1572" y="2741"/>
                  </a:lnTo>
                  <a:lnTo>
                    <a:pt x="1567" y="2743"/>
                  </a:lnTo>
                  <a:lnTo>
                    <a:pt x="1563" y="2744"/>
                  </a:lnTo>
                  <a:lnTo>
                    <a:pt x="1552" y="2744"/>
                  </a:lnTo>
                  <a:lnTo>
                    <a:pt x="1549" y="2744"/>
                  </a:lnTo>
                  <a:lnTo>
                    <a:pt x="1543" y="2747"/>
                  </a:lnTo>
                  <a:lnTo>
                    <a:pt x="1514" y="2749"/>
                  </a:lnTo>
                  <a:lnTo>
                    <a:pt x="1501" y="2754"/>
                  </a:lnTo>
                  <a:lnTo>
                    <a:pt x="1501" y="2756"/>
                  </a:lnTo>
                  <a:lnTo>
                    <a:pt x="1503" y="2757"/>
                  </a:lnTo>
                  <a:lnTo>
                    <a:pt x="1505" y="2759"/>
                  </a:lnTo>
                  <a:lnTo>
                    <a:pt x="1505" y="2762"/>
                  </a:lnTo>
                  <a:lnTo>
                    <a:pt x="1504" y="2765"/>
                  </a:lnTo>
                  <a:lnTo>
                    <a:pt x="1502" y="2765"/>
                  </a:lnTo>
                  <a:lnTo>
                    <a:pt x="1497" y="2765"/>
                  </a:lnTo>
                  <a:lnTo>
                    <a:pt x="1498" y="2767"/>
                  </a:lnTo>
                  <a:lnTo>
                    <a:pt x="1501" y="2771"/>
                  </a:lnTo>
                  <a:lnTo>
                    <a:pt x="1501" y="2773"/>
                  </a:lnTo>
                  <a:lnTo>
                    <a:pt x="1502" y="2774"/>
                  </a:lnTo>
                  <a:lnTo>
                    <a:pt x="1504" y="2781"/>
                  </a:lnTo>
                  <a:lnTo>
                    <a:pt x="1505" y="2784"/>
                  </a:lnTo>
                  <a:lnTo>
                    <a:pt x="1503" y="2785"/>
                  </a:lnTo>
                  <a:lnTo>
                    <a:pt x="1502" y="2786"/>
                  </a:lnTo>
                  <a:lnTo>
                    <a:pt x="1501" y="2787"/>
                  </a:lnTo>
                  <a:lnTo>
                    <a:pt x="1500" y="2789"/>
                  </a:lnTo>
                  <a:lnTo>
                    <a:pt x="1490" y="2801"/>
                  </a:lnTo>
                  <a:lnTo>
                    <a:pt x="1487" y="2803"/>
                  </a:lnTo>
                  <a:lnTo>
                    <a:pt x="1484" y="2804"/>
                  </a:lnTo>
                  <a:lnTo>
                    <a:pt x="1475" y="2803"/>
                  </a:lnTo>
                  <a:lnTo>
                    <a:pt x="1473" y="2802"/>
                  </a:lnTo>
                  <a:lnTo>
                    <a:pt x="1470" y="2800"/>
                  </a:lnTo>
                  <a:lnTo>
                    <a:pt x="1468" y="2799"/>
                  </a:lnTo>
                  <a:lnTo>
                    <a:pt x="1454" y="2799"/>
                  </a:lnTo>
                  <a:lnTo>
                    <a:pt x="1453" y="2801"/>
                  </a:lnTo>
                  <a:lnTo>
                    <a:pt x="1454" y="2804"/>
                  </a:lnTo>
                  <a:lnTo>
                    <a:pt x="1454" y="2808"/>
                  </a:lnTo>
                  <a:lnTo>
                    <a:pt x="1455" y="2810"/>
                  </a:lnTo>
                  <a:lnTo>
                    <a:pt x="1452" y="2816"/>
                  </a:lnTo>
                  <a:lnTo>
                    <a:pt x="1451" y="2818"/>
                  </a:lnTo>
                  <a:lnTo>
                    <a:pt x="1450" y="2829"/>
                  </a:lnTo>
                  <a:lnTo>
                    <a:pt x="1451" y="2851"/>
                  </a:lnTo>
                  <a:lnTo>
                    <a:pt x="1446" y="2860"/>
                  </a:lnTo>
                  <a:lnTo>
                    <a:pt x="1440" y="2865"/>
                  </a:lnTo>
                  <a:lnTo>
                    <a:pt x="1436" y="2868"/>
                  </a:lnTo>
                  <a:lnTo>
                    <a:pt x="1435" y="2872"/>
                  </a:lnTo>
                  <a:lnTo>
                    <a:pt x="1433" y="2875"/>
                  </a:lnTo>
                  <a:lnTo>
                    <a:pt x="1422" y="2885"/>
                  </a:lnTo>
                  <a:lnTo>
                    <a:pt x="1420" y="2885"/>
                  </a:lnTo>
                  <a:lnTo>
                    <a:pt x="1418" y="2885"/>
                  </a:lnTo>
                  <a:lnTo>
                    <a:pt x="1418" y="2888"/>
                  </a:lnTo>
                  <a:lnTo>
                    <a:pt x="1419" y="2892"/>
                  </a:lnTo>
                  <a:lnTo>
                    <a:pt x="1416" y="2896"/>
                  </a:lnTo>
                  <a:lnTo>
                    <a:pt x="1414" y="2901"/>
                  </a:lnTo>
                  <a:lnTo>
                    <a:pt x="1412" y="2904"/>
                  </a:lnTo>
                  <a:lnTo>
                    <a:pt x="1407" y="2906"/>
                  </a:lnTo>
                  <a:lnTo>
                    <a:pt x="1396" y="2907"/>
                  </a:lnTo>
                  <a:lnTo>
                    <a:pt x="1392" y="2906"/>
                  </a:lnTo>
                  <a:lnTo>
                    <a:pt x="1392" y="2907"/>
                  </a:lnTo>
                  <a:lnTo>
                    <a:pt x="1392" y="2910"/>
                  </a:lnTo>
                  <a:lnTo>
                    <a:pt x="1392" y="2912"/>
                  </a:lnTo>
                  <a:lnTo>
                    <a:pt x="1392" y="2914"/>
                  </a:lnTo>
                  <a:lnTo>
                    <a:pt x="1394" y="2918"/>
                  </a:lnTo>
                  <a:lnTo>
                    <a:pt x="1399" y="2919"/>
                  </a:lnTo>
                  <a:lnTo>
                    <a:pt x="1402" y="2921"/>
                  </a:lnTo>
                  <a:lnTo>
                    <a:pt x="1404" y="2924"/>
                  </a:lnTo>
                  <a:lnTo>
                    <a:pt x="1401" y="2923"/>
                  </a:lnTo>
                  <a:lnTo>
                    <a:pt x="1394" y="2923"/>
                  </a:lnTo>
                  <a:lnTo>
                    <a:pt x="1392" y="2921"/>
                  </a:lnTo>
                  <a:lnTo>
                    <a:pt x="1391" y="2922"/>
                  </a:lnTo>
                  <a:lnTo>
                    <a:pt x="1391" y="2922"/>
                  </a:lnTo>
                  <a:lnTo>
                    <a:pt x="1390" y="2923"/>
                  </a:lnTo>
                  <a:lnTo>
                    <a:pt x="1389" y="2920"/>
                  </a:lnTo>
                  <a:lnTo>
                    <a:pt x="1389" y="2917"/>
                  </a:lnTo>
                  <a:lnTo>
                    <a:pt x="1388" y="2914"/>
                  </a:lnTo>
                  <a:lnTo>
                    <a:pt x="1387" y="2912"/>
                  </a:lnTo>
                  <a:lnTo>
                    <a:pt x="1386" y="2913"/>
                  </a:lnTo>
                  <a:lnTo>
                    <a:pt x="1384" y="2915"/>
                  </a:lnTo>
                  <a:lnTo>
                    <a:pt x="1383" y="2916"/>
                  </a:lnTo>
                  <a:lnTo>
                    <a:pt x="1380" y="2916"/>
                  </a:lnTo>
                  <a:lnTo>
                    <a:pt x="1377" y="2919"/>
                  </a:lnTo>
                  <a:lnTo>
                    <a:pt x="1375" y="2922"/>
                  </a:lnTo>
                  <a:lnTo>
                    <a:pt x="1374" y="2926"/>
                  </a:lnTo>
                  <a:lnTo>
                    <a:pt x="1374" y="2931"/>
                  </a:lnTo>
                  <a:lnTo>
                    <a:pt x="1373" y="2941"/>
                  </a:lnTo>
                  <a:lnTo>
                    <a:pt x="1371" y="2944"/>
                  </a:lnTo>
                  <a:lnTo>
                    <a:pt x="1371" y="2946"/>
                  </a:lnTo>
                  <a:lnTo>
                    <a:pt x="1360" y="2952"/>
                  </a:lnTo>
                  <a:lnTo>
                    <a:pt x="1359" y="2952"/>
                  </a:lnTo>
                  <a:lnTo>
                    <a:pt x="1356" y="2952"/>
                  </a:lnTo>
                  <a:lnTo>
                    <a:pt x="1355" y="2953"/>
                  </a:lnTo>
                  <a:lnTo>
                    <a:pt x="1356" y="2958"/>
                  </a:lnTo>
                  <a:lnTo>
                    <a:pt x="1356" y="2961"/>
                  </a:lnTo>
                  <a:lnTo>
                    <a:pt x="1356" y="2964"/>
                  </a:lnTo>
                  <a:lnTo>
                    <a:pt x="1355" y="2965"/>
                  </a:lnTo>
                  <a:lnTo>
                    <a:pt x="1353" y="2966"/>
                  </a:lnTo>
                  <a:lnTo>
                    <a:pt x="1347" y="2970"/>
                  </a:lnTo>
                  <a:lnTo>
                    <a:pt x="1329" y="2989"/>
                  </a:lnTo>
                  <a:lnTo>
                    <a:pt x="1323" y="2993"/>
                  </a:lnTo>
                  <a:lnTo>
                    <a:pt x="1318" y="2993"/>
                  </a:lnTo>
                  <a:lnTo>
                    <a:pt x="1317" y="2993"/>
                  </a:lnTo>
                  <a:lnTo>
                    <a:pt x="1316" y="2996"/>
                  </a:lnTo>
                  <a:lnTo>
                    <a:pt x="1315" y="2998"/>
                  </a:lnTo>
                  <a:lnTo>
                    <a:pt x="1313" y="3002"/>
                  </a:lnTo>
                  <a:lnTo>
                    <a:pt x="1310" y="3004"/>
                  </a:lnTo>
                  <a:lnTo>
                    <a:pt x="1306" y="3002"/>
                  </a:lnTo>
                  <a:lnTo>
                    <a:pt x="1301" y="2998"/>
                  </a:lnTo>
                  <a:lnTo>
                    <a:pt x="1298" y="2998"/>
                  </a:lnTo>
                  <a:lnTo>
                    <a:pt x="1292" y="3002"/>
                  </a:lnTo>
                  <a:lnTo>
                    <a:pt x="1286" y="3003"/>
                  </a:lnTo>
                  <a:lnTo>
                    <a:pt x="1276" y="3009"/>
                  </a:lnTo>
                  <a:lnTo>
                    <a:pt x="1272" y="3011"/>
                  </a:lnTo>
                  <a:lnTo>
                    <a:pt x="1271" y="3012"/>
                  </a:lnTo>
                  <a:lnTo>
                    <a:pt x="1267" y="3017"/>
                  </a:lnTo>
                  <a:lnTo>
                    <a:pt x="1267" y="3018"/>
                  </a:lnTo>
                  <a:lnTo>
                    <a:pt x="1266" y="3019"/>
                  </a:lnTo>
                  <a:lnTo>
                    <a:pt x="1267" y="3022"/>
                  </a:lnTo>
                  <a:lnTo>
                    <a:pt x="1268" y="3026"/>
                  </a:lnTo>
                  <a:lnTo>
                    <a:pt x="1268" y="3026"/>
                  </a:lnTo>
                  <a:lnTo>
                    <a:pt x="1268" y="3027"/>
                  </a:lnTo>
                  <a:lnTo>
                    <a:pt x="1269" y="3028"/>
                  </a:lnTo>
                  <a:lnTo>
                    <a:pt x="1269" y="3030"/>
                  </a:lnTo>
                  <a:lnTo>
                    <a:pt x="1268" y="3031"/>
                  </a:lnTo>
                  <a:lnTo>
                    <a:pt x="1267" y="3031"/>
                  </a:lnTo>
                  <a:lnTo>
                    <a:pt x="1266" y="3032"/>
                  </a:lnTo>
                  <a:lnTo>
                    <a:pt x="1267" y="3039"/>
                  </a:lnTo>
                  <a:lnTo>
                    <a:pt x="1273" y="3041"/>
                  </a:lnTo>
                  <a:lnTo>
                    <a:pt x="1281" y="3040"/>
                  </a:lnTo>
                  <a:lnTo>
                    <a:pt x="1287" y="3038"/>
                  </a:lnTo>
                  <a:lnTo>
                    <a:pt x="1290" y="3037"/>
                  </a:lnTo>
                  <a:lnTo>
                    <a:pt x="1292" y="3035"/>
                  </a:lnTo>
                  <a:lnTo>
                    <a:pt x="1294" y="3032"/>
                  </a:lnTo>
                  <a:lnTo>
                    <a:pt x="1293" y="3027"/>
                  </a:lnTo>
                  <a:lnTo>
                    <a:pt x="1293" y="3024"/>
                  </a:lnTo>
                  <a:lnTo>
                    <a:pt x="1296" y="3021"/>
                  </a:lnTo>
                  <a:lnTo>
                    <a:pt x="1300" y="3020"/>
                  </a:lnTo>
                  <a:lnTo>
                    <a:pt x="1304" y="3020"/>
                  </a:lnTo>
                  <a:lnTo>
                    <a:pt x="1306" y="3021"/>
                  </a:lnTo>
                  <a:lnTo>
                    <a:pt x="1312" y="3024"/>
                  </a:lnTo>
                  <a:lnTo>
                    <a:pt x="1318" y="3025"/>
                  </a:lnTo>
                  <a:lnTo>
                    <a:pt x="1328" y="3030"/>
                  </a:lnTo>
                  <a:lnTo>
                    <a:pt x="1331" y="3032"/>
                  </a:lnTo>
                  <a:lnTo>
                    <a:pt x="1333" y="3035"/>
                  </a:lnTo>
                  <a:lnTo>
                    <a:pt x="1338" y="3042"/>
                  </a:lnTo>
                  <a:lnTo>
                    <a:pt x="1339" y="3045"/>
                  </a:lnTo>
                  <a:lnTo>
                    <a:pt x="1339" y="3047"/>
                  </a:lnTo>
                  <a:lnTo>
                    <a:pt x="1339" y="3049"/>
                  </a:lnTo>
                  <a:lnTo>
                    <a:pt x="1339" y="3052"/>
                  </a:lnTo>
                  <a:lnTo>
                    <a:pt x="1340" y="3053"/>
                  </a:lnTo>
                  <a:lnTo>
                    <a:pt x="1341" y="3055"/>
                  </a:lnTo>
                  <a:lnTo>
                    <a:pt x="1346" y="3060"/>
                  </a:lnTo>
                  <a:lnTo>
                    <a:pt x="1347" y="3061"/>
                  </a:lnTo>
                  <a:lnTo>
                    <a:pt x="1349" y="3062"/>
                  </a:lnTo>
                  <a:lnTo>
                    <a:pt x="1349" y="3061"/>
                  </a:lnTo>
                  <a:lnTo>
                    <a:pt x="1351" y="3055"/>
                  </a:lnTo>
                  <a:lnTo>
                    <a:pt x="1356" y="3049"/>
                  </a:lnTo>
                  <a:lnTo>
                    <a:pt x="1357" y="3048"/>
                  </a:lnTo>
                  <a:lnTo>
                    <a:pt x="1359" y="3048"/>
                  </a:lnTo>
                  <a:lnTo>
                    <a:pt x="1362" y="3049"/>
                  </a:lnTo>
                  <a:lnTo>
                    <a:pt x="1363" y="3048"/>
                  </a:lnTo>
                  <a:lnTo>
                    <a:pt x="1368" y="3042"/>
                  </a:lnTo>
                  <a:lnTo>
                    <a:pt x="1370" y="3037"/>
                  </a:lnTo>
                  <a:lnTo>
                    <a:pt x="1369" y="3035"/>
                  </a:lnTo>
                  <a:lnTo>
                    <a:pt x="1369" y="3034"/>
                  </a:lnTo>
                  <a:lnTo>
                    <a:pt x="1368" y="3031"/>
                  </a:lnTo>
                  <a:lnTo>
                    <a:pt x="1368" y="3030"/>
                  </a:lnTo>
                  <a:lnTo>
                    <a:pt x="1367" y="3029"/>
                  </a:lnTo>
                  <a:lnTo>
                    <a:pt x="1365" y="3030"/>
                  </a:lnTo>
                  <a:lnTo>
                    <a:pt x="1364" y="3030"/>
                  </a:lnTo>
                  <a:lnTo>
                    <a:pt x="1362" y="3028"/>
                  </a:lnTo>
                  <a:lnTo>
                    <a:pt x="1361" y="3028"/>
                  </a:lnTo>
                  <a:lnTo>
                    <a:pt x="1359" y="3028"/>
                  </a:lnTo>
                  <a:lnTo>
                    <a:pt x="1364" y="3026"/>
                  </a:lnTo>
                  <a:lnTo>
                    <a:pt x="1366" y="3025"/>
                  </a:lnTo>
                  <a:lnTo>
                    <a:pt x="1366" y="3023"/>
                  </a:lnTo>
                  <a:lnTo>
                    <a:pt x="1366" y="3021"/>
                  </a:lnTo>
                  <a:lnTo>
                    <a:pt x="1366" y="3019"/>
                  </a:lnTo>
                  <a:lnTo>
                    <a:pt x="1368" y="3018"/>
                  </a:lnTo>
                  <a:lnTo>
                    <a:pt x="1370" y="3017"/>
                  </a:lnTo>
                  <a:lnTo>
                    <a:pt x="1371" y="3016"/>
                  </a:lnTo>
                  <a:lnTo>
                    <a:pt x="1372" y="3016"/>
                  </a:lnTo>
                  <a:lnTo>
                    <a:pt x="1370" y="3013"/>
                  </a:lnTo>
                  <a:lnTo>
                    <a:pt x="1369" y="3013"/>
                  </a:lnTo>
                  <a:lnTo>
                    <a:pt x="1369" y="3011"/>
                  </a:lnTo>
                  <a:lnTo>
                    <a:pt x="1371" y="3008"/>
                  </a:lnTo>
                  <a:lnTo>
                    <a:pt x="1371" y="3006"/>
                  </a:lnTo>
                  <a:lnTo>
                    <a:pt x="1371" y="3003"/>
                  </a:lnTo>
                  <a:lnTo>
                    <a:pt x="1374" y="3003"/>
                  </a:lnTo>
                  <a:lnTo>
                    <a:pt x="1376" y="3004"/>
                  </a:lnTo>
                  <a:lnTo>
                    <a:pt x="1377" y="3013"/>
                  </a:lnTo>
                  <a:lnTo>
                    <a:pt x="1379" y="3016"/>
                  </a:lnTo>
                  <a:lnTo>
                    <a:pt x="1385" y="3005"/>
                  </a:lnTo>
                  <a:lnTo>
                    <a:pt x="1387" y="3003"/>
                  </a:lnTo>
                  <a:lnTo>
                    <a:pt x="1394" y="3000"/>
                  </a:lnTo>
                  <a:lnTo>
                    <a:pt x="1397" y="2999"/>
                  </a:lnTo>
                  <a:lnTo>
                    <a:pt x="1400" y="2995"/>
                  </a:lnTo>
                  <a:lnTo>
                    <a:pt x="1403" y="2994"/>
                  </a:lnTo>
                  <a:lnTo>
                    <a:pt x="1411" y="2995"/>
                  </a:lnTo>
                  <a:lnTo>
                    <a:pt x="1412" y="2993"/>
                  </a:lnTo>
                  <a:lnTo>
                    <a:pt x="1412" y="2992"/>
                  </a:lnTo>
                  <a:lnTo>
                    <a:pt x="1415" y="2988"/>
                  </a:lnTo>
                  <a:lnTo>
                    <a:pt x="1415" y="2986"/>
                  </a:lnTo>
                  <a:lnTo>
                    <a:pt x="1414" y="2985"/>
                  </a:lnTo>
                  <a:lnTo>
                    <a:pt x="1413" y="2983"/>
                  </a:lnTo>
                  <a:lnTo>
                    <a:pt x="1414" y="2982"/>
                  </a:lnTo>
                  <a:lnTo>
                    <a:pt x="1415" y="2980"/>
                  </a:lnTo>
                  <a:lnTo>
                    <a:pt x="1417" y="2978"/>
                  </a:lnTo>
                  <a:lnTo>
                    <a:pt x="1418" y="2977"/>
                  </a:lnTo>
                  <a:lnTo>
                    <a:pt x="1418" y="2975"/>
                  </a:lnTo>
                  <a:lnTo>
                    <a:pt x="1417" y="2972"/>
                  </a:lnTo>
                  <a:lnTo>
                    <a:pt x="1418" y="2970"/>
                  </a:lnTo>
                  <a:lnTo>
                    <a:pt x="1422" y="2969"/>
                  </a:lnTo>
                  <a:lnTo>
                    <a:pt x="1425" y="2969"/>
                  </a:lnTo>
                  <a:lnTo>
                    <a:pt x="1426" y="2968"/>
                  </a:lnTo>
                  <a:lnTo>
                    <a:pt x="1426" y="2968"/>
                  </a:lnTo>
                  <a:lnTo>
                    <a:pt x="1427" y="2967"/>
                  </a:lnTo>
                  <a:lnTo>
                    <a:pt x="1429" y="2967"/>
                  </a:lnTo>
                  <a:lnTo>
                    <a:pt x="1431" y="2974"/>
                  </a:lnTo>
                  <a:lnTo>
                    <a:pt x="1432" y="2974"/>
                  </a:lnTo>
                  <a:lnTo>
                    <a:pt x="1432" y="2973"/>
                  </a:lnTo>
                  <a:lnTo>
                    <a:pt x="1433" y="2973"/>
                  </a:lnTo>
                  <a:lnTo>
                    <a:pt x="1433" y="2972"/>
                  </a:lnTo>
                  <a:lnTo>
                    <a:pt x="1459" y="2971"/>
                  </a:lnTo>
                  <a:lnTo>
                    <a:pt x="1465" y="2968"/>
                  </a:lnTo>
                  <a:lnTo>
                    <a:pt x="1477" y="2961"/>
                  </a:lnTo>
                  <a:lnTo>
                    <a:pt x="1484" y="2960"/>
                  </a:lnTo>
                  <a:lnTo>
                    <a:pt x="1498" y="2964"/>
                  </a:lnTo>
                  <a:lnTo>
                    <a:pt x="1500" y="2965"/>
                  </a:lnTo>
                  <a:lnTo>
                    <a:pt x="1502" y="2969"/>
                  </a:lnTo>
                  <a:lnTo>
                    <a:pt x="1504" y="2972"/>
                  </a:lnTo>
                  <a:lnTo>
                    <a:pt x="1507" y="2972"/>
                  </a:lnTo>
                  <a:lnTo>
                    <a:pt x="1507" y="2971"/>
                  </a:lnTo>
                  <a:lnTo>
                    <a:pt x="1506" y="2969"/>
                  </a:lnTo>
                  <a:lnTo>
                    <a:pt x="1506" y="2967"/>
                  </a:lnTo>
                  <a:lnTo>
                    <a:pt x="1507" y="2966"/>
                  </a:lnTo>
                  <a:lnTo>
                    <a:pt x="1509" y="2965"/>
                  </a:lnTo>
                  <a:lnTo>
                    <a:pt x="1509" y="2964"/>
                  </a:lnTo>
                  <a:lnTo>
                    <a:pt x="1505" y="2964"/>
                  </a:lnTo>
                  <a:lnTo>
                    <a:pt x="1506" y="2962"/>
                  </a:lnTo>
                  <a:lnTo>
                    <a:pt x="1503" y="2962"/>
                  </a:lnTo>
                  <a:lnTo>
                    <a:pt x="1501" y="2962"/>
                  </a:lnTo>
                  <a:lnTo>
                    <a:pt x="1501" y="2960"/>
                  </a:lnTo>
                  <a:lnTo>
                    <a:pt x="1507" y="2959"/>
                  </a:lnTo>
                  <a:lnTo>
                    <a:pt x="1504" y="2956"/>
                  </a:lnTo>
                  <a:lnTo>
                    <a:pt x="1495" y="2957"/>
                  </a:lnTo>
                  <a:lnTo>
                    <a:pt x="1492" y="2954"/>
                  </a:lnTo>
                  <a:lnTo>
                    <a:pt x="1500" y="2954"/>
                  </a:lnTo>
                  <a:lnTo>
                    <a:pt x="1501" y="2954"/>
                  </a:lnTo>
                  <a:lnTo>
                    <a:pt x="1503" y="2952"/>
                  </a:lnTo>
                  <a:lnTo>
                    <a:pt x="1504" y="2949"/>
                  </a:lnTo>
                  <a:lnTo>
                    <a:pt x="1503" y="2946"/>
                  </a:lnTo>
                  <a:lnTo>
                    <a:pt x="1500" y="2945"/>
                  </a:lnTo>
                  <a:lnTo>
                    <a:pt x="1500" y="2943"/>
                  </a:lnTo>
                  <a:lnTo>
                    <a:pt x="1502" y="2944"/>
                  </a:lnTo>
                  <a:lnTo>
                    <a:pt x="1504" y="2943"/>
                  </a:lnTo>
                  <a:lnTo>
                    <a:pt x="1505" y="2941"/>
                  </a:lnTo>
                  <a:lnTo>
                    <a:pt x="1505" y="2940"/>
                  </a:lnTo>
                  <a:lnTo>
                    <a:pt x="1506" y="2938"/>
                  </a:lnTo>
                  <a:lnTo>
                    <a:pt x="1508" y="2939"/>
                  </a:lnTo>
                  <a:lnTo>
                    <a:pt x="1509" y="2940"/>
                  </a:lnTo>
                  <a:lnTo>
                    <a:pt x="1512" y="2938"/>
                  </a:lnTo>
                  <a:lnTo>
                    <a:pt x="1511" y="2942"/>
                  </a:lnTo>
                  <a:lnTo>
                    <a:pt x="1509" y="2945"/>
                  </a:lnTo>
                  <a:lnTo>
                    <a:pt x="1507" y="2949"/>
                  </a:lnTo>
                  <a:lnTo>
                    <a:pt x="1509" y="2953"/>
                  </a:lnTo>
                  <a:lnTo>
                    <a:pt x="1510" y="2955"/>
                  </a:lnTo>
                  <a:lnTo>
                    <a:pt x="1510" y="2957"/>
                  </a:lnTo>
                  <a:lnTo>
                    <a:pt x="1511" y="2959"/>
                  </a:lnTo>
                  <a:lnTo>
                    <a:pt x="1514" y="2960"/>
                  </a:lnTo>
                  <a:lnTo>
                    <a:pt x="1515" y="2961"/>
                  </a:lnTo>
                  <a:lnTo>
                    <a:pt x="1521" y="2960"/>
                  </a:lnTo>
                  <a:lnTo>
                    <a:pt x="1519" y="2965"/>
                  </a:lnTo>
                  <a:lnTo>
                    <a:pt x="1520" y="2968"/>
                  </a:lnTo>
                  <a:lnTo>
                    <a:pt x="1524" y="2971"/>
                  </a:lnTo>
                  <a:lnTo>
                    <a:pt x="1528" y="2972"/>
                  </a:lnTo>
                  <a:lnTo>
                    <a:pt x="1527" y="2974"/>
                  </a:lnTo>
                  <a:lnTo>
                    <a:pt x="1527" y="2975"/>
                  </a:lnTo>
                  <a:lnTo>
                    <a:pt x="1529" y="2978"/>
                  </a:lnTo>
                  <a:lnTo>
                    <a:pt x="1531" y="2978"/>
                  </a:lnTo>
                  <a:lnTo>
                    <a:pt x="1533" y="2979"/>
                  </a:lnTo>
                  <a:lnTo>
                    <a:pt x="1534" y="2978"/>
                  </a:lnTo>
                  <a:lnTo>
                    <a:pt x="1536" y="2976"/>
                  </a:lnTo>
                  <a:lnTo>
                    <a:pt x="1537" y="2975"/>
                  </a:lnTo>
                  <a:lnTo>
                    <a:pt x="1539" y="2975"/>
                  </a:lnTo>
                  <a:lnTo>
                    <a:pt x="1543" y="2973"/>
                  </a:lnTo>
                  <a:lnTo>
                    <a:pt x="1544" y="2972"/>
                  </a:lnTo>
                  <a:lnTo>
                    <a:pt x="1546" y="2973"/>
                  </a:lnTo>
                  <a:lnTo>
                    <a:pt x="1556" y="2983"/>
                  </a:lnTo>
                  <a:lnTo>
                    <a:pt x="1565" y="2994"/>
                  </a:lnTo>
                  <a:lnTo>
                    <a:pt x="1571" y="2999"/>
                  </a:lnTo>
                  <a:lnTo>
                    <a:pt x="1573" y="2997"/>
                  </a:lnTo>
                  <a:lnTo>
                    <a:pt x="1576" y="2997"/>
                  </a:lnTo>
                  <a:lnTo>
                    <a:pt x="1579" y="2998"/>
                  </a:lnTo>
                  <a:lnTo>
                    <a:pt x="1583" y="2999"/>
                  </a:lnTo>
                  <a:lnTo>
                    <a:pt x="1585" y="2999"/>
                  </a:lnTo>
                  <a:lnTo>
                    <a:pt x="1592" y="2997"/>
                  </a:lnTo>
                  <a:lnTo>
                    <a:pt x="1594" y="2996"/>
                  </a:lnTo>
                  <a:lnTo>
                    <a:pt x="1593" y="2990"/>
                  </a:lnTo>
                  <a:lnTo>
                    <a:pt x="1594" y="2984"/>
                  </a:lnTo>
                  <a:lnTo>
                    <a:pt x="1595" y="2979"/>
                  </a:lnTo>
                  <a:lnTo>
                    <a:pt x="1596" y="2975"/>
                  </a:lnTo>
                  <a:lnTo>
                    <a:pt x="1598" y="2972"/>
                  </a:lnTo>
                  <a:lnTo>
                    <a:pt x="1601" y="2971"/>
                  </a:lnTo>
                  <a:lnTo>
                    <a:pt x="1605" y="2969"/>
                  </a:lnTo>
                  <a:lnTo>
                    <a:pt x="1606" y="2964"/>
                  </a:lnTo>
                  <a:lnTo>
                    <a:pt x="1608" y="2966"/>
                  </a:lnTo>
                  <a:lnTo>
                    <a:pt x="1611" y="2967"/>
                  </a:lnTo>
                  <a:lnTo>
                    <a:pt x="1613" y="2965"/>
                  </a:lnTo>
                  <a:lnTo>
                    <a:pt x="1614" y="2959"/>
                  </a:lnTo>
                  <a:lnTo>
                    <a:pt x="1615" y="2958"/>
                  </a:lnTo>
                  <a:lnTo>
                    <a:pt x="1616" y="2957"/>
                  </a:lnTo>
                  <a:lnTo>
                    <a:pt x="1617" y="2957"/>
                  </a:lnTo>
                  <a:lnTo>
                    <a:pt x="1617" y="2956"/>
                  </a:lnTo>
                  <a:lnTo>
                    <a:pt x="1619" y="2952"/>
                  </a:lnTo>
                  <a:lnTo>
                    <a:pt x="1619" y="2950"/>
                  </a:lnTo>
                  <a:lnTo>
                    <a:pt x="1612" y="2950"/>
                  </a:lnTo>
                  <a:lnTo>
                    <a:pt x="1609" y="2949"/>
                  </a:lnTo>
                  <a:lnTo>
                    <a:pt x="1608" y="2945"/>
                  </a:lnTo>
                  <a:lnTo>
                    <a:pt x="1609" y="2941"/>
                  </a:lnTo>
                  <a:lnTo>
                    <a:pt x="1612" y="2939"/>
                  </a:lnTo>
                  <a:lnTo>
                    <a:pt x="1616" y="2938"/>
                  </a:lnTo>
                  <a:lnTo>
                    <a:pt x="1619" y="2938"/>
                  </a:lnTo>
                  <a:lnTo>
                    <a:pt x="1616" y="2928"/>
                  </a:lnTo>
                  <a:lnTo>
                    <a:pt x="1616" y="2923"/>
                  </a:lnTo>
                  <a:lnTo>
                    <a:pt x="1618" y="2916"/>
                  </a:lnTo>
                  <a:lnTo>
                    <a:pt x="1620" y="2911"/>
                  </a:lnTo>
                  <a:lnTo>
                    <a:pt x="1622" y="2907"/>
                  </a:lnTo>
                  <a:lnTo>
                    <a:pt x="1625" y="2903"/>
                  </a:lnTo>
                  <a:lnTo>
                    <a:pt x="1628" y="2900"/>
                  </a:lnTo>
                  <a:lnTo>
                    <a:pt x="1626" y="2897"/>
                  </a:lnTo>
                  <a:lnTo>
                    <a:pt x="1624" y="2889"/>
                  </a:lnTo>
                  <a:lnTo>
                    <a:pt x="1622" y="2886"/>
                  </a:lnTo>
                  <a:lnTo>
                    <a:pt x="1622" y="2885"/>
                  </a:lnTo>
                  <a:lnTo>
                    <a:pt x="1622" y="2884"/>
                  </a:lnTo>
                  <a:lnTo>
                    <a:pt x="1623" y="2884"/>
                  </a:lnTo>
                  <a:lnTo>
                    <a:pt x="1624" y="2884"/>
                  </a:lnTo>
                  <a:lnTo>
                    <a:pt x="1624" y="2884"/>
                  </a:lnTo>
                  <a:lnTo>
                    <a:pt x="1625" y="2885"/>
                  </a:lnTo>
                  <a:lnTo>
                    <a:pt x="1625" y="2885"/>
                  </a:lnTo>
                  <a:lnTo>
                    <a:pt x="1626" y="2886"/>
                  </a:lnTo>
                  <a:lnTo>
                    <a:pt x="1628" y="2892"/>
                  </a:lnTo>
                  <a:lnTo>
                    <a:pt x="1630" y="2896"/>
                  </a:lnTo>
                  <a:lnTo>
                    <a:pt x="1632" y="2898"/>
                  </a:lnTo>
                  <a:lnTo>
                    <a:pt x="1634" y="2899"/>
                  </a:lnTo>
                  <a:lnTo>
                    <a:pt x="1638" y="2899"/>
                  </a:lnTo>
                  <a:lnTo>
                    <a:pt x="1650" y="2894"/>
                  </a:lnTo>
                  <a:lnTo>
                    <a:pt x="1652" y="2890"/>
                  </a:lnTo>
                  <a:lnTo>
                    <a:pt x="1653" y="2887"/>
                  </a:lnTo>
                  <a:lnTo>
                    <a:pt x="1655" y="2885"/>
                  </a:lnTo>
                  <a:lnTo>
                    <a:pt x="1662" y="2883"/>
                  </a:lnTo>
                  <a:lnTo>
                    <a:pt x="1667" y="2880"/>
                  </a:lnTo>
                  <a:lnTo>
                    <a:pt x="1670" y="2880"/>
                  </a:lnTo>
                  <a:lnTo>
                    <a:pt x="1672" y="2880"/>
                  </a:lnTo>
                  <a:lnTo>
                    <a:pt x="1675" y="2882"/>
                  </a:lnTo>
                  <a:lnTo>
                    <a:pt x="1676" y="2882"/>
                  </a:lnTo>
                  <a:lnTo>
                    <a:pt x="1678" y="2881"/>
                  </a:lnTo>
                  <a:lnTo>
                    <a:pt x="1681" y="2879"/>
                  </a:lnTo>
                  <a:lnTo>
                    <a:pt x="1681" y="2878"/>
                  </a:lnTo>
                  <a:lnTo>
                    <a:pt x="1685" y="2875"/>
                  </a:lnTo>
                  <a:lnTo>
                    <a:pt x="1687" y="2875"/>
                  </a:lnTo>
                  <a:lnTo>
                    <a:pt x="1693" y="2876"/>
                  </a:lnTo>
                  <a:lnTo>
                    <a:pt x="1697" y="2876"/>
                  </a:lnTo>
                  <a:lnTo>
                    <a:pt x="1702" y="2872"/>
                  </a:lnTo>
                  <a:lnTo>
                    <a:pt x="1705" y="2872"/>
                  </a:lnTo>
                  <a:lnTo>
                    <a:pt x="1715" y="2870"/>
                  </a:lnTo>
                  <a:lnTo>
                    <a:pt x="1718" y="2870"/>
                  </a:lnTo>
                  <a:lnTo>
                    <a:pt x="1745" y="2880"/>
                  </a:lnTo>
                  <a:lnTo>
                    <a:pt x="1778" y="2905"/>
                  </a:lnTo>
                  <a:lnTo>
                    <a:pt x="1782" y="2912"/>
                  </a:lnTo>
                  <a:lnTo>
                    <a:pt x="1782" y="2921"/>
                  </a:lnTo>
                  <a:lnTo>
                    <a:pt x="1783" y="2921"/>
                  </a:lnTo>
                  <a:lnTo>
                    <a:pt x="1785" y="2918"/>
                  </a:lnTo>
                  <a:lnTo>
                    <a:pt x="1787" y="2914"/>
                  </a:lnTo>
                  <a:lnTo>
                    <a:pt x="1787" y="2910"/>
                  </a:lnTo>
                  <a:lnTo>
                    <a:pt x="1783" y="2909"/>
                  </a:lnTo>
                  <a:lnTo>
                    <a:pt x="1781" y="2907"/>
                  </a:lnTo>
                  <a:lnTo>
                    <a:pt x="1782" y="2901"/>
                  </a:lnTo>
                  <a:lnTo>
                    <a:pt x="1784" y="2896"/>
                  </a:lnTo>
                  <a:lnTo>
                    <a:pt x="1786" y="2894"/>
                  </a:lnTo>
                  <a:lnTo>
                    <a:pt x="1792" y="2892"/>
                  </a:lnTo>
                  <a:lnTo>
                    <a:pt x="1795" y="2891"/>
                  </a:lnTo>
                  <a:lnTo>
                    <a:pt x="1801" y="2895"/>
                  </a:lnTo>
                  <a:lnTo>
                    <a:pt x="1830" y="2898"/>
                  </a:lnTo>
                  <a:lnTo>
                    <a:pt x="1842" y="2904"/>
                  </a:lnTo>
                  <a:lnTo>
                    <a:pt x="1845" y="2904"/>
                  </a:lnTo>
                  <a:lnTo>
                    <a:pt x="1858" y="2904"/>
                  </a:lnTo>
                  <a:lnTo>
                    <a:pt x="1861" y="2903"/>
                  </a:lnTo>
                  <a:lnTo>
                    <a:pt x="1861" y="2899"/>
                  </a:lnTo>
                  <a:lnTo>
                    <a:pt x="1866" y="2892"/>
                  </a:lnTo>
                  <a:lnTo>
                    <a:pt x="1865" y="2892"/>
                  </a:lnTo>
                  <a:lnTo>
                    <a:pt x="1863" y="2890"/>
                  </a:lnTo>
                  <a:lnTo>
                    <a:pt x="1864" y="2886"/>
                  </a:lnTo>
                  <a:lnTo>
                    <a:pt x="1863" y="2884"/>
                  </a:lnTo>
                  <a:lnTo>
                    <a:pt x="1860" y="2884"/>
                  </a:lnTo>
                  <a:lnTo>
                    <a:pt x="1858" y="2884"/>
                  </a:lnTo>
                  <a:lnTo>
                    <a:pt x="1855" y="2883"/>
                  </a:lnTo>
                  <a:lnTo>
                    <a:pt x="1853" y="2881"/>
                  </a:lnTo>
                  <a:lnTo>
                    <a:pt x="1850" y="2875"/>
                  </a:lnTo>
                  <a:lnTo>
                    <a:pt x="1848" y="2876"/>
                  </a:lnTo>
                  <a:lnTo>
                    <a:pt x="1846" y="2877"/>
                  </a:lnTo>
                  <a:lnTo>
                    <a:pt x="1844" y="2878"/>
                  </a:lnTo>
                  <a:lnTo>
                    <a:pt x="1842" y="2878"/>
                  </a:lnTo>
                  <a:lnTo>
                    <a:pt x="1847" y="2870"/>
                  </a:lnTo>
                  <a:lnTo>
                    <a:pt x="1849" y="2868"/>
                  </a:lnTo>
                  <a:lnTo>
                    <a:pt x="1850" y="2869"/>
                  </a:lnTo>
                  <a:lnTo>
                    <a:pt x="1851" y="2872"/>
                  </a:lnTo>
                  <a:lnTo>
                    <a:pt x="1851" y="2872"/>
                  </a:lnTo>
                  <a:lnTo>
                    <a:pt x="1852" y="2873"/>
                  </a:lnTo>
                  <a:lnTo>
                    <a:pt x="1853" y="2873"/>
                  </a:lnTo>
                  <a:lnTo>
                    <a:pt x="1857" y="2873"/>
                  </a:lnTo>
                  <a:lnTo>
                    <a:pt x="1863" y="2875"/>
                  </a:lnTo>
                  <a:lnTo>
                    <a:pt x="1864" y="2876"/>
                  </a:lnTo>
                  <a:lnTo>
                    <a:pt x="1864" y="2879"/>
                  </a:lnTo>
                  <a:lnTo>
                    <a:pt x="1865" y="2880"/>
                  </a:lnTo>
                  <a:lnTo>
                    <a:pt x="1866" y="2879"/>
                  </a:lnTo>
                  <a:lnTo>
                    <a:pt x="1869" y="2876"/>
                  </a:lnTo>
                  <a:lnTo>
                    <a:pt x="1871" y="2874"/>
                  </a:lnTo>
                  <a:lnTo>
                    <a:pt x="1872" y="2874"/>
                  </a:lnTo>
                  <a:lnTo>
                    <a:pt x="1875" y="2872"/>
                  </a:lnTo>
                  <a:lnTo>
                    <a:pt x="1878" y="2871"/>
                  </a:lnTo>
                  <a:lnTo>
                    <a:pt x="1881" y="2871"/>
                  </a:lnTo>
                  <a:lnTo>
                    <a:pt x="1887" y="2872"/>
                  </a:lnTo>
                  <a:lnTo>
                    <a:pt x="1891" y="2873"/>
                  </a:lnTo>
                  <a:lnTo>
                    <a:pt x="1894" y="2872"/>
                  </a:lnTo>
                  <a:lnTo>
                    <a:pt x="1900" y="2869"/>
                  </a:lnTo>
                  <a:lnTo>
                    <a:pt x="1904" y="2868"/>
                  </a:lnTo>
                  <a:lnTo>
                    <a:pt x="1907" y="2868"/>
                  </a:lnTo>
                  <a:lnTo>
                    <a:pt x="1907" y="2868"/>
                  </a:lnTo>
                  <a:lnTo>
                    <a:pt x="1918" y="2870"/>
                  </a:lnTo>
                  <a:lnTo>
                    <a:pt x="1922" y="2872"/>
                  </a:lnTo>
                  <a:lnTo>
                    <a:pt x="1925" y="2873"/>
                  </a:lnTo>
                  <a:lnTo>
                    <a:pt x="1925" y="2873"/>
                  </a:lnTo>
                  <a:lnTo>
                    <a:pt x="1925" y="2872"/>
                  </a:lnTo>
                  <a:lnTo>
                    <a:pt x="1931" y="2863"/>
                  </a:lnTo>
                  <a:lnTo>
                    <a:pt x="1936" y="2864"/>
                  </a:lnTo>
                  <a:lnTo>
                    <a:pt x="1937" y="2864"/>
                  </a:lnTo>
                  <a:lnTo>
                    <a:pt x="1938" y="2862"/>
                  </a:lnTo>
                  <a:lnTo>
                    <a:pt x="1942" y="2861"/>
                  </a:lnTo>
                  <a:lnTo>
                    <a:pt x="1950" y="2860"/>
                  </a:lnTo>
                  <a:lnTo>
                    <a:pt x="1950" y="2858"/>
                  </a:lnTo>
                  <a:lnTo>
                    <a:pt x="1949" y="2857"/>
                  </a:lnTo>
                  <a:lnTo>
                    <a:pt x="1948" y="2856"/>
                  </a:lnTo>
                  <a:lnTo>
                    <a:pt x="1950" y="2855"/>
                  </a:lnTo>
                  <a:lnTo>
                    <a:pt x="1960" y="2854"/>
                  </a:lnTo>
                  <a:lnTo>
                    <a:pt x="1964" y="2853"/>
                  </a:lnTo>
                  <a:lnTo>
                    <a:pt x="1964" y="2850"/>
                  </a:lnTo>
                  <a:lnTo>
                    <a:pt x="1963" y="2847"/>
                  </a:lnTo>
                  <a:lnTo>
                    <a:pt x="1950" y="2833"/>
                  </a:lnTo>
                  <a:lnTo>
                    <a:pt x="1946" y="2828"/>
                  </a:lnTo>
                  <a:lnTo>
                    <a:pt x="1944" y="2828"/>
                  </a:lnTo>
                  <a:lnTo>
                    <a:pt x="1941" y="2826"/>
                  </a:lnTo>
                  <a:lnTo>
                    <a:pt x="1940" y="2825"/>
                  </a:lnTo>
                  <a:lnTo>
                    <a:pt x="1940" y="2823"/>
                  </a:lnTo>
                  <a:lnTo>
                    <a:pt x="1943" y="2825"/>
                  </a:lnTo>
                  <a:lnTo>
                    <a:pt x="1960" y="2835"/>
                  </a:lnTo>
                  <a:lnTo>
                    <a:pt x="1963" y="2839"/>
                  </a:lnTo>
                  <a:lnTo>
                    <a:pt x="1966" y="2842"/>
                  </a:lnTo>
                  <a:lnTo>
                    <a:pt x="1968" y="2843"/>
                  </a:lnTo>
                  <a:lnTo>
                    <a:pt x="1974" y="2845"/>
                  </a:lnTo>
                  <a:lnTo>
                    <a:pt x="1977" y="2848"/>
                  </a:lnTo>
                  <a:lnTo>
                    <a:pt x="1982" y="2851"/>
                  </a:lnTo>
                  <a:lnTo>
                    <a:pt x="1983" y="2853"/>
                  </a:lnTo>
                  <a:lnTo>
                    <a:pt x="1984" y="2855"/>
                  </a:lnTo>
                  <a:lnTo>
                    <a:pt x="1987" y="2857"/>
                  </a:lnTo>
                  <a:lnTo>
                    <a:pt x="1990" y="2858"/>
                  </a:lnTo>
                  <a:lnTo>
                    <a:pt x="1992" y="2858"/>
                  </a:lnTo>
                  <a:lnTo>
                    <a:pt x="1994" y="2856"/>
                  </a:lnTo>
                  <a:lnTo>
                    <a:pt x="1995" y="2853"/>
                  </a:lnTo>
                  <a:lnTo>
                    <a:pt x="1994" y="2848"/>
                  </a:lnTo>
                  <a:lnTo>
                    <a:pt x="1993" y="2847"/>
                  </a:lnTo>
                  <a:lnTo>
                    <a:pt x="1988" y="2842"/>
                  </a:lnTo>
                  <a:lnTo>
                    <a:pt x="1990" y="2841"/>
                  </a:lnTo>
                  <a:lnTo>
                    <a:pt x="2000" y="2841"/>
                  </a:lnTo>
                  <a:lnTo>
                    <a:pt x="2000" y="2841"/>
                  </a:lnTo>
                  <a:lnTo>
                    <a:pt x="2003" y="2842"/>
                  </a:lnTo>
                  <a:lnTo>
                    <a:pt x="2002" y="2846"/>
                  </a:lnTo>
                  <a:lnTo>
                    <a:pt x="1999" y="2850"/>
                  </a:lnTo>
                  <a:lnTo>
                    <a:pt x="1998" y="2854"/>
                  </a:lnTo>
                  <a:lnTo>
                    <a:pt x="2001" y="2858"/>
                  </a:lnTo>
                  <a:lnTo>
                    <a:pt x="2005" y="2857"/>
                  </a:lnTo>
                  <a:lnTo>
                    <a:pt x="2007" y="2853"/>
                  </a:lnTo>
                  <a:lnTo>
                    <a:pt x="2008" y="2846"/>
                  </a:lnTo>
                  <a:lnTo>
                    <a:pt x="2011" y="2842"/>
                  </a:lnTo>
                  <a:lnTo>
                    <a:pt x="2014" y="2841"/>
                  </a:lnTo>
                  <a:lnTo>
                    <a:pt x="2015" y="2841"/>
                  </a:lnTo>
                  <a:lnTo>
                    <a:pt x="2018" y="2841"/>
                  </a:lnTo>
                  <a:lnTo>
                    <a:pt x="2023" y="2842"/>
                  </a:lnTo>
                  <a:lnTo>
                    <a:pt x="2025" y="2843"/>
                  </a:lnTo>
                  <a:lnTo>
                    <a:pt x="2027" y="2844"/>
                  </a:lnTo>
                  <a:lnTo>
                    <a:pt x="2025" y="2847"/>
                  </a:lnTo>
                  <a:lnTo>
                    <a:pt x="2026" y="2848"/>
                  </a:lnTo>
                  <a:lnTo>
                    <a:pt x="2028" y="2846"/>
                  </a:lnTo>
                  <a:lnTo>
                    <a:pt x="2029" y="2846"/>
                  </a:lnTo>
                  <a:lnTo>
                    <a:pt x="2031" y="2847"/>
                  </a:lnTo>
                  <a:lnTo>
                    <a:pt x="2034" y="2850"/>
                  </a:lnTo>
                  <a:lnTo>
                    <a:pt x="2036" y="2851"/>
                  </a:lnTo>
                  <a:lnTo>
                    <a:pt x="2036" y="2853"/>
                  </a:lnTo>
                  <a:lnTo>
                    <a:pt x="2031" y="2855"/>
                  </a:lnTo>
                  <a:lnTo>
                    <a:pt x="2029" y="2856"/>
                  </a:lnTo>
                  <a:lnTo>
                    <a:pt x="2028" y="2859"/>
                  </a:lnTo>
                  <a:lnTo>
                    <a:pt x="2029" y="2860"/>
                  </a:lnTo>
                  <a:lnTo>
                    <a:pt x="2044" y="2870"/>
                  </a:lnTo>
                  <a:lnTo>
                    <a:pt x="2047" y="2871"/>
                  </a:lnTo>
                  <a:lnTo>
                    <a:pt x="2050" y="2869"/>
                  </a:lnTo>
                  <a:lnTo>
                    <a:pt x="2051" y="2866"/>
                  </a:lnTo>
                  <a:lnTo>
                    <a:pt x="2050" y="2862"/>
                  </a:lnTo>
                  <a:lnTo>
                    <a:pt x="2051" y="2860"/>
                  </a:lnTo>
                  <a:lnTo>
                    <a:pt x="2052" y="2859"/>
                  </a:lnTo>
                  <a:lnTo>
                    <a:pt x="2054" y="2860"/>
                  </a:lnTo>
                  <a:lnTo>
                    <a:pt x="2055" y="2861"/>
                  </a:lnTo>
                  <a:lnTo>
                    <a:pt x="2057" y="2861"/>
                  </a:lnTo>
                  <a:lnTo>
                    <a:pt x="2082" y="2853"/>
                  </a:lnTo>
                  <a:lnTo>
                    <a:pt x="2110" y="2853"/>
                  </a:lnTo>
                  <a:lnTo>
                    <a:pt x="2130" y="2845"/>
                  </a:lnTo>
                  <a:lnTo>
                    <a:pt x="2136" y="2848"/>
                  </a:lnTo>
                  <a:lnTo>
                    <a:pt x="2140" y="2846"/>
                  </a:lnTo>
                  <a:lnTo>
                    <a:pt x="2140" y="2845"/>
                  </a:lnTo>
                  <a:lnTo>
                    <a:pt x="2145" y="2846"/>
                  </a:lnTo>
                  <a:lnTo>
                    <a:pt x="2175" y="2857"/>
                  </a:lnTo>
                  <a:lnTo>
                    <a:pt x="2178" y="2858"/>
                  </a:lnTo>
                  <a:lnTo>
                    <a:pt x="2185" y="2858"/>
                  </a:lnTo>
                  <a:lnTo>
                    <a:pt x="2188" y="2859"/>
                  </a:lnTo>
                  <a:lnTo>
                    <a:pt x="2191" y="2862"/>
                  </a:lnTo>
                  <a:lnTo>
                    <a:pt x="2192" y="2863"/>
                  </a:lnTo>
                  <a:lnTo>
                    <a:pt x="2198" y="2863"/>
                  </a:lnTo>
                  <a:lnTo>
                    <a:pt x="2199" y="2863"/>
                  </a:lnTo>
                  <a:lnTo>
                    <a:pt x="2207" y="2866"/>
                  </a:lnTo>
                  <a:lnTo>
                    <a:pt x="2210" y="2866"/>
                  </a:lnTo>
                  <a:lnTo>
                    <a:pt x="2216" y="2866"/>
                  </a:lnTo>
                  <a:lnTo>
                    <a:pt x="2222" y="2858"/>
                  </a:lnTo>
                  <a:lnTo>
                    <a:pt x="2227" y="2854"/>
                  </a:lnTo>
                  <a:lnTo>
                    <a:pt x="2227" y="2853"/>
                  </a:lnTo>
                  <a:lnTo>
                    <a:pt x="2229" y="2851"/>
                  </a:lnTo>
                  <a:lnTo>
                    <a:pt x="2231" y="2848"/>
                  </a:lnTo>
                  <a:lnTo>
                    <a:pt x="2232" y="2848"/>
                  </a:lnTo>
                  <a:lnTo>
                    <a:pt x="2238" y="2846"/>
                  </a:lnTo>
                  <a:lnTo>
                    <a:pt x="2272" y="2838"/>
                  </a:lnTo>
                  <a:lnTo>
                    <a:pt x="2278" y="2836"/>
                  </a:lnTo>
                  <a:lnTo>
                    <a:pt x="2294" y="2820"/>
                  </a:lnTo>
                  <a:lnTo>
                    <a:pt x="2300" y="2818"/>
                  </a:lnTo>
                  <a:lnTo>
                    <a:pt x="2311" y="2822"/>
                  </a:lnTo>
                  <a:lnTo>
                    <a:pt x="2323" y="2826"/>
                  </a:lnTo>
                  <a:lnTo>
                    <a:pt x="2328" y="2823"/>
                  </a:lnTo>
                  <a:lnTo>
                    <a:pt x="2326" y="2814"/>
                  </a:lnTo>
                  <a:lnTo>
                    <a:pt x="2326" y="2807"/>
                  </a:lnTo>
                  <a:lnTo>
                    <a:pt x="2328" y="2804"/>
                  </a:lnTo>
                  <a:lnTo>
                    <a:pt x="2336" y="2792"/>
                  </a:lnTo>
                  <a:lnTo>
                    <a:pt x="2342" y="2787"/>
                  </a:lnTo>
                  <a:lnTo>
                    <a:pt x="2345" y="2784"/>
                  </a:lnTo>
                  <a:lnTo>
                    <a:pt x="2348" y="2784"/>
                  </a:lnTo>
                  <a:lnTo>
                    <a:pt x="2359" y="2783"/>
                  </a:lnTo>
                  <a:lnTo>
                    <a:pt x="2362" y="2782"/>
                  </a:lnTo>
                  <a:lnTo>
                    <a:pt x="2363" y="2781"/>
                  </a:lnTo>
                  <a:lnTo>
                    <a:pt x="2365" y="2779"/>
                  </a:lnTo>
                  <a:lnTo>
                    <a:pt x="2366" y="2778"/>
                  </a:lnTo>
                  <a:lnTo>
                    <a:pt x="2368" y="2777"/>
                  </a:lnTo>
                  <a:lnTo>
                    <a:pt x="2371" y="2777"/>
                  </a:lnTo>
                  <a:lnTo>
                    <a:pt x="2373" y="2777"/>
                  </a:lnTo>
                  <a:lnTo>
                    <a:pt x="2378" y="2773"/>
                  </a:lnTo>
                  <a:lnTo>
                    <a:pt x="2388" y="2770"/>
                  </a:lnTo>
                  <a:lnTo>
                    <a:pt x="2392" y="2765"/>
                  </a:lnTo>
                  <a:lnTo>
                    <a:pt x="2396" y="2757"/>
                  </a:lnTo>
                  <a:lnTo>
                    <a:pt x="2397" y="2747"/>
                  </a:lnTo>
                  <a:lnTo>
                    <a:pt x="2396" y="2737"/>
                  </a:lnTo>
                  <a:lnTo>
                    <a:pt x="2393" y="2730"/>
                  </a:lnTo>
                  <a:lnTo>
                    <a:pt x="2392" y="2726"/>
                  </a:lnTo>
                  <a:lnTo>
                    <a:pt x="2391" y="2720"/>
                  </a:lnTo>
                  <a:lnTo>
                    <a:pt x="2392" y="2720"/>
                  </a:lnTo>
                  <a:lnTo>
                    <a:pt x="2398" y="2720"/>
                  </a:lnTo>
                  <a:lnTo>
                    <a:pt x="2399" y="2719"/>
                  </a:lnTo>
                  <a:lnTo>
                    <a:pt x="2400" y="2718"/>
                  </a:lnTo>
                  <a:lnTo>
                    <a:pt x="2400" y="2716"/>
                  </a:lnTo>
                  <a:lnTo>
                    <a:pt x="2401" y="2714"/>
                  </a:lnTo>
                  <a:lnTo>
                    <a:pt x="2403" y="2706"/>
                  </a:lnTo>
                  <a:lnTo>
                    <a:pt x="2399" y="2704"/>
                  </a:lnTo>
                  <a:lnTo>
                    <a:pt x="2347" y="2709"/>
                  </a:lnTo>
                  <a:lnTo>
                    <a:pt x="2328" y="2715"/>
                  </a:lnTo>
                  <a:lnTo>
                    <a:pt x="2294" y="2711"/>
                  </a:lnTo>
                  <a:lnTo>
                    <a:pt x="2292" y="2709"/>
                  </a:lnTo>
                  <a:lnTo>
                    <a:pt x="2290" y="2705"/>
                  </a:lnTo>
                  <a:lnTo>
                    <a:pt x="2288" y="2700"/>
                  </a:lnTo>
                  <a:lnTo>
                    <a:pt x="2288" y="2697"/>
                  </a:lnTo>
                  <a:lnTo>
                    <a:pt x="2285" y="2697"/>
                  </a:lnTo>
                  <a:lnTo>
                    <a:pt x="2284" y="2699"/>
                  </a:lnTo>
                  <a:lnTo>
                    <a:pt x="2285" y="2703"/>
                  </a:lnTo>
                  <a:lnTo>
                    <a:pt x="2286" y="2706"/>
                  </a:lnTo>
                  <a:lnTo>
                    <a:pt x="2279" y="2704"/>
                  </a:lnTo>
                  <a:lnTo>
                    <a:pt x="2266" y="2704"/>
                  </a:lnTo>
                  <a:lnTo>
                    <a:pt x="2264" y="2704"/>
                  </a:lnTo>
                  <a:lnTo>
                    <a:pt x="2263" y="2702"/>
                  </a:lnTo>
                  <a:lnTo>
                    <a:pt x="2262" y="2700"/>
                  </a:lnTo>
                  <a:lnTo>
                    <a:pt x="2261" y="2699"/>
                  </a:lnTo>
                  <a:lnTo>
                    <a:pt x="2264" y="2697"/>
                  </a:lnTo>
                  <a:lnTo>
                    <a:pt x="2269" y="2695"/>
                  </a:lnTo>
                  <a:lnTo>
                    <a:pt x="2274" y="2691"/>
                  </a:lnTo>
                  <a:lnTo>
                    <a:pt x="2277" y="2690"/>
                  </a:lnTo>
                  <a:lnTo>
                    <a:pt x="2282" y="2692"/>
                  </a:lnTo>
                  <a:lnTo>
                    <a:pt x="2286" y="2691"/>
                  </a:lnTo>
                  <a:lnTo>
                    <a:pt x="2287" y="2690"/>
                  </a:lnTo>
                  <a:lnTo>
                    <a:pt x="2287" y="2688"/>
                  </a:lnTo>
                  <a:lnTo>
                    <a:pt x="2285" y="2684"/>
                  </a:lnTo>
                  <a:lnTo>
                    <a:pt x="2283" y="2682"/>
                  </a:lnTo>
                  <a:lnTo>
                    <a:pt x="2257" y="2679"/>
                  </a:lnTo>
                  <a:lnTo>
                    <a:pt x="2247" y="2681"/>
                  </a:lnTo>
                  <a:lnTo>
                    <a:pt x="2247" y="2682"/>
                  </a:lnTo>
                  <a:lnTo>
                    <a:pt x="2246" y="2684"/>
                  </a:lnTo>
                  <a:lnTo>
                    <a:pt x="2245" y="2686"/>
                  </a:lnTo>
                  <a:lnTo>
                    <a:pt x="2244" y="2687"/>
                  </a:lnTo>
                  <a:lnTo>
                    <a:pt x="2234" y="2688"/>
                  </a:lnTo>
                  <a:lnTo>
                    <a:pt x="2236" y="2687"/>
                  </a:lnTo>
                  <a:lnTo>
                    <a:pt x="2238" y="2686"/>
                  </a:lnTo>
                  <a:lnTo>
                    <a:pt x="2241" y="2685"/>
                  </a:lnTo>
                  <a:lnTo>
                    <a:pt x="2243" y="2682"/>
                  </a:lnTo>
                  <a:lnTo>
                    <a:pt x="2244" y="2680"/>
                  </a:lnTo>
                  <a:lnTo>
                    <a:pt x="2244" y="2677"/>
                  </a:lnTo>
                  <a:lnTo>
                    <a:pt x="2245" y="2675"/>
                  </a:lnTo>
                  <a:lnTo>
                    <a:pt x="2256" y="2672"/>
                  </a:lnTo>
                  <a:lnTo>
                    <a:pt x="2260" y="2672"/>
                  </a:lnTo>
                  <a:lnTo>
                    <a:pt x="2260" y="2672"/>
                  </a:lnTo>
                  <a:lnTo>
                    <a:pt x="2263" y="2674"/>
                  </a:lnTo>
                  <a:lnTo>
                    <a:pt x="2265" y="2672"/>
                  </a:lnTo>
                  <a:lnTo>
                    <a:pt x="2267" y="2672"/>
                  </a:lnTo>
                  <a:lnTo>
                    <a:pt x="2269" y="2672"/>
                  </a:lnTo>
                  <a:lnTo>
                    <a:pt x="2272" y="2671"/>
                  </a:lnTo>
                  <a:lnTo>
                    <a:pt x="2275" y="2668"/>
                  </a:lnTo>
                  <a:lnTo>
                    <a:pt x="2275" y="2668"/>
                  </a:lnTo>
                  <a:lnTo>
                    <a:pt x="2275" y="2667"/>
                  </a:lnTo>
                  <a:lnTo>
                    <a:pt x="2276" y="2667"/>
                  </a:lnTo>
                  <a:lnTo>
                    <a:pt x="2278" y="2667"/>
                  </a:lnTo>
                  <a:lnTo>
                    <a:pt x="2278" y="2668"/>
                  </a:lnTo>
                  <a:lnTo>
                    <a:pt x="2282" y="2667"/>
                  </a:lnTo>
                  <a:lnTo>
                    <a:pt x="2295" y="2669"/>
                  </a:lnTo>
                  <a:lnTo>
                    <a:pt x="2302" y="2667"/>
                  </a:lnTo>
                  <a:lnTo>
                    <a:pt x="2304" y="2666"/>
                  </a:lnTo>
                  <a:lnTo>
                    <a:pt x="2311" y="2661"/>
                  </a:lnTo>
                  <a:lnTo>
                    <a:pt x="2319" y="2654"/>
                  </a:lnTo>
                  <a:lnTo>
                    <a:pt x="2324" y="2647"/>
                  </a:lnTo>
                  <a:lnTo>
                    <a:pt x="2323" y="2646"/>
                  </a:lnTo>
                  <a:lnTo>
                    <a:pt x="2322" y="2645"/>
                  </a:lnTo>
                  <a:lnTo>
                    <a:pt x="2317" y="2645"/>
                  </a:lnTo>
                  <a:lnTo>
                    <a:pt x="2320" y="2643"/>
                  </a:lnTo>
                  <a:lnTo>
                    <a:pt x="2321" y="2642"/>
                  </a:lnTo>
                  <a:lnTo>
                    <a:pt x="2321" y="2641"/>
                  </a:lnTo>
                  <a:lnTo>
                    <a:pt x="2321" y="2635"/>
                  </a:lnTo>
                  <a:lnTo>
                    <a:pt x="2322" y="2632"/>
                  </a:lnTo>
                  <a:lnTo>
                    <a:pt x="2324" y="2631"/>
                  </a:lnTo>
                  <a:lnTo>
                    <a:pt x="2322" y="2628"/>
                  </a:lnTo>
                  <a:lnTo>
                    <a:pt x="2322" y="2626"/>
                  </a:lnTo>
                  <a:lnTo>
                    <a:pt x="2321" y="2624"/>
                  </a:lnTo>
                  <a:lnTo>
                    <a:pt x="2322" y="2623"/>
                  </a:lnTo>
                  <a:lnTo>
                    <a:pt x="2323" y="2621"/>
                  </a:lnTo>
                  <a:lnTo>
                    <a:pt x="2323" y="2619"/>
                  </a:lnTo>
                  <a:lnTo>
                    <a:pt x="2323" y="2617"/>
                  </a:lnTo>
                  <a:lnTo>
                    <a:pt x="2320" y="2614"/>
                  </a:lnTo>
                  <a:lnTo>
                    <a:pt x="2317" y="2615"/>
                  </a:lnTo>
                  <a:lnTo>
                    <a:pt x="2313" y="2619"/>
                  </a:lnTo>
                  <a:lnTo>
                    <a:pt x="2308" y="2621"/>
                  </a:lnTo>
                  <a:lnTo>
                    <a:pt x="2298" y="2623"/>
                  </a:lnTo>
                  <a:lnTo>
                    <a:pt x="2293" y="2627"/>
                  </a:lnTo>
                  <a:lnTo>
                    <a:pt x="2291" y="2623"/>
                  </a:lnTo>
                  <a:lnTo>
                    <a:pt x="2289" y="2622"/>
                  </a:lnTo>
                  <a:lnTo>
                    <a:pt x="2286" y="2621"/>
                  </a:lnTo>
                  <a:lnTo>
                    <a:pt x="2284" y="2620"/>
                  </a:lnTo>
                  <a:lnTo>
                    <a:pt x="2287" y="2618"/>
                  </a:lnTo>
                  <a:lnTo>
                    <a:pt x="2294" y="2615"/>
                  </a:lnTo>
                  <a:lnTo>
                    <a:pt x="2298" y="2615"/>
                  </a:lnTo>
                  <a:lnTo>
                    <a:pt x="2300" y="2615"/>
                  </a:lnTo>
                  <a:lnTo>
                    <a:pt x="2303" y="2617"/>
                  </a:lnTo>
                  <a:lnTo>
                    <a:pt x="2305" y="2617"/>
                  </a:lnTo>
                  <a:lnTo>
                    <a:pt x="2307" y="2616"/>
                  </a:lnTo>
                  <a:lnTo>
                    <a:pt x="2310" y="2614"/>
                  </a:lnTo>
                  <a:lnTo>
                    <a:pt x="2311" y="2613"/>
                  </a:lnTo>
                  <a:lnTo>
                    <a:pt x="2312" y="2612"/>
                  </a:lnTo>
                  <a:lnTo>
                    <a:pt x="2313" y="2609"/>
                  </a:lnTo>
                  <a:lnTo>
                    <a:pt x="2313" y="2606"/>
                  </a:lnTo>
                  <a:lnTo>
                    <a:pt x="2313" y="2604"/>
                  </a:lnTo>
                  <a:lnTo>
                    <a:pt x="2315" y="2604"/>
                  </a:lnTo>
                  <a:lnTo>
                    <a:pt x="2320" y="2599"/>
                  </a:lnTo>
                  <a:lnTo>
                    <a:pt x="2326" y="2596"/>
                  </a:lnTo>
                  <a:lnTo>
                    <a:pt x="2328" y="2594"/>
                  </a:lnTo>
                  <a:lnTo>
                    <a:pt x="2328" y="2589"/>
                  </a:lnTo>
                  <a:lnTo>
                    <a:pt x="2330" y="2592"/>
                  </a:lnTo>
                  <a:lnTo>
                    <a:pt x="2335" y="2599"/>
                  </a:lnTo>
                  <a:lnTo>
                    <a:pt x="2337" y="2604"/>
                  </a:lnTo>
                  <a:lnTo>
                    <a:pt x="2339" y="2606"/>
                  </a:lnTo>
                  <a:lnTo>
                    <a:pt x="2342" y="2606"/>
                  </a:lnTo>
                  <a:lnTo>
                    <a:pt x="2353" y="2605"/>
                  </a:lnTo>
                  <a:lnTo>
                    <a:pt x="2358" y="2602"/>
                  </a:lnTo>
                  <a:lnTo>
                    <a:pt x="2366" y="2597"/>
                  </a:lnTo>
                  <a:lnTo>
                    <a:pt x="2375" y="2588"/>
                  </a:lnTo>
                  <a:lnTo>
                    <a:pt x="2377" y="2584"/>
                  </a:lnTo>
                  <a:lnTo>
                    <a:pt x="2377" y="2579"/>
                  </a:lnTo>
                  <a:lnTo>
                    <a:pt x="2376" y="2579"/>
                  </a:lnTo>
                  <a:lnTo>
                    <a:pt x="2375" y="2582"/>
                  </a:lnTo>
                  <a:lnTo>
                    <a:pt x="2373" y="2583"/>
                  </a:lnTo>
                  <a:lnTo>
                    <a:pt x="2368" y="2582"/>
                  </a:lnTo>
                  <a:lnTo>
                    <a:pt x="2365" y="2582"/>
                  </a:lnTo>
                  <a:lnTo>
                    <a:pt x="2363" y="2580"/>
                  </a:lnTo>
                  <a:lnTo>
                    <a:pt x="2376" y="2567"/>
                  </a:lnTo>
                  <a:lnTo>
                    <a:pt x="2376" y="2562"/>
                  </a:lnTo>
                  <a:lnTo>
                    <a:pt x="2373" y="2564"/>
                  </a:lnTo>
                  <a:lnTo>
                    <a:pt x="2346" y="2563"/>
                  </a:lnTo>
                  <a:lnTo>
                    <a:pt x="2342" y="2561"/>
                  </a:lnTo>
                  <a:lnTo>
                    <a:pt x="2346" y="2560"/>
                  </a:lnTo>
                  <a:lnTo>
                    <a:pt x="2354" y="2557"/>
                  </a:lnTo>
                  <a:lnTo>
                    <a:pt x="2358" y="2557"/>
                  </a:lnTo>
                  <a:lnTo>
                    <a:pt x="2362" y="2560"/>
                  </a:lnTo>
                  <a:lnTo>
                    <a:pt x="2364" y="2561"/>
                  </a:lnTo>
                  <a:lnTo>
                    <a:pt x="2366" y="2560"/>
                  </a:lnTo>
                  <a:lnTo>
                    <a:pt x="2369" y="2559"/>
                  </a:lnTo>
                  <a:lnTo>
                    <a:pt x="2371" y="2559"/>
                  </a:lnTo>
                  <a:lnTo>
                    <a:pt x="2374" y="2560"/>
                  </a:lnTo>
                  <a:lnTo>
                    <a:pt x="2375" y="2559"/>
                  </a:lnTo>
                  <a:lnTo>
                    <a:pt x="2375" y="2554"/>
                  </a:lnTo>
                  <a:lnTo>
                    <a:pt x="2374" y="2553"/>
                  </a:lnTo>
                  <a:lnTo>
                    <a:pt x="2373" y="2553"/>
                  </a:lnTo>
                  <a:lnTo>
                    <a:pt x="2365" y="2551"/>
                  </a:lnTo>
                  <a:lnTo>
                    <a:pt x="2362" y="2548"/>
                  </a:lnTo>
                  <a:lnTo>
                    <a:pt x="2356" y="2543"/>
                  </a:lnTo>
                  <a:lnTo>
                    <a:pt x="2356" y="2541"/>
                  </a:lnTo>
                  <a:lnTo>
                    <a:pt x="2361" y="2542"/>
                  </a:lnTo>
                  <a:lnTo>
                    <a:pt x="2369" y="2548"/>
                  </a:lnTo>
                  <a:lnTo>
                    <a:pt x="2373" y="2550"/>
                  </a:lnTo>
                  <a:lnTo>
                    <a:pt x="2384" y="2564"/>
                  </a:lnTo>
                  <a:lnTo>
                    <a:pt x="2386" y="2563"/>
                  </a:lnTo>
                  <a:lnTo>
                    <a:pt x="2388" y="2560"/>
                  </a:lnTo>
                  <a:lnTo>
                    <a:pt x="2399" y="2548"/>
                  </a:lnTo>
                  <a:lnTo>
                    <a:pt x="2403" y="2542"/>
                  </a:lnTo>
                  <a:lnTo>
                    <a:pt x="2404" y="2541"/>
                  </a:lnTo>
                  <a:lnTo>
                    <a:pt x="2405" y="2539"/>
                  </a:lnTo>
                  <a:lnTo>
                    <a:pt x="2405" y="2536"/>
                  </a:lnTo>
                  <a:lnTo>
                    <a:pt x="2406" y="2534"/>
                  </a:lnTo>
                  <a:lnTo>
                    <a:pt x="2409" y="2536"/>
                  </a:lnTo>
                  <a:lnTo>
                    <a:pt x="2411" y="2533"/>
                  </a:lnTo>
                  <a:lnTo>
                    <a:pt x="2424" y="2528"/>
                  </a:lnTo>
                  <a:lnTo>
                    <a:pt x="2425" y="2526"/>
                  </a:lnTo>
                  <a:lnTo>
                    <a:pt x="2425" y="2523"/>
                  </a:lnTo>
                  <a:lnTo>
                    <a:pt x="2427" y="2516"/>
                  </a:lnTo>
                  <a:lnTo>
                    <a:pt x="2428" y="2511"/>
                  </a:lnTo>
                  <a:lnTo>
                    <a:pt x="2431" y="2502"/>
                  </a:lnTo>
                  <a:lnTo>
                    <a:pt x="2432" y="2497"/>
                  </a:lnTo>
                  <a:lnTo>
                    <a:pt x="2431" y="2485"/>
                  </a:lnTo>
                  <a:lnTo>
                    <a:pt x="2432" y="2479"/>
                  </a:lnTo>
                  <a:lnTo>
                    <a:pt x="2433" y="2476"/>
                  </a:lnTo>
                  <a:lnTo>
                    <a:pt x="2435" y="2474"/>
                  </a:lnTo>
                  <a:lnTo>
                    <a:pt x="2440" y="2465"/>
                  </a:lnTo>
                  <a:lnTo>
                    <a:pt x="2447" y="2446"/>
                  </a:lnTo>
                  <a:lnTo>
                    <a:pt x="2447" y="2444"/>
                  </a:lnTo>
                  <a:lnTo>
                    <a:pt x="2447" y="2441"/>
                  </a:lnTo>
                  <a:lnTo>
                    <a:pt x="2451" y="2428"/>
                  </a:lnTo>
                  <a:lnTo>
                    <a:pt x="2453" y="2425"/>
                  </a:lnTo>
                  <a:lnTo>
                    <a:pt x="2454" y="2423"/>
                  </a:lnTo>
                  <a:lnTo>
                    <a:pt x="2450" y="2411"/>
                  </a:lnTo>
                  <a:close/>
                  <a:moveTo>
                    <a:pt x="1710" y="643"/>
                  </a:moveTo>
                  <a:lnTo>
                    <a:pt x="1715" y="640"/>
                  </a:lnTo>
                  <a:lnTo>
                    <a:pt x="1715" y="636"/>
                  </a:lnTo>
                  <a:lnTo>
                    <a:pt x="1711" y="634"/>
                  </a:lnTo>
                  <a:lnTo>
                    <a:pt x="1704" y="634"/>
                  </a:lnTo>
                  <a:lnTo>
                    <a:pt x="1697" y="635"/>
                  </a:lnTo>
                  <a:lnTo>
                    <a:pt x="1691" y="638"/>
                  </a:lnTo>
                  <a:lnTo>
                    <a:pt x="1691" y="640"/>
                  </a:lnTo>
                  <a:lnTo>
                    <a:pt x="1702" y="640"/>
                  </a:lnTo>
                  <a:lnTo>
                    <a:pt x="1702" y="642"/>
                  </a:lnTo>
                  <a:lnTo>
                    <a:pt x="1700" y="643"/>
                  </a:lnTo>
                  <a:lnTo>
                    <a:pt x="1698" y="644"/>
                  </a:lnTo>
                  <a:lnTo>
                    <a:pt x="1696" y="643"/>
                  </a:lnTo>
                  <a:lnTo>
                    <a:pt x="1694" y="642"/>
                  </a:lnTo>
                  <a:lnTo>
                    <a:pt x="1699" y="650"/>
                  </a:lnTo>
                  <a:lnTo>
                    <a:pt x="1700" y="655"/>
                  </a:lnTo>
                  <a:lnTo>
                    <a:pt x="1698" y="657"/>
                  </a:lnTo>
                  <a:lnTo>
                    <a:pt x="1698" y="659"/>
                  </a:lnTo>
                  <a:lnTo>
                    <a:pt x="1706" y="667"/>
                  </a:lnTo>
                  <a:lnTo>
                    <a:pt x="1710" y="665"/>
                  </a:lnTo>
                  <a:lnTo>
                    <a:pt x="1710" y="662"/>
                  </a:lnTo>
                  <a:lnTo>
                    <a:pt x="1710" y="657"/>
                  </a:lnTo>
                  <a:lnTo>
                    <a:pt x="1708" y="652"/>
                  </a:lnTo>
                  <a:lnTo>
                    <a:pt x="1710" y="651"/>
                  </a:lnTo>
                  <a:lnTo>
                    <a:pt x="1710" y="649"/>
                  </a:lnTo>
                  <a:lnTo>
                    <a:pt x="1709" y="647"/>
                  </a:lnTo>
                  <a:lnTo>
                    <a:pt x="1709" y="644"/>
                  </a:lnTo>
                  <a:lnTo>
                    <a:pt x="1710" y="643"/>
                  </a:lnTo>
                  <a:close/>
                  <a:moveTo>
                    <a:pt x="1629" y="623"/>
                  </a:moveTo>
                  <a:lnTo>
                    <a:pt x="1631" y="623"/>
                  </a:lnTo>
                  <a:lnTo>
                    <a:pt x="1633" y="624"/>
                  </a:lnTo>
                  <a:lnTo>
                    <a:pt x="1633" y="625"/>
                  </a:lnTo>
                  <a:lnTo>
                    <a:pt x="1635" y="623"/>
                  </a:lnTo>
                  <a:lnTo>
                    <a:pt x="1637" y="623"/>
                  </a:lnTo>
                  <a:lnTo>
                    <a:pt x="1637" y="625"/>
                  </a:lnTo>
                  <a:lnTo>
                    <a:pt x="1637" y="627"/>
                  </a:lnTo>
                  <a:lnTo>
                    <a:pt x="1636" y="628"/>
                  </a:lnTo>
                  <a:lnTo>
                    <a:pt x="1637" y="630"/>
                  </a:lnTo>
                  <a:lnTo>
                    <a:pt x="1640" y="636"/>
                  </a:lnTo>
                  <a:lnTo>
                    <a:pt x="1641" y="637"/>
                  </a:lnTo>
                  <a:lnTo>
                    <a:pt x="1643" y="639"/>
                  </a:lnTo>
                  <a:lnTo>
                    <a:pt x="1644" y="640"/>
                  </a:lnTo>
                  <a:lnTo>
                    <a:pt x="1645" y="643"/>
                  </a:lnTo>
                  <a:lnTo>
                    <a:pt x="1648" y="651"/>
                  </a:lnTo>
                  <a:lnTo>
                    <a:pt x="1649" y="652"/>
                  </a:lnTo>
                  <a:lnTo>
                    <a:pt x="1664" y="652"/>
                  </a:lnTo>
                  <a:lnTo>
                    <a:pt x="1672" y="650"/>
                  </a:lnTo>
                  <a:lnTo>
                    <a:pt x="1676" y="644"/>
                  </a:lnTo>
                  <a:lnTo>
                    <a:pt x="1671" y="644"/>
                  </a:lnTo>
                  <a:lnTo>
                    <a:pt x="1662" y="648"/>
                  </a:lnTo>
                  <a:lnTo>
                    <a:pt x="1657" y="648"/>
                  </a:lnTo>
                  <a:lnTo>
                    <a:pt x="1659" y="644"/>
                  </a:lnTo>
                  <a:lnTo>
                    <a:pt x="1662" y="642"/>
                  </a:lnTo>
                  <a:lnTo>
                    <a:pt x="1666" y="640"/>
                  </a:lnTo>
                  <a:lnTo>
                    <a:pt x="1669" y="640"/>
                  </a:lnTo>
                  <a:lnTo>
                    <a:pt x="1669" y="638"/>
                  </a:lnTo>
                  <a:lnTo>
                    <a:pt x="1667" y="635"/>
                  </a:lnTo>
                  <a:lnTo>
                    <a:pt x="1666" y="634"/>
                  </a:lnTo>
                  <a:lnTo>
                    <a:pt x="1664" y="634"/>
                  </a:lnTo>
                  <a:lnTo>
                    <a:pt x="1664" y="632"/>
                  </a:lnTo>
                  <a:lnTo>
                    <a:pt x="1666" y="630"/>
                  </a:lnTo>
                  <a:lnTo>
                    <a:pt x="1657" y="617"/>
                  </a:lnTo>
                  <a:lnTo>
                    <a:pt x="1654" y="615"/>
                  </a:lnTo>
                  <a:lnTo>
                    <a:pt x="1651" y="613"/>
                  </a:lnTo>
                  <a:lnTo>
                    <a:pt x="1645" y="608"/>
                  </a:lnTo>
                  <a:lnTo>
                    <a:pt x="1643" y="607"/>
                  </a:lnTo>
                  <a:lnTo>
                    <a:pt x="1641" y="607"/>
                  </a:lnTo>
                  <a:lnTo>
                    <a:pt x="1634" y="609"/>
                  </a:lnTo>
                  <a:lnTo>
                    <a:pt x="1630" y="613"/>
                  </a:lnTo>
                  <a:lnTo>
                    <a:pt x="1630" y="614"/>
                  </a:lnTo>
                  <a:lnTo>
                    <a:pt x="1628" y="620"/>
                  </a:lnTo>
                  <a:lnTo>
                    <a:pt x="1628" y="623"/>
                  </a:lnTo>
                  <a:lnTo>
                    <a:pt x="1629" y="623"/>
                  </a:lnTo>
                  <a:close/>
                  <a:moveTo>
                    <a:pt x="1645" y="598"/>
                  </a:moveTo>
                  <a:lnTo>
                    <a:pt x="1651" y="600"/>
                  </a:lnTo>
                  <a:lnTo>
                    <a:pt x="1651" y="598"/>
                  </a:lnTo>
                  <a:lnTo>
                    <a:pt x="1654" y="594"/>
                  </a:lnTo>
                  <a:lnTo>
                    <a:pt x="1656" y="591"/>
                  </a:lnTo>
                  <a:lnTo>
                    <a:pt x="1655" y="587"/>
                  </a:lnTo>
                  <a:lnTo>
                    <a:pt x="1655" y="587"/>
                  </a:lnTo>
                  <a:lnTo>
                    <a:pt x="1655" y="584"/>
                  </a:lnTo>
                  <a:lnTo>
                    <a:pt x="1654" y="583"/>
                  </a:lnTo>
                  <a:lnTo>
                    <a:pt x="1653" y="581"/>
                  </a:lnTo>
                  <a:lnTo>
                    <a:pt x="1654" y="580"/>
                  </a:lnTo>
                  <a:lnTo>
                    <a:pt x="1655" y="580"/>
                  </a:lnTo>
                  <a:lnTo>
                    <a:pt x="1657" y="580"/>
                  </a:lnTo>
                  <a:lnTo>
                    <a:pt x="1658" y="581"/>
                  </a:lnTo>
                  <a:lnTo>
                    <a:pt x="1658" y="579"/>
                  </a:lnTo>
                  <a:lnTo>
                    <a:pt x="1657" y="577"/>
                  </a:lnTo>
                  <a:lnTo>
                    <a:pt x="1657" y="575"/>
                  </a:lnTo>
                  <a:lnTo>
                    <a:pt x="1659" y="574"/>
                  </a:lnTo>
                  <a:lnTo>
                    <a:pt x="1660" y="573"/>
                  </a:lnTo>
                  <a:lnTo>
                    <a:pt x="1661" y="575"/>
                  </a:lnTo>
                  <a:lnTo>
                    <a:pt x="1661" y="577"/>
                  </a:lnTo>
                  <a:lnTo>
                    <a:pt x="1662" y="579"/>
                  </a:lnTo>
                  <a:lnTo>
                    <a:pt x="1664" y="581"/>
                  </a:lnTo>
                  <a:lnTo>
                    <a:pt x="1664" y="583"/>
                  </a:lnTo>
                  <a:lnTo>
                    <a:pt x="1661" y="587"/>
                  </a:lnTo>
                  <a:lnTo>
                    <a:pt x="1659" y="593"/>
                  </a:lnTo>
                  <a:lnTo>
                    <a:pt x="1659" y="600"/>
                  </a:lnTo>
                  <a:lnTo>
                    <a:pt x="1660" y="607"/>
                  </a:lnTo>
                  <a:lnTo>
                    <a:pt x="1664" y="611"/>
                  </a:lnTo>
                  <a:lnTo>
                    <a:pt x="1674" y="609"/>
                  </a:lnTo>
                  <a:lnTo>
                    <a:pt x="1678" y="611"/>
                  </a:lnTo>
                  <a:lnTo>
                    <a:pt x="1679" y="607"/>
                  </a:lnTo>
                  <a:lnTo>
                    <a:pt x="1681" y="606"/>
                  </a:lnTo>
                  <a:lnTo>
                    <a:pt x="1685" y="607"/>
                  </a:lnTo>
                  <a:lnTo>
                    <a:pt x="1683" y="602"/>
                  </a:lnTo>
                  <a:lnTo>
                    <a:pt x="1685" y="602"/>
                  </a:lnTo>
                  <a:lnTo>
                    <a:pt x="1687" y="603"/>
                  </a:lnTo>
                  <a:lnTo>
                    <a:pt x="1688" y="603"/>
                  </a:lnTo>
                  <a:lnTo>
                    <a:pt x="1690" y="602"/>
                  </a:lnTo>
                  <a:lnTo>
                    <a:pt x="1693" y="603"/>
                  </a:lnTo>
                  <a:lnTo>
                    <a:pt x="1695" y="600"/>
                  </a:lnTo>
                  <a:lnTo>
                    <a:pt x="1697" y="597"/>
                  </a:lnTo>
                  <a:lnTo>
                    <a:pt x="1700" y="597"/>
                  </a:lnTo>
                  <a:lnTo>
                    <a:pt x="1701" y="599"/>
                  </a:lnTo>
                  <a:lnTo>
                    <a:pt x="1706" y="611"/>
                  </a:lnTo>
                  <a:lnTo>
                    <a:pt x="1708" y="614"/>
                  </a:lnTo>
                  <a:lnTo>
                    <a:pt x="1710" y="616"/>
                  </a:lnTo>
                  <a:lnTo>
                    <a:pt x="1722" y="621"/>
                  </a:lnTo>
                  <a:lnTo>
                    <a:pt x="1724" y="621"/>
                  </a:lnTo>
                  <a:lnTo>
                    <a:pt x="1727" y="619"/>
                  </a:lnTo>
                  <a:lnTo>
                    <a:pt x="1731" y="612"/>
                  </a:lnTo>
                  <a:lnTo>
                    <a:pt x="1733" y="611"/>
                  </a:lnTo>
                  <a:lnTo>
                    <a:pt x="1739" y="609"/>
                  </a:lnTo>
                  <a:lnTo>
                    <a:pt x="1742" y="607"/>
                  </a:lnTo>
                  <a:lnTo>
                    <a:pt x="1743" y="605"/>
                  </a:lnTo>
                  <a:lnTo>
                    <a:pt x="1743" y="601"/>
                  </a:lnTo>
                  <a:lnTo>
                    <a:pt x="1743" y="597"/>
                  </a:lnTo>
                  <a:lnTo>
                    <a:pt x="1742" y="595"/>
                  </a:lnTo>
                  <a:lnTo>
                    <a:pt x="1740" y="593"/>
                  </a:lnTo>
                  <a:lnTo>
                    <a:pt x="1737" y="594"/>
                  </a:lnTo>
                  <a:lnTo>
                    <a:pt x="1732" y="598"/>
                  </a:lnTo>
                  <a:lnTo>
                    <a:pt x="1729" y="598"/>
                  </a:lnTo>
                  <a:lnTo>
                    <a:pt x="1730" y="600"/>
                  </a:lnTo>
                  <a:lnTo>
                    <a:pt x="1732" y="607"/>
                  </a:lnTo>
                  <a:lnTo>
                    <a:pt x="1729" y="607"/>
                  </a:lnTo>
                  <a:lnTo>
                    <a:pt x="1726" y="607"/>
                  </a:lnTo>
                  <a:lnTo>
                    <a:pt x="1724" y="604"/>
                  </a:lnTo>
                  <a:lnTo>
                    <a:pt x="1722" y="600"/>
                  </a:lnTo>
                  <a:lnTo>
                    <a:pt x="1724" y="598"/>
                  </a:lnTo>
                  <a:lnTo>
                    <a:pt x="1731" y="593"/>
                  </a:lnTo>
                  <a:lnTo>
                    <a:pt x="1732" y="590"/>
                  </a:lnTo>
                  <a:lnTo>
                    <a:pt x="1731" y="588"/>
                  </a:lnTo>
                  <a:lnTo>
                    <a:pt x="1730" y="587"/>
                  </a:lnTo>
                  <a:lnTo>
                    <a:pt x="1726" y="587"/>
                  </a:lnTo>
                  <a:lnTo>
                    <a:pt x="1723" y="588"/>
                  </a:lnTo>
                  <a:lnTo>
                    <a:pt x="1721" y="591"/>
                  </a:lnTo>
                  <a:lnTo>
                    <a:pt x="1718" y="593"/>
                  </a:lnTo>
                  <a:lnTo>
                    <a:pt x="1715" y="592"/>
                  </a:lnTo>
                  <a:lnTo>
                    <a:pt x="1715" y="590"/>
                  </a:lnTo>
                  <a:lnTo>
                    <a:pt x="1715" y="587"/>
                  </a:lnTo>
                  <a:lnTo>
                    <a:pt x="1716" y="585"/>
                  </a:lnTo>
                  <a:lnTo>
                    <a:pt x="1713" y="588"/>
                  </a:lnTo>
                  <a:lnTo>
                    <a:pt x="1711" y="586"/>
                  </a:lnTo>
                  <a:lnTo>
                    <a:pt x="1710" y="583"/>
                  </a:lnTo>
                  <a:lnTo>
                    <a:pt x="1707" y="581"/>
                  </a:lnTo>
                  <a:lnTo>
                    <a:pt x="1705" y="582"/>
                  </a:lnTo>
                  <a:lnTo>
                    <a:pt x="1703" y="584"/>
                  </a:lnTo>
                  <a:lnTo>
                    <a:pt x="1700" y="585"/>
                  </a:lnTo>
                  <a:lnTo>
                    <a:pt x="1695" y="579"/>
                  </a:lnTo>
                  <a:lnTo>
                    <a:pt x="1692" y="582"/>
                  </a:lnTo>
                  <a:lnTo>
                    <a:pt x="1690" y="585"/>
                  </a:lnTo>
                  <a:lnTo>
                    <a:pt x="1687" y="587"/>
                  </a:lnTo>
                  <a:lnTo>
                    <a:pt x="1681" y="587"/>
                  </a:lnTo>
                  <a:lnTo>
                    <a:pt x="1678" y="585"/>
                  </a:lnTo>
                  <a:lnTo>
                    <a:pt x="1676" y="583"/>
                  </a:lnTo>
                  <a:lnTo>
                    <a:pt x="1678" y="582"/>
                  </a:lnTo>
                  <a:lnTo>
                    <a:pt x="1682" y="579"/>
                  </a:lnTo>
                  <a:lnTo>
                    <a:pt x="1685" y="574"/>
                  </a:lnTo>
                  <a:lnTo>
                    <a:pt x="1686" y="569"/>
                  </a:lnTo>
                  <a:lnTo>
                    <a:pt x="1688" y="570"/>
                  </a:lnTo>
                  <a:lnTo>
                    <a:pt x="1697" y="566"/>
                  </a:lnTo>
                  <a:lnTo>
                    <a:pt x="1697" y="566"/>
                  </a:lnTo>
                  <a:lnTo>
                    <a:pt x="1696" y="565"/>
                  </a:lnTo>
                  <a:lnTo>
                    <a:pt x="1695" y="564"/>
                  </a:lnTo>
                  <a:lnTo>
                    <a:pt x="1696" y="563"/>
                  </a:lnTo>
                  <a:lnTo>
                    <a:pt x="1696" y="563"/>
                  </a:lnTo>
                  <a:lnTo>
                    <a:pt x="1697" y="562"/>
                  </a:lnTo>
                  <a:lnTo>
                    <a:pt x="1688" y="557"/>
                  </a:lnTo>
                  <a:lnTo>
                    <a:pt x="1685" y="554"/>
                  </a:lnTo>
                  <a:lnTo>
                    <a:pt x="1686" y="553"/>
                  </a:lnTo>
                  <a:lnTo>
                    <a:pt x="1689" y="551"/>
                  </a:lnTo>
                  <a:lnTo>
                    <a:pt x="1687" y="550"/>
                  </a:lnTo>
                  <a:lnTo>
                    <a:pt x="1685" y="547"/>
                  </a:lnTo>
                  <a:lnTo>
                    <a:pt x="1683" y="545"/>
                  </a:lnTo>
                  <a:lnTo>
                    <a:pt x="1681" y="545"/>
                  </a:lnTo>
                  <a:lnTo>
                    <a:pt x="1679" y="546"/>
                  </a:lnTo>
                  <a:lnTo>
                    <a:pt x="1677" y="546"/>
                  </a:lnTo>
                  <a:lnTo>
                    <a:pt x="1672" y="541"/>
                  </a:lnTo>
                  <a:lnTo>
                    <a:pt x="1667" y="539"/>
                  </a:lnTo>
                  <a:lnTo>
                    <a:pt x="1660" y="539"/>
                  </a:lnTo>
                  <a:lnTo>
                    <a:pt x="1652" y="540"/>
                  </a:lnTo>
                  <a:lnTo>
                    <a:pt x="1645" y="545"/>
                  </a:lnTo>
                  <a:lnTo>
                    <a:pt x="1641" y="554"/>
                  </a:lnTo>
                  <a:lnTo>
                    <a:pt x="1642" y="568"/>
                  </a:lnTo>
                  <a:lnTo>
                    <a:pt x="1641" y="570"/>
                  </a:lnTo>
                  <a:lnTo>
                    <a:pt x="1638" y="580"/>
                  </a:lnTo>
                  <a:lnTo>
                    <a:pt x="1641" y="590"/>
                  </a:lnTo>
                  <a:lnTo>
                    <a:pt x="1645" y="598"/>
                  </a:lnTo>
                  <a:close/>
                  <a:moveTo>
                    <a:pt x="1758" y="552"/>
                  </a:moveTo>
                  <a:lnTo>
                    <a:pt x="1760" y="555"/>
                  </a:lnTo>
                  <a:lnTo>
                    <a:pt x="1760" y="562"/>
                  </a:lnTo>
                  <a:lnTo>
                    <a:pt x="1764" y="560"/>
                  </a:lnTo>
                  <a:lnTo>
                    <a:pt x="1771" y="559"/>
                  </a:lnTo>
                  <a:lnTo>
                    <a:pt x="1773" y="556"/>
                  </a:lnTo>
                  <a:lnTo>
                    <a:pt x="1769" y="553"/>
                  </a:lnTo>
                  <a:lnTo>
                    <a:pt x="1768" y="551"/>
                  </a:lnTo>
                  <a:lnTo>
                    <a:pt x="1769" y="548"/>
                  </a:lnTo>
                  <a:lnTo>
                    <a:pt x="1770" y="547"/>
                  </a:lnTo>
                  <a:lnTo>
                    <a:pt x="1770" y="547"/>
                  </a:lnTo>
                  <a:lnTo>
                    <a:pt x="1770" y="547"/>
                  </a:lnTo>
                  <a:lnTo>
                    <a:pt x="1770" y="545"/>
                  </a:lnTo>
                  <a:lnTo>
                    <a:pt x="1767" y="547"/>
                  </a:lnTo>
                  <a:lnTo>
                    <a:pt x="1764" y="548"/>
                  </a:lnTo>
                  <a:lnTo>
                    <a:pt x="1763" y="548"/>
                  </a:lnTo>
                  <a:lnTo>
                    <a:pt x="1761" y="545"/>
                  </a:lnTo>
                  <a:lnTo>
                    <a:pt x="1761" y="542"/>
                  </a:lnTo>
                  <a:lnTo>
                    <a:pt x="1763" y="540"/>
                  </a:lnTo>
                  <a:lnTo>
                    <a:pt x="1765" y="541"/>
                  </a:lnTo>
                  <a:lnTo>
                    <a:pt x="1764" y="539"/>
                  </a:lnTo>
                  <a:lnTo>
                    <a:pt x="1762" y="539"/>
                  </a:lnTo>
                  <a:lnTo>
                    <a:pt x="1757" y="539"/>
                  </a:lnTo>
                  <a:lnTo>
                    <a:pt x="1758" y="538"/>
                  </a:lnTo>
                  <a:lnTo>
                    <a:pt x="1758" y="537"/>
                  </a:lnTo>
                  <a:lnTo>
                    <a:pt x="1758" y="535"/>
                  </a:lnTo>
                  <a:lnTo>
                    <a:pt x="1756" y="534"/>
                  </a:lnTo>
                  <a:lnTo>
                    <a:pt x="1749" y="537"/>
                  </a:lnTo>
                  <a:lnTo>
                    <a:pt x="1751" y="538"/>
                  </a:lnTo>
                  <a:lnTo>
                    <a:pt x="1756" y="544"/>
                  </a:lnTo>
                  <a:lnTo>
                    <a:pt x="1757" y="545"/>
                  </a:lnTo>
                  <a:lnTo>
                    <a:pt x="1756" y="549"/>
                  </a:lnTo>
                  <a:lnTo>
                    <a:pt x="1754" y="550"/>
                  </a:lnTo>
                  <a:lnTo>
                    <a:pt x="1752" y="550"/>
                  </a:lnTo>
                  <a:lnTo>
                    <a:pt x="1749" y="551"/>
                  </a:lnTo>
                  <a:lnTo>
                    <a:pt x="1746" y="557"/>
                  </a:lnTo>
                  <a:lnTo>
                    <a:pt x="1749" y="559"/>
                  </a:lnTo>
                  <a:lnTo>
                    <a:pt x="1752" y="558"/>
                  </a:lnTo>
                  <a:lnTo>
                    <a:pt x="1752" y="554"/>
                  </a:lnTo>
                  <a:lnTo>
                    <a:pt x="1754" y="551"/>
                  </a:lnTo>
                  <a:lnTo>
                    <a:pt x="1758" y="552"/>
                  </a:lnTo>
                  <a:close/>
                  <a:moveTo>
                    <a:pt x="1682" y="541"/>
                  </a:moveTo>
                  <a:lnTo>
                    <a:pt x="1686" y="544"/>
                  </a:lnTo>
                  <a:lnTo>
                    <a:pt x="1691" y="545"/>
                  </a:lnTo>
                  <a:lnTo>
                    <a:pt x="1696" y="545"/>
                  </a:lnTo>
                  <a:lnTo>
                    <a:pt x="1700" y="544"/>
                  </a:lnTo>
                  <a:lnTo>
                    <a:pt x="1700" y="539"/>
                  </a:lnTo>
                  <a:lnTo>
                    <a:pt x="1700" y="534"/>
                  </a:lnTo>
                  <a:lnTo>
                    <a:pt x="1703" y="530"/>
                  </a:lnTo>
                  <a:lnTo>
                    <a:pt x="1703" y="530"/>
                  </a:lnTo>
                  <a:lnTo>
                    <a:pt x="1704" y="530"/>
                  </a:lnTo>
                  <a:lnTo>
                    <a:pt x="1704" y="530"/>
                  </a:lnTo>
                  <a:lnTo>
                    <a:pt x="1704" y="528"/>
                  </a:lnTo>
                  <a:lnTo>
                    <a:pt x="1702" y="527"/>
                  </a:lnTo>
                  <a:lnTo>
                    <a:pt x="1700" y="527"/>
                  </a:lnTo>
                  <a:lnTo>
                    <a:pt x="1693" y="529"/>
                  </a:lnTo>
                  <a:lnTo>
                    <a:pt x="1692" y="528"/>
                  </a:lnTo>
                  <a:lnTo>
                    <a:pt x="1691" y="528"/>
                  </a:lnTo>
                  <a:lnTo>
                    <a:pt x="1690" y="527"/>
                  </a:lnTo>
                  <a:lnTo>
                    <a:pt x="1689" y="526"/>
                  </a:lnTo>
                  <a:lnTo>
                    <a:pt x="1689" y="524"/>
                  </a:lnTo>
                  <a:lnTo>
                    <a:pt x="1689" y="524"/>
                  </a:lnTo>
                  <a:lnTo>
                    <a:pt x="1685" y="524"/>
                  </a:lnTo>
                  <a:lnTo>
                    <a:pt x="1680" y="526"/>
                  </a:lnTo>
                  <a:lnTo>
                    <a:pt x="1677" y="530"/>
                  </a:lnTo>
                  <a:lnTo>
                    <a:pt x="1678" y="536"/>
                  </a:lnTo>
                  <a:lnTo>
                    <a:pt x="1682" y="541"/>
                  </a:lnTo>
                  <a:close/>
                  <a:moveTo>
                    <a:pt x="1724" y="530"/>
                  </a:moveTo>
                  <a:lnTo>
                    <a:pt x="1726" y="531"/>
                  </a:lnTo>
                  <a:lnTo>
                    <a:pt x="1728" y="533"/>
                  </a:lnTo>
                  <a:lnTo>
                    <a:pt x="1729" y="536"/>
                  </a:lnTo>
                  <a:lnTo>
                    <a:pt x="1730" y="540"/>
                  </a:lnTo>
                  <a:lnTo>
                    <a:pt x="1731" y="541"/>
                  </a:lnTo>
                  <a:lnTo>
                    <a:pt x="1734" y="541"/>
                  </a:lnTo>
                  <a:lnTo>
                    <a:pt x="1739" y="539"/>
                  </a:lnTo>
                  <a:lnTo>
                    <a:pt x="1739" y="537"/>
                  </a:lnTo>
                  <a:lnTo>
                    <a:pt x="1736" y="537"/>
                  </a:lnTo>
                  <a:lnTo>
                    <a:pt x="1735" y="534"/>
                  </a:lnTo>
                  <a:lnTo>
                    <a:pt x="1734" y="530"/>
                  </a:lnTo>
                  <a:lnTo>
                    <a:pt x="1734" y="525"/>
                  </a:lnTo>
                  <a:lnTo>
                    <a:pt x="1735" y="524"/>
                  </a:lnTo>
                  <a:lnTo>
                    <a:pt x="1739" y="518"/>
                  </a:lnTo>
                  <a:lnTo>
                    <a:pt x="1740" y="515"/>
                  </a:lnTo>
                  <a:lnTo>
                    <a:pt x="1739" y="513"/>
                  </a:lnTo>
                  <a:lnTo>
                    <a:pt x="1737" y="511"/>
                  </a:lnTo>
                  <a:lnTo>
                    <a:pt x="1735" y="511"/>
                  </a:lnTo>
                  <a:lnTo>
                    <a:pt x="1733" y="511"/>
                  </a:lnTo>
                  <a:lnTo>
                    <a:pt x="1733" y="509"/>
                  </a:lnTo>
                  <a:lnTo>
                    <a:pt x="1734" y="509"/>
                  </a:lnTo>
                  <a:lnTo>
                    <a:pt x="1734" y="507"/>
                  </a:lnTo>
                  <a:lnTo>
                    <a:pt x="1732" y="506"/>
                  </a:lnTo>
                  <a:lnTo>
                    <a:pt x="1730" y="508"/>
                  </a:lnTo>
                  <a:lnTo>
                    <a:pt x="1729" y="511"/>
                  </a:lnTo>
                  <a:lnTo>
                    <a:pt x="1730" y="515"/>
                  </a:lnTo>
                  <a:lnTo>
                    <a:pt x="1730" y="518"/>
                  </a:lnTo>
                  <a:lnTo>
                    <a:pt x="1731" y="523"/>
                  </a:lnTo>
                  <a:lnTo>
                    <a:pt x="1730" y="524"/>
                  </a:lnTo>
                  <a:lnTo>
                    <a:pt x="1729" y="524"/>
                  </a:lnTo>
                  <a:lnTo>
                    <a:pt x="1727" y="525"/>
                  </a:lnTo>
                  <a:lnTo>
                    <a:pt x="1725" y="526"/>
                  </a:lnTo>
                  <a:lnTo>
                    <a:pt x="1724" y="524"/>
                  </a:lnTo>
                  <a:lnTo>
                    <a:pt x="1724" y="530"/>
                  </a:lnTo>
                  <a:close/>
                  <a:moveTo>
                    <a:pt x="1746" y="526"/>
                  </a:moveTo>
                  <a:lnTo>
                    <a:pt x="1747" y="524"/>
                  </a:lnTo>
                  <a:lnTo>
                    <a:pt x="1747" y="520"/>
                  </a:lnTo>
                  <a:lnTo>
                    <a:pt x="1750" y="521"/>
                  </a:lnTo>
                  <a:lnTo>
                    <a:pt x="1754" y="517"/>
                  </a:lnTo>
                  <a:lnTo>
                    <a:pt x="1759" y="509"/>
                  </a:lnTo>
                  <a:lnTo>
                    <a:pt x="1760" y="511"/>
                  </a:lnTo>
                  <a:lnTo>
                    <a:pt x="1762" y="511"/>
                  </a:lnTo>
                  <a:lnTo>
                    <a:pt x="1765" y="509"/>
                  </a:lnTo>
                  <a:lnTo>
                    <a:pt x="1765" y="511"/>
                  </a:lnTo>
                  <a:lnTo>
                    <a:pt x="1764" y="512"/>
                  </a:lnTo>
                  <a:lnTo>
                    <a:pt x="1764" y="515"/>
                  </a:lnTo>
                  <a:lnTo>
                    <a:pt x="1771" y="507"/>
                  </a:lnTo>
                  <a:lnTo>
                    <a:pt x="1773" y="507"/>
                  </a:lnTo>
                  <a:lnTo>
                    <a:pt x="1773" y="514"/>
                  </a:lnTo>
                  <a:lnTo>
                    <a:pt x="1775" y="513"/>
                  </a:lnTo>
                  <a:lnTo>
                    <a:pt x="1776" y="511"/>
                  </a:lnTo>
                  <a:lnTo>
                    <a:pt x="1779" y="504"/>
                  </a:lnTo>
                  <a:lnTo>
                    <a:pt x="1781" y="502"/>
                  </a:lnTo>
                  <a:lnTo>
                    <a:pt x="1782" y="498"/>
                  </a:lnTo>
                  <a:lnTo>
                    <a:pt x="1785" y="497"/>
                  </a:lnTo>
                  <a:lnTo>
                    <a:pt x="1793" y="496"/>
                  </a:lnTo>
                  <a:lnTo>
                    <a:pt x="1793" y="494"/>
                  </a:lnTo>
                  <a:lnTo>
                    <a:pt x="1791" y="487"/>
                  </a:lnTo>
                  <a:lnTo>
                    <a:pt x="1790" y="486"/>
                  </a:lnTo>
                  <a:lnTo>
                    <a:pt x="1788" y="489"/>
                  </a:lnTo>
                  <a:lnTo>
                    <a:pt x="1784" y="494"/>
                  </a:lnTo>
                  <a:lnTo>
                    <a:pt x="1782" y="495"/>
                  </a:lnTo>
                  <a:lnTo>
                    <a:pt x="1779" y="495"/>
                  </a:lnTo>
                  <a:lnTo>
                    <a:pt x="1777" y="495"/>
                  </a:lnTo>
                  <a:lnTo>
                    <a:pt x="1773" y="500"/>
                  </a:lnTo>
                  <a:lnTo>
                    <a:pt x="1768" y="501"/>
                  </a:lnTo>
                  <a:lnTo>
                    <a:pt x="1766" y="503"/>
                  </a:lnTo>
                  <a:lnTo>
                    <a:pt x="1765" y="502"/>
                  </a:lnTo>
                  <a:lnTo>
                    <a:pt x="1765" y="501"/>
                  </a:lnTo>
                  <a:lnTo>
                    <a:pt x="1764" y="501"/>
                  </a:lnTo>
                  <a:lnTo>
                    <a:pt x="1768" y="496"/>
                  </a:lnTo>
                  <a:lnTo>
                    <a:pt x="1770" y="494"/>
                  </a:lnTo>
                  <a:lnTo>
                    <a:pt x="1772" y="492"/>
                  </a:lnTo>
                  <a:lnTo>
                    <a:pt x="1772" y="490"/>
                  </a:lnTo>
                  <a:lnTo>
                    <a:pt x="1768" y="490"/>
                  </a:lnTo>
                  <a:lnTo>
                    <a:pt x="1762" y="494"/>
                  </a:lnTo>
                  <a:lnTo>
                    <a:pt x="1758" y="494"/>
                  </a:lnTo>
                  <a:lnTo>
                    <a:pt x="1760" y="498"/>
                  </a:lnTo>
                  <a:lnTo>
                    <a:pt x="1761" y="499"/>
                  </a:lnTo>
                  <a:lnTo>
                    <a:pt x="1761" y="503"/>
                  </a:lnTo>
                  <a:lnTo>
                    <a:pt x="1759" y="504"/>
                  </a:lnTo>
                  <a:lnTo>
                    <a:pt x="1758" y="504"/>
                  </a:lnTo>
                  <a:lnTo>
                    <a:pt x="1756" y="505"/>
                  </a:lnTo>
                  <a:lnTo>
                    <a:pt x="1755" y="507"/>
                  </a:lnTo>
                  <a:lnTo>
                    <a:pt x="1752" y="511"/>
                  </a:lnTo>
                  <a:lnTo>
                    <a:pt x="1751" y="514"/>
                  </a:lnTo>
                  <a:lnTo>
                    <a:pt x="1749" y="515"/>
                  </a:lnTo>
                  <a:lnTo>
                    <a:pt x="1747" y="516"/>
                  </a:lnTo>
                  <a:lnTo>
                    <a:pt x="1746" y="517"/>
                  </a:lnTo>
                  <a:lnTo>
                    <a:pt x="1745" y="522"/>
                  </a:lnTo>
                  <a:lnTo>
                    <a:pt x="1745" y="525"/>
                  </a:lnTo>
                  <a:lnTo>
                    <a:pt x="1746" y="526"/>
                  </a:lnTo>
                  <a:close/>
                  <a:moveTo>
                    <a:pt x="1686" y="485"/>
                  </a:moveTo>
                  <a:lnTo>
                    <a:pt x="1687" y="485"/>
                  </a:lnTo>
                  <a:lnTo>
                    <a:pt x="1689" y="486"/>
                  </a:lnTo>
                  <a:lnTo>
                    <a:pt x="1690" y="488"/>
                  </a:lnTo>
                  <a:lnTo>
                    <a:pt x="1691" y="490"/>
                  </a:lnTo>
                  <a:lnTo>
                    <a:pt x="1691" y="491"/>
                  </a:lnTo>
                  <a:lnTo>
                    <a:pt x="1693" y="498"/>
                  </a:lnTo>
                  <a:lnTo>
                    <a:pt x="1694" y="500"/>
                  </a:lnTo>
                  <a:lnTo>
                    <a:pt x="1695" y="501"/>
                  </a:lnTo>
                  <a:lnTo>
                    <a:pt x="1697" y="502"/>
                  </a:lnTo>
                  <a:lnTo>
                    <a:pt x="1698" y="502"/>
                  </a:lnTo>
                  <a:lnTo>
                    <a:pt x="1699" y="501"/>
                  </a:lnTo>
                  <a:lnTo>
                    <a:pt x="1700" y="499"/>
                  </a:lnTo>
                  <a:lnTo>
                    <a:pt x="1703" y="501"/>
                  </a:lnTo>
                  <a:lnTo>
                    <a:pt x="1701" y="498"/>
                  </a:lnTo>
                  <a:lnTo>
                    <a:pt x="1700" y="496"/>
                  </a:lnTo>
                  <a:lnTo>
                    <a:pt x="1700" y="494"/>
                  </a:lnTo>
                  <a:lnTo>
                    <a:pt x="1705" y="495"/>
                  </a:lnTo>
                  <a:lnTo>
                    <a:pt x="1709" y="497"/>
                  </a:lnTo>
                  <a:lnTo>
                    <a:pt x="1717" y="505"/>
                  </a:lnTo>
                  <a:lnTo>
                    <a:pt x="1716" y="507"/>
                  </a:lnTo>
                  <a:lnTo>
                    <a:pt x="1715" y="509"/>
                  </a:lnTo>
                  <a:lnTo>
                    <a:pt x="1715" y="511"/>
                  </a:lnTo>
                  <a:lnTo>
                    <a:pt x="1715" y="514"/>
                  </a:lnTo>
                  <a:lnTo>
                    <a:pt x="1718" y="508"/>
                  </a:lnTo>
                  <a:lnTo>
                    <a:pt x="1720" y="507"/>
                  </a:lnTo>
                  <a:lnTo>
                    <a:pt x="1724" y="507"/>
                  </a:lnTo>
                  <a:lnTo>
                    <a:pt x="1724" y="505"/>
                  </a:lnTo>
                  <a:lnTo>
                    <a:pt x="1722" y="503"/>
                  </a:lnTo>
                  <a:lnTo>
                    <a:pt x="1720" y="502"/>
                  </a:lnTo>
                  <a:lnTo>
                    <a:pt x="1719" y="502"/>
                  </a:lnTo>
                  <a:lnTo>
                    <a:pt x="1717" y="501"/>
                  </a:lnTo>
                  <a:lnTo>
                    <a:pt x="1716" y="499"/>
                  </a:lnTo>
                  <a:lnTo>
                    <a:pt x="1713" y="491"/>
                  </a:lnTo>
                  <a:lnTo>
                    <a:pt x="1711" y="490"/>
                  </a:lnTo>
                  <a:lnTo>
                    <a:pt x="1698" y="486"/>
                  </a:lnTo>
                  <a:lnTo>
                    <a:pt x="1698" y="484"/>
                  </a:lnTo>
                  <a:lnTo>
                    <a:pt x="1700" y="484"/>
                  </a:lnTo>
                  <a:lnTo>
                    <a:pt x="1703" y="484"/>
                  </a:lnTo>
                  <a:lnTo>
                    <a:pt x="1702" y="481"/>
                  </a:lnTo>
                  <a:lnTo>
                    <a:pt x="1702" y="480"/>
                  </a:lnTo>
                  <a:lnTo>
                    <a:pt x="1704" y="477"/>
                  </a:lnTo>
                  <a:lnTo>
                    <a:pt x="1705" y="477"/>
                  </a:lnTo>
                  <a:lnTo>
                    <a:pt x="1705" y="477"/>
                  </a:lnTo>
                  <a:lnTo>
                    <a:pt x="1705" y="476"/>
                  </a:lnTo>
                  <a:lnTo>
                    <a:pt x="1705" y="475"/>
                  </a:lnTo>
                  <a:lnTo>
                    <a:pt x="1702" y="473"/>
                  </a:lnTo>
                  <a:lnTo>
                    <a:pt x="1700" y="475"/>
                  </a:lnTo>
                  <a:lnTo>
                    <a:pt x="1695" y="481"/>
                  </a:lnTo>
                  <a:lnTo>
                    <a:pt x="1693" y="482"/>
                  </a:lnTo>
                  <a:lnTo>
                    <a:pt x="1688" y="481"/>
                  </a:lnTo>
                  <a:lnTo>
                    <a:pt x="1684" y="481"/>
                  </a:lnTo>
                  <a:lnTo>
                    <a:pt x="1685" y="484"/>
                  </a:lnTo>
                  <a:lnTo>
                    <a:pt x="1686" y="485"/>
                  </a:lnTo>
                  <a:close/>
                  <a:moveTo>
                    <a:pt x="1918" y="414"/>
                  </a:moveTo>
                  <a:lnTo>
                    <a:pt x="1920" y="413"/>
                  </a:lnTo>
                  <a:lnTo>
                    <a:pt x="1921" y="413"/>
                  </a:lnTo>
                  <a:lnTo>
                    <a:pt x="1921" y="413"/>
                  </a:lnTo>
                  <a:lnTo>
                    <a:pt x="1921" y="412"/>
                  </a:lnTo>
                  <a:lnTo>
                    <a:pt x="1921" y="411"/>
                  </a:lnTo>
                  <a:lnTo>
                    <a:pt x="1918" y="411"/>
                  </a:lnTo>
                  <a:lnTo>
                    <a:pt x="1915" y="412"/>
                  </a:lnTo>
                  <a:lnTo>
                    <a:pt x="1912" y="415"/>
                  </a:lnTo>
                  <a:lnTo>
                    <a:pt x="1910" y="421"/>
                  </a:lnTo>
                  <a:lnTo>
                    <a:pt x="1911" y="425"/>
                  </a:lnTo>
                  <a:lnTo>
                    <a:pt x="1914" y="424"/>
                  </a:lnTo>
                  <a:lnTo>
                    <a:pt x="1917" y="422"/>
                  </a:lnTo>
                  <a:lnTo>
                    <a:pt x="1919" y="420"/>
                  </a:lnTo>
                  <a:lnTo>
                    <a:pt x="1919" y="417"/>
                  </a:lnTo>
                  <a:lnTo>
                    <a:pt x="1917" y="417"/>
                  </a:lnTo>
                  <a:lnTo>
                    <a:pt x="1917" y="415"/>
                  </a:lnTo>
                  <a:lnTo>
                    <a:pt x="1918" y="414"/>
                  </a:lnTo>
                  <a:close/>
                  <a:moveTo>
                    <a:pt x="1958" y="250"/>
                  </a:moveTo>
                  <a:lnTo>
                    <a:pt x="1957" y="254"/>
                  </a:lnTo>
                  <a:lnTo>
                    <a:pt x="1955" y="257"/>
                  </a:lnTo>
                  <a:lnTo>
                    <a:pt x="1955" y="258"/>
                  </a:lnTo>
                  <a:lnTo>
                    <a:pt x="1958" y="256"/>
                  </a:lnTo>
                  <a:lnTo>
                    <a:pt x="1960" y="252"/>
                  </a:lnTo>
                  <a:lnTo>
                    <a:pt x="1961" y="250"/>
                  </a:lnTo>
                  <a:lnTo>
                    <a:pt x="1961" y="248"/>
                  </a:lnTo>
                  <a:lnTo>
                    <a:pt x="1961" y="249"/>
                  </a:lnTo>
                  <a:lnTo>
                    <a:pt x="1961" y="253"/>
                  </a:lnTo>
                  <a:lnTo>
                    <a:pt x="1960" y="256"/>
                  </a:lnTo>
                  <a:lnTo>
                    <a:pt x="1960" y="259"/>
                  </a:lnTo>
                  <a:lnTo>
                    <a:pt x="1961" y="259"/>
                  </a:lnTo>
                  <a:lnTo>
                    <a:pt x="1962" y="256"/>
                  </a:lnTo>
                  <a:lnTo>
                    <a:pt x="1964" y="251"/>
                  </a:lnTo>
                  <a:lnTo>
                    <a:pt x="1965" y="248"/>
                  </a:lnTo>
                  <a:lnTo>
                    <a:pt x="1966" y="245"/>
                  </a:lnTo>
                  <a:lnTo>
                    <a:pt x="1965" y="242"/>
                  </a:lnTo>
                  <a:lnTo>
                    <a:pt x="1964" y="243"/>
                  </a:lnTo>
                  <a:lnTo>
                    <a:pt x="1963" y="244"/>
                  </a:lnTo>
                  <a:lnTo>
                    <a:pt x="1963" y="243"/>
                  </a:lnTo>
                  <a:lnTo>
                    <a:pt x="1964" y="239"/>
                  </a:lnTo>
                  <a:lnTo>
                    <a:pt x="1964" y="236"/>
                  </a:lnTo>
                  <a:lnTo>
                    <a:pt x="1963" y="236"/>
                  </a:lnTo>
                  <a:lnTo>
                    <a:pt x="1962" y="237"/>
                  </a:lnTo>
                  <a:lnTo>
                    <a:pt x="1959" y="238"/>
                  </a:lnTo>
                  <a:lnTo>
                    <a:pt x="1959" y="239"/>
                  </a:lnTo>
                  <a:lnTo>
                    <a:pt x="1960" y="241"/>
                  </a:lnTo>
                  <a:lnTo>
                    <a:pt x="1960" y="243"/>
                  </a:lnTo>
                  <a:lnTo>
                    <a:pt x="1959" y="246"/>
                  </a:lnTo>
                  <a:lnTo>
                    <a:pt x="1958" y="250"/>
                  </a:lnTo>
                  <a:close/>
                  <a:moveTo>
                    <a:pt x="1842" y="233"/>
                  </a:moveTo>
                  <a:lnTo>
                    <a:pt x="1845" y="235"/>
                  </a:lnTo>
                  <a:lnTo>
                    <a:pt x="1847" y="231"/>
                  </a:lnTo>
                  <a:lnTo>
                    <a:pt x="1847" y="226"/>
                  </a:lnTo>
                  <a:lnTo>
                    <a:pt x="1847" y="223"/>
                  </a:lnTo>
                  <a:lnTo>
                    <a:pt x="1845" y="222"/>
                  </a:lnTo>
                  <a:lnTo>
                    <a:pt x="1841" y="223"/>
                  </a:lnTo>
                  <a:lnTo>
                    <a:pt x="1839" y="225"/>
                  </a:lnTo>
                  <a:lnTo>
                    <a:pt x="1838" y="226"/>
                  </a:lnTo>
                  <a:lnTo>
                    <a:pt x="1837" y="229"/>
                  </a:lnTo>
                  <a:lnTo>
                    <a:pt x="1838" y="231"/>
                  </a:lnTo>
                  <a:lnTo>
                    <a:pt x="1842" y="233"/>
                  </a:lnTo>
                  <a:close/>
                  <a:moveTo>
                    <a:pt x="1996" y="236"/>
                  </a:moveTo>
                  <a:lnTo>
                    <a:pt x="2001" y="239"/>
                  </a:lnTo>
                  <a:lnTo>
                    <a:pt x="2002" y="238"/>
                  </a:lnTo>
                  <a:lnTo>
                    <a:pt x="2003" y="231"/>
                  </a:lnTo>
                  <a:lnTo>
                    <a:pt x="2004" y="229"/>
                  </a:lnTo>
                  <a:lnTo>
                    <a:pt x="2006" y="225"/>
                  </a:lnTo>
                  <a:lnTo>
                    <a:pt x="2006" y="221"/>
                  </a:lnTo>
                  <a:lnTo>
                    <a:pt x="2006" y="218"/>
                  </a:lnTo>
                  <a:lnTo>
                    <a:pt x="2004" y="220"/>
                  </a:lnTo>
                  <a:lnTo>
                    <a:pt x="2003" y="220"/>
                  </a:lnTo>
                  <a:lnTo>
                    <a:pt x="2002" y="217"/>
                  </a:lnTo>
                  <a:lnTo>
                    <a:pt x="2002" y="214"/>
                  </a:lnTo>
                  <a:lnTo>
                    <a:pt x="2001" y="212"/>
                  </a:lnTo>
                  <a:lnTo>
                    <a:pt x="2000" y="213"/>
                  </a:lnTo>
                  <a:lnTo>
                    <a:pt x="2000" y="216"/>
                  </a:lnTo>
                  <a:lnTo>
                    <a:pt x="1998" y="216"/>
                  </a:lnTo>
                  <a:lnTo>
                    <a:pt x="1996" y="215"/>
                  </a:lnTo>
                  <a:lnTo>
                    <a:pt x="1993" y="216"/>
                  </a:lnTo>
                  <a:lnTo>
                    <a:pt x="1993" y="219"/>
                  </a:lnTo>
                  <a:lnTo>
                    <a:pt x="1995" y="223"/>
                  </a:lnTo>
                  <a:lnTo>
                    <a:pt x="1994" y="233"/>
                  </a:lnTo>
                  <a:lnTo>
                    <a:pt x="1996" y="236"/>
                  </a:lnTo>
                  <a:close/>
                  <a:moveTo>
                    <a:pt x="2015" y="154"/>
                  </a:moveTo>
                  <a:lnTo>
                    <a:pt x="2013" y="155"/>
                  </a:lnTo>
                  <a:lnTo>
                    <a:pt x="2011" y="157"/>
                  </a:lnTo>
                  <a:lnTo>
                    <a:pt x="2011" y="159"/>
                  </a:lnTo>
                  <a:lnTo>
                    <a:pt x="2010" y="161"/>
                  </a:lnTo>
                  <a:lnTo>
                    <a:pt x="2009" y="162"/>
                  </a:lnTo>
                  <a:lnTo>
                    <a:pt x="2008" y="164"/>
                  </a:lnTo>
                  <a:lnTo>
                    <a:pt x="2012" y="166"/>
                  </a:lnTo>
                  <a:lnTo>
                    <a:pt x="2018" y="164"/>
                  </a:lnTo>
                  <a:lnTo>
                    <a:pt x="2022" y="159"/>
                  </a:lnTo>
                  <a:lnTo>
                    <a:pt x="2025" y="155"/>
                  </a:lnTo>
                  <a:lnTo>
                    <a:pt x="2027" y="152"/>
                  </a:lnTo>
                  <a:lnTo>
                    <a:pt x="2028" y="151"/>
                  </a:lnTo>
                  <a:lnTo>
                    <a:pt x="2028" y="149"/>
                  </a:lnTo>
                  <a:lnTo>
                    <a:pt x="2027" y="149"/>
                  </a:lnTo>
                  <a:lnTo>
                    <a:pt x="2026" y="150"/>
                  </a:lnTo>
                  <a:lnTo>
                    <a:pt x="2025" y="150"/>
                  </a:lnTo>
                  <a:lnTo>
                    <a:pt x="2019" y="151"/>
                  </a:lnTo>
                  <a:lnTo>
                    <a:pt x="2018" y="153"/>
                  </a:lnTo>
                  <a:lnTo>
                    <a:pt x="2017" y="154"/>
                  </a:lnTo>
                  <a:lnTo>
                    <a:pt x="2015" y="154"/>
                  </a:lnTo>
                  <a:close/>
                  <a:moveTo>
                    <a:pt x="2048" y="75"/>
                  </a:moveTo>
                  <a:lnTo>
                    <a:pt x="2047" y="76"/>
                  </a:lnTo>
                  <a:lnTo>
                    <a:pt x="2047" y="77"/>
                  </a:lnTo>
                  <a:lnTo>
                    <a:pt x="2046" y="78"/>
                  </a:lnTo>
                  <a:lnTo>
                    <a:pt x="2044" y="78"/>
                  </a:lnTo>
                  <a:lnTo>
                    <a:pt x="2044" y="76"/>
                  </a:lnTo>
                  <a:lnTo>
                    <a:pt x="2044" y="74"/>
                  </a:lnTo>
                  <a:lnTo>
                    <a:pt x="2044" y="72"/>
                  </a:lnTo>
                  <a:lnTo>
                    <a:pt x="2042" y="71"/>
                  </a:lnTo>
                  <a:lnTo>
                    <a:pt x="2024" y="71"/>
                  </a:lnTo>
                  <a:lnTo>
                    <a:pt x="2024" y="74"/>
                  </a:lnTo>
                  <a:lnTo>
                    <a:pt x="2029" y="85"/>
                  </a:lnTo>
                  <a:lnTo>
                    <a:pt x="2032" y="90"/>
                  </a:lnTo>
                  <a:lnTo>
                    <a:pt x="2037" y="91"/>
                  </a:lnTo>
                  <a:lnTo>
                    <a:pt x="2036" y="90"/>
                  </a:lnTo>
                  <a:lnTo>
                    <a:pt x="2036" y="89"/>
                  </a:lnTo>
                  <a:lnTo>
                    <a:pt x="2035" y="88"/>
                  </a:lnTo>
                  <a:lnTo>
                    <a:pt x="2034" y="87"/>
                  </a:lnTo>
                  <a:lnTo>
                    <a:pt x="2034" y="84"/>
                  </a:lnTo>
                  <a:lnTo>
                    <a:pt x="2039" y="84"/>
                  </a:lnTo>
                  <a:lnTo>
                    <a:pt x="2044" y="87"/>
                  </a:lnTo>
                  <a:lnTo>
                    <a:pt x="2048" y="88"/>
                  </a:lnTo>
                  <a:lnTo>
                    <a:pt x="2052" y="84"/>
                  </a:lnTo>
                  <a:lnTo>
                    <a:pt x="2053" y="81"/>
                  </a:lnTo>
                  <a:lnTo>
                    <a:pt x="2052" y="78"/>
                  </a:lnTo>
                  <a:lnTo>
                    <a:pt x="2051" y="76"/>
                  </a:lnTo>
                  <a:lnTo>
                    <a:pt x="2048" y="75"/>
                  </a:lnTo>
                  <a:close/>
                  <a:moveTo>
                    <a:pt x="1908" y="196"/>
                  </a:moveTo>
                  <a:lnTo>
                    <a:pt x="1909" y="198"/>
                  </a:lnTo>
                  <a:lnTo>
                    <a:pt x="1912" y="199"/>
                  </a:lnTo>
                  <a:lnTo>
                    <a:pt x="1914" y="199"/>
                  </a:lnTo>
                  <a:lnTo>
                    <a:pt x="1914" y="201"/>
                  </a:lnTo>
                  <a:lnTo>
                    <a:pt x="1914" y="202"/>
                  </a:lnTo>
                  <a:lnTo>
                    <a:pt x="1915" y="203"/>
                  </a:lnTo>
                  <a:lnTo>
                    <a:pt x="1916" y="204"/>
                  </a:lnTo>
                  <a:lnTo>
                    <a:pt x="1920" y="203"/>
                  </a:lnTo>
                  <a:lnTo>
                    <a:pt x="1925" y="200"/>
                  </a:lnTo>
                  <a:lnTo>
                    <a:pt x="1927" y="199"/>
                  </a:lnTo>
                  <a:lnTo>
                    <a:pt x="1928" y="202"/>
                  </a:lnTo>
                  <a:lnTo>
                    <a:pt x="1929" y="205"/>
                  </a:lnTo>
                  <a:lnTo>
                    <a:pt x="1930" y="205"/>
                  </a:lnTo>
                  <a:lnTo>
                    <a:pt x="1932" y="202"/>
                  </a:lnTo>
                  <a:lnTo>
                    <a:pt x="1933" y="197"/>
                  </a:lnTo>
                  <a:lnTo>
                    <a:pt x="1934" y="195"/>
                  </a:lnTo>
                  <a:lnTo>
                    <a:pt x="1938" y="202"/>
                  </a:lnTo>
                  <a:lnTo>
                    <a:pt x="1940" y="203"/>
                  </a:lnTo>
                  <a:lnTo>
                    <a:pt x="1938" y="204"/>
                  </a:lnTo>
                  <a:lnTo>
                    <a:pt x="1933" y="206"/>
                  </a:lnTo>
                  <a:lnTo>
                    <a:pt x="1931" y="207"/>
                  </a:lnTo>
                  <a:lnTo>
                    <a:pt x="1930" y="210"/>
                  </a:lnTo>
                  <a:lnTo>
                    <a:pt x="1930" y="211"/>
                  </a:lnTo>
                  <a:lnTo>
                    <a:pt x="1931" y="214"/>
                  </a:lnTo>
                  <a:lnTo>
                    <a:pt x="1932" y="214"/>
                  </a:lnTo>
                  <a:lnTo>
                    <a:pt x="1935" y="218"/>
                  </a:lnTo>
                  <a:lnTo>
                    <a:pt x="1935" y="218"/>
                  </a:lnTo>
                  <a:lnTo>
                    <a:pt x="1942" y="223"/>
                  </a:lnTo>
                  <a:lnTo>
                    <a:pt x="1943" y="223"/>
                  </a:lnTo>
                  <a:lnTo>
                    <a:pt x="1944" y="221"/>
                  </a:lnTo>
                  <a:lnTo>
                    <a:pt x="1945" y="217"/>
                  </a:lnTo>
                  <a:lnTo>
                    <a:pt x="1945" y="214"/>
                  </a:lnTo>
                  <a:lnTo>
                    <a:pt x="1948" y="212"/>
                  </a:lnTo>
                  <a:lnTo>
                    <a:pt x="1948" y="216"/>
                  </a:lnTo>
                  <a:lnTo>
                    <a:pt x="1950" y="215"/>
                  </a:lnTo>
                  <a:lnTo>
                    <a:pt x="1951" y="211"/>
                  </a:lnTo>
                  <a:lnTo>
                    <a:pt x="1951" y="205"/>
                  </a:lnTo>
                  <a:lnTo>
                    <a:pt x="1953" y="206"/>
                  </a:lnTo>
                  <a:lnTo>
                    <a:pt x="1954" y="206"/>
                  </a:lnTo>
                  <a:lnTo>
                    <a:pt x="1957" y="210"/>
                  </a:lnTo>
                  <a:lnTo>
                    <a:pt x="1959" y="205"/>
                  </a:lnTo>
                  <a:lnTo>
                    <a:pt x="1956" y="201"/>
                  </a:lnTo>
                  <a:lnTo>
                    <a:pt x="1954" y="197"/>
                  </a:lnTo>
                  <a:lnTo>
                    <a:pt x="1952" y="194"/>
                  </a:lnTo>
                  <a:lnTo>
                    <a:pt x="1949" y="192"/>
                  </a:lnTo>
                  <a:lnTo>
                    <a:pt x="1949" y="190"/>
                  </a:lnTo>
                  <a:lnTo>
                    <a:pt x="1954" y="191"/>
                  </a:lnTo>
                  <a:lnTo>
                    <a:pt x="1957" y="195"/>
                  </a:lnTo>
                  <a:lnTo>
                    <a:pt x="1959" y="200"/>
                  </a:lnTo>
                  <a:lnTo>
                    <a:pt x="1962" y="207"/>
                  </a:lnTo>
                  <a:lnTo>
                    <a:pt x="1966" y="197"/>
                  </a:lnTo>
                  <a:lnTo>
                    <a:pt x="1969" y="194"/>
                  </a:lnTo>
                  <a:lnTo>
                    <a:pt x="1971" y="194"/>
                  </a:lnTo>
                  <a:lnTo>
                    <a:pt x="1971" y="197"/>
                  </a:lnTo>
                  <a:lnTo>
                    <a:pt x="1970" y="198"/>
                  </a:lnTo>
                  <a:lnTo>
                    <a:pt x="1969" y="201"/>
                  </a:lnTo>
                  <a:lnTo>
                    <a:pt x="1967" y="204"/>
                  </a:lnTo>
                  <a:lnTo>
                    <a:pt x="1965" y="212"/>
                  </a:lnTo>
                  <a:lnTo>
                    <a:pt x="1964" y="215"/>
                  </a:lnTo>
                  <a:lnTo>
                    <a:pt x="1965" y="216"/>
                  </a:lnTo>
                  <a:lnTo>
                    <a:pt x="1967" y="216"/>
                  </a:lnTo>
                  <a:lnTo>
                    <a:pt x="1967" y="215"/>
                  </a:lnTo>
                  <a:lnTo>
                    <a:pt x="1969" y="214"/>
                  </a:lnTo>
                  <a:lnTo>
                    <a:pt x="1971" y="213"/>
                  </a:lnTo>
                  <a:lnTo>
                    <a:pt x="1969" y="220"/>
                  </a:lnTo>
                  <a:lnTo>
                    <a:pt x="1968" y="222"/>
                  </a:lnTo>
                  <a:lnTo>
                    <a:pt x="1968" y="223"/>
                  </a:lnTo>
                  <a:lnTo>
                    <a:pt x="1969" y="226"/>
                  </a:lnTo>
                  <a:lnTo>
                    <a:pt x="1970" y="226"/>
                  </a:lnTo>
                  <a:lnTo>
                    <a:pt x="1971" y="226"/>
                  </a:lnTo>
                  <a:lnTo>
                    <a:pt x="1971" y="227"/>
                  </a:lnTo>
                  <a:lnTo>
                    <a:pt x="1972" y="236"/>
                  </a:lnTo>
                  <a:lnTo>
                    <a:pt x="1971" y="242"/>
                  </a:lnTo>
                  <a:lnTo>
                    <a:pt x="1968" y="248"/>
                  </a:lnTo>
                  <a:lnTo>
                    <a:pt x="1966" y="264"/>
                  </a:lnTo>
                  <a:lnTo>
                    <a:pt x="1964" y="269"/>
                  </a:lnTo>
                  <a:lnTo>
                    <a:pt x="1962" y="274"/>
                  </a:lnTo>
                  <a:lnTo>
                    <a:pt x="1963" y="280"/>
                  </a:lnTo>
                  <a:lnTo>
                    <a:pt x="1959" y="280"/>
                  </a:lnTo>
                  <a:lnTo>
                    <a:pt x="1959" y="282"/>
                  </a:lnTo>
                  <a:lnTo>
                    <a:pt x="1960" y="283"/>
                  </a:lnTo>
                  <a:lnTo>
                    <a:pt x="1963" y="286"/>
                  </a:lnTo>
                  <a:lnTo>
                    <a:pt x="1963" y="288"/>
                  </a:lnTo>
                  <a:lnTo>
                    <a:pt x="1961" y="288"/>
                  </a:lnTo>
                  <a:lnTo>
                    <a:pt x="1959" y="288"/>
                  </a:lnTo>
                  <a:lnTo>
                    <a:pt x="1958" y="290"/>
                  </a:lnTo>
                  <a:lnTo>
                    <a:pt x="1956" y="292"/>
                  </a:lnTo>
                  <a:lnTo>
                    <a:pt x="1957" y="297"/>
                  </a:lnTo>
                  <a:lnTo>
                    <a:pt x="1954" y="301"/>
                  </a:lnTo>
                  <a:lnTo>
                    <a:pt x="1956" y="305"/>
                  </a:lnTo>
                  <a:lnTo>
                    <a:pt x="1959" y="307"/>
                  </a:lnTo>
                  <a:lnTo>
                    <a:pt x="1964" y="305"/>
                  </a:lnTo>
                  <a:lnTo>
                    <a:pt x="1966" y="308"/>
                  </a:lnTo>
                  <a:lnTo>
                    <a:pt x="1966" y="310"/>
                  </a:lnTo>
                  <a:lnTo>
                    <a:pt x="1964" y="313"/>
                  </a:lnTo>
                  <a:lnTo>
                    <a:pt x="1964" y="315"/>
                  </a:lnTo>
                  <a:lnTo>
                    <a:pt x="1966" y="315"/>
                  </a:lnTo>
                  <a:lnTo>
                    <a:pt x="1967" y="312"/>
                  </a:lnTo>
                  <a:lnTo>
                    <a:pt x="1970" y="317"/>
                  </a:lnTo>
                  <a:lnTo>
                    <a:pt x="1970" y="319"/>
                  </a:lnTo>
                  <a:lnTo>
                    <a:pt x="1972" y="317"/>
                  </a:lnTo>
                  <a:lnTo>
                    <a:pt x="1973" y="315"/>
                  </a:lnTo>
                  <a:lnTo>
                    <a:pt x="1972" y="312"/>
                  </a:lnTo>
                  <a:lnTo>
                    <a:pt x="1970" y="310"/>
                  </a:lnTo>
                  <a:lnTo>
                    <a:pt x="1972" y="305"/>
                  </a:lnTo>
                  <a:lnTo>
                    <a:pt x="1972" y="302"/>
                  </a:lnTo>
                  <a:lnTo>
                    <a:pt x="1972" y="298"/>
                  </a:lnTo>
                  <a:lnTo>
                    <a:pt x="1970" y="294"/>
                  </a:lnTo>
                  <a:lnTo>
                    <a:pt x="1971" y="295"/>
                  </a:lnTo>
                  <a:lnTo>
                    <a:pt x="1971" y="297"/>
                  </a:lnTo>
                  <a:lnTo>
                    <a:pt x="1974" y="292"/>
                  </a:lnTo>
                  <a:lnTo>
                    <a:pt x="1975" y="286"/>
                  </a:lnTo>
                  <a:lnTo>
                    <a:pt x="1975" y="280"/>
                  </a:lnTo>
                  <a:lnTo>
                    <a:pt x="1975" y="273"/>
                  </a:lnTo>
                  <a:lnTo>
                    <a:pt x="1980" y="276"/>
                  </a:lnTo>
                  <a:lnTo>
                    <a:pt x="1982" y="277"/>
                  </a:lnTo>
                  <a:lnTo>
                    <a:pt x="1983" y="273"/>
                  </a:lnTo>
                  <a:lnTo>
                    <a:pt x="1980" y="264"/>
                  </a:lnTo>
                  <a:lnTo>
                    <a:pt x="1979" y="260"/>
                  </a:lnTo>
                  <a:lnTo>
                    <a:pt x="1982" y="261"/>
                  </a:lnTo>
                  <a:lnTo>
                    <a:pt x="1984" y="260"/>
                  </a:lnTo>
                  <a:lnTo>
                    <a:pt x="1987" y="258"/>
                  </a:lnTo>
                  <a:lnTo>
                    <a:pt x="1988" y="253"/>
                  </a:lnTo>
                  <a:lnTo>
                    <a:pt x="1986" y="253"/>
                  </a:lnTo>
                  <a:lnTo>
                    <a:pt x="1983" y="250"/>
                  </a:lnTo>
                  <a:lnTo>
                    <a:pt x="1982" y="246"/>
                  </a:lnTo>
                  <a:lnTo>
                    <a:pt x="1984" y="242"/>
                  </a:lnTo>
                  <a:lnTo>
                    <a:pt x="1981" y="241"/>
                  </a:lnTo>
                  <a:lnTo>
                    <a:pt x="1980" y="240"/>
                  </a:lnTo>
                  <a:lnTo>
                    <a:pt x="1980" y="238"/>
                  </a:lnTo>
                  <a:lnTo>
                    <a:pt x="1982" y="238"/>
                  </a:lnTo>
                  <a:lnTo>
                    <a:pt x="1983" y="238"/>
                  </a:lnTo>
                  <a:lnTo>
                    <a:pt x="1984" y="236"/>
                  </a:lnTo>
                  <a:lnTo>
                    <a:pt x="1984" y="234"/>
                  </a:lnTo>
                  <a:lnTo>
                    <a:pt x="1982" y="231"/>
                  </a:lnTo>
                  <a:lnTo>
                    <a:pt x="1985" y="231"/>
                  </a:lnTo>
                  <a:lnTo>
                    <a:pt x="1987" y="229"/>
                  </a:lnTo>
                  <a:lnTo>
                    <a:pt x="1988" y="227"/>
                  </a:lnTo>
                  <a:lnTo>
                    <a:pt x="1991" y="229"/>
                  </a:lnTo>
                  <a:lnTo>
                    <a:pt x="1991" y="227"/>
                  </a:lnTo>
                  <a:lnTo>
                    <a:pt x="1990" y="227"/>
                  </a:lnTo>
                  <a:lnTo>
                    <a:pt x="1990" y="225"/>
                  </a:lnTo>
                  <a:lnTo>
                    <a:pt x="1994" y="225"/>
                  </a:lnTo>
                  <a:lnTo>
                    <a:pt x="1994" y="223"/>
                  </a:lnTo>
                  <a:lnTo>
                    <a:pt x="1989" y="218"/>
                  </a:lnTo>
                  <a:lnTo>
                    <a:pt x="1991" y="213"/>
                  </a:lnTo>
                  <a:lnTo>
                    <a:pt x="1989" y="211"/>
                  </a:lnTo>
                  <a:lnTo>
                    <a:pt x="1986" y="213"/>
                  </a:lnTo>
                  <a:lnTo>
                    <a:pt x="1983" y="216"/>
                  </a:lnTo>
                  <a:lnTo>
                    <a:pt x="1984" y="211"/>
                  </a:lnTo>
                  <a:lnTo>
                    <a:pt x="1989" y="201"/>
                  </a:lnTo>
                  <a:lnTo>
                    <a:pt x="1987" y="202"/>
                  </a:lnTo>
                  <a:lnTo>
                    <a:pt x="1985" y="203"/>
                  </a:lnTo>
                  <a:lnTo>
                    <a:pt x="1982" y="207"/>
                  </a:lnTo>
                  <a:lnTo>
                    <a:pt x="1983" y="203"/>
                  </a:lnTo>
                  <a:lnTo>
                    <a:pt x="1984" y="201"/>
                  </a:lnTo>
                  <a:lnTo>
                    <a:pt x="1985" y="199"/>
                  </a:lnTo>
                  <a:lnTo>
                    <a:pt x="1979" y="199"/>
                  </a:lnTo>
                  <a:lnTo>
                    <a:pt x="1979" y="197"/>
                  </a:lnTo>
                  <a:lnTo>
                    <a:pt x="1982" y="195"/>
                  </a:lnTo>
                  <a:lnTo>
                    <a:pt x="1983" y="194"/>
                  </a:lnTo>
                  <a:lnTo>
                    <a:pt x="1984" y="194"/>
                  </a:lnTo>
                  <a:lnTo>
                    <a:pt x="1984" y="192"/>
                  </a:lnTo>
                  <a:lnTo>
                    <a:pt x="1983" y="191"/>
                  </a:lnTo>
                  <a:lnTo>
                    <a:pt x="1983" y="189"/>
                  </a:lnTo>
                  <a:lnTo>
                    <a:pt x="1982" y="187"/>
                  </a:lnTo>
                  <a:lnTo>
                    <a:pt x="1983" y="186"/>
                  </a:lnTo>
                  <a:lnTo>
                    <a:pt x="1985" y="186"/>
                  </a:lnTo>
                  <a:lnTo>
                    <a:pt x="1986" y="188"/>
                  </a:lnTo>
                  <a:lnTo>
                    <a:pt x="1988" y="192"/>
                  </a:lnTo>
                  <a:lnTo>
                    <a:pt x="1990" y="193"/>
                  </a:lnTo>
                  <a:lnTo>
                    <a:pt x="1993" y="192"/>
                  </a:lnTo>
                  <a:lnTo>
                    <a:pt x="2000" y="186"/>
                  </a:lnTo>
                  <a:lnTo>
                    <a:pt x="1999" y="185"/>
                  </a:lnTo>
                  <a:lnTo>
                    <a:pt x="1997" y="184"/>
                  </a:lnTo>
                  <a:lnTo>
                    <a:pt x="1995" y="184"/>
                  </a:lnTo>
                  <a:lnTo>
                    <a:pt x="1994" y="183"/>
                  </a:lnTo>
                  <a:lnTo>
                    <a:pt x="1993" y="185"/>
                  </a:lnTo>
                  <a:lnTo>
                    <a:pt x="1993" y="185"/>
                  </a:lnTo>
                  <a:lnTo>
                    <a:pt x="1992" y="183"/>
                  </a:lnTo>
                  <a:lnTo>
                    <a:pt x="1992" y="182"/>
                  </a:lnTo>
                  <a:lnTo>
                    <a:pt x="1992" y="180"/>
                  </a:lnTo>
                  <a:lnTo>
                    <a:pt x="1993" y="179"/>
                  </a:lnTo>
                  <a:lnTo>
                    <a:pt x="1994" y="178"/>
                  </a:lnTo>
                  <a:lnTo>
                    <a:pt x="2002" y="170"/>
                  </a:lnTo>
                  <a:lnTo>
                    <a:pt x="1998" y="167"/>
                  </a:lnTo>
                  <a:lnTo>
                    <a:pt x="1990" y="165"/>
                  </a:lnTo>
                  <a:lnTo>
                    <a:pt x="1987" y="162"/>
                  </a:lnTo>
                  <a:lnTo>
                    <a:pt x="1989" y="161"/>
                  </a:lnTo>
                  <a:lnTo>
                    <a:pt x="2001" y="159"/>
                  </a:lnTo>
                  <a:lnTo>
                    <a:pt x="2003" y="158"/>
                  </a:lnTo>
                  <a:lnTo>
                    <a:pt x="2003" y="155"/>
                  </a:lnTo>
                  <a:lnTo>
                    <a:pt x="2004" y="151"/>
                  </a:lnTo>
                  <a:lnTo>
                    <a:pt x="2004" y="149"/>
                  </a:lnTo>
                  <a:lnTo>
                    <a:pt x="2003" y="146"/>
                  </a:lnTo>
                  <a:lnTo>
                    <a:pt x="2001" y="146"/>
                  </a:lnTo>
                  <a:lnTo>
                    <a:pt x="1999" y="148"/>
                  </a:lnTo>
                  <a:lnTo>
                    <a:pt x="1998" y="148"/>
                  </a:lnTo>
                  <a:lnTo>
                    <a:pt x="1997" y="152"/>
                  </a:lnTo>
                  <a:lnTo>
                    <a:pt x="1995" y="153"/>
                  </a:lnTo>
                  <a:lnTo>
                    <a:pt x="1994" y="153"/>
                  </a:lnTo>
                  <a:lnTo>
                    <a:pt x="1994" y="150"/>
                  </a:lnTo>
                  <a:lnTo>
                    <a:pt x="1995" y="148"/>
                  </a:lnTo>
                  <a:lnTo>
                    <a:pt x="2006" y="134"/>
                  </a:lnTo>
                  <a:lnTo>
                    <a:pt x="2008" y="128"/>
                  </a:lnTo>
                  <a:lnTo>
                    <a:pt x="2005" y="128"/>
                  </a:lnTo>
                  <a:lnTo>
                    <a:pt x="2003" y="131"/>
                  </a:lnTo>
                  <a:lnTo>
                    <a:pt x="2000" y="134"/>
                  </a:lnTo>
                  <a:lnTo>
                    <a:pt x="1998" y="139"/>
                  </a:lnTo>
                  <a:lnTo>
                    <a:pt x="1998" y="137"/>
                  </a:lnTo>
                  <a:lnTo>
                    <a:pt x="1998" y="136"/>
                  </a:lnTo>
                  <a:lnTo>
                    <a:pt x="1998" y="135"/>
                  </a:lnTo>
                  <a:lnTo>
                    <a:pt x="1996" y="137"/>
                  </a:lnTo>
                  <a:lnTo>
                    <a:pt x="1995" y="140"/>
                  </a:lnTo>
                  <a:lnTo>
                    <a:pt x="1995" y="142"/>
                  </a:lnTo>
                  <a:lnTo>
                    <a:pt x="1994" y="144"/>
                  </a:lnTo>
                  <a:lnTo>
                    <a:pt x="1993" y="145"/>
                  </a:lnTo>
                  <a:lnTo>
                    <a:pt x="1992" y="145"/>
                  </a:lnTo>
                  <a:lnTo>
                    <a:pt x="1992" y="145"/>
                  </a:lnTo>
                  <a:lnTo>
                    <a:pt x="1991" y="148"/>
                  </a:lnTo>
                  <a:lnTo>
                    <a:pt x="1990" y="148"/>
                  </a:lnTo>
                  <a:lnTo>
                    <a:pt x="1989" y="142"/>
                  </a:lnTo>
                  <a:lnTo>
                    <a:pt x="1988" y="141"/>
                  </a:lnTo>
                  <a:lnTo>
                    <a:pt x="1982" y="144"/>
                  </a:lnTo>
                  <a:lnTo>
                    <a:pt x="1982" y="142"/>
                  </a:lnTo>
                  <a:lnTo>
                    <a:pt x="1984" y="140"/>
                  </a:lnTo>
                  <a:lnTo>
                    <a:pt x="1984" y="139"/>
                  </a:lnTo>
                  <a:lnTo>
                    <a:pt x="1981" y="141"/>
                  </a:lnTo>
                  <a:lnTo>
                    <a:pt x="1979" y="142"/>
                  </a:lnTo>
                  <a:lnTo>
                    <a:pt x="1979" y="141"/>
                  </a:lnTo>
                  <a:lnTo>
                    <a:pt x="1980" y="140"/>
                  </a:lnTo>
                  <a:lnTo>
                    <a:pt x="1982" y="138"/>
                  </a:lnTo>
                  <a:lnTo>
                    <a:pt x="1983" y="136"/>
                  </a:lnTo>
                  <a:lnTo>
                    <a:pt x="1984" y="135"/>
                  </a:lnTo>
                  <a:lnTo>
                    <a:pt x="1988" y="137"/>
                  </a:lnTo>
                  <a:lnTo>
                    <a:pt x="1990" y="135"/>
                  </a:lnTo>
                  <a:lnTo>
                    <a:pt x="1988" y="133"/>
                  </a:lnTo>
                  <a:lnTo>
                    <a:pt x="1988" y="132"/>
                  </a:lnTo>
                  <a:lnTo>
                    <a:pt x="1989" y="131"/>
                  </a:lnTo>
                  <a:lnTo>
                    <a:pt x="1988" y="127"/>
                  </a:lnTo>
                  <a:lnTo>
                    <a:pt x="1987" y="124"/>
                  </a:lnTo>
                  <a:lnTo>
                    <a:pt x="1985" y="123"/>
                  </a:lnTo>
                  <a:lnTo>
                    <a:pt x="1983" y="122"/>
                  </a:lnTo>
                  <a:lnTo>
                    <a:pt x="1984" y="118"/>
                  </a:lnTo>
                  <a:lnTo>
                    <a:pt x="1982" y="115"/>
                  </a:lnTo>
                  <a:lnTo>
                    <a:pt x="1979" y="114"/>
                  </a:lnTo>
                  <a:lnTo>
                    <a:pt x="1978" y="114"/>
                  </a:lnTo>
                  <a:lnTo>
                    <a:pt x="1977" y="116"/>
                  </a:lnTo>
                  <a:lnTo>
                    <a:pt x="1974" y="122"/>
                  </a:lnTo>
                  <a:lnTo>
                    <a:pt x="1973" y="124"/>
                  </a:lnTo>
                  <a:lnTo>
                    <a:pt x="1972" y="118"/>
                  </a:lnTo>
                  <a:lnTo>
                    <a:pt x="1971" y="118"/>
                  </a:lnTo>
                  <a:lnTo>
                    <a:pt x="1969" y="119"/>
                  </a:lnTo>
                  <a:lnTo>
                    <a:pt x="1967" y="122"/>
                  </a:lnTo>
                  <a:lnTo>
                    <a:pt x="1969" y="125"/>
                  </a:lnTo>
                  <a:lnTo>
                    <a:pt x="1977" y="131"/>
                  </a:lnTo>
                  <a:lnTo>
                    <a:pt x="1967" y="133"/>
                  </a:lnTo>
                  <a:lnTo>
                    <a:pt x="1963" y="136"/>
                  </a:lnTo>
                  <a:lnTo>
                    <a:pt x="1963" y="142"/>
                  </a:lnTo>
                  <a:lnTo>
                    <a:pt x="1961" y="143"/>
                  </a:lnTo>
                  <a:lnTo>
                    <a:pt x="1959" y="144"/>
                  </a:lnTo>
                  <a:lnTo>
                    <a:pt x="1957" y="144"/>
                  </a:lnTo>
                  <a:lnTo>
                    <a:pt x="1955" y="144"/>
                  </a:lnTo>
                  <a:lnTo>
                    <a:pt x="1955" y="142"/>
                  </a:lnTo>
                  <a:lnTo>
                    <a:pt x="1958" y="139"/>
                  </a:lnTo>
                  <a:lnTo>
                    <a:pt x="1962" y="128"/>
                  </a:lnTo>
                  <a:lnTo>
                    <a:pt x="1965" y="126"/>
                  </a:lnTo>
                  <a:lnTo>
                    <a:pt x="1965" y="124"/>
                  </a:lnTo>
                  <a:lnTo>
                    <a:pt x="1964" y="122"/>
                  </a:lnTo>
                  <a:lnTo>
                    <a:pt x="1965" y="120"/>
                  </a:lnTo>
                  <a:lnTo>
                    <a:pt x="1967" y="115"/>
                  </a:lnTo>
                  <a:lnTo>
                    <a:pt x="1966" y="113"/>
                  </a:lnTo>
                  <a:lnTo>
                    <a:pt x="1965" y="115"/>
                  </a:lnTo>
                  <a:lnTo>
                    <a:pt x="1964" y="116"/>
                  </a:lnTo>
                  <a:lnTo>
                    <a:pt x="1962" y="117"/>
                  </a:lnTo>
                  <a:lnTo>
                    <a:pt x="1961" y="117"/>
                  </a:lnTo>
                  <a:lnTo>
                    <a:pt x="1964" y="107"/>
                  </a:lnTo>
                  <a:lnTo>
                    <a:pt x="1963" y="106"/>
                  </a:lnTo>
                  <a:lnTo>
                    <a:pt x="1962" y="106"/>
                  </a:lnTo>
                  <a:lnTo>
                    <a:pt x="1961" y="105"/>
                  </a:lnTo>
                  <a:lnTo>
                    <a:pt x="1961" y="104"/>
                  </a:lnTo>
                  <a:lnTo>
                    <a:pt x="1962" y="104"/>
                  </a:lnTo>
                  <a:lnTo>
                    <a:pt x="1963" y="104"/>
                  </a:lnTo>
                  <a:lnTo>
                    <a:pt x="1964" y="102"/>
                  </a:lnTo>
                  <a:lnTo>
                    <a:pt x="1961" y="102"/>
                  </a:lnTo>
                  <a:lnTo>
                    <a:pt x="1963" y="98"/>
                  </a:lnTo>
                  <a:lnTo>
                    <a:pt x="1965" y="95"/>
                  </a:lnTo>
                  <a:lnTo>
                    <a:pt x="1966" y="92"/>
                  </a:lnTo>
                  <a:lnTo>
                    <a:pt x="1965" y="84"/>
                  </a:lnTo>
                  <a:lnTo>
                    <a:pt x="1966" y="84"/>
                  </a:lnTo>
                  <a:lnTo>
                    <a:pt x="1967" y="83"/>
                  </a:lnTo>
                  <a:lnTo>
                    <a:pt x="1968" y="81"/>
                  </a:lnTo>
                  <a:lnTo>
                    <a:pt x="1967" y="78"/>
                  </a:lnTo>
                  <a:lnTo>
                    <a:pt x="1968" y="75"/>
                  </a:lnTo>
                  <a:lnTo>
                    <a:pt x="1968" y="73"/>
                  </a:lnTo>
                  <a:lnTo>
                    <a:pt x="1966" y="67"/>
                  </a:lnTo>
                  <a:lnTo>
                    <a:pt x="1963" y="74"/>
                  </a:lnTo>
                  <a:lnTo>
                    <a:pt x="1962" y="77"/>
                  </a:lnTo>
                  <a:lnTo>
                    <a:pt x="1965" y="80"/>
                  </a:lnTo>
                  <a:lnTo>
                    <a:pt x="1964" y="81"/>
                  </a:lnTo>
                  <a:lnTo>
                    <a:pt x="1964" y="82"/>
                  </a:lnTo>
                  <a:lnTo>
                    <a:pt x="1960" y="79"/>
                  </a:lnTo>
                  <a:lnTo>
                    <a:pt x="1956" y="76"/>
                  </a:lnTo>
                  <a:lnTo>
                    <a:pt x="1951" y="76"/>
                  </a:lnTo>
                  <a:lnTo>
                    <a:pt x="1948" y="78"/>
                  </a:lnTo>
                  <a:lnTo>
                    <a:pt x="1948" y="79"/>
                  </a:lnTo>
                  <a:lnTo>
                    <a:pt x="1948" y="80"/>
                  </a:lnTo>
                  <a:lnTo>
                    <a:pt x="1948" y="82"/>
                  </a:lnTo>
                  <a:lnTo>
                    <a:pt x="1946" y="84"/>
                  </a:lnTo>
                  <a:lnTo>
                    <a:pt x="1947" y="85"/>
                  </a:lnTo>
                  <a:lnTo>
                    <a:pt x="1949" y="87"/>
                  </a:lnTo>
                  <a:lnTo>
                    <a:pt x="1944" y="90"/>
                  </a:lnTo>
                  <a:lnTo>
                    <a:pt x="1942" y="91"/>
                  </a:lnTo>
                  <a:lnTo>
                    <a:pt x="1941" y="92"/>
                  </a:lnTo>
                  <a:lnTo>
                    <a:pt x="1939" y="98"/>
                  </a:lnTo>
                  <a:lnTo>
                    <a:pt x="1938" y="100"/>
                  </a:lnTo>
                  <a:lnTo>
                    <a:pt x="1940" y="101"/>
                  </a:lnTo>
                  <a:lnTo>
                    <a:pt x="1942" y="103"/>
                  </a:lnTo>
                  <a:lnTo>
                    <a:pt x="1944" y="105"/>
                  </a:lnTo>
                  <a:lnTo>
                    <a:pt x="1945" y="107"/>
                  </a:lnTo>
                  <a:lnTo>
                    <a:pt x="1949" y="107"/>
                  </a:lnTo>
                  <a:lnTo>
                    <a:pt x="1951" y="107"/>
                  </a:lnTo>
                  <a:lnTo>
                    <a:pt x="1953" y="109"/>
                  </a:lnTo>
                  <a:lnTo>
                    <a:pt x="1948" y="112"/>
                  </a:lnTo>
                  <a:lnTo>
                    <a:pt x="1942" y="110"/>
                  </a:lnTo>
                  <a:lnTo>
                    <a:pt x="1936" y="104"/>
                  </a:lnTo>
                  <a:lnTo>
                    <a:pt x="1935" y="98"/>
                  </a:lnTo>
                  <a:lnTo>
                    <a:pt x="1932" y="94"/>
                  </a:lnTo>
                  <a:lnTo>
                    <a:pt x="1930" y="94"/>
                  </a:lnTo>
                  <a:lnTo>
                    <a:pt x="1929" y="97"/>
                  </a:lnTo>
                  <a:lnTo>
                    <a:pt x="1927" y="100"/>
                  </a:lnTo>
                  <a:lnTo>
                    <a:pt x="1926" y="102"/>
                  </a:lnTo>
                  <a:lnTo>
                    <a:pt x="1927" y="104"/>
                  </a:lnTo>
                  <a:lnTo>
                    <a:pt x="1926" y="107"/>
                  </a:lnTo>
                  <a:lnTo>
                    <a:pt x="1926" y="109"/>
                  </a:lnTo>
                  <a:lnTo>
                    <a:pt x="1925" y="109"/>
                  </a:lnTo>
                  <a:lnTo>
                    <a:pt x="1921" y="109"/>
                  </a:lnTo>
                  <a:lnTo>
                    <a:pt x="1920" y="110"/>
                  </a:lnTo>
                  <a:lnTo>
                    <a:pt x="1918" y="114"/>
                  </a:lnTo>
                  <a:lnTo>
                    <a:pt x="1917" y="118"/>
                  </a:lnTo>
                  <a:lnTo>
                    <a:pt x="1918" y="120"/>
                  </a:lnTo>
                  <a:lnTo>
                    <a:pt x="1923" y="120"/>
                  </a:lnTo>
                  <a:lnTo>
                    <a:pt x="1925" y="119"/>
                  </a:lnTo>
                  <a:lnTo>
                    <a:pt x="1927" y="115"/>
                  </a:lnTo>
                  <a:lnTo>
                    <a:pt x="1930" y="118"/>
                  </a:lnTo>
                  <a:lnTo>
                    <a:pt x="1932" y="118"/>
                  </a:lnTo>
                  <a:lnTo>
                    <a:pt x="1935" y="118"/>
                  </a:lnTo>
                  <a:lnTo>
                    <a:pt x="1938" y="117"/>
                  </a:lnTo>
                  <a:lnTo>
                    <a:pt x="1936" y="120"/>
                  </a:lnTo>
                  <a:lnTo>
                    <a:pt x="1935" y="123"/>
                  </a:lnTo>
                  <a:lnTo>
                    <a:pt x="1935" y="125"/>
                  </a:lnTo>
                  <a:lnTo>
                    <a:pt x="1938" y="126"/>
                  </a:lnTo>
                  <a:lnTo>
                    <a:pt x="1939" y="125"/>
                  </a:lnTo>
                  <a:lnTo>
                    <a:pt x="1941" y="121"/>
                  </a:lnTo>
                  <a:lnTo>
                    <a:pt x="1943" y="115"/>
                  </a:lnTo>
                  <a:lnTo>
                    <a:pt x="1944" y="125"/>
                  </a:lnTo>
                  <a:lnTo>
                    <a:pt x="1945" y="131"/>
                  </a:lnTo>
                  <a:lnTo>
                    <a:pt x="1944" y="135"/>
                  </a:lnTo>
                  <a:lnTo>
                    <a:pt x="1946" y="137"/>
                  </a:lnTo>
                  <a:lnTo>
                    <a:pt x="1948" y="138"/>
                  </a:lnTo>
                  <a:lnTo>
                    <a:pt x="1953" y="137"/>
                  </a:lnTo>
                  <a:lnTo>
                    <a:pt x="1953" y="139"/>
                  </a:lnTo>
                  <a:lnTo>
                    <a:pt x="1951" y="142"/>
                  </a:lnTo>
                  <a:lnTo>
                    <a:pt x="1951" y="145"/>
                  </a:lnTo>
                  <a:lnTo>
                    <a:pt x="1951" y="148"/>
                  </a:lnTo>
                  <a:lnTo>
                    <a:pt x="1953" y="151"/>
                  </a:lnTo>
                  <a:lnTo>
                    <a:pt x="1955" y="151"/>
                  </a:lnTo>
                  <a:lnTo>
                    <a:pt x="1956" y="150"/>
                  </a:lnTo>
                  <a:lnTo>
                    <a:pt x="1959" y="146"/>
                  </a:lnTo>
                  <a:lnTo>
                    <a:pt x="1960" y="153"/>
                  </a:lnTo>
                  <a:lnTo>
                    <a:pt x="1964" y="155"/>
                  </a:lnTo>
                  <a:lnTo>
                    <a:pt x="1969" y="157"/>
                  </a:lnTo>
                  <a:lnTo>
                    <a:pt x="1973" y="159"/>
                  </a:lnTo>
                  <a:lnTo>
                    <a:pt x="1965" y="159"/>
                  </a:lnTo>
                  <a:lnTo>
                    <a:pt x="1962" y="160"/>
                  </a:lnTo>
                  <a:lnTo>
                    <a:pt x="1964" y="164"/>
                  </a:lnTo>
                  <a:lnTo>
                    <a:pt x="1962" y="163"/>
                  </a:lnTo>
                  <a:lnTo>
                    <a:pt x="1960" y="163"/>
                  </a:lnTo>
                  <a:lnTo>
                    <a:pt x="1959" y="162"/>
                  </a:lnTo>
                  <a:lnTo>
                    <a:pt x="1956" y="170"/>
                  </a:lnTo>
                  <a:lnTo>
                    <a:pt x="1961" y="175"/>
                  </a:lnTo>
                  <a:lnTo>
                    <a:pt x="1959" y="177"/>
                  </a:lnTo>
                  <a:lnTo>
                    <a:pt x="1956" y="181"/>
                  </a:lnTo>
                  <a:lnTo>
                    <a:pt x="1954" y="174"/>
                  </a:lnTo>
                  <a:lnTo>
                    <a:pt x="1951" y="170"/>
                  </a:lnTo>
                  <a:lnTo>
                    <a:pt x="1947" y="168"/>
                  </a:lnTo>
                  <a:lnTo>
                    <a:pt x="1943" y="170"/>
                  </a:lnTo>
                  <a:lnTo>
                    <a:pt x="1944" y="173"/>
                  </a:lnTo>
                  <a:lnTo>
                    <a:pt x="1944" y="175"/>
                  </a:lnTo>
                  <a:lnTo>
                    <a:pt x="1941" y="175"/>
                  </a:lnTo>
                  <a:lnTo>
                    <a:pt x="1941" y="176"/>
                  </a:lnTo>
                  <a:lnTo>
                    <a:pt x="1942" y="180"/>
                  </a:lnTo>
                  <a:lnTo>
                    <a:pt x="1943" y="181"/>
                  </a:lnTo>
                  <a:lnTo>
                    <a:pt x="1943" y="182"/>
                  </a:lnTo>
                  <a:lnTo>
                    <a:pt x="1941" y="183"/>
                  </a:lnTo>
                  <a:lnTo>
                    <a:pt x="1940" y="184"/>
                  </a:lnTo>
                  <a:lnTo>
                    <a:pt x="1940" y="174"/>
                  </a:lnTo>
                  <a:lnTo>
                    <a:pt x="1938" y="172"/>
                  </a:lnTo>
                  <a:lnTo>
                    <a:pt x="1930" y="172"/>
                  </a:lnTo>
                  <a:lnTo>
                    <a:pt x="1930" y="175"/>
                  </a:lnTo>
                  <a:lnTo>
                    <a:pt x="1931" y="175"/>
                  </a:lnTo>
                  <a:lnTo>
                    <a:pt x="1931" y="177"/>
                  </a:lnTo>
                  <a:lnTo>
                    <a:pt x="1926" y="175"/>
                  </a:lnTo>
                  <a:lnTo>
                    <a:pt x="1927" y="179"/>
                  </a:lnTo>
                  <a:lnTo>
                    <a:pt x="1924" y="179"/>
                  </a:lnTo>
                  <a:lnTo>
                    <a:pt x="1922" y="177"/>
                  </a:lnTo>
                  <a:lnTo>
                    <a:pt x="1920" y="175"/>
                  </a:lnTo>
                  <a:lnTo>
                    <a:pt x="1918" y="172"/>
                  </a:lnTo>
                  <a:lnTo>
                    <a:pt x="1915" y="172"/>
                  </a:lnTo>
                  <a:lnTo>
                    <a:pt x="1913" y="173"/>
                  </a:lnTo>
                  <a:lnTo>
                    <a:pt x="1910" y="175"/>
                  </a:lnTo>
                  <a:lnTo>
                    <a:pt x="1907" y="177"/>
                  </a:lnTo>
                  <a:lnTo>
                    <a:pt x="1905" y="180"/>
                  </a:lnTo>
                  <a:lnTo>
                    <a:pt x="1904" y="182"/>
                  </a:lnTo>
                  <a:lnTo>
                    <a:pt x="1906" y="188"/>
                  </a:lnTo>
                  <a:lnTo>
                    <a:pt x="1908" y="196"/>
                  </a:lnTo>
                  <a:close/>
                  <a:moveTo>
                    <a:pt x="1989" y="110"/>
                  </a:moveTo>
                  <a:lnTo>
                    <a:pt x="1993" y="114"/>
                  </a:lnTo>
                  <a:lnTo>
                    <a:pt x="1998" y="115"/>
                  </a:lnTo>
                  <a:lnTo>
                    <a:pt x="1998" y="113"/>
                  </a:lnTo>
                  <a:lnTo>
                    <a:pt x="1997" y="111"/>
                  </a:lnTo>
                  <a:lnTo>
                    <a:pt x="1997" y="109"/>
                  </a:lnTo>
                  <a:lnTo>
                    <a:pt x="1998" y="108"/>
                  </a:lnTo>
                  <a:lnTo>
                    <a:pt x="1998" y="108"/>
                  </a:lnTo>
                  <a:lnTo>
                    <a:pt x="1999" y="110"/>
                  </a:lnTo>
                  <a:lnTo>
                    <a:pt x="2001" y="111"/>
                  </a:lnTo>
                  <a:lnTo>
                    <a:pt x="2005" y="111"/>
                  </a:lnTo>
                  <a:lnTo>
                    <a:pt x="2009" y="113"/>
                  </a:lnTo>
                  <a:lnTo>
                    <a:pt x="2010" y="112"/>
                  </a:lnTo>
                  <a:lnTo>
                    <a:pt x="2011" y="108"/>
                  </a:lnTo>
                  <a:lnTo>
                    <a:pt x="2010" y="104"/>
                  </a:lnTo>
                  <a:lnTo>
                    <a:pt x="2010" y="101"/>
                  </a:lnTo>
                  <a:lnTo>
                    <a:pt x="2007" y="96"/>
                  </a:lnTo>
                  <a:lnTo>
                    <a:pt x="2010" y="95"/>
                  </a:lnTo>
                  <a:lnTo>
                    <a:pt x="2012" y="92"/>
                  </a:lnTo>
                  <a:lnTo>
                    <a:pt x="2012" y="88"/>
                  </a:lnTo>
                  <a:lnTo>
                    <a:pt x="2009" y="84"/>
                  </a:lnTo>
                  <a:lnTo>
                    <a:pt x="2010" y="84"/>
                  </a:lnTo>
                  <a:lnTo>
                    <a:pt x="2010" y="84"/>
                  </a:lnTo>
                  <a:lnTo>
                    <a:pt x="2011" y="82"/>
                  </a:lnTo>
                  <a:lnTo>
                    <a:pt x="2008" y="82"/>
                  </a:lnTo>
                  <a:lnTo>
                    <a:pt x="2006" y="81"/>
                  </a:lnTo>
                  <a:lnTo>
                    <a:pt x="2004" y="79"/>
                  </a:lnTo>
                  <a:lnTo>
                    <a:pt x="2003" y="75"/>
                  </a:lnTo>
                  <a:lnTo>
                    <a:pt x="2005" y="77"/>
                  </a:lnTo>
                  <a:lnTo>
                    <a:pt x="2008" y="78"/>
                  </a:lnTo>
                  <a:lnTo>
                    <a:pt x="2010" y="77"/>
                  </a:lnTo>
                  <a:lnTo>
                    <a:pt x="2012" y="75"/>
                  </a:lnTo>
                  <a:lnTo>
                    <a:pt x="2008" y="67"/>
                  </a:lnTo>
                  <a:lnTo>
                    <a:pt x="2006" y="63"/>
                  </a:lnTo>
                  <a:lnTo>
                    <a:pt x="2004" y="60"/>
                  </a:lnTo>
                  <a:lnTo>
                    <a:pt x="2007" y="60"/>
                  </a:lnTo>
                  <a:lnTo>
                    <a:pt x="2010" y="63"/>
                  </a:lnTo>
                  <a:lnTo>
                    <a:pt x="2015" y="69"/>
                  </a:lnTo>
                  <a:lnTo>
                    <a:pt x="2016" y="66"/>
                  </a:lnTo>
                  <a:lnTo>
                    <a:pt x="2017" y="62"/>
                  </a:lnTo>
                  <a:lnTo>
                    <a:pt x="2014" y="56"/>
                  </a:lnTo>
                  <a:lnTo>
                    <a:pt x="2014" y="53"/>
                  </a:lnTo>
                  <a:lnTo>
                    <a:pt x="2016" y="49"/>
                  </a:lnTo>
                  <a:lnTo>
                    <a:pt x="2015" y="48"/>
                  </a:lnTo>
                  <a:lnTo>
                    <a:pt x="2015" y="47"/>
                  </a:lnTo>
                  <a:lnTo>
                    <a:pt x="2014" y="47"/>
                  </a:lnTo>
                  <a:lnTo>
                    <a:pt x="2014" y="45"/>
                  </a:lnTo>
                  <a:lnTo>
                    <a:pt x="2015" y="44"/>
                  </a:lnTo>
                  <a:lnTo>
                    <a:pt x="2015" y="42"/>
                  </a:lnTo>
                  <a:lnTo>
                    <a:pt x="2015" y="38"/>
                  </a:lnTo>
                  <a:lnTo>
                    <a:pt x="2008" y="37"/>
                  </a:lnTo>
                  <a:lnTo>
                    <a:pt x="2005" y="39"/>
                  </a:lnTo>
                  <a:lnTo>
                    <a:pt x="2003" y="42"/>
                  </a:lnTo>
                  <a:lnTo>
                    <a:pt x="2001" y="37"/>
                  </a:lnTo>
                  <a:lnTo>
                    <a:pt x="1999" y="37"/>
                  </a:lnTo>
                  <a:lnTo>
                    <a:pt x="1998" y="40"/>
                  </a:lnTo>
                  <a:lnTo>
                    <a:pt x="1996" y="43"/>
                  </a:lnTo>
                  <a:lnTo>
                    <a:pt x="1995" y="46"/>
                  </a:lnTo>
                  <a:lnTo>
                    <a:pt x="1995" y="49"/>
                  </a:lnTo>
                  <a:lnTo>
                    <a:pt x="1995" y="52"/>
                  </a:lnTo>
                  <a:lnTo>
                    <a:pt x="1996" y="53"/>
                  </a:lnTo>
                  <a:lnTo>
                    <a:pt x="1996" y="54"/>
                  </a:lnTo>
                  <a:lnTo>
                    <a:pt x="1995" y="59"/>
                  </a:lnTo>
                  <a:lnTo>
                    <a:pt x="1994" y="61"/>
                  </a:lnTo>
                  <a:lnTo>
                    <a:pt x="1995" y="65"/>
                  </a:lnTo>
                  <a:lnTo>
                    <a:pt x="1997" y="74"/>
                  </a:lnTo>
                  <a:lnTo>
                    <a:pt x="1998" y="75"/>
                  </a:lnTo>
                  <a:lnTo>
                    <a:pt x="1996" y="76"/>
                  </a:lnTo>
                  <a:lnTo>
                    <a:pt x="1993" y="74"/>
                  </a:lnTo>
                  <a:lnTo>
                    <a:pt x="1992" y="70"/>
                  </a:lnTo>
                  <a:lnTo>
                    <a:pt x="1992" y="67"/>
                  </a:lnTo>
                  <a:lnTo>
                    <a:pt x="1992" y="65"/>
                  </a:lnTo>
                  <a:lnTo>
                    <a:pt x="1987" y="66"/>
                  </a:lnTo>
                  <a:lnTo>
                    <a:pt x="1985" y="73"/>
                  </a:lnTo>
                  <a:lnTo>
                    <a:pt x="1987" y="103"/>
                  </a:lnTo>
                  <a:lnTo>
                    <a:pt x="1989" y="110"/>
                  </a:lnTo>
                  <a:close/>
                  <a:moveTo>
                    <a:pt x="2019" y="51"/>
                  </a:moveTo>
                  <a:lnTo>
                    <a:pt x="2022" y="53"/>
                  </a:lnTo>
                  <a:lnTo>
                    <a:pt x="2024" y="54"/>
                  </a:lnTo>
                  <a:lnTo>
                    <a:pt x="2029" y="53"/>
                  </a:lnTo>
                  <a:lnTo>
                    <a:pt x="2031" y="53"/>
                  </a:lnTo>
                  <a:lnTo>
                    <a:pt x="2034" y="53"/>
                  </a:lnTo>
                  <a:lnTo>
                    <a:pt x="2036" y="54"/>
                  </a:lnTo>
                  <a:lnTo>
                    <a:pt x="2037" y="55"/>
                  </a:lnTo>
                  <a:lnTo>
                    <a:pt x="2038" y="56"/>
                  </a:lnTo>
                  <a:lnTo>
                    <a:pt x="2040" y="56"/>
                  </a:lnTo>
                  <a:lnTo>
                    <a:pt x="2042" y="53"/>
                  </a:lnTo>
                  <a:lnTo>
                    <a:pt x="2041" y="50"/>
                  </a:lnTo>
                  <a:lnTo>
                    <a:pt x="2039" y="46"/>
                  </a:lnTo>
                  <a:lnTo>
                    <a:pt x="2038" y="42"/>
                  </a:lnTo>
                  <a:lnTo>
                    <a:pt x="2039" y="40"/>
                  </a:lnTo>
                  <a:lnTo>
                    <a:pt x="2045" y="34"/>
                  </a:lnTo>
                  <a:lnTo>
                    <a:pt x="2045" y="31"/>
                  </a:lnTo>
                  <a:lnTo>
                    <a:pt x="2044" y="30"/>
                  </a:lnTo>
                  <a:lnTo>
                    <a:pt x="2043" y="30"/>
                  </a:lnTo>
                  <a:lnTo>
                    <a:pt x="2042" y="29"/>
                  </a:lnTo>
                  <a:lnTo>
                    <a:pt x="2045" y="29"/>
                  </a:lnTo>
                  <a:lnTo>
                    <a:pt x="2045" y="26"/>
                  </a:lnTo>
                  <a:lnTo>
                    <a:pt x="2044" y="23"/>
                  </a:lnTo>
                  <a:lnTo>
                    <a:pt x="2046" y="21"/>
                  </a:lnTo>
                  <a:lnTo>
                    <a:pt x="2050" y="18"/>
                  </a:lnTo>
                  <a:lnTo>
                    <a:pt x="2052" y="16"/>
                  </a:lnTo>
                  <a:lnTo>
                    <a:pt x="2051" y="16"/>
                  </a:lnTo>
                  <a:lnTo>
                    <a:pt x="2047" y="13"/>
                  </a:lnTo>
                  <a:lnTo>
                    <a:pt x="2051" y="11"/>
                  </a:lnTo>
                  <a:lnTo>
                    <a:pt x="2052" y="11"/>
                  </a:lnTo>
                  <a:lnTo>
                    <a:pt x="2052" y="7"/>
                  </a:lnTo>
                  <a:lnTo>
                    <a:pt x="2050" y="5"/>
                  </a:lnTo>
                  <a:lnTo>
                    <a:pt x="2048" y="3"/>
                  </a:lnTo>
                  <a:lnTo>
                    <a:pt x="2047" y="2"/>
                  </a:lnTo>
                  <a:lnTo>
                    <a:pt x="2044" y="2"/>
                  </a:lnTo>
                  <a:lnTo>
                    <a:pt x="2043" y="2"/>
                  </a:lnTo>
                  <a:lnTo>
                    <a:pt x="2042" y="0"/>
                  </a:lnTo>
                  <a:lnTo>
                    <a:pt x="2041" y="3"/>
                  </a:lnTo>
                  <a:lnTo>
                    <a:pt x="2037" y="15"/>
                  </a:lnTo>
                  <a:lnTo>
                    <a:pt x="2036" y="16"/>
                  </a:lnTo>
                  <a:lnTo>
                    <a:pt x="2034" y="18"/>
                  </a:lnTo>
                  <a:lnTo>
                    <a:pt x="2032" y="19"/>
                  </a:lnTo>
                  <a:lnTo>
                    <a:pt x="2031" y="18"/>
                  </a:lnTo>
                  <a:lnTo>
                    <a:pt x="2033" y="16"/>
                  </a:lnTo>
                  <a:lnTo>
                    <a:pt x="2035" y="14"/>
                  </a:lnTo>
                  <a:lnTo>
                    <a:pt x="2036" y="11"/>
                  </a:lnTo>
                  <a:lnTo>
                    <a:pt x="2037" y="8"/>
                  </a:lnTo>
                  <a:lnTo>
                    <a:pt x="2036" y="3"/>
                  </a:lnTo>
                  <a:lnTo>
                    <a:pt x="2035" y="1"/>
                  </a:lnTo>
                  <a:lnTo>
                    <a:pt x="2033" y="1"/>
                  </a:lnTo>
                  <a:lnTo>
                    <a:pt x="2031" y="4"/>
                  </a:lnTo>
                  <a:lnTo>
                    <a:pt x="2031" y="7"/>
                  </a:lnTo>
                  <a:lnTo>
                    <a:pt x="2029" y="11"/>
                  </a:lnTo>
                  <a:lnTo>
                    <a:pt x="2026" y="14"/>
                  </a:lnTo>
                  <a:lnTo>
                    <a:pt x="2024" y="16"/>
                  </a:lnTo>
                  <a:lnTo>
                    <a:pt x="2024" y="18"/>
                  </a:lnTo>
                  <a:lnTo>
                    <a:pt x="2026" y="21"/>
                  </a:lnTo>
                  <a:lnTo>
                    <a:pt x="2026" y="26"/>
                  </a:lnTo>
                  <a:lnTo>
                    <a:pt x="2024" y="30"/>
                  </a:lnTo>
                  <a:lnTo>
                    <a:pt x="2022" y="31"/>
                  </a:lnTo>
                  <a:lnTo>
                    <a:pt x="2023" y="35"/>
                  </a:lnTo>
                  <a:lnTo>
                    <a:pt x="2023" y="40"/>
                  </a:lnTo>
                  <a:lnTo>
                    <a:pt x="2022" y="42"/>
                  </a:lnTo>
                  <a:lnTo>
                    <a:pt x="2019" y="40"/>
                  </a:lnTo>
                  <a:lnTo>
                    <a:pt x="2020" y="42"/>
                  </a:lnTo>
                  <a:lnTo>
                    <a:pt x="2020" y="45"/>
                  </a:lnTo>
                  <a:lnTo>
                    <a:pt x="2020" y="48"/>
                  </a:lnTo>
                  <a:lnTo>
                    <a:pt x="2019" y="51"/>
                  </a:lnTo>
                  <a:close/>
                  <a:moveTo>
                    <a:pt x="1798" y="3187"/>
                  </a:moveTo>
                  <a:lnTo>
                    <a:pt x="1797" y="3188"/>
                  </a:lnTo>
                  <a:lnTo>
                    <a:pt x="1797" y="3188"/>
                  </a:lnTo>
                  <a:lnTo>
                    <a:pt x="1796" y="3189"/>
                  </a:lnTo>
                  <a:lnTo>
                    <a:pt x="1796" y="3190"/>
                  </a:lnTo>
                  <a:lnTo>
                    <a:pt x="1796" y="3191"/>
                  </a:lnTo>
                  <a:lnTo>
                    <a:pt x="1796" y="3193"/>
                  </a:lnTo>
                  <a:lnTo>
                    <a:pt x="1796" y="3194"/>
                  </a:lnTo>
                  <a:lnTo>
                    <a:pt x="1795" y="3196"/>
                  </a:lnTo>
                  <a:lnTo>
                    <a:pt x="1796" y="3196"/>
                  </a:lnTo>
                  <a:lnTo>
                    <a:pt x="1797" y="3194"/>
                  </a:lnTo>
                  <a:lnTo>
                    <a:pt x="1799" y="3192"/>
                  </a:lnTo>
                  <a:lnTo>
                    <a:pt x="1799" y="3189"/>
                  </a:lnTo>
                  <a:lnTo>
                    <a:pt x="1798" y="3187"/>
                  </a:lnTo>
                  <a:close/>
                  <a:moveTo>
                    <a:pt x="1770" y="3172"/>
                  </a:moveTo>
                  <a:lnTo>
                    <a:pt x="1766" y="3174"/>
                  </a:lnTo>
                  <a:lnTo>
                    <a:pt x="1763" y="3176"/>
                  </a:lnTo>
                  <a:lnTo>
                    <a:pt x="1756" y="3183"/>
                  </a:lnTo>
                  <a:lnTo>
                    <a:pt x="1754" y="3183"/>
                  </a:lnTo>
                  <a:lnTo>
                    <a:pt x="1752" y="3183"/>
                  </a:lnTo>
                  <a:lnTo>
                    <a:pt x="1751" y="3184"/>
                  </a:lnTo>
                  <a:lnTo>
                    <a:pt x="1752" y="3188"/>
                  </a:lnTo>
                  <a:lnTo>
                    <a:pt x="1750" y="3188"/>
                  </a:lnTo>
                  <a:lnTo>
                    <a:pt x="1749" y="3189"/>
                  </a:lnTo>
                  <a:lnTo>
                    <a:pt x="1748" y="3190"/>
                  </a:lnTo>
                  <a:lnTo>
                    <a:pt x="1749" y="3191"/>
                  </a:lnTo>
                  <a:lnTo>
                    <a:pt x="1764" y="3191"/>
                  </a:lnTo>
                  <a:lnTo>
                    <a:pt x="1766" y="3191"/>
                  </a:lnTo>
                  <a:lnTo>
                    <a:pt x="1767" y="3192"/>
                  </a:lnTo>
                  <a:lnTo>
                    <a:pt x="1768" y="3192"/>
                  </a:lnTo>
                  <a:lnTo>
                    <a:pt x="1769" y="3191"/>
                  </a:lnTo>
                  <a:lnTo>
                    <a:pt x="1770" y="3190"/>
                  </a:lnTo>
                  <a:lnTo>
                    <a:pt x="1771" y="3189"/>
                  </a:lnTo>
                  <a:lnTo>
                    <a:pt x="1771" y="3188"/>
                  </a:lnTo>
                  <a:lnTo>
                    <a:pt x="1772" y="3184"/>
                  </a:lnTo>
                  <a:lnTo>
                    <a:pt x="1772" y="3179"/>
                  </a:lnTo>
                  <a:lnTo>
                    <a:pt x="1775" y="3175"/>
                  </a:lnTo>
                  <a:lnTo>
                    <a:pt x="1776" y="3173"/>
                  </a:lnTo>
                  <a:lnTo>
                    <a:pt x="1773" y="3170"/>
                  </a:lnTo>
                  <a:lnTo>
                    <a:pt x="1770" y="3172"/>
                  </a:lnTo>
                  <a:close/>
                  <a:moveTo>
                    <a:pt x="1825" y="3123"/>
                  </a:moveTo>
                  <a:lnTo>
                    <a:pt x="1828" y="3120"/>
                  </a:lnTo>
                  <a:lnTo>
                    <a:pt x="1828" y="3118"/>
                  </a:lnTo>
                  <a:lnTo>
                    <a:pt x="1827" y="3118"/>
                  </a:lnTo>
                  <a:lnTo>
                    <a:pt x="1827" y="3118"/>
                  </a:lnTo>
                  <a:lnTo>
                    <a:pt x="1824" y="3120"/>
                  </a:lnTo>
                  <a:lnTo>
                    <a:pt x="1823" y="3120"/>
                  </a:lnTo>
                  <a:lnTo>
                    <a:pt x="1821" y="3121"/>
                  </a:lnTo>
                  <a:lnTo>
                    <a:pt x="1819" y="3124"/>
                  </a:lnTo>
                  <a:lnTo>
                    <a:pt x="1821" y="3125"/>
                  </a:lnTo>
                  <a:lnTo>
                    <a:pt x="1823" y="3124"/>
                  </a:lnTo>
                  <a:lnTo>
                    <a:pt x="1825" y="3123"/>
                  </a:lnTo>
                  <a:close/>
                  <a:moveTo>
                    <a:pt x="1414" y="2002"/>
                  </a:moveTo>
                  <a:lnTo>
                    <a:pt x="1413" y="2002"/>
                  </a:lnTo>
                  <a:lnTo>
                    <a:pt x="1412" y="2003"/>
                  </a:lnTo>
                  <a:lnTo>
                    <a:pt x="1412" y="2005"/>
                  </a:lnTo>
                  <a:lnTo>
                    <a:pt x="1416" y="2006"/>
                  </a:lnTo>
                  <a:lnTo>
                    <a:pt x="1419" y="2004"/>
                  </a:lnTo>
                  <a:lnTo>
                    <a:pt x="1422" y="2001"/>
                  </a:lnTo>
                  <a:lnTo>
                    <a:pt x="1426" y="1999"/>
                  </a:lnTo>
                  <a:lnTo>
                    <a:pt x="1428" y="2000"/>
                  </a:lnTo>
                  <a:lnTo>
                    <a:pt x="1431" y="2004"/>
                  </a:lnTo>
                  <a:lnTo>
                    <a:pt x="1434" y="2005"/>
                  </a:lnTo>
                  <a:lnTo>
                    <a:pt x="1436" y="2004"/>
                  </a:lnTo>
                  <a:lnTo>
                    <a:pt x="1437" y="2003"/>
                  </a:lnTo>
                  <a:lnTo>
                    <a:pt x="1439" y="2003"/>
                  </a:lnTo>
                  <a:lnTo>
                    <a:pt x="1441" y="2007"/>
                  </a:lnTo>
                  <a:lnTo>
                    <a:pt x="1443" y="2000"/>
                  </a:lnTo>
                  <a:lnTo>
                    <a:pt x="1444" y="1998"/>
                  </a:lnTo>
                  <a:lnTo>
                    <a:pt x="1446" y="1997"/>
                  </a:lnTo>
                  <a:lnTo>
                    <a:pt x="1448" y="1996"/>
                  </a:lnTo>
                  <a:lnTo>
                    <a:pt x="1451" y="1995"/>
                  </a:lnTo>
                  <a:lnTo>
                    <a:pt x="1451" y="1993"/>
                  </a:lnTo>
                  <a:lnTo>
                    <a:pt x="1454" y="1990"/>
                  </a:lnTo>
                  <a:lnTo>
                    <a:pt x="1462" y="1984"/>
                  </a:lnTo>
                  <a:lnTo>
                    <a:pt x="1462" y="1981"/>
                  </a:lnTo>
                  <a:lnTo>
                    <a:pt x="1467" y="1976"/>
                  </a:lnTo>
                  <a:lnTo>
                    <a:pt x="1472" y="1974"/>
                  </a:lnTo>
                  <a:lnTo>
                    <a:pt x="1476" y="1970"/>
                  </a:lnTo>
                  <a:lnTo>
                    <a:pt x="1474" y="1962"/>
                  </a:lnTo>
                  <a:lnTo>
                    <a:pt x="1479" y="1960"/>
                  </a:lnTo>
                  <a:lnTo>
                    <a:pt x="1480" y="1959"/>
                  </a:lnTo>
                  <a:lnTo>
                    <a:pt x="1481" y="1957"/>
                  </a:lnTo>
                  <a:lnTo>
                    <a:pt x="1481" y="1954"/>
                  </a:lnTo>
                  <a:lnTo>
                    <a:pt x="1482" y="1952"/>
                  </a:lnTo>
                  <a:lnTo>
                    <a:pt x="1484" y="1951"/>
                  </a:lnTo>
                  <a:lnTo>
                    <a:pt x="1486" y="1947"/>
                  </a:lnTo>
                  <a:lnTo>
                    <a:pt x="1487" y="1946"/>
                  </a:lnTo>
                  <a:lnTo>
                    <a:pt x="1488" y="1945"/>
                  </a:lnTo>
                  <a:lnTo>
                    <a:pt x="1488" y="1942"/>
                  </a:lnTo>
                  <a:lnTo>
                    <a:pt x="1487" y="1940"/>
                  </a:lnTo>
                  <a:lnTo>
                    <a:pt x="1486" y="1938"/>
                  </a:lnTo>
                  <a:lnTo>
                    <a:pt x="1485" y="1937"/>
                  </a:lnTo>
                  <a:lnTo>
                    <a:pt x="1482" y="1937"/>
                  </a:lnTo>
                  <a:lnTo>
                    <a:pt x="1481" y="1936"/>
                  </a:lnTo>
                  <a:lnTo>
                    <a:pt x="1480" y="1934"/>
                  </a:lnTo>
                  <a:lnTo>
                    <a:pt x="1479" y="1930"/>
                  </a:lnTo>
                  <a:lnTo>
                    <a:pt x="1478" y="1928"/>
                  </a:lnTo>
                  <a:lnTo>
                    <a:pt x="1478" y="1924"/>
                  </a:lnTo>
                  <a:lnTo>
                    <a:pt x="1481" y="1914"/>
                  </a:lnTo>
                  <a:lnTo>
                    <a:pt x="1482" y="1910"/>
                  </a:lnTo>
                  <a:lnTo>
                    <a:pt x="1479" y="1909"/>
                  </a:lnTo>
                  <a:lnTo>
                    <a:pt x="1476" y="1910"/>
                  </a:lnTo>
                  <a:lnTo>
                    <a:pt x="1474" y="1911"/>
                  </a:lnTo>
                  <a:lnTo>
                    <a:pt x="1468" y="1913"/>
                  </a:lnTo>
                  <a:lnTo>
                    <a:pt x="1459" y="1918"/>
                  </a:lnTo>
                  <a:lnTo>
                    <a:pt x="1453" y="1923"/>
                  </a:lnTo>
                  <a:lnTo>
                    <a:pt x="1450" y="1931"/>
                  </a:lnTo>
                  <a:lnTo>
                    <a:pt x="1443" y="1947"/>
                  </a:lnTo>
                  <a:lnTo>
                    <a:pt x="1441" y="1951"/>
                  </a:lnTo>
                  <a:lnTo>
                    <a:pt x="1436" y="1955"/>
                  </a:lnTo>
                  <a:lnTo>
                    <a:pt x="1432" y="1959"/>
                  </a:lnTo>
                  <a:lnTo>
                    <a:pt x="1428" y="1962"/>
                  </a:lnTo>
                  <a:lnTo>
                    <a:pt x="1425" y="1963"/>
                  </a:lnTo>
                  <a:lnTo>
                    <a:pt x="1425" y="1964"/>
                  </a:lnTo>
                  <a:lnTo>
                    <a:pt x="1425" y="1966"/>
                  </a:lnTo>
                  <a:lnTo>
                    <a:pt x="1424" y="1968"/>
                  </a:lnTo>
                  <a:lnTo>
                    <a:pt x="1423" y="1972"/>
                  </a:lnTo>
                  <a:lnTo>
                    <a:pt x="1422" y="1976"/>
                  </a:lnTo>
                  <a:lnTo>
                    <a:pt x="1422" y="1984"/>
                  </a:lnTo>
                  <a:lnTo>
                    <a:pt x="1421" y="1989"/>
                  </a:lnTo>
                  <a:lnTo>
                    <a:pt x="1415" y="1996"/>
                  </a:lnTo>
                  <a:lnTo>
                    <a:pt x="1416" y="2001"/>
                  </a:lnTo>
                  <a:lnTo>
                    <a:pt x="1414" y="2002"/>
                  </a:lnTo>
                  <a:lnTo>
                    <a:pt x="1414" y="2002"/>
                  </a:lnTo>
                  <a:close/>
                  <a:moveTo>
                    <a:pt x="1852" y="3242"/>
                  </a:moveTo>
                  <a:lnTo>
                    <a:pt x="1852" y="3241"/>
                  </a:lnTo>
                  <a:lnTo>
                    <a:pt x="1852" y="3239"/>
                  </a:lnTo>
                  <a:lnTo>
                    <a:pt x="1844" y="3235"/>
                  </a:lnTo>
                  <a:lnTo>
                    <a:pt x="1842" y="3232"/>
                  </a:lnTo>
                  <a:lnTo>
                    <a:pt x="1840" y="3233"/>
                  </a:lnTo>
                  <a:lnTo>
                    <a:pt x="1839" y="3233"/>
                  </a:lnTo>
                  <a:lnTo>
                    <a:pt x="1838" y="3234"/>
                  </a:lnTo>
                  <a:lnTo>
                    <a:pt x="1836" y="3233"/>
                  </a:lnTo>
                  <a:lnTo>
                    <a:pt x="1832" y="3232"/>
                  </a:lnTo>
                  <a:lnTo>
                    <a:pt x="1831" y="3231"/>
                  </a:lnTo>
                  <a:lnTo>
                    <a:pt x="1829" y="3232"/>
                  </a:lnTo>
                  <a:lnTo>
                    <a:pt x="1828" y="3233"/>
                  </a:lnTo>
                  <a:lnTo>
                    <a:pt x="1826" y="3234"/>
                  </a:lnTo>
                  <a:lnTo>
                    <a:pt x="1824" y="3234"/>
                  </a:lnTo>
                  <a:lnTo>
                    <a:pt x="1821" y="3232"/>
                  </a:lnTo>
                  <a:lnTo>
                    <a:pt x="1819" y="3232"/>
                  </a:lnTo>
                  <a:lnTo>
                    <a:pt x="1817" y="3232"/>
                  </a:lnTo>
                  <a:lnTo>
                    <a:pt x="1817" y="3236"/>
                  </a:lnTo>
                  <a:lnTo>
                    <a:pt x="1818" y="3240"/>
                  </a:lnTo>
                  <a:lnTo>
                    <a:pt x="1819" y="3246"/>
                  </a:lnTo>
                  <a:lnTo>
                    <a:pt x="1818" y="3251"/>
                  </a:lnTo>
                  <a:lnTo>
                    <a:pt x="1820" y="3251"/>
                  </a:lnTo>
                  <a:lnTo>
                    <a:pt x="1823" y="3250"/>
                  </a:lnTo>
                  <a:lnTo>
                    <a:pt x="1823" y="3249"/>
                  </a:lnTo>
                  <a:lnTo>
                    <a:pt x="1825" y="3250"/>
                  </a:lnTo>
                  <a:lnTo>
                    <a:pt x="1827" y="3252"/>
                  </a:lnTo>
                  <a:lnTo>
                    <a:pt x="1828" y="3252"/>
                  </a:lnTo>
                  <a:lnTo>
                    <a:pt x="1830" y="3249"/>
                  </a:lnTo>
                  <a:lnTo>
                    <a:pt x="1831" y="3247"/>
                  </a:lnTo>
                  <a:lnTo>
                    <a:pt x="1832" y="3246"/>
                  </a:lnTo>
                  <a:lnTo>
                    <a:pt x="1833" y="3246"/>
                  </a:lnTo>
                  <a:lnTo>
                    <a:pt x="1835" y="3247"/>
                  </a:lnTo>
                  <a:lnTo>
                    <a:pt x="1836" y="3247"/>
                  </a:lnTo>
                  <a:lnTo>
                    <a:pt x="1840" y="3251"/>
                  </a:lnTo>
                  <a:lnTo>
                    <a:pt x="1842" y="3252"/>
                  </a:lnTo>
                  <a:lnTo>
                    <a:pt x="1847" y="3252"/>
                  </a:lnTo>
                  <a:lnTo>
                    <a:pt x="1849" y="3253"/>
                  </a:lnTo>
                  <a:lnTo>
                    <a:pt x="1850" y="3254"/>
                  </a:lnTo>
                  <a:lnTo>
                    <a:pt x="1851" y="3254"/>
                  </a:lnTo>
                  <a:lnTo>
                    <a:pt x="1852" y="3252"/>
                  </a:lnTo>
                  <a:lnTo>
                    <a:pt x="1852" y="3249"/>
                  </a:lnTo>
                  <a:lnTo>
                    <a:pt x="1852" y="3247"/>
                  </a:lnTo>
                  <a:lnTo>
                    <a:pt x="1852" y="3245"/>
                  </a:lnTo>
                  <a:lnTo>
                    <a:pt x="1854" y="3244"/>
                  </a:lnTo>
                  <a:lnTo>
                    <a:pt x="1853" y="3243"/>
                  </a:lnTo>
                  <a:lnTo>
                    <a:pt x="1852" y="3242"/>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04" name="Freeform 40">
              <a:extLst>
                <a:ext uri="{FF2B5EF4-FFF2-40B4-BE49-F238E27FC236}">
                  <a16:creationId xmlns:a16="http://schemas.microsoft.com/office/drawing/2014/main" id="{43F190C0-00DF-4570-883E-F742DCF56A5B}"/>
                </a:ext>
              </a:extLst>
            </p:cNvPr>
            <p:cNvSpPr>
              <a:spLocks/>
            </p:cNvSpPr>
            <p:nvPr/>
          </p:nvSpPr>
          <p:spPr bwMode="gray">
            <a:xfrm>
              <a:off x="7517961" y="6484083"/>
              <a:ext cx="1870" cy="3740"/>
            </a:xfrm>
            <a:custGeom>
              <a:avLst/>
              <a:gdLst>
                <a:gd name="T0" fmla="*/ 3 w 3"/>
                <a:gd name="T1" fmla="*/ 0 h 6"/>
                <a:gd name="T2" fmla="*/ 0 w 3"/>
                <a:gd name="T3" fmla="*/ 0 h 6"/>
                <a:gd name="T4" fmla="*/ 2 w 3"/>
                <a:gd name="T5" fmla="*/ 4 h 6"/>
                <a:gd name="T6" fmla="*/ 3 w 3"/>
                <a:gd name="T7" fmla="*/ 6 h 6"/>
                <a:gd name="T8" fmla="*/ 3 w 3"/>
                <a:gd name="T9" fmla="*/ 3 h 6"/>
                <a:gd name="T10" fmla="*/ 3 w 3"/>
                <a:gd name="T11" fmla="*/ 2 h 6"/>
                <a:gd name="T12" fmla="*/ 3 w 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 h="6">
                  <a:moveTo>
                    <a:pt x="3" y="0"/>
                  </a:moveTo>
                  <a:lnTo>
                    <a:pt x="0" y="0"/>
                  </a:lnTo>
                  <a:lnTo>
                    <a:pt x="2" y="4"/>
                  </a:lnTo>
                  <a:lnTo>
                    <a:pt x="3" y="6"/>
                  </a:lnTo>
                  <a:lnTo>
                    <a:pt x="3" y="3"/>
                  </a:lnTo>
                  <a:lnTo>
                    <a:pt x="3" y="2"/>
                  </a:lnTo>
                  <a:lnTo>
                    <a:pt x="3" y="0"/>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06" name="Freeform 42">
              <a:extLst>
                <a:ext uri="{FF2B5EF4-FFF2-40B4-BE49-F238E27FC236}">
                  <a16:creationId xmlns:a16="http://schemas.microsoft.com/office/drawing/2014/main" id="{92343507-3C1D-4830-8CC9-9E35AFCA8997}"/>
                </a:ext>
              </a:extLst>
            </p:cNvPr>
            <p:cNvSpPr>
              <a:spLocks noEditPoints="1"/>
            </p:cNvSpPr>
            <p:nvPr/>
          </p:nvSpPr>
          <p:spPr bwMode="gray">
            <a:xfrm>
              <a:off x="7540398" y="4432323"/>
              <a:ext cx="1453434" cy="1391108"/>
            </a:xfrm>
            <a:custGeom>
              <a:avLst/>
              <a:gdLst>
                <a:gd name="T0" fmla="*/ 2298 w 2332"/>
                <a:gd name="T1" fmla="*/ 1882 h 2232"/>
                <a:gd name="T2" fmla="*/ 2195 w 2332"/>
                <a:gd name="T3" fmla="*/ 1985 h 2232"/>
                <a:gd name="T4" fmla="*/ 2172 w 2332"/>
                <a:gd name="T5" fmla="*/ 2049 h 2232"/>
                <a:gd name="T6" fmla="*/ 2212 w 2332"/>
                <a:gd name="T7" fmla="*/ 2119 h 2232"/>
                <a:gd name="T8" fmla="*/ 2218 w 2332"/>
                <a:gd name="T9" fmla="*/ 2194 h 2232"/>
                <a:gd name="T10" fmla="*/ 2284 w 2332"/>
                <a:gd name="T11" fmla="*/ 2211 h 2232"/>
                <a:gd name="T12" fmla="*/ 2332 w 2332"/>
                <a:gd name="T13" fmla="*/ 2035 h 2232"/>
                <a:gd name="T14" fmla="*/ 577 w 2332"/>
                <a:gd name="T15" fmla="*/ 1158 h 2232"/>
                <a:gd name="T16" fmla="*/ 474 w 2332"/>
                <a:gd name="T17" fmla="*/ 998 h 2232"/>
                <a:gd name="T18" fmla="*/ 2025 w 2332"/>
                <a:gd name="T19" fmla="*/ 504 h 2232"/>
                <a:gd name="T20" fmla="*/ 1878 w 2332"/>
                <a:gd name="T21" fmla="*/ 473 h 2232"/>
                <a:gd name="T22" fmla="*/ 1745 w 2332"/>
                <a:gd name="T23" fmla="*/ 395 h 2232"/>
                <a:gd name="T24" fmla="*/ 1604 w 2332"/>
                <a:gd name="T25" fmla="*/ 321 h 2232"/>
                <a:gd name="T26" fmla="*/ 1471 w 2332"/>
                <a:gd name="T27" fmla="*/ 273 h 2232"/>
                <a:gd name="T28" fmla="*/ 1394 w 2332"/>
                <a:gd name="T29" fmla="*/ 170 h 2232"/>
                <a:gd name="T30" fmla="*/ 1234 w 2332"/>
                <a:gd name="T31" fmla="*/ 69 h 2232"/>
                <a:gd name="T32" fmla="*/ 1070 w 2332"/>
                <a:gd name="T33" fmla="*/ 178 h 2232"/>
                <a:gd name="T34" fmla="*/ 855 w 2332"/>
                <a:gd name="T35" fmla="*/ 402 h 2232"/>
                <a:gd name="T36" fmla="*/ 615 w 2332"/>
                <a:gd name="T37" fmla="*/ 368 h 2232"/>
                <a:gd name="T38" fmla="*/ 523 w 2332"/>
                <a:gd name="T39" fmla="*/ 397 h 2232"/>
                <a:gd name="T40" fmla="*/ 562 w 2332"/>
                <a:gd name="T41" fmla="*/ 508 h 2232"/>
                <a:gd name="T42" fmla="*/ 522 w 2332"/>
                <a:gd name="T43" fmla="*/ 586 h 2232"/>
                <a:gd name="T44" fmla="*/ 467 w 2332"/>
                <a:gd name="T45" fmla="*/ 610 h 2232"/>
                <a:gd name="T46" fmla="*/ 369 w 2332"/>
                <a:gd name="T47" fmla="*/ 612 h 2232"/>
                <a:gd name="T48" fmla="*/ 303 w 2332"/>
                <a:gd name="T49" fmla="*/ 564 h 2232"/>
                <a:gd name="T50" fmla="*/ 205 w 2332"/>
                <a:gd name="T51" fmla="*/ 594 h 2232"/>
                <a:gd name="T52" fmla="*/ 135 w 2332"/>
                <a:gd name="T53" fmla="*/ 600 h 2232"/>
                <a:gd name="T54" fmla="*/ 85 w 2332"/>
                <a:gd name="T55" fmla="*/ 670 h 2232"/>
                <a:gd name="T56" fmla="*/ 118 w 2332"/>
                <a:gd name="T57" fmla="*/ 685 h 2232"/>
                <a:gd name="T58" fmla="*/ 68 w 2332"/>
                <a:gd name="T59" fmla="*/ 737 h 2232"/>
                <a:gd name="T60" fmla="*/ 177 w 2332"/>
                <a:gd name="T61" fmla="*/ 785 h 2232"/>
                <a:gd name="T62" fmla="*/ 290 w 2332"/>
                <a:gd name="T63" fmla="*/ 810 h 2232"/>
                <a:gd name="T64" fmla="*/ 309 w 2332"/>
                <a:gd name="T65" fmla="*/ 841 h 2232"/>
                <a:gd name="T66" fmla="*/ 343 w 2332"/>
                <a:gd name="T67" fmla="*/ 834 h 2232"/>
                <a:gd name="T68" fmla="*/ 353 w 2332"/>
                <a:gd name="T69" fmla="*/ 857 h 2232"/>
                <a:gd name="T70" fmla="*/ 433 w 2332"/>
                <a:gd name="T71" fmla="*/ 888 h 2232"/>
                <a:gd name="T72" fmla="*/ 512 w 2332"/>
                <a:gd name="T73" fmla="*/ 919 h 2232"/>
                <a:gd name="T74" fmla="*/ 477 w 2332"/>
                <a:gd name="T75" fmla="*/ 1012 h 2232"/>
                <a:gd name="T76" fmla="*/ 635 w 2332"/>
                <a:gd name="T77" fmla="*/ 1143 h 2232"/>
                <a:gd name="T78" fmla="*/ 642 w 2332"/>
                <a:gd name="T79" fmla="*/ 1239 h 2232"/>
                <a:gd name="T80" fmla="*/ 728 w 2332"/>
                <a:gd name="T81" fmla="*/ 1457 h 2232"/>
                <a:gd name="T82" fmla="*/ 645 w 2332"/>
                <a:gd name="T83" fmla="*/ 1509 h 2232"/>
                <a:gd name="T84" fmla="*/ 555 w 2332"/>
                <a:gd name="T85" fmla="*/ 1829 h 2232"/>
                <a:gd name="T86" fmla="*/ 697 w 2332"/>
                <a:gd name="T87" fmla="*/ 1908 h 2232"/>
                <a:gd name="T88" fmla="*/ 856 w 2332"/>
                <a:gd name="T89" fmla="*/ 1952 h 2232"/>
                <a:gd name="T90" fmla="*/ 1024 w 2332"/>
                <a:gd name="T91" fmla="*/ 1945 h 2232"/>
                <a:gd name="T92" fmla="*/ 1192 w 2332"/>
                <a:gd name="T93" fmla="*/ 2015 h 2232"/>
                <a:gd name="T94" fmla="*/ 1298 w 2332"/>
                <a:gd name="T95" fmla="*/ 1972 h 2232"/>
                <a:gd name="T96" fmla="*/ 1555 w 2332"/>
                <a:gd name="T97" fmla="*/ 1808 h 2232"/>
                <a:gd name="T98" fmla="*/ 1635 w 2332"/>
                <a:gd name="T99" fmla="*/ 1778 h 2232"/>
                <a:gd name="T100" fmla="*/ 1738 w 2332"/>
                <a:gd name="T101" fmla="*/ 1872 h 2232"/>
                <a:gd name="T102" fmla="*/ 1857 w 2332"/>
                <a:gd name="T103" fmla="*/ 1843 h 2232"/>
                <a:gd name="T104" fmla="*/ 1931 w 2332"/>
                <a:gd name="T105" fmla="*/ 1764 h 2232"/>
                <a:gd name="T106" fmla="*/ 2023 w 2332"/>
                <a:gd name="T107" fmla="*/ 1670 h 2232"/>
                <a:gd name="T108" fmla="*/ 1915 w 2332"/>
                <a:gd name="T109" fmla="*/ 1528 h 2232"/>
                <a:gd name="T110" fmla="*/ 1906 w 2332"/>
                <a:gd name="T111" fmla="*/ 1406 h 2232"/>
                <a:gd name="T112" fmla="*/ 1902 w 2332"/>
                <a:gd name="T113" fmla="*/ 1253 h 2232"/>
                <a:gd name="T114" fmla="*/ 1844 w 2332"/>
                <a:gd name="T115" fmla="*/ 1115 h 2232"/>
                <a:gd name="T116" fmla="*/ 1777 w 2332"/>
                <a:gd name="T117" fmla="*/ 1113 h 2232"/>
                <a:gd name="T118" fmla="*/ 1932 w 2332"/>
                <a:gd name="T119" fmla="*/ 911 h 2232"/>
                <a:gd name="T120" fmla="*/ 2000 w 2332"/>
                <a:gd name="T121" fmla="*/ 875 h 2232"/>
                <a:gd name="T122" fmla="*/ 2024 w 2332"/>
                <a:gd name="T123" fmla="*/ 760 h 2232"/>
                <a:gd name="T124" fmla="*/ 2098 w 2332"/>
                <a:gd name="T125" fmla="*/ 562 h 2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32" h="2232">
                  <a:moveTo>
                    <a:pt x="2319" y="1965"/>
                  </a:moveTo>
                  <a:lnTo>
                    <a:pt x="2320" y="1965"/>
                  </a:lnTo>
                  <a:lnTo>
                    <a:pt x="2316" y="1959"/>
                  </a:lnTo>
                  <a:lnTo>
                    <a:pt x="2319" y="1965"/>
                  </a:lnTo>
                  <a:lnTo>
                    <a:pt x="2319" y="1965"/>
                  </a:lnTo>
                  <a:close/>
                  <a:moveTo>
                    <a:pt x="2332" y="2035"/>
                  </a:moveTo>
                  <a:lnTo>
                    <a:pt x="2331" y="2030"/>
                  </a:lnTo>
                  <a:lnTo>
                    <a:pt x="2328" y="2022"/>
                  </a:lnTo>
                  <a:lnTo>
                    <a:pt x="2328" y="2018"/>
                  </a:lnTo>
                  <a:lnTo>
                    <a:pt x="2328" y="2014"/>
                  </a:lnTo>
                  <a:lnTo>
                    <a:pt x="2328" y="2011"/>
                  </a:lnTo>
                  <a:lnTo>
                    <a:pt x="2329" y="2007"/>
                  </a:lnTo>
                  <a:lnTo>
                    <a:pt x="2330" y="2005"/>
                  </a:lnTo>
                  <a:lnTo>
                    <a:pt x="2328" y="2000"/>
                  </a:lnTo>
                  <a:lnTo>
                    <a:pt x="2327" y="1994"/>
                  </a:lnTo>
                  <a:lnTo>
                    <a:pt x="2328" y="1981"/>
                  </a:lnTo>
                  <a:lnTo>
                    <a:pt x="2327" y="1977"/>
                  </a:lnTo>
                  <a:lnTo>
                    <a:pt x="2326" y="1973"/>
                  </a:lnTo>
                  <a:lnTo>
                    <a:pt x="2321" y="1967"/>
                  </a:lnTo>
                  <a:lnTo>
                    <a:pt x="2323" y="1972"/>
                  </a:lnTo>
                  <a:lnTo>
                    <a:pt x="2324" y="1974"/>
                  </a:lnTo>
                  <a:lnTo>
                    <a:pt x="2325" y="1977"/>
                  </a:lnTo>
                  <a:lnTo>
                    <a:pt x="2320" y="1975"/>
                  </a:lnTo>
                  <a:lnTo>
                    <a:pt x="2319" y="1974"/>
                  </a:lnTo>
                  <a:lnTo>
                    <a:pt x="2318" y="1972"/>
                  </a:lnTo>
                  <a:lnTo>
                    <a:pt x="2317" y="1970"/>
                  </a:lnTo>
                  <a:lnTo>
                    <a:pt x="2317" y="1969"/>
                  </a:lnTo>
                  <a:lnTo>
                    <a:pt x="2316" y="1968"/>
                  </a:lnTo>
                  <a:lnTo>
                    <a:pt x="2316" y="1966"/>
                  </a:lnTo>
                  <a:lnTo>
                    <a:pt x="2316" y="1965"/>
                  </a:lnTo>
                  <a:lnTo>
                    <a:pt x="2316" y="1964"/>
                  </a:lnTo>
                  <a:lnTo>
                    <a:pt x="2316" y="1962"/>
                  </a:lnTo>
                  <a:lnTo>
                    <a:pt x="2316" y="1962"/>
                  </a:lnTo>
                  <a:lnTo>
                    <a:pt x="2315" y="1962"/>
                  </a:lnTo>
                  <a:lnTo>
                    <a:pt x="2314" y="1961"/>
                  </a:lnTo>
                  <a:lnTo>
                    <a:pt x="2314" y="1961"/>
                  </a:lnTo>
                  <a:lnTo>
                    <a:pt x="2314" y="1960"/>
                  </a:lnTo>
                  <a:lnTo>
                    <a:pt x="2314" y="1959"/>
                  </a:lnTo>
                  <a:lnTo>
                    <a:pt x="2315" y="1958"/>
                  </a:lnTo>
                  <a:lnTo>
                    <a:pt x="2315" y="1958"/>
                  </a:lnTo>
                  <a:lnTo>
                    <a:pt x="2315" y="1952"/>
                  </a:lnTo>
                  <a:lnTo>
                    <a:pt x="2315" y="1948"/>
                  </a:lnTo>
                  <a:lnTo>
                    <a:pt x="2315" y="1946"/>
                  </a:lnTo>
                  <a:lnTo>
                    <a:pt x="2320" y="1926"/>
                  </a:lnTo>
                  <a:lnTo>
                    <a:pt x="2320" y="1919"/>
                  </a:lnTo>
                  <a:lnTo>
                    <a:pt x="2317" y="1900"/>
                  </a:lnTo>
                  <a:lnTo>
                    <a:pt x="2318" y="1896"/>
                  </a:lnTo>
                  <a:lnTo>
                    <a:pt x="2316" y="1893"/>
                  </a:lnTo>
                  <a:lnTo>
                    <a:pt x="2315" y="1891"/>
                  </a:lnTo>
                  <a:lnTo>
                    <a:pt x="2316" y="1888"/>
                  </a:lnTo>
                  <a:lnTo>
                    <a:pt x="2317" y="1887"/>
                  </a:lnTo>
                  <a:lnTo>
                    <a:pt x="2317" y="1885"/>
                  </a:lnTo>
                  <a:lnTo>
                    <a:pt x="2314" y="1884"/>
                  </a:lnTo>
                  <a:lnTo>
                    <a:pt x="2312" y="1882"/>
                  </a:lnTo>
                  <a:lnTo>
                    <a:pt x="2310" y="1879"/>
                  </a:lnTo>
                  <a:lnTo>
                    <a:pt x="2307" y="1881"/>
                  </a:lnTo>
                  <a:lnTo>
                    <a:pt x="2301" y="1881"/>
                  </a:lnTo>
                  <a:lnTo>
                    <a:pt x="2298" y="1882"/>
                  </a:lnTo>
                  <a:lnTo>
                    <a:pt x="2297" y="1885"/>
                  </a:lnTo>
                  <a:lnTo>
                    <a:pt x="2298" y="1889"/>
                  </a:lnTo>
                  <a:lnTo>
                    <a:pt x="2299" y="1892"/>
                  </a:lnTo>
                  <a:lnTo>
                    <a:pt x="2301" y="1894"/>
                  </a:lnTo>
                  <a:lnTo>
                    <a:pt x="2300" y="1896"/>
                  </a:lnTo>
                  <a:lnTo>
                    <a:pt x="2300" y="1897"/>
                  </a:lnTo>
                  <a:lnTo>
                    <a:pt x="2300" y="1898"/>
                  </a:lnTo>
                  <a:lnTo>
                    <a:pt x="2301" y="1898"/>
                  </a:lnTo>
                  <a:lnTo>
                    <a:pt x="2297" y="1903"/>
                  </a:lnTo>
                  <a:lnTo>
                    <a:pt x="2296" y="1904"/>
                  </a:lnTo>
                  <a:lnTo>
                    <a:pt x="2295" y="1906"/>
                  </a:lnTo>
                  <a:lnTo>
                    <a:pt x="2295" y="1908"/>
                  </a:lnTo>
                  <a:lnTo>
                    <a:pt x="2296" y="1910"/>
                  </a:lnTo>
                  <a:lnTo>
                    <a:pt x="2296" y="1912"/>
                  </a:lnTo>
                  <a:lnTo>
                    <a:pt x="2292" y="1918"/>
                  </a:lnTo>
                  <a:lnTo>
                    <a:pt x="2294" y="1921"/>
                  </a:lnTo>
                  <a:lnTo>
                    <a:pt x="2297" y="1925"/>
                  </a:lnTo>
                  <a:lnTo>
                    <a:pt x="2297" y="1928"/>
                  </a:lnTo>
                  <a:lnTo>
                    <a:pt x="2296" y="1932"/>
                  </a:lnTo>
                  <a:lnTo>
                    <a:pt x="2298" y="1937"/>
                  </a:lnTo>
                  <a:lnTo>
                    <a:pt x="2295" y="1943"/>
                  </a:lnTo>
                  <a:lnTo>
                    <a:pt x="2290" y="1953"/>
                  </a:lnTo>
                  <a:lnTo>
                    <a:pt x="2288" y="1953"/>
                  </a:lnTo>
                  <a:lnTo>
                    <a:pt x="2287" y="1949"/>
                  </a:lnTo>
                  <a:lnTo>
                    <a:pt x="2286" y="1947"/>
                  </a:lnTo>
                  <a:lnTo>
                    <a:pt x="2285" y="1946"/>
                  </a:lnTo>
                  <a:lnTo>
                    <a:pt x="2284" y="1945"/>
                  </a:lnTo>
                  <a:lnTo>
                    <a:pt x="2281" y="1943"/>
                  </a:lnTo>
                  <a:lnTo>
                    <a:pt x="2272" y="1941"/>
                  </a:lnTo>
                  <a:lnTo>
                    <a:pt x="2271" y="1941"/>
                  </a:lnTo>
                  <a:lnTo>
                    <a:pt x="2269" y="1940"/>
                  </a:lnTo>
                  <a:lnTo>
                    <a:pt x="2266" y="1940"/>
                  </a:lnTo>
                  <a:lnTo>
                    <a:pt x="2262" y="1941"/>
                  </a:lnTo>
                  <a:lnTo>
                    <a:pt x="2260" y="1942"/>
                  </a:lnTo>
                  <a:lnTo>
                    <a:pt x="2252" y="1952"/>
                  </a:lnTo>
                  <a:lnTo>
                    <a:pt x="2251" y="1956"/>
                  </a:lnTo>
                  <a:lnTo>
                    <a:pt x="2246" y="1958"/>
                  </a:lnTo>
                  <a:lnTo>
                    <a:pt x="2228" y="1962"/>
                  </a:lnTo>
                  <a:lnTo>
                    <a:pt x="2218" y="1967"/>
                  </a:lnTo>
                  <a:lnTo>
                    <a:pt x="2212" y="1968"/>
                  </a:lnTo>
                  <a:lnTo>
                    <a:pt x="2214" y="1969"/>
                  </a:lnTo>
                  <a:lnTo>
                    <a:pt x="2213" y="1972"/>
                  </a:lnTo>
                  <a:lnTo>
                    <a:pt x="2211" y="1975"/>
                  </a:lnTo>
                  <a:lnTo>
                    <a:pt x="2209" y="1977"/>
                  </a:lnTo>
                  <a:lnTo>
                    <a:pt x="2207" y="1978"/>
                  </a:lnTo>
                  <a:lnTo>
                    <a:pt x="2205" y="1977"/>
                  </a:lnTo>
                  <a:lnTo>
                    <a:pt x="2204" y="1976"/>
                  </a:lnTo>
                  <a:lnTo>
                    <a:pt x="2202" y="1975"/>
                  </a:lnTo>
                  <a:lnTo>
                    <a:pt x="2199" y="1977"/>
                  </a:lnTo>
                  <a:lnTo>
                    <a:pt x="2199" y="1975"/>
                  </a:lnTo>
                  <a:lnTo>
                    <a:pt x="2199" y="1975"/>
                  </a:lnTo>
                  <a:lnTo>
                    <a:pt x="2198" y="1974"/>
                  </a:lnTo>
                  <a:lnTo>
                    <a:pt x="2197" y="1974"/>
                  </a:lnTo>
                  <a:lnTo>
                    <a:pt x="2197" y="1975"/>
                  </a:lnTo>
                  <a:lnTo>
                    <a:pt x="2198" y="1977"/>
                  </a:lnTo>
                  <a:lnTo>
                    <a:pt x="2197" y="1982"/>
                  </a:lnTo>
                  <a:lnTo>
                    <a:pt x="2198" y="1984"/>
                  </a:lnTo>
                  <a:lnTo>
                    <a:pt x="2195" y="1985"/>
                  </a:lnTo>
                  <a:lnTo>
                    <a:pt x="2193" y="1986"/>
                  </a:lnTo>
                  <a:lnTo>
                    <a:pt x="2190" y="1989"/>
                  </a:lnTo>
                  <a:lnTo>
                    <a:pt x="2189" y="1994"/>
                  </a:lnTo>
                  <a:lnTo>
                    <a:pt x="2189" y="1995"/>
                  </a:lnTo>
                  <a:lnTo>
                    <a:pt x="2189" y="1996"/>
                  </a:lnTo>
                  <a:lnTo>
                    <a:pt x="2191" y="1996"/>
                  </a:lnTo>
                  <a:lnTo>
                    <a:pt x="2192" y="1997"/>
                  </a:lnTo>
                  <a:lnTo>
                    <a:pt x="2191" y="1998"/>
                  </a:lnTo>
                  <a:lnTo>
                    <a:pt x="2189" y="2001"/>
                  </a:lnTo>
                  <a:lnTo>
                    <a:pt x="2189" y="2004"/>
                  </a:lnTo>
                  <a:lnTo>
                    <a:pt x="2189" y="2006"/>
                  </a:lnTo>
                  <a:lnTo>
                    <a:pt x="2188" y="2007"/>
                  </a:lnTo>
                  <a:lnTo>
                    <a:pt x="2183" y="2008"/>
                  </a:lnTo>
                  <a:lnTo>
                    <a:pt x="2182" y="2009"/>
                  </a:lnTo>
                  <a:lnTo>
                    <a:pt x="2182" y="2010"/>
                  </a:lnTo>
                  <a:lnTo>
                    <a:pt x="2181" y="2011"/>
                  </a:lnTo>
                  <a:lnTo>
                    <a:pt x="2180" y="2012"/>
                  </a:lnTo>
                  <a:lnTo>
                    <a:pt x="2180" y="2014"/>
                  </a:lnTo>
                  <a:lnTo>
                    <a:pt x="2179" y="2015"/>
                  </a:lnTo>
                  <a:lnTo>
                    <a:pt x="2178" y="2014"/>
                  </a:lnTo>
                  <a:lnTo>
                    <a:pt x="2176" y="2015"/>
                  </a:lnTo>
                  <a:lnTo>
                    <a:pt x="2175" y="2016"/>
                  </a:lnTo>
                  <a:lnTo>
                    <a:pt x="2174" y="2016"/>
                  </a:lnTo>
                  <a:lnTo>
                    <a:pt x="2172" y="2015"/>
                  </a:lnTo>
                  <a:lnTo>
                    <a:pt x="2172" y="2017"/>
                  </a:lnTo>
                  <a:lnTo>
                    <a:pt x="2172" y="2020"/>
                  </a:lnTo>
                  <a:lnTo>
                    <a:pt x="2172" y="2022"/>
                  </a:lnTo>
                  <a:lnTo>
                    <a:pt x="2173" y="2024"/>
                  </a:lnTo>
                  <a:lnTo>
                    <a:pt x="2172" y="2025"/>
                  </a:lnTo>
                  <a:lnTo>
                    <a:pt x="2179" y="2023"/>
                  </a:lnTo>
                  <a:lnTo>
                    <a:pt x="2182" y="2022"/>
                  </a:lnTo>
                  <a:lnTo>
                    <a:pt x="2185" y="2025"/>
                  </a:lnTo>
                  <a:lnTo>
                    <a:pt x="2180" y="2028"/>
                  </a:lnTo>
                  <a:lnTo>
                    <a:pt x="2180" y="2029"/>
                  </a:lnTo>
                  <a:lnTo>
                    <a:pt x="2180" y="2030"/>
                  </a:lnTo>
                  <a:lnTo>
                    <a:pt x="2181" y="2031"/>
                  </a:lnTo>
                  <a:lnTo>
                    <a:pt x="2181" y="2031"/>
                  </a:lnTo>
                  <a:lnTo>
                    <a:pt x="2184" y="2030"/>
                  </a:lnTo>
                  <a:lnTo>
                    <a:pt x="2184" y="2030"/>
                  </a:lnTo>
                  <a:lnTo>
                    <a:pt x="2185" y="2032"/>
                  </a:lnTo>
                  <a:lnTo>
                    <a:pt x="2185" y="2033"/>
                  </a:lnTo>
                  <a:lnTo>
                    <a:pt x="2191" y="2035"/>
                  </a:lnTo>
                  <a:lnTo>
                    <a:pt x="2191" y="2036"/>
                  </a:lnTo>
                  <a:lnTo>
                    <a:pt x="2194" y="2038"/>
                  </a:lnTo>
                  <a:lnTo>
                    <a:pt x="2194" y="2040"/>
                  </a:lnTo>
                  <a:lnTo>
                    <a:pt x="2193" y="2040"/>
                  </a:lnTo>
                  <a:lnTo>
                    <a:pt x="2193" y="2040"/>
                  </a:lnTo>
                  <a:lnTo>
                    <a:pt x="2192" y="2040"/>
                  </a:lnTo>
                  <a:lnTo>
                    <a:pt x="2190" y="2041"/>
                  </a:lnTo>
                  <a:lnTo>
                    <a:pt x="2188" y="2042"/>
                  </a:lnTo>
                  <a:lnTo>
                    <a:pt x="2181" y="2043"/>
                  </a:lnTo>
                  <a:lnTo>
                    <a:pt x="2180" y="2044"/>
                  </a:lnTo>
                  <a:lnTo>
                    <a:pt x="2179" y="2045"/>
                  </a:lnTo>
                  <a:lnTo>
                    <a:pt x="2178" y="2046"/>
                  </a:lnTo>
                  <a:lnTo>
                    <a:pt x="2173" y="2045"/>
                  </a:lnTo>
                  <a:lnTo>
                    <a:pt x="2172" y="2046"/>
                  </a:lnTo>
                  <a:lnTo>
                    <a:pt x="2171" y="2048"/>
                  </a:lnTo>
                  <a:lnTo>
                    <a:pt x="2172" y="2049"/>
                  </a:lnTo>
                  <a:lnTo>
                    <a:pt x="2174" y="2050"/>
                  </a:lnTo>
                  <a:lnTo>
                    <a:pt x="2176" y="2051"/>
                  </a:lnTo>
                  <a:lnTo>
                    <a:pt x="2174" y="2053"/>
                  </a:lnTo>
                  <a:lnTo>
                    <a:pt x="2176" y="2054"/>
                  </a:lnTo>
                  <a:lnTo>
                    <a:pt x="2177" y="2056"/>
                  </a:lnTo>
                  <a:lnTo>
                    <a:pt x="2176" y="2058"/>
                  </a:lnTo>
                  <a:lnTo>
                    <a:pt x="2174" y="2059"/>
                  </a:lnTo>
                  <a:lnTo>
                    <a:pt x="2174" y="2060"/>
                  </a:lnTo>
                  <a:lnTo>
                    <a:pt x="2179" y="2060"/>
                  </a:lnTo>
                  <a:lnTo>
                    <a:pt x="2179" y="2062"/>
                  </a:lnTo>
                  <a:lnTo>
                    <a:pt x="2176" y="2064"/>
                  </a:lnTo>
                  <a:lnTo>
                    <a:pt x="2175" y="2064"/>
                  </a:lnTo>
                  <a:lnTo>
                    <a:pt x="2173" y="2065"/>
                  </a:lnTo>
                  <a:lnTo>
                    <a:pt x="2175" y="2064"/>
                  </a:lnTo>
                  <a:lnTo>
                    <a:pt x="2176" y="2065"/>
                  </a:lnTo>
                  <a:lnTo>
                    <a:pt x="2178" y="2065"/>
                  </a:lnTo>
                  <a:lnTo>
                    <a:pt x="2179" y="2066"/>
                  </a:lnTo>
                  <a:lnTo>
                    <a:pt x="2178" y="2067"/>
                  </a:lnTo>
                  <a:lnTo>
                    <a:pt x="2178" y="2069"/>
                  </a:lnTo>
                  <a:lnTo>
                    <a:pt x="2181" y="2069"/>
                  </a:lnTo>
                  <a:lnTo>
                    <a:pt x="2184" y="2070"/>
                  </a:lnTo>
                  <a:lnTo>
                    <a:pt x="2187" y="2072"/>
                  </a:lnTo>
                  <a:lnTo>
                    <a:pt x="2189" y="2074"/>
                  </a:lnTo>
                  <a:lnTo>
                    <a:pt x="2189" y="2075"/>
                  </a:lnTo>
                  <a:lnTo>
                    <a:pt x="2194" y="2074"/>
                  </a:lnTo>
                  <a:lnTo>
                    <a:pt x="2195" y="2074"/>
                  </a:lnTo>
                  <a:lnTo>
                    <a:pt x="2197" y="2076"/>
                  </a:lnTo>
                  <a:lnTo>
                    <a:pt x="2199" y="2082"/>
                  </a:lnTo>
                  <a:lnTo>
                    <a:pt x="2202" y="2084"/>
                  </a:lnTo>
                  <a:lnTo>
                    <a:pt x="2203" y="2086"/>
                  </a:lnTo>
                  <a:lnTo>
                    <a:pt x="2203" y="2088"/>
                  </a:lnTo>
                  <a:lnTo>
                    <a:pt x="2202" y="2088"/>
                  </a:lnTo>
                  <a:lnTo>
                    <a:pt x="2197" y="2090"/>
                  </a:lnTo>
                  <a:lnTo>
                    <a:pt x="2197" y="2091"/>
                  </a:lnTo>
                  <a:lnTo>
                    <a:pt x="2193" y="2092"/>
                  </a:lnTo>
                  <a:lnTo>
                    <a:pt x="2190" y="2094"/>
                  </a:lnTo>
                  <a:lnTo>
                    <a:pt x="2189" y="2097"/>
                  </a:lnTo>
                  <a:lnTo>
                    <a:pt x="2191" y="2099"/>
                  </a:lnTo>
                  <a:lnTo>
                    <a:pt x="2189" y="2102"/>
                  </a:lnTo>
                  <a:lnTo>
                    <a:pt x="2185" y="2104"/>
                  </a:lnTo>
                  <a:lnTo>
                    <a:pt x="2178" y="2104"/>
                  </a:lnTo>
                  <a:lnTo>
                    <a:pt x="2182" y="2109"/>
                  </a:lnTo>
                  <a:lnTo>
                    <a:pt x="2183" y="2113"/>
                  </a:lnTo>
                  <a:lnTo>
                    <a:pt x="2181" y="2116"/>
                  </a:lnTo>
                  <a:lnTo>
                    <a:pt x="2182" y="2119"/>
                  </a:lnTo>
                  <a:lnTo>
                    <a:pt x="2184" y="2117"/>
                  </a:lnTo>
                  <a:lnTo>
                    <a:pt x="2187" y="2116"/>
                  </a:lnTo>
                  <a:lnTo>
                    <a:pt x="2194" y="2116"/>
                  </a:lnTo>
                  <a:lnTo>
                    <a:pt x="2197" y="2115"/>
                  </a:lnTo>
                  <a:lnTo>
                    <a:pt x="2203" y="2112"/>
                  </a:lnTo>
                  <a:lnTo>
                    <a:pt x="2206" y="2112"/>
                  </a:lnTo>
                  <a:lnTo>
                    <a:pt x="2208" y="2112"/>
                  </a:lnTo>
                  <a:lnTo>
                    <a:pt x="2209" y="2113"/>
                  </a:lnTo>
                  <a:lnTo>
                    <a:pt x="2209" y="2114"/>
                  </a:lnTo>
                  <a:lnTo>
                    <a:pt x="2210" y="2116"/>
                  </a:lnTo>
                  <a:lnTo>
                    <a:pt x="2212" y="2117"/>
                  </a:lnTo>
                  <a:lnTo>
                    <a:pt x="2212" y="2118"/>
                  </a:lnTo>
                  <a:lnTo>
                    <a:pt x="2212" y="2119"/>
                  </a:lnTo>
                  <a:lnTo>
                    <a:pt x="2211" y="2121"/>
                  </a:lnTo>
                  <a:lnTo>
                    <a:pt x="2210" y="2122"/>
                  </a:lnTo>
                  <a:lnTo>
                    <a:pt x="2210" y="2122"/>
                  </a:lnTo>
                  <a:lnTo>
                    <a:pt x="2208" y="2125"/>
                  </a:lnTo>
                  <a:lnTo>
                    <a:pt x="2209" y="2124"/>
                  </a:lnTo>
                  <a:lnTo>
                    <a:pt x="2209" y="2126"/>
                  </a:lnTo>
                  <a:lnTo>
                    <a:pt x="2210" y="2127"/>
                  </a:lnTo>
                  <a:lnTo>
                    <a:pt x="2210" y="2128"/>
                  </a:lnTo>
                  <a:lnTo>
                    <a:pt x="2209" y="2129"/>
                  </a:lnTo>
                  <a:lnTo>
                    <a:pt x="2204" y="2130"/>
                  </a:lnTo>
                  <a:lnTo>
                    <a:pt x="2205" y="2131"/>
                  </a:lnTo>
                  <a:lnTo>
                    <a:pt x="2207" y="2132"/>
                  </a:lnTo>
                  <a:lnTo>
                    <a:pt x="2208" y="2133"/>
                  </a:lnTo>
                  <a:lnTo>
                    <a:pt x="2209" y="2135"/>
                  </a:lnTo>
                  <a:lnTo>
                    <a:pt x="2204" y="2138"/>
                  </a:lnTo>
                  <a:lnTo>
                    <a:pt x="2201" y="2139"/>
                  </a:lnTo>
                  <a:lnTo>
                    <a:pt x="2197" y="2139"/>
                  </a:lnTo>
                  <a:lnTo>
                    <a:pt x="2197" y="2141"/>
                  </a:lnTo>
                  <a:lnTo>
                    <a:pt x="2199" y="2142"/>
                  </a:lnTo>
                  <a:lnTo>
                    <a:pt x="2199" y="2144"/>
                  </a:lnTo>
                  <a:lnTo>
                    <a:pt x="2199" y="2146"/>
                  </a:lnTo>
                  <a:lnTo>
                    <a:pt x="2197" y="2148"/>
                  </a:lnTo>
                  <a:lnTo>
                    <a:pt x="2195" y="2149"/>
                  </a:lnTo>
                  <a:lnTo>
                    <a:pt x="2191" y="2150"/>
                  </a:lnTo>
                  <a:lnTo>
                    <a:pt x="2189" y="2151"/>
                  </a:lnTo>
                  <a:lnTo>
                    <a:pt x="2190" y="2151"/>
                  </a:lnTo>
                  <a:lnTo>
                    <a:pt x="2192" y="2152"/>
                  </a:lnTo>
                  <a:lnTo>
                    <a:pt x="2194" y="2152"/>
                  </a:lnTo>
                  <a:lnTo>
                    <a:pt x="2196" y="2152"/>
                  </a:lnTo>
                  <a:lnTo>
                    <a:pt x="2195" y="2154"/>
                  </a:lnTo>
                  <a:lnTo>
                    <a:pt x="2195" y="2155"/>
                  </a:lnTo>
                  <a:lnTo>
                    <a:pt x="2199" y="2155"/>
                  </a:lnTo>
                  <a:lnTo>
                    <a:pt x="2205" y="2152"/>
                  </a:lnTo>
                  <a:lnTo>
                    <a:pt x="2209" y="2152"/>
                  </a:lnTo>
                  <a:lnTo>
                    <a:pt x="2208" y="2157"/>
                  </a:lnTo>
                  <a:lnTo>
                    <a:pt x="2210" y="2159"/>
                  </a:lnTo>
                  <a:lnTo>
                    <a:pt x="2214" y="2159"/>
                  </a:lnTo>
                  <a:lnTo>
                    <a:pt x="2217" y="2159"/>
                  </a:lnTo>
                  <a:lnTo>
                    <a:pt x="2227" y="2162"/>
                  </a:lnTo>
                  <a:lnTo>
                    <a:pt x="2231" y="2162"/>
                  </a:lnTo>
                  <a:lnTo>
                    <a:pt x="2229" y="2165"/>
                  </a:lnTo>
                  <a:lnTo>
                    <a:pt x="2227" y="2166"/>
                  </a:lnTo>
                  <a:lnTo>
                    <a:pt x="2225" y="2167"/>
                  </a:lnTo>
                  <a:lnTo>
                    <a:pt x="2224" y="2170"/>
                  </a:lnTo>
                  <a:lnTo>
                    <a:pt x="2223" y="2172"/>
                  </a:lnTo>
                  <a:lnTo>
                    <a:pt x="2214" y="2176"/>
                  </a:lnTo>
                  <a:lnTo>
                    <a:pt x="2212" y="2174"/>
                  </a:lnTo>
                  <a:lnTo>
                    <a:pt x="2210" y="2177"/>
                  </a:lnTo>
                  <a:lnTo>
                    <a:pt x="2209" y="2182"/>
                  </a:lnTo>
                  <a:lnTo>
                    <a:pt x="2208" y="2184"/>
                  </a:lnTo>
                  <a:lnTo>
                    <a:pt x="2210" y="2185"/>
                  </a:lnTo>
                  <a:lnTo>
                    <a:pt x="2211" y="2187"/>
                  </a:lnTo>
                  <a:lnTo>
                    <a:pt x="2210" y="2191"/>
                  </a:lnTo>
                  <a:lnTo>
                    <a:pt x="2211" y="2192"/>
                  </a:lnTo>
                  <a:lnTo>
                    <a:pt x="2213" y="2192"/>
                  </a:lnTo>
                  <a:lnTo>
                    <a:pt x="2215" y="2193"/>
                  </a:lnTo>
                  <a:lnTo>
                    <a:pt x="2217" y="2193"/>
                  </a:lnTo>
                  <a:lnTo>
                    <a:pt x="2218" y="2194"/>
                  </a:lnTo>
                  <a:lnTo>
                    <a:pt x="2220" y="2194"/>
                  </a:lnTo>
                  <a:lnTo>
                    <a:pt x="2220" y="2196"/>
                  </a:lnTo>
                  <a:lnTo>
                    <a:pt x="2218" y="2197"/>
                  </a:lnTo>
                  <a:lnTo>
                    <a:pt x="2219" y="2198"/>
                  </a:lnTo>
                  <a:lnTo>
                    <a:pt x="2220" y="2198"/>
                  </a:lnTo>
                  <a:lnTo>
                    <a:pt x="2222" y="2198"/>
                  </a:lnTo>
                  <a:lnTo>
                    <a:pt x="2223" y="2199"/>
                  </a:lnTo>
                  <a:lnTo>
                    <a:pt x="2224" y="2200"/>
                  </a:lnTo>
                  <a:lnTo>
                    <a:pt x="2224" y="2201"/>
                  </a:lnTo>
                  <a:lnTo>
                    <a:pt x="2225" y="2201"/>
                  </a:lnTo>
                  <a:lnTo>
                    <a:pt x="2228" y="2202"/>
                  </a:lnTo>
                  <a:lnTo>
                    <a:pt x="2230" y="2203"/>
                  </a:lnTo>
                  <a:lnTo>
                    <a:pt x="2231" y="2205"/>
                  </a:lnTo>
                  <a:lnTo>
                    <a:pt x="2233" y="2206"/>
                  </a:lnTo>
                  <a:lnTo>
                    <a:pt x="2235" y="2205"/>
                  </a:lnTo>
                  <a:lnTo>
                    <a:pt x="2239" y="2206"/>
                  </a:lnTo>
                  <a:lnTo>
                    <a:pt x="2243" y="2207"/>
                  </a:lnTo>
                  <a:lnTo>
                    <a:pt x="2245" y="2209"/>
                  </a:lnTo>
                  <a:lnTo>
                    <a:pt x="2246" y="2210"/>
                  </a:lnTo>
                  <a:lnTo>
                    <a:pt x="2247" y="2210"/>
                  </a:lnTo>
                  <a:lnTo>
                    <a:pt x="2248" y="2209"/>
                  </a:lnTo>
                  <a:lnTo>
                    <a:pt x="2249" y="2209"/>
                  </a:lnTo>
                  <a:lnTo>
                    <a:pt x="2249" y="2209"/>
                  </a:lnTo>
                  <a:lnTo>
                    <a:pt x="2249" y="2210"/>
                  </a:lnTo>
                  <a:lnTo>
                    <a:pt x="2249" y="2210"/>
                  </a:lnTo>
                  <a:lnTo>
                    <a:pt x="2248" y="2210"/>
                  </a:lnTo>
                  <a:lnTo>
                    <a:pt x="2249" y="2212"/>
                  </a:lnTo>
                  <a:lnTo>
                    <a:pt x="2254" y="2208"/>
                  </a:lnTo>
                  <a:lnTo>
                    <a:pt x="2256" y="2207"/>
                  </a:lnTo>
                  <a:lnTo>
                    <a:pt x="2256" y="2209"/>
                  </a:lnTo>
                  <a:lnTo>
                    <a:pt x="2254" y="2212"/>
                  </a:lnTo>
                  <a:lnTo>
                    <a:pt x="2256" y="2213"/>
                  </a:lnTo>
                  <a:lnTo>
                    <a:pt x="2260" y="2215"/>
                  </a:lnTo>
                  <a:lnTo>
                    <a:pt x="2262" y="2217"/>
                  </a:lnTo>
                  <a:lnTo>
                    <a:pt x="2261" y="2218"/>
                  </a:lnTo>
                  <a:lnTo>
                    <a:pt x="2260" y="2219"/>
                  </a:lnTo>
                  <a:lnTo>
                    <a:pt x="2258" y="2224"/>
                  </a:lnTo>
                  <a:lnTo>
                    <a:pt x="2263" y="2226"/>
                  </a:lnTo>
                  <a:lnTo>
                    <a:pt x="2267" y="2226"/>
                  </a:lnTo>
                  <a:lnTo>
                    <a:pt x="2270" y="2228"/>
                  </a:lnTo>
                  <a:lnTo>
                    <a:pt x="2274" y="2231"/>
                  </a:lnTo>
                  <a:lnTo>
                    <a:pt x="2276" y="2232"/>
                  </a:lnTo>
                  <a:lnTo>
                    <a:pt x="2279" y="2231"/>
                  </a:lnTo>
                  <a:lnTo>
                    <a:pt x="2280" y="2229"/>
                  </a:lnTo>
                  <a:lnTo>
                    <a:pt x="2281" y="2226"/>
                  </a:lnTo>
                  <a:lnTo>
                    <a:pt x="2282" y="2222"/>
                  </a:lnTo>
                  <a:lnTo>
                    <a:pt x="2283" y="2219"/>
                  </a:lnTo>
                  <a:lnTo>
                    <a:pt x="2281" y="2220"/>
                  </a:lnTo>
                  <a:lnTo>
                    <a:pt x="2278" y="2222"/>
                  </a:lnTo>
                  <a:lnTo>
                    <a:pt x="2277" y="2223"/>
                  </a:lnTo>
                  <a:lnTo>
                    <a:pt x="2277" y="2222"/>
                  </a:lnTo>
                  <a:lnTo>
                    <a:pt x="2278" y="2221"/>
                  </a:lnTo>
                  <a:lnTo>
                    <a:pt x="2279" y="2219"/>
                  </a:lnTo>
                  <a:lnTo>
                    <a:pt x="2278" y="2217"/>
                  </a:lnTo>
                  <a:lnTo>
                    <a:pt x="2277" y="2216"/>
                  </a:lnTo>
                  <a:lnTo>
                    <a:pt x="2277" y="2215"/>
                  </a:lnTo>
                  <a:lnTo>
                    <a:pt x="2279" y="2214"/>
                  </a:lnTo>
                  <a:lnTo>
                    <a:pt x="2284" y="2211"/>
                  </a:lnTo>
                  <a:lnTo>
                    <a:pt x="2286" y="2210"/>
                  </a:lnTo>
                  <a:lnTo>
                    <a:pt x="2285" y="2209"/>
                  </a:lnTo>
                  <a:lnTo>
                    <a:pt x="2287" y="2207"/>
                  </a:lnTo>
                  <a:lnTo>
                    <a:pt x="2287" y="2205"/>
                  </a:lnTo>
                  <a:lnTo>
                    <a:pt x="2287" y="2204"/>
                  </a:lnTo>
                  <a:lnTo>
                    <a:pt x="2285" y="2203"/>
                  </a:lnTo>
                  <a:lnTo>
                    <a:pt x="2286" y="2201"/>
                  </a:lnTo>
                  <a:lnTo>
                    <a:pt x="2286" y="2200"/>
                  </a:lnTo>
                  <a:lnTo>
                    <a:pt x="2286" y="2199"/>
                  </a:lnTo>
                  <a:lnTo>
                    <a:pt x="2285" y="2197"/>
                  </a:lnTo>
                  <a:lnTo>
                    <a:pt x="2288" y="2196"/>
                  </a:lnTo>
                  <a:lnTo>
                    <a:pt x="2290" y="2195"/>
                  </a:lnTo>
                  <a:lnTo>
                    <a:pt x="2291" y="2192"/>
                  </a:lnTo>
                  <a:lnTo>
                    <a:pt x="2292" y="2191"/>
                  </a:lnTo>
                  <a:lnTo>
                    <a:pt x="2295" y="2191"/>
                  </a:lnTo>
                  <a:lnTo>
                    <a:pt x="2297" y="2189"/>
                  </a:lnTo>
                  <a:lnTo>
                    <a:pt x="2299" y="2187"/>
                  </a:lnTo>
                  <a:lnTo>
                    <a:pt x="2299" y="2183"/>
                  </a:lnTo>
                  <a:lnTo>
                    <a:pt x="2298" y="2182"/>
                  </a:lnTo>
                  <a:lnTo>
                    <a:pt x="2295" y="2182"/>
                  </a:lnTo>
                  <a:lnTo>
                    <a:pt x="2290" y="2184"/>
                  </a:lnTo>
                  <a:lnTo>
                    <a:pt x="2287" y="2183"/>
                  </a:lnTo>
                  <a:lnTo>
                    <a:pt x="2288" y="2181"/>
                  </a:lnTo>
                  <a:lnTo>
                    <a:pt x="2290" y="2179"/>
                  </a:lnTo>
                  <a:lnTo>
                    <a:pt x="2290" y="2177"/>
                  </a:lnTo>
                  <a:lnTo>
                    <a:pt x="2292" y="2177"/>
                  </a:lnTo>
                  <a:lnTo>
                    <a:pt x="2294" y="2177"/>
                  </a:lnTo>
                  <a:lnTo>
                    <a:pt x="2296" y="2177"/>
                  </a:lnTo>
                  <a:lnTo>
                    <a:pt x="2298" y="2178"/>
                  </a:lnTo>
                  <a:lnTo>
                    <a:pt x="2297" y="2175"/>
                  </a:lnTo>
                  <a:lnTo>
                    <a:pt x="2298" y="2174"/>
                  </a:lnTo>
                  <a:lnTo>
                    <a:pt x="2299" y="2174"/>
                  </a:lnTo>
                  <a:lnTo>
                    <a:pt x="2301" y="2174"/>
                  </a:lnTo>
                  <a:lnTo>
                    <a:pt x="2302" y="2173"/>
                  </a:lnTo>
                  <a:lnTo>
                    <a:pt x="2303" y="2171"/>
                  </a:lnTo>
                  <a:lnTo>
                    <a:pt x="2304" y="2167"/>
                  </a:lnTo>
                  <a:lnTo>
                    <a:pt x="2302" y="2167"/>
                  </a:lnTo>
                  <a:lnTo>
                    <a:pt x="2302" y="2165"/>
                  </a:lnTo>
                  <a:lnTo>
                    <a:pt x="2304" y="2163"/>
                  </a:lnTo>
                  <a:lnTo>
                    <a:pt x="2305" y="2162"/>
                  </a:lnTo>
                  <a:lnTo>
                    <a:pt x="2306" y="2161"/>
                  </a:lnTo>
                  <a:lnTo>
                    <a:pt x="2307" y="2160"/>
                  </a:lnTo>
                  <a:lnTo>
                    <a:pt x="2307" y="2144"/>
                  </a:lnTo>
                  <a:lnTo>
                    <a:pt x="2306" y="2130"/>
                  </a:lnTo>
                  <a:lnTo>
                    <a:pt x="2307" y="2115"/>
                  </a:lnTo>
                  <a:lnTo>
                    <a:pt x="2307" y="2108"/>
                  </a:lnTo>
                  <a:lnTo>
                    <a:pt x="2308" y="2106"/>
                  </a:lnTo>
                  <a:lnTo>
                    <a:pt x="2311" y="2103"/>
                  </a:lnTo>
                  <a:lnTo>
                    <a:pt x="2321" y="2088"/>
                  </a:lnTo>
                  <a:lnTo>
                    <a:pt x="2324" y="2082"/>
                  </a:lnTo>
                  <a:lnTo>
                    <a:pt x="2326" y="2079"/>
                  </a:lnTo>
                  <a:lnTo>
                    <a:pt x="2330" y="2075"/>
                  </a:lnTo>
                  <a:lnTo>
                    <a:pt x="2331" y="2074"/>
                  </a:lnTo>
                  <a:lnTo>
                    <a:pt x="2331" y="2072"/>
                  </a:lnTo>
                  <a:lnTo>
                    <a:pt x="2332" y="2068"/>
                  </a:lnTo>
                  <a:lnTo>
                    <a:pt x="2332" y="2066"/>
                  </a:lnTo>
                  <a:lnTo>
                    <a:pt x="2331" y="2061"/>
                  </a:lnTo>
                  <a:lnTo>
                    <a:pt x="2332" y="2035"/>
                  </a:lnTo>
                  <a:close/>
                  <a:moveTo>
                    <a:pt x="1805" y="1878"/>
                  </a:moveTo>
                  <a:lnTo>
                    <a:pt x="1804" y="1878"/>
                  </a:lnTo>
                  <a:lnTo>
                    <a:pt x="1804" y="1880"/>
                  </a:lnTo>
                  <a:lnTo>
                    <a:pt x="1802" y="1880"/>
                  </a:lnTo>
                  <a:lnTo>
                    <a:pt x="1802" y="1880"/>
                  </a:lnTo>
                  <a:lnTo>
                    <a:pt x="1801" y="1880"/>
                  </a:lnTo>
                  <a:lnTo>
                    <a:pt x="1801" y="1881"/>
                  </a:lnTo>
                  <a:lnTo>
                    <a:pt x="1799" y="1881"/>
                  </a:lnTo>
                  <a:lnTo>
                    <a:pt x="1795" y="1881"/>
                  </a:lnTo>
                  <a:lnTo>
                    <a:pt x="1793" y="1882"/>
                  </a:lnTo>
                  <a:lnTo>
                    <a:pt x="1793" y="1883"/>
                  </a:lnTo>
                  <a:lnTo>
                    <a:pt x="1797" y="1885"/>
                  </a:lnTo>
                  <a:lnTo>
                    <a:pt x="1799" y="1886"/>
                  </a:lnTo>
                  <a:lnTo>
                    <a:pt x="1801" y="1885"/>
                  </a:lnTo>
                  <a:lnTo>
                    <a:pt x="1803" y="1884"/>
                  </a:lnTo>
                  <a:lnTo>
                    <a:pt x="1807" y="1883"/>
                  </a:lnTo>
                  <a:lnTo>
                    <a:pt x="1807" y="1879"/>
                  </a:lnTo>
                  <a:lnTo>
                    <a:pt x="1805" y="1878"/>
                  </a:lnTo>
                  <a:close/>
                  <a:moveTo>
                    <a:pt x="619" y="1219"/>
                  </a:moveTo>
                  <a:lnTo>
                    <a:pt x="617" y="1217"/>
                  </a:lnTo>
                  <a:lnTo>
                    <a:pt x="615" y="1217"/>
                  </a:lnTo>
                  <a:lnTo>
                    <a:pt x="612" y="1218"/>
                  </a:lnTo>
                  <a:lnTo>
                    <a:pt x="611" y="1217"/>
                  </a:lnTo>
                  <a:lnTo>
                    <a:pt x="607" y="1213"/>
                  </a:lnTo>
                  <a:lnTo>
                    <a:pt x="602" y="1209"/>
                  </a:lnTo>
                  <a:lnTo>
                    <a:pt x="596" y="1206"/>
                  </a:lnTo>
                  <a:lnTo>
                    <a:pt x="592" y="1205"/>
                  </a:lnTo>
                  <a:lnTo>
                    <a:pt x="595" y="1213"/>
                  </a:lnTo>
                  <a:lnTo>
                    <a:pt x="597" y="1219"/>
                  </a:lnTo>
                  <a:lnTo>
                    <a:pt x="596" y="1221"/>
                  </a:lnTo>
                  <a:lnTo>
                    <a:pt x="596" y="1223"/>
                  </a:lnTo>
                  <a:lnTo>
                    <a:pt x="599" y="1227"/>
                  </a:lnTo>
                  <a:lnTo>
                    <a:pt x="602" y="1232"/>
                  </a:lnTo>
                  <a:lnTo>
                    <a:pt x="605" y="1234"/>
                  </a:lnTo>
                  <a:lnTo>
                    <a:pt x="615" y="1244"/>
                  </a:lnTo>
                  <a:lnTo>
                    <a:pt x="616" y="1248"/>
                  </a:lnTo>
                  <a:lnTo>
                    <a:pt x="618" y="1251"/>
                  </a:lnTo>
                  <a:lnTo>
                    <a:pt x="620" y="1258"/>
                  </a:lnTo>
                  <a:lnTo>
                    <a:pt x="623" y="1260"/>
                  </a:lnTo>
                  <a:lnTo>
                    <a:pt x="625" y="1256"/>
                  </a:lnTo>
                  <a:lnTo>
                    <a:pt x="627" y="1250"/>
                  </a:lnTo>
                  <a:lnTo>
                    <a:pt x="628" y="1241"/>
                  </a:lnTo>
                  <a:lnTo>
                    <a:pt x="628" y="1239"/>
                  </a:lnTo>
                  <a:lnTo>
                    <a:pt x="626" y="1237"/>
                  </a:lnTo>
                  <a:lnTo>
                    <a:pt x="622" y="1234"/>
                  </a:lnTo>
                  <a:lnTo>
                    <a:pt x="620" y="1232"/>
                  </a:lnTo>
                  <a:lnTo>
                    <a:pt x="621" y="1230"/>
                  </a:lnTo>
                  <a:lnTo>
                    <a:pt x="621" y="1229"/>
                  </a:lnTo>
                  <a:lnTo>
                    <a:pt x="619" y="1227"/>
                  </a:lnTo>
                  <a:lnTo>
                    <a:pt x="619" y="1225"/>
                  </a:lnTo>
                  <a:lnTo>
                    <a:pt x="620" y="1222"/>
                  </a:lnTo>
                  <a:lnTo>
                    <a:pt x="619" y="1219"/>
                  </a:lnTo>
                  <a:close/>
                  <a:moveTo>
                    <a:pt x="581" y="1163"/>
                  </a:moveTo>
                  <a:lnTo>
                    <a:pt x="582" y="1162"/>
                  </a:lnTo>
                  <a:lnTo>
                    <a:pt x="582" y="1160"/>
                  </a:lnTo>
                  <a:lnTo>
                    <a:pt x="581" y="1159"/>
                  </a:lnTo>
                  <a:lnTo>
                    <a:pt x="580" y="1158"/>
                  </a:lnTo>
                  <a:lnTo>
                    <a:pt x="577" y="1158"/>
                  </a:lnTo>
                  <a:lnTo>
                    <a:pt x="568" y="1160"/>
                  </a:lnTo>
                  <a:lnTo>
                    <a:pt x="568" y="1161"/>
                  </a:lnTo>
                  <a:lnTo>
                    <a:pt x="569" y="1163"/>
                  </a:lnTo>
                  <a:lnTo>
                    <a:pt x="576" y="1170"/>
                  </a:lnTo>
                  <a:lnTo>
                    <a:pt x="578" y="1171"/>
                  </a:lnTo>
                  <a:lnTo>
                    <a:pt x="587" y="1170"/>
                  </a:lnTo>
                  <a:lnTo>
                    <a:pt x="603" y="1180"/>
                  </a:lnTo>
                  <a:lnTo>
                    <a:pt x="610" y="1181"/>
                  </a:lnTo>
                  <a:lnTo>
                    <a:pt x="611" y="1181"/>
                  </a:lnTo>
                  <a:lnTo>
                    <a:pt x="611" y="1182"/>
                  </a:lnTo>
                  <a:lnTo>
                    <a:pt x="613" y="1181"/>
                  </a:lnTo>
                  <a:lnTo>
                    <a:pt x="614" y="1180"/>
                  </a:lnTo>
                  <a:lnTo>
                    <a:pt x="616" y="1180"/>
                  </a:lnTo>
                  <a:lnTo>
                    <a:pt x="614" y="1176"/>
                  </a:lnTo>
                  <a:lnTo>
                    <a:pt x="611" y="1173"/>
                  </a:lnTo>
                  <a:lnTo>
                    <a:pt x="607" y="1170"/>
                  </a:lnTo>
                  <a:lnTo>
                    <a:pt x="591" y="1168"/>
                  </a:lnTo>
                  <a:lnTo>
                    <a:pt x="588" y="1166"/>
                  </a:lnTo>
                  <a:lnTo>
                    <a:pt x="588" y="1165"/>
                  </a:lnTo>
                  <a:lnTo>
                    <a:pt x="591" y="1165"/>
                  </a:lnTo>
                  <a:lnTo>
                    <a:pt x="591" y="1163"/>
                  </a:lnTo>
                  <a:lnTo>
                    <a:pt x="587" y="1164"/>
                  </a:lnTo>
                  <a:lnTo>
                    <a:pt x="582" y="1166"/>
                  </a:lnTo>
                  <a:lnTo>
                    <a:pt x="578" y="1166"/>
                  </a:lnTo>
                  <a:lnTo>
                    <a:pt x="575" y="1161"/>
                  </a:lnTo>
                  <a:lnTo>
                    <a:pt x="577" y="1161"/>
                  </a:lnTo>
                  <a:lnTo>
                    <a:pt x="581" y="1163"/>
                  </a:lnTo>
                  <a:close/>
                  <a:moveTo>
                    <a:pt x="450" y="1053"/>
                  </a:moveTo>
                  <a:lnTo>
                    <a:pt x="444" y="1050"/>
                  </a:lnTo>
                  <a:lnTo>
                    <a:pt x="440" y="1049"/>
                  </a:lnTo>
                  <a:lnTo>
                    <a:pt x="438" y="1050"/>
                  </a:lnTo>
                  <a:lnTo>
                    <a:pt x="436" y="1052"/>
                  </a:lnTo>
                  <a:lnTo>
                    <a:pt x="438" y="1056"/>
                  </a:lnTo>
                  <a:lnTo>
                    <a:pt x="451" y="1056"/>
                  </a:lnTo>
                  <a:lnTo>
                    <a:pt x="454" y="1057"/>
                  </a:lnTo>
                  <a:lnTo>
                    <a:pt x="453" y="1055"/>
                  </a:lnTo>
                  <a:lnTo>
                    <a:pt x="450" y="1053"/>
                  </a:lnTo>
                  <a:close/>
                  <a:moveTo>
                    <a:pt x="474" y="998"/>
                  </a:moveTo>
                  <a:lnTo>
                    <a:pt x="473" y="996"/>
                  </a:lnTo>
                  <a:lnTo>
                    <a:pt x="467" y="993"/>
                  </a:lnTo>
                  <a:lnTo>
                    <a:pt x="465" y="991"/>
                  </a:lnTo>
                  <a:lnTo>
                    <a:pt x="465" y="988"/>
                  </a:lnTo>
                  <a:lnTo>
                    <a:pt x="466" y="984"/>
                  </a:lnTo>
                  <a:lnTo>
                    <a:pt x="465" y="982"/>
                  </a:lnTo>
                  <a:lnTo>
                    <a:pt x="462" y="980"/>
                  </a:lnTo>
                  <a:lnTo>
                    <a:pt x="459" y="979"/>
                  </a:lnTo>
                  <a:lnTo>
                    <a:pt x="450" y="980"/>
                  </a:lnTo>
                  <a:lnTo>
                    <a:pt x="453" y="984"/>
                  </a:lnTo>
                  <a:lnTo>
                    <a:pt x="455" y="992"/>
                  </a:lnTo>
                  <a:lnTo>
                    <a:pt x="458" y="996"/>
                  </a:lnTo>
                  <a:lnTo>
                    <a:pt x="462" y="994"/>
                  </a:lnTo>
                  <a:lnTo>
                    <a:pt x="466" y="996"/>
                  </a:lnTo>
                  <a:lnTo>
                    <a:pt x="470" y="1002"/>
                  </a:lnTo>
                  <a:lnTo>
                    <a:pt x="472" y="1007"/>
                  </a:lnTo>
                  <a:lnTo>
                    <a:pt x="474" y="1009"/>
                  </a:lnTo>
                  <a:lnTo>
                    <a:pt x="475" y="1005"/>
                  </a:lnTo>
                  <a:lnTo>
                    <a:pt x="475" y="1001"/>
                  </a:lnTo>
                  <a:lnTo>
                    <a:pt x="474" y="998"/>
                  </a:lnTo>
                  <a:close/>
                  <a:moveTo>
                    <a:pt x="322" y="911"/>
                  </a:moveTo>
                  <a:lnTo>
                    <a:pt x="320" y="911"/>
                  </a:lnTo>
                  <a:lnTo>
                    <a:pt x="315" y="905"/>
                  </a:lnTo>
                  <a:lnTo>
                    <a:pt x="314" y="904"/>
                  </a:lnTo>
                  <a:lnTo>
                    <a:pt x="310" y="901"/>
                  </a:lnTo>
                  <a:lnTo>
                    <a:pt x="303" y="897"/>
                  </a:lnTo>
                  <a:lnTo>
                    <a:pt x="301" y="897"/>
                  </a:lnTo>
                  <a:lnTo>
                    <a:pt x="300" y="896"/>
                  </a:lnTo>
                  <a:lnTo>
                    <a:pt x="299" y="896"/>
                  </a:lnTo>
                  <a:lnTo>
                    <a:pt x="298" y="897"/>
                  </a:lnTo>
                  <a:lnTo>
                    <a:pt x="297" y="898"/>
                  </a:lnTo>
                  <a:lnTo>
                    <a:pt x="298" y="902"/>
                  </a:lnTo>
                  <a:lnTo>
                    <a:pt x="299" y="906"/>
                  </a:lnTo>
                  <a:lnTo>
                    <a:pt x="301" y="909"/>
                  </a:lnTo>
                  <a:lnTo>
                    <a:pt x="300" y="913"/>
                  </a:lnTo>
                  <a:lnTo>
                    <a:pt x="303" y="915"/>
                  </a:lnTo>
                  <a:lnTo>
                    <a:pt x="311" y="917"/>
                  </a:lnTo>
                  <a:lnTo>
                    <a:pt x="324" y="919"/>
                  </a:lnTo>
                  <a:lnTo>
                    <a:pt x="328" y="917"/>
                  </a:lnTo>
                  <a:lnTo>
                    <a:pt x="328" y="913"/>
                  </a:lnTo>
                  <a:lnTo>
                    <a:pt x="327" y="911"/>
                  </a:lnTo>
                  <a:lnTo>
                    <a:pt x="322" y="911"/>
                  </a:lnTo>
                  <a:close/>
                  <a:moveTo>
                    <a:pt x="14" y="641"/>
                  </a:moveTo>
                  <a:lnTo>
                    <a:pt x="13" y="640"/>
                  </a:lnTo>
                  <a:lnTo>
                    <a:pt x="13" y="640"/>
                  </a:lnTo>
                  <a:lnTo>
                    <a:pt x="10" y="638"/>
                  </a:lnTo>
                  <a:lnTo>
                    <a:pt x="6" y="639"/>
                  </a:lnTo>
                  <a:lnTo>
                    <a:pt x="0" y="643"/>
                  </a:lnTo>
                  <a:lnTo>
                    <a:pt x="0" y="645"/>
                  </a:lnTo>
                  <a:lnTo>
                    <a:pt x="4" y="643"/>
                  </a:lnTo>
                  <a:lnTo>
                    <a:pt x="5" y="644"/>
                  </a:lnTo>
                  <a:lnTo>
                    <a:pt x="6" y="646"/>
                  </a:lnTo>
                  <a:lnTo>
                    <a:pt x="6" y="646"/>
                  </a:lnTo>
                  <a:lnTo>
                    <a:pt x="5" y="646"/>
                  </a:lnTo>
                  <a:lnTo>
                    <a:pt x="4" y="646"/>
                  </a:lnTo>
                  <a:lnTo>
                    <a:pt x="4" y="648"/>
                  </a:lnTo>
                  <a:lnTo>
                    <a:pt x="7" y="647"/>
                  </a:lnTo>
                  <a:lnTo>
                    <a:pt x="15" y="643"/>
                  </a:lnTo>
                  <a:lnTo>
                    <a:pt x="15" y="641"/>
                  </a:lnTo>
                  <a:lnTo>
                    <a:pt x="14" y="641"/>
                  </a:lnTo>
                  <a:lnTo>
                    <a:pt x="14" y="641"/>
                  </a:lnTo>
                  <a:close/>
                  <a:moveTo>
                    <a:pt x="2099" y="520"/>
                  </a:moveTo>
                  <a:lnTo>
                    <a:pt x="2074" y="506"/>
                  </a:lnTo>
                  <a:lnTo>
                    <a:pt x="2071" y="506"/>
                  </a:lnTo>
                  <a:lnTo>
                    <a:pt x="2062" y="507"/>
                  </a:lnTo>
                  <a:lnTo>
                    <a:pt x="2049" y="503"/>
                  </a:lnTo>
                  <a:lnTo>
                    <a:pt x="2047" y="503"/>
                  </a:lnTo>
                  <a:lnTo>
                    <a:pt x="2043" y="505"/>
                  </a:lnTo>
                  <a:lnTo>
                    <a:pt x="2041" y="506"/>
                  </a:lnTo>
                  <a:lnTo>
                    <a:pt x="2040" y="506"/>
                  </a:lnTo>
                  <a:lnTo>
                    <a:pt x="2036" y="505"/>
                  </a:lnTo>
                  <a:lnTo>
                    <a:pt x="2034" y="504"/>
                  </a:lnTo>
                  <a:lnTo>
                    <a:pt x="2033" y="505"/>
                  </a:lnTo>
                  <a:lnTo>
                    <a:pt x="2031" y="505"/>
                  </a:lnTo>
                  <a:lnTo>
                    <a:pt x="2029" y="506"/>
                  </a:lnTo>
                  <a:lnTo>
                    <a:pt x="2028" y="506"/>
                  </a:lnTo>
                  <a:lnTo>
                    <a:pt x="2027" y="505"/>
                  </a:lnTo>
                  <a:lnTo>
                    <a:pt x="2025" y="504"/>
                  </a:lnTo>
                  <a:lnTo>
                    <a:pt x="2023" y="501"/>
                  </a:lnTo>
                  <a:lnTo>
                    <a:pt x="2023" y="500"/>
                  </a:lnTo>
                  <a:lnTo>
                    <a:pt x="2019" y="498"/>
                  </a:lnTo>
                  <a:lnTo>
                    <a:pt x="2012" y="496"/>
                  </a:lnTo>
                  <a:lnTo>
                    <a:pt x="2008" y="494"/>
                  </a:lnTo>
                  <a:lnTo>
                    <a:pt x="2006" y="492"/>
                  </a:lnTo>
                  <a:lnTo>
                    <a:pt x="2003" y="486"/>
                  </a:lnTo>
                  <a:lnTo>
                    <a:pt x="2001" y="484"/>
                  </a:lnTo>
                  <a:lnTo>
                    <a:pt x="2001" y="483"/>
                  </a:lnTo>
                  <a:lnTo>
                    <a:pt x="2001" y="482"/>
                  </a:lnTo>
                  <a:lnTo>
                    <a:pt x="2003" y="481"/>
                  </a:lnTo>
                  <a:lnTo>
                    <a:pt x="2001" y="478"/>
                  </a:lnTo>
                  <a:lnTo>
                    <a:pt x="1999" y="477"/>
                  </a:lnTo>
                  <a:lnTo>
                    <a:pt x="1992" y="476"/>
                  </a:lnTo>
                  <a:lnTo>
                    <a:pt x="1991" y="474"/>
                  </a:lnTo>
                  <a:lnTo>
                    <a:pt x="1988" y="473"/>
                  </a:lnTo>
                  <a:lnTo>
                    <a:pt x="1985" y="474"/>
                  </a:lnTo>
                  <a:lnTo>
                    <a:pt x="1984" y="475"/>
                  </a:lnTo>
                  <a:lnTo>
                    <a:pt x="1981" y="476"/>
                  </a:lnTo>
                  <a:lnTo>
                    <a:pt x="1981" y="477"/>
                  </a:lnTo>
                  <a:lnTo>
                    <a:pt x="1979" y="481"/>
                  </a:lnTo>
                  <a:lnTo>
                    <a:pt x="1979" y="482"/>
                  </a:lnTo>
                  <a:lnTo>
                    <a:pt x="1978" y="483"/>
                  </a:lnTo>
                  <a:lnTo>
                    <a:pt x="1974" y="483"/>
                  </a:lnTo>
                  <a:lnTo>
                    <a:pt x="1973" y="484"/>
                  </a:lnTo>
                  <a:lnTo>
                    <a:pt x="1972" y="485"/>
                  </a:lnTo>
                  <a:lnTo>
                    <a:pt x="1970" y="488"/>
                  </a:lnTo>
                  <a:lnTo>
                    <a:pt x="1969" y="489"/>
                  </a:lnTo>
                  <a:lnTo>
                    <a:pt x="1968" y="489"/>
                  </a:lnTo>
                  <a:lnTo>
                    <a:pt x="1964" y="487"/>
                  </a:lnTo>
                  <a:lnTo>
                    <a:pt x="1950" y="487"/>
                  </a:lnTo>
                  <a:lnTo>
                    <a:pt x="1948" y="486"/>
                  </a:lnTo>
                  <a:lnTo>
                    <a:pt x="1945" y="485"/>
                  </a:lnTo>
                  <a:lnTo>
                    <a:pt x="1939" y="480"/>
                  </a:lnTo>
                  <a:lnTo>
                    <a:pt x="1939" y="480"/>
                  </a:lnTo>
                  <a:lnTo>
                    <a:pt x="1937" y="482"/>
                  </a:lnTo>
                  <a:lnTo>
                    <a:pt x="1937" y="483"/>
                  </a:lnTo>
                  <a:lnTo>
                    <a:pt x="1938" y="484"/>
                  </a:lnTo>
                  <a:lnTo>
                    <a:pt x="1937" y="486"/>
                  </a:lnTo>
                  <a:lnTo>
                    <a:pt x="1933" y="489"/>
                  </a:lnTo>
                  <a:lnTo>
                    <a:pt x="1929" y="486"/>
                  </a:lnTo>
                  <a:lnTo>
                    <a:pt x="1927" y="479"/>
                  </a:lnTo>
                  <a:lnTo>
                    <a:pt x="1927" y="471"/>
                  </a:lnTo>
                  <a:lnTo>
                    <a:pt x="1924" y="471"/>
                  </a:lnTo>
                  <a:lnTo>
                    <a:pt x="1914" y="465"/>
                  </a:lnTo>
                  <a:lnTo>
                    <a:pt x="1912" y="465"/>
                  </a:lnTo>
                  <a:lnTo>
                    <a:pt x="1908" y="465"/>
                  </a:lnTo>
                  <a:lnTo>
                    <a:pt x="1901" y="463"/>
                  </a:lnTo>
                  <a:lnTo>
                    <a:pt x="1899" y="464"/>
                  </a:lnTo>
                  <a:lnTo>
                    <a:pt x="1898" y="467"/>
                  </a:lnTo>
                  <a:lnTo>
                    <a:pt x="1900" y="471"/>
                  </a:lnTo>
                  <a:lnTo>
                    <a:pt x="1900" y="475"/>
                  </a:lnTo>
                  <a:lnTo>
                    <a:pt x="1897" y="479"/>
                  </a:lnTo>
                  <a:lnTo>
                    <a:pt x="1896" y="479"/>
                  </a:lnTo>
                  <a:lnTo>
                    <a:pt x="1889" y="477"/>
                  </a:lnTo>
                  <a:lnTo>
                    <a:pt x="1882" y="477"/>
                  </a:lnTo>
                  <a:lnTo>
                    <a:pt x="1880" y="476"/>
                  </a:lnTo>
                  <a:lnTo>
                    <a:pt x="1878" y="473"/>
                  </a:lnTo>
                  <a:lnTo>
                    <a:pt x="1879" y="470"/>
                  </a:lnTo>
                  <a:lnTo>
                    <a:pt x="1880" y="467"/>
                  </a:lnTo>
                  <a:lnTo>
                    <a:pt x="1879" y="463"/>
                  </a:lnTo>
                  <a:lnTo>
                    <a:pt x="1878" y="463"/>
                  </a:lnTo>
                  <a:lnTo>
                    <a:pt x="1876" y="464"/>
                  </a:lnTo>
                  <a:lnTo>
                    <a:pt x="1875" y="464"/>
                  </a:lnTo>
                  <a:lnTo>
                    <a:pt x="1875" y="463"/>
                  </a:lnTo>
                  <a:lnTo>
                    <a:pt x="1874" y="461"/>
                  </a:lnTo>
                  <a:lnTo>
                    <a:pt x="1874" y="461"/>
                  </a:lnTo>
                  <a:lnTo>
                    <a:pt x="1874" y="460"/>
                  </a:lnTo>
                  <a:lnTo>
                    <a:pt x="1872" y="456"/>
                  </a:lnTo>
                  <a:lnTo>
                    <a:pt x="1872" y="455"/>
                  </a:lnTo>
                  <a:lnTo>
                    <a:pt x="1870" y="454"/>
                  </a:lnTo>
                  <a:lnTo>
                    <a:pt x="1869" y="453"/>
                  </a:lnTo>
                  <a:lnTo>
                    <a:pt x="1868" y="452"/>
                  </a:lnTo>
                  <a:lnTo>
                    <a:pt x="1869" y="450"/>
                  </a:lnTo>
                  <a:lnTo>
                    <a:pt x="1869" y="449"/>
                  </a:lnTo>
                  <a:lnTo>
                    <a:pt x="1858" y="439"/>
                  </a:lnTo>
                  <a:lnTo>
                    <a:pt x="1855" y="436"/>
                  </a:lnTo>
                  <a:lnTo>
                    <a:pt x="1854" y="433"/>
                  </a:lnTo>
                  <a:lnTo>
                    <a:pt x="1855" y="431"/>
                  </a:lnTo>
                  <a:lnTo>
                    <a:pt x="1858" y="430"/>
                  </a:lnTo>
                  <a:lnTo>
                    <a:pt x="1859" y="428"/>
                  </a:lnTo>
                  <a:lnTo>
                    <a:pt x="1858" y="427"/>
                  </a:lnTo>
                  <a:lnTo>
                    <a:pt x="1851" y="419"/>
                  </a:lnTo>
                  <a:lnTo>
                    <a:pt x="1849" y="417"/>
                  </a:lnTo>
                  <a:lnTo>
                    <a:pt x="1850" y="417"/>
                  </a:lnTo>
                  <a:lnTo>
                    <a:pt x="1850" y="416"/>
                  </a:lnTo>
                  <a:lnTo>
                    <a:pt x="1849" y="414"/>
                  </a:lnTo>
                  <a:lnTo>
                    <a:pt x="1848" y="412"/>
                  </a:lnTo>
                  <a:lnTo>
                    <a:pt x="1846" y="409"/>
                  </a:lnTo>
                  <a:lnTo>
                    <a:pt x="1831" y="402"/>
                  </a:lnTo>
                  <a:lnTo>
                    <a:pt x="1829" y="401"/>
                  </a:lnTo>
                  <a:lnTo>
                    <a:pt x="1828" y="402"/>
                  </a:lnTo>
                  <a:lnTo>
                    <a:pt x="1825" y="404"/>
                  </a:lnTo>
                  <a:lnTo>
                    <a:pt x="1823" y="404"/>
                  </a:lnTo>
                  <a:lnTo>
                    <a:pt x="1822" y="404"/>
                  </a:lnTo>
                  <a:lnTo>
                    <a:pt x="1819" y="404"/>
                  </a:lnTo>
                  <a:lnTo>
                    <a:pt x="1814" y="402"/>
                  </a:lnTo>
                  <a:lnTo>
                    <a:pt x="1807" y="396"/>
                  </a:lnTo>
                  <a:lnTo>
                    <a:pt x="1807" y="396"/>
                  </a:lnTo>
                  <a:lnTo>
                    <a:pt x="1802" y="394"/>
                  </a:lnTo>
                  <a:lnTo>
                    <a:pt x="1798" y="393"/>
                  </a:lnTo>
                  <a:lnTo>
                    <a:pt x="1789" y="394"/>
                  </a:lnTo>
                  <a:lnTo>
                    <a:pt x="1790" y="397"/>
                  </a:lnTo>
                  <a:lnTo>
                    <a:pt x="1785" y="397"/>
                  </a:lnTo>
                  <a:lnTo>
                    <a:pt x="1784" y="398"/>
                  </a:lnTo>
                  <a:lnTo>
                    <a:pt x="1783" y="399"/>
                  </a:lnTo>
                  <a:lnTo>
                    <a:pt x="1783" y="401"/>
                  </a:lnTo>
                  <a:lnTo>
                    <a:pt x="1783" y="402"/>
                  </a:lnTo>
                  <a:lnTo>
                    <a:pt x="1781" y="402"/>
                  </a:lnTo>
                  <a:lnTo>
                    <a:pt x="1779" y="405"/>
                  </a:lnTo>
                  <a:lnTo>
                    <a:pt x="1777" y="406"/>
                  </a:lnTo>
                  <a:lnTo>
                    <a:pt x="1764" y="407"/>
                  </a:lnTo>
                  <a:lnTo>
                    <a:pt x="1761" y="407"/>
                  </a:lnTo>
                  <a:lnTo>
                    <a:pt x="1759" y="401"/>
                  </a:lnTo>
                  <a:lnTo>
                    <a:pt x="1756" y="398"/>
                  </a:lnTo>
                  <a:lnTo>
                    <a:pt x="1745" y="395"/>
                  </a:lnTo>
                  <a:lnTo>
                    <a:pt x="1742" y="393"/>
                  </a:lnTo>
                  <a:lnTo>
                    <a:pt x="1739" y="391"/>
                  </a:lnTo>
                  <a:lnTo>
                    <a:pt x="1734" y="384"/>
                  </a:lnTo>
                  <a:lnTo>
                    <a:pt x="1732" y="384"/>
                  </a:lnTo>
                  <a:lnTo>
                    <a:pt x="1729" y="382"/>
                  </a:lnTo>
                  <a:lnTo>
                    <a:pt x="1727" y="381"/>
                  </a:lnTo>
                  <a:lnTo>
                    <a:pt x="1725" y="382"/>
                  </a:lnTo>
                  <a:lnTo>
                    <a:pt x="1723" y="385"/>
                  </a:lnTo>
                  <a:lnTo>
                    <a:pt x="1721" y="386"/>
                  </a:lnTo>
                  <a:lnTo>
                    <a:pt x="1718" y="385"/>
                  </a:lnTo>
                  <a:lnTo>
                    <a:pt x="1714" y="383"/>
                  </a:lnTo>
                  <a:lnTo>
                    <a:pt x="1711" y="383"/>
                  </a:lnTo>
                  <a:lnTo>
                    <a:pt x="1707" y="385"/>
                  </a:lnTo>
                  <a:lnTo>
                    <a:pt x="1705" y="387"/>
                  </a:lnTo>
                  <a:lnTo>
                    <a:pt x="1705" y="389"/>
                  </a:lnTo>
                  <a:lnTo>
                    <a:pt x="1704" y="390"/>
                  </a:lnTo>
                  <a:lnTo>
                    <a:pt x="1701" y="390"/>
                  </a:lnTo>
                  <a:lnTo>
                    <a:pt x="1700" y="390"/>
                  </a:lnTo>
                  <a:lnTo>
                    <a:pt x="1695" y="388"/>
                  </a:lnTo>
                  <a:lnTo>
                    <a:pt x="1692" y="389"/>
                  </a:lnTo>
                  <a:lnTo>
                    <a:pt x="1688" y="392"/>
                  </a:lnTo>
                  <a:lnTo>
                    <a:pt x="1684" y="394"/>
                  </a:lnTo>
                  <a:lnTo>
                    <a:pt x="1681" y="393"/>
                  </a:lnTo>
                  <a:lnTo>
                    <a:pt x="1680" y="391"/>
                  </a:lnTo>
                  <a:lnTo>
                    <a:pt x="1680" y="389"/>
                  </a:lnTo>
                  <a:lnTo>
                    <a:pt x="1681" y="387"/>
                  </a:lnTo>
                  <a:lnTo>
                    <a:pt x="1681" y="384"/>
                  </a:lnTo>
                  <a:lnTo>
                    <a:pt x="1680" y="382"/>
                  </a:lnTo>
                  <a:lnTo>
                    <a:pt x="1672" y="368"/>
                  </a:lnTo>
                  <a:lnTo>
                    <a:pt x="1671" y="367"/>
                  </a:lnTo>
                  <a:lnTo>
                    <a:pt x="1669" y="366"/>
                  </a:lnTo>
                  <a:lnTo>
                    <a:pt x="1664" y="364"/>
                  </a:lnTo>
                  <a:lnTo>
                    <a:pt x="1662" y="363"/>
                  </a:lnTo>
                  <a:lnTo>
                    <a:pt x="1661" y="363"/>
                  </a:lnTo>
                  <a:lnTo>
                    <a:pt x="1661" y="363"/>
                  </a:lnTo>
                  <a:lnTo>
                    <a:pt x="1660" y="364"/>
                  </a:lnTo>
                  <a:lnTo>
                    <a:pt x="1659" y="366"/>
                  </a:lnTo>
                  <a:lnTo>
                    <a:pt x="1658" y="366"/>
                  </a:lnTo>
                  <a:lnTo>
                    <a:pt x="1656" y="366"/>
                  </a:lnTo>
                  <a:lnTo>
                    <a:pt x="1655" y="365"/>
                  </a:lnTo>
                  <a:lnTo>
                    <a:pt x="1654" y="363"/>
                  </a:lnTo>
                  <a:lnTo>
                    <a:pt x="1655" y="359"/>
                  </a:lnTo>
                  <a:lnTo>
                    <a:pt x="1656" y="358"/>
                  </a:lnTo>
                  <a:lnTo>
                    <a:pt x="1657" y="357"/>
                  </a:lnTo>
                  <a:lnTo>
                    <a:pt x="1656" y="354"/>
                  </a:lnTo>
                  <a:lnTo>
                    <a:pt x="1653" y="350"/>
                  </a:lnTo>
                  <a:lnTo>
                    <a:pt x="1649" y="347"/>
                  </a:lnTo>
                  <a:lnTo>
                    <a:pt x="1646" y="347"/>
                  </a:lnTo>
                  <a:lnTo>
                    <a:pt x="1639" y="349"/>
                  </a:lnTo>
                  <a:lnTo>
                    <a:pt x="1635" y="348"/>
                  </a:lnTo>
                  <a:lnTo>
                    <a:pt x="1632" y="345"/>
                  </a:lnTo>
                  <a:lnTo>
                    <a:pt x="1630" y="343"/>
                  </a:lnTo>
                  <a:lnTo>
                    <a:pt x="1623" y="333"/>
                  </a:lnTo>
                  <a:lnTo>
                    <a:pt x="1621" y="332"/>
                  </a:lnTo>
                  <a:lnTo>
                    <a:pt x="1616" y="330"/>
                  </a:lnTo>
                  <a:lnTo>
                    <a:pt x="1613" y="328"/>
                  </a:lnTo>
                  <a:lnTo>
                    <a:pt x="1607" y="322"/>
                  </a:lnTo>
                  <a:lnTo>
                    <a:pt x="1604" y="321"/>
                  </a:lnTo>
                  <a:lnTo>
                    <a:pt x="1603" y="321"/>
                  </a:lnTo>
                  <a:lnTo>
                    <a:pt x="1600" y="321"/>
                  </a:lnTo>
                  <a:lnTo>
                    <a:pt x="1593" y="323"/>
                  </a:lnTo>
                  <a:lnTo>
                    <a:pt x="1590" y="324"/>
                  </a:lnTo>
                  <a:lnTo>
                    <a:pt x="1586" y="323"/>
                  </a:lnTo>
                  <a:lnTo>
                    <a:pt x="1584" y="321"/>
                  </a:lnTo>
                  <a:lnTo>
                    <a:pt x="1584" y="312"/>
                  </a:lnTo>
                  <a:lnTo>
                    <a:pt x="1584" y="311"/>
                  </a:lnTo>
                  <a:lnTo>
                    <a:pt x="1583" y="308"/>
                  </a:lnTo>
                  <a:lnTo>
                    <a:pt x="1582" y="307"/>
                  </a:lnTo>
                  <a:lnTo>
                    <a:pt x="1583" y="305"/>
                  </a:lnTo>
                  <a:lnTo>
                    <a:pt x="1584" y="304"/>
                  </a:lnTo>
                  <a:lnTo>
                    <a:pt x="1584" y="303"/>
                  </a:lnTo>
                  <a:lnTo>
                    <a:pt x="1585" y="300"/>
                  </a:lnTo>
                  <a:lnTo>
                    <a:pt x="1586" y="297"/>
                  </a:lnTo>
                  <a:lnTo>
                    <a:pt x="1586" y="295"/>
                  </a:lnTo>
                  <a:lnTo>
                    <a:pt x="1586" y="292"/>
                  </a:lnTo>
                  <a:lnTo>
                    <a:pt x="1584" y="288"/>
                  </a:lnTo>
                  <a:lnTo>
                    <a:pt x="1576" y="285"/>
                  </a:lnTo>
                  <a:lnTo>
                    <a:pt x="1574" y="281"/>
                  </a:lnTo>
                  <a:lnTo>
                    <a:pt x="1575" y="277"/>
                  </a:lnTo>
                  <a:lnTo>
                    <a:pt x="1581" y="262"/>
                  </a:lnTo>
                  <a:lnTo>
                    <a:pt x="1581" y="259"/>
                  </a:lnTo>
                  <a:lnTo>
                    <a:pt x="1581" y="257"/>
                  </a:lnTo>
                  <a:lnTo>
                    <a:pt x="1581" y="255"/>
                  </a:lnTo>
                  <a:lnTo>
                    <a:pt x="1584" y="248"/>
                  </a:lnTo>
                  <a:lnTo>
                    <a:pt x="1585" y="248"/>
                  </a:lnTo>
                  <a:lnTo>
                    <a:pt x="1587" y="250"/>
                  </a:lnTo>
                  <a:lnTo>
                    <a:pt x="1587" y="246"/>
                  </a:lnTo>
                  <a:lnTo>
                    <a:pt x="1588" y="241"/>
                  </a:lnTo>
                  <a:lnTo>
                    <a:pt x="1588" y="236"/>
                  </a:lnTo>
                  <a:lnTo>
                    <a:pt x="1587" y="234"/>
                  </a:lnTo>
                  <a:lnTo>
                    <a:pt x="1582" y="236"/>
                  </a:lnTo>
                  <a:lnTo>
                    <a:pt x="1580" y="235"/>
                  </a:lnTo>
                  <a:lnTo>
                    <a:pt x="1579" y="231"/>
                  </a:lnTo>
                  <a:lnTo>
                    <a:pt x="1575" y="233"/>
                  </a:lnTo>
                  <a:lnTo>
                    <a:pt x="1558" y="250"/>
                  </a:lnTo>
                  <a:lnTo>
                    <a:pt x="1557" y="252"/>
                  </a:lnTo>
                  <a:lnTo>
                    <a:pt x="1556" y="255"/>
                  </a:lnTo>
                  <a:lnTo>
                    <a:pt x="1557" y="256"/>
                  </a:lnTo>
                  <a:lnTo>
                    <a:pt x="1558" y="257"/>
                  </a:lnTo>
                  <a:lnTo>
                    <a:pt x="1558" y="259"/>
                  </a:lnTo>
                  <a:lnTo>
                    <a:pt x="1556" y="267"/>
                  </a:lnTo>
                  <a:lnTo>
                    <a:pt x="1555" y="271"/>
                  </a:lnTo>
                  <a:lnTo>
                    <a:pt x="1554" y="274"/>
                  </a:lnTo>
                  <a:lnTo>
                    <a:pt x="1552" y="275"/>
                  </a:lnTo>
                  <a:lnTo>
                    <a:pt x="1545" y="276"/>
                  </a:lnTo>
                  <a:lnTo>
                    <a:pt x="1523" y="287"/>
                  </a:lnTo>
                  <a:lnTo>
                    <a:pt x="1519" y="287"/>
                  </a:lnTo>
                  <a:lnTo>
                    <a:pt x="1517" y="287"/>
                  </a:lnTo>
                  <a:lnTo>
                    <a:pt x="1494" y="280"/>
                  </a:lnTo>
                  <a:lnTo>
                    <a:pt x="1484" y="282"/>
                  </a:lnTo>
                  <a:lnTo>
                    <a:pt x="1481" y="282"/>
                  </a:lnTo>
                  <a:lnTo>
                    <a:pt x="1479" y="282"/>
                  </a:lnTo>
                  <a:lnTo>
                    <a:pt x="1471" y="277"/>
                  </a:lnTo>
                  <a:lnTo>
                    <a:pt x="1471" y="277"/>
                  </a:lnTo>
                  <a:lnTo>
                    <a:pt x="1472" y="277"/>
                  </a:lnTo>
                  <a:lnTo>
                    <a:pt x="1471" y="273"/>
                  </a:lnTo>
                  <a:lnTo>
                    <a:pt x="1471" y="270"/>
                  </a:lnTo>
                  <a:lnTo>
                    <a:pt x="1470" y="269"/>
                  </a:lnTo>
                  <a:lnTo>
                    <a:pt x="1471" y="266"/>
                  </a:lnTo>
                  <a:lnTo>
                    <a:pt x="1471" y="265"/>
                  </a:lnTo>
                  <a:lnTo>
                    <a:pt x="1472" y="263"/>
                  </a:lnTo>
                  <a:lnTo>
                    <a:pt x="1476" y="261"/>
                  </a:lnTo>
                  <a:lnTo>
                    <a:pt x="1479" y="258"/>
                  </a:lnTo>
                  <a:lnTo>
                    <a:pt x="1483" y="256"/>
                  </a:lnTo>
                  <a:lnTo>
                    <a:pt x="1483" y="254"/>
                  </a:lnTo>
                  <a:lnTo>
                    <a:pt x="1482" y="252"/>
                  </a:lnTo>
                  <a:lnTo>
                    <a:pt x="1481" y="250"/>
                  </a:lnTo>
                  <a:lnTo>
                    <a:pt x="1478" y="239"/>
                  </a:lnTo>
                  <a:lnTo>
                    <a:pt x="1477" y="239"/>
                  </a:lnTo>
                  <a:lnTo>
                    <a:pt x="1475" y="239"/>
                  </a:lnTo>
                  <a:lnTo>
                    <a:pt x="1472" y="240"/>
                  </a:lnTo>
                  <a:lnTo>
                    <a:pt x="1470" y="239"/>
                  </a:lnTo>
                  <a:lnTo>
                    <a:pt x="1470" y="235"/>
                  </a:lnTo>
                  <a:lnTo>
                    <a:pt x="1473" y="225"/>
                  </a:lnTo>
                  <a:lnTo>
                    <a:pt x="1474" y="220"/>
                  </a:lnTo>
                  <a:lnTo>
                    <a:pt x="1475" y="218"/>
                  </a:lnTo>
                  <a:lnTo>
                    <a:pt x="1476" y="216"/>
                  </a:lnTo>
                  <a:lnTo>
                    <a:pt x="1480" y="213"/>
                  </a:lnTo>
                  <a:lnTo>
                    <a:pt x="1481" y="211"/>
                  </a:lnTo>
                  <a:lnTo>
                    <a:pt x="1482" y="209"/>
                  </a:lnTo>
                  <a:lnTo>
                    <a:pt x="1481" y="207"/>
                  </a:lnTo>
                  <a:lnTo>
                    <a:pt x="1479" y="205"/>
                  </a:lnTo>
                  <a:lnTo>
                    <a:pt x="1477" y="204"/>
                  </a:lnTo>
                  <a:lnTo>
                    <a:pt x="1476" y="203"/>
                  </a:lnTo>
                  <a:lnTo>
                    <a:pt x="1473" y="204"/>
                  </a:lnTo>
                  <a:lnTo>
                    <a:pt x="1473" y="206"/>
                  </a:lnTo>
                  <a:lnTo>
                    <a:pt x="1474" y="207"/>
                  </a:lnTo>
                  <a:lnTo>
                    <a:pt x="1472" y="209"/>
                  </a:lnTo>
                  <a:lnTo>
                    <a:pt x="1470" y="207"/>
                  </a:lnTo>
                  <a:lnTo>
                    <a:pt x="1465" y="198"/>
                  </a:lnTo>
                  <a:lnTo>
                    <a:pt x="1462" y="195"/>
                  </a:lnTo>
                  <a:lnTo>
                    <a:pt x="1458" y="193"/>
                  </a:lnTo>
                  <a:lnTo>
                    <a:pt x="1453" y="187"/>
                  </a:lnTo>
                  <a:lnTo>
                    <a:pt x="1450" y="186"/>
                  </a:lnTo>
                  <a:lnTo>
                    <a:pt x="1447" y="186"/>
                  </a:lnTo>
                  <a:lnTo>
                    <a:pt x="1437" y="190"/>
                  </a:lnTo>
                  <a:lnTo>
                    <a:pt x="1433" y="190"/>
                  </a:lnTo>
                  <a:lnTo>
                    <a:pt x="1430" y="189"/>
                  </a:lnTo>
                  <a:lnTo>
                    <a:pt x="1427" y="187"/>
                  </a:lnTo>
                  <a:lnTo>
                    <a:pt x="1424" y="186"/>
                  </a:lnTo>
                  <a:lnTo>
                    <a:pt x="1418" y="185"/>
                  </a:lnTo>
                  <a:lnTo>
                    <a:pt x="1411" y="185"/>
                  </a:lnTo>
                  <a:lnTo>
                    <a:pt x="1408" y="186"/>
                  </a:lnTo>
                  <a:lnTo>
                    <a:pt x="1407" y="187"/>
                  </a:lnTo>
                  <a:lnTo>
                    <a:pt x="1404" y="192"/>
                  </a:lnTo>
                  <a:lnTo>
                    <a:pt x="1404" y="194"/>
                  </a:lnTo>
                  <a:lnTo>
                    <a:pt x="1403" y="195"/>
                  </a:lnTo>
                  <a:lnTo>
                    <a:pt x="1402" y="196"/>
                  </a:lnTo>
                  <a:lnTo>
                    <a:pt x="1402" y="195"/>
                  </a:lnTo>
                  <a:lnTo>
                    <a:pt x="1402" y="196"/>
                  </a:lnTo>
                  <a:lnTo>
                    <a:pt x="1402" y="197"/>
                  </a:lnTo>
                  <a:lnTo>
                    <a:pt x="1396" y="192"/>
                  </a:lnTo>
                  <a:lnTo>
                    <a:pt x="1394" y="182"/>
                  </a:lnTo>
                  <a:lnTo>
                    <a:pt x="1394" y="170"/>
                  </a:lnTo>
                  <a:lnTo>
                    <a:pt x="1393" y="161"/>
                  </a:lnTo>
                  <a:lnTo>
                    <a:pt x="1391" y="156"/>
                  </a:lnTo>
                  <a:lnTo>
                    <a:pt x="1388" y="153"/>
                  </a:lnTo>
                  <a:lnTo>
                    <a:pt x="1384" y="151"/>
                  </a:lnTo>
                  <a:lnTo>
                    <a:pt x="1380" y="150"/>
                  </a:lnTo>
                  <a:lnTo>
                    <a:pt x="1370" y="150"/>
                  </a:lnTo>
                  <a:lnTo>
                    <a:pt x="1368" y="149"/>
                  </a:lnTo>
                  <a:lnTo>
                    <a:pt x="1370" y="146"/>
                  </a:lnTo>
                  <a:lnTo>
                    <a:pt x="1370" y="144"/>
                  </a:lnTo>
                  <a:lnTo>
                    <a:pt x="1369" y="143"/>
                  </a:lnTo>
                  <a:lnTo>
                    <a:pt x="1367" y="142"/>
                  </a:lnTo>
                  <a:lnTo>
                    <a:pt x="1364" y="142"/>
                  </a:lnTo>
                  <a:lnTo>
                    <a:pt x="1363" y="143"/>
                  </a:lnTo>
                  <a:lnTo>
                    <a:pt x="1361" y="145"/>
                  </a:lnTo>
                  <a:lnTo>
                    <a:pt x="1359" y="147"/>
                  </a:lnTo>
                  <a:lnTo>
                    <a:pt x="1352" y="149"/>
                  </a:lnTo>
                  <a:lnTo>
                    <a:pt x="1348" y="149"/>
                  </a:lnTo>
                  <a:lnTo>
                    <a:pt x="1345" y="149"/>
                  </a:lnTo>
                  <a:lnTo>
                    <a:pt x="1339" y="145"/>
                  </a:lnTo>
                  <a:lnTo>
                    <a:pt x="1336" y="143"/>
                  </a:lnTo>
                  <a:lnTo>
                    <a:pt x="1334" y="140"/>
                  </a:lnTo>
                  <a:lnTo>
                    <a:pt x="1333" y="138"/>
                  </a:lnTo>
                  <a:lnTo>
                    <a:pt x="1333" y="129"/>
                  </a:lnTo>
                  <a:lnTo>
                    <a:pt x="1329" y="115"/>
                  </a:lnTo>
                  <a:lnTo>
                    <a:pt x="1327" y="108"/>
                  </a:lnTo>
                  <a:lnTo>
                    <a:pt x="1329" y="104"/>
                  </a:lnTo>
                  <a:lnTo>
                    <a:pt x="1328" y="98"/>
                  </a:lnTo>
                  <a:lnTo>
                    <a:pt x="1326" y="96"/>
                  </a:lnTo>
                  <a:lnTo>
                    <a:pt x="1324" y="95"/>
                  </a:lnTo>
                  <a:lnTo>
                    <a:pt x="1322" y="95"/>
                  </a:lnTo>
                  <a:lnTo>
                    <a:pt x="1321" y="93"/>
                  </a:lnTo>
                  <a:lnTo>
                    <a:pt x="1319" y="89"/>
                  </a:lnTo>
                  <a:lnTo>
                    <a:pt x="1317" y="85"/>
                  </a:lnTo>
                  <a:lnTo>
                    <a:pt x="1317" y="85"/>
                  </a:lnTo>
                  <a:lnTo>
                    <a:pt x="1314" y="80"/>
                  </a:lnTo>
                  <a:lnTo>
                    <a:pt x="1311" y="77"/>
                  </a:lnTo>
                  <a:lnTo>
                    <a:pt x="1307" y="76"/>
                  </a:lnTo>
                  <a:lnTo>
                    <a:pt x="1295" y="80"/>
                  </a:lnTo>
                  <a:lnTo>
                    <a:pt x="1286" y="83"/>
                  </a:lnTo>
                  <a:lnTo>
                    <a:pt x="1283" y="85"/>
                  </a:lnTo>
                  <a:lnTo>
                    <a:pt x="1280" y="88"/>
                  </a:lnTo>
                  <a:lnTo>
                    <a:pt x="1275" y="96"/>
                  </a:lnTo>
                  <a:lnTo>
                    <a:pt x="1273" y="98"/>
                  </a:lnTo>
                  <a:lnTo>
                    <a:pt x="1270" y="97"/>
                  </a:lnTo>
                  <a:lnTo>
                    <a:pt x="1270" y="97"/>
                  </a:lnTo>
                  <a:lnTo>
                    <a:pt x="1257" y="91"/>
                  </a:lnTo>
                  <a:lnTo>
                    <a:pt x="1254" y="89"/>
                  </a:lnTo>
                  <a:lnTo>
                    <a:pt x="1253" y="87"/>
                  </a:lnTo>
                  <a:lnTo>
                    <a:pt x="1251" y="82"/>
                  </a:lnTo>
                  <a:lnTo>
                    <a:pt x="1250" y="80"/>
                  </a:lnTo>
                  <a:lnTo>
                    <a:pt x="1244" y="75"/>
                  </a:lnTo>
                  <a:lnTo>
                    <a:pt x="1243" y="73"/>
                  </a:lnTo>
                  <a:lnTo>
                    <a:pt x="1243" y="71"/>
                  </a:lnTo>
                  <a:lnTo>
                    <a:pt x="1242" y="70"/>
                  </a:lnTo>
                  <a:lnTo>
                    <a:pt x="1240" y="69"/>
                  </a:lnTo>
                  <a:lnTo>
                    <a:pt x="1238" y="69"/>
                  </a:lnTo>
                  <a:lnTo>
                    <a:pt x="1236" y="69"/>
                  </a:lnTo>
                  <a:lnTo>
                    <a:pt x="1234" y="69"/>
                  </a:lnTo>
                  <a:lnTo>
                    <a:pt x="1232" y="69"/>
                  </a:lnTo>
                  <a:lnTo>
                    <a:pt x="1231" y="68"/>
                  </a:lnTo>
                  <a:lnTo>
                    <a:pt x="1230" y="66"/>
                  </a:lnTo>
                  <a:lnTo>
                    <a:pt x="1228" y="63"/>
                  </a:lnTo>
                  <a:lnTo>
                    <a:pt x="1228" y="63"/>
                  </a:lnTo>
                  <a:lnTo>
                    <a:pt x="1226" y="62"/>
                  </a:lnTo>
                  <a:lnTo>
                    <a:pt x="1225" y="61"/>
                  </a:lnTo>
                  <a:lnTo>
                    <a:pt x="1226" y="60"/>
                  </a:lnTo>
                  <a:lnTo>
                    <a:pt x="1227" y="57"/>
                  </a:lnTo>
                  <a:lnTo>
                    <a:pt x="1227" y="55"/>
                  </a:lnTo>
                  <a:lnTo>
                    <a:pt x="1224" y="44"/>
                  </a:lnTo>
                  <a:lnTo>
                    <a:pt x="1225" y="42"/>
                  </a:lnTo>
                  <a:lnTo>
                    <a:pt x="1228" y="38"/>
                  </a:lnTo>
                  <a:lnTo>
                    <a:pt x="1229" y="37"/>
                  </a:lnTo>
                  <a:lnTo>
                    <a:pt x="1229" y="32"/>
                  </a:lnTo>
                  <a:lnTo>
                    <a:pt x="1226" y="28"/>
                  </a:lnTo>
                  <a:lnTo>
                    <a:pt x="1221" y="21"/>
                  </a:lnTo>
                  <a:lnTo>
                    <a:pt x="1219" y="17"/>
                  </a:lnTo>
                  <a:lnTo>
                    <a:pt x="1217" y="6"/>
                  </a:lnTo>
                  <a:lnTo>
                    <a:pt x="1215" y="0"/>
                  </a:lnTo>
                  <a:lnTo>
                    <a:pt x="1215" y="0"/>
                  </a:lnTo>
                  <a:lnTo>
                    <a:pt x="1212" y="2"/>
                  </a:lnTo>
                  <a:lnTo>
                    <a:pt x="1206" y="5"/>
                  </a:lnTo>
                  <a:lnTo>
                    <a:pt x="1193" y="8"/>
                  </a:lnTo>
                  <a:lnTo>
                    <a:pt x="1184" y="7"/>
                  </a:lnTo>
                  <a:lnTo>
                    <a:pt x="1182" y="7"/>
                  </a:lnTo>
                  <a:lnTo>
                    <a:pt x="1181" y="8"/>
                  </a:lnTo>
                  <a:lnTo>
                    <a:pt x="1153" y="17"/>
                  </a:lnTo>
                  <a:lnTo>
                    <a:pt x="1128" y="20"/>
                  </a:lnTo>
                  <a:lnTo>
                    <a:pt x="1123" y="23"/>
                  </a:lnTo>
                  <a:lnTo>
                    <a:pt x="1120" y="23"/>
                  </a:lnTo>
                  <a:lnTo>
                    <a:pt x="1089" y="36"/>
                  </a:lnTo>
                  <a:lnTo>
                    <a:pt x="1084" y="41"/>
                  </a:lnTo>
                  <a:lnTo>
                    <a:pt x="1080" y="47"/>
                  </a:lnTo>
                  <a:lnTo>
                    <a:pt x="1077" y="50"/>
                  </a:lnTo>
                  <a:lnTo>
                    <a:pt x="1074" y="51"/>
                  </a:lnTo>
                  <a:lnTo>
                    <a:pt x="1071" y="51"/>
                  </a:lnTo>
                  <a:lnTo>
                    <a:pt x="1070" y="52"/>
                  </a:lnTo>
                  <a:lnTo>
                    <a:pt x="1065" y="55"/>
                  </a:lnTo>
                  <a:lnTo>
                    <a:pt x="1065" y="56"/>
                  </a:lnTo>
                  <a:lnTo>
                    <a:pt x="1066" y="60"/>
                  </a:lnTo>
                  <a:lnTo>
                    <a:pt x="1069" y="69"/>
                  </a:lnTo>
                  <a:lnTo>
                    <a:pt x="1070" y="75"/>
                  </a:lnTo>
                  <a:lnTo>
                    <a:pt x="1069" y="80"/>
                  </a:lnTo>
                  <a:lnTo>
                    <a:pt x="1067" y="83"/>
                  </a:lnTo>
                  <a:lnTo>
                    <a:pt x="1064" y="93"/>
                  </a:lnTo>
                  <a:lnTo>
                    <a:pt x="1063" y="97"/>
                  </a:lnTo>
                  <a:lnTo>
                    <a:pt x="1063" y="103"/>
                  </a:lnTo>
                  <a:lnTo>
                    <a:pt x="1065" y="113"/>
                  </a:lnTo>
                  <a:lnTo>
                    <a:pt x="1065" y="125"/>
                  </a:lnTo>
                  <a:lnTo>
                    <a:pt x="1066" y="129"/>
                  </a:lnTo>
                  <a:lnTo>
                    <a:pt x="1070" y="135"/>
                  </a:lnTo>
                  <a:lnTo>
                    <a:pt x="1065" y="139"/>
                  </a:lnTo>
                  <a:lnTo>
                    <a:pt x="1065" y="149"/>
                  </a:lnTo>
                  <a:lnTo>
                    <a:pt x="1065" y="161"/>
                  </a:lnTo>
                  <a:lnTo>
                    <a:pt x="1061" y="169"/>
                  </a:lnTo>
                  <a:lnTo>
                    <a:pt x="1061" y="171"/>
                  </a:lnTo>
                  <a:lnTo>
                    <a:pt x="1070" y="178"/>
                  </a:lnTo>
                  <a:lnTo>
                    <a:pt x="1070" y="179"/>
                  </a:lnTo>
                  <a:lnTo>
                    <a:pt x="1068" y="179"/>
                  </a:lnTo>
                  <a:lnTo>
                    <a:pt x="1064" y="178"/>
                  </a:lnTo>
                  <a:lnTo>
                    <a:pt x="1061" y="184"/>
                  </a:lnTo>
                  <a:lnTo>
                    <a:pt x="1060" y="194"/>
                  </a:lnTo>
                  <a:lnTo>
                    <a:pt x="1059" y="202"/>
                  </a:lnTo>
                  <a:lnTo>
                    <a:pt x="1061" y="204"/>
                  </a:lnTo>
                  <a:lnTo>
                    <a:pt x="1068" y="207"/>
                  </a:lnTo>
                  <a:lnTo>
                    <a:pt x="1069" y="211"/>
                  </a:lnTo>
                  <a:lnTo>
                    <a:pt x="1070" y="213"/>
                  </a:lnTo>
                  <a:lnTo>
                    <a:pt x="1073" y="216"/>
                  </a:lnTo>
                  <a:lnTo>
                    <a:pt x="1076" y="217"/>
                  </a:lnTo>
                  <a:lnTo>
                    <a:pt x="1079" y="217"/>
                  </a:lnTo>
                  <a:lnTo>
                    <a:pt x="1079" y="218"/>
                  </a:lnTo>
                  <a:lnTo>
                    <a:pt x="1076" y="218"/>
                  </a:lnTo>
                  <a:lnTo>
                    <a:pt x="1077" y="220"/>
                  </a:lnTo>
                  <a:lnTo>
                    <a:pt x="1077" y="221"/>
                  </a:lnTo>
                  <a:lnTo>
                    <a:pt x="1079" y="222"/>
                  </a:lnTo>
                  <a:lnTo>
                    <a:pt x="1080" y="222"/>
                  </a:lnTo>
                  <a:lnTo>
                    <a:pt x="1080" y="223"/>
                  </a:lnTo>
                  <a:lnTo>
                    <a:pt x="1079" y="225"/>
                  </a:lnTo>
                  <a:lnTo>
                    <a:pt x="1077" y="225"/>
                  </a:lnTo>
                  <a:lnTo>
                    <a:pt x="1061" y="217"/>
                  </a:lnTo>
                  <a:lnTo>
                    <a:pt x="1056" y="218"/>
                  </a:lnTo>
                  <a:lnTo>
                    <a:pt x="1051" y="225"/>
                  </a:lnTo>
                  <a:lnTo>
                    <a:pt x="1047" y="238"/>
                  </a:lnTo>
                  <a:lnTo>
                    <a:pt x="1046" y="240"/>
                  </a:lnTo>
                  <a:lnTo>
                    <a:pt x="1044" y="242"/>
                  </a:lnTo>
                  <a:lnTo>
                    <a:pt x="1036" y="252"/>
                  </a:lnTo>
                  <a:lnTo>
                    <a:pt x="1015" y="269"/>
                  </a:lnTo>
                  <a:lnTo>
                    <a:pt x="1008" y="276"/>
                  </a:lnTo>
                  <a:lnTo>
                    <a:pt x="1005" y="277"/>
                  </a:lnTo>
                  <a:lnTo>
                    <a:pt x="1001" y="280"/>
                  </a:lnTo>
                  <a:lnTo>
                    <a:pt x="935" y="301"/>
                  </a:lnTo>
                  <a:lnTo>
                    <a:pt x="922" y="301"/>
                  </a:lnTo>
                  <a:lnTo>
                    <a:pt x="909" y="306"/>
                  </a:lnTo>
                  <a:lnTo>
                    <a:pt x="903" y="310"/>
                  </a:lnTo>
                  <a:lnTo>
                    <a:pt x="898" y="312"/>
                  </a:lnTo>
                  <a:lnTo>
                    <a:pt x="878" y="324"/>
                  </a:lnTo>
                  <a:lnTo>
                    <a:pt x="876" y="326"/>
                  </a:lnTo>
                  <a:lnTo>
                    <a:pt x="855" y="336"/>
                  </a:lnTo>
                  <a:lnTo>
                    <a:pt x="854" y="337"/>
                  </a:lnTo>
                  <a:lnTo>
                    <a:pt x="852" y="337"/>
                  </a:lnTo>
                  <a:lnTo>
                    <a:pt x="844" y="344"/>
                  </a:lnTo>
                  <a:lnTo>
                    <a:pt x="842" y="347"/>
                  </a:lnTo>
                  <a:lnTo>
                    <a:pt x="836" y="368"/>
                  </a:lnTo>
                  <a:lnTo>
                    <a:pt x="827" y="383"/>
                  </a:lnTo>
                  <a:lnTo>
                    <a:pt x="827" y="385"/>
                  </a:lnTo>
                  <a:lnTo>
                    <a:pt x="827" y="388"/>
                  </a:lnTo>
                  <a:lnTo>
                    <a:pt x="827" y="389"/>
                  </a:lnTo>
                  <a:lnTo>
                    <a:pt x="829" y="391"/>
                  </a:lnTo>
                  <a:lnTo>
                    <a:pt x="830" y="393"/>
                  </a:lnTo>
                  <a:lnTo>
                    <a:pt x="831" y="395"/>
                  </a:lnTo>
                  <a:lnTo>
                    <a:pt x="834" y="397"/>
                  </a:lnTo>
                  <a:lnTo>
                    <a:pt x="838" y="398"/>
                  </a:lnTo>
                  <a:lnTo>
                    <a:pt x="841" y="398"/>
                  </a:lnTo>
                  <a:lnTo>
                    <a:pt x="844" y="398"/>
                  </a:lnTo>
                  <a:lnTo>
                    <a:pt x="855" y="402"/>
                  </a:lnTo>
                  <a:lnTo>
                    <a:pt x="869" y="404"/>
                  </a:lnTo>
                  <a:lnTo>
                    <a:pt x="882" y="402"/>
                  </a:lnTo>
                  <a:lnTo>
                    <a:pt x="893" y="395"/>
                  </a:lnTo>
                  <a:lnTo>
                    <a:pt x="890" y="398"/>
                  </a:lnTo>
                  <a:lnTo>
                    <a:pt x="887" y="401"/>
                  </a:lnTo>
                  <a:lnTo>
                    <a:pt x="880" y="405"/>
                  </a:lnTo>
                  <a:lnTo>
                    <a:pt x="860" y="409"/>
                  </a:lnTo>
                  <a:lnTo>
                    <a:pt x="840" y="414"/>
                  </a:lnTo>
                  <a:lnTo>
                    <a:pt x="830" y="422"/>
                  </a:lnTo>
                  <a:lnTo>
                    <a:pt x="826" y="427"/>
                  </a:lnTo>
                  <a:lnTo>
                    <a:pt x="825" y="429"/>
                  </a:lnTo>
                  <a:lnTo>
                    <a:pt x="821" y="430"/>
                  </a:lnTo>
                  <a:lnTo>
                    <a:pt x="817" y="433"/>
                  </a:lnTo>
                  <a:lnTo>
                    <a:pt x="809" y="437"/>
                  </a:lnTo>
                  <a:lnTo>
                    <a:pt x="784" y="443"/>
                  </a:lnTo>
                  <a:lnTo>
                    <a:pt x="780" y="447"/>
                  </a:lnTo>
                  <a:lnTo>
                    <a:pt x="765" y="438"/>
                  </a:lnTo>
                  <a:lnTo>
                    <a:pt x="757" y="436"/>
                  </a:lnTo>
                  <a:lnTo>
                    <a:pt x="752" y="433"/>
                  </a:lnTo>
                  <a:lnTo>
                    <a:pt x="749" y="432"/>
                  </a:lnTo>
                  <a:lnTo>
                    <a:pt x="738" y="432"/>
                  </a:lnTo>
                  <a:lnTo>
                    <a:pt x="732" y="428"/>
                  </a:lnTo>
                  <a:lnTo>
                    <a:pt x="728" y="427"/>
                  </a:lnTo>
                  <a:lnTo>
                    <a:pt x="722" y="431"/>
                  </a:lnTo>
                  <a:lnTo>
                    <a:pt x="718" y="430"/>
                  </a:lnTo>
                  <a:lnTo>
                    <a:pt x="711" y="428"/>
                  </a:lnTo>
                  <a:lnTo>
                    <a:pt x="684" y="427"/>
                  </a:lnTo>
                  <a:lnTo>
                    <a:pt x="665" y="420"/>
                  </a:lnTo>
                  <a:lnTo>
                    <a:pt x="645" y="418"/>
                  </a:lnTo>
                  <a:lnTo>
                    <a:pt x="642" y="420"/>
                  </a:lnTo>
                  <a:lnTo>
                    <a:pt x="639" y="423"/>
                  </a:lnTo>
                  <a:lnTo>
                    <a:pt x="638" y="426"/>
                  </a:lnTo>
                  <a:lnTo>
                    <a:pt x="640" y="428"/>
                  </a:lnTo>
                  <a:lnTo>
                    <a:pt x="640" y="430"/>
                  </a:lnTo>
                  <a:lnTo>
                    <a:pt x="636" y="431"/>
                  </a:lnTo>
                  <a:lnTo>
                    <a:pt x="635" y="430"/>
                  </a:lnTo>
                  <a:lnTo>
                    <a:pt x="634" y="428"/>
                  </a:lnTo>
                  <a:lnTo>
                    <a:pt x="632" y="427"/>
                  </a:lnTo>
                  <a:lnTo>
                    <a:pt x="630" y="427"/>
                  </a:lnTo>
                  <a:lnTo>
                    <a:pt x="628" y="428"/>
                  </a:lnTo>
                  <a:lnTo>
                    <a:pt x="627" y="428"/>
                  </a:lnTo>
                  <a:lnTo>
                    <a:pt x="626" y="426"/>
                  </a:lnTo>
                  <a:lnTo>
                    <a:pt x="627" y="425"/>
                  </a:lnTo>
                  <a:lnTo>
                    <a:pt x="628" y="424"/>
                  </a:lnTo>
                  <a:lnTo>
                    <a:pt x="628" y="422"/>
                  </a:lnTo>
                  <a:lnTo>
                    <a:pt x="629" y="419"/>
                  </a:lnTo>
                  <a:lnTo>
                    <a:pt x="628" y="414"/>
                  </a:lnTo>
                  <a:lnTo>
                    <a:pt x="626" y="410"/>
                  </a:lnTo>
                  <a:lnTo>
                    <a:pt x="614" y="395"/>
                  </a:lnTo>
                  <a:lnTo>
                    <a:pt x="612" y="388"/>
                  </a:lnTo>
                  <a:lnTo>
                    <a:pt x="609" y="384"/>
                  </a:lnTo>
                  <a:lnTo>
                    <a:pt x="607" y="379"/>
                  </a:lnTo>
                  <a:lnTo>
                    <a:pt x="608" y="373"/>
                  </a:lnTo>
                  <a:lnTo>
                    <a:pt x="609" y="372"/>
                  </a:lnTo>
                  <a:lnTo>
                    <a:pt x="611" y="372"/>
                  </a:lnTo>
                  <a:lnTo>
                    <a:pt x="614" y="372"/>
                  </a:lnTo>
                  <a:lnTo>
                    <a:pt x="615" y="370"/>
                  </a:lnTo>
                  <a:lnTo>
                    <a:pt x="615" y="368"/>
                  </a:lnTo>
                  <a:lnTo>
                    <a:pt x="616" y="366"/>
                  </a:lnTo>
                  <a:lnTo>
                    <a:pt x="620" y="363"/>
                  </a:lnTo>
                  <a:lnTo>
                    <a:pt x="619" y="359"/>
                  </a:lnTo>
                  <a:lnTo>
                    <a:pt x="616" y="351"/>
                  </a:lnTo>
                  <a:lnTo>
                    <a:pt x="615" y="347"/>
                  </a:lnTo>
                  <a:lnTo>
                    <a:pt x="614" y="345"/>
                  </a:lnTo>
                  <a:lnTo>
                    <a:pt x="613" y="345"/>
                  </a:lnTo>
                  <a:lnTo>
                    <a:pt x="594" y="341"/>
                  </a:lnTo>
                  <a:lnTo>
                    <a:pt x="591" y="342"/>
                  </a:lnTo>
                  <a:lnTo>
                    <a:pt x="584" y="344"/>
                  </a:lnTo>
                  <a:lnTo>
                    <a:pt x="581" y="346"/>
                  </a:lnTo>
                  <a:lnTo>
                    <a:pt x="577" y="351"/>
                  </a:lnTo>
                  <a:lnTo>
                    <a:pt x="575" y="354"/>
                  </a:lnTo>
                  <a:lnTo>
                    <a:pt x="572" y="355"/>
                  </a:lnTo>
                  <a:lnTo>
                    <a:pt x="570" y="355"/>
                  </a:lnTo>
                  <a:lnTo>
                    <a:pt x="567" y="354"/>
                  </a:lnTo>
                  <a:lnTo>
                    <a:pt x="565" y="353"/>
                  </a:lnTo>
                  <a:lnTo>
                    <a:pt x="563" y="354"/>
                  </a:lnTo>
                  <a:lnTo>
                    <a:pt x="561" y="356"/>
                  </a:lnTo>
                  <a:lnTo>
                    <a:pt x="560" y="357"/>
                  </a:lnTo>
                  <a:lnTo>
                    <a:pt x="558" y="356"/>
                  </a:lnTo>
                  <a:lnTo>
                    <a:pt x="558" y="355"/>
                  </a:lnTo>
                  <a:lnTo>
                    <a:pt x="558" y="354"/>
                  </a:lnTo>
                  <a:lnTo>
                    <a:pt x="558" y="353"/>
                  </a:lnTo>
                  <a:lnTo>
                    <a:pt x="556" y="354"/>
                  </a:lnTo>
                  <a:lnTo>
                    <a:pt x="544" y="349"/>
                  </a:lnTo>
                  <a:lnTo>
                    <a:pt x="533" y="348"/>
                  </a:lnTo>
                  <a:lnTo>
                    <a:pt x="530" y="347"/>
                  </a:lnTo>
                  <a:lnTo>
                    <a:pt x="529" y="346"/>
                  </a:lnTo>
                  <a:lnTo>
                    <a:pt x="527" y="347"/>
                  </a:lnTo>
                  <a:lnTo>
                    <a:pt x="526" y="347"/>
                  </a:lnTo>
                  <a:lnTo>
                    <a:pt x="526" y="345"/>
                  </a:lnTo>
                  <a:lnTo>
                    <a:pt x="525" y="342"/>
                  </a:lnTo>
                  <a:lnTo>
                    <a:pt x="524" y="341"/>
                  </a:lnTo>
                  <a:lnTo>
                    <a:pt x="523" y="341"/>
                  </a:lnTo>
                  <a:lnTo>
                    <a:pt x="518" y="341"/>
                  </a:lnTo>
                  <a:lnTo>
                    <a:pt x="516" y="341"/>
                  </a:lnTo>
                  <a:lnTo>
                    <a:pt x="513" y="339"/>
                  </a:lnTo>
                  <a:lnTo>
                    <a:pt x="512" y="338"/>
                  </a:lnTo>
                  <a:lnTo>
                    <a:pt x="508" y="339"/>
                  </a:lnTo>
                  <a:lnTo>
                    <a:pt x="507" y="340"/>
                  </a:lnTo>
                  <a:lnTo>
                    <a:pt x="507" y="344"/>
                  </a:lnTo>
                  <a:lnTo>
                    <a:pt x="506" y="350"/>
                  </a:lnTo>
                  <a:lnTo>
                    <a:pt x="513" y="353"/>
                  </a:lnTo>
                  <a:lnTo>
                    <a:pt x="518" y="354"/>
                  </a:lnTo>
                  <a:lnTo>
                    <a:pt x="519" y="355"/>
                  </a:lnTo>
                  <a:lnTo>
                    <a:pt x="520" y="358"/>
                  </a:lnTo>
                  <a:lnTo>
                    <a:pt x="522" y="361"/>
                  </a:lnTo>
                  <a:lnTo>
                    <a:pt x="523" y="364"/>
                  </a:lnTo>
                  <a:lnTo>
                    <a:pt x="523" y="368"/>
                  </a:lnTo>
                  <a:lnTo>
                    <a:pt x="522" y="376"/>
                  </a:lnTo>
                  <a:lnTo>
                    <a:pt x="521" y="378"/>
                  </a:lnTo>
                  <a:lnTo>
                    <a:pt x="517" y="382"/>
                  </a:lnTo>
                  <a:lnTo>
                    <a:pt x="516" y="386"/>
                  </a:lnTo>
                  <a:lnTo>
                    <a:pt x="516" y="387"/>
                  </a:lnTo>
                  <a:lnTo>
                    <a:pt x="520" y="392"/>
                  </a:lnTo>
                  <a:lnTo>
                    <a:pt x="522" y="395"/>
                  </a:lnTo>
                  <a:lnTo>
                    <a:pt x="523" y="397"/>
                  </a:lnTo>
                  <a:lnTo>
                    <a:pt x="523" y="398"/>
                  </a:lnTo>
                  <a:lnTo>
                    <a:pt x="523" y="399"/>
                  </a:lnTo>
                  <a:lnTo>
                    <a:pt x="525" y="403"/>
                  </a:lnTo>
                  <a:lnTo>
                    <a:pt x="526" y="405"/>
                  </a:lnTo>
                  <a:lnTo>
                    <a:pt x="526" y="407"/>
                  </a:lnTo>
                  <a:lnTo>
                    <a:pt x="527" y="410"/>
                  </a:lnTo>
                  <a:lnTo>
                    <a:pt x="526" y="418"/>
                  </a:lnTo>
                  <a:lnTo>
                    <a:pt x="526" y="422"/>
                  </a:lnTo>
                  <a:lnTo>
                    <a:pt x="528" y="423"/>
                  </a:lnTo>
                  <a:lnTo>
                    <a:pt x="530" y="423"/>
                  </a:lnTo>
                  <a:lnTo>
                    <a:pt x="532" y="422"/>
                  </a:lnTo>
                  <a:lnTo>
                    <a:pt x="534" y="422"/>
                  </a:lnTo>
                  <a:lnTo>
                    <a:pt x="533" y="422"/>
                  </a:lnTo>
                  <a:lnTo>
                    <a:pt x="533" y="423"/>
                  </a:lnTo>
                  <a:lnTo>
                    <a:pt x="533" y="425"/>
                  </a:lnTo>
                  <a:lnTo>
                    <a:pt x="536" y="427"/>
                  </a:lnTo>
                  <a:lnTo>
                    <a:pt x="540" y="431"/>
                  </a:lnTo>
                  <a:lnTo>
                    <a:pt x="542" y="432"/>
                  </a:lnTo>
                  <a:lnTo>
                    <a:pt x="544" y="428"/>
                  </a:lnTo>
                  <a:lnTo>
                    <a:pt x="545" y="428"/>
                  </a:lnTo>
                  <a:lnTo>
                    <a:pt x="547" y="433"/>
                  </a:lnTo>
                  <a:lnTo>
                    <a:pt x="547" y="435"/>
                  </a:lnTo>
                  <a:lnTo>
                    <a:pt x="544" y="435"/>
                  </a:lnTo>
                  <a:lnTo>
                    <a:pt x="545" y="439"/>
                  </a:lnTo>
                  <a:lnTo>
                    <a:pt x="547" y="441"/>
                  </a:lnTo>
                  <a:lnTo>
                    <a:pt x="552" y="445"/>
                  </a:lnTo>
                  <a:lnTo>
                    <a:pt x="551" y="445"/>
                  </a:lnTo>
                  <a:lnTo>
                    <a:pt x="550" y="446"/>
                  </a:lnTo>
                  <a:lnTo>
                    <a:pt x="549" y="447"/>
                  </a:lnTo>
                  <a:lnTo>
                    <a:pt x="552" y="450"/>
                  </a:lnTo>
                  <a:lnTo>
                    <a:pt x="554" y="459"/>
                  </a:lnTo>
                  <a:lnTo>
                    <a:pt x="557" y="461"/>
                  </a:lnTo>
                  <a:lnTo>
                    <a:pt x="558" y="457"/>
                  </a:lnTo>
                  <a:lnTo>
                    <a:pt x="562" y="457"/>
                  </a:lnTo>
                  <a:lnTo>
                    <a:pt x="566" y="459"/>
                  </a:lnTo>
                  <a:lnTo>
                    <a:pt x="569" y="460"/>
                  </a:lnTo>
                  <a:lnTo>
                    <a:pt x="569" y="461"/>
                  </a:lnTo>
                  <a:lnTo>
                    <a:pt x="563" y="460"/>
                  </a:lnTo>
                  <a:lnTo>
                    <a:pt x="560" y="460"/>
                  </a:lnTo>
                  <a:lnTo>
                    <a:pt x="559" y="462"/>
                  </a:lnTo>
                  <a:lnTo>
                    <a:pt x="559" y="467"/>
                  </a:lnTo>
                  <a:lnTo>
                    <a:pt x="560" y="471"/>
                  </a:lnTo>
                  <a:lnTo>
                    <a:pt x="561" y="476"/>
                  </a:lnTo>
                  <a:lnTo>
                    <a:pt x="562" y="480"/>
                  </a:lnTo>
                  <a:lnTo>
                    <a:pt x="563" y="479"/>
                  </a:lnTo>
                  <a:lnTo>
                    <a:pt x="564" y="478"/>
                  </a:lnTo>
                  <a:lnTo>
                    <a:pt x="566" y="480"/>
                  </a:lnTo>
                  <a:lnTo>
                    <a:pt x="562" y="482"/>
                  </a:lnTo>
                  <a:lnTo>
                    <a:pt x="561" y="484"/>
                  </a:lnTo>
                  <a:lnTo>
                    <a:pt x="560" y="487"/>
                  </a:lnTo>
                  <a:lnTo>
                    <a:pt x="559" y="490"/>
                  </a:lnTo>
                  <a:lnTo>
                    <a:pt x="559" y="492"/>
                  </a:lnTo>
                  <a:lnTo>
                    <a:pt x="560" y="494"/>
                  </a:lnTo>
                  <a:lnTo>
                    <a:pt x="562" y="495"/>
                  </a:lnTo>
                  <a:lnTo>
                    <a:pt x="562" y="497"/>
                  </a:lnTo>
                  <a:lnTo>
                    <a:pt x="561" y="500"/>
                  </a:lnTo>
                  <a:lnTo>
                    <a:pt x="561" y="505"/>
                  </a:lnTo>
                  <a:lnTo>
                    <a:pt x="562" y="508"/>
                  </a:lnTo>
                  <a:lnTo>
                    <a:pt x="563" y="510"/>
                  </a:lnTo>
                  <a:lnTo>
                    <a:pt x="564" y="511"/>
                  </a:lnTo>
                  <a:lnTo>
                    <a:pt x="564" y="510"/>
                  </a:lnTo>
                  <a:lnTo>
                    <a:pt x="566" y="507"/>
                  </a:lnTo>
                  <a:lnTo>
                    <a:pt x="569" y="505"/>
                  </a:lnTo>
                  <a:lnTo>
                    <a:pt x="572" y="505"/>
                  </a:lnTo>
                  <a:lnTo>
                    <a:pt x="575" y="506"/>
                  </a:lnTo>
                  <a:lnTo>
                    <a:pt x="575" y="508"/>
                  </a:lnTo>
                  <a:lnTo>
                    <a:pt x="572" y="506"/>
                  </a:lnTo>
                  <a:lnTo>
                    <a:pt x="569" y="507"/>
                  </a:lnTo>
                  <a:lnTo>
                    <a:pt x="568" y="511"/>
                  </a:lnTo>
                  <a:lnTo>
                    <a:pt x="567" y="525"/>
                  </a:lnTo>
                  <a:lnTo>
                    <a:pt x="567" y="526"/>
                  </a:lnTo>
                  <a:lnTo>
                    <a:pt x="569" y="527"/>
                  </a:lnTo>
                  <a:lnTo>
                    <a:pt x="570" y="528"/>
                  </a:lnTo>
                  <a:lnTo>
                    <a:pt x="570" y="530"/>
                  </a:lnTo>
                  <a:lnTo>
                    <a:pt x="569" y="533"/>
                  </a:lnTo>
                  <a:lnTo>
                    <a:pt x="567" y="531"/>
                  </a:lnTo>
                  <a:lnTo>
                    <a:pt x="567" y="533"/>
                  </a:lnTo>
                  <a:lnTo>
                    <a:pt x="565" y="545"/>
                  </a:lnTo>
                  <a:lnTo>
                    <a:pt x="564" y="548"/>
                  </a:lnTo>
                  <a:lnTo>
                    <a:pt x="562" y="550"/>
                  </a:lnTo>
                  <a:lnTo>
                    <a:pt x="560" y="551"/>
                  </a:lnTo>
                  <a:lnTo>
                    <a:pt x="560" y="553"/>
                  </a:lnTo>
                  <a:lnTo>
                    <a:pt x="564" y="554"/>
                  </a:lnTo>
                  <a:lnTo>
                    <a:pt x="566" y="557"/>
                  </a:lnTo>
                  <a:lnTo>
                    <a:pt x="567" y="563"/>
                  </a:lnTo>
                  <a:lnTo>
                    <a:pt x="567" y="570"/>
                  </a:lnTo>
                  <a:lnTo>
                    <a:pt x="568" y="575"/>
                  </a:lnTo>
                  <a:lnTo>
                    <a:pt x="574" y="581"/>
                  </a:lnTo>
                  <a:lnTo>
                    <a:pt x="575" y="586"/>
                  </a:lnTo>
                  <a:lnTo>
                    <a:pt x="576" y="588"/>
                  </a:lnTo>
                  <a:lnTo>
                    <a:pt x="578" y="589"/>
                  </a:lnTo>
                  <a:lnTo>
                    <a:pt x="584" y="591"/>
                  </a:lnTo>
                  <a:lnTo>
                    <a:pt x="584" y="592"/>
                  </a:lnTo>
                  <a:lnTo>
                    <a:pt x="585" y="593"/>
                  </a:lnTo>
                  <a:lnTo>
                    <a:pt x="585" y="594"/>
                  </a:lnTo>
                  <a:lnTo>
                    <a:pt x="586" y="596"/>
                  </a:lnTo>
                  <a:lnTo>
                    <a:pt x="586" y="595"/>
                  </a:lnTo>
                  <a:lnTo>
                    <a:pt x="587" y="594"/>
                  </a:lnTo>
                  <a:lnTo>
                    <a:pt x="587" y="594"/>
                  </a:lnTo>
                  <a:lnTo>
                    <a:pt x="593" y="594"/>
                  </a:lnTo>
                  <a:lnTo>
                    <a:pt x="597" y="596"/>
                  </a:lnTo>
                  <a:lnTo>
                    <a:pt x="599" y="600"/>
                  </a:lnTo>
                  <a:lnTo>
                    <a:pt x="594" y="598"/>
                  </a:lnTo>
                  <a:lnTo>
                    <a:pt x="577" y="602"/>
                  </a:lnTo>
                  <a:lnTo>
                    <a:pt x="564" y="600"/>
                  </a:lnTo>
                  <a:lnTo>
                    <a:pt x="562" y="601"/>
                  </a:lnTo>
                  <a:lnTo>
                    <a:pt x="562" y="601"/>
                  </a:lnTo>
                  <a:lnTo>
                    <a:pt x="554" y="605"/>
                  </a:lnTo>
                  <a:lnTo>
                    <a:pt x="541" y="607"/>
                  </a:lnTo>
                  <a:lnTo>
                    <a:pt x="530" y="607"/>
                  </a:lnTo>
                  <a:lnTo>
                    <a:pt x="523" y="605"/>
                  </a:lnTo>
                  <a:lnTo>
                    <a:pt x="519" y="601"/>
                  </a:lnTo>
                  <a:lnTo>
                    <a:pt x="519" y="595"/>
                  </a:lnTo>
                  <a:lnTo>
                    <a:pt x="523" y="589"/>
                  </a:lnTo>
                  <a:lnTo>
                    <a:pt x="522" y="587"/>
                  </a:lnTo>
                  <a:lnTo>
                    <a:pt x="522" y="586"/>
                  </a:lnTo>
                  <a:lnTo>
                    <a:pt x="522" y="585"/>
                  </a:lnTo>
                  <a:lnTo>
                    <a:pt x="522" y="584"/>
                  </a:lnTo>
                  <a:lnTo>
                    <a:pt x="506" y="587"/>
                  </a:lnTo>
                  <a:lnTo>
                    <a:pt x="507" y="589"/>
                  </a:lnTo>
                  <a:lnTo>
                    <a:pt x="501" y="589"/>
                  </a:lnTo>
                  <a:lnTo>
                    <a:pt x="499" y="590"/>
                  </a:lnTo>
                  <a:lnTo>
                    <a:pt x="499" y="591"/>
                  </a:lnTo>
                  <a:lnTo>
                    <a:pt x="499" y="593"/>
                  </a:lnTo>
                  <a:lnTo>
                    <a:pt x="498" y="594"/>
                  </a:lnTo>
                  <a:lnTo>
                    <a:pt x="496" y="594"/>
                  </a:lnTo>
                  <a:lnTo>
                    <a:pt x="494" y="596"/>
                  </a:lnTo>
                  <a:lnTo>
                    <a:pt x="493" y="598"/>
                  </a:lnTo>
                  <a:lnTo>
                    <a:pt x="493" y="600"/>
                  </a:lnTo>
                  <a:lnTo>
                    <a:pt x="494" y="603"/>
                  </a:lnTo>
                  <a:lnTo>
                    <a:pt x="497" y="610"/>
                  </a:lnTo>
                  <a:lnTo>
                    <a:pt x="498" y="612"/>
                  </a:lnTo>
                  <a:lnTo>
                    <a:pt x="500" y="612"/>
                  </a:lnTo>
                  <a:lnTo>
                    <a:pt x="502" y="613"/>
                  </a:lnTo>
                  <a:lnTo>
                    <a:pt x="503" y="614"/>
                  </a:lnTo>
                  <a:lnTo>
                    <a:pt x="505" y="617"/>
                  </a:lnTo>
                  <a:lnTo>
                    <a:pt x="503" y="615"/>
                  </a:lnTo>
                  <a:lnTo>
                    <a:pt x="502" y="614"/>
                  </a:lnTo>
                  <a:lnTo>
                    <a:pt x="501" y="613"/>
                  </a:lnTo>
                  <a:lnTo>
                    <a:pt x="500" y="613"/>
                  </a:lnTo>
                  <a:lnTo>
                    <a:pt x="501" y="617"/>
                  </a:lnTo>
                  <a:lnTo>
                    <a:pt x="503" y="622"/>
                  </a:lnTo>
                  <a:lnTo>
                    <a:pt x="503" y="623"/>
                  </a:lnTo>
                  <a:lnTo>
                    <a:pt x="507" y="627"/>
                  </a:lnTo>
                  <a:lnTo>
                    <a:pt x="502" y="630"/>
                  </a:lnTo>
                  <a:lnTo>
                    <a:pt x="500" y="631"/>
                  </a:lnTo>
                  <a:lnTo>
                    <a:pt x="501" y="626"/>
                  </a:lnTo>
                  <a:lnTo>
                    <a:pt x="500" y="623"/>
                  </a:lnTo>
                  <a:lnTo>
                    <a:pt x="496" y="617"/>
                  </a:lnTo>
                  <a:lnTo>
                    <a:pt x="496" y="616"/>
                  </a:lnTo>
                  <a:lnTo>
                    <a:pt x="497" y="613"/>
                  </a:lnTo>
                  <a:lnTo>
                    <a:pt x="495" y="613"/>
                  </a:lnTo>
                  <a:lnTo>
                    <a:pt x="494" y="611"/>
                  </a:lnTo>
                  <a:lnTo>
                    <a:pt x="493" y="608"/>
                  </a:lnTo>
                  <a:lnTo>
                    <a:pt x="493" y="606"/>
                  </a:lnTo>
                  <a:lnTo>
                    <a:pt x="489" y="600"/>
                  </a:lnTo>
                  <a:lnTo>
                    <a:pt x="489" y="599"/>
                  </a:lnTo>
                  <a:lnTo>
                    <a:pt x="481" y="599"/>
                  </a:lnTo>
                  <a:lnTo>
                    <a:pt x="474" y="602"/>
                  </a:lnTo>
                  <a:lnTo>
                    <a:pt x="475" y="605"/>
                  </a:lnTo>
                  <a:lnTo>
                    <a:pt x="476" y="607"/>
                  </a:lnTo>
                  <a:lnTo>
                    <a:pt x="478" y="608"/>
                  </a:lnTo>
                  <a:lnTo>
                    <a:pt x="475" y="606"/>
                  </a:lnTo>
                  <a:lnTo>
                    <a:pt x="474" y="606"/>
                  </a:lnTo>
                  <a:lnTo>
                    <a:pt x="472" y="608"/>
                  </a:lnTo>
                  <a:lnTo>
                    <a:pt x="470" y="610"/>
                  </a:lnTo>
                  <a:lnTo>
                    <a:pt x="471" y="612"/>
                  </a:lnTo>
                  <a:lnTo>
                    <a:pt x="472" y="612"/>
                  </a:lnTo>
                  <a:lnTo>
                    <a:pt x="472" y="613"/>
                  </a:lnTo>
                  <a:lnTo>
                    <a:pt x="469" y="615"/>
                  </a:lnTo>
                  <a:lnTo>
                    <a:pt x="468" y="613"/>
                  </a:lnTo>
                  <a:lnTo>
                    <a:pt x="467" y="610"/>
                  </a:lnTo>
                  <a:lnTo>
                    <a:pt x="467" y="607"/>
                  </a:lnTo>
                  <a:lnTo>
                    <a:pt x="467" y="610"/>
                  </a:lnTo>
                  <a:lnTo>
                    <a:pt x="466" y="612"/>
                  </a:lnTo>
                  <a:lnTo>
                    <a:pt x="465" y="614"/>
                  </a:lnTo>
                  <a:lnTo>
                    <a:pt x="463" y="615"/>
                  </a:lnTo>
                  <a:lnTo>
                    <a:pt x="463" y="613"/>
                  </a:lnTo>
                  <a:lnTo>
                    <a:pt x="462" y="610"/>
                  </a:lnTo>
                  <a:lnTo>
                    <a:pt x="461" y="608"/>
                  </a:lnTo>
                  <a:lnTo>
                    <a:pt x="459" y="607"/>
                  </a:lnTo>
                  <a:lnTo>
                    <a:pt x="459" y="606"/>
                  </a:lnTo>
                  <a:lnTo>
                    <a:pt x="458" y="600"/>
                  </a:lnTo>
                  <a:lnTo>
                    <a:pt x="457" y="599"/>
                  </a:lnTo>
                  <a:lnTo>
                    <a:pt x="454" y="600"/>
                  </a:lnTo>
                  <a:lnTo>
                    <a:pt x="450" y="604"/>
                  </a:lnTo>
                  <a:lnTo>
                    <a:pt x="448" y="606"/>
                  </a:lnTo>
                  <a:lnTo>
                    <a:pt x="445" y="603"/>
                  </a:lnTo>
                  <a:lnTo>
                    <a:pt x="449" y="599"/>
                  </a:lnTo>
                  <a:lnTo>
                    <a:pt x="450" y="597"/>
                  </a:lnTo>
                  <a:lnTo>
                    <a:pt x="450" y="596"/>
                  </a:lnTo>
                  <a:lnTo>
                    <a:pt x="451" y="595"/>
                  </a:lnTo>
                  <a:lnTo>
                    <a:pt x="452" y="594"/>
                  </a:lnTo>
                  <a:lnTo>
                    <a:pt x="452" y="592"/>
                  </a:lnTo>
                  <a:lnTo>
                    <a:pt x="450" y="592"/>
                  </a:lnTo>
                  <a:lnTo>
                    <a:pt x="449" y="592"/>
                  </a:lnTo>
                  <a:lnTo>
                    <a:pt x="448" y="590"/>
                  </a:lnTo>
                  <a:lnTo>
                    <a:pt x="447" y="587"/>
                  </a:lnTo>
                  <a:lnTo>
                    <a:pt x="445" y="591"/>
                  </a:lnTo>
                  <a:lnTo>
                    <a:pt x="441" y="595"/>
                  </a:lnTo>
                  <a:lnTo>
                    <a:pt x="436" y="599"/>
                  </a:lnTo>
                  <a:lnTo>
                    <a:pt x="432" y="600"/>
                  </a:lnTo>
                  <a:lnTo>
                    <a:pt x="430" y="597"/>
                  </a:lnTo>
                  <a:lnTo>
                    <a:pt x="427" y="597"/>
                  </a:lnTo>
                  <a:lnTo>
                    <a:pt x="420" y="599"/>
                  </a:lnTo>
                  <a:lnTo>
                    <a:pt x="423" y="600"/>
                  </a:lnTo>
                  <a:lnTo>
                    <a:pt x="424" y="600"/>
                  </a:lnTo>
                  <a:lnTo>
                    <a:pt x="424" y="602"/>
                  </a:lnTo>
                  <a:lnTo>
                    <a:pt x="422" y="604"/>
                  </a:lnTo>
                  <a:lnTo>
                    <a:pt x="411" y="611"/>
                  </a:lnTo>
                  <a:lnTo>
                    <a:pt x="409" y="612"/>
                  </a:lnTo>
                  <a:lnTo>
                    <a:pt x="407" y="613"/>
                  </a:lnTo>
                  <a:lnTo>
                    <a:pt x="406" y="615"/>
                  </a:lnTo>
                  <a:lnTo>
                    <a:pt x="402" y="621"/>
                  </a:lnTo>
                  <a:lnTo>
                    <a:pt x="399" y="624"/>
                  </a:lnTo>
                  <a:lnTo>
                    <a:pt x="396" y="625"/>
                  </a:lnTo>
                  <a:lnTo>
                    <a:pt x="390" y="625"/>
                  </a:lnTo>
                  <a:lnTo>
                    <a:pt x="389" y="627"/>
                  </a:lnTo>
                  <a:lnTo>
                    <a:pt x="389" y="630"/>
                  </a:lnTo>
                  <a:lnTo>
                    <a:pt x="389" y="632"/>
                  </a:lnTo>
                  <a:lnTo>
                    <a:pt x="387" y="631"/>
                  </a:lnTo>
                  <a:lnTo>
                    <a:pt x="385" y="629"/>
                  </a:lnTo>
                  <a:lnTo>
                    <a:pt x="384" y="627"/>
                  </a:lnTo>
                  <a:lnTo>
                    <a:pt x="382" y="627"/>
                  </a:lnTo>
                  <a:lnTo>
                    <a:pt x="381" y="627"/>
                  </a:lnTo>
                  <a:lnTo>
                    <a:pt x="382" y="625"/>
                  </a:lnTo>
                  <a:lnTo>
                    <a:pt x="383" y="624"/>
                  </a:lnTo>
                  <a:lnTo>
                    <a:pt x="383" y="622"/>
                  </a:lnTo>
                  <a:lnTo>
                    <a:pt x="384" y="620"/>
                  </a:lnTo>
                  <a:lnTo>
                    <a:pt x="375" y="616"/>
                  </a:lnTo>
                  <a:lnTo>
                    <a:pt x="371" y="613"/>
                  </a:lnTo>
                  <a:lnTo>
                    <a:pt x="369" y="612"/>
                  </a:lnTo>
                  <a:lnTo>
                    <a:pt x="368" y="611"/>
                  </a:lnTo>
                  <a:lnTo>
                    <a:pt x="368" y="609"/>
                  </a:lnTo>
                  <a:lnTo>
                    <a:pt x="368" y="608"/>
                  </a:lnTo>
                  <a:lnTo>
                    <a:pt x="368" y="607"/>
                  </a:lnTo>
                  <a:lnTo>
                    <a:pt x="368" y="606"/>
                  </a:lnTo>
                  <a:lnTo>
                    <a:pt x="367" y="604"/>
                  </a:lnTo>
                  <a:lnTo>
                    <a:pt x="366" y="597"/>
                  </a:lnTo>
                  <a:lnTo>
                    <a:pt x="356" y="588"/>
                  </a:lnTo>
                  <a:lnTo>
                    <a:pt x="355" y="586"/>
                  </a:lnTo>
                  <a:lnTo>
                    <a:pt x="352" y="583"/>
                  </a:lnTo>
                  <a:lnTo>
                    <a:pt x="349" y="580"/>
                  </a:lnTo>
                  <a:lnTo>
                    <a:pt x="347" y="579"/>
                  </a:lnTo>
                  <a:lnTo>
                    <a:pt x="347" y="577"/>
                  </a:lnTo>
                  <a:lnTo>
                    <a:pt x="347" y="577"/>
                  </a:lnTo>
                  <a:lnTo>
                    <a:pt x="349" y="576"/>
                  </a:lnTo>
                  <a:lnTo>
                    <a:pt x="349" y="574"/>
                  </a:lnTo>
                  <a:lnTo>
                    <a:pt x="349" y="573"/>
                  </a:lnTo>
                  <a:lnTo>
                    <a:pt x="349" y="570"/>
                  </a:lnTo>
                  <a:lnTo>
                    <a:pt x="346" y="569"/>
                  </a:lnTo>
                  <a:lnTo>
                    <a:pt x="338" y="569"/>
                  </a:lnTo>
                  <a:lnTo>
                    <a:pt x="334" y="567"/>
                  </a:lnTo>
                  <a:lnTo>
                    <a:pt x="332" y="566"/>
                  </a:lnTo>
                  <a:lnTo>
                    <a:pt x="332" y="564"/>
                  </a:lnTo>
                  <a:lnTo>
                    <a:pt x="334" y="562"/>
                  </a:lnTo>
                  <a:lnTo>
                    <a:pt x="336" y="561"/>
                  </a:lnTo>
                  <a:lnTo>
                    <a:pt x="337" y="561"/>
                  </a:lnTo>
                  <a:lnTo>
                    <a:pt x="337" y="560"/>
                  </a:lnTo>
                  <a:lnTo>
                    <a:pt x="337" y="559"/>
                  </a:lnTo>
                  <a:lnTo>
                    <a:pt x="337" y="559"/>
                  </a:lnTo>
                  <a:lnTo>
                    <a:pt x="336" y="559"/>
                  </a:lnTo>
                  <a:lnTo>
                    <a:pt x="337" y="558"/>
                  </a:lnTo>
                  <a:lnTo>
                    <a:pt x="336" y="556"/>
                  </a:lnTo>
                  <a:lnTo>
                    <a:pt x="334" y="556"/>
                  </a:lnTo>
                  <a:lnTo>
                    <a:pt x="332" y="556"/>
                  </a:lnTo>
                  <a:lnTo>
                    <a:pt x="331" y="558"/>
                  </a:lnTo>
                  <a:lnTo>
                    <a:pt x="328" y="557"/>
                  </a:lnTo>
                  <a:lnTo>
                    <a:pt x="325" y="561"/>
                  </a:lnTo>
                  <a:lnTo>
                    <a:pt x="320" y="572"/>
                  </a:lnTo>
                  <a:lnTo>
                    <a:pt x="318" y="572"/>
                  </a:lnTo>
                  <a:lnTo>
                    <a:pt x="318" y="570"/>
                  </a:lnTo>
                  <a:lnTo>
                    <a:pt x="322" y="566"/>
                  </a:lnTo>
                  <a:lnTo>
                    <a:pt x="323" y="564"/>
                  </a:lnTo>
                  <a:lnTo>
                    <a:pt x="325" y="558"/>
                  </a:lnTo>
                  <a:lnTo>
                    <a:pt x="326" y="556"/>
                  </a:lnTo>
                  <a:lnTo>
                    <a:pt x="324" y="554"/>
                  </a:lnTo>
                  <a:lnTo>
                    <a:pt x="324" y="553"/>
                  </a:lnTo>
                  <a:lnTo>
                    <a:pt x="325" y="550"/>
                  </a:lnTo>
                  <a:lnTo>
                    <a:pt x="325" y="548"/>
                  </a:lnTo>
                  <a:lnTo>
                    <a:pt x="324" y="545"/>
                  </a:lnTo>
                  <a:lnTo>
                    <a:pt x="322" y="544"/>
                  </a:lnTo>
                  <a:lnTo>
                    <a:pt x="320" y="545"/>
                  </a:lnTo>
                  <a:lnTo>
                    <a:pt x="317" y="549"/>
                  </a:lnTo>
                  <a:lnTo>
                    <a:pt x="315" y="548"/>
                  </a:lnTo>
                  <a:lnTo>
                    <a:pt x="314" y="549"/>
                  </a:lnTo>
                  <a:lnTo>
                    <a:pt x="310" y="553"/>
                  </a:lnTo>
                  <a:lnTo>
                    <a:pt x="305" y="559"/>
                  </a:lnTo>
                  <a:lnTo>
                    <a:pt x="304" y="561"/>
                  </a:lnTo>
                  <a:lnTo>
                    <a:pt x="303" y="564"/>
                  </a:lnTo>
                  <a:lnTo>
                    <a:pt x="303" y="563"/>
                  </a:lnTo>
                  <a:lnTo>
                    <a:pt x="303" y="562"/>
                  </a:lnTo>
                  <a:lnTo>
                    <a:pt x="302" y="561"/>
                  </a:lnTo>
                  <a:lnTo>
                    <a:pt x="304" y="559"/>
                  </a:lnTo>
                  <a:lnTo>
                    <a:pt x="306" y="554"/>
                  </a:lnTo>
                  <a:lnTo>
                    <a:pt x="306" y="549"/>
                  </a:lnTo>
                  <a:lnTo>
                    <a:pt x="305" y="546"/>
                  </a:lnTo>
                  <a:lnTo>
                    <a:pt x="302" y="545"/>
                  </a:lnTo>
                  <a:lnTo>
                    <a:pt x="297" y="551"/>
                  </a:lnTo>
                  <a:lnTo>
                    <a:pt x="296" y="551"/>
                  </a:lnTo>
                  <a:lnTo>
                    <a:pt x="295" y="551"/>
                  </a:lnTo>
                  <a:lnTo>
                    <a:pt x="293" y="552"/>
                  </a:lnTo>
                  <a:lnTo>
                    <a:pt x="279" y="557"/>
                  </a:lnTo>
                  <a:lnTo>
                    <a:pt x="279" y="558"/>
                  </a:lnTo>
                  <a:lnTo>
                    <a:pt x="277" y="560"/>
                  </a:lnTo>
                  <a:lnTo>
                    <a:pt x="275" y="561"/>
                  </a:lnTo>
                  <a:lnTo>
                    <a:pt x="274" y="561"/>
                  </a:lnTo>
                  <a:lnTo>
                    <a:pt x="270" y="561"/>
                  </a:lnTo>
                  <a:lnTo>
                    <a:pt x="270" y="560"/>
                  </a:lnTo>
                  <a:lnTo>
                    <a:pt x="270" y="559"/>
                  </a:lnTo>
                  <a:lnTo>
                    <a:pt x="271" y="558"/>
                  </a:lnTo>
                  <a:lnTo>
                    <a:pt x="272" y="558"/>
                  </a:lnTo>
                  <a:lnTo>
                    <a:pt x="270" y="557"/>
                  </a:lnTo>
                  <a:lnTo>
                    <a:pt x="264" y="554"/>
                  </a:lnTo>
                  <a:lnTo>
                    <a:pt x="259" y="554"/>
                  </a:lnTo>
                  <a:lnTo>
                    <a:pt x="258" y="553"/>
                  </a:lnTo>
                  <a:lnTo>
                    <a:pt x="257" y="553"/>
                  </a:lnTo>
                  <a:lnTo>
                    <a:pt x="256" y="554"/>
                  </a:lnTo>
                  <a:lnTo>
                    <a:pt x="252" y="561"/>
                  </a:lnTo>
                  <a:lnTo>
                    <a:pt x="248" y="563"/>
                  </a:lnTo>
                  <a:lnTo>
                    <a:pt x="246" y="565"/>
                  </a:lnTo>
                  <a:lnTo>
                    <a:pt x="247" y="569"/>
                  </a:lnTo>
                  <a:lnTo>
                    <a:pt x="252" y="576"/>
                  </a:lnTo>
                  <a:lnTo>
                    <a:pt x="254" y="577"/>
                  </a:lnTo>
                  <a:lnTo>
                    <a:pt x="246" y="579"/>
                  </a:lnTo>
                  <a:lnTo>
                    <a:pt x="246" y="580"/>
                  </a:lnTo>
                  <a:lnTo>
                    <a:pt x="246" y="584"/>
                  </a:lnTo>
                  <a:lnTo>
                    <a:pt x="248" y="589"/>
                  </a:lnTo>
                  <a:lnTo>
                    <a:pt x="246" y="591"/>
                  </a:lnTo>
                  <a:lnTo>
                    <a:pt x="241" y="591"/>
                  </a:lnTo>
                  <a:lnTo>
                    <a:pt x="237" y="590"/>
                  </a:lnTo>
                  <a:lnTo>
                    <a:pt x="237" y="586"/>
                  </a:lnTo>
                  <a:lnTo>
                    <a:pt x="231" y="587"/>
                  </a:lnTo>
                  <a:lnTo>
                    <a:pt x="230" y="587"/>
                  </a:lnTo>
                  <a:lnTo>
                    <a:pt x="228" y="586"/>
                  </a:lnTo>
                  <a:lnTo>
                    <a:pt x="224" y="583"/>
                  </a:lnTo>
                  <a:lnTo>
                    <a:pt x="222" y="582"/>
                  </a:lnTo>
                  <a:lnTo>
                    <a:pt x="215" y="583"/>
                  </a:lnTo>
                  <a:lnTo>
                    <a:pt x="212" y="582"/>
                  </a:lnTo>
                  <a:lnTo>
                    <a:pt x="210" y="579"/>
                  </a:lnTo>
                  <a:lnTo>
                    <a:pt x="210" y="580"/>
                  </a:lnTo>
                  <a:lnTo>
                    <a:pt x="210" y="582"/>
                  </a:lnTo>
                  <a:lnTo>
                    <a:pt x="210" y="583"/>
                  </a:lnTo>
                  <a:lnTo>
                    <a:pt x="209" y="584"/>
                  </a:lnTo>
                  <a:lnTo>
                    <a:pt x="207" y="582"/>
                  </a:lnTo>
                  <a:lnTo>
                    <a:pt x="205" y="585"/>
                  </a:lnTo>
                  <a:lnTo>
                    <a:pt x="205" y="589"/>
                  </a:lnTo>
                  <a:lnTo>
                    <a:pt x="205" y="594"/>
                  </a:lnTo>
                  <a:lnTo>
                    <a:pt x="204" y="593"/>
                  </a:lnTo>
                  <a:lnTo>
                    <a:pt x="204" y="592"/>
                  </a:lnTo>
                  <a:lnTo>
                    <a:pt x="203" y="590"/>
                  </a:lnTo>
                  <a:lnTo>
                    <a:pt x="202" y="590"/>
                  </a:lnTo>
                  <a:lnTo>
                    <a:pt x="203" y="595"/>
                  </a:lnTo>
                  <a:lnTo>
                    <a:pt x="204" y="597"/>
                  </a:lnTo>
                  <a:lnTo>
                    <a:pt x="205" y="599"/>
                  </a:lnTo>
                  <a:lnTo>
                    <a:pt x="203" y="600"/>
                  </a:lnTo>
                  <a:lnTo>
                    <a:pt x="205" y="602"/>
                  </a:lnTo>
                  <a:lnTo>
                    <a:pt x="203" y="603"/>
                  </a:lnTo>
                  <a:lnTo>
                    <a:pt x="201" y="601"/>
                  </a:lnTo>
                  <a:lnTo>
                    <a:pt x="196" y="598"/>
                  </a:lnTo>
                  <a:lnTo>
                    <a:pt x="195" y="595"/>
                  </a:lnTo>
                  <a:lnTo>
                    <a:pt x="195" y="594"/>
                  </a:lnTo>
                  <a:lnTo>
                    <a:pt x="195" y="593"/>
                  </a:lnTo>
                  <a:lnTo>
                    <a:pt x="197" y="592"/>
                  </a:lnTo>
                  <a:lnTo>
                    <a:pt x="194" y="591"/>
                  </a:lnTo>
                  <a:lnTo>
                    <a:pt x="191" y="593"/>
                  </a:lnTo>
                  <a:lnTo>
                    <a:pt x="187" y="597"/>
                  </a:lnTo>
                  <a:lnTo>
                    <a:pt x="188" y="594"/>
                  </a:lnTo>
                  <a:lnTo>
                    <a:pt x="187" y="592"/>
                  </a:lnTo>
                  <a:lnTo>
                    <a:pt x="186" y="590"/>
                  </a:lnTo>
                  <a:lnTo>
                    <a:pt x="185" y="589"/>
                  </a:lnTo>
                  <a:lnTo>
                    <a:pt x="185" y="587"/>
                  </a:lnTo>
                  <a:lnTo>
                    <a:pt x="186" y="587"/>
                  </a:lnTo>
                  <a:lnTo>
                    <a:pt x="186" y="586"/>
                  </a:lnTo>
                  <a:lnTo>
                    <a:pt x="184" y="585"/>
                  </a:lnTo>
                  <a:lnTo>
                    <a:pt x="184" y="583"/>
                  </a:lnTo>
                  <a:lnTo>
                    <a:pt x="185" y="582"/>
                  </a:lnTo>
                  <a:lnTo>
                    <a:pt x="185" y="580"/>
                  </a:lnTo>
                  <a:lnTo>
                    <a:pt x="184" y="579"/>
                  </a:lnTo>
                  <a:lnTo>
                    <a:pt x="178" y="580"/>
                  </a:lnTo>
                  <a:lnTo>
                    <a:pt x="175" y="583"/>
                  </a:lnTo>
                  <a:lnTo>
                    <a:pt x="173" y="583"/>
                  </a:lnTo>
                  <a:lnTo>
                    <a:pt x="171" y="584"/>
                  </a:lnTo>
                  <a:lnTo>
                    <a:pt x="171" y="586"/>
                  </a:lnTo>
                  <a:lnTo>
                    <a:pt x="171" y="588"/>
                  </a:lnTo>
                  <a:lnTo>
                    <a:pt x="171" y="589"/>
                  </a:lnTo>
                  <a:lnTo>
                    <a:pt x="170" y="590"/>
                  </a:lnTo>
                  <a:lnTo>
                    <a:pt x="169" y="590"/>
                  </a:lnTo>
                  <a:lnTo>
                    <a:pt x="168" y="588"/>
                  </a:lnTo>
                  <a:lnTo>
                    <a:pt x="167" y="588"/>
                  </a:lnTo>
                  <a:lnTo>
                    <a:pt x="166" y="587"/>
                  </a:lnTo>
                  <a:lnTo>
                    <a:pt x="165" y="589"/>
                  </a:lnTo>
                  <a:lnTo>
                    <a:pt x="162" y="587"/>
                  </a:lnTo>
                  <a:lnTo>
                    <a:pt x="159" y="587"/>
                  </a:lnTo>
                  <a:lnTo>
                    <a:pt x="155" y="588"/>
                  </a:lnTo>
                  <a:lnTo>
                    <a:pt x="152" y="589"/>
                  </a:lnTo>
                  <a:lnTo>
                    <a:pt x="150" y="591"/>
                  </a:lnTo>
                  <a:lnTo>
                    <a:pt x="147" y="593"/>
                  </a:lnTo>
                  <a:lnTo>
                    <a:pt x="146" y="596"/>
                  </a:lnTo>
                  <a:lnTo>
                    <a:pt x="149" y="597"/>
                  </a:lnTo>
                  <a:lnTo>
                    <a:pt x="149" y="599"/>
                  </a:lnTo>
                  <a:lnTo>
                    <a:pt x="147" y="599"/>
                  </a:lnTo>
                  <a:lnTo>
                    <a:pt x="143" y="597"/>
                  </a:lnTo>
                  <a:lnTo>
                    <a:pt x="141" y="597"/>
                  </a:lnTo>
                  <a:lnTo>
                    <a:pt x="140" y="597"/>
                  </a:lnTo>
                  <a:lnTo>
                    <a:pt x="135" y="600"/>
                  </a:lnTo>
                  <a:lnTo>
                    <a:pt x="131" y="601"/>
                  </a:lnTo>
                  <a:lnTo>
                    <a:pt x="132" y="595"/>
                  </a:lnTo>
                  <a:lnTo>
                    <a:pt x="129" y="592"/>
                  </a:lnTo>
                  <a:lnTo>
                    <a:pt x="125" y="592"/>
                  </a:lnTo>
                  <a:lnTo>
                    <a:pt x="121" y="593"/>
                  </a:lnTo>
                  <a:lnTo>
                    <a:pt x="117" y="596"/>
                  </a:lnTo>
                  <a:lnTo>
                    <a:pt x="112" y="597"/>
                  </a:lnTo>
                  <a:lnTo>
                    <a:pt x="112" y="599"/>
                  </a:lnTo>
                  <a:lnTo>
                    <a:pt x="113" y="599"/>
                  </a:lnTo>
                  <a:lnTo>
                    <a:pt x="115" y="600"/>
                  </a:lnTo>
                  <a:lnTo>
                    <a:pt x="112" y="600"/>
                  </a:lnTo>
                  <a:lnTo>
                    <a:pt x="106" y="603"/>
                  </a:lnTo>
                  <a:lnTo>
                    <a:pt x="103" y="603"/>
                  </a:lnTo>
                  <a:lnTo>
                    <a:pt x="90" y="603"/>
                  </a:lnTo>
                  <a:lnTo>
                    <a:pt x="90" y="605"/>
                  </a:lnTo>
                  <a:lnTo>
                    <a:pt x="92" y="606"/>
                  </a:lnTo>
                  <a:lnTo>
                    <a:pt x="92" y="607"/>
                  </a:lnTo>
                  <a:lnTo>
                    <a:pt x="92" y="608"/>
                  </a:lnTo>
                  <a:lnTo>
                    <a:pt x="91" y="608"/>
                  </a:lnTo>
                  <a:lnTo>
                    <a:pt x="96" y="610"/>
                  </a:lnTo>
                  <a:lnTo>
                    <a:pt x="93" y="610"/>
                  </a:lnTo>
                  <a:lnTo>
                    <a:pt x="85" y="608"/>
                  </a:lnTo>
                  <a:lnTo>
                    <a:pt x="83" y="610"/>
                  </a:lnTo>
                  <a:lnTo>
                    <a:pt x="84" y="613"/>
                  </a:lnTo>
                  <a:lnTo>
                    <a:pt x="88" y="618"/>
                  </a:lnTo>
                  <a:lnTo>
                    <a:pt x="86" y="619"/>
                  </a:lnTo>
                  <a:lnTo>
                    <a:pt x="81" y="616"/>
                  </a:lnTo>
                  <a:lnTo>
                    <a:pt x="78" y="615"/>
                  </a:lnTo>
                  <a:lnTo>
                    <a:pt x="73" y="616"/>
                  </a:lnTo>
                  <a:lnTo>
                    <a:pt x="70" y="617"/>
                  </a:lnTo>
                  <a:lnTo>
                    <a:pt x="67" y="618"/>
                  </a:lnTo>
                  <a:lnTo>
                    <a:pt x="68" y="620"/>
                  </a:lnTo>
                  <a:lnTo>
                    <a:pt x="67" y="619"/>
                  </a:lnTo>
                  <a:lnTo>
                    <a:pt x="65" y="618"/>
                  </a:lnTo>
                  <a:lnTo>
                    <a:pt x="62" y="622"/>
                  </a:lnTo>
                  <a:lnTo>
                    <a:pt x="59" y="630"/>
                  </a:lnTo>
                  <a:lnTo>
                    <a:pt x="57" y="637"/>
                  </a:lnTo>
                  <a:lnTo>
                    <a:pt x="61" y="640"/>
                  </a:lnTo>
                  <a:lnTo>
                    <a:pt x="61" y="641"/>
                  </a:lnTo>
                  <a:lnTo>
                    <a:pt x="58" y="642"/>
                  </a:lnTo>
                  <a:lnTo>
                    <a:pt x="56" y="645"/>
                  </a:lnTo>
                  <a:lnTo>
                    <a:pt x="55" y="650"/>
                  </a:lnTo>
                  <a:lnTo>
                    <a:pt x="55" y="654"/>
                  </a:lnTo>
                  <a:lnTo>
                    <a:pt x="58" y="661"/>
                  </a:lnTo>
                  <a:lnTo>
                    <a:pt x="59" y="664"/>
                  </a:lnTo>
                  <a:lnTo>
                    <a:pt x="55" y="664"/>
                  </a:lnTo>
                  <a:lnTo>
                    <a:pt x="56" y="669"/>
                  </a:lnTo>
                  <a:lnTo>
                    <a:pt x="58" y="671"/>
                  </a:lnTo>
                  <a:lnTo>
                    <a:pt x="60" y="672"/>
                  </a:lnTo>
                  <a:lnTo>
                    <a:pt x="68" y="672"/>
                  </a:lnTo>
                  <a:lnTo>
                    <a:pt x="69" y="671"/>
                  </a:lnTo>
                  <a:lnTo>
                    <a:pt x="69" y="670"/>
                  </a:lnTo>
                  <a:lnTo>
                    <a:pt x="69" y="668"/>
                  </a:lnTo>
                  <a:lnTo>
                    <a:pt x="70" y="667"/>
                  </a:lnTo>
                  <a:lnTo>
                    <a:pt x="73" y="668"/>
                  </a:lnTo>
                  <a:lnTo>
                    <a:pt x="79" y="670"/>
                  </a:lnTo>
                  <a:lnTo>
                    <a:pt x="82" y="671"/>
                  </a:lnTo>
                  <a:lnTo>
                    <a:pt x="85" y="670"/>
                  </a:lnTo>
                  <a:lnTo>
                    <a:pt x="89" y="668"/>
                  </a:lnTo>
                  <a:lnTo>
                    <a:pt x="97" y="666"/>
                  </a:lnTo>
                  <a:lnTo>
                    <a:pt x="107" y="660"/>
                  </a:lnTo>
                  <a:lnTo>
                    <a:pt x="112" y="657"/>
                  </a:lnTo>
                  <a:lnTo>
                    <a:pt x="123" y="656"/>
                  </a:lnTo>
                  <a:lnTo>
                    <a:pt x="126" y="655"/>
                  </a:lnTo>
                  <a:lnTo>
                    <a:pt x="131" y="652"/>
                  </a:lnTo>
                  <a:lnTo>
                    <a:pt x="134" y="651"/>
                  </a:lnTo>
                  <a:lnTo>
                    <a:pt x="118" y="660"/>
                  </a:lnTo>
                  <a:lnTo>
                    <a:pt x="117" y="661"/>
                  </a:lnTo>
                  <a:lnTo>
                    <a:pt x="108" y="672"/>
                  </a:lnTo>
                  <a:lnTo>
                    <a:pt x="108" y="674"/>
                  </a:lnTo>
                  <a:lnTo>
                    <a:pt x="110" y="674"/>
                  </a:lnTo>
                  <a:lnTo>
                    <a:pt x="112" y="673"/>
                  </a:lnTo>
                  <a:lnTo>
                    <a:pt x="114" y="672"/>
                  </a:lnTo>
                  <a:lnTo>
                    <a:pt x="115" y="671"/>
                  </a:lnTo>
                  <a:lnTo>
                    <a:pt x="116" y="672"/>
                  </a:lnTo>
                  <a:lnTo>
                    <a:pt x="116" y="673"/>
                  </a:lnTo>
                  <a:lnTo>
                    <a:pt x="116" y="673"/>
                  </a:lnTo>
                  <a:lnTo>
                    <a:pt x="115" y="674"/>
                  </a:lnTo>
                  <a:lnTo>
                    <a:pt x="119" y="673"/>
                  </a:lnTo>
                  <a:lnTo>
                    <a:pt x="124" y="670"/>
                  </a:lnTo>
                  <a:lnTo>
                    <a:pt x="126" y="671"/>
                  </a:lnTo>
                  <a:lnTo>
                    <a:pt x="127" y="670"/>
                  </a:lnTo>
                  <a:lnTo>
                    <a:pt x="128" y="668"/>
                  </a:lnTo>
                  <a:lnTo>
                    <a:pt x="128" y="667"/>
                  </a:lnTo>
                  <a:lnTo>
                    <a:pt x="129" y="667"/>
                  </a:lnTo>
                  <a:lnTo>
                    <a:pt x="129" y="669"/>
                  </a:lnTo>
                  <a:lnTo>
                    <a:pt x="128" y="669"/>
                  </a:lnTo>
                  <a:lnTo>
                    <a:pt x="128" y="671"/>
                  </a:lnTo>
                  <a:lnTo>
                    <a:pt x="131" y="670"/>
                  </a:lnTo>
                  <a:lnTo>
                    <a:pt x="134" y="667"/>
                  </a:lnTo>
                  <a:lnTo>
                    <a:pt x="137" y="667"/>
                  </a:lnTo>
                  <a:lnTo>
                    <a:pt x="134" y="671"/>
                  </a:lnTo>
                  <a:lnTo>
                    <a:pt x="132" y="672"/>
                  </a:lnTo>
                  <a:lnTo>
                    <a:pt x="132" y="673"/>
                  </a:lnTo>
                  <a:lnTo>
                    <a:pt x="132" y="674"/>
                  </a:lnTo>
                  <a:lnTo>
                    <a:pt x="130" y="674"/>
                  </a:lnTo>
                  <a:lnTo>
                    <a:pt x="130" y="675"/>
                  </a:lnTo>
                  <a:lnTo>
                    <a:pt x="128" y="677"/>
                  </a:lnTo>
                  <a:lnTo>
                    <a:pt x="135" y="676"/>
                  </a:lnTo>
                  <a:lnTo>
                    <a:pt x="136" y="676"/>
                  </a:lnTo>
                  <a:lnTo>
                    <a:pt x="137" y="679"/>
                  </a:lnTo>
                  <a:lnTo>
                    <a:pt x="139" y="680"/>
                  </a:lnTo>
                  <a:lnTo>
                    <a:pt x="141" y="679"/>
                  </a:lnTo>
                  <a:lnTo>
                    <a:pt x="142" y="677"/>
                  </a:lnTo>
                  <a:lnTo>
                    <a:pt x="143" y="680"/>
                  </a:lnTo>
                  <a:lnTo>
                    <a:pt x="145" y="681"/>
                  </a:lnTo>
                  <a:lnTo>
                    <a:pt x="150" y="681"/>
                  </a:lnTo>
                  <a:lnTo>
                    <a:pt x="150" y="682"/>
                  </a:lnTo>
                  <a:lnTo>
                    <a:pt x="137" y="685"/>
                  </a:lnTo>
                  <a:lnTo>
                    <a:pt x="134" y="684"/>
                  </a:lnTo>
                  <a:lnTo>
                    <a:pt x="136" y="684"/>
                  </a:lnTo>
                  <a:lnTo>
                    <a:pt x="137" y="683"/>
                  </a:lnTo>
                  <a:lnTo>
                    <a:pt x="138" y="682"/>
                  </a:lnTo>
                  <a:lnTo>
                    <a:pt x="127" y="683"/>
                  </a:lnTo>
                  <a:lnTo>
                    <a:pt x="120" y="685"/>
                  </a:lnTo>
                  <a:lnTo>
                    <a:pt x="118" y="685"/>
                  </a:lnTo>
                  <a:lnTo>
                    <a:pt x="116" y="685"/>
                  </a:lnTo>
                  <a:lnTo>
                    <a:pt x="115" y="684"/>
                  </a:lnTo>
                  <a:lnTo>
                    <a:pt x="114" y="683"/>
                  </a:lnTo>
                  <a:lnTo>
                    <a:pt x="112" y="682"/>
                  </a:lnTo>
                  <a:lnTo>
                    <a:pt x="98" y="683"/>
                  </a:lnTo>
                  <a:lnTo>
                    <a:pt x="93" y="681"/>
                  </a:lnTo>
                  <a:lnTo>
                    <a:pt x="96" y="672"/>
                  </a:lnTo>
                  <a:lnTo>
                    <a:pt x="93" y="671"/>
                  </a:lnTo>
                  <a:lnTo>
                    <a:pt x="91" y="673"/>
                  </a:lnTo>
                  <a:lnTo>
                    <a:pt x="88" y="681"/>
                  </a:lnTo>
                  <a:lnTo>
                    <a:pt x="88" y="681"/>
                  </a:lnTo>
                  <a:lnTo>
                    <a:pt x="89" y="683"/>
                  </a:lnTo>
                  <a:lnTo>
                    <a:pt x="88" y="685"/>
                  </a:lnTo>
                  <a:lnTo>
                    <a:pt x="86" y="685"/>
                  </a:lnTo>
                  <a:lnTo>
                    <a:pt x="85" y="685"/>
                  </a:lnTo>
                  <a:lnTo>
                    <a:pt x="83" y="685"/>
                  </a:lnTo>
                  <a:lnTo>
                    <a:pt x="82" y="684"/>
                  </a:lnTo>
                  <a:lnTo>
                    <a:pt x="80" y="685"/>
                  </a:lnTo>
                  <a:lnTo>
                    <a:pt x="81" y="688"/>
                  </a:lnTo>
                  <a:lnTo>
                    <a:pt x="80" y="690"/>
                  </a:lnTo>
                  <a:lnTo>
                    <a:pt x="90" y="691"/>
                  </a:lnTo>
                  <a:lnTo>
                    <a:pt x="92" y="691"/>
                  </a:lnTo>
                  <a:lnTo>
                    <a:pt x="93" y="694"/>
                  </a:lnTo>
                  <a:lnTo>
                    <a:pt x="92" y="695"/>
                  </a:lnTo>
                  <a:lnTo>
                    <a:pt x="91" y="696"/>
                  </a:lnTo>
                  <a:lnTo>
                    <a:pt x="90" y="698"/>
                  </a:lnTo>
                  <a:lnTo>
                    <a:pt x="91" y="700"/>
                  </a:lnTo>
                  <a:lnTo>
                    <a:pt x="92" y="702"/>
                  </a:lnTo>
                  <a:lnTo>
                    <a:pt x="93" y="705"/>
                  </a:lnTo>
                  <a:lnTo>
                    <a:pt x="93" y="706"/>
                  </a:lnTo>
                  <a:lnTo>
                    <a:pt x="91" y="711"/>
                  </a:lnTo>
                  <a:lnTo>
                    <a:pt x="95" y="710"/>
                  </a:lnTo>
                  <a:lnTo>
                    <a:pt x="98" y="705"/>
                  </a:lnTo>
                  <a:lnTo>
                    <a:pt x="100" y="700"/>
                  </a:lnTo>
                  <a:lnTo>
                    <a:pt x="103" y="696"/>
                  </a:lnTo>
                  <a:lnTo>
                    <a:pt x="107" y="694"/>
                  </a:lnTo>
                  <a:lnTo>
                    <a:pt x="116" y="700"/>
                  </a:lnTo>
                  <a:lnTo>
                    <a:pt x="120" y="698"/>
                  </a:lnTo>
                  <a:lnTo>
                    <a:pt x="120" y="700"/>
                  </a:lnTo>
                  <a:lnTo>
                    <a:pt x="121" y="701"/>
                  </a:lnTo>
                  <a:lnTo>
                    <a:pt x="122" y="702"/>
                  </a:lnTo>
                  <a:lnTo>
                    <a:pt x="123" y="703"/>
                  </a:lnTo>
                  <a:lnTo>
                    <a:pt x="130" y="705"/>
                  </a:lnTo>
                  <a:lnTo>
                    <a:pt x="132" y="707"/>
                  </a:lnTo>
                  <a:lnTo>
                    <a:pt x="132" y="712"/>
                  </a:lnTo>
                  <a:lnTo>
                    <a:pt x="133" y="714"/>
                  </a:lnTo>
                  <a:lnTo>
                    <a:pt x="135" y="717"/>
                  </a:lnTo>
                  <a:lnTo>
                    <a:pt x="136" y="719"/>
                  </a:lnTo>
                  <a:lnTo>
                    <a:pt x="134" y="726"/>
                  </a:lnTo>
                  <a:lnTo>
                    <a:pt x="134" y="728"/>
                  </a:lnTo>
                  <a:lnTo>
                    <a:pt x="131" y="729"/>
                  </a:lnTo>
                  <a:lnTo>
                    <a:pt x="122" y="726"/>
                  </a:lnTo>
                  <a:lnTo>
                    <a:pt x="71" y="737"/>
                  </a:lnTo>
                  <a:lnTo>
                    <a:pt x="70" y="737"/>
                  </a:lnTo>
                  <a:lnTo>
                    <a:pt x="69" y="736"/>
                  </a:lnTo>
                  <a:lnTo>
                    <a:pt x="68" y="736"/>
                  </a:lnTo>
                  <a:lnTo>
                    <a:pt x="68" y="736"/>
                  </a:lnTo>
                  <a:lnTo>
                    <a:pt x="68" y="737"/>
                  </a:lnTo>
                  <a:lnTo>
                    <a:pt x="68" y="738"/>
                  </a:lnTo>
                  <a:lnTo>
                    <a:pt x="67" y="740"/>
                  </a:lnTo>
                  <a:lnTo>
                    <a:pt x="66" y="741"/>
                  </a:lnTo>
                  <a:lnTo>
                    <a:pt x="65" y="743"/>
                  </a:lnTo>
                  <a:lnTo>
                    <a:pt x="64" y="744"/>
                  </a:lnTo>
                  <a:lnTo>
                    <a:pt x="76" y="747"/>
                  </a:lnTo>
                  <a:lnTo>
                    <a:pt x="82" y="747"/>
                  </a:lnTo>
                  <a:lnTo>
                    <a:pt x="84" y="747"/>
                  </a:lnTo>
                  <a:lnTo>
                    <a:pt x="89" y="752"/>
                  </a:lnTo>
                  <a:lnTo>
                    <a:pt x="91" y="751"/>
                  </a:lnTo>
                  <a:lnTo>
                    <a:pt x="93" y="749"/>
                  </a:lnTo>
                  <a:lnTo>
                    <a:pt x="95" y="747"/>
                  </a:lnTo>
                  <a:lnTo>
                    <a:pt x="97" y="748"/>
                  </a:lnTo>
                  <a:lnTo>
                    <a:pt x="111" y="759"/>
                  </a:lnTo>
                  <a:lnTo>
                    <a:pt x="118" y="769"/>
                  </a:lnTo>
                  <a:lnTo>
                    <a:pt x="121" y="773"/>
                  </a:lnTo>
                  <a:lnTo>
                    <a:pt x="122" y="780"/>
                  </a:lnTo>
                  <a:lnTo>
                    <a:pt x="125" y="786"/>
                  </a:lnTo>
                  <a:lnTo>
                    <a:pt x="125" y="790"/>
                  </a:lnTo>
                  <a:lnTo>
                    <a:pt x="125" y="792"/>
                  </a:lnTo>
                  <a:lnTo>
                    <a:pt x="123" y="792"/>
                  </a:lnTo>
                  <a:lnTo>
                    <a:pt x="122" y="792"/>
                  </a:lnTo>
                  <a:lnTo>
                    <a:pt x="121" y="793"/>
                  </a:lnTo>
                  <a:lnTo>
                    <a:pt x="121" y="794"/>
                  </a:lnTo>
                  <a:lnTo>
                    <a:pt x="121" y="797"/>
                  </a:lnTo>
                  <a:lnTo>
                    <a:pt x="121" y="799"/>
                  </a:lnTo>
                  <a:lnTo>
                    <a:pt x="144" y="800"/>
                  </a:lnTo>
                  <a:lnTo>
                    <a:pt x="148" y="799"/>
                  </a:lnTo>
                  <a:lnTo>
                    <a:pt x="150" y="798"/>
                  </a:lnTo>
                  <a:lnTo>
                    <a:pt x="156" y="793"/>
                  </a:lnTo>
                  <a:lnTo>
                    <a:pt x="156" y="791"/>
                  </a:lnTo>
                  <a:lnTo>
                    <a:pt x="151" y="791"/>
                  </a:lnTo>
                  <a:lnTo>
                    <a:pt x="151" y="789"/>
                  </a:lnTo>
                  <a:lnTo>
                    <a:pt x="152" y="789"/>
                  </a:lnTo>
                  <a:lnTo>
                    <a:pt x="152" y="788"/>
                  </a:lnTo>
                  <a:lnTo>
                    <a:pt x="150" y="786"/>
                  </a:lnTo>
                  <a:lnTo>
                    <a:pt x="150" y="783"/>
                  </a:lnTo>
                  <a:lnTo>
                    <a:pt x="152" y="783"/>
                  </a:lnTo>
                  <a:lnTo>
                    <a:pt x="156" y="788"/>
                  </a:lnTo>
                  <a:lnTo>
                    <a:pt x="157" y="786"/>
                  </a:lnTo>
                  <a:lnTo>
                    <a:pt x="159" y="785"/>
                  </a:lnTo>
                  <a:lnTo>
                    <a:pt x="160" y="784"/>
                  </a:lnTo>
                  <a:lnTo>
                    <a:pt x="162" y="784"/>
                  </a:lnTo>
                  <a:lnTo>
                    <a:pt x="162" y="783"/>
                  </a:lnTo>
                  <a:lnTo>
                    <a:pt x="160" y="781"/>
                  </a:lnTo>
                  <a:lnTo>
                    <a:pt x="158" y="778"/>
                  </a:lnTo>
                  <a:lnTo>
                    <a:pt x="157" y="774"/>
                  </a:lnTo>
                  <a:lnTo>
                    <a:pt x="159" y="771"/>
                  </a:lnTo>
                  <a:lnTo>
                    <a:pt x="159" y="775"/>
                  </a:lnTo>
                  <a:lnTo>
                    <a:pt x="161" y="779"/>
                  </a:lnTo>
                  <a:lnTo>
                    <a:pt x="163" y="782"/>
                  </a:lnTo>
                  <a:lnTo>
                    <a:pt x="165" y="783"/>
                  </a:lnTo>
                  <a:lnTo>
                    <a:pt x="167" y="783"/>
                  </a:lnTo>
                  <a:lnTo>
                    <a:pt x="169" y="784"/>
                  </a:lnTo>
                  <a:lnTo>
                    <a:pt x="174" y="788"/>
                  </a:lnTo>
                  <a:lnTo>
                    <a:pt x="175" y="786"/>
                  </a:lnTo>
                  <a:lnTo>
                    <a:pt x="176" y="785"/>
                  </a:lnTo>
                  <a:lnTo>
                    <a:pt x="177" y="785"/>
                  </a:lnTo>
                  <a:lnTo>
                    <a:pt x="180" y="784"/>
                  </a:lnTo>
                  <a:lnTo>
                    <a:pt x="179" y="786"/>
                  </a:lnTo>
                  <a:lnTo>
                    <a:pt x="178" y="787"/>
                  </a:lnTo>
                  <a:lnTo>
                    <a:pt x="177" y="788"/>
                  </a:lnTo>
                  <a:lnTo>
                    <a:pt x="175" y="788"/>
                  </a:lnTo>
                  <a:lnTo>
                    <a:pt x="178" y="789"/>
                  </a:lnTo>
                  <a:lnTo>
                    <a:pt x="182" y="784"/>
                  </a:lnTo>
                  <a:lnTo>
                    <a:pt x="183" y="781"/>
                  </a:lnTo>
                  <a:lnTo>
                    <a:pt x="181" y="776"/>
                  </a:lnTo>
                  <a:lnTo>
                    <a:pt x="186" y="777"/>
                  </a:lnTo>
                  <a:lnTo>
                    <a:pt x="190" y="780"/>
                  </a:lnTo>
                  <a:lnTo>
                    <a:pt x="193" y="783"/>
                  </a:lnTo>
                  <a:lnTo>
                    <a:pt x="194" y="786"/>
                  </a:lnTo>
                  <a:lnTo>
                    <a:pt x="195" y="787"/>
                  </a:lnTo>
                  <a:lnTo>
                    <a:pt x="196" y="788"/>
                  </a:lnTo>
                  <a:lnTo>
                    <a:pt x="198" y="788"/>
                  </a:lnTo>
                  <a:lnTo>
                    <a:pt x="197" y="790"/>
                  </a:lnTo>
                  <a:lnTo>
                    <a:pt x="198" y="792"/>
                  </a:lnTo>
                  <a:lnTo>
                    <a:pt x="199" y="793"/>
                  </a:lnTo>
                  <a:lnTo>
                    <a:pt x="200" y="794"/>
                  </a:lnTo>
                  <a:lnTo>
                    <a:pt x="203" y="799"/>
                  </a:lnTo>
                  <a:lnTo>
                    <a:pt x="203" y="800"/>
                  </a:lnTo>
                  <a:lnTo>
                    <a:pt x="206" y="801"/>
                  </a:lnTo>
                  <a:lnTo>
                    <a:pt x="210" y="800"/>
                  </a:lnTo>
                  <a:lnTo>
                    <a:pt x="213" y="800"/>
                  </a:lnTo>
                  <a:lnTo>
                    <a:pt x="215" y="802"/>
                  </a:lnTo>
                  <a:lnTo>
                    <a:pt x="224" y="798"/>
                  </a:lnTo>
                  <a:lnTo>
                    <a:pt x="225" y="798"/>
                  </a:lnTo>
                  <a:lnTo>
                    <a:pt x="226" y="801"/>
                  </a:lnTo>
                  <a:lnTo>
                    <a:pt x="230" y="803"/>
                  </a:lnTo>
                  <a:lnTo>
                    <a:pt x="235" y="802"/>
                  </a:lnTo>
                  <a:lnTo>
                    <a:pt x="236" y="803"/>
                  </a:lnTo>
                  <a:lnTo>
                    <a:pt x="238" y="805"/>
                  </a:lnTo>
                  <a:lnTo>
                    <a:pt x="239" y="805"/>
                  </a:lnTo>
                  <a:lnTo>
                    <a:pt x="240" y="806"/>
                  </a:lnTo>
                  <a:lnTo>
                    <a:pt x="245" y="805"/>
                  </a:lnTo>
                  <a:lnTo>
                    <a:pt x="250" y="807"/>
                  </a:lnTo>
                  <a:lnTo>
                    <a:pt x="253" y="807"/>
                  </a:lnTo>
                  <a:lnTo>
                    <a:pt x="254" y="805"/>
                  </a:lnTo>
                  <a:lnTo>
                    <a:pt x="255" y="807"/>
                  </a:lnTo>
                  <a:lnTo>
                    <a:pt x="256" y="808"/>
                  </a:lnTo>
                  <a:lnTo>
                    <a:pt x="258" y="810"/>
                  </a:lnTo>
                  <a:lnTo>
                    <a:pt x="260" y="815"/>
                  </a:lnTo>
                  <a:lnTo>
                    <a:pt x="265" y="821"/>
                  </a:lnTo>
                  <a:lnTo>
                    <a:pt x="265" y="822"/>
                  </a:lnTo>
                  <a:lnTo>
                    <a:pt x="268" y="823"/>
                  </a:lnTo>
                  <a:lnTo>
                    <a:pt x="281" y="820"/>
                  </a:lnTo>
                  <a:lnTo>
                    <a:pt x="281" y="818"/>
                  </a:lnTo>
                  <a:lnTo>
                    <a:pt x="280" y="817"/>
                  </a:lnTo>
                  <a:lnTo>
                    <a:pt x="279" y="816"/>
                  </a:lnTo>
                  <a:lnTo>
                    <a:pt x="278" y="815"/>
                  </a:lnTo>
                  <a:lnTo>
                    <a:pt x="281" y="815"/>
                  </a:lnTo>
                  <a:lnTo>
                    <a:pt x="286" y="812"/>
                  </a:lnTo>
                  <a:lnTo>
                    <a:pt x="290" y="808"/>
                  </a:lnTo>
                  <a:lnTo>
                    <a:pt x="293" y="803"/>
                  </a:lnTo>
                  <a:lnTo>
                    <a:pt x="293" y="805"/>
                  </a:lnTo>
                  <a:lnTo>
                    <a:pt x="292" y="807"/>
                  </a:lnTo>
                  <a:lnTo>
                    <a:pt x="290" y="810"/>
                  </a:lnTo>
                  <a:lnTo>
                    <a:pt x="288" y="815"/>
                  </a:lnTo>
                  <a:lnTo>
                    <a:pt x="287" y="815"/>
                  </a:lnTo>
                  <a:lnTo>
                    <a:pt x="284" y="815"/>
                  </a:lnTo>
                  <a:lnTo>
                    <a:pt x="284" y="816"/>
                  </a:lnTo>
                  <a:lnTo>
                    <a:pt x="284" y="818"/>
                  </a:lnTo>
                  <a:lnTo>
                    <a:pt x="284" y="819"/>
                  </a:lnTo>
                  <a:lnTo>
                    <a:pt x="283" y="820"/>
                  </a:lnTo>
                  <a:lnTo>
                    <a:pt x="282" y="820"/>
                  </a:lnTo>
                  <a:lnTo>
                    <a:pt x="282" y="822"/>
                  </a:lnTo>
                  <a:lnTo>
                    <a:pt x="288" y="822"/>
                  </a:lnTo>
                  <a:lnTo>
                    <a:pt x="291" y="823"/>
                  </a:lnTo>
                  <a:lnTo>
                    <a:pt x="293" y="825"/>
                  </a:lnTo>
                  <a:lnTo>
                    <a:pt x="293" y="826"/>
                  </a:lnTo>
                  <a:lnTo>
                    <a:pt x="287" y="824"/>
                  </a:lnTo>
                  <a:lnTo>
                    <a:pt x="284" y="823"/>
                  </a:lnTo>
                  <a:lnTo>
                    <a:pt x="282" y="825"/>
                  </a:lnTo>
                  <a:lnTo>
                    <a:pt x="286" y="825"/>
                  </a:lnTo>
                  <a:lnTo>
                    <a:pt x="293" y="827"/>
                  </a:lnTo>
                  <a:lnTo>
                    <a:pt x="297" y="828"/>
                  </a:lnTo>
                  <a:lnTo>
                    <a:pt x="302" y="833"/>
                  </a:lnTo>
                  <a:lnTo>
                    <a:pt x="303" y="834"/>
                  </a:lnTo>
                  <a:lnTo>
                    <a:pt x="304" y="833"/>
                  </a:lnTo>
                  <a:lnTo>
                    <a:pt x="305" y="831"/>
                  </a:lnTo>
                  <a:lnTo>
                    <a:pt x="306" y="829"/>
                  </a:lnTo>
                  <a:lnTo>
                    <a:pt x="308" y="828"/>
                  </a:lnTo>
                  <a:lnTo>
                    <a:pt x="306" y="825"/>
                  </a:lnTo>
                  <a:lnTo>
                    <a:pt x="306" y="825"/>
                  </a:lnTo>
                  <a:lnTo>
                    <a:pt x="308" y="824"/>
                  </a:lnTo>
                  <a:lnTo>
                    <a:pt x="309" y="823"/>
                  </a:lnTo>
                  <a:lnTo>
                    <a:pt x="310" y="822"/>
                  </a:lnTo>
                  <a:lnTo>
                    <a:pt x="312" y="823"/>
                  </a:lnTo>
                  <a:lnTo>
                    <a:pt x="312" y="822"/>
                  </a:lnTo>
                  <a:lnTo>
                    <a:pt x="312" y="822"/>
                  </a:lnTo>
                  <a:lnTo>
                    <a:pt x="313" y="822"/>
                  </a:lnTo>
                  <a:lnTo>
                    <a:pt x="313" y="822"/>
                  </a:lnTo>
                  <a:lnTo>
                    <a:pt x="313" y="818"/>
                  </a:lnTo>
                  <a:lnTo>
                    <a:pt x="312" y="816"/>
                  </a:lnTo>
                  <a:lnTo>
                    <a:pt x="310" y="814"/>
                  </a:lnTo>
                  <a:lnTo>
                    <a:pt x="308" y="813"/>
                  </a:lnTo>
                  <a:lnTo>
                    <a:pt x="310" y="813"/>
                  </a:lnTo>
                  <a:lnTo>
                    <a:pt x="313" y="814"/>
                  </a:lnTo>
                  <a:lnTo>
                    <a:pt x="314" y="814"/>
                  </a:lnTo>
                  <a:lnTo>
                    <a:pt x="315" y="812"/>
                  </a:lnTo>
                  <a:lnTo>
                    <a:pt x="316" y="812"/>
                  </a:lnTo>
                  <a:lnTo>
                    <a:pt x="316" y="813"/>
                  </a:lnTo>
                  <a:lnTo>
                    <a:pt x="316" y="818"/>
                  </a:lnTo>
                  <a:lnTo>
                    <a:pt x="317" y="818"/>
                  </a:lnTo>
                  <a:lnTo>
                    <a:pt x="319" y="817"/>
                  </a:lnTo>
                  <a:lnTo>
                    <a:pt x="320" y="817"/>
                  </a:lnTo>
                  <a:lnTo>
                    <a:pt x="320" y="819"/>
                  </a:lnTo>
                  <a:lnTo>
                    <a:pt x="320" y="821"/>
                  </a:lnTo>
                  <a:lnTo>
                    <a:pt x="320" y="822"/>
                  </a:lnTo>
                  <a:lnTo>
                    <a:pt x="321" y="823"/>
                  </a:lnTo>
                  <a:lnTo>
                    <a:pt x="309" y="829"/>
                  </a:lnTo>
                  <a:lnTo>
                    <a:pt x="307" y="835"/>
                  </a:lnTo>
                  <a:lnTo>
                    <a:pt x="307" y="838"/>
                  </a:lnTo>
                  <a:lnTo>
                    <a:pt x="307" y="840"/>
                  </a:lnTo>
                  <a:lnTo>
                    <a:pt x="309" y="841"/>
                  </a:lnTo>
                  <a:lnTo>
                    <a:pt x="311" y="842"/>
                  </a:lnTo>
                  <a:lnTo>
                    <a:pt x="312" y="842"/>
                  </a:lnTo>
                  <a:lnTo>
                    <a:pt x="314" y="845"/>
                  </a:lnTo>
                  <a:lnTo>
                    <a:pt x="316" y="848"/>
                  </a:lnTo>
                  <a:lnTo>
                    <a:pt x="317" y="852"/>
                  </a:lnTo>
                  <a:lnTo>
                    <a:pt x="318" y="857"/>
                  </a:lnTo>
                  <a:lnTo>
                    <a:pt x="317" y="861"/>
                  </a:lnTo>
                  <a:lnTo>
                    <a:pt x="316" y="865"/>
                  </a:lnTo>
                  <a:lnTo>
                    <a:pt x="315" y="867"/>
                  </a:lnTo>
                  <a:lnTo>
                    <a:pt x="316" y="869"/>
                  </a:lnTo>
                  <a:lnTo>
                    <a:pt x="318" y="876"/>
                  </a:lnTo>
                  <a:lnTo>
                    <a:pt x="318" y="876"/>
                  </a:lnTo>
                  <a:lnTo>
                    <a:pt x="320" y="875"/>
                  </a:lnTo>
                  <a:lnTo>
                    <a:pt x="323" y="876"/>
                  </a:lnTo>
                  <a:lnTo>
                    <a:pt x="325" y="876"/>
                  </a:lnTo>
                  <a:lnTo>
                    <a:pt x="322" y="872"/>
                  </a:lnTo>
                  <a:lnTo>
                    <a:pt x="319" y="867"/>
                  </a:lnTo>
                  <a:lnTo>
                    <a:pt x="318" y="860"/>
                  </a:lnTo>
                  <a:lnTo>
                    <a:pt x="320" y="852"/>
                  </a:lnTo>
                  <a:lnTo>
                    <a:pt x="319" y="852"/>
                  </a:lnTo>
                  <a:lnTo>
                    <a:pt x="318" y="851"/>
                  </a:lnTo>
                  <a:lnTo>
                    <a:pt x="318" y="850"/>
                  </a:lnTo>
                  <a:lnTo>
                    <a:pt x="319" y="848"/>
                  </a:lnTo>
                  <a:lnTo>
                    <a:pt x="321" y="848"/>
                  </a:lnTo>
                  <a:lnTo>
                    <a:pt x="323" y="849"/>
                  </a:lnTo>
                  <a:lnTo>
                    <a:pt x="324" y="850"/>
                  </a:lnTo>
                  <a:lnTo>
                    <a:pt x="323" y="851"/>
                  </a:lnTo>
                  <a:lnTo>
                    <a:pt x="322" y="852"/>
                  </a:lnTo>
                  <a:lnTo>
                    <a:pt x="324" y="853"/>
                  </a:lnTo>
                  <a:lnTo>
                    <a:pt x="327" y="853"/>
                  </a:lnTo>
                  <a:lnTo>
                    <a:pt x="332" y="850"/>
                  </a:lnTo>
                  <a:lnTo>
                    <a:pt x="333" y="852"/>
                  </a:lnTo>
                  <a:lnTo>
                    <a:pt x="334" y="852"/>
                  </a:lnTo>
                  <a:lnTo>
                    <a:pt x="336" y="852"/>
                  </a:lnTo>
                  <a:lnTo>
                    <a:pt x="335" y="849"/>
                  </a:lnTo>
                  <a:lnTo>
                    <a:pt x="336" y="846"/>
                  </a:lnTo>
                  <a:lnTo>
                    <a:pt x="337" y="846"/>
                  </a:lnTo>
                  <a:lnTo>
                    <a:pt x="337" y="850"/>
                  </a:lnTo>
                  <a:lnTo>
                    <a:pt x="338" y="852"/>
                  </a:lnTo>
                  <a:lnTo>
                    <a:pt x="339" y="853"/>
                  </a:lnTo>
                  <a:lnTo>
                    <a:pt x="340" y="852"/>
                  </a:lnTo>
                  <a:lnTo>
                    <a:pt x="339" y="849"/>
                  </a:lnTo>
                  <a:lnTo>
                    <a:pt x="342" y="851"/>
                  </a:lnTo>
                  <a:lnTo>
                    <a:pt x="343" y="853"/>
                  </a:lnTo>
                  <a:lnTo>
                    <a:pt x="345" y="855"/>
                  </a:lnTo>
                  <a:lnTo>
                    <a:pt x="346" y="854"/>
                  </a:lnTo>
                  <a:lnTo>
                    <a:pt x="347" y="856"/>
                  </a:lnTo>
                  <a:lnTo>
                    <a:pt x="348" y="857"/>
                  </a:lnTo>
                  <a:lnTo>
                    <a:pt x="348" y="856"/>
                  </a:lnTo>
                  <a:lnTo>
                    <a:pt x="349" y="855"/>
                  </a:lnTo>
                  <a:lnTo>
                    <a:pt x="349" y="854"/>
                  </a:lnTo>
                  <a:lnTo>
                    <a:pt x="347" y="852"/>
                  </a:lnTo>
                  <a:lnTo>
                    <a:pt x="346" y="850"/>
                  </a:lnTo>
                  <a:lnTo>
                    <a:pt x="344" y="847"/>
                  </a:lnTo>
                  <a:lnTo>
                    <a:pt x="344" y="845"/>
                  </a:lnTo>
                  <a:lnTo>
                    <a:pt x="344" y="839"/>
                  </a:lnTo>
                  <a:lnTo>
                    <a:pt x="343" y="837"/>
                  </a:lnTo>
                  <a:lnTo>
                    <a:pt x="343" y="834"/>
                  </a:lnTo>
                  <a:lnTo>
                    <a:pt x="342" y="833"/>
                  </a:lnTo>
                  <a:lnTo>
                    <a:pt x="344" y="833"/>
                  </a:lnTo>
                  <a:lnTo>
                    <a:pt x="344" y="836"/>
                  </a:lnTo>
                  <a:lnTo>
                    <a:pt x="345" y="838"/>
                  </a:lnTo>
                  <a:lnTo>
                    <a:pt x="347" y="839"/>
                  </a:lnTo>
                  <a:lnTo>
                    <a:pt x="349" y="839"/>
                  </a:lnTo>
                  <a:lnTo>
                    <a:pt x="348" y="840"/>
                  </a:lnTo>
                  <a:lnTo>
                    <a:pt x="347" y="842"/>
                  </a:lnTo>
                  <a:lnTo>
                    <a:pt x="347" y="844"/>
                  </a:lnTo>
                  <a:lnTo>
                    <a:pt x="348" y="847"/>
                  </a:lnTo>
                  <a:lnTo>
                    <a:pt x="349" y="847"/>
                  </a:lnTo>
                  <a:lnTo>
                    <a:pt x="350" y="846"/>
                  </a:lnTo>
                  <a:lnTo>
                    <a:pt x="350" y="846"/>
                  </a:lnTo>
                  <a:lnTo>
                    <a:pt x="352" y="846"/>
                  </a:lnTo>
                  <a:lnTo>
                    <a:pt x="352" y="847"/>
                  </a:lnTo>
                  <a:lnTo>
                    <a:pt x="351" y="847"/>
                  </a:lnTo>
                  <a:lnTo>
                    <a:pt x="351" y="849"/>
                  </a:lnTo>
                  <a:lnTo>
                    <a:pt x="357" y="847"/>
                  </a:lnTo>
                  <a:lnTo>
                    <a:pt x="360" y="846"/>
                  </a:lnTo>
                  <a:lnTo>
                    <a:pt x="361" y="843"/>
                  </a:lnTo>
                  <a:lnTo>
                    <a:pt x="363" y="842"/>
                  </a:lnTo>
                  <a:lnTo>
                    <a:pt x="371" y="841"/>
                  </a:lnTo>
                  <a:lnTo>
                    <a:pt x="374" y="839"/>
                  </a:lnTo>
                  <a:lnTo>
                    <a:pt x="372" y="837"/>
                  </a:lnTo>
                  <a:lnTo>
                    <a:pt x="377" y="838"/>
                  </a:lnTo>
                  <a:lnTo>
                    <a:pt x="379" y="840"/>
                  </a:lnTo>
                  <a:lnTo>
                    <a:pt x="381" y="842"/>
                  </a:lnTo>
                  <a:lnTo>
                    <a:pt x="377" y="841"/>
                  </a:lnTo>
                  <a:lnTo>
                    <a:pt x="374" y="841"/>
                  </a:lnTo>
                  <a:lnTo>
                    <a:pt x="382" y="846"/>
                  </a:lnTo>
                  <a:lnTo>
                    <a:pt x="383" y="847"/>
                  </a:lnTo>
                  <a:lnTo>
                    <a:pt x="385" y="847"/>
                  </a:lnTo>
                  <a:lnTo>
                    <a:pt x="386" y="847"/>
                  </a:lnTo>
                  <a:lnTo>
                    <a:pt x="386" y="846"/>
                  </a:lnTo>
                  <a:lnTo>
                    <a:pt x="384" y="844"/>
                  </a:lnTo>
                  <a:lnTo>
                    <a:pt x="386" y="843"/>
                  </a:lnTo>
                  <a:lnTo>
                    <a:pt x="387" y="842"/>
                  </a:lnTo>
                  <a:lnTo>
                    <a:pt x="386" y="841"/>
                  </a:lnTo>
                  <a:lnTo>
                    <a:pt x="385" y="839"/>
                  </a:lnTo>
                  <a:lnTo>
                    <a:pt x="385" y="837"/>
                  </a:lnTo>
                  <a:lnTo>
                    <a:pt x="389" y="842"/>
                  </a:lnTo>
                  <a:lnTo>
                    <a:pt x="388" y="847"/>
                  </a:lnTo>
                  <a:lnTo>
                    <a:pt x="382" y="855"/>
                  </a:lnTo>
                  <a:lnTo>
                    <a:pt x="383" y="857"/>
                  </a:lnTo>
                  <a:lnTo>
                    <a:pt x="380" y="859"/>
                  </a:lnTo>
                  <a:lnTo>
                    <a:pt x="375" y="859"/>
                  </a:lnTo>
                  <a:lnTo>
                    <a:pt x="371" y="858"/>
                  </a:lnTo>
                  <a:lnTo>
                    <a:pt x="369" y="855"/>
                  </a:lnTo>
                  <a:lnTo>
                    <a:pt x="368" y="859"/>
                  </a:lnTo>
                  <a:lnTo>
                    <a:pt x="368" y="860"/>
                  </a:lnTo>
                  <a:lnTo>
                    <a:pt x="366" y="859"/>
                  </a:lnTo>
                  <a:lnTo>
                    <a:pt x="365" y="858"/>
                  </a:lnTo>
                  <a:lnTo>
                    <a:pt x="364" y="859"/>
                  </a:lnTo>
                  <a:lnTo>
                    <a:pt x="363" y="860"/>
                  </a:lnTo>
                  <a:lnTo>
                    <a:pt x="362" y="860"/>
                  </a:lnTo>
                  <a:lnTo>
                    <a:pt x="360" y="856"/>
                  </a:lnTo>
                  <a:lnTo>
                    <a:pt x="356" y="856"/>
                  </a:lnTo>
                  <a:lnTo>
                    <a:pt x="353" y="857"/>
                  </a:lnTo>
                  <a:lnTo>
                    <a:pt x="356" y="858"/>
                  </a:lnTo>
                  <a:lnTo>
                    <a:pt x="356" y="860"/>
                  </a:lnTo>
                  <a:lnTo>
                    <a:pt x="356" y="860"/>
                  </a:lnTo>
                  <a:lnTo>
                    <a:pt x="356" y="860"/>
                  </a:lnTo>
                  <a:lnTo>
                    <a:pt x="358" y="861"/>
                  </a:lnTo>
                  <a:lnTo>
                    <a:pt x="359" y="861"/>
                  </a:lnTo>
                  <a:lnTo>
                    <a:pt x="360" y="862"/>
                  </a:lnTo>
                  <a:lnTo>
                    <a:pt x="361" y="863"/>
                  </a:lnTo>
                  <a:lnTo>
                    <a:pt x="363" y="867"/>
                  </a:lnTo>
                  <a:lnTo>
                    <a:pt x="363" y="868"/>
                  </a:lnTo>
                  <a:lnTo>
                    <a:pt x="366" y="870"/>
                  </a:lnTo>
                  <a:lnTo>
                    <a:pt x="367" y="871"/>
                  </a:lnTo>
                  <a:lnTo>
                    <a:pt x="370" y="872"/>
                  </a:lnTo>
                  <a:lnTo>
                    <a:pt x="373" y="871"/>
                  </a:lnTo>
                  <a:lnTo>
                    <a:pt x="381" y="868"/>
                  </a:lnTo>
                  <a:lnTo>
                    <a:pt x="384" y="868"/>
                  </a:lnTo>
                  <a:lnTo>
                    <a:pt x="389" y="870"/>
                  </a:lnTo>
                  <a:lnTo>
                    <a:pt x="391" y="869"/>
                  </a:lnTo>
                  <a:lnTo>
                    <a:pt x="391" y="863"/>
                  </a:lnTo>
                  <a:lnTo>
                    <a:pt x="393" y="864"/>
                  </a:lnTo>
                  <a:lnTo>
                    <a:pt x="395" y="865"/>
                  </a:lnTo>
                  <a:lnTo>
                    <a:pt x="399" y="865"/>
                  </a:lnTo>
                  <a:lnTo>
                    <a:pt x="399" y="863"/>
                  </a:lnTo>
                  <a:lnTo>
                    <a:pt x="398" y="862"/>
                  </a:lnTo>
                  <a:lnTo>
                    <a:pt x="397" y="862"/>
                  </a:lnTo>
                  <a:lnTo>
                    <a:pt x="396" y="862"/>
                  </a:lnTo>
                  <a:lnTo>
                    <a:pt x="399" y="861"/>
                  </a:lnTo>
                  <a:lnTo>
                    <a:pt x="401" y="861"/>
                  </a:lnTo>
                  <a:lnTo>
                    <a:pt x="403" y="861"/>
                  </a:lnTo>
                  <a:lnTo>
                    <a:pt x="406" y="858"/>
                  </a:lnTo>
                  <a:lnTo>
                    <a:pt x="405" y="862"/>
                  </a:lnTo>
                  <a:lnTo>
                    <a:pt x="402" y="864"/>
                  </a:lnTo>
                  <a:lnTo>
                    <a:pt x="399" y="866"/>
                  </a:lnTo>
                  <a:lnTo>
                    <a:pt x="397" y="867"/>
                  </a:lnTo>
                  <a:lnTo>
                    <a:pt x="399" y="868"/>
                  </a:lnTo>
                  <a:lnTo>
                    <a:pt x="400" y="868"/>
                  </a:lnTo>
                  <a:lnTo>
                    <a:pt x="401" y="867"/>
                  </a:lnTo>
                  <a:lnTo>
                    <a:pt x="402" y="867"/>
                  </a:lnTo>
                  <a:lnTo>
                    <a:pt x="408" y="867"/>
                  </a:lnTo>
                  <a:lnTo>
                    <a:pt x="413" y="865"/>
                  </a:lnTo>
                  <a:lnTo>
                    <a:pt x="415" y="864"/>
                  </a:lnTo>
                  <a:lnTo>
                    <a:pt x="418" y="865"/>
                  </a:lnTo>
                  <a:lnTo>
                    <a:pt x="430" y="870"/>
                  </a:lnTo>
                  <a:lnTo>
                    <a:pt x="433" y="870"/>
                  </a:lnTo>
                  <a:lnTo>
                    <a:pt x="437" y="869"/>
                  </a:lnTo>
                  <a:lnTo>
                    <a:pt x="440" y="870"/>
                  </a:lnTo>
                  <a:lnTo>
                    <a:pt x="436" y="869"/>
                  </a:lnTo>
                  <a:lnTo>
                    <a:pt x="430" y="871"/>
                  </a:lnTo>
                  <a:lnTo>
                    <a:pt x="420" y="872"/>
                  </a:lnTo>
                  <a:lnTo>
                    <a:pt x="419" y="873"/>
                  </a:lnTo>
                  <a:lnTo>
                    <a:pt x="421" y="876"/>
                  </a:lnTo>
                  <a:lnTo>
                    <a:pt x="420" y="881"/>
                  </a:lnTo>
                  <a:lnTo>
                    <a:pt x="422" y="882"/>
                  </a:lnTo>
                  <a:lnTo>
                    <a:pt x="425" y="882"/>
                  </a:lnTo>
                  <a:lnTo>
                    <a:pt x="428" y="884"/>
                  </a:lnTo>
                  <a:lnTo>
                    <a:pt x="426" y="887"/>
                  </a:lnTo>
                  <a:lnTo>
                    <a:pt x="429" y="888"/>
                  </a:lnTo>
                  <a:lnTo>
                    <a:pt x="433" y="888"/>
                  </a:lnTo>
                  <a:lnTo>
                    <a:pt x="435" y="889"/>
                  </a:lnTo>
                  <a:lnTo>
                    <a:pt x="435" y="891"/>
                  </a:lnTo>
                  <a:lnTo>
                    <a:pt x="429" y="894"/>
                  </a:lnTo>
                  <a:lnTo>
                    <a:pt x="428" y="895"/>
                  </a:lnTo>
                  <a:lnTo>
                    <a:pt x="426" y="894"/>
                  </a:lnTo>
                  <a:lnTo>
                    <a:pt x="427" y="893"/>
                  </a:lnTo>
                  <a:lnTo>
                    <a:pt x="427" y="893"/>
                  </a:lnTo>
                  <a:lnTo>
                    <a:pt x="428" y="892"/>
                  </a:lnTo>
                  <a:lnTo>
                    <a:pt x="425" y="891"/>
                  </a:lnTo>
                  <a:lnTo>
                    <a:pt x="423" y="891"/>
                  </a:lnTo>
                  <a:lnTo>
                    <a:pt x="421" y="891"/>
                  </a:lnTo>
                  <a:lnTo>
                    <a:pt x="409" y="898"/>
                  </a:lnTo>
                  <a:lnTo>
                    <a:pt x="415" y="903"/>
                  </a:lnTo>
                  <a:lnTo>
                    <a:pt x="417" y="906"/>
                  </a:lnTo>
                  <a:lnTo>
                    <a:pt x="418" y="913"/>
                  </a:lnTo>
                  <a:lnTo>
                    <a:pt x="419" y="913"/>
                  </a:lnTo>
                  <a:lnTo>
                    <a:pt x="420" y="911"/>
                  </a:lnTo>
                  <a:lnTo>
                    <a:pt x="420" y="910"/>
                  </a:lnTo>
                  <a:lnTo>
                    <a:pt x="419" y="908"/>
                  </a:lnTo>
                  <a:lnTo>
                    <a:pt x="419" y="908"/>
                  </a:lnTo>
                  <a:lnTo>
                    <a:pt x="420" y="907"/>
                  </a:lnTo>
                  <a:lnTo>
                    <a:pt x="421" y="907"/>
                  </a:lnTo>
                  <a:lnTo>
                    <a:pt x="423" y="910"/>
                  </a:lnTo>
                  <a:lnTo>
                    <a:pt x="426" y="913"/>
                  </a:lnTo>
                  <a:lnTo>
                    <a:pt x="428" y="916"/>
                  </a:lnTo>
                  <a:lnTo>
                    <a:pt x="425" y="919"/>
                  </a:lnTo>
                  <a:lnTo>
                    <a:pt x="422" y="920"/>
                  </a:lnTo>
                  <a:lnTo>
                    <a:pt x="415" y="917"/>
                  </a:lnTo>
                  <a:lnTo>
                    <a:pt x="411" y="916"/>
                  </a:lnTo>
                  <a:lnTo>
                    <a:pt x="411" y="918"/>
                  </a:lnTo>
                  <a:lnTo>
                    <a:pt x="426" y="925"/>
                  </a:lnTo>
                  <a:lnTo>
                    <a:pt x="431" y="926"/>
                  </a:lnTo>
                  <a:lnTo>
                    <a:pt x="431" y="925"/>
                  </a:lnTo>
                  <a:lnTo>
                    <a:pt x="431" y="924"/>
                  </a:lnTo>
                  <a:lnTo>
                    <a:pt x="432" y="922"/>
                  </a:lnTo>
                  <a:lnTo>
                    <a:pt x="433" y="921"/>
                  </a:lnTo>
                  <a:lnTo>
                    <a:pt x="434" y="921"/>
                  </a:lnTo>
                  <a:lnTo>
                    <a:pt x="435" y="921"/>
                  </a:lnTo>
                  <a:lnTo>
                    <a:pt x="438" y="921"/>
                  </a:lnTo>
                  <a:lnTo>
                    <a:pt x="441" y="922"/>
                  </a:lnTo>
                  <a:lnTo>
                    <a:pt x="445" y="927"/>
                  </a:lnTo>
                  <a:lnTo>
                    <a:pt x="447" y="929"/>
                  </a:lnTo>
                  <a:lnTo>
                    <a:pt x="450" y="930"/>
                  </a:lnTo>
                  <a:lnTo>
                    <a:pt x="453" y="930"/>
                  </a:lnTo>
                  <a:lnTo>
                    <a:pt x="456" y="929"/>
                  </a:lnTo>
                  <a:lnTo>
                    <a:pt x="460" y="925"/>
                  </a:lnTo>
                  <a:lnTo>
                    <a:pt x="464" y="924"/>
                  </a:lnTo>
                  <a:lnTo>
                    <a:pt x="466" y="922"/>
                  </a:lnTo>
                  <a:lnTo>
                    <a:pt x="467" y="921"/>
                  </a:lnTo>
                  <a:lnTo>
                    <a:pt x="468" y="920"/>
                  </a:lnTo>
                  <a:lnTo>
                    <a:pt x="469" y="918"/>
                  </a:lnTo>
                  <a:lnTo>
                    <a:pt x="474" y="915"/>
                  </a:lnTo>
                  <a:lnTo>
                    <a:pt x="496" y="913"/>
                  </a:lnTo>
                  <a:lnTo>
                    <a:pt x="502" y="915"/>
                  </a:lnTo>
                  <a:lnTo>
                    <a:pt x="504" y="917"/>
                  </a:lnTo>
                  <a:lnTo>
                    <a:pt x="505" y="918"/>
                  </a:lnTo>
                  <a:lnTo>
                    <a:pt x="509" y="918"/>
                  </a:lnTo>
                  <a:lnTo>
                    <a:pt x="512" y="919"/>
                  </a:lnTo>
                  <a:lnTo>
                    <a:pt x="518" y="923"/>
                  </a:lnTo>
                  <a:lnTo>
                    <a:pt x="523" y="927"/>
                  </a:lnTo>
                  <a:lnTo>
                    <a:pt x="528" y="933"/>
                  </a:lnTo>
                  <a:lnTo>
                    <a:pt x="531" y="935"/>
                  </a:lnTo>
                  <a:lnTo>
                    <a:pt x="537" y="936"/>
                  </a:lnTo>
                  <a:lnTo>
                    <a:pt x="541" y="939"/>
                  </a:lnTo>
                  <a:lnTo>
                    <a:pt x="532" y="938"/>
                  </a:lnTo>
                  <a:lnTo>
                    <a:pt x="528" y="937"/>
                  </a:lnTo>
                  <a:lnTo>
                    <a:pt x="525" y="933"/>
                  </a:lnTo>
                  <a:lnTo>
                    <a:pt x="523" y="932"/>
                  </a:lnTo>
                  <a:lnTo>
                    <a:pt x="517" y="930"/>
                  </a:lnTo>
                  <a:lnTo>
                    <a:pt x="510" y="926"/>
                  </a:lnTo>
                  <a:lnTo>
                    <a:pt x="510" y="924"/>
                  </a:lnTo>
                  <a:lnTo>
                    <a:pt x="513" y="924"/>
                  </a:lnTo>
                  <a:lnTo>
                    <a:pt x="512" y="922"/>
                  </a:lnTo>
                  <a:lnTo>
                    <a:pt x="510" y="921"/>
                  </a:lnTo>
                  <a:lnTo>
                    <a:pt x="509" y="921"/>
                  </a:lnTo>
                  <a:lnTo>
                    <a:pt x="507" y="921"/>
                  </a:lnTo>
                  <a:lnTo>
                    <a:pt x="508" y="923"/>
                  </a:lnTo>
                  <a:lnTo>
                    <a:pt x="505" y="923"/>
                  </a:lnTo>
                  <a:lnTo>
                    <a:pt x="497" y="921"/>
                  </a:lnTo>
                  <a:lnTo>
                    <a:pt x="496" y="919"/>
                  </a:lnTo>
                  <a:lnTo>
                    <a:pt x="495" y="918"/>
                  </a:lnTo>
                  <a:lnTo>
                    <a:pt x="494" y="918"/>
                  </a:lnTo>
                  <a:lnTo>
                    <a:pt x="493" y="919"/>
                  </a:lnTo>
                  <a:lnTo>
                    <a:pt x="492" y="919"/>
                  </a:lnTo>
                  <a:lnTo>
                    <a:pt x="477" y="921"/>
                  </a:lnTo>
                  <a:lnTo>
                    <a:pt x="473" y="923"/>
                  </a:lnTo>
                  <a:lnTo>
                    <a:pt x="472" y="925"/>
                  </a:lnTo>
                  <a:lnTo>
                    <a:pt x="471" y="927"/>
                  </a:lnTo>
                  <a:lnTo>
                    <a:pt x="470" y="930"/>
                  </a:lnTo>
                  <a:lnTo>
                    <a:pt x="470" y="933"/>
                  </a:lnTo>
                  <a:lnTo>
                    <a:pt x="470" y="936"/>
                  </a:lnTo>
                  <a:lnTo>
                    <a:pt x="472" y="940"/>
                  </a:lnTo>
                  <a:lnTo>
                    <a:pt x="472" y="943"/>
                  </a:lnTo>
                  <a:lnTo>
                    <a:pt x="471" y="947"/>
                  </a:lnTo>
                  <a:lnTo>
                    <a:pt x="471" y="949"/>
                  </a:lnTo>
                  <a:lnTo>
                    <a:pt x="470" y="950"/>
                  </a:lnTo>
                  <a:lnTo>
                    <a:pt x="464" y="950"/>
                  </a:lnTo>
                  <a:lnTo>
                    <a:pt x="463" y="951"/>
                  </a:lnTo>
                  <a:lnTo>
                    <a:pt x="461" y="953"/>
                  </a:lnTo>
                  <a:lnTo>
                    <a:pt x="459" y="955"/>
                  </a:lnTo>
                  <a:lnTo>
                    <a:pt x="464" y="958"/>
                  </a:lnTo>
                  <a:lnTo>
                    <a:pt x="483" y="961"/>
                  </a:lnTo>
                  <a:lnTo>
                    <a:pt x="493" y="966"/>
                  </a:lnTo>
                  <a:lnTo>
                    <a:pt x="495" y="969"/>
                  </a:lnTo>
                  <a:lnTo>
                    <a:pt x="497" y="971"/>
                  </a:lnTo>
                  <a:lnTo>
                    <a:pt x="498" y="975"/>
                  </a:lnTo>
                  <a:lnTo>
                    <a:pt x="499" y="979"/>
                  </a:lnTo>
                  <a:lnTo>
                    <a:pt x="496" y="982"/>
                  </a:lnTo>
                  <a:lnTo>
                    <a:pt x="494" y="986"/>
                  </a:lnTo>
                  <a:lnTo>
                    <a:pt x="491" y="994"/>
                  </a:lnTo>
                  <a:lnTo>
                    <a:pt x="489" y="998"/>
                  </a:lnTo>
                  <a:lnTo>
                    <a:pt x="483" y="1001"/>
                  </a:lnTo>
                  <a:lnTo>
                    <a:pt x="481" y="1004"/>
                  </a:lnTo>
                  <a:lnTo>
                    <a:pt x="482" y="1007"/>
                  </a:lnTo>
                  <a:lnTo>
                    <a:pt x="478" y="1010"/>
                  </a:lnTo>
                  <a:lnTo>
                    <a:pt x="477" y="1012"/>
                  </a:lnTo>
                  <a:lnTo>
                    <a:pt x="476" y="1017"/>
                  </a:lnTo>
                  <a:lnTo>
                    <a:pt x="477" y="1021"/>
                  </a:lnTo>
                  <a:lnTo>
                    <a:pt x="477" y="1026"/>
                  </a:lnTo>
                  <a:lnTo>
                    <a:pt x="478" y="1029"/>
                  </a:lnTo>
                  <a:lnTo>
                    <a:pt x="480" y="1031"/>
                  </a:lnTo>
                  <a:lnTo>
                    <a:pt x="484" y="1032"/>
                  </a:lnTo>
                  <a:lnTo>
                    <a:pt x="489" y="1036"/>
                  </a:lnTo>
                  <a:lnTo>
                    <a:pt x="498" y="1045"/>
                  </a:lnTo>
                  <a:lnTo>
                    <a:pt x="503" y="1055"/>
                  </a:lnTo>
                  <a:lnTo>
                    <a:pt x="504" y="1056"/>
                  </a:lnTo>
                  <a:lnTo>
                    <a:pt x="507" y="1056"/>
                  </a:lnTo>
                  <a:lnTo>
                    <a:pt x="509" y="1057"/>
                  </a:lnTo>
                  <a:lnTo>
                    <a:pt x="512" y="1059"/>
                  </a:lnTo>
                  <a:lnTo>
                    <a:pt x="513" y="1065"/>
                  </a:lnTo>
                  <a:lnTo>
                    <a:pt x="515" y="1067"/>
                  </a:lnTo>
                  <a:lnTo>
                    <a:pt x="518" y="1069"/>
                  </a:lnTo>
                  <a:lnTo>
                    <a:pt x="520" y="1072"/>
                  </a:lnTo>
                  <a:lnTo>
                    <a:pt x="521" y="1075"/>
                  </a:lnTo>
                  <a:lnTo>
                    <a:pt x="522" y="1078"/>
                  </a:lnTo>
                  <a:lnTo>
                    <a:pt x="523" y="1080"/>
                  </a:lnTo>
                  <a:lnTo>
                    <a:pt x="525" y="1082"/>
                  </a:lnTo>
                  <a:lnTo>
                    <a:pt x="525" y="1085"/>
                  </a:lnTo>
                  <a:lnTo>
                    <a:pt x="528" y="1102"/>
                  </a:lnTo>
                  <a:lnTo>
                    <a:pt x="530" y="1104"/>
                  </a:lnTo>
                  <a:lnTo>
                    <a:pt x="531" y="1105"/>
                  </a:lnTo>
                  <a:lnTo>
                    <a:pt x="532" y="1104"/>
                  </a:lnTo>
                  <a:lnTo>
                    <a:pt x="532" y="1102"/>
                  </a:lnTo>
                  <a:lnTo>
                    <a:pt x="531" y="1098"/>
                  </a:lnTo>
                  <a:lnTo>
                    <a:pt x="531" y="1096"/>
                  </a:lnTo>
                  <a:lnTo>
                    <a:pt x="532" y="1098"/>
                  </a:lnTo>
                  <a:lnTo>
                    <a:pt x="534" y="1103"/>
                  </a:lnTo>
                  <a:lnTo>
                    <a:pt x="535" y="1105"/>
                  </a:lnTo>
                  <a:lnTo>
                    <a:pt x="537" y="1106"/>
                  </a:lnTo>
                  <a:lnTo>
                    <a:pt x="542" y="1107"/>
                  </a:lnTo>
                  <a:lnTo>
                    <a:pt x="547" y="1112"/>
                  </a:lnTo>
                  <a:lnTo>
                    <a:pt x="555" y="1114"/>
                  </a:lnTo>
                  <a:lnTo>
                    <a:pt x="558" y="1116"/>
                  </a:lnTo>
                  <a:lnTo>
                    <a:pt x="557" y="1119"/>
                  </a:lnTo>
                  <a:lnTo>
                    <a:pt x="561" y="1120"/>
                  </a:lnTo>
                  <a:lnTo>
                    <a:pt x="572" y="1121"/>
                  </a:lnTo>
                  <a:lnTo>
                    <a:pt x="576" y="1122"/>
                  </a:lnTo>
                  <a:lnTo>
                    <a:pt x="580" y="1124"/>
                  </a:lnTo>
                  <a:lnTo>
                    <a:pt x="582" y="1128"/>
                  </a:lnTo>
                  <a:lnTo>
                    <a:pt x="583" y="1134"/>
                  </a:lnTo>
                  <a:lnTo>
                    <a:pt x="585" y="1139"/>
                  </a:lnTo>
                  <a:lnTo>
                    <a:pt x="589" y="1139"/>
                  </a:lnTo>
                  <a:lnTo>
                    <a:pt x="597" y="1136"/>
                  </a:lnTo>
                  <a:lnTo>
                    <a:pt x="599" y="1137"/>
                  </a:lnTo>
                  <a:lnTo>
                    <a:pt x="603" y="1141"/>
                  </a:lnTo>
                  <a:lnTo>
                    <a:pt x="608" y="1144"/>
                  </a:lnTo>
                  <a:lnTo>
                    <a:pt x="609" y="1144"/>
                  </a:lnTo>
                  <a:lnTo>
                    <a:pt x="612" y="1145"/>
                  </a:lnTo>
                  <a:lnTo>
                    <a:pt x="615" y="1149"/>
                  </a:lnTo>
                  <a:lnTo>
                    <a:pt x="618" y="1153"/>
                  </a:lnTo>
                  <a:lnTo>
                    <a:pt x="622" y="1154"/>
                  </a:lnTo>
                  <a:lnTo>
                    <a:pt x="622" y="1146"/>
                  </a:lnTo>
                  <a:lnTo>
                    <a:pt x="628" y="1143"/>
                  </a:lnTo>
                  <a:lnTo>
                    <a:pt x="635" y="1143"/>
                  </a:lnTo>
                  <a:lnTo>
                    <a:pt x="638" y="1148"/>
                  </a:lnTo>
                  <a:lnTo>
                    <a:pt x="639" y="1152"/>
                  </a:lnTo>
                  <a:lnTo>
                    <a:pt x="640" y="1154"/>
                  </a:lnTo>
                  <a:lnTo>
                    <a:pt x="640" y="1155"/>
                  </a:lnTo>
                  <a:lnTo>
                    <a:pt x="638" y="1158"/>
                  </a:lnTo>
                  <a:lnTo>
                    <a:pt x="627" y="1165"/>
                  </a:lnTo>
                  <a:lnTo>
                    <a:pt x="626" y="1168"/>
                  </a:lnTo>
                  <a:lnTo>
                    <a:pt x="626" y="1173"/>
                  </a:lnTo>
                  <a:lnTo>
                    <a:pt x="625" y="1174"/>
                  </a:lnTo>
                  <a:lnTo>
                    <a:pt x="624" y="1175"/>
                  </a:lnTo>
                  <a:lnTo>
                    <a:pt x="622" y="1178"/>
                  </a:lnTo>
                  <a:lnTo>
                    <a:pt x="623" y="1180"/>
                  </a:lnTo>
                  <a:lnTo>
                    <a:pt x="624" y="1181"/>
                  </a:lnTo>
                  <a:lnTo>
                    <a:pt x="625" y="1181"/>
                  </a:lnTo>
                  <a:lnTo>
                    <a:pt x="627" y="1181"/>
                  </a:lnTo>
                  <a:lnTo>
                    <a:pt x="629" y="1182"/>
                  </a:lnTo>
                  <a:lnTo>
                    <a:pt x="631" y="1182"/>
                  </a:lnTo>
                  <a:lnTo>
                    <a:pt x="632" y="1182"/>
                  </a:lnTo>
                  <a:lnTo>
                    <a:pt x="632" y="1183"/>
                  </a:lnTo>
                  <a:lnTo>
                    <a:pt x="632" y="1184"/>
                  </a:lnTo>
                  <a:lnTo>
                    <a:pt x="632" y="1185"/>
                  </a:lnTo>
                  <a:lnTo>
                    <a:pt x="632" y="1185"/>
                  </a:lnTo>
                  <a:lnTo>
                    <a:pt x="634" y="1185"/>
                  </a:lnTo>
                  <a:lnTo>
                    <a:pt x="637" y="1188"/>
                  </a:lnTo>
                  <a:lnTo>
                    <a:pt x="635" y="1190"/>
                  </a:lnTo>
                  <a:lnTo>
                    <a:pt x="635" y="1191"/>
                  </a:lnTo>
                  <a:lnTo>
                    <a:pt x="636" y="1192"/>
                  </a:lnTo>
                  <a:lnTo>
                    <a:pt x="637" y="1193"/>
                  </a:lnTo>
                  <a:lnTo>
                    <a:pt x="638" y="1193"/>
                  </a:lnTo>
                  <a:lnTo>
                    <a:pt x="640" y="1194"/>
                  </a:lnTo>
                  <a:lnTo>
                    <a:pt x="640" y="1194"/>
                  </a:lnTo>
                  <a:lnTo>
                    <a:pt x="641" y="1195"/>
                  </a:lnTo>
                  <a:lnTo>
                    <a:pt x="641" y="1197"/>
                  </a:lnTo>
                  <a:lnTo>
                    <a:pt x="642" y="1200"/>
                  </a:lnTo>
                  <a:lnTo>
                    <a:pt x="642" y="1203"/>
                  </a:lnTo>
                  <a:lnTo>
                    <a:pt x="643" y="1204"/>
                  </a:lnTo>
                  <a:lnTo>
                    <a:pt x="645" y="1206"/>
                  </a:lnTo>
                  <a:lnTo>
                    <a:pt x="647" y="1207"/>
                  </a:lnTo>
                  <a:lnTo>
                    <a:pt x="648" y="1208"/>
                  </a:lnTo>
                  <a:lnTo>
                    <a:pt x="648" y="1209"/>
                  </a:lnTo>
                  <a:lnTo>
                    <a:pt x="648" y="1210"/>
                  </a:lnTo>
                  <a:lnTo>
                    <a:pt x="646" y="1214"/>
                  </a:lnTo>
                  <a:lnTo>
                    <a:pt x="644" y="1216"/>
                  </a:lnTo>
                  <a:lnTo>
                    <a:pt x="642" y="1216"/>
                  </a:lnTo>
                  <a:lnTo>
                    <a:pt x="638" y="1213"/>
                  </a:lnTo>
                  <a:lnTo>
                    <a:pt x="640" y="1221"/>
                  </a:lnTo>
                  <a:lnTo>
                    <a:pt x="642" y="1224"/>
                  </a:lnTo>
                  <a:lnTo>
                    <a:pt x="645" y="1226"/>
                  </a:lnTo>
                  <a:lnTo>
                    <a:pt x="644" y="1226"/>
                  </a:lnTo>
                  <a:lnTo>
                    <a:pt x="643" y="1228"/>
                  </a:lnTo>
                  <a:lnTo>
                    <a:pt x="642" y="1229"/>
                  </a:lnTo>
                  <a:lnTo>
                    <a:pt x="643" y="1230"/>
                  </a:lnTo>
                  <a:lnTo>
                    <a:pt x="644" y="1232"/>
                  </a:lnTo>
                  <a:lnTo>
                    <a:pt x="645" y="1234"/>
                  </a:lnTo>
                  <a:lnTo>
                    <a:pt x="645" y="1237"/>
                  </a:lnTo>
                  <a:lnTo>
                    <a:pt x="644" y="1239"/>
                  </a:lnTo>
                  <a:lnTo>
                    <a:pt x="643" y="1240"/>
                  </a:lnTo>
                  <a:lnTo>
                    <a:pt x="642" y="1239"/>
                  </a:lnTo>
                  <a:lnTo>
                    <a:pt x="640" y="1240"/>
                  </a:lnTo>
                  <a:lnTo>
                    <a:pt x="638" y="1241"/>
                  </a:lnTo>
                  <a:lnTo>
                    <a:pt x="636" y="1243"/>
                  </a:lnTo>
                  <a:lnTo>
                    <a:pt x="635" y="1244"/>
                  </a:lnTo>
                  <a:lnTo>
                    <a:pt x="635" y="1245"/>
                  </a:lnTo>
                  <a:lnTo>
                    <a:pt x="634" y="1247"/>
                  </a:lnTo>
                  <a:lnTo>
                    <a:pt x="632" y="1248"/>
                  </a:lnTo>
                  <a:lnTo>
                    <a:pt x="633" y="1250"/>
                  </a:lnTo>
                  <a:lnTo>
                    <a:pt x="634" y="1253"/>
                  </a:lnTo>
                  <a:lnTo>
                    <a:pt x="635" y="1257"/>
                  </a:lnTo>
                  <a:lnTo>
                    <a:pt x="635" y="1259"/>
                  </a:lnTo>
                  <a:lnTo>
                    <a:pt x="636" y="1261"/>
                  </a:lnTo>
                  <a:lnTo>
                    <a:pt x="640" y="1266"/>
                  </a:lnTo>
                  <a:lnTo>
                    <a:pt x="655" y="1278"/>
                  </a:lnTo>
                  <a:lnTo>
                    <a:pt x="658" y="1282"/>
                  </a:lnTo>
                  <a:lnTo>
                    <a:pt x="647" y="1277"/>
                  </a:lnTo>
                  <a:lnTo>
                    <a:pt x="645" y="1275"/>
                  </a:lnTo>
                  <a:lnTo>
                    <a:pt x="643" y="1273"/>
                  </a:lnTo>
                  <a:lnTo>
                    <a:pt x="633" y="1262"/>
                  </a:lnTo>
                  <a:lnTo>
                    <a:pt x="630" y="1262"/>
                  </a:lnTo>
                  <a:lnTo>
                    <a:pt x="619" y="1265"/>
                  </a:lnTo>
                  <a:lnTo>
                    <a:pt x="619" y="1268"/>
                  </a:lnTo>
                  <a:lnTo>
                    <a:pt x="617" y="1283"/>
                  </a:lnTo>
                  <a:lnTo>
                    <a:pt x="620" y="1285"/>
                  </a:lnTo>
                  <a:lnTo>
                    <a:pt x="625" y="1283"/>
                  </a:lnTo>
                  <a:lnTo>
                    <a:pt x="628" y="1286"/>
                  </a:lnTo>
                  <a:lnTo>
                    <a:pt x="630" y="1288"/>
                  </a:lnTo>
                  <a:lnTo>
                    <a:pt x="632" y="1290"/>
                  </a:lnTo>
                  <a:lnTo>
                    <a:pt x="635" y="1292"/>
                  </a:lnTo>
                  <a:lnTo>
                    <a:pt x="638" y="1293"/>
                  </a:lnTo>
                  <a:lnTo>
                    <a:pt x="643" y="1295"/>
                  </a:lnTo>
                  <a:lnTo>
                    <a:pt x="651" y="1303"/>
                  </a:lnTo>
                  <a:lnTo>
                    <a:pt x="656" y="1305"/>
                  </a:lnTo>
                  <a:lnTo>
                    <a:pt x="657" y="1306"/>
                  </a:lnTo>
                  <a:lnTo>
                    <a:pt x="658" y="1310"/>
                  </a:lnTo>
                  <a:lnTo>
                    <a:pt x="659" y="1311"/>
                  </a:lnTo>
                  <a:lnTo>
                    <a:pt x="681" y="1328"/>
                  </a:lnTo>
                  <a:lnTo>
                    <a:pt x="689" y="1336"/>
                  </a:lnTo>
                  <a:lnTo>
                    <a:pt x="692" y="1342"/>
                  </a:lnTo>
                  <a:lnTo>
                    <a:pt x="695" y="1348"/>
                  </a:lnTo>
                  <a:lnTo>
                    <a:pt x="700" y="1362"/>
                  </a:lnTo>
                  <a:lnTo>
                    <a:pt x="703" y="1371"/>
                  </a:lnTo>
                  <a:lnTo>
                    <a:pt x="709" y="1414"/>
                  </a:lnTo>
                  <a:lnTo>
                    <a:pt x="711" y="1421"/>
                  </a:lnTo>
                  <a:lnTo>
                    <a:pt x="713" y="1427"/>
                  </a:lnTo>
                  <a:lnTo>
                    <a:pt x="719" y="1431"/>
                  </a:lnTo>
                  <a:lnTo>
                    <a:pt x="726" y="1434"/>
                  </a:lnTo>
                  <a:lnTo>
                    <a:pt x="732" y="1437"/>
                  </a:lnTo>
                  <a:lnTo>
                    <a:pt x="736" y="1444"/>
                  </a:lnTo>
                  <a:lnTo>
                    <a:pt x="733" y="1441"/>
                  </a:lnTo>
                  <a:lnTo>
                    <a:pt x="729" y="1439"/>
                  </a:lnTo>
                  <a:lnTo>
                    <a:pt x="725" y="1438"/>
                  </a:lnTo>
                  <a:lnTo>
                    <a:pt x="720" y="1438"/>
                  </a:lnTo>
                  <a:lnTo>
                    <a:pt x="724" y="1440"/>
                  </a:lnTo>
                  <a:lnTo>
                    <a:pt x="727" y="1444"/>
                  </a:lnTo>
                  <a:lnTo>
                    <a:pt x="729" y="1448"/>
                  </a:lnTo>
                  <a:lnTo>
                    <a:pt x="728" y="1454"/>
                  </a:lnTo>
                  <a:lnTo>
                    <a:pt x="728" y="1457"/>
                  </a:lnTo>
                  <a:lnTo>
                    <a:pt x="729" y="1463"/>
                  </a:lnTo>
                  <a:lnTo>
                    <a:pt x="730" y="1467"/>
                  </a:lnTo>
                  <a:lnTo>
                    <a:pt x="728" y="1465"/>
                  </a:lnTo>
                  <a:lnTo>
                    <a:pt x="726" y="1462"/>
                  </a:lnTo>
                  <a:lnTo>
                    <a:pt x="726" y="1457"/>
                  </a:lnTo>
                  <a:lnTo>
                    <a:pt x="725" y="1452"/>
                  </a:lnTo>
                  <a:lnTo>
                    <a:pt x="726" y="1448"/>
                  </a:lnTo>
                  <a:lnTo>
                    <a:pt x="726" y="1447"/>
                  </a:lnTo>
                  <a:lnTo>
                    <a:pt x="724" y="1444"/>
                  </a:lnTo>
                  <a:lnTo>
                    <a:pt x="723" y="1442"/>
                  </a:lnTo>
                  <a:lnTo>
                    <a:pt x="718" y="1439"/>
                  </a:lnTo>
                  <a:lnTo>
                    <a:pt x="712" y="1433"/>
                  </a:lnTo>
                  <a:lnTo>
                    <a:pt x="706" y="1426"/>
                  </a:lnTo>
                  <a:lnTo>
                    <a:pt x="701" y="1413"/>
                  </a:lnTo>
                  <a:lnTo>
                    <a:pt x="700" y="1410"/>
                  </a:lnTo>
                  <a:lnTo>
                    <a:pt x="697" y="1390"/>
                  </a:lnTo>
                  <a:lnTo>
                    <a:pt x="695" y="1381"/>
                  </a:lnTo>
                  <a:lnTo>
                    <a:pt x="695" y="1377"/>
                  </a:lnTo>
                  <a:lnTo>
                    <a:pt x="693" y="1370"/>
                  </a:lnTo>
                  <a:lnTo>
                    <a:pt x="689" y="1364"/>
                  </a:lnTo>
                  <a:lnTo>
                    <a:pt x="669" y="1342"/>
                  </a:lnTo>
                  <a:lnTo>
                    <a:pt x="667" y="1341"/>
                  </a:lnTo>
                  <a:lnTo>
                    <a:pt x="660" y="1337"/>
                  </a:lnTo>
                  <a:lnTo>
                    <a:pt x="650" y="1329"/>
                  </a:lnTo>
                  <a:lnTo>
                    <a:pt x="648" y="1327"/>
                  </a:lnTo>
                  <a:lnTo>
                    <a:pt x="646" y="1325"/>
                  </a:lnTo>
                  <a:lnTo>
                    <a:pt x="646" y="1324"/>
                  </a:lnTo>
                  <a:lnTo>
                    <a:pt x="646" y="1322"/>
                  </a:lnTo>
                  <a:lnTo>
                    <a:pt x="646" y="1321"/>
                  </a:lnTo>
                  <a:lnTo>
                    <a:pt x="647" y="1321"/>
                  </a:lnTo>
                  <a:lnTo>
                    <a:pt x="647" y="1318"/>
                  </a:lnTo>
                  <a:lnTo>
                    <a:pt x="647" y="1316"/>
                  </a:lnTo>
                  <a:lnTo>
                    <a:pt x="647" y="1315"/>
                  </a:lnTo>
                  <a:lnTo>
                    <a:pt x="645" y="1314"/>
                  </a:lnTo>
                  <a:lnTo>
                    <a:pt x="642" y="1315"/>
                  </a:lnTo>
                  <a:lnTo>
                    <a:pt x="640" y="1319"/>
                  </a:lnTo>
                  <a:lnTo>
                    <a:pt x="635" y="1330"/>
                  </a:lnTo>
                  <a:lnTo>
                    <a:pt x="634" y="1333"/>
                  </a:lnTo>
                  <a:lnTo>
                    <a:pt x="631" y="1381"/>
                  </a:lnTo>
                  <a:lnTo>
                    <a:pt x="624" y="1416"/>
                  </a:lnTo>
                  <a:lnTo>
                    <a:pt x="615" y="1526"/>
                  </a:lnTo>
                  <a:lnTo>
                    <a:pt x="616" y="1524"/>
                  </a:lnTo>
                  <a:lnTo>
                    <a:pt x="617" y="1518"/>
                  </a:lnTo>
                  <a:lnTo>
                    <a:pt x="619" y="1509"/>
                  </a:lnTo>
                  <a:lnTo>
                    <a:pt x="626" y="1498"/>
                  </a:lnTo>
                  <a:lnTo>
                    <a:pt x="627" y="1496"/>
                  </a:lnTo>
                  <a:lnTo>
                    <a:pt x="627" y="1495"/>
                  </a:lnTo>
                  <a:lnTo>
                    <a:pt x="628" y="1494"/>
                  </a:lnTo>
                  <a:lnTo>
                    <a:pt x="628" y="1493"/>
                  </a:lnTo>
                  <a:lnTo>
                    <a:pt x="629" y="1493"/>
                  </a:lnTo>
                  <a:lnTo>
                    <a:pt x="630" y="1492"/>
                  </a:lnTo>
                  <a:lnTo>
                    <a:pt x="630" y="1493"/>
                  </a:lnTo>
                  <a:lnTo>
                    <a:pt x="631" y="1494"/>
                  </a:lnTo>
                  <a:lnTo>
                    <a:pt x="632" y="1494"/>
                  </a:lnTo>
                  <a:lnTo>
                    <a:pt x="634" y="1495"/>
                  </a:lnTo>
                  <a:lnTo>
                    <a:pt x="645" y="1506"/>
                  </a:lnTo>
                  <a:lnTo>
                    <a:pt x="647" y="1509"/>
                  </a:lnTo>
                  <a:lnTo>
                    <a:pt x="645" y="1509"/>
                  </a:lnTo>
                  <a:lnTo>
                    <a:pt x="649" y="1514"/>
                  </a:lnTo>
                  <a:lnTo>
                    <a:pt x="649" y="1517"/>
                  </a:lnTo>
                  <a:lnTo>
                    <a:pt x="645" y="1519"/>
                  </a:lnTo>
                  <a:lnTo>
                    <a:pt x="640" y="1520"/>
                  </a:lnTo>
                  <a:lnTo>
                    <a:pt x="630" y="1518"/>
                  </a:lnTo>
                  <a:lnTo>
                    <a:pt x="626" y="1518"/>
                  </a:lnTo>
                  <a:lnTo>
                    <a:pt x="623" y="1522"/>
                  </a:lnTo>
                  <a:lnTo>
                    <a:pt x="621" y="1532"/>
                  </a:lnTo>
                  <a:lnTo>
                    <a:pt x="620" y="1535"/>
                  </a:lnTo>
                  <a:lnTo>
                    <a:pt x="619" y="1536"/>
                  </a:lnTo>
                  <a:lnTo>
                    <a:pt x="615" y="1542"/>
                  </a:lnTo>
                  <a:lnTo>
                    <a:pt x="615" y="1544"/>
                  </a:lnTo>
                  <a:lnTo>
                    <a:pt x="616" y="1550"/>
                  </a:lnTo>
                  <a:lnTo>
                    <a:pt x="617" y="1554"/>
                  </a:lnTo>
                  <a:lnTo>
                    <a:pt x="616" y="1567"/>
                  </a:lnTo>
                  <a:lnTo>
                    <a:pt x="611" y="1598"/>
                  </a:lnTo>
                  <a:lnTo>
                    <a:pt x="601" y="1661"/>
                  </a:lnTo>
                  <a:lnTo>
                    <a:pt x="596" y="1689"/>
                  </a:lnTo>
                  <a:lnTo>
                    <a:pt x="592" y="1702"/>
                  </a:lnTo>
                  <a:lnTo>
                    <a:pt x="585" y="1738"/>
                  </a:lnTo>
                  <a:lnTo>
                    <a:pt x="581" y="1750"/>
                  </a:lnTo>
                  <a:lnTo>
                    <a:pt x="580" y="1757"/>
                  </a:lnTo>
                  <a:lnTo>
                    <a:pt x="576" y="1764"/>
                  </a:lnTo>
                  <a:lnTo>
                    <a:pt x="574" y="1766"/>
                  </a:lnTo>
                  <a:lnTo>
                    <a:pt x="568" y="1774"/>
                  </a:lnTo>
                  <a:lnTo>
                    <a:pt x="567" y="1776"/>
                  </a:lnTo>
                  <a:lnTo>
                    <a:pt x="566" y="1778"/>
                  </a:lnTo>
                  <a:lnTo>
                    <a:pt x="562" y="1785"/>
                  </a:lnTo>
                  <a:lnTo>
                    <a:pt x="561" y="1787"/>
                  </a:lnTo>
                  <a:lnTo>
                    <a:pt x="558" y="1789"/>
                  </a:lnTo>
                  <a:lnTo>
                    <a:pt x="555" y="1791"/>
                  </a:lnTo>
                  <a:lnTo>
                    <a:pt x="551" y="1796"/>
                  </a:lnTo>
                  <a:lnTo>
                    <a:pt x="537" y="1799"/>
                  </a:lnTo>
                  <a:lnTo>
                    <a:pt x="534" y="1800"/>
                  </a:lnTo>
                  <a:lnTo>
                    <a:pt x="533" y="1801"/>
                  </a:lnTo>
                  <a:lnTo>
                    <a:pt x="530" y="1800"/>
                  </a:lnTo>
                  <a:lnTo>
                    <a:pt x="530" y="1800"/>
                  </a:lnTo>
                  <a:lnTo>
                    <a:pt x="530" y="1799"/>
                  </a:lnTo>
                  <a:lnTo>
                    <a:pt x="529" y="1802"/>
                  </a:lnTo>
                  <a:lnTo>
                    <a:pt x="529" y="1806"/>
                  </a:lnTo>
                  <a:lnTo>
                    <a:pt x="529" y="1809"/>
                  </a:lnTo>
                  <a:lnTo>
                    <a:pt x="534" y="1811"/>
                  </a:lnTo>
                  <a:lnTo>
                    <a:pt x="536" y="1814"/>
                  </a:lnTo>
                  <a:lnTo>
                    <a:pt x="537" y="1818"/>
                  </a:lnTo>
                  <a:lnTo>
                    <a:pt x="537" y="1819"/>
                  </a:lnTo>
                  <a:lnTo>
                    <a:pt x="537" y="1820"/>
                  </a:lnTo>
                  <a:lnTo>
                    <a:pt x="539" y="1820"/>
                  </a:lnTo>
                  <a:lnTo>
                    <a:pt x="541" y="1819"/>
                  </a:lnTo>
                  <a:lnTo>
                    <a:pt x="544" y="1818"/>
                  </a:lnTo>
                  <a:lnTo>
                    <a:pt x="547" y="1817"/>
                  </a:lnTo>
                  <a:lnTo>
                    <a:pt x="549" y="1817"/>
                  </a:lnTo>
                  <a:lnTo>
                    <a:pt x="552" y="1819"/>
                  </a:lnTo>
                  <a:lnTo>
                    <a:pt x="553" y="1820"/>
                  </a:lnTo>
                  <a:lnTo>
                    <a:pt x="553" y="1821"/>
                  </a:lnTo>
                  <a:lnTo>
                    <a:pt x="553" y="1822"/>
                  </a:lnTo>
                  <a:lnTo>
                    <a:pt x="553" y="1824"/>
                  </a:lnTo>
                  <a:lnTo>
                    <a:pt x="554" y="1828"/>
                  </a:lnTo>
                  <a:lnTo>
                    <a:pt x="555" y="1829"/>
                  </a:lnTo>
                  <a:lnTo>
                    <a:pt x="557" y="1830"/>
                  </a:lnTo>
                  <a:lnTo>
                    <a:pt x="559" y="1830"/>
                  </a:lnTo>
                  <a:lnTo>
                    <a:pt x="561" y="1830"/>
                  </a:lnTo>
                  <a:lnTo>
                    <a:pt x="563" y="1829"/>
                  </a:lnTo>
                  <a:lnTo>
                    <a:pt x="564" y="1827"/>
                  </a:lnTo>
                  <a:lnTo>
                    <a:pt x="565" y="1823"/>
                  </a:lnTo>
                  <a:lnTo>
                    <a:pt x="567" y="1821"/>
                  </a:lnTo>
                  <a:lnTo>
                    <a:pt x="570" y="1822"/>
                  </a:lnTo>
                  <a:lnTo>
                    <a:pt x="575" y="1823"/>
                  </a:lnTo>
                  <a:lnTo>
                    <a:pt x="582" y="1827"/>
                  </a:lnTo>
                  <a:lnTo>
                    <a:pt x="584" y="1826"/>
                  </a:lnTo>
                  <a:lnTo>
                    <a:pt x="586" y="1826"/>
                  </a:lnTo>
                  <a:lnTo>
                    <a:pt x="587" y="1826"/>
                  </a:lnTo>
                  <a:lnTo>
                    <a:pt x="592" y="1830"/>
                  </a:lnTo>
                  <a:lnTo>
                    <a:pt x="592" y="1838"/>
                  </a:lnTo>
                  <a:lnTo>
                    <a:pt x="591" y="1847"/>
                  </a:lnTo>
                  <a:lnTo>
                    <a:pt x="588" y="1854"/>
                  </a:lnTo>
                  <a:lnTo>
                    <a:pt x="586" y="1857"/>
                  </a:lnTo>
                  <a:lnTo>
                    <a:pt x="580" y="1864"/>
                  </a:lnTo>
                  <a:lnTo>
                    <a:pt x="578" y="1865"/>
                  </a:lnTo>
                  <a:lnTo>
                    <a:pt x="581" y="1870"/>
                  </a:lnTo>
                  <a:lnTo>
                    <a:pt x="583" y="1873"/>
                  </a:lnTo>
                  <a:lnTo>
                    <a:pt x="587" y="1875"/>
                  </a:lnTo>
                  <a:lnTo>
                    <a:pt x="591" y="1876"/>
                  </a:lnTo>
                  <a:lnTo>
                    <a:pt x="595" y="1877"/>
                  </a:lnTo>
                  <a:lnTo>
                    <a:pt x="598" y="1876"/>
                  </a:lnTo>
                  <a:lnTo>
                    <a:pt x="599" y="1873"/>
                  </a:lnTo>
                  <a:lnTo>
                    <a:pt x="600" y="1867"/>
                  </a:lnTo>
                  <a:lnTo>
                    <a:pt x="601" y="1863"/>
                  </a:lnTo>
                  <a:lnTo>
                    <a:pt x="603" y="1860"/>
                  </a:lnTo>
                  <a:lnTo>
                    <a:pt x="607" y="1859"/>
                  </a:lnTo>
                  <a:lnTo>
                    <a:pt x="611" y="1859"/>
                  </a:lnTo>
                  <a:lnTo>
                    <a:pt x="607" y="1862"/>
                  </a:lnTo>
                  <a:lnTo>
                    <a:pt x="606" y="1865"/>
                  </a:lnTo>
                  <a:lnTo>
                    <a:pt x="607" y="1868"/>
                  </a:lnTo>
                  <a:lnTo>
                    <a:pt x="609" y="1871"/>
                  </a:lnTo>
                  <a:lnTo>
                    <a:pt x="612" y="1873"/>
                  </a:lnTo>
                  <a:lnTo>
                    <a:pt x="621" y="1874"/>
                  </a:lnTo>
                  <a:lnTo>
                    <a:pt x="627" y="1878"/>
                  </a:lnTo>
                  <a:lnTo>
                    <a:pt x="632" y="1882"/>
                  </a:lnTo>
                  <a:lnTo>
                    <a:pt x="638" y="1881"/>
                  </a:lnTo>
                  <a:lnTo>
                    <a:pt x="640" y="1882"/>
                  </a:lnTo>
                  <a:lnTo>
                    <a:pt x="642" y="1884"/>
                  </a:lnTo>
                  <a:lnTo>
                    <a:pt x="643" y="1884"/>
                  </a:lnTo>
                  <a:lnTo>
                    <a:pt x="649" y="1885"/>
                  </a:lnTo>
                  <a:lnTo>
                    <a:pt x="651" y="1886"/>
                  </a:lnTo>
                  <a:lnTo>
                    <a:pt x="653" y="1888"/>
                  </a:lnTo>
                  <a:lnTo>
                    <a:pt x="659" y="1892"/>
                  </a:lnTo>
                  <a:lnTo>
                    <a:pt x="665" y="1894"/>
                  </a:lnTo>
                  <a:lnTo>
                    <a:pt x="678" y="1895"/>
                  </a:lnTo>
                  <a:lnTo>
                    <a:pt x="690" y="1893"/>
                  </a:lnTo>
                  <a:lnTo>
                    <a:pt x="694" y="1895"/>
                  </a:lnTo>
                  <a:lnTo>
                    <a:pt x="696" y="1901"/>
                  </a:lnTo>
                  <a:lnTo>
                    <a:pt x="697" y="1902"/>
                  </a:lnTo>
                  <a:lnTo>
                    <a:pt x="697" y="1904"/>
                  </a:lnTo>
                  <a:lnTo>
                    <a:pt x="696" y="1905"/>
                  </a:lnTo>
                  <a:lnTo>
                    <a:pt x="696" y="1906"/>
                  </a:lnTo>
                  <a:lnTo>
                    <a:pt x="697" y="1908"/>
                  </a:lnTo>
                  <a:lnTo>
                    <a:pt x="699" y="1910"/>
                  </a:lnTo>
                  <a:lnTo>
                    <a:pt x="700" y="1910"/>
                  </a:lnTo>
                  <a:lnTo>
                    <a:pt x="702" y="1909"/>
                  </a:lnTo>
                  <a:lnTo>
                    <a:pt x="704" y="1910"/>
                  </a:lnTo>
                  <a:lnTo>
                    <a:pt x="709" y="1913"/>
                  </a:lnTo>
                  <a:lnTo>
                    <a:pt x="712" y="1916"/>
                  </a:lnTo>
                  <a:lnTo>
                    <a:pt x="718" y="1924"/>
                  </a:lnTo>
                  <a:lnTo>
                    <a:pt x="718" y="1925"/>
                  </a:lnTo>
                  <a:lnTo>
                    <a:pt x="718" y="1926"/>
                  </a:lnTo>
                  <a:lnTo>
                    <a:pt x="718" y="1927"/>
                  </a:lnTo>
                  <a:lnTo>
                    <a:pt x="719" y="1927"/>
                  </a:lnTo>
                  <a:lnTo>
                    <a:pt x="721" y="1927"/>
                  </a:lnTo>
                  <a:lnTo>
                    <a:pt x="722" y="1927"/>
                  </a:lnTo>
                  <a:lnTo>
                    <a:pt x="723" y="1928"/>
                  </a:lnTo>
                  <a:lnTo>
                    <a:pt x="723" y="1930"/>
                  </a:lnTo>
                  <a:lnTo>
                    <a:pt x="723" y="1931"/>
                  </a:lnTo>
                  <a:lnTo>
                    <a:pt x="724" y="1932"/>
                  </a:lnTo>
                  <a:lnTo>
                    <a:pt x="726" y="1932"/>
                  </a:lnTo>
                  <a:lnTo>
                    <a:pt x="728" y="1930"/>
                  </a:lnTo>
                  <a:lnTo>
                    <a:pt x="730" y="1930"/>
                  </a:lnTo>
                  <a:lnTo>
                    <a:pt x="730" y="1925"/>
                  </a:lnTo>
                  <a:lnTo>
                    <a:pt x="734" y="1925"/>
                  </a:lnTo>
                  <a:lnTo>
                    <a:pt x="743" y="1929"/>
                  </a:lnTo>
                  <a:lnTo>
                    <a:pt x="748" y="1928"/>
                  </a:lnTo>
                  <a:lnTo>
                    <a:pt x="751" y="1926"/>
                  </a:lnTo>
                  <a:lnTo>
                    <a:pt x="759" y="1920"/>
                  </a:lnTo>
                  <a:lnTo>
                    <a:pt x="760" y="1921"/>
                  </a:lnTo>
                  <a:lnTo>
                    <a:pt x="762" y="1921"/>
                  </a:lnTo>
                  <a:lnTo>
                    <a:pt x="762" y="1919"/>
                  </a:lnTo>
                  <a:lnTo>
                    <a:pt x="763" y="1917"/>
                  </a:lnTo>
                  <a:lnTo>
                    <a:pt x="766" y="1919"/>
                  </a:lnTo>
                  <a:lnTo>
                    <a:pt x="766" y="1920"/>
                  </a:lnTo>
                  <a:lnTo>
                    <a:pt x="776" y="1925"/>
                  </a:lnTo>
                  <a:lnTo>
                    <a:pt x="777" y="1929"/>
                  </a:lnTo>
                  <a:lnTo>
                    <a:pt x="782" y="1930"/>
                  </a:lnTo>
                  <a:lnTo>
                    <a:pt x="786" y="1928"/>
                  </a:lnTo>
                  <a:lnTo>
                    <a:pt x="789" y="1927"/>
                  </a:lnTo>
                  <a:lnTo>
                    <a:pt x="789" y="1931"/>
                  </a:lnTo>
                  <a:lnTo>
                    <a:pt x="790" y="1935"/>
                  </a:lnTo>
                  <a:lnTo>
                    <a:pt x="792" y="1938"/>
                  </a:lnTo>
                  <a:lnTo>
                    <a:pt x="794" y="1940"/>
                  </a:lnTo>
                  <a:lnTo>
                    <a:pt x="795" y="1941"/>
                  </a:lnTo>
                  <a:lnTo>
                    <a:pt x="795" y="1943"/>
                  </a:lnTo>
                  <a:lnTo>
                    <a:pt x="796" y="1944"/>
                  </a:lnTo>
                  <a:lnTo>
                    <a:pt x="797" y="1945"/>
                  </a:lnTo>
                  <a:lnTo>
                    <a:pt x="800" y="1946"/>
                  </a:lnTo>
                  <a:lnTo>
                    <a:pt x="801" y="1947"/>
                  </a:lnTo>
                  <a:lnTo>
                    <a:pt x="801" y="1947"/>
                  </a:lnTo>
                  <a:lnTo>
                    <a:pt x="802" y="1948"/>
                  </a:lnTo>
                  <a:lnTo>
                    <a:pt x="808" y="1951"/>
                  </a:lnTo>
                  <a:lnTo>
                    <a:pt x="814" y="1951"/>
                  </a:lnTo>
                  <a:lnTo>
                    <a:pt x="826" y="1946"/>
                  </a:lnTo>
                  <a:lnTo>
                    <a:pt x="836" y="1945"/>
                  </a:lnTo>
                  <a:lnTo>
                    <a:pt x="839" y="1942"/>
                  </a:lnTo>
                  <a:lnTo>
                    <a:pt x="841" y="1942"/>
                  </a:lnTo>
                  <a:lnTo>
                    <a:pt x="850" y="1944"/>
                  </a:lnTo>
                  <a:lnTo>
                    <a:pt x="852" y="1946"/>
                  </a:lnTo>
                  <a:lnTo>
                    <a:pt x="856" y="1952"/>
                  </a:lnTo>
                  <a:lnTo>
                    <a:pt x="858" y="1955"/>
                  </a:lnTo>
                  <a:lnTo>
                    <a:pt x="861" y="1954"/>
                  </a:lnTo>
                  <a:lnTo>
                    <a:pt x="865" y="1948"/>
                  </a:lnTo>
                  <a:lnTo>
                    <a:pt x="868" y="1945"/>
                  </a:lnTo>
                  <a:lnTo>
                    <a:pt x="871" y="1944"/>
                  </a:lnTo>
                  <a:lnTo>
                    <a:pt x="875" y="1948"/>
                  </a:lnTo>
                  <a:lnTo>
                    <a:pt x="876" y="1948"/>
                  </a:lnTo>
                  <a:lnTo>
                    <a:pt x="875" y="1949"/>
                  </a:lnTo>
                  <a:lnTo>
                    <a:pt x="876" y="1950"/>
                  </a:lnTo>
                  <a:lnTo>
                    <a:pt x="876" y="1951"/>
                  </a:lnTo>
                  <a:lnTo>
                    <a:pt x="880" y="1952"/>
                  </a:lnTo>
                  <a:lnTo>
                    <a:pt x="883" y="1952"/>
                  </a:lnTo>
                  <a:lnTo>
                    <a:pt x="889" y="1950"/>
                  </a:lnTo>
                  <a:lnTo>
                    <a:pt x="891" y="1951"/>
                  </a:lnTo>
                  <a:lnTo>
                    <a:pt x="911" y="1950"/>
                  </a:lnTo>
                  <a:lnTo>
                    <a:pt x="917" y="1951"/>
                  </a:lnTo>
                  <a:lnTo>
                    <a:pt x="919" y="1950"/>
                  </a:lnTo>
                  <a:lnTo>
                    <a:pt x="920" y="1949"/>
                  </a:lnTo>
                  <a:lnTo>
                    <a:pt x="920" y="1948"/>
                  </a:lnTo>
                  <a:lnTo>
                    <a:pt x="920" y="1945"/>
                  </a:lnTo>
                  <a:lnTo>
                    <a:pt x="919" y="1941"/>
                  </a:lnTo>
                  <a:lnTo>
                    <a:pt x="918" y="1939"/>
                  </a:lnTo>
                  <a:lnTo>
                    <a:pt x="915" y="1938"/>
                  </a:lnTo>
                  <a:lnTo>
                    <a:pt x="916" y="1936"/>
                  </a:lnTo>
                  <a:lnTo>
                    <a:pt x="917" y="1935"/>
                  </a:lnTo>
                  <a:lnTo>
                    <a:pt x="918" y="1934"/>
                  </a:lnTo>
                  <a:lnTo>
                    <a:pt x="916" y="1932"/>
                  </a:lnTo>
                  <a:lnTo>
                    <a:pt x="919" y="1926"/>
                  </a:lnTo>
                  <a:lnTo>
                    <a:pt x="918" y="1921"/>
                  </a:lnTo>
                  <a:lnTo>
                    <a:pt x="919" y="1918"/>
                  </a:lnTo>
                  <a:lnTo>
                    <a:pt x="923" y="1917"/>
                  </a:lnTo>
                  <a:lnTo>
                    <a:pt x="927" y="1916"/>
                  </a:lnTo>
                  <a:lnTo>
                    <a:pt x="930" y="1917"/>
                  </a:lnTo>
                  <a:lnTo>
                    <a:pt x="935" y="1919"/>
                  </a:lnTo>
                  <a:lnTo>
                    <a:pt x="938" y="1919"/>
                  </a:lnTo>
                  <a:lnTo>
                    <a:pt x="941" y="1919"/>
                  </a:lnTo>
                  <a:lnTo>
                    <a:pt x="944" y="1919"/>
                  </a:lnTo>
                  <a:lnTo>
                    <a:pt x="951" y="1923"/>
                  </a:lnTo>
                  <a:lnTo>
                    <a:pt x="955" y="1925"/>
                  </a:lnTo>
                  <a:lnTo>
                    <a:pt x="957" y="1927"/>
                  </a:lnTo>
                  <a:lnTo>
                    <a:pt x="959" y="1929"/>
                  </a:lnTo>
                  <a:lnTo>
                    <a:pt x="961" y="1930"/>
                  </a:lnTo>
                  <a:lnTo>
                    <a:pt x="963" y="1929"/>
                  </a:lnTo>
                  <a:lnTo>
                    <a:pt x="964" y="1928"/>
                  </a:lnTo>
                  <a:lnTo>
                    <a:pt x="966" y="1927"/>
                  </a:lnTo>
                  <a:lnTo>
                    <a:pt x="967" y="1928"/>
                  </a:lnTo>
                  <a:lnTo>
                    <a:pt x="969" y="1930"/>
                  </a:lnTo>
                  <a:lnTo>
                    <a:pt x="971" y="1931"/>
                  </a:lnTo>
                  <a:lnTo>
                    <a:pt x="984" y="1932"/>
                  </a:lnTo>
                  <a:lnTo>
                    <a:pt x="987" y="1932"/>
                  </a:lnTo>
                  <a:lnTo>
                    <a:pt x="990" y="1935"/>
                  </a:lnTo>
                  <a:lnTo>
                    <a:pt x="992" y="1938"/>
                  </a:lnTo>
                  <a:lnTo>
                    <a:pt x="993" y="1942"/>
                  </a:lnTo>
                  <a:lnTo>
                    <a:pt x="995" y="1944"/>
                  </a:lnTo>
                  <a:lnTo>
                    <a:pt x="997" y="1946"/>
                  </a:lnTo>
                  <a:lnTo>
                    <a:pt x="999" y="1947"/>
                  </a:lnTo>
                  <a:lnTo>
                    <a:pt x="1005" y="1945"/>
                  </a:lnTo>
                  <a:lnTo>
                    <a:pt x="1024" y="1945"/>
                  </a:lnTo>
                  <a:lnTo>
                    <a:pt x="1028" y="1946"/>
                  </a:lnTo>
                  <a:lnTo>
                    <a:pt x="1027" y="1949"/>
                  </a:lnTo>
                  <a:lnTo>
                    <a:pt x="1028" y="1950"/>
                  </a:lnTo>
                  <a:lnTo>
                    <a:pt x="1029" y="1950"/>
                  </a:lnTo>
                  <a:lnTo>
                    <a:pt x="1031" y="1951"/>
                  </a:lnTo>
                  <a:lnTo>
                    <a:pt x="1034" y="1956"/>
                  </a:lnTo>
                  <a:lnTo>
                    <a:pt x="1036" y="1960"/>
                  </a:lnTo>
                  <a:lnTo>
                    <a:pt x="1039" y="1967"/>
                  </a:lnTo>
                  <a:lnTo>
                    <a:pt x="1041" y="1970"/>
                  </a:lnTo>
                  <a:lnTo>
                    <a:pt x="1045" y="1969"/>
                  </a:lnTo>
                  <a:lnTo>
                    <a:pt x="1047" y="1960"/>
                  </a:lnTo>
                  <a:lnTo>
                    <a:pt x="1052" y="1961"/>
                  </a:lnTo>
                  <a:lnTo>
                    <a:pt x="1057" y="1959"/>
                  </a:lnTo>
                  <a:lnTo>
                    <a:pt x="1060" y="1959"/>
                  </a:lnTo>
                  <a:lnTo>
                    <a:pt x="1068" y="1965"/>
                  </a:lnTo>
                  <a:lnTo>
                    <a:pt x="1070" y="1966"/>
                  </a:lnTo>
                  <a:lnTo>
                    <a:pt x="1088" y="1967"/>
                  </a:lnTo>
                  <a:lnTo>
                    <a:pt x="1087" y="1972"/>
                  </a:lnTo>
                  <a:lnTo>
                    <a:pt x="1089" y="1973"/>
                  </a:lnTo>
                  <a:lnTo>
                    <a:pt x="1093" y="1974"/>
                  </a:lnTo>
                  <a:lnTo>
                    <a:pt x="1094" y="1976"/>
                  </a:lnTo>
                  <a:lnTo>
                    <a:pt x="1095" y="1977"/>
                  </a:lnTo>
                  <a:lnTo>
                    <a:pt x="1091" y="1977"/>
                  </a:lnTo>
                  <a:lnTo>
                    <a:pt x="1088" y="1980"/>
                  </a:lnTo>
                  <a:lnTo>
                    <a:pt x="1086" y="1985"/>
                  </a:lnTo>
                  <a:lnTo>
                    <a:pt x="1086" y="1990"/>
                  </a:lnTo>
                  <a:lnTo>
                    <a:pt x="1086" y="1991"/>
                  </a:lnTo>
                  <a:lnTo>
                    <a:pt x="1086" y="1991"/>
                  </a:lnTo>
                  <a:lnTo>
                    <a:pt x="1086" y="1991"/>
                  </a:lnTo>
                  <a:lnTo>
                    <a:pt x="1086" y="1992"/>
                  </a:lnTo>
                  <a:lnTo>
                    <a:pt x="1090" y="1993"/>
                  </a:lnTo>
                  <a:lnTo>
                    <a:pt x="1099" y="1995"/>
                  </a:lnTo>
                  <a:lnTo>
                    <a:pt x="1103" y="1996"/>
                  </a:lnTo>
                  <a:lnTo>
                    <a:pt x="1111" y="2002"/>
                  </a:lnTo>
                  <a:lnTo>
                    <a:pt x="1115" y="2003"/>
                  </a:lnTo>
                  <a:lnTo>
                    <a:pt x="1118" y="2003"/>
                  </a:lnTo>
                  <a:lnTo>
                    <a:pt x="1121" y="2004"/>
                  </a:lnTo>
                  <a:lnTo>
                    <a:pt x="1123" y="2008"/>
                  </a:lnTo>
                  <a:lnTo>
                    <a:pt x="1125" y="2016"/>
                  </a:lnTo>
                  <a:lnTo>
                    <a:pt x="1126" y="2019"/>
                  </a:lnTo>
                  <a:lnTo>
                    <a:pt x="1129" y="2022"/>
                  </a:lnTo>
                  <a:lnTo>
                    <a:pt x="1131" y="2023"/>
                  </a:lnTo>
                  <a:lnTo>
                    <a:pt x="1134" y="2024"/>
                  </a:lnTo>
                  <a:lnTo>
                    <a:pt x="1138" y="2023"/>
                  </a:lnTo>
                  <a:lnTo>
                    <a:pt x="1140" y="2022"/>
                  </a:lnTo>
                  <a:lnTo>
                    <a:pt x="1142" y="2021"/>
                  </a:lnTo>
                  <a:lnTo>
                    <a:pt x="1145" y="2018"/>
                  </a:lnTo>
                  <a:lnTo>
                    <a:pt x="1148" y="2016"/>
                  </a:lnTo>
                  <a:lnTo>
                    <a:pt x="1149" y="2014"/>
                  </a:lnTo>
                  <a:lnTo>
                    <a:pt x="1151" y="2011"/>
                  </a:lnTo>
                  <a:lnTo>
                    <a:pt x="1151" y="2010"/>
                  </a:lnTo>
                  <a:lnTo>
                    <a:pt x="1154" y="2009"/>
                  </a:lnTo>
                  <a:lnTo>
                    <a:pt x="1161" y="2010"/>
                  </a:lnTo>
                  <a:lnTo>
                    <a:pt x="1171" y="2007"/>
                  </a:lnTo>
                  <a:lnTo>
                    <a:pt x="1176" y="2006"/>
                  </a:lnTo>
                  <a:lnTo>
                    <a:pt x="1181" y="2009"/>
                  </a:lnTo>
                  <a:lnTo>
                    <a:pt x="1183" y="2010"/>
                  </a:lnTo>
                  <a:lnTo>
                    <a:pt x="1192" y="2015"/>
                  </a:lnTo>
                  <a:lnTo>
                    <a:pt x="1197" y="2016"/>
                  </a:lnTo>
                  <a:lnTo>
                    <a:pt x="1199" y="2016"/>
                  </a:lnTo>
                  <a:lnTo>
                    <a:pt x="1200" y="2019"/>
                  </a:lnTo>
                  <a:lnTo>
                    <a:pt x="1203" y="2022"/>
                  </a:lnTo>
                  <a:lnTo>
                    <a:pt x="1206" y="2025"/>
                  </a:lnTo>
                  <a:lnTo>
                    <a:pt x="1209" y="2026"/>
                  </a:lnTo>
                  <a:lnTo>
                    <a:pt x="1212" y="2028"/>
                  </a:lnTo>
                  <a:lnTo>
                    <a:pt x="1214" y="2028"/>
                  </a:lnTo>
                  <a:lnTo>
                    <a:pt x="1216" y="2028"/>
                  </a:lnTo>
                  <a:lnTo>
                    <a:pt x="1217" y="2027"/>
                  </a:lnTo>
                  <a:lnTo>
                    <a:pt x="1218" y="2024"/>
                  </a:lnTo>
                  <a:lnTo>
                    <a:pt x="1219" y="2022"/>
                  </a:lnTo>
                  <a:lnTo>
                    <a:pt x="1222" y="2022"/>
                  </a:lnTo>
                  <a:lnTo>
                    <a:pt x="1230" y="2025"/>
                  </a:lnTo>
                  <a:lnTo>
                    <a:pt x="1233" y="2025"/>
                  </a:lnTo>
                  <a:lnTo>
                    <a:pt x="1237" y="2025"/>
                  </a:lnTo>
                  <a:lnTo>
                    <a:pt x="1237" y="2024"/>
                  </a:lnTo>
                  <a:lnTo>
                    <a:pt x="1235" y="2022"/>
                  </a:lnTo>
                  <a:lnTo>
                    <a:pt x="1234" y="2018"/>
                  </a:lnTo>
                  <a:lnTo>
                    <a:pt x="1235" y="2016"/>
                  </a:lnTo>
                  <a:lnTo>
                    <a:pt x="1242" y="2011"/>
                  </a:lnTo>
                  <a:lnTo>
                    <a:pt x="1245" y="2010"/>
                  </a:lnTo>
                  <a:lnTo>
                    <a:pt x="1248" y="2009"/>
                  </a:lnTo>
                  <a:lnTo>
                    <a:pt x="1254" y="2010"/>
                  </a:lnTo>
                  <a:lnTo>
                    <a:pt x="1257" y="2010"/>
                  </a:lnTo>
                  <a:lnTo>
                    <a:pt x="1260" y="2008"/>
                  </a:lnTo>
                  <a:lnTo>
                    <a:pt x="1265" y="2003"/>
                  </a:lnTo>
                  <a:lnTo>
                    <a:pt x="1267" y="2002"/>
                  </a:lnTo>
                  <a:lnTo>
                    <a:pt x="1270" y="2001"/>
                  </a:lnTo>
                  <a:lnTo>
                    <a:pt x="1272" y="2002"/>
                  </a:lnTo>
                  <a:lnTo>
                    <a:pt x="1275" y="2001"/>
                  </a:lnTo>
                  <a:lnTo>
                    <a:pt x="1280" y="1997"/>
                  </a:lnTo>
                  <a:lnTo>
                    <a:pt x="1285" y="1999"/>
                  </a:lnTo>
                  <a:lnTo>
                    <a:pt x="1288" y="1997"/>
                  </a:lnTo>
                  <a:lnTo>
                    <a:pt x="1290" y="1998"/>
                  </a:lnTo>
                  <a:lnTo>
                    <a:pt x="1295" y="1998"/>
                  </a:lnTo>
                  <a:lnTo>
                    <a:pt x="1295" y="1998"/>
                  </a:lnTo>
                  <a:lnTo>
                    <a:pt x="1297" y="2001"/>
                  </a:lnTo>
                  <a:lnTo>
                    <a:pt x="1298" y="2002"/>
                  </a:lnTo>
                  <a:lnTo>
                    <a:pt x="1300" y="2004"/>
                  </a:lnTo>
                  <a:lnTo>
                    <a:pt x="1301" y="2006"/>
                  </a:lnTo>
                  <a:lnTo>
                    <a:pt x="1305" y="2006"/>
                  </a:lnTo>
                  <a:lnTo>
                    <a:pt x="1309" y="2007"/>
                  </a:lnTo>
                  <a:lnTo>
                    <a:pt x="1313" y="2007"/>
                  </a:lnTo>
                  <a:lnTo>
                    <a:pt x="1319" y="2006"/>
                  </a:lnTo>
                  <a:lnTo>
                    <a:pt x="1320" y="2005"/>
                  </a:lnTo>
                  <a:lnTo>
                    <a:pt x="1319" y="2000"/>
                  </a:lnTo>
                  <a:lnTo>
                    <a:pt x="1316" y="1996"/>
                  </a:lnTo>
                  <a:lnTo>
                    <a:pt x="1315" y="1995"/>
                  </a:lnTo>
                  <a:lnTo>
                    <a:pt x="1314" y="1992"/>
                  </a:lnTo>
                  <a:lnTo>
                    <a:pt x="1314" y="1990"/>
                  </a:lnTo>
                  <a:lnTo>
                    <a:pt x="1314" y="1988"/>
                  </a:lnTo>
                  <a:lnTo>
                    <a:pt x="1313" y="1986"/>
                  </a:lnTo>
                  <a:lnTo>
                    <a:pt x="1309" y="1984"/>
                  </a:lnTo>
                  <a:lnTo>
                    <a:pt x="1305" y="1983"/>
                  </a:lnTo>
                  <a:lnTo>
                    <a:pt x="1301" y="1982"/>
                  </a:lnTo>
                  <a:lnTo>
                    <a:pt x="1299" y="1979"/>
                  </a:lnTo>
                  <a:lnTo>
                    <a:pt x="1298" y="1972"/>
                  </a:lnTo>
                  <a:lnTo>
                    <a:pt x="1298" y="1963"/>
                  </a:lnTo>
                  <a:lnTo>
                    <a:pt x="1297" y="1952"/>
                  </a:lnTo>
                  <a:lnTo>
                    <a:pt x="1298" y="1942"/>
                  </a:lnTo>
                  <a:lnTo>
                    <a:pt x="1297" y="1937"/>
                  </a:lnTo>
                  <a:lnTo>
                    <a:pt x="1297" y="1928"/>
                  </a:lnTo>
                  <a:lnTo>
                    <a:pt x="1298" y="1916"/>
                  </a:lnTo>
                  <a:lnTo>
                    <a:pt x="1300" y="1903"/>
                  </a:lnTo>
                  <a:lnTo>
                    <a:pt x="1300" y="1899"/>
                  </a:lnTo>
                  <a:lnTo>
                    <a:pt x="1298" y="1898"/>
                  </a:lnTo>
                  <a:lnTo>
                    <a:pt x="1297" y="1895"/>
                  </a:lnTo>
                  <a:lnTo>
                    <a:pt x="1298" y="1891"/>
                  </a:lnTo>
                  <a:lnTo>
                    <a:pt x="1300" y="1885"/>
                  </a:lnTo>
                  <a:lnTo>
                    <a:pt x="1301" y="1881"/>
                  </a:lnTo>
                  <a:lnTo>
                    <a:pt x="1302" y="1877"/>
                  </a:lnTo>
                  <a:lnTo>
                    <a:pt x="1305" y="1871"/>
                  </a:lnTo>
                  <a:lnTo>
                    <a:pt x="1306" y="1867"/>
                  </a:lnTo>
                  <a:lnTo>
                    <a:pt x="1307" y="1864"/>
                  </a:lnTo>
                  <a:lnTo>
                    <a:pt x="1309" y="1860"/>
                  </a:lnTo>
                  <a:lnTo>
                    <a:pt x="1312" y="1857"/>
                  </a:lnTo>
                  <a:lnTo>
                    <a:pt x="1315" y="1854"/>
                  </a:lnTo>
                  <a:lnTo>
                    <a:pt x="1317" y="1850"/>
                  </a:lnTo>
                  <a:lnTo>
                    <a:pt x="1319" y="1847"/>
                  </a:lnTo>
                  <a:lnTo>
                    <a:pt x="1322" y="1845"/>
                  </a:lnTo>
                  <a:lnTo>
                    <a:pt x="1324" y="1843"/>
                  </a:lnTo>
                  <a:lnTo>
                    <a:pt x="1326" y="1841"/>
                  </a:lnTo>
                  <a:lnTo>
                    <a:pt x="1327" y="1839"/>
                  </a:lnTo>
                  <a:lnTo>
                    <a:pt x="1330" y="1835"/>
                  </a:lnTo>
                  <a:lnTo>
                    <a:pt x="1341" y="1826"/>
                  </a:lnTo>
                  <a:lnTo>
                    <a:pt x="1352" y="1821"/>
                  </a:lnTo>
                  <a:lnTo>
                    <a:pt x="1359" y="1821"/>
                  </a:lnTo>
                  <a:lnTo>
                    <a:pt x="1363" y="1820"/>
                  </a:lnTo>
                  <a:lnTo>
                    <a:pt x="1369" y="1824"/>
                  </a:lnTo>
                  <a:lnTo>
                    <a:pt x="1372" y="1822"/>
                  </a:lnTo>
                  <a:lnTo>
                    <a:pt x="1384" y="1806"/>
                  </a:lnTo>
                  <a:lnTo>
                    <a:pt x="1390" y="1802"/>
                  </a:lnTo>
                  <a:lnTo>
                    <a:pt x="1408" y="1794"/>
                  </a:lnTo>
                  <a:lnTo>
                    <a:pt x="1440" y="1767"/>
                  </a:lnTo>
                  <a:lnTo>
                    <a:pt x="1442" y="1766"/>
                  </a:lnTo>
                  <a:lnTo>
                    <a:pt x="1448" y="1763"/>
                  </a:lnTo>
                  <a:lnTo>
                    <a:pt x="1457" y="1762"/>
                  </a:lnTo>
                  <a:lnTo>
                    <a:pt x="1466" y="1763"/>
                  </a:lnTo>
                  <a:lnTo>
                    <a:pt x="1471" y="1766"/>
                  </a:lnTo>
                  <a:lnTo>
                    <a:pt x="1471" y="1767"/>
                  </a:lnTo>
                  <a:lnTo>
                    <a:pt x="1468" y="1772"/>
                  </a:lnTo>
                  <a:lnTo>
                    <a:pt x="1471" y="1777"/>
                  </a:lnTo>
                  <a:lnTo>
                    <a:pt x="1475" y="1781"/>
                  </a:lnTo>
                  <a:lnTo>
                    <a:pt x="1478" y="1782"/>
                  </a:lnTo>
                  <a:lnTo>
                    <a:pt x="1482" y="1783"/>
                  </a:lnTo>
                  <a:lnTo>
                    <a:pt x="1515" y="1786"/>
                  </a:lnTo>
                  <a:lnTo>
                    <a:pt x="1531" y="1784"/>
                  </a:lnTo>
                  <a:lnTo>
                    <a:pt x="1538" y="1787"/>
                  </a:lnTo>
                  <a:lnTo>
                    <a:pt x="1542" y="1790"/>
                  </a:lnTo>
                  <a:lnTo>
                    <a:pt x="1543" y="1793"/>
                  </a:lnTo>
                  <a:lnTo>
                    <a:pt x="1543" y="1796"/>
                  </a:lnTo>
                  <a:lnTo>
                    <a:pt x="1539" y="1799"/>
                  </a:lnTo>
                  <a:lnTo>
                    <a:pt x="1539" y="1803"/>
                  </a:lnTo>
                  <a:lnTo>
                    <a:pt x="1544" y="1805"/>
                  </a:lnTo>
                  <a:lnTo>
                    <a:pt x="1555" y="1808"/>
                  </a:lnTo>
                  <a:lnTo>
                    <a:pt x="1575" y="1808"/>
                  </a:lnTo>
                  <a:lnTo>
                    <a:pt x="1580" y="1808"/>
                  </a:lnTo>
                  <a:lnTo>
                    <a:pt x="1580" y="1803"/>
                  </a:lnTo>
                  <a:lnTo>
                    <a:pt x="1577" y="1799"/>
                  </a:lnTo>
                  <a:lnTo>
                    <a:pt x="1572" y="1796"/>
                  </a:lnTo>
                  <a:lnTo>
                    <a:pt x="1568" y="1791"/>
                  </a:lnTo>
                  <a:lnTo>
                    <a:pt x="1565" y="1784"/>
                  </a:lnTo>
                  <a:lnTo>
                    <a:pt x="1565" y="1768"/>
                  </a:lnTo>
                  <a:lnTo>
                    <a:pt x="1564" y="1766"/>
                  </a:lnTo>
                  <a:lnTo>
                    <a:pt x="1560" y="1759"/>
                  </a:lnTo>
                  <a:lnTo>
                    <a:pt x="1560" y="1757"/>
                  </a:lnTo>
                  <a:lnTo>
                    <a:pt x="1563" y="1759"/>
                  </a:lnTo>
                  <a:lnTo>
                    <a:pt x="1565" y="1762"/>
                  </a:lnTo>
                  <a:lnTo>
                    <a:pt x="1566" y="1766"/>
                  </a:lnTo>
                  <a:lnTo>
                    <a:pt x="1568" y="1769"/>
                  </a:lnTo>
                  <a:lnTo>
                    <a:pt x="1568" y="1773"/>
                  </a:lnTo>
                  <a:lnTo>
                    <a:pt x="1568" y="1786"/>
                  </a:lnTo>
                  <a:lnTo>
                    <a:pt x="1570" y="1791"/>
                  </a:lnTo>
                  <a:lnTo>
                    <a:pt x="1575" y="1796"/>
                  </a:lnTo>
                  <a:lnTo>
                    <a:pt x="1582" y="1800"/>
                  </a:lnTo>
                  <a:lnTo>
                    <a:pt x="1585" y="1805"/>
                  </a:lnTo>
                  <a:lnTo>
                    <a:pt x="1585" y="1809"/>
                  </a:lnTo>
                  <a:lnTo>
                    <a:pt x="1589" y="1807"/>
                  </a:lnTo>
                  <a:lnTo>
                    <a:pt x="1593" y="1804"/>
                  </a:lnTo>
                  <a:lnTo>
                    <a:pt x="1587" y="1804"/>
                  </a:lnTo>
                  <a:lnTo>
                    <a:pt x="1587" y="1801"/>
                  </a:lnTo>
                  <a:lnTo>
                    <a:pt x="1585" y="1797"/>
                  </a:lnTo>
                  <a:lnTo>
                    <a:pt x="1584" y="1796"/>
                  </a:lnTo>
                  <a:lnTo>
                    <a:pt x="1586" y="1793"/>
                  </a:lnTo>
                  <a:lnTo>
                    <a:pt x="1588" y="1792"/>
                  </a:lnTo>
                  <a:lnTo>
                    <a:pt x="1591" y="1791"/>
                  </a:lnTo>
                  <a:lnTo>
                    <a:pt x="1593" y="1790"/>
                  </a:lnTo>
                  <a:lnTo>
                    <a:pt x="1597" y="1788"/>
                  </a:lnTo>
                  <a:lnTo>
                    <a:pt x="1606" y="1793"/>
                  </a:lnTo>
                  <a:lnTo>
                    <a:pt x="1608" y="1793"/>
                  </a:lnTo>
                  <a:lnTo>
                    <a:pt x="1613" y="1793"/>
                  </a:lnTo>
                  <a:lnTo>
                    <a:pt x="1617" y="1790"/>
                  </a:lnTo>
                  <a:lnTo>
                    <a:pt x="1618" y="1785"/>
                  </a:lnTo>
                  <a:lnTo>
                    <a:pt x="1616" y="1780"/>
                  </a:lnTo>
                  <a:lnTo>
                    <a:pt x="1614" y="1778"/>
                  </a:lnTo>
                  <a:lnTo>
                    <a:pt x="1612" y="1776"/>
                  </a:lnTo>
                  <a:lnTo>
                    <a:pt x="1611" y="1775"/>
                  </a:lnTo>
                  <a:lnTo>
                    <a:pt x="1610" y="1771"/>
                  </a:lnTo>
                  <a:lnTo>
                    <a:pt x="1610" y="1769"/>
                  </a:lnTo>
                  <a:lnTo>
                    <a:pt x="1611" y="1766"/>
                  </a:lnTo>
                  <a:lnTo>
                    <a:pt x="1612" y="1763"/>
                  </a:lnTo>
                  <a:lnTo>
                    <a:pt x="1613" y="1762"/>
                  </a:lnTo>
                  <a:lnTo>
                    <a:pt x="1614" y="1762"/>
                  </a:lnTo>
                  <a:lnTo>
                    <a:pt x="1616" y="1766"/>
                  </a:lnTo>
                  <a:lnTo>
                    <a:pt x="1617" y="1766"/>
                  </a:lnTo>
                  <a:lnTo>
                    <a:pt x="1621" y="1766"/>
                  </a:lnTo>
                  <a:lnTo>
                    <a:pt x="1622" y="1766"/>
                  </a:lnTo>
                  <a:lnTo>
                    <a:pt x="1625" y="1767"/>
                  </a:lnTo>
                  <a:lnTo>
                    <a:pt x="1626" y="1768"/>
                  </a:lnTo>
                  <a:lnTo>
                    <a:pt x="1626" y="1770"/>
                  </a:lnTo>
                  <a:lnTo>
                    <a:pt x="1627" y="1774"/>
                  </a:lnTo>
                  <a:lnTo>
                    <a:pt x="1631" y="1778"/>
                  </a:lnTo>
                  <a:lnTo>
                    <a:pt x="1635" y="1778"/>
                  </a:lnTo>
                  <a:lnTo>
                    <a:pt x="1639" y="1777"/>
                  </a:lnTo>
                  <a:lnTo>
                    <a:pt x="1644" y="1774"/>
                  </a:lnTo>
                  <a:lnTo>
                    <a:pt x="1644" y="1779"/>
                  </a:lnTo>
                  <a:lnTo>
                    <a:pt x="1642" y="1784"/>
                  </a:lnTo>
                  <a:lnTo>
                    <a:pt x="1639" y="1788"/>
                  </a:lnTo>
                  <a:lnTo>
                    <a:pt x="1636" y="1790"/>
                  </a:lnTo>
                  <a:lnTo>
                    <a:pt x="1632" y="1791"/>
                  </a:lnTo>
                  <a:lnTo>
                    <a:pt x="1617" y="1791"/>
                  </a:lnTo>
                  <a:lnTo>
                    <a:pt x="1613" y="1794"/>
                  </a:lnTo>
                  <a:lnTo>
                    <a:pt x="1609" y="1800"/>
                  </a:lnTo>
                  <a:lnTo>
                    <a:pt x="1611" y="1805"/>
                  </a:lnTo>
                  <a:lnTo>
                    <a:pt x="1614" y="1810"/>
                  </a:lnTo>
                  <a:lnTo>
                    <a:pt x="1619" y="1812"/>
                  </a:lnTo>
                  <a:lnTo>
                    <a:pt x="1628" y="1812"/>
                  </a:lnTo>
                  <a:lnTo>
                    <a:pt x="1634" y="1812"/>
                  </a:lnTo>
                  <a:lnTo>
                    <a:pt x="1646" y="1812"/>
                  </a:lnTo>
                  <a:lnTo>
                    <a:pt x="1655" y="1806"/>
                  </a:lnTo>
                  <a:lnTo>
                    <a:pt x="1662" y="1810"/>
                  </a:lnTo>
                  <a:lnTo>
                    <a:pt x="1664" y="1819"/>
                  </a:lnTo>
                  <a:lnTo>
                    <a:pt x="1665" y="1820"/>
                  </a:lnTo>
                  <a:lnTo>
                    <a:pt x="1665" y="1822"/>
                  </a:lnTo>
                  <a:lnTo>
                    <a:pt x="1667" y="1825"/>
                  </a:lnTo>
                  <a:lnTo>
                    <a:pt x="1666" y="1828"/>
                  </a:lnTo>
                  <a:lnTo>
                    <a:pt x="1665" y="1830"/>
                  </a:lnTo>
                  <a:lnTo>
                    <a:pt x="1664" y="1833"/>
                  </a:lnTo>
                  <a:lnTo>
                    <a:pt x="1663" y="1836"/>
                  </a:lnTo>
                  <a:lnTo>
                    <a:pt x="1667" y="1838"/>
                  </a:lnTo>
                  <a:lnTo>
                    <a:pt x="1671" y="1837"/>
                  </a:lnTo>
                  <a:lnTo>
                    <a:pt x="1673" y="1837"/>
                  </a:lnTo>
                  <a:lnTo>
                    <a:pt x="1678" y="1838"/>
                  </a:lnTo>
                  <a:lnTo>
                    <a:pt x="1681" y="1838"/>
                  </a:lnTo>
                  <a:lnTo>
                    <a:pt x="1688" y="1839"/>
                  </a:lnTo>
                  <a:lnTo>
                    <a:pt x="1690" y="1838"/>
                  </a:lnTo>
                  <a:lnTo>
                    <a:pt x="1692" y="1837"/>
                  </a:lnTo>
                  <a:lnTo>
                    <a:pt x="1694" y="1838"/>
                  </a:lnTo>
                  <a:lnTo>
                    <a:pt x="1695" y="1841"/>
                  </a:lnTo>
                  <a:lnTo>
                    <a:pt x="1697" y="1844"/>
                  </a:lnTo>
                  <a:lnTo>
                    <a:pt x="1699" y="1846"/>
                  </a:lnTo>
                  <a:lnTo>
                    <a:pt x="1702" y="1847"/>
                  </a:lnTo>
                  <a:lnTo>
                    <a:pt x="1705" y="1848"/>
                  </a:lnTo>
                  <a:lnTo>
                    <a:pt x="1707" y="1845"/>
                  </a:lnTo>
                  <a:lnTo>
                    <a:pt x="1709" y="1843"/>
                  </a:lnTo>
                  <a:lnTo>
                    <a:pt x="1712" y="1843"/>
                  </a:lnTo>
                  <a:lnTo>
                    <a:pt x="1715" y="1844"/>
                  </a:lnTo>
                  <a:lnTo>
                    <a:pt x="1717" y="1847"/>
                  </a:lnTo>
                  <a:lnTo>
                    <a:pt x="1719" y="1851"/>
                  </a:lnTo>
                  <a:lnTo>
                    <a:pt x="1726" y="1854"/>
                  </a:lnTo>
                  <a:lnTo>
                    <a:pt x="1729" y="1854"/>
                  </a:lnTo>
                  <a:lnTo>
                    <a:pt x="1731" y="1855"/>
                  </a:lnTo>
                  <a:lnTo>
                    <a:pt x="1732" y="1856"/>
                  </a:lnTo>
                  <a:lnTo>
                    <a:pt x="1733" y="1858"/>
                  </a:lnTo>
                  <a:lnTo>
                    <a:pt x="1735" y="1859"/>
                  </a:lnTo>
                  <a:lnTo>
                    <a:pt x="1737" y="1860"/>
                  </a:lnTo>
                  <a:lnTo>
                    <a:pt x="1738" y="1862"/>
                  </a:lnTo>
                  <a:lnTo>
                    <a:pt x="1736" y="1864"/>
                  </a:lnTo>
                  <a:lnTo>
                    <a:pt x="1732" y="1866"/>
                  </a:lnTo>
                  <a:lnTo>
                    <a:pt x="1734" y="1868"/>
                  </a:lnTo>
                  <a:lnTo>
                    <a:pt x="1738" y="1872"/>
                  </a:lnTo>
                  <a:lnTo>
                    <a:pt x="1744" y="1874"/>
                  </a:lnTo>
                  <a:lnTo>
                    <a:pt x="1747" y="1868"/>
                  </a:lnTo>
                  <a:lnTo>
                    <a:pt x="1749" y="1868"/>
                  </a:lnTo>
                  <a:lnTo>
                    <a:pt x="1754" y="1867"/>
                  </a:lnTo>
                  <a:lnTo>
                    <a:pt x="1758" y="1868"/>
                  </a:lnTo>
                  <a:lnTo>
                    <a:pt x="1759" y="1866"/>
                  </a:lnTo>
                  <a:lnTo>
                    <a:pt x="1755" y="1864"/>
                  </a:lnTo>
                  <a:lnTo>
                    <a:pt x="1753" y="1863"/>
                  </a:lnTo>
                  <a:lnTo>
                    <a:pt x="1751" y="1858"/>
                  </a:lnTo>
                  <a:lnTo>
                    <a:pt x="1748" y="1857"/>
                  </a:lnTo>
                  <a:lnTo>
                    <a:pt x="1753" y="1855"/>
                  </a:lnTo>
                  <a:lnTo>
                    <a:pt x="1755" y="1854"/>
                  </a:lnTo>
                  <a:lnTo>
                    <a:pt x="1758" y="1854"/>
                  </a:lnTo>
                  <a:lnTo>
                    <a:pt x="1757" y="1855"/>
                  </a:lnTo>
                  <a:lnTo>
                    <a:pt x="1757" y="1857"/>
                  </a:lnTo>
                  <a:lnTo>
                    <a:pt x="1757" y="1859"/>
                  </a:lnTo>
                  <a:lnTo>
                    <a:pt x="1760" y="1861"/>
                  </a:lnTo>
                  <a:lnTo>
                    <a:pt x="1766" y="1861"/>
                  </a:lnTo>
                  <a:lnTo>
                    <a:pt x="1770" y="1862"/>
                  </a:lnTo>
                  <a:lnTo>
                    <a:pt x="1771" y="1866"/>
                  </a:lnTo>
                  <a:lnTo>
                    <a:pt x="1774" y="1866"/>
                  </a:lnTo>
                  <a:lnTo>
                    <a:pt x="1782" y="1865"/>
                  </a:lnTo>
                  <a:lnTo>
                    <a:pt x="1784" y="1865"/>
                  </a:lnTo>
                  <a:lnTo>
                    <a:pt x="1788" y="1868"/>
                  </a:lnTo>
                  <a:lnTo>
                    <a:pt x="1788" y="1872"/>
                  </a:lnTo>
                  <a:lnTo>
                    <a:pt x="1786" y="1873"/>
                  </a:lnTo>
                  <a:lnTo>
                    <a:pt x="1784" y="1874"/>
                  </a:lnTo>
                  <a:lnTo>
                    <a:pt x="1781" y="1876"/>
                  </a:lnTo>
                  <a:lnTo>
                    <a:pt x="1783" y="1876"/>
                  </a:lnTo>
                  <a:lnTo>
                    <a:pt x="1792" y="1876"/>
                  </a:lnTo>
                  <a:lnTo>
                    <a:pt x="1796" y="1875"/>
                  </a:lnTo>
                  <a:lnTo>
                    <a:pt x="1797" y="1873"/>
                  </a:lnTo>
                  <a:lnTo>
                    <a:pt x="1794" y="1874"/>
                  </a:lnTo>
                  <a:lnTo>
                    <a:pt x="1791" y="1873"/>
                  </a:lnTo>
                  <a:lnTo>
                    <a:pt x="1791" y="1868"/>
                  </a:lnTo>
                  <a:lnTo>
                    <a:pt x="1793" y="1863"/>
                  </a:lnTo>
                  <a:lnTo>
                    <a:pt x="1795" y="1861"/>
                  </a:lnTo>
                  <a:lnTo>
                    <a:pt x="1798" y="1859"/>
                  </a:lnTo>
                  <a:lnTo>
                    <a:pt x="1802" y="1858"/>
                  </a:lnTo>
                  <a:lnTo>
                    <a:pt x="1807" y="1857"/>
                  </a:lnTo>
                  <a:lnTo>
                    <a:pt x="1812" y="1857"/>
                  </a:lnTo>
                  <a:lnTo>
                    <a:pt x="1816" y="1859"/>
                  </a:lnTo>
                  <a:lnTo>
                    <a:pt x="1819" y="1860"/>
                  </a:lnTo>
                  <a:lnTo>
                    <a:pt x="1819" y="1861"/>
                  </a:lnTo>
                  <a:lnTo>
                    <a:pt x="1821" y="1864"/>
                  </a:lnTo>
                  <a:lnTo>
                    <a:pt x="1827" y="1864"/>
                  </a:lnTo>
                  <a:lnTo>
                    <a:pt x="1826" y="1860"/>
                  </a:lnTo>
                  <a:lnTo>
                    <a:pt x="1825" y="1857"/>
                  </a:lnTo>
                  <a:lnTo>
                    <a:pt x="1827" y="1854"/>
                  </a:lnTo>
                  <a:lnTo>
                    <a:pt x="1831" y="1851"/>
                  </a:lnTo>
                  <a:lnTo>
                    <a:pt x="1834" y="1850"/>
                  </a:lnTo>
                  <a:lnTo>
                    <a:pt x="1839" y="1850"/>
                  </a:lnTo>
                  <a:lnTo>
                    <a:pt x="1843" y="1849"/>
                  </a:lnTo>
                  <a:lnTo>
                    <a:pt x="1847" y="1850"/>
                  </a:lnTo>
                  <a:lnTo>
                    <a:pt x="1851" y="1848"/>
                  </a:lnTo>
                  <a:lnTo>
                    <a:pt x="1852" y="1846"/>
                  </a:lnTo>
                  <a:lnTo>
                    <a:pt x="1853" y="1844"/>
                  </a:lnTo>
                  <a:lnTo>
                    <a:pt x="1857" y="1843"/>
                  </a:lnTo>
                  <a:lnTo>
                    <a:pt x="1859" y="1843"/>
                  </a:lnTo>
                  <a:lnTo>
                    <a:pt x="1861" y="1842"/>
                  </a:lnTo>
                  <a:lnTo>
                    <a:pt x="1862" y="1844"/>
                  </a:lnTo>
                  <a:lnTo>
                    <a:pt x="1862" y="1845"/>
                  </a:lnTo>
                  <a:lnTo>
                    <a:pt x="1864" y="1845"/>
                  </a:lnTo>
                  <a:lnTo>
                    <a:pt x="1867" y="1844"/>
                  </a:lnTo>
                  <a:lnTo>
                    <a:pt x="1869" y="1844"/>
                  </a:lnTo>
                  <a:lnTo>
                    <a:pt x="1872" y="1842"/>
                  </a:lnTo>
                  <a:lnTo>
                    <a:pt x="1875" y="1840"/>
                  </a:lnTo>
                  <a:lnTo>
                    <a:pt x="1874" y="1837"/>
                  </a:lnTo>
                  <a:lnTo>
                    <a:pt x="1873" y="1835"/>
                  </a:lnTo>
                  <a:lnTo>
                    <a:pt x="1873" y="1831"/>
                  </a:lnTo>
                  <a:lnTo>
                    <a:pt x="1876" y="1829"/>
                  </a:lnTo>
                  <a:lnTo>
                    <a:pt x="1878" y="1825"/>
                  </a:lnTo>
                  <a:lnTo>
                    <a:pt x="1877" y="1824"/>
                  </a:lnTo>
                  <a:lnTo>
                    <a:pt x="1874" y="1823"/>
                  </a:lnTo>
                  <a:lnTo>
                    <a:pt x="1864" y="1826"/>
                  </a:lnTo>
                  <a:lnTo>
                    <a:pt x="1861" y="1825"/>
                  </a:lnTo>
                  <a:lnTo>
                    <a:pt x="1862" y="1821"/>
                  </a:lnTo>
                  <a:lnTo>
                    <a:pt x="1866" y="1819"/>
                  </a:lnTo>
                  <a:lnTo>
                    <a:pt x="1871" y="1815"/>
                  </a:lnTo>
                  <a:lnTo>
                    <a:pt x="1872" y="1813"/>
                  </a:lnTo>
                  <a:lnTo>
                    <a:pt x="1873" y="1811"/>
                  </a:lnTo>
                  <a:lnTo>
                    <a:pt x="1874" y="1808"/>
                  </a:lnTo>
                  <a:lnTo>
                    <a:pt x="1877" y="1808"/>
                  </a:lnTo>
                  <a:lnTo>
                    <a:pt x="1881" y="1807"/>
                  </a:lnTo>
                  <a:lnTo>
                    <a:pt x="1881" y="1804"/>
                  </a:lnTo>
                  <a:lnTo>
                    <a:pt x="1883" y="1800"/>
                  </a:lnTo>
                  <a:lnTo>
                    <a:pt x="1883" y="1795"/>
                  </a:lnTo>
                  <a:lnTo>
                    <a:pt x="1886" y="1792"/>
                  </a:lnTo>
                  <a:lnTo>
                    <a:pt x="1887" y="1791"/>
                  </a:lnTo>
                  <a:lnTo>
                    <a:pt x="1890" y="1792"/>
                  </a:lnTo>
                  <a:lnTo>
                    <a:pt x="1891" y="1795"/>
                  </a:lnTo>
                  <a:lnTo>
                    <a:pt x="1897" y="1793"/>
                  </a:lnTo>
                  <a:lnTo>
                    <a:pt x="1900" y="1793"/>
                  </a:lnTo>
                  <a:lnTo>
                    <a:pt x="1901" y="1794"/>
                  </a:lnTo>
                  <a:lnTo>
                    <a:pt x="1904" y="1793"/>
                  </a:lnTo>
                  <a:lnTo>
                    <a:pt x="1903" y="1790"/>
                  </a:lnTo>
                  <a:lnTo>
                    <a:pt x="1903" y="1788"/>
                  </a:lnTo>
                  <a:lnTo>
                    <a:pt x="1904" y="1788"/>
                  </a:lnTo>
                  <a:lnTo>
                    <a:pt x="1905" y="1789"/>
                  </a:lnTo>
                  <a:lnTo>
                    <a:pt x="1905" y="1789"/>
                  </a:lnTo>
                  <a:lnTo>
                    <a:pt x="1905" y="1791"/>
                  </a:lnTo>
                  <a:lnTo>
                    <a:pt x="1909" y="1790"/>
                  </a:lnTo>
                  <a:lnTo>
                    <a:pt x="1910" y="1788"/>
                  </a:lnTo>
                  <a:lnTo>
                    <a:pt x="1913" y="1786"/>
                  </a:lnTo>
                  <a:lnTo>
                    <a:pt x="1914" y="1781"/>
                  </a:lnTo>
                  <a:lnTo>
                    <a:pt x="1919" y="1775"/>
                  </a:lnTo>
                  <a:lnTo>
                    <a:pt x="1918" y="1774"/>
                  </a:lnTo>
                  <a:lnTo>
                    <a:pt x="1918" y="1773"/>
                  </a:lnTo>
                  <a:lnTo>
                    <a:pt x="1918" y="1773"/>
                  </a:lnTo>
                  <a:lnTo>
                    <a:pt x="1916" y="1772"/>
                  </a:lnTo>
                  <a:lnTo>
                    <a:pt x="1917" y="1769"/>
                  </a:lnTo>
                  <a:lnTo>
                    <a:pt x="1920" y="1766"/>
                  </a:lnTo>
                  <a:lnTo>
                    <a:pt x="1922" y="1764"/>
                  </a:lnTo>
                  <a:lnTo>
                    <a:pt x="1925" y="1764"/>
                  </a:lnTo>
                  <a:lnTo>
                    <a:pt x="1928" y="1764"/>
                  </a:lnTo>
                  <a:lnTo>
                    <a:pt x="1931" y="1764"/>
                  </a:lnTo>
                  <a:lnTo>
                    <a:pt x="1932" y="1766"/>
                  </a:lnTo>
                  <a:lnTo>
                    <a:pt x="1933" y="1765"/>
                  </a:lnTo>
                  <a:lnTo>
                    <a:pt x="1935" y="1764"/>
                  </a:lnTo>
                  <a:lnTo>
                    <a:pt x="1937" y="1761"/>
                  </a:lnTo>
                  <a:lnTo>
                    <a:pt x="1940" y="1760"/>
                  </a:lnTo>
                  <a:lnTo>
                    <a:pt x="1942" y="1760"/>
                  </a:lnTo>
                  <a:lnTo>
                    <a:pt x="1944" y="1761"/>
                  </a:lnTo>
                  <a:lnTo>
                    <a:pt x="1946" y="1764"/>
                  </a:lnTo>
                  <a:lnTo>
                    <a:pt x="1948" y="1763"/>
                  </a:lnTo>
                  <a:lnTo>
                    <a:pt x="1947" y="1761"/>
                  </a:lnTo>
                  <a:lnTo>
                    <a:pt x="1947" y="1758"/>
                  </a:lnTo>
                  <a:lnTo>
                    <a:pt x="1947" y="1757"/>
                  </a:lnTo>
                  <a:lnTo>
                    <a:pt x="1946" y="1752"/>
                  </a:lnTo>
                  <a:lnTo>
                    <a:pt x="1947" y="1745"/>
                  </a:lnTo>
                  <a:lnTo>
                    <a:pt x="1947" y="1744"/>
                  </a:lnTo>
                  <a:lnTo>
                    <a:pt x="1949" y="1743"/>
                  </a:lnTo>
                  <a:lnTo>
                    <a:pt x="1950" y="1741"/>
                  </a:lnTo>
                  <a:lnTo>
                    <a:pt x="1952" y="1741"/>
                  </a:lnTo>
                  <a:lnTo>
                    <a:pt x="1954" y="1740"/>
                  </a:lnTo>
                  <a:lnTo>
                    <a:pt x="1957" y="1740"/>
                  </a:lnTo>
                  <a:lnTo>
                    <a:pt x="1958" y="1743"/>
                  </a:lnTo>
                  <a:lnTo>
                    <a:pt x="1960" y="1742"/>
                  </a:lnTo>
                  <a:lnTo>
                    <a:pt x="1963" y="1739"/>
                  </a:lnTo>
                  <a:lnTo>
                    <a:pt x="1962" y="1737"/>
                  </a:lnTo>
                  <a:lnTo>
                    <a:pt x="1964" y="1734"/>
                  </a:lnTo>
                  <a:lnTo>
                    <a:pt x="1967" y="1733"/>
                  </a:lnTo>
                  <a:lnTo>
                    <a:pt x="1970" y="1732"/>
                  </a:lnTo>
                  <a:lnTo>
                    <a:pt x="1974" y="1733"/>
                  </a:lnTo>
                  <a:lnTo>
                    <a:pt x="1976" y="1734"/>
                  </a:lnTo>
                  <a:lnTo>
                    <a:pt x="1978" y="1734"/>
                  </a:lnTo>
                  <a:lnTo>
                    <a:pt x="1979" y="1731"/>
                  </a:lnTo>
                  <a:lnTo>
                    <a:pt x="1980" y="1729"/>
                  </a:lnTo>
                  <a:lnTo>
                    <a:pt x="1982" y="1727"/>
                  </a:lnTo>
                  <a:lnTo>
                    <a:pt x="1984" y="1726"/>
                  </a:lnTo>
                  <a:lnTo>
                    <a:pt x="1984" y="1723"/>
                  </a:lnTo>
                  <a:lnTo>
                    <a:pt x="1985" y="1721"/>
                  </a:lnTo>
                  <a:lnTo>
                    <a:pt x="1987" y="1718"/>
                  </a:lnTo>
                  <a:lnTo>
                    <a:pt x="1990" y="1717"/>
                  </a:lnTo>
                  <a:lnTo>
                    <a:pt x="1994" y="1719"/>
                  </a:lnTo>
                  <a:lnTo>
                    <a:pt x="1995" y="1721"/>
                  </a:lnTo>
                  <a:lnTo>
                    <a:pt x="1997" y="1720"/>
                  </a:lnTo>
                  <a:lnTo>
                    <a:pt x="1998" y="1718"/>
                  </a:lnTo>
                  <a:lnTo>
                    <a:pt x="1999" y="1717"/>
                  </a:lnTo>
                  <a:lnTo>
                    <a:pt x="2000" y="1717"/>
                  </a:lnTo>
                  <a:lnTo>
                    <a:pt x="2001" y="1717"/>
                  </a:lnTo>
                  <a:lnTo>
                    <a:pt x="2002" y="1716"/>
                  </a:lnTo>
                  <a:lnTo>
                    <a:pt x="2001" y="1713"/>
                  </a:lnTo>
                  <a:lnTo>
                    <a:pt x="2001" y="1712"/>
                  </a:lnTo>
                  <a:lnTo>
                    <a:pt x="2002" y="1712"/>
                  </a:lnTo>
                  <a:lnTo>
                    <a:pt x="2003" y="1712"/>
                  </a:lnTo>
                  <a:lnTo>
                    <a:pt x="2003" y="1712"/>
                  </a:lnTo>
                  <a:lnTo>
                    <a:pt x="2005" y="1711"/>
                  </a:lnTo>
                  <a:lnTo>
                    <a:pt x="2003" y="1700"/>
                  </a:lnTo>
                  <a:lnTo>
                    <a:pt x="2002" y="1695"/>
                  </a:lnTo>
                  <a:lnTo>
                    <a:pt x="2004" y="1690"/>
                  </a:lnTo>
                  <a:lnTo>
                    <a:pt x="2011" y="1683"/>
                  </a:lnTo>
                  <a:lnTo>
                    <a:pt x="2014" y="1677"/>
                  </a:lnTo>
                  <a:lnTo>
                    <a:pt x="2023" y="1670"/>
                  </a:lnTo>
                  <a:lnTo>
                    <a:pt x="2026" y="1666"/>
                  </a:lnTo>
                  <a:lnTo>
                    <a:pt x="2027" y="1664"/>
                  </a:lnTo>
                  <a:lnTo>
                    <a:pt x="2028" y="1659"/>
                  </a:lnTo>
                  <a:lnTo>
                    <a:pt x="2029" y="1656"/>
                  </a:lnTo>
                  <a:lnTo>
                    <a:pt x="2031" y="1654"/>
                  </a:lnTo>
                  <a:lnTo>
                    <a:pt x="2033" y="1653"/>
                  </a:lnTo>
                  <a:lnTo>
                    <a:pt x="2035" y="1650"/>
                  </a:lnTo>
                  <a:lnTo>
                    <a:pt x="2036" y="1646"/>
                  </a:lnTo>
                  <a:lnTo>
                    <a:pt x="2035" y="1645"/>
                  </a:lnTo>
                  <a:lnTo>
                    <a:pt x="2033" y="1641"/>
                  </a:lnTo>
                  <a:lnTo>
                    <a:pt x="2030" y="1638"/>
                  </a:lnTo>
                  <a:lnTo>
                    <a:pt x="2028" y="1634"/>
                  </a:lnTo>
                  <a:lnTo>
                    <a:pt x="2030" y="1626"/>
                  </a:lnTo>
                  <a:lnTo>
                    <a:pt x="2025" y="1625"/>
                  </a:lnTo>
                  <a:lnTo>
                    <a:pt x="2018" y="1629"/>
                  </a:lnTo>
                  <a:lnTo>
                    <a:pt x="2014" y="1630"/>
                  </a:lnTo>
                  <a:lnTo>
                    <a:pt x="1986" y="1638"/>
                  </a:lnTo>
                  <a:lnTo>
                    <a:pt x="1980" y="1638"/>
                  </a:lnTo>
                  <a:lnTo>
                    <a:pt x="1978" y="1638"/>
                  </a:lnTo>
                  <a:lnTo>
                    <a:pt x="1977" y="1636"/>
                  </a:lnTo>
                  <a:lnTo>
                    <a:pt x="1976" y="1634"/>
                  </a:lnTo>
                  <a:lnTo>
                    <a:pt x="1975" y="1633"/>
                  </a:lnTo>
                  <a:lnTo>
                    <a:pt x="1973" y="1632"/>
                  </a:lnTo>
                  <a:lnTo>
                    <a:pt x="1969" y="1631"/>
                  </a:lnTo>
                  <a:lnTo>
                    <a:pt x="1966" y="1630"/>
                  </a:lnTo>
                  <a:lnTo>
                    <a:pt x="1949" y="1620"/>
                  </a:lnTo>
                  <a:lnTo>
                    <a:pt x="1942" y="1617"/>
                  </a:lnTo>
                  <a:lnTo>
                    <a:pt x="1933" y="1612"/>
                  </a:lnTo>
                  <a:lnTo>
                    <a:pt x="1931" y="1611"/>
                  </a:lnTo>
                  <a:lnTo>
                    <a:pt x="1929" y="1612"/>
                  </a:lnTo>
                  <a:lnTo>
                    <a:pt x="1927" y="1612"/>
                  </a:lnTo>
                  <a:lnTo>
                    <a:pt x="1925" y="1613"/>
                  </a:lnTo>
                  <a:lnTo>
                    <a:pt x="1923" y="1612"/>
                  </a:lnTo>
                  <a:lnTo>
                    <a:pt x="1921" y="1610"/>
                  </a:lnTo>
                  <a:lnTo>
                    <a:pt x="1921" y="1608"/>
                  </a:lnTo>
                  <a:lnTo>
                    <a:pt x="1920" y="1606"/>
                  </a:lnTo>
                  <a:lnTo>
                    <a:pt x="1919" y="1604"/>
                  </a:lnTo>
                  <a:lnTo>
                    <a:pt x="1918" y="1602"/>
                  </a:lnTo>
                  <a:lnTo>
                    <a:pt x="1915" y="1600"/>
                  </a:lnTo>
                  <a:lnTo>
                    <a:pt x="1913" y="1598"/>
                  </a:lnTo>
                  <a:lnTo>
                    <a:pt x="1912" y="1597"/>
                  </a:lnTo>
                  <a:lnTo>
                    <a:pt x="1911" y="1592"/>
                  </a:lnTo>
                  <a:lnTo>
                    <a:pt x="1909" y="1590"/>
                  </a:lnTo>
                  <a:lnTo>
                    <a:pt x="1906" y="1586"/>
                  </a:lnTo>
                  <a:lnTo>
                    <a:pt x="1905" y="1585"/>
                  </a:lnTo>
                  <a:lnTo>
                    <a:pt x="1905" y="1583"/>
                  </a:lnTo>
                  <a:lnTo>
                    <a:pt x="1905" y="1582"/>
                  </a:lnTo>
                  <a:lnTo>
                    <a:pt x="1905" y="1580"/>
                  </a:lnTo>
                  <a:lnTo>
                    <a:pt x="1906" y="1574"/>
                  </a:lnTo>
                  <a:lnTo>
                    <a:pt x="1907" y="1572"/>
                  </a:lnTo>
                  <a:lnTo>
                    <a:pt x="1913" y="1569"/>
                  </a:lnTo>
                  <a:lnTo>
                    <a:pt x="1909" y="1565"/>
                  </a:lnTo>
                  <a:lnTo>
                    <a:pt x="1904" y="1560"/>
                  </a:lnTo>
                  <a:lnTo>
                    <a:pt x="1900" y="1554"/>
                  </a:lnTo>
                  <a:lnTo>
                    <a:pt x="1900" y="1547"/>
                  </a:lnTo>
                  <a:lnTo>
                    <a:pt x="1901" y="1544"/>
                  </a:lnTo>
                  <a:lnTo>
                    <a:pt x="1910" y="1538"/>
                  </a:lnTo>
                  <a:lnTo>
                    <a:pt x="1915" y="1528"/>
                  </a:lnTo>
                  <a:lnTo>
                    <a:pt x="1917" y="1527"/>
                  </a:lnTo>
                  <a:lnTo>
                    <a:pt x="1915" y="1522"/>
                  </a:lnTo>
                  <a:lnTo>
                    <a:pt x="1916" y="1517"/>
                  </a:lnTo>
                  <a:lnTo>
                    <a:pt x="1920" y="1514"/>
                  </a:lnTo>
                  <a:lnTo>
                    <a:pt x="1923" y="1512"/>
                  </a:lnTo>
                  <a:lnTo>
                    <a:pt x="1926" y="1512"/>
                  </a:lnTo>
                  <a:lnTo>
                    <a:pt x="1932" y="1514"/>
                  </a:lnTo>
                  <a:lnTo>
                    <a:pt x="1935" y="1513"/>
                  </a:lnTo>
                  <a:lnTo>
                    <a:pt x="1934" y="1511"/>
                  </a:lnTo>
                  <a:lnTo>
                    <a:pt x="1929" y="1502"/>
                  </a:lnTo>
                  <a:lnTo>
                    <a:pt x="1928" y="1500"/>
                  </a:lnTo>
                  <a:lnTo>
                    <a:pt x="1927" y="1494"/>
                  </a:lnTo>
                  <a:lnTo>
                    <a:pt x="1925" y="1489"/>
                  </a:lnTo>
                  <a:lnTo>
                    <a:pt x="1926" y="1489"/>
                  </a:lnTo>
                  <a:lnTo>
                    <a:pt x="1926" y="1486"/>
                  </a:lnTo>
                  <a:lnTo>
                    <a:pt x="1927" y="1485"/>
                  </a:lnTo>
                  <a:lnTo>
                    <a:pt x="1927" y="1484"/>
                  </a:lnTo>
                  <a:lnTo>
                    <a:pt x="1927" y="1484"/>
                  </a:lnTo>
                  <a:lnTo>
                    <a:pt x="1927" y="1483"/>
                  </a:lnTo>
                  <a:lnTo>
                    <a:pt x="1926" y="1482"/>
                  </a:lnTo>
                  <a:lnTo>
                    <a:pt x="1926" y="1481"/>
                  </a:lnTo>
                  <a:lnTo>
                    <a:pt x="1923" y="1478"/>
                  </a:lnTo>
                  <a:lnTo>
                    <a:pt x="1915" y="1474"/>
                  </a:lnTo>
                  <a:lnTo>
                    <a:pt x="1912" y="1474"/>
                  </a:lnTo>
                  <a:lnTo>
                    <a:pt x="1905" y="1475"/>
                  </a:lnTo>
                  <a:lnTo>
                    <a:pt x="1901" y="1475"/>
                  </a:lnTo>
                  <a:lnTo>
                    <a:pt x="1891" y="1468"/>
                  </a:lnTo>
                  <a:lnTo>
                    <a:pt x="1885" y="1464"/>
                  </a:lnTo>
                  <a:lnTo>
                    <a:pt x="1883" y="1459"/>
                  </a:lnTo>
                  <a:lnTo>
                    <a:pt x="1883" y="1447"/>
                  </a:lnTo>
                  <a:lnTo>
                    <a:pt x="1882" y="1440"/>
                  </a:lnTo>
                  <a:lnTo>
                    <a:pt x="1878" y="1437"/>
                  </a:lnTo>
                  <a:lnTo>
                    <a:pt x="1872" y="1437"/>
                  </a:lnTo>
                  <a:lnTo>
                    <a:pt x="1871" y="1435"/>
                  </a:lnTo>
                  <a:lnTo>
                    <a:pt x="1869" y="1432"/>
                  </a:lnTo>
                  <a:lnTo>
                    <a:pt x="1868" y="1430"/>
                  </a:lnTo>
                  <a:lnTo>
                    <a:pt x="1868" y="1428"/>
                  </a:lnTo>
                  <a:lnTo>
                    <a:pt x="1868" y="1427"/>
                  </a:lnTo>
                  <a:lnTo>
                    <a:pt x="1866" y="1424"/>
                  </a:lnTo>
                  <a:lnTo>
                    <a:pt x="1863" y="1420"/>
                  </a:lnTo>
                  <a:lnTo>
                    <a:pt x="1865" y="1418"/>
                  </a:lnTo>
                  <a:lnTo>
                    <a:pt x="1867" y="1415"/>
                  </a:lnTo>
                  <a:lnTo>
                    <a:pt x="1867" y="1415"/>
                  </a:lnTo>
                  <a:lnTo>
                    <a:pt x="1873" y="1412"/>
                  </a:lnTo>
                  <a:lnTo>
                    <a:pt x="1874" y="1412"/>
                  </a:lnTo>
                  <a:lnTo>
                    <a:pt x="1877" y="1412"/>
                  </a:lnTo>
                  <a:lnTo>
                    <a:pt x="1878" y="1412"/>
                  </a:lnTo>
                  <a:lnTo>
                    <a:pt x="1880" y="1411"/>
                  </a:lnTo>
                  <a:lnTo>
                    <a:pt x="1883" y="1409"/>
                  </a:lnTo>
                  <a:lnTo>
                    <a:pt x="1884" y="1408"/>
                  </a:lnTo>
                  <a:lnTo>
                    <a:pt x="1890" y="1409"/>
                  </a:lnTo>
                  <a:lnTo>
                    <a:pt x="1895" y="1412"/>
                  </a:lnTo>
                  <a:lnTo>
                    <a:pt x="1901" y="1414"/>
                  </a:lnTo>
                  <a:lnTo>
                    <a:pt x="1906" y="1412"/>
                  </a:lnTo>
                  <a:lnTo>
                    <a:pt x="1906" y="1410"/>
                  </a:lnTo>
                  <a:lnTo>
                    <a:pt x="1906" y="1409"/>
                  </a:lnTo>
                  <a:lnTo>
                    <a:pt x="1905" y="1408"/>
                  </a:lnTo>
                  <a:lnTo>
                    <a:pt x="1906" y="1406"/>
                  </a:lnTo>
                  <a:lnTo>
                    <a:pt x="1907" y="1405"/>
                  </a:lnTo>
                  <a:lnTo>
                    <a:pt x="1911" y="1405"/>
                  </a:lnTo>
                  <a:lnTo>
                    <a:pt x="1912" y="1405"/>
                  </a:lnTo>
                  <a:lnTo>
                    <a:pt x="1915" y="1403"/>
                  </a:lnTo>
                  <a:lnTo>
                    <a:pt x="1917" y="1398"/>
                  </a:lnTo>
                  <a:lnTo>
                    <a:pt x="1919" y="1396"/>
                  </a:lnTo>
                  <a:lnTo>
                    <a:pt x="1925" y="1394"/>
                  </a:lnTo>
                  <a:lnTo>
                    <a:pt x="1930" y="1392"/>
                  </a:lnTo>
                  <a:lnTo>
                    <a:pt x="1932" y="1393"/>
                  </a:lnTo>
                  <a:lnTo>
                    <a:pt x="1934" y="1395"/>
                  </a:lnTo>
                  <a:lnTo>
                    <a:pt x="1935" y="1395"/>
                  </a:lnTo>
                  <a:lnTo>
                    <a:pt x="1936" y="1394"/>
                  </a:lnTo>
                  <a:lnTo>
                    <a:pt x="1939" y="1389"/>
                  </a:lnTo>
                  <a:lnTo>
                    <a:pt x="1943" y="1385"/>
                  </a:lnTo>
                  <a:lnTo>
                    <a:pt x="1943" y="1382"/>
                  </a:lnTo>
                  <a:lnTo>
                    <a:pt x="1941" y="1377"/>
                  </a:lnTo>
                  <a:lnTo>
                    <a:pt x="1940" y="1370"/>
                  </a:lnTo>
                  <a:lnTo>
                    <a:pt x="1941" y="1369"/>
                  </a:lnTo>
                  <a:lnTo>
                    <a:pt x="1946" y="1363"/>
                  </a:lnTo>
                  <a:lnTo>
                    <a:pt x="1950" y="1357"/>
                  </a:lnTo>
                  <a:lnTo>
                    <a:pt x="1951" y="1354"/>
                  </a:lnTo>
                  <a:lnTo>
                    <a:pt x="1951" y="1351"/>
                  </a:lnTo>
                  <a:lnTo>
                    <a:pt x="1950" y="1350"/>
                  </a:lnTo>
                  <a:lnTo>
                    <a:pt x="1943" y="1347"/>
                  </a:lnTo>
                  <a:lnTo>
                    <a:pt x="1941" y="1346"/>
                  </a:lnTo>
                  <a:lnTo>
                    <a:pt x="1940" y="1343"/>
                  </a:lnTo>
                  <a:lnTo>
                    <a:pt x="1939" y="1340"/>
                  </a:lnTo>
                  <a:lnTo>
                    <a:pt x="1938" y="1338"/>
                  </a:lnTo>
                  <a:lnTo>
                    <a:pt x="1937" y="1338"/>
                  </a:lnTo>
                  <a:lnTo>
                    <a:pt x="1930" y="1332"/>
                  </a:lnTo>
                  <a:lnTo>
                    <a:pt x="1923" y="1328"/>
                  </a:lnTo>
                  <a:lnTo>
                    <a:pt x="1922" y="1325"/>
                  </a:lnTo>
                  <a:lnTo>
                    <a:pt x="1921" y="1316"/>
                  </a:lnTo>
                  <a:lnTo>
                    <a:pt x="1920" y="1314"/>
                  </a:lnTo>
                  <a:lnTo>
                    <a:pt x="1919" y="1312"/>
                  </a:lnTo>
                  <a:lnTo>
                    <a:pt x="1918" y="1310"/>
                  </a:lnTo>
                  <a:lnTo>
                    <a:pt x="1919" y="1308"/>
                  </a:lnTo>
                  <a:lnTo>
                    <a:pt x="1920" y="1304"/>
                  </a:lnTo>
                  <a:lnTo>
                    <a:pt x="1921" y="1302"/>
                  </a:lnTo>
                  <a:lnTo>
                    <a:pt x="1920" y="1299"/>
                  </a:lnTo>
                  <a:lnTo>
                    <a:pt x="1918" y="1298"/>
                  </a:lnTo>
                  <a:lnTo>
                    <a:pt x="1913" y="1297"/>
                  </a:lnTo>
                  <a:lnTo>
                    <a:pt x="1911" y="1295"/>
                  </a:lnTo>
                  <a:lnTo>
                    <a:pt x="1907" y="1291"/>
                  </a:lnTo>
                  <a:lnTo>
                    <a:pt x="1905" y="1290"/>
                  </a:lnTo>
                  <a:lnTo>
                    <a:pt x="1901" y="1290"/>
                  </a:lnTo>
                  <a:lnTo>
                    <a:pt x="1896" y="1286"/>
                  </a:lnTo>
                  <a:lnTo>
                    <a:pt x="1893" y="1282"/>
                  </a:lnTo>
                  <a:lnTo>
                    <a:pt x="1891" y="1272"/>
                  </a:lnTo>
                  <a:lnTo>
                    <a:pt x="1891" y="1268"/>
                  </a:lnTo>
                  <a:lnTo>
                    <a:pt x="1891" y="1264"/>
                  </a:lnTo>
                  <a:lnTo>
                    <a:pt x="1892" y="1260"/>
                  </a:lnTo>
                  <a:lnTo>
                    <a:pt x="1894" y="1257"/>
                  </a:lnTo>
                  <a:lnTo>
                    <a:pt x="1896" y="1256"/>
                  </a:lnTo>
                  <a:lnTo>
                    <a:pt x="1901" y="1255"/>
                  </a:lnTo>
                  <a:lnTo>
                    <a:pt x="1901" y="1254"/>
                  </a:lnTo>
                  <a:lnTo>
                    <a:pt x="1902" y="1253"/>
                  </a:lnTo>
                  <a:lnTo>
                    <a:pt x="1902" y="1253"/>
                  </a:lnTo>
                  <a:lnTo>
                    <a:pt x="1903" y="1252"/>
                  </a:lnTo>
                  <a:lnTo>
                    <a:pt x="1904" y="1252"/>
                  </a:lnTo>
                  <a:lnTo>
                    <a:pt x="1905" y="1253"/>
                  </a:lnTo>
                  <a:lnTo>
                    <a:pt x="1906" y="1253"/>
                  </a:lnTo>
                  <a:lnTo>
                    <a:pt x="1907" y="1253"/>
                  </a:lnTo>
                  <a:lnTo>
                    <a:pt x="1911" y="1253"/>
                  </a:lnTo>
                  <a:lnTo>
                    <a:pt x="1914" y="1252"/>
                  </a:lnTo>
                  <a:lnTo>
                    <a:pt x="1918" y="1250"/>
                  </a:lnTo>
                  <a:lnTo>
                    <a:pt x="1921" y="1247"/>
                  </a:lnTo>
                  <a:lnTo>
                    <a:pt x="1923" y="1243"/>
                  </a:lnTo>
                  <a:lnTo>
                    <a:pt x="1924" y="1240"/>
                  </a:lnTo>
                  <a:lnTo>
                    <a:pt x="1925" y="1238"/>
                  </a:lnTo>
                  <a:lnTo>
                    <a:pt x="1927" y="1236"/>
                  </a:lnTo>
                  <a:lnTo>
                    <a:pt x="1929" y="1234"/>
                  </a:lnTo>
                  <a:lnTo>
                    <a:pt x="1928" y="1233"/>
                  </a:lnTo>
                  <a:lnTo>
                    <a:pt x="1927" y="1230"/>
                  </a:lnTo>
                  <a:lnTo>
                    <a:pt x="1926" y="1226"/>
                  </a:lnTo>
                  <a:lnTo>
                    <a:pt x="1925" y="1222"/>
                  </a:lnTo>
                  <a:lnTo>
                    <a:pt x="1924" y="1219"/>
                  </a:lnTo>
                  <a:lnTo>
                    <a:pt x="1923" y="1219"/>
                  </a:lnTo>
                  <a:lnTo>
                    <a:pt x="1912" y="1206"/>
                  </a:lnTo>
                  <a:lnTo>
                    <a:pt x="1909" y="1205"/>
                  </a:lnTo>
                  <a:lnTo>
                    <a:pt x="1907" y="1205"/>
                  </a:lnTo>
                  <a:lnTo>
                    <a:pt x="1906" y="1207"/>
                  </a:lnTo>
                  <a:lnTo>
                    <a:pt x="1905" y="1208"/>
                  </a:lnTo>
                  <a:lnTo>
                    <a:pt x="1904" y="1207"/>
                  </a:lnTo>
                  <a:lnTo>
                    <a:pt x="1902" y="1206"/>
                  </a:lnTo>
                  <a:lnTo>
                    <a:pt x="1902" y="1205"/>
                  </a:lnTo>
                  <a:lnTo>
                    <a:pt x="1902" y="1204"/>
                  </a:lnTo>
                  <a:lnTo>
                    <a:pt x="1902" y="1203"/>
                  </a:lnTo>
                  <a:lnTo>
                    <a:pt x="1902" y="1203"/>
                  </a:lnTo>
                  <a:lnTo>
                    <a:pt x="1902" y="1200"/>
                  </a:lnTo>
                  <a:lnTo>
                    <a:pt x="1902" y="1198"/>
                  </a:lnTo>
                  <a:lnTo>
                    <a:pt x="1902" y="1198"/>
                  </a:lnTo>
                  <a:lnTo>
                    <a:pt x="1902" y="1197"/>
                  </a:lnTo>
                  <a:lnTo>
                    <a:pt x="1904" y="1195"/>
                  </a:lnTo>
                  <a:lnTo>
                    <a:pt x="1905" y="1194"/>
                  </a:lnTo>
                  <a:lnTo>
                    <a:pt x="1905" y="1192"/>
                  </a:lnTo>
                  <a:lnTo>
                    <a:pt x="1903" y="1189"/>
                  </a:lnTo>
                  <a:lnTo>
                    <a:pt x="1890" y="1187"/>
                  </a:lnTo>
                  <a:lnTo>
                    <a:pt x="1889" y="1183"/>
                  </a:lnTo>
                  <a:lnTo>
                    <a:pt x="1890" y="1175"/>
                  </a:lnTo>
                  <a:lnTo>
                    <a:pt x="1893" y="1167"/>
                  </a:lnTo>
                  <a:lnTo>
                    <a:pt x="1898" y="1156"/>
                  </a:lnTo>
                  <a:lnTo>
                    <a:pt x="1895" y="1150"/>
                  </a:lnTo>
                  <a:lnTo>
                    <a:pt x="1889" y="1144"/>
                  </a:lnTo>
                  <a:lnTo>
                    <a:pt x="1886" y="1139"/>
                  </a:lnTo>
                  <a:lnTo>
                    <a:pt x="1887" y="1136"/>
                  </a:lnTo>
                  <a:lnTo>
                    <a:pt x="1891" y="1131"/>
                  </a:lnTo>
                  <a:lnTo>
                    <a:pt x="1892" y="1127"/>
                  </a:lnTo>
                  <a:lnTo>
                    <a:pt x="1892" y="1125"/>
                  </a:lnTo>
                  <a:lnTo>
                    <a:pt x="1892" y="1123"/>
                  </a:lnTo>
                  <a:lnTo>
                    <a:pt x="1891" y="1121"/>
                  </a:lnTo>
                  <a:lnTo>
                    <a:pt x="1891" y="1121"/>
                  </a:lnTo>
                  <a:lnTo>
                    <a:pt x="1888" y="1119"/>
                  </a:lnTo>
                  <a:lnTo>
                    <a:pt x="1864" y="1113"/>
                  </a:lnTo>
                  <a:lnTo>
                    <a:pt x="1854" y="1113"/>
                  </a:lnTo>
                  <a:lnTo>
                    <a:pt x="1844" y="1115"/>
                  </a:lnTo>
                  <a:lnTo>
                    <a:pt x="1830" y="1124"/>
                  </a:lnTo>
                  <a:lnTo>
                    <a:pt x="1825" y="1126"/>
                  </a:lnTo>
                  <a:lnTo>
                    <a:pt x="1820" y="1126"/>
                  </a:lnTo>
                  <a:lnTo>
                    <a:pt x="1815" y="1127"/>
                  </a:lnTo>
                  <a:lnTo>
                    <a:pt x="1810" y="1132"/>
                  </a:lnTo>
                  <a:lnTo>
                    <a:pt x="1805" y="1138"/>
                  </a:lnTo>
                  <a:lnTo>
                    <a:pt x="1802" y="1142"/>
                  </a:lnTo>
                  <a:lnTo>
                    <a:pt x="1801" y="1145"/>
                  </a:lnTo>
                  <a:lnTo>
                    <a:pt x="1802" y="1148"/>
                  </a:lnTo>
                  <a:lnTo>
                    <a:pt x="1803" y="1152"/>
                  </a:lnTo>
                  <a:lnTo>
                    <a:pt x="1803" y="1153"/>
                  </a:lnTo>
                  <a:lnTo>
                    <a:pt x="1805" y="1156"/>
                  </a:lnTo>
                  <a:lnTo>
                    <a:pt x="1805" y="1157"/>
                  </a:lnTo>
                  <a:lnTo>
                    <a:pt x="1807" y="1158"/>
                  </a:lnTo>
                  <a:lnTo>
                    <a:pt x="1810" y="1157"/>
                  </a:lnTo>
                  <a:lnTo>
                    <a:pt x="1811" y="1157"/>
                  </a:lnTo>
                  <a:lnTo>
                    <a:pt x="1812" y="1163"/>
                  </a:lnTo>
                  <a:lnTo>
                    <a:pt x="1808" y="1167"/>
                  </a:lnTo>
                  <a:lnTo>
                    <a:pt x="1798" y="1174"/>
                  </a:lnTo>
                  <a:lnTo>
                    <a:pt x="1789" y="1183"/>
                  </a:lnTo>
                  <a:lnTo>
                    <a:pt x="1784" y="1186"/>
                  </a:lnTo>
                  <a:lnTo>
                    <a:pt x="1779" y="1184"/>
                  </a:lnTo>
                  <a:lnTo>
                    <a:pt x="1772" y="1184"/>
                  </a:lnTo>
                  <a:lnTo>
                    <a:pt x="1764" y="1185"/>
                  </a:lnTo>
                  <a:lnTo>
                    <a:pt x="1760" y="1188"/>
                  </a:lnTo>
                  <a:lnTo>
                    <a:pt x="1763" y="1183"/>
                  </a:lnTo>
                  <a:lnTo>
                    <a:pt x="1764" y="1180"/>
                  </a:lnTo>
                  <a:lnTo>
                    <a:pt x="1764" y="1179"/>
                  </a:lnTo>
                  <a:lnTo>
                    <a:pt x="1762" y="1175"/>
                  </a:lnTo>
                  <a:lnTo>
                    <a:pt x="1760" y="1172"/>
                  </a:lnTo>
                  <a:lnTo>
                    <a:pt x="1760" y="1169"/>
                  </a:lnTo>
                  <a:lnTo>
                    <a:pt x="1764" y="1167"/>
                  </a:lnTo>
                  <a:lnTo>
                    <a:pt x="1774" y="1162"/>
                  </a:lnTo>
                  <a:lnTo>
                    <a:pt x="1774" y="1162"/>
                  </a:lnTo>
                  <a:lnTo>
                    <a:pt x="1774" y="1162"/>
                  </a:lnTo>
                  <a:lnTo>
                    <a:pt x="1775" y="1162"/>
                  </a:lnTo>
                  <a:lnTo>
                    <a:pt x="1776" y="1162"/>
                  </a:lnTo>
                  <a:lnTo>
                    <a:pt x="1777" y="1162"/>
                  </a:lnTo>
                  <a:lnTo>
                    <a:pt x="1778" y="1162"/>
                  </a:lnTo>
                  <a:lnTo>
                    <a:pt x="1781" y="1161"/>
                  </a:lnTo>
                  <a:lnTo>
                    <a:pt x="1782" y="1160"/>
                  </a:lnTo>
                  <a:lnTo>
                    <a:pt x="1782" y="1158"/>
                  </a:lnTo>
                  <a:lnTo>
                    <a:pt x="1782" y="1155"/>
                  </a:lnTo>
                  <a:lnTo>
                    <a:pt x="1783" y="1149"/>
                  </a:lnTo>
                  <a:lnTo>
                    <a:pt x="1784" y="1147"/>
                  </a:lnTo>
                  <a:lnTo>
                    <a:pt x="1786" y="1142"/>
                  </a:lnTo>
                  <a:lnTo>
                    <a:pt x="1789" y="1136"/>
                  </a:lnTo>
                  <a:lnTo>
                    <a:pt x="1788" y="1133"/>
                  </a:lnTo>
                  <a:lnTo>
                    <a:pt x="1787" y="1129"/>
                  </a:lnTo>
                  <a:lnTo>
                    <a:pt x="1784" y="1127"/>
                  </a:lnTo>
                  <a:lnTo>
                    <a:pt x="1776" y="1122"/>
                  </a:lnTo>
                  <a:lnTo>
                    <a:pt x="1776" y="1121"/>
                  </a:lnTo>
                  <a:lnTo>
                    <a:pt x="1778" y="1120"/>
                  </a:lnTo>
                  <a:lnTo>
                    <a:pt x="1778" y="1118"/>
                  </a:lnTo>
                  <a:lnTo>
                    <a:pt x="1778" y="1117"/>
                  </a:lnTo>
                  <a:lnTo>
                    <a:pt x="1778" y="1115"/>
                  </a:lnTo>
                  <a:lnTo>
                    <a:pt x="1777" y="1114"/>
                  </a:lnTo>
                  <a:lnTo>
                    <a:pt x="1777" y="1113"/>
                  </a:lnTo>
                  <a:lnTo>
                    <a:pt x="1777" y="1112"/>
                  </a:lnTo>
                  <a:lnTo>
                    <a:pt x="1777" y="1111"/>
                  </a:lnTo>
                  <a:lnTo>
                    <a:pt x="1777" y="1110"/>
                  </a:lnTo>
                  <a:lnTo>
                    <a:pt x="1779" y="1108"/>
                  </a:lnTo>
                  <a:lnTo>
                    <a:pt x="1784" y="1098"/>
                  </a:lnTo>
                  <a:lnTo>
                    <a:pt x="1790" y="1091"/>
                  </a:lnTo>
                  <a:lnTo>
                    <a:pt x="1786" y="1087"/>
                  </a:lnTo>
                  <a:lnTo>
                    <a:pt x="1786" y="1084"/>
                  </a:lnTo>
                  <a:lnTo>
                    <a:pt x="1788" y="1081"/>
                  </a:lnTo>
                  <a:lnTo>
                    <a:pt x="1809" y="1062"/>
                  </a:lnTo>
                  <a:lnTo>
                    <a:pt x="1821" y="1055"/>
                  </a:lnTo>
                  <a:lnTo>
                    <a:pt x="1822" y="1054"/>
                  </a:lnTo>
                  <a:lnTo>
                    <a:pt x="1827" y="1049"/>
                  </a:lnTo>
                  <a:lnTo>
                    <a:pt x="1832" y="1047"/>
                  </a:lnTo>
                  <a:lnTo>
                    <a:pt x="1833" y="1045"/>
                  </a:lnTo>
                  <a:lnTo>
                    <a:pt x="1835" y="1043"/>
                  </a:lnTo>
                  <a:lnTo>
                    <a:pt x="1836" y="1041"/>
                  </a:lnTo>
                  <a:lnTo>
                    <a:pt x="1836" y="1037"/>
                  </a:lnTo>
                  <a:lnTo>
                    <a:pt x="1835" y="1036"/>
                  </a:lnTo>
                  <a:lnTo>
                    <a:pt x="1834" y="1035"/>
                  </a:lnTo>
                  <a:lnTo>
                    <a:pt x="1833" y="1033"/>
                  </a:lnTo>
                  <a:lnTo>
                    <a:pt x="1833" y="1032"/>
                  </a:lnTo>
                  <a:lnTo>
                    <a:pt x="1836" y="1025"/>
                  </a:lnTo>
                  <a:lnTo>
                    <a:pt x="1837" y="1023"/>
                  </a:lnTo>
                  <a:lnTo>
                    <a:pt x="1837" y="1022"/>
                  </a:lnTo>
                  <a:lnTo>
                    <a:pt x="1838" y="1021"/>
                  </a:lnTo>
                  <a:lnTo>
                    <a:pt x="1838" y="1017"/>
                  </a:lnTo>
                  <a:lnTo>
                    <a:pt x="1838" y="1015"/>
                  </a:lnTo>
                  <a:lnTo>
                    <a:pt x="1836" y="1011"/>
                  </a:lnTo>
                  <a:lnTo>
                    <a:pt x="1835" y="1009"/>
                  </a:lnTo>
                  <a:lnTo>
                    <a:pt x="1837" y="1001"/>
                  </a:lnTo>
                  <a:lnTo>
                    <a:pt x="1845" y="996"/>
                  </a:lnTo>
                  <a:lnTo>
                    <a:pt x="1862" y="991"/>
                  </a:lnTo>
                  <a:lnTo>
                    <a:pt x="1873" y="983"/>
                  </a:lnTo>
                  <a:lnTo>
                    <a:pt x="1876" y="977"/>
                  </a:lnTo>
                  <a:lnTo>
                    <a:pt x="1874" y="973"/>
                  </a:lnTo>
                  <a:lnTo>
                    <a:pt x="1876" y="969"/>
                  </a:lnTo>
                  <a:lnTo>
                    <a:pt x="1878" y="968"/>
                  </a:lnTo>
                  <a:lnTo>
                    <a:pt x="1882" y="967"/>
                  </a:lnTo>
                  <a:lnTo>
                    <a:pt x="1883" y="965"/>
                  </a:lnTo>
                  <a:lnTo>
                    <a:pt x="1883" y="965"/>
                  </a:lnTo>
                  <a:lnTo>
                    <a:pt x="1886" y="964"/>
                  </a:lnTo>
                  <a:lnTo>
                    <a:pt x="1885" y="960"/>
                  </a:lnTo>
                  <a:lnTo>
                    <a:pt x="1890" y="958"/>
                  </a:lnTo>
                  <a:lnTo>
                    <a:pt x="1900" y="949"/>
                  </a:lnTo>
                  <a:lnTo>
                    <a:pt x="1901" y="948"/>
                  </a:lnTo>
                  <a:lnTo>
                    <a:pt x="1903" y="943"/>
                  </a:lnTo>
                  <a:lnTo>
                    <a:pt x="1908" y="939"/>
                  </a:lnTo>
                  <a:lnTo>
                    <a:pt x="1919" y="930"/>
                  </a:lnTo>
                  <a:lnTo>
                    <a:pt x="1918" y="925"/>
                  </a:lnTo>
                  <a:lnTo>
                    <a:pt x="1919" y="920"/>
                  </a:lnTo>
                  <a:lnTo>
                    <a:pt x="1922" y="917"/>
                  </a:lnTo>
                  <a:lnTo>
                    <a:pt x="1924" y="917"/>
                  </a:lnTo>
                  <a:lnTo>
                    <a:pt x="1925" y="916"/>
                  </a:lnTo>
                  <a:lnTo>
                    <a:pt x="1927" y="913"/>
                  </a:lnTo>
                  <a:lnTo>
                    <a:pt x="1929" y="912"/>
                  </a:lnTo>
                  <a:lnTo>
                    <a:pt x="1930" y="912"/>
                  </a:lnTo>
                  <a:lnTo>
                    <a:pt x="1932" y="911"/>
                  </a:lnTo>
                  <a:lnTo>
                    <a:pt x="1933" y="908"/>
                  </a:lnTo>
                  <a:lnTo>
                    <a:pt x="1931" y="906"/>
                  </a:lnTo>
                  <a:lnTo>
                    <a:pt x="1929" y="904"/>
                  </a:lnTo>
                  <a:lnTo>
                    <a:pt x="1926" y="902"/>
                  </a:lnTo>
                  <a:lnTo>
                    <a:pt x="1924" y="903"/>
                  </a:lnTo>
                  <a:lnTo>
                    <a:pt x="1905" y="905"/>
                  </a:lnTo>
                  <a:lnTo>
                    <a:pt x="1906" y="902"/>
                  </a:lnTo>
                  <a:lnTo>
                    <a:pt x="1907" y="899"/>
                  </a:lnTo>
                  <a:lnTo>
                    <a:pt x="1910" y="896"/>
                  </a:lnTo>
                  <a:lnTo>
                    <a:pt x="1914" y="893"/>
                  </a:lnTo>
                  <a:lnTo>
                    <a:pt x="1914" y="889"/>
                  </a:lnTo>
                  <a:lnTo>
                    <a:pt x="1918" y="888"/>
                  </a:lnTo>
                  <a:lnTo>
                    <a:pt x="1921" y="886"/>
                  </a:lnTo>
                  <a:lnTo>
                    <a:pt x="1923" y="884"/>
                  </a:lnTo>
                  <a:lnTo>
                    <a:pt x="1924" y="882"/>
                  </a:lnTo>
                  <a:lnTo>
                    <a:pt x="1924" y="879"/>
                  </a:lnTo>
                  <a:lnTo>
                    <a:pt x="1922" y="876"/>
                  </a:lnTo>
                  <a:lnTo>
                    <a:pt x="1921" y="874"/>
                  </a:lnTo>
                  <a:lnTo>
                    <a:pt x="1925" y="873"/>
                  </a:lnTo>
                  <a:lnTo>
                    <a:pt x="1926" y="872"/>
                  </a:lnTo>
                  <a:lnTo>
                    <a:pt x="1927" y="871"/>
                  </a:lnTo>
                  <a:lnTo>
                    <a:pt x="1929" y="872"/>
                  </a:lnTo>
                  <a:lnTo>
                    <a:pt x="1930" y="873"/>
                  </a:lnTo>
                  <a:lnTo>
                    <a:pt x="1934" y="873"/>
                  </a:lnTo>
                  <a:lnTo>
                    <a:pt x="1942" y="872"/>
                  </a:lnTo>
                  <a:lnTo>
                    <a:pt x="1946" y="873"/>
                  </a:lnTo>
                  <a:lnTo>
                    <a:pt x="1948" y="874"/>
                  </a:lnTo>
                  <a:lnTo>
                    <a:pt x="1948" y="874"/>
                  </a:lnTo>
                  <a:lnTo>
                    <a:pt x="1950" y="874"/>
                  </a:lnTo>
                  <a:lnTo>
                    <a:pt x="1955" y="874"/>
                  </a:lnTo>
                  <a:lnTo>
                    <a:pt x="1952" y="881"/>
                  </a:lnTo>
                  <a:lnTo>
                    <a:pt x="1953" y="884"/>
                  </a:lnTo>
                  <a:lnTo>
                    <a:pt x="1956" y="886"/>
                  </a:lnTo>
                  <a:lnTo>
                    <a:pt x="1961" y="888"/>
                  </a:lnTo>
                  <a:lnTo>
                    <a:pt x="1961" y="888"/>
                  </a:lnTo>
                  <a:lnTo>
                    <a:pt x="1962" y="889"/>
                  </a:lnTo>
                  <a:lnTo>
                    <a:pt x="1962" y="890"/>
                  </a:lnTo>
                  <a:lnTo>
                    <a:pt x="1964" y="891"/>
                  </a:lnTo>
                  <a:lnTo>
                    <a:pt x="1964" y="890"/>
                  </a:lnTo>
                  <a:lnTo>
                    <a:pt x="1971" y="888"/>
                  </a:lnTo>
                  <a:lnTo>
                    <a:pt x="1975" y="887"/>
                  </a:lnTo>
                  <a:lnTo>
                    <a:pt x="1979" y="887"/>
                  </a:lnTo>
                  <a:lnTo>
                    <a:pt x="1986" y="887"/>
                  </a:lnTo>
                  <a:lnTo>
                    <a:pt x="1987" y="887"/>
                  </a:lnTo>
                  <a:lnTo>
                    <a:pt x="1990" y="886"/>
                  </a:lnTo>
                  <a:lnTo>
                    <a:pt x="1993" y="882"/>
                  </a:lnTo>
                  <a:lnTo>
                    <a:pt x="1994" y="881"/>
                  </a:lnTo>
                  <a:lnTo>
                    <a:pt x="1994" y="879"/>
                  </a:lnTo>
                  <a:lnTo>
                    <a:pt x="1994" y="878"/>
                  </a:lnTo>
                  <a:lnTo>
                    <a:pt x="1993" y="877"/>
                  </a:lnTo>
                  <a:lnTo>
                    <a:pt x="1992" y="876"/>
                  </a:lnTo>
                  <a:lnTo>
                    <a:pt x="1992" y="875"/>
                  </a:lnTo>
                  <a:lnTo>
                    <a:pt x="1992" y="873"/>
                  </a:lnTo>
                  <a:lnTo>
                    <a:pt x="1994" y="873"/>
                  </a:lnTo>
                  <a:lnTo>
                    <a:pt x="1996" y="874"/>
                  </a:lnTo>
                  <a:lnTo>
                    <a:pt x="1997" y="874"/>
                  </a:lnTo>
                  <a:lnTo>
                    <a:pt x="1998" y="875"/>
                  </a:lnTo>
                  <a:lnTo>
                    <a:pt x="2000" y="875"/>
                  </a:lnTo>
                  <a:lnTo>
                    <a:pt x="2003" y="873"/>
                  </a:lnTo>
                  <a:lnTo>
                    <a:pt x="2003" y="873"/>
                  </a:lnTo>
                  <a:lnTo>
                    <a:pt x="2003" y="872"/>
                  </a:lnTo>
                  <a:lnTo>
                    <a:pt x="2003" y="872"/>
                  </a:lnTo>
                  <a:lnTo>
                    <a:pt x="2003" y="872"/>
                  </a:lnTo>
                  <a:lnTo>
                    <a:pt x="2003" y="871"/>
                  </a:lnTo>
                  <a:lnTo>
                    <a:pt x="2002" y="869"/>
                  </a:lnTo>
                  <a:lnTo>
                    <a:pt x="2001" y="868"/>
                  </a:lnTo>
                  <a:lnTo>
                    <a:pt x="2002" y="867"/>
                  </a:lnTo>
                  <a:lnTo>
                    <a:pt x="2003" y="867"/>
                  </a:lnTo>
                  <a:lnTo>
                    <a:pt x="2004" y="867"/>
                  </a:lnTo>
                  <a:lnTo>
                    <a:pt x="2005" y="867"/>
                  </a:lnTo>
                  <a:lnTo>
                    <a:pt x="2006" y="866"/>
                  </a:lnTo>
                  <a:lnTo>
                    <a:pt x="2006" y="863"/>
                  </a:lnTo>
                  <a:lnTo>
                    <a:pt x="2005" y="863"/>
                  </a:lnTo>
                  <a:lnTo>
                    <a:pt x="2003" y="861"/>
                  </a:lnTo>
                  <a:lnTo>
                    <a:pt x="2003" y="861"/>
                  </a:lnTo>
                  <a:lnTo>
                    <a:pt x="2008" y="856"/>
                  </a:lnTo>
                  <a:lnTo>
                    <a:pt x="2009" y="856"/>
                  </a:lnTo>
                  <a:lnTo>
                    <a:pt x="2013" y="853"/>
                  </a:lnTo>
                  <a:lnTo>
                    <a:pt x="2019" y="851"/>
                  </a:lnTo>
                  <a:lnTo>
                    <a:pt x="2019" y="851"/>
                  </a:lnTo>
                  <a:lnTo>
                    <a:pt x="2019" y="849"/>
                  </a:lnTo>
                  <a:lnTo>
                    <a:pt x="2020" y="848"/>
                  </a:lnTo>
                  <a:lnTo>
                    <a:pt x="2019" y="846"/>
                  </a:lnTo>
                  <a:lnTo>
                    <a:pt x="2019" y="845"/>
                  </a:lnTo>
                  <a:lnTo>
                    <a:pt x="2018" y="844"/>
                  </a:lnTo>
                  <a:lnTo>
                    <a:pt x="2017" y="842"/>
                  </a:lnTo>
                  <a:lnTo>
                    <a:pt x="2013" y="835"/>
                  </a:lnTo>
                  <a:lnTo>
                    <a:pt x="2011" y="832"/>
                  </a:lnTo>
                  <a:lnTo>
                    <a:pt x="2008" y="831"/>
                  </a:lnTo>
                  <a:lnTo>
                    <a:pt x="2008" y="830"/>
                  </a:lnTo>
                  <a:lnTo>
                    <a:pt x="2008" y="828"/>
                  </a:lnTo>
                  <a:lnTo>
                    <a:pt x="2007" y="823"/>
                  </a:lnTo>
                  <a:lnTo>
                    <a:pt x="2008" y="821"/>
                  </a:lnTo>
                  <a:lnTo>
                    <a:pt x="2010" y="818"/>
                  </a:lnTo>
                  <a:lnTo>
                    <a:pt x="2011" y="817"/>
                  </a:lnTo>
                  <a:lnTo>
                    <a:pt x="2011" y="813"/>
                  </a:lnTo>
                  <a:lnTo>
                    <a:pt x="2009" y="804"/>
                  </a:lnTo>
                  <a:lnTo>
                    <a:pt x="2010" y="801"/>
                  </a:lnTo>
                  <a:lnTo>
                    <a:pt x="2012" y="794"/>
                  </a:lnTo>
                  <a:lnTo>
                    <a:pt x="2013" y="793"/>
                  </a:lnTo>
                  <a:lnTo>
                    <a:pt x="2015" y="791"/>
                  </a:lnTo>
                  <a:lnTo>
                    <a:pt x="2015" y="789"/>
                  </a:lnTo>
                  <a:lnTo>
                    <a:pt x="2014" y="784"/>
                  </a:lnTo>
                  <a:lnTo>
                    <a:pt x="2014" y="783"/>
                  </a:lnTo>
                  <a:lnTo>
                    <a:pt x="2014" y="783"/>
                  </a:lnTo>
                  <a:lnTo>
                    <a:pt x="2014" y="782"/>
                  </a:lnTo>
                  <a:lnTo>
                    <a:pt x="2014" y="781"/>
                  </a:lnTo>
                  <a:lnTo>
                    <a:pt x="2015" y="780"/>
                  </a:lnTo>
                  <a:lnTo>
                    <a:pt x="2016" y="779"/>
                  </a:lnTo>
                  <a:lnTo>
                    <a:pt x="2017" y="778"/>
                  </a:lnTo>
                  <a:lnTo>
                    <a:pt x="2018" y="775"/>
                  </a:lnTo>
                  <a:lnTo>
                    <a:pt x="2018" y="774"/>
                  </a:lnTo>
                  <a:lnTo>
                    <a:pt x="2018" y="771"/>
                  </a:lnTo>
                  <a:lnTo>
                    <a:pt x="2019" y="768"/>
                  </a:lnTo>
                  <a:lnTo>
                    <a:pt x="2023" y="763"/>
                  </a:lnTo>
                  <a:lnTo>
                    <a:pt x="2024" y="760"/>
                  </a:lnTo>
                  <a:lnTo>
                    <a:pt x="2024" y="753"/>
                  </a:lnTo>
                  <a:lnTo>
                    <a:pt x="2017" y="741"/>
                  </a:lnTo>
                  <a:lnTo>
                    <a:pt x="2017" y="731"/>
                  </a:lnTo>
                  <a:lnTo>
                    <a:pt x="2018" y="726"/>
                  </a:lnTo>
                  <a:lnTo>
                    <a:pt x="2019" y="723"/>
                  </a:lnTo>
                  <a:lnTo>
                    <a:pt x="2020" y="720"/>
                  </a:lnTo>
                  <a:lnTo>
                    <a:pt x="2021" y="719"/>
                  </a:lnTo>
                  <a:lnTo>
                    <a:pt x="2022" y="717"/>
                  </a:lnTo>
                  <a:lnTo>
                    <a:pt x="2022" y="714"/>
                  </a:lnTo>
                  <a:lnTo>
                    <a:pt x="2023" y="711"/>
                  </a:lnTo>
                  <a:lnTo>
                    <a:pt x="2033" y="697"/>
                  </a:lnTo>
                  <a:lnTo>
                    <a:pt x="2035" y="693"/>
                  </a:lnTo>
                  <a:lnTo>
                    <a:pt x="2036" y="689"/>
                  </a:lnTo>
                  <a:lnTo>
                    <a:pt x="2036" y="685"/>
                  </a:lnTo>
                  <a:lnTo>
                    <a:pt x="2037" y="680"/>
                  </a:lnTo>
                  <a:lnTo>
                    <a:pt x="2040" y="677"/>
                  </a:lnTo>
                  <a:lnTo>
                    <a:pt x="2043" y="676"/>
                  </a:lnTo>
                  <a:lnTo>
                    <a:pt x="2045" y="672"/>
                  </a:lnTo>
                  <a:lnTo>
                    <a:pt x="2045" y="669"/>
                  </a:lnTo>
                  <a:lnTo>
                    <a:pt x="2044" y="666"/>
                  </a:lnTo>
                  <a:lnTo>
                    <a:pt x="2043" y="663"/>
                  </a:lnTo>
                  <a:lnTo>
                    <a:pt x="2043" y="660"/>
                  </a:lnTo>
                  <a:lnTo>
                    <a:pt x="2043" y="657"/>
                  </a:lnTo>
                  <a:lnTo>
                    <a:pt x="2044" y="651"/>
                  </a:lnTo>
                  <a:lnTo>
                    <a:pt x="2045" y="648"/>
                  </a:lnTo>
                  <a:lnTo>
                    <a:pt x="2046" y="646"/>
                  </a:lnTo>
                  <a:lnTo>
                    <a:pt x="2047" y="644"/>
                  </a:lnTo>
                  <a:lnTo>
                    <a:pt x="2048" y="642"/>
                  </a:lnTo>
                  <a:lnTo>
                    <a:pt x="2048" y="637"/>
                  </a:lnTo>
                  <a:lnTo>
                    <a:pt x="2049" y="635"/>
                  </a:lnTo>
                  <a:lnTo>
                    <a:pt x="2051" y="633"/>
                  </a:lnTo>
                  <a:lnTo>
                    <a:pt x="2055" y="630"/>
                  </a:lnTo>
                  <a:lnTo>
                    <a:pt x="2055" y="628"/>
                  </a:lnTo>
                  <a:lnTo>
                    <a:pt x="2053" y="623"/>
                  </a:lnTo>
                  <a:lnTo>
                    <a:pt x="2053" y="615"/>
                  </a:lnTo>
                  <a:lnTo>
                    <a:pt x="2054" y="607"/>
                  </a:lnTo>
                  <a:lnTo>
                    <a:pt x="2061" y="597"/>
                  </a:lnTo>
                  <a:lnTo>
                    <a:pt x="2063" y="595"/>
                  </a:lnTo>
                  <a:lnTo>
                    <a:pt x="2066" y="594"/>
                  </a:lnTo>
                  <a:lnTo>
                    <a:pt x="2068" y="592"/>
                  </a:lnTo>
                  <a:lnTo>
                    <a:pt x="2072" y="587"/>
                  </a:lnTo>
                  <a:lnTo>
                    <a:pt x="2074" y="586"/>
                  </a:lnTo>
                  <a:lnTo>
                    <a:pt x="2076" y="584"/>
                  </a:lnTo>
                  <a:lnTo>
                    <a:pt x="2078" y="582"/>
                  </a:lnTo>
                  <a:lnTo>
                    <a:pt x="2079" y="580"/>
                  </a:lnTo>
                  <a:lnTo>
                    <a:pt x="2079" y="575"/>
                  </a:lnTo>
                  <a:lnTo>
                    <a:pt x="2080" y="573"/>
                  </a:lnTo>
                  <a:lnTo>
                    <a:pt x="2082" y="572"/>
                  </a:lnTo>
                  <a:lnTo>
                    <a:pt x="2086" y="572"/>
                  </a:lnTo>
                  <a:lnTo>
                    <a:pt x="2087" y="572"/>
                  </a:lnTo>
                  <a:lnTo>
                    <a:pt x="2088" y="571"/>
                  </a:lnTo>
                  <a:lnTo>
                    <a:pt x="2088" y="570"/>
                  </a:lnTo>
                  <a:lnTo>
                    <a:pt x="2089" y="568"/>
                  </a:lnTo>
                  <a:lnTo>
                    <a:pt x="2090" y="566"/>
                  </a:lnTo>
                  <a:lnTo>
                    <a:pt x="2090" y="565"/>
                  </a:lnTo>
                  <a:lnTo>
                    <a:pt x="2091" y="565"/>
                  </a:lnTo>
                  <a:lnTo>
                    <a:pt x="2092" y="565"/>
                  </a:lnTo>
                  <a:lnTo>
                    <a:pt x="2098" y="562"/>
                  </a:lnTo>
                  <a:lnTo>
                    <a:pt x="2099" y="561"/>
                  </a:lnTo>
                  <a:lnTo>
                    <a:pt x="2101" y="558"/>
                  </a:lnTo>
                  <a:lnTo>
                    <a:pt x="2108" y="538"/>
                  </a:lnTo>
                  <a:lnTo>
                    <a:pt x="2113" y="528"/>
                  </a:lnTo>
                  <a:lnTo>
                    <a:pt x="2116" y="525"/>
                  </a:lnTo>
                  <a:lnTo>
                    <a:pt x="2116" y="525"/>
                  </a:lnTo>
                  <a:lnTo>
                    <a:pt x="2115" y="523"/>
                  </a:lnTo>
                  <a:lnTo>
                    <a:pt x="2099" y="520"/>
                  </a:lnTo>
                  <a:close/>
                  <a:moveTo>
                    <a:pt x="1132" y="2003"/>
                  </a:moveTo>
                  <a:lnTo>
                    <a:pt x="1130" y="2003"/>
                  </a:lnTo>
                  <a:lnTo>
                    <a:pt x="1129" y="2003"/>
                  </a:lnTo>
                  <a:lnTo>
                    <a:pt x="1126" y="2003"/>
                  </a:lnTo>
                  <a:lnTo>
                    <a:pt x="1124" y="2001"/>
                  </a:lnTo>
                  <a:lnTo>
                    <a:pt x="1124" y="1999"/>
                  </a:lnTo>
                  <a:lnTo>
                    <a:pt x="1125" y="1995"/>
                  </a:lnTo>
                  <a:lnTo>
                    <a:pt x="1127" y="1994"/>
                  </a:lnTo>
                  <a:lnTo>
                    <a:pt x="1129" y="1996"/>
                  </a:lnTo>
                  <a:lnTo>
                    <a:pt x="1130" y="2000"/>
                  </a:lnTo>
                  <a:lnTo>
                    <a:pt x="1132" y="2003"/>
                  </a:lnTo>
                  <a:lnTo>
                    <a:pt x="1132" y="2003"/>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07" name="Freeform 43">
              <a:extLst>
                <a:ext uri="{FF2B5EF4-FFF2-40B4-BE49-F238E27FC236}">
                  <a16:creationId xmlns:a16="http://schemas.microsoft.com/office/drawing/2014/main" id="{F278A11E-2E93-4C49-8215-FFDB0BA8E568}"/>
                </a:ext>
              </a:extLst>
            </p:cNvPr>
            <p:cNvSpPr>
              <a:spLocks noEditPoints="1"/>
            </p:cNvSpPr>
            <p:nvPr/>
          </p:nvSpPr>
          <p:spPr bwMode="gray">
            <a:xfrm>
              <a:off x="9978578" y="477761"/>
              <a:ext cx="1192913" cy="2428207"/>
            </a:xfrm>
            <a:custGeom>
              <a:avLst/>
              <a:gdLst>
                <a:gd name="T0" fmla="*/ 158 w 1914"/>
                <a:gd name="T1" fmla="*/ 3829 h 3896"/>
                <a:gd name="T2" fmla="*/ 101 w 1914"/>
                <a:gd name="T3" fmla="*/ 3839 h 3896"/>
                <a:gd name="T4" fmla="*/ 20 w 1914"/>
                <a:gd name="T5" fmla="*/ 3766 h 3896"/>
                <a:gd name="T6" fmla="*/ 202 w 1914"/>
                <a:gd name="T7" fmla="*/ 3745 h 3896"/>
                <a:gd name="T8" fmla="*/ 79 w 1914"/>
                <a:gd name="T9" fmla="*/ 3775 h 3896"/>
                <a:gd name="T10" fmla="*/ 94 w 1914"/>
                <a:gd name="T11" fmla="*/ 3725 h 3896"/>
                <a:gd name="T12" fmla="*/ 43 w 1914"/>
                <a:gd name="T13" fmla="*/ 3765 h 3896"/>
                <a:gd name="T14" fmla="*/ 248 w 1914"/>
                <a:gd name="T15" fmla="*/ 3683 h 3896"/>
                <a:gd name="T16" fmla="*/ 533 w 1914"/>
                <a:gd name="T17" fmla="*/ 3834 h 3896"/>
                <a:gd name="T18" fmla="*/ 384 w 1914"/>
                <a:gd name="T19" fmla="*/ 3795 h 3896"/>
                <a:gd name="T20" fmla="*/ 367 w 1914"/>
                <a:gd name="T21" fmla="*/ 3789 h 3896"/>
                <a:gd name="T22" fmla="*/ 387 w 1914"/>
                <a:gd name="T23" fmla="*/ 3789 h 3896"/>
                <a:gd name="T24" fmla="*/ 979 w 1914"/>
                <a:gd name="T25" fmla="*/ 3758 h 3896"/>
                <a:gd name="T26" fmla="*/ 479 w 1914"/>
                <a:gd name="T27" fmla="*/ 3834 h 3896"/>
                <a:gd name="T28" fmla="*/ 439 w 1914"/>
                <a:gd name="T29" fmla="*/ 3752 h 3896"/>
                <a:gd name="T30" fmla="*/ 440 w 1914"/>
                <a:gd name="T31" fmla="*/ 3717 h 3896"/>
                <a:gd name="T32" fmla="*/ 376 w 1914"/>
                <a:gd name="T33" fmla="*/ 3725 h 3896"/>
                <a:gd name="T34" fmla="*/ 288 w 1914"/>
                <a:gd name="T35" fmla="*/ 3682 h 3896"/>
                <a:gd name="T36" fmla="*/ 275 w 1914"/>
                <a:gd name="T37" fmla="*/ 3635 h 3896"/>
                <a:gd name="T38" fmla="*/ 291 w 1914"/>
                <a:gd name="T39" fmla="*/ 3450 h 3896"/>
                <a:gd name="T40" fmla="*/ 257 w 1914"/>
                <a:gd name="T41" fmla="*/ 2839 h 3896"/>
                <a:gd name="T42" fmla="*/ 267 w 1914"/>
                <a:gd name="T43" fmla="*/ 2758 h 3896"/>
                <a:gd name="T44" fmla="*/ 422 w 1914"/>
                <a:gd name="T45" fmla="*/ 2727 h 3896"/>
                <a:gd name="T46" fmla="*/ 393 w 1914"/>
                <a:gd name="T47" fmla="*/ 2706 h 3896"/>
                <a:gd name="T48" fmla="*/ 516 w 1914"/>
                <a:gd name="T49" fmla="*/ 2582 h 3896"/>
                <a:gd name="T50" fmla="*/ 1865 w 1914"/>
                <a:gd name="T51" fmla="*/ 2804 h 3896"/>
                <a:gd name="T52" fmla="*/ 1659 w 1914"/>
                <a:gd name="T53" fmla="*/ 2278 h 3896"/>
                <a:gd name="T54" fmla="*/ 1665 w 1914"/>
                <a:gd name="T55" fmla="*/ 1858 h 3896"/>
                <a:gd name="T56" fmla="*/ 1558 w 1914"/>
                <a:gd name="T57" fmla="*/ 890 h 3896"/>
                <a:gd name="T58" fmla="*/ 1241 w 1914"/>
                <a:gd name="T59" fmla="*/ 55 h 3896"/>
                <a:gd name="T60" fmla="*/ 993 w 1914"/>
                <a:gd name="T61" fmla="*/ 432 h 3896"/>
                <a:gd name="T62" fmla="*/ 733 w 1914"/>
                <a:gd name="T63" fmla="*/ 587 h 3896"/>
                <a:gd name="T64" fmla="*/ 283 w 1914"/>
                <a:gd name="T65" fmla="*/ 590 h 3896"/>
                <a:gd name="T66" fmla="*/ 577 w 1914"/>
                <a:gd name="T67" fmla="*/ 859 h 3896"/>
                <a:gd name="T68" fmla="*/ 652 w 1914"/>
                <a:gd name="T69" fmla="*/ 1225 h 3896"/>
                <a:gd name="T70" fmla="*/ 656 w 1914"/>
                <a:gd name="T71" fmla="*/ 1562 h 3896"/>
                <a:gd name="T72" fmla="*/ 810 w 1914"/>
                <a:gd name="T73" fmla="*/ 1785 h 3896"/>
                <a:gd name="T74" fmla="*/ 926 w 1914"/>
                <a:gd name="T75" fmla="*/ 1953 h 3896"/>
                <a:gd name="T76" fmla="*/ 925 w 1914"/>
                <a:gd name="T77" fmla="*/ 2124 h 3896"/>
                <a:gd name="T78" fmla="*/ 798 w 1914"/>
                <a:gd name="T79" fmla="*/ 2188 h 3896"/>
                <a:gd name="T80" fmla="*/ 700 w 1914"/>
                <a:gd name="T81" fmla="*/ 2380 h 3896"/>
                <a:gd name="T82" fmla="*/ 585 w 1914"/>
                <a:gd name="T83" fmla="*/ 2523 h 3896"/>
                <a:gd name="T84" fmla="*/ 506 w 1914"/>
                <a:gd name="T85" fmla="*/ 2607 h 3896"/>
                <a:gd name="T86" fmla="*/ 448 w 1914"/>
                <a:gd name="T87" fmla="*/ 2688 h 3896"/>
                <a:gd name="T88" fmla="*/ 376 w 1914"/>
                <a:gd name="T89" fmla="*/ 2753 h 3896"/>
                <a:gd name="T90" fmla="*/ 306 w 1914"/>
                <a:gd name="T91" fmla="*/ 2837 h 3896"/>
                <a:gd name="T92" fmla="*/ 254 w 1914"/>
                <a:gd name="T93" fmla="*/ 3019 h 3896"/>
                <a:gd name="T94" fmla="*/ 280 w 1914"/>
                <a:gd name="T95" fmla="*/ 3199 h 3896"/>
                <a:gd name="T96" fmla="*/ 303 w 1914"/>
                <a:gd name="T97" fmla="*/ 3355 h 3896"/>
                <a:gd name="T98" fmla="*/ 298 w 1914"/>
                <a:gd name="T99" fmla="*/ 3496 h 3896"/>
                <a:gd name="T100" fmla="*/ 310 w 1914"/>
                <a:gd name="T101" fmla="*/ 3602 h 3896"/>
                <a:gd name="T102" fmla="*/ 370 w 1914"/>
                <a:gd name="T103" fmla="*/ 3648 h 3896"/>
                <a:gd name="T104" fmla="*/ 468 w 1914"/>
                <a:gd name="T105" fmla="*/ 3750 h 3896"/>
                <a:gd name="T106" fmla="*/ 556 w 1914"/>
                <a:gd name="T107" fmla="*/ 3820 h 3896"/>
                <a:gd name="T108" fmla="*/ 589 w 1914"/>
                <a:gd name="T109" fmla="*/ 3873 h 3896"/>
                <a:gd name="T110" fmla="*/ 737 w 1914"/>
                <a:gd name="T111" fmla="*/ 3825 h 3896"/>
                <a:gd name="T112" fmla="*/ 819 w 1914"/>
                <a:gd name="T113" fmla="*/ 3803 h 3896"/>
                <a:gd name="T114" fmla="*/ 927 w 1914"/>
                <a:gd name="T115" fmla="*/ 3751 h 3896"/>
                <a:gd name="T116" fmla="*/ 1012 w 1914"/>
                <a:gd name="T117" fmla="*/ 3712 h 3896"/>
                <a:gd name="T118" fmla="*/ 1086 w 1914"/>
                <a:gd name="T119" fmla="*/ 3711 h 3896"/>
                <a:gd name="T120" fmla="*/ 1158 w 1914"/>
                <a:gd name="T121" fmla="*/ 3686 h 3896"/>
                <a:gd name="T122" fmla="*/ 1266 w 1914"/>
                <a:gd name="T123" fmla="*/ 3676 h 3896"/>
                <a:gd name="T124" fmla="*/ 1550 w 1914"/>
                <a:gd name="T125" fmla="*/ 3414 h 3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14" h="3896">
                  <a:moveTo>
                    <a:pt x="221" y="3858"/>
                  </a:moveTo>
                  <a:lnTo>
                    <a:pt x="220" y="3855"/>
                  </a:lnTo>
                  <a:lnTo>
                    <a:pt x="218" y="3855"/>
                  </a:lnTo>
                  <a:lnTo>
                    <a:pt x="216" y="3856"/>
                  </a:lnTo>
                  <a:lnTo>
                    <a:pt x="214" y="3859"/>
                  </a:lnTo>
                  <a:lnTo>
                    <a:pt x="215" y="3862"/>
                  </a:lnTo>
                  <a:lnTo>
                    <a:pt x="216" y="3863"/>
                  </a:lnTo>
                  <a:lnTo>
                    <a:pt x="218" y="3865"/>
                  </a:lnTo>
                  <a:lnTo>
                    <a:pt x="222" y="3867"/>
                  </a:lnTo>
                  <a:lnTo>
                    <a:pt x="223" y="3865"/>
                  </a:lnTo>
                  <a:lnTo>
                    <a:pt x="222" y="3862"/>
                  </a:lnTo>
                  <a:lnTo>
                    <a:pt x="221" y="3858"/>
                  </a:lnTo>
                  <a:close/>
                  <a:moveTo>
                    <a:pt x="233" y="3854"/>
                  </a:moveTo>
                  <a:lnTo>
                    <a:pt x="236" y="3854"/>
                  </a:lnTo>
                  <a:lnTo>
                    <a:pt x="235" y="3852"/>
                  </a:lnTo>
                  <a:lnTo>
                    <a:pt x="234" y="3852"/>
                  </a:lnTo>
                  <a:lnTo>
                    <a:pt x="233" y="3852"/>
                  </a:lnTo>
                  <a:lnTo>
                    <a:pt x="226" y="3850"/>
                  </a:lnTo>
                  <a:lnTo>
                    <a:pt x="223" y="3851"/>
                  </a:lnTo>
                  <a:lnTo>
                    <a:pt x="222" y="3853"/>
                  </a:lnTo>
                  <a:lnTo>
                    <a:pt x="222" y="3853"/>
                  </a:lnTo>
                  <a:lnTo>
                    <a:pt x="223" y="3854"/>
                  </a:lnTo>
                  <a:lnTo>
                    <a:pt x="225" y="3857"/>
                  </a:lnTo>
                  <a:lnTo>
                    <a:pt x="233" y="3861"/>
                  </a:lnTo>
                  <a:lnTo>
                    <a:pt x="235" y="3859"/>
                  </a:lnTo>
                  <a:lnTo>
                    <a:pt x="233" y="3857"/>
                  </a:lnTo>
                  <a:lnTo>
                    <a:pt x="231" y="3855"/>
                  </a:lnTo>
                  <a:lnTo>
                    <a:pt x="231" y="3854"/>
                  </a:lnTo>
                  <a:lnTo>
                    <a:pt x="233" y="3854"/>
                  </a:lnTo>
                  <a:close/>
                  <a:moveTo>
                    <a:pt x="140" y="3834"/>
                  </a:moveTo>
                  <a:lnTo>
                    <a:pt x="135" y="3831"/>
                  </a:lnTo>
                  <a:lnTo>
                    <a:pt x="131" y="3830"/>
                  </a:lnTo>
                  <a:lnTo>
                    <a:pt x="125" y="3837"/>
                  </a:lnTo>
                  <a:lnTo>
                    <a:pt x="122" y="3844"/>
                  </a:lnTo>
                  <a:lnTo>
                    <a:pt x="122" y="3849"/>
                  </a:lnTo>
                  <a:lnTo>
                    <a:pt x="126" y="3851"/>
                  </a:lnTo>
                  <a:lnTo>
                    <a:pt x="129" y="3848"/>
                  </a:lnTo>
                  <a:lnTo>
                    <a:pt x="129" y="3844"/>
                  </a:lnTo>
                  <a:lnTo>
                    <a:pt x="131" y="3843"/>
                  </a:lnTo>
                  <a:lnTo>
                    <a:pt x="136" y="3842"/>
                  </a:lnTo>
                  <a:lnTo>
                    <a:pt x="140" y="3842"/>
                  </a:lnTo>
                  <a:lnTo>
                    <a:pt x="148" y="3838"/>
                  </a:lnTo>
                  <a:lnTo>
                    <a:pt x="147" y="3835"/>
                  </a:lnTo>
                  <a:lnTo>
                    <a:pt x="140" y="3834"/>
                  </a:lnTo>
                  <a:close/>
                  <a:moveTo>
                    <a:pt x="174" y="3822"/>
                  </a:moveTo>
                  <a:lnTo>
                    <a:pt x="174" y="3821"/>
                  </a:lnTo>
                  <a:lnTo>
                    <a:pt x="173" y="3820"/>
                  </a:lnTo>
                  <a:lnTo>
                    <a:pt x="172" y="3820"/>
                  </a:lnTo>
                  <a:lnTo>
                    <a:pt x="171" y="3820"/>
                  </a:lnTo>
                  <a:lnTo>
                    <a:pt x="171" y="3820"/>
                  </a:lnTo>
                  <a:lnTo>
                    <a:pt x="170" y="3819"/>
                  </a:lnTo>
                  <a:lnTo>
                    <a:pt x="170" y="3818"/>
                  </a:lnTo>
                  <a:lnTo>
                    <a:pt x="169" y="3818"/>
                  </a:lnTo>
                  <a:lnTo>
                    <a:pt x="168" y="3818"/>
                  </a:lnTo>
                  <a:lnTo>
                    <a:pt x="166" y="3818"/>
                  </a:lnTo>
                  <a:lnTo>
                    <a:pt x="164" y="3819"/>
                  </a:lnTo>
                  <a:lnTo>
                    <a:pt x="162" y="3821"/>
                  </a:lnTo>
                  <a:lnTo>
                    <a:pt x="158" y="3829"/>
                  </a:lnTo>
                  <a:lnTo>
                    <a:pt x="157" y="3832"/>
                  </a:lnTo>
                  <a:lnTo>
                    <a:pt x="158" y="3834"/>
                  </a:lnTo>
                  <a:lnTo>
                    <a:pt x="161" y="3835"/>
                  </a:lnTo>
                  <a:lnTo>
                    <a:pt x="163" y="3834"/>
                  </a:lnTo>
                  <a:lnTo>
                    <a:pt x="164" y="3831"/>
                  </a:lnTo>
                  <a:lnTo>
                    <a:pt x="165" y="3830"/>
                  </a:lnTo>
                  <a:lnTo>
                    <a:pt x="169" y="3834"/>
                  </a:lnTo>
                  <a:lnTo>
                    <a:pt x="170" y="3834"/>
                  </a:lnTo>
                  <a:lnTo>
                    <a:pt x="172" y="3831"/>
                  </a:lnTo>
                  <a:lnTo>
                    <a:pt x="173" y="3829"/>
                  </a:lnTo>
                  <a:lnTo>
                    <a:pt x="174" y="3827"/>
                  </a:lnTo>
                  <a:lnTo>
                    <a:pt x="174" y="3825"/>
                  </a:lnTo>
                  <a:lnTo>
                    <a:pt x="173" y="3824"/>
                  </a:lnTo>
                  <a:lnTo>
                    <a:pt x="173" y="3824"/>
                  </a:lnTo>
                  <a:lnTo>
                    <a:pt x="175" y="3823"/>
                  </a:lnTo>
                  <a:lnTo>
                    <a:pt x="175" y="3823"/>
                  </a:lnTo>
                  <a:lnTo>
                    <a:pt x="174" y="3823"/>
                  </a:lnTo>
                  <a:lnTo>
                    <a:pt x="174" y="3822"/>
                  </a:lnTo>
                  <a:close/>
                  <a:moveTo>
                    <a:pt x="144" y="3819"/>
                  </a:moveTo>
                  <a:lnTo>
                    <a:pt x="141" y="3824"/>
                  </a:lnTo>
                  <a:lnTo>
                    <a:pt x="139" y="3827"/>
                  </a:lnTo>
                  <a:lnTo>
                    <a:pt x="141" y="3830"/>
                  </a:lnTo>
                  <a:lnTo>
                    <a:pt x="146" y="3829"/>
                  </a:lnTo>
                  <a:lnTo>
                    <a:pt x="149" y="3824"/>
                  </a:lnTo>
                  <a:lnTo>
                    <a:pt x="151" y="3815"/>
                  </a:lnTo>
                  <a:lnTo>
                    <a:pt x="149" y="3816"/>
                  </a:lnTo>
                  <a:lnTo>
                    <a:pt x="144" y="3819"/>
                  </a:lnTo>
                  <a:close/>
                  <a:moveTo>
                    <a:pt x="160" y="3821"/>
                  </a:moveTo>
                  <a:lnTo>
                    <a:pt x="161" y="3818"/>
                  </a:lnTo>
                  <a:lnTo>
                    <a:pt x="162" y="3816"/>
                  </a:lnTo>
                  <a:lnTo>
                    <a:pt x="163" y="3814"/>
                  </a:lnTo>
                  <a:lnTo>
                    <a:pt x="162" y="3813"/>
                  </a:lnTo>
                  <a:lnTo>
                    <a:pt x="159" y="3814"/>
                  </a:lnTo>
                  <a:lnTo>
                    <a:pt x="159" y="3815"/>
                  </a:lnTo>
                  <a:lnTo>
                    <a:pt x="161" y="3816"/>
                  </a:lnTo>
                  <a:lnTo>
                    <a:pt x="160" y="3816"/>
                  </a:lnTo>
                  <a:lnTo>
                    <a:pt x="155" y="3817"/>
                  </a:lnTo>
                  <a:lnTo>
                    <a:pt x="152" y="3818"/>
                  </a:lnTo>
                  <a:lnTo>
                    <a:pt x="152" y="3823"/>
                  </a:lnTo>
                  <a:lnTo>
                    <a:pt x="157" y="3825"/>
                  </a:lnTo>
                  <a:lnTo>
                    <a:pt x="160" y="3823"/>
                  </a:lnTo>
                  <a:lnTo>
                    <a:pt x="160" y="3821"/>
                  </a:lnTo>
                  <a:close/>
                  <a:moveTo>
                    <a:pt x="111" y="3825"/>
                  </a:moveTo>
                  <a:lnTo>
                    <a:pt x="108" y="3815"/>
                  </a:lnTo>
                  <a:lnTo>
                    <a:pt x="103" y="3809"/>
                  </a:lnTo>
                  <a:lnTo>
                    <a:pt x="98" y="3809"/>
                  </a:lnTo>
                  <a:lnTo>
                    <a:pt x="93" y="3806"/>
                  </a:lnTo>
                  <a:lnTo>
                    <a:pt x="88" y="3813"/>
                  </a:lnTo>
                  <a:lnTo>
                    <a:pt x="83" y="3816"/>
                  </a:lnTo>
                  <a:lnTo>
                    <a:pt x="81" y="3823"/>
                  </a:lnTo>
                  <a:lnTo>
                    <a:pt x="86" y="3824"/>
                  </a:lnTo>
                  <a:lnTo>
                    <a:pt x="90" y="3827"/>
                  </a:lnTo>
                  <a:lnTo>
                    <a:pt x="94" y="3827"/>
                  </a:lnTo>
                  <a:lnTo>
                    <a:pt x="96" y="3831"/>
                  </a:lnTo>
                  <a:lnTo>
                    <a:pt x="96" y="3835"/>
                  </a:lnTo>
                  <a:lnTo>
                    <a:pt x="94" y="3838"/>
                  </a:lnTo>
                  <a:lnTo>
                    <a:pt x="97" y="3840"/>
                  </a:lnTo>
                  <a:lnTo>
                    <a:pt x="101" y="3839"/>
                  </a:lnTo>
                  <a:lnTo>
                    <a:pt x="105" y="3837"/>
                  </a:lnTo>
                  <a:lnTo>
                    <a:pt x="106" y="3839"/>
                  </a:lnTo>
                  <a:lnTo>
                    <a:pt x="105" y="3845"/>
                  </a:lnTo>
                  <a:lnTo>
                    <a:pt x="107" y="3844"/>
                  </a:lnTo>
                  <a:lnTo>
                    <a:pt x="111" y="3839"/>
                  </a:lnTo>
                  <a:lnTo>
                    <a:pt x="113" y="3835"/>
                  </a:lnTo>
                  <a:lnTo>
                    <a:pt x="113" y="3832"/>
                  </a:lnTo>
                  <a:lnTo>
                    <a:pt x="111" y="3825"/>
                  </a:lnTo>
                  <a:close/>
                  <a:moveTo>
                    <a:pt x="123" y="3804"/>
                  </a:moveTo>
                  <a:lnTo>
                    <a:pt x="124" y="3798"/>
                  </a:lnTo>
                  <a:lnTo>
                    <a:pt x="121" y="3791"/>
                  </a:lnTo>
                  <a:lnTo>
                    <a:pt x="118" y="3790"/>
                  </a:lnTo>
                  <a:lnTo>
                    <a:pt x="118" y="3792"/>
                  </a:lnTo>
                  <a:lnTo>
                    <a:pt x="119" y="3799"/>
                  </a:lnTo>
                  <a:lnTo>
                    <a:pt x="118" y="3802"/>
                  </a:lnTo>
                  <a:lnTo>
                    <a:pt x="116" y="3798"/>
                  </a:lnTo>
                  <a:lnTo>
                    <a:pt x="113" y="3789"/>
                  </a:lnTo>
                  <a:lnTo>
                    <a:pt x="111" y="3793"/>
                  </a:lnTo>
                  <a:lnTo>
                    <a:pt x="110" y="3798"/>
                  </a:lnTo>
                  <a:lnTo>
                    <a:pt x="109" y="3803"/>
                  </a:lnTo>
                  <a:lnTo>
                    <a:pt x="109" y="3809"/>
                  </a:lnTo>
                  <a:lnTo>
                    <a:pt x="110" y="3810"/>
                  </a:lnTo>
                  <a:lnTo>
                    <a:pt x="116" y="3813"/>
                  </a:lnTo>
                  <a:lnTo>
                    <a:pt x="117" y="3815"/>
                  </a:lnTo>
                  <a:lnTo>
                    <a:pt x="119" y="3817"/>
                  </a:lnTo>
                  <a:lnTo>
                    <a:pt x="119" y="3817"/>
                  </a:lnTo>
                  <a:lnTo>
                    <a:pt x="121" y="3815"/>
                  </a:lnTo>
                  <a:lnTo>
                    <a:pt x="120" y="3809"/>
                  </a:lnTo>
                  <a:lnTo>
                    <a:pt x="123" y="3804"/>
                  </a:lnTo>
                  <a:close/>
                  <a:moveTo>
                    <a:pt x="186" y="3795"/>
                  </a:moveTo>
                  <a:lnTo>
                    <a:pt x="185" y="3793"/>
                  </a:lnTo>
                  <a:lnTo>
                    <a:pt x="183" y="3790"/>
                  </a:lnTo>
                  <a:lnTo>
                    <a:pt x="182" y="3789"/>
                  </a:lnTo>
                  <a:lnTo>
                    <a:pt x="181" y="3788"/>
                  </a:lnTo>
                  <a:lnTo>
                    <a:pt x="179" y="3789"/>
                  </a:lnTo>
                  <a:lnTo>
                    <a:pt x="178" y="3791"/>
                  </a:lnTo>
                  <a:lnTo>
                    <a:pt x="179" y="3795"/>
                  </a:lnTo>
                  <a:lnTo>
                    <a:pt x="181" y="3800"/>
                  </a:lnTo>
                  <a:lnTo>
                    <a:pt x="184" y="3802"/>
                  </a:lnTo>
                  <a:lnTo>
                    <a:pt x="186" y="3801"/>
                  </a:lnTo>
                  <a:lnTo>
                    <a:pt x="187" y="3799"/>
                  </a:lnTo>
                  <a:lnTo>
                    <a:pt x="186" y="3796"/>
                  </a:lnTo>
                  <a:lnTo>
                    <a:pt x="186" y="3795"/>
                  </a:lnTo>
                  <a:close/>
                  <a:moveTo>
                    <a:pt x="186" y="3763"/>
                  </a:moveTo>
                  <a:lnTo>
                    <a:pt x="183" y="3764"/>
                  </a:lnTo>
                  <a:lnTo>
                    <a:pt x="183" y="3768"/>
                  </a:lnTo>
                  <a:lnTo>
                    <a:pt x="183" y="3771"/>
                  </a:lnTo>
                  <a:lnTo>
                    <a:pt x="184" y="3773"/>
                  </a:lnTo>
                  <a:lnTo>
                    <a:pt x="186" y="3775"/>
                  </a:lnTo>
                  <a:lnTo>
                    <a:pt x="190" y="3773"/>
                  </a:lnTo>
                  <a:lnTo>
                    <a:pt x="191" y="3770"/>
                  </a:lnTo>
                  <a:lnTo>
                    <a:pt x="189" y="3767"/>
                  </a:lnTo>
                  <a:lnTo>
                    <a:pt x="186" y="3763"/>
                  </a:lnTo>
                  <a:close/>
                  <a:moveTo>
                    <a:pt x="25" y="3776"/>
                  </a:moveTo>
                  <a:lnTo>
                    <a:pt x="25" y="3774"/>
                  </a:lnTo>
                  <a:lnTo>
                    <a:pt x="23" y="3772"/>
                  </a:lnTo>
                  <a:lnTo>
                    <a:pt x="21" y="3769"/>
                  </a:lnTo>
                  <a:lnTo>
                    <a:pt x="20" y="3766"/>
                  </a:lnTo>
                  <a:lnTo>
                    <a:pt x="20" y="3763"/>
                  </a:lnTo>
                  <a:lnTo>
                    <a:pt x="19" y="3760"/>
                  </a:lnTo>
                  <a:lnTo>
                    <a:pt x="18" y="3758"/>
                  </a:lnTo>
                  <a:lnTo>
                    <a:pt x="15" y="3755"/>
                  </a:lnTo>
                  <a:lnTo>
                    <a:pt x="13" y="3754"/>
                  </a:lnTo>
                  <a:lnTo>
                    <a:pt x="11" y="3754"/>
                  </a:lnTo>
                  <a:lnTo>
                    <a:pt x="9" y="3755"/>
                  </a:lnTo>
                  <a:lnTo>
                    <a:pt x="7" y="3757"/>
                  </a:lnTo>
                  <a:lnTo>
                    <a:pt x="5" y="3761"/>
                  </a:lnTo>
                  <a:lnTo>
                    <a:pt x="4" y="3763"/>
                  </a:lnTo>
                  <a:lnTo>
                    <a:pt x="3" y="3766"/>
                  </a:lnTo>
                  <a:lnTo>
                    <a:pt x="4" y="3769"/>
                  </a:lnTo>
                  <a:lnTo>
                    <a:pt x="4" y="3772"/>
                  </a:lnTo>
                  <a:lnTo>
                    <a:pt x="3" y="3775"/>
                  </a:lnTo>
                  <a:lnTo>
                    <a:pt x="1" y="3777"/>
                  </a:lnTo>
                  <a:lnTo>
                    <a:pt x="0" y="3778"/>
                  </a:lnTo>
                  <a:lnTo>
                    <a:pt x="0" y="3780"/>
                  </a:lnTo>
                  <a:lnTo>
                    <a:pt x="1" y="3782"/>
                  </a:lnTo>
                  <a:lnTo>
                    <a:pt x="2" y="3789"/>
                  </a:lnTo>
                  <a:lnTo>
                    <a:pt x="5" y="3794"/>
                  </a:lnTo>
                  <a:lnTo>
                    <a:pt x="8" y="3795"/>
                  </a:lnTo>
                  <a:lnTo>
                    <a:pt x="12" y="3793"/>
                  </a:lnTo>
                  <a:lnTo>
                    <a:pt x="14" y="3789"/>
                  </a:lnTo>
                  <a:lnTo>
                    <a:pt x="14" y="3784"/>
                  </a:lnTo>
                  <a:lnTo>
                    <a:pt x="14" y="3779"/>
                  </a:lnTo>
                  <a:lnTo>
                    <a:pt x="12" y="3774"/>
                  </a:lnTo>
                  <a:lnTo>
                    <a:pt x="15" y="3777"/>
                  </a:lnTo>
                  <a:lnTo>
                    <a:pt x="19" y="3784"/>
                  </a:lnTo>
                  <a:lnTo>
                    <a:pt x="21" y="3787"/>
                  </a:lnTo>
                  <a:lnTo>
                    <a:pt x="22" y="3786"/>
                  </a:lnTo>
                  <a:lnTo>
                    <a:pt x="24" y="3787"/>
                  </a:lnTo>
                  <a:lnTo>
                    <a:pt x="25" y="3786"/>
                  </a:lnTo>
                  <a:lnTo>
                    <a:pt x="26" y="3784"/>
                  </a:lnTo>
                  <a:lnTo>
                    <a:pt x="25" y="3778"/>
                  </a:lnTo>
                  <a:lnTo>
                    <a:pt x="25" y="3776"/>
                  </a:lnTo>
                  <a:close/>
                  <a:moveTo>
                    <a:pt x="138" y="3760"/>
                  </a:moveTo>
                  <a:lnTo>
                    <a:pt x="139" y="3762"/>
                  </a:lnTo>
                  <a:lnTo>
                    <a:pt x="139" y="3766"/>
                  </a:lnTo>
                  <a:lnTo>
                    <a:pt x="139" y="3767"/>
                  </a:lnTo>
                  <a:lnTo>
                    <a:pt x="139" y="3769"/>
                  </a:lnTo>
                  <a:lnTo>
                    <a:pt x="138" y="3771"/>
                  </a:lnTo>
                  <a:lnTo>
                    <a:pt x="138" y="3773"/>
                  </a:lnTo>
                  <a:lnTo>
                    <a:pt x="140" y="3774"/>
                  </a:lnTo>
                  <a:lnTo>
                    <a:pt x="147" y="3758"/>
                  </a:lnTo>
                  <a:lnTo>
                    <a:pt x="147" y="3756"/>
                  </a:lnTo>
                  <a:lnTo>
                    <a:pt x="147" y="3754"/>
                  </a:lnTo>
                  <a:lnTo>
                    <a:pt x="146" y="3753"/>
                  </a:lnTo>
                  <a:lnTo>
                    <a:pt x="145" y="3752"/>
                  </a:lnTo>
                  <a:lnTo>
                    <a:pt x="143" y="3754"/>
                  </a:lnTo>
                  <a:lnTo>
                    <a:pt x="138" y="3751"/>
                  </a:lnTo>
                  <a:lnTo>
                    <a:pt x="134" y="3752"/>
                  </a:lnTo>
                  <a:lnTo>
                    <a:pt x="132" y="3756"/>
                  </a:lnTo>
                  <a:lnTo>
                    <a:pt x="132" y="3761"/>
                  </a:lnTo>
                  <a:lnTo>
                    <a:pt x="133" y="3764"/>
                  </a:lnTo>
                  <a:lnTo>
                    <a:pt x="138" y="3760"/>
                  </a:lnTo>
                  <a:close/>
                  <a:moveTo>
                    <a:pt x="207" y="3747"/>
                  </a:moveTo>
                  <a:lnTo>
                    <a:pt x="205" y="3745"/>
                  </a:lnTo>
                  <a:lnTo>
                    <a:pt x="202" y="3745"/>
                  </a:lnTo>
                  <a:lnTo>
                    <a:pt x="201" y="3752"/>
                  </a:lnTo>
                  <a:lnTo>
                    <a:pt x="203" y="3761"/>
                  </a:lnTo>
                  <a:lnTo>
                    <a:pt x="207" y="3763"/>
                  </a:lnTo>
                  <a:lnTo>
                    <a:pt x="206" y="3758"/>
                  </a:lnTo>
                  <a:lnTo>
                    <a:pt x="208" y="3759"/>
                  </a:lnTo>
                  <a:lnTo>
                    <a:pt x="210" y="3758"/>
                  </a:lnTo>
                  <a:lnTo>
                    <a:pt x="212" y="3756"/>
                  </a:lnTo>
                  <a:lnTo>
                    <a:pt x="213" y="3752"/>
                  </a:lnTo>
                  <a:lnTo>
                    <a:pt x="212" y="3750"/>
                  </a:lnTo>
                  <a:lnTo>
                    <a:pt x="207" y="3747"/>
                  </a:lnTo>
                  <a:close/>
                  <a:moveTo>
                    <a:pt x="202" y="3727"/>
                  </a:moveTo>
                  <a:lnTo>
                    <a:pt x="203" y="3724"/>
                  </a:lnTo>
                  <a:lnTo>
                    <a:pt x="202" y="3721"/>
                  </a:lnTo>
                  <a:lnTo>
                    <a:pt x="201" y="3720"/>
                  </a:lnTo>
                  <a:lnTo>
                    <a:pt x="199" y="3719"/>
                  </a:lnTo>
                  <a:lnTo>
                    <a:pt x="197" y="3720"/>
                  </a:lnTo>
                  <a:lnTo>
                    <a:pt x="197" y="3722"/>
                  </a:lnTo>
                  <a:lnTo>
                    <a:pt x="197" y="3723"/>
                  </a:lnTo>
                  <a:lnTo>
                    <a:pt x="196" y="3724"/>
                  </a:lnTo>
                  <a:lnTo>
                    <a:pt x="195" y="3725"/>
                  </a:lnTo>
                  <a:lnTo>
                    <a:pt x="194" y="3729"/>
                  </a:lnTo>
                  <a:lnTo>
                    <a:pt x="193" y="3730"/>
                  </a:lnTo>
                  <a:lnTo>
                    <a:pt x="193" y="3733"/>
                  </a:lnTo>
                  <a:lnTo>
                    <a:pt x="193" y="3734"/>
                  </a:lnTo>
                  <a:lnTo>
                    <a:pt x="193" y="3736"/>
                  </a:lnTo>
                  <a:lnTo>
                    <a:pt x="195" y="3737"/>
                  </a:lnTo>
                  <a:lnTo>
                    <a:pt x="201" y="3732"/>
                  </a:lnTo>
                  <a:lnTo>
                    <a:pt x="202" y="3730"/>
                  </a:lnTo>
                  <a:lnTo>
                    <a:pt x="202" y="3727"/>
                  </a:lnTo>
                  <a:close/>
                  <a:moveTo>
                    <a:pt x="85" y="3809"/>
                  </a:moveTo>
                  <a:lnTo>
                    <a:pt x="85" y="3805"/>
                  </a:lnTo>
                  <a:lnTo>
                    <a:pt x="85" y="3803"/>
                  </a:lnTo>
                  <a:lnTo>
                    <a:pt x="84" y="3802"/>
                  </a:lnTo>
                  <a:lnTo>
                    <a:pt x="83" y="3801"/>
                  </a:lnTo>
                  <a:lnTo>
                    <a:pt x="82" y="3800"/>
                  </a:lnTo>
                  <a:lnTo>
                    <a:pt x="82" y="3795"/>
                  </a:lnTo>
                  <a:lnTo>
                    <a:pt x="83" y="3790"/>
                  </a:lnTo>
                  <a:lnTo>
                    <a:pt x="84" y="3780"/>
                  </a:lnTo>
                  <a:lnTo>
                    <a:pt x="83" y="3782"/>
                  </a:lnTo>
                  <a:lnTo>
                    <a:pt x="82" y="3785"/>
                  </a:lnTo>
                  <a:lnTo>
                    <a:pt x="80" y="3786"/>
                  </a:lnTo>
                  <a:lnTo>
                    <a:pt x="79" y="3787"/>
                  </a:lnTo>
                  <a:lnTo>
                    <a:pt x="78" y="3786"/>
                  </a:lnTo>
                  <a:lnTo>
                    <a:pt x="77" y="3784"/>
                  </a:lnTo>
                  <a:lnTo>
                    <a:pt x="75" y="3781"/>
                  </a:lnTo>
                  <a:lnTo>
                    <a:pt x="71" y="3780"/>
                  </a:lnTo>
                  <a:lnTo>
                    <a:pt x="68" y="3777"/>
                  </a:lnTo>
                  <a:lnTo>
                    <a:pt x="66" y="3774"/>
                  </a:lnTo>
                  <a:lnTo>
                    <a:pt x="64" y="3770"/>
                  </a:lnTo>
                  <a:lnTo>
                    <a:pt x="64" y="3767"/>
                  </a:lnTo>
                  <a:lnTo>
                    <a:pt x="66" y="3766"/>
                  </a:lnTo>
                  <a:lnTo>
                    <a:pt x="70" y="3765"/>
                  </a:lnTo>
                  <a:lnTo>
                    <a:pt x="70" y="3769"/>
                  </a:lnTo>
                  <a:lnTo>
                    <a:pt x="70" y="3770"/>
                  </a:lnTo>
                  <a:lnTo>
                    <a:pt x="69" y="3771"/>
                  </a:lnTo>
                  <a:lnTo>
                    <a:pt x="72" y="3775"/>
                  </a:lnTo>
                  <a:lnTo>
                    <a:pt x="80" y="3778"/>
                  </a:lnTo>
                  <a:lnTo>
                    <a:pt x="79" y="3775"/>
                  </a:lnTo>
                  <a:lnTo>
                    <a:pt x="80" y="3772"/>
                  </a:lnTo>
                  <a:lnTo>
                    <a:pt x="80" y="3770"/>
                  </a:lnTo>
                  <a:lnTo>
                    <a:pt x="82" y="3767"/>
                  </a:lnTo>
                  <a:lnTo>
                    <a:pt x="79" y="3765"/>
                  </a:lnTo>
                  <a:lnTo>
                    <a:pt x="76" y="3760"/>
                  </a:lnTo>
                  <a:lnTo>
                    <a:pt x="74" y="3753"/>
                  </a:lnTo>
                  <a:lnTo>
                    <a:pt x="74" y="3748"/>
                  </a:lnTo>
                  <a:lnTo>
                    <a:pt x="78" y="3751"/>
                  </a:lnTo>
                  <a:lnTo>
                    <a:pt x="81" y="3748"/>
                  </a:lnTo>
                  <a:lnTo>
                    <a:pt x="83" y="3743"/>
                  </a:lnTo>
                  <a:lnTo>
                    <a:pt x="81" y="3739"/>
                  </a:lnTo>
                  <a:lnTo>
                    <a:pt x="81" y="3736"/>
                  </a:lnTo>
                  <a:lnTo>
                    <a:pt x="87" y="3738"/>
                  </a:lnTo>
                  <a:lnTo>
                    <a:pt x="86" y="3743"/>
                  </a:lnTo>
                  <a:lnTo>
                    <a:pt x="83" y="3750"/>
                  </a:lnTo>
                  <a:lnTo>
                    <a:pt x="81" y="3755"/>
                  </a:lnTo>
                  <a:lnTo>
                    <a:pt x="82" y="3761"/>
                  </a:lnTo>
                  <a:lnTo>
                    <a:pt x="85" y="3764"/>
                  </a:lnTo>
                  <a:lnTo>
                    <a:pt x="87" y="3768"/>
                  </a:lnTo>
                  <a:lnTo>
                    <a:pt x="86" y="3776"/>
                  </a:lnTo>
                  <a:lnTo>
                    <a:pt x="88" y="3776"/>
                  </a:lnTo>
                  <a:lnTo>
                    <a:pt x="90" y="3766"/>
                  </a:lnTo>
                  <a:lnTo>
                    <a:pt x="95" y="3760"/>
                  </a:lnTo>
                  <a:lnTo>
                    <a:pt x="101" y="3759"/>
                  </a:lnTo>
                  <a:lnTo>
                    <a:pt x="107" y="3758"/>
                  </a:lnTo>
                  <a:lnTo>
                    <a:pt x="105" y="3762"/>
                  </a:lnTo>
                  <a:lnTo>
                    <a:pt x="97" y="3763"/>
                  </a:lnTo>
                  <a:lnTo>
                    <a:pt x="94" y="3766"/>
                  </a:lnTo>
                  <a:lnTo>
                    <a:pt x="92" y="3769"/>
                  </a:lnTo>
                  <a:lnTo>
                    <a:pt x="91" y="3774"/>
                  </a:lnTo>
                  <a:lnTo>
                    <a:pt x="91" y="3779"/>
                  </a:lnTo>
                  <a:lnTo>
                    <a:pt x="92" y="3780"/>
                  </a:lnTo>
                  <a:lnTo>
                    <a:pt x="99" y="3780"/>
                  </a:lnTo>
                  <a:lnTo>
                    <a:pt x="101" y="3781"/>
                  </a:lnTo>
                  <a:lnTo>
                    <a:pt x="102" y="3782"/>
                  </a:lnTo>
                  <a:lnTo>
                    <a:pt x="103" y="3783"/>
                  </a:lnTo>
                  <a:lnTo>
                    <a:pt x="105" y="3782"/>
                  </a:lnTo>
                  <a:lnTo>
                    <a:pt x="105" y="3781"/>
                  </a:lnTo>
                  <a:lnTo>
                    <a:pt x="107" y="3777"/>
                  </a:lnTo>
                  <a:lnTo>
                    <a:pt x="108" y="3775"/>
                  </a:lnTo>
                  <a:lnTo>
                    <a:pt x="109" y="3773"/>
                  </a:lnTo>
                  <a:lnTo>
                    <a:pt x="110" y="3773"/>
                  </a:lnTo>
                  <a:lnTo>
                    <a:pt x="112" y="3772"/>
                  </a:lnTo>
                  <a:lnTo>
                    <a:pt x="114" y="3771"/>
                  </a:lnTo>
                  <a:lnTo>
                    <a:pt x="113" y="3770"/>
                  </a:lnTo>
                  <a:lnTo>
                    <a:pt x="110" y="3765"/>
                  </a:lnTo>
                  <a:lnTo>
                    <a:pt x="115" y="3763"/>
                  </a:lnTo>
                  <a:lnTo>
                    <a:pt x="116" y="3758"/>
                  </a:lnTo>
                  <a:lnTo>
                    <a:pt x="121" y="3748"/>
                  </a:lnTo>
                  <a:lnTo>
                    <a:pt x="115" y="3747"/>
                  </a:lnTo>
                  <a:lnTo>
                    <a:pt x="112" y="3745"/>
                  </a:lnTo>
                  <a:lnTo>
                    <a:pt x="109" y="3743"/>
                  </a:lnTo>
                  <a:lnTo>
                    <a:pt x="109" y="3744"/>
                  </a:lnTo>
                  <a:lnTo>
                    <a:pt x="106" y="3745"/>
                  </a:lnTo>
                  <a:lnTo>
                    <a:pt x="108" y="3737"/>
                  </a:lnTo>
                  <a:lnTo>
                    <a:pt x="105" y="3734"/>
                  </a:lnTo>
                  <a:lnTo>
                    <a:pt x="97" y="3730"/>
                  </a:lnTo>
                  <a:lnTo>
                    <a:pt x="94" y="3725"/>
                  </a:lnTo>
                  <a:lnTo>
                    <a:pt x="92" y="3723"/>
                  </a:lnTo>
                  <a:lnTo>
                    <a:pt x="90" y="3724"/>
                  </a:lnTo>
                  <a:lnTo>
                    <a:pt x="89" y="3725"/>
                  </a:lnTo>
                  <a:lnTo>
                    <a:pt x="83" y="3722"/>
                  </a:lnTo>
                  <a:lnTo>
                    <a:pt x="81" y="3721"/>
                  </a:lnTo>
                  <a:lnTo>
                    <a:pt x="82" y="3724"/>
                  </a:lnTo>
                  <a:lnTo>
                    <a:pt x="83" y="3730"/>
                  </a:lnTo>
                  <a:lnTo>
                    <a:pt x="80" y="3726"/>
                  </a:lnTo>
                  <a:lnTo>
                    <a:pt x="77" y="3723"/>
                  </a:lnTo>
                  <a:lnTo>
                    <a:pt x="72" y="3721"/>
                  </a:lnTo>
                  <a:lnTo>
                    <a:pt x="66" y="3723"/>
                  </a:lnTo>
                  <a:lnTo>
                    <a:pt x="64" y="3718"/>
                  </a:lnTo>
                  <a:lnTo>
                    <a:pt x="64" y="3712"/>
                  </a:lnTo>
                  <a:lnTo>
                    <a:pt x="62" y="3708"/>
                  </a:lnTo>
                  <a:lnTo>
                    <a:pt x="59" y="3707"/>
                  </a:lnTo>
                  <a:lnTo>
                    <a:pt x="55" y="3707"/>
                  </a:lnTo>
                  <a:lnTo>
                    <a:pt x="51" y="3709"/>
                  </a:lnTo>
                  <a:lnTo>
                    <a:pt x="48" y="3712"/>
                  </a:lnTo>
                  <a:lnTo>
                    <a:pt x="47" y="3716"/>
                  </a:lnTo>
                  <a:lnTo>
                    <a:pt x="46" y="3719"/>
                  </a:lnTo>
                  <a:lnTo>
                    <a:pt x="44" y="3722"/>
                  </a:lnTo>
                  <a:lnTo>
                    <a:pt x="42" y="3723"/>
                  </a:lnTo>
                  <a:lnTo>
                    <a:pt x="46" y="3723"/>
                  </a:lnTo>
                  <a:lnTo>
                    <a:pt x="49" y="3726"/>
                  </a:lnTo>
                  <a:lnTo>
                    <a:pt x="51" y="3730"/>
                  </a:lnTo>
                  <a:lnTo>
                    <a:pt x="53" y="3735"/>
                  </a:lnTo>
                  <a:lnTo>
                    <a:pt x="55" y="3737"/>
                  </a:lnTo>
                  <a:lnTo>
                    <a:pt x="56" y="3735"/>
                  </a:lnTo>
                  <a:lnTo>
                    <a:pt x="58" y="3729"/>
                  </a:lnTo>
                  <a:lnTo>
                    <a:pt x="59" y="3726"/>
                  </a:lnTo>
                  <a:lnTo>
                    <a:pt x="60" y="3726"/>
                  </a:lnTo>
                  <a:lnTo>
                    <a:pt x="60" y="3728"/>
                  </a:lnTo>
                  <a:lnTo>
                    <a:pt x="61" y="3730"/>
                  </a:lnTo>
                  <a:lnTo>
                    <a:pt x="63" y="3733"/>
                  </a:lnTo>
                  <a:lnTo>
                    <a:pt x="65" y="3736"/>
                  </a:lnTo>
                  <a:lnTo>
                    <a:pt x="66" y="3741"/>
                  </a:lnTo>
                  <a:lnTo>
                    <a:pt x="67" y="3746"/>
                  </a:lnTo>
                  <a:lnTo>
                    <a:pt x="66" y="3748"/>
                  </a:lnTo>
                  <a:lnTo>
                    <a:pt x="64" y="3750"/>
                  </a:lnTo>
                  <a:lnTo>
                    <a:pt x="62" y="3750"/>
                  </a:lnTo>
                  <a:lnTo>
                    <a:pt x="61" y="3749"/>
                  </a:lnTo>
                  <a:lnTo>
                    <a:pt x="61" y="3746"/>
                  </a:lnTo>
                  <a:lnTo>
                    <a:pt x="61" y="3743"/>
                  </a:lnTo>
                  <a:lnTo>
                    <a:pt x="60" y="3739"/>
                  </a:lnTo>
                  <a:lnTo>
                    <a:pt x="59" y="3743"/>
                  </a:lnTo>
                  <a:lnTo>
                    <a:pt x="59" y="3750"/>
                  </a:lnTo>
                  <a:lnTo>
                    <a:pt x="58" y="3754"/>
                  </a:lnTo>
                  <a:lnTo>
                    <a:pt x="55" y="3758"/>
                  </a:lnTo>
                  <a:lnTo>
                    <a:pt x="54" y="3767"/>
                  </a:lnTo>
                  <a:lnTo>
                    <a:pt x="51" y="3764"/>
                  </a:lnTo>
                  <a:lnTo>
                    <a:pt x="48" y="3763"/>
                  </a:lnTo>
                  <a:lnTo>
                    <a:pt x="49" y="3766"/>
                  </a:lnTo>
                  <a:lnTo>
                    <a:pt x="49" y="3770"/>
                  </a:lnTo>
                  <a:lnTo>
                    <a:pt x="49" y="3774"/>
                  </a:lnTo>
                  <a:lnTo>
                    <a:pt x="48" y="3776"/>
                  </a:lnTo>
                  <a:lnTo>
                    <a:pt x="45" y="3775"/>
                  </a:lnTo>
                  <a:lnTo>
                    <a:pt x="44" y="3773"/>
                  </a:lnTo>
                  <a:lnTo>
                    <a:pt x="43" y="3765"/>
                  </a:lnTo>
                  <a:lnTo>
                    <a:pt x="42" y="3762"/>
                  </a:lnTo>
                  <a:lnTo>
                    <a:pt x="41" y="3760"/>
                  </a:lnTo>
                  <a:lnTo>
                    <a:pt x="40" y="3757"/>
                  </a:lnTo>
                  <a:lnTo>
                    <a:pt x="42" y="3750"/>
                  </a:lnTo>
                  <a:lnTo>
                    <a:pt x="45" y="3741"/>
                  </a:lnTo>
                  <a:lnTo>
                    <a:pt x="43" y="3740"/>
                  </a:lnTo>
                  <a:lnTo>
                    <a:pt x="43" y="3740"/>
                  </a:lnTo>
                  <a:lnTo>
                    <a:pt x="42" y="3741"/>
                  </a:lnTo>
                  <a:lnTo>
                    <a:pt x="41" y="3740"/>
                  </a:lnTo>
                  <a:lnTo>
                    <a:pt x="37" y="3739"/>
                  </a:lnTo>
                  <a:lnTo>
                    <a:pt x="39" y="3742"/>
                  </a:lnTo>
                  <a:lnTo>
                    <a:pt x="40" y="3744"/>
                  </a:lnTo>
                  <a:lnTo>
                    <a:pt x="41" y="3745"/>
                  </a:lnTo>
                  <a:lnTo>
                    <a:pt x="35" y="3749"/>
                  </a:lnTo>
                  <a:lnTo>
                    <a:pt x="33" y="3750"/>
                  </a:lnTo>
                  <a:lnTo>
                    <a:pt x="31" y="3751"/>
                  </a:lnTo>
                  <a:lnTo>
                    <a:pt x="30" y="3754"/>
                  </a:lnTo>
                  <a:lnTo>
                    <a:pt x="29" y="3757"/>
                  </a:lnTo>
                  <a:lnTo>
                    <a:pt x="28" y="3761"/>
                  </a:lnTo>
                  <a:lnTo>
                    <a:pt x="28" y="3755"/>
                  </a:lnTo>
                  <a:lnTo>
                    <a:pt x="27" y="3752"/>
                  </a:lnTo>
                  <a:lnTo>
                    <a:pt x="24" y="3752"/>
                  </a:lnTo>
                  <a:lnTo>
                    <a:pt x="21" y="3752"/>
                  </a:lnTo>
                  <a:lnTo>
                    <a:pt x="25" y="3765"/>
                  </a:lnTo>
                  <a:lnTo>
                    <a:pt x="25" y="3767"/>
                  </a:lnTo>
                  <a:lnTo>
                    <a:pt x="27" y="3769"/>
                  </a:lnTo>
                  <a:lnTo>
                    <a:pt x="28" y="3773"/>
                  </a:lnTo>
                  <a:lnTo>
                    <a:pt x="29" y="3782"/>
                  </a:lnTo>
                  <a:lnTo>
                    <a:pt x="31" y="3790"/>
                  </a:lnTo>
                  <a:lnTo>
                    <a:pt x="37" y="3804"/>
                  </a:lnTo>
                  <a:lnTo>
                    <a:pt x="40" y="3813"/>
                  </a:lnTo>
                  <a:lnTo>
                    <a:pt x="41" y="3809"/>
                  </a:lnTo>
                  <a:lnTo>
                    <a:pt x="44" y="3806"/>
                  </a:lnTo>
                  <a:lnTo>
                    <a:pt x="47" y="3805"/>
                  </a:lnTo>
                  <a:lnTo>
                    <a:pt x="49" y="3806"/>
                  </a:lnTo>
                  <a:lnTo>
                    <a:pt x="49" y="3810"/>
                  </a:lnTo>
                  <a:lnTo>
                    <a:pt x="51" y="3811"/>
                  </a:lnTo>
                  <a:lnTo>
                    <a:pt x="53" y="3811"/>
                  </a:lnTo>
                  <a:lnTo>
                    <a:pt x="55" y="3811"/>
                  </a:lnTo>
                  <a:lnTo>
                    <a:pt x="56" y="3809"/>
                  </a:lnTo>
                  <a:lnTo>
                    <a:pt x="57" y="3808"/>
                  </a:lnTo>
                  <a:lnTo>
                    <a:pt x="57" y="3806"/>
                  </a:lnTo>
                  <a:lnTo>
                    <a:pt x="59" y="3804"/>
                  </a:lnTo>
                  <a:lnTo>
                    <a:pt x="63" y="3804"/>
                  </a:lnTo>
                  <a:lnTo>
                    <a:pt x="65" y="3807"/>
                  </a:lnTo>
                  <a:lnTo>
                    <a:pt x="68" y="3817"/>
                  </a:lnTo>
                  <a:lnTo>
                    <a:pt x="67" y="3820"/>
                  </a:lnTo>
                  <a:lnTo>
                    <a:pt x="69" y="3821"/>
                  </a:lnTo>
                  <a:lnTo>
                    <a:pt x="70" y="3819"/>
                  </a:lnTo>
                  <a:lnTo>
                    <a:pt x="70" y="3814"/>
                  </a:lnTo>
                  <a:lnTo>
                    <a:pt x="69" y="3810"/>
                  </a:lnTo>
                  <a:lnTo>
                    <a:pt x="72" y="3807"/>
                  </a:lnTo>
                  <a:lnTo>
                    <a:pt x="78" y="3806"/>
                  </a:lnTo>
                  <a:lnTo>
                    <a:pt x="82" y="3809"/>
                  </a:lnTo>
                  <a:lnTo>
                    <a:pt x="85" y="3809"/>
                  </a:lnTo>
                  <a:close/>
                  <a:moveTo>
                    <a:pt x="250" y="3683"/>
                  </a:moveTo>
                  <a:lnTo>
                    <a:pt x="249" y="3683"/>
                  </a:lnTo>
                  <a:lnTo>
                    <a:pt x="248" y="3683"/>
                  </a:lnTo>
                  <a:lnTo>
                    <a:pt x="246" y="3685"/>
                  </a:lnTo>
                  <a:lnTo>
                    <a:pt x="246" y="3687"/>
                  </a:lnTo>
                  <a:lnTo>
                    <a:pt x="246" y="3691"/>
                  </a:lnTo>
                  <a:lnTo>
                    <a:pt x="248" y="3693"/>
                  </a:lnTo>
                  <a:lnTo>
                    <a:pt x="250" y="3692"/>
                  </a:lnTo>
                  <a:lnTo>
                    <a:pt x="251" y="3688"/>
                  </a:lnTo>
                  <a:lnTo>
                    <a:pt x="251" y="3685"/>
                  </a:lnTo>
                  <a:lnTo>
                    <a:pt x="250" y="3683"/>
                  </a:lnTo>
                  <a:close/>
                  <a:moveTo>
                    <a:pt x="474" y="3875"/>
                  </a:moveTo>
                  <a:lnTo>
                    <a:pt x="472" y="3875"/>
                  </a:lnTo>
                  <a:lnTo>
                    <a:pt x="471" y="3876"/>
                  </a:lnTo>
                  <a:lnTo>
                    <a:pt x="467" y="3877"/>
                  </a:lnTo>
                  <a:lnTo>
                    <a:pt x="464" y="3878"/>
                  </a:lnTo>
                  <a:lnTo>
                    <a:pt x="463" y="3879"/>
                  </a:lnTo>
                  <a:lnTo>
                    <a:pt x="462" y="3879"/>
                  </a:lnTo>
                  <a:lnTo>
                    <a:pt x="461" y="3880"/>
                  </a:lnTo>
                  <a:lnTo>
                    <a:pt x="461" y="3883"/>
                  </a:lnTo>
                  <a:lnTo>
                    <a:pt x="463" y="3884"/>
                  </a:lnTo>
                  <a:lnTo>
                    <a:pt x="465" y="3883"/>
                  </a:lnTo>
                  <a:lnTo>
                    <a:pt x="475" y="3878"/>
                  </a:lnTo>
                  <a:lnTo>
                    <a:pt x="476" y="3876"/>
                  </a:lnTo>
                  <a:lnTo>
                    <a:pt x="476" y="3876"/>
                  </a:lnTo>
                  <a:lnTo>
                    <a:pt x="474" y="3875"/>
                  </a:lnTo>
                  <a:close/>
                  <a:moveTo>
                    <a:pt x="699" y="3845"/>
                  </a:moveTo>
                  <a:lnTo>
                    <a:pt x="695" y="3844"/>
                  </a:lnTo>
                  <a:lnTo>
                    <a:pt x="691" y="3845"/>
                  </a:lnTo>
                  <a:lnTo>
                    <a:pt x="689" y="3848"/>
                  </a:lnTo>
                  <a:lnTo>
                    <a:pt x="688" y="3851"/>
                  </a:lnTo>
                  <a:lnTo>
                    <a:pt x="688" y="3851"/>
                  </a:lnTo>
                  <a:lnTo>
                    <a:pt x="689" y="3851"/>
                  </a:lnTo>
                  <a:lnTo>
                    <a:pt x="692" y="3853"/>
                  </a:lnTo>
                  <a:lnTo>
                    <a:pt x="694" y="3853"/>
                  </a:lnTo>
                  <a:lnTo>
                    <a:pt x="696" y="3852"/>
                  </a:lnTo>
                  <a:lnTo>
                    <a:pt x="696" y="3852"/>
                  </a:lnTo>
                  <a:lnTo>
                    <a:pt x="696" y="3851"/>
                  </a:lnTo>
                  <a:lnTo>
                    <a:pt x="698" y="3851"/>
                  </a:lnTo>
                  <a:lnTo>
                    <a:pt x="700" y="3849"/>
                  </a:lnTo>
                  <a:lnTo>
                    <a:pt x="700" y="3847"/>
                  </a:lnTo>
                  <a:lnTo>
                    <a:pt x="700" y="3846"/>
                  </a:lnTo>
                  <a:lnTo>
                    <a:pt x="699" y="3845"/>
                  </a:lnTo>
                  <a:close/>
                  <a:moveTo>
                    <a:pt x="538" y="3824"/>
                  </a:moveTo>
                  <a:lnTo>
                    <a:pt x="539" y="3824"/>
                  </a:lnTo>
                  <a:lnTo>
                    <a:pt x="539" y="3823"/>
                  </a:lnTo>
                  <a:lnTo>
                    <a:pt x="540" y="3821"/>
                  </a:lnTo>
                  <a:lnTo>
                    <a:pt x="541" y="3818"/>
                  </a:lnTo>
                  <a:lnTo>
                    <a:pt x="542" y="3816"/>
                  </a:lnTo>
                  <a:lnTo>
                    <a:pt x="540" y="3814"/>
                  </a:lnTo>
                  <a:lnTo>
                    <a:pt x="535" y="3815"/>
                  </a:lnTo>
                  <a:lnTo>
                    <a:pt x="532" y="3817"/>
                  </a:lnTo>
                  <a:lnTo>
                    <a:pt x="530" y="3819"/>
                  </a:lnTo>
                  <a:lnTo>
                    <a:pt x="532" y="3820"/>
                  </a:lnTo>
                  <a:lnTo>
                    <a:pt x="534" y="3820"/>
                  </a:lnTo>
                  <a:lnTo>
                    <a:pt x="535" y="3821"/>
                  </a:lnTo>
                  <a:lnTo>
                    <a:pt x="535" y="3823"/>
                  </a:lnTo>
                  <a:lnTo>
                    <a:pt x="530" y="3823"/>
                  </a:lnTo>
                  <a:lnTo>
                    <a:pt x="530" y="3828"/>
                  </a:lnTo>
                  <a:lnTo>
                    <a:pt x="531" y="3833"/>
                  </a:lnTo>
                  <a:lnTo>
                    <a:pt x="533" y="3834"/>
                  </a:lnTo>
                  <a:lnTo>
                    <a:pt x="535" y="3833"/>
                  </a:lnTo>
                  <a:lnTo>
                    <a:pt x="535" y="3830"/>
                  </a:lnTo>
                  <a:lnTo>
                    <a:pt x="537" y="3826"/>
                  </a:lnTo>
                  <a:lnTo>
                    <a:pt x="538" y="3824"/>
                  </a:lnTo>
                  <a:close/>
                  <a:moveTo>
                    <a:pt x="464" y="3837"/>
                  </a:moveTo>
                  <a:lnTo>
                    <a:pt x="465" y="3837"/>
                  </a:lnTo>
                  <a:lnTo>
                    <a:pt x="466" y="3833"/>
                  </a:lnTo>
                  <a:lnTo>
                    <a:pt x="466" y="3827"/>
                  </a:lnTo>
                  <a:lnTo>
                    <a:pt x="466" y="3815"/>
                  </a:lnTo>
                  <a:lnTo>
                    <a:pt x="463" y="3810"/>
                  </a:lnTo>
                  <a:lnTo>
                    <a:pt x="460" y="3810"/>
                  </a:lnTo>
                  <a:lnTo>
                    <a:pt x="459" y="3812"/>
                  </a:lnTo>
                  <a:lnTo>
                    <a:pt x="460" y="3819"/>
                  </a:lnTo>
                  <a:lnTo>
                    <a:pt x="456" y="3820"/>
                  </a:lnTo>
                  <a:lnTo>
                    <a:pt x="456" y="3817"/>
                  </a:lnTo>
                  <a:lnTo>
                    <a:pt x="456" y="3813"/>
                  </a:lnTo>
                  <a:lnTo>
                    <a:pt x="454" y="3811"/>
                  </a:lnTo>
                  <a:lnTo>
                    <a:pt x="451" y="3812"/>
                  </a:lnTo>
                  <a:lnTo>
                    <a:pt x="450" y="3816"/>
                  </a:lnTo>
                  <a:lnTo>
                    <a:pt x="450" y="3821"/>
                  </a:lnTo>
                  <a:lnTo>
                    <a:pt x="451" y="3826"/>
                  </a:lnTo>
                  <a:lnTo>
                    <a:pt x="452" y="3830"/>
                  </a:lnTo>
                  <a:lnTo>
                    <a:pt x="454" y="3835"/>
                  </a:lnTo>
                  <a:lnTo>
                    <a:pt x="456" y="3839"/>
                  </a:lnTo>
                  <a:lnTo>
                    <a:pt x="456" y="3838"/>
                  </a:lnTo>
                  <a:lnTo>
                    <a:pt x="457" y="3835"/>
                  </a:lnTo>
                  <a:lnTo>
                    <a:pt x="460" y="3834"/>
                  </a:lnTo>
                  <a:lnTo>
                    <a:pt x="462" y="3834"/>
                  </a:lnTo>
                  <a:lnTo>
                    <a:pt x="464" y="3837"/>
                  </a:lnTo>
                  <a:close/>
                  <a:moveTo>
                    <a:pt x="533" y="3810"/>
                  </a:moveTo>
                  <a:lnTo>
                    <a:pt x="537" y="3811"/>
                  </a:lnTo>
                  <a:lnTo>
                    <a:pt x="540" y="3810"/>
                  </a:lnTo>
                  <a:lnTo>
                    <a:pt x="542" y="3808"/>
                  </a:lnTo>
                  <a:lnTo>
                    <a:pt x="543" y="3808"/>
                  </a:lnTo>
                  <a:lnTo>
                    <a:pt x="543" y="3809"/>
                  </a:lnTo>
                  <a:lnTo>
                    <a:pt x="544" y="3810"/>
                  </a:lnTo>
                  <a:lnTo>
                    <a:pt x="545" y="3810"/>
                  </a:lnTo>
                  <a:lnTo>
                    <a:pt x="547" y="3808"/>
                  </a:lnTo>
                  <a:lnTo>
                    <a:pt x="548" y="3806"/>
                  </a:lnTo>
                  <a:lnTo>
                    <a:pt x="547" y="3803"/>
                  </a:lnTo>
                  <a:lnTo>
                    <a:pt x="547" y="3801"/>
                  </a:lnTo>
                  <a:lnTo>
                    <a:pt x="545" y="3799"/>
                  </a:lnTo>
                  <a:lnTo>
                    <a:pt x="544" y="3797"/>
                  </a:lnTo>
                  <a:lnTo>
                    <a:pt x="540" y="3797"/>
                  </a:lnTo>
                  <a:lnTo>
                    <a:pt x="536" y="3799"/>
                  </a:lnTo>
                  <a:lnTo>
                    <a:pt x="535" y="3800"/>
                  </a:lnTo>
                  <a:lnTo>
                    <a:pt x="533" y="3801"/>
                  </a:lnTo>
                  <a:lnTo>
                    <a:pt x="532" y="3805"/>
                  </a:lnTo>
                  <a:lnTo>
                    <a:pt x="531" y="3807"/>
                  </a:lnTo>
                  <a:lnTo>
                    <a:pt x="529" y="3809"/>
                  </a:lnTo>
                  <a:lnTo>
                    <a:pt x="529" y="3810"/>
                  </a:lnTo>
                  <a:lnTo>
                    <a:pt x="531" y="3811"/>
                  </a:lnTo>
                  <a:lnTo>
                    <a:pt x="533" y="3810"/>
                  </a:lnTo>
                  <a:close/>
                  <a:moveTo>
                    <a:pt x="393" y="3795"/>
                  </a:moveTo>
                  <a:lnTo>
                    <a:pt x="391" y="3795"/>
                  </a:lnTo>
                  <a:lnTo>
                    <a:pt x="389" y="3793"/>
                  </a:lnTo>
                  <a:lnTo>
                    <a:pt x="387" y="3793"/>
                  </a:lnTo>
                  <a:lnTo>
                    <a:pt x="384" y="3795"/>
                  </a:lnTo>
                  <a:lnTo>
                    <a:pt x="383" y="3797"/>
                  </a:lnTo>
                  <a:lnTo>
                    <a:pt x="385" y="3800"/>
                  </a:lnTo>
                  <a:lnTo>
                    <a:pt x="386" y="3800"/>
                  </a:lnTo>
                  <a:lnTo>
                    <a:pt x="390" y="3801"/>
                  </a:lnTo>
                  <a:lnTo>
                    <a:pt x="393" y="3801"/>
                  </a:lnTo>
                  <a:lnTo>
                    <a:pt x="396" y="3800"/>
                  </a:lnTo>
                  <a:lnTo>
                    <a:pt x="397" y="3797"/>
                  </a:lnTo>
                  <a:lnTo>
                    <a:pt x="395" y="3795"/>
                  </a:lnTo>
                  <a:lnTo>
                    <a:pt x="393" y="3795"/>
                  </a:lnTo>
                  <a:close/>
                  <a:moveTo>
                    <a:pt x="327" y="3782"/>
                  </a:moveTo>
                  <a:lnTo>
                    <a:pt x="320" y="3786"/>
                  </a:lnTo>
                  <a:lnTo>
                    <a:pt x="315" y="3793"/>
                  </a:lnTo>
                  <a:lnTo>
                    <a:pt x="321" y="3793"/>
                  </a:lnTo>
                  <a:lnTo>
                    <a:pt x="323" y="3794"/>
                  </a:lnTo>
                  <a:lnTo>
                    <a:pt x="325" y="3798"/>
                  </a:lnTo>
                  <a:lnTo>
                    <a:pt x="318" y="3797"/>
                  </a:lnTo>
                  <a:lnTo>
                    <a:pt x="315" y="3798"/>
                  </a:lnTo>
                  <a:lnTo>
                    <a:pt x="313" y="3800"/>
                  </a:lnTo>
                  <a:lnTo>
                    <a:pt x="314" y="3801"/>
                  </a:lnTo>
                  <a:lnTo>
                    <a:pt x="316" y="3804"/>
                  </a:lnTo>
                  <a:lnTo>
                    <a:pt x="318" y="3805"/>
                  </a:lnTo>
                  <a:lnTo>
                    <a:pt x="319" y="3805"/>
                  </a:lnTo>
                  <a:lnTo>
                    <a:pt x="321" y="3804"/>
                  </a:lnTo>
                  <a:lnTo>
                    <a:pt x="325" y="3803"/>
                  </a:lnTo>
                  <a:lnTo>
                    <a:pt x="327" y="3802"/>
                  </a:lnTo>
                  <a:lnTo>
                    <a:pt x="331" y="3804"/>
                  </a:lnTo>
                  <a:lnTo>
                    <a:pt x="333" y="3804"/>
                  </a:lnTo>
                  <a:lnTo>
                    <a:pt x="335" y="3802"/>
                  </a:lnTo>
                  <a:lnTo>
                    <a:pt x="337" y="3800"/>
                  </a:lnTo>
                  <a:lnTo>
                    <a:pt x="337" y="3797"/>
                  </a:lnTo>
                  <a:lnTo>
                    <a:pt x="336" y="3795"/>
                  </a:lnTo>
                  <a:lnTo>
                    <a:pt x="333" y="3795"/>
                  </a:lnTo>
                  <a:lnTo>
                    <a:pt x="337" y="3792"/>
                  </a:lnTo>
                  <a:lnTo>
                    <a:pt x="339" y="3790"/>
                  </a:lnTo>
                  <a:lnTo>
                    <a:pt x="340" y="3787"/>
                  </a:lnTo>
                  <a:lnTo>
                    <a:pt x="334" y="3783"/>
                  </a:lnTo>
                  <a:lnTo>
                    <a:pt x="327" y="3782"/>
                  </a:lnTo>
                  <a:close/>
                  <a:moveTo>
                    <a:pt x="363" y="3774"/>
                  </a:moveTo>
                  <a:lnTo>
                    <a:pt x="354" y="3776"/>
                  </a:lnTo>
                  <a:lnTo>
                    <a:pt x="351" y="3778"/>
                  </a:lnTo>
                  <a:lnTo>
                    <a:pt x="349" y="3782"/>
                  </a:lnTo>
                  <a:lnTo>
                    <a:pt x="348" y="3785"/>
                  </a:lnTo>
                  <a:lnTo>
                    <a:pt x="351" y="3787"/>
                  </a:lnTo>
                  <a:lnTo>
                    <a:pt x="351" y="3789"/>
                  </a:lnTo>
                  <a:lnTo>
                    <a:pt x="350" y="3789"/>
                  </a:lnTo>
                  <a:lnTo>
                    <a:pt x="348" y="3791"/>
                  </a:lnTo>
                  <a:lnTo>
                    <a:pt x="348" y="3795"/>
                  </a:lnTo>
                  <a:lnTo>
                    <a:pt x="348" y="3796"/>
                  </a:lnTo>
                  <a:lnTo>
                    <a:pt x="346" y="3798"/>
                  </a:lnTo>
                  <a:lnTo>
                    <a:pt x="350" y="3800"/>
                  </a:lnTo>
                  <a:lnTo>
                    <a:pt x="355" y="3800"/>
                  </a:lnTo>
                  <a:lnTo>
                    <a:pt x="360" y="3797"/>
                  </a:lnTo>
                  <a:lnTo>
                    <a:pt x="364" y="3793"/>
                  </a:lnTo>
                  <a:lnTo>
                    <a:pt x="363" y="3792"/>
                  </a:lnTo>
                  <a:lnTo>
                    <a:pt x="363" y="3791"/>
                  </a:lnTo>
                  <a:lnTo>
                    <a:pt x="364" y="3791"/>
                  </a:lnTo>
                  <a:lnTo>
                    <a:pt x="366" y="3790"/>
                  </a:lnTo>
                  <a:lnTo>
                    <a:pt x="367" y="3789"/>
                  </a:lnTo>
                  <a:lnTo>
                    <a:pt x="362" y="3787"/>
                  </a:lnTo>
                  <a:lnTo>
                    <a:pt x="374" y="3787"/>
                  </a:lnTo>
                  <a:lnTo>
                    <a:pt x="371" y="3783"/>
                  </a:lnTo>
                  <a:lnTo>
                    <a:pt x="370" y="3782"/>
                  </a:lnTo>
                  <a:lnTo>
                    <a:pt x="372" y="3781"/>
                  </a:lnTo>
                  <a:lnTo>
                    <a:pt x="373" y="3780"/>
                  </a:lnTo>
                  <a:lnTo>
                    <a:pt x="375" y="3780"/>
                  </a:lnTo>
                  <a:lnTo>
                    <a:pt x="377" y="3780"/>
                  </a:lnTo>
                  <a:lnTo>
                    <a:pt x="377" y="3778"/>
                  </a:lnTo>
                  <a:lnTo>
                    <a:pt x="372" y="3774"/>
                  </a:lnTo>
                  <a:lnTo>
                    <a:pt x="363" y="3774"/>
                  </a:lnTo>
                  <a:close/>
                  <a:moveTo>
                    <a:pt x="449" y="3783"/>
                  </a:moveTo>
                  <a:lnTo>
                    <a:pt x="453" y="3780"/>
                  </a:lnTo>
                  <a:lnTo>
                    <a:pt x="456" y="3774"/>
                  </a:lnTo>
                  <a:lnTo>
                    <a:pt x="454" y="3771"/>
                  </a:lnTo>
                  <a:lnTo>
                    <a:pt x="444" y="3775"/>
                  </a:lnTo>
                  <a:lnTo>
                    <a:pt x="443" y="3776"/>
                  </a:lnTo>
                  <a:lnTo>
                    <a:pt x="442" y="3779"/>
                  </a:lnTo>
                  <a:lnTo>
                    <a:pt x="442" y="3780"/>
                  </a:lnTo>
                  <a:lnTo>
                    <a:pt x="442" y="3781"/>
                  </a:lnTo>
                  <a:lnTo>
                    <a:pt x="442" y="3782"/>
                  </a:lnTo>
                  <a:lnTo>
                    <a:pt x="441" y="3784"/>
                  </a:lnTo>
                  <a:lnTo>
                    <a:pt x="441" y="3787"/>
                  </a:lnTo>
                  <a:lnTo>
                    <a:pt x="441" y="3788"/>
                  </a:lnTo>
                  <a:lnTo>
                    <a:pt x="441" y="3789"/>
                  </a:lnTo>
                  <a:lnTo>
                    <a:pt x="442" y="3790"/>
                  </a:lnTo>
                  <a:lnTo>
                    <a:pt x="446" y="3790"/>
                  </a:lnTo>
                  <a:lnTo>
                    <a:pt x="448" y="3789"/>
                  </a:lnTo>
                  <a:lnTo>
                    <a:pt x="448" y="3787"/>
                  </a:lnTo>
                  <a:lnTo>
                    <a:pt x="445" y="3785"/>
                  </a:lnTo>
                  <a:lnTo>
                    <a:pt x="446" y="3784"/>
                  </a:lnTo>
                  <a:lnTo>
                    <a:pt x="449" y="3783"/>
                  </a:lnTo>
                  <a:close/>
                  <a:moveTo>
                    <a:pt x="295" y="3774"/>
                  </a:moveTo>
                  <a:lnTo>
                    <a:pt x="292" y="3769"/>
                  </a:lnTo>
                  <a:lnTo>
                    <a:pt x="285" y="3770"/>
                  </a:lnTo>
                  <a:lnTo>
                    <a:pt x="281" y="3771"/>
                  </a:lnTo>
                  <a:lnTo>
                    <a:pt x="279" y="3776"/>
                  </a:lnTo>
                  <a:lnTo>
                    <a:pt x="282" y="3776"/>
                  </a:lnTo>
                  <a:lnTo>
                    <a:pt x="284" y="3777"/>
                  </a:lnTo>
                  <a:lnTo>
                    <a:pt x="285" y="3779"/>
                  </a:lnTo>
                  <a:lnTo>
                    <a:pt x="288" y="3780"/>
                  </a:lnTo>
                  <a:lnTo>
                    <a:pt x="293" y="3781"/>
                  </a:lnTo>
                  <a:lnTo>
                    <a:pt x="295" y="3782"/>
                  </a:lnTo>
                  <a:lnTo>
                    <a:pt x="296" y="3785"/>
                  </a:lnTo>
                  <a:lnTo>
                    <a:pt x="297" y="3785"/>
                  </a:lnTo>
                  <a:lnTo>
                    <a:pt x="299" y="3780"/>
                  </a:lnTo>
                  <a:lnTo>
                    <a:pt x="301" y="3778"/>
                  </a:lnTo>
                  <a:lnTo>
                    <a:pt x="307" y="3778"/>
                  </a:lnTo>
                  <a:lnTo>
                    <a:pt x="307" y="3776"/>
                  </a:lnTo>
                  <a:lnTo>
                    <a:pt x="299" y="3776"/>
                  </a:lnTo>
                  <a:lnTo>
                    <a:pt x="295" y="3774"/>
                  </a:lnTo>
                  <a:close/>
                  <a:moveTo>
                    <a:pt x="404" y="3769"/>
                  </a:moveTo>
                  <a:lnTo>
                    <a:pt x="401" y="3769"/>
                  </a:lnTo>
                  <a:lnTo>
                    <a:pt x="399" y="3771"/>
                  </a:lnTo>
                  <a:lnTo>
                    <a:pt x="394" y="3776"/>
                  </a:lnTo>
                  <a:lnTo>
                    <a:pt x="387" y="3779"/>
                  </a:lnTo>
                  <a:lnTo>
                    <a:pt x="384" y="3780"/>
                  </a:lnTo>
                  <a:lnTo>
                    <a:pt x="387" y="3789"/>
                  </a:lnTo>
                  <a:lnTo>
                    <a:pt x="391" y="3793"/>
                  </a:lnTo>
                  <a:lnTo>
                    <a:pt x="396" y="3793"/>
                  </a:lnTo>
                  <a:lnTo>
                    <a:pt x="401" y="3787"/>
                  </a:lnTo>
                  <a:lnTo>
                    <a:pt x="400" y="3786"/>
                  </a:lnTo>
                  <a:lnTo>
                    <a:pt x="398" y="3783"/>
                  </a:lnTo>
                  <a:lnTo>
                    <a:pt x="397" y="3782"/>
                  </a:lnTo>
                  <a:lnTo>
                    <a:pt x="406" y="3774"/>
                  </a:lnTo>
                  <a:lnTo>
                    <a:pt x="404" y="3769"/>
                  </a:lnTo>
                  <a:close/>
                  <a:moveTo>
                    <a:pt x="1001" y="3768"/>
                  </a:moveTo>
                  <a:lnTo>
                    <a:pt x="1000" y="3770"/>
                  </a:lnTo>
                  <a:lnTo>
                    <a:pt x="1001" y="3774"/>
                  </a:lnTo>
                  <a:lnTo>
                    <a:pt x="1004" y="3774"/>
                  </a:lnTo>
                  <a:lnTo>
                    <a:pt x="1006" y="3773"/>
                  </a:lnTo>
                  <a:lnTo>
                    <a:pt x="1008" y="3771"/>
                  </a:lnTo>
                  <a:lnTo>
                    <a:pt x="1010" y="3767"/>
                  </a:lnTo>
                  <a:lnTo>
                    <a:pt x="1004" y="3767"/>
                  </a:lnTo>
                  <a:lnTo>
                    <a:pt x="1001" y="3768"/>
                  </a:lnTo>
                  <a:close/>
                  <a:moveTo>
                    <a:pt x="441" y="3758"/>
                  </a:moveTo>
                  <a:lnTo>
                    <a:pt x="438" y="3756"/>
                  </a:lnTo>
                  <a:lnTo>
                    <a:pt x="434" y="3759"/>
                  </a:lnTo>
                  <a:lnTo>
                    <a:pt x="430" y="3765"/>
                  </a:lnTo>
                  <a:lnTo>
                    <a:pt x="428" y="3771"/>
                  </a:lnTo>
                  <a:lnTo>
                    <a:pt x="432" y="3778"/>
                  </a:lnTo>
                  <a:lnTo>
                    <a:pt x="437" y="3774"/>
                  </a:lnTo>
                  <a:lnTo>
                    <a:pt x="442" y="3766"/>
                  </a:lnTo>
                  <a:lnTo>
                    <a:pt x="441" y="3758"/>
                  </a:lnTo>
                  <a:close/>
                  <a:moveTo>
                    <a:pt x="332" y="3751"/>
                  </a:moveTo>
                  <a:lnTo>
                    <a:pt x="329" y="3751"/>
                  </a:lnTo>
                  <a:lnTo>
                    <a:pt x="327" y="3755"/>
                  </a:lnTo>
                  <a:lnTo>
                    <a:pt x="325" y="3760"/>
                  </a:lnTo>
                  <a:lnTo>
                    <a:pt x="325" y="3765"/>
                  </a:lnTo>
                  <a:lnTo>
                    <a:pt x="328" y="3766"/>
                  </a:lnTo>
                  <a:lnTo>
                    <a:pt x="329" y="3766"/>
                  </a:lnTo>
                  <a:lnTo>
                    <a:pt x="330" y="3766"/>
                  </a:lnTo>
                  <a:lnTo>
                    <a:pt x="332" y="3766"/>
                  </a:lnTo>
                  <a:lnTo>
                    <a:pt x="332" y="3764"/>
                  </a:lnTo>
                  <a:lnTo>
                    <a:pt x="333" y="3762"/>
                  </a:lnTo>
                  <a:lnTo>
                    <a:pt x="335" y="3759"/>
                  </a:lnTo>
                  <a:lnTo>
                    <a:pt x="335" y="3756"/>
                  </a:lnTo>
                  <a:lnTo>
                    <a:pt x="334" y="3755"/>
                  </a:lnTo>
                  <a:lnTo>
                    <a:pt x="331" y="3755"/>
                  </a:lnTo>
                  <a:lnTo>
                    <a:pt x="331" y="3755"/>
                  </a:lnTo>
                  <a:lnTo>
                    <a:pt x="332" y="3753"/>
                  </a:lnTo>
                  <a:lnTo>
                    <a:pt x="332" y="3751"/>
                  </a:lnTo>
                  <a:close/>
                  <a:moveTo>
                    <a:pt x="963" y="3742"/>
                  </a:moveTo>
                  <a:lnTo>
                    <a:pt x="960" y="3748"/>
                  </a:lnTo>
                  <a:lnTo>
                    <a:pt x="961" y="3754"/>
                  </a:lnTo>
                  <a:lnTo>
                    <a:pt x="965" y="3759"/>
                  </a:lnTo>
                  <a:lnTo>
                    <a:pt x="970" y="3761"/>
                  </a:lnTo>
                  <a:lnTo>
                    <a:pt x="967" y="3766"/>
                  </a:lnTo>
                  <a:lnTo>
                    <a:pt x="967" y="3768"/>
                  </a:lnTo>
                  <a:lnTo>
                    <a:pt x="968" y="3769"/>
                  </a:lnTo>
                  <a:lnTo>
                    <a:pt x="972" y="3771"/>
                  </a:lnTo>
                  <a:lnTo>
                    <a:pt x="972" y="3767"/>
                  </a:lnTo>
                  <a:lnTo>
                    <a:pt x="973" y="3764"/>
                  </a:lnTo>
                  <a:lnTo>
                    <a:pt x="976" y="3762"/>
                  </a:lnTo>
                  <a:lnTo>
                    <a:pt x="979" y="3761"/>
                  </a:lnTo>
                  <a:lnTo>
                    <a:pt x="979" y="3758"/>
                  </a:lnTo>
                  <a:lnTo>
                    <a:pt x="966" y="3744"/>
                  </a:lnTo>
                  <a:lnTo>
                    <a:pt x="963" y="3742"/>
                  </a:lnTo>
                  <a:close/>
                  <a:moveTo>
                    <a:pt x="524" y="3810"/>
                  </a:moveTo>
                  <a:lnTo>
                    <a:pt x="529" y="3801"/>
                  </a:lnTo>
                  <a:lnTo>
                    <a:pt x="527" y="3791"/>
                  </a:lnTo>
                  <a:lnTo>
                    <a:pt x="527" y="3790"/>
                  </a:lnTo>
                  <a:lnTo>
                    <a:pt x="528" y="3787"/>
                  </a:lnTo>
                  <a:lnTo>
                    <a:pt x="526" y="3785"/>
                  </a:lnTo>
                  <a:lnTo>
                    <a:pt x="525" y="3785"/>
                  </a:lnTo>
                  <a:lnTo>
                    <a:pt x="526" y="3784"/>
                  </a:lnTo>
                  <a:lnTo>
                    <a:pt x="526" y="3783"/>
                  </a:lnTo>
                  <a:lnTo>
                    <a:pt x="527" y="3783"/>
                  </a:lnTo>
                  <a:lnTo>
                    <a:pt x="528" y="3782"/>
                  </a:lnTo>
                  <a:lnTo>
                    <a:pt x="527" y="3779"/>
                  </a:lnTo>
                  <a:lnTo>
                    <a:pt x="527" y="3775"/>
                  </a:lnTo>
                  <a:lnTo>
                    <a:pt x="528" y="3772"/>
                  </a:lnTo>
                  <a:lnTo>
                    <a:pt x="532" y="3770"/>
                  </a:lnTo>
                  <a:lnTo>
                    <a:pt x="533" y="3768"/>
                  </a:lnTo>
                  <a:lnTo>
                    <a:pt x="534" y="3765"/>
                  </a:lnTo>
                  <a:lnTo>
                    <a:pt x="535" y="3761"/>
                  </a:lnTo>
                  <a:lnTo>
                    <a:pt x="539" y="3758"/>
                  </a:lnTo>
                  <a:lnTo>
                    <a:pt x="542" y="3755"/>
                  </a:lnTo>
                  <a:lnTo>
                    <a:pt x="545" y="3750"/>
                  </a:lnTo>
                  <a:lnTo>
                    <a:pt x="547" y="3743"/>
                  </a:lnTo>
                  <a:lnTo>
                    <a:pt x="541" y="3742"/>
                  </a:lnTo>
                  <a:lnTo>
                    <a:pt x="536" y="3746"/>
                  </a:lnTo>
                  <a:lnTo>
                    <a:pt x="532" y="3752"/>
                  </a:lnTo>
                  <a:lnTo>
                    <a:pt x="529" y="3760"/>
                  </a:lnTo>
                  <a:lnTo>
                    <a:pt x="524" y="3764"/>
                  </a:lnTo>
                  <a:lnTo>
                    <a:pt x="493" y="3769"/>
                  </a:lnTo>
                  <a:lnTo>
                    <a:pt x="490" y="3771"/>
                  </a:lnTo>
                  <a:lnTo>
                    <a:pt x="485" y="3775"/>
                  </a:lnTo>
                  <a:lnTo>
                    <a:pt x="469" y="3778"/>
                  </a:lnTo>
                  <a:lnTo>
                    <a:pt x="466" y="3776"/>
                  </a:lnTo>
                  <a:lnTo>
                    <a:pt x="467" y="3773"/>
                  </a:lnTo>
                  <a:lnTo>
                    <a:pt x="471" y="3765"/>
                  </a:lnTo>
                  <a:lnTo>
                    <a:pt x="466" y="3766"/>
                  </a:lnTo>
                  <a:lnTo>
                    <a:pt x="464" y="3773"/>
                  </a:lnTo>
                  <a:lnTo>
                    <a:pt x="462" y="3782"/>
                  </a:lnTo>
                  <a:lnTo>
                    <a:pt x="461" y="3789"/>
                  </a:lnTo>
                  <a:lnTo>
                    <a:pt x="490" y="3791"/>
                  </a:lnTo>
                  <a:lnTo>
                    <a:pt x="490" y="3793"/>
                  </a:lnTo>
                  <a:lnTo>
                    <a:pt x="474" y="3793"/>
                  </a:lnTo>
                  <a:lnTo>
                    <a:pt x="471" y="3795"/>
                  </a:lnTo>
                  <a:lnTo>
                    <a:pt x="465" y="3799"/>
                  </a:lnTo>
                  <a:lnTo>
                    <a:pt x="462" y="3800"/>
                  </a:lnTo>
                  <a:lnTo>
                    <a:pt x="464" y="3803"/>
                  </a:lnTo>
                  <a:lnTo>
                    <a:pt x="468" y="3805"/>
                  </a:lnTo>
                  <a:lnTo>
                    <a:pt x="470" y="3808"/>
                  </a:lnTo>
                  <a:lnTo>
                    <a:pt x="470" y="3810"/>
                  </a:lnTo>
                  <a:lnTo>
                    <a:pt x="470" y="3814"/>
                  </a:lnTo>
                  <a:lnTo>
                    <a:pt x="470" y="3818"/>
                  </a:lnTo>
                  <a:lnTo>
                    <a:pt x="471" y="3822"/>
                  </a:lnTo>
                  <a:lnTo>
                    <a:pt x="470" y="3825"/>
                  </a:lnTo>
                  <a:lnTo>
                    <a:pt x="469" y="3829"/>
                  </a:lnTo>
                  <a:lnTo>
                    <a:pt x="469" y="3837"/>
                  </a:lnTo>
                  <a:lnTo>
                    <a:pt x="472" y="3836"/>
                  </a:lnTo>
                  <a:lnTo>
                    <a:pt x="479" y="3834"/>
                  </a:lnTo>
                  <a:lnTo>
                    <a:pt x="481" y="3830"/>
                  </a:lnTo>
                  <a:lnTo>
                    <a:pt x="487" y="3824"/>
                  </a:lnTo>
                  <a:lnTo>
                    <a:pt x="489" y="3822"/>
                  </a:lnTo>
                  <a:lnTo>
                    <a:pt x="488" y="3826"/>
                  </a:lnTo>
                  <a:lnTo>
                    <a:pt x="487" y="3829"/>
                  </a:lnTo>
                  <a:lnTo>
                    <a:pt x="486" y="3831"/>
                  </a:lnTo>
                  <a:lnTo>
                    <a:pt x="487" y="3835"/>
                  </a:lnTo>
                  <a:lnTo>
                    <a:pt x="489" y="3833"/>
                  </a:lnTo>
                  <a:lnTo>
                    <a:pt x="490" y="3834"/>
                  </a:lnTo>
                  <a:lnTo>
                    <a:pt x="490" y="3837"/>
                  </a:lnTo>
                  <a:lnTo>
                    <a:pt x="490" y="3841"/>
                  </a:lnTo>
                  <a:lnTo>
                    <a:pt x="491" y="3841"/>
                  </a:lnTo>
                  <a:lnTo>
                    <a:pt x="491" y="3838"/>
                  </a:lnTo>
                  <a:lnTo>
                    <a:pt x="491" y="3836"/>
                  </a:lnTo>
                  <a:lnTo>
                    <a:pt x="492" y="3836"/>
                  </a:lnTo>
                  <a:lnTo>
                    <a:pt x="497" y="3829"/>
                  </a:lnTo>
                  <a:lnTo>
                    <a:pt x="499" y="3826"/>
                  </a:lnTo>
                  <a:lnTo>
                    <a:pt x="501" y="3831"/>
                  </a:lnTo>
                  <a:lnTo>
                    <a:pt x="503" y="3837"/>
                  </a:lnTo>
                  <a:lnTo>
                    <a:pt x="505" y="3835"/>
                  </a:lnTo>
                  <a:lnTo>
                    <a:pt x="507" y="3834"/>
                  </a:lnTo>
                  <a:lnTo>
                    <a:pt x="510" y="3835"/>
                  </a:lnTo>
                  <a:lnTo>
                    <a:pt x="511" y="3834"/>
                  </a:lnTo>
                  <a:lnTo>
                    <a:pt x="514" y="3828"/>
                  </a:lnTo>
                  <a:lnTo>
                    <a:pt x="515" y="3826"/>
                  </a:lnTo>
                  <a:lnTo>
                    <a:pt x="513" y="3824"/>
                  </a:lnTo>
                  <a:lnTo>
                    <a:pt x="512" y="3824"/>
                  </a:lnTo>
                  <a:lnTo>
                    <a:pt x="511" y="3824"/>
                  </a:lnTo>
                  <a:lnTo>
                    <a:pt x="511" y="3822"/>
                  </a:lnTo>
                  <a:lnTo>
                    <a:pt x="524" y="3810"/>
                  </a:lnTo>
                  <a:close/>
                  <a:moveTo>
                    <a:pt x="391" y="3744"/>
                  </a:moveTo>
                  <a:lnTo>
                    <a:pt x="390" y="3746"/>
                  </a:lnTo>
                  <a:lnTo>
                    <a:pt x="391" y="3746"/>
                  </a:lnTo>
                  <a:lnTo>
                    <a:pt x="392" y="3746"/>
                  </a:lnTo>
                  <a:lnTo>
                    <a:pt x="394" y="3745"/>
                  </a:lnTo>
                  <a:lnTo>
                    <a:pt x="396" y="3743"/>
                  </a:lnTo>
                  <a:lnTo>
                    <a:pt x="396" y="3742"/>
                  </a:lnTo>
                  <a:lnTo>
                    <a:pt x="394" y="3742"/>
                  </a:lnTo>
                  <a:lnTo>
                    <a:pt x="391" y="3744"/>
                  </a:lnTo>
                  <a:close/>
                  <a:moveTo>
                    <a:pt x="388" y="3747"/>
                  </a:moveTo>
                  <a:lnTo>
                    <a:pt x="391" y="3740"/>
                  </a:lnTo>
                  <a:lnTo>
                    <a:pt x="391" y="3738"/>
                  </a:lnTo>
                  <a:lnTo>
                    <a:pt x="388" y="3737"/>
                  </a:lnTo>
                  <a:lnTo>
                    <a:pt x="383" y="3737"/>
                  </a:lnTo>
                  <a:lnTo>
                    <a:pt x="380" y="3738"/>
                  </a:lnTo>
                  <a:lnTo>
                    <a:pt x="378" y="3737"/>
                  </a:lnTo>
                  <a:lnTo>
                    <a:pt x="376" y="3737"/>
                  </a:lnTo>
                  <a:lnTo>
                    <a:pt x="375" y="3739"/>
                  </a:lnTo>
                  <a:lnTo>
                    <a:pt x="377" y="3744"/>
                  </a:lnTo>
                  <a:lnTo>
                    <a:pt x="378" y="3744"/>
                  </a:lnTo>
                  <a:lnTo>
                    <a:pt x="380" y="3747"/>
                  </a:lnTo>
                  <a:lnTo>
                    <a:pt x="383" y="3748"/>
                  </a:lnTo>
                  <a:lnTo>
                    <a:pt x="386" y="3748"/>
                  </a:lnTo>
                  <a:lnTo>
                    <a:pt x="388" y="3747"/>
                  </a:lnTo>
                  <a:close/>
                  <a:moveTo>
                    <a:pt x="429" y="3756"/>
                  </a:moveTo>
                  <a:lnTo>
                    <a:pt x="436" y="3754"/>
                  </a:lnTo>
                  <a:lnTo>
                    <a:pt x="437" y="3754"/>
                  </a:lnTo>
                  <a:lnTo>
                    <a:pt x="439" y="3752"/>
                  </a:lnTo>
                  <a:lnTo>
                    <a:pt x="439" y="3751"/>
                  </a:lnTo>
                  <a:lnTo>
                    <a:pt x="441" y="3750"/>
                  </a:lnTo>
                  <a:lnTo>
                    <a:pt x="442" y="3750"/>
                  </a:lnTo>
                  <a:lnTo>
                    <a:pt x="443" y="3751"/>
                  </a:lnTo>
                  <a:lnTo>
                    <a:pt x="444" y="3752"/>
                  </a:lnTo>
                  <a:lnTo>
                    <a:pt x="447" y="3751"/>
                  </a:lnTo>
                  <a:lnTo>
                    <a:pt x="448" y="3749"/>
                  </a:lnTo>
                  <a:lnTo>
                    <a:pt x="449" y="3745"/>
                  </a:lnTo>
                  <a:lnTo>
                    <a:pt x="446" y="3742"/>
                  </a:lnTo>
                  <a:lnTo>
                    <a:pt x="434" y="3737"/>
                  </a:lnTo>
                  <a:lnTo>
                    <a:pt x="416" y="3736"/>
                  </a:lnTo>
                  <a:lnTo>
                    <a:pt x="412" y="3736"/>
                  </a:lnTo>
                  <a:lnTo>
                    <a:pt x="408" y="3741"/>
                  </a:lnTo>
                  <a:lnTo>
                    <a:pt x="407" y="3746"/>
                  </a:lnTo>
                  <a:lnTo>
                    <a:pt x="408" y="3751"/>
                  </a:lnTo>
                  <a:lnTo>
                    <a:pt x="409" y="3751"/>
                  </a:lnTo>
                  <a:lnTo>
                    <a:pt x="412" y="3750"/>
                  </a:lnTo>
                  <a:lnTo>
                    <a:pt x="417" y="3753"/>
                  </a:lnTo>
                  <a:lnTo>
                    <a:pt x="421" y="3754"/>
                  </a:lnTo>
                  <a:lnTo>
                    <a:pt x="424" y="3748"/>
                  </a:lnTo>
                  <a:lnTo>
                    <a:pt x="417" y="3748"/>
                  </a:lnTo>
                  <a:lnTo>
                    <a:pt x="420" y="3747"/>
                  </a:lnTo>
                  <a:lnTo>
                    <a:pt x="423" y="3747"/>
                  </a:lnTo>
                  <a:lnTo>
                    <a:pt x="427" y="3748"/>
                  </a:lnTo>
                  <a:lnTo>
                    <a:pt x="429" y="3752"/>
                  </a:lnTo>
                  <a:lnTo>
                    <a:pt x="427" y="3756"/>
                  </a:lnTo>
                  <a:lnTo>
                    <a:pt x="429" y="3756"/>
                  </a:lnTo>
                  <a:close/>
                  <a:moveTo>
                    <a:pt x="459" y="3724"/>
                  </a:moveTo>
                  <a:lnTo>
                    <a:pt x="458" y="3723"/>
                  </a:lnTo>
                  <a:lnTo>
                    <a:pt x="454" y="3724"/>
                  </a:lnTo>
                  <a:lnTo>
                    <a:pt x="450" y="3726"/>
                  </a:lnTo>
                  <a:lnTo>
                    <a:pt x="447" y="3729"/>
                  </a:lnTo>
                  <a:lnTo>
                    <a:pt x="444" y="3734"/>
                  </a:lnTo>
                  <a:lnTo>
                    <a:pt x="450" y="3736"/>
                  </a:lnTo>
                  <a:lnTo>
                    <a:pt x="453" y="3736"/>
                  </a:lnTo>
                  <a:lnTo>
                    <a:pt x="456" y="3734"/>
                  </a:lnTo>
                  <a:lnTo>
                    <a:pt x="455" y="3739"/>
                  </a:lnTo>
                  <a:lnTo>
                    <a:pt x="454" y="3741"/>
                  </a:lnTo>
                  <a:lnTo>
                    <a:pt x="453" y="3743"/>
                  </a:lnTo>
                  <a:lnTo>
                    <a:pt x="457" y="3743"/>
                  </a:lnTo>
                  <a:lnTo>
                    <a:pt x="462" y="3741"/>
                  </a:lnTo>
                  <a:lnTo>
                    <a:pt x="467" y="3738"/>
                  </a:lnTo>
                  <a:lnTo>
                    <a:pt x="471" y="3734"/>
                  </a:lnTo>
                  <a:lnTo>
                    <a:pt x="469" y="3731"/>
                  </a:lnTo>
                  <a:lnTo>
                    <a:pt x="467" y="3730"/>
                  </a:lnTo>
                  <a:lnTo>
                    <a:pt x="465" y="3730"/>
                  </a:lnTo>
                  <a:lnTo>
                    <a:pt x="463" y="3730"/>
                  </a:lnTo>
                  <a:lnTo>
                    <a:pt x="458" y="3728"/>
                  </a:lnTo>
                  <a:lnTo>
                    <a:pt x="458" y="3727"/>
                  </a:lnTo>
                  <a:lnTo>
                    <a:pt x="458" y="3725"/>
                  </a:lnTo>
                  <a:lnTo>
                    <a:pt x="459" y="3724"/>
                  </a:lnTo>
                  <a:close/>
                  <a:moveTo>
                    <a:pt x="420" y="3724"/>
                  </a:moveTo>
                  <a:lnTo>
                    <a:pt x="422" y="3727"/>
                  </a:lnTo>
                  <a:lnTo>
                    <a:pt x="425" y="3727"/>
                  </a:lnTo>
                  <a:lnTo>
                    <a:pt x="427" y="3727"/>
                  </a:lnTo>
                  <a:lnTo>
                    <a:pt x="441" y="3722"/>
                  </a:lnTo>
                  <a:lnTo>
                    <a:pt x="442" y="3719"/>
                  </a:lnTo>
                  <a:lnTo>
                    <a:pt x="440" y="3717"/>
                  </a:lnTo>
                  <a:lnTo>
                    <a:pt x="435" y="3717"/>
                  </a:lnTo>
                  <a:lnTo>
                    <a:pt x="421" y="3721"/>
                  </a:lnTo>
                  <a:lnTo>
                    <a:pt x="420" y="3722"/>
                  </a:lnTo>
                  <a:lnTo>
                    <a:pt x="420" y="3724"/>
                  </a:lnTo>
                  <a:close/>
                  <a:moveTo>
                    <a:pt x="418" y="3715"/>
                  </a:moveTo>
                  <a:lnTo>
                    <a:pt x="417" y="3716"/>
                  </a:lnTo>
                  <a:lnTo>
                    <a:pt x="414" y="3718"/>
                  </a:lnTo>
                  <a:lnTo>
                    <a:pt x="411" y="3724"/>
                  </a:lnTo>
                  <a:lnTo>
                    <a:pt x="412" y="3724"/>
                  </a:lnTo>
                  <a:lnTo>
                    <a:pt x="428" y="3717"/>
                  </a:lnTo>
                  <a:lnTo>
                    <a:pt x="427" y="3714"/>
                  </a:lnTo>
                  <a:lnTo>
                    <a:pt x="418" y="3715"/>
                  </a:lnTo>
                  <a:close/>
                  <a:moveTo>
                    <a:pt x="290" y="3724"/>
                  </a:moveTo>
                  <a:lnTo>
                    <a:pt x="291" y="3724"/>
                  </a:lnTo>
                  <a:lnTo>
                    <a:pt x="292" y="3724"/>
                  </a:lnTo>
                  <a:lnTo>
                    <a:pt x="292" y="3724"/>
                  </a:lnTo>
                  <a:lnTo>
                    <a:pt x="293" y="3722"/>
                  </a:lnTo>
                  <a:lnTo>
                    <a:pt x="292" y="3718"/>
                  </a:lnTo>
                  <a:lnTo>
                    <a:pt x="290" y="3714"/>
                  </a:lnTo>
                  <a:lnTo>
                    <a:pt x="287" y="3712"/>
                  </a:lnTo>
                  <a:lnTo>
                    <a:pt x="285" y="3712"/>
                  </a:lnTo>
                  <a:lnTo>
                    <a:pt x="284" y="3714"/>
                  </a:lnTo>
                  <a:lnTo>
                    <a:pt x="283" y="3716"/>
                  </a:lnTo>
                  <a:lnTo>
                    <a:pt x="283" y="3718"/>
                  </a:lnTo>
                  <a:lnTo>
                    <a:pt x="284" y="3720"/>
                  </a:lnTo>
                  <a:lnTo>
                    <a:pt x="287" y="3720"/>
                  </a:lnTo>
                  <a:lnTo>
                    <a:pt x="289" y="3720"/>
                  </a:lnTo>
                  <a:lnTo>
                    <a:pt x="289" y="3721"/>
                  </a:lnTo>
                  <a:lnTo>
                    <a:pt x="289" y="3723"/>
                  </a:lnTo>
                  <a:lnTo>
                    <a:pt x="290" y="3724"/>
                  </a:lnTo>
                  <a:close/>
                  <a:moveTo>
                    <a:pt x="1125" y="3694"/>
                  </a:moveTo>
                  <a:lnTo>
                    <a:pt x="1124" y="3694"/>
                  </a:lnTo>
                  <a:lnTo>
                    <a:pt x="1122" y="3696"/>
                  </a:lnTo>
                  <a:lnTo>
                    <a:pt x="1122" y="3698"/>
                  </a:lnTo>
                  <a:lnTo>
                    <a:pt x="1122" y="3700"/>
                  </a:lnTo>
                  <a:lnTo>
                    <a:pt x="1121" y="3702"/>
                  </a:lnTo>
                  <a:lnTo>
                    <a:pt x="1119" y="3703"/>
                  </a:lnTo>
                  <a:lnTo>
                    <a:pt x="1111" y="3705"/>
                  </a:lnTo>
                  <a:lnTo>
                    <a:pt x="1110" y="3708"/>
                  </a:lnTo>
                  <a:lnTo>
                    <a:pt x="1113" y="3714"/>
                  </a:lnTo>
                  <a:lnTo>
                    <a:pt x="1115" y="3716"/>
                  </a:lnTo>
                  <a:lnTo>
                    <a:pt x="1117" y="3716"/>
                  </a:lnTo>
                  <a:lnTo>
                    <a:pt x="1118" y="3710"/>
                  </a:lnTo>
                  <a:lnTo>
                    <a:pt x="1121" y="3707"/>
                  </a:lnTo>
                  <a:lnTo>
                    <a:pt x="1131" y="3704"/>
                  </a:lnTo>
                  <a:lnTo>
                    <a:pt x="1133" y="3702"/>
                  </a:lnTo>
                  <a:lnTo>
                    <a:pt x="1133" y="3700"/>
                  </a:lnTo>
                  <a:lnTo>
                    <a:pt x="1132" y="3699"/>
                  </a:lnTo>
                  <a:lnTo>
                    <a:pt x="1125" y="3694"/>
                  </a:lnTo>
                  <a:close/>
                  <a:moveTo>
                    <a:pt x="368" y="3706"/>
                  </a:moveTo>
                  <a:lnTo>
                    <a:pt x="364" y="3707"/>
                  </a:lnTo>
                  <a:lnTo>
                    <a:pt x="362" y="3710"/>
                  </a:lnTo>
                  <a:lnTo>
                    <a:pt x="361" y="3713"/>
                  </a:lnTo>
                  <a:lnTo>
                    <a:pt x="362" y="3717"/>
                  </a:lnTo>
                  <a:lnTo>
                    <a:pt x="365" y="3720"/>
                  </a:lnTo>
                  <a:lnTo>
                    <a:pt x="369" y="3722"/>
                  </a:lnTo>
                  <a:lnTo>
                    <a:pt x="374" y="3724"/>
                  </a:lnTo>
                  <a:lnTo>
                    <a:pt x="376" y="3725"/>
                  </a:lnTo>
                  <a:lnTo>
                    <a:pt x="379" y="3728"/>
                  </a:lnTo>
                  <a:lnTo>
                    <a:pt x="379" y="3728"/>
                  </a:lnTo>
                  <a:lnTo>
                    <a:pt x="379" y="3731"/>
                  </a:lnTo>
                  <a:lnTo>
                    <a:pt x="379" y="3732"/>
                  </a:lnTo>
                  <a:lnTo>
                    <a:pt x="380" y="3732"/>
                  </a:lnTo>
                  <a:lnTo>
                    <a:pt x="381" y="3731"/>
                  </a:lnTo>
                  <a:lnTo>
                    <a:pt x="382" y="3731"/>
                  </a:lnTo>
                  <a:lnTo>
                    <a:pt x="382" y="3730"/>
                  </a:lnTo>
                  <a:lnTo>
                    <a:pt x="385" y="3731"/>
                  </a:lnTo>
                  <a:lnTo>
                    <a:pt x="388" y="3732"/>
                  </a:lnTo>
                  <a:lnTo>
                    <a:pt x="392" y="3732"/>
                  </a:lnTo>
                  <a:lnTo>
                    <a:pt x="394" y="3730"/>
                  </a:lnTo>
                  <a:lnTo>
                    <a:pt x="394" y="3728"/>
                  </a:lnTo>
                  <a:lnTo>
                    <a:pt x="393" y="3728"/>
                  </a:lnTo>
                  <a:lnTo>
                    <a:pt x="392" y="3727"/>
                  </a:lnTo>
                  <a:lnTo>
                    <a:pt x="389" y="3726"/>
                  </a:lnTo>
                  <a:lnTo>
                    <a:pt x="391" y="3726"/>
                  </a:lnTo>
                  <a:lnTo>
                    <a:pt x="394" y="3723"/>
                  </a:lnTo>
                  <a:lnTo>
                    <a:pt x="393" y="3720"/>
                  </a:lnTo>
                  <a:lnTo>
                    <a:pt x="391" y="3719"/>
                  </a:lnTo>
                  <a:lnTo>
                    <a:pt x="386" y="3719"/>
                  </a:lnTo>
                  <a:lnTo>
                    <a:pt x="387" y="3717"/>
                  </a:lnTo>
                  <a:lnTo>
                    <a:pt x="385" y="3714"/>
                  </a:lnTo>
                  <a:lnTo>
                    <a:pt x="380" y="3712"/>
                  </a:lnTo>
                  <a:lnTo>
                    <a:pt x="378" y="3710"/>
                  </a:lnTo>
                  <a:lnTo>
                    <a:pt x="380" y="3708"/>
                  </a:lnTo>
                  <a:lnTo>
                    <a:pt x="382" y="3708"/>
                  </a:lnTo>
                  <a:lnTo>
                    <a:pt x="387" y="3710"/>
                  </a:lnTo>
                  <a:lnTo>
                    <a:pt x="387" y="3708"/>
                  </a:lnTo>
                  <a:lnTo>
                    <a:pt x="384" y="3701"/>
                  </a:lnTo>
                  <a:lnTo>
                    <a:pt x="383" y="3701"/>
                  </a:lnTo>
                  <a:lnTo>
                    <a:pt x="381" y="3700"/>
                  </a:lnTo>
                  <a:lnTo>
                    <a:pt x="380" y="3699"/>
                  </a:lnTo>
                  <a:lnTo>
                    <a:pt x="379" y="3696"/>
                  </a:lnTo>
                  <a:lnTo>
                    <a:pt x="378" y="3693"/>
                  </a:lnTo>
                  <a:lnTo>
                    <a:pt x="371" y="3688"/>
                  </a:lnTo>
                  <a:lnTo>
                    <a:pt x="368" y="3686"/>
                  </a:lnTo>
                  <a:lnTo>
                    <a:pt x="366" y="3686"/>
                  </a:lnTo>
                  <a:lnTo>
                    <a:pt x="364" y="3687"/>
                  </a:lnTo>
                  <a:lnTo>
                    <a:pt x="363" y="3691"/>
                  </a:lnTo>
                  <a:lnTo>
                    <a:pt x="363" y="3695"/>
                  </a:lnTo>
                  <a:lnTo>
                    <a:pt x="370" y="3703"/>
                  </a:lnTo>
                  <a:lnTo>
                    <a:pt x="370" y="3706"/>
                  </a:lnTo>
                  <a:lnTo>
                    <a:pt x="368" y="3706"/>
                  </a:lnTo>
                  <a:close/>
                  <a:moveTo>
                    <a:pt x="349" y="3686"/>
                  </a:moveTo>
                  <a:lnTo>
                    <a:pt x="351" y="3682"/>
                  </a:lnTo>
                  <a:lnTo>
                    <a:pt x="355" y="3676"/>
                  </a:lnTo>
                  <a:lnTo>
                    <a:pt x="357" y="3673"/>
                  </a:lnTo>
                  <a:lnTo>
                    <a:pt x="357" y="3668"/>
                  </a:lnTo>
                  <a:lnTo>
                    <a:pt x="354" y="3668"/>
                  </a:lnTo>
                  <a:lnTo>
                    <a:pt x="349" y="3674"/>
                  </a:lnTo>
                  <a:lnTo>
                    <a:pt x="346" y="3682"/>
                  </a:lnTo>
                  <a:lnTo>
                    <a:pt x="344" y="3688"/>
                  </a:lnTo>
                  <a:lnTo>
                    <a:pt x="345" y="3691"/>
                  </a:lnTo>
                  <a:lnTo>
                    <a:pt x="347" y="3690"/>
                  </a:lnTo>
                  <a:lnTo>
                    <a:pt x="349" y="3686"/>
                  </a:lnTo>
                  <a:close/>
                  <a:moveTo>
                    <a:pt x="287" y="3682"/>
                  </a:moveTo>
                  <a:lnTo>
                    <a:pt x="288" y="3682"/>
                  </a:lnTo>
                  <a:lnTo>
                    <a:pt x="285" y="3674"/>
                  </a:lnTo>
                  <a:lnTo>
                    <a:pt x="285" y="3671"/>
                  </a:lnTo>
                  <a:lnTo>
                    <a:pt x="280" y="3663"/>
                  </a:lnTo>
                  <a:lnTo>
                    <a:pt x="276" y="3658"/>
                  </a:lnTo>
                  <a:lnTo>
                    <a:pt x="272" y="3658"/>
                  </a:lnTo>
                  <a:lnTo>
                    <a:pt x="274" y="3663"/>
                  </a:lnTo>
                  <a:lnTo>
                    <a:pt x="276" y="3667"/>
                  </a:lnTo>
                  <a:lnTo>
                    <a:pt x="277" y="3670"/>
                  </a:lnTo>
                  <a:lnTo>
                    <a:pt x="276" y="3677"/>
                  </a:lnTo>
                  <a:lnTo>
                    <a:pt x="278" y="3680"/>
                  </a:lnTo>
                  <a:lnTo>
                    <a:pt x="284" y="3681"/>
                  </a:lnTo>
                  <a:lnTo>
                    <a:pt x="287" y="3682"/>
                  </a:lnTo>
                  <a:close/>
                  <a:moveTo>
                    <a:pt x="309" y="3664"/>
                  </a:moveTo>
                  <a:lnTo>
                    <a:pt x="301" y="3663"/>
                  </a:lnTo>
                  <a:lnTo>
                    <a:pt x="299" y="3658"/>
                  </a:lnTo>
                  <a:lnTo>
                    <a:pt x="292" y="3657"/>
                  </a:lnTo>
                  <a:lnTo>
                    <a:pt x="289" y="3658"/>
                  </a:lnTo>
                  <a:lnTo>
                    <a:pt x="288" y="3663"/>
                  </a:lnTo>
                  <a:lnTo>
                    <a:pt x="288" y="3668"/>
                  </a:lnTo>
                  <a:lnTo>
                    <a:pt x="289" y="3670"/>
                  </a:lnTo>
                  <a:lnTo>
                    <a:pt x="291" y="3669"/>
                  </a:lnTo>
                  <a:lnTo>
                    <a:pt x="293" y="3666"/>
                  </a:lnTo>
                  <a:lnTo>
                    <a:pt x="295" y="3674"/>
                  </a:lnTo>
                  <a:lnTo>
                    <a:pt x="298" y="3680"/>
                  </a:lnTo>
                  <a:lnTo>
                    <a:pt x="302" y="3684"/>
                  </a:lnTo>
                  <a:lnTo>
                    <a:pt x="306" y="3686"/>
                  </a:lnTo>
                  <a:lnTo>
                    <a:pt x="304" y="3683"/>
                  </a:lnTo>
                  <a:lnTo>
                    <a:pt x="305" y="3680"/>
                  </a:lnTo>
                  <a:lnTo>
                    <a:pt x="307" y="3679"/>
                  </a:lnTo>
                  <a:lnTo>
                    <a:pt x="310" y="3679"/>
                  </a:lnTo>
                  <a:lnTo>
                    <a:pt x="309" y="3677"/>
                  </a:lnTo>
                  <a:lnTo>
                    <a:pt x="309" y="3674"/>
                  </a:lnTo>
                  <a:lnTo>
                    <a:pt x="309" y="3672"/>
                  </a:lnTo>
                  <a:lnTo>
                    <a:pt x="310" y="3668"/>
                  </a:lnTo>
                  <a:lnTo>
                    <a:pt x="311" y="3669"/>
                  </a:lnTo>
                  <a:lnTo>
                    <a:pt x="311" y="3669"/>
                  </a:lnTo>
                  <a:lnTo>
                    <a:pt x="312" y="3668"/>
                  </a:lnTo>
                  <a:lnTo>
                    <a:pt x="313" y="3668"/>
                  </a:lnTo>
                  <a:lnTo>
                    <a:pt x="309" y="3664"/>
                  </a:lnTo>
                  <a:close/>
                  <a:moveTo>
                    <a:pt x="275" y="3648"/>
                  </a:moveTo>
                  <a:lnTo>
                    <a:pt x="278" y="3648"/>
                  </a:lnTo>
                  <a:lnTo>
                    <a:pt x="279" y="3650"/>
                  </a:lnTo>
                  <a:lnTo>
                    <a:pt x="279" y="3653"/>
                  </a:lnTo>
                  <a:lnTo>
                    <a:pt x="281" y="3655"/>
                  </a:lnTo>
                  <a:lnTo>
                    <a:pt x="283" y="3655"/>
                  </a:lnTo>
                  <a:lnTo>
                    <a:pt x="283" y="3653"/>
                  </a:lnTo>
                  <a:lnTo>
                    <a:pt x="281" y="3652"/>
                  </a:lnTo>
                  <a:lnTo>
                    <a:pt x="280" y="3649"/>
                  </a:lnTo>
                  <a:lnTo>
                    <a:pt x="281" y="3644"/>
                  </a:lnTo>
                  <a:lnTo>
                    <a:pt x="282" y="3639"/>
                  </a:lnTo>
                  <a:lnTo>
                    <a:pt x="281" y="3638"/>
                  </a:lnTo>
                  <a:lnTo>
                    <a:pt x="280" y="3636"/>
                  </a:lnTo>
                  <a:lnTo>
                    <a:pt x="279" y="3633"/>
                  </a:lnTo>
                  <a:lnTo>
                    <a:pt x="279" y="3631"/>
                  </a:lnTo>
                  <a:lnTo>
                    <a:pt x="277" y="3629"/>
                  </a:lnTo>
                  <a:lnTo>
                    <a:pt x="276" y="3630"/>
                  </a:lnTo>
                  <a:lnTo>
                    <a:pt x="276" y="3633"/>
                  </a:lnTo>
                  <a:lnTo>
                    <a:pt x="275" y="3635"/>
                  </a:lnTo>
                  <a:lnTo>
                    <a:pt x="271" y="3637"/>
                  </a:lnTo>
                  <a:lnTo>
                    <a:pt x="270" y="3639"/>
                  </a:lnTo>
                  <a:lnTo>
                    <a:pt x="271" y="3644"/>
                  </a:lnTo>
                  <a:lnTo>
                    <a:pt x="273" y="3646"/>
                  </a:lnTo>
                  <a:lnTo>
                    <a:pt x="275" y="3648"/>
                  </a:lnTo>
                  <a:close/>
                  <a:moveTo>
                    <a:pt x="278" y="3570"/>
                  </a:moveTo>
                  <a:lnTo>
                    <a:pt x="279" y="3567"/>
                  </a:lnTo>
                  <a:lnTo>
                    <a:pt x="278" y="3563"/>
                  </a:lnTo>
                  <a:lnTo>
                    <a:pt x="277" y="3562"/>
                  </a:lnTo>
                  <a:lnTo>
                    <a:pt x="276" y="3565"/>
                  </a:lnTo>
                  <a:lnTo>
                    <a:pt x="275" y="3565"/>
                  </a:lnTo>
                  <a:lnTo>
                    <a:pt x="275" y="3564"/>
                  </a:lnTo>
                  <a:lnTo>
                    <a:pt x="273" y="3564"/>
                  </a:lnTo>
                  <a:lnTo>
                    <a:pt x="272" y="3565"/>
                  </a:lnTo>
                  <a:lnTo>
                    <a:pt x="272" y="3563"/>
                  </a:lnTo>
                  <a:lnTo>
                    <a:pt x="271" y="3560"/>
                  </a:lnTo>
                  <a:lnTo>
                    <a:pt x="269" y="3559"/>
                  </a:lnTo>
                  <a:lnTo>
                    <a:pt x="266" y="3560"/>
                  </a:lnTo>
                  <a:lnTo>
                    <a:pt x="266" y="3561"/>
                  </a:lnTo>
                  <a:lnTo>
                    <a:pt x="267" y="3563"/>
                  </a:lnTo>
                  <a:lnTo>
                    <a:pt x="268" y="3564"/>
                  </a:lnTo>
                  <a:lnTo>
                    <a:pt x="268" y="3565"/>
                  </a:lnTo>
                  <a:lnTo>
                    <a:pt x="269" y="3566"/>
                  </a:lnTo>
                  <a:lnTo>
                    <a:pt x="269" y="3565"/>
                  </a:lnTo>
                  <a:lnTo>
                    <a:pt x="276" y="3569"/>
                  </a:lnTo>
                  <a:lnTo>
                    <a:pt x="278" y="3570"/>
                  </a:lnTo>
                  <a:close/>
                  <a:moveTo>
                    <a:pt x="272" y="3547"/>
                  </a:moveTo>
                  <a:lnTo>
                    <a:pt x="268" y="3550"/>
                  </a:lnTo>
                  <a:lnTo>
                    <a:pt x="271" y="3552"/>
                  </a:lnTo>
                  <a:lnTo>
                    <a:pt x="273" y="3553"/>
                  </a:lnTo>
                  <a:lnTo>
                    <a:pt x="278" y="3553"/>
                  </a:lnTo>
                  <a:lnTo>
                    <a:pt x="280" y="3553"/>
                  </a:lnTo>
                  <a:lnTo>
                    <a:pt x="283" y="3554"/>
                  </a:lnTo>
                  <a:lnTo>
                    <a:pt x="286" y="3554"/>
                  </a:lnTo>
                  <a:lnTo>
                    <a:pt x="288" y="3550"/>
                  </a:lnTo>
                  <a:lnTo>
                    <a:pt x="288" y="3544"/>
                  </a:lnTo>
                  <a:lnTo>
                    <a:pt x="290" y="3542"/>
                  </a:lnTo>
                  <a:lnTo>
                    <a:pt x="292" y="3541"/>
                  </a:lnTo>
                  <a:lnTo>
                    <a:pt x="295" y="3537"/>
                  </a:lnTo>
                  <a:lnTo>
                    <a:pt x="290" y="3532"/>
                  </a:lnTo>
                  <a:lnTo>
                    <a:pt x="287" y="3529"/>
                  </a:lnTo>
                  <a:lnTo>
                    <a:pt x="285" y="3524"/>
                  </a:lnTo>
                  <a:lnTo>
                    <a:pt x="281" y="3524"/>
                  </a:lnTo>
                  <a:lnTo>
                    <a:pt x="279" y="3525"/>
                  </a:lnTo>
                  <a:lnTo>
                    <a:pt x="275" y="3531"/>
                  </a:lnTo>
                  <a:lnTo>
                    <a:pt x="278" y="3531"/>
                  </a:lnTo>
                  <a:lnTo>
                    <a:pt x="281" y="3533"/>
                  </a:lnTo>
                  <a:lnTo>
                    <a:pt x="285" y="3540"/>
                  </a:lnTo>
                  <a:lnTo>
                    <a:pt x="285" y="3541"/>
                  </a:lnTo>
                  <a:lnTo>
                    <a:pt x="283" y="3543"/>
                  </a:lnTo>
                  <a:lnTo>
                    <a:pt x="282" y="3544"/>
                  </a:lnTo>
                  <a:lnTo>
                    <a:pt x="282" y="3545"/>
                  </a:lnTo>
                  <a:lnTo>
                    <a:pt x="283" y="3546"/>
                  </a:lnTo>
                  <a:lnTo>
                    <a:pt x="283" y="3547"/>
                  </a:lnTo>
                  <a:lnTo>
                    <a:pt x="283" y="3549"/>
                  </a:lnTo>
                  <a:lnTo>
                    <a:pt x="280" y="3551"/>
                  </a:lnTo>
                  <a:lnTo>
                    <a:pt x="272" y="3547"/>
                  </a:lnTo>
                  <a:close/>
                  <a:moveTo>
                    <a:pt x="291" y="3450"/>
                  </a:moveTo>
                  <a:lnTo>
                    <a:pt x="290" y="3452"/>
                  </a:lnTo>
                  <a:lnTo>
                    <a:pt x="291" y="3455"/>
                  </a:lnTo>
                  <a:lnTo>
                    <a:pt x="291" y="3456"/>
                  </a:lnTo>
                  <a:lnTo>
                    <a:pt x="291" y="3456"/>
                  </a:lnTo>
                  <a:lnTo>
                    <a:pt x="291" y="3456"/>
                  </a:lnTo>
                  <a:lnTo>
                    <a:pt x="292" y="3457"/>
                  </a:lnTo>
                  <a:lnTo>
                    <a:pt x="295" y="3457"/>
                  </a:lnTo>
                  <a:lnTo>
                    <a:pt x="298" y="3455"/>
                  </a:lnTo>
                  <a:lnTo>
                    <a:pt x="303" y="3458"/>
                  </a:lnTo>
                  <a:lnTo>
                    <a:pt x="305" y="3458"/>
                  </a:lnTo>
                  <a:lnTo>
                    <a:pt x="304" y="3458"/>
                  </a:lnTo>
                  <a:lnTo>
                    <a:pt x="303" y="3457"/>
                  </a:lnTo>
                  <a:lnTo>
                    <a:pt x="298" y="3452"/>
                  </a:lnTo>
                  <a:lnTo>
                    <a:pt x="297" y="3449"/>
                  </a:lnTo>
                  <a:lnTo>
                    <a:pt x="298" y="3446"/>
                  </a:lnTo>
                  <a:lnTo>
                    <a:pt x="296" y="3444"/>
                  </a:lnTo>
                  <a:lnTo>
                    <a:pt x="294" y="3446"/>
                  </a:lnTo>
                  <a:lnTo>
                    <a:pt x="293" y="3448"/>
                  </a:lnTo>
                  <a:lnTo>
                    <a:pt x="293" y="3449"/>
                  </a:lnTo>
                  <a:lnTo>
                    <a:pt x="292" y="3450"/>
                  </a:lnTo>
                  <a:lnTo>
                    <a:pt x="291" y="3450"/>
                  </a:lnTo>
                  <a:close/>
                  <a:moveTo>
                    <a:pt x="312" y="3310"/>
                  </a:moveTo>
                  <a:lnTo>
                    <a:pt x="315" y="3311"/>
                  </a:lnTo>
                  <a:lnTo>
                    <a:pt x="317" y="3311"/>
                  </a:lnTo>
                  <a:lnTo>
                    <a:pt x="317" y="3309"/>
                  </a:lnTo>
                  <a:lnTo>
                    <a:pt x="318" y="3308"/>
                  </a:lnTo>
                  <a:lnTo>
                    <a:pt x="319" y="3308"/>
                  </a:lnTo>
                  <a:lnTo>
                    <a:pt x="320" y="3307"/>
                  </a:lnTo>
                  <a:lnTo>
                    <a:pt x="319" y="3306"/>
                  </a:lnTo>
                  <a:lnTo>
                    <a:pt x="319" y="3305"/>
                  </a:lnTo>
                  <a:lnTo>
                    <a:pt x="313" y="3303"/>
                  </a:lnTo>
                  <a:lnTo>
                    <a:pt x="311" y="3306"/>
                  </a:lnTo>
                  <a:lnTo>
                    <a:pt x="309" y="3307"/>
                  </a:lnTo>
                  <a:lnTo>
                    <a:pt x="309" y="3308"/>
                  </a:lnTo>
                  <a:lnTo>
                    <a:pt x="312" y="3310"/>
                  </a:lnTo>
                  <a:close/>
                  <a:moveTo>
                    <a:pt x="260" y="2852"/>
                  </a:moveTo>
                  <a:lnTo>
                    <a:pt x="260" y="2851"/>
                  </a:lnTo>
                  <a:lnTo>
                    <a:pt x="259" y="2850"/>
                  </a:lnTo>
                  <a:lnTo>
                    <a:pt x="258" y="2851"/>
                  </a:lnTo>
                  <a:lnTo>
                    <a:pt x="258" y="2852"/>
                  </a:lnTo>
                  <a:lnTo>
                    <a:pt x="259" y="2855"/>
                  </a:lnTo>
                  <a:lnTo>
                    <a:pt x="263" y="2858"/>
                  </a:lnTo>
                  <a:lnTo>
                    <a:pt x="265" y="2857"/>
                  </a:lnTo>
                  <a:lnTo>
                    <a:pt x="266" y="2855"/>
                  </a:lnTo>
                  <a:lnTo>
                    <a:pt x="269" y="2858"/>
                  </a:lnTo>
                  <a:lnTo>
                    <a:pt x="271" y="2857"/>
                  </a:lnTo>
                  <a:lnTo>
                    <a:pt x="271" y="2856"/>
                  </a:lnTo>
                  <a:lnTo>
                    <a:pt x="271" y="2852"/>
                  </a:lnTo>
                  <a:lnTo>
                    <a:pt x="270" y="2848"/>
                  </a:lnTo>
                  <a:lnTo>
                    <a:pt x="269" y="2844"/>
                  </a:lnTo>
                  <a:lnTo>
                    <a:pt x="267" y="2841"/>
                  </a:lnTo>
                  <a:lnTo>
                    <a:pt x="265" y="2839"/>
                  </a:lnTo>
                  <a:lnTo>
                    <a:pt x="261" y="2838"/>
                  </a:lnTo>
                  <a:lnTo>
                    <a:pt x="261" y="2837"/>
                  </a:lnTo>
                  <a:lnTo>
                    <a:pt x="260" y="2836"/>
                  </a:lnTo>
                  <a:lnTo>
                    <a:pt x="259" y="2836"/>
                  </a:lnTo>
                  <a:lnTo>
                    <a:pt x="258" y="2837"/>
                  </a:lnTo>
                  <a:lnTo>
                    <a:pt x="257" y="2839"/>
                  </a:lnTo>
                  <a:lnTo>
                    <a:pt x="257" y="2842"/>
                  </a:lnTo>
                  <a:lnTo>
                    <a:pt x="258" y="2844"/>
                  </a:lnTo>
                  <a:lnTo>
                    <a:pt x="260" y="2846"/>
                  </a:lnTo>
                  <a:lnTo>
                    <a:pt x="261" y="2848"/>
                  </a:lnTo>
                  <a:lnTo>
                    <a:pt x="261" y="2850"/>
                  </a:lnTo>
                  <a:lnTo>
                    <a:pt x="260" y="2852"/>
                  </a:lnTo>
                  <a:close/>
                  <a:moveTo>
                    <a:pt x="261" y="2743"/>
                  </a:moveTo>
                  <a:lnTo>
                    <a:pt x="255" y="2744"/>
                  </a:lnTo>
                  <a:lnTo>
                    <a:pt x="249" y="2738"/>
                  </a:lnTo>
                  <a:lnTo>
                    <a:pt x="249" y="2742"/>
                  </a:lnTo>
                  <a:lnTo>
                    <a:pt x="251" y="2753"/>
                  </a:lnTo>
                  <a:lnTo>
                    <a:pt x="252" y="2756"/>
                  </a:lnTo>
                  <a:lnTo>
                    <a:pt x="254" y="2760"/>
                  </a:lnTo>
                  <a:lnTo>
                    <a:pt x="258" y="2765"/>
                  </a:lnTo>
                  <a:lnTo>
                    <a:pt x="261" y="2767"/>
                  </a:lnTo>
                  <a:lnTo>
                    <a:pt x="261" y="2769"/>
                  </a:lnTo>
                  <a:lnTo>
                    <a:pt x="257" y="2769"/>
                  </a:lnTo>
                  <a:lnTo>
                    <a:pt x="259" y="2775"/>
                  </a:lnTo>
                  <a:lnTo>
                    <a:pt x="262" y="2775"/>
                  </a:lnTo>
                  <a:lnTo>
                    <a:pt x="264" y="2773"/>
                  </a:lnTo>
                  <a:lnTo>
                    <a:pt x="266" y="2772"/>
                  </a:lnTo>
                  <a:lnTo>
                    <a:pt x="269" y="2775"/>
                  </a:lnTo>
                  <a:lnTo>
                    <a:pt x="271" y="2780"/>
                  </a:lnTo>
                  <a:lnTo>
                    <a:pt x="273" y="2784"/>
                  </a:lnTo>
                  <a:lnTo>
                    <a:pt x="275" y="2786"/>
                  </a:lnTo>
                  <a:lnTo>
                    <a:pt x="281" y="2786"/>
                  </a:lnTo>
                  <a:lnTo>
                    <a:pt x="284" y="2784"/>
                  </a:lnTo>
                  <a:lnTo>
                    <a:pt x="286" y="2781"/>
                  </a:lnTo>
                  <a:lnTo>
                    <a:pt x="283" y="2779"/>
                  </a:lnTo>
                  <a:lnTo>
                    <a:pt x="282" y="2779"/>
                  </a:lnTo>
                  <a:lnTo>
                    <a:pt x="282" y="2777"/>
                  </a:lnTo>
                  <a:lnTo>
                    <a:pt x="294" y="2767"/>
                  </a:lnTo>
                  <a:lnTo>
                    <a:pt x="296" y="2767"/>
                  </a:lnTo>
                  <a:lnTo>
                    <a:pt x="294" y="2771"/>
                  </a:lnTo>
                  <a:lnTo>
                    <a:pt x="296" y="2773"/>
                  </a:lnTo>
                  <a:lnTo>
                    <a:pt x="300" y="2772"/>
                  </a:lnTo>
                  <a:lnTo>
                    <a:pt x="304" y="2769"/>
                  </a:lnTo>
                  <a:lnTo>
                    <a:pt x="303" y="2766"/>
                  </a:lnTo>
                  <a:lnTo>
                    <a:pt x="302" y="2762"/>
                  </a:lnTo>
                  <a:lnTo>
                    <a:pt x="302" y="2757"/>
                  </a:lnTo>
                  <a:lnTo>
                    <a:pt x="303" y="2753"/>
                  </a:lnTo>
                  <a:lnTo>
                    <a:pt x="299" y="2748"/>
                  </a:lnTo>
                  <a:lnTo>
                    <a:pt x="292" y="2748"/>
                  </a:lnTo>
                  <a:lnTo>
                    <a:pt x="286" y="2751"/>
                  </a:lnTo>
                  <a:lnTo>
                    <a:pt x="282" y="2755"/>
                  </a:lnTo>
                  <a:lnTo>
                    <a:pt x="282" y="2757"/>
                  </a:lnTo>
                  <a:lnTo>
                    <a:pt x="283" y="2759"/>
                  </a:lnTo>
                  <a:lnTo>
                    <a:pt x="283" y="2761"/>
                  </a:lnTo>
                  <a:lnTo>
                    <a:pt x="283" y="2764"/>
                  </a:lnTo>
                  <a:lnTo>
                    <a:pt x="281" y="2765"/>
                  </a:lnTo>
                  <a:lnTo>
                    <a:pt x="281" y="2764"/>
                  </a:lnTo>
                  <a:lnTo>
                    <a:pt x="279" y="2763"/>
                  </a:lnTo>
                  <a:lnTo>
                    <a:pt x="278" y="2762"/>
                  </a:lnTo>
                  <a:lnTo>
                    <a:pt x="269" y="2761"/>
                  </a:lnTo>
                  <a:lnTo>
                    <a:pt x="267" y="2760"/>
                  </a:lnTo>
                  <a:lnTo>
                    <a:pt x="268" y="2758"/>
                  </a:lnTo>
                  <a:lnTo>
                    <a:pt x="268" y="2758"/>
                  </a:lnTo>
                  <a:lnTo>
                    <a:pt x="267" y="2758"/>
                  </a:lnTo>
                  <a:lnTo>
                    <a:pt x="267" y="2755"/>
                  </a:lnTo>
                  <a:lnTo>
                    <a:pt x="270" y="2746"/>
                  </a:lnTo>
                  <a:lnTo>
                    <a:pt x="272" y="2744"/>
                  </a:lnTo>
                  <a:lnTo>
                    <a:pt x="275" y="2743"/>
                  </a:lnTo>
                  <a:lnTo>
                    <a:pt x="275" y="2740"/>
                  </a:lnTo>
                  <a:lnTo>
                    <a:pt x="268" y="2740"/>
                  </a:lnTo>
                  <a:lnTo>
                    <a:pt x="261" y="2743"/>
                  </a:lnTo>
                  <a:close/>
                  <a:moveTo>
                    <a:pt x="397" y="2742"/>
                  </a:moveTo>
                  <a:lnTo>
                    <a:pt x="399" y="2742"/>
                  </a:lnTo>
                  <a:lnTo>
                    <a:pt x="402" y="2740"/>
                  </a:lnTo>
                  <a:lnTo>
                    <a:pt x="404" y="2735"/>
                  </a:lnTo>
                  <a:lnTo>
                    <a:pt x="404" y="2733"/>
                  </a:lnTo>
                  <a:lnTo>
                    <a:pt x="400" y="2726"/>
                  </a:lnTo>
                  <a:lnTo>
                    <a:pt x="399" y="2726"/>
                  </a:lnTo>
                  <a:lnTo>
                    <a:pt x="398" y="2725"/>
                  </a:lnTo>
                  <a:lnTo>
                    <a:pt x="398" y="2725"/>
                  </a:lnTo>
                  <a:lnTo>
                    <a:pt x="397" y="2725"/>
                  </a:lnTo>
                  <a:lnTo>
                    <a:pt x="396" y="2725"/>
                  </a:lnTo>
                  <a:lnTo>
                    <a:pt x="397" y="2727"/>
                  </a:lnTo>
                  <a:lnTo>
                    <a:pt x="399" y="2729"/>
                  </a:lnTo>
                  <a:lnTo>
                    <a:pt x="399" y="2731"/>
                  </a:lnTo>
                  <a:lnTo>
                    <a:pt x="398" y="2731"/>
                  </a:lnTo>
                  <a:lnTo>
                    <a:pt x="395" y="2729"/>
                  </a:lnTo>
                  <a:lnTo>
                    <a:pt x="393" y="2730"/>
                  </a:lnTo>
                  <a:lnTo>
                    <a:pt x="391" y="2734"/>
                  </a:lnTo>
                  <a:lnTo>
                    <a:pt x="391" y="2739"/>
                  </a:lnTo>
                  <a:lnTo>
                    <a:pt x="391" y="2741"/>
                  </a:lnTo>
                  <a:lnTo>
                    <a:pt x="392" y="2742"/>
                  </a:lnTo>
                  <a:lnTo>
                    <a:pt x="393" y="2742"/>
                  </a:lnTo>
                  <a:lnTo>
                    <a:pt x="394" y="2741"/>
                  </a:lnTo>
                  <a:lnTo>
                    <a:pt x="394" y="2739"/>
                  </a:lnTo>
                  <a:lnTo>
                    <a:pt x="394" y="2738"/>
                  </a:lnTo>
                  <a:lnTo>
                    <a:pt x="395" y="2737"/>
                  </a:lnTo>
                  <a:lnTo>
                    <a:pt x="396" y="2738"/>
                  </a:lnTo>
                  <a:lnTo>
                    <a:pt x="396" y="2740"/>
                  </a:lnTo>
                  <a:lnTo>
                    <a:pt x="397" y="2742"/>
                  </a:lnTo>
                  <a:close/>
                  <a:moveTo>
                    <a:pt x="420" y="2738"/>
                  </a:moveTo>
                  <a:lnTo>
                    <a:pt x="424" y="2743"/>
                  </a:lnTo>
                  <a:lnTo>
                    <a:pt x="428" y="2743"/>
                  </a:lnTo>
                  <a:lnTo>
                    <a:pt x="430" y="2741"/>
                  </a:lnTo>
                  <a:lnTo>
                    <a:pt x="432" y="2736"/>
                  </a:lnTo>
                  <a:lnTo>
                    <a:pt x="433" y="2733"/>
                  </a:lnTo>
                  <a:lnTo>
                    <a:pt x="434" y="2731"/>
                  </a:lnTo>
                  <a:lnTo>
                    <a:pt x="433" y="2729"/>
                  </a:lnTo>
                  <a:lnTo>
                    <a:pt x="432" y="2725"/>
                  </a:lnTo>
                  <a:lnTo>
                    <a:pt x="432" y="2723"/>
                  </a:lnTo>
                  <a:lnTo>
                    <a:pt x="432" y="2720"/>
                  </a:lnTo>
                  <a:lnTo>
                    <a:pt x="431" y="2720"/>
                  </a:lnTo>
                  <a:lnTo>
                    <a:pt x="430" y="2720"/>
                  </a:lnTo>
                  <a:lnTo>
                    <a:pt x="429" y="2722"/>
                  </a:lnTo>
                  <a:lnTo>
                    <a:pt x="428" y="2725"/>
                  </a:lnTo>
                  <a:lnTo>
                    <a:pt x="428" y="2727"/>
                  </a:lnTo>
                  <a:lnTo>
                    <a:pt x="427" y="2729"/>
                  </a:lnTo>
                  <a:lnTo>
                    <a:pt x="426" y="2730"/>
                  </a:lnTo>
                  <a:lnTo>
                    <a:pt x="425" y="2730"/>
                  </a:lnTo>
                  <a:lnTo>
                    <a:pt x="424" y="2729"/>
                  </a:lnTo>
                  <a:lnTo>
                    <a:pt x="423" y="2727"/>
                  </a:lnTo>
                  <a:lnTo>
                    <a:pt x="422" y="2727"/>
                  </a:lnTo>
                  <a:lnTo>
                    <a:pt x="421" y="2728"/>
                  </a:lnTo>
                  <a:lnTo>
                    <a:pt x="421" y="2730"/>
                  </a:lnTo>
                  <a:lnTo>
                    <a:pt x="420" y="2730"/>
                  </a:lnTo>
                  <a:lnTo>
                    <a:pt x="418" y="2728"/>
                  </a:lnTo>
                  <a:lnTo>
                    <a:pt x="417" y="2726"/>
                  </a:lnTo>
                  <a:lnTo>
                    <a:pt x="416" y="2725"/>
                  </a:lnTo>
                  <a:lnTo>
                    <a:pt x="414" y="2725"/>
                  </a:lnTo>
                  <a:lnTo>
                    <a:pt x="412" y="2724"/>
                  </a:lnTo>
                  <a:lnTo>
                    <a:pt x="409" y="2726"/>
                  </a:lnTo>
                  <a:lnTo>
                    <a:pt x="407" y="2726"/>
                  </a:lnTo>
                  <a:lnTo>
                    <a:pt x="406" y="2727"/>
                  </a:lnTo>
                  <a:lnTo>
                    <a:pt x="406" y="2729"/>
                  </a:lnTo>
                  <a:lnTo>
                    <a:pt x="408" y="2732"/>
                  </a:lnTo>
                  <a:lnTo>
                    <a:pt x="409" y="2736"/>
                  </a:lnTo>
                  <a:lnTo>
                    <a:pt x="408" y="2738"/>
                  </a:lnTo>
                  <a:lnTo>
                    <a:pt x="407" y="2739"/>
                  </a:lnTo>
                  <a:lnTo>
                    <a:pt x="406" y="2740"/>
                  </a:lnTo>
                  <a:lnTo>
                    <a:pt x="405" y="2741"/>
                  </a:lnTo>
                  <a:lnTo>
                    <a:pt x="407" y="2743"/>
                  </a:lnTo>
                  <a:lnTo>
                    <a:pt x="408" y="2744"/>
                  </a:lnTo>
                  <a:lnTo>
                    <a:pt x="407" y="2746"/>
                  </a:lnTo>
                  <a:lnTo>
                    <a:pt x="408" y="2747"/>
                  </a:lnTo>
                  <a:lnTo>
                    <a:pt x="417" y="2751"/>
                  </a:lnTo>
                  <a:lnTo>
                    <a:pt x="417" y="2751"/>
                  </a:lnTo>
                  <a:lnTo>
                    <a:pt x="417" y="2750"/>
                  </a:lnTo>
                  <a:lnTo>
                    <a:pt x="418" y="2750"/>
                  </a:lnTo>
                  <a:lnTo>
                    <a:pt x="420" y="2749"/>
                  </a:lnTo>
                  <a:lnTo>
                    <a:pt x="421" y="2747"/>
                  </a:lnTo>
                  <a:lnTo>
                    <a:pt x="420" y="2743"/>
                  </a:lnTo>
                  <a:lnTo>
                    <a:pt x="417" y="2741"/>
                  </a:lnTo>
                  <a:lnTo>
                    <a:pt x="413" y="2740"/>
                  </a:lnTo>
                  <a:lnTo>
                    <a:pt x="413" y="2740"/>
                  </a:lnTo>
                  <a:lnTo>
                    <a:pt x="420" y="2738"/>
                  </a:lnTo>
                  <a:close/>
                  <a:moveTo>
                    <a:pt x="282" y="2733"/>
                  </a:moveTo>
                  <a:lnTo>
                    <a:pt x="285" y="2732"/>
                  </a:lnTo>
                  <a:lnTo>
                    <a:pt x="286" y="2732"/>
                  </a:lnTo>
                  <a:lnTo>
                    <a:pt x="286" y="2738"/>
                  </a:lnTo>
                  <a:lnTo>
                    <a:pt x="293" y="2728"/>
                  </a:lnTo>
                  <a:lnTo>
                    <a:pt x="295" y="2722"/>
                  </a:lnTo>
                  <a:lnTo>
                    <a:pt x="295" y="2716"/>
                  </a:lnTo>
                  <a:lnTo>
                    <a:pt x="291" y="2711"/>
                  </a:lnTo>
                  <a:lnTo>
                    <a:pt x="285" y="2714"/>
                  </a:lnTo>
                  <a:lnTo>
                    <a:pt x="280" y="2720"/>
                  </a:lnTo>
                  <a:lnTo>
                    <a:pt x="276" y="2721"/>
                  </a:lnTo>
                  <a:lnTo>
                    <a:pt x="274" y="2722"/>
                  </a:lnTo>
                  <a:lnTo>
                    <a:pt x="273" y="2722"/>
                  </a:lnTo>
                  <a:lnTo>
                    <a:pt x="272" y="2724"/>
                  </a:lnTo>
                  <a:lnTo>
                    <a:pt x="280" y="2733"/>
                  </a:lnTo>
                  <a:lnTo>
                    <a:pt x="282" y="2733"/>
                  </a:lnTo>
                  <a:close/>
                  <a:moveTo>
                    <a:pt x="408" y="2704"/>
                  </a:moveTo>
                  <a:lnTo>
                    <a:pt x="406" y="2704"/>
                  </a:lnTo>
                  <a:lnTo>
                    <a:pt x="405" y="2703"/>
                  </a:lnTo>
                  <a:lnTo>
                    <a:pt x="404" y="2703"/>
                  </a:lnTo>
                  <a:lnTo>
                    <a:pt x="402" y="2703"/>
                  </a:lnTo>
                  <a:lnTo>
                    <a:pt x="400" y="2704"/>
                  </a:lnTo>
                  <a:lnTo>
                    <a:pt x="397" y="2704"/>
                  </a:lnTo>
                  <a:lnTo>
                    <a:pt x="394" y="2704"/>
                  </a:lnTo>
                  <a:lnTo>
                    <a:pt x="393" y="2706"/>
                  </a:lnTo>
                  <a:lnTo>
                    <a:pt x="392" y="2708"/>
                  </a:lnTo>
                  <a:lnTo>
                    <a:pt x="391" y="2710"/>
                  </a:lnTo>
                  <a:lnTo>
                    <a:pt x="390" y="2711"/>
                  </a:lnTo>
                  <a:lnTo>
                    <a:pt x="389" y="2713"/>
                  </a:lnTo>
                  <a:lnTo>
                    <a:pt x="388" y="2715"/>
                  </a:lnTo>
                  <a:lnTo>
                    <a:pt x="388" y="2716"/>
                  </a:lnTo>
                  <a:lnTo>
                    <a:pt x="387" y="2718"/>
                  </a:lnTo>
                  <a:lnTo>
                    <a:pt x="387" y="2720"/>
                  </a:lnTo>
                  <a:lnTo>
                    <a:pt x="386" y="2720"/>
                  </a:lnTo>
                  <a:lnTo>
                    <a:pt x="387" y="2722"/>
                  </a:lnTo>
                  <a:lnTo>
                    <a:pt x="388" y="2723"/>
                  </a:lnTo>
                  <a:lnTo>
                    <a:pt x="389" y="2722"/>
                  </a:lnTo>
                  <a:lnTo>
                    <a:pt x="392" y="2719"/>
                  </a:lnTo>
                  <a:lnTo>
                    <a:pt x="394" y="2717"/>
                  </a:lnTo>
                  <a:lnTo>
                    <a:pt x="395" y="2715"/>
                  </a:lnTo>
                  <a:lnTo>
                    <a:pt x="397" y="2711"/>
                  </a:lnTo>
                  <a:lnTo>
                    <a:pt x="399" y="2711"/>
                  </a:lnTo>
                  <a:lnTo>
                    <a:pt x="404" y="2713"/>
                  </a:lnTo>
                  <a:lnTo>
                    <a:pt x="407" y="2713"/>
                  </a:lnTo>
                  <a:lnTo>
                    <a:pt x="408" y="2710"/>
                  </a:lnTo>
                  <a:lnTo>
                    <a:pt x="408" y="2708"/>
                  </a:lnTo>
                  <a:lnTo>
                    <a:pt x="408" y="2707"/>
                  </a:lnTo>
                  <a:lnTo>
                    <a:pt x="409" y="2706"/>
                  </a:lnTo>
                  <a:lnTo>
                    <a:pt x="410" y="2706"/>
                  </a:lnTo>
                  <a:lnTo>
                    <a:pt x="410" y="2704"/>
                  </a:lnTo>
                  <a:lnTo>
                    <a:pt x="409" y="2704"/>
                  </a:lnTo>
                  <a:lnTo>
                    <a:pt x="408" y="2704"/>
                  </a:lnTo>
                  <a:close/>
                  <a:moveTo>
                    <a:pt x="521" y="2577"/>
                  </a:moveTo>
                  <a:lnTo>
                    <a:pt x="522" y="2578"/>
                  </a:lnTo>
                  <a:lnTo>
                    <a:pt x="523" y="2575"/>
                  </a:lnTo>
                  <a:lnTo>
                    <a:pt x="524" y="2573"/>
                  </a:lnTo>
                  <a:lnTo>
                    <a:pt x="524" y="2571"/>
                  </a:lnTo>
                  <a:lnTo>
                    <a:pt x="525" y="2569"/>
                  </a:lnTo>
                  <a:lnTo>
                    <a:pt x="525" y="2567"/>
                  </a:lnTo>
                  <a:lnTo>
                    <a:pt x="525" y="2566"/>
                  </a:lnTo>
                  <a:lnTo>
                    <a:pt x="526" y="2566"/>
                  </a:lnTo>
                  <a:lnTo>
                    <a:pt x="526" y="2564"/>
                  </a:lnTo>
                  <a:lnTo>
                    <a:pt x="525" y="2563"/>
                  </a:lnTo>
                  <a:lnTo>
                    <a:pt x="523" y="2563"/>
                  </a:lnTo>
                  <a:lnTo>
                    <a:pt x="522" y="2564"/>
                  </a:lnTo>
                  <a:lnTo>
                    <a:pt x="522" y="2564"/>
                  </a:lnTo>
                  <a:lnTo>
                    <a:pt x="521" y="2564"/>
                  </a:lnTo>
                  <a:lnTo>
                    <a:pt x="520" y="2562"/>
                  </a:lnTo>
                  <a:lnTo>
                    <a:pt x="519" y="2559"/>
                  </a:lnTo>
                  <a:lnTo>
                    <a:pt x="516" y="2559"/>
                  </a:lnTo>
                  <a:lnTo>
                    <a:pt x="512" y="2561"/>
                  </a:lnTo>
                  <a:lnTo>
                    <a:pt x="509" y="2564"/>
                  </a:lnTo>
                  <a:lnTo>
                    <a:pt x="508" y="2565"/>
                  </a:lnTo>
                  <a:lnTo>
                    <a:pt x="506" y="2567"/>
                  </a:lnTo>
                  <a:lnTo>
                    <a:pt x="503" y="2569"/>
                  </a:lnTo>
                  <a:lnTo>
                    <a:pt x="503" y="2571"/>
                  </a:lnTo>
                  <a:lnTo>
                    <a:pt x="504" y="2572"/>
                  </a:lnTo>
                  <a:lnTo>
                    <a:pt x="505" y="2574"/>
                  </a:lnTo>
                  <a:lnTo>
                    <a:pt x="506" y="2579"/>
                  </a:lnTo>
                  <a:lnTo>
                    <a:pt x="509" y="2582"/>
                  </a:lnTo>
                  <a:lnTo>
                    <a:pt x="512" y="2584"/>
                  </a:lnTo>
                  <a:lnTo>
                    <a:pt x="515" y="2584"/>
                  </a:lnTo>
                  <a:lnTo>
                    <a:pt x="516" y="2582"/>
                  </a:lnTo>
                  <a:lnTo>
                    <a:pt x="518" y="2582"/>
                  </a:lnTo>
                  <a:lnTo>
                    <a:pt x="519" y="2579"/>
                  </a:lnTo>
                  <a:lnTo>
                    <a:pt x="518" y="2577"/>
                  </a:lnTo>
                  <a:lnTo>
                    <a:pt x="519" y="2576"/>
                  </a:lnTo>
                  <a:lnTo>
                    <a:pt x="521" y="2577"/>
                  </a:lnTo>
                  <a:close/>
                  <a:moveTo>
                    <a:pt x="852" y="2083"/>
                  </a:moveTo>
                  <a:lnTo>
                    <a:pt x="845" y="2080"/>
                  </a:lnTo>
                  <a:lnTo>
                    <a:pt x="830" y="2084"/>
                  </a:lnTo>
                  <a:lnTo>
                    <a:pt x="816" y="2085"/>
                  </a:lnTo>
                  <a:lnTo>
                    <a:pt x="805" y="2097"/>
                  </a:lnTo>
                  <a:lnTo>
                    <a:pt x="802" y="2101"/>
                  </a:lnTo>
                  <a:lnTo>
                    <a:pt x="803" y="2107"/>
                  </a:lnTo>
                  <a:lnTo>
                    <a:pt x="804" y="2112"/>
                  </a:lnTo>
                  <a:lnTo>
                    <a:pt x="807" y="2118"/>
                  </a:lnTo>
                  <a:lnTo>
                    <a:pt x="813" y="2128"/>
                  </a:lnTo>
                  <a:lnTo>
                    <a:pt x="817" y="2126"/>
                  </a:lnTo>
                  <a:lnTo>
                    <a:pt x="821" y="2117"/>
                  </a:lnTo>
                  <a:lnTo>
                    <a:pt x="823" y="2120"/>
                  </a:lnTo>
                  <a:lnTo>
                    <a:pt x="824" y="2124"/>
                  </a:lnTo>
                  <a:lnTo>
                    <a:pt x="825" y="2126"/>
                  </a:lnTo>
                  <a:lnTo>
                    <a:pt x="823" y="2131"/>
                  </a:lnTo>
                  <a:lnTo>
                    <a:pt x="825" y="2134"/>
                  </a:lnTo>
                  <a:lnTo>
                    <a:pt x="829" y="2134"/>
                  </a:lnTo>
                  <a:lnTo>
                    <a:pt x="832" y="2133"/>
                  </a:lnTo>
                  <a:lnTo>
                    <a:pt x="833" y="2132"/>
                  </a:lnTo>
                  <a:lnTo>
                    <a:pt x="835" y="2129"/>
                  </a:lnTo>
                  <a:lnTo>
                    <a:pt x="836" y="2128"/>
                  </a:lnTo>
                  <a:lnTo>
                    <a:pt x="838" y="2128"/>
                  </a:lnTo>
                  <a:lnTo>
                    <a:pt x="840" y="2128"/>
                  </a:lnTo>
                  <a:lnTo>
                    <a:pt x="842" y="2128"/>
                  </a:lnTo>
                  <a:lnTo>
                    <a:pt x="843" y="2126"/>
                  </a:lnTo>
                  <a:lnTo>
                    <a:pt x="841" y="2123"/>
                  </a:lnTo>
                  <a:lnTo>
                    <a:pt x="831" y="2124"/>
                  </a:lnTo>
                  <a:lnTo>
                    <a:pt x="827" y="2114"/>
                  </a:lnTo>
                  <a:lnTo>
                    <a:pt x="839" y="2106"/>
                  </a:lnTo>
                  <a:lnTo>
                    <a:pt x="842" y="2099"/>
                  </a:lnTo>
                  <a:lnTo>
                    <a:pt x="852" y="2099"/>
                  </a:lnTo>
                  <a:lnTo>
                    <a:pt x="865" y="2102"/>
                  </a:lnTo>
                  <a:lnTo>
                    <a:pt x="875" y="2103"/>
                  </a:lnTo>
                  <a:lnTo>
                    <a:pt x="881" y="2099"/>
                  </a:lnTo>
                  <a:lnTo>
                    <a:pt x="876" y="2094"/>
                  </a:lnTo>
                  <a:lnTo>
                    <a:pt x="870" y="2095"/>
                  </a:lnTo>
                  <a:lnTo>
                    <a:pt x="861" y="2093"/>
                  </a:lnTo>
                  <a:lnTo>
                    <a:pt x="856" y="2093"/>
                  </a:lnTo>
                  <a:lnTo>
                    <a:pt x="852" y="2093"/>
                  </a:lnTo>
                  <a:lnTo>
                    <a:pt x="851" y="2091"/>
                  </a:lnTo>
                  <a:lnTo>
                    <a:pt x="855" y="2088"/>
                  </a:lnTo>
                  <a:lnTo>
                    <a:pt x="852" y="2083"/>
                  </a:lnTo>
                  <a:close/>
                  <a:moveTo>
                    <a:pt x="1908" y="2867"/>
                  </a:moveTo>
                  <a:lnTo>
                    <a:pt x="1906" y="2859"/>
                  </a:lnTo>
                  <a:lnTo>
                    <a:pt x="1903" y="2850"/>
                  </a:lnTo>
                  <a:lnTo>
                    <a:pt x="1900" y="2844"/>
                  </a:lnTo>
                  <a:lnTo>
                    <a:pt x="1898" y="2842"/>
                  </a:lnTo>
                  <a:lnTo>
                    <a:pt x="1894" y="2838"/>
                  </a:lnTo>
                  <a:lnTo>
                    <a:pt x="1884" y="2822"/>
                  </a:lnTo>
                  <a:lnTo>
                    <a:pt x="1879" y="2817"/>
                  </a:lnTo>
                  <a:lnTo>
                    <a:pt x="1869" y="2809"/>
                  </a:lnTo>
                  <a:lnTo>
                    <a:pt x="1865" y="2804"/>
                  </a:lnTo>
                  <a:lnTo>
                    <a:pt x="1863" y="2799"/>
                  </a:lnTo>
                  <a:lnTo>
                    <a:pt x="1862" y="2792"/>
                  </a:lnTo>
                  <a:lnTo>
                    <a:pt x="1860" y="2784"/>
                  </a:lnTo>
                  <a:lnTo>
                    <a:pt x="1860" y="2778"/>
                  </a:lnTo>
                  <a:lnTo>
                    <a:pt x="1859" y="2770"/>
                  </a:lnTo>
                  <a:lnTo>
                    <a:pt x="1856" y="2764"/>
                  </a:lnTo>
                  <a:lnTo>
                    <a:pt x="1852" y="2760"/>
                  </a:lnTo>
                  <a:lnTo>
                    <a:pt x="1819" y="2738"/>
                  </a:lnTo>
                  <a:lnTo>
                    <a:pt x="1795" y="2707"/>
                  </a:lnTo>
                  <a:lnTo>
                    <a:pt x="1742" y="2676"/>
                  </a:lnTo>
                  <a:lnTo>
                    <a:pt x="1738" y="2673"/>
                  </a:lnTo>
                  <a:lnTo>
                    <a:pt x="1735" y="2666"/>
                  </a:lnTo>
                  <a:lnTo>
                    <a:pt x="1725" y="2652"/>
                  </a:lnTo>
                  <a:lnTo>
                    <a:pt x="1703" y="2634"/>
                  </a:lnTo>
                  <a:lnTo>
                    <a:pt x="1665" y="2586"/>
                  </a:lnTo>
                  <a:lnTo>
                    <a:pt x="1662" y="2577"/>
                  </a:lnTo>
                  <a:lnTo>
                    <a:pt x="1664" y="2575"/>
                  </a:lnTo>
                  <a:lnTo>
                    <a:pt x="1673" y="2569"/>
                  </a:lnTo>
                  <a:lnTo>
                    <a:pt x="1697" y="2559"/>
                  </a:lnTo>
                  <a:lnTo>
                    <a:pt x="1707" y="2545"/>
                  </a:lnTo>
                  <a:lnTo>
                    <a:pt x="1717" y="2521"/>
                  </a:lnTo>
                  <a:lnTo>
                    <a:pt x="1746" y="2487"/>
                  </a:lnTo>
                  <a:lnTo>
                    <a:pt x="1746" y="2487"/>
                  </a:lnTo>
                  <a:lnTo>
                    <a:pt x="1752" y="2476"/>
                  </a:lnTo>
                  <a:lnTo>
                    <a:pt x="1757" y="2465"/>
                  </a:lnTo>
                  <a:lnTo>
                    <a:pt x="1758" y="2453"/>
                  </a:lnTo>
                  <a:lnTo>
                    <a:pt x="1754" y="2437"/>
                  </a:lnTo>
                  <a:lnTo>
                    <a:pt x="1751" y="2431"/>
                  </a:lnTo>
                  <a:lnTo>
                    <a:pt x="1749" y="2425"/>
                  </a:lnTo>
                  <a:lnTo>
                    <a:pt x="1749" y="2419"/>
                  </a:lnTo>
                  <a:lnTo>
                    <a:pt x="1752" y="2412"/>
                  </a:lnTo>
                  <a:lnTo>
                    <a:pt x="1753" y="2404"/>
                  </a:lnTo>
                  <a:lnTo>
                    <a:pt x="1750" y="2398"/>
                  </a:lnTo>
                  <a:lnTo>
                    <a:pt x="1745" y="2395"/>
                  </a:lnTo>
                  <a:lnTo>
                    <a:pt x="1735" y="2393"/>
                  </a:lnTo>
                  <a:lnTo>
                    <a:pt x="1732" y="2388"/>
                  </a:lnTo>
                  <a:lnTo>
                    <a:pt x="1728" y="2381"/>
                  </a:lnTo>
                  <a:lnTo>
                    <a:pt x="1723" y="2374"/>
                  </a:lnTo>
                  <a:lnTo>
                    <a:pt x="1716" y="2368"/>
                  </a:lnTo>
                  <a:lnTo>
                    <a:pt x="1691" y="2359"/>
                  </a:lnTo>
                  <a:lnTo>
                    <a:pt x="1679" y="2352"/>
                  </a:lnTo>
                  <a:lnTo>
                    <a:pt x="1673" y="2346"/>
                  </a:lnTo>
                  <a:lnTo>
                    <a:pt x="1670" y="2339"/>
                  </a:lnTo>
                  <a:lnTo>
                    <a:pt x="1671" y="2330"/>
                  </a:lnTo>
                  <a:lnTo>
                    <a:pt x="1674" y="2320"/>
                  </a:lnTo>
                  <a:lnTo>
                    <a:pt x="1676" y="2312"/>
                  </a:lnTo>
                  <a:lnTo>
                    <a:pt x="1670" y="2305"/>
                  </a:lnTo>
                  <a:lnTo>
                    <a:pt x="1663" y="2300"/>
                  </a:lnTo>
                  <a:lnTo>
                    <a:pt x="1663" y="2297"/>
                  </a:lnTo>
                  <a:lnTo>
                    <a:pt x="1663" y="2296"/>
                  </a:lnTo>
                  <a:lnTo>
                    <a:pt x="1662" y="2295"/>
                  </a:lnTo>
                  <a:lnTo>
                    <a:pt x="1661" y="2295"/>
                  </a:lnTo>
                  <a:lnTo>
                    <a:pt x="1661" y="2294"/>
                  </a:lnTo>
                  <a:lnTo>
                    <a:pt x="1661" y="2292"/>
                  </a:lnTo>
                  <a:lnTo>
                    <a:pt x="1662" y="2291"/>
                  </a:lnTo>
                  <a:lnTo>
                    <a:pt x="1660" y="2288"/>
                  </a:lnTo>
                  <a:lnTo>
                    <a:pt x="1660" y="2285"/>
                  </a:lnTo>
                  <a:lnTo>
                    <a:pt x="1659" y="2278"/>
                  </a:lnTo>
                  <a:lnTo>
                    <a:pt x="1659" y="2278"/>
                  </a:lnTo>
                  <a:lnTo>
                    <a:pt x="1658" y="2277"/>
                  </a:lnTo>
                  <a:lnTo>
                    <a:pt x="1658" y="2276"/>
                  </a:lnTo>
                  <a:lnTo>
                    <a:pt x="1658" y="2274"/>
                  </a:lnTo>
                  <a:lnTo>
                    <a:pt x="1659" y="2272"/>
                  </a:lnTo>
                  <a:lnTo>
                    <a:pt x="1686" y="2259"/>
                  </a:lnTo>
                  <a:lnTo>
                    <a:pt x="1690" y="2255"/>
                  </a:lnTo>
                  <a:lnTo>
                    <a:pt x="1693" y="2249"/>
                  </a:lnTo>
                  <a:lnTo>
                    <a:pt x="1694" y="2241"/>
                  </a:lnTo>
                  <a:lnTo>
                    <a:pt x="1692" y="2234"/>
                  </a:lnTo>
                  <a:lnTo>
                    <a:pt x="1685" y="2227"/>
                  </a:lnTo>
                  <a:lnTo>
                    <a:pt x="1684" y="2224"/>
                  </a:lnTo>
                  <a:lnTo>
                    <a:pt x="1682" y="2220"/>
                  </a:lnTo>
                  <a:lnTo>
                    <a:pt x="1682" y="2218"/>
                  </a:lnTo>
                  <a:lnTo>
                    <a:pt x="1682" y="2216"/>
                  </a:lnTo>
                  <a:lnTo>
                    <a:pt x="1682" y="2211"/>
                  </a:lnTo>
                  <a:lnTo>
                    <a:pt x="1683" y="2207"/>
                  </a:lnTo>
                  <a:lnTo>
                    <a:pt x="1684" y="2205"/>
                  </a:lnTo>
                  <a:lnTo>
                    <a:pt x="1683" y="2202"/>
                  </a:lnTo>
                  <a:lnTo>
                    <a:pt x="1681" y="2199"/>
                  </a:lnTo>
                  <a:lnTo>
                    <a:pt x="1674" y="2196"/>
                  </a:lnTo>
                  <a:lnTo>
                    <a:pt x="1645" y="2196"/>
                  </a:lnTo>
                  <a:lnTo>
                    <a:pt x="1630" y="2192"/>
                  </a:lnTo>
                  <a:lnTo>
                    <a:pt x="1617" y="2176"/>
                  </a:lnTo>
                  <a:lnTo>
                    <a:pt x="1606" y="2150"/>
                  </a:lnTo>
                  <a:lnTo>
                    <a:pt x="1599" y="2119"/>
                  </a:lnTo>
                  <a:lnTo>
                    <a:pt x="1601" y="2103"/>
                  </a:lnTo>
                  <a:lnTo>
                    <a:pt x="1605" y="2092"/>
                  </a:lnTo>
                  <a:lnTo>
                    <a:pt x="1612" y="2086"/>
                  </a:lnTo>
                  <a:lnTo>
                    <a:pt x="1636" y="2080"/>
                  </a:lnTo>
                  <a:lnTo>
                    <a:pt x="1640" y="2075"/>
                  </a:lnTo>
                  <a:lnTo>
                    <a:pt x="1641" y="2070"/>
                  </a:lnTo>
                  <a:lnTo>
                    <a:pt x="1639" y="2069"/>
                  </a:lnTo>
                  <a:lnTo>
                    <a:pt x="1636" y="2068"/>
                  </a:lnTo>
                  <a:lnTo>
                    <a:pt x="1634" y="2065"/>
                  </a:lnTo>
                  <a:lnTo>
                    <a:pt x="1634" y="2061"/>
                  </a:lnTo>
                  <a:lnTo>
                    <a:pt x="1636" y="2058"/>
                  </a:lnTo>
                  <a:lnTo>
                    <a:pt x="1638" y="2056"/>
                  </a:lnTo>
                  <a:lnTo>
                    <a:pt x="1639" y="2053"/>
                  </a:lnTo>
                  <a:lnTo>
                    <a:pt x="1638" y="2038"/>
                  </a:lnTo>
                  <a:lnTo>
                    <a:pt x="1628" y="2034"/>
                  </a:lnTo>
                  <a:lnTo>
                    <a:pt x="1605" y="2034"/>
                  </a:lnTo>
                  <a:lnTo>
                    <a:pt x="1598" y="2027"/>
                  </a:lnTo>
                  <a:lnTo>
                    <a:pt x="1604" y="2014"/>
                  </a:lnTo>
                  <a:lnTo>
                    <a:pt x="1620" y="1991"/>
                  </a:lnTo>
                  <a:lnTo>
                    <a:pt x="1622" y="1977"/>
                  </a:lnTo>
                  <a:lnTo>
                    <a:pt x="1620" y="1943"/>
                  </a:lnTo>
                  <a:lnTo>
                    <a:pt x="1621" y="1929"/>
                  </a:lnTo>
                  <a:lnTo>
                    <a:pt x="1621" y="1929"/>
                  </a:lnTo>
                  <a:lnTo>
                    <a:pt x="1622" y="1927"/>
                  </a:lnTo>
                  <a:lnTo>
                    <a:pt x="1624" y="1922"/>
                  </a:lnTo>
                  <a:lnTo>
                    <a:pt x="1637" y="1906"/>
                  </a:lnTo>
                  <a:lnTo>
                    <a:pt x="1639" y="1901"/>
                  </a:lnTo>
                  <a:lnTo>
                    <a:pt x="1634" y="1894"/>
                  </a:lnTo>
                  <a:lnTo>
                    <a:pt x="1622" y="1885"/>
                  </a:lnTo>
                  <a:lnTo>
                    <a:pt x="1617" y="1876"/>
                  </a:lnTo>
                  <a:lnTo>
                    <a:pt x="1627" y="1869"/>
                  </a:lnTo>
                  <a:lnTo>
                    <a:pt x="1665" y="1858"/>
                  </a:lnTo>
                  <a:lnTo>
                    <a:pt x="1675" y="1864"/>
                  </a:lnTo>
                  <a:lnTo>
                    <a:pt x="1680" y="1866"/>
                  </a:lnTo>
                  <a:lnTo>
                    <a:pt x="1683" y="1863"/>
                  </a:lnTo>
                  <a:lnTo>
                    <a:pt x="1683" y="1854"/>
                  </a:lnTo>
                  <a:lnTo>
                    <a:pt x="1682" y="1845"/>
                  </a:lnTo>
                  <a:lnTo>
                    <a:pt x="1678" y="1809"/>
                  </a:lnTo>
                  <a:lnTo>
                    <a:pt x="1677" y="1802"/>
                  </a:lnTo>
                  <a:lnTo>
                    <a:pt x="1671" y="1786"/>
                  </a:lnTo>
                  <a:lnTo>
                    <a:pt x="1666" y="1766"/>
                  </a:lnTo>
                  <a:lnTo>
                    <a:pt x="1664" y="1760"/>
                  </a:lnTo>
                  <a:lnTo>
                    <a:pt x="1658" y="1743"/>
                  </a:lnTo>
                  <a:lnTo>
                    <a:pt x="1656" y="1737"/>
                  </a:lnTo>
                  <a:lnTo>
                    <a:pt x="1652" y="1706"/>
                  </a:lnTo>
                  <a:lnTo>
                    <a:pt x="1649" y="1691"/>
                  </a:lnTo>
                  <a:lnTo>
                    <a:pt x="1645" y="1681"/>
                  </a:lnTo>
                  <a:lnTo>
                    <a:pt x="1632" y="1662"/>
                  </a:lnTo>
                  <a:lnTo>
                    <a:pt x="1609" y="1620"/>
                  </a:lnTo>
                  <a:lnTo>
                    <a:pt x="1600" y="1597"/>
                  </a:lnTo>
                  <a:lnTo>
                    <a:pt x="1596" y="1585"/>
                  </a:lnTo>
                  <a:lnTo>
                    <a:pt x="1593" y="1571"/>
                  </a:lnTo>
                  <a:lnTo>
                    <a:pt x="1593" y="1563"/>
                  </a:lnTo>
                  <a:lnTo>
                    <a:pt x="1591" y="1547"/>
                  </a:lnTo>
                  <a:lnTo>
                    <a:pt x="1589" y="1540"/>
                  </a:lnTo>
                  <a:lnTo>
                    <a:pt x="1571" y="1509"/>
                  </a:lnTo>
                  <a:lnTo>
                    <a:pt x="1570" y="1506"/>
                  </a:lnTo>
                  <a:lnTo>
                    <a:pt x="1569" y="1502"/>
                  </a:lnTo>
                  <a:lnTo>
                    <a:pt x="1569" y="1498"/>
                  </a:lnTo>
                  <a:lnTo>
                    <a:pt x="1568" y="1494"/>
                  </a:lnTo>
                  <a:lnTo>
                    <a:pt x="1564" y="1487"/>
                  </a:lnTo>
                  <a:lnTo>
                    <a:pt x="1563" y="1486"/>
                  </a:lnTo>
                  <a:lnTo>
                    <a:pt x="1557" y="1464"/>
                  </a:lnTo>
                  <a:lnTo>
                    <a:pt x="1520" y="1401"/>
                  </a:lnTo>
                  <a:lnTo>
                    <a:pt x="1514" y="1373"/>
                  </a:lnTo>
                  <a:lnTo>
                    <a:pt x="1522" y="1339"/>
                  </a:lnTo>
                  <a:lnTo>
                    <a:pt x="1522" y="1339"/>
                  </a:lnTo>
                  <a:lnTo>
                    <a:pt x="1522" y="1339"/>
                  </a:lnTo>
                  <a:lnTo>
                    <a:pt x="1522" y="1339"/>
                  </a:lnTo>
                  <a:lnTo>
                    <a:pt x="1574" y="1240"/>
                  </a:lnTo>
                  <a:lnTo>
                    <a:pt x="1582" y="1231"/>
                  </a:lnTo>
                  <a:lnTo>
                    <a:pt x="1584" y="1228"/>
                  </a:lnTo>
                  <a:lnTo>
                    <a:pt x="1585" y="1225"/>
                  </a:lnTo>
                  <a:lnTo>
                    <a:pt x="1586" y="1218"/>
                  </a:lnTo>
                  <a:lnTo>
                    <a:pt x="1588" y="1214"/>
                  </a:lnTo>
                  <a:lnTo>
                    <a:pt x="1651" y="1127"/>
                  </a:lnTo>
                  <a:lnTo>
                    <a:pt x="1654" y="1119"/>
                  </a:lnTo>
                  <a:lnTo>
                    <a:pt x="1658" y="1101"/>
                  </a:lnTo>
                  <a:lnTo>
                    <a:pt x="1659" y="1095"/>
                  </a:lnTo>
                  <a:lnTo>
                    <a:pt x="1660" y="1068"/>
                  </a:lnTo>
                  <a:lnTo>
                    <a:pt x="1661" y="1063"/>
                  </a:lnTo>
                  <a:lnTo>
                    <a:pt x="1663" y="1058"/>
                  </a:lnTo>
                  <a:lnTo>
                    <a:pt x="1666" y="1053"/>
                  </a:lnTo>
                  <a:lnTo>
                    <a:pt x="1619" y="1008"/>
                  </a:lnTo>
                  <a:lnTo>
                    <a:pt x="1609" y="995"/>
                  </a:lnTo>
                  <a:lnTo>
                    <a:pt x="1582" y="938"/>
                  </a:lnTo>
                  <a:lnTo>
                    <a:pt x="1576" y="925"/>
                  </a:lnTo>
                  <a:lnTo>
                    <a:pt x="1576" y="925"/>
                  </a:lnTo>
                  <a:lnTo>
                    <a:pt x="1563" y="897"/>
                  </a:lnTo>
                  <a:lnTo>
                    <a:pt x="1558" y="890"/>
                  </a:lnTo>
                  <a:lnTo>
                    <a:pt x="1553" y="886"/>
                  </a:lnTo>
                  <a:lnTo>
                    <a:pt x="1508" y="867"/>
                  </a:lnTo>
                  <a:lnTo>
                    <a:pt x="1463" y="848"/>
                  </a:lnTo>
                  <a:lnTo>
                    <a:pt x="1457" y="843"/>
                  </a:lnTo>
                  <a:lnTo>
                    <a:pt x="1453" y="834"/>
                  </a:lnTo>
                  <a:lnTo>
                    <a:pt x="1424" y="723"/>
                  </a:lnTo>
                  <a:lnTo>
                    <a:pt x="1420" y="711"/>
                  </a:lnTo>
                  <a:lnTo>
                    <a:pt x="1418" y="701"/>
                  </a:lnTo>
                  <a:lnTo>
                    <a:pt x="1418" y="694"/>
                  </a:lnTo>
                  <a:lnTo>
                    <a:pt x="1420" y="689"/>
                  </a:lnTo>
                  <a:lnTo>
                    <a:pt x="1461" y="608"/>
                  </a:lnTo>
                  <a:lnTo>
                    <a:pt x="1466" y="594"/>
                  </a:lnTo>
                  <a:lnTo>
                    <a:pt x="1474" y="561"/>
                  </a:lnTo>
                  <a:lnTo>
                    <a:pt x="1463" y="548"/>
                  </a:lnTo>
                  <a:lnTo>
                    <a:pt x="1450" y="545"/>
                  </a:lnTo>
                  <a:lnTo>
                    <a:pt x="1418" y="547"/>
                  </a:lnTo>
                  <a:lnTo>
                    <a:pt x="1415" y="545"/>
                  </a:lnTo>
                  <a:lnTo>
                    <a:pt x="1413" y="541"/>
                  </a:lnTo>
                  <a:lnTo>
                    <a:pt x="1412" y="533"/>
                  </a:lnTo>
                  <a:lnTo>
                    <a:pt x="1419" y="532"/>
                  </a:lnTo>
                  <a:lnTo>
                    <a:pt x="1460" y="502"/>
                  </a:lnTo>
                  <a:lnTo>
                    <a:pt x="1479" y="495"/>
                  </a:lnTo>
                  <a:lnTo>
                    <a:pt x="1498" y="476"/>
                  </a:lnTo>
                  <a:lnTo>
                    <a:pt x="1480" y="452"/>
                  </a:lnTo>
                  <a:lnTo>
                    <a:pt x="1478" y="448"/>
                  </a:lnTo>
                  <a:lnTo>
                    <a:pt x="1478" y="441"/>
                  </a:lnTo>
                  <a:lnTo>
                    <a:pt x="1481" y="408"/>
                  </a:lnTo>
                  <a:lnTo>
                    <a:pt x="1483" y="398"/>
                  </a:lnTo>
                  <a:lnTo>
                    <a:pt x="1484" y="392"/>
                  </a:lnTo>
                  <a:lnTo>
                    <a:pt x="1542" y="320"/>
                  </a:lnTo>
                  <a:lnTo>
                    <a:pt x="1561" y="281"/>
                  </a:lnTo>
                  <a:lnTo>
                    <a:pt x="1538" y="225"/>
                  </a:lnTo>
                  <a:lnTo>
                    <a:pt x="1529" y="190"/>
                  </a:lnTo>
                  <a:lnTo>
                    <a:pt x="1527" y="185"/>
                  </a:lnTo>
                  <a:lnTo>
                    <a:pt x="1475" y="159"/>
                  </a:lnTo>
                  <a:lnTo>
                    <a:pt x="1424" y="134"/>
                  </a:lnTo>
                  <a:lnTo>
                    <a:pt x="1417" y="131"/>
                  </a:lnTo>
                  <a:lnTo>
                    <a:pt x="1411" y="126"/>
                  </a:lnTo>
                  <a:lnTo>
                    <a:pt x="1407" y="117"/>
                  </a:lnTo>
                  <a:lnTo>
                    <a:pt x="1408" y="102"/>
                  </a:lnTo>
                  <a:lnTo>
                    <a:pt x="1377" y="88"/>
                  </a:lnTo>
                  <a:lnTo>
                    <a:pt x="1374" y="84"/>
                  </a:lnTo>
                  <a:lnTo>
                    <a:pt x="1344" y="31"/>
                  </a:lnTo>
                  <a:lnTo>
                    <a:pt x="1336" y="10"/>
                  </a:lnTo>
                  <a:lnTo>
                    <a:pt x="1331" y="2"/>
                  </a:lnTo>
                  <a:lnTo>
                    <a:pt x="1326" y="0"/>
                  </a:lnTo>
                  <a:lnTo>
                    <a:pt x="1314" y="8"/>
                  </a:lnTo>
                  <a:lnTo>
                    <a:pt x="1294" y="3"/>
                  </a:lnTo>
                  <a:lnTo>
                    <a:pt x="1286" y="6"/>
                  </a:lnTo>
                  <a:lnTo>
                    <a:pt x="1279" y="16"/>
                  </a:lnTo>
                  <a:lnTo>
                    <a:pt x="1278" y="24"/>
                  </a:lnTo>
                  <a:lnTo>
                    <a:pt x="1259" y="34"/>
                  </a:lnTo>
                  <a:lnTo>
                    <a:pt x="1249" y="47"/>
                  </a:lnTo>
                  <a:lnTo>
                    <a:pt x="1246" y="48"/>
                  </a:lnTo>
                  <a:lnTo>
                    <a:pt x="1244" y="48"/>
                  </a:lnTo>
                  <a:lnTo>
                    <a:pt x="1242" y="50"/>
                  </a:lnTo>
                  <a:lnTo>
                    <a:pt x="1240" y="54"/>
                  </a:lnTo>
                  <a:lnTo>
                    <a:pt x="1241" y="55"/>
                  </a:lnTo>
                  <a:lnTo>
                    <a:pt x="1243" y="58"/>
                  </a:lnTo>
                  <a:lnTo>
                    <a:pt x="1244" y="59"/>
                  </a:lnTo>
                  <a:lnTo>
                    <a:pt x="1238" y="68"/>
                  </a:lnTo>
                  <a:lnTo>
                    <a:pt x="1204" y="81"/>
                  </a:lnTo>
                  <a:lnTo>
                    <a:pt x="1201" y="80"/>
                  </a:lnTo>
                  <a:lnTo>
                    <a:pt x="1189" y="71"/>
                  </a:lnTo>
                  <a:lnTo>
                    <a:pt x="1185" y="71"/>
                  </a:lnTo>
                  <a:lnTo>
                    <a:pt x="1181" y="72"/>
                  </a:lnTo>
                  <a:lnTo>
                    <a:pt x="1172" y="66"/>
                  </a:lnTo>
                  <a:lnTo>
                    <a:pt x="1167" y="64"/>
                  </a:lnTo>
                  <a:lnTo>
                    <a:pt x="1152" y="68"/>
                  </a:lnTo>
                  <a:lnTo>
                    <a:pt x="1142" y="65"/>
                  </a:lnTo>
                  <a:lnTo>
                    <a:pt x="1114" y="70"/>
                  </a:lnTo>
                  <a:lnTo>
                    <a:pt x="1109" y="73"/>
                  </a:lnTo>
                  <a:lnTo>
                    <a:pt x="1106" y="82"/>
                  </a:lnTo>
                  <a:lnTo>
                    <a:pt x="1101" y="90"/>
                  </a:lnTo>
                  <a:lnTo>
                    <a:pt x="1099" y="93"/>
                  </a:lnTo>
                  <a:lnTo>
                    <a:pt x="1101" y="102"/>
                  </a:lnTo>
                  <a:lnTo>
                    <a:pt x="1096" y="111"/>
                  </a:lnTo>
                  <a:lnTo>
                    <a:pt x="1080" y="130"/>
                  </a:lnTo>
                  <a:lnTo>
                    <a:pt x="1072" y="147"/>
                  </a:lnTo>
                  <a:lnTo>
                    <a:pt x="1065" y="159"/>
                  </a:lnTo>
                  <a:lnTo>
                    <a:pt x="1063" y="163"/>
                  </a:lnTo>
                  <a:lnTo>
                    <a:pt x="1061" y="166"/>
                  </a:lnTo>
                  <a:lnTo>
                    <a:pt x="1058" y="168"/>
                  </a:lnTo>
                  <a:lnTo>
                    <a:pt x="1035" y="175"/>
                  </a:lnTo>
                  <a:lnTo>
                    <a:pt x="1030" y="178"/>
                  </a:lnTo>
                  <a:lnTo>
                    <a:pt x="1027" y="185"/>
                  </a:lnTo>
                  <a:lnTo>
                    <a:pt x="1025" y="190"/>
                  </a:lnTo>
                  <a:lnTo>
                    <a:pt x="1023" y="195"/>
                  </a:lnTo>
                  <a:lnTo>
                    <a:pt x="1024" y="199"/>
                  </a:lnTo>
                  <a:lnTo>
                    <a:pt x="1027" y="204"/>
                  </a:lnTo>
                  <a:lnTo>
                    <a:pt x="1030" y="214"/>
                  </a:lnTo>
                  <a:lnTo>
                    <a:pt x="1030" y="225"/>
                  </a:lnTo>
                  <a:lnTo>
                    <a:pt x="1028" y="235"/>
                  </a:lnTo>
                  <a:lnTo>
                    <a:pt x="1023" y="242"/>
                  </a:lnTo>
                  <a:lnTo>
                    <a:pt x="1014" y="250"/>
                  </a:lnTo>
                  <a:lnTo>
                    <a:pt x="1012" y="255"/>
                  </a:lnTo>
                  <a:lnTo>
                    <a:pt x="1012" y="257"/>
                  </a:lnTo>
                  <a:lnTo>
                    <a:pt x="1014" y="260"/>
                  </a:lnTo>
                  <a:lnTo>
                    <a:pt x="1015" y="263"/>
                  </a:lnTo>
                  <a:lnTo>
                    <a:pt x="1013" y="268"/>
                  </a:lnTo>
                  <a:lnTo>
                    <a:pt x="1012" y="274"/>
                  </a:lnTo>
                  <a:lnTo>
                    <a:pt x="1012" y="285"/>
                  </a:lnTo>
                  <a:lnTo>
                    <a:pt x="1010" y="288"/>
                  </a:lnTo>
                  <a:lnTo>
                    <a:pt x="1009" y="291"/>
                  </a:lnTo>
                  <a:lnTo>
                    <a:pt x="1004" y="301"/>
                  </a:lnTo>
                  <a:lnTo>
                    <a:pt x="1009" y="319"/>
                  </a:lnTo>
                  <a:lnTo>
                    <a:pt x="1010" y="323"/>
                  </a:lnTo>
                  <a:lnTo>
                    <a:pt x="996" y="349"/>
                  </a:lnTo>
                  <a:lnTo>
                    <a:pt x="994" y="355"/>
                  </a:lnTo>
                  <a:lnTo>
                    <a:pt x="988" y="391"/>
                  </a:lnTo>
                  <a:lnTo>
                    <a:pt x="988" y="403"/>
                  </a:lnTo>
                  <a:lnTo>
                    <a:pt x="990" y="415"/>
                  </a:lnTo>
                  <a:lnTo>
                    <a:pt x="991" y="417"/>
                  </a:lnTo>
                  <a:lnTo>
                    <a:pt x="993" y="425"/>
                  </a:lnTo>
                  <a:lnTo>
                    <a:pt x="993" y="428"/>
                  </a:lnTo>
                  <a:lnTo>
                    <a:pt x="993" y="432"/>
                  </a:lnTo>
                  <a:lnTo>
                    <a:pt x="993" y="434"/>
                  </a:lnTo>
                  <a:lnTo>
                    <a:pt x="992" y="435"/>
                  </a:lnTo>
                  <a:lnTo>
                    <a:pt x="992" y="437"/>
                  </a:lnTo>
                  <a:lnTo>
                    <a:pt x="991" y="452"/>
                  </a:lnTo>
                  <a:lnTo>
                    <a:pt x="991" y="455"/>
                  </a:lnTo>
                  <a:lnTo>
                    <a:pt x="990" y="459"/>
                  </a:lnTo>
                  <a:lnTo>
                    <a:pt x="990" y="462"/>
                  </a:lnTo>
                  <a:lnTo>
                    <a:pt x="992" y="469"/>
                  </a:lnTo>
                  <a:lnTo>
                    <a:pt x="993" y="471"/>
                  </a:lnTo>
                  <a:lnTo>
                    <a:pt x="992" y="472"/>
                  </a:lnTo>
                  <a:lnTo>
                    <a:pt x="993" y="475"/>
                  </a:lnTo>
                  <a:lnTo>
                    <a:pt x="994" y="477"/>
                  </a:lnTo>
                  <a:lnTo>
                    <a:pt x="997" y="480"/>
                  </a:lnTo>
                  <a:lnTo>
                    <a:pt x="998" y="482"/>
                  </a:lnTo>
                  <a:lnTo>
                    <a:pt x="999" y="486"/>
                  </a:lnTo>
                  <a:lnTo>
                    <a:pt x="997" y="491"/>
                  </a:lnTo>
                  <a:lnTo>
                    <a:pt x="991" y="498"/>
                  </a:lnTo>
                  <a:lnTo>
                    <a:pt x="989" y="503"/>
                  </a:lnTo>
                  <a:lnTo>
                    <a:pt x="988" y="509"/>
                  </a:lnTo>
                  <a:lnTo>
                    <a:pt x="986" y="514"/>
                  </a:lnTo>
                  <a:lnTo>
                    <a:pt x="981" y="521"/>
                  </a:lnTo>
                  <a:lnTo>
                    <a:pt x="979" y="527"/>
                  </a:lnTo>
                  <a:lnTo>
                    <a:pt x="977" y="533"/>
                  </a:lnTo>
                  <a:lnTo>
                    <a:pt x="974" y="540"/>
                  </a:lnTo>
                  <a:lnTo>
                    <a:pt x="970" y="544"/>
                  </a:lnTo>
                  <a:lnTo>
                    <a:pt x="967" y="545"/>
                  </a:lnTo>
                  <a:lnTo>
                    <a:pt x="947" y="538"/>
                  </a:lnTo>
                  <a:lnTo>
                    <a:pt x="940" y="540"/>
                  </a:lnTo>
                  <a:lnTo>
                    <a:pt x="932" y="544"/>
                  </a:lnTo>
                  <a:lnTo>
                    <a:pt x="903" y="571"/>
                  </a:lnTo>
                  <a:lnTo>
                    <a:pt x="897" y="583"/>
                  </a:lnTo>
                  <a:lnTo>
                    <a:pt x="895" y="592"/>
                  </a:lnTo>
                  <a:lnTo>
                    <a:pt x="894" y="601"/>
                  </a:lnTo>
                  <a:lnTo>
                    <a:pt x="894" y="622"/>
                  </a:lnTo>
                  <a:lnTo>
                    <a:pt x="893" y="625"/>
                  </a:lnTo>
                  <a:lnTo>
                    <a:pt x="892" y="628"/>
                  </a:lnTo>
                  <a:lnTo>
                    <a:pt x="892" y="630"/>
                  </a:lnTo>
                  <a:lnTo>
                    <a:pt x="894" y="634"/>
                  </a:lnTo>
                  <a:lnTo>
                    <a:pt x="892" y="643"/>
                  </a:lnTo>
                  <a:lnTo>
                    <a:pt x="890" y="647"/>
                  </a:lnTo>
                  <a:lnTo>
                    <a:pt x="886" y="649"/>
                  </a:lnTo>
                  <a:lnTo>
                    <a:pt x="882" y="650"/>
                  </a:lnTo>
                  <a:lnTo>
                    <a:pt x="872" y="657"/>
                  </a:lnTo>
                  <a:lnTo>
                    <a:pt x="868" y="657"/>
                  </a:lnTo>
                  <a:lnTo>
                    <a:pt x="863" y="661"/>
                  </a:lnTo>
                  <a:lnTo>
                    <a:pt x="861" y="669"/>
                  </a:lnTo>
                  <a:lnTo>
                    <a:pt x="859" y="677"/>
                  </a:lnTo>
                  <a:lnTo>
                    <a:pt x="856" y="682"/>
                  </a:lnTo>
                  <a:lnTo>
                    <a:pt x="852" y="683"/>
                  </a:lnTo>
                  <a:lnTo>
                    <a:pt x="849" y="679"/>
                  </a:lnTo>
                  <a:lnTo>
                    <a:pt x="844" y="666"/>
                  </a:lnTo>
                  <a:lnTo>
                    <a:pt x="832" y="647"/>
                  </a:lnTo>
                  <a:lnTo>
                    <a:pt x="818" y="635"/>
                  </a:lnTo>
                  <a:lnTo>
                    <a:pt x="789" y="625"/>
                  </a:lnTo>
                  <a:lnTo>
                    <a:pt x="765" y="616"/>
                  </a:lnTo>
                  <a:lnTo>
                    <a:pt x="742" y="600"/>
                  </a:lnTo>
                  <a:lnTo>
                    <a:pt x="738" y="596"/>
                  </a:lnTo>
                  <a:lnTo>
                    <a:pt x="733" y="587"/>
                  </a:lnTo>
                  <a:lnTo>
                    <a:pt x="701" y="569"/>
                  </a:lnTo>
                  <a:lnTo>
                    <a:pt x="689" y="569"/>
                  </a:lnTo>
                  <a:lnTo>
                    <a:pt x="678" y="576"/>
                  </a:lnTo>
                  <a:lnTo>
                    <a:pt x="675" y="595"/>
                  </a:lnTo>
                  <a:lnTo>
                    <a:pt x="670" y="613"/>
                  </a:lnTo>
                  <a:lnTo>
                    <a:pt x="655" y="622"/>
                  </a:lnTo>
                  <a:lnTo>
                    <a:pt x="630" y="626"/>
                  </a:lnTo>
                  <a:lnTo>
                    <a:pt x="585" y="656"/>
                  </a:lnTo>
                  <a:lnTo>
                    <a:pt x="581" y="654"/>
                  </a:lnTo>
                  <a:lnTo>
                    <a:pt x="569" y="633"/>
                  </a:lnTo>
                  <a:lnTo>
                    <a:pt x="565" y="628"/>
                  </a:lnTo>
                  <a:lnTo>
                    <a:pt x="557" y="626"/>
                  </a:lnTo>
                  <a:lnTo>
                    <a:pt x="530" y="631"/>
                  </a:lnTo>
                  <a:lnTo>
                    <a:pt x="490" y="609"/>
                  </a:lnTo>
                  <a:lnTo>
                    <a:pt x="485" y="608"/>
                  </a:lnTo>
                  <a:lnTo>
                    <a:pt x="481" y="609"/>
                  </a:lnTo>
                  <a:lnTo>
                    <a:pt x="463" y="616"/>
                  </a:lnTo>
                  <a:lnTo>
                    <a:pt x="460" y="614"/>
                  </a:lnTo>
                  <a:lnTo>
                    <a:pt x="458" y="606"/>
                  </a:lnTo>
                  <a:lnTo>
                    <a:pt x="454" y="566"/>
                  </a:lnTo>
                  <a:lnTo>
                    <a:pt x="452" y="562"/>
                  </a:lnTo>
                  <a:lnTo>
                    <a:pt x="439" y="551"/>
                  </a:lnTo>
                  <a:lnTo>
                    <a:pt x="427" y="529"/>
                  </a:lnTo>
                  <a:lnTo>
                    <a:pt x="425" y="524"/>
                  </a:lnTo>
                  <a:lnTo>
                    <a:pt x="422" y="513"/>
                  </a:lnTo>
                  <a:lnTo>
                    <a:pt x="420" y="507"/>
                  </a:lnTo>
                  <a:lnTo>
                    <a:pt x="398" y="483"/>
                  </a:lnTo>
                  <a:lnTo>
                    <a:pt x="386" y="459"/>
                  </a:lnTo>
                  <a:lnTo>
                    <a:pt x="341" y="371"/>
                  </a:lnTo>
                  <a:lnTo>
                    <a:pt x="337" y="367"/>
                  </a:lnTo>
                  <a:lnTo>
                    <a:pt x="286" y="358"/>
                  </a:lnTo>
                  <a:lnTo>
                    <a:pt x="251" y="382"/>
                  </a:lnTo>
                  <a:lnTo>
                    <a:pt x="249" y="386"/>
                  </a:lnTo>
                  <a:lnTo>
                    <a:pt x="246" y="393"/>
                  </a:lnTo>
                  <a:lnTo>
                    <a:pt x="241" y="408"/>
                  </a:lnTo>
                  <a:lnTo>
                    <a:pt x="261" y="449"/>
                  </a:lnTo>
                  <a:lnTo>
                    <a:pt x="252" y="469"/>
                  </a:lnTo>
                  <a:lnTo>
                    <a:pt x="247" y="472"/>
                  </a:lnTo>
                  <a:lnTo>
                    <a:pt x="241" y="470"/>
                  </a:lnTo>
                  <a:lnTo>
                    <a:pt x="195" y="442"/>
                  </a:lnTo>
                  <a:lnTo>
                    <a:pt x="191" y="444"/>
                  </a:lnTo>
                  <a:lnTo>
                    <a:pt x="176" y="472"/>
                  </a:lnTo>
                  <a:lnTo>
                    <a:pt x="184" y="480"/>
                  </a:lnTo>
                  <a:lnTo>
                    <a:pt x="203" y="483"/>
                  </a:lnTo>
                  <a:lnTo>
                    <a:pt x="214" y="494"/>
                  </a:lnTo>
                  <a:lnTo>
                    <a:pt x="222" y="497"/>
                  </a:lnTo>
                  <a:lnTo>
                    <a:pt x="226" y="503"/>
                  </a:lnTo>
                  <a:lnTo>
                    <a:pt x="226" y="511"/>
                  </a:lnTo>
                  <a:lnTo>
                    <a:pt x="223" y="518"/>
                  </a:lnTo>
                  <a:lnTo>
                    <a:pt x="218" y="521"/>
                  </a:lnTo>
                  <a:lnTo>
                    <a:pt x="218" y="529"/>
                  </a:lnTo>
                  <a:lnTo>
                    <a:pt x="221" y="535"/>
                  </a:lnTo>
                  <a:lnTo>
                    <a:pt x="247" y="546"/>
                  </a:lnTo>
                  <a:lnTo>
                    <a:pt x="260" y="558"/>
                  </a:lnTo>
                  <a:lnTo>
                    <a:pt x="271" y="569"/>
                  </a:lnTo>
                  <a:lnTo>
                    <a:pt x="280" y="587"/>
                  </a:lnTo>
                  <a:lnTo>
                    <a:pt x="282" y="589"/>
                  </a:lnTo>
                  <a:lnTo>
                    <a:pt x="283" y="590"/>
                  </a:lnTo>
                  <a:lnTo>
                    <a:pt x="284" y="594"/>
                  </a:lnTo>
                  <a:lnTo>
                    <a:pt x="285" y="596"/>
                  </a:lnTo>
                  <a:lnTo>
                    <a:pt x="286" y="596"/>
                  </a:lnTo>
                  <a:lnTo>
                    <a:pt x="297" y="596"/>
                  </a:lnTo>
                  <a:lnTo>
                    <a:pt x="300" y="599"/>
                  </a:lnTo>
                  <a:lnTo>
                    <a:pt x="302" y="603"/>
                  </a:lnTo>
                  <a:lnTo>
                    <a:pt x="303" y="608"/>
                  </a:lnTo>
                  <a:lnTo>
                    <a:pt x="308" y="622"/>
                  </a:lnTo>
                  <a:lnTo>
                    <a:pt x="310" y="626"/>
                  </a:lnTo>
                  <a:lnTo>
                    <a:pt x="315" y="631"/>
                  </a:lnTo>
                  <a:lnTo>
                    <a:pt x="327" y="634"/>
                  </a:lnTo>
                  <a:lnTo>
                    <a:pt x="341" y="649"/>
                  </a:lnTo>
                  <a:lnTo>
                    <a:pt x="350" y="655"/>
                  </a:lnTo>
                  <a:lnTo>
                    <a:pt x="353" y="669"/>
                  </a:lnTo>
                  <a:lnTo>
                    <a:pt x="382" y="677"/>
                  </a:lnTo>
                  <a:lnTo>
                    <a:pt x="389" y="687"/>
                  </a:lnTo>
                  <a:lnTo>
                    <a:pt x="390" y="689"/>
                  </a:lnTo>
                  <a:lnTo>
                    <a:pt x="394" y="696"/>
                  </a:lnTo>
                  <a:lnTo>
                    <a:pt x="397" y="700"/>
                  </a:lnTo>
                  <a:lnTo>
                    <a:pt x="398" y="702"/>
                  </a:lnTo>
                  <a:lnTo>
                    <a:pt x="399" y="703"/>
                  </a:lnTo>
                  <a:lnTo>
                    <a:pt x="400" y="704"/>
                  </a:lnTo>
                  <a:lnTo>
                    <a:pt x="401" y="707"/>
                  </a:lnTo>
                  <a:lnTo>
                    <a:pt x="401" y="710"/>
                  </a:lnTo>
                  <a:lnTo>
                    <a:pt x="401" y="712"/>
                  </a:lnTo>
                  <a:lnTo>
                    <a:pt x="406" y="717"/>
                  </a:lnTo>
                  <a:lnTo>
                    <a:pt x="443" y="717"/>
                  </a:lnTo>
                  <a:lnTo>
                    <a:pt x="454" y="721"/>
                  </a:lnTo>
                  <a:lnTo>
                    <a:pt x="454" y="721"/>
                  </a:lnTo>
                  <a:lnTo>
                    <a:pt x="454" y="726"/>
                  </a:lnTo>
                  <a:lnTo>
                    <a:pt x="455" y="727"/>
                  </a:lnTo>
                  <a:lnTo>
                    <a:pt x="467" y="728"/>
                  </a:lnTo>
                  <a:lnTo>
                    <a:pt x="477" y="734"/>
                  </a:lnTo>
                  <a:lnTo>
                    <a:pt x="485" y="735"/>
                  </a:lnTo>
                  <a:lnTo>
                    <a:pt x="491" y="739"/>
                  </a:lnTo>
                  <a:lnTo>
                    <a:pt x="494" y="739"/>
                  </a:lnTo>
                  <a:lnTo>
                    <a:pt x="497" y="738"/>
                  </a:lnTo>
                  <a:lnTo>
                    <a:pt x="500" y="738"/>
                  </a:lnTo>
                  <a:lnTo>
                    <a:pt x="504" y="743"/>
                  </a:lnTo>
                  <a:lnTo>
                    <a:pt x="509" y="750"/>
                  </a:lnTo>
                  <a:lnTo>
                    <a:pt x="514" y="756"/>
                  </a:lnTo>
                  <a:lnTo>
                    <a:pt x="523" y="752"/>
                  </a:lnTo>
                  <a:lnTo>
                    <a:pt x="527" y="757"/>
                  </a:lnTo>
                  <a:lnTo>
                    <a:pt x="534" y="771"/>
                  </a:lnTo>
                  <a:lnTo>
                    <a:pt x="538" y="777"/>
                  </a:lnTo>
                  <a:lnTo>
                    <a:pt x="562" y="794"/>
                  </a:lnTo>
                  <a:lnTo>
                    <a:pt x="564" y="797"/>
                  </a:lnTo>
                  <a:lnTo>
                    <a:pt x="565" y="801"/>
                  </a:lnTo>
                  <a:lnTo>
                    <a:pt x="566" y="804"/>
                  </a:lnTo>
                  <a:lnTo>
                    <a:pt x="566" y="808"/>
                  </a:lnTo>
                  <a:lnTo>
                    <a:pt x="569" y="812"/>
                  </a:lnTo>
                  <a:lnTo>
                    <a:pt x="576" y="821"/>
                  </a:lnTo>
                  <a:lnTo>
                    <a:pt x="578" y="829"/>
                  </a:lnTo>
                  <a:lnTo>
                    <a:pt x="577" y="838"/>
                  </a:lnTo>
                  <a:lnTo>
                    <a:pt x="579" y="842"/>
                  </a:lnTo>
                  <a:lnTo>
                    <a:pt x="579" y="845"/>
                  </a:lnTo>
                  <a:lnTo>
                    <a:pt x="578" y="856"/>
                  </a:lnTo>
                  <a:lnTo>
                    <a:pt x="577" y="859"/>
                  </a:lnTo>
                  <a:lnTo>
                    <a:pt x="577" y="862"/>
                  </a:lnTo>
                  <a:lnTo>
                    <a:pt x="578" y="866"/>
                  </a:lnTo>
                  <a:lnTo>
                    <a:pt x="578" y="867"/>
                  </a:lnTo>
                  <a:lnTo>
                    <a:pt x="579" y="867"/>
                  </a:lnTo>
                  <a:lnTo>
                    <a:pt x="580" y="869"/>
                  </a:lnTo>
                  <a:lnTo>
                    <a:pt x="583" y="869"/>
                  </a:lnTo>
                  <a:lnTo>
                    <a:pt x="597" y="859"/>
                  </a:lnTo>
                  <a:lnTo>
                    <a:pt x="602" y="859"/>
                  </a:lnTo>
                  <a:lnTo>
                    <a:pt x="604" y="862"/>
                  </a:lnTo>
                  <a:lnTo>
                    <a:pt x="606" y="867"/>
                  </a:lnTo>
                  <a:lnTo>
                    <a:pt x="613" y="892"/>
                  </a:lnTo>
                  <a:lnTo>
                    <a:pt x="613" y="896"/>
                  </a:lnTo>
                  <a:lnTo>
                    <a:pt x="614" y="899"/>
                  </a:lnTo>
                  <a:lnTo>
                    <a:pt x="626" y="911"/>
                  </a:lnTo>
                  <a:lnTo>
                    <a:pt x="630" y="914"/>
                  </a:lnTo>
                  <a:lnTo>
                    <a:pt x="645" y="932"/>
                  </a:lnTo>
                  <a:lnTo>
                    <a:pt x="656" y="936"/>
                  </a:lnTo>
                  <a:lnTo>
                    <a:pt x="659" y="942"/>
                  </a:lnTo>
                  <a:lnTo>
                    <a:pt x="658" y="949"/>
                  </a:lnTo>
                  <a:lnTo>
                    <a:pt x="654" y="957"/>
                  </a:lnTo>
                  <a:lnTo>
                    <a:pt x="649" y="962"/>
                  </a:lnTo>
                  <a:lnTo>
                    <a:pt x="638" y="966"/>
                  </a:lnTo>
                  <a:lnTo>
                    <a:pt x="633" y="971"/>
                  </a:lnTo>
                  <a:lnTo>
                    <a:pt x="630" y="978"/>
                  </a:lnTo>
                  <a:lnTo>
                    <a:pt x="629" y="988"/>
                  </a:lnTo>
                  <a:lnTo>
                    <a:pt x="630" y="998"/>
                  </a:lnTo>
                  <a:lnTo>
                    <a:pt x="630" y="1007"/>
                  </a:lnTo>
                  <a:lnTo>
                    <a:pt x="630" y="1032"/>
                  </a:lnTo>
                  <a:lnTo>
                    <a:pt x="631" y="1037"/>
                  </a:lnTo>
                  <a:lnTo>
                    <a:pt x="633" y="1043"/>
                  </a:lnTo>
                  <a:lnTo>
                    <a:pt x="635" y="1060"/>
                  </a:lnTo>
                  <a:lnTo>
                    <a:pt x="636" y="1067"/>
                  </a:lnTo>
                  <a:lnTo>
                    <a:pt x="640" y="1078"/>
                  </a:lnTo>
                  <a:lnTo>
                    <a:pt x="641" y="1084"/>
                  </a:lnTo>
                  <a:lnTo>
                    <a:pt x="641" y="1094"/>
                  </a:lnTo>
                  <a:lnTo>
                    <a:pt x="638" y="1098"/>
                  </a:lnTo>
                  <a:lnTo>
                    <a:pt x="633" y="1103"/>
                  </a:lnTo>
                  <a:lnTo>
                    <a:pt x="629" y="1107"/>
                  </a:lnTo>
                  <a:lnTo>
                    <a:pt x="630" y="1112"/>
                  </a:lnTo>
                  <a:lnTo>
                    <a:pt x="627" y="1121"/>
                  </a:lnTo>
                  <a:lnTo>
                    <a:pt x="624" y="1128"/>
                  </a:lnTo>
                  <a:lnTo>
                    <a:pt x="622" y="1136"/>
                  </a:lnTo>
                  <a:lnTo>
                    <a:pt x="624" y="1146"/>
                  </a:lnTo>
                  <a:lnTo>
                    <a:pt x="629" y="1154"/>
                  </a:lnTo>
                  <a:lnTo>
                    <a:pt x="635" y="1153"/>
                  </a:lnTo>
                  <a:lnTo>
                    <a:pt x="642" y="1150"/>
                  </a:lnTo>
                  <a:lnTo>
                    <a:pt x="648" y="1150"/>
                  </a:lnTo>
                  <a:lnTo>
                    <a:pt x="659" y="1157"/>
                  </a:lnTo>
                  <a:lnTo>
                    <a:pt x="670" y="1159"/>
                  </a:lnTo>
                  <a:lnTo>
                    <a:pt x="673" y="1161"/>
                  </a:lnTo>
                  <a:lnTo>
                    <a:pt x="675" y="1163"/>
                  </a:lnTo>
                  <a:lnTo>
                    <a:pt x="675" y="1173"/>
                  </a:lnTo>
                  <a:lnTo>
                    <a:pt x="673" y="1184"/>
                  </a:lnTo>
                  <a:lnTo>
                    <a:pt x="673" y="1194"/>
                  </a:lnTo>
                  <a:lnTo>
                    <a:pt x="678" y="1197"/>
                  </a:lnTo>
                  <a:lnTo>
                    <a:pt x="675" y="1210"/>
                  </a:lnTo>
                  <a:lnTo>
                    <a:pt x="670" y="1217"/>
                  </a:lnTo>
                  <a:lnTo>
                    <a:pt x="652" y="1225"/>
                  </a:lnTo>
                  <a:lnTo>
                    <a:pt x="649" y="1229"/>
                  </a:lnTo>
                  <a:lnTo>
                    <a:pt x="648" y="1236"/>
                  </a:lnTo>
                  <a:lnTo>
                    <a:pt x="647" y="1244"/>
                  </a:lnTo>
                  <a:lnTo>
                    <a:pt x="648" y="1247"/>
                  </a:lnTo>
                  <a:lnTo>
                    <a:pt x="651" y="1248"/>
                  </a:lnTo>
                  <a:lnTo>
                    <a:pt x="650" y="1254"/>
                  </a:lnTo>
                  <a:lnTo>
                    <a:pt x="648" y="1258"/>
                  </a:lnTo>
                  <a:lnTo>
                    <a:pt x="647" y="1262"/>
                  </a:lnTo>
                  <a:lnTo>
                    <a:pt x="645" y="1265"/>
                  </a:lnTo>
                  <a:lnTo>
                    <a:pt x="646" y="1273"/>
                  </a:lnTo>
                  <a:lnTo>
                    <a:pt x="648" y="1278"/>
                  </a:lnTo>
                  <a:lnTo>
                    <a:pt x="652" y="1283"/>
                  </a:lnTo>
                  <a:lnTo>
                    <a:pt x="656" y="1291"/>
                  </a:lnTo>
                  <a:lnTo>
                    <a:pt x="658" y="1293"/>
                  </a:lnTo>
                  <a:lnTo>
                    <a:pt x="659" y="1296"/>
                  </a:lnTo>
                  <a:lnTo>
                    <a:pt x="660" y="1300"/>
                  </a:lnTo>
                  <a:lnTo>
                    <a:pt x="660" y="1305"/>
                  </a:lnTo>
                  <a:lnTo>
                    <a:pt x="660" y="1309"/>
                  </a:lnTo>
                  <a:lnTo>
                    <a:pt x="661" y="1312"/>
                  </a:lnTo>
                  <a:lnTo>
                    <a:pt x="662" y="1315"/>
                  </a:lnTo>
                  <a:lnTo>
                    <a:pt x="668" y="1328"/>
                  </a:lnTo>
                  <a:lnTo>
                    <a:pt x="671" y="1335"/>
                  </a:lnTo>
                  <a:lnTo>
                    <a:pt x="674" y="1338"/>
                  </a:lnTo>
                  <a:lnTo>
                    <a:pt x="679" y="1340"/>
                  </a:lnTo>
                  <a:lnTo>
                    <a:pt x="683" y="1345"/>
                  </a:lnTo>
                  <a:lnTo>
                    <a:pt x="692" y="1366"/>
                  </a:lnTo>
                  <a:lnTo>
                    <a:pt x="698" y="1375"/>
                  </a:lnTo>
                  <a:lnTo>
                    <a:pt x="702" y="1381"/>
                  </a:lnTo>
                  <a:lnTo>
                    <a:pt x="706" y="1391"/>
                  </a:lnTo>
                  <a:lnTo>
                    <a:pt x="712" y="1411"/>
                  </a:lnTo>
                  <a:lnTo>
                    <a:pt x="713" y="1414"/>
                  </a:lnTo>
                  <a:lnTo>
                    <a:pt x="712" y="1418"/>
                  </a:lnTo>
                  <a:lnTo>
                    <a:pt x="710" y="1419"/>
                  </a:lnTo>
                  <a:lnTo>
                    <a:pt x="706" y="1419"/>
                  </a:lnTo>
                  <a:lnTo>
                    <a:pt x="703" y="1420"/>
                  </a:lnTo>
                  <a:lnTo>
                    <a:pt x="700" y="1427"/>
                  </a:lnTo>
                  <a:lnTo>
                    <a:pt x="695" y="1436"/>
                  </a:lnTo>
                  <a:lnTo>
                    <a:pt x="695" y="1439"/>
                  </a:lnTo>
                  <a:lnTo>
                    <a:pt x="697" y="1454"/>
                  </a:lnTo>
                  <a:lnTo>
                    <a:pt x="697" y="1462"/>
                  </a:lnTo>
                  <a:lnTo>
                    <a:pt x="696" y="1470"/>
                  </a:lnTo>
                  <a:lnTo>
                    <a:pt x="695" y="1477"/>
                  </a:lnTo>
                  <a:lnTo>
                    <a:pt x="693" y="1484"/>
                  </a:lnTo>
                  <a:lnTo>
                    <a:pt x="695" y="1491"/>
                  </a:lnTo>
                  <a:lnTo>
                    <a:pt x="695" y="1498"/>
                  </a:lnTo>
                  <a:lnTo>
                    <a:pt x="695" y="1505"/>
                  </a:lnTo>
                  <a:lnTo>
                    <a:pt x="693" y="1511"/>
                  </a:lnTo>
                  <a:lnTo>
                    <a:pt x="690" y="1514"/>
                  </a:lnTo>
                  <a:lnTo>
                    <a:pt x="682" y="1521"/>
                  </a:lnTo>
                  <a:lnTo>
                    <a:pt x="681" y="1525"/>
                  </a:lnTo>
                  <a:lnTo>
                    <a:pt x="678" y="1529"/>
                  </a:lnTo>
                  <a:lnTo>
                    <a:pt x="673" y="1532"/>
                  </a:lnTo>
                  <a:lnTo>
                    <a:pt x="670" y="1535"/>
                  </a:lnTo>
                  <a:lnTo>
                    <a:pt x="670" y="1541"/>
                  </a:lnTo>
                  <a:lnTo>
                    <a:pt x="666" y="1543"/>
                  </a:lnTo>
                  <a:lnTo>
                    <a:pt x="661" y="1547"/>
                  </a:lnTo>
                  <a:lnTo>
                    <a:pt x="657" y="1552"/>
                  </a:lnTo>
                  <a:lnTo>
                    <a:pt x="656" y="1562"/>
                  </a:lnTo>
                  <a:lnTo>
                    <a:pt x="656" y="1567"/>
                  </a:lnTo>
                  <a:lnTo>
                    <a:pt x="659" y="1574"/>
                  </a:lnTo>
                  <a:lnTo>
                    <a:pt x="660" y="1578"/>
                  </a:lnTo>
                  <a:lnTo>
                    <a:pt x="660" y="1583"/>
                  </a:lnTo>
                  <a:lnTo>
                    <a:pt x="661" y="1590"/>
                  </a:lnTo>
                  <a:lnTo>
                    <a:pt x="661" y="1596"/>
                  </a:lnTo>
                  <a:lnTo>
                    <a:pt x="660" y="1600"/>
                  </a:lnTo>
                  <a:lnTo>
                    <a:pt x="659" y="1605"/>
                  </a:lnTo>
                  <a:lnTo>
                    <a:pt x="659" y="1609"/>
                  </a:lnTo>
                  <a:lnTo>
                    <a:pt x="659" y="1613"/>
                  </a:lnTo>
                  <a:lnTo>
                    <a:pt x="662" y="1622"/>
                  </a:lnTo>
                  <a:lnTo>
                    <a:pt x="663" y="1632"/>
                  </a:lnTo>
                  <a:lnTo>
                    <a:pt x="668" y="1652"/>
                  </a:lnTo>
                  <a:lnTo>
                    <a:pt x="672" y="1659"/>
                  </a:lnTo>
                  <a:lnTo>
                    <a:pt x="678" y="1664"/>
                  </a:lnTo>
                  <a:lnTo>
                    <a:pt x="695" y="1670"/>
                  </a:lnTo>
                  <a:lnTo>
                    <a:pt x="698" y="1675"/>
                  </a:lnTo>
                  <a:lnTo>
                    <a:pt x="707" y="1701"/>
                  </a:lnTo>
                  <a:lnTo>
                    <a:pt x="708" y="1705"/>
                  </a:lnTo>
                  <a:lnTo>
                    <a:pt x="710" y="1707"/>
                  </a:lnTo>
                  <a:lnTo>
                    <a:pt x="714" y="1711"/>
                  </a:lnTo>
                  <a:lnTo>
                    <a:pt x="715" y="1714"/>
                  </a:lnTo>
                  <a:lnTo>
                    <a:pt x="717" y="1719"/>
                  </a:lnTo>
                  <a:lnTo>
                    <a:pt x="721" y="1739"/>
                  </a:lnTo>
                  <a:lnTo>
                    <a:pt x="721" y="1745"/>
                  </a:lnTo>
                  <a:lnTo>
                    <a:pt x="721" y="1753"/>
                  </a:lnTo>
                  <a:lnTo>
                    <a:pt x="724" y="1761"/>
                  </a:lnTo>
                  <a:lnTo>
                    <a:pt x="729" y="1769"/>
                  </a:lnTo>
                  <a:lnTo>
                    <a:pt x="732" y="1784"/>
                  </a:lnTo>
                  <a:lnTo>
                    <a:pt x="738" y="1795"/>
                  </a:lnTo>
                  <a:lnTo>
                    <a:pt x="738" y="1802"/>
                  </a:lnTo>
                  <a:lnTo>
                    <a:pt x="738" y="1805"/>
                  </a:lnTo>
                  <a:lnTo>
                    <a:pt x="740" y="1809"/>
                  </a:lnTo>
                  <a:lnTo>
                    <a:pt x="742" y="1815"/>
                  </a:lnTo>
                  <a:lnTo>
                    <a:pt x="745" y="1819"/>
                  </a:lnTo>
                  <a:lnTo>
                    <a:pt x="748" y="1821"/>
                  </a:lnTo>
                  <a:lnTo>
                    <a:pt x="751" y="1818"/>
                  </a:lnTo>
                  <a:lnTo>
                    <a:pt x="752" y="1813"/>
                  </a:lnTo>
                  <a:lnTo>
                    <a:pt x="752" y="1807"/>
                  </a:lnTo>
                  <a:lnTo>
                    <a:pt x="750" y="1802"/>
                  </a:lnTo>
                  <a:lnTo>
                    <a:pt x="756" y="1807"/>
                  </a:lnTo>
                  <a:lnTo>
                    <a:pt x="763" y="1810"/>
                  </a:lnTo>
                  <a:lnTo>
                    <a:pt x="764" y="1811"/>
                  </a:lnTo>
                  <a:lnTo>
                    <a:pt x="769" y="1819"/>
                  </a:lnTo>
                  <a:lnTo>
                    <a:pt x="776" y="1823"/>
                  </a:lnTo>
                  <a:lnTo>
                    <a:pt x="778" y="1822"/>
                  </a:lnTo>
                  <a:lnTo>
                    <a:pt x="779" y="1820"/>
                  </a:lnTo>
                  <a:lnTo>
                    <a:pt x="780" y="1818"/>
                  </a:lnTo>
                  <a:lnTo>
                    <a:pt x="780" y="1816"/>
                  </a:lnTo>
                  <a:lnTo>
                    <a:pt x="780" y="1815"/>
                  </a:lnTo>
                  <a:lnTo>
                    <a:pt x="784" y="1812"/>
                  </a:lnTo>
                  <a:lnTo>
                    <a:pt x="787" y="1812"/>
                  </a:lnTo>
                  <a:lnTo>
                    <a:pt x="791" y="1813"/>
                  </a:lnTo>
                  <a:lnTo>
                    <a:pt x="794" y="1812"/>
                  </a:lnTo>
                  <a:lnTo>
                    <a:pt x="798" y="1807"/>
                  </a:lnTo>
                  <a:lnTo>
                    <a:pt x="805" y="1790"/>
                  </a:lnTo>
                  <a:lnTo>
                    <a:pt x="809" y="1786"/>
                  </a:lnTo>
                  <a:lnTo>
                    <a:pt x="810" y="1785"/>
                  </a:lnTo>
                  <a:lnTo>
                    <a:pt x="810" y="1783"/>
                  </a:lnTo>
                  <a:lnTo>
                    <a:pt x="810" y="1779"/>
                  </a:lnTo>
                  <a:lnTo>
                    <a:pt x="810" y="1776"/>
                  </a:lnTo>
                  <a:lnTo>
                    <a:pt x="812" y="1775"/>
                  </a:lnTo>
                  <a:lnTo>
                    <a:pt x="813" y="1776"/>
                  </a:lnTo>
                  <a:lnTo>
                    <a:pt x="814" y="1775"/>
                  </a:lnTo>
                  <a:lnTo>
                    <a:pt x="823" y="1771"/>
                  </a:lnTo>
                  <a:lnTo>
                    <a:pt x="825" y="1767"/>
                  </a:lnTo>
                  <a:lnTo>
                    <a:pt x="824" y="1772"/>
                  </a:lnTo>
                  <a:lnTo>
                    <a:pt x="823" y="1774"/>
                  </a:lnTo>
                  <a:lnTo>
                    <a:pt x="818" y="1775"/>
                  </a:lnTo>
                  <a:lnTo>
                    <a:pt x="816" y="1777"/>
                  </a:lnTo>
                  <a:lnTo>
                    <a:pt x="815" y="1780"/>
                  </a:lnTo>
                  <a:lnTo>
                    <a:pt x="813" y="1787"/>
                  </a:lnTo>
                  <a:lnTo>
                    <a:pt x="803" y="1808"/>
                  </a:lnTo>
                  <a:lnTo>
                    <a:pt x="801" y="1815"/>
                  </a:lnTo>
                  <a:lnTo>
                    <a:pt x="799" y="1825"/>
                  </a:lnTo>
                  <a:lnTo>
                    <a:pt x="800" y="1832"/>
                  </a:lnTo>
                  <a:lnTo>
                    <a:pt x="802" y="1838"/>
                  </a:lnTo>
                  <a:lnTo>
                    <a:pt x="805" y="1843"/>
                  </a:lnTo>
                  <a:lnTo>
                    <a:pt x="807" y="1846"/>
                  </a:lnTo>
                  <a:lnTo>
                    <a:pt x="817" y="1851"/>
                  </a:lnTo>
                  <a:lnTo>
                    <a:pt x="818" y="1853"/>
                  </a:lnTo>
                  <a:lnTo>
                    <a:pt x="818" y="1856"/>
                  </a:lnTo>
                  <a:lnTo>
                    <a:pt x="819" y="1870"/>
                  </a:lnTo>
                  <a:lnTo>
                    <a:pt x="819" y="1874"/>
                  </a:lnTo>
                  <a:lnTo>
                    <a:pt x="821" y="1876"/>
                  </a:lnTo>
                  <a:lnTo>
                    <a:pt x="824" y="1875"/>
                  </a:lnTo>
                  <a:lnTo>
                    <a:pt x="826" y="1873"/>
                  </a:lnTo>
                  <a:lnTo>
                    <a:pt x="831" y="1868"/>
                  </a:lnTo>
                  <a:lnTo>
                    <a:pt x="836" y="1865"/>
                  </a:lnTo>
                  <a:lnTo>
                    <a:pt x="842" y="1864"/>
                  </a:lnTo>
                  <a:lnTo>
                    <a:pt x="848" y="1865"/>
                  </a:lnTo>
                  <a:lnTo>
                    <a:pt x="854" y="1868"/>
                  </a:lnTo>
                  <a:lnTo>
                    <a:pt x="856" y="1870"/>
                  </a:lnTo>
                  <a:lnTo>
                    <a:pt x="859" y="1876"/>
                  </a:lnTo>
                  <a:lnTo>
                    <a:pt x="861" y="1879"/>
                  </a:lnTo>
                  <a:lnTo>
                    <a:pt x="864" y="1879"/>
                  </a:lnTo>
                  <a:lnTo>
                    <a:pt x="872" y="1877"/>
                  </a:lnTo>
                  <a:lnTo>
                    <a:pt x="875" y="1880"/>
                  </a:lnTo>
                  <a:lnTo>
                    <a:pt x="877" y="1882"/>
                  </a:lnTo>
                  <a:lnTo>
                    <a:pt x="881" y="1881"/>
                  </a:lnTo>
                  <a:lnTo>
                    <a:pt x="883" y="1882"/>
                  </a:lnTo>
                  <a:lnTo>
                    <a:pt x="885" y="1886"/>
                  </a:lnTo>
                  <a:lnTo>
                    <a:pt x="886" y="1890"/>
                  </a:lnTo>
                  <a:lnTo>
                    <a:pt x="886" y="1891"/>
                  </a:lnTo>
                  <a:lnTo>
                    <a:pt x="886" y="1894"/>
                  </a:lnTo>
                  <a:lnTo>
                    <a:pt x="887" y="1897"/>
                  </a:lnTo>
                  <a:lnTo>
                    <a:pt x="891" y="1903"/>
                  </a:lnTo>
                  <a:lnTo>
                    <a:pt x="894" y="1904"/>
                  </a:lnTo>
                  <a:lnTo>
                    <a:pt x="898" y="1902"/>
                  </a:lnTo>
                  <a:lnTo>
                    <a:pt x="902" y="1902"/>
                  </a:lnTo>
                  <a:lnTo>
                    <a:pt x="906" y="1904"/>
                  </a:lnTo>
                  <a:lnTo>
                    <a:pt x="918" y="1917"/>
                  </a:lnTo>
                  <a:lnTo>
                    <a:pt x="922" y="1924"/>
                  </a:lnTo>
                  <a:lnTo>
                    <a:pt x="927" y="1932"/>
                  </a:lnTo>
                  <a:lnTo>
                    <a:pt x="928" y="1939"/>
                  </a:lnTo>
                  <a:lnTo>
                    <a:pt x="926" y="1953"/>
                  </a:lnTo>
                  <a:lnTo>
                    <a:pt x="927" y="1960"/>
                  </a:lnTo>
                  <a:lnTo>
                    <a:pt x="926" y="1962"/>
                  </a:lnTo>
                  <a:lnTo>
                    <a:pt x="923" y="1968"/>
                  </a:lnTo>
                  <a:lnTo>
                    <a:pt x="922" y="1970"/>
                  </a:lnTo>
                  <a:lnTo>
                    <a:pt x="920" y="1971"/>
                  </a:lnTo>
                  <a:lnTo>
                    <a:pt x="916" y="1972"/>
                  </a:lnTo>
                  <a:lnTo>
                    <a:pt x="913" y="1973"/>
                  </a:lnTo>
                  <a:lnTo>
                    <a:pt x="924" y="1986"/>
                  </a:lnTo>
                  <a:lnTo>
                    <a:pt x="922" y="1990"/>
                  </a:lnTo>
                  <a:lnTo>
                    <a:pt x="921" y="1990"/>
                  </a:lnTo>
                  <a:lnTo>
                    <a:pt x="920" y="1991"/>
                  </a:lnTo>
                  <a:lnTo>
                    <a:pt x="920" y="1992"/>
                  </a:lnTo>
                  <a:lnTo>
                    <a:pt x="921" y="1995"/>
                  </a:lnTo>
                  <a:lnTo>
                    <a:pt x="922" y="1996"/>
                  </a:lnTo>
                  <a:lnTo>
                    <a:pt x="920" y="2002"/>
                  </a:lnTo>
                  <a:lnTo>
                    <a:pt x="918" y="2013"/>
                  </a:lnTo>
                  <a:lnTo>
                    <a:pt x="915" y="2017"/>
                  </a:lnTo>
                  <a:lnTo>
                    <a:pt x="917" y="2017"/>
                  </a:lnTo>
                  <a:lnTo>
                    <a:pt x="918" y="2018"/>
                  </a:lnTo>
                  <a:lnTo>
                    <a:pt x="921" y="2020"/>
                  </a:lnTo>
                  <a:lnTo>
                    <a:pt x="920" y="2021"/>
                  </a:lnTo>
                  <a:lnTo>
                    <a:pt x="919" y="2027"/>
                  </a:lnTo>
                  <a:lnTo>
                    <a:pt x="920" y="2028"/>
                  </a:lnTo>
                  <a:lnTo>
                    <a:pt x="922" y="2029"/>
                  </a:lnTo>
                  <a:lnTo>
                    <a:pt x="923" y="2030"/>
                  </a:lnTo>
                  <a:lnTo>
                    <a:pt x="921" y="2032"/>
                  </a:lnTo>
                  <a:lnTo>
                    <a:pt x="919" y="2033"/>
                  </a:lnTo>
                  <a:lnTo>
                    <a:pt x="917" y="2033"/>
                  </a:lnTo>
                  <a:lnTo>
                    <a:pt x="915" y="2033"/>
                  </a:lnTo>
                  <a:lnTo>
                    <a:pt x="916" y="2038"/>
                  </a:lnTo>
                  <a:lnTo>
                    <a:pt x="916" y="2043"/>
                  </a:lnTo>
                  <a:lnTo>
                    <a:pt x="914" y="2048"/>
                  </a:lnTo>
                  <a:lnTo>
                    <a:pt x="912" y="2051"/>
                  </a:lnTo>
                  <a:lnTo>
                    <a:pt x="907" y="2056"/>
                  </a:lnTo>
                  <a:lnTo>
                    <a:pt x="906" y="2061"/>
                  </a:lnTo>
                  <a:lnTo>
                    <a:pt x="905" y="2069"/>
                  </a:lnTo>
                  <a:lnTo>
                    <a:pt x="922" y="2074"/>
                  </a:lnTo>
                  <a:lnTo>
                    <a:pt x="927" y="2079"/>
                  </a:lnTo>
                  <a:lnTo>
                    <a:pt x="929" y="2081"/>
                  </a:lnTo>
                  <a:lnTo>
                    <a:pt x="930" y="2084"/>
                  </a:lnTo>
                  <a:lnTo>
                    <a:pt x="930" y="2087"/>
                  </a:lnTo>
                  <a:lnTo>
                    <a:pt x="930" y="2091"/>
                  </a:lnTo>
                  <a:lnTo>
                    <a:pt x="931" y="2095"/>
                  </a:lnTo>
                  <a:lnTo>
                    <a:pt x="933" y="2098"/>
                  </a:lnTo>
                  <a:lnTo>
                    <a:pt x="937" y="2102"/>
                  </a:lnTo>
                  <a:lnTo>
                    <a:pt x="936" y="2105"/>
                  </a:lnTo>
                  <a:lnTo>
                    <a:pt x="936" y="2106"/>
                  </a:lnTo>
                  <a:lnTo>
                    <a:pt x="937" y="2108"/>
                  </a:lnTo>
                  <a:lnTo>
                    <a:pt x="938" y="2110"/>
                  </a:lnTo>
                  <a:lnTo>
                    <a:pt x="937" y="2116"/>
                  </a:lnTo>
                  <a:lnTo>
                    <a:pt x="938" y="2119"/>
                  </a:lnTo>
                  <a:lnTo>
                    <a:pt x="940" y="2123"/>
                  </a:lnTo>
                  <a:lnTo>
                    <a:pt x="941" y="2128"/>
                  </a:lnTo>
                  <a:lnTo>
                    <a:pt x="940" y="2133"/>
                  </a:lnTo>
                  <a:lnTo>
                    <a:pt x="938" y="2135"/>
                  </a:lnTo>
                  <a:lnTo>
                    <a:pt x="934" y="2134"/>
                  </a:lnTo>
                  <a:lnTo>
                    <a:pt x="930" y="2130"/>
                  </a:lnTo>
                  <a:lnTo>
                    <a:pt x="925" y="2124"/>
                  </a:lnTo>
                  <a:lnTo>
                    <a:pt x="922" y="2122"/>
                  </a:lnTo>
                  <a:lnTo>
                    <a:pt x="906" y="2119"/>
                  </a:lnTo>
                  <a:lnTo>
                    <a:pt x="903" y="2120"/>
                  </a:lnTo>
                  <a:lnTo>
                    <a:pt x="905" y="2123"/>
                  </a:lnTo>
                  <a:lnTo>
                    <a:pt x="904" y="2124"/>
                  </a:lnTo>
                  <a:lnTo>
                    <a:pt x="902" y="2127"/>
                  </a:lnTo>
                  <a:lnTo>
                    <a:pt x="901" y="2128"/>
                  </a:lnTo>
                  <a:lnTo>
                    <a:pt x="906" y="2139"/>
                  </a:lnTo>
                  <a:lnTo>
                    <a:pt x="909" y="2142"/>
                  </a:lnTo>
                  <a:lnTo>
                    <a:pt x="915" y="2144"/>
                  </a:lnTo>
                  <a:lnTo>
                    <a:pt x="920" y="2150"/>
                  </a:lnTo>
                  <a:lnTo>
                    <a:pt x="922" y="2151"/>
                  </a:lnTo>
                  <a:lnTo>
                    <a:pt x="924" y="2150"/>
                  </a:lnTo>
                  <a:lnTo>
                    <a:pt x="926" y="2149"/>
                  </a:lnTo>
                  <a:lnTo>
                    <a:pt x="928" y="2149"/>
                  </a:lnTo>
                  <a:lnTo>
                    <a:pt x="930" y="2153"/>
                  </a:lnTo>
                  <a:lnTo>
                    <a:pt x="929" y="2156"/>
                  </a:lnTo>
                  <a:lnTo>
                    <a:pt x="927" y="2168"/>
                  </a:lnTo>
                  <a:lnTo>
                    <a:pt x="926" y="2171"/>
                  </a:lnTo>
                  <a:lnTo>
                    <a:pt x="928" y="2178"/>
                  </a:lnTo>
                  <a:lnTo>
                    <a:pt x="927" y="2179"/>
                  </a:lnTo>
                  <a:lnTo>
                    <a:pt x="912" y="2184"/>
                  </a:lnTo>
                  <a:lnTo>
                    <a:pt x="907" y="2182"/>
                  </a:lnTo>
                  <a:lnTo>
                    <a:pt x="909" y="2180"/>
                  </a:lnTo>
                  <a:lnTo>
                    <a:pt x="911" y="2179"/>
                  </a:lnTo>
                  <a:lnTo>
                    <a:pt x="912" y="2179"/>
                  </a:lnTo>
                  <a:lnTo>
                    <a:pt x="912" y="2177"/>
                  </a:lnTo>
                  <a:lnTo>
                    <a:pt x="908" y="2176"/>
                  </a:lnTo>
                  <a:lnTo>
                    <a:pt x="906" y="2175"/>
                  </a:lnTo>
                  <a:lnTo>
                    <a:pt x="903" y="2172"/>
                  </a:lnTo>
                  <a:lnTo>
                    <a:pt x="901" y="2168"/>
                  </a:lnTo>
                  <a:lnTo>
                    <a:pt x="900" y="2166"/>
                  </a:lnTo>
                  <a:lnTo>
                    <a:pt x="900" y="2160"/>
                  </a:lnTo>
                  <a:lnTo>
                    <a:pt x="899" y="2159"/>
                  </a:lnTo>
                  <a:lnTo>
                    <a:pt x="897" y="2157"/>
                  </a:lnTo>
                  <a:lnTo>
                    <a:pt x="896" y="2158"/>
                  </a:lnTo>
                  <a:lnTo>
                    <a:pt x="895" y="2159"/>
                  </a:lnTo>
                  <a:lnTo>
                    <a:pt x="894" y="2159"/>
                  </a:lnTo>
                  <a:lnTo>
                    <a:pt x="891" y="2155"/>
                  </a:lnTo>
                  <a:lnTo>
                    <a:pt x="890" y="2151"/>
                  </a:lnTo>
                  <a:lnTo>
                    <a:pt x="889" y="2148"/>
                  </a:lnTo>
                  <a:lnTo>
                    <a:pt x="886" y="2146"/>
                  </a:lnTo>
                  <a:lnTo>
                    <a:pt x="883" y="2147"/>
                  </a:lnTo>
                  <a:lnTo>
                    <a:pt x="855" y="2163"/>
                  </a:lnTo>
                  <a:lnTo>
                    <a:pt x="835" y="2166"/>
                  </a:lnTo>
                  <a:lnTo>
                    <a:pt x="829" y="2170"/>
                  </a:lnTo>
                  <a:lnTo>
                    <a:pt x="828" y="2177"/>
                  </a:lnTo>
                  <a:lnTo>
                    <a:pt x="822" y="2177"/>
                  </a:lnTo>
                  <a:lnTo>
                    <a:pt x="819" y="2179"/>
                  </a:lnTo>
                  <a:lnTo>
                    <a:pt x="818" y="2186"/>
                  </a:lnTo>
                  <a:lnTo>
                    <a:pt x="818" y="2188"/>
                  </a:lnTo>
                  <a:lnTo>
                    <a:pt x="820" y="2190"/>
                  </a:lnTo>
                  <a:lnTo>
                    <a:pt x="820" y="2192"/>
                  </a:lnTo>
                  <a:lnTo>
                    <a:pt x="818" y="2194"/>
                  </a:lnTo>
                  <a:lnTo>
                    <a:pt x="817" y="2194"/>
                  </a:lnTo>
                  <a:lnTo>
                    <a:pt x="804" y="2187"/>
                  </a:lnTo>
                  <a:lnTo>
                    <a:pt x="801" y="2187"/>
                  </a:lnTo>
                  <a:lnTo>
                    <a:pt x="798" y="2188"/>
                  </a:lnTo>
                  <a:lnTo>
                    <a:pt x="799" y="2192"/>
                  </a:lnTo>
                  <a:lnTo>
                    <a:pt x="805" y="2197"/>
                  </a:lnTo>
                  <a:lnTo>
                    <a:pt x="801" y="2201"/>
                  </a:lnTo>
                  <a:lnTo>
                    <a:pt x="798" y="2203"/>
                  </a:lnTo>
                  <a:lnTo>
                    <a:pt x="797" y="2207"/>
                  </a:lnTo>
                  <a:lnTo>
                    <a:pt x="797" y="2210"/>
                  </a:lnTo>
                  <a:lnTo>
                    <a:pt x="797" y="2211"/>
                  </a:lnTo>
                  <a:lnTo>
                    <a:pt x="799" y="2215"/>
                  </a:lnTo>
                  <a:lnTo>
                    <a:pt x="796" y="2221"/>
                  </a:lnTo>
                  <a:lnTo>
                    <a:pt x="794" y="2224"/>
                  </a:lnTo>
                  <a:lnTo>
                    <a:pt x="787" y="2228"/>
                  </a:lnTo>
                  <a:lnTo>
                    <a:pt x="782" y="2234"/>
                  </a:lnTo>
                  <a:lnTo>
                    <a:pt x="780" y="2235"/>
                  </a:lnTo>
                  <a:lnTo>
                    <a:pt x="779" y="2237"/>
                  </a:lnTo>
                  <a:lnTo>
                    <a:pt x="779" y="2239"/>
                  </a:lnTo>
                  <a:lnTo>
                    <a:pt x="778" y="2242"/>
                  </a:lnTo>
                  <a:lnTo>
                    <a:pt x="777" y="2246"/>
                  </a:lnTo>
                  <a:lnTo>
                    <a:pt x="773" y="2254"/>
                  </a:lnTo>
                  <a:lnTo>
                    <a:pt x="772" y="2258"/>
                  </a:lnTo>
                  <a:lnTo>
                    <a:pt x="771" y="2266"/>
                  </a:lnTo>
                  <a:lnTo>
                    <a:pt x="771" y="2266"/>
                  </a:lnTo>
                  <a:lnTo>
                    <a:pt x="772" y="2269"/>
                  </a:lnTo>
                  <a:lnTo>
                    <a:pt x="772" y="2272"/>
                  </a:lnTo>
                  <a:lnTo>
                    <a:pt x="769" y="2275"/>
                  </a:lnTo>
                  <a:lnTo>
                    <a:pt x="769" y="2277"/>
                  </a:lnTo>
                  <a:lnTo>
                    <a:pt x="769" y="2281"/>
                  </a:lnTo>
                  <a:lnTo>
                    <a:pt x="769" y="2284"/>
                  </a:lnTo>
                  <a:lnTo>
                    <a:pt x="767" y="2290"/>
                  </a:lnTo>
                  <a:lnTo>
                    <a:pt x="764" y="2292"/>
                  </a:lnTo>
                  <a:lnTo>
                    <a:pt x="761" y="2293"/>
                  </a:lnTo>
                  <a:lnTo>
                    <a:pt x="758" y="2296"/>
                  </a:lnTo>
                  <a:lnTo>
                    <a:pt x="757" y="2298"/>
                  </a:lnTo>
                  <a:lnTo>
                    <a:pt x="756" y="2302"/>
                  </a:lnTo>
                  <a:lnTo>
                    <a:pt x="755" y="2305"/>
                  </a:lnTo>
                  <a:lnTo>
                    <a:pt x="753" y="2306"/>
                  </a:lnTo>
                  <a:lnTo>
                    <a:pt x="749" y="2305"/>
                  </a:lnTo>
                  <a:lnTo>
                    <a:pt x="747" y="2306"/>
                  </a:lnTo>
                  <a:lnTo>
                    <a:pt x="746" y="2308"/>
                  </a:lnTo>
                  <a:lnTo>
                    <a:pt x="746" y="2311"/>
                  </a:lnTo>
                  <a:lnTo>
                    <a:pt x="746" y="2318"/>
                  </a:lnTo>
                  <a:lnTo>
                    <a:pt x="745" y="2319"/>
                  </a:lnTo>
                  <a:lnTo>
                    <a:pt x="739" y="2319"/>
                  </a:lnTo>
                  <a:lnTo>
                    <a:pt x="733" y="2323"/>
                  </a:lnTo>
                  <a:lnTo>
                    <a:pt x="732" y="2323"/>
                  </a:lnTo>
                  <a:lnTo>
                    <a:pt x="730" y="2325"/>
                  </a:lnTo>
                  <a:lnTo>
                    <a:pt x="729" y="2327"/>
                  </a:lnTo>
                  <a:lnTo>
                    <a:pt x="727" y="2327"/>
                  </a:lnTo>
                  <a:lnTo>
                    <a:pt x="725" y="2326"/>
                  </a:lnTo>
                  <a:lnTo>
                    <a:pt x="726" y="2333"/>
                  </a:lnTo>
                  <a:lnTo>
                    <a:pt x="723" y="2336"/>
                  </a:lnTo>
                  <a:lnTo>
                    <a:pt x="716" y="2339"/>
                  </a:lnTo>
                  <a:lnTo>
                    <a:pt x="713" y="2342"/>
                  </a:lnTo>
                  <a:lnTo>
                    <a:pt x="711" y="2345"/>
                  </a:lnTo>
                  <a:lnTo>
                    <a:pt x="710" y="2356"/>
                  </a:lnTo>
                  <a:lnTo>
                    <a:pt x="708" y="2362"/>
                  </a:lnTo>
                  <a:lnTo>
                    <a:pt x="703" y="2369"/>
                  </a:lnTo>
                  <a:lnTo>
                    <a:pt x="701" y="2374"/>
                  </a:lnTo>
                  <a:lnTo>
                    <a:pt x="700" y="2380"/>
                  </a:lnTo>
                  <a:lnTo>
                    <a:pt x="701" y="2385"/>
                  </a:lnTo>
                  <a:lnTo>
                    <a:pt x="702" y="2390"/>
                  </a:lnTo>
                  <a:lnTo>
                    <a:pt x="703" y="2394"/>
                  </a:lnTo>
                  <a:lnTo>
                    <a:pt x="700" y="2391"/>
                  </a:lnTo>
                  <a:lnTo>
                    <a:pt x="693" y="2387"/>
                  </a:lnTo>
                  <a:lnTo>
                    <a:pt x="690" y="2386"/>
                  </a:lnTo>
                  <a:lnTo>
                    <a:pt x="687" y="2398"/>
                  </a:lnTo>
                  <a:lnTo>
                    <a:pt x="686" y="2401"/>
                  </a:lnTo>
                  <a:lnTo>
                    <a:pt x="683" y="2404"/>
                  </a:lnTo>
                  <a:lnTo>
                    <a:pt x="676" y="2408"/>
                  </a:lnTo>
                  <a:lnTo>
                    <a:pt x="674" y="2408"/>
                  </a:lnTo>
                  <a:lnTo>
                    <a:pt x="670" y="2405"/>
                  </a:lnTo>
                  <a:lnTo>
                    <a:pt x="668" y="2408"/>
                  </a:lnTo>
                  <a:lnTo>
                    <a:pt x="668" y="2413"/>
                  </a:lnTo>
                  <a:lnTo>
                    <a:pt x="667" y="2419"/>
                  </a:lnTo>
                  <a:lnTo>
                    <a:pt x="668" y="2419"/>
                  </a:lnTo>
                  <a:lnTo>
                    <a:pt x="666" y="2423"/>
                  </a:lnTo>
                  <a:lnTo>
                    <a:pt x="665" y="2423"/>
                  </a:lnTo>
                  <a:lnTo>
                    <a:pt x="661" y="2427"/>
                  </a:lnTo>
                  <a:lnTo>
                    <a:pt x="658" y="2432"/>
                  </a:lnTo>
                  <a:lnTo>
                    <a:pt x="657" y="2437"/>
                  </a:lnTo>
                  <a:lnTo>
                    <a:pt x="656" y="2439"/>
                  </a:lnTo>
                  <a:lnTo>
                    <a:pt x="652" y="2445"/>
                  </a:lnTo>
                  <a:lnTo>
                    <a:pt x="651" y="2446"/>
                  </a:lnTo>
                  <a:lnTo>
                    <a:pt x="647" y="2444"/>
                  </a:lnTo>
                  <a:lnTo>
                    <a:pt x="645" y="2445"/>
                  </a:lnTo>
                  <a:lnTo>
                    <a:pt x="643" y="2449"/>
                  </a:lnTo>
                  <a:lnTo>
                    <a:pt x="646" y="2453"/>
                  </a:lnTo>
                  <a:lnTo>
                    <a:pt x="650" y="2462"/>
                  </a:lnTo>
                  <a:lnTo>
                    <a:pt x="652" y="2470"/>
                  </a:lnTo>
                  <a:lnTo>
                    <a:pt x="649" y="2474"/>
                  </a:lnTo>
                  <a:lnTo>
                    <a:pt x="639" y="2472"/>
                  </a:lnTo>
                  <a:lnTo>
                    <a:pt x="634" y="2469"/>
                  </a:lnTo>
                  <a:lnTo>
                    <a:pt x="632" y="2470"/>
                  </a:lnTo>
                  <a:lnTo>
                    <a:pt x="631" y="2471"/>
                  </a:lnTo>
                  <a:lnTo>
                    <a:pt x="629" y="2471"/>
                  </a:lnTo>
                  <a:lnTo>
                    <a:pt x="628" y="2470"/>
                  </a:lnTo>
                  <a:lnTo>
                    <a:pt x="626" y="2467"/>
                  </a:lnTo>
                  <a:lnTo>
                    <a:pt x="625" y="2466"/>
                  </a:lnTo>
                  <a:lnTo>
                    <a:pt x="619" y="2463"/>
                  </a:lnTo>
                  <a:lnTo>
                    <a:pt x="616" y="2463"/>
                  </a:lnTo>
                  <a:lnTo>
                    <a:pt x="614" y="2466"/>
                  </a:lnTo>
                  <a:lnTo>
                    <a:pt x="612" y="2483"/>
                  </a:lnTo>
                  <a:lnTo>
                    <a:pt x="612" y="2485"/>
                  </a:lnTo>
                  <a:lnTo>
                    <a:pt x="612" y="2488"/>
                  </a:lnTo>
                  <a:lnTo>
                    <a:pt x="613" y="2491"/>
                  </a:lnTo>
                  <a:lnTo>
                    <a:pt x="613" y="2495"/>
                  </a:lnTo>
                  <a:lnTo>
                    <a:pt x="612" y="2500"/>
                  </a:lnTo>
                  <a:lnTo>
                    <a:pt x="612" y="2503"/>
                  </a:lnTo>
                  <a:lnTo>
                    <a:pt x="615" y="2506"/>
                  </a:lnTo>
                  <a:lnTo>
                    <a:pt x="619" y="2511"/>
                  </a:lnTo>
                  <a:lnTo>
                    <a:pt x="616" y="2516"/>
                  </a:lnTo>
                  <a:lnTo>
                    <a:pt x="613" y="2520"/>
                  </a:lnTo>
                  <a:lnTo>
                    <a:pt x="609" y="2520"/>
                  </a:lnTo>
                  <a:lnTo>
                    <a:pt x="605" y="2516"/>
                  </a:lnTo>
                  <a:lnTo>
                    <a:pt x="602" y="2522"/>
                  </a:lnTo>
                  <a:lnTo>
                    <a:pt x="597" y="2524"/>
                  </a:lnTo>
                  <a:lnTo>
                    <a:pt x="585" y="2523"/>
                  </a:lnTo>
                  <a:lnTo>
                    <a:pt x="580" y="2525"/>
                  </a:lnTo>
                  <a:lnTo>
                    <a:pt x="578" y="2526"/>
                  </a:lnTo>
                  <a:lnTo>
                    <a:pt x="576" y="2529"/>
                  </a:lnTo>
                  <a:lnTo>
                    <a:pt x="576" y="2531"/>
                  </a:lnTo>
                  <a:lnTo>
                    <a:pt x="578" y="2533"/>
                  </a:lnTo>
                  <a:lnTo>
                    <a:pt x="578" y="2533"/>
                  </a:lnTo>
                  <a:lnTo>
                    <a:pt x="576" y="2535"/>
                  </a:lnTo>
                  <a:lnTo>
                    <a:pt x="574" y="2537"/>
                  </a:lnTo>
                  <a:lnTo>
                    <a:pt x="573" y="2538"/>
                  </a:lnTo>
                  <a:lnTo>
                    <a:pt x="565" y="2535"/>
                  </a:lnTo>
                  <a:lnTo>
                    <a:pt x="564" y="2537"/>
                  </a:lnTo>
                  <a:lnTo>
                    <a:pt x="561" y="2541"/>
                  </a:lnTo>
                  <a:lnTo>
                    <a:pt x="552" y="2550"/>
                  </a:lnTo>
                  <a:lnTo>
                    <a:pt x="553" y="2554"/>
                  </a:lnTo>
                  <a:lnTo>
                    <a:pt x="553" y="2556"/>
                  </a:lnTo>
                  <a:lnTo>
                    <a:pt x="552" y="2560"/>
                  </a:lnTo>
                  <a:lnTo>
                    <a:pt x="552" y="2560"/>
                  </a:lnTo>
                  <a:lnTo>
                    <a:pt x="554" y="2565"/>
                  </a:lnTo>
                  <a:lnTo>
                    <a:pt x="554" y="2569"/>
                  </a:lnTo>
                  <a:lnTo>
                    <a:pt x="552" y="2570"/>
                  </a:lnTo>
                  <a:lnTo>
                    <a:pt x="549" y="2566"/>
                  </a:lnTo>
                  <a:lnTo>
                    <a:pt x="546" y="2558"/>
                  </a:lnTo>
                  <a:lnTo>
                    <a:pt x="544" y="2556"/>
                  </a:lnTo>
                  <a:lnTo>
                    <a:pt x="541" y="2555"/>
                  </a:lnTo>
                  <a:lnTo>
                    <a:pt x="538" y="2558"/>
                  </a:lnTo>
                  <a:lnTo>
                    <a:pt x="537" y="2562"/>
                  </a:lnTo>
                  <a:lnTo>
                    <a:pt x="539" y="2566"/>
                  </a:lnTo>
                  <a:lnTo>
                    <a:pt x="542" y="2568"/>
                  </a:lnTo>
                  <a:lnTo>
                    <a:pt x="542" y="2569"/>
                  </a:lnTo>
                  <a:lnTo>
                    <a:pt x="542" y="2571"/>
                  </a:lnTo>
                  <a:lnTo>
                    <a:pt x="542" y="2574"/>
                  </a:lnTo>
                  <a:lnTo>
                    <a:pt x="542" y="2576"/>
                  </a:lnTo>
                  <a:lnTo>
                    <a:pt x="540" y="2578"/>
                  </a:lnTo>
                  <a:lnTo>
                    <a:pt x="538" y="2577"/>
                  </a:lnTo>
                  <a:lnTo>
                    <a:pt x="534" y="2575"/>
                  </a:lnTo>
                  <a:lnTo>
                    <a:pt x="535" y="2577"/>
                  </a:lnTo>
                  <a:lnTo>
                    <a:pt x="538" y="2582"/>
                  </a:lnTo>
                  <a:lnTo>
                    <a:pt x="527" y="2582"/>
                  </a:lnTo>
                  <a:lnTo>
                    <a:pt x="535" y="2587"/>
                  </a:lnTo>
                  <a:lnTo>
                    <a:pt x="538" y="2590"/>
                  </a:lnTo>
                  <a:lnTo>
                    <a:pt x="535" y="2593"/>
                  </a:lnTo>
                  <a:lnTo>
                    <a:pt x="530" y="2596"/>
                  </a:lnTo>
                  <a:lnTo>
                    <a:pt x="528" y="2600"/>
                  </a:lnTo>
                  <a:lnTo>
                    <a:pt x="527" y="2602"/>
                  </a:lnTo>
                  <a:lnTo>
                    <a:pt x="527" y="2603"/>
                  </a:lnTo>
                  <a:lnTo>
                    <a:pt x="527" y="2605"/>
                  </a:lnTo>
                  <a:lnTo>
                    <a:pt x="527" y="2608"/>
                  </a:lnTo>
                  <a:lnTo>
                    <a:pt x="526" y="2611"/>
                  </a:lnTo>
                  <a:lnTo>
                    <a:pt x="525" y="2612"/>
                  </a:lnTo>
                  <a:lnTo>
                    <a:pt x="523" y="2612"/>
                  </a:lnTo>
                  <a:lnTo>
                    <a:pt x="522" y="2613"/>
                  </a:lnTo>
                  <a:lnTo>
                    <a:pt x="520" y="2616"/>
                  </a:lnTo>
                  <a:lnTo>
                    <a:pt x="518" y="2618"/>
                  </a:lnTo>
                  <a:lnTo>
                    <a:pt x="515" y="2619"/>
                  </a:lnTo>
                  <a:lnTo>
                    <a:pt x="512" y="2619"/>
                  </a:lnTo>
                  <a:lnTo>
                    <a:pt x="511" y="2618"/>
                  </a:lnTo>
                  <a:lnTo>
                    <a:pt x="508" y="2610"/>
                  </a:lnTo>
                  <a:lnTo>
                    <a:pt x="506" y="2607"/>
                  </a:lnTo>
                  <a:lnTo>
                    <a:pt x="507" y="2602"/>
                  </a:lnTo>
                  <a:lnTo>
                    <a:pt x="506" y="2598"/>
                  </a:lnTo>
                  <a:lnTo>
                    <a:pt x="504" y="2594"/>
                  </a:lnTo>
                  <a:lnTo>
                    <a:pt x="502" y="2591"/>
                  </a:lnTo>
                  <a:lnTo>
                    <a:pt x="500" y="2590"/>
                  </a:lnTo>
                  <a:lnTo>
                    <a:pt x="499" y="2590"/>
                  </a:lnTo>
                  <a:lnTo>
                    <a:pt x="497" y="2592"/>
                  </a:lnTo>
                  <a:lnTo>
                    <a:pt x="496" y="2596"/>
                  </a:lnTo>
                  <a:lnTo>
                    <a:pt x="496" y="2598"/>
                  </a:lnTo>
                  <a:lnTo>
                    <a:pt x="494" y="2596"/>
                  </a:lnTo>
                  <a:lnTo>
                    <a:pt x="492" y="2592"/>
                  </a:lnTo>
                  <a:lnTo>
                    <a:pt x="489" y="2590"/>
                  </a:lnTo>
                  <a:lnTo>
                    <a:pt x="488" y="2590"/>
                  </a:lnTo>
                  <a:lnTo>
                    <a:pt x="489" y="2594"/>
                  </a:lnTo>
                  <a:lnTo>
                    <a:pt x="489" y="2601"/>
                  </a:lnTo>
                  <a:lnTo>
                    <a:pt x="488" y="2607"/>
                  </a:lnTo>
                  <a:lnTo>
                    <a:pt x="485" y="2608"/>
                  </a:lnTo>
                  <a:lnTo>
                    <a:pt x="478" y="2607"/>
                  </a:lnTo>
                  <a:lnTo>
                    <a:pt x="479" y="2608"/>
                  </a:lnTo>
                  <a:lnTo>
                    <a:pt x="479" y="2609"/>
                  </a:lnTo>
                  <a:lnTo>
                    <a:pt x="479" y="2612"/>
                  </a:lnTo>
                  <a:lnTo>
                    <a:pt x="478" y="2613"/>
                  </a:lnTo>
                  <a:lnTo>
                    <a:pt x="476" y="2615"/>
                  </a:lnTo>
                  <a:lnTo>
                    <a:pt x="474" y="2619"/>
                  </a:lnTo>
                  <a:lnTo>
                    <a:pt x="480" y="2632"/>
                  </a:lnTo>
                  <a:lnTo>
                    <a:pt x="481" y="2636"/>
                  </a:lnTo>
                  <a:lnTo>
                    <a:pt x="475" y="2632"/>
                  </a:lnTo>
                  <a:lnTo>
                    <a:pt x="474" y="2632"/>
                  </a:lnTo>
                  <a:lnTo>
                    <a:pt x="473" y="2637"/>
                  </a:lnTo>
                  <a:lnTo>
                    <a:pt x="471" y="2639"/>
                  </a:lnTo>
                  <a:lnTo>
                    <a:pt x="470" y="2641"/>
                  </a:lnTo>
                  <a:lnTo>
                    <a:pt x="468" y="2643"/>
                  </a:lnTo>
                  <a:lnTo>
                    <a:pt x="466" y="2657"/>
                  </a:lnTo>
                  <a:lnTo>
                    <a:pt x="465" y="2657"/>
                  </a:lnTo>
                  <a:lnTo>
                    <a:pt x="464" y="2661"/>
                  </a:lnTo>
                  <a:lnTo>
                    <a:pt x="463" y="2664"/>
                  </a:lnTo>
                  <a:lnTo>
                    <a:pt x="463" y="2667"/>
                  </a:lnTo>
                  <a:lnTo>
                    <a:pt x="464" y="2670"/>
                  </a:lnTo>
                  <a:lnTo>
                    <a:pt x="464" y="2673"/>
                  </a:lnTo>
                  <a:lnTo>
                    <a:pt x="462" y="2674"/>
                  </a:lnTo>
                  <a:lnTo>
                    <a:pt x="459" y="2678"/>
                  </a:lnTo>
                  <a:lnTo>
                    <a:pt x="457" y="2680"/>
                  </a:lnTo>
                  <a:lnTo>
                    <a:pt x="458" y="2671"/>
                  </a:lnTo>
                  <a:lnTo>
                    <a:pt x="455" y="2668"/>
                  </a:lnTo>
                  <a:lnTo>
                    <a:pt x="451" y="2667"/>
                  </a:lnTo>
                  <a:lnTo>
                    <a:pt x="448" y="2665"/>
                  </a:lnTo>
                  <a:lnTo>
                    <a:pt x="447" y="2662"/>
                  </a:lnTo>
                  <a:lnTo>
                    <a:pt x="448" y="2658"/>
                  </a:lnTo>
                  <a:lnTo>
                    <a:pt x="448" y="2655"/>
                  </a:lnTo>
                  <a:lnTo>
                    <a:pt x="446" y="2653"/>
                  </a:lnTo>
                  <a:lnTo>
                    <a:pt x="441" y="2652"/>
                  </a:lnTo>
                  <a:lnTo>
                    <a:pt x="439" y="2654"/>
                  </a:lnTo>
                  <a:lnTo>
                    <a:pt x="438" y="2658"/>
                  </a:lnTo>
                  <a:lnTo>
                    <a:pt x="439" y="2667"/>
                  </a:lnTo>
                  <a:lnTo>
                    <a:pt x="445" y="2677"/>
                  </a:lnTo>
                  <a:lnTo>
                    <a:pt x="458" y="2692"/>
                  </a:lnTo>
                  <a:lnTo>
                    <a:pt x="453" y="2688"/>
                  </a:lnTo>
                  <a:lnTo>
                    <a:pt x="448" y="2688"/>
                  </a:lnTo>
                  <a:lnTo>
                    <a:pt x="443" y="2686"/>
                  </a:lnTo>
                  <a:lnTo>
                    <a:pt x="438" y="2679"/>
                  </a:lnTo>
                  <a:lnTo>
                    <a:pt x="434" y="2674"/>
                  </a:lnTo>
                  <a:lnTo>
                    <a:pt x="429" y="2673"/>
                  </a:lnTo>
                  <a:lnTo>
                    <a:pt x="425" y="2678"/>
                  </a:lnTo>
                  <a:lnTo>
                    <a:pt x="426" y="2687"/>
                  </a:lnTo>
                  <a:lnTo>
                    <a:pt x="427" y="2691"/>
                  </a:lnTo>
                  <a:lnTo>
                    <a:pt x="429" y="2693"/>
                  </a:lnTo>
                  <a:lnTo>
                    <a:pt x="432" y="2694"/>
                  </a:lnTo>
                  <a:lnTo>
                    <a:pt x="435" y="2695"/>
                  </a:lnTo>
                  <a:lnTo>
                    <a:pt x="435" y="2696"/>
                  </a:lnTo>
                  <a:lnTo>
                    <a:pt x="443" y="2708"/>
                  </a:lnTo>
                  <a:lnTo>
                    <a:pt x="448" y="2713"/>
                  </a:lnTo>
                  <a:lnTo>
                    <a:pt x="450" y="2716"/>
                  </a:lnTo>
                  <a:lnTo>
                    <a:pt x="452" y="2722"/>
                  </a:lnTo>
                  <a:lnTo>
                    <a:pt x="452" y="2724"/>
                  </a:lnTo>
                  <a:lnTo>
                    <a:pt x="454" y="2726"/>
                  </a:lnTo>
                  <a:lnTo>
                    <a:pt x="451" y="2732"/>
                  </a:lnTo>
                  <a:lnTo>
                    <a:pt x="447" y="2740"/>
                  </a:lnTo>
                  <a:lnTo>
                    <a:pt x="444" y="2742"/>
                  </a:lnTo>
                  <a:lnTo>
                    <a:pt x="440" y="2733"/>
                  </a:lnTo>
                  <a:lnTo>
                    <a:pt x="439" y="2733"/>
                  </a:lnTo>
                  <a:lnTo>
                    <a:pt x="437" y="2739"/>
                  </a:lnTo>
                  <a:lnTo>
                    <a:pt x="434" y="2745"/>
                  </a:lnTo>
                  <a:lnTo>
                    <a:pt x="427" y="2755"/>
                  </a:lnTo>
                  <a:lnTo>
                    <a:pt x="427" y="2755"/>
                  </a:lnTo>
                  <a:lnTo>
                    <a:pt x="426" y="2754"/>
                  </a:lnTo>
                  <a:lnTo>
                    <a:pt x="424" y="2753"/>
                  </a:lnTo>
                  <a:lnTo>
                    <a:pt x="424" y="2753"/>
                  </a:lnTo>
                  <a:lnTo>
                    <a:pt x="423" y="2753"/>
                  </a:lnTo>
                  <a:lnTo>
                    <a:pt x="423" y="2755"/>
                  </a:lnTo>
                  <a:lnTo>
                    <a:pt x="423" y="2756"/>
                  </a:lnTo>
                  <a:lnTo>
                    <a:pt x="422" y="2758"/>
                  </a:lnTo>
                  <a:lnTo>
                    <a:pt x="420" y="2758"/>
                  </a:lnTo>
                  <a:lnTo>
                    <a:pt x="417" y="2756"/>
                  </a:lnTo>
                  <a:lnTo>
                    <a:pt x="415" y="2755"/>
                  </a:lnTo>
                  <a:lnTo>
                    <a:pt x="413" y="2756"/>
                  </a:lnTo>
                  <a:lnTo>
                    <a:pt x="409" y="2760"/>
                  </a:lnTo>
                  <a:lnTo>
                    <a:pt x="406" y="2760"/>
                  </a:lnTo>
                  <a:lnTo>
                    <a:pt x="404" y="2758"/>
                  </a:lnTo>
                  <a:lnTo>
                    <a:pt x="403" y="2755"/>
                  </a:lnTo>
                  <a:lnTo>
                    <a:pt x="402" y="2753"/>
                  </a:lnTo>
                  <a:lnTo>
                    <a:pt x="399" y="2755"/>
                  </a:lnTo>
                  <a:lnTo>
                    <a:pt x="397" y="2758"/>
                  </a:lnTo>
                  <a:lnTo>
                    <a:pt x="397" y="2760"/>
                  </a:lnTo>
                  <a:lnTo>
                    <a:pt x="396" y="2764"/>
                  </a:lnTo>
                  <a:lnTo>
                    <a:pt x="395" y="2767"/>
                  </a:lnTo>
                  <a:lnTo>
                    <a:pt x="394" y="2770"/>
                  </a:lnTo>
                  <a:lnTo>
                    <a:pt x="392" y="2772"/>
                  </a:lnTo>
                  <a:lnTo>
                    <a:pt x="388" y="2774"/>
                  </a:lnTo>
                  <a:lnTo>
                    <a:pt x="390" y="2781"/>
                  </a:lnTo>
                  <a:lnTo>
                    <a:pt x="392" y="2789"/>
                  </a:lnTo>
                  <a:lnTo>
                    <a:pt x="380" y="2778"/>
                  </a:lnTo>
                  <a:lnTo>
                    <a:pt x="376" y="2777"/>
                  </a:lnTo>
                  <a:lnTo>
                    <a:pt x="377" y="2773"/>
                  </a:lnTo>
                  <a:lnTo>
                    <a:pt x="378" y="2770"/>
                  </a:lnTo>
                  <a:lnTo>
                    <a:pt x="376" y="2756"/>
                  </a:lnTo>
                  <a:lnTo>
                    <a:pt x="376" y="2753"/>
                  </a:lnTo>
                  <a:lnTo>
                    <a:pt x="378" y="2748"/>
                  </a:lnTo>
                  <a:lnTo>
                    <a:pt x="374" y="2748"/>
                  </a:lnTo>
                  <a:lnTo>
                    <a:pt x="366" y="2754"/>
                  </a:lnTo>
                  <a:lnTo>
                    <a:pt x="363" y="2755"/>
                  </a:lnTo>
                  <a:lnTo>
                    <a:pt x="356" y="2755"/>
                  </a:lnTo>
                  <a:lnTo>
                    <a:pt x="354" y="2755"/>
                  </a:lnTo>
                  <a:lnTo>
                    <a:pt x="348" y="2760"/>
                  </a:lnTo>
                  <a:lnTo>
                    <a:pt x="348" y="2762"/>
                  </a:lnTo>
                  <a:lnTo>
                    <a:pt x="350" y="2764"/>
                  </a:lnTo>
                  <a:lnTo>
                    <a:pt x="355" y="2765"/>
                  </a:lnTo>
                  <a:lnTo>
                    <a:pt x="357" y="2767"/>
                  </a:lnTo>
                  <a:lnTo>
                    <a:pt x="354" y="2769"/>
                  </a:lnTo>
                  <a:lnTo>
                    <a:pt x="349" y="2768"/>
                  </a:lnTo>
                  <a:lnTo>
                    <a:pt x="345" y="2765"/>
                  </a:lnTo>
                  <a:lnTo>
                    <a:pt x="342" y="2762"/>
                  </a:lnTo>
                  <a:lnTo>
                    <a:pt x="339" y="2770"/>
                  </a:lnTo>
                  <a:lnTo>
                    <a:pt x="334" y="2768"/>
                  </a:lnTo>
                  <a:lnTo>
                    <a:pt x="325" y="2758"/>
                  </a:lnTo>
                  <a:lnTo>
                    <a:pt x="322" y="2758"/>
                  </a:lnTo>
                  <a:lnTo>
                    <a:pt x="319" y="2760"/>
                  </a:lnTo>
                  <a:lnTo>
                    <a:pt x="316" y="2763"/>
                  </a:lnTo>
                  <a:lnTo>
                    <a:pt x="315" y="2766"/>
                  </a:lnTo>
                  <a:lnTo>
                    <a:pt x="315" y="2772"/>
                  </a:lnTo>
                  <a:lnTo>
                    <a:pt x="317" y="2774"/>
                  </a:lnTo>
                  <a:lnTo>
                    <a:pt x="324" y="2777"/>
                  </a:lnTo>
                  <a:lnTo>
                    <a:pt x="324" y="2779"/>
                  </a:lnTo>
                  <a:lnTo>
                    <a:pt x="319" y="2779"/>
                  </a:lnTo>
                  <a:lnTo>
                    <a:pt x="317" y="2780"/>
                  </a:lnTo>
                  <a:lnTo>
                    <a:pt x="316" y="2784"/>
                  </a:lnTo>
                  <a:lnTo>
                    <a:pt x="318" y="2785"/>
                  </a:lnTo>
                  <a:lnTo>
                    <a:pt x="318" y="2787"/>
                  </a:lnTo>
                  <a:lnTo>
                    <a:pt x="318" y="2791"/>
                  </a:lnTo>
                  <a:lnTo>
                    <a:pt x="319" y="2795"/>
                  </a:lnTo>
                  <a:lnTo>
                    <a:pt x="320" y="2797"/>
                  </a:lnTo>
                  <a:lnTo>
                    <a:pt x="323" y="2798"/>
                  </a:lnTo>
                  <a:lnTo>
                    <a:pt x="325" y="2797"/>
                  </a:lnTo>
                  <a:lnTo>
                    <a:pt x="327" y="2796"/>
                  </a:lnTo>
                  <a:lnTo>
                    <a:pt x="324" y="2801"/>
                  </a:lnTo>
                  <a:lnTo>
                    <a:pt x="325" y="2806"/>
                  </a:lnTo>
                  <a:lnTo>
                    <a:pt x="328" y="2810"/>
                  </a:lnTo>
                  <a:lnTo>
                    <a:pt x="339" y="2820"/>
                  </a:lnTo>
                  <a:lnTo>
                    <a:pt x="345" y="2830"/>
                  </a:lnTo>
                  <a:lnTo>
                    <a:pt x="340" y="2833"/>
                  </a:lnTo>
                  <a:lnTo>
                    <a:pt x="335" y="2831"/>
                  </a:lnTo>
                  <a:lnTo>
                    <a:pt x="330" y="2827"/>
                  </a:lnTo>
                  <a:lnTo>
                    <a:pt x="326" y="2825"/>
                  </a:lnTo>
                  <a:lnTo>
                    <a:pt x="319" y="2817"/>
                  </a:lnTo>
                  <a:lnTo>
                    <a:pt x="315" y="2814"/>
                  </a:lnTo>
                  <a:lnTo>
                    <a:pt x="313" y="2819"/>
                  </a:lnTo>
                  <a:lnTo>
                    <a:pt x="312" y="2824"/>
                  </a:lnTo>
                  <a:lnTo>
                    <a:pt x="311" y="2824"/>
                  </a:lnTo>
                  <a:lnTo>
                    <a:pt x="310" y="2822"/>
                  </a:lnTo>
                  <a:lnTo>
                    <a:pt x="309" y="2823"/>
                  </a:lnTo>
                  <a:lnTo>
                    <a:pt x="306" y="2825"/>
                  </a:lnTo>
                  <a:lnTo>
                    <a:pt x="306" y="2826"/>
                  </a:lnTo>
                  <a:lnTo>
                    <a:pt x="306" y="2827"/>
                  </a:lnTo>
                  <a:lnTo>
                    <a:pt x="306" y="2830"/>
                  </a:lnTo>
                  <a:lnTo>
                    <a:pt x="306" y="2837"/>
                  </a:lnTo>
                  <a:lnTo>
                    <a:pt x="307" y="2844"/>
                  </a:lnTo>
                  <a:lnTo>
                    <a:pt x="310" y="2856"/>
                  </a:lnTo>
                  <a:lnTo>
                    <a:pt x="304" y="2859"/>
                  </a:lnTo>
                  <a:lnTo>
                    <a:pt x="303" y="2859"/>
                  </a:lnTo>
                  <a:lnTo>
                    <a:pt x="303" y="2862"/>
                  </a:lnTo>
                  <a:lnTo>
                    <a:pt x="301" y="2869"/>
                  </a:lnTo>
                  <a:lnTo>
                    <a:pt x="300" y="2874"/>
                  </a:lnTo>
                  <a:lnTo>
                    <a:pt x="299" y="2878"/>
                  </a:lnTo>
                  <a:lnTo>
                    <a:pt x="298" y="2881"/>
                  </a:lnTo>
                  <a:lnTo>
                    <a:pt x="297" y="2883"/>
                  </a:lnTo>
                  <a:lnTo>
                    <a:pt x="294" y="2886"/>
                  </a:lnTo>
                  <a:lnTo>
                    <a:pt x="293" y="2888"/>
                  </a:lnTo>
                  <a:lnTo>
                    <a:pt x="289" y="2889"/>
                  </a:lnTo>
                  <a:lnTo>
                    <a:pt x="278" y="2885"/>
                  </a:lnTo>
                  <a:lnTo>
                    <a:pt x="275" y="2885"/>
                  </a:lnTo>
                  <a:lnTo>
                    <a:pt x="272" y="2888"/>
                  </a:lnTo>
                  <a:lnTo>
                    <a:pt x="271" y="2893"/>
                  </a:lnTo>
                  <a:lnTo>
                    <a:pt x="271" y="2898"/>
                  </a:lnTo>
                  <a:lnTo>
                    <a:pt x="270" y="2904"/>
                  </a:lnTo>
                  <a:lnTo>
                    <a:pt x="269" y="2906"/>
                  </a:lnTo>
                  <a:lnTo>
                    <a:pt x="266" y="2911"/>
                  </a:lnTo>
                  <a:lnTo>
                    <a:pt x="266" y="2912"/>
                  </a:lnTo>
                  <a:lnTo>
                    <a:pt x="265" y="2915"/>
                  </a:lnTo>
                  <a:lnTo>
                    <a:pt x="263" y="2914"/>
                  </a:lnTo>
                  <a:lnTo>
                    <a:pt x="260" y="2911"/>
                  </a:lnTo>
                  <a:lnTo>
                    <a:pt x="256" y="2912"/>
                  </a:lnTo>
                  <a:lnTo>
                    <a:pt x="254" y="2915"/>
                  </a:lnTo>
                  <a:lnTo>
                    <a:pt x="253" y="2920"/>
                  </a:lnTo>
                  <a:lnTo>
                    <a:pt x="255" y="2926"/>
                  </a:lnTo>
                  <a:lnTo>
                    <a:pt x="256" y="2928"/>
                  </a:lnTo>
                  <a:lnTo>
                    <a:pt x="258" y="2932"/>
                  </a:lnTo>
                  <a:lnTo>
                    <a:pt x="260" y="2933"/>
                  </a:lnTo>
                  <a:lnTo>
                    <a:pt x="261" y="2932"/>
                  </a:lnTo>
                  <a:lnTo>
                    <a:pt x="261" y="2933"/>
                  </a:lnTo>
                  <a:lnTo>
                    <a:pt x="261" y="2937"/>
                  </a:lnTo>
                  <a:lnTo>
                    <a:pt x="260" y="2942"/>
                  </a:lnTo>
                  <a:lnTo>
                    <a:pt x="256" y="2947"/>
                  </a:lnTo>
                  <a:lnTo>
                    <a:pt x="252" y="2950"/>
                  </a:lnTo>
                  <a:lnTo>
                    <a:pt x="249" y="2951"/>
                  </a:lnTo>
                  <a:lnTo>
                    <a:pt x="249" y="2957"/>
                  </a:lnTo>
                  <a:lnTo>
                    <a:pt x="247" y="2971"/>
                  </a:lnTo>
                  <a:lnTo>
                    <a:pt x="246" y="2979"/>
                  </a:lnTo>
                  <a:lnTo>
                    <a:pt x="249" y="2974"/>
                  </a:lnTo>
                  <a:lnTo>
                    <a:pt x="251" y="2971"/>
                  </a:lnTo>
                  <a:lnTo>
                    <a:pt x="253" y="2970"/>
                  </a:lnTo>
                  <a:lnTo>
                    <a:pt x="255" y="2975"/>
                  </a:lnTo>
                  <a:lnTo>
                    <a:pt x="267" y="2978"/>
                  </a:lnTo>
                  <a:lnTo>
                    <a:pt x="269" y="2984"/>
                  </a:lnTo>
                  <a:lnTo>
                    <a:pt x="266" y="2983"/>
                  </a:lnTo>
                  <a:lnTo>
                    <a:pt x="263" y="2986"/>
                  </a:lnTo>
                  <a:lnTo>
                    <a:pt x="259" y="2991"/>
                  </a:lnTo>
                  <a:lnTo>
                    <a:pt x="256" y="2994"/>
                  </a:lnTo>
                  <a:lnTo>
                    <a:pt x="260" y="3000"/>
                  </a:lnTo>
                  <a:lnTo>
                    <a:pt x="261" y="3003"/>
                  </a:lnTo>
                  <a:lnTo>
                    <a:pt x="258" y="3005"/>
                  </a:lnTo>
                  <a:lnTo>
                    <a:pt x="256" y="3009"/>
                  </a:lnTo>
                  <a:lnTo>
                    <a:pt x="254" y="3014"/>
                  </a:lnTo>
                  <a:lnTo>
                    <a:pt x="254" y="3019"/>
                  </a:lnTo>
                  <a:lnTo>
                    <a:pt x="255" y="3026"/>
                  </a:lnTo>
                  <a:lnTo>
                    <a:pt x="256" y="3028"/>
                  </a:lnTo>
                  <a:lnTo>
                    <a:pt x="258" y="3027"/>
                  </a:lnTo>
                  <a:lnTo>
                    <a:pt x="261" y="3024"/>
                  </a:lnTo>
                  <a:lnTo>
                    <a:pt x="260" y="3030"/>
                  </a:lnTo>
                  <a:lnTo>
                    <a:pt x="257" y="3041"/>
                  </a:lnTo>
                  <a:lnTo>
                    <a:pt x="257" y="3045"/>
                  </a:lnTo>
                  <a:lnTo>
                    <a:pt x="260" y="3042"/>
                  </a:lnTo>
                  <a:lnTo>
                    <a:pt x="262" y="3039"/>
                  </a:lnTo>
                  <a:lnTo>
                    <a:pt x="266" y="3038"/>
                  </a:lnTo>
                  <a:lnTo>
                    <a:pt x="268" y="3040"/>
                  </a:lnTo>
                  <a:lnTo>
                    <a:pt x="267" y="3042"/>
                  </a:lnTo>
                  <a:lnTo>
                    <a:pt x="266" y="3043"/>
                  </a:lnTo>
                  <a:lnTo>
                    <a:pt x="265" y="3048"/>
                  </a:lnTo>
                  <a:lnTo>
                    <a:pt x="266" y="3048"/>
                  </a:lnTo>
                  <a:lnTo>
                    <a:pt x="267" y="3049"/>
                  </a:lnTo>
                  <a:lnTo>
                    <a:pt x="268" y="3050"/>
                  </a:lnTo>
                  <a:lnTo>
                    <a:pt x="267" y="3056"/>
                  </a:lnTo>
                  <a:lnTo>
                    <a:pt x="266" y="3063"/>
                  </a:lnTo>
                  <a:lnTo>
                    <a:pt x="267" y="3068"/>
                  </a:lnTo>
                  <a:lnTo>
                    <a:pt x="270" y="3069"/>
                  </a:lnTo>
                  <a:lnTo>
                    <a:pt x="268" y="3064"/>
                  </a:lnTo>
                  <a:lnTo>
                    <a:pt x="269" y="3060"/>
                  </a:lnTo>
                  <a:lnTo>
                    <a:pt x="279" y="3043"/>
                  </a:lnTo>
                  <a:lnTo>
                    <a:pt x="280" y="3048"/>
                  </a:lnTo>
                  <a:lnTo>
                    <a:pt x="278" y="3052"/>
                  </a:lnTo>
                  <a:lnTo>
                    <a:pt x="277" y="3056"/>
                  </a:lnTo>
                  <a:lnTo>
                    <a:pt x="278" y="3060"/>
                  </a:lnTo>
                  <a:lnTo>
                    <a:pt x="279" y="3064"/>
                  </a:lnTo>
                  <a:lnTo>
                    <a:pt x="281" y="3065"/>
                  </a:lnTo>
                  <a:lnTo>
                    <a:pt x="290" y="3062"/>
                  </a:lnTo>
                  <a:lnTo>
                    <a:pt x="289" y="3067"/>
                  </a:lnTo>
                  <a:lnTo>
                    <a:pt x="289" y="3082"/>
                  </a:lnTo>
                  <a:lnTo>
                    <a:pt x="288" y="3088"/>
                  </a:lnTo>
                  <a:lnTo>
                    <a:pt x="286" y="3098"/>
                  </a:lnTo>
                  <a:lnTo>
                    <a:pt x="285" y="3104"/>
                  </a:lnTo>
                  <a:lnTo>
                    <a:pt x="288" y="3101"/>
                  </a:lnTo>
                  <a:lnTo>
                    <a:pt x="290" y="3096"/>
                  </a:lnTo>
                  <a:lnTo>
                    <a:pt x="292" y="3092"/>
                  </a:lnTo>
                  <a:lnTo>
                    <a:pt x="295" y="3092"/>
                  </a:lnTo>
                  <a:lnTo>
                    <a:pt x="292" y="3104"/>
                  </a:lnTo>
                  <a:lnTo>
                    <a:pt x="296" y="3109"/>
                  </a:lnTo>
                  <a:lnTo>
                    <a:pt x="298" y="3112"/>
                  </a:lnTo>
                  <a:lnTo>
                    <a:pt x="297" y="3116"/>
                  </a:lnTo>
                  <a:lnTo>
                    <a:pt x="295" y="3119"/>
                  </a:lnTo>
                  <a:lnTo>
                    <a:pt x="290" y="3123"/>
                  </a:lnTo>
                  <a:lnTo>
                    <a:pt x="288" y="3127"/>
                  </a:lnTo>
                  <a:lnTo>
                    <a:pt x="289" y="3131"/>
                  </a:lnTo>
                  <a:lnTo>
                    <a:pt x="288" y="3135"/>
                  </a:lnTo>
                  <a:lnTo>
                    <a:pt x="285" y="3145"/>
                  </a:lnTo>
                  <a:lnTo>
                    <a:pt x="283" y="3138"/>
                  </a:lnTo>
                  <a:lnTo>
                    <a:pt x="282" y="3141"/>
                  </a:lnTo>
                  <a:lnTo>
                    <a:pt x="281" y="3157"/>
                  </a:lnTo>
                  <a:lnTo>
                    <a:pt x="280" y="3165"/>
                  </a:lnTo>
                  <a:lnTo>
                    <a:pt x="274" y="3187"/>
                  </a:lnTo>
                  <a:lnTo>
                    <a:pt x="281" y="3189"/>
                  </a:lnTo>
                  <a:lnTo>
                    <a:pt x="283" y="3192"/>
                  </a:lnTo>
                  <a:lnTo>
                    <a:pt x="280" y="3199"/>
                  </a:lnTo>
                  <a:lnTo>
                    <a:pt x="282" y="3199"/>
                  </a:lnTo>
                  <a:lnTo>
                    <a:pt x="285" y="3203"/>
                  </a:lnTo>
                  <a:lnTo>
                    <a:pt x="286" y="3203"/>
                  </a:lnTo>
                  <a:lnTo>
                    <a:pt x="288" y="3203"/>
                  </a:lnTo>
                  <a:lnTo>
                    <a:pt x="295" y="3203"/>
                  </a:lnTo>
                  <a:lnTo>
                    <a:pt x="296" y="3203"/>
                  </a:lnTo>
                  <a:lnTo>
                    <a:pt x="297" y="3206"/>
                  </a:lnTo>
                  <a:lnTo>
                    <a:pt x="298" y="3209"/>
                  </a:lnTo>
                  <a:lnTo>
                    <a:pt x="299" y="3212"/>
                  </a:lnTo>
                  <a:lnTo>
                    <a:pt x="302" y="3214"/>
                  </a:lnTo>
                  <a:lnTo>
                    <a:pt x="301" y="3216"/>
                  </a:lnTo>
                  <a:lnTo>
                    <a:pt x="300" y="3218"/>
                  </a:lnTo>
                  <a:lnTo>
                    <a:pt x="299" y="3220"/>
                  </a:lnTo>
                  <a:lnTo>
                    <a:pt x="300" y="3224"/>
                  </a:lnTo>
                  <a:lnTo>
                    <a:pt x="302" y="3229"/>
                  </a:lnTo>
                  <a:lnTo>
                    <a:pt x="307" y="3236"/>
                  </a:lnTo>
                  <a:lnTo>
                    <a:pt x="307" y="3241"/>
                  </a:lnTo>
                  <a:lnTo>
                    <a:pt x="308" y="3243"/>
                  </a:lnTo>
                  <a:lnTo>
                    <a:pt x="311" y="3244"/>
                  </a:lnTo>
                  <a:lnTo>
                    <a:pt x="313" y="3246"/>
                  </a:lnTo>
                  <a:lnTo>
                    <a:pt x="314" y="3250"/>
                  </a:lnTo>
                  <a:lnTo>
                    <a:pt x="313" y="3254"/>
                  </a:lnTo>
                  <a:lnTo>
                    <a:pt x="311" y="3259"/>
                  </a:lnTo>
                  <a:lnTo>
                    <a:pt x="310" y="3263"/>
                  </a:lnTo>
                  <a:lnTo>
                    <a:pt x="314" y="3271"/>
                  </a:lnTo>
                  <a:lnTo>
                    <a:pt x="325" y="3279"/>
                  </a:lnTo>
                  <a:lnTo>
                    <a:pt x="329" y="3284"/>
                  </a:lnTo>
                  <a:lnTo>
                    <a:pt x="327" y="3285"/>
                  </a:lnTo>
                  <a:lnTo>
                    <a:pt x="321" y="3280"/>
                  </a:lnTo>
                  <a:lnTo>
                    <a:pt x="318" y="3279"/>
                  </a:lnTo>
                  <a:lnTo>
                    <a:pt x="318" y="3282"/>
                  </a:lnTo>
                  <a:lnTo>
                    <a:pt x="322" y="3290"/>
                  </a:lnTo>
                  <a:lnTo>
                    <a:pt x="322" y="3292"/>
                  </a:lnTo>
                  <a:lnTo>
                    <a:pt x="321" y="3297"/>
                  </a:lnTo>
                  <a:lnTo>
                    <a:pt x="321" y="3300"/>
                  </a:lnTo>
                  <a:lnTo>
                    <a:pt x="324" y="3303"/>
                  </a:lnTo>
                  <a:lnTo>
                    <a:pt x="327" y="3305"/>
                  </a:lnTo>
                  <a:lnTo>
                    <a:pt x="330" y="3307"/>
                  </a:lnTo>
                  <a:lnTo>
                    <a:pt x="334" y="3321"/>
                  </a:lnTo>
                  <a:lnTo>
                    <a:pt x="339" y="3330"/>
                  </a:lnTo>
                  <a:lnTo>
                    <a:pt x="350" y="3341"/>
                  </a:lnTo>
                  <a:lnTo>
                    <a:pt x="350" y="3343"/>
                  </a:lnTo>
                  <a:lnTo>
                    <a:pt x="345" y="3342"/>
                  </a:lnTo>
                  <a:lnTo>
                    <a:pt x="335" y="3335"/>
                  </a:lnTo>
                  <a:lnTo>
                    <a:pt x="317" y="3326"/>
                  </a:lnTo>
                  <a:lnTo>
                    <a:pt x="313" y="3327"/>
                  </a:lnTo>
                  <a:lnTo>
                    <a:pt x="310" y="3328"/>
                  </a:lnTo>
                  <a:lnTo>
                    <a:pt x="309" y="3329"/>
                  </a:lnTo>
                  <a:lnTo>
                    <a:pt x="309" y="3331"/>
                  </a:lnTo>
                  <a:lnTo>
                    <a:pt x="310" y="3334"/>
                  </a:lnTo>
                  <a:lnTo>
                    <a:pt x="317" y="3343"/>
                  </a:lnTo>
                  <a:lnTo>
                    <a:pt x="319" y="3344"/>
                  </a:lnTo>
                  <a:lnTo>
                    <a:pt x="324" y="3343"/>
                  </a:lnTo>
                  <a:lnTo>
                    <a:pt x="326" y="3343"/>
                  </a:lnTo>
                  <a:lnTo>
                    <a:pt x="327" y="3345"/>
                  </a:lnTo>
                  <a:lnTo>
                    <a:pt x="330" y="3355"/>
                  </a:lnTo>
                  <a:lnTo>
                    <a:pt x="324" y="3358"/>
                  </a:lnTo>
                  <a:lnTo>
                    <a:pt x="303" y="3355"/>
                  </a:lnTo>
                  <a:lnTo>
                    <a:pt x="306" y="3358"/>
                  </a:lnTo>
                  <a:lnTo>
                    <a:pt x="317" y="3364"/>
                  </a:lnTo>
                  <a:lnTo>
                    <a:pt x="322" y="3369"/>
                  </a:lnTo>
                  <a:lnTo>
                    <a:pt x="325" y="3373"/>
                  </a:lnTo>
                  <a:lnTo>
                    <a:pt x="327" y="3378"/>
                  </a:lnTo>
                  <a:lnTo>
                    <a:pt x="322" y="3380"/>
                  </a:lnTo>
                  <a:lnTo>
                    <a:pt x="312" y="3379"/>
                  </a:lnTo>
                  <a:lnTo>
                    <a:pt x="307" y="3382"/>
                  </a:lnTo>
                  <a:lnTo>
                    <a:pt x="309" y="3384"/>
                  </a:lnTo>
                  <a:lnTo>
                    <a:pt x="314" y="3385"/>
                  </a:lnTo>
                  <a:lnTo>
                    <a:pt x="316" y="3387"/>
                  </a:lnTo>
                  <a:lnTo>
                    <a:pt x="318" y="3389"/>
                  </a:lnTo>
                  <a:lnTo>
                    <a:pt x="319" y="3391"/>
                  </a:lnTo>
                  <a:lnTo>
                    <a:pt x="320" y="3398"/>
                  </a:lnTo>
                  <a:lnTo>
                    <a:pt x="320" y="3399"/>
                  </a:lnTo>
                  <a:lnTo>
                    <a:pt x="320" y="3403"/>
                  </a:lnTo>
                  <a:lnTo>
                    <a:pt x="320" y="3405"/>
                  </a:lnTo>
                  <a:lnTo>
                    <a:pt x="321" y="3406"/>
                  </a:lnTo>
                  <a:lnTo>
                    <a:pt x="322" y="3407"/>
                  </a:lnTo>
                  <a:lnTo>
                    <a:pt x="322" y="3409"/>
                  </a:lnTo>
                  <a:lnTo>
                    <a:pt x="322" y="3413"/>
                  </a:lnTo>
                  <a:lnTo>
                    <a:pt x="322" y="3419"/>
                  </a:lnTo>
                  <a:lnTo>
                    <a:pt x="322" y="3420"/>
                  </a:lnTo>
                  <a:lnTo>
                    <a:pt x="322" y="3423"/>
                  </a:lnTo>
                  <a:lnTo>
                    <a:pt x="316" y="3423"/>
                  </a:lnTo>
                  <a:lnTo>
                    <a:pt x="317" y="3427"/>
                  </a:lnTo>
                  <a:lnTo>
                    <a:pt x="315" y="3429"/>
                  </a:lnTo>
                  <a:lnTo>
                    <a:pt x="313" y="3430"/>
                  </a:lnTo>
                  <a:lnTo>
                    <a:pt x="312" y="3434"/>
                  </a:lnTo>
                  <a:lnTo>
                    <a:pt x="319" y="3438"/>
                  </a:lnTo>
                  <a:lnTo>
                    <a:pt x="322" y="3441"/>
                  </a:lnTo>
                  <a:lnTo>
                    <a:pt x="325" y="3448"/>
                  </a:lnTo>
                  <a:lnTo>
                    <a:pt x="320" y="3449"/>
                  </a:lnTo>
                  <a:lnTo>
                    <a:pt x="315" y="3452"/>
                  </a:lnTo>
                  <a:lnTo>
                    <a:pt x="315" y="3453"/>
                  </a:lnTo>
                  <a:lnTo>
                    <a:pt x="316" y="3456"/>
                  </a:lnTo>
                  <a:lnTo>
                    <a:pt x="311" y="3456"/>
                  </a:lnTo>
                  <a:lnTo>
                    <a:pt x="308" y="3457"/>
                  </a:lnTo>
                  <a:lnTo>
                    <a:pt x="306" y="3459"/>
                  </a:lnTo>
                  <a:lnTo>
                    <a:pt x="309" y="3459"/>
                  </a:lnTo>
                  <a:lnTo>
                    <a:pt x="306" y="3463"/>
                  </a:lnTo>
                  <a:lnTo>
                    <a:pt x="307" y="3465"/>
                  </a:lnTo>
                  <a:lnTo>
                    <a:pt x="308" y="3465"/>
                  </a:lnTo>
                  <a:lnTo>
                    <a:pt x="310" y="3466"/>
                  </a:lnTo>
                  <a:lnTo>
                    <a:pt x="310" y="3466"/>
                  </a:lnTo>
                  <a:lnTo>
                    <a:pt x="307" y="3468"/>
                  </a:lnTo>
                  <a:lnTo>
                    <a:pt x="305" y="3468"/>
                  </a:lnTo>
                  <a:lnTo>
                    <a:pt x="307" y="3470"/>
                  </a:lnTo>
                  <a:lnTo>
                    <a:pt x="308" y="3473"/>
                  </a:lnTo>
                  <a:lnTo>
                    <a:pt x="310" y="3482"/>
                  </a:lnTo>
                  <a:lnTo>
                    <a:pt x="308" y="3485"/>
                  </a:lnTo>
                  <a:lnTo>
                    <a:pt x="308" y="3489"/>
                  </a:lnTo>
                  <a:lnTo>
                    <a:pt x="310" y="3493"/>
                  </a:lnTo>
                  <a:lnTo>
                    <a:pt x="313" y="3495"/>
                  </a:lnTo>
                  <a:lnTo>
                    <a:pt x="308" y="3497"/>
                  </a:lnTo>
                  <a:lnTo>
                    <a:pt x="299" y="3492"/>
                  </a:lnTo>
                  <a:lnTo>
                    <a:pt x="294" y="3495"/>
                  </a:lnTo>
                  <a:lnTo>
                    <a:pt x="298" y="3496"/>
                  </a:lnTo>
                  <a:lnTo>
                    <a:pt x="301" y="3498"/>
                  </a:lnTo>
                  <a:lnTo>
                    <a:pt x="301" y="3499"/>
                  </a:lnTo>
                  <a:lnTo>
                    <a:pt x="301" y="3500"/>
                  </a:lnTo>
                  <a:lnTo>
                    <a:pt x="297" y="3502"/>
                  </a:lnTo>
                  <a:lnTo>
                    <a:pt x="294" y="3500"/>
                  </a:lnTo>
                  <a:lnTo>
                    <a:pt x="287" y="3495"/>
                  </a:lnTo>
                  <a:lnTo>
                    <a:pt x="283" y="3495"/>
                  </a:lnTo>
                  <a:lnTo>
                    <a:pt x="284" y="3499"/>
                  </a:lnTo>
                  <a:lnTo>
                    <a:pt x="285" y="3502"/>
                  </a:lnTo>
                  <a:lnTo>
                    <a:pt x="290" y="3506"/>
                  </a:lnTo>
                  <a:lnTo>
                    <a:pt x="289" y="3507"/>
                  </a:lnTo>
                  <a:lnTo>
                    <a:pt x="286" y="3511"/>
                  </a:lnTo>
                  <a:lnTo>
                    <a:pt x="289" y="3513"/>
                  </a:lnTo>
                  <a:lnTo>
                    <a:pt x="296" y="3528"/>
                  </a:lnTo>
                  <a:lnTo>
                    <a:pt x="297" y="3531"/>
                  </a:lnTo>
                  <a:lnTo>
                    <a:pt x="298" y="3533"/>
                  </a:lnTo>
                  <a:lnTo>
                    <a:pt x="298" y="3535"/>
                  </a:lnTo>
                  <a:lnTo>
                    <a:pt x="300" y="3535"/>
                  </a:lnTo>
                  <a:lnTo>
                    <a:pt x="301" y="3536"/>
                  </a:lnTo>
                  <a:lnTo>
                    <a:pt x="302" y="3539"/>
                  </a:lnTo>
                  <a:lnTo>
                    <a:pt x="303" y="3543"/>
                  </a:lnTo>
                  <a:lnTo>
                    <a:pt x="304" y="3546"/>
                  </a:lnTo>
                  <a:lnTo>
                    <a:pt x="302" y="3546"/>
                  </a:lnTo>
                  <a:lnTo>
                    <a:pt x="301" y="3545"/>
                  </a:lnTo>
                  <a:lnTo>
                    <a:pt x="300" y="3543"/>
                  </a:lnTo>
                  <a:lnTo>
                    <a:pt x="298" y="3542"/>
                  </a:lnTo>
                  <a:lnTo>
                    <a:pt x="297" y="3542"/>
                  </a:lnTo>
                  <a:lnTo>
                    <a:pt x="294" y="3546"/>
                  </a:lnTo>
                  <a:lnTo>
                    <a:pt x="292" y="3546"/>
                  </a:lnTo>
                  <a:lnTo>
                    <a:pt x="295" y="3552"/>
                  </a:lnTo>
                  <a:lnTo>
                    <a:pt x="296" y="3553"/>
                  </a:lnTo>
                  <a:lnTo>
                    <a:pt x="300" y="3553"/>
                  </a:lnTo>
                  <a:lnTo>
                    <a:pt x="302" y="3554"/>
                  </a:lnTo>
                  <a:lnTo>
                    <a:pt x="304" y="3555"/>
                  </a:lnTo>
                  <a:lnTo>
                    <a:pt x="301" y="3559"/>
                  </a:lnTo>
                  <a:lnTo>
                    <a:pt x="297" y="3559"/>
                  </a:lnTo>
                  <a:lnTo>
                    <a:pt x="289" y="3557"/>
                  </a:lnTo>
                  <a:lnTo>
                    <a:pt x="286" y="3559"/>
                  </a:lnTo>
                  <a:lnTo>
                    <a:pt x="290" y="3565"/>
                  </a:lnTo>
                  <a:lnTo>
                    <a:pt x="288" y="3568"/>
                  </a:lnTo>
                  <a:lnTo>
                    <a:pt x="288" y="3571"/>
                  </a:lnTo>
                  <a:lnTo>
                    <a:pt x="289" y="3573"/>
                  </a:lnTo>
                  <a:lnTo>
                    <a:pt x="290" y="3574"/>
                  </a:lnTo>
                  <a:lnTo>
                    <a:pt x="291" y="3575"/>
                  </a:lnTo>
                  <a:lnTo>
                    <a:pt x="293" y="3575"/>
                  </a:lnTo>
                  <a:lnTo>
                    <a:pt x="295" y="3577"/>
                  </a:lnTo>
                  <a:lnTo>
                    <a:pt x="296" y="3582"/>
                  </a:lnTo>
                  <a:lnTo>
                    <a:pt x="295" y="3586"/>
                  </a:lnTo>
                  <a:lnTo>
                    <a:pt x="298" y="3586"/>
                  </a:lnTo>
                  <a:lnTo>
                    <a:pt x="300" y="3588"/>
                  </a:lnTo>
                  <a:lnTo>
                    <a:pt x="303" y="3593"/>
                  </a:lnTo>
                  <a:lnTo>
                    <a:pt x="301" y="3593"/>
                  </a:lnTo>
                  <a:lnTo>
                    <a:pt x="300" y="3593"/>
                  </a:lnTo>
                  <a:lnTo>
                    <a:pt x="297" y="3595"/>
                  </a:lnTo>
                  <a:lnTo>
                    <a:pt x="300" y="3598"/>
                  </a:lnTo>
                  <a:lnTo>
                    <a:pt x="304" y="3600"/>
                  </a:lnTo>
                  <a:lnTo>
                    <a:pt x="307" y="3602"/>
                  </a:lnTo>
                  <a:lnTo>
                    <a:pt x="310" y="3602"/>
                  </a:lnTo>
                  <a:lnTo>
                    <a:pt x="310" y="3604"/>
                  </a:lnTo>
                  <a:lnTo>
                    <a:pt x="303" y="3604"/>
                  </a:lnTo>
                  <a:lnTo>
                    <a:pt x="305" y="3608"/>
                  </a:lnTo>
                  <a:lnTo>
                    <a:pt x="306" y="3611"/>
                  </a:lnTo>
                  <a:lnTo>
                    <a:pt x="307" y="3614"/>
                  </a:lnTo>
                  <a:lnTo>
                    <a:pt x="306" y="3619"/>
                  </a:lnTo>
                  <a:lnTo>
                    <a:pt x="304" y="3619"/>
                  </a:lnTo>
                  <a:lnTo>
                    <a:pt x="292" y="3615"/>
                  </a:lnTo>
                  <a:lnTo>
                    <a:pt x="293" y="3617"/>
                  </a:lnTo>
                  <a:lnTo>
                    <a:pt x="292" y="3618"/>
                  </a:lnTo>
                  <a:lnTo>
                    <a:pt x="292" y="3618"/>
                  </a:lnTo>
                  <a:lnTo>
                    <a:pt x="292" y="3620"/>
                  </a:lnTo>
                  <a:lnTo>
                    <a:pt x="294" y="3624"/>
                  </a:lnTo>
                  <a:lnTo>
                    <a:pt x="296" y="3629"/>
                  </a:lnTo>
                  <a:lnTo>
                    <a:pt x="300" y="3634"/>
                  </a:lnTo>
                  <a:lnTo>
                    <a:pt x="303" y="3635"/>
                  </a:lnTo>
                  <a:lnTo>
                    <a:pt x="310" y="3642"/>
                  </a:lnTo>
                  <a:lnTo>
                    <a:pt x="310" y="3644"/>
                  </a:lnTo>
                  <a:lnTo>
                    <a:pt x="307" y="3644"/>
                  </a:lnTo>
                  <a:lnTo>
                    <a:pt x="302" y="3642"/>
                  </a:lnTo>
                  <a:lnTo>
                    <a:pt x="304" y="3646"/>
                  </a:lnTo>
                  <a:lnTo>
                    <a:pt x="303" y="3648"/>
                  </a:lnTo>
                  <a:lnTo>
                    <a:pt x="302" y="3648"/>
                  </a:lnTo>
                  <a:lnTo>
                    <a:pt x="301" y="3648"/>
                  </a:lnTo>
                  <a:lnTo>
                    <a:pt x="301" y="3651"/>
                  </a:lnTo>
                  <a:lnTo>
                    <a:pt x="302" y="3651"/>
                  </a:lnTo>
                  <a:lnTo>
                    <a:pt x="305" y="3654"/>
                  </a:lnTo>
                  <a:lnTo>
                    <a:pt x="306" y="3655"/>
                  </a:lnTo>
                  <a:lnTo>
                    <a:pt x="308" y="3655"/>
                  </a:lnTo>
                  <a:lnTo>
                    <a:pt x="313" y="3653"/>
                  </a:lnTo>
                  <a:lnTo>
                    <a:pt x="324" y="3653"/>
                  </a:lnTo>
                  <a:lnTo>
                    <a:pt x="328" y="3655"/>
                  </a:lnTo>
                  <a:lnTo>
                    <a:pt x="328" y="3658"/>
                  </a:lnTo>
                  <a:lnTo>
                    <a:pt x="321" y="3655"/>
                  </a:lnTo>
                  <a:lnTo>
                    <a:pt x="318" y="3655"/>
                  </a:lnTo>
                  <a:lnTo>
                    <a:pt x="326" y="3668"/>
                  </a:lnTo>
                  <a:lnTo>
                    <a:pt x="329" y="3675"/>
                  </a:lnTo>
                  <a:lnTo>
                    <a:pt x="325" y="3679"/>
                  </a:lnTo>
                  <a:lnTo>
                    <a:pt x="328" y="3681"/>
                  </a:lnTo>
                  <a:lnTo>
                    <a:pt x="333" y="3680"/>
                  </a:lnTo>
                  <a:lnTo>
                    <a:pt x="338" y="3678"/>
                  </a:lnTo>
                  <a:lnTo>
                    <a:pt x="340" y="3674"/>
                  </a:lnTo>
                  <a:lnTo>
                    <a:pt x="340" y="3670"/>
                  </a:lnTo>
                  <a:lnTo>
                    <a:pt x="340" y="3668"/>
                  </a:lnTo>
                  <a:lnTo>
                    <a:pt x="340" y="3667"/>
                  </a:lnTo>
                  <a:lnTo>
                    <a:pt x="342" y="3665"/>
                  </a:lnTo>
                  <a:lnTo>
                    <a:pt x="342" y="3662"/>
                  </a:lnTo>
                  <a:lnTo>
                    <a:pt x="341" y="3658"/>
                  </a:lnTo>
                  <a:lnTo>
                    <a:pt x="341" y="3655"/>
                  </a:lnTo>
                  <a:lnTo>
                    <a:pt x="344" y="3652"/>
                  </a:lnTo>
                  <a:lnTo>
                    <a:pt x="352" y="3650"/>
                  </a:lnTo>
                  <a:lnTo>
                    <a:pt x="356" y="3647"/>
                  </a:lnTo>
                  <a:lnTo>
                    <a:pt x="359" y="3643"/>
                  </a:lnTo>
                  <a:lnTo>
                    <a:pt x="369" y="3635"/>
                  </a:lnTo>
                  <a:lnTo>
                    <a:pt x="368" y="3639"/>
                  </a:lnTo>
                  <a:lnTo>
                    <a:pt x="368" y="3643"/>
                  </a:lnTo>
                  <a:lnTo>
                    <a:pt x="368" y="3646"/>
                  </a:lnTo>
                  <a:lnTo>
                    <a:pt x="370" y="3648"/>
                  </a:lnTo>
                  <a:lnTo>
                    <a:pt x="366" y="3649"/>
                  </a:lnTo>
                  <a:lnTo>
                    <a:pt x="364" y="3652"/>
                  </a:lnTo>
                  <a:lnTo>
                    <a:pt x="364" y="3657"/>
                  </a:lnTo>
                  <a:lnTo>
                    <a:pt x="364" y="3662"/>
                  </a:lnTo>
                  <a:lnTo>
                    <a:pt x="364" y="3669"/>
                  </a:lnTo>
                  <a:lnTo>
                    <a:pt x="361" y="3678"/>
                  </a:lnTo>
                  <a:lnTo>
                    <a:pt x="361" y="3684"/>
                  </a:lnTo>
                  <a:lnTo>
                    <a:pt x="364" y="3681"/>
                  </a:lnTo>
                  <a:lnTo>
                    <a:pt x="368" y="3681"/>
                  </a:lnTo>
                  <a:lnTo>
                    <a:pt x="375" y="3684"/>
                  </a:lnTo>
                  <a:lnTo>
                    <a:pt x="371" y="3676"/>
                  </a:lnTo>
                  <a:lnTo>
                    <a:pt x="370" y="3672"/>
                  </a:lnTo>
                  <a:lnTo>
                    <a:pt x="372" y="3668"/>
                  </a:lnTo>
                  <a:lnTo>
                    <a:pt x="375" y="3667"/>
                  </a:lnTo>
                  <a:lnTo>
                    <a:pt x="379" y="3668"/>
                  </a:lnTo>
                  <a:lnTo>
                    <a:pt x="384" y="3669"/>
                  </a:lnTo>
                  <a:lnTo>
                    <a:pt x="387" y="3671"/>
                  </a:lnTo>
                  <a:lnTo>
                    <a:pt x="386" y="3673"/>
                  </a:lnTo>
                  <a:lnTo>
                    <a:pt x="385" y="3677"/>
                  </a:lnTo>
                  <a:lnTo>
                    <a:pt x="384" y="3679"/>
                  </a:lnTo>
                  <a:lnTo>
                    <a:pt x="392" y="3679"/>
                  </a:lnTo>
                  <a:lnTo>
                    <a:pt x="392" y="3683"/>
                  </a:lnTo>
                  <a:lnTo>
                    <a:pt x="392" y="3684"/>
                  </a:lnTo>
                  <a:lnTo>
                    <a:pt x="393" y="3685"/>
                  </a:lnTo>
                  <a:lnTo>
                    <a:pt x="394" y="3686"/>
                  </a:lnTo>
                  <a:lnTo>
                    <a:pt x="395" y="3686"/>
                  </a:lnTo>
                  <a:lnTo>
                    <a:pt x="397" y="3686"/>
                  </a:lnTo>
                  <a:lnTo>
                    <a:pt x="398" y="3686"/>
                  </a:lnTo>
                  <a:lnTo>
                    <a:pt x="398" y="3687"/>
                  </a:lnTo>
                  <a:lnTo>
                    <a:pt x="398" y="3690"/>
                  </a:lnTo>
                  <a:lnTo>
                    <a:pt x="398" y="3690"/>
                  </a:lnTo>
                  <a:lnTo>
                    <a:pt x="402" y="3697"/>
                  </a:lnTo>
                  <a:lnTo>
                    <a:pt x="405" y="3697"/>
                  </a:lnTo>
                  <a:lnTo>
                    <a:pt x="408" y="3694"/>
                  </a:lnTo>
                  <a:lnTo>
                    <a:pt x="411" y="3689"/>
                  </a:lnTo>
                  <a:lnTo>
                    <a:pt x="412" y="3691"/>
                  </a:lnTo>
                  <a:lnTo>
                    <a:pt x="412" y="3695"/>
                  </a:lnTo>
                  <a:lnTo>
                    <a:pt x="413" y="3697"/>
                  </a:lnTo>
                  <a:lnTo>
                    <a:pt x="420" y="3698"/>
                  </a:lnTo>
                  <a:lnTo>
                    <a:pt x="423" y="3699"/>
                  </a:lnTo>
                  <a:lnTo>
                    <a:pt x="434" y="3707"/>
                  </a:lnTo>
                  <a:lnTo>
                    <a:pt x="439" y="3713"/>
                  </a:lnTo>
                  <a:lnTo>
                    <a:pt x="441" y="3714"/>
                  </a:lnTo>
                  <a:lnTo>
                    <a:pt x="447" y="3715"/>
                  </a:lnTo>
                  <a:lnTo>
                    <a:pt x="471" y="3708"/>
                  </a:lnTo>
                  <a:lnTo>
                    <a:pt x="468" y="3717"/>
                  </a:lnTo>
                  <a:lnTo>
                    <a:pt x="481" y="3718"/>
                  </a:lnTo>
                  <a:lnTo>
                    <a:pt x="487" y="3717"/>
                  </a:lnTo>
                  <a:lnTo>
                    <a:pt x="494" y="3709"/>
                  </a:lnTo>
                  <a:lnTo>
                    <a:pt x="495" y="3712"/>
                  </a:lnTo>
                  <a:lnTo>
                    <a:pt x="494" y="3717"/>
                  </a:lnTo>
                  <a:lnTo>
                    <a:pt x="489" y="3721"/>
                  </a:lnTo>
                  <a:lnTo>
                    <a:pt x="481" y="3730"/>
                  </a:lnTo>
                  <a:lnTo>
                    <a:pt x="481" y="3735"/>
                  </a:lnTo>
                  <a:lnTo>
                    <a:pt x="476" y="3741"/>
                  </a:lnTo>
                  <a:lnTo>
                    <a:pt x="472" y="3746"/>
                  </a:lnTo>
                  <a:lnTo>
                    <a:pt x="469" y="3748"/>
                  </a:lnTo>
                  <a:lnTo>
                    <a:pt x="468" y="3750"/>
                  </a:lnTo>
                  <a:lnTo>
                    <a:pt x="468" y="3752"/>
                  </a:lnTo>
                  <a:lnTo>
                    <a:pt x="468" y="3754"/>
                  </a:lnTo>
                  <a:lnTo>
                    <a:pt x="467" y="3756"/>
                  </a:lnTo>
                  <a:lnTo>
                    <a:pt x="466" y="3758"/>
                  </a:lnTo>
                  <a:lnTo>
                    <a:pt x="475" y="3758"/>
                  </a:lnTo>
                  <a:lnTo>
                    <a:pt x="478" y="3756"/>
                  </a:lnTo>
                  <a:lnTo>
                    <a:pt x="486" y="3750"/>
                  </a:lnTo>
                  <a:lnTo>
                    <a:pt x="490" y="3749"/>
                  </a:lnTo>
                  <a:lnTo>
                    <a:pt x="498" y="3748"/>
                  </a:lnTo>
                  <a:lnTo>
                    <a:pt x="490" y="3751"/>
                  </a:lnTo>
                  <a:lnTo>
                    <a:pt x="488" y="3753"/>
                  </a:lnTo>
                  <a:lnTo>
                    <a:pt x="486" y="3759"/>
                  </a:lnTo>
                  <a:lnTo>
                    <a:pt x="486" y="3762"/>
                  </a:lnTo>
                  <a:lnTo>
                    <a:pt x="489" y="3763"/>
                  </a:lnTo>
                  <a:lnTo>
                    <a:pt x="481" y="3769"/>
                  </a:lnTo>
                  <a:lnTo>
                    <a:pt x="478" y="3771"/>
                  </a:lnTo>
                  <a:lnTo>
                    <a:pt x="483" y="3771"/>
                  </a:lnTo>
                  <a:lnTo>
                    <a:pt x="492" y="3766"/>
                  </a:lnTo>
                  <a:lnTo>
                    <a:pt x="512" y="3761"/>
                  </a:lnTo>
                  <a:lnTo>
                    <a:pt x="534" y="3741"/>
                  </a:lnTo>
                  <a:lnTo>
                    <a:pt x="544" y="3736"/>
                  </a:lnTo>
                  <a:lnTo>
                    <a:pt x="553" y="3739"/>
                  </a:lnTo>
                  <a:lnTo>
                    <a:pt x="555" y="3733"/>
                  </a:lnTo>
                  <a:lnTo>
                    <a:pt x="559" y="3727"/>
                  </a:lnTo>
                  <a:lnTo>
                    <a:pt x="563" y="3722"/>
                  </a:lnTo>
                  <a:lnTo>
                    <a:pt x="566" y="3723"/>
                  </a:lnTo>
                  <a:lnTo>
                    <a:pt x="567" y="3726"/>
                  </a:lnTo>
                  <a:lnTo>
                    <a:pt x="565" y="3728"/>
                  </a:lnTo>
                  <a:lnTo>
                    <a:pt x="561" y="3732"/>
                  </a:lnTo>
                  <a:lnTo>
                    <a:pt x="559" y="3735"/>
                  </a:lnTo>
                  <a:lnTo>
                    <a:pt x="559" y="3740"/>
                  </a:lnTo>
                  <a:lnTo>
                    <a:pt x="558" y="3743"/>
                  </a:lnTo>
                  <a:lnTo>
                    <a:pt x="555" y="3748"/>
                  </a:lnTo>
                  <a:lnTo>
                    <a:pt x="544" y="3758"/>
                  </a:lnTo>
                  <a:lnTo>
                    <a:pt x="541" y="3763"/>
                  </a:lnTo>
                  <a:lnTo>
                    <a:pt x="532" y="3778"/>
                  </a:lnTo>
                  <a:lnTo>
                    <a:pt x="534" y="3780"/>
                  </a:lnTo>
                  <a:lnTo>
                    <a:pt x="535" y="3783"/>
                  </a:lnTo>
                  <a:lnTo>
                    <a:pt x="535" y="3785"/>
                  </a:lnTo>
                  <a:lnTo>
                    <a:pt x="534" y="3789"/>
                  </a:lnTo>
                  <a:lnTo>
                    <a:pt x="535" y="3790"/>
                  </a:lnTo>
                  <a:lnTo>
                    <a:pt x="539" y="3795"/>
                  </a:lnTo>
                  <a:lnTo>
                    <a:pt x="544" y="3796"/>
                  </a:lnTo>
                  <a:lnTo>
                    <a:pt x="547" y="3798"/>
                  </a:lnTo>
                  <a:lnTo>
                    <a:pt x="549" y="3801"/>
                  </a:lnTo>
                  <a:lnTo>
                    <a:pt x="549" y="3806"/>
                  </a:lnTo>
                  <a:lnTo>
                    <a:pt x="550" y="3805"/>
                  </a:lnTo>
                  <a:lnTo>
                    <a:pt x="553" y="3804"/>
                  </a:lnTo>
                  <a:lnTo>
                    <a:pt x="554" y="3802"/>
                  </a:lnTo>
                  <a:lnTo>
                    <a:pt x="555" y="3801"/>
                  </a:lnTo>
                  <a:lnTo>
                    <a:pt x="557" y="3795"/>
                  </a:lnTo>
                  <a:lnTo>
                    <a:pt x="558" y="3793"/>
                  </a:lnTo>
                  <a:lnTo>
                    <a:pt x="561" y="3798"/>
                  </a:lnTo>
                  <a:lnTo>
                    <a:pt x="555" y="3804"/>
                  </a:lnTo>
                  <a:lnTo>
                    <a:pt x="553" y="3808"/>
                  </a:lnTo>
                  <a:lnTo>
                    <a:pt x="552" y="3812"/>
                  </a:lnTo>
                  <a:lnTo>
                    <a:pt x="553" y="3817"/>
                  </a:lnTo>
                  <a:lnTo>
                    <a:pt x="556" y="3820"/>
                  </a:lnTo>
                  <a:lnTo>
                    <a:pt x="559" y="3822"/>
                  </a:lnTo>
                  <a:lnTo>
                    <a:pt x="563" y="3824"/>
                  </a:lnTo>
                  <a:lnTo>
                    <a:pt x="570" y="3824"/>
                  </a:lnTo>
                  <a:lnTo>
                    <a:pt x="586" y="3821"/>
                  </a:lnTo>
                  <a:lnTo>
                    <a:pt x="594" y="3824"/>
                  </a:lnTo>
                  <a:lnTo>
                    <a:pt x="592" y="3826"/>
                  </a:lnTo>
                  <a:lnTo>
                    <a:pt x="588" y="3834"/>
                  </a:lnTo>
                  <a:lnTo>
                    <a:pt x="586" y="3837"/>
                  </a:lnTo>
                  <a:lnTo>
                    <a:pt x="574" y="3842"/>
                  </a:lnTo>
                  <a:lnTo>
                    <a:pt x="571" y="3844"/>
                  </a:lnTo>
                  <a:lnTo>
                    <a:pt x="571" y="3846"/>
                  </a:lnTo>
                  <a:lnTo>
                    <a:pt x="569" y="3855"/>
                  </a:lnTo>
                  <a:lnTo>
                    <a:pt x="570" y="3859"/>
                  </a:lnTo>
                  <a:lnTo>
                    <a:pt x="571" y="3861"/>
                  </a:lnTo>
                  <a:lnTo>
                    <a:pt x="572" y="3860"/>
                  </a:lnTo>
                  <a:lnTo>
                    <a:pt x="573" y="3858"/>
                  </a:lnTo>
                  <a:lnTo>
                    <a:pt x="574" y="3854"/>
                  </a:lnTo>
                  <a:lnTo>
                    <a:pt x="581" y="3857"/>
                  </a:lnTo>
                  <a:lnTo>
                    <a:pt x="580" y="3854"/>
                  </a:lnTo>
                  <a:lnTo>
                    <a:pt x="582" y="3853"/>
                  </a:lnTo>
                  <a:lnTo>
                    <a:pt x="583" y="3852"/>
                  </a:lnTo>
                  <a:lnTo>
                    <a:pt x="585" y="3853"/>
                  </a:lnTo>
                  <a:lnTo>
                    <a:pt x="587" y="3854"/>
                  </a:lnTo>
                  <a:lnTo>
                    <a:pt x="586" y="3855"/>
                  </a:lnTo>
                  <a:lnTo>
                    <a:pt x="586" y="3858"/>
                  </a:lnTo>
                  <a:lnTo>
                    <a:pt x="586" y="3858"/>
                  </a:lnTo>
                  <a:lnTo>
                    <a:pt x="589" y="3858"/>
                  </a:lnTo>
                  <a:lnTo>
                    <a:pt x="593" y="3853"/>
                  </a:lnTo>
                  <a:lnTo>
                    <a:pt x="603" y="3829"/>
                  </a:lnTo>
                  <a:lnTo>
                    <a:pt x="606" y="3827"/>
                  </a:lnTo>
                  <a:lnTo>
                    <a:pt x="605" y="3834"/>
                  </a:lnTo>
                  <a:lnTo>
                    <a:pt x="603" y="3843"/>
                  </a:lnTo>
                  <a:lnTo>
                    <a:pt x="600" y="3849"/>
                  </a:lnTo>
                  <a:lnTo>
                    <a:pt x="596" y="3857"/>
                  </a:lnTo>
                  <a:lnTo>
                    <a:pt x="593" y="3861"/>
                  </a:lnTo>
                  <a:lnTo>
                    <a:pt x="589" y="3863"/>
                  </a:lnTo>
                  <a:lnTo>
                    <a:pt x="583" y="3863"/>
                  </a:lnTo>
                  <a:lnTo>
                    <a:pt x="582" y="3863"/>
                  </a:lnTo>
                  <a:lnTo>
                    <a:pt x="580" y="3863"/>
                  </a:lnTo>
                  <a:lnTo>
                    <a:pt x="579" y="3865"/>
                  </a:lnTo>
                  <a:lnTo>
                    <a:pt x="580" y="3872"/>
                  </a:lnTo>
                  <a:lnTo>
                    <a:pt x="574" y="3872"/>
                  </a:lnTo>
                  <a:lnTo>
                    <a:pt x="551" y="3883"/>
                  </a:lnTo>
                  <a:lnTo>
                    <a:pt x="545" y="3884"/>
                  </a:lnTo>
                  <a:lnTo>
                    <a:pt x="543" y="3886"/>
                  </a:lnTo>
                  <a:lnTo>
                    <a:pt x="539" y="3893"/>
                  </a:lnTo>
                  <a:lnTo>
                    <a:pt x="536" y="3895"/>
                  </a:lnTo>
                  <a:lnTo>
                    <a:pt x="539" y="3896"/>
                  </a:lnTo>
                  <a:lnTo>
                    <a:pt x="548" y="3894"/>
                  </a:lnTo>
                  <a:lnTo>
                    <a:pt x="551" y="3892"/>
                  </a:lnTo>
                  <a:lnTo>
                    <a:pt x="554" y="3891"/>
                  </a:lnTo>
                  <a:lnTo>
                    <a:pt x="564" y="3893"/>
                  </a:lnTo>
                  <a:lnTo>
                    <a:pt x="566" y="3891"/>
                  </a:lnTo>
                  <a:lnTo>
                    <a:pt x="593" y="3887"/>
                  </a:lnTo>
                  <a:lnTo>
                    <a:pt x="593" y="3884"/>
                  </a:lnTo>
                  <a:lnTo>
                    <a:pt x="590" y="3883"/>
                  </a:lnTo>
                  <a:lnTo>
                    <a:pt x="589" y="3878"/>
                  </a:lnTo>
                  <a:lnTo>
                    <a:pt x="589" y="3873"/>
                  </a:lnTo>
                  <a:lnTo>
                    <a:pt x="591" y="3869"/>
                  </a:lnTo>
                  <a:lnTo>
                    <a:pt x="605" y="3861"/>
                  </a:lnTo>
                  <a:lnTo>
                    <a:pt x="611" y="3854"/>
                  </a:lnTo>
                  <a:lnTo>
                    <a:pt x="617" y="3844"/>
                  </a:lnTo>
                  <a:lnTo>
                    <a:pt x="618" y="3843"/>
                  </a:lnTo>
                  <a:lnTo>
                    <a:pt x="622" y="3840"/>
                  </a:lnTo>
                  <a:lnTo>
                    <a:pt x="623" y="3838"/>
                  </a:lnTo>
                  <a:lnTo>
                    <a:pt x="624" y="3835"/>
                  </a:lnTo>
                  <a:lnTo>
                    <a:pt x="625" y="3831"/>
                  </a:lnTo>
                  <a:lnTo>
                    <a:pt x="626" y="3828"/>
                  </a:lnTo>
                  <a:lnTo>
                    <a:pt x="627" y="3826"/>
                  </a:lnTo>
                  <a:lnTo>
                    <a:pt x="629" y="3825"/>
                  </a:lnTo>
                  <a:lnTo>
                    <a:pt x="631" y="3822"/>
                  </a:lnTo>
                  <a:lnTo>
                    <a:pt x="631" y="3819"/>
                  </a:lnTo>
                  <a:lnTo>
                    <a:pt x="632" y="3816"/>
                  </a:lnTo>
                  <a:lnTo>
                    <a:pt x="634" y="3815"/>
                  </a:lnTo>
                  <a:lnTo>
                    <a:pt x="640" y="3813"/>
                  </a:lnTo>
                  <a:lnTo>
                    <a:pt x="639" y="3816"/>
                  </a:lnTo>
                  <a:lnTo>
                    <a:pt x="638" y="3819"/>
                  </a:lnTo>
                  <a:lnTo>
                    <a:pt x="639" y="3822"/>
                  </a:lnTo>
                  <a:lnTo>
                    <a:pt x="640" y="3825"/>
                  </a:lnTo>
                  <a:lnTo>
                    <a:pt x="639" y="3827"/>
                  </a:lnTo>
                  <a:lnTo>
                    <a:pt x="637" y="3829"/>
                  </a:lnTo>
                  <a:lnTo>
                    <a:pt x="632" y="3830"/>
                  </a:lnTo>
                  <a:lnTo>
                    <a:pt x="630" y="3833"/>
                  </a:lnTo>
                  <a:lnTo>
                    <a:pt x="623" y="3845"/>
                  </a:lnTo>
                  <a:lnTo>
                    <a:pt x="622" y="3850"/>
                  </a:lnTo>
                  <a:lnTo>
                    <a:pt x="625" y="3850"/>
                  </a:lnTo>
                  <a:lnTo>
                    <a:pt x="632" y="3847"/>
                  </a:lnTo>
                  <a:lnTo>
                    <a:pt x="643" y="3844"/>
                  </a:lnTo>
                  <a:lnTo>
                    <a:pt x="645" y="3844"/>
                  </a:lnTo>
                  <a:lnTo>
                    <a:pt x="646" y="3845"/>
                  </a:lnTo>
                  <a:lnTo>
                    <a:pt x="648" y="3849"/>
                  </a:lnTo>
                  <a:lnTo>
                    <a:pt x="650" y="3850"/>
                  </a:lnTo>
                  <a:lnTo>
                    <a:pt x="676" y="3847"/>
                  </a:lnTo>
                  <a:lnTo>
                    <a:pt x="680" y="3850"/>
                  </a:lnTo>
                  <a:lnTo>
                    <a:pt x="692" y="3839"/>
                  </a:lnTo>
                  <a:lnTo>
                    <a:pt x="703" y="3837"/>
                  </a:lnTo>
                  <a:lnTo>
                    <a:pt x="705" y="3835"/>
                  </a:lnTo>
                  <a:lnTo>
                    <a:pt x="708" y="3833"/>
                  </a:lnTo>
                  <a:lnTo>
                    <a:pt x="709" y="3829"/>
                  </a:lnTo>
                  <a:lnTo>
                    <a:pt x="711" y="3826"/>
                  </a:lnTo>
                  <a:lnTo>
                    <a:pt x="712" y="3824"/>
                  </a:lnTo>
                  <a:lnTo>
                    <a:pt x="715" y="3824"/>
                  </a:lnTo>
                  <a:lnTo>
                    <a:pt x="715" y="3826"/>
                  </a:lnTo>
                  <a:lnTo>
                    <a:pt x="713" y="3830"/>
                  </a:lnTo>
                  <a:lnTo>
                    <a:pt x="714" y="3833"/>
                  </a:lnTo>
                  <a:lnTo>
                    <a:pt x="717" y="3834"/>
                  </a:lnTo>
                  <a:lnTo>
                    <a:pt x="720" y="3828"/>
                  </a:lnTo>
                  <a:lnTo>
                    <a:pt x="721" y="3830"/>
                  </a:lnTo>
                  <a:lnTo>
                    <a:pt x="723" y="3830"/>
                  </a:lnTo>
                  <a:lnTo>
                    <a:pt x="729" y="3826"/>
                  </a:lnTo>
                  <a:lnTo>
                    <a:pt x="730" y="3826"/>
                  </a:lnTo>
                  <a:lnTo>
                    <a:pt x="733" y="3828"/>
                  </a:lnTo>
                  <a:lnTo>
                    <a:pt x="736" y="3829"/>
                  </a:lnTo>
                  <a:lnTo>
                    <a:pt x="738" y="3830"/>
                  </a:lnTo>
                  <a:lnTo>
                    <a:pt x="741" y="3828"/>
                  </a:lnTo>
                  <a:lnTo>
                    <a:pt x="737" y="3825"/>
                  </a:lnTo>
                  <a:lnTo>
                    <a:pt x="737" y="3823"/>
                  </a:lnTo>
                  <a:lnTo>
                    <a:pt x="740" y="3821"/>
                  </a:lnTo>
                  <a:lnTo>
                    <a:pt x="745" y="3822"/>
                  </a:lnTo>
                  <a:lnTo>
                    <a:pt x="750" y="3824"/>
                  </a:lnTo>
                  <a:lnTo>
                    <a:pt x="752" y="3824"/>
                  </a:lnTo>
                  <a:lnTo>
                    <a:pt x="754" y="3823"/>
                  </a:lnTo>
                  <a:lnTo>
                    <a:pt x="759" y="3819"/>
                  </a:lnTo>
                  <a:lnTo>
                    <a:pt x="756" y="3817"/>
                  </a:lnTo>
                  <a:lnTo>
                    <a:pt x="759" y="3814"/>
                  </a:lnTo>
                  <a:lnTo>
                    <a:pt x="763" y="3812"/>
                  </a:lnTo>
                  <a:lnTo>
                    <a:pt x="771" y="3813"/>
                  </a:lnTo>
                  <a:lnTo>
                    <a:pt x="769" y="3817"/>
                  </a:lnTo>
                  <a:lnTo>
                    <a:pt x="769" y="3820"/>
                  </a:lnTo>
                  <a:lnTo>
                    <a:pt x="769" y="3823"/>
                  </a:lnTo>
                  <a:lnTo>
                    <a:pt x="769" y="3825"/>
                  </a:lnTo>
                  <a:lnTo>
                    <a:pt x="767" y="3828"/>
                  </a:lnTo>
                  <a:lnTo>
                    <a:pt x="765" y="3829"/>
                  </a:lnTo>
                  <a:lnTo>
                    <a:pt x="763" y="3832"/>
                  </a:lnTo>
                  <a:lnTo>
                    <a:pt x="762" y="3837"/>
                  </a:lnTo>
                  <a:lnTo>
                    <a:pt x="764" y="3835"/>
                  </a:lnTo>
                  <a:lnTo>
                    <a:pt x="768" y="3831"/>
                  </a:lnTo>
                  <a:lnTo>
                    <a:pt x="770" y="3829"/>
                  </a:lnTo>
                  <a:lnTo>
                    <a:pt x="772" y="3835"/>
                  </a:lnTo>
                  <a:lnTo>
                    <a:pt x="779" y="3825"/>
                  </a:lnTo>
                  <a:lnTo>
                    <a:pt x="783" y="3821"/>
                  </a:lnTo>
                  <a:lnTo>
                    <a:pt x="786" y="3822"/>
                  </a:lnTo>
                  <a:lnTo>
                    <a:pt x="784" y="3824"/>
                  </a:lnTo>
                  <a:lnTo>
                    <a:pt x="779" y="3835"/>
                  </a:lnTo>
                  <a:lnTo>
                    <a:pt x="778" y="3839"/>
                  </a:lnTo>
                  <a:lnTo>
                    <a:pt x="783" y="3839"/>
                  </a:lnTo>
                  <a:lnTo>
                    <a:pt x="787" y="3838"/>
                  </a:lnTo>
                  <a:lnTo>
                    <a:pt x="790" y="3834"/>
                  </a:lnTo>
                  <a:lnTo>
                    <a:pt x="796" y="3825"/>
                  </a:lnTo>
                  <a:lnTo>
                    <a:pt x="807" y="3817"/>
                  </a:lnTo>
                  <a:lnTo>
                    <a:pt x="807" y="3815"/>
                  </a:lnTo>
                  <a:lnTo>
                    <a:pt x="803" y="3813"/>
                  </a:lnTo>
                  <a:lnTo>
                    <a:pt x="807" y="3810"/>
                  </a:lnTo>
                  <a:lnTo>
                    <a:pt x="808" y="3807"/>
                  </a:lnTo>
                  <a:lnTo>
                    <a:pt x="809" y="3804"/>
                  </a:lnTo>
                  <a:lnTo>
                    <a:pt x="798" y="3809"/>
                  </a:lnTo>
                  <a:lnTo>
                    <a:pt x="799" y="3805"/>
                  </a:lnTo>
                  <a:lnTo>
                    <a:pt x="801" y="3803"/>
                  </a:lnTo>
                  <a:lnTo>
                    <a:pt x="803" y="3802"/>
                  </a:lnTo>
                  <a:lnTo>
                    <a:pt x="805" y="3800"/>
                  </a:lnTo>
                  <a:lnTo>
                    <a:pt x="807" y="3796"/>
                  </a:lnTo>
                  <a:lnTo>
                    <a:pt x="806" y="3795"/>
                  </a:lnTo>
                  <a:lnTo>
                    <a:pt x="804" y="3794"/>
                  </a:lnTo>
                  <a:lnTo>
                    <a:pt x="801" y="3791"/>
                  </a:lnTo>
                  <a:lnTo>
                    <a:pt x="799" y="3788"/>
                  </a:lnTo>
                  <a:lnTo>
                    <a:pt x="800" y="3787"/>
                  </a:lnTo>
                  <a:lnTo>
                    <a:pt x="803" y="3787"/>
                  </a:lnTo>
                  <a:lnTo>
                    <a:pt x="812" y="3793"/>
                  </a:lnTo>
                  <a:lnTo>
                    <a:pt x="814" y="3795"/>
                  </a:lnTo>
                  <a:lnTo>
                    <a:pt x="815" y="3798"/>
                  </a:lnTo>
                  <a:lnTo>
                    <a:pt x="815" y="3802"/>
                  </a:lnTo>
                  <a:lnTo>
                    <a:pt x="816" y="3804"/>
                  </a:lnTo>
                  <a:lnTo>
                    <a:pt x="818" y="3804"/>
                  </a:lnTo>
                  <a:lnTo>
                    <a:pt x="819" y="3803"/>
                  </a:lnTo>
                  <a:lnTo>
                    <a:pt x="819" y="3799"/>
                  </a:lnTo>
                  <a:lnTo>
                    <a:pt x="819" y="3797"/>
                  </a:lnTo>
                  <a:lnTo>
                    <a:pt x="820" y="3795"/>
                  </a:lnTo>
                  <a:lnTo>
                    <a:pt x="821" y="3794"/>
                  </a:lnTo>
                  <a:lnTo>
                    <a:pt x="827" y="3792"/>
                  </a:lnTo>
                  <a:lnTo>
                    <a:pt x="835" y="3791"/>
                  </a:lnTo>
                  <a:lnTo>
                    <a:pt x="837" y="3790"/>
                  </a:lnTo>
                  <a:lnTo>
                    <a:pt x="841" y="3786"/>
                  </a:lnTo>
                  <a:lnTo>
                    <a:pt x="843" y="3785"/>
                  </a:lnTo>
                  <a:lnTo>
                    <a:pt x="840" y="3776"/>
                  </a:lnTo>
                  <a:lnTo>
                    <a:pt x="846" y="3775"/>
                  </a:lnTo>
                  <a:lnTo>
                    <a:pt x="850" y="3779"/>
                  </a:lnTo>
                  <a:lnTo>
                    <a:pt x="850" y="3785"/>
                  </a:lnTo>
                  <a:lnTo>
                    <a:pt x="845" y="3787"/>
                  </a:lnTo>
                  <a:lnTo>
                    <a:pt x="846" y="3791"/>
                  </a:lnTo>
                  <a:lnTo>
                    <a:pt x="850" y="3792"/>
                  </a:lnTo>
                  <a:lnTo>
                    <a:pt x="863" y="3791"/>
                  </a:lnTo>
                  <a:lnTo>
                    <a:pt x="865" y="3788"/>
                  </a:lnTo>
                  <a:lnTo>
                    <a:pt x="868" y="3773"/>
                  </a:lnTo>
                  <a:lnTo>
                    <a:pt x="871" y="3769"/>
                  </a:lnTo>
                  <a:lnTo>
                    <a:pt x="874" y="3769"/>
                  </a:lnTo>
                  <a:lnTo>
                    <a:pt x="875" y="3773"/>
                  </a:lnTo>
                  <a:lnTo>
                    <a:pt x="874" y="3778"/>
                  </a:lnTo>
                  <a:lnTo>
                    <a:pt x="873" y="3782"/>
                  </a:lnTo>
                  <a:lnTo>
                    <a:pt x="871" y="3785"/>
                  </a:lnTo>
                  <a:lnTo>
                    <a:pt x="873" y="3788"/>
                  </a:lnTo>
                  <a:lnTo>
                    <a:pt x="876" y="3790"/>
                  </a:lnTo>
                  <a:lnTo>
                    <a:pt x="878" y="3787"/>
                  </a:lnTo>
                  <a:lnTo>
                    <a:pt x="881" y="3787"/>
                  </a:lnTo>
                  <a:lnTo>
                    <a:pt x="882" y="3785"/>
                  </a:lnTo>
                  <a:lnTo>
                    <a:pt x="878" y="3783"/>
                  </a:lnTo>
                  <a:lnTo>
                    <a:pt x="880" y="3780"/>
                  </a:lnTo>
                  <a:lnTo>
                    <a:pt x="887" y="3776"/>
                  </a:lnTo>
                  <a:lnTo>
                    <a:pt x="886" y="3777"/>
                  </a:lnTo>
                  <a:lnTo>
                    <a:pt x="886" y="3778"/>
                  </a:lnTo>
                  <a:lnTo>
                    <a:pt x="886" y="3780"/>
                  </a:lnTo>
                  <a:lnTo>
                    <a:pt x="890" y="3780"/>
                  </a:lnTo>
                  <a:lnTo>
                    <a:pt x="899" y="3778"/>
                  </a:lnTo>
                  <a:lnTo>
                    <a:pt x="902" y="3776"/>
                  </a:lnTo>
                  <a:lnTo>
                    <a:pt x="900" y="3773"/>
                  </a:lnTo>
                  <a:lnTo>
                    <a:pt x="902" y="3773"/>
                  </a:lnTo>
                  <a:lnTo>
                    <a:pt x="903" y="3771"/>
                  </a:lnTo>
                  <a:lnTo>
                    <a:pt x="901" y="3769"/>
                  </a:lnTo>
                  <a:lnTo>
                    <a:pt x="896" y="3765"/>
                  </a:lnTo>
                  <a:lnTo>
                    <a:pt x="896" y="3763"/>
                  </a:lnTo>
                  <a:lnTo>
                    <a:pt x="899" y="3765"/>
                  </a:lnTo>
                  <a:lnTo>
                    <a:pt x="901" y="3766"/>
                  </a:lnTo>
                  <a:lnTo>
                    <a:pt x="901" y="3764"/>
                  </a:lnTo>
                  <a:lnTo>
                    <a:pt x="901" y="3764"/>
                  </a:lnTo>
                  <a:lnTo>
                    <a:pt x="901" y="3760"/>
                  </a:lnTo>
                  <a:lnTo>
                    <a:pt x="901" y="3759"/>
                  </a:lnTo>
                  <a:lnTo>
                    <a:pt x="902" y="3758"/>
                  </a:lnTo>
                  <a:lnTo>
                    <a:pt x="917" y="3758"/>
                  </a:lnTo>
                  <a:lnTo>
                    <a:pt x="922" y="3756"/>
                  </a:lnTo>
                  <a:lnTo>
                    <a:pt x="922" y="3755"/>
                  </a:lnTo>
                  <a:lnTo>
                    <a:pt x="921" y="3751"/>
                  </a:lnTo>
                  <a:lnTo>
                    <a:pt x="921" y="3750"/>
                  </a:lnTo>
                  <a:lnTo>
                    <a:pt x="927" y="3751"/>
                  </a:lnTo>
                  <a:lnTo>
                    <a:pt x="929" y="3754"/>
                  </a:lnTo>
                  <a:lnTo>
                    <a:pt x="928" y="3758"/>
                  </a:lnTo>
                  <a:lnTo>
                    <a:pt x="951" y="3758"/>
                  </a:lnTo>
                  <a:lnTo>
                    <a:pt x="952" y="3757"/>
                  </a:lnTo>
                  <a:lnTo>
                    <a:pt x="953" y="3756"/>
                  </a:lnTo>
                  <a:lnTo>
                    <a:pt x="954" y="3750"/>
                  </a:lnTo>
                  <a:lnTo>
                    <a:pt x="955" y="3749"/>
                  </a:lnTo>
                  <a:lnTo>
                    <a:pt x="956" y="3749"/>
                  </a:lnTo>
                  <a:lnTo>
                    <a:pt x="957" y="3748"/>
                  </a:lnTo>
                  <a:lnTo>
                    <a:pt x="957" y="3743"/>
                  </a:lnTo>
                  <a:lnTo>
                    <a:pt x="958" y="3739"/>
                  </a:lnTo>
                  <a:lnTo>
                    <a:pt x="957" y="3736"/>
                  </a:lnTo>
                  <a:lnTo>
                    <a:pt x="955" y="3734"/>
                  </a:lnTo>
                  <a:lnTo>
                    <a:pt x="955" y="3732"/>
                  </a:lnTo>
                  <a:lnTo>
                    <a:pt x="967" y="3729"/>
                  </a:lnTo>
                  <a:lnTo>
                    <a:pt x="971" y="3726"/>
                  </a:lnTo>
                  <a:lnTo>
                    <a:pt x="974" y="3723"/>
                  </a:lnTo>
                  <a:lnTo>
                    <a:pt x="977" y="3720"/>
                  </a:lnTo>
                  <a:lnTo>
                    <a:pt x="980" y="3721"/>
                  </a:lnTo>
                  <a:lnTo>
                    <a:pt x="983" y="3728"/>
                  </a:lnTo>
                  <a:lnTo>
                    <a:pt x="974" y="3728"/>
                  </a:lnTo>
                  <a:lnTo>
                    <a:pt x="974" y="3730"/>
                  </a:lnTo>
                  <a:lnTo>
                    <a:pt x="977" y="3732"/>
                  </a:lnTo>
                  <a:lnTo>
                    <a:pt x="975" y="3734"/>
                  </a:lnTo>
                  <a:lnTo>
                    <a:pt x="974" y="3736"/>
                  </a:lnTo>
                  <a:lnTo>
                    <a:pt x="974" y="3741"/>
                  </a:lnTo>
                  <a:lnTo>
                    <a:pt x="975" y="3743"/>
                  </a:lnTo>
                  <a:lnTo>
                    <a:pt x="988" y="3758"/>
                  </a:lnTo>
                  <a:lnTo>
                    <a:pt x="992" y="3760"/>
                  </a:lnTo>
                  <a:lnTo>
                    <a:pt x="995" y="3758"/>
                  </a:lnTo>
                  <a:lnTo>
                    <a:pt x="995" y="3756"/>
                  </a:lnTo>
                  <a:lnTo>
                    <a:pt x="1006" y="3752"/>
                  </a:lnTo>
                  <a:lnTo>
                    <a:pt x="995" y="3746"/>
                  </a:lnTo>
                  <a:lnTo>
                    <a:pt x="989" y="3742"/>
                  </a:lnTo>
                  <a:lnTo>
                    <a:pt x="988" y="3736"/>
                  </a:lnTo>
                  <a:lnTo>
                    <a:pt x="991" y="3734"/>
                  </a:lnTo>
                  <a:lnTo>
                    <a:pt x="993" y="3736"/>
                  </a:lnTo>
                  <a:lnTo>
                    <a:pt x="998" y="3743"/>
                  </a:lnTo>
                  <a:lnTo>
                    <a:pt x="1001" y="3744"/>
                  </a:lnTo>
                  <a:lnTo>
                    <a:pt x="1004" y="3745"/>
                  </a:lnTo>
                  <a:lnTo>
                    <a:pt x="1008" y="3746"/>
                  </a:lnTo>
                  <a:lnTo>
                    <a:pt x="1010" y="3750"/>
                  </a:lnTo>
                  <a:lnTo>
                    <a:pt x="1009" y="3752"/>
                  </a:lnTo>
                  <a:lnTo>
                    <a:pt x="1011" y="3755"/>
                  </a:lnTo>
                  <a:lnTo>
                    <a:pt x="1013" y="3757"/>
                  </a:lnTo>
                  <a:lnTo>
                    <a:pt x="1015" y="3758"/>
                  </a:lnTo>
                  <a:lnTo>
                    <a:pt x="1018" y="3758"/>
                  </a:lnTo>
                  <a:lnTo>
                    <a:pt x="1017" y="3752"/>
                  </a:lnTo>
                  <a:lnTo>
                    <a:pt x="1013" y="3744"/>
                  </a:lnTo>
                  <a:lnTo>
                    <a:pt x="1011" y="3739"/>
                  </a:lnTo>
                  <a:lnTo>
                    <a:pt x="1011" y="3735"/>
                  </a:lnTo>
                  <a:lnTo>
                    <a:pt x="1015" y="3728"/>
                  </a:lnTo>
                  <a:lnTo>
                    <a:pt x="1017" y="3721"/>
                  </a:lnTo>
                  <a:lnTo>
                    <a:pt x="1013" y="3719"/>
                  </a:lnTo>
                  <a:lnTo>
                    <a:pt x="1010" y="3716"/>
                  </a:lnTo>
                  <a:lnTo>
                    <a:pt x="1004" y="3708"/>
                  </a:lnTo>
                  <a:lnTo>
                    <a:pt x="1009" y="3710"/>
                  </a:lnTo>
                  <a:lnTo>
                    <a:pt x="1012" y="3712"/>
                  </a:lnTo>
                  <a:lnTo>
                    <a:pt x="1021" y="3722"/>
                  </a:lnTo>
                  <a:lnTo>
                    <a:pt x="1023" y="3723"/>
                  </a:lnTo>
                  <a:lnTo>
                    <a:pt x="1025" y="3723"/>
                  </a:lnTo>
                  <a:lnTo>
                    <a:pt x="1026" y="3722"/>
                  </a:lnTo>
                  <a:lnTo>
                    <a:pt x="1027" y="3721"/>
                  </a:lnTo>
                  <a:lnTo>
                    <a:pt x="1029" y="3719"/>
                  </a:lnTo>
                  <a:lnTo>
                    <a:pt x="1031" y="3719"/>
                  </a:lnTo>
                  <a:lnTo>
                    <a:pt x="1029" y="3723"/>
                  </a:lnTo>
                  <a:lnTo>
                    <a:pt x="1036" y="3734"/>
                  </a:lnTo>
                  <a:lnTo>
                    <a:pt x="1036" y="3741"/>
                  </a:lnTo>
                  <a:lnTo>
                    <a:pt x="1044" y="3739"/>
                  </a:lnTo>
                  <a:lnTo>
                    <a:pt x="1046" y="3737"/>
                  </a:lnTo>
                  <a:lnTo>
                    <a:pt x="1047" y="3733"/>
                  </a:lnTo>
                  <a:lnTo>
                    <a:pt x="1047" y="3729"/>
                  </a:lnTo>
                  <a:lnTo>
                    <a:pt x="1046" y="3728"/>
                  </a:lnTo>
                  <a:lnTo>
                    <a:pt x="1044" y="3727"/>
                  </a:lnTo>
                  <a:lnTo>
                    <a:pt x="1042" y="3725"/>
                  </a:lnTo>
                  <a:lnTo>
                    <a:pt x="1039" y="3719"/>
                  </a:lnTo>
                  <a:lnTo>
                    <a:pt x="1033" y="3715"/>
                  </a:lnTo>
                  <a:lnTo>
                    <a:pt x="1032" y="3712"/>
                  </a:lnTo>
                  <a:lnTo>
                    <a:pt x="1031" y="3709"/>
                  </a:lnTo>
                  <a:lnTo>
                    <a:pt x="1033" y="3708"/>
                  </a:lnTo>
                  <a:lnTo>
                    <a:pt x="1035" y="3709"/>
                  </a:lnTo>
                  <a:lnTo>
                    <a:pt x="1036" y="3707"/>
                  </a:lnTo>
                  <a:lnTo>
                    <a:pt x="1036" y="3704"/>
                  </a:lnTo>
                  <a:lnTo>
                    <a:pt x="1035" y="3701"/>
                  </a:lnTo>
                  <a:lnTo>
                    <a:pt x="1034" y="3698"/>
                  </a:lnTo>
                  <a:lnTo>
                    <a:pt x="1030" y="3696"/>
                  </a:lnTo>
                  <a:lnTo>
                    <a:pt x="1027" y="3690"/>
                  </a:lnTo>
                  <a:lnTo>
                    <a:pt x="1025" y="3688"/>
                  </a:lnTo>
                  <a:lnTo>
                    <a:pt x="1017" y="3684"/>
                  </a:lnTo>
                  <a:lnTo>
                    <a:pt x="1017" y="3681"/>
                  </a:lnTo>
                  <a:lnTo>
                    <a:pt x="1021" y="3682"/>
                  </a:lnTo>
                  <a:lnTo>
                    <a:pt x="1027" y="3684"/>
                  </a:lnTo>
                  <a:lnTo>
                    <a:pt x="1032" y="3689"/>
                  </a:lnTo>
                  <a:lnTo>
                    <a:pt x="1038" y="3697"/>
                  </a:lnTo>
                  <a:lnTo>
                    <a:pt x="1039" y="3698"/>
                  </a:lnTo>
                  <a:lnTo>
                    <a:pt x="1045" y="3701"/>
                  </a:lnTo>
                  <a:lnTo>
                    <a:pt x="1051" y="3708"/>
                  </a:lnTo>
                  <a:lnTo>
                    <a:pt x="1052" y="3710"/>
                  </a:lnTo>
                  <a:lnTo>
                    <a:pt x="1053" y="3709"/>
                  </a:lnTo>
                  <a:lnTo>
                    <a:pt x="1057" y="3706"/>
                  </a:lnTo>
                  <a:lnTo>
                    <a:pt x="1058" y="3705"/>
                  </a:lnTo>
                  <a:lnTo>
                    <a:pt x="1073" y="3708"/>
                  </a:lnTo>
                  <a:lnTo>
                    <a:pt x="1068" y="3701"/>
                  </a:lnTo>
                  <a:lnTo>
                    <a:pt x="1066" y="3697"/>
                  </a:lnTo>
                  <a:lnTo>
                    <a:pt x="1067" y="3692"/>
                  </a:lnTo>
                  <a:lnTo>
                    <a:pt x="1069" y="3692"/>
                  </a:lnTo>
                  <a:lnTo>
                    <a:pt x="1071" y="3696"/>
                  </a:lnTo>
                  <a:lnTo>
                    <a:pt x="1074" y="3699"/>
                  </a:lnTo>
                  <a:lnTo>
                    <a:pt x="1076" y="3701"/>
                  </a:lnTo>
                  <a:lnTo>
                    <a:pt x="1077" y="3704"/>
                  </a:lnTo>
                  <a:lnTo>
                    <a:pt x="1079" y="3709"/>
                  </a:lnTo>
                  <a:lnTo>
                    <a:pt x="1081" y="3714"/>
                  </a:lnTo>
                  <a:lnTo>
                    <a:pt x="1084" y="3717"/>
                  </a:lnTo>
                  <a:lnTo>
                    <a:pt x="1085" y="3716"/>
                  </a:lnTo>
                  <a:lnTo>
                    <a:pt x="1085" y="3713"/>
                  </a:lnTo>
                  <a:lnTo>
                    <a:pt x="1086" y="3711"/>
                  </a:lnTo>
                  <a:lnTo>
                    <a:pt x="1087" y="3710"/>
                  </a:lnTo>
                  <a:lnTo>
                    <a:pt x="1089" y="3710"/>
                  </a:lnTo>
                  <a:lnTo>
                    <a:pt x="1090" y="3709"/>
                  </a:lnTo>
                  <a:lnTo>
                    <a:pt x="1091" y="3707"/>
                  </a:lnTo>
                  <a:lnTo>
                    <a:pt x="1091" y="3703"/>
                  </a:lnTo>
                  <a:lnTo>
                    <a:pt x="1094" y="3708"/>
                  </a:lnTo>
                  <a:lnTo>
                    <a:pt x="1095" y="3709"/>
                  </a:lnTo>
                  <a:lnTo>
                    <a:pt x="1097" y="3710"/>
                  </a:lnTo>
                  <a:lnTo>
                    <a:pt x="1096" y="3705"/>
                  </a:lnTo>
                  <a:lnTo>
                    <a:pt x="1097" y="3704"/>
                  </a:lnTo>
                  <a:lnTo>
                    <a:pt x="1101" y="3703"/>
                  </a:lnTo>
                  <a:lnTo>
                    <a:pt x="1103" y="3702"/>
                  </a:lnTo>
                  <a:lnTo>
                    <a:pt x="1104" y="3700"/>
                  </a:lnTo>
                  <a:lnTo>
                    <a:pt x="1107" y="3695"/>
                  </a:lnTo>
                  <a:lnTo>
                    <a:pt x="1102" y="3685"/>
                  </a:lnTo>
                  <a:lnTo>
                    <a:pt x="1104" y="3674"/>
                  </a:lnTo>
                  <a:lnTo>
                    <a:pt x="1117" y="3647"/>
                  </a:lnTo>
                  <a:lnTo>
                    <a:pt x="1124" y="3635"/>
                  </a:lnTo>
                  <a:lnTo>
                    <a:pt x="1127" y="3631"/>
                  </a:lnTo>
                  <a:lnTo>
                    <a:pt x="1134" y="3628"/>
                  </a:lnTo>
                  <a:lnTo>
                    <a:pt x="1141" y="3632"/>
                  </a:lnTo>
                  <a:lnTo>
                    <a:pt x="1146" y="3640"/>
                  </a:lnTo>
                  <a:lnTo>
                    <a:pt x="1149" y="3653"/>
                  </a:lnTo>
                  <a:lnTo>
                    <a:pt x="1136" y="3643"/>
                  </a:lnTo>
                  <a:lnTo>
                    <a:pt x="1129" y="3641"/>
                  </a:lnTo>
                  <a:lnTo>
                    <a:pt x="1122" y="3647"/>
                  </a:lnTo>
                  <a:lnTo>
                    <a:pt x="1120" y="3651"/>
                  </a:lnTo>
                  <a:lnTo>
                    <a:pt x="1119" y="3653"/>
                  </a:lnTo>
                  <a:lnTo>
                    <a:pt x="1120" y="3661"/>
                  </a:lnTo>
                  <a:lnTo>
                    <a:pt x="1119" y="3663"/>
                  </a:lnTo>
                  <a:lnTo>
                    <a:pt x="1115" y="3672"/>
                  </a:lnTo>
                  <a:lnTo>
                    <a:pt x="1112" y="3675"/>
                  </a:lnTo>
                  <a:lnTo>
                    <a:pt x="1108" y="3677"/>
                  </a:lnTo>
                  <a:lnTo>
                    <a:pt x="1105" y="3681"/>
                  </a:lnTo>
                  <a:lnTo>
                    <a:pt x="1106" y="3687"/>
                  </a:lnTo>
                  <a:lnTo>
                    <a:pt x="1109" y="3692"/>
                  </a:lnTo>
                  <a:lnTo>
                    <a:pt x="1113" y="3696"/>
                  </a:lnTo>
                  <a:lnTo>
                    <a:pt x="1117" y="3698"/>
                  </a:lnTo>
                  <a:lnTo>
                    <a:pt x="1121" y="3697"/>
                  </a:lnTo>
                  <a:lnTo>
                    <a:pt x="1121" y="3694"/>
                  </a:lnTo>
                  <a:lnTo>
                    <a:pt x="1124" y="3692"/>
                  </a:lnTo>
                  <a:lnTo>
                    <a:pt x="1128" y="3692"/>
                  </a:lnTo>
                  <a:lnTo>
                    <a:pt x="1131" y="3692"/>
                  </a:lnTo>
                  <a:lnTo>
                    <a:pt x="1133" y="3695"/>
                  </a:lnTo>
                  <a:lnTo>
                    <a:pt x="1136" y="3700"/>
                  </a:lnTo>
                  <a:lnTo>
                    <a:pt x="1139" y="3703"/>
                  </a:lnTo>
                  <a:lnTo>
                    <a:pt x="1141" y="3702"/>
                  </a:lnTo>
                  <a:lnTo>
                    <a:pt x="1142" y="3701"/>
                  </a:lnTo>
                  <a:lnTo>
                    <a:pt x="1146" y="3698"/>
                  </a:lnTo>
                  <a:lnTo>
                    <a:pt x="1147" y="3697"/>
                  </a:lnTo>
                  <a:lnTo>
                    <a:pt x="1147" y="3695"/>
                  </a:lnTo>
                  <a:lnTo>
                    <a:pt x="1147" y="3689"/>
                  </a:lnTo>
                  <a:lnTo>
                    <a:pt x="1147" y="3687"/>
                  </a:lnTo>
                  <a:lnTo>
                    <a:pt x="1150" y="3684"/>
                  </a:lnTo>
                  <a:lnTo>
                    <a:pt x="1153" y="3682"/>
                  </a:lnTo>
                  <a:lnTo>
                    <a:pt x="1156" y="3681"/>
                  </a:lnTo>
                  <a:lnTo>
                    <a:pt x="1159" y="3681"/>
                  </a:lnTo>
                  <a:lnTo>
                    <a:pt x="1158" y="3686"/>
                  </a:lnTo>
                  <a:lnTo>
                    <a:pt x="1157" y="3688"/>
                  </a:lnTo>
                  <a:lnTo>
                    <a:pt x="1156" y="3690"/>
                  </a:lnTo>
                  <a:lnTo>
                    <a:pt x="1160" y="3690"/>
                  </a:lnTo>
                  <a:lnTo>
                    <a:pt x="1175" y="3685"/>
                  </a:lnTo>
                  <a:lnTo>
                    <a:pt x="1176" y="3687"/>
                  </a:lnTo>
                  <a:lnTo>
                    <a:pt x="1181" y="3693"/>
                  </a:lnTo>
                  <a:lnTo>
                    <a:pt x="1182" y="3694"/>
                  </a:lnTo>
                  <a:lnTo>
                    <a:pt x="1183" y="3690"/>
                  </a:lnTo>
                  <a:lnTo>
                    <a:pt x="1181" y="3687"/>
                  </a:lnTo>
                  <a:lnTo>
                    <a:pt x="1178" y="3681"/>
                  </a:lnTo>
                  <a:lnTo>
                    <a:pt x="1185" y="3682"/>
                  </a:lnTo>
                  <a:lnTo>
                    <a:pt x="1188" y="3681"/>
                  </a:lnTo>
                  <a:lnTo>
                    <a:pt x="1190" y="3674"/>
                  </a:lnTo>
                  <a:lnTo>
                    <a:pt x="1192" y="3672"/>
                  </a:lnTo>
                  <a:lnTo>
                    <a:pt x="1193" y="3670"/>
                  </a:lnTo>
                  <a:lnTo>
                    <a:pt x="1192" y="3667"/>
                  </a:lnTo>
                  <a:lnTo>
                    <a:pt x="1192" y="3665"/>
                  </a:lnTo>
                  <a:lnTo>
                    <a:pt x="1194" y="3663"/>
                  </a:lnTo>
                  <a:lnTo>
                    <a:pt x="1195" y="3662"/>
                  </a:lnTo>
                  <a:lnTo>
                    <a:pt x="1197" y="3662"/>
                  </a:lnTo>
                  <a:lnTo>
                    <a:pt x="1198" y="3663"/>
                  </a:lnTo>
                  <a:lnTo>
                    <a:pt x="1201" y="3668"/>
                  </a:lnTo>
                  <a:lnTo>
                    <a:pt x="1202" y="3668"/>
                  </a:lnTo>
                  <a:lnTo>
                    <a:pt x="1204" y="3667"/>
                  </a:lnTo>
                  <a:lnTo>
                    <a:pt x="1205" y="3663"/>
                  </a:lnTo>
                  <a:lnTo>
                    <a:pt x="1206" y="3662"/>
                  </a:lnTo>
                  <a:lnTo>
                    <a:pt x="1208" y="3663"/>
                  </a:lnTo>
                  <a:lnTo>
                    <a:pt x="1210" y="3667"/>
                  </a:lnTo>
                  <a:lnTo>
                    <a:pt x="1212" y="3668"/>
                  </a:lnTo>
                  <a:lnTo>
                    <a:pt x="1215" y="3668"/>
                  </a:lnTo>
                  <a:lnTo>
                    <a:pt x="1216" y="3669"/>
                  </a:lnTo>
                  <a:lnTo>
                    <a:pt x="1217" y="3673"/>
                  </a:lnTo>
                  <a:lnTo>
                    <a:pt x="1220" y="3669"/>
                  </a:lnTo>
                  <a:lnTo>
                    <a:pt x="1220" y="3665"/>
                  </a:lnTo>
                  <a:lnTo>
                    <a:pt x="1218" y="3660"/>
                  </a:lnTo>
                  <a:lnTo>
                    <a:pt x="1217" y="3655"/>
                  </a:lnTo>
                  <a:lnTo>
                    <a:pt x="1219" y="3651"/>
                  </a:lnTo>
                  <a:lnTo>
                    <a:pt x="1223" y="3649"/>
                  </a:lnTo>
                  <a:lnTo>
                    <a:pt x="1224" y="3651"/>
                  </a:lnTo>
                  <a:lnTo>
                    <a:pt x="1222" y="3658"/>
                  </a:lnTo>
                  <a:lnTo>
                    <a:pt x="1233" y="3665"/>
                  </a:lnTo>
                  <a:lnTo>
                    <a:pt x="1237" y="3668"/>
                  </a:lnTo>
                  <a:lnTo>
                    <a:pt x="1229" y="3667"/>
                  </a:lnTo>
                  <a:lnTo>
                    <a:pt x="1225" y="3668"/>
                  </a:lnTo>
                  <a:lnTo>
                    <a:pt x="1225" y="3673"/>
                  </a:lnTo>
                  <a:lnTo>
                    <a:pt x="1228" y="3674"/>
                  </a:lnTo>
                  <a:lnTo>
                    <a:pt x="1240" y="3675"/>
                  </a:lnTo>
                  <a:lnTo>
                    <a:pt x="1247" y="3678"/>
                  </a:lnTo>
                  <a:lnTo>
                    <a:pt x="1261" y="3688"/>
                  </a:lnTo>
                  <a:lnTo>
                    <a:pt x="1269" y="3690"/>
                  </a:lnTo>
                  <a:lnTo>
                    <a:pt x="1268" y="3688"/>
                  </a:lnTo>
                  <a:lnTo>
                    <a:pt x="1267" y="3686"/>
                  </a:lnTo>
                  <a:lnTo>
                    <a:pt x="1265" y="3685"/>
                  </a:lnTo>
                  <a:lnTo>
                    <a:pt x="1263" y="3684"/>
                  </a:lnTo>
                  <a:lnTo>
                    <a:pt x="1264" y="3682"/>
                  </a:lnTo>
                  <a:lnTo>
                    <a:pt x="1266" y="3680"/>
                  </a:lnTo>
                  <a:lnTo>
                    <a:pt x="1267" y="3679"/>
                  </a:lnTo>
                  <a:lnTo>
                    <a:pt x="1266" y="3676"/>
                  </a:lnTo>
                  <a:lnTo>
                    <a:pt x="1265" y="3675"/>
                  </a:lnTo>
                  <a:lnTo>
                    <a:pt x="1263" y="3675"/>
                  </a:lnTo>
                  <a:lnTo>
                    <a:pt x="1269" y="3672"/>
                  </a:lnTo>
                  <a:lnTo>
                    <a:pt x="1282" y="3684"/>
                  </a:lnTo>
                  <a:lnTo>
                    <a:pt x="1288" y="3686"/>
                  </a:lnTo>
                  <a:lnTo>
                    <a:pt x="1287" y="3682"/>
                  </a:lnTo>
                  <a:lnTo>
                    <a:pt x="1285" y="3679"/>
                  </a:lnTo>
                  <a:lnTo>
                    <a:pt x="1285" y="3677"/>
                  </a:lnTo>
                  <a:lnTo>
                    <a:pt x="1286" y="3673"/>
                  </a:lnTo>
                  <a:lnTo>
                    <a:pt x="1289" y="3670"/>
                  </a:lnTo>
                  <a:lnTo>
                    <a:pt x="1292" y="3669"/>
                  </a:lnTo>
                  <a:lnTo>
                    <a:pt x="1298" y="3671"/>
                  </a:lnTo>
                  <a:lnTo>
                    <a:pt x="1296" y="3673"/>
                  </a:lnTo>
                  <a:lnTo>
                    <a:pt x="1291" y="3676"/>
                  </a:lnTo>
                  <a:lnTo>
                    <a:pt x="1289" y="3679"/>
                  </a:lnTo>
                  <a:lnTo>
                    <a:pt x="1300" y="3681"/>
                  </a:lnTo>
                  <a:lnTo>
                    <a:pt x="1302" y="3680"/>
                  </a:lnTo>
                  <a:lnTo>
                    <a:pt x="1308" y="3675"/>
                  </a:lnTo>
                  <a:lnTo>
                    <a:pt x="1307" y="3675"/>
                  </a:lnTo>
                  <a:lnTo>
                    <a:pt x="1305" y="3673"/>
                  </a:lnTo>
                  <a:lnTo>
                    <a:pt x="1306" y="3673"/>
                  </a:lnTo>
                  <a:lnTo>
                    <a:pt x="1308" y="3671"/>
                  </a:lnTo>
                  <a:lnTo>
                    <a:pt x="1306" y="3667"/>
                  </a:lnTo>
                  <a:lnTo>
                    <a:pt x="1305" y="3663"/>
                  </a:lnTo>
                  <a:lnTo>
                    <a:pt x="1305" y="3659"/>
                  </a:lnTo>
                  <a:lnTo>
                    <a:pt x="1308" y="3658"/>
                  </a:lnTo>
                  <a:lnTo>
                    <a:pt x="1307" y="3656"/>
                  </a:lnTo>
                  <a:lnTo>
                    <a:pt x="1307" y="3654"/>
                  </a:lnTo>
                  <a:lnTo>
                    <a:pt x="1306" y="3653"/>
                  </a:lnTo>
                  <a:lnTo>
                    <a:pt x="1309" y="3651"/>
                  </a:lnTo>
                  <a:lnTo>
                    <a:pt x="1312" y="3653"/>
                  </a:lnTo>
                  <a:lnTo>
                    <a:pt x="1314" y="3657"/>
                  </a:lnTo>
                  <a:lnTo>
                    <a:pt x="1316" y="3660"/>
                  </a:lnTo>
                  <a:lnTo>
                    <a:pt x="1330" y="3643"/>
                  </a:lnTo>
                  <a:lnTo>
                    <a:pt x="1344" y="3629"/>
                  </a:lnTo>
                  <a:lnTo>
                    <a:pt x="1348" y="3624"/>
                  </a:lnTo>
                  <a:lnTo>
                    <a:pt x="1371" y="3594"/>
                  </a:lnTo>
                  <a:lnTo>
                    <a:pt x="1386" y="3582"/>
                  </a:lnTo>
                  <a:lnTo>
                    <a:pt x="1400" y="3560"/>
                  </a:lnTo>
                  <a:lnTo>
                    <a:pt x="1424" y="3536"/>
                  </a:lnTo>
                  <a:lnTo>
                    <a:pt x="1431" y="3531"/>
                  </a:lnTo>
                  <a:lnTo>
                    <a:pt x="1445" y="3527"/>
                  </a:lnTo>
                  <a:lnTo>
                    <a:pt x="1451" y="3517"/>
                  </a:lnTo>
                  <a:lnTo>
                    <a:pt x="1451" y="3517"/>
                  </a:lnTo>
                  <a:lnTo>
                    <a:pt x="1451" y="3517"/>
                  </a:lnTo>
                  <a:lnTo>
                    <a:pt x="1451" y="3517"/>
                  </a:lnTo>
                  <a:lnTo>
                    <a:pt x="1453" y="3511"/>
                  </a:lnTo>
                  <a:lnTo>
                    <a:pt x="1457" y="3506"/>
                  </a:lnTo>
                  <a:lnTo>
                    <a:pt x="1466" y="3494"/>
                  </a:lnTo>
                  <a:lnTo>
                    <a:pt x="1471" y="3486"/>
                  </a:lnTo>
                  <a:lnTo>
                    <a:pt x="1474" y="3483"/>
                  </a:lnTo>
                  <a:lnTo>
                    <a:pt x="1483" y="3477"/>
                  </a:lnTo>
                  <a:lnTo>
                    <a:pt x="1494" y="3466"/>
                  </a:lnTo>
                  <a:lnTo>
                    <a:pt x="1503" y="3459"/>
                  </a:lnTo>
                  <a:lnTo>
                    <a:pt x="1527" y="3444"/>
                  </a:lnTo>
                  <a:lnTo>
                    <a:pt x="1538" y="3434"/>
                  </a:lnTo>
                  <a:lnTo>
                    <a:pt x="1547" y="3419"/>
                  </a:lnTo>
                  <a:lnTo>
                    <a:pt x="1550" y="3414"/>
                  </a:lnTo>
                  <a:lnTo>
                    <a:pt x="1552" y="3411"/>
                  </a:lnTo>
                  <a:lnTo>
                    <a:pt x="1556" y="3403"/>
                  </a:lnTo>
                  <a:lnTo>
                    <a:pt x="1580" y="3378"/>
                  </a:lnTo>
                  <a:lnTo>
                    <a:pt x="1582" y="3371"/>
                  </a:lnTo>
                  <a:lnTo>
                    <a:pt x="1585" y="3363"/>
                  </a:lnTo>
                  <a:lnTo>
                    <a:pt x="1588" y="3358"/>
                  </a:lnTo>
                  <a:lnTo>
                    <a:pt x="1591" y="3355"/>
                  </a:lnTo>
                  <a:lnTo>
                    <a:pt x="1602" y="3350"/>
                  </a:lnTo>
                  <a:lnTo>
                    <a:pt x="1607" y="3346"/>
                  </a:lnTo>
                  <a:lnTo>
                    <a:pt x="1629" y="3319"/>
                  </a:lnTo>
                  <a:lnTo>
                    <a:pt x="1633" y="3313"/>
                  </a:lnTo>
                  <a:lnTo>
                    <a:pt x="1636" y="3302"/>
                  </a:lnTo>
                  <a:lnTo>
                    <a:pt x="1639" y="3296"/>
                  </a:lnTo>
                  <a:lnTo>
                    <a:pt x="1661" y="3274"/>
                  </a:lnTo>
                  <a:lnTo>
                    <a:pt x="1688" y="3233"/>
                  </a:lnTo>
                  <a:lnTo>
                    <a:pt x="1718" y="3185"/>
                  </a:lnTo>
                  <a:lnTo>
                    <a:pt x="1718" y="3185"/>
                  </a:lnTo>
                  <a:lnTo>
                    <a:pt x="1718" y="3185"/>
                  </a:lnTo>
                  <a:lnTo>
                    <a:pt x="1741" y="3159"/>
                  </a:lnTo>
                  <a:lnTo>
                    <a:pt x="1761" y="3131"/>
                  </a:lnTo>
                  <a:lnTo>
                    <a:pt x="1766" y="3120"/>
                  </a:lnTo>
                  <a:lnTo>
                    <a:pt x="1767" y="3117"/>
                  </a:lnTo>
                  <a:lnTo>
                    <a:pt x="1770" y="3115"/>
                  </a:lnTo>
                  <a:lnTo>
                    <a:pt x="1776" y="3111"/>
                  </a:lnTo>
                  <a:lnTo>
                    <a:pt x="1790" y="3096"/>
                  </a:lnTo>
                  <a:lnTo>
                    <a:pt x="1809" y="3083"/>
                  </a:lnTo>
                  <a:lnTo>
                    <a:pt x="1811" y="3080"/>
                  </a:lnTo>
                  <a:lnTo>
                    <a:pt x="1814" y="3076"/>
                  </a:lnTo>
                  <a:lnTo>
                    <a:pt x="1818" y="3064"/>
                  </a:lnTo>
                  <a:lnTo>
                    <a:pt x="1820" y="3061"/>
                  </a:lnTo>
                  <a:lnTo>
                    <a:pt x="1843" y="3034"/>
                  </a:lnTo>
                  <a:lnTo>
                    <a:pt x="1846" y="3027"/>
                  </a:lnTo>
                  <a:lnTo>
                    <a:pt x="1848" y="3024"/>
                  </a:lnTo>
                  <a:lnTo>
                    <a:pt x="1850" y="3020"/>
                  </a:lnTo>
                  <a:lnTo>
                    <a:pt x="1859" y="3015"/>
                  </a:lnTo>
                  <a:lnTo>
                    <a:pt x="1859" y="3015"/>
                  </a:lnTo>
                  <a:lnTo>
                    <a:pt x="1859" y="3015"/>
                  </a:lnTo>
                  <a:lnTo>
                    <a:pt x="1862" y="3011"/>
                  </a:lnTo>
                  <a:lnTo>
                    <a:pt x="1864" y="3004"/>
                  </a:lnTo>
                  <a:lnTo>
                    <a:pt x="1869" y="2987"/>
                  </a:lnTo>
                  <a:lnTo>
                    <a:pt x="1871" y="2979"/>
                  </a:lnTo>
                  <a:lnTo>
                    <a:pt x="1878" y="2968"/>
                  </a:lnTo>
                  <a:lnTo>
                    <a:pt x="1881" y="2960"/>
                  </a:lnTo>
                  <a:lnTo>
                    <a:pt x="1888" y="2927"/>
                  </a:lnTo>
                  <a:lnTo>
                    <a:pt x="1893" y="2913"/>
                  </a:lnTo>
                  <a:lnTo>
                    <a:pt x="1900" y="2900"/>
                  </a:lnTo>
                  <a:lnTo>
                    <a:pt x="1914" y="2872"/>
                  </a:lnTo>
                  <a:lnTo>
                    <a:pt x="1908" y="2867"/>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08" name="Freeform 44">
              <a:extLst>
                <a:ext uri="{FF2B5EF4-FFF2-40B4-BE49-F238E27FC236}">
                  <a16:creationId xmlns:a16="http://schemas.microsoft.com/office/drawing/2014/main" id="{5308C55B-3DBA-4D8B-B523-52F73A87CD10}"/>
                </a:ext>
              </a:extLst>
            </p:cNvPr>
            <p:cNvSpPr>
              <a:spLocks noEditPoints="1"/>
            </p:cNvSpPr>
            <p:nvPr/>
          </p:nvSpPr>
          <p:spPr bwMode="gray">
            <a:xfrm>
              <a:off x="7291718" y="2376823"/>
              <a:ext cx="135870" cy="210661"/>
            </a:xfrm>
            <a:custGeom>
              <a:avLst/>
              <a:gdLst>
                <a:gd name="T0" fmla="*/ 141 w 218"/>
                <a:gd name="T1" fmla="*/ 318 h 338"/>
                <a:gd name="T2" fmla="*/ 151 w 218"/>
                <a:gd name="T3" fmla="*/ 310 h 338"/>
                <a:gd name="T4" fmla="*/ 149 w 218"/>
                <a:gd name="T5" fmla="*/ 296 h 338"/>
                <a:gd name="T6" fmla="*/ 133 w 218"/>
                <a:gd name="T7" fmla="*/ 285 h 338"/>
                <a:gd name="T8" fmla="*/ 148 w 218"/>
                <a:gd name="T9" fmla="*/ 280 h 338"/>
                <a:gd name="T10" fmla="*/ 121 w 218"/>
                <a:gd name="T11" fmla="*/ 262 h 338"/>
                <a:gd name="T12" fmla="*/ 112 w 218"/>
                <a:gd name="T13" fmla="*/ 259 h 338"/>
                <a:gd name="T14" fmla="*/ 120 w 218"/>
                <a:gd name="T15" fmla="*/ 289 h 338"/>
                <a:gd name="T16" fmla="*/ 159 w 218"/>
                <a:gd name="T17" fmla="*/ 333 h 338"/>
                <a:gd name="T18" fmla="*/ 139 w 218"/>
                <a:gd name="T19" fmla="*/ 172 h 338"/>
                <a:gd name="T20" fmla="*/ 122 w 218"/>
                <a:gd name="T21" fmla="*/ 179 h 338"/>
                <a:gd name="T22" fmla="*/ 156 w 218"/>
                <a:gd name="T23" fmla="*/ 221 h 338"/>
                <a:gd name="T24" fmla="*/ 162 w 218"/>
                <a:gd name="T25" fmla="*/ 199 h 338"/>
                <a:gd name="T26" fmla="*/ 1 w 218"/>
                <a:gd name="T27" fmla="*/ 102 h 338"/>
                <a:gd name="T28" fmla="*/ 81 w 218"/>
                <a:gd name="T29" fmla="*/ 98 h 338"/>
                <a:gd name="T30" fmla="*/ 68 w 218"/>
                <a:gd name="T31" fmla="*/ 80 h 338"/>
                <a:gd name="T32" fmla="*/ 47 w 218"/>
                <a:gd name="T33" fmla="*/ 92 h 338"/>
                <a:gd name="T34" fmla="*/ 50 w 218"/>
                <a:gd name="T35" fmla="*/ 105 h 338"/>
                <a:gd name="T36" fmla="*/ 68 w 218"/>
                <a:gd name="T37" fmla="*/ 124 h 338"/>
                <a:gd name="T38" fmla="*/ 72 w 218"/>
                <a:gd name="T39" fmla="*/ 119 h 338"/>
                <a:gd name="T40" fmla="*/ 78 w 218"/>
                <a:gd name="T41" fmla="*/ 120 h 338"/>
                <a:gd name="T42" fmla="*/ 95 w 218"/>
                <a:gd name="T43" fmla="*/ 110 h 338"/>
                <a:gd name="T44" fmla="*/ 202 w 218"/>
                <a:gd name="T45" fmla="*/ 38 h 338"/>
                <a:gd name="T46" fmla="*/ 213 w 218"/>
                <a:gd name="T47" fmla="*/ 49 h 338"/>
                <a:gd name="T48" fmla="*/ 125 w 218"/>
                <a:gd name="T49" fmla="*/ 137 h 338"/>
                <a:gd name="T50" fmla="*/ 145 w 218"/>
                <a:gd name="T51" fmla="*/ 138 h 338"/>
                <a:gd name="T52" fmla="*/ 136 w 218"/>
                <a:gd name="T53" fmla="*/ 115 h 338"/>
                <a:gd name="T54" fmla="*/ 125 w 218"/>
                <a:gd name="T55" fmla="*/ 96 h 338"/>
                <a:gd name="T56" fmla="*/ 103 w 218"/>
                <a:gd name="T57" fmla="*/ 65 h 338"/>
                <a:gd name="T58" fmla="*/ 73 w 218"/>
                <a:gd name="T59" fmla="*/ 30 h 338"/>
                <a:gd name="T60" fmla="*/ 68 w 218"/>
                <a:gd name="T61" fmla="*/ 66 h 338"/>
                <a:gd name="T62" fmla="*/ 69 w 218"/>
                <a:gd name="T63" fmla="*/ 80 h 338"/>
                <a:gd name="T64" fmla="*/ 81 w 218"/>
                <a:gd name="T65" fmla="*/ 89 h 338"/>
                <a:gd name="T66" fmla="*/ 107 w 218"/>
                <a:gd name="T67" fmla="*/ 112 h 338"/>
                <a:gd name="T68" fmla="*/ 147 w 218"/>
                <a:gd name="T69" fmla="*/ 71 h 338"/>
                <a:gd name="T70" fmla="*/ 148 w 218"/>
                <a:gd name="T71" fmla="*/ 59 h 338"/>
                <a:gd name="T72" fmla="*/ 143 w 218"/>
                <a:gd name="T73" fmla="*/ 50 h 338"/>
                <a:gd name="T74" fmla="*/ 117 w 218"/>
                <a:gd name="T75" fmla="*/ 40 h 338"/>
                <a:gd name="T76" fmla="*/ 118 w 218"/>
                <a:gd name="T77" fmla="*/ 32 h 338"/>
                <a:gd name="T78" fmla="*/ 105 w 218"/>
                <a:gd name="T79" fmla="*/ 23 h 338"/>
                <a:gd name="T80" fmla="*/ 91 w 218"/>
                <a:gd name="T81" fmla="*/ 33 h 338"/>
                <a:gd name="T82" fmla="*/ 117 w 218"/>
                <a:gd name="T83" fmla="*/ 79 h 338"/>
                <a:gd name="T84" fmla="*/ 136 w 218"/>
                <a:gd name="T85" fmla="*/ 75 h 338"/>
                <a:gd name="T86" fmla="*/ 151 w 218"/>
                <a:gd name="T87" fmla="*/ 111 h 338"/>
                <a:gd name="T88" fmla="*/ 157 w 218"/>
                <a:gd name="T89" fmla="*/ 104 h 338"/>
                <a:gd name="T90" fmla="*/ 159 w 218"/>
                <a:gd name="T91" fmla="*/ 88 h 338"/>
                <a:gd name="T92" fmla="*/ 171 w 218"/>
                <a:gd name="T93" fmla="*/ 13 h 338"/>
                <a:gd name="T94" fmla="*/ 174 w 218"/>
                <a:gd name="T95" fmla="*/ 50 h 338"/>
                <a:gd name="T96" fmla="*/ 171 w 218"/>
                <a:gd name="T97" fmla="*/ 63 h 338"/>
                <a:gd name="T98" fmla="*/ 181 w 218"/>
                <a:gd name="T99" fmla="*/ 74 h 338"/>
                <a:gd name="T100" fmla="*/ 194 w 218"/>
                <a:gd name="T101" fmla="*/ 73 h 338"/>
                <a:gd name="T102" fmla="*/ 183 w 218"/>
                <a:gd name="T103" fmla="*/ 50 h 338"/>
                <a:gd name="T104" fmla="*/ 159 w 218"/>
                <a:gd name="T105" fmla="*/ 37 h 338"/>
                <a:gd name="T106" fmla="*/ 160 w 218"/>
                <a:gd name="T107" fmla="*/ 16 h 338"/>
                <a:gd name="T108" fmla="*/ 140 w 218"/>
                <a:gd name="T109" fmla="*/ 24 h 338"/>
                <a:gd name="T110" fmla="*/ 159 w 218"/>
                <a:gd name="T111" fmla="*/ 54 h 338"/>
                <a:gd name="T112" fmla="*/ 136 w 218"/>
                <a:gd name="T113" fmla="*/ 8 h 338"/>
                <a:gd name="T114" fmla="*/ 194 w 218"/>
                <a:gd name="T115" fmla="*/ 37 h 338"/>
                <a:gd name="T116" fmla="*/ 192 w 218"/>
                <a:gd name="T117" fmla="*/ 27 h 338"/>
                <a:gd name="T118" fmla="*/ 181 w 218"/>
                <a:gd name="T119" fmla="*/ 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8" h="338">
                  <a:moveTo>
                    <a:pt x="156" y="323"/>
                  </a:moveTo>
                  <a:lnTo>
                    <a:pt x="152" y="321"/>
                  </a:lnTo>
                  <a:lnTo>
                    <a:pt x="153" y="318"/>
                  </a:lnTo>
                  <a:lnTo>
                    <a:pt x="153" y="317"/>
                  </a:lnTo>
                  <a:lnTo>
                    <a:pt x="147" y="316"/>
                  </a:lnTo>
                  <a:lnTo>
                    <a:pt x="144" y="318"/>
                  </a:lnTo>
                  <a:lnTo>
                    <a:pt x="142" y="321"/>
                  </a:lnTo>
                  <a:lnTo>
                    <a:pt x="141" y="318"/>
                  </a:lnTo>
                  <a:lnTo>
                    <a:pt x="140" y="316"/>
                  </a:lnTo>
                  <a:lnTo>
                    <a:pt x="139" y="315"/>
                  </a:lnTo>
                  <a:lnTo>
                    <a:pt x="137" y="314"/>
                  </a:lnTo>
                  <a:lnTo>
                    <a:pt x="137" y="312"/>
                  </a:lnTo>
                  <a:lnTo>
                    <a:pt x="141" y="313"/>
                  </a:lnTo>
                  <a:lnTo>
                    <a:pt x="143" y="313"/>
                  </a:lnTo>
                  <a:lnTo>
                    <a:pt x="149" y="310"/>
                  </a:lnTo>
                  <a:lnTo>
                    <a:pt x="151" y="310"/>
                  </a:lnTo>
                  <a:lnTo>
                    <a:pt x="152" y="310"/>
                  </a:lnTo>
                  <a:lnTo>
                    <a:pt x="154" y="309"/>
                  </a:lnTo>
                  <a:lnTo>
                    <a:pt x="154" y="307"/>
                  </a:lnTo>
                  <a:lnTo>
                    <a:pt x="148" y="303"/>
                  </a:lnTo>
                  <a:lnTo>
                    <a:pt x="148" y="301"/>
                  </a:lnTo>
                  <a:lnTo>
                    <a:pt x="150" y="300"/>
                  </a:lnTo>
                  <a:lnTo>
                    <a:pt x="150" y="298"/>
                  </a:lnTo>
                  <a:lnTo>
                    <a:pt x="149" y="296"/>
                  </a:lnTo>
                  <a:lnTo>
                    <a:pt x="148" y="294"/>
                  </a:lnTo>
                  <a:lnTo>
                    <a:pt x="146" y="293"/>
                  </a:lnTo>
                  <a:lnTo>
                    <a:pt x="143" y="294"/>
                  </a:lnTo>
                  <a:lnTo>
                    <a:pt x="141" y="294"/>
                  </a:lnTo>
                  <a:lnTo>
                    <a:pt x="140" y="292"/>
                  </a:lnTo>
                  <a:lnTo>
                    <a:pt x="138" y="288"/>
                  </a:lnTo>
                  <a:lnTo>
                    <a:pt x="136" y="286"/>
                  </a:lnTo>
                  <a:lnTo>
                    <a:pt x="133" y="285"/>
                  </a:lnTo>
                  <a:lnTo>
                    <a:pt x="135" y="283"/>
                  </a:lnTo>
                  <a:lnTo>
                    <a:pt x="137" y="282"/>
                  </a:lnTo>
                  <a:lnTo>
                    <a:pt x="140" y="284"/>
                  </a:lnTo>
                  <a:lnTo>
                    <a:pt x="142" y="286"/>
                  </a:lnTo>
                  <a:lnTo>
                    <a:pt x="144" y="288"/>
                  </a:lnTo>
                  <a:lnTo>
                    <a:pt x="146" y="287"/>
                  </a:lnTo>
                  <a:lnTo>
                    <a:pt x="148" y="285"/>
                  </a:lnTo>
                  <a:lnTo>
                    <a:pt x="148" y="280"/>
                  </a:lnTo>
                  <a:lnTo>
                    <a:pt x="144" y="277"/>
                  </a:lnTo>
                  <a:lnTo>
                    <a:pt x="135" y="275"/>
                  </a:lnTo>
                  <a:lnTo>
                    <a:pt x="130" y="269"/>
                  </a:lnTo>
                  <a:lnTo>
                    <a:pt x="116" y="271"/>
                  </a:lnTo>
                  <a:lnTo>
                    <a:pt x="116" y="269"/>
                  </a:lnTo>
                  <a:lnTo>
                    <a:pt x="124" y="262"/>
                  </a:lnTo>
                  <a:lnTo>
                    <a:pt x="122" y="262"/>
                  </a:lnTo>
                  <a:lnTo>
                    <a:pt x="121" y="262"/>
                  </a:lnTo>
                  <a:lnTo>
                    <a:pt x="119" y="261"/>
                  </a:lnTo>
                  <a:lnTo>
                    <a:pt x="117" y="260"/>
                  </a:lnTo>
                  <a:lnTo>
                    <a:pt x="118" y="259"/>
                  </a:lnTo>
                  <a:lnTo>
                    <a:pt x="122" y="255"/>
                  </a:lnTo>
                  <a:lnTo>
                    <a:pt x="119" y="253"/>
                  </a:lnTo>
                  <a:lnTo>
                    <a:pt x="117" y="254"/>
                  </a:lnTo>
                  <a:lnTo>
                    <a:pt x="111" y="258"/>
                  </a:lnTo>
                  <a:lnTo>
                    <a:pt x="112" y="259"/>
                  </a:lnTo>
                  <a:lnTo>
                    <a:pt x="112" y="259"/>
                  </a:lnTo>
                  <a:lnTo>
                    <a:pt x="112" y="260"/>
                  </a:lnTo>
                  <a:lnTo>
                    <a:pt x="109" y="260"/>
                  </a:lnTo>
                  <a:lnTo>
                    <a:pt x="110" y="265"/>
                  </a:lnTo>
                  <a:lnTo>
                    <a:pt x="111" y="267"/>
                  </a:lnTo>
                  <a:lnTo>
                    <a:pt x="111" y="273"/>
                  </a:lnTo>
                  <a:lnTo>
                    <a:pt x="115" y="281"/>
                  </a:lnTo>
                  <a:lnTo>
                    <a:pt x="120" y="289"/>
                  </a:lnTo>
                  <a:lnTo>
                    <a:pt x="124" y="294"/>
                  </a:lnTo>
                  <a:lnTo>
                    <a:pt x="123" y="302"/>
                  </a:lnTo>
                  <a:lnTo>
                    <a:pt x="130" y="312"/>
                  </a:lnTo>
                  <a:lnTo>
                    <a:pt x="144" y="326"/>
                  </a:lnTo>
                  <a:lnTo>
                    <a:pt x="150" y="335"/>
                  </a:lnTo>
                  <a:lnTo>
                    <a:pt x="154" y="338"/>
                  </a:lnTo>
                  <a:lnTo>
                    <a:pt x="157" y="337"/>
                  </a:lnTo>
                  <a:lnTo>
                    <a:pt x="159" y="333"/>
                  </a:lnTo>
                  <a:lnTo>
                    <a:pt x="158" y="328"/>
                  </a:lnTo>
                  <a:lnTo>
                    <a:pt x="156" y="323"/>
                  </a:lnTo>
                  <a:close/>
                  <a:moveTo>
                    <a:pt x="158" y="188"/>
                  </a:moveTo>
                  <a:lnTo>
                    <a:pt x="157" y="183"/>
                  </a:lnTo>
                  <a:lnTo>
                    <a:pt x="156" y="181"/>
                  </a:lnTo>
                  <a:lnTo>
                    <a:pt x="143" y="177"/>
                  </a:lnTo>
                  <a:lnTo>
                    <a:pt x="142" y="176"/>
                  </a:lnTo>
                  <a:lnTo>
                    <a:pt x="139" y="172"/>
                  </a:lnTo>
                  <a:lnTo>
                    <a:pt x="138" y="170"/>
                  </a:lnTo>
                  <a:lnTo>
                    <a:pt x="136" y="169"/>
                  </a:lnTo>
                  <a:lnTo>
                    <a:pt x="131" y="170"/>
                  </a:lnTo>
                  <a:lnTo>
                    <a:pt x="128" y="169"/>
                  </a:lnTo>
                  <a:lnTo>
                    <a:pt x="121" y="166"/>
                  </a:lnTo>
                  <a:lnTo>
                    <a:pt x="117" y="166"/>
                  </a:lnTo>
                  <a:lnTo>
                    <a:pt x="119" y="171"/>
                  </a:lnTo>
                  <a:lnTo>
                    <a:pt x="122" y="179"/>
                  </a:lnTo>
                  <a:lnTo>
                    <a:pt x="123" y="185"/>
                  </a:lnTo>
                  <a:lnTo>
                    <a:pt x="124" y="190"/>
                  </a:lnTo>
                  <a:lnTo>
                    <a:pt x="126" y="192"/>
                  </a:lnTo>
                  <a:lnTo>
                    <a:pt x="128" y="193"/>
                  </a:lnTo>
                  <a:lnTo>
                    <a:pt x="143" y="196"/>
                  </a:lnTo>
                  <a:lnTo>
                    <a:pt x="145" y="198"/>
                  </a:lnTo>
                  <a:lnTo>
                    <a:pt x="155" y="220"/>
                  </a:lnTo>
                  <a:lnTo>
                    <a:pt x="156" y="221"/>
                  </a:lnTo>
                  <a:lnTo>
                    <a:pt x="158" y="220"/>
                  </a:lnTo>
                  <a:lnTo>
                    <a:pt x="160" y="217"/>
                  </a:lnTo>
                  <a:lnTo>
                    <a:pt x="161" y="215"/>
                  </a:lnTo>
                  <a:lnTo>
                    <a:pt x="161" y="214"/>
                  </a:lnTo>
                  <a:lnTo>
                    <a:pt x="162" y="204"/>
                  </a:lnTo>
                  <a:lnTo>
                    <a:pt x="161" y="202"/>
                  </a:lnTo>
                  <a:lnTo>
                    <a:pt x="161" y="201"/>
                  </a:lnTo>
                  <a:lnTo>
                    <a:pt x="162" y="199"/>
                  </a:lnTo>
                  <a:lnTo>
                    <a:pt x="164" y="196"/>
                  </a:lnTo>
                  <a:lnTo>
                    <a:pt x="163" y="192"/>
                  </a:lnTo>
                  <a:lnTo>
                    <a:pt x="158" y="188"/>
                  </a:lnTo>
                  <a:close/>
                  <a:moveTo>
                    <a:pt x="14" y="99"/>
                  </a:moveTo>
                  <a:lnTo>
                    <a:pt x="9" y="96"/>
                  </a:lnTo>
                  <a:lnTo>
                    <a:pt x="5" y="97"/>
                  </a:lnTo>
                  <a:lnTo>
                    <a:pt x="0" y="99"/>
                  </a:lnTo>
                  <a:lnTo>
                    <a:pt x="1" y="102"/>
                  </a:lnTo>
                  <a:lnTo>
                    <a:pt x="14" y="103"/>
                  </a:lnTo>
                  <a:lnTo>
                    <a:pt x="16" y="103"/>
                  </a:lnTo>
                  <a:lnTo>
                    <a:pt x="17" y="102"/>
                  </a:lnTo>
                  <a:lnTo>
                    <a:pt x="16" y="101"/>
                  </a:lnTo>
                  <a:lnTo>
                    <a:pt x="14" y="99"/>
                  </a:lnTo>
                  <a:close/>
                  <a:moveTo>
                    <a:pt x="89" y="100"/>
                  </a:moveTo>
                  <a:lnTo>
                    <a:pt x="85" y="100"/>
                  </a:lnTo>
                  <a:lnTo>
                    <a:pt x="81" y="98"/>
                  </a:lnTo>
                  <a:lnTo>
                    <a:pt x="80" y="96"/>
                  </a:lnTo>
                  <a:lnTo>
                    <a:pt x="77" y="90"/>
                  </a:lnTo>
                  <a:lnTo>
                    <a:pt x="75" y="89"/>
                  </a:lnTo>
                  <a:lnTo>
                    <a:pt x="73" y="89"/>
                  </a:lnTo>
                  <a:lnTo>
                    <a:pt x="67" y="84"/>
                  </a:lnTo>
                  <a:lnTo>
                    <a:pt x="67" y="82"/>
                  </a:lnTo>
                  <a:lnTo>
                    <a:pt x="68" y="82"/>
                  </a:lnTo>
                  <a:lnTo>
                    <a:pt x="68" y="80"/>
                  </a:lnTo>
                  <a:lnTo>
                    <a:pt x="57" y="83"/>
                  </a:lnTo>
                  <a:lnTo>
                    <a:pt x="54" y="86"/>
                  </a:lnTo>
                  <a:lnTo>
                    <a:pt x="53" y="87"/>
                  </a:lnTo>
                  <a:lnTo>
                    <a:pt x="52" y="88"/>
                  </a:lnTo>
                  <a:lnTo>
                    <a:pt x="52" y="89"/>
                  </a:lnTo>
                  <a:lnTo>
                    <a:pt x="52" y="91"/>
                  </a:lnTo>
                  <a:lnTo>
                    <a:pt x="50" y="92"/>
                  </a:lnTo>
                  <a:lnTo>
                    <a:pt x="47" y="92"/>
                  </a:lnTo>
                  <a:lnTo>
                    <a:pt x="45" y="92"/>
                  </a:lnTo>
                  <a:lnTo>
                    <a:pt x="43" y="90"/>
                  </a:lnTo>
                  <a:lnTo>
                    <a:pt x="38" y="84"/>
                  </a:lnTo>
                  <a:lnTo>
                    <a:pt x="34" y="85"/>
                  </a:lnTo>
                  <a:lnTo>
                    <a:pt x="34" y="92"/>
                  </a:lnTo>
                  <a:lnTo>
                    <a:pt x="38" y="100"/>
                  </a:lnTo>
                  <a:lnTo>
                    <a:pt x="42" y="103"/>
                  </a:lnTo>
                  <a:lnTo>
                    <a:pt x="50" y="105"/>
                  </a:lnTo>
                  <a:lnTo>
                    <a:pt x="54" y="107"/>
                  </a:lnTo>
                  <a:lnTo>
                    <a:pt x="58" y="110"/>
                  </a:lnTo>
                  <a:lnTo>
                    <a:pt x="42" y="110"/>
                  </a:lnTo>
                  <a:lnTo>
                    <a:pt x="42" y="112"/>
                  </a:lnTo>
                  <a:lnTo>
                    <a:pt x="44" y="112"/>
                  </a:lnTo>
                  <a:lnTo>
                    <a:pt x="51" y="117"/>
                  </a:lnTo>
                  <a:lnTo>
                    <a:pt x="61" y="119"/>
                  </a:lnTo>
                  <a:lnTo>
                    <a:pt x="68" y="124"/>
                  </a:lnTo>
                  <a:lnTo>
                    <a:pt x="69" y="124"/>
                  </a:lnTo>
                  <a:lnTo>
                    <a:pt x="70" y="121"/>
                  </a:lnTo>
                  <a:lnTo>
                    <a:pt x="68" y="118"/>
                  </a:lnTo>
                  <a:lnTo>
                    <a:pt x="67" y="116"/>
                  </a:lnTo>
                  <a:lnTo>
                    <a:pt x="65" y="115"/>
                  </a:lnTo>
                  <a:lnTo>
                    <a:pt x="68" y="113"/>
                  </a:lnTo>
                  <a:lnTo>
                    <a:pt x="70" y="115"/>
                  </a:lnTo>
                  <a:lnTo>
                    <a:pt x="72" y="119"/>
                  </a:lnTo>
                  <a:lnTo>
                    <a:pt x="73" y="124"/>
                  </a:lnTo>
                  <a:lnTo>
                    <a:pt x="72" y="125"/>
                  </a:lnTo>
                  <a:lnTo>
                    <a:pt x="71" y="129"/>
                  </a:lnTo>
                  <a:lnTo>
                    <a:pt x="73" y="126"/>
                  </a:lnTo>
                  <a:lnTo>
                    <a:pt x="82" y="122"/>
                  </a:lnTo>
                  <a:lnTo>
                    <a:pt x="81" y="122"/>
                  </a:lnTo>
                  <a:lnTo>
                    <a:pt x="80" y="121"/>
                  </a:lnTo>
                  <a:lnTo>
                    <a:pt x="78" y="120"/>
                  </a:lnTo>
                  <a:lnTo>
                    <a:pt x="77" y="119"/>
                  </a:lnTo>
                  <a:lnTo>
                    <a:pt x="80" y="117"/>
                  </a:lnTo>
                  <a:lnTo>
                    <a:pt x="82" y="117"/>
                  </a:lnTo>
                  <a:lnTo>
                    <a:pt x="85" y="119"/>
                  </a:lnTo>
                  <a:lnTo>
                    <a:pt x="88" y="119"/>
                  </a:lnTo>
                  <a:lnTo>
                    <a:pt x="91" y="117"/>
                  </a:lnTo>
                  <a:lnTo>
                    <a:pt x="93" y="114"/>
                  </a:lnTo>
                  <a:lnTo>
                    <a:pt x="95" y="110"/>
                  </a:lnTo>
                  <a:lnTo>
                    <a:pt x="97" y="105"/>
                  </a:lnTo>
                  <a:lnTo>
                    <a:pt x="93" y="100"/>
                  </a:lnTo>
                  <a:lnTo>
                    <a:pt x="89" y="100"/>
                  </a:lnTo>
                  <a:close/>
                  <a:moveTo>
                    <a:pt x="218" y="33"/>
                  </a:moveTo>
                  <a:lnTo>
                    <a:pt x="215" y="31"/>
                  </a:lnTo>
                  <a:lnTo>
                    <a:pt x="210" y="31"/>
                  </a:lnTo>
                  <a:lnTo>
                    <a:pt x="205" y="36"/>
                  </a:lnTo>
                  <a:lnTo>
                    <a:pt x="202" y="38"/>
                  </a:lnTo>
                  <a:lnTo>
                    <a:pt x="200" y="40"/>
                  </a:lnTo>
                  <a:lnTo>
                    <a:pt x="201" y="44"/>
                  </a:lnTo>
                  <a:lnTo>
                    <a:pt x="203" y="49"/>
                  </a:lnTo>
                  <a:lnTo>
                    <a:pt x="205" y="52"/>
                  </a:lnTo>
                  <a:lnTo>
                    <a:pt x="207" y="53"/>
                  </a:lnTo>
                  <a:lnTo>
                    <a:pt x="209" y="52"/>
                  </a:lnTo>
                  <a:lnTo>
                    <a:pt x="212" y="50"/>
                  </a:lnTo>
                  <a:lnTo>
                    <a:pt x="213" y="49"/>
                  </a:lnTo>
                  <a:lnTo>
                    <a:pt x="214" y="46"/>
                  </a:lnTo>
                  <a:lnTo>
                    <a:pt x="214" y="43"/>
                  </a:lnTo>
                  <a:lnTo>
                    <a:pt x="213" y="40"/>
                  </a:lnTo>
                  <a:lnTo>
                    <a:pt x="217" y="35"/>
                  </a:lnTo>
                  <a:lnTo>
                    <a:pt x="218" y="33"/>
                  </a:lnTo>
                  <a:close/>
                  <a:moveTo>
                    <a:pt x="111" y="119"/>
                  </a:moveTo>
                  <a:lnTo>
                    <a:pt x="117" y="122"/>
                  </a:lnTo>
                  <a:lnTo>
                    <a:pt x="125" y="137"/>
                  </a:lnTo>
                  <a:lnTo>
                    <a:pt x="135" y="144"/>
                  </a:lnTo>
                  <a:lnTo>
                    <a:pt x="140" y="151"/>
                  </a:lnTo>
                  <a:lnTo>
                    <a:pt x="145" y="156"/>
                  </a:lnTo>
                  <a:lnTo>
                    <a:pt x="150" y="154"/>
                  </a:lnTo>
                  <a:lnTo>
                    <a:pt x="149" y="149"/>
                  </a:lnTo>
                  <a:lnTo>
                    <a:pt x="150" y="144"/>
                  </a:lnTo>
                  <a:lnTo>
                    <a:pt x="151" y="142"/>
                  </a:lnTo>
                  <a:lnTo>
                    <a:pt x="145" y="138"/>
                  </a:lnTo>
                  <a:lnTo>
                    <a:pt x="145" y="133"/>
                  </a:lnTo>
                  <a:lnTo>
                    <a:pt x="146" y="128"/>
                  </a:lnTo>
                  <a:lnTo>
                    <a:pt x="148" y="124"/>
                  </a:lnTo>
                  <a:lnTo>
                    <a:pt x="143" y="119"/>
                  </a:lnTo>
                  <a:lnTo>
                    <a:pt x="133" y="120"/>
                  </a:lnTo>
                  <a:lnTo>
                    <a:pt x="127" y="117"/>
                  </a:lnTo>
                  <a:lnTo>
                    <a:pt x="127" y="115"/>
                  </a:lnTo>
                  <a:lnTo>
                    <a:pt x="136" y="115"/>
                  </a:lnTo>
                  <a:lnTo>
                    <a:pt x="138" y="113"/>
                  </a:lnTo>
                  <a:lnTo>
                    <a:pt x="137" y="109"/>
                  </a:lnTo>
                  <a:lnTo>
                    <a:pt x="135" y="104"/>
                  </a:lnTo>
                  <a:lnTo>
                    <a:pt x="132" y="100"/>
                  </a:lnTo>
                  <a:lnTo>
                    <a:pt x="118" y="101"/>
                  </a:lnTo>
                  <a:lnTo>
                    <a:pt x="120" y="100"/>
                  </a:lnTo>
                  <a:lnTo>
                    <a:pt x="122" y="98"/>
                  </a:lnTo>
                  <a:lnTo>
                    <a:pt x="125" y="96"/>
                  </a:lnTo>
                  <a:lnTo>
                    <a:pt x="126" y="94"/>
                  </a:lnTo>
                  <a:lnTo>
                    <a:pt x="127" y="90"/>
                  </a:lnTo>
                  <a:lnTo>
                    <a:pt x="127" y="87"/>
                  </a:lnTo>
                  <a:lnTo>
                    <a:pt x="126" y="85"/>
                  </a:lnTo>
                  <a:lnTo>
                    <a:pt x="117" y="83"/>
                  </a:lnTo>
                  <a:lnTo>
                    <a:pt x="108" y="75"/>
                  </a:lnTo>
                  <a:lnTo>
                    <a:pt x="103" y="73"/>
                  </a:lnTo>
                  <a:lnTo>
                    <a:pt x="103" y="65"/>
                  </a:lnTo>
                  <a:lnTo>
                    <a:pt x="95" y="50"/>
                  </a:lnTo>
                  <a:lnTo>
                    <a:pt x="93" y="42"/>
                  </a:lnTo>
                  <a:lnTo>
                    <a:pt x="91" y="37"/>
                  </a:lnTo>
                  <a:lnTo>
                    <a:pt x="86" y="34"/>
                  </a:lnTo>
                  <a:lnTo>
                    <a:pt x="75" y="31"/>
                  </a:lnTo>
                  <a:lnTo>
                    <a:pt x="74" y="30"/>
                  </a:lnTo>
                  <a:lnTo>
                    <a:pt x="73" y="30"/>
                  </a:lnTo>
                  <a:lnTo>
                    <a:pt x="73" y="30"/>
                  </a:lnTo>
                  <a:lnTo>
                    <a:pt x="72" y="29"/>
                  </a:lnTo>
                  <a:lnTo>
                    <a:pt x="70" y="42"/>
                  </a:lnTo>
                  <a:lnTo>
                    <a:pt x="70" y="49"/>
                  </a:lnTo>
                  <a:lnTo>
                    <a:pt x="73" y="54"/>
                  </a:lnTo>
                  <a:lnTo>
                    <a:pt x="70" y="55"/>
                  </a:lnTo>
                  <a:lnTo>
                    <a:pt x="69" y="58"/>
                  </a:lnTo>
                  <a:lnTo>
                    <a:pt x="69" y="61"/>
                  </a:lnTo>
                  <a:lnTo>
                    <a:pt x="68" y="66"/>
                  </a:lnTo>
                  <a:lnTo>
                    <a:pt x="68" y="67"/>
                  </a:lnTo>
                  <a:lnTo>
                    <a:pt x="66" y="67"/>
                  </a:lnTo>
                  <a:lnTo>
                    <a:pt x="65" y="68"/>
                  </a:lnTo>
                  <a:lnTo>
                    <a:pt x="65" y="72"/>
                  </a:lnTo>
                  <a:lnTo>
                    <a:pt x="65" y="74"/>
                  </a:lnTo>
                  <a:lnTo>
                    <a:pt x="66" y="76"/>
                  </a:lnTo>
                  <a:lnTo>
                    <a:pt x="67" y="78"/>
                  </a:lnTo>
                  <a:lnTo>
                    <a:pt x="69" y="80"/>
                  </a:lnTo>
                  <a:lnTo>
                    <a:pt x="73" y="84"/>
                  </a:lnTo>
                  <a:lnTo>
                    <a:pt x="75" y="84"/>
                  </a:lnTo>
                  <a:lnTo>
                    <a:pt x="77" y="83"/>
                  </a:lnTo>
                  <a:lnTo>
                    <a:pt x="80" y="81"/>
                  </a:lnTo>
                  <a:lnTo>
                    <a:pt x="82" y="80"/>
                  </a:lnTo>
                  <a:lnTo>
                    <a:pt x="83" y="84"/>
                  </a:lnTo>
                  <a:lnTo>
                    <a:pt x="81" y="86"/>
                  </a:lnTo>
                  <a:lnTo>
                    <a:pt x="81" y="89"/>
                  </a:lnTo>
                  <a:lnTo>
                    <a:pt x="82" y="92"/>
                  </a:lnTo>
                  <a:lnTo>
                    <a:pt x="85" y="94"/>
                  </a:lnTo>
                  <a:lnTo>
                    <a:pt x="98" y="96"/>
                  </a:lnTo>
                  <a:lnTo>
                    <a:pt x="100" y="98"/>
                  </a:lnTo>
                  <a:lnTo>
                    <a:pt x="103" y="100"/>
                  </a:lnTo>
                  <a:lnTo>
                    <a:pt x="106" y="103"/>
                  </a:lnTo>
                  <a:lnTo>
                    <a:pt x="107" y="107"/>
                  </a:lnTo>
                  <a:lnTo>
                    <a:pt x="107" y="112"/>
                  </a:lnTo>
                  <a:lnTo>
                    <a:pt x="107" y="116"/>
                  </a:lnTo>
                  <a:lnTo>
                    <a:pt x="109" y="118"/>
                  </a:lnTo>
                  <a:lnTo>
                    <a:pt x="111" y="119"/>
                  </a:lnTo>
                  <a:close/>
                  <a:moveTo>
                    <a:pt x="164" y="88"/>
                  </a:moveTo>
                  <a:lnTo>
                    <a:pt x="172" y="89"/>
                  </a:lnTo>
                  <a:lnTo>
                    <a:pt x="166" y="83"/>
                  </a:lnTo>
                  <a:lnTo>
                    <a:pt x="147" y="73"/>
                  </a:lnTo>
                  <a:lnTo>
                    <a:pt x="147" y="71"/>
                  </a:lnTo>
                  <a:lnTo>
                    <a:pt x="150" y="69"/>
                  </a:lnTo>
                  <a:lnTo>
                    <a:pt x="159" y="71"/>
                  </a:lnTo>
                  <a:lnTo>
                    <a:pt x="163" y="70"/>
                  </a:lnTo>
                  <a:lnTo>
                    <a:pt x="165" y="69"/>
                  </a:lnTo>
                  <a:lnTo>
                    <a:pt x="165" y="67"/>
                  </a:lnTo>
                  <a:lnTo>
                    <a:pt x="158" y="62"/>
                  </a:lnTo>
                  <a:lnTo>
                    <a:pt x="149" y="59"/>
                  </a:lnTo>
                  <a:lnTo>
                    <a:pt x="148" y="59"/>
                  </a:lnTo>
                  <a:lnTo>
                    <a:pt x="145" y="61"/>
                  </a:lnTo>
                  <a:lnTo>
                    <a:pt x="143" y="61"/>
                  </a:lnTo>
                  <a:lnTo>
                    <a:pt x="142" y="60"/>
                  </a:lnTo>
                  <a:lnTo>
                    <a:pt x="139" y="57"/>
                  </a:lnTo>
                  <a:lnTo>
                    <a:pt x="137" y="57"/>
                  </a:lnTo>
                  <a:lnTo>
                    <a:pt x="137" y="54"/>
                  </a:lnTo>
                  <a:lnTo>
                    <a:pt x="140" y="53"/>
                  </a:lnTo>
                  <a:lnTo>
                    <a:pt x="143" y="50"/>
                  </a:lnTo>
                  <a:lnTo>
                    <a:pt x="144" y="46"/>
                  </a:lnTo>
                  <a:lnTo>
                    <a:pt x="143" y="45"/>
                  </a:lnTo>
                  <a:lnTo>
                    <a:pt x="131" y="43"/>
                  </a:lnTo>
                  <a:lnTo>
                    <a:pt x="133" y="40"/>
                  </a:lnTo>
                  <a:lnTo>
                    <a:pt x="135" y="40"/>
                  </a:lnTo>
                  <a:lnTo>
                    <a:pt x="132" y="36"/>
                  </a:lnTo>
                  <a:lnTo>
                    <a:pt x="128" y="35"/>
                  </a:lnTo>
                  <a:lnTo>
                    <a:pt x="117" y="40"/>
                  </a:lnTo>
                  <a:lnTo>
                    <a:pt x="116" y="44"/>
                  </a:lnTo>
                  <a:lnTo>
                    <a:pt x="117" y="54"/>
                  </a:lnTo>
                  <a:lnTo>
                    <a:pt x="115" y="51"/>
                  </a:lnTo>
                  <a:lnTo>
                    <a:pt x="113" y="47"/>
                  </a:lnTo>
                  <a:lnTo>
                    <a:pt x="113" y="43"/>
                  </a:lnTo>
                  <a:lnTo>
                    <a:pt x="113" y="37"/>
                  </a:lnTo>
                  <a:lnTo>
                    <a:pt x="115" y="34"/>
                  </a:lnTo>
                  <a:lnTo>
                    <a:pt x="118" y="32"/>
                  </a:lnTo>
                  <a:lnTo>
                    <a:pt x="121" y="30"/>
                  </a:lnTo>
                  <a:lnTo>
                    <a:pt x="121" y="26"/>
                  </a:lnTo>
                  <a:lnTo>
                    <a:pt x="118" y="26"/>
                  </a:lnTo>
                  <a:lnTo>
                    <a:pt x="117" y="24"/>
                  </a:lnTo>
                  <a:lnTo>
                    <a:pt x="116" y="23"/>
                  </a:lnTo>
                  <a:lnTo>
                    <a:pt x="114" y="22"/>
                  </a:lnTo>
                  <a:lnTo>
                    <a:pt x="112" y="21"/>
                  </a:lnTo>
                  <a:lnTo>
                    <a:pt x="105" y="23"/>
                  </a:lnTo>
                  <a:lnTo>
                    <a:pt x="99" y="27"/>
                  </a:lnTo>
                  <a:lnTo>
                    <a:pt x="96" y="29"/>
                  </a:lnTo>
                  <a:lnTo>
                    <a:pt x="94" y="28"/>
                  </a:lnTo>
                  <a:lnTo>
                    <a:pt x="92" y="27"/>
                  </a:lnTo>
                  <a:lnTo>
                    <a:pt x="90" y="26"/>
                  </a:lnTo>
                  <a:lnTo>
                    <a:pt x="89" y="29"/>
                  </a:lnTo>
                  <a:lnTo>
                    <a:pt x="89" y="31"/>
                  </a:lnTo>
                  <a:lnTo>
                    <a:pt x="91" y="33"/>
                  </a:lnTo>
                  <a:lnTo>
                    <a:pt x="92" y="35"/>
                  </a:lnTo>
                  <a:lnTo>
                    <a:pt x="94" y="37"/>
                  </a:lnTo>
                  <a:lnTo>
                    <a:pt x="99" y="54"/>
                  </a:lnTo>
                  <a:lnTo>
                    <a:pt x="109" y="71"/>
                  </a:lnTo>
                  <a:lnTo>
                    <a:pt x="111" y="73"/>
                  </a:lnTo>
                  <a:lnTo>
                    <a:pt x="112" y="74"/>
                  </a:lnTo>
                  <a:lnTo>
                    <a:pt x="116" y="77"/>
                  </a:lnTo>
                  <a:lnTo>
                    <a:pt x="117" y="79"/>
                  </a:lnTo>
                  <a:lnTo>
                    <a:pt x="118" y="80"/>
                  </a:lnTo>
                  <a:lnTo>
                    <a:pt x="125" y="80"/>
                  </a:lnTo>
                  <a:lnTo>
                    <a:pt x="137" y="96"/>
                  </a:lnTo>
                  <a:lnTo>
                    <a:pt x="144" y="101"/>
                  </a:lnTo>
                  <a:lnTo>
                    <a:pt x="147" y="94"/>
                  </a:lnTo>
                  <a:lnTo>
                    <a:pt x="145" y="85"/>
                  </a:lnTo>
                  <a:lnTo>
                    <a:pt x="141" y="79"/>
                  </a:lnTo>
                  <a:lnTo>
                    <a:pt x="136" y="75"/>
                  </a:lnTo>
                  <a:lnTo>
                    <a:pt x="132" y="71"/>
                  </a:lnTo>
                  <a:lnTo>
                    <a:pt x="137" y="69"/>
                  </a:lnTo>
                  <a:lnTo>
                    <a:pt x="142" y="74"/>
                  </a:lnTo>
                  <a:lnTo>
                    <a:pt x="146" y="81"/>
                  </a:lnTo>
                  <a:lnTo>
                    <a:pt x="149" y="87"/>
                  </a:lnTo>
                  <a:lnTo>
                    <a:pt x="150" y="95"/>
                  </a:lnTo>
                  <a:lnTo>
                    <a:pt x="150" y="103"/>
                  </a:lnTo>
                  <a:lnTo>
                    <a:pt x="151" y="111"/>
                  </a:lnTo>
                  <a:lnTo>
                    <a:pt x="157" y="115"/>
                  </a:lnTo>
                  <a:lnTo>
                    <a:pt x="157" y="112"/>
                  </a:lnTo>
                  <a:lnTo>
                    <a:pt x="157" y="111"/>
                  </a:lnTo>
                  <a:lnTo>
                    <a:pt x="157" y="109"/>
                  </a:lnTo>
                  <a:lnTo>
                    <a:pt x="159" y="108"/>
                  </a:lnTo>
                  <a:lnTo>
                    <a:pt x="159" y="105"/>
                  </a:lnTo>
                  <a:lnTo>
                    <a:pt x="158" y="105"/>
                  </a:lnTo>
                  <a:lnTo>
                    <a:pt x="157" y="104"/>
                  </a:lnTo>
                  <a:lnTo>
                    <a:pt x="156" y="103"/>
                  </a:lnTo>
                  <a:lnTo>
                    <a:pt x="158" y="100"/>
                  </a:lnTo>
                  <a:lnTo>
                    <a:pt x="161" y="98"/>
                  </a:lnTo>
                  <a:lnTo>
                    <a:pt x="165" y="98"/>
                  </a:lnTo>
                  <a:lnTo>
                    <a:pt x="167" y="98"/>
                  </a:lnTo>
                  <a:lnTo>
                    <a:pt x="167" y="96"/>
                  </a:lnTo>
                  <a:lnTo>
                    <a:pt x="162" y="90"/>
                  </a:lnTo>
                  <a:lnTo>
                    <a:pt x="159" y="88"/>
                  </a:lnTo>
                  <a:lnTo>
                    <a:pt x="155" y="87"/>
                  </a:lnTo>
                  <a:lnTo>
                    <a:pt x="155" y="84"/>
                  </a:lnTo>
                  <a:lnTo>
                    <a:pt x="164" y="88"/>
                  </a:lnTo>
                  <a:close/>
                  <a:moveTo>
                    <a:pt x="185" y="35"/>
                  </a:moveTo>
                  <a:lnTo>
                    <a:pt x="179" y="26"/>
                  </a:lnTo>
                  <a:lnTo>
                    <a:pt x="175" y="12"/>
                  </a:lnTo>
                  <a:lnTo>
                    <a:pt x="176" y="10"/>
                  </a:lnTo>
                  <a:lnTo>
                    <a:pt x="171" y="13"/>
                  </a:lnTo>
                  <a:lnTo>
                    <a:pt x="170" y="18"/>
                  </a:lnTo>
                  <a:lnTo>
                    <a:pt x="172" y="24"/>
                  </a:lnTo>
                  <a:lnTo>
                    <a:pt x="174" y="31"/>
                  </a:lnTo>
                  <a:lnTo>
                    <a:pt x="174" y="34"/>
                  </a:lnTo>
                  <a:lnTo>
                    <a:pt x="175" y="43"/>
                  </a:lnTo>
                  <a:lnTo>
                    <a:pt x="174" y="46"/>
                  </a:lnTo>
                  <a:lnTo>
                    <a:pt x="174" y="49"/>
                  </a:lnTo>
                  <a:lnTo>
                    <a:pt x="174" y="50"/>
                  </a:lnTo>
                  <a:lnTo>
                    <a:pt x="174" y="52"/>
                  </a:lnTo>
                  <a:lnTo>
                    <a:pt x="172" y="52"/>
                  </a:lnTo>
                  <a:lnTo>
                    <a:pt x="172" y="51"/>
                  </a:lnTo>
                  <a:lnTo>
                    <a:pt x="171" y="50"/>
                  </a:lnTo>
                  <a:lnTo>
                    <a:pt x="171" y="50"/>
                  </a:lnTo>
                  <a:lnTo>
                    <a:pt x="170" y="52"/>
                  </a:lnTo>
                  <a:lnTo>
                    <a:pt x="169" y="58"/>
                  </a:lnTo>
                  <a:lnTo>
                    <a:pt x="171" y="63"/>
                  </a:lnTo>
                  <a:lnTo>
                    <a:pt x="176" y="71"/>
                  </a:lnTo>
                  <a:lnTo>
                    <a:pt x="176" y="72"/>
                  </a:lnTo>
                  <a:lnTo>
                    <a:pt x="177" y="73"/>
                  </a:lnTo>
                  <a:lnTo>
                    <a:pt x="177" y="74"/>
                  </a:lnTo>
                  <a:lnTo>
                    <a:pt x="179" y="76"/>
                  </a:lnTo>
                  <a:lnTo>
                    <a:pt x="180" y="77"/>
                  </a:lnTo>
                  <a:lnTo>
                    <a:pt x="181" y="76"/>
                  </a:lnTo>
                  <a:lnTo>
                    <a:pt x="181" y="74"/>
                  </a:lnTo>
                  <a:lnTo>
                    <a:pt x="180" y="70"/>
                  </a:lnTo>
                  <a:lnTo>
                    <a:pt x="176" y="59"/>
                  </a:lnTo>
                  <a:lnTo>
                    <a:pt x="179" y="58"/>
                  </a:lnTo>
                  <a:lnTo>
                    <a:pt x="181" y="60"/>
                  </a:lnTo>
                  <a:lnTo>
                    <a:pt x="185" y="69"/>
                  </a:lnTo>
                  <a:lnTo>
                    <a:pt x="188" y="73"/>
                  </a:lnTo>
                  <a:lnTo>
                    <a:pt x="191" y="73"/>
                  </a:lnTo>
                  <a:lnTo>
                    <a:pt x="194" y="73"/>
                  </a:lnTo>
                  <a:lnTo>
                    <a:pt x="197" y="71"/>
                  </a:lnTo>
                  <a:lnTo>
                    <a:pt x="197" y="68"/>
                  </a:lnTo>
                  <a:lnTo>
                    <a:pt x="195" y="67"/>
                  </a:lnTo>
                  <a:lnTo>
                    <a:pt x="195" y="65"/>
                  </a:lnTo>
                  <a:lnTo>
                    <a:pt x="195" y="59"/>
                  </a:lnTo>
                  <a:lnTo>
                    <a:pt x="191" y="61"/>
                  </a:lnTo>
                  <a:lnTo>
                    <a:pt x="189" y="58"/>
                  </a:lnTo>
                  <a:lnTo>
                    <a:pt x="183" y="50"/>
                  </a:lnTo>
                  <a:lnTo>
                    <a:pt x="184" y="47"/>
                  </a:lnTo>
                  <a:lnTo>
                    <a:pt x="187" y="51"/>
                  </a:lnTo>
                  <a:lnTo>
                    <a:pt x="192" y="53"/>
                  </a:lnTo>
                  <a:lnTo>
                    <a:pt x="197" y="52"/>
                  </a:lnTo>
                  <a:lnTo>
                    <a:pt x="200" y="47"/>
                  </a:lnTo>
                  <a:lnTo>
                    <a:pt x="191" y="42"/>
                  </a:lnTo>
                  <a:lnTo>
                    <a:pt x="185" y="35"/>
                  </a:lnTo>
                  <a:close/>
                  <a:moveTo>
                    <a:pt x="159" y="37"/>
                  </a:moveTo>
                  <a:lnTo>
                    <a:pt x="160" y="40"/>
                  </a:lnTo>
                  <a:lnTo>
                    <a:pt x="164" y="45"/>
                  </a:lnTo>
                  <a:lnTo>
                    <a:pt x="167" y="47"/>
                  </a:lnTo>
                  <a:lnTo>
                    <a:pt x="169" y="45"/>
                  </a:lnTo>
                  <a:lnTo>
                    <a:pt x="169" y="40"/>
                  </a:lnTo>
                  <a:lnTo>
                    <a:pt x="168" y="37"/>
                  </a:lnTo>
                  <a:lnTo>
                    <a:pt x="167" y="32"/>
                  </a:lnTo>
                  <a:lnTo>
                    <a:pt x="160" y="16"/>
                  </a:lnTo>
                  <a:lnTo>
                    <a:pt x="159" y="11"/>
                  </a:lnTo>
                  <a:lnTo>
                    <a:pt x="156" y="8"/>
                  </a:lnTo>
                  <a:lnTo>
                    <a:pt x="153" y="11"/>
                  </a:lnTo>
                  <a:lnTo>
                    <a:pt x="153" y="19"/>
                  </a:lnTo>
                  <a:lnTo>
                    <a:pt x="155" y="26"/>
                  </a:lnTo>
                  <a:lnTo>
                    <a:pt x="159" y="37"/>
                  </a:lnTo>
                  <a:close/>
                  <a:moveTo>
                    <a:pt x="139" y="21"/>
                  </a:moveTo>
                  <a:lnTo>
                    <a:pt x="140" y="24"/>
                  </a:lnTo>
                  <a:lnTo>
                    <a:pt x="145" y="32"/>
                  </a:lnTo>
                  <a:lnTo>
                    <a:pt x="148" y="37"/>
                  </a:lnTo>
                  <a:lnTo>
                    <a:pt x="149" y="39"/>
                  </a:lnTo>
                  <a:lnTo>
                    <a:pt x="151" y="44"/>
                  </a:lnTo>
                  <a:lnTo>
                    <a:pt x="152" y="50"/>
                  </a:lnTo>
                  <a:lnTo>
                    <a:pt x="154" y="54"/>
                  </a:lnTo>
                  <a:lnTo>
                    <a:pt x="157" y="55"/>
                  </a:lnTo>
                  <a:lnTo>
                    <a:pt x="159" y="54"/>
                  </a:lnTo>
                  <a:lnTo>
                    <a:pt x="160" y="51"/>
                  </a:lnTo>
                  <a:lnTo>
                    <a:pt x="158" y="47"/>
                  </a:lnTo>
                  <a:lnTo>
                    <a:pt x="157" y="46"/>
                  </a:lnTo>
                  <a:lnTo>
                    <a:pt x="146" y="24"/>
                  </a:lnTo>
                  <a:lnTo>
                    <a:pt x="142" y="12"/>
                  </a:lnTo>
                  <a:lnTo>
                    <a:pt x="140" y="8"/>
                  </a:lnTo>
                  <a:lnTo>
                    <a:pt x="138" y="6"/>
                  </a:lnTo>
                  <a:lnTo>
                    <a:pt x="136" y="8"/>
                  </a:lnTo>
                  <a:lnTo>
                    <a:pt x="136" y="13"/>
                  </a:lnTo>
                  <a:lnTo>
                    <a:pt x="139" y="21"/>
                  </a:lnTo>
                  <a:close/>
                  <a:moveTo>
                    <a:pt x="177" y="9"/>
                  </a:moveTo>
                  <a:lnTo>
                    <a:pt x="178" y="18"/>
                  </a:lnTo>
                  <a:lnTo>
                    <a:pt x="180" y="23"/>
                  </a:lnTo>
                  <a:lnTo>
                    <a:pt x="184" y="30"/>
                  </a:lnTo>
                  <a:lnTo>
                    <a:pt x="189" y="35"/>
                  </a:lnTo>
                  <a:lnTo>
                    <a:pt x="194" y="37"/>
                  </a:lnTo>
                  <a:lnTo>
                    <a:pt x="197" y="35"/>
                  </a:lnTo>
                  <a:lnTo>
                    <a:pt x="198" y="33"/>
                  </a:lnTo>
                  <a:lnTo>
                    <a:pt x="199" y="30"/>
                  </a:lnTo>
                  <a:lnTo>
                    <a:pt x="198" y="27"/>
                  </a:lnTo>
                  <a:lnTo>
                    <a:pt x="196" y="25"/>
                  </a:lnTo>
                  <a:lnTo>
                    <a:pt x="195" y="24"/>
                  </a:lnTo>
                  <a:lnTo>
                    <a:pt x="194" y="25"/>
                  </a:lnTo>
                  <a:lnTo>
                    <a:pt x="192" y="27"/>
                  </a:lnTo>
                  <a:lnTo>
                    <a:pt x="190" y="28"/>
                  </a:lnTo>
                  <a:lnTo>
                    <a:pt x="189" y="25"/>
                  </a:lnTo>
                  <a:lnTo>
                    <a:pt x="189" y="23"/>
                  </a:lnTo>
                  <a:lnTo>
                    <a:pt x="188" y="20"/>
                  </a:lnTo>
                  <a:lnTo>
                    <a:pt x="186" y="17"/>
                  </a:lnTo>
                  <a:lnTo>
                    <a:pt x="184" y="13"/>
                  </a:lnTo>
                  <a:lnTo>
                    <a:pt x="183" y="8"/>
                  </a:lnTo>
                  <a:lnTo>
                    <a:pt x="181" y="4"/>
                  </a:lnTo>
                  <a:lnTo>
                    <a:pt x="179" y="1"/>
                  </a:lnTo>
                  <a:lnTo>
                    <a:pt x="175" y="0"/>
                  </a:lnTo>
                  <a:lnTo>
                    <a:pt x="173" y="3"/>
                  </a:lnTo>
                  <a:lnTo>
                    <a:pt x="175" y="7"/>
                  </a:lnTo>
                  <a:lnTo>
                    <a:pt x="177" y="9"/>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09" name="Freeform 45">
              <a:extLst>
                <a:ext uri="{FF2B5EF4-FFF2-40B4-BE49-F238E27FC236}">
                  <a16:creationId xmlns:a16="http://schemas.microsoft.com/office/drawing/2014/main" id="{E6130F41-7663-4204-B81C-246D7F2F89A4}"/>
                </a:ext>
              </a:extLst>
            </p:cNvPr>
            <p:cNvSpPr>
              <a:spLocks noEditPoints="1"/>
            </p:cNvSpPr>
            <p:nvPr/>
          </p:nvSpPr>
          <p:spPr bwMode="gray">
            <a:xfrm>
              <a:off x="10207936" y="2933391"/>
              <a:ext cx="631359" cy="411349"/>
            </a:xfrm>
            <a:custGeom>
              <a:avLst/>
              <a:gdLst>
                <a:gd name="T0" fmla="*/ 340 w 1013"/>
                <a:gd name="T1" fmla="*/ 482 h 660"/>
                <a:gd name="T2" fmla="*/ 173 w 1013"/>
                <a:gd name="T3" fmla="*/ 326 h 660"/>
                <a:gd name="T4" fmla="*/ 121 w 1013"/>
                <a:gd name="T5" fmla="*/ 322 h 660"/>
                <a:gd name="T6" fmla="*/ 58 w 1013"/>
                <a:gd name="T7" fmla="*/ 348 h 660"/>
                <a:gd name="T8" fmla="*/ 38 w 1013"/>
                <a:gd name="T9" fmla="*/ 378 h 660"/>
                <a:gd name="T10" fmla="*/ 25 w 1013"/>
                <a:gd name="T11" fmla="*/ 396 h 660"/>
                <a:gd name="T12" fmla="*/ 2 w 1013"/>
                <a:gd name="T13" fmla="*/ 424 h 660"/>
                <a:gd name="T14" fmla="*/ 46 w 1013"/>
                <a:gd name="T15" fmla="*/ 488 h 660"/>
                <a:gd name="T16" fmla="*/ 25 w 1013"/>
                <a:gd name="T17" fmla="*/ 525 h 660"/>
                <a:gd name="T18" fmla="*/ 72 w 1013"/>
                <a:gd name="T19" fmla="*/ 457 h 660"/>
                <a:gd name="T20" fmla="*/ 106 w 1013"/>
                <a:gd name="T21" fmla="*/ 445 h 660"/>
                <a:gd name="T22" fmla="*/ 142 w 1013"/>
                <a:gd name="T23" fmla="*/ 444 h 660"/>
                <a:gd name="T24" fmla="*/ 192 w 1013"/>
                <a:gd name="T25" fmla="*/ 400 h 660"/>
                <a:gd name="T26" fmla="*/ 210 w 1013"/>
                <a:gd name="T27" fmla="*/ 369 h 660"/>
                <a:gd name="T28" fmla="*/ 236 w 1013"/>
                <a:gd name="T29" fmla="*/ 370 h 660"/>
                <a:gd name="T30" fmla="*/ 205 w 1013"/>
                <a:gd name="T31" fmla="*/ 321 h 660"/>
                <a:gd name="T32" fmla="*/ 246 w 1013"/>
                <a:gd name="T33" fmla="*/ 347 h 660"/>
                <a:gd name="T34" fmla="*/ 243 w 1013"/>
                <a:gd name="T35" fmla="*/ 216 h 660"/>
                <a:gd name="T36" fmla="*/ 58 w 1013"/>
                <a:gd name="T37" fmla="*/ 243 h 660"/>
                <a:gd name="T38" fmla="*/ 106 w 1013"/>
                <a:gd name="T39" fmla="*/ 302 h 660"/>
                <a:gd name="T40" fmla="*/ 161 w 1013"/>
                <a:gd name="T41" fmla="*/ 277 h 660"/>
                <a:gd name="T42" fmla="*/ 179 w 1013"/>
                <a:gd name="T43" fmla="*/ 256 h 660"/>
                <a:gd name="T44" fmla="*/ 182 w 1013"/>
                <a:gd name="T45" fmla="*/ 234 h 660"/>
                <a:gd name="T46" fmla="*/ 122 w 1013"/>
                <a:gd name="T47" fmla="*/ 181 h 660"/>
                <a:gd name="T48" fmla="*/ 54 w 1013"/>
                <a:gd name="T49" fmla="*/ 224 h 660"/>
                <a:gd name="T50" fmla="*/ 1006 w 1013"/>
                <a:gd name="T51" fmla="*/ 92 h 660"/>
                <a:gd name="T52" fmla="*/ 806 w 1013"/>
                <a:gd name="T53" fmla="*/ 67 h 660"/>
                <a:gd name="T54" fmla="*/ 682 w 1013"/>
                <a:gd name="T55" fmla="*/ 28 h 660"/>
                <a:gd name="T56" fmla="*/ 647 w 1013"/>
                <a:gd name="T57" fmla="*/ 20 h 660"/>
                <a:gd name="T58" fmla="*/ 618 w 1013"/>
                <a:gd name="T59" fmla="*/ 13 h 660"/>
                <a:gd name="T60" fmla="*/ 592 w 1013"/>
                <a:gd name="T61" fmla="*/ 36 h 660"/>
                <a:gd name="T62" fmla="*/ 514 w 1013"/>
                <a:gd name="T63" fmla="*/ 47 h 660"/>
                <a:gd name="T64" fmla="*/ 474 w 1013"/>
                <a:gd name="T65" fmla="*/ 64 h 660"/>
                <a:gd name="T66" fmla="*/ 454 w 1013"/>
                <a:gd name="T67" fmla="*/ 69 h 660"/>
                <a:gd name="T68" fmla="*/ 378 w 1013"/>
                <a:gd name="T69" fmla="*/ 77 h 660"/>
                <a:gd name="T70" fmla="*/ 361 w 1013"/>
                <a:gd name="T71" fmla="*/ 120 h 660"/>
                <a:gd name="T72" fmla="*/ 289 w 1013"/>
                <a:gd name="T73" fmla="*/ 125 h 660"/>
                <a:gd name="T74" fmla="*/ 257 w 1013"/>
                <a:gd name="T75" fmla="*/ 194 h 660"/>
                <a:gd name="T76" fmla="*/ 285 w 1013"/>
                <a:gd name="T77" fmla="*/ 199 h 660"/>
                <a:gd name="T78" fmla="*/ 255 w 1013"/>
                <a:gd name="T79" fmla="*/ 223 h 660"/>
                <a:gd name="T80" fmla="*/ 294 w 1013"/>
                <a:gd name="T81" fmla="*/ 266 h 660"/>
                <a:gd name="T82" fmla="*/ 314 w 1013"/>
                <a:gd name="T83" fmla="*/ 284 h 660"/>
                <a:gd name="T84" fmla="*/ 268 w 1013"/>
                <a:gd name="T85" fmla="*/ 292 h 660"/>
                <a:gd name="T86" fmla="*/ 275 w 1013"/>
                <a:gd name="T87" fmla="*/ 335 h 660"/>
                <a:gd name="T88" fmla="*/ 299 w 1013"/>
                <a:gd name="T89" fmla="*/ 393 h 660"/>
                <a:gd name="T90" fmla="*/ 319 w 1013"/>
                <a:gd name="T91" fmla="*/ 403 h 660"/>
                <a:gd name="T92" fmla="*/ 383 w 1013"/>
                <a:gd name="T93" fmla="*/ 420 h 660"/>
                <a:gd name="T94" fmla="*/ 417 w 1013"/>
                <a:gd name="T95" fmla="*/ 433 h 660"/>
                <a:gd name="T96" fmla="*/ 392 w 1013"/>
                <a:gd name="T97" fmla="*/ 538 h 660"/>
                <a:gd name="T98" fmla="*/ 455 w 1013"/>
                <a:gd name="T99" fmla="*/ 514 h 660"/>
                <a:gd name="T100" fmla="*/ 530 w 1013"/>
                <a:gd name="T101" fmla="*/ 506 h 660"/>
                <a:gd name="T102" fmla="*/ 555 w 1013"/>
                <a:gd name="T103" fmla="*/ 500 h 660"/>
                <a:gd name="T104" fmla="*/ 612 w 1013"/>
                <a:gd name="T105" fmla="*/ 534 h 660"/>
                <a:gd name="T106" fmla="*/ 698 w 1013"/>
                <a:gd name="T107" fmla="*/ 626 h 660"/>
                <a:gd name="T108" fmla="*/ 751 w 1013"/>
                <a:gd name="T109" fmla="*/ 653 h 660"/>
                <a:gd name="T110" fmla="*/ 812 w 1013"/>
                <a:gd name="T111" fmla="*/ 632 h 660"/>
                <a:gd name="T112" fmla="*/ 876 w 1013"/>
                <a:gd name="T113" fmla="*/ 633 h 660"/>
                <a:gd name="T114" fmla="*/ 899 w 1013"/>
                <a:gd name="T115" fmla="*/ 580 h 660"/>
                <a:gd name="T116" fmla="*/ 924 w 1013"/>
                <a:gd name="T117" fmla="*/ 527 h 660"/>
                <a:gd name="T118" fmla="*/ 886 w 1013"/>
                <a:gd name="T119" fmla="*/ 289 h 660"/>
                <a:gd name="T120" fmla="*/ 998 w 1013"/>
                <a:gd name="T121" fmla="*/ 117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13" h="660">
                  <a:moveTo>
                    <a:pt x="227" y="568"/>
                  </a:moveTo>
                  <a:lnTo>
                    <a:pt x="224" y="565"/>
                  </a:lnTo>
                  <a:lnTo>
                    <a:pt x="221" y="564"/>
                  </a:lnTo>
                  <a:lnTo>
                    <a:pt x="220" y="566"/>
                  </a:lnTo>
                  <a:lnTo>
                    <a:pt x="220" y="569"/>
                  </a:lnTo>
                  <a:lnTo>
                    <a:pt x="220" y="571"/>
                  </a:lnTo>
                  <a:lnTo>
                    <a:pt x="222" y="574"/>
                  </a:lnTo>
                  <a:lnTo>
                    <a:pt x="225" y="576"/>
                  </a:lnTo>
                  <a:lnTo>
                    <a:pt x="228" y="576"/>
                  </a:lnTo>
                  <a:lnTo>
                    <a:pt x="229" y="572"/>
                  </a:lnTo>
                  <a:lnTo>
                    <a:pt x="228" y="569"/>
                  </a:lnTo>
                  <a:lnTo>
                    <a:pt x="227" y="568"/>
                  </a:lnTo>
                  <a:close/>
                  <a:moveTo>
                    <a:pt x="342" y="465"/>
                  </a:moveTo>
                  <a:lnTo>
                    <a:pt x="337" y="466"/>
                  </a:lnTo>
                  <a:lnTo>
                    <a:pt x="334" y="471"/>
                  </a:lnTo>
                  <a:lnTo>
                    <a:pt x="335" y="478"/>
                  </a:lnTo>
                  <a:lnTo>
                    <a:pt x="340" y="482"/>
                  </a:lnTo>
                  <a:lnTo>
                    <a:pt x="345" y="479"/>
                  </a:lnTo>
                  <a:lnTo>
                    <a:pt x="348" y="473"/>
                  </a:lnTo>
                  <a:lnTo>
                    <a:pt x="346" y="466"/>
                  </a:lnTo>
                  <a:lnTo>
                    <a:pt x="342" y="465"/>
                  </a:lnTo>
                  <a:close/>
                  <a:moveTo>
                    <a:pt x="231" y="365"/>
                  </a:moveTo>
                  <a:lnTo>
                    <a:pt x="226" y="361"/>
                  </a:lnTo>
                  <a:lnTo>
                    <a:pt x="222" y="360"/>
                  </a:lnTo>
                  <a:lnTo>
                    <a:pt x="215" y="358"/>
                  </a:lnTo>
                  <a:lnTo>
                    <a:pt x="209" y="355"/>
                  </a:lnTo>
                  <a:lnTo>
                    <a:pt x="207" y="353"/>
                  </a:lnTo>
                  <a:lnTo>
                    <a:pt x="206" y="351"/>
                  </a:lnTo>
                  <a:lnTo>
                    <a:pt x="203" y="344"/>
                  </a:lnTo>
                  <a:lnTo>
                    <a:pt x="200" y="340"/>
                  </a:lnTo>
                  <a:lnTo>
                    <a:pt x="191" y="336"/>
                  </a:lnTo>
                  <a:lnTo>
                    <a:pt x="184" y="330"/>
                  </a:lnTo>
                  <a:lnTo>
                    <a:pt x="176" y="328"/>
                  </a:lnTo>
                  <a:lnTo>
                    <a:pt x="173" y="326"/>
                  </a:lnTo>
                  <a:lnTo>
                    <a:pt x="170" y="325"/>
                  </a:lnTo>
                  <a:lnTo>
                    <a:pt x="161" y="327"/>
                  </a:lnTo>
                  <a:lnTo>
                    <a:pt x="156" y="324"/>
                  </a:lnTo>
                  <a:lnTo>
                    <a:pt x="152" y="326"/>
                  </a:lnTo>
                  <a:lnTo>
                    <a:pt x="147" y="333"/>
                  </a:lnTo>
                  <a:lnTo>
                    <a:pt x="144" y="334"/>
                  </a:lnTo>
                  <a:lnTo>
                    <a:pt x="141" y="334"/>
                  </a:lnTo>
                  <a:lnTo>
                    <a:pt x="138" y="332"/>
                  </a:lnTo>
                  <a:lnTo>
                    <a:pt x="135" y="331"/>
                  </a:lnTo>
                  <a:lnTo>
                    <a:pt x="134" y="331"/>
                  </a:lnTo>
                  <a:lnTo>
                    <a:pt x="131" y="334"/>
                  </a:lnTo>
                  <a:lnTo>
                    <a:pt x="130" y="335"/>
                  </a:lnTo>
                  <a:lnTo>
                    <a:pt x="128" y="334"/>
                  </a:lnTo>
                  <a:lnTo>
                    <a:pt x="127" y="332"/>
                  </a:lnTo>
                  <a:lnTo>
                    <a:pt x="126" y="331"/>
                  </a:lnTo>
                  <a:lnTo>
                    <a:pt x="124" y="329"/>
                  </a:lnTo>
                  <a:lnTo>
                    <a:pt x="121" y="322"/>
                  </a:lnTo>
                  <a:lnTo>
                    <a:pt x="119" y="320"/>
                  </a:lnTo>
                  <a:lnTo>
                    <a:pt x="114" y="322"/>
                  </a:lnTo>
                  <a:lnTo>
                    <a:pt x="100" y="333"/>
                  </a:lnTo>
                  <a:lnTo>
                    <a:pt x="78" y="336"/>
                  </a:lnTo>
                  <a:lnTo>
                    <a:pt x="73" y="340"/>
                  </a:lnTo>
                  <a:lnTo>
                    <a:pt x="72" y="346"/>
                  </a:lnTo>
                  <a:lnTo>
                    <a:pt x="72" y="355"/>
                  </a:lnTo>
                  <a:lnTo>
                    <a:pt x="70" y="361"/>
                  </a:lnTo>
                  <a:lnTo>
                    <a:pt x="65" y="360"/>
                  </a:lnTo>
                  <a:lnTo>
                    <a:pt x="63" y="358"/>
                  </a:lnTo>
                  <a:lnTo>
                    <a:pt x="62" y="356"/>
                  </a:lnTo>
                  <a:lnTo>
                    <a:pt x="62" y="353"/>
                  </a:lnTo>
                  <a:lnTo>
                    <a:pt x="62" y="351"/>
                  </a:lnTo>
                  <a:lnTo>
                    <a:pt x="62" y="349"/>
                  </a:lnTo>
                  <a:lnTo>
                    <a:pt x="61" y="348"/>
                  </a:lnTo>
                  <a:lnTo>
                    <a:pt x="60" y="347"/>
                  </a:lnTo>
                  <a:lnTo>
                    <a:pt x="58" y="348"/>
                  </a:lnTo>
                  <a:lnTo>
                    <a:pt x="57" y="348"/>
                  </a:lnTo>
                  <a:lnTo>
                    <a:pt x="56" y="351"/>
                  </a:lnTo>
                  <a:lnTo>
                    <a:pt x="54" y="355"/>
                  </a:lnTo>
                  <a:lnTo>
                    <a:pt x="52" y="357"/>
                  </a:lnTo>
                  <a:lnTo>
                    <a:pt x="47" y="360"/>
                  </a:lnTo>
                  <a:lnTo>
                    <a:pt x="45" y="362"/>
                  </a:lnTo>
                  <a:lnTo>
                    <a:pt x="43" y="365"/>
                  </a:lnTo>
                  <a:lnTo>
                    <a:pt x="42" y="369"/>
                  </a:lnTo>
                  <a:lnTo>
                    <a:pt x="41" y="377"/>
                  </a:lnTo>
                  <a:lnTo>
                    <a:pt x="42" y="381"/>
                  </a:lnTo>
                  <a:lnTo>
                    <a:pt x="42" y="384"/>
                  </a:lnTo>
                  <a:lnTo>
                    <a:pt x="41" y="385"/>
                  </a:lnTo>
                  <a:lnTo>
                    <a:pt x="40" y="385"/>
                  </a:lnTo>
                  <a:lnTo>
                    <a:pt x="39" y="384"/>
                  </a:lnTo>
                  <a:lnTo>
                    <a:pt x="39" y="383"/>
                  </a:lnTo>
                  <a:lnTo>
                    <a:pt x="38" y="382"/>
                  </a:lnTo>
                  <a:lnTo>
                    <a:pt x="38" y="378"/>
                  </a:lnTo>
                  <a:lnTo>
                    <a:pt x="37" y="374"/>
                  </a:lnTo>
                  <a:lnTo>
                    <a:pt x="30" y="362"/>
                  </a:lnTo>
                  <a:lnTo>
                    <a:pt x="26" y="358"/>
                  </a:lnTo>
                  <a:lnTo>
                    <a:pt x="21" y="356"/>
                  </a:lnTo>
                  <a:lnTo>
                    <a:pt x="15" y="356"/>
                  </a:lnTo>
                  <a:lnTo>
                    <a:pt x="14" y="358"/>
                  </a:lnTo>
                  <a:lnTo>
                    <a:pt x="14" y="360"/>
                  </a:lnTo>
                  <a:lnTo>
                    <a:pt x="14" y="361"/>
                  </a:lnTo>
                  <a:lnTo>
                    <a:pt x="11" y="362"/>
                  </a:lnTo>
                  <a:lnTo>
                    <a:pt x="9" y="362"/>
                  </a:lnTo>
                  <a:lnTo>
                    <a:pt x="0" y="358"/>
                  </a:lnTo>
                  <a:lnTo>
                    <a:pt x="5" y="364"/>
                  </a:lnTo>
                  <a:lnTo>
                    <a:pt x="9" y="368"/>
                  </a:lnTo>
                  <a:lnTo>
                    <a:pt x="11" y="371"/>
                  </a:lnTo>
                  <a:lnTo>
                    <a:pt x="15" y="378"/>
                  </a:lnTo>
                  <a:lnTo>
                    <a:pt x="18" y="382"/>
                  </a:lnTo>
                  <a:lnTo>
                    <a:pt x="25" y="396"/>
                  </a:lnTo>
                  <a:lnTo>
                    <a:pt x="27" y="402"/>
                  </a:lnTo>
                  <a:lnTo>
                    <a:pt x="29" y="406"/>
                  </a:lnTo>
                  <a:lnTo>
                    <a:pt x="25" y="404"/>
                  </a:lnTo>
                  <a:lnTo>
                    <a:pt x="22" y="405"/>
                  </a:lnTo>
                  <a:lnTo>
                    <a:pt x="20" y="408"/>
                  </a:lnTo>
                  <a:lnTo>
                    <a:pt x="21" y="414"/>
                  </a:lnTo>
                  <a:lnTo>
                    <a:pt x="18" y="416"/>
                  </a:lnTo>
                  <a:lnTo>
                    <a:pt x="15" y="414"/>
                  </a:lnTo>
                  <a:lnTo>
                    <a:pt x="13" y="410"/>
                  </a:lnTo>
                  <a:lnTo>
                    <a:pt x="10" y="408"/>
                  </a:lnTo>
                  <a:lnTo>
                    <a:pt x="7" y="409"/>
                  </a:lnTo>
                  <a:lnTo>
                    <a:pt x="8" y="413"/>
                  </a:lnTo>
                  <a:lnTo>
                    <a:pt x="10" y="418"/>
                  </a:lnTo>
                  <a:lnTo>
                    <a:pt x="12" y="422"/>
                  </a:lnTo>
                  <a:lnTo>
                    <a:pt x="4" y="420"/>
                  </a:lnTo>
                  <a:lnTo>
                    <a:pt x="2" y="421"/>
                  </a:lnTo>
                  <a:lnTo>
                    <a:pt x="2" y="424"/>
                  </a:lnTo>
                  <a:lnTo>
                    <a:pt x="3" y="427"/>
                  </a:lnTo>
                  <a:lnTo>
                    <a:pt x="6" y="432"/>
                  </a:lnTo>
                  <a:lnTo>
                    <a:pt x="10" y="437"/>
                  </a:lnTo>
                  <a:lnTo>
                    <a:pt x="15" y="438"/>
                  </a:lnTo>
                  <a:lnTo>
                    <a:pt x="26" y="438"/>
                  </a:lnTo>
                  <a:lnTo>
                    <a:pt x="30" y="442"/>
                  </a:lnTo>
                  <a:lnTo>
                    <a:pt x="35" y="456"/>
                  </a:lnTo>
                  <a:lnTo>
                    <a:pt x="38" y="459"/>
                  </a:lnTo>
                  <a:lnTo>
                    <a:pt x="49" y="461"/>
                  </a:lnTo>
                  <a:lnTo>
                    <a:pt x="55" y="464"/>
                  </a:lnTo>
                  <a:lnTo>
                    <a:pt x="59" y="468"/>
                  </a:lnTo>
                  <a:lnTo>
                    <a:pt x="53" y="477"/>
                  </a:lnTo>
                  <a:lnTo>
                    <a:pt x="52" y="480"/>
                  </a:lnTo>
                  <a:lnTo>
                    <a:pt x="51" y="486"/>
                  </a:lnTo>
                  <a:lnTo>
                    <a:pt x="50" y="488"/>
                  </a:lnTo>
                  <a:lnTo>
                    <a:pt x="48" y="489"/>
                  </a:lnTo>
                  <a:lnTo>
                    <a:pt x="46" y="488"/>
                  </a:lnTo>
                  <a:lnTo>
                    <a:pt x="44" y="487"/>
                  </a:lnTo>
                  <a:lnTo>
                    <a:pt x="42" y="486"/>
                  </a:lnTo>
                  <a:lnTo>
                    <a:pt x="40" y="487"/>
                  </a:lnTo>
                  <a:lnTo>
                    <a:pt x="39" y="490"/>
                  </a:lnTo>
                  <a:lnTo>
                    <a:pt x="36" y="496"/>
                  </a:lnTo>
                  <a:lnTo>
                    <a:pt x="30" y="505"/>
                  </a:lnTo>
                  <a:lnTo>
                    <a:pt x="29" y="508"/>
                  </a:lnTo>
                  <a:lnTo>
                    <a:pt x="27" y="515"/>
                  </a:lnTo>
                  <a:lnTo>
                    <a:pt x="26" y="517"/>
                  </a:lnTo>
                  <a:lnTo>
                    <a:pt x="25" y="517"/>
                  </a:lnTo>
                  <a:lnTo>
                    <a:pt x="21" y="517"/>
                  </a:lnTo>
                  <a:lnTo>
                    <a:pt x="21" y="518"/>
                  </a:lnTo>
                  <a:lnTo>
                    <a:pt x="21" y="519"/>
                  </a:lnTo>
                  <a:lnTo>
                    <a:pt x="21" y="520"/>
                  </a:lnTo>
                  <a:lnTo>
                    <a:pt x="21" y="521"/>
                  </a:lnTo>
                  <a:lnTo>
                    <a:pt x="24" y="522"/>
                  </a:lnTo>
                  <a:lnTo>
                    <a:pt x="25" y="525"/>
                  </a:lnTo>
                  <a:lnTo>
                    <a:pt x="26" y="528"/>
                  </a:lnTo>
                  <a:lnTo>
                    <a:pt x="25" y="531"/>
                  </a:lnTo>
                  <a:lnTo>
                    <a:pt x="30" y="537"/>
                  </a:lnTo>
                  <a:lnTo>
                    <a:pt x="35" y="537"/>
                  </a:lnTo>
                  <a:lnTo>
                    <a:pt x="57" y="517"/>
                  </a:lnTo>
                  <a:lnTo>
                    <a:pt x="59" y="514"/>
                  </a:lnTo>
                  <a:lnTo>
                    <a:pt x="58" y="507"/>
                  </a:lnTo>
                  <a:lnTo>
                    <a:pt x="59" y="504"/>
                  </a:lnTo>
                  <a:lnTo>
                    <a:pt x="60" y="501"/>
                  </a:lnTo>
                  <a:lnTo>
                    <a:pt x="62" y="499"/>
                  </a:lnTo>
                  <a:lnTo>
                    <a:pt x="63" y="496"/>
                  </a:lnTo>
                  <a:lnTo>
                    <a:pt x="68" y="484"/>
                  </a:lnTo>
                  <a:lnTo>
                    <a:pt x="69" y="477"/>
                  </a:lnTo>
                  <a:lnTo>
                    <a:pt x="69" y="471"/>
                  </a:lnTo>
                  <a:lnTo>
                    <a:pt x="70" y="460"/>
                  </a:lnTo>
                  <a:lnTo>
                    <a:pt x="70" y="458"/>
                  </a:lnTo>
                  <a:lnTo>
                    <a:pt x="72" y="457"/>
                  </a:lnTo>
                  <a:lnTo>
                    <a:pt x="74" y="454"/>
                  </a:lnTo>
                  <a:lnTo>
                    <a:pt x="78" y="450"/>
                  </a:lnTo>
                  <a:lnTo>
                    <a:pt x="83" y="447"/>
                  </a:lnTo>
                  <a:lnTo>
                    <a:pt x="84" y="446"/>
                  </a:lnTo>
                  <a:lnTo>
                    <a:pt x="87" y="445"/>
                  </a:lnTo>
                  <a:lnTo>
                    <a:pt x="88" y="444"/>
                  </a:lnTo>
                  <a:lnTo>
                    <a:pt x="90" y="444"/>
                  </a:lnTo>
                  <a:lnTo>
                    <a:pt x="92" y="445"/>
                  </a:lnTo>
                  <a:lnTo>
                    <a:pt x="94" y="446"/>
                  </a:lnTo>
                  <a:lnTo>
                    <a:pt x="95" y="444"/>
                  </a:lnTo>
                  <a:lnTo>
                    <a:pt x="97" y="442"/>
                  </a:lnTo>
                  <a:lnTo>
                    <a:pt x="100" y="440"/>
                  </a:lnTo>
                  <a:lnTo>
                    <a:pt x="103" y="438"/>
                  </a:lnTo>
                  <a:lnTo>
                    <a:pt x="105" y="438"/>
                  </a:lnTo>
                  <a:lnTo>
                    <a:pt x="105" y="439"/>
                  </a:lnTo>
                  <a:lnTo>
                    <a:pt x="106" y="444"/>
                  </a:lnTo>
                  <a:lnTo>
                    <a:pt x="106" y="445"/>
                  </a:lnTo>
                  <a:lnTo>
                    <a:pt x="107" y="445"/>
                  </a:lnTo>
                  <a:lnTo>
                    <a:pt x="107" y="444"/>
                  </a:lnTo>
                  <a:lnTo>
                    <a:pt x="108" y="444"/>
                  </a:lnTo>
                  <a:lnTo>
                    <a:pt x="109" y="443"/>
                  </a:lnTo>
                  <a:lnTo>
                    <a:pt x="110" y="438"/>
                  </a:lnTo>
                  <a:lnTo>
                    <a:pt x="112" y="436"/>
                  </a:lnTo>
                  <a:lnTo>
                    <a:pt x="114" y="437"/>
                  </a:lnTo>
                  <a:lnTo>
                    <a:pt x="116" y="441"/>
                  </a:lnTo>
                  <a:lnTo>
                    <a:pt x="116" y="441"/>
                  </a:lnTo>
                  <a:lnTo>
                    <a:pt x="118" y="440"/>
                  </a:lnTo>
                  <a:lnTo>
                    <a:pt x="120" y="437"/>
                  </a:lnTo>
                  <a:lnTo>
                    <a:pt x="123" y="436"/>
                  </a:lnTo>
                  <a:lnTo>
                    <a:pt x="125" y="436"/>
                  </a:lnTo>
                  <a:lnTo>
                    <a:pt x="128" y="437"/>
                  </a:lnTo>
                  <a:lnTo>
                    <a:pt x="131" y="438"/>
                  </a:lnTo>
                  <a:lnTo>
                    <a:pt x="133" y="446"/>
                  </a:lnTo>
                  <a:lnTo>
                    <a:pt x="142" y="444"/>
                  </a:lnTo>
                  <a:lnTo>
                    <a:pt x="147" y="439"/>
                  </a:lnTo>
                  <a:lnTo>
                    <a:pt x="139" y="435"/>
                  </a:lnTo>
                  <a:lnTo>
                    <a:pt x="141" y="431"/>
                  </a:lnTo>
                  <a:lnTo>
                    <a:pt x="145" y="430"/>
                  </a:lnTo>
                  <a:lnTo>
                    <a:pt x="152" y="431"/>
                  </a:lnTo>
                  <a:lnTo>
                    <a:pt x="156" y="430"/>
                  </a:lnTo>
                  <a:lnTo>
                    <a:pt x="158" y="428"/>
                  </a:lnTo>
                  <a:lnTo>
                    <a:pt x="162" y="422"/>
                  </a:lnTo>
                  <a:lnTo>
                    <a:pt x="165" y="420"/>
                  </a:lnTo>
                  <a:lnTo>
                    <a:pt x="167" y="420"/>
                  </a:lnTo>
                  <a:lnTo>
                    <a:pt x="170" y="418"/>
                  </a:lnTo>
                  <a:lnTo>
                    <a:pt x="181" y="404"/>
                  </a:lnTo>
                  <a:lnTo>
                    <a:pt x="177" y="400"/>
                  </a:lnTo>
                  <a:lnTo>
                    <a:pt x="178" y="397"/>
                  </a:lnTo>
                  <a:lnTo>
                    <a:pt x="182" y="397"/>
                  </a:lnTo>
                  <a:lnTo>
                    <a:pt x="189" y="403"/>
                  </a:lnTo>
                  <a:lnTo>
                    <a:pt x="192" y="400"/>
                  </a:lnTo>
                  <a:lnTo>
                    <a:pt x="196" y="396"/>
                  </a:lnTo>
                  <a:lnTo>
                    <a:pt x="199" y="393"/>
                  </a:lnTo>
                  <a:lnTo>
                    <a:pt x="199" y="392"/>
                  </a:lnTo>
                  <a:lnTo>
                    <a:pt x="199" y="390"/>
                  </a:lnTo>
                  <a:lnTo>
                    <a:pt x="198" y="388"/>
                  </a:lnTo>
                  <a:lnTo>
                    <a:pt x="198" y="386"/>
                  </a:lnTo>
                  <a:lnTo>
                    <a:pt x="199" y="383"/>
                  </a:lnTo>
                  <a:lnTo>
                    <a:pt x="200" y="382"/>
                  </a:lnTo>
                  <a:lnTo>
                    <a:pt x="202" y="383"/>
                  </a:lnTo>
                  <a:lnTo>
                    <a:pt x="203" y="383"/>
                  </a:lnTo>
                  <a:lnTo>
                    <a:pt x="205" y="381"/>
                  </a:lnTo>
                  <a:lnTo>
                    <a:pt x="206" y="380"/>
                  </a:lnTo>
                  <a:lnTo>
                    <a:pt x="207" y="378"/>
                  </a:lnTo>
                  <a:lnTo>
                    <a:pt x="208" y="376"/>
                  </a:lnTo>
                  <a:lnTo>
                    <a:pt x="209" y="372"/>
                  </a:lnTo>
                  <a:lnTo>
                    <a:pt x="209" y="370"/>
                  </a:lnTo>
                  <a:lnTo>
                    <a:pt x="210" y="369"/>
                  </a:lnTo>
                  <a:lnTo>
                    <a:pt x="210" y="368"/>
                  </a:lnTo>
                  <a:lnTo>
                    <a:pt x="213" y="368"/>
                  </a:lnTo>
                  <a:lnTo>
                    <a:pt x="214" y="369"/>
                  </a:lnTo>
                  <a:lnTo>
                    <a:pt x="215" y="371"/>
                  </a:lnTo>
                  <a:lnTo>
                    <a:pt x="216" y="373"/>
                  </a:lnTo>
                  <a:lnTo>
                    <a:pt x="217" y="375"/>
                  </a:lnTo>
                  <a:lnTo>
                    <a:pt x="220" y="378"/>
                  </a:lnTo>
                  <a:lnTo>
                    <a:pt x="223" y="380"/>
                  </a:lnTo>
                  <a:lnTo>
                    <a:pt x="230" y="381"/>
                  </a:lnTo>
                  <a:lnTo>
                    <a:pt x="229" y="378"/>
                  </a:lnTo>
                  <a:lnTo>
                    <a:pt x="227" y="376"/>
                  </a:lnTo>
                  <a:lnTo>
                    <a:pt x="225" y="375"/>
                  </a:lnTo>
                  <a:lnTo>
                    <a:pt x="223" y="375"/>
                  </a:lnTo>
                  <a:lnTo>
                    <a:pt x="227" y="372"/>
                  </a:lnTo>
                  <a:lnTo>
                    <a:pt x="237" y="379"/>
                  </a:lnTo>
                  <a:lnTo>
                    <a:pt x="238" y="375"/>
                  </a:lnTo>
                  <a:lnTo>
                    <a:pt x="236" y="370"/>
                  </a:lnTo>
                  <a:lnTo>
                    <a:pt x="231" y="365"/>
                  </a:lnTo>
                  <a:close/>
                  <a:moveTo>
                    <a:pt x="246" y="337"/>
                  </a:moveTo>
                  <a:lnTo>
                    <a:pt x="245" y="335"/>
                  </a:lnTo>
                  <a:lnTo>
                    <a:pt x="242" y="331"/>
                  </a:lnTo>
                  <a:lnTo>
                    <a:pt x="241" y="329"/>
                  </a:lnTo>
                  <a:lnTo>
                    <a:pt x="240" y="326"/>
                  </a:lnTo>
                  <a:lnTo>
                    <a:pt x="241" y="323"/>
                  </a:lnTo>
                  <a:lnTo>
                    <a:pt x="241" y="320"/>
                  </a:lnTo>
                  <a:lnTo>
                    <a:pt x="240" y="317"/>
                  </a:lnTo>
                  <a:lnTo>
                    <a:pt x="238" y="315"/>
                  </a:lnTo>
                  <a:lnTo>
                    <a:pt x="231" y="311"/>
                  </a:lnTo>
                  <a:lnTo>
                    <a:pt x="217" y="306"/>
                  </a:lnTo>
                  <a:lnTo>
                    <a:pt x="213" y="306"/>
                  </a:lnTo>
                  <a:lnTo>
                    <a:pt x="210" y="308"/>
                  </a:lnTo>
                  <a:lnTo>
                    <a:pt x="207" y="312"/>
                  </a:lnTo>
                  <a:lnTo>
                    <a:pt x="206" y="314"/>
                  </a:lnTo>
                  <a:lnTo>
                    <a:pt x="205" y="321"/>
                  </a:lnTo>
                  <a:lnTo>
                    <a:pt x="205" y="322"/>
                  </a:lnTo>
                  <a:lnTo>
                    <a:pt x="202" y="324"/>
                  </a:lnTo>
                  <a:lnTo>
                    <a:pt x="197" y="322"/>
                  </a:lnTo>
                  <a:lnTo>
                    <a:pt x="196" y="324"/>
                  </a:lnTo>
                  <a:lnTo>
                    <a:pt x="195" y="330"/>
                  </a:lnTo>
                  <a:lnTo>
                    <a:pt x="199" y="334"/>
                  </a:lnTo>
                  <a:lnTo>
                    <a:pt x="207" y="337"/>
                  </a:lnTo>
                  <a:lnTo>
                    <a:pt x="221" y="351"/>
                  </a:lnTo>
                  <a:lnTo>
                    <a:pt x="223" y="351"/>
                  </a:lnTo>
                  <a:lnTo>
                    <a:pt x="227" y="348"/>
                  </a:lnTo>
                  <a:lnTo>
                    <a:pt x="230" y="347"/>
                  </a:lnTo>
                  <a:lnTo>
                    <a:pt x="235" y="348"/>
                  </a:lnTo>
                  <a:lnTo>
                    <a:pt x="238" y="349"/>
                  </a:lnTo>
                  <a:lnTo>
                    <a:pt x="240" y="351"/>
                  </a:lnTo>
                  <a:lnTo>
                    <a:pt x="243" y="352"/>
                  </a:lnTo>
                  <a:lnTo>
                    <a:pt x="245" y="349"/>
                  </a:lnTo>
                  <a:lnTo>
                    <a:pt x="246" y="347"/>
                  </a:lnTo>
                  <a:lnTo>
                    <a:pt x="249" y="344"/>
                  </a:lnTo>
                  <a:lnTo>
                    <a:pt x="249" y="342"/>
                  </a:lnTo>
                  <a:lnTo>
                    <a:pt x="246" y="337"/>
                  </a:lnTo>
                  <a:close/>
                  <a:moveTo>
                    <a:pt x="209" y="217"/>
                  </a:moveTo>
                  <a:lnTo>
                    <a:pt x="211" y="218"/>
                  </a:lnTo>
                  <a:lnTo>
                    <a:pt x="213" y="218"/>
                  </a:lnTo>
                  <a:lnTo>
                    <a:pt x="219" y="217"/>
                  </a:lnTo>
                  <a:lnTo>
                    <a:pt x="220" y="216"/>
                  </a:lnTo>
                  <a:lnTo>
                    <a:pt x="220" y="214"/>
                  </a:lnTo>
                  <a:lnTo>
                    <a:pt x="221" y="214"/>
                  </a:lnTo>
                  <a:lnTo>
                    <a:pt x="224" y="214"/>
                  </a:lnTo>
                  <a:lnTo>
                    <a:pt x="230" y="218"/>
                  </a:lnTo>
                  <a:lnTo>
                    <a:pt x="233" y="217"/>
                  </a:lnTo>
                  <a:lnTo>
                    <a:pt x="238" y="214"/>
                  </a:lnTo>
                  <a:lnTo>
                    <a:pt x="240" y="214"/>
                  </a:lnTo>
                  <a:lnTo>
                    <a:pt x="241" y="214"/>
                  </a:lnTo>
                  <a:lnTo>
                    <a:pt x="243" y="216"/>
                  </a:lnTo>
                  <a:lnTo>
                    <a:pt x="245" y="216"/>
                  </a:lnTo>
                  <a:lnTo>
                    <a:pt x="247" y="215"/>
                  </a:lnTo>
                  <a:lnTo>
                    <a:pt x="248" y="210"/>
                  </a:lnTo>
                  <a:lnTo>
                    <a:pt x="247" y="206"/>
                  </a:lnTo>
                  <a:lnTo>
                    <a:pt x="243" y="200"/>
                  </a:lnTo>
                  <a:lnTo>
                    <a:pt x="240" y="197"/>
                  </a:lnTo>
                  <a:lnTo>
                    <a:pt x="237" y="197"/>
                  </a:lnTo>
                  <a:lnTo>
                    <a:pt x="230" y="199"/>
                  </a:lnTo>
                  <a:lnTo>
                    <a:pt x="219" y="195"/>
                  </a:lnTo>
                  <a:lnTo>
                    <a:pt x="212" y="194"/>
                  </a:lnTo>
                  <a:lnTo>
                    <a:pt x="209" y="195"/>
                  </a:lnTo>
                  <a:lnTo>
                    <a:pt x="206" y="196"/>
                  </a:lnTo>
                  <a:lnTo>
                    <a:pt x="204" y="198"/>
                  </a:lnTo>
                  <a:lnTo>
                    <a:pt x="204" y="202"/>
                  </a:lnTo>
                  <a:lnTo>
                    <a:pt x="205" y="204"/>
                  </a:lnTo>
                  <a:lnTo>
                    <a:pt x="209" y="217"/>
                  </a:lnTo>
                  <a:close/>
                  <a:moveTo>
                    <a:pt x="58" y="243"/>
                  </a:moveTo>
                  <a:lnTo>
                    <a:pt x="63" y="244"/>
                  </a:lnTo>
                  <a:lnTo>
                    <a:pt x="73" y="241"/>
                  </a:lnTo>
                  <a:lnTo>
                    <a:pt x="78" y="241"/>
                  </a:lnTo>
                  <a:lnTo>
                    <a:pt x="83" y="242"/>
                  </a:lnTo>
                  <a:lnTo>
                    <a:pt x="87" y="245"/>
                  </a:lnTo>
                  <a:lnTo>
                    <a:pt x="95" y="254"/>
                  </a:lnTo>
                  <a:lnTo>
                    <a:pt x="97" y="257"/>
                  </a:lnTo>
                  <a:lnTo>
                    <a:pt x="97" y="262"/>
                  </a:lnTo>
                  <a:lnTo>
                    <a:pt x="97" y="269"/>
                  </a:lnTo>
                  <a:lnTo>
                    <a:pt x="98" y="274"/>
                  </a:lnTo>
                  <a:lnTo>
                    <a:pt x="101" y="280"/>
                  </a:lnTo>
                  <a:lnTo>
                    <a:pt x="103" y="286"/>
                  </a:lnTo>
                  <a:lnTo>
                    <a:pt x="106" y="289"/>
                  </a:lnTo>
                  <a:lnTo>
                    <a:pt x="103" y="293"/>
                  </a:lnTo>
                  <a:lnTo>
                    <a:pt x="102" y="295"/>
                  </a:lnTo>
                  <a:lnTo>
                    <a:pt x="100" y="295"/>
                  </a:lnTo>
                  <a:lnTo>
                    <a:pt x="106" y="302"/>
                  </a:lnTo>
                  <a:lnTo>
                    <a:pt x="115" y="305"/>
                  </a:lnTo>
                  <a:lnTo>
                    <a:pt x="124" y="304"/>
                  </a:lnTo>
                  <a:lnTo>
                    <a:pt x="131" y="300"/>
                  </a:lnTo>
                  <a:lnTo>
                    <a:pt x="135" y="293"/>
                  </a:lnTo>
                  <a:lnTo>
                    <a:pt x="140" y="275"/>
                  </a:lnTo>
                  <a:lnTo>
                    <a:pt x="144" y="268"/>
                  </a:lnTo>
                  <a:lnTo>
                    <a:pt x="146" y="266"/>
                  </a:lnTo>
                  <a:lnTo>
                    <a:pt x="150" y="262"/>
                  </a:lnTo>
                  <a:lnTo>
                    <a:pt x="154" y="261"/>
                  </a:lnTo>
                  <a:lnTo>
                    <a:pt x="157" y="261"/>
                  </a:lnTo>
                  <a:lnTo>
                    <a:pt x="158" y="264"/>
                  </a:lnTo>
                  <a:lnTo>
                    <a:pt x="156" y="267"/>
                  </a:lnTo>
                  <a:lnTo>
                    <a:pt x="152" y="269"/>
                  </a:lnTo>
                  <a:lnTo>
                    <a:pt x="150" y="272"/>
                  </a:lnTo>
                  <a:lnTo>
                    <a:pt x="152" y="276"/>
                  </a:lnTo>
                  <a:lnTo>
                    <a:pt x="157" y="277"/>
                  </a:lnTo>
                  <a:lnTo>
                    <a:pt x="161" y="277"/>
                  </a:lnTo>
                  <a:lnTo>
                    <a:pt x="164" y="275"/>
                  </a:lnTo>
                  <a:lnTo>
                    <a:pt x="166" y="274"/>
                  </a:lnTo>
                  <a:lnTo>
                    <a:pt x="167" y="274"/>
                  </a:lnTo>
                  <a:lnTo>
                    <a:pt x="167" y="273"/>
                  </a:lnTo>
                  <a:lnTo>
                    <a:pt x="168" y="269"/>
                  </a:lnTo>
                  <a:lnTo>
                    <a:pt x="167" y="266"/>
                  </a:lnTo>
                  <a:lnTo>
                    <a:pt x="167" y="265"/>
                  </a:lnTo>
                  <a:lnTo>
                    <a:pt x="166" y="264"/>
                  </a:lnTo>
                  <a:lnTo>
                    <a:pt x="164" y="264"/>
                  </a:lnTo>
                  <a:lnTo>
                    <a:pt x="167" y="260"/>
                  </a:lnTo>
                  <a:lnTo>
                    <a:pt x="169" y="259"/>
                  </a:lnTo>
                  <a:lnTo>
                    <a:pt x="172" y="259"/>
                  </a:lnTo>
                  <a:lnTo>
                    <a:pt x="174" y="258"/>
                  </a:lnTo>
                  <a:lnTo>
                    <a:pt x="176" y="260"/>
                  </a:lnTo>
                  <a:lnTo>
                    <a:pt x="177" y="259"/>
                  </a:lnTo>
                  <a:lnTo>
                    <a:pt x="177" y="256"/>
                  </a:lnTo>
                  <a:lnTo>
                    <a:pt x="179" y="256"/>
                  </a:lnTo>
                  <a:lnTo>
                    <a:pt x="180" y="256"/>
                  </a:lnTo>
                  <a:lnTo>
                    <a:pt x="182" y="256"/>
                  </a:lnTo>
                  <a:lnTo>
                    <a:pt x="188" y="261"/>
                  </a:lnTo>
                  <a:lnTo>
                    <a:pt x="191" y="261"/>
                  </a:lnTo>
                  <a:lnTo>
                    <a:pt x="192" y="257"/>
                  </a:lnTo>
                  <a:lnTo>
                    <a:pt x="192" y="251"/>
                  </a:lnTo>
                  <a:lnTo>
                    <a:pt x="191" y="251"/>
                  </a:lnTo>
                  <a:lnTo>
                    <a:pt x="190" y="251"/>
                  </a:lnTo>
                  <a:lnTo>
                    <a:pt x="189" y="250"/>
                  </a:lnTo>
                  <a:lnTo>
                    <a:pt x="188" y="248"/>
                  </a:lnTo>
                  <a:lnTo>
                    <a:pt x="188" y="245"/>
                  </a:lnTo>
                  <a:lnTo>
                    <a:pt x="188" y="243"/>
                  </a:lnTo>
                  <a:lnTo>
                    <a:pt x="188" y="242"/>
                  </a:lnTo>
                  <a:lnTo>
                    <a:pt x="187" y="240"/>
                  </a:lnTo>
                  <a:lnTo>
                    <a:pt x="185" y="237"/>
                  </a:lnTo>
                  <a:lnTo>
                    <a:pt x="183" y="236"/>
                  </a:lnTo>
                  <a:lnTo>
                    <a:pt x="182" y="234"/>
                  </a:lnTo>
                  <a:lnTo>
                    <a:pt x="179" y="231"/>
                  </a:lnTo>
                  <a:lnTo>
                    <a:pt x="177" y="228"/>
                  </a:lnTo>
                  <a:lnTo>
                    <a:pt x="177" y="226"/>
                  </a:lnTo>
                  <a:lnTo>
                    <a:pt x="178" y="221"/>
                  </a:lnTo>
                  <a:lnTo>
                    <a:pt x="177" y="217"/>
                  </a:lnTo>
                  <a:lnTo>
                    <a:pt x="175" y="213"/>
                  </a:lnTo>
                  <a:lnTo>
                    <a:pt x="160" y="206"/>
                  </a:lnTo>
                  <a:lnTo>
                    <a:pt x="144" y="207"/>
                  </a:lnTo>
                  <a:lnTo>
                    <a:pt x="141" y="205"/>
                  </a:lnTo>
                  <a:lnTo>
                    <a:pt x="138" y="201"/>
                  </a:lnTo>
                  <a:lnTo>
                    <a:pt x="137" y="196"/>
                  </a:lnTo>
                  <a:lnTo>
                    <a:pt x="140" y="187"/>
                  </a:lnTo>
                  <a:lnTo>
                    <a:pt x="137" y="184"/>
                  </a:lnTo>
                  <a:lnTo>
                    <a:pt x="132" y="182"/>
                  </a:lnTo>
                  <a:lnTo>
                    <a:pt x="128" y="182"/>
                  </a:lnTo>
                  <a:lnTo>
                    <a:pt x="128" y="182"/>
                  </a:lnTo>
                  <a:lnTo>
                    <a:pt x="122" y="181"/>
                  </a:lnTo>
                  <a:lnTo>
                    <a:pt x="120" y="182"/>
                  </a:lnTo>
                  <a:lnTo>
                    <a:pt x="118" y="184"/>
                  </a:lnTo>
                  <a:lnTo>
                    <a:pt x="118" y="187"/>
                  </a:lnTo>
                  <a:lnTo>
                    <a:pt x="118" y="190"/>
                  </a:lnTo>
                  <a:lnTo>
                    <a:pt x="118" y="192"/>
                  </a:lnTo>
                  <a:lnTo>
                    <a:pt x="116" y="197"/>
                  </a:lnTo>
                  <a:lnTo>
                    <a:pt x="113" y="199"/>
                  </a:lnTo>
                  <a:lnTo>
                    <a:pt x="110" y="201"/>
                  </a:lnTo>
                  <a:lnTo>
                    <a:pt x="107" y="201"/>
                  </a:lnTo>
                  <a:lnTo>
                    <a:pt x="104" y="204"/>
                  </a:lnTo>
                  <a:lnTo>
                    <a:pt x="104" y="214"/>
                  </a:lnTo>
                  <a:lnTo>
                    <a:pt x="103" y="215"/>
                  </a:lnTo>
                  <a:lnTo>
                    <a:pt x="99" y="212"/>
                  </a:lnTo>
                  <a:lnTo>
                    <a:pt x="97" y="213"/>
                  </a:lnTo>
                  <a:lnTo>
                    <a:pt x="97" y="216"/>
                  </a:lnTo>
                  <a:lnTo>
                    <a:pt x="100" y="217"/>
                  </a:lnTo>
                  <a:lnTo>
                    <a:pt x="54" y="224"/>
                  </a:lnTo>
                  <a:lnTo>
                    <a:pt x="42" y="222"/>
                  </a:lnTo>
                  <a:lnTo>
                    <a:pt x="35" y="223"/>
                  </a:lnTo>
                  <a:lnTo>
                    <a:pt x="34" y="228"/>
                  </a:lnTo>
                  <a:lnTo>
                    <a:pt x="37" y="231"/>
                  </a:lnTo>
                  <a:lnTo>
                    <a:pt x="58" y="243"/>
                  </a:lnTo>
                  <a:close/>
                  <a:moveTo>
                    <a:pt x="426" y="40"/>
                  </a:moveTo>
                  <a:lnTo>
                    <a:pt x="430" y="39"/>
                  </a:lnTo>
                  <a:lnTo>
                    <a:pt x="431" y="36"/>
                  </a:lnTo>
                  <a:lnTo>
                    <a:pt x="429" y="27"/>
                  </a:lnTo>
                  <a:lnTo>
                    <a:pt x="426" y="23"/>
                  </a:lnTo>
                  <a:lnTo>
                    <a:pt x="424" y="24"/>
                  </a:lnTo>
                  <a:lnTo>
                    <a:pt x="421" y="29"/>
                  </a:lnTo>
                  <a:lnTo>
                    <a:pt x="422" y="35"/>
                  </a:lnTo>
                  <a:lnTo>
                    <a:pt x="426" y="40"/>
                  </a:lnTo>
                  <a:close/>
                  <a:moveTo>
                    <a:pt x="1012" y="98"/>
                  </a:moveTo>
                  <a:lnTo>
                    <a:pt x="1007" y="94"/>
                  </a:lnTo>
                  <a:lnTo>
                    <a:pt x="1006" y="92"/>
                  </a:lnTo>
                  <a:lnTo>
                    <a:pt x="1004" y="89"/>
                  </a:lnTo>
                  <a:lnTo>
                    <a:pt x="1001" y="80"/>
                  </a:lnTo>
                  <a:lnTo>
                    <a:pt x="997" y="76"/>
                  </a:lnTo>
                  <a:lnTo>
                    <a:pt x="990" y="72"/>
                  </a:lnTo>
                  <a:lnTo>
                    <a:pt x="987" y="66"/>
                  </a:lnTo>
                  <a:lnTo>
                    <a:pt x="981" y="77"/>
                  </a:lnTo>
                  <a:lnTo>
                    <a:pt x="977" y="83"/>
                  </a:lnTo>
                  <a:lnTo>
                    <a:pt x="970" y="87"/>
                  </a:lnTo>
                  <a:lnTo>
                    <a:pt x="963" y="89"/>
                  </a:lnTo>
                  <a:lnTo>
                    <a:pt x="939" y="82"/>
                  </a:lnTo>
                  <a:lnTo>
                    <a:pt x="914" y="80"/>
                  </a:lnTo>
                  <a:lnTo>
                    <a:pt x="890" y="74"/>
                  </a:lnTo>
                  <a:lnTo>
                    <a:pt x="869" y="75"/>
                  </a:lnTo>
                  <a:lnTo>
                    <a:pt x="844" y="76"/>
                  </a:lnTo>
                  <a:lnTo>
                    <a:pt x="815" y="73"/>
                  </a:lnTo>
                  <a:lnTo>
                    <a:pt x="812" y="71"/>
                  </a:lnTo>
                  <a:lnTo>
                    <a:pt x="806" y="67"/>
                  </a:lnTo>
                  <a:lnTo>
                    <a:pt x="798" y="64"/>
                  </a:lnTo>
                  <a:lnTo>
                    <a:pt x="791" y="56"/>
                  </a:lnTo>
                  <a:lnTo>
                    <a:pt x="784" y="49"/>
                  </a:lnTo>
                  <a:lnTo>
                    <a:pt x="778" y="44"/>
                  </a:lnTo>
                  <a:lnTo>
                    <a:pt x="773" y="40"/>
                  </a:lnTo>
                  <a:lnTo>
                    <a:pt x="767" y="38"/>
                  </a:lnTo>
                  <a:lnTo>
                    <a:pt x="760" y="37"/>
                  </a:lnTo>
                  <a:lnTo>
                    <a:pt x="758" y="38"/>
                  </a:lnTo>
                  <a:lnTo>
                    <a:pt x="752" y="43"/>
                  </a:lnTo>
                  <a:lnTo>
                    <a:pt x="750" y="44"/>
                  </a:lnTo>
                  <a:lnTo>
                    <a:pt x="746" y="43"/>
                  </a:lnTo>
                  <a:lnTo>
                    <a:pt x="740" y="41"/>
                  </a:lnTo>
                  <a:lnTo>
                    <a:pt x="731" y="36"/>
                  </a:lnTo>
                  <a:lnTo>
                    <a:pt x="721" y="33"/>
                  </a:lnTo>
                  <a:lnTo>
                    <a:pt x="715" y="29"/>
                  </a:lnTo>
                  <a:lnTo>
                    <a:pt x="712" y="28"/>
                  </a:lnTo>
                  <a:lnTo>
                    <a:pt x="682" y="28"/>
                  </a:lnTo>
                  <a:lnTo>
                    <a:pt x="680" y="27"/>
                  </a:lnTo>
                  <a:lnTo>
                    <a:pt x="680" y="25"/>
                  </a:lnTo>
                  <a:lnTo>
                    <a:pt x="680" y="23"/>
                  </a:lnTo>
                  <a:lnTo>
                    <a:pt x="679" y="22"/>
                  </a:lnTo>
                  <a:lnTo>
                    <a:pt x="673" y="16"/>
                  </a:lnTo>
                  <a:lnTo>
                    <a:pt x="668" y="13"/>
                  </a:lnTo>
                  <a:lnTo>
                    <a:pt x="666" y="12"/>
                  </a:lnTo>
                  <a:lnTo>
                    <a:pt x="664" y="13"/>
                  </a:lnTo>
                  <a:lnTo>
                    <a:pt x="662" y="16"/>
                  </a:lnTo>
                  <a:lnTo>
                    <a:pt x="662" y="19"/>
                  </a:lnTo>
                  <a:lnTo>
                    <a:pt x="662" y="22"/>
                  </a:lnTo>
                  <a:lnTo>
                    <a:pt x="662" y="24"/>
                  </a:lnTo>
                  <a:lnTo>
                    <a:pt x="659" y="25"/>
                  </a:lnTo>
                  <a:lnTo>
                    <a:pt x="656" y="21"/>
                  </a:lnTo>
                  <a:lnTo>
                    <a:pt x="652" y="15"/>
                  </a:lnTo>
                  <a:lnTo>
                    <a:pt x="649" y="13"/>
                  </a:lnTo>
                  <a:lnTo>
                    <a:pt x="647" y="20"/>
                  </a:lnTo>
                  <a:lnTo>
                    <a:pt x="648" y="22"/>
                  </a:lnTo>
                  <a:lnTo>
                    <a:pt x="645" y="27"/>
                  </a:lnTo>
                  <a:lnTo>
                    <a:pt x="643" y="30"/>
                  </a:lnTo>
                  <a:lnTo>
                    <a:pt x="641" y="30"/>
                  </a:lnTo>
                  <a:lnTo>
                    <a:pt x="640" y="30"/>
                  </a:lnTo>
                  <a:lnTo>
                    <a:pt x="637" y="29"/>
                  </a:lnTo>
                  <a:lnTo>
                    <a:pt x="635" y="25"/>
                  </a:lnTo>
                  <a:lnTo>
                    <a:pt x="633" y="18"/>
                  </a:lnTo>
                  <a:lnTo>
                    <a:pt x="631" y="14"/>
                  </a:lnTo>
                  <a:lnTo>
                    <a:pt x="633" y="11"/>
                  </a:lnTo>
                  <a:lnTo>
                    <a:pt x="624" y="2"/>
                  </a:lnTo>
                  <a:lnTo>
                    <a:pt x="619" y="0"/>
                  </a:lnTo>
                  <a:lnTo>
                    <a:pt x="616" y="5"/>
                  </a:lnTo>
                  <a:lnTo>
                    <a:pt x="616" y="5"/>
                  </a:lnTo>
                  <a:lnTo>
                    <a:pt x="618" y="6"/>
                  </a:lnTo>
                  <a:lnTo>
                    <a:pt x="619" y="7"/>
                  </a:lnTo>
                  <a:lnTo>
                    <a:pt x="618" y="13"/>
                  </a:lnTo>
                  <a:lnTo>
                    <a:pt x="619" y="17"/>
                  </a:lnTo>
                  <a:lnTo>
                    <a:pt x="621" y="21"/>
                  </a:lnTo>
                  <a:lnTo>
                    <a:pt x="623" y="26"/>
                  </a:lnTo>
                  <a:lnTo>
                    <a:pt x="621" y="32"/>
                  </a:lnTo>
                  <a:lnTo>
                    <a:pt x="616" y="33"/>
                  </a:lnTo>
                  <a:lnTo>
                    <a:pt x="611" y="31"/>
                  </a:lnTo>
                  <a:lnTo>
                    <a:pt x="607" y="28"/>
                  </a:lnTo>
                  <a:lnTo>
                    <a:pt x="603" y="20"/>
                  </a:lnTo>
                  <a:lnTo>
                    <a:pt x="600" y="16"/>
                  </a:lnTo>
                  <a:lnTo>
                    <a:pt x="597" y="15"/>
                  </a:lnTo>
                  <a:lnTo>
                    <a:pt x="594" y="13"/>
                  </a:lnTo>
                  <a:lnTo>
                    <a:pt x="589" y="2"/>
                  </a:lnTo>
                  <a:lnTo>
                    <a:pt x="586" y="0"/>
                  </a:lnTo>
                  <a:lnTo>
                    <a:pt x="585" y="5"/>
                  </a:lnTo>
                  <a:lnTo>
                    <a:pt x="585" y="18"/>
                  </a:lnTo>
                  <a:lnTo>
                    <a:pt x="587" y="31"/>
                  </a:lnTo>
                  <a:lnTo>
                    <a:pt x="592" y="36"/>
                  </a:lnTo>
                  <a:lnTo>
                    <a:pt x="593" y="37"/>
                  </a:lnTo>
                  <a:lnTo>
                    <a:pt x="595" y="40"/>
                  </a:lnTo>
                  <a:lnTo>
                    <a:pt x="595" y="42"/>
                  </a:lnTo>
                  <a:lnTo>
                    <a:pt x="593" y="43"/>
                  </a:lnTo>
                  <a:lnTo>
                    <a:pt x="578" y="43"/>
                  </a:lnTo>
                  <a:lnTo>
                    <a:pt x="574" y="44"/>
                  </a:lnTo>
                  <a:lnTo>
                    <a:pt x="572" y="48"/>
                  </a:lnTo>
                  <a:lnTo>
                    <a:pt x="573" y="55"/>
                  </a:lnTo>
                  <a:lnTo>
                    <a:pt x="573" y="55"/>
                  </a:lnTo>
                  <a:lnTo>
                    <a:pt x="539" y="45"/>
                  </a:lnTo>
                  <a:lnTo>
                    <a:pt x="532" y="40"/>
                  </a:lnTo>
                  <a:lnTo>
                    <a:pt x="528" y="39"/>
                  </a:lnTo>
                  <a:lnTo>
                    <a:pt x="525" y="43"/>
                  </a:lnTo>
                  <a:lnTo>
                    <a:pt x="527" y="51"/>
                  </a:lnTo>
                  <a:lnTo>
                    <a:pt x="524" y="52"/>
                  </a:lnTo>
                  <a:lnTo>
                    <a:pt x="520" y="51"/>
                  </a:lnTo>
                  <a:lnTo>
                    <a:pt x="514" y="47"/>
                  </a:lnTo>
                  <a:lnTo>
                    <a:pt x="510" y="46"/>
                  </a:lnTo>
                  <a:lnTo>
                    <a:pt x="498" y="49"/>
                  </a:lnTo>
                  <a:lnTo>
                    <a:pt x="494" y="47"/>
                  </a:lnTo>
                  <a:lnTo>
                    <a:pt x="483" y="34"/>
                  </a:lnTo>
                  <a:lnTo>
                    <a:pt x="477" y="29"/>
                  </a:lnTo>
                  <a:lnTo>
                    <a:pt x="472" y="32"/>
                  </a:lnTo>
                  <a:lnTo>
                    <a:pt x="473" y="34"/>
                  </a:lnTo>
                  <a:lnTo>
                    <a:pt x="473" y="36"/>
                  </a:lnTo>
                  <a:lnTo>
                    <a:pt x="474" y="39"/>
                  </a:lnTo>
                  <a:lnTo>
                    <a:pt x="474" y="42"/>
                  </a:lnTo>
                  <a:lnTo>
                    <a:pt x="474" y="45"/>
                  </a:lnTo>
                  <a:lnTo>
                    <a:pt x="475" y="46"/>
                  </a:lnTo>
                  <a:lnTo>
                    <a:pt x="476" y="47"/>
                  </a:lnTo>
                  <a:lnTo>
                    <a:pt x="478" y="49"/>
                  </a:lnTo>
                  <a:lnTo>
                    <a:pt x="479" y="54"/>
                  </a:lnTo>
                  <a:lnTo>
                    <a:pt x="479" y="56"/>
                  </a:lnTo>
                  <a:lnTo>
                    <a:pt x="474" y="64"/>
                  </a:lnTo>
                  <a:lnTo>
                    <a:pt x="474" y="65"/>
                  </a:lnTo>
                  <a:lnTo>
                    <a:pt x="472" y="66"/>
                  </a:lnTo>
                  <a:lnTo>
                    <a:pt x="467" y="67"/>
                  </a:lnTo>
                  <a:lnTo>
                    <a:pt x="465" y="63"/>
                  </a:lnTo>
                  <a:lnTo>
                    <a:pt x="463" y="58"/>
                  </a:lnTo>
                  <a:lnTo>
                    <a:pt x="460" y="53"/>
                  </a:lnTo>
                  <a:lnTo>
                    <a:pt x="458" y="52"/>
                  </a:lnTo>
                  <a:lnTo>
                    <a:pt x="456" y="52"/>
                  </a:lnTo>
                  <a:lnTo>
                    <a:pt x="455" y="53"/>
                  </a:lnTo>
                  <a:lnTo>
                    <a:pt x="455" y="56"/>
                  </a:lnTo>
                  <a:lnTo>
                    <a:pt x="454" y="59"/>
                  </a:lnTo>
                  <a:lnTo>
                    <a:pt x="452" y="60"/>
                  </a:lnTo>
                  <a:lnTo>
                    <a:pt x="448" y="59"/>
                  </a:lnTo>
                  <a:lnTo>
                    <a:pt x="448" y="62"/>
                  </a:lnTo>
                  <a:lnTo>
                    <a:pt x="451" y="63"/>
                  </a:lnTo>
                  <a:lnTo>
                    <a:pt x="453" y="66"/>
                  </a:lnTo>
                  <a:lnTo>
                    <a:pt x="454" y="69"/>
                  </a:lnTo>
                  <a:lnTo>
                    <a:pt x="451" y="70"/>
                  </a:lnTo>
                  <a:lnTo>
                    <a:pt x="448" y="69"/>
                  </a:lnTo>
                  <a:lnTo>
                    <a:pt x="439" y="62"/>
                  </a:lnTo>
                  <a:lnTo>
                    <a:pt x="436" y="61"/>
                  </a:lnTo>
                  <a:lnTo>
                    <a:pt x="434" y="63"/>
                  </a:lnTo>
                  <a:lnTo>
                    <a:pt x="431" y="66"/>
                  </a:lnTo>
                  <a:lnTo>
                    <a:pt x="428" y="67"/>
                  </a:lnTo>
                  <a:lnTo>
                    <a:pt x="425" y="66"/>
                  </a:lnTo>
                  <a:lnTo>
                    <a:pt x="420" y="59"/>
                  </a:lnTo>
                  <a:lnTo>
                    <a:pt x="416" y="57"/>
                  </a:lnTo>
                  <a:lnTo>
                    <a:pt x="413" y="56"/>
                  </a:lnTo>
                  <a:lnTo>
                    <a:pt x="402" y="59"/>
                  </a:lnTo>
                  <a:lnTo>
                    <a:pt x="401" y="60"/>
                  </a:lnTo>
                  <a:lnTo>
                    <a:pt x="400" y="71"/>
                  </a:lnTo>
                  <a:lnTo>
                    <a:pt x="397" y="75"/>
                  </a:lnTo>
                  <a:lnTo>
                    <a:pt x="392" y="76"/>
                  </a:lnTo>
                  <a:lnTo>
                    <a:pt x="378" y="77"/>
                  </a:lnTo>
                  <a:lnTo>
                    <a:pt x="375" y="79"/>
                  </a:lnTo>
                  <a:lnTo>
                    <a:pt x="378" y="83"/>
                  </a:lnTo>
                  <a:lnTo>
                    <a:pt x="382" y="89"/>
                  </a:lnTo>
                  <a:lnTo>
                    <a:pt x="384" y="94"/>
                  </a:lnTo>
                  <a:lnTo>
                    <a:pt x="379" y="96"/>
                  </a:lnTo>
                  <a:lnTo>
                    <a:pt x="375" y="94"/>
                  </a:lnTo>
                  <a:lnTo>
                    <a:pt x="366" y="85"/>
                  </a:lnTo>
                  <a:lnTo>
                    <a:pt x="362" y="81"/>
                  </a:lnTo>
                  <a:lnTo>
                    <a:pt x="359" y="80"/>
                  </a:lnTo>
                  <a:lnTo>
                    <a:pt x="357" y="81"/>
                  </a:lnTo>
                  <a:lnTo>
                    <a:pt x="354" y="83"/>
                  </a:lnTo>
                  <a:lnTo>
                    <a:pt x="352" y="86"/>
                  </a:lnTo>
                  <a:lnTo>
                    <a:pt x="352" y="90"/>
                  </a:lnTo>
                  <a:lnTo>
                    <a:pt x="353" y="93"/>
                  </a:lnTo>
                  <a:lnTo>
                    <a:pt x="363" y="107"/>
                  </a:lnTo>
                  <a:lnTo>
                    <a:pt x="364" y="113"/>
                  </a:lnTo>
                  <a:lnTo>
                    <a:pt x="361" y="120"/>
                  </a:lnTo>
                  <a:lnTo>
                    <a:pt x="354" y="113"/>
                  </a:lnTo>
                  <a:lnTo>
                    <a:pt x="346" y="113"/>
                  </a:lnTo>
                  <a:lnTo>
                    <a:pt x="338" y="116"/>
                  </a:lnTo>
                  <a:lnTo>
                    <a:pt x="331" y="117"/>
                  </a:lnTo>
                  <a:lnTo>
                    <a:pt x="324" y="115"/>
                  </a:lnTo>
                  <a:lnTo>
                    <a:pt x="309" y="115"/>
                  </a:lnTo>
                  <a:lnTo>
                    <a:pt x="306" y="117"/>
                  </a:lnTo>
                  <a:lnTo>
                    <a:pt x="304" y="121"/>
                  </a:lnTo>
                  <a:lnTo>
                    <a:pt x="306" y="122"/>
                  </a:lnTo>
                  <a:lnTo>
                    <a:pt x="307" y="125"/>
                  </a:lnTo>
                  <a:lnTo>
                    <a:pt x="307" y="129"/>
                  </a:lnTo>
                  <a:lnTo>
                    <a:pt x="305" y="131"/>
                  </a:lnTo>
                  <a:lnTo>
                    <a:pt x="303" y="131"/>
                  </a:lnTo>
                  <a:lnTo>
                    <a:pt x="303" y="131"/>
                  </a:lnTo>
                  <a:lnTo>
                    <a:pt x="294" y="123"/>
                  </a:lnTo>
                  <a:lnTo>
                    <a:pt x="291" y="123"/>
                  </a:lnTo>
                  <a:lnTo>
                    <a:pt x="289" y="125"/>
                  </a:lnTo>
                  <a:lnTo>
                    <a:pt x="287" y="128"/>
                  </a:lnTo>
                  <a:lnTo>
                    <a:pt x="283" y="129"/>
                  </a:lnTo>
                  <a:lnTo>
                    <a:pt x="281" y="132"/>
                  </a:lnTo>
                  <a:lnTo>
                    <a:pt x="279" y="133"/>
                  </a:lnTo>
                  <a:lnTo>
                    <a:pt x="278" y="133"/>
                  </a:lnTo>
                  <a:lnTo>
                    <a:pt x="274" y="131"/>
                  </a:lnTo>
                  <a:lnTo>
                    <a:pt x="273" y="131"/>
                  </a:lnTo>
                  <a:lnTo>
                    <a:pt x="264" y="136"/>
                  </a:lnTo>
                  <a:lnTo>
                    <a:pt x="266" y="148"/>
                  </a:lnTo>
                  <a:lnTo>
                    <a:pt x="271" y="163"/>
                  </a:lnTo>
                  <a:lnTo>
                    <a:pt x="270" y="179"/>
                  </a:lnTo>
                  <a:lnTo>
                    <a:pt x="268" y="175"/>
                  </a:lnTo>
                  <a:lnTo>
                    <a:pt x="266" y="175"/>
                  </a:lnTo>
                  <a:lnTo>
                    <a:pt x="264" y="176"/>
                  </a:lnTo>
                  <a:lnTo>
                    <a:pt x="257" y="184"/>
                  </a:lnTo>
                  <a:lnTo>
                    <a:pt x="256" y="188"/>
                  </a:lnTo>
                  <a:lnTo>
                    <a:pt x="257" y="194"/>
                  </a:lnTo>
                  <a:lnTo>
                    <a:pt x="256" y="194"/>
                  </a:lnTo>
                  <a:lnTo>
                    <a:pt x="254" y="194"/>
                  </a:lnTo>
                  <a:lnTo>
                    <a:pt x="253" y="194"/>
                  </a:lnTo>
                  <a:lnTo>
                    <a:pt x="257" y="200"/>
                  </a:lnTo>
                  <a:lnTo>
                    <a:pt x="261" y="204"/>
                  </a:lnTo>
                  <a:lnTo>
                    <a:pt x="271" y="207"/>
                  </a:lnTo>
                  <a:lnTo>
                    <a:pt x="272" y="208"/>
                  </a:lnTo>
                  <a:lnTo>
                    <a:pt x="273" y="210"/>
                  </a:lnTo>
                  <a:lnTo>
                    <a:pt x="274" y="211"/>
                  </a:lnTo>
                  <a:lnTo>
                    <a:pt x="275" y="211"/>
                  </a:lnTo>
                  <a:lnTo>
                    <a:pt x="276" y="207"/>
                  </a:lnTo>
                  <a:lnTo>
                    <a:pt x="276" y="206"/>
                  </a:lnTo>
                  <a:lnTo>
                    <a:pt x="277" y="205"/>
                  </a:lnTo>
                  <a:lnTo>
                    <a:pt x="280" y="201"/>
                  </a:lnTo>
                  <a:lnTo>
                    <a:pt x="281" y="200"/>
                  </a:lnTo>
                  <a:lnTo>
                    <a:pt x="284" y="199"/>
                  </a:lnTo>
                  <a:lnTo>
                    <a:pt x="285" y="199"/>
                  </a:lnTo>
                  <a:lnTo>
                    <a:pt x="284" y="195"/>
                  </a:lnTo>
                  <a:lnTo>
                    <a:pt x="279" y="190"/>
                  </a:lnTo>
                  <a:lnTo>
                    <a:pt x="277" y="186"/>
                  </a:lnTo>
                  <a:lnTo>
                    <a:pt x="281" y="188"/>
                  </a:lnTo>
                  <a:lnTo>
                    <a:pt x="284" y="192"/>
                  </a:lnTo>
                  <a:lnTo>
                    <a:pt x="287" y="197"/>
                  </a:lnTo>
                  <a:lnTo>
                    <a:pt x="288" y="205"/>
                  </a:lnTo>
                  <a:lnTo>
                    <a:pt x="287" y="209"/>
                  </a:lnTo>
                  <a:lnTo>
                    <a:pt x="287" y="211"/>
                  </a:lnTo>
                  <a:lnTo>
                    <a:pt x="285" y="212"/>
                  </a:lnTo>
                  <a:lnTo>
                    <a:pt x="280" y="216"/>
                  </a:lnTo>
                  <a:lnTo>
                    <a:pt x="278" y="217"/>
                  </a:lnTo>
                  <a:lnTo>
                    <a:pt x="275" y="217"/>
                  </a:lnTo>
                  <a:lnTo>
                    <a:pt x="272" y="215"/>
                  </a:lnTo>
                  <a:lnTo>
                    <a:pt x="269" y="220"/>
                  </a:lnTo>
                  <a:lnTo>
                    <a:pt x="258" y="219"/>
                  </a:lnTo>
                  <a:lnTo>
                    <a:pt x="255" y="223"/>
                  </a:lnTo>
                  <a:lnTo>
                    <a:pt x="254" y="230"/>
                  </a:lnTo>
                  <a:lnTo>
                    <a:pt x="259" y="237"/>
                  </a:lnTo>
                  <a:lnTo>
                    <a:pt x="261" y="243"/>
                  </a:lnTo>
                  <a:lnTo>
                    <a:pt x="270" y="257"/>
                  </a:lnTo>
                  <a:lnTo>
                    <a:pt x="269" y="259"/>
                  </a:lnTo>
                  <a:lnTo>
                    <a:pt x="264" y="260"/>
                  </a:lnTo>
                  <a:lnTo>
                    <a:pt x="261" y="263"/>
                  </a:lnTo>
                  <a:lnTo>
                    <a:pt x="255" y="274"/>
                  </a:lnTo>
                  <a:lnTo>
                    <a:pt x="264" y="270"/>
                  </a:lnTo>
                  <a:lnTo>
                    <a:pt x="267" y="270"/>
                  </a:lnTo>
                  <a:lnTo>
                    <a:pt x="272" y="271"/>
                  </a:lnTo>
                  <a:lnTo>
                    <a:pt x="273" y="271"/>
                  </a:lnTo>
                  <a:lnTo>
                    <a:pt x="274" y="269"/>
                  </a:lnTo>
                  <a:lnTo>
                    <a:pt x="275" y="268"/>
                  </a:lnTo>
                  <a:lnTo>
                    <a:pt x="279" y="266"/>
                  </a:lnTo>
                  <a:lnTo>
                    <a:pt x="282" y="265"/>
                  </a:lnTo>
                  <a:lnTo>
                    <a:pt x="294" y="266"/>
                  </a:lnTo>
                  <a:lnTo>
                    <a:pt x="301" y="264"/>
                  </a:lnTo>
                  <a:lnTo>
                    <a:pt x="304" y="265"/>
                  </a:lnTo>
                  <a:lnTo>
                    <a:pt x="307" y="268"/>
                  </a:lnTo>
                  <a:lnTo>
                    <a:pt x="311" y="264"/>
                  </a:lnTo>
                  <a:lnTo>
                    <a:pt x="316" y="264"/>
                  </a:lnTo>
                  <a:lnTo>
                    <a:pt x="321" y="268"/>
                  </a:lnTo>
                  <a:lnTo>
                    <a:pt x="325" y="273"/>
                  </a:lnTo>
                  <a:lnTo>
                    <a:pt x="322" y="272"/>
                  </a:lnTo>
                  <a:lnTo>
                    <a:pt x="316" y="269"/>
                  </a:lnTo>
                  <a:lnTo>
                    <a:pt x="313" y="269"/>
                  </a:lnTo>
                  <a:lnTo>
                    <a:pt x="311" y="271"/>
                  </a:lnTo>
                  <a:lnTo>
                    <a:pt x="310" y="274"/>
                  </a:lnTo>
                  <a:lnTo>
                    <a:pt x="311" y="277"/>
                  </a:lnTo>
                  <a:lnTo>
                    <a:pt x="313" y="279"/>
                  </a:lnTo>
                  <a:lnTo>
                    <a:pt x="314" y="280"/>
                  </a:lnTo>
                  <a:lnTo>
                    <a:pt x="314" y="282"/>
                  </a:lnTo>
                  <a:lnTo>
                    <a:pt x="314" y="284"/>
                  </a:lnTo>
                  <a:lnTo>
                    <a:pt x="313" y="285"/>
                  </a:lnTo>
                  <a:lnTo>
                    <a:pt x="309" y="285"/>
                  </a:lnTo>
                  <a:lnTo>
                    <a:pt x="306" y="284"/>
                  </a:lnTo>
                  <a:lnTo>
                    <a:pt x="300" y="280"/>
                  </a:lnTo>
                  <a:lnTo>
                    <a:pt x="297" y="279"/>
                  </a:lnTo>
                  <a:lnTo>
                    <a:pt x="291" y="279"/>
                  </a:lnTo>
                  <a:lnTo>
                    <a:pt x="285" y="281"/>
                  </a:lnTo>
                  <a:lnTo>
                    <a:pt x="279" y="282"/>
                  </a:lnTo>
                  <a:lnTo>
                    <a:pt x="273" y="279"/>
                  </a:lnTo>
                  <a:lnTo>
                    <a:pt x="271" y="279"/>
                  </a:lnTo>
                  <a:lnTo>
                    <a:pt x="270" y="283"/>
                  </a:lnTo>
                  <a:lnTo>
                    <a:pt x="270" y="287"/>
                  </a:lnTo>
                  <a:lnTo>
                    <a:pt x="273" y="290"/>
                  </a:lnTo>
                  <a:lnTo>
                    <a:pt x="273" y="291"/>
                  </a:lnTo>
                  <a:lnTo>
                    <a:pt x="272" y="292"/>
                  </a:lnTo>
                  <a:lnTo>
                    <a:pt x="271" y="293"/>
                  </a:lnTo>
                  <a:lnTo>
                    <a:pt x="268" y="292"/>
                  </a:lnTo>
                  <a:lnTo>
                    <a:pt x="266" y="292"/>
                  </a:lnTo>
                  <a:lnTo>
                    <a:pt x="265" y="295"/>
                  </a:lnTo>
                  <a:lnTo>
                    <a:pt x="264" y="302"/>
                  </a:lnTo>
                  <a:lnTo>
                    <a:pt x="265" y="310"/>
                  </a:lnTo>
                  <a:lnTo>
                    <a:pt x="267" y="317"/>
                  </a:lnTo>
                  <a:lnTo>
                    <a:pt x="268" y="323"/>
                  </a:lnTo>
                  <a:lnTo>
                    <a:pt x="267" y="326"/>
                  </a:lnTo>
                  <a:lnTo>
                    <a:pt x="265" y="329"/>
                  </a:lnTo>
                  <a:lnTo>
                    <a:pt x="264" y="333"/>
                  </a:lnTo>
                  <a:lnTo>
                    <a:pt x="265" y="335"/>
                  </a:lnTo>
                  <a:lnTo>
                    <a:pt x="267" y="338"/>
                  </a:lnTo>
                  <a:lnTo>
                    <a:pt x="269" y="336"/>
                  </a:lnTo>
                  <a:lnTo>
                    <a:pt x="270" y="333"/>
                  </a:lnTo>
                  <a:lnTo>
                    <a:pt x="272" y="330"/>
                  </a:lnTo>
                  <a:lnTo>
                    <a:pt x="274" y="329"/>
                  </a:lnTo>
                  <a:lnTo>
                    <a:pt x="275" y="331"/>
                  </a:lnTo>
                  <a:lnTo>
                    <a:pt x="275" y="335"/>
                  </a:lnTo>
                  <a:lnTo>
                    <a:pt x="276" y="339"/>
                  </a:lnTo>
                  <a:lnTo>
                    <a:pt x="278" y="341"/>
                  </a:lnTo>
                  <a:lnTo>
                    <a:pt x="281" y="344"/>
                  </a:lnTo>
                  <a:lnTo>
                    <a:pt x="284" y="346"/>
                  </a:lnTo>
                  <a:lnTo>
                    <a:pt x="286" y="346"/>
                  </a:lnTo>
                  <a:lnTo>
                    <a:pt x="290" y="344"/>
                  </a:lnTo>
                  <a:lnTo>
                    <a:pt x="293" y="348"/>
                  </a:lnTo>
                  <a:lnTo>
                    <a:pt x="294" y="355"/>
                  </a:lnTo>
                  <a:lnTo>
                    <a:pt x="293" y="364"/>
                  </a:lnTo>
                  <a:lnTo>
                    <a:pt x="292" y="372"/>
                  </a:lnTo>
                  <a:lnTo>
                    <a:pt x="292" y="375"/>
                  </a:lnTo>
                  <a:lnTo>
                    <a:pt x="293" y="378"/>
                  </a:lnTo>
                  <a:lnTo>
                    <a:pt x="294" y="381"/>
                  </a:lnTo>
                  <a:lnTo>
                    <a:pt x="297" y="383"/>
                  </a:lnTo>
                  <a:lnTo>
                    <a:pt x="299" y="386"/>
                  </a:lnTo>
                  <a:lnTo>
                    <a:pt x="299" y="390"/>
                  </a:lnTo>
                  <a:lnTo>
                    <a:pt x="299" y="393"/>
                  </a:lnTo>
                  <a:lnTo>
                    <a:pt x="300" y="397"/>
                  </a:lnTo>
                  <a:lnTo>
                    <a:pt x="301" y="400"/>
                  </a:lnTo>
                  <a:lnTo>
                    <a:pt x="302" y="402"/>
                  </a:lnTo>
                  <a:lnTo>
                    <a:pt x="303" y="404"/>
                  </a:lnTo>
                  <a:lnTo>
                    <a:pt x="304" y="404"/>
                  </a:lnTo>
                  <a:lnTo>
                    <a:pt x="305" y="402"/>
                  </a:lnTo>
                  <a:lnTo>
                    <a:pt x="306" y="401"/>
                  </a:lnTo>
                  <a:lnTo>
                    <a:pt x="308" y="399"/>
                  </a:lnTo>
                  <a:lnTo>
                    <a:pt x="309" y="400"/>
                  </a:lnTo>
                  <a:lnTo>
                    <a:pt x="310" y="401"/>
                  </a:lnTo>
                  <a:lnTo>
                    <a:pt x="312" y="402"/>
                  </a:lnTo>
                  <a:lnTo>
                    <a:pt x="313" y="401"/>
                  </a:lnTo>
                  <a:lnTo>
                    <a:pt x="314" y="400"/>
                  </a:lnTo>
                  <a:lnTo>
                    <a:pt x="315" y="399"/>
                  </a:lnTo>
                  <a:lnTo>
                    <a:pt x="316" y="400"/>
                  </a:lnTo>
                  <a:lnTo>
                    <a:pt x="317" y="400"/>
                  </a:lnTo>
                  <a:lnTo>
                    <a:pt x="319" y="403"/>
                  </a:lnTo>
                  <a:lnTo>
                    <a:pt x="320" y="404"/>
                  </a:lnTo>
                  <a:lnTo>
                    <a:pt x="323" y="405"/>
                  </a:lnTo>
                  <a:lnTo>
                    <a:pt x="329" y="406"/>
                  </a:lnTo>
                  <a:lnTo>
                    <a:pt x="339" y="411"/>
                  </a:lnTo>
                  <a:lnTo>
                    <a:pt x="344" y="416"/>
                  </a:lnTo>
                  <a:lnTo>
                    <a:pt x="351" y="423"/>
                  </a:lnTo>
                  <a:lnTo>
                    <a:pt x="356" y="432"/>
                  </a:lnTo>
                  <a:lnTo>
                    <a:pt x="357" y="433"/>
                  </a:lnTo>
                  <a:lnTo>
                    <a:pt x="360" y="435"/>
                  </a:lnTo>
                  <a:lnTo>
                    <a:pt x="361" y="433"/>
                  </a:lnTo>
                  <a:lnTo>
                    <a:pt x="364" y="427"/>
                  </a:lnTo>
                  <a:lnTo>
                    <a:pt x="367" y="424"/>
                  </a:lnTo>
                  <a:lnTo>
                    <a:pt x="370" y="424"/>
                  </a:lnTo>
                  <a:lnTo>
                    <a:pt x="376" y="426"/>
                  </a:lnTo>
                  <a:lnTo>
                    <a:pt x="379" y="425"/>
                  </a:lnTo>
                  <a:lnTo>
                    <a:pt x="381" y="423"/>
                  </a:lnTo>
                  <a:lnTo>
                    <a:pt x="383" y="420"/>
                  </a:lnTo>
                  <a:lnTo>
                    <a:pt x="388" y="412"/>
                  </a:lnTo>
                  <a:lnTo>
                    <a:pt x="389" y="409"/>
                  </a:lnTo>
                  <a:lnTo>
                    <a:pt x="389" y="404"/>
                  </a:lnTo>
                  <a:lnTo>
                    <a:pt x="390" y="401"/>
                  </a:lnTo>
                  <a:lnTo>
                    <a:pt x="391" y="397"/>
                  </a:lnTo>
                  <a:lnTo>
                    <a:pt x="393" y="393"/>
                  </a:lnTo>
                  <a:lnTo>
                    <a:pt x="395" y="391"/>
                  </a:lnTo>
                  <a:lnTo>
                    <a:pt x="401" y="388"/>
                  </a:lnTo>
                  <a:lnTo>
                    <a:pt x="407" y="389"/>
                  </a:lnTo>
                  <a:lnTo>
                    <a:pt x="413" y="392"/>
                  </a:lnTo>
                  <a:lnTo>
                    <a:pt x="427" y="403"/>
                  </a:lnTo>
                  <a:lnTo>
                    <a:pt x="430" y="408"/>
                  </a:lnTo>
                  <a:lnTo>
                    <a:pt x="431" y="414"/>
                  </a:lnTo>
                  <a:lnTo>
                    <a:pt x="430" y="421"/>
                  </a:lnTo>
                  <a:lnTo>
                    <a:pt x="425" y="425"/>
                  </a:lnTo>
                  <a:lnTo>
                    <a:pt x="420" y="428"/>
                  </a:lnTo>
                  <a:lnTo>
                    <a:pt x="417" y="433"/>
                  </a:lnTo>
                  <a:lnTo>
                    <a:pt x="416" y="436"/>
                  </a:lnTo>
                  <a:lnTo>
                    <a:pt x="416" y="439"/>
                  </a:lnTo>
                  <a:lnTo>
                    <a:pt x="416" y="442"/>
                  </a:lnTo>
                  <a:lnTo>
                    <a:pt x="414" y="449"/>
                  </a:lnTo>
                  <a:lnTo>
                    <a:pt x="414" y="452"/>
                  </a:lnTo>
                  <a:lnTo>
                    <a:pt x="415" y="456"/>
                  </a:lnTo>
                  <a:lnTo>
                    <a:pt x="416" y="458"/>
                  </a:lnTo>
                  <a:lnTo>
                    <a:pt x="417" y="461"/>
                  </a:lnTo>
                  <a:lnTo>
                    <a:pt x="416" y="465"/>
                  </a:lnTo>
                  <a:lnTo>
                    <a:pt x="415" y="472"/>
                  </a:lnTo>
                  <a:lnTo>
                    <a:pt x="415" y="486"/>
                  </a:lnTo>
                  <a:lnTo>
                    <a:pt x="412" y="491"/>
                  </a:lnTo>
                  <a:lnTo>
                    <a:pt x="404" y="501"/>
                  </a:lnTo>
                  <a:lnTo>
                    <a:pt x="401" y="512"/>
                  </a:lnTo>
                  <a:lnTo>
                    <a:pt x="393" y="531"/>
                  </a:lnTo>
                  <a:lnTo>
                    <a:pt x="393" y="534"/>
                  </a:lnTo>
                  <a:lnTo>
                    <a:pt x="392" y="538"/>
                  </a:lnTo>
                  <a:lnTo>
                    <a:pt x="391" y="541"/>
                  </a:lnTo>
                  <a:lnTo>
                    <a:pt x="390" y="544"/>
                  </a:lnTo>
                  <a:lnTo>
                    <a:pt x="389" y="547"/>
                  </a:lnTo>
                  <a:lnTo>
                    <a:pt x="389" y="547"/>
                  </a:lnTo>
                  <a:lnTo>
                    <a:pt x="396" y="550"/>
                  </a:lnTo>
                  <a:lnTo>
                    <a:pt x="400" y="549"/>
                  </a:lnTo>
                  <a:lnTo>
                    <a:pt x="404" y="548"/>
                  </a:lnTo>
                  <a:lnTo>
                    <a:pt x="406" y="544"/>
                  </a:lnTo>
                  <a:lnTo>
                    <a:pt x="408" y="538"/>
                  </a:lnTo>
                  <a:lnTo>
                    <a:pt x="410" y="535"/>
                  </a:lnTo>
                  <a:lnTo>
                    <a:pt x="417" y="532"/>
                  </a:lnTo>
                  <a:lnTo>
                    <a:pt x="425" y="525"/>
                  </a:lnTo>
                  <a:lnTo>
                    <a:pt x="428" y="524"/>
                  </a:lnTo>
                  <a:lnTo>
                    <a:pt x="440" y="525"/>
                  </a:lnTo>
                  <a:lnTo>
                    <a:pt x="449" y="524"/>
                  </a:lnTo>
                  <a:lnTo>
                    <a:pt x="452" y="522"/>
                  </a:lnTo>
                  <a:lnTo>
                    <a:pt x="455" y="514"/>
                  </a:lnTo>
                  <a:lnTo>
                    <a:pt x="457" y="511"/>
                  </a:lnTo>
                  <a:lnTo>
                    <a:pt x="462" y="512"/>
                  </a:lnTo>
                  <a:lnTo>
                    <a:pt x="466" y="515"/>
                  </a:lnTo>
                  <a:lnTo>
                    <a:pt x="470" y="516"/>
                  </a:lnTo>
                  <a:lnTo>
                    <a:pt x="472" y="515"/>
                  </a:lnTo>
                  <a:lnTo>
                    <a:pt x="475" y="511"/>
                  </a:lnTo>
                  <a:lnTo>
                    <a:pt x="479" y="509"/>
                  </a:lnTo>
                  <a:lnTo>
                    <a:pt x="491" y="507"/>
                  </a:lnTo>
                  <a:lnTo>
                    <a:pt x="496" y="505"/>
                  </a:lnTo>
                  <a:lnTo>
                    <a:pt x="505" y="495"/>
                  </a:lnTo>
                  <a:lnTo>
                    <a:pt x="508" y="493"/>
                  </a:lnTo>
                  <a:lnTo>
                    <a:pt x="511" y="491"/>
                  </a:lnTo>
                  <a:lnTo>
                    <a:pt x="515" y="490"/>
                  </a:lnTo>
                  <a:lnTo>
                    <a:pt x="522" y="490"/>
                  </a:lnTo>
                  <a:lnTo>
                    <a:pt x="526" y="492"/>
                  </a:lnTo>
                  <a:lnTo>
                    <a:pt x="528" y="499"/>
                  </a:lnTo>
                  <a:lnTo>
                    <a:pt x="530" y="506"/>
                  </a:lnTo>
                  <a:lnTo>
                    <a:pt x="532" y="512"/>
                  </a:lnTo>
                  <a:lnTo>
                    <a:pt x="534" y="515"/>
                  </a:lnTo>
                  <a:lnTo>
                    <a:pt x="536" y="515"/>
                  </a:lnTo>
                  <a:lnTo>
                    <a:pt x="542" y="512"/>
                  </a:lnTo>
                  <a:lnTo>
                    <a:pt x="545" y="508"/>
                  </a:lnTo>
                  <a:lnTo>
                    <a:pt x="544" y="503"/>
                  </a:lnTo>
                  <a:lnTo>
                    <a:pt x="539" y="495"/>
                  </a:lnTo>
                  <a:lnTo>
                    <a:pt x="540" y="490"/>
                  </a:lnTo>
                  <a:lnTo>
                    <a:pt x="542" y="488"/>
                  </a:lnTo>
                  <a:lnTo>
                    <a:pt x="545" y="488"/>
                  </a:lnTo>
                  <a:lnTo>
                    <a:pt x="548" y="491"/>
                  </a:lnTo>
                  <a:lnTo>
                    <a:pt x="548" y="493"/>
                  </a:lnTo>
                  <a:lnTo>
                    <a:pt x="550" y="498"/>
                  </a:lnTo>
                  <a:lnTo>
                    <a:pt x="551" y="500"/>
                  </a:lnTo>
                  <a:lnTo>
                    <a:pt x="553" y="501"/>
                  </a:lnTo>
                  <a:lnTo>
                    <a:pt x="554" y="501"/>
                  </a:lnTo>
                  <a:lnTo>
                    <a:pt x="555" y="500"/>
                  </a:lnTo>
                  <a:lnTo>
                    <a:pt x="556" y="500"/>
                  </a:lnTo>
                  <a:lnTo>
                    <a:pt x="562" y="504"/>
                  </a:lnTo>
                  <a:lnTo>
                    <a:pt x="572" y="515"/>
                  </a:lnTo>
                  <a:lnTo>
                    <a:pt x="578" y="520"/>
                  </a:lnTo>
                  <a:lnTo>
                    <a:pt x="584" y="521"/>
                  </a:lnTo>
                  <a:lnTo>
                    <a:pt x="585" y="522"/>
                  </a:lnTo>
                  <a:lnTo>
                    <a:pt x="587" y="525"/>
                  </a:lnTo>
                  <a:lnTo>
                    <a:pt x="587" y="526"/>
                  </a:lnTo>
                  <a:lnTo>
                    <a:pt x="587" y="526"/>
                  </a:lnTo>
                  <a:lnTo>
                    <a:pt x="587" y="528"/>
                  </a:lnTo>
                  <a:lnTo>
                    <a:pt x="588" y="531"/>
                  </a:lnTo>
                  <a:lnTo>
                    <a:pt x="591" y="535"/>
                  </a:lnTo>
                  <a:lnTo>
                    <a:pt x="594" y="538"/>
                  </a:lnTo>
                  <a:lnTo>
                    <a:pt x="598" y="538"/>
                  </a:lnTo>
                  <a:lnTo>
                    <a:pt x="602" y="538"/>
                  </a:lnTo>
                  <a:lnTo>
                    <a:pt x="611" y="535"/>
                  </a:lnTo>
                  <a:lnTo>
                    <a:pt x="612" y="534"/>
                  </a:lnTo>
                  <a:lnTo>
                    <a:pt x="615" y="534"/>
                  </a:lnTo>
                  <a:lnTo>
                    <a:pt x="617" y="539"/>
                  </a:lnTo>
                  <a:lnTo>
                    <a:pt x="619" y="545"/>
                  </a:lnTo>
                  <a:lnTo>
                    <a:pt x="621" y="551"/>
                  </a:lnTo>
                  <a:lnTo>
                    <a:pt x="625" y="555"/>
                  </a:lnTo>
                  <a:lnTo>
                    <a:pt x="658" y="559"/>
                  </a:lnTo>
                  <a:lnTo>
                    <a:pt x="660" y="559"/>
                  </a:lnTo>
                  <a:lnTo>
                    <a:pt x="661" y="561"/>
                  </a:lnTo>
                  <a:lnTo>
                    <a:pt x="661" y="564"/>
                  </a:lnTo>
                  <a:lnTo>
                    <a:pt x="661" y="565"/>
                  </a:lnTo>
                  <a:lnTo>
                    <a:pt x="660" y="567"/>
                  </a:lnTo>
                  <a:lnTo>
                    <a:pt x="659" y="570"/>
                  </a:lnTo>
                  <a:lnTo>
                    <a:pt x="660" y="576"/>
                  </a:lnTo>
                  <a:lnTo>
                    <a:pt x="661" y="580"/>
                  </a:lnTo>
                  <a:lnTo>
                    <a:pt x="678" y="595"/>
                  </a:lnTo>
                  <a:lnTo>
                    <a:pt x="683" y="601"/>
                  </a:lnTo>
                  <a:lnTo>
                    <a:pt x="698" y="626"/>
                  </a:lnTo>
                  <a:lnTo>
                    <a:pt x="703" y="632"/>
                  </a:lnTo>
                  <a:lnTo>
                    <a:pt x="709" y="637"/>
                  </a:lnTo>
                  <a:lnTo>
                    <a:pt x="712" y="638"/>
                  </a:lnTo>
                  <a:lnTo>
                    <a:pt x="724" y="644"/>
                  </a:lnTo>
                  <a:lnTo>
                    <a:pt x="724" y="644"/>
                  </a:lnTo>
                  <a:lnTo>
                    <a:pt x="727" y="647"/>
                  </a:lnTo>
                  <a:lnTo>
                    <a:pt x="732" y="654"/>
                  </a:lnTo>
                  <a:lnTo>
                    <a:pt x="735" y="658"/>
                  </a:lnTo>
                  <a:lnTo>
                    <a:pt x="737" y="657"/>
                  </a:lnTo>
                  <a:lnTo>
                    <a:pt x="739" y="656"/>
                  </a:lnTo>
                  <a:lnTo>
                    <a:pt x="742" y="654"/>
                  </a:lnTo>
                  <a:lnTo>
                    <a:pt x="743" y="655"/>
                  </a:lnTo>
                  <a:lnTo>
                    <a:pt x="746" y="657"/>
                  </a:lnTo>
                  <a:lnTo>
                    <a:pt x="748" y="657"/>
                  </a:lnTo>
                  <a:lnTo>
                    <a:pt x="749" y="657"/>
                  </a:lnTo>
                  <a:lnTo>
                    <a:pt x="750" y="655"/>
                  </a:lnTo>
                  <a:lnTo>
                    <a:pt x="751" y="653"/>
                  </a:lnTo>
                  <a:lnTo>
                    <a:pt x="752" y="651"/>
                  </a:lnTo>
                  <a:lnTo>
                    <a:pt x="756" y="647"/>
                  </a:lnTo>
                  <a:lnTo>
                    <a:pt x="762" y="644"/>
                  </a:lnTo>
                  <a:lnTo>
                    <a:pt x="767" y="642"/>
                  </a:lnTo>
                  <a:lnTo>
                    <a:pt x="779" y="643"/>
                  </a:lnTo>
                  <a:lnTo>
                    <a:pt x="782" y="642"/>
                  </a:lnTo>
                  <a:lnTo>
                    <a:pt x="785" y="639"/>
                  </a:lnTo>
                  <a:lnTo>
                    <a:pt x="787" y="635"/>
                  </a:lnTo>
                  <a:lnTo>
                    <a:pt x="789" y="631"/>
                  </a:lnTo>
                  <a:lnTo>
                    <a:pt x="792" y="627"/>
                  </a:lnTo>
                  <a:lnTo>
                    <a:pt x="795" y="626"/>
                  </a:lnTo>
                  <a:lnTo>
                    <a:pt x="797" y="627"/>
                  </a:lnTo>
                  <a:lnTo>
                    <a:pt x="798" y="630"/>
                  </a:lnTo>
                  <a:lnTo>
                    <a:pt x="801" y="630"/>
                  </a:lnTo>
                  <a:lnTo>
                    <a:pt x="803" y="630"/>
                  </a:lnTo>
                  <a:lnTo>
                    <a:pt x="806" y="630"/>
                  </a:lnTo>
                  <a:lnTo>
                    <a:pt x="812" y="632"/>
                  </a:lnTo>
                  <a:lnTo>
                    <a:pt x="815" y="635"/>
                  </a:lnTo>
                  <a:lnTo>
                    <a:pt x="821" y="644"/>
                  </a:lnTo>
                  <a:lnTo>
                    <a:pt x="824" y="648"/>
                  </a:lnTo>
                  <a:lnTo>
                    <a:pt x="828" y="650"/>
                  </a:lnTo>
                  <a:lnTo>
                    <a:pt x="841" y="651"/>
                  </a:lnTo>
                  <a:lnTo>
                    <a:pt x="865" y="660"/>
                  </a:lnTo>
                  <a:lnTo>
                    <a:pt x="870" y="657"/>
                  </a:lnTo>
                  <a:lnTo>
                    <a:pt x="869" y="654"/>
                  </a:lnTo>
                  <a:lnTo>
                    <a:pt x="868" y="649"/>
                  </a:lnTo>
                  <a:lnTo>
                    <a:pt x="867" y="644"/>
                  </a:lnTo>
                  <a:lnTo>
                    <a:pt x="867" y="640"/>
                  </a:lnTo>
                  <a:lnTo>
                    <a:pt x="868" y="638"/>
                  </a:lnTo>
                  <a:lnTo>
                    <a:pt x="870" y="637"/>
                  </a:lnTo>
                  <a:lnTo>
                    <a:pt x="872" y="637"/>
                  </a:lnTo>
                  <a:lnTo>
                    <a:pt x="874" y="636"/>
                  </a:lnTo>
                  <a:lnTo>
                    <a:pt x="875" y="635"/>
                  </a:lnTo>
                  <a:lnTo>
                    <a:pt x="876" y="633"/>
                  </a:lnTo>
                  <a:lnTo>
                    <a:pt x="876" y="627"/>
                  </a:lnTo>
                  <a:lnTo>
                    <a:pt x="876" y="626"/>
                  </a:lnTo>
                  <a:lnTo>
                    <a:pt x="875" y="625"/>
                  </a:lnTo>
                  <a:lnTo>
                    <a:pt x="875" y="621"/>
                  </a:lnTo>
                  <a:lnTo>
                    <a:pt x="875" y="620"/>
                  </a:lnTo>
                  <a:lnTo>
                    <a:pt x="875" y="619"/>
                  </a:lnTo>
                  <a:lnTo>
                    <a:pt x="875" y="616"/>
                  </a:lnTo>
                  <a:lnTo>
                    <a:pt x="876" y="613"/>
                  </a:lnTo>
                  <a:lnTo>
                    <a:pt x="877" y="612"/>
                  </a:lnTo>
                  <a:lnTo>
                    <a:pt x="880" y="609"/>
                  </a:lnTo>
                  <a:lnTo>
                    <a:pt x="893" y="605"/>
                  </a:lnTo>
                  <a:lnTo>
                    <a:pt x="896" y="602"/>
                  </a:lnTo>
                  <a:lnTo>
                    <a:pt x="896" y="598"/>
                  </a:lnTo>
                  <a:lnTo>
                    <a:pt x="895" y="590"/>
                  </a:lnTo>
                  <a:lnTo>
                    <a:pt x="895" y="585"/>
                  </a:lnTo>
                  <a:lnTo>
                    <a:pt x="897" y="582"/>
                  </a:lnTo>
                  <a:lnTo>
                    <a:pt x="899" y="580"/>
                  </a:lnTo>
                  <a:lnTo>
                    <a:pt x="904" y="578"/>
                  </a:lnTo>
                  <a:lnTo>
                    <a:pt x="900" y="575"/>
                  </a:lnTo>
                  <a:lnTo>
                    <a:pt x="899" y="574"/>
                  </a:lnTo>
                  <a:lnTo>
                    <a:pt x="901" y="573"/>
                  </a:lnTo>
                  <a:lnTo>
                    <a:pt x="904" y="573"/>
                  </a:lnTo>
                  <a:lnTo>
                    <a:pt x="927" y="570"/>
                  </a:lnTo>
                  <a:lnTo>
                    <a:pt x="937" y="566"/>
                  </a:lnTo>
                  <a:lnTo>
                    <a:pt x="941" y="563"/>
                  </a:lnTo>
                  <a:lnTo>
                    <a:pt x="943" y="559"/>
                  </a:lnTo>
                  <a:lnTo>
                    <a:pt x="942" y="554"/>
                  </a:lnTo>
                  <a:lnTo>
                    <a:pt x="939" y="550"/>
                  </a:lnTo>
                  <a:lnTo>
                    <a:pt x="923" y="544"/>
                  </a:lnTo>
                  <a:lnTo>
                    <a:pt x="922" y="542"/>
                  </a:lnTo>
                  <a:lnTo>
                    <a:pt x="921" y="538"/>
                  </a:lnTo>
                  <a:lnTo>
                    <a:pt x="922" y="534"/>
                  </a:lnTo>
                  <a:lnTo>
                    <a:pt x="923" y="531"/>
                  </a:lnTo>
                  <a:lnTo>
                    <a:pt x="924" y="527"/>
                  </a:lnTo>
                  <a:lnTo>
                    <a:pt x="923" y="520"/>
                  </a:lnTo>
                  <a:lnTo>
                    <a:pt x="920" y="517"/>
                  </a:lnTo>
                  <a:lnTo>
                    <a:pt x="917" y="516"/>
                  </a:lnTo>
                  <a:lnTo>
                    <a:pt x="917" y="507"/>
                  </a:lnTo>
                  <a:lnTo>
                    <a:pt x="918" y="500"/>
                  </a:lnTo>
                  <a:lnTo>
                    <a:pt x="917" y="491"/>
                  </a:lnTo>
                  <a:lnTo>
                    <a:pt x="909" y="480"/>
                  </a:lnTo>
                  <a:lnTo>
                    <a:pt x="904" y="466"/>
                  </a:lnTo>
                  <a:lnTo>
                    <a:pt x="900" y="459"/>
                  </a:lnTo>
                  <a:lnTo>
                    <a:pt x="897" y="451"/>
                  </a:lnTo>
                  <a:lnTo>
                    <a:pt x="895" y="436"/>
                  </a:lnTo>
                  <a:lnTo>
                    <a:pt x="897" y="421"/>
                  </a:lnTo>
                  <a:lnTo>
                    <a:pt x="907" y="398"/>
                  </a:lnTo>
                  <a:lnTo>
                    <a:pt x="899" y="356"/>
                  </a:lnTo>
                  <a:lnTo>
                    <a:pt x="892" y="318"/>
                  </a:lnTo>
                  <a:lnTo>
                    <a:pt x="889" y="303"/>
                  </a:lnTo>
                  <a:lnTo>
                    <a:pt x="886" y="289"/>
                  </a:lnTo>
                  <a:lnTo>
                    <a:pt x="892" y="269"/>
                  </a:lnTo>
                  <a:lnTo>
                    <a:pt x="898" y="252"/>
                  </a:lnTo>
                  <a:lnTo>
                    <a:pt x="918" y="234"/>
                  </a:lnTo>
                  <a:lnTo>
                    <a:pt x="933" y="222"/>
                  </a:lnTo>
                  <a:lnTo>
                    <a:pt x="933" y="222"/>
                  </a:lnTo>
                  <a:lnTo>
                    <a:pt x="936" y="217"/>
                  </a:lnTo>
                  <a:lnTo>
                    <a:pt x="938" y="210"/>
                  </a:lnTo>
                  <a:lnTo>
                    <a:pt x="945" y="197"/>
                  </a:lnTo>
                  <a:lnTo>
                    <a:pt x="948" y="191"/>
                  </a:lnTo>
                  <a:lnTo>
                    <a:pt x="957" y="165"/>
                  </a:lnTo>
                  <a:lnTo>
                    <a:pt x="963" y="142"/>
                  </a:lnTo>
                  <a:lnTo>
                    <a:pt x="965" y="135"/>
                  </a:lnTo>
                  <a:lnTo>
                    <a:pt x="964" y="130"/>
                  </a:lnTo>
                  <a:lnTo>
                    <a:pt x="968" y="125"/>
                  </a:lnTo>
                  <a:lnTo>
                    <a:pt x="977" y="120"/>
                  </a:lnTo>
                  <a:lnTo>
                    <a:pt x="995" y="121"/>
                  </a:lnTo>
                  <a:lnTo>
                    <a:pt x="998" y="117"/>
                  </a:lnTo>
                  <a:lnTo>
                    <a:pt x="995" y="117"/>
                  </a:lnTo>
                  <a:lnTo>
                    <a:pt x="983" y="112"/>
                  </a:lnTo>
                  <a:lnTo>
                    <a:pt x="988" y="110"/>
                  </a:lnTo>
                  <a:lnTo>
                    <a:pt x="1001" y="109"/>
                  </a:lnTo>
                  <a:lnTo>
                    <a:pt x="1008" y="103"/>
                  </a:lnTo>
                  <a:lnTo>
                    <a:pt x="1012" y="106"/>
                  </a:lnTo>
                  <a:lnTo>
                    <a:pt x="1013" y="100"/>
                  </a:lnTo>
                  <a:lnTo>
                    <a:pt x="1012" y="98"/>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10" name="Freeform 46">
              <a:extLst>
                <a:ext uri="{FF2B5EF4-FFF2-40B4-BE49-F238E27FC236}">
                  <a16:creationId xmlns:a16="http://schemas.microsoft.com/office/drawing/2014/main" id="{5CAC1E82-ECE1-4A5C-9BDC-1DDB8C6EADC7}"/>
                </a:ext>
              </a:extLst>
            </p:cNvPr>
            <p:cNvSpPr>
              <a:spLocks noEditPoints="1"/>
            </p:cNvSpPr>
            <p:nvPr/>
          </p:nvSpPr>
          <p:spPr bwMode="gray">
            <a:xfrm>
              <a:off x="8848613" y="3298619"/>
              <a:ext cx="698671" cy="564670"/>
            </a:xfrm>
            <a:custGeom>
              <a:avLst/>
              <a:gdLst>
                <a:gd name="T0" fmla="*/ 465 w 1121"/>
                <a:gd name="T1" fmla="*/ 819 h 906"/>
                <a:gd name="T2" fmla="*/ 382 w 1121"/>
                <a:gd name="T3" fmla="*/ 826 h 906"/>
                <a:gd name="T4" fmla="*/ 665 w 1121"/>
                <a:gd name="T5" fmla="*/ 770 h 906"/>
                <a:gd name="T6" fmla="*/ 665 w 1121"/>
                <a:gd name="T7" fmla="*/ 805 h 906"/>
                <a:gd name="T8" fmla="*/ 271 w 1121"/>
                <a:gd name="T9" fmla="*/ 785 h 906"/>
                <a:gd name="T10" fmla="*/ 298 w 1121"/>
                <a:gd name="T11" fmla="*/ 826 h 906"/>
                <a:gd name="T12" fmla="*/ 411 w 1121"/>
                <a:gd name="T13" fmla="*/ 858 h 906"/>
                <a:gd name="T14" fmla="*/ 1050 w 1121"/>
                <a:gd name="T15" fmla="*/ 725 h 906"/>
                <a:gd name="T16" fmla="*/ 44 w 1121"/>
                <a:gd name="T17" fmla="*/ 669 h 906"/>
                <a:gd name="T18" fmla="*/ 401 w 1121"/>
                <a:gd name="T19" fmla="*/ 661 h 906"/>
                <a:gd name="T20" fmla="*/ 398 w 1121"/>
                <a:gd name="T21" fmla="*/ 643 h 906"/>
                <a:gd name="T22" fmla="*/ 370 w 1121"/>
                <a:gd name="T23" fmla="*/ 628 h 906"/>
                <a:gd name="T24" fmla="*/ 256 w 1121"/>
                <a:gd name="T25" fmla="*/ 659 h 906"/>
                <a:gd name="T26" fmla="*/ 299 w 1121"/>
                <a:gd name="T27" fmla="*/ 733 h 906"/>
                <a:gd name="T28" fmla="*/ 335 w 1121"/>
                <a:gd name="T29" fmla="*/ 762 h 906"/>
                <a:gd name="T30" fmla="*/ 720 w 1121"/>
                <a:gd name="T31" fmla="*/ 627 h 906"/>
                <a:gd name="T32" fmla="*/ 386 w 1121"/>
                <a:gd name="T33" fmla="*/ 568 h 906"/>
                <a:gd name="T34" fmla="*/ 607 w 1121"/>
                <a:gd name="T35" fmla="*/ 786 h 906"/>
                <a:gd name="T36" fmla="*/ 635 w 1121"/>
                <a:gd name="T37" fmla="*/ 748 h 906"/>
                <a:gd name="T38" fmla="*/ 700 w 1121"/>
                <a:gd name="T39" fmla="*/ 611 h 906"/>
                <a:gd name="T40" fmla="*/ 599 w 1121"/>
                <a:gd name="T41" fmla="*/ 515 h 906"/>
                <a:gd name="T42" fmla="*/ 628 w 1121"/>
                <a:gd name="T43" fmla="*/ 571 h 906"/>
                <a:gd name="T44" fmla="*/ 587 w 1121"/>
                <a:gd name="T45" fmla="*/ 592 h 906"/>
                <a:gd name="T46" fmla="*/ 575 w 1121"/>
                <a:gd name="T47" fmla="*/ 534 h 906"/>
                <a:gd name="T48" fmla="*/ 520 w 1121"/>
                <a:gd name="T49" fmla="*/ 570 h 906"/>
                <a:gd name="T50" fmla="*/ 451 w 1121"/>
                <a:gd name="T51" fmla="*/ 602 h 906"/>
                <a:gd name="T52" fmla="*/ 478 w 1121"/>
                <a:gd name="T53" fmla="*/ 694 h 906"/>
                <a:gd name="T54" fmla="*/ 527 w 1121"/>
                <a:gd name="T55" fmla="*/ 726 h 906"/>
                <a:gd name="T56" fmla="*/ 585 w 1121"/>
                <a:gd name="T57" fmla="*/ 774 h 906"/>
                <a:gd name="T58" fmla="*/ 602 w 1121"/>
                <a:gd name="T59" fmla="*/ 854 h 906"/>
                <a:gd name="T60" fmla="*/ 563 w 1121"/>
                <a:gd name="T61" fmla="*/ 303 h 906"/>
                <a:gd name="T62" fmla="*/ 124 w 1121"/>
                <a:gd name="T63" fmla="*/ 279 h 906"/>
                <a:gd name="T64" fmla="*/ 93 w 1121"/>
                <a:gd name="T65" fmla="*/ 251 h 906"/>
                <a:gd name="T66" fmla="*/ 472 w 1121"/>
                <a:gd name="T67" fmla="*/ 136 h 906"/>
                <a:gd name="T68" fmla="*/ 215 w 1121"/>
                <a:gd name="T69" fmla="*/ 781 h 906"/>
                <a:gd name="T70" fmla="*/ 256 w 1121"/>
                <a:gd name="T71" fmla="*/ 722 h 906"/>
                <a:gd name="T72" fmla="*/ 233 w 1121"/>
                <a:gd name="T73" fmla="*/ 642 h 906"/>
                <a:gd name="T74" fmla="*/ 283 w 1121"/>
                <a:gd name="T75" fmla="*/ 595 h 906"/>
                <a:gd name="T76" fmla="*/ 333 w 1121"/>
                <a:gd name="T77" fmla="*/ 554 h 906"/>
                <a:gd name="T78" fmla="*/ 365 w 1121"/>
                <a:gd name="T79" fmla="*/ 429 h 906"/>
                <a:gd name="T80" fmla="*/ 387 w 1121"/>
                <a:gd name="T81" fmla="*/ 479 h 906"/>
                <a:gd name="T82" fmla="*/ 439 w 1121"/>
                <a:gd name="T83" fmla="*/ 358 h 906"/>
                <a:gd name="T84" fmla="*/ 334 w 1121"/>
                <a:gd name="T85" fmla="*/ 310 h 906"/>
                <a:gd name="T86" fmla="*/ 338 w 1121"/>
                <a:gd name="T87" fmla="*/ 304 h 906"/>
                <a:gd name="T88" fmla="*/ 311 w 1121"/>
                <a:gd name="T89" fmla="*/ 200 h 906"/>
                <a:gd name="T90" fmla="*/ 334 w 1121"/>
                <a:gd name="T91" fmla="*/ 45 h 906"/>
                <a:gd name="T92" fmla="*/ 31 w 1121"/>
                <a:gd name="T93" fmla="*/ 289 h 906"/>
                <a:gd name="T94" fmla="*/ 52 w 1121"/>
                <a:gd name="T95" fmla="*/ 310 h 906"/>
                <a:gd name="T96" fmla="*/ 101 w 1121"/>
                <a:gd name="T97" fmla="*/ 232 h 906"/>
                <a:gd name="T98" fmla="*/ 264 w 1121"/>
                <a:gd name="T99" fmla="*/ 198 h 906"/>
                <a:gd name="T100" fmla="*/ 174 w 1121"/>
                <a:gd name="T101" fmla="*/ 255 h 906"/>
                <a:gd name="T102" fmla="*/ 191 w 1121"/>
                <a:gd name="T103" fmla="*/ 345 h 906"/>
                <a:gd name="T104" fmla="*/ 168 w 1121"/>
                <a:gd name="T105" fmla="*/ 319 h 906"/>
                <a:gd name="T106" fmla="*/ 150 w 1121"/>
                <a:gd name="T107" fmla="*/ 276 h 906"/>
                <a:gd name="T108" fmla="*/ 104 w 1121"/>
                <a:gd name="T109" fmla="*/ 356 h 906"/>
                <a:gd name="T110" fmla="*/ 32 w 1121"/>
                <a:gd name="T111" fmla="*/ 339 h 906"/>
                <a:gd name="T112" fmla="*/ 8 w 1121"/>
                <a:gd name="T113" fmla="*/ 491 h 906"/>
                <a:gd name="T114" fmla="*/ 6 w 1121"/>
                <a:gd name="T115" fmla="*/ 515 h 906"/>
                <a:gd name="T116" fmla="*/ 84 w 1121"/>
                <a:gd name="T117" fmla="*/ 666 h 906"/>
                <a:gd name="T118" fmla="*/ 74 w 1121"/>
                <a:gd name="T119" fmla="*/ 750 h 906"/>
                <a:gd name="T120" fmla="*/ 214 w 1121"/>
                <a:gd name="T121" fmla="*/ 840 h 906"/>
                <a:gd name="T122" fmla="*/ 261 w 1121"/>
                <a:gd name="T123" fmla="*/ 822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1" h="906">
                  <a:moveTo>
                    <a:pt x="596" y="850"/>
                  </a:moveTo>
                  <a:lnTo>
                    <a:pt x="595" y="847"/>
                  </a:lnTo>
                  <a:lnTo>
                    <a:pt x="587" y="841"/>
                  </a:lnTo>
                  <a:lnTo>
                    <a:pt x="584" y="836"/>
                  </a:lnTo>
                  <a:lnTo>
                    <a:pt x="585" y="835"/>
                  </a:lnTo>
                  <a:lnTo>
                    <a:pt x="587" y="834"/>
                  </a:lnTo>
                  <a:lnTo>
                    <a:pt x="584" y="833"/>
                  </a:lnTo>
                  <a:lnTo>
                    <a:pt x="582" y="831"/>
                  </a:lnTo>
                  <a:lnTo>
                    <a:pt x="578" y="826"/>
                  </a:lnTo>
                  <a:lnTo>
                    <a:pt x="577" y="822"/>
                  </a:lnTo>
                  <a:lnTo>
                    <a:pt x="565" y="811"/>
                  </a:lnTo>
                  <a:lnTo>
                    <a:pt x="564" y="814"/>
                  </a:lnTo>
                  <a:lnTo>
                    <a:pt x="564" y="818"/>
                  </a:lnTo>
                  <a:lnTo>
                    <a:pt x="564" y="821"/>
                  </a:lnTo>
                  <a:lnTo>
                    <a:pt x="566" y="824"/>
                  </a:lnTo>
                  <a:lnTo>
                    <a:pt x="564" y="824"/>
                  </a:lnTo>
                  <a:lnTo>
                    <a:pt x="560" y="826"/>
                  </a:lnTo>
                  <a:lnTo>
                    <a:pt x="556" y="826"/>
                  </a:lnTo>
                  <a:lnTo>
                    <a:pt x="553" y="829"/>
                  </a:lnTo>
                  <a:lnTo>
                    <a:pt x="553" y="832"/>
                  </a:lnTo>
                  <a:lnTo>
                    <a:pt x="554" y="835"/>
                  </a:lnTo>
                  <a:lnTo>
                    <a:pt x="556" y="839"/>
                  </a:lnTo>
                  <a:lnTo>
                    <a:pt x="528" y="823"/>
                  </a:lnTo>
                  <a:lnTo>
                    <a:pt x="524" y="823"/>
                  </a:lnTo>
                  <a:lnTo>
                    <a:pt x="520" y="820"/>
                  </a:lnTo>
                  <a:lnTo>
                    <a:pt x="515" y="810"/>
                  </a:lnTo>
                  <a:lnTo>
                    <a:pt x="513" y="807"/>
                  </a:lnTo>
                  <a:lnTo>
                    <a:pt x="510" y="806"/>
                  </a:lnTo>
                  <a:lnTo>
                    <a:pt x="502" y="800"/>
                  </a:lnTo>
                  <a:lnTo>
                    <a:pt x="499" y="798"/>
                  </a:lnTo>
                  <a:lnTo>
                    <a:pt x="476" y="803"/>
                  </a:lnTo>
                  <a:lnTo>
                    <a:pt x="473" y="802"/>
                  </a:lnTo>
                  <a:lnTo>
                    <a:pt x="467" y="810"/>
                  </a:lnTo>
                  <a:lnTo>
                    <a:pt x="465" y="814"/>
                  </a:lnTo>
                  <a:lnTo>
                    <a:pt x="465" y="819"/>
                  </a:lnTo>
                  <a:lnTo>
                    <a:pt x="466" y="821"/>
                  </a:lnTo>
                  <a:lnTo>
                    <a:pt x="474" y="831"/>
                  </a:lnTo>
                  <a:lnTo>
                    <a:pt x="476" y="833"/>
                  </a:lnTo>
                  <a:lnTo>
                    <a:pt x="479" y="834"/>
                  </a:lnTo>
                  <a:lnTo>
                    <a:pt x="476" y="840"/>
                  </a:lnTo>
                  <a:lnTo>
                    <a:pt x="471" y="840"/>
                  </a:lnTo>
                  <a:lnTo>
                    <a:pt x="466" y="839"/>
                  </a:lnTo>
                  <a:lnTo>
                    <a:pt x="463" y="842"/>
                  </a:lnTo>
                  <a:lnTo>
                    <a:pt x="461" y="846"/>
                  </a:lnTo>
                  <a:lnTo>
                    <a:pt x="463" y="850"/>
                  </a:lnTo>
                  <a:lnTo>
                    <a:pt x="466" y="853"/>
                  </a:lnTo>
                  <a:lnTo>
                    <a:pt x="475" y="855"/>
                  </a:lnTo>
                  <a:lnTo>
                    <a:pt x="484" y="859"/>
                  </a:lnTo>
                  <a:lnTo>
                    <a:pt x="491" y="861"/>
                  </a:lnTo>
                  <a:lnTo>
                    <a:pt x="509" y="872"/>
                  </a:lnTo>
                  <a:lnTo>
                    <a:pt x="519" y="881"/>
                  </a:lnTo>
                  <a:lnTo>
                    <a:pt x="534" y="890"/>
                  </a:lnTo>
                  <a:lnTo>
                    <a:pt x="537" y="890"/>
                  </a:lnTo>
                  <a:lnTo>
                    <a:pt x="543" y="885"/>
                  </a:lnTo>
                  <a:lnTo>
                    <a:pt x="551" y="881"/>
                  </a:lnTo>
                  <a:lnTo>
                    <a:pt x="559" y="879"/>
                  </a:lnTo>
                  <a:lnTo>
                    <a:pt x="583" y="885"/>
                  </a:lnTo>
                  <a:lnTo>
                    <a:pt x="590" y="882"/>
                  </a:lnTo>
                  <a:lnTo>
                    <a:pt x="595" y="877"/>
                  </a:lnTo>
                  <a:lnTo>
                    <a:pt x="596" y="871"/>
                  </a:lnTo>
                  <a:lnTo>
                    <a:pt x="590" y="868"/>
                  </a:lnTo>
                  <a:lnTo>
                    <a:pt x="591" y="865"/>
                  </a:lnTo>
                  <a:lnTo>
                    <a:pt x="593" y="864"/>
                  </a:lnTo>
                  <a:lnTo>
                    <a:pt x="594" y="863"/>
                  </a:lnTo>
                  <a:lnTo>
                    <a:pt x="596" y="861"/>
                  </a:lnTo>
                  <a:lnTo>
                    <a:pt x="598" y="858"/>
                  </a:lnTo>
                  <a:lnTo>
                    <a:pt x="598" y="857"/>
                  </a:lnTo>
                  <a:lnTo>
                    <a:pt x="597" y="854"/>
                  </a:lnTo>
                  <a:lnTo>
                    <a:pt x="596" y="850"/>
                  </a:lnTo>
                  <a:close/>
                  <a:moveTo>
                    <a:pt x="382" y="826"/>
                  </a:moveTo>
                  <a:lnTo>
                    <a:pt x="382" y="822"/>
                  </a:lnTo>
                  <a:lnTo>
                    <a:pt x="380" y="819"/>
                  </a:lnTo>
                  <a:lnTo>
                    <a:pt x="377" y="818"/>
                  </a:lnTo>
                  <a:lnTo>
                    <a:pt x="374" y="815"/>
                  </a:lnTo>
                  <a:lnTo>
                    <a:pt x="377" y="820"/>
                  </a:lnTo>
                  <a:lnTo>
                    <a:pt x="376" y="822"/>
                  </a:lnTo>
                  <a:lnTo>
                    <a:pt x="374" y="823"/>
                  </a:lnTo>
                  <a:lnTo>
                    <a:pt x="371" y="823"/>
                  </a:lnTo>
                  <a:lnTo>
                    <a:pt x="369" y="821"/>
                  </a:lnTo>
                  <a:lnTo>
                    <a:pt x="367" y="813"/>
                  </a:lnTo>
                  <a:lnTo>
                    <a:pt x="365" y="809"/>
                  </a:lnTo>
                  <a:lnTo>
                    <a:pt x="366" y="814"/>
                  </a:lnTo>
                  <a:lnTo>
                    <a:pt x="365" y="816"/>
                  </a:lnTo>
                  <a:lnTo>
                    <a:pt x="363" y="817"/>
                  </a:lnTo>
                  <a:lnTo>
                    <a:pt x="361" y="817"/>
                  </a:lnTo>
                  <a:lnTo>
                    <a:pt x="359" y="816"/>
                  </a:lnTo>
                  <a:lnTo>
                    <a:pt x="357" y="814"/>
                  </a:lnTo>
                  <a:lnTo>
                    <a:pt x="353" y="807"/>
                  </a:lnTo>
                  <a:lnTo>
                    <a:pt x="349" y="804"/>
                  </a:lnTo>
                  <a:lnTo>
                    <a:pt x="335" y="796"/>
                  </a:lnTo>
                  <a:lnTo>
                    <a:pt x="333" y="794"/>
                  </a:lnTo>
                  <a:lnTo>
                    <a:pt x="334" y="798"/>
                  </a:lnTo>
                  <a:lnTo>
                    <a:pt x="337" y="804"/>
                  </a:lnTo>
                  <a:lnTo>
                    <a:pt x="364" y="834"/>
                  </a:lnTo>
                  <a:lnTo>
                    <a:pt x="368" y="836"/>
                  </a:lnTo>
                  <a:lnTo>
                    <a:pt x="369" y="835"/>
                  </a:lnTo>
                  <a:lnTo>
                    <a:pt x="373" y="831"/>
                  </a:lnTo>
                  <a:lnTo>
                    <a:pt x="385" y="828"/>
                  </a:lnTo>
                  <a:lnTo>
                    <a:pt x="383" y="828"/>
                  </a:lnTo>
                  <a:lnTo>
                    <a:pt x="382" y="826"/>
                  </a:lnTo>
                  <a:close/>
                  <a:moveTo>
                    <a:pt x="701" y="782"/>
                  </a:moveTo>
                  <a:lnTo>
                    <a:pt x="687" y="779"/>
                  </a:lnTo>
                  <a:lnTo>
                    <a:pt x="674" y="778"/>
                  </a:lnTo>
                  <a:lnTo>
                    <a:pt x="668" y="776"/>
                  </a:lnTo>
                  <a:lnTo>
                    <a:pt x="665" y="770"/>
                  </a:lnTo>
                  <a:lnTo>
                    <a:pt x="662" y="770"/>
                  </a:lnTo>
                  <a:lnTo>
                    <a:pt x="660" y="771"/>
                  </a:lnTo>
                  <a:lnTo>
                    <a:pt x="660" y="773"/>
                  </a:lnTo>
                  <a:lnTo>
                    <a:pt x="661" y="775"/>
                  </a:lnTo>
                  <a:lnTo>
                    <a:pt x="662" y="777"/>
                  </a:lnTo>
                  <a:lnTo>
                    <a:pt x="667" y="781"/>
                  </a:lnTo>
                  <a:lnTo>
                    <a:pt x="667" y="783"/>
                  </a:lnTo>
                  <a:lnTo>
                    <a:pt x="666" y="784"/>
                  </a:lnTo>
                  <a:lnTo>
                    <a:pt x="665" y="785"/>
                  </a:lnTo>
                  <a:lnTo>
                    <a:pt x="665" y="788"/>
                  </a:lnTo>
                  <a:lnTo>
                    <a:pt x="666" y="790"/>
                  </a:lnTo>
                  <a:lnTo>
                    <a:pt x="664" y="792"/>
                  </a:lnTo>
                  <a:lnTo>
                    <a:pt x="659" y="794"/>
                  </a:lnTo>
                  <a:lnTo>
                    <a:pt x="657" y="794"/>
                  </a:lnTo>
                  <a:lnTo>
                    <a:pt x="655" y="793"/>
                  </a:lnTo>
                  <a:lnTo>
                    <a:pt x="651" y="791"/>
                  </a:lnTo>
                  <a:lnTo>
                    <a:pt x="648" y="790"/>
                  </a:lnTo>
                  <a:lnTo>
                    <a:pt x="650" y="794"/>
                  </a:lnTo>
                  <a:lnTo>
                    <a:pt x="648" y="796"/>
                  </a:lnTo>
                  <a:lnTo>
                    <a:pt x="647" y="795"/>
                  </a:lnTo>
                  <a:lnTo>
                    <a:pt x="644" y="796"/>
                  </a:lnTo>
                  <a:lnTo>
                    <a:pt x="641" y="800"/>
                  </a:lnTo>
                  <a:lnTo>
                    <a:pt x="642" y="801"/>
                  </a:lnTo>
                  <a:lnTo>
                    <a:pt x="643" y="803"/>
                  </a:lnTo>
                  <a:lnTo>
                    <a:pt x="644" y="804"/>
                  </a:lnTo>
                  <a:lnTo>
                    <a:pt x="642" y="805"/>
                  </a:lnTo>
                  <a:lnTo>
                    <a:pt x="641" y="806"/>
                  </a:lnTo>
                  <a:lnTo>
                    <a:pt x="640" y="809"/>
                  </a:lnTo>
                  <a:lnTo>
                    <a:pt x="641" y="811"/>
                  </a:lnTo>
                  <a:lnTo>
                    <a:pt x="639" y="811"/>
                  </a:lnTo>
                  <a:lnTo>
                    <a:pt x="639" y="813"/>
                  </a:lnTo>
                  <a:lnTo>
                    <a:pt x="649" y="818"/>
                  </a:lnTo>
                  <a:lnTo>
                    <a:pt x="653" y="819"/>
                  </a:lnTo>
                  <a:lnTo>
                    <a:pt x="657" y="817"/>
                  </a:lnTo>
                  <a:lnTo>
                    <a:pt x="665" y="805"/>
                  </a:lnTo>
                  <a:lnTo>
                    <a:pt x="670" y="801"/>
                  </a:lnTo>
                  <a:lnTo>
                    <a:pt x="676" y="799"/>
                  </a:lnTo>
                  <a:lnTo>
                    <a:pt x="681" y="798"/>
                  </a:lnTo>
                  <a:lnTo>
                    <a:pt x="700" y="802"/>
                  </a:lnTo>
                  <a:lnTo>
                    <a:pt x="704" y="802"/>
                  </a:lnTo>
                  <a:lnTo>
                    <a:pt x="706" y="801"/>
                  </a:lnTo>
                  <a:lnTo>
                    <a:pt x="708" y="799"/>
                  </a:lnTo>
                  <a:lnTo>
                    <a:pt x="708" y="796"/>
                  </a:lnTo>
                  <a:lnTo>
                    <a:pt x="706" y="787"/>
                  </a:lnTo>
                  <a:lnTo>
                    <a:pt x="701" y="782"/>
                  </a:lnTo>
                  <a:close/>
                  <a:moveTo>
                    <a:pt x="305" y="794"/>
                  </a:moveTo>
                  <a:lnTo>
                    <a:pt x="301" y="788"/>
                  </a:lnTo>
                  <a:lnTo>
                    <a:pt x="297" y="783"/>
                  </a:lnTo>
                  <a:lnTo>
                    <a:pt x="292" y="780"/>
                  </a:lnTo>
                  <a:lnTo>
                    <a:pt x="285" y="779"/>
                  </a:lnTo>
                  <a:lnTo>
                    <a:pt x="280" y="776"/>
                  </a:lnTo>
                  <a:lnTo>
                    <a:pt x="270" y="765"/>
                  </a:lnTo>
                  <a:lnTo>
                    <a:pt x="264" y="764"/>
                  </a:lnTo>
                  <a:lnTo>
                    <a:pt x="258" y="765"/>
                  </a:lnTo>
                  <a:lnTo>
                    <a:pt x="244" y="771"/>
                  </a:lnTo>
                  <a:lnTo>
                    <a:pt x="244" y="774"/>
                  </a:lnTo>
                  <a:lnTo>
                    <a:pt x="247" y="775"/>
                  </a:lnTo>
                  <a:lnTo>
                    <a:pt x="249" y="774"/>
                  </a:lnTo>
                  <a:lnTo>
                    <a:pt x="252" y="774"/>
                  </a:lnTo>
                  <a:lnTo>
                    <a:pt x="255" y="774"/>
                  </a:lnTo>
                  <a:lnTo>
                    <a:pt x="254" y="776"/>
                  </a:lnTo>
                  <a:lnTo>
                    <a:pt x="251" y="778"/>
                  </a:lnTo>
                  <a:lnTo>
                    <a:pt x="251" y="779"/>
                  </a:lnTo>
                  <a:lnTo>
                    <a:pt x="251" y="782"/>
                  </a:lnTo>
                  <a:lnTo>
                    <a:pt x="253" y="782"/>
                  </a:lnTo>
                  <a:lnTo>
                    <a:pt x="255" y="783"/>
                  </a:lnTo>
                  <a:lnTo>
                    <a:pt x="256" y="784"/>
                  </a:lnTo>
                  <a:lnTo>
                    <a:pt x="259" y="784"/>
                  </a:lnTo>
                  <a:lnTo>
                    <a:pt x="271" y="783"/>
                  </a:lnTo>
                  <a:lnTo>
                    <a:pt x="271" y="785"/>
                  </a:lnTo>
                  <a:lnTo>
                    <a:pt x="269" y="787"/>
                  </a:lnTo>
                  <a:lnTo>
                    <a:pt x="270" y="789"/>
                  </a:lnTo>
                  <a:lnTo>
                    <a:pt x="277" y="794"/>
                  </a:lnTo>
                  <a:lnTo>
                    <a:pt x="278" y="796"/>
                  </a:lnTo>
                  <a:lnTo>
                    <a:pt x="277" y="796"/>
                  </a:lnTo>
                  <a:lnTo>
                    <a:pt x="276" y="797"/>
                  </a:lnTo>
                  <a:lnTo>
                    <a:pt x="277" y="799"/>
                  </a:lnTo>
                  <a:lnTo>
                    <a:pt x="278" y="801"/>
                  </a:lnTo>
                  <a:lnTo>
                    <a:pt x="279" y="802"/>
                  </a:lnTo>
                  <a:lnTo>
                    <a:pt x="276" y="803"/>
                  </a:lnTo>
                  <a:lnTo>
                    <a:pt x="272" y="799"/>
                  </a:lnTo>
                  <a:lnTo>
                    <a:pt x="268" y="795"/>
                  </a:lnTo>
                  <a:lnTo>
                    <a:pt x="265" y="793"/>
                  </a:lnTo>
                  <a:lnTo>
                    <a:pt x="265" y="794"/>
                  </a:lnTo>
                  <a:lnTo>
                    <a:pt x="266" y="794"/>
                  </a:lnTo>
                  <a:lnTo>
                    <a:pt x="265" y="803"/>
                  </a:lnTo>
                  <a:lnTo>
                    <a:pt x="268" y="810"/>
                  </a:lnTo>
                  <a:lnTo>
                    <a:pt x="274" y="815"/>
                  </a:lnTo>
                  <a:lnTo>
                    <a:pt x="280" y="815"/>
                  </a:lnTo>
                  <a:lnTo>
                    <a:pt x="281" y="814"/>
                  </a:lnTo>
                  <a:lnTo>
                    <a:pt x="284" y="812"/>
                  </a:lnTo>
                  <a:lnTo>
                    <a:pt x="285" y="811"/>
                  </a:lnTo>
                  <a:lnTo>
                    <a:pt x="287" y="811"/>
                  </a:lnTo>
                  <a:lnTo>
                    <a:pt x="294" y="814"/>
                  </a:lnTo>
                  <a:lnTo>
                    <a:pt x="302" y="821"/>
                  </a:lnTo>
                  <a:lnTo>
                    <a:pt x="302" y="823"/>
                  </a:lnTo>
                  <a:lnTo>
                    <a:pt x="297" y="821"/>
                  </a:lnTo>
                  <a:lnTo>
                    <a:pt x="292" y="817"/>
                  </a:lnTo>
                  <a:lnTo>
                    <a:pt x="287" y="815"/>
                  </a:lnTo>
                  <a:lnTo>
                    <a:pt x="283" y="817"/>
                  </a:lnTo>
                  <a:lnTo>
                    <a:pt x="283" y="819"/>
                  </a:lnTo>
                  <a:lnTo>
                    <a:pt x="286" y="821"/>
                  </a:lnTo>
                  <a:lnTo>
                    <a:pt x="293" y="823"/>
                  </a:lnTo>
                  <a:lnTo>
                    <a:pt x="295" y="825"/>
                  </a:lnTo>
                  <a:lnTo>
                    <a:pt x="298" y="826"/>
                  </a:lnTo>
                  <a:lnTo>
                    <a:pt x="301" y="824"/>
                  </a:lnTo>
                  <a:lnTo>
                    <a:pt x="304" y="822"/>
                  </a:lnTo>
                  <a:lnTo>
                    <a:pt x="306" y="821"/>
                  </a:lnTo>
                  <a:lnTo>
                    <a:pt x="311" y="821"/>
                  </a:lnTo>
                  <a:lnTo>
                    <a:pt x="313" y="820"/>
                  </a:lnTo>
                  <a:lnTo>
                    <a:pt x="313" y="818"/>
                  </a:lnTo>
                  <a:lnTo>
                    <a:pt x="307" y="799"/>
                  </a:lnTo>
                  <a:lnTo>
                    <a:pt x="305" y="794"/>
                  </a:lnTo>
                  <a:close/>
                  <a:moveTo>
                    <a:pt x="445" y="754"/>
                  </a:moveTo>
                  <a:lnTo>
                    <a:pt x="440" y="768"/>
                  </a:lnTo>
                  <a:lnTo>
                    <a:pt x="439" y="775"/>
                  </a:lnTo>
                  <a:lnTo>
                    <a:pt x="430" y="789"/>
                  </a:lnTo>
                  <a:lnTo>
                    <a:pt x="426" y="791"/>
                  </a:lnTo>
                  <a:lnTo>
                    <a:pt x="417" y="802"/>
                  </a:lnTo>
                  <a:lnTo>
                    <a:pt x="414" y="806"/>
                  </a:lnTo>
                  <a:lnTo>
                    <a:pt x="411" y="813"/>
                  </a:lnTo>
                  <a:lnTo>
                    <a:pt x="413" y="814"/>
                  </a:lnTo>
                  <a:lnTo>
                    <a:pt x="414" y="815"/>
                  </a:lnTo>
                  <a:lnTo>
                    <a:pt x="416" y="814"/>
                  </a:lnTo>
                  <a:lnTo>
                    <a:pt x="417" y="813"/>
                  </a:lnTo>
                  <a:lnTo>
                    <a:pt x="418" y="816"/>
                  </a:lnTo>
                  <a:lnTo>
                    <a:pt x="418" y="819"/>
                  </a:lnTo>
                  <a:lnTo>
                    <a:pt x="414" y="820"/>
                  </a:lnTo>
                  <a:lnTo>
                    <a:pt x="413" y="820"/>
                  </a:lnTo>
                  <a:lnTo>
                    <a:pt x="412" y="818"/>
                  </a:lnTo>
                  <a:lnTo>
                    <a:pt x="411" y="820"/>
                  </a:lnTo>
                  <a:lnTo>
                    <a:pt x="409" y="824"/>
                  </a:lnTo>
                  <a:lnTo>
                    <a:pt x="407" y="828"/>
                  </a:lnTo>
                  <a:lnTo>
                    <a:pt x="405" y="831"/>
                  </a:lnTo>
                  <a:lnTo>
                    <a:pt x="402" y="832"/>
                  </a:lnTo>
                  <a:lnTo>
                    <a:pt x="398" y="832"/>
                  </a:lnTo>
                  <a:lnTo>
                    <a:pt x="403" y="836"/>
                  </a:lnTo>
                  <a:lnTo>
                    <a:pt x="405" y="838"/>
                  </a:lnTo>
                  <a:lnTo>
                    <a:pt x="407" y="842"/>
                  </a:lnTo>
                  <a:lnTo>
                    <a:pt x="411" y="858"/>
                  </a:lnTo>
                  <a:lnTo>
                    <a:pt x="413" y="860"/>
                  </a:lnTo>
                  <a:lnTo>
                    <a:pt x="417" y="860"/>
                  </a:lnTo>
                  <a:lnTo>
                    <a:pt x="419" y="859"/>
                  </a:lnTo>
                  <a:lnTo>
                    <a:pt x="421" y="856"/>
                  </a:lnTo>
                  <a:lnTo>
                    <a:pt x="436" y="805"/>
                  </a:lnTo>
                  <a:lnTo>
                    <a:pt x="444" y="788"/>
                  </a:lnTo>
                  <a:lnTo>
                    <a:pt x="447" y="779"/>
                  </a:lnTo>
                  <a:lnTo>
                    <a:pt x="455" y="745"/>
                  </a:lnTo>
                  <a:lnTo>
                    <a:pt x="451" y="743"/>
                  </a:lnTo>
                  <a:lnTo>
                    <a:pt x="445" y="754"/>
                  </a:lnTo>
                  <a:close/>
                  <a:moveTo>
                    <a:pt x="1118" y="755"/>
                  </a:moveTo>
                  <a:lnTo>
                    <a:pt x="1119" y="754"/>
                  </a:lnTo>
                  <a:lnTo>
                    <a:pt x="1120" y="753"/>
                  </a:lnTo>
                  <a:lnTo>
                    <a:pt x="1120" y="752"/>
                  </a:lnTo>
                  <a:lnTo>
                    <a:pt x="1121" y="750"/>
                  </a:lnTo>
                  <a:lnTo>
                    <a:pt x="1117" y="747"/>
                  </a:lnTo>
                  <a:lnTo>
                    <a:pt x="1110" y="745"/>
                  </a:lnTo>
                  <a:lnTo>
                    <a:pt x="1099" y="737"/>
                  </a:lnTo>
                  <a:lnTo>
                    <a:pt x="1097" y="735"/>
                  </a:lnTo>
                  <a:lnTo>
                    <a:pt x="1095" y="733"/>
                  </a:lnTo>
                  <a:lnTo>
                    <a:pt x="1092" y="728"/>
                  </a:lnTo>
                  <a:lnTo>
                    <a:pt x="1089" y="727"/>
                  </a:lnTo>
                  <a:lnTo>
                    <a:pt x="1085" y="728"/>
                  </a:lnTo>
                  <a:lnTo>
                    <a:pt x="1079" y="723"/>
                  </a:lnTo>
                  <a:lnTo>
                    <a:pt x="1073" y="719"/>
                  </a:lnTo>
                  <a:lnTo>
                    <a:pt x="1069" y="715"/>
                  </a:lnTo>
                  <a:lnTo>
                    <a:pt x="1067" y="712"/>
                  </a:lnTo>
                  <a:lnTo>
                    <a:pt x="1061" y="703"/>
                  </a:lnTo>
                  <a:lnTo>
                    <a:pt x="1059" y="702"/>
                  </a:lnTo>
                  <a:lnTo>
                    <a:pt x="1057" y="705"/>
                  </a:lnTo>
                  <a:lnTo>
                    <a:pt x="1056" y="710"/>
                  </a:lnTo>
                  <a:lnTo>
                    <a:pt x="1055" y="714"/>
                  </a:lnTo>
                  <a:lnTo>
                    <a:pt x="1052" y="719"/>
                  </a:lnTo>
                  <a:lnTo>
                    <a:pt x="1050" y="722"/>
                  </a:lnTo>
                  <a:lnTo>
                    <a:pt x="1050" y="725"/>
                  </a:lnTo>
                  <a:lnTo>
                    <a:pt x="1049" y="742"/>
                  </a:lnTo>
                  <a:lnTo>
                    <a:pt x="1048" y="754"/>
                  </a:lnTo>
                  <a:lnTo>
                    <a:pt x="1047" y="760"/>
                  </a:lnTo>
                  <a:lnTo>
                    <a:pt x="1049" y="763"/>
                  </a:lnTo>
                  <a:lnTo>
                    <a:pt x="1062" y="773"/>
                  </a:lnTo>
                  <a:lnTo>
                    <a:pt x="1074" y="777"/>
                  </a:lnTo>
                  <a:lnTo>
                    <a:pt x="1085" y="784"/>
                  </a:lnTo>
                  <a:lnTo>
                    <a:pt x="1094" y="787"/>
                  </a:lnTo>
                  <a:lnTo>
                    <a:pt x="1100" y="788"/>
                  </a:lnTo>
                  <a:lnTo>
                    <a:pt x="1108" y="790"/>
                  </a:lnTo>
                  <a:lnTo>
                    <a:pt x="1110" y="788"/>
                  </a:lnTo>
                  <a:lnTo>
                    <a:pt x="1112" y="785"/>
                  </a:lnTo>
                  <a:lnTo>
                    <a:pt x="1115" y="782"/>
                  </a:lnTo>
                  <a:lnTo>
                    <a:pt x="1114" y="779"/>
                  </a:lnTo>
                  <a:lnTo>
                    <a:pt x="1114" y="777"/>
                  </a:lnTo>
                  <a:lnTo>
                    <a:pt x="1114" y="775"/>
                  </a:lnTo>
                  <a:lnTo>
                    <a:pt x="1115" y="772"/>
                  </a:lnTo>
                  <a:lnTo>
                    <a:pt x="1118" y="767"/>
                  </a:lnTo>
                  <a:lnTo>
                    <a:pt x="1120" y="763"/>
                  </a:lnTo>
                  <a:lnTo>
                    <a:pt x="1120" y="761"/>
                  </a:lnTo>
                  <a:lnTo>
                    <a:pt x="1120" y="759"/>
                  </a:lnTo>
                  <a:lnTo>
                    <a:pt x="1118" y="755"/>
                  </a:lnTo>
                  <a:close/>
                  <a:moveTo>
                    <a:pt x="60" y="689"/>
                  </a:moveTo>
                  <a:lnTo>
                    <a:pt x="59" y="684"/>
                  </a:lnTo>
                  <a:lnTo>
                    <a:pt x="57" y="681"/>
                  </a:lnTo>
                  <a:lnTo>
                    <a:pt x="57" y="678"/>
                  </a:lnTo>
                  <a:lnTo>
                    <a:pt x="59" y="672"/>
                  </a:lnTo>
                  <a:lnTo>
                    <a:pt x="59" y="669"/>
                  </a:lnTo>
                  <a:lnTo>
                    <a:pt x="57" y="667"/>
                  </a:lnTo>
                  <a:lnTo>
                    <a:pt x="54" y="667"/>
                  </a:lnTo>
                  <a:lnTo>
                    <a:pt x="51" y="666"/>
                  </a:lnTo>
                  <a:lnTo>
                    <a:pt x="50" y="657"/>
                  </a:lnTo>
                  <a:lnTo>
                    <a:pt x="45" y="659"/>
                  </a:lnTo>
                  <a:lnTo>
                    <a:pt x="43" y="663"/>
                  </a:lnTo>
                  <a:lnTo>
                    <a:pt x="44" y="669"/>
                  </a:lnTo>
                  <a:lnTo>
                    <a:pt x="49" y="682"/>
                  </a:lnTo>
                  <a:lnTo>
                    <a:pt x="53" y="689"/>
                  </a:lnTo>
                  <a:lnTo>
                    <a:pt x="57" y="693"/>
                  </a:lnTo>
                  <a:lnTo>
                    <a:pt x="61" y="692"/>
                  </a:lnTo>
                  <a:lnTo>
                    <a:pt x="60" y="689"/>
                  </a:lnTo>
                  <a:close/>
                  <a:moveTo>
                    <a:pt x="402" y="770"/>
                  </a:moveTo>
                  <a:lnTo>
                    <a:pt x="409" y="770"/>
                  </a:lnTo>
                  <a:lnTo>
                    <a:pt x="415" y="770"/>
                  </a:lnTo>
                  <a:lnTo>
                    <a:pt x="417" y="770"/>
                  </a:lnTo>
                  <a:lnTo>
                    <a:pt x="419" y="768"/>
                  </a:lnTo>
                  <a:lnTo>
                    <a:pt x="421" y="765"/>
                  </a:lnTo>
                  <a:lnTo>
                    <a:pt x="422" y="762"/>
                  </a:lnTo>
                  <a:lnTo>
                    <a:pt x="423" y="758"/>
                  </a:lnTo>
                  <a:lnTo>
                    <a:pt x="427" y="753"/>
                  </a:lnTo>
                  <a:lnTo>
                    <a:pt x="428" y="752"/>
                  </a:lnTo>
                  <a:lnTo>
                    <a:pt x="428" y="746"/>
                  </a:lnTo>
                  <a:lnTo>
                    <a:pt x="428" y="744"/>
                  </a:lnTo>
                  <a:lnTo>
                    <a:pt x="431" y="738"/>
                  </a:lnTo>
                  <a:lnTo>
                    <a:pt x="432" y="734"/>
                  </a:lnTo>
                  <a:lnTo>
                    <a:pt x="432" y="728"/>
                  </a:lnTo>
                  <a:lnTo>
                    <a:pt x="432" y="722"/>
                  </a:lnTo>
                  <a:lnTo>
                    <a:pt x="431" y="718"/>
                  </a:lnTo>
                  <a:lnTo>
                    <a:pt x="427" y="711"/>
                  </a:lnTo>
                  <a:lnTo>
                    <a:pt x="426" y="708"/>
                  </a:lnTo>
                  <a:lnTo>
                    <a:pt x="427" y="703"/>
                  </a:lnTo>
                  <a:lnTo>
                    <a:pt x="429" y="702"/>
                  </a:lnTo>
                  <a:lnTo>
                    <a:pt x="432" y="704"/>
                  </a:lnTo>
                  <a:lnTo>
                    <a:pt x="434" y="707"/>
                  </a:lnTo>
                  <a:lnTo>
                    <a:pt x="435" y="707"/>
                  </a:lnTo>
                  <a:lnTo>
                    <a:pt x="434" y="702"/>
                  </a:lnTo>
                  <a:lnTo>
                    <a:pt x="430" y="691"/>
                  </a:lnTo>
                  <a:lnTo>
                    <a:pt x="429" y="688"/>
                  </a:lnTo>
                  <a:lnTo>
                    <a:pt x="414" y="665"/>
                  </a:lnTo>
                  <a:lnTo>
                    <a:pt x="411" y="663"/>
                  </a:lnTo>
                  <a:lnTo>
                    <a:pt x="401" y="661"/>
                  </a:lnTo>
                  <a:lnTo>
                    <a:pt x="398" y="660"/>
                  </a:lnTo>
                  <a:lnTo>
                    <a:pt x="396" y="663"/>
                  </a:lnTo>
                  <a:lnTo>
                    <a:pt x="397" y="663"/>
                  </a:lnTo>
                  <a:lnTo>
                    <a:pt x="397" y="665"/>
                  </a:lnTo>
                  <a:lnTo>
                    <a:pt x="395" y="667"/>
                  </a:lnTo>
                  <a:lnTo>
                    <a:pt x="393" y="666"/>
                  </a:lnTo>
                  <a:lnTo>
                    <a:pt x="391" y="665"/>
                  </a:lnTo>
                  <a:lnTo>
                    <a:pt x="392" y="661"/>
                  </a:lnTo>
                  <a:lnTo>
                    <a:pt x="394" y="659"/>
                  </a:lnTo>
                  <a:lnTo>
                    <a:pt x="396" y="659"/>
                  </a:lnTo>
                  <a:lnTo>
                    <a:pt x="407" y="660"/>
                  </a:lnTo>
                  <a:lnTo>
                    <a:pt x="415" y="657"/>
                  </a:lnTo>
                  <a:lnTo>
                    <a:pt x="419" y="654"/>
                  </a:lnTo>
                  <a:lnTo>
                    <a:pt x="421" y="652"/>
                  </a:lnTo>
                  <a:lnTo>
                    <a:pt x="421" y="650"/>
                  </a:lnTo>
                  <a:lnTo>
                    <a:pt x="420" y="646"/>
                  </a:lnTo>
                  <a:lnTo>
                    <a:pt x="417" y="643"/>
                  </a:lnTo>
                  <a:lnTo>
                    <a:pt x="416" y="642"/>
                  </a:lnTo>
                  <a:lnTo>
                    <a:pt x="416" y="641"/>
                  </a:lnTo>
                  <a:lnTo>
                    <a:pt x="415" y="639"/>
                  </a:lnTo>
                  <a:lnTo>
                    <a:pt x="415" y="636"/>
                  </a:lnTo>
                  <a:lnTo>
                    <a:pt x="415" y="634"/>
                  </a:lnTo>
                  <a:lnTo>
                    <a:pt x="407" y="622"/>
                  </a:lnTo>
                  <a:lnTo>
                    <a:pt x="403" y="617"/>
                  </a:lnTo>
                  <a:lnTo>
                    <a:pt x="400" y="617"/>
                  </a:lnTo>
                  <a:lnTo>
                    <a:pt x="399" y="619"/>
                  </a:lnTo>
                  <a:lnTo>
                    <a:pt x="401" y="626"/>
                  </a:lnTo>
                  <a:lnTo>
                    <a:pt x="401" y="630"/>
                  </a:lnTo>
                  <a:lnTo>
                    <a:pt x="398" y="628"/>
                  </a:lnTo>
                  <a:lnTo>
                    <a:pt x="397" y="627"/>
                  </a:lnTo>
                  <a:lnTo>
                    <a:pt x="398" y="631"/>
                  </a:lnTo>
                  <a:lnTo>
                    <a:pt x="400" y="636"/>
                  </a:lnTo>
                  <a:lnTo>
                    <a:pt x="400" y="641"/>
                  </a:lnTo>
                  <a:lnTo>
                    <a:pt x="398" y="644"/>
                  </a:lnTo>
                  <a:lnTo>
                    <a:pt x="398" y="643"/>
                  </a:lnTo>
                  <a:lnTo>
                    <a:pt x="395" y="640"/>
                  </a:lnTo>
                  <a:lnTo>
                    <a:pt x="393" y="639"/>
                  </a:lnTo>
                  <a:lnTo>
                    <a:pt x="393" y="642"/>
                  </a:lnTo>
                  <a:lnTo>
                    <a:pt x="393" y="643"/>
                  </a:lnTo>
                  <a:lnTo>
                    <a:pt x="395" y="645"/>
                  </a:lnTo>
                  <a:lnTo>
                    <a:pt x="396" y="646"/>
                  </a:lnTo>
                  <a:lnTo>
                    <a:pt x="398" y="646"/>
                  </a:lnTo>
                  <a:lnTo>
                    <a:pt x="398" y="647"/>
                  </a:lnTo>
                  <a:lnTo>
                    <a:pt x="399" y="649"/>
                  </a:lnTo>
                  <a:lnTo>
                    <a:pt x="400" y="651"/>
                  </a:lnTo>
                  <a:lnTo>
                    <a:pt x="399" y="652"/>
                  </a:lnTo>
                  <a:lnTo>
                    <a:pt x="393" y="653"/>
                  </a:lnTo>
                  <a:lnTo>
                    <a:pt x="383" y="659"/>
                  </a:lnTo>
                  <a:lnTo>
                    <a:pt x="381" y="658"/>
                  </a:lnTo>
                  <a:lnTo>
                    <a:pt x="378" y="664"/>
                  </a:lnTo>
                  <a:lnTo>
                    <a:pt x="372" y="665"/>
                  </a:lnTo>
                  <a:lnTo>
                    <a:pt x="369" y="660"/>
                  </a:lnTo>
                  <a:lnTo>
                    <a:pt x="375" y="652"/>
                  </a:lnTo>
                  <a:lnTo>
                    <a:pt x="377" y="651"/>
                  </a:lnTo>
                  <a:lnTo>
                    <a:pt x="379" y="651"/>
                  </a:lnTo>
                  <a:lnTo>
                    <a:pt x="380" y="650"/>
                  </a:lnTo>
                  <a:lnTo>
                    <a:pt x="381" y="648"/>
                  </a:lnTo>
                  <a:lnTo>
                    <a:pt x="381" y="646"/>
                  </a:lnTo>
                  <a:lnTo>
                    <a:pt x="378" y="644"/>
                  </a:lnTo>
                  <a:lnTo>
                    <a:pt x="378" y="643"/>
                  </a:lnTo>
                  <a:lnTo>
                    <a:pt x="378" y="640"/>
                  </a:lnTo>
                  <a:lnTo>
                    <a:pt x="380" y="638"/>
                  </a:lnTo>
                  <a:lnTo>
                    <a:pt x="383" y="638"/>
                  </a:lnTo>
                  <a:lnTo>
                    <a:pt x="385" y="639"/>
                  </a:lnTo>
                  <a:lnTo>
                    <a:pt x="380" y="636"/>
                  </a:lnTo>
                  <a:lnTo>
                    <a:pt x="378" y="635"/>
                  </a:lnTo>
                  <a:lnTo>
                    <a:pt x="375" y="634"/>
                  </a:lnTo>
                  <a:lnTo>
                    <a:pt x="374" y="634"/>
                  </a:lnTo>
                  <a:lnTo>
                    <a:pt x="372" y="632"/>
                  </a:lnTo>
                  <a:lnTo>
                    <a:pt x="370" y="628"/>
                  </a:lnTo>
                  <a:lnTo>
                    <a:pt x="368" y="625"/>
                  </a:lnTo>
                  <a:lnTo>
                    <a:pt x="357" y="618"/>
                  </a:lnTo>
                  <a:lnTo>
                    <a:pt x="352" y="615"/>
                  </a:lnTo>
                  <a:lnTo>
                    <a:pt x="349" y="616"/>
                  </a:lnTo>
                  <a:lnTo>
                    <a:pt x="350" y="622"/>
                  </a:lnTo>
                  <a:lnTo>
                    <a:pt x="349" y="624"/>
                  </a:lnTo>
                  <a:lnTo>
                    <a:pt x="347" y="625"/>
                  </a:lnTo>
                  <a:lnTo>
                    <a:pt x="347" y="624"/>
                  </a:lnTo>
                  <a:lnTo>
                    <a:pt x="346" y="620"/>
                  </a:lnTo>
                  <a:lnTo>
                    <a:pt x="346" y="619"/>
                  </a:lnTo>
                  <a:lnTo>
                    <a:pt x="345" y="619"/>
                  </a:lnTo>
                  <a:lnTo>
                    <a:pt x="341" y="619"/>
                  </a:lnTo>
                  <a:lnTo>
                    <a:pt x="337" y="620"/>
                  </a:lnTo>
                  <a:lnTo>
                    <a:pt x="330" y="626"/>
                  </a:lnTo>
                  <a:lnTo>
                    <a:pt x="309" y="632"/>
                  </a:lnTo>
                  <a:lnTo>
                    <a:pt x="294" y="643"/>
                  </a:lnTo>
                  <a:lnTo>
                    <a:pt x="285" y="646"/>
                  </a:lnTo>
                  <a:lnTo>
                    <a:pt x="278" y="642"/>
                  </a:lnTo>
                  <a:lnTo>
                    <a:pt x="276" y="639"/>
                  </a:lnTo>
                  <a:lnTo>
                    <a:pt x="276" y="637"/>
                  </a:lnTo>
                  <a:lnTo>
                    <a:pt x="276" y="635"/>
                  </a:lnTo>
                  <a:lnTo>
                    <a:pt x="273" y="634"/>
                  </a:lnTo>
                  <a:lnTo>
                    <a:pt x="264" y="636"/>
                  </a:lnTo>
                  <a:lnTo>
                    <a:pt x="258" y="644"/>
                  </a:lnTo>
                  <a:lnTo>
                    <a:pt x="256" y="645"/>
                  </a:lnTo>
                  <a:lnTo>
                    <a:pt x="254" y="646"/>
                  </a:lnTo>
                  <a:lnTo>
                    <a:pt x="253" y="647"/>
                  </a:lnTo>
                  <a:lnTo>
                    <a:pt x="251" y="650"/>
                  </a:lnTo>
                  <a:lnTo>
                    <a:pt x="257" y="651"/>
                  </a:lnTo>
                  <a:lnTo>
                    <a:pt x="273" y="665"/>
                  </a:lnTo>
                  <a:lnTo>
                    <a:pt x="269" y="666"/>
                  </a:lnTo>
                  <a:lnTo>
                    <a:pt x="265" y="663"/>
                  </a:lnTo>
                  <a:lnTo>
                    <a:pt x="260" y="659"/>
                  </a:lnTo>
                  <a:lnTo>
                    <a:pt x="256" y="657"/>
                  </a:lnTo>
                  <a:lnTo>
                    <a:pt x="256" y="659"/>
                  </a:lnTo>
                  <a:lnTo>
                    <a:pt x="261" y="666"/>
                  </a:lnTo>
                  <a:lnTo>
                    <a:pt x="263" y="667"/>
                  </a:lnTo>
                  <a:lnTo>
                    <a:pt x="270" y="667"/>
                  </a:lnTo>
                  <a:lnTo>
                    <a:pt x="273" y="669"/>
                  </a:lnTo>
                  <a:lnTo>
                    <a:pt x="274" y="673"/>
                  </a:lnTo>
                  <a:lnTo>
                    <a:pt x="270" y="673"/>
                  </a:lnTo>
                  <a:lnTo>
                    <a:pt x="269" y="673"/>
                  </a:lnTo>
                  <a:lnTo>
                    <a:pt x="278" y="677"/>
                  </a:lnTo>
                  <a:lnTo>
                    <a:pt x="276" y="680"/>
                  </a:lnTo>
                  <a:lnTo>
                    <a:pt x="273" y="681"/>
                  </a:lnTo>
                  <a:lnTo>
                    <a:pt x="271" y="681"/>
                  </a:lnTo>
                  <a:lnTo>
                    <a:pt x="268" y="682"/>
                  </a:lnTo>
                  <a:lnTo>
                    <a:pt x="271" y="687"/>
                  </a:lnTo>
                  <a:lnTo>
                    <a:pt x="274" y="689"/>
                  </a:lnTo>
                  <a:lnTo>
                    <a:pt x="276" y="690"/>
                  </a:lnTo>
                  <a:lnTo>
                    <a:pt x="281" y="689"/>
                  </a:lnTo>
                  <a:lnTo>
                    <a:pt x="283" y="689"/>
                  </a:lnTo>
                  <a:lnTo>
                    <a:pt x="285" y="691"/>
                  </a:lnTo>
                  <a:lnTo>
                    <a:pt x="284" y="700"/>
                  </a:lnTo>
                  <a:lnTo>
                    <a:pt x="285" y="702"/>
                  </a:lnTo>
                  <a:lnTo>
                    <a:pt x="286" y="707"/>
                  </a:lnTo>
                  <a:lnTo>
                    <a:pt x="286" y="710"/>
                  </a:lnTo>
                  <a:lnTo>
                    <a:pt x="286" y="711"/>
                  </a:lnTo>
                  <a:lnTo>
                    <a:pt x="285" y="714"/>
                  </a:lnTo>
                  <a:lnTo>
                    <a:pt x="284" y="716"/>
                  </a:lnTo>
                  <a:lnTo>
                    <a:pt x="285" y="717"/>
                  </a:lnTo>
                  <a:lnTo>
                    <a:pt x="286" y="720"/>
                  </a:lnTo>
                  <a:lnTo>
                    <a:pt x="286" y="721"/>
                  </a:lnTo>
                  <a:lnTo>
                    <a:pt x="287" y="723"/>
                  </a:lnTo>
                  <a:lnTo>
                    <a:pt x="289" y="724"/>
                  </a:lnTo>
                  <a:lnTo>
                    <a:pt x="291" y="726"/>
                  </a:lnTo>
                  <a:lnTo>
                    <a:pt x="297" y="727"/>
                  </a:lnTo>
                  <a:lnTo>
                    <a:pt x="300" y="729"/>
                  </a:lnTo>
                  <a:lnTo>
                    <a:pt x="300" y="731"/>
                  </a:lnTo>
                  <a:lnTo>
                    <a:pt x="299" y="733"/>
                  </a:lnTo>
                  <a:lnTo>
                    <a:pt x="299" y="736"/>
                  </a:lnTo>
                  <a:lnTo>
                    <a:pt x="299" y="739"/>
                  </a:lnTo>
                  <a:lnTo>
                    <a:pt x="301" y="745"/>
                  </a:lnTo>
                  <a:lnTo>
                    <a:pt x="301" y="748"/>
                  </a:lnTo>
                  <a:lnTo>
                    <a:pt x="301" y="749"/>
                  </a:lnTo>
                  <a:lnTo>
                    <a:pt x="300" y="749"/>
                  </a:lnTo>
                  <a:lnTo>
                    <a:pt x="300" y="750"/>
                  </a:lnTo>
                  <a:lnTo>
                    <a:pt x="300" y="751"/>
                  </a:lnTo>
                  <a:lnTo>
                    <a:pt x="301" y="752"/>
                  </a:lnTo>
                  <a:lnTo>
                    <a:pt x="306" y="753"/>
                  </a:lnTo>
                  <a:lnTo>
                    <a:pt x="307" y="753"/>
                  </a:lnTo>
                  <a:lnTo>
                    <a:pt x="308" y="748"/>
                  </a:lnTo>
                  <a:lnTo>
                    <a:pt x="302" y="740"/>
                  </a:lnTo>
                  <a:lnTo>
                    <a:pt x="302" y="735"/>
                  </a:lnTo>
                  <a:lnTo>
                    <a:pt x="304" y="733"/>
                  </a:lnTo>
                  <a:lnTo>
                    <a:pt x="305" y="734"/>
                  </a:lnTo>
                  <a:lnTo>
                    <a:pt x="309" y="737"/>
                  </a:lnTo>
                  <a:lnTo>
                    <a:pt x="312" y="738"/>
                  </a:lnTo>
                  <a:lnTo>
                    <a:pt x="314" y="737"/>
                  </a:lnTo>
                  <a:lnTo>
                    <a:pt x="315" y="736"/>
                  </a:lnTo>
                  <a:lnTo>
                    <a:pt x="318" y="735"/>
                  </a:lnTo>
                  <a:lnTo>
                    <a:pt x="321" y="737"/>
                  </a:lnTo>
                  <a:lnTo>
                    <a:pt x="323" y="740"/>
                  </a:lnTo>
                  <a:lnTo>
                    <a:pt x="325" y="745"/>
                  </a:lnTo>
                  <a:lnTo>
                    <a:pt x="328" y="749"/>
                  </a:lnTo>
                  <a:lnTo>
                    <a:pt x="326" y="753"/>
                  </a:lnTo>
                  <a:lnTo>
                    <a:pt x="314" y="762"/>
                  </a:lnTo>
                  <a:lnTo>
                    <a:pt x="316" y="763"/>
                  </a:lnTo>
                  <a:lnTo>
                    <a:pt x="322" y="762"/>
                  </a:lnTo>
                  <a:lnTo>
                    <a:pt x="325" y="762"/>
                  </a:lnTo>
                  <a:lnTo>
                    <a:pt x="328" y="764"/>
                  </a:lnTo>
                  <a:lnTo>
                    <a:pt x="332" y="768"/>
                  </a:lnTo>
                  <a:lnTo>
                    <a:pt x="334" y="770"/>
                  </a:lnTo>
                  <a:lnTo>
                    <a:pt x="334" y="764"/>
                  </a:lnTo>
                  <a:lnTo>
                    <a:pt x="335" y="762"/>
                  </a:lnTo>
                  <a:lnTo>
                    <a:pt x="340" y="762"/>
                  </a:lnTo>
                  <a:lnTo>
                    <a:pt x="353" y="770"/>
                  </a:lnTo>
                  <a:lnTo>
                    <a:pt x="355" y="770"/>
                  </a:lnTo>
                  <a:lnTo>
                    <a:pt x="359" y="770"/>
                  </a:lnTo>
                  <a:lnTo>
                    <a:pt x="360" y="770"/>
                  </a:lnTo>
                  <a:lnTo>
                    <a:pt x="362" y="771"/>
                  </a:lnTo>
                  <a:lnTo>
                    <a:pt x="363" y="772"/>
                  </a:lnTo>
                  <a:lnTo>
                    <a:pt x="365" y="774"/>
                  </a:lnTo>
                  <a:lnTo>
                    <a:pt x="368" y="774"/>
                  </a:lnTo>
                  <a:lnTo>
                    <a:pt x="379" y="775"/>
                  </a:lnTo>
                  <a:lnTo>
                    <a:pt x="385" y="779"/>
                  </a:lnTo>
                  <a:lnTo>
                    <a:pt x="388" y="779"/>
                  </a:lnTo>
                  <a:lnTo>
                    <a:pt x="391" y="776"/>
                  </a:lnTo>
                  <a:lnTo>
                    <a:pt x="393" y="774"/>
                  </a:lnTo>
                  <a:lnTo>
                    <a:pt x="396" y="772"/>
                  </a:lnTo>
                  <a:lnTo>
                    <a:pt x="399" y="770"/>
                  </a:lnTo>
                  <a:lnTo>
                    <a:pt x="402" y="770"/>
                  </a:lnTo>
                  <a:close/>
                  <a:moveTo>
                    <a:pt x="718" y="596"/>
                  </a:moveTo>
                  <a:lnTo>
                    <a:pt x="718" y="594"/>
                  </a:lnTo>
                  <a:lnTo>
                    <a:pt x="718" y="594"/>
                  </a:lnTo>
                  <a:lnTo>
                    <a:pt x="717" y="592"/>
                  </a:lnTo>
                  <a:lnTo>
                    <a:pt x="715" y="595"/>
                  </a:lnTo>
                  <a:lnTo>
                    <a:pt x="712" y="602"/>
                  </a:lnTo>
                  <a:lnTo>
                    <a:pt x="711" y="605"/>
                  </a:lnTo>
                  <a:lnTo>
                    <a:pt x="709" y="607"/>
                  </a:lnTo>
                  <a:lnTo>
                    <a:pt x="707" y="609"/>
                  </a:lnTo>
                  <a:lnTo>
                    <a:pt x="705" y="612"/>
                  </a:lnTo>
                  <a:lnTo>
                    <a:pt x="703" y="615"/>
                  </a:lnTo>
                  <a:lnTo>
                    <a:pt x="703" y="621"/>
                  </a:lnTo>
                  <a:lnTo>
                    <a:pt x="705" y="629"/>
                  </a:lnTo>
                  <a:lnTo>
                    <a:pt x="709" y="634"/>
                  </a:lnTo>
                  <a:lnTo>
                    <a:pt x="712" y="633"/>
                  </a:lnTo>
                  <a:lnTo>
                    <a:pt x="714" y="631"/>
                  </a:lnTo>
                  <a:lnTo>
                    <a:pt x="716" y="629"/>
                  </a:lnTo>
                  <a:lnTo>
                    <a:pt x="720" y="627"/>
                  </a:lnTo>
                  <a:lnTo>
                    <a:pt x="722" y="627"/>
                  </a:lnTo>
                  <a:lnTo>
                    <a:pt x="727" y="620"/>
                  </a:lnTo>
                  <a:lnTo>
                    <a:pt x="727" y="619"/>
                  </a:lnTo>
                  <a:lnTo>
                    <a:pt x="718" y="596"/>
                  </a:lnTo>
                  <a:close/>
                  <a:moveTo>
                    <a:pt x="407" y="546"/>
                  </a:moveTo>
                  <a:lnTo>
                    <a:pt x="409" y="542"/>
                  </a:lnTo>
                  <a:lnTo>
                    <a:pt x="409" y="540"/>
                  </a:lnTo>
                  <a:lnTo>
                    <a:pt x="408" y="541"/>
                  </a:lnTo>
                  <a:lnTo>
                    <a:pt x="406" y="545"/>
                  </a:lnTo>
                  <a:lnTo>
                    <a:pt x="404" y="546"/>
                  </a:lnTo>
                  <a:lnTo>
                    <a:pt x="402" y="542"/>
                  </a:lnTo>
                  <a:lnTo>
                    <a:pt x="401" y="539"/>
                  </a:lnTo>
                  <a:lnTo>
                    <a:pt x="401" y="536"/>
                  </a:lnTo>
                  <a:lnTo>
                    <a:pt x="401" y="533"/>
                  </a:lnTo>
                  <a:lnTo>
                    <a:pt x="403" y="530"/>
                  </a:lnTo>
                  <a:lnTo>
                    <a:pt x="399" y="529"/>
                  </a:lnTo>
                  <a:lnTo>
                    <a:pt x="395" y="526"/>
                  </a:lnTo>
                  <a:lnTo>
                    <a:pt x="393" y="521"/>
                  </a:lnTo>
                  <a:lnTo>
                    <a:pt x="391" y="509"/>
                  </a:lnTo>
                  <a:lnTo>
                    <a:pt x="389" y="508"/>
                  </a:lnTo>
                  <a:lnTo>
                    <a:pt x="387" y="511"/>
                  </a:lnTo>
                  <a:lnTo>
                    <a:pt x="385" y="515"/>
                  </a:lnTo>
                  <a:lnTo>
                    <a:pt x="385" y="522"/>
                  </a:lnTo>
                  <a:lnTo>
                    <a:pt x="387" y="525"/>
                  </a:lnTo>
                  <a:lnTo>
                    <a:pt x="390" y="526"/>
                  </a:lnTo>
                  <a:lnTo>
                    <a:pt x="393" y="528"/>
                  </a:lnTo>
                  <a:lnTo>
                    <a:pt x="395" y="533"/>
                  </a:lnTo>
                  <a:lnTo>
                    <a:pt x="395" y="538"/>
                  </a:lnTo>
                  <a:lnTo>
                    <a:pt x="394" y="542"/>
                  </a:lnTo>
                  <a:lnTo>
                    <a:pt x="392" y="546"/>
                  </a:lnTo>
                  <a:lnTo>
                    <a:pt x="389" y="548"/>
                  </a:lnTo>
                  <a:lnTo>
                    <a:pt x="387" y="549"/>
                  </a:lnTo>
                  <a:lnTo>
                    <a:pt x="385" y="551"/>
                  </a:lnTo>
                  <a:lnTo>
                    <a:pt x="384" y="557"/>
                  </a:lnTo>
                  <a:lnTo>
                    <a:pt x="386" y="568"/>
                  </a:lnTo>
                  <a:lnTo>
                    <a:pt x="390" y="574"/>
                  </a:lnTo>
                  <a:lnTo>
                    <a:pt x="395" y="576"/>
                  </a:lnTo>
                  <a:lnTo>
                    <a:pt x="401" y="571"/>
                  </a:lnTo>
                  <a:lnTo>
                    <a:pt x="402" y="566"/>
                  </a:lnTo>
                  <a:lnTo>
                    <a:pt x="402" y="556"/>
                  </a:lnTo>
                  <a:lnTo>
                    <a:pt x="403" y="551"/>
                  </a:lnTo>
                  <a:lnTo>
                    <a:pt x="407" y="546"/>
                  </a:lnTo>
                  <a:close/>
                  <a:moveTo>
                    <a:pt x="638" y="818"/>
                  </a:moveTo>
                  <a:lnTo>
                    <a:pt x="636" y="816"/>
                  </a:lnTo>
                  <a:lnTo>
                    <a:pt x="633" y="816"/>
                  </a:lnTo>
                  <a:lnTo>
                    <a:pt x="630" y="817"/>
                  </a:lnTo>
                  <a:lnTo>
                    <a:pt x="627" y="817"/>
                  </a:lnTo>
                  <a:lnTo>
                    <a:pt x="624" y="816"/>
                  </a:lnTo>
                  <a:lnTo>
                    <a:pt x="619" y="811"/>
                  </a:lnTo>
                  <a:lnTo>
                    <a:pt x="618" y="809"/>
                  </a:lnTo>
                  <a:lnTo>
                    <a:pt x="617" y="809"/>
                  </a:lnTo>
                  <a:lnTo>
                    <a:pt x="615" y="803"/>
                  </a:lnTo>
                  <a:lnTo>
                    <a:pt x="614" y="802"/>
                  </a:lnTo>
                  <a:lnTo>
                    <a:pt x="610" y="804"/>
                  </a:lnTo>
                  <a:lnTo>
                    <a:pt x="608" y="804"/>
                  </a:lnTo>
                  <a:lnTo>
                    <a:pt x="609" y="806"/>
                  </a:lnTo>
                  <a:lnTo>
                    <a:pt x="609" y="807"/>
                  </a:lnTo>
                  <a:lnTo>
                    <a:pt x="608" y="809"/>
                  </a:lnTo>
                  <a:lnTo>
                    <a:pt x="605" y="809"/>
                  </a:lnTo>
                  <a:lnTo>
                    <a:pt x="603" y="807"/>
                  </a:lnTo>
                  <a:lnTo>
                    <a:pt x="602" y="804"/>
                  </a:lnTo>
                  <a:lnTo>
                    <a:pt x="602" y="800"/>
                  </a:lnTo>
                  <a:lnTo>
                    <a:pt x="604" y="797"/>
                  </a:lnTo>
                  <a:lnTo>
                    <a:pt x="605" y="794"/>
                  </a:lnTo>
                  <a:lnTo>
                    <a:pt x="604" y="789"/>
                  </a:lnTo>
                  <a:lnTo>
                    <a:pt x="605" y="789"/>
                  </a:lnTo>
                  <a:lnTo>
                    <a:pt x="606" y="788"/>
                  </a:lnTo>
                  <a:lnTo>
                    <a:pt x="606" y="787"/>
                  </a:lnTo>
                  <a:lnTo>
                    <a:pt x="607" y="787"/>
                  </a:lnTo>
                  <a:lnTo>
                    <a:pt x="607" y="786"/>
                  </a:lnTo>
                  <a:lnTo>
                    <a:pt x="606" y="786"/>
                  </a:lnTo>
                  <a:lnTo>
                    <a:pt x="606" y="786"/>
                  </a:lnTo>
                  <a:lnTo>
                    <a:pt x="606" y="785"/>
                  </a:lnTo>
                  <a:lnTo>
                    <a:pt x="612" y="786"/>
                  </a:lnTo>
                  <a:lnTo>
                    <a:pt x="620" y="794"/>
                  </a:lnTo>
                  <a:lnTo>
                    <a:pt x="626" y="796"/>
                  </a:lnTo>
                  <a:lnTo>
                    <a:pt x="629" y="795"/>
                  </a:lnTo>
                  <a:lnTo>
                    <a:pt x="635" y="791"/>
                  </a:lnTo>
                  <a:lnTo>
                    <a:pt x="637" y="790"/>
                  </a:lnTo>
                  <a:lnTo>
                    <a:pt x="641" y="790"/>
                  </a:lnTo>
                  <a:lnTo>
                    <a:pt x="644" y="789"/>
                  </a:lnTo>
                  <a:lnTo>
                    <a:pt x="646" y="786"/>
                  </a:lnTo>
                  <a:lnTo>
                    <a:pt x="646" y="781"/>
                  </a:lnTo>
                  <a:lnTo>
                    <a:pt x="640" y="768"/>
                  </a:lnTo>
                  <a:lnTo>
                    <a:pt x="639" y="767"/>
                  </a:lnTo>
                  <a:lnTo>
                    <a:pt x="641" y="766"/>
                  </a:lnTo>
                  <a:lnTo>
                    <a:pt x="644" y="764"/>
                  </a:lnTo>
                  <a:lnTo>
                    <a:pt x="646" y="763"/>
                  </a:lnTo>
                  <a:lnTo>
                    <a:pt x="647" y="762"/>
                  </a:lnTo>
                  <a:lnTo>
                    <a:pt x="648" y="761"/>
                  </a:lnTo>
                  <a:lnTo>
                    <a:pt x="648" y="758"/>
                  </a:lnTo>
                  <a:lnTo>
                    <a:pt x="647" y="752"/>
                  </a:lnTo>
                  <a:lnTo>
                    <a:pt x="641" y="750"/>
                  </a:lnTo>
                  <a:lnTo>
                    <a:pt x="628" y="749"/>
                  </a:lnTo>
                  <a:lnTo>
                    <a:pt x="623" y="745"/>
                  </a:lnTo>
                  <a:lnTo>
                    <a:pt x="623" y="744"/>
                  </a:lnTo>
                  <a:lnTo>
                    <a:pt x="623" y="741"/>
                  </a:lnTo>
                  <a:lnTo>
                    <a:pt x="624" y="740"/>
                  </a:lnTo>
                  <a:lnTo>
                    <a:pt x="625" y="740"/>
                  </a:lnTo>
                  <a:lnTo>
                    <a:pt x="626" y="738"/>
                  </a:lnTo>
                  <a:lnTo>
                    <a:pt x="629" y="736"/>
                  </a:lnTo>
                  <a:lnTo>
                    <a:pt x="633" y="737"/>
                  </a:lnTo>
                  <a:lnTo>
                    <a:pt x="634" y="741"/>
                  </a:lnTo>
                  <a:lnTo>
                    <a:pt x="633" y="747"/>
                  </a:lnTo>
                  <a:lnTo>
                    <a:pt x="635" y="748"/>
                  </a:lnTo>
                  <a:lnTo>
                    <a:pt x="636" y="748"/>
                  </a:lnTo>
                  <a:lnTo>
                    <a:pt x="637" y="747"/>
                  </a:lnTo>
                  <a:lnTo>
                    <a:pt x="639" y="745"/>
                  </a:lnTo>
                  <a:lnTo>
                    <a:pt x="638" y="740"/>
                  </a:lnTo>
                  <a:lnTo>
                    <a:pt x="640" y="735"/>
                  </a:lnTo>
                  <a:lnTo>
                    <a:pt x="643" y="730"/>
                  </a:lnTo>
                  <a:lnTo>
                    <a:pt x="647" y="727"/>
                  </a:lnTo>
                  <a:lnTo>
                    <a:pt x="649" y="725"/>
                  </a:lnTo>
                  <a:lnTo>
                    <a:pt x="683" y="717"/>
                  </a:lnTo>
                  <a:lnTo>
                    <a:pt x="691" y="711"/>
                  </a:lnTo>
                  <a:lnTo>
                    <a:pt x="692" y="710"/>
                  </a:lnTo>
                  <a:lnTo>
                    <a:pt x="694" y="707"/>
                  </a:lnTo>
                  <a:lnTo>
                    <a:pt x="692" y="700"/>
                  </a:lnTo>
                  <a:lnTo>
                    <a:pt x="691" y="696"/>
                  </a:lnTo>
                  <a:lnTo>
                    <a:pt x="691" y="691"/>
                  </a:lnTo>
                  <a:lnTo>
                    <a:pt x="689" y="686"/>
                  </a:lnTo>
                  <a:lnTo>
                    <a:pt x="686" y="682"/>
                  </a:lnTo>
                  <a:lnTo>
                    <a:pt x="679" y="677"/>
                  </a:lnTo>
                  <a:lnTo>
                    <a:pt x="676" y="675"/>
                  </a:lnTo>
                  <a:lnTo>
                    <a:pt x="667" y="675"/>
                  </a:lnTo>
                  <a:lnTo>
                    <a:pt x="664" y="674"/>
                  </a:lnTo>
                  <a:lnTo>
                    <a:pt x="656" y="667"/>
                  </a:lnTo>
                  <a:lnTo>
                    <a:pt x="652" y="652"/>
                  </a:lnTo>
                  <a:lnTo>
                    <a:pt x="660" y="636"/>
                  </a:lnTo>
                  <a:lnTo>
                    <a:pt x="660" y="636"/>
                  </a:lnTo>
                  <a:lnTo>
                    <a:pt x="670" y="625"/>
                  </a:lnTo>
                  <a:lnTo>
                    <a:pt x="673" y="622"/>
                  </a:lnTo>
                  <a:lnTo>
                    <a:pt x="685" y="615"/>
                  </a:lnTo>
                  <a:lnTo>
                    <a:pt x="688" y="615"/>
                  </a:lnTo>
                  <a:lnTo>
                    <a:pt x="690" y="617"/>
                  </a:lnTo>
                  <a:lnTo>
                    <a:pt x="692" y="618"/>
                  </a:lnTo>
                  <a:lnTo>
                    <a:pt x="694" y="619"/>
                  </a:lnTo>
                  <a:lnTo>
                    <a:pt x="698" y="618"/>
                  </a:lnTo>
                  <a:lnTo>
                    <a:pt x="699" y="614"/>
                  </a:lnTo>
                  <a:lnTo>
                    <a:pt x="700" y="611"/>
                  </a:lnTo>
                  <a:lnTo>
                    <a:pt x="706" y="607"/>
                  </a:lnTo>
                  <a:lnTo>
                    <a:pt x="713" y="594"/>
                  </a:lnTo>
                  <a:lnTo>
                    <a:pt x="716" y="590"/>
                  </a:lnTo>
                  <a:lnTo>
                    <a:pt x="715" y="587"/>
                  </a:lnTo>
                  <a:lnTo>
                    <a:pt x="714" y="586"/>
                  </a:lnTo>
                  <a:lnTo>
                    <a:pt x="714" y="584"/>
                  </a:lnTo>
                  <a:lnTo>
                    <a:pt x="714" y="582"/>
                  </a:lnTo>
                  <a:lnTo>
                    <a:pt x="715" y="578"/>
                  </a:lnTo>
                  <a:lnTo>
                    <a:pt x="715" y="572"/>
                  </a:lnTo>
                  <a:lnTo>
                    <a:pt x="716" y="568"/>
                  </a:lnTo>
                  <a:lnTo>
                    <a:pt x="716" y="565"/>
                  </a:lnTo>
                  <a:lnTo>
                    <a:pt x="714" y="562"/>
                  </a:lnTo>
                  <a:lnTo>
                    <a:pt x="712" y="556"/>
                  </a:lnTo>
                  <a:lnTo>
                    <a:pt x="710" y="550"/>
                  </a:lnTo>
                  <a:lnTo>
                    <a:pt x="709" y="545"/>
                  </a:lnTo>
                  <a:lnTo>
                    <a:pt x="708" y="541"/>
                  </a:lnTo>
                  <a:lnTo>
                    <a:pt x="706" y="537"/>
                  </a:lnTo>
                  <a:lnTo>
                    <a:pt x="702" y="530"/>
                  </a:lnTo>
                  <a:lnTo>
                    <a:pt x="702" y="528"/>
                  </a:lnTo>
                  <a:lnTo>
                    <a:pt x="704" y="525"/>
                  </a:lnTo>
                  <a:lnTo>
                    <a:pt x="708" y="514"/>
                  </a:lnTo>
                  <a:lnTo>
                    <a:pt x="711" y="509"/>
                  </a:lnTo>
                  <a:lnTo>
                    <a:pt x="717" y="500"/>
                  </a:lnTo>
                  <a:lnTo>
                    <a:pt x="719" y="496"/>
                  </a:lnTo>
                  <a:lnTo>
                    <a:pt x="711" y="488"/>
                  </a:lnTo>
                  <a:lnTo>
                    <a:pt x="706" y="486"/>
                  </a:lnTo>
                  <a:lnTo>
                    <a:pt x="701" y="481"/>
                  </a:lnTo>
                  <a:lnTo>
                    <a:pt x="698" y="480"/>
                  </a:lnTo>
                  <a:lnTo>
                    <a:pt x="686" y="480"/>
                  </a:lnTo>
                  <a:lnTo>
                    <a:pt x="672" y="472"/>
                  </a:lnTo>
                  <a:lnTo>
                    <a:pt x="659" y="471"/>
                  </a:lnTo>
                  <a:lnTo>
                    <a:pt x="647" y="478"/>
                  </a:lnTo>
                  <a:lnTo>
                    <a:pt x="623" y="499"/>
                  </a:lnTo>
                  <a:lnTo>
                    <a:pt x="607" y="509"/>
                  </a:lnTo>
                  <a:lnTo>
                    <a:pt x="599" y="515"/>
                  </a:lnTo>
                  <a:lnTo>
                    <a:pt x="596" y="522"/>
                  </a:lnTo>
                  <a:lnTo>
                    <a:pt x="599" y="525"/>
                  </a:lnTo>
                  <a:lnTo>
                    <a:pt x="604" y="524"/>
                  </a:lnTo>
                  <a:lnTo>
                    <a:pt x="616" y="519"/>
                  </a:lnTo>
                  <a:lnTo>
                    <a:pt x="619" y="519"/>
                  </a:lnTo>
                  <a:lnTo>
                    <a:pt x="622" y="520"/>
                  </a:lnTo>
                  <a:lnTo>
                    <a:pt x="625" y="525"/>
                  </a:lnTo>
                  <a:lnTo>
                    <a:pt x="628" y="540"/>
                  </a:lnTo>
                  <a:lnTo>
                    <a:pt x="629" y="544"/>
                  </a:lnTo>
                  <a:lnTo>
                    <a:pt x="629" y="554"/>
                  </a:lnTo>
                  <a:lnTo>
                    <a:pt x="636" y="584"/>
                  </a:lnTo>
                  <a:lnTo>
                    <a:pt x="635" y="591"/>
                  </a:lnTo>
                  <a:lnTo>
                    <a:pt x="631" y="599"/>
                  </a:lnTo>
                  <a:lnTo>
                    <a:pt x="630" y="605"/>
                  </a:lnTo>
                  <a:lnTo>
                    <a:pt x="625" y="603"/>
                  </a:lnTo>
                  <a:lnTo>
                    <a:pt x="622" y="601"/>
                  </a:lnTo>
                  <a:lnTo>
                    <a:pt x="621" y="599"/>
                  </a:lnTo>
                  <a:lnTo>
                    <a:pt x="622" y="598"/>
                  </a:lnTo>
                  <a:lnTo>
                    <a:pt x="627" y="600"/>
                  </a:lnTo>
                  <a:lnTo>
                    <a:pt x="626" y="596"/>
                  </a:lnTo>
                  <a:lnTo>
                    <a:pt x="623" y="594"/>
                  </a:lnTo>
                  <a:lnTo>
                    <a:pt x="621" y="593"/>
                  </a:lnTo>
                  <a:lnTo>
                    <a:pt x="618" y="594"/>
                  </a:lnTo>
                  <a:lnTo>
                    <a:pt x="618" y="599"/>
                  </a:lnTo>
                  <a:lnTo>
                    <a:pt x="614" y="602"/>
                  </a:lnTo>
                  <a:lnTo>
                    <a:pt x="609" y="604"/>
                  </a:lnTo>
                  <a:lnTo>
                    <a:pt x="606" y="603"/>
                  </a:lnTo>
                  <a:lnTo>
                    <a:pt x="608" y="600"/>
                  </a:lnTo>
                  <a:lnTo>
                    <a:pt x="614" y="594"/>
                  </a:lnTo>
                  <a:lnTo>
                    <a:pt x="615" y="591"/>
                  </a:lnTo>
                  <a:lnTo>
                    <a:pt x="616" y="586"/>
                  </a:lnTo>
                  <a:lnTo>
                    <a:pt x="619" y="586"/>
                  </a:lnTo>
                  <a:lnTo>
                    <a:pt x="625" y="588"/>
                  </a:lnTo>
                  <a:lnTo>
                    <a:pt x="629" y="582"/>
                  </a:lnTo>
                  <a:lnTo>
                    <a:pt x="628" y="571"/>
                  </a:lnTo>
                  <a:lnTo>
                    <a:pt x="625" y="559"/>
                  </a:lnTo>
                  <a:lnTo>
                    <a:pt x="623" y="551"/>
                  </a:lnTo>
                  <a:lnTo>
                    <a:pt x="621" y="549"/>
                  </a:lnTo>
                  <a:lnTo>
                    <a:pt x="620" y="548"/>
                  </a:lnTo>
                  <a:lnTo>
                    <a:pt x="620" y="547"/>
                  </a:lnTo>
                  <a:lnTo>
                    <a:pt x="619" y="544"/>
                  </a:lnTo>
                  <a:lnTo>
                    <a:pt x="619" y="541"/>
                  </a:lnTo>
                  <a:lnTo>
                    <a:pt x="620" y="538"/>
                  </a:lnTo>
                  <a:lnTo>
                    <a:pt x="620" y="535"/>
                  </a:lnTo>
                  <a:lnTo>
                    <a:pt x="619" y="534"/>
                  </a:lnTo>
                  <a:lnTo>
                    <a:pt x="616" y="533"/>
                  </a:lnTo>
                  <a:lnTo>
                    <a:pt x="610" y="527"/>
                  </a:lnTo>
                  <a:lnTo>
                    <a:pt x="607" y="526"/>
                  </a:lnTo>
                  <a:lnTo>
                    <a:pt x="606" y="532"/>
                  </a:lnTo>
                  <a:lnTo>
                    <a:pt x="610" y="540"/>
                  </a:lnTo>
                  <a:lnTo>
                    <a:pt x="613" y="549"/>
                  </a:lnTo>
                  <a:lnTo>
                    <a:pt x="610" y="557"/>
                  </a:lnTo>
                  <a:lnTo>
                    <a:pt x="608" y="559"/>
                  </a:lnTo>
                  <a:lnTo>
                    <a:pt x="602" y="560"/>
                  </a:lnTo>
                  <a:lnTo>
                    <a:pt x="600" y="563"/>
                  </a:lnTo>
                  <a:lnTo>
                    <a:pt x="597" y="569"/>
                  </a:lnTo>
                  <a:lnTo>
                    <a:pt x="596" y="573"/>
                  </a:lnTo>
                  <a:lnTo>
                    <a:pt x="595" y="577"/>
                  </a:lnTo>
                  <a:lnTo>
                    <a:pt x="596" y="578"/>
                  </a:lnTo>
                  <a:lnTo>
                    <a:pt x="597" y="581"/>
                  </a:lnTo>
                  <a:lnTo>
                    <a:pt x="598" y="583"/>
                  </a:lnTo>
                  <a:lnTo>
                    <a:pt x="597" y="584"/>
                  </a:lnTo>
                  <a:lnTo>
                    <a:pt x="597" y="584"/>
                  </a:lnTo>
                  <a:lnTo>
                    <a:pt x="590" y="598"/>
                  </a:lnTo>
                  <a:lnTo>
                    <a:pt x="588" y="601"/>
                  </a:lnTo>
                  <a:lnTo>
                    <a:pt x="585" y="603"/>
                  </a:lnTo>
                  <a:lnTo>
                    <a:pt x="587" y="599"/>
                  </a:lnTo>
                  <a:lnTo>
                    <a:pt x="588" y="597"/>
                  </a:lnTo>
                  <a:lnTo>
                    <a:pt x="588" y="596"/>
                  </a:lnTo>
                  <a:lnTo>
                    <a:pt x="587" y="592"/>
                  </a:lnTo>
                  <a:lnTo>
                    <a:pt x="583" y="586"/>
                  </a:lnTo>
                  <a:lnTo>
                    <a:pt x="580" y="584"/>
                  </a:lnTo>
                  <a:lnTo>
                    <a:pt x="579" y="585"/>
                  </a:lnTo>
                  <a:lnTo>
                    <a:pt x="578" y="586"/>
                  </a:lnTo>
                  <a:lnTo>
                    <a:pt x="570" y="586"/>
                  </a:lnTo>
                  <a:lnTo>
                    <a:pt x="568" y="586"/>
                  </a:lnTo>
                  <a:lnTo>
                    <a:pt x="566" y="584"/>
                  </a:lnTo>
                  <a:lnTo>
                    <a:pt x="567" y="582"/>
                  </a:lnTo>
                  <a:lnTo>
                    <a:pt x="570" y="581"/>
                  </a:lnTo>
                  <a:lnTo>
                    <a:pt x="583" y="579"/>
                  </a:lnTo>
                  <a:lnTo>
                    <a:pt x="583" y="576"/>
                  </a:lnTo>
                  <a:lnTo>
                    <a:pt x="582" y="572"/>
                  </a:lnTo>
                  <a:lnTo>
                    <a:pt x="580" y="567"/>
                  </a:lnTo>
                  <a:lnTo>
                    <a:pt x="579" y="565"/>
                  </a:lnTo>
                  <a:lnTo>
                    <a:pt x="576" y="565"/>
                  </a:lnTo>
                  <a:lnTo>
                    <a:pt x="573" y="566"/>
                  </a:lnTo>
                  <a:lnTo>
                    <a:pt x="571" y="568"/>
                  </a:lnTo>
                  <a:lnTo>
                    <a:pt x="569" y="569"/>
                  </a:lnTo>
                  <a:lnTo>
                    <a:pt x="561" y="570"/>
                  </a:lnTo>
                  <a:lnTo>
                    <a:pt x="558" y="569"/>
                  </a:lnTo>
                  <a:lnTo>
                    <a:pt x="558" y="567"/>
                  </a:lnTo>
                  <a:lnTo>
                    <a:pt x="561" y="567"/>
                  </a:lnTo>
                  <a:lnTo>
                    <a:pt x="563" y="565"/>
                  </a:lnTo>
                  <a:lnTo>
                    <a:pt x="566" y="561"/>
                  </a:lnTo>
                  <a:lnTo>
                    <a:pt x="568" y="560"/>
                  </a:lnTo>
                  <a:lnTo>
                    <a:pt x="573" y="562"/>
                  </a:lnTo>
                  <a:lnTo>
                    <a:pt x="576" y="561"/>
                  </a:lnTo>
                  <a:lnTo>
                    <a:pt x="578" y="556"/>
                  </a:lnTo>
                  <a:lnTo>
                    <a:pt x="575" y="548"/>
                  </a:lnTo>
                  <a:lnTo>
                    <a:pt x="567" y="534"/>
                  </a:lnTo>
                  <a:lnTo>
                    <a:pt x="569" y="532"/>
                  </a:lnTo>
                  <a:lnTo>
                    <a:pt x="571" y="530"/>
                  </a:lnTo>
                  <a:lnTo>
                    <a:pt x="576" y="530"/>
                  </a:lnTo>
                  <a:lnTo>
                    <a:pt x="575" y="533"/>
                  </a:lnTo>
                  <a:lnTo>
                    <a:pt x="575" y="534"/>
                  </a:lnTo>
                  <a:lnTo>
                    <a:pt x="577" y="535"/>
                  </a:lnTo>
                  <a:lnTo>
                    <a:pt x="580" y="535"/>
                  </a:lnTo>
                  <a:lnTo>
                    <a:pt x="581" y="533"/>
                  </a:lnTo>
                  <a:lnTo>
                    <a:pt x="579" y="530"/>
                  </a:lnTo>
                  <a:lnTo>
                    <a:pt x="580" y="527"/>
                  </a:lnTo>
                  <a:lnTo>
                    <a:pt x="585" y="521"/>
                  </a:lnTo>
                  <a:lnTo>
                    <a:pt x="585" y="519"/>
                  </a:lnTo>
                  <a:lnTo>
                    <a:pt x="584" y="516"/>
                  </a:lnTo>
                  <a:lnTo>
                    <a:pt x="580" y="517"/>
                  </a:lnTo>
                  <a:lnTo>
                    <a:pt x="575" y="520"/>
                  </a:lnTo>
                  <a:lnTo>
                    <a:pt x="564" y="524"/>
                  </a:lnTo>
                  <a:lnTo>
                    <a:pt x="557" y="524"/>
                  </a:lnTo>
                  <a:lnTo>
                    <a:pt x="554" y="521"/>
                  </a:lnTo>
                  <a:lnTo>
                    <a:pt x="530" y="518"/>
                  </a:lnTo>
                  <a:lnTo>
                    <a:pt x="525" y="519"/>
                  </a:lnTo>
                  <a:lnTo>
                    <a:pt x="505" y="509"/>
                  </a:lnTo>
                  <a:lnTo>
                    <a:pt x="506" y="514"/>
                  </a:lnTo>
                  <a:lnTo>
                    <a:pt x="510" y="517"/>
                  </a:lnTo>
                  <a:lnTo>
                    <a:pt x="523" y="522"/>
                  </a:lnTo>
                  <a:lnTo>
                    <a:pt x="533" y="522"/>
                  </a:lnTo>
                  <a:lnTo>
                    <a:pt x="538" y="525"/>
                  </a:lnTo>
                  <a:lnTo>
                    <a:pt x="543" y="534"/>
                  </a:lnTo>
                  <a:lnTo>
                    <a:pt x="542" y="545"/>
                  </a:lnTo>
                  <a:lnTo>
                    <a:pt x="538" y="553"/>
                  </a:lnTo>
                  <a:lnTo>
                    <a:pt x="532" y="551"/>
                  </a:lnTo>
                  <a:lnTo>
                    <a:pt x="529" y="555"/>
                  </a:lnTo>
                  <a:lnTo>
                    <a:pt x="525" y="557"/>
                  </a:lnTo>
                  <a:lnTo>
                    <a:pt x="521" y="556"/>
                  </a:lnTo>
                  <a:lnTo>
                    <a:pt x="517" y="554"/>
                  </a:lnTo>
                  <a:lnTo>
                    <a:pt x="518" y="556"/>
                  </a:lnTo>
                  <a:lnTo>
                    <a:pt x="521" y="560"/>
                  </a:lnTo>
                  <a:lnTo>
                    <a:pt x="521" y="562"/>
                  </a:lnTo>
                  <a:lnTo>
                    <a:pt x="521" y="564"/>
                  </a:lnTo>
                  <a:lnTo>
                    <a:pt x="520" y="568"/>
                  </a:lnTo>
                  <a:lnTo>
                    <a:pt x="520" y="570"/>
                  </a:lnTo>
                  <a:lnTo>
                    <a:pt x="520" y="574"/>
                  </a:lnTo>
                  <a:lnTo>
                    <a:pt x="518" y="577"/>
                  </a:lnTo>
                  <a:lnTo>
                    <a:pt x="515" y="578"/>
                  </a:lnTo>
                  <a:lnTo>
                    <a:pt x="510" y="579"/>
                  </a:lnTo>
                  <a:lnTo>
                    <a:pt x="504" y="583"/>
                  </a:lnTo>
                  <a:lnTo>
                    <a:pt x="502" y="584"/>
                  </a:lnTo>
                  <a:lnTo>
                    <a:pt x="496" y="584"/>
                  </a:lnTo>
                  <a:lnTo>
                    <a:pt x="493" y="584"/>
                  </a:lnTo>
                  <a:lnTo>
                    <a:pt x="492" y="582"/>
                  </a:lnTo>
                  <a:lnTo>
                    <a:pt x="490" y="584"/>
                  </a:lnTo>
                  <a:lnTo>
                    <a:pt x="496" y="590"/>
                  </a:lnTo>
                  <a:lnTo>
                    <a:pt x="492" y="592"/>
                  </a:lnTo>
                  <a:lnTo>
                    <a:pt x="488" y="591"/>
                  </a:lnTo>
                  <a:lnTo>
                    <a:pt x="484" y="587"/>
                  </a:lnTo>
                  <a:lnTo>
                    <a:pt x="481" y="582"/>
                  </a:lnTo>
                  <a:lnTo>
                    <a:pt x="482" y="581"/>
                  </a:lnTo>
                  <a:lnTo>
                    <a:pt x="484" y="580"/>
                  </a:lnTo>
                  <a:lnTo>
                    <a:pt x="486" y="580"/>
                  </a:lnTo>
                  <a:lnTo>
                    <a:pt x="487" y="580"/>
                  </a:lnTo>
                  <a:lnTo>
                    <a:pt x="487" y="579"/>
                  </a:lnTo>
                  <a:lnTo>
                    <a:pt x="482" y="579"/>
                  </a:lnTo>
                  <a:lnTo>
                    <a:pt x="472" y="584"/>
                  </a:lnTo>
                  <a:lnTo>
                    <a:pt x="467" y="584"/>
                  </a:lnTo>
                  <a:lnTo>
                    <a:pt x="442" y="580"/>
                  </a:lnTo>
                  <a:lnTo>
                    <a:pt x="442" y="582"/>
                  </a:lnTo>
                  <a:lnTo>
                    <a:pt x="444" y="584"/>
                  </a:lnTo>
                  <a:lnTo>
                    <a:pt x="453" y="584"/>
                  </a:lnTo>
                  <a:lnTo>
                    <a:pt x="455" y="586"/>
                  </a:lnTo>
                  <a:lnTo>
                    <a:pt x="457" y="587"/>
                  </a:lnTo>
                  <a:lnTo>
                    <a:pt x="458" y="589"/>
                  </a:lnTo>
                  <a:lnTo>
                    <a:pt x="459" y="592"/>
                  </a:lnTo>
                  <a:lnTo>
                    <a:pt x="463" y="595"/>
                  </a:lnTo>
                  <a:lnTo>
                    <a:pt x="473" y="599"/>
                  </a:lnTo>
                  <a:lnTo>
                    <a:pt x="476" y="603"/>
                  </a:lnTo>
                  <a:lnTo>
                    <a:pt x="451" y="602"/>
                  </a:lnTo>
                  <a:lnTo>
                    <a:pt x="451" y="603"/>
                  </a:lnTo>
                  <a:lnTo>
                    <a:pt x="468" y="608"/>
                  </a:lnTo>
                  <a:lnTo>
                    <a:pt x="476" y="613"/>
                  </a:lnTo>
                  <a:lnTo>
                    <a:pt x="483" y="622"/>
                  </a:lnTo>
                  <a:lnTo>
                    <a:pt x="485" y="627"/>
                  </a:lnTo>
                  <a:lnTo>
                    <a:pt x="485" y="633"/>
                  </a:lnTo>
                  <a:lnTo>
                    <a:pt x="484" y="637"/>
                  </a:lnTo>
                  <a:lnTo>
                    <a:pt x="479" y="638"/>
                  </a:lnTo>
                  <a:lnTo>
                    <a:pt x="477" y="638"/>
                  </a:lnTo>
                  <a:lnTo>
                    <a:pt x="476" y="639"/>
                  </a:lnTo>
                  <a:lnTo>
                    <a:pt x="475" y="641"/>
                  </a:lnTo>
                  <a:lnTo>
                    <a:pt x="475" y="645"/>
                  </a:lnTo>
                  <a:lnTo>
                    <a:pt x="475" y="647"/>
                  </a:lnTo>
                  <a:lnTo>
                    <a:pt x="477" y="646"/>
                  </a:lnTo>
                  <a:lnTo>
                    <a:pt x="480" y="644"/>
                  </a:lnTo>
                  <a:lnTo>
                    <a:pt x="483" y="644"/>
                  </a:lnTo>
                  <a:lnTo>
                    <a:pt x="486" y="646"/>
                  </a:lnTo>
                  <a:lnTo>
                    <a:pt x="488" y="648"/>
                  </a:lnTo>
                  <a:lnTo>
                    <a:pt x="490" y="652"/>
                  </a:lnTo>
                  <a:lnTo>
                    <a:pt x="493" y="662"/>
                  </a:lnTo>
                  <a:lnTo>
                    <a:pt x="494" y="668"/>
                  </a:lnTo>
                  <a:lnTo>
                    <a:pt x="494" y="671"/>
                  </a:lnTo>
                  <a:lnTo>
                    <a:pt x="496" y="672"/>
                  </a:lnTo>
                  <a:lnTo>
                    <a:pt x="496" y="675"/>
                  </a:lnTo>
                  <a:lnTo>
                    <a:pt x="494" y="679"/>
                  </a:lnTo>
                  <a:lnTo>
                    <a:pt x="491" y="680"/>
                  </a:lnTo>
                  <a:lnTo>
                    <a:pt x="489" y="681"/>
                  </a:lnTo>
                  <a:lnTo>
                    <a:pt x="487" y="682"/>
                  </a:lnTo>
                  <a:lnTo>
                    <a:pt x="485" y="683"/>
                  </a:lnTo>
                  <a:lnTo>
                    <a:pt x="484" y="685"/>
                  </a:lnTo>
                  <a:lnTo>
                    <a:pt x="482" y="686"/>
                  </a:lnTo>
                  <a:lnTo>
                    <a:pt x="480" y="686"/>
                  </a:lnTo>
                  <a:lnTo>
                    <a:pt x="476" y="686"/>
                  </a:lnTo>
                  <a:lnTo>
                    <a:pt x="476" y="688"/>
                  </a:lnTo>
                  <a:lnTo>
                    <a:pt x="478" y="694"/>
                  </a:lnTo>
                  <a:lnTo>
                    <a:pt x="479" y="696"/>
                  </a:lnTo>
                  <a:lnTo>
                    <a:pt x="481" y="696"/>
                  </a:lnTo>
                  <a:lnTo>
                    <a:pt x="482" y="694"/>
                  </a:lnTo>
                  <a:lnTo>
                    <a:pt x="483" y="691"/>
                  </a:lnTo>
                  <a:lnTo>
                    <a:pt x="484" y="690"/>
                  </a:lnTo>
                  <a:lnTo>
                    <a:pt x="486" y="690"/>
                  </a:lnTo>
                  <a:lnTo>
                    <a:pt x="488" y="690"/>
                  </a:lnTo>
                  <a:lnTo>
                    <a:pt x="491" y="690"/>
                  </a:lnTo>
                  <a:lnTo>
                    <a:pt x="492" y="692"/>
                  </a:lnTo>
                  <a:lnTo>
                    <a:pt x="491" y="695"/>
                  </a:lnTo>
                  <a:lnTo>
                    <a:pt x="490" y="696"/>
                  </a:lnTo>
                  <a:lnTo>
                    <a:pt x="487" y="696"/>
                  </a:lnTo>
                  <a:lnTo>
                    <a:pt x="486" y="696"/>
                  </a:lnTo>
                  <a:lnTo>
                    <a:pt x="487" y="699"/>
                  </a:lnTo>
                  <a:lnTo>
                    <a:pt x="496" y="707"/>
                  </a:lnTo>
                  <a:lnTo>
                    <a:pt x="499" y="709"/>
                  </a:lnTo>
                  <a:lnTo>
                    <a:pt x="500" y="710"/>
                  </a:lnTo>
                  <a:lnTo>
                    <a:pt x="500" y="717"/>
                  </a:lnTo>
                  <a:lnTo>
                    <a:pt x="500" y="719"/>
                  </a:lnTo>
                  <a:lnTo>
                    <a:pt x="504" y="718"/>
                  </a:lnTo>
                  <a:lnTo>
                    <a:pt x="505" y="718"/>
                  </a:lnTo>
                  <a:lnTo>
                    <a:pt x="507" y="716"/>
                  </a:lnTo>
                  <a:lnTo>
                    <a:pt x="506" y="720"/>
                  </a:lnTo>
                  <a:lnTo>
                    <a:pt x="504" y="722"/>
                  </a:lnTo>
                  <a:lnTo>
                    <a:pt x="502" y="722"/>
                  </a:lnTo>
                  <a:lnTo>
                    <a:pt x="500" y="720"/>
                  </a:lnTo>
                  <a:lnTo>
                    <a:pt x="501" y="728"/>
                  </a:lnTo>
                  <a:lnTo>
                    <a:pt x="503" y="732"/>
                  </a:lnTo>
                  <a:lnTo>
                    <a:pt x="507" y="733"/>
                  </a:lnTo>
                  <a:lnTo>
                    <a:pt x="513" y="734"/>
                  </a:lnTo>
                  <a:lnTo>
                    <a:pt x="509" y="732"/>
                  </a:lnTo>
                  <a:lnTo>
                    <a:pt x="509" y="730"/>
                  </a:lnTo>
                  <a:lnTo>
                    <a:pt x="520" y="730"/>
                  </a:lnTo>
                  <a:lnTo>
                    <a:pt x="522" y="729"/>
                  </a:lnTo>
                  <a:lnTo>
                    <a:pt x="527" y="726"/>
                  </a:lnTo>
                  <a:lnTo>
                    <a:pt x="529" y="726"/>
                  </a:lnTo>
                  <a:lnTo>
                    <a:pt x="540" y="731"/>
                  </a:lnTo>
                  <a:lnTo>
                    <a:pt x="542" y="730"/>
                  </a:lnTo>
                  <a:lnTo>
                    <a:pt x="545" y="731"/>
                  </a:lnTo>
                  <a:lnTo>
                    <a:pt x="557" y="735"/>
                  </a:lnTo>
                  <a:lnTo>
                    <a:pt x="563" y="737"/>
                  </a:lnTo>
                  <a:lnTo>
                    <a:pt x="565" y="737"/>
                  </a:lnTo>
                  <a:lnTo>
                    <a:pt x="567" y="735"/>
                  </a:lnTo>
                  <a:lnTo>
                    <a:pt x="569" y="732"/>
                  </a:lnTo>
                  <a:lnTo>
                    <a:pt x="572" y="730"/>
                  </a:lnTo>
                  <a:lnTo>
                    <a:pt x="576" y="730"/>
                  </a:lnTo>
                  <a:lnTo>
                    <a:pt x="578" y="732"/>
                  </a:lnTo>
                  <a:lnTo>
                    <a:pt x="578" y="735"/>
                  </a:lnTo>
                  <a:lnTo>
                    <a:pt x="577" y="739"/>
                  </a:lnTo>
                  <a:lnTo>
                    <a:pt x="575" y="741"/>
                  </a:lnTo>
                  <a:lnTo>
                    <a:pt x="577" y="745"/>
                  </a:lnTo>
                  <a:lnTo>
                    <a:pt x="586" y="744"/>
                  </a:lnTo>
                  <a:lnTo>
                    <a:pt x="590" y="747"/>
                  </a:lnTo>
                  <a:lnTo>
                    <a:pt x="590" y="749"/>
                  </a:lnTo>
                  <a:lnTo>
                    <a:pt x="589" y="750"/>
                  </a:lnTo>
                  <a:lnTo>
                    <a:pt x="576" y="753"/>
                  </a:lnTo>
                  <a:lnTo>
                    <a:pt x="580" y="760"/>
                  </a:lnTo>
                  <a:lnTo>
                    <a:pt x="589" y="767"/>
                  </a:lnTo>
                  <a:lnTo>
                    <a:pt x="593" y="774"/>
                  </a:lnTo>
                  <a:lnTo>
                    <a:pt x="585" y="772"/>
                  </a:lnTo>
                  <a:lnTo>
                    <a:pt x="568" y="764"/>
                  </a:lnTo>
                  <a:lnTo>
                    <a:pt x="559" y="762"/>
                  </a:lnTo>
                  <a:lnTo>
                    <a:pt x="562" y="765"/>
                  </a:lnTo>
                  <a:lnTo>
                    <a:pt x="564" y="767"/>
                  </a:lnTo>
                  <a:lnTo>
                    <a:pt x="567" y="769"/>
                  </a:lnTo>
                  <a:lnTo>
                    <a:pt x="577" y="770"/>
                  </a:lnTo>
                  <a:lnTo>
                    <a:pt x="579" y="770"/>
                  </a:lnTo>
                  <a:lnTo>
                    <a:pt x="581" y="773"/>
                  </a:lnTo>
                  <a:lnTo>
                    <a:pt x="582" y="774"/>
                  </a:lnTo>
                  <a:lnTo>
                    <a:pt x="585" y="774"/>
                  </a:lnTo>
                  <a:lnTo>
                    <a:pt x="595" y="779"/>
                  </a:lnTo>
                  <a:lnTo>
                    <a:pt x="597" y="782"/>
                  </a:lnTo>
                  <a:lnTo>
                    <a:pt x="600" y="790"/>
                  </a:lnTo>
                  <a:lnTo>
                    <a:pt x="602" y="793"/>
                  </a:lnTo>
                  <a:lnTo>
                    <a:pt x="602" y="794"/>
                  </a:lnTo>
                  <a:lnTo>
                    <a:pt x="598" y="798"/>
                  </a:lnTo>
                  <a:lnTo>
                    <a:pt x="596" y="799"/>
                  </a:lnTo>
                  <a:lnTo>
                    <a:pt x="595" y="797"/>
                  </a:lnTo>
                  <a:lnTo>
                    <a:pt x="595" y="797"/>
                  </a:lnTo>
                  <a:lnTo>
                    <a:pt x="591" y="801"/>
                  </a:lnTo>
                  <a:lnTo>
                    <a:pt x="589" y="802"/>
                  </a:lnTo>
                  <a:lnTo>
                    <a:pt x="588" y="801"/>
                  </a:lnTo>
                  <a:lnTo>
                    <a:pt x="584" y="797"/>
                  </a:lnTo>
                  <a:lnTo>
                    <a:pt x="582" y="796"/>
                  </a:lnTo>
                  <a:lnTo>
                    <a:pt x="581" y="797"/>
                  </a:lnTo>
                  <a:lnTo>
                    <a:pt x="575" y="802"/>
                  </a:lnTo>
                  <a:lnTo>
                    <a:pt x="575" y="804"/>
                  </a:lnTo>
                  <a:lnTo>
                    <a:pt x="578" y="805"/>
                  </a:lnTo>
                  <a:lnTo>
                    <a:pt x="579" y="808"/>
                  </a:lnTo>
                  <a:lnTo>
                    <a:pt x="580" y="812"/>
                  </a:lnTo>
                  <a:lnTo>
                    <a:pt x="580" y="817"/>
                  </a:lnTo>
                  <a:lnTo>
                    <a:pt x="581" y="823"/>
                  </a:lnTo>
                  <a:lnTo>
                    <a:pt x="583" y="825"/>
                  </a:lnTo>
                  <a:lnTo>
                    <a:pt x="585" y="827"/>
                  </a:lnTo>
                  <a:lnTo>
                    <a:pt x="588" y="830"/>
                  </a:lnTo>
                  <a:lnTo>
                    <a:pt x="589" y="833"/>
                  </a:lnTo>
                  <a:lnTo>
                    <a:pt x="589" y="834"/>
                  </a:lnTo>
                  <a:lnTo>
                    <a:pt x="589" y="835"/>
                  </a:lnTo>
                  <a:lnTo>
                    <a:pt x="589" y="838"/>
                  </a:lnTo>
                  <a:lnTo>
                    <a:pt x="589" y="840"/>
                  </a:lnTo>
                  <a:lnTo>
                    <a:pt x="590" y="841"/>
                  </a:lnTo>
                  <a:lnTo>
                    <a:pt x="598" y="849"/>
                  </a:lnTo>
                  <a:lnTo>
                    <a:pt x="599" y="852"/>
                  </a:lnTo>
                  <a:lnTo>
                    <a:pt x="600" y="853"/>
                  </a:lnTo>
                  <a:lnTo>
                    <a:pt x="602" y="854"/>
                  </a:lnTo>
                  <a:lnTo>
                    <a:pt x="600" y="859"/>
                  </a:lnTo>
                  <a:lnTo>
                    <a:pt x="601" y="862"/>
                  </a:lnTo>
                  <a:lnTo>
                    <a:pt x="603" y="863"/>
                  </a:lnTo>
                  <a:lnTo>
                    <a:pt x="606" y="864"/>
                  </a:lnTo>
                  <a:lnTo>
                    <a:pt x="602" y="871"/>
                  </a:lnTo>
                  <a:lnTo>
                    <a:pt x="600" y="875"/>
                  </a:lnTo>
                  <a:lnTo>
                    <a:pt x="600" y="881"/>
                  </a:lnTo>
                  <a:lnTo>
                    <a:pt x="601" y="885"/>
                  </a:lnTo>
                  <a:lnTo>
                    <a:pt x="606" y="895"/>
                  </a:lnTo>
                  <a:lnTo>
                    <a:pt x="608" y="898"/>
                  </a:lnTo>
                  <a:lnTo>
                    <a:pt x="609" y="902"/>
                  </a:lnTo>
                  <a:lnTo>
                    <a:pt x="612" y="906"/>
                  </a:lnTo>
                  <a:lnTo>
                    <a:pt x="616" y="906"/>
                  </a:lnTo>
                  <a:lnTo>
                    <a:pt x="616" y="896"/>
                  </a:lnTo>
                  <a:lnTo>
                    <a:pt x="614" y="880"/>
                  </a:lnTo>
                  <a:lnTo>
                    <a:pt x="614" y="872"/>
                  </a:lnTo>
                  <a:lnTo>
                    <a:pt x="617" y="868"/>
                  </a:lnTo>
                  <a:lnTo>
                    <a:pt x="618" y="867"/>
                  </a:lnTo>
                  <a:lnTo>
                    <a:pt x="623" y="862"/>
                  </a:lnTo>
                  <a:lnTo>
                    <a:pt x="624" y="860"/>
                  </a:lnTo>
                  <a:lnTo>
                    <a:pt x="625" y="858"/>
                  </a:lnTo>
                  <a:lnTo>
                    <a:pt x="631" y="846"/>
                  </a:lnTo>
                  <a:lnTo>
                    <a:pt x="633" y="843"/>
                  </a:lnTo>
                  <a:lnTo>
                    <a:pt x="647" y="832"/>
                  </a:lnTo>
                  <a:lnTo>
                    <a:pt x="647" y="830"/>
                  </a:lnTo>
                  <a:lnTo>
                    <a:pt x="643" y="825"/>
                  </a:lnTo>
                  <a:lnTo>
                    <a:pt x="638" y="818"/>
                  </a:lnTo>
                  <a:close/>
                  <a:moveTo>
                    <a:pt x="545" y="312"/>
                  </a:moveTo>
                  <a:lnTo>
                    <a:pt x="548" y="314"/>
                  </a:lnTo>
                  <a:lnTo>
                    <a:pt x="551" y="314"/>
                  </a:lnTo>
                  <a:lnTo>
                    <a:pt x="554" y="313"/>
                  </a:lnTo>
                  <a:lnTo>
                    <a:pt x="556" y="310"/>
                  </a:lnTo>
                  <a:lnTo>
                    <a:pt x="558" y="307"/>
                  </a:lnTo>
                  <a:lnTo>
                    <a:pt x="560" y="305"/>
                  </a:lnTo>
                  <a:lnTo>
                    <a:pt x="563" y="303"/>
                  </a:lnTo>
                  <a:lnTo>
                    <a:pt x="564" y="302"/>
                  </a:lnTo>
                  <a:lnTo>
                    <a:pt x="564" y="301"/>
                  </a:lnTo>
                  <a:lnTo>
                    <a:pt x="565" y="301"/>
                  </a:lnTo>
                  <a:lnTo>
                    <a:pt x="565" y="299"/>
                  </a:lnTo>
                  <a:lnTo>
                    <a:pt x="558" y="302"/>
                  </a:lnTo>
                  <a:lnTo>
                    <a:pt x="545" y="303"/>
                  </a:lnTo>
                  <a:lnTo>
                    <a:pt x="543" y="305"/>
                  </a:lnTo>
                  <a:lnTo>
                    <a:pt x="543" y="309"/>
                  </a:lnTo>
                  <a:lnTo>
                    <a:pt x="545" y="312"/>
                  </a:lnTo>
                  <a:close/>
                  <a:moveTo>
                    <a:pt x="71" y="290"/>
                  </a:moveTo>
                  <a:lnTo>
                    <a:pt x="70" y="291"/>
                  </a:lnTo>
                  <a:lnTo>
                    <a:pt x="69" y="292"/>
                  </a:lnTo>
                  <a:lnTo>
                    <a:pt x="68" y="293"/>
                  </a:lnTo>
                  <a:lnTo>
                    <a:pt x="67" y="297"/>
                  </a:lnTo>
                  <a:lnTo>
                    <a:pt x="69" y="297"/>
                  </a:lnTo>
                  <a:lnTo>
                    <a:pt x="74" y="295"/>
                  </a:lnTo>
                  <a:lnTo>
                    <a:pt x="75" y="295"/>
                  </a:lnTo>
                  <a:lnTo>
                    <a:pt x="79" y="297"/>
                  </a:lnTo>
                  <a:lnTo>
                    <a:pt x="82" y="301"/>
                  </a:lnTo>
                  <a:lnTo>
                    <a:pt x="84" y="304"/>
                  </a:lnTo>
                  <a:lnTo>
                    <a:pt x="88" y="313"/>
                  </a:lnTo>
                  <a:lnTo>
                    <a:pt x="90" y="314"/>
                  </a:lnTo>
                  <a:lnTo>
                    <a:pt x="95" y="311"/>
                  </a:lnTo>
                  <a:lnTo>
                    <a:pt x="107" y="308"/>
                  </a:lnTo>
                  <a:lnTo>
                    <a:pt x="108" y="303"/>
                  </a:lnTo>
                  <a:lnTo>
                    <a:pt x="115" y="298"/>
                  </a:lnTo>
                  <a:lnTo>
                    <a:pt x="117" y="295"/>
                  </a:lnTo>
                  <a:lnTo>
                    <a:pt x="119" y="291"/>
                  </a:lnTo>
                  <a:lnTo>
                    <a:pt x="121" y="285"/>
                  </a:lnTo>
                  <a:lnTo>
                    <a:pt x="123" y="281"/>
                  </a:lnTo>
                  <a:lnTo>
                    <a:pt x="122" y="280"/>
                  </a:lnTo>
                  <a:lnTo>
                    <a:pt x="121" y="279"/>
                  </a:lnTo>
                  <a:lnTo>
                    <a:pt x="122" y="280"/>
                  </a:lnTo>
                  <a:lnTo>
                    <a:pt x="123" y="279"/>
                  </a:lnTo>
                  <a:lnTo>
                    <a:pt x="124" y="279"/>
                  </a:lnTo>
                  <a:lnTo>
                    <a:pt x="125" y="277"/>
                  </a:lnTo>
                  <a:lnTo>
                    <a:pt x="123" y="276"/>
                  </a:lnTo>
                  <a:lnTo>
                    <a:pt x="121" y="273"/>
                  </a:lnTo>
                  <a:lnTo>
                    <a:pt x="120" y="263"/>
                  </a:lnTo>
                  <a:lnTo>
                    <a:pt x="119" y="262"/>
                  </a:lnTo>
                  <a:lnTo>
                    <a:pt x="119" y="261"/>
                  </a:lnTo>
                  <a:lnTo>
                    <a:pt x="118" y="259"/>
                  </a:lnTo>
                  <a:lnTo>
                    <a:pt x="119" y="256"/>
                  </a:lnTo>
                  <a:lnTo>
                    <a:pt x="119" y="255"/>
                  </a:lnTo>
                  <a:lnTo>
                    <a:pt x="123" y="251"/>
                  </a:lnTo>
                  <a:lnTo>
                    <a:pt x="124" y="252"/>
                  </a:lnTo>
                  <a:lnTo>
                    <a:pt x="126" y="254"/>
                  </a:lnTo>
                  <a:lnTo>
                    <a:pt x="126" y="256"/>
                  </a:lnTo>
                  <a:lnTo>
                    <a:pt x="126" y="259"/>
                  </a:lnTo>
                  <a:lnTo>
                    <a:pt x="128" y="258"/>
                  </a:lnTo>
                  <a:lnTo>
                    <a:pt x="129" y="257"/>
                  </a:lnTo>
                  <a:lnTo>
                    <a:pt x="130" y="253"/>
                  </a:lnTo>
                  <a:lnTo>
                    <a:pt x="132" y="244"/>
                  </a:lnTo>
                  <a:lnTo>
                    <a:pt x="132" y="243"/>
                  </a:lnTo>
                  <a:lnTo>
                    <a:pt x="132" y="241"/>
                  </a:lnTo>
                  <a:lnTo>
                    <a:pt x="130" y="237"/>
                  </a:lnTo>
                  <a:lnTo>
                    <a:pt x="130" y="236"/>
                  </a:lnTo>
                  <a:lnTo>
                    <a:pt x="130" y="233"/>
                  </a:lnTo>
                  <a:lnTo>
                    <a:pt x="132" y="230"/>
                  </a:lnTo>
                  <a:lnTo>
                    <a:pt x="133" y="227"/>
                  </a:lnTo>
                  <a:lnTo>
                    <a:pt x="131" y="227"/>
                  </a:lnTo>
                  <a:lnTo>
                    <a:pt x="129" y="231"/>
                  </a:lnTo>
                  <a:lnTo>
                    <a:pt x="127" y="234"/>
                  </a:lnTo>
                  <a:lnTo>
                    <a:pt x="123" y="232"/>
                  </a:lnTo>
                  <a:lnTo>
                    <a:pt x="118" y="243"/>
                  </a:lnTo>
                  <a:lnTo>
                    <a:pt x="115" y="247"/>
                  </a:lnTo>
                  <a:lnTo>
                    <a:pt x="111" y="246"/>
                  </a:lnTo>
                  <a:lnTo>
                    <a:pt x="106" y="248"/>
                  </a:lnTo>
                  <a:lnTo>
                    <a:pt x="97" y="250"/>
                  </a:lnTo>
                  <a:lnTo>
                    <a:pt x="93" y="251"/>
                  </a:lnTo>
                  <a:lnTo>
                    <a:pt x="92" y="251"/>
                  </a:lnTo>
                  <a:lnTo>
                    <a:pt x="90" y="251"/>
                  </a:lnTo>
                  <a:lnTo>
                    <a:pt x="89" y="251"/>
                  </a:lnTo>
                  <a:lnTo>
                    <a:pt x="88" y="252"/>
                  </a:lnTo>
                  <a:lnTo>
                    <a:pt x="89" y="257"/>
                  </a:lnTo>
                  <a:lnTo>
                    <a:pt x="89" y="260"/>
                  </a:lnTo>
                  <a:lnTo>
                    <a:pt x="90" y="259"/>
                  </a:lnTo>
                  <a:lnTo>
                    <a:pt x="88" y="262"/>
                  </a:lnTo>
                  <a:lnTo>
                    <a:pt x="85" y="267"/>
                  </a:lnTo>
                  <a:lnTo>
                    <a:pt x="84" y="270"/>
                  </a:lnTo>
                  <a:lnTo>
                    <a:pt x="86" y="271"/>
                  </a:lnTo>
                  <a:lnTo>
                    <a:pt x="88" y="271"/>
                  </a:lnTo>
                  <a:lnTo>
                    <a:pt x="90" y="271"/>
                  </a:lnTo>
                  <a:lnTo>
                    <a:pt x="92" y="271"/>
                  </a:lnTo>
                  <a:lnTo>
                    <a:pt x="88" y="276"/>
                  </a:lnTo>
                  <a:lnTo>
                    <a:pt x="76" y="278"/>
                  </a:lnTo>
                  <a:lnTo>
                    <a:pt x="72" y="281"/>
                  </a:lnTo>
                  <a:lnTo>
                    <a:pt x="72" y="282"/>
                  </a:lnTo>
                  <a:lnTo>
                    <a:pt x="73" y="285"/>
                  </a:lnTo>
                  <a:lnTo>
                    <a:pt x="73" y="288"/>
                  </a:lnTo>
                  <a:lnTo>
                    <a:pt x="73" y="289"/>
                  </a:lnTo>
                  <a:lnTo>
                    <a:pt x="71" y="290"/>
                  </a:lnTo>
                  <a:close/>
                  <a:moveTo>
                    <a:pt x="444" y="149"/>
                  </a:moveTo>
                  <a:lnTo>
                    <a:pt x="448" y="152"/>
                  </a:lnTo>
                  <a:lnTo>
                    <a:pt x="454" y="153"/>
                  </a:lnTo>
                  <a:lnTo>
                    <a:pt x="458" y="160"/>
                  </a:lnTo>
                  <a:lnTo>
                    <a:pt x="461" y="163"/>
                  </a:lnTo>
                  <a:lnTo>
                    <a:pt x="466" y="162"/>
                  </a:lnTo>
                  <a:lnTo>
                    <a:pt x="469" y="159"/>
                  </a:lnTo>
                  <a:lnTo>
                    <a:pt x="470" y="155"/>
                  </a:lnTo>
                  <a:lnTo>
                    <a:pt x="472" y="151"/>
                  </a:lnTo>
                  <a:lnTo>
                    <a:pt x="476" y="147"/>
                  </a:lnTo>
                  <a:lnTo>
                    <a:pt x="477" y="142"/>
                  </a:lnTo>
                  <a:lnTo>
                    <a:pt x="475" y="138"/>
                  </a:lnTo>
                  <a:lnTo>
                    <a:pt x="472" y="136"/>
                  </a:lnTo>
                  <a:lnTo>
                    <a:pt x="485" y="133"/>
                  </a:lnTo>
                  <a:lnTo>
                    <a:pt x="488" y="134"/>
                  </a:lnTo>
                  <a:lnTo>
                    <a:pt x="492" y="135"/>
                  </a:lnTo>
                  <a:lnTo>
                    <a:pt x="493" y="132"/>
                  </a:lnTo>
                  <a:lnTo>
                    <a:pt x="493" y="129"/>
                  </a:lnTo>
                  <a:lnTo>
                    <a:pt x="492" y="126"/>
                  </a:lnTo>
                  <a:lnTo>
                    <a:pt x="491" y="124"/>
                  </a:lnTo>
                  <a:lnTo>
                    <a:pt x="489" y="124"/>
                  </a:lnTo>
                  <a:lnTo>
                    <a:pt x="484" y="124"/>
                  </a:lnTo>
                  <a:lnTo>
                    <a:pt x="478" y="127"/>
                  </a:lnTo>
                  <a:lnTo>
                    <a:pt x="466" y="127"/>
                  </a:lnTo>
                  <a:lnTo>
                    <a:pt x="463" y="130"/>
                  </a:lnTo>
                  <a:lnTo>
                    <a:pt x="460" y="131"/>
                  </a:lnTo>
                  <a:lnTo>
                    <a:pt x="453" y="132"/>
                  </a:lnTo>
                  <a:lnTo>
                    <a:pt x="449" y="135"/>
                  </a:lnTo>
                  <a:lnTo>
                    <a:pt x="444" y="140"/>
                  </a:lnTo>
                  <a:lnTo>
                    <a:pt x="439" y="142"/>
                  </a:lnTo>
                  <a:lnTo>
                    <a:pt x="439" y="144"/>
                  </a:lnTo>
                  <a:lnTo>
                    <a:pt x="441" y="146"/>
                  </a:lnTo>
                  <a:lnTo>
                    <a:pt x="444" y="149"/>
                  </a:lnTo>
                  <a:close/>
                  <a:moveTo>
                    <a:pt x="261" y="793"/>
                  </a:moveTo>
                  <a:lnTo>
                    <a:pt x="260" y="789"/>
                  </a:lnTo>
                  <a:lnTo>
                    <a:pt x="258" y="787"/>
                  </a:lnTo>
                  <a:lnTo>
                    <a:pt x="249" y="785"/>
                  </a:lnTo>
                  <a:lnTo>
                    <a:pt x="246" y="782"/>
                  </a:lnTo>
                  <a:lnTo>
                    <a:pt x="240" y="775"/>
                  </a:lnTo>
                  <a:lnTo>
                    <a:pt x="236" y="774"/>
                  </a:lnTo>
                  <a:lnTo>
                    <a:pt x="235" y="774"/>
                  </a:lnTo>
                  <a:lnTo>
                    <a:pt x="233" y="775"/>
                  </a:lnTo>
                  <a:lnTo>
                    <a:pt x="232" y="776"/>
                  </a:lnTo>
                  <a:lnTo>
                    <a:pt x="231" y="777"/>
                  </a:lnTo>
                  <a:lnTo>
                    <a:pt x="230" y="778"/>
                  </a:lnTo>
                  <a:lnTo>
                    <a:pt x="226" y="777"/>
                  </a:lnTo>
                  <a:lnTo>
                    <a:pt x="217" y="781"/>
                  </a:lnTo>
                  <a:lnTo>
                    <a:pt x="215" y="781"/>
                  </a:lnTo>
                  <a:lnTo>
                    <a:pt x="213" y="777"/>
                  </a:lnTo>
                  <a:lnTo>
                    <a:pt x="216" y="775"/>
                  </a:lnTo>
                  <a:lnTo>
                    <a:pt x="223" y="774"/>
                  </a:lnTo>
                  <a:lnTo>
                    <a:pt x="226" y="772"/>
                  </a:lnTo>
                  <a:lnTo>
                    <a:pt x="229" y="769"/>
                  </a:lnTo>
                  <a:lnTo>
                    <a:pt x="233" y="764"/>
                  </a:lnTo>
                  <a:lnTo>
                    <a:pt x="229" y="758"/>
                  </a:lnTo>
                  <a:lnTo>
                    <a:pt x="227" y="755"/>
                  </a:lnTo>
                  <a:lnTo>
                    <a:pt x="225" y="755"/>
                  </a:lnTo>
                  <a:lnTo>
                    <a:pt x="220" y="754"/>
                  </a:lnTo>
                  <a:lnTo>
                    <a:pt x="218" y="754"/>
                  </a:lnTo>
                  <a:lnTo>
                    <a:pt x="217" y="753"/>
                  </a:lnTo>
                  <a:lnTo>
                    <a:pt x="219" y="751"/>
                  </a:lnTo>
                  <a:lnTo>
                    <a:pt x="221" y="750"/>
                  </a:lnTo>
                  <a:lnTo>
                    <a:pt x="226" y="750"/>
                  </a:lnTo>
                  <a:lnTo>
                    <a:pt x="226" y="749"/>
                  </a:lnTo>
                  <a:lnTo>
                    <a:pt x="223" y="749"/>
                  </a:lnTo>
                  <a:lnTo>
                    <a:pt x="222" y="747"/>
                  </a:lnTo>
                  <a:lnTo>
                    <a:pt x="222" y="744"/>
                  </a:lnTo>
                  <a:lnTo>
                    <a:pt x="223" y="743"/>
                  </a:lnTo>
                  <a:lnTo>
                    <a:pt x="225" y="743"/>
                  </a:lnTo>
                  <a:lnTo>
                    <a:pt x="227" y="742"/>
                  </a:lnTo>
                  <a:lnTo>
                    <a:pt x="231" y="739"/>
                  </a:lnTo>
                  <a:lnTo>
                    <a:pt x="232" y="737"/>
                  </a:lnTo>
                  <a:lnTo>
                    <a:pt x="233" y="736"/>
                  </a:lnTo>
                  <a:lnTo>
                    <a:pt x="235" y="734"/>
                  </a:lnTo>
                  <a:lnTo>
                    <a:pt x="237" y="734"/>
                  </a:lnTo>
                  <a:lnTo>
                    <a:pt x="246" y="735"/>
                  </a:lnTo>
                  <a:lnTo>
                    <a:pt x="248" y="735"/>
                  </a:lnTo>
                  <a:lnTo>
                    <a:pt x="251" y="734"/>
                  </a:lnTo>
                  <a:lnTo>
                    <a:pt x="253" y="733"/>
                  </a:lnTo>
                  <a:lnTo>
                    <a:pt x="254" y="731"/>
                  </a:lnTo>
                  <a:lnTo>
                    <a:pt x="254" y="726"/>
                  </a:lnTo>
                  <a:lnTo>
                    <a:pt x="255" y="724"/>
                  </a:lnTo>
                  <a:lnTo>
                    <a:pt x="256" y="722"/>
                  </a:lnTo>
                  <a:lnTo>
                    <a:pt x="257" y="719"/>
                  </a:lnTo>
                  <a:lnTo>
                    <a:pt x="256" y="714"/>
                  </a:lnTo>
                  <a:lnTo>
                    <a:pt x="254" y="712"/>
                  </a:lnTo>
                  <a:lnTo>
                    <a:pt x="252" y="711"/>
                  </a:lnTo>
                  <a:lnTo>
                    <a:pt x="246" y="701"/>
                  </a:lnTo>
                  <a:lnTo>
                    <a:pt x="245" y="699"/>
                  </a:lnTo>
                  <a:lnTo>
                    <a:pt x="245" y="697"/>
                  </a:lnTo>
                  <a:lnTo>
                    <a:pt x="247" y="695"/>
                  </a:lnTo>
                  <a:lnTo>
                    <a:pt x="247" y="692"/>
                  </a:lnTo>
                  <a:lnTo>
                    <a:pt x="245" y="690"/>
                  </a:lnTo>
                  <a:lnTo>
                    <a:pt x="243" y="688"/>
                  </a:lnTo>
                  <a:lnTo>
                    <a:pt x="240" y="686"/>
                  </a:lnTo>
                  <a:lnTo>
                    <a:pt x="239" y="684"/>
                  </a:lnTo>
                  <a:lnTo>
                    <a:pt x="240" y="682"/>
                  </a:lnTo>
                  <a:lnTo>
                    <a:pt x="241" y="678"/>
                  </a:lnTo>
                  <a:lnTo>
                    <a:pt x="240" y="676"/>
                  </a:lnTo>
                  <a:lnTo>
                    <a:pt x="238" y="672"/>
                  </a:lnTo>
                  <a:lnTo>
                    <a:pt x="237" y="669"/>
                  </a:lnTo>
                  <a:lnTo>
                    <a:pt x="240" y="667"/>
                  </a:lnTo>
                  <a:lnTo>
                    <a:pt x="245" y="667"/>
                  </a:lnTo>
                  <a:lnTo>
                    <a:pt x="247" y="665"/>
                  </a:lnTo>
                  <a:lnTo>
                    <a:pt x="249" y="662"/>
                  </a:lnTo>
                  <a:lnTo>
                    <a:pt x="250" y="658"/>
                  </a:lnTo>
                  <a:lnTo>
                    <a:pt x="249" y="655"/>
                  </a:lnTo>
                  <a:lnTo>
                    <a:pt x="240" y="650"/>
                  </a:lnTo>
                  <a:lnTo>
                    <a:pt x="238" y="650"/>
                  </a:lnTo>
                  <a:lnTo>
                    <a:pt x="237" y="651"/>
                  </a:lnTo>
                  <a:lnTo>
                    <a:pt x="229" y="653"/>
                  </a:lnTo>
                  <a:lnTo>
                    <a:pt x="226" y="653"/>
                  </a:lnTo>
                  <a:lnTo>
                    <a:pt x="223" y="652"/>
                  </a:lnTo>
                  <a:lnTo>
                    <a:pt x="226" y="649"/>
                  </a:lnTo>
                  <a:lnTo>
                    <a:pt x="232" y="647"/>
                  </a:lnTo>
                  <a:lnTo>
                    <a:pt x="234" y="644"/>
                  </a:lnTo>
                  <a:lnTo>
                    <a:pt x="233" y="643"/>
                  </a:lnTo>
                  <a:lnTo>
                    <a:pt x="233" y="642"/>
                  </a:lnTo>
                  <a:lnTo>
                    <a:pt x="235" y="642"/>
                  </a:lnTo>
                  <a:lnTo>
                    <a:pt x="239" y="643"/>
                  </a:lnTo>
                  <a:lnTo>
                    <a:pt x="241" y="644"/>
                  </a:lnTo>
                  <a:lnTo>
                    <a:pt x="243" y="643"/>
                  </a:lnTo>
                  <a:lnTo>
                    <a:pt x="246" y="641"/>
                  </a:lnTo>
                  <a:lnTo>
                    <a:pt x="256" y="638"/>
                  </a:lnTo>
                  <a:lnTo>
                    <a:pt x="257" y="637"/>
                  </a:lnTo>
                  <a:lnTo>
                    <a:pt x="257" y="634"/>
                  </a:lnTo>
                  <a:lnTo>
                    <a:pt x="257" y="632"/>
                  </a:lnTo>
                  <a:lnTo>
                    <a:pt x="259" y="630"/>
                  </a:lnTo>
                  <a:lnTo>
                    <a:pt x="262" y="630"/>
                  </a:lnTo>
                  <a:lnTo>
                    <a:pt x="265" y="628"/>
                  </a:lnTo>
                  <a:lnTo>
                    <a:pt x="269" y="623"/>
                  </a:lnTo>
                  <a:lnTo>
                    <a:pt x="277" y="616"/>
                  </a:lnTo>
                  <a:lnTo>
                    <a:pt x="280" y="613"/>
                  </a:lnTo>
                  <a:lnTo>
                    <a:pt x="265" y="613"/>
                  </a:lnTo>
                  <a:lnTo>
                    <a:pt x="261" y="612"/>
                  </a:lnTo>
                  <a:lnTo>
                    <a:pt x="260" y="610"/>
                  </a:lnTo>
                  <a:lnTo>
                    <a:pt x="259" y="607"/>
                  </a:lnTo>
                  <a:lnTo>
                    <a:pt x="257" y="603"/>
                  </a:lnTo>
                  <a:lnTo>
                    <a:pt x="249" y="595"/>
                  </a:lnTo>
                  <a:lnTo>
                    <a:pt x="247" y="594"/>
                  </a:lnTo>
                  <a:lnTo>
                    <a:pt x="235" y="594"/>
                  </a:lnTo>
                  <a:lnTo>
                    <a:pt x="232" y="592"/>
                  </a:lnTo>
                  <a:lnTo>
                    <a:pt x="232" y="591"/>
                  </a:lnTo>
                  <a:lnTo>
                    <a:pt x="232" y="590"/>
                  </a:lnTo>
                  <a:lnTo>
                    <a:pt x="232" y="589"/>
                  </a:lnTo>
                  <a:lnTo>
                    <a:pt x="233" y="588"/>
                  </a:lnTo>
                  <a:lnTo>
                    <a:pt x="237" y="590"/>
                  </a:lnTo>
                  <a:lnTo>
                    <a:pt x="253" y="590"/>
                  </a:lnTo>
                  <a:lnTo>
                    <a:pt x="255" y="591"/>
                  </a:lnTo>
                  <a:lnTo>
                    <a:pt x="260" y="596"/>
                  </a:lnTo>
                  <a:lnTo>
                    <a:pt x="270" y="600"/>
                  </a:lnTo>
                  <a:lnTo>
                    <a:pt x="275" y="599"/>
                  </a:lnTo>
                  <a:lnTo>
                    <a:pt x="283" y="595"/>
                  </a:lnTo>
                  <a:lnTo>
                    <a:pt x="300" y="590"/>
                  </a:lnTo>
                  <a:lnTo>
                    <a:pt x="304" y="592"/>
                  </a:lnTo>
                  <a:lnTo>
                    <a:pt x="305" y="590"/>
                  </a:lnTo>
                  <a:lnTo>
                    <a:pt x="306" y="590"/>
                  </a:lnTo>
                  <a:lnTo>
                    <a:pt x="304" y="585"/>
                  </a:lnTo>
                  <a:lnTo>
                    <a:pt x="306" y="582"/>
                  </a:lnTo>
                  <a:lnTo>
                    <a:pt x="312" y="579"/>
                  </a:lnTo>
                  <a:lnTo>
                    <a:pt x="312" y="577"/>
                  </a:lnTo>
                  <a:lnTo>
                    <a:pt x="308" y="577"/>
                  </a:lnTo>
                  <a:lnTo>
                    <a:pt x="306" y="576"/>
                  </a:lnTo>
                  <a:lnTo>
                    <a:pt x="306" y="574"/>
                  </a:lnTo>
                  <a:lnTo>
                    <a:pt x="307" y="569"/>
                  </a:lnTo>
                  <a:lnTo>
                    <a:pt x="310" y="563"/>
                  </a:lnTo>
                  <a:lnTo>
                    <a:pt x="310" y="560"/>
                  </a:lnTo>
                  <a:lnTo>
                    <a:pt x="309" y="559"/>
                  </a:lnTo>
                  <a:lnTo>
                    <a:pt x="286" y="554"/>
                  </a:lnTo>
                  <a:lnTo>
                    <a:pt x="282" y="550"/>
                  </a:lnTo>
                  <a:lnTo>
                    <a:pt x="286" y="549"/>
                  </a:lnTo>
                  <a:lnTo>
                    <a:pt x="294" y="549"/>
                  </a:lnTo>
                  <a:lnTo>
                    <a:pt x="298" y="548"/>
                  </a:lnTo>
                  <a:lnTo>
                    <a:pt x="299" y="546"/>
                  </a:lnTo>
                  <a:lnTo>
                    <a:pt x="300" y="544"/>
                  </a:lnTo>
                  <a:lnTo>
                    <a:pt x="302" y="543"/>
                  </a:lnTo>
                  <a:lnTo>
                    <a:pt x="304" y="542"/>
                  </a:lnTo>
                  <a:lnTo>
                    <a:pt x="319" y="541"/>
                  </a:lnTo>
                  <a:lnTo>
                    <a:pt x="321" y="542"/>
                  </a:lnTo>
                  <a:lnTo>
                    <a:pt x="323" y="544"/>
                  </a:lnTo>
                  <a:lnTo>
                    <a:pt x="323" y="546"/>
                  </a:lnTo>
                  <a:lnTo>
                    <a:pt x="324" y="548"/>
                  </a:lnTo>
                  <a:lnTo>
                    <a:pt x="325" y="550"/>
                  </a:lnTo>
                  <a:lnTo>
                    <a:pt x="327" y="554"/>
                  </a:lnTo>
                  <a:lnTo>
                    <a:pt x="329" y="555"/>
                  </a:lnTo>
                  <a:lnTo>
                    <a:pt x="330" y="555"/>
                  </a:lnTo>
                  <a:lnTo>
                    <a:pt x="332" y="555"/>
                  </a:lnTo>
                  <a:lnTo>
                    <a:pt x="333" y="554"/>
                  </a:lnTo>
                  <a:lnTo>
                    <a:pt x="333" y="552"/>
                  </a:lnTo>
                  <a:lnTo>
                    <a:pt x="334" y="550"/>
                  </a:lnTo>
                  <a:lnTo>
                    <a:pt x="334" y="547"/>
                  </a:lnTo>
                  <a:lnTo>
                    <a:pt x="333" y="544"/>
                  </a:lnTo>
                  <a:lnTo>
                    <a:pt x="332" y="544"/>
                  </a:lnTo>
                  <a:lnTo>
                    <a:pt x="333" y="542"/>
                  </a:lnTo>
                  <a:lnTo>
                    <a:pt x="335" y="540"/>
                  </a:lnTo>
                  <a:lnTo>
                    <a:pt x="337" y="539"/>
                  </a:lnTo>
                  <a:lnTo>
                    <a:pt x="338" y="539"/>
                  </a:lnTo>
                  <a:lnTo>
                    <a:pt x="338" y="537"/>
                  </a:lnTo>
                  <a:lnTo>
                    <a:pt x="342" y="532"/>
                  </a:lnTo>
                  <a:lnTo>
                    <a:pt x="343" y="530"/>
                  </a:lnTo>
                  <a:lnTo>
                    <a:pt x="343" y="527"/>
                  </a:lnTo>
                  <a:lnTo>
                    <a:pt x="343" y="522"/>
                  </a:lnTo>
                  <a:lnTo>
                    <a:pt x="343" y="515"/>
                  </a:lnTo>
                  <a:lnTo>
                    <a:pt x="343" y="512"/>
                  </a:lnTo>
                  <a:lnTo>
                    <a:pt x="347" y="503"/>
                  </a:lnTo>
                  <a:lnTo>
                    <a:pt x="346" y="501"/>
                  </a:lnTo>
                  <a:lnTo>
                    <a:pt x="344" y="501"/>
                  </a:lnTo>
                  <a:lnTo>
                    <a:pt x="340" y="503"/>
                  </a:lnTo>
                  <a:lnTo>
                    <a:pt x="343" y="497"/>
                  </a:lnTo>
                  <a:lnTo>
                    <a:pt x="344" y="492"/>
                  </a:lnTo>
                  <a:lnTo>
                    <a:pt x="345" y="487"/>
                  </a:lnTo>
                  <a:lnTo>
                    <a:pt x="344" y="480"/>
                  </a:lnTo>
                  <a:lnTo>
                    <a:pt x="342" y="474"/>
                  </a:lnTo>
                  <a:lnTo>
                    <a:pt x="339" y="470"/>
                  </a:lnTo>
                  <a:lnTo>
                    <a:pt x="338" y="466"/>
                  </a:lnTo>
                  <a:lnTo>
                    <a:pt x="340" y="459"/>
                  </a:lnTo>
                  <a:lnTo>
                    <a:pt x="344" y="454"/>
                  </a:lnTo>
                  <a:lnTo>
                    <a:pt x="353" y="447"/>
                  </a:lnTo>
                  <a:lnTo>
                    <a:pt x="356" y="442"/>
                  </a:lnTo>
                  <a:lnTo>
                    <a:pt x="361" y="432"/>
                  </a:lnTo>
                  <a:lnTo>
                    <a:pt x="362" y="431"/>
                  </a:lnTo>
                  <a:lnTo>
                    <a:pt x="364" y="430"/>
                  </a:lnTo>
                  <a:lnTo>
                    <a:pt x="365" y="429"/>
                  </a:lnTo>
                  <a:lnTo>
                    <a:pt x="366" y="427"/>
                  </a:lnTo>
                  <a:lnTo>
                    <a:pt x="367" y="423"/>
                  </a:lnTo>
                  <a:lnTo>
                    <a:pt x="369" y="425"/>
                  </a:lnTo>
                  <a:lnTo>
                    <a:pt x="373" y="423"/>
                  </a:lnTo>
                  <a:lnTo>
                    <a:pt x="375" y="424"/>
                  </a:lnTo>
                  <a:lnTo>
                    <a:pt x="377" y="426"/>
                  </a:lnTo>
                  <a:lnTo>
                    <a:pt x="379" y="428"/>
                  </a:lnTo>
                  <a:lnTo>
                    <a:pt x="381" y="429"/>
                  </a:lnTo>
                  <a:lnTo>
                    <a:pt x="383" y="429"/>
                  </a:lnTo>
                  <a:lnTo>
                    <a:pt x="378" y="438"/>
                  </a:lnTo>
                  <a:lnTo>
                    <a:pt x="378" y="442"/>
                  </a:lnTo>
                  <a:lnTo>
                    <a:pt x="381" y="446"/>
                  </a:lnTo>
                  <a:lnTo>
                    <a:pt x="379" y="450"/>
                  </a:lnTo>
                  <a:lnTo>
                    <a:pt x="376" y="449"/>
                  </a:lnTo>
                  <a:lnTo>
                    <a:pt x="374" y="446"/>
                  </a:lnTo>
                  <a:lnTo>
                    <a:pt x="371" y="445"/>
                  </a:lnTo>
                  <a:lnTo>
                    <a:pt x="368" y="446"/>
                  </a:lnTo>
                  <a:lnTo>
                    <a:pt x="363" y="450"/>
                  </a:lnTo>
                  <a:lnTo>
                    <a:pt x="359" y="450"/>
                  </a:lnTo>
                  <a:lnTo>
                    <a:pt x="363" y="455"/>
                  </a:lnTo>
                  <a:lnTo>
                    <a:pt x="365" y="459"/>
                  </a:lnTo>
                  <a:lnTo>
                    <a:pt x="368" y="461"/>
                  </a:lnTo>
                  <a:lnTo>
                    <a:pt x="372" y="460"/>
                  </a:lnTo>
                  <a:lnTo>
                    <a:pt x="376" y="458"/>
                  </a:lnTo>
                  <a:lnTo>
                    <a:pt x="377" y="457"/>
                  </a:lnTo>
                  <a:lnTo>
                    <a:pt x="384" y="460"/>
                  </a:lnTo>
                  <a:lnTo>
                    <a:pt x="385" y="461"/>
                  </a:lnTo>
                  <a:lnTo>
                    <a:pt x="386" y="464"/>
                  </a:lnTo>
                  <a:lnTo>
                    <a:pt x="385" y="465"/>
                  </a:lnTo>
                  <a:lnTo>
                    <a:pt x="382" y="467"/>
                  </a:lnTo>
                  <a:lnTo>
                    <a:pt x="381" y="468"/>
                  </a:lnTo>
                  <a:lnTo>
                    <a:pt x="382" y="471"/>
                  </a:lnTo>
                  <a:lnTo>
                    <a:pt x="384" y="476"/>
                  </a:lnTo>
                  <a:lnTo>
                    <a:pt x="385" y="479"/>
                  </a:lnTo>
                  <a:lnTo>
                    <a:pt x="387" y="479"/>
                  </a:lnTo>
                  <a:lnTo>
                    <a:pt x="390" y="479"/>
                  </a:lnTo>
                  <a:lnTo>
                    <a:pt x="393" y="478"/>
                  </a:lnTo>
                  <a:lnTo>
                    <a:pt x="394" y="476"/>
                  </a:lnTo>
                  <a:lnTo>
                    <a:pt x="393" y="471"/>
                  </a:lnTo>
                  <a:lnTo>
                    <a:pt x="391" y="464"/>
                  </a:lnTo>
                  <a:lnTo>
                    <a:pt x="390" y="457"/>
                  </a:lnTo>
                  <a:lnTo>
                    <a:pt x="395" y="451"/>
                  </a:lnTo>
                  <a:lnTo>
                    <a:pt x="399" y="445"/>
                  </a:lnTo>
                  <a:lnTo>
                    <a:pt x="403" y="440"/>
                  </a:lnTo>
                  <a:lnTo>
                    <a:pt x="407" y="442"/>
                  </a:lnTo>
                  <a:lnTo>
                    <a:pt x="408" y="443"/>
                  </a:lnTo>
                  <a:lnTo>
                    <a:pt x="411" y="443"/>
                  </a:lnTo>
                  <a:lnTo>
                    <a:pt x="412" y="445"/>
                  </a:lnTo>
                  <a:lnTo>
                    <a:pt x="413" y="448"/>
                  </a:lnTo>
                  <a:lnTo>
                    <a:pt x="412" y="452"/>
                  </a:lnTo>
                  <a:lnTo>
                    <a:pt x="410" y="454"/>
                  </a:lnTo>
                  <a:lnTo>
                    <a:pt x="406" y="454"/>
                  </a:lnTo>
                  <a:lnTo>
                    <a:pt x="410" y="461"/>
                  </a:lnTo>
                  <a:lnTo>
                    <a:pt x="415" y="465"/>
                  </a:lnTo>
                  <a:lnTo>
                    <a:pt x="420" y="464"/>
                  </a:lnTo>
                  <a:lnTo>
                    <a:pt x="422" y="455"/>
                  </a:lnTo>
                  <a:lnTo>
                    <a:pt x="422" y="447"/>
                  </a:lnTo>
                  <a:lnTo>
                    <a:pt x="423" y="443"/>
                  </a:lnTo>
                  <a:lnTo>
                    <a:pt x="426" y="439"/>
                  </a:lnTo>
                  <a:lnTo>
                    <a:pt x="433" y="434"/>
                  </a:lnTo>
                  <a:lnTo>
                    <a:pt x="448" y="413"/>
                  </a:lnTo>
                  <a:lnTo>
                    <a:pt x="449" y="406"/>
                  </a:lnTo>
                  <a:lnTo>
                    <a:pt x="450" y="400"/>
                  </a:lnTo>
                  <a:lnTo>
                    <a:pt x="450" y="392"/>
                  </a:lnTo>
                  <a:lnTo>
                    <a:pt x="452" y="385"/>
                  </a:lnTo>
                  <a:lnTo>
                    <a:pt x="456" y="382"/>
                  </a:lnTo>
                  <a:lnTo>
                    <a:pt x="456" y="380"/>
                  </a:lnTo>
                  <a:lnTo>
                    <a:pt x="446" y="370"/>
                  </a:lnTo>
                  <a:lnTo>
                    <a:pt x="441" y="361"/>
                  </a:lnTo>
                  <a:lnTo>
                    <a:pt x="439" y="358"/>
                  </a:lnTo>
                  <a:lnTo>
                    <a:pt x="433" y="355"/>
                  </a:lnTo>
                  <a:lnTo>
                    <a:pt x="428" y="355"/>
                  </a:lnTo>
                  <a:lnTo>
                    <a:pt x="391" y="361"/>
                  </a:lnTo>
                  <a:lnTo>
                    <a:pt x="378" y="359"/>
                  </a:lnTo>
                  <a:lnTo>
                    <a:pt x="366" y="352"/>
                  </a:lnTo>
                  <a:lnTo>
                    <a:pt x="361" y="349"/>
                  </a:lnTo>
                  <a:lnTo>
                    <a:pt x="360" y="348"/>
                  </a:lnTo>
                  <a:lnTo>
                    <a:pt x="360" y="346"/>
                  </a:lnTo>
                  <a:lnTo>
                    <a:pt x="359" y="339"/>
                  </a:lnTo>
                  <a:lnTo>
                    <a:pt x="359" y="338"/>
                  </a:lnTo>
                  <a:lnTo>
                    <a:pt x="355" y="335"/>
                  </a:lnTo>
                  <a:lnTo>
                    <a:pt x="353" y="338"/>
                  </a:lnTo>
                  <a:lnTo>
                    <a:pt x="347" y="344"/>
                  </a:lnTo>
                  <a:lnTo>
                    <a:pt x="341" y="349"/>
                  </a:lnTo>
                  <a:lnTo>
                    <a:pt x="339" y="354"/>
                  </a:lnTo>
                  <a:lnTo>
                    <a:pt x="339" y="361"/>
                  </a:lnTo>
                  <a:lnTo>
                    <a:pt x="339" y="372"/>
                  </a:lnTo>
                  <a:lnTo>
                    <a:pt x="337" y="374"/>
                  </a:lnTo>
                  <a:lnTo>
                    <a:pt x="332" y="374"/>
                  </a:lnTo>
                  <a:lnTo>
                    <a:pt x="334" y="372"/>
                  </a:lnTo>
                  <a:lnTo>
                    <a:pt x="336" y="368"/>
                  </a:lnTo>
                  <a:lnTo>
                    <a:pt x="337" y="364"/>
                  </a:lnTo>
                  <a:lnTo>
                    <a:pt x="335" y="360"/>
                  </a:lnTo>
                  <a:lnTo>
                    <a:pt x="336" y="358"/>
                  </a:lnTo>
                  <a:lnTo>
                    <a:pt x="337" y="349"/>
                  </a:lnTo>
                  <a:lnTo>
                    <a:pt x="339" y="348"/>
                  </a:lnTo>
                  <a:lnTo>
                    <a:pt x="346" y="339"/>
                  </a:lnTo>
                  <a:lnTo>
                    <a:pt x="357" y="331"/>
                  </a:lnTo>
                  <a:lnTo>
                    <a:pt x="360" y="322"/>
                  </a:lnTo>
                  <a:lnTo>
                    <a:pt x="359" y="313"/>
                  </a:lnTo>
                  <a:lnTo>
                    <a:pt x="356" y="307"/>
                  </a:lnTo>
                  <a:lnTo>
                    <a:pt x="352" y="308"/>
                  </a:lnTo>
                  <a:lnTo>
                    <a:pt x="348" y="311"/>
                  </a:lnTo>
                  <a:lnTo>
                    <a:pt x="341" y="311"/>
                  </a:lnTo>
                  <a:lnTo>
                    <a:pt x="334" y="310"/>
                  </a:lnTo>
                  <a:lnTo>
                    <a:pt x="331" y="309"/>
                  </a:lnTo>
                  <a:lnTo>
                    <a:pt x="332" y="306"/>
                  </a:lnTo>
                  <a:lnTo>
                    <a:pt x="332" y="305"/>
                  </a:lnTo>
                  <a:lnTo>
                    <a:pt x="327" y="304"/>
                  </a:lnTo>
                  <a:lnTo>
                    <a:pt x="325" y="304"/>
                  </a:lnTo>
                  <a:lnTo>
                    <a:pt x="323" y="308"/>
                  </a:lnTo>
                  <a:lnTo>
                    <a:pt x="323" y="310"/>
                  </a:lnTo>
                  <a:lnTo>
                    <a:pt x="321" y="311"/>
                  </a:lnTo>
                  <a:lnTo>
                    <a:pt x="319" y="313"/>
                  </a:lnTo>
                  <a:lnTo>
                    <a:pt x="317" y="313"/>
                  </a:lnTo>
                  <a:lnTo>
                    <a:pt x="316" y="313"/>
                  </a:lnTo>
                  <a:lnTo>
                    <a:pt x="314" y="311"/>
                  </a:lnTo>
                  <a:lnTo>
                    <a:pt x="313" y="311"/>
                  </a:lnTo>
                  <a:lnTo>
                    <a:pt x="312" y="312"/>
                  </a:lnTo>
                  <a:lnTo>
                    <a:pt x="311" y="313"/>
                  </a:lnTo>
                  <a:lnTo>
                    <a:pt x="311" y="314"/>
                  </a:lnTo>
                  <a:lnTo>
                    <a:pt x="311" y="315"/>
                  </a:lnTo>
                  <a:lnTo>
                    <a:pt x="309" y="315"/>
                  </a:lnTo>
                  <a:lnTo>
                    <a:pt x="303" y="319"/>
                  </a:lnTo>
                  <a:lnTo>
                    <a:pt x="279" y="326"/>
                  </a:lnTo>
                  <a:lnTo>
                    <a:pt x="272" y="325"/>
                  </a:lnTo>
                  <a:lnTo>
                    <a:pt x="272" y="323"/>
                  </a:lnTo>
                  <a:lnTo>
                    <a:pt x="294" y="320"/>
                  </a:lnTo>
                  <a:lnTo>
                    <a:pt x="301" y="314"/>
                  </a:lnTo>
                  <a:lnTo>
                    <a:pt x="307" y="312"/>
                  </a:lnTo>
                  <a:lnTo>
                    <a:pt x="312" y="308"/>
                  </a:lnTo>
                  <a:lnTo>
                    <a:pt x="315" y="307"/>
                  </a:lnTo>
                  <a:lnTo>
                    <a:pt x="317" y="306"/>
                  </a:lnTo>
                  <a:lnTo>
                    <a:pt x="319" y="306"/>
                  </a:lnTo>
                  <a:lnTo>
                    <a:pt x="322" y="303"/>
                  </a:lnTo>
                  <a:lnTo>
                    <a:pt x="326" y="301"/>
                  </a:lnTo>
                  <a:lnTo>
                    <a:pt x="330" y="302"/>
                  </a:lnTo>
                  <a:lnTo>
                    <a:pt x="333" y="304"/>
                  </a:lnTo>
                  <a:lnTo>
                    <a:pt x="335" y="307"/>
                  </a:lnTo>
                  <a:lnTo>
                    <a:pt x="338" y="304"/>
                  </a:lnTo>
                  <a:lnTo>
                    <a:pt x="341" y="303"/>
                  </a:lnTo>
                  <a:lnTo>
                    <a:pt x="348" y="303"/>
                  </a:lnTo>
                  <a:lnTo>
                    <a:pt x="350" y="304"/>
                  </a:lnTo>
                  <a:lnTo>
                    <a:pt x="354" y="305"/>
                  </a:lnTo>
                  <a:lnTo>
                    <a:pt x="355" y="305"/>
                  </a:lnTo>
                  <a:lnTo>
                    <a:pt x="357" y="303"/>
                  </a:lnTo>
                  <a:lnTo>
                    <a:pt x="357" y="301"/>
                  </a:lnTo>
                  <a:lnTo>
                    <a:pt x="355" y="299"/>
                  </a:lnTo>
                  <a:lnTo>
                    <a:pt x="354" y="297"/>
                  </a:lnTo>
                  <a:lnTo>
                    <a:pt x="350" y="285"/>
                  </a:lnTo>
                  <a:lnTo>
                    <a:pt x="349" y="279"/>
                  </a:lnTo>
                  <a:lnTo>
                    <a:pt x="348" y="267"/>
                  </a:lnTo>
                  <a:lnTo>
                    <a:pt x="346" y="252"/>
                  </a:lnTo>
                  <a:lnTo>
                    <a:pt x="345" y="247"/>
                  </a:lnTo>
                  <a:lnTo>
                    <a:pt x="346" y="246"/>
                  </a:lnTo>
                  <a:lnTo>
                    <a:pt x="347" y="237"/>
                  </a:lnTo>
                  <a:lnTo>
                    <a:pt x="347" y="234"/>
                  </a:lnTo>
                  <a:lnTo>
                    <a:pt x="348" y="231"/>
                  </a:lnTo>
                  <a:lnTo>
                    <a:pt x="353" y="226"/>
                  </a:lnTo>
                  <a:lnTo>
                    <a:pt x="350" y="224"/>
                  </a:lnTo>
                  <a:lnTo>
                    <a:pt x="337" y="224"/>
                  </a:lnTo>
                  <a:lnTo>
                    <a:pt x="334" y="222"/>
                  </a:lnTo>
                  <a:lnTo>
                    <a:pt x="327" y="217"/>
                  </a:lnTo>
                  <a:lnTo>
                    <a:pt x="322" y="214"/>
                  </a:lnTo>
                  <a:lnTo>
                    <a:pt x="307" y="198"/>
                  </a:lnTo>
                  <a:lnTo>
                    <a:pt x="303" y="196"/>
                  </a:lnTo>
                  <a:lnTo>
                    <a:pt x="300" y="198"/>
                  </a:lnTo>
                  <a:lnTo>
                    <a:pt x="298" y="200"/>
                  </a:lnTo>
                  <a:lnTo>
                    <a:pt x="294" y="204"/>
                  </a:lnTo>
                  <a:lnTo>
                    <a:pt x="291" y="204"/>
                  </a:lnTo>
                  <a:lnTo>
                    <a:pt x="295" y="203"/>
                  </a:lnTo>
                  <a:lnTo>
                    <a:pt x="299" y="196"/>
                  </a:lnTo>
                  <a:lnTo>
                    <a:pt x="302" y="194"/>
                  </a:lnTo>
                  <a:lnTo>
                    <a:pt x="306" y="195"/>
                  </a:lnTo>
                  <a:lnTo>
                    <a:pt x="311" y="200"/>
                  </a:lnTo>
                  <a:lnTo>
                    <a:pt x="318" y="203"/>
                  </a:lnTo>
                  <a:lnTo>
                    <a:pt x="328" y="214"/>
                  </a:lnTo>
                  <a:lnTo>
                    <a:pt x="341" y="223"/>
                  </a:lnTo>
                  <a:lnTo>
                    <a:pt x="344" y="222"/>
                  </a:lnTo>
                  <a:lnTo>
                    <a:pt x="346" y="222"/>
                  </a:lnTo>
                  <a:lnTo>
                    <a:pt x="354" y="222"/>
                  </a:lnTo>
                  <a:lnTo>
                    <a:pt x="355" y="221"/>
                  </a:lnTo>
                  <a:lnTo>
                    <a:pt x="357" y="220"/>
                  </a:lnTo>
                  <a:lnTo>
                    <a:pt x="358" y="218"/>
                  </a:lnTo>
                  <a:lnTo>
                    <a:pt x="360" y="213"/>
                  </a:lnTo>
                  <a:lnTo>
                    <a:pt x="364" y="199"/>
                  </a:lnTo>
                  <a:lnTo>
                    <a:pt x="366" y="187"/>
                  </a:lnTo>
                  <a:lnTo>
                    <a:pt x="368" y="179"/>
                  </a:lnTo>
                  <a:lnTo>
                    <a:pt x="374" y="167"/>
                  </a:lnTo>
                  <a:lnTo>
                    <a:pt x="378" y="162"/>
                  </a:lnTo>
                  <a:lnTo>
                    <a:pt x="386" y="156"/>
                  </a:lnTo>
                  <a:lnTo>
                    <a:pt x="388" y="152"/>
                  </a:lnTo>
                  <a:lnTo>
                    <a:pt x="385" y="122"/>
                  </a:lnTo>
                  <a:lnTo>
                    <a:pt x="385" y="106"/>
                  </a:lnTo>
                  <a:lnTo>
                    <a:pt x="390" y="93"/>
                  </a:lnTo>
                  <a:lnTo>
                    <a:pt x="384" y="79"/>
                  </a:lnTo>
                  <a:lnTo>
                    <a:pt x="376" y="67"/>
                  </a:lnTo>
                  <a:lnTo>
                    <a:pt x="371" y="54"/>
                  </a:lnTo>
                  <a:lnTo>
                    <a:pt x="376" y="36"/>
                  </a:lnTo>
                  <a:lnTo>
                    <a:pt x="389" y="16"/>
                  </a:lnTo>
                  <a:lnTo>
                    <a:pt x="397" y="7"/>
                  </a:lnTo>
                  <a:lnTo>
                    <a:pt x="406" y="4"/>
                  </a:lnTo>
                  <a:lnTo>
                    <a:pt x="402" y="1"/>
                  </a:lnTo>
                  <a:lnTo>
                    <a:pt x="398" y="0"/>
                  </a:lnTo>
                  <a:lnTo>
                    <a:pt x="393" y="1"/>
                  </a:lnTo>
                  <a:lnTo>
                    <a:pt x="388" y="2"/>
                  </a:lnTo>
                  <a:lnTo>
                    <a:pt x="378" y="10"/>
                  </a:lnTo>
                  <a:lnTo>
                    <a:pt x="359" y="30"/>
                  </a:lnTo>
                  <a:lnTo>
                    <a:pt x="347" y="39"/>
                  </a:lnTo>
                  <a:lnTo>
                    <a:pt x="334" y="45"/>
                  </a:lnTo>
                  <a:lnTo>
                    <a:pt x="320" y="47"/>
                  </a:lnTo>
                  <a:lnTo>
                    <a:pt x="305" y="46"/>
                  </a:lnTo>
                  <a:lnTo>
                    <a:pt x="298" y="47"/>
                  </a:lnTo>
                  <a:lnTo>
                    <a:pt x="294" y="53"/>
                  </a:lnTo>
                  <a:lnTo>
                    <a:pt x="292" y="55"/>
                  </a:lnTo>
                  <a:lnTo>
                    <a:pt x="286" y="65"/>
                  </a:lnTo>
                  <a:lnTo>
                    <a:pt x="276" y="77"/>
                  </a:lnTo>
                  <a:lnTo>
                    <a:pt x="269" y="86"/>
                  </a:lnTo>
                  <a:lnTo>
                    <a:pt x="235" y="150"/>
                  </a:lnTo>
                  <a:lnTo>
                    <a:pt x="223" y="163"/>
                  </a:lnTo>
                  <a:lnTo>
                    <a:pt x="210" y="173"/>
                  </a:lnTo>
                  <a:lnTo>
                    <a:pt x="195" y="178"/>
                  </a:lnTo>
                  <a:lnTo>
                    <a:pt x="181" y="180"/>
                  </a:lnTo>
                  <a:lnTo>
                    <a:pt x="141" y="174"/>
                  </a:lnTo>
                  <a:lnTo>
                    <a:pt x="138" y="175"/>
                  </a:lnTo>
                  <a:lnTo>
                    <a:pt x="131" y="184"/>
                  </a:lnTo>
                  <a:lnTo>
                    <a:pt x="124" y="187"/>
                  </a:lnTo>
                  <a:lnTo>
                    <a:pt x="110" y="190"/>
                  </a:lnTo>
                  <a:lnTo>
                    <a:pt x="103" y="190"/>
                  </a:lnTo>
                  <a:lnTo>
                    <a:pt x="89" y="185"/>
                  </a:lnTo>
                  <a:lnTo>
                    <a:pt x="84" y="185"/>
                  </a:lnTo>
                  <a:lnTo>
                    <a:pt x="79" y="190"/>
                  </a:lnTo>
                  <a:lnTo>
                    <a:pt x="66" y="211"/>
                  </a:lnTo>
                  <a:lnTo>
                    <a:pt x="57" y="220"/>
                  </a:lnTo>
                  <a:lnTo>
                    <a:pt x="28" y="266"/>
                  </a:lnTo>
                  <a:lnTo>
                    <a:pt x="25" y="275"/>
                  </a:lnTo>
                  <a:lnTo>
                    <a:pt x="23" y="287"/>
                  </a:lnTo>
                  <a:lnTo>
                    <a:pt x="23" y="300"/>
                  </a:lnTo>
                  <a:lnTo>
                    <a:pt x="25" y="306"/>
                  </a:lnTo>
                  <a:lnTo>
                    <a:pt x="27" y="306"/>
                  </a:lnTo>
                  <a:lnTo>
                    <a:pt x="27" y="302"/>
                  </a:lnTo>
                  <a:lnTo>
                    <a:pt x="27" y="296"/>
                  </a:lnTo>
                  <a:lnTo>
                    <a:pt x="24" y="285"/>
                  </a:lnTo>
                  <a:lnTo>
                    <a:pt x="27" y="286"/>
                  </a:lnTo>
                  <a:lnTo>
                    <a:pt x="31" y="289"/>
                  </a:lnTo>
                  <a:lnTo>
                    <a:pt x="33" y="289"/>
                  </a:lnTo>
                  <a:lnTo>
                    <a:pt x="34" y="291"/>
                  </a:lnTo>
                  <a:lnTo>
                    <a:pt x="36" y="301"/>
                  </a:lnTo>
                  <a:lnTo>
                    <a:pt x="38" y="305"/>
                  </a:lnTo>
                  <a:lnTo>
                    <a:pt x="41" y="310"/>
                  </a:lnTo>
                  <a:lnTo>
                    <a:pt x="45" y="313"/>
                  </a:lnTo>
                  <a:lnTo>
                    <a:pt x="48" y="315"/>
                  </a:lnTo>
                  <a:lnTo>
                    <a:pt x="52" y="316"/>
                  </a:lnTo>
                  <a:lnTo>
                    <a:pt x="56" y="318"/>
                  </a:lnTo>
                  <a:lnTo>
                    <a:pt x="60" y="321"/>
                  </a:lnTo>
                  <a:lnTo>
                    <a:pt x="61" y="326"/>
                  </a:lnTo>
                  <a:lnTo>
                    <a:pt x="63" y="329"/>
                  </a:lnTo>
                  <a:lnTo>
                    <a:pt x="67" y="335"/>
                  </a:lnTo>
                  <a:lnTo>
                    <a:pt x="71" y="339"/>
                  </a:lnTo>
                  <a:lnTo>
                    <a:pt x="74" y="339"/>
                  </a:lnTo>
                  <a:lnTo>
                    <a:pt x="72" y="337"/>
                  </a:lnTo>
                  <a:lnTo>
                    <a:pt x="72" y="336"/>
                  </a:lnTo>
                  <a:lnTo>
                    <a:pt x="74" y="335"/>
                  </a:lnTo>
                  <a:lnTo>
                    <a:pt x="76" y="335"/>
                  </a:lnTo>
                  <a:lnTo>
                    <a:pt x="78" y="334"/>
                  </a:lnTo>
                  <a:lnTo>
                    <a:pt x="80" y="332"/>
                  </a:lnTo>
                  <a:lnTo>
                    <a:pt x="82" y="328"/>
                  </a:lnTo>
                  <a:lnTo>
                    <a:pt x="81" y="325"/>
                  </a:lnTo>
                  <a:lnTo>
                    <a:pt x="79" y="321"/>
                  </a:lnTo>
                  <a:lnTo>
                    <a:pt x="79" y="319"/>
                  </a:lnTo>
                  <a:lnTo>
                    <a:pt x="79" y="313"/>
                  </a:lnTo>
                  <a:lnTo>
                    <a:pt x="79" y="311"/>
                  </a:lnTo>
                  <a:lnTo>
                    <a:pt x="76" y="310"/>
                  </a:lnTo>
                  <a:lnTo>
                    <a:pt x="65" y="315"/>
                  </a:lnTo>
                  <a:lnTo>
                    <a:pt x="64" y="314"/>
                  </a:lnTo>
                  <a:lnTo>
                    <a:pt x="60" y="312"/>
                  </a:lnTo>
                  <a:lnTo>
                    <a:pt x="58" y="311"/>
                  </a:lnTo>
                  <a:lnTo>
                    <a:pt x="50" y="313"/>
                  </a:lnTo>
                  <a:lnTo>
                    <a:pt x="50" y="311"/>
                  </a:lnTo>
                  <a:lnTo>
                    <a:pt x="52" y="310"/>
                  </a:lnTo>
                  <a:lnTo>
                    <a:pt x="56" y="308"/>
                  </a:lnTo>
                  <a:lnTo>
                    <a:pt x="57" y="307"/>
                  </a:lnTo>
                  <a:lnTo>
                    <a:pt x="60" y="308"/>
                  </a:lnTo>
                  <a:lnTo>
                    <a:pt x="63" y="310"/>
                  </a:lnTo>
                  <a:lnTo>
                    <a:pt x="65" y="311"/>
                  </a:lnTo>
                  <a:lnTo>
                    <a:pt x="67" y="310"/>
                  </a:lnTo>
                  <a:lnTo>
                    <a:pt x="69" y="309"/>
                  </a:lnTo>
                  <a:lnTo>
                    <a:pt x="70" y="307"/>
                  </a:lnTo>
                  <a:lnTo>
                    <a:pt x="69" y="303"/>
                  </a:lnTo>
                  <a:lnTo>
                    <a:pt x="67" y="302"/>
                  </a:lnTo>
                  <a:lnTo>
                    <a:pt x="61" y="303"/>
                  </a:lnTo>
                  <a:lnTo>
                    <a:pt x="61" y="301"/>
                  </a:lnTo>
                  <a:lnTo>
                    <a:pt x="64" y="299"/>
                  </a:lnTo>
                  <a:lnTo>
                    <a:pt x="64" y="294"/>
                  </a:lnTo>
                  <a:lnTo>
                    <a:pt x="62" y="284"/>
                  </a:lnTo>
                  <a:lnTo>
                    <a:pt x="64" y="281"/>
                  </a:lnTo>
                  <a:lnTo>
                    <a:pt x="66" y="278"/>
                  </a:lnTo>
                  <a:lnTo>
                    <a:pt x="69" y="277"/>
                  </a:lnTo>
                  <a:lnTo>
                    <a:pt x="70" y="276"/>
                  </a:lnTo>
                  <a:lnTo>
                    <a:pt x="71" y="275"/>
                  </a:lnTo>
                  <a:lnTo>
                    <a:pt x="72" y="274"/>
                  </a:lnTo>
                  <a:lnTo>
                    <a:pt x="76" y="273"/>
                  </a:lnTo>
                  <a:lnTo>
                    <a:pt x="81" y="266"/>
                  </a:lnTo>
                  <a:lnTo>
                    <a:pt x="82" y="264"/>
                  </a:lnTo>
                  <a:lnTo>
                    <a:pt x="83" y="263"/>
                  </a:lnTo>
                  <a:lnTo>
                    <a:pt x="83" y="261"/>
                  </a:lnTo>
                  <a:lnTo>
                    <a:pt x="83" y="260"/>
                  </a:lnTo>
                  <a:lnTo>
                    <a:pt x="84" y="251"/>
                  </a:lnTo>
                  <a:lnTo>
                    <a:pt x="86" y="248"/>
                  </a:lnTo>
                  <a:lnTo>
                    <a:pt x="89" y="246"/>
                  </a:lnTo>
                  <a:lnTo>
                    <a:pt x="91" y="242"/>
                  </a:lnTo>
                  <a:lnTo>
                    <a:pt x="92" y="237"/>
                  </a:lnTo>
                  <a:lnTo>
                    <a:pt x="93" y="235"/>
                  </a:lnTo>
                  <a:lnTo>
                    <a:pt x="97" y="233"/>
                  </a:lnTo>
                  <a:lnTo>
                    <a:pt x="101" y="232"/>
                  </a:lnTo>
                  <a:lnTo>
                    <a:pt x="106" y="234"/>
                  </a:lnTo>
                  <a:lnTo>
                    <a:pt x="115" y="230"/>
                  </a:lnTo>
                  <a:lnTo>
                    <a:pt x="120" y="224"/>
                  </a:lnTo>
                  <a:lnTo>
                    <a:pt x="118" y="222"/>
                  </a:lnTo>
                  <a:lnTo>
                    <a:pt x="120" y="220"/>
                  </a:lnTo>
                  <a:lnTo>
                    <a:pt x="124" y="219"/>
                  </a:lnTo>
                  <a:lnTo>
                    <a:pt x="127" y="221"/>
                  </a:lnTo>
                  <a:lnTo>
                    <a:pt x="129" y="225"/>
                  </a:lnTo>
                  <a:lnTo>
                    <a:pt x="130" y="224"/>
                  </a:lnTo>
                  <a:lnTo>
                    <a:pt x="133" y="221"/>
                  </a:lnTo>
                  <a:lnTo>
                    <a:pt x="136" y="217"/>
                  </a:lnTo>
                  <a:lnTo>
                    <a:pt x="139" y="218"/>
                  </a:lnTo>
                  <a:lnTo>
                    <a:pt x="141" y="215"/>
                  </a:lnTo>
                  <a:lnTo>
                    <a:pt x="144" y="212"/>
                  </a:lnTo>
                  <a:lnTo>
                    <a:pt x="146" y="212"/>
                  </a:lnTo>
                  <a:lnTo>
                    <a:pt x="149" y="214"/>
                  </a:lnTo>
                  <a:lnTo>
                    <a:pt x="148" y="216"/>
                  </a:lnTo>
                  <a:lnTo>
                    <a:pt x="151" y="216"/>
                  </a:lnTo>
                  <a:lnTo>
                    <a:pt x="153" y="215"/>
                  </a:lnTo>
                  <a:lnTo>
                    <a:pt x="157" y="212"/>
                  </a:lnTo>
                  <a:lnTo>
                    <a:pt x="162" y="210"/>
                  </a:lnTo>
                  <a:lnTo>
                    <a:pt x="163" y="207"/>
                  </a:lnTo>
                  <a:lnTo>
                    <a:pt x="163" y="204"/>
                  </a:lnTo>
                  <a:lnTo>
                    <a:pt x="180" y="219"/>
                  </a:lnTo>
                  <a:lnTo>
                    <a:pt x="183" y="220"/>
                  </a:lnTo>
                  <a:lnTo>
                    <a:pt x="186" y="220"/>
                  </a:lnTo>
                  <a:lnTo>
                    <a:pt x="223" y="207"/>
                  </a:lnTo>
                  <a:lnTo>
                    <a:pt x="237" y="207"/>
                  </a:lnTo>
                  <a:lnTo>
                    <a:pt x="243" y="204"/>
                  </a:lnTo>
                  <a:lnTo>
                    <a:pt x="248" y="198"/>
                  </a:lnTo>
                  <a:lnTo>
                    <a:pt x="251" y="198"/>
                  </a:lnTo>
                  <a:lnTo>
                    <a:pt x="254" y="201"/>
                  </a:lnTo>
                  <a:lnTo>
                    <a:pt x="257" y="203"/>
                  </a:lnTo>
                  <a:lnTo>
                    <a:pt x="261" y="201"/>
                  </a:lnTo>
                  <a:lnTo>
                    <a:pt x="264" y="198"/>
                  </a:lnTo>
                  <a:lnTo>
                    <a:pt x="269" y="191"/>
                  </a:lnTo>
                  <a:lnTo>
                    <a:pt x="271" y="190"/>
                  </a:lnTo>
                  <a:lnTo>
                    <a:pt x="272" y="190"/>
                  </a:lnTo>
                  <a:lnTo>
                    <a:pt x="276" y="193"/>
                  </a:lnTo>
                  <a:lnTo>
                    <a:pt x="280" y="195"/>
                  </a:lnTo>
                  <a:lnTo>
                    <a:pt x="290" y="204"/>
                  </a:lnTo>
                  <a:lnTo>
                    <a:pt x="273" y="206"/>
                  </a:lnTo>
                  <a:lnTo>
                    <a:pt x="265" y="204"/>
                  </a:lnTo>
                  <a:lnTo>
                    <a:pt x="260" y="207"/>
                  </a:lnTo>
                  <a:lnTo>
                    <a:pt x="254" y="209"/>
                  </a:lnTo>
                  <a:lnTo>
                    <a:pt x="251" y="213"/>
                  </a:lnTo>
                  <a:lnTo>
                    <a:pt x="248" y="219"/>
                  </a:lnTo>
                  <a:lnTo>
                    <a:pt x="242" y="228"/>
                  </a:lnTo>
                  <a:lnTo>
                    <a:pt x="241" y="230"/>
                  </a:lnTo>
                  <a:lnTo>
                    <a:pt x="239" y="230"/>
                  </a:lnTo>
                  <a:lnTo>
                    <a:pt x="237" y="229"/>
                  </a:lnTo>
                  <a:lnTo>
                    <a:pt x="235" y="227"/>
                  </a:lnTo>
                  <a:lnTo>
                    <a:pt x="235" y="225"/>
                  </a:lnTo>
                  <a:lnTo>
                    <a:pt x="237" y="224"/>
                  </a:lnTo>
                  <a:lnTo>
                    <a:pt x="237" y="222"/>
                  </a:lnTo>
                  <a:lnTo>
                    <a:pt x="219" y="214"/>
                  </a:lnTo>
                  <a:lnTo>
                    <a:pt x="214" y="214"/>
                  </a:lnTo>
                  <a:lnTo>
                    <a:pt x="190" y="222"/>
                  </a:lnTo>
                  <a:lnTo>
                    <a:pt x="190" y="222"/>
                  </a:lnTo>
                  <a:lnTo>
                    <a:pt x="189" y="227"/>
                  </a:lnTo>
                  <a:lnTo>
                    <a:pt x="188" y="227"/>
                  </a:lnTo>
                  <a:lnTo>
                    <a:pt x="187" y="228"/>
                  </a:lnTo>
                  <a:lnTo>
                    <a:pt x="185" y="228"/>
                  </a:lnTo>
                  <a:lnTo>
                    <a:pt x="184" y="229"/>
                  </a:lnTo>
                  <a:lnTo>
                    <a:pt x="179" y="234"/>
                  </a:lnTo>
                  <a:lnTo>
                    <a:pt x="176" y="238"/>
                  </a:lnTo>
                  <a:lnTo>
                    <a:pt x="173" y="244"/>
                  </a:lnTo>
                  <a:lnTo>
                    <a:pt x="170" y="251"/>
                  </a:lnTo>
                  <a:lnTo>
                    <a:pt x="173" y="254"/>
                  </a:lnTo>
                  <a:lnTo>
                    <a:pt x="174" y="255"/>
                  </a:lnTo>
                  <a:lnTo>
                    <a:pt x="176" y="256"/>
                  </a:lnTo>
                  <a:lnTo>
                    <a:pt x="177" y="257"/>
                  </a:lnTo>
                  <a:lnTo>
                    <a:pt x="178" y="261"/>
                  </a:lnTo>
                  <a:lnTo>
                    <a:pt x="178" y="264"/>
                  </a:lnTo>
                  <a:lnTo>
                    <a:pt x="177" y="265"/>
                  </a:lnTo>
                  <a:lnTo>
                    <a:pt x="177" y="267"/>
                  </a:lnTo>
                  <a:lnTo>
                    <a:pt x="173" y="272"/>
                  </a:lnTo>
                  <a:lnTo>
                    <a:pt x="172" y="273"/>
                  </a:lnTo>
                  <a:lnTo>
                    <a:pt x="172" y="277"/>
                  </a:lnTo>
                  <a:lnTo>
                    <a:pt x="173" y="281"/>
                  </a:lnTo>
                  <a:lnTo>
                    <a:pt x="173" y="283"/>
                  </a:lnTo>
                  <a:lnTo>
                    <a:pt x="174" y="285"/>
                  </a:lnTo>
                  <a:lnTo>
                    <a:pt x="175" y="287"/>
                  </a:lnTo>
                  <a:lnTo>
                    <a:pt x="177" y="289"/>
                  </a:lnTo>
                  <a:lnTo>
                    <a:pt x="178" y="291"/>
                  </a:lnTo>
                  <a:lnTo>
                    <a:pt x="183" y="292"/>
                  </a:lnTo>
                  <a:lnTo>
                    <a:pt x="183" y="294"/>
                  </a:lnTo>
                  <a:lnTo>
                    <a:pt x="182" y="298"/>
                  </a:lnTo>
                  <a:lnTo>
                    <a:pt x="180" y="303"/>
                  </a:lnTo>
                  <a:lnTo>
                    <a:pt x="173" y="307"/>
                  </a:lnTo>
                  <a:lnTo>
                    <a:pt x="171" y="311"/>
                  </a:lnTo>
                  <a:lnTo>
                    <a:pt x="173" y="315"/>
                  </a:lnTo>
                  <a:lnTo>
                    <a:pt x="176" y="315"/>
                  </a:lnTo>
                  <a:lnTo>
                    <a:pt x="179" y="312"/>
                  </a:lnTo>
                  <a:lnTo>
                    <a:pt x="181" y="310"/>
                  </a:lnTo>
                  <a:lnTo>
                    <a:pt x="187" y="307"/>
                  </a:lnTo>
                  <a:lnTo>
                    <a:pt x="190" y="307"/>
                  </a:lnTo>
                  <a:lnTo>
                    <a:pt x="191" y="307"/>
                  </a:lnTo>
                  <a:lnTo>
                    <a:pt x="193" y="309"/>
                  </a:lnTo>
                  <a:lnTo>
                    <a:pt x="196" y="316"/>
                  </a:lnTo>
                  <a:lnTo>
                    <a:pt x="196" y="316"/>
                  </a:lnTo>
                  <a:lnTo>
                    <a:pt x="195" y="325"/>
                  </a:lnTo>
                  <a:lnTo>
                    <a:pt x="192" y="334"/>
                  </a:lnTo>
                  <a:lnTo>
                    <a:pt x="192" y="344"/>
                  </a:lnTo>
                  <a:lnTo>
                    <a:pt x="191" y="345"/>
                  </a:lnTo>
                  <a:lnTo>
                    <a:pt x="191" y="346"/>
                  </a:lnTo>
                  <a:lnTo>
                    <a:pt x="191" y="348"/>
                  </a:lnTo>
                  <a:lnTo>
                    <a:pt x="192" y="349"/>
                  </a:lnTo>
                  <a:lnTo>
                    <a:pt x="194" y="349"/>
                  </a:lnTo>
                  <a:lnTo>
                    <a:pt x="195" y="348"/>
                  </a:lnTo>
                  <a:lnTo>
                    <a:pt x="195" y="348"/>
                  </a:lnTo>
                  <a:lnTo>
                    <a:pt x="200" y="344"/>
                  </a:lnTo>
                  <a:lnTo>
                    <a:pt x="203" y="346"/>
                  </a:lnTo>
                  <a:lnTo>
                    <a:pt x="203" y="350"/>
                  </a:lnTo>
                  <a:lnTo>
                    <a:pt x="202" y="352"/>
                  </a:lnTo>
                  <a:lnTo>
                    <a:pt x="199" y="350"/>
                  </a:lnTo>
                  <a:lnTo>
                    <a:pt x="198" y="352"/>
                  </a:lnTo>
                  <a:lnTo>
                    <a:pt x="196" y="357"/>
                  </a:lnTo>
                  <a:lnTo>
                    <a:pt x="194" y="356"/>
                  </a:lnTo>
                  <a:lnTo>
                    <a:pt x="194" y="355"/>
                  </a:lnTo>
                  <a:lnTo>
                    <a:pt x="193" y="354"/>
                  </a:lnTo>
                  <a:lnTo>
                    <a:pt x="193" y="352"/>
                  </a:lnTo>
                  <a:lnTo>
                    <a:pt x="189" y="350"/>
                  </a:lnTo>
                  <a:lnTo>
                    <a:pt x="187" y="349"/>
                  </a:lnTo>
                  <a:lnTo>
                    <a:pt x="186" y="346"/>
                  </a:lnTo>
                  <a:lnTo>
                    <a:pt x="186" y="344"/>
                  </a:lnTo>
                  <a:lnTo>
                    <a:pt x="186" y="343"/>
                  </a:lnTo>
                  <a:lnTo>
                    <a:pt x="184" y="343"/>
                  </a:lnTo>
                  <a:lnTo>
                    <a:pt x="185" y="339"/>
                  </a:lnTo>
                  <a:lnTo>
                    <a:pt x="189" y="334"/>
                  </a:lnTo>
                  <a:lnTo>
                    <a:pt x="189" y="331"/>
                  </a:lnTo>
                  <a:lnTo>
                    <a:pt x="188" y="327"/>
                  </a:lnTo>
                  <a:lnTo>
                    <a:pt x="186" y="327"/>
                  </a:lnTo>
                  <a:lnTo>
                    <a:pt x="183" y="327"/>
                  </a:lnTo>
                  <a:lnTo>
                    <a:pt x="181" y="326"/>
                  </a:lnTo>
                  <a:lnTo>
                    <a:pt x="178" y="325"/>
                  </a:lnTo>
                  <a:lnTo>
                    <a:pt x="172" y="326"/>
                  </a:lnTo>
                  <a:lnTo>
                    <a:pt x="168" y="325"/>
                  </a:lnTo>
                  <a:lnTo>
                    <a:pt x="169" y="319"/>
                  </a:lnTo>
                  <a:lnTo>
                    <a:pt x="168" y="319"/>
                  </a:lnTo>
                  <a:lnTo>
                    <a:pt x="167" y="323"/>
                  </a:lnTo>
                  <a:lnTo>
                    <a:pt x="166" y="325"/>
                  </a:lnTo>
                  <a:lnTo>
                    <a:pt x="165" y="328"/>
                  </a:lnTo>
                  <a:lnTo>
                    <a:pt x="163" y="331"/>
                  </a:lnTo>
                  <a:lnTo>
                    <a:pt x="165" y="329"/>
                  </a:lnTo>
                  <a:lnTo>
                    <a:pt x="167" y="329"/>
                  </a:lnTo>
                  <a:lnTo>
                    <a:pt x="168" y="330"/>
                  </a:lnTo>
                  <a:lnTo>
                    <a:pt x="169" y="333"/>
                  </a:lnTo>
                  <a:lnTo>
                    <a:pt x="166" y="333"/>
                  </a:lnTo>
                  <a:lnTo>
                    <a:pt x="163" y="333"/>
                  </a:lnTo>
                  <a:lnTo>
                    <a:pt x="161" y="333"/>
                  </a:lnTo>
                  <a:lnTo>
                    <a:pt x="159" y="343"/>
                  </a:lnTo>
                  <a:lnTo>
                    <a:pt x="156" y="346"/>
                  </a:lnTo>
                  <a:lnTo>
                    <a:pt x="154" y="346"/>
                  </a:lnTo>
                  <a:lnTo>
                    <a:pt x="153" y="344"/>
                  </a:lnTo>
                  <a:lnTo>
                    <a:pt x="152" y="335"/>
                  </a:lnTo>
                  <a:lnTo>
                    <a:pt x="152" y="331"/>
                  </a:lnTo>
                  <a:lnTo>
                    <a:pt x="154" y="327"/>
                  </a:lnTo>
                  <a:lnTo>
                    <a:pt x="158" y="322"/>
                  </a:lnTo>
                  <a:lnTo>
                    <a:pt x="160" y="320"/>
                  </a:lnTo>
                  <a:lnTo>
                    <a:pt x="159" y="317"/>
                  </a:lnTo>
                  <a:lnTo>
                    <a:pt x="159" y="315"/>
                  </a:lnTo>
                  <a:lnTo>
                    <a:pt x="163" y="314"/>
                  </a:lnTo>
                  <a:lnTo>
                    <a:pt x="168" y="306"/>
                  </a:lnTo>
                  <a:lnTo>
                    <a:pt x="172" y="305"/>
                  </a:lnTo>
                  <a:lnTo>
                    <a:pt x="170" y="299"/>
                  </a:lnTo>
                  <a:lnTo>
                    <a:pt x="168" y="296"/>
                  </a:lnTo>
                  <a:lnTo>
                    <a:pt x="166" y="293"/>
                  </a:lnTo>
                  <a:lnTo>
                    <a:pt x="163" y="289"/>
                  </a:lnTo>
                  <a:lnTo>
                    <a:pt x="163" y="282"/>
                  </a:lnTo>
                  <a:lnTo>
                    <a:pt x="161" y="279"/>
                  </a:lnTo>
                  <a:lnTo>
                    <a:pt x="158" y="276"/>
                  </a:lnTo>
                  <a:lnTo>
                    <a:pt x="154" y="275"/>
                  </a:lnTo>
                  <a:lnTo>
                    <a:pt x="152" y="275"/>
                  </a:lnTo>
                  <a:lnTo>
                    <a:pt x="150" y="276"/>
                  </a:lnTo>
                  <a:lnTo>
                    <a:pt x="149" y="278"/>
                  </a:lnTo>
                  <a:lnTo>
                    <a:pt x="149" y="279"/>
                  </a:lnTo>
                  <a:lnTo>
                    <a:pt x="147" y="279"/>
                  </a:lnTo>
                  <a:lnTo>
                    <a:pt x="145" y="279"/>
                  </a:lnTo>
                  <a:lnTo>
                    <a:pt x="142" y="278"/>
                  </a:lnTo>
                  <a:lnTo>
                    <a:pt x="140" y="277"/>
                  </a:lnTo>
                  <a:lnTo>
                    <a:pt x="137" y="278"/>
                  </a:lnTo>
                  <a:lnTo>
                    <a:pt x="130" y="285"/>
                  </a:lnTo>
                  <a:lnTo>
                    <a:pt x="125" y="289"/>
                  </a:lnTo>
                  <a:lnTo>
                    <a:pt x="123" y="291"/>
                  </a:lnTo>
                  <a:lnTo>
                    <a:pt x="120" y="296"/>
                  </a:lnTo>
                  <a:lnTo>
                    <a:pt x="119" y="301"/>
                  </a:lnTo>
                  <a:lnTo>
                    <a:pt x="121" y="303"/>
                  </a:lnTo>
                  <a:lnTo>
                    <a:pt x="128" y="303"/>
                  </a:lnTo>
                  <a:lnTo>
                    <a:pt x="131" y="305"/>
                  </a:lnTo>
                  <a:lnTo>
                    <a:pt x="131" y="305"/>
                  </a:lnTo>
                  <a:lnTo>
                    <a:pt x="122" y="305"/>
                  </a:lnTo>
                  <a:lnTo>
                    <a:pt x="116" y="308"/>
                  </a:lnTo>
                  <a:lnTo>
                    <a:pt x="113" y="309"/>
                  </a:lnTo>
                  <a:lnTo>
                    <a:pt x="103" y="326"/>
                  </a:lnTo>
                  <a:lnTo>
                    <a:pt x="96" y="327"/>
                  </a:lnTo>
                  <a:lnTo>
                    <a:pt x="94" y="329"/>
                  </a:lnTo>
                  <a:lnTo>
                    <a:pt x="94" y="332"/>
                  </a:lnTo>
                  <a:lnTo>
                    <a:pt x="96" y="333"/>
                  </a:lnTo>
                  <a:lnTo>
                    <a:pt x="97" y="336"/>
                  </a:lnTo>
                  <a:lnTo>
                    <a:pt x="97" y="338"/>
                  </a:lnTo>
                  <a:lnTo>
                    <a:pt x="98" y="340"/>
                  </a:lnTo>
                  <a:lnTo>
                    <a:pt x="99" y="340"/>
                  </a:lnTo>
                  <a:lnTo>
                    <a:pt x="101" y="341"/>
                  </a:lnTo>
                  <a:lnTo>
                    <a:pt x="106" y="344"/>
                  </a:lnTo>
                  <a:lnTo>
                    <a:pt x="107" y="347"/>
                  </a:lnTo>
                  <a:lnTo>
                    <a:pt x="106" y="348"/>
                  </a:lnTo>
                  <a:lnTo>
                    <a:pt x="105" y="349"/>
                  </a:lnTo>
                  <a:lnTo>
                    <a:pt x="105" y="350"/>
                  </a:lnTo>
                  <a:lnTo>
                    <a:pt x="104" y="356"/>
                  </a:lnTo>
                  <a:lnTo>
                    <a:pt x="104" y="359"/>
                  </a:lnTo>
                  <a:lnTo>
                    <a:pt x="104" y="363"/>
                  </a:lnTo>
                  <a:lnTo>
                    <a:pt x="103" y="366"/>
                  </a:lnTo>
                  <a:lnTo>
                    <a:pt x="103" y="368"/>
                  </a:lnTo>
                  <a:lnTo>
                    <a:pt x="102" y="369"/>
                  </a:lnTo>
                  <a:lnTo>
                    <a:pt x="101" y="370"/>
                  </a:lnTo>
                  <a:lnTo>
                    <a:pt x="91" y="372"/>
                  </a:lnTo>
                  <a:lnTo>
                    <a:pt x="88" y="372"/>
                  </a:lnTo>
                  <a:lnTo>
                    <a:pt x="87" y="371"/>
                  </a:lnTo>
                  <a:lnTo>
                    <a:pt x="84" y="367"/>
                  </a:lnTo>
                  <a:lnTo>
                    <a:pt x="81" y="365"/>
                  </a:lnTo>
                  <a:lnTo>
                    <a:pt x="80" y="362"/>
                  </a:lnTo>
                  <a:lnTo>
                    <a:pt x="80" y="359"/>
                  </a:lnTo>
                  <a:lnTo>
                    <a:pt x="80" y="358"/>
                  </a:lnTo>
                  <a:lnTo>
                    <a:pt x="80" y="356"/>
                  </a:lnTo>
                  <a:lnTo>
                    <a:pt x="75" y="343"/>
                  </a:lnTo>
                  <a:lnTo>
                    <a:pt x="74" y="343"/>
                  </a:lnTo>
                  <a:lnTo>
                    <a:pt x="73" y="346"/>
                  </a:lnTo>
                  <a:lnTo>
                    <a:pt x="71" y="349"/>
                  </a:lnTo>
                  <a:lnTo>
                    <a:pt x="69" y="351"/>
                  </a:lnTo>
                  <a:lnTo>
                    <a:pt x="67" y="352"/>
                  </a:lnTo>
                  <a:lnTo>
                    <a:pt x="59" y="346"/>
                  </a:lnTo>
                  <a:lnTo>
                    <a:pt x="58" y="345"/>
                  </a:lnTo>
                  <a:lnTo>
                    <a:pt x="55" y="342"/>
                  </a:lnTo>
                  <a:lnTo>
                    <a:pt x="48" y="341"/>
                  </a:lnTo>
                  <a:lnTo>
                    <a:pt x="40" y="341"/>
                  </a:lnTo>
                  <a:lnTo>
                    <a:pt x="35" y="343"/>
                  </a:lnTo>
                  <a:lnTo>
                    <a:pt x="35" y="344"/>
                  </a:lnTo>
                  <a:lnTo>
                    <a:pt x="36" y="347"/>
                  </a:lnTo>
                  <a:lnTo>
                    <a:pt x="36" y="349"/>
                  </a:lnTo>
                  <a:lnTo>
                    <a:pt x="34" y="349"/>
                  </a:lnTo>
                  <a:lnTo>
                    <a:pt x="33" y="349"/>
                  </a:lnTo>
                  <a:lnTo>
                    <a:pt x="32" y="346"/>
                  </a:lnTo>
                  <a:lnTo>
                    <a:pt x="32" y="341"/>
                  </a:lnTo>
                  <a:lnTo>
                    <a:pt x="32" y="339"/>
                  </a:lnTo>
                  <a:lnTo>
                    <a:pt x="34" y="337"/>
                  </a:lnTo>
                  <a:lnTo>
                    <a:pt x="32" y="336"/>
                  </a:lnTo>
                  <a:lnTo>
                    <a:pt x="26" y="335"/>
                  </a:lnTo>
                  <a:lnTo>
                    <a:pt x="25" y="334"/>
                  </a:lnTo>
                  <a:lnTo>
                    <a:pt x="24" y="331"/>
                  </a:lnTo>
                  <a:lnTo>
                    <a:pt x="23" y="328"/>
                  </a:lnTo>
                  <a:lnTo>
                    <a:pt x="22" y="327"/>
                  </a:lnTo>
                  <a:lnTo>
                    <a:pt x="20" y="326"/>
                  </a:lnTo>
                  <a:lnTo>
                    <a:pt x="19" y="326"/>
                  </a:lnTo>
                  <a:lnTo>
                    <a:pt x="17" y="325"/>
                  </a:lnTo>
                  <a:lnTo>
                    <a:pt x="17" y="323"/>
                  </a:lnTo>
                  <a:lnTo>
                    <a:pt x="19" y="320"/>
                  </a:lnTo>
                  <a:lnTo>
                    <a:pt x="22" y="311"/>
                  </a:lnTo>
                  <a:lnTo>
                    <a:pt x="22" y="309"/>
                  </a:lnTo>
                  <a:lnTo>
                    <a:pt x="21" y="308"/>
                  </a:lnTo>
                  <a:lnTo>
                    <a:pt x="21" y="305"/>
                  </a:lnTo>
                  <a:lnTo>
                    <a:pt x="19" y="304"/>
                  </a:lnTo>
                  <a:lnTo>
                    <a:pt x="17" y="308"/>
                  </a:lnTo>
                  <a:lnTo>
                    <a:pt x="14" y="316"/>
                  </a:lnTo>
                  <a:lnTo>
                    <a:pt x="7" y="341"/>
                  </a:lnTo>
                  <a:lnTo>
                    <a:pt x="6" y="345"/>
                  </a:lnTo>
                  <a:lnTo>
                    <a:pt x="5" y="350"/>
                  </a:lnTo>
                  <a:lnTo>
                    <a:pt x="7" y="449"/>
                  </a:lnTo>
                  <a:lnTo>
                    <a:pt x="6" y="456"/>
                  </a:lnTo>
                  <a:lnTo>
                    <a:pt x="2" y="474"/>
                  </a:lnTo>
                  <a:lnTo>
                    <a:pt x="2" y="480"/>
                  </a:lnTo>
                  <a:lnTo>
                    <a:pt x="3" y="501"/>
                  </a:lnTo>
                  <a:lnTo>
                    <a:pt x="3" y="504"/>
                  </a:lnTo>
                  <a:lnTo>
                    <a:pt x="4" y="507"/>
                  </a:lnTo>
                  <a:lnTo>
                    <a:pt x="5" y="509"/>
                  </a:lnTo>
                  <a:lnTo>
                    <a:pt x="7" y="510"/>
                  </a:lnTo>
                  <a:lnTo>
                    <a:pt x="7" y="508"/>
                  </a:lnTo>
                  <a:lnTo>
                    <a:pt x="7" y="503"/>
                  </a:lnTo>
                  <a:lnTo>
                    <a:pt x="8" y="496"/>
                  </a:lnTo>
                  <a:lnTo>
                    <a:pt x="8" y="491"/>
                  </a:lnTo>
                  <a:lnTo>
                    <a:pt x="8" y="479"/>
                  </a:lnTo>
                  <a:lnTo>
                    <a:pt x="9" y="476"/>
                  </a:lnTo>
                  <a:lnTo>
                    <a:pt x="12" y="477"/>
                  </a:lnTo>
                  <a:lnTo>
                    <a:pt x="25" y="482"/>
                  </a:lnTo>
                  <a:lnTo>
                    <a:pt x="30" y="486"/>
                  </a:lnTo>
                  <a:lnTo>
                    <a:pt x="34" y="493"/>
                  </a:lnTo>
                  <a:lnTo>
                    <a:pt x="36" y="503"/>
                  </a:lnTo>
                  <a:lnTo>
                    <a:pt x="36" y="512"/>
                  </a:lnTo>
                  <a:lnTo>
                    <a:pt x="42" y="520"/>
                  </a:lnTo>
                  <a:lnTo>
                    <a:pt x="45" y="524"/>
                  </a:lnTo>
                  <a:lnTo>
                    <a:pt x="47" y="529"/>
                  </a:lnTo>
                  <a:lnTo>
                    <a:pt x="48" y="534"/>
                  </a:lnTo>
                  <a:lnTo>
                    <a:pt x="47" y="538"/>
                  </a:lnTo>
                  <a:lnTo>
                    <a:pt x="41" y="545"/>
                  </a:lnTo>
                  <a:lnTo>
                    <a:pt x="35" y="550"/>
                  </a:lnTo>
                  <a:lnTo>
                    <a:pt x="31" y="551"/>
                  </a:lnTo>
                  <a:lnTo>
                    <a:pt x="23" y="557"/>
                  </a:lnTo>
                  <a:lnTo>
                    <a:pt x="16" y="561"/>
                  </a:lnTo>
                  <a:lnTo>
                    <a:pt x="15" y="560"/>
                  </a:lnTo>
                  <a:lnTo>
                    <a:pt x="14" y="556"/>
                  </a:lnTo>
                  <a:lnTo>
                    <a:pt x="15" y="553"/>
                  </a:lnTo>
                  <a:lnTo>
                    <a:pt x="16" y="549"/>
                  </a:lnTo>
                  <a:lnTo>
                    <a:pt x="17" y="547"/>
                  </a:lnTo>
                  <a:lnTo>
                    <a:pt x="16" y="544"/>
                  </a:lnTo>
                  <a:lnTo>
                    <a:pt x="13" y="536"/>
                  </a:lnTo>
                  <a:lnTo>
                    <a:pt x="9" y="514"/>
                  </a:lnTo>
                  <a:lnTo>
                    <a:pt x="8" y="513"/>
                  </a:lnTo>
                  <a:lnTo>
                    <a:pt x="8" y="512"/>
                  </a:lnTo>
                  <a:lnTo>
                    <a:pt x="8" y="512"/>
                  </a:lnTo>
                  <a:lnTo>
                    <a:pt x="7" y="511"/>
                  </a:lnTo>
                  <a:lnTo>
                    <a:pt x="6" y="511"/>
                  </a:lnTo>
                  <a:lnTo>
                    <a:pt x="6" y="511"/>
                  </a:lnTo>
                  <a:lnTo>
                    <a:pt x="6" y="513"/>
                  </a:lnTo>
                  <a:lnTo>
                    <a:pt x="6" y="514"/>
                  </a:lnTo>
                  <a:lnTo>
                    <a:pt x="6" y="515"/>
                  </a:lnTo>
                  <a:lnTo>
                    <a:pt x="7" y="517"/>
                  </a:lnTo>
                  <a:lnTo>
                    <a:pt x="15" y="573"/>
                  </a:lnTo>
                  <a:lnTo>
                    <a:pt x="14" y="584"/>
                  </a:lnTo>
                  <a:lnTo>
                    <a:pt x="12" y="596"/>
                  </a:lnTo>
                  <a:lnTo>
                    <a:pt x="9" y="607"/>
                  </a:lnTo>
                  <a:lnTo>
                    <a:pt x="0" y="631"/>
                  </a:lnTo>
                  <a:lnTo>
                    <a:pt x="1" y="635"/>
                  </a:lnTo>
                  <a:lnTo>
                    <a:pt x="3" y="637"/>
                  </a:lnTo>
                  <a:lnTo>
                    <a:pt x="12" y="639"/>
                  </a:lnTo>
                  <a:lnTo>
                    <a:pt x="16" y="641"/>
                  </a:lnTo>
                  <a:lnTo>
                    <a:pt x="35" y="657"/>
                  </a:lnTo>
                  <a:lnTo>
                    <a:pt x="37" y="656"/>
                  </a:lnTo>
                  <a:lnTo>
                    <a:pt x="36" y="652"/>
                  </a:lnTo>
                  <a:lnTo>
                    <a:pt x="32" y="647"/>
                  </a:lnTo>
                  <a:lnTo>
                    <a:pt x="28" y="644"/>
                  </a:lnTo>
                  <a:lnTo>
                    <a:pt x="24" y="644"/>
                  </a:lnTo>
                  <a:lnTo>
                    <a:pt x="26" y="641"/>
                  </a:lnTo>
                  <a:lnTo>
                    <a:pt x="27" y="640"/>
                  </a:lnTo>
                  <a:lnTo>
                    <a:pt x="29" y="640"/>
                  </a:lnTo>
                  <a:lnTo>
                    <a:pt x="24" y="635"/>
                  </a:lnTo>
                  <a:lnTo>
                    <a:pt x="23" y="632"/>
                  </a:lnTo>
                  <a:lnTo>
                    <a:pt x="25" y="628"/>
                  </a:lnTo>
                  <a:lnTo>
                    <a:pt x="28" y="626"/>
                  </a:lnTo>
                  <a:lnTo>
                    <a:pt x="31" y="625"/>
                  </a:lnTo>
                  <a:lnTo>
                    <a:pt x="35" y="625"/>
                  </a:lnTo>
                  <a:lnTo>
                    <a:pt x="38" y="627"/>
                  </a:lnTo>
                  <a:lnTo>
                    <a:pt x="38" y="628"/>
                  </a:lnTo>
                  <a:lnTo>
                    <a:pt x="35" y="629"/>
                  </a:lnTo>
                  <a:lnTo>
                    <a:pt x="35" y="631"/>
                  </a:lnTo>
                  <a:lnTo>
                    <a:pt x="49" y="652"/>
                  </a:lnTo>
                  <a:lnTo>
                    <a:pt x="56" y="659"/>
                  </a:lnTo>
                  <a:lnTo>
                    <a:pt x="63" y="661"/>
                  </a:lnTo>
                  <a:lnTo>
                    <a:pt x="74" y="661"/>
                  </a:lnTo>
                  <a:lnTo>
                    <a:pt x="80" y="663"/>
                  </a:lnTo>
                  <a:lnTo>
                    <a:pt x="84" y="666"/>
                  </a:lnTo>
                  <a:lnTo>
                    <a:pt x="86" y="671"/>
                  </a:lnTo>
                  <a:lnTo>
                    <a:pt x="87" y="677"/>
                  </a:lnTo>
                  <a:lnTo>
                    <a:pt x="88" y="690"/>
                  </a:lnTo>
                  <a:lnTo>
                    <a:pt x="90" y="697"/>
                  </a:lnTo>
                  <a:lnTo>
                    <a:pt x="90" y="700"/>
                  </a:lnTo>
                  <a:lnTo>
                    <a:pt x="90" y="703"/>
                  </a:lnTo>
                  <a:lnTo>
                    <a:pt x="89" y="706"/>
                  </a:lnTo>
                  <a:lnTo>
                    <a:pt x="88" y="710"/>
                  </a:lnTo>
                  <a:lnTo>
                    <a:pt x="90" y="722"/>
                  </a:lnTo>
                  <a:lnTo>
                    <a:pt x="92" y="734"/>
                  </a:lnTo>
                  <a:lnTo>
                    <a:pt x="95" y="743"/>
                  </a:lnTo>
                  <a:lnTo>
                    <a:pt x="95" y="748"/>
                  </a:lnTo>
                  <a:lnTo>
                    <a:pt x="92" y="750"/>
                  </a:lnTo>
                  <a:lnTo>
                    <a:pt x="83" y="748"/>
                  </a:lnTo>
                  <a:lnTo>
                    <a:pt x="74" y="746"/>
                  </a:lnTo>
                  <a:lnTo>
                    <a:pt x="73" y="743"/>
                  </a:lnTo>
                  <a:lnTo>
                    <a:pt x="76" y="739"/>
                  </a:lnTo>
                  <a:lnTo>
                    <a:pt x="78" y="738"/>
                  </a:lnTo>
                  <a:lnTo>
                    <a:pt x="80" y="737"/>
                  </a:lnTo>
                  <a:lnTo>
                    <a:pt x="76" y="734"/>
                  </a:lnTo>
                  <a:lnTo>
                    <a:pt x="70" y="732"/>
                  </a:lnTo>
                  <a:lnTo>
                    <a:pt x="63" y="733"/>
                  </a:lnTo>
                  <a:lnTo>
                    <a:pt x="60" y="738"/>
                  </a:lnTo>
                  <a:lnTo>
                    <a:pt x="60" y="745"/>
                  </a:lnTo>
                  <a:lnTo>
                    <a:pt x="59" y="752"/>
                  </a:lnTo>
                  <a:lnTo>
                    <a:pt x="58" y="759"/>
                  </a:lnTo>
                  <a:lnTo>
                    <a:pt x="60" y="766"/>
                  </a:lnTo>
                  <a:lnTo>
                    <a:pt x="62" y="769"/>
                  </a:lnTo>
                  <a:lnTo>
                    <a:pt x="65" y="769"/>
                  </a:lnTo>
                  <a:lnTo>
                    <a:pt x="67" y="768"/>
                  </a:lnTo>
                  <a:lnTo>
                    <a:pt x="70" y="765"/>
                  </a:lnTo>
                  <a:lnTo>
                    <a:pt x="71" y="763"/>
                  </a:lnTo>
                  <a:lnTo>
                    <a:pt x="73" y="762"/>
                  </a:lnTo>
                  <a:lnTo>
                    <a:pt x="74" y="761"/>
                  </a:lnTo>
                  <a:lnTo>
                    <a:pt x="74" y="750"/>
                  </a:lnTo>
                  <a:lnTo>
                    <a:pt x="75" y="748"/>
                  </a:lnTo>
                  <a:lnTo>
                    <a:pt x="77" y="748"/>
                  </a:lnTo>
                  <a:lnTo>
                    <a:pt x="94" y="750"/>
                  </a:lnTo>
                  <a:lnTo>
                    <a:pt x="92" y="758"/>
                  </a:lnTo>
                  <a:lnTo>
                    <a:pt x="90" y="765"/>
                  </a:lnTo>
                  <a:lnTo>
                    <a:pt x="88" y="772"/>
                  </a:lnTo>
                  <a:lnTo>
                    <a:pt x="87" y="781"/>
                  </a:lnTo>
                  <a:lnTo>
                    <a:pt x="89" y="788"/>
                  </a:lnTo>
                  <a:lnTo>
                    <a:pt x="91" y="795"/>
                  </a:lnTo>
                  <a:lnTo>
                    <a:pt x="93" y="802"/>
                  </a:lnTo>
                  <a:lnTo>
                    <a:pt x="90" y="809"/>
                  </a:lnTo>
                  <a:lnTo>
                    <a:pt x="92" y="811"/>
                  </a:lnTo>
                  <a:lnTo>
                    <a:pt x="90" y="816"/>
                  </a:lnTo>
                  <a:lnTo>
                    <a:pt x="90" y="816"/>
                  </a:lnTo>
                  <a:lnTo>
                    <a:pt x="96" y="818"/>
                  </a:lnTo>
                  <a:lnTo>
                    <a:pt x="102" y="818"/>
                  </a:lnTo>
                  <a:lnTo>
                    <a:pt x="113" y="814"/>
                  </a:lnTo>
                  <a:lnTo>
                    <a:pt x="116" y="814"/>
                  </a:lnTo>
                  <a:lnTo>
                    <a:pt x="129" y="816"/>
                  </a:lnTo>
                  <a:lnTo>
                    <a:pt x="142" y="821"/>
                  </a:lnTo>
                  <a:lnTo>
                    <a:pt x="175" y="829"/>
                  </a:lnTo>
                  <a:lnTo>
                    <a:pt x="178" y="831"/>
                  </a:lnTo>
                  <a:lnTo>
                    <a:pt x="178" y="834"/>
                  </a:lnTo>
                  <a:lnTo>
                    <a:pt x="179" y="838"/>
                  </a:lnTo>
                  <a:lnTo>
                    <a:pt x="180" y="841"/>
                  </a:lnTo>
                  <a:lnTo>
                    <a:pt x="183" y="842"/>
                  </a:lnTo>
                  <a:lnTo>
                    <a:pt x="195" y="842"/>
                  </a:lnTo>
                  <a:lnTo>
                    <a:pt x="197" y="842"/>
                  </a:lnTo>
                  <a:lnTo>
                    <a:pt x="198" y="840"/>
                  </a:lnTo>
                  <a:lnTo>
                    <a:pt x="201" y="839"/>
                  </a:lnTo>
                  <a:lnTo>
                    <a:pt x="203" y="838"/>
                  </a:lnTo>
                  <a:lnTo>
                    <a:pt x="205" y="837"/>
                  </a:lnTo>
                  <a:lnTo>
                    <a:pt x="208" y="840"/>
                  </a:lnTo>
                  <a:lnTo>
                    <a:pt x="211" y="841"/>
                  </a:lnTo>
                  <a:lnTo>
                    <a:pt x="214" y="840"/>
                  </a:lnTo>
                  <a:lnTo>
                    <a:pt x="214" y="840"/>
                  </a:lnTo>
                  <a:lnTo>
                    <a:pt x="213" y="840"/>
                  </a:lnTo>
                  <a:lnTo>
                    <a:pt x="215" y="834"/>
                  </a:lnTo>
                  <a:lnTo>
                    <a:pt x="217" y="830"/>
                  </a:lnTo>
                  <a:lnTo>
                    <a:pt x="223" y="825"/>
                  </a:lnTo>
                  <a:lnTo>
                    <a:pt x="226" y="822"/>
                  </a:lnTo>
                  <a:lnTo>
                    <a:pt x="227" y="821"/>
                  </a:lnTo>
                  <a:lnTo>
                    <a:pt x="230" y="821"/>
                  </a:lnTo>
                  <a:lnTo>
                    <a:pt x="231" y="821"/>
                  </a:lnTo>
                  <a:lnTo>
                    <a:pt x="232" y="820"/>
                  </a:lnTo>
                  <a:lnTo>
                    <a:pt x="233" y="818"/>
                  </a:lnTo>
                  <a:lnTo>
                    <a:pt x="234" y="815"/>
                  </a:lnTo>
                  <a:lnTo>
                    <a:pt x="237" y="809"/>
                  </a:lnTo>
                  <a:lnTo>
                    <a:pt x="237" y="807"/>
                  </a:lnTo>
                  <a:lnTo>
                    <a:pt x="242" y="806"/>
                  </a:lnTo>
                  <a:lnTo>
                    <a:pt x="246" y="808"/>
                  </a:lnTo>
                  <a:lnTo>
                    <a:pt x="246" y="811"/>
                  </a:lnTo>
                  <a:lnTo>
                    <a:pt x="242" y="813"/>
                  </a:lnTo>
                  <a:lnTo>
                    <a:pt x="241" y="814"/>
                  </a:lnTo>
                  <a:lnTo>
                    <a:pt x="242" y="817"/>
                  </a:lnTo>
                  <a:lnTo>
                    <a:pt x="245" y="821"/>
                  </a:lnTo>
                  <a:lnTo>
                    <a:pt x="245" y="823"/>
                  </a:lnTo>
                  <a:lnTo>
                    <a:pt x="243" y="823"/>
                  </a:lnTo>
                  <a:lnTo>
                    <a:pt x="243" y="825"/>
                  </a:lnTo>
                  <a:lnTo>
                    <a:pt x="246" y="826"/>
                  </a:lnTo>
                  <a:lnTo>
                    <a:pt x="248" y="827"/>
                  </a:lnTo>
                  <a:lnTo>
                    <a:pt x="255" y="826"/>
                  </a:lnTo>
                  <a:lnTo>
                    <a:pt x="256" y="828"/>
                  </a:lnTo>
                  <a:lnTo>
                    <a:pt x="258" y="833"/>
                  </a:lnTo>
                  <a:lnTo>
                    <a:pt x="260" y="834"/>
                  </a:lnTo>
                  <a:lnTo>
                    <a:pt x="263" y="833"/>
                  </a:lnTo>
                  <a:lnTo>
                    <a:pt x="263" y="830"/>
                  </a:lnTo>
                  <a:lnTo>
                    <a:pt x="263" y="827"/>
                  </a:lnTo>
                  <a:lnTo>
                    <a:pt x="262" y="824"/>
                  </a:lnTo>
                  <a:lnTo>
                    <a:pt x="261" y="822"/>
                  </a:lnTo>
                  <a:lnTo>
                    <a:pt x="260" y="821"/>
                  </a:lnTo>
                  <a:lnTo>
                    <a:pt x="258" y="819"/>
                  </a:lnTo>
                  <a:lnTo>
                    <a:pt x="256" y="819"/>
                  </a:lnTo>
                  <a:lnTo>
                    <a:pt x="257" y="815"/>
                  </a:lnTo>
                  <a:lnTo>
                    <a:pt x="259" y="816"/>
                  </a:lnTo>
                  <a:lnTo>
                    <a:pt x="261" y="817"/>
                  </a:lnTo>
                  <a:lnTo>
                    <a:pt x="264" y="817"/>
                  </a:lnTo>
                  <a:lnTo>
                    <a:pt x="265" y="816"/>
                  </a:lnTo>
                  <a:lnTo>
                    <a:pt x="266" y="815"/>
                  </a:lnTo>
                  <a:lnTo>
                    <a:pt x="265" y="814"/>
                  </a:lnTo>
                  <a:lnTo>
                    <a:pt x="261" y="793"/>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11" name="Freeform 47">
              <a:extLst>
                <a:ext uri="{FF2B5EF4-FFF2-40B4-BE49-F238E27FC236}">
                  <a16:creationId xmlns:a16="http://schemas.microsoft.com/office/drawing/2014/main" id="{51F9E841-564B-4659-8D6D-ABBACDD0F8BD}"/>
                </a:ext>
              </a:extLst>
            </p:cNvPr>
            <p:cNvSpPr>
              <a:spLocks/>
            </p:cNvSpPr>
            <p:nvPr/>
          </p:nvSpPr>
          <p:spPr bwMode="gray">
            <a:xfrm>
              <a:off x="9243135" y="4439802"/>
              <a:ext cx="668755" cy="379563"/>
            </a:xfrm>
            <a:custGeom>
              <a:avLst/>
              <a:gdLst>
                <a:gd name="T0" fmla="*/ 1046 w 1073"/>
                <a:gd name="T1" fmla="*/ 333 h 609"/>
                <a:gd name="T2" fmla="*/ 1016 w 1073"/>
                <a:gd name="T3" fmla="*/ 284 h 609"/>
                <a:gd name="T4" fmla="*/ 975 w 1073"/>
                <a:gd name="T5" fmla="*/ 270 h 609"/>
                <a:gd name="T6" fmla="*/ 946 w 1073"/>
                <a:gd name="T7" fmla="*/ 257 h 609"/>
                <a:gd name="T8" fmla="*/ 895 w 1073"/>
                <a:gd name="T9" fmla="*/ 239 h 609"/>
                <a:gd name="T10" fmla="*/ 874 w 1073"/>
                <a:gd name="T11" fmla="*/ 221 h 609"/>
                <a:gd name="T12" fmla="*/ 898 w 1073"/>
                <a:gd name="T13" fmla="*/ 187 h 609"/>
                <a:gd name="T14" fmla="*/ 849 w 1073"/>
                <a:gd name="T15" fmla="*/ 200 h 609"/>
                <a:gd name="T16" fmla="*/ 835 w 1073"/>
                <a:gd name="T17" fmla="*/ 181 h 609"/>
                <a:gd name="T18" fmla="*/ 795 w 1073"/>
                <a:gd name="T19" fmla="*/ 161 h 609"/>
                <a:gd name="T20" fmla="*/ 781 w 1073"/>
                <a:gd name="T21" fmla="*/ 193 h 609"/>
                <a:gd name="T22" fmla="*/ 768 w 1073"/>
                <a:gd name="T23" fmla="*/ 205 h 609"/>
                <a:gd name="T24" fmla="*/ 721 w 1073"/>
                <a:gd name="T25" fmla="*/ 232 h 609"/>
                <a:gd name="T26" fmla="*/ 678 w 1073"/>
                <a:gd name="T27" fmla="*/ 172 h 609"/>
                <a:gd name="T28" fmla="*/ 657 w 1073"/>
                <a:gd name="T29" fmla="*/ 150 h 609"/>
                <a:gd name="T30" fmla="*/ 684 w 1073"/>
                <a:gd name="T31" fmla="*/ 130 h 609"/>
                <a:gd name="T32" fmla="*/ 656 w 1073"/>
                <a:gd name="T33" fmla="*/ 98 h 609"/>
                <a:gd name="T34" fmla="*/ 621 w 1073"/>
                <a:gd name="T35" fmla="*/ 98 h 609"/>
                <a:gd name="T36" fmla="*/ 567 w 1073"/>
                <a:gd name="T37" fmla="*/ 73 h 609"/>
                <a:gd name="T38" fmla="*/ 513 w 1073"/>
                <a:gd name="T39" fmla="*/ 49 h 609"/>
                <a:gd name="T40" fmla="*/ 484 w 1073"/>
                <a:gd name="T41" fmla="*/ 9 h 609"/>
                <a:gd name="T42" fmla="*/ 458 w 1073"/>
                <a:gd name="T43" fmla="*/ 11 h 609"/>
                <a:gd name="T44" fmla="*/ 443 w 1073"/>
                <a:gd name="T45" fmla="*/ 44 h 609"/>
                <a:gd name="T46" fmla="*/ 405 w 1073"/>
                <a:gd name="T47" fmla="*/ 33 h 609"/>
                <a:gd name="T48" fmla="*/ 383 w 1073"/>
                <a:gd name="T49" fmla="*/ 6 h 609"/>
                <a:gd name="T50" fmla="*/ 347 w 1073"/>
                <a:gd name="T51" fmla="*/ 4 h 609"/>
                <a:gd name="T52" fmla="*/ 342 w 1073"/>
                <a:gd name="T53" fmla="*/ 40 h 609"/>
                <a:gd name="T54" fmla="*/ 286 w 1073"/>
                <a:gd name="T55" fmla="*/ 69 h 609"/>
                <a:gd name="T56" fmla="*/ 228 w 1073"/>
                <a:gd name="T57" fmla="*/ 87 h 609"/>
                <a:gd name="T58" fmla="*/ 207 w 1073"/>
                <a:gd name="T59" fmla="*/ 104 h 609"/>
                <a:gd name="T60" fmla="*/ 163 w 1073"/>
                <a:gd name="T61" fmla="*/ 135 h 609"/>
                <a:gd name="T62" fmla="*/ 140 w 1073"/>
                <a:gd name="T63" fmla="*/ 158 h 609"/>
                <a:gd name="T64" fmla="*/ 87 w 1073"/>
                <a:gd name="T65" fmla="*/ 160 h 609"/>
                <a:gd name="T66" fmla="*/ 57 w 1073"/>
                <a:gd name="T67" fmla="*/ 177 h 609"/>
                <a:gd name="T68" fmla="*/ 32 w 1073"/>
                <a:gd name="T69" fmla="*/ 219 h 609"/>
                <a:gd name="T70" fmla="*/ 25 w 1073"/>
                <a:gd name="T71" fmla="*/ 199 h 609"/>
                <a:gd name="T72" fmla="*/ 4 w 1073"/>
                <a:gd name="T73" fmla="*/ 187 h 609"/>
                <a:gd name="T74" fmla="*/ 19 w 1073"/>
                <a:gd name="T75" fmla="*/ 235 h 609"/>
                <a:gd name="T76" fmla="*/ 68 w 1073"/>
                <a:gd name="T77" fmla="*/ 279 h 609"/>
                <a:gd name="T78" fmla="*/ 51 w 1073"/>
                <a:gd name="T79" fmla="*/ 328 h 609"/>
                <a:gd name="T80" fmla="*/ 74 w 1073"/>
                <a:gd name="T81" fmla="*/ 358 h 609"/>
                <a:gd name="T82" fmla="*/ 93 w 1073"/>
                <a:gd name="T83" fmla="*/ 401 h 609"/>
                <a:gd name="T84" fmla="*/ 147 w 1073"/>
                <a:gd name="T85" fmla="*/ 433 h 609"/>
                <a:gd name="T86" fmla="*/ 205 w 1073"/>
                <a:gd name="T87" fmla="*/ 493 h 609"/>
                <a:gd name="T88" fmla="*/ 243 w 1073"/>
                <a:gd name="T89" fmla="*/ 516 h 609"/>
                <a:gd name="T90" fmla="*/ 302 w 1073"/>
                <a:gd name="T91" fmla="*/ 573 h 609"/>
                <a:gd name="T92" fmla="*/ 307 w 1073"/>
                <a:gd name="T93" fmla="*/ 592 h 609"/>
                <a:gd name="T94" fmla="*/ 388 w 1073"/>
                <a:gd name="T95" fmla="*/ 596 h 609"/>
                <a:gd name="T96" fmla="*/ 412 w 1073"/>
                <a:gd name="T97" fmla="*/ 604 h 609"/>
                <a:gd name="T98" fmla="*/ 454 w 1073"/>
                <a:gd name="T99" fmla="*/ 560 h 609"/>
                <a:gd name="T100" fmla="*/ 460 w 1073"/>
                <a:gd name="T101" fmla="*/ 501 h 609"/>
                <a:gd name="T102" fmla="*/ 506 w 1073"/>
                <a:gd name="T103" fmla="*/ 506 h 609"/>
                <a:gd name="T104" fmla="*/ 579 w 1073"/>
                <a:gd name="T105" fmla="*/ 537 h 609"/>
                <a:gd name="T106" fmla="*/ 606 w 1073"/>
                <a:gd name="T107" fmla="*/ 542 h 609"/>
                <a:gd name="T108" fmla="*/ 682 w 1073"/>
                <a:gd name="T109" fmla="*/ 567 h 609"/>
                <a:gd name="T110" fmla="*/ 728 w 1073"/>
                <a:gd name="T111" fmla="*/ 565 h 609"/>
                <a:gd name="T112" fmla="*/ 777 w 1073"/>
                <a:gd name="T113" fmla="*/ 587 h 609"/>
                <a:gd name="T114" fmla="*/ 855 w 1073"/>
                <a:gd name="T115" fmla="*/ 542 h 609"/>
                <a:gd name="T116" fmla="*/ 929 w 1073"/>
                <a:gd name="T117" fmla="*/ 498 h 609"/>
                <a:gd name="T118" fmla="*/ 997 w 1073"/>
                <a:gd name="T119" fmla="*/ 423 h 609"/>
                <a:gd name="T120" fmla="*/ 1042 w 1073"/>
                <a:gd name="T121" fmla="*/ 38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73" h="609">
                  <a:moveTo>
                    <a:pt x="1072" y="370"/>
                  </a:moveTo>
                  <a:lnTo>
                    <a:pt x="1070" y="359"/>
                  </a:lnTo>
                  <a:lnTo>
                    <a:pt x="1069" y="357"/>
                  </a:lnTo>
                  <a:lnTo>
                    <a:pt x="1067" y="353"/>
                  </a:lnTo>
                  <a:lnTo>
                    <a:pt x="1067" y="351"/>
                  </a:lnTo>
                  <a:lnTo>
                    <a:pt x="1066" y="342"/>
                  </a:lnTo>
                  <a:lnTo>
                    <a:pt x="1065" y="340"/>
                  </a:lnTo>
                  <a:lnTo>
                    <a:pt x="1063" y="338"/>
                  </a:lnTo>
                  <a:lnTo>
                    <a:pt x="1060" y="339"/>
                  </a:lnTo>
                  <a:lnTo>
                    <a:pt x="1058" y="340"/>
                  </a:lnTo>
                  <a:lnTo>
                    <a:pt x="1055" y="340"/>
                  </a:lnTo>
                  <a:lnTo>
                    <a:pt x="1053" y="339"/>
                  </a:lnTo>
                  <a:lnTo>
                    <a:pt x="1050" y="335"/>
                  </a:lnTo>
                  <a:lnTo>
                    <a:pt x="1048" y="333"/>
                  </a:lnTo>
                  <a:lnTo>
                    <a:pt x="1046" y="333"/>
                  </a:lnTo>
                  <a:lnTo>
                    <a:pt x="1041" y="332"/>
                  </a:lnTo>
                  <a:lnTo>
                    <a:pt x="1039" y="331"/>
                  </a:lnTo>
                  <a:lnTo>
                    <a:pt x="1038" y="329"/>
                  </a:lnTo>
                  <a:lnTo>
                    <a:pt x="1036" y="322"/>
                  </a:lnTo>
                  <a:lnTo>
                    <a:pt x="1033" y="314"/>
                  </a:lnTo>
                  <a:lnTo>
                    <a:pt x="1030" y="307"/>
                  </a:lnTo>
                  <a:lnTo>
                    <a:pt x="1030" y="300"/>
                  </a:lnTo>
                  <a:lnTo>
                    <a:pt x="1034" y="295"/>
                  </a:lnTo>
                  <a:lnTo>
                    <a:pt x="1030" y="293"/>
                  </a:lnTo>
                  <a:lnTo>
                    <a:pt x="1029" y="290"/>
                  </a:lnTo>
                  <a:lnTo>
                    <a:pt x="1030" y="286"/>
                  </a:lnTo>
                  <a:lnTo>
                    <a:pt x="1029" y="282"/>
                  </a:lnTo>
                  <a:lnTo>
                    <a:pt x="1026" y="280"/>
                  </a:lnTo>
                  <a:lnTo>
                    <a:pt x="1020" y="284"/>
                  </a:lnTo>
                  <a:lnTo>
                    <a:pt x="1016" y="284"/>
                  </a:lnTo>
                  <a:lnTo>
                    <a:pt x="1005" y="278"/>
                  </a:lnTo>
                  <a:lnTo>
                    <a:pt x="998" y="276"/>
                  </a:lnTo>
                  <a:lnTo>
                    <a:pt x="992" y="276"/>
                  </a:lnTo>
                  <a:lnTo>
                    <a:pt x="992" y="276"/>
                  </a:lnTo>
                  <a:lnTo>
                    <a:pt x="993" y="277"/>
                  </a:lnTo>
                  <a:lnTo>
                    <a:pt x="993" y="277"/>
                  </a:lnTo>
                  <a:lnTo>
                    <a:pt x="993" y="277"/>
                  </a:lnTo>
                  <a:lnTo>
                    <a:pt x="989" y="281"/>
                  </a:lnTo>
                  <a:lnTo>
                    <a:pt x="986" y="282"/>
                  </a:lnTo>
                  <a:lnTo>
                    <a:pt x="983" y="279"/>
                  </a:lnTo>
                  <a:lnTo>
                    <a:pt x="982" y="277"/>
                  </a:lnTo>
                  <a:lnTo>
                    <a:pt x="981" y="273"/>
                  </a:lnTo>
                  <a:lnTo>
                    <a:pt x="981" y="272"/>
                  </a:lnTo>
                  <a:lnTo>
                    <a:pt x="979" y="271"/>
                  </a:lnTo>
                  <a:lnTo>
                    <a:pt x="975" y="270"/>
                  </a:lnTo>
                  <a:lnTo>
                    <a:pt x="973" y="269"/>
                  </a:lnTo>
                  <a:lnTo>
                    <a:pt x="968" y="265"/>
                  </a:lnTo>
                  <a:lnTo>
                    <a:pt x="966" y="263"/>
                  </a:lnTo>
                  <a:lnTo>
                    <a:pt x="955" y="262"/>
                  </a:lnTo>
                  <a:lnTo>
                    <a:pt x="953" y="259"/>
                  </a:lnTo>
                  <a:lnTo>
                    <a:pt x="954" y="254"/>
                  </a:lnTo>
                  <a:lnTo>
                    <a:pt x="945" y="249"/>
                  </a:lnTo>
                  <a:lnTo>
                    <a:pt x="943" y="248"/>
                  </a:lnTo>
                  <a:lnTo>
                    <a:pt x="940" y="247"/>
                  </a:lnTo>
                  <a:lnTo>
                    <a:pt x="941" y="253"/>
                  </a:lnTo>
                  <a:lnTo>
                    <a:pt x="942" y="253"/>
                  </a:lnTo>
                  <a:lnTo>
                    <a:pt x="943" y="253"/>
                  </a:lnTo>
                  <a:lnTo>
                    <a:pt x="944" y="253"/>
                  </a:lnTo>
                  <a:lnTo>
                    <a:pt x="946" y="254"/>
                  </a:lnTo>
                  <a:lnTo>
                    <a:pt x="946" y="257"/>
                  </a:lnTo>
                  <a:lnTo>
                    <a:pt x="945" y="258"/>
                  </a:lnTo>
                  <a:lnTo>
                    <a:pt x="940" y="260"/>
                  </a:lnTo>
                  <a:lnTo>
                    <a:pt x="933" y="260"/>
                  </a:lnTo>
                  <a:lnTo>
                    <a:pt x="931" y="261"/>
                  </a:lnTo>
                  <a:lnTo>
                    <a:pt x="926" y="265"/>
                  </a:lnTo>
                  <a:lnTo>
                    <a:pt x="920" y="267"/>
                  </a:lnTo>
                  <a:lnTo>
                    <a:pt x="914" y="265"/>
                  </a:lnTo>
                  <a:lnTo>
                    <a:pt x="904" y="255"/>
                  </a:lnTo>
                  <a:lnTo>
                    <a:pt x="902" y="253"/>
                  </a:lnTo>
                  <a:lnTo>
                    <a:pt x="901" y="250"/>
                  </a:lnTo>
                  <a:lnTo>
                    <a:pt x="900" y="247"/>
                  </a:lnTo>
                  <a:lnTo>
                    <a:pt x="899" y="244"/>
                  </a:lnTo>
                  <a:lnTo>
                    <a:pt x="897" y="242"/>
                  </a:lnTo>
                  <a:lnTo>
                    <a:pt x="896" y="240"/>
                  </a:lnTo>
                  <a:lnTo>
                    <a:pt x="895" y="239"/>
                  </a:lnTo>
                  <a:lnTo>
                    <a:pt x="896" y="238"/>
                  </a:lnTo>
                  <a:lnTo>
                    <a:pt x="897" y="236"/>
                  </a:lnTo>
                  <a:lnTo>
                    <a:pt x="897" y="236"/>
                  </a:lnTo>
                  <a:lnTo>
                    <a:pt x="897" y="236"/>
                  </a:lnTo>
                  <a:lnTo>
                    <a:pt x="897" y="236"/>
                  </a:lnTo>
                  <a:lnTo>
                    <a:pt x="897" y="235"/>
                  </a:lnTo>
                  <a:lnTo>
                    <a:pt x="895" y="235"/>
                  </a:lnTo>
                  <a:lnTo>
                    <a:pt x="891" y="233"/>
                  </a:lnTo>
                  <a:lnTo>
                    <a:pt x="889" y="232"/>
                  </a:lnTo>
                  <a:lnTo>
                    <a:pt x="887" y="233"/>
                  </a:lnTo>
                  <a:lnTo>
                    <a:pt x="886" y="234"/>
                  </a:lnTo>
                  <a:lnTo>
                    <a:pt x="884" y="234"/>
                  </a:lnTo>
                  <a:lnTo>
                    <a:pt x="882" y="233"/>
                  </a:lnTo>
                  <a:lnTo>
                    <a:pt x="874" y="223"/>
                  </a:lnTo>
                  <a:lnTo>
                    <a:pt x="874" y="221"/>
                  </a:lnTo>
                  <a:lnTo>
                    <a:pt x="875" y="219"/>
                  </a:lnTo>
                  <a:lnTo>
                    <a:pt x="876" y="218"/>
                  </a:lnTo>
                  <a:lnTo>
                    <a:pt x="884" y="217"/>
                  </a:lnTo>
                  <a:lnTo>
                    <a:pt x="888" y="216"/>
                  </a:lnTo>
                  <a:lnTo>
                    <a:pt x="895" y="212"/>
                  </a:lnTo>
                  <a:lnTo>
                    <a:pt x="898" y="209"/>
                  </a:lnTo>
                  <a:lnTo>
                    <a:pt x="900" y="205"/>
                  </a:lnTo>
                  <a:lnTo>
                    <a:pt x="897" y="200"/>
                  </a:lnTo>
                  <a:lnTo>
                    <a:pt x="896" y="199"/>
                  </a:lnTo>
                  <a:lnTo>
                    <a:pt x="895" y="196"/>
                  </a:lnTo>
                  <a:lnTo>
                    <a:pt x="896" y="194"/>
                  </a:lnTo>
                  <a:lnTo>
                    <a:pt x="897" y="190"/>
                  </a:lnTo>
                  <a:lnTo>
                    <a:pt x="898" y="189"/>
                  </a:lnTo>
                  <a:lnTo>
                    <a:pt x="898" y="188"/>
                  </a:lnTo>
                  <a:lnTo>
                    <a:pt x="898" y="187"/>
                  </a:lnTo>
                  <a:lnTo>
                    <a:pt x="897" y="187"/>
                  </a:lnTo>
                  <a:lnTo>
                    <a:pt x="894" y="183"/>
                  </a:lnTo>
                  <a:lnTo>
                    <a:pt x="894" y="182"/>
                  </a:lnTo>
                  <a:lnTo>
                    <a:pt x="891" y="181"/>
                  </a:lnTo>
                  <a:lnTo>
                    <a:pt x="890" y="182"/>
                  </a:lnTo>
                  <a:lnTo>
                    <a:pt x="889" y="183"/>
                  </a:lnTo>
                  <a:lnTo>
                    <a:pt x="889" y="185"/>
                  </a:lnTo>
                  <a:lnTo>
                    <a:pt x="884" y="192"/>
                  </a:lnTo>
                  <a:lnTo>
                    <a:pt x="881" y="194"/>
                  </a:lnTo>
                  <a:lnTo>
                    <a:pt x="877" y="195"/>
                  </a:lnTo>
                  <a:lnTo>
                    <a:pt x="863" y="193"/>
                  </a:lnTo>
                  <a:lnTo>
                    <a:pt x="855" y="193"/>
                  </a:lnTo>
                  <a:lnTo>
                    <a:pt x="851" y="199"/>
                  </a:lnTo>
                  <a:lnTo>
                    <a:pt x="850" y="200"/>
                  </a:lnTo>
                  <a:lnTo>
                    <a:pt x="849" y="200"/>
                  </a:lnTo>
                  <a:lnTo>
                    <a:pt x="848" y="200"/>
                  </a:lnTo>
                  <a:lnTo>
                    <a:pt x="848" y="199"/>
                  </a:lnTo>
                  <a:lnTo>
                    <a:pt x="846" y="194"/>
                  </a:lnTo>
                  <a:lnTo>
                    <a:pt x="843" y="191"/>
                  </a:lnTo>
                  <a:lnTo>
                    <a:pt x="839" y="192"/>
                  </a:lnTo>
                  <a:lnTo>
                    <a:pt x="837" y="196"/>
                  </a:lnTo>
                  <a:lnTo>
                    <a:pt x="835" y="195"/>
                  </a:lnTo>
                  <a:lnTo>
                    <a:pt x="834" y="192"/>
                  </a:lnTo>
                  <a:lnTo>
                    <a:pt x="834" y="189"/>
                  </a:lnTo>
                  <a:lnTo>
                    <a:pt x="834" y="186"/>
                  </a:lnTo>
                  <a:lnTo>
                    <a:pt x="833" y="185"/>
                  </a:lnTo>
                  <a:lnTo>
                    <a:pt x="833" y="185"/>
                  </a:lnTo>
                  <a:lnTo>
                    <a:pt x="832" y="184"/>
                  </a:lnTo>
                  <a:lnTo>
                    <a:pt x="832" y="183"/>
                  </a:lnTo>
                  <a:lnTo>
                    <a:pt x="835" y="181"/>
                  </a:lnTo>
                  <a:lnTo>
                    <a:pt x="831" y="180"/>
                  </a:lnTo>
                  <a:lnTo>
                    <a:pt x="824" y="180"/>
                  </a:lnTo>
                  <a:lnTo>
                    <a:pt x="820" y="179"/>
                  </a:lnTo>
                  <a:lnTo>
                    <a:pt x="815" y="176"/>
                  </a:lnTo>
                  <a:lnTo>
                    <a:pt x="813" y="174"/>
                  </a:lnTo>
                  <a:lnTo>
                    <a:pt x="812" y="172"/>
                  </a:lnTo>
                  <a:lnTo>
                    <a:pt x="811" y="169"/>
                  </a:lnTo>
                  <a:lnTo>
                    <a:pt x="811" y="166"/>
                  </a:lnTo>
                  <a:lnTo>
                    <a:pt x="811" y="165"/>
                  </a:lnTo>
                  <a:lnTo>
                    <a:pt x="809" y="165"/>
                  </a:lnTo>
                  <a:lnTo>
                    <a:pt x="804" y="166"/>
                  </a:lnTo>
                  <a:lnTo>
                    <a:pt x="802" y="166"/>
                  </a:lnTo>
                  <a:lnTo>
                    <a:pt x="800" y="165"/>
                  </a:lnTo>
                  <a:lnTo>
                    <a:pt x="796" y="161"/>
                  </a:lnTo>
                  <a:lnTo>
                    <a:pt x="795" y="161"/>
                  </a:lnTo>
                  <a:lnTo>
                    <a:pt x="778" y="156"/>
                  </a:lnTo>
                  <a:lnTo>
                    <a:pt x="775" y="156"/>
                  </a:lnTo>
                  <a:lnTo>
                    <a:pt x="772" y="155"/>
                  </a:lnTo>
                  <a:lnTo>
                    <a:pt x="768" y="152"/>
                  </a:lnTo>
                  <a:lnTo>
                    <a:pt x="764" y="152"/>
                  </a:lnTo>
                  <a:lnTo>
                    <a:pt x="760" y="154"/>
                  </a:lnTo>
                  <a:lnTo>
                    <a:pt x="760" y="158"/>
                  </a:lnTo>
                  <a:lnTo>
                    <a:pt x="765" y="165"/>
                  </a:lnTo>
                  <a:lnTo>
                    <a:pt x="767" y="170"/>
                  </a:lnTo>
                  <a:lnTo>
                    <a:pt x="768" y="175"/>
                  </a:lnTo>
                  <a:lnTo>
                    <a:pt x="769" y="180"/>
                  </a:lnTo>
                  <a:lnTo>
                    <a:pt x="772" y="183"/>
                  </a:lnTo>
                  <a:lnTo>
                    <a:pt x="776" y="185"/>
                  </a:lnTo>
                  <a:lnTo>
                    <a:pt x="779" y="188"/>
                  </a:lnTo>
                  <a:lnTo>
                    <a:pt x="781" y="193"/>
                  </a:lnTo>
                  <a:lnTo>
                    <a:pt x="781" y="199"/>
                  </a:lnTo>
                  <a:lnTo>
                    <a:pt x="783" y="202"/>
                  </a:lnTo>
                  <a:lnTo>
                    <a:pt x="783" y="205"/>
                  </a:lnTo>
                  <a:lnTo>
                    <a:pt x="782" y="207"/>
                  </a:lnTo>
                  <a:lnTo>
                    <a:pt x="781" y="206"/>
                  </a:lnTo>
                  <a:lnTo>
                    <a:pt x="779" y="204"/>
                  </a:lnTo>
                  <a:lnTo>
                    <a:pt x="778" y="202"/>
                  </a:lnTo>
                  <a:lnTo>
                    <a:pt x="777" y="202"/>
                  </a:lnTo>
                  <a:lnTo>
                    <a:pt x="775" y="201"/>
                  </a:lnTo>
                  <a:lnTo>
                    <a:pt x="774" y="202"/>
                  </a:lnTo>
                  <a:lnTo>
                    <a:pt x="774" y="205"/>
                  </a:lnTo>
                  <a:lnTo>
                    <a:pt x="774" y="206"/>
                  </a:lnTo>
                  <a:lnTo>
                    <a:pt x="772" y="206"/>
                  </a:lnTo>
                  <a:lnTo>
                    <a:pt x="770" y="205"/>
                  </a:lnTo>
                  <a:lnTo>
                    <a:pt x="768" y="205"/>
                  </a:lnTo>
                  <a:lnTo>
                    <a:pt x="766" y="206"/>
                  </a:lnTo>
                  <a:lnTo>
                    <a:pt x="764" y="210"/>
                  </a:lnTo>
                  <a:lnTo>
                    <a:pt x="762" y="211"/>
                  </a:lnTo>
                  <a:lnTo>
                    <a:pt x="760" y="212"/>
                  </a:lnTo>
                  <a:lnTo>
                    <a:pt x="758" y="212"/>
                  </a:lnTo>
                  <a:lnTo>
                    <a:pt x="755" y="212"/>
                  </a:lnTo>
                  <a:lnTo>
                    <a:pt x="752" y="213"/>
                  </a:lnTo>
                  <a:lnTo>
                    <a:pt x="749" y="216"/>
                  </a:lnTo>
                  <a:lnTo>
                    <a:pt x="746" y="220"/>
                  </a:lnTo>
                  <a:lnTo>
                    <a:pt x="744" y="224"/>
                  </a:lnTo>
                  <a:lnTo>
                    <a:pt x="742" y="226"/>
                  </a:lnTo>
                  <a:lnTo>
                    <a:pt x="738" y="229"/>
                  </a:lnTo>
                  <a:lnTo>
                    <a:pt x="734" y="235"/>
                  </a:lnTo>
                  <a:lnTo>
                    <a:pt x="727" y="236"/>
                  </a:lnTo>
                  <a:lnTo>
                    <a:pt x="721" y="232"/>
                  </a:lnTo>
                  <a:lnTo>
                    <a:pt x="715" y="227"/>
                  </a:lnTo>
                  <a:lnTo>
                    <a:pt x="712" y="224"/>
                  </a:lnTo>
                  <a:lnTo>
                    <a:pt x="711" y="221"/>
                  </a:lnTo>
                  <a:lnTo>
                    <a:pt x="709" y="212"/>
                  </a:lnTo>
                  <a:lnTo>
                    <a:pt x="707" y="208"/>
                  </a:lnTo>
                  <a:lnTo>
                    <a:pt x="703" y="203"/>
                  </a:lnTo>
                  <a:lnTo>
                    <a:pt x="700" y="199"/>
                  </a:lnTo>
                  <a:lnTo>
                    <a:pt x="698" y="196"/>
                  </a:lnTo>
                  <a:lnTo>
                    <a:pt x="694" y="188"/>
                  </a:lnTo>
                  <a:lnTo>
                    <a:pt x="692" y="185"/>
                  </a:lnTo>
                  <a:lnTo>
                    <a:pt x="688" y="183"/>
                  </a:lnTo>
                  <a:lnTo>
                    <a:pt x="681" y="180"/>
                  </a:lnTo>
                  <a:lnTo>
                    <a:pt x="679" y="176"/>
                  </a:lnTo>
                  <a:lnTo>
                    <a:pt x="678" y="174"/>
                  </a:lnTo>
                  <a:lnTo>
                    <a:pt x="678" y="172"/>
                  </a:lnTo>
                  <a:lnTo>
                    <a:pt x="678" y="170"/>
                  </a:lnTo>
                  <a:lnTo>
                    <a:pt x="677" y="167"/>
                  </a:lnTo>
                  <a:lnTo>
                    <a:pt x="675" y="167"/>
                  </a:lnTo>
                  <a:lnTo>
                    <a:pt x="668" y="167"/>
                  </a:lnTo>
                  <a:lnTo>
                    <a:pt x="666" y="167"/>
                  </a:lnTo>
                  <a:lnTo>
                    <a:pt x="665" y="168"/>
                  </a:lnTo>
                  <a:lnTo>
                    <a:pt x="664" y="169"/>
                  </a:lnTo>
                  <a:lnTo>
                    <a:pt x="662" y="167"/>
                  </a:lnTo>
                  <a:lnTo>
                    <a:pt x="661" y="166"/>
                  </a:lnTo>
                  <a:lnTo>
                    <a:pt x="659" y="159"/>
                  </a:lnTo>
                  <a:lnTo>
                    <a:pt x="654" y="158"/>
                  </a:lnTo>
                  <a:lnTo>
                    <a:pt x="653" y="154"/>
                  </a:lnTo>
                  <a:lnTo>
                    <a:pt x="654" y="150"/>
                  </a:lnTo>
                  <a:lnTo>
                    <a:pt x="657" y="151"/>
                  </a:lnTo>
                  <a:lnTo>
                    <a:pt x="657" y="150"/>
                  </a:lnTo>
                  <a:lnTo>
                    <a:pt x="656" y="147"/>
                  </a:lnTo>
                  <a:lnTo>
                    <a:pt x="657" y="147"/>
                  </a:lnTo>
                  <a:lnTo>
                    <a:pt x="658" y="146"/>
                  </a:lnTo>
                  <a:lnTo>
                    <a:pt x="659" y="146"/>
                  </a:lnTo>
                  <a:lnTo>
                    <a:pt x="662" y="144"/>
                  </a:lnTo>
                  <a:lnTo>
                    <a:pt x="664" y="142"/>
                  </a:lnTo>
                  <a:lnTo>
                    <a:pt x="667" y="140"/>
                  </a:lnTo>
                  <a:lnTo>
                    <a:pt x="668" y="137"/>
                  </a:lnTo>
                  <a:lnTo>
                    <a:pt x="670" y="136"/>
                  </a:lnTo>
                  <a:lnTo>
                    <a:pt x="676" y="137"/>
                  </a:lnTo>
                  <a:lnTo>
                    <a:pt x="678" y="137"/>
                  </a:lnTo>
                  <a:lnTo>
                    <a:pt x="680" y="135"/>
                  </a:lnTo>
                  <a:lnTo>
                    <a:pt x="683" y="131"/>
                  </a:lnTo>
                  <a:lnTo>
                    <a:pt x="684" y="130"/>
                  </a:lnTo>
                  <a:lnTo>
                    <a:pt x="684" y="130"/>
                  </a:lnTo>
                  <a:lnTo>
                    <a:pt x="684" y="128"/>
                  </a:lnTo>
                  <a:lnTo>
                    <a:pt x="684" y="126"/>
                  </a:lnTo>
                  <a:lnTo>
                    <a:pt x="684" y="125"/>
                  </a:lnTo>
                  <a:lnTo>
                    <a:pt x="685" y="124"/>
                  </a:lnTo>
                  <a:lnTo>
                    <a:pt x="686" y="123"/>
                  </a:lnTo>
                  <a:lnTo>
                    <a:pt x="686" y="122"/>
                  </a:lnTo>
                  <a:lnTo>
                    <a:pt x="685" y="120"/>
                  </a:lnTo>
                  <a:lnTo>
                    <a:pt x="690" y="118"/>
                  </a:lnTo>
                  <a:lnTo>
                    <a:pt x="688" y="113"/>
                  </a:lnTo>
                  <a:lnTo>
                    <a:pt x="675" y="99"/>
                  </a:lnTo>
                  <a:lnTo>
                    <a:pt x="670" y="96"/>
                  </a:lnTo>
                  <a:lnTo>
                    <a:pt x="665" y="95"/>
                  </a:lnTo>
                  <a:lnTo>
                    <a:pt x="659" y="95"/>
                  </a:lnTo>
                  <a:lnTo>
                    <a:pt x="657" y="95"/>
                  </a:lnTo>
                  <a:lnTo>
                    <a:pt x="656" y="98"/>
                  </a:lnTo>
                  <a:lnTo>
                    <a:pt x="655" y="101"/>
                  </a:lnTo>
                  <a:lnTo>
                    <a:pt x="653" y="103"/>
                  </a:lnTo>
                  <a:lnTo>
                    <a:pt x="650" y="104"/>
                  </a:lnTo>
                  <a:lnTo>
                    <a:pt x="648" y="103"/>
                  </a:lnTo>
                  <a:lnTo>
                    <a:pt x="643" y="99"/>
                  </a:lnTo>
                  <a:lnTo>
                    <a:pt x="636" y="98"/>
                  </a:lnTo>
                  <a:lnTo>
                    <a:pt x="626" y="108"/>
                  </a:lnTo>
                  <a:lnTo>
                    <a:pt x="620" y="109"/>
                  </a:lnTo>
                  <a:lnTo>
                    <a:pt x="619" y="108"/>
                  </a:lnTo>
                  <a:lnTo>
                    <a:pt x="619" y="108"/>
                  </a:lnTo>
                  <a:lnTo>
                    <a:pt x="619" y="107"/>
                  </a:lnTo>
                  <a:lnTo>
                    <a:pt x="620" y="106"/>
                  </a:lnTo>
                  <a:lnTo>
                    <a:pt x="622" y="104"/>
                  </a:lnTo>
                  <a:lnTo>
                    <a:pt x="622" y="101"/>
                  </a:lnTo>
                  <a:lnTo>
                    <a:pt x="621" y="98"/>
                  </a:lnTo>
                  <a:lnTo>
                    <a:pt x="620" y="94"/>
                  </a:lnTo>
                  <a:lnTo>
                    <a:pt x="618" y="91"/>
                  </a:lnTo>
                  <a:lnTo>
                    <a:pt x="616" y="88"/>
                  </a:lnTo>
                  <a:lnTo>
                    <a:pt x="613" y="88"/>
                  </a:lnTo>
                  <a:lnTo>
                    <a:pt x="604" y="92"/>
                  </a:lnTo>
                  <a:lnTo>
                    <a:pt x="599" y="92"/>
                  </a:lnTo>
                  <a:lnTo>
                    <a:pt x="598" y="91"/>
                  </a:lnTo>
                  <a:lnTo>
                    <a:pt x="590" y="78"/>
                  </a:lnTo>
                  <a:lnTo>
                    <a:pt x="590" y="76"/>
                  </a:lnTo>
                  <a:lnTo>
                    <a:pt x="589" y="74"/>
                  </a:lnTo>
                  <a:lnTo>
                    <a:pt x="586" y="74"/>
                  </a:lnTo>
                  <a:lnTo>
                    <a:pt x="572" y="77"/>
                  </a:lnTo>
                  <a:lnTo>
                    <a:pt x="571" y="77"/>
                  </a:lnTo>
                  <a:lnTo>
                    <a:pt x="569" y="76"/>
                  </a:lnTo>
                  <a:lnTo>
                    <a:pt x="567" y="73"/>
                  </a:lnTo>
                  <a:lnTo>
                    <a:pt x="566" y="71"/>
                  </a:lnTo>
                  <a:lnTo>
                    <a:pt x="534" y="60"/>
                  </a:lnTo>
                  <a:lnTo>
                    <a:pt x="527" y="61"/>
                  </a:lnTo>
                  <a:lnTo>
                    <a:pt x="526" y="63"/>
                  </a:lnTo>
                  <a:lnTo>
                    <a:pt x="524" y="65"/>
                  </a:lnTo>
                  <a:lnTo>
                    <a:pt x="522" y="67"/>
                  </a:lnTo>
                  <a:lnTo>
                    <a:pt x="522" y="67"/>
                  </a:lnTo>
                  <a:lnTo>
                    <a:pt x="520" y="66"/>
                  </a:lnTo>
                  <a:lnTo>
                    <a:pt x="519" y="64"/>
                  </a:lnTo>
                  <a:lnTo>
                    <a:pt x="519" y="62"/>
                  </a:lnTo>
                  <a:lnTo>
                    <a:pt x="520" y="59"/>
                  </a:lnTo>
                  <a:lnTo>
                    <a:pt x="520" y="57"/>
                  </a:lnTo>
                  <a:lnTo>
                    <a:pt x="518" y="52"/>
                  </a:lnTo>
                  <a:lnTo>
                    <a:pt x="515" y="50"/>
                  </a:lnTo>
                  <a:lnTo>
                    <a:pt x="513" y="49"/>
                  </a:lnTo>
                  <a:lnTo>
                    <a:pt x="509" y="46"/>
                  </a:lnTo>
                  <a:lnTo>
                    <a:pt x="508" y="43"/>
                  </a:lnTo>
                  <a:lnTo>
                    <a:pt x="506" y="39"/>
                  </a:lnTo>
                  <a:lnTo>
                    <a:pt x="504" y="35"/>
                  </a:lnTo>
                  <a:lnTo>
                    <a:pt x="504" y="32"/>
                  </a:lnTo>
                  <a:lnTo>
                    <a:pt x="505" y="27"/>
                  </a:lnTo>
                  <a:lnTo>
                    <a:pt x="506" y="24"/>
                  </a:lnTo>
                  <a:lnTo>
                    <a:pt x="507" y="22"/>
                  </a:lnTo>
                  <a:lnTo>
                    <a:pt x="504" y="18"/>
                  </a:lnTo>
                  <a:lnTo>
                    <a:pt x="500" y="16"/>
                  </a:lnTo>
                  <a:lnTo>
                    <a:pt x="491" y="15"/>
                  </a:lnTo>
                  <a:lnTo>
                    <a:pt x="489" y="12"/>
                  </a:lnTo>
                  <a:lnTo>
                    <a:pt x="488" y="8"/>
                  </a:lnTo>
                  <a:lnTo>
                    <a:pt x="487" y="7"/>
                  </a:lnTo>
                  <a:lnTo>
                    <a:pt x="484" y="9"/>
                  </a:lnTo>
                  <a:lnTo>
                    <a:pt x="483" y="12"/>
                  </a:lnTo>
                  <a:lnTo>
                    <a:pt x="483" y="12"/>
                  </a:lnTo>
                  <a:lnTo>
                    <a:pt x="483" y="14"/>
                  </a:lnTo>
                  <a:lnTo>
                    <a:pt x="481" y="15"/>
                  </a:lnTo>
                  <a:lnTo>
                    <a:pt x="478" y="14"/>
                  </a:lnTo>
                  <a:lnTo>
                    <a:pt x="477" y="12"/>
                  </a:lnTo>
                  <a:lnTo>
                    <a:pt x="475" y="9"/>
                  </a:lnTo>
                  <a:lnTo>
                    <a:pt x="467" y="8"/>
                  </a:lnTo>
                  <a:lnTo>
                    <a:pt x="464" y="5"/>
                  </a:lnTo>
                  <a:lnTo>
                    <a:pt x="464" y="7"/>
                  </a:lnTo>
                  <a:lnTo>
                    <a:pt x="463" y="8"/>
                  </a:lnTo>
                  <a:lnTo>
                    <a:pt x="461" y="9"/>
                  </a:lnTo>
                  <a:lnTo>
                    <a:pt x="460" y="10"/>
                  </a:lnTo>
                  <a:lnTo>
                    <a:pt x="459" y="10"/>
                  </a:lnTo>
                  <a:lnTo>
                    <a:pt x="458" y="11"/>
                  </a:lnTo>
                  <a:lnTo>
                    <a:pt x="458" y="12"/>
                  </a:lnTo>
                  <a:lnTo>
                    <a:pt x="458" y="12"/>
                  </a:lnTo>
                  <a:lnTo>
                    <a:pt x="458" y="14"/>
                  </a:lnTo>
                  <a:lnTo>
                    <a:pt x="461" y="17"/>
                  </a:lnTo>
                  <a:lnTo>
                    <a:pt x="463" y="20"/>
                  </a:lnTo>
                  <a:lnTo>
                    <a:pt x="463" y="28"/>
                  </a:lnTo>
                  <a:lnTo>
                    <a:pt x="463" y="29"/>
                  </a:lnTo>
                  <a:lnTo>
                    <a:pt x="461" y="30"/>
                  </a:lnTo>
                  <a:lnTo>
                    <a:pt x="461" y="31"/>
                  </a:lnTo>
                  <a:lnTo>
                    <a:pt x="461" y="33"/>
                  </a:lnTo>
                  <a:lnTo>
                    <a:pt x="461" y="34"/>
                  </a:lnTo>
                  <a:lnTo>
                    <a:pt x="461" y="34"/>
                  </a:lnTo>
                  <a:lnTo>
                    <a:pt x="461" y="43"/>
                  </a:lnTo>
                  <a:lnTo>
                    <a:pt x="461" y="45"/>
                  </a:lnTo>
                  <a:lnTo>
                    <a:pt x="443" y="44"/>
                  </a:lnTo>
                  <a:lnTo>
                    <a:pt x="437" y="46"/>
                  </a:lnTo>
                  <a:lnTo>
                    <a:pt x="434" y="45"/>
                  </a:lnTo>
                  <a:lnTo>
                    <a:pt x="431" y="52"/>
                  </a:lnTo>
                  <a:lnTo>
                    <a:pt x="430" y="55"/>
                  </a:lnTo>
                  <a:lnTo>
                    <a:pt x="428" y="57"/>
                  </a:lnTo>
                  <a:lnTo>
                    <a:pt x="425" y="58"/>
                  </a:lnTo>
                  <a:lnTo>
                    <a:pt x="422" y="58"/>
                  </a:lnTo>
                  <a:lnTo>
                    <a:pt x="416" y="56"/>
                  </a:lnTo>
                  <a:lnTo>
                    <a:pt x="410" y="52"/>
                  </a:lnTo>
                  <a:lnTo>
                    <a:pt x="408" y="50"/>
                  </a:lnTo>
                  <a:lnTo>
                    <a:pt x="402" y="49"/>
                  </a:lnTo>
                  <a:lnTo>
                    <a:pt x="401" y="47"/>
                  </a:lnTo>
                  <a:lnTo>
                    <a:pt x="402" y="42"/>
                  </a:lnTo>
                  <a:lnTo>
                    <a:pt x="405" y="36"/>
                  </a:lnTo>
                  <a:lnTo>
                    <a:pt x="405" y="33"/>
                  </a:lnTo>
                  <a:lnTo>
                    <a:pt x="405" y="30"/>
                  </a:lnTo>
                  <a:lnTo>
                    <a:pt x="403" y="30"/>
                  </a:lnTo>
                  <a:lnTo>
                    <a:pt x="394" y="34"/>
                  </a:lnTo>
                  <a:lnTo>
                    <a:pt x="392" y="32"/>
                  </a:lnTo>
                  <a:lnTo>
                    <a:pt x="393" y="29"/>
                  </a:lnTo>
                  <a:lnTo>
                    <a:pt x="395" y="25"/>
                  </a:lnTo>
                  <a:lnTo>
                    <a:pt x="396" y="22"/>
                  </a:lnTo>
                  <a:lnTo>
                    <a:pt x="396" y="19"/>
                  </a:lnTo>
                  <a:lnTo>
                    <a:pt x="396" y="16"/>
                  </a:lnTo>
                  <a:lnTo>
                    <a:pt x="395" y="14"/>
                  </a:lnTo>
                  <a:lnTo>
                    <a:pt x="393" y="12"/>
                  </a:lnTo>
                  <a:lnTo>
                    <a:pt x="391" y="10"/>
                  </a:lnTo>
                  <a:lnTo>
                    <a:pt x="387" y="9"/>
                  </a:lnTo>
                  <a:lnTo>
                    <a:pt x="385" y="8"/>
                  </a:lnTo>
                  <a:lnTo>
                    <a:pt x="383" y="6"/>
                  </a:lnTo>
                  <a:lnTo>
                    <a:pt x="383" y="4"/>
                  </a:lnTo>
                  <a:lnTo>
                    <a:pt x="382" y="3"/>
                  </a:lnTo>
                  <a:lnTo>
                    <a:pt x="381" y="0"/>
                  </a:lnTo>
                  <a:lnTo>
                    <a:pt x="380" y="4"/>
                  </a:lnTo>
                  <a:lnTo>
                    <a:pt x="378" y="5"/>
                  </a:lnTo>
                  <a:lnTo>
                    <a:pt x="372" y="4"/>
                  </a:lnTo>
                  <a:lnTo>
                    <a:pt x="368" y="7"/>
                  </a:lnTo>
                  <a:lnTo>
                    <a:pt x="366" y="7"/>
                  </a:lnTo>
                  <a:lnTo>
                    <a:pt x="365" y="6"/>
                  </a:lnTo>
                  <a:lnTo>
                    <a:pt x="364" y="4"/>
                  </a:lnTo>
                  <a:lnTo>
                    <a:pt x="363" y="3"/>
                  </a:lnTo>
                  <a:lnTo>
                    <a:pt x="361" y="2"/>
                  </a:lnTo>
                  <a:lnTo>
                    <a:pt x="356" y="0"/>
                  </a:lnTo>
                  <a:lnTo>
                    <a:pt x="351" y="1"/>
                  </a:lnTo>
                  <a:lnTo>
                    <a:pt x="347" y="4"/>
                  </a:lnTo>
                  <a:lnTo>
                    <a:pt x="345" y="12"/>
                  </a:lnTo>
                  <a:lnTo>
                    <a:pt x="343" y="14"/>
                  </a:lnTo>
                  <a:lnTo>
                    <a:pt x="345" y="15"/>
                  </a:lnTo>
                  <a:lnTo>
                    <a:pt x="350" y="16"/>
                  </a:lnTo>
                  <a:lnTo>
                    <a:pt x="353" y="18"/>
                  </a:lnTo>
                  <a:lnTo>
                    <a:pt x="353" y="18"/>
                  </a:lnTo>
                  <a:lnTo>
                    <a:pt x="351" y="19"/>
                  </a:lnTo>
                  <a:lnTo>
                    <a:pt x="351" y="22"/>
                  </a:lnTo>
                  <a:lnTo>
                    <a:pt x="356" y="26"/>
                  </a:lnTo>
                  <a:lnTo>
                    <a:pt x="361" y="27"/>
                  </a:lnTo>
                  <a:lnTo>
                    <a:pt x="366" y="30"/>
                  </a:lnTo>
                  <a:lnTo>
                    <a:pt x="365" y="36"/>
                  </a:lnTo>
                  <a:lnTo>
                    <a:pt x="360" y="40"/>
                  </a:lnTo>
                  <a:lnTo>
                    <a:pt x="347" y="39"/>
                  </a:lnTo>
                  <a:lnTo>
                    <a:pt x="342" y="40"/>
                  </a:lnTo>
                  <a:lnTo>
                    <a:pt x="340" y="42"/>
                  </a:lnTo>
                  <a:lnTo>
                    <a:pt x="337" y="46"/>
                  </a:lnTo>
                  <a:lnTo>
                    <a:pt x="335" y="48"/>
                  </a:lnTo>
                  <a:lnTo>
                    <a:pt x="310" y="59"/>
                  </a:lnTo>
                  <a:lnTo>
                    <a:pt x="307" y="60"/>
                  </a:lnTo>
                  <a:lnTo>
                    <a:pt x="302" y="59"/>
                  </a:lnTo>
                  <a:lnTo>
                    <a:pt x="298" y="60"/>
                  </a:lnTo>
                  <a:lnTo>
                    <a:pt x="297" y="61"/>
                  </a:lnTo>
                  <a:lnTo>
                    <a:pt x="294" y="64"/>
                  </a:lnTo>
                  <a:lnTo>
                    <a:pt x="293" y="65"/>
                  </a:lnTo>
                  <a:lnTo>
                    <a:pt x="291" y="65"/>
                  </a:lnTo>
                  <a:lnTo>
                    <a:pt x="289" y="65"/>
                  </a:lnTo>
                  <a:lnTo>
                    <a:pt x="288" y="65"/>
                  </a:lnTo>
                  <a:lnTo>
                    <a:pt x="286" y="67"/>
                  </a:lnTo>
                  <a:lnTo>
                    <a:pt x="286" y="69"/>
                  </a:lnTo>
                  <a:lnTo>
                    <a:pt x="286" y="71"/>
                  </a:lnTo>
                  <a:lnTo>
                    <a:pt x="286" y="73"/>
                  </a:lnTo>
                  <a:lnTo>
                    <a:pt x="286" y="74"/>
                  </a:lnTo>
                  <a:lnTo>
                    <a:pt x="285" y="76"/>
                  </a:lnTo>
                  <a:lnTo>
                    <a:pt x="284" y="76"/>
                  </a:lnTo>
                  <a:lnTo>
                    <a:pt x="283" y="76"/>
                  </a:lnTo>
                  <a:lnTo>
                    <a:pt x="279" y="79"/>
                  </a:lnTo>
                  <a:lnTo>
                    <a:pt x="276" y="80"/>
                  </a:lnTo>
                  <a:lnTo>
                    <a:pt x="268" y="79"/>
                  </a:lnTo>
                  <a:lnTo>
                    <a:pt x="265" y="79"/>
                  </a:lnTo>
                  <a:lnTo>
                    <a:pt x="259" y="82"/>
                  </a:lnTo>
                  <a:lnTo>
                    <a:pt x="256" y="82"/>
                  </a:lnTo>
                  <a:lnTo>
                    <a:pt x="242" y="82"/>
                  </a:lnTo>
                  <a:lnTo>
                    <a:pt x="234" y="83"/>
                  </a:lnTo>
                  <a:lnTo>
                    <a:pt x="228" y="87"/>
                  </a:lnTo>
                  <a:lnTo>
                    <a:pt x="230" y="91"/>
                  </a:lnTo>
                  <a:lnTo>
                    <a:pt x="229" y="95"/>
                  </a:lnTo>
                  <a:lnTo>
                    <a:pt x="227" y="97"/>
                  </a:lnTo>
                  <a:lnTo>
                    <a:pt x="224" y="99"/>
                  </a:lnTo>
                  <a:lnTo>
                    <a:pt x="225" y="101"/>
                  </a:lnTo>
                  <a:lnTo>
                    <a:pt x="225" y="103"/>
                  </a:lnTo>
                  <a:lnTo>
                    <a:pt x="224" y="104"/>
                  </a:lnTo>
                  <a:lnTo>
                    <a:pt x="223" y="105"/>
                  </a:lnTo>
                  <a:lnTo>
                    <a:pt x="220" y="108"/>
                  </a:lnTo>
                  <a:lnTo>
                    <a:pt x="217" y="111"/>
                  </a:lnTo>
                  <a:lnTo>
                    <a:pt x="214" y="112"/>
                  </a:lnTo>
                  <a:lnTo>
                    <a:pt x="211" y="110"/>
                  </a:lnTo>
                  <a:lnTo>
                    <a:pt x="210" y="108"/>
                  </a:lnTo>
                  <a:lnTo>
                    <a:pt x="208" y="105"/>
                  </a:lnTo>
                  <a:lnTo>
                    <a:pt x="207" y="104"/>
                  </a:lnTo>
                  <a:lnTo>
                    <a:pt x="205" y="103"/>
                  </a:lnTo>
                  <a:lnTo>
                    <a:pt x="204" y="103"/>
                  </a:lnTo>
                  <a:lnTo>
                    <a:pt x="204" y="104"/>
                  </a:lnTo>
                  <a:lnTo>
                    <a:pt x="203" y="105"/>
                  </a:lnTo>
                  <a:lnTo>
                    <a:pt x="197" y="110"/>
                  </a:lnTo>
                  <a:lnTo>
                    <a:pt x="196" y="111"/>
                  </a:lnTo>
                  <a:lnTo>
                    <a:pt x="195" y="116"/>
                  </a:lnTo>
                  <a:lnTo>
                    <a:pt x="191" y="118"/>
                  </a:lnTo>
                  <a:lnTo>
                    <a:pt x="189" y="117"/>
                  </a:lnTo>
                  <a:lnTo>
                    <a:pt x="186" y="115"/>
                  </a:lnTo>
                  <a:lnTo>
                    <a:pt x="183" y="115"/>
                  </a:lnTo>
                  <a:lnTo>
                    <a:pt x="178" y="129"/>
                  </a:lnTo>
                  <a:lnTo>
                    <a:pt x="175" y="133"/>
                  </a:lnTo>
                  <a:lnTo>
                    <a:pt x="171" y="136"/>
                  </a:lnTo>
                  <a:lnTo>
                    <a:pt x="163" y="135"/>
                  </a:lnTo>
                  <a:lnTo>
                    <a:pt x="159" y="137"/>
                  </a:lnTo>
                  <a:lnTo>
                    <a:pt x="159" y="137"/>
                  </a:lnTo>
                  <a:lnTo>
                    <a:pt x="159" y="137"/>
                  </a:lnTo>
                  <a:lnTo>
                    <a:pt x="157" y="137"/>
                  </a:lnTo>
                  <a:lnTo>
                    <a:pt x="156" y="137"/>
                  </a:lnTo>
                  <a:lnTo>
                    <a:pt x="154" y="137"/>
                  </a:lnTo>
                  <a:lnTo>
                    <a:pt x="153" y="137"/>
                  </a:lnTo>
                  <a:lnTo>
                    <a:pt x="152" y="136"/>
                  </a:lnTo>
                  <a:lnTo>
                    <a:pt x="150" y="136"/>
                  </a:lnTo>
                  <a:lnTo>
                    <a:pt x="149" y="136"/>
                  </a:lnTo>
                  <a:lnTo>
                    <a:pt x="148" y="137"/>
                  </a:lnTo>
                  <a:lnTo>
                    <a:pt x="147" y="147"/>
                  </a:lnTo>
                  <a:lnTo>
                    <a:pt x="146" y="151"/>
                  </a:lnTo>
                  <a:lnTo>
                    <a:pt x="143" y="154"/>
                  </a:lnTo>
                  <a:lnTo>
                    <a:pt x="140" y="158"/>
                  </a:lnTo>
                  <a:lnTo>
                    <a:pt x="139" y="159"/>
                  </a:lnTo>
                  <a:lnTo>
                    <a:pt x="133" y="159"/>
                  </a:lnTo>
                  <a:lnTo>
                    <a:pt x="118" y="150"/>
                  </a:lnTo>
                  <a:lnTo>
                    <a:pt x="117" y="149"/>
                  </a:lnTo>
                  <a:lnTo>
                    <a:pt x="116" y="150"/>
                  </a:lnTo>
                  <a:lnTo>
                    <a:pt x="113" y="151"/>
                  </a:lnTo>
                  <a:lnTo>
                    <a:pt x="112" y="151"/>
                  </a:lnTo>
                  <a:lnTo>
                    <a:pt x="110" y="151"/>
                  </a:lnTo>
                  <a:lnTo>
                    <a:pt x="107" y="151"/>
                  </a:lnTo>
                  <a:lnTo>
                    <a:pt x="105" y="152"/>
                  </a:lnTo>
                  <a:lnTo>
                    <a:pt x="102" y="154"/>
                  </a:lnTo>
                  <a:lnTo>
                    <a:pt x="99" y="160"/>
                  </a:lnTo>
                  <a:lnTo>
                    <a:pt x="97" y="161"/>
                  </a:lnTo>
                  <a:lnTo>
                    <a:pt x="95" y="161"/>
                  </a:lnTo>
                  <a:lnTo>
                    <a:pt x="87" y="160"/>
                  </a:lnTo>
                  <a:lnTo>
                    <a:pt x="75" y="161"/>
                  </a:lnTo>
                  <a:lnTo>
                    <a:pt x="68" y="163"/>
                  </a:lnTo>
                  <a:lnTo>
                    <a:pt x="64" y="166"/>
                  </a:lnTo>
                  <a:lnTo>
                    <a:pt x="63" y="167"/>
                  </a:lnTo>
                  <a:lnTo>
                    <a:pt x="62" y="169"/>
                  </a:lnTo>
                  <a:lnTo>
                    <a:pt x="62" y="170"/>
                  </a:lnTo>
                  <a:lnTo>
                    <a:pt x="62" y="171"/>
                  </a:lnTo>
                  <a:lnTo>
                    <a:pt x="62" y="171"/>
                  </a:lnTo>
                  <a:lnTo>
                    <a:pt x="62" y="172"/>
                  </a:lnTo>
                  <a:lnTo>
                    <a:pt x="62" y="173"/>
                  </a:lnTo>
                  <a:lnTo>
                    <a:pt x="62" y="174"/>
                  </a:lnTo>
                  <a:lnTo>
                    <a:pt x="61" y="175"/>
                  </a:lnTo>
                  <a:lnTo>
                    <a:pt x="59" y="175"/>
                  </a:lnTo>
                  <a:lnTo>
                    <a:pt x="59" y="175"/>
                  </a:lnTo>
                  <a:lnTo>
                    <a:pt x="57" y="177"/>
                  </a:lnTo>
                  <a:lnTo>
                    <a:pt x="52" y="179"/>
                  </a:lnTo>
                  <a:lnTo>
                    <a:pt x="51" y="181"/>
                  </a:lnTo>
                  <a:lnTo>
                    <a:pt x="46" y="190"/>
                  </a:lnTo>
                  <a:lnTo>
                    <a:pt x="44" y="192"/>
                  </a:lnTo>
                  <a:lnTo>
                    <a:pt x="42" y="193"/>
                  </a:lnTo>
                  <a:lnTo>
                    <a:pt x="41" y="195"/>
                  </a:lnTo>
                  <a:lnTo>
                    <a:pt x="40" y="199"/>
                  </a:lnTo>
                  <a:lnTo>
                    <a:pt x="37" y="203"/>
                  </a:lnTo>
                  <a:lnTo>
                    <a:pt x="36" y="205"/>
                  </a:lnTo>
                  <a:lnTo>
                    <a:pt x="36" y="210"/>
                  </a:lnTo>
                  <a:lnTo>
                    <a:pt x="36" y="213"/>
                  </a:lnTo>
                  <a:lnTo>
                    <a:pt x="37" y="215"/>
                  </a:lnTo>
                  <a:lnTo>
                    <a:pt x="37" y="218"/>
                  </a:lnTo>
                  <a:lnTo>
                    <a:pt x="35" y="219"/>
                  </a:lnTo>
                  <a:lnTo>
                    <a:pt x="32" y="219"/>
                  </a:lnTo>
                  <a:lnTo>
                    <a:pt x="31" y="216"/>
                  </a:lnTo>
                  <a:lnTo>
                    <a:pt x="29" y="210"/>
                  </a:lnTo>
                  <a:lnTo>
                    <a:pt x="29" y="208"/>
                  </a:lnTo>
                  <a:lnTo>
                    <a:pt x="29" y="207"/>
                  </a:lnTo>
                  <a:lnTo>
                    <a:pt x="28" y="205"/>
                  </a:lnTo>
                  <a:lnTo>
                    <a:pt x="27" y="204"/>
                  </a:lnTo>
                  <a:lnTo>
                    <a:pt x="24" y="201"/>
                  </a:lnTo>
                  <a:lnTo>
                    <a:pt x="24" y="201"/>
                  </a:lnTo>
                  <a:lnTo>
                    <a:pt x="24" y="200"/>
                  </a:lnTo>
                  <a:lnTo>
                    <a:pt x="24" y="200"/>
                  </a:lnTo>
                  <a:lnTo>
                    <a:pt x="24" y="199"/>
                  </a:lnTo>
                  <a:lnTo>
                    <a:pt x="24" y="199"/>
                  </a:lnTo>
                  <a:lnTo>
                    <a:pt x="25" y="199"/>
                  </a:lnTo>
                  <a:lnTo>
                    <a:pt x="25" y="199"/>
                  </a:lnTo>
                  <a:lnTo>
                    <a:pt x="25" y="199"/>
                  </a:lnTo>
                  <a:lnTo>
                    <a:pt x="26" y="197"/>
                  </a:lnTo>
                  <a:lnTo>
                    <a:pt x="26" y="196"/>
                  </a:lnTo>
                  <a:lnTo>
                    <a:pt x="25" y="195"/>
                  </a:lnTo>
                  <a:lnTo>
                    <a:pt x="24" y="195"/>
                  </a:lnTo>
                  <a:lnTo>
                    <a:pt x="20" y="195"/>
                  </a:lnTo>
                  <a:lnTo>
                    <a:pt x="18" y="194"/>
                  </a:lnTo>
                  <a:lnTo>
                    <a:pt x="16" y="192"/>
                  </a:lnTo>
                  <a:lnTo>
                    <a:pt x="15" y="190"/>
                  </a:lnTo>
                  <a:lnTo>
                    <a:pt x="15" y="186"/>
                  </a:lnTo>
                  <a:lnTo>
                    <a:pt x="14" y="184"/>
                  </a:lnTo>
                  <a:lnTo>
                    <a:pt x="11" y="182"/>
                  </a:lnTo>
                  <a:lnTo>
                    <a:pt x="4" y="181"/>
                  </a:lnTo>
                  <a:lnTo>
                    <a:pt x="0" y="181"/>
                  </a:lnTo>
                  <a:lnTo>
                    <a:pt x="3" y="185"/>
                  </a:lnTo>
                  <a:lnTo>
                    <a:pt x="4" y="187"/>
                  </a:lnTo>
                  <a:lnTo>
                    <a:pt x="5" y="190"/>
                  </a:lnTo>
                  <a:lnTo>
                    <a:pt x="5" y="194"/>
                  </a:lnTo>
                  <a:lnTo>
                    <a:pt x="4" y="195"/>
                  </a:lnTo>
                  <a:lnTo>
                    <a:pt x="2" y="196"/>
                  </a:lnTo>
                  <a:lnTo>
                    <a:pt x="0" y="199"/>
                  </a:lnTo>
                  <a:lnTo>
                    <a:pt x="2" y="202"/>
                  </a:lnTo>
                  <a:lnTo>
                    <a:pt x="9" y="207"/>
                  </a:lnTo>
                  <a:lnTo>
                    <a:pt x="14" y="211"/>
                  </a:lnTo>
                  <a:lnTo>
                    <a:pt x="15" y="214"/>
                  </a:lnTo>
                  <a:lnTo>
                    <a:pt x="16" y="217"/>
                  </a:lnTo>
                  <a:lnTo>
                    <a:pt x="17" y="220"/>
                  </a:lnTo>
                  <a:lnTo>
                    <a:pt x="16" y="226"/>
                  </a:lnTo>
                  <a:lnTo>
                    <a:pt x="16" y="230"/>
                  </a:lnTo>
                  <a:lnTo>
                    <a:pt x="17" y="234"/>
                  </a:lnTo>
                  <a:lnTo>
                    <a:pt x="19" y="235"/>
                  </a:lnTo>
                  <a:lnTo>
                    <a:pt x="22" y="237"/>
                  </a:lnTo>
                  <a:lnTo>
                    <a:pt x="24" y="239"/>
                  </a:lnTo>
                  <a:lnTo>
                    <a:pt x="26" y="241"/>
                  </a:lnTo>
                  <a:lnTo>
                    <a:pt x="26" y="244"/>
                  </a:lnTo>
                  <a:lnTo>
                    <a:pt x="26" y="246"/>
                  </a:lnTo>
                  <a:lnTo>
                    <a:pt x="27" y="248"/>
                  </a:lnTo>
                  <a:lnTo>
                    <a:pt x="51" y="261"/>
                  </a:lnTo>
                  <a:lnTo>
                    <a:pt x="51" y="261"/>
                  </a:lnTo>
                  <a:lnTo>
                    <a:pt x="53" y="263"/>
                  </a:lnTo>
                  <a:lnTo>
                    <a:pt x="59" y="263"/>
                  </a:lnTo>
                  <a:lnTo>
                    <a:pt x="62" y="266"/>
                  </a:lnTo>
                  <a:lnTo>
                    <a:pt x="62" y="270"/>
                  </a:lnTo>
                  <a:lnTo>
                    <a:pt x="61" y="273"/>
                  </a:lnTo>
                  <a:lnTo>
                    <a:pt x="61" y="276"/>
                  </a:lnTo>
                  <a:lnTo>
                    <a:pt x="68" y="279"/>
                  </a:lnTo>
                  <a:lnTo>
                    <a:pt x="70" y="280"/>
                  </a:lnTo>
                  <a:lnTo>
                    <a:pt x="71" y="282"/>
                  </a:lnTo>
                  <a:lnTo>
                    <a:pt x="70" y="287"/>
                  </a:lnTo>
                  <a:lnTo>
                    <a:pt x="69" y="291"/>
                  </a:lnTo>
                  <a:lnTo>
                    <a:pt x="65" y="298"/>
                  </a:lnTo>
                  <a:lnTo>
                    <a:pt x="64" y="301"/>
                  </a:lnTo>
                  <a:lnTo>
                    <a:pt x="61" y="300"/>
                  </a:lnTo>
                  <a:lnTo>
                    <a:pt x="60" y="304"/>
                  </a:lnTo>
                  <a:lnTo>
                    <a:pt x="60" y="309"/>
                  </a:lnTo>
                  <a:lnTo>
                    <a:pt x="59" y="313"/>
                  </a:lnTo>
                  <a:lnTo>
                    <a:pt x="57" y="316"/>
                  </a:lnTo>
                  <a:lnTo>
                    <a:pt x="50" y="318"/>
                  </a:lnTo>
                  <a:lnTo>
                    <a:pt x="48" y="322"/>
                  </a:lnTo>
                  <a:lnTo>
                    <a:pt x="49" y="325"/>
                  </a:lnTo>
                  <a:lnTo>
                    <a:pt x="51" y="328"/>
                  </a:lnTo>
                  <a:lnTo>
                    <a:pt x="54" y="332"/>
                  </a:lnTo>
                  <a:lnTo>
                    <a:pt x="56" y="334"/>
                  </a:lnTo>
                  <a:lnTo>
                    <a:pt x="59" y="336"/>
                  </a:lnTo>
                  <a:lnTo>
                    <a:pt x="64" y="339"/>
                  </a:lnTo>
                  <a:lnTo>
                    <a:pt x="66" y="340"/>
                  </a:lnTo>
                  <a:lnTo>
                    <a:pt x="68" y="342"/>
                  </a:lnTo>
                  <a:lnTo>
                    <a:pt x="68" y="346"/>
                  </a:lnTo>
                  <a:lnTo>
                    <a:pt x="66" y="349"/>
                  </a:lnTo>
                  <a:lnTo>
                    <a:pt x="67" y="349"/>
                  </a:lnTo>
                  <a:lnTo>
                    <a:pt x="68" y="350"/>
                  </a:lnTo>
                  <a:lnTo>
                    <a:pt x="67" y="351"/>
                  </a:lnTo>
                  <a:lnTo>
                    <a:pt x="67" y="352"/>
                  </a:lnTo>
                  <a:lnTo>
                    <a:pt x="69" y="354"/>
                  </a:lnTo>
                  <a:lnTo>
                    <a:pt x="73" y="356"/>
                  </a:lnTo>
                  <a:lnTo>
                    <a:pt x="74" y="358"/>
                  </a:lnTo>
                  <a:lnTo>
                    <a:pt x="75" y="361"/>
                  </a:lnTo>
                  <a:lnTo>
                    <a:pt x="76" y="366"/>
                  </a:lnTo>
                  <a:lnTo>
                    <a:pt x="77" y="369"/>
                  </a:lnTo>
                  <a:lnTo>
                    <a:pt x="78" y="372"/>
                  </a:lnTo>
                  <a:lnTo>
                    <a:pt x="79" y="374"/>
                  </a:lnTo>
                  <a:lnTo>
                    <a:pt x="80" y="376"/>
                  </a:lnTo>
                  <a:lnTo>
                    <a:pt x="82" y="378"/>
                  </a:lnTo>
                  <a:lnTo>
                    <a:pt x="83" y="378"/>
                  </a:lnTo>
                  <a:lnTo>
                    <a:pt x="85" y="378"/>
                  </a:lnTo>
                  <a:lnTo>
                    <a:pt x="86" y="379"/>
                  </a:lnTo>
                  <a:lnTo>
                    <a:pt x="87" y="383"/>
                  </a:lnTo>
                  <a:lnTo>
                    <a:pt x="87" y="391"/>
                  </a:lnTo>
                  <a:lnTo>
                    <a:pt x="88" y="395"/>
                  </a:lnTo>
                  <a:lnTo>
                    <a:pt x="90" y="399"/>
                  </a:lnTo>
                  <a:lnTo>
                    <a:pt x="93" y="401"/>
                  </a:lnTo>
                  <a:lnTo>
                    <a:pt x="100" y="405"/>
                  </a:lnTo>
                  <a:lnTo>
                    <a:pt x="103" y="408"/>
                  </a:lnTo>
                  <a:lnTo>
                    <a:pt x="108" y="420"/>
                  </a:lnTo>
                  <a:lnTo>
                    <a:pt x="111" y="422"/>
                  </a:lnTo>
                  <a:lnTo>
                    <a:pt x="114" y="423"/>
                  </a:lnTo>
                  <a:lnTo>
                    <a:pt x="123" y="425"/>
                  </a:lnTo>
                  <a:lnTo>
                    <a:pt x="127" y="424"/>
                  </a:lnTo>
                  <a:lnTo>
                    <a:pt x="126" y="421"/>
                  </a:lnTo>
                  <a:lnTo>
                    <a:pt x="128" y="420"/>
                  </a:lnTo>
                  <a:lnTo>
                    <a:pt x="134" y="422"/>
                  </a:lnTo>
                  <a:lnTo>
                    <a:pt x="136" y="424"/>
                  </a:lnTo>
                  <a:lnTo>
                    <a:pt x="139" y="425"/>
                  </a:lnTo>
                  <a:lnTo>
                    <a:pt x="143" y="430"/>
                  </a:lnTo>
                  <a:lnTo>
                    <a:pt x="146" y="431"/>
                  </a:lnTo>
                  <a:lnTo>
                    <a:pt x="147" y="433"/>
                  </a:lnTo>
                  <a:lnTo>
                    <a:pt x="147" y="435"/>
                  </a:lnTo>
                  <a:lnTo>
                    <a:pt x="148" y="438"/>
                  </a:lnTo>
                  <a:lnTo>
                    <a:pt x="153" y="444"/>
                  </a:lnTo>
                  <a:lnTo>
                    <a:pt x="153" y="444"/>
                  </a:lnTo>
                  <a:lnTo>
                    <a:pt x="153" y="444"/>
                  </a:lnTo>
                  <a:lnTo>
                    <a:pt x="155" y="445"/>
                  </a:lnTo>
                  <a:lnTo>
                    <a:pt x="170" y="465"/>
                  </a:lnTo>
                  <a:lnTo>
                    <a:pt x="172" y="470"/>
                  </a:lnTo>
                  <a:lnTo>
                    <a:pt x="175" y="474"/>
                  </a:lnTo>
                  <a:lnTo>
                    <a:pt x="179" y="477"/>
                  </a:lnTo>
                  <a:lnTo>
                    <a:pt x="189" y="477"/>
                  </a:lnTo>
                  <a:lnTo>
                    <a:pt x="192" y="478"/>
                  </a:lnTo>
                  <a:lnTo>
                    <a:pt x="194" y="480"/>
                  </a:lnTo>
                  <a:lnTo>
                    <a:pt x="199" y="486"/>
                  </a:lnTo>
                  <a:lnTo>
                    <a:pt x="205" y="493"/>
                  </a:lnTo>
                  <a:lnTo>
                    <a:pt x="207" y="498"/>
                  </a:lnTo>
                  <a:lnTo>
                    <a:pt x="207" y="504"/>
                  </a:lnTo>
                  <a:lnTo>
                    <a:pt x="210" y="508"/>
                  </a:lnTo>
                  <a:lnTo>
                    <a:pt x="214" y="512"/>
                  </a:lnTo>
                  <a:lnTo>
                    <a:pt x="219" y="516"/>
                  </a:lnTo>
                  <a:lnTo>
                    <a:pt x="223" y="518"/>
                  </a:lnTo>
                  <a:lnTo>
                    <a:pt x="224" y="513"/>
                  </a:lnTo>
                  <a:lnTo>
                    <a:pt x="226" y="511"/>
                  </a:lnTo>
                  <a:lnTo>
                    <a:pt x="228" y="510"/>
                  </a:lnTo>
                  <a:lnTo>
                    <a:pt x="229" y="510"/>
                  </a:lnTo>
                  <a:lnTo>
                    <a:pt x="232" y="510"/>
                  </a:lnTo>
                  <a:lnTo>
                    <a:pt x="234" y="512"/>
                  </a:lnTo>
                  <a:lnTo>
                    <a:pt x="237" y="514"/>
                  </a:lnTo>
                  <a:lnTo>
                    <a:pt x="240" y="516"/>
                  </a:lnTo>
                  <a:lnTo>
                    <a:pt x="243" y="516"/>
                  </a:lnTo>
                  <a:lnTo>
                    <a:pt x="243" y="520"/>
                  </a:lnTo>
                  <a:lnTo>
                    <a:pt x="245" y="524"/>
                  </a:lnTo>
                  <a:lnTo>
                    <a:pt x="247" y="528"/>
                  </a:lnTo>
                  <a:lnTo>
                    <a:pt x="250" y="531"/>
                  </a:lnTo>
                  <a:lnTo>
                    <a:pt x="253" y="532"/>
                  </a:lnTo>
                  <a:lnTo>
                    <a:pt x="259" y="533"/>
                  </a:lnTo>
                  <a:lnTo>
                    <a:pt x="261" y="534"/>
                  </a:lnTo>
                  <a:lnTo>
                    <a:pt x="265" y="540"/>
                  </a:lnTo>
                  <a:lnTo>
                    <a:pt x="273" y="556"/>
                  </a:lnTo>
                  <a:lnTo>
                    <a:pt x="276" y="559"/>
                  </a:lnTo>
                  <a:lnTo>
                    <a:pt x="282" y="561"/>
                  </a:lnTo>
                  <a:lnTo>
                    <a:pt x="285" y="562"/>
                  </a:lnTo>
                  <a:lnTo>
                    <a:pt x="288" y="564"/>
                  </a:lnTo>
                  <a:lnTo>
                    <a:pt x="291" y="567"/>
                  </a:lnTo>
                  <a:lnTo>
                    <a:pt x="302" y="573"/>
                  </a:lnTo>
                  <a:lnTo>
                    <a:pt x="303" y="575"/>
                  </a:lnTo>
                  <a:lnTo>
                    <a:pt x="306" y="579"/>
                  </a:lnTo>
                  <a:lnTo>
                    <a:pt x="307" y="581"/>
                  </a:lnTo>
                  <a:lnTo>
                    <a:pt x="308" y="581"/>
                  </a:lnTo>
                  <a:lnTo>
                    <a:pt x="309" y="582"/>
                  </a:lnTo>
                  <a:lnTo>
                    <a:pt x="310" y="582"/>
                  </a:lnTo>
                  <a:lnTo>
                    <a:pt x="310" y="584"/>
                  </a:lnTo>
                  <a:lnTo>
                    <a:pt x="310" y="586"/>
                  </a:lnTo>
                  <a:lnTo>
                    <a:pt x="309" y="586"/>
                  </a:lnTo>
                  <a:lnTo>
                    <a:pt x="309" y="586"/>
                  </a:lnTo>
                  <a:lnTo>
                    <a:pt x="308" y="586"/>
                  </a:lnTo>
                  <a:lnTo>
                    <a:pt x="307" y="588"/>
                  </a:lnTo>
                  <a:lnTo>
                    <a:pt x="306" y="588"/>
                  </a:lnTo>
                  <a:lnTo>
                    <a:pt x="306" y="589"/>
                  </a:lnTo>
                  <a:lnTo>
                    <a:pt x="307" y="592"/>
                  </a:lnTo>
                  <a:lnTo>
                    <a:pt x="307" y="594"/>
                  </a:lnTo>
                  <a:lnTo>
                    <a:pt x="310" y="597"/>
                  </a:lnTo>
                  <a:lnTo>
                    <a:pt x="311" y="598"/>
                  </a:lnTo>
                  <a:lnTo>
                    <a:pt x="317" y="601"/>
                  </a:lnTo>
                  <a:lnTo>
                    <a:pt x="339" y="603"/>
                  </a:lnTo>
                  <a:lnTo>
                    <a:pt x="355" y="609"/>
                  </a:lnTo>
                  <a:lnTo>
                    <a:pt x="356" y="609"/>
                  </a:lnTo>
                  <a:lnTo>
                    <a:pt x="358" y="608"/>
                  </a:lnTo>
                  <a:lnTo>
                    <a:pt x="361" y="605"/>
                  </a:lnTo>
                  <a:lnTo>
                    <a:pt x="369" y="602"/>
                  </a:lnTo>
                  <a:lnTo>
                    <a:pt x="372" y="599"/>
                  </a:lnTo>
                  <a:lnTo>
                    <a:pt x="375" y="590"/>
                  </a:lnTo>
                  <a:lnTo>
                    <a:pt x="378" y="588"/>
                  </a:lnTo>
                  <a:lnTo>
                    <a:pt x="381" y="593"/>
                  </a:lnTo>
                  <a:lnTo>
                    <a:pt x="388" y="596"/>
                  </a:lnTo>
                  <a:lnTo>
                    <a:pt x="390" y="596"/>
                  </a:lnTo>
                  <a:lnTo>
                    <a:pt x="392" y="596"/>
                  </a:lnTo>
                  <a:lnTo>
                    <a:pt x="397" y="594"/>
                  </a:lnTo>
                  <a:lnTo>
                    <a:pt x="399" y="594"/>
                  </a:lnTo>
                  <a:lnTo>
                    <a:pt x="400" y="595"/>
                  </a:lnTo>
                  <a:lnTo>
                    <a:pt x="400" y="596"/>
                  </a:lnTo>
                  <a:lnTo>
                    <a:pt x="400" y="598"/>
                  </a:lnTo>
                  <a:lnTo>
                    <a:pt x="401" y="599"/>
                  </a:lnTo>
                  <a:lnTo>
                    <a:pt x="402" y="599"/>
                  </a:lnTo>
                  <a:lnTo>
                    <a:pt x="405" y="598"/>
                  </a:lnTo>
                  <a:lnTo>
                    <a:pt x="406" y="598"/>
                  </a:lnTo>
                  <a:lnTo>
                    <a:pt x="407" y="600"/>
                  </a:lnTo>
                  <a:lnTo>
                    <a:pt x="408" y="603"/>
                  </a:lnTo>
                  <a:lnTo>
                    <a:pt x="410" y="604"/>
                  </a:lnTo>
                  <a:lnTo>
                    <a:pt x="412" y="604"/>
                  </a:lnTo>
                  <a:lnTo>
                    <a:pt x="415" y="602"/>
                  </a:lnTo>
                  <a:lnTo>
                    <a:pt x="415" y="601"/>
                  </a:lnTo>
                  <a:lnTo>
                    <a:pt x="416" y="595"/>
                  </a:lnTo>
                  <a:lnTo>
                    <a:pt x="416" y="588"/>
                  </a:lnTo>
                  <a:lnTo>
                    <a:pt x="417" y="581"/>
                  </a:lnTo>
                  <a:lnTo>
                    <a:pt x="420" y="576"/>
                  </a:lnTo>
                  <a:lnTo>
                    <a:pt x="428" y="569"/>
                  </a:lnTo>
                  <a:lnTo>
                    <a:pt x="429" y="564"/>
                  </a:lnTo>
                  <a:lnTo>
                    <a:pt x="430" y="561"/>
                  </a:lnTo>
                  <a:lnTo>
                    <a:pt x="431" y="559"/>
                  </a:lnTo>
                  <a:lnTo>
                    <a:pt x="432" y="556"/>
                  </a:lnTo>
                  <a:lnTo>
                    <a:pt x="434" y="555"/>
                  </a:lnTo>
                  <a:lnTo>
                    <a:pt x="443" y="557"/>
                  </a:lnTo>
                  <a:lnTo>
                    <a:pt x="451" y="560"/>
                  </a:lnTo>
                  <a:lnTo>
                    <a:pt x="454" y="560"/>
                  </a:lnTo>
                  <a:lnTo>
                    <a:pt x="456" y="555"/>
                  </a:lnTo>
                  <a:lnTo>
                    <a:pt x="455" y="555"/>
                  </a:lnTo>
                  <a:lnTo>
                    <a:pt x="455" y="553"/>
                  </a:lnTo>
                  <a:lnTo>
                    <a:pt x="454" y="552"/>
                  </a:lnTo>
                  <a:lnTo>
                    <a:pt x="454" y="550"/>
                  </a:lnTo>
                  <a:lnTo>
                    <a:pt x="454" y="548"/>
                  </a:lnTo>
                  <a:lnTo>
                    <a:pt x="455" y="545"/>
                  </a:lnTo>
                  <a:lnTo>
                    <a:pt x="459" y="530"/>
                  </a:lnTo>
                  <a:lnTo>
                    <a:pt x="459" y="523"/>
                  </a:lnTo>
                  <a:lnTo>
                    <a:pt x="458" y="516"/>
                  </a:lnTo>
                  <a:lnTo>
                    <a:pt x="458" y="509"/>
                  </a:lnTo>
                  <a:lnTo>
                    <a:pt x="460" y="504"/>
                  </a:lnTo>
                  <a:lnTo>
                    <a:pt x="460" y="503"/>
                  </a:lnTo>
                  <a:lnTo>
                    <a:pt x="460" y="502"/>
                  </a:lnTo>
                  <a:lnTo>
                    <a:pt x="460" y="501"/>
                  </a:lnTo>
                  <a:lnTo>
                    <a:pt x="461" y="501"/>
                  </a:lnTo>
                  <a:lnTo>
                    <a:pt x="464" y="500"/>
                  </a:lnTo>
                  <a:lnTo>
                    <a:pt x="473" y="503"/>
                  </a:lnTo>
                  <a:lnTo>
                    <a:pt x="485" y="504"/>
                  </a:lnTo>
                  <a:lnTo>
                    <a:pt x="487" y="508"/>
                  </a:lnTo>
                  <a:lnTo>
                    <a:pt x="487" y="511"/>
                  </a:lnTo>
                  <a:lnTo>
                    <a:pt x="487" y="514"/>
                  </a:lnTo>
                  <a:lnTo>
                    <a:pt x="486" y="518"/>
                  </a:lnTo>
                  <a:lnTo>
                    <a:pt x="489" y="518"/>
                  </a:lnTo>
                  <a:lnTo>
                    <a:pt x="501" y="514"/>
                  </a:lnTo>
                  <a:lnTo>
                    <a:pt x="502" y="514"/>
                  </a:lnTo>
                  <a:lnTo>
                    <a:pt x="504" y="511"/>
                  </a:lnTo>
                  <a:lnTo>
                    <a:pt x="505" y="510"/>
                  </a:lnTo>
                  <a:lnTo>
                    <a:pt x="505" y="507"/>
                  </a:lnTo>
                  <a:lnTo>
                    <a:pt x="506" y="506"/>
                  </a:lnTo>
                  <a:lnTo>
                    <a:pt x="507" y="506"/>
                  </a:lnTo>
                  <a:lnTo>
                    <a:pt x="508" y="507"/>
                  </a:lnTo>
                  <a:lnTo>
                    <a:pt x="509" y="508"/>
                  </a:lnTo>
                  <a:lnTo>
                    <a:pt x="509" y="508"/>
                  </a:lnTo>
                  <a:lnTo>
                    <a:pt x="517" y="508"/>
                  </a:lnTo>
                  <a:lnTo>
                    <a:pt x="520" y="510"/>
                  </a:lnTo>
                  <a:lnTo>
                    <a:pt x="528" y="513"/>
                  </a:lnTo>
                  <a:lnTo>
                    <a:pt x="535" y="516"/>
                  </a:lnTo>
                  <a:lnTo>
                    <a:pt x="538" y="518"/>
                  </a:lnTo>
                  <a:lnTo>
                    <a:pt x="547" y="525"/>
                  </a:lnTo>
                  <a:lnTo>
                    <a:pt x="550" y="526"/>
                  </a:lnTo>
                  <a:lnTo>
                    <a:pt x="559" y="530"/>
                  </a:lnTo>
                  <a:lnTo>
                    <a:pt x="572" y="537"/>
                  </a:lnTo>
                  <a:lnTo>
                    <a:pt x="575" y="537"/>
                  </a:lnTo>
                  <a:lnTo>
                    <a:pt x="579" y="537"/>
                  </a:lnTo>
                  <a:lnTo>
                    <a:pt x="582" y="537"/>
                  </a:lnTo>
                  <a:lnTo>
                    <a:pt x="587" y="534"/>
                  </a:lnTo>
                  <a:lnTo>
                    <a:pt x="589" y="533"/>
                  </a:lnTo>
                  <a:lnTo>
                    <a:pt x="594" y="533"/>
                  </a:lnTo>
                  <a:lnTo>
                    <a:pt x="595" y="534"/>
                  </a:lnTo>
                  <a:lnTo>
                    <a:pt x="595" y="537"/>
                  </a:lnTo>
                  <a:lnTo>
                    <a:pt x="596" y="538"/>
                  </a:lnTo>
                  <a:lnTo>
                    <a:pt x="597" y="539"/>
                  </a:lnTo>
                  <a:lnTo>
                    <a:pt x="600" y="539"/>
                  </a:lnTo>
                  <a:lnTo>
                    <a:pt x="602" y="540"/>
                  </a:lnTo>
                  <a:lnTo>
                    <a:pt x="603" y="541"/>
                  </a:lnTo>
                  <a:lnTo>
                    <a:pt x="604" y="541"/>
                  </a:lnTo>
                  <a:lnTo>
                    <a:pt x="603" y="543"/>
                  </a:lnTo>
                  <a:lnTo>
                    <a:pt x="605" y="542"/>
                  </a:lnTo>
                  <a:lnTo>
                    <a:pt x="606" y="542"/>
                  </a:lnTo>
                  <a:lnTo>
                    <a:pt x="608" y="543"/>
                  </a:lnTo>
                  <a:lnTo>
                    <a:pt x="608" y="546"/>
                  </a:lnTo>
                  <a:lnTo>
                    <a:pt x="610" y="545"/>
                  </a:lnTo>
                  <a:lnTo>
                    <a:pt x="611" y="546"/>
                  </a:lnTo>
                  <a:lnTo>
                    <a:pt x="611" y="548"/>
                  </a:lnTo>
                  <a:lnTo>
                    <a:pt x="611" y="549"/>
                  </a:lnTo>
                  <a:lnTo>
                    <a:pt x="627" y="561"/>
                  </a:lnTo>
                  <a:lnTo>
                    <a:pt x="636" y="564"/>
                  </a:lnTo>
                  <a:lnTo>
                    <a:pt x="650" y="563"/>
                  </a:lnTo>
                  <a:lnTo>
                    <a:pt x="673" y="567"/>
                  </a:lnTo>
                  <a:lnTo>
                    <a:pt x="673" y="566"/>
                  </a:lnTo>
                  <a:lnTo>
                    <a:pt x="676" y="566"/>
                  </a:lnTo>
                  <a:lnTo>
                    <a:pt x="678" y="568"/>
                  </a:lnTo>
                  <a:lnTo>
                    <a:pt x="679" y="568"/>
                  </a:lnTo>
                  <a:lnTo>
                    <a:pt x="682" y="567"/>
                  </a:lnTo>
                  <a:lnTo>
                    <a:pt x="684" y="566"/>
                  </a:lnTo>
                  <a:lnTo>
                    <a:pt x="692" y="552"/>
                  </a:lnTo>
                  <a:lnTo>
                    <a:pt x="694" y="550"/>
                  </a:lnTo>
                  <a:lnTo>
                    <a:pt x="699" y="551"/>
                  </a:lnTo>
                  <a:lnTo>
                    <a:pt x="700" y="551"/>
                  </a:lnTo>
                  <a:lnTo>
                    <a:pt x="703" y="550"/>
                  </a:lnTo>
                  <a:lnTo>
                    <a:pt x="705" y="549"/>
                  </a:lnTo>
                  <a:lnTo>
                    <a:pt x="706" y="550"/>
                  </a:lnTo>
                  <a:lnTo>
                    <a:pt x="709" y="552"/>
                  </a:lnTo>
                  <a:lnTo>
                    <a:pt x="718" y="554"/>
                  </a:lnTo>
                  <a:lnTo>
                    <a:pt x="721" y="555"/>
                  </a:lnTo>
                  <a:lnTo>
                    <a:pt x="724" y="556"/>
                  </a:lnTo>
                  <a:lnTo>
                    <a:pt x="726" y="559"/>
                  </a:lnTo>
                  <a:lnTo>
                    <a:pt x="726" y="562"/>
                  </a:lnTo>
                  <a:lnTo>
                    <a:pt x="728" y="565"/>
                  </a:lnTo>
                  <a:lnTo>
                    <a:pt x="729" y="566"/>
                  </a:lnTo>
                  <a:lnTo>
                    <a:pt x="732" y="567"/>
                  </a:lnTo>
                  <a:lnTo>
                    <a:pt x="738" y="567"/>
                  </a:lnTo>
                  <a:lnTo>
                    <a:pt x="741" y="567"/>
                  </a:lnTo>
                  <a:lnTo>
                    <a:pt x="746" y="571"/>
                  </a:lnTo>
                  <a:lnTo>
                    <a:pt x="749" y="572"/>
                  </a:lnTo>
                  <a:lnTo>
                    <a:pt x="752" y="572"/>
                  </a:lnTo>
                  <a:lnTo>
                    <a:pt x="758" y="570"/>
                  </a:lnTo>
                  <a:lnTo>
                    <a:pt x="761" y="570"/>
                  </a:lnTo>
                  <a:lnTo>
                    <a:pt x="765" y="576"/>
                  </a:lnTo>
                  <a:lnTo>
                    <a:pt x="767" y="591"/>
                  </a:lnTo>
                  <a:lnTo>
                    <a:pt x="772" y="598"/>
                  </a:lnTo>
                  <a:lnTo>
                    <a:pt x="773" y="593"/>
                  </a:lnTo>
                  <a:lnTo>
                    <a:pt x="775" y="590"/>
                  </a:lnTo>
                  <a:lnTo>
                    <a:pt x="777" y="587"/>
                  </a:lnTo>
                  <a:lnTo>
                    <a:pt x="785" y="564"/>
                  </a:lnTo>
                  <a:lnTo>
                    <a:pt x="789" y="557"/>
                  </a:lnTo>
                  <a:lnTo>
                    <a:pt x="795" y="552"/>
                  </a:lnTo>
                  <a:lnTo>
                    <a:pt x="797" y="549"/>
                  </a:lnTo>
                  <a:lnTo>
                    <a:pt x="798" y="545"/>
                  </a:lnTo>
                  <a:lnTo>
                    <a:pt x="799" y="542"/>
                  </a:lnTo>
                  <a:lnTo>
                    <a:pt x="808" y="536"/>
                  </a:lnTo>
                  <a:lnTo>
                    <a:pt x="815" y="535"/>
                  </a:lnTo>
                  <a:lnTo>
                    <a:pt x="822" y="537"/>
                  </a:lnTo>
                  <a:lnTo>
                    <a:pt x="840" y="546"/>
                  </a:lnTo>
                  <a:lnTo>
                    <a:pt x="843" y="546"/>
                  </a:lnTo>
                  <a:lnTo>
                    <a:pt x="846" y="543"/>
                  </a:lnTo>
                  <a:lnTo>
                    <a:pt x="849" y="542"/>
                  </a:lnTo>
                  <a:lnTo>
                    <a:pt x="853" y="540"/>
                  </a:lnTo>
                  <a:lnTo>
                    <a:pt x="855" y="542"/>
                  </a:lnTo>
                  <a:lnTo>
                    <a:pt x="860" y="547"/>
                  </a:lnTo>
                  <a:lnTo>
                    <a:pt x="866" y="547"/>
                  </a:lnTo>
                  <a:lnTo>
                    <a:pt x="897" y="536"/>
                  </a:lnTo>
                  <a:lnTo>
                    <a:pt x="899" y="533"/>
                  </a:lnTo>
                  <a:lnTo>
                    <a:pt x="905" y="524"/>
                  </a:lnTo>
                  <a:lnTo>
                    <a:pt x="907" y="522"/>
                  </a:lnTo>
                  <a:lnTo>
                    <a:pt x="911" y="521"/>
                  </a:lnTo>
                  <a:lnTo>
                    <a:pt x="915" y="522"/>
                  </a:lnTo>
                  <a:lnTo>
                    <a:pt x="918" y="521"/>
                  </a:lnTo>
                  <a:lnTo>
                    <a:pt x="921" y="518"/>
                  </a:lnTo>
                  <a:lnTo>
                    <a:pt x="922" y="515"/>
                  </a:lnTo>
                  <a:lnTo>
                    <a:pt x="923" y="508"/>
                  </a:lnTo>
                  <a:lnTo>
                    <a:pt x="924" y="504"/>
                  </a:lnTo>
                  <a:lnTo>
                    <a:pt x="926" y="500"/>
                  </a:lnTo>
                  <a:lnTo>
                    <a:pt x="929" y="498"/>
                  </a:lnTo>
                  <a:lnTo>
                    <a:pt x="933" y="497"/>
                  </a:lnTo>
                  <a:lnTo>
                    <a:pt x="942" y="498"/>
                  </a:lnTo>
                  <a:lnTo>
                    <a:pt x="947" y="495"/>
                  </a:lnTo>
                  <a:lnTo>
                    <a:pt x="952" y="491"/>
                  </a:lnTo>
                  <a:lnTo>
                    <a:pt x="955" y="486"/>
                  </a:lnTo>
                  <a:lnTo>
                    <a:pt x="956" y="480"/>
                  </a:lnTo>
                  <a:lnTo>
                    <a:pt x="956" y="469"/>
                  </a:lnTo>
                  <a:lnTo>
                    <a:pt x="956" y="468"/>
                  </a:lnTo>
                  <a:lnTo>
                    <a:pt x="957" y="462"/>
                  </a:lnTo>
                  <a:lnTo>
                    <a:pt x="958" y="454"/>
                  </a:lnTo>
                  <a:lnTo>
                    <a:pt x="962" y="446"/>
                  </a:lnTo>
                  <a:lnTo>
                    <a:pt x="965" y="440"/>
                  </a:lnTo>
                  <a:lnTo>
                    <a:pt x="970" y="435"/>
                  </a:lnTo>
                  <a:lnTo>
                    <a:pt x="991" y="427"/>
                  </a:lnTo>
                  <a:lnTo>
                    <a:pt x="997" y="423"/>
                  </a:lnTo>
                  <a:lnTo>
                    <a:pt x="1001" y="420"/>
                  </a:lnTo>
                  <a:lnTo>
                    <a:pt x="1001" y="408"/>
                  </a:lnTo>
                  <a:lnTo>
                    <a:pt x="1006" y="409"/>
                  </a:lnTo>
                  <a:lnTo>
                    <a:pt x="1010" y="407"/>
                  </a:lnTo>
                  <a:lnTo>
                    <a:pt x="1016" y="399"/>
                  </a:lnTo>
                  <a:lnTo>
                    <a:pt x="1021" y="396"/>
                  </a:lnTo>
                  <a:lnTo>
                    <a:pt x="1023" y="395"/>
                  </a:lnTo>
                  <a:lnTo>
                    <a:pt x="1024" y="392"/>
                  </a:lnTo>
                  <a:lnTo>
                    <a:pt x="1024" y="388"/>
                  </a:lnTo>
                  <a:lnTo>
                    <a:pt x="1025" y="386"/>
                  </a:lnTo>
                  <a:lnTo>
                    <a:pt x="1028" y="384"/>
                  </a:lnTo>
                  <a:lnTo>
                    <a:pt x="1035" y="385"/>
                  </a:lnTo>
                  <a:lnTo>
                    <a:pt x="1040" y="382"/>
                  </a:lnTo>
                  <a:lnTo>
                    <a:pt x="1041" y="382"/>
                  </a:lnTo>
                  <a:lnTo>
                    <a:pt x="1042" y="382"/>
                  </a:lnTo>
                  <a:lnTo>
                    <a:pt x="1047" y="385"/>
                  </a:lnTo>
                  <a:lnTo>
                    <a:pt x="1052" y="386"/>
                  </a:lnTo>
                  <a:lnTo>
                    <a:pt x="1056" y="386"/>
                  </a:lnTo>
                  <a:lnTo>
                    <a:pt x="1063" y="380"/>
                  </a:lnTo>
                  <a:lnTo>
                    <a:pt x="1065" y="379"/>
                  </a:lnTo>
                  <a:lnTo>
                    <a:pt x="1072" y="379"/>
                  </a:lnTo>
                  <a:lnTo>
                    <a:pt x="1073" y="375"/>
                  </a:lnTo>
                  <a:lnTo>
                    <a:pt x="1072" y="370"/>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12" name="Freeform 48">
              <a:extLst>
                <a:ext uri="{FF2B5EF4-FFF2-40B4-BE49-F238E27FC236}">
                  <a16:creationId xmlns:a16="http://schemas.microsoft.com/office/drawing/2014/main" id="{AF9C63AA-7F1E-4CED-9671-148F1F384782}"/>
                </a:ext>
              </a:extLst>
            </p:cNvPr>
            <p:cNvSpPr>
              <a:spLocks/>
            </p:cNvSpPr>
            <p:nvPr/>
          </p:nvSpPr>
          <p:spPr bwMode="gray">
            <a:xfrm>
              <a:off x="11240672" y="6538306"/>
              <a:ext cx="229982" cy="135870"/>
            </a:xfrm>
            <a:custGeom>
              <a:avLst/>
              <a:gdLst>
                <a:gd name="T0" fmla="*/ 325 w 369"/>
                <a:gd name="T1" fmla="*/ 21 h 218"/>
                <a:gd name="T2" fmla="*/ 295 w 369"/>
                <a:gd name="T3" fmla="*/ 36 h 218"/>
                <a:gd name="T4" fmla="*/ 248 w 369"/>
                <a:gd name="T5" fmla="*/ 55 h 218"/>
                <a:gd name="T6" fmla="*/ 184 w 369"/>
                <a:gd name="T7" fmla="*/ 71 h 218"/>
                <a:gd name="T8" fmla="*/ 127 w 369"/>
                <a:gd name="T9" fmla="*/ 65 h 218"/>
                <a:gd name="T10" fmla="*/ 103 w 369"/>
                <a:gd name="T11" fmla="*/ 58 h 218"/>
                <a:gd name="T12" fmla="*/ 105 w 369"/>
                <a:gd name="T13" fmla="*/ 89 h 218"/>
                <a:gd name="T14" fmla="*/ 88 w 369"/>
                <a:gd name="T15" fmla="*/ 106 h 218"/>
                <a:gd name="T16" fmla="*/ 70 w 369"/>
                <a:gd name="T17" fmla="*/ 99 h 218"/>
                <a:gd name="T18" fmla="*/ 62 w 369"/>
                <a:gd name="T19" fmla="*/ 98 h 218"/>
                <a:gd name="T20" fmla="*/ 59 w 369"/>
                <a:gd name="T21" fmla="*/ 98 h 218"/>
                <a:gd name="T22" fmla="*/ 50 w 369"/>
                <a:gd name="T23" fmla="*/ 101 h 218"/>
                <a:gd name="T24" fmla="*/ 46 w 369"/>
                <a:gd name="T25" fmla="*/ 100 h 218"/>
                <a:gd name="T26" fmla="*/ 43 w 369"/>
                <a:gd name="T27" fmla="*/ 103 h 218"/>
                <a:gd name="T28" fmla="*/ 33 w 369"/>
                <a:gd name="T29" fmla="*/ 118 h 218"/>
                <a:gd name="T30" fmla="*/ 13 w 369"/>
                <a:gd name="T31" fmla="*/ 125 h 218"/>
                <a:gd name="T32" fmla="*/ 1 w 369"/>
                <a:gd name="T33" fmla="*/ 117 h 218"/>
                <a:gd name="T34" fmla="*/ 5 w 369"/>
                <a:gd name="T35" fmla="*/ 134 h 218"/>
                <a:gd name="T36" fmla="*/ 10 w 369"/>
                <a:gd name="T37" fmla="*/ 149 h 218"/>
                <a:gd name="T38" fmla="*/ 11 w 369"/>
                <a:gd name="T39" fmla="*/ 158 h 218"/>
                <a:gd name="T40" fmla="*/ 21 w 369"/>
                <a:gd name="T41" fmla="*/ 174 h 218"/>
                <a:gd name="T42" fmla="*/ 24 w 369"/>
                <a:gd name="T43" fmla="*/ 183 h 218"/>
                <a:gd name="T44" fmla="*/ 42 w 369"/>
                <a:gd name="T45" fmla="*/ 192 h 218"/>
                <a:gd name="T46" fmla="*/ 63 w 369"/>
                <a:gd name="T47" fmla="*/ 201 h 218"/>
                <a:gd name="T48" fmla="*/ 86 w 369"/>
                <a:gd name="T49" fmla="*/ 198 h 218"/>
                <a:gd name="T50" fmla="*/ 103 w 369"/>
                <a:gd name="T51" fmla="*/ 204 h 218"/>
                <a:gd name="T52" fmla="*/ 121 w 369"/>
                <a:gd name="T53" fmla="*/ 218 h 218"/>
                <a:gd name="T54" fmla="*/ 118 w 369"/>
                <a:gd name="T55" fmla="*/ 205 h 218"/>
                <a:gd name="T56" fmla="*/ 130 w 369"/>
                <a:gd name="T57" fmla="*/ 193 h 218"/>
                <a:gd name="T58" fmla="*/ 157 w 369"/>
                <a:gd name="T59" fmla="*/ 192 h 218"/>
                <a:gd name="T60" fmla="*/ 175 w 369"/>
                <a:gd name="T61" fmla="*/ 186 h 218"/>
                <a:gd name="T62" fmla="*/ 186 w 369"/>
                <a:gd name="T63" fmla="*/ 180 h 218"/>
                <a:gd name="T64" fmla="*/ 199 w 369"/>
                <a:gd name="T65" fmla="*/ 174 h 218"/>
                <a:gd name="T66" fmla="*/ 210 w 369"/>
                <a:gd name="T67" fmla="*/ 170 h 218"/>
                <a:gd name="T68" fmla="*/ 215 w 369"/>
                <a:gd name="T69" fmla="*/ 164 h 218"/>
                <a:gd name="T70" fmla="*/ 216 w 369"/>
                <a:gd name="T71" fmla="*/ 154 h 218"/>
                <a:gd name="T72" fmla="*/ 224 w 369"/>
                <a:gd name="T73" fmla="*/ 141 h 218"/>
                <a:gd name="T74" fmla="*/ 236 w 369"/>
                <a:gd name="T75" fmla="*/ 138 h 218"/>
                <a:gd name="T76" fmla="*/ 240 w 369"/>
                <a:gd name="T77" fmla="*/ 139 h 218"/>
                <a:gd name="T78" fmla="*/ 253 w 369"/>
                <a:gd name="T79" fmla="*/ 147 h 218"/>
                <a:gd name="T80" fmla="*/ 257 w 369"/>
                <a:gd name="T81" fmla="*/ 143 h 218"/>
                <a:gd name="T82" fmla="*/ 276 w 369"/>
                <a:gd name="T83" fmla="*/ 137 h 218"/>
                <a:gd name="T84" fmla="*/ 288 w 369"/>
                <a:gd name="T85" fmla="*/ 142 h 218"/>
                <a:gd name="T86" fmla="*/ 284 w 369"/>
                <a:gd name="T87" fmla="*/ 133 h 218"/>
                <a:gd name="T88" fmla="*/ 278 w 369"/>
                <a:gd name="T89" fmla="*/ 123 h 218"/>
                <a:gd name="T90" fmla="*/ 269 w 369"/>
                <a:gd name="T91" fmla="*/ 115 h 218"/>
                <a:gd name="T92" fmla="*/ 259 w 369"/>
                <a:gd name="T93" fmla="*/ 103 h 218"/>
                <a:gd name="T94" fmla="*/ 267 w 369"/>
                <a:gd name="T95" fmla="*/ 74 h 218"/>
                <a:gd name="T96" fmla="*/ 282 w 369"/>
                <a:gd name="T97" fmla="*/ 74 h 218"/>
                <a:gd name="T98" fmla="*/ 292 w 369"/>
                <a:gd name="T99" fmla="*/ 58 h 218"/>
                <a:gd name="T100" fmla="*/ 360 w 369"/>
                <a:gd name="T101" fmla="*/ 12 h 218"/>
                <a:gd name="T102" fmla="*/ 366 w 369"/>
                <a:gd name="T103" fmla="*/ 9 h 218"/>
                <a:gd name="T104" fmla="*/ 368 w 369"/>
                <a:gd name="T105" fmla="*/ 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9" h="218">
                  <a:moveTo>
                    <a:pt x="366" y="1"/>
                  </a:moveTo>
                  <a:lnTo>
                    <a:pt x="361" y="3"/>
                  </a:lnTo>
                  <a:lnTo>
                    <a:pt x="332" y="17"/>
                  </a:lnTo>
                  <a:lnTo>
                    <a:pt x="325" y="21"/>
                  </a:lnTo>
                  <a:lnTo>
                    <a:pt x="317" y="24"/>
                  </a:lnTo>
                  <a:lnTo>
                    <a:pt x="308" y="26"/>
                  </a:lnTo>
                  <a:lnTo>
                    <a:pt x="303" y="27"/>
                  </a:lnTo>
                  <a:lnTo>
                    <a:pt x="295" y="36"/>
                  </a:lnTo>
                  <a:lnTo>
                    <a:pt x="287" y="39"/>
                  </a:lnTo>
                  <a:lnTo>
                    <a:pt x="280" y="43"/>
                  </a:lnTo>
                  <a:lnTo>
                    <a:pt x="257" y="53"/>
                  </a:lnTo>
                  <a:lnTo>
                    <a:pt x="248" y="55"/>
                  </a:lnTo>
                  <a:lnTo>
                    <a:pt x="240" y="54"/>
                  </a:lnTo>
                  <a:lnTo>
                    <a:pt x="234" y="58"/>
                  </a:lnTo>
                  <a:lnTo>
                    <a:pt x="220" y="65"/>
                  </a:lnTo>
                  <a:lnTo>
                    <a:pt x="184" y="71"/>
                  </a:lnTo>
                  <a:lnTo>
                    <a:pt x="160" y="69"/>
                  </a:lnTo>
                  <a:lnTo>
                    <a:pt x="157" y="67"/>
                  </a:lnTo>
                  <a:lnTo>
                    <a:pt x="138" y="64"/>
                  </a:lnTo>
                  <a:lnTo>
                    <a:pt x="127" y="65"/>
                  </a:lnTo>
                  <a:lnTo>
                    <a:pt x="117" y="63"/>
                  </a:lnTo>
                  <a:lnTo>
                    <a:pt x="113" y="62"/>
                  </a:lnTo>
                  <a:lnTo>
                    <a:pt x="107" y="58"/>
                  </a:lnTo>
                  <a:lnTo>
                    <a:pt x="103" y="58"/>
                  </a:lnTo>
                  <a:lnTo>
                    <a:pt x="105" y="64"/>
                  </a:lnTo>
                  <a:lnTo>
                    <a:pt x="106" y="69"/>
                  </a:lnTo>
                  <a:lnTo>
                    <a:pt x="105" y="82"/>
                  </a:lnTo>
                  <a:lnTo>
                    <a:pt x="105" y="89"/>
                  </a:lnTo>
                  <a:lnTo>
                    <a:pt x="102" y="96"/>
                  </a:lnTo>
                  <a:lnTo>
                    <a:pt x="99" y="101"/>
                  </a:lnTo>
                  <a:lnTo>
                    <a:pt x="94" y="104"/>
                  </a:lnTo>
                  <a:lnTo>
                    <a:pt x="88" y="106"/>
                  </a:lnTo>
                  <a:lnTo>
                    <a:pt x="84" y="104"/>
                  </a:lnTo>
                  <a:lnTo>
                    <a:pt x="80" y="102"/>
                  </a:lnTo>
                  <a:lnTo>
                    <a:pt x="75" y="100"/>
                  </a:lnTo>
                  <a:lnTo>
                    <a:pt x="70" y="99"/>
                  </a:lnTo>
                  <a:lnTo>
                    <a:pt x="70" y="99"/>
                  </a:lnTo>
                  <a:lnTo>
                    <a:pt x="67" y="99"/>
                  </a:lnTo>
                  <a:lnTo>
                    <a:pt x="67" y="99"/>
                  </a:lnTo>
                  <a:lnTo>
                    <a:pt x="62" y="98"/>
                  </a:lnTo>
                  <a:lnTo>
                    <a:pt x="62" y="98"/>
                  </a:lnTo>
                  <a:lnTo>
                    <a:pt x="60" y="98"/>
                  </a:lnTo>
                  <a:lnTo>
                    <a:pt x="59" y="98"/>
                  </a:lnTo>
                  <a:lnTo>
                    <a:pt x="59" y="98"/>
                  </a:lnTo>
                  <a:lnTo>
                    <a:pt x="55" y="99"/>
                  </a:lnTo>
                  <a:lnTo>
                    <a:pt x="53" y="100"/>
                  </a:lnTo>
                  <a:lnTo>
                    <a:pt x="53" y="100"/>
                  </a:lnTo>
                  <a:lnTo>
                    <a:pt x="50" y="101"/>
                  </a:lnTo>
                  <a:lnTo>
                    <a:pt x="48" y="102"/>
                  </a:lnTo>
                  <a:lnTo>
                    <a:pt x="47" y="101"/>
                  </a:lnTo>
                  <a:lnTo>
                    <a:pt x="47" y="101"/>
                  </a:lnTo>
                  <a:lnTo>
                    <a:pt x="46" y="100"/>
                  </a:lnTo>
                  <a:lnTo>
                    <a:pt x="45" y="100"/>
                  </a:lnTo>
                  <a:lnTo>
                    <a:pt x="44" y="101"/>
                  </a:lnTo>
                  <a:lnTo>
                    <a:pt x="44" y="102"/>
                  </a:lnTo>
                  <a:lnTo>
                    <a:pt x="43" y="103"/>
                  </a:lnTo>
                  <a:lnTo>
                    <a:pt x="41" y="104"/>
                  </a:lnTo>
                  <a:lnTo>
                    <a:pt x="39" y="108"/>
                  </a:lnTo>
                  <a:lnTo>
                    <a:pt x="37" y="113"/>
                  </a:lnTo>
                  <a:lnTo>
                    <a:pt x="33" y="118"/>
                  </a:lnTo>
                  <a:lnTo>
                    <a:pt x="29" y="123"/>
                  </a:lnTo>
                  <a:lnTo>
                    <a:pt x="23" y="126"/>
                  </a:lnTo>
                  <a:lnTo>
                    <a:pt x="16" y="127"/>
                  </a:lnTo>
                  <a:lnTo>
                    <a:pt x="13" y="125"/>
                  </a:lnTo>
                  <a:lnTo>
                    <a:pt x="10" y="123"/>
                  </a:lnTo>
                  <a:lnTo>
                    <a:pt x="6" y="118"/>
                  </a:lnTo>
                  <a:lnTo>
                    <a:pt x="3" y="116"/>
                  </a:lnTo>
                  <a:lnTo>
                    <a:pt x="1" y="117"/>
                  </a:lnTo>
                  <a:lnTo>
                    <a:pt x="0" y="121"/>
                  </a:lnTo>
                  <a:lnTo>
                    <a:pt x="1" y="125"/>
                  </a:lnTo>
                  <a:lnTo>
                    <a:pt x="2" y="128"/>
                  </a:lnTo>
                  <a:lnTo>
                    <a:pt x="5" y="134"/>
                  </a:lnTo>
                  <a:lnTo>
                    <a:pt x="6" y="138"/>
                  </a:lnTo>
                  <a:lnTo>
                    <a:pt x="6" y="142"/>
                  </a:lnTo>
                  <a:lnTo>
                    <a:pt x="7" y="144"/>
                  </a:lnTo>
                  <a:lnTo>
                    <a:pt x="10" y="149"/>
                  </a:lnTo>
                  <a:lnTo>
                    <a:pt x="8" y="152"/>
                  </a:lnTo>
                  <a:lnTo>
                    <a:pt x="8" y="154"/>
                  </a:lnTo>
                  <a:lnTo>
                    <a:pt x="9" y="157"/>
                  </a:lnTo>
                  <a:lnTo>
                    <a:pt x="11" y="158"/>
                  </a:lnTo>
                  <a:lnTo>
                    <a:pt x="12" y="160"/>
                  </a:lnTo>
                  <a:lnTo>
                    <a:pt x="15" y="162"/>
                  </a:lnTo>
                  <a:lnTo>
                    <a:pt x="17" y="164"/>
                  </a:lnTo>
                  <a:lnTo>
                    <a:pt x="21" y="174"/>
                  </a:lnTo>
                  <a:lnTo>
                    <a:pt x="21" y="176"/>
                  </a:lnTo>
                  <a:lnTo>
                    <a:pt x="22" y="176"/>
                  </a:lnTo>
                  <a:lnTo>
                    <a:pt x="23" y="182"/>
                  </a:lnTo>
                  <a:lnTo>
                    <a:pt x="24" y="183"/>
                  </a:lnTo>
                  <a:lnTo>
                    <a:pt x="30" y="188"/>
                  </a:lnTo>
                  <a:lnTo>
                    <a:pt x="33" y="190"/>
                  </a:lnTo>
                  <a:lnTo>
                    <a:pt x="35" y="191"/>
                  </a:lnTo>
                  <a:lnTo>
                    <a:pt x="42" y="192"/>
                  </a:lnTo>
                  <a:lnTo>
                    <a:pt x="45" y="192"/>
                  </a:lnTo>
                  <a:lnTo>
                    <a:pt x="48" y="194"/>
                  </a:lnTo>
                  <a:lnTo>
                    <a:pt x="56" y="199"/>
                  </a:lnTo>
                  <a:lnTo>
                    <a:pt x="63" y="201"/>
                  </a:lnTo>
                  <a:lnTo>
                    <a:pt x="69" y="203"/>
                  </a:lnTo>
                  <a:lnTo>
                    <a:pt x="76" y="202"/>
                  </a:lnTo>
                  <a:lnTo>
                    <a:pt x="78" y="201"/>
                  </a:lnTo>
                  <a:lnTo>
                    <a:pt x="86" y="198"/>
                  </a:lnTo>
                  <a:lnTo>
                    <a:pt x="89" y="198"/>
                  </a:lnTo>
                  <a:lnTo>
                    <a:pt x="93" y="198"/>
                  </a:lnTo>
                  <a:lnTo>
                    <a:pt x="102" y="201"/>
                  </a:lnTo>
                  <a:lnTo>
                    <a:pt x="103" y="204"/>
                  </a:lnTo>
                  <a:lnTo>
                    <a:pt x="107" y="213"/>
                  </a:lnTo>
                  <a:lnTo>
                    <a:pt x="106" y="216"/>
                  </a:lnTo>
                  <a:lnTo>
                    <a:pt x="106" y="218"/>
                  </a:lnTo>
                  <a:lnTo>
                    <a:pt x="121" y="218"/>
                  </a:lnTo>
                  <a:lnTo>
                    <a:pt x="121" y="216"/>
                  </a:lnTo>
                  <a:lnTo>
                    <a:pt x="117" y="212"/>
                  </a:lnTo>
                  <a:lnTo>
                    <a:pt x="117" y="207"/>
                  </a:lnTo>
                  <a:lnTo>
                    <a:pt x="118" y="205"/>
                  </a:lnTo>
                  <a:lnTo>
                    <a:pt x="118" y="205"/>
                  </a:lnTo>
                  <a:lnTo>
                    <a:pt x="120" y="202"/>
                  </a:lnTo>
                  <a:lnTo>
                    <a:pt x="127" y="195"/>
                  </a:lnTo>
                  <a:lnTo>
                    <a:pt x="130" y="193"/>
                  </a:lnTo>
                  <a:lnTo>
                    <a:pt x="132" y="193"/>
                  </a:lnTo>
                  <a:lnTo>
                    <a:pt x="143" y="191"/>
                  </a:lnTo>
                  <a:lnTo>
                    <a:pt x="155" y="193"/>
                  </a:lnTo>
                  <a:lnTo>
                    <a:pt x="157" y="192"/>
                  </a:lnTo>
                  <a:lnTo>
                    <a:pt x="159" y="191"/>
                  </a:lnTo>
                  <a:lnTo>
                    <a:pt x="161" y="190"/>
                  </a:lnTo>
                  <a:lnTo>
                    <a:pt x="163" y="189"/>
                  </a:lnTo>
                  <a:lnTo>
                    <a:pt x="175" y="186"/>
                  </a:lnTo>
                  <a:lnTo>
                    <a:pt x="179" y="184"/>
                  </a:lnTo>
                  <a:lnTo>
                    <a:pt x="179" y="178"/>
                  </a:lnTo>
                  <a:lnTo>
                    <a:pt x="182" y="181"/>
                  </a:lnTo>
                  <a:lnTo>
                    <a:pt x="186" y="180"/>
                  </a:lnTo>
                  <a:lnTo>
                    <a:pt x="190" y="178"/>
                  </a:lnTo>
                  <a:lnTo>
                    <a:pt x="195" y="177"/>
                  </a:lnTo>
                  <a:lnTo>
                    <a:pt x="197" y="176"/>
                  </a:lnTo>
                  <a:lnTo>
                    <a:pt x="199" y="174"/>
                  </a:lnTo>
                  <a:lnTo>
                    <a:pt x="201" y="172"/>
                  </a:lnTo>
                  <a:lnTo>
                    <a:pt x="202" y="170"/>
                  </a:lnTo>
                  <a:lnTo>
                    <a:pt x="204" y="170"/>
                  </a:lnTo>
                  <a:lnTo>
                    <a:pt x="210" y="170"/>
                  </a:lnTo>
                  <a:lnTo>
                    <a:pt x="212" y="169"/>
                  </a:lnTo>
                  <a:lnTo>
                    <a:pt x="213" y="168"/>
                  </a:lnTo>
                  <a:lnTo>
                    <a:pt x="214" y="164"/>
                  </a:lnTo>
                  <a:lnTo>
                    <a:pt x="215" y="164"/>
                  </a:lnTo>
                  <a:lnTo>
                    <a:pt x="216" y="163"/>
                  </a:lnTo>
                  <a:lnTo>
                    <a:pt x="217" y="162"/>
                  </a:lnTo>
                  <a:lnTo>
                    <a:pt x="216" y="158"/>
                  </a:lnTo>
                  <a:lnTo>
                    <a:pt x="216" y="154"/>
                  </a:lnTo>
                  <a:lnTo>
                    <a:pt x="217" y="151"/>
                  </a:lnTo>
                  <a:lnTo>
                    <a:pt x="218" y="148"/>
                  </a:lnTo>
                  <a:lnTo>
                    <a:pt x="220" y="145"/>
                  </a:lnTo>
                  <a:lnTo>
                    <a:pt x="224" y="141"/>
                  </a:lnTo>
                  <a:lnTo>
                    <a:pt x="227" y="140"/>
                  </a:lnTo>
                  <a:lnTo>
                    <a:pt x="227" y="140"/>
                  </a:lnTo>
                  <a:lnTo>
                    <a:pt x="230" y="139"/>
                  </a:lnTo>
                  <a:lnTo>
                    <a:pt x="236" y="138"/>
                  </a:lnTo>
                  <a:lnTo>
                    <a:pt x="240" y="139"/>
                  </a:lnTo>
                  <a:lnTo>
                    <a:pt x="240" y="139"/>
                  </a:lnTo>
                  <a:lnTo>
                    <a:pt x="240" y="139"/>
                  </a:lnTo>
                  <a:lnTo>
                    <a:pt x="240" y="139"/>
                  </a:lnTo>
                  <a:lnTo>
                    <a:pt x="244" y="140"/>
                  </a:lnTo>
                  <a:lnTo>
                    <a:pt x="246" y="142"/>
                  </a:lnTo>
                  <a:lnTo>
                    <a:pt x="250" y="146"/>
                  </a:lnTo>
                  <a:lnTo>
                    <a:pt x="253" y="147"/>
                  </a:lnTo>
                  <a:lnTo>
                    <a:pt x="254" y="146"/>
                  </a:lnTo>
                  <a:lnTo>
                    <a:pt x="256" y="144"/>
                  </a:lnTo>
                  <a:lnTo>
                    <a:pt x="257" y="143"/>
                  </a:lnTo>
                  <a:lnTo>
                    <a:pt x="257" y="143"/>
                  </a:lnTo>
                  <a:lnTo>
                    <a:pt x="259" y="141"/>
                  </a:lnTo>
                  <a:lnTo>
                    <a:pt x="260" y="140"/>
                  </a:lnTo>
                  <a:lnTo>
                    <a:pt x="268" y="138"/>
                  </a:lnTo>
                  <a:lnTo>
                    <a:pt x="276" y="137"/>
                  </a:lnTo>
                  <a:lnTo>
                    <a:pt x="278" y="138"/>
                  </a:lnTo>
                  <a:lnTo>
                    <a:pt x="280" y="140"/>
                  </a:lnTo>
                  <a:lnTo>
                    <a:pt x="284" y="141"/>
                  </a:lnTo>
                  <a:lnTo>
                    <a:pt x="288" y="142"/>
                  </a:lnTo>
                  <a:lnTo>
                    <a:pt x="290" y="141"/>
                  </a:lnTo>
                  <a:lnTo>
                    <a:pt x="288" y="140"/>
                  </a:lnTo>
                  <a:lnTo>
                    <a:pt x="286" y="137"/>
                  </a:lnTo>
                  <a:lnTo>
                    <a:pt x="284" y="133"/>
                  </a:lnTo>
                  <a:lnTo>
                    <a:pt x="283" y="128"/>
                  </a:lnTo>
                  <a:lnTo>
                    <a:pt x="280" y="126"/>
                  </a:lnTo>
                  <a:lnTo>
                    <a:pt x="278" y="123"/>
                  </a:lnTo>
                  <a:lnTo>
                    <a:pt x="278" y="123"/>
                  </a:lnTo>
                  <a:lnTo>
                    <a:pt x="276" y="122"/>
                  </a:lnTo>
                  <a:lnTo>
                    <a:pt x="276" y="122"/>
                  </a:lnTo>
                  <a:lnTo>
                    <a:pt x="271" y="118"/>
                  </a:lnTo>
                  <a:lnTo>
                    <a:pt x="269" y="115"/>
                  </a:lnTo>
                  <a:lnTo>
                    <a:pt x="269" y="113"/>
                  </a:lnTo>
                  <a:lnTo>
                    <a:pt x="267" y="111"/>
                  </a:lnTo>
                  <a:lnTo>
                    <a:pt x="261" y="104"/>
                  </a:lnTo>
                  <a:lnTo>
                    <a:pt x="259" y="103"/>
                  </a:lnTo>
                  <a:lnTo>
                    <a:pt x="260" y="88"/>
                  </a:lnTo>
                  <a:lnTo>
                    <a:pt x="261" y="84"/>
                  </a:lnTo>
                  <a:lnTo>
                    <a:pt x="262" y="81"/>
                  </a:lnTo>
                  <a:lnTo>
                    <a:pt x="267" y="74"/>
                  </a:lnTo>
                  <a:lnTo>
                    <a:pt x="270" y="73"/>
                  </a:lnTo>
                  <a:lnTo>
                    <a:pt x="274" y="73"/>
                  </a:lnTo>
                  <a:lnTo>
                    <a:pt x="278" y="74"/>
                  </a:lnTo>
                  <a:lnTo>
                    <a:pt x="282" y="74"/>
                  </a:lnTo>
                  <a:lnTo>
                    <a:pt x="284" y="72"/>
                  </a:lnTo>
                  <a:lnTo>
                    <a:pt x="285" y="69"/>
                  </a:lnTo>
                  <a:lnTo>
                    <a:pt x="288" y="63"/>
                  </a:lnTo>
                  <a:lnTo>
                    <a:pt x="292" y="58"/>
                  </a:lnTo>
                  <a:lnTo>
                    <a:pt x="296" y="54"/>
                  </a:lnTo>
                  <a:lnTo>
                    <a:pt x="330" y="34"/>
                  </a:lnTo>
                  <a:lnTo>
                    <a:pt x="345" y="22"/>
                  </a:lnTo>
                  <a:lnTo>
                    <a:pt x="360" y="12"/>
                  </a:lnTo>
                  <a:lnTo>
                    <a:pt x="361" y="11"/>
                  </a:lnTo>
                  <a:lnTo>
                    <a:pt x="364" y="10"/>
                  </a:lnTo>
                  <a:lnTo>
                    <a:pt x="366" y="10"/>
                  </a:lnTo>
                  <a:lnTo>
                    <a:pt x="366" y="9"/>
                  </a:lnTo>
                  <a:lnTo>
                    <a:pt x="366" y="3"/>
                  </a:lnTo>
                  <a:lnTo>
                    <a:pt x="367" y="3"/>
                  </a:lnTo>
                  <a:lnTo>
                    <a:pt x="367" y="2"/>
                  </a:lnTo>
                  <a:lnTo>
                    <a:pt x="368" y="1"/>
                  </a:lnTo>
                  <a:lnTo>
                    <a:pt x="369" y="0"/>
                  </a:lnTo>
                  <a:lnTo>
                    <a:pt x="366" y="1"/>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13" name="Freeform 49">
              <a:extLst>
                <a:ext uri="{FF2B5EF4-FFF2-40B4-BE49-F238E27FC236}">
                  <a16:creationId xmlns:a16="http://schemas.microsoft.com/office/drawing/2014/main" id="{B9CB1EB4-7D49-409A-A8CA-1048C1DBF530}"/>
                </a:ext>
              </a:extLst>
            </p:cNvPr>
            <p:cNvSpPr>
              <a:spLocks noEditPoints="1"/>
            </p:cNvSpPr>
            <p:nvPr/>
          </p:nvSpPr>
          <p:spPr bwMode="gray">
            <a:xfrm>
              <a:off x="9383991" y="5112919"/>
              <a:ext cx="583992" cy="571526"/>
            </a:xfrm>
            <a:custGeom>
              <a:avLst/>
              <a:gdLst>
                <a:gd name="T0" fmla="*/ 618 w 937"/>
                <a:gd name="T1" fmla="*/ 836 h 917"/>
                <a:gd name="T2" fmla="*/ 503 w 937"/>
                <a:gd name="T3" fmla="*/ 808 h 917"/>
                <a:gd name="T4" fmla="*/ 699 w 937"/>
                <a:gd name="T5" fmla="*/ 833 h 917"/>
                <a:gd name="T6" fmla="*/ 638 w 937"/>
                <a:gd name="T7" fmla="*/ 811 h 917"/>
                <a:gd name="T8" fmla="*/ 625 w 937"/>
                <a:gd name="T9" fmla="*/ 813 h 917"/>
                <a:gd name="T10" fmla="*/ 723 w 937"/>
                <a:gd name="T11" fmla="*/ 860 h 917"/>
                <a:gd name="T12" fmla="*/ 405 w 937"/>
                <a:gd name="T13" fmla="*/ 776 h 917"/>
                <a:gd name="T14" fmla="*/ 504 w 937"/>
                <a:gd name="T15" fmla="*/ 749 h 917"/>
                <a:gd name="T16" fmla="*/ 465 w 937"/>
                <a:gd name="T17" fmla="*/ 719 h 917"/>
                <a:gd name="T18" fmla="*/ 465 w 937"/>
                <a:gd name="T19" fmla="*/ 717 h 917"/>
                <a:gd name="T20" fmla="*/ 455 w 937"/>
                <a:gd name="T21" fmla="*/ 686 h 917"/>
                <a:gd name="T22" fmla="*/ 296 w 937"/>
                <a:gd name="T23" fmla="*/ 619 h 917"/>
                <a:gd name="T24" fmla="*/ 307 w 937"/>
                <a:gd name="T25" fmla="*/ 592 h 917"/>
                <a:gd name="T26" fmla="*/ 215 w 937"/>
                <a:gd name="T27" fmla="*/ 540 h 917"/>
                <a:gd name="T28" fmla="*/ 244 w 937"/>
                <a:gd name="T29" fmla="*/ 575 h 917"/>
                <a:gd name="T30" fmla="*/ 174 w 937"/>
                <a:gd name="T31" fmla="*/ 498 h 917"/>
                <a:gd name="T32" fmla="*/ 120 w 937"/>
                <a:gd name="T33" fmla="*/ 430 h 917"/>
                <a:gd name="T34" fmla="*/ 255 w 937"/>
                <a:gd name="T35" fmla="*/ 497 h 917"/>
                <a:gd name="T36" fmla="*/ 245 w 937"/>
                <a:gd name="T37" fmla="*/ 476 h 917"/>
                <a:gd name="T38" fmla="*/ 142 w 937"/>
                <a:gd name="T39" fmla="*/ 421 h 917"/>
                <a:gd name="T40" fmla="*/ 214 w 937"/>
                <a:gd name="T41" fmla="*/ 417 h 917"/>
                <a:gd name="T42" fmla="*/ 197 w 937"/>
                <a:gd name="T43" fmla="*/ 404 h 917"/>
                <a:gd name="T44" fmla="*/ 132 w 937"/>
                <a:gd name="T45" fmla="*/ 312 h 917"/>
                <a:gd name="T46" fmla="*/ 137 w 937"/>
                <a:gd name="T47" fmla="*/ 405 h 917"/>
                <a:gd name="T48" fmla="*/ 208 w 937"/>
                <a:gd name="T49" fmla="*/ 356 h 917"/>
                <a:gd name="T50" fmla="*/ 160 w 937"/>
                <a:gd name="T51" fmla="*/ 322 h 917"/>
                <a:gd name="T52" fmla="*/ 872 w 937"/>
                <a:gd name="T53" fmla="*/ 245 h 917"/>
                <a:gd name="T54" fmla="*/ 852 w 937"/>
                <a:gd name="T55" fmla="*/ 173 h 917"/>
                <a:gd name="T56" fmla="*/ 813 w 937"/>
                <a:gd name="T57" fmla="*/ 156 h 917"/>
                <a:gd name="T58" fmla="*/ 688 w 937"/>
                <a:gd name="T59" fmla="*/ 171 h 917"/>
                <a:gd name="T60" fmla="*/ 599 w 937"/>
                <a:gd name="T61" fmla="*/ 123 h 917"/>
                <a:gd name="T62" fmla="*/ 516 w 937"/>
                <a:gd name="T63" fmla="*/ 38 h 917"/>
                <a:gd name="T64" fmla="*/ 434 w 937"/>
                <a:gd name="T65" fmla="*/ 13 h 917"/>
                <a:gd name="T66" fmla="*/ 394 w 937"/>
                <a:gd name="T67" fmla="*/ 60 h 917"/>
                <a:gd name="T68" fmla="*/ 343 w 937"/>
                <a:gd name="T69" fmla="*/ 148 h 917"/>
                <a:gd name="T70" fmla="*/ 287 w 937"/>
                <a:gd name="T71" fmla="*/ 199 h 917"/>
                <a:gd name="T72" fmla="*/ 235 w 937"/>
                <a:gd name="T73" fmla="*/ 241 h 917"/>
                <a:gd name="T74" fmla="*/ 157 w 937"/>
                <a:gd name="T75" fmla="*/ 220 h 917"/>
                <a:gd name="T76" fmla="*/ 41 w 937"/>
                <a:gd name="T77" fmla="*/ 247 h 917"/>
                <a:gd name="T78" fmla="*/ 13 w 937"/>
                <a:gd name="T79" fmla="*/ 289 h 917"/>
                <a:gd name="T80" fmla="*/ 43 w 937"/>
                <a:gd name="T81" fmla="*/ 359 h 917"/>
                <a:gd name="T82" fmla="*/ 64 w 937"/>
                <a:gd name="T83" fmla="*/ 392 h 917"/>
                <a:gd name="T84" fmla="*/ 82 w 937"/>
                <a:gd name="T85" fmla="*/ 372 h 917"/>
                <a:gd name="T86" fmla="*/ 99 w 937"/>
                <a:gd name="T87" fmla="*/ 357 h 917"/>
                <a:gd name="T88" fmla="*/ 166 w 937"/>
                <a:gd name="T89" fmla="*/ 287 h 917"/>
                <a:gd name="T90" fmla="*/ 287 w 937"/>
                <a:gd name="T91" fmla="*/ 495 h 917"/>
                <a:gd name="T92" fmla="*/ 266 w 937"/>
                <a:gd name="T93" fmla="*/ 518 h 917"/>
                <a:gd name="T94" fmla="*/ 344 w 937"/>
                <a:gd name="T95" fmla="*/ 613 h 917"/>
                <a:gd name="T96" fmla="*/ 383 w 937"/>
                <a:gd name="T97" fmla="*/ 649 h 917"/>
                <a:gd name="T98" fmla="*/ 391 w 937"/>
                <a:gd name="T99" fmla="*/ 680 h 917"/>
                <a:gd name="T100" fmla="*/ 481 w 937"/>
                <a:gd name="T101" fmla="*/ 681 h 917"/>
                <a:gd name="T102" fmla="*/ 625 w 937"/>
                <a:gd name="T103" fmla="*/ 784 h 917"/>
                <a:gd name="T104" fmla="*/ 607 w 937"/>
                <a:gd name="T105" fmla="*/ 735 h 917"/>
                <a:gd name="T106" fmla="*/ 433 w 937"/>
                <a:gd name="T107" fmla="*/ 531 h 917"/>
                <a:gd name="T108" fmla="*/ 401 w 937"/>
                <a:gd name="T109" fmla="*/ 435 h 917"/>
                <a:gd name="T110" fmla="*/ 356 w 937"/>
                <a:gd name="T111" fmla="*/ 378 h 917"/>
                <a:gd name="T112" fmla="*/ 451 w 937"/>
                <a:gd name="T113" fmla="*/ 347 h 917"/>
                <a:gd name="T114" fmla="*/ 549 w 937"/>
                <a:gd name="T115" fmla="*/ 295 h 917"/>
                <a:gd name="T116" fmla="*/ 634 w 937"/>
                <a:gd name="T117" fmla="*/ 319 h 917"/>
                <a:gd name="T118" fmla="*/ 751 w 937"/>
                <a:gd name="T119" fmla="*/ 316 h 917"/>
                <a:gd name="T120" fmla="*/ 822 w 937"/>
                <a:gd name="T121" fmla="*/ 332 h 917"/>
                <a:gd name="T122" fmla="*/ 892 w 937"/>
                <a:gd name="T123" fmla="*/ 363 h 917"/>
                <a:gd name="T124" fmla="*/ 920 w 937"/>
                <a:gd name="T125" fmla="*/ 313 h 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37" h="917">
                  <a:moveTo>
                    <a:pt x="543" y="839"/>
                  </a:moveTo>
                  <a:lnTo>
                    <a:pt x="533" y="838"/>
                  </a:lnTo>
                  <a:lnTo>
                    <a:pt x="528" y="838"/>
                  </a:lnTo>
                  <a:lnTo>
                    <a:pt x="525" y="840"/>
                  </a:lnTo>
                  <a:lnTo>
                    <a:pt x="524" y="842"/>
                  </a:lnTo>
                  <a:lnTo>
                    <a:pt x="525" y="842"/>
                  </a:lnTo>
                  <a:lnTo>
                    <a:pt x="526" y="841"/>
                  </a:lnTo>
                  <a:lnTo>
                    <a:pt x="527" y="842"/>
                  </a:lnTo>
                  <a:lnTo>
                    <a:pt x="527" y="844"/>
                  </a:lnTo>
                  <a:lnTo>
                    <a:pt x="525" y="845"/>
                  </a:lnTo>
                  <a:lnTo>
                    <a:pt x="527" y="848"/>
                  </a:lnTo>
                  <a:lnTo>
                    <a:pt x="529" y="849"/>
                  </a:lnTo>
                  <a:lnTo>
                    <a:pt x="531" y="849"/>
                  </a:lnTo>
                  <a:lnTo>
                    <a:pt x="533" y="846"/>
                  </a:lnTo>
                  <a:lnTo>
                    <a:pt x="535" y="848"/>
                  </a:lnTo>
                  <a:lnTo>
                    <a:pt x="536" y="848"/>
                  </a:lnTo>
                  <a:lnTo>
                    <a:pt x="537" y="850"/>
                  </a:lnTo>
                  <a:lnTo>
                    <a:pt x="540" y="849"/>
                  </a:lnTo>
                  <a:lnTo>
                    <a:pt x="543" y="847"/>
                  </a:lnTo>
                  <a:lnTo>
                    <a:pt x="545" y="844"/>
                  </a:lnTo>
                  <a:lnTo>
                    <a:pt x="545" y="840"/>
                  </a:lnTo>
                  <a:lnTo>
                    <a:pt x="543" y="839"/>
                  </a:lnTo>
                  <a:close/>
                  <a:moveTo>
                    <a:pt x="663" y="849"/>
                  </a:moveTo>
                  <a:lnTo>
                    <a:pt x="660" y="846"/>
                  </a:lnTo>
                  <a:lnTo>
                    <a:pt x="658" y="848"/>
                  </a:lnTo>
                  <a:lnTo>
                    <a:pt x="649" y="846"/>
                  </a:lnTo>
                  <a:lnTo>
                    <a:pt x="649" y="846"/>
                  </a:lnTo>
                  <a:lnTo>
                    <a:pt x="649" y="845"/>
                  </a:lnTo>
                  <a:lnTo>
                    <a:pt x="650" y="845"/>
                  </a:lnTo>
                  <a:lnTo>
                    <a:pt x="646" y="843"/>
                  </a:lnTo>
                  <a:lnTo>
                    <a:pt x="638" y="842"/>
                  </a:lnTo>
                  <a:lnTo>
                    <a:pt x="632" y="838"/>
                  </a:lnTo>
                  <a:lnTo>
                    <a:pt x="624" y="838"/>
                  </a:lnTo>
                  <a:lnTo>
                    <a:pt x="622" y="836"/>
                  </a:lnTo>
                  <a:lnTo>
                    <a:pt x="621" y="838"/>
                  </a:lnTo>
                  <a:lnTo>
                    <a:pt x="619" y="837"/>
                  </a:lnTo>
                  <a:lnTo>
                    <a:pt x="618" y="836"/>
                  </a:lnTo>
                  <a:lnTo>
                    <a:pt x="616" y="836"/>
                  </a:lnTo>
                  <a:lnTo>
                    <a:pt x="614" y="836"/>
                  </a:lnTo>
                  <a:lnTo>
                    <a:pt x="616" y="835"/>
                  </a:lnTo>
                  <a:lnTo>
                    <a:pt x="617" y="834"/>
                  </a:lnTo>
                  <a:lnTo>
                    <a:pt x="617" y="834"/>
                  </a:lnTo>
                  <a:lnTo>
                    <a:pt x="614" y="834"/>
                  </a:lnTo>
                  <a:lnTo>
                    <a:pt x="609" y="836"/>
                  </a:lnTo>
                  <a:lnTo>
                    <a:pt x="606" y="836"/>
                  </a:lnTo>
                  <a:lnTo>
                    <a:pt x="608" y="839"/>
                  </a:lnTo>
                  <a:lnTo>
                    <a:pt x="611" y="841"/>
                  </a:lnTo>
                  <a:lnTo>
                    <a:pt x="614" y="843"/>
                  </a:lnTo>
                  <a:lnTo>
                    <a:pt x="616" y="840"/>
                  </a:lnTo>
                  <a:lnTo>
                    <a:pt x="674" y="857"/>
                  </a:lnTo>
                  <a:lnTo>
                    <a:pt x="671" y="853"/>
                  </a:lnTo>
                  <a:lnTo>
                    <a:pt x="663" y="849"/>
                  </a:lnTo>
                  <a:close/>
                  <a:moveTo>
                    <a:pt x="579" y="801"/>
                  </a:moveTo>
                  <a:lnTo>
                    <a:pt x="576" y="798"/>
                  </a:lnTo>
                  <a:lnTo>
                    <a:pt x="573" y="799"/>
                  </a:lnTo>
                  <a:lnTo>
                    <a:pt x="560" y="795"/>
                  </a:lnTo>
                  <a:lnTo>
                    <a:pt x="542" y="796"/>
                  </a:lnTo>
                  <a:lnTo>
                    <a:pt x="538" y="799"/>
                  </a:lnTo>
                  <a:lnTo>
                    <a:pt x="536" y="799"/>
                  </a:lnTo>
                  <a:lnTo>
                    <a:pt x="527" y="799"/>
                  </a:lnTo>
                  <a:lnTo>
                    <a:pt x="518" y="797"/>
                  </a:lnTo>
                  <a:lnTo>
                    <a:pt x="514" y="795"/>
                  </a:lnTo>
                  <a:lnTo>
                    <a:pt x="511" y="793"/>
                  </a:lnTo>
                  <a:lnTo>
                    <a:pt x="507" y="793"/>
                  </a:lnTo>
                  <a:lnTo>
                    <a:pt x="503" y="793"/>
                  </a:lnTo>
                  <a:lnTo>
                    <a:pt x="500" y="793"/>
                  </a:lnTo>
                  <a:lnTo>
                    <a:pt x="497" y="795"/>
                  </a:lnTo>
                  <a:lnTo>
                    <a:pt x="499" y="796"/>
                  </a:lnTo>
                  <a:lnTo>
                    <a:pt x="506" y="797"/>
                  </a:lnTo>
                  <a:lnTo>
                    <a:pt x="509" y="798"/>
                  </a:lnTo>
                  <a:lnTo>
                    <a:pt x="509" y="799"/>
                  </a:lnTo>
                  <a:lnTo>
                    <a:pt x="498" y="805"/>
                  </a:lnTo>
                  <a:lnTo>
                    <a:pt x="500" y="807"/>
                  </a:lnTo>
                  <a:lnTo>
                    <a:pt x="503" y="808"/>
                  </a:lnTo>
                  <a:lnTo>
                    <a:pt x="503" y="807"/>
                  </a:lnTo>
                  <a:lnTo>
                    <a:pt x="506" y="806"/>
                  </a:lnTo>
                  <a:lnTo>
                    <a:pt x="514" y="809"/>
                  </a:lnTo>
                  <a:lnTo>
                    <a:pt x="531" y="812"/>
                  </a:lnTo>
                  <a:lnTo>
                    <a:pt x="539" y="811"/>
                  </a:lnTo>
                  <a:lnTo>
                    <a:pt x="551" y="807"/>
                  </a:lnTo>
                  <a:lnTo>
                    <a:pt x="558" y="806"/>
                  </a:lnTo>
                  <a:lnTo>
                    <a:pt x="572" y="810"/>
                  </a:lnTo>
                  <a:lnTo>
                    <a:pt x="580" y="808"/>
                  </a:lnTo>
                  <a:lnTo>
                    <a:pt x="583" y="808"/>
                  </a:lnTo>
                  <a:lnTo>
                    <a:pt x="586" y="810"/>
                  </a:lnTo>
                  <a:lnTo>
                    <a:pt x="587" y="808"/>
                  </a:lnTo>
                  <a:lnTo>
                    <a:pt x="581" y="804"/>
                  </a:lnTo>
                  <a:lnTo>
                    <a:pt x="579" y="801"/>
                  </a:lnTo>
                  <a:close/>
                  <a:moveTo>
                    <a:pt x="789" y="909"/>
                  </a:moveTo>
                  <a:lnTo>
                    <a:pt x="788" y="909"/>
                  </a:lnTo>
                  <a:lnTo>
                    <a:pt x="786" y="906"/>
                  </a:lnTo>
                  <a:lnTo>
                    <a:pt x="784" y="904"/>
                  </a:lnTo>
                  <a:lnTo>
                    <a:pt x="783" y="900"/>
                  </a:lnTo>
                  <a:lnTo>
                    <a:pt x="783" y="896"/>
                  </a:lnTo>
                  <a:lnTo>
                    <a:pt x="784" y="889"/>
                  </a:lnTo>
                  <a:lnTo>
                    <a:pt x="783" y="886"/>
                  </a:lnTo>
                  <a:lnTo>
                    <a:pt x="781" y="885"/>
                  </a:lnTo>
                  <a:lnTo>
                    <a:pt x="775" y="884"/>
                  </a:lnTo>
                  <a:lnTo>
                    <a:pt x="773" y="883"/>
                  </a:lnTo>
                  <a:lnTo>
                    <a:pt x="773" y="883"/>
                  </a:lnTo>
                  <a:lnTo>
                    <a:pt x="773" y="883"/>
                  </a:lnTo>
                  <a:lnTo>
                    <a:pt x="769" y="878"/>
                  </a:lnTo>
                  <a:lnTo>
                    <a:pt x="768" y="877"/>
                  </a:lnTo>
                  <a:lnTo>
                    <a:pt x="763" y="877"/>
                  </a:lnTo>
                  <a:lnTo>
                    <a:pt x="755" y="874"/>
                  </a:lnTo>
                  <a:lnTo>
                    <a:pt x="749" y="871"/>
                  </a:lnTo>
                  <a:lnTo>
                    <a:pt x="722" y="853"/>
                  </a:lnTo>
                  <a:lnTo>
                    <a:pt x="713" y="847"/>
                  </a:lnTo>
                  <a:lnTo>
                    <a:pt x="709" y="844"/>
                  </a:lnTo>
                  <a:lnTo>
                    <a:pt x="702" y="836"/>
                  </a:lnTo>
                  <a:lnTo>
                    <a:pt x="699" y="833"/>
                  </a:lnTo>
                  <a:lnTo>
                    <a:pt x="693" y="832"/>
                  </a:lnTo>
                  <a:lnTo>
                    <a:pt x="691" y="831"/>
                  </a:lnTo>
                  <a:lnTo>
                    <a:pt x="686" y="823"/>
                  </a:lnTo>
                  <a:lnTo>
                    <a:pt x="686" y="820"/>
                  </a:lnTo>
                  <a:lnTo>
                    <a:pt x="686" y="815"/>
                  </a:lnTo>
                  <a:lnTo>
                    <a:pt x="686" y="813"/>
                  </a:lnTo>
                  <a:lnTo>
                    <a:pt x="684" y="811"/>
                  </a:lnTo>
                  <a:lnTo>
                    <a:pt x="682" y="811"/>
                  </a:lnTo>
                  <a:lnTo>
                    <a:pt x="681" y="812"/>
                  </a:lnTo>
                  <a:lnTo>
                    <a:pt x="680" y="812"/>
                  </a:lnTo>
                  <a:lnTo>
                    <a:pt x="677" y="812"/>
                  </a:lnTo>
                  <a:lnTo>
                    <a:pt x="670" y="809"/>
                  </a:lnTo>
                  <a:lnTo>
                    <a:pt x="667" y="808"/>
                  </a:lnTo>
                  <a:lnTo>
                    <a:pt x="663" y="809"/>
                  </a:lnTo>
                  <a:lnTo>
                    <a:pt x="661" y="811"/>
                  </a:lnTo>
                  <a:lnTo>
                    <a:pt x="659" y="815"/>
                  </a:lnTo>
                  <a:lnTo>
                    <a:pt x="663" y="817"/>
                  </a:lnTo>
                  <a:lnTo>
                    <a:pt x="668" y="816"/>
                  </a:lnTo>
                  <a:lnTo>
                    <a:pt x="668" y="817"/>
                  </a:lnTo>
                  <a:lnTo>
                    <a:pt x="667" y="820"/>
                  </a:lnTo>
                  <a:lnTo>
                    <a:pt x="668" y="822"/>
                  </a:lnTo>
                  <a:lnTo>
                    <a:pt x="673" y="826"/>
                  </a:lnTo>
                  <a:lnTo>
                    <a:pt x="669" y="825"/>
                  </a:lnTo>
                  <a:lnTo>
                    <a:pt x="662" y="818"/>
                  </a:lnTo>
                  <a:lnTo>
                    <a:pt x="660" y="818"/>
                  </a:lnTo>
                  <a:lnTo>
                    <a:pt x="659" y="818"/>
                  </a:lnTo>
                  <a:lnTo>
                    <a:pt x="657" y="816"/>
                  </a:lnTo>
                  <a:lnTo>
                    <a:pt x="654" y="815"/>
                  </a:lnTo>
                  <a:lnTo>
                    <a:pt x="648" y="812"/>
                  </a:lnTo>
                  <a:lnTo>
                    <a:pt x="645" y="811"/>
                  </a:lnTo>
                  <a:lnTo>
                    <a:pt x="644" y="810"/>
                  </a:lnTo>
                  <a:lnTo>
                    <a:pt x="642" y="810"/>
                  </a:lnTo>
                  <a:lnTo>
                    <a:pt x="641" y="809"/>
                  </a:lnTo>
                  <a:lnTo>
                    <a:pt x="639" y="808"/>
                  </a:lnTo>
                  <a:lnTo>
                    <a:pt x="638" y="808"/>
                  </a:lnTo>
                  <a:lnTo>
                    <a:pt x="638" y="808"/>
                  </a:lnTo>
                  <a:lnTo>
                    <a:pt x="638" y="811"/>
                  </a:lnTo>
                  <a:lnTo>
                    <a:pt x="638" y="811"/>
                  </a:lnTo>
                  <a:lnTo>
                    <a:pt x="636" y="811"/>
                  </a:lnTo>
                  <a:lnTo>
                    <a:pt x="634" y="810"/>
                  </a:lnTo>
                  <a:lnTo>
                    <a:pt x="632" y="808"/>
                  </a:lnTo>
                  <a:lnTo>
                    <a:pt x="631" y="808"/>
                  </a:lnTo>
                  <a:lnTo>
                    <a:pt x="629" y="808"/>
                  </a:lnTo>
                  <a:lnTo>
                    <a:pt x="628" y="808"/>
                  </a:lnTo>
                  <a:lnTo>
                    <a:pt x="628" y="807"/>
                  </a:lnTo>
                  <a:lnTo>
                    <a:pt x="628" y="806"/>
                  </a:lnTo>
                  <a:lnTo>
                    <a:pt x="628" y="804"/>
                  </a:lnTo>
                  <a:lnTo>
                    <a:pt x="627" y="804"/>
                  </a:lnTo>
                  <a:lnTo>
                    <a:pt x="623" y="800"/>
                  </a:lnTo>
                  <a:lnTo>
                    <a:pt x="617" y="796"/>
                  </a:lnTo>
                  <a:lnTo>
                    <a:pt x="593" y="786"/>
                  </a:lnTo>
                  <a:lnTo>
                    <a:pt x="580" y="784"/>
                  </a:lnTo>
                  <a:lnTo>
                    <a:pt x="567" y="786"/>
                  </a:lnTo>
                  <a:lnTo>
                    <a:pt x="564" y="785"/>
                  </a:lnTo>
                  <a:lnTo>
                    <a:pt x="559" y="781"/>
                  </a:lnTo>
                  <a:lnTo>
                    <a:pt x="555" y="780"/>
                  </a:lnTo>
                  <a:lnTo>
                    <a:pt x="556" y="781"/>
                  </a:lnTo>
                  <a:lnTo>
                    <a:pt x="557" y="783"/>
                  </a:lnTo>
                  <a:lnTo>
                    <a:pt x="558" y="784"/>
                  </a:lnTo>
                  <a:lnTo>
                    <a:pt x="560" y="784"/>
                  </a:lnTo>
                  <a:lnTo>
                    <a:pt x="560" y="786"/>
                  </a:lnTo>
                  <a:lnTo>
                    <a:pt x="558" y="788"/>
                  </a:lnTo>
                  <a:lnTo>
                    <a:pt x="560" y="790"/>
                  </a:lnTo>
                  <a:lnTo>
                    <a:pt x="562" y="792"/>
                  </a:lnTo>
                  <a:lnTo>
                    <a:pt x="565" y="793"/>
                  </a:lnTo>
                  <a:lnTo>
                    <a:pt x="570" y="794"/>
                  </a:lnTo>
                  <a:lnTo>
                    <a:pt x="587" y="795"/>
                  </a:lnTo>
                  <a:lnTo>
                    <a:pt x="589" y="795"/>
                  </a:lnTo>
                  <a:lnTo>
                    <a:pt x="590" y="796"/>
                  </a:lnTo>
                  <a:lnTo>
                    <a:pt x="593" y="797"/>
                  </a:lnTo>
                  <a:lnTo>
                    <a:pt x="598" y="799"/>
                  </a:lnTo>
                  <a:lnTo>
                    <a:pt x="611" y="808"/>
                  </a:lnTo>
                  <a:lnTo>
                    <a:pt x="621" y="810"/>
                  </a:lnTo>
                  <a:lnTo>
                    <a:pt x="625" y="813"/>
                  </a:lnTo>
                  <a:lnTo>
                    <a:pt x="625" y="818"/>
                  </a:lnTo>
                  <a:lnTo>
                    <a:pt x="638" y="824"/>
                  </a:lnTo>
                  <a:lnTo>
                    <a:pt x="647" y="826"/>
                  </a:lnTo>
                  <a:lnTo>
                    <a:pt x="656" y="829"/>
                  </a:lnTo>
                  <a:lnTo>
                    <a:pt x="663" y="831"/>
                  </a:lnTo>
                  <a:lnTo>
                    <a:pt x="671" y="834"/>
                  </a:lnTo>
                  <a:lnTo>
                    <a:pt x="674" y="836"/>
                  </a:lnTo>
                  <a:lnTo>
                    <a:pt x="674" y="837"/>
                  </a:lnTo>
                  <a:lnTo>
                    <a:pt x="674" y="839"/>
                  </a:lnTo>
                  <a:lnTo>
                    <a:pt x="674" y="840"/>
                  </a:lnTo>
                  <a:lnTo>
                    <a:pt x="675" y="840"/>
                  </a:lnTo>
                  <a:lnTo>
                    <a:pt x="676" y="840"/>
                  </a:lnTo>
                  <a:lnTo>
                    <a:pt x="676" y="839"/>
                  </a:lnTo>
                  <a:lnTo>
                    <a:pt x="674" y="834"/>
                  </a:lnTo>
                  <a:lnTo>
                    <a:pt x="673" y="831"/>
                  </a:lnTo>
                  <a:lnTo>
                    <a:pt x="669" y="829"/>
                  </a:lnTo>
                  <a:lnTo>
                    <a:pt x="672" y="830"/>
                  </a:lnTo>
                  <a:lnTo>
                    <a:pt x="676" y="833"/>
                  </a:lnTo>
                  <a:lnTo>
                    <a:pt x="677" y="833"/>
                  </a:lnTo>
                  <a:lnTo>
                    <a:pt x="677" y="834"/>
                  </a:lnTo>
                  <a:lnTo>
                    <a:pt x="678" y="835"/>
                  </a:lnTo>
                  <a:lnTo>
                    <a:pt x="679" y="835"/>
                  </a:lnTo>
                  <a:lnTo>
                    <a:pt x="680" y="833"/>
                  </a:lnTo>
                  <a:lnTo>
                    <a:pt x="681" y="832"/>
                  </a:lnTo>
                  <a:lnTo>
                    <a:pt x="682" y="832"/>
                  </a:lnTo>
                  <a:lnTo>
                    <a:pt x="683" y="832"/>
                  </a:lnTo>
                  <a:lnTo>
                    <a:pt x="687" y="833"/>
                  </a:lnTo>
                  <a:lnTo>
                    <a:pt x="692" y="836"/>
                  </a:lnTo>
                  <a:lnTo>
                    <a:pt x="697" y="836"/>
                  </a:lnTo>
                  <a:lnTo>
                    <a:pt x="695" y="841"/>
                  </a:lnTo>
                  <a:lnTo>
                    <a:pt x="698" y="845"/>
                  </a:lnTo>
                  <a:lnTo>
                    <a:pt x="708" y="850"/>
                  </a:lnTo>
                  <a:lnTo>
                    <a:pt x="714" y="856"/>
                  </a:lnTo>
                  <a:lnTo>
                    <a:pt x="718" y="858"/>
                  </a:lnTo>
                  <a:lnTo>
                    <a:pt x="721" y="855"/>
                  </a:lnTo>
                  <a:lnTo>
                    <a:pt x="721" y="858"/>
                  </a:lnTo>
                  <a:lnTo>
                    <a:pt x="723" y="860"/>
                  </a:lnTo>
                  <a:lnTo>
                    <a:pt x="726" y="863"/>
                  </a:lnTo>
                  <a:lnTo>
                    <a:pt x="723" y="863"/>
                  </a:lnTo>
                  <a:lnTo>
                    <a:pt x="724" y="865"/>
                  </a:lnTo>
                  <a:lnTo>
                    <a:pt x="726" y="866"/>
                  </a:lnTo>
                  <a:lnTo>
                    <a:pt x="728" y="867"/>
                  </a:lnTo>
                  <a:lnTo>
                    <a:pt x="731" y="867"/>
                  </a:lnTo>
                  <a:lnTo>
                    <a:pt x="734" y="868"/>
                  </a:lnTo>
                  <a:lnTo>
                    <a:pt x="740" y="871"/>
                  </a:lnTo>
                  <a:lnTo>
                    <a:pt x="748" y="873"/>
                  </a:lnTo>
                  <a:lnTo>
                    <a:pt x="749" y="874"/>
                  </a:lnTo>
                  <a:lnTo>
                    <a:pt x="749" y="877"/>
                  </a:lnTo>
                  <a:lnTo>
                    <a:pt x="749" y="880"/>
                  </a:lnTo>
                  <a:lnTo>
                    <a:pt x="749" y="882"/>
                  </a:lnTo>
                  <a:lnTo>
                    <a:pt x="752" y="886"/>
                  </a:lnTo>
                  <a:lnTo>
                    <a:pt x="779" y="904"/>
                  </a:lnTo>
                  <a:lnTo>
                    <a:pt x="780" y="907"/>
                  </a:lnTo>
                  <a:lnTo>
                    <a:pt x="782" y="909"/>
                  </a:lnTo>
                  <a:lnTo>
                    <a:pt x="787" y="910"/>
                  </a:lnTo>
                  <a:lnTo>
                    <a:pt x="789" y="911"/>
                  </a:lnTo>
                  <a:lnTo>
                    <a:pt x="793" y="917"/>
                  </a:lnTo>
                  <a:lnTo>
                    <a:pt x="793" y="914"/>
                  </a:lnTo>
                  <a:lnTo>
                    <a:pt x="792" y="911"/>
                  </a:lnTo>
                  <a:lnTo>
                    <a:pt x="789" y="909"/>
                  </a:lnTo>
                  <a:close/>
                  <a:moveTo>
                    <a:pt x="436" y="774"/>
                  </a:moveTo>
                  <a:lnTo>
                    <a:pt x="435" y="775"/>
                  </a:lnTo>
                  <a:lnTo>
                    <a:pt x="435" y="776"/>
                  </a:lnTo>
                  <a:lnTo>
                    <a:pt x="433" y="774"/>
                  </a:lnTo>
                  <a:lnTo>
                    <a:pt x="431" y="774"/>
                  </a:lnTo>
                  <a:lnTo>
                    <a:pt x="427" y="776"/>
                  </a:lnTo>
                  <a:lnTo>
                    <a:pt x="427" y="775"/>
                  </a:lnTo>
                  <a:lnTo>
                    <a:pt x="428" y="774"/>
                  </a:lnTo>
                  <a:lnTo>
                    <a:pt x="423" y="772"/>
                  </a:lnTo>
                  <a:lnTo>
                    <a:pt x="417" y="772"/>
                  </a:lnTo>
                  <a:lnTo>
                    <a:pt x="411" y="773"/>
                  </a:lnTo>
                  <a:lnTo>
                    <a:pt x="407" y="776"/>
                  </a:lnTo>
                  <a:lnTo>
                    <a:pt x="406" y="776"/>
                  </a:lnTo>
                  <a:lnTo>
                    <a:pt x="405" y="776"/>
                  </a:lnTo>
                  <a:lnTo>
                    <a:pt x="405" y="776"/>
                  </a:lnTo>
                  <a:lnTo>
                    <a:pt x="404" y="777"/>
                  </a:lnTo>
                  <a:lnTo>
                    <a:pt x="406" y="780"/>
                  </a:lnTo>
                  <a:lnTo>
                    <a:pt x="407" y="780"/>
                  </a:lnTo>
                  <a:lnTo>
                    <a:pt x="409" y="780"/>
                  </a:lnTo>
                  <a:lnTo>
                    <a:pt x="410" y="782"/>
                  </a:lnTo>
                  <a:lnTo>
                    <a:pt x="410" y="786"/>
                  </a:lnTo>
                  <a:lnTo>
                    <a:pt x="406" y="787"/>
                  </a:lnTo>
                  <a:lnTo>
                    <a:pt x="410" y="789"/>
                  </a:lnTo>
                  <a:lnTo>
                    <a:pt x="416" y="788"/>
                  </a:lnTo>
                  <a:lnTo>
                    <a:pt x="430" y="784"/>
                  </a:lnTo>
                  <a:lnTo>
                    <a:pt x="432" y="782"/>
                  </a:lnTo>
                  <a:lnTo>
                    <a:pt x="433" y="780"/>
                  </a:lnTo>
                  <a:lnTo>
                    <a:pt x="435" y="779"/>
                  </a:lnTo>
                  <a:lnTo>
                    <a:pt x="436" y="777"/>
                  </a:lnTo>
                  <a:lnTo>
                    <a:pt x="437" y="776"/>
                  </a:lnTo>
                  <a:lnTo>
                    <a:pt x="437" y="774"/>
                  </a:lnTo>
                  <a:lnTo>
                    <a:pt x="436" y="774"/>
                  </a:lnTo>
                  <a:close/>
                  <a:moveTo>
                    <a:pt x="506" y="763"/>
                  </a:moveTo>
                  <a:lnTo>
                    <a:pt x="586" y="763"/>
                  </a:lnTo>
                  <a:lnTo>
                    <a:pt x="580" y="761"/>
                  </a:lnTo>
                  <a:lnTo>
                    <a:pt x="573" y="760"/>
                  </a:lnTo>
                  <a:lnTo>
                    <a:pt x="558" y="761"/>
                  </a:lnTo>
                  <a:lnTo>
                    <a:pt x="549" y="758"/>
                  </a:lnTo>
                  <a:lnTo>
                    <a:pt x="539" y="757"/>
                  </a:lnTo>
                  <a:lnTo>
                    <a:pt x="536" y="757"/>
                  </a:lnTo>
                  <a:lnTo>
                    <a:pt x="534" y="755"/>
                  </a:lnTo>
                  <a:lnTo>
                    <a:pt x="531" y="756"/>
                  </a:lnTo>
                  <a:lnTo>
                    <a:pt x="516" y="756"/>
                  </a:lnTo>
                  <a:lnTo>
                    <a:pt x="512" y="755"/>
                  </a:lnTo>
                  <a:lnTo>
                    <a:pt x="508" y="754"/>
                  </a:lnTo>
                  <a:lnTo>
                    <a:pt x="505" y="752"/>
                  </a:lnTo>
                  <a:lnTo>
                    <a:pt x="506" y="752"/>
                  </a:lnTo>
                  <a:lnTo>
                    <a:pt x="506" y="752"/>
                  </a:lnTo>
                  <a:lnTo>
                    <a:pt x="506" y="751"/>
                  </a:lnTo>
                  <a:lnTo>
                    <a:pt x="506" y="750"/>
                  </a:lnTo>
                  <a:lnTo>
                    <a:pt x="504" y="749"/>
                  </a:lnTo>
                  <a:lnTo>
                    <a:pt x="503" y="747"/>
                  </a:lnTo>
                  <a:lnTo>
                    <a:pt x="502" y="745"/>
                  </a:lnTo>
                  <a:lnTo>
                    <a:pt x="501" y="744"/>
                  </a:lnTo>
                  <a:lnTo>
                    <a:pt x="499" y="743"/>
                  </a:lnTo>
                  <a:lnTo>
                    <a:pt x="494" y="743"/>
                  </a:lnTo>
                  <a:lnTo>
                    <a:pt x="492" y="743"/>
                  </a:lnTo>
                  <a:lnTo>
                    <a:pt x="491" y="743"/>
                  </a:lnTo>
                  <a:lnTo>
                    <a:pt x="490" y="744"/>
                  </a:lnTo>
                  <a:lnTo>
                    <a:pt x="489" y="744"/>
                  </a:lnTo>
                  <a:lnTo>
                    <a:pt x="486" y="742"/>
                  </a:lnTo>
                  <a:lnTo>
                    <a:pt x="481" y="742"/>
                  </a:lnTo>
                  <a:lnTo>
                    <a:pt x="479" y="742"/>
                  </a:lnTo>
                  <a:lnTo>
                    <a:pt x="480" y="743"/>
                  </a:lnTo>
                  <a:lnTo>
                    <a:pt x="485" y="746"/>
                  </a:lnTo>
                  <a:lnTo>
                    <a:pt x="489" y="750"/>
                  </a:lnTo>
                  <a:lnTo>
                    <a:pt x="484" y="750"/>
                  </a:lnTo>
                  <a:lnTo>
                    <a:pt x="480" y="747"/>
                  </a:lnTo>
                  <a:lnTo>
                    <a:pt x="475" y="744"/>
                  </a:lnTo>
                  <a:lnTo>
                    <a:pt x="469" y="746"/>
                  </a:lnTo>
                  <a:lnTo>
                    <a:pt x="469" y="744"/>
                  </a:lnTo>
                  <a:lnTo>
                    <a:pt x="467" y="746"/>
                  </a:lnTo>
                  <a:lnTo>
                    <a:pt x="467" y="747"/>
                  </a:lnTo>
                  <a:lnTo>
                    <a:pt x="466" y="746"/>
                  </a:lnTo>
                  <a:lnTo>
                    <a:pt x="462" y="748"/>
                  </a:lnTo>
                  <a:lnTo>
                    <a:pt x="461" y="748"/>
                  </a:lnTo>
                  <a:lnTo>
                    <a:pt x="458" y="747"/>
                  </a:lnTo>
                  <a:lnTo>
                    <a:pt x="457" y="748"/>
                  </a:lnTo>
                  <a:lnTo>
                    <a:pt x="456" y="748"/>
                  </a:lnTo>
                  <a:lnTo>
                    <a:pt x="455" y="749"/>
                  </a:lnTo>
                  <a:lnTo>
                    <a:pt x="462" y="752"/>
                  </a:lnTo>
                  <a:lnTo>
                    <a:pt x="464" y="752"/>
                  </a:lnTo>
                  <a:lnTo>
                    <a:pt x="467" y="754"/>
                  </a:lnTo>
                  <a:lnTo>
                    <a:pt x="472" y="755"/>
                  </a:lnTo>
                  <a:lnTo>
                    <a:pt x="485" y="760"/>
                  </a:lnTo>
                  <a:lnTo>
                    <a:pt x="503" y="764"/>
                  </a:lnTo>
                  <a:lnTo>
                    <a:pt x="506" y="763"/>
                  </a:lnTo>
                  <a:close/>
                  <a:moveTo>
                    <a:pt x="465" y="719"/>
                  </a:moveTo>
                  <a:lnTo>
                    <a:pt x="464" y="719"/>
                  </a:lnTo>
                  <a:lnTo>
                    <a:pt x="464" y="721"/>
                  </a:lnTo>
                  <a:lnTo>
                    <a:pt x="463" y="721"/>
                  </a:lnTo>
                  <a:lnTo>
                    <a:pt x="462" y="720"/>
                  </a:lnTo>
                  <a:lnTo>
                    <a:pt x="461" y="719"/>
                  </a:lnTo>
                  <a:lnTo>
                    <a:pt x="463" y="722"/>
                  </a:lnTo>
                  <a:lnTo>
                    <a:pt x="476" y="729"/>
                  </a:lnTo>
                  <a:lnTo>
                    <a:pt x="486" y="733"/>
                  </a:lnTo>
                  <a:lnTo>
                    <a:pt x="496" y="734"/>
                  </a:lnTo>
                  <a:lnTo>
                    <a:pt x="526" y="733"/>
                  </a:lnTo>
                  <a:lnTo>
                    <a:pt x="531" y="732"/>
                  </a:lnTo>
                  <a:lnTo>
                    <a:pt x="534" y="728"/>
                  </a:lnTo>
                  <a:lnTo>
                    <a:pt x="535" y="729"/>
                  </a:lnTo>
                  <a:lnTo>
                    <a:pt x="536" y="728"/>
                  </a:lnTo>
                  <a:lnTo>
                    <a:pt x="538" y="723"/>
                  </a:lnTo>
                  <a:lnTo>
                    <a:pt x="537" y="721"/>
                  </a:lnTo>
                  <a:lnTo>
                    <a:pt x="536" y="721"/>
                  </a:lnTo>
                  <a:lnTo>
                    <a:pt x="534" y="721"/>
                  </a:lnTo>
                  <a:lnTo>
                    <a:pt x="533" y="721"/>
                  </a:lnTo>
                  <a:lnTo>
                    <a:pt x="530" y="717"/>
                  </a:lnTo>
                  <a:lnTo>
                    <a:pt x="528" y="716"/>
                  </a:lnTo>
                  <a:lnTo>
                    <a:pt x="527" y="717"/>
                  </a:lnTo>
                  <a:lnTo>
                    <a:pt x="526" y="717"/>
                  </a:lnTo>
                  <a:lnTo>
                    <a:pt x="524" y="717"/>
                  </a:lnTo>
                  <a:lnTo>
                    <a:pt x="523" y="716"/>
                  </a:lnTo>
                  <a:lnTo>
                    <a:pt x="525" y="716"/>
                  </a:lnTo>
                  <a:lnTo>
                    <a:pt x="525" y="714"/>
                  </a:lnTo>
                  <a:lnTo>
                    <a:pt x="506" y="709"/>
                  </a:lnTo>
                  <a:lnTo>
                    <a:pt x="475" y="708"/>
                  </a:lnTo>
                  <a:lnTo>
                    <a:pt x="468" y="706"/>
                  </a:lnTo>
                  <a:lnTo>
                    <a:pt x="467" y="705"/>
                  </a:lnTo>
                  <a:lnTo>
                    <a:pt x="464" y="706"/>
                  </a:lnTo>
                  <a:lnTo>
                    <a:pt x="466" y="711"/>
                  </a:lnTo>
                  <a:lnTo>
                    <a:pt x="468" y="714"/>
                  </a:lnTo>
                  <a:lnTo>
                    <a:pt x="467" y="715"/>
                  </a:lnTo>
                  <a:lnTo>
                    <a:pt x="465" y="716"/>
                  </a:lnTo>
                  <a:lnTo>
                    <a:pt x="465" y="717"/>
                  </a:lnTo>
                  <a:lnTo>
                    <a:pt x="466" y="719"/>
                  </a:lnTo>
                  <a:lnTo>
                    <a:pt x="465" y="719"/>
                  </a:lnTo>
                  <a:lnTo>
                    <a:pt x="465" y="719"/>
                  </a:lnTo>
                  <a:close/>
                  <a:moveTo>
                    <a:pt x="458" y="716"/>
                  </a:moveTo>
                  <a:lnTo>
                    <a:pt x="455" y="713"/>
                  </a:lnTo>
                  <a:lnTo>
                    <a:pt x="452" y="709"/>
                  </a:lnTo>
                  <a:lnTo>
                    <a:pt x="449" y="707"/>
                  </a:lnTo>
                  <a:lnTo>
                    <a:pt x="444" y="707"/>
                  </a:lnTo>
                  <a:lnTo>
                    <a:pt x="444" y="704"/>
                  </a:lnTo>
                  <a:lnTo>
                    <a:pt x="440" y="702"/>
                  </a:lnTo>
                  <a:lnTo>
                    <a:pt x="431" y="701"/>
                  </a:lnTo>
                  <a:lnTo>
                    <a:pt x="429" y="702"/>
                  </a:lnTo>
                  <a:lnTo>
                    <a:pt x="428" y="703"/>
                  </a:lnTo>
                  <a:lnTo>
                    <a:pt x="428" y="704"/>
                  </a:lnTo>
                  <a:lnTo>
                    <a:pt x="430" y="706"/>
                  </a:lnTo>
                  <a:lnTo>
                    <a:pt x="430" y="706"/>
                  </a:lnTo>
                  <a:lnTo>
                    <a:pt x="429" y="706"/>
                  </a:lnTo>
                  <a:lnTo>
                    <a:pt x="429" y="706"/>
                  </a:lnTo>
                  <a:lnTo>
                    <a:pt x="429" y="707"/>
                  </a:lnTo>
                  <a:lnTo>
                    <a:pt x="433" y="708"/>
                  </a:lnTo>
                  <a:lnTo>
                    <a:pt x="441" y="711"/>
                  </a:lnTo>
                  <a:lnTo>
                    <a:pt x="452" y="718"/>
                  </a:lnTo>
                  <a:lnTo>
                    <a:pt x="456" y="719"/>
                  </a:lnTo>
                  <a:lnTo>
                    <a:pt x="458" y="716"/>
                  </a:lnTo>
                  <a:close/>
                  <a:moveTo>
                    <a:pt x="433" y="683"/>
                  </a:moveTo>
                  <a:lnTo>
                    <a:pt x="432" y="683"/>
                  </a:lnTo>
                  <a:lnTo>
                    <a:pt x="431" y="683"/>
                  </a:lnTo>
                  <a:lnTo>
                    <a:pt x="430" y="684"/>
                  </a:lnTo>
                  <a:lnTo>
                    <a:pt x="430" y="685"/>
                  </a:lnTo>
                  <a:lnTo>
                    <a:pt x="431" y="685"/>
                  </a:lnTo>
                  <a:lnTo>
                    <a:pt x="433" y="686"/>
                  </a:lnTo>
                  <a:lnTo>
                    <a:pt x="435" y="687"/>
                  </a:lnTo>
                  <a:lnTo>
                    <a:pt x="438" y="686"/>
                  </a:lnTo>
                  <a:lnTo>
                    <a:pt x="439" y="685"/>
                  </a:lnTo>
                  <a:lnTo>
                    <a:pt x="441" y="685"/>
                  </a:lnTo>
                  <a:lnTo>
                    <a:pt x="449" y="687"/>
                  </a:lnTo>
                  <a:lnTo>
                    <a:pt x="455" y="686"/>
                  </a:lnTo>
                  <a:lnTo>
                    <a:pt x="456" y="685"/>
                  </a:lnTo>
                  <a:lnTo>
                    <a:pt x="449" y="682"/>
                  </a:lnTo>
                  <a:lnTo>
                    <a:pt x="446" y="681"/>
                  </a:lnTo>
                  <a:lnTo>
                    <a:pt x="438" y="680"/>
                  </a:lnTo>
                  <a:lnTo>
                    <a:pt x="436" y="681"/>
                  </a:lnTo>
                  <a:lnTo>
                    <a:pt x="436" y="683"/>
                  </a:lnTo>
                  <a:lnTo>
                    <a:pt x="435" y="684"/>
                  </a:lnTo>
                  <a:lnTo>
                    <a:pt x="433" y="683"/>
                  </a:lnTo>
                  <a:close/>
                  <a:moveTo>
                    <a:pt x="344" y="649"/>
                  </a:moveTo>
                  <a:lnTo>
                    <a:pt x="343" y="646"/>
                  </a:lnTo>
                  <a:lnTo>
                    <a:pt x="341" y="645"/>
                  </a:lnTo>
                  <a:lnTo>
                    <a:pt x="336" y="644"/>
                  </a:lnTo>
                  <a:lnTo>
                    <a:pt x="335" y="644"/>
                  </a:lnTo>
                  <a:lnTo>
                    <a:pt x="335" y="643"/>
                  </a:lnTo>
                  <a:lnTo>
                    <a:pt x="333" y="645"/>
                  </a:lnTo>
                  <a:lnTo>
                    <a:pt x="336" y="646"/>
                  </a:lnTo>
                  <a:lnTo>
                    <a:pt x="343" y="651"/>
                  </a:lnTo>
                  <a:lnTo>
                    <a:pt x="344" y="653"/>
                  </a:lnTo>
                  <a:lnTo>
                    <a:pt x="346" y="652"/>
                  </a:lnTo>
                  <a:lnTo>
                    <a:pt x="355" y="655"/>
                  </a:lnTo>
                  <a:lnTo>
                    <a:pt x="345" y="650"/>
                  </a:lnTo>
                  <a:lnTo>
                    <a:pt x="344" y="649"/>
                  </a:lnTo>
                  <a:close/>
                  <a:moveTo>
                    <a:pt x="294" y="617"/>
                  </a:moveTo>
                  <a:lnTo>
                    <a:pt x="292" y="614"/>
                  </a:lnTo>
                  <a:lnTo>
                    <a:pt x="280" y="605"/>
                  </a:lnTo>
                  <a:lnTo>
                    <a:pt x="279" y="602"/>
                  </a:lnTo>
                  <a:lnTo>
                    <a:pt x="276" y="599"/>
                  </a:lnTo>
                  <a:lnTo>
                    <a:pt x="274" y="601"/>
                  </a:lnTo>
                  <a:lnTo>
                    <a:pt x="275" y="603"/>
                  </a:lnTo>
                  <a:lnTo>
                    <a:pt x="277" y="606"/>
                  </a:lnTo>
                  <a:lnTo>
                    <a:pt x="279" y="608"/>
                  </a:lnTo>
                  <a:lnTo>
                    <a:pt x="283" y="611"/>
                  </a:lnTo>
                  <a:lnTo>
                    <a:pt x="287" y="616"/>
                  </a:lnTo>
                  <a:lnTo>
                    <a:pt x="290" y="618"/>
                  </a:lnTo>
                  <a:lnTo>
                    <a:pt x="299" y="622"/>
                  </a:lnTo>
                  <a:lnTo>
                    <a:pt x="301" y="623"/>
                  </a:lnTo>
                  <a:lnTo>
                    <a:pt x="296" y="619"/>
                  </a:lnTo>
                  <a:lnTo>
                    <a:pt x="294" y="617"/>
                  </a:lnTo>
                  <a:close/>
                  <a:moveTo>
                    <a:pt x="307" y="592"/>
                  </a:moveTo>
                  <a:lnTo>
                    <a:pt x="305" y="590"/>
                  </a:lnTo>
                  <a:lnTo>
                    <a:pt x="304" y="589"/>
                  </a:lnTo>
                  <a:lnTo>
                    <a:pt x="303" y="588"/>
                  </a:lnTo>
                  <a:lnTo>
                    <a:pt x="301" y="587"/>
                  </a:lnTo>
                  <a:lnTo>
                    <a:pt x="300" y="586"/>
                  </a:lnTo>
                  <a:lnTo>
                    <a:pt x="299" y="585"/>
                  </a:lnTo>
                  <a:lnTo>
                    <a:pt x="299" y="581"/>
                  </a:lnTo>
                  <a:lnTo>
                    <a:pt x="299" y="580"/>
                  </a:lnTo>
                  <a:lnTo>
                    <a:pt x="298" y="579"/>
                  </a:lnTo>
                  <a:lnTo>
                    <a:pt x="293" y="578"/>
                  </a:lnTo>
                  <a:lnTo>
                    <a:pt x="285" y="572"/>
                  </a:lnTo>
                  <a:lnTo>
                    <a:pt x="282" y="571"/>
                  </a:lnTo>
                  <a:lnTo>
                    <a:pt x="279" y="571"/>
                  </a:lnTo>
                  <a:lnTo>
                    <a:pt x="281" y="573"/>
                  </a:lnTo>
                  <a:lnTo>
                    <a:pt x="285" y="578"/>
                  </a:lnTo>
                  <a:lnTo>
                    <a:pt x="286" y="581"/>
                  </a:lnTo>
                  <a:lnTo>
                    <a:pt x="287" y="582"/>
                  </a:lnTo>
                  <a:lnTo>
                    <a:pt x="289" y="584"/>
                  </a:lnTo>
                  <a:lnTo>
                    <a:pt x="292" y="586"/>
                  </a:lnTo>
                  <a:lnTo>
                    <a:pt x="294" y="587"/>
                  </a:lnTo>
                  <a:lnTo>
                    <a:pt x="294" y="588"/>
                  </a:lnTo>
                  <a:lnTo>
                    <a:pt x="293" y="589"/>
                  </a:lnTo>
                  <a:lnTo>
                    <a:pt x="295" y="591"/>
                  </a:lnTo>
                  <a:lnTo>
                    <a:pt x="297" y="592"/>
                  </a:lnTo>
                  <a:lnTo>
                    <a:pt x="301" y="593"/>
                  </a:lnTo>
                  <a:lnTo>
                    <a:pt x="301" y="594"/>
                  </a:lnTo>
                  <a:lnTo>
                    <a:pt x="302" y="595"/>
                  </a:lnTo>
                  <a:lnTo>
                    <a:pt x="302" y="596"/>
                  </a:lnTo>
                  <a:lnTo>
                    <a:pt x="304" y="596"/>
                  </a:lnTo>
                  <a:lnTo>
                    <a:pt x="305" y="596"/>
                  </a:lnTo>
                  <a:lnTo>
                    <a:pt x="306" y="596"/>
                  </a:lnTo>
                  <a:lnTo>
                    <a:pt x="307" y="597"/>
                  </a:lnTo>
                  <a:lnTo>
                    <a:pt x="308" y="598"/>
                  </a:lnTo>
                  <a:lnTo>
                    <a:pt x="308" y="595"/>
                  </a:lnTo>
                  <a:lnTo>
                    <a:pt x="307" y="592"/>
                  </a:lnTo>
                  <a:close/>
                  <a:moveTo>
                    <a:pt x="276" y="567"/>
                  </a:moveTo>
                  <a:lnTo>
                    <a:pt x="278" y="569"/>
                  </a:lnTo>
                  <a:lnTo>
                    <a:pt x="277" y="563"/>
                  </a:lnTo>
                  <a:lnTo>
                    <a:pt x="273" y="558"/>
                  </a:lnTo>
                  <a:lnTo>
                    <a:pt x="247" y="537"/>
                  </a:lnTo>
                  <a:lnTo>
                    <a:pt x="249" y="541"/>
                  </a:lnTo>
                  <a:lnTo>
                    <a:pt x="250" y="542"/>
                  </a:lnTo>
                  <a:lnTo>
                    <a:pt x="249" y="542"/>
                  </a:lnTo>
                  <a:lnTo>
                    <a:pt x="249" y="542"/>
                  </a:lnTo>
                  <a:lnTo>
                    <a:pt x="249" y="543"/>
                  </a:lnTo>
                  <a:lnTo>
                    <a:pt x="248" y="543"/>
                  </a:lnTo>
                  <a:lnTo>
                    <a:pt x="252" y="546"/>
                  </a:lnTo>
                  <a:lnTo>
                    <a:pt x="257" y="553"/>
                  </a:lnTo>
                  <a:lnTo>
                    <a:pt x="261" y="556"/>
                  </a:lnTo>
                  <a:lnTo>
                    <a:pt x="265" y="560"/>
                  </a:lnTo>
                  <a:lnTo>
                    <a:pt x="268" y="562"/>
                  </a:lnTo>
                  <a:lnTo>
                    <a:pt x="269" y="560"/>
                  </a:lnTo>
                  <a:lnTo>
                    <a:pt x="270" y="561"/>
                  </a:lnTo>
                  <a:lnTo>
                    <a:pt x="270" y="562"/>
                  </a:lnTo>
                  <a:lnTo>
                    <a:pt x="270" y="562"/>
                  </a:lnTo>
                  <a:lnTo>
                    <a:pt x="270" y="563"/>
                  </a:lnTo>
                  <a:lnTo>
                    <a:pt x="272" y="563"/>
                  </a:lnTo>
                  <a:lnTo>
                    <a:pt x="273" y="562"/>
                  </a:lnTo>
                  <a:lnTo>
                    <a:pt x="275" y="564"/>
                  </a:lnTo>
                  <a:lnTo>
                    <a:pt x="276" y="567"/>
                  </a:lnTo>
                  <a:close/>
                  <a:moveTo>
                    <a:pt x="215" y="540"/>
                  </a:moveTo>
                  <a:lnTo>
                    <a:pt x="214" y="539"/>
                  </a:lnTo>
                  <a:lnTo>
                    <a:pt x="213" y="540"/>
                  </a:lnTo>
                  <a:lnTo>
                    <a:pt x="212" y="540"/>
                  </a:lnTo>
                  <a:lnTo>
                    <a:pt x="210" y="538"/>
                  </a:lnTo>
                  <a:lnTo>
                    <a:pt x="209" y="536"/>
                  </a:lnTo>
                  <a:lnTo>
                    <a:pt x="209" y="539"/>
                  </a:lnTo>
                  <a:lnTo>
                    <a:pt x="212" y="542"/>
                  </a:lnTo>
                  <a:lnTo>
                    <a:pt x="215" y="543"/>
                  </a:lnTo>
                  <a:lnTo>
                    <a:pt x="217" y="542"/>
                  </a:lnTo>
                  <a:lnTo>
                    <a:pt x="216" y="540"/>
                  </a:lnTo>
                  <a:lnTo>
                    <a:pt x="215" y="540"/>
                  </a:lnTo>
                  <a:close/>
                  <a:moveTo>
                    <a:pt x="269" y="596"/>
                  </a:moveTo>
                  <a:lnTo>
                    <a:pt x="272" y="595"/>
                  </a:lnTo>
                  <a:lnTo>
                    <a:pt x="272" y="592"/>
                  </a:lnTo>
                  <a:lnTo>
                    <a:pt x="261" y="584"/>
                  </a:lnTo>
                  <a:lnTo>
                    <a:pt x="256" y="578"/>
                  </a:lnTo>
                  <a:lnTo>
                    <a:pt x="256" y="576"/>
                  </a:lnTo>
                  <a:lnTo>
                    <a:pt x="253" y="576"/>
                  </a:lnTo>
                  <a:lnTo>
                    <a:pt x="252" y="575"/>
                  </a:lnTo>
                  <a:lnTo>
                    <a:pt x="244" y="567"/>
                  </a:lnTo>
                  <a:lnTo>
                    <a:pt x="243" y="565"/>
                  </a:lnTo>
                  <a:lnTo>
                    <a:pt x="242" y="562"/>
                  </a:lnTo>
                  <a:lnTo>
                    <a:pt x="242" y="559"/>
                  </a:lnTo>
                  <a:lnTo>
                    <a:pt x="241" y="557"/>
                  </a:lnTo>
                  <a:lnTo>
                    <a:pt x="240" y="556"/>
                  </a:lnTo>
                  <a:lnTo>
                    <a:pt x="238" y="556"/>
                  </a:lnTo>
                  <a:lnTo>
                    <a:pt x="238" y="555"/>
                  </a:lnTo>
                  <a:lnTo>
                    <a:pt x="239" y="552"/>
                  </a:lnTo>
                  <a:lnTo>
                    <a:pt x="237" y="554"/>
                  </a:lnTo>
                  <a:lnTo>
                    <a:pt x="235" y="553"/>
                  </a:lnTo>
                  <a:lnTo>
                    <a:pt x="234" y="552"/>
                  </a:lnTo>
                  <a:lnTo>
                    <a:pt x="232" y="551"/>
                  </a:lnTo>
                  <a:lnTo>
                    <a:pt x="230" y="550"/>
                  </a:lnTo>
                  <a:lnTo>
                    <a:pt x="229" y="549"/>
                  </a:lnTo>
                  <a:lnTo>
                    <a:pt x="229" y="547"/>
                  </a:lnTo>
                  <a:lnTo>
                    <a:pt x="228" y="545"/>
                  </a:lnTo>
                  <a:lnTo>
                    <a:pt x="219" y="538"/>
                  </a:lnTo>
                  <a:lnTo>
                    <a:pt x="216" y="534"/>
                  </a:lnTo>
                  <a:lnTo>
                    <a:pt x="215" y="534"/>
                  </a:lnTo>
                  <a:lnTo>
                    <a:pt x="215" y="534"/>
                  </a:lnTo>
                  <a:lnTo>
                    <a:pt x="214" y="534"/>
                  </a:lnTo>
                  <a:lnTo>
                    <a:pt x="216" y="537"/>
                  </a:lnTo>
                  <a:lnTo>
                    <a:pt x="217" y="540"/>
                  </a:lnTo>
                  <a:lnTo>
                    <a:pt x="217" y="542"/>
                  </a:lnTo>
                  <a:lnTo>
                    <a:pt x="231" y="557"/>
                  </a:lnTo>
                  <a:lnTo>
                    <a:pt x="235" y="558"/>
                  </a:lnTo>
                  <a:lnTo>
                    <a:pt x="238" y="562"/>
                  </a:lnTo>
                  <a:lnTo>
                    <a:pt x="244" y="575"/>
                  </a:lnTo>
                  <a:lnTo>
                    <a:pt x="248" y="580"/>
                  </a:lnTo>
                  <a:lnTo>
                    <a:pt x="255" y="589"/>
                  </a:lnTo>
                  <a:lnTo>
                    <a:pt x="257" y="592"/>
                  </a:lnTo>
                  <a:lnTo>
                    <a:pt x="259" y="594"/>
                  </a:lnTo>
                  <a:lnTo>
                    <a:pt x="265" y="598"/>
                  </a:lnTo>
                  <a:lnTo>
                    <a:pt x="265" y="598"/>
                  </a:lnTo>
                  <a:lnTo>
                    <a:pt x="267" y="600"/>
                  </a:lnTo>
                  <a:lnTo>
                    <a:pt x="268" y="601"/>
                  </a:lnTo>
                  <a:lnTo>
                    <a:pt x="269" y="600"/>
                  </a:lnTo>
                  <a:lnTo>
                    <a:pt x="269" y="598"/>
                  </a:lnTo>
                  <a:lnTo>
                    <a:pt x="268" y="598"/>
                  </a:lnTo>
                  <a:lnTo>
                    <a:pt x="267" y="598"/>
                  </a:lnTo>
                  <a:lnTo>
                    <a:pt x="266" y="597"/>
                  </a:lnTo>
                  <a:lnTo>
                    <a:pt x="265" y="596"/>
                  </a:lnTo>
                  <a:lnTo>
                    <a:pt x="261" y="593"/>
                  </a:lnTo>
                  <a:lnTo>
                    <a:pt x="260" y="592"/>
                  </a:lnTo>
                  <a:lnTo>
                    <a:pt x="259" y="591"/>
                  </a:lnTo>
                  <a:lnTo>
                    <a:pt x="259" y="590"/>
                  </a:lnTo>
                  <a:lnTo>
                    <a:pt x="261" y="590"/>
                  </a:lnTo>
                  <a:lnTo>
                    <a:pt x="269" y="596"/>
                  </a:lnTo>
                  <a:close/>
                  <a:moveTo>
                    <a:pt x="199" y="509"/>
                  </a:moveTo>
                  <a:lnTo>
                    <a:pt x="199" y="509"/>
                  </a:lnTo>
                  <a:lnTo>
                    <a:pt x="199" y="511"/>
                  </a:lnTo>
                  <a:lnTo>
                    <a:pt x="198" y="511"/>
                  </a:lnTo>
                  <a:lnTo>
                    <a:pt x="196" y="511"/>
                  </a:lnTo>
                  <a:lnTo>
                    <a:pt x="196" y="513"/>
                  </a:lnTo>
                  <a:lnTo>
                    <a:pt x="198" y="515"/>
                  </a:lnTo>
                  <a:lnTo>
                    <a:pt x="199" y="516"/>
                  </a:lnTo>
                  <a:lnTo>
                    <a:pt x="200" y="515"/>
                  </a:lnTo>
                  <a:lnTo>
                    <a:pt x="202" y="514"/>
                  </a:lnTo>
                  <a:lnTo>
                    <a:pt x="204" y="514"/>
                  </a:lnTo>
                  <a:lnTo>
                    <a:pt x="204" y="513"/>
                  </a:lnTo>
                  <a:lnTo>
                    <a:pt x="202" y="510"/>
                  </a:lnTo>
                  <a:lnTo>
                    <a:pt x="199" y="509"/>
                  </a:lnTo>
                  <a:close/>
                  <a:moveTo>
                    <a:pt x="176" y="498"/>
                  </a:moveTo>
                  <a:lnTo>
                    <a:pt x="173" y="497"/>
                  </a:lnTo>
                  <a:lnTo>
                    <a:pt x="174" y="498"/>
                  </a:lnTo>
                  <a:lnTo>
                    <a:pt x="181" y="504"/>
                  </a:lnTo>
                  <a:lnTo>
                    <a:pt x="183" y="506"/>
                  </a:lnTo>
                  <a:lnTo>
                    <a:pt x="184" y="505"/>
                  </a:lnTo>
                  <a:lnTo>
                    <a:pt x="181" y="501"/>
                  </a:lnTo>
                  <a:lnTo>
                    <a:pt x="176" y="498"/>
                  </a:lnTo>
                  <a:close/>
                  <a:moveTo>
                    <a:pt x="206" y="490"/>
                  </a:moveTo>
                  <a:lnTo>
                    <a:pt x="205" y="489"/>
                  </a:lnTo>
                  <a:lnTo>
                    <a:pt x="206" y="488"/>
                  </a:lnTo>
                  <a:lnTo>
                    <a:pt x="207" y="486"/>
                  </a:lnTo>
                  <a:lnTo>
                    <a:pt x="206" y="484"/>
                  </a:lnTo>
                  <a:lnTo>
                    <a:pt x="205" y="482"/>
                  </a:lnTo>
                  <a:lnTo>
                    <a:pt x="203" y="481"/>
                  </a:lnTo>
                  <a:lnTo>
                    <a:pt x="201" y="481"/>
                  </a:lnTo>
                  <a:lnTo>
                    <a:pt x="201" y="481"/>
                  </a:lnTo>
                  <a:lnTo>
                    <a:pt x="200" y="481"/>
                  </a:lnTo>
                  <a:lnTo>
                    <a:pt x="201" y="488"/>
                  </a:lnTo>
                  <a:lnTo>
                    <a:pt x="199" y="491"/>
                  </a:lnTo>
                  <a:lnTo>
                    <a:pt x="199" y="493"/>
                  </a:lnTo>
                  <a:lnTo>
                    <a:pt x="202" y="495"/>
                  </a:lnTo>
                  <a:lnTo>
                    <a:pt x="204" y="497"/>
                  </a:lnTo>
                  <a:lnTo>
                    <a:pt x="206" y="497"/>
                  </a:lnTo>
                  <a:lnTo>
                    <a:pt x="208" y="496"/>
                  </a:lnTo>
                  <a:lnTo>
                    <a:pt x="207" y="492"/>
                  </a:lnTo>
                  <a:lnTo>
                    <a:pt x="206" y="490"/>
                  </a:lnTo>
                  <a:close/>
                  <a:moveTo>
                    <a:pt x="118" y="427"/>
                  </a:moveTo>
                  <a:lnTo>
                    <a:pt x="116" y="431"/>
                  </a:lnTo>
                  <a:lnTo>
                    <a:pt x="116" y="433"/>
                  </a:lnTo>
                  <a:lnTo>
                    <a:pt x="116" y="435"/>
                  </a:lnTo>
                  <a:lnTo>
                    <a:pt x="117" y="436"/>
                  </a:lnTo>
                  <a:lnTo>
                    <a:pt x="119" y="437"/>
                  </a:lnTo>
                  <a:lnTo>
                    <a:pt x="121" y="438"/>
                  </a:lnTo>
                  <a:lnTo>
                    <a:pt x="122" y="438"/>
                  </a:lnTo>
                  <a:lnTo>
                    <a:pt x="121" y="435"/>
                  </a:lnTo>
                  <a:lnTo>
                    <a:pt x="120" y="433"/>
                  </a:lnTo>
                  <a:lnTo>
                    <a:pt x="120" y="432"/>
                  </a:lnTo>
                  <a:lnTo>
                    <a:pt x="120" y="431"/>
                  </a:lnTo>
                  <a:lnTo>
                    <a:pt x="120" y="430"/>
                  </a:lnTo>
                  <a:lnTo>
                    <a:pt x="120" y="429"/>
                  </a:lnTo>
                  <a:lnTo>
                    <a:pt x="120" y="428"/>
                  </a:lnTo>
                  <a:lnTo>
                    <a:pt x="120" y="427"/>
                  </a:lnTo>
                  <a:lnTo>
                    <a:pt x="120" y="427"/>
                  </a:lnTo>
                  <a:lnTo>
                    <a:pt x="122" y="427"/>
                  </a:lnTo>
                  <a:lnTo>
                    <a:pt x="123" y="425"/>
                  </a:lnTo>
                  <a:lnTo>
                    <a:pt x="123" y="423"/>
                  </a:lnTo>
                  <a:lnTo>
                    <a:pt x="121" y="423"/>
                  </a:lnTo>
                  <a:lnTo>
                    <a:pt x="118" y="427"/>
                  </a:lnTo>
                  <a:close/>
                  <a:moveTo>
                    <a:pt x="200" y="427"/>
                  </a:moveTo>
                  <a:lnTo>
                    <a:pt x="216" y="448"/>
                  </a:lnTo>
                  <a:lnTo>
                    <a:pt x="218" y="449"/>
                  </a:lnTo>
                  <a:lnTo>
                    <a:pt x="218" y="451"/>
                  </a:lnTo>
                  <a:lnTo>
                    <a:pt x="223" y="458"/>
                  </a:lnTo>
                  <a:lnTo>
                    <a:pt x="225" y="462"/>
                  </a:lnTo>
                  <a:lnTo>
                    <a:pt x="224" y="462"/>
                  </a:lnTo>
                  <a:lnTo>
                    <a:pt x="222" y="463"/>
                  </a:lnTo>
                  <a:lnTo>
                    <a:pt x="221" y="463"/>
                  </a:lnTo>
                  <a:lnTo>
                    <a:pt x="221" y="465"/>
                  </a:lnTo>
                  <a:lnTo>
                    <a:pt x="230" y="470"/>
                  </a:lnTo>
                  <a:lnTo>
                    <a:pt x="231" y="470"/>
                  </a:lnTo>
                  <a:lnTo>
                    <a:pt x="241" y="478"/>
                  </a:lnTo>
                  <a:lnTo>
                    <a:pt x="244" y="484"/>
                  </a:lnTo>
                  <a:lnTo>
                    <a:pt x="245" y="486"/>
                  </a:lnTo>
                  <a:lnTo>
                    <a:pt x="247" y="486"/>
                  </a:lnTo>
                  <a:lnTo>
                    <a:pt x="249" y="485"/>
                  </a:lnTo>
                  <a:lnTo>
                    <a:pt x="251" y="484"/>
                  </a:lnTo>
                  <a:lnTo>
                    <a:pt x="252" y="485"/>
                  </a:lnTo>
                  <a:lnTo>
                    <a:pt x="256" y="488"/>
                  </a:lnTo>
                  <a:lnTo>
                    <a:pt x="255" y="489"/>
                  </a:lnTo>
                  <a:lnTo>
                    <a:pt x="255" y="490"/>
                  </a:lnTo>
                  <a:lnTo>
                    <a:pt x="253" y="491"/>
                  </a:lnTo>
                  <a:lnTo>
                    <a:pt x="252" y="490"/>
                  </a:lnTo>
                  <a:lnTo>
                    <a:pt x="253" y="493"/>
                  </a:lnTo>
                  <a:lnTo>
                    <a:pt x="254" y="494"/>
                  </a:lnTo>
                  <a:lnTo>
                    <a:pt x="255" y="495"/>
                  </a:lnTo>
                  <a:lnTo>
                    <a:pt x="255" y="497"/>
                  </a:lnTo>
                  <a:lnTo>
                    <a:pt x="253" y="497"/>
                  </a:lnTo>
                  <a:lnTo>
                    <a:pt x="253" y="498"/>
                  </a:lnTo>
                  <a:lnTo>
                    <a:pt x="255" y="502"/>
                  </a:lnTo>
                  <a:lnTo>
                    <a:pt x="258" y="504"/>
                  </a:lnTo>
                  <a:lnTo>
                    <a:pt x="261" y="506"/>
                  </a:lnTo>
                  <a:lnTo>
                    <a:pt x="265" y="507"/>
                  </a:lnTo>
                  <a:lnTo>
                    <a:pt x="265" y="506"/>
                  </a:lnTo>
                  <a:lnTo>
                    <a:pt x="258" y="501"/>
                  </a:lnTo>
                  <a:lnTo>
                    <a:pt x="258" y="500"/>
                  </a:lnTo>
                  <a:lnTo>
                    <a:pt x="262" y="500"/>
                  </a:lnTo>
                  <a:lnTo>
                    <a:pt x="269" y="503"/>
                  </a:lnTo>
                  <a:lnTo>
                    <a:pt x="272" y="504"/>
                  </a:lnTo>
                  <a:lnTo>
                    <a:pt x="272" y="503"/>
                  </a:lnTo>
                  <a:lnTo>
                    <a:pt x="271" y="503"/>
                  </a:lnTo>
                  <a:lnTo>
                    <a:pt x="271" y="502"/>
                  </a:lnTo>
                  <a:lnTo>
                    <a:pt x="270" y="501"/>
                  </a:lnTo>
                  <a:lnTo>
                    <a:pt x="274" y="501"/>
                  </a:lnTo>
                  <a:lnTo>
                    <a:pt x="272" y="498"/>
                  </a:lnTo>
                  <a:lnTo>
                    <a:pt x="269" y="496"/>
                  </a:lnTo>
                  <a:lnTo>
                    <a:pt x="267" y="494"/>
                  </a:lnTo>
                  <a:lnTo>
                    <a:pt x="264" y="493"/>
                  </a:lnTo>
                  <a:lnTo>
                    <a:pt x="264" y="492"/>
                  </a:lnTo>
                  <a:lnTo>
                    <a:pt x="267" y="494"/>
                  </a:lnTo>
                  <a:lnTo>
                    <a:pt x="271" y="497"/>
                  </a:lnTo>
                  <a:lnTo>
                    <a:pt x="275" y="499"/>
                  </a:lnTo>
                  <a:lnTo>
                    <a:pt x="278" y="498"/>
                  </a:lnTo>
                  <a:lnTo>
                    <a:pt x="276" y="496"/>
                  </a:lnTo>
                  <a:lnTo>
                    <a:pt x="272" y="492"/>
                  </a:lnTo>
                  <a:lnTo>
                    <a:pt x="269" y="489"/>
                  </a:lnTo>
                  <a:lnTo>
                    <a:pt x="266" y="487"/>
                  </a:lnTo>
                  <a:lnTo>
                    <a:pt x="251" y="471"/>
                  </a:lnTo>
                  <a:lnTo>
                    <a:pt x="244" y="468"/>
                  </a:lnTo>
                  <a:lnTo>
                    <a:pt x="246" y="473"/>
                  </a:lnTo>
                  <a:lnTo>
                    <a:pt x="248" y="476"/>
                  </a:lnTo>
                  <a:lnTo>
                    <a:pt x="250" y="479"/>
                  </a:lnTo>
                  <a:lnTo>
                    <a:pt x="253" y="481"/>
                  </a:lnTo>
                  <a:lnTo>
                    <a:pt x="245" y="476"/>
                  </a:lnTo>
                  <a:lnTo>
                    <a:pt x="232" y="457"/>
                  </a:lnTo>
                  <a:lnTo>
                    <a:pt x="223" y="453"/>
                  </a:lnTo>
                  <a:lnTo>
                    <a:pt x="223" y="451"/>
                  </a:lnTo>
                  <a:lnTo>
                    <a:pt x="226" y="451"/>
                  </a:lnTo>
                  <a:lnTo>
                    <a:pt x="228" y="452"/>
                  </a:lnTo>
                  <a:lnTo>
                    <a:pt x="230" y="454"/>
                  </a:lnTo>
                  <a:lnTo>
                    <a:pt x="233" y="454"/>
                  </a:lnTo>
                  <a:lnTo>
                    <a:pt x="240" y="459"/>
                  </a:lnTo>
                  <a:lnTo>
                    <a:pt x="239" y="459"/>
                  </a:lnTo>
                  <a:lnTo>
                    <a:pt x="239" y="462"/>
                  </a:lnTo>
                  <a:lnTo>
                    <a:pt x="242" y="462"/>
                  </a:lnTo>
                  <a:lnTo>
                    <a:pt x="247" y="466"/>
                  </a:lnTo>
                  <a:lnTo>
                    <a:pt x="250" y="466"/>
                  </a:lnTo>
                  <a:lnTo>
                    <a:pt x="247" y="463"/>
                  </a:lnTo>
                  <a:lnTo>
                    <a:pt x="246" y="459"/>
                  </a:lnTo>
                  <a:lnTo>
                    <a:pt x="244" y="457"/>
                  </a:lnTo>
                  <a:lnTo>
                    <a:pt x="238" y="454"/>
                  </a:lnTo>
                  <a:lnTo>
                    <a:pt x="236" y="452"/>
                  </a:lnTo>
                  <a:lnTo>
                    <a:pt x="232" y="446"/>
                  </a:lnTo>
                  <a:lnTo>
                    <a:pt x="228" y="442"/>
                  </a:lnTo>
                  <a:lnTo>
                    <a:pt x="223" y="438"/>
                  </a:lnTo>
                  <a:lnTo>
                    <a:pt x="218" y="438"/>
                  </a:lnTo>
                  <a:lnTo>
                    <a:pt x="219" y="445"/>
                  </a:lnTo>
                  <a:lnTo>
                    <a:pt x="213" y="440"/>
                  </a:lnTo>
                  <a:lnTo>
                    <a:pt x="203" y="425"/>
                  </a:lnTo>
                  <a:lnTo>
                    <a:pt x="197" y="418"/>
                  </a:lnTo>
                  <a:lnTo>
                    <a:pt x="196" y="417"/>
                  </a:lnTo>
                  <a:lnTo>
                    <a:pt x="195" y="417"/>
                  </a:lnTo>
                  <a:lnTo>
                    <a:pt x="197" y="423"/>
                  </a:lnTo>
                  <a:lnTo>
                    <a:pt x="200" y="427"/>
                  </a:lnTo>
                  <a:close/>
                  <a:moveTo>
                    <a:pt x="150" y="448"/>
                  </a:moveTo>
                  <a:lnTo>
                    <a:pt x="144" y="440"/>
                  </a:lnTo>
                  <a:lnTo>
                    <a:pt x="143" y="438"/>
                  </a:lnTo>
                  <a:lnTo>
                    <a:pt x="142" y="432"/>
                  </a:lnTo>
                  <a:lnTo>
                    <a:pt x="142" y="429"/>
                  </a:lnTo>
                  <a:lnTo>
                    <a:pt x="141" y="427"/>
                  </a:lnTo>
                  <a:lnTo>
                    <a:pt x="142" y="421"/>
                  </a:lnTo>
                  <a:lnTo>
                    <a:pt x="140" y="419"/>
                  </a:lnTo>
                  <a:lnTo>
                    <a:pt x="135" y="417"/>
                  </a:lnTo>
                  <a:lnTo>
                    <a:pt x="132" y="415"/>
                  </a:lnTo>
                  <a:lnTo>
                    <a:pt x="132" y="418"/>
                  </a:lnTo>
                  <a:lnTo>
                    <a:pt x="134" y="425"/>
                  </a:lnTo>
                  <a:lnTo>
                    <a:pt x="134" y="428"/>
                  </a:lnTo>
                  <a:lnTo>
                    <a:pt x="139" y="435"/>
                  </a:lnTo>
                  <a:lnTo>
                    <a:pt x="140" y="440"/>
                  </a:lnTo>
                  <a:lnTo>
                    <a:pt x="137" y="443"/>
                  </a:lnTo>
                  <a:lnTo>
                    <a:pt x="137" y="444"/>
                  </a:lnTo>
                  <a:lnTo>
                    <a:pt x="138" y="445"/>
                  </a:lnTo>
                  <a:lnTo>
                    <a:pt x="138" y="445"/>
                  </a:lnTo>
                  <a:lnTo>
                    <a:pt x="136" y="445"/>
                  </a:lnTo>
                  <a:lnTo>
                    <a:pt x="136" y="446"/>
                  </a:lnTo>
                  <a:lnTo>
                    <a:pt x="138" y="448"/>
                  </a:lnTo>
                  <a:lnTo>
                    <a:pt x="140" y="448"/>
                  </a:lnTo>
                  <a:lnTo>
                    <a:pt x="142" y="447"/>
                  </a:lnTo>
                  <a:lnTo>
                    <a:pt x="143" y="445"/>
                  </a:lnTo>
                  <a:lnTo>
                    <a:pt x="146" y="446"/>
                  </a:lnTo>
                  <a:lnTo>
                    <a:pt x="148" y="448"/>
                  </a:lnTo>
                  <a:lnTo>
                    <a:pt x="153" y="454"/>
                  </a:lnTo>
                  <a:lnTo>
                    <a:pt x="152" y="454"/>
                  </a:lnTo>
                  <a:lnTo>
                    <a:pt x="149" y="453"/>
                  </a:lnTo>
                  <a:lnTo>
                    <a:pt x="149" y="454"/>
                  </a:lnTo>
                  <a:lnTo>
                    <a:pt x="151" y="455"/>
                  </a:lnTo>
                  <a:lnTo>
                    <a:pt x="156" y="463"/>
                  </a:lnTo>
                  <a:lnTo>
                    <a:pt x="160" y="467"/>
                  </a:lnTo>
                  <a:lnTo>
                    <a:pt x="164" y="466"/>
                  </a:lnTo>
                  <a:lnTo>
                    <a:pt x="163" y="462"/>
                  </a:lnTo>
                  <a:lnTo>
                    <a:pt x="150" y="448"/>
                  </a:lnTo>
                  <a:close/>
                  <a:moveTo>
                    <a:pt x="199" y="405"/>
                  </a:moveTo>
                  <a:lnTo>
                    <a:pt x="197" y="404"/>
                  </a:lnTo>
                  <a:lnTo>
                    <a:pt x="196" y="402"/>
                  </a:lnTo>
                  <a:lnTo>
                    <a:pt x="196" y="401"/>
                  </a:lnTo>
                  <a:lnTo>
                    <a:pt x="202" y="405"/>
                  </a:lnTo>
                  <a:lnTo>
                    <a:pt x="209" y="414"/>
                  </a:lnTo>
                  <a:lnTo>
                    <a:pt x="214" y="417"/>
                  </a:lnTo>
                  <a:lnTo>
                    <a:pt x="215" y="414"/>
                  </a:lnTo>
                  <a:lnTo>
                    <a:pt x="214" y="410"/>
                  </a:lnTo>
                  <a:lnTo>
                    <a:pt x="209" y="402"/>
                  </a:lnTo>
                  <a:lnTo>
                    <a:pt x="208" y="400"/>
                  </a:lnTo>
                  <a:lnTo>
                    <a:pt x="204" y="398"/>
                  </a:lnTo>
                  <a:lnTo>
                    <a:pt x="198" y="392"/>
                  </a:lnTo>
                  <a:lnTo>
                    <a:pt x="196" y="391"/>
                  </a:lnTo>
                  <a:lnTo>
                    <a:pt x="196" y="390"/>
                  </a:lnTo>
                  <a:lnTo>
                    <a:pt x="199" y="388"/>
                  </a:lnTo>
                  <a:lnTo>
                    <a:pt x="199" y="386"/>
                  </a:lnTo>
                  <a:lnTo>
                    <a:pt x="196" y="384"/>
                  </a:lnTo>
                  <a:lnTo>
                    <a:pt x="193" y="384"/>
                  </a:lnTo>
                  <a:lnTo>
                    <a:pt x="194" y="386"/>
                  </a:lnTo>
                  <a:lnTo>
                    <a:pt x="194" y="387"/>
                  </a:lnTo>
                  <a:lnTo>
                    <a:pt x="191" y="386"/>
                  </a:lnTo>
                  <a:lnTo>
                    <a:pt x="188" y="386"/>
                  </a:lnTo>
                  <a:lnTo>
                    <a:pt x="189" y="388"/>
                  </a:lnTo>
                  <a:lnTo>
                    <a:pt x="189" y="388"/>
                  </a:lnTo>
                  <a:lnTo>
                    <a:pt x="191" y="390"/>
                  </a:lnTo>
                  <a:lnTo>
                    <a:pt x="192" y="392"/>
                  </a:lnTo>
                  <a:lnTo>
                    <a:pt x="194" y="396"/>
                  </a:lnTo>
                  <a:lnTo>
                    <a:pt x="193" y="396"/>
                  </a:lnTo>
                  <a:lnTo>
                    <a:pt x="193" y="395"/>
                  </a:lnTo>
                  <a:lnTo>
                    <a:pt x="190" y="393"/>
                  </a:lnTo>
                  <a:lnTo>
                    <a:pt x="190" y="394"/>
                  </a:lnTo>
                  <a:lnTo>
                    <a:pt x="190" y="395"/>
                  </a:lnTo>
                  <a:lnTo>
                    <a:pt x="190" y="396"/>
                  </a:lnTo>
                  <a:lnTo>
                    <a:pt x="191" y="396"/>
                  </a:lnTo>
                  <a:lnTo>
                    <a:pt x="191" y="398"/>
                  </a:lnTo>
                  <a:lnTo>
                    <a:pt x="189" y="397"/>
                  </a:lnTo>
                  <a:lnTo>
                    <a:pt x="187" y="396"/>
                  </a:lnTo>
                  <a:lnTo>
                    <a:pt x="185" y="396"/>
                  </a:lnTo>
                  <a:lnTo>
                    <a:pt x="183" y="396"/>
                  </a:lnTo>
                  <a:lnTo>
                    <a:pt x="190" y="404"/>
                  </a:lnTo>
                  <a:lnTo>
                    <a:pt x="192" y="403"/>
                  </a:lnTo>
                  <a:lnTo>
                    <a:pt x="194" y="403"/>
                  </a:lnTo>
                  <a:lnTo>
                    <a:pt x="197" y="404"/>
                  </a:lnTo>
                  <a:lnTo>
                    <a:pt x="199" y="405"/>
                  </a:lnTo>
                  <a:close/>
                  <a:moveTo>
                    <a:pt x="161" y="431"/>
                  </a:moveTo>
                  <a:lnTo>
                    <a:pt x="160" y="430"/>
                  </a:lnTo>
                  <a:lnTo>
                    <a:pt x="160" y="429"/>
                  </a:lnTo>
                  <a:lnTo>
                    <a:pt x="160" y="427"/>
                  </a:lnTo>
                  <a:lnTo>
                    <a:pt x="159" y="423"/>
                  </a:lnTo>
                  <a:lnTo>
                    <a:pt x="156" y="420"/>
                  </a:lnTo>
                  <a:lnTo>
                    <a:pt x="154" y="416"/>
                  </a:lnTo>
                  <a:lnTo>
                    <a:pt x="153" y="411"/>
                  </a:lnTo>
                  <a:lnTo>
                    <a:pt x="153" y="409"/>
                  </a:lnTo>
                  <a:lnTo>
                    <a:pt x="154" y="406"/>
                  </a:lnTo>
                  <a:lnTo>
                    <a:pt x="154" y="404"/>
                  </a:lnTo>
                  <a:lnTo>
                    <a:pt x="153" y="402"/>
                  </a:lnTo>
                  <a:lnTo>
                    <a:pt x="151" y="399"/>
                  </a:lnTo>
                  <a:lnTo>
                    <a:pt x="151" y="396"/>
                  </a:lnTo>
                  <a:lnTo>
                    <a:pt x="153" y="395"/>
                  </a:lnTo>
                  <a:lnTo>
                    <a:pt x="153" y="391"/>
                  </a:lnTo>
                  <a:lnTo>
                    <a:pt x="151" y="385"/>
                  </a:lnTo>
                  <a:lnTo>
                    <a:pt x="150" y="377"/>
                  </a:lnTo>
                  <a:lnTo>
                    <a:pt x="150" y="374"/>
                  </a:lnTo>
                  <a:lnTo>
                    <a:pt x="152" y="370"/>
                  </a:lnTo>
                  <a:lnTo>
                    <a:pt x="151" y="369"/>
                  </a:lnTo>
                  <a:lnTo>
                    <a:pt x="152" y="366"/>
                  </a:lnTo>
                  <a:lnTo>
                    <a:pt x="154" y="361"/>
                  </a:lnTo>
                  <a:lnTo>
                    <a:pt x="154" y="358"/>
                  </a:lnTo>
                  <a:lnTo>
                    <a:pt x="153" y="355"/>
                  </a:lnTo>
                  <a:lnTo>
                    <a:pt x="151" y="354"/>
                  </a:lnTo>
                  <a:lnTo>
                    <a:pt x="147" y="353"/>
                  </a:lnTo>
                  <a:lnTo>
                    <a:pt x="145" y="352"/>
                  </a:lnTo>
                  <a:lnTo>
                    <a:pt x="144" y="351"/>
                  </a:lnTo>
                  <a:lnTo>
                    <a:pt x="140" y="342"/>
                  </a:lnTo>
                  <a:lnTo>
                    <a:pt x="138" y="334"/>
                  </a:lnTo>
                  <a:lnTo>
                    <a:pt x="136" y="330"/>
                  </a:lnTo>
                  <a:lnTo>
                    <a:pt x="136" y="325"/>
                  </a:lnTo>
                  <a:lnTo>
                    <a:pt x="137" y="316"/>
                  </a:lnTo>
                  <a:lnTo>
                    <a:pt x="135" y="313"/>
                  </a:lnTo>
                  <a:lnTo>
                    <a:pt x="132" y="312"/>
                  </a:lnTo>
                  <a:lnTo>
                    <a:pt x="129" y="313"/>
                  </a:lnTo>
                  <a:lnTo>
                    <a:pt x="126" y="315"/>
                  </a:lnTo>
                  <a:lnTo>
                    <a:pt x="125" y="318"/>
                  </a:lnTo>
                  <a:lnTo>
                    <a:pt x="123" y="322"/>
                  </a:lnTo>
                  <a:lnTo>
                    <a:pt x="123" y="326"/>
                  </a:lnTo>
                  <a:lnTo>
                    <a:pt x="125" y="329"/>
                  </a:lnTo>
                  <a:lnTo>
                    <a:pt x="133" y="339"/>
                  </a:lnTo>
                  <a:lnTo>
                    <a:pt x="134" y="341"/>
                  </a:lnTo>
                  <a:lnTo>
                    <a:pt x="139" y="354"/>
                  </a:lnTo>
                  <a:lnTo>
                    <a:pt x="141" y="358"/>
                  </a:lnTo>
                  <a:lnTo>
                    <a:pt x="144" y="361"/>
                  </a:lnTo>
                  <a:lnTo>
                    <a:pt x="143" y="362"/>
                  </a:lnTo>
                  <a:lnTo>
                    <a:pt x="141" y="360"/>
                  </a:lnTo>
                  <a:lnTo>
                    <a:pt x="141" y="362"/>
                  </a:lnTo>
                  <a:lnTo>
                    <a:pt x="141" y="366"/>
                  </a:lnTo>
                  <a:lnTo>
                    <a:pt x="142" y="367"/>
                  </a:lnTo>
                  <a:lnTo>
                    <a:pt x="141" y="370"/>
                  </a:lnTo>
                  <a:lnTo>
                    <a:pt x="140" y="371"/>
                  </a:lnTo>
                  <a:lnTo>
                    <a:pt x="139" y="372"/>
                  </a:lnTo>
                  <a:lnTo>
                    <a:pt x="136" y="372"/>
                  </a:lnTo>
                  <a:lnTo>
                    <a:pt x="135" y="371"/>
                  </a:lnTo>
                  <a:lnTo>
                    <a:pt x="132" y="366"/>
                  </a:lnTo>
                  <a:lnTo>
                    <a:pt x="130" y="366"/>
                  </a:lnTo>
                  <a:lnTo>
                    <a:pt x="127" y="364"/>
                  </a:lnTo>
                  <a:lnTo>
                    <a:pt x="125" y="365"/>
                  </a:lnTo>
                  <a:lnTo>
                    <a:pt x="127" y="369"/>
                  </a:lnTo>
                  <a:lnTo>
                    <a:pt x="126" y="370"/>
                  </a:lnTo>
                  <a:lnTo>
                    <a:pt x="126" y="371"/>
                  </a:lnTo>
                  <a:lnTo>
                    <a:pt x="125" y="372"/>
                  </a:lnTo>
                  <a:lnTo>
                    <a:pt x="129" y="375"/>
                  </a:lnTo>
                  <a:lnTo>
                    <a:pt x="131" y="388"/>
                  </a:lnTo>
                  <a:lnTo>
                    <a:pt x="134" y="391"/>
                  </a:lnTo>
                  <a:lnTo>
                    <a:pt x="135" y="391"/>
                  </a:lnTo>
                  <a:lnTo>
                    <a:pt x="136" y="392"/>
                  </a:lnTo>
                  <a:lnTo>
                    <a:pt x="136" y="395"/>
                  </a:lnTo>
                  <a:lnTo>
                    <a:pt x="137" y="402"/>
                  </a:lnTo>
                  <a:lnTo>
                    <a:pt x="137" y="405"/>
                  </a:lnTo>
                  <a:lnTo>
                    <a:pt x="138" y="406"/>
                  </a:lnTo>
                  <a:lnTo>
                    <a:pt x="140" y="405"/>
                  </a:lnTo>
                  <a:lnTo>
                    <a:pt x="140" y="406"/>
                  </a:lnTo>
                  <a:lnTo>
                    <a:pt x="141" y="406"/>
                  </a:lnTo>
                  <a:lnTo>
                    <a:pt x="141" y="406"/>
                  </a:lnTo>
                  <a:lnTo>
                    <a:pt x="142" y="407"/>
                  </a:lnTo>
                  <a:lnTo>
                    <a:pt x="141" y="416"/>
                  </a:lnTo>
                  <a:lnTo>
                    <a:pt x="147" y="428"/>
                  </a:lnTo>
                  <a:lnTo>
                    <a:pt x="154" y="436"/>
                  </a:lnTo>
                  <a:lnTo>
                    <a:pt x="159" y="436"/>
                  </a:lnTo>
                  <a:lnTo>
                    <a:pt x="160" y="436"/>
                  </a:lnTo>
                  <a:lnTo>
                    <a:pt x="161" y="436"/>
                  </a:lnTo>
                  <a:lnTo>
                    <a:pt x="163" y="435"/>
                  </a:lnTo>
                  <a:lnTo>
                    <a:pt x="164" y="433"/>
                  </a:lnTo>
                  <a:lnTo>
                    <a:pt x="163" y="430"/>
                  </a:lnTo>
                  <a:lnTo>
                    <a:pt x="161" y="431"/>
                  </a:lnTo>
                  <a:close/>
                  <a:moveTo>
                    <a:pt x="175" y="344"/>
                  </a:moveTo>
                  <a:lnTo>
                    <a:pt x="175" y="342"/>
                  </a:lnTo>
                  <a:lnTo>
                    <a:pt x="178" y="341"/>
                  </a:lnTo>
                  <a:lnTo>
                    <a:pt x="178" y="343"/>
                  </a:lnTo>
                  <a:lnTo>
                    <a:pt x="178" y="351"/>
                  </a:lnTo>
                  <a:lnTo>
                    <a:pt x="178" y="355"/>
                  </a:lnTo>
                  <a:lnTo>
                    <a:pt x="179" y="356"/>
                  </a:lnTo>
                  <a:lnTo>
                    <a:pt x="183" y="358"/>
                  </a:lnTo>
                  <a:lnTo>
                    <a:pt x="191" y="363"/>
                  </a:lnTo>
                  <a:lnTo>
                    <a:pt x="194" y="364"/>
                  </a:lnTo>
                  <a:lnTo>
                    <a:pt x="197" y="364"/>
                  </a:lnTo>
                  <a:lnTo>
                    <a:pt x="199" y="363"/>
                  </a:lnTo>
                  <a:lnTo>
                    <a:pt x="200" y="361"/>
                  </a:lnTo>
                  <a:lnTo>
                    <a:pt x="198" y="359"/>
                  </a:lnTo>
                  <a:lnTo>
                    <a:pt x="198" y="358"/>
                  </a:lnTo>
                  <a:lnTo>
                    <a:pt x="200" y="356"/>
                  </a:lnTo>
                  <a:lnTo>
                    <a:pt x="202" y="358"/>
                  </a:lnTo>
                  <a:lnTo>
                    <a:pt x="204" y="358"/>
                  </a:lnTo>
                  <a:lnTo>
                    <a:pt x="205" y="358"/>
                  </a:lnTo>
                  <a:lnTo>
                    <a:pt x="207" y="356"/>
                  </a:lnTo>
                  <a:lnTo>
                    <a:pt x="208" y="356"/>
                  </a:lnTo>
                  <a:lnTo>
                    <a:pt x="206" y="350"/>
                  </a:lnTo>
                  <a:lnTo>
                    <a:pt x="196" y="341"/>
                  </a:lnTo>
                  <a:lnTo>
                    <a:pt x="196" y="335"/>
                  </a:lnTo>
                  <a:lnTo>
                    <a:pt x="189" y="335"/>
                  </a:lnTo>
                  <a:lnTo>
                    <a:pt x="187" y="334"/>
                  </a:lnTo>
                  <a:lnTo>
                    <a:pt x="184" y="332"/>
                  </a:lnTo>
                  <a:lnTo>
                    <a:pt x="184" y="327"/>
                  </a:lnTo>
                  <a:lnTo>
                    <a:pt x="185" y="319"/>
                  </a:lnTo>
                  <a:lnTo>
                    <a:pt x="184" y="315"/>
                  </a:lnTo>
                  <a:lnTo>
                    <a:pt x="181" y="316"/>
                  </a:lnTo>
                  <a:lnTo>
                    <a:pt x="176" y="316"/>
                  </a:lnTo>
                  <a:lnTo>
                    <a:pt x="174" y="314"/>
                  </a:lnTo>
                  <a:lnTo>
                    <a:pt x="178" y="312"/>
                  </a:lnTo>
                  <a:lnTo>
                    <a:pt x="176" y="307"/>
                  </a:lnTo>
                  <a:lnTo>
                    <a:pt x="174" y="303"/>
                  </a:lnTo>
                  <a:lnTo>
                    <a:pt x="173" y="302"/>
                  </a:lnTo>
                  <a:lnTo>
                    <a:pt x="172" y="301"/>
                  </a:lnTo>
                  <a:lnTo>
                    <a:pt x="172" y="300"/>
                  </a:lnTo>
                  <a:lnTo>
                    <a:pt x="171" y="298"/>
                  </a:lnTo>
                  <a:lnTo>
                    <a:pt x="172" y="298"/>
                  </a:lnTo>
                  <a:lnTo>
                    <a:pt x="174" y="298"/>
                  </a:lnTo>
                  <a:lnTo>
                    <a:pt x="168" y="295"/>
                  </a:lnTo>
                  <a:lnTo>
                    <a:pt x="166" y="295"/>
                  </a:lnTo>
                  <a:lnTo>
                    <a:pt x="164" y="298"/>
                  </a:lnTo>
                  <a:lnTo>
                    <a:pt x="165" y="298"/>
                  </a:lnTo>
                  <a:lnTo>
                    <a:pt x="166" y="300"/>
                  </a:lnTo>
                  <a:lnTo>
                    <a:pt x="166" y="302"/>
                  </a:lnTo>
                  <a:lnTo>
                    <a:pt x="166" y="304"/>
                  </a:lnTo>
                  <a:lnTo>
                    <a:pt x="164" y="306"/>
                  </a:lnTo>
                  <a:lnTo>
                    <a:pt x="164" y="308"/>
                  </a:lnTo>
                  <a:lnTo>
                    <a:pt x="164" y="309"/>
                  </a:lnTo>
                  <a:lnTo>
                    <a:pt x="165" y="311"/>
                  </a:lnTo>
                  <a:lnTo>
                    <a:pt x="164" y="313"/>
                  </a:lnTo>
                  <a:lnTo>
                    <a:pt x="164" y="315"/>
                  </a:lnTo>
                  <a:lnTo>
                    <a:pt x="162" y="318"/>
                  </a:lnTo>
                  <a:lnTo>
                    <a:pt x="163" y="321"/>
                  </a:lnTo>
                  <a:lnTo>
                    <a:pt x="160" y="322"/>
                  </a:lnTo>
                  <a:lnTo>
                    <a:pt x="155" y="322"/>
                  </a:lnTo>
                  <a:lnTo>
                    <a:pt x="153" y="323"/>
                  </a:lnTo>
                  <a:lnTo>
                    <a:pt x="153" y="326"/>
                  </a:lnTo>
                  <a:lnTo>
                    <a:pt x="153" y="328"/>
                  </a:lnTo>
                  <a:lnTo>
                    <a:pt x="152" y="329"/>
                  </a:lnTo>
                  <a:lnTo>
                    <a:pt x="150" y="329"/>
                  </a:lnTo>
                  <a:lnTo>
                    <a:pt x="149" y="329"/>
                  </a:lnTo>
                  <a:lnTo>
                    <a:pt x="148" y="330"/>
                  </a:lnTo>
                  <a:lnTo>
                    <a:pt x="146" y="332"/>
                  </a:lnTo>
                  <a:lnTo>
                    <a:pt x="149" y="336"/>
                  </a:lnTo>
                  <a:lnTo>
                    <a:pt x="152" y="340"/>
                  </a:lnTo>
                  <a:lnTo>
                    <a:pt x="156" y="343"/>
                  </a:lnTo>
                  <a:lnTo>
                    <a:pt x="160" y="344"/>
                  </a:lnTo>
                  <a:lnTo>
                    <a:pt x="173" y="346"/>
                  </a:lnTo>
                  <a:lnTo>
                    <a:pt x="177" y="346"/>
                  </a:lnTo>
                  <a:lnTo>
                    <a:pt x="175" y="344"/>
                  </a:lnTo>
                  <a:close/>
                  <a:moveTo>
                    <a:pt x="936" y="301"/>
                  </a:moveTo>
                  <a:lnTo>
                    <a:pt x="932" y="300"/>
                  </a:lnTo>
                  <a:lnTo>
                    <a:pt x="930" y="296"/>
                  </a:lnTo>
                  <a:lnTo>
                    <a:pt x="898" y="287"/>
                  </a:lnTo>
                  <a:lnTo>
                    <a:pt x="892" y="284"/>
                  </a:lnTo>
                  <a:lnTo>
                    <a:pt x="888" y="279"/>
                  </a:lnTo>
                  <a:lnTo>
                    <a:pt x="888" y="277"/>
                  </a:lnTo>
                  <a:lnTo>
                    <a:pt x="888" y="275"/>
                  </a:lnTo>
                  <a:lnTo>
                    <a:pt x="887" y="273"/>
                  </a:lnTo>
                  <a:lnTo>
                    <a:pt x="886" y="272"/>
                  </a:lnTo>
                  <a:lnTo>
                    <a:pt x="879" y="272"/>
                  </a:lnTo>
                  <a:lnTo>
                    <a:pt x="876" y="271"/>
                  </a:lnTo>
                  <a:lnTo>
                    <a:pt x="873" y="269"/>
                  </a:lnTo>
                  <a:lnTo>
                    <a:pt x="871" y="266"/>
                  </a:lnTo>
                  <a:lnTo>
                    <a:pt x="869" y="263"/>
                  </a:lnTo>
                  <a:lnTo>
                    <a:pt x="877" y="259"/>
                  </a:lnTo>
                  <a:lnTo>
                    <a:pt x="878" y="256"/>
                  </a:lnTo>
                  <a:lnTo>
                    <a:pt x="878" y="254"/>
                  </a:lnTo>
                  <a:lnTo>
                    <a:pt x="874" y="250"/>
                  </a:lnTo>
                  <a:lnTo>
                    <a:pt x="873" y="249"/>
                  </a:lnTo>
                  <a:lnTo>
                    <a:pt x="872" y="245"/>
                  </a:lnTo>
                  <a:lnTo>
                    <a:pt x="874" y="239"/>
                  </a:lnTo>
                  <a:lnTo>
                    <a:pt x="875" y="239"/>
                  </a:lnTo>
                  <a:lnTo>
                    <a:pt x="885" y="241"/>
                  </a:lnTo>
                  <a:lnTo>
                    <a:pt x="889" y="236"/>
                  </a:lnTo>
                  <a:lnTo>
                    <a:pt x="888" y="233"/>
                  </a:lnTo>
                  <a:lnTo>
                    <a:pt x="886" y="232"/>
                  </a:lnTo>
                  <a:lnTo>
                    <a:pt x="883" y="231"/>
                  </a:lnTo>
                  <a:lnTo>
                    <a:pt x="881" y="230"/>
                  </a:lnTo>
                  <a:lnTo>
                    <a:pt x="879" y="229"/>
                  </a:lnTo>
                  <a:lnTo>
                    <a:pt x="878" y="228"/>
                  </a:lnTo>
                  <a:lnTo>
                    <a:pt x="878" y="227"/>
                  </a:lnTo>
                  <a:lnTo>
                    <a:pt x="877" y="225"/>
                  </a:lnTo>
                  <a:lnTo>
                    <a:pt x="875" y="224"/>
                  </a:lnTo>
                  <a:lnTo>
                    <a:pt x="874" y="224"/>
                  </a:lnTo>
                  <a:lnTo>
                    <a:pt x="873" y="225"/>
                  </a:lnTo>
                  <a:lnTo>
                    <a:pt x="870" y="226"/>
                  </a:lnTo>
                  <a:lnTo>
                    <a:pt x="868" y="229"/>
                  </a:lnTo>
                  <a:lnTo>
                    <a:pt x="866" y="230"/>
                  </a:lnTo>
                  <a:lnTo>
                    <a:pt x="863" y="230"/>
                  </a:lnTo>
                  <a:lnTo>
                    <a:pt x="862" y="229"/>
                  </a:lnTo>
                  <a:lnTo>
                    <a:pt x="858" y="224"/>
                  </a:lnTo>
                  <a:lnTo>
                    <a:pt x="857" y="222"/>
                  </a:lnTo>
                  <a:lnTo>
                    <a:pt x="858" y="220"/>
                  </a:lnTo>
                  <a:lnTo>
                    <a:pt x="858" y="216"/>
                  </a:lnTo>
                  <a:lnTo>
                    <a:pt x="858" y="212"/>
                  </a:lnTo>
                  <a:lnTo>
                    <a:pt x="861" y="210"/>
                  </a:lnTo>
                  <a:lnTo>
                    <a:pt x="862" y="209"/>
                  </a:lnTo>
                  <a:lnTo>
                    <a:pt x="867" y="203"/>
                  </a:lnTo>
                  <a:lnTo>
                    <a:pt x="868" y="201"/>
                  </a:lnTo>
                  <a:lnTo>
                    <a:pt x="867" y="197"/>
                  </a:lnTo>
                  <a:lnTo>
                    <a:pt x="864" y="195"/>
                  </a:lnTo>
                  <a:lnTo>
                    <a:pt x="862" y="194"/>
                  </a:lnTo>
                  <a:lnTo>
                    <a:pt x="859" y="192"/>
                  </a:lnTo>
                  <a:lnTo>
                    <a:pt x="858" y="189"/>
                  </a:lnTo>
                  <a:lnTo>
                    <a:pt x="858" y="182"/>
                  </a:lnTo>
                  <a:lnTo>
                    <a:pt x="857" y="179"/>
                  </a:lnTo>
                  <a:lnTo>
                    <a:pt x="852" y="173"/>
                  </a:lnTo>
                  <a:lnTo>
                    <a:pt x="851" y="171"/>
                  </a:lnTo>
                  <a:lnTo>
                    <a:pt x="849" y="169"/>
                  </a:lnTo>
                  <a:lnTo>
                    <a:pt x="848" y="167"/>
                  </a:lnTo>
                  <a:lnTo>
                    <a:pt x="848" y="166"/>
                  </a:lnTo>
                  <a:lnTo>
                    <a:pt x="849" y="166"/>
                  </a:lnTo>
                  <a:lnTo>
                    <a:pt x="849" y="164"/>
                  </a:lnTo>
                  <a:lnTo>
                    <a:pt x="849" y="158"/>
                  </a:lnTo>
                  <a:lnTo>
                    <a:pt x="855" y="157"/>
                  </a:lnTo>
                  <a:lnTo>
                    <a:pt x="857" y="157"/>
                  </a:lnTo>
                  <a:lnTo>
                    <a:pt x="858" y="156"/>
                  </a:lnTo>
                  <a:lnTo>
                    <a:pt x="857" y="154"/>
                  </a:lnTo>
                  <a:lnTo>
                    <a:pt x="856" y="152"/>
                  </a:lnTo>
                  <a:lnTo>
                    <a:pt x="852" y="149"/>
                  </a:lnTo>
                  <a:lnTo>
                    <a:pt x="854" y="148"/>
                  </a:lnTo>
                  <a:lnTo>
                    <a:pt x="855" y="146"/>
                  </a:lnTo>
                  <a:lnTo>
                    <a:pt x="858" y="145"/>
                  </a:lnTo>
                  <a:lnTo>
                    <a:pt x="857" y="141"/>
                  </a:lnTo>
                  <a:lnTo>
                    <a:pt x="854" y="141"/>
                  </a:lnTo>
                  <a:lnTo>
                    <a:pt x="853" y="143"/>
                  </a:lnTo>
                  <a:lnTo>
                    <a:pt x="851" y="144"/>
                  </a:lnTo>
                  <a:lnTo>
                    <a:pt x="848" y="145"/>
                  </a:lnTo>
                  <a:lnTo>
                    <a:pt x="845" y="147"/>
                  </a:lnTo>
                  <a:lnTo>
                    <a:pt x="844" y="147"/>
                  </a:lnTo>
                  <a:lnTo>
                    <a:pt x="844" y="147"/>
                  </a:lnTo>
                  <a:lnTo>
                    <a:pt x="842" y="145"/>
                  </a:lnTo>
                  <a:lnTo>
                    <a:pt x="840" y="147"/>
                  </a:lnTo>
                  <a:lnTo>
                    <a:pt x="839" y="150"/>
                  </a:lnTo>
                  <a:lnTo>
                    <a:pt x="839" y="151"/>
                  </a:lnTo>
                  <a:lnTo>
                    <a:pt x="837" y="152"/>
                  </a:lnTo>
                  <a:lnTo>
                    <a:pt x="835" y="152"/>
                  </a:lnTo>
                  <a:lnTo>
                    <a:pt x="829" y="149"/>
                  </a:lnTo>
                  <a:lnTo>
                    <a:pt x="821" y="146"/>
                  </a:lnTo>
                  <a:lnTo>
                    <a:pt x="818" y="146"/>
                  </a:lnTo>
                  <a:lnTo>
                    <a:pt x="814" y="150"/>
                  </a:lnTo>
                  <a:lnTo>
                    <a:pt x="814" y="151"/>
                  </a:lnTo>
                  <a:lnTo>
                    <a:pt x="813" y="154"/>
                  </a:lnTo>
                  <a:lnTo>
                    <a:pt x="813" y="156"/>
                  </a:lnTo>
                  <a:lnTo>
                    <a:pt x="813" y="156"/>
                  </a:lnTo>
                  <a:lnTo>
                    <a:pt x="810" y="158"/>
                  </a:lnTo>
                  <a:lnTo>
                    <a:pt x="807" y="165"/>
                  </a:lnTo>
                  <a:lnTo>
                    <a:pt x="805" y="167"/>
                  </a:lnTo>
                  <a:lnTo>
                    <a:pt x="798" y="173"/>
                  </a:lnTo>
                  <a:lnTo>
                    <a:pt x="794" y="175"/>
                  </a:lnTo>
                  <a:lnTo>
                    <a:pt x="790" y="173"/>
                  </a:lnTo>
                  <a:lnTo>
                    <a:pt x="788" y="175"/>
                  </a:lnTo>
                  <a:lnTo>
                    <a:pt x="782" y="181"/>
                  </a:lnTo>
                  <a:lnTo>
                    <a:pt x="779" y="184"/>
                  </a:lnTo>
                  <a:lnTo>
                    <a:pt x="778" y="184"/>
                  </a:lnTo>
                  <a:lnTo>
                    <a:pt x="777" y="184"/>
                  </a:lnTo>
                  <a:lnTo>
                    <a:pt x="776" y="184"/>
                  </a:lnTo>
                  <a:lnTo>
                    <a:pt x="775" y="184"/>
                  </a:lnTo>
                  <a:lnTo>
                    <a:pt x="775" y="184"/>
                  </a:lnTo>
                  <a:lnTo>
                    <a:pt x="772" y="181"/>
                  </a:lnTo>
                  <a:lnTo>
                    <a:pt x="770" y="181"/>
                  </a:lnTo>
                  <a:lnTo>
                    <a:pt x="767" y="182"/>
                  </a:lnTo>
                  <a:lnTo>
                    <a:pt x="764" y="183"/>
                  </a:lnTo>
                  <a:lnTo>
                    <a:pt x="761" y="182"/>
                  </a:lnTo>
                  <a:lnTo>
                    <a:pt x="759" y="179"/>
                  </a:lnTo>
                  <a:lnTo>
                    <a:pt x="755" y="179"/>
                  </a:lnTo>
                  <a:lnTo>
                    <a:pt x="750" y="175"/>
                  </a:lnTo>
                  <a:lnTo>
                    <a:pt x="747" y="174"/>
                  </a:lnTo>
                  <a:lnTo>
                    <a:pt x="734" y="174"/>
                  </a:lnTo>
                  <a:lnTo>
                    <a:pt x="733" y="175"/>
                  </a:lnTo>
                  <a:lnTo>
                    <a:pt x="730" y="177"/>
                  </a:lnTo>
                  <a:lnTo>
                    <a:pt x="728" y="177"/>
                  </a:lnTo>
                  <a:lnTo>
                    <a:pt x="726" y="177"/>
                  </a:lnTo>
                  <a:lnTo>
                    <a:pt x="710" y="173"/>
                  </a:lnTo>
                  <a:lnTo>
                    <a:pt x="696" y="173"/>
                  </a:lnTo>
                  <a:lnTo>
                    <a:pt x="695" y="174"/>
                  </a:lnTo>
                  <a:lnTo>
                    <a:pt x="694" y="176"/>
                  </a:lnTo>
                  <a:lnTo>
                    <a:pt x="693" y="177"/>
                  </a:lnTo>
                  <a:lnTo>
                    <a:pt x="691" y="177"/>
                  </a:lnTo>
                  <a:lnTo>
                    <a:pt x="691" y="176"/>
                  </a:lnTo>
                  <a:lnTo>
                    <a:pt x="688" y="171"/>
                  </a:lnTo>
                  <a:lnTo>
                    <a:pt x="683" y="168"/>
                  </a:lnTo>
                  <a:lnTo>
                    <a:pt x="664" y="162"/>
                  </a:lnTo>
                  <a:lnTo>
                    <a:pt x="661" y="161"/>
                  </a:lnTo>
                  <a:lnTo>
                    <a:pt x="659" y="161"/>
                  </a:lnTo>
                  <a:lnTo>
                    <a:pt x="659" y="159"/>
                  </a:lnTo>
                  <a:lnTo>
                    <a:pt x="659" y="158"/>
                  </a:lnTo>
                  <a:lnTo>
                    <a:pt x="658" y="155"/>
                  </a:lnTo>
                  <a:lnTo>
                    <a:pt x="658" y="152"/>
                  </a:lnTo>
                  <a:lnTo>
                    <a:pt x="658" y="150"/>
                  </a:lnTo>
                  <a:lnTo>
                    <a:pt x="656" y="148"/>
                  </a:lnTo>
                  <a:lnTo>
                    <a:pt x="649" y="140"/>
                  </a:lnTo>
                  <a:lnTo>
                    <a:pt x="643" y="137"/>
                  </a:lnTo>
                  <a:lnTo>
                    <a:pt x="636" y="136"/>
                  </a:lnTo>
                  <a:lnTo>
                    <a:pt x="623" y="135"/>
                  </a:lnTo>
                  <a:lnTo>
                    <a:pt x="621" y="136"/>
                  </a:lnTo>
                  <a:lnTo>
                    <a:pt x="621" y="137"/>
                  </a:lnTo>
                  <a:lnTo>
                    <a:pt x="620" y="138"/>
                  </a:lnTo>
                  <a:lnTo>
                    <a:pt x="619" y="138"/>
                  </a:lnTo>
                  <a:lnTo>
                    <a:pt x="619" y="135"/>
                  </a:lnTo>
                  <a:lnTo>
                    <a:pt x="617" y="134"/>
                  </a:lnTo>
                  <a:lnTo>
                    <a:pt x="613" y="135"/>
                  </a:lnTo>
                  <a:lnTo>
                    <a:pt x="610" y="136"/>
                  </a:lnTo>
                  <a:lnTo>
                    <a:pt x="609" y="135"/>
                  </a:lnTo>
                  <a:lnTo>
                    <a:pt x="610" y="133"/>
                  </a:lnTo>
                  <a:lnTo>
                    <a:pt x="609" y="129"/>
                  </a:lnTo>
                  <a:lnTo>
                    <a:pt x="607" y="132"/>
                  </a:lnTo>
                  <a:lnTo>
                    <a:pt x="605" y="132"/>
                  </a:lnTo>
                  <a:lnTo>
                    <a:pt x="604" y="130"/>
                  </a:lnTo>
                  <a:lnTo>
                    <a:pt x="604" y="130"/>
                  </a:lnTo>
                  <a:lnTo>
                    <a:pt x="601" y="129"/>
                  </a:lnTo>
                  <a:lnTo>
                    <a:pt x="601" y="127"/>
                  </a:lnTo>
                  <a:lnTo>
                    <a:pt x="602" y="127"/>
                  </a:lnTo>
                  <a:lnTo>
                    <a:pt x="604" y="126"/>
                  </a:lnTo>
                  <a:lnTo>
                    <a:pt x="605" y="126"/>
                  </a:lnTo>
                  <a:lnTo>
                    <a:pt x="604" y="124"/>
                  </a:lnTo>
                  <a:lnTo>
                    <a:pt x="601" y="124"/>
                  </a:lnTo>
                  <a:lnTo>
                    <a:pt x="599" y="123"/>
                  </a:lnTo>
                  <a:lnTo>
                    <a:pt x="598" y="119"/>
                  </a:lnTo>
                  <a:lnTo>
                    <a:pt x="597" y="117"/>
                  </a:lnTo>
                  <a:lnTo>
                    <a:pt x="595" y="109"/>
                  </a:lnTo>
                  <a:lnTo>
                    <a:pt x="594" y="107"/>
                  </a:lnTo>
                  <a:lnTo>
                    <a:pt x="588" y="99"/>
                  </a:lnTo>
                  <a:lnTo>
                    <a:pt x="586" y="98"/>
                  </a:lnTo>
                  <a:lnTo>
                    <a:pt x="574" y="97"/>
                  </a:lnTo>
                  <a:lnTo>
                    <a:pt x="571" y="96"/>
                  </a:lnTo>
                  <a:lnTo>
                    <a:pt x="564" y="91"/>
                  </a:lnTo>
                  <a:lnTo>
                    <a:pt x="562" y="88"/>
                  </a:lnTo>
                  <a:lnTo>
                    <a:pt x="561" y="86"/>
                  </a:lnTo>
                  <a:lnTo>
                    <a:pt x="560" y="84"/>
                  </a:lnTo>
                  <a:lnTo>
                    <a:pt x="551" y="78"/>
                  </a:lnTo>
                  <a:lnTo>
                    <a:pt x="550" y="75"/>
                  </a:lnTo>
                  <a:lnTo>
                    <a:pt x="546" y="68"/>
                  </a:lnTo>
                  <a:lnTo>
                    <a:pt x="540" y="61"/>
                  </a:lnTo>
                  <a:lnTo>
                    <a:pt x="539" y="60"/>
                  </a:lnTo>
                  <a:lnTo>
                    <a:pt x="537" y="59"/>
                  </a:lnTo>
                  <a:lnTo>
                    <a:pt x="536" y="54"/>
                  </a:lnTo>
                  <a:lnTo>
                    <a:pt x="535" y="51"/>
                  </a:lnTo>
                  <a:lnTo>
                    <a:pt x="535" y="47"/>
                  </a:lnTo>
                  <a:lnTo>
                    <a:pt x="534" y="44"/>
                  </a:lnTo>
                  <a:lnTo>
                    <a:pt x="533" y="42"/>
                  </a:lnTo>
                  <a:lnTo>
                    <a:pt x="531" y="40"/>
                  </a:lnTo>
                  <a:lnTo>
                    <a:pt x="529" y="38"/>
                  </a:lnTo>
                  <a:lnTo>
                    <a:pt x="528" y="38"/>
                  </a:lnTo>
                  <a:lnTo>
                    <a:pt x="528" y="39"/>
                  </a:lnTo>
                  <a:lnTo>
                    <a:pt x="528" y="40"/>
                  </a:lnTo>
                  <a:lnTo>
                    <a:pt x="527" y="39"/>
                  </a:lnTo>
                  <a:lnTo>
                    <a:pt x="526" y="38"/>
                  </a:lnTo>
                  <a:lnTo>
                    <a:pt x="525" y="38"/>
                  </a:lnTo>
                  <a:lnTo>
                    <a:pt x="525" y="37"/>
                  </a:lnTo>
                  <a:lnTo>
                    <a:pt x="524" y="37"/>
                  </a:lnTo>
                  <a:lnTo>
                    <a:pt x="520" y="36"/>
                  </a:lnTo>
                  <a:lnTo>
                    <a:pt x="518" y="35"/>
                  </a:lnTo>
                  <a:lnTo>
                    <a:pt x="517" y="38"/>
                  </a:lnTo>
                  <a:lnTo>
                    <a:pt x="516" y="38"/>
                  </a:lnTo>
                  <a:lnTo>
                    <a:pt x="514" y="34"/>
                  </a:lnTo>
                  <a:lnTo>
                    <a:pt x="509" y="31"/>
                  </a:lnTo>
                  <a:lnTo>
                    <a:pt x="506" y="27"/>
                  </a:lnTo>
                  <a:lnTo>
                    <a:pt x="504" y="23"/>
                  </a:lnTo>
                  <a:lnTo>
                    <a:pt x="501" y="19"/>
                  </a:lnTo>
                  <a:lnTo>
                    <a:pt x="497" y="17"/>
                  </a:lnTo>
                  <a:lnTo>
                    <a:pt x="493" y="16"/>
                  </a:lnTo>
                  <a:lnTo>
                    <a:pt x="492" y="15"/>
                  </a:lnTo>
                  <a:lnTo>
                    <a:pt x="491" y="15"/>
                  </a:lnTo>
                  <a:lnTo>
                    <a:pt x="490" y="16"/>
                  </a:lnTo>
                  <a:lnTo>
                    <a:pt x="489" y="18"/>
                  </a:lnTo>
                  <a:lnTo>
                    <a:pt x="488" y="18"/>
                  </a:lnTo>
                  <a:lnTo>
                    <a:pt x="486" y="16"/>
                  </a:lnTo>
                  <a:lnTo>
                    <a:pt x="479" y="11"/>
                  </a:lnTo>
                  <a:lnTo>
                    <a:pt x="478" y="11"/>
                  </a:lnTo>
                  <a:lnTo>
                    <a:pt x="474" y="8"/>
                  </a:lnTo>
                  <a:lnTo>
                    <a:pt x="473" y="7"/>
                  </a:lnTo>
                  <a:lnTo>
                    <a:pt x="471" y="6"/>
                  </a:lnTo>
                  <a:lnTo>
                    <a:pt x="467" y="7"/>
                  </a:lnTo>
                  <a:lnTo>
                    <a:pt x="466" y="7"/>
                  </a:lnTo>
                  <a:lnTo>
                    <a:pt x="465" y="6"/>
                  </a:lnTo>
                  <a:lnTo>
                    <a:pt x="462" y="3"/>
                  </a:lnTo>
                  <a:lnTo>
                    <a:pt x="461" y="2"/>
                  </a:lnTo>
                  <a:lnTo>
                    <a:pt x="459" y="2"/>
                  </a:lnTo>
                  <a:lnTo>
                    <a:pt x="457" y="2"/>
                  </a:lnTo>
                  <a:lnTo>
                    <a:pt x="455" y="2"/>
                  </a:lnTo>
                  <a:lnTo>
                    <a:pt x="453" y="0"/>
                  </a:lnTo>
                  <a:lnTo>
                    <a:pt x="452" y="2"/>
                  </a:lnTo>
                  <a:lnTo>
                    <a:pt x="452" y="2"/>
                  </a:lnTo>
                  <a:lnTo>
                    <a:pt x="451" y="0"/>
                  </a:lnTo>
                  <a:lnTo>
                    <a:pt x="450" y="1"/>
                  </a:lnTo>
                  <a:lnTo>
                    <a:pt x="449" y="3"/>
                  </a:lnTo>
                  <a:lnTo>
                    <a:pt x="446" y="4"/>
                  </a:lnTo>
                  <a:lnTo>
                    <a:pt x="443" y="5"/>
                  </a:lnTo>
                  <a:lnTo>
                    <a:pt x="438" y="7"/>
                  </a:lnTo>
                  <a:lnTo>
                    <a:pt x="438" y="8"/>
                  </a:lnTo>
                  <a:lnTo>
                    <a:pt x="434" y="13"/>
                  </a:lnTo>
                  <a:lnTo>
                    <a:pt x="433" y="14"/>
                  </a:lnTo>
                  <a:lnTo>
                    <a:pt x="433" y="16"/>
                  </a:lnTo>
                  <a:lnTo>
                    <a:pt x="434" y="19"/>
                  </a:lnTo>
                  <a:lnTo>
                    <a:pt x="436" y="25"/>
                  </a:lnTo>
                  <a:lnTo>
                    <a:pt x="436" y="27"/>
                  </a:lnTo>
                  <a:lnTo>
                    <a:pt x="436" y="31"/>
                  </a:lnTo>
                  <a:lnTo>
                    <a:pt x="436" y="33"/>
                  </a:lnTo>
                  <a:lnTo>
                    <a:pt x="437" y="34"/>
                  </a:lnTo>
                  <a:lnTo>
                    <a:pt x="440" y="36"/>
                  </a:lnTo>
                  <a:lnTo>
                    <a:pt x="441" y="37"/>
                  </a:lnTo>
                  <a:lnTo>
                    <a:pt x="441" y="39"/>
                  </a:lnTo>
                  <a:lnTo>
                    <a:pt x="441" y="39"/>
                  </a:lnTo>
                  <a:lnTo>
                    <a:pt x="440" y="40"/>
                  </a:lnTo>
                  <a:lnTo>
                    <a:pt x="437" y="40"/>
                  </a:lnTo>
                  <a:lnTo>
                    <a:pt x="431" y="42"/>
                  </a:lnTo>
                  <a:lnTo>
                    <a:pt x="429" y="42"/>
                  </a:lnTo>
                  <a:lnTo>
                    <a:pt x="427" y="41"/>
                  </a:lnTo>
                  <a:lnTo>
                    <a:pt x="424" y="40"/>
                  </a:lnTo>
                  <a:lnTo>
                    <a:pt x="421" y="36"/>
                  </a:lnTo>
                  <a:lnTo>
                    <a:pt x="419" y="35"/>
                  </a:lnTo>
                  <a:lnTo>
                    <a:pt x="417" y="36"/>
                  </a:lnTo>
                  <a:lnTo>
                    <a:pt x="416" y="37"/>
                  </a:lnTo>
                  <a:lnTo>
                    <a:pt x="415" y="39"/>
                  </a:lnTo>
                  <a:lnTo>
                    <a:pt x="413" y="40"/>
                  </a:lnTo>
                  <a:lnTo>
                    <a:pt x="411" y="40"/>
                  </a:lnTo>
                  <a:lnTo>
                    <a:pt x="410" y="40"/>
                  </a:lnTo>
                  <a:lnTo>
                    <a:pt x="406" y="39"/>
                  </a:lnTo>
                  <a:lnTo>
                    <a:pt x="405" y="43"/>
                  </a:lnTo>
                  <a:lnTo>
                    <a:pt x="406" y="47"/>
                  </a:lnTo>
                  <a:lnTo>
                    <a:pt x="406" y="49"/>
                  </a:lnTo>
                  <a:lnTo>
                    <a:pt x="405" y="53"/>
                  </a:lnTo>
                  <a:lnTo>
                    <a:pt x="404" y="53"/>
                  </a:lnTo>
                  <a:lnTo>
                    <a:pt x="403" y="55"/>
                  </a:lnTo>
                  <a:lnTo>
                    <a:pt x="399" y="57"/>
                  </a:lnTo>
                  <a:lnTo>
                    <a:pt x="396" y="59"/>
                  </a:lnTo>
                  <a:lnTo>
                    <a:pt x="395" y="59"/>
                  </a:lnTo>
                  <a:lnTo>
                    <a:pt x="394" y="60"/>
                  </a:lnTo>
                  <a:lnTo>
                    <a:pt x="388" y="61"/>
                  </a:lnTo>
                  <a:lnTo>
                    <a:pt x="384" y="63"/>
                  </a:lnTo>
                  <a:lnTo>
                    <a:pt x="378" y="66"/>
                  </a:lnTo>
                  <a:lnTo>
                    <a:pt x="377" y="66"/>
                  </a:lnTo>
                  <a:lnTo>
                    <a:pt x="377" y="66"/>
                  </a:lnTo>
                  <a:lnTo>
                    <a:pt x="370" y="67"/>
                  </a:lnTo>
                  <a:lnTo>
                    <a:pt x="368" y="67"/>
                  </a:lnTo>
                  <a:lnTo>
                    <a:pt x="365" y="68"/>
                  </a:lnTo>
                  <a:lnTo>
                    <a:pt x="365" y="69"/>
                  </a:lnTo>
                  <a:lnTo>
                    <a:pt x="363" y="70"/>
                  </a:lnTo>
                  <a:lnTo>
                    <a:pt x="360" y="75"/>
                  </a:lnTo>
                  <a:lnTo>
                    <a:pt x="357" y="78"/>
                  </a:lnTo>
                  <a:lnTo>
                    <a:pt x="345" y="77"/>
                  </a:lnTo>
                  <a:lnTo>
                    <a:pt x="343" y="76"/>
                  </a:lnTo>
                  <a:lnTo>
                    <a:pt x="339" y="78"/>
                  </a:lnTo>
                  <a:lnTo>
                    <a:pt x="337" y="81"/>
                  </a:lnTo>
                  <a:lnTo>
                    <a:pt x="336" y="82"/>
                  </a:lnTo>
                  <a:lnTo>
                    <a:pt x="334" y="88"/>
                  </a:lnTo>
                  <a:lnTo>
                    <a:pt x="331" y="94"/>
                  </a:lnTo>
                  <a:lnTo>
                    <a:pt x="331" y="100"/>
                  </a:lnTo>
                  <a:lnTo>
                    <a:pt x="334" y="105"/>
                  </a:lnTo>
                  <a:lnTo>
                    <a:pt x="337" y="108"/>
                  </a:lnTo>
                  <a:lnTo>
                    <a:pt x="338" y="109"/>
                  </a:lnTo>
                  <a:lnTo>
                    <a:pt x="340" y="111"/>
                  </a:lnTo>
                  <a:lnTo>
                    <a:pt x="344" y="112"/>
                  </a:lnTo>
                  <a:lnTo>
                    <a:pt x="346" y="114"/>
                  </a:lnTo>
                  <a:lnTo>
                    <a:pt x="348" y="116"/>
                  </a:lnTo>
                  <a:lnTo>
                    <a:pt x="348" y="117"/>
                  </a:lnTo>
                  <a:lnTo>
                    <a:pt x="348" y="120"/>
                  </a:lnTo>
                  <a:lnTo>
                    <a:pt x="346" y="122"/>
                  </a:lnTo>
                  <a:lnTo>
                    <a:pt x="345" y="127"/>
                  </a:lnTo>
                  <a:lnTo>
                    <a:pt x="345" y="127"/>
                  </a:lnTo>
                  <a:lnTo>
                    <a:pt x="345" y="132"/>
                  </a:lnTo>
                  <a:lnTo>
                    <a:pt x="345" y="139"/>
                  </a:lnTo>
                  <a:lnTo>
                    <a:pt x="345" y="142"/>
                  </a:lnTo>
                  <a:lnTo>
                    <a:pt x="344" y="145"/>
                  </a:lnTo>
                  <a:lnTo>
                    <a:pt x="343" y="148"/>
                  </a:lnTo>
                  <a:lnTo>
                    <a:pt x="342" y="151"/>
                  </a:lnTo>
                  <a:lnTo>
                    <a:pt x="343" y="154"/>
                  </a:lnTo>
                  <a:lnTo>
                    <a:pt x="345" y="158"/>
                  </a:lnTo>
                  <a:lnTo>
                    <a:pt x="345" y="161"/>
                  </a:lnTo>
                  <a:lnTo>
                    <a:pt x="343" y="164"/>
                  </a:lnTo>
                  <a:lnTo>
                    <a:pt x="340" y="166"/>
                  </a:lnTo>
                  <a:lnTo>
                    <a:pt x="337" y="166"/>
                  </a:lnTo>
                  <a:lnTo>
                    <a:pt x="331" y="166"/>
                  </a:lnTo>
                  <a:lnTo>
                    <a:pt x="325" y="166"/>
                  </a:lnTo>
                  <a:lnTo>
                    <a:pt x="321" y="165"/>
                  </a:lnTo>
                  <a:lnTo>
                    <a:pt x="319" y="166"/>
                  </a:lnTo>
                  <a:lnTo>
                    <a:pt x="316" y="168"/>
                  </a:lnTo>
                  <a:lnTo>
                    <a:pt x="315" y="169"/>
                  </a:lnTo>
                  <a:lnTo>
                    <a:pt x="313" y="168"/>
                  </a:lnTo>
                  <a:lnTo>
                    <a:pt x="311" y="168"/>
                  </a:lnTo>
                  <a:lnTo>
                    <a:pt x="309" y="167"/>
                  </a:lnTo>
                  <a:lnTo>
                    <a:pt x="307" y="168"/>
                  </a:lnTo>
                  <a:lnTo>
                    <a:pt x="307" y="171"/>
                  </a:lnTo>
                  <a:lnTo>
                    <a:pt x="307" y="173"/>
                  </a:lnTo>
                  <a:lnTo>
                    <a:pt x="308" y="175"/>
                  </a:lnTo>
                  <a:lnTo>
                    <a:pt x="306" y="176"/>
                  </a:lnTo>
                  <a:lnTo>
                    <a:pt x="306" y="176"/>
                  </a:lnTo>
                  <a:lnTo>
                    <a:pt x="290" y="182"/>
                  </a:lnTo>
                  <a:lnTo>
                    <a:pt x="286" y="183"/>
                  </a:lnTo>
                  <a:lnTo>
                    <a:pt x="279" y="187"/>
                  </a:lnTo>
                  <a:lnTo>
                    <a:pt x="278" y="188"/>
                  </a:lnTo>
                  <a:lnTo>
                    <a:pt x="277" y="190"/>
                  </a:lnTo>
                  <a:lnTo>
                    <a:pt x="277" y="191"/>
                  </a:lnTo>
                  <a:lnTo>
                    <a:pt x="277" y="192"/>
                  </a:lnTo>
                  <a:lnTo>
                    <a:pt x="279" y="192"/>
                  </a:lnTo>
                  <a:lnTo>
                    <a:pt x="280" y="194"/>
                  </a:lnTo>
                  <a:lnTo>
                    <a:pt x="282" y="197"/>
                  </a:lnTo>
                  <a:lnTo>
                    <a:pt x="282" y="198"/>
                  </a:lnTo>
                  <a:lnTo>
                    <a:pt x="284" y="199"/>
                  </a:lnTo>
                  <a:lnTo>
                    <a:pt x="286" y="200"/>
                  </a:lnTo>
                  <a:lnTo>
                    <a:pt x="287" y="200"/>
                  </a:lnTo>
                  <a:lnTo>
                    <a:pt x="287" y="199"/>
                  </a:lnTo>
                  <a:lnTo>
                    <a:pt x="288" y="198"/>
                  </a:lnTo>
                  <a:lnTo>
                    <a:pt x="290" y="197"/>
                  </a:lnTo>
                  <a:lnTo>
                    <a:pt x="290" y="197"/>
                  </a:lnTo>
                  <a:lnTo>
                    <a:pt x="291" y="198"/>
                  </a:lnTo>
                  <a:lnTo>
                    <a:pt x="293" y="200"/>
                  </a:lnTo>
                  <a:lnTo>
                    <a:pt x="293" y="201"/>
                  </a:lnTo>
                  <a:lnTo>
                    <a:pt x="296" y="205"/>
                  </a:lnTo>
                  <a:lnTo>
                    <a:pt x="297" y="207"/>
                  </a:lnTo>
                  <a:lnTo>
                    <a:pt x="294" y="207"/>
                  </a:lnTo>
                  <a:lnTo>
                    <a:pt x="291" y="208"/>
                  </a:lnTo>
                  <a:lnTo>
                    <a:pt x="290" y="209"/>
                  </a:lnTo>
                  <a:lnTo>
                    <a:pt x="285" y="210"/>
                  </a:lnTo>
                  <a:lnTo>
                    <a:pt x="284" y="212"/>
                  </a:lnTo>
                  <a:lnTo>
                    <a:pt x="283" y="214"/>
                  </a:lnTo>
                  <a:lnTo>
                    <a:pt x="282" y="215"/>
                  </a:lnTo>
                  <a:lnTo>
                    <a:pt x="280" y="216"/>
                  </a:lnTo>
                  <a:lnTo>
                    <a:pt x="281" y="218"/>
                  </a:lnTo>
                  <a:lnTo>
                    <a:pt x="282" y="220"/>
                  </a:lnTo>
                  <a:lnTo>
                    <a:pt x="282" y="223"/>
                  </a:lnTo>
                  <a:lnTo>
                    <a:pt x="282" y="223"/>
                  </a:lnTo>
                  <a:lnTo>
                    <a:pt x="283" y="229"/>
                  </a:lnTo>
                  <a:lnTo>
                    <a:pt x="285" y="234"/>
                  </a:lnTo>
                  <a:lnTo>
                    <a:pt x="287" y="238"/>
                  </a:lnTo>
                  <a:lnTo>
                    <a:pt x="295" y="243"/>
                  </a:lnTo>
                  <a:lnTo>
                    <a:pt x="293" y="244"/>
                  </a:lnTo>
                  <a:lnTo>
                    <a:pt x="291" y="248"/>
                  </a:lnTo>
                  <a:lnTo>
                    <a:pt x="289" y="249"/>
                  </a:lnTo>
                  <a:lnTo>
                    <a:pt x="287" y="250"/>
                  </a:lnTo>
                  <a:lnTo>
                    <a:pt x="282" y="250"/>
                  </a:lnTo>
                  <a:lnTo>
                    <a:pt x="273" y="253"/>
                  </a:lnTo>
                  <a:lnTo>
                    <a:pt x="267" y="256"/>
                  </a:lnTo>
                  <a:lnTo>
                    <a:pt x="260" y="255"/>
                  </a:lnTo>
                  <a:lnTo>
                    <a:pt x="248" y="245"/>
                  </a:lnTo>
                  <a:lnTo>
                    <a:pt x="247" y="244"/>
                  </a:lnTo>
                  <a:lnTo>
                    <a:pt x="239" y="243"/>
                  </a:lnTo>
                  <a:lnTo>
                    <a:pt x="237" y="242"/>
                  </a:lnTo>
                  <a:lnTo>
                    <a:pt x="235" y="241"/>
                  </a:lnTo>
                  <a:lnTo>
                    <a:pt x="234" y="241"/>
                  </a:lnTo>
                  <a:lnTo>
                    <a:pt x="232" y="240"/>
                  </a:lnTo>
                  <a:lnTo>
                    <a:pt x="229" y="238"/>
                  </a:lnTo>
                  <a:lnTo>
                    <a:pt x="225" y="235"/>
                  </a:lnTo>
                  <a:lnTo>
                    <a:pt x="223" y="236"/>
                  </a:lnTo>
                  <a:lnTo>
                    <a:pt x="222" y="240"/>
                  </a:lnTo>
                  <a:lnTo>
                    <a:pt x="219" y="246"/>
                  </a:lnTo>
                  <a:lnTo>
                    <a:pt x="212" y="248"/>
                  </a:lnTo>
                  <a:lnTo>
                    <a:pt x="205" y="247"/>
                  </a:lnTo>
                  <a:lnTo>
                    <a:pt x="203" y="240"/>
                  </a:lnTo>
                  <a:lnTo>
                    <a:pt x="203" y="240"/>
                  </a:lnTo>
                  <a:lnTo>
                    <a:pt x="203" y="240"/>
                  </a:lnTo>
                  <a:lnTo>
                    <a:pt x="203" y="240"/>
                  </a:lnTo>
                  <a:lnTo>
                    <a:pt x="188" y="234"/>
                  </a:lnTo>
                  <a:lnTo>
                    <a:pt x="185" y="231"/>
                  </a:lnTo>
                  <a:lnTo>
                    <a:pt x="185" y="230"/>
                  </a:lnTo>
                  <a:lnTo>
                    <a:pt x="185" y="226"/>
                  </a:lnTo>
                  <a:lnTo>
                    <a:pt x="185" y="224"/>
                  </a:lnTo>
                  <a:lnTo>
                    <a:pt x="184" y="223"/>
                  </a:lnTo>
                  <a:lnTo>
                    <a:pt x="184" y="223"/>
                  </a:lnTo>
                  <a:lnTo>
                    <a:pt x="183" y="222"/>
                  </a:lnTo>
                  <a:lnTo>
                    <a:pt x="182" y="222"/>
                  </a:lnTo>
                  <a:lnTo>
                    <a:pt x="177" y="218"/>
                  </a:lnTo>
                  <a:lnTo>
                    <a:pt x="174" y="215"/>
                  </a:lnTo>
                  <a:lnTo>
                    <a:pt x="173" y="213"/>
                  </a:lnTo>
                  <a:lnTo>
                    <a:pt x="173" y="210"/>
                  </a:lnTo>
                  <a:lnTo>
                    <a:pt x="173" y="205"/>
                  </a:lnTo>
                  <a:lnTo>
                    <a:pt x="173" y="202"/>
                  </a:lnTo>
                  <a:lnTo>
                    <a:pt x="171" y="201"/>
                  </a:lnTo>
                  <a:lnTo>
                    <a:pt x="169" y="202"/>
                  </a:lnTo>
                  <a:lnTo>
                    <a:pt x="169" y="202"/>
                  </a:lnTo>
                  <a:lnTo>
                    <a:pt x="167" y="204"/>
                  </a:lnTo>
                  <a:lnTo>
                    <a:pt x="165" y="208"/>
                  </a:lnTo>
                  <a:lnTo>
                    <a:pt x="164" y="210"/>
                  </a:lnTo>
                  <a:lnTo>
                    <a:pt x="160" y="215"/>
                  </a:lnTo>
                  <a:lnTo>
                    <a:pt x="158" y="217"/>
                  </a:lnTo>
                  <a:lnTo>
                    <a:pt x="157" y="220"/>
                  </a:lnTo>
                  <a:lnTo>
                    <a:pt x="157" y="221"/>
                  </a:lnTo>
                  <a:lnTo>
                    <a:pt x="156" y="226"/>
                  </a:lnTo>
                  <a:lnTo>
                    <a:pt x="155" y="229"/>
                  </a:lnTo>
                  <a:lnTo>
                    <a:pt x="153" y="233"/>
                  </a:lnTo>
                  <a:lnTo>
                    <a:pt x="147" y="238"/>
                  </a:lnTo>
                  <a:lnTo>
                    <a:pt x="144" y="240"/>
                  </a:lnTo>
                  <a:lnTo>
                    <a:pt x="138" y="244"/>
                  </a:lnTo>
                  <a:lnTo>
                    <a:pt x="131" y="244"/>
                  </a:lnTo>
                  <a:lnTo>
                    <a:pt x="123" y="243"/>
                  </a:lnTo>
                  <a:lnTo>
                    <a:pt x="117" y="240"/>
                  </a:lnTo>
                  <a:lnTo>
                    <a:pt x="114" y="239"/>
                  </a:lnTo>
                  <a:lnTo>
                    <a:pt x="110" y="241"/>
                  </a:lnTo>
                  <a:lnTo>
                    <a:pt x="102" y="244"/>
                  </a:lnTo>
                  <a:lnTo>
                    <a:pt x="98" y="245"/>
                  </a:lnTo>
                  <a:lnTo>
                    <a:pt x="97" y="245"/>
                  </a:lnTo>
                  <a:lnTo>
                    <a:pt x="97" y="245"/>
                  </a:lnTo>
                  <a:lnTo>
                    <a:pt x="94" y="245"/>
                  </a:lnTo>
                  <a:lnTo>
                    <a:pt x="90" y="243"/>
                  </a:lnTo>
                  <a:lnTo>
                    <a:pt x="86" y="240"/>
                  </a:lnTo>
                  <a:lnTo>
                    <a:pt x="86" y="240"/>
                  </a:lnTo>
                  <a:lnTo>
                    <a:pt x="83" y="238"/>
                  </a:lnTo>
                  <a:lnTo>
                    <a:pt x="81" y="237"/>
                  </a:lnTo>
                  <a:lnTo>
                    <a:pt x="77" y="236"/>
                  </a:lnTo>
                  <a:lnTo>
                    <a:pt x="74" y="236"/>
                  </a:lnTo>
                  <a:lnTo>
                    <a:pt x="73" y="236"/>
                  </a:lnTo>
                  <a:lnTo>
                    <a:pt x="73" y="238"/>
                  </a:lnTo>
                  <a:lnTo>
                    <a:pt x="73" y="240"/>
                  </a:lnTo>
                  <a:lnTo>
                    <a:pt x="76" y="244"/>
                  </a:lnTo>
                  <a:lnTo>
                    <a:pt x="74" y="247"/>
                  </a:lnTo>
                  <a:lnTo>
                    <a:pt x="67" y="250"/>
                  </a:lnTo>
                  <a:lnTo>
                    <a:pt x="64" y="253"/>
                  </a:lnTo>
                  <a:lnTo>
                    <a:pt x="63" y="255"/>
                  </a:lnTo>
                  <a:lnTo>
                    <a:pt x="61" y="256"/>
                  </a:lnTo>
                  <a:lnTo>
                    <a:pt x="53" y="255"/>
                  </a:lnTo>
                  <a:lnTo>
                    <a:pt x="50" y="254"/>
                  </a:lnTo>
                  <a:lnTo>
                    <a:pt x="48" y="252"/>
                  </a:lnTo>
                  <a:lnTo>
                    <a:pt x="41" y="247"/>
                  </a:lnTo>
                  <a:lnTo>
                    <a:pt x="25" y="248"/>
                  </a:lnTo>
                  <a:lnTo>
                    <a:pt x="20" y="248"/>
                  </a:lnTo>
                  <a:lnTo>
                    <a:pt x="14" y="241"/>
                  </a:lnTo>
                  <a:lnTo>
                    <a:pt x="10" y="241"/>
                  </a:lnTo>
                  <a:lnTo>
                    <a:pt x="3" y="238"/>
                  </a:lnTo>
                  <a:lnTo>
                    <a:pt x="2" y="236"/>
                  </a:lnTo>
                  <a:lnTo>
                    <a:pt x="1" y="236"/>
                  </a:lnTo>
                  <a:lnTo>
                    <a:pt x="0" y="239"/>
                  </a:lnTo>
                  <a:lnTo>
                    <a:pt x="0" y="243"/>
                  </a:lnTo>
                  <a:lnTo>
                    <a:pt x="3" y="249"/>
                  </a:lnTo>
                  <a:lnTo>
                    <a:pt x="2" y="250"/>
                  </a:lnTo>
                  <a:lnTo>
                    <a:pt x="2" y="251"/>
                  </a:lnTo>
                  <a:lnTo>
                    <a:pt x="2" y="251"/>
                  </a:lnTo>
                  <a:lnTo>
                    <a:pt x="3" y="252"/>
                  </a:lnTo>
                  <a:lnTo>
                    <a:pt x="3" y="252"/>
                  </a:lnTo>
                  <a:lnTo>
                    <a:pt x="2" y="253"/>
                  </a:lnTo>
                  <a:lnTo>
                    <a:pt x="2" y="253"/>
                  </a:lnTo>
                  <a:lnTo>
                    <a:pt x="6" y="267"/>
                  </a:lnTo>
                  <a:lnTo>
                    <a:pt x="8" y="269"/>
                  </a:lnTo>
                  <a:lnTo>
                    <a:pt x="8" y="270"/>
                  </a:lnTo>
                  <a:lnTo>
                    <a:pt x="6" y="271"/>
                  </a:lnTo>
                  <a:lnTo>
                    <a:pt x="6" y="273"/>
                  </a:lnTo>
                  <a:lnTo>
                    <a:pt x="8" y="276"/>
                  </a:lnTo>
                  <a:lnTo>
                    <a:pt x="9" y="278"/>
                  </a:lnTo>
                  <a:lnTo>
                    <a:pt x="11" y="278"/>
                  </a:lnTo>
                  <a:lnTo>
                    <a:pt x="15" y="278"/>
                  </a:lnTo>
                  <a:lnTo>
                    <a:pt x="17" y="279"/>
                  </a:lnTo>
                  <a:lnTo>
                    <a:pt x="14" y="281"/>
                  </a:lnTo>
                  <a:lnTo>
                    <a:pt x="13" y="282"/>
                  </a:lnTo>
                  <a:lnTo>
                    <a:pt x="12" y="283"/>
                  </a:lnTo>
                  <a:lnTo>
                    <a:pt x="12" y="284"/>
                  </a:lnTo>
                  <a:lnTo>
                    <a:pt x="13" y="285"/>
                  </a:lnTo>
                  <a:lnTo>
                    <a:pt x="14" y="287"/>
                  </a:lnTo>
                  <a:lnTo>
                    <a:pt x="16" y="287"/>
                  </a:lnTo>
                  <a:lnTo>
                    <a:pt x="16" y="289"/>
                  </a:lnTo>
                  <a:lnTo>
                    <a:pt x="14" y="289"/>
                  </a:lnTo>
                  <a:lnTo>
                    <a:pt x="13" y="289"/>
                  </a:lnTo>
                  <a:lnTo>
                    <a:pt x="12" y="290"/>
                  </a:lnTo>
                  <a:lnTo>
                    <a:pt x="12" y="292"/>
                  </a:lnTo>
                  <a:lnTo>
                    <a:pt x="13" y="293"/>
                  </a:lnTo>
                  <a:lnTo>
                    <a:pt x="15" y="295"/>
                  </a:lnTo>
                  <a:lnTo>
                    <a:pt x="15" y="297"/>
                  </a:lnTo>
                  <a:lnTo>
                    <a:pt x="14" y="299"/>
                  </a:lnTo>
                  <a:lnTo>
                    <a:pt x="14" y="302"/>
                  </a:lnTo>
                  <a:lnTo>
                    <a:pt x="14" y="303"/>
                  </a:lnTo>
                  <a:lnTo>
                    <a:pt x="14" y="305"/>
                  </a:lnTo>
                  <a:lnTo>
                    <a:pt x="13" y="306"/>
                  </a:lnTo>
                  <a:lnTo>
                    <a:pt x="13" y="307"/>
                  </a:lnTo>
                  <a:lnTo>
                    <a:pt x="14" y="308"/>
                  </a:lnTo>
                  <a:lnTo>
                    <a:pt x="14" y="309"/>
                  </a:lnTo>
                  <a:lnTo>
                    <a:pt x="14" y="310"/>
                  </a:lnTo>
                  <a:lnTo>
                    <a:pt x="14" y="312"/>
                  </a:lnTo>
                  <a:lnTo>
                    <a:pt x="15" y="313"/>
                  </a:lnTo>
                  <a:lnTo>
                    <a:pt x="16" y="314"/>
                  </a:lnTo>
                  <a:lnTo>
                    <a:pt x="15" y="316"/>
                  </a:lnTo>
                  <a:lnTo>
                    <a:pt x="15" y="319"/>
                  </a:lnTo>
                  <a:lnTo>
                    <a:pt x="16" y="321"/>
                  </a:lnTo>
                  <a:lnTo>
                    <a:pt x="17" y="321"/>
                  </a:lnTo>
                  <a:lnTo>
                    <a:pt x="21" y="319"/>
                  </a:lnTo>
                  <a:lnTo>
                    <a:pt x="29" y="319"/>
                  </a:lnTo>
                  <a:lnTo>
                    <a:pt x="32" y="320"/>
                  </a:lnTo>
                  <a:lnTo>
                    <a:pt x="35" y="321"/>
                  </a:lnTo>
                  <a:lnTo>
                    <a:pt x="22" y="322"/>
                  </a:lnTo>
                  <a:lnTo>
                    <a:pt x="18" y="325"/>
                  </a:lnTo>
                  <a:lnTo>
                    <a:pt x="21" y="330"/>
                  </a:lnTo>
                  <a:lnTo>
                    <a:pt x="21" y="331"/>
                  </a:lnTo>
                  <a:lnTo>
                    <a:pt x="20" y="333"/>
                  </a:lnTo>
                  <a:lnTo>
                    <a:pt x="19" y="335"/>
                  </a:lnTo>
                  <a:lnTo>
                    <a:pt x="23" y="336"/>
                  </a:lnTo>
                  <a:lnTo>
                    <a:pt x="25" y="337"/>
                  </a:lnTo>
                  <a:lnTo>
                    <a:pt x="27" y="340"/>
                  </a:lnTo>
                  <a:lnTo>
                    <a:pt x="28" y="341"/>
                  </a:lnTo>
                  <a:lnTo>
                    <a:pt x="37" y="352"/>
                  </a:lnTo>
                  <a:lnTo>
                    <a:pt x="43" y="359"/>
                  </a:lnTo>
                  <a:lnTo>
                    <a:pt x="47" y="368"/>
                  </a:lnTo>
                  <a:lnTo>
                    <a:pt x="48" y="370"/>
                  </a:lnTo>
                  <a:lnTo>
                    <a:pt x="48" y="371"/>
                  </a:lnTo>
                  <a:lnTo>
                    <a:pt x="47" y="373"/>
                  </a:lnTo>
                  <a:lnTo>
                    <a:pt x="46" y="373"/>
                  </a:lnTo>
                  <a:lnTo>
                    <a:pt x="46" y="375"/>
                  </a:lnTo>
                  <a:lnTo>
                    <a:pt x="48" y="377"/>
                  </a:lnTo>
                  <a:lnTo>
                    <a:pt x="50" y="377"/>
                  </a:lnTo>
                  <a:lnTo>
                    <a:pt x="54" y="376"/>
                  </a:lnTo>
                  <a:lnTo>
                    <a:pt x="52" y="380"/>
                  </a:lnTo>
                  <a:lnTo>
                    <a:pt x="50" y="381"/>
                  </a:lnTo>
                  <a:lnTo>
                    <a:pt x="48" y="380"/>
                  </a:lnTo>
                  <a:lnTo>
                    <a:pt x="46" y="378"/>
                  </a:lnTo>
                  <a:lnTo>
                    <a:pt x="45" y="379"/>
                  </a:lnTo>
                  <a:lnTo>
                    <a:pt x="47" y="381"/>
                  </a:lnTo>
                  <a:lnTo>
                    <a:pt x="50" y="383"/>
                  </a:lnTo>
                  <a:lnTo>
                    <a:pt x="52" y="384"/>
                  </a:lnTo>
                  <a:lnTo>
                    <a:pt x="54" y="384"/>
                  </a:lnTo>
                  <a:lnTo>
                    <a:pt x="55" y="386"/>
                  </a:lnTo>
                  <a:lnTo>
                    <a:pt x="54" y="387"/>
                  </a:lnTo>
                  <a:lnTo>
                    <a:pt x="54" y="387"/>
                  </a:lnTo>
                  <a:lnTo>
                    <a:pt x="56" y="387"/>
                  </a:lnTo>
                  <a:lnTo>
                    <a:pt x="56" y="387"/>
                  </a:lnTo>
                  <a:lnTo>
                    <a:pt x="56" y="388"/>
                  </a:lnTo>
                  <a:lnTo>
                    <a:pt x="55" y="389"/>
                  </a:lnTo>
                  <a:lnTo>
                    <a:pt x="55" y="390"/>
                  </a:lnTo>
                  <a:lnTo>
                    <a:pt x="57" y="390"/>
                  </a:lnTo>
                  <a:lnTo>
                    <a:pt x="62" y="392"/>
                  </a:lnTo>
                  <a:lnTo>
                    <a:pt x="62" y="393"/>
                  </a:lnTo>
                  <a:lnTo>
                    <a:pt x="63" y="396"/>
                  </a:lnTo>
                  <a:lnTo>
                    <a:pt x="63" y="400"/>
                  </a:lnTo>
                  <a:lnTo>
                    <a:pt x="63" y="402"/>
                  </a:lnTo>
                  <a:lnTo>
                    <a:pt x="66" y="401"/>
                  </a:lnTo>
                  <a:lnTo>
                    <a:pt x="65" y="400"/>
                  </a:lnTo>
                  <a:lnTo>
                    <a:pt x="64" y="396"/>
                  </a:lnTo>
                  <a:lnTo>
                    <a:pt x="65" y="394"/>
                  </a:lnTo>
                  <a:lnTo>
                    <a:pt x="64" y="392"/>
                  </a:lnTo>
                  <a:lnTo>
                    <a:pt x="62" y="391"/>
                  </a:lnTo>
                  <a:lnTo>
                    <a:pt x="60" y="390"/>
                  </a:lnTo>
                  <a:lnTo>
                    <a:pt x="62" y="388"/>
                  </a:lnTo>
                  <a:lnTo>
                    <a:pt x="63" y="390"/>
                  </a:lnTo>
                  <a:lnTo>
                    <a:pt x="65" y="389"/>
                  </a:lnTo>
                  <a:lnTo>
                    <a:pt x="66" y="390"/>
                  </a:lnTo>
                  <a:lnTo>
                    <a:pt x="67" y="393"/>
                  </a:lnTo>
                  <a:lnTo>
                    <a:pt x="68" y="392"/>
                  </a:lnTo>
                  <a:lnTo>
                    <a:pt x="68" y="392"/>
                  </a:lnTo>
                  <a:lnTo>
                    <a:pt x="68" y="391"/>
                  </a:lnTo>
                  <a:lnTo>
                    <a:pt x="70" y="393"/>
                  </a:lnTo>
                  <a:lnTo>
                    <a:pt x="73" y="393"/>
                  </a:lnTo>
                  <a:lnTo>
                    <a:pt x="79" y="393"/>
                  </a:lnTo>
                  <a:lnTo>
                    <a:pt x="78" y="391"/>
                  </a:lnTo>
                  <a:lnTo>
                    <a:pt x="77" y="390"/>
                  </a:lnTo>
                  <a:lnTo>
                    <a:pt x="76" y="390"/>
                  </a:lnTo>
                  <a:lnTo>
                    <a:pt x="75" y="390"/>
                  </a:lnTo>
                  <a:lnTo>
                    <a:pt x="75" y="388"/>
                  </a:lnTo>
                  <a:lnTo>
                    <a:pt x="75" y="387"/>
                  </a:lnTo>
                  <a:lnTo>
                    <a:pt x="75" y="387"/>
                  </a:lnTo>
                  <a:lnTo>
                    <a:pt x="75" y="386"/>
                  </a:lnTo>
                  <a:lnTo>
                    <a:pt x="76" y="383"/>
                  </a:lnTo>
                  <a:lnTo>
                    <a:pt x="77" y="381"/>
                  </a:lnTo>
                  <a:lnTo>
                    <a:pt x="78" y="381"/>
                  </a:lnTo>
                  <a:lnTo>
                    <a:pt x="78" y="379"/>
                  </a:lnTo>
                  <a:lnTo>
                    <a:pt x="77" y="379"/>
                  </a:lnTo>
                  <a:lnTo>
                    <a:pt x="77" y="378"/>
                  </a:lnTo>
                  <a:lnTo>
                    <a:pt x="78" y="378"/>
                  </a:lnTo>
                  <a:lnTo>
                    <a:pt x="77" y="375"/>
                  </a:lnTo>
                  <a:lnTo>
                    <a:pt x="76" y="374"/>
                  </a:lnTo>
                  <a:lnTo>
                    <a:pt x="75" y="373"/>
                  </a:lnTo>
                  <a:lnTo>
                    <a:pt x="77" y="373"/>
                  </a:lnTo>
                  <a:lnTo>
                    <a:pt x="81" y="372"/>
                  </a:lnTo>
                  <a:lnTo>
                    <a:pt x="82" y="373"/>
                  </a:lnTo>
                  <a:lnTo>
                    <a:pt x="82" y="372"/>
                  </a:lnTo>
                  <a:lnTo>
                    <a:pt x="82" y="372"/>
                  </a:lnTo>
                  <a:lnTo>
                    <a:pt x="82" y="372"/>
                  </a:lnTo>
                  <a:lnTo>
                    <a:pt x="83" y="372"/>
                  </a:lnTo>
                  <a:lnTo>
                    <a:pt x="83" y="370"/>
                  </a:lnTo>
                  <a:lnTo>
                    <a:pt x="82" y="369"/>
                  </a:lnTo>
                  <a:lnTo>
                    <a:pt x="82" y="368"/>
                  </a:lnTo>
                  <a:lnTo>
                    <a:pt x="83" y="368"/>
                  </a:lnTo>
                  <a:lnTo>
                    <a:pt x="84" y="369"/>
                  </a:lnTo>
                  <a:lnTo>
                    <a:pt x="85" y="366"/>
                  </a:lnTo>
                  <a:lnTo>
                    <a:pt x="85" y="364"/>
                  </a:lnTo>
                  <a:lnTo>
                    <a:pt x="85" y="362"/>
                  </a:lnTo>
                  <a:lnTo>
                    <a:pt x="84" y="361"/>
                  </a:lnTo>
                  <a:lnTo>
                    <a:pt x="85" y="361"/>
                  </a:lnTo>
                  <a:lnTo>
                    <a:pt x="86" y="362"/>
                  </a:lnTo>
                  <a:lnTo>
                    <a:pt x="87" y="361"/>
                  </a:lnTo>
                  <a:lnTo>
                    <a:pt x="89" y="356"/>
                  </a:lnTo>
                  <a:lnTo>
                    <a:pt x="91" y="355"/>
                  </a:lnTo>
                  <a:lnTo>
                    <a:pt x="90" y="353"/>
                  </a:lnTo>
                  <a:lnTo>
                    <a:pt x="89" y="352"/>
                  </a:lnTo>
                  <a:lnTo>
                    <a:pt x="88" y="352"/>
                  </a:lnTo>
                  <a:lnTo>
                    <a:pt x="86" y="351"/>
                  </a:lnTo>
                  <a:lnTo>
                    <a:pt x="85" y="349"/>
                  </a:lnTo>
                  <a:lnTo>
                    <a:pt x="86" y="345"/>
                  </a:lnTo>
                  <a:lnTo>
                    <a:pt x="85" y="342"/>
                  </a:lnTo>
                  <a:lnTo>
                    <a:pt x="87" y="343"/>
                  </a:lnTo>
                  <a:lnTo>
                    <a:pt x="87" y="344"/>
                  </a:lnTo>
                  <a:lnTo>
                    <a:pt x="87" y="345"/>
                  </a:lnTo>
                  <a:lnTo>
                    <a:pt x="87" y="347"/>
                  </a:lnTo>
                  <a:lnTo>
                    <a:pt x="91" y="350"/>
                  </a:lnTo>
                  <a:lnTo>
                    <a:pt x="92" y="354"/>
                  </a:lnTo>
                  <a:lnTo>
                    <a:pt x="91" y="356"/>
                  </a:lnTo>
                  <a:lnTo>
                    <a:pt x="90" y="358"/>
                  </a:lnTo>
                  <a:lnTo>
                    <a:pt x="90" y="362"/>
                  </a:lnTo>
                  <a:lnTo>
                    <a:pt x="91" y="362"/>
                  </a:lnTo>
                  <a:lnTo>
                    <a:pt x="92" y="361"/>
                  </a:lnTo>
                  <a:lnTo>
                    <a:pt x="93" y="359"/>
                  </a:lnTo>
                  <a:lnTo>
                    <a:pt x="95" y="357"/>
                  </a:lnTo>
                  <a:lnTo>
                    <a:pt x="97" y="356"/>
                  </a:lnTo>
                  <a:lnTo>
                    <a:pt x="99" y="357"/>
                  </a:lnTo>
                  <a:lnTo>
                    <a:pt x="100" y="357"/>
                  </a:lnTo>
                  <a:lnTo>
                    <a:pt x="101" y="358"/>
                  </a:lnTo>
                  <a:lnTo>
                    <a:pt x="103" y="356"/>
                  </a:lnTo>
                  <a:lnTo>
                    <a:pt x="105" y="352"/>
                  </a:lnTo>
                  <a:lnTo>
                    <a:pt x="105" y="347"/>
                  </a:lnTo>
                  <a:lnTo>
                    <a:pt x="104" y="342"/>
                  </a:lnTo>
                  <a:lnTo>
                    <a:pt x="102" y="339"/>
                  </a:lnTo>
                  <a:lnTo>
                    <a:pt x="102" y="338"/>
                  </a:lnTo>
                  <a:lnTo>
                    <a:pt x="102" y="338"/>
                  </a:lnTo>
                  <a:lnTo>
                    <a:pt x="103" y="339"/>
                  </a:lnTo>
                  <a:lnTo>
                    <a:pt x="104" y="339"/>
                  </a:lnTo>
                  <a:lnTo>
                    <a:pt x="103" y="335"/>
                  </a:lnTo>
                  <a:lnTo>
                    <a:pt x="103" y="334"/>
                  </a:lnTo>
                  <a:lnTo>
                    <a:pt x="104" y="332"/>
                  </a:lnTo>
                  <a:lnTo>
                    <a:pt x="105" y="333"/>
                  </a:lnTo>
                  <a:lnTo>
                    <a:pt x="107" y="331"/>
                  </a:lnTo>
                  <a:lnTo>
                    <a:pt x="110" y="327"/>
                  </a:lnTo>
                  <a:lnTo>
                    <a:pt x="110" y="324"/>
                  </a:lnTo>
                  <a:lnTo>
                    <a:pt x="107" y="321"/>
                  </a:lnTo>
                  <a:lnTo>
                    <a:pt x="112" y="323"/>
                  </a:lnTo>
                  <a:lnTo>
                    <a:pt x="116" y="318"/>
                  </a:lnTo>
                  <a:lnTo>
                    <a:pt x="116" y="317"/>
                  </a:lnTo>
                  <a:lnTo>
                    <a:pt x="116" y="317"/>
                  </a:lnTo>
                  <a:lnTo>
                    <a:pt x="118" y="309"/>
                  </a:lnTo>
                  <a:lnTo>
                    <a:pt x="120" y="294"/>
                  </a:lnTo>
                  <a:lnTo>
                    <a:pt x="122" y="286"/>
                  </a:lnTo>
                  <a:lnTo>
                    <a:pt x="125" y="279"/>
                  </a:lnTo>
                  <a:lnTo>
                    <a:pt x="128" y="274"/>
                  </a:lnTo>
                  <a:lnTo>
                    <a:pt x="131" y="272"/>
                  </a:lnTo>
                  <a:lnTo>
                    <a:pt x="134" y="272"/>
                  </a:lnTo>
                  <a:lnTo>
                    <a:pt x="137" y="274"/>
                  </a:lnTo>
                  <a:lnTo>
                    <a:pt x="143" y="275"/>
                  </a:lnTo>
                  <a:lnTo>
                    <a:pt x="160" y="284"/>
                  </a:lnTo>
                  <a:lnTo>
                    <a:pt x="162" y="287"/>
                  </a:lnTo>
                  <a:lnTo>
                    <a:pt x="164" y="288"/>
                  </a:lnTo>
                  <a:lnTo>
                    <a:pt x="165" y="288"/>
                  </a:lnTo>
                  <a:lnTo>
                    <a:pt x="166" y="287"/>
                  </a:lnTo>
                  <a:lnTo>
                    <a:pt x="167" y="285"/>
                  </a:lnTo>
                  <a:lnTo>
                    <a:pt x="167" y="284"/>
                  </a:lnTo>
                  <a:lnTo>
                    <a:pt x="164" y="281"/>
                  </a:lnTo>
                  <a:lnTo>
                    <a:pt x="169" y="285"/>
                  </a:lnTo>
                  <a:lnTo>
                    <a:pt x="171" y="287"/>
                  </a:lnTo>
                  <a:lnTo>
                    <a:pt x="169" y="289"/>
                  </a:lnTo>
                  <a:lnTo>
                    <a:pt x="170" y="293"/>
                  </a:lnTo>
                  <a:lnTo>
                    <a:pt x="173" y="295"/>
                  </a:lnTo>
                  <a:lnTo>
                    <a:pt x="175" y="297"/>
                  </a:lnTo>
                  <a:lnTo>
                    <a:pt x="183" y="307"/>
                  </a:lnTo>
                  <a:lnTo>
                    <a:pt x="200" y="321"/>
                  </a:lnTo>
                  <a:lnTo>
                    <a:pt x="210" y="326"/>
                  </a:lnTo>
                  <a:lnTo>
                    <a:pt x="213" y="327"/>
                  </a:lnTo>
                  <a:lnTo>
                    <a:pt x="214" y="330"/>
                  </a:lnTo>
                  <a:lnTo>
                    <a:pt x="215" y="334"/>
                  </a:lnTo>
                  <a:lnTo>
                    <a:pt x="224" y="355"/>
                  </a:lnTo>
                  <a:lnTo>
                    <a:pt x="225" y="361"/>
                  </a:lnTo>
                  <a:lnTo>
                    <a:pt x="224" y="365"/>
                  </a:lnTo>
                  <a:lnTo>
                    <a:pt x="223" y="368"/>
                  </a:lnTo>
                  <a:lnTo>
                    <a:pt x="219" y="382"/>
                  </a:lnTo>
                  <a:lnTo>
                    <a:pt x="219" y="386"/>
                  </a:lnTo>
                  <a:lnTo>
                    <a:pt x="219" y="398"/>
                  </a:lnTo>
                  <a:lnTo>
                    <a:pt x="220" y="403"/>
                  </a:lnTo>
                  <a:lnTo>
                    <a:pt x="221" y="407"/>
                  </a:lnTo>
                  <a:lnTo>
                    <a:pt x="221" y="410"/>
                  </a:lnTo>
                  <a:lnTo>
                    <a:pt x="219" y="413"/>
                  </a:lnTo>
                  <a:lnTo>
                    <a:pt x="222" y="420"/>
                  </a:lnTo>
                  <a:lnTo>
                    <a:pt x="238" y="445"/>
                  </a:lnTo>
                  <a:lnTo>
                    <a:pt x="239" y="447"/>
                  </a:lnTo>
                  <a:lnTo>
                    <a:pt x="240" y="447"/>
                  </a:lnTo>
                  <a:lnTo>
                    <a:pt x="245" y="451"/>
                  </a:lnTo>
                  <a:lnTo>
                    <a:pt x="246" y="453"/>
                  </a:lnTo>
                  <a:lnTo>
                    <a:pt x="250" y="454"/>
                  </a:lnTo>
                  <a:lnTo>
                    <a:pt x="255" y="459"/>
                  </a:lnTo>
                  <a:lnTo>
                    <a:pt x="262" y="470"/>
                  </a:lnTo>
                  <a:lnTo>
                    <a:pt x="284" y="493"/>
                  </a:lnTo>
                  <a:lnTo>
                    <a:pt x="287" y="495"/>
                  </a:lnTo>
                  <a:lnTo>
                    <a:pt x="302" y="502"/>
                  </a:lnTo>
                  <a:lnTo>
                    <a:pt x="303" y="503"/>
                  </a:lnTo>
                  <a:lnTo>
                    <a:pt x="308" y="509"/>
                  </a:lnTo>
                  <a:lnTo>
                    <a:pt x="309" y="510"/>
                  </a:lnTo>
                  <a:lnTo>
                    <a:pt x="319" y="512"/>
                  </a:lnTo>
                  <a:lnTo>
                    <a:pt x="321" y="513"/>
                  </a:lnTo>
                  <a:lnTo>
                    <a:pt x="321" y="516"/>
                  </a:lnTo>
                  <a:lnTo>
                    <a:pt x="318" y="516"/>
                  </a:lnTo>
                  <a:lnTo>
                    <a:pt x="305" y="514"/>
                  </a:lnTo>
                  <a:lnTo>
                    <a:pt x="302" y="513"/>
                  </a:lnTo>
                  <a:lnTo>
                    <a:pt x="291" y="507"/>
                  </a:lnTo>
                  <a:lnTo>
                    <a:pt x="287" y="505"/>
                  </a:lnTo>
                  <a:lnTo>
                    <a:pt x="282" y="501"/>
                  </a:lnTo>
                  <a:lnTo>
                    <a:pt x="279" y="500"/>
                  </a:lnTo>
                  <a:lnTo>
                    <a:pt x="280" y="502"/>
                  </a:lnTo>
                  <a:lnTo>
                    <a:pt x="282" y="505"/>
                  </a:lnTo>
                  <a:lnTo>
                    <a:pt x="284" y="506"/>
                  </a:lnTo>
                  <a:lnTo>
                    <a:pt x="286" y="507"/>
                  </a:lnTo>
                  <a:lnTo>
                    <a:pt x="285" y="508"/>
                  </a:lnTo>
                  <a:lnTo>
                    <a:pt x="284" y="509"/>
                  </a:lnTo>
                  <a:lnTo>
                    <a:pt x="284" y="510"/>
                  </a:lnTo>
                  <a:lnTo>
                    <a:pt x="282" y="510"/>
                  </a:lnTo>
                  <a:lnTo>
                    <a:pt x="285" y="518"/>
                  </a:lnTo>
                  <a:lnTo>
                    <a:pt x="282" y="518"/>
                  </a:lnTo>
                  <a:lnTo>
                    <a:pt x="280" y="516"/>
                  </a:lnTo>
                  <a:lnTo>
                    <a:pt x="277" y="512"/>
                  </a:lnTo>
                  <a:lnTo>
                    <a:pt x="269" y="507"/>
                  </a:lnTo>
                  <a:lnTo>
                    <a:pt x="270" y="508"/>
                  </a:lnTo>
                  <a:lnTo>
                    <a:pt x="270" y="510"/>
                  </a:lnTo>
                  <a:lnTo>
                    <a:pt x="269" y="510"/>
                  </a:lnTo>
                  <a:lnTo>
                    <a:pt x="268" y="509"/>
                  </a:lnTo>
                  <a:lnTo>
                    <a:pt x="268" y="509"/>
                  </a:lnTo>
                  <a:lnTo>
                    <a:pt x="268" y="510"/>
                  </a:lnTo>
                  <a:lnTo>
                    <a:pt x="267" y="510"/>
                  </a:lnTo>
                  <a:lnTo>
                    <a:pt x="271" y="513"/>
                  </a:lnTo>
                  <a:lnTo>
                    <a:pt x="269" y="516"/>
                  </a:lnTo>
                  <a:lnTo>
                    <a:pt x="266" y="518"/>
                  </a:lnTo>
                  <a:lnTo>
                    <a:pt x="264" y="515"/>
                  </a:lnTo>
                  <a:lnTo>
                    <a:pt x="263" y="511"/>
                  </a:lnTo>
                  <a:lnTo>
                    <a:pt x="260" y="511"/>
                  </a:lnTo>
                  <a:lnTo>
                    <a:pt x="257" y="513"/>
                  </a:lnTo>
                  <a:lnTo>
                    <a:pt x="255" y="515"/>
                  </a:lnTo>
                  <a:lnTo>
                    <a:pt x="258" y="517"/>
                  </a:lnTo>
                  <a:lnTo>
                    <a:pt x="262" y="521"/>
                  </a:lnTo>
                  <a:lnTo>
                    <a:pt x="263" y="526"/>
                  </a:lnTo>
                  <a:lnTo>
                    <a:pt x="261" y="530"/>
                  </a:lnTo>
                  <a:lnTo>
                    <a:pt x="269" y="538"/>
                  </a:lnTo>
                  <a:lnTo>
                    <a:pt x="272" y="540"/>
                  </a:lnTo>
                  <a:lnTo>
                    <a:pt x="271" y="542"/>
                  </a:lnTo>
                  <a:lnTo>
                    <a:pt x="272" y="544"/>
                  </a:lnTo>
                  <a:lnTo>
                    <a:pt x="273" y="545"/>
                  </a:lnTo>
                  <a:lnTo>
                    <a:pt x="275" y="547"/>
                  </a:lnTo>
                  <a:lnTo>
                    <a:pt x="282" y="554"/>
                  </a:lnTo>
                  <a:lnTo>
                    <a:pt x="282" y="555"/>
                  </a:lnTo>
                  <a:lnTo>
                    <a:pt x="288" y="563"/>
                  </a:lnTo>
                  <a:lnTo>
                    <a:pt x="291" y="564"/>
                  </a:lnTo>
                  <a:lnTo>
                    <a:pt x="295" y="567"/>
                  </a:lnTo>
                  <a:lnTo>
                    <a:pt x="299" y="574"/>
                  </a:lnTo>
                  <a:lnTo>
                    <a:pt x="307" y="584"/>
                  </a:lnTo>
                  <a:lnTo>
                    <a:pt x="308" y="586"/>
                  </a:lnTo>
                  <a:lnTo>
                    <a:pt x="309" y="587"/>
                  </a:lnTo>
                  <a:lnTo>
                    <a:pt x="310" y="589"/>
                  </a:lnTo>
                  <a:lnTo>
                    <a:pt x="311" y="590"/>
                  </a:lnTo>
                  <a:lnTo>
                    <a:pt x="313" y="591"/>
                  </a:lnTo>
                  <a:lnTo>
                    <a:pt x="314" y="591"/>
                  </a:lnTo>
                  <a:lnTo>
                    <a:pt x="317" y="591"/>
                  </a:lnTo>
                  <a:lnTo>
                    <a:pt x="319" y="593"/>
                  </a:lnTo>
                  <a:lnTo>
                    <a:pt x="321" y="595"/>
                  </a:lnTo>
                  <a:lnTo>
                    <a:pt x="324" y="600"/>
                  </a:lnTo>
                  <a:lnTo>
                    <a:pt x="325" y="600"/>
                  </a:lnTo>
                  <a:lnTo>
                    <a:pt x="329" y="604"/>
                  </a:lnTo>
                  <a:lnTo>
                    <a:pt x="339" y="609"/>
                  </a:lnTo>
                  <a:lnTo>
                    <a:pt x="343" y="613"/>
                  </a:lnTo>
                  <a:lnTo>
                    <a:pt x="344" y="613"/>
                  </a:lnTo>
                  <a:lnTo>
                    <a:pt x="344" y="612"/>
                  </a:lnTo>
                  <a:lnTo>
                    <a:pt x="345" y="612"/>
                  </a:lnTo>
                  <a:lnTo>
                    <a:pt x="345" y="613"/>
                  </a:lnTo>
                  <a:lnTo>
                    <a:pt x="345" y="614"/>
                  </a:lnTo>
                  <a:lnTo>
                    <a:pt x="343" y="614"/>
                  </a:lnTo>
                  <a:lnTo>
                    <a:pt x="340" y="613"/>
                  </a:lnTo>
                  <a:lnTo>
                    <a:pt x="335" y="611"/>
                  </a:lnTo>
                  <a:lnTo>
                    <a:pt x="338" y="615"/>
                  </a:lnTo>
                  <a:lnTo>
                    <a:pt x="342" y="616"/>
                  </a:lnTo>
                  <a:lnTo>
                    <a:pt x="346" y="618"/>
                  </a:lnTo>
                  <a:lnTo>
                    <a:pt x="348" y="622"/>
                  </a:lnTo>
                  <a:lnTo>
                    <a:pt x="350" y="625"/>
                  </a:lnTo>
                  <a:lnTo>
                    <a:pt x="360" y="626"/>
                  </a:lnTo>
                  <a:lnTo>
                    <a:pt x="363" y="627"/>
                  </a:lnTo>
                  <a:lnTo>
                    <a:pt x="365" y="629"/>
                  </a:lnTo>
                  <a:lnTo>
                    <a:pt x="372" y="632"/>
                  </a:lnTo>
                  <a:lnTo>
                    <a:pt x="373" y="634"/>
                  </a:lnTo>
                  <a:lnTo>
                    <a:pt x="375" y="637"/>
                  </a:lnTo>
                  <a:lnTo>
                    <a:pt x="376" y="638"/>
                  </a:lnTo>
                  <a:lnTo>
                    <a:pt x="377" y="639"/>
                  </a:lnTo>
                  <a:lnTo>
                    <a:pt x="378" y="639"/>
                  </a:lnTo>
                  <a:lnTo>
                    <a:pt x="379" y="639"/>
                  </a:lnTo>
                  <a:lnTo>
                    <a:pt x="382" y="641"/>
                  </a:lnTo>
                  <a:lnTo>
                    <a:pt x="385" y="644"/>
                  </a:lnTo>
                  <a:lnTo>
                    <a:pt x="387" y="644"/>
                  </a:lnTo>
                  <a:lnTo>
                    <a:pt x="387" y="640"/>
                  </a:lnTo>
                  <a:lnTo>
                    <a:pt x="389" y="641"/>
                  </a:lnTo>
                  <a:lnTo>
                    <a:pt x="389" y="643"/>
                  </a:lnTo>
                  <a:lnTo>
                    <a:pt x="388" y="645"/>
                  </a:lnTo>
                  <a:lnTo>
                    <a:pt x="386" y="646"/>
                  </a:lnTo>
                  <a:lnTo>
                    <a:pt x="387" y="647"/>
                  </a:lnTo>
                  <a:lnTo>
                    <a:pt x="389" y="648"/>
                  </a:lnTo>
                  <a:lnTo>
                    <a:pt x="389" y="650"/>
                  </a:lnTo>
                  <a:lnTo>
                    <a:pt x="387" y="650"/>
                  </a:lnTo>
                  <a:lnTo>
                    <a:pt x="386" y="650"/>
                  </a:lnTo>
                  <a:lnTo>
                    <a:pt x="385" y="649"/>
                  </a:lnTo>
                  <a:lnTo>
                    <a:pt x="383" y="649"/>
                  </a:lnTo>
                  <a:lnTo>
                    <a:pt x="381" y="650"/>
                  </a:lnTo>
                  <a:lnTo>
                    <a:pt x="384" y="650"/>
                  </a:lnTo>
                  <a:lnTo>
                    <a:pt x="391" y="652"/>
                  </a:lnTo>
                  <a:lnTo>
                    <a:pt x="391" y="653"/>
                  </a:lnTo>
                  <a:lnTo>
                    <a:pt x="385" y="653"/>
                  </a:lnTo>
                  <a:lnTo>
                    <a:pt x="384" y="655"/>
                  </a:lnTo>
                  <a:lnTo>
                    <a:pt x="384" y="658"/>
                  </a:lnTo>
                  <a:lnTo>
                    <a:pt x="383" y="659"/>
                  </a:lnTo>
                  <a:lnTo>
                    <a:pt x="384" y="661"/>
                  </a:lnTo>
                  <a:lnTo>
                    <a:pt x="383" y="662"/>
                  </a:lnTo>
                  <a:lnTo>
                    <a:pt x="384" y="662"/>
                  </a:lnTo>
                  <a:lnTo>
                    <a:pt x="386" y="664"/>
                  </a:lnTo>
                  <a:lnTo>
                    <a:pt x="385" y="664"/>
                  </a:lnTo>
                  <a:lnTo>
                    <a:pt x="384" y="665"/>
                  </a:lnTo>
                  <a:lnTo>
                    <a:pt x="383" y="665"/>
                  </a:lnTo>
                  <a:lnTo>
                    <a:pt x="383" y="667"/>
                  </a:lnTo>
                  <a:lnTo>
                    <a:pt x="386" y="667"/>
                  </a:lnTo>
                  <a:lnTo>
                    <a:pt x="388" y="668"/>
                  </a:lnTo>
                  <a:lnTo>
                    <a:pt x="387" y="669"/>
                  </a:lnTo>
                  <a:lnTo>
                    <a:pt x="384" y="670"/>
                  </a:lnTo>
                  <a:lnTo>
                    <a:pt x="388" y="671"/>
                  </a:lnTo>
                  <a:lnTo>
                    <a:pt x="389" y="672"/>
                  </a:lnTo>
                  <a:lnTo>
                    <a:pt x="390" y="674"/>
                  </a:lnTo>
                  <a:lnTo>
                    <a:pt x="391" y="673"/>
                  </a:lnTo>
                  <a:lnTo>
                    <a:pt x="392" y="673"/>
                  </a:lnTo>
                  <a:lnTo>
                    <a:pt x="394" y="673"/>
                  </a:lnTo>
                  <a:lnTo>
                    <a:pt x="394" y="674"/>
                  </a:lnTo>
                  <a:lnTo>
                    <a:pt x="394" y="675"/>
                  </a:lnTo>
                  <a:lnTo>
                    <a:pt x="394" y="677"/>
                  </a:lnTo>
                  <a:lnTo>
                    <a:pt x="394" y="678"/>
                  </a:lnTo>
                  <a:lnTo>
                    <a:pt x="392" y="679"/>
                  </a:lnTo>
                  <a:lnTo>
                    <a:pt x="391" y="679"/>
                  </a:lnTo>
                  <a:lnTo>
                    <a:pt x="390" y="679"/>
                  </a:lnTo>
                  <a:lnTo>
                    <a:pt x="390" y="682"/>
                  </a:lnTo>
                  <a:lnTo>
                    <a:pt x="391" y="682"/>
                  </a:lnTo>
                  <a:lnTo>
                    <a:pt x="391" y="681"/>
                  </a:lnTo>
                  <a:lnTo>
                    <a:pt x="391" y="680"/>
                  </a:lnTo>
                  <a:lnTo>
                    <a:pt x="391" y="680"/>
                  </a:lnTo>
                  <a:lnTo>
                    <a:pt x="392" y="682"/>
                  </a:lnTo>
                  <a:lnTo>
                    <a:pt x="396" y="682"/>
                  </a:lnTo>
                  <a:lnTo>
                    <a:pt x="398" y="683"/>
                  </a:lnTo>
                  <a:lnTo>
                    <a:pt x="398" y="682"/>
                  </a:lnTo>
                  <a:lnTo>
                    <a:pt x="399" y="682"/>
                  </a:lnTo>
                  <a:lnTo>
                    <a:pt x="401" y="684"/>
                  </a:lnTo>
                  <a:lnTo>
                    <a:pt x="403" y="684"/>
                  </a:lnTo>
                  <a:lnTo>
                    <a:pt x="407" y="685"/>
                  </a:lnTo>
                  <a:lnTo>
                    <a:pt x="412" y="687"/>
                  </a:lnTo>
                  <a:lnTo>
                    <a:pt x="414" y="687"/>
                  </a:lnTo>
                  <a:lnTo>
                    <a:pt x="414" y="685"/>
                  </a:lnTo>
                  <a:lnTo>
                    <a:pt x="424" y="685"/>
                  </a:lnTo>
                  <a:lnTo>
                    <a:pt x="423" y="682"/>
                  </a:lnTo>
                  <a:lnTo>
                    <a:pt x="420" y="680"/>
                  </a:lnTo>
                  <a:lnTo>
                    <a:pt x="415" y="679"/>
                  </a:lnTo>
                  <a:lnTo>
                    <a:pt x="415" y="677"/>
                  </a:lnTo>
                  <a:lnTo>
                    <a:pt x="434" y="677"/>
                  </a:lnTo>
                  <a:lnTo>
                    <a:pt x="441" y="675"/>
                  </a:lnTo>
                  <a:lnTo>
                    <a:pt x="444" y="674"/>
                  </a:lnTo>
                  <a:lnTo>
                    <a:pt x="445" y="674"/>
                  </a:lnTo>
                  <a:lnTo>
                    <a:pt x="448" y="672"/>
                  </a:lnTo>
                  <a:lnTo>
                    <a:pt x="450" y="671"/>
                  </a:lnTo>
                  <a:lnTo>
                    <a:pt x="465" y="672"/>
                  </a:lnTo>
                  <a:lnTo>
                    <a:pt x="469" y="673"/>
                  </a:lnTo>
                  <a:lnTo>
                    <a:pt x="472" y="674"/>
                  </a:lnTo>
                  <a:lnTo>
                    <a:pt x="469" y="676"/>
                  </a:lnTo>
                  <a:lnTo>
                    <a:pt x="465" y="678"/>
                  </a:lnTo>
                  <a:lnTo>
                    <a:pt x="462" y="679"/>
                  </a:lnTo>
                  <a:lnTo>
                    <a:pt x="458" y="679"/>
                  </a:lnTo>
                  <a:lnTo>
                    <a:pt x="458" y="680"/>
                  </a:lnTo>
                  <a:lnTo>
                    <a:pt x="470" y="680"/>
                  </a:lnTo>
                  <a:lnTo>
                    <a:pt x="477" y="682"/>
                  </a:lnTo>
                  <a:lnTo>
                    <a:pt x="477" y="681"/>
                  </a:lnTo>
                  <a:lnTo>
                    <a:pt x="479" y="680"/>
                  </a:lnTo>
                  <a:lnTo>
                    <a:pt x="480" y="680"/>
                  </a:lnTo>
                  <a:lnTo>
                    <a:pt x="481" y="681"/>
                  </a:lnTo>
                  <a:lnTo>
                    <a:pt x="481" y="682"/>
                  </a:lnTo>
                  <a:lnTo>
                    <a:pt x="481" y="683"/>
                  </a:lnTo>
                  <a:lnTo>
                    <a:pt x="481" y="683"/>
                  </a:lnTo>
                  <a:lnTo>
                    <a:pt x="496" y="694"/>
                  </a:lnTo>
                  <a:lnTo>
                    <a:pt x="506" y="696"/>
                  </a:lnTo>
                  <a:lnTo>
                    <a:pt x="516" y="700"/>
                  </a:lnTo>
                  <a:lnTo>
                    <a:pt x="536" y="703"/>
                  </a:lnTo>
                  <a:lnTo>
                    <a:pt x="537" y="704"/>
                  </a:lnTo>
                  <a:lnTo>
                    <a:pt x="539" y="705"/>
                  </a:lnTo>
                  <a:lnTo>
                    <a:pt x="540" y="707"/>
                  </a:lnTo>
                  <a:lnTo>
                    <a:pt x="545" y="710"/>
                  </a:lnTo>
                  <a:lnTo>
                    <a:pt x="560" y="729"/>
                  </a:lnTo>
                  <a:lnTo>
                    <a:pt x="560" y="730"/>
                  </a:lnTo>
                  <a:lnTo>
                    <a:pt x="562" y="730"/>
                  </a:lnTo>
                  <a:lnTo>
                    <a:pt x="563" y="731"/>
                  </a:lnTo>
                  <a:lnTo>
                    <a:pt x="563" y="732"/>
                  </a:lnTo>
                  <a:lnTo>
                    <a:pt x="564" y="734"/>
                  </a:lnTo>
                  <a:lnTo>
                    <a:pt x="564" y="735"/>
                  </a:lnTo>
                  <a:lnTo>
                    <a:pt x="566" y="738"/>
                  </a:lnTo>
                  <a:lnTo>
                    <a:pt x="567" y="739"/>
                  </a:lnTo>
                  <a:lnTo>
                    <a:pt x="568" y="740"/>
                  </a:lnTo>
                  <a:lnTo>
                    <a:pt x="570" y="740"/>
                  </a:lnTo>
                  <a:lnTo>
                    <a:pt x="571" y="741"/>
                  </a:lnTo>
                  <a:lnTo>
                    <a:pt x="572" y="742"/>
                  </a:lnTo>
                  <a:lnTo>
                    <a:pt x="573" y="745"/>
                  </a:lnTo>
                  <a:lnTo>
                    <a:pt x="574" y="746"/>
                  </a:lnTo>
                  <a:lnTo>
                    <a:pt x="577" y="747"/>
                  </a:lnTo>
                  <a:lnTo>
                    <a:pt x="582" y="752"/>
                  </a:lnTo>
                  <a:lnTo>
                    <a:pt x="605" y="763"/>
                  </a:lnTo>
                  <a:lnTo>
                    <a:pt x="614" y="775"/>
                  </a:lnTo>
                  <a:lnTo>
                    <a:pt x="619" y="780"/>
                  </a:lnTo>
                  <a:lnTo>
                    <a:pt x="623" y="777"/>
                  </a:lnTo>
                  <a:lnTo>
                    <a:pt x="623" y="778"/>
                  </a:lnTo>
                  <a:lnTo>
                    <a:pt x="624" y="780"/>
                  </a:lnTo>
                  <a:lnTo>
                    <a:pt x="623" y="782"/>
                  </a:lnTo>
                  <a:lnTo>
                    <a:pt x="624" y="783"/>
                  </a:lnTo>
                  <a:lnTo>
                    <a:pt x="625" y="784"/>
                  </a:lnTo>
                  <a:lnTo>
                    <a:pt x="627" y="784"/>
                  </a:lnTo>
                  <a:lnTo>
                    <a:pt x="628" y="784"/>
                  </a:lnTo>
                  <a:lnTo>
                    <a:pt x="625" y="787"/>
                  </a:lnTo>
                  <a:lnTo>
                    <a:pt x="624" y="787"/>
                  </a:lnTo>
                  <a:lnTo>
                    <a:pt x="627" y="786"/>
                  </a:lnTo>
                  <a:lnTo>
                    <a:pt x="630" y="785"/>
                  </a:lnTo>
                  <a:lnTo>
                    <a:pt x="633" y="783"/>
                  </a:lnTo>
                  <a:lnTo>
                    <a:pt x="635" y="784"/>
                  </a:lnTo>
                  <a:lnTo>
                    <a:pt x="631" y="786"/>
                  </a:lnTo>
                  <a:lnTo>
                    <a:pt x="630" y="788"/>
                  </a:lnTo>
                  <a:lnTo>
                    <a:pt x="630" y="791"/>
                  </a:lnTo>
                  <a:lnTo>
                    <a:pt x="633" y="795"/>
                  </a:lnTo>
                  <a:lnTo>
                    <a:pt x="634" y="797"/>
                  </a:lnTo>
                  <a:lnTo>
                    <a:pt x="637" y="800"/>
                  </a:lnTo>
                  <a:lnTo>
                    <a:pt x="640" y="802"/>
                  </a:lnTo>
                  <a:lnTo>
                    <a:pt x="642" y="801"/>
                  </a:lnTo>
                  <a:lnTo>
                    <a:pt x="647" y="804"/>
                  </a:lnTo>
                  <a:lnTo>
                    <a:pt x="647" y="804"/>
                  </a:lnTo>
                  <a:lnTo>
                    <a:pt x="647" y="804"/>
                  </a:lnTo>
                  <a:lnTo>
                    <a:pt x="656" y="802"/>
                  </a:lnTo>
                  <a:lnTo>
                    <a:pt x="660" y="798"/>
                  </a:lnTo>
                  <a:lnTo>
                    <a:pt x="660" y="792"/>
                  </a:lnTo>
                  <a:lnTo>
                    <a:pt x="660" y="792"/>
                  </a:lnTo>
                  <a:lnTo>
                    <a:pt x="660" y="792"/>
                  </a:lnTo>
                  <a:lnTo>
                    <a:pt x="660" y="792"/>
                  </a:lnTo>
                  <a:lnTo>
                    <a:pt x="655" y="781"/>
                  </a:lnTo>
                  <a:lnTo>
                    <a:pt x="650" y="775"/>
                  </a:lnTo>
                  <a:lnTo>
                    <a:pt x="648" y="773"/>
                  </a:lnTo>
                  <a:lnTo>
                    <a:pt x="627" y="759"/>
                  </a:lnTo>
                  <a:lnTo>
                    <a:pt x="625" y="758"/>
                  </a:lnTo>
                  <a:lnTo>
                    <a:pt x="623" y="755"/>
                  </a:lnTo>
                  <a:lnTo>
                    <a:pt x="621" y="751"/>
                  </a:lnTo>
                  <a:lnTo>
                    <a:pt x="620" y="747"/>
                  </a:lnTo>
                  <a:lnTo>
                    <a:pt x="619" y="744"/>
                  </a:lnTo>
                  <a:lnTo>
                    <a:pt x="617" y="743"/>
                  </a:lnTo>
                  <a:lnTo>
                    <a:pt x="614" y="741"/>
                  </a:lnTo>
                  <a:lnTo>
                    <a:pt x="607" y="735"/>
                  </a:lnTo>
                  <a:lnTo>
                    <a:pt x="601" y="725"/>
                  </a:lnTo>
                  <a:lnTo>
                    <a:pt x="598" y="714"/>
                  </a:lnTo>
                  <a:lnTo>
                    <a:pt x="600" y="696"/>
                  </a:lnTo>
                  <a:lnTo>
                    <a:pt x="598" y="690"/>
                  </a:lnTo>
                  <a:lnTo>
                    <a:pt x="593" y="687"/>
                  </a:lnTo>
                  <a:lnTo>
                    <a:pt x="578" y="685"/>
                  </a:lnTo>
                  <a:lnTo>
                    <a:pt x="569" y="680"/>
                  </a:lnTo>
                  <a:lnTo>
                    <a:pt x="565" y="676"/>
                  </a:lnTo>
                  <a:lnTo>
                    <a:pt x="560" y="672"/>
                  </a:lnTo>
                  <a:lnTo>
                    <a:pt x="552" y="663"/>
                  </a:lnTo>
                  <a:lnTo>
                    <a:pt x="527" y="637"/>
                  </a:lnTo>
                  <a:lnTo>
                    <a:pt x="510" y="623"/>
                  </a:lnTo>
                  <a:lnTo>
                    <a:pt x="507" y="620"/>
                  </a:lnTo>
                  <a:lnTo>
                    <a:pt x="506" y="615"/>
                  </a:lnTo>
                  <a:lnTo>
                    <a:pt x="505" y="611"/>
                  </a:lnTo>
                  <a:lnTo>
                    <a:pt x="504" y="608"/>
                  </a:lnTo>
                  <a:lnTo>
                    <a:pt x="497" y="602"/>
                  </a:lnTo>
                  <a:lnTo>
                    <a:pt x="492" y="595"/>
                  </a:lnTo>
                  <a:lnTo>
                    <a:pt x="485" y="587"/>
                  </a:lnTo>
                  <a:lnTo>
                    <a:pt x="480" y="580"/>
                  </a:lnTo>
                  <a:lnTo>
                    <a:pt x="478" y="577"/>
                  </a:lnTo>
                  <a:lnTo>
                    <a:pt x="476" y="575"/>
                  </a:lnTo>
                  <a:lnTo>
                    <a:pt x="473" y="572"/>
                  </a:lnTo>
                  <a:lnTo>
                    <a:pt x="466" y="570"/>
                  </a:lnTo>
                  <a:lnTo>
                    <a:pt x="465" y="567"/>
                  </a:lnTo>
                  <a:lnTo>
                    <a:pt x="464" y="564"/>
                  </a:lnTo>
                  <a:lnTo>
                    <a:pt x="462" y="561"/>
                  </a:lnTo>
                  <a:lnTo>
                    <a:pt x="461" y="560"/>
                  </a:lnTo>
                  <a:lnTo>
                    <a:pt x="456" y="560"/>
                  </a:lnTo>
                  <a:lnTo>
                    <a:pt x="455" y="560"/>
                  </a:lnTo>
                  <a:lnTo>
                    <a:pt x="453" y="559"/>
                  </a:lnTo>
                  <a:lnTo>
                    <a:pt x="451" y="558"/>
                  </a:lnTo>
                  <a:lnTo>
                    <a:pt x="448" y="555"/>
                  </a:lnTo>
                  <a:lnTo>
                    <a:pt x="446" y="551"/>
                  </a:lnTo>
                  <a:lnTo>
                    <a:pt x="443" y="542"/>
                  </a:lnTo>
                  <a:lnTo>
                    <a:pt x="440" y="538"/>
                  </a:lnTo>
                  <a:lnTo>
                    <a:pt x="433" y="531"/>
                  </a:lnTo>
                  <a:lnTo>
                    <a:pt x="431" y="527"/>
                  </a:lnTo>
                  <a:lnTo>
                    <a:pt x="428" y="518"/>
                  </a:lnTo>
                  <a:lnTo>
                    <a:pt x="426" y="511"/>
                  </a:lnTo>
                  <a:lnTo>
                    <a:pt x="426" y="508"/>
                  </a:lnTo>
                  <a:lnTo>
                    <a:pt x="426" y="505"/>
                  </a:lnTo>
                  <a:lnTo>
                    <a:pt x="428" y="501"/>
                  </a:lnTo>
                  <a:lnTo>
                    <a:pt x="428" y="500"/>
                  </a:lnTo>
                  <a:lnTo>
                    <a:pt x="429" y="496"/>
                  </a:lnTo>
                  <a:lnTo>
                    <a:pt x="429" y="496"/>
                  </a:lnTo>
                  <a:lnTo>
                    <a:pt x="428" y="494"/>
                  </a:lnTo>
                  <a:lnTo>
                    <a:pt x="427" y="492"/>
                  </a:lnTo>
                  <a:lnTo>
                    <a:pt x="423" y="490"/>
                  </a:lnTo>
                  <a:lnTo>
                    <a:pt x="421" y="489"/>
                  </a:lnTo>
                  <a:lnTo>
                    <a:pt x="419" y="489"/>
                  </a:lnTo>
                  <a:lnTo>
                    <a:pt x="418" y="490"/>
                  </a:lnTo>
                  <a:lnTo>
                    <a:pt x="419" y="488"/>
                  </a:lnTo>
                  <a:lnTo>
                    <a:pt x="419" y="487"/>
                  </a:lnTo>
                  <a:lnTo>
                    <a:pt x="421" y="486"/>
                  </a:lnTo>
                  <a:lnTo>
                    <a:pt x="422" y="485"/>
                  </a:lnTo>
                  <a:lnTo>
                    <a:pt x="422" y="481"/>
                  </a:lnTo>
                  <a:lnTo>
                    <a:pt x="421" y="477"/>
                  </a:lnTo>
                  <a:lnTo>
                    <a:pt x="417" y="466"/>
                  </a:lnTo>
                  <a:lnTo>
                    <a:pt x="416" y="462"/>
                  </a:lnTo>
                  <a:lnTo>
                    <a:pt x="415" y="458"/>
                  </a:lnTo>
                  <a:lnTo>
                    <a:pt x="413" y="455"/>
                  </a:lnTo>
                  <a:lnTo>
                    <a:pt x="410" y="455"/>
                  </a:lnTo>
                  <a:lnTo>
                    <a:pt x="404" y="457"/>
                  </a:lnTo>
                  <a:lnTo>
                    <a:pt x="401" y="457"/>
                  </a:lnTo>
                  <a:lnTo>
                    <a:pt x="397" y="454"/>
                  </a:lnTo>
                  <a:lnTo>
                    <a:pt x="399" y="450"/>
                  </a:lnTo>
                  <a:lnTo>
                    <a:pt x="401" y="447"/>
                  </a:lnTo>
                  <a:lnTo>
                    <a:pt x="402" y="444"/>
                  </a:lnTo>
                  <a:lnTo>
                    <a:pt x="403" y="443"/>
                  </a:lnTo>
                  <a:lnTo>
                    <a:pt x="404" y="443"/>
                  </a:lnTo>
                  <a:lnTo>
                    <a:pt x="403" y="440"/>
                  </a:lnTo>
                  <a:lnTo>
                    <a:pt x="402" y="437"/>
                  </a:lnTo>
                  <a:lnTo>
                    <a:pt x="401" y="435"/>
                  </a:lnTo>
                  <a:lnTo>
                    <a:pt x="399" y="434"/>
                  </a:lnTo>
                  <a:lnTo>
                    <a:pt x="395" y="434"/>
                  </a:lnTo>
                  <a:lnTo>
                    <a:pt x="393" y="433"/>
                  </a:lnTo>
                  <a:lnTo>
                    <a:pt x="391" y="432"/>
                  </a:lnTo>
                  <a:lnTo>
                    <a:pt x="389" y="429"/>
                  </a:lnTo>
                  <a:lnTo>
                    <a:pt x="388" y="423"/>
                  </a:lnTo>
                  <a:lnTo>
                    <a:pt x="386" y="421"/>
                  </a:lnTo>
                  <a:lnTo>
                    <a:pt x="385" y="420"/>
                  </a:lnTo>
                  <a:lnTo>
                    <a:pt x="384" y="421"/>
                  </a:lnTo>
                  <a:lnTo>
                    <a:pt x="383" y="422"/>
                  </a:lnTo>
                  <a:lnTo>
                    <a:pt x="381" y="420"/>
                  </a:lnTo>
                  <a:lnTo>
                    <a:pt x="381" y="418"/>
                  </a:lnTo>
                  <a:lnTo>
                    <a:pt x="380" y="416"/>
                  </a:lnTo>
                  <a:lnTo>
                    <a:pt x="380" y="414"/>
                  </a:lnTo>
                  <a:lnTo>
                    <a:pt x="379" y="413"/>
                  </a:lnTo>
                  <a:lnTo>
                    <a:pt x="377" y="413"/>
                  </a:lnTo>
                  <a:lnTo>
                    <a:pt x="376" y="414"/>
                  </a:lnTo>
                  <a:lnTo>
                    <a:pt x="375" y="416"/>
                  </a:lnTo>
                  <a:lnTo>
                    <a:pt x="374" y="417"/>
                  </a:lnTo>
                  <a:lnTo>
                    <a:pt x="372" y="418"/>
                  </a:lnTo>
                  <a:lnTo>
                    <a:pt x="370" y="418"/>
                  </a:lnTo>
                  <a:lnTo>
                    <a:pt x="368" y="419"/>
                  </a:lnTo>
                  <a:lnTo>
                    <a:pt x="365" y="419"/>
                  </a:lnTo>
                  <a:lnTo>
                    <a:pt x="364" y="417"/>
                  </a:lnTo>
                  <a:lnTo>
                    <a:pt x="363" y="415"/>
                  </a:lnTo>
                  <a:lnTo>
                    <a:pt x="362" y="413"/>
                  </a:lnTo>
                  <a:lnTo>
                    <a:pt x="358" y="410"/>
                  </a:lnTo>
                  <a:lnTo>
                    <a:pt x="357" y="410"/>
                  </a:lnTo>
                  <a:lnTo>
                    <a:pt x="353" y="403"/>
                  </a:lnTo>
                  <a:lnTo>
                    <a:pt x="351" y="399"/>
                  </a:lnTo>
                  <a:lnTo>
                    <a:pt x="351" y="395"/>
                  </a:lnTo>
                  <a:lnTo>
                    <a:pt x="354" y="392"/>
                  </a:lnTo>
                  <a:lnTo>
                    <a:pt x="357" y="391"/>
                  </a:lnTo>
                  <a:lnTo>
                    <a:pt x="360" y="390"/>
                  </a:lnTo>
                  <a:lnTo>
                    <a:pt x="360" y="386"/>
                  </a:lnTo>
                  <a:lnTo>
                    <a:pt x="359" y="381"/>
                  </a:lnTo>
                  <a:lnTo>
                    <a:pt x="356" y="378"/>
                  </a:lnTo>
                  <a:lnTo>
                    <a:pt x="354" y="373"/>
                  </a:lnTo>
                  <a:lnTo>
                    <a:pt x="354" y="367"/>
                  </a:lnTo>
                  <a:lnTo>
                    <a:pt x="354" y="366"/>
                  </a:lnTo>
                  <a:lnTo>
                    <a:pt x="355" y="364"/>
                  </a:lnTo>
                  <a:lnTo>
                    <a:pt x="359" y="357"/>
                  </a:lnTo>
                  <a:lnTo>
                    <a:pt x="360" y="353"/>
                  </a:lnTo>
                  <a:lnTo>
                    <a:pt x="358" y="346"/>
                  </a:lnTo>
                  <a:lnTo>
                    <a:pt x="358" y="342"/>
                  </a:lnTo>
                  <a:lnTo>
                    <a:pt x="361" y="332"/>
                  </a:lnTo>
                  <a:lnTo>
                    <a:pt x="362" y="329"/>
                  </a:lnTo>
                  <a:lnTo>
                    <a:pt x="361" y="315"/>
                  </a:lnTo>
                  <a:lnTo>
                    <a:pt x="362" y="314"/>
                  </a:lnTo>
                  <a:lnTo>
                    <a:pt x="363" y="309"/>
                  </a:lnTo>
                  <a:lnTo>
                    <a:pt x="365" y="307"/>
                  </a:lnTo>
                  <a:lnTo>
                    <a:pt x="369" y="304"/>
                  </a:lnTo>
                  <a:lnTo>
                    <a:pt x="377" y="303"/>
                  </a:lnTo>
                  <a:lnTo>
                    <a:pt x="392" y="303"/>
                  </a:lnTo>
                  <a:lnTo>
                    <a:pt x="396" y="302"/>
                  </a:lnTo>
                  <a:lnTo>
                    <a:pt x="398" y="302"/>
                  </a:lnTo>
                  <a:lnTo>
                    <a:pt x="399" y="303"/>
                  </a:lnTo>
                  <a:lnTo>
                    <a:pt x="401" y="305"/>
                  </a:lnTo>
                  <a:lnTo>
                    <a:pt x="401" y="307"/>
                  </a:lnTo>
                  <a:lnTo>
                    <a:pt x="400" y="309"/>
                  </a:lnTo>
                  <a:lnTo>
                    <a:pt x="400" y="310"/>
                  </a:lnTo>
                  <a:lnTo>
                    <a:pt x="402" y="311"/>
                  </a:lnTo>
                  <a:lnTo>
                    <a:pt x="405" y="312"/>
                  </a:lnTo>
                  <a:lnTo>
                    <a:pt x="407" y="313"/>
                  </a:lnTo>
                  <a:lnTo>
                    <a:pt x="409" y="317"/>
                  </a:lnTo>
                  <a:lnTo>
                    <a:pt x="413" y="326"/>
                  </a:lnTo>
                  <a:lnTo>
                    <a:pt x="416" y="330"/>
                  </a:lnTo>
                  <a:lnTo>
                    <a:pt x="430" y="344"/>
                  </a:lnTo>
                  <a:lnTo>
                    <a:pt x="435" y="347"/>
                  </a:lnTo>
                  <a:lnTo>
                    <a:pt x="441" y="350"/>
                  </a:lnTo>
                  <a:lnTo>
                    <a:pt x="447" y="351"/>
                  </a:lnTo>
                  <a:lnTo>
                    <a:pt x="450" y="350"/>
                  </a:lnTo>
                  <a:lnTo>
                    <a:pt x="451" y="347"/>
                  </a:lnTo>
                  <a:lnTo>
                    <a:pt x="451" y="347"/>
                  </a:lnTo>
                  <a:lnTo>
                    <a:pt x="453" y="340"/>
                  </a:lnTo>
                  <a:lnTo>
                    <a:pt x="456" y="334"/>
                  </a:lnTo>
                  <a:lnTo>
                    <a:pt x="457" y="332"/>
                  </a:lnTo>
                  <a:lnTo>
                    <a:pt x="457" y="330"/>
                  </a:lnTo>
                  <a:lnTo>
                    <a:pt x="457" y="328"/>
                  </a:lnTo>
                  <a:lnTo>
                    <a:pt x="457" y="327"/>
                  </a:lnTo>
                  <a:lnTo>
                    <a:pt x="458" y="325"/>
                  </a:lnTo>
                  <a:lnTo>
                    <a:pt x="460" y="324"/>
                  </a:lnTo>
                  <a:lnTo>
                    <a:pt x="464" y="323"/>
                  </a:lnTo>
                  <a:lnTo>
                    <a:pt x="466" y="322"/>
                  </a:lnTo>
                  <a:lnTo>
                    <a:pt x="468" y="318"/>
                  </a:lnTo>
                  <a:lnTo>
                    <a:pt x="473" y="307"/>
                  </a:lnTo>
                  <a:lnTo>
                    <a:pt x="480" y="301"/>
                  </a:lnTo>
                  <a:lnTo>
                    <a:pt x="490" y="302"/>
                  </a:lnTo>
                  <a:lnTo>
                    <a:pt x="521" y="311"/>
                  </a:lnTo>
                  <a:lnTo>
                    <a:pt x="525" y="311"/>
                  </a:lnTo>
                  <a:lnTo>
                    <a:pt x="527" y="309"/>
                  </a:lnTo>
                  <a:lnTo>
                    <a:pt x="527" y="307"/>
                  </a:lnTo>
                  <a:lnTo>
                    <a:pt x="527" y="305"/>
                  </a:lnTo>
                  <a:lnTo>
                    <a:pt x="528" y="303"/>
                  </a:lnTo>
                  <a:lnTo>
                    <a:pt x="530" y="301"/>
                  </a:lnTo>
                  <a:lnTo>
                    <a:pt x="531" y="300"/>
                  </a:lnTo>
                  <a:lnTo>
                    <a:pt x="533" y="299"/>
                  </a:lnTo>
                  <a:lnTo>
                    <a:pt x="534" y="297"/>
                  </a:lnTo>
                  <a:lnTo>
                    <a:pt x="535" y="296"/>
                  </a:lnTo>
                  <a:lnTo>
                    <a:pt x="537" y="294"/>
                  </a:lnTo>
                  <a:lnTo>
                    <a:pt x="538" y="292"/>
                  </a:lnTo>
                  <a:lnTo>
                    <a:pt x="539" y="291"/>
                  </a:lnTo>
                  <a:lnTo>
                    <a:pt x="543" y="288"/>
                  </a:lnTo>
                  <a:lnTo>
                    <a:pt x="544" y="289"/>
                  </a:lnTo>
                  <a:lnTo>
                    <a:pt x="546" y="293"/>
                  </a:lnTo>
                  <a:lnTo>
                    <a:pt x="546" y="295"/>
                  </a:lnTo>
                  <a:lnTo>
                    <a:pt x="546" y="297"/>
                  </a:lnTo>
                  <a:lnTo>
                    <a:pt x="547" y="298"/>
                  </a:lnTo>
                  <a:lnTo>
                    <a:pt x="550" y="298"/>
                  </a:lnTo>
                  <a:lnTo>
                    <a:pt x="550" y="297"/>
                  </a:lnTo>
                  <a:lnTo>
                    <a:pt x="549" y="295"/>
                  </a:lnTo>
                  <a:lnTo>
                    <a:pt x="551" y="296"/>
                  </a:lnTo>
                  <a:lnTo>
                    <a:pt x="553" y="298"/>
                  </a:lnTo>
                  <a:lnTo>
                    <a:pt x="555" y="299"/>
                  </a:lnTo>
                  <a:lnTo>
                    <a:pt x="556" y="297"/>
                  </a:lnTo>
                  <a:lnTo>
                    <a:pt x="557" y="298"/>
                  </a:lnTo>
                  <a:lnTo>
                    <a:pt x="557" y="299"/>
                  </a:lnTo>
                  <a:lnTo>
                    <a:pt x="557" y="301"/>
                  </a:lnTo>
                  <a:lnTo>
                    <a:pt x="556" y="303"/>
                  </a:lnTo>
                  <a:lnTo>
                    <a:pt x="557" y="302"/>
                  </a:lnTo>
                  <a:lnTo>
                    <a:pt x="560" y="300"/>
                  </a:lnTo>
                  <a:lnTo>
                    <a:pt x="561" y="300"/>
                  </a:lnTo>
                  <a:lnTo>
                    <a:pt x="564" y="306"/>
                  </a:lnTo>
                  <a:lnTo>
                    <a:pt x="571" y="312"/>
                  </a:lnTo>
                  <a:lnTo>
                    <a:pt x="575" y="313"/>
                  </a:lnTo>
                  <a:lnTo>
                    <a:pt x="585" y="318"/>
                  </a:lnTo>
                  <a:lnTo>
                    <a:pt x="586" y="317"/>
                  </a:lnTo>
                  <a:lnTo>
                    <a:pt x="594" y="317"/>
                  </a:lnTo>
                  <a:lnTo>
                    <a:pt x="595" y="315"/>
                  </a:lnTo>
                  <a:lnTo>
                    <a:pt x="598" y="309"/>
                  </a:lnTo>
                  <a:lnTo>
                    <a:pt x="604" y="313"/>
                  </a:lnTo>
                  <a:lnTo>
                    <a:pt x="607" y="314"/>
                  </a:lnTo>
                  <a:lnTo>
                    <a:pt x="612" y="317"/>
                  </a:lnTo>
                  <a:lnTo>
                    <a:pt x="614" y="319"/>
                  </a:lnTo>
                  <a:lnTo>
                    <a:pt x="616" y="320"/>
                  </a:lnTo>
                  <a:lnTo>
                    <a:pt x="619" y="320"/>
                  </a:lnTo>
                  <a:lnTo>
                    <a:pt x="624" y="318"/>
                  </a:lnTo>
                  <a:lnTo>
                    <a:pt x="624" y="317"/>
                  </a:lnTo>
                  <a:lnTo>
                    <a:pt x="625" y="316"/>
                  </a:lnTo>
                  <a:lnTo>
                    <a:pt x="625" y="315"/>
                  </a:lnTo>
                  <a:lnTo>
                    <a:pt x="627" y="316"/>
                  </a:lnTo>
                  <a:lnTo>
                    <a:pt x="628" y="317"/>
                  </a:lnTo>
                  <a:lnTo>
                    <a:pt x="628" y="318"/>
                  </a:lnTo>
                  <a:lnTo>
                    <a:pt x="627" y="320"/>
                  </a:lnTo>
                  <a:lnTo>
                    <a:pt x="626" y="321"/>
                  </a:lnTo>
                  <a:lnTo>
                    <a:pt x="628" y="322"/>
                  </a:lnTo>
                  <a:lnTo>
                    <a:pt x="630" y="322"/>
                  </a:lnTo>
                  <a:lnTo>
                    <a:pt x="634" y="319"/>
                  </a:lnTo>
                  <a:lnTo>
                    <a:pt x="632" y="324"/>
                  </a:lnTo>
                  <a:lnTo>
                    <a:pt x="632" y="326"/>
                  </a:lnTo>
                  <a:lnTo>
                    <a:pt x="633" y="325"/>
                  </a:lnTo>
                  <a:lnTo>
                    <a:pt x="641" y="324"/>
                  </a:lnTo>
                  <a:lnTo>
                    <a:pt x="644" y="324"/>
                  </a:lnTo>
                  <a:lnTo>
                    <a:pt x="646" y="324"/>
                  </a:lnTo>
                  <a:lnTo>
                    <a:pt x="649" y="322"/>
                  </a:lnTo>
                  <a:lnTo>
                    <a:pt x="655" y="316"/>
                  </a:lnTo>
                  <a:lnTo>
                    <a:pt x="658" y="314"/>
                  </a:lnTo>
                  <a:lnTo>
                    <a:pt x="664" y="314"/>
                  </a:lnTo>
                  <a:lnTo>
                    <a:pt x="668" y="317"/>
                  </a:lnTo>
                  <a:lnTo>
                    <a:pt x="673" y="321"/>
                  </a:lnTo>
                  <a:lnTo>
                    <a:pt x="682" y="333"/>
                  </a:lnTo>
                  <a:lnTo>
                    <a:pt x="685" y="336"/>
                  </a:lnTo>
                  <a:lnTo>
                    <a:pt x="688" y="337"/>
                  </a:lnTo>
                  <a:lnTo>
                    <a:pt x="689" y="337"/>
                  </a:lnTo>
                  <a:lnTo>
                    <a:pt x="694" y="335"/>
                  </a:lnTo>
                  <a:lnTo>
                    <a:pt x="698" y="334"/>
                  </a:lnTo>
                  <a:lnTo>
                    <a:pt x="700" y="333"/>
                  </a:lnTo>
                  <a:lnTo>
                    <a:pt x="702" y="331"/>
                  </a:lnTo>
                  <a:lnTo>
                    <a:pt x="712" y="319"/>
                  </a:lnTo>
                  <a:lnTo>
                    <a:pt x="714" y="318"/>
                  </a:lnTo>
                  <a:lnTo>
                    <a:pt x="717" y="318"/>
                  </a:lnTo>
                  <a:lnTo>
                    <a:pt x="719" y="319"/>
                  </a:lnTo>
                  <a:lnTo>
                    <a:pt x="728" y="327"/>
                  </a:lnTo>
                  <a:lnTo>
                    <a:pt x="732" y="329"/>
                  </a:lnTo>
                  <a:lnTo>
                    <a:pt x="735" y="329"/>
                  </a:lnTo>
                  <a:lnTo>
                    <a:pt x="736" y="329"/>
                  </a:lnTo>
                  <a:lnTo>
                    <a:pt x="737" y="329"/>
                  </a:lnTo>
                  <a:lnTo>
                    <a:pt x="738" y="329"/>
                  </a:lnTo>
                  <a:lnTo>
                    <a:pt x="741" y="329"/>
                  </a:lnTo>
                  <a:lnTo>
                    <a:pt x="744" y="327"/>
                  </a:lnTo>
                  <a:lnTo>
                    <a:pt x="746" y="325"/>
                  </a:lnTo>
                  <a:lnTo>
                    <a:pt x="746" y="322"/>
                  </a:lnTo>
                  <a:lnTo>
                    <a:pt x="746" y="319"/>
                  </a:lnTo>
                  <a:lnTo>
                    <a:pt x="748" y="317"/>
                  </a:lnTo>
                  <a:lnTo>
                    <a:pt x="751" y="316"/>
                  </a:lnTo>
                  <a:lnTo>
                    <a:pt x="756" y="317"/>
                  </a:lnTo>
                  <a:lnTo>
                    <a:pt x="763" y="323"/>
                  </a:lnTo>
                  <a:lnTo>
                    <a:pt x="765" y="324"/>
                  </a:lnTo>
                  <a:lnTo>
                    <a:pt x="776" y="325"/>
                  </a:lnTo>
                  <a:lnTo>
                    <a:pt x="779" y="326"/>
                  </a:lnTo>
                  <a:lnTo>
                    <a:pt x="782" y="328"/>
                  </a:lnTo>
                  <a:lnTo>
                    <a:pt x="785" y="332"/>
                  </a:lnTo>
                  <a:lnTo>
                    <a:pt x="785" y="332"/>
                  </a:lnTo>
                  <a:lnTo>
                    <a:pt x="788" y="335"/>
                  </a:lnTo>
                  <a:lnTo>
                    <a:pt x="790" y="336"/>
                  </a:lnTo>
                  <a:lnTo>
                    <a:pt x="792" y="337"/>
                  </a:lnTo>
                  <a:lnTo>
                    <a:pt x="796" y="339"/>
                  </a:lnTo>
                  <a:lnTo>
                    <a:pt x="800" y="339"/>
                  </a:lnTo>
                  <a:lnTo>
                    <a:pt x="800" y="336"/>
                  </a:lnTo>
                  <a:lnTo>
                    <a:pt x="799" y="333"/>
                  </a:lnTo>
                  <a:lnTo>
                    <a:pt x="799" y="332"/>
                  </a:lnTo>
                  <a:lnTo>
                    <a:pt x="799" y="331"/>
                  </a:lnTo>
                  <a:lnTo>
                    <a:pt x="801" y="330"/>
                  </a:lnTo>
                  <a:lnTo>
                    <a:pt x="802" y="330"/>
                  </a:lnTo>
                  <a:lnTo>
                    <a:pt x="805" y="331"/>
                  </a:lnTo>
                  <a:lnTo>
                    <a:pt x="806" y="331"/>
                  </a:lnTo>
                  <a:lnTo>
                    <a:pt x="807" y="330"/>
                  </a:lnTo>
                  <a:lnTo>
                    <a:pt x="809" y="329"/>
                  </a:lnTo>
                  <a:lnTo>
                    <a:pt x="810" y="329"/>
                  </a:lnTo>
                  <a:lnTo>
                    <a:pt x="812" y="329"/>
                  </a:lnTo>
                  <a:lnTo>
                    <a:pt x="812" y="330"/>
                  </a:lnTo>
                  <a:lnTo>
                    <a:pt x="814" y="333"/>
                  </a:lnTo>
                  <a:lnTo>
                    <a:pt x="814" y="335"/>
                  </a:lnTo>
                  <a:lnTo>
                    <a:pt x="815" y="337"/>
                  </a:lnTo>
                  <a:lnTo>
                    <a:pt x="817" y="337"/>
                  </a:lnTo>
                  <a:lnTo>
                    <a:pt x="818" y="337"/>
                  </a:lnTo>
                  <a:lnTo>
                    <a:pt x="819" y="335"/>
                  </a:lnTo>
                  <a:lnTo>
                    <a:pt x="819" y="334"/>
                  </a:lnTo>
                  <a:lnTo>
                    <a:pt x="819" y="333"/>
                  </a:lnTo>
                  <a:lnTo>
                    <a:pt x="820" y="332"/>
                  </a:lnTo>
                  <a:lnTo>
                    <a:pt x="821" y="332"/>
                  </a:lnTo>
                  <a:lnTo>
                    <a:pt x="822" y="332"/>
                  </a:lnTo>
                  <a:lnTo>
                    <a:pt x="823" y="333"/>
                  </a:lnTo>
                  <a:lnTo>
                    <a:pt x="829" y="345"/>
                  </a:lnTo>
                  <a:lnTo>
                    <a:pt x="831" y="348"/>
                  </a:lnTo>
                  <a:lnTo>
                    <a:pt x="833" y="348"/>
                  </a:lnTo>
                  <a:lnTo>
                    <a:pt x="837" y="349"/>
                  </a:lnTo>
                  <a:lnTo>
                    <a:pt x="839" y="349"/>
                  </a:lnTo>
                  <a:lnTo>
                    <a:pt x="839" y="350"/>
                  </a:lnTo>
                  <a:lnTo>
                    <a:pt x="839" y="351"/>
                  </a:lnTo>
                  <a:lnTo>
                    <a:pt x="840" y="352"/>
                  </a:lnTo>
                  <a:lnTo>
                    <a:pt x="840" y="353"/>
                  </a:lnTo>
                  <a:lnTo>
                    <a:pt x="840" y="354"/>
                  </a:lnTo>
                  <a:lnTo>
                    <a:pt x="840" y="355"/>
                  </a:lnTo>
                  <a:lnTo>
                    <a:pt x="840" y="355"/>
                  </a:lnTo>
                  <a:lnTo>
                    <a:pt x="841" y="356"/>
                  </a:lnTo>
                  <a:lnTo>
                    <a:pt x="842" y="357"/>
                  </a:lnTo>
                  <a:lnTo>
                    <a:pt x="841" y="359"/>
                  </a:lnTo>
                  <a:lnTo>
                    <a:pt x="838" y="362"/>
                  </a:lnTo>
                  <a:lnTo>
                    <a:pt x="836" y="364"/>
                  </a:lnTo>
                  <a:lnTo>
                    <a:pt x="838" y="371"/>
                  </a:lnTo>
                  <a:lnTo>
                    <a:pt x="844" y="376"/>
                  </a:lnTo>
                  <a:lnTo>
                    <a:pt x="848" y="379"/>
                  </a:lnTo>
                  <a:lnTo>
                    <a:pt x="848" y="379"/>
                  </a:lnTo>
                  <a:lnTo>
                    <a:pt x="850" y="381"/>
                  </a:lnTo>
                  <a:lnTo>
                    <a:pt x="855" y="382"/>
                  </a:lnTo>
                  <a:lnTo>
                    <a:pt x="873" y="382"/>
                  </a:lnTo>
                  <a:lnTo>
                    <a:pt x="875" y="381"/>
                  </a:lnTo>
                  <a:lnTo>
                    <a:pt x="872" y="375"/>
                  </a:lnTo>
                  <a:lnTo>
                    <a:pt x="871" y="370"/>
                  </a:lnTo>
                  <a:lnTo>
                    <a:pt x="875" y="368"/>
                  </a:lnTo>
                  <a:lnTo>
                    <a:pt x="878" y="369"/>
                  </a:lnTo>
                  <a:lnTo>
                    <a:pt x="881" y="372"/>
                  </a:lnTo>
                  <a:lnTo>
                    <a:pt x="883" y="372"/>
                  </a:lnTo>
                  <a:lnTo>
                    <a:pt x="885" y="371"/>
                  </a:lnTo>
                  <a:lnTo>
                    <a:pt x="887" y="369"/>
                  </a:lnTo>
                  <a:lnTo>
                    <a:pt x="889" y="365"/>
                  </a:lnTo>
                  <a:lnTo>
                    <a:pt x="891" y="364"/>
                  </a:lnTo>
                  <a:lnTo>
                    <a:pt x="892" y="363"/>
                  </a:lnTo>
                  <a:lnTo>
                    <a:pt x="893" y="362"/>
                  </a:lnTo>
                  <a:lnTo>
                    <a:pt x="893" y="358"/>
                  </a:lnTo>
                  <a:lnTo>
                    <a:pt x="891" y="357"/>
                  </a:lnTo>
                  <a:lnTo>
                    <a:pt x="888" y="358"/>
                  </a:lnTo>
                  <a:lnTo>
                    <a:pt x="886" y="356"/>
                  </a:lnTo>
                  <a:lnTo>
                    <a:pt x="886" y="354"/>
                  </a:lnTo>
                  <a:lnTo>
                    <a:pt x="887" y="352"/>
                  </a:lnTo>
                  <a:lnTo>
                    <a:pt x="888" y="349"/>
                  </a:lnTo>
                  <a:lnTo>
                    <a:pt x="888" y="347"/>
                  </a:lnTo>
                  <a:lnTo>
                    <a:pt x="888" y="344"/>
                  </a:lnTo>
                  <a:lnTo>
                    <a:pt x="886" y="337"/>
                  </a:lnTo>
                  <a:lnTo>
                    <a:pt x="886" y="332"/>
                  </a:lnTo>
                  <a:lnTo>
                    <a:pt x="885" y="330"/>
                  </a:lnTo>
                  <a:lnTo>
                    <a:pt x="884" y="327"/>
                  </a:lnTo>
                  <a:lnTo>
                    <a:pt x="883" y="326"/>
                  </a:lnTo>
                  <a:lnTo>
                    <a:pt x="881" y="324"/>
                  </a:lnTo>
                  <a:lnTo>
                    <a:pt x="880" y="322"/>
                  </a:lnTo>
                  <a:lnTo>
                    <a:pt x="880" y="321"/>
                  </a:lnTo>
                  <a:lnTo>
                    <a:pt x="882" y="318"/>
                  </a:lnTo>
                  <a:lnTo>
                    <a:pt x="891" y="319"/>
                  </a:lnTo>
                  <a:lnTo>
                    <a:pt x="894" y="318"/>
                  </a:lnTo>
                  <a:lnTo>
                    <a:pt x="895" y="315"/>
                  </a:lnTo>
                  <a:lnTo>
                    <a:pt x="893" y="311"/>
                  </a:lnTo>
                  <a:lnTo>
                    <a:pt x="892" y="308"/>
                  </a:lnTo>
                  <a:lnTo>
                    <a:pt x="895" y="307"/>
                  </a:lnTo>
                  <a:lnTo>
                    <a:pt x="897" y="308"/>
                  </a:lnTo>
                  <a:lnTo>
                    <a:pt x="900" y="312"/>
                  </a:lnTo>
                  <a:lnTo>
                    <a:pt x="902" y="313"/>
                  </a:lnTo>
                  <a:lnTo>
                    <a:pt x="905" y="315"/>
                  </a:lnTo>
                  <a:lnTo>
                    <a:pt x="908" y="315"/>
                  </a:lnTo>
                  <a:lnTo>
                    <a:pt x="915" y="314"/>
                  </a:lnTo>
                  <a:lnTo>
                    <a:pt x="916" y="313"/>
                  </a:lnTo>
                  <a:lnTo>
                    <a:pt x="916" y="313"/>
                  </a:lnTo>
                  <a:lnTo>
                    <a:pt x="917" y="312"/>
                  </a:lnTo>
                  <a:lnTo>
                    <a:pt x="918" y="311"/>
                  </a:lnTo>
                  <a:lnTo>
                    <a:pt x="919" y="312"/>
                  </a:lnTo>
                  <a:lnTo>
                    <a:pt x="920" y="313"/>
                  </a:lnTo>
                  <a:lnTo>
                    <a:pt x="921" y="314"/>
                  </a:lnTo>
                  <a:lnTo>
                    <a:pt x="935" y="313"/>
                  </a:lnTo>
                  <a:lnTo>
                    <a:pt x="935" y="313"/>
                  </a:lnTo>
                  <a:lnTo>
                    <a:pt x="937" y="311"/>
                  </a:lnTo>
                  <a:lnTo>
                    <a:pt x="937" y="306"/>
                  </a:lnTo>
                  <a:lnTo>
                    <a:pt x="936" y="301"/>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14" name="Freeform 50">
              <a:extLst>
                <a:ext uri="{FF2B5EF4-FFF2-40B4-BE49-F238E27FC236}">
                  <a16:creationId xmlns:a16="http://schemas.microsoft.com/office/drawing/2014/main" id="{4E3A4E43-AC8C-42E4-BCB3-D102688AB33E}"/>
                </a:ext>
              </a:extLst>
            </p:cNvPr>
            <p:cNvSpPr>
              <a:spLocks/>
            </p:cNvSpPr>
            <p:nvPr/>
          </p:nvSpPr>
          <p:spPr bwMode="gray">
            <a:xfrm>
              <a:off x="10259043" y="5438882"/>
              <a:ext cx="618894" cy="401377"/>
            </a:xfrm>
            <a:custGeom>
              <a:avLst/>
              <a:gdLst>
                <a:gd name="T0" fmla="*/ 883 w 993"/>
                <a:gd name="T1" fmla="*/ 52 h 644"/>
                <a:gd name="T2" fmla="*/ 780 w 993"/>
                <a:gd name="T3" fmla="*/ 30 h 644"/>
                <a:gd name="T4" fmla="*/ 687 w 993"/>
                <a:gd name="T5" fmla="*/ 29 h 644"/>
                <a:gd name="T6" fmla="*/ 568 w 993"/>
                <a:gd name="T7" fmla="*/ 81 h 644"/>
                <a:gd name="T8" fmla="*/ 512 w 993"/>
                <a:gd name="T9" fmla="*/ 121 h 644"/>
                <a:gd name="T10" fmla="*/ 434 w 993"/>
                <a:gd name="T11" fmla="*/ 112 h 644"/>
                <a:gd name="T12" fmla="*/ 221 w 993"/>
                <a:gd name="T13" fmla="*/ 85 h 644"/>
                <a:gd name="T14" fmla="*/ 82 w 993"/>
                <a:gd name="T15" fmla="*/ 82 h 644"/>
                <a:gd name="T16" fmla="*/ 94 w 993"/>
                <a:gd name="T17" fmla="*/ 25 h 644"/>
                <a:gd name="T18" fmla="*/ 40 w 993"/>
                <a:gd name="T19" fmla="*/ 26 h 644"/>
                <a:gd name="T20" fmla="*/ 8 w 993"/>
                <a:gd name="T21" fmla="*/ 52 h 644"/>
                <a:gd name="T22" fmla="*/ 6 w 993"/>
                <a:gd name="T23" fmla="*/ 108 h 644"/>
                <a:gd name="T24" fmla="*/ 21 w 993"/>
                <a:gd name="T25" fmla="*/ 138 h 644"/>
                <a:gd name="T26" fmla="*/ 26 w 993"/>
                <a:gd name="T27" fmla="*/ 161 h 644"/>
                <a:gd name="T28" fmla="*/ 52 w 993"/>
                <a:gd name="T29" fmla="*/ 183 h 644"/>
                <a:gd name="T30" fmla="*/ 87 w 993"/>
                <a:gd name="T31" fmla="*/ 220 h 644"/>
                <a:gd name="T32" fmla="*/ 85 w 993"/>
                <a:gd name="T33" fmla="*/ 260 h 644"/>
                <a:gd name="T34" fmla="*/ 60 w 993"/>
                <a:gd name="T35" fmla="*/ 293 h 644"/>
                <a:gd name="T36" fmla="*/ 16 w 993"/>
                <a:gd name="T37" fmla="*/ 305 h 644"/>
                <a:gd name="T38" fmla="*/ 15 w 993"/>
                <a:gd name="T39" fmla="*/ 337 h 644"/>
                <a:gd name="T40" fmla="*/ 27 w 993"/>
                <a:gd name="T41" fmla="*/ 393 h 644"/>
                <a:gd name="T42" fmla="*/ 25 w 993"/>
                <a:gd name="T43" fmla="*/ 451 h 644"/>
                <a:gd name="T44" fmla="*/ 70 w 993"/>
                <a:gd name="T45" fmla="*/ 476 h 644"/>
                <a:gd name="T46" fmla="*/ 81 w 993"/>
                <a:gd name="T47" fmla="*/ 494 h 644"/>
                <a:gd name="T48" fmla="*/ 97 w 993"/>
                <a:gd name="T49" fmla="*/ 533 h 644"/>
                <a:gd name="T50" fmla="*/ 93 w 993"/>
                <a:gd name="T51" fmla="*/ 565 h 644"/>
                <a:gd name="T52" fmla="*/ 94 w 993"/>
                <a:gd name="T53" fmla="*/ 606 h 644"/>
                <a:gd name="T54" fmla="*/ 139 w 993"/>
                <a:gd name="T55" fmla="*/ 614 h 644"/>
                <a:gd name="T56" fmla="*/ 203 w 993"/>
                <a:gd name="T57" fmla="*/ 615 h 644"/>
                <a:gd name="T58" fmla="*/ 247 w 993"/>
                <a:gd name="T59" fmla="*/ 596 h 644"/>
                <a:gd name="T60" fmla="*/ 270 w 993"/>
                <a:gd name="T61" fmla="*/ 583 h 644"/>
                <a:gd name="T62" fmla="*/ 299 w 993"/>
                <a:gd name="T63" fmla="*/ 576 h 644"/>
                <a:gd name="T64" fmla="*/ 326 w 993"/>
                <a:gd name="T65" fmla="*/ 583 h 644"/>
                <a:gd name="T66" fmla="*/ 354 w 993"/>
                <a:gd name="T67" fmla="*/ 596 h 644"/>
                <a:gd name="T68" fmla="*/ 385 w 993"/>
                <a:gd name="T69" fmla="*/ 621 h 644"/>
                <a:gd name="T70" fmla="*/ 439 w 993"/>
                <a:gd name="T71" fmla="*/ 626 h 644"/>
                <a:gd name="T72" fmla="*/ 503 w 993"/>
                <a:gd name="T73" fmla="*/ 634 h 644"/>
                <a:gd name="T74" fmla="*/ 542 w 993"/>
                <a:gd name="T75" fmla="*/ 627 h 644"/>
                <a:gd name="T76" fmla="*/ 597 w 993"/>
                <a:gd name="T77" fmla="*/ 619 h 644"/>
                <a:gd name="T78" fmla="*/ 603 w 993"/>
                <a:gd name="T79" fmla="*/ 592 h 644"/>
                <a:gd name="T80" fmla="*/ 597 w 993"/>
                <a:gd name="T81" fmla="*/ 562 h 644"/>
                <a:gd name="T82" fmla="*/ 597 w 993"/>
                <a:gd name="T83" fmla="*/ 540 h 644"/>
                <a:gd name="T84" fmla="*/ 639 w 993"/>
                <a:gd name="T85" fmla="*/ 522 h 644"/>
                <a:gd name="T86" fmla="*/ 666 w 993"/>
                <a:gd name="T87" fmla="*/ 498 h 644"/>
                <a:gd name="T88" fmla="*/ 711 w 993"/>
                <a:gd name="T89" fmla="*/ 489 h 644"/>
                <a:gd name="T90" fmla="*/ 735 w 993"/>
                <a:gd name="T91" fmla="*/ 476 h 644"/>
                <a:gd name="T92" fmla="*/ 767 w 993"/>
                <a:gd name="T93" fmla="*/ 469 h 644"/>
                <a:gd name="T94" fmla="*/ 828 w 993"/>
                <a:gd name="T95" fmla="*/ 503 h 644"/>
                <a:gd name="T96" fmla="*/ 835 w 993"/>
                <a:gd name="T97" fmla="*/ 495 h 644"/>
                <a:gd name="T98" fmla="*/ 868 w 993"/>
                <a:gd name="T99" fmla="*/ 484 h 644"/>
                <a:gd name="T100" fmla="*/ 900 w 993"/>
                <a:gd name="T101" fmla="*/ 481 h 644"/>
                <a:gd name="T102" fmla="*/ 882 w 993"/>
                <a:gd name="T103" fmla="*/ 457 h 644"/>
                <a:gd name="T104" fmla="*/ 862 w 993"/>
                <a:gd name="T105" fmla="*/ 431 h 644"/>
                <a:gd name="T106" fmla="*/ 854 w 993"/>
                <a:gd name="T107" fmla="*/ 410 h 644"/>
                <a:gd name="T108" fmla="*/ 848 w 993"/>
                <a:gd name="T109" fmla="*/ 391 h 644"/>
                <a:gd name="T110" fmla="*/ 830 w 993"/>
                <a:gd name="T111" fmla="*/ 385 h 644"/>
                <a:gd name="T112" fmla="*/ 812 w 993"/>
                <a:gd name="T113" fmla="*/ 388 h 644"/>
                <a:gd name="T114" fmla="*/ 838 w 993"/>
                <a:gd name="T115" fmla="*/ 354 h 644"/>
                <a:gd name="T116" fmla="*/ 872 w 993"/>
                <a:gd name="T117" fmla="*/ 331 h 644"/>
                <a:gd name="T118" fmla="*/ 879 w 993"/>
                <a:gd name="T119" fmla="*/ 259 h 644"/>
                <a:gd name="T120" fmla="*/ 900 w 993"/>
                <a:gd name="T121" fmla="*/ 218 h 644"/>
                <a:gd name="T122" fmla="*/ 963 w 993"/>
                <a:gd name="T123" fmla="*/ 181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3" h="644">
                  <a:moveTo>
                    <a:pt x="993" y="148"/>
                  </a:moveTo>
                  <a:lnTo>
                    <a:pt x="992" y="146"/>
                  </a:lnTo>
                  <a:lnTo>
                    <a:pt x="990" y="143"/>
                  </a:lnTo>
                  <a:lnTo>
                    <a:pt x="989" y="139"/>
                  </a:lnTo>
                  <a:lnTo>
                    <a:pt x="988" y="137"/>
                  </a:lnTo>
                  <a:lnTo>
                    <a:pt x="989" y="110"/>
                  </a:lnTo>
                  <a:lnTo>
                    <a:pt x="989" y="107"/>
                  </a:lnTo>
                  <a:lnTo>
                    <a:pt x="966" y="108"/>
                  </a:lnTo>
                  <a:lnTo>
                    <a:pt x="932" y="102"/>
                  </a:lnTo>
                  <a:lnTo>
                    <a:pt x="900" y="87"/>
                  </a:lnTo>
                  <a:lnTo>
                    <a:pt x="894" y="83"/>
                  </a:lnTo>
                  <a:lnTo>
                    <a:pt x="887" y="58"/>
                  </a:lnTo>
                  <a:lnTo>
                    <a:pt x="883" y="52"/>
                  </a:lnTo>
                  <a:lnTo>
                    <a:pt x="883" y="52"/>
                  </a:lnTo>
                  <a:lnTo>
                    <a:pt x="874" y="53"/>
                  </a:lnTo>
                  <a:lnTo>
                    <a:pt x="863" y="59"/>
                  </a:lnTo>
                  <a:lnTo>
                    <a:pt x="853" y="61"/>
                  </a:lnTo>
                  <a:lnTo>
                    <a:pt x="847" y="53"/>
                  </a:lnTo>
                  <a:lnTo>
                    <a:pt x="846" y="51"/>
                  </a:lnTo>
                  <a:lnTo>
                    <a:pt x="842" y="45"/>
                  </a:lnTo>
                  <a:lnTo>
                    <a:pt x="839" y="44"/>
                  </a:lnTo>
                  <a:lnTo>
                    <a:pt x="830" y="46"/>
                  </a:lnTo>
                  <a:lnTo>
                    <a:pt x="799" y="47"/>
                  </a:lnTo>
                  <a:lnTo>
                    <a:pt x="798" y="45"/>
                  </a:lnTo>
                  <a:lnTo>
                    <a:pt x="794" y="40"/>
                  </a:lnTo>
                  <a:lnTo>
                    <a:pt x="793" y="38"/>
                  </a:lnTo>
                  <a:lnTo>
                    <a:pt x="784" y="34"/>
                  </a:lnTo>
                  <a:lnTo>
                    <a:pt x="780" y="30"/>
                  </a:lnTo>
                  <a:lnTo>
                    <a:pt x="781" y="25"/>
                  </a:lnTo>
                  <a:lnTo>
                    <a:pt x="778" y="23"/>
                  </a:lnTo>
                  <a:lnTo>
                    <a:pt x="778" y="23"/>
                  </a:lnTo>
                  <a:lnTo>
                    <a:pt x="774" y="24"/>
                  </a:lnTo>
                  <a:lnTo>
                    <a:pt x="771" y="22"/>
                  </a:lnTo>
                  <a:lnTo>
                    <a:pt x="754" y="18"/>
                  </a:lnTo>
                  <a:lnTo>
                    <a:pt x="743" y="11"/>
                  </a:lnTo>
                  <a:lnTo>
                    <a:pt x="739" y="14"/>
                  </a:lnTo>
                  <a:lnTo>
                    <a:pt x="720" y="15"/>
                  </a:lnTo>
                  <a:lnTo>
                    <a:pt x="705" y="24"/>
                  </a:lnTo>
                  <a:lnTo>
                    <a:pt x="699" y="26"/>
                  </a:lnTo>
                  <a:lnTo>
                    <a:pt x="692" y="26"/>
                  </a:lnTo>
                  <a:lnTo>
                    <a:pt x="690" y="27"/>
                  </a:lnTo>
                  <a:lnTo>
                    <a:pt x="687" y="29"/>
                  </a:lnTo>
                  <a:lnTo>
                    <a:pt x="686" y="29"/>
                  </a:lnTo>
                  <a:lnTo>
                    <a:pt x="682" y="29"/>
                  </a:lnTo>
                  <a:lnTo>
                    <a:pt x="677" y="31"/>
                  </a:lnTo>
                  <a:lnTo>
                    <a:pt x="646" y="36"/>
                  </a:lnTo>
                  <a:lnTo>
                    <a:pt x="632" y="38"/>
                  </a:lnTo>
                  <a:lnTo>
                    <a:pt x="629" y="39"/>
                  </a:lnTo>
                  <a:lnTo>
                    <a:pt x="617" y="44"/>
                  </a:lnTo>
                  <a:lnTo>
                    <a:pt x="603" y="47"/>
                  </a:lnTo>
                  <a:lnTo>
                    <a:pt x="598" y="50"/>
                  </a:lnTo>
                  <a:lnTo>
                    <a:pt x="592" y="57"/>
                  </a:lnTo>
                  <a:lnTo>
                    <a:pt x="589" y="61"/>
                  </a:lnTo>
                  <a:lnTo>
                    <a:pt x="588" y="64"/>
                  </a:lnTo>
                  <a:lnTo>
                    <a:pt x="569" y="78"/>
                  </a:lnTo>
                  <a:lnTo>
                    <a:pt x="568" y="81"/>
                  </a:lnTo>
                  <a:lnTo>
                    <a:pt x="566" y="84"/>
                  </a:lnTo>
                  <a:lnTo>
                    <a:pt x="559" y="94"/>
                  </a:lnTo>
                  <a:lnTo>
                    <a:pt x="554" y="97"/>
                  </a:lnTo>
                  <a:lnTo>
                    <a:pt x="549" y="102"/>
                  </a:lnTo>
                  <a:lnTo>
                    <a:pt x="549" y="103"/>
                  </a:lnTo>
                  <a:lnTo>
                    <a:pt x="545" y="109"/>
                  </a:lnTo>
                  <a:lnTo>
                    <a:pt x="538" y="112"/>
                  </a:lnTo>
                  <a:lnTo>
                    <a:pt x="537" y="112"/>
                  </a:lnTo>
                  <a:lnTo>
                    <a:pt x="528" y="112"/>
                  </a:lnTo>
                  <a:lnTo>
                    <a:pt x="525" y="114"/>
                  </a:lnTo>
                  <a:lnTo>
                    <a:pt x="522" y="117"/>
                  </a:lnTo>
                  <a:lnTo>
                    <a:pt x="519" y="118"/>
                  </a:lnTo>
                  <a:lnTo>
                    <a:pt x="515" y="120"/>
                  </a:lnTo>
                  <a:lnTo>
                    <a:pt x="512" y="121"/>
                  </a:lnTo>
                  <a:lnTo>
                    <a:pt x="509" y="122"/>
                  </a:lnTo>
                  <a:lnTo>
                    <a:pt x="506" y="123"/>
                  </a:lnTo>
                  <a:lnTo>
                    <a:pt x="499" y="122"/>
                  </a:lnTo>
                  <a:lnTo>
                    <a:pt x="498" y="122"/>
                  </a:lnTo>
                  <a:lnTo>
                    <a:pt x="495" y="123"/>
                  </a:lnTo>
                  <a:lnTo>
                    <a:pt x="489" y="126"/>
                  </a:lnTo>
                  <a:lnTo>
                    <a:pt x="485" y="127"/>
                  </a:lnTo>
                  <a:lnTo>
                    <a:pt x="478" y="126"/>
                  </a:lnTo>
                  <a:lnTo>
                    <a:pt x="472" y="122"/>
                  </a:lnTo>
                  <a:lnTo>
                    <a:pt x="467" y="118"/>
                  </a:lnTo>
                  <a:lnTo>
                    <a:pt x="466" y="118"/>
                  </a:lnTo>
                  <a:lnTo>
                    <a:pt x="461" y="115"/>
                  </a:lnTo>
                  <a:lnTo>
                    <a:pt x="455" y="113"/>
                  </a:lnTo>
                  <a:lnTo>
                    <a:pt x="434" y="112"/>
                  </a:lnTo>
                  <a:lnTo>
                    <a:pt x="415" y="105"/>
                  </a:lnTo>
                  <a:lnTo>
                    <a:pt x="382" y="107"/>
                  </a:lnTo>
                  <a:lnTo>
                    <a:pt x="374" y="106"/>
                  </a:lnTo>
                  <a:lnTo>
                    <a:pt x="367" y="104"/>
                  </a:lnTo>
                  <a:lnTo>
                    <a:pt x="342" y="94"/>
                  </a:lnTo>
                  <a:lnTo>
                    <a:pt x="336" y="93"/>
                  </a:lnTo>
                  <a:lnTo>
                    <a:pt x="331" y="95"/>
                  </a:lnTo>
                  <a:lnTo>
                    <a:pt x="322" y="102"/>
                  </a:lnTo>
                  <a:lnTo>
                    <a:pt x="319" y="103"/>
                  </a:lnTo>
                  <a:lnTo>
                    <a:pt x="316" y="103"/>
                  </a:lnTo>
                  <a:lnTo>
                    <a:pt x="288" y="104"/>
                  </a:lnTo>
                  <a:lnTo>
                    <a:pt x="286" y="104"/>
                  </a:lnTo>
                  <a:lnTo>
                    <a:pt x="231" y="90"/>
                  </a:lnTo>
                  <a:lnTo>
                    <a:pt x="221" y="85"/>
                  </a:lnTo>
                  <a:lnTo>
                    <a:pt x="218" y="84"/>
                  </a:lnTo>
                  <a:lnTo>
                    <a:pt x="204" y="87"/>
                  </a:lnTo>
                  <a:lnTo>
                    <a:pt x="202" y="87"/>
                  </a:lnTo>
                  <a:lnTo>
                    <a:pt x="197" y="86"/>
                  </a:lnTo>
                  <a:lnTo>
                    <a:pt x="180" y="76"/>
                  </a:lnTo>
                  <a:lnTo>
                    <a:pt x="155" y="75"/>
                  </a:lnTo>
                  <a:lnTo>
                    <a:pt x="141" y="77"/>
                  </a:lnTo>
                  <a:lnTo>
                    <a:pt x="135" y="80"/>
                  </a:lnTo>
                  <a:lnTo>
                    <a:pt x="129" y="81"/>
                  </a:lnTo>
                  <a:lnTo>
                    <a:pt x="124" y="83"/>
                  </a:lnTo>
                  <a:lnTo>
                    <a:pt x="112" y="85"/>
                  </a:lnTo>
                  <a:lnTo>
                    <a:pt x="91" y="87"/>
                  </a:lnTo>
                  <a:lnTo>
                    <a:pt x="86" y="85"/>
                  </a:lnTo>
                  <a:lnTo>
                    <a:pt x="82" y="82"/>
                  </a:lnTo>
                  <a:lnTo>
                    <a:pt x="80" y="78"/>
                  </a:lnTo>
                  <a:lnTo>
                    <a:pt x="80" y="73"/>
                  </a:lnTo>
                  <a:lnTo>
                    <a:pt x="84" y="56"/>
                  </a:lnTo>
                  <a:lnTo>
                    <a:pt x="85" y="51"/>
                  </a:lnTo>
                  <a:lnTo>
                    <a:pt x="89" y="49"/>
                  </a:lnTo>
                  <a:lnTo>
                    <a:pt x="92" y="49"/>
                  </a:lnTo>
                  <a:lnTo>
                    <a:pt x="98" y="47"/>
                  </a:lnTo>
                  <a:lnTo>
                    <a:pt x="102" y="46"/>
                  </a:lnTo>
                  <a:lnTo>
                    <a:pt x="107" y="43"/>
                  </a:lnTo>
                  <a:lnTo>
                    <a:pt x="110" y="36"/>
                  </a:lnTo>
                  <a:lnTo>
                    <a:pt x="109" y="29"/>
                  </a:lnTo>
                  <a:lnTo>
                    <a:pt x="105" y="28"/>
                  </a:lnTo>
                  <a:lnTo>
                    <a:pt x="102" y="26"/>
                  </a:lnTo>
                  <a:lnTo>
                    <a:pt x="94" y="25"/>
                  </a:lnTo>
                  <a:lnTo>
                    <a:pt x="89" y="23"/>
                  </a:lnTo>
                  <a:lnTo>
                    <a:pt x="55" y="0"/>
                  </a:lnTo>
                  <a:lnTo>
                    <a:pt x="48" y="3"/>
                  </a:lnTo>
                  <a:lnTo>
                    <a:pt x="46" y="5"/>
                  </a:lnTo>
                  <a:lnTo>
                    <a:pt x="44" y="8"/>
                  </a:lnTo>
                  <a:lnTo>
                    <a:pt x="41" y="11"/>
                  </a:lnTo>
                  <a:lnTo>
                    <a:pt x="41" y="12"/>
                  </a:lnTo>
                  <a:lnTo>
                    <a:pt x="41" y="13"/>
                  </a:lnTo>
                  <a:lnTo>
                    <a:pt x="41" y="14"/>
                  </a:lnTo>
                  <a:lnTo>
                    <a:pt x="41" y="15"/>
                  </a:lnTo>
                  <a:lnTo>
                    <a:pt x="41" y="15"/>
                  </a:lnTo>
                  <a:lnTo>
                    <a:pt x="40" y="21"/>
                  </a:lnTo>
                  <a:lnTo>
                    <a:pt x="40" y="24"/>
                  </a:lnTo>
                  <a:lnTo>
                    <a:pt x="40" y="26"/>
                  </a:lnTo>
                  <a:lnTo>
                    <a:pt x="41" y="31"/>
                  </a:lnTo>
                  <a:lnTo>
                    <a:pt x="41" y="33"/>
                  </a:lnTo>
                  <a:lnTo>
                    <a:pt x="39" y="36"/>
                  </a:lnTo>
                  <a:lnTo>
                    <a:pt x="36" y="37"/>
                  </a:lnTo>
                  <a:lnTo>
                    <a:pt x="33" y="36"/>
                  </a:lnTo>
                  <a:lnTo>
                    <a:pt x="30" y="38"/>
                  </a:lnTo>
                  <a:lnTo>
                    <a:pt x="28" y="40"/>
                  </a:lnTo>
                  <a:lnTo>
                    <a:pt x="26" y="44"/>
                  </a:lnTo>
                  <a:lnTo>
                    <a:pt x="25" y="46"/>
                  </a:lnTo>
                  <a:lnTo>
                    <a:pt x="21" y="46"/>
                  </a:lnTo>
                  <a:lnTo>
                    <a:pt x="19" y="46"/>
                  </a:lnTo>
                  <a:lnTo>
                    <a:pt x="14" y="47"/>
                  </a:lnTo>
                  <a:lnTo>
                    <a:pt x="10" y="49"/>
                  </a:lnTo>
                  <a:lnTo>
                    <a:pt x="8" y="52"/>
                  </a:lnTo>
                  <a:lnTo>
                    <a:pt x="8" y="54"/>
                  </a:lnTo>
                  <a:lnTo>
                    <a:pt x="8" y="61"/>
                  </a:lnTo>
                  <a:lnTo>
                    <a:pt x="7" y="64"/>
                  </a:lnTo>
                  <a:lnTo>
                    <a:pt x="7" y="65"/>
                  </a:lnTo>
                  <a:lnTo>
                    <a:pt x="5" y="68"/>
                  </a:lnTo>
                  <a:lnTo>
                    <a:pt x="5" y="69"/>
                  </a:lnTo>
                  <a:lnTo>
                    <a:pt x="5" y="76"/>
                  </a:lnTo>
                  <a:lnTo>
                    <a:pt x="3" y="83"/>
                  </a:lnTo>
                  <a:lnTo>
                    <a:pt x="1" y="88"/>
                  </a:lnTo>
                  <a:lnTo>
                    <a:pt x="0" y="92"/>
                  </a:lnTo>
                  <a:lnTo>
                    <a:pt x="2" y="98"/>
                  </a:lnTo>
                  <a:lnTo>
                    <a:pt x="6" y="103"/>
                  </a:lnTo>
                  <a:lnTo>
                    <a:pt x="6" y="105"/>
                  </a:lnTo>
                  <a:lnTo>
                    <a:pt x="6" y="108"/>
                  </a:lnTo>
                  <a:lnTo>
                    <a:pt x="6" y="110"/>
                  </a:lnTo>
                  <a:lnTo>
                    <a:pt x="7" y="113"/>
                  </a:lnTo>
                  <a:lnTo>
                    <a:pt x="8" y="116"/>
                  </a:lnTo>
                  <a:lnTo>
                    <a:pt x="9" y="119"/>
                  </a:lnTo>
                  <a:lnTo>
                    <a:pt x="11" y="121"/>
                  </a:lnTo>
                  <a:lnTo>
                    <a:pt x="12" y="123"/>
                  </a:lnTo>
                  <a:lnTo>
                    <a:pt x="17" y="125"/>
                  </a:lnTo>
                  <a:lnTo>
                    <a:pt x="19" y="127"/>
                  </a:lnTo>
                  <a:lnTo>
                    <a:pt x="20" y="130"/>
                  </a:lnTo>
                  <a:lnTo>
                    <a:pt x="20" y="135"/>
                  </a:lnTo>
                  <a:lnTo>
                    <a:pt x="21" y="137"/>
                  </a:lnTo>
                  <a:lnTo>
                    <a:pt x="21" y="138"/>
                  </a:lnTo>
                  <a:lnTo>
                    <a:pt x="21" y="138"/>
                  </a:lnTo>
                  <a:lnTo>
                    <a:pt x="21" y="138"/>
                  </a:lnTo>
                  <a:lnTo>
                    <a:pt x="21" y="138"/>
                  </a:lnTo>
                  <a:lnTo>
                    <a:pt x="21" y="139"/>
                  </a:lnTo>
                  <a:lnTo>
                    <a:pt x="21" y="140"/>
                  </a:lnTo>
                  <a:lnTo>
                    <a:pt x="21" y="141"/>
                  </a:lnTo>
                  <a:lnTo>
                    <a:pt x="21" y="141"/>
                  </a:lnTo>
                  <a:lnTo>
                    <a:pt x="21" y="142"/>
                  </a:lnTo>
                  <a:lnTo>
                    <a:pt x="21" y="142"/>
                  </a:lnTo>
                  <a:lnTo>
                    <a:pt x="21" y="143"/>
                  </a:lnTo>
                  <a:lnTo>
                    <a:pt x="21" y="143"/>
                  </a:lnTo>
                  <a:lnTo>
                    <a:pt x="21" y="144"/>
                  </a:lnTo>
                  <a:lnTo>
                    <a:pt x="21" y="146"/>
                  </a:lnTo>
                  <a:lnTo>
                    <a:pt x="21" y="146"/>
                  </a:lnTo>
                  <a:lnTo>
                    <a:pt x="23" y="151"/>
                  </a:lnTo>
                  <a:lnTo>
                    <a:pt x="26" y="161"/>
                  </a:lnTo>
                  <a:lnTo>
                    <a:pt x="27" y="165"/>
                  </a:lnTo>
                  <a:lnTo>
                    <a:pt x="29" y="167"/>
                  </a:lnTo>
                  <a:lnTo>
                    <a:pt x="35" y="170"/>
                  </a:lnTo>
                  <a:lnTo>
                    <a:pt x="36" y="171"/>
                  </a:lnTo>
                  <a:lnTo>
                    <a:pt x="38" y="174"/>
                  </a:lnTo>
                  <a:lnTo>
                    <a:pt x="39" y="175"/>
                  </a:lnTo>
                  <a:lnTo>
                    <a:pt x="41" y="175"/>
                  </a:lnTo>
                  <a:lnTo>
                    <a:pt x="45" y="175"/>
                  </a:lnTo>
                  <a:lnTo>
                    <a:pt x="46" y="176"/>
                  </a:lnTo>
                  <a:lnTo>
                    <a:pt x="47" y="177"/>
                  </a:lnTo>
                  <a:lnTo>
                    <a:pt x="49" y="181"/>
                  </a:lnTo>
                  <a:lnTo>
                    <a:pt x="49" y="181"/>
                  </a:lnTo>
                  <a:lnTo>
                    <a:pt x="50" y="182"/>
                  </a:lnTo>
                  <a:lnTo>
                    <a:pt x="52" y="183"/>
                  </a:lnTo>
                  <a:lnTo>
                    <a:pt x="55" y="182"/>
                  </a:lnTo>
                  <a:lnTo>
                    <a:pt x="56" y="183"/>
                  </a:lnTo>
                  <a:lnTo>
                    <a:pt x="59" y="184"/>
                  </a:lnTo>
                  <a:lnTo>
                    <a:pt x="60" y="184"/>
                  </a:lnTo>
                  <a:lnTo>
                    <a:pt x="61" y="185"/>
                  </a:lnTo>
                  <a:lnTo>
                    <a:pt x="72" y="197"/>
                  </a:lnTo>
                  <a:lnTo>
                    <a:pt x="75" y="200"/>
                  </a:lnTo>
                  <a:lnTo>
                    <a:pt x="75" y="201"/>
                  </a:lnTo>
                  <a:lnTo>
                    <a:pt x="75" y="205"/>
                  </a:lnTo>
                  <a:lnTo>
                    <a:pt x="76" y="207"/>
                  </a:lnTo>
                  <a:lnTo>
                    <a:pt x="77" y="209"/>
                  </a:lnTo>
                  <a:lnTo>
                    <a:pt x="81" y="212"/>
                  </a:lnTo>
                  <a:lnTo>
                    <a:pt x="85" y="218"/>
                  </a:lnTo>
                  <a:lnTo>
                    <a:pt x="87" y="220"/>
                  </a:lnTo>
                  <a:lnTo>
                    <a:pt x="90" y="222"/>
                  </a:lnTo>
                  <a:lnTo>
                    <a:pt x="98" y="224"/>
                  </a:lnTo>
                  <a:lnTo>
                    <a:pt x="100" y="225"/>
                  </a:lnTo>
                  <a:lnTo>
                    <a:pt x="101" y="228"/>
                  </a:lnTo>
                  <a:lnTo>
                    <a:pt x="101" y="230"/>
                  </a:lnTo>
                  <a:lnTo>
                    <a:pt x="99" y="238"/>
                  </a:lnTo>
                  <a:lnTo>
                    <a:pt x="96" y="245"/>
                  </a:lnTo>
                  <a:lnTo>
                    <a:pt x="93" y="249"/>
                  </a:lnTo>
                  <a:lnTo>
                    <a:pt x="92" y="250"/>
                  </a:lnTo>
                  <a:lnTo>
                    <a:pt x="89" y="252"/>
                  </a:lnTo>
                  <a:lnTo>
                    <a:pt x="88" y="253"/>
                  </a:lnTo>
                  <a:lnTo>
                    <a:pt x="87" y="254"/>
                  </a:lnTo>
                  <a:lnTo>
                    <a:pt x="86" y="259"/>
                  </a:lnTo>
                  <a:lnTo>
                    <a:pt x="85" y="260"/>
                  </a:lnTo>
                  <a:lnTo>
                    <a:pt x="79" y="267"/>
                  </a:lnTo>
                  <a:lnTo>
                    <a:pt x="76" y="269"/>
                  </a:lnTo>
                  <a:lnTo>
                    <a:pt x="76" y="269"/>
                  </a:lnTo>
                  <a:lnTo>
                    <a:pt x="76" y="269"/>
                  </a:lnTo>
                  <a:lnTo>
                    <a:pt x="76" y="269"/>
                  </a:lnTo>
                  <a:lnTo>
                    <a:pt x="74" y="270"/>
                  </a:lnTo>
                  <a:lnTo>
                    <a:pt x="70" y="271"/>
                  </a:lnTo>
                  <a:lnTo>
                    <a:pt x="68" y="273"/>
                  </a:lnTo>
                  <a:lnTo>
                    <a:pt x="67" y="274"/>
                  </a:lnTo>
                  <a:lnTo>
                    <a:pt x="66" y="277"/>
                  </a:lnTo>
                  <a:lnTo>
                    <a:pt x="63" y="288"/>
                  </a:lnTo>
                  <a:lnTo>
                    <a:pt x="62" y="290"/>
                  </a:lnTo>
                  <a:lnTo>
                    <a:pt x="62" y="290"/>
                  </a:lnTo>
                  <a:lnTo>
                    <a:pt x="60" y="293"/>
                  </a:lnTo>
                  <a:lnTo>
                    <a:pt x="55" y="295"/>
                  </a:lnTo>
                  <a:lnTo>
                    <a:pt x="50" y="296"/>
                  </a:lnTo>
                  <a:lnTo>
                    <a:pt x="39" y="293"/>
                  </a:lnTo>
                  <a:lnTo>
                    <a:pt x="34" y="293"/>
                  </a:lnTo>
                  <a:lnTo>
                    <a:pt x="32" y="295"/>
                  </a:lnTo>
                  <a:lnTo>
                    <a:pt x="31" y="296"/>
                  </a:lnTo>
                  <a:lnTo>
                    <a:pt x="31" y="296"/>
                  </a:lnTo>
                  <a:lnTo>
                    <a:pt x="30" y="297"/>
                  </a:lnTo>
                  <a:lnTo>
                    <a:pt x="27" y="296"/>
                  </a:lnTo>
                  <a:lnTo>
                    <a:pt x="25" y="296"/>
                  </a:lnTo>
                  <a:lnTo>
                    <a:pt x="24" y="298"/>
                  </a:lnTo>
                  <a:lnTo>
                    <a:pt x="21" y="301"/>
                  </a:lnTo>
                  <a:lnTo>
                    <a:pt x="20" y="303"/>
                  </a:lnTo>
                  <a:lnTo>
                    <a:pt x="16" y="305"/>
                  </a:lnTo>
                  <a:lnTo>
                    <a:pt x="14" y="306"/>
                  </a:lnTo>
                  <a:lnTo>
                    <a:pt x="13" y="308"/>
                  </a:lnTo>
                  <a:lnTo>
                    <a:pt x="13" y="308"/>
                  </a:lnTo>
                  <a:lnTo>
                    <a:pt x="12" y="309"/>
                  </a:lnTo>
                  <a:lnTo>
                    <a:pt x="13" y="310"/>
                  </a:lnTo>
                  <a:lnTo>
                    <a:pt x="17" y="319"/>
                  </a:lnTo>
                  <a:lnTo>
                    <a:pt x="19" y="322"/>
                  </a:lnTo>
                  <a:lnTo>
                    <a:pt x="21" y="324"/>
                  </a:lnTo>
                  <a:lnTo>
                    <a:pt x="21" y="325"/>
                  </a:lnTo>
                  <a:lnTo>
                    <a:pt x="21" y="326"/>
                  </a:lnTo>
                  <a:lnTo>
                    <a:pt x="21" y="326"/>
                  </a:lnTo>
                  <a:lnTo>
                    <a:pt x="21" y="327"/>
                  </a:lnTo>
                  <a:lnTo>
                    <a:pt x="19" y="329"/>
                  </a:lnTo>
                  <a:lnTo>
                    <a:pt x="15" y="337"/>
                  </a:lnTo>
                  <a:lnTo>
                    <a:pt x="16" y="340"/>
                  </a:lnTo>
                  <a:lnTo>
                    <a:pt x="15" y="345"/>
                  </a:lnTo>
                  <a:lnTo>
                    <a:pt x="15" y="347"/>
                  </a:lnTo>
                  <a:lnTo>
                    <a:pt x="13" y="356"/>
                  </a:lnTo>
                  <a:lnTo>
                    <a:pt x="12" y="360"/>
                  </a:lnTo>
                  <a:lnTo>
                    <a:pt x="13" y="361"/>
                  </a:lnTo>
                  <a:lnTo>
                    <a:pt x="21" y="368"/>
                  </a:lnTo>
                  <a:lnTo>
                    <a:pt x="26" y="372"/>
                  </a:lnTo>
                  <a:lnTo>
                    <a:pt x="28" y="374"/>
                  </a:lnTo>
                  <a:lnTo>
                    <a:pt x="29" y="377"/>
                  </a:lnTo>
                  <a:lnTo>
                    <a:pt x="29" y="377"/>
                  </a:lnTo>
                  <a:lnTo>
                    <a:pt x="30" y="381"/>
                  </a:lnTo>
                  <a:lnTo>
                    <a:pt x="29" y="385"/>
                  </a:lnTo>
                  <a:lnTo>
                    <a:pt x="27" y="393"/>
                  </a:lnTo>
                  <a:lnTo>
                    <a:pt x="26" y="396"/>
                  </a:lnTo>
                  <a:lnTo>
                    <a:pt x="24" y="397"/>
                  </a:lnTo>
                  <a:lnTo>
                    <a:pt x="22" y="398"/>
                  </a:lnTo>
                  <a:lnTo>
                    <a:pt x="19" y="399"/>
                  </a:lnTo>
                  <a:lnTo>
                    <a:pt x="17" y="402"/>
                  </a:lnTo>
                  <a:lnTo>
                    <a:pt x="14" y="410"/>
                  </a:lnTo>
                  <a:lnTo>
                    <a:pt x="12" y="413"/>
                  </a:lnTo>
                  <a:lnTo>
                    <a:pt x="9" y="414"/>
                  </a:lnTo>
                  <a:lnTo>
                    <a:pt x="2" y="414"/>
                  </a:lnTo>
                  <a:lnTo>
                    <a:pt x="0" y="416"/>
                  </a:lnTo>
                  <a:lnTo>
                    <a:pt x="15" y="437"/>
                  </a:lnTo>
                  <a:lnTo>
                    <a:pt x="21" y="441"/>
                  </a:lnTo>
                  <a:lnTo>
                    <a:pt x="23" y="448"/>
                  </a:lnTo>
                  <a:lnTo>
                    <a:pt x="25" y="451"/>
                  </a:lnTo>
                  <a:lnTo>
                    <a:pt x="26" y="452"/>
                  </a:lnTo>
                  <a:lnTo>
                    <a:pt x="29" y="455"/>
                  </a:lnTo>
                  <a:lnTo>
                    <a:pt x="43" y="465"/>
                  </a:lnTo>
                  <a:lnTo>
                    <a:pt x="44" y="466"/>
                  </a:lnTo>
                  <a:lnTo>
                    <a:pt x="52" y="470"/>
                  </a:lnTo>
                  <a:lnTo>
                    <a:pt x="57" y="471"/>
                  </a:lnTo>
                  <a:lnTo>
                    <a:pt x="57" y="471"/>
                  </a:lnTo>
                  <a:lnTo>
                    <a:pt x="58" y="472"/>
                  </a:lnTo>
                  <a:lnTo>
                    <a:pt x="59" y="473"/>
                  </a:lnTo>
                  <a:lnTo>
                    <a:pt x="60" y="474"/>
                  </a:lnTo>
                  <a:lnTo>
                    <a:pt x="67" y="473"/>
                  </a:lnTo>
                  <a:lnTo>
                    <a:pt x="69" y="474"/>
                  </a:lnTo>
                  <a:lnTo>
                    <a:pt x="70" y="474"/>
                  </a:lnTo>
                  <a:lnTo>
                    <a:pt x="70" y="476"/>
                  </a:lnTo>
                  <a:lnTo>
                    <a:pt x="70" y="477"/>
                  </a:lnTo>
                  <a:lnTo>
                    <a:pt x="72" y="478"/>
                  </a:lnTo>
                  <a:lnTo>
                    <a:pt x="73" y="478"/>
                  </a:lnTo>
                  <a:lnTo>
                    <a:pt x="75" y="477"/>
                  </a:lnTo>
                  <a:lnTo>
                    <a:pt x="76" y="477"/>
                  </a:lnTo>
                  <a:lnTo>
                    <a:pt x="78" y="479"/>
                  </a:lnTo>
                  <a:lnTo>
                    <a:pt x="79" y="479"/>
                  </a:lnTo>
                  <a:lnTo>
                    <a:pt x="79" y="481"/>
                  </a:lnTo>
                  <a:lnTo>
                    <a:pt x="79" y="481"/>
                  </a:lnTo>
                  <a:lnTo>
                    <a:pt x="79" y="484"/>
                  </a:lnTo>
                  <a:lnTo>
                    <a:pt x="79" y="484"/>
                  </a:lnTo>
                  <a:lnTo>
                    <a:pt x="80" y="486"/>
                  </a:lnTo>
                  <a:lnTo>
                    <a:pt x="81" y="489"/>
                  </a:lnTo>
                  <a:lnTo>
                    <a:pt x="81" y="494"/>
                  </a:lnTo>
                  <a:lnTo>
                    <a:pt x="82" y="498"/>
                  </a:lnTo>
                  <a:lnTo>
                    <a:pt x="84" y="503"/>
                  </a:lnTo>
                  <a:lnTo>
                    <a:pt x="84" y="505"/>
                  </a:lnTo>
                  <a:lnTo>
                    <a:pt x="84" y="508"/>
                  </a:lnTo>
                  <a:lnTo>
                    <a:pt x="85" y="510"/>
                  </a:lnTo>
                  <a:lnTo>
                    <a:pt x="85" y="510"/>
                  </a:lnTo>
                  <a:lnTo>
                    <a:pt x="85" y="510"/>
                  </a:lnTo>
                  <a:lnTo>
                    <a:pt x="87" y="511"/>
                  </a:lnTo>
                  <a:lnTo>
                    <a:pt x="88" y="512"/>
                  </a:lnTo>
                  <a:lnTo>
                    <a:pt x="89" y="515"/>
                  </a:lnTo>
                  <a:lnTo>
                    <a:pt x="90" y="522"/>
                  </a:lnTo>
                  <a:lnTo>
                    <a:pt x="94" y="530"/>
                  </a:lnTo>
                  <a:lnTo>
                    <a:pt x="95" y="532"/>
                  </a:lnTo>
                  <a:lnTo>
                    <a:pt x="97" y="533"/>
                  </a:lnTo>
                  <a:lnTo>
                    <a:pt x="100" y="533"/>
                  </a:lnTo>
                  <a:lnTo>
                    <a:pt x="102" y="533"/>
                  </a:lnTo>
                  <a:lnTo>
                    <a:pt x="105" y="538"/>
                  </a:lnTo>
                  <a:lnTo>
                    <a:pt x="105" y="543"/>
                  </a:lnTo>
                  <a:lnTo>
                    <a:pt x="103" y="548"/>
                  </a:lnTo>
                  <a:lnTo>
                    <a:pt x="101" y="551"/>
                  </a:lnTo>
                  <a:lnTo>
                    <a:pt x="100" y="553"/>
                  </a:lnTo>
                  <a:lnTo>
                    <a:pt x="99" y="557"/>
                  </a:lnTo>
                  <a:lnTo>
                    <a:pt x="98" y="557"/>
                  </a:lnTo>
                  <a:lnTo>
                    <a:pt x="97" y="558"/>
                  </a:lnTo>
                  <a:lnTo>
                    <a:pt x="95" y="559"/>
                  </a:lnTo>
                  <a:lnTo>
                    <a:pt x="94" y="560"/>
                  </a:lnTo>
                  <a:lnTo>
                    <a:pt x="93" y="562"/>
                  </a:lnTo>
                  <a:lnTo>
                    <a:pt x="93" y="565"/>
                  </a:lnTo>
                  <a:lnTo>
                    <a:pt x="93" y="568"/>
                  </a:lnTo>
                  <a:lnTo>
                    <a:pt x="93" y="571"/>
                  </a:lnTo>
                  <a:lnTo>
                    <a:pt x="94" y="572"/>
                  </a:lnTo>
                  <a:lnTo>
                    <a:pt x="95" y="574"/>
                  </a:lnTo>
                  <a:lnTo>
                    <a:pt x="95" y="576"/>
                  </a:lnTo>
                  <a:lnTo>
                    <a:pt x="95" y="577"/>
                  </a:lnTo>
                  <a:lnTo>
                    <a:pt x="94" y="581"/>
                  </a:lnTo>
                  <a:lnTo>
                    <a:pt x="94" y="584"/>
                  </a:lnTo>
                  <a:lnTo>
                    <a:pt x="95" y="598"/>
                  </a:lnTo>
                  <a:lnTo>
                    <a:pt x="95" y="600"/>
                  </a:lnTo>
                  <a:lnTo>
                    <a:pt x="96" y="602"/>
                  </a:lnTo>
                  <a:lnTo>
                    <a:pt x="96" y="603"/>
                  </a:lnTo>
                  <a:lnTo>
                    <a:pt x="96" y="604"/>
                  </a:lnTo>
                  <a:lnTo>
                    <a:pt x="94" y="606"/>
                  </a:lnTo>
                  <a:lnTo>
                    <a:pt x="94" y="607"/>
                  </a:lnTo>
                  <a:lnTo>
                    <a:pt x="94" y="612"/>
                  </a:lnTo>
                  <a:lnTo>
                    <a:pt x="95" y="616"/>
                  </a:lnTo>
                  <a:lnTo>
                    <a:pt x="94" y="620"/>
                  </a:lnTo>
                  <a:lnTo>
                    <a:pt x="90" y="623"/>
                  </a:lnTo>
                  <a:lnTo>
                    <a:pt x="122" y="628"/>
                  </a:lnTo>
                  <a:lnTo>
                    <a:pt x="129" y="627"/>
                  </a:lnTo>
                  <a:lnTo>
                    <a:pt x="132" y="626"/>
                  </a:lnTo>
                  <a:lnTo>
                    <a:pt x="134" y="625"/>
                  </a:lnTo>
                  <a:lnTo>
                    <a:pt x="135" y="624"/>
                  </a:lnTo>
                  <a:lnTo>
                    <a:pt x="136" y="622"/>
                  </a:lnTo>
                  <a:lnTo>
                    <a:pt x="136" y="618"/>
                  </a:lnTo>
                  <a:lnTo>
                    <a:pt x="137" y="616"/>
                  </a:lnTo>
                  <a:lnTo>
                    <a:pt x="139" y="614"/>
                  </a:lnTo>
                  <a:lnTo>
                    <a:pt x="143" y="612"/>
                  </a:lnTo>
                  <a:lnTo>
                    <a:pt x="146" y="610"/>
                  </a:lnTo>
                  <a:lnTo>
                    <a:pt x="149" y="610"/>
                  </a:lnTo>
                  <a:lnTo>
                    <a:pt x="152" y="612"/>
                  </a:lnTo>
                  <a:lnTo>
                    <a:pt x="153" y="615"/>
                  </a:lnTo>
                  <a:lnTo>
                    <a:pt x="155" y="616"/>
                  </a:lnTo>
                  <a:lnTo>
                    <a:pt x="158" y="616"/>
                  </a:lnTo>
                  <a:lnTo>
                    <a:pt x="162" y="614"/>
                  </a:lnTo>
                  <a:lnTo>
                    <a:pt x="166" y="611"/>
                  </a:lnTo>
                  <a:lnTo>
                    <a:pt x="169" y="610"/>
                  </a:lnTo>
                  <a:lnTo>
                    <a:pt x="185" y="610"/>
                  </a:lnTo>
                  <a:lnTo>
                    <a:pt x="195" y="616"/>
                  </a:lnTo>
                  <a:lnTo>
                    <a:pt x="201" y="616"/>
                  </a:lnTo>
                  <a:lnTo>
                    <a:pt x="203" y="615"/>
                  </a:lnTo>
                  <a:lnTo>
                    <a:pt x="203" y="614"/>
                  </a:lnTo>
                  <a:lnTo>
                    <a:pt x="207" y="610"/>
                  </a:lnTo>
                  <a:lnTo>
                    <a:pt x="210" y="609"/>
                  </a:lnTo>
                  <a:lnTo>
                    <a:pt x="216" y="609"/>
                  </a:lnTo>
                  <a:lnTo>
                    <a:pt x="221" y="610"/>
                  </a:lnTo>
                  <a:lnTo>
                    <a:pt x="223" y="610"/>
                  </a:lnTo>
                  <a:lnTo>
                    <a:pt x="227" y="604"/>
                  </a:lnTo>
                  <a:lnTo>
                    <a:pt x="229" y="602"/>
                  </a:lnTo>
                  <a:lnTo>
                    <a:pt x="232" y="603"/>
                  </a:lnTo>
                  <a:lnTo>
                    <a:pt x="235" y="602"/>
                  </a:lnTo>
                  <a:lnTo>
                    <a:pt x="239" y="601"/>
                  </a:lnTo>
                  <a:lnTo>
                    <a:pt x="241" y="600"/>
                  </a:lnTo>
                  <a:lnTo>
                    <a:pt x="246" y="596"/>
                  </a:lnTo>
                  <a:lnTo>
                    <a:pt x="247" y="596"/>
                  </a:lnTo>
                  <a:lnTo>
                    <a:pt x="254" y="602"/>
                  </a:lnTo>
                  <a:lnTo>
                    <a:pt x="256" y="601"/>
                  </a:lnTo>
                  <a:lnTo>
                    <a:pt x="259" y="599"/>
                  </a:lnTo>
                  <a:lnTo>
                    <a:pt x="260" y="598"/>
                  </a:lnTo>
                  <a:lnTo>
                    <a:pt x="261" y="598"/>
                  </a:lnTo>
                  <a:lnTo>
                    <a:pt x="262" y="598"/>
                  </a:lnTo>
                  <a:lnTo>
                    <a:pt x="262" y="596"/>
                  </a:lnTo>
                  <a:lnTo>
                    <a:pt x="266" y="599"/>
                  </a:lnTo>
                  <a:lnTo>
                    <a:pt x="268" y="599"/>
                  </a:lnTo>
                  <a:lnTo>
                    <a:pt x="270" y="598"/>
                  </a:lnTo>
                  <a:lnTo>
                    <a:pt x="270" y="596"/>
                  </a:lnTo>
                  <a:lnTo>
                    <a:pt x="270" y="595"/>
                  </a:lnTo>
                  <a:lnTo>
                    <a:pt x="270" y="590"/>
                  </a:lnTo>
                  <a:lnTo>
                    <a:pt x="270" y="583"/>
                  </a:lnTo>
                  <a:lnTo>
                    <a:pt x="274" y="581"/>
                  </a:lnTo>
                  <a:lnTo>
                    <a:pt x="281" y="581"/>
                  </a:lnTo>
                  <a:lnTo>
                    <a:pt x="285" y="583"/>
                  </a:lnTo>
                  <a:lnTo>
                    <a:pt x="287" y="584"/>
                  </a:lnTo>
                  <a:lnTo>
                    <a:pt x="287" y="585"/>
                  </a:lnTo>
                  <a:lnTo>
                    <a:pt x="288" y="586"/>
                  </a:lnTo>
                  <a:lnTo>
                    <a:pt x="289" y="586"/>
                  </a:lnTo>
                  <a:lnTo>
                    <a:pt x="290" y="585"/>
                  </a:lnTo>
                  <a:lnTo>
                    <a:pt x="290" y="582"/>
                  </a:lnTo>
                  <a:lnTo>
                    <a:pt x="291" y="581"/>
                  </a:lnTo>
                  <a:lnTo>
                    <a:pt x="293" y="579"/>
                  </a:lnTo>
                  <a:lnTo>
                    <a:pt x="294" y="578"/>
                  </a:lnTo>
                  <a:lnTo>
                    <a:pt x="296" y="577"/>
                  </a:lnTo>
                  <a:lnTo>
                    <a:pt x="299" y="576"/>
                  </a:lnTo>
                  <a:lnTo>
                    <a:pt x="302" y="575"/>
                  </a:lnTo>
                  <a:lnTo>
                    <a:pt x="305" y="578"/>
                  </a:lnTo>
                  <a:lnTo>
                    <a:pt x="308" y="580"/>
                  </a:lnTo>
                  <a:lnTo>
                    <a:pt x="308" y="582"/>
                  </a:lnTo>
                  <a:lnTo>
                    <a:pt x="307" y="584"/>
                  </a:lnTo>
                  <a:lnTo>
                    <a:pt x="308" y="585"/>
                  </a:lnTo>
                  <a:lnTo>
                    <a:pt x="309" y="585"/>
                  </a:lnTo>
                  <a:lnTo>
                    <a:pt x="310" y="585"/>
                  </a:lnTo>
                  <a:lnTo>
                    <a:pt x="311" y="584"/>
                  </a:lnTo>
                  <a:lnTo>
                    <a:pt x="313" y="584"/>
                  </a:lnTo>
                  <a:lnTo>
                    <a:pt x="317" y="585"/>
                  </a:lnTo>
                  <a:lnTo>
                    <a:pt x="318" y="585"/>
                  </a:lnTo>
                  <a:lnTo>
                    <a:pt x="324" y="583"/>
                  </a:lnTo>
                  <a:lnTo>
                    <a:pt x="326" y="583"/>
                  </a:lnTo>
                  <a:lnTo>
                    <a:pt x="329" y="583"/>
                  </a:lnTo>
                  <a:lnTo>
                    <a:pt x="332" y="583"/>
                  </a:lnTo>
                  <a:lnTo>
                    <a:pt x="335" y="578"/>
                  </a:lnTo>
                  <a:lnTo>
                    <a:pt x="339" y="577"/>
                  </a:lnTo>
                  <a:lnTo>
                    <a:pt x="343" y="576"/>
                  </a:lnTo>
                  <a:lnTo>
                    <a:pt x="347" y="579"/>
                  </a:lnTo>
                  <a:lnTo>
                    <a:pt x="348" y="584"/>
                  </a:lnTo>
                  <a:lnTo>
                    <a:pt x="349" y="590"/>
                  </a:lnTo>
                  <a:lnTo>
                    <a:pt x="349" y="592"/>
                  </a:lnTo>
                  <a:lnTo>
                    <a:pt x="350" y="593"/>
                  </a:lnTo>
                  <a:lnTo>
                    <a:pt x="351" y="593"/>
                  </a:lnTo>
                  <a:lnTo>
                    <a:pt x="352" y="595"/>
                  </a:lnTo>
                  <a:lnTo>
                    <a:pt x="352" y="595"/>
                  </a:lnTo>
                  <a:lnTo>
                    <a:pt x="354" y="596"/>
                  </a:lnTo>
                  <a:lnTo>
                    <a:pt x="354" y="597"/>
                  </a:lnTo>
                  <a:lnTo>
                    <a:pt x="355" y="598"/>
                  </a:lnTo>
                  <a:lnTo>
                    <a:pt x="354" y="601"/>
                  </a:lnTo>
                  <a:lnTo>
                    <a:pt x="354" y="601"/>
                  </a:lnTo>
                  <a:lnTo>
                    <a:pt x="357" y="603"/>
                  </a:lnTo>
                  <a:lnTo>
                    <a:pt x="359" y="604"/>
                  </a:lnTo>
                  <a:lnTo>
                    <a:pt x="364" y="604"/>
                  </a:lnTo>
                  <a:lnTo>
                    <a:pt x="363" y="606"/>
                  </a:lnTo>
                  <a:lnTo>
                    <a:pt x="367" y="606"/>
                  </a:lnTo>
                  <a:lnTo>
                    <a:pt x="370" y="606"/>
                  </a:lnTo>
                  <a:lnTo>
                    <a:pt x="373" y="608"/>
                  </a:lnTo>
                  <a:lnTo>
                    <a:pt x="376" y="611"/>
                  </a:lnTo>
                  <a:lnTo>
                    <a:pt x="382" y="618"/>
                  </a:lnTo>
                  <a:lnTo>
                    <a:pt x="385" y="621"/>
                  </a:lnTo>
                  <a:lnTo>
                    <a:pt x="388" y="621"/>
                  </a:lnTo>
                  <a:lnTo>
                    <a:pt x="390" y="618"/>
                  </a:lnTo>
                  <a:lnTo>
                    <a:pt x="389" y="614"/>
                  </a:lnTo>
                  <a:lnTo>
                    <a:pt x="390" y="611"/>
                  </a:lnTo>
                  <a:lnTo>
                    <a:pt x="396" y="611"/>
                  </a:lnTo>
                  <a:lnTo>
                    <a:pt x="399" y="610"/>
                  </a:lnTo>
                  <a:lnTo>
                    <a:pt x="401" y="609"/>
                  </a:lnTo>
                  <a:lnTo>
                    <a:pt x="403" y="610"/>
                  </a:lnTo>
                  <a:lnTo>
                    <a:pt x="408" y="613"/>
                  </a:lnTo>
                  <a:lnTo>
                    <a:pt x="434" y="624"/>
                  </a:lnTo>
                  <a:lnTo>
                    <a:pt x="436" y="623"/>
                  </a:lnTo>
                  <a:lnTo>
                    <a:pt x="437" y="623"/>
                  </a:lnTo>
                  <a:lnTo>
                    <a:pt x="437" y="624"/>
                  </a:lnTo>
                  <a:lnTo>
                    <a:pt x="439" y="626"/>
                  </a:lnTo>
                  <a:lnTo>
                    <a:pt x="439" y="626"/>
                  </a:lnTo>
                  <a:lnTo>
                    <a:pt x="445" y="629"/>
                  </a:lnTo>
                  <a:lnTo>
                    <a:pt x="446" y="630"/>
                  </a:lnTo>
                  <a:lnTo>
                    <a:pt x="449" y="632"/>
                  </a:lnTo>
                  <a:lnTo>
                    <a:pt x="456" y="641"/>
                  </a:lnTo>
                  <a:lnTo>
                    <a:pt x="459" y="643"/>
                  </a:lnTo>
                  <a:lnTo>
                    <a:pt x="463" y="644"/>
                  </a:lnTo>
                  <a:lnTo>
                    <a:pt x="466" y="644"/>
                  </a:lnTo>
                  <a:lnTo>
                    <a:pt x="493" y="635"/>
                  </a:lnTo>
                  <a:lnTo>
                    <a:pt x="497" y="634"/>
                  </a:lnTo>
                  <a:lnTo>
                    <a:pt x="499" y="634"/>
                  </a:lnTo>
                  <a:lnTo>
                    <a:pt x="500" y="635"/>
                  </a:lnTo>
                  <a:lnTo>
                    <a:pt x="501" y="635"/>
                  </a:lnTo>
                  <a:lnTo>
                    <a:pt x="503" y="634"/>
                  </a:lnTo>
                  <a:lnTo>
                    <a:pt x="504" y="633"/>
                  </a:lnTo>
                  <a:lnTo>
                    <a:pt x="505" y="630"/>
                  </a:lnTo>
                  <a:lnTo>
                    <a:pt x="506" y="628"/>
                  </a:lnTo>
                  <a:lnTo>
                    <a:pt x="509" y="627"/>
                  </a:lnTo>
                  <a:lnTo>
                    <a:pt x="523" y="628"/>
                  </a:lnTo>
                  <a:lnTo>
                    <a:pt x="524" y="629"/>
                  </a:lnTo>
                  <a:lnTo>
                    <a:pt x="527" y="631"/>
                  </a:lnTo>
                  <a:lnTo>
                    <a:pt x="529" y="631"/>
                  </a:lnTo>
                  <a:lnTo>
                    <a:pt x="531" y="631"/>
                  </a:lnTo>
                  <a:lnTo>
                    <a:pt x="532" y="630"/>
                  </a:lnTo>
                  <a:lnTo>
                    <a:pt x="533" y="629"/>
                  </a:lnTo>
                  <a:lnTo>
                    <a:pt x="535" y="628"/>
                  </a:lnTo>
                  <a:lnTo>
                    <a:pt x="537" y="627"/>
                  </a:lnTo>
                  <a:lnTo>
                    <a:pt x="542" y="627"/>
                  </a:lnTo>
                  <a:lnTo>
                    <a:pt x="548" y="623"/>
                  </a:lnTo>
                  <a:lnTo>
                    <a:pt x="550" y="622"/>
                  </a:lnTo>
                  <a:lnTo>
                    <a:pt x="553" y="624"/>
                  </a:lnTo>
                  <a:lnTo>
                    <a:pt x="558" y="629"/>
                  </a:lnTo>
                  <a:lnTo>
                    <a:pt x="561" y="630"/>
                  </a:lnTo>
                  <a:lnTo>
                    <a:pt x="563" y="630"/>
                  </a:lnTo>
                  <a:lnTo>
                    <a:pt x="567" y="627"/>
                  </a:lnTo>
                  <a:lnTo>
                    <a:pt x="569" y="627"/>
                  </a:lnTo>
                  <a:lnTo>
                    <a:pt x="572" y="628"/>
                  </a:lnTo>
                  <a:lnTo>
                    <a:pt x="573" y="628"/>
                  </a:lnTo>
                  <a:lnTo>
                    <a:pt x="577" y="626"/>
                  </a:lnTo>
                  <a:lnTo>
                    <a:pt x="581" y="623"/>
                  </a:lnTo>
                  <a:lnTo>
                    <a:pt x="583" y="622"/>
                  </a:lnTo>
                  <a:lnTo>
                    <a:pt x="597" y="619"/>
                  </a:lnTo>
                  <a:lnTo>
                    <a:pt x="598" y="619"/>
                  </a:lnTo>
                  <a:lnTo>
                    <a:pt x="599" y="619"/>
                  </a:lnTo>
                  <a:lnTo>
                    <a:pt x="601" y="616"/>
                  </a:lnTo>
                  <a:lnTo>
                    <a:pt x="603" y="610"/>
                  </a:lnTo>
                  <a:lnTo>
                    <a:pt x="605" y="605"/>
                  </a:lnTo>
                  <a:lnTo>
                    <a:pt x="606" y="604"/>
                  </a:lnTo>
                  <a:lnTo>
                    <a:pt x="607" y="603"/>
                  </a:lnTo>
                  <a:lnTo>
                    <a:pt x="607" y="603"/>
                  </a:lnTo>
                  <a:lnTo>
                    <a:pt x="608" y="601"/>
                  </a:lnTo>
                  <a:lnTo>
                    <a:pt x="607" y="600"/>
                  </a:lnTo>
                  <a:lnTo>
                    <a:pt x="605" y="598"/>
                  </a:lnTo>
                  <a:lnTo>
                    <a:pt x="604" y="597"/>
                  </a:lnTo>
                  <a:lnTo>
                    <a:pt x="603" y="593"/>
                  </a:lnTo>
                  <a:lnTo>
                    <a:pt x="603" y="592"/>
                  </a:lnTo>
                  <a:lnTo>
                    <a:pt x="605" y="590"/>
                  </a:lnTo>
                  <a:lnTo>
                    <a:pt x="606" y="587"/>
                  </a:lnTo>
                  <a:lnTo>
                    <a:pt x="606" y="585"/>
                  </a:lnTo>
                  <a:lnTo>
                    <a:pt x="606" y="582"/>
                  </a:lnTo>
                  <a:lnTo>
                    <a:pt x="605" y="580"/>
                  </a:lnTo>
                  <a:lnTo>
                    <a:pt x="604" y="579"/>
                  </a:lnTo>
                  <a:lnTo>
                    <a:pt x="601" y="578"/>
                  </a:lnTo>
                  <a:lnTo>
                    <a:pt x="601" y="577"/>
                  </a:lnTo>
                  <a:lnTo>
                    <a:pt x="600" y="576"/>
                  </a:lnTo>
                  <a:lnTo>
                    <a:pt x="600" y="573"/>
                  </a:lnTo>
                  <a:lnTo>
                    <a:pt x="600" y="571"/>
                  </a:lnTo>
                  <a:lnTo>
                    <a:pt x="599" y="566"/>
                  </a:lnTo>
                  <a:lnTo>
                    <a:pt x="598" y="564"/>
                  </a:lnTo>
                  <a:lnTo>
                    <a:pt x="597" y="562"/>
                  </a:lnTo>
                  <a:lnTo>
                    <a:pt x="595" y="562"/>
                  </a:lnTo>
                  <a:lnTo>
                    <a:pt x="593" y="561"/>
                  </a:lnTo>
                  <a:lnTo>
                    <a:pt x="590" y="560"/>
                  </a:lnTo>
                  <a:lnTo>
                    <a:pt x="589" y="558"/>
                  </a:lnTo>
                  <a:lnTo>
                    <a:pt x="588" y="557"/>
                  </a:lnTo>
                  <a:lnTo>
                    <a:pt x="588" y="555"/>
                  </a:lnTo>
                  <a:lnTo>
                    <a:pt x="587" y="552"/>
                  </a:lnTo>
                  <a:lnTo>
                    <a:pt x="587" y="549"/>
                  </a:lnTo>
                  <a:lnTo>
                    <a:pt x="588" y="546"/>
                  </a:lnTo>
                  <a:lnTo>
                    <a:pt x="589" y="545"/>
                  </a:lnTo>
                  <a:lnTo>
                    <a:pt x="590" y="544"/>
                  </a:lnTo>
                  <a:lnTo>
                    <a:pt x="591" y="544"/>
                  </a:lnTo>
                  <a:lnTo>
                    <a:pt x="593" y="544"/>
                  </a:lnTo>
                  <a:lnTo>
                    <a:pt x="597" y="540"/>
                  </a:lnTo>
                  <a:lnTo>
                    <a:pt x="601" y="539"/>
                  </a:lnTo>
                  <a:lnTo>
                    <a:pt x="610" y="539"/>
                  </a:lnTo>
                  <a:lnTo>
                    <a:pt x="613" y="536"/>
                  </a:lnTo>
                  <a:lnTo>
                    <a:pt x="616" y="536"/>
                  </a:lnTo>
                  <a:lnTo>
                    <a:pt x="617" y="537"/>
                  </a:lnTo>
                  <a:lnTo>
                    <a:pt x="621" y="542"/>
                  </a:lnTo>
                  <a:lnTo>
                    <a:pt x="623" y="543"/>
                  </a:lnTo>
                  <a:lnTo>
                    <a:pt x="627" y="544"/>
                  </a:lnTo>
                  <a:lnTo>
                    <a:pt x="632" y="543"/>
                  </a:lnTo>
                  <a:lnTo>
                    <a:pt x="631" y="541"/>
                  </a:lnTo>
                  <a:lnTo>
                    <a:pt x="630" y="537"/>
                  </a:lnTo>
                  <a:lnTo>
                    <a:pt x="631" y="533"/>
                  </a:lnTo>
                  <a:lnTo>
                    <a:pt x="633" y="527"/>
                  </a:lnTo>
                  <a:lnTo>
                    <a:pt x="639" y="522"/>
                  </a:lnTo>
                  <a:lnTo>
                    <a:pt x="656" y="522"/>
                  </a:lnTo>
                  <a:lnTo>
                    <a:pt x="663" y="520"/>
                  </a:lnTo>
                  <a:lnTo>
                    <a:pt x="665" y="517"/>
                  </a:lnTo>
                  <a:lnTo>
                    <a:pt x="666" y="513"/>
                  </a:lnTo>
                  <a:lnTo>
                    <a:pt x="667" y="509"/>
                  </a:lnTo>
                  <a:lnTo>
                    <a:pt x="667" y="508"/>
                  </a:lnTo>
                  <a:lnTo>
                    <a:pt x="667" y="507"/>
                  </a:lnTo>
                  <a:lnTo>
                    <a:pt x="668" y="505"/>
                  </a:lnTo>
                  <a:lnTo>
                    <a:pt x="668" y="503"/>
                  </a:lnTo>
                  <a:lnTo>
                    <a:pt x="669" y="502"/>
                  </a:lnTo>
                  <a:lnTo>
                    <a:pt x="668" y="502"/>
                  </a:lnTo>
                  <a:lnTo>
                    <a:pt x="666" y="500"/>
                  </a:lnTo>
                  <a:lnTo>
                    <a:pt x="666" y="499"/>
                  </a:lnTo>
                  <a:lnTo>
                    <a:pt x="666" y="498"/>
                  </a:lnTo>
                  <a:lnTo>
                    <a:pt x="667" y="497"/>
                  </a:lnTo>
                  <a:lnTo>
                    <a:pt x="669" y="496"/>
                  </a:lnTo>
                  <a:lnTo>
                    <a:pt x="673" y="491"/>
                  </a:lnTo>
                  <a:lnTo>
                    <a:pt x="676" y="489"/>
                  </a:lnTo>
                  <a:lnTo>
                    <a:pt x="679" y="489"/>
                  </a:lnTo>
                  <a:lnTo>
                    <a:pt x="694" y="492"/>
                  </a:lnTo>
                  <a:lnTo>
                    <a:pt x="697" y="491"/>
                  </a:lnTo>
                  <a:lnTo>
                    <a:pt x="698" y="490"/>
                  </a:lnTo>
                  <a:lnTo>
                    <a:pt x="702" y="487"/>
                  </a:lnTo>
                  <a:lnTo>
                    <a:pt x="704" y="486"/>
                  </a:lnTo>
                  <a:lnTo>
                    <a:pt x="705" y="487"/>
                  </a:lnTo>
                  <a:lnTo>
                    <a:pt x="708" y="489"/>
                  </a:lnTo>
                  <a:lnTo>
                    <a:pt x="710" y="490"/>
                  </a:lnTo>
                  <a:lnTo>
                    <a:pt x="711" y="489"/>
                  </a:lnTo>
                  <a:lnTo>
                    <a:pt x="713" y="488"/>
                  </a:lnTo>
                  <a:lnTo>
                    <a:pt x="715" y="486"/>
                  </a:lnTo>
                  <a:lnTo>
                    <a:pt x="716" y="485"/>
                  </a:lnTo>
                  <a:lnTo>
                    <a:pt x="718" y="485"/>
                  </a:lnTo>
                  <a:lnTo>
                    <a:pt x="720" y="486"/>
                  </a:lnTo>
                  <a:lnTo>
                    <a:pt x="721" y="486"/>
                  </a:lnTo>
                  <a:lnTo>
                    <a:pt x="723" y="484"/>
                  </a:lnTo>
                  <a:lnTo>
                    <a:pt x="724" y="483"/>
                  </a:lnTo>
                  <a:lnTo>
                    <a:pt x="727" y="484"/>
                  </a:lnTo>
                  <a:lnTo>
                    <a:pt x="729" y="484"/>
                  </a:lnTo>
                  <a:lnTo>
                    <a:pt x="730" y="481"/>
                  </a:lnTo>
                  <a:lnTo>
                    <a:pt x="732" y="479"/>
                  </a:lnTo>
                  <a:lnTo>
                    <a:pt x="733" y="477"/>
                  </a:lnTo>
                  <a:lnTo>
                    <a:pt x="735" y="476"/>
                  </a:lnTo>
                  <a:lnTo>
                    <a:pt x="739" y="474"/>
                  </a:lnTo>
                  <a:lnTo>
                    <a:pt x="742" y="467"/>
                  </a:lnTo>
                  <a:lnTo>
                    <a:pt x="746" y="465"/>
                  </a:lnTo>
                  <a:lnTo>
                    <a:pt x="746" y="465"/>
                  </a:lnTo>
                  <a:lnTo>
                    <a:pt x="749" y="465"/>
                  </a:lnTo>
                  <a:lnTo>
                    <a:pt x="752" y="466"/>
                  </a:lnTo>
                  <a:lnTo>
                    <a:pt x="754" y="468"/>
                  </a:lnTo>
                  <a:lnTo>
                    <a:pt x="757" y="469"/>
                  </a:lnTo>
                  <a:lnTo>
                    <a:pt x="759" y="469"/>
                  </a:lnTo>
                  <a:lnTo>
                    <a:pt x="762" y="469"/>
                  </a:lnTo>
                  <a:lnTo>
                    <a:pt x="766" y="470"/>
                  </a:lnTo>
                  <a:lnTo>
                    <a:pt x="767" y="470"/>
                  </a:lnTo>
                  <a:lnTo>
                    <a:pt x="767" y="469"/>
                  </a:lnTo>
                  <a:lnTo>
                    <a:pt x="767" y="469"/>
                  </a:lnTo>
                  <a:lnTo>
                    <a:pt x="771" y="464"/>
                  </a:lnTo>
                  <a:lnTo>
                    <a:pt x="773" y="462"/>
                  </a:lnTo>
                  <a:lnTo>
                    <a:pt x="776" y="462"/>
                  </a:lnTo>
                  <a:lnTo>
                    <a:pt x="782" y="463"/>
                  </a:lnTo>
                  <a:lnTo>
                    <a:pt x="787" y="466"/>
                  </a:lnTo>
                  <a:lnTo>
                    <a:pt x="791" y="470"/>
                  </a:lnTo>
                  <a:lnTo>
                    <a:pt x="798" y="481"/>
                  </a:lnTo>
                  <a:lnTo>
                    <a:pt x="801" y="485"/>
                  </a:lnTo>
                  <a:lnTo>
                    <a:pt x="805" y="488"/>
                  </a:lnTo>
                  <a:lnTo>
                    <a:pt x="817" y="495"/>
                  </a:lnTo>
                  <a:lnTo>
                    <a:pt x="819" y="497"/>
                  </a:lnTo>
                  <a:lnTo>
                    <a:pt x="823" y="502"/>
                  </a:lnTo>
                  <a:lnTo>
                    <a:pt x="825" y="503"/>
                  </a:lnTo>
                  <a:lnTo>
                    <a:pt x="828" y="503"/>
                  </a:lnTo>
                  <a:lnTo>
                    <a:pt x="826" y="502"/>
                  </a:lnTo>
                  <a:lnTo>
                    <a:pt x="826" y="501"/>
                  </a:lnTo>
                  <a:lnTo>
                    <a:pt x="827" y="501"/>
                  </a:lnTo>
                  <a:lnTo>
                    <a:pt x="827" y="500"/>
                  </a:lnTo>
                  <a:lnTo>
                    <a:pt x="827" y="500"/>
                  </a:lnTo>
                  <a:lnTo>
                    <a:pt x="827" y="499"/>
                  </a:lnTo>
                  <a:lnTo>
                    <a:pt x="826" y="499"/>
                  </a:lnTo>
                  <a:lnTo>
                    <a:pt x="826" y="499"/>
                  </a:lnTo>
                  <a:lnTo>
                    <a:pt x="829" y="498"/>
                  </a:lnTo>
                  <a:lnTo>
                    <a:pt x="831" y="497"/>
                  </a:lnTo>
                  <a:lnTo>
                    <a:pt x="832" y="495"/>
                  </a:lnTo>
                  <a:lnTo>
                    <a:pt x="833" y="496"/>
                  </a:lnTo>
                  <a:lnTo>
                    <a:pt x="834" y="496"/>
                  </a:lnTo>
                  <a:lnTo>
                    <a:pt x="835" y="495"/>
                  </a:lnTo>
                  <a:lnTo>
                    <a:pt x="835" y="493"/>
                  </a:lnTo>
                  <a:lnTo>
                    <a:pt x="847" y="489"/>
                  </a:lnTo>
                  <a:lnTo>
                    <a:pt x="853" y="489"/>
                  </a:lnTo>
                  <a:lnTo>
                    <a:pt x="862" y="494"/>
                  </a:lnTo>
                  <a:lnTo>
                    <a:pt x="864" y="495"/>
                  </a:lnTo>
                  <a:lnTo>
                    <a:pt x="866" y="495"/>
                  </a:lnTo>
                  <a:lnTo>
                    <a:pt x="868" y="494"/>
                  </a:lnTo>
                  <a:lnTo>
                    <a:pt x="868" y="493"/>
                  </a:lnTo>
                  <a:lnTo>
                    <a:pt x="866" y="491"/>
                  </a:lnTo>
                  <a:lnTo>
                    <a:pt x="866" y="489"/>
                  </a:lnTo>
                  <a:lnTo>
                    <a:pt x="866" y="486"/>
                  </a:lnTo>
                  <a:lnTo>
                    <a:pt x="866" y="484"/>
                  </a:lnTo>
                  <a:lnTo>
                    <a:pt x="867" y="484"/>
                  </a:lnTo>
                  <a:lnTo>
                    <a:pt x="868" y="484"/>
                  </a:lnTo>
                  <a:lnTo>
                    <a:pt x="869" y="484"/>
                  </a:lnTo>
                  <a:lnTo>
                    <a:pt x="869" y="484"/>
                  </a:lnTo>
                  <a:lnTo>
                    <a:pt x="872" y="484"/>
                  </a:lnTo>
                  <a:lnTo>
                    <a:pt x="874" y="484"/>
                  </a:lnTo>
                  <a:lnTo>
                    <a:pt x="878" y="484"/>
                  </a:lnTo>
                  <a:lnTo>
                    <a:pt x="882" y="487"/>
                  </a:lnTo>
                  <a:lnTo>
                    <a:pt x="884" y="487"/>
                  </a:lnTo>
                  <a:lnTo>
                    <a:pt x="892" y="486"/>
                  </a:lnTo>
                  <a:lnTo>
                    <a:pt x="894" y="487"/>
                  </a:lnTo>
                  <a:lnTo>
                    <a:pt x="900" y="489"/>
                  </a:lnTo>
                  <a:lnTo>
                    <a:pt x="900" y="489"/>
                  </a:lnTo>
                  <a:lnTo>
                    <a:pt x="899" y="486"/>
                  </a:lnTo>
                  <a:lnTo>
                    <a:pt x="901" y="484"/>
                  </a:lnTo>
                  <a:lnTo>
                    <a:pt x="900" y="481"/>
                  </a:lnTo>
                  <a:lnTo>
                    <a:pt x="899" y="478"/>
                  </a:lnTo>
                  <a:lnTo>
                    <a:pt x="897" y="476"/>
                  </a:lnTo>
                  <a:lnTo>
                    <a:pt x="898" y="476"/>
                  </a:lnTo>
                  <a:lnTo>
                    <a:pt x="898" y="476"/>
                  </a:lnTo>
                  <a:lnTo>
                    <a:pt x="898" y="476"/>
                  </a:lnTo>
                  <a:lnTo>
                    <a:pt x="898" y="474"/>
                  </a:lnTo>
                  <a:lnTo>
                    <a:pt x="897" y="473"/>
                  </a:lnTo>
                  <a:lnTo>
                    <a:pt x="895" y="472"/>
                  </a:lnTo>
                  <a:lnTo>
                    <a:pt x="894" y="469"/>
                  </a:lnTo>
                  <a:lnTo>
                    <a:pt x="895" y="467"/>
                  </a:lnTo>
                  <a:lnTo>
                    <a:pt x="893" y="467"/>
                  </a:lnTo>
                  <a:lnTo>
                    <a:pt x="891" y="464"/>
                  </a:lnTo>
                  <a:lnTo>
                    <a:pt x="891" y="463"/>
                  </a:lnTo>
                  <a:lnTo>
                    <a:pt x="882" y="457"/>
                  </a:lnTo>
                  <a:lnTo>
                    <a:pt x="879" y="451"/>
                  </a:lnTo>
                  <a:lnTo>
                    <a:pt x="878" y="450"/>
                  </a:lnTo>
                  <a:lnTo>
                    <a:pt x="873" y="447"/>
                  </a:lnTo>
                  <a:lnTo>
                    <a:pt x="874" y="446"/>
                  </a:lnTo>
                  <a:lnTo>
                    <a:pt x="874" y="445"/>
                  </a:lnTo>
                  <a:lnTo>
                    <a:pt x="874" y="444"/>
                  </a:lnTo>
                  <a:lnTo>
                    <a:pt x="872" y="443"/>
                  </a:lnTo>
                  <a:lnTo>
                    <a:pt x="870" y="441"/>
                  </a:lnTo>
                  <a:lnTo>
                    <a:pt x="869" y="439"/>
                  </a:lnTo>
                  <a:lnTo>
                    <a:pt x="868" y="437"/>
                  </a:lnTo>
                  <a:lnTo>
                    <a:pt x="867" y="436"/>
                  </a:lnTo>
                  <a:lnTo>
                    <a:pt x="861" y="432"/>
                  </a:lnTo>
                  <a:lnTo>
                    <a:pt x="862" y="431"/>
                  </a:lnTo>
                  <a:lnTo>
                    <a:pt x="862" y="431"/>
                  </a:lnTo>
                  <a:lnTo>
                    <a:pt x="862" y="431"/>
                  </a:lnTo>
                  <a:lnTo>
                    <a:pt x="858" y="428"/>
                  </a:lnTo>
                  <a:lnTo>
                    <a:pt x="858" y="424"/>
                  </a:lnTo>
                  <a:lnTo>
                    <a:pt x="860" y="420"/>
                  </a:lnTo>
                  <a:lnTo>
                    <a:pt x="863" y="416"/>
                  </a:lnTo>
                  <a:lnTo>
                    <a:pt x="862" y="415"/>
                  </a:lnTo>
                  <a:lnTo>
                    <a:pt x="861" y="414"/>
                  </a:lnTo>
                  <a:lnTo>
                    <a:pt x="861" y="413"/>
                  </a:lnTo>
                  <a:lnTo>
                    <a:pt x="862" y="412"/>
                  </a:lnTo>
                  <a:lnTo>
                    <a:pt x="862" y="410"/>
                  </a:lnTo>
                  <a:lnTo>
                    <a:pt x="860" y="410"/>
                  </a:lnTo>
                  <a:lnTo>
                    <a:pt x="858" y="411"/>
                  </a:lnTo>
                  <a:lnTo>
                    <a:pt x="856" y="411"/>
                  </a:lnTo>
                  <a:lnTo>
                    <a:pt x="854" y="410"/>
                  </a:lnTo>
                  <a:lnTo>
                    <a:pt x="852" y="408"/>
                  </a:lnTo>
                  <a:lnTo>
                    <a:pt x="851" y="405"/>
                  </a:lnTo>
                  <a:lnTo>
                    <a:pt x="851" y="402"/>
                  </a:lnTo>
                  <a:lnTo>
                    <a:pt x="852" y="400"/>
                  </a:lnTo>
                  <a:lnTo>
                    <a:pt x="851" y="400"/>
                  </a:lnTo>
                  <a:lnTo>
                    <a:pt x="850" y="399"/>
                  </a:lnTo>
                  <a:lnTo>
                    <a:pt x="849" y="397"/>
                  </a:lnTo>
                  <a:lnTo>
                    <a:pt x="852" y="396"/>
                  </a:lnTo>
                  <a:lnTo>
                    <a:pt x="852" y="396"/>
                  </a:lnTo>
                  <a:lnTo>
                    <a:pt x="852" y="394"/>
                  </a:lnTo>
                  <a:lnTo>
                    <a:pt x="851" y="395"/>
                  </a:lnTo>
                  <a:lnTo>
                    <a:pt x="849" y="394"/>
                  </a:lnTo>
                  <a:lnTo>
                    <a:pt x="848" y="393"/>
                  </a:lnTo>
                  <a:lnTo>
                    <a:pt x="848" y="391"/>
                  </a:lnTo>
                  <a:lnTo>
                    <a:pt x="844" y="394"/>
                  </a:lnTo>
                  <a:lnTo>
                    <a:pt x="842" y="393"/>
                  </a:lnTo>
                  <a:lnTo>
                    <a:pt x="840" y="391"/>
                  </a:lnTo>
                  <a:lnTo>
                    <a:pt x="839" y="387"/>
                  </a:lnTo>
                  <a:lnTo>
                    <a:pt x="840" y="386"/>
                  </a:lnTo>
                  <a:lnTo>
                    <a:pt x="840" y="386"/>
                  </a:lnTo>
                  <a:lnTo>
                    <a:pt x="840" y="386"/>
                  </a:lnTo>
                  <a:lnTo>
                    <a:pt x="841" y="385"/>
                  </a:lnTo>
                  <a:lnTo>
                    <a:pt x="838" y="385"/>
                  </a:lnTo>
                  <a:lnTo>
                    <a:pt x="837" y="385"/>
                  </a:lnTo>
                  <a:lnTo>
                    <a:pt x="835" y="386"/>
                  </a:lnTo>
                  <a:lnTo>
                    <a:pt x="833" y="387"/>
                  </a:lnTo>
                  <a:lnTo>
                    <a:pt x="832" y="386"/>
                  </a:lnTo>
                  <a:lnTo>
                    <a:pt x="830" y="385"/>
                  </a:lnTo>
                  <a:lnTo>
                    <a:pt x="829" y="385"/>
                  </a:lnTo>
                  <a:lnTo>
                    <a:pt x="827" y="387"/>
                  </a:lnTo>
                  <a:lnTo>
                    <a:pt x="825" y="384"/>
                  </a:lnTo>
                  <a:lnTo>
                    <a:pt x="823" y="386"/>
                  </a:lnTo>
                  <a:lnTo>
                    <a:pt x="822" y="388"/>
                  </a:lnTo>
                  <a:lnTo>
                    <a:pt x="820" y="390"/>
                  </a:lnTo>
                  <a:lnTo>
                    <a:pt x="818" y="389"/>
                  </a:lnTo>
                  <a:lnTo>
                    <a:pt x="813" y="384"/>
                  </a:lnTo>
                  <a:lnTo>
                    <a:pt x="812" y="388"/>
                  </a:lnTo>
                  <a:lnTo>
                    <a:pt x="813" y="389"/>
                  </a:lnTo>
                  <a:lnTo>
                    <a:pt x="813" y="389"/>
                  </a:lnTo>
                  <a:lnTo>
                    <a:pt x="813" y="390"/>
                  </a:lnTo>
                  <a:lnTo>
                    <a:pt x="812" y="391"/>
                  </a:lnTo>
                  <a:lnTo>
                    <a:pt x="812" y="388"/>
                  </a:lnTo>
                  <a:lnTo>
                    <a:pt x="812" y="387"/>
                  </a:lnTo>
                  <a:lnTo>
                    <a:pt x="812" y="385"/>
                  </a:lnTo>
                  <a:lnTo>
                    <a:pt x="810" y="383"/>
                  </a:lnTo>
                  <a:lnTo>
                    <a:pt x="810" y="380"/>
                  </a:lnTo>
                  <a:lnTo>
                    <a:pt x="812" y="378"/>
                  </a:lnTo>
                  <a:lnTo>
                    <a:pt x="815" y="380"/>
                  </a:lnTo>
                  <a:lnTo>
                    <a:pt x="816" y="374"/>
                  </a:lnTo>
                  <a:lnTo>
                    <a:pt x="818" y="369"/>
                  </a:lnTo>
                  <a:lnTo>
                    <a:pt x="820" y="364"/>
                  </a:lnTo>
                  <a:lnTo>
                    <a:pt x="824" y="362"/>
                  </a:lnTo>
                  <a:lnTo>
                    <a:pt x="839" y="362"/>
                  </a:lnTo>
                  <a:lnTo>
                    <a:pt x="842" y="363"/>
                  </a:lnTo>
                  <a:lnTo>
                    <a:pt x="840" y="360"/>
                  </a:lnTo>
                  <a:lnTo>
                    <a:pt x="838" y="354"/>
                  </a:lnTo>
                  <a:lnTo>
                    <a:pt x="838" y="348"/>
                  </a:lnTo>
                  <a:lnTo>
                    <a:pt x="841" y="346"/>
                  </a:lnTo>
                  <a:lnTo>
                    <a:pt x="845" y="345"/>
                  </a:lnTo>
                  <a:lnTo>
                    <a:pt x="852" y="342"/>
                  </a:lnTo>
                  <a:lnTo>
                    <a:pt x="856" y="341"/>
                  </a:lnTo>
                  <a:lnTo>
                    <a:pt x="853" y="340"/>
                  </a:lnTo>
                  <a:lnTo>
                    <a:pt x="852" y="338"/>
                  </a:lnTo>
                  <a:lnTo>
                    <a:pt x="852" y="336"/>
                  </a:lnTo>
                  <a:lnTo>
                    <a:pt x="852" y="334"/>
                  </a:lnTo>
                  <a:lnTo>
                    <a:pt x="854" y="331"/>
                  </a:lnTo>
                  <a:lnTo>
                    <a:pt x="855" y="330"/>
                  </a:lnTo>
                  <a:lnTo>
                    <a:pt x="857" y="329"/>
                  </a:lnTo>
                  <a:lnTo>
                    <a:pt x="863" y="330"/>
                  </a:lnTo>
                  <a:lnTo>
                    <a:pt x="872" y="331"/>
                  </a:lnTo>
                  <a:lnTo>
                    <a:pt x="880" y="331"/>
                  </a:lnTo>
                  <a:lnTo>
                    <a:pt x="881" y="329"/>
                  </a:lnTo>
                  <a:lnTo>
                    <a:pt x="881" y="325"/>
                  </a:lnTo>
                  <a:lnTo>
                    <a:pt x="881" y="315"/>
                  </a:lnTo>
                  <a:lnTo>
                    <a:pt x="880" y="309"/>
                  </a:lnTo>
                  <a:lnTo>
                    <a:pt x="879" y="304"/>
                  </a:lnTo>
                  <a:lnTo>
                    <a:pt x="879" y="301"/>
                  </a:lnTo>
                  <a:lnTo>
                    <a:pt x="882" y="298"/>
                  </a:lnTo>
                  <a:lnTo>
                    <a:pt x="881" y="295"/>
                  </a:lnTo>
                  <a:lnTo>
                    <a:pt x="882" y="281"/>
                  </a:lnTo>
                  <a:lnTo>
                    <a:pt x="881" y="276"/>
                  </a:lnTo>
                  <a:lnTo>
                    <a:pt x="879" y="266"/>
                  </a:lnTo>
                  <a:lnTo>
                    <a:pt x="879" y="261"/>
                  </a:lnTo>
                  <a:lnTo>
                    <a:pt x="879" y="259"/>
                  </a:lnTo>
                  <a:lnTo>
                    <a:pt x="881" y="258"/>
                  </a:lnTo>
                  <a:lnTo>
                    <a:pt x="882" y="256"/>
                  </a:lnTo>
                  <a:lnTo>
                    <a:pt x="883" y="254"/>
                  </a:lnTo>
                  <a:lnTo>
                    <a:pt x="885" y="244"/>
                  </a:lnTo>
                  <a:lnTo>
                    <a:pt x="888" y="234"/>
                  </a:lnTo>
                  <a:lnTo>
                    <a:pt x="888" y="232"/>
                  </a:lnTo>
                  <a:lnTo>
                    <a:pt x="887" y="230"/>
                  </a:lnTo>
                  <a:lnTo>
                    <a:pt x="882" y="226"/>
                  </a:lnTo>
                  <a:lnTo>
                    <a:pt x="882" y="224"/>
                  </a:lnTo>
                  <a:lnTo>
                    <a:pt x="883" y="224"/>
                  </a:lnTo>
                  <a:lnTo>
                    <a:pt x="885" y="224"/>
                  </a:lnTo>
                  <a:lnTo>
                    <a:pt x="886" y="223"/>
                  </a:lnTo>
                  <a:lnTo>
                    <a:pt x="897" y="220"/>
                  </a:lnTo>
                  <a:lnTo>
                    <a:pt x="900" y="218"/>
                  </a:lnTo>
                  <a:lnTo>
                    <a:pt x="902" y="214"/>
                  </a:lnTo>
                  <a:lnTo>
                    <a:pt x="911" y="191"/>
                  </a:lnTo>
                  <a:lnTo>
                    <a:pt x="912" y="189"/>
                  </a:lnTo>
                  <a:lnTo>
                    <a:pt x="916" y="183"/>
                  </a:lnTo>
                  <a:lnTo>
                    <a:pt x="922" y="180"/>
                  </a:lnTo>
                  <a:lnTo>
                    <a:pt x="925" y="179"/>
                  </a:lnTo>
                  <a:lnTo>
                    <a:pt x="936" y="180"/>
                  </a:lnTo>
                  <a:lnTo>
                    <a:pt x="939" y="179"/>
                  </a:lnTo>
                  <a:lnTo>
                    <a:pt x="945" y="176"/>
                  </a:lnTo>
                  <a:lnTo>
                    <a:pt x="948" y="175"/>
                  </a:lnTo>
                  <a:lnTo>
                    <a:pt x="956" y="176"/>
                  </a:lnTo>
                  <a:lnTo>
                    <a:pt x="959" y="178"/>
                  </a:lnTo>
                  <a:lnTo>
                    <a:pt x="961" y="180"/>
                  </a:lnTo>
                  <a:lnTo>
                    <a:pt x="963" y="181"/>
                  </a:lnTo>
                  <a:lnTo>
                    <a:pt x="970" y="185"/>
                  </a:lnTo>
                  <a:lnTo>
                    <a:pt x="972" y="189"/>
                  </a:lnTo>
                  <a:lnTo>
                    <a:pt x="972" y="185"/>
                  </a:lnTo>
                  <a:lnTo>
                    <a:pt x="973" y="182"/>
                  </a:lnTo>
                  <a:lnTo>
                    <a:pt x="975" y="180"/>
                  </a:lnTo>
                  <a:lnTo>
                    <a:pt x="982" y="173"/>
                  </a:lnTo>
                  <a:lnTo>
                    <a:pt x="984" y="172"/>
                  </a:lnTo>
                  <a:lnTo>
                    <a:pt x="986" y="170"/>
                  </a:lnTo>
                  <a:lnTo>
                    <a:pt x="989" y="164"/>
                  </a:lnTo>
                  <a:lnTo>
                    <a:pt x="992" y="157"/>
                  </a:lnTo>
                  <a:lnTo>
                    <a:pt x="993" y="151"/>
                  </a:lnTo>
                  <a:lnTo>
                    <a:pt x="993" y="148"/>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15" name="Freeform 51">
              <a:extLst>
                <a:ext uri="{FF2B5EF4-FFF2-40B4-BE49-F238E27FC236}">
                  <a16:creationId xmlns:a16="http://schemas.microsoft.com/office/drawing/2014/main" id="{03649247-4E8B-46AC-AFBA-0422BCBED21F}"/>
                </a:ext>
              </a:extLst>
            </p:cNvPr>
            <p:cNvSpPr>
              <a:spLocks/>
            </p:cNvSpPr>
            <p:nvPr/>
          </p:nvSpPr>
          <p:spPr bwMode="gray">
            <a:xfrm>
              <a:off x="9602754" y="5292417"/>
              <a:ext cx="386419" cy="372707"/>
            </a:xfrm>
            <a:custGeom>
              <a:avLst/>
              <a:gdLst>
                <a:gd name="T0" fmla="*/ 600 w 620"/>
                <a:gd name="T1" fmla="*/ 261 h 598"/>
                <a:gd name="T2" fmla="*/ 582 w 620"/>
                <a:gd name="T3" fmla="*/ 246 h 598"/>
                <a:gd name="T4" fmla="*/ 560 w 620"/>
                <a:gd name="T5" fmla="*/ 225 h 598"/>
                <a:gd name="T6" fmla="*/ 544 w 620"/>
                <a:gd name="T7" fmla="*/ 190 h 598"/>
                <a:gd name="T8" fmla="*/ 551 w 620"/>
                <a:gd name="T9" fmla="*/ 158 h 598"/>
                <a:gd name="T10" fmla="*/ 574 w 620"/>
                <a:gd name="T11" fmla="*/ 122 h 598"/>
                <a:gd name="T12" fmla="*/ 578 w 620"/>
                <a:gd name="T13" fmla="*/ 87 h 598"/>
                <a:gd name="T14" fmla="*/ 560 w 620"/>
                <a:gd name="T15" fmla="*/ 82 h 598"/>
                <a:gd name="T16" fmla="*/ 529 w 620"/>
                <a:gd name="T17" fmla="*/ 92 h 598"/>
                <a:gd name="T18" fmla="*/ 487 w 620"/>
                <a:gd name="T19" fmla="*/ 74 h 598"/>
                <a:gd name="T20" fmla="*/ 488 w 620"/>
                <a:gd name="T21" fmla="*/ 62 h 598"/>
                <a:gd name="T22" fmla="*/ 468 w 620"/>
                <a:gd name="T23" fmla="*/ 45 h 598"/>
                <a:gd name="T24" fmla="*/ 459 w 620"/>
                <a:gd name="T25" fmla="*/ 41 h 598"/>
                <a:gd name="T26" fmla="*/ 449 w 620"/>
                <a:gd name="T27" fmla="*/ 48 h 598"/>
                <a:gd name="T28" fmla="*/ 425 w 620"/>
                <a:gd name="T29" fmla="*/ 37 h 598"/>
                <a:gd name="T30" fmla="*/ 390 w 620"/>
                <a:gd name="T31" fmla="*/ 41 h 598"/>
                <a:gd name="T32" fmla="*/ 361 w 620"/>
                <a:gd name="T33" fmla="*/ 31 h 598"/>
                <a:gd name="T34" fmla="*/ 317 w 620"/>
                <a:gd name="T35" fmla="*/ 29 h 598"/>
                <a:gd name="T36" fmla="*/ 281 w 620"/>
                <a:gd name="T37" fmla="*/ 36 h 598"/>
                <a:gd name="T38" fmla="*/ 274 w 620"/>
                <a:gd name="T39" fmla="*/ 28 h 598"/>
                <a:gd name="T40" fmla="*/ 244 w 620"/>
                <a:gd name="T41" fmla="*/ 27 h 598"/>
                <a:gd name="T42" fmla="*/ 205 w 620"/>
                <a:gd name="T43" fmla="*/ 15 h 598"/>
                <a:gd name="T44" fmla="*/ 199 w 620"/>
                <a:gd name="T45" fmla="*/ 10 h 598"/>
                <a:gd name="T46" fmla="*/ 184 w 620"/>
                <a:gd name="T47" fmla="*/ 8 h 598"/>
                <a:gd name="T48" fmla="*/ 170 w 620"/>
                <a:gd name="T49" fmla="*/ 23 h 598"/>
                <a:gd name="T50" fmla="*/ 106 w 620"/>
                <a:gd name="T51" fmla="*/ 40 h 598"/>
                <a:gd name="T52" fmla="*/ 84 w 620"/>
                <a:gd name="T53" fmla="*/ 59 h 598"/>
                <a:gd name="T54" fmla="*/ 50 w 620"/>
                <a:gd name="T55" fmla="*/ 19 h 598"/>
                <a:gd name="T56" fmla="*/ 11 w 620"/>
                <a:gd name="T57" fmla="*/ 26 h 598"/>
                <a:gd name="T58" fmla="*/ 3 w 620"/>
                <a:gd name="T59" fmla="*/ 79 h 598"/>
                <a:gd name="T60" fmla="*/ 2 w 620"/>
                <a:gd name="T61" fmla="*/ 115 h 598"/>
                <a:gd name="T62" fmla="*/ 23 w 620"/>
                <a:gd name="T63" fmla="*/ 129 h 598"/>
                <a:gd name="T64" fmla="*/ 33 w 620"/>
                <a:gd name="T65" fmla="*/ 133 h 598"/>
                <a:gd name="T66" fmla="*/ 51 w 620"/>
                <a:gd name="T67" fmla="*/ 149 h 598"/>
                <a:gd name="T68" fmla="*/ 59 w 620"/>
                <a:gd name="T69" fmla="*/ 167 h 598"/>
                <a:gd name="T70" fmla="*/ 68 w 620"/>
                <a:gd name="T71" fmla="*/ 200 h 598"/>
                <a:gd name="T72" fmla="*/ 77 w 620"/>
                <a:gd name="T73" fmla="*/ 213 h 598"/>
                <a:gd name="T74" fmla="*/ 97 w 620"/>
                <a:gd name="T75" fmla="*/ 267 h 598"/>
                <a:gd name="T76" fmla="*/ 122 w 620"/>
                <a:gd name="T77" fmla="*/ 284 h 598"/>
                <a:gd name="T78" fmla="*/ 156 w 620"/>
                <a:gd name="T79" fmla="*/ 332 h 598"/>
                <a:gd name="T80" fmla="*/ 249 w 620"/>
                <a:gd name="T81" fmla="*/ 408 h 598"/>
                <a:gd name="T82" fmla="*/ 274 w 620"/>
                <a:gd name="T83" fmla="*/ 470 h 598"/>
                <a:gd name="T84" fmla="*/ 305 w 620"/>
                <a:gd name="T85" fmla="*/ 514 h 598"/>
                <a:gd name="T86" fmla="*/ 310 w 620"/>
                <a:gd name="T87" fmla="*/ 523 h 598"/>
                <a:gd name="T88" fmla="*/ 335 w 620"/>
                <a:gd name="T89" fmla="*/ 527 h 598"/>
                <a:gd name="T90" fmla="*/ 398 w 620"/>
                <a:gd name="T91" fmla="*/ 583 h 598"/>
                <a:gd name="T92" fmla="*/ 432 w 620"/>
                <a:gd name="T93" fmla="*/ 598 h 598"/>
                <a:gd name="T94" fmla="*/ 445 w 620"/>
                <a:gd name="T95" fmla="*/ 589 h 598"/>
                <a:gd name="T96" fmla="*/ 434 w 620"/>
                <a:gd name="T97" fmla="*/ 543 h 598"/>
                <a:gd name="T98" fmla="*/ 439 w 620"/>
                <a:gd name="T99" fmla="*/ 500 h 598"/>
                <a:gd name="T100" fmla="*/ 468 w 620"/>
                <a:gd name="T101" fmla="*/ 453 h 598"/>
                <a:gd name="T102" fmla="*/ 514 w 620"/>
                <a:gd name="T103" fmla="*/ 431 h 598"/>
                <a:gd name="T104" fmla="*/ 523 w 620"/>
                <a:gd name="T105" fmla="*/ 442 h 598"/>
                <a:gd name="T106" fmla="*/ 517 w 620"/>
                <a:gd name="T107" fmla="*/ 406 h 598"/>
                <a:gd name="T108" fmla="*/ 507 w 620"/>
                <a:gd name="T109" fmla="*/ 393 h 598"/>
                <a:gd name="T110" fmla="*/ 534 w 620"/>
                <a:gd name="T111" fmla="*/ 393 h 598"/>
                <a:gd name="T112" fmla="*/ 567 w 620"/>
                <a:gd name="T113" fmla="*/ 375 h 598"/>
                <a:gd name="T114" fmla="*/ 588 w 620"/>
                <a:gd name="T115" fmla="*/ 384 h 598"/>
                <a:gd name="T116" fmla="*/ 597 w 620"/>
                <a:gd name="T117" fmla="*/ 369 h 598"/>
                <a:gd name="T118" fmla="*/ 558 w 620"/>
                <a:gd name="T119" fmla="*/ 294 h 598"/>
                <a:gd name="T120" fmla="*/ 573 w 620"/>
                <a:gd name="T121" fmla="*/ 286 h 598"/>
                <a:gd name="T122" fmla="*/ 619 w 620"/>
                <a:gd name="T123" fmla="*/ 281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20" h="598">
                  <a:moveTo>
                    <a:pt x="619" y="273"/>
                  </a:moveTo>
                  <a:lnTo>
                    <a:pt x="617" y="271"/>
                  </a:lnTo>
                  <a:lnTo>
                    <a:pt x="615" y="272"/>
                  </a:lnTo>
                  <a:lnTo>
                    <a:pt x="614" y="273"/>
                  </a:lnTo>
                  <a:lnTo>
                    <a:pt x="614" y="274"/>
                  </a:lnTo>
                  <a:lnTo>
                    <a:pt x="612" y="273"/>
                  </a:lnTo>
                  <a:lnTo>
                    <a:pt x="610" y="269"/>
                  </a:lnTo>
                  <a:lnTo>
                    <a:pt x="605" y="266"/>
                  </a:lnTo>
                  <a:lnTo>
                    <a:pt x="604" y="265"/>
                  </a:lnTo>
                  <a:lnTo>
                    <a:pt x="600" y="261"/>
                  </a:lnTo>
                  <a:lnTo>
                    <a:pt x="598" y="259"/>
                  </a:lnTo>
                  <a:lnTo>
                    <a:pt x="597" y="257"/>
                  </a:lnTo>
                  <a:lnTo>
                    <a:pt x="597" y="253"/>
                  </a:lnTo>
                  <a:lnTo>
                    <a:pt x="595" y="251"/>
                  </a:lnTo>
                  <a:lnTo>
                    <a:pt x="595" y="251"/>
                  </a:lnTo>
                  <a:lnTo>
                    <a:pt x="593" y="253"/>
                  </a:lnTo>
                  <a:lnTo>
                    <a:pt x="592" y="254"/>
                  </a:lnTo>
                  <a:lnTo>
                    <a:pt x="591" y="253"/>
                  </a:lnTo>
                  <a:lnTo>
                    <a:pt x="589" y="251"/>
                  </a:lnTo>
                  <a:lnTo>
                    <a:pt x="582" y="246"/>
                  </a:lnTo>
                  <a:lnTo>
                    <a:pt x="579" y="243"/>
                  </a:lnTo>
                  <a:lnTo>
                    <a:pt x="578" y="240"/>
                  </a:lnTo>
                  <a:lnTo>
                    <a:pt x="578" y="236"/>
                  </a:lnTo>
                  <a:lnTo>
                    <a:pt x="576" y="231"/>
                  </a:lnTo>
                  <a:lnTo>
                    <a:pt x="573" y="227"/>
                  </a:lnTo>
                  <a:lnTo>
                    <a:pt x="570" y="225"/>
                  </a:lnTo>
                  <a:lnTo>
                    <a:pt x="569" y="224"/>
                  </a:lnTo>
                  <a:lnTo>
                    <a:pt x="563" y="225"/>
                  </a:lnTo>
                  <a:lnTo>
                    <a:pt x="561" y="225"/>
                  </a:lnTo>
                  <a:lnTo>
                    <a:pt x="560" y="225"/>
                  </a:lnTo>
                  <a:lnTo>
                    <a:pt x="556" y="223"/>
                  </a:lnTo>
                  <a:lnTo>
                    <a:pt x="550" y="222"/>
                  </a:lnTo>
                  <a:lnTo>
                    <a:pt x="546" y="220"/>
                  </a:lnTo>
                  <a:lnTo>
                    <a:pt x="544" y="217"/>
                  </a:lnTo>
                  <a:lnTo>
                    <a:pt x="540" y="209"/>
                  </a:lnTo>
                  <a:lnTo>
                    <a:pt x="539" y="205"/>
                  </a:lnTo>
                  <a:lnTo>
                    <a:pt x="539" y="200"/>
                  </a:lnTo>
                  <a:lnTo>
                    <a:pt x="540" y="196"/>
                  </a:lnTo>
                  <a:lnTo>
                    <a:pt x="542" y="193"/>
                  </a:lnTo>
                  <a:lnTo>
                    <a:pt x="544" y="190"/>
                  </a:lnTo>
                  <a:lnTo>
                    <a:pt x="544" y="184"/>
                  </a:lnTo>
                  <a:lnTo>
                    <a:pt x="542" y="174"/>
                  </a:lnTo>
                  <a:lnTo>
                    <a:pt x="542" y="171"/>
                  </a:lnTo>
                  <a:lnTo>
                    <a:pt x="548" y="169"/>
                  </a:lnTo>
                  <a:lnTo>
                    <a:pt x="549" y="168"/>
                  </a:lnTo>
                  <a:lnTo>
                    <a:pt x="550" y="166"/>
                  </a:lnTo>
                  <a:lnTo>
                    <a:pt x="551" y="164"/>
                  </a:lnTo>
                  <a:lnTo>
                    <a:pt x="551" y="163"/>
                  </a:lnTo>
                  <a:lnTo>
                    <a:pt x="551" y="159"/>
                  </a:lnTo>
                  <a:lnTo>
                    <a:pt x="551" y="158"/>
                  </a:lnTo>
                  <a:lnTo>
                    <a:pt x="552" y="157"/>
                  </a:lnTo>
                  <a:lnTo>
                    <a:pt x="554" y="156"/>
                  </a:lnTo>
                  <a:lnTo>
                    <a:pt x="555" y="155"/>
                  </a:lnTo>
                  <a:lnTo>
                    <a:pt x="562" y="142"/>
                  </a:lnTo>
                  <a:lnTo>
                    <a:pt x="564" y="136"/>
                  </a:lnTo>
                  <a:lnTo>
                    <a:pt x="566" y="133"/>
                  </a:lnTo>
                  <a:lnTo>
                    <a:pt x="567" y="132"/>
                  </a:lnTo>
                  <a:lnTo>
                    <a:pt x="571" y="129"/>
                  </a:lnTo>
                  <a:lnTo>
                    <a:pt x="572" y="127"/>
                  </a:lnTo>
                  <a:lnTo>
                    <a:pt x="574" y="122"/>
                  </a:lnTo>
                  <a:lnTo>
                    <a:pt x="579" y="96"/>
                  </a:lnTo>
                  <a:lnTo>
                    <a:pt x="580" y="95"/>
                  </a:lnTo>
                  <a:lnTo>
                    <a:pt x="581" y="94"/>
                  </a:lnTo>
                  <a:lnTo>
                    <a:pt x="581" y="94"/>
                  </a:lnTo>
                  <a:lnTo>
                    <a:pt x="581" y="92"/>
                  </a:lnTo>
                  <a:lnTo>
                    <a:pt x="581" y="90"/>
                  </a:lnTo>
                  <a:lnTo>
                    <a:pt x="580" y="88"/>
                  </a:lnTo>
                  <a:lnTo>
                    <a:pt x="579" y="88"/>
                  </a:lnTo>
                  <a:lnTo>
                    <a:pt x="578" y="87"/>
                  </a:lnTo>
                  <a:lnTo>
                    <a:pt x="578" y="87"/>
                  </a:lnTo>
                  <a:lnTo>
                    <a:pt x="578" y="86"/>
                  </a:lnTo>
                  <a:lnTo>
                    <a:pt x="578" y="86"/>
                  </a:lnTo>
                  <a:lnTo>
                    <a:pt x="577" y="86"/>
                  </a:lnTo>
                  <a:lnTo>
                    <a:pt x="576" y="86"/>
                  </a:lnTo>
                  <a:lnTo>
                    <a:pt x="574" y="86"/>
                  </a:lnTo>
                  <a:lnTo>
                    <a:pt x="571" y="83"/>
                  </a:lnTo>
                  <a:lnTo>
                    <a:pt x="569" y="83"/>
                  </a:lnTo>
                  <a:lnTo>
                    <a:pt x="568" y="83"/>
                  </a:lnTo>
                  <a:lnTo>
                    <a:pt x="566" y="84"/>
                  </a:lnTo>
                  <a:lnTo>
                    <a:pt x="560" y="82"/>
                  </a:lnTo>
                  <a:lnTo>
                    <a:pt x="558" y="83"/>
                  </a:lnTo>
                  <a:lnTo>
                    <a:pt x="555" y="84"/>
                  </a:lnTo>
                  <a:lnTo>
                    <a:pt x="554" y="84"/>
                  </a:lnTo>
                  <a:lnTo>
                    <a:pt x="553" y="83"/>
                  </a:lnTo>
                  <a:lnTo>
                    <a:pt x="552" y="81"/>
                  </a:lnTo>
                  <a:lnTo>
                    <a:pt x="551" y="79"/>
                  </a:lnTo>
                  <a:lnTo>
                    <a:pt x="549" y="80"/>
                  </a:lnTo>
                  <a:lnTo>
                    <a:pt x="535" y="90"/>
                  </a:lnTo>
                  <a:lnTo>
                    <a:pt x="532" y="91"/>
                  </a:lnTo>
                  <a:lnTo>
                    <a:pt x="529" y="92"/>
                  </a:lnTo>
                  <a:lnTo>
                    <a:pt x="524" y="93"/>
                  </a:lnTo>
                  <a:lnTo>
                    <a:pt x="522" y="94"/>
                  </a:lnTo>
                  <a:lnTo>
                    <a:pt x="504" y="94"/>
                  </a:lnTo>
                  <a:lnTo>
                    <a:pt x="499" y="93"/>
                  </a:lnTo>
                  <a:lnTo>
                    <a:pt x="497" y="91"/>
                  </a:lnTo>
                  <a:lnTo>
                    <a:pt x="497" y="91"/>
                  </a:lnTo>
                  <a:lnTo>
                    <a:pt x="493" y="88"/>
                  </a:lnTo>
                  <a:lnTo>
                    <a:pt x="487" y="83"/>
                  </a:lnTo>
                  <a:lnTo>
                    <a:pt x="485" y="76"/>
                  </a:lnTo>
                  <a:lnTo>
                    <a:pt x="487" y="74"/>
                  </a:lnTo>
                  <a:lnTo>
                    <a:pt x="490" y="71"/>
                  </a:lnTo>
                  <a:lnTo>
                    <a:pt x="491" y="69"/>
                  </a:lnTo>
                  <a:lnTo>
                    <a:pt x="490" y="68"/>
                  </a:lnTo>
                  <a:lnTo>
                    <a:pt x="489" y="67"/>
                  </a:lnTo>
                  <a:lnTo>
                    <a:pt x="489" y="67"/>
                  </a:lnTo>
                  <a:lnTo>
                    <a:pt x="489" y="66"/>
                  </a:lnTo>
                  <a:lnTo>
                    <a:pt x="489" y="65"/>
                  </a:lnTo>
                  <a:lnTo>
                    <a:pt x="489" y="64"/>
                  </a:lnTo>
                  <a:lnTo>
                    <a:pt x="488" y="63"/>
                  </a:lnTo>
                  <a:lnTo>
                    <a:pt x="488" y="62"/>
                  </a:lnTo>
                  <a:lnTo>
                    <a:pt x="488" y="61"/>
                  </a:lnTo>
                  <a:lnTo>
                    <a:pt x="486" y="61"/>
                  </a:lnTo>
                  <a:lnTo>
                    <a:pt x="482" y="60"/>
                  </a:lnTo>
                  <a:lnTo>
                    <a:pt x="480" y="60"/>
                  </a:lnTo>
                  <a:lnTo>
                    <a:pt x="478" y="57"/>
                  </a:lnTo>
                  <a:lnTo>
                    <a:pt x="472" y="45"/>
                  </a:lnTo>
                  <a:lnTo>
                    <a:pt x="471" y="44"/>
                  </a:lnTo>
                  <a:lnTo>
                    <a:pt x="470" y="44"/>
                  </a:lnTo>
                  <a:lnTo>
                    <a:pt x="469" y="44"/>
                  </a:lnTo>
                  <a:lnTo>
                    <a:pt x="468" y="45"/>
                  </a:lnTo>
                  <a:lnTo>
                    <a:pt x="468" y="46"/>
                  </a:lnTo>
                  <a:lnTo>
                    <a:pt x="468" y="47"/>
                  </a:lnTo>
                  <a:lnTo>
                    <a:pt x="467" y="49"/>
                  </a:lnTo>
                  <a:lnTo>
                    <a:pt x="466" y="49"/>
                  </a:lnTo>
                  <a:lnTo>
                    <a:pt x="464" y="49"/>
                  </a:lnTo>
                  <a:lnTo>
                    <a:pt x="463" y="47"/>
                  </a:lnTo>
                  <a:lnTo>
                    <a:pt x="463" y="45"/>
                  </a:lnTo>
                  <a:lnTo>
                    <a:pt x="461" y="42"/>
                  </a:lnTo>
                  <a:lnTo>
                    <a:pt x="461" y="41"/>
                  </a:lnTo>
                  <a:lnTo>
                    <a:pt x="459" y="41"/>
                  </a:lnTo>
                  <a:lnTo>
                    <a:pt x="458" y="41"/>
                  </a:lnTo>
                  <a:lnTo>
                    <a:pt x="456" y="42"/>
                  </a:lnTo>
                  <a:lnTo>
                    <a:pt x="455" y="43"/>
                  </a:lnTo>
                  <a:lnTo>
                    <a:pt x="454" y="43"/>
                  </a:lnTo>
                  <a:lnTo>
                    <a:pt x="451" y="42"/>
                  </a:lnTo>
                  <a:lnTo>
                    <a:pt x="450" y="42"/>
                  </a:lnTo>
                  <a:lnTo>
                    <a:pt x="448" y="43"/>
                  </a:lnTo>
                  <a:lnTo>
                    <a:pt x="448" y="44"/>
                  </a:lnTo>
                  <a:lnTo>
                    <a:pt x="448" y="45"/>
                  </a:lnTo>
                  <a:lnTo>
                    <a:pt x="449" y="48"/>
                  </a:lnTo>
                  <a:lnTo>
                    <a:pt x="449" y="51"/>
                  </a:lnTo>
                  <a:lnTo>
                    <a:pt x="445" y="51"/>
                  </a:lnTo>
                  <a:lnTo>
                    <a:pt x="441" y="49"/>
                  </a:lnTo>
                  <a:lnTo>
                    <a:pt x="439" y="48"/>
                  </a:lnTo>
                  <a:lnTo>
                    <a:pt x="437" y="47"/>
                  </a:lnTo>
                  <a:lnTo>
                    <a:pt x="434" y="44"/>
                  </a:lnTo>
                  <a:lnTo>
                    <a:pt x="434" y="44"/>
                  </a:lnTo>
                  <a:lnTo>
                    <a:pt x="431" y="40"/>
                  </a:lnTo>
                  <a:lnTo>
                    <a:pt x="428" y="38"/>
                  </a:lnTo>
                  <a:lnTo>
                    <a:pt x="425" y="37"/>
                  </a:lnTo>
                  <a:lnTo>
                    <a:pt x="414" y="36"/>
                  </a:lnTo>
                  <a:lnTo>
                    <a:pt x="412" y="35"/>
                  </a:lnTo>
                  <a:lnTo>
                    <a:pt x="405" y="29"/>
                  </a:lnTo>
                  <a:lnTo>
                    <a:pt x="400" y="28"/>
                  </a:lnTo>
                  <a:lnTo>
                    <a:pt x="397" y="29"/>
                  </a:lnTo>
                  <a:lnTo>
                    <a:pt x="395" y="31"/>
                  </a:lnTo>
                  <a:lnTo>
                    <a:pt x="395" y="34"/>
                  </a:lnTo>
                  <a:lnTo>
                    <a:pt x="395" y="37"/>
                  </a:lnTo>
                  <a:lnTo>
                    <a:pt x="393" y="39"/>
                  </a:lnTo>
                  <a:lnTo>
                    <a:pt x="390" y="41"/>
                  </a:lnTo>
                  <a:lnTo>
                    <a:pt x="387" y="41"/>
                  </a:lnTo>
                  <a:lnTo>
                    <a:pt x="386" y="41"/>
                  </a:lnTo>
                  <a:lnTo>
                    <a:pt x="385" y="41"/>
                  </a:lnTo>
                  <a:lnTo>
                    <a:pt x="384" y="41"/>
                  </a:lnTo>
                  <a:lnTo>
                    <a:pt x="381" y="41"/>
                  </a:lnTo>
                  <a:lnTo>
                    <a:pt x="377" y="39"/>
                  </a:lnTo>
                  <a:lnTo>
                    <a:pt x="368" y="31"/>
                  </a:lnTo>
                  <a:lnTo>
                    <a:pt x="366" y="30"/>
                  </a:lnTo>
                  <a:lnTo>
                    <a:pt x="363" y="30"/>
                  </a:lnTo>
                  <a:lnTo>
                    <a:pt x="361" y="31"/>
                  </a:lnTo>
                  <a:lnTo>
                    <a:pt x="351" y="43"/>
                  </a:lnTo>
                  <a:lnTo>
                    <a:pt x="349" y="45"/>
                  </a:lnTo>
                  <a:lnTo>
                    <a:pt x="347" y="46"/>
                  </a:lnTo>
                  <a:lnTo>
                    <a:pt x="343" y="47"/>
                  </a:lnTo>
                  <a:lnTo>
                    <a:pt x="338" y="49"/>
                  </a:lnTo>
                  <a:lnTo>
                    <a:pt x="337" y="49"/>
                  </a:lnTo>
                  <a:lnTo>
                    <a:pt x="334" y="48"/>
                  </a:lnTo>
                  <a:lnTo>
                    <a:pt x="331" y="45"/>
                  </a:lnTo>
                  <a:lnTo>
                    <a:pt x="322" y="33"/>
                  </a:lnTo>
                  <a:lnTo>
                    <a:pt x="317" y="29"/>
                  </a:lnTo>
                  <a:lnTo>
                    <a:pt x="313" y="26"/>
                  </a:lnTo>
                  <a:lnTo>
                    <a:pt x="307" y="26"/>
                  </a:lnTo>
                  <a:lnTo>
                    <a:pt x="304" y="28"/>
                  </a:lnTo>
                  <a:lnTo>
                    <a:pt x="298" y="34"/>
                  </a:lnTo>
                  <a:lnTo>
                    <a:pt x="295" y="36"/>
                  </a:lnTo>
                  <a:lnTo>
                    <a:pt x="293" y="36"/>
                  </a:lnTo>
                  <a:lnTo>
                    <a:pt x="290" y="36"/>
                  </a:lnTo>
                  <a:lnTo>
                    <a:pt x="282" y="37"/>
                  </a:lnTo>
                  <a:lnTo>
                    <a:pt x="281" y="38"/>
                  </a:lnTo>
                  <a:lnTo>
                    <a:pt x="281" y="36"/>
                  </a:lnTo>
                  <a:lnTo>
                    <a:pt x="283" y="31"/>
                  </a:lnTo>
                  <a:lnTo>
                    <a:pt x="279" y="34"/>
                  </a:lnTo>
                  <a:lnTo>
                    <a:pt x="277" y="34"/>
                  </a:lnTo>
                  <a:lnTo>
                    <a:pt x="275" y="33"/>
                  </a:lnTo>
                  <a:lnTo>
                    <a:pt x="276" y="32"/>
                  </a:lnTo>
                  <a:lnTo>
                    <a:pt x="277" y="30"/>
                  </a:lnTo>
                  <a:lnTo>
                    <a:pt x="277" y="29"/>
                  </a:lnTo>
                  <a:lnTo>
                    <a:pt x="276" y="28"/>
                  </a:lnTo>
                  <a:lnTo>
                    <a:pt x="274" y="27"/>
                  </a:lnTo>
                  <a:lnTo>
                    <a:pt x="274" y="28"/>
                  </a:lnTo>
                  <a:lnTo>
                    <a:pt x="273" y="29"/>
                  </a:lnTo>
                  <a:lnTo>
                    <a:pt x="273" y="30"/>
                  </a:lnTo>
                  <a:lnTo>
                    <a:pt x="268" y="32"/>
                  </a:lnTo>
                  <a:lnTo>
                    <a:pt x="265" y="32"/>
                  </a:lnTo>
                  <a:lnTo>
                    <a:pt x="263" y="31"/>
                  </a:lnTo>
                  <a:lnTo>
                    <a:pt x="261" y="29"/>
                  </a:lnTo>
                  <a:lnTo>
                    <a:pt x="256" y="26"/>
                  </a:lnTo>
                  <a:lnTo>
                    <a:pt x="253" y="25"/>
                  </a:lnTo>
                  <a:lnTo>
                    <a:pt x="247" y="21"/>
                  </a:lnTo>
                  <a:lnTo>
                    <a:pt x="244" y="27"/>
                  </a:lnTo>
                  <a:lnTo>
                    <a:pt x="243" y="29"/>
                  </a:lnTo>
                  <a:lnTo>
                    <a:pt x="235" y="29"/>
                  </a:lnTo>
                  <a:lnTo>
                    <a:pt x="234" y="30"/>
                  </a:lnTo>
                  <a:lnTo>
                    <a:pt x="224" y="25"/>
                  </a:lnTo>
                  <a:lnTo>
                    <a:pt x="220" y="24"/>
                  </a:lnTo>
                  <a:lnTo>
                    <a:pt x="213" y="18"/>
                  </a:lnTo>
                  <a:lnTo>
                    <a:pt x="210" y="12"/>
                  </a:lnTo>
                  <a:lnTo>
                    <a:pt x="209" y="12"/>
                  </a:lnTo>
                  <a:lnTo>
                    <a:pt x="206" y="14"/>
                  </a:lnTo>
                  <a:lnTo>
                    <a:pt x="205" y="15"/>
                  </a:lnTo>
                  <a:lnTo>
                    <a:pt x="206" y="13"/>
                  </a:lnTo>
                  <a:lnTo>
                    <a:pt x="206" y="11"/>
                  </a:lnTo>
                  <a:lnTo>
                    <a:pt x="206" y="10"/>
                  </a:lnTo>
                  <a:lnTo>
                    <a:pt x="205" y="9"/>
                  </a:lnTo>
                  <a:lnTo>
                    <a:pt x="204" y="11"/>
                  </a:lnTo>
                  <a:lnTo>
                    <a:pt x="202" y="10"/>
                  </a:lnTo>
                  <a:lnTo>
                    <a:pt x="200" y="8"/>
                  </a:lnTo>
                  <a:lnTo>
                    <a:pt x="198" y="7"/>
                  </a:lnTo>
                  <a:lnTo>
                    <a:pt x="199" y="9"/>
                  </a:lnTo>
                  <a:lnTo>
                    <a:pt x="199" y="10"/>
                  </a:lnTo>
                  <a:lnTo>
                    <a:pt x="196" y="10"/>
                  </a:lnTo>
                  <a:lnTo>
                    <a:pt x="195" y="9"/>
                  </a:lnTo>
                  <a:lnTo>
                    <a:pt x="195" y="7"/>
                  </a:lnTo>
                  <a:lnTo>
                    <a:pt x="195" y="5"/>
                  </a:lnTo>
                  <a:lnTo>
                    <a:pt x="193" y="1"/>
                  </a:lnTo>
                  <a:lnTo>
                    <a:pt x="192" y="0"/>
                  </a:lnTo>
                  <a:lnTo>
                    <a:pt x="188" y="3"/>
                  </a:lnTo>
                  <a:lnTo>
                    <a:pt x="187" y="4"/>
                  </a:lnTo>
                  <a:lnTo>
                    <a:pt x="186" y="6"/>
                  </a:lnTo>
                  <a:lnTo>
                    <a:pt x="184" y="8"/>
                  </a:lnTo>
                  <a:lnTo>
                    <a:pt x="183" y="9"/>
                  </a:lnTo>
                  <a:lnTo>
                    <a:pt x="182" y="11"/>
                  </a:lnTo>
                  <a:lnTo>
                    <a:pt x="180" y="12"/>
                  </a:lnTo>
                  <a:lnTo>
                    <a:pt x="179" y="13"/>
                  </a:lnTo>
                  <a:lnTo>
                    <a:pt x="177" y="15"/>
                  </a:lnTo>
                  <a:lnTo>
                    <a:pt x="176" y="17"/>
                  </a:lnTo>
                  <a:lnTo>
                    <a:pt x="176" y="19"/>
                  </a:lnTo>
                  <a:lnTo>
                    <a:pt x="176" y="21"/>
                  </a:lnTo>
                  <a:lnTo>
                    <a:pt x="174" y="23"/>
                  </a:lnTo>
                  <a:lnTo>
                    <a:pt x="170" y="23"/>
                  </a:lnTo>
                  <a:lnTo>
                    <a:pt x="139" y="14"/>
                  </a:lnTo>
                  <a:lnTo>
                    <a:pt x="129" y="13"/>
                  </a:lnTo>
                  <a:lnTo>
                    <a:pt x="122" y="19"/>
                  </a:lnTo>
                  <a:lnTo>
                    <a:pt x="117" y="30"/>
                  </a:lnTo>
                  <a:lnTo>
                    <a:pt x="115" y="34"/>
                  </a:lnTo>
                  <a:lnTo>
                    <a:pt x="113" y="35"/>
                  </a:lnTo>
                  <a:lnTo>
                    <a:pt x="109" y="36"/>
                  </a:lnTo>
                  <a:lnTo>
                    <a:pt x="107" y="37"/>
                  </a:lnTo>
                  <a:lnTo>
                    <a:pt x="106" y="39"/>
                  </a:lnTo>
                  <a:lnTo>
                    <a:pt x="106" y="40"/>
                  </a:lnTo>
                  <a:lnTo>
                    <a:pt x="106" y="42"/>
                  </a:lnTo>
                  <a:lnTo>
                    <a:pt x="106" y="44"/>
                  </a:lnTo>
                  <a:lnTo>
                    <a:pt x="105" y="46"/>
                  </a:lnTo>
                  <a:lnTo>
                    <a:pt x="102" y="52"/>
                  </a:lnTo>
                  <a:lnTo>
                    <a:pt x="100" y="59"/>
                  </a:lnTo>
                  <a:lnTo>
                    <a:pt x="100" y="59"/>
                  </a:lnTo>
                  <a:lnTo>
                    <a:pt x="99" y="62"/>
                  </a:lnTo>
                  <a:lnTo>
                    <a:pt x="96" y="63"/>
                  </a:lnTo>
                  <a:lnTo>
                    <a:pt x="90" y="62"/>
                  </a:lnTo>
                  <a:lnTo>
                    <a:pt x="84" y="59"/>
                  </a:lnTo>
                  <a:lnTo>
                    <a:pt x="79" y="56"/>
                  </a:lnTo>
                  <a:lnTo>
                    <a:pt x="65" y="42"/>
                  </a:lnTo>
                  <a:lnTo>
                    <a:pt x="62" y="38"/>
                  </a:lnTo>
                  <a:lnTo>
                    <a:pt x="58" y="29"/>
                  </a:lnTo>
                  <a:lnTo>
                    <a:pt x="56" y="25"/>
                  </a:lnTo>
                  <a:lnTo>
                    <a:pt x="54" y="24"/>
                  </a:lnTo>
                  <a:lnTo>
                    <a:pt x="51" y="23"/>
                  </a:lnTo>
                  <a:lnTo>
                    <a:pt x="49" y="22"/>
                  </a:lnTo>
                  <a:lnTo>
                    <a:pt x="49" y="21"/>
                  </a:lnTo>
                  <a:lnTo>
                    <a:pt x="50" y="19"/>
                  </a:lnTo>
                  <a:lnTo>
                    <a:pt x="50" y="17"/>
                  </a:lnTo>
                  <a:lnTo>
                    <a:pt x="48" y="15"/>
                  </a:lnTo>
                  <a:lnTo>
                    <a:pt x="47" y="14"/>
                  </a:lnTo>
                  <a:lnTo>
                    <a:pt x="45" y="14"/>
                  </a:lnTo>
                  <a:lnTo>
                    <a:pt x="41" y="15"/>
                  </a:lnTo>
                  <a:lnTo>
                    <a:pt x="26" y="15"/>
                  </a:lnTo>
                  <a:lnTo>
                    <a:pt x="18" y="16"/>
                  </a:lnTo>
                  <a:lnTo>
                    <a:pt x="14" y="19"/>
                  </a:lnTo>
                  <a:lnTo>
                    <a:pt x="12" y="21"/>
                  </a:lnTo>
                  <a:lnTo>
                    <a:pt x="11" y="26"/>
                  </a:lnTo>
                  <a:lnTo>
                    <a:pt x="10" y="27"/>
                  </a:lnTo>
                  <a:lnTo>
                    <a:pt x="11" y="41"/>
                  </a:lnTo>
                  <a:lnTo>
                    <a:pt x="10" y="44"/>
                  </a:lnTo>
                  <a:lnTo>
                    <a:pt x="7" y="54"/>
                  </a:lnTo>
                  <a:lnTo>
                    <a:pt x="7" y="58"/>
                  </a:lnTo>
                  <a:lnTo>
                    <a:pt x="9" y="65"/>
                  </a:lnTo>
                  <a:lnTo>
                    <a:pt x="8" y="69"/>
                  </a:lnTo>
                  <a:lnTo>
                    <a:pt x="4" y="76"/>
                  </a:lnTo>
                  <a:lnTo>
                    <a:pt x="3" y="78"/>
                  </a:lnTo>
                  <a:lnTo>
                    <a:pt x="3" y="79"/>
                  </a:lnTo>
                  <a:lnTo>
                    <a:pt x="3" y="85"/>
                  </a:lnTo>
                  <a:lnTo>
                    <a:pt x="5" y="90"/>
                  </a:lnTo>
                  <a:lnTo>
                    <a:pt x="8" y="93"/>
                  </a:lnTo>
                  <a:lnTo>
                    <a:pt x="9" y="98"/>
                  </a:lnTo>
                  <a:lnTo>
                    <a:pt x="9" y="102"/>
                  </a:lnTo>
                  <a:lnTo>
                    <a:pt x="6" y="103"/>
                  </a:lnTo>
                  <a:lnTo>
                    <a:pt x="3" y="104"/>
                  </a:lnTo>
                  <a:lnTo>
                    <a:pt x="0" y="107"/>
                  </a:lnTo>
                  <a:lnTo>
                    <a:pt x="0" y="111"/>
                  </a:lnTo>
                  <a:lnTo>
                    <a:pt x="2" y="115"/>
                  </a:lnTo>
                  <a:lnTo>
                    <a:pt x="6" y="122"/>
                  </a:lnTo>
                  <a:lnTo>
                    <a:pt x="7" y="122"/>
                  </a:lnTo>
                  <a:lnTo>
                    <a:pt x="11" y="125"/>
                  </a:lnTo>
                  <a:lnTo>
                    <a:pt x="12" y="127"/>
                  </a:lnTo>
                  <a:lnTo>
                    <a:pt x="13" y="129"/>
                  </a:lnTo>
                  <a:lnTo>
                    <a:pt x="14" y="131"/>
                  </a:lnTo>
                  <a:lnTo>
                    <a:pt x="17" y="131"/>
                  </a:lnTo>
                  <a:lnTo>
                    <a:pt x="19" y="130"/>
                  </a:lnTo>
                  <a:lnTo>
                    <a:pt x="21" y="130"/>
                  </a:lnTo>
                  <a:lnTo>
                    <a:pt x="23" y="129"/>
                  </a:lnTo>
                  <a:lnTo>
                    <a:pt x="24" y="128"/>
                  </a:lnTo>
                  <a:lnTo>
                    <a:pt x="25" y="126"/>
                  </a:lnTo>
                  <a:lnTo>
                    <a:pt x="26" y="125"/>
                  </a:lnTo>
                  <a:lnTo>
                    <a:pt x="28" y="125"/>
                  </a:lnTo>
                  <a:lnTo>
                    <a:pt x="29" y="126"/>
                  </a:lnTo>
                  <a:lnTo>
                    <a:pt x="29" y="128"/>
                  </a:lnTo>
                  <a:lnTo>
                    <a:pt x="30" y="130"/>
                  </a:lnTo>
                  <a:lnTo>
                    <a:pt x="30" y="132"/>
                  </a:lnTo>
                  <a:lnTo>
                    <a:pt x="32" y="134"/>
                  </a:lnTo>
                  <a:lnTo>
                    <a:pt x="33" y="133"/>
                  </a:lnTo>
                  <a:lnTo>
                    <a:pt x="34" y="132"/>
                  </a:lnTo>
                  <a:lnTo>
                    <a:pt x="35" y="133"/>
                  </a:lnTo>
                  <a:lnTo>
                    <a:pt x="37" y="135"/>
                  </a:lnTo>
                  <a:lnTo>
                    <a:pt x="38" y="141"/>
                  </a:lnTo>
                  <a:lnTo>
                    <a:pt x="40" y="144"/>
                  </a:lnTo>
                  <a:lnTo>
                    <a:pt x="42" y="145"/>
                  </a:lnTo>
                  <a:lnTo>
                    <a:pt x="44" y="146"/>
                  </a:lnTo>
                  <a:lnTo>
                    <a:pt x="48" y="146"/>
                  </a:lnTo>
                  <a:lnTo>
                    <a:pt x="50" y="147"/>
                  </a:lnTo>
                  <a:lnTo>
                    <a:pt x="51" y="149"/>
                  </a:lnTo>
                  <a:lnTo>
                    <a:pt x="52" y="152"/>
                  </a:lnTo>
                  <a:lnTo>
                    <a:pt x="53" y="155"/>
                  </a:lnTo>
                  <a:lnTo>
                    <a:pt x="52" y="155"/>
                  </a:lnTo>
                  <a:lnTo>
                    <a:pt x="51" y="156"/>
                  </a:lnTo>
                  <a:lnTo>
                    <a:pt x="50" y="159"/>
                  </a:lnTo>
                  <a:lnTo>
                    <a:pt x="48" y="162"/>
                  </a:lnTo>
                  <a:lnTo>
                    <a:pt x="46" y="166"/>
                  </a:lnTo>
                  <a:lnTo>
                    <a:pt x="50" y="169"/>
                  </a:lnTo>
                  <a:lnTo>
                    <a:pt x="53" y="169"/>
                  </a:lnTo>
                  <a:lnTo>
                    <a:pt x="59" y="167"/>
                  </a:lnTo>
                  <a:lnTo>
                    <a:pt x="62" y="167"/>
                  </a:lnTo>
                  <a:lnTo>
                    <a:pt x="64" y="170"/>
                  </a:lnTo>
                  <a:lnTo>
                    <a:pt x="65" y="174"/>
                  </a:lnTo>
                  <a:lnTo>
                    <a:pt x="66" y="178"/>
                  </a:lnTo>
                  <a:lnTo>
                    <a:pt x="70" y="189"/>
                  </a:lnTo>
                  <a:lnTo>
                    <a:pt x="71" y="193"/>
                  </a:lnTo>
                  <a:lnTo>
                    <a:pt x="71" y="197"/>
                  </a:lnTo>
                  <a:lnTo>
                    <a:pt x="70" y="198"/>
                  </a:lnTo>
                  <a:lnTo>
                    <a:pt x="68" y="199"/>
                  </a:lnTo>
                  <a:lnTo>
                    <a:pt x="68" y="200"/>
                  </a:lnTo>
                  <a:lnTo>
                    <a:pt x="67" y="202"/>
                  </a:lnTo>
                  <a:lnTo>
                    <a:pt x="68" y="201"/>
                  </a:lnTo>
                  <a:lnTo>
                    <a:pt x="70" y="201"/>
                  </a:lnTo>
                  <a:lnTo>
                    <a:pt x="72" y="202"/>
                  </a:lnTo>
                  <a:lnTo>
                    <a:pt x="76" y="204"/>
                  </a:lnTo>
                  <a:lnTo>
                    <a:pt x="77" y="206"/>
                  </a:lnTo>
                  <a:lnTo>
                    <a:pt x="78" y="208"/>
                  </a:lnTo>
                  <a:lnTo>
                    <a:pt x="78" y="208"/>
                  </a:lnTo>
                  <a:lnTo>
                    <a:pt x="77" y="212"/>
                  </a:lnTo>
                  <a:lnTo>
                    <a:pt x="77" y="213"/>
                  </a:lnTo>
                  <a:lnTo>
                    <a:pt x="75" y="217"/>
                  </a:lnTo>
                  <a:lnTo>
                    <a:pt x="75" y="220"/>
                  </a:lnTo>
                  <a:lnTo>
                    <a:pt x="75" y="223"/>
                  </a:lnTo>
                  <a:lnTo>
                    <a:pt x="77" y="230"/>
                  </a:lnTo>
                  <a:lnTo>
                    <a:pt x="80" y="239"/>
                  </a:lnTo>
                  <a:lnTo>
                    <a:pt x="82" y="243"/>
                  </a:lnTo>
                  <a:lnTo>
                    <a:pt x="89" y="250"/>
                  </a:lnTo>
                  <a:lnTo>
                    <a:pt x="92" y="254"/>
                  </a:lnTo>
                  <a:lnTo>
                    <a:pt x="95" y="263"/>
                  </a:lnTo>
                  <a:lnTo>
                    <a:pt x="97" y="267"/>
                  </a:lnTo>
                  <a:lnTo>
                    <a:pt x="100" y="270"/>
                  </a:lnTo>
                  <a:lnTo>
                    <a:pt x="102" y="271"/>
                  </a:lnTo>
                  <a:lnTo>
                    <a:pt x="104" y="272"/>
                  </a:lnTo>
                  <a:lnTo>
                    <a:pt x="105" y="272"/>
                  </a:lnTo>
                  <a:lnTo>
                    <a:pt x="110" y="272"/>
                  </a:lnTo>
                  <a:lnTo>
                    <a:pt x="111" y="273"/>
                  </a:lnTo>
                  <a:lnTo>
                    <a:pt x="113" y="276"/>
                  </a:lnTo>
                  <a:lnTo>
                    <a:pt x="114" y="279"/>
                  </a:lnTo>
                  <a:lnTo>
                    <a:pt x="115" y="282"/>
                  </a:lnTo>
                  <a:lnTo>
                    <a:pt x="122" y="284"/>
                  </a:lnTo>
                  <a:lnTo>
                    <a:pt x="125" y="287"/>
                  </a:lnTo>
                  <a:lnTo>
                    <a:pt x="127" y="289"/>
                  </a:lnTo>
                  <a:lnTo>
                    <a:pt x="129" y="292"/>
                  </a:lnTo>
                  <a:lnTo>
                    <a:pt x="134" y="299"/>
                  </a:lnTo>
                  <a:lnTo>
                    <a:pt x="141" y="307"/>
                  </a:lnTo>
                  <a:lnTo>
                    <a:pt x="146" y="314"/>
                  </a:lnTo>
                  <a:lnTo>
                    <a:pt x="153" y="320"/>
                  </a:lnTo>
                  <a:lnTo>
                    <a:pt x="154" y="323"/>
                  </a:lnTo>
                  <a:lnTo>
                    <a:pt x="155" y="327"/>
                  </a:lnTo>
                  <a:lnTo>
                    <a:pt x="156" y="332"/>
                  </a:lnTo>
                  <a:lnTo>
                    <a:pt x="159" y="335"/>
                  </a:lnTo>
                  <a:lnTo>
                    <a:pt x="176" y="349"/>
                  </a:lnTo>
                  <a:lnTo>
                    <a:pt x="201" y="375"/>
                  </a:lnTo>
                  <a:lnTo>
                    <a:pt x="209" y="384"/>
                  </a:lnTo>
                  <a:lnTo>
                    <a:pt x="214" y="388"/>
                  </a:lnTo>
                  <a:lnTo>
                    <a:pt x="218" y="392"/>
                  </a:lnTo>
                  <a:lnTo>
                    <a:pt x="227" y="397"/>
                  </a:lnTo>
                  <a:lnTo>
                    <a:pt x="242" y="399"/>
                  </a:lnTo>
                  <a:lnTo>
                    <a:pt x="247" y="402"/>
                  </a:lnTo>
                  <a:lnTo>
                    <a:pt x="249" y="408"/>
                  </a:lnTo>
                  <a:lnTo>
                    <a:pt x="247" y="426"/>
                  </a:lnTo>
                  <a:lnTo>
                    <a:pt x="250" y="437"/>
                  </a:lnTo>
                  <a:lnTo>
                    <a:pt x="256" y="447"/>
                  </a:lnTo>
                  <a:lnTo>
                    <a:pt x="263" y="453"/>
                  </a:lnTo>
                  <a:lnTo>
                    <a:pt x="266" y="455"/>
                  </a:lnTo>
                  <a:lnTo>
                    <a:pt x="268" y="456"/>
                  </a:lnTo>
                  <a:lnTo>
                    <a:pt x="269" y="459"/>
                  </a:lnTo>
                  <a:lnTo>
                    <a:pt x="270" y="463"/>
                  </a:lnTo>
                  <a:lnTo>
                    <a:pt x="272" y="467"/>
                  </a:lnTo>
                  <a:lnTo>
                    <a:pt x="274" y="470"/>
                  </a:lnTo>
                  <a:lnTo>
                    <a:pt x="276" y="471"/>
                  </a:lnTo>
                  <a:lnTo>
                    <a:pt x="297" y="485"/>
                  </a:lnTo>
                  <a:lnTo>
                    <a:pt x="299" y="487"/>
                  </a:lnTo>
                  <a:lnTo>
                    <a:pt x="304" y="493"/>
                  </a:lnTo>
                  <a:lnTo>
                    <a:pt x="309" y="504"/>
                  </a:lnTo>
                  <a:lnTo>
                    <a:pt x="309" y="504"/>
                  </a:lnTo>
                  <a:lnTo>
                    <a:pt x="309" y="504"/>
                  </a:lnTo>
                  <a:lnTo>
                    <a:pt x="309" y="504"/>
                  </a:lnTo>
                  <a:lnTo>
                    <a:pt x="309" y="510"/>
                  </a:lnTo>
                  <a:lnTo>
                    <a:pt x="305" y="514"/>
                  </a:lnTo>
                  <a:lnTo>
                    <a:pt x="296" y="516"/>
                  </a:lnTo>
                  <a:lnTo>
                    <a:pt x="300" y="518"/>
                  </a:lnTo>
                  <a:lnTo>
                    <a:pt x="302" y="520"/>
                  </a:lnTo>
                  <a:lnTo>
                    <a:pt x="299" y="519"/>
                  </a:lnTo>
                  <a:lnTo>
                    <a:pt x="295" y="517"/>
                  </a:lnTo>
                  <a:lnTo>
                    <a:pt x="292" y="517"/>
                  </a:lnTo>
                  <a:lnTo>
                    <a:pt x="308" y="527"/>
                  </a:lnTo>
                  <a:lnTo>
                    <a:pt x="308" y="527"/>
                  </a:lnTo>
                  <a:lnTo>
                    <a:pt x="308" y="527"/>
                  </a:lnTo>
                  <a:lnTo>
                    <a:pt x="310" y="523"/>
                  </a:lnTo>
                  <a:lnTo>
                    <a:pt x="312" y="521"/>
                  </a:lnTo>
                  <a:lnTo>
                    <a:pt x="316" y="520"/>
                  </a:lnTo>
                  <a:lnTo>
                    <a:pt x="319" y="521"/>
                  </a:lnTo>
                  <a:lnTo>
                    <a:pt x="326" y="524"/>
                  </a:lnTo>
                  <a:lnTo>
                    <a:pt x="329" y="524"/>
                  </a:lnTo>
                  <a:lnTo>
                    <a:pt x="330" y="524"/>
                  </a:lnTo>
                  <a:lnTo>
                    <a:pt x="331" y="523"/>
                  </a:lnTo>
                  <a:lnTo>
                    <a:pt x="333" y="523"/>
                  </a:lnTo>
                  <a:lnTo>
                    <a:pt x="335" y="525"/>
                  </a:lnTo>
                  <a:lnTo>
                    <a:pt x="335" y="527"/>
                  </a:lnTo>
                  <a:lnTo>
                    <a:pt x="335" y="532"/>
                  </a:lnTo>
                  <a:lnTo>
                    <a:pt x="335" y="535"/>
                  </a:lnTo>
                  <a:lnTo>
                    <a:pt x="340" y="543"/>
                  </a:lnTo>
                  <a:lnTo>
                    <a:pt x="342" y="544"/>
                  </a:lnTo>
                  <a:lnTo>
                    <a:pt x="348" y="545"/>
                  </a:lnTo>
                  <a:lnTo>
                    <a:pt x="351" y="548"/>
                  </a:lnTo>
                  <a:lnTo>
                    <a:pt x="358" y="556"/>
                  </a:lnTo>
                  <a:lnTo>
                    <a:pt x="362" y="559"/>
                  </a:lnTo>
                  <a:lnTo>
                    <a:pt x="371" y="565"/>
                  </a:lnTo>
                  <a:lnTo>
                    <a:pt x="398" y="583"/>
                  </a:lnTo>
                  <a:lnTo>
                    <a:pt x="404" y="586"/>
                  </a:lnTo>
                  <a:lnTo>
                    <a:pt x="412" y="589"/>
                  </a:lnTo>
                  <a:lnTo>
                    <a:pt x="417" y="589"/>
                  </a:lnTo>
                  <a:lnTo>
                    <a:pt x="418" y="590"/>
                  </a:lnTo>
                  <a:lnTo>
                    <a:pt x="422" y="595"/>
                  </a:lnTo>
                  <a:lnTo>
                    <a:pt x="422" y="595"/>
                  </a:lnTo>
                  <a:lnTo>
                    <a:pt x="422" y="595"/>
                  </a:lnTo>
                  <a:lnTo>
                    <a:pt x="424" y="596"/>
                  </a:lnTo>
                  <a:lnTo>
                    <a:pt x="430" y="597"/>
                  </a:lnTo>
                  <a:lnTo>
                    <a:pt x="432" y="598"/>
                  </a:lnTo>
                  <a:lnTo>
                    <a:pt x="434" y="596"/>
                  </a:lnTo>
                  <a:lnTo>
                    <a:pt x="436" y="596"/>
                  </a:lnTo>
                  <a:lnTo>
                    <a:pt x="438" y="596"/>
                  </a:lnTo>
                  <a:lnTo>
                    <a:pt x="439" y="597"/>
                  </a:lnTo>
                  <a:lnTo>
                    <a:pt x="441" y="597"/>
                  </a:lnTo>
                  <a:lnTo>
                    <a:pt x="442" y="596"/>
                  </a:lnTo>
                  <a:lnTo>
                    <a:pt x="441" y="594"/>
                  </a:lnTo>
                  <a:lnTo>
                    <a:pt x="440" y="592"/>
                  </a:lnTo>
                  <a:lnTo>
                    <a:pt x="443" y="590"/>
                  </a:lnTo>
                  <a:lnTo>
                    <a:pt x="445" y="589"/>
                  </a:lnTo>
                  <a:lnTo>
                    <a:pt x="448" y="585"/>
                  </a:lnTo>
                  <a:lnTo>
                    <a:pt x="449" y="584"/>
                  </a:lnTo>
                  <a:lnTo>
                    <a:pt x="450" y="581"/>
                  </a:lnTo>
                  <a:lnTo>
                    <a:pt x="450" y="575"/>
                  </a:lnTo>
                  <a:lnTo>
                    <a:pt x="449" y="569"/>
                  </a:lnTo>
                  <a:lnTo>
                    <a:pt x="446" y="565"/>
                  </a:lnTo>
                  <a:lnTo>
                    <a:pt x="443" y="562"/>
                  </a:lnTo>
                  <a:lnTo>
                    <a:pt x="437" y="553"/>
                  </a:lnTo>
                  <a:lnTo>
                    <a:pt x="435" y="548"/>
                  </a:lnTo>
                  <a:lnTo>
                    <a:pt x="434" y="543"/>
                  </a:lnTo>
                  <a:lnTo>
                    <a:pt x="433" y="539"/>
                  </a:lnTo>
                  <a:lnTo>
                    <a:pt x="435" y="537"/>
                  </a:lnTo>
                  <a:lnTo>
                    <a:pt x="437" y="535"/>
                  </a:lnTo>
                  <a:lnTo>
                    <a:pt x="438" y="533"/>
                  </a:lnTo>
                  <a:lnTo>
                    <a:pt x="437" y="529"/>
                  </a:lnTo>
                  <a:lnTo>
                    <a:pt x="433" y="521"/>
                  </a:lnTo>
                  <a:lnTo>
                    <a:pt x="432" y="517"/>
                  </a:lnTo>
                  <a:lnTo>
                    <a:pt x="432" y="513"/>
                  </a:lnTo>
                  <a:lnTo>
                    <a:pt x="435" y="504"/>
                  </a:lnTo>
                  <a:lnTo>
                    <a:pt x="439" y="500"/>
                  </a:lnTo>
                  <a:lnTo>
                    <a:pt x="449" y="498"/>
                  </a:lnTo>
                  <a:lnTo>
                    <a:pt x="458" y="498"/>
                  </a:lnTo>
                  <a:lnTo>
                    <a:pt x="464" y="499"/>
                  </a:lnTo>
                  <a:lnTo>
                    <a:pt x="461" y="482"/>
                  </a:lnTo>
                  <a:lnTo>
                    <a:pt x="461" y="477"/>
                  </a:lnTo>
                  <a:lnTo>
                    <a:pt x="461" y="476"/>
                  </a:lnTo>
                  <a:lnTo>
                    <a:pt x="463" y="469"/>
                  </a:lnTo>
                  <a:lnTo>
                    <a:pt x="465" y="464"/>
                  </a:lnTo>
                  <a:lnTo>
                    <a:pt x="472" y="455"/>
                  </a:lnTo>
                  <a:lnTo>
                    <a:pt x="468" y="453"/>
                  </a:lnTo>
                  <a:lnTo>
                    <a:pt x="471" y="449"/>
                  </a:lnTo>
                  <a:lnTo>
                    <a:pt x="491" y="434"/>
                  </a:lnTo>
                  <a:lnTo>
                    <a:pt x="495" y="433"/>
                  </a:lnTo>
                  <a:lnTo>
                    <a:pt x="495" y="432"/>
                  </a:lnTo>
                  <a:lnTo>
                    <a:pt x="494" y="430"/>
                  </a:lnTo>
                  <a:lnTo>
                    <a:pt x="493" y="429"/>
                  </a:lnTo>
                  <a:lnTo>
                    <a:pt x="496" y="428"/>
                  </a:lnTo>
                  <a:lnTo>
                    <a:pt x="506" y="427"/>
                  </a:lnTo>
                  <a:lnTo>
                    <a:pt x="509" y="428"/>
                  </a:lnTo>
                  <a:lnTo>
                    <a:pt x="514" y="431"/>
                  </a:lnTo>
                  <a:lnTo>
                    <a:pt x="515" y="432"/>
                  </a:lnTo>
                  <a:lnTo>
                    <a:pt x="515" y="434"/>
                  </a:lnTo>
                  <a:lnTo>
                    <a:pt x="515" y="435"/>
                  </a:lnTo>
                  <a:lnTo>
                    <a:pt x="515" y="437"/>
                  </a:lnTo>
                  <a:lnTo>
                    <a:pt x="517" y="440"/>
                  </a:lnTo>
                  <a:lnTo>
                    <a:pt x="520" y="444"/>
                  </a:lnTo>
                  <a:lnTo>
                    <a:pt x="520" y="444"/>
                  </a:lnTo>
                  <a:lnTo>
                    <a:pt x="520" y="445"/>
                  </a:lnTo>
                  <a:lnTo>
                    <a:pt x="522" y="444"/>
                  </a:lnTo>
                  <a:lnTo>
                    <a:pt x="523" y="442"/>
                  </a:lnTo>
                  <a:lnTo>
                    <a:pt x="524" y="440"/>
                  </a:lnTo>
                  <a:lnTo>
                    <a:pt x="525" y="439"/>
                  </a:lnTo>
                  <a:lnTo>
                    <a:pt x="526" y="438"/>
                  </a:lnTo>
                  <a:lnTo>
                    <a:pt x="527" y="437"/>
                  </a:lnTo>
                  <a:lnTo>
                    <a:pt x="532" y="437"/>
                  </a:lnTo>
                  <a:lnTo>
                    <a:pt x="533" y="436"/>
                  </a:lnTo>
                  <a:lnTo>
                    <a:pt x="528" y="427"/>
                  </a:lnTo>
                  <a:lnTo>
                    <a:pt x="523" y="414"/>
                  </a:lnTo>
                  <a:lnTo>
                    <a:pt x="518" y="407"/>
                  </a:lnTo>
                  <a:lnTo>
                    <a:pt x="517" y="406"/>
                  </a:lnTo>
                  <a:lnTo>
                    <a:pt x="513" y="407"/>
                  </a:lnTo>
                  <a:lnTo>
                    <a:pt x="513" y="406"/>
                  </a:lnTo>
                  <a:lnTo>
                    <a:pt x="514" y="404"/>
                  </a:lnTo>
                  <a:lnTo>
                    <a:pt x="514" y="402"/>
                  </a:lnTo>
                  <a:lnTo>
                    <a:pt x="512" y="399"/>
                  </a:lnTo>
                  <a:lnTo>
                    <a:pt x="511" y="398"/>
                  </a:lnTo>
                  <a:lnTo>
                    <a:pt x="508" y="398"/>
                  </a:lnTo>
                  <a:lnTo>
                    <a:pt x="507" y="396"/>
                  </a:lnTo>
                  <a:lnTo>
                    <a:pt x="507" y="395"/>
                  </a:lnTo>
                  <a:lnTo>
                    <a:pt x="507" y="393"/>
                  </a:lnTo>
                  <a:lnTo>
                    <a:pt x="509" y="392"/>
                  </a:lnTo>
                  <a:lnTo>
                    <a:pt x="512" y="391"/>
                  </a:lnTo>
                  <a:lnTo>
                    <a:pt x="516" y="386"/>
                  </a:lnTo>
                  <a:lnTo>
                    <a:pt x="518" y="384"/>
                  </a:lnTo>
                  <a:lnTo>
                    <a:pt x="522" y="384"/>
                  </a:lnTo>
                  <a:lnTo>
                    <a:pt x="524" y="386"/>
                  </a:lnTo>
                  <a:lnTo>
                    <a:pt x="526" y="390"/>
                  </a:lnTo>
                  <a:lnTo>
                    <a:pt x="527" y="392"/>
                  </a:lnTo>
                  <a:lnTo>
                    <a:pt x="530" y="393"/>
                  </a:lnTo>
                  <a:lnTo>
                    <a:pt x="534" y="393"/>
                  </a:lnTo>
                  <a:lnTo>
                    <a:pt x="537" y="392"/>
                  </a:lnTo>
                  <a:lnTo>
                    <a:pt x="541" y="387"/>
                  </a:lnTo>
                  <a:lnTo>
                    <a:pt x="545" y="386"/>
                  </a:lnTo>
                  <a:lnTo>
                    <a:pt x="552" y="387"/>
                  </a:lnTo>
                  <a:lnTo>
                    <a:pt x="556" y="387"/>
                  </a:lnTo>
                  <a:lnTo>
                    <a:pt x="558" y="384"/>
                  </a:lnTo>
                  <a:lnTo>
                    <a:pt x="560" y="379"/>
                  </a:lnTo>
                  <a:lnTo>
                    <a:pt x="562" y="375"/>
                  </a:lnTo>
                  <a:lnTo>
                    <a:pt x="563" y="375"/>
                  </a:lnTo>
                  <a:lnTo>
                    <a:pt x="567" y="375"/>
                  </a:lnTo>
                  <a:lnTo>
                    <a:pt x="569" y="375"/>
                  </a:lnTo>
                  <a:lnTo>
                    <a:pt x="571" y="374"/>
                  </a:lnTo>
                  <a:lnTo>
                    <a:pt x="575" y="371"/>
                  </a:lnTo>
                  <a:lnTo>
                    <a:pt x="576" y="371"/>
                  </a:lnTo>
                  <a:lnTo>
                    <a:pt x="579" y="372"/>
                  </a:lnTo>
                  <a:lnTo>
                    <a:pt x="582" y="376"/>
                  </a:lnTo>
                  <a:lnTo>
                    <a:pt x="584" y="380"/>
                  </a:lnTo>
                  <a:lnTo>
                    <a:pt x="585" y="384"/>
                  </a:lnTo>
                  <a:lnTo>
                    <a:pt x="587" y="386"/>
                  </a:lnTo>
                  <a:lnTo>
                    <a:pt x="588" y="384"/>
                  </a:lnTo>
                  <a:lnTo>
                    <a:pt x="590" y="379"/>
                  </a:lnTo>
                  <a:lnTo>
                    <a:pt x="592" y="379"/>
                  </a:lnTo>
                  <a:lnTo>
                    <a:pt x="598" y="381"/>
                  </a:lnTo>
                  <a:lnTo>
                    <a:pt x="599" y="381"/>
                  </a:lnTo>
                  <a:lnTo>
                    <a:pt x="600" y="380"/>
                  </a:lnTo>
                  <a:lnTo>
                    <a:pt x="599" y="379"/>
                  </a:lnTo>
                  <a:lnTo>
                    <a:pt x="598" y="377"/>
                  </a:lnTo>
                  <a:lnTo>
                    <a:pt x="597" y="375"/>
                  </a:lnTo>
                  <a:lnTo>
                    <a:pt x="597" y="372"/>
                  </a:lnTo>
                  <a:lnTo>
                    <a:pt x="597" y="369"/>
                  </a:lnTo>
                  <a:lnTo>
                    <a:pt x="598" y="367"/>
                  </a:lnTo>
                  <a:lnTo>
                    <a:pt x="602" y="362"/>
                  </a:lnTo>
                  <a:lnTo>
                    <a:pt x="602" y="357"/>
                  </a:lnTo>
                  <a:lnTo>
                    <a:pt x="598" y="344"/>
                  </a:lnTo>
                  <a:lnTo>
                    <a:pt x="595" y="337"/>
                  </a:lnTo>
                  <a:lnTo>
                    <a:pt x="579" y="320"/>
                  </a:lnTo>
                  <a:lnTo>
                    <a:pt x="570" y="306"/>
                  </a:lnTo>
                  <a:lnTo>
                    <a:pt x="565" y="300"/>
                  </a:lnTo>
                  <a:lnTo>
                    <a:pt x="560" y="295"/>
                  </a:lnTo>
                  <a:lnTo>
                    <a:pt x="558" y="294"/>
                  </a:lnTo>
                  <a:lnTo>
                    <a:pt x="560" y="293"/>
                  </a:lnTo>
                  <a:lnTo>
                    <a:pt x="560" y="291"/>
                  </a:lnTo>
                  <a:lnTo>
                    <a:pt x="559" y="288"/>
                  </a:lnTo>
                  <a:lnTo>
                    <a:pt x="559" y="287"/>
                  </a:lnTo>
                  <a:lnTo>
                    <a:pt x="560" y="284"/>
                  </a:lnTo>
                  <a:lnTo>
                    <a:pt x="561" y="284"/>
                  </a:lnTo>
                  <a:lnTo>
                    <a:pt x="565" y="282"/>
                  </a:lnTo>
                  <a:lnTo>
                    <a:pt x="567" y="282"/>
                  </a:lnTo>
                  <a:lnTo>
                    <a:pt x="569" y="283"/>
                  </a:lnTo>
                  <a:lnTo>
                    <a:pt x="573" y="286"/>
                  </a:lnTo>
                  <a:lnTo>
                    <a:pt x="577" y="290"/>
                  </a:lnTo>
                  <a:lnTo>
                    <a:pt x="580" y="291"/>
                  </a:lnTo>
                  <a:lnTo>
                    <a:pt x="582" y="291"/>
                  </a:lnTo>
                  <a:lnTo>
                    <a:pt x="584" y="290"/>
                  </a:lnTo>
                  <a:lnTo>
                    <a:pt x="593" y="289"/>
                  </a:lnTo>
                  <a:lnTo>
                    <a:pt x="601" y="290"/>
                  </a:lnTo>
                  <a:lnTo>
                    <a:pt x="605" y="290"/>
                  </a:lnTo>
                  <a:lnTo>
                    <a:pt x="609" y="289"/>
                  </a:lnTo>
                  <a:lnTo>
                    <a:pt x="616" y="284"/>
                  </a:lnTo>
                  <a:lnTo>
                    <a:pt x="619" y="281"/>
                  </a:lnTo>
                  <a:lnTo>
                    <a:pt x="620" y="277"/>
                  </a:lnTo>
                  <a:lnTo>
                    <a:pt x="619" y="273"/>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18" name="Freeform 52">
              <a:extLst>
                <a:ext uri="{FF2B5EF4-FFF2-40B4-BE49-F238E27FC236}">
                  <a16:creationId xmlns:a16="http://schemas.microsoft.com/office/drawing/2014/main" id="{400B8DC8-C4DD-4FB2-826A-0F08BE32B3B9}"/>
                </a:ext>
              </a:extLst>
            </p:cNvPr>
            <p:cNvSpPr>
              <a:spLocks/>
            </p:cNvSpPr>
            <p:nvPr/>
          </p:nvSpPr>
          <p:spPr bwMode="gray">
            <a:xfrm>
              <a:off x="8297654" y="4367504"/>
              <a:ext cx="381433" cy="310382"/>
            </a:xfrm>
            <a:custGeom>
              <a:avLst/>
              <a:gdLst>
                <a:gd name="T0" fmla="*/ 604 w 612"/>
                <a:gd name="T1" fmla="*/ 262 h 498"/>
                <a:gd name="T2" fmla="*/ 587 w 612"/>
                <a:gd name="T3" fmla="*/ 254 h 498"/>
                <a:gd name="T4" fmla="*/ 580 w 612"/>
                <a:gd name="T5" fmla="*/ 236 h 498"/>
                <a:gd name="T6" fmla="*/ 568 w 612"/>
                <a:gd name="T7" fmla="*/ 201 h 498"/>
                <a:gd name="T8" fmla="*/ 551 w 612"/>
                <a:gd name="T9" fmla="*/ 189 h 498"/>
                <a:gd name="T10" fmla="*/ 511 w 612"/>
                <a:gd name="T11" fmla="*/ 184 h 498"/>
                <a:gd name="T12" fmla="*/ 495 w 612"/>
                <a:gd name="T13" fmla="*/ 172 h 498"/>
                <a:gd name="T14" fmla="*/ 511 w 612"/>
                <a:gd name="T15" fmla="*/ 135 h 498"/>
                <a:gd name="T16" fmla="*/ 522 w 612"/>
                <a:gd name="T17" fmla="*/ 105 h 498"/>
                <a:gd name="T18" fmla="*/ 526 w 612"/>
                <a:gd name="T19" fmla="*/ 90 h 498"/>
                <a:gd name="T20" fmla="*/ 495 w 612"/>
                <a:gd name="T21" fmla="*/ 78 h 498"/>
                <a:gd name="T22" fmla="*/ 458 w 612"/>
                <a:gd name="T23" fmla="*/ 59 h 498"/>
                <a:gd name="T24" fmla="*/ 412 w 612"/>
                <a:gd name="T25" fmla="*/ 45 h 498"/>
                <a:gd name="T26" fmla="*/ 395 w 612"/>
                <a:gd name="T27" fmla="*/ 6 h 498"/>
                <a:gd name="T28" fmla="*/ 356 w 612"/>
                <a:gd name="T29" fmla="*/ 22 h 498"/>
                <a:gd name="T30" fmla="*/ 356 w 612"/>
                <a:gd name="T31" fmla="*/ 0 h 498"/>
                <a:gd name="T32" fmla="*/ 319 w 612"/>
                <a:gd name="T33" fmla="*/ 12 h 498"/>
                <a:gd name="T34" fmla="*/ 296 w 612"/>
                <a:gd name="T35" fmla="*/ 25 h 498"/>
                <a:gd name="T36" fmla="*/ 278 w 612"/>
                <a:gd name="T37" fmla="*/ 36 h 498"/>
                <a:gd name="T38" fmla="*/ 283 w 612"/>
                <a:gd name="T39" fmla="*/ 56 h 498"/>
                <a:gd name="T40" fmla="*/ 270 w 612"/>
                <a:gd name="T41" fmla="*/ 33 h 498"/>
                <a:gd name="T42" fmla="*/ 200 w 612"/>
                <a:gd name="T43" fmla="*/ 71 h 498"/>
                <a:gd name="T44" fmla="*/ 156 w 612"/>
                <a:gd name="T45" fmla="*/ 57 h 498"/>
                <a:gd name="T46" fmla="*/ 133 w 612"/>
                <a:gd name="T47" fmla="*/ 41 h 498"/>
                <a:gd name="T48" fmla="*/ 4 w 612"/>
                <a:gd name="T49" fmla="*/ 121 h 498"/>
                <a:gd name="T50" fmla="*/ 10 w 612"/>
                <a:gd name="T51" fmla="*/ 165 h 498"/>
                <a:gd name="T52" fmla="*/ 27 w 612"/>
                <a:gd name="T53" fmla="*/ 174 h 498"/>
                <a:gd name="T54" fmla="*/ 58 w 612"/>
                <a:gd name="T55" fmla="*/ 202 h 498"/>
                <a:gd name="T56" fmla="*/ 104 w 612"/>
                <a:gd name="T57" fmla="*/ 193 h 498"/>
                <a:gd name="T58" fmla="*/ 119 w 612"/>
                <a:gd name="T59" fmla="*/ 244 h 498"/>
                <a:gd name="T60" fmla="*/ 154 w 612"/>
                <a:gd name="T61" fmla="*/ 247 h 498"/>
                <a:gd name="T62" fmla="*/ 179 w 612"/>
                <a:gd name="T63" fmla="*/ 286 h 498"/>
                <a:gd name="T64" fmla="*/ 196 w 612"/>
                <a:gd name="T65" fmla="*/ 289 h 498"/>
                <a:gd name="T66" fmla="*/ 247 w 612"/>
                <a:gd name="T67" fmla="*/ 299 h 498"/>
                <a:gd name="T68" fmla="*/ 267 w 612"/>
                <a:gd name="T69" fmla="*/ 313 h 498"/>
                <a:gd name="T70" fmla="*/ 262 w 612"/>
                <a:gd name="T71" fmla="*/ 343 h 498"/>
                <a:gd name="T72" fmla="*/ 255 w 612"/>
                <a:gd name="T73" fmla="*/ 373 h 498"/>
                <a:gd name="T74" fmla="*/ 304 w 612"/>
                <a:gd name="T75" fmla="*/ 391 h 498"/>
                <a:gd name="T76" fmla="*/ 342 w 612"/>
                <a:gd name="T77" fmla="*/ 356 h 498"/>
                <a:gd name="T78" fmla="*/ 370 w 612"/>
                <a:gd name="T79" fmla="*/ 352 h 498"/>
                <a:gd name="T80" fmla="*/ 371 w 612"/>
                <a:gd name="T81" fmla="*/ 399 h 498"/>
                <a:gd name="T82" fmla="*/ 371 w 612"/>
                <a:gd name="T83" fmla="*/ 427 h 498"/>
                <a:gd name="T84" fmla="*/ 415 w 612"/>
                <a:gd name="T85" fmla="*/ 447 h 498"/>
                <a:gd name="T86" fmla="*/ 439 w 612"/>
                <a:gd name="T87" fmla="*/ 467 h 498"/>
                <a:gd name="T88" fmla="*/ 456 w 612"/>
                <a:gd name="T89" fmla="*/ 471 h 498"/>
                <a:gd name="T90" fmla="*/ 480 w 612"/>
                <a:gd name="T91" fmla="*/ 492 h 498"/>
                <a:gd name="T92" fmla="*/ 508 w 612"/>
                <a:gd name="T93" fmla="*/ 489 h 498"/>
                <a:gd name="T94" fmla="*/ 528 w 612"/>
                <a:gd name="T95" fmla="*/ 473 h 498"/>
                <a:gd name="T96" fmla="*/ 528 w 612"/>
                <a:gd name="T97" fmla="*/ 453 h 498"/>
                <a:gd name="T98" fmla="*/ 525 w 612"/>
                <a:gd name="T99" fmla="*/ 445 h 498"/>
                <a:gd name="T100" fmla="*/ 509 w 612"/>
                <a:gd name="T101" fmla="*/ 424 h 498"/>
                <a:gd name="T102" fmla="*/ 512 w 612"/>
                <a:gd name="T103" fmla="*/ 408 h 498"/>
                <a:gd name="T104" fmla="*/ 520 w 612"/>
                <a:gd name="T105" fmla="*/ 384 h 498"/>
                <a:gd name="T106" fmla="*/ 527 w 612"/>
                <a:gd name="T107" fmla="*/ 362 h 498"/>
                <a:gd name="T108" fmla="*/ 546 w 612"/>
                <a:gd name="T109" fmla="*/ 334 h 498"/>
                <a:gd name="T110" fmla="*/ 564 w 612"/>
                <a:gd name="T111" fmla="*/ 336 h 498"/>
                <a:gd name="T112" fmla="*/ 571 w 612"/>
                <a:gd name="T113" fmla="*/ 338 h 498"/>
                <a:gd name="T114" fmla="*/ 581 w 612"/>
                <a:gd name="T115" fmla="*/ 317 h 498"/>
                <a:gd name="T116" fmla="*/ 603 w 612"/>
                <a:gd name="T117" fmla="*/ 299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12" h="498">
                  <a:moveTo>
                    <a:pt x="611" y="295"/>
                  </a:moveTo>
                  <a:lnTo>
                    <a:pt x="611" y="293"/>
                  </a:lnTo>
                  <a:lnTo>
                    <a:pt x="606" y="284"/>
                  </a:lnTo>
                  <a:lnTo>
                    <a:pt x="605" y="281"/>
                  </a:lnTo>
                  <a:lnTo>
                    <a:pt x="607" y="277"/>
                  </a:lnTo>
                  <a:lnTo>
                    <a:pt x="608" y="272"/>
                  </a:lnTo>
                  <a:lnTo>
                    <a:pt x="608" y="267"/>
                  </a:lnTo>
                  <a:lnTo>
                    <a:pt x="607" y="267"/>
                  </a:lnTo>
                  <a:lnTo>
                    <a:pt x="606" y="267"/>
                  </a:lnTo>
                  <a:lnTo>
                    <a:pt x="605" y="264"/>
                  </a:lnTo>
                  <a:lnTo>
                    <a:pt x="604" y="262"/>
                  </a:lnTo>
                  <a:lnTo>
                    <a:pt x="603" y="259"/>
                  </a:lnTo>
                  <a:lnTo>
                    <a:pt x="604" y="257"/>
                  </a:lnTo>
                  <a:lnTo>
                    <a:pt x="606" y="256"/>
                  </a:lnTo>
                  <a:lnTo>
                    <a:pt x="603" y="256"/>
                  </a:lnTo>
                  <a:lnTo>
                    <a:pt x="596" y="254"/>
                  </a:lnTo>
                  <a:lnTo>
                    <a:pt x="593" y="253"/>
                  </a:lnTo>
                  <a:lnTo>
                    <a:pt x="593" y="252"/>
                  </a:lnTo>
                  <a:lnTo>
                    <a:pt x="593" y="252"/>
                  </a:lnTo>
                  <a:lnTo>
                    <a:pt x="592" y="252"/>
                  </a:lnTo>
                  <a:lnTo>
                    <a:pt x="592" y="253"/>
                  </a:lnTo>
                  <a:lnTo>
                    <a:pt x="587" y="254"/>
                  </a:lnTo>
                  <a:lnTo>
                    <a:pt x="585" y="254"/>
                  </a:lnTo>
                  <a:lnTo>
                    <a:pt x="584" y="253"/>
                  </a:lnTo>
                  <a:lnTo>
                    <a:pt x="582" y="251"/>
                  </a:lnTo>
                  <a:lnTo>
                    <a:pt x="581" y="249"/>
                  </a:lnTo>
                  <a:lnTo>
                    <a:pt x="582" y="247"/>
                  </a:lnTo>
                  <a:lnTo>
                    <a:pt x="580" y="247"/>
                  </a:lnTo>
                  <a:lnTo>
                    <a:pt x="579" y="247"/>
                  </a:lnTo>
                  <a:lnTo>
                    <a:pt x="579" y="245"/>
                  </a:lnTo>
                  <a:lnTo>
                    <a:pt x="580" y="243"/>
                  </a:lnTo>
                  <a:lnTo>
                    <a:pt x="578" y="240"/>
                  </a:lnTo>
                  <a:lnTo>
                    <a:pt x="580" y="236"/>
                  </a:lnTo>
                  <a:lnTo>
                    <a:pt x="585" y="231"/>
                  </a:lnTo>
                  <a:lnTo>
                    <a:pt x="589" y="229"/>
                  </a:lnTo>
                  <a:lnTo>
                    <a:pt x="589" y="228"/>
                  </a:lnTo>
                  <a:lnTo>
                    <a:pt x="591" y="226"/>
                  </a:lnTo>
                  <a:lnTo>
                    <a:pt x="592" y="224"/>
                  </a:lnTo>
                  <a:lnTo>
                    <a:pt x="592" y="223"/>
                  </a:lnTo>
                  <a:lnTo>
                    <a:pt x="581" y="222"/>
                  </a:lnTo>
                  <a:lnTo>
                    <a:pt x="577" y="221"/>
                  </a:lnTo>
                  <a:lnTo>
                    <a:pt x="575" y="217"/>
                  </a:lnTo>
                  <a:lnTo>
                    <a:pt x="578" y="216"/>
                  </a:lnTo>
                  <a:lnTo>
                    <a:pt x="568" y="201"/>
                  </a:lnTo>
                  <a:lnTo>
                    <a:pt x="565" y="198"/>
                  </a:lnTo>
                  <a:lnTo>
                    <a:pt x="562" y="198"/>
                  </a:lnTo>
                  <a:lnTo>
                    <a:pt x="556" y="199"/>
                  </a:lnTo>
                  <a:lnTo>
                    <a:pt x="554" y="199"/>
                  </a:lnTo>
                  <a:lnTo>
                    <a:pt x="553" y="197"/>
                  </a:lnTo>
                  <a:lnTo>
                    <a:pt x="554" y="194"/>
                  </a:lnTo>
                  <a:lnTo>
                    <a:pt x="554" y="192"/>
                  </a:lnTo>
                  <a:lnTo>
                    <a:pt x="551" y="190"/>
                  </a:lnTo>
                  <a:lnTo>
                    <a:pt x="551" y="190"/>
                  </a:lnTo>
                  <a:lnTo>
                    <a:pt x="551" y="189"/>
                  </a:lnTo>
                  <a:lnTo>
                    <a:pt x="551" y="189"/>
                  </a:lnTo>
                  <a:lnTo>
                    <a:pt x="551" y="189"/>
                  </a:lnTo>
                  <a:lnTo>
                    <a:pt x="548" y="189"/>
                  </a:lnTo>
                  <a:lnTo>
                    <a:pt x="537" y="189"/>
                  </a:lnTo>
                  <a:lnTo>
                    <a:pt x="535" y="188"/>
                  </a:lnTo>
                  <a:lnTo>
                    <a:pt x="535" y="188"/>
                  </a:lnTo>
                  <a:lnTo>
                    <a:pt x="533" y="188"/>
                  </a:lnTo>
                  <a:lnTo>
                    <a:pt x="519" y="188"/>
                  </a:lnTo>
                  <a:lnTo>
                    <a:pt x="518" y="187"/>
                  </a:lnTo>
                  <a:lnTo>
                    <a:pt x="514" y="184"/>
                  </a:lnTo>
                  <a:lnTo>
                    <a:pt x="513" y="183"/>
                  </a:lnTo>
                  <a:lnTo>
                    <a:pt x="511" y="184"/>
                  </a:lnTo>
                  <a:lnTo>
                    <a:pt x="510" y="186"/>
                  </a:lnTo>
                  <a:lnTo>
                    <a:pt x="509" y="188"/>
                  </a:lnTo>
                  <a:lnTo>
                    <a:pt x="507" y="188"/>
                  </a:lnTo>
                  <a:lnTo>
                    <a:pt x="505" y="188"/>
                  </a:lnTo>
                  <a:lnTo>
                    <a:pt x="503" y="186"/>
                  </a:lnTo>
                  <a:lnTo>
                    <a:pt x="504" y="180"/>
                  </a:lnTo>
                  <a:lnTo>
                    <a:pt x="505" y="177"/>
                  </a:lnTo>
                  <a:lnTo>
                    <a:pt x="502" y="176"/>
                  </a:lnTo>
                  <a:lnTo>
                    <a:pt x="499" y="175"/>
                  </a:lnTo>
                  <a:lnTo>
                    <a:pt x="498" y="174"/>
                  </a:lnTo>
                  <a:lnTo>
                    <a:pt x="495" y="172"/>
                  </a:lnTo>
                  <a:lnTo>
                    <a:pt x="492" y="169"/>
                  </a:lnTo>
                  <a:lnTo>
                    <a:pt x="492" y="163"/>
                  </a:lnTo>
                  <a:lnTo>
                    <a:pt x="504" y="150"/>
                  </a:lnTo>
                  <a:lnTo>
                    <a:pt x="505" y="150"/>
                  </a:lnTo>
                  <a:lnTo>
                    <a:pt x="507" y="149"/>
                  </a:lnTo>
                  <a:lnTo>
                    <a:pt x="508" y="148"/>
                  </a:lnTo>
                  <a:lnTo>
                    <a:pt x="510" y="145"/>
                  </a:lnTo>
                  <a:lnTo>
                    <a:pt x="513" y="139"/>
                  </a:lnTo>
                  <a:lnTo>
                    <a:pt x="515" y="136"/>
                  </a:lnTo>
                  <a:lnTo>
                    <a:pt x="513" y="135"/>
                  </a:lnTo>
                  <a:lnTo>
                    <a:pt x="511" y="135"/>
                  </a:lnTo>
                  <a:lnTo>
                    <a:pt x="508" y="136"/>
                  </a:lnTo>
                  <a:lnTo>
                    <a:pt x="514" y="126"/>
                  </a:lnTo>
                  <a:lnTo>
                    <a:pt x="517" y="120"/>
                  </a:lnTo>
                  <a:lnTo>
                    <a:pt x="515" y="117"/>
                  </a:lnTo>
                  <a:lnTo>
                    <a:pt x="515" y="114"/>
                  </a:lnTo>
                  <a:lnTo>
                    <a:pt x="516" y="111"/>
                  </a:lnTo>
                  <a:lnTo>
                    <a:pt x="517" y="110"/>
                  </a:lnTo>
                  <a:lnTo>
                    <a:pt x="519" y="112"/>
                  </a:lnTo>
                  <a:lnTo>
                    <a:pt x="520" y="110"/>
                  </a:lnTo>
                  <a:lnTo>
                    <a:pt x="521" y="109"/>
                  </a:lnTo>
                  <a:lnTo>
                    <a:pt x="522" y="105"/>
                  </a:lnTo>
                  <a:lnTo>
                    <a:pt x="522" y="104"/>
                  </a:lnTo>
                  <a:lnTo>
                    <a:pt x="521" y="103"/>
                  </a:lnTo>
                  <a:lnTo>
                    <a:pt x="521" y="101"/>
                  </a:lnTo>
                  <a:lnTo>
                    <a:pt x="523" y="102"/>
                  </a:lnTo>
                  <a:lnTo>
                    <a:pt x="525" y="101"/>
                  </a:lnTo>
                  <a:lnTo>
                    <a:pt x="526" y="101"/>
                  </a:lnTo>
                  <a:lnTo>
                    <a:pt x="528" y="100"/>
                  </a:lnTo>
                  <a:lnTo>
                    <a:pt x="524" y="96"/>
                  </a:lnTo>
                  <a:lnTo>
                    <a:pt x="525" y="93"/>
                  </a:lnTo>
                  <a:lnTo>
                    <a:pt x="527" y="91"/>
                  </a:lnTo>
                  <a:lnTo>
                    <a:pt x="526" y="90"/>
                  </a:lnTo>
                  <a:lnTo>
                    <a:pt x="525" y="86"/>
                  </a:lnTo>
                  <a:lnTo>
                    <a:pt x="522" y="86"/>
                  </a:lnTo>
                  <a:lnTo>
                    <a:pt x="517" y="87"/>
                  </a:lnTo>
                  <a:lnTo>
                    <a:pt x="515" y="86"/>
                  </a:lnTo>
                  <a:lnTo>
                    <a:pt x="512" y="81"/>
                  </a:lnTo>
                  <a:lnTo>
                    <a:pt x="509" y="80"/>
                  </a:lnTo>
                  <a:lnTo>
                    <a:pt x="507" y="79"/>
                  </a:lnTo>
                  <a:lnTo>
                    <a:pt x="501" y="81"/>
                  </a:lnTo>
                  <a:lnTo>
                    <a:pt x="498" y="81"/>
                  </a:lnTo>
                  <a:lnTo>
                    <a:pt x="496" y="80"/>
                  </a:lnTo>
                  <a:lnTo>
                    <a:pt x="495" y="78"/>
                  </a:lnTo>
                  <a:lnTo>
                    <a:pt x="493" y="76"/>
                  </a:lnTo>
                  <a:lnTo>
                    <a:pt x="484" y="74"/>
                  </a:lnTo>
                  <a:lnTo>
                    <a:pt x="481" y="71"/>
                  </a:lnTo>
                  <a:lnTo>
                    <a:pt x="480" y="71"/>
                  </a:lnTo>
                  <a:lnTo>
                    <a:pt x="479" y="65"/>
                  </a:lnTo>
                  <a:lnTo>
                    <a:pt x="478" y="60"/>
                  </a:lnTo>
                  <a:lnTo>
                    <a:pt x="475" y="56"/>
                  </a:lnTo>
                  <a:lnTo>
                    <a:pt x="472" y="54"/>
                  </a:lnTo>
                  <a:lnTo>
                    <a:pt x="468" y="53"/>
                  </a:lnTo>
                  <a:lnTo>
                    <a:pt x="465" y="55"/>
                  </a:lnTo>
                  <a:lnTo>
                    <a:pt x="458" y="59"/>
                  </a:lnTo>
                  <a:lnTo>
                    <a:pt x="455" y="61"/>
                  </a:lnTo>
                  <a:lnTo>
                    <a:pt x="436" y="60"/>
                  </a:lnTo>
                  <a:lnTo>
                    <a:pt x="431" y="61"/>
                  </a:lnTo>
                  <a:lnTo>
                    <a:pt x="430" y="61"/>
                  </a:lnTo>
                  <a:lnTo>
                    <a:pt x="427" y="61"/>
                  </a:lnTo>
                  <a:lnTo>
                    <a:pt x="427" y="52"/>
                  </a:lnTo>
                  <a:lnTo>
                    <a:pt x="425" y="48"/>
                  </a:lnTo>
                  <a:lnTo>
                    <a:pt x="422" y="48"/>
                  </a:lnTo>
                  <a:lnTo>
                    <a:pt x="416" y="48"/>
                  </a:lnTo>
                  <a:lnTo>
                    <a:pt x="413" y="47"/>
                  </a:lnTo>
                  <a:lnTo>
                    <a:pt x="412" y="45"/>
                  </a:lnTo>
                  <a:lnTo>
                    <a:pt x="410" y="40"/>
                  </a:lnTo>
                  <a:lnTo>
                    <a:pt x="410" y="37"/>
                  </a:lnTo>
                  <a:lnTo>
                    <a:pt x="404" y="31"/>
                  </a:lnTo>
                  <a:lnTo>
                    <a:pt x="403" y="29"/>
                  </a:lnTo>
                  <a:lnTo>
                    <a:pt x="404" y="23"/>
                  </a:lnTo>
                  <a:lnTo>
                    <a:pt x="405" y="19"/>
                  </a:lnTo>
                  <a:lnTo>
                    <a:pt x="406" y="15"/>
                  </a:lnTo>
                  <a:lnTo>
                    <a:pt x="403" y="9"/>
                  </a:lnTo>
                  <a:lnTo>
                    <a:pt x="398" y="6"/>
                  </a:lnTo>
                  <a:lnTo>
                    <a:pt x="398" y="5"/>
                  </a:lnTo>
                  <a:lnTo>
                    <a:pt x="395" y="6"/>
                  </a:lnTo>
                  <a:lnTo>
                    <a:pt x="394" y="8"/>
                  </a:lnTo>
                  <a:lnTo>
                    <a:pt x="394" y="10"/>
                  </a:lnTo>
                  <a:lnTo>
                    <a:pt x="393" y="13"/>
                  </a:lnTo>
                  <a:lnTo>
                    <a:pt x="390" y="17"/>
                  </a:lnTo>
                  <a:lnTo>
                    <a:pt x="387" y="22"/>
                  </a:lnTo>
                  <a:lnTo>
                    <a:pt x="383" y="26"/>
                  </a:lnTo>
                  <a:lnTo>
                    <a:pt x="379" y="27"/>
                  </a:lnTo>
                  <a:lnTo>
                    <a:pt x="373" y="24"/>
                  </a:lnTo>
                  <a:lnTo>
                    <a:pt x="370" y="23"/>
                  </a:lnTo>
                  <a:lnTo>
                    <a:pt x="359" y="23"/>
                  </a:lnTo>
                  <a:lnTo>
                    <a:pt x="356" y="22"/>
                  </a:lnTo>
                  <a:lnTo>
                    <a:pt x="356" y="18"/>
                  </a:lnTo>
                  <a:lnTo>
                    <a:pt x="358" y="18"/>
                  </a:lnTo>
                  <a:lnTo>
                    <a:pt x="365" y="21"/>
                  </a:lnTo>
                  <a:lnTo>
                    <a:pt x="364" y="17"/>
                  </a:lnTo>
                  <a:lnTo>
                    <a:pt x="365" y="13"/>
                  </a:lnTo>
                  <a:lnTo>
                    <a:pt x="366" y="9"/>
                  </a:lnTo>
                  <a:lnTo>
                    <a:pt x="365" y="6"/>
                  </a:lnTo>
                  <a:lnTo>
                    <a:pt x="364" y="3"/>
                  </a:lnTo>
                  <a:lnTo>
                    <a:pt x="361" y="2"/>
                  </a:lnTo>
                  <a:lnTo>
                    <a:pt x="358" y="1"/>
                  </a:lnTo>
                  <a:lnTo>
                    <a:pt x="356" y="0"/>
                  </a:lnTo>
                  <a:lnTo>
                    <a:pt x="351" y="3"/>
                  </a:lnTo>
                  <a:lnTo>
                    <a:pt x="339" y="18"/>
                  </a:lnTo>
                  <a:lnTo>
                    <a:pt x="337" y="19"/>
                  </a:lnTo>
                  <a:lnTo>
                    <a:pt x="334" y="20"/>
                  </a:lnTo>
                  <a:lnTo>
                    <a:pt x="332" y="20"/>
                  </a:lnTo>
                  <a:lnTo>
                    <a:pt x="327" y="19"/>
                  </a:lnTo>
                  <a:lnTo>
                    <a:pt x="323" y="20"/>
                  </a:lnTo>
                  <a:lnTo>
                    <a:pt x="320" y="20"/>
                  </a:lnTo>
                  <a:lnTo>
                    <a:pt x="317" y="18"/>
                  </a:lnTo>
                  <a:lnTo>
                    <a:pt x="318" y="15"/>
                  </a:lnTo>
                  <a:lnTo>
                    <a:pt x="319" y="12"/>
                  </a:lnTo>
                  <a:lnTo>
                    <a:pt x="319" y="8"/>
                  </a:lnTo>
                  <a:lnTo>
                    <a:pt x="318" y="6"/>
                  </a:lnTo>
                  <a:lnTo>
                    <a:pt x="316" y="5"/>
                  </a:lnTo>
                  <a:lnTo>
                    <a:pt x="311" y="6"/>
                  </a:lnTo>
                  <a:lnTo>
                    <a:pt x="303" y="9"/>
                  </a:lnTo>
                  <a:lnTo>
                    <a:pt x="295" y="14"/>
                  </a:lnTo>
                  <a:lnTo>
                    <a:pt x="296" y="16"/>
                  </a:lnTo>
                  <a:lnTo>
                    <a:pt x="296" y="18"/>
                  </a:lnTo>
                  <a:lnTo>
                    <a:pt x="295" y="20"/>
                  </a:lnTo>
                  <a:lnTo>
                    <a:pt x="295" y="22"/>
                  </a:lnTo>
                  <a:lnTo>
                    <a:pt x="296" y="25"/>
                  </a:lnTo>
                  <a:lnTo>
                    <a:pt x="300" y="29"/>
                  </a:lnTo>
                  <a:lnTo>
                    <a:pt x="301" y="32"/>
                  </a:lnTo>
                  <a:lnTo>
                    <a:pt x="300" y="36"/>
                  </a:lnTo>
                  <a:lnTo>
                    <a:pt x="297" y="37"/>
                  </a:lnTo>
                  <a:lnTo>
                    <a:pt x="290" y="37"/>
                  </a:lnTo>
                  <a:lnTo>
                    <a:pt x="286" y="36"/>
                  </a:lnTo>
                  <a:lnTo>
                    <a:pt x="281" y="33"/>
                  </a:lnTo>
                  <a:lnTo>
                    <a:pt x="279" y="33"/>
                  </a:lnTo>
                  <a:lnTo>
                    <a:pt x="276" y="32"/>
                  </a:lnTo>
                  <a:lnTo>
                    <a:pt x="276" y="32"/>
                  </a:lnTo>
                  <a:lnTo>
                    <a:pt x="278" y="36"/>
                  </a:lnTo>
                  <a:lnTo>
                    <a:pt x="280" y="37"/>
                  </a:lnTo>
                  <a:lnTo>
                    <a:pt x="280" y="40"/>
                  </a:lnTo>
                  <a:lnTo>
                    <a:pt x="280" y="46"/>
                  </a:lnTo>
                  <a:lnTo>
                    <a:pt x="280" y="48"/>
                  </a:lnTo>
                  <a:lnTo>
                    <a:pt x="282" y="49"/>
                  </a:lnTo>
                  <a:lnTo>
                    <a:pt x="287" y="51"/>
                  </a:lnTo>
                  <a:lnTo>
                    <a:pt x="285" y="56"/>
                  </a:lnTo>
                  <a:lnTo>
                    <a:pt x="284" y="57"/>
                  </a:lnTo>
                  <a:lnTo>
                    <a:pt x="282" y="58"/>
                  </a:lnTo>
                  <a:lnTo>
                    <a:pt x="282" y="58"/>
                  </a:lnTo>
                  <a:lnTo>
                    <a:pt x="283" y="56"/>
                  </a:lnTo>
                  <a:lnTo>
                    <a:pt x="284" y="54"/>
                  </a:lnTo>
                  <a:lnTo>
                    <a:pt x="283" y="53"/>
                  </a:lnTo>
                  <a:lnTo>
                    <a:pt x="283" y="51"/>
                  </a:lnTo>
                  <a:lnTo>
                    <a:pt x="281" y="49"/>
                  </a:lnTo>
                  <a:lnTo>
                    <a:pt x="278" y="46"/>
                  </a:lnTo>
                  <a:lnTo>
                    <a:pt x="275" y="43"/>
                  </a:lnTo>
                  <a:lnTo>
                    <a:pt x="274" y="38"/>
                  </a:lnTo>
                  <a:lnTo>
                    <a:pt x="273" y="36"/>
                  </a:lnTo>
                  <a:lnTo>
                    <a:pt x="270" y="33"/>
                  </a:lnTo>
                  <a:lnTo>
                    <a:pt x="270" y="33"/>
                  </a:lnTo>
                  <a:lnTo>
                    <a:pt x="270" y="33"/>
                  </a:lnTo>
                  <a:lnTo>
                    <a:pt x="270" y="34"/>
                  </a:lnTo>
                  <a:lnTo>
                    <a:pt x="269" y="40"/>
                  </a:lnTo>
                  <a:lnTo>
                    <a:pt x="268" y="42"/>
                  </a:lnTo>
                  <a:lnTo>
                    <a:pt x="261" y="51"/>
                  </a:lnTo>
                  <a:lnTo>
                    <a:pt x="253" y="57"/>
                  </a:lnTo>
                  <a:lnTo>
                    <a:pt x="234" y="67"/>
                  </a:lnTo>
                  <a:lnTo>
                    <a:pt x="226" y="73"/>
                  </a:lnTo>
                  <a:lnTo>
                    <a:pt x="223" y="74"/>
                  </a:lnTo>
                  <a:lnTo>
                    <a:pt x="204" y="74"/>
                  </a:lnTo>
                  <a:lnTo>
                    <a:pt x="202" y="73"/>
                  </a:lnTo>
                  <a:lnTo>
                    <a:pt x="200" y="71"/>
                  </a:lnTo>
                  <a:lnTo>
                    <a:pt x="200" y="68"/>
                  </a:lnTo>
                  <a:lnTo>
                    <a:pt x="200" y="65"/>
                  </a:lnTo>
                  <a:lnTo>
                    <a:pt x="199" y="62"/>
                  </a:lnTo>
                  <a:lnTo>
                    <a:pt x="196" y="60"/>
                  </a:lnTo>
                  <a:lnTo>
                    <a:pt x="177" y="53"/>
                  </a:lnTo>
                  <a:lnTo>
                    <a:pt x="173" y="53"/>
                  </a:lnTo>
                  <a:lnTo>
                    <a:pt x="169" y="53"/>
                  </a:lnTo>
                  <a:lnTo>
                    <a:pt x="163" y="54"/>
                  </a:lnTo>
                  <a:lnTo>
                    <a:pt x="160" y="54"/>
                  </a:lnTo>
                  <a:lnTo>
                    <a:pt x="158" y="55"/>
                  </a:lnTo>
                  <a:lnTo>
                    <a:pt x="156" y="57"/>
                  </a:lnTo>
                  <a:lnTo>
                    <a:pt x="155" y="60"/>
                  </a:lnTo>
                  <a:lnTo>
                    <a:pt x="156" y="63"/>
                  </a:lnTo>
                  <a:lnTo>
                    <a:pt x="155" y="65"/>
                  </a:lnTo>
                  <a:lnTo>
                    <a:pt x="148" y="66"/>
                  </a:lnTo>
                  <a:lnTo>
                    <a:pt x="143" y="66"/>
                  </a:lnTo>
                  <a:lnTo>
                    <a:pt x="139" y="64"/>
                  </a:lnTo>
                  <a:lnTo>
                    <a:pt x="138" y="64"/>
                  </a:lnTo>
                  <a:lnTo>
                    <a:pt x="134" y="59"/>
                  </a:lnTo>
                  <a:lnTo>
                    <a:pt x="132" y="53"/>
                  </a:lnTo>
                  <a:lnTo>
                    <a:pt x="132" y="47"/>
                  </a:lnTo>
                  <a:lnTo>
                    <a:pt x="133" y="41"/>
                  </a:lnTo>
                  <a:lnTo>
                    <a:pt x="131" y="31"/>
                  </a:lnTo>
                  <a:lnTo>
                    <a:pt x="131" y="31"/>
                  </a:lnTo>
                  <a:lnTo>
                    <a:pt x="96" y="43"/>
                  </a:lnTo>
                  <a:lnTo>
                    <a:pt x="64" y="64"/>
                  </a:lnTo>
                  <a:lnTo>
                    <a:pt x="31" y="83"/>
                  </a:lnTo>
                  <a:lnTo>
                    <a:pt x="9" y="100"/>
                  </a:lnTo>
                  <a:lnTo>
                    <a:pt x="3" y="101"/>
                  </a:lnTo>
                  <a:lnTo>
                    <a:pt x="0" y="104"/>
                  </a:lnTo>
                  <a:lnTo>
                    <a:pt x="0" y="104"/>
                  </a:lnTo>
                  <a:lnTo>
                    <a:pt x="2" y="110"/>
                  </a:lnTo>
                  <a:lnTo>
                    <a:pt x="4" y="121"/>
                  </a:lnTo>
                  <a:lnTo>
                    <a:pt x="6" y="125"/>
                  </a:lnTo>
                  <a:lnTo>
                    <a:pt x="11" y="132"/>
                  </a:lnTo>
                  <a:lnTo>
                    <a:pt x="14" y="136"/>
                  </a:lnTo>
                  <a:lnTo>
                    <a:pt x="14" y="141"/>
                  </a:lnTo>
                  <a:lnTo>
                    <a:pt x="13" y="142"/>
                  </a:lnTo>
                  <a:lnTo>
                    <a:pt x="10" y="146"/>
                  </a:lnTo>
                  <a:lnTo>
                    <a:pt x="9" y="148"/>
                  </a:lnTo>
                  <a:lnTo>
                    <a:pt x="12" y="159"/>
                  </a:lnTo>
                  <a:lnTo>
                    <a:pt x="12" y="161"/>
                  </a:lnTo>
                  <a:lnTo>
                    <a:pt x="11" y="164"/>
                  </a:lnTo>
                  <a:lnTo>
                    <a:pt x="10" y="165"/>
                  </a:lnTo>
                  <a:lnTo>
                    <a:pt x="11" y="166"/>
                  </a:lnTo>
                  <a:lnTo>
                    <a:pt x="13" y="167"/>
                  </a:lnTo>
                  <a:lnTo>
                    <a:pt x="13" y="167"/>
                  </a:lnTo>
                  <a:lnTo>
                    <a:pt x="15" y="170"/>
                  </a:lnTo>
                  <a:lnTo>
                    <a:pt x="16" y="172"/>
                  </a:lnTo>
                  <a:lnTo>
                    <a:pt x="17" y="173"/>
                  </a:lnTo>
                  <a:lnTo>
                    <a:pt x="19" y="173"/>
                  </a:lnTo>
                  <a:lnTo>
                    <a:pt x="21" y="173"/>
                  </a:lnTo>
                  <a:lnTo>
                    <a:pt x="23" y="173"/>
                  </a:lnTo>
                  <a:lnTo>
                    <a:pt x="25" y="173"/>
                  </a:lnTo>
                  <a:lnTo>
                    <a:pt x="27" y="174"/>
                  </a:lnTo>
                  <a:lnTo>
                    <a:pt x="28" y="175"/>
                  </a:lnTo>
                  <a:lnTo>
                    <a:pt x="28" y="177"/>
                  </a:lnTo>
                  <a:lnTo>
                    <a:pt x="29" y="179"/>
                  </a:lnTo>
                  <a:lnTo>
                    <a:pt x="35" y="184"/>
                  </a:lnTo>
                  <a:lnTo>
                    <a:pt x="36" y="186"/>
                  </a:lnTo>
                  <a:lnTo>
                    <a:pt x="38" y="191"/>
                  </a:lnTo>
                  <a:lnTo>
                    <a:pt x="39" y="193"/>
                  </a:lnTo>
                  <a:lnTo>
                    <a:pt x="42" y="195"/>
                  </a:lnTo>
                  <a:lnTo>
                    <a:pt x="55" y="201"/>
                  </a:lnTo>
                  <a:lnTo>
                    <a:pt x="55" y="201"/>
                  </a:lnTo>
                  <a:lnTo>
                    <a:pt x="58" y="202"/>
                  </a:lnTo>
                  <a:lnTo>
                    <a:pt x="60" y="200"/>
                  </a:lnTo>
                  <a:lnTo>
                    <a:pt x="65" y="192"/>
                  </a:lnTo>
                  <a:lnTo>
                    <a:pt x="68" y="189"/>
                  </a:lnTo>
                  <a:lnTo>
                    <a:pt x="71" y="187"/>
                  </a:lnTo>
                  <a:lnTo>
                    <a:pt x="80" y="184"/>
                  </a:lnTo>
                  <a:lnTo>
                    <a:pt x="92" y="180"/>
                  </a:lnTo>
                  <a:lnTo>
                    <a:pt x="96" y="181"/>
                  </a:lnTo>
                  <a:lnTo>
                    <a:pt x="99" y="184"/>
                  </a:lnTo>
                  <a:lnTo>
                    <a:pt x="102" y="189"/>
                  </a:lnTo>
                  <a:lnTo>
                    <a:pt x="102" y="189"/>
                  </a:lnTo>
                  <a:lnTo>
                    <a:pt x="104" y="193"/>
                  </a:lnTo>
                  <a:lnTo>
                    <a:pt x="106" y="197"/>
                  </a:lnTo>
                  <a:lnTo>
                    <a:pt x="107" y="199"/>
                  </a:lnTo>
                  <a:lnTo>
                    <a:pt x="109" y="199"/>
                  </a:lnTo>
                  <a:lnTo>
                    <a:pt x="111" y="200"/>
                  </a:lnTo>
                  <a:lnTo>
                    <a:pt x="113" y="202"/>
                  </a:lnTo>
                  <a:lnTo>
                    <a:pt x="114" y="208"/>
                  </a:lnTo>
                  <a:lnTo>
                    <a:pt x="112" y="212"/>
                  </a:lnTo>
                  <a:lnTo>
                    <a:pt x="114" y="219"/>
                  </a:lnTo>
                  <a:lnTo>
                    <a:pt x="118" y="233"/>
                  </a:lnTo>
                  <a:lnTo>
                    <a:pt x="118" y="242"/>
                  </a:lnTo>
                  <a:lnTo>
                    <a:pt x="119" y="244"/>
                  </a:lnTo>
                  <a:lnTo>
                    <a:pt x="121" y="247"/>
                  </a:lnTo>
                  <a:lnTo>
                    <a:pt x="124" y="249"/>
                  </a:lnTo>
                  <a:lnTo>
                    <a:pt x="130" y="253"/>
                  </a:lnTo>
                  <a:lnTo>
                    <a:pt x="133" y="253"/>
                  </a:lnTo>
                  <a:lnTo>
                    <a:pt x="137" y="253"/>
                  </a:lnTo>
                  <a:lnTo>
                    <a:pt x="144" y="251"/>
                  </a:lnTo>
                  <a:lnTo>
                    <a:pt x="146" y="249"/>
                  </a:lnTo>
                  <a:lnTo>
                    <a:pt x="148" y="247"/>
                  </a:lnTo>
                  <a:lnTo>
                    <a:pt x="149" y="246"/>
                  </a:lnTo>
                  <a:lnTo>
                    <a:pt x="152" y="246"/>
                  </a:lnTo>
                  <a:lnTo>
                    <a:pt x="154" y="247"/>
                  </a:lnTo>
                  <a:lnTo>
                    <a:pt x="155" y="248"/>
                  </a:lnTo>
                  <a:lnTo>
                    <a:pt x="155" y="250"/>
                  </a:lnTo>
                  <a:lnTo>
                    <a:pt x="153" y="253"/>
                  </a:lnTo>
                  <a:lnTo>
                    <a:pt x="155" y="254"/>
                  </a:lnTo>
                  <a:lnTo>
                    <a:pt x="165" y="254"/>
                  </a:lnTo>
                  <a:lnTo>
                    <a:pt x="169" y="255"/>
                  </a:lnTo>
                  <a:lnTo>
                    <a:pt x="173" y="257"/>
                  </a:lnTo>
                  <a:lnTo>
                    <a:pt x="176" y="260"/>
                  </a:lnTo>
                  <a:lnTo>
                    <a:pt x="178" y="265"/>
                  </a:lnTo>
                  <a:lnTo>
                    <a:pt x="179" y="274"/>
                  </a:lnTo>
                  <a:lnTo>
                    <a:pt x="179" y="286"/>
                  </a:lnTo>
                  <a:lnTo>
                    <a:pt x="181" y="296"/>
                  </a:lnTo>
                  <a:lnTo>
                    <a:pt x="187" y="301"/>
                  </a:lnTo>
                  <a:lnTo>
                    <a:pt x="187" y="300"/>
                  </a:lnTo>
                  <a:lnTo>
                    <a:pt x="187" y="299"/>
                  </a:lnTo>
                  <a:lnTo>
                    <a:pt x="187" y="300"/>
                  </a:lnTo>
                  <a:lnTo>
                    <a:pt x="188" y="299"/>
                  </a:lnTo>
                  <a:lnTo>
                    <a:pt x="189" y="298"/>
                  </a:lnTo>
                  <a:lnTo>
                    <a:pt x="189" y="296"/>
                  </a:lnTo>
                  <a:lnTo>
                    <a:pt x="192" y="291"/>
                  </a:lnTo>
                  <a:lnTo>
                    <a:pt x="193" y="290"/>
                  </a:lnTo>
                  <a:lnTo>
                    <a:pt x="196" y="289"/>
                  </a:lnTo>
                  <a:lnTo>
                    <a:pt x="203" y="289"/>
                  </a:lnTo>
                  <a:lnTo>
                    <a:pt x="209" y="290"/>
                  </a:lnTo>
                  <a:lnTo>
                    <a:pt x="212" y="291"/>
                  </a:lnTo>
                  <a:lnTo>
                    <a:pt x="215" y="293"/>
                  </a:lnTo>
                  <a:lnTo>
                    <a:pt x="218" y="294"/>
                  </a:lnTo>
                  <a:lnTo>
                    <a:pt x="222" y="294"/>
                  </a:lnTo>
                  <a:lnTo>
                    <a:pt x="232" y="290"/>
                  </a:lnTo>
                  <a:lnTo>
                    <a:pt x="235" y="290"/>
                  </a:lnTo>
                  <a:lnTo>
                    <a:pt x="238" y="291"/>
                  </a:lnTo>
                  <a:lnTo>
                    <a:pt x="243" y="297"/>
                  </a:lnTo>
                  <a:lnTo>
                    <a:pt x="247" y="299"/>
                  </a:lnTo>
                  <a:lnTo>
                    <a:pt x="250" y="302"/>
                  </a:lnTo>
                  <a:lnTo>
                    <a:pt x="255" y="311"/>
                  </a:lnTo>
                  <a:lnTo>
                    <a:pt x="257" y="313"/>
                  </a:lnTo>
                  <a:lnTo>
                    <a:pt x="259" y="311"/>
                  </a:lnTo>
                  <a:lnTo>
                    <a:pt x="258" y="310"/>
                  </a:lnTo>
                  <a:lnTo>
                    <a:pt x="258" y="308"/>
                  </a:lnTo>
                  <a:lnTo>
                    <a:pt x="261" y="307"/>
                  </a:lnTo>
                  <a:lnTo>
                    <a:pt x="262" y="308"/>
                  </a:lnTo>
                  <a:lnTo>
                    <a:pt x="264" y="309"/>
                  </a:lnTo>
                  <a:lnTo>
                    <a:pt x="266" y="311"/>
                  </a:lnTo>
                  <a:lnTo>
                    <a:pt x="267" y="313"/>
                  </a:lnTo>
                  <a:lnTo>
                    <a:pt x="266" y="315"/>
                  </a:lnTo>
                  <a:lnTo>
                    <a:pt x="265" y="317"/>
                  </a:lnTo>
                  <a:lnTo>
                    <a:pt x="261" y="320"/>
                  </a:lnTo>
                  <a:lnTo>
                    <a:pt x="260" y="322"/>
                  </a:lnTo>
                  <a:lnTo>
                    <a:pt x="259" y="324"/>
                  </a:lnTo>
                  <a:lnTo>
                    <a:pt x="258" y="329"/>
                  </a:lnTo>
                  <a:lnTo>
                    <a:pt x="255" y="339"/>
                  </a:lnTo>
                  <a:lnTo>
                    <a:pt x="255" y="343"/>
                  </a:lnTo>
                  <a:lnTo>
                    <a:pt x="257" y="344"/>
                  </a:lnTo>
                  <a:lnTo>
                    <a:pt x="260" y="343"/>
                  </a:lnTo>
                  <a:lnTo>
                    <a:pt x="262" y="343"/>
                  </a:lnTo>
                  <a:lnTo>
                    <a:pt x="263" y="343"/>
                  </a:lnTo>
                  <a:lnTo>
                    <a:pt x="266" y="354"/>
                  </a:lnTo>
                  <a:lnTo>
                    <a:pt x="267" y="356"/>
                  </a:lnTo>
                  <a:lnTo>
                    <a:pt x="268" y="358"/>
                  </a:lnTo>
                  <a:lnTo>
                    <a:pt x="268" y="360"/>
                  </a:lnTo>
                  <a:lnTo>
                    <a:pt x="264" y="362"/>
                  </a:lnTo>
                  <a:lnTo>
                    <a:pt x="261" y="365"/>
                  </a:lnTo>
                  <a:lnTo>
                    <a:pt x="257" y="367"/>
                  </a:lnTo>
                  <a:lnTo>
                    <a:pt x="256" y="369"/>
                  </a:lnTo>
                  <a:lnTo>
                    <a:pt x="256" y="370"/>
                  </a:lnTo>
                  <a:lnTo>
                    <a:pt x="255" y="373"/>
                  </a:lnTo>
                  <a:lnTo>
                    <a:pt x="256" y="374"/>
                  </a:lnTo>
                  <a:lnTo>
                    <a:pt x="256" y="377"/>
                  </a:lnTo>
                  <a:lnTo>
                    <a:pt x="257" y="381"/>
                  </a:lnTo>
                  <a:lnTo>
                    <a:pt x="256" y="381"/>
                  </a:lnTo>
                  <a:lnTo>
                    <a:pt x="256" y="381"/>
                  </a:lnTo>
                  <a:lnTo>
                    <a:pt x="264" y="386"/>
                  </a:lnTo>
                  <a:lnTo>
                    <a:pt x="266" y="386"/>
                  </a:lnTo>
                  <a:lnTo>
                    <a:pt x="269" y="386"/>
                  </a:lnTo>
                  <a:lnTo>
                    <a:pt x="279" y="384"/>
                  </a:lnTo>
                  <a:lnTo>
                    <a:pt x="302" y="391"/>
                  </a:lnTo>
                  <a:lnTo>
                    <a:pt x="304" y="391"/>
                  </a:lnTo>
                  <a:lnTo>
                    <a:pt x="308" y="391"/>
                  </a:lnTo>
                  <a:lnTo>
                    <a:pt x="330" y="380"/>
                  </a:lnTo>
                  <a:lnTo>
                    <a:pt x="337" y="379"/>
                  </a:lnTo>
                  <a:lnTo>
                    <a:pt x="339" y="378"/>
                  </a:lnTo>
                  <a:lnTo>
                    <a:pt x="340" y="375"/>
                  </a:lnTo>
                  <a:lnTo>
                    <a:pt x="341" y="371"/>
                  </a:lnTo>
                  <a:lnTo>
                    <a:pt x="343" y="363"/>
                  </a:lnTo>
                  <a:lnTo>
                    <a:pt x="343" y="361"/>
                  </a:lnTo>
                  <a:lnTo>
                    <a:pt x="342" y="360"/>
                  </a:lnTo>
                  <a:lnTo>
                    <a:pt x="341" y="359"/>
                  </a:lnTo>
                  <a:lnTo>
                    <a:pt x="342" y="356"/>
                  </a:lnTo>
                  <a:lnTo>
                    <a:pt x="343" y="354"/>
                  </a:lnTo>
                  <a:lnTo>
                    <a:pt x="360" y="337"/>
                  </a:lnTo>
                  <a:lnTo>
                    <a:pt x="364" y="335"/>
                  </a:lnTo>
                  <a:lnTo>
                    <a:pt x="365" y="339"/>
                  </a:lnTo>
                  <a:lnTo>
                    <a:pt x="367" y="340"/>
                  </a:lnTo>
                  <a:lnTo>
                    <a:pt x="372" y="338"/>
                  </a:lnTo>
                  <a:lnTo>
                    <a:pt x="373" y="340"/>
                  </a:lnTo>
                  <a:lnTo>
                    <a:pt x="373" y="345"/>
                  </a:lnTo>
                  <a:lnTo>
                    <a:pt x="372" y="350"/>
                  </a:lnTo>
                  <a:lnTo>
                    <a:pt x="372" y="354"/>
                  </a:lnTo>
                  <a:lnTo>
                    <a:pt x="370" y="352"/>
                  </a:lnTo>
                  <a:lnTo>
                    <a:pt x="369" y="352"/>
                  </a:lnTo>
                  <a:lnTo>
                    <a:pt x="366" y="359"/>
                  </a:lnTo>
                  <a:lnTo>
                    <a:pt x="366" y="361"/>
                  </a:lnTo>
                  <a:lnTo>
                    <a:pt x="366" y="363"/>
                  </a:lnTo>
                  <a:lnTo>
                    <a:pt x="366" y="366"/>
                  </a:lnTo>
                  <a:lnTo>
                    <a:pt x="360" y="381"/>
                  </a:lnTo>
                  <a:lnTo>
                    <a:pt x="359" y="385"/>
                  </a:lnTo>
                  <a:lnTo>
                    <a:pt x="361" y="389"/>
                  </a:lnTo>
                  <a:lnTo>
                    <a:pt x="369" y="392"/>
                  </a:lnTo>
                  <a:lnTo>
                    <a:pt x="371" y="396"/>
                  </a:lnTo>
                  <a:lnTo>
                    <a:pt x="371" y="399"/>
                  </a:lnTo>
                  <a:lnTo>
                    <a:pt x="371" y="401"/>
                  </a:lnTo>
                  <a:lnTo>
                    <a:pt x="370" y="404"/>
                  </a:lnTo>
                  <a:lnTo>
                    <a:pt x="369" y="407"/>
                  </a:lnTo>
                  <a:lnTo>
                    <a:pt x="369" y="408"/>
                  </a:lnTo>
                  <a:lnTo>
                    <a:pt x="368" y="409"/>
                  </a:lnTo>
                  <a:lnTo>
                    <a:pt x="367" y="411"/>
                  </a:lnTo>
                  <a:lnTo>
                    <a:pt x="368" y="412"/>
                  </a:lnTo>
                  <a:lnTo>
                    <a:pt x="369" y="415"/>
                  </a:lnTo>
                  <a:lnTo>
                    <a:pt x="369" y="416"/>
                  </a:lnTo>
                  <a:lnTo>
                    <a:pt x="369" y="425"/>
                  </a:lnTo>
                  <a:lnTo>
                    <a:pt x="371" y="427"/>
                  </a:lnTo>
                  <a:lnTo>
                    <a:pt x="375" y="428"/>
                  </a:lnTo>
                  <a:lnTo>
                    <a:pt x="378" y="427"/>
                  </a:lnTo>
                  <a:lnTo>
                    <a:pt x="385" y="425"/>
                  </a:lnTo>
                  <a:lnTo>
                    <a:pt x="388" y="425"/>
                  </a:lnTo>
                  <a:lnTo>
                    <a:pt x="389" y="425"/>
                  </a:lnTo>
                  <a:lnTo>
                    <a:pt x="392" y="426"/>
                  </a:lnTo>
                  <a:lnTo>
                    <a:pt x="398" y="432"/>
                  </a:lnTo>
                  <a:lnTo>
                    <a:pt x="401" y="434"/>
                  </a:lnTo>
                  <a:lnTo>
                    <a:pt x="406" y="436"/>
                  </a:lnTo>
                  <a:lnTo>
                    <a:pt x="408" y="437"/>
                  </a:lnTo>
                  <a:lnTo>
                    <a:pt x="415" y="447"/>
                  </a:lnTo>
                  <a:lnTo>
                    <a:pt x="417" y="449"/>
                  </a:lnTo>
                  <a:lnTo>
                    <a:pt x="420" y="452"/>
                  </a:lnTo>
                  <a:lnTo>
                    <a:pt x="424" y="453"/>
                  </a:lnTo>
                  <a:lnTo>
                    <a:pt x="431" y="451"/>
                  </a:lnTo>
                  <a:lnTo>
                    <a:pt x="434" y="451"/>
                  </a:lnTo>
                  <a:lnTo>
                    <a:pt x="438" y="454"/>
                  </a:lnTo>
                  <a:lnTo>
                    <a:pt x="441" y="458"/>
                  </a:lnTo>
                  <a:lnTo>
                    <a:pt x="442" y="461"/>
                  </a:lnTo>
                  <a:lnTo>
                    <a:pt x="441" y="462"/>
                  </a:lnTo>
                  <a:lnTo>
                    <a:pt x="440" y="463"/>
                  </a:lnTo>
                  <a:lnTo>
                    <a:pt x="439" y="467"/>
                  </a:lnTo>
                  <a:lnTo>
                    <a:pt x="440" y="469"/>
                  </a:lnTo>
                  <a:lnTo>
                    <a:pt x="441" y="470"/>
                  </a:lnTo>
                  <a:lnTo>
                    <a:pt x="443" y="470"/>
                  </a:lnTo>
                  <a:lnTo>
                    <a:pt x="444" y="470"/>
                  </a:lnTo>
                  <a:lnTo>
                    <a:pt x="445" y="468"/>
                  </a:lnTo>
                  <a:lnTo>
                    <a:pt x="446" y="467"/>
                  </a:lnTo>
                  <a:lnTo>
                    <a:pt x="446" y="467"/>
                  </a:lnTo>
                  <a:lnTo>
                    <a:pt x="447" y="467"/>
                  </a:lnTo>
                  <a:lnTo>
                    <a:pt x="449" y="468"/>
                  </a:lnTo>
                  <a:lnTo>
                    <a:pt x="454" y="470"/>
                  </a:lnTo>
                  <a:lnTo>
                    <a:pt x="456" y="471"/>
                  </a:lnTo>
                  <a:lnTo>
                    <a:pt x="457" y="472"/>
                  </a:lnTo>
                  <a:lnTo>
                    <a:pt x="465" y="486"/>
                  </a:lnTo>
                  <a:lnTo>
                    <a:pt x="466" y="488"/>
                  </a:lnTo>
                  <a:lnTo>
                    <a:pt x="466" y="491"/>
                  </a:lnTo>
                  <a:lnTo>
                    <a:pt x="465" y="493"/>
                  </a:lnTo>
                  <a:lnTo>
                    <a:pt x="465" y="495"/>
                  </a:lnTo>
                  <a:lnTo>
                    <a:pt x="466" y="497"/>
                  </a:lnTo>
                  <a:lnTo>
                    <a:pt x="469" y="498"/>
                  </a:lnTo>
                  <a:lnTo>
                    <a:pt x="473" y="496"/>
                  </a:lnTo>
                  <a:lnTo>
                    <a:pt x="477" y="493"/>
                  </a:lnTo>
                  <a:lnTo>
                    <a:pt x="480" y="492"/>
                  </a:lnTo>
                  <a:lnTo>
                    <a:pt x="485" y="494"/>
                  </a:lnTo>
                  <a:lnTo>
                    <a:pt x="486" y="494"/>
                  </a:lnTo>
                  <a:lnTo>
                    <a:pt x="489" y="494"/>
                  </a:lnTo>
                  <a:lnTo>
                    <a:pt x="490" y="493"/>
                  </a:lnTo>
                  <a:lnTo>
                    <a:pt x="490" y="491"/>
                  </a:lnTo>
                  <a:lnTo>
                    <a:pt x="492" y="489"/>
                  </a:lnTo>
                  <a:lnTo>
                    <a:pt x="496" y="487"/>
                  </a:lnTo>
                  <a:lnTo>
                    <a:pt x="499" y="487"/>
                  </a:lnTo>
                  <a:lnTo>
                    <a:pt x="503" y="489"/>
                  </a:lnTo>
                  <a:lnTo>
                    <a:pt x="506" y="490"/>
                  </a:lnTo>
                  <a:lnTo>
                    <a:pt x="508" y="489"/>
                  </a:lnTo>
                  <a:lnTo>
                    <a:pt x="510" y="486"/>
                  </a:lnTo>
                  <a:lnTo>
                    <a:pt x="512" y="485"/>
                  </a:lnTo>
                  <a:lnTo>
                    <a:pt x="514" y="486"/>
                  </a:lnTo>
                  <a:lnTo>
                    <a:pt x="517" y="488"/>
                  </a:lnTo>
                  <a:lnTo>
                    <a:pt x="519" y="488"/>
                  </a:lnTo>
                  <a:lnTo>
                    <a:pt x="523" y="486"/>
                  </a:lnTo>
                  <a:lnTo>
                    <a:pt x="526" y="482"/>
                  </a:lnTo>
                  <a:lnTo>
                    <a:pt x="528" y="479"/>
                  </a:lnTo>
                  <a:lnTo>
                    <a:pt x="525" y="477"/>
                  </a:lnTo>
                  <a:lnTo>
                    <a:pt x="527" y="475"/>
                  </a:lnTo>
                  <a:lnTo>
                    <a:pt x="528" y="473"/>
                  </a:lnTo>
                  <a:lnTo>
                    <a:pt x="530" y="467"/>
                  </a:lnTo>
                  <a:lnTo>
                    <a:pt x="531" y="466"/>
                  </a:lnTo>
                  <a:lnTo>
                    <a:pt x="533" y="464"/>
                  </a:lnTo>
                  <a:lnTo>
                    <a:pt x="534" y="462"/>
                  </a:lnTo>
                  <a:lnTo>
                    <a:pt x="533" y="459"/>
                  </a:lnTo>
                  <a:lnTo>
                    <a:pt x="532" y="458"/>
                  </a:lnTo>
                  <a:lnTo>
                    <a:pt x="529" y="458"/>
                  </a:lnTo>
                  <a:lnTo>
                    <a:pt x="528" y="457"/>
                  </a:lnTo>
                  <a:lnTo>
                    <a:pt x="527" y="455"/>
                  </a:lnTo>
                  <a:lnTo>
                    <a:pt x="527" y="454"/>
                  </a:lnTo>
                  <a:lnTo>
                    <a:pt x="528" y="453"/>
                  </a:lnTo>
                  <a:lnTo>
                    <a:pt x="528" y="452"/>
                  </a:lnTo>
                  <a:lnTo>
                    <a:pt x="528" y="450"/>
                  </a:lnTo>
                  <a:lnTo>
                    <a:pt x="529" y="449"/>
                  </a:lnTo>
                  <a:lnTo>
                    <a:pt x="529" y="448"/>
                  </a:lnTo>
                  <a:lnTo>
                    <a:pt x="529" y="447"/>
                  </a:lnTo>
                  <a:lnTo>
                    <a:pt x="529" y="447"/>
                  </a:lnTo>
                  <a:lnTo>
                    <a:pt x="528" y="445"/>
                  </a:lnTo>
                  <a:lnTo>
                    <a:pt x="527" y="445"/>
                  </a:lnTo>
                  <a:lnTo>
                    <a:pt x="526" y="445"/>
                  </a:lnTo>
                  <a:lnTo>
                    <a:pt x="525" y="445"/>
                  </a:lnTo>
                  <a:lnTo>
                    <a:pt x="525" y="445"/>
                  </a:lnTo>
                  <a:lnTo>
                    <a:pt x="522" y="444"/>
                  </a:lnTo>
                  <a:lnTo>
                    <a:pt x="521" y="443"/>
                  </a:lnTo>
                  <a:lnTo>
                    <a:pt x="521" y="443"/>
                  </a:lnTo>
                  <a:lnTo>
                    <a:pt x="521" y="439"/>
                  </a:lnTo>
                  <a:lnTo>
                    <a:pt x="521" y="438"/>
                  </a:lnTo>
                  <a:lnTo>
                    <a:pt x="517" y="431"/>
                  </a:lnTo>
                  <a:lnTo>
                    <a:pt x="516" y="429"/>
                  </a:lnTo>
                  <a:lnTo>
                    <a:pt x="514" y="428"/>
                  </a:lnTo>
                  <a:lnTo>
                    <a:pt x="512" y="428"/>
                  </a:lnTo>
                  <a:lnTo>
                    <a:pt x="510" y="427"/>
                  </a:lnTo>
                  <a:lnTo>
                    <a:pt x="509" y="424"/>
                  </a:lnTo>
                  <a:lnTo>
                    <a:pt x="508" y="421"/>
                  </a:lnTo>
                  <a:lnTo>
                    <a:pt x="508" y="418"/>
                  </a:lnTo>
                  <a:lnTo>
                    <a:pt x="508" y="416"/>
                  </a:lnTo>
                  <a:lnTo>
                    <a:pt x="510" y="414"/>
                  </a:lnTo>
                  <a:lnTo>
                    <a:pt x="509" y="413"/>
                  </a:lnTo>
                  <a:lnTo>
                    <a:pt x="509" y="412"/>
                  </a:lnTo>
                  <a:lnTo>
                    <a:pt x="509" y="411"/>
                  </a:lnTo>
                  <a:lnTo>
                    <a:pt x="510" y="411"/>
                  </a:lnTo>
                  <a:lnTo>
                    <a:pt x="510" y="409"/>
                  </a:lnTo>
                  <a:lnTo>
                    <a:pt x="514" y="410"/>
                  </a:lnTo>
                  <a:lnTo>
                    <a:pt x="512" y="408"/>
                  </a:lnTo>
                  <a:lnTo>
                    <a:pt x="509" y="405"/>
                  </a:lnTo>
                  <a:lnTo>
                    <a:pt x="507" y="404"/>
                  </a:lnTo>
                  <a:lnTo>
                    <a:pt x="507" y="402"/>
                  </a:lnTo>
                  <a:lnTo>
                    <a:pt x="513" y="392"/>
                  </a:lnTo>
                  <a:lnTo>
                    <a:pt x="514" y="390"/>
                  </a:lnTo>
                  <a:lnTo>
                    <a:pt x="514" y="389"/>
                  </a:lnTo>
                  <a:lnTo>
                    <a:pt x="515" y="388"/>
                  </a:lnTo>
                  <a:lnTo>
                    <a:pt x="516" y="386"/>
                  </a:lnTo>
                  <a:lnTo>
                    <a:pt x="517" y="385"/>
                  </a:lnTo>
                  <a:lnTo>
                    <a:pt x="519" y="385"/>
                  </a:lnTo>
                  <a:lnTo>
                    <a:pt x="520" y="384"/>
                  </a:lnTo>
                  <a:lnTo>
                    <a:pt x="522" y="380"/>
                  </a:lnTo>
                  <a:lnTo>
                    <a:pt x="522" y="379"/>
                  </a:lnTo>
                  <a:lnTo>
                    <a:pt x="520" y="378"/>
                  </a:lnTo>
                  <a:lnTo>
                    <a:pt x="521" y="374"/>
                  </a:lnTo>
                  <a:lnTo>
                    <a:pt x="522" y="373"/>
                  </a:lnTo>
                  <a:lnTo>
                    <a:pt x="525" y="371"/>
                  </a:lnTo>
                  <a:lnTo>
                    <a:pt x="526" y="370"/>
                  </a:lnTo>
                  <a:lnTo>
                    <a:pt x="526" y="368"/>
                  </a:lnTo>
                  <a:lnTo>
                    <a:pt x="526" y="366"/>
                  </a:lnTo>
                  <a:lnTo>
                    <a:pt x="526" y="363"/>
                  </a:lnTo>
                  <a:lnTo>
                    <a:pt x="527" y="362"/>
                  </a:lnTo>
                  <a:lnTo>
                    <a:pt x="529" y="360"/>
                  </a:lnTo>
                  <a:lnTo>
                    <a:pt x="530" y="358"/>
                  </a:lnTo>
                  <a:lnTo>
                    <a:pt x="531" y="356"/>
                  </a:lnTo>
                  <a:lnTo>
                    <a:pt x="531" y="352"/>
                  </a:lnTo>
                  <a:lnTo>
                    <a:pt x="532" y="351"/>
                  </a:lnTo>
                  <a:lnTo>
                    <a:pt x="534" y="349"/>
                  </a:lnTo>
                  <a:lnTo>
                    <a:pt x="540" y="345"/>
                  </a:lnTo>
                  <a:lnTo>
                    <a:pt x="543" y="343"/>
                  </a:lnTo>
                  <a:lnTo>
                    <a:pt x="544" y="340"/>
                  </a:lnTo>
                  <a:lnTo>
                    <a:pt x="544" y="336"/>
                  </a:lnTo>
                  <a:lnTo>
                    <a:pt x="546" y="334"/>
                  </a:lnTo>
                  <a:lnTo>
                    <a:pt x="549" y="334"/>
                  </a:lnTo>
                  <a:lnTo>
                    <a:pt x="552" y="332"/>
                  </a:lnTo>
                  <a:lnTo>
                    <a:pt x="553" y="333"/>
                  </a:lnTo>
                  <a:lnTo>
                    <a:pt x="553" y="335"/>
                  </a:lnTo>
                  <a:lnTo>
                    <a:pt x="554" y="337"/>
                  </a:lnTo>
                  <a:lnTo>
                    <a:pt x="556" y="338"/>
                  </a:lnTo>
                  <a:lnTo>
                    <a:pt x="556" y="338"/>
                  </a:lnTo>
                  <a:lnTo>
                    <a:pt x="558" y="338"/>
                  </a:lnTo>
                  <a:lnTo>
                    <a:pt x="562" y="338"/>
                  </a:lnTo>
                  <a:lnTo>
                    <a:pt x="563" y="337"/>
                  </a:lnTo>
                  <a:lnTo>
                    <a:pt x="564" y="336"/>
                  </a:lnTo>
                  <a:lnTo>
                    <a:pt x="565" y="335"/>
                  </a:lnTo>
                  <a:lnTo>
                    <a:pt x="568" y="337"/>
                  </a:lnTo>
                  <a:lnTo>
                    <a:pt x="568" y="340"/>
                  </a:lnTo>
                  <a:lnTo>
                    <a:pt x="568" y="342"/>
                  </a:lnTo>
                  <a:lnTo>
                    <a:pt x="568" y="344"/>
                  </a:lnTo>
                  <a:lnTo>
                    <a:pt x="571" y="345"/>
                  </a:lnTo>
                  <a:lnTo>
                    <a:pt x="572" y="343"/>
                  </a:lnTo>
                  <a:lnTo>
                    <a:pt x="573" y="342"/>
                  </a:lnTo>
                  <a:lnTo>
                    <a:pt x="572" y="340"/>
                  </a:lnTo>
                  <a:lnTo>
                    <a:pt x="570" y="339"/>
                  </a:lnTo>
                  <a:lnTo>
                    <a:pt x="571" y="338"/>
                  </a:lnTo>
                  <a:lnTo>
                    <a:pt x="571" y="335"/>
                  </a:lnTo>
                  <a:lnTo>
                    <a:pt x="572" y="334"/>
                  </a:lnTo>
                  <a:lnTo>
                    <a:pt x="573" y="333"/>
                  </a:lnTo>
                  <a:lnTo>
                    <a:pt x="576" y="333"/>
                  </a:lnTo>
                  <a:lnTo>
                    <a:pt x="577" y="332"/>
                  </a:lnTo>
                  <a:lnTo>
                    <a:pt x="578" y="330"/>
                  </a:lnTo>
                  <a:lnTo>
                    <a:pt x="578" y="327"/>
                  </a:lnTo>
                  <a:lnTo>
                    <a:pt x="578" y="324"/>
                  </a:lnTo>
                  <a:lnTo>
                    <a:pt x="575" y="322"/>
                  </a:lnTo>
                  <a:lnTo>
                    <a:pt x="577" y="320"/>
                  </a:lnTo>
                  <a:lnTo>
                    <a:pt x="581" y="317"/>
                  </a:lnTo>
                  <a:lnTo>
                    <a:pt x="582" y="315"/>
                  </a:lnTo>
                  <a:lnTo>
                    <a:pt x="585" y="313"/>
                  </a:lnTo>
                  <a:lnTo>
                    <a:pt x="592" y="311"/>
                  </a:lnTo>
                  <a:lnTo>
                    <a:pt x="595" y="309"/>
                  </a:lnTo>
                  <a:lnTo>
                    <a:pt x="594" y="306"/>
                  </a:lnTo>
                  <a:lnTo>
                    <a:pt x="595" y="304"/>
                  </a:lnTo>
                  <a:lnTo>
                    <a:pt x="596" y="302"/>
                  </a:lnTo>
                  <a:lnTo>
                    <a:pt x="598" y="300"/>
                  </a:lnTo>
                  <a:lnTo>
                    <a:pt x="600" y="298"/>
                  </a:lnTo>
                  <a:lnTo>
                    <a:pt x="601" y="299"/>
                  </a:lnTo>
                  <a:lnTo>
                    <a:pt x="603" y="299"/>
                  </a:lnTo>
                  <a:lnTo>
                    <a:pt x="605" y="300"/>
                  </a:lnTo>
                  <a:lnTo>
                    <a:pt x="609" y="299"/>
                  </a:lnTo>
                  <a:lnTo>
                    <a:pt x="612" y="297"/>
                  </a:lnTo>
                  <a:lnTo>
                    <a:pt x="611" y="295"/>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19" name="Freeform 53">
              <a:extLst>
                <a:ext uri="{FF2B5EF4-FFF2-40B4-BE49-F238E27FC236}">
                  <a16:creationId xmlns:a16="http://schemas.microsoft.com/office/drawing/2014/main" id="{83260039-3246-4B00-92DC-1EB400A08EFF}"/>
                </a:ext>
              </a:extLst>
            </p:cNvPr>
            <p:cNvSpPr>
              <a:spLocks/>
            </p:cNvSpPr>
            <p:nvPr/>
          </p:nvSpPr>
          <p:spPr bwMode="gray">
            <a:xfrm>
              <a:off x="10340066" y="3587187"/>
              <a:ext cx="944857" cy="821452"/>
            </a:xfrm>
            <a:custGeom>
              <a:avLst/>
              <a:gdLst>
                <a:gd name="T0" fmla="*/ 1478 w 1516"/>
                <a:gd name="T1" fmla="*/ 722 h 1318"/>
                <a:gd name="T2" fmla="*/ 1448 w 1516"/>
                <a:gd name="T3" fmla="*/ 661 h 1318"/>
                <a:gd name="T4" fmla="*/ 1372 w 1516"/>
                <a:gd name="T5" fmla="*/ 582 h 1318"/>
                <a:gd name="T6" fmla="*/ 1289 w 1516"/>
                <a:gd name="T7" fmla="*/ 503 h 1318"/>
                <a:gd name="T8" fmla="*/ 1240 w 1516"/>
                <a:gd name="T9" fmla="*/ 405 h 1318"/>
                <a:gd name="T10" fmla="*/ 1230 w 1516"/>
                <a:gd name="T11" fmla="*/ 318 h 1318"/>
                <a:gd name="T12" fmla="*/ 1237 w 1516"/>
                <a:gd name="T13" fmla="*/ 281 h 1318"/>
                <a:gd name="T14" fmla="*/ 1225 w 1516"/>
                <a:gd name="T15" fmla="*/ 194 h 1318"/>
                <a:gd name="T16" fmla="*/ 1179 w 1516"/>
                <a:gd name="T17" fmla="*/ 139 h 1318"/>
                <a:gd name="T18" fmla="*/ 1106 w 1516"/>
                <a:gd name="T19" fmla="*/ 94 h 1318"/>
                <a:gd name="T20" fmla="*/ 981 w 1516"/>
                <a:gd name="T21" fmla="*/ 101 h 1318"/>
                <a:gd name="T22" fmla="*/ 956 w 1516"/>
                <a:gd name="T23" fmla="*/ 47 h 1318"/>
                <a:gd name="T24" fmla="*/ 868 w 1516"/>
                <a:gd name="T25" fmla="*/ 26 h 1318"/>
                <a:gd name="T26" fmla="*/ 757 w 1516"/>
                <a:gd name="T27" fmla="*/ 13 h 1318"/>
                <a:gd name="T28" fmla="*/ 664 w 1516"/>
                <a:gd name="T29" fmla="*/ 92 h 1318"/>
                <a:gd name="T30" fmla="*/ 544 w 1516"/>
                <a:gd name="T31" fmla="*/ 139 h 1318"/>
                <a:gd name="T32" fmla="*/ 533 w 1516"/>
                <a:gd name="T33" fmla="*/ 239 h 1318"/>
                <a:gd name="T34" fmla="*/ 522 w 1516"/>
                <a:gd name="T35" fmla="*/ 284 h 1318"/>
                <a:gd name="T36" fmla="*/ 444 w 1516"/>
                <a:gd name="T37" fmla="*/ 340 h 1318"/>
                <a:gd name="T38" fmla="*/ 408 w 1516"/>
                <a:gd name="T39" fmla="*/ 383 h 1318"/>
                <a:gd name="T40" fmla="*/ 389 w 1516"/>
                <a:gd name="T41" fmla="*/ 478 h 1318"/>
                <a:gd name="T42" fmla="*/ 410 w 1516"/>
                <a:gd name="T43" fmla="*/ 522 h 1318"/>
                <a:gd name="T44" fmla="*/ 391 w 1516"/>
                <a:gd name="T45" fmla="*/ 563 h 1318"/>
                <a:gd name="T46" fmla="*/ 354 w 1516"/>
                <a:gd name="T47" fmla="*/ 528 h 1318"/>
                <a:gd name="T48" fmla="*/ 262 w 1516"/>
                <a:gd name="T49" fmla="*/ 567 h 1318"/>
                <a:gd name="T50" fmla="*/ 239 w 1516"/>
                <a:gd name="T51" fmla="*/ 599 h 1318"/>
                <a:gd name="T52" fmla="*/ 127 w 1516"/>
                <a:gd name="T53" fmla="*/ 615 h 1318"/>
                <a:gd name="T54" fmla="*/ 54 w 1516"/>
                <a:gd name="T55" fmla="*/ 634 h 1318"/>
                <a:gd name="T56" fmla="*/ 114 w 1516"/>
                <a:gd name="T57" fmla="*/ 820 h 1318"/>
                <a:gd name="T58" fmla="*/ 117 w 1516"/>
                <a:gd name="T59" fmla="*/ 888 h 1318"/>
                <a:gd name="T60" fmla="*/ 5 w 1516"/>
                <a:gd name="T61" fmla="*/ 1057 h 1318"/>
                <a:gd name="T62" fmla="*/ 51 w 1516"/>
                <a:gd name="T63" fmla="*/ 1077 h 1318"/>
                <a:gd name="T64" fmla="*/ 76 w 1516"/>
                <a:gd name="T65" fmla="*/ 1130 h 1318"/>
                <a:gd name="T66" fmla="*/ 61 w 1516"/>
                <a:gd name="T67" fmla="*/ 1191 h 1318"/>
                <a:gd name="T68" fmla="*/ 65 w 1516"/>
                <a:gd name="T69" fmla="*/ 1237 h 1318"/>
                <a:gd name="T70" fmla="*/ 104 w 1516"/>
                <a:gd name="T71" fmla="*/ 1218 h 1318"/>
                <a:gd name="T72" fmla="*/ 313 w 1516"/>
                <a:gd name="T73" fmla="*/ 1137 h 1318"/>
                <a:gd name="T74" fmla="*/ 585 w 1516"/>
                <a:gd name="T75" fmla="*/ 1188 h 1318"/>
                <a:gd name="T76" fmla="*/ 661 w 1516"/>
                <a:gd name="T77" fmla="*/ 1227 h 1318"/>
                <a:gd name="T78" fmla="*/ 724 w 1516"/>
                <a:gd name="T79" fmla="*/ 1260 h 1318"/>
                <a:gd name="T80" fmla="*/ 790 w 1516"/>
                <a:gd name="T81" fmla="*/ 1222 h 1318"/>
                <a:gd name="T82" fmla="*/ 836 w 1516"/>
                <a:gd name="T83" fmla="*/ 1235 h 1318"/>
                <a:gd name="T84" fmla="*/ 886 w 1516"/>
                <a:gd name="T85" fmla="*/ 1260 h 1318"/>
                <a:gd name="T86" fmla="*/ 962 w 1516"/>
                <a:gd name="T87" fmla="*/ 1247 h 1318"/>
                <a:gd name="T88" fmla="*/ 1008 w 1516"/>
                <a:gd name="T89" fmla="*/ 1266 h 1318"/>
                <a:gd name="T90" fmla="*/ 1071 w 1516"/>
                <a:gd name="T91" fmla="*/ 1262 h 1318"/>
                <a:gd name="T92" fmla="*/ 1141 w 1516"/>
                <a:gd name="T93" fmla="*/ 1301 h 1318"/>
                <a:gd name="T94" fmla="*/ 1177 w 1516"/>
                <a:gd name="T95" fmla="*/ 1301 h 1318"/>
                <a:gd name="T96" fmla="*/ 1181 w 1516"/>
                <a:gd name="T97" fmla="*/ 1259 h 1318"/>
                <a:gd name="T98" fmla="*/ 1171 w 1516"/>
                <a:gd name="T99" fmla="*/ 1230 h 1318"/>
                <a:gd name="T100" fmla="*/ 1186 w 1516"/>
                <a:gd name="T101" fmla="*/ 1190 h 1318"/>
                <a:gd name="T102" fmla="*/ 1202 w 1516"/>
                <a:gd name="T103" fmla="*/ 1154 h 1318"/>
                <a:gd name="T104" fmla="*/ 1225 w 1516"/>
                <a:gd name="T105" fmla="*/ 1127 h 1318"/>
                <a:gd name="T106" fmla="*/ 1269 w 1516"/>
                <a:gd name="T107" fmla="*/ 1106 h 1318"/>
                <a:gd name="T108" fmla="*/ 1353 w 1516"/>
                <a:gd name="T109" fmla="*/ 1061 h 1318"/>
                <a:gd name="T110" fmla="*/ 1333 w 1516"/>
                <a:gd name="T111" fmla="*/ 996 h 1318"/>
                <a:gd name="T112" fmla="*/ 1334 w 1516"/>
                <a:gd name="T113" fmla="*/ 936 h 1318"/>
                <a:gd name="T114" fmla="*/ 1296 w 1516"/>
                <a:gd name="T115" fmla="*/ 843 h 1318"/>
                <a:gd name="T116" fmla="*/ 1363 w 1516"/>
                <a:gd name="T117" fmla="*/ 814 h 1318"/>
                <a:gd name="T118" fmla="*/ 1435 w 1516"/>
                <a:gd name="T119" fmla="*/ 837 h 1318"/>
                <a:gd name="T120" fmla="*/ 1474 w 1516"/>
                <a:gd name="T121" fmla="*/ 784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16" h="1318">
                  <a:moveTo>
                    <a:pt x="1516" y="747"/>
                  </a:moveTo>
                  <a:lnTo>
                    <a:pt x="1513" y="741"/>
                  </a:lnTo>
                  <a:lnTo>
                    <a:pt x="1511" y="741"/>
                  </a:lnTo>
                  <a:lnTo>
                    <a:pt x="1507" y="743"/>
                  </a:lnTo>
                  <a:lnTo>
                    <a:pt x="1505" y="742"/>
                  </a:lnTo>
                  <a:lnTo>
                    <a:pt x="1504" y="739"/>
                  </a:lnTo>
                  <a:lnTo>
                    <a:pt x="1505" y="737"/>
                  </a:lnTo>
                  <a:lnTo>
                    <a:pt x="1505" y="734"/>
                  </a:lnTo>
                  <a:lnTo>
                    <a:pt x="1503" y="733"/>
                  </a:lnTo>
                  <a:lnTo>
                    <a:pt x="1500" y="733"/>
                  </a:lnTo>
                  <a:lnTo>
                    <a:pt x="1497" y="733"/>
                  </a:lnTo>
                  <a:lnTo>
                    <a:pt x="1496" y="735"/>
                  </a:lnTo>
                  <a:lnTo>
                    <a:pt x="1495" y="735"/>
                  </a:lnTo>
                  <a:lnTo>
                    <a:pt x="1494" y="735"/>
                  </a:lnTo>
                  <a:lnTo>
                    <a:pt x="1493" y="733"/>
                  </a:lnTo>
                  <a:lnTo>
                    <a:pt x="1493" y="733"/>
                  </a:lnTo>
                  <a:lnTo>
                    <a:pt x="1490" y="728"/>
                  </a:lnTo>
                  <a:lnTo>
                    <a:pt x="1486" y="725"/>
                  </a:lnTo>
                  <a:lnTo>
                    <a:pt x="1478" y="722"/>
                  </a:lnTo>
                  <a:lnTo>
                    <a:pt x="1474" y="719"/>
                  </a:lnTo>
                  <a:lnTo>
                    <a:pt x="1470" y="715"/>
                  </a:lnTo>
                  <a:lnTo>
                    <a:pt x="1467" y="709"/>
                  </a:lnTo>
                  <a:lnTo>
                    <a:pt x="1466" y="702"/>
                  </a:lnTo>
                  <a:lnTo>
                    <a:pt x="1465" y="697"/>
                  </a:lnTo>
                  <a:lnTo>
                    <a:pt x="1465" y="695"/>
                  </a:lnTo>
                  <a:lnTo>
                    <a:pt x="1466" y="694"/>
                  </a:lnTo>
                  <a:lnTo>
                    <a:pt x="1478" y="688"/>
                  </a:lnTo>
                  <a:lnTo>
                    <a:pt x="1479" y="686"/>
                  </a:lnTo>
                  <a:lnTo>
                    <a:pt x="1480" y="684"/>
                  </a:lnTo>
                  <a:lnTo>
                    <a:pt x="1479" y="682"/>
                  </a:lnTo>
                  <a:lnTo>
                    <a:pt x="1478" y="680"/>
                  </a:lnTo>
                  <a:lnTo>
                    <a:pt x="1475" y="676"/>
                  </a:lnTo>
                  <a:lnTo>
                    <a:pt x="1472" y="674"/>
                  </a:lnTo>
                  <a:lnTo>
                    <a:pt x="1469" y="673"/>
                  </a:lnTo>
                  <a:lnTo>
                    <a:pt x="1461" y="674"/>
                  </a:lnTo>
                  <a:lnTo>
                    <a:pt x="1459" y="673"/>
                  </a:lnTo>
                  <a:lnTo>
                    <a:pt x="1454" y="666"/>
                  </a:lnTo>
                  <a:lnTo>
                    <a:pt x="1448" y="661"/>
                  </a:lnTo>
                  <a:lnTo>
                    <a:pt x="1428" y="656"/>
                  </a:lnTo>
                  <a:lnTo>
                    <a:pt x="1419" y="649"/>
                  </a:lnTo>
                  <a:lnTo>
                    <a:pt x="1415" y="649"/>
                  </a:lnTo>
                  <a:lnTo>
                    <a:pt x="1382" y="657"/>
                  </a:lnTo>
                  <a:lnTo>
                    <a:pt x="1368" y="653"/>
                  </a:lnTo>
                  <a:lnTo>
                    <a:pt x="1362" y="652"/>
                  </a:lnTo>
                  <a:lnTo>
                    <a:pt x="1363" y="646"/>
                  </a:lnTo>
                  <a:lnTo>
                    <a:pt x="1369" y="635"/>
                  </a:lnTo>
                  <a:lnTo>
                    <a:pt x="1372" y="629"/>
                  </a:lnTo>
                  <a:lnTo>
                    <a:pt x="1375" y="613"/>
                  </a:lnTo>
                  <a:lnTo>
                    <a:pt x="1376" y="607"/>
                  </a:lnTo>
                  <a:lnTo>
                    <a:pt x="1377" y="605"/>
                  </a:lnTo>
                  <a:lnTo>
                    <a:pt x="1377" y="603"/>
                  </a:lnTo>
                  <a:lnTo>
                    <a:pt x="1377" y="601"/>
                  </a:lnTo>
                  <a:lnTo>
                    <a:pt x="1378" y="599"/>
                  </a:lnTo>
                  <a:lnTo>
                    <a:pt x="1374" y="585"/>
                  </a:lnTo>
                  <a:lnTo>
                    <a:pt x="1374" y="584"/>
                  </a:lnTo>
                  <a:lnTo>
                    <a:pt x="1374" y="583"/>
                  </a:lnTo>
                  <a:lnTo>
                    <a:pt x="1372" y="582"/>
                  </a:lnTo>
                  <a:lnTo>
                    <a:pt x="1372" y="582"/>
                  </a:lnTo>
                  <a:lnTo>
                    <a:pt x="1368" y="585"/>
                  </a:lnTo>
                  <a:lnTo>
                    <a:pt x="1366" y="584"/>
                  </a:lnTo>
                  <a:lnTo>
                    <a:pt x="1364" y="581"/>
                  </a:lnTo>
                  <a:lnTo>
                    <a:pt x="1363" y="577"/>
                  </a:lnTo>
                  <a:lnTo>
                    <a:pt x="1362" y="574"/>
                  </a:lnTo>
                  <a:lnTo>
                    <a:pt x="1360" y="572"/>
                  </a:lnTo>
                  <a:lnTo>
                    <a:pt x="1358" y="571"/>
                  </a:lnTo>
                  <a:lnTo>
                    <a:pt x="1354" y="571"/>
                  </a:lnTo>
                  <a:lnTo>
                    <a:pt x="1349" y="570"/>
                  </a:lnTo>
                  <a:lnTo>
                    <a:pt x="1336" y="562"/>
                  </a:lnTo>
                  <a:lnTo>
                    <a:pt x="1328" y="560"/>
                  </a:lnTo>
                  <a:lnTo>
                    <a:pt x="1324" y="558"/>
                  </a:lnTo>
                  <a:lnTo>
                    <a:pt x="1320" y="555"/>
                  </a:lnTo>
                  <a:lnTo>
                    <a:pt x="1295" y="535"/>
                  </a:lnTo>
                  <a:lnTo>
                    <a:pt x="1293" y="531"/>
                  </a:lnTo>
                  <a:lnTo>
                    <a:pt x="1291" y="523"/>
                  </a:lnTo>
                  <a:lnTo>
                    <a:pt x="1290" y="507"/>
                  </a:lnTo>
                  <a:lnTo>
                    <a:pt x="1289" y="503"/>
                  </a:lnTo>
                  <a:lnTo>
                    <a:pt x="1287" y="501"/>
                  </a:lnTo>
                  <a:lnTo>
                    <a:pt x="1285" y="498"/>
                  </a:lnTo>
                  <a:lnTo>
                    <a:pt x="1283" y="495"/>
                  </a:lnTo>
                  <a:lnTo>
                    <a:pt x="1279" y="481"/>
                  </a:lnTo>
                  <a:lnTo>
                    <a:pt x="1277" y="476"/>
                  </a:lnTo>
                  <a:lnTo>
                    <a:pt x="1272" y="474"/>
                  </a:lnTo>
                  <a:lnTo>
                    <a:pt x="1272" y="474"/>
                  </a:lnTo>
                  <a:lnTo>
                    <a:pt x="1270" y="471"/>
                  </a:lnTo>
                  <a:lnTo>
                    <a:pt x="1258" y="467"/>
                  </a:lnTo>
                  <a:lnTo>
                    <a:pt x="1254" y="464"/>
                  </a:lnTo>
                  <a:lnTo>
                    <a:pt x="1258" y="452"/>
                  </a:lnTo>
                  <a:lnTo>
                    <a:pt x="1265" y="439"/>
                  </a:lnTo>
                  <a:lnTo>
                    <a:pt x="1270" y="429"/>
                  </a:lnTo>
                  <a:lnTo>
                    <a:pt x="1264" y="423"/>
                  </a:lnTo>
                  <a:lnTo>
                    <a:pt x="1260" y="416"/>
                  </a:lnTo>
                  <a:lnTo>
                    <a:pt x="1247" y="414"/>
                  </a:lnTo>
                  <a:lnTo>
                    <a:pt x="1243" y="415"/>
                  </a:lnTo>
                  <a:lnTo>
                    <a:pt x="1243" y="410"/>
                  </a:lnTo>
                  <a:lnTo>
                    <a:pt x="1240" y="405"/>
                  </a:lnTo>
                  <a:lnTo>
                    <a:pt x="1216" y="388"/>
                  </a:lnTo>
                  <a:lnTo>
                    <a:pt x="1209" y="385"/>
                  </a:lnTo>
                  <a:lnTo>
                    <a:pt x="1207" y="383"/>
                  </a:lnTo>
                  <a:lnTo>
                    <a:pt x="1206" y="379"/>
                  </a:lnTo>
                  <a:lnTo>
                    <a:pt x="1206" y="371"/>
                  </a:lnTo>
                  <a:lnTo>
                    <a:pt x="1210" y="366"/>
                  </a:lnTo>
                  <a:lnTo>
                    <a:pt x="1213" y="363"/>
                  </a:lnTo>
                  <a:lnTo>
                    <a:pt x="1216" y="358"/>
                  </a:lnTo>
                  <a:lnTo>
                    <a:pt x="1216" y="351"/>
                  </a:lnTo>
                  <a:lnTo>
                    <a:pt x="1214" y="347"/>
                  </a:lnTo>
                  <a:lnTo>
                    <a:pt x="1214" y="344"/>
                  </a:lnTo>
                  <a:lnTo>
                    <a:pt x="1218" y="341"/>
                  </a:lnTo>
                  <a:lnTo>
                    <a:pt x="1227" y="339"/>
                  </a:lnTo>
                  <a:lnTo>
                    <a:pt x="1230" y="337"/>
                  </a:lnTo>
                  <a:lnTo>
                    <a:pt x="1233" y="332"/>
                  </a:lnTo>
                  <a:lnTo>
                    <a:pt x="1232" y="329"/>
                  </a:lnTo>
                  <a:lnTo>
                    <a:pt x="1230" y="326"/>
                  </a:lnTo>
                  <a:lnTo>
                    <a:pt x="1229" y="321"/>
                  </a:lnTo>
                  <a:lnTo>
                    <a:pt x="1230" y="318"/>
                  </a:lnTo>
                  <a:lnTo>
                    <a:pt x="1233" y="317"/>
                  </a:lnTo>
                  <a:lnTo>
                    <a:pt x="1240" y="319"/>
                  </a:lnTo>
                  <a:lnTo>
                    <a:pt x="1244" y="318"/>
                  </a:lnTo>
                  <a:lnTo>
                    <a:pt x="1244" y="313"/>
                  </a:lnTo>
                  <a:lnTo>
                    <a:pt x="1242" y="306"/>
                  </a:lnTo>
                  <a:lnTo>
                    <a:pt x="1240" y="301"/>
                  </a:lnTo>
                  <a:lnTo>
                    <a:pt x="1239" y="298"/>
                  </a:lnTo>
                  <a:lnTo>
                    <a:pt x="1239" y="297"/>
                  </a:lnTo>
                  <a:lnTo>
                    <a:pt x="1239" y="294"/>
                  </a:lnTo>
                  <a:lnTo>
                    <a:pt x="1240" y="292"/>
                  </a:lnTo>
                  <a:lnTo>
                    <a:pt x="1241" y="290"/>
                  </a:lnTo>
                  <a:lnTo>
                    <a:pt x="1241" y="288"/>
                  </a:lnTo>
                  <a:lnTo>
                    <a:pt x="1240" y="287"/>
                  </a:lnTo>
                  <a:lnTo>
                    <a:pt x="1239" y="286"/>
                  </a:lnTo>
                  <a:lnTo>
                    <a:pt x="1239" y="286"/>
                  </a:lnTo>
                  <a:lnTo>
                    <a:pt x="1237" y="285"/>
                  </a:lnTo>
                  <a:lnTo>
                    <a:pt x="1237" y="285"/>
                  </a:lnTo>
                  <a:lnTo>
                    <a:pt x="1236" y="283"/>
                  </a:lnTo>
                  <a:lnTo>
                    <a:pt x="1237" y="281"/>
                  </a:lnTo>
                  <a:lnTo>
                    <a:pt x="1237" y="279"/>
                  </a:lnTo>
                  <a:lnTo>
                    <a:pt x="1235" y="277"/>
                  </a:lnTo>
                  <a:lnTo>
                    <a:pt x="1228" y="271"/>
                  </a:lnTo>
                  <a:lnTo>
                    <a:pt x="1225" y="268"/>
                  </a:lnTo>
                  <a:lnTo>
                    <a:pt x="1223" y="258"/>
                  </a:lnTo>
                  <a:lnTo>
                    <a:pt x="1220" y="254"/>
                  </a:lnTo>
                  <a:lnTo>
                    <a:pt x="1215" y="251"/>
                  </a:lnTo>
                  <a:lnTo>
                    <a:pt x="1212" y="249"/>
                  </a:lnTo>
                  <a:lnTo>
                    <a:pt x="1211" y="245"/>
                  </a:lnTo>
                  <a:lnTo>
                    <a:pt x="1211" y="240"/>
                  </a:lnTo>
                  <a:lnTo>
                    <a:pt x="1213" y="235"/>
                  </a:lnTo>
                  <a:lnTo>
                    <a:pt x="1219" y="227"/>
                  </a:lnTo>
                  <a:lnTo>
                    <a:pt x="1228" y="220"/>
                  </a:lnTo>
                  <a:lnTo>
                    <a:pt x="1230" y="217"/>
                  </a:lnTo>
                  <a:lnTo>
                    <a:pt x="1230" y="211"/>
                  </a:lnTo>
                  <a:lnTo>
                    <a:pt x="1228" y="208"/>
                  </a:lnTo>
                  <a:lnTo>
                    <a:pt x="1226" y="204"/>
                  </a:lnTo>
                  <a:lnTo>
                    <a:pt x="1225" y="199"/>
                  </a:lnTo>
                  <a:lnTo>
                    <a:pt x="1225" y="194"/>
                  </a:lnTo>
                  <a:lnTo>
                    <a:pt x="1230" y="191"/>
                  </a:lnTo>
                  <a:lnTo>
                    <a:pt x="1230" y="188"/>
                  </a:lnTo>
                  <a:lnTo>
                    <a:pt x="1230" y="187"/>
                  </a:lnTo>
                  <a:lnTo>
                    <a:pt x="1227" y="186"/>
                  </a:lnTo>
                  <a:lnTo>
                    <a:pt x="1230" y="176"/>
                  </a:lnTo>
                  <a:lnTo>
                    <a:pt x="1230" y="165"/>
                  </a:lnTo>
                  <a:lnTo>
                    <a:pt x="1229" y="164"/>
                  </a:lnTo>
                  <a:lnTo>
                    <a:pt x="1225" y="157"/>
                  </a:lnTo>
                  <a:lnTo>
                    <a:pt x="1219" y="155"/>
                  </a:lnTo>
                  <a:lnTo>
                    <a:pt x="1212" y="157"/>
                  </a:lnTo>
                  <a:lnTo>
                    <a:pt x="1207" y="160"/>
                  </a:lnTo>
                  <a:lnTo>
                    <a:pt x="1202" y="159"/>
                  </a:lnTo>
                  <a:lnTo>
                    <a:pt x="1198" y="150"/>
                  </a:lnTo>
                  <a:lnTo>
                    <a:pt x="1196" y="146"/>
                  </a:lnTo>
                  <a:lnTo>
                    <a:pt x="1195" y="143"/>
                  </a:lnTo>
                  <a:lnTo>
                    <a:pt x="1192" y="142"/>
                  </a:lnTo>
                  <a:lnTo>
                    <a:pt x="1186" y="142"/>
                  </a:lnTo>
                  <a:lnTo>
                    <a:pt x="1182" y="141"/>
                  </a:lnTo>
                  <a:lnTo>
                    <a:pt x="1179" y="139"/>
                  </a:lnTo>
                  <a:lnTo>
                    <a:pt x="1177" y="135"/>
                  </a:lnTo>
                  <a:lnTo>
                    <a:pt x="1177" y="133"/>
                  </a:lnTo>
                  <a:lnTo>
                    <a:pt x="1178" y="131"/>
                  </a:lnTo>
                  <a:lnTo>
                    <a:pt x="1178" y="128"/>
                  </a:lnTo>
                  <a:lnTo>
                    <a:pt x="1178" y="124"/>
                  </a:lnTo>
                  <a:lnTo>
                    <a:pt x="1177" y="122"/>
                  </a:lnTo>
                  <a:lnTo>
                    <a:pt x="1175" y="121"/>
                  </a:lnTo>
                  <a:lnTo>
                    <a:pt x="1161" y="114"/>
                  </a:lnTo>
                  <a:lnTo>
                    <a:pt x="1159" y="112"/>
                  </a:lnTo>
                  <a:lnTo>
                    <a:pt x="1160" y="110"/>
                  </a:lnTo>
                  <a:lnTo>
                    <a:pt x="1161" y="107"/>
                  </a:lnTo>
                  <a:lnTo>
                    <a:pt x="1160" y="105"/>
                  </a:lnTo>
                  <a:lnTo>
                    <a:pt x="1159" y="103"/>
                  </a:lnTo>
                  <a:lnTo>
                    <a:pt x="1127" y="93"/>
                  </a:lnTo>
                  <a:lnTo>
                    <a:pt x="1124" y="91"/>
                  </a:lnTo>
                  <a:lnTo>
                    <a:pt x="1119" y="86"/>
                  </a:lnTo>
                  <a:lnTo>
                    <a:pt x="1116" y="85"/>
                  </a:lnTo>
                  <a:lnTo>
                    <a:pt x="1113" y="87"/>
                  </a:lnTo>
                  <a:lnTo>
                    <a:pt x="1106" y="94"/>
                  </a:lnTo>
                  <a:lnTo>
                    <a:pt x="1102" y="95"/>
                  </a:lnTo>
                  <a:lnTo>
                    <a:pt x="1083" y="88"/>
                  </a:lnTo>
                  <a:lnTo>
                    <a:pt x="1076" y="88"/>
                  </a:lnTo>
                  <a:lnTo>
                    <a:pt x="1070" y="89"/>
                  </a:lnTo>
                  <a:lnTo>
                    <a:pt x="1064" y="93"/>
                  </a:lnTo>
                  <a:lnTo>
                    <a:pt x="1060" y="98"/>
                  </a:lnTo>
                  <a:lnTo>
                    <a:pt x="1054" y="109"/>
                  </a:lnTo>
                  <a:lnTo>
                    <a:pt x="1050" y="111"/>
                  </a:lnTo>
                  <a:lnTo>
                    <a:pt x="1039" y="109"/>
                  </a:lnTo>
                  <a:lnTo>
                    <a:pt x="1035" y="110"/>
                  </a:lnTo>
                  <a:lnTo>
                    <a:pt x="1019" y="119"/>
                  </a:lnTo>
                  <a:lnTo>
                    <a:pt x="1006" y="134"/>
                  </a:lnTo>
                  <a:lnTo>
                    <a:pt x="1002" y="135"/>
                  </a:lnTo>
                  <a:lnTo>
                    <a:pt x="999" y="133"/>
                  </a:lnTo>
                  <a:lnTo>
                    <a:pt x="991" y="122"/>
                  </a:lnTo>
                  <a:lnTo>
                    <a:pt x="984" y="115"/>
                  </a:lnTo>
                  <a:lnTo>
                    <a:pt x="981" y="111"/>
                  </a:lnTo>
                  <a:lnTo>
                    <a:pt x="981" y="105"/>
                  </a:lnTo>
                  <a:lnTo>
                    <a:pt x="981" y="101"/>
                  </a:lnTo>
                  <a:lnTo>
                    <a:pt x="985" y="91"/>
                  </a:lnTo>
                  <a:lnTo>
                    <a:pt x="986" y="88"/>
                  </a:lnTo>
                  <a:lnTo>
                    <a:pt x="986" y="81"/>
                  </a:lnTo>
                  <a:lnTo>
                    <a:pt x="987" y="79"/>
                  </a:lnTo>
                  <a:lnTo>
                    <a:pt x="988" y="77"/>
                  </a:lnTo>
                  <a:lnTo>
                    <a:pt x="989" y="75"/>
                  </a:lnTo>
                  <a:lnTo>
                    <a:pt x="991" y="75"/>
                  </a:lnTo>
                  <a:lnTo>
                    <a:pt x="992" y="74"/>
                  </a:lnTo>
                  <a:lnTo>
                    <a:pt x="993" y="73"/>
                  </a:lnTo>
                  <a:lnTo>
                    <a:pt x="995" y="73"/>
                  </a:lnTo>
                  <a:lnTo>
                    <a:pt x="996" y="73"/>
                  </a:lnTo>
                  <a:lnTo>
                    <a:pt x="996" y="71"/>
                  </a:lnTo>
                  <a:lnTo>
                    <a:pt x="996" y="69"/>
                  </a:lnTo>
                  <a:lnTo>
                    <a:pt x="994" y="66"/>
                  </a:lnTo>
                  <a:lnTo>
                    <a:pt x="991" y="62"/>
                  </a:lnTo>
                  <a:lnTo>
                    <a:pt x="989" y="60"/>
                  </a:lnTo>
                  <a:lnTo>
                    <a:pt x="986" y="58"/>
                  </a:lnTo>
                  <a:lnTo>
                    <a:pt x="961" y="51"/>
                  </a:lnTo>
                  <a:lnTo>
                    <a:pt x="956" y="47"/>
                  </a:lnTo>
                  <a:lnTo>
                    <a:pt x="949" y="41"/>
                  </a:lnTo>
                  <a:lnTo>
                    <a:pt x="940" y="38"/>
                  </a:lnTo>
                  <a:lnTo>
                    <a:pt x="931" y="38"/>
                  </a:lnTo>
                  <a:lnTo>
                    <a:pt x="923" y="41"/>
                  </a:lnTo>
                  <a:lnTo>
                    <a:pt x="913" y="47"/>
                  </a:lnTo>
                  <a:lnTo>
                    <a:pt x="913" y="47"/>
                  </a:lnTo>
                  <a:lnTo>
                    <a:pt x="913" y="47"/>
                  </a:lnTo>
                  <a:lnTo>
                    <a:pt x="913" y="47"/>
                  </a:lnTo>
                  <a:lnTo>
                    <a:pt x="903" y="52"/>
                  </a:lnTo>
                  <a:lnTo>
                    <a:pt x="899" y="56"/>
                  </a:lnTo>
                  <a:lnTo>
                    <a:pt x="899" y="62"/>
                  </a:lnTo>
                  <a:lnTo>
                    <a:pt x="896" y="63"/>
                  </a:lnTo>
                  <a:lnTo>
                    <a:pt x="883" y="60"/>
                  </a:lnTo>
                  <a:lnTo>
                    <a:pt x="879" y="56"/>
                  </a:lnTo>
                  <a:lnTo>
                    <a:pt x="878" y="50"/>
                  </a:lnTo>
                  <a:lnTo>
                    <a:pt x="877" y="44"/>
                  </a:lnTo>
                  <a:lnTo>
                    <a:pt x="875" y="37"/>
                  </a:lnTo>
                  <a:lnTo>
                    <a:pt x="874" y="34"/>
                  </a:lnTo>
                  <a:lnTo>
                    <a:pt x="868" y="26"/>
                  </a:lnTo>
                  <a:lnTo>
                    <a:pt x="866" y="21"/>
                  </a:lnTo>
                  <a:lnTo>
                    <a:pt x="864" y="20"/>
                  </a:lnTo>
                  <a:lnTo>
                    <a:pt x="862" y="18"/>
                  </a:lnTo>
                  <a:lnTo>
                    <a:pt x="853" y="17"/>
                  </a:lnTo>
                  <a:lnTo>
                    <a:pt x="829" y="20"/>
                  </a:lnTo>
                  <a:lnTo>
                    <a:pt x="825" y="22"/>
                  </a:lnTo>
                  <a:lnTo>
                    <a:pt x="820" y="31"/>
                  </a:lnTo>
                  <a:lnTo>
                    <a:pt x="816" y="33"/>
                  </a:lnTo>
                  <a:lnTo>
                    <a:pt x="813" y="32"/>
                  </a:lnTo>
                  <a:lnTo>
                    <a:pt x="810" y="28"/>
                  </a:lnTo>
                  <a:lnTo>
                    <a:pt x="805" y="21"/>
                  </a:lnTo>
                  <a:lnTo>
                    <a:pt x="794" y="9"/>
                  </a:lnTo>
                  <a:lnTo>
                    <a:pt x="791" y="4"/>
                  </a:lnTo>
                  <a:lnTo>
                    <a:pt x="785" y="0"/>
                  </a:lnTo>
                  <a:lnTo>
                    <a:pt x="778" y="3"/>
                  </a:lnTo>
                  <a:lnTo>
                    <a:pt x="775" y="5"/>
                  </a:lnTo>
                  <a:lnTo>
                    <a:pt x="771" y="8"/>
                  </a:lnTo>
                  <a:lnTo>
                    <a:pt x="764" y="11"/>
                  </a:lnTo>
                  <a:lnTo>
                    <a:pt x="757" y="13"/>
                  </a:lnTo>
                  <a:lnTo>
                    <a:pt x="756" y="14"/>
                  </a:lnTo>
                  <a:lnTo>
                    <a:pt x="753" y="16"/>
                  </a:lnTo>
                  <a:lnTo>
                    <a:pt x="751" y="19"/>
                  </a:lnTo>
                  <a:lnTo>
                    <a:pt x="750" y="23"/>
                  </a:lnTo>
                  <a:lnTo>
                    <a:pt x="748" y="27"/>
                  </a:lnTo>
                  <a:lnTo>
                    <a:pt x="737" y="35"/>
                  </a:lnTo>
                  <a:lnTo>
                    <a:pt x="732" y="40"/>
                  </a:lnTo>
                  <a:lnTo>
                    <a:pt x="732" y="47"/>
                  </a:lnTo>
                  <a:lnTo>
                    <a:pt x="727" y="56"/>
                  </a:lnTo>
                  <a:lnTo>
                    <a:pt x="711" y="67"/>
                  </a:lnTo>
                  <a:lnTo>
                    <a:pt x="706" y="79"/>
                  </a:lnTo>
                  <a:lnTo>
                    <a:pt x="705" y="92"/>
                  </a:lnTo>
                  <a:lnTo>
                    <a:pt x="704" y="99"/>
                  </a:lnTo>
                  <a:lnTo>
                    <a:pt x="702" y="103"/>
                  </a:lnTo>
                  <a:lnTo>
                    <a:pt x="698" y="103"/>
                  </a:lnTo>
                  <a:lnTo>
                    <a:pt x="678" y="102"/>
                  </a:lnTo>
                  <a:lnTo>
                    <a:pt x="673" y="100"/>
                  </a:lnTo>
                  <a:lnTo>
                    <a:pt x="668" y="97"/>
                  </a:lnTo>
                  <a:lnTo>
                    <a:pt x="664" y="92"/>
                  </a:lnTo>
                  <a:lnTo>
                    <a:pt x="661" y="96"/>
                  </a:lnTo>
                  <a:lnTo>
                    <a:pt x="653" y="104"/>
                  </a:lnTo>
                  <a:lnTo>
                    <a:pt x="650" y="105"/>
                  </a:lnTo>
                  <a:lnTo>
                    <a:pt x="646" y="102"/>
                  </a:lnTo>
                  <a:lnTo>
                    <a:pt x="636" y="94"/>
                  </a:lnTo>
                  <a:lnTo>
                    <a:pt x="633" y="92"/>
                  </a:lnTo>
                  <a:lnTo>
                    <a:pt x="626" y="91"/>
                  </a:lnTo>
                  <a:lnTo>
                    <a:pt x="605" y="94"/>
                  </a:lnTo>
                  <a:lnTo>
                    <a:pt x="605" y="94"/>
                  </a:lnTo>
                  <a:lnTo>
                    <a:pt x="602" y="96"/>
                  </a:lnTo>
                  <a:lnTo>
                    <a:pt x="593" y="107"/>
                  </a:lnTo>
                  <a:lnTo>
                    <a:pt x="584" y="124"/>
                  </a:lnTo>
                  <a:lnTo>
                    <a:pt x="580" y="128"/>
                  </a:lnTo>
                  <a:lnTo>
                    <a:pt x="568" y="134"/>
                  </a:lnTo>
                  <a:lnTo>
                    <a:pt x="564" y="135"/>
                  </a:lnTo>
                  <a:lnTo>
                    <a:pt x="556" y="131"/>
                  </a:lnTo>
                  <a:lnTo>
                    <a:pt x="551" y="131"/>
                  </a:lnTo>
                  <a:lnTo>
                    <a:pt x="547" y="133"/>
                  </a:lnTo>
                  <a:lnTo>
                    <a:pt x="544" y="139"/>
                  </a:lnTo>
                  <a:lnTo>
                    <a:pt x="546" y="145"/>
                  </a:lnTo>
                  <a:lnTo>
                    <a:pt x="546" y="153"/>
                  </a:lnTo>
                  <a:lnTo>
                    <a:pt x="546" y="160"/>
                  </a:lnTo>
                  <a:lnTo>
                    <a:pt x="544" y="166"/>
                  </a:lnTo>
                  <a:lnTo>
                    <a:pt x="541" y="171"/>
                  </a:lnTo>
                  <a:lnTo>
                    <a:pt x="537" y="176"/>
                  </a:lnTo>
                  <a:lnTo>
                    <a:pt x="534" y="181"/>
                  </a:lnTo>
                  <a:lnTo>
                    <a:pt x="533" y="188"/>
                  </a:lnTo>
                  <a:lnTo>
                    <a:pt x="536" y="194"/>
                  </a:lnTo>
                  <a:lnTo>
                    <a:pt x="536" y="197"/>
                  </a:lnTo>
                  <a:lnTo>
                    <a:pt x="530" y="203"/>
                  </a:lnTo>
                  <a:lnTo>
                    <a:pt x="529" y="206"/>
                  </a:lnTo>
                  <a:lnTo>
                    <a:pt x="527" y="216"/>
                  </a:lnTo>
                  <a:lnTo>
                    <a:pt x="526" y="219"/>
                  </a:lnTo>
                  <a:lnTo>
                    <a:pt x="522" y="226"/>
                  </a:lnTo>
                  <a:lnTo>
                    <a:pt x="520" y="231"/>
                  </a:lnTo>
                  <a:lnTo>
                    <a:pt x="521" y="234"/>
                  </a:lnTo>
                  <a:lnTo>
                    <a:pt x="524" y="235"/>
                  </a:lnTo>
                  <a:lnTo>
                    <a:pt x="533" y="239"/>
                  </a:lnTo>
                  <a:lnTo>
                    <a:pt x="536" y="239"/>
                  </a:lnTo>
                  <a:lnTo>
                    <a:pt x="545" y="237"/>
                  </a:lnTo>
                  <a:lnTo>
                    <a:pt x="572" y="241"/>
                  </a:lnTo>
                  <a:lnTo>
                    <a:pt x="575" y="244"/>
                  </a:lnTo>
                  <a:lnTo>
                    <a:pt x="577" y="249"/>
                  </a:lnTo>
                  <a:lnTo>
                    <a:pt x="575" y="253"/>
                  </a:lnTo>
                  <a:lnTo>
                    <a:pt x="571" y="256"/>
                  </a:lnTo>
                  <a:lnTo>
                    <a:pt x="567" y="257"/>
                  </a:lnTo>
                  <a:lnTo>
                    <a:pt x="561" y="259"/>
                  </a:lnTo>
                  <a:lnTo>
                    <a:pt x="559" y="260"/>
                  </a:lnTo>
                  <a:lnTo>
                    <a:pt x="554" y="265"/>
                  </a:lnTo>
                  <a:lnTo>
                    <a:pt x="551" y="268"/>
                  </a:lnTo>
                  <a:lnTo>
                    <a:pt x="550" y="271"/>
                  </a:lnTo>
                  <a:lnTo>
                    <a:pt x="549" y="279"/>
                  </a:lnTo>
                  <a:lnTo>
                    <a:pt x="547" y="287"/>
                  </a:lnTo>
                  <a:lnTo>
                    <a:pt x="545" y="291"/>
                  </a:lnTo>
                  <a:lnTo>
                    <a:pt x="541" y="292"/>
                  </a:lnTo>
                  <a:lnTo>
                    <a:pt x="525" y="284"/>
                  </a:lnTo>
                  <a:lnTo>
                    <a:pt x="522" y="284"/>
                  </a:lnTo>
                  <a:lnTo>
                    <a:pt x="521" y="286"/>
                  </a:lnTo>
                  <a:lnTo>
                    <a:pt x="520" y="287"/>
                  </a:lnTo>
                  <a:lnTo>
                    <a:pt x="519" y="288"/>
                  </a:lnTo>
                  <a:lnTo>
                    <a:pt x="518" y="289"/>
                  </a:lnTo>
                  <a:lnTo>
                    <a:pt x="517" y="289"/>
                  </a:lnTo>
                  <a:lnTo>
                    <a:pt x="499" y="284"/>
                  </a:lnTo>
                  <a:lnTo>
                    <a:pt x="492" y="286"/>
                  </a:lnTo>
                  <a:lnTo>
                    <a:pt x="487" y="294"/>
                  </a:lnTo>
                  <a:lnTo>
                    <a:pt x="486" y="297"/>
                  </a:lnTo>
                  <a:lnTo>
                    <a:pt x="486" y="304"/>
                  </a:lnTo>
                  <a:lnTo>
                    <a:pt x="486" y="307"/>
                  </a:lnTo>
                  <a:lnTo>
                    <a:pt x="485" y="309"/>
                  </a:lnTo>
                  <a:lnTo>
                    <a:pt x="479" y="322"/>
                  </a:lnTo>
                  <a:lnTo>
                    <a:pt x="477" y="326"/>
                  </a:lnTo>
                  <a:lnTo>
                    <a:pt x="474" y="331"/>
                  </a:lnTo>
                  <a:lnTo>
                    <a:pt x="472" y="333"/>
                  </a:lnTo>
                  <a:lnTo>
                    <a:pt x="466" y="336"/>
                  </a:lnTo>
                  <a:lnTo>
                    <a:pt x="447" y="340"/>
                  </a:lnTo>
                  <a:lnTo>
                    <a:pt x="444" y="340"/>
                  </a:lnTo>
                  <a:lnTo>
                    <a:pt x="438" y="339"/>
                  </a:lnTo>
                  <a:lnTo>
                    <a:pt x="435" y="339"/>
                  </a:lnTo>
                  <a:lnTo>
                    <a:pt x="429" y="341"/>
                  </a:lnTo>
                  <a:lnTo>
                    <a:pt x="427" y="343"/>
                  </a:lnTo>
                  <a:lnTo>
                    <a:pt x="427" y="345"/>
                  </a:lnTo>
                  <a:lnTo>
                    <a:pt x="426" y="347"/>
                  </a:lnTo>
                  <a:lnTo>
                    <a:pt x="425" y="350"/>
                  </a:lnTo>
                  <a:lnTo>
                    <a:pt x="422" y="354"/>
                  </a:lnTo>
                  <a:lnTo>
                    <a:pt x="418" y="357"/>
                  </a:lnTo>
                  <a:lnTo>
                    <a:pt x="415" y="360"/>
                  </a:lnTo>
                  <a:lnTo>
                    <a:pt x="414" y="365"/>
                  </a:lnTo>
                  <a:lnTo>
                    <a:pt x="414" y="368"/>
                  </a:lnTo>
                  <a:lnTo>
                    <a:pt x="415" y="374"/>
                  </a:lnTo>
                  <a:lnTo>
                    <a:pt x="415" y="376"/>
                  </a:lnTo>
                  <a:lnTo>
                    <a:pt x="414" y="378"/>
                  </a:lnTo>
                  <a:lnTo>
                    <a:pt x="414" y="379"/>
                  </a:lnTo>
                  <a:lnTo>
                    <a:pt x="413" y="379"/>
                  </a:lnTo>
                  <a:lnTo>
                    <a:pt x="411" y="380"/>
                  </a:lnTo>
                  <a:lnTo>
                    <a:pt x="408" y="383"/>
                  </a:lnTo>
                  <a:lnTo>
                    <a:pt x="406" y="385"/>
                  </a:lnTo>
                  <a:lnTo>
                    <a:pt x="405" y="389"/>
                  </a:lnTo>
                  <a:lnTo>
                    <a:pt x="406" y="403"/>
                  </a:lnTo>
                  <a:lnTo>
                    <a:pt x="406" y="405"/>
                  </a:lnTo>
                  <a:lnTo>
                    <a:pt x="405" y="409"/>
                  </a:lnTo>
                  <a:lnTo>
                    <a:pt x="404" y="411"/>
                  </a:lnTo>
                  <a:lnTo>
                    <a:pt x="404" y="414"/>
                  </a:lnTo>
                  <a:lnTo>
                    <a:pt x="403" y="417"/>
                  </a:lnTo>
                  <a:lnTo>
                    <a:pt x="404" y="423"/>
                  </a:lnTo>
                  <a:lnTo>
                    <a:pt x="409" y="432"/>
                  </a:lnTo>
                  <a:lnTo>
                    <a:pt x="409" y="438"/>
                  </a:lnTo>
                  <a:lnTo>
                    <a:pt x="409" y="443"/>
                  </a:lnTo>
                  <a:lnTo>
                    <a:pt x="406" y="447"/>
                  </a:lnTo>
                  <a:lnTo>
                    <a:pt x="403" y="450"/>
                  </a:lnTo>
                  <a:lnTo>
                    <a:pt x="394" y="456"/>
                  </a:lnTo>
                  <a:lnTo>
                    <a:pt x="391" y="459"/>
                  </a:lnTo>
                  <a:lnTo>
                    <a:pt x="389" y="465"/>
                  </a:lnTo>
                  <a:lnTo>
                    <a:pt x="389" y="472"/>
                  </a:lnTo>
                  <a:lnTo>
                    <a:pt x="389" y="478"/>
                  </a:lnTo>
                  <a:lnTo>
                    <a:pt x="388" y="483"/>
                  </a:lnTo>
                  <a:lnTo>
                    <a:pt x="385" y="489"/>
                  </a:lnTo>
                  <a:lnTo>
                    <a:pt x="378" y="498"/>
                  </a:lnTo>
                  <a:lnTo>
                    <a:pt x="375" y="503"/>
                  </a:lnTo>
                  <a:lnTo>
                    <a:pt x="375" y="510"/>
                  </a:lnTo>
                  <a:lnTo>
                    <a:pt x="377" y="514"/>
                  </a:lnTo>
                  <a:lnTo>
                    <a:pt x="380" y="515"/>
                  </a:lnTo>
                  <a:lnTo>
                    <a:pt x="387" y="515"/>
                  </a:lnTo>
                  <a:lnTo>
                    <a:pt x="397" y="510"/>
                  </a:lnTo>
                  <a:lnTo>
                    <a:pt x="399" y="509"/>
                  </a:lnTo>
                  <a:lnTo>
                    <a:pt x="401" y="510"/>
                  </a:lnTo>
                  <a:lnTo>
                    <a:pt x="402" y="513"/>
                  </a:lnTo>
                  <a:lnTo>
                    <a:pt x="403" y="515"/>
                  </a:lnTo>
                  <a:lnTo>
                    <a:pt x="404" y="520"/>
                  </a:lnTo>
                  <a:lnTo>
                    <a:pt x="405" y="521"/>
                  </a:lnTo>
                  <a:lnTo>
                    <a:pt x="406" y="521"/>
                  </a:lnTo>
                  <a:lnTo>
                    <a:pt x="408" y="521"/>
                  </a:lnTo>
                  <a:lnTo>
                    <a:pt x="408" y="521"/>
                  </a:lnTo>
                  <a:lnTo>
                    <a:pt x="410" y="522"/>
                  </a:lnTo>
                  <a:lnTo>
                    <a:pt x="411" y="525"/>
                  </a:lnTo>
                  <a:lnTo>
                    <a:pt x="413" y="527"/>
                  </a:lnTo>
                  <a:lnTo>
                    <a:pt x="414" y="530"/>
                  </a:lnTo>
                  <a:lnTo>
                    <a:pt x="414" y="531"/>
                  </a:lnTo>
                  <a:lnTo>
                    <a:pt x="415" y="531"/>
                  </a:lnTo>
                  <a:lnTo>
                    <a:pt x="416" y="532"/>
                  </a:lnTo>
                  <a:lnTo>
                    <a:pt x="416" y="533"/>
                  </a:lnTo>
                  <a:lnTo>
                    <a:pt x="416" y="535"/>
                  </a:lnTo>
                  <a:lnTo>
                    <a:pt x="414" y="537"/>
                  </a:lnTo>
                  <a:lnTo>
                    <a:pt x="414" y="538"/>
                  </a:lnTo>
                  <a:lnTo>
                    <a:pt x="413" y="551"/>
                  </a:lnTo>
                  <a:lnTo>
                    <a:pt x="412" y="555"/>
                  </a:lnTo>
                  <a:lnTo>
                    <a:pt x="409" y="558"/>
                  </a:lnTo>
                  <a:lnTo>
                    <a:pt x="407" y="558"/>
                  </a:lnTo>
                  <a:lnTo>
                    <a:pt x="400" y="557"/>
                  </a:lnTo>
                  <a:lnTo>
                    <a:pt x="399" y="558"/>
                  </a:lnTo>
                  <a:lnTo>
                    <a:pt x="396" y="561"/>
                  </a:lnTo>
                  <a:lnTo>
                    <a:pt x="395" y="562"/>
                  </a:lnTo>
                  <a:lnTo>
                    <a:pt x="391" y="563"/>
                  </a:lnTo>
                  <a:lnTo>
                    <a:pt x="377" y="560"/>
                  </a:lnTo>
                  <a:lnTo>
                    <a:pt x="373" y="558"/>
                  </a:lnTo>
                  <a:lnTo>
                    <a:pt x="369" y="555"/>
                  </a:lnTo>
                  <a:lnTo>
                    <a:pt x="368" y="550"/>
                  </a:lnTo>
                  <a:lnTo>
                    <a:pt x="369" y="548"/>
                  </a:lnTo>
                  <a:lnTo>
                    <a:pt x="374" y="546"/>
                  </a:lnTo>
                  <a:lnTo>
                    <a:pt x="375" y="544"/>
                  </a:lnTo>
                  <a:lnTo>
                    <a:pt x="374" y="542"/>
                  </a:lnTo>
                  <a:lnTo>
                    <a:pt x="370" y="540"/>
                  </a:lnTo>
                  <a:lnTo>
                    <a:pt x="370" y="537"/>
                  </a:lnTo>
                  <a:lnTo>
                    <a:pt x="374" y="536"/>
                  </a:lnTo>
                  <a:lnTo>
                    <a:pt x="378" y="536"/>
                  </a:lnTo>
                  <a:lnTo>
                    <a:pt x="379" y="535"/>
                  </a:lnTo>
                  <a:lnTo>
                    <a:pt x="368" y="519"/>
                  </a:lnTo>
                  <a:lnTo>
                    <a:pt x="367" y="518"/>
                  </a:lnTo>
                  <a:lnTo>
                    <a:pt x="366" y="517"/>
                  </a:lnTo>
                  <a:lnTo>
                    <a:pt x="364" y="517"/>
                  </a:lnTo>
                  <a:lnTo>
                    <a:pt x="360" y="518"/>
                  </a:lnTo>
                  <a:lnTo>
                    <a:pt x="354" y="528"/>
                  </a:lnTo>
                  <a:lnTo>
                    <a:pt x="350" y="530"/>
                  </a:lnTo>
                  <a:lnTo>
                    <a:pt x="336" y="531"/>
                  </a:lnTo>
                  <a:lnTo>
                    <a:pt x="326" y="527"/>
                  </a:lnTo>
                  <a:lnTo>
                    <a:pt x="324" y="528"/>
                  </a:lnTo>
                  <a:lnTo>
                    <a:pt x="322" y="531"/>
                  </a:lnTo>
                  <a:lnTo>
                    <a:pt x="318" y="544"/>
                  </a:lnTo>
                  <a:lnTo>
                    <a:pt x="316" y="550"/>
                  </a:lnTo>
                  <a:lnTo>
                    <a:pt x="309" y="557"/>
                  </a:lnTo>
                  <a:lnTo>
                    <a:pt x="302" y="561"/>
                  </a:lnTo>
                  <a:lnTo>
                    <a:pt x="295" y="563"/>
                  </a:lnTo>
                  <a:lnTo>
                    <a:pt x="283" y="558"/>
                  </a:lnTo>
                  <a:lnTo>
                    <a:pt x="275" y="557"/>
                  </a:lnTo>
                  <a:lnTo>
                    <a:pt x="268" y="558"/>
                  </a:lnTo>
                  <a:lnTo>
                    <a:pt x="267" y="558"/>
                  </a:lnTo>
                  <a:lnTo>
                    <a:pt x="262" y="561"/>
                  </a:lnTo>
                  <a:lnTo>
                    <a:pt x="262" y="563"/>
                  </a:lnTo>
                  <a:lnTo>
                    <a:pt x="262" y="565"/>
                  </a:lnTo>
                  <a:lnTo>
                    <a:pt x="262" y="566"/>
                  </a:lnTo>
                  <a:lnTo>
                    <a:pt x="262" y="567"/>
                  </a:lnTo>
                  <a:lnTo>
                    <a:pt x="259" y="569"/>
                  </a:lnTo>
                  <a:lnTo>
                    <a:pt x="258" y="571"/>
                  </a:lnTo>
                  <a:lnTo>
                    <a:pt x="257" y="571"/>
                  </a:lnTo>
                  <a:lnTo>
                    <a:pt x="256" y="572"/>
                  </a:lnTo>
                  <a:lnTo>
                    <a:pt x="257" y="576"/>
                  </a:lnTo>
                  <a:lnTo>
                    <a:pt x="259" y="582"/>
                  </a:lnTo>
                  <a:lnTo>
                    <a:pt x="261" y="587"/>
                  </a:lnTo>
                  <a:lnTo>
                    <a:pt x="262" y="592"/>
                  </a:lnTo>
                  <a:lnTo>
                    <a:pt x="262" y="599"/>
                  </a:lnTo>
                  <a:lnTo>
                    <a:pt x="262" y="599"/>
                  </a:lnTo>
                  <a:lnTo>
                    <a:pt x="262" y="599"/>
                  </a:lnTo>
                  <a:lnTo>
                    <a:pt x="260" y="604"/>
                  </a:lnTo>
                  <a:lnTo>
                    <a:pt x="258" y="605"/>
                  </a:lnTo>
                  <a:lnTo>
                    <a:pt x="247" y="607"/>
                  </a:lnTo>
                  <a:lnTo>
                    <a:pt x="244" y="607"/>
                  </a:lnTo>
                  <a:lnTo>
                    <a:pt x="242" y="605"/>
                  </a:lnTo>
                  <a:lnTo>
                    <a:pt x="240" y="599"/>
                  </a:lnTo>
                  <a:lnTo>
                    <a:pt x="239" y="599"/>
                  </a:lnTo>
                  <a:lnTo>
                    <a:pt x="239" y="599"/>
                  </a:lnTo>
                  <a:lnTo>
                    <a:pt x="238" y="599"/>
                  </a:lnTo>
                  <a:lnTo>
                    <a:pt x="234" y="602"/>
                  </a:lnTo>
                  <a:lnTo>
                    <a:pt x="224" y="604"/>
                  </a:lnTo>
                  <a:lnTo>
                    <a:pt x="216" y="609"/>
                  </a:lnTo>
                  <a:lnTo>
                    <a:pt x="198" y="625"/>
                  </a:lnTo>
                  <a:lnTo>
                    <a:pt x="192" y="628"/>
                  </a:lnTo>
                  <a:lnTo>
                    <a:pt x="186" y="628"/>
                  </a:lnTo>
                  <a:lnTo>
                    <a:pt x="181" y="626"/>
                  </a:lnTo>
                  <a:lnTo>
                    <a:pt x="176" y="626"/>
                  </a:lnTo>
                  <a:lnTo>
                    <a:pt x="173" y="626"/>
                  </a:lnTo>
                  <a:lnTo>
                    <a:pt x="171" y="623"/>
                  </a:lnTo>
                  <a:lnTo>
                    <a:pt x="169" y="615"/>
                  </a:lnTo>
                  <a:lnTo>
                    <a:pt x="164" y="610"/>
                  </a:lnTo>
                  <a:lnTo>
                    <a:pt x="159" y="608"/>
                  </a:lnTo>
                  <a:lnTo>
                    <a:pt x="154" y="609"/>
                  </a:lnTo>
                  <a:lnTo>
                    <a:pt x="144" y="615"/>
                  </a:lnTo>
                  <a:lnTo>
                    <a:pt x="140" y="616"/>
                  </a:lnTo>
                  <a:lnTo>
                    <a:pt x="129" y="616"/>
                  </a:lnTo>
                  <a:lnTo>
                    <a:pt x="127" y="615"/>
                  </a:lnTo>
                  <a:lnTo>
                    <a:pt x="122" y="612"/>
                  </a:lnTo>
                  <a:lnTo>
                    <a:pt x="120" y="611"/>
                  </a:lnTo>
                  <a:lnTo>
                    <a:pt x="117" y="612"/>
                  </a:lnTo>
                  <a:lnTo>
                    <a:pt x="105" y="619"/>
                  </a:lnTo>
                  <a:lnTo>
                    <a:pt x="104" y="619"/>
                  </a:lnTo>
                  <a:lnTo>
                    <a:pt x="102" y="619"/>
                  </a:lnTo>
                  <a:lnTo>
                    <a:pt x="100" y="617"/>
                  </a:lnTo>
                  <a:lnTo>
                    <a:pt x="98" y="617"/>
                  </a:lnTo>
                  <a:lnTo>
                    <a:pt x="96" y="618"/>
                  </a:lnTo>
                  <a:lnTo>
                    <a:pt x="93" y="619"/>
                  </a:lnTo>
                  <a:lnTo>
                    <a:pt x="83" y="621"/>
                  </a:lnTo>
                  <a:lnTo>
                    <a:pt x="76" y="624"/>
                  </a:lnTo>
                  <a:lnTo>
                    <a:pt x="73" y="624"/>
                  </a:lnTo>
                  <a:lnTo>
                    <a:pt x="70" y="624"/>
                  </a:lnTo>
                  <a:lnTo>
                    <a:pt x="56" y="615"/>
                  </a:lnTo>
                  <a:lnTo>
                    <a:pt x="51" y="614"/>
                  </a:lnTo>
                  <a:lnTo>
                    <a:pt x="51" y="621"/>
                  </a:lnTo>
                  <a:lnTo>
                    <a:pt x="52" y="628"/>
                  </a:lnTo>
                  <a:lnTo>
                    <a:pt x="54" y="634"/>
                  </a:lnTo>
                  <a:lnTo>
                    <a:pt x="56" y="641"/>
                  </a:lnTo>
                  <a:lnTo>
                    <a:pt x="57" y="655"/>
                  </a:lnTo>
                  <a:lnTo>
                    <a:pt x="59" y="661"/>
                  </a:lnTo>
                  <a:lnTo>
                    <a:pt x="63" y="666"/>
                  </a:lnTo>
                  <a:lnTo>
                    <a:pt x="63" y="666"/>
                  </a:lnTo>
                  <a:lnTo>
                    <a:pt x="63" y="666"/>
                  </a:lnTo>
                  <a:lnTo>
                    <a:pt x="63" y="683"/>
                  </a:lnTo>
                  <a:lnTo>
                    <a:pt x="67" y="702"/>
                  </a:lnTo>
                  <a:lnTo>
                    <a:pt x="81" y="743"/>
                  </a:lnTo>
                  <a:lnTo>
                    <a:pt x="88" y="758"/>
                  </a:lnTo>
                  <a:lnTo>
                    <a:pt x="91" y="767"/>
                  </a:lnTo>
                  <a:lnTo>
                    <a:pt x="98" y="792"/>
                  </a:lnTo>
                  <a:lnTo>
                    <a:pt x="101" y="800"/>
                  </a:lnTo>
                  <a:lnTo>
                    <a:pt x="103" y="803"/>
                  </a:lnTo>
                  <a:lnTo>
                    <a:pt x="105" y="807"/>
                  </a:lnTo>
                  <a:lnTo>
                    <a:pt x="106" y="811"/>
                  </a:lnTo>
                  <a:lnTo>
                    <a:pt x="108" y="815"/>
                  </a:lnTo>
                  <a:lnTo>
                    <a:pt x="111" y="818"/>
                  </a:lnTo>
                  <a:lnTo>
                    <a:pt x="114" y="820"/>
                  </a:lnTo>
                  <a:lnTo>
                    <a:pt x="115" y="823"/>
                  </a:lnTo>
                  <a:lnTo>
                    <a:pt x="115" y="830"/>
                  </a:lnTo>
                  <a:lnTo>
                    <a:pt x="114" y="834"/>
                  </a:lnTo>
                  <a:lnTo>
                    <a:pt x="111" y="837"/>
                  </a:lnTo>
                  <a:lnTo>
                    <a:pt x="110" y="840"/>
                  </a:lnTo>
                  <a:lnTo>
                    <a:pt x="110" y="845"/>
                  </a:lnTo>
                  <a:lnTo>
                    <a:pt x="111" y="850"/>
                  </a:lnTo>
                  <a:lnTo>
                    <a:pt x="116" y="856"/>
                  </a:lnTo>
                  <a:lnTo>
                    <a:pt x="118" y="860"/>
                  </a:lnTo>
                  <a:lnTo>
                    <a:pt x="118" y="862"/>
                  </a:lnTo>
                  <a:lnTo>
                    <a:pt x="118" y="865"/>
                  </a:lnTo>
                  <a:lnTo>
                    <a:pt x="118" y="867"/>
                  </a:lnTo>
                  <a:lnTo>
                    <a:pt x="119" y="874"/>
                  </a:lnTo>
                  <a:lnTo>
                    <a:pt x="119" y="876"/>
                  </a:lnTo>
                  <a:lnTo>
                    <a:pt x="119" y="878"/>
                  </a:lnTo>
                  <a:lnTo>
                    <a:pt x="117" y="882"/>
                  </a:lnTo>
                  <a:lnTo>
                    <a:pt x="116" y="883"/>
                  </a:lnTo>
                  <a:lnTo>
                    <a:pt x="117" y="886"/>
                  </a:lnTo>
                  <a:lnTo>
                    <a:pt x="117" y="888"/>
                  </a:lnTo>
                  <a:lnTo>
                    <a:pt x="118" y="889"/>
                  </a:lnTo>
                  <a:lnTo>
                    <a:pt x="118" y="891"/>
                  </a:lnTo>
                  <a:lnTo>
                    <a:pt x="120" y="923"/>
                  </a:lnTo>
                  <a:lnTo>
                    <a:pt x="120" y="931"/>
                  </a:lnTo>
                  <a:lnTo>
                    <a:pt x="118" y="942"/>
                  </a:lnTo>
                  <a:lnTo>
                    <a:pt x="111" y="950"/>
                  </a:lnTo>
                  <a:lnTo>
                    <a:pt x="90" y="964"/>
                  </a:lnTo>
                  <a:lnTo>
                    <a:pt x="64" y="972"/>
                  </a:lnTo>
                  <a:lnTo>
                    <a:pt x="50" y="980"/>
                  </a:lnTo>
                  <a:lnTo>
                    <a:pt x="36" y="992"/>
                  </a:lnTo>
                  <a:lnTo>
                    <a:pt x="16" y="1021"/>
                  </a:lnTo>
                  <a:lnTo>
                    <a:pt x="10" y="1029"/>
                  </a:lnTo>
                  <a:lnTo>
                    <a:pt x="7" y="1034"/>
                  </a:lnTo>
                  <a:lnTo>
                    <a:pt x="0" y="1049"/>
                  </a:lnTo>
                  <a:lnTo>
                    <a:pt x="0" y="1049"/>
                  </a:lnTo>
                  <a:lnTo>
                    <a:pt x="1" y="1050"/>
                  </a:lnTo>
                  <a:lnTo>
                    <a:pt x="3" y="1051"/>
                  </a:lnTo>
                  <a:lnTo>
                    <a:pt x="4" y="1054"/>
                  </a:lnTo>
                  <a:lnTo>
                    <a:pt x="5" y="1057"/>
                  </a:lnTo>
                  <a:lnTo>
                    <a:pt x="3" y="1062"/>
                  </a:lnTo>
                  <a:lnTo>
                    <a:pt x="7" y="1064"/>
                  </a:lnTo>
                  <a:lnTo>
                    <a:pt x="18" y="1067"/>
                  </a:lnTo>
                  <a:lnTo>
                    <a:pt x="21" y="1066"/>
                  </a:lnTo>
                  <a:lnTo>
                    <a:pt x="23" y="1068"/>
                  </a:lnTo>
                  <a:lnTo>
                    <a:pt x="33" y="1072"/>
                  </a:lnTo>
                  <a:lnTo>
                    <a:pt x="36" y="1072"/>
                  </a:lnTo>
                  <a:lnTo>
                    <a:pt x="36" y="1074"/>
                  </a:lnTo>
                  <a:lnTo>
                    <a:pt x="35" y="1076"/>
                  </a:lnTo>
                  <a:lnTo>
                    <a:pt x="36" y="1077"/>
                  </a:lnTo>
                  <a:lnTo>
                    <a:pt x="38" y="1076"/>
                  </a:lnTo>
                  <a:lnTo>
                    <a:pt x="40" y="1077"/>
                  </a:lnTo>
                  <a:lnTo>
                    <a:pt x="41" y="1078"/>
                  </a:lnTo>
                  <a:lnTo>
                    <a:pt x="43" y="1078"/>
                  </a:lnTo>
                  <a:lnTo>
                    <a:pt x="45" y="1076"/>
                  </a:lnTo>
                  <a:lnTo>
                    <a:pt x="46" y="1077"/>
                  </a:lnTo>
                  <a:lnTo>
                    <a:pt x="47" y="1078"/>
                  </a:lnTo>
                  <a:lnTo>
                    <a:pt x="48" y="1079"/>
                  </a:lnTo>
                  <a:lnTo>
                    <a:pt x="51" y="1077"/>
                  </a:lnTo>
                  <a:lnTo>
                    <a:pt x="52" y="1079"/>
                  </a:lnTo>
                  <a:lnTo>
                    <a:pt x="51" y="1082"/>
                  </a:lnTo>
                  <a:lnTo>
                    <a:pt x="50" y="1083"/>
                  </a:lnTo>
                  <a:lnTo>
                    <a:pt x="55" y="1092"/>
                  </a:lnTo>
                  <a:lnTo>
                    <a:pt x="58" y="1093"/>
                  </a:lnTo>
                  <a:lnTo>
                    <a:pt x="65" y="1092"/>
                  </a:lnTo>
                  <a:lnTo>
                    <a:pt x="68" y="1094"/>
                  </a:lnTo>
                  <a:lnTo>
                    <a:pt x="69" y="1096"/>
                  </a:lnTo>
                  <a:lnTo>
                    <a:pt x="70" y="1098"/>
                  </a:lnTo>
                  <a:lnTo>
                    <a:pt x="71" y="1100"/>
                  </a:lnTo>
                  <a:lnTo>
                    <a:pt x="73" y="1100"/>
                  </a:lnTo>
                  <a:lnTo>
                    <a:pt x="75" y="1102"/>
                  </a:lnTo>
                  <a:lnTo>
                    <a:pt x="75" y="1105"/>
                  </a:lnTo>
                  <a:lnTo>
                    <a:pt x="76" y="1108"/>
                  </a:lnTo>
                  <a:lnTo>
                    <a:pt x="77" y="1111"/>
                  </a:lnTo>
                  <a:lnTo>
                    <a:pt x="79" y="1121"/>
                  </a:lnTo>
                  <a:lnTo>
                    <a:pt x="81" y="1125"/>
                  </a:lnTo>
                  <a:lnTo>
                    <a:pt x="78" y="1127"/>
                  </a:lnTo>
                  <a:lnTo>
                    <a:pt x="76" y="1130"/>
                  </a:lnTo>
                  <a:lnTo>
                    <a:pt x="73" y="1138"/>
                  </a:lnTo>
                  <a:lnTo>
                    <a:pt x="72" y="1142"/>
                  </a:lnTo>
                  <a:lnTo>
                    <a:pt x="72" y="1150"/>
                  </a:lnTo>
                  <a:lnTo>
                    <a:pt x="71" y="1153"/>
                  </a:lnTo>
                  <a:lnTo>
                    <a:pt x="72" y="1153"/>
                  </a:lnTo>
                  <a:lnTo>
                    <a:pt x="72" y="1153"/>
                  </a:lnTo>
                  <a:lnTo>
                    <a:pt x="72" y="1154"/>
                  </a:lnTo>
                  <a:lnTo>
                    <a:pt x="72" y="1155"/>
                  </a:lnTo>
                  <a:lnTo>
                    <a:pt x="70" y="1156"/>
                  </a:lnTo>
                  <a:lnTo>
                    <a:pt x="70" y="1162"/>
                  </a:lnTo>
                  <a:lnTo>
                    <a:pt x="68" y="1164"/>
                  </a:lnTo>
                  <a:lnTo>
                    <a:pt x="70" y="1168"/>
                  </a:lnTo>
                  <a:lnTo>
                    <a:pt x="73" y="1172"/>
                  </a:lnTo>
                  <a:lnTo>
                    <a:pt x="72" y="1178"/>
                  </a:lnTo>
                  <a:lnTo>
                    <a:pt x="68" y="1182"/>
                  </a:lnTo>
                  <a:lnTo>
                    <a:pt x="65" y="1183"/>
                  </a:lnTo>
                  <a:lnTo>
                    <a:pt x="62" y="1186"/>
                  </a:lnTo>
                  <a:lnTo>
                    <a:pt x="62" y="1188"/>
                  </a:lnTo>
                  <a:lnTo>
                    <a:pt x="61" y="1191"/>
                  </a:lnTo>
                  <a:lnTo>
                    <a:pt x="60" y="1197"/>
                  </a:lnTo>
                  <a:lnTo>
                    <a:pt x="61" y="1198"/>
                  </a:lnTo>
                  <a:lnTo>
                    <a:pt x="62" y="1200"/>
                  </a:lnTo>
                  <a:lnTo>
                    <a:pt x="62" y="1202"/>
                  </a:lnTo>
                  <a:lnTo>
                    <a:pt x="61" y="1202"/>
                  </a:lnTo>
                  <a:lnTo>
                    <a:pt x="60" y="1203"/>
                  </a:lnTo>
                  <a:lnTo>
                    <a:pt x="61" y="1205"/>
                  </a:lnTo>
                  <a:lnTo>
                    <a:pt x="62" y="1206"/>
                  </a:lnTo>
                  <a:lnTo>
                    <a:pt x="62" y="1208"/>
                  </a:lnTo>
                  <a:lnTo>
                    <a:pt x="60" y="1210"/>
                  </a:lnTo>
                  <a:lnTo>
                    <a:pt x="59" y="1211"/>
                  </a:lnTo>
                  <a:lnTo>
                    <a:pt x="58" y="1211"/>
                  </a:lnTo>
                  <a:lnTo>
                    <a:pt x="58" y="1213"/>
                  </a:lnTo>
                  <a:lnTo>
                    <a:pt x="60" y="1215"/>
                  </a:lnTo>
                  <a:lnTo>
                    <a:pt x="60" y="1217"/>
                  </a:lnTo>
                  <a:lnTo>
                    <a:pt x="59" y="1224"/>
                  </a:lnTo>
                  <a:lnTo>
                    <a:pt x="60" y="1228"/>
                  </a:lnTo>
                  <a:lnTo>
                    <a:pt x="61" y="1231"/>
                  </a:lnTo>
                  <a:lnTo>
                    <a:pt x="65" y="1237"/>
                  </a:lnTo>
                  <a:lnTo>
                    <a:pt x="63" y="1237"/>
                  </a:lnTo>
                  <a:lnTo>
                    <a:pt x="62" y="1237"/>
                  </a:lnTo>
                  <a:lnTo>
                    <a:pt x="64" y="1241"/>
                  </a:lnTo>
                  <a:lnTo>
                    <a:pt x="67" y="1242"/>
                  </a:lnTo>
                  <a:lnTo>
                    <a:pt x="69" y="1244"/>
                  </a:lnTo>
                  <a:lnTo>
                    <a:pt x="70" y="1247"/>
                  </a:lnTo>
                  <a:lnTo>
                    <a:pt x="71" y="1248"/>
                  </a:lnTo>
                  <a:lnTo>
                    <a:pt x="72" y="1247"/>
                  </a:lnTo>
                  <a:lnTo>
                    <a:pt x="73" y="1244"/>
                  </a:lnTo>
                  <a:lnTo>
                    <a:pt x="73" y="1241"/>
                  </a:lnTo>
                  <a:lnTo>
                    <a:pt x="69" y="1229"/>
                  </a:lnTo>
                  <a:lnTo>
                    <a:pt x="68" y="1227"/>
                  </a:lnTo>
                  <a:lnTo>
                    <a:pt x="68" y="1225"/>
                  </a:lnTo>
                  <a:lnTo>
                    <a:pt x="70" y="1221"/>
                  </a:lnTo>
                  <a:lnTo>
                    <a:pt x="71" y="1220"/>
                  </a:lnTo>
                  <a:lnTo>
                    <a:pt x="73" y="1219"/>
                  </a:lnTo>
                  <a:lnTo>
                    <a:pt x="89" y="1215"/>
                  </a:lnTo>
                  <a:lnTo>
                    <a:pt x="92" y="1215"/>
                  </a:lnTo>
                  <a:lnTo>
                    <a:pt x="104" y="1218"/>
                  </a:lnTo>
                  <a:lnTo>
                    <a:pt x="108" y="1218"/>
                  </a:lnTo>
                  <a:lnTo>
                    <a:pt x="114" y="1221"/>
                  </a:lnTo>
                  <a:lnTo>
                    <a:pt x="118" y="1226"/>
                  </a:lnTo>
                  <a:lnTo>
                    <a:pt x="123" y="1230"/>
                  </a:lnTo>
                  <a:lnTo>
                    <a:pt x="129" y="1230"/>
                  </a:lnTo>
                  <a:lnTo>
                    <a:pt x="153" y="1208"/>
                  </a:lnTo>
                  <a:lnTo>
                    <a:pt x="171" y="1196"/>
                  </a:lnTo>
                  <a:lnTo>
                    <a:pt x="175" y="1190"/>
                  </a:lnTo>
                  <a:lnTo>
                    <a:pt x="179" y="1173"/>
                  </a:lnTo>
                  <a:lnTo>
                    <a:pt x="182" y="1168"/>
                  </a:lnTo>
                  <a:lnTo>
                    <a:pt x="187" y="1159"/>
                  </a:lnTo>
                  <a:lnTo>
                    <a:pt x="191" y="1156"/>
                  </a:lnTo>
                  <a:lnTo>
                    <a:pt x="194" y="1154"/>
                  </a:lnTo>
                  <a:lnTo>
                    <a:pt x="234" y="1151"/>
                  </a:lnTo>
                  <a:lnTo>
                    <a:pt x="243" y="1154"/>
                  </a:lnTo>
                  <a:lnTo>
                    <a:pt x="247" y="1154"/>
                  </a:lnTo>
                  <a:lnTo>
                    <a:pt x="292" y="1147"/>
                  </a:lnTo>
                  <a:lnTo>
                    <a:pt x="306" y="1139"/>
                  </a:lnTo>
                  <a:lnTo>
                    <a:pt x="313" y="1137"/>
                  </a:lnTo>
                  <a:lnTo>
                    <a:pt x="320" y="1137"/>
                  </a:lnTo>
                  <a:lnTo>
                    <a:pt x="347" y="1144"/>
                  </a:lnTo>
                  <a:lnTo>
                    <a:pt x="378" y="1144"/>
                  </a:lnTo>
                  <a:lnTo>
                    <a:pt x="399" y="1145"/>
                  </a:lnTo>
                  <a:lnTo>
                    <a:pt x="413" y="1142"/>
                  </a:lnTo>
                  <a:lnTo>
                    <a:pt x="447" y="1148"/>
                  </a:lnTo>
                  <a:lnTo>
                    <a:pt x="458" y="1148"/>
                  </a:lnTo>
                  <a:lnTo>
                    <a:pt x="463" y="1149"/>
                  </a:lnTo>
                  <a:lnTo>
                    <a:pt x="473" y="1158"/>
                  </a:lnTo>
                  <a:lnTo>
                    <a:pt x="477" y="1160"/>
                  </a:lnTo>
                  <a:lnTo>
                    <a:pt x="514" y="1162"/>
                  </a:lnTo>
                  <a:lnTo>
                    <a:pt x="516" y="1163"/>
                  </a:lnTo>
                  <a:lnTo>
                    <a:pt x="516" y="1165"/>
                  </a:lnTo>
                  <a:lnTo>
                    <a:pt x="516" y="1167"/>
                  </a:lnTo>
                  <a:lnTo>
                    <a:pt x="516" y="1170"/>
                  </a:lnTo>
                  <a:lnTo>
                    <a:pt x="518" y="1172"/>
                  </a:lnTo>
                  <a:lnTo>
                    <a:pt x="520" y="1173"/>
                  </a:lnTo>
                  <a:lnTo>
                    <a:pt x="555" y="1175"/>
                  </a:lnTo>
                  <a:lnTo>
                    <a:pt x="585" y="1188"/>
                  </a:lnTo>
                  <a:lnTo>
                    <a:pt x="596" y="1190"/>
                  </a:lnTo>
                  <a:lnTo>
                    <a:pt x="612" y="1184"/>
                  </a:lnTo>
                  <a:lnTo>
                    <a:pt x="626" y="1185"/>
                  </a:lnTo>
                  <a:lnTo>
                    <a:pt x="632" y="1186"/>
                  </a:lnTo>
                  <a:lnTo>
                    <a:pt x="637" y="1188"/>
                  </a:lnTo>
                  <a:lnTo>
                    <a:pt x="638" y="1192"/>
                  </a:lnTo>
                  <a:lnTo>
                    <a:pt x="637" y="1198"/>
                  </a:lnTo>
                  <a:lnTo>
                    <a:pt x="637" y="1205"/>
                  </a:lnTo>
                  <a:lnTo>
                    <a:pt x="639" y="1210"/>
                  </a:lnTo>
                  <a:lnTo>
                    <a:pt x="641" y="1212"/>
                  </a:lnTo>
                  <a:lnTo>
                    <a:pt x="644" y="1212"/>
                  </a:lnTo>
                  <a:lnTo>
                    <a:pt x="648" y="1212"/>
                  </a:lnTo>
                  <a:lnTo>
                    <a:pt x="653" y="1213"/>
                  </a:lnTo>
                  <a:lnTo>
                    <a:pt x="652" y="1217"/>
                  </a:lnTo>
                  <a:lnTo>
                    <a:pt x="650" y="1223"/>
                  </a:lnTo>
                  <a:lnTo>
                    <a:pt x="649" y="1227"/>
                  </a:lnTo>
                  <a:lnTo>
                    <a:pt x="651" y="1229"/>
                  </a:lnTo>
                  <a:lnTo>
                    <a:pt x="654" y="1229"/>
                  </a:lnTo>
                  <a:lnTo>
                    <a:pt x="661" y="1227"/>
                  </a:lnTo>
                  <a:lnTo>
                    <a:pt x="670" y="1228"/>
                  </a:lnTo>
                  <a:lnTo>
                    <a:pt x="673" y="1228"/>
                  </a:lnTo>
                  <a:lnTo>
                    <a:pt x="677" y="1226"/>
                  </a:lnTo>
                  <a:lnTo>
                    <a:pt x="681" y="1221"/>
                  </a:lnTo>
                  <a:lnTo>
                    <a:pt x="684" y="1220"/>
                  </a:lnTo>
                  <a:lnTo>
                    <a:pt x="690" y="1220"/>
                  </a:lnTo>
                  <a:lnTo>
                    <a:pt x="690" y="1220"/>
                  </a:lnTo>
                  <a:lnTo>
                    <a:pt x="707" y="1227"/>
                  </a:lnTo>
                  <a:lnTo>
                    <a:pt x="716" y="1227"/>
                  </a:lnTo>
                  <a:lnTo>
                    <a:pt x="718" y="1229"/>
                  </a:lnTo>
                  <a:lnTo>
                    <a:pt x="720" y="1234"/>
                  </a:lnTo>
                  <a:lnTo>
                    <a:pt x="719" y="1240"/>
                  </a:lnTo>
                  <a:lnTo>
                    <a:pt x="714" y="1253"/>
                  </a:lnTo>
                  <a:lnTo>
                    <a:pt x="714" y="1254"/>
                  </a:lnTo>
                  <a:lnTo>
                    <a:pt x="715" y="1255"/>
                  </a:lnTo>
                  <a:lnTo>
                    <a:pt x="717" y="1258"/>
                  </a:lnTo>
                  <a:lnTo>
                    <a:pt x="720" y="1260"/>
                  </a:lnTo>
                  <a:lnTo>
                    <a:pt x="722" y="1261"/>
                  </a:lnTo>
                  <a:lnTo>
                    <a:pt x="724" y="1260"/>
                  </a:lnTo>
                  <a:lnTo>
                    <a:pt x="726" y="1259"/>
                  </a:lnTo>
                  <a:lnTo>
                    <a:pt x="733" y="1249"/>
                  </a:lnTo>
                  <a:lnTo>
                    <a:pt x="734" y="1247"/>
                  </a:lnTo>
                  <a:lnTo>
                    <a:pt x="735" y="1244"/>
                  </a:lnTo>
                  <a:lnTo>
                    <a:pt x="735" y="1241"/>
                  </a:lnTo>
                  <a:lnTo>
                    <a:pt x="734" y="1238"/>
                  </a:lnTo>
                  <a:lnTo>
                    <a:pt x="734" y="1235"/>
                  </a:lnTo>
                  <a:lnTo>
                    <a:pt x="735" y="1230"/>
                  </a:lnTo>
                  <a:lnTo>
                    <a:pt x="737" y="1226"/>
                  </a:lnTo>
                  <a:lnTo>
                    <a:pt x="740" y="1223"/>
                  </a:lnTo>
                  <a:lnTo>
                    <a:pt x="744" y="1222"/>
                  </a:lnTo>
                  <a:lnTo>
                    <a:pt x="747" y="1224"/>
                  </a:lnTo>
                  <a:lnTo>
                    <a:pt x="757" y="1234"/>
                  </a:lnTo>
                  <a:lnTo>
                    <a:pt x="760" y="1236"/>
                  </a:lnTo>
                  <a:lnTo>
                    <a:pt x="763" y="1237"/>
                  </a:lnTo>
                  <a:lnTo>
                    <a:pt x="778" y="1237"/>
                  </a:lnTo>
                  <a:lnTo>
                    <a:pt x="781" y="1235"/>
                  </a:lnTo>
                  <a:lnTo>
                    <a:pt x="785" y="1232"/>
                  </a:lnTo>
                  <a:lnTo>
                    <a:pt x="790" y="1222"/>
                  </a:lnTo>
                  <a:lnTo>
                    <a:pt x="794" y="1217"/>
                  </a:lnTo>
                  <a:lnTo>
                    <a:pt x="797" y="1215"/>
                  </a:lnTo>
                  <a:lnTo>
                    <a:pt x="800" y="1213"/>
                  </a:lnTo>
                  <a:lnTo>
                    <a:pt x="804" y="1213"/>
                  </a:lnTo>
                  <a:lnTo>
                    <a:pt x="806" y="1216"/>
                  </a:lnTo>
                  <a:lnTo>
                    <a:pt x="807" y="1218"/>
                  </a:lnTo>
                  <a:lnTo>
                    <a:pt x="807" y="1220"/>
                  </a:lnTo>
                  <a:lnTo>
                    <a:pt x="807" y="1223"/>
                  </a:lnTo>
                  <a:lnTo>
                    <a:pt x="808" y="1226"/>
                  </a:lnTo>
                  <a:lnTo>
                    <a:pt x="810" y="1227"/>
                  </a:lnTo>
                  <a:lnTo>
                    <a:pt x="815" y="1230"/>
                  </a:lnTo>
                  <a:lnTo>
                    <a:pt x="816" y="1232"/>
                  </a:lnTo>
                  <a:lnTo>
                    <a:pt x="818" y="1235"/>
                  </a:lnTo>
                  <a:lnTo>
                    <a:pt x="819" y="1242"/>
                  </a:lnTo>
                  <a:lnTo>
                    <a:pt x="820" y="1244"/>
                  </a:lnTo>
                  <a:lnTo>
                    <a:pt x="822" y="1245"/>
                  </a:lnTo>
                  <a:lnTo>
                    <a:pt x="824" y="1244"/>
                  </a:lnTo>
                  <a:lnTo>
                    <a:pt x="828" y="1240"/>
                  </a:lnTo>
                  <a:lnTo>
                    <a:pt x="836" y="1235"/>
                  </a:lnTo>
                  <a:lnTo>
                    <a:pt x="840" y="1233"/>
                  </a:lnTo>
                  <a:lnTo>
                    <a:pt x="845" y="1233"/>
                  </a:lnTo>
                  <a:lnTo>
                    <a:pt x="859" y="1236"/>
                  </a:lnTo>
                  <a:lnTo>
                    <a:pt x="863" y="1238"/>
                  </a:lnTo>
                  <a:lnTo>
                    <a:pt x="864" y="1241"/>
                  </a:lnTo>
                  <a:lnTo>
                    <a:pt x="865" y="1246"/>
                  </a:lnTo>
                  <a:lnTo>
                    <a:pt x="867" y="1261"/>
                  </a:lnTo>
                  <a:lnTo>
                    <a:pt x="868" y="1264"/>
                  </a:lnTo>
                  <a:lnTo>
                    <a:pt x="870" y="1267"/>
                  </a:lnTo>
                  <a:lnTo>
                    <a:pt x="873" y="1268"/>
                  </a:lnTo>
                  <a:lnTo>
                    <a:pt x="875" y="1267"/>
                  </a:lnTo>
                  <a:lnTo>
                    <a:pt x="877" y="1266"/>
                  </a:lnTo>
                  <a:lnTo>
                    <a:pt x="879" y="1266"/>
                  </a:lnTo>
                  <a:lnTo>
                    <a:pt x="880" y="1269"/>
                  </a:lnTo>
                  <a:lnTo>
                    <a:pt x="881" y="1274"/>
                  </a:lnTo>
                  <a:lnTo>
                    <a:pt x="883" y="1276"/>
                  </a:lnTo>
                  <a:lnTo>
                    <a:pt x="886" y="1273"/>
                  </a:lnTo>
                  <a:lnTo>
                    <a:pt x="886" y="1270"/>
                  </a:lnTo>
                  <a:lnTo>
                    <a:pt x="886" y="1260"/>
                  </a:lnTo>
                  <a:lnTo>
                    <a:pt x="887" y="1255"/>
                  </a:lnTo>
                  <a:lnTo>
                    <a:pt x="890" y="1249"/>
                  </a:lnTo>
                  <a:lnTo>
                    <a:pt x="894" y="1243"/>
                  </a:lnTo>
                  <a:lnTo>
                    <a:pt x="899" y="1239"/>
                  </a:lnTo>
                  <a:lnTo>
                    <a:pt x="904" y="1236"/>
                  </a:lnTo>
                  <a:lnTo>
                    <a:pt x="909" y="1235"/>
                  </a:lnTo>
                  <a:lnTo>
                    <a:pt x="919" y="1235"/>
                  </a:lnTo>
                  <a:lnTo>
                    <a:pt x="923" y="1234"/>
                  </a:lnTo>
                  <a:lnTo>
                    <a:pt x="926" y="1230"/>
                  </a:lnTo>
                  <a:lnTo>
                    <a:pt x="930" y="1222"/>
                  </a:lnTo>
                  <a:lnTo>
                    <a:pt x="933" y="1219"/>
                  </a:lnTo>
                  <a:lnTo>
                    <a:pt x="936" y="1218"/>
                  </a:lnTo>
                  <a:lnTo>
                    <a:pt x="939" y="1218"/>
                  </a:lnTo>
                  <a:lnTo>
                    <a:pt x="946" y="1220"/>
                  </a:lnTo>
                  <a:lnTo>
                    <a:pt x="949" y="1222"/>
                  </a:lnTo>
                  <a:lnTo>
                    <a:pt x="951" y="1225"/>
                  </a:lnTo>
                  <a:lnTo>
                    <a:pt x="955" y="1234"/>
                  </a:lnTo>
                  <a:lnTo>
                    <a:pt x="960" y="1242"/>
                  </a:lnTo>
                  <a:lnTo>
                    <a:pt x="962" y="1247"/>
                  </a:lnTo>
                  <a:lnTo>
                    <a:pt x="962" y="1253"/>
                  </a:lnTo>
                  <a:lnTo>
                    <a:pt x="961" y="1260"/>
                  </a:lnTo>
                  <a:lnTo>
                    <a:pt x="962" y="1263"/>
                  </a:lnTo>
                  <a:lnTo>
                    <a:pt x="965" y="1265"/>
                  </a:lnTo>
                  <a:lnTo>
                    <a:pt x="968" y="1269"/>
                  </a:lnTo>
                  <a:lnTo>
                    <a:pt x="970" y="1273"/>
                  </a:lnTo>
                  <a:lnTo>
                    <a:pt x="971" y="1279"/>
                  </a:lnTo>
                  <a:lnTo>
                    <a:pt x="973" y="1284"/>
                  </a:lnTo>
                  <a:lnTo>
                    <a:pt x="977" y="1285"/>
                  </a:lnTo>
                  <a:lnTo>
                    <a:pt x="980" y="1284"/>
                  </a:lnTo>
                  <a:lnTo>
                    <a:pt x="982" y="1283"/>
                  </a:lnTo>
                  <a:lnTo>
                    <a:pt x="986" y="1279"/>
                  </a:lnTo>
                  <a:lnTo>
                    <a:pt x="990" y="1278"/>
                  </a:lnTo>
                  <a:lnTo>
                    <a:pt x="997" y="1281"/>
                  </a:lnTo>
                  <a:lnTo>
                    <a:pt x="1000" y="1281"/>
                  </a:lnTo>
                  <a:lnTo>
                    <a:pt x="1002" y="1276"/>
                  </a:lnTo>
                  <a:lnTo>
                    <a:pt x="1005" y="1270"/>
                  </a:lnTo>
                  <a:lnTo>
                    <a:pt x="1006" y="1267"/>
                  </a:lnTo>
                  <a:lnTo>
                    <a:pt x="1008" y="1266"/>
                  </a:lnTo>
                  <a:lnTo>
                    <a:pt x="1012" y="1266"/>
                  </a:lnTo>
                  <a:lnTo>
                    <a:pt x="1016" y="1264"/>
                  </a:lnTo>
                  <a:lnTo>
                    <a:pt x="1018" y="1261"/>
                  </a:lnTo>
                  <a:lnTo>
                    <a:pt x="1021" y="1258"/>
                  </a:lnTo>
                  <a:lnTo>
                    <a:pt x="1024" y="1255"/>
                  </a:lnTo>
                  <a:lnTo>
                    <a:pt x="1027" y="1254"/>
                  </a:lnTo>
                  <a:lnTo>
                    <a:pt x="1031" y="1253"/>
                  </a:lnTo>
                  <a:lnTo>
                    <a:pt x="1034" y="1254"/>
                  </a:lnTo>
                  <a:lnTo>
                    <a:pt x="1037" y="1255"/>
                  </a:lnTo>
                  <a:lnTo>
                    <a:pt x="1039" y="1260"/>
                  </a:lnTo>
                  <a:lnTo>
                    <a:pt x="1041" y="1264"/>
                  </a:lnTo>
                  <a:lnTo>
                    <a:pt x="1043" y="1267"/>
                  </a:lnTo>
                  <a:lnTo>
                    <a:pt x="1057" y="1269"/>
                  </a:lnTo>
                  <a:lnTo>
                    <a:pt x="1060" y="1269"/>
                  </a:lnTo>
                  <a:lnTo>
                    <a:pt x="1062" y="1267"/>
                  </a:lnTo>
                  <a:lnTo>
                    <a:pt x="1064" y="1262"/>
                  </a:lnTo>
                  <a:lnTo>
                    <a:pt x="1067" y="1260"/>
                  </a:lnTo>
                  <a:lnTo>
                    <a:pt x="1068" y="1260"/>
                  </a:lnTo>
                  <a:lnTo>
                    <a:pt x="1071" y="1262"/>
                  </a:lnTo>
                  <a:lnTo>
                    <a:pt x="1073" y="1262"/>
                  </a:lnTo>
                  <a:lnTo>
                    <a:pt x="1082" y="1257"/>
                  </a:lnTo>
                  <a:lnTo>
                    <a:pt x="1086" y="1256"/>
                  </a:lnTo>
                  <a:lnTo>
                    <a:pt x="1108" y="1255"/>
                  </a:lnTo>
                  <a:lnTo>
                    <a:pt x="1113" y="1257"/>
                  </a:lnTo>
                  <a:lnTo>
                    <a:pt x="1117" y="1260"/>
                  </a:lnTo>
                  <a:lnTo>
                    <a:pt x="1123" y="1268"/>
                  </a:lnTo>
                  <a:lnTo>
                    <a:pt x="1125" y="1270"/>
                  </a:lnTo>
                  <a:lnTo>
                    <a:pt x="1133" y="1274"/>
                  </a:lnTo>
                  <a:lnTo>
                    <a:pt x="1135" y="1276"/>
                  </a:lnTo>
                  <a:lnTo>
                    <a:pt x="1136" y="1278"/>
                  </a:lnTo>
                  <a:lnTo>
                    <a:pt x="1137" y="1280"/>
                  </a:lnTo>
                  <a:lnTo>
                    <a:pt x="1137" y="1282"/>
                  </a:lnTo>
                  <a:lnTo>
                    <a:pt x="1137" y="1284"/>
                  </a:lnTo>
                  <a:lnTo>
                    <a:pt x="1137" y="1286"/>
                  </a:lnTo>
                  <a:lnTo>
                    <a:pt x="1135" y="1292"/>
                  </a:lnTo>
                  <a:lnTo>
                    <a:pt x="1135" y="1292"/>
                  </a:lnTo>
                  <a:lnTo>
                    <a:pt x="1136" y="1294"/>
                  </a:lnTo>
                  <a:lnTo>
                    <a:pt x="1141" y="1301"/>
                  </a:lnTo>
                  <a:lnTo>
                    <a:pt x="1143" y="1303"/>
                  </a:lnTo>
                  <a:lnTo>
                    <a:pt x="1146" y="1304"/>
                  </a:lnTo>
                  <a:lnTo>
                    <a:pt x="1150" y="1304"/>
                  </a:lnTo>
                  <a:lnTo>
                    <a:pt x="1152" y="1304"/>
                  </a:lnTo>
                  <a:lnTo>
                    <a:pt x="1155" y="1306"/>
                  </a:lnTo>
                  <a:lnTo>
                    <a:pt x="1158" y="1312"/>
                  </a:lnTo>
                  <a:lnTo>
                    <a:pt x="1161" y="1313"/>
                  </a:lnTo>
                  <a:lnTo>
                    <a:pt x="1163" y="1312"/>
                  </a:lnTo>
                  <a:lnTo>
                    <a:pt x="1165" y="1313"/>
                  </a:lnTo>
                  <a:lnTo>
                    <a:pt x="1167" y="1314"/>
                  </a:lnTo>
                  <a:lnTo>
                    <a:pt x="1169" y="1316"/>
                  </a:lnTo>
                  <a:lnTo>
                    <a:pt x="1170" y="1318"/>
                  </a:lnTo>
                  <a:lnTo>
                    <a:pt x="1172" y="1318"/>
                  </a:lnTo>
                  <a:lnTo>
                    <a:pt x="1173" y="1317"/>
                  </a:lnTo>
                  <a:lnTo>
                    <a:pt x="1173" y="1317"/>
                  </a:lnTo>
                  <a:lnTo>
                    <a:pt x="1173" y="1310"/>
                  </a:lnTo>
                  <a:lnTo>
                    <a:pt x="1173" y="1310"/>
                  </a:lnTo>
                  <a:lnTo>
                    <a:pt x="1176" y="1305"/>
                  </a:lnTo>
                  <a:lnTo>
                    <a:pt x="1177" y="1301"/>
                  </a:lnTo>
                  <a:lnTo>
                    <a:pt x="1181" y="1298"/>
                  </a:lnTo>
                  <a:lnTo>
                    <a:pt x="1186" y="1293"/>
                  </a:lnTo>
                  <a:lnTo>
                    <a:pt x="1185" y="1286"/>
                  </a:lnTo>
                  <a:lnTo>
                    <a:pt x="1187" y="1285"/>
                  </a:lnTo>
                  <a:lnTo>
                    <a:pt x="1187" y="1284"/>
                  </a:lnTo>
                  <a:lnTo>
                    <a:pt x="1186" y="1282"/>
                  </a:lnTo>
                  <a:lnTo>
                    <a:pt x="1185" y="1281"/>
                  </a:lnTo>
                  <a:lnTo>
                    <a:pt x="1183" y="1274"/>
                  </a:lnTo>
                  <a:lnTo>
                    <a:pt x="1183" y="1272"/>
                  </a:lnTo>
                  <a:lnTo>
                    <a:pt x="1181" y="1271"/>
                  </a:lnTo>
                  <a:lnTo>
                    <a:pt x="1179" y="1270"/>
                  </a:lnTo>
                  <a:lnTo>
                    <a:pt x="1178" y="1270"/>
                  </a:lnTo>
                  <a:lnTo>
                    <a:pt x="1177" y="1267"/>
                  </a:lnTo>
                  <a:lnTo>
                    <a:pt x="1178" y="1264"/>
                  </a:lnTo>
                  <a:lnTo>
                    <a:pt x="1179" y="1262"/>
                  </a:lnTo>
                  <a:lnTo>
                    <a:pt x="1181" y="1261"/>
                  </a:lnTo>
                  <a:lnTo>
                    <a:pt x="1183" y="1262"/>
                  </a:lnTo>
                  <a:lnTo>
                    <a:pt x="1183" y="1260"/>
                  </a:lnTo>
                  <a:lnTo>
                    <a:pt x="1181" y="1259"/>
                  </a:lnTo>
                  <a:lnTo>
                    <a:pt x="1179" y="1258"/>
                  </a:lnTo>
                  <a:lnTo>
                    <a:pt x="1178" y="1256"/>
                  </a:lnTo>
                  <a:lnTo>
                    <a:pt x="1177" y="1253"/>
                  </a:lnTo>
                  <a:lnTo>
                    <a:pt x="1178" y="1251"/>
                  </a:lnTo>
                  <a:lnTo>
                    <a:pt x="1177" y="1249"/>
                  </a:lnTo>
                  <a:lnTo>
                    <a:pt x="1176" y="1247"/>
                  </a:lnTo>
                  <a:lnTo>
                    <a:pt x="1174" y="1246"/>
                  </a:lnTo>
                  <a:lnTo>
                    <a:pt x="1175" y="1245"/>
                  </a:lnTo>
                  <a:lnTo>
                    <a:pt x="1176" y="1244"/>
                  </a:lnTo>
                  <a:lnTo>
                    <a:pt x="1177" y="1241"/>
                  </a:lnTo>
                  <a:lnTo>
                    <a:pt x="1175" y="1240"/>
                  </a:lnTo>
                  <a:lnTo>
                    <a:pt x="1169" y="1238"/>
                  </a:lnTo>
                  <a:lnTo>
                    <a:pt x="1167" y="1235"/>
                  </a:lnTo>
                  <a:lnTo>
                    <a:pt x="1167" y="1234"/>
                  </a:lnTo>
                  <a:lnTo>
                    <a:pt x="1168" y="1233"/>
                  </a:lnTo>
                  <a:lnTo>
                    <a:pt x="1169" y="1233"/>
                  </a:lnTo>
                  <a:lnTo>
                    <a:pt x="1170" y="1232"/>
                  </a:lnTo>
                  <a:lnTo>
                    <a:pt x="1171" y="1232"/>
                  </a:lnTo>
                  <a:lnTo>
                    <a:pt x="1171" y="1230"/>
                  </a:lnTo>
                  <a:lnTo>
                    <a:pt x="1169" y="1230"/>
                  </a:lnTo>
                  <a:lnTo>
                    <a:pt x="1166" y="1227"/>
                  </a:lnTo>
                  <a:lnTo>
                    <a:pt x="1166" y="1225"/>
                  </a:lnTo>
                  <a:lnTo>
                    <a:pt x="1171" y="1221"/>
                  </a:lnTo>
                  <a:lnTo>
                    <a:pt x="1173" y="1220"/>
                  </a:lnTo>
                  <a:lnTo>
                    <a:pt x="1172" y="1217"/>
                  </a:lnTo>
                  <a:lnTo>
                    <a:pt x="1172" y="1216"/>
                  </a:lnTo>
                  <a:lnTo>
                    <a:pt x="1173" y="1216"/>
                  </a:lnTo>
                  <a:lnTo>
                    <a:pt x="1174" y="1214"/>
                  </a:lnTo>
                  <a:lnTo>
                    <a:pt x="1175" y="1213"/>
                  </a:lnTo>
                  <a:lnTo>
                    <a:pt x="1174" y="1209"/>
                  </a:lnTo>
                  <a:lnTo>
                    <a:pt x="1176" y="1204"/>
                  </a:lnTo>
                  <a:lnTo>
                    <a:pt x="1175" y="1201"/>
                  </a:lnTo>
                  <a:lnTo>
                    <a:pt x="1177" y="1200"/>
                  </a:lnTo>
                  <a:lnTo>
                    <a:pt x="1182" y="1200"/>
                  </a:lnTo>
                  <a:lnTo>
                    <a:pt x="1184" y="1199"/>
                  </a:lnTo>
                  <a:lnTo>
                    <a:pt x="1185" y="1196"/>
                  </a:lnTo>
                  <a:lnTo>
                    <a:pt x="1185" y="1193"/>
                  </a:lnTo>
                  <a:lnTo>
                    <a:pt x="1186" y="1190"/>
                  </a:lnTo>
                  <a:lnTo>
                    <a:pt x="1187" y="1188"/>
                  </a:lnTo>
                  <a:lnTo>
                    <a:pt x="1187" y="1186"/>
                  </a:lnTo>
                  <a:lnTo>
                    <a:pt x="1186" y="1186"/>
                  </a:lnTo>
                  <a:lnTo>
                    <a:pt x="1183" y="1185"/>
                  </a:lnTo>
                  <a:lnTo>
                    <a:pt x="1185" y="1182"/>
                  </a:lnTo>
                  <a:lnTo>
                    <a:pt x="1188" y="1180"/>
                  </a:lnTo>
                  <a:lnTo>
                    <a:pt x="1191" y="1177"/>
                  </a:lnTo>
                  <a:lnTo>
                    <a:pt x="1191" y="1173"/>
                  </a:lnTo>
                  <a:lnTo>
                    <a:pt x="1190" y="1171"/>
                  </a:lnTo>
                  <a:lnTo>
                    <a:pt x="1190" y="1170"/>
                  </a:lnTo>
                  <a:lnTo>
                    <a:pt x="1190" y="1169"/>
                  </a:lnTo>
                  <a:lnTo>
                    <a:pt x="1191" y="1167"/>
                  </a:lnTo>
                  <a:lnTo>
                    <a:pt x="1195" y="1163"/>
                  </a:lnTo>
                  <a:lnTo>
                    <a:pt x="1195" y="1162"/>
                  </a:lnTo>
                  <a:lnTo>
                    <a:pt x="1196" y="1161"/>
                  </a:lnTo>
                  <a:lnTo>
                    <a:pt x="1197" y="1159"/>
                  </a:lnTo>
                  <a:lnTo>
                    <a:pt x="1198" y="1158"/>
                  </a:lnTo>
                  <a:lnTo>
                    <a:pt x="1201" y="1156"/>
                  </a:lnTo>
                  <a:lnTo>
                    <a:pt x="1202" y="1154"/>
                  </a:lnTo>
                  <a:lnTo>
                    <a:pt x="1202" y="1152"/>
                  </a:lnTo>
                  <a:lnTo>
                    <a:pt x="1202" y="1150"/>
                  </a:lnTo>
                  <a:lnTo>
                    <a:pt x="1204" y="1149"/>
                  </a:lnTo>
                  <a:lnTo>
                    <a:pt x="1208" y="1150"/>
                  </a:lnTo>
                  <a:lnTo>
                    <a:pt x="1210" y="1149"/>
                  </a:lnTo>
                  <a:lnTo>
                    <a:pt x="1211" y="1147"/>
                  </a:lnTo>
                  <a:lnTo>
                    <a:pt x="1213" y="1145"/>
                  </a:lnTo>
                  <a:lnTo>
                    <a:pt x="1213" y="1143"/>
                  </a:lnTo>
                  <a:lnTo>
                    <a:pt x="1212" y="1142"/>
                  </a:lnTo>
                  <a:lnTo>
                    <a:pt x="1212" y="1140"/>
                  </a:lnTo>
                  <a:lnTo>
                    <a:pt x="1212" y="1139"/>
                  </a:lnTo>
                  <a:lnTo>
                    <a:pt x="1216" y="1138"/>
                  </a:lnTo>
                  <a:lnTo>
                    <a:pt x="1219" y="1136"/>
                  </a:lnTo>
                  <a:lnTo>
                    <a:pt x="1221" y="1134"/>
                  </a:lnTo>
                  <a:lnTo>
                    <a:pt x="1223" y="1133"/>
                  </a:lnTo>
                  <a:lnTo>
                    <a:pt x="1224" y="1130"/>
                  </a:lnTo>
                  <a:lnTo>
                    <a:pt x="1224" y="1129"/>
                  </a:lnTo>
                  <a:lnTo>
                    <a:pt x="1224" y="1128"/>
                  </a:lnTo>
                  <a:lnTo>
                    <a:pt x="1225" y="1127"/>
                  </a:lnTo>
                  <a:lnTo>
                    <a:pt x="1226" y="1125"/>
                  </a:lnTo>
                  <a:lnTo>
                    <a:pt x="1227" y="1124"/>
                  </a:lnTo>
                  <a:lnTo>
                    <a:pt x="1228" y="1123"/>
                  </a:lnTo>
                  <a:lnTo>
                    <a:pt x="1229" y="1124"/>
                  </a:lnTo>
                  <a:lnTo>
                    <a:pt x="1230" y="1125"/>
                  </a:lnTo>
                  <a:lnTo>
                    <a:pt x="1234" y="1125"/>
                  </a:lnTo>
                  <a:lnTo>
                    <a:pt x="1235" y="1122"/>
                  </a:lnTo>
                  <a:lnTo>
                    <a:pt x="1234" y="1118"/>
                  </a:lnTo>
                  <a:lnTo>
                    <a:pt x="1229" y="1118"/>
                  </a:lnTo>
                  <a:lnTo>
                    <a:pt x="1230" y="1117"/>
                  </a:lnTo>
                  <a:lnTo>
                    <a:pt x="1230" y="1115"/>
                  </a:lnTo>
                  <a:lnTo>
                    <a:pt x="1230" y="1114"/>
                  </a:lnTo>
                  <a:lnTo>
                    <a:pt x="1231" y="1113"/>
                  </a:lnTo>
                  <a:lnTo>
                    <a:pt x="1230" y="1108"/>
                  </a:lnTo>
                  <a:lnTo>
                    <a:pt x="1233" y="1106"/>
                  </a:lnTo>
                  <a:lnTo>
                    <a:pt x="1237" y="1104"/>
                  </a:lnTo>
                  <a:lnTo>
                    <a:pt x="1259" y="1103"/>
                  </a:lnTo>
                  <a:lnTo>
                    <a:pt x="1265" y="1104"/>
                  </a:lnTo>
                  <a:lnTo>
                    <a:pt x="1269" y="1106"/>
                  </a:lnTo>
                  <a:lnTo>
                    <a:pt x="1276" y="1112"/>
                  </a:lnTo>
                  <a:lnTo>
                    <a:pt x="1280" y="1114"/>
                  </a:lnTo>
                  <a:lnTo>
                    <a:pt x="1284" y="1112"/>
                  </a:lnTo>
                  <a:lnTo>
                    <a:pt x="1286" y="1108"/>
                  </a:lnTo>
                  <a:lnTo>
                    <a:pt x="1289" y="1103"/>
                  </a:lnTo>
                  <a:lnTo>
                    <a:pt x="1292" y="1098"/>
                  </a:lnTo>
                  <a:lnTo>
                    <a:pt x="1304" y="1093"/>
                  </a:lnTo>
                  <a:lnTo>
                    <a:pt x="1319" y="1093"/>
                  </a:lnTo>
                  <a:lnTo>
                    <a:pt x="1347" y="1098"/>
                  </a:lnTo>
                  <a:lnTo>
                    <a:pt x="1365" y="1098"/>
                  </a:lnTo>
                  <a:lnTo>
                    <a:pt x="1365" y="1090"/>
                  </a:lnTo>
                  <a:lnTo>
                    <a:pt x="1364" y="1085"/>
                  </a:lnTo>
                  <a:lnTo>
                    <a:pt x="1362" y="1081"/>
                  </a:lnTo>
                  <a:lnTo>
                    <a:pt x="1354" y="1076"/>
                  </a:lnTo>
                  <a:lnTo>
                    <a:pt x="1353" y="1074"/>
                  </a:lnTo>
                  <a:lnTo>
                    <a:pt x="1352" y="1072"/>
                  </a:lnTo>
                  <a:lnTo>
                    <a:pt x="1351" y="1068"/>
                  </a:lnTo>
                  <a:lnTo>
                    <a:pt x="1352" y="1064"/>
                  </a:lnTo>
                  <a:lnTo>
                    <a:pt x="1353" y="1061"/>
                  </a:lnTo>
                  <a:lnTo>
                    <a:pt x="1354" y="1059"/>
                  </a:lnTo>
                  <a:lnTo>
                    <a:pt x="1352" y="1057"/>
                  </a:lnTo>
                  <a:lnTo>
                    <a:pt x="1346" y="1056"/>
                  </a:lnTo>
                  <a:lnTo>
                    <a:pt x="1343" y="1055"/>
                  </a:lnTo>
                  <a:lnTo>
                    <a:pt x="1341" y="1053"/>
                  </a:lnTo>
                  <a:lnTo>
                    <a:pt x="1338" y="1050"/>
                  </a:lnTo>
                  <a:lnTo>
                    <a:pt x="1333" y="1043"/>
                  </a:lnTo>
                  <a:lnTo>
                    <a:pt x="1335" y="1041"/>
                  </a:lnTo>
                  <a:lnTo>
                    <a:pt x="1337" y="1039"/>
                  </a:lnTo>
                  <a:lnTo>
                    <a:pt x="1339" y="1035"/>
                  </a:lnTo>
                  <a:lnTo>
                    <a:pt x="1340" y="1032"/>
                  </a:lnTo>
                  <a:lnTo>
                    <a:pt x="1340" y="1027"/>
                  </a:lnTo>
                  <a:lnTo>
                    <a:pt x="1339" y="1025"/>
                  </a:lnTo>
                  <a:lnTo>
                    <a:pt x="1337" y="1022"/>
                  </a:lnTo>
                  <a:lnTo>
                    <a:pt x="1336" y="1020"/>
                  </a:lnTo>
                  <a:lnTo>
                    <a:pt x="1336" y="1013"/>
                  </a:lnTo>
                  <a:lnTo>
                    <a:pt x="1337" y="1005"/>
                  </a:lnTo>
                  <a:lnTo>
                    <a:pt x="1337" y="999"/>
                  </a:lnTo>
                  <a:lnTo>
                    <a:pt x="1333" y="996"/>
                  </a:lnTo>
                  <a:lnTo>
                    <a:pt x="1331" y="994"/>
                  </a:lnTo>
                  <a:lnTo>
                    <a:pt x="1331" y="991"/>
                  </a:lnTo>
                  <a:lnTo>
                    <a:pt x="1332" y="989"/>
                  </a:lnTo>
                  <a:lnTo>
                    <a:pt x="1335" y="988"/>
                  </a:lnTo>
                  <a:lnTo>
                    <a:pt x="1333" y="985"/>
                  </a:lnTo>
                  <a:lnTo>
                    <a:pt x="1332" y="984"/>
                  </a:lnTo>
                  <a:lnTo>
                    <a:pt x="1334" y="984"/>
                  </a:lnTo>
                  <a:lnTo>
                    <a:pt x="1340" y="985"/>
                  </a:lnTo>
                  <a:lnTo>
                    <a:pt x="1342" y="984"/>
                  </a:lnTo>
                  <a:lnTo>
                    <a:pt x="1343" y="982"/>
                  </a:lnTo>
                  <a:lnTo>
                    <a:pt x="1341" y="979"/>
                  </a:lnTo>
                  <a:lnTo>
                    <a:pt x="1335" y="974"/>
                  </a:lnTo>
                  <a:lnTo>
                    <a:pt x="1333" y="971"/>
                  </a:lnTo>
                  <a:lnTo>
                    <a:pt x="1328" y="960"/>
                  </a:lnTo>
                  <a:lnTo>
                    <a:pt x="1321" y="951"/>
                  </a:lnTo>
                  <a:lnTo>
                    <a:pt x="1320" y="947"/>
                  </a:lnTo>
                  <a:lnTo>
                    <a:pt x="1320" y="947"/>
                  </a:lnTo>
                  <a:lnTo>
                    <a:pt x="1330" y="941"/>
                  </a:lnTo>
                  <a:lnTo>
                    <a:pt x="1334" y="936"/>
                  </a:lnTo>
                  <a:lnTo>
                    <a:pt x="1334" y="924"/>
                  </a:lnTo>
                  <a:lnTo>
                    <a:pt x="1332" y="919"/>
                  </a:lnTo>
                  <a:lnTo>
                    <a:pt x="1331" y="917"/>
                  </a:lnTo>
                  <a:lnTo>
                    <a:pt x="1329" y="916"/>
                  </a:lnTo>
                  <a:lnTo>
                    <a:pt x="1327" y="913"/>
                  </a:lnTo>
                  <a:lnTo>
                    <a:pt x="1325" y="908"/>
                  </a:lnTo>
                  <a:lnTo>
                    <a:pt x="1325" y="905"/>
                  </a:lnTo>
                  <a:lnTo>
                    <a:pt x="1323" y="903"/>
                  </a:lnTo>
                  <a:lnTo>
                    <a:pt x="1320" y="903"/>
                  </a:lnTo>
                  <a:lnTo>
                    <a:pt x="1315" y="901"/>
                  </a:lnTo>
                  <a:lnTo>
                    <a:pt x="1310" y="898"/>
                  </a:lnTo>
                  <a:lnTo>
                    <a:pt x="1305" y="893"/>
                  </a:lnTo>
                  <a:lnTo>
                    <a:pt x="1301" y="888"/>
                  </a:lnTo>
                  <a:lnTo>
                    <a:pt x="1297" y="874"/>
                  </a:lnTo>
                  <a:lnTo>
                    <a:pt x="1294" y="869"/>
                  </a:lnTo>
                  <a:lnTo>
                    <a:pt x="1283" y="860"/>
                  </a:lnTo>
                  <a:lnTo>
                    <a:pt x="1286" y="856"/>
                  </a:lnTo>
                  <a:lnTo>
                    <a:pt x="1294" y="843"/>
                  </a:lnTo>
                  <a:lnTo>
                    <a:pt x="1296" y="843"/>
                  </a:lnTo>
                  <a:lnTo>
                    <a:pt x="1299" y="842"/>
                  </a:lnTo>
                  <a:lnTo>
                    <a:pt x="1301" y="840"/>
                  </a:lnTo>
                  <a:lnTo>
                    <a:pt x="1302" y="837"/>
                  </a:lnTo>
                  <a:lnTo>
                    <a:pt x="1301" y="835"/>
                  </a:lnTo>
                  <a:lnTo>
                    <a:pt x="1301" y="832"/>
                  </a:lnTo>
                  <a:lnTo>
                    <a:pt x="1301" y="831"/>
                  </a:lnTo>
                  <a:lnTo>
                    <a:pt x="1300" y="828"/>
                  </a:lnTo>
                  <a:lnTo>
                    <a:pt x="1303" y="815"/>
                  </a:lnTo>
                  <a:lnTo>
                    <a:pt x="1309" y="811"/>
                  </a:lnTo>
                  <a:lnTo>
                    <a:pt x="1317" y="811"/>
                  </a:lnTo>
                  <a:lnTo>
                    <a:pt x="1325" y="812"/>
                  </a:lnTo>
                  <a:lnTo>
                    <a:pt x="1328" y="812"/>
                  </a:lnTo>
                  <a:lnTo>
                    <a:pt x="1334" y="809"/>
                  </a:lnTo>
                  <a:lnTo>
                    <a:pt x="1337" y="808"/>
                  </a:lnTo>
                  <a:lnTo>
                    <a:pt x="1341" y="808"/>
                  </a:lnTo>
                  <a:lnTo>
                    <a:pt x="1351" y="812"/>
                  </a:lnTo>
                  <a:lnTo>
                    <a:pt x="1353" y="813"/>
                  </a:lnTo>
                  <a:lnTo>
                    <a:pt x="1361" y="813"/>
                  </a:lnTo>
                  <a:lnTo>
                    <a:pt x="1363" y="814"/>
                  </a:lnTo>
                  <a:lnTo>
                    <a:pt x="1366" y="819"/>
                  </a:lnTo>
                  <a:lnTo>
                    <a:pt x="1367" y="830"/>
                  </a:lnTo>
                  <a:lnTo>
                    <a:pt x="1370" y="834"/>
                  </a:lnTo>
                  <a:lnTo>
                    <a:pt x="1372" y="835"/>
                  </a:lnTo>
                  <a:lnTo>
                    <a:pt x="1377" y="834"/>
                  </a:lnTo>
                  <a:lnTo>
                    <a:pt x="1379" y="835"/>
                  </a:lnTo>
                  <a:lnTo>
                    <a:pt x="1387" y="839"/>
                  </a:lnTo>
                  <a:lnTo>
                    <a:pt x="1391" y="840"/>
                  </a:lnTo>
                  <a:lnTo>
                    <a:pt x="1395" y="840"/>
                  </a:lnTo>
                  <a:lnTo>
                    <a:pt x="1399" y="838"/>
                  </a:lnTo>
                  <a:lnTo>
                    <a:pt x="1404" y="837"/>
                  </a:lnTo>
                  <a:lnTo>
                    <a:pt x="1415" y="842"/>
                  </a:lnTo>
                  <a:lnTo>
                    <a:pt x="1421" y="842"/>
                  </a:lnTo>
                  <a:lnTo>
                    <a:pt x="1422" y="841"/>
                  </a:lnTo>
                  <a:lnTo>
                    <a:pt x="1426" y="838"/>
                  </a:lnTo>
                  <a:lnTo>
                    <a:pt x="1432" y="837"/>
                  </a:lnTo>
                  <a:lnTo>
                    <a:pt x="1433" y="838"/>
                  </a:lnTo>
                  <a:lnTo>
                    <a:pt x="1434" y="838"/>
                  </a:lnTo>
                  <a:lnTo>
                    <a:pt x="1435" y="837"/>
                  </a:lnTo>
                  <a:lnTo>
                    <a:pt x="1435" y="836"/>
                  </a:lnTo>
                  <a:lnTo>
                    <a:pt x="1435" y="835"/>
                  </a:lnTo>
                  <a:lnTo>
                    <a:pt x="1435" y="834"/>
                  </a:lnTo>
                  <a:lnTo>
                    <a:pt x="1435" y="833"/>
                  </a:lnTo>
                  <a:lnTo>
                    <a:pt x="1435" y="831"/>
                  </a:lnTo>
                  <a:lnTo>
                    <a:pt x="1436" y="830"/>
                  </a:lnTo>
                  <a:lnTo>
                    <a:pt x="1445" y="830"/>
                  </a:lnTo>
                  <a:lnTo>
                    <a:pt x="1449" y="826"/>
                  </a:lnTo>
                  <a:lnTo>
                    <a:pt x="1453" y="820"/>
                  </a:lnTo>
                  <a:lnTo>
                    <a:pt x="1458" y="816"/>
                  </a:lnTo>
                  <a:lnTo>
                    <a:pt x="1464" y="814"/>
                  </a:lnTo>
                  <a:lnTo>
                    <a:pt x="1466" y="813"/>
                  </a:lnTo>
                  <a:lnTo>
                    <a:pt x="1469" y="810"/>
                  </a:lnTo>
                  <a:lnTo>
                    <a:pt x="1474" y="801"/>
                  </a:lnTo>
                  <a:lnTo>
                    <a:pt x="1477" y="796"/>
                  </a:lnTo>
                  <a:lnTo>
                    <a:pt x="1478" y="791"/>
                  </a:lnTo>
                  <a:lnTo>
                    <a:pt x="1474" y="790"/>
                  </a:lnTo>
                  <a:lnTo>
                    <a:pt x="1473" y="787"/>
                  </a:lnTo>
                  <a:lnTo>
                    <a:pt x="1474" y="784"/>
                  </a:lnTo>
                  <a:lnTo>
                    <a:pt x="1478" y="783"/>
                  </a:lnTo>
                  <a:lnTo>
                    <a:pt x="1482" y="785"/>
                  </a:lnTo>
                  <a:lnTo>
                    <a:pt x="1487" y="786"/>
                  </a:lnTo>
                  <a:lnTo>
                    <a:pt x="1492" y="785"/>
                  </a:lnTo>
                  <a:lnTo>
                    <a:pt x="1497" y="782"/>
                  </a:lnTo>
                  <a:lnTo>
                    <a:pt x="1496" y="781"/>
                  </a:lnTo>
                  <a:lnTo>
                    <a:pt x="1495" y="779"/>
                  </a:lnTo>
                  <a:lnTo>
                    <a:pt x="1494" y="778"/>
                  </a:lnTo>
                  <a:lnTo>
                    <a:pt x="1505" y="775"/>
                  </a:lnTo>
                  <a:lnTo>
                    <a:pt x="1508" y="776"/>
                  </a:lnTo>
                  <a:lnTo>
                    <a:pt x="1510" y="777"/>
                  </a:lnTo>
                  <a:lnTo>
                    <a:pt x="1513" y="777"/>
                  </a:lnTo>
                  <a:lnTo>
                    <a:pt x="1516" y="775"/>
                  </a:lnTo>
                  <a:lnTo>
                    <a:pt x="1514" y="766"/>
                  </a:lnTo>
                  <a:lnTo>
                    <a:pt x="1516" y="749"/>
                  </a:lnTo>
                  <a:lnTo>
                    <a:pt x="1516" y="747"/>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21" name="Freeform 55">
              <a:extLst>
                <a:ext uri="{FF2B5EF4-FFF2-40B4-BE49-F238E27FC236}">
                  <a16:creationId xmlns:a16="http://schemas.microsoft.com/office/drawing/2014/main" id="{97DCBDB8-8A63-4789-A335-4A6241617153}"/>
                </a:ext>
              </a:extLst>
            </p:cNvPr>
            <p:cNvSpPr>
              <a:spLocks/>
            </p:cNvSpPr>
            <p:nvPr/>
          </p:nvSpPr>
          <p:spPr bwMode="gray">
            <a:xfrm>
              <a:off x="8187338" y="5653282"/>
              <a:ext cx="35526" cy="29293"/>
            </a:xfrm>
            <a:custGeom>
              <a:avLst/>
              <a:gdLst>
                <a:gd name="T0" fmla="*/ 56 w 57"/>
                <a:gd name="T1" fmla="*/ 17 h 47"/>
                <a:gd name="T2" fmla="*/ 55 w 57"/>
                <a:gd name="T3" fmla="*/ 15 h 47"/>
                <a:gd name="T4" fmla="*/ 51 w 57"/>
                <a:gd name="T5" fmla="*/ 14 h 47"/>
                <a:gd name="T6" fmla="*/ 49 w 57"/>
                <a:gd name="T7" fmla="*/ 13 h 47"/>
                <a:gd name="T8" fmla="*/ 50 w 57"/>
                <a:gd name="T9" fmla="*/ 8 h 47"/>
                <a:gd name="T10" fmla="*/ 32 w 57"/>
                <a:gd name="T11" fmla="*/ 7 h 47"/>
                <a:gd name="T12" fmla="*/ 30 w 57"/>
                <a:gd name="T13" fmla="*/ 6 h 47"/>
                <a:gd name="T14" fmla="*/ 22 w 57"/>
                <a:gd name="T15" fmla="*/ 0 h 47"/>
                <a:gd name="T16" fmla="*/ 19 w 57"/>
                <a:gd name="T17" fmla="*/ 0 h 47"/>
                <a:gd name="T18" fmla="*/ 14 w 57"/>
                <a:gd name="T19" fmla="*/ 2 h 47"/>
                <a:gd name="T20" fmla="*/ 9 w 57"/>
                <a:gd name="T21" fmla="*/ 1 h 47"/>
                <a:gd name="T22" fmla="*/ 7 w 57"/>
                <a:gd name="T23" fmla="*/ 10 h 47"/>
                <a:gd name="T24" fmla="*/ 3 w 57"/>
                <a:gd name="T25" fmla="*/ 11 h 47"/>
                <a:gd name="T26" fmla="*/ 3 w 57"/>
                <a:gd name="T27" fmla="*/ 13 h 47"/>
                <a:gd name="T28" fmla="*/ 2 w 57"/>
                <a:gd name="T29" fmla="*/ 15 h 47"/>
                <a:gd name="T30" fmla="*/ 2 w 57"/>
                <a:gd name="T31" fmla="*/ 17 h 47"/>
                <a:gd name="T32" fmla="*/ 3 w 57"/>
                <a:gd name="T33" fmla="*/ 18 h 47"/>
                <a:gd name="T34" fmla="*/ 3 w 57"/>
                <a:gd name="T35" fmla="*/ 18 h 47"/>
                <a:gd name="T36" fmla="*/ 0 w 57"/>
                <a:gd name="T37" fmla="*/ 23 h 47"/>
                <a:gd name="T38" fmla="*/ 0 w 57"/>
                <a:gd name="T39" fmla="*/ 26 h 47"/>
                <a:gd name="T40" fmla="*/ 3 w 57"/>
                <a:gd name="T41" fmla="*/ 25 h 47"/>
                <a:gd name="T42" fmla="*/ 6 w 57"/>
                <a:gd name="T43" fmla="*/ 27 h 47"/>
                <a:gd name="T44" fmla="*/ 7 w 57"/>
                <a:gd name="T45" fmla="*/ 31 h 47"/>
                <a:gd name="T46" fmla="*/ 4 w 57"/>
                <a:gd name="T47" fmla="*/ 33 h 47"/>
                <a:gd name="T48" fmla="*/ 3 w 57"/>
                <a:gd name="T49" fmla="*/ 33 h 47"/>
                <a:gd name="T50" fmla="*/ 0 w 57"/>
                <a:gd name="T51" fmla="*/ 35 h 47"/>
                <a:gd name="T52" fmla="*/ 5 w 57"/>
                <a:gd name="T53" fmla="*/ 42 h 47"/>
                <a:gd name="T54" fmla="*/ 5 w 57"/>
                <a:gd name="T55" fmla="*/ 44 h 47"/>
                <a:gd name="T56" fmla="*/ 7 w 57"/>
                <a:gd name="T57" fmla="*/ 46 h 47"/>
                <a:gd name="T58" fmla="*/ 16 w 57"/>
                <a:gd name="T59" fmla="*/ 47 h 47"/>
                <a:gd name="T60" fmla="*/ 17 w 57"/>
                <a:gd name="T61" fmla="*/ 47 h 47"/>
                <a:gd name="T62" fmla="*/ 19 w 57"/>
                <a:gd name="T63" fmla="*/ 46 h 47"/>
                <a:gd name="T64" fmla="*/ 20 w 57"/>
                <a:gd name="T65" fmla="*/ 45 h 47"/>
                <a:gd name="T66" fmla="*/ 21 w 57"/>
                <a:gd name="T67" fmla="*/ 43 h 47"/>
                <a:gd name="T68" fmla="*/ 22 w 57"/>
                <a:gd name="T69" fmla="*/ 42 h 47"/>
                <a:gd name="T70" fmla="*/ 32 w 57"/>
                <a:gd name="T71" fmla="*/ 41 h 47"/>
                <a:gd name="T72" fmla="*/ 37 w 57"/>
                <a:gd name="T73" fmla="*/ 39 h 47"/>
                <a:gd name="T74" fmla="*/ 39 w 57"/>
                <a:gd name="T75" fmla="*/ 33 h 47"/>
                <a:gd name="T76" fmla="*/ 39 w 57"/>
                <a:gd name="T77" fmla="*/ 32 h 47"/>
                <a:gd name="T78" fmla="*/ 40 w 57"/>
                <a:gd name="T79" fmla="*/ 32 h 47"/>
                <a:gd name="T80" fmla="*/ 40 w 57"/>
                <a:gd name="T81" fmla="*/ 32 h 47"/>
                <a:gd name="T82" fmla="*/ 41 w 57"/>
                <a:gd name="T83" fmla="*/ 33 h 47"/>
                <a:gd name="T84" fmla="*/ 42 w 57"/>
                <a:gd name="T85" fmla="*/ 34 h 47"/>
                <a:gd name="T86" fmla="*/ 44 w 57"/>
                <a:gd name="T87" fmla="*/ 34 h 47"/>
                <a:gd name="T88" fmla="*/ 46 w 57"/>
                <a:gd name="T89" fmla="*/ 33 h 47"/>
                <a:gd name="T90" fmla="*/ 48 w 57"/>
                <a:gd name="T91" fmla="*/ 31 h 47"/>
                <a:gd name="T92" fmla="*/ 48 w 57"/>
                <a:gd name="T93" fmla="*/ 26 h 47"/>
                <a:gd name="T94" fmla="*/ 50 w 57"/>
                <a:gd name="T95" fmla="*/ 21 h 47"/>
                <a:gd name="T96" fmla="*/ 53 w 57"/>
                <a:gd name="T97" fmla="*/ 18 h 47"/>
                <a:gd name="T98" fmla="*/ 57 w 57"/>
                <a:gd name="T99" fmla="*/ 18 h 47"/>
                <a:gd name="T100" fmla="*/ 56 w 57"/>
                <a:gd name="T101"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7" h="47">
                  <a:moveTo>
                    <a:pt x="56" y="17"/>
                  </a:moveTo>
                  <a:lnTo>
                    <a:pt x="55" y="15"/>
                  </a:lnTo>
                  <a:lnTo>
                    <a:pt x="51" y="14"/>
                  </a:lnTo>
                  <a:lnTo>
                    <a:pt x="49" y="13"/>
                  </a:lnTo>
                  <a:lnTo>
                    <a:pt x="50" y="8"/>
                  </a:lnTo>
                  <a:lnTo>
                    <a:pt x="32" y="7"/>
                  </a:lnTo>
                  <a:lnTo>
                    <a:pt x="30" y="6"/>
                  </a:lnTo>
                  <a:lnTo>
                    <a:pt x="22" y="0"/>
                  </a:lnTo>
                  <a:lnTo>
                    <a:pt x="19" y="0"/>
                  </a:lnTo>
                  <a:lnTo>
                    <a:pt x="14" y="2"/>
                  </a:lnTo>
                  <a:lnTo>
                    <a:pt x="9" y="1"/>
                  </a:lnTo>
                  <a:lnTo>
                    <a:pt x="7" y="10"/>
                  </a:lnTo>
                  <a:lnTo>
                    <a:pt x="3" y="11"/>
                  </a:lnTo>
                  <a:lnTo>
                    <a:pt x="3" y="13"/>
                  </a:lnTo>
                  <a:lnTo>
                    <a:pt x="2" y="15"/>
                  </a:lnTo>
                  <a:lnTo>
                    <a:pt x="2" y="17"/>
                  </a:lnTo>
                  <a:lnTo>
                    <a:pt x="3" y="18"/>
                  </a:lnTo>
                  <a:lnTo>
                    <a:pt x="3" y="18"/>
                  </a:lnTo>
                  <a:lnTo>
                    <a:pt x="0" y="23"/>
                  </a:lnTo>
                  <a:lnTo>
                    <a:pt x="0" y="26"/>
                  </a:lnTo>
                  <a:lnTo>
                    <a:pt x="3" y="25"/>
                  </a:lnTo>
                  <a:lnTo>
                    <a:pt x="6" y="27"/>
                  </a:lnTo>
                  <a:lnTo>
                    <a:pt x="7" y="31"/>
                  </a:lnTo>
                  <a:lnTo>
                    <a:pt x="4" y="33"/>
                  </a:lnTo>
                  <a:lnTo>
                    <a:pt x="3" y="33"/>
                  </a:lnTo>
                  <a:lnTo>
                    <a:pt x="0" y="35"/>
                  </a:lnTo>
                  <a:lnTo>
                    <a:pt x="5" y="42"/>
                  </a:lnTo>
                  <a:lnTo>
                    <a:pt x="5" y="44"/>
                  </a:lnTo>
                  <a:lnTo>
                    <a:pt x="7" y="46"/>
                  </a:lnTo>
                  <a:lnTo>
                    <a:pt x="16" y="47"/>
                  </a:lnTo>
                  <a:lnTo>
                    <a:pt x="17" y="47"/>
                  </a:lnTo>
                  <a:lnTo>
                    <a:pt x="19" y="46"/>
                  </a:lnTo>
                  <a:lnTo>
                    <a:pt x="20" y="45"/>
                  </a:lnTo>
                  <a:lnTo>
                    <a:pt x="21" y="43"/>
                  </a:lnTo>
                  <a:lnTo>
                    <a:pt x="22" y="42"/>
                  </a:lnTo>
                  <a:lnTo>
                    <a:pt x="32" y="41"/>
                  </a:lnTo>
                  <a:lnTo>
                    <a:pt x="37" y="39"/>
                  </a:lnTo>
                  <a:lnTo>
                    <a:pt x="39" y="33"/>
                  </a:lnTo>
                  <a:lnTo>
                    <a:pt x="39" y="32"/>
                  </a:lnTo>
                  <a:lnTo>
                    <a:pt x="40" y="32"/>
                  </a:lnTo>
                  <a:lnTo>
                    <a:pt x="40" y="32"/>
                  </a:lnTo>
                  <a:lnTo>
                    <a:pt x="41" y="33"/>
                  </a:lnTo>
                  <a:lnTo>
                    <a:pt x="42" y="34"/>
                  </a:lnTo>
                  <a:lnTo>
                    <a:pt x="44" y="34"/>
                  </a:lnTo>
                  <a:lnTo>
                    <a:pt x="46" y="33"/>
                  </a:lnTo>
                  <a:lnTo>
                    <a:pt x="48" y="31"/>
                  </a:lnTo>
                  <a:lnTo>
                    <a:pt x="48" y="26"/>
                  </a:lnTo>
                  <a:lnTo>
                    <a:pt x="50" y="21"/>
                  </a:lnTo>
                  <a:lnTo>
                    <a:pt x="53" y="18"/>
                  </a:lnTo>
                  <a:lnTo>
                    <a:pt x="57" y="18"/>
                  </a:lnTo>
                  <a:lnTo>
                    <a:pt x="56" y="17"/>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22" name="Freeform 56">
              <a:extLst>
                <a:ext uri="{FF2B5EF4-FFF2-40B4-BE49-F238E27FC236}">
                  <a16:creationId xmlns:a16="http://schemas.microsoft.com/office/drawing/2014/main" id="{B4FD63EE-20F2-4A1B-BFA3-FC3B75CBB1CD}"/>
                </a:ext>
              </a:extLst>
            </p:cNvPr>
            <p:cNvSpPr>
              <a:spLocks/>
            </p:cNvSpPr>
            <p:nvPr/>
          </p:nvSpPr>
          <p:spPr bwMode="gray">
            <a:xfrm>
              <a:off x="9954894" y="5652035"/>
              <a:ext cx="174512" cy="395768"/>
            </a:xfrm>
            <a:custGeom>
              <a:avLst/>
              <a:gdLst>
                <a:gd name="T0" fmla="*/ 265 w 280"/>
                <a:gd name="T1" fmla="*/ 401 h 635"/>
                <a:gd name="T2" fmla="*/ 248 w 280"/>
                <a:gd name="T3" fmla="*/ 368 h 635"/>
                <a:gd name="T4" fmla="*/ 221 w 280"/>
                <a:gd name="T5" fmla="*/ 339 h 635"/>
                <a:gd name="T6" fmla="*/ 206 w 280"/>
                <a:gd name="T7" fmla="*/ 329 h 635"/>
                <a:gd name="T8" fmla="*/ 192 w 280"/>
                <a:gd name="T9" fmla="*/ 280 h 635"/>
                <a:gd name="T10" fmla="*/ 198 w 280"/>
                <a:gd name="T11" fmla="*/ 262 h 635"/>
                <a:gd name="T12" fmla="*/ 189 w 280"/>
                <a:gd name="T13" fmla="*/ 249 h 635"/>
                <a:gd name="T14" fmla="*/ 200 w 280"/>
                <a:gd name="T15" fmla="*/ 229 h 635"/>
                <a:gd name="T16" fmla="*/ 202 w 280"/>
                <a:gd name="T17" fmla="*/ 186 h 635"/>
                <a:gd name="T18" fmla="*/ 205 w 280"/>
                <a:gd name="T19" fmla="*/ 163 h 635"/>
                <a:gd name="T20" fmla="*/ 209 w 280"/>
                <a:gd name="T21" fmla="*/ 142 h 635"/>
                <a:gd name="T22" fmla="*/ 188 w 280"/>
                <a:gd name="T23" fmla="*/ 87 h 635"/>
                <a:gd name="T24" fmla="*/ 150 w 280"/>
                <a:gd name="T25" fmla="*/ 61 h 635"/>
                <a:gd name="T26" fmla="*/ 144 w 280"/>
                <a:gd name="T27" fmla="*/ 46 h 635"/>
                <a:gd name="T28" fmla="*/ 122 w 280"/>
                <a:gd name="T29" fmla="*/ 21 h 635"/>
                <a:gd name="T30" fmla="*/ 89 w 280"/>
                <a:gd name="T31" fmla="*/ 40 h 635"/>
                <a:gd name="T32" fmla="*/ 73 w 280"/>
                <a:gd name="T33" fmla="*/ 22 h 635"/>
                <a:gd name="T34" fmla="*/ 68 w 280"/>
                <a:gd name="T35" fmla="*/ 0 h 635"/>
                <a:gd name="T36" fmla="*/ 48 w 280"/>
                <a:gd name="T37" fmla="*/ 29 h 635"/>
                <a:gd name="T38" fmla="*/ 31 w 280"/>
                <a:gd name="T39" fmla="*/ 51 h 635"/>
                <a:gd name="T40" fmla="*/ 0 w 280"/>
                <a:gd name="T41" fmla="*/ 102 h 635"/>
                <a:gd name="T42" fmla="*/ 12 w 280"/>
                <a:gd name="T43" fmla="*/ 131 h 635"/>
                <a:gd name="T44" fmla="*/ 11 w 280"/>
                <a:gd name="T45" fmla="*/ 149 h 635"/>
                <a:gd name="T46" fmla="*/ 15 w 280"/>
                <a:gd name="T47" fmla="*/ 164 h 635"/>
                <a:gd name="T48" fmla="*/ 52 w 280"/>
                <a:gd name="T49" fmla="*/ 188 h 635"/>
                <a:gd name="T50" fmla="*/ 52 w 280"/>
                <a:gd name="T51" fmla="*/ 217 h 635"/>
                <a:gd name="T52" fmla="*/ 45 w 280"/>
                <a:gd name="T53" fmla="*/ 229 h 635"/>
                <a:gd name="T54" fmla="*/ 39 w 280"/>
                <a:gd name="T55" fmla="*/ 244 h 635"/>
                <a:gd name="T56" fmla="*/ 20 w 280"/>
                <a:gd name="T57" fmla="*/ 267 h 635"/>
                <a:gd name="T58" fmla="*/ 36 w 280"/>
                <a:gd name="T59" fmla="*/ 290 h 635"/>
                <a:gd name="T60" fmla="*/ 26 w 280"/>
                <a:gd name="T61" fmla="*/ 323 h 635"/>
                <a:gd name="T62" fmla="*/ 31 w 280"/>
                <a:gd name="T63" fmla="*/ 352 h 635"/>
                <a:gd name="T64" fmla="*/ 35 w 280"/>
                <a:gd name="T65" fmla="*/ 357 h 635"/>
                <a:gd name="T66" fmla="*/ 26 w 280"/>
                <a:gd name="T67" fmla="*/ 377 h 635"/>
                <a:gd name="T68" fmla="*/ 24 w 280"/>
                <a:gd name="T69" fmla="*/ 364 h 635"/>
                <a:gd name="T70" fmla="*/ 20 w 280"/>
                <a:gd name="T71" fmla="*/ 382 h 635"/>
                <a:gd name="T72" fmla="*/ 14 w 280"/>
                <a:gd name="T73" fmla="*/ 409 h 635"/>
                <a:gd name="T74" fmla="*/ 18 w 280"/>
                <a:gd name="T75" fmla="*/ 445 h 635"/>
                <a:gd name="T76" fmla="*/ 21 w 280"/>
                <a:gd name="T77" fmla="*/ 451 h 635"/>
                <a:gd name="T78" fmla="*/ 33 w 280"/>
                <a:gd name="T79" fmla="*/ 469 h 635"/>
                <a:gd name="T80" fmla="*/ 17 w 280"/>
                <a:gd name="T81" fmla="*/ 478 h 635"/>
                <a:gd name="T82" fmla="*/ 6 w 280"/>
                <a:gd name="T83" fmla="*/ 477 h 635"/>
                <a:gd name="T84" fmla="*/ 51 w 280"/>
                <a:gd name="T85" fmla="*/ 527 h 635"/>
                <a:gd name="T86" fmla="*/ 78 w 280"/>
                <a:gd name="T87" fmla="*/ 544 h 635"/>
                <a:gd name="T88" fmla="*/ 87 w 280"/>
                <a:gd name="T89" fmla="*/ 549 h 635"/>
                <a:gd name="T90" fmla="*/ 100 w 280"/>
                <a:gd name="T91" fmla="*/ 578 h 635"/>
                <a:gd name="T92" fmla="*/ 109 w 280"/>
                <a:gd name="T93" fmla="*/ 585 h 635"/>
                <a:gd name="T94" fmla="*/ 116 w 280"/>
                <a:gd name="T95" fmla="*/ 611 h 635"/>
                <a:gd name="T96" fmla="*/ 123 w 280"/>
                <a:gd name="T97" fmla="*/ 623 h 635"/>
                <a:gd name="T98" fmla="*/ 149 w 280"/>
                <a:gd name="T99" fmla="*/ 628 h 635"/>
                <a:gd name="T100" fmla="*/ 163 w 280"/>
                <a:gd name="T101" fmla="*/ 616 h 635"/>
                <a:gd name="T102" fmla="*/ 161 w 280"/>
                <a:gd name="T103" fmla="*/ 605 h 635"/>
                <a:gd name="T104" fmla="*/ 172 w 280"/>
                <a:gd name="T105" fmla="*/ 604 h 635"/>
                <a:gd name="T106" fmla="*/ 162 w 280"/>
                <a:gd name="T107" fmla="*/ 562 h 635"/>
                <a:gd name="T108" fmla="*/ 189 w 280"/>
                <a:gd name="T109" fmla="*/ 547 h 635"/>
                <a:gd name="T110" fmla="*/ 221 w 280"/>
                <a:gd name="T111" fmla="*/ 532 h 635"/>
                <a:gd name="T112" fmla="*/ 226 w 280"/>
                <a:gd name="T113" fmla="*/ 515 h 635"/>
                <a:gd name="T114" fmla="*/ 235 w 280"/>
                <a:gd name="T115" fmla="*/ 490 h 635"/>
                <a:gd name="T116" fmla="*/ 244 w 280"/>
                <a:gd name="T117" fmla="*/ 469 h 635"/>
                <a:gd name="T118" fmla="*/ 265 w 280"/>
                <a:gd name="T119" fmla="*/ 460 h 635"/>
                <a:gd name="T120" fmla="*/ 275 w 280"/>
                <a:gd name="T121" fmla="*/ 447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0" h="635">
                  <a:moveTo>
                    <a:pt x="279" y="423"/>
                  </a:moveTo>
                  <a:lnTo>
                    <a:pt x="279" y="419"/>
                  </a:lnTo>
                  <a:lnTo>
                    <a:pt x="277" y="416"/>
                  </a:lnTo>
                  <a:lnTo>
                    <a:pt x="273" y="411"/>
                  </a:lnTo>
                  <a:lnTo>
                    <a:pt x="268" y="407"/>
                  </a:lnTo>
                  <a:lnTo>
                    <a:pt x="268" y="406"/>
                  </a:lnTo>
                  <a:lnTo>
                    <a:pt x="267" y="404"/>
                  </a:lnTo>
                  <a:lnTo>
                    <a:pt x="267" y="402"/>
                  </a:lnTo>
                  <a:lnTo>
                    <a:pt x="265" y="401"/>
                  </a:lnTo>
                  <a:lnTo>
                    <a:pt x="268" y="398"/>
                  </a:lnTo>
                  <a:lnTo>
                    <a:pt x="269" y="393"/>
                  </a:lnTo>
                  <a:lnTo>
                    <a:pt x="269" y="383"/>
                  </a:lnTo>
                  <a:lnTo>
                    <a:pt x="269" y="378"/>
                  </a:lnTo>
                  <a:lnTo>
                    <a:pt x="267" y="374"/>
                  </a:lnTo>
                  <a:lnTo>
                    <a:pt x="265" y="371"/>
                  </a:lnTo>
                  <a:lnTo>
                    <a:pt x="257" y="369"/>
                  </a:lnTo>
                  <a:lnTo>
                    <a:pt x="248" y="368"/>
                  </a:lnTo>
                  <a:lnTo>
                    <a:pt x="248" y="368"/>
                  </a:lnTo>
                  <a:lnTo>
                    <a:pt x="245" y="368"/>
                  </a:lnTo>
                  <a:lnTo>
                    <a:pt x="240" y="373"/>
                  </a:lnTo>
                  <a:lnTo>
                    <a:pt x="237" y="374"/>
                  </a:lnTo>
                  <a:lnTo>
                    <a:pt x="233" y="373"/>
                  </a:lnTo>
                  <a:lnTo>
                    <a:pt x="231" y="372"/>
                  </a:lnTo>
                  <a:lnTo>
                    <a:pt x="229" y="370"/>
                  </a:lnTo>
                  <a:lnTo>
                    <a:pt x="227" y="365"/>
                  </a:lnTo>
                  <a:lnTo>
                    <a:pt x="224" y="353"/>
                  </a:lnTo>
                  <a:lnTo>
                    <a:pt x="221" y="339"/>
                  </a:lnTo>
                  <a:lnTo>
                    <a:pt x="219" y="336"/>
                  </a:lnTo>
                  <a:lnTo>
                    <a:pt x="217" y="335"/>
                  </a:lnTo>
                  <a:lnTo>
                    <a:pt x="216" y="334"/>
                  </a:lnTo>
                  <a:lnTo>
                    <a:pt x="216" y="334"/>
                  </a:lnTo>
                  <a:lnTo>
                    <a:pt x="214" y="334"/>
                  </a:lnTo>
                  <a:lnTo>
                    <a:pt x="211" y="334"/>
                  </a:lnTo>
                  <a:lnTo>
                    <a:pt x="210" y="334"/>
                  </a:lnTo>
                  <a:lnTo>
                    <a:pt x="207" y="332"/>
                  </a:lnTo>
                  <a:lnTo>
                    <a:pt x="206" y="329"/>
                  </a:lnTo>
                  <a:lnTo>
                    <a:pt x="206" y="326"/>
                  </a:lnTo>
                  <a:lnTo>
                    <a:pt x="205" y="321"/>
                  </a:lnTo>
                  <a:lnTo>
                    <a:pt x="202" y="316"/>
                  </a:lnTo>
                  <a:lnTo>
                    <a:pt x="197" y="308"/>
                  </a:lnTo>
                  <a:lnTo>
                    <a:pt x="195" y="302"/>
                  </a:lnTo>
                  <a:lnTo>
                    <a:pt x="192" y="291"/>
                  </a:lnTo>
                  <a:lnTo>
                    <a:pt x="191" y="285"/>
                  </a:lnTo>
                  <a:lnTo>
                    <a:pt x="191" y="284"/>
                  </a:lnTo>
                  <a:lnTo>
                    <a:pt x="192" y="280"/>
                  </a:lnTo>
                  <a:lnTo>
                    <a:pt x="194" y="281"/>
                  </a:lnTo>
                  <a:lnTo>
                    <a:pt x="196" y="279"/>
                  </a:lnTo>
                  <a:lnTo>
                    <a:pt x="198" y="277"/>
                  </a:lnTo>
                  <a:lnTo>
                    <a:pt x="200" y="274"/>
                  </a:lnTo>
                  <a:lnTo>
                    <a:pt x="201" y="270"/>
                  </a:lnTo>
                  <a:lnTo>
                    <a:pt x="201" y="268"/>
                  </a:lnTo>
                  <a:lnTo>
                    <a:pt x="201" y="267"/>
                  </a:lnTo>
                  <a:lnTo>
                    <a:pt x="200" y="265"/>
                  </a:lnTo>
                  <a:lnTo>
                    <a:pt x="198" y="262"/>
                  </a:lnTo>
                  <a:lnTo>
                    <a:pt x="197" y="262"/>
                  </a:lnTo>
                  <a:lnTo>
                    <a:pt x="194" y="261"/>
                  </a:lnTo>
                  <a:lnTo>
                    <a:pt x="193" y="260"/>
                  </a:lnTo>
                  <a:lnTo>
                    <a:pt x="193" y="259"/>
                  </a:lnTo>
                  <a:lnTo>
                    <a:pt x="192" y="255"/>
                  </a:lnTo>
                  <a:lnTo>
                    <a:pt x="192" y="254"/>
                  </a:lnTo>
                  <a:lnTo>
                    <a:pt x="192" y="253"/>
                  </a:lnTo>
                  <a:lnTo>
                    <a:pt x="190" y="250"/>
                  </a:lnTo>
                  <a:lnTo>
                    <a:pt x="189" y="249"/>
                  </a:lnTo>
                  <a:lnTo>
                    <a:pt x="187" y="248"/>
                  </a:lnTo>
                  <a:lnTo>
                    <a:pt x="186" y="245"/>
                  </a:lnTo>
                  <a:lnTo>
                    <a:pt x="187" y="239"/>
                  </a:lnTo>
                  <a:lnTo>
                    <a:pt x="186" y="236"/>
                  </a:lnTo>
                  <a:lnTo>
                    <a:pt x="194" y="235"/>
                  </a:lnTo>
                  <a:lnTo>
                    <a:pt x="196" y="234"/>
                  </a:lnTo>
                  <a:lnTo>
                    <a:pt x="198" y="232"/>
                  </a:lnTo>
                  <a:lnTo>
                    <a:pt x="199" y="231"/>
                  </a:lnTo>
                  <a:lnTo>
                    <a:pt x="200" y="229"/>
                  </a:lnTo>
                  <a:lnTo>
                    <a:pt x="200" y="228"/>
                  </a:lnTo>
                  <a:lnTo>
                    <a:pt x="200" y="227"/>
                  </a:lnTo>
                  <a:lnTo>
                    <a:pt x="197" y="217"/>
                  </a:lnTo>
                  <a:lnTo>
                    <a:pt x="196" y="212"/>
                  </a:lnTo>
                  <a:lnTo>
                    <a:pt x="195" y="197"/>
                  </a:lnTo>
                  <a:lnTo>
                    <a:pt x="195" y="195"/>
                  </a:lnTo>
                  <a:lnTo>
                    <a:pt x="196" y="192"/>
                  </a:lnTo>
                  <a:lnTo>
                    <a:pt x="198" y="190"/>
                  </a:lnTo>
                  <a:lnTo>
                    <a:pt x="202" y="186"/>
                  </a:lnTo>
                  <a:lnTo>
                    <a:pt x="203" y="185"/>
                  </a:lnTo>
                  <a:lnTo>
                    <a:pt x="203" y="183"/>
                  </a:lnTo>
                  <a:lnTo>
                    <a:pt x="202" y="180"/>
                  </a:lnTo>
                  <a:lnTo>
                    <a:pt x="201" y="175"/>
                  </a:lnTo>
                  <a:lnTo>
                    <a:pt x="201" y="174"/>
                  </a:lnTo>
                  <a:lnTo>
                    <a:pt x="201" y="170"/>
                  </a:lnTo>
                  <a:lnTo>
                    <a:pt x="205" y="168"/>
                  </a:lnTo>
                  <a:lnTo>
                    <a:pt x="206" y="166"/>
                  </a:lnTo>
                  <a:lnTo>
                    <a:pt x="205" y="163"/>
                  </a:lnTo>
                  <a:lnTo>
                    <a:pt x="205" y="162"/>
                  </a:lnTo>
                  <a:lnTo>
                    <a:pt x="205" y="159"/>
                  </a:lnTo>
                  <a:lnTo>
                    <a:pt x="206" y="158"/>
                  </a:lnTo>
                  <a:lnTo>
                    <a:pt x="207" y="157"/>
                  </a:lnTo>
                  <a:lnTo>
                    <a:pt x="209" y="156"/>
                  </a:lnTo>
                  <a:lnTo>
                    <a:pt x="211" y="152"/>
                  </a:lnTo>
                  <a:lnTo>
                    <a:pt x="211" y="149"/>
                  </a:lnTo>
                  <a:lnTo>
                    <a:pt x="210" y="146"/>
                  </a:lnTo>
                  <a:lnTo>
                    <a:pt x="209" y="142"/>
                  </a:lnTo>
                  <a:lnTo>
                    <a:pt x="204" y="129"/>
                  </a:lnTo>
                  <a:lnTo>
                    <a:pt x="203" y="125"/>
                  </a:lnTo>
                  <a:lnTo>
                    <a:pt x="203" y="118"/>
                  </a:lnTo>
                  <a:lnTo>
                    <a:pt x="202" y="114"/>
                  </a:lnTo>
                  <a:lnTo>
                    <a:pt x="201" y="109"/>
                  </a:lnTo>
                  <a:lnTo>
                    <a:pt x="195" y="96"/>
                  </a:lnTo>
                  <a:lnTo>
                    <a:pt x="192" y="92"/>
                  </a:lnTo>
                  <a:lnTo>
                    <a:pt x="191" y="90"/>
                  </a:lnTo>
                  <a:lnTo>
                    <a:pt x="188" y="87"/>
                  </a:lnTo>
                  <a:lnTo>
                    <a:pt x="168" y="73"/>
                  </a:lnTo>
                  <a:lnTo>
                    <a:pt x="166" y="73"/>
                  </a:lnTo>
                  <a:lnTo>
                    <a:pt x="155" y="73"/>
                  </a:lnTo>
                  <a:lnTo>
                    <a:pt x="153" y="72"/>
                  </a:lnTo>
                  <a:lnTo>
                    <a:pt x="152" y="71"/>
                  </a:lnTo>
                  <a:lnTo>
                    <a:pt x="150" y="68"/>
                  </a:lnTo>
                  <a:lnTo>
                    <a:pt x="150" y="66"/>
                  </a:lnTo>
                  <a:lnTo>
                    <a:pt x="150" y="63"/>
                  </a:lnTo>
                  <a:lnTo>
                    <a:pt x="150" y="61"/>
                  </a:lnTo>
                  <a:lnTo>
                    <a:pt x="149" y="60"/>
                  </a:lnTo>
                  <a:lnTo>
                    <a:pt x="147" y="58"/>
                  </a:lnTo>
                  <a:lnTo>
                    <a:pt x="146" y="57"/>
                  </a:lnTo>
                  <a:lnTo>
                    <a:pt x="146" y="55"/>
                  </a:lnTo>
                  <a:lnTo>
                    <a:pt x="148" y="53"/>
                  </a:lnTo>
                  <a:lnTo>
                    <a:pt x="148" y="51"/>
                  </a:lnTo>
                  <a:lnTo>
                    <a:pt x="147" y="49"/>
                  </a:lnTo>
                  <a:lnTo>
                    <a:pt x="145" y="47"/>
                  </a:lnTo>
                  <a:lnTo>
                    <a:pt x="144" y="46"/>
                  </a:lnTo>
                  <a:lnTo>
                    <a:pt x="139" y="35"/>
                  </a:lnTo>
                  <a:lnTo>
                    <a:pt x="139" y="35"/>
                  </a:lnTo>
                  <a:lnTo>
                    <a:pt x="139" y="35"/>
                  </a:lnTo>
                  <a:lnTo>
                    <a:pt x="139" y="35"/>
                  </a:lnTo>
                  <a:lnTo>
                    <a:pt x="139" y="35"/>
                  </a:lnTo>
                  <a:lnTo>
                    <a:pt x="137" y="32"/>
                  </a:lnTo>
                  <a:lnTo>
                    <a:pt x="129" y="27"/>
                  </a:lnTo>
                  <a:lnTo>
                    <a:pt x="126" y="24"/>
                  </a:lnTo>
                  <a:lnTo>
                    <a:pt x="122" y="21"/>
                  </a:lnTo>
                  <a:lnTo>
                    <a:pt x="118" y="24"/>
                  </a:lnTo>
                  <a:lnTo>
                    <a:pt x="112" y="31"/>
                  </a:lnTo>
                  <a:lnTo>
                    <a:pt x="108" y="33"/>
                  </a:lnTo>
                  <a:lnTo>
                    <a:pt x="101" y="32"/>
                  </a:lnTo>
                  <a:lnTo>
                    <a:pt x="97" y="35"/>
                  </a:lnTo>
                  <a:lnTo>
                    <a:pt x="97" y="35"/>
                  </a:lnTo>
                  <a:lnTo>
                    <a:pt x="97" y="35"/>
                  </a:lnTo>
                  <a:lnTo>
                    <a:pt x="95" y="37"/>
                  </a:lnTo>
                  <a:lnTo>
                    <a:pt x="89" y="40"/>
                  </a:lnTo>
                  <a:lnTo>
                    <a:pt x="88" y="40"/>
                  </a:lnTo>
                  <a:lnTo>
                    <a:pt x="87" y="41"/>
                  </a:lnTo>
                  <a:lnTo>
                    <a:pt x="84" y="41"/>
                  </a:lnTo>
                  <a:lnTo>
                    <a:pt x="81" y="39"/>
                  </a:lnTo>
                  <a:lnTo>
                    <a:pt x="76" y="35"/>
                  </a:lnTo>
                  <a:lnTo>
                    <a:pt x="73" y="29"/>
                  </a:lnTo>
                  <a:lnTo>
                    <a:pt x="73" y="27"/>
                  </a:lnTo>
                  <a:lnTo>
                    <a:pt x="73" y="25"/>
                  </a:lnTo>
                  <a:lnTo>
                    <a:pt x="73" y="22"/>
                  </a:lnTo>
                  <a:lnTo>
                    <a:pt x="73" y="20"/>
                  </a:lnTo>
                  <a:lnTo>
                    <a:pt x="74" y="18"/>
                  </a:lnTo>
                  <a:lnTo>
                    <a:pt x="75" y="17"/>
                  </a:lnTo>
                  <a:lnTo>
                    <a:pt x="75" y="17"/>
                  </a:lnTo>
                  <a:lnTo>
                    <a:pt x="75" y="15"/>
                  </a:lnTo>
                  <a:lnTo>
                    <a:pt x="75" y="13"/>
                  </a:lnTo>
                  <a:lnTo>
                    <a:pt x="74" y="7"/>
                  </a:lnTo>
                  <a:lnTo>
                    <a:pt x="71" y="2"/>
                  </a:lnTo>
                  <a:lnTo>
                    <a:pt x="68" y="0"/>
                  </a:lnTo>
                  <a:lnTo>
                    <a:pt x="64" y="2"/>
                  </a:lnTo>
                  <a:lnTo>
                    <a:pt x="61" y="5"/>
                  </a:lnTo>
                  <a:lnTo>
                    <a:pt x="60" y="6"/>
                  </a:lnTo>
                  <a:lnTo>
                    <a:pt x="55" y="11"/>
                  </a:lnTo>
                  <a:lnTo>
                    <a:pt x="53" y="15"/>
                  </a:lnTo>
                  <a:lnTo>
                    <a:pt x="52" y="19"/>
                  </a:lnTo>
                  <a:lnTo>
                    <a:pt x="51" y="24"/>
                  </a:lnTo>
                  <a:lnTo>
                    <a:pt x="50" y="27"/>
                  </a:lnTo>
                  <a:lnTo>
                    <a:pt x="48" y="29"/>
                  </a:lnTo>
                  <a:lnTo>
                    <a:pt x="46" y="30"/>
                  </a:lnTo>
                  <a:lnTo>
                    <a:pt x="44" y="32"/>
                  </a:lnTo>
                  <a:lnTo>
                    <a:pt x="43" y="35"/>
                  </a:lnTo>
                  <a:lnTo>
                    <a:pt x="43" y="35"/>
                  </a:lnTo>
                  <a:lnTo>
                    <a:pt x="41" y="39"/>
                  </a:lnTo>
                  <a:lnTo>
                    <a:pt x="39" y="43"/>
                  </a:lnTo>
                  <a:lnTo>
                    <a:pt x="36" y="46"/>
                  </a:lnTo>
                  <a:lnTo>
                    <a:pt x="33" y="48"/>
                  </a:lnTo>
                  <a:lnTo>
                    <a:pt x="31" y="51"/>
                  </a:lnTo>
                  <a:lnTo>
                    <a:pt x="23" y="61"/>
                  </a:lnTo>
                  <a:lnTo>
                    <a:pt x="22" y="62"/>
                  </a:lnTo>
                  <a:lnTo>
                    <a:pt x="20" y="65"/>
                  </a:lnTo>
                  <a:lnTo>
                    <a:pt x="20" y="67"/>
                  </a:lnTo>
                  <a:lnTo>
                    <a:pt x="20" y="70"/>
                  </a:lnTo>
                  <a:lnTo>
                    <a:pt x="20" y="71"/>
                  </a:lnTo>
                  <a:lnTo>
                    <a:pt x="5" y="95"/>
                  </a:lnTo>
                  <a:lnTo>
                    <a:pt x="0" y="100"/>
                  </a:lnTo>
                  <a:lnTo>
                    <a:pt x="0" y="102"/>
                  </a:lnTo>
                  <a:lnTo>
                    <a:pt x="1" y="106"/>
                  </a:lnTo>
                  <a:lnTo>
                    <a:pt x="1" y="106"/>
                  </a:lnTo>
                  <a:lnTo>
                    <a:pt x="4" y="108"/>
                  </a:lnTo>
                  <a:lnTo>
                    <a:pt x="13" y="115"/>
                  </a:lnTo>
                  <a:lnTo>
                    <a:pt x="15" y="118"/>
                  </a:lnTo>
                  <a:lnTo>
                    <a:pt x="16" y="118"/>
                  </a:lnTo>
                  <a:lnTo>
                    <a:pt x="16" y="121"/>
                  </a:lnTo>
                  <a:lnTo>
                    <a:pt x="13" y="127"/>
                  </a:lnTo>
                  <a:lnTo>
                    <a:pt x="12" y="131"/>
                  </a:lnTo>
                  <a:lnTo>
                    <a:pt x="12" y="135"/>
                  </a:lnTo>
                  <a:lnTo>
                    <a:pt x="13" y="139"/>
                  </a:lnTo>
                  <a:lnTo>
                    <a:pt x="14" y="142"/>
                  </a:lnTo>
                  <a:lnTo>
                    <a:pt x="14" y="142"/>
                  </a:lnTo>
                  <a:lnTo>
                    <a:pt x="16" y="143"/>
                  </a:lnTo>
                  <a:lnTo>
                    <a:pt x="15" y="147"/>
                  </a:lnTo>
                  <a:lnTo>
                    <a:pt x="14" y="148"/>
                  </a:lnTo>
                  <a:lnTo>
                    <a:pt x="12" y="148"/>
                  </a:lnTo>
                  <a:lnTo>
                    <a:pt x="11" y="149"/>
                  </a:lnTo>
                  <a:lnTo>
                    <a:pt x="13" y="154"/>
                  </a:lnTo>
                  <a:lnTo>
                    <a:pt x="12" y="155"/>
                  </a:lnTo>
                  <a:lnTo>
                    <a:pt x="11" y="156"/>
                  </a:lnTo>
                  <a:lnTo>
                    <a:pt x="11" y="157"/>
                  </a:lnTo>
                  <a:lnTo>
                    <a:pt x="11" y="159"/>
                  </a:lnTo>
                  <a:lnTo>
                    <a:pt x="11" y="160"/>
                  </a:lnTo>
                  <a:lnTo>
                    <a:pt x="12" y="161"/>
                  </a:lnTo>
                  <a:lnTo>
                    <a:pt x="13" y="162"/>
                  </a:lnTo>
                  <a:lnTo>
                    <a:pt x="15" y="164"/>
                  </a:lnTo>
                  <a:lnTo>
                    <a:pt x="14" y="170"/>
                  </a:lnTo>
                  <a:lnTo>
                    <a:pt x="15" y="172"/>
                  </a:lnTo>
                  <a:lnTo>
                    <a:pt x="25" y="169"/>
                  </a:lnTo>
                  <a:lnTo>
                    <a:pt x="28" y="170"/>
                  </a:lnTo>
                  <a:lnTo>
                    <a:pt x="30" y="171"/>
                  </a:lnTo>
                  <a:lnTo>
                    <a:pt x="50" y="179"/>
                  </a:lnTo>
                  <a:lnTo>
                    <a:pt x="50" y="179"/>
                  </a:lnTo>
                  <a:lnTo>
                    <a:pt x="52" y="183"/>
                  </a:lnTo>
                  <a:lnTo>
                    <a:pt x="52" y="188"/>
                  </a:lnTo>
                  <a:lnTo>
                    <a:pt x="50" y="191"/>
                  </a:lnTo>
                  <a:lnTo>
                    <a:pt x="47" y="189"/>
                  </a:lnTo>
                  <a:lnTo>
                    <a:pt x="47" y="193"/>
                  </a:lnTo>
                  <a:lnTo>
                    <a:pt x="48" y="200"/>
                  </a:lnTo>
                  <a:lnTo>
                    <a:pt x="48" y="207"/>
                  </a:lnTo>
                  <a:lnTo>
                    <a:pt x="45" y="213"/>
                  </a:lnTo>
                  <a:lnTo>
                    <a:pt x="50" y="217"/>
                  </a:lnTo>
                  <a:lnTo>
                    <a:pt x="50" y="219"/>
                  </a:lnTo>
                  <a:lnTo>
                    <a:pt x="52" y="217"/>
                  </a:lnTo>
                  <a:lnTo>
                    <a:pt x="53" y="219"/>
                  </a:lnTo>
                  <a:lnTo>
                    <a:pt x="54" y="224"/>
                  </a:lnTo>
                  <a:lnTo>
                    <a:pt x="52" y="225"/>
                  </a:lnTo>
                  <a:lnTo>
                    <a:pt x="51" y="225"/>
                  </a:lnTo>
                  <a:lnTo>
                    <a:pt x="50" y="224"/>
                  </a:lnTo>
                  <a:lnTo>
                    <a:pt x="50" y="221"/>
                  </a:lnTo>
                  <a:lnTo>
                    <a:pt x="50" y="221"/>
                  </a:lnTo>
                  <a:lnTo>
                    <a:pt x="46" y="229"/>
                  </a:lnTo>
                  <a:lnTo>
                    <a:pt x="45" y="229"/>
                  </a:lnTo>
                  <a:lnTo>
                    <a:pt x="40" y="230"/>
                  </a:lnTo>
                  <a:lnTo>
                    <a:pt x="26" y="229"/>
                  </a:lnTo>
                  <a:lnTo>
                    <a:pt x="28" y="231"/>
                  </a:lnTo>
                  <a:lnTo>
                    <a:pt x="31" y="235"/>
                  </a:lnTo>
                  <a:lnTo>
                    <a:pt x="33" y="237"/>
                  </a:lnTo>
                  <a:lnTo>
                    <a:pt x="35" y="239"/>
                  </a:lnTo>
                  <a:lnTo>
                    <a:pt x="37" y="239"/>
                  </a:lnTo>
                  <a:lnTo>
                    <a:pt x="38" y="240"/>
                  </a:lnTo>
                  <a:lnTo>
                    <a:pt x="39" y="244"/>
                  </a:lnTo>
                  <a:lnTo>
                    <a:pt x="37" y="249"/>
                  </a:lnTo>
                  <a:lnTo>
                    <a:pt x="34" y="254"/>
                  </a:lnTo>
                  <a:lnTo>
                    <a:pt x="30" y="257"/>
                  </a:lnTo>
                  <a:lnTo>
                    <a:pt x="26" y="259"/>
                  </a:lnTo>
                  <a:lnTo>
                    <a:pt x="27" y="264"/>
                  </a:lnTo>
                  <a:lnTo>
                    <a:pt x="25" y="268"/>
                  </a:lnTo>
                  <a:lnTo>
                    <a:pt x="21" y="268"/>
                  </a:lnTo>
                  <a:lnTo>
                    <a:pt x="19" y="265"/>
                  </a:lnTo>
                  <a:lnTo>
                    <a:pt x="20" y="267"/>
                  </a:lnTo>
                  <a:lnTo>
                    <a:pt x="22" y="269"/>
                  </a:lnTo>
                  <a:lnTo>
                    <a:pt x="22" y="271"/>
                  </a:lnTo>
                  <a:lnTo>
                    <a:pt x="22" y="280"/>
                  </a:lnTo>
                  <a:lnTo>
                    <a:pt x="23" y="284"/>
                  </a:lnTo>
                  <a:lnTo>
                    <a:pt x="25" y="286"/>
                  </a:lnTo>
                  <a:lnTo>
                    <a:pt x="28" y="286"/>
                  </a:lnTo>
                  <a:lnTo>
                    <a:pt x="31" y="286"/>
                  </a:lnTo>
                  <a:lnTo>
                    <a:pt x="34" y="288"/>
                  </a:lnTo>
                  <a:lnTo>
                    <a:pt x="36" y="290"/>
                  </a:lnTo>
                  <a:lnTo>
                    <a:pt x="38" y="294"/>
                  </a:lnTo>
                  <a:lnTo>
                    <a:pt x="39" y="298"/>
                  </a:lnTo>
                  <a:lnTo>
                    <a:pt x="37" y="302"/>
                  </a:lnTo>
                  <a:lnTo>
                    <a:pt x="31" y="313"/>
                  </a:lnTo>
                  <a:lnTo>
                    <a:pt x="31" y="315"/>
                  </a:lnTo>
                  <a:lnTo>
                    <a:pt x="31" y="318"/>
                  </a:lnTo>
                  <a:lnTo>
                    <a:pt x="30" y="320"/>
                  </a:lnTo>
                  <a:lnTo>
                    <a:pt x="27" y="322"/>
                  </a:lnTo>
                  <a:lnTo>
                    <a:pt x="26" y="323"/>
                  </a:lnTo>
                  <a:lnTo>
                    <a:pt x="27" y="325"/>
                  </a:lnTo>
                  <a:lnTo>
                    <a:pt x="28" y="326"/>
                  </a:lnTo>
                  <a:lnTo>
                    <a:pt x="29" y="329"/>
                  </a:lnTo>
                  <a:lnTo>
                    <a:pt x="27" y="345"/>
                  </a:lnTo>
                  <a:lnTo>
                    <a:pt x="27" y="346"/>
                  </a:lnTo>
                  <a:lnTo>
                    <a:pt x="26" y="347"/>
                  </a:lnTo>
                  <a:lnTo>
                    <a:pt x="28" y="350"/>
                  </a:lnTo>
                  <a:lnTo>
                    <a:pt x="29" y="351"/>
                  </a:lnTo>
                  <a:lnTo>
                    <a:pt x="31" y="352"/>
                  </a:lnTo>
                  <a:lnTo>
                    <a:pt x="32" y="353"/>
                  </a:lnTo>
                  <a:lnTo>
                    <a:pt x="32" y="357"/>
                  </a:lnTo>
                  <a:lnTo>
                    <a:pt x="31" y="361"/>
                  </a:lnTo>
                  <a:lnTo>
                    <a:pt x="29" y="364"/>
                  </a:lnTo>
                  <a:lnTo>
                    <a:pt x="28" y="366"/>
                  </a:lnTo>
                  <a:lnTo>
                    <a:pt x="29" y="367"/>
                  </a:lnTo>
                  <a:lnTo>
                    <a:pt x="29" y="368"/>
                  </a:lnTo>
                  <a:lnTo>
                    <a:pt x="33" y="362"/>
                  </a:lnTo>
                  <a:lnTo>
                    <a:pt x="35" y="357"/>
                  </a:lnTo>
                  <a:lnTo>
                    <a:pt x="35" y="351"/>
                  </a:lnTo>
                  <a:lnTo>
                    <a:pt x="36" y="355"/>
                  </a:lnTo>
                  <a:lnTo>
                    <a:pt x="38" y="359"/>
                  </a:lnTo>
                  <a:lnTo>
                    <a:pt x="40" y="363"/>
                  </a:lnTo>
                  <a:lnTo>
                    <a:pt x="40" y="368"/>
                  </a:lnTo>
                  <a:lnTo>
                    <a:pt x="37" y="371"/>
                  </a:lnTo>
                  <a:lnTo>
                    <a:pt x="29" y="376"/>
                  </a:lnTo>
                  <a:lnTo>
                    <a:pt x="26" y="378"/>
                  </a:lnTo>
                  <a:lnTo>
                    <a:pt x="26" y="377"/>
                  </a:lnTo>
                  <a:lnTo>
                    <a:pt x="26" y="376"/>
                  </a:lnTo>
                  <a:lnTo>
                    <a:pt x="26" y="376"/>
                  </a:lnTo>
                  <a:lnTo>
                    <a:pt x="25" y="378"/>
                  </a:lnTo>
                  <a:lnTo>
                    <a:pt x="24" y="378"/>
                  </a:lnTo>
                  <a:lnTo>
                    <a:pt x="24" y="374"/>
                  </a:lnTo>
                  <a:lnTo>
                    <a:pt x="26" y="370"/>
                  </a:lnTo>
                  <a:lnTo>
                    <a:pt x="24" y="365"/>
                  </a:lnTo>
                  <a:lnTo>
                    <a:pt x="26" y="362"/>
                  </a:lnTo>
                  <a:lnTo>
                    <a:pt x="24" y="364"/>
                  </a:lnTo>
                  <a:lnTo>
                    <a:pt x="21" y="369"/>
                  </a:lnTo>
                  <a:lnTo>
                    <a:pt x="18" y="370"/>
                  </a:lnTo>
                  <a:lnTo>
                    <a:pt x="17" y="371"/>
                  </a:lnTo>
                  <a:lnTo>
                    <a:pt x="19" y="374"/>
                  </a:lnTo>
                  <a:lnTo>
                    <a:pt x="21" y="377"/>
                  </a:lnTo>
                  <a:lnTo>
                    <a:pt x="22" y="379"/>
                  </a:lnTo>
                  <a:lnTo>
                    <a:pt x="22" y="380"/>
                  </a:lnTo>
                  <a:lnTo>
                    <a:pt x="21" y="381"/>
                  </a:lnTo>
                  <a:lnTo>
                    <a:pt x="20" y="382"/>
                  </a:lnTo>
                  <a:lnTo>
                    <a:pt x="19" y="384"/>
                  </a:lnTo>
                  <a:lnTo>
                    <a:pt x="20" y="386"/>
                  </a:lnTo>
                  <a:lnTo>
                    <a:pt x="21" y="387"/>
                  </a:lnTo>
                  <a:lnTo>
                    <a:pt x="21" y="389"/>
                  </a:lnTo>
                  <a:lnTo>
                    <a:pt x="20" y="390"/>
                  </a:lnTo>
                  <a:lnTo>
                    <a:pt x="16" y="391"/>
                  </a:lnTo>
                  <a:lnTo>
                    <a:pt x="15" y="393"/>
                  </a:lnTo>
                  <a:lnTo>
                    <a:pt x="15" y="396"/>
                  </a:lnTo>
                  <a:lnTo>
                    <a:pt x="14" y="409"/>
                  </a:lnTo>
                  <a:lnTo>
                    <a:pt x="14" y="412"/>
                  </a:lnTo>
                  <a:lnTo>
                    <a:pt x="12" y="416"/>
                  </a:lnTo>
                  <a:lnTo>
                    <a:pt x="11" y="418"/>
                  </a:lnTo>
                  <a:lnTo>
                    <a:pt x="8" y="420"/>
                  </a:lnTo>
                  <a:lnTo>
                    <a:pt x="6" y="422"/>
                  </a:lnTo>
                  <a:lnTo>
                    <a:pt x="5" y="424"/>
                  </a:lnTo>
                  <a:lnTo>
                    <a:pt x="6" y="426"/>
                  </a:lnTo>
                  <a:lnTo>
                    <a:pt x="17" y="442"/>
                  </a:lnTo>
                  <a:lnTo>
                    <a:pt x="18" y="445"/>
                  </a:lnTo>
                  <a:lnTo>
                    <a:pt x="19" y="440"/>
                  </a:lnTo>
                  <a:lnTo>
                    <a:pt x="23" y="439"/>
                  </a:lnTo>
                  <a:lnTo>
                    <a:pt x="27" y="441"/>
                  </a:lnTo>
                  <a:lnTo>
                    <a:pt x="29" y="445"/>
                  </a:lnTo>
                  <a:lnTo>
                    <a:pt x="28" y="450"/>
                  </a:lnTo>
                  <a:lnTo>
                    <a:pt x="27" y="454"/>
                  </a:lnTo>
                  <a:lnTo>
                    <a:pt x="25" y="455"/>
                  </a:lnTo>
                  <a:lnTo>
                    <a:pt x="22" y="451"/>
                  </a:lnTo>
                  <a:lnTo>
                    <a:pt x="21" y="451"/>
                  </a:lnTo>
                  <a:lnTo>
                    <a:pt x="20" y="452"/>
                  </a:lnTo>
                  <a:lnTo>
                    <a:pt x="20" y="450"/>
                  </a:lnTo>
                  <a:lnTo>
                    <a:pt x="19" y="449"/>
                  </a:lnTo>
                  <a:lnTo>
                    <a:pt x="18" y="447"/>
                  </a:lnTo>
                  <a:lnTo>
                    <a:pt x="19" y="452"/>
                  </a:lnTo>
                  <a:lnTo>
                    <a:pt x="23" y="458"/>
                  </a:lnTo>
                  <a:lnTo>
                    <a:pt x="29" y="463"/>
                  </a:lnTo>
                  <a:lnTo>
                    <a:pt x="33" y="466"/>
                  </a:lnTo>
                  <a:lnTo>
                    <a:pt x="33" y="469"/>
                  </a:lnTo>
                  <a:lnTo>
                    <a:pt x="32" y="488"/>
                  </a:lnTo>
                  <a:lnTo>
                    <a:pt x="30" y="489"/>
                  </a:lnTo>
                  <a:lnTo>
                    <a:pt x="27" y="491"/>
                  </a:lnTo>
                  <a:lnTo>
                    <a:pt x="24" y="491"/>
                  </a:lnTo>
                  <a:lnTo>
                    <a:pt x="22" y="490"/>
                  </a:lnTo>
                  <a:lnTo>
                    <a:pt x="22" y="488"/>
                  </a:lnTo>
                  <a:lnTo>
                    <a:pt x="21" y="485"/>
                  </a:lnTo>
                  <a:lnTo>
                    <a:pt x="19" y="480"/>
                  </a:lnTo>
                  <a:lnTo>
                    <a:pt x="17" y="478"/>
                  </a:lnTo>
                  <a:lnTo>
                    <a:pt x="12" y="470"/>
                  </a:lnTo>
                  <a:lnTo>
                    <a:pt x="9" y="469"/>
                  </a:lnTo>
                  <a:lnTo>
                    <a:pt x="7" y="469"/>
                  </a:lnTo>
                  <a:lnTo>
                    <a:pt x="2" y="471"/>
                  </a:lnTo>
                  <a:lnTo>
                    <a:pt x="2" y="473"/>
                  </a:lnTo>
                  <a:lnTo>
                    <a:pt x="3" y="473"/>
                  </a:lnTo>
                  <a:lnTo>
                    <a:pt x="3" y="473"/>
                  </a:lnTo>
                  <a:lnTo>
                    <a:pt x="4" y="474"/>
                  </a:lnTo>
                  <a:lnTo>
                    <a:pt x="6" y="477"/>
                  </a:lnTo>
                  <a:lnTo>
                    <a:pt x="11" y="482"/>
                  </a:lnTo>
                  <a:lnTo>
                    <a:pt x="12" y="485"/>
                  </a:lnTo>
                  <a:lnTo>
                    <a:pt x="15" y="494"/>
                  </a:lnTo>
                  <a:lnTo>
                    <a:pt x="15" y="496"/>
                  </a:lnTo>
                  <a:lnTo>
                    <a:pt x="17" y="498"/>
                  </a:lnTo>
                  <a:lnTo>
                    <a:pt x="32" y="516"/>
                  </a:lnTo>
                  <a:lnTo>
                    <a:pt x="37" y="519"/>
                  </a:lnTo>
                  <a:lnTo>
                    <a:pt x="46" y="523"/>
                  </a:lnTo>
                  <a:lnTo>
                    <a:pt x="51" y="527"/>
                  </a:lnTo>
                  <a:lnTo>
                    <a:pt x="60" y="533"/>
                  </a:lnTo>
                  <a:lnTo>
                    <a:pt x="71" y="536"/>
                  </a:lnTo>
                  <a:lnTo>
                    <a:pt x="72" y="538"/>
                  </a:lnTo>
                  <a:lnTo>
                    <a:pt x="73" y="537"/>
                  </a:lnTo>
                  <a:lnTo>
                    <a:pt x="74" y="539"/>
                  </a:lnTo>
                  <a:lnTo>
                    <a:pt x="75" y="542"/>
                  </a:lnTo>
                  <a:lnTo>
                    <a:pt x="75" y="542"/>
                  </a:lnTo>
                  <a:lnTo>
                    <a:pt x="77" y="543"/>
                  </a:lnTo>
                  <a:lnTo>
                    <a:pt x="78" y="544"/>
                  </a:lnTo>
                  <a:lnTo>
                    <a:pt x="78" y="545"/>
                  </a:lnTo>
                  <a:lnTo>
                    <a:pt x="79" y="547"/>
                  </a:lnTo>
                  <a:lnTo>
                    <a:pt x="79" y="546"/>
                  </a:lnTo>
                  <a:lnTo>
                    <a:pt x="79" y="545"/>
                  </a:lnTo>
                  <a:lnTo>
                    <a:pt x="80" y="544"/>
                  </a:lnTo>
                  <a:lnTo>
                    <a:pt x="84" y="547"/>
                  </a:lnTo>
                  <a:lnTo>
                    <a:pt x="83" y="548"/>
                  </a:lnTo>
                  <a:lnTo>
                    <a:pt x="85" y="549"/>
                  </a:lnTo>
                  <a:lnTo>
                    <a:pt x="87" y="549"/>
                  </a:lnTo>
                  <a:lnTo>
                    <a:pt x="92" y="549"/>
                  </a:lnTo>
                  <a:lnTo>
                    <a:pt x="94" y="550"/>
                  </a:lnTo>
                  <a:lnTo>
                    <a:pt x="95" y="552"/>
                  </a:lnTo>
                  <a:lnTo>
                    <a:pt x="96" y="555"/>
                  </a:lnTo>
                  <a:lnTo>
                    <a:pt x="103" y="569"/>
                  </a:lnTo>
                  <a:lnTo>
                    <a:pt x="106" y="572"/>
                  </a:lnTo>
                  <a:lnTo>
                    <a:pt x="104" y="573"/>
                  </a:lnTo>
                  <a:lnTo>
                    <a:pt x="103" y="575"/>
                  </a:lnTo>
                  <a:lnTo>
                    <a:pt x="100" y="578"/>
                  </a:lnTo>
                  <a:lnTo>
                    <a:pt x="100" y="579"/>
                  </a:lnTo>
                  <a:lnTo>
                    <a:pt x="102" y="580"/>
                  </a:lnTo>
                  <a:lnTo>
                    <a:pt x="104" y="580"/>
                  </a:lnTo>
                  <a:lnTo>
                    <a:pt x="106" y="581"/>
                  </a:lnTo>
                  <a:lnTo>
                    <a:pt x="108" y="582"/>
                  </a:lnTo>
                  <a:lnTo>
                    <a:pt x="109" y="582"/>
                  </a:lnTo>
                  <a:lnTo>
                    <a:pt x="109" y="583"/>
                  </a:lnTo>
                  <a:lnTo>
                    <a:pt x="109" y="584"/>
                  </a:lnTo>
                  <a:lnTo>
                    <a:pt x="109" y="585"/>
                  </a:lnTo>
                  <a:lnTo>
                    <a:pt x="113" y="586"/>
                  </a:lnTo>
                  <a:lnTo>
                    <a:pt x="115" y="586"/>
                  </a:lnTo>
                  <a:lnTo>
                    <a:pt x="117" y="587"/>
                  </a:lnTo>
                  <a:lnTo>
                    <a:pt x="118" y="592"/>
                  </a:lnTo>
                  <a:lnTo>
                    <a:pt x="118" y="594"/>
                  </a:lnTo>
                  <a:lnTo>
                    <a:pt x="115" y="605"/>
                  </a:lnTo>
                  <a:lnTo>
                    <a:pt x="112" y="610"/>
                  </a:lnTo>
                  <a:lnTo>
                    <a:pt x="113" y="611"/>
                  </a:lnTo>
                  <a:lnTo>
                    <a:pt x="116" y="611"/>
                  </a:lnTo>
                  <a:lnTo>
                    <a:pt x="113" y="618"/>
                  </a:lnTo>
                  <a:lnTo>
                    <a:pt x="113" y="621"/>
                  </a:lnTo>
                  <a:lnTo>
                    <a:pt x="113" y="624"/>
                  </a:lnTo>
                  <a:lnTo>
                    <a:pt x="115" y="624"/>
                  </a:lnTo>
                  <a:lnTo>
                    <a:pt x="115" y="623"/>
                  </a:lnTo>
                  <a:lnTo>
                    <a:pt x="115" y="623"/>
                  </a:lnTo>
                  <a:lnTo>
                    <a:pt x="115" y="623"/>
                  </a:lnTo>
                  <a:lnTo>
                    <a:pt x="118" y="621"/>
                  </a:lnTo>
                  <a:lnTo>
                    <a:pt x="123" y="623"/>
                  </a:lnTo>
                  <a:lnTo>
                    <a:pt x="129" y="625"/>
                  </a:lnTo>
                  <a:lnTo>
                    <a:pt x="137" y="629"/>
                  </a:lnTo>
                  <a:lnTo>
                    <a:pt x="141" y="633"/>
                  </a:lnTo>
                  <a:lnTo>
                    <a:pt x="144" y="635"/>
                  </a:lnTo>
                  <a:lnTo>
                    <a:pt x="147" y="634"/>
                  </a:lnTo>
                  <a:lnTo>
                    <a:pt x="148" y="633"/>
                  </a:lnTo>
                  <a:lnTo>
                    <a:pt x="148" y="631"/>
                  </a:lnTo>
                  <a:lnTo>
                    <a:pt x="148" y="630"/>
                  </a:lnTo>
                  <a:lnTo>
                    <a:pt x="149" y="628"/>
                  </a:lnTo>
                  <a:lnTo>
                    <a:pt x="150" y="628"/>
                  </a:lnTo>
                  <a:lnTo>
                    <a:pt x="152" y="628"/>
                  </a:lnTo>
                  <a:lnTo>
                    <a:pt x="153" y="628"/>
                  </a:lnTo>
                  <a:lnTo>
                    <a:pt x="154" y="629"/>
                  </a:lnTo>
                  <a:lnTo>
                    <a:pt x="155" y="625"/>
                  </a:lnTo>
                  <a:lnTo>
                    <a:pt x="157" y="622"/>
                  </a:lnTo>
                  <a:lnTo>
                    <a:pt x="160" y="621"/>
                  </a:lnTo>
                  <a:lnTo>
                    <a:pt x="162" y="618"/>
                  </a:lnTo>
                  <a:lnTo>
                    <a:pt x="163" y="616"/>
                  </a:lnTo>
                  <a:lnTo>
                    <a:pt x="162" y="615"/>
                  </a:lnTo>
                  <a:lnTo>
                    <a:pt x="162" y="614"/>
                  </a:lnTo>
                  <a:lnTo>
                    <a:pt x="161" y="612"/>
                  </a:lnTo>
                  <a:lnTo>
                    <a:pt x="161" y="611"/>
                  </a:lnTo>
                  <a:lnTo>
                    <a:pt x="159" y="610"/>
                  </a:lnTo>
                  <a:lnTo>
                    <a:pt x="159" y="609"/>
                  </a:lnTo>
                  <a:lnTo>
                    <a:pt x="159" y="609"/>
                  </a:lnTo>
                  <a:lnTo>
                    <a:pt x="160" y="606"/>
                  </a:lnTo>
                  <a:lnTo>
                    <a:pt x="161" y="605"/>
                  </a:lnTo>
                  <a:lnTo>
                    <a:pt x="160" y="603"/>
                  </a:lnTo>
                  <a:lnTo>
                    <a:pt x="159" y="602"/>
                  </a:lnTo>
                  <a:lnTo>
                    <a:pt x="159" y="602"/>
                  </a:lnTo>
                  <a:lnTo>
                    <a:pt x="160" y="600"/>
                  </a:lnTo>
                  <a:lnTo>
                    <a:pt x="161" y="600"/>
                  </a:lnTo>
                  <a:lnTo>
                    <a:pt x="163" y="600"/>
                  </a:lnTo>
                  <a:lnTo>
                    <a:pt x="163" y="600"/>
                  </a:lnTo>
                  <a:lnTo>
                    <a:pt x="169" y="602"/>
                  </a:lnTo>
                  <a:lnTo>
                    <a:pt x="172" y="604"/>
                  </a:lnTo>
                  <a:lnTo>
                    <a:pt x="174" y="604"/>
                  </a:lnTo>
                  <a:lnTo>
                    <a:pt x="177" y="601"/>
                  </a:lnTo>
                  <a:lnTo>
                    <a:pt x="178" y="597"/>
                  </a:lnTo>
                  <a:lnTo>
                    <a:pt x="178" y="594"/>
                  </a:lnTo>
                  <a:lnTo>
                    <a:pt x="170" y="582"/>
                  </a:lnTo>
                  <a:lnTo>
                    <a:pt x="167" y="578"/>
                  </a:lnTo>
                  <a:lnTo>
                    <a:pt x="166" y="577"/>
                  </a:lnTo>
                  <a:lnTo>
                    <a:pt x="163" y="564"/>
                  </a:lnTo>
                  <a:lnTo>
                    <a:pt x="162" y="562"/>
                  </a:lnTo>
                  <a:lnTo>
                    <a:pt x="164" y="562"/>
                  </a:lnTo>
                  <a:lnTo>
                    <a:pt x="172" y="562"/>
                  </a:lnTo>
                  <a:lnTo>
                    <a:pt x="175" y="561"/>
                  </a:lnTo>
                  <a:lnTo>
                    <a:pt x="176" y="557"/>
                  </a:lnTo>
                  <a:lnTo>
                    <a:pt x="177" y="554"/>
                  </a:lnTo>
                  <a:lnTo>
                    <a:pt x="179" y="550"/>
                  </a:lnTo>
                  <a:lnTo>
                    <a:pt x="181" y="548"/>
                  </a:lnTo>
                  <a:lnTo>
                    <a:pt x="184" y="547"/>
                  </a:lnTo>
                  <a:lnTo>
                    <a:pt x="189" y="547"/>
                  </a:lnTo>
                  <a:lnTo>
                    <a:pt x="192" y="546"/>
                  </a:lnTo>
                  <a:lnTo>
                    <a:pt x="195" y="545"/>
                  </a:lnTo>
                  <a:lnTo>
                    <a:pt x="203" y="546"/>
                  </a:lnTo>
                  <a:lnTo>
                    <a:pt x="207" y="546"/>
                  </a:lnTo>
                  <a:lnTo>
                    <a:pt x="213" y="543"/>
                  </a:lnTo>
                  <a:lnTo>
                    <a:pt x="217" y="541"/>
                  </a:lnTo>
                  <a:lnTo>
                    <a:pt x="218" y="540"/>
                  </a:lnTo>
                  <a:lnTo>
                    <a:pt x="219" y="539"/>
                  </a:lnTo>
                  <a:lnTo>
                    <a:pt x="221" y="532"/>
                  </a:lnTo>
                  <a:lnTo>
                    <a:pt x="221" y="531"/>
                  </a:lnTo>
                  <a:lnTo>
                    <a:pt x="221" y="527"/>
                  </a:lnTo>
                  <a:lnTo>
                    <a:pt x="221" y="526"/>
                  </a:lnTo>
                  <a:lnTo>
                    <a:pt x="220" y="524"/>
                  </a:lnTo>
                  <a:lnTo>
                    <a:pt x="220" y="523"/>
                  </a:lnTo>
                  <a:lnTo>
                    <a:pt x="221" y="522"/>
                  </a:lnTo>
                  <a:lnTo>
                    <a:pt x="223" y="521"/>
                  </a:lnTo>
                  <a:lnTo>
                    <a:pt x="224" y="520"/>
                  </a:lnTo>
                  <a:lnTo>
                    <a:pt x="226" y="515"/>
                  </a:lnTo>
                  <a:lnTo>
                    <a:pt x="226" y="511"/>
                  </a:lnTo>
                  <a:lnTo>
                    <a:pt x="226" y="507"/>
                  </a:lnTo>
                  <a:lnTo>
                    <a:pt x="226" y="502"/>
                  </a:lnTo>
                  <a:lnTo>
                    <a:pt x="227" y="500"/>
                  </a:lnTo>
                  <a:lnTo>
                    <a:pt x="229" y="499"/>
                  </a:lnTo>
                  <a:lnTo>
                    <a:pt x="231" y="498"/>
                  </a:lnTo>
                  <a:lnTo>
                    <a:pt x="232" y="497"/>
                  </a:lnTo>
                  <a:lnTo>
                    <a:pt x="233" y="496"/>
                  </a:lnTo>
                  <a:lnTo>
                    <a:pt x="235" y="490"/>
                  </a:lnTo>
                  <a:lnTo>
                    <a:pt x="237" y="486"/>
                  </a:lnTo>
                  <a:lnTo>
                    <a:pt x="238" y="485"/>
                  </a:lnTo>
                  <a:lnTo>
                    <a:pt x="238" y="482"/>
                  </a:lnTo>
                  <a:lnTo>
                    <a:pt x="238" y="480"/>
                  </a:lnTo>
                  <a:lnTo>
                    <a:pt x="237" y="474"/>
                  </a:lnTo>
                  <a:lnTo>
                    <a:pt x="238" y="472"/>
                  </a:lnTo>
                  <a:lnTo>
                    <a:pt x="239" y="471"/>
                  </a:lnTo>
                  <a:lnTo>
                    <a:pt x="242" y="470"/>
                  </a:lnTo>
                  <a:lnTo>
                    <a:pt x="244" y="469"/>
                  </a:lnTo>
                  <a:lnTo>
                    <a:pt x="245" y="467"/>
                  </a:lnTo>
                  <a:lnTo>
                    <a:pt x="246" y="465"/>
                  </a:lnTo>
                  <a:lnTo>
                    <a:pt x="246" y="464"/>
                  </a:lnTo>
                  <a:lnTo>
                    <a:pt x="249" y="462"/>
                  </a:lnTo>
                  <a:lnTo>
                    <a:pt x="253" y="462"/>
                  </a:lnTo>
                  <a:lnTo>
                    <a:pt x="256" y="464"/>
                  </a:lnTo>
                  <a:lnTo>
                    <a:pt x="260" y="464"/>
                  </a:lnTo>
                  <a:lnTo>
                    <a:pt x="264" y="462"/>
                  </a:lnTo>
                  <a:lnTo>
                    <a:pt x="265" y="460"/>
                  </a:lnTo>
                  <a:lnTo>
                    <a:pt x="266" y="459"/>
                  </a:lnTo>
                  <a:lnTo>
                    <a:pt x="266" y="457"/>
                  </a:lnTo>
                  <a:lnTo>
                    <a:pt x="266" y="455"/>
                  </a:lnTo>
                  <a:lnTo>
                    <a:pt x="267" y="453"/>
                  </a:lnTo>
                  <a:lnTo>
                    <a:pt x="269" y="452"/>
                  </a:lnTo>
                  <a:lnTo>
                    <a:pt x="271" y="451"/>
                  </a:lnTo>
                  <a:lnTo>
                    <a:pt x="272" y="449"/>
                  </a:lnTo>
                  <a:lnTo>
                    <a:pt x="274" y="448"/>
                  </a:lnTo>
                  <a:lnTo>
                    <a:pt x="275" y="447"/>
                  </a:lnTo>
                  <a:lnTo>
                    <a:pt x="276" y="446"/>
                  </a:lnTo>
                  <a:lnTo>
                    <a:pt x="277" y="444"/>
                  </a:lnTo>
                  <a:lnTo>
                    <a:pt x="277" y="442"/>
                  </a:lnTo>
                  <a:lnTo>
                    <a:pt x="277" y="440"/>
                  </a:lnTo>
                  <a:lnTo>
                    <a:pt x="278" y="438"/>
                  </a:lnTo>
                  <a:lnTo>
                    <a:pt x="279" y="431"/>
                  </a:lnTo>
                  <a:lnTo>
                    <a:pt x="280" y="427"/>
                  </a:lnTo>
                  <a:lnTo>
                    <a:pt x="279" y="423"/>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23" name="Freeform 57">
              <a:extLst>
                <a:ext uri="{FF2B5EF4-FFF2-40B4-BE49-F238E27FC236}">
                  <a16:creationId xmlns:a16="http://schemas.microsoft.com/office/drawing/2014/main" id="{AC582837-F4E4-42C4-BF1F-26EAC9045535}"/>
                </a:ext>
              </a:extLst>
            </p:cNvPr>
            <p:cNvSpPr>
              <a:spLocks/>
            </p:cNvSpPr>
            <p:nvPr/>
          </p:nvSpPr>
          <p:spPr bwMode="gray">
            <a:xfrm>
              <a:off x="12004161" y="5528008"/>
              <a:ext cx="202559" cy="287944"/>
            </a:xfrm>
            <a:custGeom>
              <a:avLst/>
              <a:gdLst>
                <a:gd name="T0" fmla="*/ 316 w 325"/>
                <a:gd name="T1" fmla="*/ 84 h 462"/>
                <a:gd name="T2" fmla="*/ 302 w 325"/>
                <a:gd name="T3" fmla="*/ 80 h 462"/>
                <a:gd name="T4" fmla="*/ 275 w 325"/>
                <a:gd name="T5" fmla="*/ 78 h 462"/>
                <a:gd name="T6" fmla="*/ 252 w 325"/>
                <a:gd name="T7" fmla="*/ 78 h 462"/>
                <a:gd name="T8" fmla="*/ 237 w 325"/>
                <a:gd name="T9" fmla="*/ 66 h 462"/>
                <a:gd name="T10" fmla="*/ 225 w 325"/>
                <a:gd name="T11" fmla="*/ 60 h 462"/>
                <a:gd name="T12" fmla="*/ 216 w 325"/>
                <a:gd name="T13" fmla="*/ 51 h 462"/>
                <a:gd name="T14" fmla="*/ 194 w 325"/>
                <a:gd name="T15" fmla="*/ 47 h 462"/>
                <a:gd name="T16" fmla="*/ 168 w 325"/>
                <a:gd name="T17" fmla="*/ 45 h 462"/>
                <a:gd name="T18" fmla="*/ 136 w 325"/>
                <a:gd name="T19" fmla="*/ 23 h 462"/>
                <a:gd name="T20" fmla="*/ 110 w 325"/>
                <a:gd name="T21" fmla="*/ 10 h 462"/>
                <a:gd name="T22" fmla="*/ 89 w 325"/>
                <a:gd name="T23" fmla="*/ 14 h 462"/>
                <a:gd name="T24" fmla="*/ 39 w 325"/>
                <a:gd name="T25" fmla="*/ 0 h 462"/>
                <a:gd name="T26" fmla="*/ 13 w 325"/>
                <a:gd name="T27" fmla="*/ 5 h 462"/>
                <a:gd name="T28" fmla="*/ 0 w 325"/>
                <a:gd name="T29" fmla="*/ 41 h 462"/>
                <a:gd name="T30" fmla="*/ 8 w 325"/>
                <a:gd name="T31" fmla="*/ 43 h 462"/>
                <a:gd name="T32" fmla="*/ 23 w 325"/>
                <a:gd name="T33" fmla="*/ 51 h 462"/>
                <a:gd name="T34" fmla="*/ 39 w 325"/>
                <a:gd name="T35" fmla="*/ 59 h 462"/>
                <a:gd name="T36" fmla="*/ 45 w 325"/>
                <a:gd name="T37" fmla="*/ 78 h 462"/>
                <a:gd name="T38" fmla="*/ 51 w 325"/>
                <a:gd name="T39" fmla="*/ 87 h 462"/>
                <a:gd name="T40" fmla="*/ 59 w 325"/>
                <a:gd name="T41" fmla="*/ 89 h 462"/>
                <a:gd name="T42" fmla="*/ 83 w 325"/>
                <a:gd name="T43" fmla="*/ 97 h 462"/>
                <a:gd name="T44" fmla="*/ 89 w 325"/>
                <a:gd name="T45" fmla="*/ 101 h 462"/>
                <a:gd name="T46" fmla="*/ 94 w 325"/>
                <a:gd name="T47" fmla="*/ 106 h 462"/>
                <a:gd name="T48" fmla="*/ 103 w 325"/>
                <a:gd name="T49" fmla="*/ 105 h 462"/>
                <a:gd name="T50" fmla="*/ 138 w 325"/>
                <a:gd name="T51" fmla="*/ 111 h 462"/>
                <a:gd name="T52" fmla="*/ 143 w 325"/>
                <a:gd name="T53" fmla="*/ 120 h 462"/>
                <a:gd name="T54" fmla="*/ 154 w 325"/>
                <a:gd name="T55" fmla="*/ 130 h 462"/>
                <a:gd name="T56" fmla="*/ 167 w 325"/>
                <a:gd name="T57" fmla="*/ 134 h 462"/>
                <a:gd name="T58" fmla="*/ 184 w 325"/>
                <a:gd name="T59" fmla="*/ 169 h 462"/>
                <a:gd name="T60" fmla="*/ 191 w 325"/>
                <a:gd name="T61" fmla="*/ 168 h 462"/>
                <a:gd name="T62" fmla="*/ 200 w 325"/>
                <a:gd name="T63" fmla="*/ 169 h 462"/>
                <a:gd name="T64" fmla="*/ 209 w 325"/>
                <a:gd name="T65" fmla="*/ 175 h 462"/>
                <a:gd name="T66" fmla="*/ 233 w 325"/>
                <a:gd name="T67" fmla="*/ 187 h 462"/>
                <a:gd name="T68" fmla="*/ 248 w 325"/>
                <a:gd name="T69" fmla="*/ 253 h 462"/>
                <a:gd name="T70" fmla="*/ 249 w 325"/>
                <a:gd name="T71" fmla="*/ 258 h 462"/>
                <a:gd name="T72" fmla="*/ 255 w 325"/>
                <a:gd name="T73" fmla="*/ 265 h 462"/>
                <a:gd name="T74" fmla="*/ 265 w 325"/>
                <a:gd name="T75" fmla="*/ 311 h 462"/>
                <a:gd name="T76" fmla="*/ 269 w 325"/>
                <a:gd name="T77" fmla="*/ 319 h 462"/>
                <a:gd name="T78" fmla="*/ 281 w 325"/>
                <a:gd name="T79" fmla="*/ 341 h 462"/>
                <a:gd name="T80" fmla="*/ 284 w 325"/>
                <a:gd name="T81" fmla="*/ 378 h 462"/>
                <a:gd name="T82" fmla="*/ 280 w 325"/>
                <a:gd name="T83" fmla="*/ 385 h 462"/>
                <a:gd name="T84" fmla="*/ 279 w 325"/>
                <a:gd name="T85" fmla="*/ 390 h 462"/>
                <a:gd name="T86" fmla="*/ 268 w 325"/>
                <a:gd name="T87" fmla="*/ 411 h 462"/>
                <a:gd name="T88" fmla="*/ 243 w 325"/>
                <a:gd name="T89" fmla="*/ 443 h 462"/>
                <a:gd name="T90" fmla="*/ 267 w 325"/>
                <a:gd name="T91" fmla="*/ 450 h 462"/>
                <a:gd name="T92" fmla="*/ 272 w 325"/>
                <a:gd name="T93" fmla="*/ 449 h 462"/>
                <a:gd name="T94" fmla="*/ 273 w 325"/>
                <a:gd name="T95" fmla="*/ 453 h 462"/>
                <a:gd name="T96" fmla="*/ 281 w 325"/>
                <a:gd name="T97" fmla="*/ 455 h 462"/>
                <a:gd name="T98" fmla="*/ 291 w 325"/>
                <a:gd name="T99" fmla="*/ 461 h 462"/>
                <a:gd name="T100" fmla="*/ 305 w 325"/>
                <a:gd name="T101" fmla="*/ 447 h 462"/>
                <a:gd name="T102" fmla="*/ 325 w 325"/>
                <a:gd name="T103" fmla="*/ 448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5" h="462">
                  <a:moveTo>
                    <a:pt x="325" y="86"/>
                  </a:moveTo>
                  <a:lnTo>
                    <a:pt x="321" y="86"/>
                  </a:lnTo>
                  <a:lnTo>
                    <a:pt x="316" y="84"/>
                  </a:lnTo>
                  <a:lnTo>
                    <a:pt x="311" y="82"/>
                  </a:lnTo>
                  <a:lnTo>
                    <a:pt x="307" y="81"/>
                  </a:lnTo>
                  <a:lnTo>
                    <a:pt x="302" y="80"/>
                  </a:lnTo>
                  <a:lnTo>
                    <a:pt x="291" y="82"/>
                  </a:lnTo>
                  <a:lnTo>
                    <a:pt x="286" y="81"/>
                  </a:lnTo>
                  <a:lnTo>
                    <a:pt x="275" y="78"/>
                  </a:lnTo>
                  <a:lnTo>
                    <a:pt x="270" y="77"/>
                  </a:lnTo>
                  <a:lnTo>
                    <a:pt x="258" y="79"/>
                  </a:lnTo>
                  <a:lnTo>
                    <a:pt x="252" y="78"/>
                  </a:lnTo>
                  <a:lnTo>
                    <a:pt x="248" y="76"/>
                  </a:lnTo>
                  <a:lnTo>
                    <a:pt x="241" y="69"/>
                  </a:lnTo>
                  <a:lnTo>
                    <a:pt x="237" y="66"/>
                  </a:lnTo>
                  <a:lnTo>
                    <a:pt x="228" y="64"/>
                  </a:lnTo>
                  <a:lnTo>
                    <a:pt x="226" y="62"/>
                  </a:lnTo>
                  <a:lnTo>
                    <a:pt x="225" y="60"/>
                  </a:lnTo>
                  <a:lnTo>
                    <a:pt x="222" y="55"/>
                  </a:lnTo>
                  <a:lnTo>
                    <a:pt x="221" y="52"/>
                  </a:lnTo>
                  <a:lnTo>
                    <a:pt x="216" y="51"/>
                  </a:lnTo>
                  <a:lnTo>
                    <a:pt x="205" y="53"/>
                  </a:lnTo>
                  <a:lnTo>
                    <a:pt x="199" y="50"/>
                  </a:lnTo>
                  <a:lnTo>
                    <a:pt x="194" y="47"/>
                  </a:lnTo>
                  <a:lnTo>
                    <a:pt x="189" y="44"/>
                  </a:lnTo>
                  <a:lnTo>
                    <a:pt x="184" y="43"/>
                  </a:lnTo>
                  <a:lnTo>
                    <a:pt x="168" y="45"/>
                  </a:lnTo>
                  <a:lnTo>
                    <a:pt x="163" y="44"/>
                  </a:lnTo>
                  <a:lnTo>
                    <a:pt x="141" y="26"/>
                  </a:lnTo>
                  <a:lnTo>
                    <a:pt x="136" y="23"/>
                  </a:lnTo>
                  <a:lnTo>
                    <a:pt x="119" y="18"/>
                  </a:lnTo>
                  <a:lnTo>
                    <a:pt x="111" y="12"/>
                  </a:lnTo>
                  <a:lnTo>
                    <a:pt x="110" y="10"/>
                  </a:lnTo>
                  <a:lnTo>
                    <a:pt x="105" y="8"/>
                  </a:lnTo>
                  <a:lnTo>
                    <a:pt x="99" y="9"/>
                  </a:lnTo>
                  <a:lnTo>
                    <a:pt x="89" y="14"/>
                  </a:lnTo>
                  <a:lnTo>
                    <a:pt x="85" y="15"/>
                  </a:lnTo>
                  <a:lnTo>
                    <a:pt x="78" y="15"/>
                  </a:lnTo>
                  <a:lnTo>
                    <a:pt x="39" y="0"/>
                  </a:lnTo>
                  <a:lnTo>
                    <a:pt x="28" y="0"/>
                  </a:lnTo>
                  <a:lnTo>
                    <a:pt x="17" y="3"/>
                  </a:lnTo>
                  <a:lnTo>
                    <a:pt x="13" y="5"/>
                  </a:lnTo>
                  <a:lnTo>
                    <a:pt x="11" y="9"/>
                  </a:lnTo>
                  <a:lnTo>
                    <a:pt x="1" y="37"/>
                  </a:lnTo>
                  <a:lnTo>
                    <a:pt x="0" y="41"/>
                  </a:lnTo>
                  <a:lnTo>
                    <a:pt x="0" y="41"/>
                  </a:lnTo>
                  <a:lnTo>
                    <a:pt x="3" y="42"/>
                  </a:lnTo>
                  <a:lnTo>
                    <a:pt x="8" y="43"/>
                  </a:lnTo>
                  <a:lnTo>
                    <a:pt x="16" y="45"/>
                  </a:lnTo>
                  <a:lnTo>
                    <a:pt x="18" y="46"/>
                  </a:lnTo>
                  <a:lnTo>
                    <a:pt x="23" y="51"/>
                  </a:lnTo>
                  <a:lnTo>
                    <a:pt x="32" y="54"/>
                  </a:lnTo>
                  <a:lnTo>
                    <a:pt x="37" y="56"/>
                  </a:lnTo>
                  <a:lnTo>
                    <a:pt x="39" y="59"/>
                  </a:lnTo>
                  <a:lnTo>
                    <a:pt x="43" y="65"/>
                  </a:lnTo>
                  <a:lnTo>
                    <a:pt x="45" y="71"/>
                  </a:lnTo>
                  <a:lnTo>
                    <a:pt x="45" y="78"/>
                  </a:lnTo>
                  <a:lnTo>
                    <a:pt x="46" y="81"/>
                  </a:lnTo>
                  <a:lnTo>
                    <a:pt x="50" y="84"/>
                  </a:lnTo>
                  <a:lnTo>
                    <a:pt x="51" y="87"/>
                  </a:lnTo>
                  <a:lnTo>
                    <a:pt x="54" y="93"/>
                  </a:lnTo>
                  <a:lnTo>
                    <a:pt x="55" y="95"/>
                  </a:lnTo>
                  <a:lnTo>
                    <a:pt x="59" y="89"/>
                  </a:lnTo>
                  <a:lnTo>
                    <a:pt x="65" y="90"/>
                  </a:lnTo>
                  <a:lnTo>
                    <a:pt x="78" y="96"/>
                  </a:lnTo>
                  <a:lnTo>
                    <a:pt x="83" y="97"/>
                  </a:lnTo>
                  <a:lnTo>
                    <a:pt x="85" y="97"/>
                  </a:lnTo>
                  <a:lnTo>
                    <a:pt x="86" y="99"/>
                  </a:lnTo>
                  <a:lnTo>
                    <a:pt x="89" y="101"/>
                  </a:lnTo>
                  <a:lnTo>
                    <a:pt x="89" y="102"/>
                  </a:lnTo>
                  <a:lnTo>
                    <a:pt x="91" y="103"/>
                  </a:lnTo>
                  <a:lnTo>
                    <a:pt x="94" y="106"/>
                  </a:lnTo>
                  <a:lnTo>
                    <a:pt x="96" y="106"/>
                  </a:lnTo>
                  <a:lnTo>
                    <a:pt x="98" y="106"/>
                  </a:lnTo>
                  <a:lnTo>
                    <a:pt x="103" y="105"/>
                  </a:lnTo>
                  <a:lnTo>
                    <a:pt x="110" y="105"/>
                  </a:lnTo>
                  <a:lnTo>
                    <a:pt x="126" y="107"/>
                  </a:lnTo>
                  <a:lnTo>
                    <a:pt x="138" y="111"/>
                  </a:lnTo>
                  <a:lnTo>
                    <a:pt x="139" y="112"/>
                  </a:lnTo>
                  <a:lnTo>
                    <a:pt x="143" y="119"/>
                  </a:lnTo>
                  <a:lnTo>
                    <a:pt x="143" y="120"/>
                  </a:lnTo>
                  <a:lnTo>
                    <a:pt x="145" y="121"/>
                  </a:lnTo>
                  <a:lnTo>
                    <a:pt x="150" y="129"/>
                  </a:lnTo>
                  <a:lnTo>
                    <a:pt x="154" y="130"/>
                  </a:lnTo>
                  <a:lnTo>
                    <a:pt x="160" y="127"/>
                  </a:lnTo>
                  <a:lnTo>
                    <a:pt x="164" y="127"/>
                  </a:lnTo>
                  <a:lnTo>
                    <a:pt x="167" y="134"/>
                  </a:lnTo>
                  <a:lnTo>
                    <a:pt x="174" y="145"/>
                  </a:lnTo>
                  <a:lnTo>
                    <a:pt x="177" y="158"/>
                  </a:lnTo>
                  <a:lnTo>
                    <a:pt x="184" y="169"/>
                  </a:lnTo>
                  <a:lnTo>
                    <a:pt x="186" y="170"/>
                  </a:lnTo>
                  <a:lnTo>
                    <a:pt x="188" y="170"/>
                  </a:lnTo>
                  <a:lnTo>
                    <a:pt x="191" y="168"/>
                  </a:lnTo>
                  <a:lnTo>
                    <a:pt x="193" y="167"/>
                  </a:lnTo>
                  <a:lnTo>
                    <a:pt x="197" y="168"/>
                  </a:lnTo>
                  <a:lnTo>
                    <a:pt x="200" y="169"/>
                  </a:lnTo>
                  <a:lnTo>
                    <a:pt x="204" y="171"/>
                  </a:lnTo>
                  <a:lnTo>
                    <a:pt x="207" y="174"/>
                  </a:lnTo>
                  <a:lnTo>
                    <a:pt x="209" y="175"/>
                  </a:lnTo>
                  <a:lnTo>
                    <a:pt x="221" y="178"/>
                  </a:lnTo>
                  <a:lnTo>
                    <a:pt x="228" y="181"/>
                  </a:lnTo>
                  <a:lnTo>
                    <a:pt x="233" y="187"/>
                  </a:lnTo>
                  <a:lnTo>
                    <a:pt x="237" y="194"/>
                  </a:lnTo>
                  <a:lnTo>
                    <a:pt x="240" y="203"/>
                  </a:lnTo>
                  <a:lnTo>
                    <a:pt x="248" y="253"/>
                  </a:lnTo>
                  <a:lnTo>
                    <a:pt x="248" y="253"/>
                  </a:lnTo>
                  <a:lnTo>
                    <a:pt x="249" y="256"/>
                  </a:lnTo>
                  <a:lnTo>
                    <a:pt x="249" y="258"/>
                  </a:lnTo>
                  <a:lnTo>
                    <a:pt x="254" y="262"/>
                  </a:lnTo>
                  <a:lnTo>
                    <a:pt x="255" y="264"/>
                  </a:lnTo>
                  <a:lnTo>
                    <a:pt x="255" y="265"/>
                  </a:lnTo>
                  <a:lnTo>
                    <a:pt x="264" y="294"/>
                  </a:lnTo>
                  <a:lnTo>
                    <a:pt x="265" y="304"/>
                  </a:lnTo>
                  <a:lnTo>
                    <a:pt x="265" y="311"/>
                  </a:lnTo>
                  <a:lnTo>
                    <a:pt x="266" y="315"/>
                  </a:lnTo>
                  <a:lnTo>
                    <a:pt x="268" y="317"/>
                  </a:lnTo>
                  <a:lnTo>
                    <a:pt x="269" y="319"/>
                  </a:lnTo>
                  <a:lnTo>
                    <a:pt x="274" y="327"/>
                  </a:lnTo>
                  <a:lnTo>
                    <a:pt x="280" y="338"/>
                  </a:lnTo>
                  <a:lnTo>
                    <a:pt x="281" y="341"/>
                  </a:lnTo>
                  <a:lnTo>
                    <a:pt x="282" y="346"/>
                  </a:lnTo>
                  <a:lnTo>
                    <a:pt x="284" y="360"/>
                  </a:lnTo>
                  <a:lnTo>
                    <a:pt x="284" y="378"/>
                  </a:lnTo>
                  <a:lnTo>
                    <a:pt x="283" y="380"/>
                  </a:lnTo>
                  <a:lnTo>
                    <a:pt x="282" y="381"/>
                  </a:lnTo>
                  <a:lnTo>
                    <a:pt x="280" y="385"/>
                  </a:lnTo>
                  <a:lnTo>
                    <a:pt x="279" y="387"/>
                  </a:lnTo>
                  <a:lnTo>
                    <a:pt x="279" y="388"/>
                  </a:lnTo>
                  <a:lnTo>
                    <a:pt x="279" y="390"/>
                  </a:lnTo>
                  <a:lnTo>
                    <a:pt x="278" y="393"/>
                  </a:lnTo>
                  <a:lnTo>
                    <a:pt x="270" y="405"/>
                  </a:lnTo>
                  <a:lnTo>
                    <a:pt x="268" y="411"/>
                  </a:lnTo>
                  <a:lnTo>
                    <a:pt x="258" y="418"/>
                  </a:lnTo>
                  <a:lnTo>
                    <a:pt x="254" y="424"/>
                  </a:lnTo>
                  <a:lnTo>
                    <a:pt x="243" y="443"/>
                  </a:lnTo>
                  <a:lnTo>
                    <a:pt x="260" y="450"/>
                  </a:lnTo>
                  <a:lnTo>
                    <a:pt x="262" y="450"/>
                  </a:lnTo>
                  <a:lnTo>
                    <a:pt x="267" y="450"/>
                  </a:lnTo>
                  <a:lnTo>
                    <a:pt x="271" y="448"/>
                  </a:lnTo>
                  <a:lnTo>
                    <a:pt x="272" y="448"/>
                  </a:lnTo>
                  <a:lnTo>
                    <a:pt x="272" y="449"/>
                  </a:lnTo>
                  <a:lnTo>
                    <a:pt x="272" y="450"/>
                  </a:lnTo>
                  <a:lnTo>
                    <a:pt x="272" y="452"/>
                  </a:lnTo>
                  <a:lnTo>
                    <a:pt x="273" y="453"/>
                  </a:lnTo>
                  <a:lnTo>
                    <a:pt x="275" y="454"/>
                  </a:lnTo>
                  <a:lnTo>
                    <a:pt x="279" y="455"/>
                  </a:lnTo>
                  <a:lnTo>
                    <a:pt x="281" y="455"/>
                  </a:lnTo>
                  <a:lnTo>
                    <a:pt x="288" y="461"/>
                  </a:lnTo>
                  <a:lnTo>
                    <a:pt x="290" y="462"/>
                  </a:lnTo>
                  <a:lnTo>
                    <a:pt x="291" y="461"/>
                  </a:lnTo>
                  <a:lnTo>
                    <a:pt x="298" y="456"/>
                  </a:lnTo>
                  <a:lnTo>
                    <a:pt x="303" y="449"/>
                  </a:lnTo>
                  <a:lnTo>
                    <a:pt x="305" y="447"/>
                  </a:lnTo>
                  <a:lnTo>
                    <a:pt x="311" y="444"/>
                  </a:lnTo>
                  <a:lnTo>
                    <a:pt x="323" y="449"/>
                  </a:lnTo>
                  <a:lnTo>
                    <a:pt x="325" y="448"/>
                  </a:lnTo>
                  <a:lnTo>
                    <a:pt x="325" y="86"/>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24" name="Freeform 58">
              <a:extLst>
                <a:ext uri="{FF2B5EF4-FFF2-40B4-BE49-F238E27FC236}">
                  <a16:creationId xmlns:a16="http://schemas.microsoft.com/office/drawing/2014/main" id="{DFD7CD92-3637-408B-971D-F0BD3746D761}"/>
                </a:ext>
              </a:extLst>
            </p:cNvPr>
            <p:cNvSpPr>
              <a:spLocks/>
            </p:cNvSpPr>
            <p:nvPr/>
          </p:nvSpPr>
          <p:spPr bwMode="gray">
            <a:xfrm>
              <a:off x="10627387" y="5726826"/>
              <a:ext cx="1579332" cy="796522"/>
            </a:xfrm>
            <a:custGeom>
              <a:avLst/>
              <a:gdLst>
                <a:gd name="T0" fmla="*/ 2379 w 2534"/>
                <a:gd name="T1" fmla="*/ 181 h 1278"/>
                <a:gd name="T2" fmla="*/ 2172 w 2534"/>
                <a:gd name="T3" fmla="*/ 231 h 1278"/>
                <a:gd name="T4" fmla="*/ 2007 w 2534"/>
                <a:gd name="T5" fmla="*/ 241 h 1278"/>
                <a:gd name="T6" fmla="*/ 1839 w 2534"/>
                <a:gd name="T7" fmla="*/ 207 h 1278"/>
                <a:gd name="T8" fmla="*/ 1671 w 2534"/>
                <a:gd name="T9" fmla="*/ 160 h 1278"/>
                <a:gd name="T10" fmla="*/ 1572 w 2534"/>
                <a:gd name="T11" fmla="*/ 78 h 1278"/>
                <a:gd name="T12" fmla="*/ 1437 w 2534"/>
                <a:gd name="T13" fmla="*/ 47 h 1278"/>
                <a:gd name="T14" fmla="*/ 1348 w 2534"/>
                <a:gd name="T15" fmla="*/ 31 h 1278"/>
                <a:gd name="T16" fmla="*/ 1004 w 2534"/>
                <a:gd name="T17" fmla="*/ 75 h 1278"/>
                <a:gd name="T18" fmla="*/ 834 w 2534"/>
                <a:gd name="T19" fmla="*/ 204 h 1278"/>
                <a:gd name="T20" fmla="*/ 498 w 2534"/>
                <a:gd name="T21" fmla="*/ 184 h 1278"/>
                <a:gd name="T22" fmla="*/ 507 w 2534"/>
                <a:gd name="T23" fmla="*/ 270 h 1278"/>
                <a:gd name="T24" fmla="*/ 603 w 2534"/>
                <a:gd name="T25" fmla="*/ 288 h 1278"/>
                <a:gd name="T26" fmla="*/ 486 w 2534"/>
                <a:gd name="T27" fmla="*/ 346 h 1278"/>
                <a:gd name="T28" fmla="*/ 324 w 2534"/>
                <a:gd name="T29" fmla="*/ 358 h 1278"/>
                <a:gd name="T30" fmla="*/ 275 w 2534"/>
                <a:gd name="T31" fmla="*/ 358 h 1278"/>
                <a:gd name="T32" fmla="*/ 146 w 2534"/>
                <a:gd name="T33" fmla="*/ 359 h 1278"/>
                <a:gd name="T34" fmla="*/ 29 w 2534"/>
                <a:gd name="T35" fmla="*/ 441 h 1278"/>
                <a:gd name="T36" fmla="*/ 36 w 2534"/>
                <a:gd name="T37" fmla="*/ 545 h 1278"/>
                <a:gd name="T38" fmla="*/ 94 w 2534"/>
                <a:gd name="T39" fmla="*/ 586 h 1278"/>
                <a:gd name="T40" fmla="*/ 122 w 2534"/>
                <a:gd name="T41" fmla="*/ 658 h 1278"/>
                <a:gd name="T42" fmla="*/ 135 w 2534"/>
                <a:gd name="T43" fmla="*/ 693 h 1278"/>
                <a:gd name="T44" fmla="*/ 122 w 2534"/>
                <a:gd name="T45" fmla="*/ 734 h 1278"/>
                <a:gd name="T46" fmla="*/ 151 w 2534"/>
                <a:gd name="T47" fmla="*/ 764 h 1278"/>
                <a:gd name="T48" fmla="*/ 86 w 2534"/>
                <a:gd name="T49" fmla="*/ 752 h 1278"/>
                <a:gd name="T50" fmla="*/ 50 w 2534"/>
                <a:gd name="T51" fmla="*/ 755 h 1278"/>
                <a:gd name="T52" fmla="*/ 40 w 2534"/>
                <a:gd name="T53" fmla="*/ 773 h 1278"/>
                <a:gd name="T54" fmla="*/ 75 w 2534"/>
                <a:gd name="T55" fmla="*/ 820 h 1278"/>
                <a:gd name="T56" fmla="*/ 139 w 2534"/>
                <a:gd name="T57" fmla="*/ 833 h 1278"/>
                <a:gd name="T58" fmla="*/ 153 w 2534"/>
                <a:gd name="T59" fmla="*/ 909 h 1278"/>
                <a:gd name="T60" fmla="*/ 183 w 2534"/>
                <a:gd name="T61" fmla="*/ 977 h 1278"/>
                <a:gd name="T62" fmla="*/ 230 w 2534"/>
                <a:gd name="T63" fmla="*/ 994 h 1278"/>
                <a:gd name="T64" fmla="*/ 233 w 2534"/>
                <a:gd name="T65" fmla="*/ 1021 h 1278"/>
                <a:gd name="T66" fmla="*/ 187 w 2534"/>
                <a:gd name="T67" fmla="*/ 1021 h 1278"/>
                <a:gd name="T68" fmla="*/ 208 w 2534"/>
                <a:gd name="T69" fmla="*/ 1044 h 1278"/>
                <a:gd name="T70" fmla="*/ 299 w 2534"/>
                <a:gd name="T71" fmla="*/ 1042 h 1278"/>
                <a:gd name="T72" fmla="*/ 331 w 2534"/>
                <a:gd name="T73" fmla="*/ 1061 h 1278"/>
                <a:gd name="T74" fmla="*/ 310 w 2534"/>
                <a:gd name="T75" fmla="*/ 1079 h 1278"/>
                <a:gd name="T76" fmla="*/ 211 w 2534"/>
                <a:gd name="T77" fmla="*/ 1104 h 1278"/>
                <a:gd name="T78" fmla="*/ 264 w 2534"/>
                <a:gd name="T79" fmla="*/ 1093 h 1278"/>
                <a:gd name="T80" fmla="*/ 323 w 2534"/>
                <a:gd name="T81" fmla="*/ 1092 h 1278"/>
                <a:gd name="T82" fmla="*/ 320 w 2534"/>
                <a:gd name="T83" fmla="*/ 1116 h 1278"/>
                <a:gd name="T84" fmla="*/ 343 w 2534"/>
                <a:gd name="T85" fmla="*/ 1101 h 1278"/>
                <a:gd name="T86" fmla="*/ 366 w 2534"/>
                <a:gd name="T87" fmla="*/ 1075 h 1278"/>
                <a:gd name="T88" fmla="*/ 403 w 2534"/>
                <a:gd name="T89" fmla="*/ 1085 h 1278"/>
                <a:gd name="T90" fmla="*/ 445 w 2534"/>
                <a:gd name="T91" fmla="*/ 1119 h 1278"/>
                <a:gd name="T92" fmla="*/ 468 w 2534"/>
                <a:gd name="T93" fmla="*/ 1127 h 1278"/>
                <a:gd name="T94" fmla="*/ 502 w 2534"/>
                <a:gd name="T95" fmla="*/ 1179 h 1278"/>
                <a:gd name="T96" fmla="*/ 572 w 2534"/>
                <a:gd name="T97" fmla="*/ 1218 h 1278"/>
                <a:gd name="T98" fmla="*/ 619 w 2534"/>
                <a:gd name="T99" fmla="*/ 1200 h 1278"/>
                <a:gd name="T100" fmla="*/ 704 w 2534"/>
                <a:gd name="T101" fmla="*/ 1178 h 1278"/>
                <a:gd name="T102" fmla="*/ 842 w 2534"/>
                <a:gd name="T103" fmla="*/ 1087 h 1278"/>
                <a:gd name="T104" fmla="*/ 985 w 2534"/>
                <a:gd name="T105" fmla="*/ 1186 h 1278"/>
                <a:gd name="T106" fmla="*/ 1134 w 2534"/>
                <a:gd name="T107" fmla="*/ 1218 h 1278"/>
                <a:gd name="T108" fmla="*/ 1236 w 2534"/>
                <a:gd name="T109" fmla="*/ 1183 h 1278"/>
                <a:gd name="T110" fmla="*/ 1351 w 2534"/>
                <a:gd name="T111" fmla="*/ 1089 h 1278"/>
                <a:gd name="T112" fmla="*/ 1497 w 2534"/>
                <a:gd name="T113" fmla="*/ 1121 h 1278"/>
                <a:gd name="T114" fmla="*/ 1515 w 2534"/>
                <a:gd name="T115" fmla="*/ 1106 h 1278"/>
                <a:gd name="T116" fmla="*/ 1604 w 2534"/>
                <a:gd name="T117" fmla="*/ 1126 h 1278"/>
                <a:gd name="T118" fmla="*/ 1570 w 2534"/>
                <a:gd name="T119" fmla="*/ 1257 h 1278"/>
                <a:gd name="T120" fmla="*/ 1649 w 2534"/>
                <a:gd name="T121" fmla="*/ 1203 h 1278"/>
                <a:gd name="T122" fmla="*/ 1672 w 2534"/>
                <a:gd name="T123" fmla="*/ 1096 h 1278"/>
                <a:gd name="T124" fmla="*/ 1929 w 2534"/>
                <a:gd name="T125" fmla="*/ 1064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34" h="1278">
                  <a:moveTo>
                    <a:pt x="2534" y="129"/>
                  </a:moveTo>
                  <a:lnTo>
                    <a:pt x="2532" y="130"/>
                  </a:lnTo>
                  <a:lnTo>
                    <a:pt x="2520" y="125"/>
                  </a:lnTo>
                  <a:lnTo>
                    <a:pt x="2514" y="128"/>
                  </a:lnTo>
                  <a:lnTo>
                    <a:pt x="2512" y="130"/>
                  </a:lnTo>
                  <a:lnTo>
                    <a:pt x="2507" y="137"/>
                  </a:lnTo>
                  <a:lnTo>
                    <a:pt x="2500" y="142"/>
                  </a:lnTo>
                  <a:lnTo>
                    <a:pt x="2499" y="143"/>
                  </a:lnTo>
                  <a:lnTo>
                    <a:pt x="2497" y="142"/>
                  </a:lnTo>
                  <a:lnTo>
                    <a:pt x="2490" y="136"/>
                  </a:lnTo>
                  <a:lnTo>
                    <a:pt x="2488" y="136"/>
                  </a:lnTo>
                  <a:lnTo>
                    <a:pt x="2484" y="135"/>
                  </a:lnTo>
                  <a:lnTo>
                    <a:pt x="2482" y="134"/>
                  </a:lnTo>
                  <a:lnTo>
                    <a:pt x="2481" y="133"/>
                  </a:lnTo>
                  <a:lnTo>
                    <a:pt x="2481" y="131"/>
                  </a:lnTo>
                  <a:lnTo>
                    <a:pt x="2481" y="130"/>
                  </a:lnTo>
                  <a:lnTo>
                    <a:pt x="2481" y="129"/>
                  </a:lnTo>
                  <a:lnTo>
                    <a:pt x="2480" y="129"/>
                  </a:lnTo>
                  <a:lnTo>
                    <a:pt x="2476" y="131"/>
                  </a:lnTo>
                  <a:lnTo>
                    <a:pt x="2471" y="131"/>
                  </a:lnTo>
                  <a:lnTo>
                    <a:pt x="2469" y="131"/>
                  </a:lnTo>
                  <a:lnTo>
                    <a:pt x="2452" y="124"/>
                  </a:lnTo>
                  <a:lnTo>
                    <a:pt x="2450" y="128"/>
                  </a:lnTo>
                  <a:lnTo>
                    <a:pt x="2441" y="136"/>
                  </a:lnTo>
                  <a:lnTo>
                    <a:pt x="2439" y="137"/>
                  </a:lnTo>
                  <a:lnTo>
                    <a:pt x="2439" y="142"/>
                  </a:lnTo>
                  <a:lnTo>
                    <a:pt x="2437" y="146"/>
                  </a:lnTo>
                  <a:lnTo>
                    <a:pt x="2435" y="150"/>
                  </a:lnTo>
                  <a:lnTo>
                    <a:pt x="2432" y="152"/>
                  </a:lnTo>
                  <a:lnTo>
                    <a:pt x="2430" y="153"/>
                  </a:lnTo>
                  <a:lnTo>
                    <a:pt x="2424" y="154"/>
                  </a:lnTo>
                  <a:lnTo>
                    <a:pt x="2422" y="154"/>
                  </a:lnTo>
                  <a:lnTo>
                    <a:pt x="2419" y="156"/>
                  </a:lnTo>
                  <a:lnTo>
                    <a:pt x="2415" y="158"/>
                  </a:lnTo>
                  <a:lnTo>
                    <a:pt x="2400" y="170"/>
                  </a:lnTo>
                  <a:lnTo>
                    <a:pt x="2397" y="171"/>
                  </a:lnTo>
                  <a:lnTo>
                    <a:pt x="2393" y="171"/>
                  </a:lnTo>
                  <a:lnTo>
                    <a:pt x="2389" y="172"/>
                  </a:lnTo>
                  <a:lnTo>
                    <a:pt x="2386" y="174"/>
                  </a:lnTo>
                  <a:lnTo>
                    <a:pt x="2379" y="181"/>
                  </a:lnTo>
                  <a:lnTo>
                    <a:pt x="2377" y="183"/>
                  </a:lnTo>
                  <a:lnTo>
                    <a:pt x="2373" y="185"/>
                  </a:lnTo>
                  <a:lnTo>
                    <a:pt x="2369" y="186"/>
                  </a:lnTo>
                  <a:lnTo>
                    <a:pt x="2366" y="187"/>
                  </a:lnTo>
                  <a:lnTo>
                    <a:pt x="2363" y="188"/>
                  </a:lnTo>
                  <a:lnTo>
                    <a:pt x="2357" y="192"/>
                  </a:lnTo>
                  <a:lnTo>
                    <a:pt x="2353" y="193"/>
                  </a:lnTo>
                  <a:lnTo>
                    <a:pt x="2347" y="190"/>
                  </a:lnTo>
                  <a:lnTo>
                    <a:pt x="2344" y="189"/>
                  </a:lnTo>
                  <a:lnTo>
                    <a:pt x="2342" y="190"/>
                  </a:lnTo>
                  <a:lnTo>
                    <a:pt x="2331" y="198"/>
                  </a:lnTo>
                  <a:lnTo>
                    <a:pt x="2322" y="211"/>
                  </a:lnTo>
                  <a:lnTo>
                    <a:pt x="2320" y="212"/>
                  </a:lnTo>
                  <a:lnTo>
                    <a:pt x="2317" y="213"/>
                  </a:lnTo>
                  <a:lnTo>
                    <a:pt x="2313" y="214"/>
                  </a:lnTo>
                  <a:lnTo>
                    <a:pt x="2310" y="215"/>
                  </a:lnTo>
                  <a:lnTo>
                    <a:pt x="2304" y="220"/>
                  </a:lnTo>
                  <a:lnTo>
                    <a:pt x="2299" y="223"/>
                  </a:lnTo>
                  <a:lnTo>
                    <a:pt x="2295" y="224"/>
                  </a:lnTo>
                  <a:lnTo>
                    <a:pt x="2290" y="224"/>
                  </a:lnTo>
                  <a:lnTo>
                    <a:pt x="2285" y="221"/>
                  </a:lnTo>
                  <a:lnTo>
                    <a:pt x="2259" y="238"/>
                  </a:lnTo>
                  <a:lnTo>
                    <a:pt x="2251" y="241"/>
                  </a:lnTo>
                  <a:lnTo>
                    <a:pt x="2248" y="243"/>
                  </a:lnTo>
                  <a:lnTo>
                    <a:pt x="2242" y="245"/>
                  </a:lnTo>
                  <a:lnTo>
                    <a:pt x="2238" y="246"/>
                  </a:lnTo>
                  <a:lnTo>
                    <a:pt x="2234" y="248"/>
                  </a:lnTo>
                  <a:lnTo>
                    <a:pt x="2231" y="248"/>
                  </a:lnTo>
                  <a:lnTo>
                    <a:pt x="2225" y="247"/>
                  </a:lnTo>
                  <a:lnTo>
                    <a:pt x="2220" y="244"/>
                  </a:lnTo>
                  <a:lnTo>
                    <a:pt x="2211" y="236"/>
                  </a:lnTo>
                  <a:lnTo>
                    <a:pt x="2207" y="236"/>
                  </a:lnTo>
                  <a:lnTo>
                    <a:pt x="2197" y="239"/>
                  </a:lnTo>
                  <a:lnTo>
                    <a:pt x="2194" y="241"/>
                  </a:lnTo>
                  <a:lnTo>
                    <a:pt x="2191" y="241"/>
                  </a:lnTo>
                  <a:lnTo>
                    <a:pt x="2188" y="239"/>
                  </a:lnTo>
                  <a:lnTo>
                    <a:pt x="2179" y="232"/>
                  </a:lnTo>
                  <a:lnTo>
                    <a:pt x="2178" y="231"/>
                  </a:lnTo>
                  <a:lnTo>
                    <a:pt x="2174" y="232"/>
                  </a:lnTo>
                  <a:lnTo>
                    <a:pt x="2172" y="231"/>
                  </a:lnTo>
                  <a:lnTo>
                    <a:pt x="2168" y="228"/>
                  </a:lnTo>
                  <a:lnTo>
                    <a:pt x="2165" y="229"/>
                  </a:lnTo>
                  <a:lnTo>
                    <a:pt x="2162" y="230"/>
                  </a:lnTo>
                  <a:lnTo>
                    <a:pt x="2158" y="231"/>
                  </a:lnTo>
                  <a:lnTo>
                    <a:pt x="2152" y="230"/>
                  </a:lnTo>
                  <a:lnTo>
                    <a:pt x="2146" y="227"/>
                  </a:lnTo>
                  <a:lnTo>
                    <a:pt x="2137" y="218"/>
                  </a:lnTo>
                  <a:lnTo>
                    <a:pt x="2133" y="213"/>
                  </a:lnTo>
                  <a:lnTo>
                    <a:pt x="2130" y="211"/>
                  </a:lnTo>
                  <a:lnTo>
                    <a:pt x="2120" y="208"/>
                  </a:lnTo>
                  <a:lnTo>
                    <a:pt x="2118" y="209"/>
                  </a:lnTo>
                  <a:lnTo>
                    <a:pt x="2118" y="209"/>
                  </a:lnTo>
                  <a:lnTo>
                    <a:pt x="2117" y="210"/>
                  </a:lnTo>
                  <a:lnTo>
                    <a:pt x="2116" y="211"/>
                  </a:lnTo>
                  <a:lnTo>
                    <a:pt x="2108" y="216"/>
                  </a:lnTo>
                  <a:lnTo>
                    <a:pt x="2106" y="217"/>
                  </a:lnTo>
                  <a:lnTo>
                    <a:pt x="2103" y="217"/>
                  </a:lnTo>
                  <a:lnTo>
                    <a:pt x="2098" y="220"/>
                  </a:lnTo>
                  <a:lnTo>
                    <a:pt x="2096" y="221"/>
                  </a:lnTo>
                  <a:lnTo>
                    <a:pt x="2092" y="221"/>
                  </a:lnTo>
                  <a:lnTo>
                    <a:pt x="2087" y="217"/>
                  </a:lnTo>
                  <a:lnTo>
                    <a:pt x="2084" y="216"/>
                  </a:lnTo>
                  <a:lnTo>
                    <a:pt x="2079" y="215"/>
                  </a:lnTo>
                  <a:lnTo>
                    <a:pt x="2077" y="216"/>
                  </a:lnTo>
                  <a:lnTo>
                    <a:pt x="2073" y="219"/>
                  </a:lnTo>
                  <a:lnTo>
                    <a:pt x="2072" y="220"/>
                  </a:lnTo>
                  <a:lnTo>
                    <a:pt x="2059" y="223"/>
                  </a:lnTo>
                  <a:lnTo>
                    <a:pt x="2041" y="223"/>
                  </a:lnTo>
                  <a:lnTo>
                    <a:pt x="2038" y="224"/>
                  </a:lnTo>
                  <a:lnTo>
                    <a:pt x="2035" y="226"/>
                  </a:lnTo>
                  <a:lnTo>
                    <a:pt x="2032" y="228"/>
                  </a:lnTo>
                  <a:lnTo>
                    <a:pt x="2021" y="230"/>
                  </a:lnTo>
                  <a:lnTo>
                    <a:pt x="2018" y="232"/>
                  </a:lnTo>
                  <a:lnTo>
                    <a:pt x="2017" y="232"/>
                  </a:lnTo>
                  <a:lnTo>
                    <a:pt x="2016" y="233"/>
                  </a:lnTo>
                  <a:lnTo>
                    <a:pt x="2013" y="237"/>
                  </a:lnTo>
                  <a:lnTo>
                    <a:pt x="2011" y="237"/>
                  </a:lnTo>
                  <a:lnTo>
                    <a:pt x="2010" y="239"/>
                  </a:lnTo>
                  <a:lnTo>
                    <a:pt x="2009" y="240"/>
                  </a:lnTo>
                  <a:lnTo>
                    <a:pt x="2007" y="241"/>
                  </a:lnTo>
                  <a:lnTo>
                    <a:pt x="2006" y="242"/>
                  </a:lnTo>
                  <a:lnTo>
                    <a:pt x="2003" y="242"/>
                  </a:lnTo>
                  <a:lnTo>
                    <a:pt x="2001" y="242"/>
                  </a:lnTo>
                  <a:lnTo>
                    <a:pt x="2000" y="241"/>
                  </a:lnTo>
                  <a:lnTo>
                    <a:pt x="1997" y="238"/>
                  </a:lnTo>
                  <a:lnTo>
                    <a:pt x="1996" y="237"/>
                  </a:lnTo>
                  <a:lnTo>
                    <a:pt x="1995" y="237"/>
                  </a:lnTo>
                  <a:lnTo>
                    <a:pt x="1990" y="238"/>
                  </a:lnTo>
                  <a:lnTo>
                    <a:pt x="1987" y="240"/>
                  </a:lnTo>
                  <a:lnTo>
                    <a:pt x="1981" y="245"/>
                  </a:lnTo>
                  <a:lnTo>
                    <a:pt x="1979" y="247"/>
                  </a:lnTo>
                  <a:lnTo>
                    <a:pt x="1967" y="248"/>
                  </a:lnTo>
                  <a:lnTo>
                    <a:pt x="1965" y="249"/>
                  </a:lnTo>
                  <a:lnTo>
                    <a:pt x="1961" y="249"/>
                  </a:lnTo>
                  <a:lnTo>
                    <a:pt x="1955" y="247"/>
                  </a:lnTo>
                  <a:lnTo>
                    <a:pt x="1949" y="249"/>
                  </a:lnTo>
                  <a:lnTo>
                    <a:pt x="1946" y="249"/>
                  </a:lnTo>
                  <a:lnTo>
                    <a:pt x="1939" y="243"/>
                  </a:lnTo>
                  <a:lnTo>
                    <a:pt x="1936" y="242"/>
                  </a:lnTo>
                  <a:lnTo>
                    <a:pt x="1929" y="244"/>
                  </a:lnTo>
                  <a:lnTo>
                    <a:pt x="1925" y="244"/>
                  </a:lnTo>
                  <a:lnTo>
                    <a:pt x="1919" y="242"/>
                  </a:lnTo>
                  <a:lnTo>
                    <a:pt x="1910" y="240"/>
                  </a:lnTo>
                  <a:lnTo>
                    <a:pt x="1891" y="234"/>
                  </a:lnTo>
                  <a:lnTo>
                    <a:pt x="1883" y="233"/>
                  </a:lnTo>
                  <a:lnTo>
                    <a:pt x="1877" y="236"/>
                  </a:lnTo>
                  <a:lnTo>
                    <a:pt x="1874" y="231"/>
                  </a:lnTo>
                  <a:lnTo>
                    <a:pt x="1873" y="228"/>
                  </a:lnTo>
                  <a:lnTo>
                    <a:pt x="1870" y="227"/>
                  </a:lnTo>
                  <a:lnTo>
                    <a:pt x="1862" y="223"/>
                  </a:lnTo>
                  <a:lnTo>
                    <a:pt x="1859" y="219"/>
                  </a:lnTo>
                  <a:lnTo>
                    <a:pt x="1859" y="206"/>
                  </a:lnTo>
                  <a:lnTo>
                    <a:pt x="1855" y="207"/>
                  </a:lnTo>
                  <a:lnTo>
                    <a:pt x="1854" y="205"/>
                  </a:lnTo>
                  <a:lnTo>
                    <a:pt x="1851" y="208"/>
                  </a:lnTo>
                  <a:lnTo>
                    <a:pt x="1848" y="208"/>
                  </a:lnTo>
                  <a:lnTo>
                    <a:pt x="1846" y="206"/>
                  </a:lnTo>
                  <a:lnTo>
                    <a:pt x="1844" y="202"/>
                  </a:lnTo>
                  <a:lnTo>
                    <a:pt x="1841" y="204"/>
                  </a:lnTo>
                  <a:lnTo>
                    <a:pt x="1839" y="207"/>
                  </a:lnTo>
                  <a:lnTo>
                    <a:pt x="1836" y="211"/>
                  </a:lnTo>
                  <a:lnTo>
                    <a:pt x="1834" y="214"/>
                  </a:lnTo>
                  <a:lnTo>
                    <a:pt x="1832" y="219"/>
                  </a:lnTo>
                  <a:lnTo>
                    <a:pt x="1831" y="221"/>
                  </a:lnTo>
                  <a:lnTo>
                    <a:pt x="1830" y="222"/>
                  </a:lnTo>
                  <a:lnTo>
                    <a:pt x="1828" y="223"/>
                  </a:lnTo>
                  <a:lnTo>
                    <a:pt x="1827" y="224"/>
                  </a:lnTo>
                  <a:lnTo>
                    <a:pt x="1824" y="223"/>
                  </a:lnTo>
                  <a:lnTo>
                    <a:pt x="1818" y="224"/>
                  </a:lnTo>
                  <a:lnTo>
                    <a:pt x="1815" y="223"/>
                  </a:lnTo>
                  <a:lnTo>
                    <a:pt x="1811" y="219"/>
                  </a:lnTo>
                  <a:lnTo>
                    <a:pt x="1810" y="217"/>
                  </a:lnTo>
                  <a:lnTo>
                    <a:pt x="1804" y="216"/>
                  </a:lnTo>
                  <a:lnTo>
                    <a:pt x="1801" y="213"/>
                  </a:lnTo>
                  <a:lnTo>
                    <a:pt x="1797" y="209"/>
                  </a:lnTo>
                  <a:lnTo>
                    <a:pt x="1795" y="208"/>
                  </a:lnTo>
                  <a:lnTo>
                    <a:pt x="1791" y="208"/>
                  </a:lnTo>
                  <a:lnTo>
                    <a:pt x="1788" y="207"/>
                  </a:lnTo>
                  <a:lnTo>
                    <a:pt x="1786" y="206"/>
                  </a:lnTo>
                  <a:lnTo>
                    <a:pt x="1782" y="202"/>
                  </a:lnTo>
                  <a:lnTo>
                    <a:pt x="1776" y="201"/>
                  </a:lnTo>
                  <a:lnTo>
                    <a:pt x="1756" y="201"/>
                  </a:lnTo>
                  <a:lnTo>
                    <a:pt x="1753" y="200"/>
                  </a:lnTo>
                  <a:lnTo>
                    <a:pt x="1747" y="196"/>
                  </a:lnTo>
                  <a:lnTo>
                    <a:pt x="1744" y="195"/>
                  </a:lnTo>
                  <a:lnTo>
                    <a:pt x="1741" y="194"/>
                  </a:lnTo>
                  <a:lnTo>
                    <a:pt x="1740" y="190"/>
                  </a:lnTo>
                  <a:lnTo>
                    <a:pt x="1740" y="181"/>
                  </a:lnTo>
                  <a:lnTo>
                    <a:pt x="1737" y="174"/>
                  </a:lnTo>
                  <a:lnTo>
                    <a:pt x="1732" y="170"/>
                  </a:lnTo>
                  <a:lnTo>
                    <a:pt x="1709" y="158"/>
                  </a:lnTo>
                  <a:lnTo>
                    <a:pt x="1696" y="155"/>
                  </a:lnTo>
                  <a:lnTo>
                    <a:pt x="1683" y="155"/>
                  </a:lnTo>
                  <a:lnTo>
                    <a:pt x="1679" y="154"/>
                  </a:lnTo>
                  <a:lnTo>
                    <a:pt x="1677" y="153"/>
                  </a:lnTo>
                  <a:lnTo>
                    <a:pt x="1674" y="153"/>
                  </a:lnTo>
                  <a:lnTo>
                    <a:pt x="1672" y="155"/>
                  </a:lnTo>
                  <a:lnTo>
                    <a:pt x="1673" y="155"/>
                  </a:lnTo>
                  <a:lnTo>
                    <a:pt x="1672" y="159"/>
                  </a:lnTo>
                  <a:lnTo>
                    <a:pt x="1671" y="160"/>
                  </a:lnTo>
                  <a:lnTo>
                    <a:pt x="1671" y="161"/>
                  </a:lnTo>
                  <a:lnTo>
                    <a:pt x="1668" y="165"/>
                  </a:lnTo>
                  <a:lnTo>
                    <a:pt x="1668" y="167"/>
                  </a:lnTo>
                  <a:lnTo>
                    <a:pt x="1667" y="169"/>
                  </a:lnTo>
                  <a:lnTo>
                    <a:pt x="1658" y="177"/>
                  </a:lnTo>
                  <a:lnTo>
                    <a:pt x="1652" y="180"/>
                  </a:lnTo>
                  <a:lnTo>
                    <a:pt x="1648" y="181"/>
                  </a:lnTo>
                  <a:lnTo>
                    <a:pt x="1645" y="180"/>
                  </a:lnTo>
                  <a:lnTo>
                    <a:pt x="1643" y="179"/>
                  </a:lnTo>
                  <a:lnTo>
                    <a:pt x="1640" y="178"/>
                  </a:lnTo>
                  <a:lnTo>
                    <a:pt x="1639" y="178"/>
                  </a:lnTo>
                  <a:lnTo>
                    <a:pt x="1638" y="177"/>
                  </a:lnTo>
                  <a:lnTo>
                    <a:pt x="1636" y="175"/>
                  </a:lnTo>
                  <a:lnTo>
                    <a:pt x="1635" y="173"/>
                  </a:lnTo>
                  <a:lnTo>
                    <a:pt x="1634" y="173"/>
                  </a:lnTo>
                  <a:lnTo>
                    <a:pt x="1632" y="172"/>
                  </a:lnTo>
                  <a:lnTo>
                    <a:pt x="1630" y="171"/>
                  </a:lnTo>
                  <a:lnTo>
                    <a:pt x="1630" y="169"/>
                  </a:lnTo>
                  <a:lnTo>
                    <a:pt x="1630" y="167"/>
                  </a:lnTo>
                  <a:lnTo>
                    <a:pt x="1629" y="165"/>
                  </a:lnTo>
                  <a:lnTo>
                    <a:pt x="1629" y="164"/>
                  </a:lnTo>
                  <a:lnTo>
                    <a:pt x="1624" y="163"/>
                  </a:lnTo>
                  <a:lnTo>
                    <a:pt x="1616" y="159"/>
                  </a:lnTo>
                  <a:lnTo>
                    <a:pt x="1614" y="156"/>
                  </a:lnTo>
                  <a:lnTo>
                    <a:pt x="1609" y="146"/>
                  </a:lnTo>
                  <a:lnTo>
                    <a:pt x="1605" y="144"/>
                  </a:lnTo>
                  <a:lnTo>
                    <a:pt x="1597" y="135"/>
                  </a:lnTo>
                  <a:lnTo>
                    <a:pt x="1596" y="131"/>
                  </a:lnTo>
                  <a:lnTo>
                    <a:pt x="1595" y="128"/>
                  </a:lnTo>
                  <a:lnTo>
                    <a:pt x="1595" y="121"/>
                  </a:lnTo>
                  <a:lnTo>
                    <a:pt x="1595" y="120"/>
                  </a:lnTo>
                  <a:lnTo>
                    <a:pt x="1597" y="116"/>
                  </a:lnTo>
                  <a:lnTo>
                    <a:pt x="1597" y="114"/>
                  </a:lnTo>
                  <a:lnTo>
                    <a:pt x="1597" y="106"/>
                  </a:lnTo>
                  <a:lnTo>
                    <a:pt x="1595" y="100"/>
                  </a:lnTo>
                  <a:lnTo>
                    <a:pt x="1583" y="84"/>
                  </a:lnTo>
                  <a:lnTo>
                    <a:pt x="1582" y="84"/>
                  </a:lnTo>
                  <a:lnTo>
                    <a:pt x="1582" y="87"/>
                  </a:lnTo>
                  <a:lnTo>
                    <a:pt x="1572" y="78"/>
                  </a:lnTo>
                  <a:lnTo>
                    <a:pt x="1572" y="78"/>
                  </a:lnTo>
                  <a:lnTo>
                    <a:pt x="1570" y="80"/>
                  </a:lnTo>
                  <a:lnTo>
                    <a:pt x="1568" y="82"/>
                  </a:lnTo>
                  <a:lnTo>
                    <a:pt x="1565" y="86"/>
                  </a:lnTo>
                  <a:lnTo>
                    <a:pt x="1564" y="90"/>
                  </a:lnTo>
                  <a:lnTo>
                    <a:pt x="1564" y="96"/>
                  </a:lnTo>
                  <a:lnTo>
                    <a:pt x="1562" y="96"/>
                  </a:lnTo>
                  <a:lnTo>
                    <a:pt x="1562" y="92"/>
                  </a:lnTo>
                  <a:lnTo>
                    <a:pt x="1565" y="85"/>
                  </a:lnTo>
                  <a:lnTo>
                    <a:pt x="1565" y="82"/>
                  </a:lnTo>
                  <a:lnTo>
                    <a:pt x="1566" y="82"/>
                  </a:lnTo>
                  <a:lnTo>
                    <a:pt x="1567" y="81"/>
                  </a:lnTo>
                  <a:lnTo>
                    <a:pt x="1568" y="79"/>
                  </a:lnTo>
                  <a:lnTo>
                    <a:pt x="1569" y="78"/>
                  </a:lnTo>
                  <a:lnTo>
                    <a:pt x="1569" y="77"/>
                  </a:lnTo>
                  <a:lnTo>
                    <a:pt x="1565" y="77"/>
                  </a:lnTo>
                  <a:lnTo>
                    <a:pt x="1559" y="83"/>
                  </a:lnTo>
                  <a:lnTo>
                    <a:pt x="1556" y="84"/>
                  </a:lnTo>
                  <a:lnTo>
                    <a:pt x="1551" y="85"/>
                  </a:lnTo>
                  <a:lnTo>
                    <a:pt x="1535" y="92"/>
                  </a:lnTo>
                  <a:lnTo>
                    <a:pt x="1525" y="93"/>
                  </a:lnTo>
                  <a:lnTo>
                    <a:pt x="1519" y="97"/>
                  </a:lnTo>
                  <a:lnTo>
                    <a:pt x="1516" y="99"/>
                  </a:lnTo>
                  <a:lnTo>
                    <a:pt x="1509" y="99"/>
                  </a:lnTo>
                  <a:lnTo>
                    <a:pt x="1502" y="98"/>
                  </a:lnTo>
                  <a:lnTo>
                    <a:pt x="1494" y="96"/>
                  </a:lnTo>
                  <a:lnTo>
                    <a:pt x="1488" y="93"/>
                  </a:lnTo>
                  <a:lnTo>
                    <a:pt x="1483" y="88"/>
                  </a:lnTo>
                  <a:lnTo>
                    <a:pt x="1481" y="86"/>
                  </a:lnTo>
                  <a:lnTo>
                    <a:pt x="1474" y="85"/>
                  </a:lnTo>
                  <a:lnTo>
                    <a:pt x="1465" y="81"/>
                  </a:lnTo>
                  <a:lnTo>
                    <a:pt x="1462" y="79"/>
                  </a:lnTo>
                  <a:lnTo>
                    <a:pt x="1458" y="74"/>
                  </a:lnTo>
                  <a:lnTo>
                    <a:pt x="1453" y="71"/>
                  </a:lnTo>
                  <a:lnTo>
                    <a:pt x="1451" y="68"/>
                  </a:lnTo>
                  <a:lnTo>
                    <a:pt x="1449" y="65"/>
                  </a:lnTo>
                  <a:lnTo>
                    <a:pt x="1448" y="62"/>
                  </a:lnTo>
                  <a:lnTo>
                    <a:pt x="1450" y="62"/>
                  </a:lnTo>
                  <a:lnTo>
                    <a:pt x="1450" y="61"/>
                  </a:lnTo>
                  <a:lnTo>
                    <a:pt x="1442" y="53"/>
                  </a:lnTo>
                  <a:lnTo>
                    <a:pt x="1437" y="47"/>
                  </a:lnTo>
                  <a:lnTo>
                    <a:pt x="1433" y="39"/>
                  </a:lnTo>
                  <a:lnTo>
                    <a:pt x="1432" y="36"/>
                  </a:lnTo>
                  <a:lnTo>
                    <a:pt x="1432" y="32"/>
                  </a:lnTo>
                  <a:lnTo>
                    <a:pt x="1433" y="27"/>
                  </a:lnTo>
                  <a:lnTo>
                    <a:pt x="1434" y="22"/>
                  </a:lnTo>
                  <a:lnTo>
                    <a:pt x="1436" y="19"/>
                  </a:lnTo>
                  <a:lnTo>
                    <a:pt x="1439" y="17"/>
                  </a:lnTo>
                  <a:lnTo>
                    <a:pt x="1443" y="16"/>
                  </a:lnTo>
                  <a:lnTo>
                    <a:pt x="1452" y="17"/>
                  </a:lnTo>
                  <a:lnTo>
                    <a:pt x="1452" y="16"/>
                  </a:lnTo>
                  <a:lnTo>
                    <a:pt x="1448" y="12"/>
                  </a:lnTo>
                  <a:lnTo>
                    <a:pt x="1447" y="12"/>
                  </a:lnTo>
                  <a:lnTo>
                    <a:pt x="1444" y="11"/>
                  </a:lnTo>
                  <a:lnTo>
                    <a:pt x="1443" y="12"/>
                  </a:lnTo>
                  <a:lnTo>
                    <a:pt x="1440" y="15"/>
                  </a:lnTo>
                  <a:lnTo>
                    <a:pt x="1438" y="16"/>
                  </a:lnTo>
                  <a:lnTo>
                    <a:pt x="1434" y="16"/>
                  </a:lnTo>
                  <a:lnTo>
                    <a:pt x="1430" y="14"/>
                  </a:lnTo>
                  <a:lnTo>
                    <a:pt x="1424" y="10"/>
                  </a:lnTo>
                  <a:lnTo>
                    <a:pt x="1424" y="8"/>
                  </a:lnTo>
                  <a:lnTo>
                    <a:pt x="1425" y="7"/>
                  </a:lnTo>
                  <a:lnTo>
                    <a:pt x="1424" y="5"/>
                  </a:lnTo>
                  <a:lnTo>
                    <a:pt x="1422" y="3"/>
                  </a:lnTo>
                  <a:lnTo>
                    <a:pt x="1421" y="1"/>
                  </a:lnTo>
                  <a:lnTo>
                    <a:pt x="1420" y="1"/>
                  </a:lnTo>
                  <a:lnTo>
                    <a:pt x="1419" y="1"/>
                  </a:lnTo>
                  <a:lnTo>
                    <a:pt x="1418" y="1"/>
                  </a:lnTo>
                  <a:lnTo>
                    <a:pt x="1418" y="2"/>
                  </a:lnTo>
                  <a:lnTo>
                    <a:pt x="1416" y="1"/>
                  </a:lnTo>
                  <a:lnTo>
                    <a:pt x="1411" y="0"/>
                  </a:lnTo>
                  <a:lnTo>
                    <a:pt x="1409" y="0"/>
                  </a:lnTo>
                  <a:lnTo>
                    <a:pt x="1408" y="6"/>
                  </a:lnTo>
                  <a:lnTo>
                    <a:pt x="1404" y="13"/>
                  </a:lnTo>
                  <a:lnTo>
                    <a:pt x="1399" y="19"/>
                  </a:lnTo>
                  <a:lnTo>
                    <a:pt x="1394" y="22"/>
                  </a:lnTo>
                  <a:lnTo>
                    <a:pt x="1388" y="27"/>
                  </a:lnTo>
                  <a:lnTo>
                    <a:pt x="1385" y="29"/>
                  </a:lnTo>
                  <a:lnTo>
                    <a:pt x="1377" y="31"/>
                  </a:lnTo>
                  <a:lnTo>
                    <a:pt x="1369" y="32"/>
                  </a:lnTo>
                  <a:lnTo>
                    <a:pt x="1348" y="31"/>
                  </a:lnTo>
                  <a:lnTo>
                    <a:pt x="1342" y="29"/>
                  </a:lnTo>
                  <a:lnTo>
                    <a:pt x="1338" y="27"/>
                  </a:lnTo>
                  <a:lnTo>
                    <a:pt x="1335" y="26"/>
                  </a:lnTo>
                  <a:lnTo>
                    <a:pt x="1329" y="27"/>
                  </a:lnTo>
                  <a:lnTo>
                    <a:pt x="1311" y="32"/>
                  </a:lnTo>
                  <a:lnTo>
                    <a:pt x="1259" y="24"/>
                  </a:lnTo>
                  <a:lnTo>
                    <a:pt x="1238" y="26"/>
                  </a:lnTo>
                  <a:lnTo>
                    <a:pt x="1234" y="24"/>
                  </a:lnTo>
                  <a:lnTo>
                    <a:pt x="1231" y="25"/>
                  </a:lnTo>
                  <a:lnTo>
                    <a:pt x="1197" y="22"/>
                  </a:lnTo>
                  <a:lnTo>
                    <a:pt x="1189" y="19"/>
                  </a:lnTo>
                  <a:lnTo>
                    <a:pt x="1186" y="18"/>
                  </a:lnTo>
                  <a:lnTo>
                    <a:pt x="1169" y="18"/>
                  </a:lnTo>
                  <a:lnTo>
                    <a:pt x="1157" y="16"/>
                  </a:lnTo>
                  <a:lnTo>
                    <a:pt x="1151" y="17"/>
                  </a:lnTo>
                  <a:lnTo>
                    <a:pt x="1126" y="30"/>
                  </a:lnTo>
                  <a:lnTo>
                    <a:pt x="1101" y="38"/>
                  </a:lnTo>
                  <a:lnTo>
                    <a:pt x="1094" y="43"/>
                  </a:lnTo>
                  <a:lnTo>
                    <a:pt x="1088" y="46"/>
                  </a:lnTo>
                  <a:lnTo>
                    <a:pt x="1077" y="49"/>
                  </a:lnTo>
                  <a:lnTo>
                    <a:pt x="1075" y="48"/>
                  </a:lnTo>
                  <a:lnTo>
                    <a:pt x="1072" y="49"/>
                  </a:lnTo>
                  <a:lnTo>
                    <a:pt x="1068" y="51"/>
                  </a:lnTo>
                  <a:lnTo>
                    <a:pt x="1063" y="51"/>
                  </a:lnTo>
                  <a:lnTo>
                    <a:pt x="1061" y="51"/>
                  </a:lnTo>
                  <a:lnTo>
                    <a:pt x="1059" y="52"/>
                  </a:lnTo>
                  <a:lnTo>
                    <a:pt x="1049" y="56"/>
                  </a:lnTo>
                  <a:lnTo>
                    <a:pt x="1046" y="56"/>
                  </a:lnTo>
                  <a:lnTo>
                    <a:pt x="1043" y="54"/>
                  </a:lnTo>
                  <a:lnTo>
                    <a:pt x="1038" y="55"/>
                  </a:lnTo>
                  <a:lnTo>
                    <a:pt x="1035" y="57"/>
                  </a:lnTo>
                  <a:lnTo>
                    <a:pt x="1033" y="61"/>
                  </a:lnTo>
                  <a:lnTo>
                    <a:pt x="1030" y="60"/>
                  </a:lnTo>
                  <a:lnTo>
                    <a:pt x="1028" y="60"/>
                  </a:lnTo>
                  <a:lnTo>
                    <a:pt x="1026" y="61"/>
                  </a:lnTo>
                  <a:lnTo>
                    <a:pt x="1024" y="62"/>
                  </a:lnTo>
                  <a:lnTo>
                    <a:pt x="1013" y="68"/>
                  </a:lnTo>
                  <a:lnTo>
                    <a:pt x="1011" y="70"/>
                  </a:lnTo>
                  <a:lnTo>
                    <a:pt x="1007" y="74"/>
                  </a:lnTo>
                  <a:lnTo>
                    <a:pt x="1004" y="75"/>
                  </a:lnTo>
                  <a:lnTo>
                    <a:pt x="1004" y="75"/>
                  </a:lnTo>
                  <a:lnTo>
                    <a:pt x="1003" y="73"/>
                  </a:lnTo>
                  <a:lnTo>
                    <a:pt x="1002" y="72"/>
                  </a:lnTo>
                  <a:lnTo>
                    <a:pt x="1001" y="73"/>
                  </a:lnTo>
                  <a:lnTo>
                    <a:pt x="1000" y="74"/>
                  </a:lnTo>
                  <a:lnTo>
                    <a:pt x="1000" y="75"/>
                  </a:lnTo>
                  <a:lnTo>
                    <a:pt x="999" y="76"/>
                  </a:lnTo>
                  <a:lnTo>
                    <a:pt x="997" y="77"/>
                  </a:lnTo>
                  <a:lnTo>
                    <a:pt x="997" y="78"/>
                  </a:lnTo>
                  <a:lnTo>
                    <a:pt x="988" y="79"/>
                  </a:lnTo>
                  <a:lnTo>
                    <a:pt x="983" y="80"/>
                  </a:lnTo>
                  <a:lnTo>
                    <a:pt x="980" y="85"/>
                  </a:lnTo>
                  <a:lnTo>
                    <a:pt x="980" y="86"/>
                  </a:lnTo>
                  <a:lnTo>
                    <a:pt x="969" y="98"/>
                  </a:lnTo>
                  <a:lnTo>
                    <a:pt x="967" y="103"/>
                  </a:lnTo>
                  <a:lnTo>
                    <a:pt x="962" y="105"/>
                  </a:lnTo>
                  <a:lnTo>
                    <a:pt x="947" y="111"/>
                  </a:lnTo>
                  <a:lnTo>
                    <a:pt x="946" y="112"/>
                  </a:lnTo>
                  <a:lnTo>
                    <a:pt x="940" y="116"/>
                  </a:lnTo>
                  <a:lnTo>
                    <a:pt x="921" y="126"/>
                  </a:lnTo>
                  <a:lnTo>
                    <a:pt x="887" y="148"/>
                  </a:lnTo>
                  <a:lnTo>
                    <a:pt x="863" y="158"/>
                  </a:lnTo>
                  <a:lnTo>
                    <a:pt x="862" y="158"/>
                  </a:lnTo>
                  <a:lnTo>
                    <a:pt x="861" y="159"/>
                  </a:lnTo>
                  <a:lnTo>
                    <a:pt x="858" y="163"/>
                  </a:lnTo>
                  <a:lnTo>
                    <a:pt x="857" y="163"/>
                  </a:lnTo>
                  <a:lnTo>
                    <a:pt x="850" y="164"/>
                  </a:lnTo>
                  <a:lnTo>
                    <a:pt x="846" y="165"/>
                  </a:lnTo>
                  <a:lnTo>
                    <a:pt x="845" y="168"/>
                  </a:lnTo>
                  <a:lnTo>
                    <a:pt x="845" y="170"/>
                  </a:lnTo>
                  <a:lnTo>
                    <a:pt x="848" y="172"/>
                  </a:lnTo>
                  <a:lnTo>
                    <a:pt x="849" y="173"/>
                  </a:lnTo>
                  <a:lnTo>
                    <a:pt x="849" y="175"/>
                  </a:lnTo>
                  <a:lnTo>
                    <a:pt x="847" y="180"/>
                  </a:lnTo>
                  <a:lnTo>
                    <a:pt x="847" y="182"/>
                  </a:lnTo>
                  <a:lnTo>
                    <a:pt x="847" y="186"/>
                  </a:lnTo>
                  <a:lnTo>
                    <a:pt x="846" y="189"/>
                  </a:lnTo>
                  <a:lnTo>
                    <a:pt x="845" y="192"/>
                  </a:lnTo>
                  <a:lnTo>
                    <a:pt x="842" y="195"/>
                  </a:lnTo>
                  <a:lnTo>
                    <a:pt x="834" y="204"/>
                  </a:lnTo>
                  <a:lnTo>
                    <a:pt x="828" y="207"/>
                  </a:lnTo>
                  <a:lnTo>
                    <a:pt x="822" y="210"/>
                  </a:lnTo>
                  <a:lnTo>
                    <a:pt x="821" y="210"/>
                  </a:lnTo>
                  <a:lnTo>
                    <a:pt x="821" y="211"/>
                  </a:lnTo>
                  <a:lnTo>
                    <a:pt x="820" y="212"/>
                  </a:lnTo>
                  <a:lnTo>
                    <a:pt x="819" y="212"/>
                  </a:lnTo>
                  <a:lnTo>
                    <a:pt x="818" y="212"/>
                  </a:lnTo>
                  <a:lnTo>
                    <a:pt x="817" y="211"/>
                  </a:lnTo>
                  <a:lnTo>
                    <a:pt x="816" y="211"/>
                  </a:lnTo>
                  <a:lnTo>
                    <a:pt x="809" y="212"/>
                  </a:lnTo>
                  <a:lnTo>
                    <a:pt x="808" y="212"/>
                  </a:lnTo>
                  <a:lnTo>
                    <a:pt x="804" y="211"/>
                  </a:lnTo>
                  <a:lnTo>
                    <a:pt x="802" y="211"/>
                  </a:lnTo>
                  <a:lnTo>
                    <a:pt x="801" y="212"/>
                  </a:lnTo>
                  <a:lnTo>
                    <a:pt x="797" y="214"/>
                  </a:lnTo>
                  <a:lnTo>
                    <a:pt x="756" y="215"/>
                  </a:lnTo>
                  <a:lnTo>
                    <a:pt x="742" y="212"/>
                  </a:lnTo>
                  <a:lnTo>
                    <a:pt x="740" y="211"/>
                  </a:lnTo>
                  <a:lnTo>
                    <a:pt x="735" y="206"/>
                  </a:lnTo>
                  <a:lnTo>
                    <a:pt x="682" y="194"/>
                  </a:lnTo>
                  <a:lnTo>
                    <a:pt x="677" y="190"/>
                  </a:lnTo>
                  <a:lnTo>
                    <a:pt x="671" y="188"/>
                  </a:lnTo>
                  <a:lnTo>
                    <a:pt x="668" y="187"/>
                  </a:lnTo>
                  <a:lnTo>
                    <a:pt x="666" y="188"/>
                  </a:lnTo>
                  <a:lnTo>
                    <a:pt x="665" y="191"/>
                  </a:lnTo>
                  <a:lnTo>
                    <a:pt x="663" y="193"/>
                  </a:lnTo>
                  <a:lnTo>
                    <a:pt x="662" y="191"/>
                  </a:lnTo>
                  <a:lnTo>
                    <a:pt x="661" y="193"/>
                  </a:lnTo>
                  <a:lnTo>
                    <a:pt x="660" y="196"/>
                  </a:lnTo>
                  <a:lnTo>
                    <a:pt x="658" y="197"/>
                  </a:lnTo>
                  <a:lnTo>
                    <a:pt x="656" y="197"/>
                  </a:lnTo>
                  <a:lnTo>
                    <a:pt x="652" y="200"/>
                  </a:lnTo>
                  <a:lnTo>
                    <a:pt x="650" y="201"/>
                  </a:lnTo>
                  <a:lnTo>
                    <a:pt x="645" y="202"/>
                  </a:lnTo>
                  <a:lnTo>
                    <a:pt x="605" y="201"/>
                  </a:lnTo>
                  <a:lnTo>
                    <a:pt x="563" y="194"/>
                  </a:lnTo>
                  <a:lnTo>
                    <a:pt x="531" y="187"/>
                  </a:lnTo>
                  <a:lnTo>
                    <a:pt x="502" y="181"/>
                  </a:lnTo>
                  <a:lnTo>
                    <a:pt x="499" y="182"/>
                  </a:lnTo>
                  <a:lnTo>
                    <a:pt x="498" y="184"/>
                  </a:lnTo>
                  <a:lnTo>
                    <a:pt x="497" y="184"/>
                  </a:lnTo>
                  <a:lnTo>
                    <a:pt x="492" y="183"/>
                  </a:lnTo>
                  <a:lnTo>
                    <a:pt x="486" y="187"/>
                  </a:lnTo>
                  <a:lnTo>
                    <a:pt x="480" y="194"/>
                  </a:lnTo>
                  <a:lnTo>
                    <a:pt x="476" y="200"/>
                  </a:lnTo>
                  <a:lnTo>
                    <a:pt x="479" y="202"/>
                  </a:lnTo>
                  <a:lnTo>
                    <a:pt x="479" y="205"/>
                  </a:lnTo>
                  <a:lnTo>
                    <a:pt x="477" y="208"/>
                  </a:lnTo>
                  <a:lnTo>
                    <a:pt x="475" y="216"/>
                  </a:lnTo>
                  <a:lnTo>
                    <a:pt x="472" y="220"/>
                  </a:lnTo>
                  <a:lnTo>
                    <a:pt x="469" y="224"/>
                  </a:lnTo>
                  <a:lnTo>
                    <a:pt x="466" y="225"/>
                  </a:lnTo>
                  <a:lnTo>
                    <a:pt x="467" y="228"/>
                  </a:lnTo>
                  <a:lnTo>
                    <a:pt x="468" y="231"/>
                  </a:lnTo>
                  <a:lnTo>
                    <a:pt x="469" y="233"/>
                  </a:lnTo>
                  <a:lnTo>
                    <a:pt x="471" y="234"/>
                  </a:lnTo>
                  <a:lnTo>
                    <a:pt x="470" y="235"/>
                  </a:lnTo>
                  <a:lnTo>
                    <a:pt x="470" y="235"/>
                  </a:lnTo>
                  <a:lnTo>
                    <a:pt x="470" y="235"/>
                  </a:lnTo>
                  <a:lnTo>
                    <a:pt x="469" y="236"/>
                  </a:lnTo>
                  <a:lnTo>
                    <a:pt x="478" y="240"/>
                  </a:lnTo>
                  <a:lnTo>
                    <a:pt x="481" y="243"/>
                  </a:lnTo>
                  <a:lnTo>
                    <a:pt x="485" y="247"/>
                  </a:lnTo>
                  <a:lnTo>
                    <a:pt x="488" y="250"/>
                  </a:lnTo>
                  <a:lnTo>
                    <a:pt x="497" y="254"/>
                  </a:lnTo>
                  <a:lnTo>
                    <a:pt x="500" y="257"/>
                  </a:lnTo>
                  <a:lnTo>
                    <a:pt x="503" y="256"/>
                  </a:lnTo>
                  <a:lnTo>
                    <a:pt x="505" y="258"/>
                  </a:lnTo>
                  <a:lnTo>
                    <a:pt x="507" y="259"/>
                  </a:lnTo>
                  <a:lnTo>
                    <a:pt x="510" y="263"/>
                  </a:lnTo>
                  <a:lnTo>
                    <a:pt x="512" y="266"/>
                  </a:lnTo>
                  <a:lnTo>
                    <a:pt x="511" y="266"/>
                  </a:lnTo>
                  <a:lnTo>
                    <a:pt x="511" y="266"/>
                  </a:lnTo>
                  <a:lnTo>
                    <a:pt x="510" y="266"/>
                  </a:lnTo>
                  <a:lnTo>
                    <a:pt x="510" y="267"/>
                  </a:lnTo>
                  <a:lnTo>
                    <a:pt x="510" y="266"/>
                  </a:lnTo>
                  <a:lnTo>
                    <a:pt x="509" y="266"/>
                  </a:lnTo>
                  <a:lnTo>
                    <a:pt x="508" y="268"/>
                  </a:lnTo>
                  <a:lnTo>
                    <a:pt x="508" y="269"/>
                  </a:lnTo>
                  <a:lnTo>
                    <a:pt x="507" y="270"/>
                  </a:lnTo>
                  <a:lnTo>
                    <a:pt x="505" y="270"/>
                  </a:lnTo>
                  <a:lnTo>
                    <a:pt x="505" y="271"/>
                  </a:lnTo>
                  <a:lnTo>
                    <a:pt x="510" y="271"/>
                  </a:lnTo>
                  <a:lnTo>
                    <a:pt x="511" y="270"/>
                  </a:lnTo>
                  <a:lnTo>
                    <a:pt x="513" y="269"/>
                  </a:lnTo>
                  <a:lnTo>
                    <a:pt x="514" y="270"/>
                  </a:lnTo>
                  <a:lnTo>
                    <a:pt x="515" y="269"/>
                  </a:lnTo>
                  <a:lnTo>
                    <a:pt x="516" y="269"/>
                  </a:lnTo>
                  <a:lnTo>
                    <a:pt x="518" y="271"/>
                  </a:lnTo>
                  <a:lnTo>
                    <a:pt x="519" y="272"/>
                  </a:lnTo>
                  <a:lnTo>
                    <a:pt x="520" y="274"/>
                  </a:lnTo>
                  <a:lnTo>
                    <a:pt x="519" y="274"/>
                  </a:lnTo>
                  <a:lnTo>
                    <a:pt x="518" y="275"/>
                  </a:lnTo>
                  <a:lnTo>
                    <a:pt x="518" y="275"/>
                  </a:lnTo>
                  <a:lnTo>
                    <a:pt x="517" y="276"/>
                  </a:lnTo>
                  <a:lnTo>
                    <a:pt x="519" y="276"/>
                  </a:lnTo>
                  <a:lnTo>
                    <a:pt x="520" y="278"/>
                  </a:lnTo>
                  <a:lnTo>
                    <a:pt x="520" y="280"/>
                  </a:lnTo>
                  <a:lnTo>
                    <a:pt x="521" y="281"/>
                  </a:lnTo>
                  <a:lnTo>
                    <a:pt x="525" y="283"/>
                  </a:lnTo>
                  <a:lnTo>
                    <a:pt x="527" y="281"/>
                  </a:lnTo>
                  <a:lnTo>
                    <a:pt x="530" y="280"/>
                  </a:lnTo>
                  <a:lnTo>
                    <a:pt x="533" y="279"/>
                  </a:lnTo>
                  <a:lnTo>
                    <a:pt x="571" y="277"/>
                  </a:lnTo>
                  <a:lnTo>
                    <a:pt x="574" y="277"/>
                  </a:lnTo>
                  <a:lnTo>
                    <a:pt x="579" y="280"/>
                  </a:lnTo>
                  <a:lnTo>
                    <a:pt x="582" y="280"/>
                  </a:lnTo>
                  <a:lnTo>
                    <a:pt x="583" y="281"/>
                  </a:lnTo>
                  <a:lnTo>
                    <a:pt x="586" y="283"/>
                  </a:lnTo>
                  <a:lnTo>
                    <a:pt x="588" y="284"/>
                  </a:lnTo>
                  <a:lnTo>
                    <a:pt x="590" y="284"/>
                  </a:lnTo>
                  <a:lnTo>
                    <a:pt x="591" y="284"/>
                  </a:lnTo>
                  <a:lnTo>
                    <a:pt x="592" y="283"/>
                  </a:lnTo>
                  <a:lnTo>
                    <a:pt x="593" y="283"/>
                  </a:lnTo>
                  <a:lnTo>
                    <a:pt x="606" y="281"/>
                  </a:lnTo>
                  <a:lnTo>
                    <a:pt x="613" y="282"/>
                  </a:lnTo>
                  <a:lnTo>
                    <a:pt x="614" y="287"/>
                  </a:lnTo>
                  <a:lnTo>
                    <a:pt x="612" y="291"/>
                  </a:lnTo>
                  <a:lnTo>
                    <a:pt x="608" y="291"/>
                  </a:lnTo>
                  <a:lnTo>
                    <a:pt x="603" y="288"/>
                  </a:lnTo>
                  <a:lnTo>
                    <a:pt x="584" y="289"/>
                  </a:lnTo>
                  <a:lnTo>
                    <a:pt x="554" y="296"/>
                  </a:lnTo>
                  <a:lnTo>
                    <a:pt x="552" y="296"/>
                  </a:lnTo>
                  <a:lnTo>
                    <a:pt x="551" y="292"/>
                  </a:lnTo>
                  <a:lnTo>
                    <a:pt x="549" y="290"/>
                  </a:lnTo>
                  <a:lnTo>
                    <a:pt x="546" y="289"/>
                  </a:lnTo>
                  <a:lnTo>
                    <a:pt x="544" y="288"/>
                  </a:lnTo>
                  <a:lnTo>
                    <a:pt x="543" y="289"/>
                  </a:lnTo>
                  <a:lnTo>
                    <a:pt x="541" y="290"/>
                  </a:lnTo>
                  <a:lnTo>
                    <a:pt x="539" y="290"/>
                  </a:lnTo>
                  <a:lnTo>
                    <a:pt x="539" y="292"/>
                  </a:lnTo>
                  <a:lnTo>
                    <a:pt x="538" y="294"/>
                  </a:lnTo>
                  <a:lnTo>
                    <a:pt x="536" y="295"/>
                  </a:lnTo>
                  <a:lnTo>
                    <a:pt x="534" y="295"/>
                  </a:lnTo>
                  <a:lnTo>
                    <a:pt x="533" y="296"/>
                  </a:lnTo>
                  <a:lnTo>
                    <a:pt x="531" y="297"/>
                  </a:lnTo>
                  <a:lnTo>
                    <a:pt x="530" y="296"/>
                  </a:lnTo>
                  <a:lnTo>
                    <a:pt x="528" y="294"/>
                  </a:lnTo>
                  <a:lnTo>
                    <a:pt x="527" y="293"/>
                  </a:lnTo>
                  <a:lnTo>
                    <a:pt x="526" y="293"/>
                  </a:lnTo>
                  <a:lnTo>
                    <a:pt x="523" y="296"/>
                  </a:lnTo>
                  <a:lnTo>
                    <a:pt x="516" y="299"/>
                  </a:lnTo>
                  <a:lnTo>
                    <a:pt x="510" y="302"/>
                  </a:lnTo>
                  <a:lnTo>
                    <a:pt x="463" y="306"/>
                  </a:lnTo>
                  <a:lnTo>
                    <a:pt x="460" y="307"/>
                  </a:lnTo>
                  <a:lnTo>
                    <a:pt x="453" y="314"/>
                  </a:lnTo>
                  <a:lnTo>
                    <a:pt x="449" y="317"/>
                  </a:lnTo>
                  <a:lnTo>
                    <a:pt x="437" y="321"/>
                  </a:lnTo>
                  <a:lnTo>
                    <a:pt x="432" y="325"/>
                  </a:lnTo>
                  <a:lnTo>
                    <a:pt x="429" y="331"/>
                  </a:lnTo>
                  <a:lnTo>
                    <a:pt x="438" y="334"/>
                  </a:lnTo>
                  <a:lnTo>
                    <a:pt x="451" y="342"/>
                  </a:lnTo>
                  <a:lnTo>
                    <a:pt x="460" y="344"/>
                  </a:lnTo>
                  <a:lnTo>
                    <a:pt x="462" y="344"/>
                  </a:lnTo>
                  <a:lnTo>
                    <a:pt x="465" y="340"/>
                  </a:lnTo>
                  <a:lnTo>
                    <a:pt x="466" y="340"/>
                  </a:lnTo>
                  <a:lnTo>
                    <a:pt x="475" y="340"/>
                  </a:lnTo>
                  <a:lnTo>
                    <a:pt x="479" y="341"/>
                  </a:lnTo>
                  <a:lnTo>
                    <a:pt x="483" y="343"/>
                  </a:lnTo>
                  <a:lnTo>
                    <a:pt x="486" y="346"/>
                  </a:lnTo>
                  <a:lnTo>
                    <a:pt x="489" y="350"/>
                  </a:lnTo>
                  <a:lnTo>
                    <a:pt x="486" y="351"/>
                  </a:lnTo>
                  <a:lnTo>
                    <a:pt x="484" y="352"/>
                  </a:lnTo>
                  <a:lnTo>
                    <a:pt x="481" y="352"/>
                  </a:lnTo>
                  <a:lnTo>
                    <a:pt x="479" y="351"/>
                  </a:lnTo>
                  <a:lnTo>
                    <a:pt x="478" y="354"/>
                  </a:lnTo>
                  <a:lnTo>
                    <a:pt x="476" y="359"/>
                  </a:lnTo>
                  <a:lnTo>
                    <a:pt x="475" y="362"/>
                  </a:lnTo>
                  <a:lnTo>
                    <a:pt x="473" y="364"/>
                  </a:lnTo>
                  <a:lnTo>
                    <a:pt x="470" y="364"/>
                  </a:lnTo>
                  <a:lnTo>
                    <a:pt x="458" y="364"/>
                  </a:lnTo>
                  <a:lnTo>
                    <a:pt x="455" y="364"/>
                  </a:lnTo>
                  <a:lnTo>
                    <a:pt x="452" y="363"/>
                  </a:lnTo>
                  <a:lnTo>
                    <a:pt x="449" y="361"/>
                  </a:lnTo>
                  <a:lnTo>
                    <a:pt x="446" y="360"/>
                  </a:lnTo>
                  <a:lnTo>
                    <a:pt x="442" y="359"/>
                  </a:lnTo>
                  <a:lnTo>
                    <a:pt x="437" y="359"/>
                  </a:lnTo>
                  <a:lnTo>
                    <a:pt x="432" y="357"/>
                  </a:lnTo>
                  <a:lnTo>
                    <a:pt x="429" y="356"/>
                  </a:lnTo>
                  <a:lnTo>
                    <a:pt x="426" y="358"/>
                  </a:lnTo>
                  <a:lnTo>
                    <a:pt x="424" y="360"/>
                  </a:lnTo>
                  <a:lnTo>
                    <a:pt x="415" y="361"/>
                  </a:lnTo>
                  <a:lnTo>
                    <a:pt x="414" y="362"/>
                  </a:lnTo>
                  <a:lnTo>
                    <a:pt x="412" y="364"/>
                  </a:lnTo>
                  <a:lnTo>
                    <a:pt x="411" y="364"/>
                  </a:lnTo>
                  <a:lnTo>
                    <a:pt x="409" y="364"/>
                  </a:lnTo>
                  <a:lnTo>
                    <a:pt x="409" y="363"/>
                  </a:lnTo>
                  <a:lnTo>
                    <a:pt x="408" y="363"/>
                  </a:lnTo>
                  <a:lnTo>
                    <a:pt x="407" y="364"/>
                  </a:lnTo>
                  <a:lnTo>
                    <a:pt x="400" y="361"/>
                  </a:lnTo>
                  <a:lnTo>
                    <a:pt x="393" y="359"/>
                  </a:lnTo>
                  <a:lnTo>
                    <a:pt x="385" y="359"/>
                  </a:lnTo>
                  <a:lnTo>
                    <a:pt x="379" y="361"/>
                  </a:lnTo>
                  <a:lnTo>
                    <a:pt x="379" y="359"/>
                  </a:lnTo>
                  <a:lnTo>
                    <a:pt x="380" y="358"/>
                  </a:lnTo>
                  <a:lnTo>
                    <a:pt x="382" y="357"/>
                  </a:lnTo>
                  <a:lnTo>
                    <a:pt x="383" y="357"/>
                  </a:lnTo>
                  <a:lnTo>
                    <a:pt x="370" y="358"/>
                  </a:lnTo>
                  <a:lnTo>
                    <a:pt x="361" y="356"/>
                  </a:lnTo>
                  <a:lnTo>
                    <a:pt x="324" y="358"/>
                  </a:lnTo>
                  <a:lnTo>
                    <a:pt x="310" y="363"/>
                  </a:lnTo>
                  <a:lnTo>
                    <a:pt x="297" y="364"/>
                  </a:lnTo>
                  <a:lnTo>
                    <a:pt x="292" y="362"/>
                  </a:lnTo>
                  <a:lnTo>
                    <a:pt x="291" y="357"/>
                  </a:lnTo>
                  <a:lnTo>
                    <a:pt x="295" y="354"/>
                  </a:lnTo>
                  <a:lnTo>
                    <a:pt x="309" y="346"/>
                  </a:lnTo>
                  <a:lnTo>
                    <a:pt x="312" y="341"/>
                  </a:lnTo>
                  <a:lnTo>
                    <a:pt x="308" y="338"/>
                  </a:lnTo>
                  <a:lnTo>
                    <a:pt x="301" y="335"/>
                  </a:lnTo>
                  <a:lnTo>
                    <a:pt x="275" y="331"/>
                  </a:lnTo>
                  <a:lnTo>
                    <a:pt x="274" y="332"/>
                  </a:lnTo>
                  <a:lnTo>
                    <a:pt x="273" y="333"/>
                  </a:lnTo>
                  <a:lnTo>
                    <a:pt x="273" y="333"/>
                  </a:lnTo>
                  <a:lnTo>
                    <a:pt x="271" y="333"/>
                  </a:lnTo>
                  <a:lnTo>
                    <a:pt x="271" y="332"/>
                  </a:lnTo>
                  <a:lnTo>
                    <a:pt x="268" y="329"/>
                  </a:lnTo>
                  <a:lnTo>
                    <a:pt x="266" y="331"/>
                  </a:lnTo>
                  <a:lnTo>
                    <a:pt x="265" y="331"/>
                  </a:lnTo>
                  <a:lnTo>
                    <a:pt x="264" y="330"/>
                  </a:lnTo>
                  <a:lnTo>
                    <a:pt x="262" y="331"/>
                  </a:lnTo>
                  <a:lnTo>
                    <a:pt x="260" y="334"/>
                  </a:lnTo>
                  <a:lnTo>
                    <a:pt x="258" y="335"/>
                  </a:lnTo>
                  <a:lnTo>
                    <a:pt x="256" y="336"/>
                  </a:lnTo>
                  <a:lnTo>
                    <a:pt x="256" y="337"/>
                  </a:lnTo>
                  <a:lnTo>
                    <a:pt x="257" y="339"/>
                  </a:lnTo>
                  <a:lnTo>
                    <a:pt x="263" y="344"/>
                  </a:lnTo>
                  <a:lnTo>
                    <a:pt x="264" y="345"/>
                  </a:lnTo>
                  <a:lnTo>
                    <a:pt x="265" y="345"/>
                  </a:lnTo>
                  <a:lnTo>
                    <a:pt x="266" y="345"/>
                  </a:lnTo>
                  <a:lnTo>
                    <a:pt x="267" y="346"/>
                  </a:lnTo>
                  <a:lnTo>
                    <a:pt x="267" y="349"/>
                  </a:lnTo>
                  <a:lnTo>
                    <a:pt x="267" y="350"/>
                  </a:lnTo>
                  <a:lnTo>
                    <a:pt x="268" y="351"/>
                  </a:lnTo>
                  <a:lnTo>
                    <a:pt x="269" y="353"/>
                  </a:lnTo>
                  <a:lnTo>
                    <a:pt x="270" y="354"/>
                  </a:lnTo>
                  <a:lnTo>
                    <a:pt x="271" y="354"/>
                  </a:lnTo>
                  <a:lnTo>
                    <a:pt x="272" y="354"/>
                  </a:lnTo>
                  <a:lnTo>
                    <a:pt x="272" y="356"/>
                  </a:lnTo>
                  <a:lnTo>
                    <a:pt x="273" y="359"/>
                  </a:lnTo>
                  <a:lnTo>
                    <a:pt x="275" y="358"/>
                  </a:lnTo>
                  <a:lnTo>
                    <a:pt x="277" y="357"/>
                  </a:lnTo>
                  <a:lnTo>
                    <a:pt x="285" y="360"/>
                  </a:lnTo>
                  <a:lnTo>
                    <a:pt x="288" y="360"/>
                  </a:lnTo>
                  <a:lnTo>
                    <a:pt x="285" y="364"/>
                  </a:lnTo>
                  <a:lnTo>
                    <a:pt x="276" y="368"/>
                  </a:lnTo>
                  <a:lnTo>
                    <a:pt x="273" y="374"/>
                  </a:lnTo>
                  <a:lnTo>
                    <a:pt x="268" y="374"/>
                  </a:lnTo>
                  <a:lnTo>
                    <a:pt x="264" y="374"/>
                  </a:lnTo>
                  <a:lnTo>
                    <a:pt x="261" y="373"/>
                  </a:lnTo>
                  <a:lnTo>
                    <a:pt x="256" y="375"/>
                  </a:lnTo>
                  <a:lnTo>
                    <a:pt x="253" y="374"/>
                  </a:lnTo>
                  <a:lnTo>
                    <a:pt x="249" y="372"/>
                  </a:lnTo>
                  <a:lnTo>
                    <a:pt x="245" y="371"/>
                  </a:lnTo>
                  <a:lnTo>
                    <a:pt x="242" y="372"/>
                  </a:lnTo>
                  <a:lnTo>
                    <a:pt x="236" y="375"/>
                  </a:lnTo>
                  <a:lnTo>
                    <a:pt x="235" y="376"/>
                  </a:lnTo>
                  <a:lnTo>
                    <a:pt x="231" y="376"/>
                  </a:lnTo>
                  <a:lnTo>
                    <a:pt x="219" y="373"/>
                  </a:lnTo>
                  <a:lnTo>
                    <a:pt x="210" y="369"/>
                  </a:lnTo>
                  <a:lnTo>
                    <a:pt x="201" y="363"/>
                  </a:lnTo>
                  <a:lnTo>
                    <a:pt x="194" y="356"/>
                  </a:lnTo>
                  <a:lnTo>
                    <a:pt x="195" y="355"/>
                  </a:lnTo>
                  <a:lnTo>
                    <a:pt x="196" y="355"/>
                  </a:lnTo>
                  <a:lnTo>
                    <a:pt x="196" y="355"/>
                  </a:lnTo>
                  <a:lnTo>
                    <a:pt x="196" y="356"/>
                  </a:lnTo>
                  <a:lnTo>
                    <a:pt x="197" y="356"/>
                  </a:lnTo>
                  <a:lnTo>
                    <a:pt x="200" y="354"/>
                  </a:lnTo>
                  <a:lnTo>
                    <a:pt x="197" y="348"/>
                  </a:lnTo>
                  <a:lnTo>
                    <a:pt x="196" y="345"/>
                  </a:lnTo>
                  <a:lnTo>
                    <a:pt x="193" y="343"/>
                  </a:lnTo>
                  <a:lnTo>
                    <a:pt x="191" y="343"/>
                  </a:lnTo>
                  <a:lnTo>
                    <a:pt x="185" y="346"/>
                  </a:lnTo>
                  <a:lnTo>
                    <a:pt x="182" y="347"/>
                  </a:lnTo>
                  <a:lnTo>
                    <a:pt x="176" y="347"/>
                  </a:lnTo>
                  <a:lnTo>
                    <a:pt x="170" y="346"/>
                  </a:lnTo>
                  <a:lnTo>
                    <a:pt x="163" y="346"/>
                  </a:lnTo>
                  <a:lnTo>
                    <a:pt x="158" y="350"/>
                  </a:lnTo>
                  <a:lnTo>
                    <a:pt x="154" y="355"/>
                  </a:lnTo>
                  <a:lnTo>
                    <a:pt x="149" y="359"/>
                  </a:lnTo>
                  <a:lnTo>
                    <a:pt x="146" y="359"/>
                  </a:lnTo>
                  <a:lnTo>
                    <a:pt x="137" y="359"/>
                  </a:lnTo>
                  <a:lnTo>
                    <a:pt x="133" y="356"/>
                  </a:lnTo>
                  <a:lnTo>
                    <a:pt x="131" y="356"/>
                  </a:lnTo>
                  <a:lnTo>
                    <a:pt x="126" y="357"/>
                  </a:lnTo>
                  <a:lnTo>
                    <a:pt x="112" y="356"/>
                  </a:lnTo>
                  <a:lnTo>
                    <a:pt x="105" y="356"/>
                  </a:lnTo>
                  <a:lnTo>
                    <a:pt x="102" y="359"/>
                  </a:lnTo>
                  <a:lnTo>
                    <a:pt x="85" y="380"/>
                  </a:lnTo>
                  <a:lnTo>
                    <a:pt x="83" y="381"/>
                  </a:lnTo>
                  <a:lnTo>
                    <a:pt x="81" y="383"/>
                  </a:lnTo>
                  <a:lnTo>
                    <a:pt x="80" y="383"/>
                  </a:lnTo>
                  <a:lnTo>
                    <a:pt x="78" y="384"/>
                  </a:lnTo>
                  <a:lnTo>
                    <a:pt x="71" y="393"/>
                  </a:lnTo>
                  <a:lnTo>
                    <a:pt x="68" y="396"/>
                  </a:lnTo>
                  <a:lnTo>
                    <a:pt x="63" y="397"/>
                  </a:lnTo>
                  <a:lnTo>
                    <a:pt x="59" y="399"/>
                  </a:lnTo>
                  <a:lnTo>
                    <a:pt x="56" y="399"/>
                  </a:lnTo>
                  <a:lnTo>
                    <a:pt x="55" y="399"/>
                  </a:lnTo>
                  <a:lnTo>
                    <a:pt x="53" y="400"/>
                  </a:lnTo>
                  <a:lnTo>
                    <a:pt x="53" y="401"/>
                  </a:lnTo>
                  <a:lnTo>
                    <a:pt x="51" y="404"/>
                  </a:lnTo>
                  <a:lnTo>
                    <a:pt x="53" y="407"/>
                  </a:lnTo>
                  <a:lnTo>
                    <a:pt x="53" y="411"/>
                  </a:lnTo>
                  <a:lnTo>
                    <a:pt x="52" y="415"/>
                  </a:lnTo>
                  <a:lnTo>
                    <a:pt x="51" y="418"/>
                  </a:lnTo>
                  <a:lnTo>
                    <a:pt x="51" y="418"/>
                  </a:lnTo>
                  <a:lnTo>
                    <a:pt x="50" y="418"/>
                  </a:lnTo>
                  <a:lnTo>
                    <a:pt x="48" y="418"/>
                  </a:lnTo>
                  <a:lnTo>
                    <a:pt x="47" y="418"/>
                  </a:lnTo>
                  <a:lnTo>
                    <a:pt x="47" y="419"/>
                  </a:lnTo>
                  <a:lnTo>
                    <a:pt x="47" y="420"/>
                  </a:lnTo>
                  <a:lnTo>
                    <a:pt x="47" y="421"/>
                  </a:lnTo>
                  <a:lnTo>
                    <a:pt x="47" y="422"/>
                  </a:lnTo>
                  <a:lnTo>
                    <a:pt x="46" y="425"/>
                  </a:lnTo>
                  <a:lnTo>
                    <a:pt x="46" y="427"/>
                  </a:lnTo>
                  <a:lnTo>
                    <a:pt x="45" y="429"/>
                  </a:lnTo>
                  <a:lnTo>
                    <a:pt x="38" y="436"/>
                  </a:lnTo>
                  <a:lnTo>
                    <a:pt x="36" y="437"/>
                  </a:lnTo>
                  <a:lnTo>
                    <a:pt x="31" y="439"/>
                  </a:lnTo>
                  <a:lnTo>
                    <a:pt x="29" y="441"/>
                  </a:lnTo>
                  <a:lnTo>
                    <a:pt x="20" y="438"/>
                  </a:lnTo>
                  <a:lnTo>
                    <a:pt x="19" y="439"/>
                  </a:lnTo>
                  <a:lnTo>
                    <a:pt x="15" y="445"/>
                  </a:lnTo>
                  <a:lnTo>
                    <a:pt x="15" y="447"/>
                  </a:lnTo>
                  <a:lnTo>
                    <a:pt x="14" y="449"/>
                  </a:lnTo>
                  <a:lnTo>
                    <a:pt x="13" y="452"/>
                  </a:lnTo>
                  <a:lnTo>
                    <a:pt x="12" y="453"/>
                  </a:lnTo>
                  <a:lnTo>
                    <a:pt x="12" y="455"/>
                  </a:lnTo>
                  <a:lnTo>
                    <a:pt x="13" y="459"/>
                  </a:lnTo>
                  <a:lnTo>
                    <a:pt x="14" y="461"/>
                  </a:lnTo>
                  <a:lnTo>
                    <a:pt x="11" y="471"/>
                  </a:lnTo>
                  <a:lnTo>
                    <a:pt x="10" y="473"/>
                  </a:lnTo>
                  <a:lnTo>
                    <a:pt x="13" y="474"/>
                  </a:lnTo>
                  <a:lnTo>
                    <a:pt x="13" y="476"/>
                  </a:lnTo>
                  <a:lnTo>
                    <a:pt x="12" y="481"/>
                  </a:lnTo>
                  <a:lnTo>
                    <a:pt x="12" y="486"/>
                  </a:lnTo>
                  <a:lnTo>
                    <a:pt x="12" y="487"/>
                  </a:lnTo>
                  <a:lnTo>
                    <a:pt x="11" y="487"/>
                  </a:lnTo>
                  <a:lnTo>
                    <a:pt x="11" y="488"/>
                  </a:lnTo>
                  <a:lnTo>
                    <a:pt x="10" y="490"/>
                  </a:lnTo>
                  <a:lnTo>
                    <a:pt x="11" y="493"/>
                  </a:lnTo>
                  <a:lnTo>
                    <a:pt x="14" y="498"/>
                  </a:lnTo>
                  <a:lnTo>
                    <a:pt x="15" y="501"/>
                  </a:lnTo>
                  <a:lnTo>
                    <a:pt x="14" y="512"/>
                  </a:lnTo>
                  <a:lnTo>
                    <a:pt x="12" y="517"/>
                  </a:lnTo>
                  <a:lnTo>
                    <a:pt x="6" y="522"/>
                  </a:lnTo>
                  <a:lnTo>
                    <a:pt x="4" y="533"/>
                  </a:lnTo>
                  <a:lnTo>
                    <a:pt x="0" y="543"/>
                  </a:lnTo>
                  <a:lnTo>
                    <a:pt x="1" y="548"/>
                  </a:lnTo>
                  <a:lnTo>
                    <a:pt x="7" y="551"/>
                  </a:lnTo>
                  <a:lnTo>
                    <a:pt x="13" y="551"/>
                  </a:lnTo>
                  <a:lnTo>
                    <a:pt x="26" y="548"/>
                  </a:lnTo>
                  <a:lnTo>
                    <a:pt x="27" y="549"/>
                  </a:lnTo>
                  <a:lnTo>
                    <a:pt x="28" y="550"/>
                  </a:lnTo>
                  <a:lnTo>
                    <a:pt x="29" y="549"/>
                  </a:lnTo>
                  <a:lnTo>
                    <a:pt x="29" y="548"/>
                  </a:lnTo>
                  <a:lnTo>
                    <a:pt x="31" y="546"/>
                  </a:lnTo>
                  <a:lnTo>
                    <a:pt x="32" y="546"/>
                  </a:lnTo>
                  <a:lnTo>
                    <a:pt x="34" y="545"/>
                  </a:lnTo>
                  <a:lnTo>
                    <a:pt x="36" y="545"/>
                  </a:lnTo>
                  <a:lnTo>
                    <a:pt x="44" y="546"/>
                  </a:lnTo>
                  <a:lnTo>
                    <a:pt x="46" y="546"/>
                  </a:lnTo>
                  <a:lnTo>
                    <a:pt x="47" y="545"/>
                  </a:lnTo>
                  <a:lnTo>
                    <a:pt x="54" y="541"/>
                  </a:lnTo>
                  <a:lnTo>
                    <a:pt x="56" y="541"/>
                  </a:lnTo>
                  <a:lnTo>
                    <a:pt x="58" y="540"/>
                  </a:lnTo>
                  <a:lnTo>
                    <a:pt x="61" y="538"/>
                  </a:lnTo>
                  <a:lnTo>
                    <a:pt x="95" y="532"/>
                  </a:lnTo>
                  <a:lnTo>
                    <a:pt x="117" y="528"/>
                  </a:lnTo>
                  <a:lnTo>
                    <a:pt x="121" y="531"/>
                  </a:lnTo>
                  <a:lnTo>
                    <a:pt x="124" y="530"/>
                  </a:lnTo>
                  <a:lnTo>
                    <a:pt x="127" y="527"/>
                  </a:lnTo>
                  <a:lnTo>
                    <a:pt x="130" y="525"/>
                  </a:lnTo>
                  <a:lnTo>
                    <a:pt x="135" y="526"/>
                  </a:lnTo>
                  <a:lnTo>
                    <a:pt x="138" y="527"/>
                  </a:lnTo>
                  <a:lnTo>
                    <a:pt x="139" y="530"/>
                  </a:lnTo>
                  <a:lnTo>
                    <a:pt x="139" y="535"/>
                  </a:lnTo>
                  <a:lnTo>
                    <a:pt x="137" y="542"/>
                  </a:lnTo>
                  <a:lnTo>
                    <a:pt x="136" y="544"/>
                  </a:lnTo>
                  <a:lnTo>
                    <a:pt x="136" y="545"/>
                  </a:lnTo>
                  <a:lnTo>
                    <a:pt x="136" y="545"/>
                  </a:lnTo>
                  <a:lnTo>
                    <a:pt x="126" y="548"/>
                  </a:lnTo>
                  <a:lnTo>
                    <a:pt x="124" y="550"/>
                  </a:lnTo>
                  <a:lnTo>
                    <a:pt x="126" y="553"/>
                  </a:lnTo>
                  <a:lnTo>
                    <a:pt x="124" y="555"/>
                  </a:lnTo>
                  <a:lnTo>
                    <a:pt x="122" y="556"/>
                  </a:lnTo>
                  <a:lnTo>
                    <a:pt x="116" y="556"/>
                  </a:lnTo>
                  <a:lnTo>
                    <a:pt x="116" y="558"/>
                  </a:lnTo>
                  <a:lnTo>
                    <a:pt x="116" y="559"/>
                  </a:lnTo>
                  <a:lnTo>
                    <a:pt x="116" y="560"/>
                  </a:lnTo>
                  <a:lnTo>
                    <a:pt x="116" y="562"/>
                  </a:lnTo>
                  <a:lnTo>
                    <a:pt x="117" y="562"/>
                  </a:lnTo>
                  <a:lnTo>
                    <a:pt x="118" y="563"/>
                  </a:lnTo>
                  <a:lnTo>
                    <a:pt x="101" y="576"/>
                  </a:lnTo>
                  <a:lnTo>
                    <a:pt x="98" y="580"/>
                  </a:lnTo>
                  <a:lnTo>
                    <a:pt x="97" y="581"/>
                  </a:lnTo>
                  <a:lnTo>
                    <a:pt x="95" y="582"/>
                  </a:lnTo>
                  <a:lnTo>
                    <a:pt x="94" y="584"/>
                  </a:lnTo>
                  <a:lnTo>
                    <a:pt x="95" y="587"/>
                  </a:lnTo>
                  <a:lnTo>
                    <a:pt x="94" y="586"/>
                  </a:lnTo>
                  <a:lnTo>
                    <a:pt x="93" y="585"/>
                  </a:lnTo>
                  <a:lnTo>
                    <a:pt x="91" y="584"/>
                  </a:lnTo>
                  <a:lnTo>
                    <a:pt x="90" y="584"/>
                  </a:lnTo>
                  <a:lnTo>
                    <a:pt x="90" y="583"/>
                  </a:lnTo>
                  <a:lnTo>
                    <a:pt x="92" y="582"/>
                  </a:lnTo>
                  <a:lnTo>
                    <a:pt x="93" y="581"/>
                  </a:lnTo>
                  <a:lnTo>
                    <a:pt x="91" y="580"/>
                  </a:lnTo>
                  <a:lnTo>
                    <a:pt x="89" y="581"/>
                  </a:lnTo>
                  <a:lnTo>
                    <a:pt x="88" y="583"/>
                  </a:lnTo>
                  <a:lnTo>
                    <a:pt x="87" y="587"/>
                  </a:lnTo>
                  <a:lnTo>
                    <a:pt x="85" y="589"/>
                  </a:lnTo>
                  <a:lnTo>
                    <a:pt x="89" y="590"/>
                  </a:lnTo>
                  <a:lnTo>
                    <a:pt x="92" y="590"/>
                  </a:lnTo>
                  <a:lnTo>
                    <a:pt x="100" y="590"/>
                  </a:lnTo>
                  <a:lnTo>
                    <a:pt x="103" y="591"/>
                  </a:lnTo>
                  <a:lnTo>
                    <a:pt x="104" y="594"/>
                  </a:lnTo>
                  <a:lnTo>
                    <a:pt x="105" y="598"/>
                  </a:lnTo>
                  <a:lnTo>
                    <a:pt x="106" y="602"/>
                  </a:lnTo>
                  <a:lnTo>
                    <a:pt x="106" y="604"/>
                  </a:lnTo>
                  <a:lnTo>
                    <a:pt x="108" y="607"/>
                  </a:lnTo>
                  <a:lnTo>
                    <a:pt x="111" y="609"/>
                  </a:lnTo>
                  <a:lnTo>
                    <a:pt x="112" y="610"/>
                  </a:lnTo>
                  <a:lnTo>
                    <a:pt x="117" y="613"/>
                  </a:lnTo>
                  <a:lnTo>
                    <a:pt x="119" y="614"/>
                  </a:lnTo>
                  <a:lnTo>
                    <a:pt x="124" y="620"/>
                  </a:lnTo>
                  <a:lnTo>
                    <a:pt x="128" y="626"/>
                  </a:lnTo>
                  <a:lnTo>
                    <a:pt x="129" y="630"/>
                  </a:lnTo>
                  <a:lnTo>
                    <a:pt x="127" y="632"/>
                  </a:lnTo>
                  <a:lnTo>
                    <a:pt x="124" y="633"/>
                  </a:lnTo>
                  <a:lnTo>
                    <a:pt x="120" y="635"/>
                  </a:lnTo>
                  <a:lnTo>
                    <a:pt x="117" y="638"/>
                  </a:lnTo>
                  <a:lnTo>
                    <a:pt x="115" y="640"/>
                  </a:lnTo>
                  <a:lnTo>
                    <a:pt x="117" y="640"/>
                  </a:lnTo>
                  <a:lnTo>
                    <a:pt x="118" y="640"/>
                  </a:lnTo>
                  <a:lnTo>
                    <a:pt x="118" y="642"/>
                  </a:lnTo>
                  <a:lnTo>
                    <a:pt x="115" y="645"/>
                  </a:lnTo>
                  <a:lnTo>
                    <a:pt x="115" y="650"/>
                  </a:lnTo>
                  <a:lnTo>
                    <a:pt x="117" y="655"/>
                  </a:lnTo>
                  <a:lnTo>
                    <a:pt x="120" y="657"/>
                  </a:lnTo>
                  <a:lnTo>
                    <a:pt x="122" y="658"/>
                  </a:lnTo>
                  <a:lnTo>
                    <a:pt x="124" y="662"/>
                  </a:lnTo>
                  <a:lnTo>
                    <a:pt x="126" y="662"/>
                  </a:lnTo>
                  <a:lnTo>
                    <a:pt x="128" y="662"/>
                  </a:lnTo>
                  <a:lnTo>
                    <a:pt x="134" y="658"/>
                  </a:lnTo>
                  <a:lnTo>
                    <a:pt x="135" y="657"/>
                  </a:lnTo>
                  <a:lnTo>
                    <a:pt x="137" y="659"/>
                  </a:lnTo>
                  <a:lnTo>
                    <a:pt x="138" y="658"/>
                  </a:lnTo>
                  <a:lnTo>
                    <a:pt x="139" y="657"/>
                  </a:lnTo>
                  <a:lnTo>
                    <a:pt x="141" y="657"/>
                  </a:lnTo>
                  <a:lnTo>
                    <a:pt x="142" y="657"/>
                  </a:lnTo>
                  <a:lnTo>
                    <a:pt x="144" y="660"/>
                  </a:lnTo>
                  <a:lnTo>
                    <a:pt x="145" y="661"/>
                  </a:lnTo>
                  <a:lnTo>
                    <a:pt x="148" y="661"/>
                  </a:lnTo>
                  <a:lnTo>
                    <a:pt x="149" y="661"/>
                  </a:lnTo>
                  <a:lnTo>
                    <a:pt x="151" y="659"/>
                  </a:lnTo>
                  <a:lnTo>
                    <a:pt x="154" y="657"/>
                  </a:lnTo>
                  <a:lnTo>
                    <a:pt x="157" y="659"/>
                  </a:lnTo>
                  <a:lnTo>
                    <a:pt x="157" y="661"/>
                  </a:lnTo>
                  <a:lnTo>
                    <a:pt x="154" y="667"/>
                  </a:lnTo>
                  <a:lnTo>
                    <a:pt x="157" y="667"/>
                  </a:lnTo>
                  <a:lnTo>
                    <a:pt x="156" y="671"/>
                  </a:lnTo>
                  <a:lnTo>
                    <a:pt x="153" y="673"/>
                  </a:lnTo>
                  <a:lnTo>
                    <a:pt x="149" y="671"/>
                  </a:lnTo>
                  <a:lnTo>
                    <a:pt x="148" y="672"/>
                  </a:lnTo>
                  <a:lnTo>
                    <a:pt x="146" y="674"/>
                  </a:lnTo>
                  <a:lnTo>
                    <a:pt x="144" y="675"/>
                  </a:lnTo>
                  <a:lnTo>
                    <a:pt x="141" y="676"/>
                  </a:lnTo>
                  <a:lnTo>
                    <a:pt x="143" y="682"/>
                  </a:lnTo>
                  <a:lnTo>
                    <a:pt x="141" y="684"/>
                  </a:lnTo>
                  <a:lnTo>
                    <a:pt x="139" y="683"/>
                  </a:lnTo>
                  <a:lnTo>
                    <a:pt x="138" y="679"/>
                  </a:lnTo>
                  <a:lnTo>
                    <a:pt x="131" y="682"/>
                  </a:lnTo>
                  <a:lnTo>
                    <a:pt x="132" y="683"/>
                  </a:lnTo>
                  <a:lnTo>
                    <a:pt x="135" y="689"/>
                  </a:lnTo>
                  <a:lnTo>
                    <a:pt x="137" y="687"/>
                  </a:lnTo>
                  <a:lnTo>
                    <a:pt x="137" y="690"/>
                  </a:lnTo>
                  <a:lnTo>
                    <a:pt x="137" y="691"/>
                  </a:lnTo>
                  <a:lnTo>
                    <a:pt x="137" y="693"/>
                  </a:lnTo>
                  <a:lnTo>
                    <a:pt x="137" y="694"/>
                  </a:lnTo>
                  <a:lnTo>
                    <a:pt x="135" y="693"/>
                  </a:lnTo>
                  <a:lnTo>
                    <a:pt x="134" y="693"/>
                  </a:lnTo>
                  <a:lnTo>
                    <a:pt x="133" y="695"/>
                  </a:lnTo>
                  <a:lnTo>
                    <a:pt x="131" y="696"/>
                  </a:lnTo>
                  <a:lnTo>
                    <a:pt x="132" y="698"/>
                  </a:lnTo>
                  <a:lnTo>
                    <a:pt x="130" y="699"/>
                  </a:lnTo>
                  <a:lnTo>
                    <a:pt x="128" y="698"/>
                  </a:lnTo>
                  <a:lnTo>
                    <a:pt x="124" y="696"/>
                  </a:lnTo>
                  <a:lnTo>
                    <a:pt x="122" y="696"/>
                  </a:lnTo>
                  <a:lnTo>
                    <a:pt x="120" y="696"/>
                  </a:lnTo>
                  <a:lnTo>
                    <a:pt x="120" y="696"/>
                  </a:lnTo>
                  <a:lnTo>
                    <a:pt x="120" y="695"/>
                  </a:lnTo>
                  <a:lnTo>
                    <a:pt x="119" y="695"/>
                  </a:lnTo>
                  <a:lnTo>
                    <a:pt x="119" y="694"/>
                  </a:lnTo>
                  <a:lnTo>
                    <a:pt x="114" y="697"/>
                  </a:lnTo>
                  <a:lnTo>
                    <a:pt x="106" y="699"/>
                  </a:lnTo>
                  <a:lnTo>
                    <a:pt x="103" y="701"/>
                  </a:lnTo>
                  <a:lnTo>
                    <a:pt x="104" y="705"/>
                  </a:lnTo>
                  <a:lnTo>
                    <a:pt x="105" y="708"/>
                  </a:lnTo>
                  <a:lnTo>
                    <a:pt x="108" y="712"/>
                  </a:lnTo>
                  <a:lnTo>
                    <a:pt x="106" y="712"/>
                  </a:lnTo>
                  <a:lnTo>
                    <a:pt x="105" y="713"/>
                  </a:lnTo>
                  <a:lnTo>
                    <a:pt x="104" y="714"/>
                  </a:lnTo>
                  <a:lnTo>
                    <a:pt x="103" y="715"/>
                  </a:lnTo>
                  <a:lnTo>
                    <a:pt x="106" y="717"/>
                  </a:lnTo>
                  <a:lnTo>
                    <a:pt x="107" y="718"/>
                  </a:lnTo>
                  <a:lnTo>
                    <a:pt x="109" y="718"/>
                  </a:lnTo>
                  <a:lnTo>
                    <a:pt x="109" y="719"/>
                  </a:lnTo>
                  <a:lnTo>
                    <a:pt x="109" y="721"/>
                  </a:lnTo>
                  <a:lnTo>
                    <a:pt x="108" y="722"/>
                  </a:lnTo>
                  <a:lnTo>
                    <a:pt x="110" y="722"/>
                  </a:lnTo>
                  <a:lnTo>
                    <a:pt x="112" y="722"/>
                  </a:lnTo>
                  <a:lnTo>
                    <a:pt x="116" y="723"/>
                  </a:lnTo>
                  <a:lnTo>
                    <a:pt x="115" y="724"/>
                  </a:lnTo>
                  <a:lnTo>
                    <a:pt x="115" y="726"/>
                  </a:lnTo>
                  <a:lnTo>
                    <a:pt x="118" y="726"/>
                  </a:lnTo>
                  <a:lnTo>
                    <a:pt x="119" y="725"/>
                  </a:lnTo>
                  <a:lnTo>
                    <a:pt x="121" y="724"/>
                  </a:lnTo>
                  <a:lnTo>
                    <a:pt x="124" y="726"/>
                  </a:lnTo>
                  <a:lnTo>
                    <a:pt x="123" y="729"/>
                  </a:lnTo>
                  <a:lnTo>
                    <a:pt x="122" y="734"/>
                  </a:lnTo>
                  <a:lnTo>
                    <a:pt x="121" y="736"/>
                  </a:lnTo>
                  <a:lnTo>
                    <a:pt x="124" y="737"/>
                  </a:lnTo>
                  <a:lnTo>
                    <a:pt x="126" y="739"/>
                  </a:lnTo>
                  <a:lnTo>
                    <a:pt x="128" y="741"/>
                  </a:lnTo>
                  <a:lnTo>
                    <a:pt x="130" y="743"/>
                  </a:lnTo>
                  <a:lnTo>
                    <a:pt x="130" y="744"/>
                  </a:lnTo>
                  <a:lnTo>
                    <a:pt x="127" y="745"/>
                  </a:lnTo>
                  <a:lnTo>
                    <a:pt x="123" y="742"/>
                  </a:lnTo>
                  <a:lnTo>
                    <a:pt x="120" y="740"/>
                  </a:lnTo>
                  <a:lnTo>
                    <a:pt x="118" y="737"/>
                  </a:lnTo>
                  <a:lnTo>
                    <a:pt x="120" y="741"/>
                  </a:lnTo>
                  <a:lnTo>
                    <a:pt x="124" y="744"/>
                  </a:lnTo>
                  <a:lnTo>
                    <a:pt x="125" y="745"/>
                  </a:lnTo>
                  <a:lnTo>
                    <a:pt x="129" y="746"/>
                  </a:lnTo>
                  <a:lnTo>
                    <a:pt x="131" y="747"/>
                  </a:lnTo>
                  <a:lnTo>
                    <a:pt x="136" y="755"/>
                  </a:lnTo>
                  <a:lnTo>
                    <a:pt x="139" y="757"/>
                  </a:lnTo>
                  <a:lnTo>
                    <a:pt x="137" y="759"/>
                  </a:lnTo>
                  <a:lnTo>
                    <a:pt x="138" y="759"/>
                  </a:lnTo>
                  <a:lnTo>
                    <a:pt x="141" y="758"/>
                  </a:lnTo>
                  <a:lnTo>
                    <a:pt x="151" y="754"/>
                  </a:lnTo>
                  <a:lnTo>
                    <a:pt x="155" y="753"/>
                  </a:lnTo>
                  <a:lnTo>
                    <a:pt x="159" y="755"/>
                  </a:lnTo>
                  <a:lnTo>
                    <a:pt x="161" y="755"/>
                  </a:lnTo>
                  <a:lnTo>
                    <a:pt x="166" y="755"/>
                  </a:lnTo>
                  <a:lnTo>
                    <a:pt x="169" y="754"/>
                  </a:lnTo>
                  <a:lnTo>
                    <a:pt x="170" y="755"/>
                  </a:lnTo>
                  <a:lnTo>
                    <a:pt x="171" y="754"/>
                  </a:lnTo>
                  <a:lnTo>
                    <a:pt x="172" y="754"/>
                  </a:lnTo>
                  <a:lnTo>
                    <a:pt x="173" y="755"/>
                  </a:lnTo>
                  <a:lnTo>
                    <a:pt x="173" y="757"/>
                  </a:lnTo>
                  <a:lnTo>
                    <a:pt x="169" y="760"/>
                  </a:lnTo>
                  <a:lnTo>
                    <a:pt x="165" y="763"/>
                  </a:lnTo>
                  <a:lnTo>
                    <a:pt x="162" y="766"/>
                  </a:lnTo>
                  <a:lnTo>
                    <a:pt x="157" y="764"/>
                  </a:lnTo>
                  <a:lnTo>
                    <a:pt x="156" y="765"/>
                  </a:lnTo>
                  <a:lnTo>
                    <a:pt x="156" y="764"/>
                  </a:lnTo>
                  <a:lnTo>
                    <a:pt x="154" y="765"/>
                  </a:lnTo>
                  <a:lnTo>
                    <a:pt x="153" y="764"/>
                  </a:lnTo>
                  <a:lnTo>
                    <a:pt x="151" y="764"/>
                  </a:lnTo>
                  <a:lnTo>
                    <a:pt x="149" y="764"/>
                  </a:lnTo>
                  <a:lnTo>
                    <a:pt x="148" y="764"/>
                  </a:lnTo>
                  <a:lnTo>
                    <a:pt x="147" y="766"/>
                  </a:lnTo>
                  <a:lnTo>
                    <a:pt x="146" y="766"/>
                  </a:lnTo>
                  <a:lnTo>
                    <a:pt x="143" y="767"/>
                  </a:lnTo>
                  <a:lnTo>
                    <a:pt x="135" y="771"/>
                  </a:lnTo>
                  <a:lnTo>
                    <a:pt x="123" y="772"/>
                  </a:lnTo>
                  <a:lnTo>
                    <a:pt x="120" y="773"/>
                  </a:lnTo>
                  <a:lnTo>
                    <a:pt x="117" y="774"/>
                  </a:lnTo>
                  <a:lnTo>
                    <a:pt x="115" y="774"/>
                  </a:lnTo>
                  <a:lnTo>
                    <a:pt x="114" y="772"/>
                  </a:lnTo>
                  <a:lnTo>
                    <a:pt x="113" y="772"/>
                  </a:lnTo>
                  <a:lnTo>
                    <a:pt x="111" y="773"/>
                  </a:lnTo>
                  <a:lnTo>
                    <a:pt x="110" y="773"/>
                  </a:lnTo>
                  <a:lnTo>
                    <a:pt x="107" y="765"/>
                  </a:lnTo>
                  <a:lnTo>
                    <a:pt x="106" y="761"/>
                  </a:lnTo>
                  <a:lnTo>
                    <a:pt x="104" y="760"/>
                  </a:lnTo>
                  <a:lnTo>
                    <a:pt x="103" y="760"/>
                  </a:lnTo>
                  <a:lnTo>
                    <a:pt x="103" y="761"/>
                  </a:lnTo>
                  <a:lnTo>
                    <a:pt x="100" y="760"/>
                  </a:lnTo>
                  <a:lnTo>
                    <a:pt x="98" y="762"/>
                  </a:lnTo>
                  <a:lnTo>
                    <a:pt x="96" y="766"/>
                  </a:lnTo>
                  <a:lnTo>
                    <a:pt x="95" y="769"/>
                  </a:lnTo>
                  <a:lnTo>
                    <a:pt x="96" y="778"/>
                  </a:lnTo>
                  <a:lnTo>
                    <a:pt x="99" y="779"/>
                  </a:lnTo>
                  <a:lnTo>
                    <a:pt x="100" y="781"/>
                  </a:lnTo>
                  <a:lnTo>
                    <a:pt x="99" y="784"/>
                  </a:lnTo>
                  <a:lnTo>
                    <a:pt x="95" y="785"/>
                  </a:lnTo>
                  <a:lnTo>
                    <a:pt x="93" y="780"/>
                  </a:lnTo>
                  <a:lnTo>
                    <a:pt x="90" y="771"/>
                  </a:lnTo>
                  <a:lnTo>
                    <a:pt x="88" y="768"/>
                  </a:lnTo>
                  <a:lnTo>
                    <a:pt x="87" y="765"/>
                  </a:lnTo>
                  <a:lnTo>
                    <a:pt x="86" y="763"/>
                  </a:lnTo>
                  <a:lnTo>
                    <a:pt x="82" y="762"/>
                  </a:lnTo>
                  <a:lnTo>
                    <a:pt x="83" y="760"/>
                  </a:lnTo>
                  <a:lnTo>
                    <a:pt x="85" y="757"/>
                  </a:lnTo>
                  <a:lnTo>
                    <a:pt x="85" y="755"/>
                  </a:lnTo>
                  <a:lnTo>
                    <a:pt x="82" y="754"/>
                  </a:lnTo>
                  <a:lnTo>
                    <a:pt x="84" y="753"/>
                  </a:lnTo>
                  <a:lnTo>
                    <a:pt x="86" y="752"/>
                  </a:lnTo>
                  <a:lnTo>
                    <a:pt x="87" y="753"/>
                  </a:lnTo>
                  <a:lnTo>
                    <a:pt x="89" y="754"/>
                  </a:lnTo>
                  <a:lnTo>
                    <a:pt x="89" y="754"/>
                  </a:lnTo>
                  <a:lnTo>
                    <a:pt x="90" y="753"/>
                  </a:lnTo>
                  <a:lnTo>
                    <a:pt x="91" y="752"/>
                  </a:lnTo>
                  <a:lnTo>
                    <a:pt x="90" y="750"/>
                  </a:lnTo>
                  <a:lnTo>
                    <a:pt x="90" y="749"/>
                  </a:lnTo>
                  <a:lnTo>
                    <a:pt x="90" y="747"/>
                  </a:lnTo>
                  <a:lnTo>
                    <a:pt x="90" y="744"/>
                  </a:lnTo>
                  <a:lnTo>
                    <a:pt x="89" y="742"/>
                  </a:lnTo>
                  <a:lnTo>
                    <a:pt x="88" y="741"/>
                  </a:lnTo>
                  <a:lnTo>
                    <a:pt x="87" y="740"/>
                  </a:lnTo>
                  <a:lnTo>
                    <a:pt x="85" y="739"/>
                  </a:lnTo>
                  <a:lnTo>
                    <a:pt x="81" y="734"/>
                  </a:lnTo>
                  <a:lnTo>
                    <a:pt x="78" y="728"/>
                  </a:lnTo>
                  <a:lnTo>
                    <a:pt x="77" y="725"/>
                  </a:lnTo>
                  <a:lnTo>
                    <a:pt x="74" y="721"/>
                  </a:lnTo>
                  <a:lnTo>
                    <a:pt x="69" y="715"/>
                  </a:lnTo>
                  <a:lnTo>
                    <a:pt x="66" y="713"/>
                  </a:lnTo>
                  <a:lnTo>
                    <a:pt x="63" y="711"/>
                  </a:lnTo>
                  <a:lnTo>
                    <a:pt x="59" y="710"/>
                  </a:lnTo>
                  <a:lnTo>
                    <a:pt x="54" y="710"/>
                  </a:lnTo>
                  <a:lnTo>
                    <a:pt x="53" y="710"/>
                  </a:lnTo>
                  <a:lnTo>
                    <a:pt x="49" y="712"/>
                  </a:lnTo>
                  <a:lnTo>
                    <a:pt x="47" y="712"/>
                  </a:lnTo>
                  <a:lnTo>
                    <a:pt x="45" y="713"/>
                  </a:lnTo>
                  <a:lnTo>
                    <a:pt x="44" y="716"/>
                  </a:lnTo>
                  <a:lnTo>
                    <a:pt x="44" y="719"/>
                  </a:lnTo>
                  <a:lnTo>
                    <a:pt x="44" y="721"/>
                  </a:lnTo>
                  <a:lnTo>
                    <a:pt x="46" y="729"/>
                  </a:lnTo>
                  <a:lnTo>
                    <a:pt x="46" y="730"/>
                  </a:lnTo>
                  <a:lnTo>
                    <a:pt x="46" y="732"/>
                  </a:lnTo>
                  <a:lnTo>
                    <a:pt x="48" y="738"/>
                  </a:lnTo>
                  <a:lnTo>
                    <a:pt x="48" y="740"/>
                  </a:lnTo>
                  <a:lnTo>
                    <a:pt x="47" y="739"/>
                  </a:lnTo>
                  <a:lnTo>
                    <a:pt x="52" y="746"/>
                  </a:lnTo>
                  <a:lnTo>
                    <a:pt x="53" y="749"/>
                  </a:lnTo>
                  <a:lnTo>
                    <a:pt x="52" y="752"/>
                  </a:lnTo>
                  <a:lnTo>
                    <a:pt x="50" y="754"/>
                  </a:lnTo>
                  <a:lnTo>
                    <a:pt x="50" y="755"/>
                  </a:lnTo>
                  <a:lnTo>
                    <a:pt x="53" y="755"/>
                  </a:lnTo>
                  <a:lnTo>
                    <a:pt x="55" y="755"/>
                  </a:lnTo>
                  <a:lnTo>
                    <a:pt x="56" y="752"/>
                  </a:lnTo>
                  <a:lnTo>
                    <a:pt x="57" y="751"/>
                  </a:lnTo>
                  <a:lnTo>
                    <a:pt x="59" y="751"/>
                  </a:lnTo>
                  <a:lnTo>
                    <a:pt x="61" y="753"/>
                  </a:lnTo>
                  <a:lnTo>
                    <a:pt x="64" y="755"/>
                  </a:lnTo>
                  <a:lnTo>
                    <a:pt x="68" y="758"/>
                  </a:lnTo>
                  <a:lnTo>
                    <a:pt x="70" y="760"/>
                  </a:lnTo>
                  <a:lnTo>
                    <a:pt x="68" y="765"/>
                  </a:lnTo>
                  <a:lnTo>
                    <a:pt x="66" y="765"/>
                  </a:lnTo>
                  <a:lnTo>
                    <a:pt x="64" y="763"/>
                  </a:lnTo>
                  <a:lnTo>
                    <a:pt x="60" y="761"/>
                  </a:lnTo>
                  <a:lnTo>
                    <a:pt x="60" y="762"/>
                  </a:lnTo>
                  <a:lnTo>
                    <a:pt x="63" y="765"/>
                  </a:lnTo>
                  <a:lnTo>
                    <a:pt x="64" y="769"/>
                  </a:lnTo>
                  <a:lnTo>
                    <a:pt x="64" y="773"/>
                  </a:lnTo>
                  <a:lnTo>
                    <a:pt x="62" y="775"/>
                  </a:lnTo>
                  <a:lnTo>
                    <a:pt x="61" y="775"/>
                  </a:lnTo>
                  <a:lnTo>
                    <a:pt x="57" y="778"/>
                  </a:lnTo>
                  <a:lnTo>
                    <a:pt x="55" y="779"/>
                  </a:lnTo>
                  <a:lnTo>
                    <a:pt x="53" y="779"/>
                  </a:lnTo>
                  <a:lnTo>
                    <a:pt x="52" y="779"/>
                  </a:lnTo>
                  <a:lnTo>
                    <a:pt x="50" y="778"/>
                  </a:lnTo>
                  <a:lnTo>
                    <a:pt x="50" y="779"/>
                  </a:lnTo>
                  <a:lnTo>
                    <a:pt x="51" y="781"/>
                  </a:lnTo>
                  <a:lnTo>
                    <a:pt x="50" y="783"/>
                  </a:lnTo>
                  <a:lnTo>
                    <a:pt x="47" y="783"/>
                  </a:lnTo>
                  <a:lnTo>
                    <a:pt x="45" y="783"/>
                  </a:lnTo>
                  <a:lnTo>
                    <a:pt x="44" y="782"/>
                  </a:lnTo>
                  <a:lnTo>
                    <a:pt x="44" y="781"/>
                  </a:lnTo>
                  <a:lnTo>
                    <a:pt x="44" y="780"/>
                  </a:lnTo>
                  <a:lnTo>
                    <a:pt x="42" y="780"/>
                  </a:lnTo>
                  <a:lnTo>
                    <a:pt x="41" y="780"/>
                  </a:lnTo>
                  <a:lnTo>
                    <a:pt x="40" y="780"/>
                  </a:lnTo>
                  <a:lnTo>
                    <a:pt x="39" y="779"/>
                  </a:lnTo>
                  <a:lnTo>
                    <a:pt x="39" y="779"/>
                  </a:lnTo>
                  <a:lnTo>
                    <a:pt x="40" y="777"/>
                  </a:lnTo>
                  <a:lnTo>
                    <a:pt x="41" y="775"/>
                  </a:lnTo>
                  <a:lnTo>
                    <a:pt x="40" y="773"/>
                  </a:lnTo>
                  <a:lnTo>
                    <a:pt x="40" y="771"/>
                  </a:lnTo>
                  <a:lnTo>
                    <a:pt x="39" y="771"/>
                  </a:lnTo>
                  <a:lnTo>
                    <a:pt x="38" y="772"/>
                  </a:lnTo>
                  <a:lnTo>
                    <a:pt x="38" y="773"/>
                  </a:lnTo>
                  <a:lnTo>
                    <a:pt x="37" y="775"/>
                  </a:lnTo>
                  <a:lnTo>
                    <a:pt x="35" y="772"/>
                  </a:lnTo>
                  <a:lnTo>
                    <a:pt x="34" y="774"/>
                  </a:lnTo>
                  <a:lnTo>
                    <a:pt x="35" y="778"/>
                  </a:lnTo>
                  <a:lnTo>
                    <a:pt x="37" y="780"/>
                  </a:lnTo>
                  <a:lnTo>
                    <a:pt x="37" y="782"/>
                  </a:lnTo>
                  <a:lnTo>
                    <a:pt x="34" y="783"/>
                  </a:lnTo>
                  <a:lnTo>
                    <a:pt x="32" y="786"/>
                  </a:lnTo>
                  <a:lnTo>
                    <a:pt x="31" y="789"/>
                  </a:lnTo>
                  <a:lnTo>
                    <a:pt x="26" y="787"/>
                  </a:lnTo>
                  <a:lnTo>
                    <a:pt x="26" y="790"/>
                  </a:lnTo>
                  <a:lnTo>
                    <a:pt x="26" y="792"/>
                  </a:lnTo>
                  <a:lnTo>
                    <a:pt x="34" y="794"/>
                  </a:lnTo>
                  <a:lnTo>
                    <a:pt x="36" y="795"/>
                  </a:lnTo>
                  <a:lnTo>
                    <a:pt x="41" y="799"/>
                  </a:lnTo>
                  <a:lnTo>
                    <a:pt x="45" y="801"/>
                  </a:lnTo>
                  <a:lnTo>
                    <a:pt x="48" y="799"/>
                  </a:lnTo>
                  <a:lnTo>
                    <a:pt x="50" y="794"/>
                  </a:lnTo>
                  <a:lnTo>
                    <a:pt x="51" y="794"/>
                  </a:lnTo>
                  <a:lnTo>
                    <a:pt x="51" y="796"/>
                  </a:lnTo>
                  <a:lnTo>
                    <a:pt x="51" y="798"/>
                  </a:lnTo>
                  <a:lnTo>
                    <a:pt x="51" y="799"/>
                  </a:lnTo>
                  <a:lnTo>
                    <a:pt x="51" y="802"/>
                  </a:lnTo>
                  <a:lnTo>
                    <a:pt x="54" y="805"/>
                  </a:lnTo>
                  <a:lnTo>
                    <a:pt x="55" y="806"/>
                  </a:lnTo>
                  <a:lnTo>
                    <a:pt x="56" y="806"/>
                  </a:lnTo>
                  <a:lnTo>
                    <a:pt x="56" y="805"/>
                  </a:lnTo>
                  <a:lnTo>
                    <a:pt x="55" y="802"/>
                  </a:lnTo>
                  <a:lnTo>
                    <a:pt x="59" y="804"/>
                  </a:lnTo>
                  <a:lnTo>
                    <a:pt x="63" y="808"/>
                  </a:lnTo>
                  <a:lnTo>
                    <a:pt x="67" y="812"/>
                  </a:lnTo>
                  <a:lnTo>
                    <a:pt x="71" y="810"/>
                  </a:lnTo>
                  <a:lnTo>
                    <a:pt x="70" y="813"/>
                  </a:lnTo>
                  <a:lnTo>
                    <a:pt x="71" y="815"/>
                  </a:lnTo>
                  <a:lnTo>
                    <a:pt x="72" y="817"/>
                  </a:lnTo>
                  <a:lnTo>
                    <a:pt x="75" y="820"/>
                  </a:lnTo>
                  <a:lnTo>
                    <a:pt x="77" y="822"/>
                  </a:lnTo>
                  <a:lnTo>
                    <a:pt x="79" y="822"/>
                  </a:lnTo>
                  <a:lnTo>
                    <a:pt x="79" y="818"/>
                  </a:lnTo>
                  <a:lnTo>
                    <a:pt x="80" y="820"/>
                  </a:lnTo>
                  <a:lnTo>
                    <a:pt x="82" y="825"/>
                  </a:lnTo>
                  <a:lnTo>
                    <a:pt x="83" y="826"/>
                  </a:lnTo>
                  <a:lnTo>
                    <a:pt x="85" y="825"/>
                  </a:lnTo>
                  <a:lnTo>
                    <a:pt x="86" y="823"/>
                  </a:lnTo>
                  <a:lnTo>
                    <a:pt x="86" y="820"/>
                  </a:lnTo>
                  <a:lnTo>
                    <a:pt x="85" y="818"/>
                  </a:lnTo>
                  <a:lnTo>
                    <a:pt x="86" y="818"/>
                  </a:lnTo>
                  <a:lnTo>
                    <a:pt x="87" y="818"/>
                  </a:lnTo>
                  <a:lnTo>
                    <a:pt x="87" y="818"/>
                  </a:lnTo>
                  <a:lnTo>
                    <a:pt x="88" y="819"/>
                  </a:lnTo>
                  <a:lnTo>
                    <a:pt x="90" y="806"/>
                  </a:lnTo>
                  <a:lnTo>
                    <a:pt x="91" y="805"/>
                  </a:lnTo>
                  <a:lnTo>
                    <a:pt x="101" y="805"/>
                  </a:lnTo>
                  <a:lnTo>
                    <a:pt x="104" y="804"/>
                  </a:lnTo>
                  <a:lnTo>
                    <a:pt x="107" y="803"/>
                  </a:lnTo>
                  <a:lnTo>
                    <a:pt x="109" y="803"/>
                  </a:lnTo>
                  <a:lnTo>
                    <a:pt x="111" y="805"/>
                  </a:lnTo>
                  <a:lnTo>
                    <a:pt x="111" y="811"/>
                  </a:lnTo>
                  <a:lnTo>
                    <a:pt x="112" y="814"/>
                  </a:lnTo>
                  <a:lnTo>
                    <a:pt x="115" y="812"/>
                  </a:lnTo>
                  <a:lnTo>
                    <a:pt x="116" y="814"/>
                  </a:lnTo>
                  <a:lnTo>
                    <a:pt x="119" y="818"/>
                  </a:lnTo>
                  <a:lnTo>
                    <a:pt x="121" y="820"/>
                  </a:lnTo>
                  <a:lnTo>
                    <a:pt x="122" y="823"/>
                  </a:lnTo>
                  <a:lnTo>
                    <a:pt x="123" y="826"/>
                  </a:lnTo>
                  <a:lnTo>
                    <a:pt x="123" y="829"/>
                  </a:lnTo>
                  <a:lnTo>
                    <a:pt x="122" y="831"/>
                  </a:lnTo>
                  <a:lnTo>
                    <a:pt x="126" y="838"/>
                  </a:lnTo>
                  <a:lnTo>
                    <a:pt x="127" y="840"/>
                  </a:lnTo>
                  <a:lnTo>
                    <a:pt x="129" y="839"/>
                  </a:lnTo>
                  <a:lnTo>
                    <a:pt x="129" y="838"/>
                  </a:lnTo>
                  <a:lnTo>
                    <a:pt x="130" y="836"/>
                  </a:lnTo>
                  <a:lnTo>
                    <a:pt x="130" y="835"/>
                  </a:lnTo>
                  <a:lnTo>
                    <a:pt x="132" y="835"/>
                  </a:lnTo>
                  <a:lnTo>
                    <a:pt x="134" y="834"/>
                  </a:lnTo>
                  <a:lnTo>
                    <a:pt x="139" y="833"/>
                  </a:lnTo>
                  <a:lnTo>
                    <a:pt x="144" y="833"/>
                  </a:lnTo>
                  <a:lnTo>
                    <a:pt x="152" y="837"/>
                  </a:lnTo>
                  <a:lnTo>
                    <a:pt x="156" y="838"/>
                  </a:lnTo>
                  <a:lnTo>
                    <a:pt x="158" y="838"/>
                  </a:lnTo>
                  <a:lnTo>
                    <a:pt x="158" y="842"/>
                  </a:lnTo>
                  <a:lnTo>
                    <a:pt x="158" y="843"/>
                  </a:lnTo>
                  <a:lnTo>
                    <a:pt x="159" y="843"/>
                  </a:lnTo>
                  <a:lnTo>
                    <a:pt x="161" y="843"/>
                  </a:lnTo>
                  <a:lnTo>
                    <a:pt x="162" y="843"/>
                  </a:lnTo>
                  <a:lnTo>
                    <a:pt x="163" y="844"/>
                  </a:lnTo>
                  <a:lnTo>
                    <a:pt x="164" y="845"/>
                  </a:lnTo>
                  <a:lnTo>
                    <a:pt x="165" y="847"/>
                  </a:lnTo>
                  <a:lnTo>
                    <a:pt x="166" y="848"/>
                  </a:lnTo>
                  <a:lnTo>
                    <a:pt x="170" y="849"/>
                  </a:lnTo>
                  <a:lnTo>
                    <a:pt x="176" y="850"/>
                  </a:lnTo>
                  <a:lnTo>
                    <a:pt x="181" y="850"/>
                  </a:lnTo>
                  <a:lnTo>
                    <a:pt x="185" y="849"/>
                  </a:lnTo>
                  <a:lnTo>
                    <a:pt x="190" y="856"/>
                  </a:lnTo>
                  <a:lnTo>
                    <a:pt x="191" y="861"/>
                  </a:lnTo>
                  <a:lnTo>
                    <a:pt x="189" y="863"/>
                  </a:lnTo>
                  <a:lnTo>
                    <a:pt x="189" y="865"/>
                  </a:lnTo>
                  <a:lnTo>
                    <a:pt x="189" y="866"/>
                  </a:lnTo>
                  <a:lnTo>
                    <a:pt x="189" y="868"/>
                  </a:lnTo>
                  <a:lnTo>
                    <a:pt x="189" y="870"/>
                  </a:lnTo>
                  <a:lnTo>
                    <a:pt x="188" y="871"/>
                  </a:lnTo>
                  <a:lnTo>
                    <a:pt x="186" y="873"/>
                  </a:lnTo>
                  <a:lnTo>
                    <a:pt x="185" y="874"/>
                  </a:lnTo>
                  <a:lnTo>
                    <a:pt x="185" y="877"/>
                  </a:lnTo>
                  <a:lnTo>
                    <a:pt x="186" y="880"/>
                  </a:lnTo>
                  <a:lnTo>
                    <a:pt x="187" y="882"/>
                  </a:lnTo>
                  <a:lnTo>
                    <a:pt x="189" y="883"/>
                  </a:lnTo>
                  <a:lnTo>
                    <a:pt x="189" y="886"/>
                  </a:lnTo>
                  <a:lnTo>
                    <a:pt x="189" y="890"/>
                  </a:lnTo>
                  <a:lnTo>
                    <a:pt x="188" y="895"/>
                  </a:lnTo>
                  <a:lnTo>
                    <a:pt x="187" y="898"/>
                  </a:lnTo>
                  <a:lnTo>
                    <a:pt x="183" y="902"/>
                  </a:lnTo>
                  <a:lnTo>
                    <a:pt x="181" y="904"/>
                  </a:lnTo>
                  <a:lnTo>
                    <a:pt x="168" y="909"/>
                  </a:lnTo>
                  <a:lnTo>
                    <a:pt x="164" y="909"/>
                  </a:lnTo>
                  <a:lnTo>
                    <a:pt x="153" y="909"/>
                  </a:lnTo>
                  <a:lnTo>
                    <a:pt x="151" y="909"/>
                  </a:lnTo>
                  <a:lnTo>
                    <a:pt x="149" y="914"/>
                  </a:lnTo>
                  <a:lnTo>
                    <a:pt x="155" y="916"/>
                  </a:lnTo>
                  <a:lnTo>
                    <a:pt x="169" y="921"/>
                  </a:lnTo>
                  <a:lnTo>
                    <a:pt x="178" y="926"/>
                  </a:lnTo>
                  <a:lnTo>
                    <a:pt x="181" y="927"/>
                  </a:lnTo>
                  <a:lnTo>
                    <a:pt x="181" y="930"/>
                  </a:lnTo>
                  <a:lnTo>
                    <a:pt x="181" y="934"/>
                  </a:lnTo>
                  <a:lnTo>
                    <a:pt x="179" y="937"/>
                  </a:lnTo>
                  <a:lnTo>
                    <a:pt x="177" y="936"/>
                  </a:lnTo>
                  <a:lnTo>
                    <a:pt x="176" y="938"/>
                  </a:lnTo>
                  <a:lnTo>
                    <a:pt x="177" y="939"/>
                  </a:lnTo>
                  <a:lnTo>
                    <a:pt x="177" y="940"/>
                  </a:lnTo>
                  <a:lnTo>
                    <a:pt x="177" y="941"/>
                  </a:lnTo>
                  <a:lnTo>
                    <a:pt x="178" y="944"/>
                  </a:lnTo>
                  <a:lnTo>
                    <a:pt x="177" y="947"/>
                  </a:lnTo>
                  <a:lnTo>
                    <a:pt x="176" y="950"/>
                  </a:lnTo>
                  <a:lnTo>
                    <a:pt x="176" y="953"/>
                  </a:lnTo>
                  <a:lnTo>
                    <a:pt x="177" y="952"/>
                  </a:lnTo>
                  <a:lnTo>
                    <a:pt x="178" y="951"/>
                  </a:lnTo>
                  <a:lnTo>
                    <a:pt x="179" y="951"/>
                  </a:lnTo>
                  <a:lnTo>
                    <a:pt x="180" y="952"/>
                  </a:lnTo>
                  <a:lnTo>
                    <a:pt x="183" y="951"/>
                  </a:lnTo>
                  <a:lnTo>
                    <a:pt x="182" y="960"/>
                  </a:lnTo>
                  <a:lnTo>
                    <a:pt x="183" y="964"/>
                  </a:lnTo>
                  <a:lnTo>
                    <a:pt x="183" y="965"/>
                  </a:lnTo>
                  <a:lnTo>
                    <a:pt x="183" y="966"/>
                  </a:lnTo>
                  <a:lnTo>
                    <a:pt x="180" y="967"/>
                  </a:lnTo>
                  <a:lnTo>
                    <a:pt x="181" y="969"/>
                  </a:lnTo>
                  <a:lnTo>
                    <a:pt x="180" y="971"/>
                  </a:lnTo>
                  <a:lnTo>
                    <a:pt x="179" y="973"/>
                  </a:lnTo>
                  <a:lnTo>
                    <a:pt x="178" y="975"/>
                  </a:lnTo>
                  <a:lnTo>
                    <a:pt x="179" y="975"/>
                  </a:lnTo>
                  <a:lnTo>
                    <a:pt x="179" y="976"/>
                  </a:lnTo>
                  <a:lnTo>
                    <a:pt x="180" y="976"/>
                  </a:lnTo>
                  <a:lnTo>
                    <a:pt x="181" y="975"/>
                  </a:lnTo>
                  <a:lnTo>
                    <a:pt x="182" y="975"/>
                  </a:lnTo>
                  <a:lnTo>
                    <a:pt x="182" y="976"/>
                  </a:lnTo>
                  <a:lnTo>
                    <a:pt x="182" y="978"/>
                  </a:lnTo>
                  <a:lnTo>
                    <a:pt x="183" y="977"/>
                  </a:lnTo>
                  <a:lnTo>
                    <a:pt x="184" y="977"/>
                  </a:lnTo>
                  <a:lnTo>
                    <a:pt x="185" y="978"/>
                  </a:lnTo>
                  <a:lnTo>
                    <a:pt x="187" y="979"/>
                  </a:lnTo>
                  <a:lnTo>
                    <a:pt x="188" y="978"/>
                  </a:lnTo>
                  <a:lnTo>
                    <a:pt x="191" y="977"/>
                  </a:lnTo>
                  <a:lnTo>
                    <a:pt x="200" y="976"/>
                  </a:lnTo>
                  <a:lnTo>
                    <a:pt x="201" y="975"/>
                  </a:lnTo>
                  <a:lnTo>
                    <a:pt x="198" y="974"/>
                  </a:lnTo>
                  <a:lnTo>
                    <a:pt x="198" y="972"/>
                  </a:lnTo>
                  <a:lnTo>
                    <a:pt x="202" y="972"/>
                  </a:lnTo>
                  <a:lnTo>
                    <a:pt x="204" y="971"/>
                  </a:lnTo>
                  <a:lnTo>
                    <a:pt x="205" y="968"/>
                  </a:lnTo>
                  <a:lnTo>
                    <a:pt x="206" y="965"/>
                  </a:lnTo>
                  <a:lnTo>
                    <a:pt x="209" y="964"/>
                  </a:lnTo>
                  <a:lnTo>
                    <a:pt x="212" y="964"/>
                  </a:lnTo>
                  <a:lnTo>
                    <a:pt x="212" y="964"/>
                  </a:lnTo>
                  <a:lnTo>
                    <a:pt x="215" y="965"/>
                  </a:lnTo>
                  <a:lnTo>
                    <a:pt x="217" y="968"/>
                  </a:lnTo>
                  <a:lnTo>
                    <a:pt x="213" y="970"/>
                  </a:lnTo>
                  <a:lnTo>
                    <a:pt x="210" y="973"/>
                  </a:lnTo>
                  <a:lnTo>
                    <a:pt x="209" y="977"/>
                  </a:lnTo>
                  <a:lnTo>
                    <a:pt x="210" y="982"/>
                  </a:lnTo>
                  <a:lnTo>
                    <a:pt x="214" y="985"/>
                  </a:lnTo>
                  <a:lnTo>
                    <a:pt x="218" y="985"/>
                  </a:lnTo>
                  <a:lnTo>
                    <a:pt x="222" y="983"/>
                  </a:lnTo>
                  <a:lnTo>
                    <a:pt x="222" y="978"/>
                  </a:lnTo>
                  <a:lnTo>
                    <a:pt x="224" y="978"/>
                  </a:lnTo>
                  <a:lnTo>
                    <a:pt x="225" y="981"/>
                  </a:lnTo>
                  <a:lnTo>
                    <a:pt x="225" y="984"/>
                  </a:lnTo>
                  <a:lnTo>
                    <a:pt x="224" y="986"/>
                  </a:lnTo>
                  <a:lnTo>
                    <a:pt x="225" y="987"/>
                  </a:lnTo>
                  <a:lnTo>
                    <a:pt x="222" y="991"/>
                  </a:lnTo>
                  <a:lnTo>
                    <a:pt x="221" y="993"/>
                  </a:lnTo>
                  <a:lnTo>
                    <a:pt x="220" y="995"/>
                  </a:lnTo>
                  <a:lnTo>
                    <a:pt x="221" y="996"/>
                  </a:lnTo>
                  <a:lnTo>
                    <a:pt x="222" y="995"/>
                  </a:lnTo>
                  <a:lnTo>
                    <a:pt x="224" y="994"/>
                  </a:lnTo>
                  <a:lnTo>
                    <a:pt x="225" y="993"/>
                  </a:lnTo>
                  <a:lnTo>
                    <a:pt x="228" y="993"/>
                  </a:lnTo>
                  <a:lnTo>
                    <a:pt x="230" y="994"/>
                  </a:lnTo>
                  <a:lnTo>
                    <a:pt x="230" y="997"/>
                  </a:lnTo>
                  <a:lnTo>
                    <a:pt x="227" y="999"/>
                  </a:lnTo>
                  <a:lnTo>
                    <a:pt x="229" y="1000"/>
                  </a:lnTo>
                  <a:lnTo>
                    <a:pt x="231" y="999"/>
                  </a:lnTo>
                  <a:lnTo>
                    <a:pt x="234" y="996"/>
                  </a:lnTo>
                  <a:lnTo>
                    <a:pt x="234" y="993"/>
                  </a:lnTo>
                  <a:lnTo>
                    <a:pt x="235" y="992"/>
                  </a:lnTo>
                  <a:lnTo>
                    <a:pt x="237" y="991"/>
                  </a:lnTo>
                  <a:lnTo>
                    <a:pt x="241" y="991"/>
                  </a:lnTo>
                  <a:lnTo>
                    <a:pt x="241" y="991"/>
                  </a:lnTo>
                  <a:lnTo>
                    <a:pt x="241" y="990"/>
                  </a:lnTo>
                  <a:lnTo>
                    <a:pt x="242" y="990"/>
                  </a:lnTo>
                  <a:lnTo>
                    <a:pt x="243" y="990"/>
                  </a:lnTo>
                  <a:lnTo>
                    <a:pt x="243" y="990"/>
                  </a:lnTo>
                  <a:lnTo>
                    <a:pt x="245" y="991"/>
                  </a:lnTo>
                  <a:lnTo>
                    <a:pt x="245" y="993"/>
                  </a:lnTo>
                  <a:lnTo>
                    <a:pt x="245" y="995"/>
                  </a:lnTo>
                  <a:lnTo>
                    <a:pt x="244" y="997"/>
                  </a:lnTo>
                  <a:lnTo>
                    <a:pt x="243" y="998"/>
                  </a:lnTo>
                  <a:lnTo>
                    <a:pt x="241" y="999"/>
                  </a:lnTo>
                  <a:lnTo>
                    <a:pt x="241" y="1000"/>
                  </a:lnTo>
                  <a:lnTo>
                    <a:pt x="241" y="1004"/>
                  </a:lnTo>
                  <a:lnTo>
                    <a:pt x="242" y="1005"/>
                  </a:lnTo>
                  <a:lnTo>
                    <a:pt x="244" y="1006"/>
                  </a:lnTo>
                  <a:lnTo>
                    <a:pt x="242" y="1009"/>
                  </a:lnTo>
                  <a:lnTo>
                    <a:pt x="241" y="1010"/>
                  </a:lnTo>
                  <a:lnTo>
                    <a:pt x="239" y="1010"/>
                  </a:lnTo>
                  <a:lnTo>
                    <a:pt x="241" y="1006"/>
                  </a:lnTo>
                  <a:lnTo>
                    <a:pt x="239" y="1006"/>
                  </a:lnTo>
                  <a:lnTo>
                    <a:pt x="231" y="1008"/>
                  </a:lnTo>
                  <a:lnTo>
                    <a:pt x="231" y="1009"/>
                  </a:lnTo>
                  <a:lnTo>
                    <a:pt x="233" y="1010"/>
                  </a:lnTo>
                  <a:lnTo>
                    <a:pt x="234" y="1014"/>
                  </a:lnTo>
                  <a:lnTo>
                    <a:pt x="236" y="1020"/>
                  </a:lnTo>
                  <a:lnTo>
                    <a:pt x="236" y="1019"/>
                  </a:lnTo>
                  <a:lnTo>
                    <a:pt x="237" y="1019"/>
                  </a:lnTo>
                  <a:lnTo>
                    <a:pt x="239" y="1019"/>
                  </a:lnTo>
                  <a:lnTo>
                    <a:pt x="239" y="1020"/>
                  </a:lnTo>
                  <a:lnTo>
                    <a:pt x="237" y="1021"/>
                  </a:lnTo>
                  <a:lnTo>
                    <a:pt x="233" y="1021"/>
                  </a:lnTo>
                  <a:lnTo>
                    <a:pt x="232" y="1022"/>
                  </a:lnTo>
                  <a:lnTo>
                    <a:pt x="230" y="1023"/>
                  </a:lnTo>
                  <a:lnTo>
                    <a:pt x="227" y="1024"/>
                  </a:lnTo>
                  <a:lnTo>
                    <a:pt x="223" y="1028"/>
                  </a:lnTo>
                  <a:lnTo>
                    <a:pt x="220" y="1028"/>
                  </a:lnTo>
                  <a:lnTo>
                    <a:pt x="218" y="1027"/>
                  </a:lnTo>
                  <a:lnTo>
                    <a:pt x="216" y="1023"/>
                  </a:lnTo>
                  <a:lnTo>
                    <a:pt x="216" y="1022"/>
                  </a:lnTo>
                  <a:lnTo>
                    <a:pt x="217" y="1022"/>
                  </a:lnTo>
                  <a:lnTo>
                    <a:pt x="217" y="1022"/>
                  </a:lnTo>
                  <a:lnTo>
                    <a:pt x="217" y="1021"/>
                  </a:lnTo>
                  <a:lnTo>
                    <a:pt x="215" y="1022"/>
                  </a:lnTo>
                  <a:lnTo>
                    <a:pt x="214" y="1022"/>
                  </a:lnTo>
                  <a:lnTo>
                    <a:pt x="213" y="1021"/>
                  </a:lnTo>
                  <a:lnTo>
                    <a:pt x="212" y="1020"/>
                  </a:lnTo>
                  <a:lnTo>
                    <a:pt x="210" y="1020"/>
                  </a:lnTo>
                  <a:lnTo>
                    <a:pt x="209" y="1020"/>
                  </a:lnTo>
                  <a:lnTo>
                    <a:pt x="208" y="1019"/>
                  </a:lnTo>
                  <a:lnTo>
                    <a:pt x="208" y="1016"/>
                  </a:lnTo>
                  <a:lnTo>
                    <a:pt x="208" y="1016"/>
                  </a:lnTo>
                  <a:lnTo>
                    <a:pt x="208" y="1017"/>
                  </a:lnTo>
                  <a:lnTo>
                    <a:pt x="207" y="1017"/>
                  </a:lnTo>
                  <a:lnTo>
                    <a:pt x="207" y="1017"/>
                  </a:lnTo>
                  <a:lnTo>
                    <a:pt x="206" y="1016"/>
                  </a:lnTo>
                  <a:lnTo>
                    <a:pt x="205" y="1016"/>
                  </a:lnTo>
                  <a:lnTo>
                    <a:pt x="204" y="1018"/>
                  </a:lnTo>
                  <a:lnTo>
                    <a:pt x="203" y="1020"/>
                  </a:lnTo>
                  <a:lnTo>
                    <a:pt x="202" y="1020"/>
                  </a:lnTo>
                  <a:lnTo>
                    <a:pt x="202" y="1018"/>
                  </a:lnTo>
                  <a:lnTo>
                    <a:pt x="201" y="1016"/>
                  </a:lnTo>
                  <a:lnTo>
                    <a:pt x="200" y="1015"/>
                  </a:lnTo>
                  <a:lnTo>
                    <a:pt x="198" y="1014"/>
                  </a:lnTo>
                  <a:lnTo>
                    <a:pt x="199" y="1017"/>
                  </a:lnTo>
                  <a:lnTo>
                    <a:pt x="199" y="1018"/>
                  </a:lnTo>
                  <a:lnTo>
                    <a:pt x="198" y="1020"/>
                  </a:lnTo>
                  <a:lnTo>
                    <a:pt x="198" y="1021"/>
                  </a:lnTo>
                  <a:lnTo>
                    <a:pt x="196" y="1022"/>
                  </a:lnTo>
                  <a:lnTo>
                    <a:pt x="191" y="1020"/>
                  </a:lnTo>
                  <a:lnTo>
                    <a:pt x="189" y="1023"/>
                  </a:lnTo>
                  <a:lnTo>
                    <a:pt x="187" y="1021"/>
                  </a:lnTo>
                  <a:lnTo>
                    <a:pt x="188" y="1023"/>
                  </a:lnTo>
                  <a:lnTo>
                    <a:pt x="188" y="1023"/>
                  </a:lnTo>
                  <a:lnTo>
                    <a:pt x="189" y="1024"/>
                  </a:lnTo>
                  <a:lnTo>
                    <a:pt x="190" y="1023"/>
                  </a:lnTo>
                  <a:lnTo>
                    <a:pt x="192" y="1023"/>
                  </a:lnTo>
                  <a:lnTo>
                    <a:pt x="193" y="1023"/>
                  </a:lnTo>
                  <a:lnTo>
                    <a:pt x="194" y="1024"/>
                  </a:lnTo>
                  <a:lnTo>
                    <a:pt x="192" y="1026"/>
                  </a:lnTo>
                  <a:lnTo>
                    <a:pt x="189" y="1028"/>
                  </a:lnTo>
                  <a:lnTo>
                    <a:pt x="187" y="1029"/>
                  </a:lnTo>
                  <a:lnTo>
                    <a:pt x="185" y="1029"/>
                  </a:lnTo>
                  <a:lnTo>
                    <a:pt x="184" y="1034"/>
                  </a:lnTo>
                  <a:lnTo>
                    <a:pt x="184" y="1037"/>
                  </a:lnTo>
                  <a:lnTo>
                    <a:pt x="186" y="1039"/>
                  </a:lnTo>
                  <a:lnTo>
                    <a:pt x="187" y="1042"/>
                  </a:lnTo>
                  <a:lnTo>
                    <a:pt x="187" y="1046"/>
                  </a:lnTo>
                  <a:lnTo>
                    <a:pt x="187" y="1050"/>
                  </a:lnTo>
                  <a:lnTo>
                    <a:pt x="189" y="1053"/>
                  </a:lnTo>
                  <a:lnTo>
                    <a:pt x="192" y="1053"/>
                  </a:lnTo>
                  <a:lnTo>
                    <a:pt x="193" y="1054"/>
                  </a:lnTo>
                  <a:lnTo>
                    <a:pt x="194" y="1053"/>
                  </a:lnTo>
                  <a:lnTo>
                    <a:pt x="195" y="1053"/>
                  </a:lnTo>
                  <a:lnTo>
                    <a:pt x="196" y="1054"/>
                  </a:lnTo>
                  <a:lnTo>
                    <a:pt x="196" y="1053"/>
                  </a:lnTo>
                  <a:lnTo>
                    <a:pt x="195" y="1051"/>
                  </a:lnTo>
                  <a:lnTo>
                    <a:pt x="197" y="1050"/>
                  </a:lnTo>
                  <a:lnTo>
                    <a:pt x="199" y="1048"/>
                  </a:lnTo>
                  <a:lnTo>
                    <a:pt x="200" y="1046"/>
                  </a:lnTo>
                  <a:lnTo>
                    <a:pt x="200" y="1044"/>
                  </a:lnTo>
                  <a:lnTo>
                    <a:pt x="200" y="1043"/>
                  </a:lnTo>
                  <a:lnTo>
                    <a:pt x="202" y="1042"/>
                  </a:lnTo>
                  <a:lnTo>
                    <a:pt x="206" y="1041"/>
                  </a:lnTo>
                  <a:lnTo>
                    <a:pt x="207" y="1040"/>
                  </a:lnTo>
                  <a:lnTo>
                    <a:pt x="208" y="1042"/>
                  </a:lnTo>
                  <a:lnTo>
                    <a:pt x="208" y="1042"/>
                  </a:lnTo>
                  <a:lnTo>
                    <a:pt x="208" y="1042"/>
                  </a:lnTo>
                  <a:lnTo>
                    <a:pt x="207" y="1043"/>
                  </a:lnTo>
                  <a:lnTo>
                    <a:pt x="207" y="1044"/>
                  </a:lnTo>
                  <a:lnTo>
                    <a:pt x="208" y="1044"/>
                  </a:lnTo>
                  <a:lnTo>
                    <a:pt x="208" y="1044"/>
                  </a:lnTo>
                  <a:lnTo>
                    <a:pt x="208" y="1044"/>
                  </a:lnTo>
                  <a:lnTo>
                    <a:pt x="208" y="1045"/>
                  </a:lnTo>
                  <a:lnTo>
                    <a:pt x="207" y="1046"/>
                  </a:lnTo>
                  <a:lnTo>
                    <a:pt x="207" y="1046"/>
                  </a:lnTo>
                  <a:lnTo>
                    <a:pt x="208" y="1047"/>
                  </a:lnTo>
                  <a:lnTo>
                    <a:pt x="210" y="1042"/>
                  </a:lnTo>
                  <a:lnTo>
                    <a:pt x="210" y="1040"/>
                  </a:lnTo>
                  <a:lnTo>
                    <a:pt x="212" y="1040"/>
                  </a:lnTo>
                  <a:lnTo>
                    <a:pt x="211" y="1041"/>
                  </a:lnTo>
                  <a:lnTo>
                    <a:pt x="212" y="1043"/>
                  </a:lnTo>
                  <a:lnTo>
                    <a:pt x="215" y="1040"/>
                  </a:lnTo>
                  <a:lnTo>
                    <a:pt x="217" y="1040"/>
                  </a:lnTo>
                  <a:lnTo>
                    <a:pt x="218" y="1041"/>
                  </a:lnTo>
                  <a:lnTo>
                    <a:pt x="221" y="1046"/>
                  </a:lnTo>
                  <a:lnTo>
                    <a:pt x="222" y="1047"/>
                  </a:lnTo>
                  <a:lnTo>
                    <a:pt x="224" y="1048"/>
                  </a:lnTo>
                  <a:lnTo>
                    <a:pt x="229" y="1047"/>
                  </a:lnTo>
                  <a:lnTo>
                    <a:pt x="231" y="1048"/>
                  </a:lnTo>
                  <a:lnTo>
                    <a:pt x="233" y="1048"/>
                  </a:lnTo>
                  <a:lnTo>
                    <a:pt x="236" y="1051"/>
                  </a:lnTo>
                  <a:lnTo>
                    <a:pt x="237" y="1047"/>
                  </a:lnTo>
                  <a:lnTo>
                    <a:pt x="241" y="1046"/>
                  </a:lnTo>
                  <a:lnTo>
                    <a:pt x="246" y="1048"/>
                  </a:lnTo>
                  <a:lnTo>
                    <a:pt x="248" y="1050"/>
                  </a:lnTo>
                  <a:lnTo>
                    <a:pt x="251" y="1047"/>
                  </a:lnTo>
                  <a:lnTo>
                    <a:pt x="256" y="1045"/>
                  </a:lnTo>
                  <a:lnTo>
                    <a:pt x="262" y="1045"/>
                  </a:lnTo>
                  <a:lnTo>
                    <a:pt x="265" y="1047"/>
                  </a:lnTo>
                  <a:lnTo>
                    <a:pt x="267" y="1047"/>
                  </a:lnTo>
                  <a:lnTo>
                    <a:pt x="269" y="1046"/>
                  </a:lnTo>
                  <a:lnTo>
                    <a:pt x="270" y="1047"/>
                  </a:lnTo>
                  <a:lnTo>
                    <a:pt x="271" y="1047"/>
                  </a:lnTo>
                  <a:lnTo>
                    <a:pt x="272" y="1045"/>
                  </a:lnTo>
                  <a:lnTo>
                    <a:pt x="272" y="1044"/>
                  </a:lnTo>
                  <a:lnTo>
                    <a:pt x="273" y="1044"/>
                  </a:lnTo>
                  <a:lnTo>
                    <a:pt x="275" y="1045"/>
                  </a:lnTo>
                  <a:lnTo>
                    <a:pt x="288" y="1041"/>
                  </a:lnTo>
                  <a:lnTo>
                    <a:pt x="292" y="1040"/>
                  </a:lnTo>
                  <a:lnTo>
                    <a:pt x="297" y="1042"/>
                  </a:lnTo>
                  <a:lnTo>
                    <a:pt x="299" y="1042"/>
                  </a:lnTo>
                  <a:lnTo>
                    <a:pt x="300" y="1041"/>
                  </a:lnTo>
                  <a:lnTo>
                    <a:pt x="302" y="1039"/>
                  </a:lnTo>
                  <a:lnTo>
                    <a:pt x="304" y="1039"/>
                  </a:lnTo>
                  <a:lnTo>
                    <a:pt x="321" y="1042"/>
                  </a:lnTo>
                  <a:lnTo>
                    <a:pt x="324" y="1043"/>
                  </a:lnTo>
                  <a:lnTo>
                    <a:pt x="324" y="1042"/>
                  </a:lnTo>
                  <a:lnTo>
                    <a:pt x="323" y="1039"/>
                  </a:lnTo>
                  <a:lnTo>
                    <a:pt x="326" y="1039"/>
                  </a:lnTo>
                  <a:lnTo>
                    <a:pt x="334" y="1039"/>
                  </a:lnTo>
                  <a:lnTo>
                    <a:pt x="354" y="1036"/>
                  </a:lnTo>
                  <a:lnTo>
                    <a:pt x="356" y="1036"/>
                  </a:lnTo>
                  <a:lnTo>
                    <a:pt x="357" y="1037"/>
                  </a:lnTo>
                  <a:lnTo>
                    <a:pt x="359" y="1038"/>
                  </a:lnTo>
                  <a:lnTo>
                    <a:pt x="359" y="1040"/>
                  </a:lnTo>
                  <a:lnTo>
                    <a:pt x="354" y="1041"/>
                  </a:lnTo>
                  <a:lnTo>
                    <a:pt x="345" y="1044"/>
                  </a:lnTo>
                  <a:lnTo>
                    <a:pt x="346" y="1047"/>
                  </a:lnTo>
                  <a:lnTo>
                    <a:pt x="345" y="1048"/>
                  </a:lnTo>
                  <a:lnTo>
                    <a:pt x="342" y="1048"/>
                  </a:lnTo>
                  <a:lnTo>
                    <a:pt x="340" y="1046"/>
                  </a:lnTo>
                  <a:lnTo>
                    <a:pt x="339" y="1048"/>
                  </a:lnTo>
                  <a:lnTo>
                    <a:pt x="338" y="1050"/>
                  </a:lnTo>
                  <a:lnTo>
                    <a:pt x="340" y="1050"/>
                  </a:lnTo>
                  <a:lnTo>
                    <a:pt x="340" y="1051"/>
                  </a:lnTo>
                  <a:lnTo>
                    <a:pt x="339" y="1053"/>
                  </a:lnTo>
                  <a:lnTo>
                    <a:pt x="335" y="1058"/>
                  </a:lnTo>
                  <a:lnTo>
                    <a:pt x="335" y="1057"/>
                  </a:lnTo>
                  <a:lnTo>
                    <a:pt x="334" y="1057"/>
                  </a:lnTo>
                  <a:lnTo>
                    <a:pt x="333" y="1056"/>
                  </a:lnTo>
                  <a:lnTo>
                    <a:pt x="331" y="1057"/>
                  </a:lnTo>
                  <a:lnTo>
                    <a:pt x="331" y="1058"/>
                  </a:lnTo>
                  <a:lnTo>
                    <a:pt x="332" y="1058"/>
                  </a:lnTo>
                  <a:lnTo>
                    <a:pt x="333" y="1059"/>
                  </a:lnTo>
                  <a:lnTo>
                    <a:pt x="333" y="1060"/>
                  </a:lnTo>
                  <a:lnTo>
                    <a:pt x="332" y="1061"/>
                  </a:lnTo>
                  <a:lnTo>
                    <a:pt x="333" y="1062"/>
                  </a:lnTo>
                  <a:lnTo>
                    <a:pt x="333" y="1062"/>
                  </a:lnTo>
                  <a:lnTo>
                    <a:pt x="333" y="1062"/>
                  </a:lnTo>
                  <a:lnTo>
                    <a:pt x="332" y="1063"/>
                  </a:lnTo>
                  <a:lnTo>
                    <a:pt x="331" y="1061"/>
                  </a:lnTo>
                  <a:lnTo>
                    <a:pt x="331" y="1059"/>
                  </a:lnTo>
                  <a:lnTo>
                    <a:pt x="330" y="1059"/>
                  </a:lnTo>
                  <a:lnTo>
                    <a:pt x="329" y="1060"/>
                  </a:lnTo>
                  <a:lnTo>
                    <a:pt x="325" y="1058"/>
                  </a:lnTo>
                  <a:lnTo>
                    <a:pt x="324" y="1059"/>
                  </a:lnTo>
                  <a:lnTo>
                    <a:pt x="323" y="1059"/>
                  </a:lnTo>
                  <a:lnTo>
                    <a:pt x="322" y="1058"/>
                  </a:lnTo>
                  <a:lnTo>
                    <a:pt x="321" y="1058"/>
                  </a:lnTo>
                  <a:lnTo>
                    <a:pt x="320" y="1058"/>
                  </a:lnTo>
                  <a:lnTo>
                    <a:pt x="319" y="1059"/>
                  </a:lnTo>
                  <a:lnTo>
                    <a:pt x="318" y="1058"/>
                  </a:lnTo>
                  <a:lnTo>
                    <a:pt x="316" y="1058"/>
                  </a:lnTo>
                  <a:lnTo>
                    <a:pt x="313" y="1058"/>
                  </a:lnTo>
                  <a:lnTo>
                    <a:pt x="313" y="1059"/>
                  </a:lnTo>
                  <a:lnTo>
                    <a:pt x="316" y="1059"/>
                  </a:lnTo>
                  <a:lnTo>
                    <a:pt x="316" y="1061"/>
                  </a:lnTo>
                  <a:lnTo>
                    <a:pt x="315" y="1060"/>
                  </a:lnTo>
                  <a:lnTo>
                    <a:pt x="312" y="1061"/>
                  </a:lnTo>
                  <a:lnTo>
                    <a:pt x="310" y="1061"/>
                  </a:lnTo>
                  <a:lnTo>
                    <a:pt x="311" y="1061"/>
                  </a:lnTo>
                  <a:lnTo>
                    <a:pt x="311" y="1062"/>
                  </a:lnTo>
                  <a:lnTo>
                    <a:pt x="312" y="1063"/>
                  </a:lnTo>
                  <a:lnTo>
                    <a:pt x="313" y="1063"/>
                  </a:lnTo>
                  <a:lnTo>
                    <a:pt x="312" y="1065"/>
                  </a:lnTo>
                  <a:lnTo>
                    <a:pt x="310" y="1063"/>
                  </a:lnTo>
                  <a:lnTo>
                    <a:pt x="310" y="1065"/>
                  </a:lnTo>
                  <a:lnTo>
                    <a:pt x="312" y="1067"/>
                  </a:lnTo>
                  <a:lnTo>
                    <a:pt x="315" y="1070"/>
                  </a:lnTo>
                  <a:lnTo>
                    <a:pt x="315" y="1072"/>
                  </a:lnTo>
                  <a:lnTo>
                    <a:pt x="313" y="1072"/>
                  </a:lnTo>
                  <a:lnTo>
                    <a:pt x="312" y="1073"/>
                  </a:lnTo>
                  <a:lnTo>
                    <a:pt x="311" y="1073"/>
                  </a:lnTo>
                  <a:lnTo>
                    <a:pt x="310" y="1073"/>
                  </a:lnTo>
                  <a:lnTo>
                    <a:pt x="309" y="1073"/>
                  </a:lnTo>
                  <a:lnTo>
                    <a:pt x="309" y="1074"/>
                  </a:lnTo>
                  <a:lnTo>
                    <a:pt x="308" y="1074"/>
                  </a:lnTo>
                  <a:lnTo>
                    <a:pt x="307" y="1074"/>
                  </a:lnTo>
                  <a:lnTo>
                    <a:pt x="309" y="1076"/>
                  </a:lnTo>
                  <a:lnTo>
                    <a:pt x="310" y="1078"/>
                  </a:lnTo>
                  <a:lnTo>
                    <a:pt x="310" y="1079"/>
                  </a:lnTo>
                  <a:lnTo>
                    <a:pt x="308" y="1078"/>
                  </a:lnTo>
                  <a:lnTo>
                    <a:pt x="307" y="1080"/>
                  </a:lnTo>
                  <a:lnTo>
                    <a:pt x="310" y="1080"/>
                  </a:lnTo>
                  <a:lnTo>
                    <a:pt x="312" y="1080"/>
                  </a:lnTo>
                  <a:lnTo>
                    <a:pt x="314" y="1081"/>
                  </a:lnTo>
                  <a:lnTo>
                    <a:pt x="315" y="1084"/>
                  </a:lnTo>
                  <a:lnTo>
                    <a:pt x="312" y="1086"/>
                  </a:lnTo>
                  <a:lnTo>
                    <a:pt x="311" y="1087"/>
                  </a:lnTo>
                  <a:lnTo>
                    <a:pt x="310" y="1089"/>
                  </a:lnTo>
                  <a:lnTo>
                    <a:pt x="308" y="1087"/>
                  </a:lnTo>
                  <a:lnTo>
                    <a:pt x="305" y="1086"/>
                  </a:lnTo>
                  <a:lnTo>
                    <a:pt x="300" y="1086"/>
                  </a:lnTo>
                  <a:lnTo>
                    <a:pt x="297" y="1086"/>
                  </a:lnTo>
                  <a:lnTo>
                    <a:pt x="293" y="1085"/>
                  </a:lnTo>
                  <a:lnTo>
                    <a:pt x="291" y="1084"/>
                  </a:lnTo>
                  <a:lnTo>
                    <a:pt x="290" y="1083"/>
                  </a:lnTo>
                  <a:lnTo>
                    <a:pt x="288" y="1084"/>
                  </a:lnTo>
                  <a:lnTo>
                    <a:pt x="274" y="1084"/>
                  </a:lnTo>
                  <a:lnTo>
                    <a:pt x="272" y="1085"/>
                  </a:lnTo>
                  <a:lnTo>
                    <a:pt x="268" y="1089"/>
                  </a:lnTo>
                  <a:lnTo>
                    <a:pt x="266" y="1088"/>
                  </a:lnTo>
                  <a:lnTo>
                    <a:pt x="264" y="1089"/>
                  </a:lnTo>
                  <a:lnTo>
                    <a:pt x="262" y="1089"/>
                  </a:lnTo>
                  <a:lnTo>
                    <a:pt x="259" y="1087"/>
                  </a:lnTo>
                  <a:lnTo>
                    <a:pt x="257" y="1088"/>
                  </a:lnTo>
                  <a:lnTo>
                    <a:pt x="250" y="1084"/>
                  </a:lnTo>
                  <a:lnTo>
                    <a:pt x="246" y="1085"/>
                  </a:lnTo>
                  <a:lnTo>
                    <a:pt x="246" y="1087"/>
                  </a:lnTo>
                  <a:lnTo>
                    <a:pt x="245" y="1090"/>
                  </a:lnTo>
                  <a:lnTo>
                    <a:pt x="245" y="1092"/>
                  </a:lnTo>
                  <a:lnTo>
                    <a:pt x="241" y="1093"/>
                  </a:lnTo>
                  <a:lnTo>
                    <a:pt x="236" y="1093"/>
                  </a:lnTo>
                  <a:lnTo>
                    <a:pt x="224" y="1094"/>
                  </a:lnTo>
                  <a:lnTo>
                    <a:pt x="220" y="1094"/>
                  </a:lnTo>
                  <a:lnTo>
                    <a:pt x="219" y="1094"/>
                  </a:lnTo>
                  <a:lnTo>
                    <a:pt x="217" y="1096"/>
                  </a:lnTo>
                  <a:lnTo>
                    <a:pt x="215" y="1098"/>
                  </a:lnTo>
                  <a:lnTo>
                    <a:pt x="215" y="1101"/>
                  </a:lnTo>
                  <a:lnTo>
                    <a:pt x="213" y="1103"/>
                  </a:lnTo>
                  <a:lnTo>
                    <a:pt x="211" y="1104"/>
                  </a:lnTo>
                  <a:lnTo>
                    <a:pt x="208" y="1104"/>
                  </a:lnTo>
                  <a:lnTo>
                    <a:pt x="206" y="1103"/>
                  </a:lnTo>
                  <a:lnTo>
                    <a:pt x="204" y="1103"/>
                  </a:lnTo>
                  <a:lnTo>
                    <a:pt x="204" y="1104"/>
                  </a:lnTo>
                  <a:lnTo>
                    <a:pt x="205" y="1105"/>
                  </a:lnTo>
                  <a:lnTo>
                    <a:pt x="206" y="1106"/>
                  </a:lnTo>
                  <a:lnTo>
                    <a:pt x="206" y="1107"/>
                  </a:lnTo>
                  <a:lnTo>
                    <a:pt x="205" y="1108"/>
                  </a:lnTo>
                  <a:lnTo>
                    <a:pt x="206" y="1108"/>
                  </a:lnTo>
                  <a:lnTo>
                    <a:pt x="206" y="1108"/>
                  </a:lnTo>
                  <a:lnTo>
                    <a:pt x="206" y="1108"/>
                  </a:lnTo>
                  <a:lnTo>
                    <a:pt x="206" y="1109"/>
                  </a:lnTo>
                  <a:lnTo>
                    <a:pt x="208" y="1108"/>
                  </a:lnTo>
                  <a:lnTo>
                    <a:pt x="210" y="1108"/>
                  </a:lnTo>
                  <a:lnTo>
                    <a:pt x="211" y="1110"/>
                  </a:lnTo>
                  <a:lnTo>
                    <a:pt x="212" y="1112"/>
                  </a:lnTo>
                  <a:lnTo>
                    <a:pt x="213" y="1111"/>
                  </a:lnTo>
                  <a:lnTo>
                    <a:pt x="215" y="1111"/>
                  </a:lnTo>
                  <a:lnTo>
                    <a:pt x="219" y="1112"/>
                  </a:lnTo>
                  <a:lnTo>
                    <a:pt x="220" y="1112"/>
                  </a:lnTo>
                  <a:lnTo>
                    <a:pt x="222" y="1114"/>
                  </a:lnTo>
                  <a:lnTo>
                    <a:pt x="222" y="1115"/>
                  </a:lnTo>
                  <a:lnTo>
                    <a:pt x="223" y="1114"/>
                  </a:lnTo>
                  <a:lnTo>
                    <a:pt x="224" y="1113"/>
                  </a:lnTo>
                  <a:lnTo>
                    <a:pt x="225" y="1112"/>
                  </a:lnTo>
                  <a:lnTo>
                    <a:pt x="236" y="1108"/>
                  </a:lnTo>
                  <a:lnTo>
                    <a:pt x="236" y="1110"/>
                  </a:lnTo>
                  <a:lnTo>
                    <a:pt x="238" y="1110"/>
                  </a:lnTo>
                  <a:lnTo>
                    <a:pt x="240" y="1110"/>
                  </a:lnTo>
                  <a:lnTo>
                    <a:pt x="243" y="1109"/>
                  </a:lnTo>
                  <a:lnTo>
                    <a:pt x="246" y="1110"/>
                  </a:lnTo>
                  <a:lnTo>
                    <a:pt x="249" y="1111"/>
                  </a:lnTo>
                  <a:lnTo>
                    <a:pt x="254" y="1113"/>
                  </a:lnTo>
                  <a:lnTo>
                    <a:pt x="254" y="1109"/>
                  </a:lnTo>
                  <a:lnTo>
                    <a:pt x="256" y="1103"/>
                  </a:lnTo>
                  <a:lnTo>
                    <a:pt x="256" y="1101"/>
                  </a:lnTo>
                  <a:lnTo>
                    <a:pt x="256" y="1100"/>
                  </a:lnTo>
                  <a:lnTo>
                    <a:pt x="258" y="1098"/>
                  </a:lnTo>
                  <a:lnTo>
                    <a:pt x="261" y="1094"/>
                  </a:lnTo>
                  <a:lnTo>
                    <a:pt x="264" y="1093"/>
                  </a:lnTo>
                  <a:lnTo>
                    <a:pt x="267" y="1093"/>
                  </a:lnTo>
                  <a:lnTo>
                    <a:pt x="269" y="1094"/>
                  </a:lnTo>
                  <a:lnTo>
                    <a:pt x="271" y="1094"/>
                  </a:lnTo>
                  <a:lnTo>
                    <a:pt x="272" y="1093"/>
                  </a:lnTo>
                  <a:lnTo>
                    <a:pt x="272" y="1094"/>
                  </a:lnTo>
                  <a:lnTo>
                    <a:pt x="275" y="1093"/>
                  </a:lnTo>
                  <a:lnTo>
                    <a:pt x="279" y="1094"/>
                  </a:lnTo>
                  <a:lnTo>
                    <a:pt x="281" y="1096"/>
                  </a:lnTo>
                  <a:lnTo>
                    <a:pt x="283" y="1097"/>
                  </a:lnTo>
                  <a:lnTo>
                    <a:pt x="285" y="1097"/>
                  </a:lnTo>
                  <a:lnTo>
                    <a:pt x="285" y="1095"/>
                  </a:lnTo>
                  <a:lnTo>
                    <a:pt x="286" y="1095"/>
                  </a:lnTo>
                  <a:lnTo>
                    <a:pt x="288" y="1097"/>
                  </a:lnTo>
                  <a:lnTo>
                    <a:pt x="289" y="1097"/>
                  </a:lnTo>
                  <a:lnTo>
                    <a:pt x="290" y="1096"/>
                  </a:lnTo>
                  <a:lnTo>
                    <a:pt x="291" y="1095"/>
                  </a:lnTo>
                  <a:lnTo>
                    <a:pt x="292" y="1094"/>
                  </a:lnTo>
                  <a:lnTo>
                    <a:pt x="293" y="1097"/>
                  </a:lnTo>
                  <a:lnTo>
                    <a:pt x="295" y="1096"/>
                  </a:lnTo>
                  <a:lnTo>
                    <a:pt x="297" y="1094"/>
                  </a:lnTo>
                  <a:lnTo>
                    <a:pt x="299" y="1093"/>
                  </a:lnTo>
                  <a:lnTo>
                    <a:pt x="300" y="1096"/>
                  </a:lnTo>
                  <a:lnTo>
                    <a:pt x="301" y="1096"/>
                  </a:lnTo>
                  <a:lnTo>
                    <a:pt x="303" y="1094"/>
                  </a:lnTo>
                  <a:lnTo>
                    <a:pt x="309" y="1093"/>
                  </a:lnTo>
                  <a:lnTo>
                    <a:pt x="312" y="1090"/>
                  </a:lnTo>
                  <a:lnTo>
                    <a:pt x="312" y="1092"/>
                  </a:lnTo>
                  <a:lnTo>
                    <a:pt x="314" y="1092"/>
                  </a:lnTo>
                  <a:lnTo>
                    <a:pt x="317" y="1090"/>
                  </a:lnTo>
                  <a:lnTo>
                    <a:pt x="320" y="1086"/>
                  </a:lnTo>
                  <a:lnTo>
                    <a:pt x="321" y="1085"/>
                  </a:lnTo>
                  <a:lnTo>
                    <a:pt x="323" y="1085"/>
                  </a:lnTo>
                  <a:lnTo>
                    <a:pt x="325" y="1085"/>
                  </a:lnTo>
                  <a:lnTo>
                    <a:pt x="326" y="1087"/>
                  </a:lnTo>
                  <a:lnTo>
                    <a:pt x="326" y="1091"/>
                  </a:lnTo>
                  <a:lnTo>
                    <a:pt x="327" y="1094"/>
                  </a:lnTo>
                  <a:lnTo>
                    <a:pt x="325" y="1092"/>
                  </a:lnTo>
                  <a:lnTo>
                    <a:pt x="324" y="1092"/>
                  </a:lnTo>
                  <a:lnTo>
                    <a:pt x="324" y="1090"/>
                  </a:lnTo>
                  <a:lnTo>
                    <a:pt x="323" y="1092"/>
                  </a:lnTo>
                  <a:lnTo>
                    <a:pt x="321" y="1093"/>
                  </a:lnTo>
                  <a:lnTo>
                    <a:pt x="319" y="1095"/>
                  </a:lnTo>
                  <a:lnTo>
                    <a:pt x="319" y="1096"/>
                  </a:lnTo>
                  <a:lnTo>
                    <a:pt x="320" y="1097"/>
                  </a:lnTo>
                  <a:lnTo>
                    <a:pt x="323" y="1097"/>
                  </a:lnTo>
                  <a:lnTo>
                    <a:pt x="325" y="1098"/>
                  </a:lnTo>
                  <a:lnTo>
                    <a:pt x="324" y="1102"/>
                  </a:lnTo>
                  <a:lnTo>
                    <a:pt x="322" y="1103"/>
                  </a:lnTo>
                  <a:lnTo>
                    <a:pt x="320" y="1103"/>
                  </a:lnTo>
                  <a:lnTo>
                    <a:pt x="320" y="1100"/>
                  </a:lnTo>
                  <a:lnTo>
                    <a:pt x="319" y="1101"/>
                  </a:lnTo>
                  <a:lnTo>
                    <a:pt x="313" y="1101"/>
                  </a:lnTo>
                  <a:lnTo>
                    <a:pt x="313" y="1102"/>
                  </a:lnTo>
                  <a:lnTo>
                    <a:pt x="312" y="1102"/>
                  </a:lnTo>
                  <a:lnTo>
                    <a:pt x="311" y="1103"/>
                  </a:lnTo>
                  <a:lnTo>
                    <a:pt x="310" y="1104"/>
                  </a:lnTo>
                  <a:lnTo>
                    <a:pt x="310" y="1104"/>
                  </a:lnTo>
                  <a:lnTo>
                    <a:pt x="306" y="1104"/>
                  </a:lnTo>
                  <a:lnTo>
                    <a:pt x="307" y="1105"/>
                  </a:lnTo>
                  <a:lnTo>
                    <a:pt x="302" y="1107"/>
                  </a:lnTo>
                  <a:lnTo>
                    <a:pt x="301" y="1107"/>
                  </a:lnTo>
                  <a:lnTo>
                    <a:pt x="301" y="1109"/>
                  </a:lnTo>
                  <a:lnTo>
                    <a:pt x="303" y="1110"/>
                  </a:lnTo>
                  <a:lnTo>
                    <a:pt x="305" y="1110"/>
                  </a:lnTo>
                  <a:lnTo>
                    <a:pt x="306" y="1109"/>
                  </a:lnTo>
                  <a:lnTo>
                    <a:pt x="307" y="1110"/>
                  </a:lnTo>
                  <a:lnTo>
                    <a:pt x="309" y="1111"/>
                  </a:lnTo>
                  <a:lnTo>
                    <a:pt x="311" y="1111"/>
                  </a:lnTo>
                  <a:lnTo>
                    <a:pt x="312" y="1110"/>
                  </a:lnTo>
                  <a:lnTo>
                    <a:pt x="312" y="1107"/>
                  </a:lnTo>
                  <a:lnTo>
                    <a:pt x="312" y="1107"/>
                  </a:lnTo>
                  <a:lnTo>
                    <a:pt x="314" y="1108"/>
                  </a:lnTo>
                  <a:lnTo>
                    <a:pt x="315" y="1110"/>
                  </a:lnTo>
                  <a:lnTo>
                    <a:pt x="316" y="1112"/>
                  </a:lnTo>
                  <a:lnTo>
                    <a:pt x="315" y="1114"/>
                  </a:lnTo>
                  <a:lnTo>
                    <a:pt x="314" y="1116"/>
                  </a:lnTo>
                  <a:lnTo>
                    <a:pt x="314" y="1117"/>
                  </a:lnTo>
                  <a:lnTo>
                    <a:pt x="315" y="1116"/>
                  </a:lnTo>
                  <a:lnTo>
                    <a:pt x="318" y="1113"/>
                  </a:lnTo>
                  <a:lnTo>
                    <a:pt x="320" y="1116"/>
                  </a:lnTo>
                  <a:lnTo>
                    <a:pt x="318" y="1119"/>
                  </a:lnTo>
                  <a:lnTo>
                    <a:pt x="316" y="1121"/>
                  </a:lnTo>
                  <a:lnTo>
                    <a:pt x="315" y="1123"/>
                  </a:lnTo>
                  <a:lnTo>
                    <a:pt x="312" y="1124"/>
                  </a:lnTo>
                  <a:lnTo>
                    <a:pt x="300" y="1124"/>
                  </a:lnTo>
                  <a:lnTo>
                    <a:pt x="300" y="1126"/>
                  </a:lnTo>
                  <a:lnTo>
                    <a:pt x="301" y="1126"/>
                  </a:lnTo>
                  <a:lnTo>
                    <a:pt x="302" y="1127"/>
                  </a:lnTo>
                  <a:lnTo>
                    <a:pt x="301" y="1127"/>
                  </a:lnTo>
                  <a:lnTo>
                    <a:pt x="301" y="1129"/>
                  </a:lnTo>
                  <a:lnTo>
                    <a:pt x="301" y="1130"/>
                  </a:lnTo>
                  <a:lnTo>
                    <a:pt x="303" y="1131"/>
                  </a:lnTo>
                  <a:lnTo>
                    <a:pt x="305" y="1133"/>
                  </a:lnTo>
                  <a:lnTo>
                    <a:pt x="307" y="1132"/>
                  </a:lnTo>
                  <a:lnTo>
                    <a:pt x="308" y="1130"/>
                  </a:lnTo>
                  <a:lnTo>
                    <a:pt x="309" y="1131"/>
                  </a:lnTo>
                  <a:lnTo>
                    <a:pt x="310" y="1132"/>
                  </a:lnTo>
                  <a:lnTo>
                    <a:pt x="312" y="1132"/>
                  </a:lnTo>
                  <a:lnTo>
                    <a:pt x="314" y="1131"/>
                  </a:lnTo>
                  <a:lnTo>
                    <a:pt x="314" y="1130"/>
                  </a:lnTo>
                  <a:lnTo>
                    <a:pt x="313" y="1129"/>
                  </a:lnTo>
                  <a:lnTo>
                    <a:pt x="313" y="1128"/>
                  </a:lnTo>
                  <a:lnTo>
                    <a:pt x="314" y="1128"/>
                  </a:lnTo>
                  <a:lnTo>
                    <a:pt x="315" y="1127"/>
                  </a:lnTo>
                  <a:lnTo>
                    <a:pt x="315" y="1127"/>
                  </a:lnTo>
                  <a:lnTo>
                    <a:pt x="316" y="1126"/>
                  </a:lnTo>
                  <a:lnTo>
                    <a:pt x="320" y="1127"/>
                  </a:lnTo>
                  <a:lnTo>
                    <a:pt x="324" y="1124"/>
                  </a:lnTo>
                  <a:lnTo>
                    <a:pt x="327" y="1119"/>
                  </a:lnTo>
                  <a:lnTo>
                    <a:pt x="329" y="1115"/>
                  </a:lnTo>
                  <a:lnTo>
                    <a:pt x="332" y="1111"/>
                  </a:lnTo>
                  <a:lnTo>
                    <a:pt x="335" y="1108"/>
                  </a:lnTo>
                  <a:lnTo>
                    <a:pt x="343" y="1105"/>
                  </a:lnTo>
                  <a:lnTo>
                    <a:pt x="343" y="1104"/>
                  </a:lnTo>
                  <a:lnTo>
                    <a:pt x="343" y="1104"/>
                  </a:lnTo>
                  <a:lnTo>
                    <a:pt x="342" y="1104"/>
                  </a:lnTo>
                  <a:lnTo>
                    <a:pt x="343" y="1103"/>
                  </a:lnTo>
                  <a:lnTo>
                    <a:pt x="343" y="1103"/>
                  </a:lnTo>
                  <a:lnTo>
                    <a:pt x="343" y="1102"/>
                  </a:lnTo>
                  <a:lnTo>
                    <a:pt x="343" y="1101"/>
                  </a:lnTo>
                  <a:lnTo>
                    <a:pt x="344" y="1102"/>
                  </a:lnTo>
                  <a:lnTo>
                    <a:pt x="345" y="1103"/>
                  </a:lnTo>
                  <a:lnTo>
                    <a:pt x="346" y="1100"/>
                  </a:lnTo>
                  <a:lnTo>
                    <a:pt x="349" y="1099"/>
                  </a:lnTo>
                  <a:lnTo>
                    <a:pt x="351" y="1100"/>
                  </a:lnTo>
                  <a:lnTo>
                    <a:pt x="353" y="1101"/>
                  </a:lnTo>
                  <a:lnTo>
                    <a:pt x="352" y="1097"/>
                  </a:lnTo>
                  <a:lnTo>
                    <a:pt x="346" y="1092"/>
                  </a:lnTo>
                  <a:lnTo>
                    <a:pt x="346" y="1087"/>
                  </a:lnTo>
                  <a:lnTo>
                    <a:pt x="344" y="1086"/>
                  </a:lnTo>
                  <a:lnTo>
                    <a:pt x="344" y="1083"/>
                  </a:lnTo>
                  <a:lnTo>
                    <a:pt x="345" y="1079"/>
                  </a:lnTo>
                  <a:lnTo>
                    <a:pt x="347" y="1076"/>
                  </a:lnTo>
                  <a:lnTo>
                    <a:pt x="349" y="1075"/>
                  </a:lnTo>
                  <a:lnTo>
                    <a:pt x="352" y="1076"/>
                  </a:lnTo>
                  <a:lnTo>
                    <a:pt x="354" y="1078"/>
                  </a:lnTo>
                  <a:lnTo>
                    <a:pt x="356" y="1080"/>
                  </a:lnTo>
                  <a:lnTo>
                    <a:pt x="356" y="1081"/>
                  </a:lnTo>
                  <a:lnTo>
                    <a:pt x="352" y="1082"/>
                  </a:lnTo>
                  <a:lnTo>
                    <a:pt x="350" y="1082"/>
                  </a:lnTo>
                  <a:lnTo>
                    <a:pt x="350" y="1084"/>
                  </a:lnTo>
                  <a:lnTo>
                    <a:pt x="350" y="1086"/>
                  </a:lnTo>
                  <a:lnTo>
                    <a:pt x="352" y="1087"/>
                  </a:lnTo>
                  <a:lnTo>
                    <a:pt x="356" y="1086"/>
                  </a:lnTo>
                  <a:lnTo>
                    <a:pt x="356" y="1085"/>
                  </a:lnTo>
                  <a:lnTo>
                    <a:pt x="355" y="1082"/>
                  </a:lnTo>
                  <a:lnTo>
                    <a:pt x="356" y="1082"/>
                  </a:lnTo>
                  <a:lnTo>
                    <a:pt x="358" y="1083"/>
                  </a:lnTo>
                  <a:lnTo>
                    <a:pt x="366" y="1087"/>
                  </a:lnTo>
                  <a:lnTo>
                    <a:pt x="369" y="1087"/>
                  </a:lnTo>
                  <a:lnTo>
                    <a:pt x="371" y="1085"/>
                  </a:lnTo>
                  <a:lnTo>
                    <a:pt x="372" y="1082"/>
                  </a:lnTo>
                  <a:lnTo>
                    <a:pt x="373" y="1080"/>
                  </a:lnTo>
                  <a:lnTo>
                    <a:pt x="372" y="1078"/>
                  </a:lnTo>
                  <a:lnTo>
                    <a:pt x="370" y="1078"/>
                  </a:lnTo>
                  <a:lnTo>
                    <a:pt x="369" y="1078"/>
                  </a:lnTo>
                  <a:lnTo>
                    <a:pt x="368" y="1078"/>
                  </a:lnTo>
                  <a:lnTo>
                    <a:pt x="367" y="1077"/>
                  </a:lnTo>
                  <a:lnTo>
                    <a:pt x="366" y="1076"/>
                  </a:lnTo>
                  <a:lnTo>
                    <a:pt x="366" y="1075"/>
                  </a:lnTo>
                  <a:lnTo>
                    <a:pt x="368" y="1074"/>
                  </a:lnTo>
                  <a:lnTo>
                    <a:pt x="372" y="1073"/>
                  </a:lnTo>
                  <a:lnTo>
                    <a:pt x="375" y="1073"/>
                  </a:lnTo>
                  <a:lnTo>
                    <a:pt x="377" y="1071"/>
                  </a:lnTo>
                  <a:lnTo>
                    <a:pt x="377" y="1069"/>
                  </a:lnTo>
                  <a:lnTo>
                    <a:pt x="378" y="1069"/>
                  </a:lnTo>
                  <a:lnTo>
                    <a:pt x="378" y="1070"/>
                  </a:lnTo>
                  <a:lnTo>
                    <a:pt x="379" y="1072"/>
                  </a:lnTo>
                  <a:lnTo>
                    <a:pt x="379" y="1073"/>
                  </a:lnTo>
                  <a:lnTo>
                    <a:pt x="379" y="1073"/>
                  </a:lnTo>
                  <a:lnTo>
                    <a:pt x="380" y="1074"/>
                  </a:lnTo>
                  <a:lnTo>
                    <a:pt x="380" y="1075"/>
                  </a:lnTo>
                  <a:lnTo>
                    <a:pt x="380" y="1076"/>
                  </a:lnTo>
                  <a:lnTo>
                    <a:pt x="379" y="1076"/>
                  </a:lnTo>
                  <a:lnTo>
                    <a:pt x="378" y="1076"/>
                  </a:lnTo>
                  <a:lnTo>
                    <a:pt x="378" y="1080"/>
                  </a:lnTo>
                  <a:lnTo>
                    <a:pt x="380" y="1082"/>
                  </a:lnTo>
                  <a:lnTo>
                    <a:pt x="382" y="1082"/>
                  </a:lnTo>
                  <a:lnTo>
                    <a:pt x="386" y="1082"/>
                  </a:lnTo>
                  <a:lnTo>
                    <a:pt x="386" y="1084"/>
                  </a:lnTo>
                  <a:lnTo>
                    <a:pt x="383" y="1085"/>
                  </a:lnTo>
                  <a:lnTo>
                    <a:pt x="385" y="1086"/>
                  </a:lnTo>
                  <a:lnTo>
                    <a:pt x="387" y="1086"/>
                  </a:lnTo>
                  <a:lnTo>
                    <a:pt x="388" y="1086"/>
                  </a:lnTo>
                  <a:lnTo>
                    <a:pt x="390" y="1087"/>
                  </a:lnTo>
                  <a:lnTo>
                    <a:pt x="389" y="1083"/>
                  </a:lnTo>
                  <a:lnTo>
                    <a:pt x="393" y="1081"/>
                  </a:lnTo>
                  <a:lnTo>
                    <a:pt x="398" y="1082"/>
                  </a:lnTo>
                  <a:lnTo>
                    <a:pt x="400" y="1084"/>
                  </a:lnTo>
                  <a:lnTo>
                    <a:pt x="400" y="1085"/>
                  </a:lnTo>
                  <a:lnTo>
                    <a:pt x="400" y="1086"/>
                  </a:lnTo>
                  <a:lnTo>
                    <a:pt x="401" y="1086"/>
                  </a:lnTo>
                  <a:lnTo>
                    <a:pt x="401" y="1085"/>
                  </a:lnTo>
                  <a:lnTo>
                    <a:pt x="401" y="1084"/>
                  </a:lnTo>
                  <a:lnTo>
                    <a:pt x="402" y="1082"/>
                  </a:lnTo>
                  <a:lnTo>
                    <a:pt x="403" y="1082"/>
                  </a:lnTo>
                  <a:lnTo>
                    <a:pt x="402" y="1083"/>
                  </a:lnTo>
                  <a:lnTo>
                    <a:pt x="402" y="1084"/>
                  </a:lnTo>
                  <a:lnTo>
                    <a:pt x="403" y="1084"/>
                  </a:lnTo>
                  <a:lnTo>
                    <a:pt x="403" y="1085"/>
                  </a:lnTo>
                  <a:lnTo>
                    <a:pt x="402" y="1085"/>
                  </a:lnTo>
                  <a:lnTo>
                    <a:pt x="402" y="1085"/>
                  </a:lnTo>
                  <a:lnTo>
                    <a:pt x="402" y="1086"/>
                  </a:lnTo>
                  <a:lnTo>
                    <a:pt x="402" y="1086"/>
                  </a:lnTo>
                  <a:lnTo>
                    <a:pt x="404" y="1088"/>
                  </a:lnTo>
                  <a:lnTo>
                    <a:pt x="404" y="1092"/>
                  </a:lnTo>
                  <a:lnTo>
                    <a:pt x="403" y="1096"/>
                  </a:lnTo>
                  <a:lnTo>
                    <a:pt x="402" y="1098"/>
                  </a:lnTo>
                  <a:lnTo>
                    <a:pt x="404" y="1104"/>
                  </a:lnTo>
                  <a:lnTo>
                    <a:pt x="405" y="1105"/>
                  </a:lnTo>
                  <a:lnTo>
                    <a:pt x="407" y="1102"/>
                  </a:lnTo>
                  <a:lnTo>
                    <a:pt x="409" y="1102"/>
                  </a:lnTo>
                  <a:lnTo>
                    <a:pt x="411" y="1103"/>
                  </a:lnTo>
                  <a:lnTo>
                    <a:pt x="412" y="1107"/>
                  </a:lnTo>
                  <a:lnTo>
                    <a:pt x="413" y="1107"/>
                  </a:lnTo>
                  <a:lnTo>
                    <a:pt x="417" y="1104"/>
                  </a:lnTo>
                  <a:lnTo>
                    <a:pt x="425" y="1106"/>
                  </a:lnTo>
                  <a:lnTo>
                    <a:pt x="430" y="1110"/>
                  </a:lnTo>
                  <a:lnTo>
                    <a:pt x="431" y="1115"/>
                  </a:lnTo>
                  <a:lnTo>
                    <a:pt x="434" y="1114"/>
                  </a:lnTo>
                  <a:lnTo>
                    <a:pt x="436" y="1115"/>
                  </a:lnTo>
                  <a:lnTo>
                    <a:pt x="437" y="1116"/>
                  </a:lnTo>
                  <a:lnTo>
                    <a:pt x="440" y="1117"/>
                  </a:lnTo>
                  <a:lnTo>
                    <a:pt x="440" y="1119"/>
                  </a:lnTo>
                  <a:lnTo>
                    <a:pt x="437" y="1119"/>
                  </a:lnTo>
                  <a:lnTo>
                    <a:pt x="436" y="1121"/>
                  </a:lnTo>
                  <a:lnTo>
                    <a:pt x="436" y="1122"/>
                  </a:lnTo>
                  <a:lnTo>
                    <a:pt x="438" y="1124"/>
                  </a:lnTo>
                  <a:lnTo>
                    <a:pt x="440" y="1125"/>
                  </a:lnTo>
                  <a:lnTo>
                    <a:pt x="442" y="1125"/>
                  </a:lnTo>
                  <a:lnTo>
                    <a:pt x="444" y="1123"/>
                  </a:lnTo>
                  <a:lnTo>
                    <a:pt x="443" y="1121"/>
                  </a:lnTo>
                  <a:lnTo>
                    <a:pt x="446" y="1120"/>
                  </a:lnTo>
                  <a:lnTo>
                    <a:pt x="448" y="1117"/>
                  </a:lnTo>
                  <a:lnTo>
                    <a:pt x="449" y="1113"/>
                  </a:lnTo>
                  <a:lnTo>
                    <a:pt x="446" y="1111"/>
                  </a:lnTo>
                  <a:lnTo>
                    <a:pt x="447" y="1113"/>
                  </a:lnTo>
                  <a:lnTo>
                    <a:pt x="447" y="1115"/>
                  </a:lnTo>
                  <a:lnTo>
                    <a:pt x="446" y="1117"/>
                  </a:lnTo>
                  <a:lnTo>
                    <a:pt x="445" y="1119"/>
                  </a:lnTo>
                  <a:lnTo>
                    <a:pt x="444" y="1119"/>
                  </a:lnTo>
                  <a:lnTo>
                    <a:pt x="444" y="1118"/>
                  </a:lnTo>
                  <a:lnTo>
                    <a:pt x="442" y="1116"/>
                  </a:lnTo>
                  <a:lnTo>
                    <a:pt x="443" y="1115"/>
                  </a:lnTo>
                  <a:lnTo>
                    <a:pt x="442" y="1114"/>
                  </a:lnTo>
                  <a:lnTo>
                    <a:pt x="442" y="1114"/>
                  </a:lnTo>
                  <a:lnTo>
                    <a:pt x="441" y="1112"/>
                  </a:lnTo>
                  <a:lnTo>
                    <a:pt x="443" y="1112"/>
                  </a:lnTo>
                  <a:lnTo>
                    <a:pt x="443" y="1110"/>
                  </a:lnTo>
                  <a:lnTo>
                    <a:pt x="443" y="1108"/>
                  </a:lnTo>
                  <a:lnTo>
                    <a:pt x="443" y="1107"/>
                  </a:lnTo>
                  <a:lnTo>
                    <a:pt x="444" y="1106"/>
                  </a:lnTo>
                  <a:lnTo>
                    <a:pt x="446" y="1106"/>
                  </a:lnTo>
                  <a:lnTo>
                    <a:pt x="449" y="1105"/>
                  </a:lnTo>
                  <a:lnTo>
                    <a:pt x="449" y="1104"/>
                  </a:lnTo>
                  <a:lnTo>
                    <a:pt x="447" y="1104"/>
                  </a:lnTo>
                  <a:lnTo>
                    <a:pt x="447" y="1103"/>
                  </a:lnTo>
                  <a:lnTo>
                    <a:pt x="450" y="1101"/>
                  </a:lnTo>
                  <a:lnTo>
                    <a:pt x="453" y="1097"/>
                  </a:lnTo>
                  <a:lnTo>
                    <a:pt x="455" y="1095"/>
                  </a:lnTo>
                  <a:lnTo>
                    <a:pt x="456" y="1098"/>
                  </a:lnTo>
                  <a:lnTo>
                    <a:pt x="458" y="1100"/>
                  </a:lnTo>
                  <a:lnTo>
                    <a:pt x="470" y="1105"/>
                  </a:lnTo>
                  <a:lnTo>
                    <a:pt x="480" y="1112"/>
                  </a:lnTo>
                  <a:lnTo>
                    <a:pt x="481" y="1113"/>
                  </a:lnTo>
                  <a:lnTo>
                    <a:pt x="482" y="1115"/>
                  </a:lnTo>
                  <a:lnTo>
                    <a:pt x="483" y="1116"/>
                  </a:lnTo>
                  <a:lnTo>
                    <a:pt x="483" y="1118"/>
                  </a:lnTo>
                  <a:lnTo>
                    <a:pt x="482" y="1120"/>
                  </a:lnTo>
                  <a:lnTo>
                    <a:pt x="481" y="1120"/>
                  </a:lnTo>
                  <a:lnTo>
                    <a:pt x="479" y="1120"/>
                  </a:lnTo>
                  <a:lnTo>
                    <a:pt x="480" y="1117"/>
                  </a:lnTo>
                  <a:lnTo>
                    <a:pt x="480" y="1116"/>
                  </a:lnTo>
                  <a:lnTo>
                    <a:pt x="478" y="1117"/>
                  </a:lnTo>
                  <a:lnTo>
                    <a:pt x="476" y="1120"/>
                  </a:lnTo>
                  <a:lnTo>
                    <a:pt x="474" y="1122"/>
                  </a:lnTo>
                  <a:lnTo>
                    <a:pt x="471" y="1120"/>
                  </a:lnTo>
                  <a:lnTo>
                    <a:pt x="471" y="1122"/>
                  </a:lnTo>
                  <a:lnTo>
                    <a:pt x="469" y="1126"/>
                  </a:lnTo>
                  <a:lnTo>
                    <a:pt x="468" y="1127"/>
                  </a:lnTo>
                  <a:lnTo>
                    <a:pt x="470" y="1130"/>
                  </a:lnTo>
                  <a:lnTo>
                    <a:pt x="471" y="1132"/>
                  </a:lnTo>
                  <a:lnTo>
                    <a:pt x="470" y="1134"/>
                  </a:lnTo>
                  <a:lnTo>
                    <a:pt x="467" y="1135"/>
                  </a:lnTo>
                  <a:lnTo>
                    <a:pt x="471" y="1136"/>
                  </a:lnTo>
                  <a:lnTo>
                    <a:pt x="478" y="1133"/>
                  </a:lnTo>
                  <a:lnTo>
                    <a:pt x="480" y="1135"/>
                  </a:lnTo>
                  <a:lnTo>
                    <a:pt x="481" y="1135"/>
                  </a:lnTo>
                  <a:lnTo>
                    <a:pt x="483" y="1134"/>
                  </a:lnTo>
                  <a:lnTo>
                    <a:pt x="484" y="1137"/>
                  </a:lnTo>
                  <a:lnTo>
                    <a:pt x="485" y="1144"/>
                  </a:lnTo>
                  <a:lnTo>
                    <a:pt x="485" y="1146"/>
                  </a:lnTo>
                  <a:lnTo>
                    <a:pt x="483" y="1146"/>
                  </a:lnTo>
                  <a:lnTo>
                    <a:pt x="482" y="1147"/>
                  </a:lnTo>
                  <a:lnTo>
                    <a:pt x="480" y="1148"/>
                  </a:lnTo>
                  <a:lnTo>
                    <a:pt x="480" y="1150"/>
                  </a:lnTo>
                  <a:lnTo>
                    <a:pt x="482" y="1151"/>
                  </a:lnTo>
                  <a:lnTo>
                    <a:pt x="485" y="1154"/>
                  </a:lnTo>
                  <a:lnTo>
                    <a:pt x="486" y="1157"/>
                  </a:lnTo>
                  <a:lnTo>
                    <a:pt x="485" y="1161"/>
                  </a:lnTo>
                  <a:lnTo>
                    <a:pt x="485" y="1161"/>
                  </a:lnTo>
                  <a:lnTo>
                    <a:pt x="486" y="1161"/>
                  </a:lnTo>
                  <a:lnTo>
                    <a:pt x="486" y="1161"/>
                  </a:lnTo>
                  <a:lnTo>
                    <a:pt x="486" y="1162"/>
                  </a:lnTo>
                  <a:lnTo>
                    <a:pt x="484" y="1162"/>
                  </a:lnTo>
                  <a:lnTo>
                    <a:pt x="482" y="1163"/>
                  </a:lnTo>
                  <a:lnTo>
                    <a:pt x="481" y="1164"/>
                  </a:lnTo>
                  <a:lnTo>
                    <a:pt x="480" y="1166"/>
                  </a:lnTo>
                  <a:lnTo>
                    <a:pt x="482" y="1166"/>
                  </a:lnTo>
                  <a:lnTo>
                    <a:pt x="483" y="1166"/>
                  </a:lnTo>
                  <a:lnTo>
                    <a:pt x="485" y="1167"/>
                  </a:lnTo>
                  <a:lnTo>
                    <a:pt x="483" y="1169"/>
                  </a:lnTo>
                  <a:lnTo>
                    <a:pt x="488" y="1169"/>
                  </a:lnTo>
                  <a:lnTo>
                    <a:pt x="488" y="1170"/>
                  </a:lnTo>
                  <a:lnTo>
                    <a:pt x="487" y="1171"/>
                  </a:lnTo>
                  <a:lnTo>
                    <a:pt x="487" y="1171"/>
                  </a:lnTo>
                  <a:lnTo>
                    <a:pt x="488" y="1174"/>
                  </a:lnTo>
                  <a:lnTo>
                    <a:pt x="490" y="1173"/>
                  </a:lnTo>
                  <a:lnTo>
                    <a:pt x="493" y="1176"/>
                  </a:lnTo>
                  <a:lnTo>
                    <a:pt x="502" y="1179"/>
                  </a:lnTo>
                  <a:lnTo>
                    <a:pt x="504" y="1181"/>
                  </a:lnTo>
                  <a:lnTo>
                    <a:pt x="505" y="1184"/>
                  </a:lnTo>
                  <a:lnTo>
                    <a:pt x="506" y="1185"/>
                  </a:lnTo>
                  <a:lnTo>
                    <a:pt x="516" y="1194"/>
                  </a:lnTo>
                  <a:lnTo>
                    <a:pt x="517" y="1193"/>
                  </a:lnTo>
                  <a:lnTo>
                    <a:pt x="518" y="1194"/>
                  </a:lnTo>
                  <a:lnTo>
                    <a:pt x="519" y="1196"/>
                  </a:lnTo>
                  <a:lnTo>
                    <a:pt x="520" y="1197"/>
                  </a:lnTo>
                  <a:lnTo>
                    <a:pt x="522" y="1196"/>
                  </a:lnTo>
                  <a:lnTo>
                    <a:pt x="522" y="1195"/>
                  </a:lnTo>
                  <a:lnTo>
                    <a:pt x="523" y="1194"/>
                  </a:lnTo>
                  <a:lnTo>
                    <a:pt x="524" y="1193"/>
                  </a:lnTo>
                  <a:lnTo>
                    <a:pt x="525" y="1192"/>
                  </a:lnTo>
                  <a:lnTo>
                    <a:pt x="525" y="1191"/>
                  </a:lnTo>
                  <a:lnTo>
                    <a:pt x="525" y="1191"/>
                  </a:lnTo>
                  <a:lnTo>
                    <a:pt x="527" y="1190"/>
                  </a:lnTo>
                  <a:lnTo>
                    <a:pt x="528" y="1190"/>
                  </a:lnTo>
                  <a:lnTo>
                    <a:pt x="529" y="1191"/>
                  </a:lnTo>
                  <a:lnTo>
                    <a:pt x="529" y="1192"/>
                  </a:lnTo>
                  <a:lnTo>
                    <a:pt x="530" y="1190"/>
                  </a:lnTo>
                  <a:lnTo>
                    <a:pt x="531" y="1195"/>
                  </a:lnTo>
                  <a:lnTo>
                    <a:pt x="532" y="1197"/>
                  </a:lnTo>
                  <a:lnTo>
                    <a:pt x="534" y="1195"/>
                  </a:lnTo>
                  <a:lnTo>
                    <a:pt x="543" y="1201"/>
                  </a:lnTo>
                  <a:lnTo>
                    <a:pt x="548" y="1202"/>
                  </a:lnTo>
                  <a:lnTo>
                    <a:pt x="560" y="1202"/>
                  </a:lnTo>
                  <a:lnTo>
                    <a:pt x="564" y="1204"/>
                  </a:lnTo>
                  <a:lnTo>
                    <a:pt x="562" y="1203"/>
                  </a:lnTo>
                  <a:lnTo>
                    <a:pt x="560" y="1204"/>
                  </a:lnTo>
                  <a:lnTo>
                    <a:pt x="559" y="1204"/>
                  </a:lnTo>
                  <a:lnTo>
                    <a:pt x="558" y="1205"/>
                  </a:lnTo>
                  <a:lnTo>
                    <a:pt x="558" y="1206"/>
                  </a:lnTo>
                  <a:lnTo>
                    <a:pt x="566" y="1205"/>
                  </a:lnTo>
                  <a:lnTo>
                    <a:pt x="567" y="1206"/>
                  </a:lnTo>
                  <a:lnTo>
                    <a:pt x="567" y="1208"/>
                  </a:lnTo>
                  <a:lnTo>
                    <a:pt x="566" y="1209"/>
                  </a:lnTo>
                  <a:lnTo>
                    <a:pt x="564" y="1208"/>
                  </a:lnTo>
                  <a:lnTo>
                    <a:pt x="565" y="1212"/>
                  </a:lnTo>
                  <a:lnTo>
                    <a:pt x="571" y="1214"/>
                  </a:lnTo>
                  <a:lnTo>
                    <a:pt x="572" y="1218"/>
                  </a:lnTo>
                  <a:lnTo>
                    <a:pt x="574" y="1215"/>
                  </a:lnTo>
                  <a:lnTo>
                    <a:pt x="574" y="1214"/>
                  </a:lnTo>
                  <a:lnTo>
                    <a:pt x="576" y="1214"/>
                  </a:lnTo>
                  <a:lnTo>
                    <a:pt x="577" y="1213"/>
                  </a:lnTo>
                  <a:lnTo>
                    <a:pt x="577" y="1212"/>
                  </a:lnTo>
                  <a:lnTo>
                    <a:pt x="577" y="1212"/>
                  </a:lnTo>
                  <a:lnTo>
                    <a:pt x="579" y="1211"/>
                  </a:lnTo>
                  <a:lnTo>
                    <a:pt x="581" y="1210"/>
                  </a:lnTo>
                  <a:lnTo>
                    <a:pt x="583" y="1211"/>
                  </a:lnTo>
                  <a:lnTo>
                    <a:pt x="585" y="1213"/>
                  </a:lnTo>
                  <a:lnTo>
                    <a:pt x="585" y="1212"/>
                  </a:lnTo>
                  <a:lnTo>
                    <a:pt x="586" y="1212"/>
                  </a:lnTo>
                  <a:lnTo>
                    <a:pt x="588" y="1212"/>
                  </a:lnTo>
                  <a:lnTo>
                    <a:pt x="588" y="1212"/>
                  </a:lnTo>
                  <a:lnTo>
                    <a:pt x="587" y="1213"/>
                  </a:lnTo>
                  <a:lnTo>
                    <a:pt x="587" y="1214"/>
                  </a:lnTo>
                  <a:lnTo>
                    <a:pt x="586" y="1214"/>
                  </a:lnTo>
                  <a:lnTo>
                    <a:pt x="586" y="1216"/>
                  </a:lnTo>
                  <a:lnTo>
                    <a:pt x="588" y="1215"/>
                  </a:lnTo>
                  <a:lnTo>
                    <a:pt x="591" y="1214"/>
                  </a:lnTo>
                  <a:lnTo>
                    <a:pt x="593" y="1212"/>
                  </a:lnTo>
                  <a:lnTo>
                    <a:pt x="596" y="1210"/>
                  </a:lnTo>
                  <a:lnTo>
                    <a:pt x="592" y="1210"/>
                  </a:lnTo>
                  <a:lnTo>
                    <a:pt x="592" y="1209"/>
                  </a:lnTo>
                  <a:lnTo>
                    <a:pt x="596" y="1208"/>
                  </a:lnTo>
                  <a:lnTo>
                    <a:pt x="598" y="1208"/>
                  </a:lnTo>
                  <a:lnTo>
                    <a:pt x="598" y="1207"/>
                  </a:lnTo>
                  <a:lnTo>
                    <a:pt x="598" y="1206"/>
                  </a:lnTo>
                  <a:lnTo>
                    <a:pt x="597" y="1206"/>
                  </a:lnTo>
                  <a:lnTo>
                    <a:pt x="597" y="1206"/>
                  </a:lnTo>
                  <a:lnTo>
                    <a:pt x="599" y="1205"/>
                  </a:lnTo>
                  <a:lnTo>
                    <a:pt x="605" y="1204"/>
                  </a:lnTo>
                  <a:lnTo>
                    <a:pt x="608" y="1202"/>
                  </a:lnTo>
                  <a:lnTo>
                    <a:pt x="610" y="1200"/>
                  </a:lnTo>
                  <a:lnTo>
                    <a:pt x="610" y="1200"/>
                  </a:lnTo>
                  <a:lnTo>
                    <a:pt x="612" y="1200"/>
                  </a:lnTo>
                  <a:lnTo>
                    <a:pt x="614" y="1200"/>
                  </a:lnTo>
                  <a:lnTo>
                    <a:pt x="616" y="1200"/>
                  </a:lnTo>
                  <a:lnTo>
                    <a:pt x="617" y="1201"/>
                  </a:lnTo>
                  <a:lnTo>
                    <a:pt x="619" y="1200"/>
                  </a:lnTo>
                  <a:lnTo>
                    <a:pt x="622" y="1200"/>
                  </a:lnTo>
                  <a:lnTo>
                    <a:pt x="632" y="1194"/>
                  </a:lnTo>
                  <a:lnTo>
                    <a:pt x="632" y="1193"/>
                  </a:lnTo>
                  <a:lnTo>
                    <a:pt x="629" y="1193"/>
                  </a:lnTo>
                  <a:lnTo>
                    <a:pt x="631" y="1192"/>
                  </a:lnTo>
                  <a:lnTo>
                    <a:pt x="633" y="1192"/>
                  </a:lnTo>
                  <a:lnTo>
                    <a:pt x="634" y="1194"/>
                  </a:lnTo>
                  <a:lnTo>
                    <a:pt x="635" y="1194"/>
                  </a:lnTo>
                  <a:lnTo>
                    <a:pt x="641" y="1195"/>
                  </a:lnTo>
                  <a:lnTo>
                    <a:pt x="641" y="1194"/>
                  </a:lnTo>
                  <a:lnTo>
                    <a:pt x="641" y="1193"/>
                  </a:lnTo>
                  <a:lnTo>
                    <a:pt x="643" y="1194"/>
                  </a:lnTo>
                  <a:lnTo>
                    <a:pt x="643" y="1193"/>
                  </a:lnTo>
                  <a:lnTo>
                    <a:pt x="644" y="1189"/>
                  </a:lnTo>
                  <a:lnTo>
                    <a:pt x="645" y="1191"/>
                  </a:lnTo>
                  <a:lnTo>
                    <a:pt x="646" y="1193"/>
                  </a:lnTo>
                  <a:lnTo>
                    <a:pt x="647" y="1193"/>
                  </a:lnTo>
                  <a:lnTo>
                    <a:pt x="647" y="1189"/>
                  </a:lnTo>
                  <a:lnTo>
                    <a:pt x="647" y="1186"/>
                  </a:lnTo>
                  <a:lnTo>
                    <a:pt x="649" y="1184"/>
                  </a:lnTo>
                  <a:lnTo>
                    <a:pt x="661" y="1182"/>
                  </a:lnTo>
                  <a:lnTo>
                    <a:pt x="664" y="1182"/>
                  </a:lnTo>
                  <a:lnTo>
                    <a:pt x="681" y="1190"/>
                  </a:lnTo>
                  <a:lnTo>
                    <a:pt x="685" y="1189"/>
                  </a:lnTo>
                  <a:lnTo>
                    <a:pt x="686" y="1190"/>
                  </a:lnTo>
                  <a:lnTo>
                    <a:pt x="687" y="1194"/>
                  </a:lnTo>
                  <a:lnTo>
                    <a:pt x="687" y="1202"/>
                  </a:lnTo>
                  <a:lnTo>
                    <a:pt x="691" y="1198"/>
                  </a:lnTo>
                  <a:lnTo>
                    <a:pt x="694" y="1196"/>
                  </a:lnTo>
                  <a:lnTo>
                    <a:pt x="695" y="1191"/>
                  </a:lnTo>
                  <a:lnTo>
                    <a:pt x="697" y="1190"/>
                  </a:lnTo>
                  <a:lnTo>
                    <a:pt x="700" y="1188"/>
                  </a:lnTo>
                  <a:lnTo>
                    <a:pt x="701" y="1186"/>
                  </a:lnTo>
                  <a:lnTo>
                    <a:pt x="700" y="1186"/>
                  </a:lnTo>
                  <a:lnTo>
                    <a:pt x="700" y="1185"/>
                  </a:lnTo>
                  <a:lnTo>
                    <a:pt x="700" y="1185"/>
                  </a:lnTo>
                  <a:lnTo>
                    <a:pt x="699" y="1186"/>
                  </a:lnTo>
                  <a:lnTo>
                    <a:pt x="698" y="1186"/>
                  </a:lnTo>
                  <a:lnTo>
                    <a:pt x="700" y="1182"/>
                  </a:lnTo>
                  <a:lnTo>
                    <a:pt x="704" y="1178"/>
                  </a:lnTo>
                  <a:lnTo>
                    <a:pt x="706" y="1175"/>
                  </a:lnTo>
                  <a:lnTo>
                    <a:pt x="702" y="1174"/>
                  </a:lnTo>
                  <a:lnTo>
                    <a:pt x="703" y="1171"/>
                  </a:lnTo>
                  <a:lnTo>
                    <a:pt x="701" y="1170"/>
                  </a:lnTo>
                  <a:lnTo>
                    <a:pt x="699" y="1167"/>
                  </a:lnTo>
                  <a:lnTo>
                    <a:pt x="699" y="1164"/>
                  </a:lnTo>
                  <a:lnTo>
                    <a:pt x="701" y="1161"/>
                  </a:lnTo>
                  <a:lnTo>
                    <a:pt x="701" y="1159"/>
                  </a:lnTo>
                  <a:lnTo>
                    <a:pt x="704" y="1153"/>
                  </a:lnTo>
                  <a:lnTo>
                    <a:pt x="706" y="1146"/>
                  </a:lnTo>
                  <a:lnTo>
                    <a:pt x="709" y="1143"/>
                  </a:lnTo>
                  <a:lnTo>
                    <a:pt x="714" y="1139"/>
                  </a:lnTo>
                  <a:lnTo>
                    <a:pt x="714" y="1137"/>
                  </a:lnTo>
                  <a:lnTo>
                    <a:pt x="716" y="1130"/>
                  </a:lnTo>
                  <a:lnTo>
                    <a:pt x="716" y="1126"/>
                  </a:lnTo>
                  <a:lnTo>
                    <a:pt x="715" y="1127"/>
                  </a:lnTo>
                  <a:lnTo>
                    <a:pt x="714" y="1125"/>
                  </a:lnTo>
                  <a:lnTo>
                    <a:pt x="713" y="1123"/>
                  </a:lnTo>
                  <a:lnTo>
                    <a:pt x="712" y="1121"/>
                  </a:lnTo>
                  <a:lnTo>
                    <a:pt x="712" y="1117"/>
                  </a:lnTo>
                  <a:lnTo>
                    <a:pt x="712" y="1115"/>
                  </a:lnTo>
                  <a:lnTo>
                    <a:pt x="713" y="1112"/>
                  </a:lnTo>
                  <a:lnTo>
                    <a:pt x="714" y="1111"/>
                  </a:lnTo>
                  <a:lnTo>
                    <a:pt x="715" y="1109"/>
                  </a:lnTo>
                  <a:lnTo>
                    <a:pt x="715" y="1108"/>
                  </a:lnTo>
                  <a:lnTo>
                    <a:pt x="713" y="1105"/>
                  </a:lnTo>
                  <a:lnTo>
                    <a:pt x="713" y="1102"/>
                  </a:lnTo>
                  <a:lnTo>
                    <a:pt x="714" y="1095"/>
                  </a:lnTo>
                  <a:lnTo>
                    <a:pt x="714" y="1089"/>
                  </a:lnTo>
                  <a:lnTo>
                    <a:pt x="715" y="1087"/>
                  </a:lnTo>
                  <a:lnTo>
                    <a:pt x="717" y="1084"/>
                  </a:lnTo>
                  <a:lnTo>
                    <a:pt x="719" y="1078"/>
                  </a:lnTo>
                  <a:lnTo>
                    <a:pt x="723" y="1074"/>
                  </a:lnTo>
                  <a:lnTo>
                    <a:pt x="733" y="1068"/>
                  </a:lnTo>
                  <a:lnTo>
                    <a:pt x="739" y="1073"/>
                  </a:lnTo>
                  <a:lnTo>
                    <a:pt x="742" y="1074"/>
                  </a:lnTo>
                  <a:lnTo>
                    <a:pt x="747" y="1076"/>
                  </a:lnTo>
                  <a:lnTo>
                    <a:pt x="773" y="1074"/>
                  </a:lnTo>
                  <a:lnTo>
                    <a:pt x="837" y="1084"/>
                  </a:lnTo>
                  <a:lnTo>
                    <a:pt x="842" y="1087"/>
                  </a:lnTo>
                  <a:lnTo>
                    <a:pt x="842" y="1092"/>
                  </a:lnTo>
                  <a:lnTo>
                    <a:pt x="847" y="1092"/>
                  </a:lnTo>
                  <a:lnTo>
                    <a:pt x="877" y="1106"/>
                  </a:lnTo>
                  <a:lnTo>
                    <a:pt x="879" y="1109"/>
                  </a:lnTo>
                  <a:lnTo>
                    <a:pt x="882" y="1111"/>
                  </a:lnTo>
                  <a:lnTo>
                    <a:pt x="894" y="1116"/>
                  </a:lnTo>
                  <a:lnTo>
                    <a:pt x="897" y="1117"/>
                  </a:lnTo>
                  <a:lnTo>
                    <a:pt x="899" y="1117"/>
                  </a:lnTo>
                  <a:lnTo>
                    <a:pt x="901" y="1118"/>
                  </a:lnTo>
                  <a:lnTo>
                    <a:pt x="904" y="1123"/>
                  </a:lnTo>
                  <a:lnTo>
                    <a:pt x="911" y="1126"/>
                  </a:lnTo>
                  <a:lnTo>
                    <a:pt x="912" y="1127"/>
                  </a:lnTo>
                  <a:lnTo>
                    <a:pt x="915" y="1126"/>
                  </a:lnTo>
                  <a:lnTo>
                    <a:pt x="919" y="1127"/>
                  </a:lnTo>
                  <a:lnTo>
                    <a:pt x="923" y="1129"/>
                  </a:lnTo>
                  <a:lnTo>
                    <a:pt x="925" y="1130"/>
                  </a:lnTo>
                  <a:lnTo>
                    <a:pt x="926" y="1132"/>
                  </a:lnTo>
                  <a:lnTo>
                    <a:pt x="930" y="1133"/>
                  </a:lnTo>
                  <a:lnTo>
                    <a:pt x="936" y="1132"/>
                  </a:lnTo>
                  <a:lnTo>
                    <a:pt x="937" y="1133"/>
                  </a:lnTo>
                  <a:lnTo>
                    <a:pt x="938" y="1134"/>
                  </a:lnTo>
                  <a:lnTo>
                    <a:pt x="939" y="1135"/>
                  </a:lnTo>
                  <a:lnTo>
                    <a:pt x="941" y="1135"/>
                  </a:lnTo>
                  <a:lnTo>
                    <a:pt x="943" y="1135"/>
                  </a:lnTo>
                  <a:lnTo>
                    <a:pt x="944" y="1135"/>
                  </a:lnTo>
                  <a:lnTo>
                    <a:pt x="945" y="1136"/>
                  </a:lnTo>
                  <a:lnTo>
                    <a:pt x="955" y="1146"/>
                  </a:lnTo>
                  <a:lnTo>
                    <a:pt x="957" y="1147"/>
                  </a:lnTo>
                  <a:lnTo>
                    <a:pt x="959" y="1151"/>
                  </a:lnTo>
                  <a:lnTo>
                    <a:pt x="962" y="1156"/>
                  </a:lnTo>
                  <a:lnTo>
                    <a:pt x="963" y="1157"/>
                  </a:lnTo>
                  <a:lnTo>
                    <a:pt x="964" y="1157"/>
                  </a:lnTo>
                  <a:lnTo>
                    <a:pt x="965" y="1158"/>
                  </a:lnTo>
                  <a:lnTo>
                    <a:pt x="967" y="1161"/>
                  </a:lnTo>
                  <a:lnTo>
                    <a:pt x="969" y="1164"/>
                  </a:lnTo>
                  <a:lnTo>
                    <a:pt x="969" y="1165"/>
                  </a:lnTo>
                  <a:lnTo>
                    <a:pt x="969" y="1167"/>
                  </a:lnTo>
                  <a:lnTo>
                    <a:pt x="972" y="1172"/>
                  </a:lnTo>
                  <a:lnTo>
                    <a:pt x="981" y="1181"/>
                  </a:lnTo>
                  <a:lnTo>
                    <a:pt x="985" y="1186"/>
                  </a:lnTo>
                  <a:lnTo>
                    <a:pt x="985" y="1188"/>
                  </a:lnTo>
                  <a:lnTo>
                    <a:pt x="986" y="1194"/>
                  </a:lnTo>
                  <a:lnTo>
                    <a:pt x="987" y="1195"/>
                  </a:lnTo>
                  <a:lnTo>
                    <a:pt x="989" y="1197"/>
                  </a:lnTo>
                  <a:lnTo>
                    <a:pt x="990" y="1198"/>
                  </a:lnTo>
                  <a:lnTo>
                    <a:pt x="992" y="1198"/>
                  </a:lnTo>
                  <a:lnTo>
                    <a:pt x="999" y="1208"/>
                  </a:lnTo>
                  <a:lnTo>
                    <a:pt x="1002" y="1209"/>
                  </a:lnTo>
                  <a:lnTo>
                    <a:pt x="1005" y="1210"/>
                  </a:lnTo>
                  <a:lnTo>
                    <a:pt x="1008" y="1211"/>
                  </a:lnTo>
                  <a:lnTo>
                    <a:pt x="1009" y="1214"/>
                  </a:lnTo>
                  <a:lnTo>
                    <a:pt x="1010" y="1215"/>
                  </a:lnTo>
                  <a:lnTo>
                    <a:pt x="1023" y="1222"/>
                  </a:lnTo>
                  <a:lnTo>
                    <a:pt x="1025" y="1223"/>
                  </a:lnTo>
                  <a:lnTo>
                    <a:pt x="1031" y="1224"/>
                  </a:lnTo>
                  <a:lnTo>
                    <a:pt x="1032" y="1224"/>
                  </a:lnTo>
                  <a:lnTo>
                    <a:pt x="1042" y="1230"/>
                  </a:lnTo>
                  <a:lnTo>
                    <a:pt x="1047" y="1233"/>
                  </a:lnTo>
                  <a:lnTo>
                    <a:pt x="1062" y="1237"/>
                  </a:lnTo>
                  <a:lnTo>
                    <a:pt x="1069" y="1237"/>
                  </a:lnTo>
                  <a:lnTo>
                    <a:pt x="1077" y="1230"/>
                  </a:lnTo>
                  <a:lnTo>
                    <a:pt x="1078" y="1229"/>
                  </a:lnTo>
                  <a:lnTo>
                    <a:pt x="1080" y="1228"/>
                  </a:lnTo>
                  <a:lnTo>
                    <a:pt x="1090" y="1222"/>
                  </a:lnTo>
                  <a:lnTo>
                    <a:pt x="1093" y="1222"/>
                  </a:lnTo>
                  <a:lnTo>
                    <a:pt x="1104" y="1225"/>
                  </a:lnTo>
                  <a:lnTo>
                    <a:pt x="1109" y="1225"/>
                  </a:lnTo>
                  <a:lnTo>
                    <a:pt x="1111" y="1225"/>
                  </a:lnTo>
                  <a:lnTo>
                    <a:pt x="1112" y="1226"/>
                  </a:lnTo>
                  <a:lnTo>
                    <a:pt x="1113" y="1226"/>
                  </a:lnTo>
                  <a:lnTo>
                    <a:pt x="1114" y="1226"/>
                  </a:lnTo>
                  <a:lnTo>
                    <a:pt x="1116" y="1225"/>
                  </a:lnTo>
                  <a:lnTo>
                    <a:pt x="1118" y="1222"/>
                  </a:lnTo>
                  <a:lnTo>
                    <a:pt x="1119" y="1219"/>
                  </a:lnTo>
                  <a:lnTo>
                    <a:pt x="1121" y="1217"/>
                  </a:lnTo>
                  <a:lnTo>
                    <a:pt x="1125" y="1216"/>
                  </a:lnTo>
                  <a:lnTo>
                    <a:pt x="1126" y="1216"/>
                  </a:lnTo>
                  <a:lnTo>
                    <a:pt x="1130" y="1218"/>
                  </a:lnTo>
                  <a:lnTo>
                    <a:pt x="1132" y="1218"/>
                  </a:lnTo>
                  <a:lnTo>
                    <a:pt x="1134" y="1218"/>
                  </a:lnTo>
                  <a:lnTo>
                    <a:pt x="1138" y="1217"/>
                  </a:lnTo>
                  <a:lnTo>
                    <a:pt x="1145" y="1217"/>
                  </a:lnTo>
                  <a:lnTo>
                    <a:pt x="1149" y="1217"/>
                  </a:lnTo>
                  <a:lnTo>
                    <a:pt x="1152" y="1213"/>
                  </a:lnTo>
                  <a:lnTo>
                    <a:pt x="1155" y="1214"/>
                  </a:lnTo>
                  <a:lnTo>
                    <a:pt x="1161" y="1216"/>
                  </a:lnTo>
                  <a:lnTo>
                    <a:pt x="1164" y="1215"/>
                  </a:lnTo>
                  <a:lnTo>
                    <a:pt x="1169" y="1212"/>
                  </a:lnTo>
                  <a:lnTo>
                    <a:pt x="1173" y="1212"/>
                  </a:lnTo>
                  <a:lnTo>
                    <a:pt x="1176" y="1212"/>
                  </a:lnTo>
                  <a:lnTo>
                    <a:pt x="1183" y="1214"/>
                  </a:lnTo>
                  <a:lnTo>
                    <a:pt x="1186" y="1214"/>
                  </a:lnTo>
                  <a:lnTo>
                    <a:pt x="1186" y="1216"/>
                  </a:lnTo>
                  <a:lnTo>
                    <a:pt x="1184" y="1217"/>
                  </a:lnTo>
                  <a:lnTo>
                    <a:pt x="1187" y="1218"/>
                  </a:lnTo>
                  <a:lnTo>
                    <a:pt x="1191" y="1214"/>
                  </a:lnTo>
                  <a:lnTo>
                    <a:pt x="1194" y="1209"/>
                  </a:lnTo>
                  <a:lnTo>
                    <a:pt x="1198" y="1206"/>
                  </a:lnTo>
                  <a:lnTo>
                    <a:pt x="1200" y="1205"/>
                  </a:lnTo>
                  <a:lnTo>
                    <a:pt x="1203" y="1205"/>
                  </a:lnTo>
                  <a:lnTo>
                    <a:pt x="1204" y="1205"/>
                  </a:lnTo>
                  <a:lnTo>
                    <a:pt x="1204" y="1208"/>
                  </a:lnTo>
                  <a:lnTo>
                    <a:pt x="1209" y="1214"/>
                  </a:lnTo>
                  <a:lnTo>
                    <a:pt x="1209" y="1216"/>
                  </a:lnTo>
                  <a:lnTo>
                    <a:pt x="1210" y="1214"/>
                  </a:lnTo>
                  <a:lnTo>
                    <a:pt x="1211" y="1209"/>
                  </a:lnTo>
                  <a:lnTo>
                    <a:pt x="1212" y="1207"/>
                  </a:lnTo>
                  <a:lnTo>
                    <a:pt x="1217" y="1202"/>
                  </a:lnTo>
                  <a:lnTo>
                    <a:pt x="1218" y="1201"/>
                  </a:lnTo>
                  <a:lnTo>
                    <a:pt x="1223" y="1199"/>
                  </a:lnTo>
                  <a:lnTo>
                    <a:pt x="1225" y="1198"/>
                  </a:lnTo>
                  <a:lnTo>
                    <a:pt x="1227" y="1197"/>
                  </a:lnTo>
                  <a:lnTo>
                    <a:pt x="1229" y="1193"/>
                  </a:lnTo>
                  <a:lnTo>
                    <a:pt x="1231" y="1192"/>
                  </a:lnTo>
                  <a:lnTo>
                    <a:pt x="1230" y="1191"/>
                  </a:lnTo>
                  <a:lnTo>
                    <a:pt x="1230" y="1190"/>
                  </a:lnTo>
                  <a:lnTo>
                    <a:pt x="1228" y="1190"/>
                  </a:lnTo>
                  <a:lnTo>
                    <a:pt x="1231" y="1189"/>
                  </a:lnTo>
                  <a:lnTo>
                    <a:pt x="1233" y="1188"/>
                  </a:lnTo>
                  <a:lnTo>
                    <a:pt x="1236" y="1183"/>
                  </a:lnTo>
                  <a:lnTo>
                    <a:pt x="1238" y="1181"/>
                  </a:lnTo>
                  <a:lnTo>
                    <a:pt x="1240" y="1181"/>
                  </a:lnTo>
                  <a:lnTo>
                    <a:pt x="1242" y="1183"/>
                  </a:lnTo>
                  <a:lnTo>
                    <a:pt x="1244" y="1184"/>
                  </a:lnTo>
                  <a:lnTo>
                    <a:pt x="1248" y="1185"/>
                  </a:lnTo>
                  <a:lnTo>
                    <a:pt x="1250" y="1190"/>
                  </a:lnTo>
                  <a:lnTo>
                    <a:pt x="1251" y="1196"/>
                  </a:lnTo>
                  <a:lnTo>
                    <a:pt x="1249" y="1200"/>
                  </a:lnTo>
                  <a:lnTo>
                    <a:pt x="1249" y="1201"/>
                  </a:lnTo>
                  <a:lnTo>
                    <a:pt x="1252" y="1201"/>
                  </a:lnTo>
                  <a:lnTo>
                    <a:pt x="1253" y="1199"/>
                  </a:lnTo>
                  <a:lnTo>
                    <a:pt x="1253" y="1197"/>
                  </a:lnTo>
                  <a:lnTo>
                    <a:pt x="1253" y="1194"/>
                  </a:lnTo>
                  <a:lnTo>
                    <a:pt x="1255" y="1192"/>
                  </a:lnTo>
                  <a:lnTo>
                    <a:pt x="1258" y="1188"/>
                  </a:lnTo>
                  <a:lnTo>
                    <a:pt x="1258" y="1186"/>
                  </a:lnTo>
                  <a:lnTo>
                    <a:pt x="1258" y="1187"/>
                  </a:lnTo>
                  <a:lnTo>
                    <a:pt x="1257" y="1187"/>
                  </a:lnTo>
                  <a:lnTo>
                    <a:pt x="1258" y="1183"/>
                  </a:lnTo>
                  <a:lnTo>
                    <a:pt x="1263" y="1182"/>
                  </a:lnTo>
                  <a:lnTo>
                    <a:pt x="1268" y="1181"/>
                  </a:lnTo>
                  <a:lnTo>
                    <a:pt x="1271" y="1178"/>
                  </a:lnTo>
                  <a:lnTo>
                    <a:pt x="1271" y="1173"/>
                  </a:lnTo>
                  <a:lnTo>
                    <a:pt x="1270" y="1167"/>
                  </a:lnTo>
                  <a:lnTo>
                    <a:pt x="1271" y="1161"/>
                  </a:lnTo>
                  <a:lnTo>
                    <a:pt x="1276" y="1158"/>
                  </a:lnTo>
                  <a:lnTo>
                    <a:pt x="1282" y="1152"/>
                  </a:lnTo>
                  <a:lnTo>
                    <a:pt x="1285" y="1151"/>
                  </a:lnTo>
                  <a:lnTo>
                    <a:pt x="1287" y="1150"/>
                  </a:lnTo>
                  <a:lnTo>
                    <a:pt x="1287" y="1148"/>
                  </a:lnTo>
                  <a:lnTo>
                    <a:pt x="1289" y="1145"/>
                  </a:lnTo>
                  <a:lnTo>
                    <a:pt x="1302" y="1127"/>
                  </a:lnTo>
                  <a:lnTo>
                    <a:pt x="1307" y="1123"/>
                  </a:lnTo>
                  <a:lnTo>
                    <a:pt x="1324" y="1112"/>
                  </a:lnTo>
                  <a:lnTo>
                    <a:pt x="1338" y="1100"/>
                  </a:lnTo>
                  <a:lnTo>
                    <a:pt x="1343" y="1097"/>
                  </a:lnTo>
                  <a:lnTo>
                    <a:pt x="1344" y="1096"/>
                  </a:lnTo>
                  <a:lnTo>
                    <a:pt x="1346" y="1092"/>
                  </a:lnTo>
                  <a:lnTo>
                    <a:pt x="1346" y="1092"/>
                  </a:lnTo>
                  <a:lnTo>
                    <a:pt x="1351" y="1089"/>
                  </a:lnTo>
                  <a:lnTo>
                    <a:pt x="1353" y="1088"/>
                  </a:lnTo>
                  <a:lnTo>
                    <a:pt x="1358" y="1087"/>
                  </a:lnTo>
                  <a:lnTo>
                    <a:pt x="1369" y="1082"/>
                  </a:lnTo>
                  <a:lnTo>
                    <a:pt x="1375" y="1081"/>
                  </a:lnTo>
                  <a:lnTo>
                    <a:pt x="1380" y="1084"/>
                  </a:lnTo>
                  <a:lnTo>
                    <a:pt x="1381" y="1082"/>
                  </a:lnTo>
                  <a:lnTo>
                    <a:pt x="1394" y="1089"/>
                  </a:lnTo>
                  <a:lnTo>
                    <a:pt x="1400" y="1096"/>
                  </a:lnTo>
                  <a:lnTo>
                    <a:pt x="1403" y="1097"/>
                  </a:lnTo>
                  <a:lnTo>
                    <a:pt x="1402" y="1100"/>
                  </a:lnTo>
                  <a:lnTo>
                    <a:pt x="1401" y="1101"/>
                  </a:lnTo>
                  <a:lnTo>
                    <a:pt x="1404" y="1100"/>
                  </a:lnTo>
                  <a:lnTo>
                    <a:pt x="1406" y="1100"/>
                  </a:lnTo>
                  <a:lnTo>
                    <a:pt x="1407" y="1100"/>
                  </a:lnTo>
                  <a:lnTo>
                    <a:pt x="1409" y="1100"/>
                  </a:lnTo>
                  <a:lnTo>
                    <a:pt x="1411" y="1100"/>
                  </a:lnTo>
                  <a:lnTo>
                    <a:pt x="1414" y="1101"/>
                  </a:lnTo>
                  <a:lnTo>
                    <a:pt x="1419" y="1105"/>
                  </a:lnTo>
                  <a:lnTo>
                    <a:pt x="1424" y="1106"/>
                  </a:lnTo>
                  <a:lnTo>
                    <a:pt x="1464" y="1130"/>
                  </a:lnTo>
                  <a:lnTo>
                    <a:pt x="1466" y="1131"/>
                  </a:lnTo>
                  <a:lnTo>
                    <a:pt x="1468" y="1132"/>
                  </a:lnTo>
                  <a:lnTo>
                    <a:pt x="1471" y="1136"/>
                  </a:lnTo>
                  <a:lnTo>
                    <a:pt x="1472" y="1136"/>
                  </a:lnTo>
                  <a:lnTo>
                    <a:pt x="1473" y="1136"/>
                  </a:lnTo>
                  <a:lnTo>
                    <a:pt x="1477" y="1132"/>
                  </a:lnTo>
                  <a:lnTo>
                    <a:pt x="1480" y="1131"/>
                  </a:lnTo>
                  <a:lnTo>
                    <a:pt x="1482" y="1130"/>
                  </a:lnTo>
                  <a:lnTo>
                    <a:pt x="1482" y="1129"/>
                  </a:lnTo>
                  <a:lnTo>
                    <a:pt x="1483" y="1128"/>
                  </a:lnTo>
                  <a:lnTo>
                    <a:pt x="1487" y="1126"/>
                  </a:lnTo>
                  <a:lnTo>
                    <a:pt x="1488" y="1126"/>
                  </a:lnTo>
                  <a:lnTo>
                    <a:pt x="1495" y="1126"/>
                  </a:lnTo>
                  <a:lnTo>
                    <a:pt x="1502" y="1128"/>
                  </a:lnTo>
                  <a:lnTo>
                    <a:pt x="1496" y="1126"/>
                  </a:lnTo>
                  <a:lnTo>
                    <a:pt x="1495" y="1125"/>
                  </a:lnTo>
                  <a:lnTo>
                    <a:pt x="1493" y="1125"/>
                  </a:lnTo>
                  <a:lnTo>
                    <a:pt x="1494" y="1123"/>
                  </a:lnTo>
                  <a:lnTo>
                    <a:pt x="1495" y="1122"/>
                  </a:lnTo>
                  <a:lnTo>
                    <a:pt x="1497" y="1121"/>
                  </a:lnTo>
                  <a:lnTo>
                    <a:pt x="1499" y="1122"/>
                  </a:lnTo>
                  <a:lnTo>
                    <a:pt x="1504" y="1127"/>
                  </a:lnTo>
                  <a:lnTo>
                    <a:pt x="1506" y="1127"/>
                  </a:lnTo>
                  <a:lnTo>
                    <a:pt x="1511" y="1127"/>
                  </a:lnTo>
                  <a:lnTo>
                    <a:pt x="1512" y="1126"/>
                  </a:lnTo>
                  <a:lnTo>
                    <a:pt x="1515" y="1125"/>
                  </a:lnTo>
                  <a:lnTo>
                    <a:pt x="1516" y="1124"/>
                  </a:lnTo>
                  <a:lnTo>
                    <a:pt x="1517" y="1123"/>
                  </a:lnTo>
                  <a:lnTo>
                    <a:pt x="1518" y="1121"/>
                  </a:lnTo>
                  <a:lnTo>
                    <a:pt x="1518" y="1119"/>
                  </a:lnTo>
                  <a:lnTo>
                    <a:pt x="1518" y="1117"/>
                  </a:lnTo>
                  <a:lnTo>
                    <a:pt x="1519" y="1115"/>
                  </a:lnTo>
                  <a:lnTo>
                    <a:pt x="1521" y="1112"/>
                  </a:lnTo>
                  <a:lnTo>
                    <a:pt x="1522" y="1110"/>
                  </a:lnTo>
                  <a:lnTo>
                    <a:pt x="1528" y="1104"/>
                  </a:lnTo>
                  <a:lnTo>
                    <a:pt x="1525" y="1105"/>
                  </a:lnTo>
                  <a:lnTo>
                    <a:pt x="1523" y="1106"/>
                  </a:lnTo>
                  <a:lnTo>
                    <a:pt x="1516" y="1114"/>
                  </a:lnTo>
                  <a:lnTo>
                    <a:pt x="1514" y="1116"/>
                  </a:lnTo>
                  <a:lnTo>
                    <a:pt x="1514" y="1113"/>
                  </a:lnTo>
                  <a:lnTo>
                    <a:pt x="1516" y="1109"/>
                  </a:lnTo>
                  <a:lnTo>
                    <a:pt x="1521" y="1106"/>
                  </a:lnTo>
                  <a:lnTo>
                    <a:pt x="1530" y="1101"/>
                  </a:lnTo>
                  <a:lnTo>
                    <a:pt x="1528" y="1100"/>
                  </a:lnTo>
                  <a:lnTo>
                    <a:pt x="1526" y="1101"/>
                  </a:lnTo>
                  <a:lnTo>
                    <a:pt x="1525" y="1102"/>
                  </a:lnTo>
                  <a:lnTo>
                    <a:pt x="1523" y="1103"/>
                  </a:lnTo>
                  <a:lnTo>
                    <a:pt x="1521" y="1102"/>
                  </a:lnTo>
                  <a:lnTo>
                    <a:pt x="1521" y="1100"/>
                  </a:lnTo>
                  <a:lnTo>
                    <a:pt x="1520" y="1098"/>
                  </a:lnTo>
                  <a:lnTo>
                    <a:pt x="1518" y="1100"/>
                  </a:lnTo>
                  <a:lnTo>
                    <a:pt x="1519" y="1101"/>
                  </a:lnTo>
                  <a:lnTo>
                    <a:pt x="1519" y="1102"/>
                  </a:lnTo>
                  <a:lnTo>
                    <a:pt x="1519" y="1104"/>
                  </a:lnTo>
                  <a:lnTo>
                    <a:pt x="1518" y="1105"/>
                  </a:lnTo>
                  <a:lnTo>
                    <a:pt x="1517" y="1104"/>
                  </a:lnTo>
                  <a:lnTo>
                    <a:pt x="1517" y="1103"/>
                  </a:lnTo>
                  <a:lnTo>
                    <a:pt x="1517" y="1103"/>
                  </a:lnTo>
                  <a:lnTo>
                    <a:pt x="1516" y="1103"/>
                  </a:lnTo>
                  <a:lnTo>
                    <a:pt x="1515" y="1106"/>
                  </a:lnTo>
                  <a:lnTo>
                    <a:pt x="1512" y="1105"/>
                  </a:lnTo>
                  <a:lnTo>
                    <a:pt x="1509" y="1108"/>
                  </a:lnTo>
                  <a:lnTo>
                    <a:pt x="1508" y="1105"/>
                  </a:lnTo>
                  <a:lnTo>
                    <a:pt x="1510" y="1102"/>
                  </a:lnTo>
                  <a:lnTo>
                    <a:pt x="1512" y="1100"/>
                  </a:lnTo>
                  <a:lnTo>
                    <a:pt x="1514" y="1097"/>
                  </a:lnTo>
                  <a:lnTo>
                    <a:pt x="1515" y="1098"/>
                  </a:lnTo>
                  <a:lnTo>
                    <a:pt x="1515" y="1099"/>
                  </a:lnTo>
                  <a:lnTo>
                    <a:pt x="1515" y="1100"/>
                  </a:lnTo>
                  <a:lnTo>
                    <a:pt x="1515" y="1101"/>
                  </a:lnTo>
                  <a:lnTo>
                    <a:pt x="1517" y="1100"/>
                  </a:lnTo>
                  <a:lnTo>
                    <a:pt x="1518" y="1096"/>
                  </a:lnTo>
                  <a:lnTo>
                    <a:pt x="1520" y="1094"/>
                  </a:lnTo>
                  <a:lnTo>
                    <a:pt x="1526" y="1092"/>
                  </a:lnTo>
                  <a:lnTo>
                    <a:pt x="1539" y="1092"/>
                  </a:lnTo>
                  <a:lnTo>
                    <a:pt x="1545" y="1090"/>
                  </a:lnTo>
                  <a:lnTo>
                    <a:pt x="1547" y="1088"/>
                  </a:lnTo>
                  <a:lnTo>
                    <a:pt x="1553" y="1082"/>
                  </a:lnTo>
                  <a:lnTo>
                    <a:pt x="1554" y="1081"/>
                  </a:lnTo>
                  <a:lnTo>
                    <a:pt x="1557" y="1080"/>
                  </a:lnTo>
                  <a:lnTo>
                    <a:pt x="1559" y="1078"/>
                  </a:lnTo>
                  <a:lnTo>
                    <a:pt x="1568" y="1068"/>
                  </a:lnTo>
                  <a:lnTo>
                    <a:pt x="1574" y="1063"/>
                  </a:lnTo>
                  <a:lnTo>
                    <a:pt x="1579" y="1060"/>
                  </a:lnTo>
                  <a:lnTo>
                    <a:pt x="1585" y="1062"/>
                  </a:lnTo>
                  <a:lnTo>
                    <a:pt x="1591" y="1066"/>
                  </a:lnTo>
                  <a:lnTo>
                    <a:pt x="1597" y="1072"/>
                  </a:lnTo>
                  <a:lnTo>
                    <a:pt x="1606" y="1085"/>
                  </a:lnTo>
                  <a:lnTo>
                    <a:pt x="1608" y="1088"/>
                  </a:lnTo>
                  <a:lnTo>
                    <a:pt x="1608" y="1092"/>
                  </a:lnTo>
                  <a:lnTo>
                    <a:pt x="1608" y="1104"/>
                  </a:lnTo>
                  <a:lnTo>
                    <a:pt x="1608" y="1105"/>
                  </a:lnTo>
                  <a:lnTo>
                    <a:pt x="1609" y="1107"/>
                  </a:lnTo>
                  <a:lnTo>
                    <a:pt x="1609" y="1109"/>
                  </a:lnTo>
                  <a:lnTo>
                    <a:pt x="1610" y="1111"/>
                  </a:lnTo>
                  <a:lnTo>
                    <a:pt x="1610" y="1113"/>
                  </a:lnTo>
                  <a:lnTo>
                    <a:pt x="1609" y="1117"/>
                  </a:lnTo>
                  <a:lnTo>
                    <a:pt x="1608" y="1121"/>
                  </a:lnTo>
                  <a:lnTo>
                    <a:pt x="1606" y="1124"/>
                  </a:lnTo>
                  <a:lnTo>
                    <a:pt x="1604" y="1126"/>
                  </a:lnTo>
                  <a:lnTo>
                    <a:pt x="1602" y="1126"/>
                  </a:lnTo>
                  <a:lnTo>
                    <a:pt x="1585" y="1137"/>
                  </a:lnTo>
                  <a:lnTo>
                    <a:pt x="1583" y="1137"/>
                  </a:lnTo>
                  <a:lnTo>
                    <a:pt x="1582" y="1139"/>
                  </a:lnTo>
                  <a:lnTo>
                    <a:pt x="1575" y="1148"/>
                  </a:lnTo>
                  <a:lnTo>
                    <a:pt x="1573" y="1149"/>
                  </a:lnTo>
                  <a:lnTo>
                    <a:pt x="1567" y="1151"/>
                  </a:lnTo>
                  <a:lnTo>
                    <a:pt x="1566" y="1152"/>
                  </a:lnTo>
                  <a:lnTo>
                    <a:pt x="1565" y="1153"/>
                  </a:lnTo>
                  <a:lnTo>
                    <a:pt x="1563" y="1155"/>
                  </a:lnTo>
                  <a:lnTo>
                    <a:pt x="1562" y="1159"/>
                  </a:lnTo>
                  <a:lnTo>
                    <a:pt x="1561" y="1161"/>
                  </a:lnTo>
                  <a:lnTo>
                    <a:pt x="1560" y="1162"/>
                  </a:lnTo>
                  <a:lnTo>
                    <a:pt x="1557" y="1163"/>
                  </a:lnTo>
                  <a:lnTo>
                    <a:pt x="1556" y="1165"/>
                  </a:lnTo>
                  <a:lnTo>
                    <a:pt x="1554" y="1169"/>
                  </a:lnTo>
                  <a:lnTo>
                    <a:pt x="1553" y="1170"/>
                  </a:lnTo>
                  <a:lnTo>
                    <a:pt x="1551" y="1170"/>
                  </a:lnTo>
                  <a:lnTo>
                    <a:pt x="1550" y="1171"/>
                  </a:lnTo>
                  <a:lnTo>
                    <a:pt x="1548" y="1172"/>
                  </a:lnTo>
                  <a:lnTo>
                    <a:pt x="1547" y="1173"/>
                  </a:lnTo>
                  <a:lnTo>
                    <a:pt x="1542" y="1180"/>
                  </a:lnTo>
                  <a:lnTo>
                    <a:pt x="1542" y="1183"/>
                  </a:lnTo>
                  <a:lnTo>
                    <a:pt x="1544" y="1187"/>
                  </a:lnTo>
                  <a:lnTo>
                    <a:pt x="1546" y="1190"/>
                  </a:lnTo>
                  <a:lnTo>
                    <a:pt x="1549" y="1192"/>
                  </a:lnTo>
                  <a:lnTo>
                    <a:pt x="1551" y="1195"/>
                  </a:lnTo>
                  <a:lnTo>
                    <a:pt x="1552" y="1201"/>
                  </a:lnTo>
                  <a:lnTo>
                    <a:pt x="1555" y="1204"/>
                  </a:lnTo>
                  <a:lnTo>
                    <a:pt x="1557" y="1207"/>
                  </a:lnTo>
                  <a:lnTo>
                    <a:pt x="1568" y="1225"/>
                  </a:lnTo>
                  <a:lnTo>
                    <a:pt x="1572" y="1239"/>
                  </a:lnTo>
                  <a:lnTo>
                    <a:pt x="1572" y="1242"/>
                  </a:lnTo>
                  <a:lnTo>
                    <a:pt x="1570" y="1244"/>
                  </a:lnTo>
                  <a:lnTo>
                    <a:pt x="1564" y="1256"/>
                  </a:lnTo>
                  <a:lnTo>
                    <a:pt x="1562" y="1258"/>
                  </a:lnTo>
                  <a:lnTo>
                    <a:pt x="1562" y="1258"/>
                  </a:lnTo>
                  <a:lnTo>
                    <a:pt x="1563" y="1259"/>
                  </a:lnTo>
                  <a:lnTo>
                    <a:pt x="1566" y="1258"/>
                  </a:lnTo>
                  <a:lnTo>
                    <a:pt x="1570" y="1257"/>
                  </a:lnTo>
                  <a:lnTo>
                    <a:pt x="1573" y="1257"/>
                  </a:lnTo>
                  <a:lnTo>
                    <a:pt x="1575" y="1259"/>
                  </a:lnTo>
                  <a:lnTo>
                    <a:pt x="1575" y="1262"/>
                  </a:lnTo>
                  <a:lnTo>
                    <a:pt x="1575" y="1264"/>
                  </a:lnTo>
                  <a:lnTo>
                    <a:pt x="1575" y="1266"/>
                  </a:lnTo>
                  <a:lnTo>
                    <a:pt x="1577" y="1268"/>
                  </a:lnTo>
                  <a:lnTo>
                    <a:pt x="1579" y="1268"/>
                  </a:lnTo>
                  <a:lnTo>
                    <a:pt x="1584" y="1269"/>
                  </a:lnTo>
                  <a:lnTo>
                    <a:pt x="1589" y="1271"/>
                  </a:lnTo>
                  <a:lnTo>
                    <a:pt x="1598" y="1278"/>
                  </a:lnTo>
                  <a:lnTo>
                    <a:pt x="1601" y="1277"/>
                  </a:lnTo>
                  <a:lnTo>
                    <a:pt x="1601" y="1277"/>
                  </a:lnTo>
                  <a:lnTo>
                    <a:pt x="1603" y="1271"/>
                  </a:lnTo>
                  <a:lnTo>
                    <a:pt x="1604" y="1258"/>
                  </a:lnTo>
                  <a:lnTo>
                    <a:pt x="1607" y="1252"/>
                  </a:lnTo>
                  <a:lnTo>
                    <a:pt x="1612" y="1250"/>
                  </a:lnTo>
                  <a:lnTo>
                    <a:pt x="1616" y="1251"/>
                  </a:lnTo>
                  <a:lnTo>
                    <a:pt x="1619" y="1250"/>
                  </a:lnTo>
                  <a:lnTo>
                    <a:pt x="1620" y="1244"/>
                  </a:lnTo>
                  <a:lnTo>
                    <a:pt x="1620" y="1244"/>
                  </a:lnTo>
                  <a:lnTo>
                    <a:pt x="1620" y="1244"/>
                  </a:lnTo>
                  <a:lnTo>
                    <a:pt x="1620" y="1244"/>
                  </a:lnTo>
                  <a:lnTo>
                    <a:pt x="1623" y="1242"/>
                  </a:lnTo>
                  <a:lnTo>
                    <a:pt x="1629" y="1245"/>
                  </a:lnTo>
                  <a:lnTo>
                    <a:pt x="1633" y="1244"/>
                  </a:lnTo>
                  <a:lnTo>
                    <a:pt x="1632" y="1238"/>
                  </a:lnTo>
                  <a:lnTo>
                    <a:pt x="1633" y="1210"/>
                  </a:lnTo>
                  <a:lnTo>
                    <a:pt x="1633" y="1207"/>
                  </a:lnTo>
                  <a:lnTo>
                    <a:pt x="1634" y="1205"/>
                  </a:lnTo>
                  <a:lnTo>
                    <a:pt x="1635" y="1204"/>
                  </a:lnTo>
                  <a:lnTo>
                    <a:pt x="1636" y="1202"/>
                  </a:lnTo>
                  <a:lnTo>
                    <a:pt x="1633" y="1200"/>
                  </a:lnTo>
                  <a:lnTo>
                    <a:pt x="1635" y="1198"/>
                  </a:lnTo>
                  <a:lnTo>
                    <a:pt x="1637" y="1200"/>
                  </a:lnTo>
                  <a:lnTo>
                    <a:pt x="1639" y="1202"/>
                  </a:lnTo>
                  <a:lnTo>
                    <a:pt x="1641" y="1203"/>
                  </a:lnTo>
                  <a:lnTo>
                    <a:pt x="1646" y="1203"/>
                  </a:lnTo>
                  <a:lnTo>
                    <a:pt x="1647" y="1203"/>
                  </a:lnTo>
                  <a:lnTo>
                    <a:pt x="1648" y="1203"/>
                  </a:lnTo>
                  <a:lnTo>
                    <a:pt x="1649" y="1203"/>
                  </a:lnTo>
                  <a:lnTo>
                    <a:pt x="1650" y="1202"/>
                  </a:lnTo>
                  <a:lnTo>
                    <a:pt x="1650" y="1200"/>
                  </a:lnTo>
                  <a:lnTo>
                    <a:pt x="1650" y="1199"/>
                  </a:lnTo>
                  <a:lnTo>
                    <a:pt x="1652" y="1198"/>
                  </a:lnTo>
                  <a:lnTo>
                    <a:pt x="1655" y="1198"/>
                  </a:lnTo>
                  <a:lnTo>
                    <a:pt x="1667" y="1200"/>
                  </a:lnTo>
                  <a:lnTo>
                    <a:pt x="1670" y="1200"/>
                  </a:lnTo>
                  <a:lnTo>
                    <a:pt x="1681" y="1198"/>
                  </a:lnTo>
                  <a:lnTo>
                    <a:pt x="1682" y="1196"/>
                  </a:lnTo>
                  <a:lnTo>
                    <a:pt x="1682" y="1192"/>
                  </a:lnTo>
                  <a:lnTo>
                    <a:pt x="1682" y="1189"/>
                  </a:lnTo>
                  <a:lnTo>
                    <a:pt x="1681" y="1185"/>
                  </a:lnTo>
                  <a:lnTo>
                    <a:pt x="1679" y="1183"/>
                  </a:lnTo>
                  <a:lnTo>
                    <a:pt x="1679" y="1183"/>
                  </a:lnTo>
                  <a:lnTo>
                    <a:pt x="1677" y="1180"/>
                  </a:lnTo>
                  <a:lnTo>
                    <a:pt x="1674" y="1180"/>
                  </a:lnTo>
                  <a:lnTo>
                    <a:pt x="1669" y="1179"/>
                  </a:lnTo>
                  <a:lnTo>
                    <a:pt x="1668" y="1177"/>
                  </a:lnTo>
                  <a:lnTo>
                    <a:pt x="1668" y="1177"/>
                  </a:lnTo>
                  <a:lnTo>
                    <a:pt x="1669" y="1175"/>
                  </a:lnTo>
                  <a:lnTo>
                    <a:pt x="1670" y="1173"/>
                  </a:lnTo>
                  <a:lnTo>
                    <a:pt x="1670" y="1171"/>
                  </a:lnTo>
                  <a:lnTo>
                    <a:pt x="1670" y="1169"/>
                  </a:lnTo>
                  <a:lnTo>
                    <a:pt x="1670" y="1168"/>
                  </a:lnTo>
                  <a:lnTo>
                    <a:pt x="1669" y="1167"/>
                  </a:lnTo>
                  <a:lnTo>
                    <a:pt x="1668" y="1166"/>
                  </a:lnTo>
                  <a:lnTo>
                    <a:pt x="1666" y="1165"/>
                  </a:lnTo>
                  <a:lnTo>
                    <a:pt x="1664" y="1164"/>
                  </a:lnTo>
                  <a:lnTo>
                    <a:pt x="1664" y="1162"/>
                  </a:lnTo>
                  <a:lnTo>
                    <a:pt x="1661" y="1152"/>
                  </a:lnTo>
                  <a:lnTo>
                    <a:pt x="1660" y="1149"/>
                  </a:lnTo>
                  <a:lnTo>
                    <a:pt x="1661" y="1146"/>
                  </a:lnTo>
                  <a:lnTo>
                    <a:pt x="1666" y="1138"/>
                  </a:lnTo>
                  <a:lnTo>
                    <a:pt x="1667" y="1130"/>
                  </a:lnTo>
                  <a:lnTo>
                    <a:pt x="1666" y="1121"/>
                  </a:lnTo>
                  <a:lnTo>
                    <a:pt x="1668" y="1112"/>
                  </a:lnTo>
                  <a:lnTo>
                    <a:pt x="1670" y="1108"/>
                  </a:lnTo>
                  <a:lnTo>
                    <a:pt x="1671" y="1104"/>
                  </a:lnTo>
                  <a:lnTo>
                    <a:pt x="1671" y="1100"/>
                  </a:lnTo>
                  <a:lnTo>
                    <a:pt x="1672" y="1096"/>
                  </a:lnTo>
                  <a:lnTo>
                    <a:pt x="1674" y="1092"/>
                  </a:lnTo>
                  <a:lnTo>
                    <a:pt x="1676" y="1088"/>
                  </a:lnTo>
                  <a:lnTo>
                    <a:pt x="1678" y="1085"/>
                  </a:lnTo>
                  <a:lnTo>
                    <a:pt x="1678" y="1080"/>
                  </a:lnTo>
                  <a:lnTo>
                    <a:pt x="1679" y="1080"/>
                  </a:lnTo>
                  <a:lnTo>
                    <a:pt x="1681" y="1080"/>
                  </a:lnTo>
                  <a:lnTo>
                    <a:pt x="1681" y="1080"/>
                  </a:lnTo>
                  <a:lnTo>
                    <a:pt x="1710" y="1090"/>
                  </a:lnTo>
                  <a:lnTo>
                    <a:pt x="1720" y="1091"/>
                  </a:lnTo>
                  <a:lnTo>
                    <a:pt x="1723" y="1092"/>
                  </a:lnTo>
                  <a:lnTo>
                    <a:pt x="1726" y="1093"/>
                  </a:lnTo>
                  <a:lnTo>
                    <a:pt x="1729" y="1094"/>
                  </a:lnTo>
                  <a:lnTo>
                    <a:pt x="1732" y="1097"/>
                  </a:lnTo>
                  <a:lnTo>
                    <a:pt x="1736" y="1101"/>
                  </a:lnTo>
                  <a:lnTo>
                    <a:pt x="1738" y="1104"/>
                  </a:lnTo>
                  <a:lnTo>
                    <a:pt x="1738" y="1108"/>
                  </a:lnTo>
                  <a:lnTo>
                    <a:pt x="1736" y="1114"/>
                  </a:lnTo>
                  <a:lnTo>
                    <a:pt x="1737" y="1117"/>
                  </a:lnTo>
                  <a:lnTo>
                    <a:pt x="1740" y="1119"/>
                  </a:lnTo>
                  <a:lnTo>
                    <a:pt x="1743" y="1121"/>
                  </a:lnTo>
                  <a:lnTo>
                    <a:pt x="1745" y="1121"/>
                  </a:lnTo>
                  <a:lnTo>
                    <a:pt x="1746" y="1119"/>
                  </a:lnTo>
                  <a:lnTo>
                    <a:pt x="1748" y="1116"/>
                  </a:lnTo>
                  <a:lnTo>
                    <a:pt x="1751" y="1115"/>
                  </a:lnTo>
                  <a:lnTo>
                    <a:pt x="1754" y="1115"/>
                  </a:lnTo>
                  <a:lnTo>
                    <a:pt x="1756" y="1116"/>
                  </a:lnTo>
                  <a:lnTo>
                    <a:pt x="1760" y="1116"/>
                  </a:lnTo>
                  <a:lnTo>
                    <a:pt x="1770" y="1114"/>
                  </a:lnTo>
                  <a:lnTo>
                    <a:pt x="1773" y="1113"/>
                  </a:lnTo>
                  <a:lnTo>
                    <a:pt x="1799" y="1118"/>
                  </a:lnTo>
                  <a:lnTo>
                    <a:pt x="1805" y="1118"/>
                  </a:lnTo>
                  <a:lnTo>
                    <a:pt x="1829" y="1103"/>
                  </a:lnTo>
                  <a:lnTo>
                    <a:pt x="1839" y="1099"/>
                  </a:lnTo>
                  <a:lnTo>
                    <a:pt x="1865" y="1093"/>
                  </a:lnTo>
                  <a:lnTo>
                    <a:pt x="1890" y="1082"/>
                  </a:lnTo>
                  <a:lnTo>
                    <a:pt x="1895" y="1080"/>
                  </a:lnTo>
                  <a:lnTo>
                    <a:pt x="1898" y="1078"/>
                  </a:lnTo>
                  <a:lnTo>
                    <a:pt x="1913" y="1069"/>
                  </a:lnTo>
                  <a:lnTo>
                    <a:pt x="1924" y="1064"/>
                  </a:lnTo>
                  <a:lnTo>
                    <a:pt x="1929" y="1064"/>
                  </a:lnTo>
                  <a:lnTo>
                    <a:pt x="1939" y="1065"/>
                  </a:lnTo>
                  <a:lnTo>
                    <a:pt x="1970" y="1074"/>
                  </a:lnTo>
                  <a:lnTo>
                    <a:pt x="1977" y="1079"/>
                  </a:lnTo>
                  <a:lnTo>
                    <a:pt x="1994" y="1097"/>
                  </a:lnTo>
                  <a:lnTo>
                    <a:pt x="1999" y="1101"/>
                  </a:lnTo>
                  <a:lnTo>
                    <a:pt x="2009" y="1106"/>
                  </a:lnTo>
                  <a:lnTo>
                    <a:pt x="2020" y="1108"/>
                  </a:lnTo>
                  <a:lnTo>
                    <a:pt x="2045" y="1107"/>
                  </a:lnTo>
                  <a:lnTo>
                    <a:pt x="2049" y="1106"/>
                  </a:lnTo>
                  <a:lnTo>
                    <a:pt x="2057" y="1105"/>
                  </a:lnTo>
                  <a:lnTo>
                    <a:pt x="2082" y="1113"/>
                  </a:lnTo>
                  <a:lnTo>
                    <a:pt x="2090" y="1113"/>
                  </a:lnTo>
                  <a:lnTo>
                    <a:pt x="2122" y="1107"/>
                  </a:lnTo>
                  <a:lnTo>
                    <a:pt x="2174" y="1097"/>
                  </a:lnTo>
                  <a:lnTo>
                    <a:pt x="2208" y="1084"/>
                  </a:lnTo>
                  <a:lnTo>
                    <a:pt x="2224" y="1075"/>
                  </a:lnTo>
                  <a:lnTo>
                    <a:pt x="2229" y="1073"/>
                  </a:lnTo>
                  <a:lnTo>
                    <a:pt x="2235" y="1072"/>
                  </a:lnTo>
                  <a:lnTo>
                    <a:pt x="2241" y="1069"/>
                  </a:lnTo>
                  <a:lnTo>
                    <a:pt x="2252" y="1061"/>
                  </a:lnTo>
                  <a:lnTo>
                    <a:pt x="2274" y="1047"/>
                  </a:lnTo>
                  <a:lnTo>
                    <a:pt x="2277" y="1045"/>
                  </a:lnTo>
                  <a:lnTo>
                    <a:pt x="2280" y="1044"/>
                  </a:lnTo>
                  <a:lnTo>
                    <a:pt x="2284" y="1043"/>
                  </a:lnTo>
                  <a:lnTo>
                    <a:pt x="2287" y="1043"/>
                  </a:lnTo>
                  <a:lnTo>
                    <a:pt x="2294" y="1041"/>
                  </a:lnTo>
                  <a:lnTo>
                    <a:pt x="2316" y="1029"/>
                  </a:lnTo>
                  <a:lnTo>
                    <a:pt x="2323" y="1026"/>
                  </a:lnTo>
                  <a:lnTo>
                    <a:pt x="2353" y="1022"/>
                  </a:lnTo>
                  <a:lnTo>
                    <a:pt x="2391" y="1029"/>
                  </a:lnTo>
                  <a:lnTo>
                    <a:pt x="2398" y="1032"/>
                  </a:lnTo>
                  <a:lnTo>
                    <a:pt x="2401" y="1033"/>
                  </a:lnTo>
                  <a:lnTo>
                    <a:pt x="2446" y="1031"/>
                  </a:lnTo>
                  <a:lnTo>
                    <a:pt x="2512" y="1015"/>
                  </a:lnTo>
                  <a:lnTo>
                    <a:pt x="2530" y="1011"/>
                  </a:lnTo>
                  <a:lnTo>
                    <a:pt x="2534" y="1008"/>
                  </a:lnTo>
                  <a:lnTo>
                    <a:pt x="2534" y="129"/>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25" name="Freeform 59">
              <a:extLst>
                <a:ext uri="{FF2B5EF4-FFF2-40B4-BE49-F238E27FC236}">
                  <a16:creationId xmlns:a16="http://schemas.microsoft.com/office/drawing/2014/main" id="{EE50CBCF-BB90-4E72-8D73-36D0EB858107}"/>
                </a:ext>
              </a:extLst>
            </p:cNvPr>
            <p:cNvSpPr>
              <a:spLocks/>
            </p:cNvSpPr>
            <p:nvPr/>
          </p:nvSpPr>
          <p:spPr bwMode="gray">
            <a:xfrm>
              <a:off x="10623648" y="5726826"/>
              <a:ext cx="304149" cy="267377"/>
            </a:xfrm>
            <a:custGeom>
              <a:avLst/>
              <a:gdLst>
                <a:gd name="T0" fmla="*/ 13 w 488"/>
                <a:gd name="T1" fmla="*/ 315 h 429"/>
                <a:gd name="T2" fmla="*/ 68 w 488"/>
                <a:gd name="T3" fmla="*/ 312 h 429"/>
                <a:gd name="T4" fmla="*/ 119 w 488"/>
                <a:gd name="T5" fmla="*/ 303 h 429"/>
                <a:gd name="T6" fmla="*/ 109 w 488"/>
                <a:gd name="T7" fmla="*/ 325 h 429"/>
                <a:gd name="T8" fmla="*/ 73 w 488"/>
                <a:gd name="T9" fmla="*/ 345 h 429"/>
                <a:gd name="T10" fmla="*/ 32 w 488"/>
                <a:gd name="T11" fmla="*/ 369 h 429"/>
                <a:gd name="T12" fmla="*/ 34 w 488"/>
                <a:gd name="T13" fmla="*/ 382 h 429"/>
                <a:gd name="T14" fmla="*/ 22 w 488"/>
                <a:gd name="T15" fmla="*/ 422 h 429"/>
                <a:gd name="T16" fmla="*/ 38 w 488"/>
                <a:gd name="T17" fmla="*/ 421 h 429"/>
                <a:gd name="T18" fmla="*/ 55 w 488"/>
                <a:gd name="T19" fmla="*/ 396 h 429"/>
                <a:gd name="T20" fmla="*/ 76 w 488"/>
                <a:gd name="T21" fmla="*/ 378 h 429"/>
                <a:gd name="T22" fmla="*/ 100 w 488"/>
                <a:gd name="T23" fmla="*/ 354 h 429"/>
                <a:gd name="T24" fmla="*/ 128 w 488"/>
                <a:gd name="T25" fmla="*/ 334 h 429"/>
                <a:gd name="T26" fmla="*/ 161 w 488"/>
                <a:gd name="T27" fmla="*/ 313 h 429"/>
                <a:gd name="T28" fmla="*/ 185 w 488"/>
                <a:gd name="T29" fmla="*/ 304 h 429"/>
                <a:gd name="T30" fmla="*/ 271 w 488"/>
                <a:gd name="T31" fmla="*/ 229 h 429"/>
                <a:gd name="T32" fmla="*/ 306 w 488"/>
                <a:gd name="T33" fmla="*/ 235 h 429"/>
                <a:gd name="T34" fmla="*/ 330 w 488"/>
                <a:gd name="T35" fmla="*/ 217 h 429"/>
                <a:gd name="T36" fmla="*/ 353 w 488"/>
                <a:gd name="T37" fmla="*/ 217 h 429"/>
                <a:gd name="T38" fmla="*/ 398 w 488"/>
                <a:gd name="T39" fmla="*/ 234 h 429"/>
                <a:gd name="T40" fmla="*/ 400 w 488"/>
                <a:gd name="T41" fmla="*/ 215 h 429"/>
                <a:gd name="T42" fmla="*/ 411 w 488"/>
                <a:gd name="T43" fmla="*/ 238 h 429"/>
                <a:gd name="T44" fmla="*/ 445 w 488"/>
                <a:gd name="T45" fmla="*/ 238 h 429"/>
                <a:gd name="T46" fmla="*/ 462 w 488"/>
                <a:gd name="T47" fmla="*/ 230 h 429"/>
                <a:gd name="T48" fmla="*/ 469 w 488"/>
                <a:gd name="T49" fmla="*/ 228 h 429"/>
                <a:gd name="T50" fmla="*/ 477 w 488"/>
                <a:gd name="T51" fmla="*/ 218 h 429"/>
                <a:gd name="T52" fmla="*/ 481 w 488"/>
                <a:gd name="T53" fmla="*/ 203 h 429"/>
                <a:gd name="T54" fmla="*/ 487 w 488"/>
                <a:gd name="T55" fmla="*/ 188 h 429"/>
                <a:gd name="T56" fmla="*/ 474 w 488"/>
                <a:gd name="T57" fmla="*/ 181 h 429"/>
                <a:gd name="T58" fmla="*/ 340 w 488"/>
                <a:gd name="T59" fmla="*/ 114 h 429"/>
                <a:gd name="T60" fmla="*/ 325 w 488"/>
                <a:gd name="T61" fmla="*/ 91 h 429"/>
                <a:gd name="T62" fmla="*/ 320 w 488"/>
                <a:gd name="T63" fmla="*/ 82 h 429"/>
                <a:gd name="T64" fmla="*/ 309 w 488"/>
                <a:gd name="T65" fmla="*/ 45 h 429"/>
                <a:gd name="T66" fmla="*/ 318 w 488"/>
                <a:gd name="T67" fmla="*/ 40 h 429"/>
                <a:gd name="T68" fmla="*/ 293 w 488"/>
                <a:gd name="T69" fmla="*/ 22 h 429"/>
                <a:gd name="T70" fmla="*/ 281 w 488"/>
                <a:gd name="T71" fmla="*/ 24 h 429"/>
                <a:gd name="T72" fmla="*/ 268 w 488"/>
                <a:gd name="T73" fmla="*/ 27 h 429"/>
                <a:gd name="T74" fmla="*/ 244 w 488"/>
                <a:gd name="T75" fmla="*/ 36 h 429"/>
                <a:gd name="T76" fmla="*/ 241 w 488"/>
                <a:gd name="T77" fmla="*/ 40 h 429"/>
                <a:gd name="T78" fmla="*/ 213 w 488"/>
                <a:gd name="T79" fmla="*/ 19 h 429"/>
                <a:gd name="T80" fmla="*/ 182 w 488"/>
                <a:gd name="T81" fmla="*/ 7 h 429"/>
                <a:gd name="T82" fmla="*/ 164 w 488"/>
                <a:gd name="T83" fmla="*/ 3 h 429"/>
                <a:gd name="T84" fmla="*/ 145 w 488"/>
                <a:gd name="T85" fmla="*/ 19 h 429"/>
                <a:gd name="T86" fmla="*/ 131 w 488"/>
                <a:gd name="T87" fmla="*/ 23 h 429"/>
                <a:gd name="T88" fmla="*/ 117 w 488"/>
                <a:gd name="T89" fmla="*/ 25 h 429"/>
                <a:gd name="T90" fmla="*/ 82 w 488"/>
                <a:gd name="T91" fmla="*/ 35 h 429"/>
                <a:gd name="T92" fmla="*/ 82 w 488"/>
                <a:gd name="T93" fmla="*/ 45 h 429"/>
                <a:gd name="T94" fmla="*/ 48 w 488"/>
                <a:gd name="T95" fmla="*/ 65 h 429"/>
                <a:gd name="T96" fmla="*/ 65 w 488"/>
                <a:gd name="T97" fmla="*/ 88 h 429"/>
                <a:gd name="T98" fmla="*/ 89 w 488"/>
                <a:gd name="T99" fmla="*/ 103 h 429"/>
                <a:gd name="T100" fmla="*/ 91 w 488"/>
                <a:gd name="T101" fmla="*/ 122 h 429"/>
                <a:gd name="T102" fmla="*/ 91 w 488"/>
                <a:gd name="T103" fmla="*/ 162 h 429"/>
                <a:gd name="T104" fmla="*/ 70 w 488"/>
                <a:gd name="T105" fmla="*/ 168 h 429"/>
                <a:gd name="T106" fmla="*/ 46 w 488"/>
                <a:gd name="T107" fmla="*/ 188 h 429"/>
                <a:gd name="T108" fmla="*/ 46 w 488"/>
                <a:gd name="T109" fmla="*/ 213 h 429"/>
                <a:gd name="T110" fmla="*/ 49 w 488"/>
                <a:gd name="T111" fmla="*/ 232 h 429"/>
                <a:gd name="T112" fmla="*/ 48 w 488"/>
                <a:gd name="T113" fmla="*/ 243 h 429"/>
                <a:gd name="T114" fmla="*/ 38 w 488"/>
                <a:gd name="T115" fmla="*/ 251 h 429"/>
                <a:gd name="T116" fmla="*/ 31 w 488"/>
                <a:gd name="T117" fmla="*/ 255 h 429"/>
                <a:gd name="T118" fmla="*/ 29 w 488"/>
                <a:gd name="T119" fmla="*/ 258 h 429"/>
                <a:gd name="T120" fmla="*/ 16 w 488"/>
                <a:gd name="T121" fmla="*/ 281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8" h="429">
                  <a:moveTo>
                    <a:pt x="4" y="295"/>
                  </a:moveTo>
                  <a:lnTo>
                    <a:pt x="4" y="300"/>
                  </a:lnTo>
                  <a:lnTo>
                    <a:pt x="3" y="303"/>
                  </a:lnTo>
                  <a:lnTo>
                    <a:pt x="4" y="306"/>
                  </a:lnTo>
                  <a:lnTo>
                    <a:pt x="6" y="310"/>
                  </a:lnTo>
                  <a:lnTo>
                    <a:pt x="7" y="313"/>
                  </a:lnTo>
                  <a:lnTo>
                    <a:pt x="9" y="314"/>
                  </a:lnTo>
                  <a:lnTo>
                    <a:pt x="13" y="315"/>
                  </a:lnTo>
                  <a:lnTo>
                    <a:pt x="43" y="315"/>
                  </a:lnTo>
                  <a:lnTo>
                    <a:pt x="51" y="313"/>
                  </a:lnTo>
                  <a:lnTo>
                    <a:pt x="54" y="312"/>
                  </a:lnTo>
                  <a:lnTo>
                    <a:pt x="58" y="315"/>
                  </a:lnTo>
                  <a:lnTo>
                    <a:pt x="61" y="314"/>
                  </a:lnTo>
                  <a:lnTo>
                    <a:pt x="63" y="312"/>
                  </a:lnTo>
                  <a:lnTo>
                    <a:pt x="65" y="311"/>
                  </a:lnTo>
                  <a:lnTo>
                    <a:pt x="68" y="312"/>
                  </a:lnTo>
                  <a:lnTo>
                    <a:pt x="70" y="313"/>
                  </a:lnTo>
                  <a:lnTo>
                    <a:pt x="75" y="316"/>
                  </a:lnTo>
                  <a:lnTo>
                    <a:pt x="87" y="309"/>
                  </a:lnTo>
                  <a:lnTo>
                    <a:pt x="91" y="307"/>
                  </a:lnTo>
                  <a:lnTo>
                    <a:pt x="102" y="307"/>
                  </a:lnTo>
                  <a:lnTo>
                    <a:pt x="104" y="306"/>
                  </a:lnTo>
                  <a:lnTo>
                    <a:pt x="108" y="305"/>
                  </a:lnTo>
                  <a:lnTo>
                    <a:pt x="119" y="303"/>
                  </a:lnTo>
                  <a:lnTo>
                    <a:pt x="120" y="303"/>
                  </a:lnTo>
                  <a:lnTo>
                    <a:pt x="121" y="305"/>
                  </a:lnTo>
                  <a:lnTo>
                    <a:pt x="126" y="315"/>
                  </a:lnTo>
                  <a:lnTo>
                    <a:pt x="124" y="319"/>
                  </a:lnTo>
                  <a:lnTo>
                    <a:pt x="120" y="323"/>
                  </a:lnTo>
                  <a:lnTo>
                    <a:pt x="115" y="325"/>
                  </a:lnTo>
                  <a:lnTo>
                    <a:pt x="111" y="323"/>
                  </a:lnTo>
                  <a:lnTo>
                    <a:pt x="109" y="325"/>
                  </a:lnTo>
                  <a:lnTo>
                    <a:pt x="106" y="331"/>
                  </a:lnTo>
                  <a:lnTo>
                    <a:pt x="103" y="333"/>
                  </a:lnTo>
                  <a:lnTo>
                    <a:pt x="101" y="334"/>
                  </a:lnTo>
                  <a:lnTo>
                    <a:pt x="94" y="333"/>
                  </a:lnTo>
                  <a:lnTo>
                    <a:pt x="89" y="334"/>
                  </a:lnTo>
                  <a:lnTo>
                    <a:pt x="84" y="336"/>
                  </a:lnTo>
                  <a:lnTo>
                    <a:pt x="80" y="339"/>
                  </a:lnTo>
                  <a:lnTo>
                    <a:pt x="73" y="345"/>
                  </a:lnTo>
                  <a:lnTo>
                    <a:pt x="63" y="349"/>
                  </a:lnTo>
                  <a:lnTo>
                    <a:pt x="56" y="355"/>
                  </a:lnTo>
                  <a:lnTo>
                    <a:pt x="48" y="360"/>
                  </a:lnTo>
                  <a:lnTo>
                    <a:pt x="46" y="364"/>
                  </a:lnTo>
                  <a:lnTo>
                    <a:pt x="42" y="364"/>
                  </a:lnTo>
                  <a:lnTo>
                    <a:pt x="34" y="367"/>
                  </a:lnTo>
                  <a:lnTo>
                    <a:pt x="32" y="369"/>
                  </a:lnTo>
                  <a:lnTo>
                    <a:pt x="32" y="369"/>
                  </a:lnTo>
                  <a:lnTo>
                    <a:pt x="29" y="371"/>
                  </a:lnTo>
                  <a:lnTo>
                    <a:pt x="28" y="373"/>
                  </a:lnTo>
                  <a:lnTo>
                    <a:pt x="29" y="374"/>
                  </a:lnTo>
                  <a:lnTo>
                    <a:pt x="31" y="374"/>
                  </a:lnTo>
                  <a:lnTo>
                    <a:pt x="32" y="376"/>
                  </a:lnTo>
                  <a:lnTo>
                    <a:pt x="31" y="377"/>
                  </a:lnTo>
                  <a:lnTo>
                    <a:pt x="29" y="378"/>
                  </a:lnTo>
                  <a:lnTo>
                    <a:pt x="34" y="382"/>
                  </a:lnTo>
                  <a:lnTo>
                    <a:pt x="37" y="386"/>
                  </a:lnTo>
                  <a:lnTo>
                    <a:pt x="38" y="392"/>
                  </a:lnTo>
                  <a:lnTo>
                    <a:pt x="36" y="399"/>
                  </a:lnTo>
                  <a:lnTo>
                    <a:pt x="29" y="409"/>
                  </a:lnTo>
                  <a:lnTo>
                    <a:pt x="28" y="412"/>
                  </a:lnTo>
                  <a:lnTo>
                    <a:pt x="27" y="416"/>
                  </a:lnTo>
                  <a:lnTo>
                    <a:pt x="25" y="420"/>
                  </a:lnTo>
                  <a:lnTo>
                    <a:pt x="22" y="422"/>
                  </a:lnTo>
                  <a:lnTo>
                    <a:pt x="21" y="423"/>
                  </a:lnTo>
                  <a:lnTo>
                    <a:pt x="20" y="426"/>
                  </a:lnTo>
                  <a:lnTo>
                    <a:pt x="20" y="428"/>
                  </a:lnTo>
                  <a:lnTo>
                    <a:pt x="21" y="429"/>
                  </a:lnTo>
                  <a:lnTo>
                    <a:pt x="23" y="429"/>
                  </a:lnTo>
                  <a:lnTo>
                    <a:pt x="31" y="426"/>
                  </a:lnTo>
                  <a:lnTo>
                    <a:pt x="33" y="425"/>
                  </a:lnTo>
                  <a:lnTo>
                    <a:pt x="38" y="421"/>
                  </a:lnTo>
                  <a:lnTo>
                    <a:pt x="44" y="417"/>
                  </a:lnTo>
                  <a:lnTo>
                    <a:pt x="47" y="415"/>
                  </a:lnTo>
                  <a:lnTo>
                    <a:pt x="54" y="408"/>
                  </a:lnTo>
                  <a:lnTo>
                    <a:pt x="52" y="406"/>
                  </a:lnTo>
                  <a:lnTo>
                    <a:pt x="50" y="402"/>
                  </a:lnTo>
                  <a:lnTo>
                    <a:pt x="50" y="398"/>
                  </a:lnTo>
                  <a:lnTo>
                    <a:pt x="52" y="397"/>
                  </a:lnTo>
                  <a:lnTo>
                    <a:pt x="55" y="396"/>
                  </a:lnTo>
                  <a:lnTo>
                    <a:pt x="59" y="394"/>
                  </a:lnTo>
                  <a:lnTo>
                    <a:pt x="62" y="392"/>
                  </a:lnTo>
                  <a:lnTo>
                    <a:pt x="65" y="390"/>
                  </a:lnTo>
                  <a:lnTo>
                    <a:pt x="69" y="385"/>
                  </a:lnTo>
                  <a:lnTo>
                    <a:pt x="70" y="384"/>
                  </a:lnTo>
                  <a:lnTo>
                    <a:pt x="70" y="383"/>
                  </a:lnTo>
                  <a:lnTo>
                    <a:pt x="74" y="380"/>
                  </a:lnTo>
                  <a:lnTo>
                    <a:pt x="76" y="378"/>
                  </a:lnTo>
                  <a:lnTo>
                    <a:pt x="80" y="377"/>
                  </a:lnTo>
                  <a:lnTo>
                    <a:pt x="81" y="376"/>
                  </a:lnTo>
                  <a:lnTo>
                    <a:pt x="90" y="368"/>
                  </a:lnTo>
                  <a:lnTo>
                    <a:pt x="93" y="365"/>
                  </a:lnTo>
                  <a:lnTo>
                    <a:pt x="94" y="362"/>
                  </a:lnTo>
                  <a:lnTo>
                    <a:pt x="94" y="359"/>
                  </a:lnTo>
                  <a:lnTo>
                    <a:pt x="95" y="357"/>
                  </a:lnTo>
                  <a:lnTo>
                    <a:pt x="100" y="354"/>
                  </a:lnTo>
                  <a:lnTo>
                    <a:pt x="102" y="352"/>
                  </a:lnTo>
                  <a:lnTo>
                    <a:pt x="103" y="345"/>
                  </a:lnTo>
                  <a:lnTo>
                    <a:pt x="105" y="344"/>
                  </a:lnTo>
                  <a:lnTo>
                    <a:pt x="107" y="343"/>
                  </a:lnTo>
                  <a:lnTo>
                    <a:pt x="112" y="339"/>
                  </a:lnTo>
                  <a:lnTo>
                    <a:pt x="115" y="337"/>
                  </a:lnTo>
                  <a:lnTo>
                    <a:pt x="125" y="335"/>
                  </a:lnTo>
                  <a:lnTo>
                    <a:pt x="128" y="334"/>
                  </a:lnTo>
                  <a:lnTo>
                    <a:pt x="130" y="331"/>
                  </a:lnTo>
                  <a:lnTo>
                    <a:pt x="140" y="325"/>
                  </a:lnTo>
                  <a:lnTo>
                    <a:pt x="145" y="324"/>
                  </a:lnTo>
                  <a:lnTo>
                    <a:pt x="148" y="324"/>
                  </a:lnTo>
                  <a:lnTo>
                    <a:pt x="152" y="323"/>
                  </a:lnTo>
                  <a:lnTo>
                    <a:pt x="154" y="321"/>
                  </a:lnTo>
                  <a:lnTo>
                    <a:pt x="158" y="315"/>
                  </a:lnTo>
                  <a:lnTo>
                    <a:pt x="161" y="313"/>
                  </a:lnTo>
                  <a:lnTo>
                    <a:pt x="164" y="312"/>
                  </a:lnTo>
                  <a:lnTo>
                    <a:pt x="172" y="312"/>
                  </a:lnTo>
                  <a:lnTo>
                    <a:pt x="176" y="310"/>
                  </a:lnTo>
                  <a:lnTo>
                    <a:pt x="180" y="309"/>
                  </a:lnTo>
                  <a:lnTo>
                    <a:pt x="182" y="309"/>
                  </a:lnTo>
                  <a:lnTo>
                    <a:pt x="182" y="308"/>
                  </a:lnTo>
                  <a:lnTo>
                    <a:pt x="184" y="305"/>
                  </a:lnTo>
                  <a:lnTo>
                    <a:pt x="185" y="304"/>
                  </a:lnTo>
                  <a:lnTo>
                    <a:pt x="199" y="294"/>
                  </a:lnTo>
                  <a:lnTo>
                    <a:pt x="206" y="282"/>
                  </a:lnTo>
                  <a:lnTo>
                    <a:pt x="221" y="267"/>
                  </a:lnTo>
                  <a:lnTo>
                    <a:pt x="224" y="261"/>
                  </a:lnTo>
                  <a:lnTo>
                    <a:pt x="228" y="244"/>
                  </a:lnTo>
                  <a:lnTo>
                    <a:pt x="232" y="237"/>
                  </a:lnTo>
                  <a:lnTo>
                    <a:pt x="237" y="234"/>
                  </a:lnTo>
                  <a:lnTo>
                    <a:pt x="271" y="229"/>
                  </a:lnTo>
                  <a:lnTo>
                    <a:pt x="277" y="229"/>
                  </a:lnTo>
                  <a:lnTo>
                    <a:pt x="283" y="231"/>
                  </a:lnTo>
                  <a:lnTo>
                    <a:pt x="285" y="233"/>
                  </a:lnTo>
                  <a:lnTo>
                    <a:pt x="288" y="235"/>
                  </a:lnTo>
                  <a:lnTo>
                    <a:pt x="290" y="236"/>
                  </a:lnTo>
                  <a:lnTo>
                    <a:pt x="303" y="238"/>
                  </a:lnTo>
                  <a:lnTo>
                    <a:pt x="306" y="237"/>
                  </a:lnTo>
                  <a:lnTo>
                    <a:pt x="306" y="235"/>
                  </a:lnTo>
                  <a:lnTo>
                    <a:pt x="306" y="232"/>
                  </a:lnTo>
                  <a:lnTo>
                    <a:pt x="310" y="227"/>
                  </a:lnTo>
                  <a:lnTo>
                    <a:pt x="312" y="225"/>
                  </a:lnTo>
                  <a:lnTo>
                    <a:pt x="314" y="223"/>
                  </a:lnTo>
                  <a:lnTo>
                    <a:pt x="317" y="222"/>
                  </a:lnTo>
                  <a:lnTo>
                    <a:pt x="319" y="221"/>
                  </a:lnTo>
                  <a:lnTo>
                    <a:pt x="328" y="217"/>
                  </a:lnTo>
                  <a:lnTo>
                    <a:pt x="330" y="217"/>
                  </a:lnTo>
                  <a:lnTo>
                    <a:pt x="331" y="217"/>
                  </a:lnTo>
                  <a:lnTo>
                    <a:pt x="338" y="214"/>
                  </a:lnTo>
                  <a:lnTo>
                    <a:pt x="340" y="215"/>
                  </a:lnTo>
                  <a:lnTo>
                    <a:pt x="341" y="216"/>
                  </a:lnTo>
                  <a:lnTo>
                    <a:pt x="344" y="215"/>
                  </a:lnTo>
                  <a:lnTo>
                    <a:pt x="350" y="214"/>
                  </a:lnTo>
                  <a:lnTo>
                    <a:pt x="351" y="214"/>
                  </a:lnTo>
                  <a:lnTo>
                    <a:pt x="353" y="217"/>
                  </a:lnTo>
                  <a:lnTo>
                    <a:pt x="354" y="217"/>
                  </a:lnTo>
                  <a:lnTo>
                    <a:pt x="360" y="217"/>
                  </a:lnTo>
                  <a:lnTo>
                    <a:pt x="365" y="218"/>
                  </a:lnTo>
                  <a:lnTo>
                    <a:pt x="376" y="222"/>
                  </a:lnTo>
                  <a:lnTo>
                    <a:pt x="381" y="223"/>
                  </a:lnTo>
                  <a:lnTo>
                    <a:pt x="385" y="225"/>
                  </a:lnTo>
                  <a:lnTo>
                    <a:pt x="394" y="233"/>
                  </a:lnTo>
                  <a:lnTo>
                    <a:pt x="398" y="234"/>
                  </a:lnTo>
                  <a:lnTo>
                    <a:pt x="400" y="232"/>
                  </a:lnTo>
                  <a:lnTo>
                    <a:pt x="401" y="229"/>
                  </a:lnTo>
                  <a:lnTo>
                    <a:pt x="401" y="226"/>
                  </a:lnTo>
                  <a:lnTo>
                    <a:pt x="401" y="224"/>
                  </a:lnTo>
                  <a:lnTo>
                    <a:pt x="400" y="221"/>
                  </a:lnTo>
                  <a:lnTo>
                    <a:pt x="397" y="217"/>
                  </a:lnTo>
                  <a:lnTo>
                    <a:pt x="396" y="214"/>
                  </a:lnTo>
                  <a:lnTo>
                    <a:pt x="400" y="215"/>
                  </a:lnTo>
                  <a:lnTo>
                    <a:pt x="403" y="218"/>
                  </a:lnTo>
                  <a:lnTo>
                    <a:pt x="404" y="222"/>
                  </a:lnTo>
                  <a:lnTo>
                    <a:pt x="404" y="227"/>
                  </a:lnTo>
                  <a:lnTo>
                    <a:pt x="405" y="227"/>
                  </a:lnTo>
                  <a:lnTo>
                    <a:pt x="406" y="228"/>
                  </a:lnTo>
                  <a:lnTo>
                    <a:pt x="408" y="230"/>
                  </a:lnTo>
                  <a:lnTo>
                    <a:pt x="407" y="237"/>
                  </a:lnTo>
                  <a:lnTo>
                    <a:pt x="411" y="238"/>
                  </a:lnTo>
                  <a:lnTo>
                    <a:pt x="430" y="236"/>
                  </a:lnTo>
                  <a:lnTo>
                    <a:pt x="434" y="236"/>
                  </a:lnTo>
                  <a:lnTo>
                    <a:pt x="436" y="238"/>
                  </a:lnTo>
                  <a:lnTo>
                    <a:pt x="437" y="239"/>
                  </a:lnTo>
                  <a:lnTo>
                    <a:pt x="439" y="240"/>
                  </a:lnTo>
                  <a:lnTo>
                    <a:pt x="443" y="240"/>
                  </a:lnTo>
                  <a:lnTo>
                    <a:pt x="444" y="239"/>
                  </a:lnTo>
                  <a:lnTo>
                    <a:pt x="445" y="238"/>
                  </a:lnTo>
                  <a:lnTo>
                    <a:pt x="446" y="238"/>
                  </a:lnTo>
                  <a:lnTo>
                    <a:pt x="447" y="237"/>
                  </a:lnTo>
                  <a:lnTo>
                    <a:pt x="448" y="237"/>
                  </a:lnTo>
                  <a:lnTo>
                    <a:pt x="455" y="235"/>
                  </a:lnTo>
                  <a:lnTo>
                    <a:pt x="458" y="233"/>
                  </a:lnTo>
                  <a:lnTo>
                    <a:pt x="459" y="233"/>
                  </a:lnTo>
                  <a:lnTo>
                    <a:pt x="460" y="232"/>
                  </a:lnTo>
                  <a:lnTo>
                    <a:pt x="462" y="230"/>
                  </a:lnTo>
                  <a:lnTo>
                    <a:pt x="462" y="230"/>
                  </a:lnTo>
                  <a:lnTo>
                    <a:pt x="463" y="230"/>
                  </a:lnTo>
                  <a:lnTo>
                    <a:pt x="465" y="231"/>
                  </a:lnTo>
                  <a:lnTo>
                    <a:pt x="468" y="232"/>
                  </a:lnTo>
                  <a:lnTo>
                    <a:pt x="469" y="231"/>
                  </a:lnTo>
                  <a:lnTo>
                    <a:pt x="470" y="230"/>
                  </a:lnTo>
                  <a:lnTo>
                    <a:pt x="470" y="229"/>
                  </a:lnTo>
                  <a:lnTo>
                    <a:pt x="469" y="228"/>
                  </a:lnTo>
                  <a:lnTo>
                    <a:pt x="469" y="227"/>
                  </a:lnTo>
                  <a:lnTo>
                    <a:pt x="469" y="226"/>
                  </a:lnTo>
                  <a:lnTo>
                    <a:pt x="469" y="225"/>
                  </a:lnTo>
                  <a:lnTo>
                    <a:pt x="470" y="223"/>
                  </a:lnTo>
                  <a:lnTo>
                    <a:pt x="472" y="222"/>
                  </a:lnTo>
                  <a:lnTo>
                    <a:pt x="475" y="222"/>
                  </a:lnTo>
                  <a:lnTo>
                    <a:pt x="476" y="221"/>
                  </a:lnTo>
                  <a:lnTo>
                    <a:pt x="477" y="218"/>
                  </a:lnTo>
                  <a:lnTo>
                    <a:pt x="479" y="215"/>
                  </a:lnTo>
                  <a:lnTo>
                    <a:pt x="480" y="211"/>
                  </a:lnTo>
                  <a:lnTo>
                    <a:pt x="481" y="207"/>
                  </a:lnTo>
                  <a:lnTo>
                    <a:pt x="481" y="207"/>
                  </a:lnTo>
                  <a:lnTo>
                    <a:pt x="482" y="206"/>
                  </a:lnTo>
                  <a:lnTo>
                    <a:pt x="482" y="204"/>
                  </a:lnTo>
                  <a:lnTo>
                    <a:pt x="481" y="204"/>
                  </a:lnTo>
                  <a:lnTo>
                    <a:pt x="481" y="203"/>
                  </a:lnTo>
                  <a:lnTo>
                    <a:pt x="480" y="202"/>
                  </a:lnTo>
                  <a:lnTo>
                    <a:pt x="479" y="200"/>
                  </a:lnTo>
                  <a:lnTo>
                    <a:pt x="478" y="199"/>
                  </a:lnTo>
                  <a:lnTo>
                    <a:pt x="477" y="197"/>
                  </a:lnTo>
                  <a:lnTo>
                    <a:pt x="479" y="197"/>
                  </a:lnTo>
                  <a:lnTo>
                    <a:pt x="482" y="195"/>
                  </a:lnTo>
                  <a:lnTo>
                    <a:pt x="485" y="192"/>
                  </a:lnTo>
                  <a:lnTo>
                    <a:pt x="487" y="188"/>
                  </a:lnTo>
                  <a:lnTo>
                    <a:pt x="488" y="183"/>
                  </a:lnTo>
                  <a:lnTo>
                    <a:pt x="486" y="180"/>
                  </a:lnTo>
                  <a:lnTo>
                    <a:pt x="482" y="178"/>
                  </a:lnTo>
                  <a:lnTo>
                    <a:pt x="478" y="178"/>
                  </a:lnTo>
                  <a:lnTo>
                    <a:pt x="477" y="178"/>
                  </a:lnTo>
                  <a:lnTo>
                    <a:pt x="476" y="180"/>
                  </a:lnTo>
                  <a:lnTo>
                    <a:pt x="475" y="181"/>
                  </a:lnTo>
                  <a:lnTo>
                    <a:pt x="474" y="181"/>
                  </a:lnTo>
                  <a:lnTo>
                    <a:pt x="473" y="180"/>
                  </a:lnTo>
                  <a:lnTo>
                    <a:pt x="473" y="180"/>
                  </a:lnTo>
                  <a:lnTo>
                    <a:pt x="472" y="179"/>
                  </a:lnTo>
                  <a:lnTo>
                    <a:pt x="456" y="176"/>
                  </a:lnTo>
                  <a:lnTo>
                    <a:pt x="408" y="153"/>
                  </a:lnTo>
                  <a:lnTo>
                    <a:pt x="373" y="138"/>
                  </a:lnTo>
                  <a:lnTo>
                    <a:pt x="349" y="123"/>
                  </a:lnTo>
                  <a:lnTo>
                    <a:pt x="340" y="114"/>
                  </a:lnTo>
                  <a:lnTo>
                    <a:pt x="337" y="109"/>
                  </a:lnTo>
                  <a:lnTo>
                    <a:pt x="335" y="106"/>
                  </a:lnTo>
                  <a:lnTo>
                    <a:pt x="330" y="103"/>
                  </a:lnTo>
                  <a:lnTo>
                    <a:pt x="328" y="100"/>
                  </a:lnTo>
                  <a:lnTo>
                    <a:pt x="325" y="96"/>
                  </a:lnTo>
                  <a:lnTo>
                    <a:pt x="324" y="93"/>
                  </a:lnTo>
                  <a:lnTo>
                    <a:pt x="324" y="91"/>
                  </a:lnTo>
                  <a:lnTo>
                    <a:pt x="325" y="91"/>
                  </a:lnTo>
                  <a:lnTo>
                    <a:pt x="326" y="91"/>
                  </a:lnTo>
                  <a:lnTo>
                    <a:pt x="326" y="90"/>
                  </a:lnTo>
                  <a:lnTo>
                    <a:pt x="326" y="89"/>
                  </a:lnTo>
                  <a:lnTo>
                    <a:pt x="326" y="89"/>
                  </a:lnTo>
                  <a:lnTo>
                    <a:pt x="325" y="88"/>
                  </a:lnTo>
                  <a:lnTo>
                    <a:pt x="325" y="86"/>
                  </a:lnTo>
                  <a:lnTo>
                    <a:pt x="323" y="85"/>
                  </a:lnTo>
                  <a:lnTo>
                    <a:pt x="320" y="82"/>
                  </a:lnTo>
                  <a:lnTo>
                    <a:pt x="319" y="79"/>
                  </a:lnTo>
                  <a:lnTo>
                    <a:pt x="316" y="69"/>
                  </a:lnTo>
                  <a:lnTo>
                    <a:pt x="313" y="66"/>
                  </a:lnTo>
                  <a:lnTo>
                    <a:pt x="310" y="62"/>
                  </a:lnTo>
                  <a:lnTo>
                    <a:pt x="308" y="58"/>
                  </a:lnTo>
                  <a:lnTo>
                    <a:pt x="307" y="53"/>
                  </a:lnTo>
                  <a:lnTo>
                    <a:pt x="307" y="47"/>
                  </a:lnTo>
                  <a:lnTo>
                    <a:pt x="309" y="45"/>
                  </a:lnTo>
                  <a:lnTo>
                    <a:pt x="311" y="43"/>
                  </a:lnTo>
                  <a:lnTo>
                    <a:pt x="313" y="43"/>
                  </a:lnTo>
                  <a:lnTo>
                    <a:pt x="316" y="45"/>
                  </a:lnTo>
                  <a:lnTo>
                    <a:pt x="318" y="45"/>
                  </a:lnTo>
                  <a:lnTo>
                    <a:pt x="319" y="44"/>
                  </a:lnTo>
                  <a:lnTo>
                    <a:pt x="320" y="42"/>
                  </a:lnTo>
                  <a:lnTo>
                    <a:pt x="319" y="41"/>
                  </a:lnTo>
                  <a:lnTo>
                    <a:pt x="318" y="40"/>
                  </a:lnTo>
                  <a:lnTo>
                    <a:pt x="317" y="39"/>
                  </a:lnTo>
                  <a:lnTo>
                    <a:pt x="317" y="37"/>
                  </a:lnTo>
                  <a:lnTo>
                    <a:pt x="315" y="27"/>
                  </a:lnTo>
                  <a:lnTo>
                    <a:pt x="309" y="25"/>
                  </a:lnTo>
                  <a:lnTo>
                    <a:pt x="307" y="24"/>
                  </a:lnTo>
                  <a:lnTo>
                    <a:pt x="299" y="25"/>
                  </a:lnTo>
                  <a:lnTo>
                    <a:pt x="297" y="25"/>
                  </a:lnTo>
                  <a:lnTo>
                    <a:pt x="293" y="22"/>
                  </a:lnTo>
                  <a:lnTo>
                    <a:pt x="289" y="22"/>
                  </a:lnTo>
                  <a:lnTo>
                    <a:pt x="287" y="22"/>
                  </a:lnTo>
                  <a:lnTo>
                    <a:pt x="284" y="22"/>
                  </a:lnTo>
                  <a:lnTo>
                    <a:pt x="284" y="22"/>
                  </a:lnTo>
                  <a:lnTo>
                    <a:pt x="283" y="22"/>
                  </a:lnTo>
                  <a:lnTo>
                    <a:pt x="282" y="22"/>
                  </a:lnTo>
                  <a:lnTo>
                    <a:pt x="281" y="22"/>
                  </a:lnTo>
                  <a:lnTo>
                    <a:pt x="281" y="24"/>
                  </a:lnTo>
                  <a:lnTo>
                    <a:pt x="281" y="27"/>
                  </a:lnTo>
                  <a:lnTo>
                    <a:pt x="281" y="29"/>
                  </a:lnTo>
                  <a:lnTo>
                    <a:pt x="283" y="31"/>
                  </a:lnTo>
                  <a:lnTo>
                    <a:pt x="283" y="32"/>
                  </a:lnTo>
                  <a:lnTo>
                    <a:pt x="281" y="33"/>
                  </a:lnTo>
                  <a:lnTo>
                    <a:pt x="279" y="33"/>
                  </a:lnTo>
                  <a:lnTo>
                    <a:pt x="277" y="32"/>
                  </a:lnTo>
                  <a:lnTo>
                    <a:pt x="268" y="27"/>
                  </a:lnTo>
                  <a:lnTo>
                    <a:pt x="262" y="27"/>
                  </a:lnTo>
                  <a:lnTo>
                    <a:pt x="250" y="31"/>
                  </a:lnTo>
                  <a:lnTo>
                    <a:pt x="250" y="33"/>
                  </a:lnTo>
                  <a:lnTo>
                    <a:pt x="249" y="34"/>
                  </a:lnTo>
                  <a:lnTo>
                    <a:pt x="248" y="34"/>
                  </a:lnTo>
                  <a:lnTo>
                    <a:pt x="247" y="33"/>
                  </a:lnTo>
                  <a:lnTo>
                    <a:pt x="246" y="35"/>
                  </a:lnTo>
                  <a:lnTo>
                    <a:pt x="244" y="36"/>
                  </a:lnTo>
                  <a:lnTo>
                    <a:pt x="241" y="37"/>
                  </a:lnTo>
                  <a:lnTo>
                    <a:pt x="241" y="37"/>
                  </a:lnTo>
                  <a:lnTo>
                    <a:pt x="242" y="37"/>
                  </a:lnTo>
                  <a:lnTo>
                    <a:pt x="242" y="38"/>
                  </a:lnTo>
                  <a:lnTo>
                    <a:pt x="242" y="38"/>
                  </a:lnTo>
                  <a:lnTo>
                    <a:pt x="242" y="39"/>
                  </a:lnTo>
                  <a:lnTo>
                    <a:pt x="241" y="39"/>
                  </a:lnTo>
                  <a:lnTo>
                    <a:pt x="241" y="40"/>
                  </a:lnTo>
                  <a:lnTo>
                    <a:pt x="243" y="41"/>
                  </a:lnTo>
                  <a:lnTo>
                    <a:pt x="240" y="41"/>
                  </a:lnTo>
                  <a:lnTo>
                    <a:pt x="238" y="40"/>
                  </a:lnTo>
                  <a:lnTo>
                    <a:pt x="234" y="35"/>
                  </a:lnTo>
                  <a:lnTo>
                    <a:pt x="232" y="33"/>
                  </a:lnTo>
                  <a:lnTo>
                    <a:pt x="220" y="26"/>
                  </a:lnTo>
                  <a:lnTo>
                    <a:pt x="216" y="23"/>
                  </a:lnTo>
                  <a:lnTo>
                    <a:pt x="213" y="19"/>
                  </a:lnTo>
                  <a:lnTo>
                    <a:pt x="206" y="8"/>
                  </a:lnTo>
                  <a:lnTo>
                    <a:pt x="202" y="4"/>
                  </a:lnTo>
                  <a:lnTo>
                    <a:pt x="197" y="1"/>
                  </a:lnTo>
                  <a:lnTo>
                    <a:pt x="191" y="0"/>
                  </a:lnTo>
                  <a:lnTo>
                    <a:pt x="188" y="0"/>
                  </a:lnTo>
                  <a:lnTo>
                    <a:pt x="186" y="2"/>
                  </a:lnTo>
                  <a:lnTo>
                    <a:pt x="182" y="7"/>
                  </a:lnTo>
                  <a:lnTo>
                    <a:pt x="182" y="7"/>
                  </a:lnTo>
                  <a:lnTo>
                    <a:pt x="182" y="8"/>
                  </a:lnTo>
                  <a:lnTo>
                    <a:pt x="181" y="8"/>
                  </a:lnTo>
                  <a:lnTo>
                    <a:pt x="177" y="7"/>
                  </a:lnTo>
                  <a:lnTo>
                    <a:pt x="174" y="7"/>
                  </a:lnTo>
                  <a:lnTo>
                    <a:pt x="172" y="7"/>
                  </a:lnTo>
                  <a:lnTo>
                    <a:pt x="169" y="6"/>
                  </a:lnTo>
                  <a:lnTo>
                    <a:pt x="167" y="4"/>
                  </a:lnTo>
                  <a:lnTo>
                    <a:pt x="164" y="3"/>
                  </a:lnTo>
                  <a:lnTo>
                    <a:pt x="161" y="3"/>
                  </a:lnTo>
                  <a:lnTo>
                    <a:pt x="161" y="3"/>
                  </a:lnTo>
                  <a:lnTo>
                    <a:pt x="157" y="5"/>
                  </a:lnTo>
                  <a:lnTo>
                    <a:pt x="154" y="12"/>
                  </a:lnTo>
                  <a:lnTo>
                    <a:pt x="150" y="14"/>
                  </a:lnTo>
                  <a:lnTo>
                    <a:pt x="148" y="15"/>
                  </a:lnTo>
                  <a:lnTo>
                    <a:pt x="147" y="17"/>
                  </a:lnTo>
                  <a:lnTo>
                    <a:pt x="145" y="19"/>
                  </a:lnTo>
                  <a:lnTo>
                    <a:pt x="144" y="22"/>
                  </a:lnTo>
                  <a:lnTo>
                    <a:pt x="142" y="22"/>
                  </a:lnTo>
                  <a:lnTo>
                    <a:pt x="139" y="21"/>
                  </a:lnTo>
                  <a:lnTo>
                    <a:pt x="138" y="22"/>
                  </a:lnTo>
                  <a:lnTo>
                    <a:pt x="136" y="24"/>
                  </a:lnTo>
                  <a:lnTo>
                    <a:pt x="135" y="24"/>
                  </a:lnTo>
                  <a:lnTo>
                    <a:pt x="133" y="23"/>
                  </a:lnTo>
                  <a:lnTo>
                    <a:pt x="131" y="23"/>
                  </a:lnTo>
                  <a:lnTo>
                    <a:pt x="130" y="24"/>
                  </a:lnTo>
                  <a:lnTo>
                    <a:pt x="128" y="26"/>
                  </a:lnTo>
                  <a:lnTo>
                    <a:pt x="126" y="27"/>
                  </a:lnTo>
                  <a:lnTo>
                    <a:pt x="125" y="28"/>
                  </a:lnTo>
                  <a:lnTo>
                    <a:pt x="123" y="27"/>
                  </a:lnTo>
                  <a:lnTo>
                    <a:pt x="120" y="25"/>
                  </a:lnTo>
                  <a:lnTo>
                    <a:pt x="119" y="24"/>
                  </a:lnTo>
                  <a:lnTo>
                    <a:pt x="117" y="25"/>
                  </a:lnTo>
                  <a:lnTo>
                    <a:pt x="113" y="28"/>
                  </a:lnTo>
                  <a:lnTo>
                    <a:pt x="112" y="29"/>
                  </a:lnTo>
                  <a:lnTo>
                    <a:pt x="109" y="30"/>
                  </a:lnTo>
                  <a:lnTo>
                    <a:pt x="94" y="27"/>
                  </a:lnTo>
                  <a:lnTo>
                    <a:pt x="91" y="27"/>
                  </a:lnTo>
                  <a:lnTo>
                    <a:pt x="88" y="29"/>
                  </a:lnTo>
                  <a:lnTo>
                    <a:pt x="84" y="34"/>
                  </a:lnTo>
                  <a:lnTo>
                    <a:pt x="82" y="35"/>
                  </a:lnTo>
                  <a:lnTo>
                    <a:pt x="81" y="36"/>
                  </a:lnTo>
                  <a:lnTo>
                    <a:pt x="81" y="37"/>
                  </a:lnTo>
                  <a:lnTo>
                    <a:pt x="81" y="38"/>
                  </a:lnTo>
                  <a:lnTo>
                    <a:pt x="83" y="40"/>
                  </a:lnTo>
                  <a:lnTo>
                    <a:pt x="84" y="40"/>
                  </a:lnTo>
                  <a:lnTo>
                    <a:pt x="83" y="41"/>
                  </a:lnTo>
                  <a:lnTo>
                    <a:pt x="83" y="43"/>
                  </a:lnTo>
                  <a:lnTo>
                    <a:pt x="82" y="45"/>
                  </a:lnTo>
                  <a:lnTo>
                    <a:pt x="82" y="46"/>
                  </a:lnTo>
                  <a:lnTo>
                    <a:pt x="82" y="47"/>
                  </a:lnTo>
                  <a:lnTo>
                    <a:pt x="81" y="51"/>
                  </a:lnTo>
                  <a:lnTo>
                    <a:pt x="80" y="55"/>
                  </a:lnTo>
                  <a:lnTo>
                    <a:pt x="78" y="58"/>
                  </a:lnTo>
                  <a:lnTo>
                    <a:pt x="71" y="60"/>
                  </a:lnTo>
                  <a:lnTo>
                    <a:pt x="54" y="60"/>
                  </a:lnTo>
                  <a:lnTo>
                    <a:pt x="48" y="65"/>
                  </a:lnTo>
                  <a:lnTo>
                    <a:pt x="46" y="71"/>
                  </a:lnTo>
                  <a:lnTo>
                    <a:pt x="45" y="75"/>
                  </a:lnTo>
                  <a:lnTo>
                    <a:pt x="46" y="79"/>
                  </a:lnTo>
                  <a:lnTo>
                    <a:pt x="47" y="81"/>
                  </a:lnTo>
                  <a:lnTo>
                    <a:pt x="52" y="81"/>
                  </a:lnTo>
                  <a:lnTo>
                    <a:pt x="55" y="82"/>
                  </a:lnTo>
                  <a:lnTo>
                    <a:pt x="59" y="86"/>
                  </a:lnTo>
                  <a:lnTo>
                    <a:pt x="65" y="88"/>
                  </a:lnTo>
                  <a:lnTo>
                    <a:pt x="68" y="89"/>
                  </a:lnTo>
                  <a:lnTo>
                    <a:pt x="70" y="90"/>
                  </a:lnTo>
                  <a:lnTo>
                    <a:pt x="70" y="93"/>
                  </a:lnTo>
                  <a:lnTo>
                    <a:pt x="68" y="95"/>
                  </a:lnTo>
                  <a:lnTo>
                    <a:pt x="77" y="102"/>
                  </a:lnTo>
                  <a:lnTo>
                    <a:pt x="85" y="106"/>
                  </a:lnTo>
                  <a:lnTo>
                    <a:pt x="86" y="107"/>
                  </a:lnTo>
                  <a:lnTo>
                    <a:pt x="89" y="103"/>
                  </a:lnTo>
                  <a:lnTo>
                    <a:pt x="89" y="105"/>
                  </a:lnTo>
                  <a:lnTo>
                    <a:pt x="89" y="106"/>
                  </a:lnTo>
                  <a:lnTo>
                    <a:pt x="90" y="107"/>
                  </a:lnTo>
                  <a:lnTo>
                    <a:pt x="90" y="109"/>
                  </a:lnTo>
                  <a:lnTo>
                    <a:pt x="90" y="111"/>
                  </a:lnTo>
                  <a:lnTo>
                    <a:pt x="90" y="117"/>
                  </a:lnTo>
                  <a:lnTo>
                    <a:pt x="89" y="119"/>
                  </a:lnTo>
                  <a:lnTo>
                    <a:pt x="91" y="122"/>
                  </a:lnTo>
                  <a:lnTo>
                    <a:pt x="92" y="125"/>
                  </a:lnTo>
                  <a:lnTo>
                    <a:pt x="92" y="133"/>
                  </a:lnTo>
                  <a:lnTo>
                    <a:pt x="95" y="144"/>
                  </a:lnTo>
                  <a:lnTo>
                    <a:pt x="96" y="148"/>
                  </a:lnTo>
                  <a:lnTo>
                    <a:pt x="96" y="152"/>
                  </a:lnTo>
                  <a:lnTo>
                    <a:pt x="95" y="157"/>
                  </a:lnTo>
                  <a:lnTo>
                    <a:pt x="94" y="160"/>
                  </a:lnTo>
                  <a:lnTo>
                    <a:pt x="91" y="162"/>
                  </a:lnTo>
                  <a:lnTo>
                    <a:pt x="88" y="163"/>
                  </a:lnTo>
                  <a:lnTo>
                    <a:pt x="85" y="162"/>
                  </a:lnTo>
                  <a:lnTo>
                    <a:pt x="82" y="160"/>
                  </a:lnTo>
                  <a:lnTo>
                    <a:pt x="81" y="158"/>
                  </a:lnTo>
                  <a:lnTo>
                    <a:pt x="72" y="167"/>
                  </a:lnTo>
                  <a:lnTo>
                    <a:pt x="71" y="167"/>
                  </a:lnTo>
                  <a:lnTo>
                    <a:pt x="70" y="168"/>
                  </a:lnTo>
                  <a:lnTo>
                    <a:pt x="70" y="168"/>
                  </a:lnTo>
                  <a:lnTo>
                    <a:pt x="69" y="169"/>
                  </a:lnTo>
                  <a:lnTo>
                    <a:pt x="64" y="172"/>
                  </a:lnTo>
                  <a:lnTo>
                    <a:pt x="60" y="176"/>
                  </a:lnTo>
                  <a:lnTo>
                    <a:pt x="57" y="178"/>
                  </a:lnTo>
                  <a:lnTo>
                    <a:pt x="47" y="178"/>
                  </a:lnTo>
                  <a:lnTo>
                    <a:pt x="46" y="180"/>
                  </a:lnTo>
                  <a:lnTo>
                    <a:pt x="48" y="184"/>
                  </a:lnTo>
                  <a:lnTo>
                    <a:pt x="46" y="188"/>
                  </a:lnTo>
                  <a:lnTo>
                    <a:pt x="46" y="193"/>
                  </a:lnTo>
                  <a:lnTo>
                    <a:pt x="46" y="196"/>
                  </a:lnTo>
                  <a:lnTo>
                    <a:pt x="48" y="200"/>
                  </a:lnTo>
                  <a:lnTo>
                    <a:pt x="45" y="204"/>
                  </a:lnTo>
                  <a:lnTo>
                    <a:pt x="45" y="206"/>
                  </a:lnTo>
                  <a:lnTo>
                    <a:pt x="47" y="207"/>
                  </a:lnTo>
                  <a:lnTo>
                    <a:pt x="48" y="208"/>
                  </a:lnTo>
                  <a:lnTo>
                    <a:pt x="46" y="213"/>
                  </a:lnTo>
                  <a:lnTo>
                    <a:pt x="46" y="216"/>
                  </a:lnTo>
                  <a:lnTo>
                    <a:pt x="48" y="221"/>
                  </a:lnTo>
                  <a:lnTo>
                    <a:pt x="50" y="223"/>
                  </a:lnTo>
                  <a:lnTo>
                    <a:pt x="54" y="225"/>
                  </a:lnTo>
                  <a:lnTo>
                    <a:pt x="54" y="228"/>
                  </a:lnTo>
                  <a:lnTo>
                    <a:pt x="53" y="230"/>
                  </a:lnTo>
                  <a:lnTo>
                    <a:pt x="52" y="231"/>
                  </a:lnTo>
                  <a:lnTo>
                    <a:pt x="49" y="232"/>
                  </a:lnTo>
                  <a:lnTo>
                    <a:pt x="48" y="232"/>
                  </a:lnTo>
                  <a:lnTo>
                    <a:pt x="47" y="234"/>
                  </a:lnTo>
                  <a:lnTo>
                    <a:pt x="48" y="236"/>
                  </a:lnTo>
                  <a:lnTo>
                    <a:pt x="50" y="238"/>
                  </a:lnTo>
                  <a:lnTo>
                    <a:pt x="51" y="238"/>
                  </a:lnTo>
                  <a:lnTo>
                    <a:pt x="52" y="239"/>
                  </a:lnTo>
                  <a:lnTo>
                    <a:pt x="50" y="241"/>
                  </a:lnTo>
                  <a:lnTo>
                    <a:pt x="48" y="243"/>
                  </a:lnTo>
                  <a:lnTo>
                    <a:pt x="43" y="245"/>
                  </a:lnTo>
                  <a:lnTo>
                    <a:pt x="42" y="247"/>
                  </a:lnTo>
                  <a:lnTo>
                    <a:pt x="42" y="248"/>
                  </a:lnTo>
                  <a:lnTo>
                    <a:pt x="43" y="250"/>
                  </a:lnTo>
                  <a:lnTo>
                    <a:pt x="43" y="251"/>
                  </a:lnTo>
                  <a:lnTo>
                    <a:pt x="41" y="251"/>
                  </a:lnTo>
                  <a:lnTo>
                    <a:pt x="39" y="251"/>
                  </a:lnTo>
                  <a:lnTo>
                    <a:pt x="38" y="251"/>
                  </a:lnTo>
                  <a:lnTo>
                    <a:pt x="37" y="250"/>
                  </a:lnTo>
                  <a:lnTo>
                    <a:pt x="37" y="248"/>
                  </a:lnTo>
                  <a:lnTo>
                    <a:pt x="36" y="248"/>
                  </a:lnTo>
                  <a:lnTo>
                    <a:pt x="35" y="253"/>
                  </a:lnTo>
                  <a:lnTo>
                    <a:pt x="34" y="255"/>
                  </a:lnTo>
                  <a:lnTo>
                    <a:pt x="32" y="256"/>
                  </a:lnTo>
                  <a:lnTo>
                    <a:pt x="32" y="256"/>
                  </a:lnTo>
                  <a:lnTo>
                    <a:pt x="31" y="255"/>
                  </a:lnTo>
                  <a:lnTo>
                    <a:pt x="31" y="253"/>
                  </a:lnTo>
                  <a:lnTo>
                    <a:pt x="31" y="255"/>
                  </a:lnTo>
                  <a:lnTo>
                    <a:pt x="30" y="256"/>
                  </a:lnTo>
                  <a:lnTo>
                    <a:pt x="30" y="256"/>
                  </a:lnTo>
                  <a:lnTo>
                    <a:pt x="28" y="257"/>
                  </a:lnTo>
                  <a:lnTo>
                    <a:pt x="28" y="258"/>
                  </a:lnTo>
                  <a:lnTo>
                    <a:pt x="28" y="258"/>
                  </a:lnTo>
                  <a:lnTo>
                    <a:pt x="29" y="258"/>
                  </a:lnTo>
                  <a:lnTo>
                    <a:pt x="29" y="259"/>
                  </a:lnTo>
                  <a:lnTo>
                    <a:pt x="28" y="259"/>
                  </a:lnTo>
                  <a:lnTo>
                    <a:pt x="27" y="260"/>
                  </a:lnTo>
                  <a:lnTo>
                    <a:pt x="27" y="261"/>
                  </a:lnTo>
                  <a:lnTo>
                    <a:pt x="28" y="264"/>
                  </a:lnTo>
                  <a:lnTo>
                    <a:pt x="20" y="271"/>
                  </a:lnTo>
                  <a:lnTo>
                    <a:pt x="18" y="275"/>
                  </a:lnTo>
                  <a:lnTo>
                    <a:pt x="16" y="281"/>
                  </a:lnTo>
                  <a:lnTo>
                    <a:pt x="13" y="285"/>
                  </a:lnTo>
                  <a:lnTo>
                    <a:pt x="8" y="287"/>
                  </a:lnTo>
                  <a:lnTo>
                    <a:pt x="2" y="286"/>
                  </a:lnTo>
                  <a:lnTo>
                    <a:pt x="1" y="287"/>
                  </a:lnTo>
                  <a:lnTo>
                    <a:pt x="0" y="287"/>
                  </a:lnTo>
                  <a:lnTo>
                    <a:pt x="2" y="290"/>
                  </a:lnTo>
                  <a:lnTo>
                    <a:pt x="4" y="295"/>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26" name="Freeform 60">
              <a:extLst>
                <a:ext uri="{FF2B5EF4-FFF2-40B4-BE49-F238E27FC236}">
                  <a16:creationId xmlns:a16="http://schemas.microsoft.com/office/drawing/2014/main" id="{970F3540-383C-4461-BD49-3171A812F54A}"/>
                </a:ext>
              </a:extLst>
            </p:cNvPr>
            <p:cNvSpPr>
              <a:spLocks/>
            </p:cNvSpPr>
            <p:nvPr/>
          </p:nvSpPr>
          <p:spPr bwMode="gray">
            <a:xfrm>
              <a:off x="10771360" y="5915050"/>
              <a:ext cx="20568" cy="11219"/>
            </a:xfrm>
            <a:custGeom>
              <a:avLst/>
              <a:gdLst>
                <a:gd name="T0" fmla="*/ 24 w 33"/>
                <a:gd name="T1" fmla="*/ 11 h 18"/>
                <a:gd name="T2" fmla="*/ 30 w 33"/>
                <a:gd name="T3" fmla="*/ 10 h 18"/>
                <a:gd name="T4" fmla="*/ 33 w 33"/>
                <a:gd name="T5" fmla="*/ 8 h 18"/>
                <a:gd name="T6" fmla="*/ 32 w 33"/>
                <a:gd name="T7" fmla="*/ 4 h 18"/>
                <a:gd name="T8" fmla="*/ 28 w 33"/>
                <a:gd name="T9" fmla="*/ 2 h 18"/>
                <a:gd name="T10" fmla="*/ 23 w 33"/>
                <a:gd name="T11" fmla="*/ 2 h 18"/>
                <a:gd name="T12" fmla="*/ 21 w 33"/>
                <a:gd name="T13" fmla="*/ 2 h 18"/>
                <a:gd name="T14" fmla="*/ 17 w 33"/>
                <a:gd name="T15" fmla="*/ 0 h 18"/>
                <a:gd name="T16" fmla="*/ 12 w 33"/>
                <a:gd name="T17" fmla="*/ 0 h 18"/>
                <a:gd name="T18" fmla="*/ 8 w 33"/>
                <a:gd name="T19" fmla="*/ 2 h 18"/>
                <a:gd name="T20" fmla="*/ 5 w 33"/>
                <a:gd name="T21" fmla="*/ 3 h 18"/>
                <a:gd name="T22" fmla="*/ 4 w 33"/>
                <a:gd name="T23" fmla="*/ 1 h 18"/>
                <a:gd name="T24" fmla="*/ 3 w 33"/>
                <a:gd name="T25" fmla="*/ 1 h 18"/>
                <a:gd name="T26" fmla="*/ 2 w 33"/>
                <a:gd name="T27" fmla="*/ 2 h 18"/>
                <a:gd name="T28" fmla="*/ 1 w 33"/>
                <a:gd name="T29" fmla="*/ 3 h 18"/>
                <a:gd name="T30" fmla="*/ 0 w 33"/>
                <a:gd name="T31" fmla="*/ 5 h 18"/>
                <a:gd name="T32" fmla="*/ 1 w 33"/>
                <a:gd name="T33" fmla="*/ 7 h 18"/>
                <a:gd name="T34" fmla="*/ 2 w 33"/>
                <a:gd name="T35" fmla="*/ 8 h 18"/>
                <a:gd name="T36" fmla="*/ 1 w 33"/>
                <a:gd name="T37" fmla="*/ 13 h 18"/>
                <a:gd name="T38" fmla="*/ 4 w 33"/>
                <a:gd name="T39" fmla="*/ 15 h 18"/>
                <a:gd name="T40" fmla="*/ 7 w 33"/>
                <a:gd name="T41" fmla="*/ 17 h 18"/>
                <a:gd name="T42" fmla="*/ 9 w 33"/>
                <a:gd name="T43" fmla="*/ 17 h 18"/>
                <a:gd name="T44" fmla="*/ 12 w 33"/>
                <a:gd name="T45" fmla="*/ 18 h 18"/>
                <a:gd name="T46" fmla="*/ 15 w 33"/>
                <a:gd name="T47" fmla="*/ 17 h 18"/>
                <a:gd name="T48" fmla="*/ 21 w 33"/>
                <a:gd name="T49" fmla="*/ 12 h 18"/>
                <a:gd name="T50" fmla="*/ 24 w 33"/>
                <a:gd name="T5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 h="18">
                  <a:moveTo>
                    <a:pt x="24" y="11"/>
                  </a:moveTo>
                  <a:lnTo>
                    <a:pt x="30" y="10"/>
                  </a:lnTo>
                  <a:lnTo>
                    <a:pt x="33" y="8"/>
                  </a:lnTo>
                  <a:lnTo>
                    <a:pt x="32" y="4"/>
                  </a:lnTo>
                  <a:lnTo>
                    <a:pt x="28" y="2"/>
                  </a:lnTo>
                  <a:lnTo>
                    <a:pt x="23" y="2"/>
                  </a:lnTo>
                  <a:lnTo>
                    <a:pt x="21" y="2"/>
                  </a:lnTo>
                  <a:lnTo>
                    <a:pt x="17" y="0"/>
                  </a:lnTo>
                  <a:lnTo>
                    <a:pt x="12" y="0"/>
                  </a:lnTo>
                  <a:lnTo>
                    <a:pt x="8" y="2"/>
                  </a:lnTo>
                  <a:lnTo>
                    <a:pt x="5" y="3"/>
                  </a:lnTo>
                  <a:lnTo>
                    <a:pt x="4" y="1"/>
                  </a:lnTo>
                  <a:lnTo>
                    <a:pt x="3" y="1"/>
                  </a:lnTo>
                  <a:lnTo>
                    <a:pt x="2" y="2"/>
                  </a:lnTo>
                  <a:lnTo>
                    <a:pt x="1" y="3"/>
                  </a:lnTo>
                  <a:lnTo>
                    <a:pt x="0" y="5"/>
                  </a:lnTo>
                  <a:lnTo>
                    <a:pt x="1" y="7"/>
                  </a:lnTo>
                  <a:lnTo>
                    <a:pt x="2" y="8"/>
                  </a:lnTo>
                  <a:lnTo>
                    <a:pt x="1" y="13"/>
                  </a:lnTo>
                  <a:lnTo>
                    <a:pt x="4" y="15"/>
                  </a:lnTo>
                  <a:lnTo>
                    <a:pt x="7" y="17"/>
                  </a:lnTo>
                  <a:lnTo>
                    <a:pt x="9" y="17"/>
                  </a:lnTo>
                  <a:lnTo>
                    <a:pt x="12" y="18"/>
                  </a:lnTo>
                  <a:lnTo>
                    <a:pt x="15" y="17"/>
                  </a:lnTo>
                  <a:lnTo>
                    <a:pt x="21" y="12"/>
                  </a:lnTo>
                  <a:lnTo>
                    <a:pt x="24" y="11"/>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27" name="Freeform 61">
              <a:extLst>
                <a:ext uri="{FF2B5EF4-FFF2-40B4-BE49-F238E27FC236}">
                  <a16:creationId xmlns:a16="http://schemas.microsoft.com/office/drawing/2014/main" id="{2C35309E-FFB4-46AC-B646-6A619B787F99}"/>
                </a:ext>
              </a:extLst>
            </p:cNvPr>
            <p:cNvSpPr>
              <a:spLocks/>
            </p:cNvSpPr>
            <p:nvPr/>
          </p:nvSpPr>
          <p:spPr bwMode="gray">
            <a:xfrm>
              <a:off x="10776346" y="5935617"/>
              <a:ext cx="8103" cy="7479"/>
            </a:xfrm>
            <a:custGeom>
              <a:avLst/>
              <a:gdLst>
                <a:gd name="T0" fmla="*/ 10 w 13"/>
                <a:gd name="T1" fmla="*/ 4 h 12"/>
                <a:gd name="T2" fmla="*/ 10 w 13"/>
                <a:gd name="T3" fmla="*/ 2 h 12"/>
                <a:gd name="T4" fmla="*/ 5 w 13"/>
                <a:gd name="T5" fmla="*/ 0 h 12"/>
                <a:gd name="T6" fmla="*/ 3 w 13"/>
                <a:gd name="T7" fmla="*/ 2 h 12"/>
                <a:gd name="T8" fmla="*/ 2 w 13"/>
                <a:gd name="T9" fmla="*/ 4 h 12"/>
                <a:gd name="T10" fmla="*/ 0 w 13"/>
                <a:gd name="T11" fmla="*/ 6 h 12"/>
                <a:gd name="T12" fmla="*/ 1 w 13"/>
                <a:gd name="T13" fmla="*/ 8 h 12"/>
                <a:gd name="T14" fmla="*/ 3 w 13"/>
                <a:gd name="T15" fmla="*/ 10 h 12"/>
                <a:gd name="T16" fmla="*/ 6 w 13"/>
                <a:gd name="T17" fmla="*/ 10 h 12"/>
                <a:gd name="T18" fmla="*/ 9 w 13"/>
                <a:gd name="T19" fmla="*/ 11 h 12"/>
                <a:gd name="T20" fmla="*/ 11 w 13"/>
                <a:gd name="T21" fmla="*/ 12 h 12"/>
                <a:gd name="T22" fmla="*/ 12 w 13"/>
                <a:gd name="T23" fmla="*/ 12 h 12"/>
                <a:gd name="T24" fmla="*/ 13 w 13"/>
                <a:gd name="T25" fmla="*/ 10 h 12"/>
                <a:gd name="T26" fmla="*/ 12 w 13"/>
                <a:gd name="T27" fmla="*/ 9 h 12"/>
                <a:gd name="T28" fmla="*/ 11 w 13"/>
                <a:gd name="T29" fmla="*/ 9 h 12"/>
                <a:gd name="T30" fmla="*/ 9 w 13"/>
                <a:gd name="T31" fmla="*/ 8 h 12"/>
                <a:gd name="T32" fmla="*/ 9 w 13"/>
                <a:gd name="T33" fmla="*/ 6 h 12"/>
                <a:gd name="T34" fmla="*/ 10 w 13"/>
                <a:gd name="T35"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12">
                  <a:moveTo>
                    <a:pt x="10" y="4"/>
                  </a:moveTo>
                  <a:lnTo>
                    <a:pt x="10" y="2"/>
                  </a:lnTo>
                  <a:lnTo>
                    <a:pt x="5" y="0"/>
                  </a:lnTo>
                  <a:lnTo>
                    <a:pt x="3" y="2"/>
                  </a:lnTo>
                  <a:lnTo>
                    <a:pt x="2" y="4"/>
                  </a:lnTo>
                  <a:lnTo>
                    <a:pt x="0" y="6"/>
                  </a:lnTo>
                  <a:lnTo>
                    <a:pt x="1" y="8"/>
                  </a:lnTo>
                  <a:lnTo>
                    <a:pt x="3" y="10"/>
                  </a:lnTo>
                  <a:lnTo>
                    <a:pt x="6" y="10"/>
                  </a:lnTo>
                  <a:lnTo>
                    <a:pt x="9" y="11"/>
                  </a:lnTo>
                  <a:lnTo>
                    <a:pt x="11" y="12"/>
                  </a:lnTo>
                  <a:lnTo>
                    <a:pt x="12" y="12"/>
                  </a:lnTo>
                  <a:lnTo>
                    <a:pt x="13" y="10"/>
                  </a:lnTo>
                  <a:lnTo>
                    <a:pt x="12" y="9"/>
                  </a:lnTo>
                  <a:lnTo>
                    <a:pt x="11" y="9"/>
                  </a:lnTo>
                  <a:lnTo>
                    <a:pt x="9" y="8"/>
                  </a:lnTo>
                  <a:lnTo>
                    <a:pt x="9" y="6"/>
                  </a:lnTo>
                  <a:lnTo>
                    <a:pt x="10" y="4"/>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28" name="Freeform 62">
              <a:extLst>
                <a:ext uri="{FF2B5EF4-FFF2-40B4-BE49-F238E27FC236}">
                  <a16:creationId xmlns:a16="http://schemas.microsoft.com/office/drawing/2014/main" id="{72E0C26A-1D3B-497F-A38C-0D19FF5718A0}"/>
                </a:ext>
              </a:extLst>
            </p:cNvPr>
            <p:cNvSpPr>
              <a:spLocks/>
            </p:cNvSpPr>
            <p:nvPr/>
          </p:nvSpPr>
          <p:spPr bwMode="gray">
            <a:xfrm>
              <a:off x="10618039" y="6020380"/>
              <a:ext cx="10596" cy="8102"/>
            </a:xfrm>
            <a:custGeom>
              <a:avLst/>
              <a:gdLst>
                <a:gd name="T0" fmla="*/ 17 w 17"/>
                <a:gd name="T1" fmla="*/ 10 h 13"/>
                <a:gd name="T2" fmla="*/ 17 w 17"/>
                <a:gd name="T3" fmla="*/ 3 h 13"/>
                <a:gd name="T4" fmla="*/ 16 w 17"/>
                <a:gd name="T5" fmla="*/ 1 h 13"/>
                <a:gd name="T6" fmla="*/ 13 w 17"/>
                <a:gd name="T7" fmla="*/ 2 h 13"/>
                <a:gd name="T8" fmla="*/ 12 w 17"/>
                <a:gd name="T9" fmla="*/ 1 h 13"/>
                <a:gd name="T10" fmla="*/ 12 w 17"/>
                <a:gd name="T11" fmla="*/ 1 h 13"/>
                <a:gd name="T12" fmla="*/ 11 w 17"/>
                <a:gd name="T13" fmla="*/ 1 h 13"/>
                <a:gd name="T14" fmla="*/ 10 w 17"/>
                <a:gd name="T15" fmla="*/ 1 h 13"/>
                <a:gd name="T16" fmla="*/ 4 w 17"/>
                <a:gd name="T17" fmla="*/ 0 h 13"/>
                <a:gd name="T18" fmla="*/ 2 w 17"/>
                <a:gd name="T19" fmla="*/ 1 h 13"/>
                <a:gd name="T20" fmla="*/ 0 w 17"/>
                <a:gd name="T21" fmla="*/ 3 h 13"/>
                <a:gd name="T22" fmla="*/ 1 w 17"/>
                <a:gd name="T23" fmla="*/ 5 h 13"/>
                <a:gd name="T24" fmla="*/ 3 w 17"/>
                <a:gd name="T25" fmla="*/ 7 h 13"/>
                <a:gd name="T26" fmla="*/ 8 w 17"/>
                <a:gd name="T27" fmla="*/ 9 h 13"/>
                <a:gd name="T28" fmla="*/ 13 w 17"/>
                <a:gd name="T29" fmla="*/ 13 h 13"/>
                <a:gd name="T30" fmla="*/ 16 w 17"/>
                <a:gd name="T31" fmla="*/ 13 h 13"/>
                <a:gd name="T32" fmla="*/ 17 w 17"/>
                <a:gd name="T33"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3">
                  <a:moveTo>
                    <a:pt x="17" y="10"/>
                  </a:moveTo>
                  <a:lnTo>
                    <a:pt x="17" y="3"/>
                  </a:lnTo>
                  <a:lnTo>
                    <a:pt x="16" y="1"/>
                  </a:lnTo>
                  <a:lnTo>
                    <a:pt x="13" y="2"/>
                  </a:lnTo>
                  <a:lnTo>
                    <a:pt x="12" y="1"/>
                  </a:lnTo>
                  <a:lnTo>
                    <a:pt x="12" y="1"/>
                  </a:lnTo>
                  <a:lnTo>
                    <a:pt x="11" y="1"/>
                  </a:lnTo>
                  <a:lnTo>
                    <a:pt x="10" y="1"/>
                  </a:lnTo>
                  <a:lnTo>
                    <a:pt x="4" y="0"/>
                  </a:lnTo>
                  <a:lnTo>
                    <a:pt x="2" y="1"/>
                  </a:lnTo>
                  <a:lnTo>
                    <a:pt x="0" y="3"/>
                  </a:lnTo>
                  <a:lnTo>
                    <a:pt x="1" y="5"/>
                  </a:lnTo>
                  <a:lnTo>
                    <a:pt x="3" y="7"/>
                  </a:lnTo>
                  <a:lnTo>
                    <a:pt x="8" y="9"/>
                  </a:lnTo>
                  <a:lnTo>
                    <a:pt x="13" y="13"/>
                  </a:lnTo>
                  <a:lnTo>
                    <a:pt x="16" y="13"/>
                  </a:lnTo>
                  <a:lnTo>
                    <a:pt x="17" y="10"/>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29" name="Freeform 63">
              <a:extLst>
                <a:ext uri="{FF2B5EF4-FFF2-40B4-BE49-F238E27FC236}">
                  <a16:creationId xmlns:a16="http://schemas.microsoft.com/office/drawing/2014/main" id="{B2E8796E-8C7C-4DB9-8F20-094EBDE8D808}"/>
                </a:ext>
              </a:extLst>
            </p:cNvPr>
            <p:cNvSpPr>
              <a:spLocks/>
            </p:cNvSpPr>
            <p:nvPr/>
          </p:nvSpPr>
          <p:spPr bwMode="gray">
            <a:xfrm>
              <a:off x="10586876" y="5969273"/>
              <a:ext cx="34902" cy="19321"/>
            </a:xfrm>
            <a:custGeom>
              <a:avLst/>
              <a:gdLst>
                <a:gd name="T0" fmla="*/ 56 w 56"/>
                <a:gd name="T1" fmla="*/ 20 h 31"/>
                <a:gd name="T2" fmla="*/ 56 w 56"/>
                <a:gd name="T3" fmla="*/ 16 h 31"/>
                <a:gd name="T4" fmla="*/ 55 w 56"/>
                <a:gd name="T5" fmla="*/ 16 h 31"/>
                <a:gd name="T6" fmla="*/ 52 w 56"/>
                <a:gd name="T7" fmla="*/ 18 h 31"/>
                <a:gd name="T8" fmla="*/ 49 w 56"/>
                <a:gd name="T9" fmla="*/ 19 h 31"/>
                <a:gd name="T10" fmla="*/ 48 w 56"/>
                <a:gd name="T11" fmla="*/ 18 h 31"/>
                <a:gd name="T12" fmla="*/ 49 w 56"/>
                <a:gd name="T13" fmla="*/ 15 h 31"/>
                <a:gd name="T14" fmla="*/ 48 w 56"/>
                <a:gd name="T15" fmla="*/ 14 h 31"/>
                <a:gd name="T16" fmla="*/ 48 w 56"/>
                <a:gd name="T17" fmla="*/ 11 h 31"/>
                <a:gd name="T18" fmla="*/ 49 w 56"/>
                <a:gd name="T19" fmla="*/ 8 h 31"/>
                <a:gd name="T20" fmla="*/ 49 w 56"/>
                <a:gd name="T21" fmla="*/ 6 h 31"/>
                <a:gd name="T22" fmla="*/ 49 w 56"/>
                <a:gd name="T23" fmla="*/ 5 h 31"/>
                <a:gd name="T24" fmla="*/ 47 w 56"/>
                <a:gd name="T25" fmla="*/ 4 h 31"/>
                <a:gd name="T26" fmla="*/ 46 w 56"/>
                <a:gd name="T27" fmla="*/ 3 h 31"/>
                <a:gd name="T28" fmla="*/ 45 w 56"/>
                <a:gd name="T29" fmla="*/ 2 h 31"/>
                <a:gd name="T30" fmla="*/ 44 w 56"/>
                <a:gd name="T31" fmla="*/ 1 h 31"/>
                <a:gd name="T32" fmla="*/ 42 w 56"/>
                <a:gd name="T33" fmla="*/ 0 h 31"/>
                <a:gd name="T34" fmla="*/ 40 w 56"/>
                <a:gd name="T35" fmla="*/ 1 h 31"/>
                <a:gd name="T36" fmla="*/ 26 w 56"/>
                <a:gd name="T37" fmla="*/ 6 h 31"/>
                <a:gd name="T38" fmla="*/ 15 w 56"/>
                <a:gd name="T39" fmla="*/ 8 h 31"/>
                <a:gd name="T40" fmla="*/ 9 w 56"/>
                <a:gd name="T41" fmla="*/ 12 h 31"/>
                <a:gd name="T42" fmla="*/ 4 w 56"/>
                <a:gd name="T43" fmla="*/ 18 h 31"/>
                <a:gd name="T44" fmla="*/ 0 w 56"/>
                <a:gd name="T45" fmla="*/ 24 h 31"/>
                <a:gd name="T46" fmla="*/ 0 w 56"/>
                <a:gd name="T47" fmla="*/ 25 h 31"/>
                <a:gd name="T48" fmla="*/ 7 w 56"/>
                <a:gd name="T49" fmla="*/ 27 h 31"/>
                <a:gd name="T50" fmla="*/ 8 w 56"/>
                <a:gd name="T51" fmla="*/ 28 h 31"/>
                <a:gd name="T52" fmla="*/ 9 w 56"/>
                <a:gd name="T53" fmla="*/ 29 h 31"/>
                <a:gd name="T54" fmla="*/ 13 w 56"/>
                <a:gd name="T55" fmla="*/ 30 h 31"/>
                <a:gd name="T56" fmla="*/ 17 w 56"/>
                <a:gd name="T57" fmla="*/ 31 h 31"/>
                <a:gd name="T58" fmla="*/ 31 w 56"/>
                <a:gd name="T59" fmla="*/ 29 h 31"/>
                <a:gd name="T60" fmla="*/ 38 w 56"/>
                <a:gd name="T61" fmla="*/ 25 h 31"/>
                <a:gd name="T62" fmla="*/ 48 w 56"/>
                <a:gd name="T63" fmla="*/ 24 h 31"/>
                <a:gd name="T64" fmla="*/ 52 w 56"/>
                <a:gd name="T65" fmla="*/ 23 h 31"/>
                <a:gd name="T66" fmla="*/ 56 w 56"/>
                <a:gd name="T6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 h="31">
                  <a:moveTo>
                    <a:pt x="56" y="20"/>
                  </a:moveTo>
                  <a:lnTo>
                    <a:pt x="56" y="16"/>
                  </a:lnTo>
                  <a:lnTo>
                    <a:pt x="55" y="16"/>
                  </a:lnTo>
                  <a:lnTo>
                    <a:pt x="52" y="18"/>
                  </a:lnTo>
                  <a:lnTo>
                    <a:pt x="49" y="19"/>
                  </a:lnTo>
                  <a:lnTo>
                    <a:pt x="48" y="18"/>
                  </a:lnTo>
                  <a:lnTo>
                    <a:pt x="49" y="15"/>
                  </a:lnTo>
                  <a:lnTo>
                    <a:pt x="48" y="14"/>
                  </a:lnTo>
                  <a:lnTo>
                    <a:pt x="48" y="11"/>
                  </a:lnTo>
                  <a:lnTo>
                    <a:pt x="49" y="8"/>
                  </a:lnTo>
                  <a:lnTo>
                    <a:pt x="49" y="6"/>
                  </a:lnTo>
                  <a:lnTo>
                    <a:pt x="49" y="5"/>
                  </a:lnTo>
                  <a:lnTo>
                    <a:pt x="47" y="4"/>
                  </a:lnTo>
                  <a:lnTo>
                    <a:pt x="46" y="3"/>
                  </a:lnTo>
                  <a:lnTo>
                    <a:pt x="45" y="2"/>
                  </a:lnTo>
                  <a:lnTo>
                    <a:pt x="44" y="1"/>
                  </a:lnTo>
                  <a:lnTo>
                    <a:pt x="42" y="0"/>
                  </a:lnTo>
                  <a:lnTo>
                    <a:pt x="40" y="1"/>
                  </a:lnTo>
                  <a:lnTo>
                    <a:pt x="26" y="6"/>
                  </a:lnTo>
                  <a:lnTo>
                    <a:pt x="15" y="8"/>
                  </a:lnTo>
                  <a:lnTo>
                    <a:pt x="9" y="12"/>
                  </a:lnTo>
                  <a:lnTo>
                    <a:pt x="4" y="18"/>
                  </a:lnTo>
                  <a:lnTo>
                    <a:pt x="0" y="24"/>
                  </a:lnTo>
                  <a:lnTo>
                    <a:pt x="0" y="25"/>
                  </a:lnTo>
                  <a:lnTo>
                    <a:pt x="7" y="27"/>
                  </a:lnTo>
                  <a:lnTo>
                    <a:pt x="8" y="28"/>
                  </a:lnTo>
                  <a:lnTo>
                    <a:pt x="9" y="29"/>
                  </a:lnTo>
                  <a:lnTo>
                    <a:pt x="13" y="30"/>
                  </a:lnTo>
                  <a:lnTo>
                    <a:pt x="17" y="31"/>
                  </a:lnTo>
                  <a:lnTo>
                    <a:pt x="31" y="29"/>
                  </a:lnTo>
                  <a:lnTo>
                    <a:pt x="38" y="25"/>
                  </a:lnTo>
                  <a:lnTo>
                    <a:pt x="48" y="24"/>
                  </a:lnTo>
                  <a:lnTo>
                    <a:pt x="52" y="23"/>
                  </a:lnTo>
                  <a:lnTo>
                    <a:pt x="56" y="20"/>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30" name="Freeform 64">
              <a:extLst>
                <a:ext uri="{FF2B5EF4-FFF2-40B4-BE49-F238E27FC236}">
                  <a16:creationId xmlns:a16="http://schemas.microsoft.com/office/drawing/2014/main" id="{19B0DDEB-BA45-446A-A62B-31C732CE0C3F}"/>
                </a:ext>
              </a:extLst>
            </p:cNvPr>
            <p:cNvSpPr>
              <a:spLocks/>
            </p:cNvSpPr>
            <p:nvPr/>
          </p:nvSpPr>
          <p:spPr bwMode="gray">
            <a:xfrm>
              <a:off x="10871704" y="2799391"/>
              <a:ext cx="18075" cy="17451"/>
            </a:xfrm>
            <a:custGeom>
              <a:avLst/>
              <a:gdLst>
                <a:gd name="T0" fmla="*/ 28 w 29"/>
                <a:gd name="T1" fmla="*/ 21 h 28"/>
                <a:gd name="T2" fmla="*/ 29 w 29"/>
                <a:gd name="T3" fmla="*/ 20 h 28"/>
                <a:gd name="T4" fmla="*/ 28 w 29"/>
                <a:gd name="T5" fmla="*/ 18 h 28"/>
                <a:gd name="T6" fmla="*/ 27 w 29"/>
                <a:gd name="T7" fmla="*/ 17 h 28"/>
                <a:gd name="T8" fmla="*/ 23 w 29"/>
                <a:gd name="T9" fmla="*/ 16 h 28"/>
                <a:gd name="T10" fmla="*/ 13 w 29"/>
                <a:gd name="T11" fmla="*/ 6 h 28"/>
                <a:gd name="T12" fmla="*/ 11 w 29"/>
                <a:gd name="T13" fmla="*/ 4 h 28"/>
                <a:gd name="T14" fmla="*/ 10 w 29"/>
                <a:gd name="T15" fmla="*/ 3 h 28"/>
                <a:gd name="T16" fmla="*/ 8 w 29"/>
                <a:gd name="T17" fmla="*/ 3 h 28"/>
                <a:gd name="T18" fmla="*/ 7 w 29"/>
                <a:gd name="T19" fmla="*/ 3 h 28"/>
                <a:gd name="T20" fmla="*/ 6 w 29"/>
                <a:gd name="T21" fmla="*/ 0 h 28"/>
                <a:gd name="T22" fmla="*/ 6 w 29"/>
                <a:gd name="T23" fmla="*/ 0 h 28"/>
                <a:gd name="T24" fmla="*/ 4 w 29"/>
                <a:gd name="T25" fmla="*/ 2 h 28"/>
                <a:gd name="T26" fmla="*/ 2 w 29"/>
                <a:gd name="T27" fmla="*/ 1 h 28"/>
                <a:gd name="T28" fmla="*/ 1 w 29"/>
                <a:gd name="T29" fmla="*/ 0 h 28"/>
                <a:gd name="T30" fmla="*/ 0 w 29"/>
                <a:gd name="T31" fmla="*/ 1 h 28"/>
                <a:gd name="T32" fmla="*/ 1 w 29"/>
                <a:gd name="T33" fmla="*/ 3 h 28"/>
                <a:gd name="T34" fmla="*/ 1 w 29"/>
                <a:gd name="T35" fmla="*/ 5 h 28"/>
                <a:gd name="T36" fmla="*/ 1 w 29"/>
                <a:gd name="T37" fmla="*/ 7 h 28"/>
                <a:gd name="T38" fmla="*/ 1 w 29"/>
                <a:gd name="T39" fmla="*/ 11 h 28"/>
                <a:gd name="T40" fmla="*/ 1 w 29"/>
                <a:gd name="T41" fmla="*/ 15 h 28"/>
                <a:gd name="T42" fmla="*/ 5 w 29"/>
                <a:gd name="T43" fmla="*/ 18 h 28"/>
                <a:gd name="T44" fmla="*/ 13 w 29"/>
                <a:gd name="T45" fmla="*/ 26 h 28"/>
                <a:gd name="T46" fmla="*/ 17 w 29"/>
                <a:gd name="T47" fmla="*/ 27 h 28"/>
                <a:gd name="T48" fmla="*/ 19 w 29"/>
                <a:gd name="T49" fmla="*/ 27 h 28"/>
                <a:gd name="T50" fmla="*/ 21 w 29"/>
                <a:gd name="T51" fmla="*/ 27 h 28"/>
                <a:gd name="T52" fmla="*/ 24 w 29"/>
                <a:gd name="T53" fmla="*/ 28 h 28"/>
                <a:gd name="T54" fmla="*/ 25 w 29"/>
                <a:gd name="T55" fmla="*/ 27 h 28"/>
                <a:gd name="T56" fmla="*/ 25 w 29"/>
                <a:gd name="T57" fmla="*/ 25 h 28"/>
                <a:gd name="T58" fmla="*/ 26 w 29"/>
                <a:gd name="T59" fmla="*/ 22 h 28"/>
                <a:gd name="T60" fmla="*/ 28 w 29"/>
                <a:gd name="T61" fmla="*/ 2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28">
                  <a:moveTo>
                    <a:pt x="28" y="21"/>
                  </a:moveTo>
                  <a:lnTo>
                    <a:pt x="29" y="20"/>
                  </a:lnTo>
                  <a:lnTo>
                    <a:pt x="28" y="18"/>
                  </a:lnTo>
                  <a:lnTo>
                    <a:pt x="27" y="17"/>
                  </a:lnTo>
                  <a:lnTo>
                    <a:pt x="23" y="16"/>
                  </a:lnTo>
                  <a:lnTo>
                    <a:pt x="13" y="6"/>
                  </a:lnTo>
                  <a:lnTo>
                    <a:pt x="11" y="4"/>
                  </a:lnTo>
                  <a:lnTo>
                    <a:pt x="10" y="3"/>
                  </a:lnTo>
                  <a:lnTo>
                    <a:pt x="8" y="3"/>
                  </a:lnTo>
                  <a:lnTo>
                    <a:pt x="7" y="3"/>
                  </a:lnTo>
                  <a:lnTo>
                    <a:pt x="6" y="0"/>
                  </a:lnTo>
                  <a:lnTo>
                    <a:pt x="6" y="0"/>
                  </a:lnTo>
                  <a:lnTo>
                    <a:pt x="4" y="2"/>
                  </a:lnTo>
                  <a:lnTo>
                    <a:pt x="2" y="1"/>
                  </a:lnTo>
                  <a:lnTo>
                    <a:pt x="1" y="0"/>
                  </a:lnTo>
                  <a:lnTo>
                    <a:pt x="0" y="1"/>
                  </a:lnTo>
                  <a:lnTo>
                    <a:pt x="1" y="3"/>
                  </a:lnTo>
                  <a:lnTo>
                    <a:pt x="1" y="5"/>
                  </a:lnTo>
                  <a:lnTo>
                    <a:pt x="1" y="7"/>
                  </a:lnTo>
                  <a:lnTo>
                    <a:pt x="1" y="11"/>
                  </a:lnTo>
                  <a:lnTo>
                    <a:pt x="1" y="15"/>
                  </a:lnTo>
                  <a:lnTo>
                    <a:pt x="5" y="18"/>
                  </a:lnTo>
                  <a:lnTo>
                    <a:pt x="13" y="26"/>
                  </a:lnTo>
                  <a:lnTo>
                    <a:pt x="17" y="27"/>
                  </a:lnTo>
                  <a:lnTo>
                    <a:pt x="19" y="27"/>
                  </a:lnTo>
                  <a:lnTo>
                    <a:pt x="21" y="27"/>
                  </a:lnTo>
                  <a:lnTo>
                    <a:pt x="24" y="28"/>
                  </a:lnTo>
                  <a:lnTo>
                    <a:pt x="25" y="27"/>
                  </a:lnTo>
                  <a:lnTo>
                    <a:pt x="25" y="25"/>
                  </a:lnTo>
                  <a:lnTo>
                    <a:pt x="26" y="22"/>
                  </a:lnTo>
                  <a:lnTo>
                    <a:pt x="28" y="21"/>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31" name="Freeform 65">
              <a:extLst>
                <a:ext uri="{FF2B5EF4-FFF2-40B4-BE49-F238E27FC236}">
                  <a16:creationId xmlns:a16="http://schemas.microsoft.com/office/drawing/2014/main" id="{30237E04-7A3B-4CCB-8975-B56F1888E7BB}"/>
                </a:ext>
              </a:extLst>
            </p:cNvPr>
            <p:cNvSpPr>
              <a:spLocks/>
            </p:cNvSpPr>
            <p:nvPr/>
          </p:nvSpPr>
          <p:spPr bwMode="gray">
            <a:xfrm>
              <a:off x="10982021" y="2863586"/>
              <a:ext cx="14335" cy="9972"/>
            </a:xfrm>
            <a:custGeom>
              <a:avLst/>
              <a:gdLst>
                <a:gd name="T0" fmla="*/ 12 w 23"/>
                <a:gd name="T1" fmla="*/ 8 h 16"/>
                <a:gd name="T2" fmla="*/ 12 w 23"/>
                <a:gd name="T3" fmla="*/ 10 h 16"/>
                <a:gd name="T4" fmla="*/ 21 w 23"/>
                <a:gd name="T5" fmla="*/ 16 h 16"/>
                <a:gd name="T6" fmla="*/ 22 w 23"/>
                <a:gd name="T7" fmla="*/ 15 h 16"/>
                <a:gd name="T8" fmla="*/ 22 w 23"/>
                <a:gd name="T9" fmla="*/ 14 h 16"/>
                <a:gd name="T10" fmla="*/ 23 w 23"/>
                <a:gd name="T11" fmla="*/ 13 h 16"/>
                <a:gd name="T12" fmla="*/ 23 w 23"/>
                <a:gd name="T13" fmla="*/ 11 h 16"/>
                <a:gd name="T14" fmla="*/ 21 w 23"/>
                <a:gd name="T15" fmla="*/ 10 h 16"/>
                <a:gd name="T16" fmla="*/ 21 w 23"/>
                <a:gd name="T17" fmla="*/ 9 h 16"/>
                <a:gd name="T18" fmla="*/ 9 w 23"/>
                <a:gd name="T19" fmla="*/ 1 h 16"/>
                <a:gd name="T20" fmla="*/ 2 w 23"/>
                <a:gd name="T21" fmla="*/ 0 h 16"/>
                <a:gd name="T22" fmla="*/ 0 w 23"/>
                <a:gd name="T23" fmla="*/ 0 h 16"/>
                <a:gd name="T24" fmla="*/ 7 w 23"/>
                <a:gd name="T25" fmla="*/ 5 h 16"/>
                <a:gd name="T26" fmla="*/ 9 w 23"/>
                <a:gd name="T27" fmla="*/ 6 h 16"/>
                <a:gd name="T28" fmla="*/ 12 w 23"/>
                <a:gd name="T29"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6">
                  <a:moveTo>
                    <a:pt x="12" y="8"/>
                  </a:moveTo>
                  <a:lnTo>
                    <a:pt x="12" y="10"/>
                  </a:lnTo>
                  <a:lnTo>
                    <a:pt x="21" y="16"/>
                  </a:lnTo>
                  <a:lnTo>
                    <a:pt x="22" y="15"/>
                  </a:lnTo>
                  <a:lnTo>
                    <a:pt x="22" y="14"/>
                  </a:lnTo>
                  <a:lnTo>
                    <a:pt x="23" y="13"/>
                  </a:lnTo>
                  <a:lnTo>
                    <a:pt x="23" y="11"/>
                  </a:lnTo>
                  <a:lnTo>
                    <a:pt x="21" y="10"/>
                  </a:lnTo>
                  <a:lnTo>
                    <a:pt x="21" y="9"/>
                  </a:lnTo>
                  <a:lnTo>
                    <a:pt x="9" y="1"/>
                  </a:lnTo>
                  <a:lnTo>
                    <a:pt x="2" y="0"/>
                  </a:lnTo>
                  <a:lnTo>
                    <a:pt x="0" y="0"/>
                  </a:lnTo>
                  <a:lnTo>
                    <a:pt x="7" y="5"/>
                  </a:lnTo>
                  <a:lnTo>
                    <a:pt x="9" y="6"/>
                  </a:lnTo>
                  <a:lnTo>
                    <a:pt x="12" y="8"/>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32" name="Freeform 66">
              <a:extLst>
                <a:ext uri="{FF2B5EF4-FFF2-40B4-BE49-F238E27FC236}">
                  <a16:creationId xmlns:a16="http://schemas.microsoft.com/office/drawing/2014/main" id="{84123CB0-CE78-40E8-843F-8FC24A149DA7}"/>
                </a:ext>
              </a:extLst>
            </p:cNvPr>
            <p:cNvSpPr>
              <a:spLocks/>
            </p:cNvSpPr>
            <p:nvPr/>
          </p:nvSpPr>
          <p:spPr bwMode="gray">
            <a:xfrm>
              <a:off x="10860485" y="2795652"/>
              <a:ext cx="9349" cy="11219"/>
            </a:xfrm>
            <a:custGeom>
              <a:avLst/>
              <a:gdLst>
                <a:gd name="T0" fmla="*/ 4 w 15"/>
                <a:gd name="T1" fmla="*/ 9 h 18"/>
                <a:gd name="T2" fmla="*/ 5 w 15"/>
                <a:gd name="T3" fmla="*/ 10 h 18"/>
                <a:gd name="T4" fmla="*/ 6 w 15"/>
                <a:gd name="T5" fmla="*/ 11 h 18"/>
                <a:gd name="T6" fmla="*/ 7 w 15"/>
                <a:gd name="T7" fmla="*/ 12 h 18"/>
                <a:gd name="T8" fmla="*/ 9 w 15"/>
                <a:gd name="T9" fmla="*/ 15 h 18"/>
                <a:gd name="T10" fmla="*/ 12 w 15"/>
                <a:gd name="T11" fmla="*/ 18 h 18"/>
                <a:gd name="T12" fmla="*/ 14 w 15"/>
                <a:gd name="T13" fmla="*/ 18 h 18"/>
                <a:gd name="T14" fmla="*/ 15 w 15"/>
                <a:gd name="T15" fmla="*/ 14 h 18"/>
                <a:gd name="T16" fmla="*/ 15 w 15"/>
                <a:gd name="T17" fmla="*/ 12 h 18"/>
                <a:gd name="T18" fmla="*/ 15 w 15"/>
                <a:gd name="T19" fmla="*/ 11 h 18"/>
                <a:gd name="T20" fmla="*/ 14 w 15"/>
                <a:gd name="T21" fmla="*/ 10 h 18"/>
                <a:gd name="T22" fmla="*/ 14 w 15"/>
                <a:gd name="T23" fmla="*/ 8 h 18"/>
                <a:gd name="T24" fmla="*/ 14 w 15"/>
                <a:gd name="T25" fmla="*/ 7 h 18"/>
                <a:gd name="T26" fmla="*/ 12 w 15"/>
                <a:gd name="T27" fmla="*/ 5 h 18"/>
                <a:gd name="T28" fmla="*/ 9 w 15"/>
                <a:gd name="T29" fmla="*/ 2 h 18"/>
                <a:gd name="T30" fmla="*/ 6 w 15"/>
                <a:gd name="T31" fmla="*/ 1 h 18"/>
                <a:gd name="T32" fmla="*/ 4 w 15"/>
                <a:gd name="T33" fmla="*/ 0 h 18"/>
                <a:gd name="T34" fmla="*/ 0 w 15"/>
                <a:gd name="T35" fmla="*/ 1 h 18"/>
                <a:gd name="T36" fmla="*/ 0 w 15"/>
                <a:gd name="T37" fmla="*/ 3 h 18"/>
                <a:gd name="T38" fmla="*/ 2 w 15"/>
                <a:gd name="T39" fmla="*/ 8 h 18"/>
                <a:gd name="T40" fmla="*/ 4 w 15"/>
                <a:gd name="T41"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18">
                  <a:moveTo>
                    <a:pt x="4" y="9"/>
                  </a:moveTo>
                  <a:lnTo>
                    <a:pt x="5" y="10"/>
                  </a:lnTo>
                  <a:lnTo>
                    <a:pt x="6" y="11"/>
                  </a:lnTo>
                  <a:lnTo>
                    <a:pt x="7" y="12"/>
                  </a:lnTo>
                  <a:lnTo>
                    <a:pt x="9" y="15"/>
                  </a:lnTo>
                  <a:lnTo>
                    <a:pt x="12" y="18"/>
                  </a:lnTo>
                  <a:lnTo>
                    <a:pt x="14" y="18"/>
                  </a:lnTo>
                  <a:lnTo>
                    <a:pt x="15" y="14"/>
                  </a:lnTo>
                  <a:lnTo>
                    <a:pt x="15" y="12"/>
                  </a:lnTo>
                  <a:lnTo>
                    <a:pt x="15" y="11"/>
                  </a:lnTo>
                  <a:lnTo>
                    <a:pt x="14" y="10"/>
                  </a:lnTo>
                  <a:lnTo>
                    <a:pt x="14" y="8"/>
                  </a:lnTo>
                  <a:lnTo>
                    <a:pt x="14" y="7"/>
                  </a:lnTo>
                  <a:lnTo>
                    <a:pt x="12" y="5"/>
                  </a:lnTo>
                  <a:lnTo>
                    <a:pt x="9" y="2"/>
                  </a:lnTo>
                  <a:lnTo>
                    <a:pt x="6" y="1"/>
                  </a:lnTo>
                  <a:lnTo>
                    <a:pt x="4" y="0"/>
                  </a:lnTo>
                  <a:lnTo>
                    <a:pt x="0" y="1"/>
                  </a:lnTo>
                  <a:lnTo>
                    <a:pt x="0" y="3"/>
                  </a:lnTo>
                  <a:lnTo>
                    <a:pt x="2" y="8"/>
                  </a:lnTo>
                  <a:lnTo>
                    <a:pt x="4" y="9"/>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33" name="Freeform 67">
              <a:extLst>
                <a:ext uri="{FF2B5EF4-FFF2-40B4-BE49-F238E27FC236}">
                  <a16:creationId xmlns:a16="http://schemas.microsoft.com/office/drawing/2014/main" id="{023401AC-420F-446D-B9C1-20403150BAE8}"/>
                </a:ext>
              </a:extLst>
            </p:cNvPr>
            <p:cNvSpPr>
              <a:spLocks/>
            </p:cNvSpPr>
            <p:nvPr/>
          </p:nvSpPr>
          <p:spPr bwMode="gray">
            <a:xfrm>
              <a:off x="10798783" y="2862963"/>
              <a:ext cx="8726" cy="9349"/>
            </a:xfrm>
            <a:custGeom>
              <a:avLst/>
              <a:gdLst>
                <a:gd name="T0" fmla="*/ 11 w 14"/>
                <a:gd name="T1" fmla="*/ 11 h 15"/>
                <a:gd name="T2" fmla="*/ 14 w 14"/>
                <a:gd name="T3" fmla="*/ 11 h 15"/>
                <a:gd name="T4" fmla="*/ 14 w 14"/>
                <a:gd name="T5" fmla="*/ 8 h 15"/>
                <a:gd name="T6" fmla="*/ 13 w 14"/>
                <a:gd name="T7" fmla="*/ 6 h 15"/>
                <a:gd name="T8" fmla="*/ 10 w 14"/>
                <a:gd name="T9" fmla="*/ 5 h 15"/>
                <a:gd name="T10" fmla="*/ 6 w 14"/>
                <a:gd name="T11" fmla="*/ 1 h 15"/>
                <a:gd name="T12" fmla="*/ 3 w 14"/>
                <a:gd name="T13" fmla="*/ 0 h 15"/>
                <a:gd name="T14" fmla="*/ 1 w 14"/>
                <a:gd name="T15" fmla="*/ 3 h 15"/>
                <a:gd name="T16" fmla="*/ 0 w 14"/>
                <a:gd name="T17" fmla="*/ 6 h 15"/>
                <a:gd name="T18" fmla="*/ 0 w 14"/>
                <a:gd name="T19" fmla="*/ 10 h 15"/>
                <a:gd name="T20" fmla="*/ 0 w 14"/>
                <a:gd name="T21" fmla="*/ 13 h 15"/>
                <a:gd name="T22" fmla="*/ 3 w 14"/>
                <a:gd name="T23" fmla="*/ 15 h 15"/>
                <a:gd name="T24" fmla="*/ 11 w 14"/>
                <a:gd name="T25"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5">
                  <a:moveTo>
                    <a:pt x="11" y="11"/>
                  </a:moveTo>
                  <a:lnTo>
                    <a:pt x="14" y="11"/>
                  </a:lnTo>
                  <a:lnTo>
                    <a:pt x="14" y="8"/>
                  </a:lnTo>
                  <a:lnTo>
                    <a:pt x="13" y="6"/>
                  </a:lnTo>
                  <a:lnTo>
                    <a:pt x="10" y="5"/>
                  </a:lnTo>
                  <a:lnTo>
                    <a:pt x="6" y="1"/>
                  </a:lnTo>
                  <a:lnTo>
                    <a:pt x="3" y="0"/>
                  </a:lnTo>
                  <a:lnTo>
                    <a:pt x="1" y="3"/>
                  </a:lnTo>
                  <a:lnTo>
                    <a:pt x="0" y="6"/>
                  </a:lnTo>
                  <a:lnTo>
                    <a:pt x="0" y="10"/>
                  </a:lnTo>
                  <a:lnTo>
                    <a:pt x="0" y="13"/>
                  </a:lnTo>
                  <a:lnTo>
                    <a:pt x="3" y="15"/>
                  </a:lnTo>
                  <a:lnTo>
                    <a:pt x="11" y="11"/>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34" name="Freeform 68">
              <a:extLst>
                <a:ext uri="{FF2B5EF4-FFF2-40B4-BE49-F238E27FC236}">
                  <a16:creationId xmlns:a16="http://schemas.microsoft.com/office/drawing/2014/main" id="{68DAD1E4-51B2-4522-9CCC-F3EC90B5CEC2}"/>
                </a:ext>
              </a:extLst>
            </p:cNvPr>
            <p:cNvSpPr>
              <a:spLocks/>
            </p:cNvSpPr>
            <p:nvPr/>
          </p:nvSpPr>
          <p:spPr bwMode="gray">
            <a:xfrm>
              <a:off x="9987926" y="3739262"/>
              <a:ext cx="320977" cy="162047"/>
            </a:xfrm>
            <a:custGeom>
              <a:avLst/>
              <a:gdLst>
                <a:gd name="T0" fmla="*/ 499 w 515"/>
                <a:gd name="T1" fmla="*/ 105 h 260"/>
                <a:gd name="T2" fmla="*/ 495 w 515"/>
                <a:gd name="T3" fmla="*/ 97 h 260"/>
                <a:gd name="T4" fmla="*/ 483 w 515"/>
                <a:gd name="T5" fmla="*/ 93 h 260"/>
                <a:gd name="T6" fmla="*/ 474 w 515"/>
                <a:gd name="T7" fmla="*/ 70 h 260"/>
                <a:gd name="T8" fmla="*/ 466 w 515"/>
                <a:gd name="T9" fmla="*/ 59 h 260"/>
                <a:gd name="T10" fmla="*/ 402 w 515"/>
                <a:gd name="T11" fmla="*/ 65 h 260"/>
                <a:gd name="T12" fmla="*/ 392 w 515"/>
                <a:gd name="T13" fmla="*/ 72 h 260"/>
                <a:gd name="T14" fmla="*/ 383 w 515"/>
                <a:gd name="T15" fmla="*/ 59 h 260"/>
                <a:gd name="T16" fmla="*/ 372 w 515"/>
                <a:gd name="T17" fmla="*/ 58 h 260"/>
                <a:gd name="T18" fmla="*/ 360 w 515"/>
                <a:gd name="T19" fmla="*/ 54 h 260"/>
                <a:gd name="T20" fmla="*/ 337 w 515"/>
                <a:gd name="T21" fmla="*/ 43 h 260"/>
                <a:gd name="T22" fmla="*/ 301 w 515"/>
                <a:gd name="T23" fmla="*/ 27 h 260"/>
                <a:gd name="T24" fmla="*/ 276 w 515"/>
                <a:gd name="T25" fmla="*/ 1 h 260"/>
                <a:gd name="T26" fmla="*/ 264 w 515"/>
                <a:gd name="T27" fmla="*/ 19 h 260"/>
                <a:gd name="T28" fmla="*/ 259 w 515"/>
                <a:gd name="T29" fmla="*/ 25 h 260"/>
                <a:gd name="T30" fmla="*/ 253 w 515"/>
                <a:gd name="T31" fmla="*/ 21 h 260"/>
                <a:gd name="T32" fmla="*/ 250 w 515"/>
                <a:gd name="T33" fmla="*/ 33 h 260"/>
                <a:gd name="T34" fmla="*/ 252 w 515"/>
                <a:gd name="T35" fmla="*/ 43 h 260"/>
                <a:gd name="T36" fmla="*/ 258 w 515"/>
                <a:gd name="T37" fmla="*/ 97 h 260"/>
                <a:gd name="T38" fmla="*/ 236 w 515"/>
                <a:gd name="T39" fmla="*/ 107 h 260"/>
                <a:gd name="T40" fmla="*/ 231 w 515"/>
                <a:gd name="T41" fmla="*/ 105 h 260"/>
                <a:gd name="T42" fmla="*/ 216 w 515"/>
                <a:gd name="T43" fmla="*/ 108 h 260"/>
                <a:gd name="T44" fmla="*/ 154 w 515"/>
                <a:gd name="T45" fmla="*/ 97 h 260"/>
                <a:gd name="T46" fmla="*/ 147 w 515"/>
                <a:gd name="T47" fmla="*/ 92 h 260"/>
                <a:gd name="T48" fmla="*/ 149 w 515"/>
                <a:gd name="T49" fmla="*/ 87 h 260"/>
                <a:gd name="T50" fmla="*/ 193 w 515"/>
                <a:gd name="T51" fmla="*/ 41 h 260"/>
                <a:gd name="T52" fmla="*/ 202 w 515"/>
                <a:gd name="T53" fmla="*/ 27 h 260"/>
                <a:gd name="T54" fmla="*/ 204 w 515"/>
                <a:gd name="T55" fmla="*/ 21 h 260"/>
                <a:gd name="T56" fmla="*/ 211 w 515"/>
                <a:gd name="T57" fmla="*/ 15 h 260"/>
                <a:gd name="T58" fmla="*/ 213 w 515"/>
                <a:gd name="T59" fmla="*/ 10 h 260"/>
                <a:gd name="T60" fmla="*/ 209 w 515"/>
                <a:gd name="T61" fmla="*/ 2 h 260"/>
                <a:gd name="T62" fmla="*/ 139 w 515"/>
                <a:gd name="T63" fmla="*/ 87 h 260"/>
                <a:gd name="T64" fmla="*/ 85 w 515"/>
                <a:gd name="T65" fmla="*/ 94 h 260"/>
                <a:gd name="T66" fmla="*/ 62 w 515"/>
                <a:gd name="T67" fmla="*/ 89 h 260"/>
                <a:gd name="T68" fmla="*/ 52 w 515"/>
                <a:gd name="T69" fmla="*/ 103 h 260"/>
                <a:gd name="T70" fmla="*/ 55 w 515"/>
                <a:gd name="T71" fmla="*/ 131 h 260"/>
                <a:gd name="T72" fmla="*/ 51 w 515"/>
                <a:gd name="T73" fmla="*/ 158 h 260"/>
                <a:gd name="T74" fmla="*/ 46 w 515"/>
                <a:gd name="T75" fmla="*/ 168 h 260"/>
                <a:gd name="T76" fmla="*/ 45 w 515"/>
                <a:gd name="T77" fmla="*/ 174 h 260"/>
                <a:gd name="T78" fmla="*/ 20 w 515"/>
                <a:gd name="T79" fmla="*/ 211 h 260"/>
                <a:gd name="T80" fmla="*/ 0 w 515"/>
                <a:gd name="T81" fmla="*/ 229 h 260"/>
                <a:gd name="T82" fmla="*/ 57 w 515"/>
                <a:gd name="T83" fmla="*/ 237 h 260"/>
                <a:gd name="T84" fmla="*/ 335 w 515"/>
                <a:gd name="T85" fmla="*/ 252 h 260"/>
                <a:gd name="T86" fmla="*/ 501 w 515"/>
                <a:gd name="T87" fmla="*/ 257 h 260"/>
                <a:gd name="T88" fmla="*/ 488 w 515"/>
                <a:gd name="T89" fmla="*/ 199 h 260"/>
                <a:gd name="T90" fmla="*/ 491 w 515"/>
                <a:gd name="T91" fmla="*/ 171 h 260"/>
                <a:gd name="T92" fmla="*/ 495 w 515"/>
                <a:gd name="T93" fmla="*/ 160 h 260"/>
                <a:gd name="T94" fmla="*/ 495 w 515"/>
                <a:gd name="T95" fmla="*/ 156 h 260"/>
                <a:gd name="T96" fmla="*/ 502 w 515"/>
                <a:gd name="T97" fmla="*/ 151 h 260"/>
                <a:gd name="T98" fmla="*/ 514 w 515"/>
                <a:gd name="T99" fmla="*/ 13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5" h="260">
                  <a:moveTo>
                    <a:pt x="511" y="116"/>
                  </a:moveTo>
                  <a:lnTo>
                    <a:pt x="510" y="112"/>
                  </a:lnTo>
                  <a:lnTo>
                    <a:pt x="508" y="110"/>
                  </a:lnTo>
                  <a:lnTo>
                    <a:pt x="499" y="105"/>
                  </a:lnTo>
                  <a:lnTo>
                    <a:pt x="497" y="103"/>
                  </a:lnTo>
                  <a:lnTo>
                    <a:pt x="499" y="99"/>
                  </a:lnTo>
                  <a:lnTo>
                    <a:pt x="497" y="99"/>
                  </a:lnTo>
                  <a:lnTo>
                    <a:pt x="495" y="97"/>
                  </a:lnTo>
                  <a:lnTo>
                    <a:pt x="494" y="95"/>
                  </a:lnTo>
                  <a:lnTo>
                    <a:pt x="493" y="94"/>
                  </a:lnTo>
                  <a:lnTo>
                    <a:pt x="492" y="93"/>
                  </a:lnTo>
                  <a:lnTo>
                    <a:pt x="483" y="93"/>
                  </a:lnTo>
                  <a:lnTo>
                    <a:pt x="480" y="92"/>
                  </a:lnTo>
                  <a:lnTo>
                    <a:pt x="478" y="89"/>
                  </a:lnTo>
                  <a:lnTo>
                    <a:pt x="476" y="82"/>
                  </a:lnTo>
                  <a:lnTo>
                    <a:pt x="474" y="70"/>
                  </a:lnTo>
                  <a:lnTo>
                    <a:pt x="472" y="65"/>
                  </a:lnTo>
                  <a:lnTo>
                    <a:pt x="471" y="63"/>
                  </a:lnTo>
                  <a:lnTo>
                    <a:pt x="470" y="62"/>
                  </a:lnTo>
                  <a:lnTo>
                    <a:pt x="466" y="59"/>
                  </a:lnTo>
                  <a:lnTo>
                    <a:pt x="449" y="64"/>
                  </a:lnTo>
                  <a:lnTo>
                    <a:pt x="422" y="61"/>
                  </a:lnTo>
                  <a:lnTo>
                    <a:pt x="420" y="61"/>
                  </a:lnTo>
                  <a:lnTo>
                    <a:pt x="402" y="65"/>
                  </a:lnTo>
                  <a:lnTo>
                    <a:pt x="400" y="67"/>
                  </a:lnTo>
                  <a:lnTo>
                    <a:pt x="398" y="70"/>
                  </a:lnTo>
                  <a:lnTo>
                    <a:pt x="396" y="72"/>
                  </a:lnTo>
                  <a:lnTo>
                    <a:pt x="392" y="72"/>
                  </a:lnTo>
                  <a:lnTo>
                    <a:pt x="388" y="71"/>
                  </a:lnTo>
                  <a:lnTo>
                    <a:pt x="384" y="68"/>
                  </a:lnTo>
                  <a:lnTo>
                    <a:pt x="383" y="64"/>
                  </a:lnTo>
                  <a:lnTo>
                    <a:pt x="383" y="59"/>
                  </a:lnTo>
                  <a:lnTo>
                    <a:pt x="382" y="56"/>
                  </a:lnTo>
                  <a:lnTo>
                    <a:pt x="380" y="55"/>
                  </a:lnTo>
                  <a:lnTo>
                    <a:pt x="376" y="55"/>
                  </a:lnTo>
                  <a:lnTo>
                    <a:pt x="372" y="58"/>
                  </a:lnTo>
                  <a:lnTo>
                    <a:pt x="371" y="59"/>
                  </a:lnTo>
                  <a:lnTo>
                    <a:pt x="369" y="58"/>
                  </a:lnTo>
                  <a:lnTo>
                    <a:pt x="365" y="56"/>
                  </a:lnTo>
                  <a:lnTo>
                    <a:pt x="360" y="54"/>
                  </a:lnTo>
                  <a:lnTo>
                    <a:pt x="357" y="52"/>
                  </a:lnTo>
                  <a:lnTo>
                    <a:pt x="351" y="48"/>
                  </a:lnTo>
                  <a:lnTo>
                    <a:pt x="340" y="45"/>
                  </a:lnTo>
                  <a:lnTo>
                    <a:pt x="337" y="43"/>
                  </a:lnTo>
                  <a:lnTo>
                    <a:pt x="335" y="39"/>
                  </a:lnTo>
                  <a:lnTo>
                    <a:pt x="324" y="30"/>
                  </a:lnTo>
                  <a:lnTo>
                    <a:pt x="317" y="27"/>
                  </a:lnTo>
                  <a:lnTo>
                    <a:pt x="301" y="27"/>
                  </a:lnTo>
                  <a:lnTo>
                    <a:pt x="295" y="22"/>
                  </a:lnTo>
                  <a:lnTo>
                    <a:pt x="285" y="5"/>
                  </a:lnTo>
                  <a:lnTo>
                    <a:pt x="280" y="0"/>
                  </a:lnTo>
                  <a:lnTo>
                    <a:pt x="276" y="1"/>
                  </a:lnTo>
                  <a:lnTo>
                    <a:pt x="264" y="12"/>
                  </a:lnTo>
                  <a:lnTo>
                    <a:pt x="264" y="13"/>
                  </a:lnTo>
                  <a:lnTo>
                    <a:pt x="264" y="16"/>
                  </a:lnTo>
                  <a:lnTo>
                    <a:pt x="264" y="19"/>
                  </a:lnTo>
                  <a:lnTo>
                    <a:pt x="264" y="22"/>
                  </a:lnTo>
                  <a:lnTo>
                    <a:pt x="262" y="24"/>
                  </a:lnTo>
                  <a:lnTo>
                    <a:pt x="261" y="25"/>
                  </a:lnTo>
                  <a:lnTo>
                    <a:pt x="259" y="25"/>
                  </a:lnTo>
                  <a:lnTo>
                    <a:pt x="256" y="25"/>
                  </a:lnTo>
                  <a:lnTo>
                    <a:pt x="256" y="23"/>
                  </a:lnTo>
                  <a:lnTo>
                    <a:pt x="254" y="22"/>
                  </a:lnTo>
                  <a:lnTo>
                    <a:pt x="253" y="21"/>
                  </a:lnTo>
                  <a:lnTo>
                    <a:pt x="251" y="23"/>
                  </a:lnTo>
                  <a:lnTo>
                    <a:pt x="250" y="25"/>
                  </a:lnTo>
                  <a:lnTo>
                    <a:pt x="250" y="27"/>
                  </a:lnTo>
                  <a:lnTo>
                    <a:pt x="250" y="33"/>
                  </a:lnTo>
                  <a:lnTo>
                    <a:pt x="250" y="34"/>
                  </a:lnTo>
                  <a:lnTo>
                    <a:pt x="251" y="40"/>
                  </a:lnTo>
                  <a:lnTo>
                    <a:pt x="251" y="41"/>
                  </a:lnTo>
                  <a:lnTo>
                    <a:pt x="252" y="43"/>
                  </a:lnTo>
                  <a:lnTo>
                    <a:pt x="256" y="77"/>
                  </a:lnTo>
                  <a:lnTo>
                    <a:pt x="259" y="86"/>
                  </a:lnTo>
                  <a:lnTo>
                    <a:pt x="260" y="91"/>
                  </a:lnTo>
                  <a:lnTo>
                    <a:pt x="258" y="97"/>
                  </a:lnTo>
                  <a:lnTo>
                    <a:pt x="251" y="101"/>
                  </a:lnTo>
                  <a:lnTo>
                    <a:pt x="238" y="104"/>
                  </a:lnTo>
                  <a:lnTo>
                    <a:pt x="237" y="105"/>
                  </a:lnTo>
                  <a:lnTo>
                    <a:pt x="236" y="107"/>
                  </a:lnTo>
                  <a:lnTo>
                    <a:pt x="236" y="108"/>
                  </a:lnTo>
                  <a:lnTo>
                    <a:pt x="234" y="108"/>
                  </a:lnTo>
                  <a:lnTo>
                    <a:pt x="233" y="107"/>
                  </a:lnTo>
                  <a:lnTo>
                    <a:pt x="231" y="105"/>
                  </a:lnTo>
                  <a:lnTo>
                    <a:pt x="230" y="104"/>
                  </a:lnTo>
                  <a:lnTo>
                    <a:pt x="229" y="105"/>
                  </a:lnTo>
                  <a:lnTo>
                    <a:pt x="227" y="107"/>
                  </a:lnTo>
                  <a:lnTo>
                    <a:pt x="216" y="108"/>
                  </a:lnTo>
                  <a:lnTo>
                    <a:pt x="199" y="105"/>
                  </a:lnTo>
                  <a:lnTo>
                    <a:pt x="190" y="97"/>
                  </a:lnTo>
                  <a:lnTo>
                    <a:pt x="183" y="95"/>
                  </a:lnTo>
                  <a:lnTo>
                    <a:pt x="154" y="97"/>
                  </a:lnTo>
                  <a:lnTo>
                    <a:pt x="151" y="97"/>
                  </a:lnTo>
                  <a:lnTo>
                    <a:pt x="150" y="96"/>
                  </a:lnTo>
                  <a:lnTo>
                    <a:pt x="148" y="94"/>
                  </a:lnTo>
                  <a:lnTo>
                    <a:pt x="147" y="92"/>
                  </a:lnTo>
                  <a:lnTo>
                    <a:pt x="147" y="90"/>
                  </a:lnTo>
                  <a:lnTo>
                    <a:pt x="147" y="88"/>
                  </a:lnTo>
                  <a:lnTo>
                    <a:pt x="148" y="87"/>
                  </a:lnTo>
                  <a:lnTo>
                    <a:pt x="149" y="87"/>
                  </a:lnTo>
                  <a:lnTo>
                    <a:pt x="151" y="86"/>
                  </a:lnTo>
                  <a:lnTo>
                    <a:pt x="172" y="67"/>
                  </a:lnTo>
                  <a:lnTo>
                    <a:pt x="185" y="49"/>
                  </a:lnTo>
                  <a:lnTo>
                    <a:pt x="193" y="41"/>
                  </a:lnTo>
                  <a:lnTo>
                    <a:pt x="195" y="38"/>
                  </a:lnTo>
                  <a:lnTo>
                    <a:pt x="198" y="32"/>
                  </a:lnTo>
                  <a:lnTo>
                    <a:pt x="199" y="30"/>
                  </a:lnTo>
                  <a:lnTo>
                    <a:pt x="202" y="27"/>
                  </a:lnTo>
                  <a:lnTo>
                    <a:pt x="202" y="26"/>
                  </a:lnTo>
                  <a:lnTo>
                    <a:pt x="203" y="23"/>
                  </a:lnTo>
                  <a:lnTo>
                    <a:pt x="204" y="22"/>
                  </a:lnTo>
                  <a:lnTo>
                    <a:pt x="204" y="21"/>
                  </a:lnTo>
                  <a:lnTo>
                    <a:pt x="206" y="20"/>
                  </a:lnTo>
                  <a:lnTo>
                    <a:pt x="206" y="18"/>
                  </a:lnTo>
                  <a:lnTo>
                    <a:pt x="207" y="16"/>
                  </a:lnTo>
                  <a:lnTo>
                    <a:pt x="211" y="15"/>
                  </a:lnTo>
                  <a:lnTo>
                    <a:pt x="212" y="13"/>
                  </a:lnTo>
                  <a:lnTo>
                    <a:pt x="212" y="13"/>
                  </a:lnTo>
                  <a:lnTo>
                    <a:pt x="212" y="12"/>
                  </a:lnTo>
                  <a:lnTo>
                    <a:pt x="213" y="10"/>
                  </a:lnTo>
                  <a:lnTo>
                    <a:pt x="219" y="5"/>
                  </a:lnTo>
                  <a:lnTo>
                    <a:pt x="219" y="5"/>
                  </a:lnTo>
                  <a:lnTo>
                    <a:pt x="219" y="5"/>
                  </a:lnTo>
                  <a:lnTo>
                    <a:pt x="209" y="2"/>
                  </a:lnTo>
                  <a:lnTo>
                    <a:pt x="193" y="30"/>
                  </a:lnTo>
                  <a:lnTo>
                    <a:pt x="191" y="32"/>
                  </a:lnTo>
                  <a:lnTo>
                    <a:pt x="163" y="67"/>
                  </a:lnTo>
                  <a:lnTo>
                    <a:pt x="139" y="87"/>
                  </a:lnTo>
                  <a:lnTo>
                    <a:pt x="127" y="94"/>
                  </a:lnTo>
                  <a:lnTo>
                    <a:pt x="120" y="95"/>
                  </a:lnTo>
                  <a:lnTo>
                    <a:pt x="95" y="92"/>
                  </a:lnTo>
                  <a:lnTo>
                    <a:pt x="85" y="94"/>
                  </a:lnTo>
                  <a:lnTo>
                    <a:pt x="74" y="93"/>
                  </a:lnTo>
                  <a:lnTo>
                    <a:pt x="68" y="95"/>
                  </a:lnTo>
                  <a:lnTo>
                    <a:pt x="66" y="94"/>
                  </a:lnTo>
                  <a:lnTo>
                    <a:pt x="62" y="89"/>
                  </a:lnTo>
                  <a:lnTo>
                    <a:pt x="59" y="90"/>
                  </a:lnTo>
                  <a:lnTo>
                    <a:pt x="55" y="94"/>
                  </a:lnTo>
                  <a:lnTo>
                    <a:pt x="53" y="99"/>
                  </a:lnTo>
                  <a:lnTo>
                    <a:pt x="52" y="103"/>
                  </a:lnTo>
                  <a:lnTo>
                    <a:pt x="50" y="111"/>
                  </a:lnTo>
                  <a:lnTo>
                    <a:pt x="50" y="115"/>
                  </a:lnTo>
                  <a:lnTo>
                    <a:pt x="51" y="117"/>
                  </a:lnTo>
                  <a:lnTo>
                    <a:pt x="55" y="131"/>
                  </a:lnTo>
                  <a:lnTo>
                    <a:pt x="56" y="136"/>
                  </a:lnTo>
                  <a:lnTo>
                    <a:pt x="56" y="143"/>
                  </a:lnTo>
                  <a:lnTo>
                    <a:pt x="55" y="147"/>
                  </a:lnTo>
                  <a:lnTo>
                    <a:pt x="51" y="158"/>
                  </a:lnTo>
                  <a:lnTo>
                    <a:pt x="49" y="162"/>
                  </a:lnTo>
                  <a:lnTo>
                    <a:pt x="47" y="165"/>
                  </a:lnTo>
                  <a:lnTo>
                    <a:pt x="46" y="166"/>
                  </a:lnTo>
                  <a:lnTo>
                    <a:pt x="46" y="168"/>
                  </a:lnTo>
                  <a:lnTo>
                    <a:pt x="46" y="171"/>
                  </a:lnTo>
                  <a:lnTo>
                    <a:pt x="46" y="172"/>
                  </a:lnTo>
                  <a:lnTo>
                    <a:pt x="46" y="173"/>
                  </a:lnTo>
                  <a:lnTo>
                    <a:pt x="45" y="174"/>
                  </a:lnTo>
                  <a:lnTo>
                    <a:pt x="45" y="174"/>
                  </a:lnTo>
                  <a:lnTo>
                    <a:pt x="44" y="175"/>
                  </a:lnTo>
                  <a:lnTo>
                    <a:pt x="36" y="191"/>
                  </a:lnTo>
                  <a:lnTo>
                    <a:pt x="20" y="211"/>
                  </a:lnTo>
                  <a:lnTo>
                    <a:pt x="3" y="226"/>
                  </a:lnTo>
                  <a:lnTo>
                    <a:pt x="3" y="228"/>
                  </a:lnTo>
                  <a:lnTo>
                    <a:pt x="0" y="229"/>
                  </a:lnTo>
                  <a:lnTo>
                    <a:pt x="0" y="229"/>
                  </a:lnTo>
                  <a:lnTo>
                    <a:pt x="4" y="232"/>
                  </a:lnTo>
                  <a:lnTo>
                    <a:pt x="11" y="235"/>
                  </a:lnTo>
                  <a:lnTo>
                    <a:pt x="24" y="236"/>
                  </a:lnTo>
                  <a:lnTo>
                    <a:pt x="57" y="237"/>
                  </a:lnTo>
                  <a:lnTo>
                    <a:pt x="118" y="241"/>
                  </a:lnTo>
                  <a:lnTo>
                    <a:pt x="210" y="245"/>
                  </a:lnTo>
                  <a:lnTo>
                    <a:pt x="267" y="248"/>
                  </a:lnTo>
                  <a:lnTo>
                    <a:pt x="335" y="252"/>
                  </a:lnTo>
                  <a:lnTo>
                    <a:pt x="424" y="257"/>
                  </a:lnTo>
                  <a:lnTo>
                    <a:pt x="461" y="259"/>
                  </a:lnTo>
                  <a:lnTo>
                    <a:pt x="490" y="260"/>
                  </a:lnTo>
                  <a:lnTo>
                    <a:pt x="501" y="257"/>
                  </a:lnTo>
                  <a:lnTo>
                    <a:pt x="492" y="240"/>
                  </a:lnTo>
                  <a:lnTo>
                    <a:pt x="488" y="230"/>
                  </a:lnTo>
                  <a:lnTo>
                    <a:pt x="487" y="220"/>
                  </a:lnTo>
                  <a:lnTo>
                    <a:pt x="488" y="199"/>
                  </a:lnTo>
                  <a:lnTo>
                    <a:pt x="491" y="185"/>
                  </a:lnTo>
                  <a:lnTo>
                    <a:pt x="492" y="181"/>
                  </a:lnTo>
                  <a:lnTo>
                    <a:pt x="492" y="178"/>
                  </a:lnTo>
                  <a:lnTo>
                    <a:pt x="491" y="171"/>
                  </a:lnTo>
                  <a:lnTo>
                    <a:pt x="491" y="169"/>
                  </a:lnTo>
                  <a:lnTo>
                    <a:pt x="492" y="167"/>
                  </a:lnTo>
                  <a:lnTo>
                    <a:pt x="495" y="161"/>
                  </a:lnTo>
                  <a:lnTo>
                    <a:pt x="495" y="160"/>
                  </a:lnTo>
                  <a:lnTo>
                    <a:pt x="495" y="159"/>
                  </a:lnTo>
                  <a:lnTo>
                    <a:pt x="495" y="158"/>
                  </a:lnTo>
                  <a:lnTo>
                    <a:pt x="495" y="156"/>
                  </a:lnTo>
                  <a:lnTo>
                    <a:pt x="495" y="156"/>
                  </a:lnTo>
                  <a:lnTo>
                    <a:pt x="497" y="156"/>
                  </a:lnTo>
                  <a:lnTo>
                    <a:pt x="498" y="154"/>
                  </a:lnTo>
                  <a:lnTo>
                    <a:pt x="501" y="153"/>
                  </a:lnTo>
                  <a:lnTo>
                    <a:pt x="502" y="151"/>
                  </a:lnTo>
                  <a:lnTo>
                    <a:pt x="505" y="148"/>
                  </a:lnTo>
                  <a:lnTo>
                    <a:pt x="510" y="144"/>
                  </a:lnTo>
                  <a:lnTo>
                    <a:pt x="512" y="141"/>
                  </a:lnTo>
                  <a:lnTo>
                    <a:pt x="514" y="136"/>
                  </a:lnTo>
                  <a:lnTo>
                    <a:pt x="515" y="132"/>
                  </a:lnTo>
                  <a:lnTo>
                    <a:pt x="514" y="127"/>
                  </a:lnTo>
                  <a:lnTo>
                    <a:pt x="511" y="116"/>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35" name="Freeform 69">
              <a:extLst>
                <a:ext uri="{FF2B5EF4-FFF2-40B4-BE49-F238E27FC236}">
                  <a16:creationId xmlns:a16="http://schemas.microsoft.com/office/drawing/2014/main" id="{C15083E3-E77A-43FC-B484-AB6AA8CDB032}"/>
                </a:ext>
              </a:extLst>
            </p:cNvPr>
            <p:cNvSpPr>
              <a:spLocks/>
            </p:cNvSpPr>
            <p:nvPr/>
          </p:nvSpPr>
          <p:spPr bwMode="gray">
            <a:xfrm>
              <a:off x="10751416" y="508301"/>
              <a:ext cx="1455304" cy="5073307"/>
            </a:xfrm>
            <a:custGeom>
              <a:avLst/>
              <a:gdLst>
                <a:gd name="T0" fmla="*/ 2077 w 2335"/>
                <a:gd name="T1" fmla="*/ 2165 h 8140"/>
                <a:gd name="T2" fmla="*/ 1772 w 2335"/>
                <a:gd name="T3" fmla="*/ 2153 h 8140"/>
                <a:gd name="T4" fmla="*/ 1532 w 2335"/>
                <a:gd name="T5" fmla="*/ 2004 h 8140"/>
                <a:gd name="T6" fmla="*/ 1681 w 2335"/>
                <a:gd name="T7" fmla="*/ 2306 h 8140"/>
                <a:gd name="T8" fmla="*/ 1450 w 2335"/>
                <a:gd name="T9" fmla="*/ 2441 h 8140"/>
                <a:gd name="T10" fmla="*/ 1194 w 2335"/>
                <a:gd name="T11" fmla="*/ 2242 h 8140"/>
                <a:gd name="T12" fmla="*/ 1179 w 2335"/>
                <a:gd name="T13" fmla="*/ 2046 h 8140"/>
                <a:gd name="T14" fmla="*/ 1176 w 2335"/>
                <a:gd name="T15" fmla="*/ 1845 h 8140"/>
                <a:gd name="T16" fmla="*/ 1164 w 2335"/>
                <a:gd name="T17" fmla="*/ 1702 h 8140"/>
                <a:gd name="T18" fmla="*/ 1000 w 2335"/>
                <a:gd name="T19" fmla="*/ 1500 h 8140"/>
                <a:gd name="T20" fmla="*/ 911 w 2335"/>
                <a:gd name="T21" fmla="*/ 1448 h 8140"/>
                <a:gd name="T22" fmla="*/ 730 w 2335"/>
                <a:gd name="T23" fmla="*/ 1227 h 8140"/>
                <a:gd name="T24" fmla="*/ 1003 w 2335"/>
                <a:gd name="T25" fmla="*/ 1367 h 8140"/>
                <a:gd name="T26" fmla="*/ 1122 w 2335"/>
                <a:gd name="T27" fmla="*/ 1450 h 8140"/>
                <a:gd name="T28" fmla="*/ 2128 w 2335"/>
                <a:gd name="T29" fmla="*/ 1454 h 8140"/>
                <a:gd name="T30" fmla="*/ 2172 w 2335"/>
                <a:gd name="T31" fmla="*/ 1073 h 8140"/>
                <a:gd name="T32" fmla="*/ 1999 w 2335"/>
                <a:gd name="T33" fmla="*/ 824 h 8140"/>
                <a:gd name="T34" fmla="*/ 1745 w 2335"/>
                <a:gd name="T35" fmla="*/ 681 h 8140"/>
                <a:gd name="T36" fmla="*/ 1386 w 2335"/>
                <a:gd name="T37" fmla="*/ 382 h 8140"/>
                <a:gd name="T38" fmla="*/ 1018 w 2335"/>
                <a:gd name="T39" fmla="*/ 291 h 8140"/>
                <a:gd name="T40" fmla="*/ 941 w 2335"/>
                <a:gd name="T41" fmla="*/ 319 h 8140"/>
                <a:gd name="T42" fmla="*/ 826 w 2335"/>
                <a:gd name="T43" fmla="*/ 218 h 8140"/>
                <a:gd name="T44" fmla="*/ 771 w 2335"/>
                <a:gd name="T45" fmla="*/ 122 h 8140"/>
                <a:gd name="T46" fmla="*/ 758 w 2335"/>
                <a:gd name="T47" fmla="*/ 75 h 8140"/>
                <a:gd name="T48" fmla="*/ 559 w 2335"/>
                <a:gd name="T49" fmla="*/ 94 h 8140"/>
                <a:gd name="T50" fmla="*/ 285 w 2335"/>
                <a:gd name="T51" fmla="*/ 418 h 8140"/>
                <a:gd name="T52" fmla="*/ 330 w 2335"/>
                <a:gd name="T53" fmla="*/ 1457 h 8140"/>
                <a:gd name="T54" fmla="*/ 390 w 2335"/>
                <a:gd name="T55" fmla="*/ 2143 h 8140"/>
                <a:gd name="T56" fmla="*/ 477 w 2335"/>
                <a:gd name="T57" fmla="*/ 2472 h 8140"/>
                <a:gd name="T58" fmla="*/ 478 w 2335"/>
                <a:gd name="T59" fmla="*/ 3136 h 8140"/>
                <a:gd name="T60" fmla="*/ 131 w 2335"/>
                <a:gd name="T61" fmla="*/ 3614 h 8140"/>
                <a:gd name="T62" fmla="*/ 190 w 2335"/>
                <a:gd name="T63" fmla="*/ 3620 h 8140"/>
                <a:gd name="T64" fmla="*/ 443 w 2335"/>
                <a:gd name="T65" fmla="*/ 3828 h 8140"/>
                <a:gd name="T66" fmla="*/ 106 w 2335"/>
                <a:gd name="T67" fmla="*/ 3877 h 8140"/>
                <a:gd name="T68" fmla="*/ 54 w 2335"/>
                <a:gd name="T69" fmla="*/ 4427 h 8140"/>
                <a:gd name="T70" fmla="*/ 59 w 2335"/>
                <a:gd name="T71" fmla="*/ 4673 h 8140"/>
                <a:gd name="T72" fmla="*/ 160 w 2335"/>
                <a:gd name="T73" fmla="*/ 4971 h 8140"/>
                <a:gd name="T74" fmla="*/ 410 w 2335"/>
                <a:gd name="T75" fmla="*/ 5029 h 8140"/>
                <a:gd name="T76" fmla="*/ 577 w 2335"/>
                <a:gd name="T77" fmla="*/ 5219 h 8140"/>
                <a:gd name="T78" fmla="*/ 631 w 2335"/>
                <a:gd name="T79" fmla="*/ 5463 h 8140"/>
                <a:gd name="T80" fmla="*/ 834 w 2335"/>
                <a:gd name="T81" fmla="*/ 5675 h 8140"/>
                <a:gd name="T82" fmla="*/ 727 w 2335"/>
                <a:gd name="T83" fmla="*/ 5779 h 8140"/>
                <a:gd name="T84" fmla="*/ 675 w 2335"/>
                <a:gd name="T85" fmla="*/ 5928 h 8140"/>
                <a:gd name="T86" fmla="*/ 826 w 2335"/>
                <a:gd name="T87" fmla="*/ 5982 h 8140"/>
                <a:gd name="T88" fmla="*/ 1070 w 2335"/>
                <a:gd name="T89" fmla="*/ 6056 h 8140"/>
                <a:gd name="T90" fmla="*/ 1108 w 2335"/>
                <a:gd name="T91" fmla="*/ 6234 h 8140"/>
                <a:gd name="T92" fmla="*/ 1278 w 2335"/>
                <a:gd name="T93" fmla="*/ 6369 h 8140"/>
                <a:gd name="T94" fmla="*/ 1462 w 2335"/>
                <a:gd name="T95" fmla="*/ 6502 h 8140"/>
                <a:gd name="T96" fmla="*/ 1749 w 2335"/>
                <a:gd name="T97" fmla="*/ 6569 h 8140"/>
                <a:gd name="T98" fmla="*/ 2032 w 2335"/>
                <a:gd name="T99" fmla="*/ 6675 h 8140"/>
                <a:gd name="T100" fmla="*/ 1971 w 2335"/>
                <a:gd name="T101" fmla="*/ 6866 h 8140"/>
                <a:gd name="T102" fmla="*/ 1977 w 2335"/>
                <a:gd name="T103" fmla="*/ 7075 h 8140"/>
                <a:gd name="T104" fmla="*/ 1726 w 2335"/>
                <a:gd name="T105" fmla="*/ 7253 h 8140"/>
                <a:gd name="T106" fmla="*/ 1860 w 2335"/>
                <a:gd name="T107" fmla="*/ 7222 h 8140"/>
                <a:gd name="T108" fmla="*/ 1785 w 2335"/>
                <a:gd name="T109" fmla="*/ 7318 h 8140"/>
                <a:gd name="T110" fmla="*/ 1665 w 2335"/>
                <a:gd name="T111" fmla="*/ 7398 h 8140"/>
                <a:gd name="T112" fmla="*/ 1697 w 2335"/>
                <a:gd name="T113" fmla="*/ 7555 h 8140"/>
                <a:gd name="T114" fmla="*/ 1629 w 2335"/>
                <a:gd name="T115" fmla="*/ 7640 h 8140"/>
                <a:gd name="T116" fmla="*/ 1648 w 2335"/>
                <a:gd name="T117" fmla="*/ 7661 h 8140"/>
                <a:gd name="T118" fmla="*/ 1570 w 2335"/>
                <a:gd name="T119" fmla="*/ 7683 h 8140"/>
                <a:gd name="T120" fmla="*/ 1530 w 2335"/>
                <a:gd name="T121" fmla="*/ 7676 h 8140"/>
                <a:gd name="T122" fmla="*/ 1658 w 2335"/>
                <a:gd name="T123" fmla="*/ 7821 h 8140"/>
                <a:gd name="T124" fmla="*/ 1964 w 2335"/>
                <a:gd name="T125" fmla="*/ 8048 h 8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35" h="8140">
                  <a:moveTo>
                    <a:pt x="2335" y="1515"/>
                  </a:moveTo>
                  <a:lnTo>
                    <a:pt x="2333" y="1522"/>
                  </a:lnTo>
                  <a:lnTo>
                    <a:pt x="2307" y="1568"/>
                  </a:lnTo>
                  <a:lnTo>
                    <a:pt x="2274" y="1609"/>
                  </a:lnTo>
                  <a:lnTo>
                    <a:pt x="2273" y="1610"/>
                  </a:lnTo>
                  <a:lnTo>
                    <a:pt x="2272" y="1612"/>
                  </a:lnTo>
                  <a:lnTo>
                    <a:pt x="2273" y="1616"/>
                  </a:lnTo>
                  <a:lnTo>
                    <a:pt x="2270" y="1620"/>
                  </a:lnTo>
                  <a:lnTo>
                    <a:pt x="2259" y="1625"/>
                  </a:lnTo>
                  <a:lnTo>
                    <a:pt x="2249" y="1634"/>
                  </a:lnTo>
                  <a:lnTo>
                    <a:pt x="2247" y="1635"/>
                  </a:lnTo>
                  <a:lnTo>
                    <a:pt x="2244" y="1638"/>
                  </a:lnTo>
                  <a:lnTo>
                    <a:pt x="2240" y="1647"/>
                  </a:lnTo>
                  <a:lnTo>
                    <a:pt x="2237" y="1649"/>
                  </a:lnTo>
                  <a:lnTo>
                    <a:pt x="2234" y="1650"/>
                  </a:lnTo>
                  <a:lnTo>
                    <a:pt x="2225" y="1660"/>
                  </a:lnTo>
                  <a:lnTo>
                    <a:pt x="2187" y="1672"/>
                  </a:lnTo>
                  <a:lnTo>
                    <a:pt x="2173" y="1681"/>
                  </a:lnTo>
                  <a:lnTo>
                    <a:pt x="2138" y="1687"/>
                  </a:lnTo>
                  <a:lnTo>
                    <a:pt x="2125" y="1695"/>
                  </a:lnTo>
                  <a:lnTo>
                    <a:pt x="2113" y="1710"/>
                  </a:lnTo>
                  <a:lnTo>
                    <a:pt x="2087" y="1757"/>
                  </a:lnTo>
                  <a:lnTo>
                    <a:pt x="2056" y="1789"/>
                  </a:lnTo>
                  <a:lnTo>
                    <a:pt x="2022" y="1813"/>
                  </a:lnTo>
                  <a:lnTo>
                    <a:pt x="2009" y="1817"/>
                  </a:lnTo>
                  <a:lnTo>
                    <a:pt x="1984" y="1836"/>
                  </a:lnTo>
                  <a:lnTo>
                    <a:pt x="1972" y="1857"/>
                  </a:lnTo>
                  <a:lnTo>
                    <a:pt x="1970" y="1862"/>
                  </a:lnTo>
                  <a:lnTo>
                    <a:pt x="1969" y="1868"/>
                  </a:lnTo>
                  <a:lnTo>
                    <a:pt x="1967" y="1879"/>
                  </a:lnTo>
                  <a:lnTo>
                    <a:pt x="1966" y="1889"/>
                  </a:lnTo>
                  <a:lnTo>
                    <a:pt x="1966" y="1897"/>
                  </a:lnTo>
                  <a:lnTo>
                    <a:pt x="1966" y="1914"/>
                  </a:lnTo>
                  <a:lnTo>
                    <a:pt x="1967" y="1923"/>
                  </a:lnTo>
                  <a:lnTo>
                    <a:pt x="1971" y="1932"/>
                  </a:lnTo>
                  <a:lnTo>
                    <a:pt x="1977" y="1945"/>
                  </a:lnTo>
                  <a:lnTo>
                    <a:pt x="1992" y="1962"/>
                  </a:lnTo>
                  <a:lnTo>
                    <a:pt x="2030" y="2038"/>
                  </a:lnTo>
                  <a:lnTo>
                    <a:pt x="2033" y="2043"/>
                  </a:lnTo>
                  <a:lnTo>
                    <a:pt x="2050" y="2053"/>
                  </a:lnTo>
                  <a:lnTo>
                    <a:pt x="2055" y="2058"/>
                  </a:lnTo>
                  <a:lnTo>
                    <a:pt x="2057" y="2062"/>
                  </a:lnTo>
                  <a:lnTo>
                    <a:pt x="2058" y="2070"/>
                  </a:lnTo>
                  <a:lnTo>
                    <a:pt x="2059" y="2073"/>
                  </a:lnTo>
                  <a:lnTo>
                    <a:pt x="2061" y="2076"/>
                  </a:lnTo>
                  <a:lnTo>
                    <a:pt x="2067" y="2084"/>
                  </a:lnTo>
                  <a:lnTo>
                    <a:pt x="2070" y="2090"/>
                  </a:lnTo>
                  <a:lnTo>
                    <a:pt x="2072" y="2095"/>
                  </a:lnTo>
                  <a:lnTo>
                    <a:pt x="2079" y="2131"/>
                  </a:lnTo>
                  <a:lnTo>
                    <a:pt x="2081" y="2138"/>
                  </a:lnTo>
                  <a:lnTo>
                    <a:pt x="2085" y="2142"/>
                  </a:lnTo>
                  <a:lnTo>
                    <a:pt x="2090" y="2146"/>
                  </a:lnTo>
                  <a:lnTo>
                    <a:pt x="2094" y="2151"/>
                  </a:lnTo>
                  <a:lnTo>
                    <a:pt x="2095" y="2158"/>
                  </a:lnTo>
                  <a:lnTo>
                    <a:pt x="2091" y="2154"/>
                  </a:lnTo>
                  <a:lnTo>
                    <a:pt x="2088" y="2153"/>
                  </a:lnTo>
                  <a:lnTo>
                    <a:pt x="2084" y="2153"/>
                  </a:lnTo>
                  <a:lnTo>
                    <a:pt x="2078" y="2158"/>
                  </a:lnTo>
                  <a:lnTo>
                    <a:pt x="2077" y="2160"/>
                  </a:lnTo>
                  <a:lnTo>
                    <a:pt x="2077" y="2165"/>
                  </a:lnTo>
                  <a:lnTo>
                    <a:pt x="2077" y="2168"/>
                  </a:lnTo>
                  <a:lnTo>
                    <a:pt x="2078" y="2170"/>
                  </a:lnTo>
                  <a:lnTo>
                    <a:pt x="2079" y="2173"/>
                  </a:lnTo>
                  <a:lnTo>
                    <a:pt x="2080" y="2174"/>
                  </a:lnTo>
                  <a:lnTo>
                    <a:pt x="2082" y="2179"/>
                  </a:lnTo>
                  <a:lnTo>
                    <a:pt x="2087" y="2202"/>
                  </a:lnTo>
                  <a:lnTo>
                    <a:pt x="2090" y="2209"/>
                  </a:lnTo>
                  <a:lnTo>
                    <a:pt x="2092" y="2212"/>
                  </a:lnTo>
                  <a:lnTo>
                    <a:pt x="2094" y="2218"/>
                  </a:lnTo>
                  <a:lnTo>
                    <a:pt x="2096" y="2224"/>
                  </a:lnTo>
                  <a:lnTo>
                    <a:pt x="2097" y="2231"/>
                  </a:lnTo>
                  <a:lnTo>
                    <a:pt x="2094" y="2237"/>
                  </a:lnTo>
                  <a:lnTo>
                    <a:pt x="2088" y="2238"/>
                  </a:lnTo>
                  <a:lnTo>
                    <a:pt x="2075" y="2234"/>
                  </a:lnTo>
                  <a:lnTo>
                    <a:pt x="2071" y="2230"/>
                  </a:lnTo>
                  <a:lnTo>
                    <a:pt x="2069" y="2229"/>
                  </a:lnTo>
                  <a:lnTo>
                    <a:pt x="2046" y="2232"/>
                  </a:lnTo>
                  <a:lnTo>
                    <a:pt x="2041" y="2231"/>
                  </a:lnTo>
                  <a:lnTo>
                    <a:pt x="2036" y="2226"/>
                  </a:lnTo>
                  <a:lnTo>
                    <a:pt x="2030" y="2215"/>
                  </a:lnTo>
                  <a:lnTo>
                    <a:pt x="2022" y="2207"/>
                  </a:lnTo>
                  <a:lnTo>
                    <a:pt x="1994" y="2190"/>
                  </a:lnTo>
                  <a:lnTo>
                    <a:pt x="1988" y="2187"/>
                  </a:lnTo>
                  <a:lnTo>
                    <a:pt x="1983" y="2189"/>
                  </a:lnTo>
                  <a:lnTo>
                    <a:pt x="1982" y="2193"/>
                  </a:lnTo>
                  <a:lnTo>
                    <a:pt x="1979" y="2210"/>
                  </a:lnTo>
                  <a:lnTo>
                    <a:pt x="1978" y="2217"/>
                  </a:lnTo>
                  <a:lnTo>
                    <a:pt x="1983" y="2214"/>
                  </a:lnTo>
                  <a:lnTo>
                    <a:pt x="1990" y="2208"/>
                  </a:lnTo>
                  <a:lnTo>
                    <a:pt x="1997" y="2207"/>
                  </a:lnTo>
                  <a:lnTo>
                    <a:pt x="2000" y="2214"/>
                  </a:lnTo>
                  <a:lnTo>
                    <a:pt x="1996" y="2214"/>
                  </a:lnTo>
                  <a:lnTo>
                    <a:pt x="1987" y="2217"/>
                  </a:lnTo>
                  <a:lnTo>
                    <a:pt x="1983" y="2221"/>
                  </a:lnTo>
                  <a:lnTo>
                    <a:pt x="1975" y="2222"/>
                  </a:lnTo>
                  <a:lnTo>
                    <a:pt x="1972" y="2224"/>
                  </a:lnTo>
                  <a:lnTo>
                    <a:pt x="1974" y="2229"/>
                  </a:lnTo>
                  <a:lnTo>
                    <a:pt x="1970" y="2232"/>
                  </a:lnTo>
                  <a:lnTo>
                    <a:pt x="1943" y="2236"/>
                  </a:lnTo>
                  <a:lnTo>
                    <a:pt x="1924" y="2222"/>
                  </a:lnTo>
                  <a:lnTo>
                    <a:pt x="1914" y="2213"/>
                  </a:lnTo>
                  <a:lnTo>
                    <a:pt x="1907" y="2207"/>
                  </a:lnTo>
                  <a:lnTo>
                    <a:pt x="1906" y="2201"/>
                  </a:lnTo>
                  <a:lnTo>
                    <a:pt x="1901" y="2198"/>
                  </a:lnTo>
                  <a:lnTo>
                    <a:pt x="1893" y="2199"/>
                  </a:lnTo>
                  <a:lnTo>
                    <a:pt x="1876" y="2192"/>
                  </a:lnTo>
                  <a:lnTo>
                    <a:pt x="1860" y="2179"/>
                  </a:lnTo>
                  <a:lnTo>
                    <a:pt x="1841" y="2166"/>
                  </a:lnTo>
                  <a:lnTo>
                    <a:pt x="1833" y="2163"/>
                  </a:lnTo>
                  <a:lnTo>
                    <a:pt x="1824" y="2163"/>
                  </a:lnTo>
                  <a:lnTo>
                    <a:pt x="1811" y="2161"/>
                  </a:lnTo>
                  <a:lnTo>
                    <a:pt x="1793" y="2153"/>
                  </a:lnTo>
                  <a:lnTo>
                    <a:pt x="1776" y="2146"/>
                  </a:lnTo>
                  <a:lnTo>
                    <a:pt x="1768" y="2137"/>
                  </a:lnTo>
                  <a:lnTo>
                    <a:pt x="1766" y="2134"/>
                  </a:lnTo>
                  <a:lnTo>
                    <a:pt x="1761" y="2134"/>
                  </a:lnTo>
                  <a:lnTo>
                    <a:pt x="1761" y="2140"/>
                  </a:lnTo>
                  <a:lnTo>
                    <a:pt x="1762" y="2144"/>
                  </a:lnTo>
                  <a:lnTo>
                    <a:pt x="1771" y="2153"/>
                  </a:lnTo>
                  <a:lnTo>
                    <a:pt x="1772" y="2153"/>
                  </a:lnTo>
                  <a:lnTo>
                    <a:pt x="1769" y="2162"/>
                  </a:lnTo>
                  <a:lnTo>
                    <a:pt x="1764" y="2163"/>
                  </a:lnTo>
                  <a:lnTo>
                    <a:pt x="1754" y="2156"/>
                  </a:lnTo>
                  <a:lnTo>
                    <a:pt x="1748" y="2157"/>
                  </a:lnTo>
                  <a:lnTo>
                    <a:pt x="1738" y="2166"/>
                  </a:lnTo>
                  <a:lnTo>
                    <a:pt x="1733" y="2169"/>
                  </a:lnTo>
                  <a:lnTo>
                    <a:pt x="1727" y="2169"/>
                  </a:lnTo>
                  <a:lnTo>
                    <a:pt x="1724" y="2170"/>
                  </a:lnTo>
                  <a:lnTo>
                    <a:pt x="1722" y="2172"/>
                  </a:lnTo>
                  <a:lnTo>
                    <a:pt x="1721" y="2177"/>
                  </a:lnTo>
                  <a:lnTo>
                    <a:pt x="1721" y="2184"/>
                  </a:lnTo>
                  <a:lnTo>
                    <a:pt x="1720" y="2189"/>
                  </a:lnTo>
                  <a:lnTo>
                    <a:pt x="1718" y="2191"/>
                  </a:lnTo>
                  <a:lnTo>
                    <a:pt x="1712" y="2193"/>
                  </a:lnTo>
                  <a:lnTo>
                    <a:pt x="1709" y="2195"/>
                  </a:lnTo>
                  <a:lnTo>
                    <a:pt x="1707" y="2198"/>
                  </a:lnTo>
                  <a:lnTo>
                    <a:pt x="1704" y="2199"/>
                  </a:lnTo>
                  <a:lnTo>
                    <a:pt x="1702" y="2198"/>
                  </a:lnTo>
                  <a:lnTo>
                    <a:pt x="1701" y="2194"/>
                  </a:lnTo>
                  <a:lnTo>
                    <a:pt x="1709" y="2188"/>
                  </a:lnTo>
                  <a:lnTo>
                    <a:pt x="1712" y="2186"/>
                  </a:lnTo>
                  <a:lnTo>
                    <a:pt x="1714" y="2183"/>
                  </a:lnTo>
                  <a:lnTo>
                    <a:pt x="1714" y="2180"/>
                  </a:lnTo>
                  <a:lnTo>
                    <a:pt x="1713" y="2178"/>
                  </a:lnTo>
                  <a:lnTo>
                    <a:pt x="1702" y="2162"/>
                  </a:lnTo>
                  <a:lnTo>
                    <a:pt x="1700" y="2155"/>
                  </a:lnTo>
                  <a:lnTo>
                    <a:pt x="1705" y="2148"/>
                  </a:lnTo>
                  <a:lnTo>
                    <a:pt x="1708" y="2147"/>
                  </a:lnTo>
                  <a:lnTo>
                    <a:pt x="1720" y="2145"/>
                  </a:lnTo>
                  <a:lnTo>
                    <a:pt x="1733" y="2148"/>
                  </a:lnTo>
                  <a:lnTo>
                    <a:pt x="1736" y="2147"/>
                  </a:lnTo>
                  <a:lnTo>
                    <a:pt x="1741" y="2140"/>
                  </a:lnTo>
                  <a:lnTo>
                    <a:pt x="1747" y="2143"/>
                  </a:lnTo>
                  <a:lnTo>
                    <a:pt x="1752" y="2148"/>
                  </a:lnTo>
                  <a:lnTo>
                    <a:pt x="1758" y="2151"/>
                  </a:lnTo>
                  <a:lnTo>
                    <a:pt x="1757" y="2146"/>
                  </a:lnTo>
                  <a:lnTo>
                    <a:pt x="1754" y="2142"/>
                  </a:lnTo>
                  <a:lnTo>
                    <a:pt x="1753" y="2138"/>
                  </a:lnTo>
                  <a:lnTo>
                    <a:pt x="1754" y="2132"/>
                  </a:lnTo>
                  <a:lnTo>
                    <a:pt x="1756" y="2124"/>
                  </a:lnTo>
                  <a:lnTo>
                    <a:pt x="1751" y="2122"/>
                  </a:lnTo>
                  <a:lnTo>
                    <a:pt x="1735" y="2124"/>
                  </a:lnTo>
                  <a:lnTo>
                    <a:pt x="1717" y="2125"/>
                  </a:lnTo>
                  <a:lnTo>
                    <a:pt x="1702" y="2121"/>
                  </a:lnTo>
                  <a:lnTo>
                    <a:pt x="1662" y="2096"/>
                  </a:lnTo>
                  <a:lnTo>
                    <a:pt x="1650" y="2082"/>
                  </a:lnTo>
                  <a:lnTo>
                    <a:pt x="1648" y="2075"/>
                  </a:lnTo>
                  <a:lnTo>
                    <a:pt x="1649" y="2067"/>
                  </a:lnTo>
                  <a:lnTo>
                    <a:pt x="1648" y="2060"/>
                  </a:lnTo>
                  <a:lnTo>
                    <a:pt x="1642" y="2053"/>
                  </a:lnTo>
                  <a:lnTo>
                    <a:pt x="1634" y="2051"/>
                  </a:lnTo>
                  <a:lnTo>
                    <a:pt x="1625" y="2048"/>
                  </a:lnTo>
                  <a:lnTo>
                    <a:pt x="1615" y="2040"/>
                  </a:lnTo>
                  <a:lnTo>
                    <a:pt x="1599" y="2028"/>
                  </a:lnTo>
                  <a:lnTo>
                    <a:pt x="1587" y="2024"/>
                  </a:lnTo>
                  <a:lnTo>
                    <a:pt x="1570" y="2014"/>
                  </a:lnTo>
                  <a:lnTo>
                    <a:pt x="1556" y="2007"/>
                  </a:lnTo>
                  <a:lnTo>
                    <a:pt x="1545" y="2003"/>
                  </a:lnTo>
                  <a:lnTo>
                    <a:pt x="1537" y="2002"/>
                  </a:lnTo>
                  <a:lnTo>
                    <a:pt x="1532" y="2004"/>
                  </a:lnTo>
                  <a:lnTo>
                    <a:pt x="1528" y="2007"/>
                  </a:lnTo>
                  <a:lnTo>
                    <a:pt x="1520" y="2010"/>
                  </a:lnTo>
                  <a:lnTo>
                    <a:pt x="1507" y="2011"/>
                  </a:lnTo>
                  <a:lnTo>
                    <a:pt x="1507" y="2017"/>
                  </a:lnTo>
                  <a:lnTo>
                    <a:pt x="1514" y="2024"/>
                  </a:lnTo>
                  <a:lnTo>
                    <a:pt x="1515" y="2038"/>
                  </a:lnTo>
                  <a:lnTo>
                    <a:pt x="1514" y="2042"/>
                  </a:lnTo>
                  <a:lnTo>
                    <a:pt x="1509" y="2055"/>
                  </a:lnTo>
                  <a:lnTo>
                    <a:pt x="1508" y="2059"/>
                  </a:lnTo>
                  <a:lnTo>
                    <a:pt x="1504" y="2069"/>
                  </a:lnTo>
                  <a:lnTo>
                    <a:pt x="1506" y="2075"/>
                  </a:lnTo>
                  <a:lnTo>
                    <a:pt x="1505" y="2082"/>
                  </a:lnTo>
                  <a:lnTo>
                    <a:pt x="1498" y="2085"/>
                  </a:lnTo>
                  <a:lnTo>
                    <a:pt x="1487" y="2089"/>
                  </a:lnTo>
                  <a:lnTo>
                    <a:pt x="1481" y="2094"/>
                  </a:lnTo>
                  <a:lnTo>
                    <a:pt x="1477" y="2102"/>
                  </a:lnTo>
                  <a:lnTo>
                    <a:pt x="1467" y="2103"/>
                  </a:lnTo>
                  <a:lnTo>
                    <a:pt x="1462" y="2093"/>
                  </a:lnTo>
                  <a:lnTo>
                    <a:pt x="1451" y="2091"/>
                  </a:lnTo>
                  <a:lnTo>
                    <a:pt x="1447" y="2098"/>
                  </a:lnTo>
                  <a:lnTo>
                    <a:pt x="1450" y="2109"/>
                  </a:lnTo>
                  <a:lnTo>
                    <a:pt x="1452" y="2117"/>
                  </a:lnTo>
                  <a:lnTo>
                    <a:pt x="1455" y="2122"/>
                  </a:lnTo>
                  <a:lnTo>
                    <a:pt x="1468" y="2130"/>
                  </a:lnTo>
                  <a:lnTo>
                    <a:pt x="1465" y="2132"/>
                  </a:lnTo>
                  <a:lnTo>
                    <a:pt x="1457" y="2128"/>
                  </a:lnTo>
                  <a:lnTo>
                    <a:pt x="1459" y="2132"/>
                  </a:lnTo>
                  <a:lnTo>
                    <a:pt x="1459" y="2140"/>
                  </a:lnTo>
                  <a:lnTo>
                    <a:pt x="1461" y="2144"/>
                  </a:lnTo>
                  <a:lnTo>
                    <a:pt x="1459" y="2153"/>
                  </a:lnTo>
                  <a:lnTo>
                    <a:pt x="1463" y="2159"/>
                  </a:lnTo>
                  <a:lnTo>
                    <a:pt x="1466" y="2172"/>
                  </a:lnTo>
                  <a:lnTo>
                    <a:pt x="1479" y="2171"/>
                  </a:lnTo>
                  <a:lnTo>
                    <a:pt x="1487" y="2175"/>
                  </a:lnTo>
                  <a:lnTo>
                    <a:pt x="1495" y="2185"/>
                  </a:lnTo>
                  <a:lnTo>
                    <a:pt x="1501" y="2201"/>
                  </a:lnTo>
                  <a:lnTo>
                    <a:pt x="1509" y="2218"/>
                  </a:lnTo>
                  <a:lnTo>
                    <a:pt x="1544" y="2273"/>
                  </a:lnTo>
                  <a:lnTo>
                    <a:pt x="1555" y="2291"/>
                  </a:lnTo>
                  <a:lnTo>
                    <a:pt x="1581" y="2307"/>
                  </a:lnTo>
                  <a:lnTo>
                    <a:pt x="1590" y="2311"/>
                  </a:lnTo>
                  <a:lnTo>
                    <a:pt x="1597" y="2304"/>
                  </a:lnTo>
                  <a:lnTo>
                    <a:pt x="1611" y="2296"/>
                  </a:lnTo>
                  <a:lnTo>
                    <a:pt x="1617" y="2294"/>
                  </a:lnTo>
                  <a:lnTo>
                    <a:pt x="1624" y="2295"/>
                  </a:lnTo>
                  <a:lnTo>
                    <a:pt x="1631" y="2297"/>
                  </a:lnTo>
                  <a:lnTo>
                    <a:pt x="1636" y="2298"/>
                  </a:lnTo>
                  <a:lnTo>
                    <a:pt x="1639" y="2294"/>
                  </a:lnTo>
                  <a:lnTo>
                    <a:pt x="1640" y="2285"/>
                  </a:lnTo>
                  <a:lnTo>
                    <a:pt x="1645" y="2278"/>
                  </a:lnTo>
                  <a:lnTo>
                    <a:pt x="1655" y="2274"/>
                  </a:lnTo>
                  <a:lnTo>
                    <a:pt x="1659" y="2276"/>
                  </a:lnTo>
                  <a:lnTo>
                    <a:pt x="1664" y="2280"/>
                  </a:lnTo>
                  <a:lnTo>
                    <a:pt x="1663" y="2282"/>
                  </a:lnTo>
                  <a:lnTo>
                    <a:pt x="1662" y="2297"/>
                  </a:lnTo>
                  <a:lnTo>
                    <a:pt x="1668" y="2304"/>
                  </a:lnTo>
                  <a:lnTo>
                    <a:pt x="1688" y="2302"/>
                  </a:lnTo>
                  <a:lnTo>
                    <a:pt x="1685" y="2304"/>
                  </a:lnTo>
                  <a:lnTo>
                    <a:pt x="1683" y="2305"/>
                  </a:lnTo>
                  <a:lnTo>
                    <a:pt x="1681" y="2306"/>
                  </a:lnTo>
                  <a:lnTo>
                    <a:pt x="1680" y="2310"/>
                  </a:lnTo>
                  <a:lnTo>
                    <a:pt x="1683" y="2311"/>
                  </a:lnTo>
                  <a:lnTo>
                    <a:pt x="1687" y="2316"/>
                  </a:lnTo>
                  <a:lnTo>
                    <a:pt x="1695" y="2320"/>
                  </a:lnTo>
                  <a:lnTo>
                    <a:pt x="1698" y="2323"/>
                  </a:lnTo>
                  <a:lnTo>
                    <a:pt x="1699" y="2327"/>
                  </a:lnTo>
                  <a:lnTo>
                    <a:pt x="1695" y="2335"/>
                  </a:lnTo>
                  <a:lnTo>
                    <a:pt x="1682" y="2341"/>
                  </a:lnTo>
                  <a:lnTo>
                    <a:pt x="1679" y="2348"/>
                  </a:lnTo>
                  <a:lnTo>
                    <a:pt x="1681" y="2355"/>
                  </a:lnTo>
                  <a:lnTo>
                    <a:pt x="1686" y="2361"/>
                  </a:lnTo>
                  <a:lnTo>
                    <a:pt x="1695" y="2370"/>
                  </a:lnTo>
                  <a:lnTo>
                    <a:pt x="1699" y="2375"/>
                  </a:lnTo>
                  <a:lnTo>
                    <a:pt x="1702" y="2381"/>
                  </a:lnTo>
                  <a:lnTo>
                    <a:pt x="1708" y="2413"/>
                  </a:lnTo>
                  <a:lnTo>
                    <a:pt x="1708" y="2422"/>
                  </a:lnTo>
                  <a:lnTo>
                    <a:pt x="1706" y="2428"/>
                  </a:lnTo>
                  <a:lnTo>
                    <a:pt x="1695" y="2451"/>
                  </a:lnTo>
                  <a:lnTo>
                    <a:pt x="1692" y="2454"/>
                  </a:lnTo>
                  <a:lnTo>
                    <a:pt x="1686" y="2456"/>
                  </a:lnTo>
                  <a:lnTo>
                    <a:pt x="1673" y="2465"/>
                  </a:lnTo>
                  <a:lnTo>
                    <a:pt x="1667" y="2470"/>
                  </a:lnTo>
                  <a:lnTo>
                    <a:pt x="1650" y="2469"/>
                  </a:lnTo>
                  <a:lnTo>
                    <a:pt x="1640" y="2471"/>
                  </a:lnTo>
                  <a:lnTo>
                    <a:pt x="1633" y="2478"/>
                  </a:lnTo>
                  <a:lnTo>
                    <a:pt x="1633" y="2486"/>
                  </a:lnTo>
                  <a:lnTo>
                    <a:pt x="1634" y="2492"/>
                  </a:lnTo>
                  <a:lnTo>
                    <a:pt x="1632" y="2501"/>
                  </a:lnTo>
                  <a:lnTo>
                    <a:pt x="1621" y="2506"/>
                  </a:lnTo>
                  <a:lnTo>
                    <a:pt x="1605" y="2510"/>
                  </a:lnTo>
                  <a:lnTo>
                    <a:pt x="1582" y="2500"/>
                  </a:lnTo>
                  <a:lnTo>
                    <a:pt x="1580" y="2499"/>
                  </a:lnTo>
                  <a:lnTo>
                    <a:pt x="1579" y="2497"/>
                  </a:lnTo>
                  <a:lnTo>
                    <a:pt x="1577" y="2492"/>
                  </a:lnTo>
                  <a:lnTo>
                    <a:pt x="1576" y="2491"/>
                  </a:lnTo>
                  <a:lnTo>
                    <a:pt x="1575" y="2490"/>
                  </a:lnTo>
                  <a:lnTo>
                    <a:pt x="1570" y="2478"/>
                  </a:lnTo>
                  <a:lnTo>
                    <a:pt x="1567" y="2474"/>
                  </a:lnTo>
                  <a:lnTo>
                    <a:pt x="1562" y="2473"/>
                  </a:lnTo>
                  <a:lnTo>
                    <a:pt x="1537" y="2472"/>
                  </a:lnTo>
                  <a:lnTo>
                    <a:pt x="1534" y="2469"/>
                  </a:lnTo>
                  <a:lnTo>
                    <a:pt x="1528" y="2461"/>
                  </a:lnTo>
                  <a:lnTo>
                    <a:pt x="1526" y="2459"/>
                  </a:lnTo>
                  <a:lnTo>
                    <a:pt x="1523" y="2461"/>
                  </a:lnTo>
                  <a:lnTo>
                    <a:pt x="1516" y="2466"/>
                  </a:lnTo>
                  <a:lnTo>
                    <a:pt x="1513" y="2467"/>
                  </a:lnTo>
                  <a:lnTo>
                    <a:pt x="1510" y="2466"/>
                  </a:lnTo>
                  <a:lnTo>
                    <a:pt x="1505" y="2460"/>
                  </a:lnTo>
                  <a:lnTo>
                    <a:pt x="1503" y="2457"/>
                  </a:lnTo>
                  <a:lnTo>
                    <a:pt x="1499" y="2456"/>
                  </a:lnTo>
                  <a:lnTo>
                    <a:pt x="1489" y="2462"/>
                  </a:lnTo>
                  <a:lnTo>
                    <a:pt x="1486" y="2461"/>
                  </a:lnTo>
                  <a:lnTo>
                    <a:pt x="1480" y="2454"/>
                  </a:lnTo>
                  <a:lnTo>
                    <a:pt x="1478" y="2452"/>
                  </a:lnTo>
                  <a:lnTo>
                    <a:pt x="1475" y="2451"/>
                  </a:lnTo>
                  <a:lnTo>
                    <a:pt x="1469" y="2446"/>
                  </a:lnTo>
                  <a:lnTo>
                    <a:pt x="1466" y="2445"/>
                  </a:lnTo>
                  <a:lnTo>
                    <a:pt x="1457" y="2445"/>
                  </a:lnTo>
                  <a:lnTo>
                    <a:pt x="1453" y="2445"/>
                  </a:lnTo>
                  <a:lnTo>
                    <a:pt x="1450" y="2441"/>
                  </a:lnTo>
                  <a:lnTo>
                    <a:pt x="1444" y="2436"/>
                  </a:lnTo>
                  <a:lnTo>
                    <a:pt x="1435" y="2434"/>
                  </a:lnTo>
                  <a:lnTo>
                    <a:pt x="1423" y="2431"/>
                  </a:lnTo>
                  <a:lnTo>
                    <a:pt x="1419" y="2426"/>
                  </a:lnTo>
                  <a:lnTo>
                    <a:pt x="1420" y="2422"/>
                  </a:lnTo>
                  <a:lnTo>
                    <a:pt x="1422" y="2418"/>
                  </a:lnTo>
                  <a:lnTo>
                    <a:pt x="1418" y="2412"/>
                  </a:lnTo>
                  <a:lnTo>
                    <a:pt x="1412" y="2407"/>
                  </a:lnTo>
                  <a:lnTo>
                    <a:pt x="1410" y="2397"/>
                  </a:lnTo>
                  <a:lnTo>
                    <a:pt x="1413" y="2393"/>
                  </a:lnTo>
                  <a:lnTo>
                    <a:pt x="1414" y="2389"/>
                  </a:lnTo>
                  <a:lnTo>
                    <a:pt x="1413" y="2385"/>
                  </a:lnTo>
                  <a:lnTo>
                    <a:pt x="1407" y="2379"/>
                  </a:lnTo>
                  <a:lnTo>
                    <a:pt x="1403" y="2372"/>
                  </a:lnTo>
                  <a:lnTo>
                    <a:pt x="1396" y="2364"/>
                  </a:lnTo>
                  <a:lnTo>
                    <a:pt x="1391" y="2359"/>
                  </a:lnTo>
                  <a:lnTo>
                    <a:pt x="1386" y="2356"/>
                  </a:lnTo>
                  <a:lnTo>
                    <a:pt x="1381" y="2360"/>
                  </a:lnTo>
                  <a:lnTo>
                    <a:pt x="1378" y="2365"/>
                  </a:lnTo>
                  <a:lnTo>
                    <a:pt x="1373" y="2363"/>
                  </a:lnTo>
                  <a:lnTo>
                    <a:pt x="1372" y="2359"/>
                  </a:lnTo>
                  <a:lnTo>
                    <a:pt x="1370" y="2351"/>
                  </a:lnTo>
                  <a:lnTo>
                    <a:pt x="1369" y="2348"/>
                  </a:lnTo>
                  <a:lnTo>
                    <a:pt x="1366" y="2345"/>
                  </a:lnTo>
                  <a:lnTo>
                    <a:pt x="1361" y="2342"/>
                  </a:lnTo>
                  <a:lnTo>
                    <a:pt x="1359" y="2337"/>
                  </a:lnTo>
                  <a:lnTo>
                    <a:pt x="1360" y="2327"/>
                  </a:lnTo>
                  <a:lnTo>
                    <a:pt x="1355" y="2318"/>
                  </a:lnTo>
                  <a:lnTo>
                    <a:pt x="1347" y="2310"/>
                  </a:lnTo>
                  <a:lnTo>
                    <a:pt x="1333" y="2304"/>
                  </a:lnTo>
                  <a:lnTo>
                    <a:pt x="1320" y="2295"/>
                  </a:lnTo>
                  <a:lnTo>
                    <a:pt x="1311" y="2285"/>
                  </a:lnTo>
                  <a:lnTo>
                    <a:pt x="1308" y="2287"/>
                  </a:lnTo>
                  <a:lnTo>
                    <a:pt x="1309" y="2291"/>
                  </a:lnTo>
                  <a:lnTo>
                    <a:pt x="1312" y="2296"/>
                  </a:lnTo>
                  <a:lnTo>
                    <a:pt x="1313" y="2300"/>
                  </a:lnTo>
                  <a:lnTo>
                    <a:pt x="1316" y="2311"/>
                  </a:lnTo>
                  <a:lnTo>
                    <a:pt x="1312" y="2318"/>
                  </a:lnTo>
                  <a:lnTo>
                    <a:pt x="1303" y="2318"/>
                  </a:lnTo>
                  <a:lnTo>
                    <a:pt x="1292" y="2324"/>
                  </a:lnTo>
                  <a:lnTo>
                    <a:pt x="1283" y="2330"/>
                  </a:lnTo>
                  <a:lnTo>
                    <a:pt x="1274" y="2327"/>
                  </a:lnTo>
                  <a:lnTo>
                    <a:pt x="1270" y="2320"/>
                  </a:lnTo>
                  <a:lnTo>
                    <a:pt x="1271" y="2315"/>
                  </a:lnTo>
                  <a:lnTo>
                    <a:pt x="1267" y="2310"/>
                  </a:lnTo>
                  <a:lnTo>
                    <a:pt x="1269" y="2303"/>
                  </a:lnTo>
                  <a:lnTo>
                    <a:pt x="1267" y="2299"/>
                  </a:lnTo>
                  <a:lnTo>
                    <a:pt x="1263" y="2298"/>
                  </a:lnTo>
                  <a:lnTo>
                    <a:pt x="1244" y="2296"/>
                  </a:lnTo>
                  <a:lnTo>
                    <a:pt x="1239" y="2292"/>
                  </a:lnTo>
                  <a:lnTo>
                    <a:pt x="1238" y="2289"/>
                  </a:lnTo>
                  <a:lnTo>
                    <a:pt x="1227" y="2283"/>
                  </a:lnTo>
                  <a:lnTo>
                    <a:pt x="1220" y="2280"/>
                  </a:lnTo>
                  <a:lnTo>
                    <a:pt x="1211" y="2270"/>
                  </a:lnTo>
                  <a:lnTo>
                    <a:pt x="1218" y="2263"/>
                  </a:lnTo>
                  <a:lnTo>
                    <a:pt x="1220" y="2255"/>
                  </a:lnTo>
                  <a:lnTo>
                    <a:pt x="1214" y="2251"/>
                  </a:lnTo>
                  <a:lnTo>
                    <a:pt x="1207" y="2243"/>
                  </a:lnTo>
                  <a:lnTo>
                    <a:pt x="1204" y="2242"/>
                  </a:lnTo>
                  <a:lnTo>
                    <a:pt x="1194" y="2242"/>
                  </a:lnTo>
                  <a:lnTo>
                    <a:pt x="1192" y="2241"/>
                  </a:lnTo>
                  <a:lnTo>
                    <a:pt x="1187" y="2235"/>
                  </a:lnTo>
                  <a:lnTo>
                    <a:pt x="1184" y="2235"/>
                  </a:lnTo>
                  <a:lnTo>
                    <a:pt x="1182" y="2232"/>
                  </a:lnTo>
                  <a:lnTo>
                    <a:pt x="1177" y="2232"/>
                  </a:lnTo>
                  <a:lnTo>
                    <a:pt x="1180" y="2230"/>
                  </a:lnTo>
                  <a:lnTo>
                    <a:pt x="1187" y="2232"/>
                  </a:lnTo>
                  <a:lnTo>
                    <a:pt x="1188" y="2231"/>
                  </a:lnTo>
                  <a:lnTo>
                    <a:pt x="1194" y="2230"/>
                  </a:lnTo>
                  <a:lnTo>
                    <a:pt x="1200" y="2222"/>
                  </a:lnTo>
                  <a:lnTo>
                    <a:pt x="1207" y="2219"/>
                  </a:lnTo>
                  <a:lnTo>
                    <a:pt x="1215" y="2211"/>
                  </a:lnTo>
                  <a:lnTo>
                    <a:pt x="1214" y="2206"/>
                  </a:lnTo>
                  <a:lnTo>
                    <a:pt x="1208" y="2202"/>
                  </a:lnTo>
                  <a:lnTo>
                    <a:pt x="1205" y="2192"/>
                  </a:lnTo>
                  <a:lnTo>
                    <a:pt x="1192" y="2179"/>
                  </a:lnTo>
                  <a:lnTo>
                    <a:pt x="1192" y="2177"/>
                  </a:lnTo>
                  <a:lnTo>
                    <a:pt x="1195" y="2173"/>
                  </a:lnTo>
                  <a:lnTo>
                    <a:pt x="1199" y="2172"/>
                  </a:lnTo>
                  <a:lnTo>
                    <a:pt x="1207" y="2170"/>
                  </a:lnTo>
                  <a:lnTo>
                    <a:pt x="1214" y="2168"/>
                  </a:lnTo>
                  <a:lnTo>
                    <a:pt x="1220" y="2162"/>
                  </a:lnTo>
                  <a:lnTo>
                    <a:pt x="1214" y="2152"/>
                  </a:lnTo>
                  <a:lnTo>
                    <a:pt x="1210" y="2152"/>
                  </a:lnTo>
                  <a:lnTo>
                    <a:pt x="1207" y="2154"/>
                  </a:lnTo>
                  <a:lnTo>
                    <a:pt x="1200" y="2158"/>
                  </a:lnTo>
                  <a:lnTo>
                    <a:pt x="1189" y="2157"/>
                  </a:lnTo>
                  <a:lnTo>
                    <a:pt x="1188" y="2158"/>
                  </a:lnTo>
                  <a:lnTo>
                    <a:pt x="1186" y="2158"/>
                  </a:lnTo>
                  <a:lnTo>
                    <a:pt x="1180" y="2151"/>
                  </a:lnTo>
                  <a:lnTo>
                    <a:pt x="1184" y="2147"/>
                  </a:lnTo>
                  <a:lnTo>
                    <a:pt x="1194" y="2144"/>
                  </a:lnTo>
                  <a:lnTo>
                    <a:pt x="1198" y="2140"/>
                  </a:lnTo>
                  <a:lnTo>
                    <a:pt x="1204" y="2131"/>
                  </a:lnTo>
                  <a:lnTo>
                    <a:pt x="1207" y="2125"/>
                  </a:lnTo>
                  <a:lnTo>
                    <a:pt x="1209" y="2120"/>
                  </a:lnTo>
                  <a:lnTo>
                    <a:pt x="1207" y="2119"/>
                  </a:lnTo>
                  <a:lnTo>
                    <a:pt x="1204" y="2117"/>
                  </a:lnTo>
                  <a:lnTo>
                    <a:pt x="1201" y="2113"/>
                  </a:lnTo>
                  <a:lnTo>
                    <a:pt x="1199" y="2110"/>
                  </a:lnTo>
                  <a:lnTo>
                    <a:pt x="1199" y="2108"/>
                  </a:lnTo>
                  <a:lnTo>
                    <a:pt x="1198" y="2104"/>
                  </a:lnTo>
                  <a:lnTo>
                    <a:pt x="1198" y="2100"/>
                  </a:lnTo>
                  <a:lnTo>
                    <a:pt x="1198" y="2098"/>
                  </a:lnTo>
                  <a:lnTo>
                    <a:pt x="1198" y="2097"/>
                  </a:lnTo>
                  <a:lnTo>
                    <a:pt x="1196" y="2097"/>
                  </a:lnTo>
                  <a:lnTo>
                    <a:pt x="1194" y="2097"/>
                  </a:lnTo>
                  <a:lnTo>
                    <a:pt x="1193" y="2097"/>
                  </a:lnTo>
                  <a:lnTo>
                    <a:pt x="1192" y="2096"/>
                  </a:lnTo>
                  <a:lnTo>
                    <a:pt x="1188" y="2086"/>
                  </a:lnTo>
                  <a:lnTo>
                    <a:pt x="1183" y="2079"/>
                  </a:lnTo>
                  <a:lnTo>
                    <a:pt x="1178" y="2075"/>
                  </a:lnTo>
                  <a:lnTo>
                    <a:pt x="1171" y="2074"/>
                  </a:lnTo>
                  <a:lnTo>
                    <a:pt x="1174" y="2067"/>
                  </a:lnTo>
                  <a:lnTo>
                    <a:pt x="1178" y="2064"/>
                  </a:lnTo>
                  <a:lnTo>
                    <a:pt x="1182" y="2062"/>
                  </a:lnTo>
                  <a:lnTo>
                    <a:pt x="1186" y="2058"/>
                  </a:lnTo>
                  <a:lnTo>
                    <a:pt x="1189" y="2050"/>
                  </a:lnTo>
                  <a:lnTo>
                    <a:pt x="1185" y="2047"/>
                  </a:lnTo>
                  <a:lnTo>
                    <a:pt x="1179" y="2046"/>
                  </a:lnTo>
                  <a:lnTo>
                    <a:pt x="1178" y="2042"/>
                  </a:lnTo>
                  <a:lnTo>
                    <a:pt x="1181" y="2034"/>
                  </a:lnTo>
                  <a:lnTo>
                    <a:pt x="1182" y="2029"/>
                  </a:lnTo>
                  <a:lnTo>
                    <a:pt x="1181" y="2026"/>
                  </a:lnTo>
                  <a:lnTo>
                    <a:pt x="1168" y="2023"/>
                  </a:lnTo>
                  <a:lnTo>
                    <a:pt x="1165" y="2019"/>
                  </a:lnTo>
                  <a:lnTo>
                    <a:pt x="1166" y="2009"/>
                  </a:lnTo>
                  <a:lnTo>
                    <a:pt x="1161" y="2005"/>
                  </a:lnTo>
                  <a:lnTo>
                    <a:pt x="1159" y="2002"/>
                  </a:lnTo>
                  <a:lnTo>
                    <a:pt x="1162" y="2000"/>
                  </a:lnTo>
                  <a:lnTo>
                    <a:pt x="1166" y="1999"/>
                  </a:lnTo>
                  <a:lnTo>
                    <a:pt x="1168" y="1998"/>
                  </a:lnTo>
                  <a:lnTo>
                    <a:pt x="1168" y="1991"/>
                  </a:lnTo>
                  <a:lnTo>
                    <a:pt x="1167" y="1992"/>
                  </a:lnTo>
                  <a:lnTo>
                    <a:pt x="1162" y="1982"/>
                  </a:lnTo>
                  <a:lnTo>
                    <a:pt x="1160" y="1981"/>
                  </a:lnTo>
                  <a:lnTo>
                    <a:pt x="1156" y="1981"/>
                  </a:lnTo>
                  <a:lnTo>
                    <a:pt x="1161" y="1976"/>
                  </a:lnTo>
                  <a:lnTo>
                    <a:pt x="1157" y="1971"/>
                  </a:lnTo>
                  <a:lnTo>
                    <a:pt x="1147" y="1971"/>
                  </a:lnTo>
                  <a:lnTo>
                    <a:pt x="1143" y="1968"/>
                  </a:lnTo>
                  <a:lnTo>
                    <a:pt x="1145" y="1963"/>
                  </a:lnTo>
                  <a:lnTo>
                    <a:pt x="1143" y="1962"/>
                  </a:lnTo>
                  <a:lnTo>
                    <a:pt x="1138" y="1963"/>
                  </a:lnTo>
                  <a:lnTo>
                    <a:pt x="1136" y="1960"/>
                  </a:lnTo>
                  <a:lnTo>
                    <a:pt x="1134" y="1958"/>
                  </a:lnTo>
                  <a:lnTo>
                    <a:pt x="1133" y="1947"/>
                  </a:lnTo>
                  <a:lnTo>
                    <a:pt x="1136" y="1942"/>
                  </a:lnTo>
                  <a:lnTo>
                    <a:pt x="1135" y="1935"/>
                  </a:lnTo>
                  <a:lnTo>
                    <a:pt x="1133" y="1929"/>
                  </a:lnTo>
                  <a:lnTo>
                    <a:pt x="1130" y="1926"/>
                  </a:lnTo>
                  <a:lnTo>
                    <a:pt x="1107" y="1921"/>
                  </a:lnTo>
                  <a:lnTo>
                    <a:pt x="1110" y="1916"/>
                  </a:lnTo>
                  <a:lnTo>
                    <a:pt x="1118" y="1919"/>
                  </a:lnTo>
                  <a:lnTo>
                    <a:pt x="1122" y="1916"/>
                  </a:lnTo>
                  <a:lnTo>
                    <a:pt x="1119" y="1913"/>
                  </a:lnTo>
                  <a:lnTo>
                    <a:pt x="1118" y="1910"/>
                  </a:lnTo>
                  <a:lnTo>
                    <a:pt x="1117" y="1908"/>
                  </a:lnTo>
                  <a:lnTo>
                    <a:pt x="1121" y="1910"/>
                  </a:lnTo>
                  <a:lnTo>
                    <a:pt x="1123" y="1909"/>
                  </a:lnTo>
                  <a:lnTo>
                    <a:pt x="1126" y="1907"/>
                  </a:lnTo>
                  <a:lnTo>
                    <a:pt x="1127" y="1907"/>
                  </a:lnTo>
                  <a:lnTo>
                    <a:pt x="1130" y="1910"/>
                  </a:lnTo>
                  <a:lnTo>
                    <a:pt x="1134" y="1912"/>
                  </a:lnTo>
                  <a:lnTo>
                    <a:pt x="1137" y="1912"/>
                  </a:lnTo>
                  <a:lnTo>
                    <a:pt x="1141" y="1911"/>
                  </a:lnTo>
                  <a:lnTo>
                    <a:pt x="1138" y="1899"/>
                  </a:lnTo>
                  <a:lnTo>
                    <a:pt x="1141" y="1894"/>
                  </a:lnTo>
                  <a:lnTo>
                    <a:pt x="1147" y="1893"/>
                  </a:lnTo>
                  <a:lnTo>
                    <a:pt x="1160" y="1899"/>
                  </a:lnTo>
                  <a:lnTo>
                    <a:pt x="1165" y="1898"/>
                  </a:lnTo>
                  <a:lnTo>
                    <a:pt x="1168" y="1895"/>
                  </a:lnTo>
                  <a:lnTo>
                    <a:pt x="1168" y="1889"/>
                  </a:lnTo>
                  <a:lnTo>
                    <a:pt x="1166" y="1885"/>
                  </a:lnTo>
                  <a:lnTo>
                    <a:pt x="1163" y="1883"/>
                  </a:lnTo>
                  <a:lnTo>
                    <a:pt x="1160" y="1882"/>
                  </a:lnTo>
                  <a:lnTo>
                    <a:pt x="1165" y="1875"/>
                  </a:lnTo>
                  <a:lnTo>
                    <a:pt x="1172" y="1869"/>
                  </a:lnTo>
                  <a:lnTo>
                    <a:pt x="1177" y="1860"/>
                  </a:lnTo>
                  <a:lnTo>
                    <a:pt x="1176" y="1845"/>
                  </a:lnTo>
                  <a:lnTo>
                    <a:pt x="1181" y="1843"/>
                  </a:lnTo>
                  <a:lnTo>
                    <a:pt x="1183" y="1840"/>
                  </a:lnTo>
                  <a:lnTo>
                    <a:pt x="1182" y="1835"/>
                  </a:lnTo>
                  <a:lnTo>
                    <a:pt x="1179" y="1824"/>
                  </a:lnTo>
                  <a:lnTo>
                    <a:pt x="1178" y="1817"/>
                  </a:lnTo>
                  <a:lnTo>
                    <a:pt x="1177" y="1815"/>
                  </a:lnTo>
                  <a:lnTo>
                    <a:pt x="1175" y="1812"/>
                  </a:lnTo>
                  <a:lnTo>
                    <a:pt x="1171" y="1809"/>
                  </a:lnTo>
                  <a:lnTo>
                    <a:pt x="1170" y="1806"/>
                  </a:lnTo>
                  <a:lnTo>
                    <a:pt x="1176" y="1803"/>
                  </a:lnTo>
                  <a:lnTo>
                    <a:pt x="1179" y="1800"/>
                  </a:lnTo>
                  <a:lnTo>
                    <a:pt x="1180" y="1795"/>
                  </a:lnTo>
                  <a:lnTo>
                    <a:pt x="1178" y="1792"/>
                  </a:lnTo>
                  <a:lnTo>
                    <a:pt x="1171" y="1792"/>
                  </a:lnTo>
                  <a:lnTo>
                    <a:pt x="1169" y="1790"/>
                  </a:lnTo>
                  <a:lnTo>
                    <a:pt x="1169" y="1788"/>
                  </a:lnTo>
                  <a:lnTo>
                    <a:pt x="1168" y="1775"/>
                  </a:lnTo>
                  <a:lnTo>
                    <a:pt x="1168" y="1774"/>
                  </a:lnTo>
                  <a:lnTo>
                    <a:pt x="1168" y="1770"/>
                  </a:lnTo>
                  <a:lnTo>
                    <a:pt x="1169" y="1758"/>
                  </a:lnTo>
                  <a:lnTo>
                    <a:pt x="1171" y="1763"/>
                  </a:lnTo>
                  <a:lnTo>
                    <a:pt x="1182" y="1772"/>
                  </a:lnTo>
                  <a:lnTo>
                    <a:pt x="1202" y="1798"/>
                  </a:lnTo>
                  <a:lnTo>
                    <a:pt x="1206" y="1800"/>
                  </a:lnTo>
                  <a:lnTo>
                    <a:pt x="1209" y="1797"/>
                  </a:lnTo>
                  <a:lnTo>
                    <a:pt x="1210" y="1793"/>
                  </a:lnTo>
                  <a:lnTo>
                    <a:pt x="1213" y="1790"/>
                  </a:lnTo>
                  <a:lnTo>
                    <a:pt x="1207" y="1785"/>
                  </a:lnTo>
                  <a:lnTo>
                    <a:pt x="1201" y="1779"/>
                  </a:lnTo>
                  <a:lnTo>
                    <a:pt x="1200" y="1776"/>
                  </a:lnTo>
                  <a:lnTo>
                    <a:pt x="1198" y="1772"/>
                  </a:lnTo>
                  <a:lnTo>
                    <a:pt x="1197" y="1768"/>
                  </a:lnTo>
                  <a:lnTo>
                    <a:pt x="1200" y="1766"/>
                  </a:lnTo>
                  <a:lnTo>
                    <a:pt x="1201" y="1763"/>
                  </a:lnTo>
                  <a:lnTo>
                    <a:pt x="1202" y="1758"/>
                  </a:lnTo>
                  <a:lnTo>
                    <a:pt x="1202" y="1752"/>
                  </a:lnTo>
                  <a:lnTo>
                    <a:pt x="1201" y="1750"/>
                  </a:lnTo>
                  <a:lnTo>
                    <a:pt x="1195" y="1752"/>
                  </a:lnTo>
                  <a:lnTo>
                    <a:pt x="1193" y="1751"/>
                  </a:lnTo>
                  <a:lnTo>
                    <a:pt x="1191" y="1745"/>
                  </a:lnTo>
                  <a:lnTo>
                    <a:pt x="1195" y="1734"/>
                  </a:lnTo>
                  <a:lnTo>
                    <a:pt x="1197" y="1732"/>
                  </a:lnTo>
                  <a:lnTo>
                    <a:pt x="1196" y="1726"/>
                  </a:lnTo>
                  <a:lnTo>
                    <a:pt x="1195" y="1723"/>
                  </a:lnTo>
                  <a:lnTo>
                    <a:pt x="1194" y="1721"/>
                  </a:lnTo>
                  <a:lnTo>
                    <a:pt x="1193" y="1720"/>
                  </a:lnTo>
                  <a:lnTo>
                    <a:pt x="1188" y="1721"/>
                  </a:lnTo>
                  <a:lnTo>
                    <a:pt x="1187" y="1720"/>
                  </a:lnTo>
                  <a:lnTo>
                    <a:pt x="1184" y="1716"/>
                  </a:lnTo>
                  <a:lnTo>
                    <a:pt x="1183" y="1715"/>
                  </a:lnTo>
                  <a:lnTo>
                    <a:pt x="1180" y="1716"/>
                  </a:lnTo>
                  <a:lnTo>
                    <a:pt x="1174" y="1720"/>
                  </a:lnTo>
                  <a:lnTo>
                    <a:pt x="1171" y="1721"/>
                  </a:lnTo>
                  <a:lnTo>
                    <a:pt x="1170" y="1719"/>
                  </a:lnTo>
                  <a:lnTo>
                    <a:pt x="1170" y="1716"/>
                  </a:lnTo>
                  <a:lnTo>
                    <a:pt x="1171" y="1712"/>
                  </a:lnTo>
                  <a:lnTo>
                    <a:pt x="1173" y="1710"/>
                  </a:lnTo>
                  <a:lnTo>
                    <a:pt x="1169" y="1708"/>
                  </a:lnTo>
                  <a:lnTo>
                    <a:pt x="1166" y="1706"/>
                  </a:lnTo>
                  <a:lnTo>
                    <a:pt x="1164" y="1702"/>
                  </a:lnTo>
                  <a:lnTo>
                    <a:pt x="1171" y="1697"/>
                  </a:lnTo>
                  <a:lnTo>
                    <a:pt x="1173" y="1694"/>
                  </a:lnTo>
                  <a:lnTo>
                    <a:pt x="1174" y="1689"/>
                  </a:lnTo>
                  <a:lnTo>
                    <a:pt x="1173" y="1685"/>
                  </a:lnTo>
                  <a:lnTo>
                    <a:pt x="1165" y="1675"/>
                  </a:lnTo>
                  <a:lnTo>
                    <a:pt x="1163" y="1673"/>
                  </a:lnTo>
                  <a:lnTo>
                    <a:pt x="1160" y="1671"/>
                  </a:lnTo>
                  <a:lnTo>
                    <a:pt x="1156" y="1662"/>
                  </a:lnTo>
                  <a:lnTo>
                    <a:pt x="1150" y="1658"/>
                  </a:lnTo>
                  <a:lnTo>
                    <a:pt x="1147" y="1648"/>
                  </a:lnTo>
                  <a:lnTo>
                    <a:pt x="1144" y="1644"/>
                  </a:lnTo>
                  <a:lnTo>
                    <a:pt x="1145" y="1649"/>
                  </a:lnTo>
                  <a:lnTo>
                    <a:pt x="1138" y="1639"/>
                  </a:lnTo>
                  <a:lnTo>
                    <a:pt x="1112" y="1620"/>
                  </a:lnTo>
                  <a:lnTo>
                    <a:pt x="1103" y="1619"/>
                  </a:lnTo>
                  <a:lnTo>
                    <a:pt x="1101" y="1618"/>
                  </a:lnTo>
                  <a:lnTo>
                    <a:pt x="1096" y="1615"/>
                  </a:lnTo>
                  <a:lnTo>
                    <a:pt x="1085" y="1611"/>
                  </a:lnTo>
                  <a:lnTo>
                    <a:pt x="1083" y="1610"/>
                  </a:lnTo>
                  <a:lnTo>
                    <a:pt x="1083" y="1607"/>
                  </a:lnTo>
                  <a:lnTo>
                    <a:pt x="1084" y="1604"/>
                  </a:lnTo>
                  <a:lnTo>
                    <a:pt x="1085" y="1601"/>
                  </a:lnTo>
                  <a:lnTo>
                    <a:pt x="1086" y="1597"/>
                  </a:lnTo>
                  <a:lnTo>
                    <a:pt x="1084" y="1596"/>
                  </a:lnTo>
                  <a:lnTo>
                    <a:pt x="1078" y="1590"/>
                  </a:lnTo>
                  <a:lnTo>
                    <a:pt x="1076" y="1587"/>
                  </a:lnTo>
                  <a:lnTo>
                    <a:pt x="1073" y="1586"/>
                  </a:lnTo>
                  <a:lnTo>
                    <a:pt x="1055" y="1586"/>
                  </a:lnTo>
                  <a:lnTo>
                    <a:pt x="1051" y="1587"/>
                  </a:lnTo>
                  <a:lnTo>
                    <a:pt x="1049" y="1589"/>
                  </a:lnTo>
                  <a:lnTo>
                    <a:pt x="1046" y="1593"/>
                  </a:lnTo>
                  <a:lnTo>
                    <a:pt x="1044" y="1595"/>
                  </a:lnTo>
                  <a:lnTo>
                    <a:pt x="1041" y="1591"/>
                  </a:lnTo>
                  <a:lnTo>
                    <a:pt x="1041" y="1588"/>
                  </a:lnTo>
                  <a:lnTo>
                    <a:pt x="1042" y="1586"/>
                  </a:lnTo>
                  <a:lnTo>
                    <a:pt x="1042" y="1583"/>
                  </a:lnTo>
                  <a:lnTo>
                    <a:pt x="1039" y="1580"/>
                  </a:lnTo>
                  <a:lnTo>
                    <a:pt x="999" y="1563"/>
                  </a:lnTo>
                  <a:lnTo>
                    <a:pt x="1002" y="1561"/>
                  </a:lnTo>
                  <a:lnTo>
                    <a:pt x="1001" y="1558"/>
                  </a:lnTo>
                  <a:lnTo>
                    <a:pt x="999" y="1556"/>
                  </a:lnTo>
                  <a:lnTo>
                    <a:pt x="996" y="1554"/>
                  </a:lnTo>
                  <a:lnTo>
                    <a:pt x="977" y="1561"/>
                  </a:lnTo>
                  <a:lnTo>
                    <a:pt x="950" y="1560"/>
                  </a:lnTo>
                  <a:lnTo>
                    <a:pt x="955" y="1552"/>
                  </a:lnTo>
                  <a:lnTo>
                    <a:pt x="962" y="1549"/>
                  </a:lnTo>
                  <a:lnTo>
                    <a:pt x="976" y="1547"/>
                  </a:lnTo>
                  <a:lnTo>
                    <a:pt x="1001" y="1549"/>
                  </a:lnTo>
                  <a:lnTo>
                    <a:pt x="1008" y="1544"/>
                  </a:lnTo>
                  <a:lnTo>
                    <a:pt x="1003" y="1536"/>
                  </a:lnTo>
                  <a:lnTo>
                    <a:pt x="989" y="1530"/>
                  </a:lnTo>
                  <a:lnTo>
                    <a:pt x="983" y="1525"/>
                  </a:lnTo>
                  <a:lnTo>
                    <a:pt x="990" y="1519"/>
                  </a:lnTo>
                  <a:lnTo>
                    <a:pt x="1010" y="1522"/>
                  </a:lnTo>
                  <a:lnTo>
                    <a:pt x="1018" y="1517"/>
                  </a:lnTo>
                  <a:lnTo>
                    <a:pt x="1013" y="1509"/>
                  </a:lnTo>
                  <a:lnTo>
                    <a:pt x="1000" y="1507"/>
                  </a:lnTo>
                  <a:lnTo>
                    <a:pt x="994" y="1503"/>
                  </a:lnTo>
                  <a:lnTo>
                    <a:pt x="997" y="1500"/>
                  </a:lnTo>
                  <a:lnTo>
                    <a:pt x="1000" y="1500"/>
                  </a:lnTo>
                  <a:lnTo>
                    <a:pt x="1001" y="1498"/>
                  </a:lnTo>
                  <a:lnTo>
                    <a:pt x="1000" y="1491"/>
                  </a:lnTo>
                  <a:lnTo>
                    <a:pt x="996" y="1487"/>
                  </a:lnTo>
                  <a:lnTo>
                    <a:pt x="993" y="1489"/>
                  </a:lnTo>
                  <a:lnTo>
                    <a:pt x="986" y="1499"/>
                  </a:lnTo>
                  <a:lnTo>
                    <a:pt x="981" y="1502"/>
                  </a:lnTo>
                  <a:lnTo>
                    <a:pt x="957" y="1495"/>
                  </a:lnTo>
                  <a:lnTo>
                    <a:pt x="953" y="1493"/>
                  </a:lnTo>
                  <a:lnTo>
                    <a:pt x="950" y="1488"/>
                  </a:lnTo>
                  <a:lnTo>
                    <a:pt x="949" y="1486"/>
                  </a:lnTo>
                  <a:lnTo>
                    <a:pt x="949" y="1484"/>
                  </a:lnTo>
                  <a:lnTo>
                    <a:pt x="949" y="1482"/>
                  </a:lnTo>
                  <a:lnTo>
                    <a:pt x="948" y="1480"/>
                  </a:lnTo>
                  <a:lnTo>
                    <a:pt x="946" y="1478"/>
                  </a:lnTo>
                  <a:lnTo>
                    <a:pt x="937" y="1474"/>
                  </a:lnTo>
                  <a:lnTo>
                    <a:pt x="933" y="1474"/>
                  </a:lnTo>
                  <a:lnTo>
                    <a:pt x="929" y="1475"/>
                  </a:lnTo>
                  <a:lnTo>
                    <a:pt x="917" y="1484"/>
                  </a:lnTo>
                  <a:lnTo>
                    <a:pt x="908" y="1485"/>
                  </a:lnTo>
                  <a:lnTo>
                    <a:pt x="899" y="1483"/>
                  </a:lnTo>
                  <a:lnTo>
                    <a:pt x="891" y="1476"/>
                  </a:lnTo>
                  <a:lnTo>
                    <a:pt x="896" y="1471"/>
                  </a:lnTo>
                  <a:lnTo>
                    <a:pt x="905" y="1469"/>
                  </a:lnTo>
                  <a:lnTo>
                    <a:pt x="912" y="1464"/>
                  </a:lnTo>
                  <a:lnTo>
                    <a:pt x="920" y="1467"/>
                  </a:lnTo>
                  <a:lnTo>
                    <a:pt x="927" y="1465"/>
                  </a:lnTo>
                  <a:lnTo>
                    <a:pt x="928" y="1465"/>
                  </a:lnTo>
                  <a:lnTo>
                    <a:pt x="931" y="1465"/>
                  </a:lnTo>
                  <a:lnTo>
                    <a:pt x="929" y="1462"/>
                  </a:lnTo>
                  <a:lnTo>
                    <a:pt x="928" y="1460"/>
                  </a:lnTo>
                  <a:lnTo>
                    <a:pt x="927" y="1459"/>
                  </a:lnTo>
                  <a:lnTo>
                    <a:pt x="925" y="1459"/>
                  </a:lnTo>
                  <a:lnTo>
                    <a:pt x="932" y="1456"/>
                  </a:lnTo>
                  <a:lnTo>
                    <a:pt x="980" y="1478"/>
                  </a:lnTo>
                  <a:lnTo>
                    <a:pt x="986" y="1473"/>
                  </a:lnTo>
                  <a:lnTo>
                    <a:pt x="984" y="1471"/>
                  </a:lnTo>
                  <a:lnTo>
                    <a:pt x="977" y="1467"/>
                  </a:lnTo>
                  <a:lnTo>
                    <a:pt x="975" y="1465"/>
                  </a:lnTo>
                  <a:lnTo>
                    <a:pt x="974" y="1464"/>
                  </a:lnTo>
                  <a:lnTo>
                    <a:pt x="972" y="1458"/>
                  </a:lnTo>
                  <a:lnTo>
                    <a:pt x="968" y="1450"/>
                  </a:lnTo>
                  <a:lnTo>
                    <a:pt x="942" y="1440"/>
                  </a:lnTo>
                  <a:lnTo>
                    <a:pt x="937" y="1440"/>
                  </a:lnTo>
                  <a:lnTo>
                    <a:pt x="936" y="1441"/>
                  </a:lnTo>
                  <a:lnTo>
                    <a:pt x="935" y="1443"/>
                  </a:lnTo>
                  <a:lnTo>
                    <a:pt x="936" y="1445"/>
                  </a:lnTo>
                  <a:lnTo>
                    <a:pt x="936" y="1445"/>
                  </a:lnTo>
                  <a:lnTo>
                    <a:pt x="933" y="1448"/>
                  </a:lnTo>
                  <a:lnTo>
                    <a:pt x="932" y="1449"/>
                  </a:lnTo>
                  <a:lnTo>
                    <a:pt x="920" y="1448"/>
                  </a:lnTo>
                  <a:lnTo>
                    <a:pt x="917" y="1449"/>
                  </a:lnTo>
                  <a:lnTo>
                    <a:pt x="915" y="1454"/>
                  </a:lnTo>
                  <a:lnTo>
                    <a:pt x="917" y="1457"/>
                  </a:lnTo>
                  <a:lnTo>
                    <a:pt x="885" y="1458"/>
                  </a:lnTo>
                  <a:lnTo>
                    <a:pt x="879" y="1448"/>
                  </a:lnTo>
                  <a:lnTo>
                    <a:pt x="891" y="1446"/>
                  </a:lnTo>
                  <a:lnTo>
                    <a:pt x="897" y="1447"/>
                  </a:lnTo>
                  <a:lnTo>
                    <a:pt x="902" y="1450"/>
                  </a:lnTo>
                  <a:lnTo>
                    <a:pt x="906" y="1451"/>
                  </a:lnTo>
                  <a:lnTo>
                    <a:pt x="911" y="1448"/>
                  </a:lnTo>
                  <a:lnTo>
                    <a:pt x="916" y="1443"/>
                  </a:lnTo>
                  <a:lnTo>
                    <a:pt x="917" y="1435"/>
                  </a:lnTo>
                  <a:lnTo>
                    <a:pt x="920" y="1427"/>
                  </a:lnTo>
                  <a:lnTo>
                    <a:pt x="926" y="1426"/>
                  </a:lnTo>
                  <a:lnTo>
                    <a:pt x="936" y="1429"/>
                  </a:lnTo>
                  <a:lnTo>
                    <a:pt x="946" y="1435"/>
                  </a:lnTo>
                  <a:lnTo>
                    <a:pt x="951" y="1436"/>
                  </a:lnTo>
                  <a:lnTo>
                    <a:pt x="952" y="1429"/>
                  </a:lnTo>
                  <a:lnTo>
                    <a:pt x="950" y="1425"/>
                  </a:lnTo>
                  <a:lnTo>
                    <a:pt x="930" y="1410"/>
                  </a:lnTo>
                  <a:lnTo>
                    <a:pt x="897" y="1411"/>
                  </a:lnTo>
                  <a:lnTo>
                    <a:pt x="864" y="1391"/>
                  </a:lnTo>
                  <a:lnTo>
                    <a:pt x="871" y="1393"/>
                  </a:lnTo>
                  <a:lnTo>
                    <a:pt x="888" y="1393"/>
                  </a:lnTo>
                  <a:lnTo>
                    <a:pt x="890" y="1391"/>
                  </a:lnTo>
                  <a:lnTo>
                    <a:pt x="889" y="1387"/>
                  </a:lnTo>
                  <a:lnTo>
                    <a:pt x="888" y="1380"/>
                  </a:lnTo>
                  <a:lnTo>
                    <a:pt x="886" y="1377"/>
                  </a:lnTo>
                  <a:lnTo>
                    <a:pt x="883" y="1375"/>
                  </a:lnTo>
                  <a:lnTo>
                    <a:pt x="854" y="1369"/>
                  </a:lnTo>
                  <a:lnTo>
                    <a:pt x="848" y="1363"/>
                  </a:lnTo>
                  <a:lnTo>
                    <a:pt x="849" y="1356"/>
                  </a:lnTo>
                  <a:lnTo>
                    <a:pt x="846" y="1351"/>
                  </a:lnTo>
                  <a:lnTo>
                    <a:pt x="836" y="1344"/>
                  </a:lnTo>
                  <a:lnTo>
                    <a:pt x="829" y="1334"/>
                  </a:lnTo>
                  <a:lnTo>
                    <a:pt x="826" y="1332"/>
                  </a:lnTo>
                  <a:lnTo>
                    <a:pt x="809" y="1332"/>
                  </a:lnTo>
                  <a:lnTo>
                    <a:pt x="809" y="1330"/>
                  </a:lnTo>
                  <a:lnTo>
                    <a:pt x="815" y="1327"/>
                  </a:lnTo>
                  <a:lnTo>
                    <a:pt x="818" y="1323"/>
                  </a:lnTo>
                  <a:lnTo>
                    <a:pt x="818" y="1316"/>
                  </a:lnTo>
                  <a:lnTo>
                    <a:pt x="819" y="1316"/>
                  </a:lnTo>
                  <a:lnTo>
                    <a:pt x="821" y="1313"/>
                  </a:lnTo>
                  <a:lnTo>
                    <a:pt x="817" y="1309"/>
                  </a:lnTo>
                  <a:lnTo>
                    <a:pt x="808" y="1308"/>
                  </a:lnTo>
                  <a:lnTo>
                    <a:pt x="804" y="1305"/>
                  </a:lnTo>
                  <a:lnTo>
                    <a:pt x="809" y="1304"/>
                  </a:lnTo>
                  <a:lnTo>
                    <a:pt x="823" y="1307"/>
                  </a:lnTo>
                  <a:lnTo>
                    <a:pt x="827" y="1304"/>
                  </a:lnTo>
                  <a:lnTo>
                    <a:pt x="829" y="1296"/>
                  </a:lnTo>
                  <a:lnTo>
                    <a:pt x="830" y="1291"/>
                  </a:lnTo>
                  <a:lnTo>
                    <a:pt x="829" y="1286"/>
                  </a:lnTo>
                  <a:lnTo>
                    <a:pt x="826" y="1280"/>
                  </a:lnTo>
                  <a:lnTo>
                    <a:pt x="822" y="1274"/>
                  </a:lnTo>
                  <a:lnTo>
                    <a:pt x="809" y="1264"/>
                  </a:lnTo>
                  <a:lnTo>
                    <a:pt x="803" y="1263"/>
                  </a:lnTo>
                  <a:lnTo>
                    <a:pt x="797" y="1264"/>
                  </a:lnTo>
                  <a:lnTo>
                    <a:pt x="792" y="1262"/>
                  </a:lnTo>
                  <a:lnTo>
                    <a:pt x="788" y="1255"/>
                  </a:lnTo>
                  <a:lnTo>
                    <a:pt x="794" y="1255"/>
                  </a:lnTo>
                  <a:lnTo>
                    <a:pt x="796" y="1255"/>
                  </a:lnTo>
                  <a:lnTo>
                    <a:pt x="799" y="1258"/>
                  </a:lnTo>
                  <a:lnTo>
                    <a:pt x="797" y="1252"/>
                  </a:lnTo>
                  <a:lnTo>
                    <a:pt x="790" y="1247"/>
                  </a:lnTo>
                  <a:lnTo>
                    <a:pt x="784" y="1235"/>
                  </a:lnTo>
                  <a:lnTo>
                    <a:pt x="779" y="1232"/>
                  </a:lnTo>
                  <a:lnTo>
                    <a:pt x="775" y="1232"/>
                  </a:lnTo>
                  <a:lnTo>
                    <a:pt x="757" y="1237"/>
                  </a:lnTo>
                  <a:lnTo>
                    <a:pt x="728" y="1235"/>
                  </a:lnTo>
                  <a:lnTo>
                    <a:pt x="730" y="1227"/>
                  </a:lnTo>
                  <a:lnTo>
                    <a:pt x="731" y="1224"/>
                  </a:lnTo>
                  <a:lnTo>
                    <a:pt x="718" y="1224"/>
                  </a:lnTo>
                  <a:lnTo>
                    <a:pt x="723" y="1219"/>
                  </a:lnTo>
                  <a:lnTo>
                    <a:pt x="728" y="1218"/>
                  </a:lnTo>
                  <a:lnTo>
                    <a:pt x="733" y="1219"/>
                  </a:lnTo>
                  <a:lnTo>
                    <a:pt x="749" y="1228"/>
                  </a:lnTo>
                  <a:lnTo>
                    <a:pt x="754" y="1229"/>
                  </a:lnTo>
                  <a:lnTo>
                    <a:pt x="772" y="1224"/>
                  </a:lnTo>
                  <a:lnTo>
                    <a:pt x="782" y="1228"/>
                  </a:lnTo>
                  <a:lnTo>
                    <a:pt x="785" y="1226"/>
                  </a:lnTo>
                  <a:lnTo>
                    <a:pt x="789" y="1223"/>
                  </a:lnTo>
                  <a:lnTo>
                    <a:pt x="794" y="1221"/>
                  </a:lnTo>
                  <a:lnTo>
                    <a:pt x="803" y="1221"/>
                  </a:lnTo>
                  <a:lnTo>
                    <a:pt x="805" y="1222"/>
                  </a:lnTo>
                  <a:lnTo>
                    <a:pt x="811" y="1230"/>
                  </a:lnTo>
                  <a:lnTo>
                    <a:pt x="814" y="1231"/>
                  </a:lnTo>
                  <a:lnTo>
                    <a:pt x="843" y="1232"/>
                  </a:lnTo>
                  <a:lnTo>
                    <a:pt x="859" y="1246"/>
                  </a:lnTo>
                  <a:lnTo>
                    <a:pt x="865" y="1249"/>
                  </a:lnTo>
                  <a:lnTo>
                    <a:pt x="870" y="1249"/>
                  </a:lnTo>
                  <a:lnTo>
                    <a:pt x="890" y="1246"/>
                  </a:lnTo>
                  <a:lnTo>
                    <a:pt x="896" y="1249"/>
                  </a:lnTo>
                  <a:lnTo>
                    <a:pt x="890" y="1254"/>
                  </a:lnTo>
                  <a:lnTo>
                    <a:pt x="878" y="1256"/>
                  </a:lnTo>
                  <a:lnTo>
                    <a:pt x="872" y="1261"/>
                  </a:lnTo>
                  <a:lnTo>
                    <a:pt x="869" y="1266"/>
                  </a:lnTo>
                  <a:lnTo>
                    <a:pt x="869" y="1274"/>
                  </a:lnTo>
                  <a:lnTo>
                    <a:pt x="870" y="1282"/>
                  </a:lnTo>
                  <a:lnTo>
                    <a:pt x="873" y="1290"/>
                  </a:lnTo>
                  <a:lnTo>
                    <a:pt x="876" y="1296"/>
                  </a:lnTo>
                  <a:lnTo>
                    <a:pt x="917" y="1344"/>
                  </a:lnTo>
                  <a:lnTo>
                    <a:pt x="977" y="1395"/>
                  </a:lnTo>
                  <a:lnTo>
                    <a:pt x="983" y="1398"/>
                  </a:lnTo>
                  <a:lnTo>
                    <a:pt x="989" y="1396"/>
                  </a:lnTo>
                  <a:lnTo>
                    <a:pt x="987" y="1391"/>
                  </a:lnTo>
                  <a:lnTo>
                    <a:pt x="980" y="1385"/>
                  </a:lnTo>
                  <a:lnTo>
                    <a:pt x="978" y="1380"/>
                  </a:lnTo>
                  <a:lnTo>
                    <a:pt x="982" y="1382"/>
                  </a:lnTo>
                  <a:lnTo>
                    <a:pt x="988" y="1390"/>
                  </a:lnTo>
                  <a:lnTo>
                    <a:pt x="991" y="1391"/>
                  </a:lnTo>
                  <a:lnTo>
                    <a:pt x="991" y="1388"/>
                  </a:lnTo>
                  <a:lnTo>
                    <a:pt x="990" y="1386"/>
                  </a:lnTo>
                  <a:lnTo>
                    <a:pt x="987" y="1383"/>
                  </a:lnTo>
                  <a:lnTo>
                    <a:pt x="985" y="1379"/>
                  </a:lnTo>
                  <a:lnTo>
                    <a:pt x="984" y="1374"/>
                  </a:lnTo>
                  <a:lnTo>
                    <a:pt x="988" y="1377"/>
                  </a:lnTo>
                  <a:lnTo>
                    <a:pt x="996" y="1385"/>
                  </a:lnTo>
                  <a:lnTo>
                    <a:pt x="1000" y="1388"/>
                  </a:lnTo>
                  <a:lnTo>
                    <a:pt x="988" y="1375"/>
                  </a:lnTo>
                  <a:lnTo>
                    <a:pt x="983" y="1366"/>
                  </a:lnTo>
                  <a:lnTo>
                    <a:pt x="984" y="1355"/>
                  </a:lnTo>
                  <a:lnTo>
                    <a:pt x="987" y="1361"/>
                  </a:lnTo>
                  <a:lnTo>
                    <a:pt x="990" y="1365"/>
                  </a:lnTo>
                  <a:lnTo>
                    <a:pt x="997" y="1371"/>
                  </a:lnTo>
                  <a:lnTo>
                    <a:pt x="995" y="1363"/>
                  </a:lnTo>
                  <a:lnTo>
                    <a:pt x="994" y="1359"/>
                  </a:lnTo>
                  <a:lnTo>
                    <a:pt x="995" y="1355"/>
                  </a:lnTo>
                  <a:lnTo>
                    <a:pt x="999" y="1361"/>
                  </a:lnTo>
                  <a:lnTo>
                    <a:pt x="1001" y="1365"/>
                  </a:lnTo>
                  <a:lnTo>
                    <a:pt x="1003" y="1367"/>
                  </a:lnTo>
                  <a:lnTo>
                    <a:pt x="1007" y="1365"/>
                  </a:lnTo>
                  <a:lnTo>
                    <a:pt x="1010" y="1367"/>
                  </a:lnTo>
                  <a:lnTo>
                    <a:pt x="1013" y="1373"/>
                  </a:lnTo>
                  <a:lnTo>
                    <a:pt x="1022" y="1381"/>
                  </a:lnTo>
                  <a:lnTo>
                    <a:pt x="1026" y="1387"/>
                  </a:lnTo>
                  <a:lnTo>
                    <a:pt x="1030" y="1403"/>
                  </a:lnTo>
                  <a:lnTo>
                    <a:pt x="1033" y="1409"/>
                  </a:lnTo>
                  <a:lnTo>
                    <a:pt x="1037" y="1410"/>
                  </a:lnTo>
                  <a:lnTo>
                    <a:pt x="1039" y="1407"/>
                  </a:lnTo>
                  <a:lnTo>
                    <a:pt x="1039" y="1404"/>
                  </a:lnTo>
                  <a:lnTo>
                    <a:pt x="1039" y="1401"/>
                  </a:lnTo>
                  <a:lnTo>
                    <a:pt x="1041" y="1402"/>
                  </a:lnTo>
                  <a:lnTo>
                    <a:pt x="1043" y="1404"/>
                  </a:lnTo>
                  <a:lnTo>
                    <a:pt x="1046" y="1410"/>
                  </a:lnTo>
                  <a:lnTo>
                    <a:pt x="1048" y="1412"/>
                  </a:lnTo>
                  <a:lnTo>
                    <a:pt x="1051" y="1413"/>
                  </a:lnTo>
                  <a:lnTo>
                    <a:pt x="1061" y="1413"/>
                  </a:lnTo>
                  <a:lnTo>
                    <a:pt x="1062" y="1412"/>
                  </a:lnTo>
                  <a:lnTo>
                    <a:pt x="1062" y="1408"/>
                  </a:lnTo>
                  <a:lnTo>
                    <a:pt x="1063" y="1407"/>
                  </a:lnTo>
                  <a:lnTo>
                    <a:pt x="1064" y="1408"/>
                  </a:lnTo>
                  <a:lnTo>
                    <a:pt x="1066" y="1410"/>
                  </a:lnTo>
                  <a:lnTo>
                    <a:pt x="1067" y="1410"/>
                  </a:lnTo>
                  <a:lnTo>
                    <a:pt x="1070" y="1407"/>
                  </a:lnTo>
                  <a:lnTo>
                    <a:pt x="1074" y="1402"/>
                  </a:lnTo>
                  <a:lnTo>
                    <a:pt x="1077" y="1396"/>
                  </a:lnTo>
                  <a:lnTo>
                    <a:pt x="1080" y="1388"/>
                  </a:lnTo>
                  <a:lnTo>
                    <a:pt x="1081" y="1383"/>
                  </a:lnTo>
                  <a:lnTo>
                    <a:pt x="1081" y="1379"/>
                  </a:lnTo>
                  <a:lnTo>
                    <a:pt x="1082" y="1378"/>
                  </a:lnTo>
                  <a:lnTo>
                    <a:pt x="1084" y="1380"/>
                  </a:lnTo>
                  <a:lnTo>
                    <a:pt x="1084" y="1382"/>
                  </a:lnTo>
                  <a:lnTo>
                    <a:pt x="1085" y="1386"/>
                  </a:lnTo>
                  <a:lnTo>
                    <a:pt x="1085" y="1390"/>
                  </a:lnTo>
                  <a:lnTo>
                    <a:pt x="1085" y="1393"/>
                  </a:lnTo>
                  <a:lnTo>
                    <a:pt x="1083" y="1401"/>
                  </a:lnTo>
                  <a:lnTo>
                    <a:pt x="1081" y="1408"/>
                  </a:lnTo>
                  <a:lnTo>
                    <a:pt x="1074" y="1418"/>
                  </a:lnTo>
                  <a:lnTo>
                    <a:pt x="1078" y="1420"/>
                  </a:lnTo>
                  <a:lnTo>
                    <a:pt x="1080" y="1420"/>
                  </a:lnTo>
                  <a:lnTo>
                    <a:pt x="1082" y="1419"/>
                  </a:lnTo>
                  <a:lnTo>
                    <a:pt x="1086" y="1414"/>
                  </a:lnTo>
                  <a:lnTo>
                    <a:pt x="1087" y="1413"/>
                  </a:lnTo>
                  <a:lnTo>
                    <a:pt x="1089" y="1414"/>
                  </a:lnTo>
                  <a:lnTo>
                    <a:pt x="1092" y="1417"/>
                  </a:lnTo>
                  <a:lnTo>
                    <a:pt x="1093" y="1418"/>
                  </a:lnTo>
                  <a:lnTo>
                    <a:pt x="1105" y="1418"/>
                  </a:lnTo>
                  <a:lnTo>
                    <a:pt x="1134" y="1429"/>
                  </a:lnTo>
                  <a:lnTo>
                    <a:pt x="1138" y="1427"/>
                  </a:lnTo>
                  <a:lnTo>
                    <a:pt x="1137" y="1424"/>
                  </a:lnTo>
                  <a:lnTo>
                    <a:pt x="1140" y="1423"/>
                  </a:lnTo>
                  <a:lnTo>
                    <a:pt x="1142" y="1425"/>
                  </a:lnTo>
                  <a:lnTo>
                    <a:pt x="1143" y="1428"/>
                  </a:lnTo>
                  <a:lnTo>
                    <a:pt x="1139" y="1432"/>
                  </a:lnTo>
                  <a:lnTo>
                    <a:pt x="1135" y="1433"/>
                  </a:lnTo>
                  <a:lnTo>
                    <a:pt x="1126" y="1429"/>
                  </a:lnTo>
                  <a:lnTo>
                    <a:pt x="1122" y="1429"/>
                  </a:lnTo>
                  <a:lnTo>
                    <a:pt x="1116" y="1435"/>
                  </a:lnTo>
                  <a:lnTo>
                    <a:pt x="1118" y="1443"/>
                  </a:lnTo>
                  <a:lnTo>
                    <a:pt x="1122" y="1450"/>
                  </a:lnTo>
                  <a:lnTo>
                    <a:pt x="1128" y="1469"/>
                  </a:lnTo>
                  <a:lnTo>
                    <a:pt x="1136" y="1472"/>
                  </a:lnTo>
                  <a:lnTo>
                    <a:pt x="1144" y="1472"/>
                  </a:lnTo>
                  <a:lnTo>
                    <a:pt x="1149" y="1470"/>
                  </a:lnTo>
                  <a:lnTo>
                    <a:pt x="1162" y="1462"/>
                  </a:lnTo>
                  <a:lnTo>
                    <a:pt x="1174" y="1449"/>
                  </a:lnTo>
                  <a:lnTo>
                    <a:pt x="1187" y="1442"/>
                  </a:lnTo>
                  <a:lnTo>
                    <a:pt x="1200" y="1448"/>
                  </a:lnTo>
                  <a:lnTo>
                    <a:pt x="1247" y="1495"/>
                  </a:lnTo>
                  <a:lnTo>
                    <a:pt x="1254" y="1499"/>
                  </a:lnTo>
                  <a:lnTo>
                    <a:pt x="1268" y="1504"/>
                  </a:lnTo>
                  <a:lnTo>
                    <a:pt x="1279" y="1520"/>
                  </a:lnTo>
                  <a:lnTo>
                    <a:pt x="1307" y="1532"/>
                  </a:lnTo>
                  <a:lnTo>
                    <a:pt x="1325" y="1532"/>
                  </a:lnTo>
                  <a:lnTo>
                    <a:pt x="1341" y="1542"/>
                  </a:lnTo>
                  <a:lnTo>
                    <a:pt x="1381" y="1550"/>
                  </a:lnTo>
                  <a:lnTo>
                    <a:pt x="1420" y="1558"/>
                  </a:lnTo>
                  <a:lnTo>
                    <a:pt x="1441" y="1568"/>
                  </a:lnTo>
                  <a:lnTo>
                    <a:pt x="1460" y="1567"/>
                  </a:lnTo>
                  <a:lnTo>
                    <a:pt x="1477" y="1571"/>
                  </a:lnTo>
                  <a:lnTo>
                    <a:pt x="1496" y="1568"/>
                  </a:lnTo>
                  <a:lnTo>
                    <a:pt x="1509" y="1573"/>
                  </a:lnTo>
                  <a:lnTo>
                    <a:pt x="1518" y="1572"/>
                  </a:lnTo>
                  <a:lnTo>
                    <a:pt x="1579" y="1594"/>
                  </a:lnTo>
                  <a:lnTo>
                    <a:pt x="1593" y="1604"/>
                  </a:lnTo>
                  <a:lnTo>
                    <a:pt x="1605" y="1609"/>
                  </a:lnTo>
                  <a:lnTo>
                    <a:pt x="1622" y="1627"/>
                  </a:lnTo>
                  <a:lnTo>
                    <a:pt x="1640" y="1636"/>
                  </a:lnTo>
                  <a:lnTo>
                    <a:pt x="1666" y="1640"/>
                  </a:lnTo>
                  <a:lnTo>
                    <a:pt x="1683" y="1650"/>
                  </a:lnTo>
                  <a:lnTo>
                    <a:pt x="1733" y="1656"/>
                  </a:lnTo>
                  <a:lnTo>
                    <a:pt x="1782" y="1663"/>
                  </a:lnTo>
                  <a:lnTo>
                    <a:pt x="1843" y="1644"/>
                  </a:lnTo>
                  <a:lnTo>
                    <a:pt x="1845" y="1642"/>
                  </a:lnTo>
                  <a:lnTo>
                    <a:pt x="1849" y="1640"/>
                  </a:lnTo>
                  <a:lnTo>
                    <a:pt x="1863" y="1644"/>
                  </a:lnTo>
                  <a:lnTo>
                    <a:pt x="1908" y="1631"/>
                  </a:lnTo>
                  <a:lnTo>
                    <a:pt x="1914" y="1627"/>
                  </a:lnTo>
                  <a:lnTo>
                    <a:pt x="1927" y="1614"/>
                  </a:lnTo>
                  <a:lnTo>
                    <a:pt x="1965" y="1603"/>
                  </a:lnTo>
                  <a:lnTo>
                    <a:pt x="1976" y="1596"/>
                  </a:lnTo>
                  <a:lnTo>
                    <a:pt x="1982" y="1594"/>
                  </a:lnTo>
                  <a:lnTo>
                    <a:pt x="1988" y="1588"/>
                  </a:lnTo>
                  <a:lnTo>
                    <a:pt x="2026" y="1571"/>
                  </a:lnTo>
                  <a:lnTo>
                    <a:pt x="2037" y="1555"/>
                  </a:lnTo>
                  <a:lnTo>
                    <a:pt x="2061" y="1534"/>
                  </a:lnTo>
                  <a:lnTo>
                    <a:pt x="2075" y="1529"/>
                  </a:lnTo>
                  <a:lnTo>
                    <a:pt x="2082" y="1525"/>
                  </a:lnTo>
                  <a:lnTo>
                    <a:pt x="2092" y="1511"/>
                  </a:lnTo>
                  <a:lnTo>
                    <a:pt x="2102" y="1505"/>
                  </a:lnTo>
                  <a:lnTo>
                    <a:pt x="2104" y="1500"/>
                  </a:lnTo>
                  <a:lnTo>
                    <a:pt x="2108" y="1489"/>
                  </a:lnTo>
                  <a:lnTo>
                    <a:pt x="2113" y="1484"/>
                  </a:lnTo>
                  <a:lnTo>
                    <a:pt x="2118" y="1482"/>
                  </a:lnTo>
                  <a:lnTo>
                    <a:pt x="2124" y="1476"/>
                  </a:lnTo>
                  <a:lnTo>
                    <a:pt x="2126" y="1470"/>
                  </a:lnTo>
                  <a:lnTo>
                    <a:pt x="2126" y="1468"/>
                  </a:lnTo>
                  <a:lnTo>
                    <a:pt x="2126" y="1465"/>
                  </a:lnTo>
                  <a:lnTo>
                    <a:pt x="2126" y="1459"/>
                  </a:lnTo>
                  <a:lnTo>
                    <a:pt x="2128" y="1454"/>
                  </a:lnTo>
                  <a:lnTo>
                    <a:pt x="2130" y="1449"/>
                  </a:lnTo>
                  <a:lnTo>
                    <a:pt x="2133" y="1445"/>
                  </a:lnTo>
                  <a:lnTo>
                    <a:pt x="2138" y="1442"/>
                  </a:lnTo>
                  <a:lnTo>
                    <a:pt x="2141" y="1439"/>
                  </a:lnTo>
                  <a:lnTo>
                    <a:pt x="2144" y="1435"/>
                  </a:lnTo>
                  <a:lnTo>
                    <a:pt x="2148" y="1426"/>
                  </a:lnTo>
                  <a:lnTo>
                    <a:pt x="2158" y="1418"/>
                  </a:lnTo>
                  <a:lnTo>
                    <a:pt x="2177" y="1389"/>
                  </a:lnTo>
                  <a:lnTo>
                    <a:pt x="2194" y="1372"/>
                  </a:lnTo>
                  <a:lnTo>
                    <a:pt x="2199" y="1363"/>
                  </a:lnTo>
                  <a:lnTo>
                    <a:pt x="2214" y="1326"/>
                  </a:lnTo>
                  <a:lnTo>
                    <a:pt x="2219" y="1307"/>
                  </a:lnTo>
                  <a:lnTo>
                    <a:pt x="2219" y="1302"/>
                  </a:lnTo>
                  <a:lnTo>
                    <a:pt x="2217" y="1298"/>
                  </a:lnTo>
                  <a:lnTo>
                    <a:pt x="2214" y="1294"/>
                  </a:lnTo>
                  <a:lnTo>
                    <a:pt x="2213" y="1291"/>
                  </a:lnTo>
                  <a:lnTo>
                    <a:pt x="2215" y="1286"/>
                  </a:lnTo>
                  <a:lnTo>
                    <a:pt x="2219" y="1286"/>
                  </a:lnTo>
                  <a:lnTo>
                    <a:pt x="2223" y="1287"/>
                  </a:lnTo>
                  <a:lnTo>
                    <a:pt x="2226" y="1286"/>
                  </a:lnTo>
                  <a:lnTo>
                    <a:pt x="2228" y="1281"/>
                  </a:lnTo>
                  <a:lnTo>
                    <a:pt x="2227" y="1278"/>
                  </a:lnTo>
                  <a:lnTo>
                    <a:pt x="2226" y="1274"/>
                  </a:lnTo>
                  <a:lnTo>
                    <a:pt x="2225" y="1268"/>
                  </a:lnTo>
                  <a:lnTo>
                    <a:pt x="2225" y="1251"/>
                  </a:lnTo>
                  <a:lnTo>
                    <a:pt x="2226" y="1248"/>
                  </a:lnTo>
                  <a:lnTo>
                    <a:pt x="2229" y="1245"/>
                  </a:lnTo>
                  <a:lnTo>
                    <a:pt x="2232" y="1242"/>
                  </a:lnTo>
                  <a:lnTo>
                    <a:pt x="2233" y="1235"/>
                  </a:lnTo>
                  <a:lnTo>
                    <a:pt x="2231" y="1230"/>
                  </a:lnTo>
                  <a:lnTo>
                    <a:pt x="2226" y="1226"/>
                  </a:lnTo>
                  <a:lnTo>
                    <a:pt x="2224" y="1221"/>
                  </a:lnTo>
                  <a:lnTo>
                    <a:pt x="2224" y="1217"/>
                  </a:lnTo>
                  <a:lnTo>
                    <a:pt x="2227" y="1209"/>
                  </a:lnTo>
                  <a:lnTo>
                    <a:pt x="2228" y="1203"/>
                  </a:lnTo>
                  <a:lnTo>
                    <a:pt x="2227" y="1199"/>
                  </a:lnTo>
                  <a:lnTo>
                    <a:pt x="2225" y="1195"/>
                  </a:lnTo>
                  <a:lnTo>
                    <a:pt x="2222" y="1192"/>
                  </a:lnTo>
                  <a:lnTo>
                    <a:pt x="2220" y="1190"/>
                  </a:lnTo>
                  <a:lnTo>
                    <a:pt x="2216" y="1192"/>
                  </a:lnTo>
                  <a:lnTo>
                    <a:pt x="2212" y="1196"/>
                  </a:lnTo>
                  <a:lnTo>
                    <a:pt x="2209" y="1199"/>
                  </a:lnTo>
                  <a:lnTo>
                    <a:pt x="2193" y="1190"/>
                  </a:lnTo>
                  <a:lnTo>
                    <a:pt x="2188" y="1183"/>
                  </a:lnTo>
                  <a:lnTo>
                    <a:pt x="2190" y="1170"/>
                  </a:lnTo>
                  <a:lnTo>
                    <a:pt x="2192" y="1160"/>
                  </a:lnTo>
                  <a:lnTo>
                    <a:pt x="2192" y="1149"/>
                  </a:lnTo>
                  <a:lnTo>
                    <a:pt x="2192" y="1129"/>
                  </a:lnTo>
                  <a:lnTo>
                    <a:pt x="2193" y="1125"/>
                  </a:lnTo>
                  <a:lnTo>
                    <a:pt x="2194" y="1118"/>
                  </a:lnTo>
                  <a:lnTo>
                    <a:pt x="2194" y="1113"/>
                  </a:lnTo>
                  <a:lnTo>
                    <a:pt x="2194" y="1113"/>
                  </a:lnTo>
                  <a:lnTo>
                    <a:pt x="2189" y="1103"/>
                  </a:lnTo>
                  <a:lnTo>
                    <a:pt x="2184" y="1098"/>
                  </a:lnTo>
                  <a:lnTo>
                    <a:pt x="2180" y="1095"/>
                  </a:lnTo>
                  <a:lnTo>
                    <a:pt x="2171" y="1095"/>
                  </a:lnTo>
                  <a:lnTo>
                    <a:pt x="2171" y="1090"/>
                  </a:lnTo>
                  <a:lnTo>
                    <a:pt x="2172" y="1085"/>
                  </a:lnTo>
                  <a:lnTo>
                    <a:pt x="2172" y="1075"/>
                  </a:lnTo>
                  <a:lnTo>
                    <a:pt x="2172" y="1073"/>
                  </a:lnTo>
                  <a:lnTo>
                    <a:pt x="2172" y="1071"/>
                  </a:lnTo>
                  <a:lnTo>
                    <a:pt x="2173" y="1069"/>
                  </a:lnTo>
                  <a:lnTo>
                    <a:pt x="2173" y="1067"/>
                  </a:lnTo>
                  <a:lnTo>
                    <a:pt x="2172" y="1063"/>
                  </a:lnTo>
                  <a:lnTo>
                    <a:pt x="2169" y="1058"/>
                  </a:lnTo>
                  <a:lnTo>
                    <a:pt x="2169" y="1055"/>
                  </a:lnTo>
                  <a:lnTo>
                    <a:pt x="2172" y="1047"/>
                  </a:lnTo>
                  <a:lnTo>
                    <a:pt x="2176" y="1040"/>
                  </a:lnTo>
                  <a:lnTo>
                    <a:pt x="2179" y="1032"/>
                  </a:lnTo>
                  <a:lnTo>
                    <a:pt x="2179" y="1018"/>
                  </a:lnTo>
                  <a:lnTo>
                    <a:pt x="2177" y="1007"/>
                  </a:lnTo>
                  <a:lnTo>
                    <a:pt x="2173" y="999"/>
                  </a:lnTo>
                  <a:lnTo>
                    <a:pt x="2165" y="988"/>
                  </a:lnTo>
                  <a:lnTo>
                    <a:pt x="2158" y="984"/>
                  </a:lnTo>
                  <a:lnTo>
                    <a:pt x="2146" y="988"/>
                  </a:lnTo>
                  <a:lnTo>
                    <a:pt x="2139" y="986"/>
                  </a:lnTo>
                  <a:lnTo>
                    <a:pt x="2128" y="972"/>
                  </a:lnTo>
                  <a:lnTo>
                    <a:pt x="2123" y="968"/>
                  </a:lnTo>
                  <a:lnTo>
                    <a:pt x="2120" y="964"/>
                  </a:lnTo>
                  <a:lnTo>
                    <a:pt x="2119" y="959"/>
                  </a:lnTo>
                  <a:lnTo>
                    <a:pt x="2118" y="952"/>
                  </a:lnTo>
                  <a:lnTo>
                    <a:pt x="2116" y="950"/>
                  </a:lnTo>
                  <a:lnTo>
                    <a:pt x="2109" y="952"/>
                  </a:lnTo>
                  <a:lnTo>
                    <a:pt x="2105" y="951"/>
                  </a:lnTo>
                  <a:lnTo>
                    <a:pt x="2103" y="952"/>
                  </a:lnTo>
                  <a:lnTo>
                    <a:pt x="2101" y="953"/>
                  </a:lnTo>
                  <a:lnTo>
                    <a:pt x="2101" y="956"/>
                  </a:lnTo>
                  <a:lnTo>
                    <a:pt x="2101" y="959"/>
                  </a:lnTo>
                  <a:lnTo>
                    <a:pt x="2102" y="961"/>
                  </a:lnTo>
                  <a:lnTo>
                    <a:pt x="2102" y="963"/>
                  </a:lnTo>
                  <a:lnTo>
                    <a:pt x="2097" y="975"/>
                  </a:lnTo>
                  <a:lnTo>
                    <a:pt x="2092" y="977"/>
                  </a:lnTo>
                  <a:lnTo>
                    <a:pt x="2086" y="973"/>
                  </a:lnTo>
                  <a:lnTo>
                    <a:pt x="2073" y="956"/>
                  </a:lnTo>
                  <a:lnTo>
                    <a:pt x="2063" y="937"/>
                  </a:lnTo>
                  <a:lnTo>
                    <a:pt x="2063" y="935"/>
                  </a:lnTo>
                  <a:lnTo>
                    <a:pt x="2071" y="936"/>
                  </a:lnTo>
                  <a:lnTo>
                    <a:pt x="2076" y="934"/>
                  </a:lnTo>
                  <a:lnTo>
                    <a:pt x="2078" y="929"/>
                  </a:lnTo>
                  <a:lnTo>
                    <a:pt x="2077" y="925"/>
                  </a:lnTo>
                  <a:lnTo>
                    <a:pt x="2070" y="913"/>
                  </a:lnTo>
                  <a:lnTo>
                    <a:pt x="2068" y="912"/>
                  </a:lnTo>
                  <a:lnTo>
                    <a:pt x="2066" y="911"/>
                  </a:lnTo>
                  <a:lnTo>
                    <a:pt x="2064" y="911"/>
                  </a:lnTo>
                  <a:lnTo>
                    <a:pt x="2060" y="913"/>
                  </a:lnTo>
                  <a:lnTo>
                    <a:pt x="2060" y="912"/>
                  </a:lnTo>
                  <a:lnTo>
                    <a:pt x="2059" y="910"/>
                  </a:lnTo>
                  <a:lnTo>
                    <a:pt x="2059" y="908"/>
                  </a:lnTo>
                  <a:lnTo>
                    <a:pt x="2036" y="890"/>
                  </a:lnTo>
                  <a:lnTo>
                    <a:pt x="2031" y="884"/>
                  </a:lnTo>
                  <a:lnTo>
                    <a:pt x="2024" y="871"/>
                  </a:lnTo>
                  <a:lnTo>
                    <a:pt x="2021" y="868"/>
                  </a:lnTo>
                  <a:lnTo>
                    <a:pt x="2018" y="866"/>
                  </a:lnTo>
                  <a:lnTo>
                    <a:pt x="2015" y="865"/>
                  </a:lnTo>
                  <a:lnTo>
                    <a:pt x="2013" y="863"/>
                  </a:lnTo>
                  <a:lnTo>
                    <a:pt x="2010" y="860"/>
                  </a:lnTo>
                  <a:lnTo>
                    <a:pt x="2003" y="843"/>
                  </a:lnTo>
                  <a:lnTo>
                    <a:pt x="2001" y="836"/>
                  </a:lnTo>
                  <a:lnTo>
                    <a:pt x="2000" y="829"/>
                  </a:lnTo>
                  <a:lnTo>
                    <a:pt x="1999" y="824"/>
                  </a:lnTo>
                  <a:lnTo>
                    <a:pt x="1998" y="820"/>
                  </a:lnTo>
                  <a:lnTo>
                    <a:pt x="1991" y="817"/>
                  </a:lnTo>
                  <a:lnTo>
                    <a:pt x="1979" y="802"/>
                  </a:lnTo>
                  <a:lnTo>
                    <a:pt x="1975" y="800"/>
                  </a:lnTo>
                  <a:lnTo>
                    <a:pt x="1968" y="798"/>
                  </a:lnTo>
                  <a:lnTo>
                    <a:pt x="1966" y="800"/>
                  </a:lnTo>
                  <a:lnTo>
                    <a:pt x="1968" y="804"/>
                  </a:lnTo>
                  <a:lnTo>
                    <a:pt x="1977" y="818"/>
                  </a:lnTo>
                  <a:lnTo>
                    <a:pt x="1979" y="822"/>
                  </a:lnTo>
                  <a:lnTo>
                    <a:pt x="1987" y="842"/>
                  </a:lnTo>
                  <a:lnTo>
                    <a:pt x="1990" y="848"/>
                  </a:lnTo>
                  <a:lnTo>
                    <a:pt x="1990" y="848"/>
                  </a:lnTo>
                  <a:lnTo>
                    <a:pt x="1990" y="852"/>
                  </a:lnTo>
                  <a:lnTo>
                    <a:pt x="1988" y="854"/>
                  </a:lnTo>
                  <a:lnTo>
                    <a:pt x="1986" y="854"/>
                  </a:lnTo>
                  <a:lnTo>
                    <a:pt x="1985" y="852"/>
                  </a:lnTo>
                  <a:lnTo>
                    <a:pt x="1980" y="850"/>
                  </a:lnTo>
                  <a:lnTo>
                    <a:pt x="1971" y="852"/>
                  </a:lnTo>
                  <a:lnTo>
                    <a:pt x="1962" y="846"/>
                  </a:lnTo>
                  <a:lnTo>
                    <a:pt x="1950" y="845"/>
                  </a:lnTo>
                  <a:lnTo>
                    <a:pt x="1936" y="840"/>
                  </a:lnTo>
                  <a:lnTo>
                    <a:pt x="1910" y="808"/>
                  </a:lnTo>
                  <a:lnTo>
                    <a:pt x="1893" y="799"/>
                  </a:lnTo>
                  <a:lnTo>
                    <a:pt x="1859" y="765"/>
                  </a:lnTo>
                  <a:lnTo>
                    <a:pt x="1846" y="759"/>
                  </a:lnTo>
                  <a:lnTo>
                    <a:pt x="1842" y="754"/>
                  </a:lnTo>
                  <a:lnTo>
                    <a:pt x="1845" y="750"/>
                  </a:lnTo>
                  <a:lnTo>
                    <a:pt x="1845" y="744"/>
                  </a:lnTo>
                  <a:lnTo>
                    <a:pt x="1841" y="739"/>
                  </a:lnTo>
                  <a:lnTo>
                    <a:pt x="1838" y="736"/>
                  </a:lnTo>
                  <a:lnTo>
                    <a:pt x="1821" y="732"/>
                  </a:lnTo>
                  <a:lnTo>
                    <a:pt x="1815" y="728"/>
                  </a:lnTo>
                  <a:lnTo>
                    <a:pt x="1800" y="710"/>
                  </a:lnTo>
                  <a:lnTo>
                    <a:pt x="1796" y="708"/>
                  </a:lnTo>
                  <a:lnTo>
                    <a:pt x="1792" y="706"/>
                  </a:lnTo>
                  <a:lnTo>
                    <a:pt x="1789" y="709"/>
                  </a:lnTo>
                  <a:lnTo>
                    <a:pt x="1792" y="716"/>
                  </a:lnTo>
                  <a:lnTo>
                    <a:pt x="1788" y="718"/>
                  </a:lnTo>
                  <a:lnTo>
                    <a:pt x="1780" y="711"/>
                  </a:lnTo>
                  <a:lnTo>
                    <a:pt x="1776" y="711"/>
                  </a:lnTo>
                  <a:lnTo>
                    <a:pt x="1775" y="716"/>
                  </a:lnTo>
                  <a:lnTo>
                    <a:pt x="1779" y="720"/>
                  </a:lnTo>
                  <a:lnTo>
                    <a:pt x="1791" y="731"/>
                  </a:lnTo>
                  <a:lnTo>
                    <a:pt x="1806" y="739"/>
                  </a:lnTo>
                  <a:lnTo>
                    <a:pt x="1816" y="748"/>
                  </a:lnTo>
                  <a:lnTo>
                    <a:pt x="1808" y="748"/>
                  </a:lnTo>
                  <a:lnTo>
                    <a:pt x="1773" y="726"/>
                  </a:lnTo>
                  <a:lnTo>
                    <a:pt x="1769" y="725"/>
                  </a:lnTo>
                  <a:lnTo>
                    <a:pt x="1768" y="724"/>
                  </a:lnTo>
                  <a:lnTo>
                    <a:pt x="1766" y="720"/>
                  </a:lnTo>
                  <a:lnTo>
                    <a:pt x="1765" y="719"/>
                  </a:lnTo>
                  <a:lnTo>
                    <a:pt x="1763" y="720"/>
                  </a:lnTo>
                  <a:lnTo>
                    <a:pt x="1763" y="723"/>
                  </a:lnTo>
                  <a:lnTo>
                    <a:pt x="1762" y="726"/>
                  </a:lnTo>
                  <a:lnTo>
                    <a:pt x="1762" y="728"/>
                  </a:lnTo>
                  <a:lnTo>
                    <a:pt x="1756" y="726"/>
                  </a:lnTo>
                  <a:lnTo>
                    <a:pt x="1757" y="701"/>
                  </a:lnTo>
                  <a:lnTo>
                    <a:pt x="1750" y="693"/>
                  </a:lnTo>
                  <a:lnTo>
                    <a:pt x="1747" y="683"/>
                  </a:lnTo>
                  <a:lnTo>
                    <a:pt x="1745" y="681"/>
                  </a:lnTo>
                  <a:lnTo>
                    <a:pt x="1729" y="675"/>
                  </a:lnTo>
                  <a:lnTo>
                    <a:pt x="1728" y="673"/>
                  </a:lnTo>
                  <a:lnTo>
                    <a:pt x="1728" y="670"/>
                  </a:lnTo>
                  <a:lnTo>
                    <a:pt x="1728" y="667"/>
                  </a:lnTo>
                  <a:lnTo>
                    <a:pt x="1727" y="666"/>
                  </a:lnTo>
                  <a:lnTo>
                    <a:pt x="1726" y="665"/>
                  </a:lnTo>
                  <a:lnTo>
                    <a:pt x="1723" y="660"/>
                  </a:lnTo>
                  <a:lnTo>
                    <a:pt x="1718" y="658"/>
                  </a:lnTo>
                  <a:lnTo>
                    <a:pt x="1709" y="657"/>
                  </a:lnTo>
                  <a:lnTo>
                    <a:pt x="1705" y="654"/>
                  </a:lnTo>
                  <a:lnTo>
                    <a:pt x="1704" y="651"/>
                  </a:lnTo>
                  <a:lnTo>
                    <a:pt x="1702" y="643"/>
                  </a:lnTo>
                  <a:lnTo>
                    <a:pt x="1701" y="639"/>
                  </a:lnTo>
                  <a:lnTo>
                    <a:pt x="1698" y="634"/>
                  </a:lnTo>
                  <a:lnTo>
                    <a:pt x="1693" y="628"/>
                  </a:lnTo>
                  <a:lnTo>
                    <a:pt x="1686" y="614"/>
                  </a:lnTo>
                  <a:lnTo>
                    <a:pt x="1665" y="588"/>
                  </a:lnTo>
                  <a:lnTo>
                    <a:pt x="1652" y="577"/>
                  </a:lnTo>
                  <a:lnTo>
                    <a:pt x="1647" y="569"/>
                  </a:lnTo>
                  <a:lnTo>
                    <a:pt x="1644" y="565"/>
                  </a:lnTo>
                  <a:lnTo>
                    <a:pt x="1629" y="560"/>
                  </a:lnTo>
                  <a:lnTo>
                    <a:pt x="1628" y="556"/>
                  </a:lnTo>
                  <a:lnTo>
                    <a:pt x="1626" y="555"/>
                  </a:lnTo>
                  <a:lnTo>
                    <a:pt x="1619" y="555"/>
                  </a:lnTo>
                  <a:lnTo>
                    <a:pt x="1615" y="553"/>
                  </a:lnTo>
                  <a:lnTo>
                    <a:pt x="1609" y="552"/>
                  </a:lnTo>
                  <a:lnTo>
                    <a:pt x="1608" y="551"/>
                  </a:lnTo>
                  <a:lnTo>
                    <a:pt x="1605" y="547"/>
                  </a:lnTo>
                  <a:lnTo>
                    <a:pt x="1601" y="545"/>
                  </a:lnTo>
                  <a:lnTo>
                    <a:pt x="1595" y="535"/>
                  </a:lnTo>
                  <a:lnTo>
                    <a:pt x="1592" y="531"/>
                  </a:lnTo>
                  <a:lnTo>
                    <a:pt x="1585" y="527"/>
                  </a:lnTo>
                  <a:lnTo>
                    <a:pt x="1577" y="526"/>
                  </a:lnTo>
                  <a:lnTo>
                    <a:pt x="1574" y="524"/>
                  </a:lnTo>
                  <a:lnTo>
                    <a:pt x="1573" y="518"/>
                  </a:lnTo>
                  <a:lnTo>
                    <a:pt x="1571" y="512"/>
                  </a:lnTo>
                  <a:lnTo>
                    <a:pt x="1569" y="507"/>
                  </a:lnTo>
                  <a:lnTo>
                    <a:pt x="1566" y="505"/>
                  </a:lnTo>
                  <a:lnTo>
                    <a:pt x="1551" y="501"/>
                  </a:lnTo>
                  <a:lnTo>
                    <a:pt x="1542" y="495"/>
                  </a:lnTo>
                  <a:lnTo>
                    <a:pt x="1540" y="491"/>
                  </a:lnTo>
                  <a:lnTo>
                    <a:pt x="1538" y="486"/>
                  </a:lnTo>
                  <a:lnTo>
                    <a:pt x="1511" y="463"/>
                  </a:lnTo>
                  <a:lnTo>
                    <a:pt x="1502" y="461"/>
                  </a:lnTo>
                  <a:lnTo>
                    <a:pt x="1498" y="459"/>
                  </a:lnTo>
                  <a:lnTo>
                    <a:pt x="1497" y="458"/>
                  </a:lnTo>
                  <a:lnTo>
                    <a:pt x="1496" y="456"/>
                  </a:lnTo>
                  <a:lnTo>
                    <a:pt x="1494" y="452"/>
                  </a:lnTo>
                  <a:lnTo>
                    <a:pt x="1493" y="448"/>
                  </a:lnTo>
                  <a:lnTo>
                    <a:pt x="1491" y="447"/>
                  </a:lnTo>
                  <a:lnTo>
                    <a:pt x="1489" y="448"/>
                  </a:lnTo>
                  <a:lnTo>
                    <a:pt x="1486" y="447"/>
                  </a:lnTo>
                  <a:lnTo>
                    <a:pt x="1459" y="426"/>
                  </a:lnTo>
                  <a:lnTo>
                    <a:pt x="1426" y="413"/>
                  </a:lnTo>
                  <a:lnTo>
                    <a:pt x="1419" y="404"/>
                  </a:lnTo>
                  <a:lnTo>
                    <a:pt x="1420" y="395"/>
                  </a:lnTo>
                  <a:lnTo>
                    <a:pt x="1416" y="390"/>
                  </a:lnTo>
                  <a:lnTo>
                    <a:pt x="1392" y="380"/>
                  </a:lnTo>
                  <a:lnTo>
                    <a:pt x="1388" y="383"/>
                  </a:lnTo>
                  <a:lnTo>
                    <a:pt x="1386" y="382"/>
                  </a:lnTo>
                  <a:lnTo>
                    <a:pt x="1384" y="379"/>
                  </a:lnTo>
                  <a:lnTo>
                    <a:pt x="1380" y="371"/>
                  </a:lnTo>
                  <a:lnTo>
                    <a:pt x="1376" y="365"/>
                  </a:lnTo>
                  <a:lnTo>
                    <a:pt x="1372" y="360"/>
                  </a:lnTo>
                  <a:lnTo>
                    <a:pt x="1365" y="358"/>
                  </a:lnTo>
                  <a:lnTo>
                    <a:pt x="1357" y="353"/>
                  </a:lnTo>
                  <a:lnTo>
                    <a:pt x="1347" y="352"/>
                  </a:lnTo>
                  <a:lnTo>
                    <a:pt x="1271" y="316"/>
                  </a:lnTo>
                  <a:lnTo>
                    <a:pt x="1262" y="318"/>
                  </a:lnTo>
                  <a:lnTo>
                    <a:pt x="1247" y="315"/>
                  </a:lnTo>
                  <a:lnTo>
                    <a:pt x="1242" y="319"/>
                  </a:lnTo>
                  <a:lnTo>
                    <a:pt x="1246" y="325"/>
                  </a:lnTo>
                  <a:lnTo>
                    <a:pt x="1258" y="334"/>
                  </a:lnTo>
                  <a:lnTo>
                    <a:pt x="1260" y="343"/>
                  </a:lnTo>
                  <a:lnTo>
                    <a:pt x="1257" y="345"/>
                  </a:lnTo>
                  <a:lnTo>
                    <a:pt x="1254" y="348"/>
                  </a:lnTo>
                  <a:lnTo>
                    <a:pt x="1252" y="352"/>
                  </a:lnTo>
                  <a:lnTo>
                    <a:pt x="1249" y="355"/>
                  </a:lnTo>
                  <a:lnTo>
                    <a:pt x="1247" y="358"/>
                  </a:lnTo>
                  <a:lnTo>
                    <a:pt x="1245" y="359"/>
                  </a:lnTo>
                  <a:lnTo>
                    <a:pt x="1243" y="358"/>
                  </a:lnTo>
                  <a:lnTo>
                    <a:pt x="1241" y="354"/>
                  </a:lnTo>
                  <a:lnTo>
                    <a:pt x="1241" y="352"/>
                  </a:lnTo>
                  <a:lnTo>
                    <a:pt x="1241" y="349"/>
                  </a:lnTo>
                  <a:lnTo>
                    <a:pt x="1241" y="346"/>
                  </a:lnTo>
                  <a:lnTo>
                    <a:pt x="1240" y="343"/>
                  </a:lnTo>
                  <a:lnTo>
                    <a:pt x="1237" y="340"/>
                  </a:lnTo>
                  <a:lnTo>
                    <a:pt x="1232" y="339"/>
                  </a:lnTo>
                  <a:lnTo>
                    <a:pt x="1223" y="340"/>
                  </a:lnTo>
                  <a:lnTo>
                    <a:pt x="1220" y="344"/>
                  </a:lnTo>
                  <a:lnTo>
                    <a:pt x="1217" y="349"/>
                  </a:lnTo>
                  <a:lnTo>
                    <a:pt x="1214" y="353"/>
                  </a:lnTo>
                  <a:lnTo>
                    <a:pt x="1211" y="353"/>
                  </a:lnTo>
                  <a:lnTo>
                    <a:pt x="1212" y="348"/>
                  </a:lnTo>
                  <a:lnTo>
                    <a:pt x="1214" y="340"/>
                  </a:lnTo>
                  <a:lnTo>
                    <a:pt x="1215" y="337"/>
                  </a:lnTo>
                  <a:lnTo>
                    <a:pt x="1165" y="328"/>
                  </a:lnTo>
                  <a:lnTo>
                    <a:pt x="1162" y="327"/>
                  </a:lnTo>
                  <a:lnTo>
                    <a:pt x="1156" y="319"/>
                  </a:lnTo>
                  <a:lnTo>
                    <a:pt x="1152" y="318"/>
                  </a:lnTo>
                  <a:lnTo>
                    <a:pt x="1146" y="319"/>
                  </a:lnTo>
                  <a:lnTo>
                    <a:pt x="1131" y="313"/>
                  </a:lnTo>
                  <a:lnTo>
                    <a:pt x="1125" y="309"/>
                  </a:lnTo>
                  <a:lnTo>
                    <a:pt x="1126" y="301"/>
                  </a:lnTo>
                  <a:lnTo>
                    <a:pt x="1081" y="294"/>
                  </a:lnTo>
                  <a:lnTo>
                    <a:pt x="1036" y="288"/>
                  </a:lnTo>
                  <a:lnTo>
                    <a:pt x="1037" y="295"/>
                  </a:lnTo>
                  <a:lnTo>
                    <a:pt x="1038" y="298"/>
                  </a:lnTo>
                  <a:lnTo>
                    <a:pt x="1039" y="301"/>
                  </a:lnTo>
                  <a:lnTo>
                    <a:pt x="1037" y="302"/>
                  </a:lnTo>
                  <a:lnTo>
                    <a:pt x="1034" y="302"/>
                  </a:lnTo>
                  <a:lnTo>
                    <a:pt x="1030" y="301"/>
                  </a:lnTo>
                  <a:lnTo>
                    <a:pt x="1027" y="298"/>
                  </a:lnTo>
                  <a:lnTo>
                    <a:pt x="1024" y="298"/>
                  </a:lnTo>
                  <a:lnTo>
                    <a:pt x="1018" y="302"/>
                  </a:lnTo>
                  <a:lnTo>
                    <a:pt x="1015" y="304"/>
                  </a:lnTo>
                  <a:lnTo>
                    <a:pt x="1017" y="301"/>
                  </a:lnTo>
                  <a:lnTo>
                    <a:pt x="1018" y="298"/>
                  </a:lnTo>
                  <a:lnTo>
                    <a:pt x="1018" y="295"/>
                  </a:lnTo>
                  <a:lnTo>
                    <a:pt x="1018" y="291"/>
                  </a:lnTo>
                  <a:lnTo>
                    <a:pt x="1016" y="289"/>
                  </a:lnTo>
                  <a:lnTo>
                    <a:pt x="999" y="293"/>
                  </a:lnTo>
                  <a:lnTo>
                    <a:pt x="995" y="297"/>
                  </a:lnTo>
                  <a:lnTo>
                    <a:pt x="991" y="304"/>
                  </a:lnTo>
                  <a:lnTo>
                    <a:pt x="990" y="309"/>
                  </a:lnTo>
                  <a:lnTo>
                    <a:pt x="990" y="312"/>
                  </a:lnTo>
                  <a:lnTo>
                    <a:pt x="990" y="319"/>
                  </a:lnTo>
                  <a:lnTo>
                    <a:pt x="991" y="318"/>
                  </a:lnTo>
                  <a:lnTo>
                    <a:pt x="991" y="320"/>
                  </a:lnTo>
                  <a:lnTo>
                    <a:pt x="992" y="323"/>
                  </a:lnTo>
                  <a:lnTo>
                    <a:pt x="993" y="325"/>
                  </a:lnTo>
                  <a:lnTo>
                    <a:pt x="992" y="326"/>
                  </a:lnTo>
                  <a:lnTo>
                    <a:pt x="991" y="330"/>
                  </a:lnTo>
                  <a:lnTo>
                    <a:pt x="990" y="331"/>
                  </a:lnTo>
                  <a:lnTo>
                    <a:pt x="992" y="345"/>
                  </a:lnTo>
                  <a:lnTo>
                    <a:pt x="992" y="350"/>
                  </a:lnTo>
                  <a:lnTo>
                    <a:pt x="990" y="355"/>
                  </a:lnTo>
                  <a:lnTo>
                    <a:pt x="990" y="358"/>
                  </a:lnTo>
                  <a:lnTo>
                    <a:pt x="976" y="372"/>
                  </a:lnTo>
                  <a:lnTo>
                    <a:pt x="973" y="377"/>
                  </a:lnTo>
                  <a:lnTo>
                    <a:pt x="972" y="382"/>
                  </a:lnTo>
                  <a:lnTo>
                    <a:pt x="969" y="393"/>
                  </a:lnTo>
                  <a:lnTo>
                    <a:pt x="961" y="396"/>
                  </a:lnTo>
                  <a:lnTo>
                    <a:pt x="951" y="396"/>
                  </a:lnTo>
                  <a:lnTo>
                    <a:pt x="936" y="405"/>
                  </a:lnTo>
                  <a:lnTo>
                    <a:pt x="919" y="406"/>
                  </a:lnTo>
                  <a:lnTo>
                    <a:pt x="911" y="413"/>
                  </a:lnTo>
                  <a:lnTo>
                    <a:pt x="908" y="424"/>
                  </a:lnTo>
                  <a:lnTo>
                    <a:pt x="907" y="449"/>
                  </a:lnTo>
                  <a:lnTo>
                    <a:pt x="904" y="459"/>
                  </a:lnTo>
                  <a:lnTo>
                    <a:pt x="903" y="450"/>
                  </a:lnTo>
                  <a:lnTo>
                    <a:pt x="902" y="436"/>
                  </a:lnTo>
                  <a:lnTo>
                    <a:pt x="903" y="422"/>
                  </a:lnTo>
                  <a:lnTo>
                    <a:pt x="904" y="413"/>
                  </a:lnTo>
                  <a:lnTo>
                    <a:pt x="910" y="402"/>
                  </a:lnTo>
                  <a:lnTo>
                    <a:pt x="918" y="398"/>
                  </a:lnTo>
                  <a:lnTo>
                    <a:pt x="926" y="397"/>
                  </a:lnTo>
                  <a:lnTo>
                    <a:pt x="938" y="391"/>
                  </a:lnTo>
                  <a:lnTo>
                    <a:pt x="947" y="389"/>
                  </a:lnTo>
                  <a:lnTo>
                    <a:pt x="951" y="386"/>
                  </a:lnTo>
                  <a:lnTo>
                    <a:pt x="963" y="372"/>
                  </a:lnTo>
                  <a:lnTo>
                    <a:pt x="982" y="357"/>
                  </a:lnTo>
                  <a:lnTo>
                    <a:pt x="987" y="346"/>
                  </a:lnTo>
                  <a:lnTo>
                    <a:pt x="982" y="339"/>
                  </a:lnTo>
                  <a:lnTo>
                    <a:pt x="976" y="340"/>
                  </a:lnTo>
                  <a:lnTo>
                    <a:pt x="971" y="345"/>
                  </a:lnTo>
                  <a:lnTo>
                    <a:pt x="965" y="346"/>
                  </a:lnTo>
                  <a:lnTo>
                    <a:pt x="965" y="337"/>
                  </a:lnTo>
                  <a:lnTo>
                    <a:pt x="960" y="335"/>
                  </a:lnTo>
                  <a:lnTo>
                    <a:pt x="948" y="337"/>
                  </a:lnTo>
                  <a:lnTo>
                    <a:pt x="951" y="332"/>
                  </a:lnTo>
                  <a:lnTo>
                    <a:pt x="955" y="329"/>
                  </a:lnTo>
                  <a:lnTo>
                    <a:pt x="962" y="328"/>
                  </a:lnTo>
                  <a:lnTo>
                    <a:pt x="976" y="319"/>
                  </a:lnTo>
                  <a:lnTo>
                    <a:pt x="972" y="311"/>
                  </a:lnTo>
                  <a:lnTo>
                    <a:pt x="964" y="309"/>
                  </a:lnTo>
                  <a:lnTo>
                    <a:pt x="949" y="313"/>
                  </a:lnTo>
                  <a:lnTo>
                    <a:pt x="948" y="315"/>
                  </a:lnTo>
                  <a:lnTo>
                    <a:pt x="945" y="317"/>
                  </a:lnTo>
                  <a:lnTo>
                    <a:pt x="941" y="319"/>
                  </a:lnTo>
                  <a:lnTo>
                    <a:pt x="938" y="319"/>
                  </a:lnTo>
                  <a:lnTo>
                    <a:pt x="942" y="310"/>
                  </a:lnTo>
                  <a:lnTo>
                    <a:pt x="956" y="307"/>
                  </a:lnTo>
                  <a:lnTo>
                    <a:pt x="961" y="302"/>
                  </a:lnTo>
                  <a:lnTo>
                    <a:pt x="965" y="293"/>
                  </a:lnTo>
                  <a:lnTo>
                    <a:pt x="975" y="280"/>
                  </a:lnTo>
                  <a:lnTo>
                    <a:pt x="980" y="270"/>
                  </a:lnTo>
                  <a:lnTo>
                    <a:pt x="970" y="273"/>
                  </a:lnTo>
                  <a:lnTo>
                    <a:pt x="966" y="273"/>
                  </a:lnTo>
                  <a:lnTo>
                    <a:pt x="971" y="266"/>
                  </a:lnTo>
                  <a:lnTo>
                    <a:pt x="976" y="263"/>
                  </a:lnTo>
                  <a:lnTo>
                    <a:pt x="981" y="259"/>
                  </a:lnTo>
                  <a:lnTo>
                    <a:pt x="984" y="248"/>
                  </a:lnTo>
                  <a:lnTo>
                    <a:pt x="980" y="246"/>
                  </a:lnTo>
                  <a:lnTo>
                    <a:pt x="972" y="239"/>
                  </a:lnTo>
                  <a:lnTo>
                    <a:pt x="968" y="239"/>
                  </a:lnTo>
                  <a:lnTo>
                    <a:pt x="961" y="244"/>
                  </a:lnTo>
                  <a:lnTo>
                    <a:pt x="958" y="245"/>
                  </a:lnTo>
                  <a:lnTo>
                    <a:pt x="956" y="243"/>
                  </a:lnTo>
                  <a:lnTo>
                    <a:pt x="953" y="237"/>
                  </a:lnTo>
                  <a:lnTo>
                    <a:pt x="951" y="237"/>
                  </a:lnTo>
                  <a:lnTo>
                    <a:pt x="947" y="241"/>
                  </a:lnTo>
                  <a:lnTo>
                    <a:pt x="899" y="263"/>
                  </a:lnTo>
                  <a:lnTo>
                    <a:pt x="896" y="266"/>
                  </a:lnTo>
                  <a:lnTo>
                    <a:pt x="893" y="271"/>
                  </a:lnTo>
                  <a:lnTo>
                    <a:pt x="889" y="284"/>
                  </a:lnTo>
                  <a:lnTo>
                    <a:pt x="886" y="294"/>
                  </a:lnTo>
                  <a:lnTo>
                    <a:pt x="884" y="299"/>
                  </a:lnTo>
                  <a:lnTo>
                    <a:pt x="883" y="300"/>
                  </a:lnTo>
                  <a:lnTo>
                    <a:pt x="882" y="300"/>
                  </a:lnTo>
                  <a:lnTo>
                    <a:pt x="881" y="301"/>
                  </a:lnTo>
                  <a:lnTo>
                    <a:pt x="879" y="300"/>
                  </a:lnTo>
                  <a:lnTo>
                    <a:pt x="878" y="301"/>
                  </a:lnTo>
                  <a:lnTo>
                    <a:pt x="874" y="304"/>
                  </a:lnTo>
                  <a:lnTo>
                    <a:pt x="873" y="305"/>
                  </a:lnTo>
                  <a:lnTo>
                    <a:pt x="871" y="305"/>
                  </a:lnTo>
                  <a:lnTo>
                    <a:pt x="870" y="304"/>
                  </a:lnTo>
                  <a:lnTo>
                    <a:pt x="872" y="297"/>
                  </a:lnTo>
                  <a:lnTo>
                    <a:pt x="875" y="291"/>
                  </a:lnTo>
                  <a:lnTo>
                    <a:pt x="879" y="276"/>
                  </a:lnTo>
                  <a:lnTo>
                    <a:pt x="914" y="226"/>
                  </a:lnTo>
                  <a:lnTo>
                    <a:pt x="899" y="227"/>
                  </a:lnTo>
                  <a:lnTo>
                    <a:pt x="884" y="232"/>
                  </a:lnTo>
                  <a:lnTo>
                    <a:pt x="864" y="254"/>
                  </a:lnTo>
                  <a:lnTo>
                    <a:pt x="868" y="241"/>
                  </a:lnTo>
                  <a:lnTo>
                    <a:pt x="873" y="234"/>
                  </a:lnTo>
                  <a:lnTo>
                    <a:pt x="885" y="223"/>
                  </a:lnTo>
                  <a:lnTo>
                    <a:pt x="881" y="219"/>
                  </a:lnTo>
                  <a:lnTo>
                    <a:pt x="877" y="218"/>
                  </a:lnTo>
                  <a:lnTo>
                    <a:pt x="868" y="220"/>
                  </a:lnTo>
                  <a:lnTo>
                    <a:pt x="851" y="214"/>
                  </a:lnTo>
                  <a:lnTo>
                    <a:pt x="848" y="214"/>
                  </a:lnTo>
                  <a:lnTo>
                    <a:pt x="844" y="216"/>
                  </a:lnTo>
                  <a:lnTo>
                    <a:pt x="838" y="222"/>
                  </a:lnTo>
                  <a:lnTo>
                    <a:pt x="836" y="222"/>
                  </a:lnTo>
                  <a:lnTo>
                    <a:pt x="830" y="213"/>
                  </a:lnTo>
                  <a:lnTo>
                    <a:pt x="827" y="211"/>
                  </a:lnTo>
                  <a:lnTo>
                    <a:pt x="827" y="212"/>
                  </a:lnTo>
                  <a:lnTo>
                    <a:pt x="826" y="217"/>
                  </a:lnTo>
                  <a:lnTo>
                    <a:pt x="826" y="218"/>
                  </a:lnTo>
                  <a:lnTo>
                    <a:pt x="826" y="220"/>
                  </a:lnTo>
                  <a:lnTo>
                    <a:pt x="825" y="220"/>
                  </a:lnTo>
                  <a:lnTo>
                    <a:pt x="821" y="220"/>
                  </a:lnTo>
                  <a:lnTo>
                    <a:pt x="817" y="217"/>
                  </a:lnTo>
                  <a:lnTo>
                    <a:pt x="814" y="218"/>
                  </a:lnTo>
                  <a:lnTo>
                    <a:pt x="813" y="220"/>
                  </a:lnTo>
                  <a:lnTo>
                    <a:pt x="810" y="228"/>
                  </a:lnTo>
                  <a:lnTo>
                    <a:pt x="809" y="231"/>
                  </a:lnTo>
                  <a:lnTo>
                    <a:pt x="807" y="232"/>
                  </a:lnTo>
                  <a:lnTo>
                    <a:pt x="805" y="232"/>
                  </a:lnTo>
                  <a:lnTo>
                    <a:pt x="803" y="232"/>
                  </a:lnTo>
                  <a:lnTo>
                    <a:pt x="788" y="247"/>
                  </a:lnTo>
                  <a:lnTo>
                    <a:pt x="780" y="251"/>
                  </a:lnTo>
                  <a:lnTo>
                    <a:pt x="773" y="245"/>
                  </a:lnTo>
                  <a:lnTo>
                    <a:pt x="780" y="244"/>
                  </a:lnTo>
                  <a:lnTo>
                    <a:pt x="793" y="232"/>
                  </a:lnTo>
                  <a:lnTo>
                    <a:pt x="800" y="229"/>
                  </a:lnTo>
                  <a:lnTo>
                    <a:pt x="803" y="227"/>
                  </a:lnTo>
                  <a:lnTo>
                    <a:pt x="807" y="218"/>
                  </a:lnTo>
                  <a:lnTo>
                    <a:pt x="809" y="214"/>
                  </a:lnTo>
                  <a:lnTo>
                    <a:pt x="812" y="213"/>
                  </a:lnTo>
                  <a:lnTo>
                    <a:pt x="816" y="214"/>
                  </a:lnTo>
                  <a:lnTo>
                    <a:pt x="819" y="214"/>
                  </a:lnTo>
                  <a:lnTo>
                    <a:pt x="822" y="208"/>
                  </a:lnTo>
                  <a:lnTo>
                    <a:pt x="809" y="199"/>
                  </a:lnTo>
                  <a:lnTo>
                    <a:pt x="804" y="198"/>
                  </a:lnTo>
                  <a:lnTo>
                    <a:pt x="806" y="195"/>
                  </a:lnTo>
                  <a:lnTo>
                    <a:pt x="810" y="188"/>
                  </a:lnTo>
                  <a:lnTo>
                    <a:pt x="811" y="186"/>
                  </a:lnTo>
                  <a:lnTo>
                    <a:pt x="810" y="182"/>
                  </a:lnTo>
                  <a:lnTo>
                    <a:pt x="808" y="179"/>
                  </a:lnTo>
                  <a:lnTo>
                    <a:pt x="805" y="177"/>
                  </a:lnTo>
                  <a:lnTo>
                    <a:pt x="803" y="177"/>
                  </a:lnTo>
                  <a:lnTo>
                    <a:pt x="788" y="182"/>
                  </a:lnTo>
                  <a:lnTo>
                    <a:pt x="783" y="180"/>
                  </a:lnTo>
                  <a:lnTo>
                    <a:pt x="773" y="174"/>
                  </a:lnTo>
                  <a:lnTo>
                    <a:pt x="763" y="171"/>
                  </a:lnTo>
                  <a:lnTo>
                    <a:pt x="754" y="174"/>
                  </a:lnTo>
                  <a:lnTo>
                    <a:pt x="745" y="186"/>
                  </a:lnTo>
                  <a:lnTo>
                    <a:pt x="745" y="179"/>
                  </a:lnTo>
                  <a:lnTo>
                    <a:pt x="747" y="174"/>
                  </a:lnTo>
                  <a:lnTo>
                    <a:pt x="750" y="168"/>
                  </a:lnTo>
                  <a:lnTo>
                    <a:pt x="752" y="161"/>
                  </a:lnTo>
                  <a:lnTo>
                    <a:pt x="751" y="153"/>
                  </a:lnTo>
                  <a:lnTo>
                    <a:pt x="747" y="151"/>
                  </a:lnTo>
                  <a:lnTo>
                    <a:pt x="741" y="149"/>
                  </a:lnTo>
                  <a:lnTo>
                    <a:pt x="737" y="145"/>
                  </a:lnTo>
                  <a:lnTo>
                    <a:pt x="751" y="143"/>
                  </a:lnTo>
                  <a:lnTo>
                    <a:pt x="758" y="136"/>
                  </a:lnTo>
                  <a:lnTo>
                    <a:pt x="761" y="120"/>
                  </a:lnTo>
                  <a:lnTo>
                    <a:pt x="761" y="115"/>
                  </a:lnTo>
                  <a:lnTo>
                    <a:pt x="760" y="108"/>
                  </a:lnTo>
                  <a:lnTo>
                    <a:pt x="759" y="103"/>
                  </a:lnTo>
                  <a:lnTo>
                    <a:pt x="760" y="100"/>
                  </a:lnTo>
                  <a:lnTo>
                    <a:pt x="763" y="99"/>
                  </a:lnTo>
                  <a:lnTo>
                    <a:pt x="765" y="101"/>
                  </a:lnTo>
                  <a:lnTo>
                    <a:pt x="768" y="105"/>
                  </a:lnTo>
                  <a:lnTo>
                    <a:pt x="770" y="111"/>
                  </a:lnTo>
                  <a:lnTo>
                    <a:pt x="771" y="118"/>
                  </a:lnTo>
                  <a:lnTo>
                    <a:pt x="771" y="122"/>
                  </a:lnTo>
                  <a:lnTo>
                    <a:pt x="770" y="126"/>
                  </a:lnTo>
                  <a:lnTo>
                    <a:pt x="770" y="133"/>
                  </a:lnTo>
                  <a:lnTo>
                    <a:pt x="769" y="135"/>
                  </a:lnTo>
                  <a:lnTo>
                    <a:pt x="768" y="137"/>
                  </a:lnTo>
                  <a:lnTo>
                    <a:pt x="767" y="139"/>
                  </a:lnTo>
                  <a:lnTo>
                    <a:pt x="767" y="142"/>
                  </a:lnTo>
                  <a:lnTo>
                    <a:pt x="769" y="145"/>
                  </a:lnTo>
                  <a:lnTo>
                    <a:pt x="772" y="146"/>
                  </a:lnTo>
                  <a:lnTo>
                    <a:pt x="777" y="145"/>
                  </a:lnTo>
                  <a:lnTo>
                    <a:pt x="801" y="152"/>
                  </a:lnTo>
                  <a:lnTo>
                    <a:pt x="809" y="148"/>
                  </a:lnTo>
                  <a:lnTo>
                    <a:pt x="811" y="147"/>
                  </a:lnTo>
                  <a:lnTo>
                    <a:pt x="822" y="155"/>
                  </a:lnTo>
                  <a:lnTo>
                    <a:pt x="880" y="178"/>
                  </a:lnTo>
                  <a:lnTo>
                    <a:pt x="907" y="162"/>
                  </a:lnTo>
                  <a:lnTo>
                    <a:pt x="913" y="155"/>
                  </a:lnTo>
                  <a:lnTo>
                    <a:pt x="918" y="148"/>
                  </a:lnTo>
                  <a:lnTo>
                    <a:pt x="919" y="145"/>
                  </a:lnTo>
                  <a:lnTo>
                    <a:pt x="920" y="142"/>
                  </a:lnTo>
                  <a:lnTo>
                    <a:pt x="920" y="140"/>
                  </a:lnTo>
                  <a:lnTo>
                    <a:pt x="919" y="138"/>
                  </a:lnTo>
                  <a:lnTo>
                    <a:pt x="919" y="134"/>
                  </a:lnTo>
                  <a:lnTo>
                    <a:pt x="919" y="131"/>
                  </a:lnTo>
                  <a:lnTo>
                    <a:pt x="919" y="128"/>
                  </a:lnTo>
                  <a:lnTo>
                    <a:pt x="921" y="113"/>
                  </a:lnTo>
                  <a:lnTo>
                    <a:pt x="922" y="111"/>
                  </a:lnTo>
                  <a:lnTo>
                    <a:pt x="920" y="104"/>
                  </a:lnTo>
                  <a:lnTo>
                    <a:pt x="917" y="102"/>
                  </a:lnTo>
                  <a:lnTo>
                    <a:pt x="914" y="103"/>
                  </a:lnTo>
                  <a:lnTo>
                    <a:pt x="911" y="106"/>
                  </a:lnTo>
                  <a:lnTo>
                    <a:pt x="909" y="106"/>
                  </a:lnTo>
                  <a:lnTo>
                    <a:pt x="902" y="97"/>
                  </a:lnTo>
                  <a:lnTo>
                    <a:pt x="888" y="88"/>
                  </a:lnTo>
                  <a:lnTo>
                    <a:pt x="858" y="82"/>
                  </a:lnTo>
                  <a:lnTo>
                    <a:pt x="841" y="86"/>
                  </a:lnTo>
                  <a:lnTo>
                    <a:pt x="825" y="77"/>
                  </a:lnTo>
                  <a:lnTo>
                    <a:pt x="823" y="73"/>
                  </a:lnTo>
                  <a:lnTo>
                    <a:pt x="822" y="69"/>
                  </a:lnTo>
                  <a:lnTo>
                    <a:pt x="825" y="64"/>
                  </a:lnTo>
                  <a:lnTo>
                    <a:pt x="819" y="55"/>
                  </a:lnTo>
                  <a:lnTo>
                    <a:pt x="805" y="44"/>
                  </a:lnTo>
                  <a:lnTo>
                    <a:pt x="799" y="42"/>
                  </a:lnTo>
                  <a:lnTo>
                    <a:pt x="785" y="43"/>
                  </a:lnTo>
                  <a:lnTo>
                    <a:pt x="780" y="40"/>
                  </a:lnTo>
                  <a:lnTo>
                    <a:pt x="751" y="3"/>
                  </a:lnTo>
                  <a:lnTo>
                    <a:pt x="740" y="0"/>
                  </a:lnTo>
                  <a:lnTo>
                    <a:pt x="736" y="0"/>
                  </a:lnTo>
                  <a:lnTo>
                    <a:pt x="733" y="2"/>
                  </a:lnTo>
                  <a:lnTo>
                    <a:pt x="730" y="8"/>
                  </a:lnTo>
                  <a:lnTo>
                    <a:pt x="728" y="16"/>
                  </a:lnTo>
                  <a:lnTo>
                    <a:pt x="729" y="20"/>
                  </a:lnTo>
                  <a:lnTo>
                    <a:pt x="738" y="31"/>
                  </a:lnTo>
                  <a:lnTo>
                    <a:pt x="739" y="32"/>
                  </a:lnTo>
                  <a:lnTo>
                    <a:pt x="739" y="35"/>
                  </a:lnTo>
                  <a:lnTo>
                    <a:pt x="739" y="42"/>
                  </a:lnTo>
                  <a:lnTo>
                    <a:pt x="739" y="45"/>
                  </a:lnTo>
                  <a:lnTo>
                    <a:pt x="741" y="49"/>
                  </a:lnTo>
                  <a:lnTo>
                    <a:pt x="750" y="59"/>
                  </a:lnTo>
                  <a:lnTo>
                    <a:pt x="757" y="71"/>
                  </a:lnTo>
                  <a:lnTo>
                    <a:pt x="758" y="75"/>
                  </a:lnTo>
                  <a:lnTo>
                    <a:pt x="758" y="78"/>
                  </a:lnTo>
                  <a:lnTo>
                    <a:pt x="758" y="81"/>
                  </a:lnTo>
                  <a:lnTo>
                    <a:pt x="758" y="82"/>
                  </a:lnTo>
                  <a:lnTo>
                    <a:pt x="754" y="84"/>
                  </a:lnTo>
                  <a:lnTo>
                    <a:pt x="753" y="86"/>
                  </a:lnTo>
                  <a:lnTo>
                    <a:pt x="752" y="88"/>
                  </a:lnTo>
                  <a:lnTo>
                    <a:pt x="751" y="89"/>
                  </a:lnTo>
                  <a:lnTo>
                    <a:pt x="747" y="87"/>
                  </a:lnTo>
                  <a:lnTo>
                    <a:pt x="736" y="71"/>
                  </a:lnTo>
                  <a:lnTo>
                    <a:pt x="727" y="65"/>
                  </a:lnTo>
                  <a:lnTo>
                    <a:pt x="721" y="56"/>
                  </a:lnTo>
                  <a:lnTo>
                    <a:pt x="718" y="54"/>
                  </a:lnTo>
                  <a:lnTo>
                    <a:pt x="703" y="54"/>
                  </a:lnTo>
                  <a:lnTo>
                    <a:pt x="699" y="58"/>
                  </a:lnTo>
                  <a:lnTo>
                    <a:pt x="696" y="66"/>
                  </a:lnTo>
                  <a:lnTo>
                    <a:pt x="696" y="75"/>
                  </a:lnTo>
                  <a:lnTo>
                    <a:pt x="697" y="83"/>
                  </a:lnTo>
                  <a:lnTo>
                    <a:pt x="699" y="92"/>
                  </a:lnTo>
                  <a:lnTo>
                    <a:pt x="694" y="104"/>
                  </a:lnTo>
                  <a:lnTo>
                    <a:pt x="695" y="108"/>
                  </a:lnTo>
                  <a:lnTo>
                    <a:pt x="698" y="113"/>
                  </a:lnTo>
                  <a:lnTo>
                    <a:pt x="706" y="118"/>
                  </a:lnTo>
                  <a:lnTo>
                    <a:pt x="710" y="122"/>
                  </a:lnTo>
                  <a:lnTo>
                    <a:pt x="712" y="130"/>
                  </a:lnTo>
                  <a:lnTo>
                    <a:pt x="672" y="123"/>
                  </a:lnTo>
                  <a:lnTo>
                    <a:pt x="669" y="125"/>
                  </a:lnTo>
                  <a:lnTo>
                    <a:pt x="668" y="128"/>
                  </a:lnTo>
                  <a:lnTo>
                    <a:pt x="666" y="130"/>
                  </a:lnTo>
                  <a:lnTo>
                    <a:pt x="659" y="125"/>
                  </a:lnTo>
                  <a:lnTo>
                    <a:pt x="655" y="130"/>
                  </a:lnTo>
                  <a:lnTo>
                    <a:pt x="639" y="158"/>
                  </a:lnTo>
                  <a:lnTo>
                    <a:pt x="635" y="163"/>
                  </a:lnTo>
                  <a:lnTo>
                    <a:pt x="630" y="164"/>
                  </a:lnTo>
                  <a:lnTo>
                    <a:pt x="638" y="152"/>
                  </a:lnTo>
                  <a:lnTo>
                    <a:pt x="641" y="147"/>
                  </a:lnTo>
                  <a:lnTo>
                    <a:pt x="641" y="144"/>
                  </a:lnTo>
                  <a:lnTo>
                    <a:pt x="641" y="140"/>
                  </a:lnTo>
                  <a:lnTo>
                    <a:pt x="642" y="137"/>
                  </a:lnTo>
                  <a:lnTo>
                    <a:pt x="643" y="136"/>
                  </a:lnTo>
                  <a:lnTo>
                    <a:pt x="644" y="135"/>
                  </a:lnTo>
                  <a:lnTo>
                    <a:pt x="646" y="133"/>
                  </a:lnTo>
                  <a:lnTo>
                    <a:pt x="647" y="130"/>
                  </a:lnTo>
                  <a:lnTo>
                    <a:pt x="648" y="127"/>
                  </a:lnTo>
                  <a:lnTo>
                    <a:pt x="648" y="117"/>
                  </a:lnTo>
                  <a:lnTo>
                    <a:pt x="646" y="114"/>
                  </a:lnTo>
                  <a:lnTo>
                    <a:pt x="643" y="112"/>
                  </a:lnTo>
                  <a:lnTo>
                    <a:pt x="639" y="110"/>
                  </a:lnTo>
                  <a:lnTo>
                    <a:pt x="632" y="100"/>
                  </a:lnTo>
                  <a:lnTo>
                    <a:pt x="628" y="97"/>
                  </a:lnTo>
                  <a:lnTo>
                    <a:pt x="625" y="95"/>
                  </a:lnTo>
                  <a:lnTo>
                    <a:pt x="623" y="96"/>
                  </a:lnTo>
                  <a:lnTo>
                    <a:pt x="619" y="98"/>
                  </a:lnTo>
                  <a:lnTo>
                    <a:pt x="617" y="99"/>
                  </a:lnTo>
                  <a:lnTo>
                    <a:pt x="615" y="98"/>
                  </a:lnTo>
                  <a:lnTo>
                    <a:pt x="609" y="92"/>
                  </a:lnTo>
                  <a:lnTo>
                    <a:pt x="604" y="90"/>
                  </a:lnTo>
                  <a:lnTo>
                    <a:pt x="589" y="89"/>
                  </a:lnTo>
                  <a:lnTo>
                    <a:pt x="558" y="76"/>
                  </a:lnTo>
                  <a:lnTo>
                    <a:pt x="558" y="76"/>
                  </a:lnTo>
                  <a:lnTo>
                    <a:pt x="559" y="94"/>
                  </a:lnTo>
                  <a:lnTo>
                    <a:pt x="562" y="102"/>
                  </a:lnTo>
                  <a:lnTo>
                    <a:pt x="564" y="107"/>
                  </a:lnTo>
                  <a:lnTo>
                    <a:pt x="565" y="115"/>
                  </a:lnTo>
                  <a:lnTo>
                    <a:pt x="565" y="120"/>
                  </a:lnTo>
                  <a:lnTo>
                    <a:pt x="565" y="123"/>
                  </a:lnTo>
                  <a:lnTo>
                    <a:pt x="568" y="129"/>
                  </a:lnTo>
                  <a:lnTo>
                    <a:pt x="572" y="137"/>
                  </a:lnTo>
                  <a:lnTo>
                    <a:pt x="572" y="172"/>
                  </a:lnTo>
                  <a:lnTo>
                    <a:pt x="572" y="180"/>
                  </a:lnTo>
                  <a:lnTo>
                    <a:pt x="567" y="195"/>
                  </a:lnTo>
                  <a:lnTo>
                    <a:pt x="560" y="203"/>
                  </a:lnTo>
                  <a:lnTo>
                    <a:pt x="545" y="206"/>
                  </a:lnTo>
                  <a:lnTo>
                    <a:pt x="506" y="199"/>
                  </a:lnTo>
                  <a:lnTo>
                    <a:pt x="501" y="195"/>
                  </a:lnTo>
                  <a:lnTo>
                    <a:pt x="471" y="161"/>
                  </a:lnTo>
                  <a:lnTo>
                    <a:pt x="461" y="153"/>
                  </a:lnTo>
                  <a:lnTo>
                    <a:pt x="454" y="151"/>
                  </a:lnTo>
                  <a:lnTo>
                    <a:pt x="447" y="152"/>
                  </a:lnTo>
                  <a:lnTo>
                    <a:pt x="443" y="154"/>
                  </a:lnTo>
                  <a:lnTo>
                    <a:pt x="445" y="158"/>
                  </a:lnTo>
                  <a:lnTo>
                    <a:pt x="448" y="162"/>
                  </a:lnTo>
                  <a:lnTo>
                    <a:pt x="458" y="166"/>
                  </a:lnTo>
                  <a:lnTo>
                    <a:pt x="460" y="170"/>
                  </a:lnTo>
                  <a:lnTo>
                    <a:pt x="461" y="178"/>
                  </a:lnTo>
                  <a:lnTo>
                    <a:pt x="461" y="189"/>
                  </a:lnTo>
                  <a:lnTo>
                    <a:pt x="460" y="197"/>
                  </a:lnTo>
                  <a:lnTo>
                    <a:pt x="458" y="203"/>
                  </a:lnTo>
                  <a:lnTo>
                    <a:pt x="455" y="207"/>
                  </a:lnTo>
                  <a:lnTo>
                    <a:pt x="451" y="210"/>
                  </a:lnTo>
                  <a:lnTo>
                    <a:pt x="449" y="213"/>
                  </a:lnTo>
                  <a:lnTo>
                    <a:pt x="448" y="219"/>
                  </a:lnTo>
                  <a:lnTo>
                    <a:pt x="447" y="226"/>
                  </a:lnTo>
                  <a:lnTo>
                    <a:pt x="447" y="232"/>
                  </a:lnTo>
                  <a:lnTo>
                    <a:pt x="446" y="237"/>
                  </a:lnTo>
                  <a:lnTo>
                    <a:pt x="444" y="242"/>
                  </a:lnTo>
                  <a:lnTo>
                    <a:pt x="425" y="263"/>
                  </a:lnTo>
                  <a:lnTo>
                    <a:pt x="419" y="272"/>
                  </a:lnTo>
                  <a:lnTo>
                    <a:pt x="416" y="276"/>
                  </a:lnTo>
                  <a:lnTo>
                    <a:pt x="409" y="279"/>
                  </a:lnTo>
                  <a:lnTo>
                    <a:pt x="385" y="280"/>
                  </a:lnTo>
                  <a:lnTo>
                    <a:pt x="381" y="282"/>
                  </a:lnTo>
                  <a:lnTo>
                    <a:pt x="371" y="294"/>
                  </a:lnTo>
                  <a:lnTo>
                    <a:pt x="362" y="299"/>
                  </a:lnTo>
                  <a:lnTo>
                    <a:pt x="335" y="300"/>
                  </a:lnTo>
                  <a:lnTo>
                    <a:pt x="326" y="305"/>
                  </a:lnTo>
                  <a:lnTo>
                    <a:pt x="319" y="315"/>
                  </a:lnTo>
                  <a:lnTo>
                    <a:pt x="318" y="322"/>
                  </a:lnTo>
                  <a:lnTo>
                    <a:pt x="316" y="335"/>
                  </a:lnTo>
                  <a:lnTo>
                    <a:pt x="315" y="339"/>
                  </a:lnTo>
                  <a:lnTo>
                    <a:pt x="314" y="342"/>
                  </a:lnTo>
                  <a:lnTo>
                    <a:pt x="314" y="346"/>
                  </a:lnTo>
                  <a:lnTo>
                    <a:pt x="314" y="350"/>
                  </a:lnTo>
                  <a:lnTo>
                    <a:pt x="313" y="354"/>
                  </a:lnTo>
                  <a:lnTo>
                    <a:pt x="310" y="361"/>
                  </a:lnTo>
                  <a:lnTo>
                    <a:pt x="309" y="365"/>
                  </a:lnTo>
                  <a:lnTo>
                    <a:pt x="306" y="381"/>
                  </a:lnTo>
                  <a:lnTo>
                    <a:pt x="304" y="388"/>
                  </a:lnTo>
                  <a:lnTo>
                    <a:pt x="301" y="395"/>
                  </a:lnTo>
                  <a:lnTo>
                    <a:pt x="293" y="408"/>
                  </a:lnTo>
                  <a:lnTo>
                    <a:pt x="285" y="418"/>
                  </a:lnTo>
                  <a:lnTo>
                    <a:pt x="276" y="424"/>
                  </a:lnTo>
                  <a:lnTo>
                    <a:pt x="267" y="423"/>
                  </a:lnTo>
                  <a:lnTo>
                    <a:pt x="262" y="424"/>
                  </a:lnTo>
                  <a:lnTo>
                    <a:pt x="258" y="427"/>
                  </a:lnTo>
                  <a:lnTo>
                    <a:pt x="239" y="446"/>
                  </a:lnTo>
                  <a:lnTo>
                    <a:pt x="220" y="453"/>
                  </a:lnTo>
                  <a:lnTo>
                    <a:pt x="179" y="483"/>
                  </a:lnTo>
                  <a:lnTo>
                    <a:pt x="172" y="484"/>
                  </a:lnTo>
                  <a:lnTo>
                    <a:pt x="173" y="492"/>
                  </a:lnTo>
                  <a:lnTo>
                    <a:pt x="175" y="496"/>
                  </a:lnTo>
                  <a:lnTo>
                    <a:pt x="178" y="498"/>
                  </a:lnTo>
                  <a:lnTo>
                    <a:pt x="210" y="496"/>
                  </a:lnTo>
                  <a:lnTo>
                    <a:pt x="223" y="499"/>
                  </a:lnTo>
                  <a:lnTo>
                    <a:pt x="234" y="512"/>
                  </a:lnTo>
                  <a:lnTo>
                    <a:pt x="226" y="545"/>
                  </a:lnTo>
                  <a:lnTo>
                    <a:pt x="221" y="559"/>
                  </a:lnTo>
                  <a:lnTo>
                    <a:pt x="180" y="640"/>
                  </a:lnTo>
                  <a:lnTo>
                    <a:pt x="178" y="645"/>
                  </a:lnTo>
                  <a:lnTo>
                    <a:pt x="178" y="652"/>
                  </a:lnTo>
                  <a:lnTo>
                    <a:pt x="180" y="662"/>
                  </a:lnTo>
                  <a:lnTo>
                    <a:pt x="184" y="674"/>
                  </a:lnTo>
                  <a:lnTo>
                    <a:pt x="213" y="785"/>
                  </a:lnTo>
                  <a:lnTo>
                    <a:pt x="217" y="794"/>
                  </a:lnTo>
                  <a:lnTo>
                    <a:pt x="223" y="799"/>
                  </a:lnTo>
                  <a:lnTo>
                    <a:pt x="268" y="818"/>
                  </a:lnTo>
                  <a:lnTo>
                    <a:pt x="313" y="837"/>
                  </a:lnTo>
                  <a:lnTo>
                    <a:pt x="318" y="841"/>
                  </a:lnTo>
                  <a:lnTo>
                    <a:pt x="323" y="848"/>
                  </a:lnTo>
                  <a:lnTo>
                    <a:pt x="336" y="876"/>
                  </a:lnTo>
                  <a:lnTo>
                    <a:pt x="336" y="876"/>
                  </a:lnTo>
                  <a:lnTo>
                    <a:pt x="342" y="889"/>
                  </a:lnTo>
                  <a:lnTo>
                    <a:pt x="369" y="946"/>
                  </a:lnTo>
                  <a:lnTo>
                    <a:pt x="379" y="959"/>
                  </a:lnTo>
                  <a:lnTo>
                    <a:pt x="426" y="1004"/>
                  </a:lnTo>
                  <a:lnTo>
                    <a:pt x="423" y="1009"/>
                  </a:lnTo>
                  <a:lnTo>
                    <a:pt x="421" y="1014"/>
                  </a:lnTo>
                  <a:lnTo>
                    <a:pt x="420" y="1019"/>
                  </a:lnTo>
                  <a:lnTo>
                    <a:pt x="419" y="1046"/>
                  </a:lnTo>
                  <a:lnTo>
                    <a:pt x="418" y="1052"/>
                  </a:lnTo>
                  <a:lnTo>
                    <a:pt x="414" y="1070"/>
                  </a:lnTo>
                  <a:lnTo>
                    <a:pt x="411" y="1078"/>
                  </a:lnTo>
                  <a:lnTo>
                    <a:pt x="348" y="1165"/>
                  </a:lnTo>
                  <a:lnTo>
                    <a:pt x="346" y="1169"/>
                  </a:lnTo>
                  <a:lnTo>
                    <a:pt x="345" y="1176"/>
                  </a:lnTo>
                  <a:lnTo>
                    <a:pt x="344" y="1179"/>
                  </a:lnTo>
                  <a:lnTo>
                    <a:pt x="342" y="1182"/>
                  </a:lnTo>
                  <a:lnTo>
                    <a:pt x="334" y="1191"/>
                  </a:lnTo>
                  <a:lnTo>
                    <a:pt x="282" y="1290"/>
                  </a:lnTo>
                  <a:lnTo>
                    <a:pt x="282" y="1290"/>
                  </a:lnTo>
                  <a:lnTo>
                    <a:pt x="282" y="1290"/>
                  </a:lnTo>
                  <a:lnTo>
                    <a:pt x="282" y="1290"/>
                  </a:lnTo>
                  <a:lnTo>
                    <a:pt x="274" y="1324"/>
                  </a:lnTo>
                  <a:lnTo>
                    <a:pt x="280" y="1352"/>
                  </a:lnTo>
                  <a:lnTo>
                    <a:pt x="317" y="1415"/>
                  </a:lnTo>
                  <a:lnTo>
                    <a:pt x="323" y="1437"/>
                  </a:lnTo>
                  <a:lnTo>
                    <a:pt x="324" y="1438"/>
                  </a:lnTo>
                  <a:lnTo>
                    <a:pt x="328" y="1445"/>
                  </a:lnTo>
                  <a:lnTo>
                    <a:pt x="329" y="1449"/>
                  </a:lnTo>
                  <a:lnTo>
                    <a:pt x="329" y="1453"/>
                  </a:lnTo>
                  <a:lnTo>
                    <a:pt x="330" y="1457"/>
                  </a:lnTo>
                  <a:lnTo>
                    <a:pt x="331" y="1460"/>
                  </a:lnTo>
                  <a:lnTo>
                    <a:pt x="349" y="1491"/>
                  </a:lnTo>
                  <a:lnTo>
                    <a:pt x="351" y="1498"/>
                  </a:lnTo>
                  <a:lnTo>
                    <a:pt x="353" y="1514"/>
                  </a:lnTo>
                  <a:lnTo>
                    <a:pt x="353" y="1522"/>
                  </a:lnTo>
                  <a:lnTo>
                    <a:pt x="356" y="1536"/>
                  </a:lnTo>
                  <a:lnTo>
                    <a:pt x="360" y="1548"/>
                  </a:lnTo>
                  <a:lnTo>
                    <a:pt x="369" y="1571"/>
                  </a:lnTo>
                  <a:lnTo>
                    <a:pt x="392" y="1613"/>
                  </a:lnTo>
                  <a:lnTo>
                    <a:pt x="405" y="1632"/>
                  </a:lnTo>
                  <a:lnTo>
                    <a:pt x="409" y="1642"/>
                  </a:lnTo>
                  <a:lnTo>
                    <a:pt x="412" y="1657"/>
                  </a:lnTo>
                  <a:lnTo>
                    <a:pt x="416" y="1688"/>
                  </a:lnTo>
                  <a:lnTo>
                    <a:pt x="418" y="1694"/>
                  </a:lnTo>
                  <a:lnTo>
                    <a:pt x="424" y="1711"/>
                  </a:lnTo>
                  <a:lnTo>
                    <a:pt x="426" y="1717"/>
                  </a:lnTo>
                  <a:lnTo>
                    <a:pt x="431" y="1737"/>
                  </a:lnTo>
                  <a:lnTo>
                    <a:pt x="437" y="1753"/>
                  </a:lnTo>
                  <a:lnTo>
                    <a:pt x="438" y="1760"/>
                  </a:lnTo>
                  <a:lnTo>
                    <a:pt x="442" y="1796"/>
                  </a:lnTo>
                  <a:lnTo>
                    <a:pt x="443" y="1805"/>
                  </a:lnTo>
                  <a:lnTo>
                    <a:pt x="443" y="1814"/>
                  </a:lnTo>
                  <a:lnTo>
                    <a:pt x="440" y="1817"/>
                  </a:lnTo>
                  <a:lnTo>
                    <a:pt x="435" y="1815"/>
                  </a:lnTo>
                  <a:lnTo>
                    <a:pt x="425" y="1809"/>
                  </a:lnTo>
                  <a:lnTo>
                    <a:pt x="387" y="1820"/>
                  </a:lnTo>
                  <a:lnTo>
                    <a:pt x="377" y="1827"/>
                  </a:lnTo>
                  <a:lnTo>
                    <a:pt x="382" y="1836"/>
                  </a:lnTo>
                  <a:lnTo>
                    <a:pt x="394" y="1845"/>
                  </a:lnTo>
                  <a:lnTo>
                    <a:pt x="399" y="1852"/>
                  </a:lnTo>
                  <a:lnTo>
                    <a:pt x="397" y="1857"/>
                  </a:lnTo>
                  <a:lnTo>
                    <a:pt x="384" y="1873"/>
                  </a:lnTo>
                  <a:lnTo>
                    <a:pt x="382" y="1878"/>
                  </a:lnTo>
                  <a:lnTo>
                    <a:pt x="381" y="1880"/>
                  </a:lnTo>
                  <a:lnTo>
                    <a:pt x="381" y="1880"/>
                  </a:lnTo>
                  <a:lnTo>
                    <a:pt x="380" y="1894"/>
                  </a:lnTo>
                  <a:lnTo>
                    <a:pt x="382" y="1928"/>
                  </a:lnTo>
                  <a:lnTo>
                    <a:pt x="380" y="1942"/>
                  </a:lnTo>
                  <a:lnTo>
                    <a:pt x="364" y="1965"/>
                  </a:lnTo>
                  <a:lnTo>
                    <a:pt x="358" y="1978"/>
                  </a:lnTo>
                  <a:lnTo>
                    <a:pt x="365" y="1985"/>
                  </a:lnTo>
                  <a:lnTo>
                    <a:pt x="388" y="1985"/>
                  </a:lnTo>
                  <a:lnTo>
                    <a:pt x="398" y="1989"/>
                  </a:lnTo>
                  <a:lnTo>
                    <a:pt x="399" y="2004"/>
                  </a:lnTo>
                  <a:lnTo>
                    <a:pt x="398" y="2007"/>
                  </a:lnTo>
                  <a:lnTo>
                    <a:pt x="396" y="2009"/>
                  </a:lnTo>
                  <a:lnTo>
                    <a:pt x="394" y="2012"/>
                  </a:lnTo>
                  <a:lnTo>
                    <a:pt x="394" y="2016"/>
                  </a:lnTo>
                  <a:lnTo>
                    <a:pt x="396" y="2019"/>
                  </a:lnTo>
                  <a:lnTo>
                    <a:pt x="399" y="2020"/>
                  </a:lnTo>
                  <a:lnTo>
                    <a:pt x="401" y="2021"/>
                  </a:lnTo>
                  <a:lnTo>
                    <a:pt x="400" y="2026"/>
                  </a:lnTo>
                  <a:lnTo>
                    <a:pt x="396" y="2031"/>
                  </a:lnTo>
                  <a:lnTo>
                    <a:pt x="372" y="2037"/>
                  </a:lnTo>
                  <a:lnTo>
                    <a:pt x="365" y="2043"/>
                  </a:lnTo>
                  <a:lnTo>
                    <a:pt x="361" y="2054"/>
                  </a:lnTo>
                  <a:lnTo>
                    <a:pt x="359" y="2070"/>
                  </a:lnTo>
                  <a:lnTo>
                    <a:pt x="366" y="2101"/>
                  </a:lnTo>
                  <a:lnTo>
                    <a:pt x="377" y="2127"/>
                  </a:lnTo>
                  <a:lnTo>
                    <a:pt x="390" y="2143"/>
                  </a:lnTo>
                  <a:lnTo>
                    <a:pt x="405" y="2147"/>
                  </a:lnTo>
                  <a:lnTo>
                    <a:pt x="434" y="2147"/>
                  </a:lnTo>
                  <a:lnTo>
                    <a:pt x="441" y="2150"/>
                  </a:lnTo>
                  <a:lnTo>
                    <a:pt x="443" y="2153"/>
                  </a:lnTo>
                  <a:lnTo>
                    <a:pt x="444" y="2156"/>
                  </a:lnTo>
                  <a:lnTo>
                    <a:pt x="443" y="2158"/>
                  </a:lnTo>
                  <a:lnTo>
                    <a:pt x="442" y="2162"/>
                  </a:lnTo>
                  <a:lnTo>
                    <a:pt x="442" y="2167"/>
                  </a:lnTo>
                  <a:lnTo>
                    <a:pt x="442" y="2169"/>
                  </a:lnTo>
                  <a:lnTo>
                    <a:pt x="442" y="2171"/>
                  </a:lnTo>
                  <a:lnTo>
                    <a:pt x="444" y="2175"/>
                  </a:lnTo>
                  <a:lnTo>
                    <a:pt x="445" y="2178"/>
                  </a:lnTo>
                  <a:lnTo>
                    <a:pt x="452" y="2185"/>
                  </a:lnTo>
                  <a:lnTo>
                    <a:pt x="454" y="2192"/>
                  </a:lnTo>
                  <a:lnTo>
                    <a:pt x="453" y="2200"/>
                  </a:lnTo>
                  <a:lnTo>
                    <a:pt x="450" y="2206"/>
                  </a:lnTo>
                  <a:lnTo>
                    <a:pt x="446" y="2210"/>
                  </a:lnTo>
                  <a:lnTo>
                    <a:pt x="419" y="2223"/>
                  </a:lnTo>
                  <a:lnTo>
                    <a:pt x="418" y="2225"/>
                  </a:lnTo>
                  <a:lnTo>
                    <a:pt x="418" y="2227"/>
                  </a:lnTo>
                  <a:lnTo>
                    <a:pt x="418" y="2228"/>
                  </a:lnTo>
                  <a:lnTo>
                    <a:pt x="419" y="2229"/>
                  </a:lnTo>
                  <a:lnTo>
                    <a:pt x="419" y="2229"/>
                  </a:lnTo>
                  <a:lnTo>
                    <a:pt x="420" y="2236"/>
                  </a:lnTo>
                  <a:lnTo>
                    <a:pt x="420" y="2239"/>
                  </a:lnTo>
                  <a:lnTo>
                    <a:pt x="422" y="2242"/>
                  </a:lnTo>
                  <a:lnTo>
                    <a:pt x="421" y="2243"/>
                  </a:lnTo>
                  <a:lnTo>
                    <a:pt x="421" y="2245"/>
                  </a:lnTo>
                  <a:lnTo>
                    <a:pt x="421" y="2246"/>
                  </a:lnTo>
                  <a:lnTo>
                    <a:pt x="422" y="2246"/>
                  </a:lnTo>
                  <a:lnTo>
                    <a:pt x="423" y="2247"/>
                  </a:lnTo>
                  <a:lnTo>
                    <a:pt x="423" y="2248"/>
                  </a:lnTo>
                  <a:lnTo>
                    <a:pt x="423" y="2251"/>
                  </a:lnTo>
                  <a:lnTo>
                    <a:pt x="430" y="2256"/>
                  </a:lnTo>
                  <a:lnTo>
                    <a:pt x="436" y="2263"/>
                  </a:lnTo>
                  <a:lnTo>
                    <a:pt x="434" y="2271"/>
                  </a:lnTo>
                  <a:lnTo>
                    <a:pt x="431" y="2281"/>
                  </a:lnTo>
                  <a:lnTo>
                    <a:pt x="430" y="2290"/>
                  </a:lnTo>
                  <a:lnTo>
                    <a:pt x="433" y="2297"/>
                  </a:lnTo>
                  <a:lnTo>
                    <a:pt x="439" y="2303"/>
                  </a:lnTo>
                  <a:lnTo>
                    <a:pt x="451" y="2310"/>
                  </a:lnTo>
                  <a:lnTo>
                    <a:pt x="476" y="2319"/>
                  </a:lnTo>
                  <a:lnTo>
                    <a:pt x="483" y="2325"/>
                  </a:lnTo>
                  <a:lnTo>
                    <a:pt x="488" y="2332"/>
                  </a:lnTo>
                  <a:lnTo>
                    <a:pt x="492" y="2339"/>
                  </a:lnTo>
                  <a:lnTo>
                    <a:pt x="495" y="2344"/>
                  </a:lnTo>
                  <a:lnTo>
                    <a:pt x="505" y="2346"/>
                  </a:lnTo>
                  <a:lnTo>
                    <a:pt x="510" y="2349"/>
                  </a:lnTo>
                  <a:lnTo>
                    <a:pt x="513" y="2355"/>
                  </a:lnTo>
                  <a:lnTo>
                    <a:pt x="512" y="2363"/>
                  </a:lnTo>
                  <a:lnTo>
                    <a:pt x="509" y="2370"/>
                  </a:lnTo>
                  <a:lnTo>
                    <a:pt x="509" y="2376"/>
                  </a:lnTo>
                  <a:lnTo>
                    <a:pt x="511" y="2382"/>
                  </a:lnTo>
                  <a:lnTo>
                    <a:pt x="514" y="2388"/>
                  </a:lnTo>
                  <a:lnTo>
                    <a:pt x="518" y="2404"/>
                  </a:lnTo>
                  <a:lnTo>
                    <a:pt x="517" y="2416"/>
                  </a:lnTo>
                  <a:lnTo>
                    <a:pt x="512" y="2427"/>
                  </a:lnTo>
                  <a:lnTo>
                    <a:pt x="506" y="2438"/>
                  </a:lnTo>
                  <a:lnTo>
                    <a:pt x="506" y="2438"/>
                  </a:lnTo>
                  <a:lnTo>
                    <a:pt x="477" y="2472"/>
                  </a:lnTo>
                  <a:lnTo>
                    <a:pt x="467" y="2496"/>
                  </a:lnTo>
                  <a:lnTo>
                    <a:pt x="457" y="2510"/>
                  </a:lnTo>
                  <a:lnTo>
                    <a:pt x="433" y="2520"/>
                  </a:lnTo>
                  <a:lnTo>
                    <a:pt x="424" y="2526"/>
                  </a:lnTo>
                  <a:lnTo>
                    <a:pt x="422" y="2528"/>
                  </a:lnTo>
                  <a:lnTo>
                    <a:pt x="425" y="2537"/>
                  </a:lnTo>
                  <a:lnTo>
                    <a:pt x="463" y="2585"/>
                  </a:lnTo>
                  <a:lnTo>
                    <a:pt x="485" y="2603"/>
                  </a:lnTo>
                  <a:lnTo>
                    <a:pt x="495" y="2617"/>
                  </a:lnTo>
                  <a:lnTo>
                    <a:pt x="498" y="2624"/>
                  </a:lnTo>
                  <a:lnTo>
                    <a:pt x="502" y="2627"/>
                  </a:lnTo>
                  <a:lnTo>
                    <a:pt x="555" y="2658"/>
                  </a:lnTo>
                  <a:lnTo>
                    <a:pt x="579" y="2689"/>
                  </a:lnTo>
                  <a:lnTo>
                    <a:pt x="612" y="2711"/>
                  </a:lnTo>
                  <a:lnTo>
                    <a:pt x="616" y="2715"/>
                  </a:lnTo>
                  <a:lnTo>
                    <a:pt x="619" y="2721"/>
                  </a:lnTo>
                  <a:lnTo>
                    <a:pt x="620" y="2729"/>
                  </a:lnTo>
                  <a:lnTo>
                    <a:pt x="620" y="2735"/>
                  </a:lnTo>
                  <a:lnTo>
                    <a:pt x="622" y="2743"/>
                  </a:lnTo>
                  <a:lnTo>
                    <a:pt x="623" y="2750"/>
                  </a:lnTo>
                  <a:lnTo>
                    <a:pt x="625" y="2755"/>
                  </a:lnTo>
                  <a:lnTo>
                    <a:pt x="629" y="2760"/>
                  </a:lnTo>
                  <a:lnTo>
                    <a:pt x="639" y="2768"/>
                  </a:lnTo>
                  <a:lnTo>
                    <a:pt x="644" y="2773"/>
                  </a:lnTo>
                  <a:lnTo>
                    <a:pt x="654" y="2789"/>
                  </a:lnTo>
                  <a:lnTo>
                    <a:pt x="658" y="2793"/>
                  </a:lnTo>
                  <a:lnTo>
                    <a:pt x="660" y="2795"/>
                  </a:lnTo>
                  <a:lnTo>
                    <a:pt x="663" y="2801"/>
                  </a:lnTo>
                  <a:lnTo>
                    <a:pt x="666" y="2810"/>
                  </a:lnTo>
                  <a:lnTo>
                    <a:pt x="668" y="2818"/>
                  </a:lnTo>
                  <a:lnTo>
                    <a:pt x="674" y="2823"/>
                  </a:lnTo>
                  <a:lnTo>
                    <a:pt x="660" y="2851"/>
                  </a:lnTo>
                  <a:lnTo>
                    <a:pt x="653" y="2864"/>
                  </a:lnTo>
                  <a:lnTo>
                    <a:pt x="648" y="2878"/>
                  </a:lnTo>
                  <a:lnTo>
                    <a:pt x="641" y="2911"/>
                  </a:lnTo>
                  <a:lnTo>
                    <a:pt x="638" y="2919"/>
                  </a:lnTo>
                  <a:lnTo>
                    <a:pt x="631" y="2930"/>
                  </a:lnTo>
                  <a:lnTo>
                    <a:pt x="629" y="2938"/>
                  </a:lnTo>
                  <a:lnTo>
                    <a:pt x="624" y="2955"/>
                  </a:lnTo>
                  <a:lnTo>
                    <a:pt x="622" y="2962"/>
                  </a:lnTo>
                  <a:lnTo>
                    <a:pt x="619" y="2966"/>
                  </a:lnTo>
                  <a:lnTo>
                    <a:pt x="619" y="2966"/>
                  </a:lnTo>
                  <a:lnTo>
                    <a:pt x="619" y="2966"/>
                  </a:lnTo>
                  <a:lnTo>
                    <a:pt x="610" y="2971"/>
                  </a:lnTo>
                  <a:lnTo>
                    <a:pt x="608" y="2975"/>
                  </a:lnTo>
                  <a:lnTo>
                    <a:pt x="606" y="2978"/>
                  </a:lnTo>
                  <a:lnTo>
                    <a:pt x="603" y="2985"/>
                  </a:lnTo>
                  <a:lnTo>
                    <a:pt x="580" y="3012"/>
                  </a:lnTo>
                  <a:lnTo>
                    <a:pt x="578" y="3015"/>
                  </a:lnTo>
                  <a:lnTo>
                    <a:pt x="574" y="3027"/>
                  </a:lnTo>
                  <a:lnTo>
                    <a:pt x="571" y="3031"/>
                  </a:lnTo>
                  <a:lnTo>
                    <a:pt x="569" y="3034"/>
                  </a:lnTo>
                  <a:lnTo>
                    <a:pt x="550" y="3047"/>
                  </a:lnTo>
                  <a:lnTo>
                    <a:pt x="536" y="3062"/>
                  </a:lnTo>
                  <a:lnTo>
                    <a:pt x="530" y="3066"/>
                  </a:lnTo>
                  <a:lnTo>
                    <a:pt x="527" y="3068"/>
                  </a:lnTo>
                  <a:lnTo>
                    <a:pt x="526" y="3071"/>
                  </a:lnTo>
                  <a:lnTo>
                    <a:pt x="521" y="3082"/>
                  </a:lnTo>
                  <a:lnTo>
                    <a:pt x="501" y="3110"/>
                  </a:lnTo>
                  <a:lnTo>
                    <a:pt x="478" y="3136"/>
                  </a:lnTo>
                  <a:lnTo>
                    <a:pt x="478" y="3136"/>
                  </a:lnTo>
                  <a:lnTo>
                    <a:pt x="478" y="3136"/>
                  </a:lnTo>
                  <a:lnTo>
                    <a:pt x="448" y="3184"/>
                  </a:lnTo>
                  <a:lnTo>
                    <a:pt x="421" y="3225"/>
                  </a:lnTo>
                  <a:lnTo>
                    <a:pt x="399" y="3247"/>
                  </a:lnTo>
                  <a:lnTo>
                    <a:pt x="396" y="3253"/>
                  </a:lnTo>
                  <a:lnTo>
                    <a:pt x="393" y="3264"/>
                  </a:lnTo>
                  <a:lnTo>
                    <a:pt x="389" y="3270"/>
                  </a:lnTo>
                  <a:lnTo>
                    <a:pt x="367" y="3297"/>
                  </a:lnTo>
                  <a:lnTo>
                    <a:pt x="362" y="3301"/>
                  </a:lnTo>
                  <a:lnTo>
                    <a:pt x="351" y="3306"/>
                  </a:lnTo>
                  <a:lnTo>
                    <a:pt x="348" y="3309"/>
                  </a:lnTo>
                  <a:lnTo>
                    <a:pt x="345" y="3314"/>
                  </a:lnTo>
                  <a:lnTo>
                    <a:pt x="342" y="3322"/>
                  </a:lnTo>
                  <a:lnTo>
                    <a:pt x="340" y="3329"/>
                  </a:lnTo>
                  <a:lnTo>
                    <a:pt x="316" y="3354"/>
                  </a:lnTo>
                  <a:lnTo>
                    <a:pt x="312" y="3362"/>
                  </a:lnTo>
                  <a:lnTo>
                    <a:pt x="310" y="3365"/>
                  </a:lnTo>
                  <a:lnTo>
                    <a:pt x="307" y="3370"/>
                  </a:lnTo>
                  <a:lnTo>
                    <a:pt x="298" y="3385"/>
                  </a:lnTo>
                  <a:lnTo>
                    <a:pt x="287" y="3395"/>
                  </a:lnTo>
                  <a:lnTo>
                    <a:pt x="263" y="3410"/>
                  </a:lnTo>
                  <a:lnTo>
                    <a:pt x="254" y="3417"/>
                  </a:lnTo>
                  <a:lnTo>
                    <a:pt x="243" y="3428"/>
                  </a:lnTo>
                  <a:lnTo>
                    <a:pt x="234" y="3434"/>
                  </a:lnTo>
                  <a:lnTo>
                    <a:pt x="231" y="3437"/>
                  </a:lnTo>
                  <a:lnTo>
                    <a:pt x="226" y="3445"/>
                  </a:lnTo>
                  <a:lnTo>
                    <a:pt x="217" y="3457"/>
                  </a:lnTo>
                  <a:lnTo>
                    <a:pt x="213" y="3462"/>
                  </a:lnTo>
                  <a:lnTo>
                    <a:pt x="211" y="3468"/>
                  </a:lnTo>
                  <a:lnTo>
                    <a:pt x="211" y="3468"/>
                  </a:lnTo>
                  <a:lnTo>
                    <a:pt x="211" y="3468"/>
                  </a:lnTo>
                  <a:lnTo>
                    <a:pt x="211" y="3468"/>
                  </a:lnTo>
                  <a:lnTo>
                    <a:pt x="205" y="3478"/>
                  </a:lnTo>
                  <a:lnTo>
                    <a:pt x="191" y="3482"/>
                  </a:lnTo>
                  <a:lnTo>
                    <a:pt x="184" y="3487"/>
                  </a:lnTo>
                  <a:lnTo>
                    <a:pt x="160" y="3511"/>
                  </a:lnTo>
                  <a:lnTo>
                    <a:pt x="146" y="3533"/>
                  </a:lnTo>
                  <a:lnTo>
                    <a:pt x="131" y="3545"/>
                  </a:lnTo>
                  <a:lnTo>
                    <a:pt x="108" y="3575"/>
                  </a:lnTo>
                  <a:lnTo>
                    <a:pt x="104" y="3580"/>
                  </a:lnTo>
                  <a:lnTo>
                    <a:pt x="90" y="3594"/>
                  </a:lnTo>
                  <a:lnTo>
                    <a:pt x="76" y="3611"/>
                  </a:lnTo>
                  <a:lnTo>
                    <a:pt x="75" y="3615"/>
                  </a:lnTo>
                  <a:lnTo>
                    <a:pt x="74" y="3617"/>
                  </a:lnTo>
                  <a:lnTo>
                    <a:pt x="78" y="3619"/>
                  </a:lnTo>
                  <a:lnTo>
                    <a:pt x="81" y="3615"/>
                  </a:lnTo>
                  <a:lnTo>
                    <a:pt x="83" y="3609"/>
                  </a:lnTo>
                  <a:lnTo>
                    <a:pt x="86" y="3606"/>
                  </a:lnTo>
                  <a:lnTo>
                    <a:pt x="87" y="3615"/>
                  </a:lnTo>
                  <a:lnTo>
                    <a:pt x="91" y="3619"/>
                  </a:lnTo>
                  <a:lnTo>
                    <a:pt x="113" y="3619"/>
                  </a:lnTo>
                  <a:lnTo>
                    <a:pt x="115" y="3619"/>
                  </a:lnTo>
                  <a:lnTo>
                    <a:pt x="120" y="3616"/>
                  </a:lnTo>
                  <a:lnTo>
                    <a:pt x="122" y="3615"/>
                  </a:lnTo>
                  <a:lnTo>
                    <a:pt x="124" y="3615"/>
                  </a:lnTo>
                  <a:lnTo>
                    <a:pt x="127" y="3617"/>
                  </a:lnTo>
                  <a:lnTo>
                    <a:pt x="129" y="3617"/>
                  </a:lnTo>
                  <a:lnTo>
                    <a:pt x="130" y="3616"/>
                  </a:lnTo>
                  <a:lnTo>
                    <a:pt x="131" y="3614"/>
                  </a:lnTo>
                  <a:lnTo>
                    <a:pt x="131" y="3612"/>
                  </a:lnTo>
                  <a:lnTo>
                    <a:pt x="132" y="3611"/>
                  </a:lnTo>
                  <a:lnTo>
                    <a:pt x="134" y="3611"/>
                  </a:lnTo>
                  <a:lnTo>
                    <a:pt x="137" y="3612"/>
                  </a:lnTo>
                  <a:lnTo>
                    <a:pt x="140" y="3613"/>
                  </a:lnTo>
                  <a:lnTo>
                    <a:pt x="141" y="3612"/>
                  </a:lnTo>
                  <a:lnTo>
                    <a:pt x="145" y="3609"/>
                  </a:lnTo>
                  <a:lnTo>
                    <a:pt x="149" y="3602"/>
                  </a:lnTo>
                  <a:lnTo>
                    <a:pt x="152" y="3598"/>
                  </a:lnTo>
                  <a:lnTo>
                    <a:pt x="152" y="3597"/>
                  </a:lnTo>
                  <a:lnTo>
                    <a:pt x="153" y="3596"/>
                  </a:lnTo>
                  <a:lnTo>
                    <a:pt x="154" y="3595"/>
                  </a:lnTo>
                  <a:lnTo>
                    <a:pt x="156" y="3594"/>
                  </a:lnTo>
                  <a:lnTo>
                    <a:pt x="158" y="3595"/>
                  </a:lnTo>
                  <a:lnTo>
                    <a:pt x="160" y="3596"/>
                  </a:lnTo>
                  <a:lnTo>
                    <a:pt x="162" y="3597"/>
                  </a:lnTo>
                  <a:lnTo>
                    <a:pt x="161" y="3594"/>
                  </a:lnTo>
                  <a:lnTo>
                    <a:pt x="161" y="3592"/>
                  </a:lnTo>
                  <a:lnTo>
                    <a:pt x="160" y="3590"/>
                  </a:lnTo>
                  <a:lnTo>
                    <a:pt x="158" y="3589"/>
                  </a:lnTo>
                  <a:lnTo>
                    <a:pt x="161" y="3587"/>
                  </a:lnTo>
                  <a:lnTo>
                    <a:pt x="165" y="3588"/>
                  </a:lnTo>
                  <a:lnTo>
                    <a:pt x="168" y="3588"/>
                  </a:lnTo>
                  <a:lnTo>
                    <a:pt x="169" y="3580"/>
                  </a:lnTo>
                  <a:lnTo>
                    <a:pt x="171" y="3575"/>
                  </a:lnTo>
                  <a:lnTo>
                    <a:pt x="174" y="3572"/>
                  </a:lnTo>
                  <a:lnTo>
                    <a:pt x="183" y="3573"/>
                  </a:lnTo>
                  <a:lnTo>
                    <a:pt x="184" y="3572"/>
                  </a:lnTo>
                  <a:lnTo>
                    <a:pt x="188" y="3569"/>
                  </a:lnTo>
                  <a:lnTo>
                    <a:pt x="190" y="3568"/>
                  </a:lnTo>
                  <a:lnTo>
                    <a:pt x="198" y="3569"/>
                  </a:lnTo>
                  <a:lnTo>
                    <a:pt x="200" y="3567"/>
                  </a:lnTo>
                  <a:lnTo>
                    <a:pt x="203" y="3563"/>
                  </a:lnTo>
                  <a:lnTo>
                    <a:pt x="208" y="3558"/>
                  </a:lnTo>
                  <a:lnTo>
                    <a:pt x="211" y="3554"/>
                  </a:lnTo>
                  <a:lnTo>
                    <a:pt x="217" y="3551"/>
                  </a:lnTo>
                  <a:lnTo>
                    <a:pt x="222" y="3556"/>
                  </a:lnTo>
                  <a:lnTo>
                    <a:pt x="224" y="3565"/>
                  </a:lnTo>
                  <a:lnTo>
                    <a:pt x="220" y="3573"/>
                  </a:lnTo>
                  <a:lnTo>
                    <a:pt x="218" y="3572"/>
                  </a:lnTo>
                  <a:lnTo>
                    <a:pt x="214" y="3570"/>
                  </a:lnTo>
                  <a:lnTo>
                    <a:pt x="211" y="3569"/>
                  </a:lnTo>
                  <a:lnTo>
                    <a:pt x="209" y="3573"/>
                  </a:lnTo>
                  <a:lnTo>
                    <a:pt x="210" y="3577"/>
                  </a:lnTo>
                  <a:lnTo>
                    <a:pt x="214" y="3586"/>
                  </a:lnTo>
                  <a:lnTo>
                    <a:pt x="216" y="3590"/>
                  </a:lnTo>
                  <a:lnTo>
                    <a:pt x="213" y="3591"/>
                  </a:lnTo>
                  <a:lnTo>
                    <a:pt x="212" y="3597"/>
                  </a:lnTo>
                  <a:lnTo>
                    <a:pt x="212" y="3603"/>
                  </a:lnTo>
                  <a:lnTo>
                    <a:pt x="212" y="3610"/>
                  </a:lnTo>
                  <a:lnTo>
                    <a:pt x="212" y="3617"/>
                  </a:lnTo>
                  <a:lnTo>
                    <a:pt x="216" y="3622"/>
                  </a:lnTo>
                  <a:lnTo>
                    <a:pt x="218" y="3628"/>
                  </a:lnTo>
                  <a:lnTo>
                    <a:pt x="219" y="3635"/>
                  </a:lnTo>
                  <a:lnTo>
                    <a:pt x="219" y="3640"/>
                  </a:lnTo>
                  <a:lnTo>
                    <a:pt x="216" y="3642"/>
                  </a:lnTo>
                  <a:lnTo>
                    <a:pt x="212" y="3639"/>
                  </a:lnTo>
                  <a:lnTo>
                    <a:pt x="205" y="3631"/>
                  </a:lnTo>
                  <a:lnTo>
                    <a:pt x="194" y="3624"/>
                  </a:lnTo>
                  <a:lnTo>
                    <a:pt x="190" y="3620"/>
                  </a:lnTo>
                  <a:lnTo>
                    <a:pt x="189" y="3617"/>
                  </a:lnTo>
                  <a:lnTo>
                    <a:pt x="189" y="3611"/>
                  </a:lnTo>
                  <a:lnTo>
                    <a:pt x="188" y="3609"/>
                  </a:lnTo>
                  <a:lnTo>
                    <a:pt x="185" y="3607"/>
                  </a:lnTo>
                  <a:lnTo>
                    <a:pt x="182" y="3606"/>
                  </a:lnTo>
                  <a:lnTo>
                    <a:pt x="179" y="3607"/>
                  </a:lnTo>
                  <a:lnTo>
                    <a:pt x="177" y="3609"/>
                  </a:lnTo>
                  <a:lnTo>
                    <a:pt x="179" y="3615"/>
                  </a:lnTo>
                  <a:lnTo>
                    <a:pt x="189" y="3631"/>
                  </a:lnTo>
                  <a:lnTo>
                    <a:pt x="203" y="3663"/>
                  </a:lnTo>
                  <a:lnTo>
                    <a:pt x="205" y="3666"/>
                  </a:lnTo>
                  <a:lnTo>
                    <a:pt x="207" y="3668"/>
                  </a:lnTo>
                  <a:lnTo>
                    <a:pt x="217" y="3672"/>
                  </a:lnTo>
                  <a:lnTo>
                    <a:pt x="220" y="3675"/>
                  </a:lnTo>
                  <a:lnTo>
                    <a:pt x="222" y="3677"/>
                  </a:lnTo>
                  <a:lnTo>
                    <a:pt x="226" y="3678"/>
                  </a:lnTo>
                  <a:lnTo>
                    <a:pt x="232" y="3679"/>
                  </a:lnTo>
                  <a:lnTo>
                    <a:pt x="233" y="3677"/>
                  </a:lnTo>
                  <a:lnTo>
                    <a:pt x="233" y="3673"/>
                  </a:lnTo>
                  <a:lnTo>
                    <a:pt x="234" y="3670"/>
                  </a:lnTo>
                  <a:lnTo>
                    <a:pt x="237" y="3672"/>
                  </a:lnTo>
                  <a:lnTo>
                    <a:pt x="239" y="3678"/>
                  </a:lnTo>
                  <a:lnTo>
                    <a:pt x="241" y="3687"/>
                  </a:lnTo>
                  <a:lnTo>
                    <a:pt x="244" y="3693"/>
                  </a:lnTo>
                  <a:lnTo>
                    <a:pt x="248" y="3696"/>
                  </a:lnTo>
                  <a:lnTo>
                    <a:pt x="253" y="3698"/>
                  </a:lnTo>
                  <a:lnTo>
                    <a:pt x="257" y="3703"/>
                  </a:lnTo>
                  <a:lnTo>
                    <a:pt x="264" y="3718"/>
                  </a:lnTo>
                  <a:lnTo>
                    <a:pt x="268" y="3725"/>
                  </a:lnTo>
                  <a:lnTo>
                    <a:pt x="274" y="3729"/>
                  </a:lnTo>
                  <a:lnTo>
                    <a:pt x="281" y="3731"/>
                  </a:lnTo>
                  <a:lnTo>
                    <a:pt x="306" y="3731"/>
                  </a:lnTo>
                  <a:lnTo>
                    <a:pt x="332" y="3734"/>
                  </a:lnTo>
                  <a:lnTo>
                    <a:pt x="332" y="3734"/>
                  </a:lnTo>
                  <a:lnTo>
                    <a:pt x="339" y="3731"/>
                  </a:lnTo>
                  <a:lnTo>
                    <a:pt x="349" y="3724"/>
                  </a:lnTo>
                  <a:lnTo>
                    <a:pt x="377" y="3724"/>
                  </a:lnTo>
                  <a:lnTo>
                    <a:pt x="401" y="3734"/>
                  </a:lnTo>
                  <a:lnTo>
                    <a:pt x="406" y="3740"/>
                  </a:lnTo>
                  <a:lnTo>
                    <a:pt x="409" y="3745"/>
                  </a:lnTo>
                  <a:lnTo>
                    <a:pt x="409" y="3748"/>
                  </a:lnTo>
                  <a:lnTo>
                    <a:pt x="408" y="3751"/>
                  </a:lnTo>
                  <a:lnTo>
                    <a:pt x="407" y="3755"/>
                  </a:lnTo>
                  <a:lnTo>
                    <a:pt x="409" y="3760"/>
                  </a:lnTo>
                  <a:lnTo>
                    <a:pt x="410" y="3764"/>
                  </a:lnTo>
                  <a:lnTo>
                    <a:pt x="413" y="3766"/>
                  </a:lnTo>
                  <a:lnTo>
                    <a:pt x="414" y="3766"/>
                  </a:lnTo>
                  <a:lnTo>
                    <a:pt x="416" y="3778"/>
                  </a:lnTo>
                  <a:lnTo>
                    <a:pt x="425" y="3784"/>
                  </a:lnTo>
                  <a:lnTo>
                    <a:pt x="458" y="3787"/>
                  </a:lnTo>
                  <a:lnTo>
                    <a:pt x="462" y="3790"/>
                  </a:lnTo>
                  <a:lnTo>
                    <a:pt x="464" y="3795"/>
                  </a:lnTo>
                  <a:lnTo>
                    <a:pt x="462" y="3798"/>
                  </a:lnTo>
                  <a:lnTo>
                    <a:pt x="459" y="3801"/>
                  </a:lnTo>
                  <a:lnTo>
                    <a:pt x="458" y="3805"/>
                  </a:lnTo>
                  <a:lnTo>
                    <a:pt x="460" y="3809"/>
                  </a:lnTo>
                  <a:lnTo>
                    <a:pt x="459" y="3817"/>
                  </a:lnTo>
                  <a:lnTo>
                    <a:pt x="455" y="3825"/>
                  </a:lnTo>
                  <a:lnTo>
                    <a:pt x="450" y="3829"/>
                  </a:lnTo>
                  <a:lnTo>
                    <a:pt x="443" y="3828"/>
                  </a:lnTo>
                  <a:lnTo>
                    <a:pt x="403" y="3813"/>
                  </a:lnTo>
                  <a:lnTo>
                    <a:pt x="394" y="3806"/>
                  </a:lnTo>
                  <a:lnTo>
                    <a:pt x="345" y="3797"/>
                  </a:lnTo>
                  <a:lnTo>
                    <a:pt x="308" y="3788"/>
                  </a:lnTo>
                  <a:lnTo>
                    <a:pt x="291" y="3786"/>
                  </a:lnTo>
                  <a:lnTo>
                    <a:pt x="285" y="3789"/>
                  </a:lnTo>
                  <a:lnTo>
                    <a:pt x="280" y="3794"/>
                  </a:lnTo>
                  <a:lnTo>
                    <a:pt x="272" y="3805"/>
                  </a:lnTo>
                  <a:lnTo>
                    <a:pt x="268" y="3809"/>
                  </a:lnTo>
                  <a:lnTo>
                    <a:pt x="267" y="3810"/>
                  </a:lnTo>
                  <a:lnTo>
                    <a:pt x="263" y="3809"/>
                  </a:lnTo>
                  <a:lnTo>
                    <a:pt x="271" y="3819"/>
                  </a:lnTo>
                  <a:lnTo>
                    <a:pt x="271" y="3823"/>
                  </a:lnTo>
                  <a:lnTo>
                    <a:pt x="267" y="3832"/>
                  </a:lnTo>
                  <a:lnTo>
                    <a:pt x="262" y="3841"/>
                  </a:lnTo>
                  <a:lnTo>
                    <a:pt x="261" y="3842"/>
                  </a:lnTo>
                  <a:lnTo>
                    <a:pt x="259" y="3842"/>
                  </a:lnTo>
                  <a:lnTo>
                    <a:pt x="255" y="3845"/>
                  </a:lnTo>
                  <a:lnTo>
                    <a:pt x="253" y="3846"/>
                  </a:lnTo>
                  <a:lnTo>
                    <a:pt x="249" y="3845"/>
                  </a:lnTo>
                  <a:lnTo>
                    <a:pt x="247" y="3845"/>
                  </a:lnTo>
                  <a:lnTo>
                    <a:pt x="241" y="3854"/>
                  </a:lnTo>
                  <a:lnTo>
                    <a:pt x="239" y="3855"/>
                  </a:lnTo>
                  <a:lnTo>
                    <a:pt x="236" y="3854"/>
                  </a:lnTo>
                  <a:lnTo>
                    <a:pt x="232" y="3851"/>
                  </a:lnTo>
                  <a:lnTo>
                    <a:pt x="229" y="3851"/>
                  </a:lnTo>
                  <a:lnTo>
                    <a:pt x="224" y="3854"/>
                  </a:lnTo>
                  <a:lnTo>
                    <a:pt x="221" y="3855"/>
                  </a:lnTo>
                  <a:lnTo>
                    <a:pt x="218" y="3853"/>
                  </a:lnTo>
                  <a:lnTo>
                    <a:pt x="217" y="3852"/>
                  </a:lnTo>
                  <a:lnTo>
                    <a:pt x="216" y="3848"/>
                  </a:lnTo>
                  <a:lnTo>
                    <a:pt x="215" y="3846"/>
                  </a:lnTo>
                  <a:lnTo>
                    <a:pt x="213" y="3845"/>
                  </a:lnTo>
                  <a:lnTo>
                    <a:pt x="210" y="3844"/>
                  </a:lnTo>
                  <a:lnTo>
                    <a:pt x="206" y="3841"/>
                  </a:lnTo>
                  <a:lnTo>
                    <a:pt x="199" y="3840"/>
                  </a:lnTo>
                  <a:lnTo>
                    <a:pt x="195" y="3834"/>
                  </a:lnTo>
                  <a:lnTo>
                    <a:pt x="192" y="3832"/>
                  </a:lnTo>
                  <a:lnTo>
                    <a:pt x="189" y="3831"/>
                  </a:lnTo>
                  <a:lnTo>
                    <a:pt x="187" y="3831"/>
                  </a:lnTo>
                  <a:lnTo>
                    <a:pt x="183" y="3834"/>
                  </a:lnTo>
                  <a:lnTo>
                    <a:pt x="179" y="3839"/>
                  </a:lnTo>
                  <a:lnTo>
                    <a:pt x="175" y="3846"/>
                  </a:lnTo>
                  <a:lnTo>
                    <a:pt x="174" y="3854"/>
                  </a:lnTo>
                  <a:lnTo>
                    <a:pt x="174" y="3871"/>
                  </a:lnTo>
                  <a:lnTo>
                    <a:pt x="174" y="3879"/>
                  </a:lnTo>
                  <a:lnTo>
                    <a:pt x="171" y="3888"/>
                  </a:lnTo>
                  <a:lnTo>
                    <a:pt x="167" y="3893"/>
                  </a:lnTo>
                  <a:lnTo>
                    <a:pt x="160" y="3892"/>
                  </a:lnTo>
                  <a:lnTo>
                    <a:pt x="143" y="3885"/>
                  </a:lnTo>
                  <a:lnTo>
                    <a:pt x="140" y="3878"/>
                  </a:lnTo>
                  <a:lnTo>
                    <a:pt x="139" y="3871"/>
                  </a:lnTo>
                  <a:lnTo>
                    <a:pt x="136" y="3863"/>
                  </a:lnTo>
                  <a:lnTo>
                    <a:pt x="132" y="3858"/>
                  </a:lnTo>
                  <a:lnTo>
                    <a:pt x="127" y="3853"/>
                  </a:lnTo>
                  <a:lnTo>
                    <a:pt x="121" y="3851"/>
                  </a:lnTo>
                  <a:lnTo>
                    <a:pt x="116" y="3854"/>
                  </a:lnTo>
                  <a:lnTo>
                    <a:pt x="108" y="3864"/>
                  </a:lnTo>
                  <a:lnTo>
                    <a:pt x="108" y="3868"/>
                  </a:lnTo>
                  <a:lnTo>
                    <a:pt x="106" y="3877"/>
                  </a:lnTo>
                  <a:lnTo>
                    <a:pt x="106" y="3881"/>
                  </a:lnTo>
                  <a:lnTo>
                    <a:pt x="107" y="3888"/>
                  </a:lnTo>
                  <a:lnTo>
                    <a:pt x="110" y="3895"/>
                  </a:lnTo>
                  <a:lnTo>
                    <a:pt x="115" y="3906"/>
                  </a:lnTo>
                  <a:lnTo>
                    <a:pt x="119" y="3920"/>
                  </a:lnTo>
                  <a:lnTo>
                    <a:pt x="116" y="3936"/>
                  </a:lnTo>
                  <a:lnTo>
                    <a:pt x="110" y="3950"/>
                  </a:lnTo>
                  <a:lnTo>
                    <a:pt x="113" y="3956"/>
                  </a:lnTo>
                  <a:lnTo>
                    <a:pt x="120" y="3960"/>
                  </a:lnTo>
                  <a:lnTo>
                    <a:pt x="124" y="3964"/>
                  </a:lnTo>
                  <a:lnTo>
                    <a:pt x="127" y="3973"/>
                  </a:lnTo>
                  <a:lnTo>
                    <a:pt x="129" y="3976"/>
                  </a:lnTo>
                  <a:lnTo>
                    <a:pt x="131" y="3978"/>
                  </a:lnTo>
                  <a:lnTo>
                    <a:pt x="135" y="3981"/>
                  </a:lnTo>
                  <a:lnTo>
                    <a:pt x="137" y="3984"/>
                  </a:lnTo>
                  <a:lnTo>
                    <a:pt x="136" y="3990"/>
                  </a:lnTo>
                  <a:lnTo>
                    <a:pt x="132" y="3987"/>
                  </a:lnTo>
                  <a:lnTo>
                    <a:pt x="125" y="3993"/>
                  </a:lnTo>
                  <a:lnTo>
                    <a:pt x="112" y="3994"/>
                  </a:lnTo>
                  <a:lnTo>
                    <a:pt x="107" y="3996"/>
                  </a:lnTo>
                  <a:lnTo>
                    <a:pt x="119" y="4001"/>
                  </a:lnTo>
                  <a:lnTo>
                    <a:pt x="122" y="4001"/>
                  </a:lnTo>
                  <a:lnTo>
                    <a:pt x="119" y="4005"/>
                  </a:lnTo>
                  <a:lnTo>
                    <a:pt x="101" y="4005"/>
                  </a:lnTo>
                  <a:lnTo>
                    <a:pt x="92" y="4010"/>
                  </a:lnTo>
                  <a:lnTo>
                    <a:pt x="88" y="4015"/>
                  </a:lnTo>
                  <a:lnTo>
                    <a:pt x="90" y="4020"/>
                  </a:lnTo>
                  <a:lnTo>
                    <a:pt x="87" y="4027"/>
                  </a:lnTo>
                  <a:lnTo>
                    <a:pt x="82" y="4050"/>
                  </a:lnTo>
                  <a:lnTo>
                    <a:pt x="73" y="4076"/>
                  </a:lnTo>
                  <a:lnTo>
                    <a:pt x="70" y="4083"/>
                  </a:lnTo>
                  <a:lnTo>
                    <a:pt x="63" y="4095"/>
                  </a:lnTo>
                  <a:lnTo>
                    <a:pt x="62" y="4102"/>
                  </a:lnTo>
                  <a:lnTo>
                    <a:pt x="59" y="4107"/>
                  </a:lnTo>
                  <a:lnTo>
                    <a:pt x="59" y="4107"/>
                  </a:lnTo>
                  <a:lnTo>
                    <a:pt x="44" y="4120"/>
                  </a:lnTo>
                  <a:lnTo>
                    <a:pt x="24" y="4138"/>
                  </a:lnTo>
                  <a:lnTo>
                    <a:pt x="19" y="4155"/>
                  </a:lnTo>
                  <a:lnTo>
                    <a:pt x="13" y="4175"/>
                  </a:lnTo>
                  <a:lnTo>
                    <a:pt x="17" y="4189"/>
                  </a:lnTo>
                  <a:lnTo>
                    <a:pt x="20" y="4204"/>
                  </a:lnTo>
                  <a:lnTo>
                    <a:pt x="28" y="4242"/>
                  </a:lnTo>
                  <a:lnTo>
                    <a:pt x="37" y="4284"/>
                  </a:lnTo>
                  <a:lnTo>
                    <a:pt x="27" y="4307"/>
                  </a:lnTo>
                  <a:lnTo>
                    <a:pt x="25" y="4322"/>
                  </a:lnTo>
                  <a:lnTo>
                    <a:pt x="27" y="4337"/>
                  </a:lnTo>
                  <a:lnTo>
                    <a:pt x="31" y="4345"/>
                  </a:lnTo>
                  <a:lnTo>
                    <a:pt x="34" y="4352"/>
                  </a:lnTo>
                  <a:lnTo>
                    <a:pt x="40" y="4365"/>
                  </a:lnTo>
                  <a:lnTo>
                    <a:pt x="48" y="4376"/>
                  </a:lnTo>
                  <a:lnTo>
                    <a:pt x="49" y="4385"/>
                  </a:lnTo>
                  <a:lnTo>
                    <a:pt x="48" y="4393"/>
                  </a:lnTo>
                  <a:lnTo>
                    <a:pt x="49" y="4402"/>
                  </a:lnTo>
                  <a:lnTo>
                    <a:pt x="52" y="4403"/>
                  </a:lnTo>
                  <a:lnTo>
                    <a:pt x="55" y="4405"/>
                  </a:lnTo>
                  <a:lnTo>
                    <a:pt x="56" y="4412"/>
                  </a:lnTo>
                  <a:lnTo>
                    <a:pt x="55" y="4416"/>
                  </a:lnTo>
                  <a:lnTo>
                    <a:pt x="54" y="4420"/>
                  </a:lnTo>
                  <a:lnTo>
                    <a:pt x="53" y="4423"/>
                  </a:lnTo>
                  <a:lnTo>
                    <a:pt x="54" y="4427"/>
                  </a:lnTo>
                  <a:lnTo>
                    <a:pt x="55" y="4429"/>
                  </a:lnTo>
                  <a:lnTo>
                    <a:pt x="71" y="4435"/>
                  </a:lnTo>
                  <a:lnTo>
                    <a:pt x="74" y="4439"/>
                  </a:lnTo>
                  <a:lnTo>
                    <a:pt x="75" y="4444"/>
                  </a:lnTo>
                  <a:lnTo>
                    <a:pt x="73" y="4448"/>
                  </a:lnTo>
                  <a:lnTo>
                    <a:pt x="70" y="4451"/>
                  </a:lnTo>
                  <a:lnTo>
                    <a:pt x="60" y="4455"/>
                  </a:lnTo>
                  <a:lnTo>
                    <a:pt x="37" y="4459"/>
                  </a:lnTo>
                  <a:lnTo>
                    <a:pt x="34" y="4459"/>
                  </a:lnTo>
                  <a:lnTo>
                    <a:pt x="32" y="4460"/>
                  </a:lnTo>
                  <a:lnTo>
                    <a:pt x="33" y="4461"/>
                  </a:lnTo>
                  <a:lnTo>
                    <a:pt x="36" y="4464"/>
                  </a:lnTo>
                  <a:lnTo>
                    <a:pt x="32" y="4466"/>
                  </a:lnTo>
                  <a:lnTo>
                    <a:pt x="30" y="4468"/>
                  </a:lnTo>
                  <a:lnTo>
                    <a:pt x="28" y="4471"/>
                  </a:lnTo>
                  <a:lnTo>
                    <a:pt x="28" y="4476"/>
                  </a:lnTo>
                  <a:lnTo>
                    <a:pt x="29" y="4484"/>
                  </a:lnTo>
                  <a:lnTo>
                    <a:pt x="29" y="4488"/>
                  </a:lnTo>
                  <a:lnTo>
                    <a:pt x="26" y="4491"/>
                  </a:lnTo>
                  <a:lnTo>
                    <a:pt x="13" y="4495"/>
                  </a:lnTo>
                  <a:lnTo>
                    <a:pt x="11" y="4498"/>
                  </a:lnTo>
                  <a:lnTo>
                    <a:pt x="9" y="4500"/>
                  </a:lnTo>
                  <a:lnTo>
                    <a:pt x="9" y="4502"/>
                  </a:lnTo>
                  <a:lnTo>
                    <a:pt x="8" y="4505"/>
                  </a:lnTo>
                  <a:lnTo>
                    <a:pt x="8" y="4507"/>
                  </a:lnTo>
                  <a:lnTo>
                    <a:pt x="9" y="4508"/>
                  </a:lnTo>
                  <a:lnTo>
                    <a:pt x="9" y="4512"/>
                  </a:lnTo>
                  <a:lnTo>
                    <a:pt x="9" y="4513"/>
                  </a:lnTo>
                  <a:lnTo>
                    <a:pt x="10" y="4513"/>
                  </a:lnTo>
                  <a:lnTo>
                    <a:pt x="9" y="4520"/>
                  </a:lnTo>
                  <a:lnTo>
                    <a:pt x="9" y="4521"/>
                  </a:lnTo>
                  <a:lnTo>
                    <a:pt x="8" y="4523"/>
                  </a:lnTo>
                  <a:lnTo>
                    <a:pt x="6" y="4523"/>
                  </a:lnTo>
                  <a:lnTo>
                    <a:pt x="4" y="4523"/>
                  </a:lnTo>
                  <a:lnTo>
                    <a:pt x="2" y="4524"/>
                  </a:lnTo>
                  <a:lnTo>
                    <a:pt x="0" y="4527"/>
                  </a:lnTo>
                  <a:lnTo>
                    <a:pt x="1" y="4531"/>
                  </a:lnTo>
                  <a:lnTo>
                    <a:pt x="2" y="4535"/>
                  </a:lnTo>
                  <a:lnTo>
                    <a:pt x="3" y="4540"/>
                  </a:lnTo>
                  <a:lnTo>
                    <a:pt x="4" y="4543"/>
                  </a:lnTo>
                  <a:lnTo>
                    <a:pt x="32" y="4543"/>
                  </a:lnTo>
                  <a:lnTo>
                    <a:pt x="31" y="4554"/>
                  </a:lnTo>
                  <a:lnTo>
                    <a:pt x="32" y="4561"/>
                  </a:lnTo>
                  <a:lnTo>
                    <a:pt x="30" y="4567"/>
                  </a:lnTo>
                  <a:lnTo>
                    <a:pt x="30" y="4572"/>
                  </a:lnTo>
                  <a:lnTo>
                    <a:pt x="33" y="4576"/>
                  </a:lnTo>
                  <a:lnTo>
                    <a:pt x="50" y="4584"/>
                  </a:lnTo>
                  <a:lnTo>
                    <a:pt x="59" y="4594"/>
                  </a:lnTo>
                  <a:lnTo>
                    <a:pt x="61" y="4596"/>
                  </a:lnTo>
                  <a:lnTo>
                    <a:pt x="77" y="4606"/>
                  </a:lnTo>
                  <a:lnTo>
                    <a:pt x="80" y="4609"/>
                  </a:lnTo>
                  <a:lnTo>
                    <a:pt x="82" y="4613"/>
                  </a:lnTo>
                  <a:lnTo>
                    <a:pt x="83" y="4620"/>
                  </a:lnTo>
                  <a:lnTo>
                    <a:pt x="82" y="4636"/>
                  </a:lnTo>
                  <a:lnTo>
                    <a:pt x="81" y="4645"/>
                  </a:lnTo>
                  <a:lnTo>
                    <a:pt x="79" y="4651"/>
                  </a:lnTo>
                  <a:lnTo>
                    <a:pt x="74" y="4656"/>
                  </a:lnTo>
                  <a:lnTo>
                    <a:pt x="60" y="4663"/>
                  </a:lnTo>
                  <a:lnTo>
                    <a:pt x="57" y="4668"/>
                  </a:lnTo>
                  <a:lnTo>
                    <a:pt x="59" y="4673"/>
                  </a:lnTo>
                  <a:lnTo>
                    <a:pt x="63" y="4675"/>
                  </a:lnTo>
                  <a:lnTo>
                    <a:pt x="67" y="4678"/>
                  </a:lnTo>
                  <a:lnTo>
                    <a:pt x="67" y="4685"/>
                  </a:lnTo>
                  <a:lnTo>
                    <a:pt x="67" y="4689"/>
                  </a:lnTo>
                  <a:lnTo>
                    <a:pt x="64" y="4695"/>
                  </a:lnTo>
                  <a:lnTo>
                    <a:pt x="63" y="4698"/>
                  </a:lnTo>
                  <a:lnTo>
                    <a:pt x="63" y="4701"/>
                  </a:lnTo>
                  <a:lnTo>
                    <a:pt x="62" y="4707"/>
                  </a:lnTo>
                  <a:lnTo>
                    <a:pt x="62" y="4710"/>
                  </a:lnTo>
                  <a:lnTo>
                    <a:pt x="51" y="4733"/>
                  </a:lnTo>
                  <a:lnTo>
                    <a:pt x="48" y="4743"/>
                  </a:lnTo>
                  <a:lnTo>
                    <a:pt x="51" y="4744"/>
                  </a:lnTo>
                  <a:lnTo>
                    <a:pt x="53" y="4744"/>
                  </a:lnTo>
                  <a:lnTo>
                    <a:pt x="67" y="4737"/>
                  </a:lnTo>
                  <a:lnTo>
                    <a:pt x="73" y="4735"/>
                  </a:lnTo>
                  <a:lnTo>
                    <a:pt x="80" y="4737"/>
                  </a:lnTo>
                  <a:lnTo>
                    <a:pt x="84" y="4740"/>
                  </a:lnTo>
                  <a:lnTo>
                    <a:pt x="90" y="4747"/>
                  </a:lnTo>
                  <a:lnTo>
                    <a:pt x="93" y="4750"/>
                  </a:lnTo>
                  <a:lnTo>
                    <a:pt x="94" y="4754"/>
                  </a:lnTo>
                  <a:lnTo>
                    <a:pt x="91" y="4761"/>
                  </a:lnTo>
                  <a:lnTo>
                    <a:pt x="87" y="4768"/>
                  </a:lnTo>
                  <a:lnTo>
                    <a:pt x="86" y="4772"/>
                  </a:lnTo>
                  <a:lnTo>
                    <a:pt x="88" y="4777"/>
                  </a:lnTo>
                  <a:lnTo>
                    <a:pt x="104" y="4788"/>
                  </a:lnTo>
                  <a:lnTo>
                    <a:pt x="106" y="4793"/>
                  </a:lnTo>
                  <a:lnTo>
                    <a:pt x="106" y="4806"/>
                  </a:lnTo>
                  <a:lnTo>
                    <a:pt x="107" y="4812"/>
                  </a:lnTo>
                  <a:lnTo>
                    <a:pt x="109" y="4817"/>
                  </a:lnTo>
                  <a:lnTo>
                    <a:pt x="112" y="4820"/>
                  </a:lnTo>
                  <a:lnTo>
                    <a:pt x="124" y="4826"/>
                  </a:lnTo>
                  <a:lnTo>
                    <a:pt x="127" y="4829"/>
                  </a:lnTo>
                  <a:lnTo>
                    <a:pt x="128" y="4832"/>
                  </a:lnTo>
                  <a:lnTo>
                    <a:pt x="127" y="4835"/>
                  </a:lnTo>
                  <a:lnTo>
                    <a:pt x="123" y="4838"/>
                  </a:lnTo>
                  <a:lnTo>
                    <a:pt x="122" y="4842"/>
                  </a:lnTo>
                  <a:lnTo>
                    <a:pt x="122" y="4845"/>
                  </a:lnTo>
                  <a:lnTo>
                    <a:pt x="124" y="4847"/>
                  </a:lnTo>
                  <a:lnTo>
                    <a:pt x="132" y="4858"/>
                  </a:lnTo>
                  <a:lnTo>
                    <a:pt x="133" y="4860"/>
                  </a:lnTo>
                  <a:lnTo>
                    <a:pt x="134" y="4863"/>
                  </a:lnTo>
                  <a:lnTo>
                    <a:pt x="133" y="4873"/>
                  </a:lnTo>
                  <a:lnTo>
                    <a:pt x="134" y="4880"/>
                  </a:lnTo>
                  <a:lnTo>
                    <a:pt x="135" y="4885"/>
                  </a:lnTo>
                  <a:lnTo>
                    <a:pt x="141" y="4905"/>
                  </a:lnTo>
                  <a:lnTo>
                    <a:pt x="142" y="4908"/>
                  </a:lnTo>
                  <a:lnTo>
                    <a:pt x="141" y="4912"/>
                  </a:lnTo>
                  <a:lnTo>
                    <a:pt x="140" y="4914"/>
                  </a:lnTo>
                  <a:lnTo>
                    <a:pt x="139" y="4916"/>
                  </a:lnTo>
                  <a:lnTo>
                    <a:pt x="138" y="4919"/>
                  </a:lnTo>
                  <a:lnTo>
                    <a:pt x="136" y="4926"/>
                  </a:lnTo>
                  <a:lnTo>
                    <a:pt x="135" y="4933"/>
                  </a:lnTo>
                  <a:lnTo>
                    <a:pt x="134" y="4939"/>
                  </a:lnTo>
                  <a:lnTo>
                    <a:pt x="131" y="4944"/>
                  </a:lnTo>
                  <a:lnTo>
                    <a:pt x="134" y="4949"/>
                  </a:lnTo>
                  <a:lnTo>
                    <a:pt x="145" y="4961"/>
                  </a:lnTo>
                  <a:lnTo>
                    <a:pt x="150" y="4968"/>
                  </a:lnTo>
                  <a:lnTo>
                    <a:pt x="153" y="4972"/>
                  </a:lnTo>
                  <a:lnTo>
                    <a:pt x="156" y="4973"/>
                  </a:lnTo>
                  <a:lnTo>
                    <a:pt x="160" y="4971"/>
                  </a:lnTo>
                  <a:lnTo>
                    <a:pt x="165" y="4962"/>
                  </a:lnTo>
                  <a:lnTo>
                    <a:pt x="169" y="4960"/>
                  </a:lnTo>
                  <a:lnTo>
                    <a:pt x="193" y="4957"/>
                  </a:lnTo>
                  <a:lnTo>
                    <a:pt x="202" y="4958"/>
                  </a:lnTo>
                  <a:lnTo>
                    <a:pt x="204" y="4960"/>
                  </a:lnTo>
                  <a:lnTo>
                    <a:pt x="206" y="4961"/>
                  </a:lnTo>
                  <a:lnTo>
                    <a:pt x="208" y="4966"/>
                  </a:lnTo>
                  <a:lnTo>
                    <a:pt x="214" y="4974"/>
                  </a:lnTo>
                  <a:lnTo>
                    <a:pt x="215" y="4977"/>
                  </a:lnTo>
                  <a:lnTo>
                    <a:pt x="217" y="4984"/>
                  </a:lnTo>
                  <a:lnTo>
                    <a:pt x="218" y="4990"/>
                  </a:lnTo>
                  <a:lnTo>
                    <a:pt x="219" y="4996"/>
                  </a:lnTo>
                  <a:lnTo>
                    <a:pt x="223" y="5000"/>
                  </a:lnTo>
                  <a:lnTo>
                    <a:pt x="236" y="5003"/>
                  </a:lnTo>
                  <a:lnTo>
                    <a:pt x="239" y="5002"/>
                  </a:lnTo>
                  <a:lnTo>
                    <a:pt x="239" y="4996"/>
                  </a:lnTo>
                  <a:lnTo>
                    <a:pt x="243" y="4992"/>
                  </a:lnTo>
                  <a:lnTo>
                    <a:pt x="253" y="4987"/>
                  </a:lnTo>
                  <a:lnTo>
                    <a:pt x="253" y="4987"/>
                  </a:lnTo>
                  <a:lnTo>
                    <a:pt x="253" y="4987"/>
                  </a:lnTo>
                  <a:lnTo>
                    <a:pt x="253" y="4987"/>
                  </a:lnTo>
                  <a:lnTo>
                    <a:pt x="263" y="4981"/>
                  </a:lnTo>
                  <a:lnTo>
                    <a:pt x="271" y="4978"/>
                  </a:lnTo>
                  <a:lnTo>
                    <a:pt x="280" y="4978"/>
                  </a:lnTo>
                  <a:lnTo>
                    <a:pt x="289" y="4981"/>
                  </a:lnTo>
                  <a:lnTo>
                    <a:pt x="296" y="4987"/>
                  </a:lnTo>
                  <a:lnTo>
                    <a:pt x="301" y="4991"/>
                  </a:lnTo>
                  <a:lnTo>
                    <a:pt x="326" y="4998"/>
                  </a:lnTo>
                  <a:lnTo>
                    <a:pt x="329" y="5000"/>
                  </a:lnTo>
                  <a:lnTo>
                    <a:pt x="331" y="5002"/>
                  </a:lnTo>
                  <a:lnTo>
                    <a:pt x="334" y="5006"/>
                  </a:lnTo>
                  <a:lnTo>
                    <a:pt x="336" y="5009"/>
                  </a:lnTo>
                  <a:lnTo>
                    <a:pt x="336" y="5011"/>
                  </a:lnTo>
                  <a:lnTo>
                    <a:pt x="336" y="5013"/>
                  </a:lnTo>
                  <a:lnTo>
                    <a:pt x="335" y="5013"/>
                  </a:lnTo>
                  <a:lnTo>
                    <a:pt x="333" y="5013"/>
                  </a:lnTo>
                  <a:lnTo>
                    <a:pt x="332" y="5014"/>
                  </a:lnTo>
                  <a:lnTo>
                    <a:pt x="331" y="5015"/>
                  </a:lnTo>
                  <a:lnTo>
                    <a:pt x="329" y="5015"/>
                  </a:lnTo>
                  <a:lnTo>
                    <a:pt x="328" y="5017"/>
                  </a:lnTo>
                  <a:lnTo>
                    <a:pt x="327" y="5019"/>
                  </a:lnTo>
                  <a:lnTo>
                    <a:pt x="326" y="5021"/>
                  </a:lnTo>
                  <a:lnTo>
                    <a:pt x="326" y="5028"/>
                  </a:lnTo>
                  <a:lnTo>
                    <a:pt x="325" y="5031"/>
                  </a:lnTo>
                  <a:lnTo>
                    <a:pt x="321" y="5041"/>
                  </a:lnTo>
                  <a:lnTo>
                    <a:pt x="321" y="5045"/>
                  </a:lnTo>
                  <a:lnTo>
                    <a:pt x="321" y="5051"/>
                  </a:lnTo>
                  <a:lnTo>
                    <a:pt x="324" y="5055"/>
                  </a:lnTo>
                  <a:lnTo>
                    <a:pt x="331" y="5062"/>
                  </a:lnTo>
                  <a:lnTo>
                    <a:pt x="339" y="5073"/>
                  </a:lnTo>
                  <a:lnTo>
                    <a:pt x="342" y="5075"/>
                  </a:lnTo>
                  <a:lnTo>
                    <a:pt x="346" y="5074"/>
                  </a:lnTo>
                  <a:lnTo>
                    <a:pt x="359" y="5059"/>
                  </a:lnTo>
                  <a:lnTo>
                    <a:pt x="375" y="5050"/>
                  </a:lnTo>
                  <a:lnTo>
                    <a:pt x="379" y="5049"/>
                  </a:lnTo>
                  <a:lnTo>
                    <a:pt x="390" y="5051"/>
                  </a:lnTo>
                  <a:lnTo>
                    <a:pt x="394" y="5049"/>
                  </a:lnTo>
                  <a:lnTo>
                    <a:pt x="400" y="5038"/>
                  </a:lnTo>
                  <a:lnTo>
                    <a:pt x="404" y="5033"/>
                  </a:lnTo>
                  <a:lnTo>
                    <a:pt x="410" y="5029"/>
                  </a:lnTo>
                  <a:lnTo>
                    <a:pt x="416" y="5028"/>
                  </a:lnTo>
                  <a:lnTo>
                    <a:pt x="423" y="5028"/>
                  </a:lnTo>
                  <a:lnTo>
                    <a:pt x="442" y="5035"/>
                  </a:lnTo>
                  <a:lnTo>
                    <a:pt x="446" y="5034"/>
                  </a:lnTo>
                  <a:lnTo>
                    <a:pt x="453" y="5027"/>
                  </a:lnTo>
                  <a:lnTo>
                    <a:pt x="456" y="5025"/>
                  </a:lnTo>
                  <a:lnTo>
                    <a:pt x="459" y="5026"/>
                  </a:lnTo>
                  <a:lnTo>
                    <a:pt x="464" y="5031"/>
                  </a:lnTo>
                  <a:lnTo>
                    <a:pt x="467" y="5033"/>
                  </a:lnTo>
                  <a:lnTo>
                    <a:pt x="499" y="5043"/>
                  </a:lnTo>
                  <a:lnTo>
                    <a:pt x="500" y="5045"/>
                  </a:lnTo>
                  <a:lnTo>
                    <a:pt x="501" y="5047"/>
                  </a:lnTo>
                  <a:lnTo>
                    <a:pt x="500" y="5050"/>
                  </a:lnTo>
                  <a:lnTo>
                    <a:pt x="499" y="5052"/>
                  </a:lnTo>
                  <a:lnTo>
                    <a:pt x="501" y="5054"/>
                  </a:lnTo>
                  <a:lnTo>
                    <a:pt x="515" y="5061"/>
                  </a:lnTo>
                  <a:lnTo>
                    <a:pt x="517" y="5062"/>
                  </a:lnTo>
                  <a:lnTo>
                    <a:pt x="518" y="5064"/>
                  </a:lnTo>
                  <a:lnTo>
                    <a:pt x="518" y="5068"/>
                  </a:lnTo>
                  <a:lnTo>
                    <a:pt x="518" y="5071"/>
                  </a:lnTo>
                  <a:lnTo>
                    <a:pt x="517" y="5073"/>
                  </a:lnTo>
                  <a:lnTo>
                    <a:pt x="517" y="5075"/>
                  </a:lnTo>
                  <a:lnTo>
                    <a:pt x="519" y="5079"/>
                  </a:lnTo>
                  <a:lnTo>
                    <a:pt x="522" y="5081"/>
                  </a:lnTo>
                  <a:lnTo>
                    <a:pt x="526" y="5082"/>
                  </a:lnTo>
                  <a:lnTo>
                    <a:pt x="532" y="5082"/>
                  </a:lnTo>
                  <a:lnTo>
                    <a:pt x="535" y="5083"/>
                  </a:lnTo>
                  <a:lnTo>
                    <a:pt x="536" y="5086"/>
                  </a:lnTo>
                  <a:lnTo>
                    <a:pt x="538" y="5090"/>
                  </a:lnTo>
                  <a:lnTo>
                    <a:pt x="542" y="5099"/>
                  </a:lnTo>
                  <a:lnTo>
                    <a:pt x="547" y="5100"/>
                  </a:lnTo>
                  <a:lnTo>
                    <a:pt x="552" y="5097"/>
                  </a:lnTo>
                  <a:lnTo>
                    <a:pt x="559" y="5095"/>
                  </a:lnTo>
                  <a:lnTo>
                    <a:pt x="565" y="5097"/>
                  </a:lnTo>
                  <a:lnTo>
                    <a:pt x="569" y="5104"/>
                  </a:lnTo>
                  <a:lnTo>
                    <a:pt x="570" y="5105"/>
                  </a:lnTo>
                  <a:lnTo>
                    <a:pt x="570" y="5116"/>
                  </a:lnTo>
                  <a:lnTo>
                    <a:pt x="567" y="5126"/>
                  </a:lnTo>
                  <a:lnTo>
                    <a:pt x="570" y="5127"/>
                  </a:lnTo>
                  <a:lnTo>
                    <a:pt x="570" y="5128"/>
                  </a:lnTo>
                  <a:lnTo>
                    <a:pt x="570" y="5131"/>
                  </a:lnTo>
                  <a:lnTo>
                    <a:pt x="565" y="5134"/>
                  </a:lnTo>
                  <a:lnTo>
                    <a:pt x="565" y="5139"/>
                  </a:lnTo>
                  <a:lnTo>
                    <a:pt x="566" y="5144"/>
                  </a:lnTo>
                  <a:lnTo>
                    <a:pt x="568" y="5148"/>
                  </a:lnTo>
                  <a:lnTo>
                    <a:pt x="570" y="5151"/>
                  </a:lnTo>
                  <a:lnTo>
                    <a:pt x="570" y="5157"/>
                  </a:lnTo>
                  <a:lnTo>
                    <a:pt x="568" y="5160"/>
                  </a:lnTo>
                  <a:lnTo>
                    <a:pt x="559" y="5167"/>
                  </a:lnTo>
                  <a:lnTo>
                    <a:pt x="553" y="5175"/>
                  </a:lnTo>
                  <a:lnTo>
                    <a:pt x="551" y="5180"/>
                  </a:lnTo>
                  <a:lnTo>
                    <a:pt x="551" y="5185"/>
                  </a:lnTo>
                  <a:lnTo>
                    <a:pt x="552" y="5189"/>
                  </a:lnTo>
                  <a:lnTo>
                    <a:pt x="555" y="5191"/>
                  </a:lnTo>
                  <a:lnTo>
                    <a:pt x="560" y="5194"/>
                  </a:lnTo>
                  <a:lnTo>
                    <a:pt x="563" y="5198"/>
                  </a:lnTo>
                  <a:lnTo>
                    <a:pt x="565" y="5208"/>
                  </a:lnTo>
                  <a:lnTo>
                    <a:pt x="568" y="5211"/>
                  </a:lnTo>
                  <a:lnTo>
                    <a:pt x="575" y="5217"/>
                  </a:lnTo>
                  <a:lnTo>
                    <a:pt x="577" y="5219"/>
                  </a:lnTo>
                  <a:lnTo>
                    <a:pt x="577" y="5221"/>
                  </a:lnTo>
                  <a:lnTo>
                    <a:pt x="576" y="5223"/>
                  </a:lnTo>
                  <a:lnTo>
                    <a:pt x="577" y="5225"/>
                  </a:lnTo>
                  <a:lnTo>
                    <a:pt x="577" y="5225"/>
                  </a:lnTo>
                  <a:lnTo>
                    <a:pt x="579" y="5226"/>
                  </a:lnTo>
                  <a:lnTo>
                    <a:pt x="579" y="5226"/>
                  </a:lnTo>
                  <a:lnTo>
                    <a:pt x="580" y="5227"/>
                  </a:lnTo>
                  <a:lnTo>
                    <a:pt x="581" y="5228"/>
                  </a:lnTo>
                  <a:lnTo>
                    <a:pt x="581" y="5230"/>
                  </a:lnTo>
                  <a:lnTo>
                    <a:pt x="580" y="5232"/>
                  </a:lnTo>
                  <a:lnTo>
                    <a:pt x="579" y="5234"/>
                  </a:lnTo>
                  <a:lnTo>
                    <a:pt x="579" y="5237"/>
                  </a:lnTo>
                  <a:lnTo>
                    <a:pt x="579" y="5238"/>
                  </a:lnTo>
                  <a:lnTo>
                    <a:pt x="580" y="5241"/>
                  </a:lnTo>
                  <a:lnTo>
                    <a:pt x="582" y="5246"/>
                  </a:lnTo>
                  <a:lnTo>
                    <a:pt x="584" y="5253"/>
                  </a:lnTo>
                  <a:lnTo>
                    <a:pt x="584" y="5258"/>
                  </a:lnTo>
                  <a:lnTo>
                    <a:pt x="580" y="5259"/>
                  </a:lnTo>
                  <a:lnTo>
                    <a:pt x="573" y="5257"/>
                  </a:lnTo>
                  <a:lnTo>
                    <a:pt x="570" y="5258"/>
                  </a:lnTo>
                  <a:lnTo>
                    <a:pt x="569" y="5261"/>
                  </a:lnTo>
                  <a:lnTo>
                    <a:pt x="570" y="5266"/>
                  </a:lnTo>
                  <a:lnTo>
                    <a:pt x="572" y="5269"/>
                  </a:lnTo>
                  <a:lnTo>
                    <a:pt x="573" y="5272"/>
                  </a:lnTo>
                  <a:lnTo>
                    <a:pt x="570" y="5277"/>
                  </a:lnTo>
                  <a:lnTo>
                    <a:pt x="567" y="5279"/>
                  </a:lnTo>
                  <a:lnTo>
                    <a:pt x="558" y="5281"/>
                  </a:lnTo>
                  <a:lnTo>
                    <a:pt x="554" y="5284"/>
                  </a:lnTo>
                  <a:lnTo>
                    <a:pt x="554" y="5287"/>
                  </a:lnTo>
                  <a:lnTo>
                    <a:pt x="556" y="5291"/>
                  </a:lnTo>
                  <a:lnTo>
                    <a:pt x="556" y="5298"/>
                  </a:lnTo>
                  <a:lnTo>
                    <a:pt x="553" y="5303"/>
                  </a:lnTo>
                  <a:lnTo>
                    <a:pt x="550" y="5306"/>
                  </a:lnTo>
                  <a:lnTo>
                    <a:pt x="546" y="5311"/>
                  </a:lnTo>
                  <a:lnTo>
                    <a:pt x="546" y="5319"/>
                  </a:lnTo>
                  <a:lnTo>
                    <a:pt x="547" y="5323"/>
                  </a:lnTo>
                  <a:lnTo>
                    <a:pt x="549" y="5325"/>
                  </a:lnTo>
                  <a:lnTo>
                    <a:pt x="556" y="5328"/>
                  </a:lnTo>
                  <a:lnTo>
                    <a:pt x="580" y="5345"/>
                  </a:lnTo>
                  <a:lnTo>
                    <a:pt x="583" y="5350"/>
                  </a:lnTo>
                  <a:lnTo>
                    <a:pt x="583" y="5355"/>
                  </a:lnTo>
                  <a:lnTo>
                    <a:pt x="587" y="5354"/>
                  </a:lnTo>
                  <a:lnTo>
                    <a:pt x="600" y="5356"/>
                  </a:lnTo>
                  <a:lnTo>
                    <a:pt x="604" y="5363"/>
                  </a:lnTo>
                  <a:lnTo>
                    <a:pt x="610" y="5369"/>
                  </a:lnTo>
                  <a:lnTo>
                    <a:pt x="605" y="5379"/>
                  </a:lnTo>
                  <a:lnTo>
                    <a:pt x="598" y="5392"/>
                  </a:lnTo>
                  <a:lnTo>
                    <a:pt x="594" y="5404"/>
                  </a:lnTo>
                  <a:lnTo>
                    <a:pt x="598" y="5407"/>
                  </a:lnTo>
                  <a:lnTo>
                    <a:pt x="610" y="5411"/>
                  </a:lnTo>
                  <a:lnTo>
                    <a:pt x="612" y="5414"/>
                  </a:lnTo>
                  <a:lnTo>
                    <a:pt x="612" y="5414"/>
                  </a:lnTo>
                  <a:lnTo>
                    <a:pt x="617" y="5416"/>
                  </a:lnTo>
                  <a:lnTo>
                    <a:pt x="619" y="5421"/>
                  </a:lnTo>
                  <a:lnTo>
                    <a:pt x="623" y="5435"/>
                  </a:lnTo>
                  <a:lnTo>
                    <a:pt x="625" y="5438"/>
                  </a:lnTo>
                  <a:lnTo>
                    <a:pt x="627" y="5441"/>
                  </a:lnTo>
                  <a:lnTo>
                    <a:pt x="629" y="5443"/>
                  </a:lnTo>
                  <a:lnTo>
                    <a:pt x="630" y="5447"/>
                  </a:lnTo>
                  <a:lnTo>
                    <a:pt x="631" y="5463"/>
                  </a:lnTo>
                  <a:lnTo>
                    <a:pt x="633" y="5471"/>
                  </a:lnTo>
                  <a:lnTo>
                    <a:pt x="635" y="5475"/>
                  </a:lnTo>
                  <a:lnTo>
                    <a:pt x="660" y="5495"/>
                  </a:lnTo>
                  <a:lnTo>
                    <a:pt x="664" y="5498"/>
                  </a:lnTo>
                  <a:lnTo>
                    <a:pt x="668" y="5500"/>
                  </a:lnTo>
                  <a:lnTo>
                    <a:pt x="676" y="5502"/>
                  </a:lnTo>
                  <a:lnTo>
                    <a:pt x="689" y="5510"/>
                  </a:lnTo>
                  <a:lnTo>
                    <a:pt x="694" y="5511"/>
                  </a:lnTo>
                  <a:lnTo>
                    <a:pt x="698" y="5511"/>
                  </a:lnTo>
                  <a:lnTo>
                    <a:pt x="700" y="5512"/>
                  </a:lnTo>
                  <a:lnTo>
                    <a:pt x="702" y="5514"/>
                  </a:lnTo>
                  <a:lnTo>
                    <a:pt x="703" y="5517"/>
                  </a:lnTo>
                  <a:lnTo>
                    <a:pt x="704" y="5521"/>
                  </a:lnTo>
                  <a:lnTo>
                    <a:pt x="706" y="5524"/>
                  </a:lnTo>
                  <a:lnTo>
                    <a:pt x="708" y="5525"/>
                  </a:lnTo>
                  <a:lnTo>
                    <a:pt x="712" y="5522"/>
                  </a:lnTo>
                  <a:lnTo>
                    <a:pt x="712" y="5522"/>
                  </a:lnTo>
                  <a:lnTo>
                    <a:pt x="714" y="5523"/>
                  </a:lnTo>
                  <a:lnTo>
                    <a:pt x="714" y="5524"/>
                  </a:lnTo>
                  <a:lnTo>
                    <a:pt x="714" y="5525"/>
                  </a:lnTo>
                  <a:lnTo>
                    <a:pt x="718" y="5539"/>
                  </a:lnTo>
                  <a:lnTo>
                    <a:pt x="717" y="5541"/>
                  </a:lnTo>
                  <a:lnTo>
                    <a:pt x="717" y="5543"/>
                  </a:lnTo>
                  <a:lnTo>
                    <a:pt x="717" y="5545"/>
                  </a:lnTo>
                  <a:lnTo>
                    <a:pt x="716" y="5547"/>
                  </a:lnTo>
                  <a:lnTo>
                    <a:pt x="715" y="5553"/>
                  </a:lnTo>
                  <a:lnTo>
                    <a:pt x="712" y="5569"/>
                  </a:lnTo>
                  <a:lnTo>
                    <a:pt x="709" y="5575"/>
                  </a:lnTo>
                  <a:lnTo>
                    <a:pt x="703" y="5586"/>
                  </a:lnTo>
                  <a:lnTo>
                    <a:pt x="702" y="5592"/>
                  </a:lnTo>
                  <a:lnTo>
                    <a:pt x="708" y="5593"/>
                  </a:lnTo>
                  <a:lnTo>
                    <a:pt x="722" y="5597"/>
                  </a:lnTo>
                  <a:lnTo>
                    <a:pt x="755" y="5589"/>
                  </a:lnTo>
                  <a:lnTo>
                    <a:pt x="759" y="5589"/>
                  </a:lnTo>
                  <a:lnTo>
                    <a:pt x="768" y="5596"/>
                  </a:lnTo>
                  <a:lnTo>
                    <a:pt x="788" y="5601"/>
                  </a:lnTo>
                  <a:lnTo>
                    <a:pt x="794" y="5606"/>
                  </a:lnTo>
                  <a:lnTo>
                    <a:pt x="799" y="5613"/>
                  </a:lnTo>
                  <a:lnTo>
                    <a:pt x="801" y="5614"/>
                  </a:lnTo>
                  <a:lnTo>
                    <a:pt x="809" y="5613"/>
                  </a:lnTo>
                  <a:lnTo>
                    <a:pt x="812" y="5614"/>
                  </a:lnTo>
                  <a:lnTo>
                    <a:pt x="815" y="5616"/>
                  </a:lnTo>
                  <a:lnTo>
                    <a:pt x="818" y="5620"/>
                  </a:lnTo>
                  <a:lnTo>
                    <a:pt x="819" y="5622"/>
                  </a:lnTo>
                  <a:lnTo>
                    <a:pt x="820" y="5624"/>
                  </a:lnTo>
                  <a:lnTo>
                    <a:pt x="819" y="5626"/>
                  </a:lnTo>
                  <a:lnTo>
                    <a:pt x="818" y="5628"/>
                  </a:lnTo>
                  <a:lnTo>
                    <a:pt x="806" y="5634"/>
                  </a:lnTo>
                  <a:lnTo>
                    <a:pt x="805" y="5635"/>
                  </a:lnTo>
                  <a:lnTo>
                    <a:pt x="805" y="5637"/>
                  </a:lnTo>
                  <a:lnTo>
                    <a:pt x="806" y="5642"/>
                  </a:lnTo>
                  <a:lnTo>
                    <a:pt x="807" y="5649"/>
                  </a:lnTo>
                  <a:lnTo>
                    <a:pt x="810" y="5655"/>
                  </a:lnTo>
                  <a:lnTo>
                    <a:pt x="814" y="5659"/>
                  </a:lnTo>
                  <a:lnTo>
                    <a:pt x="818" y="5662"/>
                  </a:lnTo>
                  <a:lnTo>
                    <a:pt x="826" y="5665"/>
                  </a:lnTo>
                  <a:lnTo>
                    <a:pt x="830" y="5668"/>
                  </a:lnTo>
                  <a:lnTo>
                    <a:pt x="833" y="5673"/>
                  </a:lnTo>
                  <a:lnTo>
                    <a:pt x="833" y="5673"/>
                  </a:lnTo>
                  <a:lnTo>
                    <a:pt x="834" y="5675"/>
                  </a:lnTo>
                  <a:lnTo>
                    <a:pt x="835" y="5675"/>
                  </a:lnTo>
                  <a:lnTo>
                    <a:pt x="836" y="5675"/>
                  </a:lnTo>
                  <a:lnTo>
                    <a:pt x="837" y="5673"/>
                  </a:lnTo>
                  <a:lnTo>
                    <a:pt x="840" y="5673"/>
                  </a:lnTo>
                  <a:lnTo>
                    <a:pt x="843" y="5673"/>
                  </a:lnTo>
                  <a:lnTo>
                    <a:pt x="845" y="5674"/>
                  </a:lnTo>
                  <a:lnTo>
                    <a:pt x="845" y="5677"/>
                  </a:lnTo>
                  <a:lnTo>
                    <a:pt x="844" y="5679"/>
                  </a:lnTo>
                  <a:lnTo>
                    <a:pt x="845" y="5682"/>
                  </a:lnTo>
                  <a:lnTo>
                    <a:pt x="847" y="5683"/>
                  </a:lnTo>
                  <a:lnTo>
                    <a:pt x="851" y="5681"/>
                  </a:lnTo>
                  <a:lnTo>
                    <a:pt x="853" y="5681"/>
                  </a:lnTo>
                  <a:lnTo>
                    <a:pt x="856" y="5687"/>
                  </a:lnTo>
                  <a:lnTo>
                    <a:pt x="856" y="5689"/>
                  </a:lnTo>
                  <a:lnTo>
                    <a:pt x="854" y="5706"/>
                  </a:lnTo>
                  <a:lnTo>
                    <a:pt x="856" y="5715"/>
                  </a:lnTo>
                  <a:lnTo>
                    <a:pt x="853" y="5717"/>
                  </a:lnTo>
                  <a:lnTo>
                    <a:pt x="850" y="5717"/>
                  </a:lnTo>
                  <a:lnTo>
                    <a:pt x="848" y="5716"/>
                  </a:lnTo>
                  <a:lnTo>
                    <a:pt x="845" y="5715"/>
                  </a:lnTo>
                  <a:lnTo>
                    <a:pt x="834" y="5718"/>
                  </a:lnTo>
                  <a:lnTo>
                    <a:pt x="835" y="5719"/>
                  </a:lnTo>
                  <a:lnTo>
                    <a:pt x="836" y="5721"/>
                  </a:lnTo>
                  <a:lnTo>
                    <a:pt x="837" y="5722"/>
                  </a:lnTo>
                  <a:lnTo>
                    <a:pt x="832" y="5725"/>
                  </a:lnTo>
                  <a:lnTo>
                    <a:pt x="827" y="5726"/>
                  </a:lnTo>
                  <a:lnTo>
                    <a:pt x="822" y="5725"/>
                  </a:lnTo>
                  <a:lnTo>
                    <a:pt x="818" y="5723"/>
                  </a:lnTo>
                  <a:lnTo>
                    <a:pt x="814" y="5724"/>
                  </a:lnTo>
                  <a:lnTo>
                    <a:pt x="813" y="5727"/>
                  </a:lnTo>
                  <a:lnTo>
                    <a:pt x="814" y="5730"/>
                  </a:lnTo>
                  <a:lnTo>
                    <a:pt x="818" y="5731"/>
                  </a:lnTo>
                  <a:lnTo>
                    <a:pt x="817" y="5736"/>
                  </a:lnTo>
                  <a:lnTo>
                    <a:pt x="814" y="5741"/>
                  </a:lnTo>
                  <a:lnTo>
                    <a:pt x="809" y="5750"/>
                  </a:lnTo>
                  <a:lnTo>
                    <a:pt x="806" y="5753"/>
                  </a:lnTo>
                  <a:lnTo>
                    <a:pt x="804" y="5754"/>
                  </a:lnTo>
                  <a:lnTo>
                    <a:pt x="798" y="5756"/>
                  </a:lnTo>
                  <a:lnTo>
                    <a:pt x="793" y="5760"/>
                  </a:lnTo>
                  <a:lnTo>
                    <a:pt x="789" y="5766"/>
                  </a:lnTo>
                  <a:lnTo>
                    <a:pt x="785" y="5770"/>
                  </a:lnTo>
                  <a:lnTo>
                    <a:pt x="776" y="5770"/>
                  </a:lnTo>
                  <a:lnTo>
                    <a:pt x="775" y="5771"/>
                  </a:lnTo>
                  <a:lnTo>
                    <a:pt x="775" y="5773"/>
                  </a:lnTo>
                  <a:lnTo>
                    <a:pt x="775" y="5774"/>
                  </a:lnTo>
                  <a:lnTo>
                    <a:pt x="775" y="5775"/>
                  </a:lnTo>
                  <a:lnTo>
                    <a:pt x="775" y="5776"/>
                  </a:lnTo>
                  <a:lnTo>
                    <a:pt x="775" y="5777"/>
                  </a:lnTo>
                  <a:lnTo>
                    <a:pt x="774" y="5778"/>
                  </a:lnTo>
                  <a:lnTo>
                    <a:pt x="773" y="5778"/>
                  </a:lnTo>
                  <a:lnTo>
                    <a:pt x="772" y="5777"/>
                  </a:lnTo>
                  <a:lnTo>
                    <a:pt x="766" y="5778"/>
                  </a:lnTo>
                  <a:lnTo>
                    <a:pt x="762" y="5781"/>
                  </a:lnTo>
                  <a:lnTo>
                    <a:pt x="761" y="5782"/>
                  </a:lnTo>
                  <a:lnTo>
                    <a:pt x="755" y="5782"/>
                  </a:lnTo>
                  <a:lnTo>
                    <a:pt x="744" y="5777"/>
                  </a:lnTo>
                  <a:lnTo>
                    <a:pt x="739" y="5778"/>
                  </a:lnTo>
                  <a:lnTo>
                    <a:pt x="735" y="5780"/>
                  </a:lnTo>
                  <a:lnTo>
                    <a:pt x="731" y="5780"/>
                  </a:lnTo>
                  <a:lnTo>
                    <a:pt x="727" y="5779"/>
                  </a:lnTo>
                  <a:lnTo>
                    <a:pt x="719" y="5775"/>
                  </a:lnTo>
                  <a:lnTo>
                    <a:pt x="717" y="5774"/>
                  </a:lnTo>
                  <a:lnTo>
                    <a:pt x="712" y="5775"/>
                  </a:lnTo>
                  <a:lnTo>
                    <a:pt x="710" y="5774"/>
                  </a:lnTo>
                  <a:lnTo>
                    <a:pt x="707" y="5770"/>
                  </a:lnTo>
                  <a:lnTo>
                    <a:pt x="706" y="5759"/>
                  </a:lnTo>
                  <a:lnTo>
                    <a:pt x="703" y="5754"/>
                  </a:lnTo>
                  <a:lnTo>
                    <a:pt x="701" y="5753"/>
                  </a:lnTo>
                  <a:lnTo>
                    <a:pt x="693" y="5753"/>
                  </a:lnTo>
                  <a:lnTo>
                    <a:pt x="691" y="5752"/>
                  </a:lnTo>
                  <a:lnTo>
                    <a:pt x="681" y="5748"/>
                  </a:lnTo>
                  <a:lnTo>
                    <a:pt x="677" y="5748"/>
                  </a:lnTo>
                  <a:lnTo>
                    <a:pt x="674" y="5749"/>
                  </a:lnTo>
                  <a:lnTo>
                    <a:pt x="668" y="5752"/>
                  </a:lnTo>
                  <a:lnTo>
                    <a:pt x="665" y="5752"/>
                  </a:lnTo>
                  <a:lnTo>
                    <a:pt x="657" y="5751"/>
                  </a:lnTo>
                  <a:lnTo>
                    <a:pt x="649" y="5751"/>
                  </a:lnTo>
                  <a:lnTo>
                    <a:pt x="643" y="5755"/>
                  </a:lnTo>
                  <a:lnTo>
                    <a:pt x="640" y="5768"/>
                  </a:lnTo>
                  <a:lnTo>
                    <a:pt x="641" y="5771"/>
                  </a:lnTo>
                  <a:lnTo>
                    <a:pt x="641" y="5772"/>
                  </a:lnTo>
                  <a:lnTo>
                    <a:pt x="641" y="5775"/>
                  </a:lnTo>
                  <a:lnTo>
                    <a:pt x="642" y="5777"/>
                  </a:lnTo>
                  <a:lnTo>
                    <a:pt x="641" y="5780"/>
                  </a:lnTo>
                  <a:lnTo>
                    <a:pt x="639" y="5782"/>
                  </a:lnTo>
                  <a:lnTo>
                    <a:pt x="636" y="5783"/>
                  </a:lnTo>
                  <a:lnTo>
                    <a:pt x="634" y="5783"/>
                  </a:lnTo>
                  <a:lnTo>
                    <a:pt x="626" y="5796"/>
                  </a:lnTo>
                  <a:lnTo>
                    <a:pt x="623" y="5800"/>
                  </a:lnTo>
                  <a:lnTo>
                    <a:pt x="634" y="5809"/>
                  </a:lnTo>
                  <a:lnTo>
                    <a:pt x="637" y="5814"/>
                  </a:lnTo>
                  <a:lnTo>
                    <a:pt x="641" y="5828"/>
                  </a:lnTo>
                  <a:lnTo>
                    <a:pt x="645" y="5833"/>
                  </a:lnTo>
                  <a:lnTo>
                    <a:pt x="650" y="5838"/>
                  </a:lnTo>
                  <a:lnTo>
                    <a:pt x="655" y="5841"/>
                  </a:lnTo>
                  <a:lnTo>
                    <a:pt x="660" y="5843"/>
                  </a:lnTo>
                  <a:lnTo>
                    <a:pt x="663" y="5843"/>
                  </a:lnTo>
                  <a:lnTo>
                    <a:pt x="665" y="5845"/>
                  </a:lnTo>
                  <a:lnTo>
                    <a:pt x="665" y="5848"/>
                  </a:lnTo>
                  <a:lnTo>
                    <a:pt x="667" y="5853"/>
                  </a:lnTo>
                  <a:lnTo>
                    <a:pt x="669" y="5856"/>
                  </a:lnTo>
                  <a:lnTo>
                    <a:pt x="671" y="5857"/>
                  </a:lnTo>
                  <a:lnTo>
                    <a:pt x="672" y="5859"/>
                  </a:lnTo>
                  <a:lnTo>
                    <a:pt x="674" y="5864"/>
                  </a:lnTo>
                  <a:lnTo>
                    <a:pt x="674" y="5876"/>
                  </a:lnTo>
                  <a:lnTo>
                    <a:pt x="670" y="5881"/>
                  </a:lnTo>
                  <a:lnTo>
                    <a:pt x="660" y="5887"/>
                  </a:lnTo>
                  <a:lnTo>
                    <a:pt x="660" y="5887"/>
                  </a:lnTo>
                  <a:lnTo>
                    <a:pt x="661" y="5891"/>
                  </a:lnTo>
                  <a:lnTo>
                    <a:pt x="668" y="5900"/>
                  </a:lnTo>
                  <a:lnTo>
                    <a:pt x="673" y="5911"/>
                  </a:lnTo>
                  <a:lnTo>
                    <a:pt x="675" y="5914"/>
                  </a:lnTo>
                  <a:lnTo>
                    <a:pt x="681" y="5919"/>
                  </a:lnTo>
                  <a:lnTo>
                    <a:pt x="683" y="5922"/>
                  </a:lnTo>
                  <a:lnTo>
                    <a:pt x="682" y="5924"/>
                  </a:lnTo>
                  <a:lnTo>
                    <a:pt x="680" y="5925"/>
                  </a:lnTo>
                  <a:lnTo>
                    <a:pt x="674" y="5924"/>
                  </a:lnTo>
                  <a:lnTo>
                    <a:pt x="672" y="5924"/>
                  </a:lnTo>
                  <a:lnTo>
                    <a:pt x="673" y="5925"/>
                  </a:lnTo>
                  <a:lnTo>
                    <a:pt x="675" y="5928"/>
                  </a:lnTo>
                  <a:lnTo>
                    <a:pt x="672" y="5929"/>
                  </a:lnTo>
                  <a:lnTo>
                    <a:pt x="671" y="5931"/>
                  </a:lnTo>
                  <a:lnTo>
                    <a:pt x="671" y="5934"/>
                  </a:lnTo>
                  <a:lnTo>
                    <a:pt x="673" y="5936"/>
                  </a:lnTo>
                  <a:lnTo>
                    <a:pt x="677" y="5939"/>
                  </a:lnTo>
                  <a:lnTo>
                    <a:pt x="677" y="5945"/>
                  </a:lnTo>
                  <a:lnTo>
                    <a:pt x="676" y="5953"/>
                  </a:lnTo>
                  <a:lnTo>
                    <a:pt x="676" y="5960"/>
                  </a:lnTo>
                  <a:lnTo>
                    <a:pt x="677" y="5962"/>
                  </a:lnTo>
                  <a:lnTo>
                    <a:pt x="679" y="5965"/>
                  </a:lnTo>
                  <a:lnTo>
                    <a:pt x="680" y="5967"/>
                  </a:lnTo>
                  <a:lnTo>
                    <a:pt x="680" y="5972"/>
                  </a:lnTo>
                  <a:lnTo>
                    <a:pt x="679" y="5975"/>
                  </a:lnTo>
                  <a:lnTo>
                    <a:pt x="677" y="5979"/>
                  </a:lnTo>
                  <a:lnTo>
                    <a:pt x="675" y="5981"/>
                  </a:lnTo>
                  <a:lnTo>
                    <a:pt x="673" y="5983"/>
                  </a:lnTo>
                  <a:lnTo>
                    <a:pt x="678" y="5990"/>
                  </a:lnTo>
                  <a:lnTo>
                    <a:pt x="681" y="5993"/>
                  </a:lnTo>
                  <a:lnTo>
                    <a:pt x="683" y="5995"/>
                  </a:lnTo>
                  <a:lnTo>
                    <a:pt x="686" y="5996"/>
                  </a:lnTo>
                  <a:lnTo>
                    <a:pt x="692" y="5997"/>
                  </a:lnTo>
                  <a:lnTo>
                    <a:pt x="694" y="5999"/>
                  </a:lnTo>
                  <a:lnTo>
                    <a:pt x="693" y="6001"/>
                  </a:lnTo>
                  <a:lnTo>
                    <a:pt x="692" y="6004"/>
                  </a:lnTo>
                  <a:lnTo>
                    <a:pt x="691" y="6008"/>
                  </a:lnTo>
                  <a:lnTo>
                    <a:pt x="692" y="6012"/>
                  </a:lnTo>
                  <a:lnTo>
                    <a:pt x="693" y="6014"/>
                  </a:lnTo>
                  <a:lnTo>
                    <a:pt x="694" y="6016"/>
                  </a:lnTo>
                  <a:lnTo>
                    <a:pt x="702" y="6021"/>
                  </a:lnTo>
                  <a:lnTo>
                    <a:pt x="704" y="6025"/>
                  </a:lnTo>
                  <a:lnTo>
                    <a:pt x="705" y="6030"/>
                  </a:lnTo>
                  <a:lnTo>
                    <a:pt x="705" y="6038"/>
                  </a:lnTo>
                  <a:lnTo>
                    <a:pt x="714" y="6037"/>
                  </a:lnTo>
                  <a:lnTo>
                    <a:pt x="720" y="6038"/>
                  </a:lnTo>
                  <a:lnTo>
                    <a:pt x="723" y="6041"/>
                  </a:lnTo>
                  <a:lnTo>
                    <a:pt x="724" y="6046"/>
                  </a:lnTo>
                  <a:lnTo>
                    <a:pt x="724" y="6050"/>
                  </a:lnTo>
                  <a:lnTo>
                    <a:pt x="725" y="6054"/>
                  </a:lnTo>
                  <a:lnTo>
                    <a:pt x="728" y="6056"/>
                  </a:lnTo>
                  <a:lnTo>
                    <a:pt x="731" y="6056"/>
                  </a:lnTo>
                  <a:lnTo>
                    <a:pt x="739" y="6051"/>
                  </a:lnTo>
                  <a:lnTo>
                    <a:pt x="745" y="6051"/>
                  </a:lnTo>
                  <a:lnTo>
                    <a:pt x="754" y="6053"/>
                  </a:lnTo>
                  <a:lnTo>
                    <a:pt x="757" y="6053"/>
                  </a:lnTo>
                  <a:lnTo>
                    <a:pt x="779" y="6043"/>
                  </a:lnTo>
                  <a:lnTo>
                    <a:pt x="786" y="6037"/>
                  </a:lnTo>
                  <a:lnTo>
                    <a:pt x="791" y="6027"/>
                  </a:lnTo>
                  <a:lnTo>
                    <a:pt x="793" y="6012"/>
                  </a:lnTo>
                  <a:lnTo>
                    <a:pt x="794" y="6007"/>
                  </a:lnTo>
                  <a:lnTo>
                    <a:pt x="796" y="6005"/>
                  </a:lnTo>
                  <a:lnTo>
                    <a:pt x="798" y="6004"/>
                  </a:lnTo>
                  <a:lnTo>
                    <a:pt x="800" y="6003"/>
                  </a:lnTo>
                  <a:lnTo>
                    <a:pt x="800" y="6000"/>
                  </a:lnTo>
                  <a:lnTo>
                    <a:pt x="800" y="5998"/>
                  </a:lnTo>
                  <a:lnTo>
                    <a:pt x="797" y="5992"/>
                  </a:lnTo>
                  <a:lnTo>
                    <a:pt x="796" y="5990"/>
                  </a:lnTo>
                  <a:lnTo>
                    <a:pt x="798" y="5980"/>
                  </a:lnTo>
                  <a:lnTo>
                    <a:pt x="805" y="5979"/>
                  </a:lnTo>
                  <a:lnTo>
                    <a:pt x="818" y="5984"/>
                  </a:lnTo>
                  <a:lnTo>
                    <a:pt x="826" y="5982"/>
                  </a:lnTo>
                  <a:lnTo>
                    <a:pt x="857" y="5999"/>
                  </a:lnTo>
                  <a:lnTo>
                    <a:pt x="862" y="5999"/>
                  </a:lnTo>
                  <a:lnTo>
                    <a:pt x="871" y="5996"/>
                  </a:lnTo>
                  <a:lnTo>
                    <a:pt x="876" y="5996"/>
                  </a:lnTo>
                  <a:lnTo>
                    <a:pt x="879" y="5997"/>
                  </a:lnTo>
                  <a:lnTo>
                    <a:pt x="883" y="6001"/>
                  </a:lnTo>
                  <a:lnTo>
                    <a:pt x="886" y="6001"/>
                  </a:lnTo>
                  <a:lnTo>
                    <a:pt x="889" y="6000"/>
                  </a:lnTo>
                  <a:lnTo>
                    <a:pt x="906" y="5985"/>
                  </a:lnTo>
                  <a:lnTo>
                    <a:pt x="908" y="5984"/>
                  </a:lnTo>
                  <a:lnTo>
                    <a:pt x="910" y="5984"/>
                  </a:lnTo>
                  <a:lnTo>
                    <a:pt x="912" y="5985"/>
                  </a:lnTo>
                  <a:lnTo>
                    <a:pt x="913" y="5985"/>
                  </a:lnTo>
                  <a:lnTo>
                    <a:pt x="915" y="5983"/>
                  </a:lnTo>
                  <a:lnTo>
                    <a:pt x="917" y="5980"/>
                  </a:lnTo>
                  <a:lnTo>
                    <a:pt x="918" y="5979"/>
                  </a:lnTo>
                  <a:lnTo>
                    <a:pt x="921" y="5978"/>
                  </a:lnTo>
                  <a:lnTo>
                    <a:pt x="923" y="5976"/>
                  </a:lnTo>
                  <a:lnTo>
                    <a:pt x="927" y="5970"/>
                  </a:lnTo>
                  <a:lnTo>
                    <a:pt x="930" y="5969"/>
                  </a:lnTo>
                  <a:lnTo>
                    <a:pt x="932" y="5968"/>
                  </a:lnTo>
                  <a:lnTo>
                    <a:pt x="947" y="5971"/>
                  </a:lnTo>
                  <a:lnTo>
                    <a:pt x="958" y="5971"/>
                  </a:lnTo>
                  <a:lnTo>
                    <a:pt x="961" y="5972"/>
                  </a:lnTo>
                  <a:lnTo>
                    <a:pt x="964" y="5975"/>
                  </a:lnTo>
                  <a:lnTo>
                    <a:pt x="965" y="5975"/>
                  </a:lnTo>
                  <a:lnTo>
                    <a:pt x="967" y="5976"/>
                  </a:lnTo>
                  <a:lnTo>
                    <a:pt x="970" y="5976"/>
                  </a:lnTo>
                  <a:lnTo>
                    <a:pt x="972" y="5975"/>
                  </a:lnTo>
                  <a:lnTo>
                    <a:pt x="975" y="5972"/>
                  </a:lnTo>
                  <a:lnTo>
                    <a:pt x="977" y="5971"/>
                  </a:lnTo>
                  <a:lnTo>
                    <a:pt x="980" y="5975"/>
                  </a:lnTo>
                  <a:lnTo>
                    <a:pt x="979" y="5985"/>
                  </a:lnTo>
                  <a:lnTo>
                    <a:pt x="982" y="5990"/>
                  </a:lnTo>
                  <a:lnTo>
                    <a:pt x="985" y="5989"/>
                  </a:lnTo>
                  <a:lnTo>
                    <a:pt x="996" y="5978"/>
                  </a:lnTo>
                  <a:lnTo>
                    <a:pt x="1010" y="5972"/>
                  </a:lnTo>
                  <a:lnTo>
                    <a:pt x="1017" y="5970"/>
                  </a:lnTo>
                  <a:lnTo>
                    <a:pt x="1024" y="5970"/>
                  </a:lnTo>
                  <a:lnTo>
                    <a:pt x="1029" y="5972"/>
                  </a:lnTo>
                  <a:lnTo>
                    <a:pt x="1030" y="5975"/>
                  </a:lnTo>
                  <a:lnTo>
                    <a:pt x="1031" y="5978"/>
                  </a:lnTo>
                  <a:lnTo>
                    <a:pt x="1034" y="5983"/>
                  </a:lnTo>
                  <a:lnTo>
                    <a:pt x="1037" y="5985"/>
                  </a:lnTo>
                  <a:lnTo>
                    <a:pt x="1044" y="5990"/>
                  </a:lnTo>
                  <a:lnTo>
                    <a:pt x="1047" y="5994"/>
                  </a:lnTo>
                  <a:lnTo>
                    <a:pt x="1051" y="6003"/>
                  </a:lnTo>
                  <a:lnTo>
                    <a:pt x="1053" y="6006"/>
                  </a:lnTo>
                  <a:lnTo>
                    <a:pt x="1063" y="6013"/>
                  </a:lnTo>
                  <a:lnTo>
                    <a:pt x="1066" y="6015"/>
                  </a:lnTo>
                  <a:lnTo>
                    <a:pt x="1068" y="6020"/>
                  </a:lnTo>
                  <a:lnTo>
                    <a:pt x="1070" y="6023"/>
                  </a:lnTo>
                  <a:lnTo>
                    <a:pt x="1071" y="6025"/>
                  </a:lnTo>
                  <a:lnTo>
                    <a:pt x="1071" y="6028"/>
                  </a:lnTo>
                  <a:lnTo>
                    <a:pt x="1071" y="6030"/>
                  </a:lnTo>
                  <a:lnTo>
                    <a:pt x="1068" y="6036"/>
                  </a:lnTo>
                  <a:lnTo>
                    <a:pt x="1068" y="6038"/>
                  </a:lnTo>
                  <a:lnTo>
                    <a:pt x="1069" y="6042"/>
                  </a:lnTo>
                  <a:lnTo>
                    <a:pt x="1069" y="6051"/>
                  </a:lnTo>
                  <a:lnTo>
                    <a:pt x="1070" y="6056"/>
                  </a:lnTo>
                  <a:lnTo>
                    <a:pt x="1072" y="6060"/>
                  </a:lnTo>
                  <a:lnTo>
                    <a:pt x="1076" y="6065"/>
                  </a:lnTo>
                  <a:lnTo>
                    <a:pt x="1076" y="6070"/>
                  </a:lnTo>
                  <a:lnTo>
                    <a:pt x="1075" y="6074"/>
                  </a:lnTo>
                  <a:lnTo>
                    <a:pt x="1075" y="6076"/>
                  </a:lnTo>
                  <a:lnTo>
                    <a:pt x="1083" y="6076"/>
                  </a:lnTo>
                  <a:lnTo>
                    <a:pt x="1086" y="6078"/>
                  </a:lnTo>
                  <a:lnTo>
                    <a:pt x="1092" y="6086"/>
                  </a:lnTo>
                  <a:lnTo>
                    <a:pt x="1093" y="6087"/>
                  </a:lnTo>
                  <a:lnTo>
                    <a:pt x="1095" y="6088"/>
                  </a:lnTo>
                  <a:lnTo>
                    <a:pt x="1096" y="6089"/>
                  </a:lnTo>
                  <a:lnTo>
                    <a:pt x="1096" y="6091"/>
                  </a:lnTo>
                  <a:lnTo>
                    <a:pt x="1097" y="6094"/>
                  </a:lnTo>
                  <a:lnTo>
                    <a:pt x="1097" y="6095"/>
                  </a:lnTo>
                  <a:lnTo>
                    <a:pt x="1098" y="6096"/>
                  </a:lnTo>
                  <a:lnTo>
                    <a:pt x="1102" y="6094"/>
                  </a:lnTo>
                  <a:lnTo>
                    <a:pt x="1103" y="6094"/>
                  </a:lnTo>
                  <a:lnTo>
                    <a:pt x="1106" y="6096"/>
                  </a:lnTo>
                  <a:lnTo>
                    <a:pt x="1112" y="6102"/>
                  </a:lnTo>
                  <a:lnTo>
                    <a:pt x="1115" y="6104"/>
                  </a:lnTo>
                  <a:lnTo>
                    <a:pt x="1118" y="6108"/>
                  </a:lnTo>
                  <a:lnTo>
                    <a:pt x="1121" y="6110"/>
                  </a:lnTo>
                  <a:lnTo>
                    <a:pt x="1125" y="6121"/>
                  </a:lnTo>
                  <a:lnTo>
                    <a:pt x="1125" y="6131"/>
                  </a:lnTo>
                  <a:lnTo>
                    <a:pt x="1119" y="6138"/>
                  </a:lnTo>
                  <a:lnTo>
                    <a:pt x="1116" y="6139"/>
                  </a:lnTo>
                  <a:lnTo>
                    <a:pt x="1107" y="6139"/>
                  </a:lnTo>
                  <a:lnTo>
                    <a:pt x="1080" y="6145"/>
                  </a:lnTo>
                  <a:lnTo>
                    <a:pt x="1074" y="6149"/>
                  </a:lnTo>
                  <a:lnTo>
                    <a:pt x="1072" y="6155"/>
                  </a:lnTo>
                  <a:lnTo>
                    <a:pt x="1074" y="6157"/>
                  </a:lnTo>
                  <a:lnTo>
                    <a:pt x="1079" y="6159"/>
                  </a:lnTo>
                  <a:lnTo>
                    <a:pt x="1082" y="6161"/>
                  </a:lnTo>
                  <a:lnTo>
                    <a:pt x="1083" y="6162"/>
                  </a:lnTo>
                  <a:lnTo>
                    <a:pt x="1083" y="6168"/>
                  </a:lnTo>
                  <a:lnTo>
                    <a:pt x="1084" y="6170"/>
                  </a:lnTo>
                  <a:lnTo>
                    <a:pt x="1085" y="6172"/>
                  </a:lnTo>
                  <a:lnTo>
                    <a:pt x="1092" y="6180"/>
                  </a:lnTo>
                  <a:lnTo>
                    <a:pt x="1094" y="6183"/>
                  </a:lnTo>
                  <a:lnTo>
                    <a:pt x="1095" y="6188"/>
                  </a:lnTo>
                  <a:lnTo>
                    <a:pt x="1095" y="6193"/>
                  </a:lnTo>
                  <a:lnTo>
                    <a:pt x="1095" y="6196"/>
                  </a:lnTo>
                  <a:lnTo>
                    <a:pt x="1094" y="6200"/>
                  </a:lnTo>
                  <a:lnTo>
                    <a:pt x="1093" y="6203"/>
                  </a:lnTo>
                  <a:lnTo>
                    <a:pt x="1093" y="6205"/>
                  </a:lnTo>
                  <a:lnTo>
                    <a:pt x="1094" y="6208"/>
                  </a:lnTo>
                  <a:lnTo>
                    <a:pt x="1094" y="6210"/>
                  </a:lnTo>
                  <a:lnTo>
                    <a:pt x="1094" y="6213"/>
                  </a:lnTo>
                  <a:lnTo>
                    <a:pt x="1093" y="6214"/>
                  </a:lnTo>
                  <a:lnTo>
                    <a:pt x="1089" y="6215"/>
                  </a:lnTo>
                  <a:lnTo>
                    <a:pt x="1088" y="6216"/>
                  </a:lnTo>
                  <a:lnTo>
                    <a:pt x="1089" y="6218"/>
                  </a:lnTo>
                  <a:lnTo>
                    <a:pt x="1091" y="6220"/>
                  </a:lnTo>
                  <a:lnTo>
                    <a:pt x="1094" y="6224"/>
                  </a:lnTo>
                  <a:lnTo>
                    <a:pt x="1096" y="6225"/>
                  </a:lnTo>
                  <a:lnTo>
                    <a:pt x="1099" y="6226"/>
                  </a:lnTo>
                  <a:lnTo>
                    <a:pt x="1102" y="6227"/>
                  </a:lnTo>
                  <a:lnTo>
                    <a:pt x="1104" y="6227"/>
                  </a:lnTo>
                  <a:lnTo>
                    <a:pt x="1107" y="6225"/>
                  </a:lnTo>
                  <a:lnTo>
                    <a:pt x="1108" y="6234"/>
                  </a:lnTo>
                  <a:lnTo>
                    <a:pt x="1104" y="6242"/>
                  </a:lnTo>
                  <a:lnTo>
                    <a:pt x="1098" y="6249"/>
                  </a:lnTo>
                  <a:lnTo>
                    <a:pt x="1089" y="6255"/>
                  </a:lnTo>
                  <a:lnTo>
                    <a:pt x="1100" y="6260"/>
                  </a:lnTo>
                  <a:lnTo>
                    <a:pt x="1104" y="6261"/>
                  </a:lnTo>
                  <a:lnTo>
                    <a:pt x="1107" y="6259"/>
                  </a:lnTo>
                  <a:lnTo>
                    <a:pt x="1113" y="6254"/>
                  </a:lnTo>
                  <a:lnTo>
                    <a:pt x="1118" y="6253"/>
                  </a:lnTo>
                  <a:lnTo>
                    <a:pt x="1124" y="6254"/>
                  </a:lnTo>
                  <a:lnTo>
                    <a:pt x="1136" y="6258"/>
                  </a:lnTo>
                  <a:lnTo>
                    <a:pt x="1141" y="6260"/>
                  </a:lnTo>
                  <a:lnTo>
                    <a:pt x="1151" y="6258"/>
                  </a:lnTo>
                  <a:lnTo>
                    <a:pt x="1156" y="6259"/>
                  </a:lnTo>
                  <a:lnTo>
                    <a:pt x="1158" y="6261"/>
                  </a:lnTo>
                  <a:lnTo>
                    <a:pt x="1159" y="6265"/>
                  </a:lnTo>
                  <a:lnTo>
                    <a:pt x="1160" y="6268"/>
                  </a:lnTo>
                  <a:lnTo>
                    <a:pt x="1161" y="6272"/>
                  </a:lnTo>
                  <a:lnTo>
                    <a:pt x="1164" y="6275"/>
                  </a:lnTo>
                  <a:lnTo>
                    <a:pt x="1167" y="6276"/>
                  </a:lnTo>
                  <a:lnTo>
                    <a:pt x="1178" y="6276"/>
                  </a:lnTo>
                  <a:lnTo>
                    <a:pt x="1189" y="6274"/>
                  </a:lnTo>
                  <a:lnTo>
                    <a:pt x="1202" y="6268"/>
                  </a:lnTo>
                  <a:lnTo>
                    <a:pt x="1210" y="6264"/>
                  </a:lnTo>
                  <a:lnTo>
                    <a:pt x="1212" y="6263"/>
                  </a:lnTo>
                  <a:lnTo>
                    <a:pt x="1215" y="6265"/>
                  </a:lnTo>
                  <a:lnTo>
                    <a:pt x="1218" y="6267"/>
                  </a:lnTo>
                  <a:lnTo>
                    <a:pt x="1221" y="6266"/>
                  </a:lnTo>
                  <a:lnTo>
                    <a:pt x="1225" y="6265"/>
                  </a:lnTo>
                  <a:lnTo>
                    <a:pt x="1228" y="6264"/>
                  </a:lnTo>
                  <a:lnTo>
                    <a:pt x="1231" y="6266"/>
                  </a:lnTo>
                  <a:lnTo>
                    <a:pt x="1233" y="6268"/>
                  </a:lnTo>
                  <a:lnTo>
                    <a:pt x="1234" y="6272"/>
                  </a:lnTo>
                  <a:lnTo>
                    <a:pt x="1238" y="6295"/>
                  </a:lnTo>
                  <a:lnTo>
                    <a:pt x="1241" y="6303"/>
                  </a:lnTo>
                  <a:lnTo>
                    <a:pt x="1246" y="6308"/>
                  </a:lnTo>
                  <a:lnTo>
                    <a:pt x="1251" y="6308"/>
                  </a:lnTo>
                  <a:lnTo>
                    <a:pt x="1262" y="6306"/>
                  </a:lnTo>
                  <a:lnTo>
                    <a:pt x="1267" y="6306"/>
                  </a:lnTo>
                  <a:lnTo>
                    <a:pt x="1270" y="6307"/>
                  </a:lnTo>
                  <a:lnTo>
                    <a:pt x="1273" y="6309"/>
                  </a:lnTo>
                  <a:lnTo>
                    <a:pt x="1275" y="6312"/>
                  </a:lnTo>
                  <a:lnTo>
                    <a:pt x="1273" y="6316"/>
                  </a:lnTo>
                  <a:lnTo>
                    <a:pt x="1271" y="6318"/>
                  </a:lnTo>
                  <a:lnTo>
                    <a:pt x="1262" y="6320"/>
                  </a:lnTo>
                  <a:lnTo>
                    <a:pt x="1263" y="6322"/>
                  </a:lnTo>
                  <a:lnTo>
                    <a:pt x="1263" y="6329"/>
                  </a:lnTo>
                  <a:lnTo>
                    <a:pt x="1264" y="6332"/>
                  </a:lnTo>
                  <a:lnTo>
                    <a:pt x="1265" y="6334"/>
                  </a:lnTo>
                  <a:lnTo>
                    <a:pt x="1269" y="6334"/>
                  </a:lnTo>
                  <a:lnTo>
                    <a:pt x="1270" y="6336"/>
                  </a:lnTo>
                  <a:lnTo>
                    <a:pt x="1273" y="6339"/>
                  </a:lnTo>
                  <a:lnTo>
                    <a:pt x="1273" y="6342"/>
                  </a:lnTo>
                  <a:lnTo>
                    <a:pt x="1272" y="6345"/>
                  </a:lnTo>
                  <a:lnTo>
                    <a:pt x="1273" y="6349"/>
                  </a:lnTo>
                  <a:lnTo>
                    <a:pt x="1274" y="6352"/>
                  </a:lnTo>
                  <a:lnTo>
                    <a:pt x="1277" y="6356"/>
                  </a:lnTo>
                  <a:lnTo>
                    <a:pt x="1278" y="6360"/>
                  </a:lnTo>
                  <a:lnTo>
                    <a:pt x="1278" y="6363"/>
                  </a:lnTo>
                  <a:lnTo>
                    <a:pt x="1278" y="6366"/>
                  </a:lnTo>
                  <a:lnTo>
                    <a:pt x="1278" y="6369"/>
                  </a:lnTo>
                  <a:lnTo>
                    <a:pt x="1281" y="6371"/>
                  </a:lnTo>
                  <a:lnTo>
                    <a:pt x="1285" y="6373"/>
                  </a:lnTo>
                  <a:lnTo>
                    <a:pt x="1286" y="6375"/>
                  </a:lnTo>
                  <a:lnTo>
                    <a:pt x="1288" y="6377"/>
                  </a:lnTo>
                  <a:lnTo>
                    <a:pt x="1289" y="6385"/>
                  </a:lnTo>
                  <a:lnTo>
                    <a:pt x="1289" y="6391"/>
                  </a:lnTo>
                  <a:lnTo>
                    <a:pt x="1289" y="6396"/>
                  </a:lnTo>
                  <a:lnTo>
                    <a:pt x="1293" y="6401"/>
                  </a:lnTo>
                  <a:lnTo>
                    <a:pt x="1280" y="6406"/>
                  </a:lnTo>
                  <a:lnTo>
                    <a:pt x="1278" y="6410"/>
                  </a:lnTo>
                  <a:lnTo>
                    <a:pt x="1278" y="6413"/>
                  </a:lnTo>
                  <a:lnTo>
                    <a:pt x="1286" y="6443"/>
                  </a:lnTo>
                  <a:lnTo>
                    <a:pt x="1289" y="6449"/>
                  </a:lnTo>
                  <a:lnTo>
                    <a:pt x="1294" y="6451"/>
                  </a:lnTo>
                  <a:lnTo>
                    <a:pt x="1298" y="6452"/>
                  </a:lnTo>
                  <a:lnTo>
                    <a:pt x="1301" y="6453"/>
                  </a:lnTo>
                  <a:lnTo>
                    <a:pt x="1304" y="6455"/>
                  </a:lnTo>
                  <a:lnTo>
                    <a:pt x="1306" y="6459"/>
                  </a:lnTo>
                  <a:lnTo>
                    <a:pt x="1308" y="6465"/>
                  </a:lnTo>
                  <a:lnTo>
                    <a:pt x="1308" y="6470"/>
                  </a:lnTo>
                  <a:lnTo>
                    <a:pt x="1309" y="6474"/>
                  </a:lnTo>
                  <a:lnTo>
                    <a:pt x="1312" y="6478"/>
                  </a:lnTo>
                  <a:lnTo>
                    <a:pt x="1315" y="6480"/>
                  </a:lnTo>
                  <a:lnTo>
                    <a:pt x="1318" y="6482"/>
                  </a:lnTo>
                  <a:lnTo>
                    <a:pt x="1322" y="6483"/>
                  </a:lnTo>
                  <a:lnTo>
                    <a:pt x="1325" y="6483"/>
                  </a:lnTo>
                  <a:lnTo>
                    <a:pt x="1328" y="6482"/>
                  </a:lnTo>
                  <a:lnTo>
                    <a:pt x="1329" y="6482"/>
                  </a:lnTo>
                  <a:lnTo>
                    <a:pt x="1331" y="6479"/>
                  </a:lnTo>
                  <a:lnTo>
                    <a:pt x="1333" y="6476"/>
                  </a:lnTo>
                  <a:lnTo>
                    <a:pt x="1335" y="6473"/>
                  </a:lnTo>
                  <a:lnTo>
                    <a:pt x="1337" y="6472"/>
                  </a:lnTo>
                  <a:lnTo>
                    <a:pt x="1340" y="6472"/>
                  </a:lnTo>
                  <a:lnTo>
                    <a:pt x="1341" y="6471"/>
                  </a:lnTo>
                  <a:lnTo>
                    <a:pt x="1343" y="6469"/>
                  </a:lnTo>
                  <a:lnTo>
                    <a:pt x="1346" y="6465"/>
                  </a:lnTo>
                  <a:lnTo>
                    <a:pt x="1348" y="6463"/>
                  </a:lnTo>
                  <a:lnTo>
                    <a:pt x="1351" y="6462"/>
                  </a:lnTo>
                  <a:lnTo>
                    <a:pt x="1366" y="6460"/>
                  </a:lnTo>
                  <a:lnTo>
                    <a:pt x="1394" y="6463"/>
                  </a:lnTo>
                  <a:lnTo>
                    <a:pt x="1398" y="6465"/>
                  </a:lnTo>
                  <a:lnTo>
                    <a:pt x="1399" y="6470"/>
                  </a:lnTo>
                  <a:lnTo>
                    <a:pt x="1404" y="6472"/>
                  </a:lnTo>
                  <a:lnTo>
                    <a:pt x="1420" y="6497"/>
                  </a:lnTo>
                  <a:lnTo>
                    <a:pt x="1423" y="6499"/>
                  </a:lnTo>
                  <a:lnTo>
                    <a:pt x="1427" y="6499"/>
                  </a:lnTo>
                  <a:lnTo>
                    <a:pt x="1431" y="6497"/>
                  </a:lnTo>
                  <a:lnTo>
                    <a:pt x="1434" y="6495"/>
                  </a:lnTo>
                  <a:lnTo>
                    <a:pt x="1437" y="6492"/>
                  </a:lnTo>
                  <a:lnTo>
                    <a:pt x="1439" y="6491"/>
                  </a:lnTo>
                  <a:lnTo>
                    <a:pt x="1440" y="6491"/>
                  </a:lnTo>
                  <a:lnTo>
                    <a:pt x="1442" y="6492"/>
                  </a:lnTo>
                  <a:lnTo>
                    <a:pt x="1445" y="6493"/>
                  </a:lnTo>
                  <a:lnTo>
                    <a:pt x="1449" y="6494"/>
                  </a:lnTo>
                  <a:lnTo>
                    <a:pt x="1453" y="6498"/>
                  </a:lnTo>
                  <a:lnTo>
                    <a:pt x="1458" y="6498"/>
                  </a:lnTo>
                  <a:lnTo>
                    <a:pt x="1460" y="6499"/>
                  </a:lnTo>
                  <a:lnTo>
                    <a:pt x="1462" y="6501"/>
                  </a:lnTo>
                  <a:lnTo>
                    <a:pt x="1463" y="6501"/>
                  </a:lnTo>
                  <a:lnTo>
                    <a:pt x="1462" y="6502"/>
                  </a:lnTo>
                  <a:lnTo>
                    <a:pt x="1462" y="6508"/>
                  </a:lnTo>
                  <a:lnTo>
                    <a:pt x="1461" y="6510"/>
                  </a:lnTo>
                  <a:lnTo>
                    <a:pt x="1462" y="6513"/>
                  </a:lnTo>
                  <a:lnTo>
                    <a:pt x="1464" y="6514"/>
                  </a:lnTo>
                  <a:lnTo>
                    <a:pt x="1468" y="6516"/>
                  </a:lnTo>
                  <a:lnTo>
                    <a:pt x="1471" y="6516"/>
                  </a:lnTo>
                  <a:lnTo>
                    <a:pt x="1475" y="6516"/>
                  </a:lnTo>
                  <a:lnTo>
                    <a:pt x="1478" y="6514"/>
                  </a:lnTo>
                  <a:lnTo>
                    <a:pt x="1479" y="6512"/>
                  </a:lnTo>
                  <a:lnTo>
                    <a:pt x="1482" y="6507"/>
                  </a:lnTo>
                  <a:lnTo>
                    <a:pt x="1483" y="6504"/>
                  </a:lnTo>
                  <a:lnTo>
                    <a:pt x="1485" y="6503"/>
                  </a:lnTo>
                  <a:lnTo>
                    <a:pt x="1512" y="6487"/>
                  </a:lnTo>
                  <a:lnTo>
                    <a:pt x="1522" y="6483"/>
                  </a:lnTo>
                  <a:lnTo>
                    <a:pt x="1533" y="6482"/>
                  </a:lnTo>
                  <a:lnTo>
                    <a:pt x="1544" y="6484"/>
                  </a:lnTo>
                  <a:lnTo>
                    <a:pt x="1567" y="6477"/>
                  </a:lnTo>
                  <a:lnTo>
                    <a:pt x="1572" y="6474"/>
                  </a:lnTo>
                  <a:lnTo>
                    <a:pt x="1581" y="6464"/>
                  </a:lnTo>
                  <a:lnTo>
                    <a:pt x="1586" y="6462"/>
                  </a:lnTo>
                  <a:lnTo>
                    <a:pt x="1601" y="6460"/>
                  </a:lnTo>
                  <a:lnTo>
                    <a:pt x="1605" y="6462"/>
                  </a:lnTo>
                  <a:lnTo>
                    <a:pt x="1607" y="6468"/>
                  </a:lnTo>
                  <a:lnTo>
                    <a:pt x="1609" y="6476"/>
                  </a:lnTo>
                  <a:lnTo>
                    <a:pt x="1612" y="6483"/>
                  </a:lnTo>
                  <a:lnTo>
                    <a:pt x="1626" y="6489"/>
                  </a:lnTo>
                  <a:lnTo>
                    <a:pt x="1631" y="6495"/>
                  </a:lnTo>
                  <a:lnTo>
                    <a:pt x="1631" y="6505"/>
                  </a:lnTo>
                  <a:lnTo>
                    <a:pt x="1630" y="6511"/>
                  </a:lnTo>
                  <a:lnTo>
                    <a:pt x="1629" y="6514"/>
                  </a:lnTo>
                  <a:lnTo>
                    <a:pt x="1630" y="6517"/>
                  </a:lnTo>
                  <a:lnTo>
                    <a:pt x="1630" y="6518"/>
                  </a:lnTo>
                  <a:lnTo>
                    <a:pt x="1636" y="6524"/>
                  </a:lnTo>
                  <a:lnTo>
                    <a:pt x="1651" y="6547"/>
                  </a:lnTo>
                  <a:lnTo>
                    <a:pt x="1657" y="6552"/>
                  </a:lnTo>
                  <a:lnTo>
                    <a:pt x="1669" y="6557"/>
                  </a:lnTo>
                  <a:lnTo>
                    <a:pt x="1676" y="6561"/>
                  </a:lnTo>
                  <a:lnTo>
                    <a:pt x="1681" y="6566"/>
                  </a:lnTo>
                  <a:lnTo>
                    <a:pt x="1686" y="6572"/>
                  </a:lnTo>
                  <a:lnTo>
                    <a:pt x="1691" y="6581"/>
                  </a:lnTo>
                  <a:lnTo>
                    <a:pt x="1691" y="6582"/>
                  </a:lnTo>
                  <a:lnTo>
                    <a:pt x="1694" y="6586"/>
                  </a:lnTo>
                  <a:lnTo>
                    <a:pt x="1694" y="6590"/>
                  </a:lnTo>
                  <a:lnTo>
                    <a:pt x="1694" y="6591"/>
                  </a:lnTo>
                  <a:lnTo>
                    <a:pt x="1698" y="6589"/>
                  </a:lnTo>
                  <a:lnTo>
                    <a:pt x="1705" y="6585"/>
                  </a:lnTo>
                  <a:lnTo>
                    <a:pt x="1707" y="6584"/>
                  </a:lnTo>
                  <a:lnTo>
                    <a:pt x="1709" y="6584"/>
                  </a:lnTo>
                  <a:lnTo>
                    <a:pt x="1712" y="6586"/>
                  </a:lnTo>
                  <a:lnTo>
                    <a:pt x="1713" y="6587"/>
                  </a:lnTo>
                  <a:lnTo>
                    <a:pt x="1721" y="6581"/>
                  </a:lnTo>
                  <a:lnTo>
                    <a:pt x="1722" y="6571"/>
                  </a:lnTo>
                  <a:lnTo>
                    <a:pt x="1720" y="6559"/>
                  </a:lnTo>
                  <a:lnTo>
                    <a:pt x="1722" y="6552"/>
                  </a:lnTo>
                  <a:lnTo>
                    <a:pt x="1724" y="6551"/>
                  </a:lnTo>
                  <a:lnTo>
                    <a:pt x="1735" y="6552"/>
                  </a:lnTo>
                  <a:lnTo>
                    <a:pt x="1739" y="6552"/>
                  </a:lnTo>
                  <a:lnTo>
                    <a:pt x="1742" y="6552"/>
                  </a:lnTo>
                  <a:lnTo>
                    <a:pt x="1744" y="6555"/>
                  </a:lnTo>
                  <a:lnTo>
                    <a:pt x="1749" y="6569"/>
                  </a:lnTo>
                  <a:lnTo>
                    <a:pt x="1751" y="6571"/>
                  </a:lnTo>
                  <a:lnTo>
                    <a:pt x="1754" y="6573"/>
                  </a:lnTo>
                  <a:lnTo>
                    <a:pt x="1761" y="6574"/>
                  </a:lnTo>
                  <a:lnTo>
                    <a:pt x="1764" y="6575"/>
                  </a:lnTo>
                  <a:lnTo>
                    <a:pt x="1768" y="6577"/>
                  </a:lnTo>
                  <a:lnTo>
                    <a:pt x="1773" y="6580"/>
                  </a:lnTo>
                  <a:lnTo>
                    <a:pt x="1785" y="6577"/>
                  </a:lnTo>
                  <a:lnTo>
                    <a:pt x="1793" y="6579"/>
                  </a:lnTo>
                  <a:lnTo>
                    <a:pt x="1794" y="6578"/>
                  </a:lnTo>
                  <a:lnTo>
                    <a:pt x="1796" y="6577"/>
                  </a:lnTo>
                  <a:lnTo>
                    <a:pt x="1800" y="6576"/>
                  </a:lnTo>
                  <a:lnTo>
                    <a:pt x="1800" y="6575"/>
                  </a:lnTo>
                  <a:lnTo>
                    <a:pt x="1800" y="6576"/>
                  </a:lnTo>
                  <a:lnTo>
                    <a:pt x="1801" y="6581"/>
                  </a:lnTo>
                  <a:lnTo>
                    <a:pt x="1802" y="6585"/>
                  </a:lnTo>
                  <a:lnTo>
                    <a:pt x="1802" y="6587"/>
                  </a:lnTo>
                  <a:lnTo>
                    <a:pt x="1804" y="6588"/>
                  </a:lnTo>
                  <a:lnTo>
                    <a:pt x="1813" y="6595"/>
                  </a:lnTo>
                  <a:lnTo>
                    <a:pt x="1830" y="6600"/>
                  </a:lnTo>
                  <a:lnTo>
                    <a:pt x="1835" y="6605"/>
                  </a:lnTo>
                  <a:lnTo>
                    <a:pt x="1839" y="6611"/>
                  </a:lnTo>
                  <a:lnTo>
                    <a:pt x="1843" y="6615"/>
                  </a:lnTo>
                  <a:lnTo>
                    <a:pt x="1858" y="6614"/>
                  </a:lnTo>
                  <a:lnTo>
                    <a:pt x="1861" y="6613"/>
                  </a:lnTo>
                  <a:lnTo>
                    <a:pt x="1864" y="6611"/>
                  </a:lnTo>
                  <a:lnTo>
                    <a:pt x="1869" y="6603"/>
                  </a:lnTo>
                  <a:lnTo>
                    <a:pt x="1872" y="6600"/>
                  </a:lnTo>
                  <a:lnTo>
                    <a:pt x="1878" y="6598"/>
                  </a:lnTo>
                  <a:lnTo>
                    <a:pt x="1882" y="6601"/>
                  </a:lnTo>
                  <a:lnTo>
                    <a:pt x="1882" y="6601"/>
                  </a:lnTo>
                  <a:lnTo>
                    <a:pt x="1891" y="6625"/>
                  </a:lnTo>
                  <a:lnTo>
                    <a:pt x="1894" y="6630"/>
                  </a:lnTo>
                  <a:lnTo>
                    <a:pt x="1899" y="6633"/>
                  </a:lnTo>
                  <a:lnTo>
                    <a:pt x="1905" y="6634"/>
                  </a:lnTo>
                  <a:lnTo>
                    <a:pt x="1911" y="6633"/>
                  </a:lnTo>
                  <a:lnTo>
                    <a:pt x="1918" y="6630"/>
                  </a:lnTo>
                  <a:lnTo>
                    <a:pt x="1923" y="6628"/>
                  </a:lnTo>
                  <a:lnTo>
                    <a:pt x="1929" y="6632"/>
                  </a:lnTo>
                  <a:lnTo>
                    <a:pt x="1932" y="6634"/>
                  </a:lnTo>
                  <a:lnTo>
                    <a:pt x="1942" y="6635"/>
                  </a:lnTo>
                  <a:lnTo>
                    <a:pt x="1944" y="6637"/>
                  </a:lnTo>
                  <a:lnTo>
                    <a:pt x="1945" y="6643"/>
                  </a:lnTo>
                  <a:lnTo>
                    <a:pt x="1948" y="6653"/>
                  </a:lnTo>
                  <a:lnTo>
                    <a:pt x="1952" y="6662"/>
                  </a:lnTo>
                  <a:lnTo>
                    <a:pt x="1957" y="6665"/>
                  </a:lnTo>
                  <a:lnTo>
                    <a:pt x="1963" y="6666"/>
                  </a:lnTo>
                  <a:lnTo>
                    <a:pt x="1969" y="6669"/>
                  </a:lnTo>
                  <a:lnTo>
                    <a:pt x="1977" y="6678"/>
                  </a:lnTo>
                  <a:lnTo>
                    <a:pt x="1980" y="6679"/>
                  </a:lnTo>
                  <a:lnTo>
                    <a:pt x="1985" y="6679"/>
                  </a:lnTo>
                  <a:lnTo>
                    <a:pt x="1990" y="6678"/>
                  </a:lnTo>
                  <a:lnTo>
                    <a:pt x="1994" y="6676"/>
                  </a:lnTo>
                  <a:lnTo>
                    <a:pt x="1998" y="6674"/>
                  </a:lnTo>
                  <a:lnTo>
                    <a:pt x="2008" y="6664"/>
                  </a:lnTo>
                  <a:lnTo>
                    <a:pt x="2011" y="6663"/>
                  </a:lnTo>
                  <a:lnTo>
                    <a:pt x="2015" y="6663"/>
                  </a:lnTo>
                  <a:lnTo>
                    <a:pt x="2030" y="6667"/>
                  </a:lnTo>
                  <a:lnTo>
                    <a:pt x="2031" y="6668"/>
                  </a:lnTo>
                  <a:lnTo>
                    <a:pt x="2033" y="6670"/>
                  </a:lnTo>
                  <a:lnTo>
                    <a:pt x="2032" y="6675"/>
                  </a:lnTo>
                  <a:lnTo>
                    <a:pt x="2030" y="6678"/>
                  </a:lnTo>
                  <a:lnTo>
                    <a:pt x="2023" y="6682"/>
                  </a:lnTo>
                  <a:lnTo>
                    <a:pt x="2021" y="6684"/>
                  </a:lnTo>
                  <a:lnTo>
                    <a:pt x="2017" y="6693"/>
                  </a:lnTo>
                  <a:lnTo>
                    <a:pt x="2018" y="6700"/>
                  </a:lnTo>
                  <a:lnTo>
                    <a:pt x="2022" y="6707"/>
                  </a:lnTo>
                  <a:lnTo>
                    <a:pt x="2028" y="6717"/>
                  </a:lnTo>
                  <a:lnTo>
                    <a:pt x="2036" y="6726"/>
                  </a:lnTo>
                  <a:lnTo>
                    <a:pt x="2037" y="6730"/>
                  </a:lnTo>
                  <a:lnTo>
                    <a:pt x="2037" y="6734"/>
                  </a:lnTo>
                  <a:lnTo>
                    <a:pt x="2035" y="6742"/>
                  </a:lnTo>
                  <a:lnTo>
                    <a:pt x="2034" y="6751"/>
                  </a:lnTo>
                  <a:lnTo>
                    <a:pt x="2033" y="6753"/>
                  </a:lnTo>
                  <a:lnTo>
                    <a:pt x="2029" y="6756"/>
                  </a:lnTo>
                  <a:lnTo>
                    <a:pt x="2026" y="6758"/>
                  </a:lnTo>
                  <a:lnTo>
                    <a:pt x="2021" y="6766"/>
                  </a:lnTo>
                  <a:lnTo>
                    <a:pt x="2018" y="6770"/>
                  </a:lnTo>
                  <a:lnTo>
                    <a:pt x="2009" y="6776"/>
                  </a:lnTo>
                  <a:lnTo>
                    <a:pt x="2004" y="6781"/>
                  </a:lnTo>
                  <a:lnTo>
                    <a:pt x="2001" y="6786"/>
                  </a:lnTo>
                  <a:lnTo>
                    <a:pt x="2000" y="6790"/>
                  </a:lnTo>
                  <a:lnTo>
                    <a:pt x="2000" y="6796"/>
                  </a:lnTo>
                  <a:lnTo>
                    <a:pt x="1999" y="6799"/>
                  </a:lnTo>
                  <a:lnTo>
                    <a:pt x="1997" y="6800"/>
                  </a:lnTo>
                  <a:lnTo>
                    <a:pt x="1995" y="6801"/>
                  </a:lnTo>
                  <a:lnTo>
                    <a:pt x="1990" y="6800"/>
                  </a:lnTo>
                  <a:lnTo>
                    <a:pt x="1985" y="6800"/>
                  </a:lnTo>
                  <a:lnTo>
                    <a:pt x="1972" y="6804"/>
                  </a:lnTo>
                  <a:lnTo>
                    <a:pt x="1964" y="6804"/>
                  </a:lnTo>
                  <a:lnTo>
                    <a:pt x="1961" y="6806"/>
                  </a:lnTo>
                  <a:lnTo>
                    <a:pt x="1960" y="6818"/>
                  </a:lnTo>
                  <a:lnTo>
                    <a:pt x="1962" y="6821"/>
                  </a:lnTo>
                  <a:lnTo>
                    <a:pt x="1966" y="6823"/>
                  </a:lnTo>
                  <a:lnTo>
                    <a:pt x="1968" y="6826"/>
                  </a:lnTo>
                  <a:lnTo>
                    <a:pt x="1971" y="6830"/>
                  </a:lnTo>
                  <a:lnTo>
                    <a:pt x="1972" y="6833"/>
                  </a:lnTo>
                  <a:lnTo>
                    <a:pt x="1974" y="6836"/>
                  </a:lnTo>
                  <a:lnTo>
                    <a:pt x="1977" y="6837"/>
                  </a:lnTo>
                  <a:lnTo>
                    <a:pt x="1990" y="6840"/>
                  </a:lnTo>
                  <a:lnTo>
                    <a:pt x="1996" y="6840"/>
                  </a:lnTo>
                  <a:lnTo>
                    <a:pt x="1997" y="6840"/>
                  </a:lnTo>
                  <a:lnTo>
                    <a:pt x="1999" y="6841"/>
                  </a:lnTo>
                  <a:lnTo>
                    <a:pt x="2002" y="6845"/>
                  </a:lnTo>
                  <a:lnTo>
                    <a:pt x="2004" y="6846"/>
                  </a:lnTo>
                  <a:lnTo>
                    <a:pt x="2007" y="6844"/>
                  </a:lnTo>
                  <a:lnTo>
                    <a:pt x="2010" y="6840"/>
                  </a:lnTo>
                  <a:lnTo>
                    <a:pt x="2013" y="6838"/>
                  </a:lnTo>
                  <a:lnTo>
                    <a:pt x="2017" y="6838"/>
                  </a:lnTo>
                  <a:lnTo>
                    <a:pt x="2021" y="6842"/>
                  </a:lnTo>
                  <a:lnTo>
                    <a:pt x="2020" y="6847"/>
                  </a:lnTo>
                  <a:lnTo>
                    <a:pt x="2018" y="6851"/>
                  </a:lnTo>
                  <a:lnTo>
                    <a:pt x="2015" y="6855"/>
                  </a:lnTo>
                  <a:lnTo>
                    <a:pt x="2008" y="6861"/>
                  </a:lnTo>
                  <a:lnTo>
                    <a:pt x="2002" y="6862"/>
                  </a:lnTo>
                  <a:lnTo>
                    <a:pt x="1984" y="6855"/>
                  </a:lnTo>
                  <a:lnTo>
                    <a:pt x="1980" y="6855"/>
                  </a:lnTo>
                  <a:lnTo>
                    <a:pt x="1977" y="6857"/>
                  </a:lnTo>
                  <a:lnTo>
                    <a:pt x="1974" y="6860"/>
                  </a:lnTo>
                  <a:lnTo>
                    <a:pt x="1972" y="6863"/>
                  </a:lnTo>
                  <a:lnTo>
                    <a:pt x="1971" y="6866"/>
                  </a:lnTo>
                  <a:lnTo>
                    <a:pt x="1970" y="6868"/>
                  </a:lnTo>
                  <a:lnTo>
                    <a:pt x="1966" y="6869"/>
                  </a:lnTo>
                  <a:lnTo>
                    <a:pt x="1965" y="6871"/>
                  </a:lnTo>
                  <a:lnTo>
                    <a:pt x="1955" y="6904"/>
                  </a:lnTo>
                  <a:lnTo>
                    <a:pt x="1953" y="6910"/>
                  </a:lnTo>
                  <a:lnTo>
                    <a:pt x="1960" y="6909"/>
                  </a:lnTo>
                  <a:lnTo>
                    <a:pt x="1963" y="6908"/>
                  </a:lnTo>
                  <a:lnTo>
                    <a:pt x="1982" y="6910"/>
                  </a:lnTo>
                  <a:lnTo>
                    <a:pt x="1986" y="6913"/>
                  </a:lnTo>
                  <a:lnTo>
                    <a:pt x="1989" y="6917"/>
                  </a:lnTo>
                  <a:lnTo>
                    <a:pt x="1990" y="6923"/>
                  </a:lnTo>
                  <a:lnTo>
                    <a:pt x="1990" y="6925"/>
                  </a:lnTo>
                  <a:lnTo>
                    <a:pt x="1991" y="6927"/>
                  </a:lnTo>
                  <a:lnTo>
                    <a:pt x="1991" y="6928"/>
                  </a:lnTo>
                  <a:lnTo>
                    <a:pt x="1991" y="6928"/>
                  </a:lnTo>
                  <a:lnTo>
                    <a:pt x="1991" y="6930"/>
                  </a:lnTo>
                  <a:lnTo>
                    <a:pt x="1989" y="6931"/>
                  </a:lnTo>
                  <a:lnTo>
                    <a:pt x="1987" y="6931"/>
                  </a:lnTo>
                  <a:lnTo>
                    <a:pt x="1987" y="6931"/>
                  </a:lnTo>
                  <a:lnTo>
                    <a:pt x="1987" y="6934"/>
                  </a:lnTo>
                  <a:lnTo>
                    <a:pt x="1989" y="6936"/>
                  </a:lnTo>
                  <a:lnTo>
                    <a:pt x="1990" y="6938"/>
                  </a:lnTo>
                  <a:lnTo>
                    <a:pt x="1995" y="6949"/>
                  </a:lnTo>
                  <a:lnTo>
                    <a:pt x="1997" y="6955"/>
                  </a:lnTo>
                  <a:lnTo>
                    <a:pt x="1998" y="6958"/>
                  </a:lnTo>
                  <a:lnTo>
                    <a:pt x="2000" y="6960"/>
                  </a:lnTo>
                  <a:lnTo>
                    <a:pt x="1996" y="6964"/>
                  </a:lnTo>
                  <a:lnTo>
                    <a:pt x="1993" y="6967"/>
                  </a:lnTo>
                  <a:lnTo>
                    <a:pt x="1983" y="6976"/>
                  </a:lnTo>
                  <a:lnTo>
                    <a:pt x="1994" y="6983"/>
                  </a:lnTo>
                  <a:lnTo>
                    <a:pt x="1997" y="6983"/>
                  </a:lnTo>
                  <a:lnTo>
                    <a:pt x="2005" y="6980"/>
                  </a:lnTo>
                  <a:lnTo>
                    <a:pt x="2009" y="6981"/>
                  </a:lnTo>
                  <a:lnTo>
                    <a:pt x="2011" y="6985"/>
                  </a:lnTo>
                  <a:lnTo>
                    <a:pt x="2011" y="6989"/>
                  </a:lnTo>
                  <a:lnTo>
                    <a:pt x="2008" y="6994"/>
                  </a:lnTo>
                  <a:lnTo>
                    <a:pt x="2006" y="6997"/>
                  </a:lnTo>
                  <a:lnTo>
                    <a:pt x="1998" y="7002"/>
                  </a:lnTo>
                  <a:lnTo>
                    <a:pt x="1995" y="7006"/>
                  </a:lnTo>
                  <a:lnTo>
                    <a:pt x="1987" y="7021"/>
                  </a:lnTo>
                  <a:lnTo>
                    <a:pt x="1985" y="7026"/>
                  </a:lnTo>
                  <a:lnTo>
                    <a:pt x="1985" y="7031"/>
                  </a:lnTo>
                  <a:lnTo>
                    <a:pt x="1987" y="7039"/>
                  </a:lnTo>
                  <a:lnTo>
                    <a:pt x="1987" y="7041"/>
                  </a:lnTo>
                  <a:lnTo>
                    <a:pt x="1987" y="7041"/>
                  </a:lnTo>
                  <a:lnTo>
                    <a:pt x="1986" y="7041"/>
                  </a:lnTo>
                  <a:lnTo>
                    <a:pt x="1977" y="7042"/>
                  </a:lnTo>
                  <a:lnTo>
                    <a:pt x="1975" y="7044"/>
                  </a:lnTo>
                  <a:lnTo>
                    <a:pt x="1974" y="7046"/>
                  </a:lnTo>
                  <a:lnTo>
                    <a:pt x="1974" y="7047"/>
                  </a:lnTo>
                  <a:lnTo>
                    <a:pt x="1975" y="7048"/>
                  </a:lnTo>
                  <a:lnTo>
                    <a:pt x="1977" y="7051"/>
                  </a:lnTo>
                  <a:lnTo>
                    <a:pt x="1979" y="7056"/>
                  </a:lnTo>
                  <a:lnTo>
                    <a:pt x="1980" y="7059"/>
                  </a:lnTo>
                  <a:lnTo>
                    <a:pt x="1979" y="7062"/>
                  </a:lnTo>
                  <a:lnTo>
                    <a:pt x="1979" y="7064"/>
                  </a:lnTo>
                  <a:lnTo>
                    <a:pt x="1977" y="7068"/>
                  </a:lnTo>
                  <a:lnTo>
                    <a:pt x="1977" y="7070"/>
                  </a:lnTo>
                  <a:lnTo>
                    <a:pt x="1977" y="7071"/>
                  </a:lnTo>
                  <a:lnTo>
                    <a:pt x="1977" y="7075"/>
                  </a:lnTo>
                  <a:lnTo>
                    <a:pt x="1977" y="7076"/>
                  </a:lnTo>
                  <a:lnTo>
                    <a:pt x="1976" y="7083"/>
                  </a:lnTo>
                  <a:lnTo>
                    <a:pt x="1974" y="7089"/>
                  </a:lnTo>
                  <a:lnTo>
                    <a:pt x="1970" y="7093"/>
                  </a:lnTo>
                  <a:lnTo>
                    <a:pt x="1964" y="7094"/>
                  </a:lnTo>
                  <a:lnTo>
                    <a:pt x="1948" y="7089"/>
                  </a:lnTo>
                  <a:lnTo>
                    <a:pt x="1944" y="7089"/>
                  </a:lnTo>
                  <a:lnTo>
                    <a:pt x="1934" y="7091"/>
                  </a:lnTo>
                  <a:lnTo>
                    <a:pt x="1929" y="7090"/>
                  </a:lnTo>
                  <a:lnTo>
                    <a:pt x="1926" y="7089"/>
                  </a:lnTo>
                  <a:lnTo>
                    <a:pt x="1919" y="7091"/>
                  </a:lnTo>
                  <a:lnTo>
                    <a:pt x="1915" y="7091"/>
                  </a:lnTo>
                  <a:lnTo>
                    <a:pt x="1913" y="7090"/>
                  </a:lnTo>
                  <a:lnTo>
                    <a:pt x="1907" y="7086"/>
                  </a:lnTo>
                  <a:lnTo>
                    <a:pt x="1904" y="7086"/>
                  </a:lnTo>
                  <a:lnTo>
                    <a:pt x="1881" y="7088"/>
                  </a:lnTo>
                  <a:lnTo>
                    <a:pt x="1874" y="7089"/>
                  </a:lnTo>
                  <a:lnTo>
                    <a:pt x="1871" y="7090"/>
                  </a:lnTo>
                  <a:lnTo>
                    <a:pt x="1868" y="7089"/>
                  </a:lnTo>
                  <a:lnTo>
                    <a:pt x="1859" y="7083"/>
                  </a:lnTo>
                  <a:lnTo>
                    <a:pt x="1859" y="7083"/>
                  </a:lnTo>
                  <a:lnTo>
                    <a:pt x="1834" y="7082"/>
                  </a:lnTo>
                  <a:lnTo>
                    <a:pt x="1826" y="7085"/>
                  </a:lnTo>
                  <a:lnTo>
                    <a:pt x="1821" y="7092"/>
                  </a:lnTo>
                  <a:lnTo>
                    <a:pt x="1817" y="7101"/>
                  </a:lnTo>
                  <a:lnTo>
                    <a:pt x="1814" y="7112"/>
                  </a:lnTo>
                  <a:lnTo>
                    <a:pt x="1813" y="7122"/>
                  </a:lnTo>
                  <a:lnTo>
                    <a:pt x="1811" y="7125"/>
                  </a:lnTo>
                  <a:lnTo>
                    <a:pt x="1808" y="7126"/>
                  </a:lnTo>
                  <a:lnTo>
                    <a:pt x="1802" y="7124"/>
                  </a:lnTo>
                  <a:lnTo>
                    <a:pt x="1800" y="7124"/>
                  </a:lnTo>
                  <a:lnTo>
                    <a:pt x="1796" y="7126"/>
                  </a:lnTo>
                  <a:lnTo>
                    <a:pt x="1791" y="7133"/>
                  </a:lnTo>
                  <a:lnTo>
                    <a:pt x="1788" y="7136"/>
                  </a:lnTo>
                  <a:lnTo>
                    <a:pt x="1784" y="7137"/>
                  </a:lnTo>
                  <a:lnTo>
                    <a:pt x="1750" y="7142"/>
                  </a:lnTo>
                  <a:lnTo>
                    <a:pt x="1745" y="7146"/>
                  </a:lnTo>
                  <a:lnTo>
                    <a:pt x="1741" y="7152"/>
                  </a:lnTo>
                  <a:lnTo>
                    <a:pt x="1738" y="7161"/>
                  </a:lnTo>
                  <a:lnTo>
                    <a:pt x="1736" y="7169"/>
                  </a:lnTo>
                  <a:lnTo>
                    <a:pt x="1736" y="7185"/>
                  </a:lnTo>
                  <a:lnTo>
                    <a:pt x="1735" y="7192"/>
                  </a:lnTo>
                  <a:lnTo>
                    <a:pt x="1732" y="7199"/>
                  </a:lnTo>
                  <a:lnTo>
                    <a:pt x="1727" y="7206"/>
                  </a:lnTo>
                  <a:lnTo>
                    <a:pt x="1725" y="7210"/>
                  </a:lnTo>
                  <a:lnTo>
                    <a:pt x="1724" y="7214"/>
                  </a:lnTo>
                  <a:lnTo>
                    <a:pt x="1726" y="7216"/>
                  </a:lnTo>
                  <a:lnTo>
                    <a:pt x="1729" y="7217"/>
                  </a:lnTo>
                  <a:lnTo>
                    <a:pt x="1735" y="7216"/>
                  </a:lnTo>
                  <a:lnTo>
                    <a:pt x="1738" y="7216"/>
                  </a:lnTo>
                  <a:lnTo>
                    <a:pt x="1741" y="7217"/>
                  </a:lnTo>
                  <a:lnTo>
                    <a:pt x="1742" y="7219"/>
                  </a:lnTo>
                  <a:lnTo>
                    <a:pt x="1742" y="7224"/>
                  </a:lnTo>
                  <a:lnTo>
                    <a:pt x="1740" y="7227"/>
                  </a:lnTo>
                  <a:lnTo>
                    <a:pt x="1736" y="7230"/>
                  </a:lnTo>
                  <a:lnTo>
                    <a:pt x="1733" y="7231"/>
                  </a:lnTo>
                  <a:lnTo>
                    <a:pt x="1730" y="7234"/>
                  </a:lnTo>
                  <a:lnTo>
                    <a:pt x="1727" y="7239"/>
                  </a:lnTo>
                  <a:lnTo>
                    <a:pt x="1726" y="7246"/>
                  </a:lnTo>
                  <a:lnTo>
                    <a:pt x="1726" y="7253"/>
                  </a:lnTo>
                  <a:lnTo>
                    <a:pt x="1729" y="7260"/>
                  </a:lnTo>
                  <a:lnTo>
                    <a:pt x="1730" y="7258"/>
                  </a:lnTo>
                  <a:lnTo>
                    <a:pt x="1737" y="7256"/>
                  </a:lnTo>
                  <a:lnTo>
                    <a:pt x="1762" y="7253"/>
                  </a:lnTo>
                  <a:lnTo>
                    <a:pt x="1766" y="7251"/>
                  </a:lnTo>
                  <a:lnTo>
                    <a:pt x="1767" y="7248"/>
                  </a:lnTo>
                  <a:lnTo>
                    <a:pt x="1768" y="7246"/>
                  </a:lnTo>
                  <a:lnTo>
                    <a:pt x="1770" y="7244"/>
                  </a:lnTo>
                  <a:lnTo>
                    <a:pt x="1772" y="7243"/>
                  </a:lnTo>
                  <a:lnTo>
                    <a:pt x="1773" y="7243"/>
                  </a:lnTo>
                  <a:lnTo>
                    <a:pt x="1774" y="7241"/>
                  </a:lnTo>
                  <a:lnTo>
                    <a:pt x="1777" y="7235"/>
                  </a:lnTo>
                  <a:lnTo>
                    <a:pt x="1782" y="7230"/>
                  </a:lnTo>
                  <a:lnTo>
                    <a:pt x="1789" y="7227"/>
                  </a:lnTo>
                  <a:lnTo>
                    <a:pt x="1814" y="7223"/>
                  </a:lnTo>
                  <a:lnTo>
                    <a:pt x="1817" y="7224"/>
                  </a:lnTo>
                  <a:lnTo>
                    <a:pt x="1819" y="7223"/>
                  </a:lnTo>
                  <a:lnTo>
                    <a:pt x="1820" y="7222"/>
                  </a:lnTo>
                  <a:lnTo>
                    <a:pt x="1822" y="7218"/>
                  </a:lnTo>
                  <a:lnTo>
                    <a:pt x="1823" y="7217"/>
                  </a:lnTo>
                  <a:lnTo>
                    <a:pt x="1825" y="7217"/>
                  </a:lnTo>
                  <a:lnTo>
                    <a:pt x="1825" y="7219"/>
                  </a:lnTo>
                  <a:lnTo>
                    <a:pt x="1823" y="7222"/>
                  </a:lnTo>
                  <a:lnTo>
                    <a:pt x="1820" y="7225"/>
                  </a:lnTo>
                  <a:lnTo>
                    <a:pt x="1817" y="7226"/>
                  </a:lnTo>
                  <a:lnTo>
                    <a:pt x="1788" y="7230"/>
                  </a:lnTo>
                  <a:lnTo>
                    <a:pt x="1783" y="7233"/>
                  </a:lnTo>
                  <a:lnTo>
                    <a:pt x="1782" y="7235"/>
                  </a:lnTo>
                  <a:lnTo>
                    <a:pt x="1779" y="7241"/>
                  </a:lnTo>
                  <a:lnTo>
                    <a:pt x="1777" y="7243"/>
                  </a:lnTo>
                  <a:lnTo>
                    <a:pt x="1775" y="7244"/>
                  </a:lnTo>
                  <a:lnTo>
                    <a:pt x="1773" y="7249"/>
                  </a:lnTo>
                  <a:lnTo>
                    <a:pt x="1770" y="7251"/>
                  </a:lnTo>
                  <a:lnTo>
                    <a:pt x="1773" y="7254"/>
                  </a:lnTo>
                  <a:lnTo>
                    <a:pt x="1777" y="7256"/>
                  </a:lnTo>
                  <a:lnTo>
                    <a:pt x="1781" y="7257"/>
                  </a:lnTo>
                  <a:lnTo>
                    <a:pt x="1785" y="7257"/>
                  </a:lnTo>
                  <a:lnTo>
                    <a:pt x="1785" y="7255"/>
                  </a:lnTo>
                  <a:lnTo>
                    <a:pt x="1784" y="7255"/>
                  </a:lnTo>
                  <a:lnTo>
                    <a:pt x="1783" y="7254"/>
                  </a:lnTo>
                  <a:lnTo>
                    <a:pt x="1783" y="7253"/>
                  </a:lnTo>
                  <a:lnTo>
                    <a:pt x="1782" y="7252"/>
                  </a:lnTo>
                  <a:lnTo>
                    <a:pt x="1794" y="7252"/>
                  </a:lnTo>
                  <a:lnTo>
                    <a:pt x="1797" y="7252"/>
                  </a:lnTo>
                  <a:lnTo>
                    <a:pt x="1803" y="7250"/>
                  </a:lnTo>
                  <a:lnTo>
                    <a:pt x="1809" y="7249"/>
                  </a:lnTo>
                  <a:lnTo>
                    <a:pt x="1817" y="7246"/>
                  </a:lnTo>
                  <a:lnTo>
                    <a:pt x="1826" y="7246"/>
                  </a:lnTo>
                  <a:lnTo>
                    <a:pt x="1829" y="7246"/>
                  </a:lnTo>
                  <a:lnTo>
                    <a:pt x="1831" y="7245"/>
                  </a:lnTo>
                  <a:lnTo>
                    <a:pt x="1833" y="7243"/>
                  </a:lnTo>
                  <a:lnTo>
                    <a:pt x="1835" y="7241"/>
                  </a:lnTo>
                  <a:lnTo>
                    <a:pt x="1842" y="7241"/>
                  </a:lnTo>
                  <a:lnTo>
                    <a:pt x="1843" y="7240"/>
                  </a:lnTo>
                  <a:lnTo>
                    <a:pt x="1843" y="7237"/>
                  </a:lnTo>
                  <a:lnTo>
                    <a:pt x="1842" y="7232"/>
                  </a:lnTo>
                  <a:lnTo>
                    <a:pt x="1844" y="7225"/>
                  </a:lnTo>
                  <a:lnTo>
                    <a:pt x="1850" y="7224"/>
                  </a:lnTo>
                  <a:lnTo>
                    <a:pt x="1855" y="7224"/>
                  </a:lnTo>
                  <a:lnTo>
                    <a:pt x="1860" y="7222"/>
                  </a:lnTo>
                  <a:lnTo>
                    <a:pt x="1861" y="7221"/>
                  </a:lnTo>
                  <a:lnTo>
                    <a:pt x="1865" y="7218"/>
                  </a:lnTo>
                  <a:lnTo>
                    <a:pt x="1867" y="7217"/>
                  </a:lnTo>
                  <a:lnTo>
                    <a:pt x="1870" y="7218"/>
                  </a:lnTo>
                  <a:lnTo>
                    <a:pt x="1872" y="7219"/>
                  </a:lnTo>
                  <a:lnTo>
                    <a:pt x="1875" y="7220"/>
                  </a:lnTo>
                  <a:lnTo>
                    <a:pt x="1878" y="7219"/>
                  </a:lnTo>
                  <a:lnTo>
                    <a:pt x="1883" y="7221"/>
                  </a:lnTo>
                  <a:lnTo>
                    <a:pt x="1889" y="7221"/>
                  </a:lnTo>
                  <a:lnTo>
                    <a:pt x="1895" y="7223"/>
                  </a:lnTo>
                  <a:lnTo>
                    <a:pt x="1898" y="7229"/>
                  </a:lnTo>
                  <a:lnTo>
                    <a:pt x="1898" y="7236"/>
                  </a:lnTo>
                  <a:lnTo>
                    <a:pt x="1898" y="7238"/>
                  </a:lnTo>
                  <a:lnTo>
                    <a:pt x="1896" y="7239"/>
                  </a:lnTo>
                  <a:lnTo>
                    <a:pt x="1895" y="7239"/>
                  </a:lnTo>
                  <a:lnTo>
                    <a:pt x="1894" y="7240"/>
                  </a:lnTo>
                  <a:lnTo>
                    <a:pt x="1893" y="7242"/>
                  </a:lnTo>
                  <a:lnTo>
                    <a:pt x="1893" y="7249"/>
                  </a:lnTo>
                  <a:lnTo>
                    <a:pt x="1894" y="7251"/>
                  </a:lnTo>
                  <a:lnTo>
                    <a:pt x="1897" y="7252"/>
                  </a:lnTo>
                  <a:lnTo>
                    <a:pt x="1895" y="7259"/>
                  </a:lnTo>
                  <a:lnTo>
                    <a:pt x="1895" y="7261"/>
                  </a:lnTo>
                  <a:lnTo>
                    <a:pt x="1898" y="7263"/>
                  </a:lnTo>
                  <a:lnTo>
                    <a:pt x="1902" y="7258"/>
                  </a:lnTo>
                  <a:lnTo>
                    <a:pt x="1905" y="7254"/>
                  </a:lnTo>
                  <a:lnTo>
                    <a:pt x="1909" y="7253"/>
                  </a:lnTo>
                  <a:lnTo>
                    <a:pt x="1915" y="7257"/>
                  </a:lnTo>
                  <a:lnTo>
                    <a:pt x="1912" y="7259"/>
                  </a:lnTo>
                  <a:lnTo>
                    <a:pt x="1905" y="7261"/>
                  </a:lnTo>
                  <a:lnTo>
                    <a:pt x="1901" y="7264"/>
                  </a:lnTo>
                  <a:lnTo>
                    <a:pt x="1900" y="7268"/>
                  </a:lnTo>
                  <a:lnTo>
                    <a:pt x="1899" y="7277"/>
                  </a:lnTo>
                  <a:lnTo>
                    <a:pt x="1898" y="7281"/>
                  </a:lnTo>
                  <a:lnTo>
                    <a:pt x="1895" y="7282"/>
                  </a:lnTo>
                  <a:lnTo>
                    <a:pt x="1877" y="7278"/>
                  </a:lnTo>
                  <a:lnTo>
                    <a:pt x="1876" y="7278"/>
                  </a:lnTo>
                  <a:lnTo>
                    <a:pt x="1875" y="7279"/>
                  </a:lnTo>
                  <a:lnTo>
                    <a:pt x="1873" y="7280"/>
                  </a:lnTo>
                  <a:lnTo>
                    <a:pt x="1871" y="7281"/>
                  </a:lnTo>
                  <a:lnTo>
                    <a:pt x="1870" y="7280"/>
                  </a:lnTo>
                  <a:lnTo>
                    <a:pt x="1869" y="7277"/>
                  </a:lnTo>
                  <a:lnTo>
                    <a:pt x="1867" y="7276"/>
                  </a:lnTo>
                  <a:lnTo>
                    <a:pt x="1865" y="7276"/>
                  </a:lnTo>
                  <a:lnTo>
                    <a:pt x="1864" y="7277"/>
                  </a:lnTo>
                  <a:lnTo>
                    <a:pt x="1863" y="7279"/>
                  </a:lnTo>
                  <a:lnTo>
                    <a:pt x="1859" y="7280"/>
                  </a:lnTo>
                  <a:lnTo>
                    <a:pt x="1852" y="7289"/>
                  </a:lnTo>
                  <a:lnTo>
                    <a:pt x="1846" y="7294"/>
                  </a:lnTo>
                  <a:lnTo>
                    <a:pt x="1843" y="7296"/>
                  </a:lnTo>
                  <a:lnTo>
                    <a:pt x="1840" y="7297"/>
                  </a:lnTo>
                  <a:lnTo>
                    <a:pt x="1834" y="7296"/>
                  </a:lnTo>
                  <a:lnTo>
                    <a:pt x="1832" y="7297"/>
                  </a:lnTo>
                  <a:lnTo>
                    <a:pt x="1829" y="7300"/>
                  </a:lnTo>
                  <a:lnTo>
                    <a:pt x="1825" y="7306"/>
                  </a:lnTo>
                  <a:lnTo>
                    <a:pt x="1822" y="7308"/>
                  </a:lnTo>
                  <a:lnTo>
                    <a:pt x="1816" y="7310"/>
                  </a:lnTo>
                  <a:lnTo>
                    <a:pt x="1807" y="7314"/>
                  </a:lnTo>
                  <a:lnTo>
                    <a:pt x="1804" y="7315"/>
                  </a:lnTo>
                  <a:lnTo>
                    <a:pt x="1791" y="7316"/>
                  </a:lnTo>
                  <a:lnTo>
                    <a:pt x="1785" y="7318"/>
                  </a:lnTo>
                  <a:lnTo>
                    <a:pt x="1782" y="7319"/>
                  </a:lnTo>
                  <a:lnTo>
                    <a:pt x="1770" y="7316"/>
                  </a:lnTo>
                  <a:lnTo>
                    <a:pt x="1767" y="7317"/>
                  </a:lnTo>
                  <a:lnTo>
                    <a:pt x="1763" y="7319"/>
                  </a:lnTo>
                  <a:lnTo>
                    <a:pt x="1760" y="7322"/>
                  </a:lnTo>
                  <a:lnTo>
                    <a:pt x="1758" y="7325"/>
                  </a:lnTo>
                  <a:lnTo>
                    <a:pt x="1758" y="7327"/>
                  </a:lnTo>
                  <a:lnTo>
                    <a:pt x="1759" y="7332"/>
                  </a:lnTo>
                  <a:lnTo>
                    <a:pt x="1758" y="7334"/>
                  </a:lnTo>
                  <a:lnTo>
                    <a:pt x="1757" y="7336"/>
                  </a:lnTo>
                  <a:lnTo>
                    <a:pt x="1754" y="7339"/>
                  </a:lnTo>
                  <a:lnTo>
                    <a:pt x="1753" y="7340"/>
                  </a:lnTo>
                  <a:lnTo>
                    <a:pt x="1753" y="7343"/>
                  </a:lnTo>
                  <a:lnTo>
                    <a:pt x="1754" y="7346"/>
                  </a:lnTo>
                  <a:lnTo>
                    <a:pt x="1754" y="7351"/>
                  </a:lnTo>
                  <a:lnTo>
                    <a:pt x="1755" y="7350"/>
                  </a:lnTo>
                  <a:lnTo>
                    <a:pt x="1756" y="7347"/>
                  </a:lnTo>
                  <a:lnTo>
                    <a:pt x="1756" y="7346"/>
                  </a:lnTo>
                  <a:lnTo>
                    <a:pt x="1762" y="7343"/>
                  </a:lnTo>
                  <a:lnTo>
                    <a:pt x="1769" y="7343"/>
                  </a:lnTo>
                  <a:lnTo>
                    <a:pt x="1776" y="7346"/>
                  </a:lnTo>
                  <a:lnTo>
                    <a:pt x="1782" y="7349"/>
                  </a:lnTo>
                  <a:lnTo>
                    <a:pt x="1784" y="7351"/>
                  </a:lnTo>
                  <a:lnTo>
                    <a:pt x="1787" y="7354"/>
                  </a:lnTo>
                  <a:lnTo>
                    <a:pt x="1789" y="7358"/>
                  </a:lnTo>
                  <a:lnTo>
                    <a:pt x="1788" y="7363"/>
                  </a:lnTo>
                  <a:lnTo>
                    <a:pt x="1786" y="7364"/>
                  </a:lnTo>
                  <a:lnTo>
                    <a:pt x="1768" y="7365"/>
                  </a:lnTo>
                  <a:lnTo>
                    <a:pt x="1744" y="7358"/>
                  </a:lnTo>
                  <a:lnTo>
                    <a:pt x="1743" y="7357"/>
                  </a:lnTo>
                  <a:lnTo>
                    <a:pt x="1740" y="7352"/>
                  </a:lnTo>
                  <a:lnTo>
                    <a:pt x="1740" y="7350"/>
                  </a:lnTo>
                  <a:lnTo>
                    <a:pt x="1739" y="7347"/>
                  </a:lnTo>
                  <a:lnTo>
                    <a:pt x="1738" y="7346"/>
                  </a:lnTo>
                  <a:lnTo>
                    <a:pt x="1736" y="7347"/>
                  </a:lnTo>
                  <a:lnTo>
                    <a:pt x="1731" y="7352"/>
                  </a:lnTo>
                  <a:lnTo>
                    <a:pt x="1728" y="7354"/>
                  </a:lnTo>
                  <a:lnTo>
                    <a:pt x="1725" y="7355"/>
                  </a:lnTo>
                  <a:lnTo>
                    <a:pt x="1718" y="7355"/>
                  </a:lnTo>
                  <a:lnTo>
                    <a:pt x="1714" y="7356"/>
                  </a:lnTo>
                  <a:lnTo>
                    <a:pt x="1711" y="7358"/>
                  </a:lnTo>
                  <a:lnTo>
                    <a:pt x="1706" y="7365"/>
                  </a:lnTo>
                  <a:lnTo>
                    <a:pt x="1700" y="7369"/>
                  </a:lnTo>
                  <a:lnTo>
                    <a:pt x="1692" y="7372"/>
                  </a:lnTo>
                  <a:lnTo>
                    <a:pt x="1683" y="7373"/>
                  </a:lnTo>
                  <a:lnTo>
                    <a:pt x="1676" y="7369"/>
                  </a:lnTo>
                  <a:lnTo>
                    <a:pt x="1671" y="7371"/>
                  </a:lnTo>
                  <a:lnTo>
                    <a:pt x="1664" y="7367"/>
                  </a:lnTo>
                  <a:lnTo>
                    <a:pt x="1658" y="7362"/>
                  </a:lnTo>
                  <a:lnTo>
                    <a:pt x="1653" y="7358"/>
                  </a:lnTo>
                  <a:lnTo>
                    <a:pt x="1653" y="7359"/>
                  </a:lnTo>
                  <a:lnTo>
                    <a:pt x="1653" y="7360"/>
                  </a:lnTo>
                  <a:lnTo>
                    <a:pt x="1652" y="7360"/>
                  </a:lnTo>
                  <a:lnTo>
                    <a:pt x="1652" y="7360"/>
                  </a:lnTo>
                  <a:lnTo>
                    <a:pt x="1652" y="7362"/>
                  </a:lnTo>
                  <a:lnTo>
                    <a:pt x="1655" y="7365"/>
                  </a:lnTo>
                  <a:lnTo>
                    <a:pt x="1658" y="7372"/>
                  </a:lnTo>
                  <a:lnTo>
                    <a:pt x="1659" y="7379"/>
                  </a:lnTo>
                  <a:lnTo>
                    <a:pt x="1663" y="7390"/>
                  </a:lnTo>
                  <a:lnTo>
                    <a:pt x="1665" y="7398"/>
                  </a:lnTo>
                  <a:lnTo>
                    <a:pt x="1667" y="7404"/>
                  </a:lnTo>
                  <a:lnTo>
                    <a:pt x="1671" y="7407"/>
                  </a:lnTo>
                  <a:lnTo>
                    <a:pt x="1673" y="7409"/>
                  </a:lnTo>
                  <a:lnTo>
                    <a:pt x="1679" y="7420"/>
                  </a:lnTo>
                  <a:lnTo>
                    <a:pt x="1690" y="7431"/>
                  </a:lnTo>
                  <a:lnTo>
                    <a:pt x="1694" y="7432"/>
                  </a:lnTo>
                  <a:lnTo>
                    <a:pt x="1697" y="7429"/>
                  </a:lnTo>
                  <a:lnTo>
                    <a:pt x="1696" y="7428"/>
                  </a:lnTo>
                  <a:lnTo>
                    <a:pt x="1691" y="7426"/>
                  </a:lnTo>
                  <a:lnTo>
                    <a:pt x="1690" y="7423"/>
                  </a:lnTo>
                  <a:lnTo>
                    <a:pt x="1691" y="7422"/>
                  </a:lnTo>
                  <a:lnTo>
                    <a:pt x="1693" y="7422"/>
                  </a:lnTo>
                  <a:lnTo>
                    <a:pt x="1705" y="7422"/>
                  </a:lnTo>
                  <a:lnTo>
                    <a:pt x="1708" y="7423"/>
                  </a:lnTo>
                  <a:lnTo>
                    <a:pt x="1714" y="7427"/>
                  </a:lnTo>
                  <a:lnTo>
                    <a:pt x="1729" y="7444"/>
                  </a:lnTo>
                  <a:lnTo>
                    <a:pt x="1734" y="7448"/>
                  </a:lnTo>
                  <a:lnTo>
                    <a:pt x="1738" y="7451"/>
                  </a:lnTo>
                  <a:lnTo>
                    <a:pt x="1739" y="7455"/>
                  </a:lnTo>
                  <a:lnTo>
                    <a:pt x="1740" y="7461"/>
                  </a:lnTo>
                  <a:lnTo>
                    <a:pt x="1742" y="7464"/>
                  </a:lnTo>
                  <a:lnTo>
                    <a:pt x="1783" y="7487"/>
                  </a:lnTo>
                  <a:lnTo>
                    <a:pt x="1785" y="7490"/>
                  </a:lnTo>
                  <a:lnTo>
                    <a:pt x="1786" y="7494"/>
                  </a:lnTo>
                  <a:lnTo>
                    <a:pt x="1786" y="7499"/>
                  </a:lnTo>
                  <a:lnTo>
                    <a:pt x="1784" y="7504"/>
                  </a:lnTo>
                  <a:lnTo>
                    <a:pt x="1783" y="7506"/>
                  </a:lnTo>
                  <a:lnTo>
                    <a:pt x="1782" y="7506"/>
                  </a:lnTo>
                  <a:lnTo>
                    <a:pt x="1780" y="7506"/>
                  </a:lnTo>
                  <a:lnTo>
                    <a:pt x="1778" y="7505"/>
                  </a:lnTo>
                  <a:lnTo>
                    <a:pt x="1776" y="7505"/>
                  </a:lnTo>
                  <a:lnTo>
                    <a:pt x="1772" y="7506"/>
                  </a:lnTo>
                  <a:lnTo>
                    <a:pt x="1771" y="7506"/>
                  </a:lnTo>
                  <a:lnTo>
                    <a:pt x="1765" y="7506"/>
                  </a:lnTo>
                  <a:lnTo>
                    <a:pt x="1762" y="7505"/>
                  </a:lnTo>
                  <a:lnTo>
                    <a:pt x="1759" y="7503"/>
                  </a:lnTo>
                  <a:lnTo>
                    <a:pt x="1751" y="7495"/>
                  </a:lnTo>
                  <a:lnTo>
                    <a:pt x="1745" y="7492"/>
                  </a:lnTo>
                  <a:lnTo>
                    <a:pt x="1738" y="7483"/>
                  </a:lnTo>
                  <a:lnTo>
                    <a:pt x="1734" y="7481"/>
                  </a:lnTo>
                  <a:lnTo>
                    <a:pt x="1731" y="7482"/>
                  </a:lnTo>
                  <a:lnTo>
                    <a:pt x="1727" y="7483"/>
                  </a:lnTo>
                  <a:lnTo>
                    <a:pt x="1724" y="7484"/>
                  </a:lnTo>
                  <a:lnTo>
                    <a:pt x="1721" y="7486"/>
                  </a:lnTo>
                  <a:lnTo>
                    <a:pt x="1720" y="7490"/>
                  </a:lnTo>
                  <a:lnTo>
                    <a:pt x="1720" y="7500"/>
                  </a:lnTo>
                  <a:lnTo>
                    <a:pt x="1719" y="7503"/>
                  </a:lnTo>
                  <a:lnTo>
                    <a:pt x="1718" y="7504"/>
                  </a:lnTo>
                  <a:lnTo>
                    <a:pt x="1717" y="7507"/>
                  </a:lnTo>
                  <a:lnTo>
                    <a:pt x="1715" y="7516"/>
                  </a:lnTo>
                  <a:lnTo>
                    <a:pt x="1714" y="7520"/>
                  </a:lnTo>
                  <a:lnTo>
                    <a:pt x="1712" y="7523"/>
                  </a:lnTo>
                  <a:lnTo>
                    <a:pt x="1710" y="7525"/>
                  </a:lnTo>
                  <a:lnTo>
                    <a:pt x="1710" y="7527"/>
                  </a:lnTo>
                  <a:lnTo>
                    <a:pt x="1706" y="7540"/>
                  </a:lnTo>
                  <a:lnTo>
                    <a:pt x="1702" y="7547"/>
                  </a:lnTo>
                  <a:lnTo>
                    <a:pt x="1702" y="7550"/>
                  </a:lnTo>
                  <a:lnTo>
                    <a:pt x="1704" y="7553"/>
                  </a:lnTo>
                  <a:lnTo>
                    <a:pt x="1701" y="7555"/>
                  </a:lnTo>
                  <a:lnTo>
                    <a:pt x="1697" y="7555"/>
                  </a:lnTo>
                  <a:lnTo>
                    <a:pt x="1695" y="7552"/>
                  </a:lnTo>
                  <a:lnTo>
                    <a:pt x="1697" y="7546"/>
                  </a:lnTo>
                  <a:lnTo>
                    <a:pt x="1703" y="7539"/>
                  </a:lnTo>
                  <a:lnTo>
                    <a:pt x="1706" y="7534"/>
                  </a:lnTo>
                  <a:lnTo>
                    <a:pt x="1707" y="7529"/>
                  </a:lnTo>
                  <a:lnTo>
                    <a:pt x="1707" y="7526"/>
                  </a:lnTo>
                  <a:lnTo>
                    <a:pt x="1707" y="7525"/>
                  </a:lnTo>
                  <a:lnTo>
                    <a:pt x="1704" y="7525"/>
                  </a:lnTo>
                  <a:lnTo>
                    <a:pt x="1702" y="7524"/>
                  </a:lnTo>
                  <a:lnTo>
                    <a:pt x="1701" y="7522"/>
                  </a:lnTo>
                  <a:lnTo>
                    <a:pt x="1702" y="7518"/>
                  </a:lnTo>
                  <a:lnTo>
                    <a:pt x="1703" y="7515"/>
                  </a:lnTo>
                  <a:lnTo>
                    <a:pt x="1706" y="7510"/>
                  </a:lnTo>
                  <a:lnTo>
                    <a:pt x="1706" y="7508"/>
                  </a:lnTo>
                  <a:lnTo>
                    <a:pt x="1705" y="7506"/>
                  </a:lnTo>
                  <a:lnTo>
                    <a:pt x="1703" y="7506"/>
                  </a:lnTo>
                  <a:lnTo>
                    <a:pt x="1699" y="7508"/>
                  </a:lnTo>
                  <a:lnTo>
                    <a:pt x="1701" y="7506"/>
                  </a:lnTo>
                  <a:lnTo>
                    <a:pt x="1702" y="7505"/>
                  </a:lnTo>
                  <a:lnTo>
                    <a:pt x="1708" y="7501"/>
                  </a:lnTo>
                  <a:lnTo>
                    <a:pt x="1710" y="7500"/>
                  </a:lnTo>
                  <a:lnTo>
                    <a:pt x="1709" y="7500"/>
                  </a:lnTo>
                  <a:lnTo>
                    <a:pt x="1700" y="7500"/>
                  </a:lnTo>
                  <a:lnTo>
                    <a:pt x="1690" y="7505"/>
                  </a:lnTo>
                  <a:lnTo>
                    <a:pt x="1685" y="7509"/>
                  </a:lnTo>
                  <a:lnTo>
                    <a:pt x="1682" y="7515"/>
                  </a:lnTo>
                  <a:lnTo>
                    <a:pt x="1679" y="7525"/>
                  </a:lnTo>
                  <a:lnTo>
                    <a:pt x="1674" y="7550"/>
                  </a:lnTo>
                  <a:lnTo>
                    <a:pt x="1672" y="7558"/>
                  </a:lnTo>
                  <a:lnTo>
                    <a:pt x="1669" y="7565"/>
                  </a:lnTo>
                  <a:lnTo>
                    <a:pt x="1667" y="7570"/>
                  </a:lnTo>
                  <a:lnTo>
                    <a:pt x="1665" y="7572"/>
                  </a:lnTo>
                  <a:lnTo>
                    <a:pt x="1663" y="7572"/>
                  </a:lnTo>
                  <a:lnTo>
                    <a:pt x="1657" y="7576"/>
                  </a:lnTo>
                  <a:lnTo>
                    <a:pt x="1643" y="7588"/>
                  </a:lnTo>
                  <a:lnTo>
                    <a:pt x="1641" y="7589"/>
                  </a:lnTo>
                  <a:lnTo>
                    <a:pt x="1641" y="7590"/>
                  </a:lnTo>
                  <a:lnTo>
                    <a:pt x="1643" y="7593"/>
                  </a:lnTo>
                  <a:lnTo>
                    <a:pt x="1645" y="7595"/>
                  </a:lnTo>
                  <a:lnTo>
                    <a:pt x="1646" y="7595"/>
                  </a:lnTo>
                  <a:lnTo>
                    <a:pt x="1647" y="7597"/>
                  </a:lnTo>
                  <a:lnTo>
                    <a:pt x="1647" y="7599"/>
                  </a:lnTo>
                  <a:lnTo>
                    <a:pt x="1646" y="7599"/>
                  </a:lnTo>
                  <a:lnTo>
                    <a:pt x="1644" y="7598"/>
                  </a:lnTo>
                  <a:lnTo>
                    <a:pt x="1644" y="7602"/>
                  </a:lnTo>
                  <a:lnTo>
                    <a:pt x="1642" y="7602"/>
                  </a:lnTo>
                  <a:lnTo>
                    <a:pt x="1639" y="7599"/>
                  </a:lnTo>
                  <a:lnTo>
                    <a:pt x="1638" y="7596"/>
                  </a:lnTo>
                  <a:lnTo>
                    <a:pt x="1633" y="7595"/>
                  </a:lnTo>
                  <a:lnTo>
                    <a:pt x="1636" y="7593"/>
                  </a:lnTo>
                  <a:lnTo>
                    <a:pt x="1636" y="7591"/>
                  </a:lnTo>
                  <a:lnTo>
                    <a:pt x="1635" y="7589"/>
                  </a:lnTo>
                  <a:lnTo>
                    <a:pt x="1632" y="7590"/>
                  </a:lnTo>
                  <a:lnTo>
                    <a:pt x="1631" y="7592"/>
                  </a:lnTo>
                  <a:lnTo>
                    <a:pt x="1630" y="7596"/>
                  </a:lnTo>
                  <a:lnTo>
                    <a:pt x="1629" y="7604"/>
                  </a:lnTo>
                  <a:lnTo>
                    <a:pt x="1629" y="7612"/>
                  </a:lnTo>
                  <a:lnTo>
                    <a:pt x="1630" y="7625"/>
                  </a:lnTo>
                  <a:lnTo>
                    <a:pt x="1630" y="7632"/>
                  </a:lnTo>
                  <a:lnTo>
                    <a:pt x="1629" y="7640"/>
                  </a:lnTo>
                  <a:lnTo>
                    <a:pt x="1629" y="7642"/>
                  </a:lnTo>
                  <a:lnTo>
                    <a:pt x="1630" y="7644"/>
                  </a:lnTo>
                  <a:lnTo>
                    <a:pt x="1632" y="7646"/>
                  </a:lnTo>
                  <a:lnTo>
                    <a:pt x="1634" y="7645"/>
                  </a:lnTo>
                  <a:lnTo>
                    <a:pt x="1635" y="7643"/>
                  </a:lnTo>
                  <a:lnTo>
                    <a:pt x="1637" y="7637"/>
                  </a:lnTo>
                  <a:lnTo>
                    <a:pt x="1638" y="7626"/>
                  </a:lnTo>
                  <a:lnTo>
                    <a:pt x="1638" y="7626"/>
                  </a:lnTo>
                  <a:lnTo>
                    <a:pt x="1639" y="7626"/>
                  </a:lnTo>
                  <a:lnTo>
                    <a:pt x="1639" y="7626"/>
                  </a:lnTo>
                  <a:lnTo>
                    <a:pt x="1640" y="7625"/>
                  </a:lnTo>
                  <a:lnTo>
                    <a:pt x="1640" y="7624"/>
                  </a:lnTo>
                  <a:lnTo>
                    <a:pt x="1639" y="7623"/>
                  </a:lnTo>
                  <a:lnTo>
                    <a:pt x="1639" y="7623"/>
                  </a:lnTo>
                  <a:lnTo>
                    <a:pt x="1639" y="7623"/>
                  </a:lnTo>
                  <a:lnTo>
                    <a:pt x="1638" y="7621"/>
                  </a:lnTo>
                  <a:lnTo>
                    <a:pt x="1638" y="7619"/>
                  </a:lnTo>
                  <a:lnTo>
                    <a:pt x="1637" y="7618"/>
                  </a:lnTo>
                  <a:lnTo>
                    <a:pt x="1636" y="7617"/>
                  </a:lnTo>
                  <a:lnTo>
                    <a:pt x="1636" y="7615"/>
                  </a:lnTo>
                  <a:lnTo>
                    <a:pt x="1638" y="7615"/>
                  </a:lnTo>
                  <a:lnTo>
                    <a:pt x="1641" y="7613"/>
                  </a:lnTo>
                  <a:lnTo>
                    <a:pt x="1641" y="7612"/>
                  </a:lnTo>
                  <a:lnTo>
                    <a:pt x="1637" y="7611"/>
                  </a:lnTo>
                  <a:lnTo>
                    <a:pt x="1635" y="7608"/>
                  </a:lnTo>
                  <a:lnTo>
                    <a:pt x="1635" y="7604"/>
                  </a:lnTo>
                  <a:lnTo>
                    <a:pt x="1636" y="7603"/>
                  </a:lnTo>
                  <a:lnTo>
                    <a:pt x="1638" y="7603"/>
                  </a:lnTo>
                  <a:lnTo>
                    <a:pt x="1639" y="7608"/>
                  </a:lnTo>
                  <a:lnTo>
                    <a:pt x="1640" y="7609"/>
                  </a:lnTo>
                  <a:lnTo>
                    <a:pt x="1642" y="7609"/>
                  </a:lnTo>
                  <a:lnTo>
                    <a:pt x="1644" y="7610"/>
                  </a:lnTo>
                  <a:lnTo>
                    <a:pt x="1646" y="7612"/>
                  </a:lnTo>
                  <a:lnTo>
                    <a:pt x="1647" y="7613"/>
                  </a:lnTo>
                  <a:lnTo>
                    <a:pt x="1647" y="7617"/>
                  </a:lnTo>
                  <a:lnTo>
                    <a:pt x="1645" y="7628"/>
                  </a:lnTo>
                  <a:lnTo>
                    <a:pt x="1645" y="7631"/>
                  </a:lnTo>
                  <a:lnTo>
                    <a:pt x="1647" y="7632"/>
                  </a:lnTo>
                  <a:lnTo>
                    <a:pt x="1651" y="7637"/>
                  </a:lnTo>
                  <a:lnTo>
                    <a:pt x="1654" y="7638"/>
                  </a:lnTo>
                  <a:lnTo>
                    <a:pt x="1654" y="7640"/>
                  </a:lnTo>
                  <a:lnTo>
                    <a:pt x="1652" y="7639"/>
                  </a:lnTo>
                  <a:lnTo>
                    <a:pt x="1649" y="7637"/>
                  </a:lnTo>
                  <a:lnTo>
                    <a:pt x="1647" y="7637"/>
                  </a:lnTo>
                  <a:lnTo>
                    <a:pt x="1648" y="7641"/>
                  </a:lnTo>
                  <a:lnTo>
                    <a:pt x="1650" y="7643"/>
                  </a:lnTo>
                  <a:lnTo>
                    <a:pt x="1650" y="7646"/>
                  </a:lnTo>
                  <a:lnTo>
                    <a:pt x="1650" y="7652"/>
                  </a:lnTo>
                  <a:lnTo>
                    <a:pt x="1651" y="7652"/>
                  </a:lnTo>
                  <a:lnTo>
                    <a:pt x="1654" y="7650"/>
                  </a:lnTo>
                  <a:lnTo>
                    <a:pt x="1656" y="7649"/>
                  </a:lnTo>
                  <a:lnTo>
                    <a:pt x="1656" y="7651"/>
                  </a:lnTo>
                  <a:lnTo>
                    <a:pt x="1655" y="7651"/>
                  </a:lnTo>
                  <a:lnTo>
                    <a:pt x="1654" y="7652"/>
                  </a:lnTo>
                  <a:lnTo>
                    <a:pt x="1654" y="7653"/>
                  </a:lnTo>
                  <a:lnTo>
                    <a:pt x="1653" y="7655"/>
                  </a:lnTo>
                  <a:lnTo>
                    <a:pt x="1650" y="7659"/>
                  </a:lnTo>
                  <a:lnTo>
                    <a:pt x="1650" y="7659"/>
                  </a:lnTo>
                  <a:lnTo>
                    <a:pt x="1649" y="7660"/>
                  </a:lnTo>
                  <a:lnTo>
                    <a:pt x="1648" y="7661"/>
                  </a:lnTo>
                  <a:lnTo>
                    <a:pt x="1647" y="7661"/>
                  </a:lnTo>
                  <a:lnTo>
                    <a:pt x="1647" y="7663"/>
                  </a:lnTo>
                  <a:lnTo>
                    <a:pt x="1647" y="7663"/>
                  </a:lnTo>
                  <a:lnTo>
                    <a:pt x="1648" y="7664"/>
                  </a:lnTo>
                  <a:lnTo>
                    <a:pt x="1649" y="7664"/>
                  </a:lnTo>
                  <a:lnTo>
                    <a:pt x="1649" y="7666"/>
                  </a:lnTo>
                  <a:lnTo>
                    <a:pt x="1651" y="7668"/>
                  </a:lnTo>
                  <a:lnTo>
                    <a:pt x="1653" y="7670"/>
                  </a:lnTo>
                  <a:lnTo>
                    <a:pt x="1653" y="7671"/>
                  </a:lnTo>
                  <a:lnTo>
                    <a:pt x="1651" y="7671"/>
                  </a:lnTo>
                  <a:lnTo>
                    <a:pt x="1650" y="7672"/>
                  </a:lnTo>
                  <a:lnTo>
                    <a:pt x="1649" y="7672"/>
                  </a:lnTo>
                  <a:lnTo>
                    <a:pt x="1642" y="7670"/>
                  </a:lnTo>
                  <a:lnTo>
                    <a:pt x="1641" y="7669"/>
                  </a:lnTo>
                  <a:lnTo>
                    <a:pt x="1641" y="7669"/>
                  </a:lnTo>
                  <a:lnTo>
                    <a:pt x="1639" y="7669"/>
                  </a:lnTo>
                  <a:lnTo>
                    <a:pt x="1639" y="7668"/>
                  </a:lnTo>
                  <a:lnTo>
                    <a:pt x="1638" y="7667"/>
                  </a:lnTo>
                  <a:lnTo>
                    <a:pt x="1637" y="7666"/>
                  </a:lnTo>
                  <a:lnTo>
                    <a:pt x="1636" y="7664"/>
                  </a:lnTo>
                  <a:lnTo>
                    <a:pt x="1635" y="7669"/>
                  </a:lnTo>
                  <a:lnTo>
                    <a:pt x="1632" y="7673"/>
                  </a:lnTo>
                  <a:lnTo>
                    <a:pt x="1630" y="7674"/>
                  </a:lnTo>
                  <a:lnTo>
                    <a:pt x="1626" y="7672"/>
                  </a:lnTo>
                  <a:lnTo>
                    <a:pt x="1629" y="7671"/>
                  </a:lnTo>
                  <a:lnTo>
                    <a:pt x="1631" y="7671"/>
                  </a:lnTo>
                  <a:lnTo>
                    <a:pt x="1632" y="7669"/>
                  </a:lnTo>
                  <a:lnTo>
                    <a:pt x="1632" y="7667"/>
                  </a:lnTo>
                  <a:lnTo>
                    <a:pt x="1631" y="7665"/>
                  </a:lnTo>
                  <a:lnTo>
                    <a:pt x="1630" y="7663"/>
                  </a:lnTo>
                  <a:lnTo>
                    <a:pt x="1628" y="7663"/>
                  </a:lnTo>
                  <a:lnTo>
                    <a:pt x="1627" y="7662"/>
                  </a:lnTo>
                  <a:lnTo>
                    <a:pt x="1624" y="7661"/>
                  </a:lnTo>
                  <a:lnTo>
                    <a:pt x="1622" y="7661"/>
                  </a:lnTo>
                  <a:lnTo>
                    <a:pt x="1621" y="7662"/>
                  </a:lnTo>
                  <a:lnTo>
                    <a:pt x="1618" y="7664"/>
                  </a:lnTo>
                  <a:lnTo>
                    <a:pt x="1616" y="7664"/>
                  </a:lnTo>
                  <a:lnTo>
                    <a:pt x="1618" y="7658"/>
                  </a:lnTo>
                  <a:lnTo>
                    <a:pt x="1618" y="7657"/>
                  </a:lnTo>
                  <a:lnTo>
                    <a:pt x="1616" y="7658"/>
                  </a:lnTo>
                  <a:lnTo>
                    <a:pt x="1609" y="7663"/>
                  </a:lnTo>
                  <a:lnTo>
                    <a:pt x="1607" y="7665"/>
                  </a:lnTo>
                  <a:lnTo>
                    <a:pt x="1604" y="7667"/>
                  </a:lnTo>
                  <a:lnTo>
                    <a:pt x="1598" y="7668"/>
                  </a:lnTo>
                  <a:lnTo>
                    <a:pt x="1596" y="7671"/>
                  </a:lnTo>
                  <a:lnTo>
                    <a:pt x="1595" y="7667"/>
                  </a:lnTo>
                  <a:lnTo>
                    <a:pt x="1591" y="7666"/>
                  </a:lnTo>
                  <a:lnTo>
                    <a:pt x="1561" y="7666"/>
                  </a:lnTo>
                  <a:lnTo>
                    <a:pt x="1560" y="7667"/>
                  </a:lnTo>
                  <a:lnTo>
                    <a:pt x="1562" y="7671"/>
                  </a:lnTo>
                  <a:lnTo>
                    <a:pt x="1563" y="7672"/>
                  </a:lnTo>
                  <a:lnTo>
                    <a:pt x="1566" y="7672"/>
                  </a:lnTo>
                  <a:lnTo>
                    <a:pt x="1570" y="7672"/>
                  </a:lnTo>
                  <a:lnTo>
                    <a:pt x="1579" y="7673"/>
                  </a:lnTo>
                  <a:lnTo>
                    <a:pt x="1584" y="7675"/>
                  </a:lnTo>
                  <a:lnTo>
                    <a:pt x="1586" y="7678"/>
                  </a:lnTo>
                  <a:lnTo>
                    <a:pt x="1576" y="7677"/>
                  </a:lnTo>
                  <a:lnTo>
                    <a:pt x="1575" y="7679"/>
                  </a:lnTo>
                  <a:lnTo>
                    <a:pt x="1573" y="7682"/>
                  </a:lnTo>
                  <a:lnTo>
                    <a:pt x="1570" y="7683"/>
                  </a:lnTo>
                  <a:lnTo>
                    <a:pt x="1562" y="7683"/>
                  </a:lnTo>
                  <a:lnTo>
                    <a:pt x="1553" y="7686"/>
                  </a:lnTo>
                  <a:lnTo>
                    <a:pt x="1550" y="7686"/>
                  </a:lnTo>
                  <a:lnTo>
                    <a:pt x="1548" y="7686"/>
                  </a:lnTo>
                  <a:lnTo>
                    <a:pt x="1547" y="7685"/>
                  </a:lnTo>
                  <a:lnTo>
                    <a:pt x="1546" y="7683"/>
                  </a:lnTo>
                  <a:lnTo>
                    <a:pt x="1546" y="7681"/>
                  </a:lnTo>
                  <a:lnTo>
                    <a:pt x="1547" y="7680"/>
                  </a:lnTo>
                  <a:lnTo>
                    <a:pt x="1551" y="7679"/>
                  </a:lnTo>
                  <a:lnTo>
                    <a:pt x="1553" y="7678"/>
                  </a:lnTo>
                  <a:lnTo>
                    <a:pt x="1553" y="7677"/>
                  </a:lnTo>
                  <a:lnTo>
                    <a:pt x="1553" y="7671"/>
                  </a:lnTo>
                  <a:lnTo>
                    <a:pt x="1554" y="7669"/>
                  </a:lnTo>
                  <a:lnTo>
                    <a:pt x="1555" y="7669"/>
                  </a:lnTo>
                  <a:lnTo>
                    <a:pt x="1557" y="7666"/>
                  </a:lnTo>
                  <a:lnTo>
                    <a:pt x="1558" y="7664"/>
                  </a:lnTo>
                  <a:lnTo>
                    <a:pt x="1557" y="7663"/>
                  </a:lnTo>
                  <a:lnTo>
                    <a:pt x="1553" y="7662"/>
                  </a:lnTo>
                  <a:lnTo>
                    <a:pt x="1546" y="7660"/>
                  </a:lnTo>
                  <a:lnTo>
                    <a:pt x="1519" y="7643"/>
                  </a:lnTo>
                  <a:lnTo>
                    <a:pt x="1516" y="7642"/>
                  </a:lnTo>
                  <a:lnTo>
                    <a:pt x="1514" y="7642"/>
                  </a:lnTo>
                  <a:lnTo>
                    <a:pt x="1512" y="7642"/>
                  </a:lnTo>
                  <a:lnTo>
                    <a:pt x="1509" y="7640"/>
                  </a:lnTo>
                  <a:lnTo>
                    <a:pt x="1489" y="7652"/>
                  </a:lnTo>
                  <a:lnTo>
                    <a:pt x="1485" y="7657"/>
                  </a:lnTo>
                  <a:lnTo>
                    <a:pt x="1483" y="7663"/>
                  </a:lnTo>
                  <a:lnTo>
                    <a:pt x="1483" y="7666"/>
                  </a:lnTo>
                  <a:lnTo>
                    <a:pt x="1486" y="7665"/>
                  </a:lnTo>
                  <a:lnTo>
                    <a:pt x="1493" y="7656"/>
                  </a:lnTo>
                  <a:lnTo>
                    <a:pt x="1496" y="7654"/>
                  </a:lnTo>
                  <a:lnTo>
                    <a:pt x="1498" y="7653"/>
                  </a:lnTo>
                  <a:lnTo>
                    <a:pt x="1499" y="7652"/>
                  </a:lnTo>
                  <a:lnTo>
                    <a:pt x="1501" y="7652"/>
                  </a:lnTo>
                  <a:lnTo>
                    <a:pt x="1505" y="7656"/>
                  </a:lnTo>
                  <a:lnTo>
                    <a:pt x="1507" y="7657"/>
                  </a:lnTo>
                  <a:lnTo>
                    <a:pt x="1512" y="7657"/>
                  </a:lnTo>
                  <a:lnTo>
                    <a:pt x="1512" y="7658"/>
                  </a:lnTo>
                  <a:lnTo>
                    <a:pt x="1508" y="7659"/>
                  </a:lnTo>
                  <a:lnTo>
                    <a:pt x="1507" y="7660"/>
                  </a:lnTo>
                  <a:lnTo>
                    <a:pt x="1506" y="7661"/>
                  </a:lnTo>
                  <a:lnTo>
                    <a:pt x="1506" y="7664"/>
                  </a:lnTo>
                  <a:lnTo>
                    <a:pt x="1506" y="7666"/>
                  </a:lnTo>
                  <a:lnTo>
                    <a:pt x="1506" y="7668"/>
                  </a:lnTo>
                  <a:lnTo>
                    <a:pt x="1504" y="7669"/>
                  </a:lnTo>
                  <a:lnTo>
                    <a:pt x="1503" y="7666"/>
                  </a:lnTo>
                  <a:lnTo>
                    <a:pt x="1502" y="7661"/>
                  </a:lnTo>
                  <a:lnTo>
                    <a:pt x="1500" y="7657"/>
                  </a:lnTo>
                  <a:lnTo>
                    <a:pt x="1497" y="7660"/>
                  </a:lnTo>
                  <a:lnTo>
                    <a:pt x="1497" y="7663"/>
                  </a:lnTo>
                  <a:lnTo>
                    <a:pt x="1498" y="7667"/>
                  </a:lnTo>
                  <a:lnTo>
                    <a:pt x="1500" y="7672"/>
                  </a:lnTo>
                  <a:lnTo>
                    <a:pt x="1502" y="7674"/>
                  </a:lnTo>
                  <a:lnTo>
                    <a:pt x="1527" y="7668"/>
                  </a:lnTo>
                  <a:lnTo>
                    <a:pt x="1527" y="7667"/>
                  </a:lnTo>
                  <a:lnTo>
                    <a:pt x="1529" y="7668"/>
                  </a:lnTo>
                  <a:lnTo>
                    <a:pt x="1530" y="7669"/>
                  </a:lnTo>
                  <a:lnTo>
                    <a:pt x="1531" y="7671"/>
                  </a:lnTo>
                  <a:lnTo>
                    <a:pt x="1531" y="7674"/>
                  </a:lnTo>
                  <a:lnTo>
                    <a:pt x="1530" y="7676"/>
                  </a:lnTo>
                  <a:lnTo>
                    <a:pt x="1528" y="7677"/>
                  </a:lnTo>
                  <a:lnTo>
                    <a:pt x="1525" y="7679"/>
                  </a:lnTo>
                  <a:lnTo>
                    <a:pt x="1516" y="7684"/>
                  </a:lnTo>
                  <a:lnTo>
                    <a:pt x="1513" y="7685"/>
                  </a:lnTo>
                  <a:lnTo>
                    <a:pt x="1510" y="7687"/>
                  </a:lnTo>
                  <a:lnTo>
                    <a:pt x="1509" y="7687"/>
                  </a:lnTo>
                  <a:lnTo>
                    <a:pt x="1503" y="7687"/>
                  </a:lnTo>
                  <a:lnTo>
                    <a:pt x="1502" y="7687"/>
                  </a:lnTo>
                  <a:lnTo>
                    <a:pt x="1498" y="7689"/>
                  </a:lnTo>
                  <a:lnTo>
                    <a:pt x="1493" y="7693"/>
                  </a:lnTo>
                  <a:lnTo>
                    <a:pt x="1489" y="7694"/>
                  </a:lnTo>
                  <a:lnTo>
                    <a:pt x="1471" y="7693"/>
                  </a:lnTo>
                  <a:lnTo>
                    <a:pt x="1470" y="7694"/>
                  </a:lnTo>
                  <a:lnTo>
                    <a:pt x="1469" y="7696"/>
                  </a:lnTo>
                  <a:lnTo>
                    <a:pt x="1469" y="7697"/>
                  </a:lnTo>
                  <a:lnTo>
                    <a:pt x="1469" y="7699"/>
                  </a:lnTo>
                  <a:lnTo>
                    <a:pt x="1470" y="7701"/>
                  </a:lnTo>
                  <a:lnTo>
                    <a:pt x="1471" y="7702"/>
                  </a:lnTo>
                  <a:lnTo>
                    <a:pt x="1479" y="7710"/>
                  </a:lnTo>
                  <a:lnTo>
                    <a:pt x="1488" y="7716"/>
                  </a:lnTo>
                  <a:lnTo>
                    <a:pt x="1491" y="7717"/>
                  </a:lnTo>
                  <a:lnTo>
                    <a:pt x="1495" y="7716"/>
                  </a:lnTo>
                  <a:lnTo>
                    <a:pt x="1501" y="7714"/>
                  </a:lnTo>
                  <a:lnTo>
                    <a:pt x="1504" y="7714"/>
                  </a:lnTo>
                  <a:lnTo>
                    <a:pt x="1510" y="7715"/>
                  </a:lnTo>
                  <a:lnTo>
                    <a:pt x="1528" y="7725"/>
                  </a:lnTo>
                  <a:lnTo>
                    <a:pt x="1541" y="7729"/>
                  </a:lnTo>
                  <a:lnTo>
                    <a:pt x="1547" y="7732"/>
                  </a:lnTo>
                  <a:lnTo>
                    <a:pt x="1552" y="7735"/>
                  </a:lnTo>
                  <a:lnTo>
                    <a:pt x="1555" y="7737"/>
                  </a:lnTo>
                  <a:lnTo>
                    <a:pt x="1557" y="7738"/>
                  </a:lnTo>
                  <a:lnTo>
                    <a:pt x="1560" y="7739"/>
                  </a:lnTo>
                  <a:lnTo>
                    <a:pt x="1562" y="7740"/>
                  </a:lnTo>
                  <a:lnTo>
                    <a:pt x="1566" y="7741"/>
                  </a:lnTo>
                  <a:lnTo>
                    <a:pt x="1581" y="7755"/>
                  </a:lnTo>
                  <a:lnTo>
                    <a:pt x="1584" y="7759"/>
                  </a:lnTo>
                  <a:lnTo>
                    <a:pt x="1585" y="7764"/>
                  </a:lnTo>
                  <a:lnTo>
                    <a:pt x="1582" y="7767"/>
                  </a:lnTo>
                  <a:lnTo>
                    <a:pt x="1582" y="7769"/>
                  </a:lnTo>
                  <a:lnTo>
                    <a:pt x="1586" y="7774"/>
                  </a:lnTo>
                  <a:lnTo>
                    <a:pt x="1591" y="7789"/>
                  </a:lnTo>
                  <a:lnTo>
                    <a:pt x="1595" y="7795"/>
                  </a:lnTo>
                  <a:lnTo>
                    <a:pt x="1597" y="7798"/>
                  </a:lnTo>
                  <a:lnTo>
                    <a:pt x="1605" y="7803"/>
                  </a:lnTo>
                  <a:lnTo>
                    <a:pt x="1607" y="7805"/>
                  </a:lnTo>
                  <a:lnTo>
                    <a:pt x="1609" y="7808"/>
                  </a:lnTo>
                  <a:lnTo>
                    <a:pt x="1612" y="7811"/>
                  </a:lnTo>
                  <a:lnTo>
                    <a:pt x="1615" y="7813"/>
                  </a:lnTo>
                  <a:lnTo>
                    <a:pt x="1616" y="7812"/>
                  </a:lnTo>
                  <a:lnTo>
                    <a:pt x="1619" y="7812"/>
                  </a:lnTo>
                  <a:lnTo>
                    <a:pt x="1621" y="7814"/>
                  </a:lnTo>
                  <a:lnTo>
                    <a:pt x="1626" y="7816"/>
                  </a:lnTo>
                  <a:lnTo>
                    <a:pt x="1627" y="7816"/>
                  </a:lnTo>
                  <a:lnTo>
                    <a:pt x="1628" y="7816"/>
                  </a:lnTo>
                  <a:lnTo>
                    <a:pt x="1631" y="7813"/>
                  </a:lnTo>
                  <a:lnTo>
                    <a:pt x="1636" y="7813"/>
                  </a:lnTo>
                  <a:lnTo>
                    <a:pt x="1640" y="7815"/>
                  </a:lnTo>
                  <a:lnTo>
                    <a:pt x="1649" y="7819"/>
                  </a:lnTo>
                  <a:lnTo>
                    <a:pt x="1653" y="7820"/>
                  </a:lnTo>
                  <a:lnTo>
                    <a:pt x="1658" y="7821"/>
                  </a:lnTo>
                  <a:lnTo>
                    <a:pt x="1663" y="7821"/>
                  </a:lnTo>
                  <a:lnTo>
                    <a:pt x="1666" y="7818"/>
                  </a:lnTo>
                  <a:lnTo>
                    <a:pt x="1666" y="7813"/>
                  </a:lnTo>
                  <a:lnTo>
                    <a:pt x="1664" y="7809"/>
                  </a:lnTo>
                  <a:lnTo>
                    <a:pt x="1661" y="7805"/>
                  </a:lnTo>
                  <a:lnTo>
                    <a:pt x="1659" y="7799"/>
                  </a:lnTo>
                  <a:lnTo>
                    <a:pt x="1663" y="7801"/>
                  </a:lnTo>
                  <a:lnTo>
                    <a:pt x="1670" y="7806"/>
                  </a:lnTo>
                  <a:lnTo>
                    <a:pt x="1673" y="7807"/>
                  </a:lnTo>
                  <a:lnTo>
                    <a:pt x="1674" y="7808"/>
                  </a:lnTo>
                  <a:lnTo>
                    <a:pt x="1684" y="7820"/>
                  </a:lnTo>
                  <a:lnTo>
                    <a:pt x="1684" y="7821"/>
                  </a:lnTo>
                  <a:lnTo>
                    <a:pt x="1684" y="7822"/>
                  </a:lnTo>
                  <a:lnTo>
                    <a:pt x="1683" y="7823"/>
                  </a:lnTo>
                  <a:lnTo>
                    <a:pt x="1683" y="7825"/>
                  </a:lnTo>
                  <a:lnTo>
                    <a:pt x="1682" y="7825"/>
                  </a:lnTo>
                  <a:lnTo>
                    <a:pt x="1683" y="7827"/>
                  </a:lnTo>
                  <a:lnTo>
                    <a:pt x="1686" y="7829"/>
                  </a:lnTo>
                  <a:lnTo>
                    <a:pt x="1692" y="7836"/>
                  </a:lnTo>
                  <a:lnTo>
                    <a:pt x="1694" y="7838"/>
                  </a:lnTo>
                  <a:lnTo>
                    <a:pt x="1696" y="7839"/>
                  </a:lnTo>
                  <a:lnTo>
                    <a:pt x="1702" y="7837"/>
                  </a:lnTo>
                  <a:lnTo>
                    <a:pt x="1703" y="7837"/>
                  </a:lnTo>
                  <a:lnTo>
                    <a:pt x="1704" y="7845"/>
                  </a:lnTo>
                  <a:lnTo>
                    <a:pt x="1706" y="7847"/>
                  </a:lnTo>
                  <a:lnTo>
                    <a:pt x="1712" y="7851"/>
                  </a:lnTo>
                  <a:lnTo>
                    <a:pt x="1715" y="7857"/>
                  </a:lnTo>
                  <a:lnTo>
                    <a:pt x="1719" y="7865"/>
                  </a:lnTo>
                  <a:lnTo>
                    <a:pt x="1723" y="7872"/>
                  </a:lnTo>
                  <a:lnTo>
                    <a:pt x="1729" y="7876"/>
                  </a:lnTo>
                  <a:lnTo>
                    <a:pt x="1740" y="7876"/>
                  </a:lnTo>
                  <a:lnTo>
                    <a:pt x="1742" y="7878"/>
                  </a:lnTo>
                  <a:lnTo>
                    <a:pt x="1744" y="7880"/>
                  </a:lnTo>
                  <a:lnTo>
                    <a:pt x="1789" y="7888"/>
                  </a:lnTo>
                  <a:lnTo>
                    <a:pt x="1805" y="7896"/>
                  </a:lnTo>
                  <a:lnTo>
                    <a:pt x="1812" y="7899"/>
                  </a:lnTo>
                  <a:lnTo>
                    <a:pt x="1815" y="7901"/>
                  </a:lnTo>
                  <a:lnTo>
                    <a:pt x="1817" y="7903"/>
                  </a:lnTo>
                  <a:lnTo>
                    <a:pt x="1830" y="7920"/>
                  </a:lnTo>
                  <a:lnTo>
                    <a:pt x="1833" y="7923"/>
                  </a:lnTo>
                  <a:lnTo>
                    <a:pt x="1836" y="7924"/>
                  </a:lnTo>
                  <a:lnTo>
                    <a:pt x="1843" y="7925"/>
                  </a:lnTo>
                  <a:lnTo>
                    <a:pt x="1847" y="7926"/>
                  </a:lnTo>
                  <a:lnTo>
                    <a:pt x="1850" y="7928"/>
                  </a:lnTo>
                  <a:lnTo>
                    <a:pt x="1851" y="7931"/>
                  </a:lnTo>
                  <a:lnTo>
                    <a:pt x="1855" y="7939"/>
                  </a:lnTo>
                  <a:lnTo>
                    <a:pt x="1857" y="7940"/>
                  </a:lnTo>
                  <a:lnTo>
                    <a:pt x="1860" y="7942"/>
                  </a:lnTo>
                  <a:lnTo>
                    <a:pt x="1863" y="7944"/>
                  </a:lnTo>
                  <a:lnTo>
                    <a:pt x="1867" y="7951"/>
                  </a:lnTo>
                  <a:lnTo>
                    <a:pt x="1872" y="7956"/>
                  </a:lnTo>
                  <a:lnTo>
                    <a:pt x="1905" y="7984"/>
                  </a:lnTo>
                  <a:lnTo>
                    <a:pt x="1915" y="7995"/>
                  </a:lnTo>
                  <a:lnTo>
                    <a:pt x="1926" y="8011"/>
                  </a:lnTo>
                  <a:lnTo>
                    <a:pt x="1944" y="8029"/>
                  </a:lnTo>
                  <a:lnTo>
                    <a:pt x="1951" y="8039"/>
                  </a:lnTo>
                  <a:lnTo>
                    <a:pt x="1954" y="8041"/>
                  </a:lnTo>
                  <a:lnTo>
                    <a:pt x="1960" y="8044"/>
                  </a:lnTo>
                  <a:lnTo>
                    <a:pt x="1963" y="8046"/>
                  </a:lnTo>
                  <a:lnTo>
                    <a:pt x="1964" y="8048"/>
                  </a:lnTo>
                  <a:lnTo>
                    <a:pt x="1965" y="8052"/>
                  </a:lnTo>
                  <a:lnTo>
                    <a:pt x="1966" y="8055"/>
                  </a:lnTo>
                  <a:lnTo>
                    <a:pt x="1967" y="8056"/>
                  </a:lnTo>
                  <a:lnTo>
                    <a:pt x="1970" y="8057"/>
                  </a:lnTo>
                  <a:lnTo>
                    <a:pt x="1973" y="8061"/>
                  </a:lnTo>
                  <a:lnTo>
                    <a:pt x="1987" y="8068"/>
                  </a:lnTo>
                  <a:lnTo>
                    <a:pt x="1991" y="8072"/>
                  </a:lnTo>
                  <a:lnTo>
                    <a:pt x="1993" y="8076"/>
                  </a:lnTo>
                  <a:lnTo>
                    <a:pt x="1995" y="8082"/>
                  </a:lnTo>
                  <a:lnTo>
                    <a:pt x="1998" y="8087"/>
                  </a:lnTo>
                  <a:lnTo>
                    <a:pt x="2001" y="8091"/>
                  </a:lnTo>
                  <a:lnTo>
                    <a:pt x="2006" y="8094"/>
                  </a:lnTo>
                  <a:lnTo>
                    <a:pt x="2010" y="8095"/>
                  </a:lnTo>
                  <a:lnTo>
                    <a:pt x="2010" y="8095"/>
                  </a:lnTo>
                  <a:lnTo>
                    <a:pt x="2011" y="8091"/>
                  </a:lnTo>
                  <a:lnTo>
                    <a:pt x="2021" y="8063"/>
                  </a:lnTo>
                  <a:lnTo>
                    <a:pt x="2023" y="8059"/>
                  </a:lnTo>
                  <a:lnTo>
                    <a:pt x="2027" y="8057"/>
                  </a:lnTo>
                  <a:lnTo>
                    <a:pt x="2038" y="8054"/>
                  </a:lnTo>
                  <a:lnTo>
                    <a:pt x="2049" y="8054"/>
                  </a:lnTo>
                  <a:lnTo>
                    <a:pt x="2088" y="8069"/>
                  </a:lnTo>
                  <a:lnTo>
                    <a:pt x="2095" y="8069"/>
                  </a:lnTo>
                  <a:lnTo>
                    <a:pt x="2099" y="8068"/>
                  </a:lnTo>
                  <a:lnTo>
                    <a:pt x="2109" y="8063"/>
                  </a:lnTo>
                  <a:lnTo>
                    <a:pt x="2115" y="8062"/>
                  </a:lnTo>
                  <a:lnTo>
                    <a:pt x="2120" y="8064"/>
                  </a:lnTo>
                  <a:lnTo>
                    <a:pt x="2121" y="8066"/>
                  </a:lnTo>
                  <a:lnTo>
                    <a:pt x="2129" y="8072"/>
                  </a:lnTo>
                  <a:lnTo>
                    <a:pt x="2146" y="8077"/>
                  </a:lnTo>
                  <a:lnTo>
                    <a:pt x="2151" y="8080"/>
                  </a:lnTo>
                  <a:lnTo>
                    <a:pt x="2173" y="8098"/>
                  </a:lnTo>
                  <a:lnTo>
                    <a:pt x="2178" y="8099"/>
                  </a:lnTo>
                  <a:lnTo>
                    <a:pt x="2194" y="8097"/>
                  </a:lnTo>
                  <a:lnTo>
                    <a:pt x="2199" y="8098"/>
                  </a:lnTo>
                  <a:lnTo>
                    <a:pt x="2204" y="8101"/>
                  </a:lnTo>
                  <a:lnTo>
                    <a:pt x="2209" y="8104"/>
                  </a:lnTo>
                  <a:lnTo>
                    <a:pt x="2215" y="8107"/>
                  </a:lnTo>
                  <a:lnTo>
                    <a:pt x="2226" y="8105"/>
                  </a:lnTo>
                  <a:lnTo>
                    <a:pt x="2231" y="8106"/>
                  </a:lnTo>
                  <a:lnTo>
                    <a:pt x="2232" y="8109"/>
                  </a:lnTo>
                  <a:lnTo>
                    <a:pt x="2235" y="8114"/>
                  </a:lnTo>
                  <a:lnTo>
                    <a:pt x="2236" y="8116"/>
                  </a:lnTo>
                  <a:lnTo>
                    <a:pt x="2238" y="8118"/>
                  </a:lnTo>
                  <a:lnTo>
                    <a:pt x="2247" y="8120"/>
                  </a:lnTo>
                  <a:lnTo>
                    <a:pt x="2251" y="8123"/>
                  </a:lnTo>
                  <a:lnTo>
                    <a:pt x="2258" y="8130"/>
                  </a:lnTo>
                  <a:lnTo>
                    <a:pt x="2262" y="8132"/>
                  </a:lnTo>
                  <a:lnTo>
                    <a:pt x="2268" y="8133"/>
                  </a:lnTo>
                  <a:lnTo>
                    <a:pt x="2280" y="8131"/>
                  </a:lnTo>
                  <a:lnTo>
                    <a:pt x="2285" y="8132"/>
                  </a:lnTo>
                  <a:lnTo>
                    <a:pt x="2296" y="8135"/>
                  </a:lnTo>
                  <a:lnTo>
                    <a:pt x="2301" y="8136"/>
                  </a:lnTo>
                  <a:lnTo>
                    <a:pt x="2312" y="8134"/>
                  </a:lnTo>
                  <a:lnTo>
                    <a:pt x="2317" y="8135"/>
                  </a:lnTo>
                  <a:lnTo>
                    <a:pt x="2321" y="8136"/>
                  </a:lnTo>
                  <a:lnTo>
                    <a:pt x="2326" y="8138"/>
                  </a:lnTo>
                  <a:lnTo>
                    <a:pt x="2331" y="8140"/>
                  </a:lnTo>
                  <a:lnTo>
                    <a:pt x="2335" y="8140"/>
                  </a:lnTo>
                  <a:lnTo>
                    <a:pt x="2335" y="1515"/>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36" name="Freeform 70">
              <a:extLst>
                <a:ext uri="{FF2B5EF4-FFF2-40B4-BE49-F238E27FC236}">
                  <a16:creationId xmlns:a16="http://schemas.microsoft.com/office/drawing/2014/main" id="{2BE515A6-CF44-4BA4-B6D1-87BB2C37E203}"/>
                </a:ext>
              </a:extLst>
            </p:cNvPr>
            <p:cNvSpPr>
              <a:spLocks/>
            </p:cNvSpPr>
            <p:nvPr/>
          </p:nvSpPr>
          <p:spPr bwMode="gray">
            <a:xfrm>
              <a:off x="11409575" y="668477"/>
              <a:ext cx="42381" cy="18698"/>
            </a:xfrm>
            <a:custGeom>
              <a:avLst/>
              <a:gdLst>
                <a:gd name="T0" fmla="*/ 8 w 68"/>
                <a:gd name="T1" fmla="*/ 24 h 30"/>
                <a:gd name="T2" fmla="*/ 64 w 68"/>
                <a:gd name="T3" fmla="*/ 30 h 30"/>
                <a:gd name="T4" fmla="*/ 68 w 68"/>
                <a:gd name="T5" fmla="*/ 25 h 30"/>
                <a:gd name="T6" fmla="*/ 38 w 68"/>
                <a:gd name="T7" fmla="*/ 0 h 30"/>
                <a:gd name="T8" fmla="*/ 23 w 68"/>
                <a:gd name="T9" fmla="*/ 1 h 30"/>
                <a:gd name="T10" fmla="*/ 8 w 68"/>
                <a:gd name="T11" fmla="*/ 6 h 30"/>
                <a:gd name="T12" fmla="*/ 3 w 68"/>
                <a:gd name="T13" fmla="*/ 9 h 30"/>
                <a:gd name="T14" fmla="*/ 1 w 68"/>
                <a:gd name="T15" fmla="*/ 12 h 30"/>
                <a:gd name="T16" fmla="*/ 0 w 68"/>
                <a:gd name="T17" fmla="*/ 17 h 30"/>
                <a:gd name="T18" fmla="*/ 1 w 68"/>
                <a:gd name="T19" fmla="*/ 20 h 30"/>
                <a:gd name="T20" fmla="*/ 8 w 68"/>
                <a:gd name="T21"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30">
                  <a:moveTo>
                    <a:pt x="8" y="24"/>
                  </a:moveTo>
                  <a:lnTo>
                    <a:pt x="64" y="30"/>
                  </a:lnTo>
                  <a:lnTo>
                    <a:pt x="68" y="25"/>
                  </a:lnTo>
                  <a:lnTo>
                    <a:pt x="38" y="0"/>
                  </a:lnTo>
                  <a:lnTo>
                    <a:pt x="23" y="1"/>
                  </a:lnTo>
                  <a:lnTo>
                    <a:pt x="8" y="6"/>
                  </a:lnTo>
                  <a:lnTo>
                    <a:pt x="3" y="9"/>
                  </a:lnTo>
                  <a:lnTo>
                    <a:pt x="1" y="12"/>
                  </a:lnTo>
                  <a:lnTo>
                    <a:pt x="0" y="17"/>
                  </a:lnTo>
                  <a:lnTo>
                    <a:pt x="1" y="20"/>
                  </a:lnTo>
                  <a:lnTo>
                    <a:pt x="8" y="24"/>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37" name="Freeform 71">
              <a:extLst>
                <a:ext uri="{FF2B5EF4-FFF2-40B4-BE49-F238E27FC236}">
                  <a16:creationId xmlns:a16="http://schemas.microsoft.com/office/drawing/2014/main" id="{4287A8C1-950A-4561-89D5-40B1C35582AF}"/>
                </a:ext>
              </a:extLst>
            </p:cNvPr>
            <p:cNvSpPr>
              <a:spLocks/>
            </p:cNvSpPr>
            <p:nvPr/>
          </p:nvSpPr>
          <p:spPr bwMode="gray">
            <a:xfrm>
              <a:off x="10872951" y="2739558"/>
              <a:ext cx="8103" cy="14335"/>
            </a:xfrm>
            <a:custGeom>
              <a:avLst/>
              <a:gdLst>
                <a:gd name="T0" fmla="*/ 7 w 13"/>
                <a:gd name="T1" fmla="*/ 23 h 23"/>
                <a:gd name="T2" fmla="*/ 13 w 13"/>
                <a:gd name="T3" fmla="*/ 15 h 23"/>
                <a:gd name="T4" fmla="*/ 12 w 13"/>
                <a:gd name="T5" fmla="*/ 10 h 23"/>
                <a:gd name="T6" fmla="*/ 11 w 13"/>
                <a:gd name="T7" fmla="*/ 6 h 23"/>
                <a:gd name="T8" fmla="*/ 10 w 13"/>
                <a:gd name="T9" fmla="*/ 3 h 23"/>
                <a:gd name="T10" fmla="*/ 8 w 13"/>
                <a:gd name="T11" fmla="*/ 1 h 23"/>
                <a:gd name="T12" fmla="*/ 6 w 13"/>
                <a:gd name="T13" fmla="*/ 0 h 23"/>
                <a:gd name="T14" fmla="*/ 4 w 13"/>
                <a:gd name="T15" fmla="*/ 2 h 23"/>
                <a:gd name="T16" fmla="*/ 1 w 13"/>
                <a:gd name="T17" fmla="*/ 6 h 23"/>
                <a:gd name="T18" fmla="*/ 0 w 13"/>
                <a:gd name="T19" fmla="*/ 12 h 23"/>
                <a:gd name="T20" fmla="*/ 1 w 13"/>
                <a:gd name="T21" fmla="*/ 17 h 23"/>
                <a:gd name="T22" fmla="*/ 4 w 13"/>
                <a:gd name="T23" fmla="*/ 22 h 23"/>
                <a:gd name="T24" fmla="*/ 7 w 13"/>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23">
                  <a:moveTo>
                    <a:pt x="7" y="23"/>
                  </a:moveTo>
                  <a:lnTo>
                    <a:pt x="13" y="15"/>
                  </a:lnTo>
                  <a:lnTo>
                    <a:pt x="12" y="10"/>
                  </a:lnTo>
                  <a:lnTo>
                    <a:pt x="11" y="6"/>
                  </a:lnTo>
                  <a:lnTo>
                    <a:pt x="10" y="3"/>
                  </a:lnTo>
                  <a:lnTo>
                    <a:pt x="8" y="1"/>
                  </a:lnTo>
                  <a:lnTo>
                    <a:pt x="6" y="0"/>
                  </a:lnTo>
                  <a:lnTo>
                    <a:pt x="4" y="2"/>
                  </a:lnTo>
                  <a:lnTo>
                    <a:pt x="1" y="6"/>
                  </a:lnTo>
                  <a:lnTo>
                    <a:pt x="0" y="12"/>
                  </a:lnTo>
                  <a:lnTo>
                    <a:pt x="1" y="17"/>
                  </a:lnTo>
                  <a:lnTo>
                    <a:pt x="4" y="22"/>
                  </a:lnTo>
                  <a:lnTo>
                    <a:pt x="7" y="23"/>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38" name="Freeform 72">
              <a:extLst>
                <a:ext uri="{FF2B5EF4-FFF2-40B4-BE49-F238E27FC236}">
                  <a16:creationId xmlns:a16="http://schemas.microsoft.com/office/drawing/2014/main" id="{AE1DE296-45E0-4FC4-B627-1F9A961843E5}"/>
                </a:ext>
              </a:extLst>
            </p:cNvPr>
            <p:cNvSpPr>
              <a:spLocks/>
            </p:cNvSpPr>
            <p:nvPr/>
          </p:nvSpPr>
          <p:spPr bwMode="gray">
            <a:xfrm>
              <a:off x="10714020" y="2849252"/>
              <a:ext cx="8103" cy="16828"/>
            </a:xfrm>
            <a:custGeom>
              <a:avLst/>
              <a:gdLst>
                <a:gd name="T0" fmla="*/ 12 w 13"/>
                <a:gd name="T1" fmla="*/ 18 h 27"/>
                <a:gd name="T2" fmla="*/ 11 w 13"/>
                <a:gd name="T3" fmla="*/ 16 h 27"/>
                <a:gd name="T4" fmla="*/ 9 w 13"/>
                <a:gd name="T5" fmla="*/ 13 h 27"/>
                <a:gd name="T6" fmla="*/ 8 w 13"/>
                <a:gd name="T7" fmla="*/ 10 h 27"/>
                <a:gd name="T8" fmla="*/ 6 w 13"/>
                <a:gd name="T9" fmla="*/ 7 h 27"/>
                <a:gd name="T10" fmla="*/ 5 w 13"/>
                <a:gd name="T11" fmla="*/ 3 h 27"/>
                <a:gd name="T12" fmla="*/ 3 w 13"/>
                <a:gd name="T13" fmla="*/ 0 h 27"/>
                <a:gd name="T14" fmla="*/ 0 w 13"/>
                <a:gd name="T15" fmla="*/ 0 h 27"/>
                <a:gd name="T16" fmla="*/ 0 w 13"/>
                <a:gd name="T17" fmla="*/ 2 h 27"/>
                <a:gd name="T18" fmla="*/ 2 w 13"/>
                <a:gd name="T19" fmla="*/ 13 h 27"/>
                <a:gd name="T20" fmla="*/ 3 w 13"/>
                <a:gd name="T21" fmla="*/ 16 h 27"/>
                <a:gd name="T22" fmla="*/ 3 w 13"/>
                <a:gd name="T23" fmla="*/ 18 h 27"/>
                <a:gd name="T24" fmla="*/ 5 w 13"/>
                <a:gd name="T25" fmla="*/ 23 h 27"/>
                <a:gd name="T26" fmla="*/ 6 w 13"/>
                <a:gd name="T27" fmla="*/ 26 h 27"/>
                <a:gd name="T28" fmla="*/ 8 w 13"/>
                <a:gd name="T29" fmla="*/ 27 h 27"/>
                <a:gd name="T30" fmla="*/ 10 w 13"/>
                <a:gd name="T31" fmla="*/ 27 h 27"/>
                <a:gd name="T32" fmla="*/ 12 w 13"/>
                <a:gd name="T33" fmla="*/ 26 h 27"/>
                <a:gd name="T34" fmla="*/ 13 w 13"/>
                <a:gd name="T35" fmla="*/ 23 h 27"/>
                <a:gd name="T36" fmla="*/ 12 w 13"/>
                <a:gd name="T37" fmla="*/ 19 h 27"/>
                <a:gd name="T38" fmla="*/ 12 w 13"/>
                <a:gd name="T39" fmla="*/ 1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27">
                  <a:moveTo>
                    <a:pt x="12" y="18"/>
                  </a:moveTo>
                  <a:lnTo>
                    <a:pt x="11" y="16"/>
                  </a:lnTo>
                  <a:lnTo>
                    <a:pt x="9" y="13"/>
                  </a:lnTo>
                  <a:lnTo>
                    <a:pt x="8" y="10"/>
                  </a:lnTo>
                  <a:lnTo>
                    <a:pt x="6" y="7"/>
                  </a:lnTo>
                  <a:lnTo>
                    <a:pt x="5" y="3"/>
                  </a:lnTo>
                  <a:lnTo>
                    <a:pt x="3" y="0"/>
                  </a:lnTo>
                  <a:lnTo>
                    <a:pt x="0" y="0"/>
                  </a:lnTo>
                  <a:lnTo>
                    <a:pt x="0" y="2"/>
                  </a:lnTo>
                  <a:lnTo>
                    <a:pt x="2" y="13"/>
                  </a:lnTo>
                  <a:lnTo>
                    <a:pt x="3" y="16"/>
                  </a:lnTo>
                  <a:lnTo>
                    <a:pt x="3" y="18"/>
                  </a:lnTo>
                  <a:lnTo>
                    <a:pt x="5" y="23"/>
                  </a:lnTo>
                  <a:lnTo>
                    <a:pt x="6" y="26"/>
                  </a:lnTo>
                  <a:lnTo>
                    <a:pt x="8" y="27"/>
                  </a:lnTo>
                  <a:lnTo>
                    <a:pt x="10" y="27"/>
                  </a:lnTo>
                  <a:lnTo>
                    <a:pt x="12" y="26"/>
                  </a:lnTo>
                  <a:lnTo>
                    <a:pt x="13" y="23"/>
                  </a:lnTo>
                  <a:lnTo>
                    <a:pt x="12" y="19"/>
                  </a:lnTo>
                  <a:lnTo>
                    <a:pt x="12" y="18"/>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39" name="Freeform 73">
              <a:extLst>
                <a:ext uri="{FF2B5EF4-FFF2-40B4-BE49-F238E27FC236}">
                  <a16:creationId xmlns:a16="http://schemas.microsoft.com/office/drawing/2014/main" id="{BD48D0A6-B609-4084-9DA2-F8E6D0BF6285}"/>
                </a:ext>
              </a:extLst>
            </p:cNvPr>
            <p:cNvSpPr>
              <a:spLocks/>
            </p:cNvSpPr>
            <p:nvPr/>
          </p:nvSpPr>
          <p:spPr bwMode="gray">
            <a:xfrm>
              <a:off x="11987957" y="1861390"/>
              <a:ext cx="62949" cy="36149"/>
            </a:xfrm>
            <a:custGeom>
              <a:avLst/>
              <a:gdLst>
                <a:gd name="T0" fmla="*/ 5 w 101"/>
                <a:gd name="T1" fmla="*/ 8 h 58"/>
                <a:gd name="T2" fmla="*/ 1 w 101"/>
                <a:gd name="T3" fmla="*/ 11 h 58"/>
                <a:gd name="T4" fmla="*/ 0 w 101"/>
                <a:gd name="T5" fmla="*/ 15 h 58"/>
                <a:gd name="T6" fmla="*/ 3 w 101"/>
                <a:gd name="T7" fmla="*/ 14 h 58"/>
                <a:gd name="T8" fmla="*/ 5 w 101"/>
                <a:gd name="T9" fmla="*/ 13 h 58"/>
                <a:gd name="T10" fmla="*/ 8 w 101"/>
                <a:gd name="T11" fmla="*/ 13 h 58"/>
                <a:gd name="T12" fmla="*/ 15 w 101"/>
                <a:gd name="T13" fmla="*/ 20 h 58"/>
                <a:gd name="T14" fmla="*/ 18 w 101"/>
                <a:gd name="T15" fmla="*/ 21 h 58"/>
                <a:gd name="T16" fmla="*/ 31 w 101"/>
                <a:gd name="T17" fmla="*/ 23 h 58"/>
                <a:gd name="T18" fmla="*/ 37 w 101"/>
                <a:gd name="T19" fmla="*/ 25 h 58"/>
                <a:gd name="T20" fmla="*/ 39 w 101"/>
                <a:gd name="T21" fmla="*/ 27 h 58"/>
                <a:gd name="T22" fmla="*/ 46 w 101"/>
                <a:gd name="T23" fmla="*/ 33 h 58"/>
                <a:gd name="T24" fmla="*/ 49 w 101"/>
                <a:gd name="T25" fmla="*/ 39 h 58"/>
                <a:gd name="T26" fmla="*/ 51 w 101"/>
                <a:gd name="T27" fmla="*/ 47 h 58"/>
                <a:gd name="T28" fmla="*/ 59 w 101"/>
                <a:gd name="T29" fmla="*/ 54 h 58"/>
                <a:gd name="T30" fmla="*/ 81 w 101"/>
                <a:gd name="T31" fmla="*/ 54 h 58"/>
                <a:gd name="T32" fmla="*/ 97 w 101"/>
                <a:gd name="T33" fmla="*/ 58 h 58"/>
                <a:gd name="T34" fmla="*/ 101 w 101"/>
                <a:gd name="T35" fmla="*/ 56 h 58"/>
                <a:gd name="T36" fmla="*/ 101 w 101"/>
                <a:gd name="T37" fmla="*/ 54 h 58"/>
                <a:gd name="T38" fmla="*/ 101 w 101"/>
                <a:gd name="T39" fmla="*/ 53 h 58"/>
                <a:gd name="T40" fmla="*/ 100 w 101"/>
                <a:gd name="T41" fmla="*/ 51 h 58"/>
                <a:gd name="T42" fmla="*/ 99 w 101"/>
                <a:gd name="T43" fmla="*/ 48 h 58"/>
                <a:gd name="T44" fmla="*/ 99 w 101"/>
                <a:gd name="T45" fmla="*/ 44 h 58"/>
                <a:gd name="T46" fmla="*/ 96 w 101"/>
                <a:gd name="T47" fmla="*/ 40 h 58"/>
                <a:gd name="T48" fmla="*/ 91 w 101"/>
                <a:gd name="T49" fmla="*/ 37 h 58"/>
                <a:gd name="T50" fmla="*/ 84 w 101"/>
                <a:gd name="T51" fmla="*/ 37 h 58"/>
                <a:gd name="T52" fmla="*/ 76 w 101"/>
                <a:gd name="T53" fmla="*/ 31 h 58"/>
                <a:gd name="T54" fmla="*/ 71 w 101"/>
                <a:gd name="T55" fmla="*/ 24 h 58"/>
                <a:gd name="T56" fmla="*/ 70 w 101"/>
                <a:gd name="T57" fmla="*/ 15 h 58"/>
                <a:gd name="T58" fmla="*/ 68 w 101"/>
                <a:gd name="T59" fmla="*/ 12 h 58"/>
                <a:gd name="T60" fmla="*/ 64 w 101"/>
                <a:gd name="T61" fmla="*/ 7 h 58"/>
                <a:gd name="T62" fmla="*/ 58 w 101"/>
                <a:gd name="T63" fmla="*/ 4 h 58"/>
                <a:gd name="T64" fmla="*/ 52 w 101"/>
                <a:gd name="T65" fmla="*/ 4 h 58"/>
                <a:gd name="T66" fmla="*/ 41 w 101"/>
                <a:gd name="T67" fmla="*/ 7 h 58"/>
                <a:gd name="T68" fmla="*/ 35 w 101"/>
                <a:gd name="T69" fmla="*/ 7 h 58"/>
                <a:gd name="T70" fmla="*/ 31 w 101"/>
                <a:gd name="T71" fmla="*/ 4 h 58"/>
                <a:gd name="T72" fmla="*/ 28 w 101"/>
                <a:gd name="T73" fmla="*/ 1 h 58"/>
                <a:gd name="T74" fmla="*/ 25 w 101"/>
                <a:gd name="T75" fmla="*/ 0 h 58"/>
                <a:gd name="T76" fmla="*/ 13 w 101"/>
                <a:gd name="T77" fmla="*/ 3 h 58"/>
                <a:gd name="T78" fmla="*/ 5 w 101"/>
                <a:gd name="T7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1" h="58">
                  <a:moveTo>
                    <a:pt x="5" y="8"/>
                  </a:moveTo>
                  <a:lnTo>
                    <a:pt x="1" y="11"/>
                  </a:lnTo>
                  <a:lnTo>
                    <a:pt x="0" y="15"/>
                  </a:lnTo>
                  <a:lnTo>
                    <a:pt x="3" y="14"/>
                  </a:lnTo>
                  <a:lnTo>
                    <a:pt x="5" y="13"/>
                  </a:lnTo>
                  <a:lnTo>
                    <a:pt x="8" y="13"/>
                  </a:lnTo>
                  <a:lnTo>
                    <a:pt x="15" y="20"/>
                  </a:lnTo>
                  <a:lnTo>
                    <a:pt x="18" y="21"/>
                  </a:lnTo>
                  <a:lnTo>
                    <a:pt x="31" y="23"/>
                  </a:lnTo>
                  <a:lnTo>
                    <a:pt x="37" y="25"/>
                  </a:lnTo>
                  <a:lnTo>
                    <a:pt x="39" y="27"/>
                  </a:lnTo>
                  <a:lnTo>
                    <a:pt x="46" y="33"/>
                  </a:lnTo>
                  <a:lnTo>
                    <a:pt x="49" y="39"/>
                  </a:lnTo>
                  <a:lnTo>
                    <a:pt x="51" y="47"/>
                  </a:lnTo>
                  <a:lnTo>
                    <a:pt x="59" y="54"/>
                  </a:lnTo>
                  <a:lnTo>
                    <a:pt x="81" y="54"/>
                  </a:lnTo>
                  <a:lnTo>
                    <a:pt x="97" y="58"/>
                  </a:lnTo>
                  <a:lnTo>
                    <a:pt x="101" y="56"/>
                  </a:lnTo>
                  <a:lnTo>
                    <a:pt x="101" y="54"/>
                  </a:lnTo>
                  <a:lnTo>
                    <a:pt x="101" y="53"/>
                  </a:lnTo>
                  <a:lnTo>
                    <a:pt x="100" y="51"/>
                  </a:lnTo>
                  <a:lnTo>
                    <a:pt x="99" y="48"/>
                  </a:lnTo>
                  <a:lnTo>
                    <a:pt x="99" y="44"/>
                  </a:lnTo>
                  <a:lnTo>
                    <a:pt x="96" y="40"/>
                  </a:lnTo>
                  <a:lnTo>
                    <a:pt x="91" y="37"/>
                  </a:lnTo>
                  <a:lnTo>
                    <a:pt x="84" y="37"/>
                  </a:lnTo>
                  <a:lnTo>
                    <a:pt x="76" y="31"/>
                  </a:lnTo>
                  <a:lnTo>
                    <a:pt x="71" y="24"/>
                  </a:lnTo>
                  <a:lnTo>
                    <a:pt x="70" y="15"/>
                  </a:lnTo>
                  <a:lnTo>
                    <a:pt x="68" y="12"/>
                  </a:lnTo>
                  <a:lnTo>
                    <a:pt x="64" y="7"/>
                  </a:lnTo>
                  <a:lnTo>
                    <a:pt x="58" y="4"/>
                  </a:lnTo>
                  <a:lnTo>
                    <a:pt x="52" y="4"/>
                  </a:lnTo>
                  <a:lnTo>
                    <a:pt x="41" y="7"/>
                  </a:lnTo>
                  <a:lnTo>
                    <a:pt x="35" y="7"/>
                  </a:lnTo>
                  <a:lnTo>
                    <a:pt x="31" y="4"/>
                  </a:lnTo>
                  <a:lnTo>
                    <a:pt x="28" y="1"/>
                  </a:lnTo>
                  <a:lnTo>
                    <a:pt x="25" y="0"/>
                  </a:lnTo>
                  <a:lnTo>
                    <a:pt x="13" y="3"/>
                  </a:lnTo>
                  <a:lnTo>
                    <a:pt x="5" y="8"/>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40" name="Freeform 74">
              <a:extLst>
                <a:ext uri="{FF2B5EF4-FFF2-40B4-BE49-F238E27FC236}">
                  <a16:creationId xmlns:a16="http://schemas.microsoft.com/office/drawing/2014/main" id="{A920BFD5-10B8-45A5-8504-A550E26F1D67}"/>
                </a:ext>
              </a:extLst>
            </p:cNvPr>
            <p:cNvSpPr>
              <a:spLocks/>
            </p:cNvSpPr>
            <p:nvPr/>
          </p:nvSpPr>
          <p:spPr bwMode="gray">
            <a:xfrm>
              <a:off x="11247528" y="1274906"/>
              <a:ext cx="6856" cy="9972"/>
            </a:xfrm>
            <a:custGeom>
              <a:avLst/>
              <a:gdLst>
                <a:gd name="T0" fmla="*/ 5 w 11"/>
                <a:gd name="T1" fmla="*/ 1 h 16"/>
                <a:gd name="T2" fmla="*/ 3 w 11"/>
                <a:gd name="T3" fmla="*/ 0 h 16"/>
                <a:gd name="T4" fmla="*/ 0 w 11"/>
                <a:gd name="T5" fmla="*/ 1 h 16"/>
                <a:gd name="T6" fmla="*/ 0 w 11"/>
                <a:gd name="T7" fmla="*/ 5 h 16"/>
                <a:gd name="T8" fmla="*/ 1 w 11"/>
                <a:gd name="T9" fmla="*/ 9 h 16"/>
                <a:gd name="T10" fmla="*/ 3 w 11"/>
                <a:gd name="T11" fmla="*/ 10 h 16"/>
                <a:gd name="T12" fmla="*/ 4 w 11"/>
                <a:gd name="T13" fmla="*/ 11 h 16"/>
                <a:gd name="T14" fmla="*/ 9 w 11"/>
                <a:gd name="T15" fmla="*/ 16 h 16"/>
                <a:gd name="T16" fmla="*/ 11 w 11"/>
                <a:gd name="T17" fmla="*/ 13 h 16"/>
                <a:gd name="T18" fmla="*/ 11 w 11"/>
                <a:gd name="T19" fmla="*/ 7 h 16"/>
                <a:gd name="T20" fmla="*/ 7 w 11"/>
                <a:gd name="T21" fmla="*/ 3 h 16"/>
                <a:gd name="T22" fmla="*/ 5 w 11"/>
                <a:gd name="T23"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6">
                  <a:moveTo>
                    <a:pt x="5" y="1"/>
                  </a:moveTo>
                  <a:lnTo>
                    <a:pt x="3" y="0"/>
                  </a:lnTo>
                  <a:lnTo>
                    <a:pt x="0" y="1"/>
                  </a:lnTo>
                  <a:lnTo>
                    <a:pt x="0" y="5"/>
                  </a:lnTo>
                  <a:lnTo>
                    <a:pt x="1" y="9"/>
                  </a:lnTo>
                  <a:lnTo>
                    <a:pt x="3" y="10"/>
                  </a:lnTo>
                  <a:lnTo>
                    <a:pt x="4" y="11"/>
                  </a:lnTo>
                  <a:lnTo>
                    <a:pt x="9" y="16"/>
                  </a:lnTo>
                  <a:lnTo>
                    <a:pt x="11" y="13"/>
                  </a:lnTo>
                  <a:lnTo>
                    <a:pt x="11" y="7"/>
                  </a:lnTo>
                  <a:lnTo>
                    <a:pt x="7" y="3"/>
                  </a:lnTo>
                  <a:lnTo>
                    <a:pt x="5" y="1"/>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41" name="Freeform 75">
              <a:extLst>
                <a:ext uri="{FF2B5EF4-FFF2-40B4-BE49-F238E27FC236}">
                  <a16:creationId xmlns:a16="http://schemas.microsoft.com/office/drawing/2014/main" id="{2B2E66C4-46F9-4DAA-B558-94ABF1C37DF7}"/>
                </a:ext>
              </a:extLst>
            </p:cNvPr>
            <p:cNvSpPr>
              <a:spLocks/>
            </p:cNvSpPr>
            <p:nvPr/>
          </p:nvSpPr>
          <p:spPr bwMode="gray">
            <a:xfrm>
              <a:off x="11999798" y="1855781"/>
              <a:ext cx="5610" cy="3740"/>
            </a:xfrm>
            <a:custGeom>
              <a:avLst/>
              <a:gdLst>
                <a:gd name="T0" fmla="*/ 7 w 9"/>
                <a:gd name="T1" fmla="*/ 0 h 6"/>
                <a:gd name="T2" fmla="*/ 1 w 9"/>
                <a:gd name="T3" fmla="*/ 1 h 6"/>
                <a:gd name="T4" fmla="*/ 0 w 9"/>
                <a:gd name="T5" fmla="*/ 6 h 6"/>
                <a:gd name="T6" fmla="*/ 6 w 9"/>
                <a:gd name="T7" fmla="*/ 6 h 6"/>
                <a:gd name="T8" fmla="*/ 9 w 9"/>
                <a:gd name="T9" fmla="*/ 2 h 6"/>
                <a:gd name="T10" fmla="*/ 7 w 9"/>
                <a:gd name="T11" fmla="*/ 0 h 6"/>
              </a:gdLst>
              <a:ahLst/>
              <a:cxnLst>
                <a:cxn ang="0">
                  <a:pos x="T0" y="T1"/>
                </a:cxn>
                <a:cxn ang="0">
                  <a:pos x="T2" y="T3"/>
                </a:cxn>
                <a:cxn ang="0">
                  <a:pos x="T4" y="T5"/>
                </a:cxn>
                <a:cxn ang="0">
                  <a:pos x="T6" y="T7"/>
                </a:cxn>
                <a:cxn ang="0">
                  <a:pos x="T8" y="T9"/>
                </a:cxn>
                <a:cxn ang="0">
                  <a:pos x="T10" y="T11"/>
                </a:cxn>
              </a:cxnLst>
              <a:rect l="0" t="0" r="r" b="b"/>
              <a:pathLst>
                <a:path w="9" h="6">
                  <a:moveTo>
                    <a:pt x="7" y="0"/>
                  </a:moveTo>
                  <a:lnTo>
                    <a:pt x="1" y="1"/>
                  </a:lnTo>
                  <a:lnTo>
                    <a:pt x="0" y="6"/>
                  </a:lnTo>
                  <a:lnTo>
                    <a:pt x="6" y="6"/>
                  </a:lnTo>
                  <a:lnTo>
                    <a:pt x="9" y="2"/>
                  </a:lnTo>
                  <a:lnTo>
                    <a:pt x="7" y="0"/>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42" name="Freeform 76">
              <a:extLst>
                <a:ext uri="{FF2B5EF4-FFF2-40B4-BE49-F238E27FC236}">
                  <a16:creationId xmlns:a16="http://schemas.microsoft.com/office/drawing/2014/main" id="{B694DFF2-D8EC-4E52-8DB8-A49D1D4C0AD5}"/>
                </a:ext>
              </a:extLst>
            </p:cNvPr>
            <p:cNvSpPr>
              <a:spLocks/>
            </p:cNvSpPr>
            <p:nvPr/>
          </p:nvSpPr>
          <p:spPr bwMode="gray">
            <a:xfrm>
              <a:off x="12008524" y="1846432"/>
              <a:ext cx="36772" cy="36149"/>
            </a:xfrm>
            <a:custGeom>
              <a:avLst/>
              <a:gdLst>
                <a:gd name="T0" fmla="*/ 18 w 59"/>
                <a:gd name="T1" fmla="*/ 19 h 58"/>
                <a:gd name="T2" fmla="*/ 23 w 59"/>
                <a:gd name="T3" fmla="*/ 21 h 58"/>
                <a:gd name="T4" fmla="*/ 27 w 59"/>
                <a:gd name="T5" fmla="*/ 24 h 58"/>
                <a:gd name="T6" fmla="*/ 35 w 59"/>
                <a:gd name="T7" fmla="*/ 32 h 58"/>
                <a:gd name="T8" fmla="*/ 40 w 59"/>
                <a:gd name="T9" fmla="*/ 41 h 58"/>
                <a:gd name="T10" fmla="*/ 43 w 59"/>
                <a:gd name="T11" fmla="*/ 50 h 58"/>
                <a:gd name="T12" fmla="*/ 47 w 59"/>
                <a:gd name="T13" fmla="*/ 55 h 58"/>
                <a:gd name="T14" fmla="*/ 53 w 59"/>
                <a:gd name="T15" fmla="*/ 58 h 58"/>
                <a:gd name="T16" fmla="*/ 58 w 59"/>
                <a:gd name="T17" fmla="*/ 58 h 58"/>
                <a:gd name="T18" fmla="*/ 59 w 59"/>
                <a:gd name="T19" fmla="*/ 53 h 58"/>
                <a:gd name="T20" fmla="*/ 59 w 59"/>
                <a:gd name="T21" fmla="*/ 49 h 58"/>
                <a:gd name="T22" fmla="*/ 59 w 59"/>
                <a:gd name="T23" fmla="*/ 45 h 58"/>
                <a:gd name="T24" fmla="*/ 58 w 59"/>
                <a:gd name="T25" fmla="*/ 27 h 58"/>
                <a:gd name="T26" fmla="*/ 57 w 59"/>
                <a:gd name="T27" fmla="*/ 18 h 58"/>
                <a:gd name="T28" fmla="*/ 53 w 59"/>
                <a:gd name="T29" fmla="*/ 10 h 58"/>
                <a:gd name="T30" fmla="*/ 48 w 59"/>
                <a:gd name="T31" fmla="*/ 5 h 58"/>
                <a:gd name="T32" fmla="*/ 30 w 59"/>
                <a:gd name="T33" fmla="*/ 0 h 58"/>
                <a:gd name="T34" fmla="*/ 13 w 59"/>
                <a:gd name="T35" fmla="*/ 1 h 58"/>
                <a:gd name="T36" fmla="*/ 3 w 59"/>
                <a:gd name="T37" fmla="*/ 6 h 58"/>
                <a:gd name="T38" fmla="*/ 0 w 59"/>
                <a:gd name="T39" fmla="*/ 9 h 58"/>
                <a:gd name="T40" fmla="*/ 7 w 59"/>
                <a:gd name="T41" fmla="*/ 10 h 58"/>
                <a:gd name="T42" fmla="*/ 18 w 59"/>
                <a:gd name="T43" fmla="*/ 1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9" h="58">
                  <a:moveTo>
                    <a:pt x="18" y="19"/>
                  </a:moveTo>
                  <a:lnTo>
                    <a:pt x="23" y="21"/>
                  </a:lnTo>
                  <a:lnTo>
                    <a:pt x="27" y="24"/>
                  </a:lnTo>
                  <a:lnTo>
                    <a:pt x="35" y="32"/>
                  </a:lnTo>
                  <a:lnTo>
                    <a:pt x="40" y="41"/>
                  </a:lnTo>
                  <a:lnTo>
                    <a:pt x="43" y="50"/>
                  </a:lnTo>
                  <a:lnTo>
                    <a:pt x="47" y="55"/>
                  </a:lnTo>
                  <a:lnTo>
                    <a:pt x="53" y="58"/>
                  </a:lnTo>
                  <a:lnTo>
                    <a:pt x="58" y="58"/>
                  </a:lnTo>
                  <a:lnTo>
                    <a:pt x="59" y="53"/>
                  </a:lnTo>
                  <a:lnTo>
                    <a:pt x="59" y="49"/>
                  </a:lnTo>
                  <a:lnTo>
                    <a:pt x="59" y="45"/>
                  </a:lnTo>
                  <a:lnTo>
                    <a:pt x="58" y="27"/>
                  </a:lnTo>
                  <a:lnTo>
                    <a:pt x="57" y="18"/>
                  </a:lnTo>
                  <a:lnTo>
                    <a:pt x="53" y="10"/>
                  </a:lnTo>
                  <a:lnTo>
                    <a:pt x="48" y="5"/>
                  </a:lnTo>
                  <a:lnTo>
                    <a:pt x="30" y="0"/>
                  </a:lnTo>
                  <a:lnTo>
                    <a:pt x="13" y="1"/>
                  </a:lnTo>
                  <a:lnTo>
                    <a:pt x="3" y="6"/>
                  </a:lnTo>
                  <a:lnTo>
                    <a:pt x="0" y="9"/>
                  </a:lnTo>
                  <a:lnTo>
                    <a:pt x="7" y="10"/>
                  </a:lnTo>
                  <a:lnTo>
                    <a:pt x="18" y="19"/>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43" name="Freeform 77">
              <a:extLst>
                <a:ext uri="{FF2B5EF4-FFF2-40B4-BE49-F238E27FC236}">
                  <a16:creationId xmlns:a16="http://schemas.microsoft.com/office/drawing/2014/main" id="{D749E19D-4D95-4DAD-B069-6E403A2954BC}"/>
                </a:ext>
              </a:extLst>
            </p:cNvPr>
            <p:cNvSpPr>
              <a:spLocks/>
            </p:cNvSpPr>
            <p:nvPr/>
          </p:nvSpPr>
          <p:spPr bwMode="gray">
            <a:xfrm>
              <a:off x="11599045" y="1783483"/>
              <a:ext cx="13089" cy="8102"/>
            </a:xfrm>
            <a:custGeom>
              <a:avLst/>
              <a:gdLst>
                <a:gd name="T0" fmla="*/ 2 w 21"/>
                <a:gd name="T1" fmla="*/ 12 h 13"/>
                <a:gd name="T2" fmla="*/ 4 w 21"/>
                <a:gd name="T3" fmla="*/ 13 h 13"/>
                <a:gd name="T4" fmla="*/ 10 w 21"/>
                <a:gd name="T5" fmla="*/ 11 h 13"/>
                <a:gd name="T6" fmla="*/ 18 w 21"/>
                <a:gd name="T7" fmla="*/ 10 h 13"/>
                <a:gd name="T8" fmla="*/ 20 w 21"/>
                <a:gd name="T9" fmla="*/ 10 h 13"/>
                <a:gd name="T10" fmla="*/ 21 w 21"/>
                <a:gd name="T11" fmla="*/ 7 h 13"/>
                <a:gd name="T12" fmla="*/ 21 w 21"/>
                <a:gd name="T13" fmla="*/ 3 h 13"/>
                <a:gd name="T14" fmla="*/ 19 w 21"/>
                <a:gd name="T15" fmla="*/ 1 h 13"/>
                <a:gd name="T16" fmla="*/ 18 w 21"/>
                <a:gd name="T17" fmla="*/ 0 h 13"/>
                <a:gd name="T18" fmla="*/ 16 w 21"/>
                <a:gd name="T19" fmla="*/ 0 h 13"/>
                <a:gd name="T20" fmla="*/ 13 w 21"/>
                <a:gd name="T21" fmla="*/ 0 h 13"/>
                <a:gd name="T22" fmla="*/ 11 w 21"/>
                <a:gd name="T23" fmla="*/ 0 h 13"/>
                <a:gd name="T24" fmla="*/ 10 w 21"/>
                <a:gd name="T25" fmla="*/ 0 h 13"/>
                <a:gd name="T26" fmla="*/ 6 w 21"/>
                <a:gd name="T27" fmla="*/ 0 h 13"/>
                <a:gd name="T28" fmla="*/ 1 w 21"/>
                <a:gd name="T29" fmla="*/ 3 h 13"/>
                <a:gd name="T30" fmla="*/ 0 w 21"/>
                <a:gd name="T31" fmla="*/ 5 h 13"/>
                <a:gd name="T32" fmla="*/ 1 w 21"/>
                <a:gd name="T33" fmla="*/ 8 h 13"/>
                <a:gd name="T34" fmla="*/ 1 w 21"/>
                <a:gd name="T35" fmla="*/ 10 h 13"/>
                <a:gd name="T36" fmla="*/ 2 w 21"/>
                <a:gd name="T37"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13">
                  <a:moveTo>
                    <a:pt x="2" y="12"/>
                  </a:moveTo>
                  <a:lnTo>
                    <a:pt x="4" y="13"/>
                  </a:lnTo>
                  <a:lnTo>
                    <a:pt x="10" y="11"/>
                  </a:lnTo>
                  <a:lnTo>
                    <a:pt x="18" y="10"/>
                  </a:lnTo>
                  <a:lnTo>
                    <a:pt x="20" y="10"/>
                  </a:lnTo>
                  <a:lnTo>
                    <a:pt x="21" y="7"/>
                  </a:lnTo>
                  <a:lnTo>
                    <a:pt x="21" y="3"/>
                  </a:lnTo>
                  <a:lnTo>
                    <a:pt x="19" y="1"/>
                  </a:lnTo>
                  <a:lnTo>
                    <a:pt x="18" y="0"/>
                  </a:lnTo>
                  <a:lnTo>
                    <a:pt x="16" y="0"/>
                  </a:lnTo>
                  <a:lnTo>
                    <a:pt x="13" y="0"/>
                  </a:lnTo>
                  <a:lnTo>
                    <a:pt x="11" y="0"/>
                  </a:lnTo>
                  <a:lnTo>
                    <a:pt x="10" y="0"/>
                  </a:lnTo>
                  <a:lnTo>
                    <a:pt x="6" y="0"/>
                  </a:lnTo>
                  <a:lnTo>
                    <a:pt x="1" y="3"/>
                  </a:lnTo>
                  <a:lnTo>
                    <a:pt x="0" y="5"/>
                  </a:lnTo>
                  <a:lnTo>
                    <a:pt x="1" y="8"/>
                  </a:lnTo>
                  <a:lnTo>
                    <a:pt x="1" y="10"/>
                  </a:lnTo>
                  <a:lnTo>
                    <a:pt x="2" y="12"/>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44" name="Freeform 78">
              <a:extLst>
                <a:ext uri="{FF2B5EF4-FFF2-40B4-BE49-F238E27FC236}">
                  <a16:creationId xmlns:a16="http://schemas.microsoft.com/office/drawing/2014/main" id="{4887BB29-B536-424D-8C01-5F77EEC881D5}"/>
                </a:ext>
              </a:extLst>
            </p:cNvPr>
            <p:cNvSpPr>
              <a:spLocks/>
            </p:cNvSpPr>
            <p:nvPr/>
          </p:nvSpPr>
          <p:spPr bwMode="gray">
            <a:xfrm>
              <a:off x="11595305" y="1931818"/>
              <a:ext cx="18698" cy="18698"/>
            </a:xfrm>
            <a:custGeom>
              <a:avLst/>
              <a:gdLst>
                <a:gd name="T0" fmla="*/ 2 w 30"/>
                <a:gd name="T1" fmla="*/ 12 h 30"/>
                <a:gd name="T2" fmla="*/ 7 w 30"/>
                <a:gd name="T3" fmla="*/ 15 h 30"/>
                <a:gd name="T4" fmla="*/ 16 w 30"/>
                <a:gd name="T5" fmla="*/ 27 h 30"/>
                <a:gd name="T6" fmla="*/ 19 w 30"/>
                <a:gd name="T7" fmla="*/ 30 h 30"/>
                <a:gd name="T8" fmla="*/ 24 w 30"/>
                <a:gd name="T9" fmla="*/ 30 h 30"/>
                <a:gd name="T10" fmla="*/ 28 w 30"/>
                <a:gd name="T11" fmla="*/ 26 h 30"/>
                <a:gd name="T12" fmla="*/ 30 w 30"/>
                <a:gd name="T13" fmla="*/ 20 h 30"/>
                <a:gd name="T14" fmla="*/ 28 w 30"/>
                <a:gd name="T15" fmla="*/ 15 h 30"/>
                <a:gd name="T16" fmla="*/ 17 w 30"/>
                <a:gd name="T17" fmla="*/ 7 h 30"/>
                <a:gd name="T18" fmla="*/ 14 w 30"/>
                <a:gd name="T19" fmla="*/ 3 h 30"/>
                <a:gd name="T20" fmla="*/ 10 w 30"/>
                <a:gd name="T21" fmla="*/ 0 h 30"/>
                <a:gd name="T22" fmla="*/ 4 w 30"/>
                <a:gd name="T23" fmla="*/ 1 h 30"/>
                <a:gd name="T24" fmla="*/ 0 w 30"/>
                <a:gd name="T25" fmla="*/ 4 h 30"/>
                <a:gd name="T26" fmla="*/ 0 w 30"/>
                <a:gd name="T27" fmla="*/ 10 h 30"/>
                <a:gd name="T28" fmla="*/ 2 w 30"/>
                <a:gd name="T29"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30">
                  <a:moveTo>
                    <a:pt x="2" y="12"/>
                  </a:moveTo>
                  <a:lnTo>
                    <a:pt x="7" y="15"/>
                  </a:lnTo>
                  <a:lnTo>
                    <a:pt x="16" y="27"/>
                  </a:lnTo>
                  <a:lnTo>
                    <a:pt x="19" y="30"/>
                  </a:lnTo>
                  <a:lnTo>
                    <a:pt x="24" y="30"/>
                  </a:lnTo>
                  <a:lnTo>
                    <a:pt x="28" y="26"/>
                  </a:lnTo>
                  <a:lnTo>
                    <a:pt x="30" y="20"/>
                  </a:lnTo>
                  <a:lnTo>
                    <a:pt x="28" y="15"/>
                  </a:lnTo>
                  <a:lnTo>
                    <a:pt x="17" y="7"/>
                  </a:lnTo>
                  <a:lnTo>
                    <a:pt x="14" y="3"/>
                  </a:lnTo>
                  <a:lnTo>
                    <a:pt x="10" y="0"/>
                  </a:lnTo>
                  <a:lnTo>
                    <a:pt x="4" y="1"/>
                  </a:lnTo>
                  <a:lnTo>
                    <a:pt x="0" y="4"/>
                  </a:lnTo>
                  <a:lnTo>
                    <a:pt x="0" y="10"/>
                  </a:lnTo>
                  <a:lnTo>
                    <a:pt x="2" y="12"/>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45" name="Freeform 79">
              <a:extLst>
                <a:ext uri="{FF2B5EF4-FFF2-40B4-BE49-F238E27FC236}">
                  <a16:creationId xmlns:a16="http://schemas.microsoft.com/office/drawing/2014/main" id="{391B870C-7EEC-451D-8FAE-F8A2ABEC89FA}"/>
                </a:ext>
              </a:extLst>
            </p:cNvPr>
            <p:cNvSpPr>
              <a:spLocks/>
            </p:cNvSpPr>
            <p:nvPr/>
          </p:nvSpPr>
          <p:spPr bwMode="gray">
            <a:xfrm>
              <a:off x="11560403" y="1756060"/>
              <a:ext cx="36149" cy="49237"/>
            </a:xfrm>
            <a:custGeom>
              <a:avLst/>
              <a:gdLst>
                <a:gd name="T0" fmla="*/ 35 w 58"/>
                <a:gd name="T1" fmla="*/ 64 h 79"/>
                <a:gd name="T2" fmla="*/ 36 w 58"/>
                <a:gd name="T3" fmla="*/ 70 h 79"/>
                <a:gd name="T4" fmla="*/ 36 w 58"/>
                <a:gd name="T5" fmla="*/ 75 h 79"/>
                <a:gd name="T6" fmla="*/ 39 w 58"/>
                <a:gd name="T7" fmla="*/ 79 h 79"/>
                <a:gd name="T8" fmla="*/ 42 w 58"/>
                <a:gd name="T9" fmla="*/ 78 h 79"/>
                <a:gd name="T10" fmla="*/ 48 w 58"/>
                <a:gd name="T11" fmla="*/ 73 h 79"/>
                <a:gd name="T12" fmla="*/ 51 w 58"/>
                <a:gd name="T13" fmla="*/ 71 h 79"/>
                <a:gd name="T14" fmla="*/ 53 w 58"/>
                <a:gd name="T15" fmla="*/ 68 h 79"/>
                <a:gd name="T16" fmla="*/ 55 w 58"/>
                <a:gd name="T17" fmla="*/ 65 h 79"/>
                <a:gd name="T18" fmla="*/ 56 w 58"/>
                <a:gd name="T19" fmla="*/ 63 h 79"/>
                <a:gd name="T20" fmla="*/ 58 w 58"/>
                <a:gd name="T21" fmla="*/ 60 h 79"/>
                <a:gd name="T22" fmla="*/ 58 w 58"/>
                <a:gd name="T23" fmla="*/ 53 h 79"/>
                <a:gd name="T24" fmla="*/ 57 w 58"/>
                <a:gd name="T25" fmla="*/ 48 h 79"/>
                <a:gd name="T26" fmla="*/ 54 w 58"/>
                <a:gd name="T27" fmla="*/ 45 h 79"/>
                <a:gd name="T28" fmla="*/ 48 w 58"/>
                <a:gd name="T29" fmla="*/ 42 h 79"/>
                <a:gd name="T30" fmla="*/ 45 w 58"/>
                <a:gd name="T31" fmla="*/ 39 h 79"/>
                <a:gd name="T32" fmla="*/ 44 w 58"/>
                <a:gd name="T33" fmla="*/ 37 h 79"/>
                <a:gd name="T34" fmla="*/ 45 w 58"/>
                <a:gd name="T35" fmla="*/ 34 h 79"/>
                <a:gd name="T36" fmla="*/ 46 w 58"/>
                <a:gd name="T37" fmla="*/ 27 h 79"/>
                <a:gd name="T38" fmla="*/ 47 w 58"/>
                <a:gd name="T39" fmla="*/ 21 h 79"/>
                <a:gd name="T40" fmla="*/ 49 w 58"/>
                <a:gd name="T41" fmla="*/ 24 h 79"/>
                <a:gd name="T42" fmla="*/ 50 w 58"/>
                <a:gd name="T43" fmla="*/ 29 h 79"/>
                <a:gd name="T44" fmla="*/ 50 w 58"/>
                <a:gd name="T45" fmla="*/ 30 h 79"/>
                <a:gd name="T46" fmla="*/ 54 w 58"/>
                <a:gd name="T47" fmla="*/ 39 h 79"/>
                <a:gd name="T48" fmla="*/ 56 w 58"/>
                <a:gd name="T49" fmla="*/ 40 h 79"/>
                <a:gd name="T50" fmla="*/ 58 w 58"/>
                <a:gd name="T51" fmla="*/ 36 h 79"/>
                <a:gd name="T52" fmla="*/ 57 w 58"/>
                <a:gd name="T53" fmla="*/ 34 h 79"/>
                <a:gd name="T54" fmla="*/ 52 w 58"/>
                <a:gd name="T55" fmla="*/ 18 h 79"/>
                <a:gd name="T56" fmla="*/ 50 w 58"/>
                <a:gd name="T57" fmla="*/ 6 h 79"/>
                <a:gd name="T58" fmla="*/ 45 w 58"/>
                <a:gd name="T59" fmla="*/ 2 h 79"/>
                <a:gd name="T60" fmla="*/ 37 w 58"/>
                <a:gd name="T61" fmla="*/ 0 h 79"/>
                <a:gd name="T62" fmla="*/ 29 w 58"/>
                <a:gd name="T63" fmla="*/ 0 h 79"/>
                <a:gd name="T64" fmla="*/ 25 w 58"/>
                <a:gd name="T65" fmla="*/ 1 h 79"/>
                <a:gd name="T66" fmla="*/ 24 w 58"/>
                <a:gd name="T67" fmla="*/ 7 h 79"/>
                <a:gd name="T68" fmla="*/ 16 w 58"/>
                <a:gd name="T69" fmla="*/ 6 h 79"/>
                <a:gd name="T70" fmla="*/ 9 w 58"/>
                <a:gd name="T71" fmla="*/ 8 h 79"/>
                <a:gd name="T72" fmla="*/ 3 w 58"/>
                <a:gd name="T73" fmla="*/ 10 h 79"/>
                <a:gd name="T74" fmla="*/ 0 w 58"/>
                <a:gd name="T75" fmla="*/ 19 h 79"/>
                <a:gd name="T76" fmla="*/ 0 w 58"/>
                <a:gd name="T77" fmla="*/ 29 h 79"/>
                <a:gd name="T78" fmla="*/ 4 w 58"/>
                <a:gd name="T79" fmla="*/ 37 h 79"/>
                <a:gd name="T80" fmla="*/ 10 w 58"/>
                <a:gd name="T81" fmla="*/ 45 h 79"/>
                <a:gd name="T82" fmla="*/ 16 w 58"/>
                <a:gd name="T83" fmla="*/ 50 h 79"/>
                <a:gd name="T84" fmla="*/ 24 w 58"/>
                <a:gd name="T85" fmla="*/ 52 h 79"/>
                <a:gd name="T86" fmla="*/ 29 w 58"/>
                <a:gd name="T87" fmla="*/ 52 h 79"/>
                <a:gd name="T88" fmla="*/ 33 w 58"/>
                <a:gd name="T89" fmla="*/ 54 h 79"/>
                <a:gd name="T90" fmla="*/ 35 w 58"/>
                <a:gd name="T91" fmla="*/ 54 h 79"/>
                <a:gd name="T92" fmla="*/ 35 w 58"/>
                <a:gd name="T93" fmla="*/ 59 h 79"/>
                <a:gd name="T94" fmla="*/ 35 w 58"/>
                <a:gd name="T95" fmla="*/ 6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 h="79">
                  <a:moveTo>
                    <a:pt x="35" y="64"/>
                  </a:moveTo>
                  <a:lnTo>
                    <a:pt x="36" y="70"/>
                  </a:lnTo>
                  <a:lnTo>
                    <a:pt x="36" y="75"/>
                  </a:lnTo>
                  <a:lnTo>
                    <a:pt x="39" y="79"/>
                  </a:lnTo>
                  <a:lnTo>
                    <a:pt x="42" y="78"/>
                  </a:lnTo>
                  <a:lnTo>
                    <a:pt x="48" y="73"/>
                  </a:lnTo>
                  <a:lnTo>
                    <a:pt x="51" y="71"/>
                  </a:lnTo>
                  <a:lnTo>
                    <a:pt x="53" y="68"/>
                  </a:lnTo>
                  <a:lnTo>
                    <a:pt x="55" y="65"/>
                  </a:lnTo>
                  <a:lnTo>
                    <a:pt x="56" y="63"/>
                  </a:lnTo>
                  <a:lnTo>
                    <a:pt x="58" y="60"/>
                  </a:lnTo>
                  <a:lnTo>
                    <a:pt x="58" y="53"/>
                  </a:lnTo>
                  <a:lnTo>
                    <a:pt x="57" y="48"/>
                  </a:lnTo>
                  <a:lnTo>
                    <a:pt x="54" y="45"/>
                  </a:lnTo>
                  <a:lnTo>
                    <a:pt x="48" y="42"/>
                  </a:lnTo>
                  <a:lnTo>
                    <a:pt x="45" y="39"/>
                  </a:lnTo>
                  <a:lnTo>
                    <a:pt x="44" y="37"/>
                  </a:lnTo>
                  <a:lnTo>
                    <a:pt x="45" y="34"/>
                  </a:lnTo>
                  <a:lnTo>
                    <a:pt x="46" y="27"/>
                  </a:lnTo>
                  <a:lnTo>
                    <a:pt x="47" y="21"/>
                  </a:lnTo>
                  <a:lnTo>
                    <a:pt x="49" y="24"/>
                  </a:lnTo>
                  <a:lnTo>
                    <a:pt x="50" y="29"/>
                  </a:lnTo>
                  <a:lnTo>
                    <a:pt x="50" y="30"/>
                  </a:lnTo>
                  <a:lnTo>
                    <a:pt x="54" y="39"/>
                  </a:lnTo>
                  <a:lnTo>
                    <a:pt x="56" y="40"/>
                  </a:lnTo>
                  <a:lnTo>
                    <a:pt x="58" y="36"/>
                  </a:lnTo>
                  <a:lnTo>
                    <a:pt x="57" y="34"/>
                  </a:lnTo>
                  <a:lnTo>
                    <a:pt x="52" y="18"/>
                  </a:lnTo>
                  <a:lnTo>
                    <a:pt x="50" y="6"/>
                  </a:lnTo>
                  <a:lnTo>
                    <a:pt x="45" y="2"/>
                  </a:lnTo>
                  <a:lnTo>
                    <a:pt x="37" y="0"/>
                  </a:lnTo>
                  <a:lnTo>
                    <a:pt x="29" y="0"/>
                  </a:lnTo>
                  <a:lnTo>
                    <a:pt x="25" y="1"/>
                  </a:lnTo>
                  <a:lnTo>
                    <a:pt x="24" y="7"/>
                  </a:lnTo>
                  <a:lnTo>
                    <a:pt x="16" y="6"/>
                  </a:lnTo>
                  <a:lnTo>
                    <a:pt x="9" y="8"/>
                  </a:lnTo>
                  <a:lnTo>
                    <a:pt x="3" y="10"/>
                  </a:lnTo>
                  <a:lnTo>
                    <a:pt x="0" y="19"/>
                  </a:lnTo>
                  <a:lnTo>
                    <a:pt x="0" y="29"/>
                  </a:lnTo>
                  <a:lnTo>
                    <a:pt x="4" y="37"/>
                  </a:lnTo>
                  <a:lnTo>
                    <a:pt x="10" y="45"/>
                  </a:lnTo>
                  <a:lnTo>
                    <a:pt x="16" y="50"/>
                  </a:lnTo>
                  <a:lnTo>
                    <a:pt x="24" y="52"/>
                  </a:lnTo>
                  <a:lnTo>
                    <a:pt x="29" y="52"/>
                  </a:lnTo>
                  <a:lnTo>
                    <a:pt x="33" y="54"/>
                  </a:lnTo>
                  <a:lnTo>
                    <a:pt x="35" y="54"/>
                  </a:lnTo>
                  <a:lnTo>
                    <a:pt x="35" y="59"/>
                  </a:lnTo>
                  <a:lnTo>
                    <a:pt x="35" y="64"/>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46" name="Freeform 80">
              <a:extLst>
                <a:ext uri="{FF2B5EF4-FFF2-40B4-BE49-F238E27FC236}">
                  <a16:creationId xmlns:a16="http://schemas.microsoft.com/office/drawing/2014/main" id="{76783D78-193E-48C7-B9A4-EE3F9F3FB44C}"/>
                </a:ext>
              </a:extLst>
            </p:cNvPr>
            <p:cNvSpPr>
              <a:spLocks/>
            </p:cNvSpPr>
            <p:nvPr/>
          </p:nvSpPr>
          <p:spPr bwMode="gray">
            <a:xfrm>
              <a:off x="11604031" y="1751074"/>
              <a:ext cx="31163" cy="15581"/>
            </a:xfrm>
            <a:custGeom>
              <a:avLst/>
              <a:gdLst>
                <a:gd name="T0" fmla="*/ 19 w 50"/>
                <a:gd name="T1" fmla="*/ 25 h 25"/>
                <a:gd name="T2" fmla="*/ 21 w 50"/>
                <a:gd name="T3" fmla="*/ 25 h 25"/>
                <a:gd name="T4" fmla="*/ 21 w 50"/>
                <a:gd name="T5" fmla="*/ 23 h 25"/>
                <a:gd name="T6" fmla="*/ 24 w 50"/>
                <a:gd name="T7" fmla="*/ 23 h 25"/>
                <a:gd name="T8" fmla="*/ 31 w 50"/>
                <a:gd name="T9" fmla="*/ 21 h 25"/>
                <a:gd name="T10" fmla="*/ 41 w 50"/>
                <a:gd name="T11" fmla="*/ 20 h 25"/>
                <a:gd name="T12" fmla="*/ 47 w 50"/>
                <a:gd name="T13" fmla="*/ 18 h 25"/>
                <a:gd name="T14" fmla="*/ 50 w 50"/>
                <a:gd name="T15" fmla="*/ 14 h 25"/>
                <a:gd name="T16" fmla="*/ 49 w 50"/>
                <a:gd name="T17" fmla="*/ 13 h 25"/>
                <a:gd name="T18" fmla="*/ 42 w 50"/>
                <a:gd name="T19" fmla="*/ 13 h 25"/>
                <a:gd name="T20" fmla="*/ 39 w 50"/>
                <a:gd name="T21" fmla="*/ 14 h 25"/>
                <a:gd name="T22" fmla="*/ 20 w 50"/>
                <a:gd name="T23" fmla="*/ 13 h 25"/>
                <a:gd name="T24" fmla="*/ 18 w 50"/>
                <a:gd name="T25" fmla="*/ 13 h 25"/>
                <a:gd name="T26" fmla="*/ 18 w 50"/>
                <a:gd name="T27" fmla="*/ 12 h 25"/>
                <a:gd name="T28" fmla="*/ 17 w 50"/>
                <a:gd name="T29" fmla="*/ 10 h 25"/>
                <a:gd name="T30" fmla="*/ 15 w 50"/>
                <a:gd name="T31" fmla="*/ 8 h 25"/>
                <a:gd name="T32" fmla="*/ 13 w 50"/>
                <a:gd name="T33" fmla="*/ 6 h 25"/>
                <a:gd name="T34" fmla="*/ 10 w 50"/>
                <a:gd name="T35" fmla="*/ 3 h 25"/>
                <a:gd name="T36" fmla="*/ 8 w 50"/>
                <a:gd name="T37" fmla="*/ 3 h 25"/>
                <a:gd name="T38" fmla="*/ 8 w 50"/>
                <a:gd name="T39" fmla="*/ 3 h 25"/>
                <a:gd name="T40" fmla="*/ 8 w 50"/>
                <a:gd name="T41" fmla="*/ 1 h 25"/>
                <a:gd name="T42" fmla="*/ 8 w 50"/>
                <a:gd name="T43" fmla="*/ 0 h 25"/>
                <a:gd name="T44" fmla="*/ 4 w 50"/>
                <a:gd name="T45" fmla="*/ 2 h 25"/>
                <a:gd name="T46" fmla="*/ 1 w 50"/>
                <a:gd name="T47" fmla="*/ 4 h 25"/>
                <a:gd name="T48" fmla="*/ 0 w 50"/>
                <a:gd name="T49" fmla="*/ 9 h 25"/>
                <a:gd name="T50" fmla="*/ 0 w 50"/>
                <a:gd name="T51" fmla="*/ 14 h 25"/>
                <a:gd name="T52" fmla="*/ 1 w 50"/>
                <a:gd name="T53" fmla="*/ 18 h 25"/>
                <a:gd name="T54" fmla="*/ 13 w 50"/>
                <a:gd name="T55" fmla="*/ 22 h 25"/>
                <a:gd name="T56" fmla="*/ 14 w 50"/>
                <a:gd name="T57" fmla="*/ 23 h 25"/>
                <a:gd name="T58" fmla="*/ 16 w 50"/>
                <a:gd name="T59" fmla="*/ 25 h 25"/>
                <a:gd name="T60" fmla="*/ 19 w 50"/>
                <a:gd name="T6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0" h="25">
                  <a:moveTo>
                    <a:pt x="19" y="25"/>
                  </a:moveTo>
                  <a:lnTo>
                    <a:pt x="21" y="25"/>
                  </a:lnTo>
                  <a:lnTo>
                    <a:pt x="21" y="23"/>
                  </a:lnTo>
                  <a:lnTo>
                    <a:pt x="24" y="23"/>
                  </a:lnTo>
                  <a:lnTo>
                    <a:pt x="31" y="21"/>
                  </a:lnTo>
                  <a:lnTo>
                    <a:pt x="41" y="20"/>
                  </a:lnTo>
                  <a:lnTo>
                    <a:pt x="47" y="18"/>
                  </a:lnTo>
                  <a:lnTo>
                    <a:pt x="50" y="14"/>
                  </a:lnTo>
                  <a:lnTo>
                    <a:pt x="49" y="13"/>
                  </a:lnTo>
                  <a:lnTo>
                    <a:pt x="42" y="13"/>
                  </a:lnTo>
                  <a:lnTo>
                    <a:pt x="39" y="14"/>
                  </a:lnTo>
                  <a:lnTo>
                    <a:pt x="20" y="13"/>
                  </a:lnTo>
                  <a:lnTo>
                    <a:pt x="18" y="13"/>
                  </a:lnTo>
                  <a:lnTo>
                    <a:pt x="18" y="12"/>
                  </a:lnTo>
                  <a:lnTo>
                    <a:pt x="17" y="10"/>
                  </a:lnTo>
                  <a:lnTo>
                    <a:pt x="15" y="8"/>
                  </a:lnTo>
                  <a:lnTo>
                    <a:pt x="13" y="6"/>
                  </a:lnTo>
                  <a:lnTo>
                    <a:pt x="10" y="3"/>
                  </a:lnTo>
                  <a:lnTo>
                    <a:pt x="8" y="3"/>
                  </a:lnTo>
                  <a:lnTo>
                    <a:pt x="8" y="3"/>
                  </a:lnTo>
                  <a:lnTo>
                    <a:pt x="8" y="1"/>
                  </a:lnTo>
                  <a:lnTo>
                    <a:pt x="8" y="0"/>
                  </a:lnTo>
                  <a:lnTo>
                    <a:pt x="4" y="2"/>
                  </a:lnTo>
                  <a:lnTo>
                    <a:pt x="1" y="4"/>
                  </a:lnTo>
                  <a:lnTo>
                    <a:pt x="0" y="9"/>
                  </a:lnTo>
                  <a:lnTo>
                    <a:pt x="0" y="14"/>
                  </a:lnTo>
                  <a:lnTo>
                    <a:pt x="1" y="18"/>
                  </a:lnTo>
                  <a:lnTo>
                    <a:pt x="13" y="22"/>
                  </a:lnTo>
                  <a:lnTo>
                    <a:pt x="14" y="23"/>
                  </a:lnTo>
                  <a:lnTo>
                    <a:pt x="16" y="25"/>
                  </a:lnTo>
                  <a:lnTo>
                    <a:pt x="19" y="25"/>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 name="Gruppieren 1">
            <a:extLst>
              <a:ext uri="{FF2B5EF4-FFF2-40B4-BE49-F238E27FC236}">
                <a16:creationId xmlns:a16="http://schemas.microsoft.com/office/drawing/2014/main" id="{38FA31BD-FF1C-4C85-BB4F-95C8E8090DD0}"/>
              </a:ext>
            </a:extLst>
          </p:cNvPr>
          <p:cNvGrpSpPr/>
          <p:nvPr/>
        </p:nvGrpSpPr>
        <p:grpSpPr bwMode="gray">
          <a:xfrm>
            <a:off x="8627357" y="3778527"/>
            <a:ext cx="1117500" cy="1437852"/>
            <a:chOff x="8627357" y="3778527"/>
            <a:chExt cx="1117500" cy="1437852"/>
          </a:xfrm>
        </p:grpSpPr>
        <p:sp>
          <p:nvSpPr>
            <p:cNvPr id="11096" name="Freeform 9">
              <a:extLst>
                <a:ext uri="{FF2B5EF4-FFF2-40B4-BE49-F238E27FC236}">
                  <a16:creationId xmlns:a16="http://schemas.microsoft.com/office/drawing/2014/main" id="{1FEB7C3C-D859-404B-800C-E69A3983EE37}"/>
                </a:ext>
              </a:extLst>
            </p:cNvPr>
            <p:cNvSpPr>
              <a:spLocks/>
            </p:cNvSpPr>
            <p:nvPr/>
          </p:nvSpPr>
          <p:spPr bwMode="gray">
            <a:xfrm>
              <a:off x="8637329" y="4930928"/>
              <a:ext cx="446252" cy="285451"/>
            </a:xfrm>
            <a:custGeom>
              <a:avLst/>
              <a:gdLst>
                <a:gd name="T0" fmla="*/ 708 w 716"/>
                <a:gd name="T1" fmla="*/ 247 h 458"/>
                <a:gd name="T2" fmla="*/ 713 w 716"/>
                <a:gd name="T3" fmla="*/ 201 h 458"/>
                <a:gd name="T4" fmla="*/ 689 w 716"/>
                <a:gd name="T5" fmla="*/ 206 h 458"/>
                <a:gd name="T6" fmla="*/ 660 w 716"/>
                <a:gd name="T7" fmla="*/ 223 h 458"/>
                <a:gd name="T8" fmla="*/ 621 w 716"/>
                <a:gd name="T9" fmla="*/ 187 h 458"/>
                <a:gd name="T10" fmla="*/ 561 w 716"/>
                <a:gd name="T11" fmla="*/ 168 h 458"/>
                <a:gd name="T12" fmla="*/ 577 w 716"/>
                <a:gd name="T13" fmla="*/ 110 h 458"/>
                <a:gd name="T14" fmla="*/ 521 w 716"/>
                <a:gd name="T15" fmla="*/ 34 h 458"/>
                <a:gd name="T16" fmla="*/ 458 w 716"/>
                <a:gd name="T17" fmla="*/ 29 h 458"/>
                <a:gd name="T18" fmla="*/ 436 w 716"/>
                <a:gd name="T19" fmla="*/ 18 h 458"/>
                <a:gd name="T20" fmla="*/ 425 w 716"/>
                <a:gd name="T21" fmla="*/ 4 h 458"/>
                <a:gd name="T22" fmla="*/ 401 w 716"/>
                <a:gd name="T23" fmla="*/ 8 h 458"/>
                <a:gd name="T24" fmla="*/ 387 w 716"/>
                <a:gd name="T25" fmla="*/ 32 h 458"/>
                <a:gd name="T26" fmla="*/ 419 w 716"/>
                <a:gd name="T27" fmla="*/ 34 h 458"/>
                <a:gd name="T28" fmla="*/ 417 w 716"/>
                <a:gd name="T29" fmla="*/ 42 h 458"/>
                <a:gd name="T30" fmla="*/ 398 w 716"/>
                <a:gd name="T31" fmla="*/ 46 h 458"/>
                <a:gd name="T32" fmla="*/ 364 w 716"/>
                <a:gd name="T33" fmla="*/ 42 h 458"/>
                <a:gd name="T34" fmla="*/ 338 w 716"/>
                <a:gd name="T35" fmla="*/ 55 h 458"/>
                <a:gd name="T36" fmla="*/ 281 w 716"/>
                <a:gd name="T37" fmla="*/ 59 h 458"/>
                <a:gd name="T38" fmla="*/ 253 w 716"/>
                <a:gd name="T39" fmla="*/ 53 h 458"/>
                <a:gd name="T40" fmla="*/ 241 w 716"/>
                <a:gd name="T41" fmla="*/ 68 h 458"/>
                <a:gd name="T42" fmla="*/ 234 w 716"/>
                <a:gd name="T43" fmla="*/ 73 h 458"/>
                <a:gd name="T44" fmla="*/ 219 w 716"/>
                <a:gd name="T45" fmla="*/ 87 h 458"/>
                <a:gd name="T46" fmla="*/ 195 w 716"/>
                <a:gd name="T47" fmla="*/ 74 h 458"/>
                <a:gd name="T48" fmla="*/ 161 w 716"/>
                <a:gd name="T49" fmla="*/ 74 h 458"/>
                <a:gd name="T50" fmla="*/ 145 w 716"/>
                <a:gd name="T51" fmla="*/ 105 h 458"/>
                <a:gd name="T52" fmla="*/ 162 w 716"/>
                <a:gd name="T53" fmla="*/ 117 h 458"/>
                <a:gd name="T54" fmla="*/ 123 w 716"/>
                <a:gd name="T55" fmla="*/ 165 h 458"/>
                <a:gd name="T56" fmla="*/ 78 w 716"/>
                <a:gd name="T57" fmla="*/ 215 h 458"/>
                <a:gd name="T58" fmla="*/ 75 w 716"/>
                <a:gd name="T59" fmla="*/ 243 h 458"/>
                <a:gd name="T60" fmla="*/ 19 w 716"/>
                <a:gd name="T61" fmla="*/ 308 h 458"/>
                <a:gd name="T62" fmla="*/ 24 w 716"/>
                <a:gd name="T63" fmla="*/ 327 h 458"/>
                <a:gd name="T64" fmla="*/ 17 w 716"/>
                <a:gd name="T65" fmla="*/ 362 h 458"/>
                <a:gd name="T66" fmla="*/ 3 w 716"/>
                <a:gd name="T67" fmla="*/ 383 h 458"/>
                <a:gd name="T68" fmla="*/ 47 w 716"/>
                <a:gd name="T69" fmla="*/ 358 h 458"/>
                <a:gd name="T70" fmla="*/ 65 w 716"/>
                <a:gd name="T71" fmla="*/ 326 h 458"/>
                <a:gd name="T72" fmla="*/ 127 w 716"/>
                <a:gd name="T73" fmla="*/ 336 h 458"/>
                <a:gd name="T74" fmla="*/ 144 w 716"/>
                <a:gd name="T75" fmla="*/ 395 h 458"/>
                <a:gd name="T76" fmla="*/ 146 w 716"/>
                <a:gd name="T77" fmla="*/ 407 h 458"/>
                <a:gd name="T78" fmla="*/ 180 w 716"/>
                <a:gd name="T79" fmla="*/ 445 h 458"/>
                <a:gd name="T80" fmla="*/ 248 w 716"/>
                <a:gd name="T81" fmla="*/ 425 h 458"/>
                <a:gd name="T82" fmla="*/ 290 w 716"/>
                <a:gd name="T83" fmla="*/ 436 h 458"/>
                <a:gd name="T84" fmla="*/ 321 w 716"/>
                <a:gd name="T85" fmla="*/ 419 h 458"/>
                <a:gd name="T86" fmla="*/ 335 w 716"/>
                <a:gd name="T87" fmla="*/ 394 h 458"/>
                <a:gd name="T88" fmla="*/ 355 w 716"/>
                <a:gd name="T89" fmla="*/ 347 h 458"/>
                <a:gd name="T90" fmla="*/ 386 w 716"/>
                <a:gd name="T91" fmla="*/ 315 h 458"/>
                <a:gd name="T92" fmla="*/ 401 w 716"/>
                <a:gd name="T93" fmla="*/ 368 h 458"/>
                <a:gd name="T94" fmla="*/ 441 w 716"/>
                <a:gd name="T95" fmla="*/ 393 h 458"/>
                <a:gd name="T96" fmla="*/ 449 w 716"/>
                <a:gd name="T97" fmla="*/ 422 h 458"/>
                <a:gd name="T98" fmla="*/ 467 w 716"/>
                <a:gd name="T99" fmla="*/ 457 h 458"/>
                <a:gd name="T100" fmla="*/ 482 w 716"/>
                <a:gd name="T101" fmla="*/ 428 h 458"/>
                <a:gd name="T102" fmla="*/ 494 w 716"/>
                <a:gd name="T103" fmla="*/ 401 h 458"/>
                <a:gd name="T104" fmla="*/ 517 w 716"/>
                <a:gd name="T105" fmla="*/ 367 h 458"/>
                <a:gd name="T106" fmla="*/ 522 w 716"/>
                <a:gd name="T107" fmla="*/ 312 h 458"/>
                <a:gd name="T108" fmla="*/ 551 w 716"/>
                <a:gd name="T109" fmla="*/ 304 h 458"/>
                <a:gd name="T110" fmla="*/ 572 w 716"/>
                <a:gd name="T111" fmla="*/ 351 h 458"/>
                <a:gd name="T112" fmla="*/ 619 w 716"/>
                <a:gd name="T113" fmla="*/ 334 h 458"/>
                <a:gd name="T114" fmla="*/ 654 w 716"/>
                <a:gd name="T115" fmla="*/ 367 h 458"/>
                <a:gd name="T116" fmla="*/ 663 w 716"/>
                <a:gd name="T117" fmla="*/ 331 h 458"/>
                <a:gd name="T118" fmla="*/ 647 w 716"/>
                <a:gd name="T119" fmla="*/ 302 h 458"/>
                <a:gd name="T120" fmla="*/ 679 w 716"/>
                <a:gd name="T121" fmla="*/ 278 h 458"/>
                <a:gd name="T122" fmla="*/ 714 w 716"/>
                <a:gd name="T123" fmla="*/ 292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16" h="458">
                  <a:moveTo>
                    <a:pt x="715" y="275"/>
                  </a:moveTo>
                  <a:lnTo>
                    <a:pt x="712" y="272"/>
                  </a:lnTo>
                  <a:lnTo>
                    <a:pt x="705" y="271"/>
                  </a:lnTo>
                  <a:lnTo>
                    <a:pt x="702" y="268"/>
                  </a:lnTo>
                  <a:lnTo>
                    <a:pt x="701" y="263"/>
                  </a:lnTo>
                  <a:lnTo>
                    <a:pt x="701" y="261"/>
                  </a:lnTo>
                  <a:lnTo>
                    <a:pt x="703" y="260"/>
                  </a:lnTo>
                  <a:lnTo>
                    <a:pt x="705" y="257"/>
                  </a:lnTo>
                  <a:lnTo>
                    <a:pt x="705" y="253"/>
                  </a:lnTo>
                  <a:lnTo>
                    <a:pt x="705" y="251"/>
                  </a:lnTo>
                  <a:lnTo>
                    <a:pt x="705" y="249"/>
                  </a:lnTo>
                  <a:lnTo>
                    <a:pt x="708" y="247"/>
                  </a:lnTo>
                  <a:lnTo>
                    <a:pt x="710" y="244"/>
                  </a:lnTo>
                  <a:lnTo>
                    <a:pt x="710" y="241"/>
                  </a:lnTo>
                  <a:lnTo>
                    <a:pt x="708" y="238"/>
                  </a:lnTo>
                  <a:lnTo>
                    <a:pt x="708" y="234"/>
                  </a:lnTo>
                  <a:lnTo>
                    <a:pt x="712" y="230"/>
                  </a:lnTo>
                  <a:lnTo>
                    <a:pt x="713" y="228"/>
                  </a:lnTo>
                  <a:lnTo>
                    <a:pt x="713" y="227"/>
                  </a:lnTo>
                  <a:lnTo>
                    <a:pt x="714" y="219"/>
                  </a:lnTo>
                  <a:lnTo>
                    <a:pt x="714" y="214"/>
                  </a:lnTo>
                  <a:lnTo>
                    <a:pt x="716" y="206"/>
                  </a:lnTo>
                  <a:lnTo>
                    <a:pt x="715" y="202"/>
                  </a:lnTo>
                  <a:lnTo>
                    <a:pt x="713" y="201"/>
                  </a:lnTo>
                  <a:lnTo>
                    <a:pt x="708" y="196"/>
                  </a:lnTo>
                  <a:lnTo>
                    <a:pt x="705" y="191"/>
                  </a:lnTo>
                  <a:lnTo>
                    <a:pt x="703" y="189"/>
                  </a:lnTo>
                  <a:lnTo>
                    <a:pt x="703" y="189"/>
                  </a:lnTo>
                  <a:lnTo>
                    <a:pt x="703" y="189"/>
                  </a:lnTo>
                  <a:lnTo>
                    <a:pt x="702" y="189"/>
                  </a:lnTo>
                  <a:lnTo>
                    <a:pt x="701" y="189"/>
                  </a:lnTo>
                  <a:lnTo>
                    <a:pt x="700" y="189"/>
                  </a:lnTo>
                  <a:lnTo>
                    <a:pt x="696" y="191"/>
                  </a:lnTo>
                  <a:lnTo>
                    <a:pt x="692" y="196"/>
                  </a:lnTo>
                  <a:lnTo>
                    <a:pt x="689" y="201"/>
                  </a:lnTo>
                  <a:lnTo>
                    <a:pt x="689" y="206"/>
                  </a:lnTo>
                  <a:lnTo>
                    <a:pt x="685" y="206"/>
                  </a:lnTo>
                  <a:lnTo>
                    <a:pt x="682" y="205"/>
                  </a:lnTo>
                  <a:lnTo>
                    <a:pt x="679" y="205"/>
                  </a:lnTo>
                  <a:lnTo>
                    <a:pt x="677" y="209"/>
                  </a:lnTo>
                  <a:lnTo>
                    <a:pt x="676" y="213"/>
                  </a:lnTo>
                  <a:lnTo>
                    <a:pt x="676" y="214"/>
                  </a:lnTo>
                  <a:lnTo>
                    <a:pt x="676" y="216"/>
                  </a:lnTo>
                  <a:lnTo>
                    <a:pt x="674" y="218"/>
                  </a:lnTo>
                  <a:lnTo>
                    <a:pt x="667" y="222"/>
                  </a:lnTo>
                  <a:lnTo>
                    <a:pt x="663" y="223"/>
                  </a:lnTo>
                  <a:lnTo>
                    <a:pt x="662" y="223"/>
                  </a:lnTo>
                  <a:lnTo>
                    <a:pt x="660" y="223"/>
                  </a:lnTo>
                  <a:lnTo>
                    <a:pt x="653" y="221"/>
                  </a:lnTo>
                  <a:lnTo>
                    <a:pt x="649" y="219"/>
                  </a:lnTo>
                  <a:lnTo>
                    <a:pt x="643" y="213"/>
                  </a:lnTo>
                  <a:lnTo>
                    <a:pt x="626" y="208"/>
                  </a:lnTo>
                  <a:lnTo>
                    <a:pt x="622" y="204"/>
                  </a:lnTo>
                  <a:lnTo>
                    <a:pt x="620" y="202"/>
                  </a:lnTo>
                  <a:lnTo>
                    <a:pt x="620" y="199"/>
                  </a:lnTo>
                  <a:lnTo>
                    <a:pt x="620" y="197"/>
                  </a:lnTo>
                  <a:lnTo>
                    <a:pt x="621" y="191"/>
                  </a:lnTo>
                  <a:lnTo>
                    <a:pt x="621" y="189"/>
                  </a:lnTo>
                  <a:lnTo>
                    <a:pt x="621" y="188"/>
                  </a:lnTo>
                  <a:lnTo>
                    <a:pt x="621" y="187"/>
                  </a:lnTo>
                  <a:lnTo>
                    <a:pt x="620" y="187"/>
                  </a:lnTo>
                  <a:lnTo>
                    <a:pt x="619" y="187"/>
                  </a:lnTo>
                  <a:lnTo>
                    <a:pt x="620" y="184"/>
                  </a:lnTo>
                  <a:lnTo>
                    <a:pt x="590" y="174"/>
                  </a:lnTo>
                  <a:lnTo>
                    <a:pt x="587" y="174"/>
                  </a:lnTo>
                  <a:lnTo>
                    <a:pt x="578" y="175"/>
                  </a:lnTo>
                  <a:lnTo>
                    <a:pt x="576" y="174"/>
                  </a:lnTo>
                  <a:lnTo>
                    <a:pt x="572" y="175"/>
                  </a:lnTo>
                  <a:lnTo>
                    <a:pt x="562" y="174"/>
                  </a:lnTo>
                  <a:lnTo>
                    <a:pt x="559" y="173"/>
                  </a:lnTo>
                  <a:lnTo>
                    <a:pt x="559" y="171"/>
                  </a:lnTo>
                  <a:lnTo>
                    <a:pt x="561" y="168"/>
                  </a:lnTo>
                  <a:lnTo>
                    <a:pt x="563" y="166"/>
                  </a:lnTo>
                  <a:lnTo>
                    <a:pt x="565" y="163"/>
                  </a:lnTo>
                  <a:lnTo>
                    <a:pt x="565" y="158"/>
                  </a:lnTo>
                  <a:lnTo>
                    <a:pt x="563" y="154"/>
                  </a:lnTo>
                  <a:lnTo>
                    <a:pt x="561" y="150"/>
                  </a:lnTo>
                  <a:lnTo>
                    <a:pt x="560" y="147"/>
                  </a:lnTo>
                  <a:lnTo>
                    <a:pt x="561" y="139"/>
                  </a:lnTo>
                  <a:lnTo>
                    <a:pt x="563" y="131"/>
                  </a:lnTo>
                  <a:lnTo>
                    <a:pt x="566" y="126"/>
                  </a:lnTo>
                  <a:lnTo>
                    <a:pt x="571" y="118"/>
                  </a:lnTo>
                  <a:lnTo>
                    <a:pt x="576" y="111"/>
                  </a:lnTo>
                  <a:lnTo>
                    <a:pt x="577" y="110"/>
                  </a:lnTo>
                  <a:lnTo>
                    <a:pt x="578" y="106"/>
                  </a:lnTo>
                  <a:lnTo>
                    <a:pt x="579" y="104"/>
                  </a:lnTo>
                  <a:lnTo>
                    <a:pt x="585" y="96"/>
                  </a:lnTo>
                  <a:lnTo>
                    <a:pt x="586" y="92"/>
                  </a:lnTo>
                  <a:lnTo>
                    <a:pt x="586" y="82"/>
                  </a:lnTo>
                  <a:lnTo>
                    <a:pt x="582" y="78"/>
                  </a:lnTo>
                  <a:lnTo>
                    <a:pt x="576" y="76"/>
                  </a:lnTo>
                  <a:lnTo>
                    <a:pt x="571" y="68"/>
                  </a:lnTo>
                  <a:lnTo>
                    <a:pt x="571" y="67"/>
                  </a:lnTo>
                  <a:lnTo>
                    <a:pt x="570" y="63"/>
                  </a:lnTo>
                  <a:lnTo>
                    <a:pt x="527" y="36"/>
                  </a:lnTo>
                  <a:lnTo>
                    <a:pt x="521" y="34"/>
                  </a:lnTo>
                  <a:lnTo>
                    <a:pt x="514" y="34"/>
                  </a:lnTo>
                  <a:lnTo>
                    <a:pt x="512" y="31"/>
                  </a:lnTo>
                  <a:lnTo>
                    <a:pt x="503" y="31"/>
                  </a:lnTo>
                  <a:lnTo>
                    <a:pt x="486" y="29"/>
                  </a:lnTo>
                  <a:lnTo>
                    <a:pt x="483" y="30"/>
                  </a:lnTo>
                  <a:lnTo>
                    <a:pt x="480" y="33"/>
                  </a:lnTo>
                  <a:lnTo>
                    <a:pt x="475" y="35"/>
                  </a:lnTo>
                  <a:lnTo>
                    <a:pt x="468" y="35"/>
                  </a:lnTo>
                  <a:lnTo>
                    <a:pt x="464" y="34"/>
                  </a:lnTo>
                  <a:lnTo>
                    <a:pt x="460" y="31"/>
                  </a:lnTo>
                  <a:lnTo>
                    <a:pt x="460" y="31"/>
                  </a:lnTo>
                  <a:lnTo>
                    <a:pt x="458" y="29"/>
                  </a:lnTo>
                  <a:lnTo>
                    <a:pt x="458" y="27"/>
                  </a:lnTo>
                  <a:lnTo>
                    <a:pt x="460" y="26"/>
                  </a:lnTo>
                  <a:lnTo>
                    <a:pt x="456" y="23"/>
                  </a:lnTo>
                  <a:lnTo>
                    <a:pt x="451" y="19"/>
                  </a:lnTo>
                  <a:lnTo>
                    <a:pt x="447" y="19"/>
                  </a:lnTo>
                  <a:lnTo>
                    <a:pt x="445" y="24"/>
                  </a:lnTo>
                  <a:lnTo>
                    <a:pt x="447" y="25"/>
                  </a:lnTo>
                  <a:lnTo>
                    <a:pt x="438" y="25"/>
                  </a:lnTo>
                  <a:lnTo>
                    <a:pt x="438" y="24"/>
                  </a:lnTo>
                  <a:lnTo>
                    <a:pt x="438" y="22"/>
                  </a:lnTo>
                  <a:lnTo>
                    <a:pt x="436" y="21"/>
                  </a:lnTo>
                  <a:lnTo>
                    <a:pt x="436" y="18"/>
                  </a:lnTo>
                  <a:lnTo>
                    <a:pt x="436" y="17"/>
                  </a:lnTo>
                  <a:lnTo>
                    <a:pt x="438" y="14"/>
                  </a:lnTo>
                  <a:lnTo>
                    <a:pt x="439" y="13"/>
                  </a:lnTo>
                  <a:lnTo>
                    <a:pt x="438" y="11"/>
                  </a:lnTo>
                  <a:lnTo>
                    <a:pt x="436" y="10"/>
                  </a:lnTo>
                  <a:lnTo>
                    <a:pt x="434" y="11"/>
                  </a:lnTo>
                  <a:lnTo>
                    <a:pt x="433" y="10"/>
                  </a:lnTo>
                  <a:lnTo>
                    <a:pt x="432" y="8"/>
                  </a:lnTo>
                  <a:lnTo>
                    <a:pt x="430" y="6"/>
                  </a:lnTo>
                  <a:lnTo>
                    <a:pt x="429" y="3"/>
                  </a:lnTo>
                  <a:lnTo>
                    <a:pt x="427" y="3"/>
                  </a:lnTo>
                  <a:lnTo>
                    <a:pt x="425" y="4"/>
                  </a:lnTo>
                  <a:lnTo>
                    <a:pt x="424" y="9"/>
                  </a:lnTo>
                  <a:lnTo>
                    <a:pt x="423" y="11"/>
                  </a:lnTo>
                  <a:lnTo>
                    <a:pt x="421" y="9"/>
                  </a:lnTo>
                  <a:lnTo>
                    <a:pt x="420" y="7"/>
                  </a:lnTo>
                  <a:lnTo>
                    <a:pt x="420" y="3"/>
                  </a:lnTo>
                  <a:lnTo>
                    <a:pt x="420" y="2"/>
                  </a:lnTo>
                  <a:lnTo>
                    <a:pt x="417" y="1"/>
                  </a:lnTo>
                  <a:lnTo>
                    <a:pt x="413" y="0"/>
                  </a:lnTo>
                  <a:lnTo>
                    <a:pt x="410" y="2"/>
                  </a:lnTo>
                  <a:lnTo>
                    <a:pt x="412" y="5"/>
                  </a:lnTo>
                  <a:lnTo>
                    <a:pt x="410" y="7"/>
                  </a:lnTo>
                  <a:lnTo>
                    <a:pt x="401" y="8"/>
                  </a:lnTo>
                  <a:lnTo>
                    <a:pt x="399" y="8"/>
                  </a:lnTo>
                  <a:lnTo>
                    <a:pt x="398" y="9"/>
                  </a:lnTo>
                  <a:lnTo>
                    <a:pt x="396" y="12"/>
                  </a:lnTo>
                  <a:lnTo>
                    <a:pt x="395" y="14"/>
                  </a:lnTo>
                  <a:lnTo>
                    <a:pt x="394" y="19"/>
                  </a:lnTo>
                  <a:lnTo>
                    <a:pt x="392" y="20"/>
                  </a:lnTo>
                  <a:lnTo>
                    <a:pt x="388" y="23"/>
                  </a:lnTo>
                  <a:lnTo>
                    <a:pt x="387" y="24"/>
                  </a:lnTo>
                  <a:lnTo>
                    <a:pt x="387" y="26"/>
                  </a:lnTo>
                  <a:lnTo>
                    <a:pt x="387" y="28"/>
                  </a:lnTo>
                  <a:lnTo>
                    <a:pt x="388" y="30"/>
                  </a:lnTo>
                  <a:lnTo>
                    <a:pt x="387" y="32"/>
                  </a:lnTo>
                  <a:lnTo>
                    <a:pt x="389" y="33"/>
                  </a:lnTo>
                  <a:lnTo>
                    <a:pt x="390" y="33"/>
                  </a:lnTo>
                  <a:lnTo>
                    <a:pt x="394" y="36"/>
                  </a:lnTo>
                  <a:lnTo>
                    <a:pt x="397" y="38"/>
                  </a:lnTo>
                  <a:lnTo>
                    <a:pt x="400" y="38"/>
                  </a:lnTo>
                  <a:lnTo>
                    <a:pt x="402" y="37"/>
                  </a:lnTo>
                  <a:lnTo>
                    <a:pt x="405" y="35"/>
                  </a:lnTo>
                  <a:lnTo>
                    <a:pt x="407" y="34"/>
                  </a:lnTo>
                  <a:lnTo>
                    <a:pt x="415" y="33"/>
                  </a:lnTo>
                  <a:lnTo>
                    <a:pt x="417" y="33"/>
                  </a:lnTo>
                  <a:lnTo>
                    <a:pt x="419" y="34"/>
                  </a:lnTo>
                  <a:lnTo>
                    <a:pt x="419" y="34"/>
                  </a:lnTo>
                  <a:lnTo>
                    <a:pt x="421" y="34"/>
                  </a:lnTo>
                  <a:lnTo>
                    <a:pt x="420" y="40"/>
                  </a:lnTo>
                  <a:lnTo>
                    <a:pt x="419" y="39"/>
                  </a:lnTo>
                  <a:lnTo>
                    <a:pt x="419" y="38"/>
                  </a:lnTo>
                  <a:lnTo>
                    <a:pt x="419" y="37"/>
                  </a:lnTo>
                  <a:lnTo>
                    <a:pt x="418" y="37"/>
                  </a:lnTo>
                  <a:lnTo>
                    <a:pt x="417" y="38"/>
                  </a:lnTo>
                  <a:lnTo>
                    <a:pt x="417" y="38"/>
                  </a:lnTo>
                  <a:lnTo>
                    <a:pt x="416" y="40"/>
                  </a:lnTo>
                  <a:lnTo>
                    <a:pt x="417" y="41"/>
                  </a:lnTo>
                  <a:lnTo>
                    <a:pt x="417" y="42"/>
                  </a:lnTo>
                  <a:lnTo>
                    <a:pt x="417" y="42"/>
                  </a:lnTo>
                  <a:lnTo>
                    <a:pt x="417" y="44"/>
                  </a:lnTo>
                  <a:lnTo>
                    <a:pt x="417" y="46"/>
                  </a:lnTo>
                  <a:lnTo>
                    <a:pt x="417" y="47"/>
                  </a:lnTo>
                  <a:lnTo>
                    <a:pt x="416" y="49"/>
                  </a:lnTo>
                  <a:lnTo>
                    <a:pt x="416" y="49"/>
                  </a:lnTo>
                  <a:lnTo>
                    <a:pt x="414" y="50"/>
                  </a:lnTo>
                  <a:lnTo>
                    <a:pt x="412" y="48"/>
                  </a:lnTo>
                  <a:lnTo>
                    <a:pt x="412" y="48"/>
                  </a:lnTo>
                  <a:lnTo>
                    <a:pt x="410" y="45"/>
                  </a:lnTo>
                  <a:lnTo>
                    <a:pt x="407" y="42"/>
                  </a:lnTo>
                  <a:lnTo>
                    <a:pt x="403" y="43"/>
                  </a:lnTo>
                  <a:lnTo>
                    <a:pt x="398" y="46"/>
                  </a:lnTo>
                  <a:lnTo>
                    <a:pt x="396" y="50"/>
                  </a:lnTo>
                  <a:lnTo>
                    <a:pt x="396" y="51"/>
                  </a:lnTo>
                  <a:lnTo>
                    <a:pt x="391" y="52"/>
                  </a:lnTo>
                  <a:lnTo>
                    <a:pt x="391" y="52"/>
                  </a:lnTo>
                  <a:lnTo>
                    <a:pt x="381" y="52"/>
                  </a:lnTo>
                  <a:lnTo>
                    <a:pt x="375" y="51"/>
                  </a:lnTo>
                  <a:lnTo>
                    <a:pt x="373" y="49"/>
                  </a:lnTo>
                  <a:lnTo>
                    <a:pt x="372" y="47"/>
                  </a:lnTo>
                  <a:lnTo>
                    <a:pt x="371" y="45"/>
                  </a:lnTo>
                  <a:lnTo>
                    <a:pt x="370" y="44"/>
                  </a:lnTo>
                  <a:lnTo>
                    <a:pt x="369" y="44"/>
                  </a:lnTo>
                  <a:lnTo>
                    <a:pt x="364" y="42"/>
                  </a:lnTo>
                  <a:lnTo>
                    <a:pt x="361" y="42"/>
                  </a:lnTo>
                  <a:lnTo>
                    <a:pt x="353" y="44"/>
                  </a:lnTo>
                  <a:lnTo>
                    <a:pt x="352" y="44"/>
                  </a:lnTo>
                  <a:lnTo>
                    <a:pt x="351" y="46"/>
                  </a:lnTo>
                  <a:lnTo>
                    <a:pt x="350" y="47"/>
                  </a:lnTo>
                  <a:lnTo>
                    <a:pt x="347" y="47"/>
                  </a:lnTo>
                  <a:lnTo>
                    <a:pt x="344" y="49"/>
                  </a:lnTo>
                  <a:lnTo>
                    <a:pt x="343" y="51"/>
                  </a:lnTo>
                  <a:lnTo>
                    <a:pt x="341" y="52"/>
                  </a:lnTo>
                  <a:lnTo>
                    <a:pt x="341" y="53"/>
                  </a:lnTo>
                  <a:lnTo>
                    <a:pt x="340" y="54"/>
                  </a:lnTo>
                  <a:lnTo>
                    <a:pt x="338" y="55"/>
                  </a:lnTo>
                  <a:lnTo>
                    <a:pt x="331" y="57"/>
                  </a:lnTo>
                  <a:lnTo>
                    <a:pt x="311" y="57"/>
                  </a:lnTo>
                  <a:lnTo>
                    <a:pt x="310" y="56"/>
                  </a:lnTo>
                  <a:lnTo>
                    <a:pt x="310" y="54"/>
                  </a:lnTo>
                  <a:lnTo>
                    <a:pt x="309" y="52"/>
                  </a:lnTo>
                  <a:lnTo>
                    <a:pt x="308" y="51"/>
                  </a:lnTo>
                  <a:lnTo>
                    <a:pt x="298" y="50"/>
                  </a:lnTo>
                  <a:lnTo>
                    <a:pt x="296" y="49"/>
                  </a:lnTo>
                  <a:lnTo>
                    <a:pt x="293" y="53"/>
                  </a:lnTo>
                  <a:lnTo>
                    <a:pt x="291" y="56"/>
                  </a:lnTo>
                  <a:lnTo>
                    <a:pt x="287" y="58"/>
                  </a:lnTo>
                  <a:lnTo>
                    <a:pt x="281" y="59"/>
                  </a:lnTo>
                  <a:lnTo>
                    <a:pt x="274" y="61"/>
                  </a:lnTo>
                  <a:lnTo>
                    <a:pt x="271" y="60"/>
                  </a:lnTo>
                  <a:lnTo>
                    <a:pt x="268" y="59"/>
                  </a:lnTo>
                  <a:lnTo>
                    <a:pt x="263" y="56"/>
                  </a:lnTo>
                  <a:lnTo>
                    <a:pt x="263" y="56"/>
                  </a:lnTo>
                  <a:lnTo>
                    <a:pt x="267" y="56"/>
                  </a:lnTo>
                  <a:lnTo>
                    <a:pt x="268" y="54"/>
                  </a:lnTo>
                  <a:lnTo>
                    <a:pt x="271" y="48"/>
                  </a:lnTo>
                  <a:lnTo>
                    <a:pt x="267" y="49"/>
                  </a:lnTo>
                  <a:lnTo>
                    <a:pt x="259" y="51"/>
                  </a:lnTo>
                  <a:lnTo>
                    <a:pt x="259" y="51"/>
                  </a:lnTo>
                  <a:lnTo>
                    <a:pt x="253" y="53"/>
                  </a:lnTo>
                  <a:lnTo>
                    <a:pt x="249" y="56"/>
                  </a:lnTo>
                  <a:lnTo>
                    <a:pt x="248" y="56"/>
                  </a:lnTo>
                  <a:lnTo>
                    <a:pt x="243" y="61"/>
                  </a:lnTo>
                  <a:lnTo>
                    <a:pt x="243" y="61"/>
                  </a:lnTo>
                  <a:lnTo>
                    <a:pt x="245" y="63"/>
                  </a:lnTo>
                  <a:lnTo>
                    <a:pt x="246" y="63"/>
                  </a:lnTo>
                  <a:lnTo>
                    <a:pt x="246" y="66"/>
                  </a:lnTo>
                  <a:lnTo>
                    <a:pt x="245" y="67"/>
                  </a:lnTo>
                  <a:lnTo>
                    <a:pt x="244" y="67"/>
                  </a:lnTo>
                  <a:lnTo>
                    <a:pt x="243" y="67"/>
                  </a:lnTo>
                  <a:lnTo>
                    <a:pt x="242" y="67"/>
                  </a:lnTo>
                  <a:lnTo>
                    <a:pt x="241" y="68"/>
                  </a:lnTo>
                  <a:lnTo>
                    <a:pt x="242" y="69"/>
                  </a:lnTo>
                  <a:lnTo>
                    <a:pt x="243" y="71"/>
                  </a:lnTo>
                  <a:lnTo>
                    <a:pt x="243" y="72"/>
                  </a:lnTo>
                  <a:lnTo>
                    <a:pt x="243" y="72"/>
                  </a:lnTo>
                  <a:lnTo>
                    <a:pt x="243" y="72"/>
                  </a:lnTo>
                  <a:lnTo>
                    <a:pt x="243" y="73"/>
                  </a:lnTo>
                  <a:lnTo>
                    <a:pt x="243" y="73"/>
                  </a:lnTo>
                  <a:lnTo>
                    <a:pt x="240" y="75"/>
                  </a:lnTo>
                  <a:lnTo>
                    <a:pt x="238" y="75"/>
                  </a:lnTo>
                  <a:lnTo>
                    <a:pt x="237" y="74"/>
                  </a:lnTo>
                  <a:lnTo>
                    <a:pt x="236" y="74"/>
                  </a:lnTo>
                  <a:lnTo>
                    <a:pt x="234" y="73"/>
                  </a:lnTo>
                  <a:lnTo>
                    <a:pt x="232" y="73"/>
                  </a:lnTo>
                  <a:lnTo>
                    <a:pt x="232" y="75"/>
                  </a:lnTo>
                  <a:lnTo>
                    <a:pt x="232" y="76"/>
                  </a:lnTo>
                  <a:lnTo>
                    <a:pt x="233" y="77"/>
                  </a:lnTo>
                  <a:lnTo>
                    <a:pt x="234" y="78"/>
                  </a:lnTo>
                  <a:lnTo>
                    <a:pt x="234" y="79"/>
                  </a:lnTo>
                  <a:lnTo>
                    <a:pt x="234" y="81"/>
                  </a:lnTo>
                  <a:lnTo>
                    <a:pt x="233" y="82"/>
                  </a:lnTo>
                  <a:lnTo>
                    <a:pt x="230" y="86"/>
                  </a:lnTo>
                  <a:lnTo>
                    <a:pt x="227" y="87"/>
                  </a:lnTo>
                  <a:lnTo>
                    <a:pt x="226" y="87"/>
                  </a:lnTo>
                  <a:lnTo>
                    <a:pt x="219" y="87"/>
                  </a:lnTo>
                  <a:lnTo>
                    <a:pt x="215" y="87"/>
                  </a:lnTo>
                  <a:lnTo>
                    <a:pt x="211" y="88"/>
                  </a:lnTo>
                  <a:lnTo>
                    <a:pt x="204" y="90"/>
                  </a:lnTo>
                  <a:lnTo>
                    <a:pt x="204" y="91"/>
                  </a:lnTo>
                  <a:lnTo>
                    <a:pt x="202" y="90"/>
                  </a:lnTo>
                  <a:lnTo>
                    <a:pt x="202" y="89"/>
                  </a:lnTo>
                  <a:lnTo>
                    <a:pt x="201" y="88"/>
                  </a:lnTo>
                  <a:lnTo>
                    <a:pt x="201" y="88"/>
                  </a:lnTo>
                  <a:lnTo>
                    <a:pt x="196" y="86"/>
                  </a:lnTo>
                  <a:lnTo>
                    <a:pt x="193" y="84"/>
                  </a:lnTo>
                  <a:lnTo>
                    <a:pt x="192" y="81"/>
                  </a:lnTo>
                  <a:lnTo>
                    <a:pt x="195" y="74"/>
                  </a:lnTo>
                  <a:lnTo>
                    <a:pt x="190" y="74"/>
                  </a:lnTo>
                  <a:lnTo>
                    <a:pt x="188" y="74"/>
                  </a:lnTo>
                  <a:lnTo>
                    <a:pt x="188" y="74"/>
                  </a:lnTo>
                  <a:lnTo>
                    <a:pt x="186" y="73"/>
                  </a:lnTo>
                  <a:lnTo>
                    <a:pt x="182" y="72"/>
                  </a:lnTo>
                  <a:lnTo>
                    <a:pt x="174" y="73"/>
                  </a:lnTo>
                  <a:lnTo>
                    <a:pt x="170" y="73"/>
                  </a:lnTo>
                  <a:lnTo>
                    <a:pt x="169" y="72"/>
                  </a:lnTo>
                  <a:lnTo>
                    <a:pt x="167" y="71"/>
                  </a:lnTo>
                  <a:lnTo>
                    <a:pt x="166" y="72"/>
                  </a:lnTo>
                  <a:lnTo>
                    <a:pt x="165" y="73"/>
                  </a:lnTo>
                  <a:lnTo>
                    <a:pt x="161" y="74"/>
                  </a:lnTo>
                  <a:lnTo>
                    <a:pt x="162" y="76"/>
                  </a:lnTo>
                  <a:lnTo>
                    <a:pt x="164" y="79"/>
                  </a:lnTo>
                  <a:lnTo>
                    <a:pt x="164" y="82"/>
                  </a:lnTo>
                  <a:lnTo>
                    <a:pt x="163" y="84"/>
                  </a:lnTo>
                  <a:lnTo>
                    <a:pt x="161" y="86"/>
                  </a:lnTo>
                  <a:lnTo>
                    <a:pt x="158" y="88"/>
                  </a:lnTo>
                  <a:lnTo>
                    <a:pt x="154" y="89"/>
                  </a:lnTo>
                  <a:lnTo>
                    <a:pt x="154" y="93"/>
                  </a:lnTo>
                  <a:lnTo>
                    <a:pt x="150" y="96"/>
                  </a:lnTo>
                  <a:lnTo>
                    <a:pt x="147" y="99"/>
                  </a:lnTo>
                  <a:lnTo>
                    <a:pt x="146" y="102"/>
                  </a:lnTo>
                  <a:lnTo>
                    <a:pt x="145" y="105"/>
                  </a:lnTo>
                  <a:lnTo>
                    <a:pt x="164" y="103"/>
                  </a:lnTo>
                  <a:lnTo>
                    <a:pt x="166" y="102"/>
                  </a:lnTo>
                  <a:lnTo>
                    <a:pt x="169" y="104"/>
                  </a:lnTo>
                  <a:lnTo>
                    <a:pt x="171" y="106"/>
                  </a:lnTo>
                  <a:lnTo>
                    <a:pt x="173" y="108"/>
                  </a:lnTo>
                  <a:lnTo>
                    <a:pt x="172" y="111"/>
                  </a:lnTo>
                  <a:lnTo>
                    <a:pt x="170" y="112"/>
                  </a:lnTo>
                  <a:lnTo>
                    <a:pt x="169" y="112"/>
                  </a:lnTo>
                  <a:lnTo>
                    <a:pt x="167" y="113"/>
                  </a:lnTo>
                  <a:lnTo>
                    <a:pt x="165" y="116"/>
                  </a:lnTo>
                  <a:lnTo>
                    <a:pt x="164" y="117"/>
                  </a:lnTo>
                  <a:lnTo>
                    <a:pt x="162" y="117"/>
                  </a:lnTo>
                  <a:lnTo>
                    <a:pt x="159" y="120"/>
                  </a:lnTo>
                  <a:lnTo>
                    <a:pt x="158" y="125"/>
                  </a:lnTo>
                  <a:lnTo>
                    <a:pt x="159" y="130"/>
                  </a:lnTo>
                  <a:lnTo>
                    <a:pt x="148" y="139"/>
                  </a:lnTo>
                  <a:lnTo>
                    <a:pt x="143" y="143"/>
                  </a:lnTo>
                  <a:lnTo>
                    <a:pt x="141" y="148"/>
                  </a:lnTo>
                  <a:lnTo>
                    <a:pt x="140" y="149"/>
                  </a:lnTo>
                  <a:lnTo>
                    <a:pt x="130" y="158"/>
                  </a:lnTo>
                  <a:lnTo>
                    <a:pt x="125" y="160"/>
                  </a:lnTo>
                  <a:lnTo>
                    <a:pt x="126" y="164"/>
                  </a:lnTo>
                  <a:lnTo>
                    <a:pt x="123" y="165"/>
                  </a:lnTo>
                  <a:lnTo>
                    <a:pt x="123" y="165"/>
                  </a:lnTo>
                  <a:lnTo>
                    <a:pt x="122" y="167"/>
                  </a:lnTo>
                  <a:lnTo>
                    <a:pt x="118" y="168"/>
                  </a:lnTo>
                  <a:lnTo>
                    <a:pt x="116" y="169"/>
                  </a:lnTo>
                  <a:lnTo>
                    <a:pt x="114" y="173"/>
                  </a:lnTo>
                  <a:lnTo>
                    <a:pt x="116" y="177"/>
                  </a:lnTo>
                  <a:lnTo>
                    <a:pt x="113" y="183"/>
                  </a:lnTo>
                  <a:lnTo>
                    <a:pt x="102" y="191"/>
                  </a:lnTo>
                  <a:lnTo>
                    <a:pt x="85" y="196"/>
                  </a:lnTo>
                  <a:lnTo>
                    <a:pt x="77" y="201"/>
                  </a:lnTo>
                  <a:lnTo>
                    <a:pt x="75" y="209"/>
                  </a:lnTo>
                  <a:lnTo>
                    <a:pt x="76" y="211"/>
                  </a:lnTo>
                  <a:lnTo>
                    <a:pt x="78" y="215"/>
                  </a:lnTo>
                  <a:lnTo>
                    <a:pt x="78" y="217"/>
                  </a:lnTo>
                  <a:lnTo>
                    <a:pt x="78" y="221"/>
                  </a:lnTo>
                  <a:lnTo>
                    <a:pt x="77" y="222"/>
                  </a:lnTo>
                  <a:lnTo>
                    <a:pt x="77" y="223"/>
                  </a:lnTo>
                  <a:lnTo>
                    <a:pt x="76" y="225"/>
                  </a:lnTo>
                  <a:lnTo>
                    <a:pt x="73" y="232"/>
                  </a:lnTo>
                  <a:lnTo>
                    <a:pt x="73" y="233"/>
                  </a:lnTo>
                  <a:lnTo>
                    <a:pt x="74" y="235"/>
                  </a:lnTo>
                  <a:lnTo>
                    <a:pt x="75" y="236"/>
                  </a:lnTo>
                  <a:lnTo>
                    <a:pt x="76" y="237"/>
                  </a:lnTo>
                  <a:lnTo>
                    <a:pt x="76" y="241"/>
                  </a:lnTo>
                  <a:lnTo>
                    <a:pt x="75" y="243"/>
                  </a:lnTo>
                  <a:lnTo>
                    <a:pt x="73" y="245"/>
                  </a:lnTo>
                  <a:lnTo>
                    <a:pt x="72" y="247"/>
                  </a:lnTo>
                  <a:lnTo>
                    <a:pt x="67" y="249"/>
                  </a:lnTo>
                  <a:lnTo>
                    <a:pt x="62" y="254"/>
                  </a:lnTo>
                  <a:lnTo>
                    <a:pt x="61" y="255"/>
                  </a:lnTo>
                  <a:lnTo>
                    <a:pt x="49" y="262"/>
                  </a:lnTo>
                  <a:lnTo>
                    <a:pt x="28" y="281"/>
                  </a:lnTo>
                  <a:lnTo>
                    <a:pt x="26" y="284"/>
                  </a:lnTo>
                  <a:lnTo>
                    <a:pt x="26" y="287"/>
                  </a:lnTo>
                  <a:lnTo>
                    <a:pt x="30" y="291"/>
                  </a:lnTo>
                  <a:lnTo>
                    <a:pt x="24" y="298"/>
                  </a:lnTo>
                  <a:lnTo>
                    <a:pt x="19" y="308"/>
                  </a:lnTo>
                  <a:lnTo>
                    <a:pt x="17" y="310"/>
                  </a:lnTo>
                  <a:lnTo>
                    <a:pt x="17" y="311"/>
                  </a:lnTo>
                  <a:lnTo>
                    <a:pt x="17" y="312"/>
                  </a:lnTo>
                  <a:lnTo>
                    <a:pt x="17" y="313"/>
                  </a:lnTo>
                  <a:lnTo>
                    <a:pt x="17" y="314"/>
                  </a:lnTo>
                  <a:lnTo>
                    <a:pt x="18" y="315"/>
                  </a:lnTo>
                  <a:lnTo>
                    <a:pt x="18" y="317"/>
                  </a:lnTo>
                  <a:lnTo>
                    <a:pt x="18" y="318"/>
                  </a:lnTo>
                  <a:lnTo>
                    <a:pt x="18" y="320"/>
                  </a:lnTo>
                  <a:lnTo>
                    <a:pt x="16" y="321"/>
                  </a:lnTo>
                  <a:lnTo>
                    <a:pt x="16" y="322"/>
                  </a:lnTo>
                  <a:lnTo>
                    <a:pt x="24" y="327"/>
                  </a:lnTo>
                  <a:lnTo>
                    <a:pt x="27" y="329"/>
                  </a:lnTo>
                  <a:lnTo>
                    <a:pt x="28" y="333"/>
                  </a:lnTo>
                  <a:lnTo>
                    <a:pt x="29" y="336"/>
                  </a:lnTo>
                  <a:lnTo>
                    <a:pt x="26" y="342"/>
                  </a:lnTo>
                  <a:lnTo>
                    <a:pt x="24" y="347"/>
                  </a:lnTo>
                  <a:lnTo>
                    <a:pt x="23" y="349"/>
                  </a:lnTo>
                  <a:lnTo>
                    <a:pt x="22" y="355"/>
                  </a:lnTo>
                  <a:lnTo>
                    <a:pt x="22" y="358"/>
                  </a:lnTo>
                  <a:lnTo>
                    <a:pt x="22" y="360"/>
                  </a:lnTo>
                  <a:lnTo>
                    <a:pt x="21" y="361"/>
                  </a:lnTo>
                  <a:lnTo>
                    <a:pt x="18" y="362"/>
                  </a:lnTo>
                  <a:lnTo>
                    <a:pt x="17" y="362"/>
                  </a:lnTo>
                  <a:lnTo>
                    <a:pt x="16" y="362"/>
                  </a:lnTo>
                  <a:lnTo>
                    <a:pt x="15" y="362"/>
                  </a:lnTo>
                  <a:lnTo>
                    <a:pt x="14" y="362"/>
                  </a:lnTo>
                  <a:lnTo>
                    <a:pt x="14" y="362"/>
                  </a:lnTo>
                  <a:lnTo>
                    <a:pt x="14" y="362"/>
                  </a:lnTo>
                  <a:lnTo>
                    <a:pt x="4" y="367"/>
                  </a:lnTo>
                  <a:lnTo>
                    <a:pt x="0" y="369"/>
                  </a:lnTo>
                  <a:lnTo>
                    <a:pt x="0" y="372"/>
                  </a:lnTo>
                  <a:lnTo>
                    <a:pt x="2" y="375"/>
                  </a:lnTo>
                  <a:lnTo>
                    <a:pt x="4" y="379"/>
                  </a:lnTo>
                  <a:lnTo>
                    <a:pt x="4" y="380"/>
                  </a:lnTo>
                  <a:lnTo>
                    <a:pt x="3" y="383"/>
                  </a:lnTo>
                  <a:lnTo>
                    <a:pt x="0" y="388"/>
                  </a:lnTo>
                  <a:lnTo>
                    <a:pt x="4" y="385"/>
                  </a:lnTo>
                  <a:lnTo>
                    <a:pt x="12" y="384"/>
                  </a:lnTo>
                  <a:lnTo>
                    <a:pt x="19" y="384"/>
                  </a:lnTo>
                  <a:lnTo>
                    <a:pt x="24" y="386"/>
                  </a:lnTo>
                  <a:lnTo>
                    <a:pt x="29" y="383"/>
                  </a:lnTo>
                  <a:lnTo>
                    <a:pt x="38" y="374"/>
                  </a:lnTo>
                  <a:lnTo>
                    <a:pt x="48" y="367"/>
                  </a:lnTo>
                  <a:lnTo>
                    <a:pt x="52" y="363"/>
                  </a:lnTo>
                  <a:lnTo>
                    <a:pt x="51" y="357"/>
                  </a:lnTo>
                  <a:lnTo>
                    <a:pt x="50" y="357"/>
                  </a:lnTo>
                  <a:lnTo>
                    <a:pt x="47" y="358"/>
                  </a:lnTo>
                  <a:lnTo>
                    <a:pt x="45" y="357"/>
                  </a:lnTo>
                  <a:lnTo>
                    <a:pt x="45" y="356"/>
                  </a:lnTo>
                  <a:lnTo>
                    <a:pt x="43" y="353"/>
                  </a:lnTo>
                  <a:lnTo>
                    <a:pt x="43" y="352"/>
                  </a:lnTo>
                  <a:lnTo>
                    <a:pt x="42" y="348"/>
                  </a:lnTo>
                  <a:lnTo>
                    <a:pt x="41" y="345"/>
                  </a:lnTo>
                  <a:lnTo>
                    <a:pt x="42" y="342"/>
                  </a:lnTo>
                  <a:lnTo>
                    <a:pt x="45" y="338"/>
                  </a:lnTo>
                  <a:lnTo>
                    <a:pt x="50" y="332"/>
                  </a:lnTo>
                  <a:lnTo>
                    <a:pt x="55" y="327"/>
                  </a:lnTo>
                  <a:lnTo>
                    <a:pt x="60" y="326"/>
                  </a:lnTo>
                  <a:lnTo>
                    <a:pt x="65" y="326"/>
                  </a:lnTo>
                  <a:lnTo>
                    <a:pt x="70" y="324"/>
                  </a:lnTo>
                  <a:lnTo>
                    <a:pt x="84" y="315"/>
                  </a:lnTo>
                  <a:lnTo>
                    <a:pt x="94" y="313"/>
                  </a:lnTo>
                  <a:lnTo>
                    <a:pt x="104" y="313"/>
                  </a:lnTo>
                  <a:lnTo>
                    <a:pt x="128" y="319"/>
                  </a:lnTo>
                  <a:lnTo>
                    <a:pt x="131" y="321"/>
                  </a:lnTo>
                  <a:lnTo>
                    <a:pt x="131" y="321"/>
                  </a:lnTo>
                  <a:lnTo>
                    <a:pt x="132" y="323"/>
                  </a:lnTo>
                  <a:lnTo>
                    <a:pt x="132" y="325"/>
                  </a:lnTo>
                  <a:lnTo>
                    <a:pt x="132" y="327"/>
                  </a:lnTo>
                  <a:lnTo>
                    <a:pt x="131" y="331"/>
                  </a:lnTo>
                  <a:lnTo>
                    <a:pt x="127" y="336"/>
                  </a:lnTo>
                  <a:lnTo>
                    <a:pt x="126" y="339"/>
                  </a:lnTo>
                  <a:lnTo>
                    <a:pt x="129" y="344"/>
                  </a:lnTo>
                  <a:lnTo>
                    <a:pt x="135" y="350"/>
                  </a:lnTo>
                  <a:lnTo>
                    <a:pt x="138" y="356"/>
                  </a:lnTo>
                  <a:lnTo>
                    <a:pt x="133" y="367"/>
                  </a:lnTo>
                  <a:lnTo>
                    <a:pt x="130" y="375"/>
                  </a:lnTo>
                  <a:lnTo>
                    <a:pt x="129" y="383"/>
                  </a:lnTo>
                  <a:lnTo>
                    <a:pt x="130" y="387"/>
                  </a:lnTo>
                  <a:lnTo>
                    <a:pt x="143" y="389"/>
                  </a:lnTo>
                  <a:lnTo>
                    <a:pt x="145" y="392"/>
                  </a:lnTo>
                  <a:lnTo>
                    <a:pt x="145" y="394"/>
                  </a:lnTo>
                  <a:lnTo>
                    <a:pt x="144" y="395"/>
                  </a:lnTo>
                  <a:lnTo>
                    <a:pt x="142" y="397"/>
                  </a:lnTo>
                  <a:lnTo>
                    <a:pt x="142" y="398"/>
                  </a:lnTo>
                  <a:lnTo>
                    <a:pt x="142" y="398"/>
                  </a:lnTo>
                  <a:lnTo>
                    <a:pt x="142" y="400"/>
                  </a:lnTo>
                  <a:lnTo>
                    <a:pt x="142" y="403"/>
                  </a:lnTo>
                  <a:lnTo>
                    <a:pt x="142" y="403"/>
                  </a:lnTo>
                  <a:lnTo>
                    <a:pt x="142" y="404"/>
                  </a:lnTo>
                  <a:lnTo>
                    <a:pt x="142" y="405"/>
                  </a:lnTo>
                  <a:lnTo>
                    <a:pt x="142" y="406"/>
                  </a:lnTo>
                  <a:lnTo>
                    <a:pt x="144" y="407"/>
                  </a:lnTo>
                  <a:lnTo>
                    <a:pt x="145" y="408"/>
                  </a:lnTo>
                  <a:lnTo>
                    <a:pt x="146" y="407"/>
                  </a:lnTo>
                  <a:lnTo>
                    <a:pt x="147" y="405"/>
                  </a:lnTo>
                  <a:lnTo>
                    <a:pt x="149" y="405"/>
                  </a:lnTo>
                  <a:lnTo>
                    <a:pt x="152" y="406"/>
                  </a:lnTo>
                  <a:lnTo>
                    <a:pt x="163" y="419"/>
                  </a:lnTo>
                  <a:lnTo>
                    <a:pt x="164" y="419"/>
                  </a:lnTo>
                  <a:lnTo>
                    <a:pt x="165" y="422"/>
                  </a:lnTo>
                  <a:lnTo>
                    <a:pt x="166" y="426"/>
                  </a:lnTo>
                  <a:lnTo>
                    <a:pt x="167" y="430"/>
                  </a:lnTo>
                  <a:lnTo>
                    <a:pt x="168" y="433"/>
                  </a:lnTo>
                  <a:lnTo>
                    <a:pt x="169" y="434"/>
                  </a:lnTo>
                  <a:lnTo>
                    <a:pt x="176" y="443"/>
                  </a:lnTo>
                  <a:lnTo>
                    <a:pt x="180" y="445"/>
                  </a:lnTo>
                  <a:lnTo>
                    <a:pt x="185" y="446"/>
                  </a:lnTo>
                  <a:lnTo>
                    <a:pt x="190" y="446"/>
                  </a:lnTo>
                  <a:lnTo>
                    <a:pt x="195" y="445"/>
                  </a:lnTo>
                  <a:lnTo>
                    <a:pt x="205" y="441"/>
                  </a:lnTo>
                  <a:lnTo>
                    <a:pt x="209" y="438"/>
                  </a:lnTo>
                  <a:lnTo>
                    <a:pt x="211" y="437"/>
                  </a:lnTo>
                  <a:lnTo>
                    <a:pt x="223" y="438"/>
                  </a:lnTo>
                  <a:lnTo>
                    <a:pt x="228" y="437"/>
                  </a:lnTo>
                  <a:lnTo>
                    <a:pt x="238" y="430"/>
                  </a:lnTo>
                  <a:lnTo>
                    <a:pt x="243" y="428"/>
                  </a:lnTo>
                  <a:lnTo>
                    <a:pt x="246" y="427"/>
                  </a:lnTo>
                  <a:lnTo>
                    <a:pt x="248" y="425"/>
                  </a:lnTo>
                  <a:lnTo>
                    <a:pt x="249" y="423"/>
                  </a:lnTo>
                  <a:lnTo>
                    <a:pt x="252" y="421"/>
                  </a:lnTo>
                  <a:lnTo>
                    <a:pt x="268" y="425"/>
                  </a:lnTo>
                  <a:lnTo>
                    <a:pt x="270" y="427"/>
                  </a:lnTo>
                  <a:lnTo>
                    <a:pt x="273" y="429"/>
                  </a:lnTo>
                  <a:lnTo>
                    <a:pt x="276" y="433"/>
                  </a:lnTo>
                  <a:lnTo>
                    <a:pt x="276" y="434"/>
                  </a:lnTo>
                  <a:lnTo>
                    <a:pt x="278" y="434"/>
                  </a:lnTo>
                  <a:lnTo>
                    <a:pt x="279" y="434"/>
                  </a:lnTo>
                  <a:lnTo>
                    <a:pt x="280" y="433"/>
                  </a:lnTo>
                  <a:lnTo>
                    <a:pt x="282" y="433"/>
                  </a:lnTo>
                  <a:lnTo>
                    <a:pt x="290" y="436"/>
                  </a:lnTo>
                  <a:lnTo>
                    <a:pt x="294" y="436"/>
                  </a:lnTo>
                  <a:lnTo>
                    <a:pt x="297" y="437"/>
                  </a:lnTo>
                  <a:lnTo>
                    <a:pt x="298" y="437"/>
                  </a:lnTo>
                  <a:lnTo>
                    <a:pt x="300" y="436"/>
                  </a:lnTo>
                  <a:lnTo>
                    <a:pt x="300" y="435"/>
                  </a:lnTo>
                  <a:lnTo>
                    <a:pt x="300" y="434"/>
                  </a:lnTo>
                  <a:lnTo>
                    <a:pt x="301" y="432"/>
                  </a:lnTo>
                  <a:lnTo>
                    <a:pt x="301" y="431"/>
                  </a:lnTo>
                  <a:lnTo>
                    <a:pt x="304" y="424"/>
                  </a:lnTo>
                  <a:lnTo>
                    <a:pt x="308" y="422"/>
                  </a:lnTo>
                  <a:lnTo>
                    <a:pt x="320" y="419"/>
                  </a:lnTo>
                  <a:lnTo>
                    <a:pt x="321" y="419"/>
                  </a:lnTo>
                  <a:lnTo>
                    <a:pt x="322" y="418"/>
                  </a:lnTo>
                  <a:lnTo>
                    <a:pt x="324" y="415"/>
                  </a:lnTo>
                  <a:lnTo>
                    <a:pt x="324" y="414"/>
                  </a:lnTo>
                  <a:lnTo>
                    <a:pt x="326" y="411"/>
                  </a:lnTo>
                  <a:lnTo>
                    <a:pt x="326" y="411"/>
                  </a:lnTo>
                  <a:lnTo>
                    <a:pt x="327" y="404"/>
                  </a:lnTo>
                  <a:lnTo>
                    <a:pt x="327" y="402"/>
                  </a:lnTo>
                  <a:lnTo>
                    <a:pt x="327" y="399"/>
                  </a:lnTo>
                  <a:lnTo>
                    <a:pt x="329" y="397"/>
                  </a:lnTo>
                  <a:lnTo>
                    <a:pt x="330" y="395"/>
                  </a:lnTo>
                  <a:lnTo>
                    <a:pt x="333" y="395"/>
                  </a:lnTo>
                  <a:lnTo>
                    <a:pt x="335" y="394"/>
                  </a:lnTo>
                  <a:lnTo>
                    <a:pt x="342" y="389"/>
                  </a:lnTo>
                  <a:lnTo>
                    <a:pt x="346" y="381"/>
                  </a:lnTo>
                  <a:lnTo>
                    <a:pt x="345" y="373"/>
                  </a:lnTo>
                  <a:lnTo>
                    <a:pt x="340" y="364"/>
                  </a:lnTo>
                  <a:lnTo>
                    <a:pt x="337" y="360"/>
                  </a:lnTo>
                  <a:lnTo>
                    <a:pt x="336" y="360"/>
                  </a:lnTo>
                  <a:lnTo>
                    <a:pt x="337" y="358"/>
                  </a:lnTo>
                  <a:lnTo>
                    <a:pt x="338" y="355"/>
                  </a:lnTo>
                  <a:lnTo>
                    <a:pt x="341" y="352"/>
                  </a:lnTo>
                  <a:lnTo>
                    <a:pt x="345" y="351"/>
                  </a:lnTo>
                  <a:lnTo>
                    <a:pt x="352" y="349"/>
                  </a:lnTo>
                  <a:lnTo>
                    <a:pt x="355" y="347"/>
                  </a:lnTo>
                  <a:lnTo>
                    <a:pt x="363" y="336"/>
                  </a:lnTo>
                  <a:lnTo>
                    <a:pt x="367" y="334"/>
                  </a:lnTo>
                  <a:lnTo>
                    <a:pt x="369" y="333"/>
                  </a:lnTo>
                  <a:lnTo>
                    <a:pt x="371" y="331"/>
                  </a:lnTo>
                  <a:lnTo>
                    <a:pt x="372" y="329"/>
                  </a:lnTo>
                  <a:lnTo>
                    <a:pt x="372" y="326"/>
                  </a:lnTo>
                  <a:lnTo>
                    <a:pt x="370" y="326"/>
                  </a:lnTo>
                  <a:lnTo>
                    <a:pt x="370" y="325"/>
                  </a:lnTo>
                  <a:lnTo>
                    <a:pt x="371" y="322"/>
                  </a:lnTo>
                  <a:lnTo>
                    <a:pt x="375" y="318"/>
                  </a:lnTo>
                  <a:lnTo>
                    <a:pt x="379" y="316"/>
                  </a:lnTo>
                  <a:lnTo>
                    <a:pt x="386" y="315"/>
                  </a:lnTo>
                  <a:lnTo>
                    <a:pt x="388" y="314"/>
                  </a:lnTo>
                  <a:lnTo>
                    <a:pt x="392" y="315"/>
                  </a:lnTo>
                  <a:lnTo>
                    <a:pt x="395" y="318"/>
                  </a:lnTo>
                  <a:lnTo>
                    <a:pt x="395" y="323"/>
                  </a:lnTo>
                  <a:lnTo>
                    <a:pt x="395" y="330"/>
                  </a:lnTo>
                  <a:lnTo>
                    <a:pt x="395" y="337"/>
                  </a:lnTo>
                  <a:lnTo>
                    <a:pt x="392" y="349"/>
                  </a:lnTo>
                  <a:lnTo>
                    <a:pt x="392" y="355"/>
                  </a:lnTo>
                  <a:lnTo>
                    <a:pt x="392" y="360"/>
                  </a:lnTo>
                  <a:lnTo>
                    <a:pt x="394" y="364"/>
                  </a:lnTo>
                  <a:lnTo>
                    <a:pt x="397" y="366"/>
                  </a:lnTo>
                  <a:lnTo>
                    <a:pt x="401" y="368"/>
                  </a:lnTo>
                  <a:lnTo>
                    <a:pt x="405" y="370"/>
                  </a:lnTo>
                  <a:lnTo>
                    <a:pt x="410" y="375"/>
                  </a:lnTo>
                  <a:lnTo>
                    <a:pt x="420" y="389"/>
                  </a:lnTo>
                  <a:lnTo>
                    <a:pt x="422" y="390"/>
                  </a:lnTo>
                  <a:lnTo>
                    <a:pt x="425" y="391"/>
                  </a:lnTo>
                  <a:lnTo>
                    <a:pt x="432" y="396"/>
                  </a:lnTo>
                  <a:lnTo>
                    <a:pt x="435" y="396"/>
                  </a:lnTo>
                  <a:lnTo>
                    <a:pt x="436" y="395"/>
                  </a:lnTo>
                  <a:lnTo>
                    <a:pt x="439" y="393"/>
                  </a:lnTo>
                  <a:lnTo>
                    <a:pt x="439" y="393"/>
                  </a:lnTo>
                  <a:lnTo>
                    <a:pt x="440" y="393"/>
                  </a:lnTo>
                  <a:lnTo>
                    <a:pt x="441" y="393"/>
                  </a:lnTo>
                  <a:lnTo>
                    <a:pt x="442" y="395"/>
                  </a:lnTo>
                  <a:lnTo>
                    <a:pt x="443" y="396"/>
                  </a:lnTo>
                  <a:lnTo>
                    <a:pt x="446" y="396"/>
                  </a:lnTo>
                  <a:lnTo>
                    <a:pt x="450" y="396"/>
                  </a:lnTo>
                  <a:lnTo>
                    <a:pt x="453" y="397"/>
                  </a:lnTo>
                  <a:lnTo>
                    <a:pt x="457" y="402"/>
                  </a:lnTo>
                  <a:lnTo>
                    <a:pt x="455" y="408"/>
                  </a:lnTo>
                  <a:lnTo>
                    <a:pt x="450" y="413"/>
                  </a:lnTo>
                  <a:lnTo>
                    <a:pt x="447" y="420"/>
                  </a:lnTo>
                  <a:lnTo>
                    <a:pt x="447" y="421"/>
                  </a:lnTo>
                  <a:lnTo>
                    <a:pt x="446" y="421"/>
                  </a:lnTo>
                  <a:lnTo>
                    <a:pt x="449" y="422"/>
                  </a:lnTo>
                  <a:lnTo>
                    <a:pt x="452" y="422"/>
                  </a:lnTo>
                  <a:lnTo>
                    <a:pt x="461" y="427"/>
                  </a:lnTo>
                  <a:lnTo>
                    <a:pt x="462" y="428"/>
                  </a:lnTo>
                  <a:lnTo>
                    <a:pt x="463" y="429"/>
                  </a:lnTo>
                  <a:lnTo>
                    <a:pt x="464" y="433"/>
                  </a:lnTo>
                  <a:lnTo>
                    <a:pt x="467" y="438"/>
                  </a:lnTo>
                  <a:lnTo>
                    <a:pt x="468" y="441"/>
                  </a:lnTo>
                  <a:lnTo>
                    <a:pt x="469" y="444"/>
                  </a:lnTo>
                  <a:lnTo>
                    <a:pt x="469" y="448"/>
                  </a:lnTo>
                  <a:lnTo>
                    <a:pt x="469" y="451"/>
                  </a:lnTo>
                  <a:lnTo>
                    <a:pt x="468" y="453"/>
                  </a:lnTo>
                  <a:lnTo>
                    <a:pt x="467" y="457"/>
                  </a:lnTo>
                  <a:lnTo>
                    <a:pt x="474" y="455"/>
                  </a:lnTo>
                  <a:lnTo>
                    <a:pt x="479" y="458"/>
                  </a:lnTo>
                  <a:lnTo>
                    <a:pt x="484" y="458"/>
                  </a:lnTo>
                  <a:lnTo>
                    <a:pt x="489" y="452"/>
                  </a:lnTo>
                  <a:lnTo>
                    <a:pt x="493" y="444"/>
                  </a:lnTo>
                  <a:lnTo>
                    <a:pt x="493" y="440"/>
                  </a:lnTo>
                  <a:lnTo>
                    <a:pt x="492" y="437"/>
                  </a:lnTo>
                  <a:lnTo>
                    <a:pt x="490" y="436"/>
                  </a:lnTo>
                  <a:lnTo>
                    <a:pt x="487" y="435"/>
                  </a:lnTo>
                  <a:lnTo>
                    <a:pt x="485" y="434"/>
                  </a:lnTo>
                  <a:lnTo>
                    <a:pt x="483" y="432"/>
                  </a:lnTo>
                  <a:lnTo>
                    <a:pt x="482" y="428"/>
                  </a:lnTo>
                  <a:lnTo>
                    <a:pt x="481" y="426"/>
                  </a:lnTo>
                  <a:lnTo>
                    <a:pt x="480" y="426"/>
                  </a:lnTo>
                  <a:lnTo>
                    <a:pt x="480" y="425"/>
                  </a:lnTo>
                  <a:lnTo>
                    <a:pt x="480" y="424"/>
                  </a:lnTo>
                  <a:lnTo>
                    <a:pt x="481" y="424"/>
                  </a:lnTo>
                  <a:lnTo>
                    <a:pt x="486" y="419"/>
                  </a:lnTo>
                  <a:lnTo>
                    <a:pt x="483" y="411"/>
                  </a:lnTo>
                  <a:lnTo>
                    <a:pt x="483" y="409"/>
                  </a:lnTo>
                  <a:lnTo>
                    <a:pt x="488" y="405"/>
                  </a:lnTo>
                  <a:lnTo>
                    <a:pt x="491" y="404"/>
                  </a:lnTo>
                  <a:lnTo>
                    <a:pt x="493" y="404"/>
                  </a:lnTo>
                  <a:lnTo>
                    <a:pt x="494" y="401"/>
                  </a:lnTo>
                  <a:lnTo>
                    <a:pt x="494" y="399"/>
                  </a:lnTo>
                  <a:lnTo>
                    <a:pt x="494" y="393"/>
                  </a:lnTo>
                  <a:lnTo>
                    <a:pt x="495" y="390"/>
                  </a:lnTo>
                  <a:lnTo>
                    <a:pt x="498" y="386"/>
                  </a:lnTo>
                  <a:lnTo>
                    <a:pt x="509" y="378"/>
                  </a:lnTo>
                  <a:lnTo>
                    <a:pt x="509" y="378"/>
                  </a:lnTo>
                  <a:lnTo>
                    <a:pt x="510" y="376"/>
                  </a:lnTo>
                  <a:lnTo>
                    <a:pt x="511" y="373"/>
                  </a:lnTo>
                  <a:lnTo>
                    <a:pt x="512" y="371"/>
                  </a:lnTo>
                  <a:lnTo>
                    <a:pt x="514" y="370"/>
                  </a:lnTo>
                  <a:lnTo>
                    <a:pt x="516" y="369"/>
                  </a:lnTo>
                  <a:lnTo>
                    <a:pt x="517" y="367"/>
                  </a:lnTo>
                  <a:lnTo>
                    <a:pt x="519" y="365"/>
                  </a:lnTo>
                  <a:lnTo>
                    <a:pt x="521" y="356"/>
                  </a:lnTo>
                  <a:lnTo>
                    <a:pt x="526" y="347"/>
                  </a:lnTo>
                  <a:lnTo>
                    <a:pt x="527" y="342"/>
                  </a:lnTo>
                  <a:lnTo>
                    <a:pt x="527" y="339"/>
                  </a:lnTo>
                  <a:lnTo>
                    <a:pt x="525" y="331"/>
                  </a:lnTo>
                  <a:lnTo>
                    <a:pt x="525" y="327"/>
                  </a:lnTo>
                  <a:lnTo>
                    <a:pt x="525" y="325"/>
                  </a:lnTo>
                  <a:lnTo>
                    <a:pt x="525" y="322"/>
                  </a:lnTo>
                  <a:lnTo>
                    <a:pt x="522" y="321"/>
                  </a:lnTo>
                  <a:lnTo>
                    <a:pt x="521" y="318"/>
                  </a:lnTo>
                  <a:lnTo>
                    <a:pt x="522" y="312"/>
                  </a:lnTo>
                  <a:lnTo>
                    <a:pt x="525" y="306"/>
                  </a:lnTo>
                  <a:lnTo>
                    <a:pt x="528" y="304"/>
                  </a:lnTo>
                  <a:lnTo>
                    <a:pt x="536" y="303"/>
                  </a:lnTo>
                  <a:lnTo>
                    <a:pt x="539" y="304"/>
                  </a:lnTo>
                  <a:lnTo>
                    <a:pt x="539" y="306"/>
                  </a:lnTo>
                  <a:lnTo>
                    <a:pt x="543" y="310"/>
                  </a:lnTo>
                  <a:lnTo>
                    <a:pt x="544" y="311"/>
                  </a:lnTo>
                  <a:lnTo>
                    <a:pt x="546" y="310"/>
                  </a:lnTo>
                  <a:lnTo>
                    <a:pt x="547" y="309"/>
                  </a:lnTo>
                  <a:lnTo>
                    <a:pt x="547" y="307"/>
                  </a:lnTo>
                  <a:lnTo>
                    <a:pt x="548" y="306"/>
                  </a:lnTo>
                  <a:lnTo>
                    <a:pt x="551" y="304"/>
                  </a:lnTo>
                  <a:lnTo>
                    <a:pt x="552" y="303"/>
                  </a:lnTo>
                  <a:lnTo>
                    <a:pt x="553" y="305"/>
                  </a:lnTo>
                  <a:lnTo>
                    <a:pt x="554" y="327"/>
                  </a:lnTo>
                  <a:lnTo>
                    <a:pt x="553" y="331"/>
                  </a:lnTo>
                  <a:lnTo>
                    <a:pt x="554" y="332"/>
                  </a:lnTo>
                  <a:lnTo>
                    <a:pt x="555" y="333"/>
                  </a:lnTo>
                  <a:lnTo>
                    <a:pt x="558" y="335"/>
                  </a:lnTo>
                  <a:lnTo>
                    <a:pt x="560" y="336"/>
                  </a:lnTo>
                  <a:lnTo>
                    <a:pt x="563" y="344"/>
                  </a:lnTo>
                  <a:lnTo>
                    <a:pt x="565" y="347"/>
                  </a:lnTo>
                  <a:lnTo>
                    <a:pt x="568" y="349"/>
                  </a:lnTo>
                  <a:lnTo>
                    <a:pt x="572" y="351"/>
                  </a:lnTo>
                  <a:lnTo>
                    <a:pt x="590" y="351"/>
                  </a:lnTo>
                  <a:lnTo>
                    <a:pt x="593" y="350"/>
                  </a:lnTo>
                  <a:lnTo>
                    <a:pt x="596" y="346"/>
                  </a:lnTo>
                  <a:lnTo>
                    <a:pt x="596" y="345"/>
                  </a:lnTo>
                  <a:lnTo>
                    <a:pt x="595" y="342"/>
                  </a:lnTo>
                  <a:lnTo>
                    <a:pt x="596" y="339"/>
                  </a:lnTo>
                  <a:lnTo>
                    <a:pt x="598" y="337"/>
                  </a:lnTo>
                  <a:lnTo>
                    <a:pt x="599" y="337"/>
                  </a:lnTo>
                  <a:lnTo>
                    <a:pt x="603" y="340"/>
                  </a:lnTo>
                  <a:lnTo>
                    <a:pt x="605" y="340"/>
                  </a:lnTo>
                  <a:lnTo>
                    <a:pt x="609" y="339"/>
                  </a:lnTo>
                  <a:lnTo>
                    <a:pt x="619" y="334"/>
                  </a:lnTo>
                  <a:lnTo>
                    <a:pt x="626" y="332"/>
                  </a:lnTo>
                  <a:lnTo>
                    <a:pt x="629" y="333"/>
                  </a:lnTo>
                  <a:lnTo>
                    <a:pt x="632" y="334"/>
                  </a:lnTo>
                  <a:lnTo>
                    <a:pt x="636" y="336"/>
                  </a:lnTo>
                  <a:lnTo>
                    <a:pt x="637" y="340"/>
                  </a:lnTo>
                  <a:lnTo>
                    <a:pt x="637" y="345"/>
                  </a:lnTo>
                  <a:lnTo>
                    <a:pt x="639" y="350"/>
                  </a:lnTo>
                  <a:lnTo>
                    <a:pt x="641" y="353"/>
                  </a:lnTo>
                  <a:lnTo>
                    <a:pt x="647" y="358"/>
                  </a:lnTo>
                  <a:lnTo>
                    <a:pt x="649" y="362"/>
                  </a:lnTo>
                  <a:lnTo>
                    <a:pt x="649" y="367"/>
                  </a:lnTo>
                  <a:lnTo>
                    <a:pt x="654" y="367"/>
                  </a:lnTo>
                  <a:lnTo>
                    <a:pt x="661" y="365"/>
                  </a:lnTo>
                  <a:lnTo>
                    <a:pt x="665" y="362"/>
                  </a:lnTo>
                  <a:lnTo>
                    <a:pt x="667" y="358"/>
                  </a:lnTo>
                  <a:lnTo>
                    <a:pt x="665" y="354"/>
                  </a:lnTo>
                  <a:lnTo>
                    <a:pt x="659" y="347"/>
                  </a:lnTo>
                  <a:lnTo>
                    <a:pt x="657" y="344"/>
                  </a:lnTo>
                  <a:lnTo>
                    <a:pt x="657" y="342"/>
                  </a:lnTo>
                  <a:lnTo>
                    <a:pt x="657" y="340"/>
                  </a:lnTo>
                  <a:lnTo>
                    <a:pt x="658" y="337"/>
                  </a:lnTo>
                  <a:lnTo>
                    <a:pt x="659" y="335"/>
                  </a:lnTo>
                  <a:lnTo>
                    <a:pt x="662" y="332"/>
                  </a:lnTo>
                  <a:lnTo>
                    <a:pt x="663" y="331"/>
                  </a:lnTo>
                  <a:lnTo>
                    <a:pt x="664" y="326"/>
                  </a:lnTo>
                  <a:lnTo>
                    <a:pt x="663" y="323"/>
                  </a:lnTo>
                  <a:lnTo>
                    <a:pt x="660" y="322"/>
                  </a:lnTo>
                  <a:lnTo>
                    <a:pt x="653" y="320"/>
                  </a:lnTo>
                  <a:lnTo>
                    <a:pt x="649" y="319"/>
                  </a:lnTo>
                  <a:lnTo>
                    <a:pt x="646" y="316"/>
                  </a:lnTo>
                  <a:lnTo>
                    <a:pt x="649" y="311"/>
                  </a:lnTo>
                  <a:lnTo>
                    <a:pt x="648" y="310"/>
                  </a:lnTo>
                  <a:lnTo>
                    <a:pt x="647" y="308"/>
                  </a:lnTo>
                  <a:lnTo>
                    <a:pt x="646" y="307"/>
                  </a:lnTo>
                  <a:lnTo>
                    <a:pt x="646" y="305"/>
                  </a:lnTo>
                  <a:lnTo>
                    <a:pt x="647" y="302"/>
                  </a:lnTo>
                  <a:lnTo>
                    <a:pt x="647" y="297"/>
                  </a:lnTo>
                  <a:lnTo>
                    <a:pt x="647" y="296"/>
                  </a:lnTo>
                  <a:lnTo>
                    <a:pt x="649" y="293"/>
                  </a:lnTo>
                  <a:lnTo>
                    <a:pt x="652" y="290"/>
                  </a:lnTo>
                  <a:lnTo>
                    <a:pt x="653" y="288"/>
                  </a:lnTo>
                  <a:lnTo>
                    <a:pt x="655" y="281"/>
                  </a:lnTo>
                  <a:lnTo>
                    <a:pt x="656" y="279"/>
                  </a:lnTo>
                  <a:lnTo>
                    <a:pt x="658" y="278"/>
                  </a:lnTo>
                  <a:lnTo>
                    <a:pt x="673" y="274"/>
                  </a:lnTo>
                  <a:lnTo>
                    <a:pt x="677" y="274"/>
                  </a:lnTo>
                  <a:lnTo>
                    <a:pt x="679" y="276"/>
                  </a:lnTo>
                  <a:lnTo>
                    <a:pt x="679" y="278"/>
                  </a:lnTo>
                  <a:lnTo>
                    <a:pt x="678" y="283"/>
                  </a:lnTo>
                  <a:lnTo>
                    <a:pt x="679" y="286"/>
                  </a:lnTo>
                  <a:lnTo>
                    <a:pt x="686" y="288"/>
                  </a:lnTo>
                  <a:lnTo>
                    <a:pt x="687" y="289"/>
                  </a:lnTo>
                  <a:lnTo>
                    <a:pt x="688" y="290"/>
                  </a:lnTo>
                  <a:lnTo>
                    <a:pt x="689" y="291"/>
                  </a:lnTo>
                  <a:lnTo>
                    <a:pt x="691" y="292"/>
                  </a:lnTo>
                  <a:lnTo>
                    <a:pt x="693" y="292"/>
                  </a:lnTo>
                  <a:lnTo>
                    <a:pt x="698" y="292"/>
                  </a:lnTo>
                  <a:lnTo>
                    <a:pt x="710" y="295"/>
                  </a:lnTo>
                  <a:lnTo>
                    <a:pt x="713" y="294"/>
                  </a:lnTo>
                  <a:lnTo>
                    <a:pt x="714" y="292"/>
                  </a:lnTo>
                  <a:lnTo>
                    <a:pt x="715" y="291"/>
                  </a:lnTo>
                  <a:lnTo>
                    <a:pt x="716" y="285"/>
                  </a:lnTo>
                  <a:lnTo>
                    <a:pt x="716" y="279"/>
                  </a:lnTo>
                  <a:lnTo>
                    <a:pt x="715" y="275"/>
                  </a:lnTo>
                  <a:close/>
                </a:path>
              </a:pathLst>
            </a:custGeom>
            <a:pattFill prst="dkHorz">
              <a:fgClr>
                <a:schemeClr val="accent2"/>
              </a:fgClr>
              <a:bgClr>
                <a:schemeClr val="bg1"/>
              </a:bgClr>
            </a:patt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05" name="Freeform 41">
              <a:extLst>
                <a:ext uri="{FF2B5EF4-FFF2-40B4-BE49-F238E27FC236}">
                  <a16:creationId xmlns:a16="http://schemas.microsoft.com/office/drawing/2014/main" id="{962731B7-252D-4FEE-901D-189D560A9F60}"/>
                </a:ext>
              </a:extLst>
            </p:cNvPr>
            <p:cNvSpPr>
              <a:spLocks noEditPoints="1"/>
            </p:cNvSpPr>
            <p:nvPr/>
          </p:nvSpPr>
          <p:spPr bwMode="gray">
            <a:xfrm>
              <a:off x="8627357" y="3778527"/>
              <a:ext cx="906839" cy="1230308"/>
            </a:xfrm>
            <a:custGeom>
              <a:avLst/>
              <a:gdLst>
                <a:gd name="T0" fmla="*/ 362 w 1455"/>
                <a:gd name="T1" fmla="*/ 366 h 1974"/>
                <a:gd name="T2" fmla="*/ 333 w 1455"/>
                <a:gd name="T3" fmla="*/ 349 h 1974"/>
                <a:gd name="T4" fmla="*/ 1271 w 1455"/>
                <a:gd name="T5" fmla="*/ 277 h 1974"/>
                <a:gd name="T6" fmla="*/ 1265 w 1455"/>
                <a:gd name="T7" fmla="*/ 327 h 1974"/>
                <a:gd name="T8" fmla="*/ 481 w 1455"/>
                <a:gd name="T9" fmla="*/ 163 h 1974"/>
                <a:gd name="T10" fmla="*/ 437 w 1455"/>
                <a:gd name="T11" fmla="*/ 155 h 1974"/>
                <a:gd name="T12" fmla="*/ 1159 w 1455"/>
                <a:gd name="T13" fmla="*/ 144 h 1974"/>
                <a:gd name="T14" fmla="*/ 1157 w 1455"/>
                <a:gd name="T15" fmla="*/ 210 h 1974"/>
                <a:gd name="T16" fmla="*/ 1236 w 1455"/>
                <a:gd name="T17" fmla="*/ 196 h 1974"/>
                <a:gd name="T18" fmla="*/ 1208 w 1455"/>
                <a:gd name="T19" fmla="*/ 134 h 1974"/>
                <a:gd name="T20" fmla="*/ 1212 w 1455"/>
                <a:gd name="T21" fmla="*/ 138 h 1974"/>
                <a:gd name="T22" fmla="*/ 1183 w 1455"/>
                <a:gd name="T23" fmla="*/ 148 h 1974"/>
                <a:gd name="T24" fmla="*/ 1443 w 1455"/>
                <a:gd name="T25" fmla="*/ 964 h 1974"/>
                <a:gd name="T26" fmla="*/ 1406 w 1455"/>
                <a:gd name="T27" fmla="*/ 761 h 1974"/>
                <a:gd name="T28" fmla="*/ 1355 w 1455"/>
                <a:gd name="T29" fmla="*/ 522 h 1974"/>
                <a:gd name="T30" fmla="*/ 1299 w 1455"/>
                <a:gd name="T31" fmla="*/ 356 h 1974"/>
                <a:gd name="T32" fmla="*/ 1248 w 1455"/>
                <a:gd name="T33" fmla="*/ 245 h 1974"/>
                <a:gd name="T34" fmla="*/ 1141 w 1455"/>
                <a:gd name="T35" fmla="*/ 184 h 1974"/>
                <a:gd name="T36" fmla="*/ 1066 w 1455"/>
                <a:gd name="T37" fmla="*/ 190 h 1974"/>
                <a:gd name="T38" fmla="*/ 1070 w 1455"/>
                <a:gd name="T39" fmla="*/ 184 h 1974"/>
                <a:gd name="T40" fmla="*/ 993 w 1455"/>
                <a:gd name="T41" fmla="*/ 242 h 1974"/>
                <a:gd name="T42" fmla="*/ 889 w 1455"/>
                <a:gd name="T43" fmla="*/ 316 h 1974"/>
                <a:gd name="T44" fmla="*/ 792 w 1455"/>
                <a:gd name="T45" fmla="*/ 265 h 1974"/>
                <a:gd name="T46" fmla="*/ 690 w 1455"/>
                <a:gd name="T47" fmla="*/ 190 h 1974"/>
                <a:gd name="T48" fmla="*/ 650 w 1455"/>
                <a:gd name="T49" fmla="*/ 103 h 1974"/>
                <a:gd name="T50" fmla="*/ 497 w 1455"/>
                <a:gd name="T51" fmla="*/ 51 h 1974"/>
                <a:gd name="T52" fmla="*/ 451 w 1455"/>
                <a:gd name="T53" fmla="*/ 193 h 1974"/>
                <a:gd name="T54" fmla="*/ 501 w 1455"/>
                <a:gd name="T55" fmla="*/ 274 h 1974"/>
                <a:gd name="T56" fmla="*/ 574 w 1455"/>
                <a:gd name="T57" fmla="*/ 371 h 1974"/>
                <a:gd name="T58" fmla="*/ 417 w 1455"/>
                <a:gd name="T59" fmla="*/ 435 h 1974"/>
                <a:gd name="T60" fmla="*/ 367 w 1455"/>
                <a:gd name="T61" fmla="*/ 410 h 1974"/>
                <a:gd name="T62" fmla="*/ 222 w 1455"/>
                <a:gd name="T63" fmla="*/ 472 h 1974"/>
                <a:gd name="T64" fmla="*/ 133 w 1455"/>
                <a:gd name="T65" fmla="*/ 694 h 1974"/>
                <a:gd name="T66" fmla="*/ 151 w 1455"/>
                <a:gd name="T67" fmla="*/ 827 h 1974"/>
                <a:gd name="T68" fmla="*/ 21 w 1455"/>
                <a:gd name="T69" fmla="*/ 887 h 1974"/>
                <a:gd name="T70" fmla="*/ 3 w 1455"/>
                <a:gd name="T71" fmla="*/ 1080 h 1974"/>
                <a:gd name="T72" fmla="*/ 46 w 1455"/>
                <a:gd name="T73" fmla="*/ 1162 h 1974"/>
                <a:gd name="T74" fmla="*/ 69 w 1455"/>
                <a:gd name="T75" fmla="*/ 1245 h 1974"/>
                <a:gd name="T76" fmla="*/ 70 w 1455"/>
                <a:gd name="T77" fmla="*/ 1357 h 1974"/>
                <a:gd name="T78" fmla="*/ 78 w 1455"/>
                <a:gd name="T79" fmla="*/ 1453 h 1974"/>
                <a:gd name="T80" fmla="*/ 164 w 1455"/>
                <a:gd name="T81" fmla="*/ 1514 h 1974"/>
                <a:gd name="T82" fmla="*/ 283 w 1455"/>
                <a:gd name="T83" fmla="*/ 1554 h 1974"/>
                <a:gd name="T84" fmla="*/ 311 w 1455"/>
                <a:gd name="T85" fmla="*/ 1677 h 1974"/>
                <a:gd name="T86" fmla="*/ 271 w 1455"/>
                <a:gd name="T87" fmla="*/ 1840 h 1974"/>
                <a:gd name="T88" fmla="*/ 360 w 1455"/>
                <a:gd name="T89" fmla="*/ 1898 h 1974"/>
                <a:gd name="T90" fmla="*/ 421 w 1455"/>
                <a:gd name="T91" fmla="*/ 1884 h 1974"/>
                <a:gd name="T92" fmla="*/ 463 w 1455"/>
                <a:gd name="T93" fmla="*/ 1874 h 1974"/>
                <a:gd name="T94" fmla="*/ 655 w 1455"/>
                <a:gd name="T95" fmla="*/ 1922 h 1974"/>
                <a:gd name="T96" fmla="*/ 723 w 1455"/>
                <a:gd name="T97" fmla="*/ 1948 h 1974"/>
                <a:gd name="T98" fmla="*/ 811 w 1455"/>
                <a:gd name="T99" fmla="*/ 1937 h 1974"/>
                <a:gd name="T100" fmla="*/ 1008 w 1455"/>
                <a:gd name="T101" fmla="*/ 1888 h 1974"/>
                <a:gd name="T102" fmla="*/ 1100 w 1455"/>
                <a:gd name="T103" fmla="*/ 1896 h 1974"/>
                <a:gd name="T104" fmla="*/ 1120 w 1455"/>
                <a:gd name="T105" fmla="*/ 1863 h 1974"/>
                <a:gd name="T106" fmla="*/ 1202 w 1455"/>
                <a:gd name="T107" fmla="*/ 1703 h 1974"/>
                <a:gd name="T108" fmla="*/ 1241 w 1455"/>
                <a:gd name="T109" fmla="*/ 1593 h 1974"/>
                <a:gd name="T110" fmla="*/ 1091 w 1455"/>
                <a:gd name="T111" fmla="*/ 1469 h 1974"/>
                <a:gd name="T112" fmla="*/ 1049 w 1455"/>
                <a:gd name="T113" fmla="*/ 1337 h 1974"/>
                <a:gd name="T114" fmla="*/ 1012 w 1455"/>
                <a:gd name="T115" fmla="*/ 1260 h 1974"/>
                <a:gd name="T116" fmla="*/ 1098 w 1455"/>
                <a:gd name="T117" fmla="*/ 1212 h 1974"/>
                <a:gd name="T118" fmla="*/ 1213 w 1455"/>
                <a:gd name="T119" fmla="*/ 1162 h 1974"/>
                <a:gd name="T120" fmla="*/ 1331 w 1455"/>
                <a:gd name="T121" fmla="*/ 1075 h 1974"/>
                <a:gd name="T122" fmla="*/ 1429 w 1455"/>
                <a:gd name="T123" fmla="*/ 1092 h 1974"/>
                <a:gd name="T124" fmla="*/ 414 w 1455"/>
                <a:gd name="T125" fmla="*/ 4 h 1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5" h="1974">
                  <a:moveTo>
                    <a:pt x="131" y="404"/>
                  </a:moveTo>
                  <a:lnTo>
                    <a:pt x="133" y="405"/>
                  </a:lnTo>
                  <a:lnTo>
                    <a:pt x="134" y="405"/>
                  </a:lnTo>
                  <a:lnTo>
                    <a:pt x="137" y="404"/>
                  </a:lnTo>
                  <a:lnTo>
                    <a:pt x="138" y="404"/>
                  </a:lnTo>
                  <a:lnTo>
                    <a:pt x="140" y="404"/>
                  </a:lnTo>
                  <a:lnTo>
                    <a:pt x="142" y="406"/>
                  </a:lnTo>
                  <a:lnTo>
                    <a:pt x="143" y="407"/>
                  </a:lnTo>
                  <a:lnTo>
                    <a:pt x="142" y="405"/>
                  </a:lnTo>
                  <a:lnTo>
                    <a:pt x="141" y="403"/>
                  </a:lnTo>
                  <a:lnTo>
                    <a:pt x="139" y="402"/>
                  </a:lnTo>
                  <a:lnTo>
                    <a:pt x="138" y="401"/>
                  </a:lnTo>
                  <a:lnTo>
                    <a:pt x="138" y="400"/>
                  </a:lnTo>
                  <a:lnTo>
                    <a:pt x="141" y="399"/>
                  </a:lnTo>
                  <a:lnTo>
                    <a:pt x="146" y="397"/>
                  </a:lnTo>
                  <a:lnTo>
                    <a:pt x="150" y="396"/>
                  </a:lnTo>
                  <a:lnTo>
                    <a:pt x="147" y="392"/>
                  </a:lnTo>
                  <a:lnTo>
                    <a:pt x="142" y="393"/>
                  </a:lnTo>
                  <a:lnTo>
                    <a:pt x="130" y="396"/>
                  </a:lnTo>
                  <a:lnTo>
                    <a:pt x="128" y="398"/>
                  </a:lnTo>
                  <a:lnTo>
                    <a:pt x="128" y="401"/>
                  </a:lnTo>
                  <a:lnTo>
                    <a:pt x="131" y="404"/>
                  </a:lnTo>
                  <a:close/>
                  <a:moveTo>
                    <a:pt x="189" y="372"/>
                  </a:moveTo>
                  <a:lnTo>
                    <a:pt x="168" y="375"/>
                  </a:lnTo>
                  <a:lnTo>
                    <a:pt x="162" y="378"/>
                  </a:lnTo>
                  <a:lnTo>
                    <a:pt x="195" y="374"/>
                  </a:lnTo>
                  <a:lnTo>
                    <a:pt x="189" y="372"/>
                  </a:lnTo>
                  <a:close/>
                  <a:moveTo>
                    <a:pt x="229" y="368"/>
                  </a:moveTo>
                  <a:lnTo>
                    <a:pt x="236" y="365"/>
                  </a:lnTo>
                  <a:lnTo>
                    <a:pt x="236" y="365"/>
                  </a:lnTo>
                  <a:lnTo>
                    <a:pt x="237" y="365"/>
                  </a:lnTo>
                  <a:lnTo>
                    <a:pt x="237" y="363"/>
                  </a:lnTo>
                  <a:lnTo>
                    <a:pt x="219" y="363"/>
                  </a:lnTo>
                  <a:lnTo>
                    <a:pt x="210" y="364"/>
                  </a:lnTo>
                  <a:lnTo>
                    <a:pt x="203" y="369"/>
                  </a:lnTo>
                  <a:lnTo>
                    <a:pt x="209" y="370"/>
                  </a:lnTo>
                  <a:lnTo>
                    <a:pt x="229" y="368"/>
                  </a:lnTo>
                  <a:close/>
                  <a:moveTo>
                    <a:pt x="249" y="365"/>
                  </a:moveTo>
                  <a:lnTo>
                    <a:pt x="250" y="365"/>
                  </a:lnTo>
                  <a:lnTo>
                    <a:pt x="250" y="364"/>
                  </a:lnTo>
                  <a:lnTo>
                    <a:pt x="251" y="363"/>
                  </a:lnTo>
                  <a:lnTo>
                    <a:pt x="249" y="361"/>
                  </a:lnTo>
                  <a:lnTo>
                    <a:pt x="246" y="361"/>
                  </a:lnTo>
                  <a:lnTo>
                    <a:pt x="243" y="361"/>
                  </a:lnTo>
                  <a:lnTo>
                    <a:pt x="240" y="363"/>
                  </a:lnTo>
                  <a:lnTo>
                    <a:pt x="242" y="363"/>
                  </a:lnTo>
                  <a:lnTo>
                    <a:pt x="249" y="365"/>
                  </a:lnTo>
                  <a:close/>
                  <a:moveTo>
                    <a:pt x="362" y="366"/>
                  </a:moveTo>
                  <a:lnTo>
                    <a:pt x="363" y="366"/>
                  </a:lnTo>
                  <a:lnTo>
                    <a:pt x="364" y="367"/>
                  </a:lnTo>
                  <a:lnTo>
                    <a:pt x="365" y="366"/>
                  </a:lnTo>
                  <a:lnTo>
                    <a:pt x="368" y="364"/>
                  </a:lnTo>
                  <a:lnTo>
                    <a:pt x="369" y="363"/>
                  </a:lnTo>
                  <a:lnTo>
                    <a:pt x="372" y="363"/>
                  </a:lnTo>
                  <a:lnTo>
                    <a:pt x="368" y="361"/>
                  </a:lnTo>
                  <a:lnTo>
                    <a:pt x="365" y="360"/>
                  </a:lnTo>
                  <a:lnTo>
                    <a:pt x="362" y="361"/>
                  </a:lnTo>
                  <a:lnTo>
                    <a:pt x="360" y="365"/>
                  </a:lnTo>
                  <a:lnTo>
                    <a:pt x="360" y="367"/>
                  </a:lnTo>
                  <a:lnTo>
                    <a:pt x="361" y="366"/>
                  </a:lnTo>
                  <a:lnTo>
                    <a:pt x="362" y="366"/>
                  </a:lnTo>
                  <a:close/>
                  <a:moveTo>
                    <a:pt x="258" y="363"/>
                  </a:moveTo>
                  <a:lnTo>
                    <a:pt x="263" y="363"/>
                  </a:lnTo>
                  <a:lnTo>
                    <a:pt x="263" y="359"/>
                  </a:lnTo>
                  <a:lnTo>
                    <a:pt x="269" y="357"/>
                  </a:lnTo>
                  <a:lnTo>
                    <a:pt x="280" y="358"/>
                  </a:lnTo>
                  <a:lnTo>
                    <a:pt x="281" y="357"/>
                  </a:lnTo>
                  <a:lnTo>
                    <a:pt x="281" y="357"/>
                  </a:lnTo>
                  <a:lnTo>
                    <a:pt x="281" y="357"/>
                  </a:lnTo>
                  <a:lnTo>
                    <a:pt x="281" y="356"/>
                  </a:lnTo>
                  <a:lnTo>
                    <a:pt x="278" y="354"/>
                  </a:lnTo>
                  <a:lnTo>
                    <a:pt x="264" y="354"/>
                  </a:lnTo>
                  <a:lnTo>
                    <a:pt x="259" y="354"/>
                  </a:lnTo>
                  <a:lnTo>
                    <a:pt x="257" y="356"/>
                  </a:lnTo>
                  <a:lnTo>
                    <a:pt x="256" y="359"/>
                  </a:lnTo>
                  <a:lnTo>
                    <a:pt x="257" y="362"/>
                  </a:lnTo>
                  <a:lnTo>
                    <a:pt x="258" y="363"/>
                  </a:lnTo>
                  <a:close/>
                  <a:moveTo>
                    <a:pt x="289" y="355"/>
                  </a:moveTo>
                  <a:lnTo>
                    <a:pt x="291" y="354"/>
                  </a:lnTo>
                  <a:lnTo>
                    <a:pt x="292" y="352"/>
                  </a:lnTo>
                  <a:lnTo>
                    <a:pt x="296" y="355"/>
                  </a:lnTo>
                  <a:lnTo>
                    <a:pt x="301" y="354"/>
                  </a:lnTo>
                  <a:lnTo>
                    <a:pt x="305" y="352"/>
                  </a:lnTo>
                  <a:lnTo>
                    <a:pt x="308" y="350"/>
                  </a:lnTo>
                  <a:lnTo>
                    <a:pt x="311" y="350"/>
                  </a:lnTo>
                  <a:lnTo>
                    <a:pt x="311" y="348"/>
                  </a:lnTo>
                  <a:lnTo>
                    <a:pt x="297" y="347"/>
                  </a:lnTo>
                  <a:lnTo>
                    <a:pt x="291" y="349"/>
                  </a:lnTo>
                  <a:lnTo>
                    <a:pt x="287" y="354"/>
                  </a:lnTo>
                  <a:lnTo>
                    <a:pt x="288" y="355"/>
                  </a:lnTo>
                  <a:lnTo>
                    <a:pt x="289" y="355"/>
                  </a:lnTo>
                  <a:close/>
                  <a:moveTo>
                    <a:pt x="321" y="347"/>
                  </a:moveTo>
                  <a:lnTo>
                    <a:pt x="323" y="347"/>
                  </a:lnTo>
                  <a:lnTo>
                    <a:pt x="330" y="348"/>
                  </a:lnTo>
                  <a:lnTo>
                    <a:pt x="332" y="348"/>
                  </a:lnTo>
                  <a:lnTo>
                    <a:pt x="333" y="349"/>
                  </a:lnTo>
                  <a:lnTo>
                    <a:pt x="329" y="346"/>
                  </a:lnTo>
                  <a:lnTo>
                    <a:pt x="327" y="345"/>
                  </a:lnTo>
                  <a:lnTo>
                    <a:pt x="324" y="345"/>
                  </a:lnTo>
                  <a:lnTo>
                    <a:pt x="321" y="345"/>
                  </a:lnTo>
                  <a:lnTo>
                    <a:pt x="318" y="347"/>
                  </a:lnTo>
                  <a:lnTo>
                    <a:pt x="318" y="348"/>
                  </a:lnTo>
                  <a:lnTo>
                    <a:pt x="320" y="350"/>
                  </a:lnTo>
                  <a:lnTo>
                    <a:pt x="321" y="347"/>
                  </a:lnTo>
                  <a:close/>
                  <a:moveTo>
                    <a:pt x="881" y="299"/>
                  </a:moveTo>
                  <a:lnTo>
                    <a:pt x="884" y="299"/>
                  </a:lnTo>
                  <a:lnTo>
                    <a:pt x="886" y="297"/>
                  </a:lnTo>
                  <a:lnTo>
                    <a:pt x="885" y="293"/>
                  </a:lnTo>
                  <a:lnTo>
                    <a:pt x="886" y="291"/>
                  </a:lnTo>
                  <a:lnTo>
                    <a:pt x="888" y="291"/>
                  </a:lnTo>
                  <a:lnTo>
                    <a:pt x="888" y="294"/>
                  </a:lnTo>
                  <a:lnTo>
                    <a:pt x="887" y="299"/>
                  </a:lnTo>
                  <a:lnTo>
                    <a:pt x="887" y="301"/>
                  </a:lnTo>
                  <a:lnTo>
                    <a:pt x="889" y="301"/>
                  </a:lnTo>
                  <a:lnTo>
                    <a:pt x="891" y="298"/>
                  </a:lnTo>
                  <a:lnTo>
                    <a:pt x="896" y="284"/>
                  </a:lnTo>
                  <a:lnTo>
                    <a:pt x="891" y="282"/>
                  </a:lnTo>
                  <a:lnTo>
                    <a:pt x="885" y="284"/>
                  </a:lnTo>
                  <a:lnTo>
                    <a:pt x="879" y="289"/>
                  </a:lnTo>
                  <a:lnTo>
                    <a:pt x="876" y="295"/>
                  </a:lnTo>
                  <a:lnTo>
                    <a:pt x="879" y="297"/>
                  </a:lnTo>
                  <a:lnTo>
                    <a:pt x="881" y="299"/>
                  </a:lnTo>
                  <a:close/>
                  <a:moveTo>
                    <a:pt x="902" y="275"/>
                  </a:moveTo>
                  <a:lnTo>
                    <a:pt x="904" y="270"/>
                  </a:lnTo>
                  <a:lnTo>
                    <a:pt x="912" y="264"/>
                  </a:lnTo>
                  <a:lnTo>
                    <a:pt x="914" y="260"/>
                  </a:lnTo>
                  <a:lnTo>
                    <a:pt x="912" y="262"/>
                  </a:lnTo>
                  <a:lnTo>
                    <a:pt x="901" y="267"/>
                  </a:lnTo>
                  <a:lnTo>
                    <a:pt x="901" y="269"/>
                  </a:lnTo>
                  <a:lnTo>
                    <a:pt x="900" y="270"/>
                  </a:lnTo>
                  <a:lnTo>
                    <a:pt x="901" y="275"/>
                  </a:lnTo>
                  <a:lnTo>
                    <a:pt x="902" y="275"/>
                  </a:lnTo>
                  <a:close/>
                  <a:moveTo>
                    <a:pt x="1254" y="249"/>
                  </a:moveTo>
                  <a:lnTo>
                    <a:pt x="1256" y="252"/>
                  </a:lnTo>
                  <a:lnTo>
                    <a:pt x="1262" y="259"/>
                  </a:lnTo>
                  <a:lnTo>
                    <a:pt x="1264" y="263"/>
                  </a:lnTo>
                  <a:lnTo>
                    <a:pt x="1263" y="270"/>
                  </a:lnTo>
                  <a:lnTo>
                    <a:pt x="1258" y="279"/>
                  </a:lnTo>
                  <a:lnTo>
                    <a:pt x="1257" y="284"/>
                  </a:lnTo>
                  <a:lnTo>
                    <a:pt x="1260" y="285"/>
                  </a:lnTo>
                  <a:lnTo>
                    <a:pt x="1262" y="283"/>
                  </a:lnTo>
                  <a:lnTo>
                    <a:pt x="1265" y="280"/>
                  </a:lnTo>
                  <a:lnTo>
                    <a:pt x="1270" y="278"/>
                  </a:lnTo>
                  <a:lnTo>
                    <a:pt x="1271" y="277"/>
                  </a:lnTo>
                  <a:lnTo>
                    <a:pt x="1272" y="277"/>
                  </a:lnTo>
                  <a:lnTo>
                    <a:pt x="1273" y="280"/>
                  </a:lnTo>
                  <a:lnTo>
                    <a:pt x="1273" y="282"/>
                  </a:lnTo>
                  <a:lnTo>
                    <a:pt x="1271" y="284"/>
                  </a:lnTo>
                  <a:lnTo>
                    <a:pt x="1271" y="286"/>
                  </a:lnTo>
                  <a:lnTo>
                    <a:pt x="1270" y="290"/>
                  </a:lnTo>
                  <a:lnTo>
                    <a:pt x="1276" y="288"/>
                  </a:lnTo>
                  <a:lnTo>
                    <a:pt x="1276" y="287"/>
                  </a:lnTo>
                  <a:lnTo>
                    <a:pt x="1277" y="285"/>
                  </a:lnTo>
                  <a:lnTo>
                    <a:pt x="1278" y="283"/>
                  </a:lnTo>
                  <a:lnTo>
                    <a:pt x="1280" y="281"/>
                  </a:lnTo>
                  <a:lnTo>
                    <a:pt x="1281" y="280"/>
                  </a:lnTo>
                  <a:lnTo>
                    <a:pt x="1281" y="278"/>
                  </a:lnTo>
                  <a:lnTo>
                    <a:pt x="1280" y="275"/>
                  </a:lnTo>
                  <a:lnTo>
                    <a:pt x="1281" y="273"/>
                  </a:lnTo>
                  <a:lnTo>
                    <a:pt x="1284" y="272"/>
                  </a:lnTo>
                  <a:lnTo>
                    <a:pt x="1287" y="273"/>
                  </a:lnTo>
                  <a:lnTo>
                    <a:pt x="1290" y="275"/>
                  </a:lnTo>
                  <a:lnTo>
                    <a:pt x="1292" y="278"/>
                  </a:lnTo>
                  <a:lnTo>
                    <a:pt x="1294" y="282"/>
                  </a:lnTo>
                  <a:lnTo>
                    <a:pt x="1295" y="286"/>
                  </a:lnTo>
                  <a:lnTo>
                    <a:pt x="1299" y="284"/>
                  </a:lnTo>
                  <a:lnTo>
                    <a:pt x="1301" y="289"/>
                  </a:lnTo>
                  <a:lnTo>
                    <a:pt x="1301" y="296"/>
                  </a:lnTo>
                  <a:lnTo>
                    <a:pt x="1299" y="303"/>
                  </a:lnTo>
                  <a:lnTo>
                    <a:pt x="1300" y="306"/>
                  </a:lnTo>
                  <a:lnTo>
                    <a:pt x="1295" y="304"/>
                  </a:lnTo>
                  <a:lnTo>
                    <a:pt x="1295" y="303"/>
                  </a:lnTo>
                  <a:lnTo>
                    <a:pt x="1296" y="302"/>
                  </a:lnTo>
                  <a:lnTo>
                    <a:pt x="1296" y="301"/>
                  </a:lnTo>
                  <a:lnTo>
                    <a:pt x="1297" y="301"/>
                  </a:lnTo>
                  <a:lnTo>
                    <a:pt x="1291" y="301"/>
                  </a:lnTo>
                  <a:lnTo>
                    <a:pt x="1289" y="302"/>
                  </a:lnTo>
                  <a:lnTo>
                    <a:pt x="1286" y="306"/>
                  </a:lnTo>
                  <a:lnTo>
                    <a:pt x="1287" y="302"/>
                  </a:lnTo>
                  <a:lnTo>
                    <a:pt x="1288" y="297"/>
                  </a:lnTo>
                  <a:lnTo>
                    <a:pt x="1287" y="295"/>
                  </a:lnTo>
                  <a:lnTo>
                    <a:pt x="1289" y="293"/>
                  </a:lnTo>
                  <a:lnTo>
                    <a:pt x="1286" y="292"/>
                  </a:lnTo>
                  <a:lnTo>
                    <a:pt x="1278" y="292"/>
                  </a:lnTo>
                  <a:lnTo>
                    <a:pt x="1277" y="298"/>
                  </a:lnTo>
                  <a:lnTo>
                    <a:pt x="1283" y="310"/>
                  </a:lnTo>
                  <a:lnTo>
                    <a:pt x="1282" y="317"/>
                  </a:lnTo>
                  <a:lnTo>
                    <a:pt x="1281" y="319"/>
                  </a:lnTo>
                  <a:lnTo>
                    <a:pt x="1275" y="322"/>
                  </a:lnTo>
                  <a:lnTo>
                    <a:pt x="1270" y="323"/>
                  </a:lnTo>
                  <a:lnTo>
                    <a:pt x="1267" y="326"/>
                  </a:lnTo>
                  <a:lnTo>
                    <a:pt x="1265" y="327"/>
                  </a:lnTo>
                  <a:lnTo>
                    <a:pt x="1267" y="331"/>
                  </a:lnTo>
                  <a:lnTo>
                    <a:pt x="1273" y="332"/>
                  </a:lnTo>
                  <a:lnTo>
                    <a:pt x="1283" y="332"/>
                  </a:lnTo>
                  <a:lnTo>
                    <a:pt x="1292" y="330"/>
                  </a:lnTo>
                  <a:lnTo>
                    <a:pt x="1297" y="327"/>
                  </a:lnTo>
                  <a:lnTo>
                    <a:pt x="1300" y="323"/>
                  </a:lnTo>
                  <a:lnTo>
                    <a:pt x="1303" y="325"/>
                  </a:lnTo>
                  <a:lnTo>
                    <a:pt x="1307" y="325"/>
                  </a:lnTo>
                  <a:lnTo>
                    <a:pt x="1325" y="323"/>
                  </a:lnTo>
                  <a:lnTo>
                    <a:pt x="1324" y="319"/>
                  </a:lnTo>
                  <a:lnTo>
                    <a:pt x="1321" y="315"/>
                  </a:lnTo>
                  <a:lnTo>
                    <a:pt x="1322" y="315"/>
                  </a:lnTo>
                  <a:lnTo>
                    <a:pt x="1324" y="314"/>
                  </a:lnTo>
                  <a:lnTo>
                    <a:pt x="1326" y="307"/>
                  </a:lnTo>
                  <a:lnTo>
                    <a:pt x="1326" y="307"/>
                  </a:lnTo>
                  <a:lnTo>
                    <a:pt x="1326" y="307"/>
                  </a:lnTo>
                  <a:lnTo>
                    <a:pt x="1324" y="305"/>
                  </a:lnTo>
                  <a:lnTo>
                    <a:pt x="1295" y="274"/>
                  </a:lnTo>
                  <a:lnTo>
                    <a:pt x="1291" y="271"/>
                  </a:lnTo>
                  <a:lnTo>
                    <a:pt x="1285" y="269"/>
                  </a:lnTo>
                  <a:lnTo>
                    <a:pt x="1274" y="263"/>
                  </a:lnTo>
                  <a:lnTo>
                    <a:pt x="1270" y="258"/>
                  </a:lnTo>
                  <a:lnTo>
                    <a:pt x="1268" y="255"/>
                  </a:lnTo>
                  <a:lnTo>
                    <a:pt x="1265" y="246"/>
                  </a:lnTo>
                  <a:lnTo>
                    <a:pt x="1264" y="243"/>
                  </a:lnTo>
                  <a:lnTo>
                    <a:pt x="1261" y="242"/>
                  </a:lnTo>
                  <a:lnTo>
                    <a:pt x="1258" y="243"/>
                  </a:lnTo>
                  <a:lnTo>
                    <a:pt x="1255" y="246"/>
                  </a:lnTo>
                  <a:lnTo>
                    <a:pt x="1254" y="249"/>
                  </a:lnTo>
                  <a:close/>
                  <a:moveTo>
                    <a:pt x="323" y="239"/>
                  </a:moveTo>
                  <a:lnTo>
                    <a:pt x="323" y="241"/>
                  </a:lnTo>
                  <a:lnTo>
                    <a:pt x="324" y="241"/>
                  </a:lnTo>
                  <a:lnTo>
                    <a:pt x="324" y="242"/>
                  </a:lnTo>
                  <a:lnTo>
                    <a:pt x="325" y="241"/>
                  </a:lnTo>
                  <a:lnTo>
                    <a:pt x="325" y="239"/>
                  </a:lnTo>
                  <a:lnTo>
                    <a:pt x="324" y="238"/>
                  </a:lnTo>
                  <a:lnTo>
                    <a:pt x="322" y="238"/>
                  </a:lnTo>
                  <a:lnTo>
                    <a:pt x="323" y="239"/>
                  </a:lnTo>
                  <a:lnTo>
                    <a:pt x="323" y="239"/>
                  </a:lnTo>
                  <a:close/>
                  <a:moveTo>
                    <a:pt x="330" y="239"/>
                  </a:moveTo>
                  <a:lnTo>
                    <a:pt x="329" y="238"/>
                  </a:lnTo>
                  <a:lnTo>
                    <a:pt x="327" y="238"/>
                  </a:lnTo>
                  <a:lnTo>
                    <a:pt x="328" y="240"/>
                  </a:lnTo>
                  <a:lnTo>
                    <a:pt x="330" y="239"/>
                  </a:lnTo>
                  <a:close/>
                  <a:moveTo>
                    <a:pt x="470" y="160"/>
                  </a:moveTo>
                  <a:lnTo>
                    <a:pt x="471" y="163"/>
                  </a:lnTo>
                  <a:lnTo>
                    <a:pt x="474" y="164"/>
                  </a:lnTo>
                  <a:lnTo>
                    <a:pt x="481" y="163"/>
                  </a:lnTo>
                  <a:lnTo>
                    <a:pt x="485" y="161"/>
                  </a:lnTo>
                  <a:lnTo>
                    <a:pt x="488" y="158"/>
                  </a:lnTo>
                  <a:lnTo>
                    <a:pt x="489" y="155"/>
                  </a:lnTo>
                  <a:lnTo>
                    <a:pt x="492" y="152"/>
                  </a:lnTo>
                  <a:lnTo>
                    <a:pt x="492" y="151"/>
                  </a:lnTo>
                  <a:lnTo>
                    <a:pt x="492" y="149"/>
                  </a:lnTo>
                  <a:lnTo>
                    <a:pt x="493" y="149"/>
                  </a:lnTo>
                  <a:lnTo>
                    <a:pt x="494" y="148"/>
                  </a:lnTo>
                  <a:lnTo>
                    <a:pt x="486" y="146"/>
                  </a:lnTo>
                  <a:lnTo>
                    <a:pt x="480" y="147"/>
                  </a:lnTo>
                  <a:lnTo>
                    <a:pt x="474" y="149"/>
                  </a:lnTo>
                  <a:lnTo>
                    <a:pt x="470" y="154"/>
                  </a:lnTo>
                  <a:lnTo>
                    <a:pt x="471" y="156"/>
                  </a:lnTo>
                  <a:lnTo>
                    <a:pt x="472" y="157"/>
                  </a:lnTo>
                  <a:lnTo>
                    <a:pt x="471" y="159"/>
                  </a:lnTo>
                  <a:lnTo>
                    <a:pt x="470" y="160"/>
                  </a:lnTo>
                  <a:close/>
                  <a:moveTo>
                    <a:pt x="820" y="166"/>
                  </a:moveTo>
                  <a:lnTo>
                    <a:pt x="821" y="166"/>
                  </a:lnTo>
                  <a:lnTo>
                    <a:pt x="821" y="167"/>
                  </a:lnTo>
                  <a:lnTo>
                    <a:pt x="822" y="169"/>
                  </a:lnTo>
                  <a:lnTo>
                    <a:pt x="823" y="169"/>
                  </a:lnTo>
                  <a:lnTo>
                    <a:pt x="824" y="167"/>
                  </a:lnTo>
                  <a:lnTo>
                    <a:pt x="826" y="167"/>
                  </a:lnTo>
                  <a:lnTo>
                    <a:pt x="830" y="167"/>
                  </a:lnTo>
                  <a:lnTo>
                    <a:pt x="832" y="168"/>
                  </a:lnTo>
                  <a:lnTo>
                    <a:pt x="833" y="170"/>
                  </a:lnTo>
                  <a:lnTo>
                    <a:pt x="833" y="176"/>
                  </a:lnTo>
                  <a:lnTo>
                    <a:pt x="835" y="178"/>
                  </a:lnTo>
                  <a:lnTo>
                    <a:pt x="839" y="178"/>
                  </a:lnTo>
                  <a:lnTo>
                    <a:pt x="845" y="178"/>
                  </a:lnTo>
                  <a:lnTo>
                    <a:pt x="845" y="178"/>
                  </a:lnTo>
                  <a:lnTo>
                    <a:pt x="844" y="176"/>
                  </a:lnTo>
                  <a:lnTo>
                    <a:pt x="847" y="175"/>
                  </a:lnTo>
                  <a:lnTo>
                    <a:pt x="866" y="178"/>
                  </a:lnTo>
                  <a:lnTo>
                    <a:pt x="857" y="161"/>
                  </a:lnTo>
                  <a:lnTo>
                    <a:pt x="855" y="156"/>
                  </a:lnTo>
                  <a:lnTo>
                    <a:pt x="854" y="154"/>
                  </a:lnTo>
                  <a:lnTo>
                    <a:pt x="850" y="151"/>
                  </a:lnTo>
                  <a:lnTo>
                    <a:pt x="836" y="145"/>
                  </a:lnTo>
                  <a:lnTo>
                    <a:pt x="828" y="146"/>
                  </a:lnTo>
                  <a:lnTo>
                    <a:pt x="822" y="152"/>
                  </a:lnTo>
                  <a:lnTo>
                    <a:pt x="818" y="163"/>
                  </a:lnTo>
                  <a:lnTo>
                    <a:pt x="818" y="167"/>
                  </a:lnTo>
                  <a:lnTo>
                    <a:pt x="820" y="166"/>
                  </a:lnTo>
                  <a:close/>
                  <a:moveTo>
                    <a:pt x="439" y="144"/>
                  </a:moveTo>
                  <a:lnTo>
                    <a:pt x="436" y="146"/>
                  </a:lnTo>
                  <a:lnTo>
                    <a:pt x="435" y="151"/>
                  </a:lnTo>
                  <a:lnTo>
                    <a:pt x="437" y="155"/>
                  </a:lnTo>
                  <a:lnTo>
                    <a:pt x="439" y="157"/>
                  </a:lnTo>
                  <a:lnTo>
                    <a:pt x="442" y="157"/>
                  </a:lnTo>
                  <a:lnTo>
                    <a:pt x="447" y="154"/>
                  </a:lnTo>
                  <a:lnTo>
                    <a:pt x="450" y="148"/>
                  </a:lnTo>
                  <a:lnTo>
                    <a:pt x="452" y="141"/>
                  </a:lnTo>
                  <a:lnTo>
                    <a:pt x="451" y="139"/>
                  </a:lnTo>
                  <a:lnTo>
                    <a:pt x="441" y="143"/>
                  </a:lnTo>
                  <a:lnTo>
                    <a:pt x="440" y="144"/>
                  </a:lnTo>
                  <a:lnTo>
                    <a:pt x="439" y="144"/>
                  </a:lnTo>
                  <a:close/>
                  <a:moveTo>
                    <a:pt x="1145" y="157"/>
                  </a:moveTo>
                  <a:lnTo>
                    <a:pt x="1145" y="155"/>
                  </a:lnTo>
                  <a:lnTo>
                    <a:pt x="1146" y="152"/>
                  </a:lnTo>
                  <a:lnTo>
                    <a:pt x="1147" y="150"/>
                  </a:lnTo>
                  <a:lnTo>
                    <a:pt x="1149" y="148"/>
                  </a:lnTo>
                  <a:lnTo>
                    <a:pt x="1150" y="146"/>
                  </a:lnTo>
                  <a:lnTo>
                    <a:pt x="1152" y="141"/>
                  </a:lnTo>
                  <a:lnTo>
                    <a:pt x="1152" y="136"/>
                  </a:lnTo>
                  <a:lnTo>
                    <a:pt x="1153" y="131"/>
                  </a:lnTo>
                  <a:lnTo>
                    <a:pt x="1157" y="128"/>
                  </a:lnTo>
                  <a:lnTo>
                    <a:pt x="1157" y="133"/>
                  </a:lnTo>
                  <a:lnTo>
                    <a:pt x="1158" y="133"/>
                  </a:lnTo>
                  <a:lnTo>
                    <a:pt x="1158" y="130"/>
                  </a:lnTo>
                  <a:lnTo>
                    <a:pt x="1159" y="130"/>
                  </a:lnTo>
                  <a:lnTo>
                    <a:pt x="1159" y="130"/>
                  </a:lnTo>
                  <a:lnTo>
                    <a:pt x="1159" y="131"/>
                  </a:lnTo>
                  <a:lnTo>
                    <a:pt x="1159" y="128"/>
                  </a:lnTo>
                  <a:lnTo>
                    <a:pt x="1158" y="126"/>
                  </a:lnTo>
                  <a:lnTo>
                    <a:pt x="1156" y="126"/>
                  </a:lnTo>
                  <a:lnTo>
                    <a:pt x="1154" y="126"/>
                  </a:lnTo>
                  <a:lnTo>
                    <a:pt x="1152" y="127"/>
                  </a:lnTo>
                  <a:lnTo>
                    <a:pt x="1150" y="128"/>
                  </a:lnTo>
                  <a:lnTo>
                    <a:pt x="1149" y="135"/>
                  </a:lnTo>
                  <a:lnTo>
                    <a:pt x="1144" y="153"/>
                  </a:lnTo>
                  <a:lnTo>
                    <a:pt x="1144" y="160"/>
                  </a:lnTo>
                  <a:lnTo>
                    <a:pt x="1144" y="163"/>
                  </a:lnTo>
                  <a:lnTo>
                    <a:pt x="1145" y="163"/>
                  </a:lnTo>
                  <a:lnTo>
                    <a:pt x="1145" y="157"/>
                  </a:lnTo>
                  <a:close/>
                  <a:moveTo>
                    <a:pt x="1182" y="149"/>
                  </a:moveTo>
                  <a:lnTo>
                    <a:pt x="1181" y="147"/>
                  </a:lnTo>
                  <a:lnTo>
                    <a:pt x="1180" y="144"/>
                  </a:lnTo>
                  <a:lnTo>
                    <a:pt x="1178" y="142"/>
                  </a:lnTo>
                  <a:lnTo>
                    <a:pt x="1176" y="141"/>
                  </a:lnTo>
                  <a:lnTo>
                    <a:pt x="1175" y="140"/>
                  </a:lnTo>
                  <a:lnTo>
                    <a:pt x="1173" y="139"/>
                  </a:lnTo>
                  <a:lnTo>
                    <a:pt x="1161" y="141"/>
                  </a:lnTo>
                  <a:lnTo>
                    <a:pt x="1157" y="143"/>
                  </a:lnTo>
                  <a:lnTo>
                    <a:pt x="1159" y="143"/>
                  </a:lnTo>
                  <a:lnTo>
                    <a:pt x="1159" y="144"/>
                  </a:lnTo>
                  <a:lnTo>
                    <a:pt x="1160" y="145"/>
                  </a:lnTo>
                  <a:lnTo>
                    <a:pt x="1160" y="147"/>
                  </a:lnTo>
                  <a:lnTo>
                    <a:pt x="1160" y="150"/>
                  </a:lnTo>
                  <a:lnTo>
                    <a:pt x="1161" y="150"/>
                  </a:lnTo>
                  <a:lnTo>
                    <a:pt x="1162" y="150"/>
                  </a:lnTo>
                  <a:lnTo>
                    <a:pt x="1162" y="151"/>
                  </a:lnTo>
                  <a:lnTo>
                    <a:pt x="1163" y="152"/>
                  </a:lnTo>
                  <a:lnTo>
                    <a:pt x="1166" y="152"/>
                  </a:lnTo>
                  <a:lnTo>
                    <a:pt x="1171" y="150"/>
                  </a:lnTo>
                  <a:lnTo>
                    <a:pt x="1171" y="152"/>
                  </a:lnTo>
                  <a:lnTo>
                    <a:pt x="1171" y="153"/>
                  </a:lnTo>
                  <a:lnTo>
                    <a:pt x="1170" y="153"/>
                  </a:lnTo>
                  <a:lnTo>
                    <a:pt x="1170" y="154"/>
                  </a:lnTo>
                  <a:lnTo>
                    <a:pt x="1171" y="156"/>
                  </a:lnTo>
                  <a:lnTo>
                    <a:pt x="1173" y="158"/>
                  </a:lnTo>
                  <a:lnTo>
                    <a:pt x="1178" y="160"/>
                  </a:lnTo>
                  <a:lnTo>
                    <a:pt x="1177" y="161"/>
                  </a:lnTo>
                  <a:lnTo>
                    <a:pt x="1176" y="161"/>
                  </a:lnTo>
                  <a:lnTo>
                    <a:pt x="1175" y="161"/>
                  </a:lnTo>
                  <a:lnTo>
                    <a:pt x="1175" y="163"/>
                  </a:lnTo>
                  <a:lnTo>
                    <a:pt x="1172" y="164"/>
                  </a:lnTo>
                  <a:lnTo>
                    <a:pt x="1167" y="166"/>
                  </a:lnTo>
                  <a:lnTo>
                    <a:pt x="1163" y="167"/>
                  </a:lnTo>
                  <a:lnTo>
                    <a:pt x="1162" y="169"/>
                  </a:lnTo>
                  <a:lnTo>
                    <a:pt x="1159" y="175"/>
                  </a:lnTo>
                  <a:lnTo>
                    <a:pt x="1166" y="173"/>
                  </a:lnTo>
                  <a:lnTo>
                    <a:pt x="1168" y="173"/>
                  </a:lnTo>
                  <a:lnTo>
                    <a:pt x="1169" y="175"/>
                  </a:lnTo>
                  <a:lnTo>
                    <a:pt x="1170" y="176"/>
                  </a:lnTo>
                  <a:lnTo>
                    <a:pt x="1172" y="176"/>
                  </a:lnTo>
                  <a:lnTo>
                    <a:pt x="1172" y="178"/>
                  </a:lnTo>
                  <a:lnTo>
                    <a:pt x="1171" y="181"/>
                  </a:lnTo>
                  <a:lnTo>
                    <a:pt x="1172" y="184"/>
                  </a:lnTo>
                  <a:lnTo>
                    <a:pt x="1174" y="185"/>
                  </a:lnTo>
                  <a:lnTo>
                    <a:pt x="1177" y="186"/>
                  </a:lnTo>
                  <a:lnTo>
                    <a:pt x="1172" y="189"/>
                  </a:lnTo>
                  <a:lnTo>
                    <a:pt x="1170" y="190"/>
                  </a:lnTo>
                  <a:lnTo>
                    <a:pt x="1168" y="188"/>
                  </a:lnTo>
                  <a:lnTo>
                    <a:pt x="1167" y="190"/>
                  </a:lnTo>
                  <a:lnTo>
                    <a:pt x="1162" y="186"/>
                  </a:lnTo>
                  <a:lnTo>
                    <a:pt x="1158" y="188"/>
                  </a:lnTo>
                  <a:lnTo>
                    <a:pt x="1155" y="193"/>
                  </a:lnTo>
                  <a:lnTo>
                    <a:pt x="1153" y="199"/>
                  </a:lnTo>
                  <a:lnTo>
                    <a:pt x="1162" y="206"/>
                  </a:lnTo>
                  <a:lnTo>
                    <a:pt x="1162" y="208"/>
                  </a:lnTo>
                  <a:lnTo>
                    <a:pt x="1160" y="207"/>
                  </a:lnTo>
                  <a:lnTo>
                    <a:pt x="1158" y="208"/>
                  </a:lnTo>
                  <a:lnTo>
                    <a:pt x="1157" y="210"/>
                  </a:lnTo>
                  <a:lnTo>
                    <a:pt x="1158" y="212"/>
                  </a:lnTo>
                  <a:lnTo>
                    <a:pt x="1159" y="211"/>
                  </a:lnTo>
                  <a:lnTo>
                    <a:pt x="1164" y="209"/>
                  </a:lnTo>
                  <a:lnTo>
                    <a:pt x="1167" y="210"/>
                  </a:lnTo>
                  <a:lnTo>
                    <a:pt x="1166" y="213"/>
                  </a:lnTo>
                  <a:lnTo>
                    <a:pt x="1168" y="216"/>
                  </a:lnTo>
                  <a:lnTo>
                    <a:pt x="1170" y="217"/>
                  </a:lnTo>
                  <a:lnTo>
                    <a:pt x="1173" y="217"/>
                  </a:lnTo>
                  <a:lnTo>
                    <a:pt x="1174" y="218"/>
                  </a:lnTo>
                  <a:lnTo>
                    <a:pt x="1175" y="220"/>
                  </a:lnTo>
                  <a:lnTo>
                    <a:pt x="1177" y="221"/>
                  </a:lnTo>
                  <a:lnTo>
                    <a:pt x="1178" y="220"/>
                  </a:lnTo>
                  <a:lnTo>
                    <a:pt x="1179" y="219"/>
                  </a:lnTo>
                  <a:lnTo>
                    <a:pt x="1181" y="219"/>
                  </a:lnTo>
                  <a:lnTo>
                    <a:pt x="1184" y="219"/>
                  </a:lnTo>
                  <a:lnTo>
                    <a:pt x="1184" y="218"/>
                  </a:lnTo>
                  <a:lnTo>
                    <a:pt x="1183" y="217"/>
                  </a:lnTo>
                  <a:lnTo>
                    <a:pt x="1184" y="216"/>
                  </a:lnTo>
                  <a:lnTo>
                    <a:pt x="1185" y="215"/>
                  </a:lnTo>
                  <a:lnTo>
                    <a:pt x="1188" y="214"/>
                  </a:lnTo>
                  <a:lnTo>
                    <a:pt x="1186" y="218"/>
                  </a:lnTo>
                  <a:lnTo>
                    <a:pt x="1185" y="221"/>
                  </a:lnTo>
                  <a:lnTo>
                    <a:pt x="1183" y="222"/>
                  </a:lnTo>
                  <a:lnTo>
                    <a:pt x="1189" y="226"/>
                  </a:lnTo>
                  <a:lnTo>
                    <a:pt x="1194" y="228"/>
                  </a:lnTo>
                  <a:lnTo>
                    <a:pt x="1199" y="229"/>
                  </a:lnTo>
                  <a:lnTo>
                    <a:pt x="1201" y="227"/>
                  </a:lnTo>
                  <a:lnTo>
                    <a:pt x="1202" y="224"/>
                  </a:lnTo>
                  <a:lnTo>
                    <a:pt x="1201" y="218"/>
                  </a:lnTo>
                  <a:lnTo>
                    <a:pt x="1199" y="218"/>
                  </a:lnTo>
                  <a:lnTo>
                    <a:pt x="1192" y="219"/>
                  </a:lnTo>
                  <a:lnTo>
                    <a:pt x="1192" y="220"/>
                  </a:lnTo>
                  <a:lnTo>
                    <a:pt x="1193" y="220"/>
                  </a:lnTo>
                  <a:lnTo>
                    <a:pt x="1193" y="220"/>
                  </a:lnTo>
                  <a:lnTo>
                    <a:pt x="1193" y="221"/>
                  </a:lnTo>
                  <a:lnTo>
                    <a:pt x="1191" y="223"/>
                  </a:lnTo>
                  <a:lnTo>
                    <a:pt x="1191" y="216"/>
                  </a:lnTo>
                  <a:lnTo>
                    <a:pt x="1195" y="214"/>
                  </a:lnTo>
                  <a:lnTo>
                    <a:pt x="1199" y="213"/>
                  </a:lnTo>
                  <a:lnTo>
                    <a:pt x="1201" y="209"/>
                  </a:lnTo>
                  <a:lnTo>
                    <a:pt x="1202" y="206"/>
                  </a:lnTo>
                  <a:lnTo>
                    <a:pt x="1211" y="199"/>
                  </a:lnTo>
                  <a:lnTo>
                    <a:pt x="1213" y="197"/>
                  </a:lnTo>
                  <a:lnTo>
                    <a:pt x="1229" y="195"/>
                  </a:lnTo>
                  <a:lnTo>
                    <a:pt x="1231" y="196"/>
                  </a:lnTo>
                  <a:lnTo>
                    <a:pt x="1232" y="198"/>
                  </a:lnTo>
                  <a:lnTo>
                    <a:pt x="1234" y="199"/>
                  </a:lnTo>
                  <a:lnTo>
                    <a:pt x="1236" y="196"/>
                  </a:lnTo>
                  <a:lnTo>
                    <a:pt x="1237" y="195"/>
                  </a:lnTo>
                  <a:lnTo>
                    <a:pt x="1240" y="195"/>
                  </a:lnTo>
                  <a:lnTo>
                    <a:pt x="1244" y="195"/>
                  </a:lnTo>
                  <a:lnTo>
                    <a:pt x="1244" y="197"/>
                  </a:lnTo>
                  <a:lnTo>
                    <a:pt x="1241" y="198"/>
                  </a:lnTo>
                  <a:lnTo>
                    <a:pt x="1232" y="204"/>
                  </a:lnTo>
                  <a:lnTo>
                    <a:pt x="1235" y="202"/>
                  </a:lnTo>
                  <a:lnTo>
                    <a:pt x="1239" y="201"/>
                  </a:lnTo>
                  <a:lnTo>
                    <a:pt x="1247" y="200"/>
                  </a:lnTo>
                  <a:lnTo>
                    <a:pt x="1246" y="204"/>
                  </a:lnTo>
                  <a:lnTo>
                    <a:pt x="1243" y="205"/>
                  </a:lnTo>
                  <a:lnTo>
                    <a:pt x="1237" y="208"/>
                  </a:lnTo>
                  <a:lnTo>
                    <a:pt x="1237" y="210"/>
                  </a:lnTo>
                  <a:lnTo>
                    <a:pt x="1239" y="211"/>
                  </a:lnTo>
                  <a:lnTo>
                    <a:pt x="1242" y="211"/>
                  </a:lnTo>
                  <a:lnTo>
                    <a:pt x="1244" y="210"/>
                  </a:lnTo>
                  <a:lnTo>
                    <a:pt x="1246" y="208"/>
                  </a:lnTo>
                  <a:lnTo>
                    <a:pt x="1247" y="208"/>
                  </a:lnTo>
                  <a:lnTo>
                    <a:pt x="1248" y="211"/>
                  </a:lnTo>
                  <a:lnTo>
                    <a:pt x="1247" y="213"/>
                  </a:lnTo>
                  <a:lnTo>
                    <a:pt x="1246" y="214"/>
                  </a:lnTo>
                  <a:lnTo>
                    <a:pt x="1244" y="214"/>
                  </a:lnTo>
                  <a:lnTo>
                    <a:pt x="1247" y="215"/>
                  </a:lnTo>
                  <a:lnTo>
                    <a:pt x="1249" y="215"/>
                  </a:lnTo>
                  <a:lnTo>
                    <a:pt x="1249" y="213"/>
                  </a:lnTo>
                  <a:lnTo>
                    <a:pt x="1249" y="209"/>
                  </a:lnTo>
                  <a:lnTo>
                    <a:pt x="1250" y="205"/>
                  </a:lnTo>
                  <a:lnTo>
                    <a:pt x="1251" y="201"/>
                  </a:lnTo>
                  <a:lnTo>
                    <a:pt x="1254" y="198"/>
                  </a:lnTo>
                  <a:lnTo>
                    <a:pt x="1256" y="197"/>
                  </a:lnTo>
                  <a:lnTo>
                    <a:pt x="1252" y="195"/>
                  </a:lnTo>
                  <a:lnTo>
                    <a:pt x="1249" y="192"/>
                  </a:lnTo>
                  <a:lnTo>
                    <a:pt x="1245" y="184"/>
                  </a:lnTo>
                  <a:lnTo>
                    <a:pt x="1242" y="182"/>
                  </a:lnTo>
                  <a:lnTo>
                    <a:pt x="1234" y="180"/>
                  </a:lnTo>
                  <a:lnTo>
                    <a:pt x="1231" y="178"/>
                  </a:lnTo>
                  <a:lnTo>
                    <a:pt x="1229" y="176"/>
                  </a:lnTo>
                  <a:lnTo>
                    <a:pt x="1227" y="172"/>
                  </a:lnTo>
                  <a:lnTo>
                    <a:pt x="1226" y="167"/>
                  </a:lnTo>
                  <a:lnTo>
                    <a:pt x="1226" y="162"/>
                  </a:lnTo>
                  <a:lnTo>
                    <a:pt x="1227" y="158"/>
                  </a:lnTo>
                  <a:lnTo>
                    <a:pt x="1231" y="155"/>
                  </a:lnTo>
                  <a:lnTo>
                    <a:pt x="1237" y="150"/>
                  </a:lnTo>
                  <a:lnTo>
                    <a:pt x="1242" y="144"/>
                  </a:lnTo>
                  <a:lnTo>
                    <a:pt x="1241" y="136"/>
                  </a:lnTo>
                  <a:lnTo>
                    <a:pt x="1236" y="131"/>
                  </a:lnTo>
                  <a:lnTo>
                    <a:pt x="1229" y="130"/>
                  </a:lnTo>
                  <a:lnTo>
                    <a:pt x="1208" y="134"/>
                  </a:lnTo>
                  <a:lnTo>
                    <a:pt x="1202" y="132"/>
                  </a:lnTo>
                  <a:lnTo>
                    <a:pt x="1199" y="129"/>
                  </a:lnTo>
                  <a:lnTo>
                    <a:pt x="1197" y="126"/>
                  </a:lnTo>
                  <a:lnTo>
                    <a:pt x="1195" y="122"/>
                  </a:lnTo>
                  <a:lnTo>
                    <a:pt x="1195" y="117"/>
                  </a:lnTo>
                  <a:lnTo>
                    <a:pt x="1196" y="113"/>
                  </a:lnTo>
                  <a:lnTo>
                    <a:pt x="1199" y="111"/>
                  </a:lnTo>
                  <a:lnTo>
                    <a:pt x="1203" y="109"/>
                  </a:lnTo>
                  <a:lnTo>
                    <a:pt x="1205" y="107"/>
                  </a:lnTo>
                  <a:lnTo>
                    <a:pt x="1205" y="106"/>
                  </a:lnTo>
                  <a:lnTo>
                    <a:pt x="1201" y="103"/>
                  </a:lnTo>
                  <a:lnTo>
                    <a:pt x="1196" y="103"/>
                  </a:lnTo>
                  <a:lnTo>
                    <a:pt x="1174" y="110"/>
                  </a:lnTo>
                  <a:lnTo>
                    <a:pt x="1173" y="111"/>
                  </a:lnTo>
                  <a:lnTo>
                    <a:pt x="1171" y="113"/>
                  </a:lnTo>
                  <a:lnTo>
                    <a:pt x="1170" y="115"/>
                  </a:lnTo>
                  <a:lnTo>
                    <a:pt x="1170" y="118"/>
                  </a:lnTo>
                  <a:lnTo>
                    <a:pt x="1171" y="118"/>
                  </a:lnTo>
                  <a:lnTo>
                    <a:pt x="1173" y="117"/>
                  </a:lnTo>
                  <a:lnTo>
                    <a:pt x="1180" y="115"/>
                  </a:lnTo>
                  <a:lnTo>
                    <a:pt x="1181" y="116"/>
                  </a:lnTo>
                  <a:lnTo>
                    <a:pt x="1180" y="118"/>
                  </a:lnTo>
                  <a:lnTo>
                    <a:pt x="1180" y="121"/>
                  </a:lnTo>
                  <a:lnTo>
                    <a:pt x="1179" y="122"/>
                  </a:lnTo>
                  <a:lnTo>
                    <a:pt x="1177" y="124"/>
                  </a:lnTo>
                  <a:lnTo>
                    <a:pt x="1175" y="129"/>
                  </a:lnTo>
                  <a:lnTo>
                    <a:pt x="1174" y="134"/>
                  </a:lnTo>
                  <a:lnTo>
                    <a:pt x="1174" y="137"/>
                  </a:lnTo>
                  <a:lnTo>
                    <a:pt x="1178" y="138"/>
                  </a:lnTo>
                  <a:lnTo>
                    <a:pt x="1180" y="136"/>
                  </a:lnTo>
                  <a:lnTo>
                    <a:pt x="1183" y="133"/>
                  </a:lnTo>
                  <a:lnTo>
                    <a:pt x="1187" y="131"/>
                  </a:lnTo>
                  <a:lnTo>
                    <a:pt x="1189" y="127"/>
                  </a:lnTo>
                  <a:lnTo>
                    <a:pt x="1191" y="126"/>
                  </a:lnTo>
                  <a:lnTo>
                    <a:pt x="1193" y="124"/>
                  </a:lnTo>
                  <a:lnTo>
                    <a:pt x="1193" y="125"/>
                  </a:lnTo>
                  <a:lnTo>
                    <a:pt x="1195" y="128"/>
                  </a:lnTo>
                  <a:lnTo>
                    <a:pt x="1196" y="130"/>
                  </a:lnTo>
                  <a:lnTo>
                    <a:pt x="1197" y="132"/>
                  </a:lnTo>
                  <a:lnTo>
                    <a:pt x="1198" y="133"/>
                  </a:lnTo>
                  <a:lnTo>
                    <a:pt x="1200" y="133"/>
                  </a:lnTo>
                  <a:lnTo>
                    <a:pt x="1202" y="134"/>
                  </a:lnTo>
                  <a:lnTo>
                    <a:pt x="1203" y="136"/>
                  </a:lnTo>
                  <a:lnTo>
                    <a:pt x="1203" y="138"/>
                  </a:lnTo>
                  <a:lnTo>
                    <a:pt x="1204" y="139"/>
                  </a:lnTo>
                  <a:lnTo>
                    <a:pt x="1210" y="139"/>
                  </a:lnTo>
                  <a:lnTo>
                    <a:pt x="1212" y="139"/>
                  </a:lnTo>
                  <a:lnTo>
                    <a:pt x="1212" y="138"/>
                  </a:lnTo>
                  <a:lnTo>
                    <a:pt x="1213" y="136"/>
                  </a:lnTo>
                  <a:lnTo>
                    <a:pt x="1215" y="136"/>
                  </a:lnTo>
                  <a:lnTo>
                    <a:pt x="1217" y="135"/>
                  </a:lnTo>
                  <a:lnTo>
                    <a:pt x="1217" y="137"/>
                  </a:lnTo>
                  <a:lnTo>
                    <a:pt x="1216" y="137"/>
                  </a:lnTo>
                  <a:lnTo>
                    <a:pt x="1215" y="138"/>
                  </a:lnTo>
                  <a:lnTo>
                    <a:pt x="1214" y="138"/>
                  </a:lnTo>
                  <a:lnTo>
                    <a:pt x="1213" y="139"/>
                  </a:lnTo>
                  <a:lnTo>
                    <a:pt x="1213" y="141"/>
                  </a:lnTo>
                  <a:lnTo>
                    <a:pt x="1215" y="142"/>
                  </a:lnTo>
                  <a:lnTo>
                    <a:pt x="1216" y="144"/>
                  </a:lnTo>
                  <a:lnTo>
                    <a:pt x="1217" y="148"/>
                  </a:lnTo>
                  <a:lnTo>
                    <a:pt x="1217" y="150"/>
                  </a:lnTo>
                  <a:lnTo>
                    <a:pt x="1216" y="151"/>
                  </a:lnTo>
                  <a:lnTo>
                    <a:pt x="1215" y="152"/>
                  </a:lnTo>
                  <a:lnTo>
                    <a:pt x="1213" y="156"/>
                  </a:lnTo>
                  <a:lnTo>
                    <a:pt x="1215" y="158"/>
                  </a:lnTo>
                  <a:lnTo>
                    <a:pt x="1207" y="158"/>
                  </a:lnTo>
                  <a:lnTo>
                    <a:pt x="1203" y="157"/>
                  </a:lnTo>
                  <a:lnTo>
                    <a:pt x="1199" y="152"/>
                  </a:lnTo>
                  <a:lnTo>
                    <a:pt x="1200" y="148"/>
                  </a:lnTo>
                  <a:lnTo>
                    <a:pt x="1198" y="144"/>
                  </a:lnTo>
                  <a:lnTo>
                    <a:pt x="1196" y="141"/>
                  </a:lnTo>
                  <a:lnTo>
                    <a:pt x="1194" y="137"/>
                  </a:lnTo>
                  <a:lnTo>
                    <a:pt x="1192" y="139"/>
                  </a:lnTo>
                  <a:lnTo>
                    <a:pt x="1192" y="141"/>
                  </a:lnTo>
                  <a:lnTo>
                    <a:pt x="1193" y="141"/>
                  </a:lnTo>
                  <a:lnTo>
                    <a:pt x="1195" y="142"/>
                  </a:lnTo>
                  <a:lnTo>
                    <a:pt x="1196" y="143"/>
                  </a:lnTo>
                  <a:lnTo>
                    <a:pt x="1195" y="146"/>
                  </a:lnTo>
                  <a:lnTo>
                    <a:pt x="1194" y="148"/>
                  </a:lnTo>
                  <a:lnTo>
                    <a:pt x="1192" y="148"/>
                  </a:lnTo>
                  <a:lnTo>
                    <a:pt x="1189" y="148"/>
                  </a:lnTo>
                  <a:lnTo>
                    <a:pt x="1191" y="144"/>
                  </a:lnTo>
                  <a:lnTo>
                    <a:pt x="1192" y="143"/>
                  </a:lnTo>
                  <a:lnTo>
                    <a:pt x="1191" y="142"/>
                  </a:lnTo>
                  <a:lnTo>
                    <a:pt x="1190" y="141"/>
                  </a:lnTo>
                  <a:lnTo>
                    <a:pt x="1189" y="141"/>
                  </a:lnTo>
                  <a:lnTo>
                    <a:pt x="1188" y="141"/>
                  </a:lnTo>
                  <a:lnTo>
                    <a:pt x="1190" y="139"/>
                  </a:lnTo>
                  <a:lnTo>
                    <a:pt x="1191" y="137"/>
                  </a:lnTo>
                  <a:lnTo>
                    <a:pt x="1193" y="132"/>
                  </a:lnTo>
                  <a:lnTo>
                    <a:pt x="1190" y="132"/>
                  </a:lnTo>
                  <a:lnTo>
                    <a:pt x="1187" y="135"/>
                  </a:lnTo>
                  <a:lnTo>
                    <a:pt x="1184" y="138"/>
                  </a:lnTo>
                  <a:lnTo>
                    <a:pt x="1182" y="141"/>
                  </a:lnTo>
                  <a:lnTo>
                    <a:pt x="1183" y="145"/>
                  </a:lnTo>
                  <a:lnTo>
                    <a:pt x="1183" y="148"/>
                  </a:lnTo>
                  <a:lnTo>
                    <a:pt x="1182" y="149"/>
                  </a:lnTo>
                  <a:close/>
                  <a:moveTo>
                    <a:pt x="396" y="98"/>
                  </a:moveTo>
                  <a:lnTo>
                    <a:pt x="397" y="97"/>
                  </a:lnTo>
                  <a:lnTo>
                    <a:pt x="397" y="97"/>
                  </a:lnTo>
                  <a:lnTo>
                    <a:pt x="398" y="97"/>
                  </a:lnTo>
                  <a:lnTo>
                    <a:pt x="398" y="96"/>
                  </a:lnTo>
                  <a:lnTo>
                    <a:pt x="394" y="97"/>
                  </a:lnTo>
                  <a:lnTo>
                    <a:pt x="391" y="100"/>
                  </a:lnTo>
                  <a:lnTo>
                    <a:pt x="387" y="109"/>
                  </a:lnTo>
                  <a:lnTo>
                    <a:pt x="390" y="113"/>
                  </a:lnTo>
                  <a:lnTo>
                    <a:pt x="393" y="119"/>
                  </a:lnTo>
                  <a:lnTo>
                    <a:pt x="397" y="122"/>
                  </a:lnTo>
                  <a:lnTo>
                    <a:pt x="402" y="120"/>
                  </a:lnTo>
                  <a:lnTo>
                    <a:pt x="404" y="118"/>
                  </a:lnTo>
                  <a:lnTo>
                    <a:pt x="401" y="117"/>
                  </a:lnTo>
                  <a:lnTo>
                    <a:pt x="393" y="102"/>
                  </a:lnTo>
                  <a:lnTo>
                    <a:pt x="395" y="100"/>
                  </a:lnTo>
                  <a:lnTo>
                    <a:pt x="396" y="98"/>
                  </a:lnTo>
                  <a:close/>
                  <a:moveTo>
                    <a:pt x="417" y="103"/>
                  </a:moveTo>
                  <a:lnTo>
                    <a:pt x="422" y="102"/>
                  </a:lnTo>
                  <a:lnTo>
                    <a:pt x="423" y="103"/>
                  </a:lnTo>
                  <a:lnTo>
                    <a:pt x="426" y="104"/>
                  </a:lnTo>
                  <a:lnTo>
                    <a:pt x="428" y="104"/>
                  </a:lnTo>
                  <a:lnTo>
                    <a:pt x="430" y="103"/>
                  </a:lnTo>
                  <a:lnTo>
                    <a:pt x="432" y="102"/>
                  </a:lnTo>
                  <a:lnTo>
                    <a:pt x="433" y="96"/>
                  </a:lnTo>
                  <a:lnTo>
                    <a:pt x="435" y="94"/>
                  </a:lnTo>
                  <a:lnTo>
                    <a:pt x="435" y="92"/>
                  </a:lnTo>
                  <a:lnTo>
                    <a:pt x="432" y="87"/>
                  </a:lnTo>
                  <a:lnTo>
                    <a:pt x="428" y="85"/>
                  </a:lnTo>
                  <a:lnTo>
                    <a:pt x="420" y="84"/>
                  </a:lnTo>
                  <a:lnTo>
                    <a:pt x="414" y="85"/>
                  </a:lnTo>
                  <a:lnTo>
                    <a:pt x="410" y="87"/>
                  </a:lnTo>
                  <a:lnTo>
                    <a:pt x="406" y="90"/>
                  </a:lnTo>
                  <a:lnTo>
                    <a:pt x="403" y="96"/>
                  </a:lnTo>
                  <a:lnTo>
                    <a:pt x="412" y="102"/>
                  </a:lnTo>
                  <a:lnTo>
                    <a:pt x="417" y="103"/>
                  </a:lnTo>
                  <a:close/>
                  <a:moveTo>
                    <a:pt x="1454" y="1011"/>
                  </a:moveTo>
                  <a:lnTo>
                    <a:pt x="1454" y="1010"/>
                  </a:lnTo>
                  <a:lnTo>
                    <a:pt x="1455" y="1002"/>
                  </a:lnTo>
                  <a:lnTo>
                    <a:pt x="1452" y="997"/>
                  </a:lnTo>
                  <a:lnTo>
                    <a:pt x="1449" y="993"/>
                  </a:lnTo>
                  <a:lnTo>
                    <a:pt x="1446" y="988"/>
                  </a:lnTo>
                  <a:lnTo>
                    <a:pt x="1446" y="986"/>
                  </a:lnTo>
                  <a:lnTo>
                    <a:pt x="1445" y="982"/>
                  </a:lnTo>
                  <a:lnTo>
                    <a:pt x="1445" y="982"/>
                  </a:lnTo>
                  <a:lnTo>
                    <a:pt x="1444" y="971"/>
                  </a:lnTo>
                  <a:lnTo>
                    <a:pt x="1443" y="964"/>
                  </a:lnTo>
                  <a:lnTo>
                    <a:pt x="1445" y="961"/>
                  </a:lnTo>
                  <a:lnTo>
                    <a:pt x="1443" y="957"/>
                  </a:lnTo>
                  <a:lnTo>
                    <a:pt x="1440" y="954"/>
                  </a:lnTo>
                  <a:lnTo>
                    <a:pt x="1437" y="952"/>
                  </a:lnTo>
                  <a:lnTo>
                    <a:pt x="1434" y="951"/>
                  </a:lnTo>
                  <a:lnTo>
                    <a:pt x="1427" y="948"/>
                  </a:lnTo>
                  <a:lnTo>
                    <a:pt x="1423" y="946"/>
                  </a:lnTo>
                  <a:lnTo>
                    <a:pt x="1423" y="946"/>
                  </a:lnTo>
                  <a:lnTo>
                    <a:pt x="1419" y="944"/>
                  </a:lnTo>
                  <a:lnTo>
                    <a:pt x="1409" y="940"/>
                  </a:lnTo>
                  <a:lnTo>
                    <a:pt x="1406" y="937"/>
                  </a:lnTo>
                  <a:lnTo>
                    <a:pt x="1405" y="934"/>
                  </a:lnTo>
                  <a:lnTo>
                    <a:pt x="1405" y="932"/>
                  </a:lnTo>
                  <a:lnTo>
                    <a:pt x="1406" y="927"/>
                  </a:lnTo>
                  <a:lnTo>
                    <a:pt x="1409" y="922"/>
                  </a:lnTo>
                  <a:lnTo>
                    <a:pt x="1411" y="917"/>
                  </a:lnTo>
                  <a:lnTo>
                    <a:pt x="1411" y="911"/>
                  </a:lnTo>
                  <a:lnTo>
                    <a:pt x="1409" y="904"/>
                  </a:lnTo>
                  <a:lnTo>
                    <a:pt x="1407" y="900"/>
                  </a:lnTo>
                  <a:lnTo>
                    <a:pt x="1399" y="893"/>
                  </a:lnTo>
                  <a:lnTo>
                    <a:pt x="1396" y="889"/>
                  </a:lnTo>
                  <a:lnTo>
                    <a:pt x="1394" y="883"/>
                  </a:lnTo>
                  <a:lnTo>
                    <a:pt x="1393" y="876"/>
                  </a:lnTo>
                  <a:lnTo>
                    <a:pt x="1391" y="873"/>
                  </a:lnTo>
                  <a:lnTo>
                    <a:pt x="1388" y="871"/>
                  </a:lnTo>
                  <a:lnTo>
                    <a:pt x="1386" y="867"/>
                  </a:lnTo>
                  <a:lnTo>
                    <a:pt x="1385" y="861"/>
                  </a:lnTo>
                  <a:lnTo>
                    <a:pt x="1388" y="857"/>
                  </a:lnTo>
                  <a:lnTo>
                    <a:pt x="1397" y="848"/>
                  </a:lnTo>
                  <a:lnTo>
                    <a:pt x="1399" y="844"/>
                  </a:lnTo>
                  <a:lnTo>
                    <a:pt x="1402" y="839"/>
                  </a:lnTo>
                  <a:lnTo>
                    <a:pt x="1403" y="834"/>
                  </a:lnTo>
                  <a:lnTo>
                    <a:pt x="1404" y="818"/>
                  </a:lnTo>
                  <a:lnTo>
                    <a:pt x="1405" y="816"/>
                  </a:lnTo>
                  <a:lnTo>
                    <a:pt x="1408" y="810"/>
                  </a:lnTo>
                  <a:lnTo>
                    <a:pt x="1409" y="807"/>
                  </a:lnTo>
                  <a:lnTo>
                    <a:pt x="1409" y="805"/>
                  </a:lnTo>
                  <a:lnTo>
                    <a:pt x="1410" y="803"/>
                  </a:lnTo>
                  <a:lnTo>
                    <a:pt x="1411" y="801"/>
                  </a:lnTo>
                  <a:lnTo>
                    <a:pt x="1414" y="797"/>
                  </a:lnTo>
                  <a:lnTo>
                    <a:pt x="1403" y="789"/>
                  </a:lnTo>
                  <a:lnTo>
                    <a:pt x="1402" y="785"/>
                  </a:lnTo>
                  <a:lnTo>
                    <a:pt x="1403" y="779"/>
                  </a:lnTo>
                  <a:lnTo>
                    <a:pt x="1404" y="774"/>
                  </a:lnTo>
                  <a:lnTo>
                    <a:pt x="1405" y="770"/>
                  </a:lnTo>
                  <a:lnTo>
                    <a:pt x="1403" y="767"/>
                  </a:lnTo>
                  <a:lnTo>
                    <a:pt x="1403" y="765"/>
                  </a:lnTo>
                  <a:lnTo>
                    <a:pt x="1406" y="761"/>
                  </a:lnTo>
                  <a:lnTo>
                    <a:pt x="1406" y="756"/>
                  </a:lnTo>
                  <a:lnTo>
                    <a:pt x="1403" y="751"/>
                  </a:lnTo>
                  <a:lnTo>
                    <a:pt x="1399" y="749"/>
                  </a:lnTo>
                  <a:lnTo>
                    <a:pt x="1394" y="748"/>
                  </a:lnTo>
                  <a:lnTo>
                    <a:pt x="1389" y="745"/>
                  </a:lnTo>
                  <a:lnTo>
                    <a:pt x="1386" y="742"/>
                  </a:lnTo>
                  <a:lnTo>
                    <a:pt x="1387" y="737"/>
                  </a:lnTo>
                  <a:lnTo>
                    <a:pt x="1383" y="729"/>
                  </a:lnTo>
                  <a:lnTo>
                    <a:pt x="1379" y="718"/>
                  </a:lnTo>
                  <a:lnTo>
                    <a:pt x="1378" y="708"/>
                  </a:lnTo>
                  <a:lnTo>
                    <a:pt x="1387" y="700"/>
                  </a:lnTo>
                  <a:lnTo>
                    <a:pt x="1391" y="694"/>
                  </a:lnTo>
                  <a:lnTo>
                    <a:pt x="1393" y="688"/>
                  </a:lnTo>
                  <a:lnTo>
                    <a:pt x="1393" y="685"/>
                  </a:lnTo>
                  <a:lnTo>
                    <a:pt x="1390" y="683"/>
                  </a:lnTo>
                  <a:lnTo>
                    <a:pt x="1391" y="677"/>
                  </a:lnTo>
                  <a:lnTo>
                    <a:pt x="1395" y="667"/>
                  </a:lnTo>
                  <a:lnTo>
                    <a:pt x="1390" y="663"/>
                  </a:lnTo>
                  <a:lnTo>
                    <a:pt x="1389" y="662"/>
                  </a:lnTo>
                  <a:lnTo>
                    <a:pt x="1380" y="652"/>
                  </a:lnTo>
                  <a:lnTo>
                    <a:pt x="1371" y="648"/>
                  </a:lnTo>
                  <a:lnTo>
                    <a:pt x="1366" y="642"/>
                  </a:lnTo>
                  <a:lnTo>
                    <a:pt x="1363" y="640"/>
                  </a:lnTo>
                  <a:lnTo>
                    <a:pt x="1361" y="639"/>
                  </a:lnTo>
                  <a:lnTo>
                    <a:pt x="1356" y="628"/>
                  </a:lnTo>
                  <a:lnTo>
                    <a:pt x="1354" y="625"/>
                  </a:lnTo>
                  <a:lnTo>
                    <a:pt x="1337" y="613"/>
                  </a:lnTo>
                  <a:lnTo>
                    <a:pt x="1332" y="611"/>
                  </a:lnTo>
                  <a:lnTo>
                    <a:pt x="1327" y="604"/>
                  </a:lnTo>
                  <a:lnTo>
                    <a:pt x="1324" y="603"/>
                  </a:lnTo>
                  <a:lnTo>
                    <a:pt x="1320" y="603"/>
                  </a:lnTo>
                  <a:lnTo>
                    <a:pt x="1317" y="601"/>
                  </a:lnTo>
                  <a:lnTo>
                    <a:pt x="1315" y="599"/>
                  </a:lnTo>
                  <a:lnTo>
                    <a:pt x="1313" y="596"/>
                  </a:lnTo>
                  <a:lnTo>
                    <a:pt x="1317" y="592"/>
                  </a:lnTo>
                  <a:lnTo>
                    <a:pt x="1319" y="589"/>
                  </a:lnTo>
                  <a:lnTo>
                    <a:pt x="1319" y="584"/>
                  </a:lnTo>
                  <a:lnTo>
                    <a:pt x="1319" y="581"/>
                  </a:lnTo>
                  <a:lnTo>
                    <a:pt x="1317" y="571"/>
                  </a:lnTo>
                  <a:lnTo>
                    <a:pt x="1316" y="569"/>
                  </a:lnTo>
                  <a:lnTo>
                    <a:pt x="1316" y="567"/>
                  </a:lnTo>
                  <a:lnTo>
                    <a:pt x="1324" y="561"/>
                  </a:lnTo>
                  <a:lnTo>
                    <a:pt x="1333" y="556"/>
                  </a:lnTo>
                  <a:lnTo>
                    <a:pt x="1343" y="549"/>
                  </a:lnTo>
                  <a:lnTo>
                    <a:pt x="1347" y="544"/>
                  </a:lnTo>
                  <a:lnTo>
                    <a:pt x="1349" y="539"/>
                  </a:lnTo>
                  <a:lnTo>
                    <a:pt x="1350" y="537"/>
                  </a:lnTo>
                  <a:lnTo>
                    <a:pt x="1355" y="522"/>
                  </a:lnTo>
                  <a:lnTo>
                    <a:pt x="1354" y="518"/>
                  </a:lnTo>
                  <a:lnTo>
                    <a:pt x="1354" y="514"/>
                  </a:lnTo>
                  <a:lnTo>
                    <a:pt x="1353" y="510"/>
                  </a:lnTo>
                  <a:lnTo>
                    <a:pt x="1353" y="506"/>
                  </a:lnTo>
                  <a:lnTo>
                    <a:pt x="1354" y="503"/>
                  </a:lnTo>
                  <a:lnTo>
                    <a:pt x="1356" y="501"/>
                  </a:lnTo>
                  <a:lnTo>
                    <a:pt x="1358" y="500"/>
                  </a:lnTo>
                  <a:lnTo>
                    <a:pt x="1359" y="498"/>
                  </a:lnTo>
                  <a:lnTo>
                    <a:pt x="1363" y="490"/>
                  </a:lnTo>
                  <a:lnTo>
                    <a:pt x="1361" y="488"/>
                  </a:lnTo>
                  <a:lnTo>
                    <a:pt x="1360" y="487"/>
                  </a:lnTo>
                  <a:lnTo>
                    <a:pt x="1358" y="484"/>
                  </a:lnTo>
                  <a:lnTo>
                    <a:pt x="1357" y="483"/>
                  </a:lnTo>
                  <a:lnTo>
                    <a:pt x="1356" y="480"/>
                  </a:lnTo>
                  <a:lnTo>
                    <a:pt x="1356" y="475"/>
                  </a:lnTo>
                  <a:lnTo>
                    <a:pt x="1356" y="473"/>
                  </a:lnTo>
                  <a:lnTo>
                    <a:pt x="1355" y="468"/>
                  </a:lnTo>
                  <a:lnTo>
                    <a:pt x="1352" y="453"/>
                  </a:lnTo>
                  <a:lnTo>
                    <a:pt x="1350" y="439"/>
                  </a:lnTo>
                  <a:lnTo>
                    <a:pt x="1347" y="433"/>
                  </a:lnTo>
                  <a:lnTo>
                    <a:pt x="1345" y="428"/>
                  </a:lnTo>
                  <a:lnTo>
                    <a:pt x="1341" y="422"/>
                  </a:lnTo>
                  <a:lnTo>
                    <a:pt x="1340" y="416"/>
                  </a:lnTo>
                  <a:lnTo>
                    <a:pt x="1340" y="410"/>
                  </a:lnTo>
                  <a:lnTo>
                    <a:pt x="1340" y="401"/>
                  </a:lnTo>
                  <a:lnTo>
                    <a:pt x="1340" y="398"/>
                  </a:lnTo>
                  <a:lnTo>
                    <a:pt x="1337" y="388"/>
                  </a:lnTo>
                  <a:lnTo>
                    <a:pt x="1334" y="382"/>
                  </a:lnTo>
                  <a:lnTo>
                    <a:pt x="1335" y="378"/>
                  </a:lnTo>
                  <a:lnTo>
                    <a:pt x="1335" y="371"/>
                  </a:lnTo>
                  <a:lnTo>
                    <a:pt x="1335" y="371"/>
                  </a:lnTo>
                  <a:lnTo>
                    <a:pt x="1334" y="371"/>
                  </a:lnTo>
                  <a:lnTo>
                    <a:pt x="1331" y="371"/>
                  </a:lnTo>
                  <a:lnTo>
                    <a:pt x="1329" y="370"/>
                  </a:lnTo>
                  <a:lnTo>
                    <a:pt x="1327" y="369"/>
                  </a:lnTo>
                  <a:lnTo>
                    <a:pt x="1334" y="363"/>
                  </a:lnTo>
                  <a:lnTo>
                    <a:pt x="1335" y="361"/>
                  </a:lnTo>
                  <a:lnTo>
                    <a:pt x="1335" y="357"/>
                  </a:lnTo>
                  <a:lnTo>
                    <a:pt x="1333" y="355"/>
                  </a:lnTo>
                  <a:lnTo>
                    <a:pt x="1330" y="354"/>
                  </a:lnTo>
                  <a:lnTo>
                    <a:pt x="1329" y="355"/>
                  </a:lnTo>
                  <a:lnTo>
                    <a:pt x="1327" y="359"/>
                  </a:lnTo>
                  <a:lnTo>
                    <a:pt x="1323" y="360"/>
                  </a:lnTo>
                  <a:lnTo>
                    <a:pt x="1310" y="359"/>
                  </a:lnTo>
                  <a:lnTo>
                    <a:pt x="1308" y="358"/>
                  </a:lnTo>
                  <a:lnTo>
                    <a:pt x="1304" y="356"/>
                  </a:lnTo>
                  <a:lnTo>
                    <a:pt x="1303" y="356"/>
                  </a:lnTo>
                  <a:lnTo>
                    <a:pt x="1299" y="356"/>
                  </a:lnTo>
                  <a:lnTo>
                    <a:pt x="1298" y="355"/>
                  </a:lnTo>
                  <a:lnTo>
                    <a:pt x="1296" y="352"/>
                  </a:lnTo>
                  <a:lnTo>
                    <a:pt x="1290" y="351"/>
                  </a:lnTo>
                  <a:lnTo>
                    <a:pt x="1279" y="341"/>
                  </a:lnTo>
                  <a:lnTo>
                    <a:pt x="1277" y="342"/>
                  </a:lnTo>
                  <a:lnTo>
                    <a:pt x="1275" y="339"/>
                  </a:lnTo>
                  <a:lnTo>
                    <a:pt x="1272" y="336"/>
                  </a:lnTo>
                  <a:lnTo>
                    <a:pt x="1271" y="333"/>
                  </a:lnTo>
                  <a:lnTo>
                    <a:pt x="1270" y="332"/>
                  </a:lnTo>
                  <a:lnTo>
                    <a:pt x="1267" y="331"/>
                  </a:lnTo>
                  <a:lnTo>
                    <a:pt x="1264" y="330"/>
                  </a:lnTo>
                  <a:lnTo>
                    <a:pt x="1262" y="327"/>
                  </a:lnTo>
                  <a:lnTo>
                    <a:pt x="1264" y="323"/>
                  </a:lnTo>
                  <a:lnTo>
                    <a:pt x="1276" y="314"/>
                  </a:lnTo>
                  <a:lnTo>
                    <a:pt x="1277" y="311"/>
                  </a:lnTo>
                  <a:lnTo>
                    <a:pt x="1278" y="308"/>
                  </a:lnTo>
                  <a:lnTo>
                    <a:pt x="1278" y="306"/>
                  </a:lnTo>
                  <a:lnTo>
                    <a:pt x="1276" y="304"/>
                  </a:lnTo>
                  <a:lnTo>
                    <a:pt x="1275" y="304"/>
                  </a:lnTo>
                  <a:lnTo>
                    <a:pt x="1274" y="304"/>
                  </a:lnTo>
                  <a:lnTo>
                    <a:pt x="1273" y="303"/>
                  </a:lnTo>
                  <a:lnTo>
                    <a:pt x="1272" y="303"/>
                  </a:lnTo>
                  <a:lnTo>
                    <a:pt x="1272" y="303"/>
                  </a:lnTo>
                  <a:lnTo>
                    <a:pt x="1270" y="303"/>
                  </a:lnTo>
                  <a:lnTo>
                    <a:pt x="1269" y="302"/>
                  </a:lnTo>
                  <a:lnTo>
                    <a:pt x="1269" y="301"/>
                  </a:lnTo>
                  <a:lnTo>
                    <a:pt x="1269" y="300"/>
                  </a:lnTo>
                  <a:lnTo>
                    <a:pt x="1269" y="299"/>
                  </a:lnTo>
                  <a:lnTo>
                    <a:pt x="1268" y="298"/>
                  </a:lnTo>
                  <a:lnTo>
                    <a:pt x="1268" y="296"/>
                  </a:lnTo>
                  <a:lnTo>
                    <a:pt x="1267" y="294"/>
                  </a:lnTo>
                  <a:lnTo>
                    <a:pt x="1266" y="293"/>
                  </a:lnTo>
                  <a:lnTo>
                    <a:pt x="1262" y="291"/>
                  </a:lnTo>
                  <a:lnTo>
                    <a:pt x="1261" y="291"/>
                  </a:lnTo>
                  <a:lnTo>
                    <a:pt x="1259" y="288"/>
                  </a:lnTo>
                  <a:lnTo>
                    <a:pt x="1255" y="282"/>
                  </a:lnTo>
                  <a:lnTo>
                    <a:pt x="1253" y="280"/>
                  </a:lnTo>
                  <a:lnTo>
                    <a:pt x="1257" y="278"/>
                  </a:lnTo>
                  <a:lnTo>
                    <a:pt x="1259" y="273"/>
                  </a:lnTo>
                  <a:lnTo>
                    <a:pt x="1260" y="268"/>
                  </a:lnTo>
                  <a:lnTo>
                    <a:pt x="1262" y="264"/>
                  </a:lnTo>
                  <a:lnTo>
                    <a:pt x="1262" y="262"/>
                  </a:lnTo>
                  <a:lnTo>
                    <a:pt x="1250" y="251"/>
                  </a:lnTo>
                  <a:lnTo>
                    <a:pt x="1245" y="249"/>
                  </a:lnTo>
                  <a:lnTo>
                    <a:pt x="1245" y="247"/>
                  </a:lnTo>
                  <a:lnTo>
                    <a:pt x="1246" y="247"/>
                  </a:lnTo>
                  <a:lnTo>
                    <a:pt x="1248" y="246"/>
                  </a:lnTo>
                  <a:lnTo>
                    <a:pt x="1248" y="245"/>
                  </a:lnTo>
                  <a:lnTo>
                    <a:pt x="1247" y="243"/>
                  </a:lnTo>
                  <a:lnTo>
                    <a:pt x="1243" y="245"/>
                  </a:lnTo>
                  <a:lnTo>
                    <a:pt x="1235" y="250"/>
                  </a:lnTo>
                  <a:lnTo>
                    <a:pt x="1230" y="253"/>
                  </a:lnTo>
                  <a:lnTo>
                    <a:pt x="1210" y="256"/>
                  </a:lnTo>
                  <a:lnTo>
                    <a:pt x="1210" y="258"/>
                  </a:lnTo>
                  <a:lnTo>
                    <a:pt x="1212" y="259"/>
                  </a:lnTo>
                  <a:lnTo>
                    <a:pt x="1213" y="263"/>
                  </a:lnTo>
                  <a:lnTo>
                    <a:pt x="1215" y="264"/>
                  </a:lnTo>
                  <a:lnTo>
                    <a:pt x="1215" y="266"/>
                  </a:lnTo>
                  <a:lnTo>
                    <a:pt x="1211" y="266"/>
                  </a:lnTo>
                  <a:lnTo>
                    <a:pt x="1208" y="264"/>
                  </a:lnTo>
                  <a:lnTo>
                    <a:pt x="1206" y="260"/>
                  </a:lnTo>
                  <a:lnTo>
                    <a:pt x="1204" y="256"/>
                  </a:lnTo>
                  <a:lnTo>
                    <a:pt x="1201" y="250"/>
                  </a:lnTo>
                  <a:lnTo>
                    <a:pt x="1201" y="249"/>
                  </a:lnTo>
                  <a:lnTo>
                    <a:pt x="1199" y="249"/>
                  </a:lnTo>
                  <a:lnTo>
                    <a:pt x="1198" y="249"/>
                  </a:lnTo>
                  <a:lnTo>
                    <a:pt x="1197" y="250"/>
                  </a:lnTo>
                  <a:lnTo>
                    <a:pt x="1195" y="249"/>
                  </a:lnTo>
                  <a:lnTo>
                    <a:pt x="1196" y="248"/>
                  </a:lnTo>
                  <a:lnTo>
                    <a:pt x="1197" y="246"/>
                  </a:lnTo>
                  <a:lnTo>
                    <a:pt x="1198" y="243"/>
                  </a:lnTo>
                  <a:lnTo>
                    <a:pt x="1195" y="242"/>
                  </a:lnTo>
                  <a:lnTo>
                    <a:pt x="1189" y="245"/>
                  </a:lnTo>
                  <a:lnTo>
                    <a:pt x="1185" y="245"/>
                  </a:lnTo>
                  <a:lnTo>
                    <a:pt x="1187" y="243"/>
                  </a:lnTo>
                  <a:lnTo>
                    <a:pt x="1189" y="241"/>
                  </a:lnTo>
                  <a:lnTo>
                    <a:pt x="1185" y="238"/>
                  </a:lnTo>
                  <a:lnTo>
                    <a:pt x="1180" y="227"/>
                  </a:lnTo>
                  <a:lnTo>
                    <a:pt x="1176" y="225"/>
                  </a:lnTo>
                  <a:lnTo>
                    <a:pt x="1170" y="223"/>
                  </a:lnTo>
                  <a:lnTo>
                    <a:pt x="1162" y="219"/>
                  </a:lnTo>
                  <a:lnTo>
                    <a:pt x="1157" y="219"/>
                  </a:lnTo>
                  <a:lnTo>
                    <a:pt x="1159" y="218"/>
                  </a:lnTo>
                  <a:lnTo>
                    <a:pt x="1160" y="218"/>
                  </a:lnTo>
                  <a:lnTo>
                    <a:pt x="1161" y="217"/>
                  </a:lnTo>
                  <a:lnTo>
                    <a:pt x="1161" y="215"/>
                  </a:lnTo>
                  <a:lnTo>
                    <a:pt x="1154" y="215"/>
                  </a:lnTo>
                  <a:lnTo>
                    <a:pt x="1152" y="215"/>
                  </a:lnTo>
                  <a:lnTo>
                    <a:pt x="1152" y="212"/>
                  </a:lnTo>
                  <a:lnTo>
                    <a:pt x="1152" y="209"/>
                  </a:lnTo>
                  <a:lnTo>
                    <a:pt x="1152" y="206"/>
                  </a:lnTo>
                  <a:lnTo>
                    <a:pt x="1147" y="199"/>
                  </a:lnTo>
                  <a:lnTo>
                    <a:pt x="1146" y="195"/>
                  </a:lnTo>
                  <a:lnTo>
                    <a:pt x="1149" y="190"/>
                  </a:lnTo>
                  <a:lnTo>
                    <a:pt x="1148" y="188"/>
                  </a:lnTo>
                  <a:lnTo>
                    <a:pt x="1141" y="184"/>
                  </a:lnTo>
                  <a:lnTo>
                    <a:pt x="1139" y="181"/>
                  </a:lnTo>
                  <a:lnTo>
                    <a:pt x="1138" y="178"/>
                  </a:lnTo>
                  <a:lnTo>
                    <a:pt x="1138" y="175"/>
                  </a:lnTo>
                  <a:lnTo>
                    <a:pt x="1139" y="173"/>
                  </a:lnTo>
                  <a:lnTo>
                    <a:pt x="1135" y="171"/>
                  </a:lnTo>
                  <a:lnTo>
                    <a:pt x="1129" y="174"/>
                  </a:lnTo>
                  <a:lnTo>
                    <a:pt x="1123" y="178"/>
                  </a:lnTo>
                  <a:lnTo>
                    <a:pt x="1119" y="182"/>
                  </a:lnTo>
                  <a:lnTo>
                    <a:pt x="1118" y="185"/>
                  </a:lnTo>
                  <a:lnTo>
                    <a:pt x="1116" y="189"/>
                  </a:lnTo>
                  <a:lnTo>
                    <a:pt x="1115" y="191"/>
                  </a:lnTo>
                  <a:lnTo>
                    <a:pt x="1113" y="193"/>
                  </a:lnTo>
                  <a:lnTo>
                    <a:pt x="1111" y="193"/>
                  </a:lnTo>
                  <a:lnTo>
                    <a:pt x="1108" y="193"/>
                  </a:lnTo>
                  <a:lnTo>
                    <a:pt x="1106" y="194"/>
                  </a:lnTo>
                  <a:lnTo>
                    <a:pt x="1106" y="194"/>
                  </a:lnTo>
                  <a:lnTo>
                    <a:pt x="1105" y="193"/>
                  </a:lnTo>
                  <a:lnTo>
                    <a:pt x="1103" y="190"/>
                  </a:lnTo>
                  <a:lnTo>
                    <a:pt x="1102" y="188"/>
                  </a:lnTo>
                  <a:lnTo>
                    <a:pt x="1101" y="186"/>
                  </a:lnTo>
                  <a:lnTo>
                    <a:pt x="1100" y="184"/>
                  </a:lnTo>
                  <a:lnTo>
                    <a:pt x="1099" y="186"/>
                  </a:lnTo>
                  <a:lnTo>
                    <a:pt x="1097" y="187"/>
                  </a:lnTo>
                  <a:lnTo>
                    <a:pt x="1096" y="187"/>
                  </a:lnTo>
                  <a:lnTo>
                    <a:pt x="1094" y="186"/>
                  </a:lnTo>
                  <a:lnTo>
                    <a:pt x="1092" y="188"/>
                  </a:lnTo>
                  <a:lnTo>
                    <a:pt x="1090" y="187"/>
                  </a:lnTo>
                  <a:lnTo>
                    <a:pt x="1089" y="185"/>
                  </a:lnTo>
                  <a:lnTo>
                    <a:pt x="1087" y="182"/>
                  </a:lnTo>
                  <a:lnTo>
                    <a:pt x="1087" y="184"/>
                  </a:lnTo>
                  <a:lnTo>
                    <a:pt x="1086" y="186"/>
                  </a:lnTo>
                  <a:lnTo>
                    <a:pt x="1084" y="190"/>
                  </a:lnTo>
                  <a:lnTo>
                    <a:pt x="1085" y="186"/>
                  </a:lnTo>
                  <a:lnTo>
                    <a:pt x="1085" y="183"/>
                  </a:lnTo>
                  <a:lnTo>
                    <a:pt x="1087" y="181"/>
                  </a:lnTo>
                  <a:lnTo>
                    <a:pt x="1089" y="180"/>
                  </a:lnTo>
                  <a:lnTo>
                    <a:pt x="1089" y="178"/>
                  </a:lnTo>
                  <a:lnTo>
                    <a:pt x="1087" y="178"/>
                  </a:lnTo>
                  <a:lnTo>
                    <a:pt x="1085" y="178"/>
                  </a:lnTo>
                  <a:lnTo>
                    <a:pt x="1084" y="179"/>
                  </a:lnTo>
                  <a:lnTo>
                    <a:pt x="1082" y="180"/>
                  </a:lnTo>
                  <a:lnTo>
                    <a:pt x="1082" y="181"/>
                  </a:lnTo>
                  <a:lnTo>
                    <a:pt x="1083" y="183"/>
                  </a:lnTo>
                  <a:lnTo>
                    <a:pt x="1083" y="184"/>
                  </a:lnTo>
                  <a:lnTo>
                    <a:pt x="1074" y="189"/>
                  </a:lnTo>
                  <a:lnTo>
                    <a:pt x="1070" y="190"/>
                  </a:lnTo>
                  <a:lnTo>
                    <a:pt x="1066" y="188"/>
                  </a:lnTo>
                  <a:lnTo>
                    <a:pt x="1066" y="190"/>
                  </a:lnTo>
                  <a:lnTo>
                    <a:pt x="1065" y="189"/>
                  </a:lnTo>
                  <a:lnTo>
                    <a:pt x="1064" y="188"/>
                  </a:lnTo>
                  <a:lnTo>
                    <a:pt x="1061" y="190"/>
                  </a:lnTo>
                  <a:lnTo>
                    <a:pt x="1061" y="191"/>
                  </a:lnTo>
                  <a:lnTo>
                    <a:pt x="1062" y="191"/>
                  </a:lnTo>
                  <a:lnTo>
                    <a:pt x="1064" y="193"/>
                  </a:lnTo>
                  <a:lnTo>
                    <a:pt x="1054" y="198"/>
                  </a:lnTo>
                  <a:lnTo>
                    <a:pt x="1051" y="200"/>
                  </a:lnTo>
                  <a:lnTo>
                    <a:pt x="1051" y="201"/>
                  </a:lnTo>
                  <a:lnTo>
                    <a:pt x="1051" y="205"/>
                  </a:lnTo>
                  <a:lnTo>
                    <a:pt x="1051" y="206"/>
                  </a:lnTo>
                  <a:lnTo>
                    <a:pt x="1050" y="207"/>
                  </a:lnTo>
                  <a:lnTo>
                    <a:pt x="1048" y="207"/>
                  </a:lnTo>
                  <a:lnTo>
                    <a:pt x="1047" y="208"/>
                  </a:lnTo>
                  <a:lnTo>
                    <a:pt x="1043" y="212"/>
                  </a:lnTo>
                  <a:lnTo>
                    <a:pt x="1041" y="214"/>
                  </a:lnTo>
                  <a:lnTo>
                    <a:pt x="1041" y="217"/>
                  </a:lnTo>
                  <a:lnTo>
                    <a:pt x="1044" y="220"/>
                  </a:lnTo>
                  <a:lnTo>
                    <a:pt x="1046" y="221"/>
                  </a:lnTo>
                  <a:lnTo>
                    <a:pt x="1048" y="221"/>
                  </a:lnTo>
                  <a:lnTo>
                    <a:pt x="1045" y="223"/>
                  </a:lnTo>
                  <a:lnTo>
                    <a:pt x="1041" y="222"/>
                  </a:lnTo>
                  <a:lnTo>
                    <a:pt x="1034" y="217"/>
                  </a:lnTo>
                  <a:lnTo>
                    <a:pt x="1036" y="215"/>
                  </a:lnTo>
                  <a:lnTo>
                    <a:pt x="1036" y="213"/>
                  </a:lnTo>
                  <a:lnTo>
                    <a:pt x="1034" y="210"/>
                  </a:lnTo>
                  <a:lnTo>
                    <a:pt x="1033" y="206"/>
                  </a:lnTo>
                  <a:lnTo>
                    <a:pt x="1036" y="206"/>
                  </a:lnTo>
                  <a:lnTo>
                    <a:pt x="1038" y="203"/>
                  </a:lnTo>
                  <a:lnTo>
                    <a:pt x="1038" y="200"/>
                  </a:lnTo>
                  <a:lnTo>
                    <a:pt x="1037" y="197"/>
                  </a:lnTo>
                  <a:lnTo>
                    <a:pt x="1038" y="195"/>
                  </a:lnTo>
                  <a:lnTo>
                    <a:pt x="1040" y="196"/>
                  </a:lnTo>
                  <a:lnTo>
                    <a:pt x="1041" y="196"/>
                  </a:lnTo>
                  <a:lnTo>
                    <a:pt x="1043" y="197"/>
                  </a:lnTo>
                  <a:lnTo>
                    <a:pt x="1042" y="193"/>
                  </a:lnTo>
                  <a:lnTo>
                    <a:pt x="1043" y="189"/>
                  </a:lnTo>
                  <a:lnTo>
                    <a:pt x="1045" y="185"/>
                  </a:lnTo>
                  <a:lnTo>
                    <a:pt x="1048" y="184"/>
                  </a:lnTo>
                  <a:lnTo>
                    <a:pt x="1053" y="185"/>
                  </a:lnTo>
                  <a:lnTo>
                    <a:pt x="1056" y="186"/>
                  </a:lnTo>
                  <a:lnTo>
                    <a:pt x="1059" y="190"/>
                  </a:lnTo>
                  <a:lnTo>
                    <a:pt x="1061" y="186"/>
                  </a:lnTo>
                  <a:lnTo>
                    <a:pt x="1063" y="185"/>
                  </a:lnTo>
                  <a:lnTo>
                    <a:pt x="1067" y="184"/>
                  </a:lnTo>
                  <a:lnTo>
                    <a:pt x="1070" y="186"/>
                  </a:lnTo>
                  <a:lnTo>
                    <a:pt x="1070" y="185"/>
                  </a:lnTo>
                  <a:lnTo>
                    <a:pt x="1070" y="184"/>
                  </a:lnTo>
                  <a:lnTo>
                    <a:pt x="1071" y="184"/>
                  </a:lnTo>
                  <a:lnTo>
                    <a:pt x="1071" y="184"/>
                  </a:lnTo>
                  <a:lnTo>
                    <a:pt x="1070" y="184"/>
                  </a:lnTo>
                  <a:lnTo>
                    <a:pt x="1069" y="184"/>
                  </a:lnTo>
                  <a:lnTo>
                    <a:pt x="1068" y="182"/>
                  </a:lnTo>
                  <a:lnTo>
                    <a:pt x="1068" y="180"/>
                  </a:lnTo>
                  <a:lnTo>
                    <a:pt x="1069" y="180"/>
                  </a:lnTo>
                  <a:lnTo>
                    <a:pt x="1070" y="179"/>
                  </a:lnTo>
                  <a:lnTo>
                    <a:pt x="1071" y="178"/>
                  </a:lnTo>
                  <a:lnTo>
                    <a:pt x="1072" y="180"/>
                  </a:lnTo>
                  <a:lnTo>
                    <a:pt x="1073" y="176"/>
                  </a:lnTo>
                  <a:lnTo>
                    <a:pt x="1075" y="176"/>
                  </a:lnTo>
                  <a:lnTo>
                    <a:pt x="1079" y="176"/>
                  </a:lnTo>
                  <a:lnTo>
                    <a:pt x="1082" y="176"/>
                  </a:lnTo>
                  <a:lnTo>
                    <a:pt x="1083" y="176"/>
                  </a:lnTo>
                  <a:lnTo>
                    <a:pt x="1085" y="173"/>
                  </a:lnTo>
                  <a:lnTo>
                    <a:pt x="1086" y="173"/>
                  </a:lnTo>
                  <a:lnTo>
                    <a:pt x="1090" y="173"/>
                  </a:lnTo>
                  <a:lnTo>
                    <a:pt x="1097" y="176"/>
                  </a:lnTo>
                  <a:lnTo>
                    <a:pt x="1114" y="177"/>
                  </a:lnTo>
                  <a:lnTo>
                    <a:pt x="1118" y="176"/>
                  </a:lnTo>
                  <a:lnTo>
                    <a:pt x="1122" y="173"/>
                  </a:lnTo>
                  <a:lnTo>
                    <a:pt x="1119" y="170"/>
                  </a:lnTo>
                  <a:lnTo>
                    <a:pt x="1115" y="169"/>
                  </a:lnTo>
                  <a:lnTo>
                    <a:pt x="1111" y="171"/>
                  </a:lnTo>
                  <a:lnTo>
                    <a:pt x="1105" y="168"/>
                  </a:lnTo>
                  <a:lnTo>
                    <a:pt x="1069" y="168"/>
                  </a:lnTo>
                  <a:lnTo>
                    <a:pt x="1062" y="165"/>
                  </a:lnTo>
                  <a:lnTo>
                    <a:pt x="1059" y="160"/>
                  </a:lnTo>
                  <a:lnTo>
                    <a:pt x="1060" y="160"/>
                  </a:lnTo>
                  <a:lnTo>
                    <a:pt x="1060" y="158"/>
                  </a:lnTo>
                  <a:lnTo>
                    <a:pt x="1057" y="160"/>
                  </a:lnTo>
                  <a:lnTo>
                    <a:pt x="1055" y="162"/>
                  </a:lnTo>
                  <a:lnTo>
                    <a:pt x="1053" y="169"/>
                  </a:lnTo>
                  <a:lnTo>
                    <a:pt x="1046" y="180"/>
                  </a:lnTo>
                  <a:lnTo>
                    <a:pt x="1045" y="183"/>
                  </a:lnTo>
                  <a:lnTo>
                    <a:pt x="1036" y="197"/>
                  </a:lnTo>
                  <a:lnTo>
                    <a:pt x="1030" y="208"/>
                  </a:lnTo>
                  <a:lnTo>
                    <a:pt x="1027" y="211"/>
                  </a:lnTo>
                  <a:lnTo>
                    <a:pt x="1022" y="216"/>
                  </a:lnTo>
                  <a:lnTo>
                    <a:pt x="1009" y="222"/>
                  </a:lnTo>
                  <a:lnTo>
                    <a:pt x="1007" y="223"/>
                  </a:lnTo>
                  <a:lnTo>
                    <a:pt x="1005" y="224"/>
                  </a:lnTo>
                  <a:lnTo>
                    <a:pt x="1001" y="231"/>
                  </a:lnTo>
                  <a:lnTo>
                    <a:pt x="998" y="234"/>
                  </a:lnTo>
                  <a:lnTo>
                    <a:pt x="993" y="241"/>
                  </a:lnTo>
                  <a:lnTo>
                    <a:pt x="992" y="243"/>
                  </a:lnTo>
                  <a:lnTo>
                    <a:pt x="993" y="242"/>
                  </a:lnTo>
                  <a:lnTo>
                    <a:pt x="995" y="242"/>
                  </a:lnTo>
                  <a:lnTo>
                    <a:pt x="996" y="241"/>
                  </a:lnTo>
                  <a:lnTo>
                    <a:pt x="998" y="241"/>
                  </a:lnTo>
                  <a:lnTo>
                    <a:pt x="997" y="245"/>
                  </a:lnTo>
                  <a:lnTo>
                    <a:pt x="992" y="248"/>
                  </a:lnTo>
                  <a:lnTo>
                    <a:pt x="991" y="251"/>
                  </a:lnTo>
                  <a:lnTo>
                    <a:pt x="991" y="254"/>
                  </a:lnTo>
                  <a:lnTo>
                    <a:pt x="992" y="260"/>
                  </a:lnTo>
                  <a:lnTo>
                    <a:pt x="994" y="264"/>
                  </a:lnTo>
                  <a:lnTo>
                    <a:pt x="990" y="259"/>
                  </a:lnTo>
                  <a:lnTo>
                    <a:pt x="990" y="253"/>
                  </a:lnTo>
                  <a:lnTo>
                    <a:pt x="990" y="245"/>
                  </a:lnTo>
                  <a:lnTo>
                    <a:pt x="989" y="238"/>
                  </a:lnTo>
                  <a:lnTo>
                    <a:pt x="983" y="242"/>
                  </a:lnTo>
                  <a:lnTo>
                    <a:pt x="946" y="250"/>
                  </a:lnTo>
                  <a:lnTo>
                    <a:pt x="932" y="247"/>
                  </a:lnTo>
                  <a:lnTo>
                    <a:pt x="926" y="248"/>
                  </a:lnTo>
                  <a:lnTo>
                    <a:pt x="921" y="252"/>
                  </a:lnTo>
                  <a:lnTo>
                    <a:pt x="917" y="259"/>
                  </a:lnTo>
                  <a:lnTo>
                    <a:pt x="917" y="260"/>
                  </a:lnTo>
                  <a:lnTo>
                    <a:pt x="916" y="261"/>
                  </a:lnTo>
                  <a:lnTo>
                    <a:pt x="915" y="262"/>
                  </a:lnTo>
                  <a:lnTo>
                    <a:pt x="915" y="264"/>
                  </a:lnTo>
                  <a:lnTo>
                    <a:pt x="917" y="264"/>
                  </a:lnTo>
                  <a:lnTo>
                    <a:pt x="917" y="266"/>
                  </a:lnTo>
                  <a:lnTo>
                    <a:pt x="916" y="268"/>
                  </a:lnTo>
                  <a:lnTo>
                    <a:pt x="915" y="269"/>
                  </a:lnTo>
                  <a:lnTo>
                    <a:pt x="914" y="271"/>
                  </a:lnTo>
                  <a:lnTo>
                    <a:pt x="913" y="271"/>
                  </a:lnTo>
                  <a:lnTo>
                    <a:pt x="910" y="273"/>
                  </a:lnTo>
                  <a:lnTo>
                    <a:pt x="908" y="280"/>
                  </a:lnTo>
                  <a:lnTo>
                    <a:pt x="904" y="282"/>
                  </a:lnTo>
                  <a:lnTo>
                    <a:pt x="903" y="282"/>
                  </a:lnTo>
                  <a:lnTo>
                    <a:pt x="899" y="280"/>
                  </a:lnTo>
                  <a:lnTo>
                    <a:pt x="899" y="282"/>
                  </a:lnTo>
                  <a:lnTo>
                    <a:pt x="900" y="282"/>
                  </a:lnTo>
                  <a:lnTo>
                    <a:pt x="900" y="284"/>
                  </a:lnTo>
                  <a:lnTo>
                    <a:pt x="895" y="290"/>
                  </a:lnTo>
                  <a:lnTo>
                    <a:pt x="895" y="291"/>
                  </a:lnTo>
                  <a:lnTo>
                    <a:pt x="895" y="294"/>
                  </a:lnTo>
                  <a:lnTo>
                    <a:pt x="896" y="295"/>
                  </a:lnTo>
                  <a:lnTo>
                    <a:pt x="895" y="295"/>
                  </a:lnTo>
                  <a:lnTo>
                    <a:pt x="893" y="297"/>
                  </a:lnTo>
                  <a:lnTo>
                    <a:pt x="892" y="298"/>
                  </a:lnTo>
                  <a:lnTo>
                    <a:pt x="892" y="303"/>
                  </a:lnTo>
                  <a:lnTo>
                    <a:pt x="891" y="308"/>
                  </a:lnTo>
                  <a:lnTo>
                    <a:pt x="890" y="312"/>
                  </a:lnTo>
                  <a:lnTo>
                    <a:pt x="889" y="316"/>
                  </a:lnTo>
                  <a:lnTo>
                    <a:pt x="888" y="316"/>
                  </a:lnTo>
                  <a:lnTo>
                    <a:pt x="886" y="315"/>
                  </a:lnTo>
                  <a:lnTo>
                    <a:pt x="880" y="307"/>
                  </a:lnTo>
                  <a:lnTo>
                    <a:pt x="880" y="306"/>
                  </a:lnTo>
                  <a:lnTo>
                    <a:pt x="874" y="306"/>
                  </a:lnTo>
                  <a:lnTo>
                    <a:pt x="873" y="305"/>
                  </a:lnTo>
                  <a:lnTo>
                    <a:pt x="871" y="302"/>
                  </a:lnTo>
                  <a:lnTo>
                    <a:pt x="870" y="301"/>
                  </a:lnTo>
                  <a:lnTo>
                    <a:pt x="863" y="306"/>
                  </a:lnTo>
                  <a:lnTo>
                    <a:pt x="862" y="307"/>
                  </a:lnTo>
                  <a:lnTo>
                    <a:pt x="857" y="306"/>
                  </a:lnTo>
                  <a:lnTo>
                    <a:pt x="855" y="305"/>
                  </a:lnTo>
                  <a:lnTo>
                    <a:pt x="855" y="302"/>
                  </a:lnTo>
                  <a:lnTo>
                    <a:pt x="856" y="296"/>
                  </a:lnTo>
                  <a:lnTo>
                    <a:pt x="855" y="295"/>
                  </a:lnTo>
                  <a:lnTo>
                    <a:pt x="849" y="293"/>
                  </a:lnTo>
                  <a:lnTo>
                    <a:pt x="848" y="291"/>
                  </a:lnTo>
                  <a:lnTo>
                    <a:pt x="847" y="288"/>
                  </a:lnTo>
                  <a:lnTo>
                    <a:pt x="846" y="286"/>
                  </a:lnTo>
                  <a:lnTo>
                    <a:pt x="845" y="285"/>
                  </a:lnTo>
                  <a:lnTo>
                    <a:pt x="825" y="288"/>
                  </a:lnTo>
                  <a:lnTo>
                    <a:pt x="817" y="293"/>
                  </a:lnTo>
                  <a:lnTo>
                    <a:pt x="814" y="293"/>
                  </a:lnTo>
                  <a:lnTo>
                    <a:pt x="811" y="294"/>
                  </a:lnTo>
                  <a:lnTo>
                    <a:pt x="807" y="299"/>
                  </a:lnTo>
                  <a:lnTo>
                    <a:pt x="804" y="301"/>
                  </a:lnTo>
                  <a:lnTo>
                    <a:pt x="804" y="301"/>
                  </a:lnTo>
                  <a:lnTo>
                    <a:pt x="802" y="301"/>
                  </a:lnTo>
                  <a:lnTo>
                    <a:pt x="801" y="301"/>
                  </a:lnTo>
                  <a:lnTo>
                    <a:pt x="799" y="300"/>
                  </a:lnTo>
                  <a:lnTo>
                    <a:pt x="798" y="298"/>
                  </a:lnTo>
                  <a:lnTo>
                    <a:pt x="798" y="294"/>
                  </a:lnTo>
                  <a:lnTo>
                    <a:pt x="797" y="292"/>
                  </a:lnTo>
                  <a:lnTo>
                    <a:pt x="795" y="291"/>
                  </a:lnTo>
                  <a:lnTo>
                    <a:pt x="789" y="292"/>
                  </a:lnTo>
                  <a:lnTo>
                    <a:pt x="785" y="290"/>
                  </a:lnTo>
                  <a:lnTo>
                    <a:pt x="782" y="288"/>
                  </a:lnTo>
                  <a:lnTo>
                    <a:pt x="780" y="284"/>
                  </a:lnTo>
                  <a:lnTo>
                    <a:pt x="777" y="278"/>
                  </a:lnTo>
                  <a:lnTo>
                    <a:pt x="777" y="277"/>
                  </a:lnTo>
                  <a:lnTo>
                    <a:pt x="779" y="275"/>
                  </a:lnTo>
                  <a:lnTo>
                    <a:pt x="785" y="265"/>
                  </a:lnTo>
                  <a:lnTo>
                    <a:pt x="786" y="265"/>
                  </a:lnTo>
                  <a:lnTo>
                    <a:pt x="787" y="264"/>
                  </a:lnTo>
                  <a:lnTo>
                    <a:pt x="788" y="264"/>
                  </a:lnTo>
                  <a:lnTo>
                    <a:pt x="790" y="265"/>
                  </a:lnTo>
                  <a:lnTo>
                    <a:pt x="791" y="266"/>
                  </a:lnTo>
                  <a:lnTo>
                    <a:pt x="792" y="265"/>
                  </a:lnTo>
                  <a:lnTo>
                    <a:pt x="793" y="265"/>
                  </a:lnTo>
                  <a:lnTo>
                    <a:pt x="800" y="263"/>
                  </a:lnTo>
                  <a:lnTo>
                    <a:pt x="802" y="261"/>
                  </a:lnTo>
                  <a:lnTo>
                    <a:pt x="809" y="253"/>
                  </a:lnTo>
                  <a:lnTo>
                    <a:pt x="827" y="240"/>
                  </a:lnTo>
                  <a:lnTo>
                    <a:pt x="828" y="238"/>
                  </a:lnTo>
                  <a:lnTo>
                    <a:pt x="830" y="236"/>
                  </a:lnTo>
                  <a:lnTo>
                    <a:pt x="831" y="234"/>
                  </a:lnTo>
                  <a:lnTo>
                    <a:pt x="832" y="229"/>
                  </a:lnTo>
                  <a:lnTo>
                    <a:pt x="831" y="222"/>
                  </a:lnTo>
                  <a:lnTo>
                    <a:pt x="831" y="217"/>
                  </a:lnTo>
                  <a:lnTo>
                    <a:pt x="832" y="214"/>
                  </a:lnTo>
                  <a:lnTo>
                    <a:pt x="831" y="208"/>
                  </a:lnTo>
                  <a:lnTo>
                    <a:pt x="829" y="198"/>
                  </a:lnTo>
                  <a:lnTo>
                    <a:pt x="827" y="193"/>
                  </a:lnTo>
                  <a:lnTo>
                    <a:pt x="830" y="194"/>
                  </a:lnTo>
                  <a:lnTo>
                    <a:pt x="831" y="195"/>
                  </a:lnTo>
                  <a:lnTo>
                    <a:pt x="832" y="192"/>
                  </a:lnTo>
                  <a:lnTo>
                    <a:pt x="838" y="186"/>
                  </a:lnTo>
                  <a:lnTo>
                    <a:pt x="833" y="184"/>
                  </a:lnTo>
                  <a:lnTo>
                    <a:pt x="822" y="191"/>
                  </a:lnTo>
                  <a:lnTo>
                    <a:pt x="818" y="188"/>
                  </a:lnTo>
                  <a:lnTo>
                    <a:pt x="816" y="189"/>
                  </a:lnTo>
                  <a:lnTo>
                    <a:pt x="813" y="188"/>
                  </a:lnTo>
                  <a:lnTo>
                    <a:pt x="817" y="188"/>
                  </a:lnTo>
                  <a:lnTo>
                    <a:pt x="820" y="188"/>
                  </a:lnTo>
                  <a:lnTo>
                    <a:pt x="820" y="186"/>
                  </a:lnTo>
                  <a:lnTo>
                    <a:pt x="807" y="187"/>
                  </a:lnTo>
                  <a:lnTo>
                    <a:pt x="801" y="190"/>
                  </a:lnTo>
                  <a:lnTo>
                    <a:pt x="796" y="193"/>
                  </a:lnTo>
                  <a:lnTo>
                    <a:pt x="787" y="202"/>
                  </a:lnTo>
                  <a:lnTo>
                    <a:pt x="781" y="205"/>
                  </a:lnTo>
                  <a:lnTo>
                    <a:pt x="774" y="206"/>
                  </a:lnTo>
                  <a:lnTo>
                    <a:pt x="768" y="205"/>
                  </a:lnTo>
                  <a:lnTo>
                    <a:pt x="753" y="191"/>
                  </a:lnTo>
                  <a:lnTo>
                    <a:pt x="729" y="180"/>
                  </a:lnTo>
                  <a:lnTo>
                    <a:pt x="719" y="172"/>
                  </a:lnTo>
                  <a:lnTo>
                    <a:pt x="715" y="171"/>
                  </a:lnTo>
                  <a:lnTo>
                    <a:pt x="709" y="170"/>
                  </a:lnTo>
                  <a:lnTo>
                    <a:pt x="707" y="171"/>
                  </a:lnTo>
                  <a:lnTo>
                    <a:pt x="705" y="172"/>
                  </a:lnTo>
                  <a:lnTo>
                    <a:pt x="704" y="174"/>
                  </a:lnTo>
                  <a:lnTo>
                    <a:pt x="703" y="175"/>
                  </a:lnTo>
                  <a:lnTo>
                    <a:pt x="701" y="176"/>
                  </a:lnTo>
                  <a:lnTo>
                    <a:pt x="695" y="177"/>
                  </a:lnTo>
                  <a:lnTo>
                    <a:pt x="694" y="178"/>
                  </a:lnTo>
                  <a:lnTo>
                    <a:pt x="692" y="180"/>
                  </a:lnTo>
                  <a:lnTo>
                    <a:pt x="690" y="190"/>
                  </a:lnTo>
                  <a:lnTo>
                    <a:pt x="687" y="198"/>
                  </a:lnTo>
                  <a:lnTo>
                    <a:pt x="684" y="201"/>
                  </a:lnTo>
                  <a:lnTo>
                    <a:pt x="680" y="202"/>
                  </a:lnTo>
                  <a:lnTo>
                    <a:pt x="682" y="200"/>
                  </a:lnTo>
                  <a:lnTo>
                    <a:pt x="683" y="197"/>
                  </a:lnTo>
                  <a:lnTo>
                    <a:pt x="682" y="195"/>
                  </a:lnTo>
                  <a:lnTo>
                    <a:pt x="680" y="193"/>
                  </a:lnTo>
                  <a:lnTo>
                    <a:pt x="681" y="191"/>
                  </a:lnTo>
                  <a:lnTo>
                    <a:pt x="681" y="190"/>
                  </a:lnTo>
                  <a:lnTo>
                    <a:pt x="681" y="190"/>
                  </a:lnTo>
                  <a:lnTo>
                    <a:pt x="680" y="190"/>
                  </a:lnTo>
                  <a:lnTo>
                    <a:pt x="683" y="189"/>
                  </a:lnTo>
                  <a:lnTo>
                    <a:pt x="686" y="186"/>
                  </a:lnTo>
                  <a:lnTo>
                    <a:pt x="688" y="183"/>
                  </a:lnTo>
                  <a:lnTo>
                    <a:pt x="689" y="179"/>
                  </a:lnTo>
                  <a:lnTo>
                    <a:pt x="689" y="175"/>
                  </a:lnTo>
                  <a:lnTo>
                    <a:pt x="687" y="171"/>
                  </a:lnTo>
                  <a:lnTo>
                    <a:pt x="687" y="168"/>
                  </a:lnTo>
                  <a:lnTo>
                    <a:pt x="690" y="165"/>
                  </a:lnTo>
                  <a:lnTo>
                    <a:pt x="681" y="157"/>
                  </a:lnTo>
                  <a:lnTo>
                    <a:pt x="678" y="156"/>
                  </a:lnTo>
                  <a:lnTo>
                    <a:pt x="640" y="165"/>
                  </a:lnTo>
                  <a:lnTo>
                    <a:pt x="633" y="161"/>
                  </a:lnTo>
                  <a:lnTo>
                    <a:pt x="633" y="160"/>
                  </a:lnTo>
                  <a:lnTo>
                    <a:pt x="639" y="159"/>
                  </a:lnTo>
                  <a:lnTo>
                    <a:pt x="646" y="156"/>
                  </a:lnTo>
                  <a:lnTo>
                    <a:pt x="652" y="153"/>
                  </a:lnTo>
                  <a:lnTo>
                    <a:pt x="658" y="148"/>
                  </a:lnTo>
                  <a:lnTo>
                    <a:pt x="660" y="145"/>
                  </a:lnTo>
                  <a:lnTo>
                    <a:pt x="661" y="142"/>
                  </a:lnTo>
                  <a:lnTo>
                    <a:pt x="662" y="138"/>
                  </a:lnTo>
                  <a:lnTo>
                    <a:pt x="663" y="133"/>
                  </a:lnTo>
                  <a:lnTo>
                    <a:pt x="664" y="122"/>
                  </a:lnTo>
                  <a:lnTo>
                    <a:pt x="664" y="117"/>
                  </a:lnTo>
                  <a:lnTo>
                    <a:pt x="663" y="113"/>
                  </a:lnTo>
                  <a:lnTo>
                    <a:pt x="664" y="109"/>
                  </a:lnTo>
                  <a:lnTo>
                    <a:pt x="663" y="107"/>
                  </a:lnTo>
                  <a:lnTo>
                    <a:pt x="661" y="107"/>
                  </a:lnTo>
                  <a:lnTo>
                    <a:pt x="660" y="109"/>
                  </a:lnTo>
                  <a:lnTo>
                    <a:pt x="657" y="106"/>
                  </a:lnTo>
                  <a:lnTo>
                    <a:pt x="653" y="106"/>
                  </a:lnTo>
                  <a:lnTo>
                    <a:pt x="649" y="107"/>
                  </a:lnTo>
                  <a:lnTo>
                    <a:pt x="647" y="107"/>
                  </a:lnTo>
                  <a:lnTo>
                    <a:pt x="647" y="105"/>
                  </a:lnTo>
                  <a:lnTo>
                    <a:pt x="647" y="104"/>
                  </a:lnTo>
                  <a:lnTo>
                    <a:pt x="648" y="104"/>
                  </a:lnTo>
                  <a:lnTo>
                    <a:pt x="649" y="103"/>
                  </a:lnTo>
                  <a:lnTo>
                    <a:pt x="650" y="103"/>
                  </a:lnTo>
                  <a:lnTo>
                    <a:pt x="653" y="100"/>
                  </a:lnTo>
                  <a:lnTo>
                    <a:pt x="653" y="100"/>
                  </a:lnTo>
                  <a:lnTo>
                    <a:pt x="655" y="100"/>
                  </a:lnTo>
                  <a:lnTo>
                    <a:pt x="657" y="101"/>
                  </a:lnTo>
                  <a:lnTo>
                    <a:pt x="659" y="101"/>
                  </a:lnTo>
                  <a:lnTo>
                    <a:pt x="661" y="100"/>
                  </a:lnTo>
                  <a:lnTo>
                    <a:pt x="658" y="97"/>
                  </a:lnTo>
                  <a:lnTo>
                    <a:pt x="656" y="94"/>
                  </a:lnTo>
                  <a:lnTo>
                    <a:pt x="655" y="92"/>
                  </a:lnTo>
                  <a:lnTo>
                    <a:pt x="653" y="83"/>
                  </a:lnTo>
                  <a:lnTo>
                    <a:pt x="650" y="78"/>
                  </a:lnTo>
                  <a:lnTo>
                    <a:pt x="645" y="75"/>
                  </a:lnTo>
                  <a:lnTo>
                    <a:pt x="641" y="75"/>
                  </a:lnTo>
                  <a:lnTo>
                    <a:pt x="641" y="81"/>
                  </a:lnTo>
                  <a:lnTo>
                    <a:pt x="634" y="84"/>
                  </a:lnTo>
                  <a:lnTo>
                    <a:pt x="630" y="84"/>
                  </a:lnTo>
                  <a:lnTo>
                    <a:pt x="628" y="82"/>
                  </a:lnTo>
                  <a:lnTo>
                    <a:pt x="626" y="77"/>
                  </a:lnTo>
                  <a:lnTo>
                    <a:pt x="623" y="74"/>
                  </a:lnTo>
                  <a:lnTo>
                    <a:pt x="619" y="73"/>
                  </a:lnTo>
                  <a:lnTo>
                    <a:pt x="616" y="71"/>
                  </a:lnTo>
                  <a:lnTo>
                    <a:pt x="609" y="68"/>
                  </a:lnTo>
                  <a:lnTo>
                    <a:pt x="600" y="67"/>
                  </a:lnTo>
                  <a:lnTo>
                    <a:pt x="592" y="64"/>
                  </a:lnTo>
                  <a:lnTo>
                    <a:pt x="591" y="54"/>
                  </a:lnTo>
                  <a:lnTo>
                    <a:pt x="589" y="56"/>
                  </a:lnTo>
                  <a:lnTo>
                    <a:pt x="587" y="60"/>
                  </a:lnTo>
                  <a:lnTo>
                    <a:pt x="583" y="61"/>
                  </a:lnTo>
                  <a:lnTo>
                    <a:pt x="580" y="65"/>
                  </a:lnTo>
                  <a:lnTo>
                    <a:pt x="571" y="70"/>
                  </a:lnTo>
                  <a:lnTo>
                    <a:pt x="569" y="70"/>
                  </a:lnTo>
                  <a:lnTo>
                    <a:pt x="569" y="70"/>
                  </a:lnTo>
                  <a:lnTo>
                    <a:pt x="569" y="70"/>
                  </a:lnTo>
                  <a:lnTo>
                    <a:pt x="566" y="71"/>
                  </a:lnTo>
                  <a:lnTo>
                    <a:pt x="563" y="70"/>
                  </a:lnTo>
                  <a:lnTo>
                    <a:pt x="560" y="67"/>
                  </a:lnTo>
                  <a:lnTo>
                    <a:pt x="558" y="68"/>
                  </a:lnTo>
                  <a:lnTo>
                    <a:pt x="556" y="69"/>
                  </a:lnTo>
                  <a:lnTo>
                    <a:pt x="553" y="70"/>
                  </a:lnTo>
                  <a:lnTo>
                    <a:pt x="552" y="72"/>
                  </a:lnTo>
                  <a:lnTo>
                    <a:pt x="550" y="72"/>
                  </a:lnTo>
                  <a:lnTo>
                    <a:pt x="538" y="72"/>
                  </a:lnTo>
                  <a:lnTo>
                    <a:pt x="535" y="71"/>
                  </a:lnTo>
                  <a:lnTo>
                    <a:pt x="534" y="68"/>
                  </a:lnTo>
                  <a:lnTo>
                    <a:pt x="533" y="64"/>
                  </a:lnTo>
                  <a:lnTo>
                    <a:pt x="533" y="61"/>
                  </a:lnTo>
                  <a:lnTo>
                    <a:pt x="530" y="59"/>
                  </a:lnTo>
                  <a:lnTo>
                    <a:pt x="497" y="51"/>
                  </a:lnTo>
                  <a:lnTo>
                    <a:pt x="484" y="46"/>
                  </a:lnTo>
                  <a:lnTo>
                    <a:pt x="471" y="44"/>
                  </a:lnTo>
                  <a:lnTo>
                    <a:pt x="468" y="44"/>
                  </a:lnTo>
                  <a:lnTo>
                    <a:pt x="457" y="48"/>
                  </a:lnTo>
                  <a:lnTo>
                    <a:pt x="451" y="48"/>
                  </a:lnTo>
                  <a:lnTo>
                    <a:pt x="445" y="46"/>
                  </a:lnTo>
                  <a:lnTo>
                    <a:pt x="443" y="54"/>
                  </a:lnTo>
                  <a:lnTo>
                    <a:pt x="443" y="60"/>
                  </a:lnTo>
                  <a:lnTo>
                    <a:pt x="443" y="68"/>
                  </a:lnTo>
                  <a:lnTo>
                    <a:pt x="445" y="73"/>
                  </a:lnTo>
                  <a:lnTo>
                    <a:pt x="449" y="78"/>
                  </a:lnTo>
                  <a:lnTo>
                    <a:pt x="451" y="83"/>
                  </a:lnTo>
                  <a:lnTo>
                    <a:pt x="450" y="88"/>
                  </a:lnTo>
                  <a:lnTo>
                    <a:pt x="450" y="90"/>
                  </a:lnTo>
                  <a:lnTo>
                    <a:pt x="455" y="93"/>
                  </a:lnTo>
                  <a:lnTo>
                    <a:pt x="464" y="101"/>
                  </a:lnTo>
                  <a:lnTo>
                    <a:pt x="468" y="103"/>
                  </a:lnTo>
                  <a:lnTo>
                    <a:pt x="470" y="107"/>
                  </a:lnTo>
                  <a:lnTo>
                    <a:pt x="476" y="122"/>
                  </a:lnTo>
                  <a:lnTo>
                    <a:pt x="470" y="126"/>
                  </a:lnTo>
                  <a:lnTo>
                    <a:pt x="472" y="128"/>
                  </a:lnTo>
                  <a:lnTo>
                    <a:pt x="473" y="127"/>
                  </a:lnTo>
                  <a:lnTo>
                    <a:pt x="477" y="126"/>
                  </a:lnTo>
                  <a:lnTo>
                    <a:pt x="480" y="126"/>
                  </a:lnTo>
                  <a:lnTo>
                    <a:pt x="481" y="127"/>
                  </a:lnTo>
                  <a:lnTo>
                    <a:pt x="482" y="130"/>
                  </a:lnTo>
                  <a:lnTo>
                    <a:pt x="484" y="133"/>
                  </a:lnTo>
                  <a:lnTo>
                    <a:pt x="497" y="147"/>
                  </a:lnTo>
                  <a:lnTo>
                    <a:pt x="501" y="153"/>
                  </a:lnTo>
                  <a:lnTo>
                    <a:pt x="501" y="160"/>
                  </a:lnTo>
                  <a:lnTo>
                    <a:pt x="500" y="164"/>
                  </a:lnTo>
                  <a:lnTo>
                    <a:pt x="497" y="166"/>
                  </a:lnTo>
                  <a:lnTo>
                    <a:pt x="491" y="169"/>
                  </a:lnTo>
                  <a:lnTo>
                    <a:pt x="484" y="175"/>
                  </a:lnTo>
                  <a:lnTo>
                    <a:pt x="481" y="177"/>
                  </a:lnTo>
                  <a:lnTo>
                    <a:pt x="477" y="178"/>
                  </a:lnTo>
                  <a:lnTo>
                    <a:pt x="460" y="178"/>
                  </a:lnTo>
                  <a:lnTo>
                    <a:pt x="447" y="182"/>
                  </a:lnTo>
                  <a:lnTo>
                    <a:pt x="443" y="180"/>
                  </a:lnTo>
                  <a:lnTo>
                    <a:pt x="442" y="182"/>
                  </a:lnTo>
                  <a:lnTo>
                    <a:pt x="440" y="185"/>
                  </a:lnTo>
                  <a:lnTo>
                    <a:pt x="440" y="188"/>
                  </a:lnTo>
                  <a:lnTo>
                    <a:pt x="441" y="191"/>
                  </a:lnTo>
                  <a:lnTo>
                    <a:pt x="444" y="188"/>
                  </a:lnTo>
                  <a:lnTo>
                    <a:pt x="446" y="189"/>
                  </a:lnTo>
                  <a:lnTo>
                    <a:pt x="448" y="191"/>
                  </a:lnTo>
                  <a:lnTo>
                    <a:pt x="451" y="191"/>
                  </a:lnTo>
                  <a:lnTo>
                    <a:pt x="451" y="193"/>
                  </a:lnTo>
                  <a:lnTo>
                    <a:pt x="447" y="193"/>
                  </a:lnTo>
                  <a:lnTo>
                    <a:pt x="442" y="194"/>
                  </a:lnTo>
                  <a:lnTo>
                    <a:pt x="438" y="196"/>
                  </a:lnTo>
                  <a:lnTo>
                    <a:pt x="436" y="199"/>
                  </a:lnTo>
                  <a:lnTo>
                    <a:pt x="436" y="206"/>
                  </a:lnTo>
                  <a:lnTo>
                    <a:pt x="440" y="212"/>
                  </a:lnTo>
                  <a:lnTo>
                    <a:pt x="444" y="216"/>
                  </a:lnTo>
                  <a:lnTo>
                    <a:pt x="448" y="217"/>
                  </a:lnTo>
                  <a:lnTo>
                    <a:pt x="450" y="217"/>
                  </a:lnTo>
                  <a:lnTo>
                    <a:pt x="455" y="212"/>
                  </a:lnTo>
                  <a:lnTo>
                    <a:pt x="458" y="211"/>
                  </a:lnTo>
                  <a:lnTo>
                    <a:pt x="464" y="212"/>
                  </a:lnTo>
                  <a:lnTo>
                    <a:pt x="468" y="211"/>
                  </a:lnTo>
                  <a:lnTo>
                    <a:pt x="477" y="209"/>
                  </a:lnTo>
                  <a:lnTo>
                    <a:pt x="481" y="208"/>
                  </a:lnTo>
                  <a:lnTo>
                    <a:pt x="481" y="209"/>
                  </a:lnTo>
                  <a:lnTo>
                    <a:pt x="481" y="211"/>
                  </a:lnTo>
                  <a:lnTo>
                    <a:pt x="480" y="212"/>
                  </a:lnTo>
                  <a:lnTo>
                    <a:pt x="484" y="210"/>
                  </a:lnTo>
                  <a:lnTo>
                    <a:pt x="490" y="205"/>
                  </a:lnTo>
                  <a:lnTo>
                    <a:pt x="494" y="204"/>
                  </a:lnTo>
                  <a:lnTo>
                    <a:pt x="492" y="208"/>
                  </a:lnTo>
                  <a:lnTo>
                    <a:pt x="489" y="213"/>
                  </a:lnTo>
                  <a:lnTo>
                    <a:pt x="487" y="216"/>
                  </a:lnTo>
                  <a:lnTo>
                    <a:pt x="485" y="217"/>
                  </a:lnTo>
                  <a:lnTo>
                    <a:pt x="483" y="218"/>
                  </a:lnTo>
                  <a:lnTo>
                    <a:pt x="476" y="220"/>
                  </a:lnTo>
                  <a:lnTo>
                    <a:pt x="474" y="221"/>
                  </a:lnTo>
                  <a:lnTo>
                    <a:pt x="474" y="223"/>
                  </a:lnTo>
                  <a:lnTo>
                    <a:pt x="475" y="227"/>
                  </a:lnTo>
                  <a:lnTo>
                    <a:pt x="473" y="231"/>
                  </a:lnTo>
                  <a:lnTo>
                    <a:pt x="471" y="236"/>
                  </a:lnTo>
                  <a:lnTo>
                    <a:pt x="470" y="241"/>
                  </a:lnTo>
                  <a:lnTo>
                    <a:pt x="470" y="243"/>
                  </a:lnTo>
                  <a:lnTo>
                    <a:pt x="473" y="249"/>
                  </a:lnTo>
                  <a:lnTo>
                    <a:pt x="477" y="256"/>
                  </a:lnTo>
                  <a:lnTo>
                    <a:pt x="478" y="256"/>
                  </a:lnTo>
                  <a:lnTo>
                    <a:pt x="481" y="253"/>
                  </a:lnTo>
                  <a:lnTo>
                    <a:pt x="486" y="251"/>
                  </a:lnTo>
                  <a:lnTo>
                    <a:pt x="492" y="250"/>
                  </a:lnTo>
                  <a:lnTo>
                    <a:pt x="496" y="251"/>
                  </a:lnTo>
                  <a:lnTo>
                    <a:pt x="496" y="253"/>
                  </a:lnTo>
                  <a:lnTo>
                    <a:pt x="495" y="256"/>
                  </a:lnTo>
                  <a:lnTo>
                    <a:pt x="497" y="259"/>
                  </a:lnTo>
                  <a:lnTo>
                    <a:pt x="500" y="261"/>
                  </a:lnTo>
                  <a:lnTo>
                    <a:pt x="502" y="264"/>
                  </a:lnTo>
                  <a:lnTo>
                    <a:pt x="502" y="268"/>
                  </a:lnTo>
                  <a:lnTo>
                    <a:pt x="501" y="274"/>
                  </a:lnTo>
                  <a:lnTo>
                    <a:pt x="500" y="279"/>
                  </a:lnTo>
                  <a:lnTo>
                    <a:pt x="499" y="282"/>
                  </a:lnTo>
                  <a:lnTo>
                    <a:pt x="495" y="284"/>
                  </a:lnTo>
                  <a:lnTo>
                    <a:pt x="492" y="283"/>
                  </a:lnTo>
                  <a:lnTo>
                    <a:pt x="486" y="278"/>
                  </a:lnTo>
                  <a:lnTo>
                    <a:pt x="482" y="277"/>
                  </a:lnTo>
                  <a:lnTo>
                    <a:pt x="479" y="278"/>
                  </a:lnTo>
                  <a:lnTo>
                    <a:pt x="473" y="280"/>
                  </a:lnTo>
                  <a:lnTo>
                    <a:pt x="486" y="307"/>
                  </a:lnTo>
                  <a:lnTo>
                    <a:pt x="491" y="314"/>
                  </a:lnTo>
                  <a:lnTo>
                    <a:pt x="497" y="318"/>
                  </a:lnTo>
                  <a:lnTo>
                    <a:pt x="500" y="319"/>
                  </a:lnTo>
                  <a:lnTo>
                    <a:pt x="502" y="316"/>
                  </a:lnTo>
                  <a:lnTo>
                    <a:pt x="504" y="315"/>
                  </a:lnTo>
                  <a:lnTo>
                    <a:pt x="508" y="316"/>
                  </a:lnTo>
                  <a:lnTo>
                    <a:pt x="514" y="319"/>
                  </a:lnTo>
                  <a:lnTo>
                    <a:pt x="534" y="320"/>
                  </a:lnTo>
                  <a:lnTo>
                    <a:pt x="540" y="321"/>
                  </a:lnTo>
                  <a:lnTo>
                    <a:pt x="546" y="325"/>
                  </a:lnTo>
                  <a:lnTo>
                    <a:pt x="556" y="333"/>
                  </a:lnTo>
                  <a:lnTo>
                    <a:pt x="562" y="336"/>
                  </a:lnTo>
                  <a:lnTo>
                    <a:pt x="562" y="341"/>
                  </a:lnTo>
                  <a:lnTo>
                    <a:pt x="565" y="350"/>
                  </a:lnTo>
                  <a:lnTo>
                    <a:pt x="568" y="358"/>
                  </a:lnTo>
                  <a:lnTo>
                    <a:pt x="572" y="361"/>
                  </a:lnTo>
                  <a:lnTo>
                    <a:pt x="575" y="362"/>
                  </a:lnTo>
                  <a:lnTo>
                    <a:pt x="582" y="366"/>
                  </a:lnTo>
                  <a:lnTo>
                    <a:pt x="584" y="368"/>
                  </a:lnTo>
                  <a:lnTo>
                    <a:pt x="584" y="372"/>
                  </a:lnTo>
                  <a:lnTo>
                    <a:pt x="585" y="380"/>
                  </a:lnTo>
                  <a:lnTo>
                    <a:pt x="587" y="388"/>
                  </a:lnTo>
                  <a:lnTo>
                    <a:pt x="592" y="394"/>
                  </a:lnTo>
                  <a:lnTo>
                    <a:pt x="603" y="401"/>
                  </a:lnTo>
                  <a:lnTo>
                    <a:pt x="609" y="404"/>
                  </a:lnTo>
                  <a:lnTo>
                    <a:pt x="623" y="405"/>
                  </a:lnTo>
                  <a:lnTo>
                    <a:pt x="629" y="409"/>
                  </a:lnTo>
                  <a:lnTo>
                    <a:pt x="631" y="412"/>
                  </a:lnTo>
                  <a:lnTo>
                    <a:pt x="629" y="413"/>
                  </a:lnTo>
                  <a:lnTo>
                    <a:pt x="621" y="411"/>
                  </a:lnTo>
                  <a:lnTo>
                    <a:pt x="610" y="409"/>
                  </a:lnTo>
                  <a:lnTo>
                    <a:pt x="600" y="403"/>
                  </a:lnTo>
                  <a:lnTo>
                    <a:pt x="598" y="401"/>
                  </a:lnTo>
                  <a:lnTo>
                    <a:pt x="595" y="401"/>
                  </a:lnTo>
                  <a:lnTo>
                    <a:pt x="592" y="400"/>
                  </a:lnTo>
                  <a:lnTo>
                    <a:pt x="589" y="398"/>
                  </a:lnTo>
                  <a:lnTo>
                    <a:pt x="578" y="381"/>
                  </a:lnTo>
                  <a:lnTo>
                    <a:pt x="576" y="373"/>
                  </a:lnTo>
                  <a:lnTo>
                    <a:pt x="574" y="371"/>
                  </a:lnTo>
                  <a:lnTo>
                    <a:pt x="570" y="367"/>
                  </a:lnTo>
                  <a:lnTo>
                    <a:pt x="563" y="359"/>
                  </a:lnTo>
                  <a:lnTo>
                    <a:pt x="548" y="332"/>
                  </a:lnTo>
                  <a:lnTo>
                    <a:pt x="544" y="327"/>
                  </a:lnTo>
                  <a:lnTo>
                    <a:pt x="543" y="327"/>
                  </a:lnTo>
                  <a:lnTo>
                    <a:pt x="538" y="327"/>
                  </a:lnTo>
                  <a:lnTo>
                    <a:pt x="535" y="326"/>
                  </a:lnTo>
                  <a:lnTo>
                    <a:pt x="533" y="325"/>
                  </a:lnTo>
                  <a:lnTo>
                    <a:pt x="530" y="327"/>
                  </a:lnTo>
                  <a:lnTo>
                    <a:pt x="518" y="327"/>
                  </a:lnTo>
                  <a:lnTo>
                    <a:pt x="505" y="330"/>
                  </a:lnTo>
                  <a:lnTo>
                    <a:pt x="502" y="333"/>
                  </a:lnTo>
                  <a:lnTo>
                    <a:pt x="495" y="332"/>
                  </a:lnTo>
                  <a:lnTo>
                    <a:pt x="484" y="336"/>
                  </a:lnTo>
                  <a:lnTo>
                    <a:pt x="477" y="336"/>
                  </a:lnTo>
                  <a:lnTo>
                    <a:pt x="465" y="332"/>
                  </a:lnTo>
                  <a:lnTo>
                    <a:pt x="459" y="329"/>
                  </a:lnTo>
                  <a:lnTo>
                    <a:pt x="453" y="325"/>
                  </a:lnTo>
                  <a:lnTo>
                    <a:pt x="449" y="320"/>
                  </a:lnTo>
                  <a:lnTo>
                    <a:pt x="447" y="319"/>
                  </a:lnTo>
                  <a:lnTo>
                    <a:pt x="444" y="319"/>
                  </a:lnTo>
                  <a:lnTo>
                    <a:pt x="440" y="320"/>
                  </a:lnTo>
                  <a:lnTo>
                    <a:pt x="437" y="322"/>
                  </a:lnTo>
                  <a:lnTo>
                    <a:pt x="434" y="325"/>
                  </a:lnTo>
                  <a:lnTo>
                    <a:pt x="431" y="328"/>
                  </a:lnTo>
                  <a:lnTo>
                    <a:pt x="429" y="336"/>
                  </a:lnTo>
                  <a:lnTo>
                    <a:pt x="425" y="352"/>
                  </a:lnTo>
                  <a:lnTo>
                    <a:pt x="419" y="367"/>
                  </a:lnTo>
                  <a:lnTo>
                    <a:pt x="418" y="371"/>
                  </a:lnTo>
                  <a:lnTo>
                    <a:pt x="417" y="375"/>
                  </a:lnTo>
                  <a:lnTo>
                    <a:pt x="418" y="380"/>
                  </a:lnTo>
                  <a:lnTo>
                    <a:pt x="420" y="386"/>
                  </a:lnTo>
                  <a:lnTo>
                    <a:pt x="421" y="391"/>
                  </a:lnTo>
                  <a:lnTo>
                    <a:pt x="423" y="395"/>
                  </a:lnTo>
                  <a:lnTo>
                    <a:pt x="424" y="398"/>
                  </a:lnTo>
                  <a:lnTo>
                    <a:pt x="426" y="400"/>
                  </a:lnTo>
                  <a:lnTo>
                    <a:pt x="430" y="410"/>
                  </a:lnTo>
                  <a:lnTo>
                    <a:pt x="430" y="412"/>
                  </a:lnTo>
                  <a:lnTo>
                    <a:pt x="429" y="419"/>
                  </a:lnTo>
                  <a:lnTo>
                    <a:pt x="426" y="422"/>
                  </a:lnTo>
                  <a:lnTo>
                    <a:pt x="422" y="425"/>
                  </a:lnTo>
                  <a:lnTo>
                    <a:pt x="420" y="431"/>
                  </a:lnTo>
                  <a:lnTo>
                    <a:pt x="419" y="439"/>
                  </a:lnTo>
                  <a:lnTo>
                    <a:pt x="421" y="455"/>
                  </a:lnTo>
                  <a:lnTo>
                    <a:pt x="421" y="462"/>
                  </a:lnTo>
                  <a:lnTo>
                    <a:pt x="418" y="457"/>
                  </a:lnTo>
                  <a:lnTo>
                    <a:pt x="417" y="450"/>
                  </a:lnTo>
                  <a:lnTo>
                    <a:pt x="417" y="435"/>
                  </a:lnTo>
                  <a:lnTo>
                    <a:pt x="418" y="428"/>
                  </a:lnTo>
                  <a:lnTo>
                    <a:pt x="421" y="422"/>
                  </a:lnTo>
                  <a:lnTo>
                    <a:pt x="424" y="418"/>
                  </a:lnTo>
                  <a:lnTo>
                    <a:pt x="428" y="415"/>
                  </a:lnTo>
                  <a:lnTo>
                    <a:pt x="428" y="412"/>
                  </a:lnTo>
                  <a:lnTo>
                    <a:pt x="422" y="410"/>
                  </a:lnTo>
                  <a:lnTo>
                    <a:pt x="408" y="407"/>
                  </a:lnTo>
                  <a:lnTo>
                    <a:pt x="402" y="404"/>
                  </a:lnTo>
                  <a:lnTo>
                    <a:pt x="400" y="401"/>
                  </a:lnTo>
                  <a:lnTo>
                    <a:pt x="398" y="397"/>
                  </a:lnTo>
                  <a:lnTo>
                    <a:pt x="396" y="394"/>
                  </a:lnTo>
                  <a:lnTo>
                    <a:pt x="393" y="393"/>
                  </a:lnTo>
                  <a:lnTo>
                    <a:pt x="386" y="393"/>
                  </a:lnTo>
                  <a:lnTo>
                    <a:pt x="383" y="394"/>
                  </a:lnTo>
                  <a:lnTo>
                    <a:pt x="382" y="396"/>
                  </a:lnTo>
                  <a:lnTo>
                    <a:pt x="380" y="400"/>
                  </a:lnTo>
                  <a:lnTo>
                    <a:pt x="379" y="409"/>
                  </a:lnTo>
                  <a:lnTo>
                    <a:pt x="377" y="414"/>
                  </a:lnTo>
                  <a:lnTo>
                    <a:pt x="377" y="417"/>
                  </a:lnTo>
                  <a:lnTo>
                    <a:pt x="381" y="418"/>
                  </a:lnTo>
                  <a:lnTo>
                    <a:pt x="387" y="416"/>
                  </a:lnTo>
                  <a:lnTo>
                    <a:pt x="391" y="422"/>
                  </a:lnTo>
                  <a:lnTo>
                    <a:pt x="391" y="431"/>
                  </a:lnTo>
                  <a:lnTo>
                    <a:pt x="387" y="440"/>
                  </a:lnTo>
                  <a:lnTo>
                    <a:pt x="384" y="445"/>
                  </a:lnTo>
                  <a:lnTo>
                    <a:pt x="382" y="447"/>
                  </a:lnTo>
                  <a:lnTo>
                    <a:pt x="380" y="449"/>
                  </a:lnTo>
                  <a:lnTo>
                    <a:pt x="378" y="449"/>
                  </a:lnTo>
                  <a:lnTo>
                    <a:pt x="375" y="449"/>
                  </a:lnTo>
                  <a:lnTo>
                    <a:pt x="373" y="448"/>
                  </a:lnTo>
                  <a:lnTo>
                    <a:pt x="372" y="445"/>
                  </a:lnTo>
                  <a:lnTo>
                    <a:pt x="370" y="443"/>
                  </a:lnTo>
                  <a:lnTo>
                    <a:pt x="369" y="442"/>
                  </a:lnTo>
                  <a:lnTo>
                    <a:pt x="368" y="441"/>
                  </a:lnTo>
                  <a:lnTo>
                    <a:pt x="365" y="438"/>
                  </a:lnTo>
                  <a:lnTo>
                    <a:pt x="363" y="436"/>
                  </a:lnTo>
                  <a:lnTo>
                    <a:pt x="360" y="436"/>
                  </a:lnTo>
                  <a:lnTo>
                    <a:pt x="358" y="437"/>
                  </a:lnTo>
                  <a:lnTo>
                    <a:pt x="356" y="438"/>
                  </a:lnTo>
                  <a:lnTo>
                    <a:pt x="354" y="436"/>
                  </a:lnTo>
                  <a:lnTo>
                    <a:pt x="353" y="432"/>
                  </a:lnTo>
                  <a:lnTo>
                    <a:pt x="350" y="424"/>
                  </a:lnTo>
                  <a:lnTo>
                    <a:pt x="352" y="422"/>
                  </a:lnTo>
                  <a:lnTo>
                    <a:pt x="359" y="421"/>
                  </a:lnTo>
                  <a:lnTo>
                    <a:pt x="362" y="420"/>
                  </a:lnTo>
                  <a:lnTo>
                    <a:pt x="365" y="417"/>
                  </a:lnTo>
                  <a:lnTo>
                    <a:pt x="367" y="415"/>
                  </a:lnTo>
                  <a:lnTo>
                    <a:pt x="367" y="410"/>
                  </a:lnTo>
                  <a:lnTo>
                    <a:pt x="365" y="407"/>
                  </a:lnTo>
                  <a:lnTo>
                    <a:pt x="362" y="406"/>
                  </a:lnTo>
                  <a:lnTo>
                    <a:pt x="359" y="405"/>
                  </a:lnTo>
                  <a:lnTo>
                    <a:pt x="361" y="401"/>
                  </a:lnTo>
                  <a:lnTo>
                    <a:pt x="361" y="400"/>
                  </a:lnTo>
                  <a:lnTo>
                    <a:pt x="356" y="396"/>
                  </a:lnTo>
                  <a:lnTo>
                    <a:pt x="349" y="388"/>
                  </a:lnTo>
                  <a:lnTo>
                    <a:pt x="344" y="378"/>
                  </a:lnTo>
                  <a:lnTo>
                    <a:pt x="346" y="371"/>
                  </a:lnTo>
                  <a:lnTo>
                    <a:pt x="346" y="369"/>
                  </a:lnTo>
                  <a:lnTo>
                    <a:pt x="333" y="365"/>
                  </a:lnTo>
                  <a:lnTo>
                    <a:pt x="285" y="371"/>
                  </a:lnTo>
                  <a:lnTo>
                    <a:pt x="262" y="376"/>
                  </a:lnTo>
                  <a:lnTo>
                    <a:pt x="258" y="376"/>
                  </a:lnTo>
                  <a:lnTo>
                    <a:pt x="256" y="373"/>
                  </a:lnTo>
                  <a:lnTo>
                    <a:pt x="255" y="372"/>
                  </a:lnTo>
                  <a:lnTo>
                    <a:pt x="230" y="375"/>
                  </a:lnTo>
                  <a:lnTo>
                    <a:pt x="218" y="380"/>
                  </a:lnTo>
                  <a:lnTo>
                    <a:pt x="212" y="386"/>
                  </a:lnTo>
                  <a:lnTo>
                    <a:pt x="209" y="388"/>
                  </a:lnTo>
                  <a:lnTo>
                    <a:pt x="203" y="395"/>
                  </a:lnTo>
                  <a:lnTo>
                    <a:pt x="198" y="398"/>
                  </a:lnTo>
                  <a:lnTo>
                    <a:pt x="196" y="401"/>
                  </a:lnTo>
                  <a:lnTo>
                    <a:pt x="196" y="405"/>
                  </a:lnTo>
                  <a:lnTo>
                    <a:pt x="198" y="407"/>
                  </a:lnTo>
                  <a:lnTo>
                    <a:pt x="203" y="409"/>
                  </a:lnTo>
                  <a:lnTo>
                    <a:pt x="204" y="411"/>
                  </a:lnTo>
                  <a:lnTo>
                    <a:pt x="204" y="414"/>
                  </a:lnTo>
                  <a:lnTo>
                    <a:pt x="203" y="417"/>
                  </a:lnTo>
                  <a:lnTo>
                    <a:pt x="202" y="418"/>
                  </a:lnTo>
                  <a:lnTo>
                    <a:pt x="201" y="420"/>
                  </a:lnTo>
                  <a:lnTo>
                    <a:pt x="194" y="418"/>
                  </a:lnTo>
                  <a:lnTo>
                    <a:pt x="191" y="418"/>
                  </a:lnTo>
                  <a:lnTo>
                    <a:pt x="190" y="421"/>
                  </a:lnTo>
                  <a:lnTo>
                    <a:pt x="189" y="425"/>
                  </a:lnTo>
                  <a:lnTo>
                    <a:pt x="186" y="433"/>
                  </a:lnTo>
                  <a:lnTo>
                    <a:pt x="186" y="437"/>
                  </a:lnTo>
                  <a:lnTo>
                    <a:pt x="186" y="457"/>
                  </a:lnTo>
                  <a:lnTo>
                    <a:pt x="188" y="464"/>
                  </a:lnTo>
                  <a:lnTo>
                    <a:pt x="194" y="467"/>
                  </a:lnTo>
                  <a:lnTo>
                    <a:pt x="230" y="469"/>
                  </a:lnTo>
                  <a:lnTo>
                    <a:pt x="236" y="471"/>
                  </a:lnTo>
                  <a:lnTo>
                    <a:pt x="240" y="477"/>
                  </a:lnTo>
                  <a:lnTo>
                    <a:pt x="237" y="475"/>
                  </a:lnTo>
                  <a:lnTo>
                    <a:pt x="231" y="472"/>
                  </a:lnTo>
                  <a:lnTo>
                    <a:pt x="228" y="471"/>
                  </a:lnTo>
                  <a:lnTo>
                    <a:pt x="224" y="471"/>
                  </a:lnTo>
                  <a:lnTo>
                    <a:pt x="222" y="472"/>
                  </a:lnTo>
                  <a:lnTo>
                    <a:pt x="218" y="478"/>
                  </a:lnTo>
                  <a:lnTo>
                    <a:pt x="220" y="481"/>
                  </a:lnTo>
                  <a:lnTo>
                    <a:pt x="219" y="484"/>
                  </a:lnTo>
                  <a:lnTo>
                    <a:pt x="217" y="487"/>
                  </a:lnTo>
                  <a:lnTo>
                    <a:pt x="216" y="489"/>
                  </a:lnTo>
                  <a:lnTo>
                    <a:pt x="214" y="491"/>
                  </a:lnTo>
                  <a:lnTo>
                    <a:pt x="213" y="492"/>
                  </a:lnTo>
                  <a:lnTo>
                    <a:pt x="213" y="499"/>
                  </a:lnTo>
                  <a:lnTo>
                    <a:pt x="213" y="503"/>
                  </a:lnTo>
                  <a:lnTo>
                    <a:pt x="213" y="508"/>
                  </a:lnTo>
                  <a:lnTo>
                    <a:pt x="212" y="512"/>
                  </a:lnTo>
                  <a:lnTo>
                    <a:pt x="210" y="518"/>
                  </a:lnTo>
                  <a:lnTo>
                    <a:pt x="209" y="520"/>
                  </a:lnTo>
                  <a:lnTo>
                    <a:pt x="209" y="523"/>
                  </a:lnTo>
                  <a:lnTo>
                    <a:pt x="210" y="525"/>
                  </a:lnTo>
                  <a:lnTo>
                    <a:pt x="211" y="526"/>
                  </a:lnTo>
                  <a:lnTo>
                    <a:pt x="211" y="529"/>
                  </a:lnTo>
                  <a:lnTo>
                    <a:pt x="213" y="547"/>
                  </a:lnTo>
                  <a:lnTo>
                    <a:pt x="212" y="557"/>
                  </a:lnTo>
                  <a:lnTo>
                    <a:pt x="211" y="565"/>
                  </a:lnTo>
                  <a:lnTo>
                    <a:pt x="207" y="574"/>
                  </a:lnTo>
                  <a:lnTo>
                    <a:pt x="195" y="595"/>
                  </a:lnTo>
                  <a:lnTo>
                    <a:pt x="193" y="598"/>
                  </a:lnTo>
                  <a:lnTo>
                    <a:pt x="191" y="603"/>
                  </a:lnTo>
                  <a:lnTo>
                    <a:pt x="190" y="611"/>
                  </a:lnTo>
                  <a:lnTo>
                    <a:pt x="189" y="640"/>
                  </a:lnTo>
                  <a:lnTo>
                    <a:pt x="188" y="649"/>
                  </a:lnTo>
                  <a:lnTo>
                    <a:pt x="185" y="655"/>
                  </a:lnTo>
                  <a:lnTo>
                    <a:pt x="179" y="653"/>
                  </a:lnTo>
                  <a:lnTo>
                    <a:pt x="177" y="652"/>
                  </a:lnTo>
                  <a:lnTo>
                    <a:pt x="169" y="653"/>
                  </a:lnTo>
                  <a:lnTo>
                    <a:pt x="160" y="650"/>
                  </a:lnTo>
                  <a:lnTo>
                    <a:pt x="145" y="650"/>
                  </a:lnTo>
                  <a:lnTo>
                    <a:pt x="140" y="652"/>
                  </a:lnTo>
                  <a:lnTo>
                    <a:pt x="137" y="654"/>
                  </a:lnTo>
                  <a:lnTo>
                    <a:pt x="134" y="656"/>
                  </a:lnTo>
                  <a:lnTo>
                    <a:pt x="136" y="659"/>
                  </a:lnTo>
                  <a:lnTo>
                    <a:pt x="136" y="661"/>
                  </a:lnTo>
                  <a:lnTo>
                    <a:pt x="135" y="664"/>
                  </a:lnTo>
                  <a:lnTo>
                    <a:pt x="135" y="666"/>
                  </a:lnTo>
                  <a:lnTo>
                    <a:pt x="136" y="667"/>
                  </a:lnTo>
                  <a:lnTo>
                    <a:pt x="141" y="672"/>
                  </a:lnTo>
                  <a:lnTo>
                    <a:pt x="132" y="676"/>
                  </a:lnTo>
                  <a:lnTo>
                    <a:pt x="130" y="676"/>
                  </a:lnTo>
                  <a:lnTo>
                    <a:pt x="132" y="680"/>
                  </a:lnTo>
                  <a:lnTo>
                    <a:pt x="132" y="685"/>
                  </a:lnTo>
                  <a:lnTo>
                    <a:pt x="132" y="690"/>
                  </a:lnTo>
                  <a:lnTo>
                    <a:pt x="133" y="694"/>
                  </a:lnTo>
                  <a:lnTo>
                    <a:pt x="137" y="697"/>
                  </a:lnTo>
                  <a:lnTo>
                    <a:pt x="141" y="699"/>
                  </a:lnTo>
                  <a:lnTo>
                    <a:pt x="153" y="701"/>
                  </a:lnTo>
                  <a:lnTo>
                    <a:pt x="162" y="704"/>
                  </a:lnTo>
                  <a:lnTo>
                    <a:pt x="166" y="705"/>
                  </a:lnTo>
                  <a:lnTo>
                    <a:pt x="170" y="705"/>
                  </a:lnTo>
                  <a:lnTo>
                    <a:pt x="174" y="704"/>
                  </a:lnTo>
                  <a:lnTo>
                    <a:pt x="176" y="702"/>
                  </a:lnTo>
                  <a:lnTo>
                    <a:pt x="176" y="700"/>
                  </a:lnTo>
                  <a:lnTo>
                    <a:pt x="177" y="700"/>
                  </a:lnTo>
                  <a:lnTo>
                    <a:pt x="187" y="716"/>
                  </a:lnTo>
                  <a:lnTo>
                    <a:pt x="189" y="722"/>
                  </a:lnTo>
                  <a:lnTo>
                    <a:pt x="188" y="732"/>
                  </a:lnTo>
                  <a:lnTo>
                    <a:pt x="185" y="739"/>
                  </a:lnTo>
                  <a:lnTo>
                    <a:pt x="184" y="743"/>
                  </a:lnTo>
                  <a:lnTo>
                    <a:pt x="184" y="748"/>
                  </a:lnTo>
                  <a:lnTo>
                    <a:pt x="185" y="753"/>
                  </a:lnTo>
                  <a:lnTo>
                    <a:pt x="186" y="755"/>
                  </a:lnTo>
                  <a:lnTo>
                    <a:pt x="186" y="756"/>
                  </a:lnTo>
                  <a:lnTo>
                    <a:pt x="186" y="757"/>
                  </a:lnTo>
                  <a:lnTo>
                    <a:pt x="179" y="762"/>
                  </a:lnTo>
                  <a:lnTo>
                    <a:pt x="177" y="763"/>
                  </a:lnTo>
                  <a:lnTo>
                    <a:pt x="173" y="769"/>
                  </a:lnTo>
                  <a:lnTo>
                    <a:pt x="170" y="772"/>
                  </a:lnTo>
                  <a:lnTo>
                    <a:pt x="163" y="775"/>
                  </a:lnTo>
                  <a:lnTo>
                    <a:pt x="160" y="778"/>
                  </a:lnTo>
                  <a:lnTo>
                    <a:pt x="157" y="786"/>
                  </a:lnTo>
                  <a:lnTo>
                    <a:pt x="155" y="787"/>
                  </a:lnTo>
                  <a:lnTo>
                    <a:pt x="146" y="789"/>
                  </a:lnTo>
                  <a:lnTo>
                    <a:pt x="145" y="789"/>
                  </a:lnTo>
                  <a:lnTo>
                    <a:pt x="142" y="790"/>
                  </a:lnTo>
                  <a:lnTo>
                    <a:pt x="139" y="793"/>
                  </a:lnTo>
                  <a:lnTo>
                    <a:pt x="138" y="794"/>
                  </a:lnTo>
                  <a:lnTo>
                    <a:pt x="137" y="798"/>
                  </a:lnTo>
                  <a:lnTo>
                    <a:pt x="136" y="799"/>
                  </a:lnTo>
                  <a:lnTo>
                    <a:pt x="134" y="800"/>
                  </a:lnTo>
                  <a:lnTo>
                    <a:pt x="132" y="800"/>
                  </a:lnTo>
                  <a:lnTo>
                    <a:pt x="131" y="801"/>
                  </a:lnTo>
                  <a:lnTo>
                    <a:pt x="130" y="804"/>
                  </a:lnTo>
                  <a:lnTo>
                    <a:pt x="130" y="808"/>
                  </a:lnTo>
                  <a:lnTo>
                    <a:pt x="133" y="809"/>
                  </a:lnTo>
                  <a:lnTo>
                    <a:pt x="136" y="811"/>
                  </a:lnTo>
                  <a:lnTo>
                    <a:pt x="147" y="816"/>
                  </a:lnTo>
                  <a:lnTo>
                    <a:pt x="151" y="821"/>
                  </a:lnTo>
                  <a:lnTo>
                    <a:pt x="152" y="822"/>
                  </a:lnTo>
                  <a:lnTo>
                    <a:pt x="152" y="824"/>
                  </a:lnTo>
                  <a:lnTo>
                    <a:pt x="152" y="827"/>
                  </a:lnTo>
                  <a:lnTo>
                    <a:pt x="151" y="827"/>
                  </a:lnTo>
                  <a:lnTo>
                    <a:pt x="150" y="828"/>
                  </a:lnTo>
                  <a:lnTo>
                    <a:pt x="148" y="829"/>
                  </a:lnTo>
                  <a:lnTo>
                    <a:pt x="145" y="836"/>
                  </a:lnTo>
                  <a:lnTo>
                    <a:pt x="141" y="840"/>
                  </a:lnTo>
                  <a:lnTo>
                    <a:pt x="137" y="842"/>
                  </a:lnTo>
                  <a:lnTo>
                    <a:pt x="123" y="843"/>
                  </a:lnTo>
                  <a:lnTo>
                    <a:pt x="107" y="848"/>
                  </a:lnTo>
                  <a:lnTo>
                    <a:pt x="99" y="854"/>
                  </a:lnTo>
                  <a:lnTo>
                    <a:pt x="97" y="855"/>
                  </a:lnTo>
                  <a:lnTo>
                    <a:pt x="93" y="855"/>
                  </a:lnTo>
                  <a:lnTo>
                    <a:pt x="83" y="852"/>
                  </a:lnTo>
                  <a:lnTo>
                    <a:pt x="84" y="858"/>
                  </a:lnTo>
                  <a:lnTo>
                    <a:pt x="84" y="861"/>
                  </a:lnTo>
                  <a:lnTo>
                    <a:pt x="78" y="862"/>
                  </a:lnTo>
                  <a:lnTo>
                    <a:pt x="77" y="859"/>
                  </a:lnTo>
                  <a:lnTo>
                    <a:pt x="75" y="857"/>
                  </a:lnTo>
                  <a:lnTo>
                    <a:pt x="69" y="856"/>
                  </a:lnTo>
                  <a:lnTo>
                    <a:pt x="68" y="855"/>
                  </a:lnTo>
                  <a:lnTo>
                    <a:pt x="66" y="852"/>
                  </a:lnTo>
                  <a:lnTo>
                    <a:pt x="65" y="851"/>
                  </a:lnTo>
                  <a:lnTo>
                    <a:pt x="64" y="851"/>
                  </a:lnTo>
                  <a:lnTo>
                    <a:pt x="59" y="852"/>
                  </a:lnTo>
                  <a:lnTo>
                    <a:pt x="54" y="850"/>
                  </a:lnTo>
                  <a:lnTo>
                    <a:pt x="48" y="845"/>
                  </a:lnTo>
                  <a:lnTo>
                    <a:pt x="43" y="843"/>
                  </a:lnTo>
                  <a:lnTo>
                    <a:pt x="38" y="846"/>
                  </a:lnTo>
                  <a:lnTo>
                    <a:pt x="40" y="848"/>
                  </a:lnTo>
                  <a:lnTo>
                    <a:pt x="46" y="854"/>
                  </a:lnTo>
                  <a:lnTo>
                    <a:pt x="48" y="857"/>
                  </a:lnTo>
                  <a:lnTo>
                    <a:pt x="45" y="856"/>
                  </a:lnTo>
                  <a:lnTo>
                    <a:pt x="42" y="855"/>
                  </a:lnTo>
                  <a:lnTo>
                    <a:pt x="36" y="854"/>
                  </a:lnTo>
                  <a:lnTo>
                    <a:pt x="30" y="856"/>
                  </a:lnTo>
                  <a:lnTo>
                    <a:pt x="28" y="857"/>
                  </a:lnTo>
                  <a:lnTo>
                    <a:pt x="24" y="860"/>
                  </a:lnTo>
                  <a:lnTo>
                    <a:pt x="21" y="861"/>
                  </a:lnTo>
                  <a:lnTo>
                    <a:pt x="15" y="862"/>
                  </a:lnTo>
                  <a:lnTo>
                    <a:pt x="12" y="864"/>
                  </a:lnTo>
                  <a:lnTo>
                    <a:pt x="12" y="866"/>
                  </a:lnTo>
                  <a:lnTo>
                    <a:pt x="15" y="869"/>
                  </a:lnTo>
                  <a:lnTo>
                    <a:pt x="17" y="874"/>
                  </a:lnTo>
                  <a:lnTo>
                    <a:pt x="17" y="879"/>
                  </a:lnTo>
                  <a:lnTo>
                    <a:pt x="15" y="882"/>
                  </a:lnTo>
                  <a:lnTo>
                    <a:pt x="14" y="883"/>
                  </a:lnTo>
                  <a:lnTo>
                    <a:pt x="13" y="885"/>
                  </a:lnTo>
                  <a:lnTo>
                    <a:pt x="15" y="886"/>
                  </a:lnTo>
                  <a:lnTo>
                    <a:pt x="20" y="886"/>
                  </a:lnTo>
                  <a:lnTo>
                    <a:pt x="21" y="887"/>
                  </a:lnTo>
                  <a:lnTo>
                    <a:pt x="25" y="889"/>
                  </a:lnTo>
                  <a:lnTo>
                    <a:pt x="26" y="891"/>
                  </a:lnTo>
                  <a:lnTo>
                    <a:pt x="25" y="898"/>
                  </a:lnTo>
                  <a:lnTo>
                    <a:pt x="28" y="903"/>
                  </a:lnTo>
                  <a:lnTo>
                    <a:pt x="39" y="908"/>
                  </a:lnTo>
                  <a:lnTo>
                    <a:pt x="37" y="913"/>
                  </a:lnTo>
                  <a:lnTo>
                    <a:pt x="36" y="917"/>
                  </a:lnTo>
                  <a:lnTo>
                    <a:pt x="37" y="920"/>
                  </a:lnTo>
                  <a:lnTo>
                    <a:pt x="47" y="935"/>
                  </a:lnTo>
                  <a:lnTo>
                    <a:pt x="54" y="942"/>
                  </a:lnTo>
                  <a:lnTo>
                    <a:pt x="55" y="950"/>
                  </a:lnTo>
                  <a:lnTo>
                    <a:pt x="56" y="955"/>
                  </a:lnTo>
                  <a:lnTo>
                    <a:pt x="55" y="960"/>
                  </a:lnTo>
                  <a:lnTo>
                    <a:pt x="54" y="965"/>
                  </a:lnTo>
                  <a:lnTo>
                    <a:pt x="54" y="970"/>
                  </a:lnTo>
                  <a:lnTo>
                    <a:pt x="56" y="973"/>
                  </a:lnTo>
                  <a:lnTo>
                    <a:pt x="55" y="975"/>
                  </a:lnTo>
                  <a:lnTo>
                    <a:pt x="54" y="981"/>
                  </a:lnTo>
                  <a:lnTo>
                    <a:pt x="54" y="984"/>
                  </a:lnTo>
                  <a:lnTo>
                    <a:pt x="52" y="986"/>
                  </a:lnTo>
                  <a:lnTo>
                    <a:pt x="48" y="989"/>
                  </a:lnTo>
                  <a:lnTo>
                    <a:pt x="46" y="991"/>
                  </a:lnTo>
                  <a:lnTo>
                    <a:pt x="38" y="1006"/>
                  </a:lnTo>
                  <a:lnTo>
                    <a:pt x="35" y="1010"/>
                  </a:lnTo>
                  <a:lnTo>
                    <a:pt x="33" y="1012"/>
                  </a:lnTo>
                  <a:lnTo>
                    <a:pt x="32" y="1017"/>
                  </a:lnTo>
                  <a:lnTo>
                    <a:pt x="32" y="1023"/>
                  </a:lnTo>
                  <a:lnTo>
                    <a:pt x="33" y="1028"/>
                  </a:lnTo>
                  <a:lnTo>
                    <a:pt x="36" y="1030"/>
                  </a:lnTo>
                  <a:lnTo>
                    <a:pt x="44" y="1025"/>
                  </a:lnTo>
                  <a:lnTo>
                    <a:pt x="48" y="1026"/>
                  </a:lnTo>
                  <a:lnTo>
                    <a:pt x="47" y="1026"/>
                  </a:lnTo>
                  <a:lnTo>
                    <a:pt x="43" y="1029"/>
                  </a:lnTo>
                  <a:lnTo>
                    <a:pt x="46" y="1032"/>
                  </a:lnTo>
                  <a:lnTo>
                    <a:pt x="44" y="1036"/>
                  </a:lnTo>
                  <a:lnTo>
                    <a:pt x="35" y="1041"/>
                  </a:lnTo>
                  <a:lnTo>
                    <a:pt x="20" y="1052"/>
                  </a:lnTo>
                  <a:lnTo>
                    <a:pt x="18" y="1055"/>
                  </a:lnTo>
                  <a:lnTo>
                    <a:pt x="15" y="1061"/>
                  </a:lnTo>
                  <a:lnTo>
                    <a:pt x="13" y="1063"/>
                  </a:lnTo>
                  <a:lnTo>
                    <a:pt x="10" y="1063"/>
                  </a:lnTo>
                  <a:lnTo>
                    <a:pt x="8" y="1061"/>
                  </a:lnTo>
                  <a:lnTo>
                    <a:pt x="6" y="1059"/>
                  </a:lnTo>
                  <a:lnTo>
                    <a:pt x="4" y="1058"/>
                  </a:lnTo>
                  <a:lnTo>
                    <a:pt x="0" y="1060"/>
                  </a:lnTo>
                  <a:lnTo>
                    <a:pt x="0" y="1066"/>
                  </a:lnTo>
                  <a:lnTo>
                    <a:pt x="3" y="1073"/>
                  </a:lnTo>
                  <a:lnTo>
                    <a:pt x="3" y="1080"/>
                  </a:lnTo>
                  <a:lnTo>
                    <a:pt x="5" y="1079"/>
                  </a:lnTo>
                  <a:lnTo>
                    <a:pt x="10" y="1077"/>
                  </a:lnTo>
                  <a:lnTo>
                    <a:pt x="12" y="1076"/>
                  </a:lnTo>
                  <a:lnTo>
                    <a:pt x="14" y="1077"/>
                  </a:lnTo>
                  <a:lnTo>
                    <a:pt x="18" y="1078"/>
                  </a:lnTo>
                  <a:lnTo>
                    <a:pt x="24" y="1078"/>
                  </a:lnTo>
                  <a:lnTo>
                    <a:pt x="24" y="1079"/>
                  </a:lnTo>
                  <a:lnTo>
                    <a:pt x="23" y="1081"/>
                  </a:lnTo>
                  <a:lnTo>
                    <a:pt x="22" y="1083"/>
                  </a:lnTo>
                  <a:lnTo>
                    <a:pt x="23" y="1087"/>
                  </a:lnTo>
                  <a:lnTo>
                    <a:pt x="23" y="1089"/>
                  </a:lnTo>
                  <a:lnTo>
                    <a:pt x="24" y="1090"/>
                  </a:lnTo>
                  <a:lnTo>
                    <a:pt x="28" y="1092"/>
                  </a:lnTo>
                  <a:lnTo>
                    <a:pt x="33" y="1094"/>
                  </a:lnTo>
                  <a:lnTo>
                    <a:pt x="33" y="1095"/>
                  </a:lnTo>
                  <a:lnTo>
                    <a:pt x="32" y="1096"/>
                  </a:lnTo>
                  <a:lnTo>
                    <a:pt x="32" y="1098"/>
                  </a:lnTo>
                  <a:lnTo>
                    <a:pt x="33" y="1103"/>
                  </a:lnTo>
                  <a:lnTo>
                    <a:pt x="33" y="1105"/>
                  </a:lnTo>
                  <a:lnTo>
                    <a:pt x="32" y="1108"/>
                  </a:lnTo>
                  <a:lnTo>
                    <a:pt x="30" y="1110"/>
                  </a:lnTo>
                  <a:lnTo>
                    <a:pt x="27" y="1110"/>
                  </a:lnTo>
                  <a:lnTo>
                    <a:pt x="25" y="1111"/>
                  </a:lnTo>
                  <a:lnTo>
                    <a:pt x="23" y="1114"/>
                  </a:lnTo>
                  <a:lnTo>
                    <a:pt x="23" y="1116"/>
                  </a:lnTo>
                  <a:lnTo>
                    <a:pt x="24" y="1118"/>
                  </a:lnTo>
                  <a:lnTo>
                    <a:pt x="23" y="1121"/>
                  </a:lnTo>
                  <a:lnTo>
                    <a:pt x="20" y="1123"/>
                  </a:lnTo>
                  <a:lnTo>
                    <a:pt x="18" y="1123"/>
                  </a:lnTo>
                  <a:lnTo>
                    <a:pt x="19" y="1126"/>
                  </a:lnTo>
                  <a:lnTo>
                    <a:pt x="20" y="1128"/>
                  </a:lnTo>
                  <a:lnTo>
                    <a:pt x="21" y="1129"/>
                  </a:lnTo>
                  <a:lnTo>
                    <a:pt x="23" y="1130"/>
                  </a:lnTo>
                  <a:lnTo>
                    <a:pt x="22" y="1134"/>
                  </a:lnTo>
                  <a:lnTo>
                    <a:pt x="22" y="1134"/>
                  </a:lnTo>
                  <a:lnTo>
                    <a:pt x="22" y="1134"/>
                  </a:lnTo>
                  <a:lnTo>
                    <a:pt x="22" y="1135"/>
                  </a:lnTo>
                  <a:lnTo>
                    <a:pt x="22" y="1135"/>
                  </a:lnTo>
                  <a:lnTo>
                    <a:pt x="25" y="1137"/>
                  </a:lnTo>
                  <a:lnTo>
                    <a:pt x="25" y="1139"/>
                  </a:lnTo>
                  <a:lnTo>
                    <a:pt x="24" y="1142"/>
                  </a:lnTo>
                  <a:lnTo>
                    <a:pt x="25" y="1144"/>
                  </a:lnTo>
                  <a:lnTo>
                    <a:pt x="27" y="1144"/>
                  </a:lnTo>
                  <a:lnTo>
                    <a:pt x="33" y="1143"/>
                  </a:lnTo>
                  <a:lnTo>
                    <a:pt x="36" y="1143"/>
                  </a:lnTo>
                  <a:lnTo>
                    <a:pt x="39" y="1146"/>
                  </a:lnTo>
                  <a:lnTo>
                    <a:pt x="49" y="1161"/>
                  </a:lnTo>
                  <a:lnTo>
                    <a:pt x="46" y="1162"/>
                  </a:lnTo>
                  <a:lnTo>
                    <a:pt x="48" y="1166"/>
                  </a:lnTo>
                  <a:lnTo>
                    <a:pt x="52" y="1167"/>
                  </a:lnTo>
                  <a:lnTo>
                    <a:pt x="63" y="1168"/>
                  </a:lnTo>
                  <a:lnTo>
                    <a:pt x="63" y="1169"/>
                  </a:lnTo>
                  <a:lnTo>
                    <a:pt x="62" y="1171"/>
                  </a:lnTo>
                  <a:lnTo>
                    <a:pt x="60" y="1173"/>
                  </a:lnTo>
                  <a:lnTo>
                    <a:pt x="60" y="1174"/>
                  </a:lnTo>
                  <a:lnTo>
                    <a:pt x="56" y="1176"/>
                  </a:lnTo>
                  <a:lnTo>
                    <a:pt x="51" y="1181"/>
                  </a:lnTo>
                  <a:lnTo>
                    <a:pt x="49" y="1185"/>
                  </a:lnTo>
                  <a:lnTo>
                    <a:pt x="51" y="1188"/>
                  </a:lnTo>
                  <a:lnTo>
                    <a:pt x="50" y="1190"/>
                  </a:lnTo>
                  <a:lnTo>
                    <a:pt x="50" y="1192"/>
                  </a:lnTo>
                  <a:lnTo>
                    <a:pt x="51" y="1192"/>
                  </a:lnTo>
                  <a:lnTo>
                    <a:pt x="53" y="1192"/>
                  </a:lnTo>
                  <a:lnTo>
                    <a:pt x="52" y="1194"/>
                  </a:lnTo>
                  <a:lnTo>
                    <a:pt x="53" y="1196"/>
                  </a:lnTo>
                  <a:lnTo>
                    <a:pt x="55" y="1198"/>
                  </a:lnTo>
                  <a:lnTo>
                    <a:pt x="56" y="1199"/>
                  </a:lnTo>
                  <a:lnTo>
                    <a:pt x="58" y="1199"/>
                  </a:lnTo>
                  <a:lnTo>
                    <a:pt x="63" y="1198"/>
                  </a:lnTo>
                  <a:lnTo>
                    <a:pt x="63" y="1197"/>
                  </a:lnTo>
                  <a:lnTo>
                    <a:pt x="64" y="1197"/>
                  </a:lnTo>
                  <a:lnTo>
                    <a:pt x="64" y="1197"/>
                  </a:lnTo>
                  <a:lnTo>
                    <a:pt x="64" y="1198"/>
                  </a:lnTo>
                  <a:lnTo>
                    <a:pt x="67" y="1199"/>
                  </a:lnTo>
                  <a:lnTo>
                    <a:pt x="74" y="1201"/>
                  </a:lnTo>
                  <a:lnTo>
                    <a:pt x="77" y="1201"/>
                  </a:lnTo>
                  <a:lnTo>
                    <a:pt x="75" y="1202"/>
                  </a:lnTo>
                  <a:lnTo>
                    <a:pt x="74" y="1204"/>
                  </a:lnTo>
                  <a:lnTo>
                    <a:pt x="75" y="1207"/>
                  </a:lnTo>
                  <a:lnTo>
                    <a:pt x="76" y="1209"/>
                  </a:lnTo>
                  <a:lnTo>
                    <a:pt x="77" y="1212"/>
                  </a:lnTo>
                  <a:lnTo>
                    <a:pt x="78" y="1212"/>
                  </a:lnTo>
                  <a:lnTo>
                    <a:pt x="79" y="1212"/>
                  </a:lnTo>
                  <a:lnTo>
                    <a:pt x="79" y="1217"/>
                  </a:lnTo>
                  <a:lnTo>
                    <a:pt x="78" y="1222"/>
                  </a:lnTo>
                  <a:lnTo>
                    <a:pt x="76" y="1226"/>
                  </a:lnTo>
                  <a:lnTo>
                    <a:pt x="77" y="1229"/>
                  </a:lnTo>
                  <a:lnTo>
                    <a:pt x="82" y="1238"/>
                  </a:lnTo>
                  <a:lnTo>
                    <a:pt x="82" y="1240"/>
                  </a:lnTo>
                  <a:lnTo>
                    <a:pt x="83" y="1242"/>
                  </a:lnTo>
                  <a:lnTo>
                    <a:pt x="80" y="1244"/>
                  </a:lnTo>
                  <a:lnTo>
                    <a:pt x="76" y="1245"/>
                  </a:lnTo>
                  <a:lnTo>
                    <a:pt x="74" y="1244"/>
                  </a:lnTo>
                  <a:lnTo>
                    <a:pt x="72" y="1244"/>
                  </a:lnTo>
                  <a:lnTo>
                    <a:pt x="71" y="1243"/>
                  </a:lnTo>
                  <a:lnTo>
                    <a:pt x="69" y="1245"/>
                  </a:lnTo>
                  <a:lnTo>
                    <a:pt x="67" y="1247"/>
                  </a:lnTo>
                  <a:lnTo>
                    <a:pt x="66" y="1249"/>
                  </a:lnTo>
                  <a:lnTo>
                    <a:pt x="65" y="1251"/>
                  </a:lnTo>
                  <a:lnTo>
                    <a:pt x="66" y="1254"/>
                  </a:lnTo>
                  <a:lnTo>
                    <a:pt x="63" y="1256"/>
                  </a:lnTo>
                  <a:lnTo>
                    <a:pt x="56" y="1258"/>
                  </a:lnTo>
                  <a:lnTo>
                    <a:pt x="53" y="1260"/>
                  </a:lnTo>
                  <a:lnTo>
                    <a:pt x="52" y="1262"/>
                  </a:lnTo>
                  <a:lnTo>
                    <a:pt x="48" y="1265"/>
                  </a:lnTo>
                  <a:lnTo>
                    <a:pt x="46" y="1267"/>
                  </a:lnTo>
                  <a:lnTo>
                    <a:pt x="49" y="1269"/>
                  </a:lnTo>
                  <a:lnTo>
                    <a:pt x="49" y="1272"/>
                  </a:lnTo>
                  <a:lnTo>
                    <a:pt x="49" y="1275"/>
                  </a:lnTo>
                  <a:lnTo>
                    <a:pt x="48" y="1277"/>
                  </a:lnTo>
                  <a:lnTo>
                    <a:pt x="47" y="1278"/>
                  </a:lnTo>
                  <a:lnTo>
                    <a:pt x="44" y="1278"/>
                  </a:lnTo>
                  <a:lnTo>
                    <a:pt x="43" y="1279"/>
                  </a:lnTo>
                  <a:lnTo>
                    <a:pt x="42" y="1280"/>
                  </a:lnTo>
                  <a:lnTo>
                    <a:pt x="42" y="1283"/>
                  </a:lnTo>
                  <a:lnTo>
                    <a:pt x="41" y="1284"/>
                  </a:lnTo>
                  <a:lnTo>
                    <a:pt x="43" y="1285"/>
                  </a:lnTo>
                  <a:lnTo>
                    <a:pt x="44" y="1287"/>
                  </a:lnTo>
                  <a:lnTo>
                    <a:pt x="43" y="1288"/>
                  </a:lnTo>
                  <a:lnTo>
                    <a:pt x="42" y="1290"/>
                  </a:lnTo>
                  <a:lnTo>
                    <a:pt x="41" y="1294"/>
                  </a:lnTo>
                  <a:lnTo>
                    <a:pt x="40" y="1297"/>
                  </a:lnTo>
                  <a:lnTo>
                    <a:pt x="39" y="1304"/>
                  </a:lnTo>
                  <a:lnTo>
                    <a:pt x="39" y="1304"/>
                  </a:lnTo>
                  <a:lnTo>
                    <a:pt x="40" y="1304"/>
                  </a:lnTo>
                  <a:lnTo>
                    <a:pt x="40" y="1304"/>
                  </a:lnTo>
                  <a:lnTo>
                    <a:pt x="40" y="1305"/>
                  </a:lnTo>
                  <a:lnTo>
                    <a:pt x="38" y="1308"/>
                  </a:lnTo>
                  <a:lnTo>
                    <a:pt x="40" y="1309"/>
                  </a:lnTo>
                  <a:lnTo>
                    <a:pt x="41" y="1311"/>
                  </a:lnTo>
                  <a:lnTo>
                    <a:pt x="42" y="1316"/>
                  </a:lnTo>
                  <a:lnTo>
                    <a:pt x="42" y="1319"/>
                  </a:lnTo>
                  <a:lnTo>
                    <a:pt x="42" y="1321"/>
                  </a:lnTo>
                  <a:lnTo>
                    <a:pt x="45" y="1325"/>
                  </a:lnTo>
                  <a:lnTo>
                    <a:pt x="48" y="1332"/>
                  </a:lnTo>
                  <a:lnTo>
                    <a:pt x="49" y="1334"/>
                  </a:lnTo>
                  <a:lnTo>
                    <a:pt x="50" y="1330"/>
                  </a:lnTo>
                  <a:lnTo>
                    <a:pt x="53" y="1335"/>
                  </a:lnTo>
                  <a:lnTo>
                    <a:pt x="59" y="1348"/>
                  </a:lnTo>
                  <a:lnTo>
                    <a:pt x="61" y="1350"/>
                  </a:lnTo>
                  <a:lnTo>
                    <a:pt x="66" y="1353"/>
                  </a:lnTo>
                  <a:lnTo>
                    <a:pt x="69" y="1354"/>
                  </a:lnTo>
                  <a:lnTo>
                    <a:pt x="69" y="1355"/>
                  </a:lnTo>
                  <a:lnTo>
                    <a:pt x="70" y="1357"/>
                  </a:lnTo>
                  <a:lnTo>
                    <a:pt x="71" y="1359"/>
                  </a:lnTo>
                  <a:lnTo>
                    <a:pt x="71" y="1360"/>
                  </a:lnTo>
                  <a:lnTo>
                    <a:pt x="72" y="1360"/>
                  </a:lnTo>
                  <a:lnTo>
                    <a:pt x="75" y="1359"/>
                  </a:lnTo>
                  <a:lnTo>
                    <a:pt x="76" y="1359"/>
                  </a:lnTo>
                  <a:lnTo>
                    <a:pt x="79" y="1361"/>
                  </a:lnTo>
                  <a:lnTo>
                    <a:pt x="84" y="1365"/>
                  </a:lnTo>
                  <a:lnTo>
                    <a:pt x="86" y="1367"/>
                  </a:lnTo>
                  <a:lnTo>
                    <a:pt x="89" y="1368"/>
                  </a:lnTo>
                  <a:lnTo>
                    <a:pt x="97" y="1368"/>
                  </a:lnTo>
                  <a:lnTo>
                    <a:pt x="101" y="1369"/>
                  </a:lnTo>
                  <a:lnTo>
                    <a:pt x="102" y="1369"/>
                  </a:lnTo>
                  <a:lnTo>
                    <a:pt x="103" y="1370"/>
                  </a:lnTo>
                  <a:lnTo>
                    <a:pt x="103" y="1370"/>
                  </a:lnTo>
                  <a:lnTo>
                    <a:pt x="103" y="1370"/>
                  </a:lnTo>
                  <a:lnTo>
                    <a:pt x="103" y="1372"/>
                  </a:lnTo>
                  <a:lnTo>
                    <a:pt x="102" y="1373"/>
                  </a:lnTo>
                  <a:lnTo>
                    <a:pt x="101" y="1378"/>
                  </a:lnTo>
                  <a:lnTo>
                    <a:pt x="101" y="1380"/>
                  </a:lnTo>
                  <a:lnTo>
                    <a:pt x="102" y="1381"/>
                  </a:lnTo>
                  <a:lnTo>
                    <a:pt x="102" y="1382"/>
                  </a:lnTo>
                  <a:lnTo>
                    <a:pt x="100" y="1383"/>
                  </a:lnTo>
                  <a:lnTo>
                    <a:pt x="100" y="1385"/>
                  </a:lnTo>
                  <a:lnTo>
                    <a:pt x="100" y="1387"/>
                  </a:lnTo>
                  <a:lnTo>
                    <a:pt x="101" y="1389"/>
                  </a:lnTo>
                  <a:lnTo>
                    <a:pt x="102" y="1390"/>
                  </a:lnTo>
                  <a:lnTo>
                    <a:pt x="101" y="1390"/>
                  </a:lnTo>
                  <a:lnTo>
                    <a:pt x="100" y="1390"/>
                  </a:lnTo>
                  <a:lnTo>
                    <a:pt x="100" y="1392"/>
                  </a:lnTo>
                  <a:lnTo>
                    <a:pt x="101" y="1393"/>
                  </a:lnTo>
                  <a:lnTo>
                    <a:pt x="101" y="1393"/>
                  </a:lnTo>
                  <a:lnTo>
                    <a:pt x="89" y="1401"/>
                  </a:lnTo>
                  <a:lnTo>
                    <a:pt x="87" y="1404"/>
                  </a:lnTo>
                  <a:lnTo>
                    <a:pt x="87" y="1405"/>
                  </a:lnTo>
                  <a:lnTo>
                    <a:pt x="88" y="1406"/>
                  </a:lnTo>
                  <a:lnTo>
                    <a:pt x="89" y="1407"/>
                  </a:lnTo>
                  <a:lnTo>
                    <a:pt x="89" y="1408"/>
                  </a:lnTo>
                  <a:lnTo>
                    <a:pt x="89" y="1409"/>
                  </a:lnTo>
                  <a:lnTo>
                    <a:pt x="88" y="1411"/>
                  </a:lnTo>
                  <a:lnTo>
                    <a:pt x="86" y="1414"/>
                  </a:lnTo>
                  <a:lnTo>
                    <a:pt x="82" y="1420"/>
                  </a:lnTo>
                  <a:lnTo>
                    <a:pt x="80" y="1423"/>
                  </a:lnTo>
                  <a:lnTo>
                    <a:pt x="79" y="1426"/>
                  </a:lnTo>
                  <a:lnTo>
                    <a:pt x="79" y="1434"/>
                  </a:lnTo>
                  <a:lnTo>
                    <a:pt x="79" y="1436"/>
                  </a:lnTo>
                  <a:lnTo>
                    <a:pt x="77" y="1444"/>
                  </a:lnTo>
                  <a:lnTo>
                    <a:pt x="78" y="1451"/>
                  </a:lnTo>
                  <a:lnTo>
                    <a:pt x="78" y="1453"/>
                  </a:lnTo>
                  <a:lnTo>
                    <a:pt x="79" y="1453"/>
                  </a:lnTo>
                  <a:lnTo>
                    <a:pt x="81" y="1453"/>
                  </a:lnTo>
                  <a:lnTo>
                    <a:pt x="84" y="1451"/>
                  </a:lnTo>
                  <a:lnTo>
                    <a:pt x="85" y="1450"/>
                  </a:lnTo>
                  <a:lnTo>
                    <a:pt x="87" y="1451"/>
                  </a:lnTo>
                  <a:lnTo>
                    <a:pt x="102" y="1458"/>
                  </a:lnTo>
                  <a:lnTo>
                    <a:pt x="104" y="1461"/>
                  </a:lnTo>
                  <a:lnTo>
                    <a:pt x="105" y="1463"/>
                  </a:lnTo>
                  <a:lnTo>
                    <a:pt x="106" y="1465"/>
                  </a:lnTo>
                  <a:lnTo>
                    <a:pt x="106" y="1466"/>
                  </a:lnTo>
                  <a:lnTo>
                    <a:pt x="105" y="1466"/>
                  </a:lnTo>
                  <a:lnTo>
                    <a:pt x="107" y="1468"/>
                  </a:lnTo>
                  <a:lnTo>
                    <a:pt x="114" y="1476"/>
                  </a:lnTo>
                  <a:lnTo>
                    <a:pt x="115" y="1477"/>
                  </a:lnTo>
                  <a:lnTo>
                    <a:pt x="114" y="1479"/>
                  </a:lnTo>
                  <a:lnTo>
                    <a:pt x="111" y="1480"/>
                  </a:lnTo>
                  <a:lnTo>
                    <a:pt x="110" y="1482"/>
                  </a:lnTo>
                  <a:lnTo>
                    <a:pt x="111" y="1485"/>
                  </a:lnTo>
                  <a:lnTo>
                    <a:pt x="114" y="1488"/>
                  </a:lnTo>
                  <a:lnTo>
                    <a:pt x="125" y="1498"/>
                  </a:lnTo>
                  <a:lnTo>
                    <a:pt x="125" y="1499"/>
                  </a:lnTo>
                  <a:lnTo>
                    <a:pt x="124" y="1501"/>
                  </a:lnTo>
                  <a:lnTo>
                    <a:pt x="125" y="1502"/>
                  </a:lnTo>
                  <a:lnTo>
                    <a:pt x="126" y="1503"/>
                  </a:lnTo>
                  <a:lnTo>
                    <a:pt x="128" y="1504"/>
                  </a:lnTo>
                  <a:lnTo>
                    <a:pt x="128" y="1505"/>
                  </a:lnTo>
                  <a:lnTo>
                    <a:pt x="130" y="1509"/>
                  </a:lnTo>
                  <a:lnTo>
                    <a:pt x="130" y="1510"/>
                  </a:lnTo>
                  <a:lnTo>
                    <a:pt x="130" y="1510"/>
                  </a:lnTo>
                  <a:lnTo>
                    <a:pt x="131" y="1512"/>
                  </a:lnTo>
                  <a:lnTo>
                    <a:pt x="131" y="1513"/>
                  </a:lnTo>
                  <a:lnTo>
                    <a:pt x="132" y="1513"/>
                  </a:lnTo>
                  <a:lnTo>
                    <a:pt x="134" y="1512"/>
                  </a:lnTo>
                  <a:lnTo>
                    <a:pt x="135" y="1512"/>
                  </a:lnTo>
                  <a:lnTo>
                    <a:pt x="136" y="1516"/>
                  </a:lnTo>
                  <a:lnTo>
                    <a:pt x="135" y="1519"/>
                  </a:lnTo>
                  <a:lnTo>
                    <a:pt x="134" y="1522"/>
                  </a:lnTo>
                  <a:lnTo>
                    <a:pt x="136" y="1525"/>
                  </a:lnTo>
                  <a:lnTo>
                    <a:pt x="138" y="1526"/>
                  </a:lnTo>
                  <a:lnTo>
                    <a:pt x="145" y="1526"/>
                  </a:lnTo>
                  <a:lnTo>
                    <a:pt x="152" y="1528"/>
                  </a:lnTo>
                  <a:lnTo>
                    <a:pt x="153" y="1528"/>
                  </a:lnTo>
                  <a:lnTo>
                    <a:pt x="156" y="1524"/>
                  </a:lnTo>
                  <a:lnTo>
                    <a:pt x="156" y="1520"/>
                  </a:lnTo>
                  <a:lnTo>
                    <a:pt x="154" y="1516"/>
                  </a:lnTo>
                  <a:lnTo>
                    <a:pt x="155" y="1513"/>
                  </a:lnTo>
                  <a:lnTo>
                    <a:pt x="157" y="1512"/>
                  </a:lnTo>
                  <a:lnTo>
                    <a:pt x="164" y="1514"/>
                  </a:lnTo>
                  <a:lnTo>
                    <a:pt x="168" y="1514"/>
                  </a:lnTo>
                  <a:lnTo>
                    <a:pt x="170" y="1514"/>
                  </a:lnTo>
                  <a:lnTo>
                    <a:pt x="180" y="1520"/>
                  </a:lnTo>
                  <a:lnTo>
                    <a:pt x="183" y="1520"/>
                  </a:lnTo>
                  <a:lnTo>
                    <a:pt x="183" y="1528"/>
                  </a:lnTo>
                  <a:lnTo>
                    <a:pt x="185" y="1535"/>
                  </a:lnTo>
                  <a:lnTo>
                    <a:pt x="189" y="1538"/>
                  </a:lnTo>
                  <a:lnTo>
                    <a:pt x="193" y="1535"/>
                  </a:lnTo>
                  <a:lnTo>
                    <a:pt x="194" y="1533"/>
                  </a:lnTo>
                  <a:lnTo>
                    <a:pt x="193" y="1532"/>
                  </a:lnTo>
                  <a:lnTo>
                    <a:pt x="193" y="1531"/>
                  </a:lnTo>
                  <a:lnTo>
                    <a:pt x="195" y="1529"/>
                  </a:lnTo>
                  <a:lnTo>
                    <a:pt x="195" y="1529"/>
                  </a:lnTo>
                  <a:lnTo>
                    <a:pt x="201" y="1534"/>
                  </a:lnTo>
                  <a:lnTo>
                    <a:pt x="204" y="1535"/>
                  </a:lnTo>
                  <a:lnTo>
                    <a:pt x="206" y="1536"/>
                  </a:lnTo>
                  <a:lnTo>
                    <a:pt x="220" y="1536"/>
                  </a:lnTo>
                  <a:lnTo>
                    <a:pt x="224" y="1538"/>
                  </a:lnTo>
                  <a:lnTo>
                    <a:pt x="225" y="1538"/>
                  </a:lnTo>
                  <a:lnTo>
                    <a:pt x="226" y="1537"/>
                  </a:lnTo>
                  <a:lnTo>
                    <a:pt x="228" y="1534"/>
                  </a:lnTo>
                  <a:lnTo>
                    <a:pt x="229" y="1533"/>
                  </a:lnTo>
                  <a:lnTo>
                    <a:pt x="230" y="1532"/>
                  </a:lnTo>
                  <a:lnTo>
                    <a:pt x="234" y="1532"/>
                  </a:lnTo>
                  <a:lnTo>
                    <a:pt x="235" y="1531"/>
                  </a:lnTo>
                  <a:lnTo>
                    <a:pt x="235" y="1530"/>
                  </a:lnTo>
                  <a:lnTo>
                    <a:pt x="237" y="1526"/>
                  </a:lnTo>
                  <a:lnTo>
                    <a:pt x="237" y="1525"/>
                  </a:lnTo>
                  <a:lnTo>
                    <a:pt x="240" y="1524"/>
                  </a:lnTo>
                  <a:lnTo>
                    <a:pt x="241" y="1523"/>
                  </a:lnTo>
                  <a:lnTo>
                    <a:pt x="244" y="1522"/>
                  </a:lnTo>
                  <a:lnTo>
                    <a:pt x="247" y="1523"/>
                  </a:lnTo>
                  <a:lnTo>
                    <a:pt x="248" y="1525"/>
                  </a:lnTo>
                  <a:lnTo>
                    <a:pt x="255" y="1526"/>
                  </a:lnTo>
                  <a:lnTo>
                    <a:pt x="257" y="1527"/>
                  </a:lnTo>
                  <a:lnTo>
                    <a:pt x="259" y="1530"/>
                  </a:lnTo>
                  <a:lnTo>
                    <a:pt x="257" y="1531"/>
                  </a:lnTo>
                  <a:lnTo>
                    <a:pt x="257" y="1532"/>
                  </a:lnTo>
                  <a:lnTo>
                    <a:pt x="257" y="1533"/>
                  </a:lnTo>
                  <a:lnTo>
                    <a:pt x="259" y="1535"/>
                  </a:lnTo>
                  <a:lnTo>
                    <a:pt x="262" y="1541"/>
                  </a:lnTo>
                  <a:lnTo>
                    <a:pt x="264" y="1543"/>
                  </a:lnTo>
                  <a:lnTo>
                    <a:pt x="268" y="1545"/>
                  </a:lnTo>
                  <a:lnTo>
                    <a:pt x="275" y="1547"/>
                  </a:lnTo>
                  <a:lnTo>
                    <a:pt x="279" y="1549"/>
                  </a:lnTo>
                  <a:lnTo>
                    <a:pt x="279" y="1550"/>
                  </a:lnTo>
                  <a:lnTo>
                    <a:pt x="281" y="1553"/>
                  </a:lnTo>
                  <a:lnTo>
                    <a:pt x="283" y="1554"/>
                  </a:lnTo>
                  <a:lnTo>
                    <a:pt x="284" y="1555"/>
                  </a:lnTo>
                  <a:lnTo>
                    <a:pt x="285" y="1555"/>
                  </a:lnTo>
                  <a:lnTo>
                    <a:pt x="287" y="1554"/>
                  </a:lnTo>
                  <a:lnTo>
                    <a:pt x="289" y="1554"/>
                  </a:lnTo>
                  <a:lnTo>
                    <a:pt x="290" y="1553"/>
                  </a:lnTo>
                  <a:lnTo>
                    <a:pt x="292" y="1554"/>
                  </a:lnTo>
                  <a:lnTo>
                    <a:pt x="296" y="1555"/>
                  </a:lnTo>
                  <a:lnTo>
                    <a:pt x="297" y="1555"/>
                  </a:lnTo>
                  <a:lnTo>
                    <a:pt x="299" y="1554"/>
                  </a:lnTo>
                  <a:lnTo>
                    <a:pt x="303" y="1552"/>
                  </a:lnTo>
                  <a:lnTo>
                    <a:pt x="305" y="1552"/>
                  </a:lnTo>
                  <a:lnTo>
                    <a:pt x="318" y="1556"/>
                  </a:lnTo>
                  <a:lnTo>
                    <a:pt x="327" y="1555"/>
                  </a:lnTo>
                  <a:lnTo>
                    <a:pt x="330" y="1555"/>
                  </a:lnTo>
                  <a:lnTo>
                    <a:pt x="355" y="1569"/>
                  </a:lnTo>
                  <a:lnTo>
                    <a:pt x="371" y="1572"/>
                  </a:lnTo>
                  <a:lnTo>
                    <a:pt x="372" y="1574"/>
                  </a:lnTo>
                  <a:lnTo>
                    <a:pt x="372" y="1574"/>
                  </a:lnTo>
                  <a:lnTo>
                    <a:pt x="369" y="1577"/>
                  </a:lnTo>
                  <a:lnTo>
                    <a:pt x="364" y="1587"/>
                  </a:lnTo>
                  <a:lnTo>
                    <a:pt x="357" y="1607"/>
                  </a:lnTo>
                  <a:lnTo>
                    <a:pt x="355" y="1610"/>
                  </a:lnTo>
                  <a:lnTo>
                    <a:pt x="354" y="1611"/>
                  </a:lnTo>
                  <a:lnTo>
                    <a:pt x="348" y="1614"/>
                  </a:lnTo>
                  <a:lnTo>
                    <a:pt x="347" y="1614"/>
                  </a:lnTo>
                  <a:lnTo>
                    <a:pt x="346" y="1614"/>
                  </a:lnTo>
                  <a:lnTo>
                    <a:pt x="346" y="1615"/>
                  </a:lnTo>
                  <a:lnTo>
                    <a:pt x="345" y="1617"/>
                  </a:lnTo>
                  <a:lnTo>
                    <a:pt x="344" y="1619"/>
                  </a:lnTo>
                  <a:lnTo>
                    <a:pt x="344" y="1620"/>
                  </a:lnTo>
                  <a:lnTo>
                    <a:pt x="343" y="1621"/>
                  </a:lnTo>
                  <a:lnTo>
                    <a:pt x="342" y="1621"/>
                  </a:lnTo>
                  <a:lnTo>
                    <a:pt x="338" y="1621"/>
                  </a:lnTo>
                  <a:lnTo>
                    <a:pt x="336" y="1622"/>
                  </a:lnTo>
                  <a:lnTo>
                    <a:pt x="335" y="1624"/>
                  </a:lnTo>
                  <a:lnTo>
                    <a:pt x="335" y="1629"/>
                  </a:lnTo>
                  <a:lnTo>
                    <a:pt x="334" y="1631"/>
                  </a:lnTo>
                  <a:lnTo>
                    <a:pt x="332" y="1633"/>
                  </a:lnTo>
                  <a:lnTo>
                    <a:pt x="330" y="1635"/>
                  </a:lnTo>
                  <a:lnTo>
                    <a:pt x="328" y="1636"/>
                  </a:lnTo>
                  <a:lnTo>
                    <a:pt x="324" y="1641"/>
                  </a:lnTo>
                  <a:lnTo>
                    <a:pt x="322" y="1643"/>
                  </a:lnTo>
                  <a:lnTo>
                    <a:pt x="319" y="1644"/>
                  </a:lnTo>
                  <a:lnTo>
                    <a:pt x="317" y="1646"/>
                  </a:lnTo>
                  <a:lnTo>
                    <a:pt x="310" y="1656"/>
                  </a:lnTo>
                  <a:lnTo>
                    <a:pt x="309" y="1664"/>
                  </a:lnTo>
                  <a:lnTo>
                    <a:pt x="309" y="1672"/>
                  </a:lnTo>
                  <a:lnTo>
                    <a:pt x="311" y="1677"/>
                  </a:lnTo>
                  <a:lnTo>
                    <a:pt x="311" y="1679"/>
                  </a:lnTo>
                  <a:lnTo>
                    <a:pt x="307" y="1682"/>
                  </a:lnTo>
                  <a:lnTo>
                    <a:pt x="305" y="1684"/>
                  </a:lnTo>
                  <a:lnTo>
                    <a:pt x="304" y="1686"/>
                  </a:lnTo>
                  <a:lnTo>
                    <a:pt x="304" y="1691"/>
                  </a:lnTo>
                  <a:lnTo>
                    <a:pt x="303" y="1693"/>
                  </a:lnTo>
                  <a:lnTo>
                    <a:pt x="302" y="1695"/>
                  </a:lnTo>
                  <a:lnTo>
                    <a:pt x="301" y="1697"/>
                  </a:lnTo>
                  <a:lnTo>
                    <a:pt x="300" y="1700"/>
                  </a:lnTo>
                  <a:lnTo>
                    <a:pt x="299" y="1706"/>
                  </a:lnTo>
                  <a:lnTo>
                    <a:pt x="299" y="1709"/>
                  </a:lnTo>
                  <a:lnTo>
                    <a:pt x="299" y="1712"/>
                  </a:lnTo>
                  <a:lnTo>
                    <a:pt x="300" y="1715"/>
                  </a:lnTo>
                  <a:lnTo>
                    <a:pt x="301" y="1718"/>
                  </a:lnTo>
                  <a:lnTo>
                    <a:pt x="301" y="1721"/>
                  </a:lnTo>
                  <a:lnTo>
                    <a:pt x="299" y="1725"/>
                  </a:lnTo>
                  <a:lnTo>
                    <a:pt x="296" y="1726"/>
                  </a:lnTo>
                  <a:lnTo>
                    <a:pt x="293" y="1729"/>
                  </a:lnTo>
                  <a:lnTo>
                    <a:pt x="292" y="1734"/>
                  </a:lnTo>
                  <a:lnTo>
                    <a:pt x="292" y="1738"/>
                  </a:lnTo>
                  <a:lnTo>
                    <a:pt x="291" y="1742"/>
                  </a:lnTo>
                  <a:lnTo>
                    <a:pt x="289" y="1746"/>
                  </a:lnTo>
                  <a:lnTo>
                    <a:pt x="279" y="1760"/>
                  </a:lnTo>
                  <a:lnTo>
                    <a:pt x="278" y="1763"/>
                  </a:lnTo>
                  <a:lnTo>
                    <a:pt x="278" y="1766"/>
                  </a:lnTo>
                  <a:lnTo>
                    <a:pt x="277" y="1768"/>
                  </a:lnTo>
                  <a:lnTo>
                    <a:pt x="276" y="1769"/>
                  </a:lnTo>
                  <a:lnTo>
                    <a:pt x="275" y="1772"/>
                  </a:lnTo>
                  <a:lnTo>
                    <a:pt x="274" y="1775"/>
                  </a:lnTo>
                  <a:lnTo>
                    <a:pt x="273" y="1780"/>
                  </a:lnTo>
                  <a:lnTo>
                    <a:pt x="273" y="1790"/>
                  </a:lnTo>
                  <a:lnTo>
                    <a:pt x="280" y="1802"/>
                  </a:lnTo>
                  <a:lnTo>
                    <a:pt x="280" y="1809"/>
                  </a:lnTo>
                  <a:lnTo>
                    <a:pt x="279" y="1812"/>
                  </a:lnTo>
                  <a:lnTo>
                    <a:pt x="275" y="1817"/>
                  </a:lnTo>
                  <a:lnTo>
                    <a:pt x="274" y="1820"/>
                  </a:lnTo>
                  <a:lnTo>
                    <a:pt x="274" y="1823"/>
                  </a:lnTo>
                  <a:lnTo>
                    <a:pt x="274" y="1824"/>
                  </a:lnTo>
                  <a:lnTo>
                    <a:pt x="273" y="1827"/>
                  </a:lnTo>
                  <a:lnTo>
                    <a:pt x="272" y="1828"/>
                  </a:lnTo>
                  <a:lnTo>
                    <a:pt x="271" y="1829"/>
                  </a:lnTo>
                  <a:lnTo>
                    <a:pt x="270" y="1830"/>
                  </a:lnTo>
                  <a:lnTo>
                    <a:pt x="270" y="1831"/>
                  </a:lnTo>
                  <a:lnTo>
                    <a:pt x="270" y="1832"/>
                  </a:lnTo>
                  <a:lnTo>
                    <a:pt x="270" y="1832"/>
                  </a:lnTo>
                  <a:lnTo>
                    <a:pt x="270" y="1833"/>
                  </a:lnTo>
                  <a:lnTo>
                    <a:pt x="271" y="1838"/>
                  </a:lnTo>
                  <a:lnTo>
                    <a:pt x="271" y="1840"/>
                  </a:lnTo>
                  <a:lnTo>
                    <a:pt x="269" y="1842"/>
                  </a:lnTo>
                  <a:lnTo>
                    <a:pt x="268" y="1843"/>
                  </a:lnTo>
                  <a:lnTo>
                    <a:pt x="266" y="1850"/>
                  </a:lnTo>
                  <a:lnTo>
                    <a:pt x="265" y="1853"/>
                  </a:lnTo>
                  <a:lnTo>
                    <a:pt x="267" y="1862"/>
                  </a:lnTo>
                  <a:lnTo>
                    <a:pt x="267" y="1866"/>
                  </a:lnTo>
                  <a:lnTo>
                    <a:pt x="266" y="1867"/>
                  </a:lnTo>
                  <a:lnTo>
                    <a:pt x="264" y="1870"/>
                  </a:lnTo>
                  <a:lnTo>
                    <a:pt x="263" y="1872"/>
                  </a:lnTo>
                  <a:lnTo>
                    <a:pt x="264" y="1877"/>
                  </a:lnTo>
                  <a:lnTo>
                    <a:pt x="264" y="1879"/>
                  </a:lnTo>
                  <a:lnTo>
                    <a:pt x="264" y="1880"/>
                  </a:lnTo>
                  <a:lnTo>
                    <a:pt x="267" y="1881"/>
                  </a:lnTo>
                  <a:lnTo>
                    <a:pt x="269" y="1884"/>
                  </a:lnTo>
                  <a:lnTo>
                    <a:pt x="273" y="1891"/>
                  </a:lnTo>
                  <a:lnTo>
                    <a:pt x="274" y="1893"/>
                  </a:lnTo>
                  <a:lnTo>
                    <a:pt x="275" y="1894"/>
                  </a:lnTo>
                  <a:lnTo>
                    <a:pt x="275" y="1895"/>
                  </a:lnTo>
                  <a:lnTo>
                    <a:pt x="276" y="1897"/>
                  </a:lnTo>
                  <a:lnTo>
                    <a:pt x="275" y="1898"/>
                  </a:lnTo>
                  <a:lnTo>
                    <a:pt x="275" y="1900"/>
                  </a:lnTo>
                  <a:lnTo>
                    <a:pt x="283" y="1898"/>
                  </a:lnTo>
                  <a:lnTo>
                    <a:pt x="287" y="1897"/>
                  </a:lnTo>
                  <a:lnTo>
                    <a:pt x="284" y="1903"/>
                  </a:lnTo>
                  <a:lnTo>
                    <a:pt x="283" y="1905"/>
                  </a:lnTo>
                  <a:lnTo>
                    <a:pt x="279" y="1905"/>
                  </a:lnTo>
                  <a:lnTo>
                    <a:pt x="279" y="1905"/>
                  </a:lnTo>
                  <a:lnTo>
                    <a:pt x="284" y="1908"/>
                  </a:lnTo>
                  <a:lnTo>
                    <a:pt x="287" y="1909"/>
                  </a:lnTo>
                  <a:lnTo>
                    <a:pt x="290" y="1910"/>
                  </a:lnTo>
                  <a:lnTo>
                    <a:pt x="297" y="1908"/>
                  </a:lnTo>
                  <a:lnTo>
                    <a:pt x="303" y="1907"/>
                  </a:lnTo>
                  <a:lnTo>
                    <a:pt x="307" y="1905"/>
                  </a:lnTo>
                  <a:lnTo>
                    <a:pt x="309" y="1902"/>
                  </a:lnTo>
                  <a:lnTo>
                    <a:pt x="312" y="1898"/>
                  </a:lnTo>
                  <a:lnTo>
                    <a:pt x="314" y="1899"/>
                  </a:lnTo>
                  <a:lnTo>
                    <a:pt x="324" y="1900"/>
                  </a:lnTo>
                  <a:lnTo>
                    <a:pt x="325" y="1901"/>
                  </a:lnTo>
                  <a:lnTo>
                    <a:pt x="326" y="1903"/>
                  </a:lnTo>
                  <a:lnTo>
                    <a:pt x="326" y="1905"/>
                  </a:lnTo>
                  <a:lnTo>
                    <a:pt x="327" y="1906"/>
                  </a:lnTo>
                  <a:lnTo>
                    <a:pt x="347" y="1906"/>
                  </a:lnTo>
                  <a:lnTo>
                    <a:pt x="354" y="1904"/>
                  </a:lnTo>
                  <a:lnTo>
                    <a:pt x="356" y="1903"/>
                  </a:lnTo>
                  <a:lnTo>
                    <a:pt x="357" y="1902"/>
                  </a:lnTo>
                  <a:lnTo>
                    <a:pt x="357" y="1901"/>
                  </a:lnTo>
                  <a:lnTo>
                    <a:pt x="359" y="1900"/>
                  </a:lnTo>
                  <a:lnTo>
                    <a:pt x="360" y="1898"/>
                  </a:lnTo>
                  <a:lnTo>
                    <a:pt x="363" y="1896"/>
                  </a:lnTo>
                  <a:lnTo>
                    <a:pt x="366" y="1896"/>
                  </a:lnTo>
                  <a:lnTo>
                    <a:pt x="367" y="1895"/>
                  </a:lnTo>
                  <a:lnTo>
                    <a:pt x="368" y="1893"/>
                  </a:lnTo>
                  <a:lnTo>
                    <a:pt x="369" y="1893"/>
                  </a:lnTo>
                  <a:lnTo>
                    <a:pt x="377" y="1891"/>
                  </a:lnTo>
                  <a:lnTo>
                    <a:pt x="380" y="1891"/>
                  </a:lnTo>
                  <a:lnTo>
                    <a:pt x="385" y="1893"/>
                  </a:lnTo>
                  <a:lnTo>
                    <a:pt x="386" y="1893"/>
                  </a:lnTo>
                  <a:lnTo>
                    <a:pt x="387" y="1894"/>
                  </a:lnTo>
                  <a:lnTo>
                    <a:pt x="388" y="1896"/>
                  </a:lnTo>
                  <a:lnTo>
                    <a:pt x="389" y="1898"/>
                  </a:lnTo>
                  <a:lnTo>
                    <a:pt x="391" y="1900"/>
                  </a:lnTo>
                  <a:lnTo>
                    <a:pt x="397" y="1901"/>
                  </a:lnTo>
                  <a:lnTo>
                    <a:pt x="407" y="1901"/>
                  </a:lnTo>
                  <a:lnTo>
                    <a:pt x="407" y="1901"/>
                  </a:lnTo>
                  <a:lnTo>
                    <a:pt x="412" y="1900"/>
                  </a:lnTo>
                  <a:lnTo>
                    <a:pt x="412" y="1899"/>
                  </a:lnTo>
                  <a:lnTo>
                    <a:pt x="414" y="1895"/>
                  </a:lnTo>
                  <a:lnTo>
                    <a:pt x="419" y="1892"/>
                  </a:lnTo>
                  <a:lnTo>
                    <a:pt x="423" y="1891"/>
                  </a:lnTo>
                  <a:lnTo>
                    <a:pt x="426" y="1894"/>
                  </a:lnTo>
                  <a:lnTo>
                    <a:pt x="428" y="1897"/>
                  </a:lnTo>
                  <a:lnTo>
                    <a:pt x="428" y="1897"/>
                  </a:lnTo>
                  <a:lnTo>
                    <a:pt x="430" y="1899"/>
                  </a:lnTo>
                  <a:lnTo>
                    <a:pt x="432" y="1898"/>
                  </a:lnTo>
                  <a:lnTo>
                    <a:pt x="432" y="1898"/>
                  </a:lnTo>
                  <a:lnTo>
                    <a:pt x="433" y="1896"/>
                  </a:lnTo>
                  <a:lnTo>
                    <a:pt x="433" y="1895"/>
                  </a:lnTo>
                  <a:lnTo>
                    <a:pt x="433" y="1893"/>
                  </a:lnTo>
                  <a:lnTo>
                    <a:pt x="433" y="1891"/>
                  </a:lnTo>
                  <a:lnTo>
                    <a:pt x="433" y="1891"/>
                  </a:lnTo>
                  <a:lnTo>
                    <a:pt x="433" y="1890"/>
                  </a:lnTo>
                  <a:lnTo>
                    <a:pt x="432" y="1889"/>
                  </a:lnTo>
                  <a:lnTo>
                    <a:pt x="433" y="1887"/>
                  </a:lnTo>
                  <a:lnTo>
                    <a:pt x="433" y="1887"/>
                  </a:lnTo>
                  <a:lnTo>
                    <a:pt x="434" y="1886"/>
                  </a:lnTo>
                  <a:lnTo>
                    <a:pt x="435" y="1886"/>
                  </a:lnTo>
                  <a:lnTo>
                    <a:pt x="435" y="1887"/>
                  </a:lnTo>
                  <a:lnTo>
                    <a:pt x="435" y="1888"/>
                  </a:lnTo>
                  <a:lnTo>
                    <a:pt x="436" y="1889"/>
                  </a:lnTo>
                  <a:lnTo>
                    <a:pt x="437" y="1883"/>
                  </a:lnTo>
                  <a:lnTo>
                    <a:pt x="435" y="1883"/>
                  </a:lnTo>
                  <a:lnTo>
                    <a:pt x="435" y="1883"/>
                  </a:lnTo>
                  <a:lnTo>
                    <a:pt x="433" y="1882"/>
                  </a:lnTo>
                  <a:lnTo>
                    <a:pt x="431" y="1882"/>
                  </a:lnTo>
                  <a:lnTo>
                    <a:pt x="423" y="1883"/>
                  </a:lnTo>
                  <a:lnTo>
                    <a:pt x="421" y="1884"/>
                  </a:lnTo>
                  <a:lnTo>
                    <a:pt x="418" y="1886"/>
                  </a:lnTo>
                  <a:lnTo>
                    <a:pt x="416" y="1887"/>
                  </a:lnTo>
                  <a:lnTo>
                    <a:pt x="413" y="1887"/>
                  </a:lnTo>
                  <a:lnTo>
                    <a:pt x="410" y="1885"/>
                  </a:lnTo>
                  <a:lnTo>
                    <a:pt x="406" y="1882"/>
                  </a:lnTo>
                  <a:lnTo>
                    <a:pt x="405" y="1882"/>
                  </a:lnTo>
                  <a:lnTo>
                    <a:pt x="403" y="1881"/>
                  </a:lnTo>
                  <a:lnTo>
                    <a:pt x="404" y="1879"/>
                  </a:lnTo>
                  <a:lnTo>
                    <a:pt x="403" y="1877"/>
                  </a:lnTo>
                  <a:lnTo>
                    <a:pt x="403" y="1875"/>
                  </a:lnTo>
                  <a:lnTo>
                    <a:pt x="403" y="1873"/>
                  </a:lnTo>
                  <a:lnTo>
                    <a:pt x="404" y="1872"/>
                  </a:lnTo>
                  <a:lnTo>
                    <a:pt x="408" y="1869"/>
                  </a:lnTo>
                  <a:lnTo>
                    <a:pt x="410" y="1868"/>
                  </a:lnTo>
                  <a:lnTo>
                    <a:pt x="411" y="1863"/>
                  </a:lnTo>
                  <a:lnTo>
                    <a:pt x="412" y="1861"/>
                  </a:lnTo>
                  <a:lnTo>
                    <a:pt x="414" y="1858"/>
                  </a:lnTo>
                  <a:lnTo>
                    <a:pt x="415" y="1857"/>
                  </a:lnTo>
                  <a:lnTo>
                    <a:pt x="417" y="1857"/>
                  </a:lnTo>
                  <a:lnTo>
                    <a:pt x="426" y="1856"/>
                  </a:lnTo>
                  <a:lnTo>
                    <a:pt x="428" y="1854"/>
                  </a:lnTo>
                  <a:lnTo>
                    <a:pt x="426" y="1851"/>
                  </a:lnTo>
                  <a:lnTo>
                    <a:pt x="429" y="1849"/>
                  </a:lnTo>
                  <a:lnTo>
                    <a:pt x="433" y="1850"/>
                  </a:lnTo>
                  <a:lnTo>
                    <a:pt x="436" y="1851"/>
                  </a:lnTo>
                  <a:lnTo>
                    <a:pt x="436" y="1852"/>
                  </a:lnTo>
                  <a:lnTo>
                    <a:pt x="436" y="1856"/>
                  </a:lnTo>
                  <a:lnTo>
                    <a:pt x="437" y="1858"/>
                  </a:lnTo>
                  <a:lnTo>
                    <a:pt x="439" y="1860"/>
                  </a:lnTo>
                  <a:lnTo>
                    <a:pt x="440" y="1858"/>
                  </a:lnTo>
                  <a:lnTo>
                    <a:pt x="441" y="1853"/>
                  </a:lnTo>
                  <a:lnTo>
                    <a:pt x="443" y="1852"/>
                  </a:lnTo>
                  <a:lnTo>
                    <a:pt x="445" y="1852"/>
                  </a:lnTo>
                  <a:lnTo>
                    <a:pt x="446" y="1855"/>
                  </a:lnTo>
                  <a:lnTo>
                    <a:pt x="448" y="1857"/>
                  </a:lnTo>
                  <a:lnTo>
                    <a:pt x="449" y="1859"/>
                  </a:lnTo>
                  <a:lnTo>
                    <a:pt x="450" y="1860"/>
                  </a:lnTo>
                  <a:lnTo>
                    <a:pt x="452" y="1859"/>
                  </a:lnTo>
                  <a:lnTo>
                    <a:pt x="454" y="1860"/>
                  </a:lnTo>
                  <a:lnTo>
                    <a:pt x="455" y="1862"/>
                  </a:lnTo>
                  <a:lnTo>
                    <a:pt x="454" y="1863"/>
                  </a:lnTo>
                  <a:lnTo>
                    <a:pt x="452" y="1866"/>
                  </a:lnTo>
                  <a:lnTo>
                    <a:pt x="452" y="1867"/>
                  </a:lnTo>
                  <a:lnTo>
                    <a:pt x="452" y="1870"/>
                  </a:lnTo>
                  <a:lnTo>
                    <a:pt x="454" y="1871"/>
                  </a:lnTo>
                  <a:lnTo>
                    <a:pt x="454" y="1873"/>
                  </a:lnTo>
                  <a:lnTo>
                    <a:pt x="454" y="1874"/>
                  </a:lnTo>
                  <a:lnTo>
                    <a:pt x="463" y="1874"/>
                  </a:lnTo>
                  <a:lnTo>
                    <a:pt x="461" y="1873"/>
                  </a:lnTo>
                  <a:lnTo>
                    <a:pt x="463" y="1868"/>
                  </a:lnTo>
                  <a:lnTo>
                    <a:pt x="467" y="1868"/>
                  </a:lnTo>
                  <a:lnTo>
                    <a:pt x="472" y="1872"/>
                  </a:lnTo>
                  <a:lnTo>
                    <a:pt x="476" y="1875"/>
                  </a:lnTo>
                  <a:lnTo>
                    <a:pt x="474" y="1876"/>
                  </a:lnTo>
                  <a:lnTo>
                    <a:pt x="474" y="1878"/>
                  </a:lnTo>
                  <a:lnTo>
                    <a:pt x="476" y="1880"/>
                  </a:lnTo>
                  <a:lnTo>
                    <a:pt x="476" y="1880"/>
                  </a:lnTo>
                  <a:lnTo>
                    <a:pt x="480" y="1883"/>
                  </a:lnTo>
                  <a:lnTo>
                    <a:pt x="484" y="1884"/>
                  </a:lnTo>
                  <a:lnTo>
                    <a:pt x="491" y="1884"/>
                  </a:lnTo>
                  <a:lnTo>
                    <a:pt x="496" y="1882"/>
                  </a:lnTo>
                  <a:lnTo>
                    <a:pt x="499" y="1879"/>
                  </a:lnTo>
                  <a:lnTo>
                    <a:pt x="502" y="1878"/>
                  </a:lnTo>
                  <a:lnTo>
                    <a:pt x="519" y="1880"/>
                  </a:lnTo>
                  <a:lnTo>
                    <a:pt x="528" y="1880"/>
                  </a:lnTo>
                  <a:lnTo>
                    <a:pt x="530" y="1883"/>
                  </a:lnTo>
                  <a:lnTo>
                    <a:pt x="537" y="1883"/>
                  </a:lnTo>
                  <a:lnTo>
                    <a:pt x="543" y="1885"/>
                  </a:lnTo>
                  <a:lnTo>
                    <a:pt x="586" y="1912"/>
                  </a:lnTo>
                  <a:lnTo>
                    <a:pt x="587" y="1912"/>
                  </a:lnTo>
                  <a:lnTo>
                    <a:pt x="587" y="1912"/>
                  </a:lnTo>
                  <a:lnTo>
                    <a:pt x="597" y="1915"/>
                  </a:lnTo>
                  <a:lnTo>
                    <a:pt x="607" y="1915"/>
                  </a:lnTo>
                  <a:lnTo>
                    <a:pt x="611" y="1913"/>
                  </a:lnTo>
                  <a:lnTo>
                    <a:pt x="613" y="1909"/>
                  </a:lnTo>
                  <a:lnTo>
                    <a:pt x="615" y="1905"/>
                  </a:lnTo>
                  <a:lnTo>
                    <a:pt x="619" y="1901"/>
                  </a:lnTo>
                  <a:lnTo>
                    <a:pt x="621" y="1900"/>
                  </a:lnTo>
                  <a:lnTo>
                    <a:pt x="623" y="1899"/>
                  </a:lnTo>
                  <a:lnTo>
                    <a:pt x="626" y="1900"/>
                  </a:lnTo>
                  <a:lnTo>
                    <a:pt x="627" y="1902"/>
                  </a:lnTo>
                  <a:lnTo>
                    <a:pt x="628" y="1905"/>
                  </a:lnTo>
                  <a:lnTo>
                    <a:pt x="628" y="1908"/>
                  </a:lnTo>
                  <a:lnTo>
                    <a:pt x="628" y="1910"/>
                  </a:lnTo>
                  <a:lnTo>
                    <a:pt x="631" y="1912"/>
                  </a:lnTo>
                  <a:lnTo>
                    <a:pt x="633" y="1912"/>
                  </a:lnTo>
                  <a:lnTo>
                    <a:pt x="635" y="1911"/>
                  </a:lnTo>
                  <a:lnTo>
                    <a:pt x="636" y="1911"/>
                  </a:lnTo>
                  <a:lnTo>
                    <a:pt x="641" y="1912"/>
                  </a:lnTo>
                  <a:lnTo>
                    <a:pt x="645" y="1912"/>
                  </a:lnTo>
                  <a:lnTo>
                    <a:pt x="647" y="1912"/>
                  </a:lnTo>
                  <a:lnTo>
                    <a:pt x="649" y="1911"/>
                  </a:lnTo>
                  <a:lnTo>
                    <a:pt x="650" y="1914"/>
                  </a:lnTo>
                  <a:lnTo>
                    <a:pt x="651" y="1916"/>
                  </a:lnTo>
                  <a:lnTo>
                    <a:pt x="654" y="1919"/>
                  </a:lnTo>
                  <a:lnTo>
                    <a:pt x="655" y="1922"/>
                  </a:lnTo>
                  <a:lnTo>
                    <a:pt x="655" y="1922"/>
                  </a:lnTo>
                  <a:lnTo>
                    <a:pt x="655" y="1923"/>
                  </a:lnTo>
                  <a:lnTo>
                    <a:pt x="655" y="1925"/>
                  </a:lnTo>
                  <a:lnTo>
                    <a:pt x="657" y="1926"/>
                  </a:lnTo>
                  <a:lnTo>
                    <a:pt x="658" y="1925"/>
                  </a:lnTo>
                  <a:lnTo>
                    <a:pt x="660" y="1924"/>
                  </a:lnTo>
                  <a:lnTo>
                    <a:pt x="661" y="1923"/>
                  </a:lnTo>
                  <a:lnTo>
                    <a:pt x="670" y="1934"/>
                  </a:lnTo>
                  <a:lnTo>
                    <a:pt x="671" y="1937"/>
                  </a:lnTo>
                  <a:lnTo>
                    <a:pt x="670" y="1940"/>
                  </a:lnTo>
                  <a:lnTo>
                    <a:pt x="666" y="1942"/>
                  </a:lnTo>
                  <a:lnTo>
                    <a:pt x="668" y="1944"/>
                  </a:lnTo>
                  <a:lnTo>
                    <a:pt x="669" y="1947"/>
                  </a:lnTo>
                  <a:lnTo>
                    <a:pt x="669" y="1949"/>
                  </a:lnTo>
                  <a:lnTo>
                    <a:pt x="670" y="1951"/>
                  </a:lnTo>
                  <a:lnTo>
                    <a:pt x="671" y="1953"/>
                  </a:lnTo>
                  <a:lnTo>
                    <a:pt x="672" y="1953"/>
                  </a:lnTo>
                  <a:lnTo>
                    <a:pt x="673" y="1952"/>
                  </a:lnTo>
                  <a:lnTo>
                    <a:pt x="675" y="1951"/>
                  </a:lnTo>
                  <a:lnTo>
                    <a:pt x="676" y="1951"/>
                  </a:lnTo>
                  <a:lnTo>
                    <a:pt x="678" y="1952"/>
                  </a:lnTo>
                  <a:lnTo>
                    <a:pt x="679" y="1952"/>
                  </a:lnTo>
                  <a:lnTo>
                    <a:pt x="680" y="1952"/>
                  </a:lnTo>
                  <a:lnTo>
                    <a:pt x="681" y="1950"/>
                  </a:lnTo>
                  <a:lnTo>
                    <a:pt x="688" y="1948"/>
                  </a:lnTo>
                  <a:lnTo>
                    <a:pt x="691" y="1950"/>
                  </a:lnTo>
                  <a:lnTo>
                    <a:pt x="691" y="1954"/>
                  </a:lnTo>
                  <a:lnTo>
                    <a:pt x="688" y="1963"/>
                  </a:lnTo>
                  <a:lnTo>
                    <a:pt x="689" y="1964"/>
                  </a:lnTo>
                  <a:lnTo>
                    <a:pt x="689" y="1966"/>
                  </a:lnTo>
                  <a:lnTo>
                    <a:pt x="688" y="1967"/>
                  </a:lnTo>
                  <a:lnTo>
                    <a:pt x="688" y="1968"/>
                  </a:lnTo>
                  <a:lnTo>
                    <a:pt x="685" y="1969"/>
                  </a:lnTo>
                  <a:lnTo>
                    <a:pt x="685" y="1969"/>
                  </a:lnTo>
                  <a:lnTo>
                    <a:pt x="683" y="1972"/>
                  </a:lnTo>
                  <a:lnTo>
                    <a:pt x="683" y="1973"/>
                  </a:lnTo>
                  <a:lnTo>
                    <a:pt x="683" y="1974"/>
                  </a:lnTo>
                  <a:lnTo>
                    <a:pt x="686" y="1973"/>
                  </a:lnTo>
                  <a:lnTo>
                    <a:pt x="696" y="1972"/>
                  </a:lnTo>
                  <a:lnTo>
                    <a:pt x="699" y="1971"/>
                  </a:lnTo>
                  <a:lnTo>
                    <a:pt x="707" y="1966"/>
                  </a:lnTo>
                  <a:lnTo>
                    <a:pt x="710" y="1964"/>
                  </a:lnTo>
                  <a:lnTo>
                    <a:pt x="713" y="1960"/>
                  </a:lnTo>
                  <a:lnTo>
                    <a:pt x="716" y="1953"/>
                  </a:lnTo>
                  <a:lnTo>
                    <a:pt x="717" y="1951"/>
                  </a:lnTo>
                  <a:lnTo>
                    <a:pt x="719" y="1950"/>
                  </a:lnTo>
                  <a:lnTo>
                    <a:pt x="722" y="1949"/>
                  </a:lnTo>
                  <a:lnTo>
                    <a:pt x="723" y="1948"/>
                  </a:lnTo>
                  <a:lnTo>
                    <a:pt x="726" y="1945"/>
                  </a:lnTo>
                  <a:lnTo>
                    <a:pt x="728" y="1940"/>
                  </a:lnTo>
                  <a:lnTo>
                    <a:pt x="730" y="1935"/>
                  </a:lnTo>
                  <a:lnTo>
                    <a:pt x="730" y="1929"/>
                  </a:lnTo>
                  <a:lnTo>
                    <a:pt x="729" y="1926"/>
                  </a:lnTo>
                  <a:lnTo>
                    <a:pt x="728" y="1925"/>
                  </a:lnTo>
                  <a:lnTo>
                    <a:pt x="727" y="1923"/>
                  </a:lnTo>
                  <a:lnTo>
                    <a:pt x="724" y="1922"/>
                  </a:lnTo>
                  <a:lnTo>
                    <a:pt x="726" y="1912"/>
                  </a:lnTo>
                  <a:lnTo>
                    <a:pt x="726" y="1910"/>
                  </a:lnTo>
                  <a:lnTo>
                    <a:pt x="725" y="1908"/>
                  </a:lnTo>
                  <a:lnTo>
                    <a:pt x="724" y="1905"/>
                  </a:lnTo>
                  <a:lnTo>
                    <a:pt x="724" y="1903"/>
                  </a:lnTo>
                  <a:lnTo>
                    <a:pt x="726" y="1902"/>
                  </a:lnTo>
                  <a:lnTo>
                    <a:pt x="729" y="1901"/>
                  </a:lnTo>
                  <a:lnTo>
                    <a:pt x="730" y="1901"/>
                  </a:lnTo>
                  <a:lnTo>
                    <a:pt x="731" y="1901"/>
                  </a:lnTo>
                  <a:lnTo>
                    <a:pt x="731" y="1904"/>
                  </a:lnTo>
                  <a:lnTo>
                    <a:pt x="731" y="1905"/>
                  </a:lnTo>
                  <a:lnTo>
                    <a:pt x="730" y="1906"/>
                  </a:lnTo>
                  <a:lnTo>
                    <a:pt x="730" y="1907"/>
                  </a:lnTo>
                  <a:lnTo>
                    <a:pt x="730" y="1909"/>
                  </a:lnTo>
                  <a:lnTo>
                    <a:pt x="731" y="1910"/>
                  </a:lnTo>
                  <a:lnTo>
                    <a:pt x="732" y="1911"/>
                  </a:lnTo>
                  <a:lnTo>
                    <a:pt x="734" y="1912"/>
                  </a:lnTo>
                  <a:lnTo>
                    <a:pt x="741" y="1913"/>
                  </a:lnTo>
                  <a:lnTo>
                    <a:pt x="743" y="1913"/>
                  </a:lnTo>
                  <a:lnTo>
                    <a:pt x="745" y="1911"/>
                  </a:lnTo>
                  <a:lnTo>
                    <a:pt x="748" y="1907"/>
                  </a:lnTo>
                  <a:lnTo>
                    <a:pt x="751" y="1906"/>
                  </a:lnTo>
                  <a:lnTo>
                    <a:pt x="754" y="1906"/>
                  </a:lnTo>
                  <a:lnTo>
                    <a:pt x="775" y="1913"/>
                  </a:lnTo>
                  <a:lnTo>
                    <a:pt x="776" y="1914"/>
                  </a:lnTo>
                  <a:lnTo>
                    <a:pt x="777" y="1915"/>
                  </a:lnTo>
                  <a:lnTo>
                    <a:pt x="777" y="1916"/>
                  </a:lnTo>
                  <a:lnTo>
                    <a:pt x="779" y="1917"/>
                  </a:lnTo>
                  <a:lnTo>
                    <a:pt x="783" y="1916"/>
                  </a:lnTo>
                  <a:lnTo>
                    <a:pt x="790" y="1913"/>
                  </a:lnTo>
                  <a:lnTo>
                    <a:pt x="792" y="1913"/>
                  </a:lnTo>
                  <a:lnTo>
                    <a:pt x="794" y="1913"/>
                  </a:lnTo>
                  <a:lnTo>
                    <a:pt x="796" y="1914"/>
                  </a:lnTo>
                  <a:lnTo>
                    <a:pt x="800" y="1916"/>
                  </a:lnTo>
                  <a:lnTo>
                    <a:pt x="798" y="1918"/>
                  </a:lnTo>
                  <a:lnTo>
                    <a:pt x="793" y="1922"/>
                  </a:lnTo>
                  <a:lnTo>
                    <a:pt x="794" y="1924"/>
                  </a:lnTo>
                  <a:lnTo>
                    <a:pt x="802" y="1927"/>
                  </a:lnTo>
                  <a:lnTo>
                    <a:pt x="810" y="1936"/>
                  </a:lnTo>
                  <a:lnTo>
                    <a:pt x="811" y="1937"/>
                  </a:lnTo>
                  <a:lnTo>
                    <a:pt x="811" y="1939"/>
                  </a:lnTo>
                  <a:lnTo>
                    <a:pt x="811" y="1940"/>
                  </a:lnTo>
                  <a:lnTo>
                    <a:pt x="810" y="1941"/>
                  </a:lnTo>
                  <a:lnTo>
                    <a:pt x="810" y="1941"/>
                  </a:lnTo>
                  <a:lnTo>
                    <a:pt x="811" y="1945"/>
                  </a:lnTo>
                  <a:lnTo>
                    <a:pt x="813" y="1946"/>
                  </a:lnTo>
                  <a:lnTo>
                    <a:pt x="830" y="1946"/>
                  </a:lnTo>
                  <a:lnTo>
                    <a:pt x="833" y="1945"/>
                  </a:lnTo>
                  <a:lnTo>
                    <a:pt x="843" y="1938"/>
                  </a:lnTo>
                  <a:lnTo>
                    <a:pt x="847" y="1937"/>
                  </a:lnTo>
                  <a:lnTo>
                    <a:pt x="851" y="1938"/>
                  </a:lnTo>
                  <a:lnTo>
                    <a:pt x="851" y="1945"/>
                  </a:lnTo>
                  <a:lnTo>
                    <a:pt x="854" y="1945"/>
                  </a:lnTo>
                  <a:lnTo>
                    <a:pt x="858" y="1943"/>
                  </a:lnTo>
                  <a:lnTo>
                    <a:pt x="860" y="1941"/>
                  </a:lnTo>
                  <a:lnTo>
                    <a:pt x="862" y="1938"/>
                  </a:lnTo>
                  <a:lnTo>
                    <a:pt x="865" y="1935"/>
                  </a:lnTo>
                  <a:lnTo>
                    <a:pt x="868" y="1934"/>
                  </a:lnTo>
                  <a:lnTo>
                    <a:pt x="875" y="1934"/>
                  </a:lnTo>
                  <a:lnTo>
                    <a:pt x="878" y="1933"/>
                  </a:lnTo>
                  <a:lnTo>
                    <a:pt x="879" y="1931"/>
                  </a:lnTo>
                  <a:lnTo>
                    <a:pt x="878" y="1929"/>
                  </a:lnTo>
                  <a:lnTo>
                    <a:pt x="877" y="1928"/>
                  </a:lnTo>
                  <a:lnTo>
                    <a:pt x="875" y="1927"/>
                  </a:lnTo>
                  <a:lnTo>
                    <a:pt x="882" y="1919"/>
                  </a:lnTo>
                  <a:lnTo>
                    <a:pt x="886" y="1918"/>
                  </a:lnTo>
                  <a:lnTo>
                    <a:pt x="890" y="1918"/>
                  </a:lnTo>
                  <a:lnTo>
                    <a:pt x="893" y="1920"/>
                  </a:lnTo>
                  <a:lnTo>
                    <a:pt x="901" y="1918"/>
                  </a:lnTo>
                  <a:lnTo>
                    <a:pt x="904" y="1917"/>
                  </a:lnTo>
                  <a:lnTo>
                    <a:pt x="907" y="1914"/>
                  </a:lnTo>
                  <a:lnTo>
                    <a:pt x="908" y="1911"/>
                  </a:lnTo>
                  <a:lnTo>
                    <a:pt x="909" y="1906"/>
                  </a:lnTo>
                  <a:lnTo>
                    <a:pt x="910" y="1904"/>
                  </a:lnTo>
                  <a:lnTo>
                    <a:pt x="915" y="1900"/>
                  </a:lnTo>
                  <a:lnTo>
                    <a:pt x="915" y="1899"/>
                  </a:lnTo>
                  <a:lnTo>
                    <a:pt x="918" y="1899"/>
                  </a:lnTo>
                  <a:lnTo>
                    <a:pt x="925" y="1901"/>
                  </a:lnTo>
                  <a:lnTo>
                    <a:pt x="938" y="1901"/>
                  </a:lnTo>
                  <a:lnTo>
                    <a:pt x="947" y="1902"/>
                  </a:lnTo>
                  <a:lnTo>
                    <a:pt x="948" y="1902"/>
                  </a:lnTo>
                  <a:lnTo>
                    <a:pt x="950" y="1898"/>
                  </a:lnTo>
                  <a:lnTo>
                    <a:pt x="952" y="1897"/>
                  </a:lnTo>
                  <a:lnTo>
                    <a:pt x="965" y="1894"/>
                  </a:lnTo>
                  <a:lnTo>
                    <a:pt x="1002" y="1896"/>
                  </a:lnTo>
                  <a:lnTo>
                    <a:pt x="1003" y="1896"/>
                  </a:lnTo>
                  <a:lnTo>
                    <a:pt x="1007" y="1890"/>
                  </a:lnTo>
                  <a:lnTo>
                    <a:pt x="1008" y="1888"/>
                  </a:lnTo>
                  <a:lnTo>
                    <a:pt x="1008" y="1886"/>
                  </a:lnTo>
                  <a:lnTo>
                    <a:pt x="1008" y="1880"/>
                  </a:lnTo>
                  <a:lnTo>
                    <a:pt x="1007" y="1878"/>
                  </a:lnTo>
                  <a:lnTo>
                    <a:pt x="1007" y="1878"/>
                  </a:lnTo>
                  <a:lnTo>
                    <a:pt x="1006" y="1877"/>
                  </a:lnTo>
                  <a:lnTo>
                    <a:pt x="1004" y="1875"/>
                  </a:lnTo>
                  <a:lnTo>
                    <a:pt x="1004" y="1874"/>
                  </a:lnTo>
                  <a:lnTo>
                    <a:pt x="1003" y="1872"/>
                  </a:lnTo>
                  <a:lnTo>
                    <a:pt x="1006" y="1871"/>
                  </a:lnTo>
                  <a:lnTo>
                    <a:pt x="1010" y="1867"/>
                  </a:lnTo>
                  <a:lnTo>
                    <a:pt x="1011" y="1867"/>
                  </a:lnTo>
                  <a:lnTo>
                    <a:pt x="1013" y="1866"/>
                  </a:lnTo>
                  <a:lnTo>
                    <a:pt x="1014" y="1866"/>
                  </a:lnTo>
                  <a:lnTo>
                    <a:pt x="1013" y="1867"/>
                  </a:lnTo>
                  <a:lnTo>
                    <a:pt x="1013" y="1869"/>
                  </a:lnTo>
                  <a:lnTo>
                    <a:pt x="1012" y="1871"/>
                  </a:lnTo>
                  <a:lnTo>
                    <a:pt x="1012" y="1872"/>
                  </a:lnTo>
                  <a:lnTo>
                    <a:pt x="1011" y="1874"/>
                  </a:lnTo>
                  <a:lnTo>
                    <a:pt x="1012" y="1877"/>
                  </a:lnTo>
                  <a:lnTo>
                    <a:pt x="1013" y="1878"/>
                  </a:lnTo>
                  <a:lnTo>
                    <a:pt x="1015" y="1878"/>
                  </a:lnTo>
                  <a:lnTo>
                    <a:pt x="1019" y="1876"/>
                  </a:lnTo>
                  <a:lnTo>
                    <a:pt x="1022" y="1876"/>
                  </a:lnTo>
                  <a:lnTo>
                    <a:pt x="1031" y="1877"/>
                  </a:lnTo>
                  <a:lnTo>
                    <a:pt x="1034" y="1877"/>
                  </a:lnTo>
                  <a:lnTo>
                    <a:pt x="1040" y="1875"/>
                  </a:lnTo>
                  <a:lnTo>
                    <a:pt x="1043" y="1875"/>
                  </a:lnTo>
                  <a:lnTo>
                    <a:pt x="1043" y="1877"/>
                  </a:lnTo>
                  <a:lnTo>
                    <a:pt x="1045" y="1882"/>
                  </a:lnTo>
                  <a:lnTo>
                    <a:pt x="1046" y="1883"/>
                  </a:lnTo>
                  <a:lnTo>
                    <a:pt x="1047" y="1885"/>
                  </a:lnTo>
                  <a:lnTo>
                    <a:pt x="1052" y="1889"/>
                  </a:lnTo>
                  <a:lnTo>
                    <a:pt x="1054" y="1890"/>
                  </a:lnTo>
                  <a:lnTo>
                    <a:pt x="1057" y="1890"/>
                  </a:lnTo>
                  <a:lnTo>
                    <a:pt x="1061" y="1889"/>
                  </a:lnTo>
                  <a:lnTo>
                    <a:pt x="1063" y="1888"/>
                  </a:lnTo>
                  <a:lnTo>
                    <a:pt x="1065" y="1887"/>
                  </a:lnTo>
                  <a:lnTo>
                    <a:pt x="1071" y="1882"/>
                  </a:lnTo>
                  <a:lnTo>
                    <a:pt x="1073" y="1880"/>
                  </a:lnTo>
                  <a:lnTo>
                    <a:pt x="1079" y="1879"/>
                  </a:lnTo>
                  <a:lnTo>
                    <a:pt x="1085" y="1879"/>
                  </a:lnTo>
                  <a:lnTo>
                    <a:pt x="1094" y="1881"/>
                  </a:lnTo>
                  <a:lnTo>
                    <a:pt x="1096" y="1881"/>
                  </a:lnTo>
                  <a:lnTo>
                    <a:pt x="1095" y="1885"/>
                  </a:lnTo>
                  <a:lnTo>
                    <a:pt x="1097" y="1888"/>
                  </a:lnTo>
                  <a:lnTo>
                    <a:pt x="1101" y="1891"/>
                  </a:lnTo>
                  <a:lnTo>
                    <a:pt x="1105" y="1894"/>
                  </a:lnTo>
                  <a:lnTo>
                    <a:pt x="1100" y="1896"/>
                  </a:lnTo>
                  <a:lnTo>
                    <a:pt x="1098" y="1901"/>
                  </a:lnTo>
                  <a:lnTo>
                    <a:pt x="1099" y="1907"/>
                  </a:lnTo>
                  <a:lnTo>
                    <a:pt x="1103" y="1911"/>
                  </a:lnTo>
                  <a:lnTo>
                    <a:pt x="1105" y="1911"/>
                  </a:lnTo>
                  <a:lnTo>
                    <a:pt x="1107" y="1911"/>
                  </a:lnTo>
                  <a:lnTo>
                    <a:pt x="1108" y="1912"/>
                  </a:lnTo>
                  <a:lnTo>
                    <a:pt x="1115" y="1921"/>
                  </a:lnTo>
                  <a:lnTo>
                    <a:pt x="1123" y="1926"/>
                  </a:lnTo>
                  <a:lnTo>
                    <a:pt x="1125" y="1927"/>
                  </a:lnTo>
                  <a:lnTo>
                    <a:pt x="1126" y="1926"/>
                  </a:lnTo>
                  <a:lnTo>
                    <a:pt x="1128" y="1926"/>
                  </a:lnTo>
                  <a:lnTo>
                    <a:pt x="1129" y="1926"/>
                  </a:lnTo>
                  <a:lnTo>
                    <a:pt x="1131" y="1926"/>
                  </a:lnTo>
                  <a:lnTo>
                    <a:pt x="1132" y="1927"/>
                  </a:lnTo>
                  <a:lnTo>
                    <a:pt x="1133" y="1928"/>
                  </a:lnTo>
                  <a:lnTo>
                    <a:pt x="1134" y="1928"/>
                  </a:lnTo>
                  <a:lnTo>
                    <a:pt x="1135" y="1927"/>
                  </a:lnTo>
                  <a:lnTo>
                    <a:pt x="1140" y="1922"/>
                  </a:lnTo>
                  <a:lnTo>
                    <a:pt x="1140" y="1920"/>
                  </a:lnTo>
                  <a:lnTo>
                    <a:pt x="1140" y="1918"/>
                  </a:lnTo>
                  <a:lnTo>
                    <a:pt x="1139" y="1917"/>
                  </a:lnTo>
                  <a:lnTo>
                    <a:pt x="1139" y="1916"/>
                  </a:lnTo>
                  <a:lnTo>
                    <a:pt x="1139" y="1914"/>
                  </a:lnTo>
                  <a:lnTo>
                    <a:pt x="1139" y="1910"/>
                  </a:lnTo>
                  <a:lnTo>
                    <a:pt x="1139" y="1910"/>
                  </a:lnTo>
                  <a:lnTo>
                    <a:pt x="1140" y="1906"/>
                  </a:lnTo>
                  <a:lnTo>
                    <a:pt x="1141" y="1906"/>
                  </a:lnTo>
                  <a:lnTo>
                    <a:pt x="1140" y="1906"/>
                  </a:lnTo>
                  <a:lnTo>
                    <a:pt x="1140" y="1900"/>
                  </a:lnTo>
                  <a:lnTo>
                    <a:pt x="1141" y="1901"/>
                  </a:lnTo>
                  <a:lnTo>
                    <a:pt x="1143" y="1897"/>
                  </a:lnTo>
                  <a:lnTo>
                    <a:pt x="1143" y="1896"/>
                  </a:lnTo>
                  <a:lnTo>
                    <a:pt x="1145" y="1892"/>
                  </a:lnTo>
                  <a:lnTo>
                    <a:pt x="1146" y="1891"/>
                  </a:lnTo>
                  <a:lnTo>
                    <a:pt x="1146" y="1888"/>
                  </a:lnTo>
                  <a:lnTo>
                    <a:pt x="1146" y="1886"/>
                  </a:lnTo>
                  <a:lnTo>
                    <a:pt x="1146" y="1883"/>
                  </a:lnTo>
                  <a:lnTo>
                    <a:pt x="1144" y="1879"/>
                  </a:lnTo>
                  <a:lnTo>
                    <a:pt x="1141" y="1874"/>
                  </a:lnTo>
                  <a:lnTo>
                    <a:pt x="1139" y="1872"/>
                  </a:lnTo>
                  <a:lnTo>
                    <a:pt x="1137" y="1870"/>
                  </a:lnTo>
                  <a:lnTo>
                    <a:pt x="1135" y="1870"/>
                  </a:lnTo>
                  <a:lnTo>
                    <a:pt x="1131" y="1872"/>
                  </a:lnTo>
                  <a:lnTo>
                    <a:pt x="1129" y="1872"/>
                  </a:lnTo>
                  <a:lnTo>
                    <a:pt x="1119" y="1870"/>
                  </a:lnTo>
                  <a:lnTo>
                    <a:pt x="1117" y="1867"/>
                  </a:lnTo>
                  <a:lnTo>
                    <a:pt x="1120" y="1863"/>
                  </a:lnTo>
                  <a:lnTo>
                    <a:pt x="1120" y="1863"/>
                  </a:lnTo>
                  <a:lnTo>
                    <a:pt x="1120" y="1863"/>
                  </a:lnTo>
                  <a:lnTo>
                    <a:pt x="1121" y="1861"/>
                  </a:lnTo>
                  <a:lnTo>
                    <a:pt x="1121" y="1860"/>
                  </a:lnTo>
                  <a:lnTo>
                    <a:pt x="1121" y="1858"/>
                  </a:lnTo>
                  <a:lnTo>
                    <a:pt x="1122" y="1857"/>
                  </a:lnTo>
                  <a:lnTo>
                    <a:pt x="1123" y="1855"/>
                  </a:lnTo>
                  <a:lnTo>
                    <a:pt x="1133" y="1838"/>
                  </a:lnTo>
                  <a:lnTo>
                    <a:pt x="1132" y="1838"/>
                  </a:lnTo>
                  <a:lnTo>
                    <a:pt x="1129" y="1833"/>
                  </a:lnTo>
                  <a:lnTo>
                    <a:pt x="1123" y="1820"/>
                  </a:lnTo>
                  <a:lnTo>
                    <a:pt x="1120" y="1818"/>
                  </a:lnTo>
                  <a:lnTo>
                    <a:pt x="1119" y="1817"/>
                  </a:lnTo>
                  <a:lnTo>
                    <a:pt x="1116" y="1813"/>
                  </a:lnTo>
                  <a:lnTo>
                    <a:pt x="1112" y="1811"/>
                  </a:lnTo>
                  <a:lnTo>
                    <a:pt x="1111" y="1809"/>
                  </a:lnTo>
                  <a:lnTo>
                    <a:pt x="1110" y="1807"/>
                  </a:lnTo>
                  <a:lnTo>
                    <a:pt x="1110" y="1807"/>
                  </a:lnTo>
                  <a:lnTo>
                    <a:pt x="1110" y="1804"/>
                  </a:lnTo>
                  <a:lnTo>
                    <a:pt x="1107" y="1799"/>
                  </a:lnTo>
                  <a:lnTo>
                    <a:pt x="1096" y="1787"/>
                  </a:lnTo>
                  <a:lnTo>
                    <a:pt x="1095" y="1785"/>
                  </a:lnTo>
                  <a:lnTo>
                    <a:pt x="1093" y="1782"/>
                  </a:lnTo>
                  <a:lnTo>
                    <a:pt x="1092" y="1779"/>
                  </a:lnTo>
                  <a:lnTo>
                    <a:pt x="1093" y="1775"/>
                  </a:lnTo>
                  <a:lnTo>
                    <a:pt x="1094" y="1774"/>
                  </a:lnTo>
                  <a:lnTo>
                    <a:pt x="1095" y="1774"/>
                  </a:lnTo>
                  <a:lnTo>
                    <a:pt x="1096" y="1774"/>
                  </a:lnTo>
                  <a:lnTo>
                    <a:pt x="1097" y="1773"/>
                  </a:lnTo>
                  <a:lnTo>
                    <a:pt x="1099" y="1769"/>
                  </a:lnTo>
                  <a:lnTo>
                    <a:pt x="1100" y="1769"/>
                  </a:lnTo>
                  <a:lnTo>
                    <a:pt x="1106" y="1764"/>
                  </a:lnTo>
                  <a:lnTo>
                    <a:pt x="1108" y="1762"/>
                  </a:lnTo>
                  <a:lnTo>
                    <a:pt x="1111" y="1757"/>
                  </a:lnTo>
                  <a:lnTo>
                    <a:pt x="1112" y="1756"/>
                  </a:lnTo>
                  <a:lnTo>
                    <a:pt x="1115" y="1754"/>
                  </a:lnTo>
                  <a:lnTo>
                    <a:pt x="1124" y="1753"/>
                  </a:lnTo>
                  <a:lnTo>
                    <a:pt x="1123" y="1752"/>
                  </a:lnTo>
                  <a:lnTo>
                    <a:pt x="1126" y="1750"/>
                  </a:lnTo>
                  <a:lnTo>
                    <a:pt x="1131" y="1747"/>
                  </a:lnTo>
                  <a:lnTo>
                    <a:pt x="1137" y="1742"/>
                  </a:lnTo>
                  <a:lnTo>
                    <a:pt x="1139" y="1740"/>
                  </a:lnTo>
                  <a:lnTo>
                    <a:pt x="1156" y="1733"/>
                  </a:lnTo>
                  <a:lnTo>
                    <a:pt x="1178" y="1730"/>
                  </a:lnTo>
                  <a:lnTo>
                    <a:pt x="1183" y="1726"/>
                  </a:lnTo>
                  <a:lnTo>
                    <a:pt x="1198" y="1713"/>
                  </a:lnTo>
                  <a:lnTo>
                    <a:pt x="1201" y="1709"/>
                  </a:lnTo>
                  <a:lnTo>
                    <a:pt x="1202" y="1704"/>
                  </a:lnTo>
                  <a:lnTo>
                    <a:pt x="1202" y="1703"/>
                  </a:lnTo>
                  <a:lnTo>
                    <a:pt x="1203" y="1702"/>
                  </a:lnTo>
                  <a:lnTo>
                    <a:pt x="1203" y="1700"/>
                  </a:lnTo>
                  <a:lnTo>
                    <a:pt x="1204" y="1698"/>
                  </a:lnTo>
                  <a:lnTo>
                    <a:pt x="1203" y="1691"/>
                  </a:lnTo>
                  <a:lnTo>
                    <a:pt x="1204" y="1689"/>
                  </a:lnTo>
                  <a:lnTo>
                    <a:pt x="1204" y="1686"/>
                  </a:lnTo>
                  <a:lnTo>
                    <a:pt x="1207" y="1682"/>
                  </a:lnTo>
                  <a:lnTo>
                    <a:pt x="1207" y="1680"/>
                  </a:lnTo>
                  <a:lnTo>
                    <a:pt x="1207" y="1677"/>
                  </a:lnTo>
                  <a:lnTo>
                    <a:pt x="1205" y="1675"/>
                  </a:lnTo>
                  <a:lnTo>
                    <a:pt x="1205" y="1671"/>
                  </a:lnTo>
                  <a:lnTo>
                    <a:pt x="1204" y="1670"/>
                  </a:lnTo>
                  <a:lnTo>
                    <a:pt x="1204" y="1669"/>
                  </a:lnTo>
                  <a:lnTo>
                    <a:pt x="1205" y="1667"/>
                  </a:lnTo>
                  <a:lnTo>
                    <a:pt x="1206" y="1666"/>
                  </a:lnTo>
                  <a:lnTo>
                    <a:pt x="1212" y="1664"/>
                  </a:lnTo>
                  <a:lnTo>
                    <a:pt x="1217" y="1663"/>
                  </a:lnTo>
                  <a:lnTo>
                    <a:pt x="1233" y="1668"/>
                  </a:lnTo>
                  <a:lnTo>
                    <a:pt x="1236" y="1669"/>
                  </a:lnTo>
                  <a:lnTo>
                    <a:pt x="1239" y="1671"/>
                  </a:lnTo>
                  <a:lnTo>
                    <a:pt x="1241" y="1675"/>
                  </a:lnTo>
                  <a:lnTo>
                    <a:pt x="1247" y="1678"/>
                  </a:lnTo>
                  <a:lnTo>
                    <a:pt x="1248" y="1678"/>
                  </a:lnTo>
                  <a:lnTo>
                    <a:pt x="1249" y="1672"/>
                  </a:lnTo>
                  <a:lnTo>
                    <a:pt x="1251" y="1669"/>
                  </a:lnTo>
                  <a:lnTo>
                    <a:pt x="1251" y="1669"/>
                  </a:lnTo>
                  <a:lnTo>
                    <a:pt x="1255" y="1669"/>
                  </a:lnTo>
                  <a:lnTo>
                    <a:pt x="1256" y="1668"/>
                  </a:lnTo>
                  <a:lnTo>
                    <a:pt x="1257" y="1667"/>
                  </a:lnTo>
                  <a:lnTo>
                    <a:pt x="1258" y="1666"/>
                  </a:lnTo>
                  <a:lnTo>
                    <a:pt x="1261" y="1660"/>
                  </a:lnTo>
                  <a:lnTo>
                    <a:pt x="1261" y="1657"/>
                  </a:lnTo>
                  <a:lnTo>
                    <a:pt x="1262" y="1653"/>
                  </a:lnTo>
                  <a:lnTo>
                    <a:pt x="1262" y="1649"/>
                  </a:lnTo>
                  <a:lnTo>
                    <a:pt x="1261" y="1642"/>
                  </a:lnTo>
                  <a:lnTo>
                    <a:pt x="1262" y="1639"/>
                  </a:lnTo>
                  <a:lnTo>
                    <a:pt x="1264" y="1637"/>
                  </a:lnTo>
                  <a:lnTo>
                    <a:pt x="1262" y="1636"/>
                  </a:lnTo>
                  <a:lnTo>
                    <a:pt x="1261" y="1635"/>
                  </a:lnTo>
                  <a:lnTo>
                    <a:pt x="1259" y="1632"/>
                  </a:lnTo>
                  <a:lnTo>
                    <a:pt x="1259" y="1632"/>
                  </a:lnTo>
                  <a:lnTo>
                    <a:pt x="1259" y="1630"/>
                  </a:lnTo>
                  <a:lnTo>
                    <a:pt x="1264" y="1620"/>
                  </a:lnTo>
                  <a:lnTo>
                    <a:pt x="1261" y="1617"/>
                  </a:lnTo>
                  <a:lnTo>
                    <a:pt x="1253" y="1601"/>
                  </a:lnTo>
                  <a:lnTo>
                    <a:pt x="1249" y="1595"/>
                  </a:lnTo>
                  <a:lnTo>
                    <a:pt x="1247" y="1594"/>
                  </a:lnTo>
                  <a:lnTo>
                    <a:pt x="1241" y="1593"/>
                  </a:lnTo>
                  <a:lnTo>
                    <a:pt x="1238" y="1592"/>
                  </a:lnTo>
                  <a:lnTo>
                    <a:pt x="1235" y="1589"/>
                  </a:lnTo>
                  <a:lnTo>
                    <a:pt x="1233" y="1585"/>
                  </a:lnTo>
                  <a:lnTo>
                    <a:pt x="1231" y="1581"/>
                  </a:lnTo>
                  <a:lnTo>
                    <a:pt x="1231" y="1577"/>
                  </a:lnTo>
                  <a:lnTo>
                    <a:pt x="1228" y="1577"/>
                  </a:lnTo>
                  <a:lnTo>
                    <a:pt x="1225" y="1575"/>
                  </a:lnTo>
                  <a:lnTo>
                    <a:pt x="1222" y="1573"/>
                  </a:lnTo>
                  <a:lnTo>
                    <a:pt x="1220" y="1571"/>
                  </a:lnTo>
                  <a:lnTo>
                    <a:pt x="1217" y="1571"/>
                  </a:lnTo>
                  <a:lnTo>
                    <a:pt x="1216" y="1571"/>
                  </a:lnTo>
                  <a:lnTo>
                    <a:pt x="1214" y="1572"/>
                  </a:lnTo>
                  <a:lnTo>
                    <a:pt x="1212" y="1574"/>
                  </a:lnTo>
                  <a:lnTo>
                    <a:pt x="1211" y="1579"/>
                  </a:lnTo>
                  <a:lnTo>
                    <a:pt x="1207" y="1577"/>
                  </a:lnTo>
                  <a:lnTo>
                    <a:pt x="1202" y="1573"/>
                  </a:lnTo>
                  <a:lnTo>
                    <a:pt x="1198" y="1569"/>
                  </a:lnTo>
                  <a:lnTo>
                    <a:pt x="1195" y="1565"/>
                  </a:lnTo>
                  <a:lnTo>
                    <a:pt x="1195" y="1559"/>
                  </a:lnTo>
                  <a:lnTo>
                    <a:pt x="1193" y="1554"/>
                  </a:lnTo>
                  <a:lnTo>
                    <a:pt x="1187" y="1547"/>
                  </a:lnTo>
                  <a:lnTo>
                    <a:pt x="1182" y="1541"/>
                  </a:lnTo>
                  <a:lnTo>
                    <a:pt x="1180" y="1539"/>
                  </a:lnTo>
                  <a:lnTo>
                    <a:pt x="1177" y="1538"/>
                  </a:lnTo>
                  <a:lnTo>
                    <a:pt x="1167" y="1538"/>
                  </a:lnTo>
                  <a:lnTo>
                    <a:pt x="1163" y="1535"/>
                  </a:lnTo>
                  <a:lnTo>
                    <a:pt x="1160" y="1531"/>
                  </a:lnTo>
                  <a:lnTo>
                    <a:pt x="1158" y="1526"/>
                  </a:lnTo>
                  <a:lnTo>
                    <a:pt x="1143" y="1506"/>
                  </a:lnTo>
                  <a:lnTo>
                    <a:pt x="1141" y="1505"/>
                  </a:lnTo>
                  <a:lnTo>
                    <a:pt x="1141" y="1505"/>
                  </a:lnTo>
                  <a:lnTo>
                    <a:pt x="1141" y="1505"/>
                  </a:lnTo>
                  <a:lnTo>
                    <a:pt x="1136" y="1499"/>
                  </a:lnTo>
                  <a:lnTo>
                    <a:pt x="1135" y="1496"/>
                  </a:lnTo>
                  <a:lnTo>
                    <a:pt x="1135" y="1494"/>
                  </a:lnTo>
                  <a:lnTo>
                    <a:pt x="1134" y="1492"/>
                  </a:lnTo>
                  <a:lnTo>
                    <a:pt x="1131" y="1491"/>
                  </a:lnTo>
                  <a:lnTo>
                    <a:pt x="1127" y="1486"/>
                  </a:lnTo>
                  <a:lnTo>
                    <a:pt x="1124" y="1485"/>
                  </a:lnTo>
                  <a:lnTo>
                    <a:pt x="1122" y="1483"/>
                  </a:lnTo>
                  <a:lnTo>
                    <a:pt x="1116" y="1481"/>
                  </a:lnTo>
                  <a:lnTo>
                    <a:pt x="1114" y="1482"/>
                  </a:lnTo>
                  <a:lnTo>
                    <a:pt x="1115" y="1485"/>
                  </a:lnTo>
                  <a:lnTo>
                    <a:pt x="1111" y="1486"/>
                  </a:lnTo>
                  <a:lnTo>
                    <a:pt x="1102" y="1484"/>
                  </a:lnTo>
                  <a:lnTo>
                    <a:pt x="1099" y="1483"/>
                  </a:lnTo>
                  <a:lnTo>
                    <a:pt x="1096" y="1481"/>
                  </a:lnTo>
                  <a:lnTo>
                    <a:pt x="1091" y="1469"/>
                  </a:lnTo>
                  <a:lnTo>
                    <a:pt x="1088" y="1466"/>
                  </a:lnTo>
                  <a:lnTo>
                    <a:pt x="1081" y="1462"/>
                  </a:lnTo>
                  <a:lnTo>
                    <a:pt x="1078" y="1460"/>
                  </a:lnTo>
                  <a:lnTo>
                    <a:pt x="1076" y="1456"/>
                  </a:lnTo>
                  <a:lnTo>
                    <a:pt x="1075" y="1452"/>
                  </a:lnTo>
                  <a:lnTo>
                    <a:pt x="1075" y="1444"/>
                  </a:lnTo>
                  <a:lnTo>
                    <a:pt x="1074" y="1440"/>
                  </a:lnTo>
                  <a:lnTo>
                    <a:pt x="1073" y="1439"/>
                  </a:lnTo>
                  <a:lnTo>
                    <a:pt x="1071" y="1439"/>
                  </a:lnTo>
                  <a:lnTo>
                    <a:pt x="1070" y="1439"/>
                  </a:lnTo>
                  <a:lnTo>
                    <a:pt x="1068" y="1437"/>
                  </a:lnTo>
                  <a:lnTo>
                    <a:pt x="1067" y="1435"/>
                  </a:lnTo>
                  <a:lnTo>
                    <a:pt x="1066" y="1433"/>
                  </a:lnTo>
                  <a:lnTo>
                    <a:pt x="1065" y="1430"/>
                  </a:lnTo>
                  <a:lnTo>
                    <a:pt x="1064" y="1427"/>
                  </a:lnTo>
                  <a:lnTo>
                    <a:pt x="1063" y="1422"/>
                  </a:lnTo>
                  <a:lnTo>
                    <a:pt x="1062" y="1419"/>
                  </a:lnTo>
                  <a:lnTo>
                    <a:pt x="1061" y="1417"/>
                  </a:lnTo>
                  <a:lnTo>
                    <a:pt x="1057" y="1415"/>
                  </a:lnTo>
                  <a:lnTo>
                    <a:pt x="1055" y="1413"/>
                  </a:lnTo>
                  <a:lnTo>
                    <a:pt x="1055" y="1412"/>
                  </a:lnTo>
                  <a:lnTo>
                    <a:pt x="1056" y="1411"/>
                  </a:lnTo>
                  <a:lnTo>
                    <a:pt x="1055" y="1410"/>
                  </a:lnTo>
                  <a:lnTo>
                    <a:pt x="1054" y="1410"/>
                  </a:lnTo>
                  <a:lnTo>
                    <a:pt x="1056" y="1407"/>
                  </a:lnTo>
                  <a:lnTo>
                    <a:pt x="1056" y="1403"/>
                  </a:lnTo>
                  <a:lnTo>
                    <a:pt x="1054" y="1401"/>
                  </a:lnTo>
                  <a:lnTo>
                    <a:pt x="1052" y="1400"/>
                  </a:lnTo>
                  <a:lnTo>
                    <a:pt x="1047" y="1397"/>
                  </a:lnTo>
                  <a:lnTo>
                    <a:pt x="1044" y="1395"/>
                  </a:lnTo>
                  <a:lnTo>
                    <a:pt x="1042" y="1393"/>
                  </a:lnTo>
                  <a:lnTo>
                    <a:pt x="1039" y="1389"/>
                  </a:lnTo>
                  <a:lnTo>
                    <a:pt x="1037" y="1386"/>
                  </a:lnTo>
                  <a:lnTo>
                    <a:pt x="1036" y="1383"/>
                  </a:lnTo>
                  <a:lnTo>
                    <a:pt x="1038" y="1379"/>
                  </a:lnTo>
                  <a:lnTo>
                    <a:pt x="1045" y="1377"/>
                  </a:lnTo>
                  <a:lnTo>
                    <a:pt x="1047" y="1374"/>
                  </a:lnTo>
                  <a:lnTo>
                    <a:pt x="1048" y="1370"/>
                  </a:lnTo>
                  <a:lnTo>
                    <a:pt x="1048" y="1365"/>
                  </a:lnTo>
                  <a:lnTo>
                    <a:pt x="1049" y="1361"/>
                  </a:lnTo>
                  <a:lnTo>
                    <a:pt x="1052" y="1362"/>
                  </a:lnTo>
                  <a:lnTo>
                    <a:pt x="1053" y="1359"/>
                  </a:lnTo>
                  <a:lnTo>
                    <a:pt x="1057" y="1352"/>
                  </a:lnTo>
                  <a:lnTo>
                    <a:pt x="1058" y="1348"/>
                  </a:lnTo>
                  <a:lnTo>
                    <a:pt x="1059" y="1343"/>
                  </a:lnTo>
                  <a:lnTo>
                    <a:pt x="1058" y="1341"/>
                  </a:lnTo>
                  <a:lnTo>
                    <a:pt x="1056" y="1340"/>
                  </a:lnTo>
                  <a:lnTo>
                    <a:pt x="1049" y="1337"/>
                  </a:lnTo>
                  <a:lnTo>
                    <a:pt x="1049" y="1334"/>
                  </a:lnTo>
                  <a:lnTo>
                    <a:pt x="1050" y="1331"/>
                  </a:lnTo>
                  <a:lnTo>
                    <a:pt x="1050" y="1327"/>
                  </a:lnTo>
                  <a:lnTo>
                    <a:pt x="1047" y="1324"/>
                  </a:lnTo>
                  <a:lnTo>
                    <a:pt x="1041" y="1324"/>
                  </a:lnTo>
                  <a:lnTo>
                    <a:pt x="1039" y="1322"/>
                  </a:lnTo>
                  <a:lnTo>
                    <a:pt x="1039" y="1322"/>
                  </a:lnTo>
                  <a:lnTo>
                    <a:pt x="1015" y="1309"/>
                  </a:lnTo>
                  <a:lnTo>
                    <a:pt x="1014" y="1307"/>
                  </a:lnTo>
                  <a:lnTo>
                    <a:pt x="1014" y="1305"/>
                  </a:lnTo>
                  <a:lnTo>
                    <a:pt x="1014" y="1302"/>
                  </a:lnTo>
                  <a:lnTo>
                    <a:pt x="1012" y="1300"/>
                  </a:lnTo>
                  <a:lnTo>
                    <a:pt x="1010" y="1298"/>
                  </a:lnTo>
                  <a:lnTo>
                    <a:pt x="1007" y="1296"/>
                  </a:lnTo>
                  <a:lnTo>
                    <a:pt x="1005" y="1295"/>
                  </a:lnTo>
                  <a:lnTo>
                    <a:pt x="1004" y="1291"/>
                  </a:lnTo>
                  <a:lnTo>
                    <a:pt x="1004" y="1287"/>
                  </a:lnTo>
                  <a:lnTo>
                    <a:pt x="1005" y="1281"/>
                  </a:lnTo>
                  <a:lnTo>
                    <a:pt x="1004" y="1278"/>
                  </a:lnTo>
                  <a:lnTo>
                    <a:pt x="1003" y="1275"/>
                  </a:lnTo>
                  <a:lnTo>
                    <a:pt x="1002" y="1272"/>
                  </a:lnTo>
                  <a:lnTo>
                    <a:pt x="997" y="1268"/>
                  </a:lnTo>
                  <a:lnTo>
                    <a:pt x="990" y="1263"/>
                  </a:lnTo>
                  <a:lnTo>
                    <a:pt x="988" y="1260"/>
                  </a:lnTo>
                  <a:lnTo>
                    <a:pt x="990" y="1257"/>
                  </a:lnTo>
                  <a:lnTo>
                    <a:pt x="992" y="1256"/>
                  </a:lnTo>
                  <a:lnTo>
                    <a:pt x="993" y="1255"/>
                  </a:lnTo>
                  <a:lnTo>
                    <a:pt x="993" y="1251"/>
                  </a:lnTo>
                  <a:lnTo>
                    <a:pt x="992" y="1248"/>
                  </a:lnTo>
                  <a:lnTo>
                    <a:pt x="991" y="1246"/>
                  </a:lnTo>
                  <a:lnTo>
                    <a:pt x="988" y="1242"/>
                  </a:lnTo>
                  <a:lnTo>
                    <a:pt x="992" y="1242"/>
                  </a:lnTo>
                  <a:lnTo>
                    <a:pt x="999" y="1243"/>
                  </a:lnTo>
                  <a:lnTo>
                    <a:pt x="1002" y="1245"/>
                  </a:lnTo>
                  <a:lnTo>
                    <a:pt x="1003" y="1247"/>
                  </a:lnTo>
                  <a:lnTo>
                    <a:pt x="1003" y="1251"/>
                  </a:lnTo>
                  <a:lnTo>
                    <a:pt x="1004" y="1253"/>
                  </a:lnTo>
                  <a:lnTo>
                    <a:pt x="1006" y="1255"/>
                  </a:lnTo>
                  <a:lnTo>
                    <a:pt x="1008" y="1256"/>
                  </a:lnTo>
                  <a:lnTo>
                    <a:pt x="1012" y="1256"/>
                  </a:lnTo>
                  <a:lnTo>
                    <a:pt x="1013" y="1256"/>
                  </a:lnTo>
                  <a:lnTo>
                    <a:pt x="1014" y="1257"/>
                  </a:lnTo>
                  <a:lnTo>
                    <a:pt x="1014" y="1258"/>
                  </a:lnTo>
                  <a:lnTo>
                    <a:pt x="1013" y="1260"/>
                  </a:lnTo>
                  <a:lnTo>
                    <a:pt x="1013" y="1260"/>
                  </a:lnTo>
                  <a:lnTo>
                    <a:pt x="1013" y="1260"/>
                  </a:lnTo>
                  <a:lnTo>
                    <a:pt x="1012" y="1260"/>
                  </a:lnTo>
                  <a:lnTo>
                    <a:pt x="1012" y="1260"/>
                  </a:lnTo>
                  <a:lnTo>
                    <a:pt x="1012" y="1261"/>
                  </a:lnTo>
                  <a:lnTo>
                    <a:pt x="1012" y="1261"/>
                  </a:lnTo>
                  <a:lnTo>
                    <a:pt x="1012" y="1262"/>
                  </a:lnTo>
                  <a:lnTo>
                    <a:pt x="1012" y="1262"/>
                  </a:lnTo>
                  <a:lnTo>
                    <a:pt x="1015" y="1265"/>
                  </a:lnTo>
                  <a:lnTo>
                    <a:pt x="1016" y="1266"/>
                  </a:lnTo>
                  <a:lnTo>
                    <a:pt x="1017" y="1268"/>
                  </a:lnTo>
                  <a:lnTo>
                    <a:pt x="1017" y="1269"/>
                  </a:lnTo>
                  <a:lnTo>
                    <a:pt x="1017" y="1271"/>
                  </a:lnTo>
                  <a:lnTo>
                    <a:pt x="1019" y="1277"/>
                  </a:lnTo>
                  <a:lnTo>
                    <a:pt x="1020" y="1280"/>
                  </a:lnTo>
                  <a:lnTo>
                    <a:pt x="1023" y="1280"/>
                  </a:lnTo>
                  <a:lnTo>
                    <a:pt x="1025" y="1279"/>
                  </a:lnTo>
                  <a:lnTo>
                    <a:pt x="1025" y="1276"/>
                  </a:lnTo>
                  <a:lnTo>
                    <a:pt x="1024" y="1274"/>
                  </a:lnTo>
                  <a:lnTo>
                    <a:pt x="1024" y="1271"/>
                  </a:lnTo>
                  <a:lnTo>
                    <a:pt x="1024" y="1266"/>
                  </a:lnTo>
                  <a:lnTo>
                    <a:pt x="1025" y="1264"/>
                  </a:lnTo>
                  <a:lnTo>
                    <a:pt x="1028" y="1260"/>
                  </a:lnTo>
                  <a:lnTo>
                    <a:pt x="1029" y="1256"/>
                  </a:lnTo>
                  <a:lnTo>
                    <a:pt x="1030" y="1254"/>
                  </a:lnTo>
                  <a:lnTo>
                    <a:pt x="1032" y="1253"/>
                  </a:lnTo>
                  <a:lnTo>
                    <a:pt x="1034" y="1251"/>
                  </a:lnTo>
                  <a:lnTo>
                    <a:pt x="1039" y="1242"/>
                  </a:lnTo>
                  <a:lnTo>
                    <a:pt x="1040" y="1240"/>
                  </a:lnTo>
                  <a:lnTo>
                    <a:pt x="1045" y="1238"/>
                  </a:lnTo>
                  <a:lnTo>
                    <a:pt x="1047" y="1236"/>
                  </a:lnTo>
                  <a:lnTo>
                    <a:pt x="1047" y="1236"/>
                  </a:lnTo>
                  <a:lnTo>
                    <a:pt x="1049" y="1236"/>
                  </a:lnTo>
                  <a:lnTo>
                    <a:pt x="1050" y="1235"/>
                  </a:lnTo>
                  <a:lnTo>
                    <a:pt x="1050" y="1234"/>
                  </a:lnTo>
                  <a:lnTo>
                    <a:pt x="1050" y="1233"/>
                  </a:lnTo>
                  <a:lnTo>
                    <a:pt x="1050" y="1232"/>
                  </a:lnTo>
                  <a:lnTo>
                    <a:pt x="1050" y="1232"/>
                  </a:lnTo>
                  <a:lnTo>
                    <a:pt x="1050" y="1231"/>
                  </a:lnTo>
                  <a:lnTo>
                    <a:pt x="1050" y="1230"/>
                  </a:lnTo>
                  <a:lnTo>
                    <a:pt x="1051" y="1228"/>
                  </a:lnTo>
                  <a:lnTo>
                    <a:pt x="1052" y="1227"/>
                  </a:lnTo>
                  <a:lnTo>
                    <a:pt x="1056" y="1224"/>
                  </a:lnTo>
                  <a:lnTo>
                    <a:pt x="1063" y="1222"/>
                  </a:lnTo>
                  <a:lnTo>
                    <a:pt x="1075" y="1221"/>
                  </a:lnTo>
                  <a:lnTo>
                    <a:pt x="1083" y="1222"/>
                  </a:lnTo>
                  <a:lnTo>
                    <a:pt x="1085" y="1222"/>
                  </a:lnTo>
                  <a:lnTo>
                    <a:pt x="1087" y="1221"/>
                  </a:lnTo>
                  <a:lnTo>
                    <a:pt x="1090" y="1215"/>
                  </a:lnTo>
                  <a:lnTo>
                    <a:pt x="1093" y="1213"/>
                  </a:lnTo>
                  <a:lnTo>
                    <a:pt x="1095" y="1212"/>
                  </a:lnTo>
                  <a:lnTo>
                    <a:pt x="1098" y="1212"/>
                  </a:lnTo>
                  <a:lnTo>
                    <a:pt x="1100" y="1212"/>
                  </a:lnTo>
                  <a:lnTo>
                    <a:pt x="1101" y="1212"/>
                  </a:lnTo>
                  <a:lnTo>
                    <a:pt x="1104" y="1211"/>
                  </a:lnTo>
                  <a:lnTo>
                    <a:pt x="1105" y="1210"/>
                  </a:lnTo>
                  <a:lnTo>
                    <a:pt x="1106" y="1211"/>
                  </a:lnTo>
                  <a:lnTo>
                    <a:pt x="1121" y="1220"/>
                  </a:lnTo>
                  <a:lnTo>
                    <a:pt x="1127" y="1220"/>
                  </a:lnTo>
                  <a:lnTo>
                    <a:pt x="1128" y="1219"/>
                  </a:lnTo>
                  <a:lnTo>
                    <a:pt x="1131" y="1215"/>
                  </a:lnTo>
                  <a:lnTo>
                    <a:pt x="1134" y="1212"/>
                  </a:lnTo>
                  <a:lnTo>
                    <a:pt x="1135" y="1208"/>
                  </a:lnTo>
                  <a:lnTo>
                    <a:pt x="1136" y="1198"/>
                  </a:lnTo>
                  <a:lnTo>
                    <a:pt x="1137" y="1197"/>
                  </a:lnTo>
                  <a:lnTo>
                    <a:pt x="1138" y="1197"/>
                  </a:lnTo>
                  <a:lnTo>
                    <a:pt x="1140" y="1197"/>
                  </a:lnTo>
                  <a:lnTo>
                    <a:pt x="1141" y="1198"/>
                  </a:lnTo>
                  <a:lnTo>
                    <a:pt x="1142" y="1198"/>
                  </a:lnTo>
                  <a:lnTo>
                    <a:pt x="1144" y="1198"/>
                  </a:lnTo>
                  <a:lnTo>
                    <a:pt x="1145" y="1198"/>
                  </a:lnTo>
                  <a:lnTo>
                    <a:pt x="1147" y="1198"/>
                  </a:lnTo>
                  <a:lnTo>
                    <a:pt x="1147" y="1198"/>
                  </a:lnTo>
                  <a:lnTo>
                    <a:pt x="1147" y="1198"/>
                  </a:lnTo>
                  <a:lnTo>
                    <a:pt x="1151" y="1196"/>
                  </a:lnTo>
                  <a:lnTo>
                    <a:pt x="1159" y="1197"/>
                  </a:lnTo>
                  <a:lnTo>
                    <a:pt x="1163" y="1194"/>
                  </a:lnTo>
                  <a:lnTo>
                    <a:pt x="1166" y="1190"/>
                  </a:lnTo>
                  <a:lnTo>
                    <a:pt x="1171" y="1176"/>
                  </a:lnTo>
                  <a:lnTo>
                    <a:pt x="1174" y="1176"/>
                  </a:lnTo>
                  <a:lnTo>
                    <a:pt x="1177" y="1178"/>
                  </a:lnTo>
                  <a:lnTo>
                    <a:pt x="1179" y="1179"/>
                  </a:lnTo>
                  <a:lnTo>
                    <a:pt x="1183" y="1177"/>
                  </a:lnTo>
                  <a:lnTo>
                    <a:pt x="1184" y="1172"/>
                  </a:lnTo>
                  <a:lnTo>
                    <a:pt x="1185" y="1171"/>
                  </a:lnTo>
                  <a:lnTo>
                    <a:pt x="1191" y="1166"/>
                  </a:lnTo>
                  <a:lnTo>
                    <a:pt x="1192" y="1165"/>
                  </a:lnTo>
                  <a:lnTo>
                    <a:pt x="1192" y="1164"/>
                  </a:lnTo>
                  <a:lnTo>
                    <a:pt x="1193" y="1164"/>
                  </a:lnTo>
                  <a:lnTo>
                    <a:pt x="1195" y="1165"/>
                  </a:lnTo>
                  <a:lnTo>
                    <a:pt x="1196" y="1166"/>
                  </a:lnTo>
                  <a:lnTo>
                    <a:pt x="1198" y="1169"/>
                  </a:lnTo>
                  <a:lnTo>
                    <a:pt x="1199" y="1171"/>
                  </a:lnTo>
                  <a:lnTo>
                    <a:pt x="1202" y="1173"/>
                  </a:lnTo>
                  <a:lnTo>
                    <a:pt x="1205" y="1172"/>
                  </a:lnTo>
                  <a:lnTo>
                    <a:pt x="1208" y="1169"/>
                  </a:lnTo>
                  <a:lnTo>
                    <a:pt x="1211" y="1166"/>
                  </a:lnTo>
                  <a:lnTo>
                    <a:pt x="1212" y="1165"/>
                  </a:lnTo>
                  <a:lnTo>
                    <a:pt x="1213" y="1164"/>
                  </a:lnTo>
                  <a:lnTo>
                    <a:pt x="1213" y="1162"/>
                  </a:lnTo>
                  <a:lnTo>
                    <a:pt x="1212" y="1160"/>
                  </a:lnTo>
                  <a:lnTo>
                    <a:pt x="1215" y="1158"/>
                  </a:lnTo>
                  <a:lnTo>
                    <a:pt x="1217" y="1156"/>
                  </a:lnTo>
                  <a:lnTo>
                    <a:pt x="1218" y="1152"/>
                  </a:lnTo>
                  <a:lnTo>
                    <a:pt x="1216" y="1148"/>
                  </a:lnTo>
                  <a:lnTo>
                    <a:pt x="1222" y="1144"/>
                  </a:lnTo>
                  <a:lnTo>
                    <a:pt x="1230" y="1143"/>
                  </a:lnTo>
                  <a:lnTo>
                    <a:pt x="1244" y="1143"/>
                  </a:lnTo>
                  <a:lnTo>
                    <a:pt x="1247" y="1143"/>
                  </a:lnTo>
                  <a:lnTo>
                    <a:pt x="1253" y="1140"/>
                  </a:lnTo>
                  <a:lnTo>
                    <a:pt x="1256" y="1140"/>
                  </a:lnTo>
                  <a:lnTo>
                    <a:pt x="1264" y="1141"/>
                  </a:lnTo>
                  <a:lnTo>
                    <a:pt x="1267" y="1140"/>
                  </a:lnTo>
                  <a:lnTo>
                    <a:pt x="1271" y="1137"/>
                  </a:lnTo>
                  <a:lnTo>
                    <a:pt x="1272" y="1137"/>
                  </a:lnTo>
                  <a:lnTo>
                    <a:pt x="1273" y="1137"/>
                  </a:lnTo>
                  <a:lnTo>
                    <a:pt x="1274" y="1135"/>
                  </a:lnTo>
                  <a:lnTo>
                    <a:pt x="1274" y="1134"/>
                  </a:lnTo>
                  <a:lnTo>
                    <a:pt x="1274" y="1132"/>
                  </a:lnTo>
                  <a:lnTo>
                    <a:pt x="1274" y="1130"/>
                  </a:lnTo>
                  <a:lnTo>
                    <a:pt x="1274" y="1128"/>
                  </a:lnTo>
                  <a:lnTo>
                    <a:pt x="1276" y="1126"/>
                  </a:lnTo>
                  <a:lnTo>
                    <a:pt x="1277" y="1126"/>
                  </a:lnTo>
                  <a:lnTo>
                    <a:pt x="1279" y="1126"/>
                  </a:lnTo>
                  <a:lnTo>
                    <a:pt x="1281" y="1126"/>
                  </a:lnTo>
                  <a:lnTo>
                    <a:pt x="1282" y="1125"/>
                  </a:lnTo>
                  <a:lnTo>
                    <a:pt x="1285" y="1122"/>
                  </a:lnTo>
                  <a:lnTo>
                    <a:pt x="1286" y="1121"/>
                  </a:lnTo>
                  <a:lnTo>
                    <a:pt x="1290" y="1120"/>
                  </a:lnTo>
                  <a:lnTo>
                    <a:pt x="1295" y="1121"/>
                  </a:lnTo>
                  <a:lnTo>
                    <a:pt x="1298" y="1120"/>
                  </a:lnTo>
                  <a:lnTo>
                    <a:pt x="1323" y="1109"/>
                  </a:lnTo>
                  <a:lnTo>
                    <a:pt x="1325" y="1107"/>
                  </a:lnTo>
                  <a:lnTo>
                    <a:pt x="1328" y="1103"/>
                  </a:lnTo>
                  <a:lnTo>
                    <a:pt x="1330" y="1101"/>
                  </a:lnTo>
                  <a:lnTo>
                    <a:pt x="1335" y="1100"/>
                  </a:lnTo>
                  <a:lnTo>
                    <a:pt x="1348" y="1101"/>
                  </a:lnTo>
                  <a:lnTo>
                    <a:pt x="1353" y="1097"/>
                  </a:lnTo>
                  <a:lnTo>
                    <a:pt x="1354" y="1091"/>
                  </a:lnTo>
                  <a:lnTo>
                    <a:pt x="1349" y="1088"/>
                  </a:lnTo>
                  <a:lnTo>
                    <a:pt x="1344" y="1087"/>
                  </a:lnTo>
                  <a:lnTo>
                    <a:pt x="1339" y="1083"/>
                  </a:lnTo>
                  <a:lnTo>
                    <a:pt x="1339" y="1080"/>
                  </a:lnTo>
                  <a:lnTo>
                    <a:pt x="1341" y="1079"/>
                  </a:lnTo>
                  <a:lnTo>
                    <a:pt x="1341" y="1079"/>
                  </a:lnTo>
                  <a:lnTo>
                    <a:pt x="1338" y="1077"/>
                  </a:lnTo>
                  <a:lnTo>
                    <a:pt x="1333" y="1076"/>
                  </a:lnTo>
                  <a:lnTo>
                    <a:pt x="1331" y="1075"/>
                  </a:lnTo>
                  <a:lnTo>
                    <a:pt x="1333" y="1073"/>
                  </a:lnTo>
                  <a:lnTo>
                    <a:pt x="1335" y="1065"/>
                  </a:lnTo>
                  <a:lnTo>
                    <a:pt x="1339" y="1062"/>
                  </a:lnTo>
                  <a:lnTo>
                    <a:pt x="1344" y="1061"/>
                  </a:lnTo>
                  <a:lnTo>
                    <a:pt x="1349" y="1063"/>
                  </a:lnTo>
                  <a:lnTo>
                    <a:pt x="1351" y="1064"/>
                  </a:lnTo>
                  <a:lnTo>
                    <a:pt x="1352" y="1065"/>
                  </a:lnTo>
                  <a:lnTo>
                    <a:pt x="1353" y="1067"/>
                  </a:lnTo>
                  <a:lnTo>
                    <a:pt x="1354" y="1068"/>
                  </a:lnTo>
                  <a:lnTo>
                    <a:pt x="1356" y="1068"/>
                  </a:lnTo>
                  <a:lnTo>
                    <a:pt x="1360" y="1065"/>
                  </a:lnTo>
                  <a:lnTo>
                    <a:pt x="1366" y="1066"/>
                  </a:lnTo>
                  <a:lnTo>
                    <a:pt x="1368" y="1065"/>
                  </a:lnTo>
                  <a:lnTo>
                    <a:pt x="1369" y="1061"/>
                  </a:lnTo>
                  <a:lnTo>
                    <a:pt x="1370" y="1064"/>
                  </a:lnTo>
                  <a:lnTo>
                    <a:pt x="1371" y="1065"/>
                  </a:lnTo>
                  <a:lnTo>
                    <a:pt x="1371" y="1067"/>
                  </a:lnTo>
                  <a:lnTo>
                    <a:pt x="1373" y="1069"/>
                  </a:lnTo>
                  <a:lnTo>
                    <a:pt x="1375" y="1070"/>
                  </a:lnTo>
                  <a:lnTo>
                    <a:pt x="1379" y="1071"/>
                  </a:lnTo>
                  <a:lnTo>
                    <a:pt x="1381" y="1073"/>
                  </a:lnTo>
                  <a:lnTo>
                    <a:pt x="1383" y="1075"/>
                  </a:lnTo>
                  <a:lnTo>
                    <a:pt x="1384" y="1077"/>
                  </a:lnTo>
                  <a:lnTo>
                    <a:pt x="1384" y="1080"/>
                  </a:lnTo>
                  <a:lnTo>
                    <a:pt x="1384" y="1083"/>
                  </a:lnTo>
                  <a:lnTo>
                    <a:pt x="1383" y="1086"/>
                  </a:lnTo>
                  <a:lnTo>
                    <a:pt x="1381" y="1090"/>
                  </a:lnTo>
                  <a:lnTo>
                    <a:pt x="1380" y="1093"/>
                  </a:lnTo>
                  <a:lnTo>
                    <a:pt x="1382" y="1095"/>
                  </a:lnTo>
                  <a:lnTo>
                    <a:pt x="1391" y="1091"/>
                  </a:lnTo>
                  <a:lnTo>
                    <a:pt x="1393" y="1091"/>
                  </a:lnTo>
                  <a:lnTo>
                    <a:pt x="1393" y="1094"/>
                  </a:lnTo>
                  <a:lnTo>
                    <a:pt x="1393" y="1097"/>
                  </a:lnTo>
                  <a:lnTo>
                    <a:pt x="1390" y="1103"/>
                  </a:lnTo>
                  <a:lnTo>
                    <a:pt x="1389" y="1108"/>
                  </a:lnTo>
                  <a:lnTo>
                    <a:pt x="1390" y="1110"/>
                  </a:lnTo>
                  <a:lnTo>
                    <a:pt x="1396" y="1111"/>
                  </a:lnTo>
                  <a:lnTo>
                    <a:pt x="1398" y="1113"/>
                  </a:lnTo>
                  <a:lnTo>
                    <a:pt x="1404" y="1117"/>
                  </a:lnTo>
                  <a:lnTo>
                    <a:pt x="1410" y="1119"/>
                  </a:lnTo>
                  <a:lnTo>
                    <a:pt x="1413" y="1119"/>
                  </a:lnTo>
                  <a:lnTo>
                    <a:pt x="1416" y="1118"/>
                  </a:lnTo>
                  <a:lnTo>
                    <a:pt x="1418" y="1116"/>
                  </a:lnTo>
                  <a:lnTo>
                    <a:pt x="1419" y="1113"/>
                  </a:lnTo>
                  <a:lnTo>
                    <a:pt x="1422" y="1106"/>
                  </a:lnTo>
                  <a:lnTo>
                    <a:pt x="1422" y="1102"/>
                  </a:lnTo>
                  <a:lnTo>
                    <a:pt x="1424" y="1098"/>
                  </a:lnTo>
                  <a:lnTo>
                    <a:pt x="1429" y="1092"/>
                  </a:lnTo>
                  <a:lnTo>
                    <a:pt x="1437" y="1073"/>
                  </a:lnTo>
                  <a:lnTo>
                    <a:pt x="1445" y="1055"/>
                  </a:lnTo>
                  <a:lnTo>
                    <a:pt x="1445" y="1052"/>
                  </a:lnTo>
                  <a:lnTo>
                    <a:pt x="1445" y="1047"/>
                  </a:lnTo>
                  <a:lnTo>
                    <a:pt x="1445" y="1045"/>
                  </a:lnTo>
                  <a:lnTo>
                    <a:pt x="1446" y="1043"/>
                  </a:lnTo>
                  <a:lnTo>
                    <a:pt x="1447" y="1042"/>
                  </a:lnTo>
                  <a:lnTo>
                    <a:pt x="1448" y="1040"/>
                  </a:lnTo>
                  <a:lnTo>
                    <a:pt x="1449" y="1037"/>
                  </a:lnTo>
                  <a:lnTo>
                    <a:pt x="1449" y="1030"/>
                  </a:lnTo>
                  <a:lnTo>
                    <a:pt x="1450" y="1023"/>
                  </a:lnTo>
                  <a:lnTo>
                    <a:pt x="1452" y="1016"/>
                  </a:lnTo>
                  <a:lnTo>
                    <a:pt x="1455" y="1011"/>
                  </a:lnTo>
                  <a:lnTo>
                    <a:pt x="1454" y="1011"/>
                  </a:lnTo>
                  <a:close/>
                  <a:moveTo>
                    <a:pt x="386" y="88"/>
                  </a:moveTo>
                  <a:lnTo>
                    <a:pt x="387" y="88"/>
                  </a:lnTo>
                  <a:lnTo>
                    <a:pt x="387" y="84"/>
                  </a:lnTo>
                  <a:lnTo>
                    <a:pt x="388" y="79"/>
                  </a:lnTo>
                  <a:lnTo>
                    <a:pt x="387" y="64"/>
                  </a:lnTo>
                  <a:lnTo>
                    <a:pt x="388" y="63"/>
                  </a:lnTo>
                  <a:lnTo>
                    <a:pt x="388" y="57"/>
                  </a:lnTo>
                  <a:lnTo>
                    <a:pt x="388" y="55"/>
                  </a:lnTo>
                  <a:lnTo>
                    <a:pt x="389" y="54"/>
                  </a:lnTo>
                  <a:lnTo>
                    <a:pt x="394" y="51"/>
                  </a:lnTo>
                  <a:lnTo>
                    <a:pt x="395" y="51"/>
                  </a:lnTo>
                  <a:lnTo>
                    <a:pt x="396" y="51"/>
                  </a:lnTo>
                  <a:lnTo>
                    <a:pt x="398" y="51"/>
                  </a:lnTo>
                  <a:lnTo>
                    <a:pt x="399" y="54"/>
                  </a:lnTo>
                  <a:lnTo>
                    <a:pt x="400" y="54"/>
                  </a:lnTo>
                  <a:lnTo>
                    <a:pt x="411" y="54"/>
                  </a:lnTo>
                  <a:lnTo>
                    <a:pt x="414" y="53"/>
                  </a:lnTo>
                  <a:lnTo>
                    <a:pt x="418" y="50"/>
                  </a:lnTo>
                  <a:lnTo>
                    <a:pt x="421" y="49"/>
                  </a:lnTo>
                  <a:lnTo>
                    <a:pt x="440" y="50"/>
                  </a:lnTo>
                  <a:lnTo>
                    <a:pt x="445" y="47"/>
                  </a:lnTo>
                  <a:lnTo>
                    <a:pt x="410" y="48"/>
                  </a:lnTo>
                  <a:lnTo>
                    <a:pt x="402" y="47"/>
                  </a:lnTo>
                  <a:lnTo>
                    <a:pt x="397" y="42"/>
                  </a:lnTo>
                  <a:lnTo>
                    <a:pt x="398" y="32"/>
                  </a:lnTo>
                  <a:lnTo>
                    <a:pt x="396" y="27"/>
                  </a:lnTo>
                  <a:lnTo>
                    <a:pt x="398" y="21"/>
                  </a:lnTo>
                  <a:lnTo>
                    <a:pt x="401" y="17"/>
                  </a:lnTo>
                  <a:lnTo>
                    <a:pt x="407" y="13"/>
                  </a:lnTo>
                  <a:lnTo>
                    <a:pt x="409" y="9"/>
                  </a:lnTo>
                  <a:lnTo>
                    <a:pt x="407" y="6"/>
                  </a:lnTo>
                  <a:lnTo>
                    <a:pt x="403" y="5"/>
                  </a:lnTo>
                  <a:lnTo>
                    <a:pt x="404" y="4"/>
                  </a:lnTo>
                  <a:lnTo>
                    <a:pt x="414" y="4"/>
                  </a:lnTo>
                  <a:lnTo>
                    <a:pt x="406" y="0"/>
                  </a:lnTo>
                  <a:lnTo>
                    <a:pt x="400" y="8"/>
                  </a:lnTo>
                  <a:lnTo>
                    <a:pt x="388" y="42"/>
                  </a:lnTo>
                  <a:lnTo>
                    <a:pt x="386" y="48"/>
                  </a:lnTo>
                  <a:lnTo>
                    <a:pt x="385" y="77"/>
                  </a:lnTo>
                  <a:lnTo>
                    <a:pt x="385" y="84"/>
                  </a:lnTo>
                  <a:lnTo>
                    <a:pt x="386" y="88"/>
                  </a:lnTo>
                  <a:close/>
                </a:path>
              </a:pathLst>
            </a:custGeom>
            <a:pattFill prst="ltHorz">
              <a:fgClr>
                <a:schemeClr val="accent2"/>
              </a:fgClr>
              <a:bgClr>
                <a:schemeClr val="bg1"/>
              </a:bgClr>
            </a:patt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20" name="Freeform 54">
              <a:extLst>
                <a:ext uri="{FF2B5EF4-FFF2-40B4-BE49-F238E27FC236}">
                  <a16:creationId xmlns:a16="http://schemas.microsoft.com/office/drawing/2014/main" id="{7EEBA492-B58A-4C07-B95E-92B686E1519B}"/>
                </a:ext>
              </a:extLst>
            </p:cNvPr>
            <p:cNvSpPr>
              <a:spLocks/>
            </p:cNvSpPr>
            <p:nvPr/>
          </p:nvSpPr>
          <p:spPr bwMode="gray">
            <a:xfrm>
              <a:off x="8990093" y="4751430"/>
              <a:ext cx="754764" cy="385796"/>
            </a:xfrm>
            <a:custGeom>
              <a:avLst/>
              <a:gdLst>
                <a:gd name="T0" fmla="*/ 1183 w 1211"/>
                <a:gd name="T1" fmla="*/ 199 h 619"/>
                <a:gd name="T2" fmla="*/ 1171 w 1211"/>
                <a:gd name="T3" fmla="*/ 165 h 619"/>
                <a:gd name="T4" fmla="*/ 1172 w 1211"/>
                <a:gd name="T5" fmla="*/ 120 h 619"/>
                <a:gd name="T6" fmla="*/ 1134 w 1211"/>
                <a:gd name="T7" fmla="*/ 65 h 619"/>
                <a:gd name="T8" fmla="*/ 1082 w 1211"/>
                <a:gd name="T9" fmla="*/ 66 h 619"/>
                <a:gd name="T10" fmla="*/ 1006 w 1211"/>
                <a:gd name="T11" fmla="*/ 39 h 619"/>
                <a:gd name="T12" fmla="*/ 926 w 1211"/>
                <a:gd name="T13" fmla="*/ 10 h 619"/>
                <a:gd name="T14" fmla="*/ 879 w 1211"/>
                <a:gd name="T15" fmla="*/ 3 h 619"/>
                <a:gd name="T16" fmla="*/ 860 w 1211"/>
                <a:gd name="T17" fmla="*/ 60 h 619"/>
                <a:gd name="T18" fmla="*/ 813 w 1211"/>
                <a:gd name="T19" fmla="*/ 100 h 619"/>
                <a:gd name="T20" fmla="*/ 767 w 1211"/>
                <a:gd name="T21" fmla="*/ 105 h 619"/>
                <a:gd name="T22" fmla="*/ 716 w 1211"/>
                <a:gd name="T23" fmla="*/ 82 h 619"/>
                <a:gd name="T24" fmla="*/ 680 w 1211"/>
                <a:gd name="T25" fmla="*/ 78 h 619"/>
                <a:gd name="T26" fmla="*/ 651 w 1211"/>
                <a:gd name="T27" fmla="*/ 107 h 619"/>
                <a:gd name="T28" fmla="*/ 620 w 1211"/>
                <a:gd name="T29" fmla="*/ 142 h 619"/>
                <a:gd name="T30" fmla="*/ 518 w 1211"/>
                <a:gd name="T31" fmla="*/ 208 h 619"/>
                <a:gd name="T32" fmla="*/ 537 w 1211"/>
                <a:gd name="T33" fmla="*/ 256 h 619"/>
                <a:gd name="T34" fmla="*/ 553 w 1211"/>
                <a:gd name="T35" fmla="*/ 309 h 619"/>
                <a:gd name="T36" fmla="*/ 557 w 1211"/>
                <a:gd name="T37" fmla="*/ 349 h 619"/>
                <a:gd name="T38" fmla="*/ 526 w 1211"/>
                <a:gd name="T39" fmla="*/ 351 h 619"/>
                <a:gd name="T40" fmla="*/ 481 w 1211"/>
                <a:gd name="T41" fmla="*/ 327 h 619"/>
                <a:gd name="T42" fmla="*/ 429 w 1211"/>
                <a:gd name="T43" fmla="*/ 313 h 619"/>
                <a:gd name="T44" fmla="*/ 426 w 1211"/>
                <a:gd name="T45" fmla="*/ 327 h 619"/>
                <a:gd name="T46" fmla="*/ 322 w 1211"/>
                <a:gd name="T47" fmla="*/ 356 h 619"/>
                <a:gd name="T48" fmla="*/ 269 w 1211"/>
                <a:gd name="T49" fmla="*/ 384 h 619"/>
                <a:gd name="T50" fmla="*/ 218 w 1211"/>
                <a:gd name="T51" fmla="*/ 355 h 619"/>
                <a:gd name="T52" fmla="*/ 150 w 1211"/>
                <a:gd name="T53" fmla="*/ 350 h 619"/>
                <a:gd name="T54" fmla="*/ 146 w 1211"/>
                <a:gd name="T55" fmla="*/ 364 h 619"/>
                <a:gd name="T56" fmla="*/ 101 w 1211"/>
                <a:gd name="T57" fmla="*/ 412 h 619"/>
                <a:gd name="T58" fmla="*/ 91 w 1211"/>
                <a:gd name="T59" fmla="*/ 391 h 619"/>
                <a:gd name="T60" fmla="*/ 73 w 1211"/>
                <a:gd name="T61" fmla="*/ 361 h 619"/>
                <a:gd name="T62" fmla="*/ 39 w 1211"/>
                <a:gd name="T63" fmla="*/ 339 h 619"/>
                <a:gd name="T64" fmla="*/ 12 w 1211"/>
                <a:gd name="T65" fmla="*/ 394 h 619"/>
                <a:gd name="T66" fmla="*/ 10 w 1211"/>
                <a:gd name="T67" fmla="*/ 462 h 619"/>
                <a:gd name="T68" fmla="*/ 87 w 1211"/>
                <a:gd name="T69" fmla="*/ 509 h 619"/>
                <a:gd name="T70" fmla="*/ 135 w 1211"/>
                <a:gd name="T71" fmla="*/ 477 h 619"/>
                <a:gd name="T72" fmla="*/ 195 w 1211"/>
                <a:gd name="T73" fmla="*/ 517 h 619"/>
                <a:gd name="T74" fmla="*/ 229 w 1211"/>
                <a:gd name="T75" fmla="*/ 529 h 619"/>
                <a:gd name="T76" fmla="*/ 290 w 1211"/>
                <a:gd name="T77" fmla="*/ 480 h 619"/>
                <a:gd name="T78" fmla="*/ 321 w 1211"/>
                <a:gd name="T79" fmla="*/ 477 h 619"/>
                <a:gd name="T80" fmla="*/ 396 w 1211"/>
                <a:gd name="T81" fmla="*/ 466 h 619"/>
                <a:gd name="T82" fmla="*/ 419 w 1211"/>
                <a:gd name="T83" fmla="*/ 498 h 619"/>
                <a:gd name="T84" fmla="*/ 445 w 1211"/>
                <a:gd name="T85" fmla="*/ 528 h 619"/>
                <a:gd name="T86" fmla="*/ 510 w 1211"/>
                <a:gd name="T87" fmla="*/ 558 h 619"/>
                <a:gd name="T88" fmla="*/ 661 w 1211"/>
                <a:gd name="T89" fmla="*/ 587 h 619"/>
                <a:gd name="T90" fmla="*/ 768 w 1211"/>
                <a:gd name="T91" fmla="*/ 606 h 619"/>
                <a:gd name="T92" fmla="*/ 806 w 1211"/>
                <a:gd name="T93" fmla="*/ 605 h 619"/>
                <a:gd name="T94" fmla="*/ 839 w 1211"/>
                <a:gd name="T95" fmla="*/ 583 h 619"/>
                <a:gd name="T96" fmla="*/ 902 w 1211"/>
                <a:gd name="T97" fmla="*/ 559 h 619"/>
                <a:gd name="T98" fmla="*/ 967 w 1211"/>
                <a:gd name="T99" fmla="*/ 551 h 619"/>
                <a:gd name="T100" fmla="*/ 1031 w 1211"/>
                <a:gd name="T101" fmla="*/ 552 h 619"/>
                <a:gd name="T102" fmla="*/ 1046 w 1211"/>
                <a:gd name="T103" fmla="*/ 506 h 619"/>
                <a:gd name="T104" fmla="*/ 1087 w 1211"/>
                <a:gd name="T105" fmla="*/ 475 h 619"/>
                <a:gd name="T106" fmla="*/ 1107 w 1211"/>
                <a:gd name="T107" fmla="*/ 463 h 619"/>
                <a:gd name="T108" fmla="*/ 1095 w 1211"/>
                <a:gd name="T109" fmla="*/ 433 h 619"/>
                <a:gd name="T110" fmla="*/ 1098 w 1211"/>
                <a:gd name="T111" fmla="*/ 392 h 619"/>
                <a:gd name="T112" fmla="*/ 1131 w 1211"/>
                <a:gd name="T113" fmla="*/ 334 h 619"/>
                <a:gd name="T114" fmla="*/ 1112 w 1211"/>
                <a:gd name="T115" fmla="*/ 307 h 619"/>
                <a:gd name="T116" fmla="*/ 1172 w 1211"/>
                <a:gd name="T117" fmla="*/ 316 h 619"/>
                <a:gd name="T118" fmla="*/ 1195 w 1211"/>
                <a:gd name="T119" fmla="*/ 272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11" h="619">
                  <a:moveTo>
                    <a:pt x="1211" y="240"/>
                  </a:moveTo>
                  <a:lnTo>
                    <a:pt x="1207" y="237"/>
                  </a:lnTo>
                  <a:lnTo>
                    <a:pt x="1202" y="235"/>
                  </a:lnTo>
                  <a:lnTo>
                    <a:pt x="1198" y="233"/>
                  </a:lnTo>
                  <a:lnTo>
                    <a:pt x="1199" y="229"/>
                  </a:lnTo>
                  <a:lnTo>
                    <a:pt x="1197" y="228"/>
                  </a:lnTo>
                  <a:lnTo>
                    <a:pt x="1197" y="227"/>
                  </a:lnTo>
                  <a:lnTo>
                    <a:pt x="1197" y="223"/>
                  </a:lnTo>
                  <a:lnTo>
                    <a:pt x="1198" y="220"/>
                  </a:lnTo>
                  <a:lnTo>
                    <a:pt x="1200" y="218"/>
                  </a:lnTo>
                  <a:lnTo>
                    <a:pt x="1198" y="216"/>
                  </a:lnTo>
                  <a:lnTo>
                    <a:pt x="1197" y="215"/>
                  </a:lnTo>
                  <a:lnTo>
                    <a:pt x="1195" y="210"/>
                  </a:lnTo>
                  <a:lnTo>
                    <a:pt x="1193" y="209"/>
                  </a:lnTo>
                  <a:lnTo>
                    <a:pt x="1190" y="209"/>
                  </a:lnTo>
                  <a:lnTo>
                    <a:pt x="1188" y="208"/>
                  </a:lnTo>
                  <a:lnTo>
                    <a:pt x="1184" y="203"/>
                  </a:lnTo>
                  <a:lnTo>
                    <a:pt x="1183" y="199"/>
                  </a:lnTo>
                  <a:lnTo>
                    <a:pt x="1183" y="194"/>
                  </a:lnTo>
                  <a:lnTo>
                    <a:pt x="1182" y="190"/>
                  </a:lnTo>
                  <a:lnTo>
                    <a:pt x="1180" y="182"/>
                  </a:lnTo>
                  <a:lnTo>
                    <a:pt x="1180" y="180"/>
                  </a:lnTo>
                  <a:lnTo>
                    <a:pt x="1180" y="178"/>
                  </a:lnTo>
                  <a:lnTo>
                    <a:pt x="1180" y="177"/>
                  </a:lnTo>
                  <a:lnTo>
                    <a:pt x="1179" y="176"/>
                  </a:lnTo>
                  <a:lnTo>
                    <a:pt x="1178" y="175"/>
                  </a:lnTo>
                  <a:lnTo>
                    <a:pt x="1177" y="174"/>
                  </a:lnTo>
                  <a:lnTo>
                    <a:pt x="1175" y="173"/>
                  </a:lnTo>
                  <a:lnTo>
                    <a:pt x="1174" y="172"/>
                  </a:lnTo>
                  <a:lnTo>
                    <a:pt x="1173" y="171"/>
                  </a:lnTo>
                  <a:lnTo>
                    <a:pt x="1173" y="170"/>
                  </a:lnTo>
                  <a:lnTo>
                    <a:pt x="1173" y="169"/>
                  </a:lnTo>
                  <a:lnTo>
                    <a:pt x="1172" y="167"/>
                  </a:lnTo>
                  <a:lnTo>
                    <a:pt x="1172" y="167"/>
                  </a:lnTo>
                  <a:lnTo>
                    <a:pt x="1171" y="166"/>
                  </a:lnTo>
                  <a:lnTo>
                    <a:pt x="1171" y="165"/>
                  </a:lnTo>
                  <a:lnTo>
                    <a:pt x="1172" y="164"/>
                  </a:lnTo>
                  <a:lnTo>
                    <a:pt x="1172" y="163"/>
                  </a:lnTo>
                  <a:lnTo>
                    <a:pt x="1172" y="161"/>
                  </a:lnTo>
                  <a:lnTo>
                    <a:pt x="1170" y="159"/>
                  </a:lnTo>
                  <a:lnTo>
                    <a:pt x="1168" y="158"/>
                  </a:lnTo>
                  <a:lnTo>
                    <a:pt x="1167" y="157"/>
                  </a:lnTo>
                  <a:lnTo>
                    <a:pt x="1164" y="157"/>
                  </a:lnTo>
                  <a:lnTo>
                    <a:pt x="1163" y="156"/>
                  </a:lnTo>
                  <a:lnTo>
                    <a:pt x="1163" y="154"/>
                  </a:lnTo>
                  <a:lnTo>
                    <a:pt x="1163" y="152"/>
                  </a:lnTo>
                  <a:lnTo>
                    <a:pt x="1163" y="151"/>
                  </a:lnTo>
                  <a:lnTo>
                    <a:pt x="1163" y="150"/>
                  </a:lnTo>
                  <a:lnTo>
                    <a:pt x="1163" y="149"/>
                  </a:lnTo>
                  <a:lnTo>
                    <a:pt x="1165" y="136"/>
                  </a:lnTo>
                  <a:lnTo>
                    <a:pt x="1166" y="133"/>
                  </a:lnTo>
                  <a:lnTo>
                    <a:pt x="1167" y="129"/>
                  </a:lnTo>
                  <a:lnTo>
                    <a:pt x="1171" y="123"/>
                  </a:lnTo>
                  <a:lnTo>
                    <a:pt x="1172" y="120"/>
                  </a:lnTo>
                  <a:lnTo>
                    <a:pt x="1173" y="118"/>
                  </a:lnTo>
                  <a:lnTo>
                    <a:pt x="1176" y="116"/>
                  </a:lnTo>
                  <a:lnTo>
                    <a:pt x="1179" y="113"/>
                  </a:lnTo>
                  <a:lnTo>
                    <a:pt x="1179" y="112"/>
                  </a:lnTo>
                  <a:lnTo>
                    <a:pt x="1180" y="109"/>
                  </a:lnTo>
                  <a:lnTo>
                    <a:pt x="1178" y="98"/>
                  </a:lnTo>
                  <a:lnTo>
                    <a:pt x="1173" y="91"/>
                  </a:lnTo>
                  <a:lnTo>
                    <a:pt x="1171" y="76"/>
                  </a:lnTo>
                  <a:lnTo>
                    <a:pt x="1167" y="70"/>
                  </a:lnTo>
                  <a:lnTo>
                    <a:pt x="1164" y="70"/>
                  </a:lnTo>
                  <a:lnTo>
                    <a:pt x="1158" y="72"/>
                  </a:lnTo>
                  <a:lnTo>
                    <a:pt x="1155" y="72"/>
                  </a:lnTo>
                  <a:lnTo>
                    <a:pt x="1152" y="71"/>
                  </a:lnTo>
                  <a:lnTo>
                    <a:pt x="1147" y="67"/>
                  </a:lnTo>
                  <a:lnTo>
                    <a:pt x="1144" y="67"/>
                  </a:lnTo>
                  <a:lnTo>
                    <a:pt x="1138" y="67"/>
                  </a:lnTo>
                  <a:lnTo>
                    <a:pt x="1135" y="66"/>
                  </a:lnTo>
                  <a:lnTo>
                    <a:pt x="1134" y="65"/>
                  </a:lnTo>
                  <a:lnTo>
                    <a:pt x="1132" y="62"/>
                  </a:lnTo>
                  <a:lnTo>
                    <a:pt x="1132" y="59"/>
                  </a:lnTo>
                  <a:lnTo>
                    <a:pt x="1130" y="56"/>
                  </a:lnTo>
                  <a:lnTo>
                    <a:pt x="1127" y="55"/>
                  </a:lnTo>
                  <a:lnTo>
                    <a:pt x="1124" y="54"/>
                  </a:lnTo>
                  <a:lnTo>
                    <a:pt x="1115" y="52"/>
                  </a:lnTo>
                  <a:lnTo>
                    <a:pt x="1112" y="50"/>
                  </a:lnTo>
                  <a:lnTo>
                    <a:pt x="1111" y="49"/>
                  </a:lnTo>
                  <a:lnTo>
                    <a:pt x="1109" y="50"/>
                  </a:lnTo>
                  <a:lnTo>
                    <a:pt x="1106" y="51"/>
                  </a:lnTo>
                  <a:lnTo>
                    <a:pt x="1105" y="51"/>
                  </a:lnTo>
                  <a:lnTo>
                    <a:pt x="1100" y="50"/>
                  </a:lnTo>
                  <a:lnTo>
                    <a:pt x="1098" y="52"/>
                  </a:lnTo>
                  <a:lnTo>
                    <a:pt x="1090" y="66"/>
                  </a:lnTo>
                  <a:lnTo>
                    <a:pt x="1088" y="67"/>
                  </a:lnTo>
                  <a:lnTo>
                    <a:pt x="1085" y="68"/>
                  </a:lnTo>
                  <a:lnTo>
                    <a:pt x="1084" y="68"/>
                  </a:lnTo>
                  <a:lnTo>
                    <a:pt x="1082" y="66"/>
                  </a:lnTo>
                  <a:lnTo>
                    <a:pt x="1079" y="66"/>
                  </a:lnTo>
                  <a:lnTo>
                    <a:pt x="1079" y="67"/>
                  </a:lnTo>
                  <a:lnTo>
                    <a:pt x="1056" y="63"/>
                  </a:lnTo>
                  <a:lnTo>
                    <a:pt x="1042" y="64"/>
                  </a:lnTo>
                  <a:lnTo>
                    <a:pt x="1033" y="61"/>
                  </a:lnTo>
                  <a:lnTo>
                    <a:pt x="1017" y="49"/>
                  </a:lnTo>
                  <a:lnTo>
                    <a:pt x="1017" y="48"/>
                  </a:lnTo>
                  <a:lnTo>
                    <a:pt x="1017" y="46"/>
                  </a:lnTo>
                  <a:lnTo>
                    <a:pt x="1016" y="45"/>
                  </a:lnTo>
                  <a:lnTo>
                    <a:pt x="1014" y="46"/>
                  </a:lnTo>
                  <a:lnTo>
                    <a:pt x="1014" y="43"/>
                  </a:lnTo>
                  <a:lnTo>
                    <a:pt x="1012" y="42"/>
                  </a:lnTo>
                  <a:lnTo>
                    <a:pt x="1011" y="42"/>
                  </a:lnTo>
                  <a:lnTo>
                    <a:pt x="1009" y="43"/>
                  </a:lnTo>
                  <a:lnTo>
                    <a:pt x="1010" y="41"/>
                  </a:lnTo>
                  <a:lnTo>
                    <a:pt x="1009" y="41"/>
                  </a:lnTo>
                  <a:lnTo>
                    <a:pt x="1008" y="40"/>
                  </a:lnTo>
                  <a:lnTo>
                    <a:pt x="1006" y="39"/>
                  </a:lnTo>
                  <a:lnTo>
                    <a:pt x="1003" y="39"/>
                  </a:lnTo>
                  <a:lnTo>
                    <a:pt x="1002" y="38"/>
                  </a:lnTo>
                  <a:lnTo>
                    <a:pt x="1001" y="37"/>
                  </a:lnTo>
                  <a:lnTo>
                    <a:pt x="1001" y="34"/>
                  </a:lnTo>
                  <a:lnTo>
                    <a:pt x="1000" y="33"/>
                  </a:lnTo>
                  <a:lnTo>
                    <a:pt x="995" y="33"/>
                  </a:lnTo>
                  <a:lnTo>
                    <a:pt x="993" y="34"/>
                  </a:lnTo>
                  <a:lnTo>
                    <a:pt x="988" y="37"/>
                  </a:lnTo>
                  <a:lnTo>
                    <a:pt x="985" y="37"/>
                  </a:lnTo>
                  <a:lnTo>
                    <a:pt x="981" y="37"/>
                  </a:lnTo>
                  <a:lnTo>
                    <a:pt x="978" y="37"/>
                  </a:lnTo>
                  <a:lnTo>
                    <a:pt x="965" y="30"/>
                  </a:lnTo>
                  <a:lnTo>
                    <a:pt x="956" y="26"/>
                  </a:lnTo>
                  <a:lnTo>
                    <a:pt x="953" y="25"/>
                  </a:lnTo>
                  <a:lnTo>
                    <a:pt x="944" y="18"/>
                  </a:lnTo>
                  <a:lnTo>
                    <a:pt x="941" y="16"/>
                  </a:lnTo>
                  <a:lnTo>
                    <a:pt x="934" y="13"/>
                  </a:lnTo>
                  <a:lnTo>
                    <a:pt x="926" y="10"/>
                  </a:lnTo>
                  <a:lnTo>
                    <a:pt x="923" y="8"/>
                  </a:lnTo>
                  <a:lnTo>
                    <a:pt x="915" y="8"/>
                  </a:lnTo>
                  <a:lnTo>
                    <a:pt x="915" y="8"/>
                  </a:lnTo>
                  <a:lnTo>
                    <a:pt x="914" y="7"/>
                  </a:lnTo>
                  <a:lnTo>
                    <a:pt x="913" y="6"/>
                  </a:lnTo>
                  <a:lnTo>
                    <a:pt x="912" y="6"/>
                  </a:lnTo>
                  <a:lnTo>
                    <a:pt x="911" y="7"/>
                  </a:lnTo>
                  <a:lnTo>
                    <a:pt x="911" y="10"/>
                  </a:lnTo>
                  <a:lnTo>
                    <a:pt x="910" y="11"/>
                  </a:lnTo>
                  <a:lnTo>
                    <a:pt x="908" y="14"/>
                  </a:lnTo>
                  <a:lnTo>
                    <a:pt x="907" y="14"/>
                  </a:lnTo>
                  <a:lnTo>
                    <a:pt x="895" y="18"/>
                  </a:lnTo>
                  <a:lnTo>
                    <a:pt x="892" y="18"/>
                  </a:lnTo>
                  <a:lnTo>
                    <a:pt x="893" y="14"/>
                  </a:lnTo>
                  <a:lnTo>
                    <a:pt x="893" y="11"/>
                  </a:lnTo>
                  <a:lnTo>
                    <a:pt x="893" y="8"/>
                  </a:lnTo>
                  <a:lnTo>
                    <a:pt x="891" y="4"/>
                  </a:lnTo>
                  <a:lnTo>
                    <a:pt x="879" y="3"/>
                  </a:lnTo>
                  <a:lnTo>
                    <a:pt x="870" y="0"/>
                  </a:lnTo>
                  <a:lnTo>
                    <a:pt x="867" y="1"/>
                  </a:lnTo>
                  <a:lnTo>
                    <a:pt x="866" y="1"/>
                  </a:lnTo>
                  <a:lnTo>
                    <a:pt x="866" y="2"/>
                  </a:lnTo>
                  <a:lnTo>
                    <a:pt x="866" y="3"/>
                  </a:lnTo>
                  <a:lnTo>
                    <a:pt x="866" y="4"/>
                  </a:lnTo>
                  <a:lnTo>
                    <a:pt x="864" y="9"/>
                  </a:lnTo>
                  <a:lnTo>
                    <a:pt x="864" y="16"/>
                  </a:lnTo>
                  <a:lnTo>
                    <a:pt x="865" y="23"/>
                  </a:lnTo>
                  <a:lnTo>
                    <a:pt x="865" y="30"/>
                  </a:lnTo>
                  <a:lnTo>
                    <a:pt x="861" y="45"/>
                  </a:lnTo>
                  <a:lnTo>
                    <a:pt x="860" y="48"/>
                  </a:lnTo>
                  <a:lnTo>
                    <a:pt x="860" y="50"/>
                  </a:lnTo>
                  <a:lnTo>
                    <a:pt x="860" y="52"/>
                  </a:lnTo>
                  <a:lnTo>
                    <a:pt x="861" y="53"/>
                  </a:lnTo>
                  <a:lnTo>
                    <a:pt x="861" y="55"/>
                  </a:lnTo>
                  <a:lnTo>
                    <a:pt x="862" y="55"/>
                  </a:lnTo>
                  <a:lnTo>
                    <a:pt x="860" y="60"/>
                  </a:lnTo>
                  <a:lnTo>
                    <a:pt x="857" y="60"/>
                  </a:lnTo>
                  <a:lnTo>
                    <a:pt x="849" y="57"/>
                  </a:lnTo>
                  <a:lnTo>
                    <a:pt x="840" y="55"/>
                  </a:lnTo>
                  <a:lnTo>
                    <a:pt x="838" y="56"/>
                  </a:lnTo>
                  <a:lnTo>
                    <a:pt x="837" y="59"/>
                  </a:lnTo>
                  <a:lnTo>
                    <a:pt x="836" y="61"/>
                  </a:lnTo>
                  <a:lnTo>
                    <a:pt x="835" y="64"/>
                  </a:lnTo>
                  <a:lnTo>
                    <a:pt x="834" y="69"/>
                  </a:lnTo>
                  <a:lnTo>
                    <a:pt x="826" y="76"/>
                  </a:lnTo>
                  <a:lnTo>
                    <a:pt x="823" y="81"/>
                  </a:lnTo>
                  <a:lnTo>
                    <a:pt x="822" y="88"/>
                  </a:lnTo>
                  <a:lnTo>
                    <a:pt x="822" y="95"/>
                  </a:lnTo>
                  <a:lnTo>
                    <a:pt x="821" y="101"/>
                  </a:lnTo>
                  <a:lnTo>
                    <a:pt x="821" y="102"/>
                  </a:lnTo>
                  <a:lnTo>
                    <a:pt x="818" y="104"/>
                  </a:lnTo>
                  <a:lnTo>
                    <a:pt x="816" y="104"/>
                  </a:lnTo>
                  <a:lnTo>
                    <a:pt x="814" y="103"/>
                  </a:lnTo>
                  <a:lnTo>
                    <a:pt x="813" y="100"/>
                  </a:lnTo>
                  <a:lnTo>
                    <a:pt x="812" y="98"/>
                  </a:lnTo>
                  <a:lnTo>
                    <a:pt x="811" y="98"/>
                  </a:lnTo>
                  <a:lnTo>
                    <a:pt x="808" y="99"/>
                  </a:lnTo>
                  <a:lnTo>
                    <a:pt x="807" y="99"/>
                  </a:lnTo>
                  <a:lnTo>
                    <a:pt x="806" y="98"/>
                  </a:lnTo>
                  <a:lnTo>
                    <a:pt x="806" y="96"/>
                  </a:lnTo>
                  <a:lnTo>
                    <a:pt x="806" y="95"/>
                  </a:lnTo>
                  <a:lnTo>
                    <a:pt x="805" y="94"/>
                  </a:lnTo>
                  <a:lnTo>
                    <a:pt x="803" y="94"/>
                  </a:lnTo>
                  <a:lnTo>
                    <a:pt x="798" y="96"/>
                  </a:lnTo>
                  <a:lnTo>
                    <a:pt x="796" y="96"/>
                  </a:lnTo>
                  <a:lnTo>
                    <a:pt x="794" y="96"/>
                  </a:lnTo>
                  <a:lnTo>
                    <a:pt x="787" y="93"/>
                  </a:lnTo>
                  <a:lnTo>
                    <a:pt x="784" y="88"/>
                  </a:lnTo>
                  <a:lnTo>
                    <a:pt x="781" y="90"/>
                  </a:lnTo>
                  <a:lnTo>
                    <a:pt x="778" y="99"/>
                  </a:lnTo>
                  <a:lnTo>
                    <a:pt x="775" y="102"/>
                  </a:lnTo>
                  <a:lnTo>
                    <a:pt x="767" y="105"/>
                  </a:lnTo>
                  <a:lnTo>
                    <a:pt x="764" y="108"/>
                  </a:lnTo>
                  <a:lnTo>
                    <a:pt x="762" y="109"/>
                  </a:lnTo>
                  <a:lnTo>
                    <a:pt x="761" y="109"/>
                  </a:lnTo>
                  <a:lnTo>
                    <a:pt x="745" y="103"/>
                  </a:lnTo>
                  <a:lnTo>
                    <a:pt x="723" y="101"/>
                  </a:lnTo>
                  <a:lnTo>
                    <a:pt x="717" y="98"/>
                  </a:lnTo>
                  <a:lnTo>
                    <a:pt x="716" y="97"/>
                  </a:lnTo>
                  <a:lnTo>
                    <a:pt x="713" y="94"/>
                  </a:lnTo>
                  <a:lnTo>
                    <a:pt x="713" y="92"/>
                  </a:lnTo>
                  <a:lnTo>
                    <a:pt x="712" y="89"/>
                  </a:lnTo>
                  <a:lnTo>
                    <a:pt x="712" y="88"/>
                  </a:lnTo>
                  <a:lnTo>
                    <a:pt x="713" y="88"/>
                  </a:lnTo>
                  <a:lnTo>
                    <a:pt x="714" y="86"/>
                  </a:lnTo>
                  <a:lnTo>
                    <a:pt x="715" y="86"/>
                  </a:lnTo>
                  <a:lnTo>
                    <a:pt x="715" y="86"/>
                  </a:lnTo>
                  <a:lnTo>
                    <a:pt x="716" y="86"/>
                  </a:lnTo>
                  <a:lnTo>
                    <a:pt x="716" y="84"/>
                  </a:lnTo>
                  <a:lnTo>
                    <a:pt x="716" y="82"/>
                  </a:lnTo>
                  <a:lnTo>
                    <a:pt x="715" y="82"/>
                  </a:lnTo>
                  <a:lnTo>
                    <a:pt x="714" y="81"/>
                  </a:lnTo>
                  <a:lnTo>
                    <a:pt x="713" y="81"/>
                  </a:lnTo>
                  <a:lnTo>
                    <a:pt x="712" y="79"/>
                  </a:lnTo>
                  <a:lnTo>
                    <a:pt x="709" y="75"/>
                  </a:lnTo>
                  <a:lnTo>
                    <a:pt x="708" y="73"/>
                  </a:lnTo>
                  <a:lnTo>
                    <a:pt x="697" y="67"/>
                  </a:lnTo>
                  <a:lnTo>
                    <a:pt x="694" y="64"/>
                  </a:lnTo>
                  <a:lnTo>
                    <a:pt x="691" y="62"/>
                  </a:lnTo>
                  <a:lnTo>
                    <a:pt x="688" y="61"/>
                  </a:lnTo>
                  <a:lnTo>
                    <a:pt x="682" y="59"/>
                  </a:lnTo>
                  <a:lnTo>
                    <a:pt x="677" y="69"/>
                  </a:lnTo>
                  <a:lnTo>
                    <a:pt x="677" y="71"/>
                  </a:lnTo>
                  <a:lnTo>
                    <a:pt x="677" y="71"/>
                  </a:lnTo>
                  <a:lnTo>
                    <a:pt x="679" y="74"/>
                  </a:lnTo>
                  <a:lnTo>
                    <a:pt x="680" y="75"/>
                  </a:lnTo>
                  <a:lnTo>
                    <a:pt x="682" y="76"/>
                  </a:lnTo>
                  <a:lnTo>
                    <a:pt x="680" y="78"/>
                  </a:lnTo>
                  <a:lnTo>
                    <a:pt x="679" y="81"/>
                  </a:lnTo>
                  <a:lnTo>
                    <a:pt x="680" y="88"/>
                  </a:lnTo>
                  <a:lnTo>
                    <a:pt x="680" y="92"/>
                  </a:lnTo>
                  <a:lnTo>
                    <a:pt x="679" y="96"/>
                  </a:lnTo>
                  <a:lnTo>
                    <a:pt x="679" y="99"/>
                  </a:lnTo>
                  <a:lnTo>
                    <a:pt x="676" y="105"/>
                  </a:lnTo>
                  <a:lnTo>
                    <a:pt x="675" y="106"/>
                  </a:lnTo>
                  <a:lnTo>
                    <a:pt x="674" y="107"/>
                  </a:lnTo>
                  <a:lnTo>
                    <a:pt x="673" y="108"/>
                  </a:lnTo>
                  <a:lnTo>
                    <a:pt x="669" y="108"/>
                  </a:lnTo>
                  <a:lnTo>
                    <a:pt x="669" y="108"/>
                  </a:lnTo>
                  <a:lnTo>
                    <a:pt x="667" y="111"/>
                  </a:lnTo>
                  <a:lnTo>
                    <a:pt x="666" y="117"/>
                  </a:lnTo>
                  <a:lnTo>
                    <a:pt x="665" y="117"/>
                  </a:lnTo>
                  <a:lnTo>
                    <a:pt x="659" y="114"/>
                  </a:lnTo>
                  <a:lnTo>
                    <a:pt x="657" y="110"/>
                  </a:lnTo>
                  <a:lnTo>
                    <a:pt x="654" y="108"/>
                  </a:lnTo>
                  <a:lnTo>
                    <a:pt x="651" y="107"/>
                  </a:lnTo>
                  <a:lnTo>
                    <a:pt x="635" y="102"/>
                  </a:lnTo>
                  <a:lnTo>
                    <a:pt x="630" y="103"/>
                  </a:lnTo>
                  <a:lnTo>
                    <a:pt x="624" y="105"/>
                  </a:lnTo>
                  <a:lnTo>
                    <a:pt x="623" y="106"/>
                  </a:lnTo>
                  <a:lnTo>
                    <a:pt x="622" y="108"/>
                  </a:lnTo>
                  <a:lnTo>
                    <a:pt x="622" y="109"/>
                  </a:lnTo>
                  <a:lnTo>
                    <a:pt x="623" y="110"/>
                  </a:lnTo>
                  <a:lnTo>
                    <a:pt x="623" y="114"/>
                  </a:lnTo>
                  <a:lnTo>
                    <a:pt x="625" y="116"/>
                  </a:lnTo>
                  <a:lnTo>
                    <a:pt x="625" y="119"/>
                  </a:lnTo>
                  <a:lnTo>
                    <a:pt x="625" y="121"/>
                  </a:lnTo>
                  <a:lnTo>
                    <a:pt x="622" y="125"/>
                  </a:lnTo>
                  <a:lnTo>
                    <a:pt x="622" y="128"/>
                  </a:lnTo>
                  <a:lnTo>
                    <a:pt x="621" y="130"/>
                  </a:lnTo>
                  <a:lnTo>
                    <a:pt x="622" y="137"/>
                  </a:lnTo>
                  <a:lnTo>
                    <a:pt x="621" y="139"/>
                  </a:lnTo>
                  <a:lnTo>
                    <a:pt x="621" y="141"/>
                  </a:lnTo>
                  <a:lnTo>
                    <a:pt x="620" y="142"/>
                  </a:lnTo>
                  <a:lnTo>
                    <a:pt x="620" y="143"/>
                  </a:lnTo>
                  <a:lnTo>
                    <a:pt x="619" y="148"/>
                  </a:lnTo>
                  <a:lnTo>
                    <a:pt x="616" y="152"/>
                  </a:lnTo>
                  <a:lnTo>
                    <a:pt x="601" y="165"/>
                  </a:lnTo>
                  <a:lnTo>
                    <a:pt x="596" y="169"/>
                  </a:lnTo>
                  <a:lnTo>
                    <a:pt x="574" y="172"/>
                  </a:lnTo>
                  <a:lnTo>
                    <a:pt x="557" y="179"/>
                  </a:lnTo>
                  <a:lnTo>
                    <a:pt x="555" y="181"/>
                  </a:lnTo>
                  <a:lnTo>
                    <a:pt x="549" y="186"/>
                  </a:lnTo>
                  <a:lnTo>
                    <a:pt x="544" y="189"/>
                  </a:lnTo>
                  <a:lnTo>
                    <a:pt x="541" y="191"/>
                  </a:lnTo>
                  <a:lnTo>
                    <a:pt x="542" y="192"/>
                  </a:lnTo>
                  <a:lnTo>
                    <a:pt x="533" y="193"/>
                  </a:lnTo>
                  <a:lnTo>
                    <a:pt x="530" y="195"/>
                  </a:lnTo>
                  <a:lnTo>
                    <a:pt x="529" y="196"/>
                  </a:lnTo>
                  <a:lnTo>
                    <a:pt x="526" y="201"/>
                  </a:lnTo>
                  <a:lnTo>
                    <a:pt x="524" y="203"/>
                  </a:lnTo>
                  <a:lnTo>
                    <a:pt x="518" y="208"/>
                  </a:lnTo>
                  <a:lnTo>
                    <a:pt x="517" y="208"/>
                  </a:lnTo>
                  <a:lnTo>
                    <a:pt x="515" y="212"/>
                  </a:lnTo>
                  <a:lnTo>
                    <a:pt x="514" y="213"/>
                  </a:lnTo>
                  <a:lnTo>
                    <a:pt x="513" y="213"/>
                  </a:lnTo>
                  <a:lnTo>
                    <a:pt x="512" y="213"/>
                  </a:lnTo>
                  <a:lnTo>
                    <a:pt x="511" y="214"/>
                  </a:lnTo>
                  <a:lnTo>
                    <a:pt x="510" y="218"/>
                  </a:lnTo>
                  <a:lnTo>
                    <a:pt x="511" y="221"/>
                  </a:lnTo>
                  <a:lnTo>
                    <a:pt x="513" y="224"/>
                  </a:lnTo>
                  <a:lnTo>
                    <a:pt x="514" y="226"/>
                  </a:lnTo>
                  <a:lnTo>
                    <a:pt x="525" y="238"/>
                  </a:lnTo>
                  <a:lnTo>
                    <a:pt x="528" y="243"/>
                  </a:lnTo>
                  <a:lnTo>
                    <a:pt x="528" y="246"/>
                  </a:lnTo>
                  <a:lnTo>
                    <a:pt x="528" y="246"/>
                  </a:lnTo>
                  <a:lnTo>
                    <a:pt x="529" y="248"/>
                  </a:lnTo>
                  <a:lnTo>
                    <a:pt x="530" y="250"/>
                  </a:lnTo>
                  <a:lnTo>
                    <a:pt x="534" y="252"/>
                  </a:lnTo>
                  <a:lnTo>
                    <a:pt x="537" y="256"/>
                  </a:lnTo>
                  <a:lnTo>
                    <a:pt x="538" y="257"/>
                  </a:lnTo>
                  <a:lnTo>
                    <a:pt x="541" y="259"/>
                  </a:lnTo>
                  <a:lnTo>
                    <a:pt x="547" y="272"/>
                  </a:lnTo>
                  <a:lnTo>
                    <a:pt x="550" y="277"/>
                  </a:lnTo>
                  <a:lnTo>
                    <a:pt x="551" y="277"/>
                  </a:lnTo>
                  <a:lnTo>
                    <a:pt x="541" y="294"/>
                  </a:lnTo>
                  <a:lnTo>
                    <a:pt x="540" y="296"/>
                  </a:lnTo>
                  <a:lnTo>
                    <a:pt x="539" y="297"/>
                  </a:lnTo>
                  <a:lnTo>
                    <a:pt x="539" y="299"/>
                  </a:lnTo>
                  <a:lnTo>
                    <a:pt x="539" y="300"/>
                  </a:lnTo>
                  <a:lnTo>
                    <a:pt x="538" y="302"/>
                  </a:lnTo>
                  <a:lnTo>
                    <a:pt x="538" y="302"/>
                  </a:lnTo>
                  <a:lnTo>
                    <a:pt x="538" y="302"/>
                  </a:lnTo>
                  <a:lnTo>
                    <a:pt x="535" y="306"/>
                  </a:lnTo>
                  <a:lnTo>
                    <a:pt x="537" y="309"/>
                  </a:lnTo>
                  <a:lnTo>
                    <a:pt x="547" y="311"/>
                  </a:lnTo>
                  <a:lnTo>
                    <a:pt x="549" y="311"/>
                  </a:lnTo>
                  <a:lnTo>
                    <a:pt x="553" y="309"/>
                  </a:lnTo>
                  <a:lnTo>
                    <a:pt x="555" y="309"/>
                  </a:lnTo>
                  <a:lnTo>
                    <a:pt x="557" y="311"/>
                  </a:lnTo>
                  <a:lnTo>
                    <a:pt x="559" y="313"/>
                  </a:lnTo>
                  <a:lnTo>
                    <a:pt x="562" y="318"/>
                  </a:lnTo>
                  <a:lnTo>
                    <a:pt x="564" y="322"/>
                  </a:lnTo>
                  <a:lnTo>
                    <a:pt x="564" y="325"/>
                  </a:lnTo>
                  <a:lnTo>
                    <a:pt x="564" y="327"/>
                  </a:lnTo>
                  <a:lnTo>
                    <a:pt x="564" y="330"/>
                  </a:lnTo>
                  <a:lnTo>
                    <a:pt x="563" y="331"/>
                  </a:lnTo>
                  <a:lnTo>
                    <a:pt x="561" y="335"/>
                  </a:lnTo>
                  <a:lnTo>
                    <a:pt x="561" y="336"/>
                  </a:lnTo>
                  <a:lnTo>
                    <a:pt x="559" y="340"/>
                  </a:lnTo>
                  <a:lnTo>
                    <a:pt x="558" y="339"/>
                  </a:lnTo>
                  <a:lnTo>
                    <a:pt x="558" y="345"/>
                  </a:lnTo>
                  <a:lnTo>
                    <a:pt x="559" y="345"/>
                  </a:lnTo>
                  <a:lnTo>
                    <a:pt x="558" y="345"/>
                  </a:lnTo>
                  <a:lnTo>
                    <a:pt x="557" y="349"/>
                  </a:lnTo>
                  <a:lnTo>
                    <a:pt x="557" y="349"/>
                  </a:lnTo>
                  <a:lnTo>
                    <a:pt x="557" y="353"/>
                  </a:lnTo>
                  <a:lnTo>
                    <a:pt x="557" y="355"/>
                  </a:lnTo>
                  <a:lnTo>
                    <a:pt x="557" y="356"/>
                  </a:lnTo>
                  <a:lnTo>
                    <a:pt x="558" y="357"/>
                  </a:lnTo>
                  <a:lnTo>
                    <a:pt x="558" y="359"/>
                  </a:lnTo>
                  <a:lnTo>
                    <a:pt x="558" y="361"/>
                  </a:lnTo>
                  <a:lnTo>
                    <a:pt x="553" y="366"/>
                  </a:lnTo>
                  <a:lnTo>
                    <a:pt x="552" y="367"/>
                  </a:lnTo>
                  <a:lnTo>
                    <a:pt x="551" y="367"/>
                  </a:lnTo>
                  <a:lnTo>
                    <a:pt x="550" y="366"/>
                  </a:lnTo>
                  <a:lnTo>
                    <a:pt x="549" y="365"/>
                  </a:lnTo>
                  <a:lnTo>
                    <a:pt x="547" y="365"/>
                  </a:lnTo>
                  <a:lnTo>
                    <a:pt x="546" y="365"/>
                  </a:lnTo>
                  <a:lnTo>
                    <a:pt x="544" y="365"/>
                  </a:lnTo>
                  <a:lnTo>
                    <a:pt x="543" y="366"/>
                  </a:lnTo>
                  <a:lnTo>
                    <a:pt x="541" y="365"/>
                  </a:lnTo>
                  <a:lnTo>
                    <a:pt x="533" y="360"/>
                  </a:lnTo>
                  <a:lnTo>
                    <a:pt x="526" y="351"/>
                  </a:lnTo>
                  <a:lnTo>
                    <a:pt x="525" y="350"/>
                  </a:lnTo>
                  <a:lnTo>
                    <a:pt x="523" y="350"/>
                  </a:lnTo>
                  <a:lnTo>
                    <a:pt x="521" y="350"/>
                  </a:lnTo>
                  <a:lnTo>
                    <a:pt x="517" y="346"/>
                  </a:lnTo>
                  <a:lnTo>
                    <a:pt x="516" y="340"/>
                  </a:lnTo>
                  <a:lnTo>
                    <a:pt x="518" y="335"/>
                  </a:lnTo>
                  <a:lnTo>
                    <a:pt x="523" y="333"/>
                  </a:lnTo>
                  <a:lnTo>
                    <a:pt x="519" y="330"/>
                  </a:lnTo>
                  <a:lnTo>
                    <a:pt x="515" y="327"/>
                  </a:lnTo>
                  <a:lnTo>
                    <a:pt x="513" y="324"/>
                  </a:lnTo>
                  <a:lnTo>
                    <a:pt x="514" y="320"/>
                  </a:lnTo>
                  <a:lnTo>
                    <a:pt x="512" y="320"/>
                  </a:lnTo>
                  <a:lnTo>
                    <a:pt x="503" y="318"/>
                  </a:lnTo>
                  <a:lnTo>
                    <a:pt x="497" y="318"/>
                  </a:lnTo>
                  <a:lnTo>
                    <a:pt x="491" y="319"/>
                  </a:lnTo>
                  <a:lnTo>
                    <a:pt x="489" y="321"/>
                  </a:lnTo>
                  <a:lnTo>
                    <a:pt x="483" y="326"/>
                  </a:lnTo>
                  <a:lnTo>
                    <a:pt x="481" y="327"/>
                  </a:lnTo>
                  <a:lnTo>
                    <a:pt x="479" y="328"/>
                  </a:lnTo>
                  <a:lnTo>
                    <a:pt x="475" y="329"/>
                  </a:lnTo>
                  <a:lnTo>
                    <a:pt x="472" y="329"/>
                  </a:lnTo>
                  <a:lnTo>
                    <a:pt x="470" y="328"/>
                  </a:lnTo>
                  <a:lnTo>
                    <a:pt x="465" y="324"/>
                  </a:lnTo>
                  <a:lnTo>
                    <a:pt x="464" y="322"/>
                  </a:lnTo>
                  <a:lnTo>
                    <a:pt x="463" y="321"/>
                  </a:lnTo>
                  <a:lnTo>
                    <a:pt x="461" y="316"/>
                  </a:lnTo>
                  <a:lnTo>
                    <a:pt x="461" y="314"/>
                  </a:lnTo>
                  <a:lnTo>
                    <a:pt x="458" y="314"/>
                  </a:lnTo>
                  <a:lnTo>
                    <a:pt x="452" y="316"/>
                  </a:lnTo>
                  <a:lnTo>
                    <a:pt x="449" y="316"/>
                  </a:lnTo>
                  <a:lnTo>
                    <a:pt x="440" y="315"/>
                  </a:lnTo>
                  <a:lnTo>
                    <a:pt x="437" y="315"/>
                  </a:lnTo>
                  <a:lnTo>
                    <a:pt x="433" y="317"/>
                  </a:lnTo>
                  <a:lnTo>
                    <a:pt x="431" y="317"/>
                  </a:lnTo>
                  <a:lnTo>
                    <a:pt x="430" y="316"/>
                  </a:lnTo>
                  <a:lnTo>
                    <a:pt x="429" y="313"/>
                  </a:lnTo>
                  <a:lnTo>
                    <a:pt x="430" y="311"/>
                  </a:lnTo>
                  <a:lnTo>
                    <a:pt x="430" y="310"/>
                  </a:lnTo>
                  <a:lnTo>
                    <a:pt x="431" y="308"/>
                  </a:lnTo>
                  <a:lnTo>
                    <a:pt x="431" y="306"/>
                  </a:lnTo>
                  <a:lnTo>
                    <a:pt x="432" y="305"/>
                  </a:lnTo>
                  <a:lnTo>
                    <a:pt x="431" y="305"/>
                  </a:lnTo>
                  <a:lnTo>
                    <a:pt x="429" y="306"/>
                  </a:lnTo>
                  <a:lnTo>
                    <a:pt x="428" y="306"/>
                  </a:lnTo>
                  <a:lnTo>
                    <a:pt x="424" y="310"/>
                  </a:lnTo>
                  <a:lnTo>
                    <a:pt x="421" y="311"/>
                  </a:lnTo>
                  <a:lnTo>
                    <a:pt x="422" y="313"/>
                  </a:lnTo>
                  <a:lnTo>
                    <a:pt x="422" y="314"/>
                  </a:lnTo>
                  <a:lnTo>
                    <a:pt x="424" y="316"/>
                  </a:lnTo>
                  <a:lnTo>
                    <a:pt x="425" y="317"/>
                  </a:lnTo>
                  <a:lnTo>
                    <a:pt x="425" y="317"/>
                  </a:lnTo>
                  <a:lnTo>
                    <a:pt x="426" y="319"/>
                  </a:lnTo>
                  <a:lnTo>
                    <a:pt x="426" y="325"/>
                  </a:lnTo>
                  <a:lnTo>
                    <a:pt x="426" y="327"/>
                  </a:lnTo>
                  <a:lnTo>
                    <a:pt x="425" y="329"/>
                  </a:lnTo>
                  <a:lnTo>
                    <a:pt x="421" y="335"/>
                  </a:lnTo>
                  <a:lnTo>
                    <a:pt x="420" y="335"/>
                  </a:lnTo>
                  <a:lnTo>
                    <a:pt x="383" y="333"/>
                  </a:lnTo>
                  <a:lnTo>
                    <a:pt x="370" y="336"/>
                  </a:lnTo>
                  <a:lnTo>
                    <a:pt x="368" y="337"/>
                  </a:lnTo>
                  <a:lnTo>
                    <a:pt x="366" y="341"/>
                  </a:lnTo>
                  <a:lnTo>
                    <a:pt x="365" y="341"/>
                  </a:lnTo>
                  <a:lnTo>
                    <a:pt x="356" y="340"/>
                  </a:lnTo>
                  <a:lnTo>
                    <a:pt x="343" y="340"/>
                  </a:lnTo>
                  <a:lnTo>
                    <a:pt x="336" y="338"/>
                  </a:lnTo>
                  <a:lnTo>
                    <a:pt x="333" y="338"/>
                  </a:lnTo>
                  <a:lnTo>
                    <a:pt x="333" y="339"/>
                  </a:lnTo>
                  <a:lnTo>
                    <a:pt x="328" y="343"/>
                  </a:lnTo>
                  <a:lnTo>
                    <a:pt x="327" y="345"/>
                  </a:lnTo>
                  <a:lnTo>
                    <a:pt x="326" y="350"/>
                  </a:lnTo>
                  <a:lnTo>
                    <a:pt x="325" y="353"/>
                  </a:lnTo>
                  <a:lnTo>
                    <a:pt x="322" y="356"/>
                  </a:lnTo>
                  <a:lnTo>
                    <a:pt x="319" y="357"/>
                  </a:lnTo>
                  <a:lnTo>
                    <a:pt x="311" y="359"/>
                  </a:lnTo>
                  <a:lnTo>
                    <a:pt x="308" y="357"/>
                  </a:lnTo>
                  <a:lnTo>
                    <a:pt x="304" y="357"/>
                  </a:lnTo>
                  <a:lnTo>
                    <a:pt x="300" y="358"/>
                  </a:lnTo>
                  <a:lnTo>
                    <a:pt x="293" y="366"/>
                  </a:lnTo>
                  <a:lnTo>
                    <a:pt x="295" y="367"/>
                  </a:lnTo>
                  <a:lnTo>
                    <a:pt x="296" y="368"/>
                  </a:lnTo>
                  <a:lnTo>
                    <a:pt x="297" y="370"/>
                  </a:lnTo>
                  <a:lnTo>
                    <a:pt x="296" y="372"/>
                  </a:lnTo>
                  <a:lnTo>
                    <a:pt x="293" y="373"/>
                  </a:lnTo>
                  <a:lnTo>
                    <a:pt x="286" y="373"/>
                  </a:lnTo>
                  <a:lnTo>
                    <a:pt x="283" y="374"/>
                  </a:lnTo>
                  <a:lnTo>
                    <a:pt x="280" y="377"/>
                  </a:lnTo>
                  <a:lnTo>
                    <a:pt x="278" y="380"/>
                  </a:lnTo>
                  <a:lnTo>
                    <a:pt x="276" y="382"/>
                  </a:lnTo>
                  <a:lnTo>
                    <a:pt x="272" y="384"/>
                  </a:lnTo>
                  <a:lnTo>
                    <a:pt x="269" y="384"/>
                  </a:lnTo>
                  <a:lnTo>
                    <a:pt x="269" y="377"/>
                  </a:lnTo>
                  <a:lnTo>
                    <a:pt x="265" y="376"/>
                  </a:lnTo>
                  <a:lnTo>
                    <a:pt x="261" y="377"/>
                  </a:lnTo>
                  <a:lnTo>
                    <a:pt x="251" y="384"/>
                  </a:lnTo>
                  <a:lnTo>
                    <a:pt x="248" y="385"/>
                  </a:lnTo>
                  <a:lnTo>
                    <a:pt x="231" y="385"/>
                  </a:lnTo>
                  <a:lnTo>
                    <a:pt x="229" y="384"/>
                  </a:lnTo>
                  <a:lnTo>
                    <a:pt x="228" y="380"/>
                  </a:lnTo>
                  <a:lnTo>
                    <a:pt x="228" y="380"/>
                  </a:lnTo>
                  <a:lnTo>
                    <a:pt x="229" y="379"/>
                  </a:lnTo>
                  <a:lnTo>
                    <a:pt x="229" y="378"/>
                  </a:lnTo>
                  <a:lnTo>
                    <a:pt x="229" y="376"/>
                  </a:lnTo>
                  <a:lnTo>
                    <a:pt x="228" y="375"/>
                  </a:lnTo>
                  <a:lnTo>
                    <a:pt x="220" y="366"/>
                  </a:lnTo>
                  <a:lnTo>
                    <a:pt x="212" y="363"/>
                  </a:lnTo>
                  <a:lnTo>
                    <a:pt x="211" y="361"/>
                  </a:lnTo>
                  <a:lnTo>
                    <a:pt x="216" y="357"/>
                  </a:lnTo>
                  <a:lnTo>
                    <a:pt x="218" y="355"/>
                  </a:lnTo>
                  <a:lnTo>
                    <a:pt x="214" y="353"/>
                  </a:lnTo>
                  <a:lnTo>
                    <a:pt x="212" y="352"/>
                  </a:lnTo>
                  <a:lnTo>
                    <a:pt x="210" y="352"/>
                  </a:lnTo>
                  <a:lnTo>
                    <a:pt x="208" y="352"/>
                  </a:lnTo>
                  <a:lnTo>
                    <a:pt x="201" y="355"/>
                  </a:lnTo>
                  <a:lnTo>
                    <a:pt x="197" y="356"/>
                  </a:lnTo>
                  <a:lnTo>
                    <a:pt x="195" y="355"/>
                  </a:lnTo>
                  <a:lnTo>
                    <a:pt x="195" y="354"/>
                  </a:lnTo>
                  <a:lnTo>
                    <a:pt x="194" y="353"/>
                  </a:lnTo>
                  <a:lnTo>
                    <a:pt x="193" y="352"/>
                  </a:lnTo>
                  <a:lnTo>
                    <a:pt x="172" y="345"/>
                  </a:lnTo>
                  <a:lnTo>
                    <a:pt x="169" y="345"/>
                  </a:lnTo>
                  <a:lnTo>
                    <a:pt x="166" y="346"/>
                  </a:lnTo>
                  <a:lnTo>
                    <a:pt x="163" y="350"/>
                  </a:lnTo>
                  <a:lnTo>
                    <a:pt x="161" y="352"/>
                  </a:lnTo>
                  <a:lnTo>
                    <a:pt x="159" y="352"/>
                  </a:lnTo>
                  <a:lnTo>
                    <a:pt x="152" y="351"/>
                  </a:lnTo>
                  <a:lnTo>
                    <a:pt x="150" y="350"/>
                  </a:lnTo>
                  <a:lnTo>
                    <a:pt x="149" y="349"/>
                  </a:lnTo>
                  <a:lnTo>
                    <a:pt x="148" y="348"/>
                  </a:lnTo>
                  <a:lnTo>
                    <a:pt x="148" y="346"/>
                  </a:lnTo>
                  <a:lnTo>
                    <a:pt x="148" y="345"/>
                  </a:lnTo>
                  <a:lnTo>
                    <a:pt x="149" y="344"/>
                  </a:lnTo>
                  <a:lnTo>
                    <a:pt x="149" y="343"/>
                  </a:lnTo>
                  <a:lnTo>
                    <a:pt x="149" y="340"/>
                  </a:lnTo>
                  <a:lnTo>
                    <a:pt x="148" y="340"/>
                  </a:lnTo>
                  <a:lnTo>
                    <a:pt x="147" y="340"/>
                  </a:lnTo>
                  <a:lnTo>
                    <a:pt x="144" y="341"/>
                  </a:lnTo>
                  <a:lnTo>
                    <a:pt x="142" y="342"/>
                  </a:lnTo>
                  <a:lnTo>
                    <a:pt x="142" y="344"/>
                  </a:lnTo>
                  <a:lnTo>
                    <a:pt x="143" y="347"/>
                  </a:lnTo>
                  <a:lnTo>
                    <a:pt x="144" y="349"/>
                  </a:lnTo>
                  <a:lnTo>
                    <a:pt x="144" y="351"/>
                  </a:lnTo>
                  <a:lnTo>
                    <a:pt x="142" y="361"/>
                  </a:lnTo>
                  <a:lnTo>
                    <a:pt x="145" y="362"/>
                  </a:lnTo>
                  <a:lnTo>
                    <a:pt x="146" y="364"/>
                  </a:lnTo>
                  <a:lnTo>
                    <a:pt x="147" y="365"/>
                  </a:lnTo>
                  <a:lnTo>
                    <a:pt x="148" y="368"/>
                  </a:lnTo>
                  <a:lnTo>
                    <a:pt x="148" y="374"/>
                  </a:lnTo>
                  <a:lnTo>
                    <a:pt x="146" y="379"/>
                  </a:lnTo>
                  <a:lnTo>
                    <a:pt x="144" y="384"/>
                  </a:lnTo>
                  <a:lnTo>
                    <a:pt x="141" y="387"/>
                  </a:lnTo>
                  <a:lnTo>
                    <a:pt x="140" y="388"/>
                  </a:lnTo>
                  <a:lnTo>
                    <a:pt x="137" y="389"/>
                  </a:lnTo>
                  <a:lnTo>
                    <a:pt x="135" y="390"/>
                  </a:lnTo>
                  <a:lnTo>
                    <a:pt x="134" y="392"/>
                  </a:lnTo>
                  <a:lnTo>
                    <a:pt x="131" y="399"/>
                  </a:lnTo>
                  <a:lnTo>
                    <a:pt x="128" y="403"/>
                  </a:lnTo>
                  <a:lnTo>
                    <a:pt x="125" y="405"/>
                  </a:lnTo>
                  <a:lnTo>
                    <a:pt x="117" y="410"/>
                  </a:lnTo>
                  <a:lnTo>
                    <a:pt x="114" y="411"/>
                  </a:lnTo>
                  <a:lnTo>
                    <a:pt x="104" y="412"/>
                  </a:lnTo>
                  <a:lnTo>
                    <a:pt x="101" y="413"/>
                  </a:lnTo>
                  <a:lnTo>
                    <a:pt x="101" y="412"/>
                  </a:lnTo>
                  <a:lnTo>
                    <a:pt x="101" y="411"/>
                  </a:lnTo>
                  <a:lnTo>
                    <a:pt x="103" y="408"/>
                  </a:lnTo>
                  <a:lnTo>
                    <a:pt x="103" y="408"/>
                  </a:lnTo>
                  <a:lnTo>
                    <a:pt x="106" y="407"/>
                  </a:lnTo>
                  <a:lnTo>
                    <a:pt x="106" y="406"/>
                  </a:lnTo>
                  <a:lnTo>
                    <a:pt x="107" y="405"/>
                  </a:lnTo>
                  <a:lnTo>
                    <a:pt x="107" y="403"/>
                  </a:lnTo>
                  <a:lnTo>
                    <a:pt x="106" y="402"/>
                  </a:lnTo>
                  <a:lnTo>
                    <a:pt x="109" y="393"/>
                  </a:lnTo>
                  <a:lnTo>
                    <a:pt x="109" y="389"/>
                  </a:lnTo>
                  <a:lnTo>
                    <a:pt x="106" y="387"/>
                  </a:lnTo>
                  <a:lnTo>
                    <a:pt x="99" y="389"/>
                  </a:lnTo>
                  <a:lnTo>
                    <a:pt x="98" y="391"/>
                  </a:lnTo>
                  <a:lnTo>
                    <a:pt x="97" y="391"/>
                  </a:lnTo>
                  <a:lnTo>
                    <a:pt x="96" y="391"/>
                  </a:lnTo>
                  <a:lnTo>
                    <a:pt x="94" y="390"/>
                  </a:lnTo>
                  <a:lnTo>
                    <a:pt x="93" y="390"/>
                  </a:lnTo>
                  <a:lnTo>
                    <a:pt x="91" y="391"/>
                  </a:lnTo>
                  <a:lnTo>
                    <a:pt x="90" y="392"/>
                  </a:lnTo>
                  <a:lnTo>
                    <a:pt x="89" y="392"/>
                  </a:lnTo>
                  <a:lnTo>
                    <a:pt x="88" y="390"/>
                  </a:lnTo>
                  <a:lnTo>
                    <a:pt x="87" y="388"/>
                  </a:lnTo>
                  <a:lnTo>
                    <a:pt x="87" y="386"/>
                  </a:lnTo>
                  <a:lnTo>
                    <a:pt x="86" y="383"/>
                  </a:lnTo>
                  <a:lnTo>
                    <a:pt x="84" y="381"/>
                  </a:lnTo>
                  <a:lnTo>
                    <a:pt x="88" y="379"/>
                  </a:lnTo>
                  <a:lnTo>
                    <a:pt x="89" y="376"/>
                  </a:lnTo>
                  <a:lnTo>
                    <a:pt x="88" y="373"/>
                  </a:lnTo>
                  <a:lnTo>
                    <a:pt x="79" y="362"/>
                  </a:lnTo>
                  <a:lnTo>
                    <a:pt x="78" y="363"/>
                  </a:lnTo>
                  <a:lnTo>
                    <a:pt x="76" y="364"/>
                  </a:lnTo>
                  <a:lnTo>
                    <a:pt x="75" y="365"/>
                  </a:lnTo>
                  <a:lnTo>
                    <a:pt x="73" y="364"/>
                  </a:lnTo>
                  <a:lnTo>
                    <a:pt x="73" y="362"/>
                  </a:lnTo>
                  <a:lnTo>
                    <a:pt x="73" y="361"/>
                  </a:lnTo>
                  <a:lnTo>
                    <a:pt x="73" y="361"/>
                  </a:lnTo>
                  <a:lnTo>
                    <a:pt x="72" y="358"/>
                  </a:lnTo>
                  <a:lnTo>
                    <a:pt x="69" y="355"/>
                  </a:lnTo>
                  <a:lnTo>
                    <a:pt x="68" y="353"/>
                  </a:lnTo>
                  <a:lnTo>
                    <a:pt x="67" y="350"/>
                  </a:lnTo>
                  <a:lnTo>
                    <a:pt x="65" y="351"/>
                  </a:lnTo>
                  <a:lnTo>
                    <a:pt x="63" y="351"/>
                  </a:lnTo>
                  <a:lnTo>
                    <a:pt x="59" y="351"/>
                  </a:lnTo>
                  <a:lnTo>
                    <a:pt x="54" y="350"/>
                  </a:lnTo>
                  <a:lnTo>
                    <a:pt x="53" y="350"/>
                  </a:lnTo>
                  <a:lnTo>
                    <a:pt x="51" y="351"/>
                  </a:lnTo>
                  <a:lnTo>
                    <a:pt x="49" y="351"/>
                  </a:lnTo>
                  <a:lnTo>
                    <a:pt x="46" y="349"/>
                  </a:lnTo>
                  <a:lnTo>
                    <a:pt x="46" y="347"/>
                  </a:lnTo>
                  <a:lnTo>
                    <a:pt x="46" y="344"/>
                  </a:lnTo>
                  <a:lnTo>
                    <a:pt x="45" y="341"/>
                  </a:lnTo>
                  <a:lnTo>
                    <a:pt x="44" y="339"/>
                  </a:lnTo>
                  <a:lnTo>
                    <a:pt x="41" y="338"/>
                  </a:lnTo>
                  <a:lnTo>
                    <a:pt x="39" y="339"/>
                  </a:lnTo>
                  <a:lnTo>
                    <a:pt x="37" y="340"/>
                  </a:lnTo>
                  <a:lnTo>
                    <a:pt x="33" y="344"/>
                  </a:lnTo>
                  <a:lnTo>
                    <a:pt x="31" y="348"/>
                  </a:lnTo>
                  <a:lnTo>
                    <a:pt x="29" y="352"/>
                  </a:lnTo>
                  <a:lnTo>
                    <a:pt x="25" y="354"/>
                  </a:lnTo>
                  <a:lnTo>
                    <a:pt x="15" y="354"/>
                  </a:lnTo>
                  <a:lnTo>
                    <a:pt x="5" y="351"/>
                  </a:lnTo>
                  <a:lnTo>
                    <a:pt x="5" y="351"/>
                  </a:lnTo>
                  <a:lnTo>
                    <a:pt x="4" y="351"/>
                  </a:lnTo>
                  <a:lnTo>
                    <a:pt x="5" y="355"/>
                  </a:lnTo>
                  <a:lnTo>
                    <a:pt x="5" y="356"/>
                  </a:lnTo>
                  <a:lnTo>
                    <a:pt x="10" y="364"/>
                  </a:lnTo>
                  <a:lnTo>
                    <a:pt x="16" y="366"/>
                  </a:lnTo>
                  <a:lnTo>
                    <a:pt x="20" y="370"/>
                  </a:lnTo>
                  <a:lnTo>
                    <a:pt x="20" y="380"/>
                  </a:lnTo>
                  <a:lnTo>
                    <a:pt x="19" y="384"/>
                  </a:lnTo>
                  <a:lnTo>
                    <a:pt x="13" y="392"/>
                  </a:lnTo>
                  <a:lnTo>
                    <a:pt x="12" y="394"/>
                  </a:lnTo>
                  <a:lnTo>
                    <a:pt x="11" y="398"/>
                  </a:lnTo>
                  <a:lnTo>
                    <a:pt x="10" y="399"/>
                  </a:lnTo>
                  <a:lnTo>
                    <a:pt x="5" y="406"/>
                  </a:lnTo>
                  <a:lnTo>
                    <a:pt x="0" y="414"/>
                  </a:lnTo>
                  <a:lnTo>
                    <a:pt x="1" y="417"/>
                  </a:lnTo>
                  <a:lnTo>
                    <a:pt x="4" y="419"/>
                  </a:lnTo>
                  <a:lnTo>
                    <a:pt x="3" y="422"/>
                  </a:lnTo>
                  <a:lnTo>
                    <a:pt x="4" y="424"/>
                  </a:lnTo>
                  <a:lnTo>
                    <a:pt x="5" y="426"/>
                  </a:lnTo>
                  <a:lnTo>
                    <a:pt x="7" y="430"/>
                  </a:lnTo>
                  <a:lnTo>
                    <a:pt x="6" y="431"/>
                  </a:lnTo>
                  <a:lnTo>
                    <a:pt x="5" y="435"/>
                  </a:lnTo>
                  <a:lnTo>
                    <a:pt x="5" y="437"/>
                  </a:lnTo>
                  <a:lnTo>
                    <a:pt x="10" y="440"/>
                  </a:lnTo>
                  <a:lnTo>
                    <a:pt x="13" y="445"/>
                  </a:lnTo>
                  <a:lnTo>
                    <a:pt x="15" y="451"/>
                  </a:lnTo>
                  <a:lnTo>
                    <a:pt x="14" y="457"/>
                  </a:lnTo>
                  <a:lnTo>
                    <a:pt x="10" y="462"/>
                  </a:lnTo>
                  <a:lnTo>
                    <a:pt x="12" y="463"/>
                  </a:lnTo>
                  <a:lnTo>
                    <a:pt x="21" y="462"/>
                  </a:lnTo>
                  <a:lnTo>
                    <a:pt x="24" y="462"/>
                  </a:lnTo>
                  <a:lnTo>
                    <a:pt x="54" y="472"/>
                  </a:lnTo>
                  <a:lnTo>
                    <a:pt x="53" y="475"/>
                  </a:lnTo>
                  <a:lnTo>
                    <a:pt x="54" y="475"/>
                  </a:lnTo>
                  <a:lnTo>
                    <a:pt x="55" y="475"/>
                  </a:lnTo>
                  <a:lnTo>
                    <a:pt x="55" y="476"/>
                  </a:lnTo>
                  <a:lnTo>
                    <a:pt x="55" y="477"/>
                  </a:lnTo>
                  <a:lnTo>
                    <a:pt x="55" y="479"/>
                  </a:lnTo>
                  <a:lnTo>
                    <a:pt x="54" y="485"/>
                  </a:lnTo>
                  <a:lnTo>
                    <a:pt x="54" y="487"/>
                  </a:lnTo>
                  <a:lnTo>
                    <a:pt x="54" y="490"/>
                  </a:lnTo>
                  <a:lnTo>
                    <a:pt x="56" y="492"/>
                  </a:lnTo>
                  <a:lnTo>
                    <a:pt x="60" y="496"/>
                  </a:lnTo>
                  <a:lnTo>
                    <a:pt x="77" y="501"/>
                  </a:lnTo>
                  <a:lnTo>
                    <a:pt x="83" y="507"/>
                  </a:lnTo>
                  <a:lnTo>
                    <a:pt x="87" y="509"/>
                  </a:lnTo>
                  <a:lnTo>
                    <a:pt x="94" y="511"/>
                  </a:lnTo>
                  <a:lnTo>
                    <a:pt x="96" y="511"/>
                  </a:lnTo>
                  <a:lnTo>
                    <a:pt x="97" y="511"/>
                  </a:lnTo>
                  <a:lnTo>
                    <a:pt x="101" y="510"/>
                  </a:lnTo>
                  <a:lnTo>
                    <a:pt x="108" y="506"/>
                  </a:lnTo>
                  <a:lnTo>
                    <a:pt x="110" y="504"/>
                  </a:lnTo>
                  <a:lnTo>
                    <a:pt x="110" y="502"/>
                  </a:lnTo>
                  <a:lnTo>
                    <a:pt x="110" y="501"/>
                  </a:lnTo>
                  <a:lnTo>
                    <a:pt x="111" y="497"/>
                  </a:lnTo>
                  <a:lnTo>
                    <a:pt x="113" y="493"/>
                  </a:lnTo>
                  <a:lnTo>
                    <a:pt x="116" y="493"/>
                  </a:lnTo>
                  <a:lnTo>
                    <a:pt x="119" y="494"/>
                  </a:lnTo>
                  <a:lnTo>
                    <a:pt x="123" y="494"/>
                  </a:lnTo>
                  <a:lnTo>
                    <a:pt x="123" y="489"/>
                  </a:lnTo>
                  <a:lnTo>
                    <a:pt x="126" y="484"/>
                  </a:lnTo>
                  <a:lnTo>
                    <a:pt x="130" y="479"/>
                  </a:lnTo>
                  <a:lnTo>
                    <a:pt x="134" y="477"/>
                  </a:lnTo>
                  <a:lnTo>
                    <a:pt x="135" y="477"/>
                  </a:lnTo>
                  <a:lnTo>
                    <a:pt x="136" y="477"/>
                  </a:lnTo>
                  <a:lnTo>
                    <a:pt x="137" y="477"/>
                  </a:lnTo>
                  <a:lnTo>
                    <a:pt x="137" y="477"/>
                  </a:lnTo>
                  <a:lnTo>
                    <a:pt x="137" y="477"/>
                  </a:lnTo>
                  <a:lnTo>
                    <a:pt x="139" y="479"/>
                  </a:lnTo>
                  <a:lnTo>
                    <a:pt x="142" y="484"/>
                  </a:lnTo>
                  <a:lnTo>
                    <a:pt x="147" y="489"/>
                  </a:lnTo>
                  <a:lnTo>
                    <a:pt x="149" y="490"/>
                  </a:lnTo>
                  <a:lnTo>
                    <a:pt x="150" y="494"/>
                  </a:lnTo>
                  <a:lnTo>
                    <a:pt x="148" y="502"/>
                  </a:lnTo>
                  <a:lnTo>
                    <a:pt x="148" y="507"/>
                  </a:lnTo>
                  <a:lnTo>
                    <a:pt x="153" y="511"/>
                  </a:lnTo>
                  <a:lnTo>
                    <a:pt x="160" y="512"/>
                  </a:lnTo>
                  <a:lnTo>
                    <a:pt x="176" y="507"/>
                  </a:lnTo>
                  <a:lnTo>
                    <a:pt x="179" y="507"/>
                  </a:lnTo>
                  <a:lnTo>
                    <a:pt x="181" y="508"/>
                  </a:lnTo>
                  <a:lnTo>
                    <a:pt x="193" y="515"/>
                  </a:lnTo>
                  <a:lnTo>
                    <a:pt x="195" y="517"/>
                  </a:lnTo>
                  <a:lnTo>
                    <a:pt x="194" y="519"/>
                  </a:lnTo>
                  <a:lnTo>
                    <a:pt x="191" y="522"/>
                  </a:lnTo>
                  <a:lnTo>
                    <a:pt x="190" y="523"/>
                  </a:lnTo>
                  <a:lnTo>
                    <a:pt x="191" y="525"/>
                  </a:lnTo>
                  <a:lnTo>
                    <a:pt x="192" y="525"/>
                  </a:lnTo>
                  <a:lnTo>
                    <a:pt x="196" y="524"/>
                  </a:lnTo>
                  <a:lnTo>
                    <a:pt x="198" y="525"/>
                  </a:lnTo>
                  <a:lnTo>
                    <a:pt x="202" y="527"/>
                  </a:lnTo>
                  <a:lnTo>
                    <a:pt x="204" y="527"/>
                  </a:lnTo>
                  <a:lnTo>
                    <a:pt x="207" y="526"/>
                  </a:lnTo>
                  <a:lnTo>
                    <a:pt x="208" y="526"/>
                  </a:lnTo>
                  <a:lnTo>
                    <a:pt x="210" y="527"/>
                  </a:lnTo>
                  <a:lnTo>
                    <a:pt x="213" y="530"/>
                  </a:lnTo>
                  <a:lnTo>
                    <a:pt x="214" y="530"/>
                  </a:lnTo>
                  <a:lnTo>
                    <a:pt x="216" y="530"/>
                  </a:lnTo>
                  <a:lnTo>
                    <a:pt x="221" y="528"/>
                  </a:lnTo>
                  <a:lnTo>
                    <a:pt x="224" y="528"/>
                  </a:lnTo>
                  <a:lnTo>
                    <a:pt x="229" y="529"/>
                  </a:lnTo>
                  <a:lnTo>
                    <a:pt x="232" y="529"/>
                  </a:lnTo>
                  <a:lnTo>
                    <a:pt x="234" y="529"/>
                  </a:lnTo>
                  <a:lnTo>
                    <a:pt x="236" y="527"/>
                  </a:lnTo>
                  <a:lnTo>
                    <a:pt x="240" y="521"/>
                  </a:lnTo>
                  <a:lnTo>
                    <a:pt x="241" y="520"/>
                  </a:lnTo>
                  <a:lnTo>
                    <a:pt x="242" y="519"/>
                  </a:lnTo>
                  <a:lnTo>
                    <a:pt x="243" y="518"/>
                  </a:lnTo>
                  <a:lnTo>
                    <a:pt x="243" y="517"/>
                  </a:lnTo>
                  <a:lnTo>
                    <a:pt x="243" y="515"/>
                  </a:lnTo>
                  <a:lnTo>
                    <a:pt x="243" y="514"/>
                  </a:lnTo>
                  <a:lnTo>
                    <a:pt x="246" y="507"/>
                  </a:lnTo>
                  <a:lnTo>
                    <a:pt x="248" y="499"/>
                  </a:lnTo>
                  <a:lnTo>
                    <a:pt x="249" y="496"/>
                  </a:lnTo>
                  <a:lnTo>
                    <a:pt x="259" y="486"/>
                  </a:lnTo>
                  <a:lnTo>
                    <a:pt x="262" y="484"/>
                  </a:lnTo>
                  <a:lnTo>
                    <a:pt x="274" y="481"/>
                  </a:lnTo>
                  <a:lnTo>
                    <a:pt x="284" y="479"/>
                  </a:lnTo>
                  <a:lnTo>
                    <a:pt x="290" y="480"/>
                  </a:lnTo>
                  <a:lnTo>
                    <a:pt x="295" y="482"/>
                  </a:lnTo>
                  <a:lnTo>
                    <a:pt x="300" y="482"/>
                  </a:lnTo>
                  <a:lnTo>
                    <a:pt x="305" y="477"/>
                  </a:lnTo>
                  <a:lnTo>
                    <a:pt x="305" y="477"/>
                  </a:lnTo>
                  <a:lnTo>
                    <a:pt x="307" y="475"/>
                  </a:lnTo>
                  <a:lnTo>
                    <a:pt x="308" y="474"/>
                  </a:lnTo>
                  <a:lnTo>
                    <a:pt x="310" y="474"/>
                  </a:lnTo>
                  <a:lnTo>
                    <a:pt x="313" y="475"/>
                  </a:lnTo>
                  <a:lnTo>
                    <a:pt x="313" y="475"/>
                  </a:lnTo>
                  <a:lnTo>
                    <a:pt x="314" y="476"/>
                  </a:lnTo>
                  <a:lnTo>
                    <a:pt x="315" y="477"/>
                  </a:lnTo>
                  <a:lnTo>
                    <a:pt x="317" y="478"/>
                  </a:lnTo>
                  <a:lnTo>
                    <a:pt x="318" y="478"/>
                  </a:lnTo>
                  <a:lnTo>
                    <a:pt x="319" y="478"/>
                  </a:lnTo>
                  <a:lnTo>
                    <a:pt x="321" y="477"/>
                  </a:lnTo>
                  <a:lnTo>
                    <a:pt x="321" y="477"/>
                  </a:lnTo>
                  <a:lnTo>
                    <a:pt x="321" y="477"/>
                  </a:lnTo>
                  <a:lnTo>
                    <a:pt x="321" y="477"/>
                  </a:lnTo>
                  <a:lnTo>
                    <a:pt x="326" y="476"/>
                  </a:lnTo>
                  <a:lnTo>
                    <a:pt x="329" y="476"/>
                  </a:lnTo>
                  <a:lnTo>
                    <a:pt x="337" y="477"/>
                  </a:lnTo>
                  <a:lnTo>
                    <a:pt x="338" y="477"/>
                  </a:lnTo>
                  <a:lnTo>
                    <a:pt x="338" y="477"/>
                  </a:lnTo>
                  <a:lnTo>
                    <a:pt x="339" y="477"/>
                  </a:lnTo>
                  <a:lnTo>
                    <a:pt x="340" y="477"/>
                  </a:lnTo>
                  <a:lnTo>
                    <a:pt x="343" y="477"/>
                  </a:lnTo>
                  <a:lnTo>
                    <a:pt x="348" y="481"/>
                  </a:lnTo>
                  <a:lnTo>
                    <a:pt x="351" y="482"/>
                  </a:lnTo>
                  <a:lnTo>
                    <a:pt x="353" y="482"/>
                  </a:lnTo>
                  <a:lnTo>
                    <a:pt x="356" y="479"/>
                  </a:lnTo>
                  <a:lnTo>
                    <a:pt x="358" y="478"/>
                  </a:lnTo>
                  <a:lnTo>
                    <a:pt x="365" y="477"/>
                  </a:lnTo>
                  <a:lnTo>
                    <a:pt x="371" y="473"/>
                  </a:lnTo>
                  <a:lnTo>
                    <a:pt x="377" y="469"/>
                  </a:lnTo>
                  <a:lnTo>
                    <a:pt x="385" y="467"/>
                  </a:lnTo>
                  <a:lnTo>
                    <a:pt x="396" y="466"/>
                  </a:lnTo>
                  <a:lnTo>
                    <a:pt x="412" y="458"/>
                  </a:lnTo>
                  <a:lnTo>
                    <a:pt x="415" y="457"/>
                  </a:lnTo>
                  <a:lnTo>
                    <a:pt x="422" y="456"/>
                  </a:lnTo>
                  <a:lnTo>
                    <a:pt x="426" y="457"/>
                  </a:lnTo>
                  <a:lnTo>
                    <a:pt x="426" y="460"/>
                  </a:lnTo>
                  <a:lnTo>
                    <a:pt x="426" y="463"/>
                  </a:lnTo>
                  <a:lnTo>
                    <a:pt x="422" y="468"/>
                  </a:lnTo>
                  <a:lnTo>
                    <a:pt x="413" y="473"/>
                  </a:lnTo>
                  <a:lnTo>
                    <a:pt x="411" y="477"/>
                  </a:lnTo>
                  <a:lnTo>
                    <a:pt x="412" y="480"/>
                  </a:lnTo>
                  <a:lnTo>
                    <a:pt x="413" y="482"/>
                  </a:lnTo>
                  <a:lnTo>
                    <a:pt x="414" y="487"/>
                  </a:lnTo>
                  <a:lnTo>
                    <a:pt x="415" y="490"/>
                  </a:lnTo>
                  <a:lnTo>
                    <a:pt x="416" y="492"/>
                  </a:lnTo>
                  <a:lnTo>
                    <a:pt x="416" y="494"/>
                  </a:lnTo>
                  <a:lnTo>
                    <a:pt x="414" y="497"/>
                  </a:lnTo>
                  <a:lnTo>
                    <a:pt x="415" y="497"/>
                  </a:lnTo>
                  <a:lnTo>
                    <a:pt x="419" y="498"/>
                  </a:lnTo>
                  <a:lnTo>
                    <a:pt x="421" y="499"/>
                  </a:lnTo>
                  <a:lnTo>
                    <a:pt x="423" y="501"/>
                  </a:lnTo>
                  <a:lnTo>
                    <a:pt x="423" y="502"/>
                  </a:lnTo>
                  <a:lnTo>
                    <a:pt x="425" y="503"/>
                  </a:lnTo>
                  <a:lnTo>
                    <a:pt x="427" y="504"/>
                  </a:lnTo>
                  <a:lnTo>
                    <a:pt x="433" y="504"/>
                  </a:lnTo>
                  <a:lnTo>
                    <a:pt x="436" y="506"/>
                  </a:lnTo>
                  <a:lnTo>
                    <a:pt x="437" y="511"/>
                  </a:lnTo>
                  <a:lnTo>
                    <a:pt x="437" y="514"/>
                  </a:lnTo>
                  <a:lnTo>
                    <a:pt x="437" y="516"/>
                  </a:lnTo>
                  <a:lnTo>
                    <a:pt x="436" y="517"/>
                  </a:lnTo>
                  <a:lnTo>
                    <a:pt x="436" y="520"/>
                  </a:lnTo>
                  <a:lnTo>
                    <a:pt x="436" y="523"/>
                  </a:lnTo>
                  <a:lnTo>
                    <a:pt x="436" y="525"/>
                  </a:lnTo>
                  <a:lnTo>
                    <a:pt x="437" y="526"/>
                  </a:lnTo>
                  <a:lnTo>
                    <a:pt x="439" y="526"/>
                  </a:lnTo>
                  <a:lnTo>
                    <a:pt x="442" y="528"/>
                  </a:lnTo>
                  <a:lnTo>
                    <a:pt x="445" y="528"/>
                  </a:lnTo>
                  <a:lnTo>
                    <a:pt x="448" y="530"/>
                  </a:lnTo>
                  <a:lnTo>
                    <a:pt x="449" y="535"/>
                  </a:lnTo>
                  <a:lnTo>
                    <a:pt x="452" y="542"/>
                  </a:lnTo>
                  <a:lnTo>
                    <a:pt x="458" y="547"/>
                  </a:lnTo>
                  <a:lnTo>
                    <a:pt x="464" y="550"/>
                  </a:lnTo>
                  <a:lnTo>
                    <a:pt x="468" y="550"/>
                  </a:lnTo>
                  <a:lnTo>
                    <a:pt x="473" y="551"/>
                  </a:lnTo>
                  <a:lnTo>
                    <a:pt x="478" y="555"/>
                  </a:lnTo>
                  <a:lnTo>
                    <a:pt x="480" y="556"/>
                  </a:lnTo>
                  <a:lnTo>
                    <a:pt x="483" y="556"/>
                  </a:lnTo>
                  <a:lnTo>
                    <a:pt x="492" y="555"/>
                  </a:lnTo>
                  <a:lnTo>
                    <a:pt x="500" y="556"/>
                  </a:lnTo>
                  <a:lnTo>
                    <a:pt x="500" y="556"/>
                  </a:lnTo>
                  <a:lnTo>
                    <a:pt x="501" y="556"/>
                  </a:lnTo>
                  <a:lnTo>
                    <a:pt x="504" y="559"/>
                  </a:lnTo>
                  <a:lnTo>
                    <a:pt x="506" y="560"/>
                  </a:lnTo>
                  <a:lnTo>
                    <a:pt x="507" y="559"/>
                  </a:lnTo>
                  <a:lnTo>
                    <a:pt x="510" y="558"/>
                  </a:lnTo>
                  <a:lnTo>
                    <a:pt x="511" y="558"/>
                  </a:lnTo>
                  <a:lnTo>
                    <a:pt x="512" y="559"/>
                  </a:lnTo>
                  <a:lnTo>
                    <a:pt x="516" y="560"/>
                  </a:lnTo>
                  <a:lnTo>
                    <a:pt x="525" y="566"/>
                  </a:lnTo>
                  <a:lnTo>
                    <a:pt x="562" y="569"/>
                  </a:lnTo>
                  <a:lnTo>
                    <a:pt x="576" y="572"/>
                  </a:lnTo>
                  <a:lnTo>
                    <a:pt x="586" y="578"/>
                  </a:lnTo>
                  <a:lnTo>
                    <a:pt x="589" y="579"/>
                  </a:lnTo>
                  <a:lnTo>
                    <a:pt x="595" y="580"/>
                  </a:lnTo>
                  <a:lnTo>
                    <a:pt x="611" y="576"/>
                  </a:lnTo>
                  <a:lnTo>
                    <a:pt x="618" y="577"/>
                  </a:lnTo>
                  <a:lnTo>
                    <a:pt x="628" y="576"/>
                  </a:lnTo>
                  <a:lnTo>
                    <a:pt x="629" y="577"/>
                  </a:lnTo>
                  <a:lnTo>
                    <a:pt x="631" y="580"/>
                  </a:lnTo>
                  <a:lnTo>
                    <a:pt x="633" y="580"/>
                  </a:lnTo>
                  <a:lnTo>
                    <a:pt x="639" y="580"/>
                  </a:lnTo>
                  <a:lnTo>
                    <a:pt x="659" y="587"/>
                  </a:lnTo>
                  <a:lnTo>
                    <a:pt x="661" y="587"/>
                  </a:lnTo>
                  <a:lnTo>
                    <a:pt x="664" y="587"/>
                  </a:lnTo>
                  <a:lnTo>
                    <a:pt x="666" y="587"/>
                  </a:lnTo>
                  <a:lnTo>
                    <a:pt x="676" y="589"/>
                  </a:lnTo>
                  <a:lnTo>
                    <a:pt x="679" y="589"/>
                  </a:lnTo>
                  <a:lnTo>
                    <a:pt x="689" y="588"/>
                  </a:lnTo>
                  <a:lnTo>
                    <a:pt x="694" y="588"/>
                  </a:lnTo>
                  <a:lnTo>
                    <a:pt x="708" y="595"/>
                  </a:lnTo>
                  <a:lnTo>
                    <a:pt x="711" y="595"/>
                  </a:lnTo>
                  <a:lnTo>
                    <a:pt x="713" y="595"/>
                  </a:lnTo>
                  <a:lnTo>
                    <a:pt x="716" y="594"/>
                  </a:lnTo>
                  <a:lnTo>
                    <a:pt x="719" y="595"/>
                  </a:lnTo>
                  <a:lnTo>
                    <a:pt x="721" y="595"/>
                  </a:lnTo>
                  <a:lnTo>
                    <a:pt x="724" y="597"/>
                  </a:lnTo>
                  <a:lnTo>
                    <a:pt x="733" y="604"/>
                  </a:lnTo>
                  <a:lnTo>
                    <a:pt x="734" y="605"/>
                  </a:lnTo>
                  <a:lnTo>
                    <a:pt x="735" y="605"/>
                  </a:lnTo>
                  <a:lnTo>
                    <a:pt x="749" y="605"/>
                  </a:lnTo>
                  <a:lnTo>
                    <a:pt x="768" y="606"/>
                  </a:lnTo>
                  <a:lnTo>
                    <a:pt x="774" y="605"/>
                  </a:lnTo>
                  <a:lnTo>
                    <a:pt x="775" y="605"/>
                  </a:lnTo>
                  <a:lnTo>
                    <a:pt x="776" y="606"/>
                  </a:lnTo>
                  <a:lnTo>
                    <a:pt x="777" y="607"/>
                  </a:lnTo>
                  <a:lnTo>
                    <a:pt x="777" y="609"/>
                  </a:lnTo>
                  <a:lnTo>
                    <a:pt x="780" y="610"/>
                  </a:lnTo>
                  <a:lnTo>
                    <a:pt x="782" y="611"/>
                  </a:lnTo>
                  <a:lnTo>
                    <a:pt x="785" y="611"/>
                  </a:lnTo>
                  <a:lnTo>
                    <a:pt x="791" y="610"/>
                  </a:lnTo>
                  <a:lnTo>
                    <a:pt x="793" y="613"/>
                  </a:lnTo>
                  <a:lnTo>
                    <a:pt x="795" y="617"/>
                  </a:lnTo>
                  <a:lnTo>
                    <a:pt x="797" y="619"/>
                  </a:lnTo>
                  <a:lnTo>
                    <a:pt x="799" y="618"/>
                  </a:lnTo>
                  <a:lnTo>
                    <a:pt x="800" y="616"/>
                  </a:lnTo>
                  <a:lnTo>
                    <a:pt x="801" y="614"/>
                  </a:lnTo>
                  <a:lnTo>
                    <a:pt x="802" y="609"/>
                  </a:lnTo>
                  <a:lnTo>
                    <a:pt x="805" y="606"/>
                  </a:lnTo>
                  <a:lnTo>
                    <a:pt x="806" y="605"/>
                  </a:lnTo>
                  <a:lnTo>
                    <a:pt x="810" y="605"/>
                  </a:lnTo>
                  <a:lnTo>
                    <a:pt x="811" y="605"/>
                  </a:lnTo>
                  <a:lnTo>
                    <a:pt x="813" y="604"/>
                  </a:lnTo>
                  <a:lnTo>
                    <a:pt x="816" y="600"/>
                  </a:lnTo>
                  <a:lnTo>
                    <a:pt x="817" y="600"/>
                  </a:lnTo>
                  <a:lnTo>
                    <a:pt x="818" y="600"/>
                  </a:lnTo>
                  <a:lnTo>
                    <a:pt x="819" y="600"/>
                  </a:lnTo>
                  <a:lnTo>
                    <a:pt x="820" y="598"/>
                  </a:lnTo>
                  <a:lnTo>
                    <a:pt x="822" y="595"/>
                  </a:lnTo>
                  <a:lnTo>
                    <a:pt x="823" y="594"/>
                  </a:lnTo>
                  <a:lnTo>
                    <a:pt x="824" y="593"/>
                  </a:lnTo>
                  <a:lnTo>
                    <a:pt x="826" y="592"/>
                  </a:lnTo>
                  <a:lnTo>
                    <a:pt x="828" y="593"/>
                  </a:lnTo>
                  <a:lnTo>
                    <a:pt x="832" y="592"/>
                  </a:lnTo>
                  <a:lnTo>
                    <a:pt x="835" y="590"/>
                  </a:lnTo>
                  <a:lnTo>
                    <a:pt x="836" y="589"/>
                  </a:lnTo>
                  <a:lnTo>
                    <a:pt x="837" y="587"/>
                  </a:lnTo>
                  <a:lnTo>
                    <a:pt x="839" y="583"/>
                  </a:lnTo>
                  <a:lnTo>
                    <a:pt x="840" y="579"/>
                  </a:lnTo>
                  <a:lnTo>
                    <a:pt x="841" y="575"/>
                  </a:lnTo>
                  <a:lnTo>
                    <a:pt x="843" y="572"/>
                  </a:lnTo>
                  <a:lnTo>
                    <a:pt x="846" y="568"/>
                  </a:lnTo>
                  <a:lnTo>
                    <a:pt x="848" y="567"/>
                  </a:lnTo>
                  <a:lnTo>
                    <a:pt x="850" y="567"/>
                  </a:lnTo>
                  <a:lnTo>
                    <a:pt x="853" y="567"/>
                  </a:lnTo>
                  <a:lnTo>
                    <a:pt x="853" y="567"/>
                  </a:lnTo>
                  <a:lnTo>
                    <a:pt x="857" y="565"/>
                  </a:lnTo>
                  <a:lnTo>
                    <a:pt x="859" y="563"/>
                  </a:lnTo>
                  <a:lnTo>
                    <a:pt x="861" y="564"/>
                  </a:lnTo>
                  <a:lnTo>
                    <a:pt x="865" y="568"/>
                  </a:lnTo>
                  <a:lnTo>
                    <a:pt x="870" y="560"/>
                  </a:lnTo>
                  <a:lnTo>
                    <a:pt x="879" y="557"/>
                  </a:lnTo>
                  <a:lnTo>
                    <a:pt x="883" y="557"/>
                  </a:lnTo>
                  <a:lnTo>
                    <a:pt x="886" y="557"/>
                  </a:lnTo>
                  <a:lnTo>
                    <a:pt x="897" y="559"/>
                  </a:lnTo>
                  <a:lnTo>
                    <a:pt x="902" y="559"/>
                  </a:lnTo>
                  <a:lnTo>
                    <a:pt x="923" y="558"/>
                  </a:lnTo>
                  <a:lnTo>
                    <a:pt x="931" y="558"/>
                  </a:lnTo>
                  <a:lnTo>
                    <a:pt x="936" y="559"/>
                  </a:lnTo>
                  <a:lnTo>
                    <a:pt x="939" y="562"/>
                  </a:lnTo>
                  <a:lnTo>
                    <a:pt x="939" y="562"/>
                  </a:lnTo>
                  <a:lnTo>
                    <a:pt x="943" y="565"/>
                  </a:lnTo>
                  <a:lnTo>
                    <a:pt x="948" y="564"/>
                  </a:lnTo>
                  <a:lnTo>
                    <a:pt x="951" y="561"/>
                  </a:lnTo>
                  <a:lnTo>
                    <a:pt x="951" y="560"/>
                  </a:lnTo>
                  <a:lnTo>
                    <a:pt x="952" y="559"/>
                  </a:lnTo>
                  <a:lnTo>
                    <a:pt x="952" y="557"/>
                  </a:lnTo>
                  <a:lnTo>
                    <a:pt x="952" y="557"/>
                  </a:lnTo>
                  <a:lnTo>
                    <a:pt x="954" y="553"/>
                  </a:lnTo>
                  <a:lnTo>
                    <a:pt x="956" y="551"/>
                  </a:lnTo>
                  <a:lnTo>
                    <a:pt x="960" y="550"/>
                  </a:lnTo>
                  <a:lnTo>
                    <a:pt x="963" y="550"/>
                  </a:lnTo>
                  <a:lnTo>
                    <a:pt x="965" y="551"/>
                  </a:lnTo>
                  <a:lnTo>
                    <a:pt x="967" y="551"/>
                  </a:lnTo>
                  <a:lnTo>
                    <a:pt x="968" y="550"/>
                  </a:lnTo>
                  <a:lnTo>
                    <a:pt x="969" y="550"/>
                  </a:lnTo>
                  <a:lnTo>
                    <a:pt x="970" y="547"/>
                  </a:lnTo>
                  <a:lnTo>
                    <a:pt x="970" y="545"/>
                  </a:lnTo>
                  <a:lnTo>
                    <a:pt x="971" y="541"/>
                  </a:lnTo>
                  <a:lnTo>
                    <a:pt x="973" y="543"/>
                  </a:lnTo>
                  <a:lnTo>
                    <a:pt x="985" y="544"/>
                  </a:lnTo>
                  <a:lnTo>
                    <a:pt x="989" y="544"/>
                  </a:lnTo>
                  <a:lnTo>
                    <a:pt x="994" y="542"/>
                  </a:lnTo>
                  <a:lnTo>
                    <a:pt x="1000" y="540"/>
                  </a:lnTo>
                  <a:lnTo>
                    <a:pt x="1005" y="539"/>
                  </a:lnTo>
                  <a:lnTo>
                    <a:pt x="1009" y="540"/>
                  </a:lnTo>
                  <a:lnTo>
                    <a:pt x="1020" y="546"/>
                  </a:lnTo>
                  <a:lnTo>
                    <a:pt x="1026" y="547"/>
                  </a:lnTo>
                  <a:lnTo>
                    <a:pt x="1028" y="548"/>
                  </a:lnTo>
                  <a:lnTo>
                    <a:pt x="1031" y="552"/>
                  </a:lnTo>
                  <a:lnTo>
                    <a:pt x="1031" y="552"/>
                  </a:lnTo>
                  <a:lnTo>
                    <a:pt x="1031" y="552"/>
                  </a:lnTo>
                  <a:lnTo>
                    <a:pt x="1031" y="546"/>
                  </a:lnTo>
                  <a:lnTo>
                    <a:pt x="1029" y="543"/>
                  </a:lnTo>
                  <a:lnTo>
                    <a:pt x="1026" y="541"/>
                  </a:lnTo>
                  <a:lnTo>
                    <a:pt x="1024" y="535"/>
                  </a:lnTo>
                  <a:lnTo>
                    <a:pt x="1024" y="531"/>
                  </a:lnTo>
                  <a:lnTo>
                    <a:pt x="1024" y="528"/>
                  </a:lnTo>
                  <a:lnTo>
                    <a:pt x="1024" y="527"/>
                  </a:lnTo>
                  <a:lnTo>
                    <a:pt x="1025" y="520"/>
                  </a:lnTo>
                  <a:lnTo>
                    <a:pt x="1025" y="518"/>
                  </a:lnTo>
                  <a:lnTo>
                    <a:pt x="1024" y="518"/>
                  </a:lnTo>
                  <a:lnTo>
                    <a:pt x="1024" y="517"/>
                  </a:lnTo>
                  <a:lnTo>
                    <a:pt x="1026" y="516"/>
                  </a:lnTo>
                  <a:lnTo>
                    <a:pt x="1026" y="515"/>
                  </a:lnTo>
                  <a:lnTo>
                    <a:pt x="1033" y="513"/>
                  </a:lnTo>
                  <a:lnTo>
                    <a:pt x="1033" y="513"/>
                  </a:lnTo>
                  <a:lnTo>
                    <a:pt x="1037" y="511"/>
                  </a:lnTo>
                  <a:lnTo>
                    <a:pt x="1043" y="507"/>
                  </a:lnTo>
                  <a:lnTo>
                    <a:pt x="1046" y="506"/>
                  </a:lnTo>
                  <a:lnTo>
                    <a:pt x="1048" y="504"/>
                  </a:lnTo>
                  <a:lnTo>
                    <a:pt x="1054" y="497"/>
                  </a:lnTo>
                  <a:lnTo>
                    <a:pt x="1055" y="495"/>
                  </a:lnTo>
                  <a:lnTo>
                    <a:pt x="1060" y="492"/>
                  </a:lnTo>
                  <a:lnTo>
                    <a:pt x="1063" y="490"/>
                  </a:lnTo>
                  <a:lnTo>
                    <a:pt x="1064" y="489"/>
                  </a:lnTo>
                  <a:lnTo>
                    <a:pt x="1065" y="487"/>
                  </a:lnTo>
                  <a:lnTo>
                    <a:pt x="1065" y="486"/>
                  </a:lnTo>
                  <a:lnTo>
                    <a:pt x="1065" y="485"/>
                  </a:lnTo>
                  <a:lnTo>
                    <a:pt x="1065" y="483"/>
                  </a:lnTo>
                  <a:lnTo>
                    <a:pt x="1067" y="482"/>
                  </a:lnTo>
                  <a:lnTo>
                    <a:pt x="1069" y="482"/>
                  </a:lnTo>
                  <a:lnTo>
                    <a:pt x="1070" y="481"/>
                  </a:lnTo>
                  <a:lnTo>
                    <a:pt x="1070" y="477"/>
                  </a:lnTo>
                  <a:lnTo>
                    <a:pt x="1072" y="475"/>
                  </a:lnTo>
                  <a:lnTo>
                    <a:pt x="1074" y="474"/>
                  </a:lnTo>
                  <a:lnTo>
                    <a:pt x="1080" y="476"/>
                  </a:lnTo>
                  <a:lnTo>
                    <a:pt x="1087" y="475"/>
                  </a:lnTo>
                  <a:lnTo>
                    <a:pt x="1090" y="475"/>
                  </a:lnTo>
                  <a:lnTo>
                    <a:pt x="1093" y="477"/>
                  </a:lnTo>
                  <a:lnTo>
                    <a:pt x="1094" y="478"/>
                  </a:lnTo>
                  <a:lnTo>
                    <a:pt x="1094" y="478"/>
                  </a:lnTo>
                  <a:lnTo>
                    <a:pt x="1095" y="478"/>
                  </a:lnTo>
                  <a:lnTo>
                    <a:pt x="1096" y="477"/>
                  </a:lnTo>
                  <a:lnTo>
                    <a:pt x="1096" y="477"/>
                  </a:lnTo>
                  <a:lnTo>
                    <a:pt x="1099" y="477"/>
                  </a:lnTo>
                  <a:lnTo>
                    <a:pt x="1103" y="477"/>
                  </a:lnTo>
                  <a:lnTo>
                    <a:pt x="1105" y="476"/>
                  </a:lnTo>
                  <a:lnTo>
                    <a:pt x="1105" y="473"/>
                  </a:lnTo>
                  <a:lnTo>
                    <a:pt x="1103" y="471"/>
                  </a:lnTo>
                  <a:lnTo>
                    <a:pt x="1100" y="471"/>
                  </a:lnTo>
                  <a:lnTo>
                    <a:pt x="1096" y="470"/>
                  </a:lnTo>
                  <a:lnTo>
                    <a:pt x="1098" y="468"/>
                  </a:lnTo>
                  <a:lnTo>
                    <a:pt x="1105" y="465"/>
                  </a:lnTo>
                  <a:lnTo>
                    <a:pt x="1107" y="464"/>
                  </a:lnTo>
                  <a:lnTo>
                    <a:pt x="1107" y="463"/>
                  </a:lnTo>
                  <a:lnTo>
                    <a:pt x="1107" y="462"/>
                  </a:lnTo>
                  <a:lnTo>
                    <a:pt x="1105" y="461"/>
                  </a:lnTo>
                  <a:lnTo>
                    <a:pt x="1102" y="460"/>
                  </a:lnTo>
                  <a:lnTo>
                    <a:pt x="1100" y="457"/>
                  </a:lnTo>
                  <a:lnTo>
                    <a:pt x="1101" y="453"/>
                  </a:lnTo>
                  <a:lnTo>
                    <a:pt x="1105" y="451"/>
                  </a:lnTo>
                  <a:lnTo>
                    <a:pt x="1109" y="446"/>
                  </a:lnTo>
                  <a:lnTo>
                    <a:pt x="1109" y="444"/>
                  </a:lnTo>
                  <a:lnTo>
                    <a:pt x="1107" y="441"/>
                  </a:lnTo>
                  <a:lnTo>
                    <a:pt x="1105" y="441"/>
                  </a:lnTo>
                  <a:lnTo>
                    <a:pt x="1099" y="443"/>
                  </a:lnTo>
                  <a:lnTo>
                    <a:pt x="1097" y="442"/>
                  </a:lnTo>
                  <a:lnTo>
                    <a:pt x="1097" y="440"/>
                  </a:lnTo>
                  <a:lnTo>
                    <a:pt x="1099" y="437"/>
                  </a:lnTo>
                  <a:lnTo>
                    <a:pt x="1099" y="434"/>
                  </a:lnTo>
                  <a:lnTo>
                    <a:pt x="1097" y="433"/>
                  </a:lnTo>
                  <a:lnTo>
                    <a:pt x="1096" y="433"/>
                  </a:lnTo>
                  <a:lnTo>
                    <a:pt x="1095" y="433"/>
                  </a:lnTo>
                  <a:lnTo>
                    <a:pt x="1094" y="432"/>
                  </a:lnTo>
                  <a:lnTo>
                    <a:pt x="1093" y="428"/>
                  </a:lnTo>
                  <a:lnTo>
                    <a:pt x="1096" y="423"/>
                  </a:lnTo>
                  <a:lnTo>
                    <a:pt x="1095" y="419"/>
                  </a:lnTo>
                  <a:lnTo>
                    <a:pt x="1095" y="419"/>
                  </a:lnTo>
                  <a:lnTo>
                    <a:pt x="1100" y="416"/>
                  </a:lnTo>
                  <a:lnTo>
                    <a:pt x="1102" y="414"/>
                  </a:lnTo>
                  <a:lnTo>
                    <a:pt x="1104" y="411"/>
                  </a:lnTo>
                  <a:lnTo>
                    <a:pt x="1103" y="407"/>
                  </a:lnTo>
                  <a:lnTo>
                    <a:pt x="1098" y="397"/>
                  </a:lnTo>
                  <a:lnTo>
                    <a:pt x="1098" y="397"/>
                  </a:lnTo>
                  <a:lnTo>
                    <a:pt x="1097" y="397"/>
                  </a:lnTo>
                  <a:lnTo>
                    <a:pt x="1096" y="396"/>
                  </a:lnTo>
                  <a:lnTo>
                    <a:pt x="1096" y="395"/>
                  </a:lnTo>
                  <a:lnTo>
                    <a:pt x="1096" y="394"/>
                  </a:lnTo>
                  <a:lnTo>
                    <a:pt x="1096" y="393"/>
                  </a:lnTo>
                  <a:lnTo>
                    <a:pt x="1097" y="393"/>
                  </a:lnTo>
                  <a:lnTo>
                    <a:pt x="1098" y="392"/>
                  </a:lnTo>
                  <a:lnTo>
                    <a:pt x="1097" y="383"/>
                  </a:lnTo>
                  <a:lnTo>
                    <a:pt x="1099" y="380"/>
                  </a:lnTo>
                  <a:lnTo>
                    <a:pt x="1101" y="380"/>
                  </a:lnTo>
                  <a:lnTo>
                    <a:pt x="1103" y="381"/>
                  </a:lnTo>
                  <a:lnTo>
                    <a:pt x="1105" y="384"/>
                  </a:lnTo>
                  <a:lnTo>
                    <a:pt x="1122" y="376"/>
                  </a:lnTo>
                  <a:lnTo>
                    <a:pt x="1128" y="372"/>
                  </a:lnTo>
                  <a:lnTo>
                    <a:pt x="1130" y="370"/>
                  </a:lnTo>
                  <a:lnTo>
                    <a:pt x="1129" y="361"/>
                  </a:lnTo>
                  <a:lnTo>
                    <a:pt x="1131" y="359"/>
                  </a:lnTo>
                  <a:lnTo>
                    <a:pt x="1136" y="357"/>
                  </a:lnTo>
                  <a:lnTo>
                    <a:pt x="1138" y="354"/>
                  </a:lnTo>
                  <a:lnTo>
                    <a:pt x="1138" y="350"/>
                  </a:lnTo>
                  <a:lnTo>
                    <a:pt x="1137" y="347"/>
                  </a:lnTo>
                  <a:lnTo>
                    <a:pt x="1134" y="345"/>
                  </a:lnTo>
                  <a:lnTo>
                    <a:pt x="1132" y="344"/>
                  </a:lnTo>
                  <a:lnTo>
                    <a:pt x="1133" y="339"/>
                  </a:lnTo>
                  <a:lnTo>
                    <a:pt x="1131" y="334"/>
                  </a:lnTo>
                  <a:lnTo>
                    <a:pt x="1129" y="330"/>
                  </a:lnTo>
                  <a:lnTo>
                    <a:pt x="1125" y="329"/>
                  </a:lnTo>
                  <a:lnTo>
                    <a:pt x="1120" y="330"/>
                  </a:lnTo>
                  <a:lnTo>
                    <a:pt x="1109" y="325"/>
                  </a:lnTo>
                  <a:lnTo>
                    <a:pt x="1105" y="326"/>
                  </a:lnTo>
                  <a:lnTo>
                    <a:pt x="1096" y="323"/>
                  </a:lnTo>
                  <a:lnTo>
                    <a:pt x="1093" y="321"/>
                  </a:lnTo>
                  <a:lnTo>
                    <a:pt x="1094" y="320"/>
                  </a:lnTo>
                  <a:lnTo>
                    <a:pt x="1097" y="316"/>
                  </a:lnTo>
                  <a:lnTo>
                    <a:pt x="1098" y="314"/>
                  </a:lnTo>
                  <a:lnTo>
                    <a:pt x="1099" y="316"/>
                  </a:lnTo>
                  <a:lnTo>
                    <a:pt x="1100" y="316"/>
                  </a:lnTo>
                  <a:lnTo>
                    <a:pt x="1100" y="316"/>
                  </a:lnTo>
                  <a:lnTo>
                    <a:pt x="1102" y="316"/>
                  </a:lnTo>
                  <a:lnTo>
                    <a:pt x="1104" y="314"/>
                  </a:lnTo>
                  <a:lnTo>
                    <a:pt x="1110" y="311"/>
                  </a:lnTo>
                  <a:lnTo>
                    <a:pt x="1111" y="309"/>
                  </a:lnTo>
                  <a:lnTo>
                    <a:pt x="1112" y="307"/>
                  </a:lnTo>
                  <a:lnTo>
                    <a:pt x="1112" y="304"/>
                  </a:lnTo>
                  <a:lnTo>
                    <a:pt x="1113" y="302"/>
                  </a:lnTo>
                  <a:lnTo>
                    <a:pt x="1119" y="299"/>
                  </a:lnTo>
                  <a:lnTo>
                    <a:pt x="1125" y="300"/>
                  </a:lnTo>
                  <a:lnTo>
                    <a:pt x="1138" y="305"/>
                  </a:lnTo>
                  <a:lnTo>
                    <a:pt x="1140" y="306"/>
                  </a:lnTo>
                  <a:lnTo>
                    <a:pt x="1141" y="309"/>
                  </a:lnTo>
                  <a:lnTo>
                    <a:pt x="1141" y="311"/>
                  </a:lnTo>
                  <a:lnTo>
                    <a:pt x="1143" y="314"/>
                  </a:lnTo>
                  <a:lnTo>
                    <a:pt x="1144" y="316"/>
                  </a:lnTo>
                  <a:lnTo>
                    <a:pt x="1146" y="316"/>
                  </a:lnTo>
                  <a:lnTo>
                    <a:pt x="1155" y="318"/>
                  </a:lnTo>
                  <a:lnTo>
                    <a:pt x="1156" y="318"/>
                  </a:lnTo>
                  <a:lnTo>
                    <a:pt x="1158" y="316"/>
                  </a:lnTo>
                  <a:lnTo>
                    <a:pt x="1161" y="311"/>
                  </a:lnTo>
                  <a:lnTo>
                    <a:pt x="1163" y="309"/>
                  </a:lnTo>
                  <a:lnTo>
                    <a:pt x="1166" y="315"/>
                  </a:lnTo>
                  <a:lnTo>
                    <a:pt x="1172" y="316"/>
                  </a:lnTo>
                  <a:lnTo>
                    <a:pt x="1184" y="313"/>
                  </a:lnTo>
                  <a:lnTo>
                    <a:pt x="1196" y="312"/>
                  </a:lnTo>
                  <a:lnTo>
                    <a:pt x="1199" y="310"/>
                  </a:lnTo>
                  <a:lnTo>
                    <a:pt x="1197" y="309"/>
                  </a:lnTo>
                  <a:lnTo>
                    <a:pt x="1196" y="307"/>
                  </a:lnTo>
                  <a:lnTo>
                    <a:pt x="1195" y="305"/>
                  </a:lnTo>
                  <a:lnTo>
                    <a:pt x="1195" y="297"/>
                  </a:lnTo>
                  <a:lnTo>
                    <a:pt x="1194" y="292"/>
                  </a:lnTo>
                  <a:lnTo>
                    <a:pt x="1193" y="288"/>
                  </a:lnTo>
                  <a:lnTo>
                    <a:pt x="1196" y="286"/>
                  </a:lnTo>
                  <a:lnTo>
                    <a:pt x="1195" y="284"/>
                  </a:lnTo>
                  <a:lnTo>
                    <a:pt x="1193" y="280"/>
                  </a:lnTo>
                  <a:lnTo>
                    <a:pt x="1192" y="279"/>
                  </a:lnTo>
                  <a:lnTo>
                    <a:pt x="1189" y="277"/>
                  </a:lnTo>
                  <a:lnTo>
                    <a:pt x="1188" y="276"/>
                  </a:lnTo>
                  <a:lnTo>
                    <a:pt x="1188" y="274"/>
                  </a:lnTo>
                  <a:lnTo>
                    <a:pt x="1190" y="273"/>
                  </a:lnTo>
                  <a:lnTo>
                    <a:pt x="1195" y="272"/>
                  </a:lnTo>
                  <a:lnTo>
                    <a:pt x="1198" y="269"/>
                  </a:lnTo>
                  <a:lnTo>
                    <a:pt x="1199" y="267"/>
                  </a:lnTo>
                  <a:lnTo>
                    <a:pt x="1200" y="264"/>
                  </a:lnTo>
                  <a:lnTo>
                    <a:pt x="1201" y="260"/>
                  </a:lnTo>
                  <a:lnTo>
                    <a:pt x="1201" y="259"/>
                  </a:lnTo>
                  <a:lnTo>
                    <a:pt x="1200" y="259"/>
                  </a:lnTo>
                  <a:lnTo>
                    <a:pt x="1199" y="258"/>
                  </a:lnTo>
                  <a:lnTo>
                    <a:pt x="1199" y="257"/>
                  </a:lnTo>
                  <a:lnTo>
                    <a:pt x="1199" y="257"/>
                  </a:lnTo>
                  <a:lnTo>
                    <a:pt x="1201" y="256"/>
                  </a:lnTo>
                  <a:lnTo>
                    <a:pt x="1201" y="255"/>
                  </a:lnTo>
                  <a:lnTo>
                    <a:pt x="1202" y="253"/>
                  </a:lnTo>
                  <a:lnTo>
                    <a:pt x="1202" y="252"/>
                  </a:lnTo>
                  <a:lnTo>
                    <a:pt x="1202" y="250"/>
                  </a:lnTo>
                  <a:lnTo>
                    <a:pt x="1201" y="248"/>
                  </a:lnTo>
                  <a:lnTo>
                    <a:pt x="1211" y="240"/>
                  </a:lnTo>
                  <a:close/>
                </a:path>
              </a:pathLst>
            </a:custGeom>
            <a:pattFill prst="wdDnDiag">
              <a:fgClr>
                <a:schemeClr val="accent2"/>
              </a:fgClr>
              <a:bgClr>
                <a:schemeClr val="bg1"/>
              </a:bgClr>
            </a:patt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 name="Titel 3">
            <a:extLst>
              <a:ext uri="{FF2B5EF4-FFF2-40B4-BE49-F238E27FC236}">
                <a16:creationId xmlns:a16="http://schemas.microsoft.com/office/drawing/2014/main" id="{60EC8D8A-C876-4EC5-A94B-31EA320D0A60}"/>
              </a:ext>
            </a:extLst>
          </p:cNvPr>
          <p:cNvSpPr>
            <a:spLocks noGrp="1"/>
          </p:cNvSpPr>
          <p:nvPr>
            <p:ph type="title"/>
          </p:nvPr>
        </p:nvSpPr>
        <p:spPr bwMode="gray"/>
        <p:txBody>
          <a:bodyPr/>
          <a:lstStyle/>
          <a:p>
            <a:r>
              <a:rPr lang="en-US" dirty="0"/>
              <a:t>GAS – Germany, Austria &amp; Switzerland</a:t>
            </a:r>
          </a:p>
        </p:txBody>
      </p:sp>
      <p:sp>
        <p:nvSpPr>
          <p:cNvPr id="6" name="Textplatzhalter 5">
            <a:extLst>
              <a:ext uri="{FF2B5EF4-FFF2-40B4-BE49-F238E27FC236}">
                <a16:creationId xmlns:a16="http://schemas.microsoft.com/office/drawing/2014/main" id="{7F7AE1B9-C0DD-4C83-B513-C7D60B1F96A8}"/>
              </a:ext>
            </a:extLst>
          </p:cNvPr>
          <p:cNvSpPr>
            <a:spLocks noGrp="1"/>
          </p:cNvSpPr>
          <p:nvPr>
            <p:ph type="body" sz="quarter" idx="15"/>
          </p:nvPr>
        </p:nvSpPr>
        <p:spPr bwMode="gray"/>
        <p:txBody>
          <a:bodyPr/>
          <a:lstStyle/>
          <a:p>
            <a:r>
              <a:rPr lang="en-US" dirty="0"/>
              <a:t>Lorem ipsum dolor sit amet, consectetuer adipiscing elit.</a:t>
            </a:r>
          </a:p>
          <a:p>
            <a:pPr lvl="1"/>
            <a:r>
              <a:rPr lang="en-US" dirty="0"/>
              <a:t>Maecenas porttitor congue massa. Fusce posuere, magna sed pulvinar ultricies, purus lectus malesuada libero, sit amet commodo magna eros quis urna.</a:t>
            </a:r>
          </a:p>
          <a:p>
            <a:pPr lvl="1"/>
            <a:endParaRPr lang="en-US" dirty="0"/>
          </a:p>
          <a:p>
            <a:pPr lvl="1"/>
            <a:r>
              <a:rPr lang="en-US" dirty="0"/>
              <a:t>Nunc viverra imperdiet enim. Fusce est. Vivamus a tellus.</a:t>
            </a:r>
          </a:p>
        </p:txBody>
      </p:sp>
      <p:grpSp>
        <p:nvGrpSpPr>
          <p:cNvPr id="92" name="Gruppieren 91">
            <a:extLst>
              <a:ext uri="{FF2B5EF4-FFF2-40B4-BE49-F238E27FC236}">
                <a16:creationId xmlns:a16="http://schemas.microsoft.com/office/drawing/2014/main" id="{6FFC41D7-6D2E-4173-84ED-A3877A5317AE}"/>
              </a:ext>
            </a:extLst>
          </p:cNvPr>
          <p:cNvGrpSpPr/>
          <p:nvPr/>
        </p:nvGrpSpPr>
        <p:grpSpPr bwMode="gray">
          <a:xfrm>
            <a:off x="6239242" y="1751074"/>
            <a:ext cx="1944000" cy="1548112"/>
            <a:chOff x="4007768" y="1016792"/>
            <a:chExt cx="1944000" cy="1548112"/>
          </a:xfrm>
        </p:grpSpPr>
        <p:sp>
          <p:nvSpPr>
            <p:cNvPr id="93" name="Textplatzhalter 4">
              <a:extLst>
                <a:ext uri="{FF2B5EF4-FFF2-40B4-BE49-F238E27FC236}">
                  <a16:creationId xmlns:a16="http://schemas.microsoft.com/office/drawing/2014/main" id="{40A10FDC-83B1-4B37-BBC0-44AADEB8F1E9}"/>
                </a:ext>
              </a:extLst>
            </p:cNvPr>
            <p:cNvSpPr txBox="1">
              <a:spLocks/>
            </p:cNvSpPr>
            <p:nvPr/>
          </p:nvSpPr>
          <p:spPr bwMode="gray">
            <a:xfrm>
              <a:off x="4007768" y="1736835"/>
              <a:ext cx="1944000" cy="828069"/>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Lorem ipsum dolor sit amet, consectetuer adipiscing elit</a:t>
              </a:r>
            </a:p>
          </p:txBody>
        </p:sp>
        <p:sp>
          <p:nvSpPr>
            <p:cNvPr id="94" name="Textplatzhalter 3">
              <a:extLst>
                <a:ext uri="{FF2B5EF4-FFF2-40B4-BE49-F238E27FC236}">
                  <a16:creationId xmlns:a16="http://schemas.microsoft.com/office/drawing/2014/main" id="{9FB5804C-0612-431E-9D2A-B5BF825554A5}"/>
                </a:ext>
              </a:extLst>
            </p:cNvPr>
            <p:cNvSpPr txBox="1">
              <a:spLocks/>
            </p:cNvSpPr>
            <p:nvPr/>
          </p:nvSpPr>
          <p:spPr bwMode="gray">
            <a:xfrm>
              <a:off x="4007768" y="1016792"/>
              <a:ext cx="194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dirty="0">
                  <a:solidFill>
                    <a:schemeClr val="accent5"/>
                  </a:solidFill>
                </a:rPr>
                <a:t>25%</a:t>
              </a:r>
            </a:p>
          </p:txBody>
        </p:sp>
        <p:cxnSp>
          <p:nvCxnSpPr>
            <p:cNvPr id="95" name="Gerader Verbinder 94">
              <a:extLst>
                <a:ext uri="{FF2B5EF4-FFF2-40B4-BE49-F238E27FC236}">
                  <a16:creationId xmlns:a16="http://schemas.microsoft.com/office/drawing/2014/main" id="{E4C69151-6479-404C-84CB-744C7C7B0327}"/>
                </a:ext>
              </a:extLst>
            </p:cNvPr>
            <p:cNvCxnSpPr/>
            <p:nvPr/>
          </p:nvCxnSpPr>
          <p:spPr bwMode="gray">
            <a:xfrm>
              <a:off x="5519936" y="1556792"/>
              <a:ext cx="4316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96" name="Gruppieren 95">
            <a:extLst>
              <a:ext uri="{FF2B5EF4-FFF2-40B4-BE49-F238E27FC236}">
                <a16:creationId xmlns:a16="http://schemas.microsoft.com/office/drawing/2014/main" id="{F6671841-1B79-49E4-AC63-A5CC60F0A4EA}"/>
              </a:ext>
            </a:extLst>
          </p:cNvPr>
          <p:cNvGrpSpPr/>
          <p:nvPr/>
        </p:nvGrpSpPr>
        <p:grpSpPr bwMode="gray">
          <a:xfrm>
            <a:off x="9551311" y="273957"/>
            <a:ext cx="3240360" cy="3240360"/>
            <a:chOff x="4295800" y="4005064"/>
            <a:chExt cx="3240360" cy="3240360"/>
          </a:xfrm>
        </p:grpSpPr>
        <p:sp>
          <p:nvSpPr>
            <p:cNvPr id="97" name="Ellipse 96">
              <a:extLst>
                <a:ext uri="{FF2B5EF4-FFF2-40B4-BE49-F238E27FC236}">
                  <a16:creationId xmlns:a16="http://schemas.microsoft.com/office/drawing/2014/main" id="{DF3E5628-82AC-4F43-BCBE-F50B33EA7BCC}"/>
                </a:ext>
              </a:extLst>
            </p:cNvPr>
            <p:cNvSpPr/>
            <p:nvPr/>
          </p:nvSpPr>
          <p:spPr bwMode="gray">
            <a:xfrm>
              <a:off x="4295800" y="4005064"/>
              <a:ext cx="3240360" cy="3240360"/>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8" name="Textplatzhalter 4">
              <a:extLst>
                <a:ext uri="{FF2B5EF4-FFF2-40B4-BE49-F238E27FC236}">
                  <a16:creationId xmlns:a16="http://schemas.microsoft.com/office/drawing/2014/main" id="{80C1CDD8-C6F6-4978-9B3D-22E1ACD5CA76}"/>
                </a:ext>
              </a:extLst>
            </p:cNvPr>
            <p:cNvSpPr txBox="1">
              <a:spLocks/>
            </p:cNvSpPr>
            <p:nvPr/>
          </p:nvSpPr>
          <p:spPr bwMode="gray">
            <a:xfrm>
              <a:off x="5015880" y="5491063"/>
              <a:ext cx="1944000" cy="828069"/>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solidFill>
                    <a:schemeClr val="bg1"/>
                  </a:solidFill>
                </a:rPr>
                <a:t>Lorem ipsum dolor sit amet, consectetuer adipiscing elit</a:t>
              </a:r>
            </a:p>
          </p:txBody>
        </p:sp>
        <p:sp>
          <p:nvSpPr>
            <p:cNvPr id="99" name="Textplatzhalter 3">
              <a:extLst>
                <a:ext uri="{FF2B5EF4-FFF2-40B4-BE49-F238E27FC236}">
                  <a16:creationId xmlns:a16="http://schemas.microsoft.com/office/drawing/2014/main" id="{400C7D43-7EA8-4E93-8BB7-5AFCFD1C1351}"/>
                </a:ext>
              </a:extLst>
            </p:cNvPr>
            <p:cNvSpPr txBox="1">
              <a:spLocks/>
            </p:cNvSpPr>
            <p:nvPr/>
          </p:nvSpPr>
          <p:spPr bwMode="gray">
            <a:xfrm>
              <a:off x="5015880" y="4771020"/>
              <a:ext cx="194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dirty="0">
                  <a:solidFill>
                    <a:schemeClr val="bg1"/>
                  </a:solidFill>
                </a:rPr>
                <a:t>25%</a:t>
              </a:r>
            </a:p>
          </p:txBody>
        </p:sp>
      </p:grpSp>
      <p:grpSp>
        <p:nvGrpSpPr>
          <p:cNvPr id="100" name="Gruppieren 99">
            <a:extLst>
              <a:ext uri="{FF2B5EF4-FFF2-40B4-BE49-F238E27FC236}">
                <a16:creationId xmlns:a16="http://schemas.microsoft.com/office/drawing/2014/main" id="{2A79F8FB-6876-44C4-9342-F9D6F9FC55B3}"/>
              </a:ext>
            </a:extLst>
          </p:cNvPr>
          <p:cNvGrpSpPr/>
          <p:nvPr/>
        </p:nvGrpSpPr>
        <p:grpSpPr bwMode="gray">
          <a:xfrm>
            <a:off x="5318114" y="4421161"/>
            <a:ext cx="1944000" cy="1548112"/>
            <a:chOff x="4007768" y="1016792"/>
            <a:chExt cx="1944000" cy="1548112"/>
          </a:xfrm>
        </p:grpSpPr>
        <p:sp>
          <p:nvSpPr>
            <p:cNvPr id="101" name="Textplatzhalter 4">
              <a:extLst>
                <a:ext uri="{FF2B5EF4-FFF2-40B4-BE49-F238E27FC236}">
                  <a16:creationId xmlns:a16="http://schemas.microsoft.com/office/drawing/2014/main" id="{C2BB0D70-4469-47E2-8710-DD52B3BB085C}"/>
                </a:ext>
              </a:extLst>
            </p:cNvPr>
            <p:cNvSpPr txBox="1">
              <a:spLocks/>
            </p:cNvSpPr>
            <p:nvPr/>
          </p:nvSpPr>
          <p:spPr bwMode="gray">
            <a:xfrm>
              <a:off x="4007768" y="1736835"/>
              <a:ext cx="1944000" cy="828069"/>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Lorem ipsum dolor sit amet, consectetuer adipiscing elit</a:t>
              </a:r>
            </a:p>
          </p:txBody>
        </p:sp>
        <p:sp>
          <p:nvSpPr>
            <p:cNvPr id="102" name="Textplatzhalter 3">
              <a:extLst>
                <a:ext uri="{FF2B5EF4-FFF2-40B4-BE49-F238E27FC236}">
                  <a16:creationId xmlns:a16="http://schemas.microsoft.com/office/drawing/2014/main" id="{87AD5FB5-2719-47F0-AD95-406C554DD955}"/>
                </a:ext>
              </a:extLst>
            </p:cNvPr>
            <p:cNvSpPr txBox="1">
              <a:spLocks/>
            </p:cNvSpPr>
            <p:nvPr/>
          </p:nvSpPr>
          <p:spPr bwMode="gray">
            <a:xfrm>
              <a:off x="4007768" y="1016792"/>
              <a:ext cx="194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dirty="0">
                  <a:solidFill>
                    <a:schemeClr val="accent5"/>
                  </a:solidFill>
                </a:rPr>
                <a:t>25%</a:t>
              </a:r>
            </a:p>
          </p:txBody>
        </p:sp>
        <p:cxnSp>
          <p:nvCxnSpPr>
            <p:cNvPr id="103" name="Gerader Verbinder 102">
              <a:extLst>
                <a:ext uri="{FF2B5EF4-FFF2-40B4-BE49-F238E27FC236}">
                  <a16:creationId xmlns:a16="http://schemas.microsoft.com/office/drawing/2014/main" id="{AA4B6E8E-D02C-45A1-A2BD-4877343DB2A4}"/>
                </a:ext>
              </a:extLst>
            </p:cNvPr>
            <p:cNvCxnSpPr/>
            <p:nvPr/>
          </p:nvCxnSpPr>
          <p:spPr bwMode="gray">
            <a:xfrm>
              <a:off x="5519936" y="1556792"/>
              <a:ext cx="4316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7" name="Fußzeilenplatzhalter 6">
            <a:extLst>
              <a:ext uri="{FF2B5EF4-FFF2-40B4-BE49-F238E27FC236}">
                <a16:creationId xmlns:a16="http://schemas.microsoft.com/office/drawing/2014/main" id="{26EA59F5-2A73-4A05-AE07-0F8139E7E20E}"/>
              </a:ext>
            </a:extLst>
          </p:cNvPr>
          <p:cNvSpPr>
            <a:spLocks noGrp="1"/>
          </p:cNvSpPr>
          <p:nvPr>
            <p:ph type="ftr" sz="quarter" idx="16"/>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02767E0C-AC05-49D7-B4B7-8333304F740B}"/>
              </a:ext>
            </a:extLst>
          </p:cNvPr>
          <p:cNvSpPr>
            <a:spLocks noGrp="1"/>
          </p:cNvSpPr>
          <p:nvPr>
            <p:ph type="sldNum" sz="quarter" idx="12"/>
          </p:nvPr>
        </p:nvSpPr>
        <p:spPr/>
        <p:txBody>
          <a:bodyPr/>
          <a:lstStyle/>
          <a:p>
            <a:fld id="{CE82B8A1-0CCE-4815-9668-383D7DE7D8B4}" type="slidenum">
              <a:rPr lang="en-US" noProof="0" smtClean="0"/>
              <a:pPr/>
              <a:t>71</a:t>
            </a:fld>
            <a:endParaRPr lang="en-US" noProof="0" dirty="0"/>
          </a:p>
        </p:txBody>
      </p:sp>
    </p:spTree>
    <p:extLst>
      <p:ext uri="{BB962C8B-B14F-4D97-AF65-F5344CB8AC3E}">
        <p14:creationId xmlns:p14="http://schemas.microsoft.com/office/powerpoint/2010/main" val="207732174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05" name="Gruppieren 3404">
            <a:extLst>
              <a:ext uri="{FF2B5EF4-FFF2-40B4-BE49-F238E27FC236}">
                <a16:creationId xmlns:a16="http://schemas.microsoft.com/office/drawing/2014/main" id="{D75151F0-D273-4F0C-A574-CBE9A17A4A02}"/>
              </a:ext>
            </a:extLst>
          </p:cNvPr>
          <p:cNvGrpSpPr/>
          <p:nvPr/>
        </p:nvGrpSpPr>
        <p:grpSpPr bwMode="gray">
          <a:xfrm>
            <a:off x="-3749574" y="-2303115"/>
            <a:ext cx="17068813" cy="4123987"/>
            <a:chOff x="1738441" y="692696"/>
            <a:chExt cx="10478239" cy="2531642"/>
          </a:xfrm>
          <a:pattFill prst="ltUpDiag">
            <a:fgClr>
              <a:schemeClr val="bg2">
                <a:lumMod val="90000"/>
              </a:schemeClr>
            </a:fgClr>
            <a:bgClr>
              <a:schemeClr val="bg1"/>
            </a:bgClr>
          </a:pattFill>
        </p:grpSpPr>
        <p:sp>
          <p:nvSpPr>
            <p:cNvPr id="3406" name="Freeform 534">
              <a:extLst>
                <a:ext uri="{FF2B5EF4-FFF2-40B4-BE49-F238E27FC236}">
                  <a16:creationId xmlns:a16="http://schemas.microsoft.com/office/drawing/2014/main" id="{AB7B4DF4-AB19-4FCC-A056-68F03A6D78E0}"/>
                </a:ext>
              </a:extLst>
            </p:cNvPr>
            <p:cNvSpPr>
              <a:spLocks noEditPoints="1"/>
            </p:cNvSpPr>
            <p:nvPr/>
          </p:nvSpPr>
          <p:spPr bwMode="gray">
            <a:xfrm>
              <a:off x="5824678" y="2735219"/>
              <a:ext cx="723716" cy="324844"/>
            </a:xfrm>
            <a:custGeom>
              <a:avLst/>
              <a:gdLst>
                <a:gd name="T0" fmla="*/ 1613 w 1758"/>
                <a:gd name="T1" fmla="*/ 0 h 789"/>
                <a:gd name="T2" fmla="*/ 1613 w 1758"/>
                <a:gd name="T3" fmla="*/ 28 h 789"/>
                <a:gd name="T4" fmla="*/ 1651 w 1758"/>
                <a:gd name="T5" fmla="*/ 28 h 789"/>
                <a:gd name="T6" fmla="*/ 1689 w 1758"/>
                <a:gd name="T7" fmla="*/ 28 h 789"/>
                <a:gd name="T8" fmla="*/ 1727 w 1758"/>
                <a:gd name="T9" fmla="*/ 16 h 789"/>
                <a:gd name="T10" fmla="*/ 1758 w 1758"/>
                <a:gd name="T11" fmla="*/ 49 h 789"/>
                <a:gd name="T12" fmla="*/ 1703 w 1758"/>
                <a:gd name="T13" fmla="*/ 99 h 789"/>
                <a:gd name="T14" fmla="*/ 1710 w 1758"/>
                <a:gd name="T15" fmla="*/ 144 h 789"/>
                <a:gd name="T16" fmla="*/ 1703 w 1758"/>
                <a:gd name="T17" fmla="*/ 165 h 789"/>
                <a:gd name="T18" fmla="*/ 1710 w 1758"/>
                <a:gd name="T19" fmla="*/ 182 h 789"/>
                <a:gd name="T20" fmla="*/ 1665 w 1758"/>
                <a:gd name="T21" fmla="*/ 215 h 789"/>
                <a:gd name="T22" fmla="*/ 1703 w 1758"/>
                <a:gd name="T23" fmla="*/ 272 h 789"/>
                <a:gd name="T24" fmla="*/ 1673 w 1758"/>
                <a:gd name="T25" fmla="*/ 321 h 789"/>
                <a:gd name="T26" fmla="*/ 1703 w 1758"/>
                <a:gd name="T27" fmla="*/ 342 h 789"/>
                <a:gd name="T28" fmla="*/ 1677 w 1758"/>
                <a:gd name="T29" fmla="*/ 359 h 789"/>
                <a:gd name="T30" fmla="*/ 1665 w 1758"/>
                <a:gd name="T31" fmla="*/ 387 h 789"/>
                <a:gd name="T32" fmla="*/ 1673 w 1758"/>
                <a:gd name="T33" fmla="*/ 420 h 789"/>
                <a:gd name="T34" fmla="*/ 1580 w 1758"/>
                <a:gd name="T35" fmla="*/ 432 h 789"/>
                <a:gd name="T36" fmla="*/ 1569 w 1758"/>
                <a:gd name="T37" fmla="*/ 404 h 789"/>
                <a:gd name="T38" fmla="*/ 1580 w 1758"/>
                <a:gd name="T39" fmla="*/ 321 h 789"/>
                <a:gd name="T40" fmla="*/ 1547 w 1758"/>
                <a:gd name="T41" fmla="*/ 321 h 789"/>
                <a:gd name="T42" fmla="*/ 1547 w 1758"/>
                <a:gd name="T43" fmla="*/ 305 h 789"/>
                <a:gd name="T44" fmla="*/ 1559 w 1758"/>
                <a:gd name="T45" fmla="*/ 276 h 789"/>
                <a:gd name="T46" fmla="*/ 1526 w 1758"/>
                <a:gd name="T47" fmla="*/ 293 h 789"/>
                <a:gd name="T48" fmla="*/ 1547 w 1758"/>
                <a:gd name="T49" fmla="*/ 222 h 789"/>
                <a:gd name="T50" fmla="*/ 1580 w 1758"/>
                <a:gd name="T51" fmla="*/ 127 h 789"/>
                <a:gd name="T52" fmla="*/ 1580 w 1758"/>
                <a:gd name="T53" fmla="*/ 127 h 789"/>
                <a:gd name="T54" fmla="*/ 1564 w 1758"/>
                <a:gd name="T55" fmla="*/ 33 h 789"/>
                <a:gd name="T56" fmla="*/ 1569 w 1758"/>
                <a:gd name="T57" fmla="*/ 16 h 789"/>
                <a:gd name="T58" fmla="*/ 0 w 1758"/>
                <a:gd name="T59" fmla="*/ 238 h 789"/>
                <a:gd name="T60" fmla="*/ 0 w 1758"/>
                <a:gd name="T61" fmla="*/ 231 h 789"/>
                <a:gd name="T62" fmla="*/ 0 w 1758"/>
                <a:gd name="T63" fmla="*/ 238 h 789"/>
                <a:gd name="T64" fmla="*/ 0 w 1758"/>
                <a:gd name="T65" fmla="*/ 238 h 789"/>
                <a:gd name="T66" fmla="*/ 269 w 1758"/>
                <a:gd name="T67" fmla="*/ 305 h 789"/>
                <a:gd name="T68" fmla="*/ 291 w 1758"/>
                <a:gd name="T69" fmla="*/ 293 h 789"/>
                <a:gd name="T70" fmla="*/ 286 w 1758"/>
                <a:gd name="T71" fmla="*/ 305 h 789"/>
                <a:gd name="T72" fmla="*/ 286 w 1758"/>
                <a:gd name="T73" fmla="*/ 305 h 789"/>
                <a:gd name="T74" fmla="*/ 194 w 1758"/>
                <a:gd name="T75" fmla="*/ 321 h 789"/>
                <a:gd name="T76" fmla="*/ 199 w 1758"/>
                <a:gd name="T77" fmla="*/ 309 h 789"/>
                <a:gd name="T78" fmla="*/ 203 w 1758"/>
                <a:gd name="T79" fmla="*/ 326 h 789"/>
                <a:gd name="T80" fmla="*/ 203 w 1758"/>
                <a:gd name="T81" fmla="*/ 326 h 789"/>
                <a:gd name="T82" fmla="*/ 383 w 1758"/>
                <a:gd name="T83" fmla="*/ 375 h 789"/>
                <a:gd name="T84" fmla="*/ 421 w 1758"/>
                <a:gd name="T85" fmla="*/ 364 h 789"/>
                <a:gd name="T86" fmla="*/ 409 w 1758"/>
                <a:gd name="T87" fmla="*/ 380 h 789"/>
                <a:gd name="T88" fmla="*/ 409 w 1758"/>
                <a:gd name="T89" fmla="*/ 380 h 789"/>
                <a:gd name="T90" fmla="*/ 421 w 1758"/>
                <a:gd name="T91" fmla="*/ 437 h 789"/>
                <a:gd name="T92" fmla="*/ 437 w 1758"/>
                <a:gd name="T93" fmla="*/ 442 h 789"/>
                <a:gd name="T94" fmla="*/ 437 w 1758"/>
                <a:gd name="T95" fmla="*/ 442 h 789"/>
                <a:gd name="T96" fmla="*/ 976 w 1758"/>
                <a:gd name="T97" fmla="*/ 772 h 789"/>
                <a:gd name="T98" fmla="*/ 1018 w 1758"/>
                <a:gd name="T99" fmla="*/ 784 h 789"/>
                <a:gd name="T100" fmla="*/ 1002 w 1758"/>
                <a:gd name="T101" fmla="*/ 789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58" h="789">
                  <a:moveTo>
                    <a:pt x="1569" y="16"/>
                  </a:moveTo>
                  <a:lnTo>
                    <a:pt x="1613" y="0"/>
                  </a:lnTo>
                  <a:lnTo>
                    <a:pt x="1623" y="12"/>
                  </a:lnTo>
                  <a:lnTo>
                    <a:pt x="1613" y="28"/>
                  </a:lnTo>
                  <a:lnTo>
                    <a:pt x="1618" y="33"/>
                  </a:lnTo>
                  <a:lnTo>
                    <a:pt x="1651" y="28"/>
                  </a:lnTo>
                  <a:lnTo>
                    <a:pt x="1673" y="33"/>
                  </a:lnTo>
                  <a:lnTo>
                    <a:pt x="1689" y="28"/>
                  </a:lnTo>
                  <a:lnTo>
                    <a:pt x="1689" y="16"/>
                  </a:lnTo>
                  <a:lnTo>
                    <a:pt x="1727" y="16"/>
                  </a:lnTo>
                  <a:lnTo>
                    <a:pt x="1732" y="45"/>
                  </a:lnTo>
                  <a:lnTo>
                    <a:pt x="1758" y="49"/>
                  </a:lnTo>
                  <a:lnTo>
                    <a:pt x="1741" y="73"/>
                  </a:lnTo>
                  <a:lnTo>
                    <a:pt x="1703" y="99"/>
                  </a:lnTo>
                  <a:lnTo>
                    <a:pt x="1710" y="111"/>
                  </a:lnTo>
                  <a:lnTo>
                    <a:pt x="1710" y="144"/>
                  </a:lnTo>
                  <a:lnTo>
                    <a:pt x="1710" y="160"/>
                  </a:lnTo>
                  <a:lnTo>
                    <a:pt x="1703" y="165"/>
                  </a:lnTo>
                  <a:lnTo>
                    <a:pt x="1694" y="177"/>
                  </a:lnTo>
                  <a:lnTo>
                    <a:pt x="1710" y="182"/>
                  </a:lnTo>
                  <a:lnTo>
                    <a:pt x="1694" y="215"/>
                  </a:lnTo>
                  <a:lnTo>
                    <a:pt x="1665" y="215"/>
                  </a:lnTo>
                  <a:lnTo>
                    <a:pt x="1677" y="255"/>
                  </a:lnTo>
                  <a:lnTo>
                    <a:pt x="1703" y="272"/>
                  </a:lnTo>
                  <a:lnTo>
                    <a:pt x="1677" y="293"/>
                  </a:lnTo>
                  <a:lnTo>
                    <a:pt x="1673" y="321"/>
                  </a:lnTo>
                  <a:lnTo>
                    <a:pt x="1694" y="342"/>
                  </a:lnTo>
                  <a:lnTo>
                    <a:pt x="1703" y="342"/>
                  </a:lnTo>
                  <a:lnTo>
                    <a:pt x="1694" y="347"/>
                  </a:lnTo>
                  <a:lnTo>
                    <a:pt x="1677" y="359"/>
                  </a:lnTo>
                  <a:lnTo>
                    <a:pt x="1665" y="380"/>
                  </a:lnTo>
                  <a:lnTo>
                    <a:pt x="1665" y="387"/>
                  </a:lnTo>
                  <a:lnTo>
                    <a:pt x="1665" y="420"/>
                  </a:lnTo>
                  <a:lnTo>
                    <a:pt x="1673" y="420"/>
                  </a:lnTo>
                  <a:lnTo>
                    <a:pt x="1635" y="437"/>
                  </a:lnTo>
                  <a:lnTo>
                    <a:pt x="1580" y="432"/>
                  </a:lnTo>
                  <a:lnTo>
                    <a:pt x="1559" y="437"/>
                  </a:lnTo>
                  <a:lnTo>
                    <a:pt x="1569" y="404"/>
                  </a:lnTo>
                  <a:lnTo>
                    <a:pt x="1569" y="326"/>
                  </a:lnTo>
                  <a:lnTo>
                    <a:pt x="1580" y="321"/>
                  </a:lnTo>
                  <a:lnTo>
                    <a:pt x="1569" y="309"/>
                  </a:lnTo>
                  <a:lnTo>
                    <a:pt x="1547" y="321"/>
                  </a:lnTo>
                  <a:lnTo>
                    <a:pt x="1543" y="305"/>
                  </a:lnTo>
                  <a:lnTo>
                    <a:pt x="1547" y="305"/>
                  </a:lnTo>
                  <a:lnTo>
                    <a:pt x="1564" y="293"/>
                  </a:lnTo>
                  <a:lnTo>
                    <a:pt x="1559" y="276"/>
                  </a:lnTo>
                  <a:lnTo>
                    <a:pt x="1547" y="293"/>
                  </a:lnTo>
                  <a:lnTo>
                    <a:pt x="1526" y="293"/>
                  </a:lnTo>
                  <a:lnTo>
                    <a:pt x="1531" y="238"/>
                  </a:lnTo>
                  <a:lnTo>
                    <a:pt x="1547" y="222"/>
                  </a:lnTo>
                  <a:lnTo>
                    <a:pt x="1569" y="139"/>
                  </a:lnTo>
                  <a:lnTo>
                    <a:pt x="1580" y="127"/>
                  </a:lnTo>
                  <a:lnTo>
                    <a:pt x="1580" y="123"/>
                  </a:lnTo>
                  <a:lnTo>
                    <a:pt x="1580" y="127"/>
                  </a:lnTo>
                  <a:lnTo>
                    <a:pt x="1580" y="99"/>
                  </a:lnTo>
                  <a:lnTo>
                    <a:pt x="1564" y="33"/>
                  </a:lnTo>
                  <a:lnTo>
                    <a:pt x="1569" y="16"/>
                  </a:lnTo>
                  <a:lnTo>
                    <a:pt x="1569" y="16"/>
                  </a:lnTo>
                  <a:lnTo>
                    <a:pt x="1569" y="16"/>
                  </a:lnTo>
                  <a:close/>
                  <a:moveTo>
                    <a:pt x="0" y="238"/>
                  </a:moveTo>
                  <a:lnTo>
                    <a:pt x="0" y="238"/>
                  </a:lnTo>
                  <a:lnTo>
                    <a:pt x="0" y="231"/>
                  </a:lnTo>
                  <a:lnTo>
                    <a:pt x="5" y="231"/>
                  </a:lnTo>
                  <a:lnTo>
                    <a:pt x="0" y="238"/>
                  </a:lnTo>
                  <a:lnTo>
                    <a:pt x="0" y="238"/>
                  </a:lnTo>
                  <a:lnTo>
                    <a:pt x="0" y="238"/>
                  </a:lnTo>
                  <a:close/>
                  <a:moveTo>
                    <a:pt x="286" y="305"/>
                  </a:moveTo>
                  <a:lnTo>
                    <a:pt x="269" y="305"/>
                  </a:lnTo>
                  <a:lnTo>
                    <a:pt x="269" y="293"/>
                  </a:lnTo>
                  <a:lnTo>
                    <a:pt x="291" y="293"/>
                  </a:lnTo>
                  <a:lnTo>
                    <a:pt x="291" y="293"/>
                  </a:lnTo>
                  <a:lnTo>
                    <a:pt x="286" y="305"/>
                  </a:lnTo>
                  <a:lnTo>
                    <a:pt x="286" y="305"/>
                  </a:lnTo>
                  <a:lnTo>
                    <a:pt x="286" y="305"/>
                  </a:lnTo>
                  <a:close/>
                  <a:moveTo>
                    <a:pt x="203" y="326"/>
                  </a:moveTo>
                  <a:lnTo>
                    <a:pt x="194" y="321"/>
                  </a:lnTo>
                  <a:lnTo>
                    <a:pt x="182" y="309"/>
                  </a:lnTo>
                  <a:lnTo>
                    <a:pt x="199" y="309"/>
                  </a:lnTo>
                  <a:lnTo>
                    <a:pt x="220" y="321"/>
                  </a:lnTo>
                  <a:lnTo>
                    <a:pt x="203" y="326"/>
                  </a:lnTo>
                  <a:lnTo>
                    <a:pt x="203" y="326"/>
                  </a:lnTo>
                  <a:lnTo>
                    <a:pt x="203" y="326"/>
                  </a:lnTo>
                  <a:close/>
                  <a:moveTo>
                    <a:pt x="409" y="380"/>
                  </a:moveTo>
                  <a:lnTo>
                    <a:pt x="383" y="375"/>
                  </a:lnTo>
                  <a:lnTo>
                    <a:pt x="376" y="364"/>
                  </a:lnTo>
                  <a:lnTo>
                    <a:pt x="421" y="364"/>
                  </a:lnTo>
                  <a:lnTo>
                    <a:pt x="421" y="375"/>
                  </a:lnTo>
                  <a:lnTo>
                    <a:pt x="409" y="380"/>
                  </a:lnTo>
                  <a:lnTo>
                    <a:pt x="409" y="380"/>
                  </a:lnTo>
                  <a:lnTo>
                    <a:pt x="409" y="380"/>
                  </a:lnTo>
                  <a:close/>
                  <a:moveTo>
                    <a:pt x="437" y="442"/>
                  </a:moveTo>
                  <a:lnTo>
                    <a:pt x="421" y="437"/>
                  </a:lnTo>
                  <a:lnTo>
                    <a:pt x="430" y="437"/>
                  </a:lnTo>
                  <a:lnTo>
                    <a:pt x="437" y="442"/>
                  </a:lnTo>
                  <a:lnTo>
                    <a:pt x="437" y="442"/>
                  </a:lnTo>
                  <a:lnTo>
                    <a:pt x="437" y="442"/>
                  </a:lnTo>
                  <a:close/>
                  <a:moveTo>
                    <a:pt x="1002" y="789"/>
                  </a:moveTo>
                  <a:lnTo>
                    <a:pt x="976" y="772"/>
                  </a:lnTo>
                  <a:lnTo>
                    <a:pt x="987" y="772"/>
                  </a:lnTo>
                  <a:lnTo>
                    <a:pt x="1018" y="784"/>
                  </a:lnTo>
                  <a:lnTo>
                    <a:pt x="1002" y="789"/>
                  </a:lnTo>
                  <a:lnTo>
                    <a:pt x="1002" y="789"/>
                  </a:lnTo>
                  <a:lnTo>
                    <a:pt x="1002" y="789"/>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3407" name="Gruppieren 3406">
              <a:extLst>
                <a:ext uri="{FF2B5EF4-FFF2-40B4-BE49-F238E27FC236}">
                  <a16:creationId xmlns:a16="http://schemas.microsoft.com/office/drawing/2014/main" id="{218BDE4A-4E1E-4151-A6EC-3A91EBEE664B}"/>
                </a:ext>
              </a:extLst>
            </p:cNvPr>
            <p:cNvGrpSpPr/>
            <p:nvPr/>
          </p:nvGrpSpPr>
          <p:grpSpPr bwMode="gray">
            <a:xfrm>
              <a:off x="1738441" y="692696"/>
              <a:ext cx="10478239" cy="2531642"/>
              <a:chOff x="1738441" y="692696"/>
              <a:chExt cx="10478239" cy="2531642"/>
            </a:xfrm>
            <a:grpFill/>
          </p:grpSpPr>
          <p:sp>
            <p:nvSpPr>
              <p:cNvPr id="3408" name="Freeform 557">
                <a:extLst>
                  <a:ext uri="{FF2B5EF4-FFF2-40B4-BE49-F238E27FC236}">
                    <a16:creationId xmlns:a16="http://schemas.microsoft.com/office/drawing/2014/main" id="{FADC7D42-77D6-4C8F-81F1-D3C6048A25FE}"/>
                  </a:ext>
                </a:extLst>
              </p:cNvPr>
              <p:cNvSpPr>
                <a:spLocks noEditPoints="1"/>
              </p:cNvSpPr>
              <p:nvPr/>
            </p:nvSpPr>
            <p:spPr bwMode="gray">
              <a:xfrm>
                <a:off x="6202180" y="2676755"/>
                <a:ext cx="646322" cy="547583"/>
              </a:xfrm>
              <a:custGeom>
                <a:avLst/>
                <a:gdLst>
                  <a:gd name="T0" fmla="*/ 793 w 1570"/>
                  <a:gd name="T1" fmla="*/ 251 h 1330"/>
                  <a:gd name="T2" fmla="*/ 815 w 1570"/>
                  <a:gd name="T3" fmla="*/ 184 h 1330"/>
                  <a:gd name="T4" fmla="*/ 756 w 1570"/>
                  <a:gd name="T5" fmla="*/ 173 h 1330"/>
                  <a:gd name="T6" fmla="*/ 708 w 1570"/>
                  <a:gd name="T7" fmla="*/ 151 h 1330"/>
                  <a:gd name="T8" fmla="*/ 647 w 1570"/>
                  <a:gd name="T9" fmla="*/ 151 h 1330"/>
                  <a:gd name="T10" fmla="*/ 654 w 1570"/>
                  <a:gd name="T11" fmla="*/ 123 h 1330"/>
                  <a:gd name="T12" fmla="*/ 642 w 1570"/>
                  <a:gd name="T13" fmla="*/ 111 h 1330"/>
                  <a:gd name="T14" fmla="*/ 633 w 1570"/>
                  <a:gd name="T15" fmla="*/ 66 h 1330"/>
                  <a:gd name="T16" fmla="*/ 663 w 1570"/>
                  <a:gd name="T17" fmla="*/ 45 h 1330"/>
                  <a:gd name="T18" fmla="*/ 722 w 1570"/>
                  <a:gd name="T19" fmla="*/ 7 h 1330"/>
                  <a:gd name="T20" fmla="*/ 777 w 1570"/>
                  <a:gd name="T21" fmla="*/ 24 h 1330"/>
                  <a:gd name="T22" fmla="*/ 869 w 1570"/>
                  <a:gd name="T23" fmla="*/ 24 h 1330"/>
                  <a:gd name="T24" fmla="*/ 1063 w 1570"/>
                  <a:gd name="T25" fmla="*/ 28 h 1330"/>
                  <a:gd name="T26" fmla="*/ 1171 w 1570"/>
                  <a:gd name="T27" fmla="*/ 62 h 1330"/>
                  <a:gd name="T28" fmla="*/ 1273 w 1570"/>
                  <a:gd name="T29" fmla="*/ 95 h 1330"/>
                  <a:gd name="T30" fmla="*/ 1372 w 1570"/>
                  <a:gd name="T31" fmla="*/ 99 h 1330"/>
                  <a:gd name="T32" fmla="*/ 1436 w 1570"/>
                  <a:gd name="T33" fmla="*/ 118 h 1330"/>
                  <a:gd name="T34" fmla="*/ 1495 w 1570"/>
                  <a:gd name="T35" fmla="*/ 123 h 1330"/>
                  <a:gd name="T36" fmla="*/ 1495 w 1570"/>
                  <a:gd name="T37" fmla="*/ 168 h 1330"/>
                  <a:gd name="T38" fmla="*/ 1318 w 1570"/>
                  <a:gd name="T39" fmla="*/ 262 h 1330"/>
                  <a:gd name="T40" fmla="*/ 1327 w 1570"/>
                  <a:gd name="T41" fmla="*/ 279 h 1330"/>
                  <a:gd name="T42" fmla="*/ 1263 w 1570"/>
                  <a:gd name="T43" fmla="*/ 411 h 1330"/>
                  <a:gd name="T44" fmla="*/ 1226 w 1570"/>
                  <a:gd name="T45" fmla="*/ 527 h 1330"/>
                  <a:gd name="T46" fmla="*/ 1112 w 1570"/>
                  <a:gd name="T47" fmla="*/ 593 h 1330"/>
                  <a:gd name="T48" fmla="*/ 949 w 1570"/>
                  <a:gd name="T49" fmla="*/ 617 h 1330"/>
                  <a:gd name="T50" fmla="*/ 881 w 1570"/>
                  <a:gd name="T51" fmla="*/ 666 h 1330"/>
                  <a:gd name="T52" fmla="*/ 826 w 1570"/>
                  <a:gd name="T53" fmla="*/ 600 h 1330"/>
                  <a:gd name="T54" fmla="*/ 751 w 1570"/>
                  <a:gd name="T55" fmla="*/ 560 h 1330"/>
                  <a:gd name="T56" fmla="*/ 777 w 1570"/>
                  <a:gd name="T57" fmla="*/ 489 h 1330"/>
                  <a:gd name="T58" fmla="*/ 760 w 1570"/>
                  <a:gd name="T59" fmla="*/ 432 h 1330"/>
                  <a:gd name="T60" fmla="*/ 777 w 1570"/>
                  <a:gd name="T61" fmla="*/ 354 h 1330"/>
                  <a:gd name="T62" fmla="*/ 789 w 1570"/>
                  <a:gd name="T63" fmla="*/ 305 h 1330"/>
                  <a:gd name="T64" fmla="*/ 1544 w 1570"/>
                  <a:gd name="T65" fmla="*/ 321 h 1330"/>
                  <a:gd name="T66" fmla="*/ 1570 w 1570"/>
                  <a:gd name="T67" fmla="*/ 350 h 1330"/>
                  <a:gd name="T68" fmla="*/ 1478 w 1570"/>
                  <a:gd name="T69" fmla="*/ 333 h 1330"/>
                  <a:gd name="T70" fmla="*/ 1495 w 1570"/>
                  <a:gd name="T71" fmla="*/ 378 h 1330"/>
                  <a:gd name="T72" fmla="*/ 1441 w 1570"/>
                  <a:gd name="T73" fmla="*/ 371 h 1330"/>
                  <a:gd name="T74" fmla="*/ 1356 w 1570"/>
                  <a:gd name="T75" fmla="*/ 416 h 1330"/>
                  <a:gd name="T76" fmla="*/ 1365 w 1570"/>
                  <a:gd name="T77" fmla="*/ 428 h 1330"/>
                  <a:gd name="T78" fmla="*/ 1372 w 1570"/>
                  <a:gd name="T79" fmla="*/ 432 h 1330"/>
                  <a:gd name="T80" fmla="*/ 1372 w 1570"/>
                  <a:gd name="T81" fmla="*/ 444 h 1330"/>
                  <a:gd name="T82" fmla="*/ 330 w 1570"/>
                  <a:gd name="T83" fmla="*/ 1202 h 1330"/>
                  <a:gd name="T84" fmla="*/ 309 w 1570"/>
                  <a:gd name="T85" fmla="*/ 1238 h 1330"/>
                  <a:gd name="T86" fmla="*/ 16 w 1570"/>
                  <a:gd name="T87" fmla="*/ 1238 h 1330"/>
                  <a:gd name="T88" fmla="*/ 21 w 1570"/>
                  <a:gd name="T89" fmla="*/ 1259 h 1330"/>
                  <a:gd name="T90" fmla="*/ 293 w 1570"/>
                  <a:gd name="T91" fmla="*/ 1243 h 1330"/>
                  <a:gd name="T92" fmla="*/ 271 w 1570"/>
                  <a:gd name="T93" fmla="*/ 1297 h 1330"/>
                  <a:gd name="T94" fmla="*/ 87 w 1570"/>
                  <a:gd name="T95" fmla="*/ 1276 h 1330"/>
                  <a:gd name="T96" fmla="*/ 125 w 1570"/>
                  <a:gd name="T97" fmla="*/ 1292 h 1330"/>
                  <a:gd name="T98" fmla="*/ 59 w 1570"/>
                  <a:gd name="T99" fmla="*/ 1297 h 1330"/>
                  <a:gd name="T100" fmla="*/ 59 w 1570"/>
                  <a:gd name="T101" fmla="*/ 1297 h 1330"/>
                  <a:gd name="T102" fmla="*/ 163 w 1570"/>
                  <a:gd name="T103" fmla="*/ 1304 h 1330"/>
                  <a:gd name="T104" fmla="*/ 196 w 1570"/>
                  <a:gd name="T105" fmla="*/ 1313 h 1330"/>
                  <a:gd name="T106" fmla="*/ 7 w 1570"/>
                  <a:gd name="T107" fmla="*/ 1330 h 1330"/>
                  <a:gd name="T108" fmla="*/ 7 w 1570"/>
                  <a:gd name="T109" fmla="*/ 133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70" h="1330">
                    <a:moveTo>
                      <a:pt x="789" y="305"/>
                    </a:moveTo>
                    <a:lnTo>
                      <a:pt x="793" y="300"/>
                    </a:lnTo>
                    <a:lnTo>
                      <a:pt x="793" y="284"/>
                    </a:lnTo>
                    <a:lnTo>
                      <a:pt x="793" y="251"/>
                    </a:lnTo>
                    <a:lnTo>
                      <a:pt x="789" y="239"/>
                    </a:lnTo>
                    <a:lnTo>
                      <a:pt x="826" y="210"/>
                    </a:lnTo>
                    <a:lnTo>
                      <a:pt x="843" y="189"/>
                    </a:lnTo>
                    <a:lnTo>
                      <a:pt x="815" y="184"/>
                    </a:lnTo>
                    <a:lnTo>
                      <a:pt x="810" y="156"/>
                    </a:lnTo>
                    <a:lnTo>
                      <a:pt x="772" y="156"/>
                    </a:lnTo>
                    <a:lnTo>
                      <a:pt x="772" y="168"/>
                    </a:lnTo>
                    <a:lnTo>
                      <a:pt x="756" y="173"/>
                    </a:lnTo>
                    <a:lnTo>
                      <a:pt x="734" y="168"/>
                    </a:lnTo>
                    <a:lnTo>
                      <a:pt x="701" y="173"/>
                    </a:lnTo>
                    <a:lnTo>
                      <a:pt x="696" y="168"/>
                    </a:lnTo>
                    <a:lnTo>
                      <a:pt x="708" y="151"/>
                    </a:lnTo>
                    <a:lnTo>
                      <a:pt x="696" y="139"/>
                    </a:lnTo>
                    <a:lnTo>
                      <a:pt x="654" y="156"/>
                    </a:lnTo>
                    <a:lnTo>
                      <a:pt x="647" y="168"/>
                    </a:lnTo>
                    <a:lnTo>
                      <a:pt x="647" y="151"/>
                    </a:lnTo>
                    <a:lnTo>
                      <a:pt x="670" y="123"/>
                    </a:lnTo>
                    <a:lnTo>
                      <a:pt x="647" y="135"/>
                    </a:lnTo>
                    <a:lnTo>
                      <a:pt x="663" y="118"/>
                    </a:lnTo>
                    <a:lnTo>
                      <a:pt x="654" y="123"/>
                    </a:lnTo>
                    <a:lnTo>
                      <a:pt x="647" y="118"/>
                    </a:lnTo>
                    <a:lnTo>
                      <a:pt x="654" y="118"/>
                    </a:lnTo>
                    <a:lnTo>
                      <a:pt x="663" y="95"/>
                    </a:lnTo>
                    <a:lnTo>
                      <a:pt x="642" y="111"/>
                    </a:lnTo>
                    <a:lnTo>
                      <a:pt x="642" y="95"/>
                    </a:lnTo>
                    <a:lnTo>
                      <a:pt x="647" y="83"/>
                    </a:lnTo>
                    <a:lnTo>
                      <a:pt x="633" y="95"/>
                    </a:lnTo>
                    <a:lnTo>
                      <a:pt x="633" y="66"/>
                    </a:lnTo>
                    <a:lnTo>
                      <a:pt x="626" y="78"/>
                    </a:lnTo>
                    <a:lnTo>
                      <a:pt x="626" y="57"/>
                    </a:lnTo>
                    <a:lnTo>
                      <a:pt x="647" y="40"/>
                    </a:lnTo>
                    <a:lnTo>
                      <a:pt x="663" y="45"/>
                    </a:lnTo>
                    <a:lnTo>
                      <a:pt x="685" y="28"/>
                    </a:lnTo>
                    <a:lnTo>
                      <a:pt x="696" y="24"/>
                    </a:lnTo>
                    <a:lnTo>
                      <a:pt x="718" y="0"/>
                    </a:lnTo>
                    <a:lnTo>
                      <a:pt x="722" y="7"/>
                    </a:lnTo>
                    <a:lnTo>
                      <a:pt x="751" y="7"/>
                    </a:lnTo>
                    <a:lnTo>
                      <a:pt x="760" y="24"/>
                    </a:lnTo>
                    <a:lnTo>
                      <a:pt x="777" y="24"/>
                    </a:lnTo>
                    <a:lnTo>
                      <a:pt x="777" y="24"/>
                    </a:lnTo>
                    <a:lnTo>
                      <a:pt x="789" y="12"/>
                    </a:lnTo>
                    <a:lnTo>
                      <a:pt x="848" y="24"/>
                    </a:lnTo>
                    <a:lnTo>
                      <a:pt x="864" y="12"/>
                    </a:lnTo>
                    <a:lnTo>
                      <a:pt x="869" y="24"/>
                    </a:lnTo>
                    <a:lnTo>
                      <a:pt x="956" y="28"/>
                    </a:lnTo>
                    <a:lnTo>
                      <a:pt x="1020" y="24"/>
                    </a:lnTo>
                    <a:lnTo>
                      <a:pt x="1048" y="40"/>
                    </a:lnTo>
                    <a:lnTo>
                      <a:pt x="1063" y="28"/>
                    </a:lnTo>
                    <a:lnTo>
                      <a:pt x="1112" y="45"/>
                    </a:lnTo>
                    <a:lnTo>
                      <a:pt x="1150" y="40"/>
                    </a:lnTo>
                    <a:lnTo>
                      <a:pt x="1171" y="45"/>
                    </a:lnTo>
                    <a:lnTo>
                      <a:pt x="1171" y="62"/>
                    </a:lnTo>
                    <a:lnTo>
                      <a:pt x="1221" y="66"/>
                    </a:lnTo>
                    <a:lnTo>
                      <a:pt x="1237" y="83"/>
                    </a:lnTo>
                    <a:lnTo>
                      <a:pt x="1247" y="83"/>
                    </a:lnTo>
                    <a:lnTo>
                      <a:pt x="1273" y="95"/>
                    </a:lnTo>
                    <a:lnTo>
                      <a:pt x="1318" y="95"/>
                    </a:lnTo>
                    <a:lnTo>
                      <a:pt x="1327" y="78"/>
                    </a:lnTo>
                    <a:lnTo>
                      <a:pt x="1365" y="95"/>
                    </a:lnTo>
                    <a:lnTo>
                      <a:pt x="1372" y="99"/>
                    </a:lnTo>
                    <a:lnTo>
                      <a:pt x="1372" y="118"/>
                    </a:lnTo>
                    <a:lnTo>
                      <a:pt x="1398" y="111"/>
                    </a:lnTo>
                    <a:lnTo>
                      <a:pt x="1410" y="123"/>
                    </a:lnTo>
                    <a:lnTo>
                      <a:pt x="1436" y="118"/>
                    </a:lnTo>
                    <a:lnTo>
                      <a:pt x="1452" y="123"/>
                    </a:lnTo>
                    <a:lnTo>
                      <a:pt x="1478" y="118"/>
                    </a:lnTo>
                    <a:lnTo>
                      <a:pt x="1495" y="118"/>
                    </a:lnTo>
                    <a:lnTo>
                      <a:pt x="1495" y="123"/>
                    </a:lnTo>
                    <a:lnTo>
                      <a:pt x="1507" y="123"/>
                    </a:lnTo>
                    <a:lnTo>
                      <a:pt x="1490" y="135"/>
                    </a:lnTo>
                    <a:lnTo>
                      <a:pt x="1495" y="151"/>
                    </a:lnTo>
                    <a:lnTo>
                      <a:pt x="1495" y="168"/>
                    </a:lnTo>
                    <a:lnTo>
                      <a:pt x="1436" y="206"/>
                    </a:lnTo>
                    <a:lnTo>
                      <a:pt x="1419" y="222"/>
                    </a:lnTo>
                    <a:lnTo>
                      <a:pt x="1344" y="239"/>
                    </a:lnTo>
                    <a:lnTo>
                      <a:pt x="1318" y="262"/>
                    </a:lnTo>
                    <a:lnTo>
                      <a:pt x="1334" y="267"/>
                    </a:lnTo>
                    <a:lnTo>
                      <a:pt x="1318" y="279"/>
                    </a:lnTo>
                    <a:lnTo>
                      <a:pt x="1318" y="279"/>
                    </a:lnTo>
                    <a:lnTo>
                      <a:pt x="1327" y="279"/>
                    </a:lnTo>
                    <a:lnTo>
                      <a:pt x="1311" y="279"/>
                    </a:lnTo>
                    <a:lnTo>
                      <a:pt x="1273" y="321"/>
                    </a:lnTo>
                    <a:lnTo>
                      <a:pt x="1247" y="371"/>
                    </a:lnTo>
                    <a:lnTo>
                      <a:pt x="1263" y="411"/>
                    </a:lnTo>
                    <a:lnTo>
                      <a:pt x="1289" y="432"/>
                    </a:lnTo>
                    <a:lnTo>
                      <a:pt x="1237" y="465"/>
                    </a:lnTo>
                    <a:lnTo>
                      <a:pt x="1209" y="522"/>
                    </a:lnTo>
                    <a:lnTo>
                      <a:pt x="1226" y="527"/>
                    </a:lnTo>
                    <a:lnTo>
                      <a:pt x="1183" y="527"/>
                    </a:lnTo>
                    <a:lnTo>
                      <a:pt x="1155" y="543"/>
                    </a:lnTo>
                    <a:lnTo>
                      <a:pt x="1129" y="600"/>
                    </a:lnTo>
                    <a:lnTo>
                      <a:pt x="1112" y="593"/>
                    </a:lnTo>
                    <a:lnTo>
                      <a:pt x="1079" y="610"/>
                    </a:lnTo>
                    <a:lnTo>
                      <a:pt x="1063" y="600"/>
                    </a:lnTo>
                    <a:lnTo>
                      <a:pt x="966" y="600"/>
                    </a:lnTo>
                    <a:lnTo>
                      <a:pt x="949" y="617"/>
                    </a:lnTo>
                    <a:lnTo>
                      <a:pt x="911" y="626"/>
                    </a:lnTo>
                    <a:lnTo>
                      <a:pt x="902" y="650"/>
                    </a:lnTo>
                    <a:lnTo>
                      <a:pt x="897" y="650"/>
                    </a:lnTo>
                    <a:lnTo>
                      <a:pt x="881" y="666"/>
                    </a:lnTo>
                    <a:lnTo>
                      <a:pt x="848" y="650"/>
                    </a:lnTo>
                    <a:lnTo>
                      <a:pt x="831" y="626"/>
                    </a:lnTo>
                    <a:lnTo>
                      <a:pt x="843" y="617"/>
                    </a:lnTo>
                    <a:lnTo>
                      <a:pt x="826" y="600"/>
                    </a:lnTo>
                    <a:lnTo>
                      <a:pt x="826" y="593"/>
                    </a:lnTo>
                    <a:lnTo>
                      <a:pt x="789" y="560"/>
                    </a:lnTo>
                    <a:lnTo>
                      <a:pt x="756" y="560"/>
                    </a:lnTo>
                    <a:lnTo>
                      <a:pt x="751" y="560"/>
                    </a:lnTo>
                    <a:lnTo>
                      <a:pt x="751" y="527"/>
                    </a:lnTo>
                    <a:lnTo>
                      <a:pt x="751" y="522"/>
                    </a:lnTo>
                    <a:lnTo>
                      <a:pt x="760" y="499"/>
                    </a:lnTo>
                    <a:lnTo>
                      <a:pt x="777" y="489"/>
                    </a:lnTo>
                    <a:lnTo>
                      <a:pt x="789" y="482"/>
                    </a:lnTo>
                    <a:lnTo>
                      <a:pt x="777" y="482"/>
                    </a:lnTo>
                    <a:lnTo>
                      <a:pt x="756" y="461"/>
                    </a:lnTo>
                    <a:lnTo>
                      <a:pt x="760" y="432"/>
                    </a:lnTo>
                    <a:lnTo>
                      <a:pt x="789" y="411"/>
                    </a:lnTo>
                    <a:lnTo>
                      <a:pt x="760" y="395"/>
                    </a:lnTo>
                    <a:lnTo>
                      <a:pt x="751" y="354"/>
                    </a:lnTo>
                    <a:lnTo>
                      <a:pt x="777" y="354"/>
                    </a:lnTo>
                    <a:lnTo>
                      <a:pt x="793" y="321"/>
                    </a:lnTo>
                    <a:lnTo>
                      <a:pt x="777" y="317"/>
                    </a:lnTo>
                    <a:lnTo>
                      <a:pt x="789" y="305"/>
                    </a:lnTo>
                    <a:lnTo>
                      <a:pt x="789" y="305"/>
                    </a:lnTo>
                    <a:lnTo>
                      <a:pt x="789" y="305"/>
                    </a:lnTo>
                    <a:close/>
                    <a:moveTo>
                      <a:pt x="1570" y="350"/>
                    </a:moveTo>
                    <a:lnTo>
                      <a:pt x="1544" y="333"/>
                    </a:lnTo>
                    <a:lnTo>
                      <a:pt x="1544" y="321"/>
                    </a:lnTo>
                    <a:lnTo>
                      <a:pt x="1566" y="321"/>
                    </a:lnTo>
                    <a:lnTo>
                      <a:pt x="1570" y="338"/>
                    </a:lnTo>
                    <a:lnTo>
                      <a:pt x="1570" y="350"/>
                    </a:lnTo>
                    <a:lnTo>
                      <a:pt x="1570" y="350"/>
                    </a:lnTo>
                    <a:lnTo>
                      <a:pt x="1570" y="350"/>
                    </a:lnTo>
                    <a:close/>
                    <a:moveTo>
                      <a:pt x="1441" y="371"/>
                    </a:moveTo>
                    <a:lnTo>
                      <a:pt x="1441" y="362"/>
                    </a:lnTo>
                    <a:lnTo>
                      <a:pt x="1478" y="333"/>
                    </a:lnTo>
                    <a:lnTo>
                      <a:pt x="1490" y="333"/>
                    </a:lnTo>
                    <a:lnTo>
                      <a:pt x="1495" y="350"/>
                    </a:lnTo>
                    <a:lnTo>
                      <a:pt x="1516" y="350"/>
                    </a:lnTo>
                    <a:lnTo>
                      <a:pt x="1495" y="378"/>
                    </a:lnTo>
                    <a:lnTo>
                      <a:pt x="1490" y="388"/>
                    </a:lnTo>
                    <a:lnTo>
                      <a:pt x="1462" y="378"/>
                    </a:lnTo>
                    <a:lnTo>
                      <a:pt x="1457" y="362"/>
                    </a:lnTo>
                    <a:lnTo>
                      <a:pt x="1441" y="371"/>
                    </a:lnTo>
                    <a:lnTo>
                      <a:pt x="1441" y="371"/>
                    </a:lnTo>
                    <a:lnTo>
                      <a:pt x="1441" y="371"/>
                    </a:lnTo>
                    <a:close/>
                    <a:moveTo>
                      <a:pt x="1365" y="428"/>
                    </a:moveTo>
                    <a:lnTo>
                      <a:pt x="1356" y="416"/>
                    </a:lnTo>
                    <a:lnTo>
                      <a:pt x="1365" y="411"/>
                    </a:lnTo>
                    <a:lnTo>
                      <a:pt x="1386" y="406"/>
                    </a:lnTo>
                    <a:lnTo>
                      <a:pt x="1386" y="411"/>
                    </a:lnTo>
                    <a:lnTo>
                      <a:pt x="1365" y="428"/>
                    </a:lnTo>
                    <a:lnTo>
                      <a:pt x="1365" y="428"/>
                    </a:lnTo>
                    <a:lnTo>
                      <a:pt x="1365" y="428"/>
                    </a:lnTo>
                    <a:close/>
                    <a:moveTo>
                      <a:pt x="1372" y="444"/>
                    </a:moveTo>
                    <a:lnTo>
                      <a:pt x="1372" y="432"/>
                    </a:lnTo>
                    <a:lnTo>
                      <a:pt x="1382" y="444"/>
                    </a:lnTo>
                    <a:lnTo>
                      <a:pt x="1372" y="444"/>
                    </a:lnTo>
                    <a:lnTo>
                      <a:pt x="1372" y="444"/>
                    </a:lnTo>
                    <a:lnTo>
                      <a:pt x="1372" y="444"/>
                    </a:lnTo>
                    <a:close/>
                    <a:moveTo>
                      <a:pt x="309" y="1238"/>
                    </a:moveTo>
                    <a:lnTo>
                      <a:pt x="302" y="1226"/>
                    </a:lnTo>
                    <a:lnTo>
                      <a:pt x="309" y="1219"/>
                    </a:lnTo>
                    <a:lnTo>
                      <a:pt x="330" y="1202"/>
                    </a:lnTo>
                    <a:lnTo>
                      <a:pt x="323" y="1226"/>
                    </a:lnTo>
                    <a:lnTo>
                      <a:pt x="309" y="1238"/>
                    </a:lnTo>
                    <a:lnTo>
                      <a:pt x="309" y="1238"/>
                    </a:lnTo>
                    <a:lnTo>
                      <a:pt x="309" y="1238"/>
                    </a:lnTo>
                    <a:close/>
                    <a:moveTo>
                      <a:pt x="21" y="1259"/>
                    </a:moveTo>
                    <a:lnTo>
                      <a:pt x="21" y="1264"/>
                    </a:lnTo>
                    <a:lnTo>
                      <a:pt x="7" y="1243"/>
                    </a:lnTo>
                    <a:lnTo>
                      <a:pt x="16" y="1238"/>
                    </a:lnTo>
                    <a:lnTo>
                      <a:pt x="33" y="1243"/>
                    </a:lnTo>
                    <a:lnTo>
                      <a:pt x="21" y="1259"/>
                    </a:lnTo>
                    <a:lnTo>
                      <a:pt x="21" y="1259"/>
                    </a:lnTo>
                    <a:lnTo>
                      <a:pt x="21" y="1259"/>
                    </a:lnTo>
                    <a:close/>
                    <a:moveTo>
                      <a:pt x="271" y="1297"/>
                    </a:moveTo>
                    <a:lnTo>
                      <a:pt x="264" y="1297"/>
                    </a:lnTo>
                    <a:lnTo>
                      <a:pt x="276" y="1280"/>
                    </a:lnTo>
                    <a:lnTo>
                      <a:pt x="293" y="1243"/>
                    </a:lnTo>
                    <a:lnTo>
                      <a:pt x="302" y="1243"/>
                    </a:lnTo>
                    <a:lnTo>
                      <a:pt x="302" y="1259"/>
                    </a:lnTo>
                    <a:lnTo>
                      <a:pt x="293" y="1280"/>
                    </a:lnTo>
                    <a:lnTo>
                      <a:pt x="271" y="1297"/>
                    </a:lnTo>
                    <a:lnTo>
                      <a:pt x="271" y="1297"/>
                    </a:lnTo>
                    <a:lnTo>
                      <a:pt x="271" y="1297"/>
                    </a:lnTo>
                    <a:close/>
                    <a:moveTo>
                      <a:pt x="104" y="1297"/>
                    </a:moveTo>
                    <a:lnTo>
                      <a:pt x="87" y="1276"/>
                    </a:lnTo>
                    <a:lnTo>
                      <a:pt x="108" y="1264"/>
                    </a:lnTo>
                    <a:lnTo>
                      <a:pt x="125" y="1259"/>
                    </a:lnTo>
                    <a:lnTo>
                      <a:pt x="141" y="1259"/>
                    </a:lnTo>
                    <a:lnTo>
                      <a:pt x="125" y="1292"/>
                    </a:lnTo>
                    <a:lnTo>
                      <a:pt x="104" y="1297"/>
                    </a:lnTo>
                    <a:lnTo>
                      <a:pt x="104" y="1297"/>
                    </a:lnTo>
                    <a:lnTo>
                      <a:pt x="104" y="1297"/>
                    </a:lnTo>
                    <a:close/>
                    <a:moveTo>
                      <a:pt x="59" y="1297"/>
                    </a:moveTo>
                    <a:lnTo>
                      <a:pt x="54" y="1292"/>
                    </a:lnTo>
                    <a:lnTo>
                      <a:pt x="59" y="1280"/>
                    </a:lnTo>
                    <a:lnTo>
                      <a:pt x="75" y="1292"/>
                    </a:lnTo>
                    <a:lnTo>
                      <a:pt x="59" y="1297"/>
                    </a:lnTo>
                    <a:lnTo>
                      <a:pt x="59" y="1297"/>
                    </a:lnTo>
                    <a:lnTo>
                      <a:pt x="59" y="1297"/>
                    </a:lnTo>
                    <a:close/>
                    <a:moveTo>
                      <a:pt x="179" y="1321"/>
                    </a:moveTo>
                    <a:lnTo>
                      <a:pt x="163" y="1304"/>
                    </a:lnTo>
                    <a:lnTo>
                      <a:pt x="167" y="1292"/>
                    </a:lnTo>
                    <a:lnTo>
                      <a:pt x="196" y="1292"/>
                    </a:lnTo>
                    <a:lnTo>
                      <a:pt x="196" y="1297"/>
                    </a:lnTo>
                    <a:lnTo>
                      <a:pt x="196" y="1313"/>
                    </a:lnTo>
                    <a:lnTo>
                      <a:pt x="179" y="1321"/>
                    </a:lnTo>
                    <a:lnTo>
                      <a:pt x="179" y="1321"/>
                    </a:lnTo>
                    <a:lnTo>
                      <a:pt x="179" y="1321"/>
                    </a:lnTo>
                    <a:close/>
                    <a:moveTo>
                      <a:pt x="7" y="1330"/>
                    </a:moveTo>
                    <a:lnTo>
                      <a:pt x="0" y="1321"/>
                    </a:lnTo>
                    <a:lnTo>
                      <a:pt x="16" y="1313"/>
                    </a:lnTo>
                    <a:lnTo>
                      <a:pt x="7" y="1330"/>
                    </a:lnTo>
                    <a:lnTo>
                      <a:pt x="7" y="1330"/>
                    </a:lnTo>
                    <a:lnTo>
                      <a:pt x="7" y="1330"/>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3409" name="Gruppieren 3408">
                <a:extLst>
                  <a:ext uri="{FF2B5EF4-FFF2-40B4-BE49-F238E27FC236}">
                    <a16:creationId xmlns:a16="http://schemas.microsoft.com/office/drawing/2014/main" id="{AE5869CF-95B3-4F0C-9D02-EF1E0E68B440}"/>
                  </a:ext>
                </a:extLst>
              </p:cNvPr>
              <p:cNvGrpSpPr/>
              <p:nvPr/>
            </p:nvGrpSpPr>
            <p:grpSpPr bwMode="gray">
              <a:xfrm>
                <a:off x="1738441" y="692696"/>
                <a:ext cx="10478239" cy="2293259"/>
                <a:chOff x="1738441" y="692696"/>
                <a:chExt cx="10478239" cy="2293259"/>
              </a:xfrm>
              <a:grpFill/>
            </p:grpSpPr>
            <p:sp>
              <p:nvSpPr>
                <p:cNvPr id="3410" name="Freeform 473">
                  <a:extLst>
                    <a:ext uri="{FF2B5EF4-FFF2-40B4-BE49-F238E27FC236}">
                      <a16:creationId xmlns:a16="http://schemas.microsoft.com/office/drawing/2014/main" id="{62357F80-69BB-4403-B527-FF968EA3C138}"/>
                    </a:ext>
                  </a:extLst>
                </p:cNvPr>
                <p:cNvSpPr>
                  <a:spLocks noEditPoints="1"/>
                </p:cNvSpPr>
                <p:nvPr/>
              </p:nvSpPr>
              <p:spPr bwMode="gray">
                <a:xfrm>
                  <a:off x="6915603" y="2557357"/>
                  <a:ext cx="344568" cy="370544"/>
                </a:xfrm>
                <a:custGeom>
                  <a:avLst/>
                  <a:gdLst>
                    <a:gd name="T0" fmla="*/ 81 w 837"/>
                    <a:gd name="T1" fmla="*/ 259 h 900"/>
                    <a:gd name="T2" fmla="*/ 34 w 837"/>
                    <a:gd name="T3" fmla="*/ 193 h 900"/>
                    <a:gd name="T4" fmla="*/ 43 w 837"/>
                    <a:gd name="T5" fmla="*/ 148 h 900"/>
                    <a:gd name="T6" fmla="*/ 81 w 837"/>
                    <a:gd name="T7" fmla="*/ 99 h 900"/>
                    <a:gd name="T8" fmla="*/ 135 w 837"/>
                    <a:gd name="T9" fmla="*/ 54 h 900"/>
                    <a:gd name="T10" fmla="*/ 173 w 837"/>
                    <a:gd name="T11" fmla="*/ 111 h 900"/>
                    <a:gd name="T12" fmla="*/ 189 w 837"/>
                    <a:gd name="T13" fmla="*/ 54 h 900"/>
                    <a:gd name="T14" fmla="*/ 248 w 837"/>
                    <a:gd name="T15" fmla="*/ 75 h 900"/>
                    <a:gd name="T16" fmla="*/ 260 w 837"/>
                    <a:gd name="T17" fmla="*/ 37 h 900"/>
                    <a:gd name="T18" fmla="*/ 324 w 837"/>
                    <a:gd name="T19" fmla="*/ 4 h 900"/>
                    <a:gd name="T20" fmla="*/ 411 w 837"/>
                    <a:gd name="T21" fmla="*/ 26 h 900"/>
                    <a:gd name="T22" fmla="*/ 497 w 837"/>
                    <a:gd name="T23" fmla="*/ 75 h 900"/>
                    <a:gd name="T24" fmla="*/ 520 w 837"/>
                    <a:gd name="T25" fmla="*/ 127 h 900"/>
                    <a:gd name="T26" fmla="*/ 482 w 837"/>
                    <a:gd name="T27" fmla="*/ 127 h 900"/>
                    <a:gd name="T28" fmla="*/ 459 w 837"/>
                    <a:gd name="T29" fmla="*/ 127 h 900"/>
                    <a:gd name="T30" fmla="*/ 395 w 837"/>
                    <a:gd name="T31" fmla="*/ 165 h 900"/>
                    <a:gd name="T32" fmla="*/ 411 w 837"/>
                    <a:gd name="T33" fmla="*/ 203 h 900"/>
                    <a:gd name="T34" fmla="*/ 428 w 837"/>
                    <a:gd name="T35" fmla="*/ 276 h 900"/>
                    <a:gd name="T36" fmla="*/ 605 w 837"/>
                    <a:gd name="T37" fmla="*/ 458 h 900"/>
                    <a:gd name="T38" fmla="*/ 660 w 837"/>
                    <a:gd name="T39" fmla="*/ 496 h 900"/>
                    <a:gd name="T40" fmla="*/ 806 w 837"/>
                    <a:gd name="T41" fmla="*/ 623 h 900"/>
                    <a:gd name="T42" fmla="*/ 730 w 837"/>
                    <a:gd name="T43" fmla="*/ 585 h 900"/>
                    <a:gd name="T44" fmla="*/ 747 w 837"/>
                    <a:gd name="T45" fmla="*/ 668 h 900"/>
                    <a:gd name="T46" fmla="*/ 702 w 837"/>
                    <a:gd name="T47" fmla="*/ 751 h 900"/>
                    <a:gd name="T48" fmla="*/ 638 w 837"/>
                    <a:gd name="T49" fmla="*/ 789 h 900"/>
                    <a:gd name="T50" fmla="*/ 648 w 837"/>
                    <a:gd name="T51" fmla="*/ 734 h 900"/>
                    <a:gd name="T52" fmla="*/ 664 w 837"/>
                    <a:gd name="T53" fmla="*/ 668 h 900"/>
                    <a:gd name="T54" fmla="*/ 589 w 837"/>
                    <a:gd name="T55" fmla="*/ 595 h 900"/>
                    <a:gd name="T56" fmla="*/ 551 w 837"/>
                    <a:gd name="T57" fmla="*/ 552 h 900"/>
                    <a:gd name="T58" fmla="*/ 449 w 837"/>
                    <a:gd name="T59" fmla="*/ 512 h 900"/>
                    <a:gd name="T60" fmla="*/ 374 w 837"/>
                    <a:gd name="T61" fmla="*/ 441 h 900"/>
                    <a:gd name="T62" fmla="*/ 319 w 837"/>
                    <a:gd name="T63" fmla="*/ 404 h 900"/>
                    <a:gd name="T64" fmla="*/ 260 w 837"/>
                    <a:gd name="T65" fmla="*/ 292 h 900"/>
                    <a:gd name="T66" fmla="*/ 135 w 837"/>
                    <a:gd name="T67" fmla="*/ 248 h 900"/>
                    <a:gd name="T68" fmla="*/ 67 w 837"/>
                    <a:gd name="T69" fmla="*/ 292 h 900"/>
                    <a:gd name="T70" fmla="*/ 411 w 837"/>
                    <a:gd name="T71" fmla="*/ 276 h 900"/>
                    <a:gd name="T72" fmla="*/ 248 w 837"/>
                    <a:gd name="T73" fmla="*/ 375 h 900"/>
                    <a:gd name="T74" fmla="*/ 270 w 837"/>
                    <a:gd name="T75" fmla="*/ 387 h 900"/>
                    <a:gd name="T76" fmla="*/ 142 w 837"/>
                    <a:gd name="T77" fmla="*/ 541 h 900"/>
                    <a:gd name="T78" fmla="*/ 206 w 837"/>
                    <a:gd name="T79" fmla="*/ 541 h 900"/>
                    <a:gd name="T80" fmla="*/ 218 w 837"/>
                    <a:gd name="T81" fmla="*/ 611 h 900"/>
                    <a:gd name="T82" fmla="*/ 163 w 837"/>
                    <a:gd name="T83" fmla="*/ 706 h 900"/>
                    <a:gd name="T84" fmla="*/ 126 w 837"/>
                    <a:gd name="T85" fmla="*/ 696 h 900"/>
                    <a:gd name="T86" fmla="*/ 135 w 837"/>
                    <a:gd name="T87" fmla="*/ 640 h 900"/>
                    <a:gd name="T88" fmla="*/ 119 w 837"/>
                    <a:gd name="T89" fmla="*/ 569 h 900"/>
                    <a:gd name="T90" fmla="*/ 109 w 837"/>
                    <a:gd name="T91" fmla="*/ 569 h 900"/>
                    <a:gd name="T92" fmla="*/ 513 w 837"/>
                    <a:gd name="T93" fmla="*/ 557 h 900"/>
                    <a:gd name="T94" fmla="*/ 119 w 837"/>
                    <a:gd name="T95" fmla="*/ 685 h 900"/>
                    <a:gd name="T96" fmla="*/ 119 w 837"/>
                    <a:gd name="T97" fmla="*/ 696 h 900"/>
                    <a:gd name="T98" fmla="*/ 445 w 837"/>
                    <a:gd name="T99" fmla="*/ 779 h 900"/>
                    <a:gd name="T100" fmla="*/ 482 w 837"/>
                    <a:gd name="T101" fmla="*/ 779 h 900"/>
                    <a:gd name="T102" fmla="*/ 596 w 837"/>
                    <a:gd name="T103" fmla="*/ 772 h 900"/>
                    <a:gd name="T104" fmla="*/ 596 w 837"/>
                    <a:gd name="T105" fmla="*/ 829 h 900"/>
                    <a:gd name="T106" fmla="*/ 558 w 837"/>
                    <a:gd name="T107" fmla="*/ 890 h 900"/>
                    <a:gd name="T108" fmla="*/ 428 w 837"/>
                    <a:gd name="T109" fmla="*/ 817 h 900"/>
                    <a:gd name="T110" fmla="*/ 378 w 837"/>
                    <a:gd name="T111" fmla="*/ 890 h 900"/>
                    <a:gd name="T112" fmla="*/ 378 w 837"/>
                    <a:gd name="T113" fmla="*/ 89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7" h="900">
                      <a:moveTo>
                        <a:pt x="67" y="292"/>
                      </a:moveTo>
                      <a:lnTo>
                        <a:pt x="67" y="281"/>
                      </a:lnTo>
                      <a:lnTo>
                        <a:pt x="81" y="264"/>
                      </a:lnTo>
                      <a:lnTo>
                        <a:pt x="81" y="259"/>
                      </a:lnTo>
                      <a:lnTo>
                        <a:pt x="55" y="259"/>
                      </a:lnTo>
                      <a:lnTo>
                        <a:pt x="29" y="248"/>
                      </a:lnTo>
                      <a:lnTo>
                        <a:pt x="17" y="226"/>
                      </a:lnTo>
                      <a:lnTo>
                        <a:pt x="34" y="193"/>
                      </a:lnTo>
                      <a:lnTo>
                        <a:pt x="12" y="193"/>
                      </a:lnTo>
                      <a:lnTo>
                        <a:pt x="0" y="170"/>
                      </a:lnTo>
                      <a:lnTo>
                        <a:pt x="43" y="165"/>
                      </a:lnTo>
                      <a:lnTo>
                        <a:pt x="43" y="148"/>
                      </a:lnTo>
                      <a:lnTo>
                        <a:pt x="17" y="115"/>
                      </a:lnTo>
                      <a:lnTo>
                        <a:pt x="34" y="99"/>
                      </a:lnTo>
                      <a:lnTo>
                        <a:pt x="43" y="111"/>
                      </a:lnTo>
                      <a:lnTo>
                        <a:pt x="81" y="99"/>
                      </a:lnTo>
                      <a:lnTo>
                        <a:pt x="88" y="99"/>
                      </a:lnTo>
                      <a:lnTo>
                        <a:pt x="109" y="82"/>
                      </a:lnTo>
                      <a:lnTo>
                        <a:pt x="119" y="54"/>
                      </a:lnTo>
                      <a:lnTo>
                        <a:pt x="135" y="54"/>
                      </a:lnTo>
                      <a:lnTo>
                        <a:pt x="135" y="75"/>
                      </a:lnTo>
                      <a:lnTo>
                        <a:pt x="156" y="82"/>
                      </a:lnTo>
                      <a:lnTo>
                        <a:pt x="156" y="92"/>
                      </a:lnTo>
                      <a:lnTo>
                        <a:pt x="173" y="111"/>
                      </a:lnTo>
                      <a:lnTo>
                        <a:pt x="180" y="99"/>
                      </a:lnTo>
                      <a:lnTo>
                        <a:pt x="173" y="99"/>
                      </a:lnTo>
                      <a:lnTo>
                        <a:pt x="189" y="70"/>
                      </a:lnTo>
                      <a:lnTo>
                        <a:pt x="189" y="54"/>
                      </a:lnTo>
                      <a:lnTo>
                        <a:pt x="206" y="54"/>
                      </a:lnTo>
                      <a:lnTo>
                        <a:pt x="211" y="70"/>
                      </a:lnTo>
                      <a:lnTo>
                        <a:pt x="232" y="59"/>
                      </a:lnTo>
                      <a:lnTo>
                        <a:pt x="248" y="75"/>
                      </a:lnTo>
                      <a:lnTo>
                        <a:pt x="248" y="59"/>
                      </a:lnTo>
                      <a:lnTo>
                        <a:pt x="244" y="54"/>
                      </a:lnTo>
                      <a:lnTo>
                        <a:pt x="244" y="42"/>
                      </a:lnTo>
                      <a:lnTo>
                        <a:pt x="260" y="37"/>
                      </a:lnTo>
                      <a:lnTo>
                        <a:pt x="270" y="42"/>
                      </a:lnTo>
                      <a:lnTo>
                        <a:pt x="270" y="16"/>
                      </a:lnTo>
                      <a:lnTo>
                        <a:pt x="315" y="26"/>
                      </a:lnTo>
                      <a:lnTo>
                        <a:pt x="324" y="4"/>
                      </a:lnTo>
                      <a:lnTo>
                        <a:pt x="369" y="4"/>
                      </a:lnTo>
                      <a:lnTo>
                        <a:pt x="395" y="0"/>
                      </a:lnTo>
                      <a:lnTo>
                        <a:pt x="395" y="16"/>
                      </a:lnTo>
                      <a:lnTo>
                        <a:pt x="411" y="26"/>
                      </a:lnTo>
                      <a:lnTo>
                        <a:pt x="504" y="42"/>
                      </a:lnTo>
                      <a:lnTo>
                        <a:pt x="482" y="70"/>
                      </a:lnTo>
                      <a:lnTo>
                        <a:pt x="482" y="75"/>
                      </a:lnTo>
                      <a:lnTo>
                        <a:pt x="497" y="75"/>
                      </a:lnTo>
                      <a:lnTo>
                        <a:pt x="487" y="92"/>
                      </a:lnTo>
                      <a:lnTo>
                        <a:pt x="497" y="92"/>
                      </a:lnTo>
                      <a:lnTo>
                        <a:pt x="497" y="111"/>
                      </a:lnTo>
                      <a:lnTo>
                        <a:pt x="520" y="127"/>
                      </a:lnTo>
                      <a:lnTo>
                        <a:pt x="504" y="132"/>
                      </a:lnTo>
                      <a:lnTo>
                        <a:pt x="504" y="132"/>
                      </a:lnTo>
                      <a:lnTo>
                        <a:pt x="497" y="115"/>
                      </a:lnTo>
                      <a:lnTo>
                        <a:pt x="482" y="127"/>
                      </a:lnTo>
                      <a:lnTo>
                        <a:pt x="482" y="115"/>
                      </a:lnTo>
                      <a:lnTo>
                        <a:pt x="466" y="115"/>
                      </a:lnTo>
                      <a:lnTo>
                        <a:pt x="459" y="127"/>
                      </a:lnTo>
                      <a:lnTo>
                        <a:pt x="459" y="127"/>
                      </a:lnTo>
                      <a:lnTo>
                        <a:pt x="411" y="148"/>
                      </a:lnTo>
                      <a:lnTo>
                        <a:pt x="421" y="132"/>
                      </a:lnTo>
                      <a:lnTo>
                        <a:pt x="407" y="137"/>
                      </a:lnTo>
                      <a:lnTo>
                        <a:pt x="395" y="165"/>
                      </a:lnTo>
                      <a:lnTo>
                        <a:pt x="421" y="186"/>
                      </a:lnTo>
                      <a:lnTo>
                        <a:pt x="411" y="203"/>
                      </a:lnTo>
                      <a:lnTo>
                        <a:pt x="411" y="193"/>
                      </a:lnTo>
                      <a:lnTo>
                        <a:pt x="411" y="203"/>
                      </a:lnTo>
                      <a:lnTo>
                        <a:pt x="407" y="193"/>
                      </a:lnTo>
                      <a:lnTo>
                        <a:pt x="395" y="210"/>
                      </a:lnTo>
                      <a:lnTo>
                        <a:pt x="407" y="248"/>
                      </a:lnTo>
                      <a:lnTo>
                        <a:pt x="428" y="276"/>
                      </a:lnTo>
                      <a:lnTo>
                        <a:pt x="497" y="314"/>
                      </a:lnTo>
                      <a:lnTo>
                        <a:pt x="520" y="392"/>
                      </a:lnTo>
                      <a:lnTo>
                        <a:pt x="572" y="441"/>
                      </a:lnTo>
                      <a:lnTo>
                        <a:pt x="605" y="458"/>
                      </a:lnTo>
                      <a:lnTo>
                        <a:pt x="676" y="458"/>
                      </a:lnTo>
                      <a:lnTo>
                        <a:pt x="676" y="463"/>
                      </a:lnTo>
                      <a:lnTo>
                        <a:pt x="660" y="479"/>
                      </a:lnTo>
                      <a:lnTo>
                        <a:pt x="660" y="496"/>
                      </a:lnTo>
                      <a:lnTo>
                        <a:pt x="806" y="569"/>
                      </a:lnTo>
                      <a:lnTo>
                        <a:pt x="837" y="607"/>
                      </a:lnTo>
                      <a:lnTo>
                        <a:pt x="827" y="640"/>
                      </a:lnTo>
                      <a:lnTo>
                        <a:pt x="806" y="623"/>
                      </a:lnTo>
                      <a:lnTo>
                        <a:pt x="789" y="590"/>
                      </a:lnTo>
                      <a:lnTo>
                        <a:pt x="747" y="585"/>
                      </a:lnTo>
                      <a:lnTo>
                        <a:pt x="752" y="574"/>
                      </a:lnTo>
                      <a:lnTo>
                        <a:pt x="730" y="585"/>
                      </a:lnTo>
                      <a:lnTo>
                        <a:pt x="702" y="611"/>
                      </a:lnTo>
                      <a:lnTo>
                        <a:pt x="697" y="640"/>
                      </a:lnTo>
                      <a:lnTo>
                        <a:pt x="697" y="647"/>
                      </a:lnTo>
                      <a:lnTo>
                        <a:pt x="747" y="668"/>
                      </a:lnTo>
                      <a:lnTo>
                        <a:pt x="747" y="701"/>
                      </a:lnTo>
                      <a:lnTo>
                        <a:pt x="702" y="718"/>
                      </a:lnTo>
                      <a:lnTo>
                        <a:pt x="697" y="722"/>
                      </a:lnTo>
                      <a:lnTo>
                        <a:pt x="702" y="751"/>
                      </a:lnTo>
                      <a:lnTo>
                        <a:pt x="676" y="772"/>
                      </a:lnTo>
                      <a:lnTo>
                        <a:pt x="664" y="789"/>
                      </a:lnTo>
                      <a:lnTo>
                        <a:pt x="643" y="796"/>
                      </a:lnTo>
                      <a:lnTo>
                        <a:pt x="638" y="789"/>
                      </a:lnTo>
                      <a:lnTo>
                        <a:pt x="638" y="763"/>
                      </a:lnTo>
                      <a:lnTo>
                        <a:pt x="648" y="763"/>
                      </a:lnTo>
                      <a:lnTo>
                        <a:pt x="660" y="739"/>
                      </a:lnTo>
                      <a:lnTo>
                        <a:pt x="648" y="734"/>
                      </a:lnTo>
                      <a:lnTo>
                        <a:pt x="676" y="722"/>
                      </a:lnTo>
                      <a:lnTo>
                        <a:pt x="676" y="706"/>
                      </a:lnTo>
                      <a:lnTo>
                        <a:pt x="664" y="701"/>
                      </a:lnTo>
                      <a:lnTo>
                        <a:pt x="664" y="668"/>
                      </a:lnTo>
                      <a:lnTo>
                        <a:pt x="638" y="611"/>
                      </a:lnTo>
                      <a:lnTo>
                        <a:pt x="626" y="611"/>
                      </a:lnTo>
                      <a:lnTo>
                        <a:pt x="622" y="611"/>
                      </a:lnTo>
                      <a:lnTo>
                        <a:pt x="589" y="595"/>
                      </a:lnTo>
                      <a:lnTo>
                        <a:pt x="589" y="585"/>
                      </a:lnTo>
                      <a:lnTo>
                        <a:pt x="572" y="557"/>
                      </a:lnTo>
                      <a:lnTo>
                        <a:pt x="541" y="569"/>
                      </a:lnTo>
                      <a:lnTo>
                        <a:pt x="551" y="552"/>
                      </a:lnTo>
                      <a:lnTo>
                        <a:pt x="541" y="541"/>
                      </a:lnTo>
                      <a:lnTo>
                        <a:pt x="530" y="552"/>
                      </a:lnTo>
                      <a:lnTo>
                        <a:pt x="504" y="512"/>
                      </a:lnTo>
                      <a:lnTo>
                        <a:pt x="449" y="512"/>
                      </a:lnTo>
                      <a:lnTo>
                        <a:pt x="445" y="496"/>
                      </a:lnTo>
                      <a:lnTo>
                        <a:pt x="421" y="486"/>
                      </a:lnTo>
                      <a:lnTo>
                        <a:pt x="390" y="458"/>
                      </a:lnTo>
                      <a:lnTo>
                        <a:pt x="374" y="441"/>
                      </a:lnTo>
                      <a:lnTo>
                        <a:pt x="357" y="425"/>
                      </a:lnTo>
                      <a:lnTo>
                        <a:pt x="336" y="408"/>
                      </a:lnTo>
                      <a:lnTo>
                        <a:pt x="319" y="413"/>
                      </a:lnTo>
                      <a:lnTo>
                        <a:pt x="319" y="404"/>
                      </a:lnTo>
                      <a:lnTo>
                        <a:pt x="282" y="352"/>
                      </a:lnTo>
                      <a:lnTo>
                        <a:pt x="282" y="335"/>
                      </a:lnTo>
                      <a:lnTo>
                        <a:pt x="265" y="318"/>
                      </a:lnTo>
                      <a:lnTo>
                        <a:pt x="260" y="292"/>
                      </a:lnTo>
                      <a:lnTo>
                        <a:pt x="248" y="276"/>
                      </a:lnTo>
                      <a:lnTo>
                        <a:pt x="189" y="243"/>
                      </a:lnTo>
                      <a:lnTo>
                        <a:pt x="156" y="236"/>
                      </a:lnTo>
                      <a:lnTo>
                        <a:pt x="135" y="248"/>
                      </a:lnTo>
                      <a:lnTo>
                        <a:pt x="104" y="281"/>
                      </a:lnTo>
                      <a:lnTo>
                        <a:pt x="67" y="292"/>
                      </a:lnTo>
                      <a:lnTo>
                        <a:pt x="67" y="292"/>
                      </a:lnTo>
                      <a:lnTo>
                        <a:pt x="67" y="292"/>
                      </a:lnTo>
                      <a:close/>
                      <a:moveTo>
                        <a:pt x="411" y="276"/>
                      </a:moveTo>
                      <a:lnTo>
                        <a:pt x="411" y="281"/>
                      </a:lnTo>
                      <a:lnTo>
                        <a:pt x="421" y="276"/>
                      </a:lnTo>
                      <a:lnTo>
                        <a:pt x="411" y="276"/>
                      </a:lnTo>
                      <a:lnTo>
                        <a:pt x="411" y="276"/>
                      </a:lnTo>
                      <a:lnTo>
                        <a:pt x="411" y="276"/>
                      </a:lnTo>
                      <a:close/>
                      <a:moveTo>
                        <a:pt x="270" y="387"/>
                      </a:moveTo>
                      <a:lnTo>
                        <a:pt x="248" y="375"/>
                      </a:lnTo>
                      <a:lnTo>
                        <a:pt x="270" y="370"/>
                      </a:lnTo>
                      <a:lnTo>
                        <a:pt x="270" y="387"/>
                      </a:lnTo>
                      <a:lnTo>
                        <a:pt x="270" y="387"/>
                      </a:lnTo>
                      <a:lnTo>
                        <a:pt x="270" y="387"/>
                      </a:lnTo>
                      <a:close/>
                      <a:moveTo>
                        <a:pt x="109" y="569"/>
                      </a:moveTo>
                      <a:lnTo>
                        <a:pt x="119" y="536"/>
                      </a:lnTo>
                      <a:lnTo>
                        <a:pt x="126" y="541"/>
                      </a:lnTo>
                      <a:lnTo>
                        <a:pt x="142" y="541"/>
                      </a:lnTo>
                      <a:lnTo>
                        <a:pt x="189" y="512"/>
                      </a:lnTo>
                      <a:lnTo>
                        <a:pt x="211" y="519"/>
                      </a:lnTo>
                      <a:lnTo>
                        <a:pt x="218" y="536"/>
                      </a:lnTo>
                      <a:lnTo>
                        <a:pt x="206" y="541"/>
                      </a:lnTo>
                      <a:lnTo>
                        <a:pt x="211" y="541"/>
                      </a:lnTo>
                      <a:lnTo>
                        <a:pt x="227" y="574"/>
                      </a:lnTo>
                      <a:lnTo>
                        <a:pt x="211" y="595"/>
                      </a:lnTo>
                      <a:lnTo>
                        <a:pt x="218" y="611"/>
                      </a:lnTo>
                      <a:lnTo>
                        <a:pt x="211" y="696"/>
                      </a:lnTo>
                      <a:lnTo>
                        <a:pt x="173" y="680"/>
                      </a:lnTo>
                      <a:lnTo>
                        <a:pt x="173" y="701"/>
                      </a:lnTo>
                      <a:lnTo>
                        <a:pt x="163" y="706"/>
                      </a:lnTo>
                      <a:lnTo>
                        <a:pt x="152" y="706"/>
                      </a:lnTo>
                      <a:lnTo>
                        <a:pt x="135" y="696"/>
                      </a:lnTo>
                      <a:lnTo>
                        <a:pt x="126" y="706"/>
                      </a:lnTo>
                      <a:lnTo>
                        <a:pt x="126" y="696"/>
                      </a:lnTo>
                      <a:lnTo>
                        <a:pt x="135" y="696"/>
                      </a:lnTo>
                      <a:lnTo>
                        <a:pt x="126" y="668"/>
                      </a:lnTo>
                      <a:lnTo>
                        <a:pt x="135" y="640"/>
                      </a:lnTo>
                      <a:lnTo>
                        <a:pt x="135" y="640"/>
                      </a:lnTo>
                      <a:lnTo>
                        <a:pt x="142" y="630"/>
                      </a:lnTo>
                      <a:lnTo>
                        <a:pt x="126" y="630"/>
                      </a:lnTo>
                      <a:lnTo>
                        <a:pt x="135" y="590"/>
                      </a:lnTo>
                      <a:lnTo>
                        <a:pt x="119" y="569"/>
                      </a:lnTo>
                      <a:lnTo>
                        <a:pt x="109" y="569"/>
                      </a:lnTo>
                      <a:lnTo>
                        <a:pt x="109" y="569"/>
                      </a:lnTo>
                      <a:lnTo>
                        <a:pt x="109" y="569"/>
                      </a:lnTo>
                      <a:lnTo>
                        <a:pt x="109" y="569"/>
                      </a:lnTo>
                      <a:close/>
                      <a:moveTo>
                        <a:pt x="513" y="557"/>
                      </a:moveTo>
                      <a:lnTo>
                        <a:pt x="513" y="552"/>
                      </a:lnTo>
                      <a:lnTo>
                        <a:pt x="520" y="557"/>
                      </a:lnTo>
                      <a:lnTo>
                        <a:pt x="513" y="557"/>
                      </a:lnTo>
                      <a:lnTo>
                        <a:pt x="513" y="557"/>
                      </a:lnTo>
                      <a:lnTo>
                        <a:pt x="513" y="557"/>
                      </a:lnTo>
                      <a:close/>
                      <a:moveTo>
                        <a:pt x="119" y="696"/>
                      </a:moveTo>
                      <a:lnTo>
                        <a:pt x="119" y="685"/>
                      </a:lnTo>
                      <a:lnTo>
                        <a:pt x="119" y="685"/>
                      </a:lnTo>
                      <a:lnTo>
                        <a:pt x="119" y="696"/>
                      </a:lnTo>
                      <a:lnTo>
                        <a:pt x="119" y="696"/>
                      </a:lnTo>
                      <a:lnTo>
                        <a:pt x="119" y="696"/>
                      </a:lnTo>
                      <a:close/>
                      <a:moveTo>
                        <a:pt x="411" y="805"/>
                      </a:moveTo>
                      <a:lnTo>
                        <a:pt x="421" y="789"/>
                      </a:lnTo>
                      <a:lnTo>
                        <a:pt x="433" y="772"/>
                      </a:lnTo>
                      <a:lnTo>
                        <a:pt x="445" y="779"/>
                      </a:lnTo>
                      <a:lnTo>
                        <a:pt x="459" y="779"/>
                      </a:lnTo>
                      <a:lnTo>
                        <a:pt x="459" y="772"/>
                      </a:lnTo>
                      <a:lnTo>
                        <a:pt x="475" y="763"/>
                      </a:lnTo>
                      <a:lnTo>
                        <a:pt x="482" y="779"/>
                      </a:lnTo>
                      <a:lnTo>
                        <a:pt x="504" y="789"/>
                      </a:lnTo>
                      <a:lnTo>
                        <a:pt x="558" y="779"/>
                      </a:lnTo>
                      <a:lnTo>
                        <a:pt x="584" y="772"/>
                      </a:lnTo>
                      <a:lnTo>
                        <a:pt x="596" y="772"/>
                      </a:lnTo>
                      <a:lnTo>
                        <a:pt x="626" y="763"/>
                      </a:lnTo>
                      <a:lnTo>
                        <a:pt x="638" y="763"/>
                      </a:lnTo>
                      <a:lnTo>
                        <a:pt x="605" y="805"/>
                      </a:lnTo>
                      <a:lnTo>
                        <a:pt x="596" y="829"/>
                      </a:lnTo>
                      <a:lnTo>
                        <a:pt x="610" y="866"/>
                      </a:lnTo>
                      <a:lnTo>
                        <a:pt x="605" y="871"/>
                      </a:lnTo>
                      <a:lnTo>
                        <a:pt x="596" y="900"/>
                      </a:lnTo>
                      <a:lnTo>
                        <a:pt x="558" y="890"/>
                      </a:lnTo>
                      <a:lnTo>
                        <a:pt x="534" y="866"/>
                      </a:lnTo>
                      <a:lnTo>
                        <a:pt x="513" y="862"/>
                      </a:lnTo>
                      <a:lnTo>
                        <a:pt x="466" y="829"/>
                      </a:lnTo>
                      <a:lnTo>
                        <a:pt x="428" y="817"/>
                      </a:lnTo>
                      <a:lnTo>
                        <a:pt x="411" y="805"/>
                      </a:lnTo>
                      <a:lnTo>
                        <a:pt x="411" y="805"/>
                      </a:lnTo>
                      <a:lnTo>
                        <a:pt x="411" y="805"/>
                      </a:lnTo>
                      <a:close/>
                      <a:moveTo>
                        <a:pt x="378" y="890"/>
                      </a:moveTo>
                      <a:lnTo>
                        <a:pt x="378" y="883"/>
                      </a:lnTo>
                      <a:lnTo>
                        <a:pt x="390" y="883"/>
                      </a:lnTo>
                      <a:lnTo>
                        <a:pt x="378" y="890"/>
                      </a:lnTo>
                      <a:lnTo>
                        <a:pt x="378" y="890"/>
                      </a:lnTo>
                      <a:lnTo>
                        <a:pt x="378" y="890"/>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11" name="Freeform 381">
                  <a:extLst>
                    <a:ext uri="{FF2B5EF4-FFF2-40B4-BE49-F238E27FC236}">
                      <a16:creationId xmlns:a16="http://schemas.microsoft.com/office/drawing/2014/main" id="{87EF5A90-DD96-4911-A583-2BC884C80743}"/>
                    </a:ext>
                  </a:extLst>
                </p:cNvPr>
                <p:cNvSpPr>
                  <a:spLocks noEditPoints="1"/>
                </p:cNvSpPr>
                <p:nvPr/>
              </p:nvSpPr>
              <p:spPr bwMode="gray">
                <a:xfrm>
                  <a:off x="8018468" y="2745923"/>
                  <a:ext cx="162609" cy="123515"/>
                </a:xfrm>
                <a:custGeom>
                  <a:avLst/>
                  <a:gdLst>
                    <a:gd name="T0" fmla="*/ 118 w 395"/>
                    <a:gd name="T1" fmla="*/ 229 h 300"/>
                    <a:gd name="T2" fmla="*/ 118 w 395"/>
                    <a:gd name="T3" fmla="*/ 212 h 300"/>
                    <a:gd name="T4" fmla="*/ 102 w 395"/>
                    <a:gd name="T5" fmla="*/ 196 h 300"/>
                    <a:gd name="T6" fmla="*/ 64 w 395"/>
                    <a:gd name="T7" fmla="*/ 168 h 300"/>
                    <a:gd name="T8" fmla="*/ 85 w 395"/>
                    <a:gd name="T9" fmla="*/ 139 h 300"/>
                    <a:gd name="T10" fmla="*/ 47 w 395"/>
                    <a:gd name="T11" fmla="*/ 99 h 300"/>
                    <a:gd name="T12" fmla="*/ 26 w 395"/>
                    <a:gd name="T13" fmla="*/ 73 h 300"/>
                    <a:gd name="T14" fmla="*/ 17 w 395"/>
                    <a:gd name="T15" fmla="*/ 45 h 300"/>
                    <a:gd name="T16" fmla="*/ 71 w 395"/>
                    <a:gd name="T17" fmla="*/ 45 h 300"/>
                    <a:gd name="T18" fmla="*/ 102 w 395"/>
                    <a:gd name="T19" fmla="*/ 57 h 300"/>
                    <a:gd name="T20" fmla="*/ 135 w 395"/>
                    <a:gd name="T21" fmla="*/ 61 h 300"/>
                    <a:gd name="T22" fmla="*/ 109 w 395"/>
                    <a:gd name="T23" fmla="*/ 28 h 300"/>
                    <a:gd name="T24" fmla="*/ 118 w 395"/>
                    <a:gd name="T25" fmla="*/ 0 h 300"/>
                    <a:gd name="T26" fmla="*/ 140 w 395"/>
                    <a:gd name="T27" fmla="*/ 0 h 300"/>
                    <a:gd name="T28" fmla="*/ 177 w 395"/>
                    <a:gd name="T29" fmla="*/ 45 h 300"/>
                    <a:gd name="T30" fmla="*/ 227 w 395"/>
                    <a:gd name="T31" fmla="*/ 57 h 300"/>
                    <a:gd name="T32" fmla="*/ 253 w 395"/>
                    <a:gd name="T33" fmla="*/ 23 h 300"/>
                    <a:gd name="T34" fmla="*/ 303 w 395"/>
                    <a:gd name="T35" fmla="*/ 40 h 300"/>
                    <a:gd name="T36" fmla="*/ 336 w 395"/>
                    <a:gd name="T37" fmla="*/ 94 h 300"/>
                    <a:gd name="T38" fmla="*/ 390 w 395"/>
                    <a:gd name="T39" fmla="*/ 118 h 300"/>
                    <a:gd name="T40" fmla="*/ 362 w 395"/>
                    <a:gd name="T41" fmla="*/ 134 h 300"/>
                    <a:gd name="T42" fmla="*/ 319 w 395"/>
                    <a:gd name="T43" fmla="*/ 205 h 300"/>
                    <a:gd name="T44" fmla="*/ 319 w 395"/>
                    <a:gd name="T45" fmla="*/ 222 h 300"/>
                    <a:gd name="T46" fmla="*/ 303 w 395"/>
                    <a:gd name="T47" fmla="*/ 246 h 300"/>
                    <a:gd name="T48" fmla="*/ 298 w 395"/>
                    <a:gd name="T49" fmla="*/ 229 h 300"/>
                    <a:gd name="T50" fmla="*/ 269 w 395"/>
                    <a:gd name="T51" fmla="*/ 300 h 300"/>
                    <a:gd name="T52" fmla="*/ 248 w 395"/>
                    <a:gd name="T53" fmla="*/ 279 h 300"/>
                    <a:gd name="T54" fmla="*/ 232 w 395"/>
                    <a:gd name="T55" fmla="*/ 250 h 300"/>
                    <a:gd name="T56" fmla="*/ 232 w 395"/>
                    <a:gd name="T57" fmla="*/ 222 h 300"/>
                    <a:gd name="T58" fmla="*/ 227 w 395"/>
                    <a:gd name="T59" fmla="*/ 184 h 300"/>
                    <a:gd name="T60" fmla="*/ 123 w 395"/>
                    <a:gd name="T61" fmla="*/ 250 h 300"/>
                    <a:gd name="T62" fmla="*/ 123 w 395"/>
                    <a:gd name="T63" fmla="*/ 250 h 300"/>
                    <a:gd name="T64" fmla="*/ 55 w 395"/>
                    <a:gd name="T65" fmla="*/ 99 h 300"/>
                    <a:gd name="T66" fmla="*/ 55 w 395"/>
                    <a:gd name="T67" fmla="*/ 111 h 300"/>
                    <a:gd name="T68" fmla="*/ 55 w 395"/>
                    <a:gd name="T69" fmla="*/ 111 h 300"/>
                    <a:gd name="T70" fmla="*/ 0 w 395"/>
                    <a:gd name="T71" fmla="*/ 189 h 300"/>
                    <a:gd name="T72" fmla="*/ 47 w 395"/>
                    <a:gd name="T73" fmla="*/ 205 h 300"/>
                    <a:gd name="T74" fmla="*/ 80 w 395"/>
                    <a:gd name="T75" fmla="*/ 212 h 300"/>
                    <a:gd name="T76" fmla="*/ 85 w 395"/>
                    <a:gd name="T77" fmla="*/ 229 h 300"/>
                    <a:gd name="T78" fmla="*/ 47 w 395"/>
                    <a:gd name="T79" fmla="*/ 246 h 300"/>
                    <a:gd name="T80" fmla="*/ 26 w 395"/>
                    <a:gd name="T81" fmla="*/ 229 h 300"/>
                    <a:gd name="T82" fmla="*/ 0 w 395"/>
                    <a:gd name="T83" fmla="*/ 18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5" h="300">
                      <a:moveTo>
                        <a:pt x="123" y="250"/>
                      </a:moveTo>
                      <a:lnTo>
                        <a:pt x="118" y="229"/>
                      </a:lnTo>
                      <a:lnTo>
                        <a:pt x="135" y="229"/>
                      </a:lnTo>
                      <a:lnTo>
                        <a:pt x="118" y="212"/>
                      </a:lnTo>
                      <a:lnTo>
                        <a:pt x="123" y="196"/>
                      </a:lnTo>
                      <a:lnTo>
                        <a:pt x="102" y="196"/>
                      </a:lnTo>
                      <a:lnTo>
                        <a:pt x="71" y="168"/>
                      </a:lnTo>
                      <a:lnTo>
                        <a:pt x="64" y="168"/>
                      </a:lnTo>
                      <a:lnTo>
                        <a:pt x="80" y="156"/>
                      </a:lnTo>
                      <a:lnTo>
                        <a:pt x="85" y="139"/>
                      </a:lnTo>
                      <a:lnTo>
                        <a:pt x="55" y="127"/>
                      </a:lnTo>
                      <a:lnTo>
                        <a:pt x="47" y="99"/>
                      </a:lnTo>
                      <a:lnTo>
                        <a:pt x="64" y="83"/>
                      </a:lnTo>
                      <a:lnTo>
                        <a:pt x="26" y="73"/>
                      </a:lnTo>
                      <a:lnTo>
                        <a:pt x="33" y="61"/>
                      </a:lnTo>
                      <a:lnTo>
                        <a:pt x="17" y="45"/>
                      </a:lnTo>
                      <a:lnTo>
                        <a:pt x="38" y="40"/>
                      </a:lnTo>
                      <a:lnTo>
                        <a:pt x="71" y="45"/>
                      </a:lnTo>
                      <a:lnTo>
                        <a:pt x="80" y="57"/>
                      </a:lnTo>
                      <a:lnTo>
                        <a:pt x="102" y="57"/>
                      </a:lnTo>
                      <a:lnTo>
                        <a:pt x="123" y="73"/>
                      </a:lnTo>
                      <a:lnTo>
                        <a:pt x="135" y="61"/>
                      </a:lnTo>
                      <a:lnTo>
                        <a:pt x="135" y="45"/>
                      </a:lnTo>
                      <a:lnTo>
                        <a:pt x="109" y="28"/>
                      </a:lnTo>
                      <a:lnTo>
                        <a:pt x="102" y="16"/>
                      </a:lnTo>
                      <a:lnTo>
                        <a:pt x="118" y="0"/>
                      </a:lnTo>
                      <a:lnTo>
                        <a:pt x="135" y="5"/>
                      </a:lnTo>
                      <a:lnTo>
                        <a:pt x="140" y="0"/>
                      </a:lnTo>
                      <a:lnTo>
                        <a:pt x="173" y="28"/>
                      </a:lnTo>
                      <a:lnTo>
                        <a:pt x="177" y="45"/>
                      </a:lnTo>
                      <a:lnTo>
                        <a:pt x="210" y="61"/>
                      </a:lnTo>
                      <a:lnTo>
                        <a:pt x="227" y="57"/>
                      </a:lnTo>
                      <a:lnTo>
                        <a:pt x="232" y="40"/>
                      </a:lnTo>
                      <a:lnTo>
                        <a:pt x="253" y="23"/>
                      </a:lnTo>
                      <a:lnTo>
                        <a:pt x="269" y="5"/>
                      </a:lnTo>
                      <a:lnTo>
                        <a:pt x="303" y="40"/>
                      </a:lnTo>
                      <a:lnTo>
                        <a:pt x="307" y="73"/>
                      </a:lnTo>
                      <a:lnTo>
                        <a:pt x="336" y="94"/>
                      </a:lnTo>
                      <a:lnTo>
                        <a:pt x="336" y="99"/>
                      </a:lnTo>
                      <a:lnTo>
                        <a:pt x="390" y="118"/>
                      </a:lnTo>
                      <a:lnTo>
                        <a:pt x="395" y="139"/>
                      </a:lnTo>
                      <a:lnTo>
                        <a:pt x="362" y="134"/>
                      </a:lnTo>
                      <a:lnTo>
                        <a:pt x="336" y="151"/>
                      </a:lnTo>
                      <a:lnTo>
                        <a:pt x="319" y="205"/>
                      </a:lnTo>
                      <a:lnTo>
                        <a:pt x="324" y="212"/>
                      </a:lnTo>
                      <a:lnTo>
                        <a:pt x="319" y="222"/>
                      </a:lnTo>
                      <a:lnTo>
                        <a:pt x="307" y="246"/>
                      </a:lnTo>
                      <a:lnTo>
                        <a:pt x="303" y="246"/>
                      </a:lnTo>
                      <a:lnTo>
                        <a:pt x="307" y="238"/>
                      </a:lnTo>
                      <a:lnTo>
                        <a:pt x="298" y="229"/>
                      </a:lnTo>
                      <a:lnTo>
                        <a:pt x="286" y="295"/>
                      </a:lnTo>
                      <a:lnTo>
                        <a:pt x="269" y="300"/>
                      </a:lnTo>
                      <a:lnTo>
                        <a:pt x="253" y="279"/>
                      </a:lnTo>
                      <a:lnTo>
                        <a:pt x="248" y="279"/>
                      </a:lnTo>
                      <a:lnTo>
                        <a:pt x="232" y="262"/>
                      </a:lnTo>
                      <a:lnTo>
                        <a:pt x="232" y="250"/>
                      </a:lnTo>
                      <a:lnTo>
                        <a:pt x="248" y="246"/>
                      </a:lnTo>
                      <a:lnTo>
                        <a:pt x="232" y="222"/>
                      </a:lnTo>
                      <a:lnTo>
                        <a:pt x="253" y="212"/>
                      </a:lnTo>
                      <a:lnTo>
                        <a:pt x="227" y="184"/>
                      </a:lnTo>
                      <a:lnTo>
                        <a:pt x="147" y="229"/>
                      </a:lnTo>
                      <a:lnTo>
                        <a:pt x="123" y="250"/>
                      </a:lnTo>
                      <a:lnTo>
                        <a:pt x="123" y="250"/>
                      </a:lnTo>
                      <a:lnTo>
                        <a:pt x="123" y="250"/>
                      </a:lnTo>
                      <a:close/>
                      <a:moveTo>
                        <a:pt x="55" y="111"/>
                      </a:moveTo>
                      <a:lnTo>
                        <a:pt x="55" y="99"/>
                      </a:lnTo>
                      <a:lnTo>
                        <a:pt x="55" y="99"/>
                      </a:lnTo>
                      <a:lnTo>
                        <a:pt x="55" y="111"/>
                      </a:lnTo>
                      <a:lnTo>
                        <a:pt x="55" y="111"/>
                      </a:lnTo>
                      <a:lnTo>
                        <a:pt x="55" y="111"/>
                      </a:lnTo>
                      <a:close/>
                      <a:moveTo>
                        <a:pt x="0" y="189"/>
                      </a:moveTo>
                      <a:lnTo>
                        <a:pt x="0" y="189"/>
                      </a:lnTo>
                      <a:lnTo>
                        <a:pt x="26" y="184"/>
                      </a:lnTo>
                      <a:lnTo>
                        <a:pt x="47" y="205"/>
                      </a:lnTo>
                      <a:lnTo>
                        <a:pt x="71" y="196"/>
                      </a:lnTo>
                      <a:lnTo>
                        <a:pt x="80" y="212"/>
                      </a:lnTo>
                      <a:lnTo>
                        <a:pt x="85" y="222"/>
                      </a:lnTo>
                      <a:lnTo>
                        <a:pt x="85" y="229"/>
                      </a:lnTo>
                      <a:lnTo>
                        <a:pt x="102" y="262"/>
                      </a:lnTo>
                      <a:lnTo>
                        <a:pt x="47" y="246"/>
                      </a:lnTo>
                      <a:lnTo>
                        <a:pt x="38" y="229"/>
                      </a:lnTo>
                      <a:lnTo>
                        <a:pt x="26" y="229"/>
                      </a:lnTo>
                      <a:lnTo>
                        <a:pt x="0" y="189"/>
                      </a:lnTo>
                      <a:lnTo>
                        <a:pt x="0" y="189"/>
                      </a:lnTo>
                      <a:lnTo>
                        <a:pt x="0" y="189"/>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12" name="Freeform 382">
                  <a:extLst>
                    <a:ext uri="{FF2B5EF4-FFF2-40B4-BE49-F238E27FC236}">
                      <a16:creationId xmlns:a16="http://schemas.microsoft.com/office/drawing/2014/main" id="{63FF3F36-540D-4807-83BF-FD496BD28878}"/>
                    </a:ext>
                  </a:extLst>
                </p:cNvPr>
                <p:cNvSpPr>
                  <a:spLocks/>
                </p:cNvSpPr>
                <p:nvPr/>
              </p:nvSpPr>
              <p:spPr bwMode="gray">
                <a:xfrm>
                  <a:off x="7281578" y="2717516"/>
                  <a:ext cx="51458" cy="106223"/>
                </a:xfrm>
                <a:custGeom>
                  <a:avLst/>
                  <a:gdLst>
                    <a:gd name="T0" fmla="*/ 7 w 125"/>
                    <a:gd name="T1" fmla="*/ 66 h 258"/>
                    <a:gd name="T2" fmla="*/ 7 w 125"/>
                    <a:gd name="T3" fmla="*/ 50 h 258"/>
                    <a:gd name="T4" fmla="*/ 0 w 125"/>
                    <a:gd name="T5" fmla="*/ 40 h 258"/>
                    <a:gd name="T6" fmla="*/ 33 w 125"/>
                    <a:gd name="T7" fmla="*/ 0 h 258"/>
                    <a:gd name="T8" fmla="*/ 37 w 125"/>
                    <a:gd name="T9" fmla="*/ 0 h 258"/>
                    <a:gd name="T10" fmla="*/ 37 w 125"/>
                    <a:gd name="T11" fmla="*/ 17 h 258"/>
                    <a:gd name="T12" fmla="*/ 54 w 125"/>
                    <a:gd name="T13" fmla="*/ 12 h 258"/>
                    <a:gd name="T14" fmla="*/ 71 w 125"/>
                    <a:gd name="T15" fmla="*/ 22 h 258"/>
                    <a:gd name="T16" fmla="*/ 92 w 125"/>
                    <a:gd name="T17" fmla="*/ 33 h 258"/>
                    <a:gd name="T18" fmla="*/ 92 w 125"/>
                    <a:gd name="T19" fmla="*/ 66 h 258"/>
                    <a:gd name="T20" fmla="*/ 87 w 125"/>
                    <a:gd name="T21" fmla="*/ 95 h 258"/>
                    <a:gd name="T22" fmla="*/ 92 w 125"/>
                    <a:gd name="T23" fmla="*/ 107 h 258"/>
                    <a:gd name="T24" fmla="*/ 87 w 125"/>
                    <a:gd name="T25" fmla="*/ 111 h 258"/>
                    <a:gd name="T26" fmla="*/ 96 w 125"/>
                    <a:gd name="T27" fmla="*/ 152 h 258"/>
                    <a:gd name="T28" fmla="*/ 108 w 125"/>
                    <a:gd name="T29" fmla="*/ 152 h 258"/>
                    <a:gd name="T30" fmla="*/ 125 w 125"/>
                    <a:gd name="T31" fmla="*/ 152 h 258"/>
                    <a:gd name="T32" fmla="*/ 125 w 125"/>
                    <a:gd name="T33" fmla="*/ 180 h 258"/>
                    <a:gd name="T34" fmla="*/ 108 w 125"/>
                    <a:gd name="T35" fmla="*/ 196 h 258"/>
                    <a:gd name="T36" fmla="*/ 96 w 125"/>
                    <a:gd name="T37" fmla="*/ 218 h 258"/>
                    <a:gd name="T38" fmla="*/ 75 w 125"/>
                    <a:gd name="T39" fmla="*/ 237 h 258"/>
                    <a:gd name="T40" fmla="*/ 87 w 125"/>
                    <a:gd name="T41" fmla="*/ 241 h 258"/>
                    <a:gd name="T42" fmla="*/ 71 w 125"/>
                    <a:gd name="T43" fmla="*/ 253 h 258"/>
                    <a:gd name="T44" fmla="*/ 75 w 125"/>
                    <a:gd name="T45" fmla="*/ 253 h 258"/>
                    <a:gd name="T46" fmla="*/ 71 w 125"/>
                    <a:gd name="T47" fmla="*/ 258 h 258"/>
                    <a:gd name="T48" fmla="*/ 54 w 125"/>
                    <a:gd name="T49" fmla="*/ 258 h 258"/>
                    <a:gd name="T50" fmla="*/ 45 w 125"/>
                    <a:gd name="T51" fmla="*/ 225 h 258"/>
                    <a:gd name="T52" fmla="*/ 16 w 125"/>
                    <a:gd name="T53" fmla="*/ 208 h 258"/>
                    <a:gd name="T54" fmla="*/ 0 w 125"/>
                    <a:gd name="T55" fmla="*/ 196 h 258"/>
                    <a:gd name="T56" fmla="*/ 16 w 125"/>
                    <a:gd name="T57" fmla="*/ 201 h 258"/>
                    <a:gd name="T58" fmla="*/ 16 w 125"/>
                    <a:gd name="T59" fmla="*/ 180 h 258"/>
                    <a:gd name="T60" fmla="*/ 7 w 125"/>
                    <a:gd name="T61" fmla="*/ 180 h 258"/>
                    <a:gd name="T62" fmla="*/ 7 w 125"/>
                    <a:gd name="T63" fmla="*/ 152 h 258"/>
                    <a:gd name="T64" fmla="*/ 16 w 125"/>
                    <a:gd name="T65" fmla="*/ 152 h 258"/>
                    <a:gd name="T66" fmla="*/ 16 w 125"/>
                    <a:gd name="T67" fmla="*/ 140 h 258"/>
                    <a:gd name="T68" fmla="*/ 16 w 125"/>
                    <a:gd name="T69" fmla="*/ 123 h 258"/>
                    <a:gd name="T70" fmla="*/ 16 w 125"/>
                    <a:gd name="T71" fmla="*/ 107 h 258"/>
                    <a:gd name="T72" fmla="*/ 21 w 125"/>
                    <a:gd name="T73" fmla="*/ 90 h 258"/>
                    <a:gd name="T74" fmla="*/ 21 w 125"/>
                    <a:gd name="T75" fmla="*/ 74 h 258"/>
                    <a:gd name="T76" fmla="*/ 7 w 125"/>
                    <a:gd name="T77" fmla="*/ 66 h 258"/>
                    <a:gd name="T78" fmla="*/ 7 w 125"/>
                    <a:gd name="T79" fmla="*/ 66 h 258"/>
                    <a:gd name="T80" fmla="*/ 7 w 125"/>
                    <a:gd name="T81" fmla="*/ 6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5" h="258">
                      <a:moveTo>
                        <a:pt x="7" y="66"/>
                      </a:moveTo>
                      <a:lnTo>
                        <a:pt x="7" y="50"/>
                      </a:lnTo>
                      <a:lnTo>
                        <a:pt x="0" y="40"/>
                      </a:lnTo>
                      <a:lnTo>
                        <a:pt x="33" y="0"/>
                      </a:lnTo>
                      <a:lnTo>
                        <a:pt x="37" y="0"/>
                      </a:lnTo>
                      <a:lnTo>
                        <a:pt x="37" y="17"/>
                      </a:lnTo>
                      <a:lnTo>
                        <a:pt x="54" y="12"/>
                      </a:lnTo>
                      <a:lnTo>
                        <a:pt x="71" y="22"/>
                      </a:lnTo>
                      <a:lnTo>
                        <a:pt x="92" y="33"/>
                      </a:lnTo>
                      <a:lnTo>
                        <a:pt x="92" y="66"/>
                      </a:lnTo>
                      <a:lnTo>
                        <a:pt x="87" y="95"/>
                      </a:lnTo>
                      <a:lnTo>
                        <a:pt x="92" y="107"/>
                      </a:lnTo>
                      <a:lnTo>
                        <a:pt x="87" y="111"/>
                      </a:lnTo>
                      <a:lnTo>
                        <a:pt x="96" y="152"/>
                      </a:lnTo>
                      <a:lnTo>
                        <a:pt x="108" y="152"/>
                      </a:lnTo>
                      <a:lnTo>
                        <a:pt x="125" y="152"/>
                      </a:lnTo>
                      <a:lnTo>
                        <a:pt x="125" y="180"/>
                      </a:lnTo>
                      <a:lnTo>
                        <a:pt x="108" y="196"/>
                      </a:lnTo>
                      <a:lnTo>
                        <a:pt x="96" y="218"/>
                      </a:lnTo>
                      <a:lnTo>
                        <a:pt x="75" y="237"/>
                      </a:lnTo>
                      <a:lnTo>
                        <a:pt x="87" y="241"/>
                      </a:lnTo>
                      <a:lnTo>
                        <a:pt x="71" y="253"/>
                      </a:lnTo>
                      <a:lnTo>
                        <a:pt x="75" y="253"/>
                      </a:lnTo>
                      <a:lnTo>
                        <a:pt x="71" y="258"/>
                      </a:lnTo>
                      <a:lnTo>
                        <a:pt x="54" y="258"/>
                      </a:lnTo>
                      <a:lnTo>
                        <a:pt x="45" y="225"/>
                      </a:lnTo>
                      <a:lnTo>
                        <a:pt x="16" y="208"/>
                      </a:lnTo>
                      <a:lnTo>
                        <a:pt x="0" y="196"/>
                      </a:lnTo>
                      <a:lnTo>
                        <a:pt x="16" y="201"/>
                      </a:lnTo>
                      <a:lnTo>
                        <a:pt x="16" y="180"/>
                      </a:lnTo>
                      <a:lnTo>
                        <a:pt x="7" y="180"/>
                      </a:lnTo>
                      <a:lnTo>
                        <a:pt x="7" y="152"/>
                      </a:lnTo>
                      <a:lnTo>
                        <a:pt x="16" y="152"/>
                      </a:lnTo>
                      <a:lnTo>
                        <a:pt x="16" y="140"/>
                      </a:lnTo>
                      <a:lnTo>
                        <a:pt x="16" y="123"/>
                      </a:lnTo>
                      <a:lnTo>
                        <a:pt x="16" y="107"/>
                      </a:lnTo>
                      <a:lnTo>
                        <a:pt x="21" y="90"/>
                      </a:lnTo>
                      <a:lnTo>
                        <a:pt x="21" y="74"/>
                      </a:lnTo>
                      <a:lnTo>
                        <a:pt x="7" y="66"/>
                      </a:lnTo>
                      <a:lnTo>
                        <a:pt x="7" y="66"/>
                      </a:lnTo>
                      <a:lnTo>
                        <a:pt x="7" y="66"/>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13" name="Freeform 383">
                  <a:extLst>
                    <a:ext uri="{FF2B5EF4-FFF2-40B4-BE49-F238E27FC236}">
                      <a16:creationId xmlns:a16="http://schemas.microsoft.com/office/drawing/2014/main" id="{AC361DF1-A339-43E0-B56B-BA9D9B6DA426}"/>
                    </a:ext>
                  </a:extLst>
                </p:cNvPr>
                <p:cNvSpPr>
                  <a:spLocks noEditPoints="1"/>
                </p:cNvSpPr>
                <p:nvPr/>
              </p:nvSpPr>
              <p:spPr bwMode="gray">
                <a:xfrm>
                  <a:off x="7979772" y="2763216"/>
                  <a:ext cx="93037" cy="90577"/>
                </a:xfrm>
                <a:custGeom>
                  <a:avLst/>
                  <a:gdLst>
                    <a:gd name="T0" fmla="*/ 217 w 226"/>
                    <a:gd name="T1" fmla="*/ 208 h 220"/>
                    <a:gd name="T2" fmla="*/ 193 w 226"/>
                    <a:gd name="T3" fmla="*/ 220 h 220"/>
                    <a:gd name="T4" fmla="*/ 177 w 226"/>
                    <a:gd name="T5" fmla="*/ 187 h 220"/>
                    <a:gd name="T6" fmla="*/ 177 w 226"/>
                    <a:gd name="T7" fmla="*/ 180 h 220"/>
                    <a:gd name="T8" fmla="*/ 172 w 226"/>
                    <a:gd name="T9" fmla="*/ 170 h 220"/>
                    <a:gd name="T10" fmla="*/ 163 w 226"/>
                    <a:gd name="T11" fmla="*/ 152 h 220"/>
                    <a:gd name="T12" fmla="*/ 139 w 226"/>
                    <a:gd name="T13" fmla="*/ 163 h 220"/>
                    <a:gd name="T14" fmla="*/ 118 w 226"/>
                    <a:gd name="T15" fmla="*/ 142 h 220"/>
                    <a:gd name="T16" fmla="*/ 92 w 226"/>
                    <a:gd name="T17" fmla="*/ 147 h 220"/>
                    <a:gd name="T18" fmla="*/ 63 w 226"/>
                    <a:gd name="T19" fmla="*/ 114 h 220"/>
                    <a:gd name="T20" fmla="*/ 33 w 226"/>
                    <a:gd name="T21" fmla="*/ 114 h 220"/>
                    <a:gd name="T22" fmla="*/ 16 w 226"/>
                    <a:gd name="T23" fmla="*/ 107 h 220"/>
                    <a:gd name="T24" fmla="*/ 16 w 226"/>
                    <a:gd name="T25" fmla="*/ 107 h 220"/>
                    <a:gd name="T26" fmla="*/ 9 w 226"/>
                    <a:gd name="T27" fmla="*/ 85 h 220"/>
                    <a:gd name="T28" fmla="*/ 21 w 226"/>
                    <a:gd name="T29" fmla="*/ 52 h 220"/>
                    <a:gd name="T30" fmla="*/ 0 w 226"/>
                    <a:gd name="T31" fmla="*/ 17 h 220"/>
                    <a:gd name="T32" fmla="*/ 101 w 226"/>
                    <a:gd name="T33" fmla="*/ 12 h 220"/>
                    <a:gd name="T34" fmla="*/ 108 w 226"/>
                    <a:gd name="T35" fmla="*/ 0 h 220"/>
                    <a:gd name="T36" fmla="*/ 125 w 226"/>
                    <a:gd name="T37" fmla="*/ 17 h 220"/>
                    <a:gd name="T38" fmla="*/ 118 w 226"/>
                    <a:gd name="T39" fmla="*/ 29 h 220"/>
                    <a:gd name="T40" fmla="*/ 156 w 226"/>
                    <a:gd name="T41" fmla="*/ 41 h 220"/>
                    <a:gd name="T42" fmla="*/ 139 w 226"/>
                    <a:gd name="T43" fmla="*/ 57 h 220"/>
                    <a:gd name="T44" fmla="*/ 146 w 226"/>
                    <a:gd name="T45" fmla="*/ 85 h 220"/>
                    <a:gd name="T46" fmla="*/ 177 w 226"/>
                    <a:gd name="T47" fmla="*/ 97 h 220"/>
                    <a:gd name="T48" fmla="*/ 172 w 226"/>
                    <a:gd name="T49" fmla="*/ 114 h 220"/>
                    <a:gd name="T50" fmla="*/ 156 w 226"/>
                    <a:gd name="T51" fmla="*/ 126 h 220"/>
                    <a:gd name="T52" fmla="*/ 163 w 226"/>
                    <a:gd name="T53" fmla="*/ 126 h 220"/>
                    <a:gd name="T54" fmla="*/ 193 w 226"/>
                    <a:gd name="T55" fmla="*/ 152 h 220"/>
                    <a:gd name="T56" fmla="*/ 217 w 226"/>
                    <a:gd name="T57" fmla="*/ 152 h 220"/>
                    <a:gd name="T58" fmla="*/ 210 w 226"/>
                    <a:gd name="T59" fmla="*/ 170 h 220"/>
                    <a:gd name="T60" fmla="*/ 226 w 226"/>
                    <a:gd name="T61" fmla="*/ 187 h 220"/>
                    <a:gd name="T62" fmla="*/ 210 w 226"/>
                    <a:gd name="T63" fmla="*/ 187 h 220"/>
                    <a:gd name="T64" fmla="*/ 217 w 226"/>
                    <a:gd name="T65" fmla="*/ 208 h 220"/>
                    <a:gd name="T66" fmla="*/ 217 w 226"/>
                    <a:gd name="T67" fmla="*/ 208 h 220"/>
                    <a:gd name="T68" fmla="*/ 217 w 226"/>
                    <a:gd name="T69" fmla="*/ 208 h 220"/>
                    <a:gd name="T70" fmla="*/ 146 w 226"/>
                    <a:gd name="T71" fmla="*/ 69 h 220"/>
                    <a:gd name="T72" fmla="*/ 146 w 226"/>
                    <a:gd name="T73" fmla="*/ 57 h 220"/>
                    <a:gd name="T74" fmla="*/ 146 w 226"/>
                    <a:gd name="T75" fmla="*/ 57 h 220"/>
                    <a:gd name="T76" fmla="*/ 146 w 226"/>
                    <a:gd name="T77" fmla="*/ 69 h 220"/>
                    <a:gd name="T78" fmla="*/ 146 w 226"/>
                    <a:gd name="T79" fmla="*/ 69 h 220"/>
                    <a:gd name="T80" fmla="*/ 146 w 226"/>
                    <a:gd name="T81" fmla="*/ 6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6" h="220">
                      <a:moveTo>
                        <a:pt x="217" y="208"/>
                      </a:moveTo>
                      <a:lnTo>
                        <a:pt x="193" y="220"/>
                      </a:lnTo>
                      <a:lnTo>
                        <a:pt x="177" y="187"/>
                      </a:lnTo>
                      <a:lnTo>
                        <a:pt x="177" y="180"/>
                      </a:lnTo>
                      <a:lnTo>
                        <a:pt x="172" y="170"/>
                      </a:lnTo>
                      <a:lnTo>
                        <a:pt x="163" y="152"/>
                      </a:lnTo>
                      <a:lnTo>
                        <a:pt x="139" y="163"/>
                      </a:lnTo>
                      <a:lnTo>
                        <a:pt x="118" y="142"/>
                      </a:lnTo>
                      <a:lnTo>
                        <a:pt x="92" y="147"/>
                      </a:lnTo>
                      <a:lnTo>
                        <a:pt x="63" y="114"/>
                      </a:lnTo>
                      <a:lnTo>
                        <a:pt x="33" y="114"/>
                      </a:lnTo>
                      <a:lnTo>
                        <a:pt x="16" y="107"/>
                      </a:lnTo>
                      <a:lnTo>
                        <a:pt x="16" y="107"/>
                      </a:lnTo>
                      <a:lnTo>
                        <a:pt x="9" y="85"/>
                      </a:lnTo>
                      <a:lnTo>
                        <a:pt x="21" y="52"/>
                      </a:lnTo>
                      <a:lnTo>
                        <a:pt x="0" y="17"/>
                      </a:lnTo>
                      <a:lnTo>
                        <a:pt x="101" y="12"/>
                      </a:lnTo>
                      <a:lnTo>
                        <a:pt x="108" y="0"/>
                      </a:lnTo>
                      <a:lnTo>
                        <a:pt x="125" y="17"/>
                      </a:lnTo>
                      <a:lnTo>
                        <a:pt x="118" y="29"/>
                      </a:lnTo>
                      <a:lnTo>
                        <a:pt x="156" y="41"/>
                      </a:lnTo>
                      <a:lnTo>
                        <a:pt x="139" y="57"/>
                      </a:lnTo>
                      <a:lnTo>
                        <a:pt x="146" y="85"/>
                      </a:lnTo>
                      <a:lnTo>
                        <a:pt x="177" y="97"/>
                      </a:lnTo>
                      <a:lnTo>
                        <a:pt x="172" y="114"/>
                      </a:lnTo>
                      <a:lnTo>
                        <a:pt x="156" y="126"/>
                      </a:lnTo>
                      <a:lnTo>
                        <a:pt x="163" y="126"/>
                      </a:lnTo>
                      <a:lnTo>
                        <a:pt x="193" y="152"/>
                      </a:lnTo>
                      <a:lnTo>
                        <a:pt x="217" y="152"/>
                      </a:lnTo>
                      <a:lnTo>
                        <a:pt x="210" y="170"/>
                      </a:lnTo>
                      <a:lnTo>
                        <a:pt x="226" y="187"/>
                      </a:lnTo>
                      <a:lnTo>
                        <a:pt x="210" y="187"/>
                      </a:lnTo>
                      <a:lnTo>
                        <a:pt x="217" y="208"/>
                      </a:lnTo>
                      <a:lnTo>
                        <a:pt x="217" y="208"/>
                      </a:lnTo>
                      <a:lnTo>
                        <a:pt x="217" y="208"/>
                      </a:lnTo>
                      <a:close/>
                      <a:moveTo>
                        <a:pt x="146" y="69"/>
                      </a:moveTo>
                      <a:lnTo>
                        <a:pt x="146" y="57"/>
                      </a:lnTo>
                      <a:lnTo>
                        <a:pt x="146" y="57"/>
                      </a:lnTo>
                      <a:lnTo>
                        <a:pt x="146" y="69"/>
                      </a:lnTo>
                      <a:lnTo>
                        <a:pt x="146" y="69"/>
                      </a:lnTo>
                      <a:lnTo>
                        <a:pt x="146" y="69"/>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14" name="Freeform 384">
                  <a:extLst>
                    <a:ext uri="{FF2B5EF4-FFF2-40B4-BE49-F238E27FC236}">
                      <a16:creationId xmlns:a16="http://schemas.microsoft.com/office/drawing/2014/main" id="{A7DBFADE-1C1D-4951-A67F-D0795DB42BC5}"/>
                    </a:ext>
                  </a:extLst>
                </p:cNvPr>
                <p:cNvSpPr>
                  <a:spLocks/>
                </p:cNvSpPr>
                <p:nvPr/>
              </p:nvSpPr>
              <p:spPr bwMode="gray">
                <a:xfrm>
                  <a:off x="6766167" y="2717516"/>
                  <a:ext cx="12350" cy="6999"/>
                </a:xfrm>
                <a:custGeom>
                  <a:avLst/>
                  <a:gdLst>
                    <a:gd name="T0" fmla="*/ 0 w 30"/>
                    <a:gd name="T1" fmla="*/ 0 h 17"/>
                    <a:gd name="T2" fmla="*/ 30 w 30"/>
                    <a:gd name="T3" fmla="*/ 0 h 17"/>
                    <a:gd name="T4" fmla="*/ 30 w 30"/>
                    <a:gd name="T5" fmla="*/ 12 h 17"/>
                    <a:gd name="T6" fmla="*/ 0 w 30"/>
                    <a:gd name="T7" fmla="*/ 17 h 17"/>
                    <a:gd name="T8" fmla="*/ 0 w 30"/>
                    <a:gd name="T9" fmla="*/ 0 h 17"/>
                    <a:gd name="T10" fmla="*/ 0 w 30"/>
                    <a:gd name="T11" fmla="*/ 0 h 17"/>
                    <a:gd name="T12" fmla="*/ 0 w 30"/>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30" h="17">
                      <a:moveTo>
                        <a:pt x="0" y="0"/>
                      </a:moveTo>
                      <a:lnTo>
                        <a:pt x="30" y="0"/>
                      </a:lnTo>
                      <a:lnTo>
                        <a:pt x="30" y="12"/>
                      </a:lnTo>
                      <a:lnTo>
                        <a:pt x="0" y="17"/>
                      </a:lnTo>
                      <a:lnTo>
                        <a:pt x="0" y="0"/>
                      </a:lnTo>
                      <a:lnTo>
                        <a:pt x="0" y="0"/>
                      </a:lnTo>
                      <a:lnTo>
                        <a:pt x="0" y="0"/>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15" name="Freeform 393">
                  <a:extLst>
                    <a:ext uri="{FF2B5EF4-FFF2-40B4-BE49-F238E27FC236}">
                      <a16:creationId xmlns:a16="http://schemas.microsoft.com/office/drawing/2014/main" id="{0B8981D1-949E-4940-AC4E-1EF81ADA125A}"/>
                    </a:ext>
                  </a:extLst>
                </p:cNvPr>
                <p:cNvSpPr>
                  <a:spLocks/>
                </p:cNvSpPr>
                <p:nvPr/>
              </p:nvSpPr>
              <p:spPr bwMode="gray">
                <a:xfrm>
                  <a:off x="6799101" y="2384849"/>
                  <a:ext cx="111975" cy="79874"/>
                </a:xfrm>
                <a:custGeom>
                  <a:avLst/>
                  <a:gdLst>
                    <a:gd name="T0" fmla="*/ 255 w 272"/>
                    <a:gd name="T1" fmla="*/ 128 h 194"/>
                    <a:gd name="T2" fmla="*/ 239 w 272"/>
                    <a:gd name="T3" fmla="*/ 128 h 194"/>
                    <a:gd name="T4" fmla="*/ 222 w 272"/>
                    <a:gd name="T5" fmla="*/ 145 h 194"/>
                    <a:gd name="T6" fmla="*/ 222 w 272"/>
                    <a:gd name="T7" fmla="*/ 161 h 194"/>
                    <a:gd name="T8" fmla="*/ 239 w 272"/>
                    <a:gd name="T9" fmla="*/ 178 h 194"/>
                    <a:gd name="T10" fmla="*/ 227 w 272"/>
                    <a:gd name="T11" fmla="*/ 185 h 194"/>
                    <a:gd name="T12" fmla="*/ 206 w 272"/>
                    <a:gd name="T13" fmla="*/ 194 h 194"/>
                    <a:gd name="T14" fmla="*/ 189 w 272"/>
                    <a:gd name="T15" fmla="*/ 178 h 194"/>
                    <a:gd name="T16" fmla="*/ 163 w 272"/>
                    <a:gd name="T17" fmla="*/ 161 h 194"/>
                    <a:gd name="T18" fmla="*/ 163 w 272"/>
                    <a:gd name="T19" fmla="*/ 145 h 194"/>
                    <a:gd name="T20" fmla="*/ 163 w 272"/>
                    <a:gd name="T21" fmla="*/ 128 h 194"/>
                    <a:gd name="T22" fmla="*/ 163 w 272"/>
                    <a:gd name="T23" fmla="*/ 128 h 194"/>
                    <a:gd name="T24" fmla="*/ 137 w 272"/>
                    <a:gd name="T25" fmla="*/ 156 h 194"/>
                    <a:gd name="T26" fmla="*/ 113 w 272"/>
                    <a:gd name="T27" fmla="*/ 145 h 194"/>
                    <a:gd name="T28" fmla="*/ 113 w 272"/>
                    <a:gd name="T29" fmla="*/ 123 h 194"/>
                    <a:gd name="T30" fmla="*/ 83 w 272"/>
                    <a:gd name="T31" fmla="*/ 112 h 194"/>
                    <a:gd name="T32" fmla="*/ 76 w 272"/>
                    <a:gd name="T33" fmla="*/ 102 h 194"/>
                    <a:gd name="T34" fmla="*/ 54 w 272"/>
                    <a:gd name="T35" fmla="*/ 102 h 194"/>
                    <a:gd name="T36" fmla="*/ 45 w 272"/>
                    <a:gd name="T37" fmla="*/ 69 h 194"/>
                    <a:gd name="T38" fmla="*/ 21 w 272"/>
                    <a:gd name="T39" fmla="*/ 74 h 194"/>
                    <a:gd name="T40" fmla="*/ 7 w 272"/>
                    <a:gd name="T41" fmla="*/ 69 h 194"/>
                    <a:gd name="T42" fmla="*/ 0 w 272"/>
                    <a:gd name="T43" fmla="*/ 45 h 194"/>
                    <a:gd name="T44" fmla="*/ 59 w 272"/>
                    <a:gd name="T45" fmla="*/ 12 h 194"/>
                    <a:gd name="T46" fmla="*/ 59 w 272"/>
                    <a:gd name="T47" fmla="*/ 29 h 194"/>
                    <a:gd name="T48" fmla="*/ 76 w 272"/>
                    <a:gd name="T49" fmla="*/ 17 h 194"/>
                    <a:gd name="T50" fmla="*/ 92 w 272"/>
                    <a:gd name="T51" fmla="*/ 29 h 194"/>
                    <a:gd name="T52" fmla="*/ 120 w 272"/>
                    <a:gd name="T53" fmla="*/ 17 h 194"/>
                    <a:gd name="T54" fmla="*/ 120 w 272"/>
                    <a:gd name="T55" fmla="*/ 29 h 194"/>
                    <a:gd name="T56" fmla="*/ 120 w 272"/>
                    <a:gd name="T57" fmla="*/ 12 h 194"/>
                    <a:gd name="T58" fmla="*/ 130 w 272"/>
                    <a:gd name="T59" fmla="*/ 17 h 194"/>
                    <a:gd name="T60" fmla="*/ 130 w 272"/>
                    <a:gd name="T61" fmla="*/ 12 h 194"/>
                    <a:gd name="T62" fmla="*/ 137 w 272"/>
                    <a:gd name="T63" fmla="*/ 0 h 194"/>
                    <a:gd name="T64" fmla="*/ 146 w 272"/>
                    <a:gd name="T65" fmla="*/ 12 h 194"/>
                    <a:gd name="T66" fmla="*/ 163 w 272"/>
                    <a:gd name="T67" fmla="*/ 0 h 194"/>
                    <a:gd name="T68" fmla="*/ 168 w 272"/>
                    <a:gd name="T69" fmla="*/ 12 h 194"/>
                    <a:gd name="T70" fmla="*/ 175 w 272"/>
                    <a:gd name="T71" fmla="*/ 0 h 194"/>
                    <a:gd name="T72" fmla="*/ 189 w 272"/>
                    <a:gd name="T73" fmla="*/ 29 h 194"/>
                    <a:gd name="T74" fmla="*/ 206 w 272"/>
                    <a:gd name="T75" fmla="*/ 17 h 194"/>
                    <a:gd name="T76" fmla="*/ 227 w 272"/>
                    <a:gd name="T77" fmla="*/ 34 h 194"/>
                    <a:gd name="T78" fmla="*/ 217 w 272"/>
                    <a:gd name="T79" fmla="*/ 69 h 194"/>
                    <a:gd name="T80" fmla="*/ 222 w 272"/>
                    <a:gd name="T81" fmla="*/ 74 h 194"/>
                    <a:gd name="T82" fmla="*/ 243 w 272"/>
                    <a:gd name="T83" fmla="*/ 74 h 194"/>
                    <a:gd name="T84" fmla="*/ 260 w 272"/>
                    <a:gd name="T85" fmla="*/ 86 h 194"/>
                    <a:gd name="T86" fmla="*/ 272 w 272"/>
                    <a:gd name="T87" fmla="*/ 112 h 194"/>
                    <a:gd name="T88" fmla="*/ 255 w 272"/>
                    <a:gd name="T89" fmla="*/ 123 h 194"/>
                    <a:gd name="T90" fmla="*/ 255 w 272"/>
                    <a:gd name="T91" fmla="*/ 128 h 194"/>
                    <a:gd name="T92" fmla="*/ 255 w 272"/>
                    <a:gd name="T93" fmla="*/ 128 h 194"/>
                    <a:gd name="T94" fmla="*/ 255 w 272"/>
                    <a:gd name="T95" fmla="*/ 12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194">
                      <a:moveTo>
                        <a:pt x="255" y="128"/>
                      </a:moveTo>
                      <a:lnTo>
                        <a:pt x="239" y="128"/>
                      </a:lnTo>
                      <a:lnTo>
                        <a:pt x="222" y="145"/>
                      </a:lnTo>
                      <a:lnTo>
                        <a:pt x="222" y="161"/>
                      </a:lnTo>
                      <a:lnTo>
                        <a:pt x="239" y="178"/>
                      </a:lnTo>
                      <a:lnTo>
                        <a:pt x="227" y="185"/>
                      </a:lnTo>
                      <a:lnTo>
                        <a:pt x="206" y="194"/>
                      </a:lnTo>
                      <a:lnTo>
                        <a:pt x="189" y="178"/>
                      </a:lnTo>
                      <a:lnTo>
                        <a:pt x="163" y="161"/>
                      </a:lnTo>
                      <a:lnTo>
                        <a:pt x="163" y="145"/>
                      </a:lnTo>
                      <a:lnTo>
                        <a:pt x="163" y="128"/>
                      </a:lnTo>
                      <a:lnTo>
                        <a:pt x="163" y="128"/>
                      </a:lnTo>
                      <a:lnTo>
                        <a:pt x="137" y="156"/>
                      </a:lnTo>
                      <a:lnTo>
                        <a:pt x="113" y="145"/>
                      </a:lnTo>
                      <a:lnTo>
                        <a:pt x="113" y="123"/>
                      </a:lnTo>
                      <a:lnTo>
                        <a:pt x="83" y="112"/>
                      </a:lnTo>
                      <a:lnTo>
                        <a:pt x="76" y="102"/>
                      </a:lnTo>
                      <a:lnTo>
                        <a:pt x="54" y="102"/>
                      </a:lnTo>
                      <a:lnTo>
                        <a:pt x="45" y="69"/>
                      </a:lnTo>
                      <a:lnTo>
                        <a:pt x="21" y="74"/>
                      </a:lnTo>
                      <a:lnTo>
                        <a:pt x="7" y="69"/>
                      </a:lnTo>
                      <a:lnTo>
                        <a:pt x="0" y="45"/>
                      </a:lnTo>
                      <a:lnTo>
                        <a:pt x="59" y="12"/>
                      </a:lnTo>
                      <a:lnTo>
                        <a:pt x="59" y="29"/>
                      </a:lnTo>
                      <a:lnTo>
                        <a:pt x="76" y="17"/>
                      </a:lnTo>
                      <a:lnTo>
                        <a:pt x="92" y="29"/>
                      </a:lnTo>
                      <a:lnTo>
                        <a:pt x="120" y="17"/>
                      </a:lnTo>
                      <a:lnTo>
                        <a:pt x="120" y="29"/>
                      </a:lnTo>
                      <a:lnTo>
                        <a:pt x="120" y="12"/>
                      </a:lnTo>
                      <a:lnTo>
                        <a:pt x="130" y="17"/>
                      </a:lnTo>
                      <a:lnTo>
                        <a:pt x="130" y="12"/>
                      </a:lnTo>
                      <a:lnTo>
                        <a:pt x="137" y="0"/>
                      </a:lnTo>
                      <a:lnTo>
                        <a:pt x="146" y="12"/>
                      </a:lnTo>
                      <a:lnTo>
                        <a:pt x="163" y="0"/>
                      </a:lnTo>
                      <a:lnTo>
                        <a:pt x="168" y="12"/>
                      </a:lnTo>
                      <a:lnTo>
                        <a:pt x="175" y="0"/>
                      </a:lnTo>
                      <a:lnTo>
                        <a:pt x="189" y="29"/>
                      </a:lnTo>
                      <a:lnTo>
                        <a:pt x="206" y="17"/>
                      </a:lnTo>
                      <a:lnTo>
                        <a:pt x="227" y="34"/>
                      </a:lnTo>
                      <a:lnTo>
                        <a:pt x="217" y="69"/>
                      </a:lnTo>
                      <a:lnTo>
                        <a:pt x="222" y="74"/>
                      </a:lnTo>
                      <a:lnTo>
                        <a:pt x="243" y="74"/>
                      </a:lnTo>
                      <a:lnTo>
                        <a:pt x="260" y="86"/>
                      </a:lnTo>
                      <a:lnTo>
                        <a:pt x="272" y="112"/>
                      </a:lnTo>
                      <a:lnTo>
                        <a:pt x="255" y="123"/>
                      </a:lnTo>
                      <a:lnTo>
                        <a:pt x="255" y="128"/>
                      </a:lnTo>
                      <a:lnTo>
                        <a:pt x="255" y="128"/>
                      </a:lnTo>
                      <a:lnTo>
                        <a:pt x="255" y="128"/>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16" name="Freeform 397">
                  <a:extLst>
                    <a:ext uri="{FF2B5EF4-FFF2-40B4-BE49-F238E27FC236}">
                      <a16:creationId xmlns:a16="http://schemas.microsoft.com/office/drawing/2014/main" id="{BFA6E24D-98F6-4A76-8E28-AE2E87F9E10D}"/>
                    </a:ext>
                  </a:extLst>
                </p:cNvPr>
                <p:cNvSpPr>
                  <a:spLocks/>
                </p:cNvSpPr>
                <p:nvPr/>
              </p:nvSpPr>
              <p:spPr bwMode="gray">
                <a:xfrm>
                  <a:off x="7179484" y="2626114"/>
                  <a:ext cx="110739" cy="96341"/>
                </a:xfrm>
                <a:custGeom>
                  <a:avLst/>
                  <a:gdLst>
                    <a:gd name="T0" fmla="*/ 130 w 269"/>
                    <a:gd name="T1" fmla="*/ 192 h 234"/>
                    <a:gd name="T2" fmla="*/ 139 w 269"/>
                    <a:gd name="T3" fmla="*/ 192 h 234"/>
                    <a:gd name="T4" fmla="*/ 130 w 269"/>
                    <a:gd name="T5" fmla="*/ 187 h 234"/>
                    <a:gd name="T6" fmla="*/ 108 w 269"/>
                    <a:gd name="T7" fmla="*/ 170 h 234"/>
                    <a:gd name="T8" fmla="*/ 108 w 269"/>
                    <a:gd name="T9" fmla="*/ 154 h 234"/>
                    <a:gd name="T10" fmla="*/ 87 w 269"/>
                    <a:gd name="T11" fmla="*/ 137 h 234"/>
                    <a:gd name="T12" fmla="*/ 54 w 269"/>
                    <a:gd name="T13" fmla="*/ 109 h 234"/>
                    <a:gd name="T14" fmla="*/ 33 w 269"/>
                    <a:gd name="T15" fmla="*/ 92 h 234"/>
                    <a:gd name="T16" fmla="*/ 33 w 269"/>
                    <a:gd name="T17" fmla="*/ 76 h 234"/>
                    <a:gd name="T18" fmla="*/ 33 w 269"/>
                    <a:gd name="T19" fmla="*/ 59 h 234"/>
                    <a:gd name="T20" fmla="*/ 0 w 269"/>
                    <a:gd name="T21" fmla="*/ 38 h 234"/>
                    <a:gd name="T22" fmla="*/ 4 w 269"/>
                    <a:gd name="T23" fmla="*/ 5 h 234"/>
                    <a:gd name="T24" fmla="*/ 21 w 269"/>
                    <a:gd name="T25" fmla="*/ 0 h 234"/>
                    <a:gd name="T26" fmla="*/ 37 w 269"/>
                    <a:gd name="T27" fmla="*/ 22 h 234"/>
                    <a:gd name="T28" fmla="*/ 54 w 269"/>
                    <a:gd name="T29" fmla="*/ 0 h 234"/>
                    <a:gd name="T30" fmla="*/ 75 w 269"/>
                    <a:gd name="T31" fmla="*/ 0 h 234"/>
                    <a:gd name="T32" fmla="*/ 87 w 269"/>
                    <a:gd name="T33" fmla="*/ 0 h 234"/>
                    <a:gd name="T34" fmla="*/ 101 w 269"/>
                    <a:gd name="T35" fmla="*/ 5 h 234"/>
                    <a:gd name="T36" fmla="*/ 146 w 269"/>
                    <a:gd name="T37" fmla="*/ 17 h 234"/>
                    <a:gd name="T38" fmla="*/ 177 w 269"/>
                    <a:gd name="T39" fmla="*/ 5 h 234"/>
                    <a:gd name="T40" fmla="*/ 200 w 269"/>
                    <a:gd name="T41" fmla="*/ 17 h 234"/>
                    <a:gd name="T42" fmla="*/ 215 w 269"/>
                    <a:gd name="T43" fmla="*/ 22 h 234"/>
                    <a:gd name="T44" fmla="*/ 215 w 269"/>
                    <a:gd name="T45" fmla="*/ 26 h 234"/>
                    <a:gd name="T46" fmla="*/ 231 w 269"/>
                    <a:gd name="T47" fmla="*/ 26 h 234"/>
                    <a:gd name="T48" fmla="*/ 252 w 269"/>
                    <a:gd name="T49" fmla="*/ 26 h 234"/>
                    <a:gd name="T50" fmla="*/ 238 w 269"/>
                    <a:gd name="T51" fmla="*/ 76 h 234"/>
                    <a:gd name="T52" fmla="*/ 269 w 269"/>
                    <a:gd name="T53" fmla="*/ 97 h 234"/>
                    <a:gd name="T54" fmla="*/ 264 w 269"/>
                    <a:gd name="T55" fmla="*/ 109 h 234"/>
                    <a:gd name="T56" fmla="*/ 248 w 269"/>
                    <a:gd name="T57" fmla="*/ 109 h 234"/>
                    <a:gd name="T58" fmla="*/ 264 w 269"/>
                    <a:gd name="T59" fmla="*/ 130 h 234"/>
                    <a:gd name="T60" fmla="*/ 264 w 269"/>
                    <a:gd name="T61" fmla="*/ 147 h 234"/>
                    <a:gd name="T62" fmla="*/ 248 w 269"/>
                    <a:gd name="T63" fmla="*/ 147 h 234"/>
                    <a:gd name="T64" fmla="*/ 222 w 269"/>
                    <a:gd name="T65" fmla="*/ 147 h 234"/>
                    <a:gd name="T66" fmla="*/ 238 w 269"/>
                    <a:gd name="T67" fmla="*/ 163 h 234"/>
                    <a:gd name="T68" fmla="*/ 231 w 269"/>
                    <a:gd name="T69" fmla="*/ 170 h 234"/>
                    <a:gd name="T70" fmla="*/ 222 w 269"/>
                    <a:gd name="T71" fmla="*/ 163 h 234"/>
                    <a:gd name="T72" fmla="*/ 210 w 269"/>
                    <a:gd name="T73" fmla="*/ 170 h 234"/>
                    <a:gd name="T74" fmla="*/ 210 w 269"/>
                    <a:gd name="T75" fmla="*/ 187 h 234"/>
                    <a:gd name="T76" fmla="*/ 193 w 269"/>
                    <a:gd name="T77" fmla="*/ 192 h 234"/>
                    <a:gd name="T78" fmla="*/ 193 w 269"/>
                    <a:gd name="T79" fmla="*/ 208 h 234"/>
                    <a:gd name="T80" fmla="*/ 200 w 269"/>
                    <a:gd name="T81" fmla="*/ 225 h 234"/>
                    <a:gd name="T82" fmla="*/ 193 w 269"/>
                    <a:gd name="T83" fmla="*/ 234 h 234"/>
                    <a:gd name="T84" fmla="*/ 146 w 269"/>
                    <a:gd name="T85" fmla="*/ 203 h 234"/>
                    <a:gd name="T86" fmla="*/ 130 w 269"/>
                    <a:gd name="T87" fmla="*/ 203 h 234"/>
                    <a:gd name="T88" fmla="*/ 130 w 269"/>
                    <a:gd name="T89" fmla="*/ 192 h 234"/>
                    <a:gd name="T90" fmla="*/ 130 w 269"/>
                    <a:gd name="T91" fmla="*/ 192 h 234"/>
                    <a:gd name="T92" fmla="*/ 130 w 269"/>
                    <a:gd name="T93" fmla="*/ 19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9" h="234">
                      <a:moveTo>
                        <a:pt x="130" y="192"/>
                      </a:moveTo>
                      <a:lnTo>
                        <a:pt x="139" y="192"/>
                      </a:lnTo>
                      <a:lnTo>
                        <a:pt x="130" y="187"/>
                      </a:lnTo>
                      <a:lnTo>
                        <a:pt x="108" y="170"/>
                      </a:lnTo>
                      <a:lnTo>
                        <a:pt x="108" y="154"/>
                      </a:lnTo>
                      <a:lnTo>
                        <a:pt x="87" y="137"/>
                      </a:lnTo>
                      <a:lnTo>
                        <a:pt x="54" y="109"/>
                      </a:lnTo>
                      <a:lnTo>
                        <a:pt x="33" y="92"/>
                      </a:lnTo>
                      <a:lnTo>
                        <a:pt x="33" y="76"/>
                      </a:lnTo>
                      <a:lnTo>
                        <a:pt x="33" y="59"/>
                      </a:lnTo>
                      <a:lnTo>
                        <a:pt x="0" y="38"/>
                      </a:lnTo>
                      <a:lnTo>
                        <a:pt x="4" y="5"/>
                      </a:lnTo>
                      <a:lnTo>
                        <a:pt x="21" y="0"/>
                      </a:lnTo>
                      <a:lnTo>
                        <a:pt x="37" y="22"/>
                      </a:lnTo>
                      <a:lnTo>
                        <a:pt x="54" y="0"/>
                      </a:lnTo>
                      <a:lnTo>
                        <a:pt x="75" y="0"/>
                      </a:lnTo>
                      <a:lnTo>
                        <a:pt x="87" y="0"/>
                      </a:lnTo>
                      <a:lnTo>
                        <a:pt x="101" y="5"/>
                      </a:lnTo>
                      <a:lnTo>
                        <a:pt x="146" y="17"/>
                      </a:lnTo>
                      <a:lnTo>
                        <a:pt x="177" y="5"/>
                      </a:lnTo>
                      <a:lnTo>
                        <a:pt x="200" y="17"/>
                      </a:lnTo>
                      <a:lnTo>
                        <a:pt x="215" y="22"/>
                      </a:lnTo>
                      <a:lnTo>
                        <a:pt x="215" y="26"/>
                      </a:lnTo>
                      <a:lnTo>
                        <a:pt x="231" y="26"/>
                      </a:lnTo>
                      <a:lnTo>
                        <a:pt x="252" y="26"/>
                      </a:lnTo>
                      <a:lnTo>
                        <a:pt x="238" y="76"/>
                      </a:lnTo>
                      <a:lnTo>
                        <a:pt x="269" y="97"/>
                      </a:lnTo>
                      <a:lnTo>
                        <a:pt x="264" y="109"/>
                      </a:lnTo>
                      <a:lnTo>
                        <a:pt x="248" y="109"/>
                      </a:lnTo>
                      <a:lnTo>
                        <a:pt x="264" y="130"/>
                      </a:lnTo>
                      <a:lnTo>
                        <a:pt x="264" y="147"/>
                      </a:lnTo>
                      <a:lnTo>
                        <a:pt x="248" y="147"/>
                      </a:lnTo>
                      <a:lnTo>
                        <a:pt x="222" y="147"/>
                      </a:lnTo>
                      <a:lnTo>
                        <a:pt x="238" y="163"/>
                      </a:lnTo>
                      <a:lnTo>
                        <a:pt x="231" y="170"/>
                      </a:lnTo>
                      <a:lnTo>
                        <a:pt x="222" y="163"/>
                      </a:lnTo>
                      <a:lnTo>
                        <a:pt x="210" y="170"/>
                      </a:lnTo>
                      <a:lnTo>
                        <a:pt x="210" y="187"/>
                      </a:lnTo>
                      <a:lnTo>
                        <a:pt x="193" y="192"/>
                      </a:lnTo>
                      <a:lnTo>
                        <a:pt x="193" y="208"/>
                      </a:lnTo>
                      <a:lnTo>
                        <a:pt x="200" y="225"/>
                      </a:lnTo>
                      <a:lnTo>
                        <a:pt x="193" y="234"/>
                      </a:lnTo>
                      <a:lnTo>
                        <a:pt x="146" y="203"/>
                      </a:lnTo>
                      <a:lnTo>
                        <a:pt x="130" y="203"/>
                      </a:lnTo>
                      <a:lnTo>
                        <a:pt x="130" y="192"/>
                      </a:lnTo>
                      <a:lnTo>
                        <a:pt x="130" y="192"/>
                      </a:lnTo>
                      <a:lnTo>
                        <a:pt x="130" y="192"/>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17" name="Freeform 401">
                  <a:extLst>
                    <a:ext uri="{FF2B5EF4-FFF2-40B4-BE49-F238E27FC236}">
                      <a16:creationId xmlns:a16="http://schemas.microsoft.com/office/drawing/2014/main" id="{C704AD95-E70C-4CB6-8760-BFA8EA0A79D7}"/>
                    </a:ext>
                  </a:extLst>
                </p:cNvPr>
                <p:cNvSpPr>
                  <a:spLocks/>
                </p:cNvSpPr>
                <p:nvPr/>
              </p:nvSpPr>
              <p:spPr bwMode="gray">
                <a:xfrm>
                  <a:off x="7395200" y="2198342"/>
                  <a:ext cx="279112" cy="197212"/>
                </a:xfrm>
                <a:custGeom>
                  <a:avLst/>
                  <a:gdLst>
                    <a:gd name="T0" fmla="*/ 26 w 678"/>
                    <a:gd name="T1" fmla="*/ 442 h 479"/>
                    <a:gd name="T2" fmla="*/ 0 w 678"/>
                    <a:gd name="T3" fmla="*/ 376 h 479"/>
                    <a:gd name="T4" fmla="*/ 52 w 678"/>
                    <a:gd name="T5" fmla="*/ 338 h 479"/>
                    <a:gd name="T6" fmla="*/ 26 w 678"/>
                    <a:gd name="T7" fmla="*/ 220 h 479"/>
                    <a:gd name="T8" fmla="*/ 85 w 678"/>
                    <a:gd name="T9" fmla="*/ 227 h 479"/>
                    <a:gd name="T10" fmla="*/ 118 w 678"/>
                    <a:gd name="T11" fmla="*/ 220 h 479"/>
                    <a:gd name="T12" fmla="*/ 135 w 678"/>
                    <a:gd name="T13" fmla="*/ 203 h 479"/>
                    <a:gd name="T14" fmla="*/ 172 w 678"/>
                    <a:gd name="T15" fmla="*/ 187 h 479"/>
                    <a:gd name="T16" fmla="*/ 177 w 678"/>
                    <a:gd name="T17" fmla="*/ 194 h 479"/>
                    <a:gd name="T18" fmla="*/ 161 w 678"/>
                    <a:gd name="T19" fmla="*/ 177 h 479"/>
                    <a:gd name="T20" fmla="*/ 177 w 678"/>
                    <a:gd name="T21" fmla="*/ 120 h 479"/>
                    <a:gd name="T22" fmla="*/ 215 w 678"/>
                    <a:gd name="T23" fmla="*/ 99 h 479"/>
                    <a:gd name="T24" fmla="*/ 253 w 678"/>
                    <a:gd name="T25" fmla="*/ 83 h 479"/>
                    <a:gd name="T26" fmla="*/ 243 w 678"/>
                    <a:gd name="T27" fmla="*/ 45 h 479"/>
                    <a:gd name="T28" fmla="*/ 265 w 678"/>
                    <a:gd name="T29" fmla="*/ 28 h 479"/>
                    <a:gd name="T30" fmla="*/ 307 w 678"/>
                    <a:gd name="T31" fmla="*/ 21 h 479"/>
                    <a:gd name="T32" fmla="*/ 352 w 678"/>
                    <a:gd name="T33" fmla="*/ 0 h 479"/>
                    <a:gd name="T34" fmla="*/ 378 w 678"/>
                    <a:gd name="T35" fmla="*/ 5 h 479"/>
                    <a:gd name="T36" fmla="*/ 411 w 678"/>
                    <a:gd name="T37" fmla="*/ 12 h 479"/>
                    <a:gd name="T38" fmla="*/ 444 w 678"/>
                    <a:gd name="T39" fmla="*/ 21 h 479"/>
                    <a:gd name="T40" fmla="*/ 444 w 678"/>
                    <a:gd name="T41" fmla="*/ 45 h 479"/>
                    <a:gd name="T42" fmla="*/ 498 w 678"/>
                    <a:gd name="T43" fmla="*/ 28 h 479"/>
                    <a:gd name="T44" fmla="*/ 536 w 678"/>
                    <a:gd name="T45" fmla="*/ 54 h 479"/>
                    <a:gd name="T46" fmla="*/ 541 w 678"/>
                    <a:gd name="T47" fmla="*/ 78 h 479"/>
                    <a:gd name="T48" fmla="*/ 553 w 678"/>
                    <a:gd name="T49" fmla="*/ 111 h 479"/>
                    <a:gd name="T50" fmla="*/ 557 w 678"/>
                    <a:gd name="T51" fmla="*/ 149 h 479"/>
                    <a:gd name="T52" fmla="*/ 569 w 678"/>
                    <a:gd name="T53" fmla="*/ 170 h 479"/>
                    <a:gd name="T54" fmla="*/ 612 w 678"/>
                    <a:gd name="T55" fmla="*/ 203 h 479"/>
                    <a:gd name="T56" fmla="*/ 628 w 678"/>
                    <a:gd name="T57" fmla="*/ 231 h 479"/>
                    <a:gd name="T58" fmla="*/ 661 w 678"/>
                    <a:gd name="T59" fmla="*/ 243 h 479"/>
                    <a:gd name="T60" fmla="*/ 650 w 678"/>
                    <a:gd name="T61" fmla="*/ 260 h 479"/>
                    <a:gd name="T62" fmla="*/ 666 w 678"/>
                    <a:gd name="T63" fmla="*/ 276 h 479"/>
                    <a:gd name="T64" fmla="*/ 579 w 678"/>
                    <a:gd name="T65" fmla="*/ 288 h 479"/>
                    <a:gd name="T66" fmla="*/ 591 w 678"/>
                    <a:gd name="T67" fmla="*/ 331 h 479"/>
                    <a:gd name="T68" fmla="*/ 591 w 678"/>
                    <a:gd name="T69" fmla="*/ 354 h 479"/>
                    <a:gd name="T70" fmla="*/ 607 w 678"/>
                    <a:gd name="T71" fmla="*/ 397 h 479"/>
                    <a:gd name="T72" fmla="*/ 541 w 678"/>
                    <a:gd name="T73" fmla="*/ 409 h 479"/>
                    <a:gd name="T74" fmla="*/ 520 w 678"/>
                    <a:gd name="T75" fmla="*/ 442 h 479"/>
                    <a:gd name="T76" fmla="*/ 520 w 678"/>
                    <a:gd name="T77" fmla="*/ 479 h 479"/>
                    <a:gd name="T78" fmla="*/ 465 w 678"/>
                    <a:gd name="T79" fmla="*/ 463 h 479"/>
                    <a:gd name="T80" fmla="*/ 432 w 678"/>
                    <a:gd name="T81" fmla="*/ 463 h 479"/>
                    <a:gd name="T82" fmla="*/ 395 w 678"/>
                    <a:gd name="T83" fmla="*/ 446 h 479"/>
                    <a:gd name="T84" fmla="*/ 378 w 678"/>
                    <a:gd name="T85" fmla="*/ 446 h 479"/>
                    <a:gd name="T86" fmla="*/ 357 w 678"/>
                    <a:gd name="T87" fmla="*/ 442 h 479"/>
                    <a:gd name="T88" fmla="*/ 324 w 678"/>
                    <a:gd name="T89" fmla="*/ 442 h 479"/>
                    <a:gd name="T90" fmla="*/ 319 w 678"/>
                    <a:gd name="T91" fmla="*/ 453 h 479"/>
                    <a:gd name="T92" fmla="*/ 286 w 678"/>
                    <a:gd name="T93" fmla="*/ 446 h 479"/>
                    <a:gd name="T94" fmla="*/ 177 w 678"/>
                    <a:gd name="T95" fmla="*/ 413 h 479"/>
                    <a:gd name="T96" fmla="*/ 64 w 678"/>
                    <a:gd name="T97" fmla="*/ 446 h 479"/>
                    <a:gd name="T98" fmla="*/ 31 w 678"/>
                    <a:gd name="T99" fmla="*/ 453 h 479"/>
                    <a:gd name="T100" fmla="*/ 31 w 678"/>
                    <a:gd name="T101" fmla="*/ 45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8" h="479">
                      <a:moveTo>
                        <a:pt x="31" y="453"/>
                      </a:moveTo>
                      <a:lnTo>
                        <a:pt x="26" y="442"/>
                      </a:lnTo>
                      <a:lnTo>
                        <a:pt x="31" y="397"/>
                      </a:lnTo>
                      <a:lnTo>
                        <a:pt x="0" y="376"/>
                      </a:lnTo>
                      <a:lnTo>
                        <a:pt x="14" y="359"/>
                      </a:lnTo>
                      <a:lnTo>
                        <a:pt x="52" y="338"/>
                      </a:lnTo>
                      <a:lnTo>
                        <a:pt x="52" y="305"/>
                      </a:lnTo>
                      <a:lnTo>
                        <a:pt x="26" y="220"/>
                      </a:lnTo>
                      <a:lnTo>
                        <a:pt x="69" y="220"/>
                      </a:lnTo>
                      <a:lnTo>
                        <a:pt x="85" y="227"/>
                      </a:lnTo>
                      <a:lnTo>
                        <a:pt x="102" y="210"/>
                      </a:lnTo>
                      <a:lnTo>
                        <a:pt x="118" y="220"/>
                      </a:lnTo>
                      <a:lnTo>
                        <a:pt x="118" y="194"/>
                      </a:lnTo>
                      <a:lnTo>
                        <a:pt x="135" y="203"/>
                      </a:lnTo>
                      <a:lnTo>
                        <a:pt x="161" y="177"/>
                      </a:lnTo>
                      <a:lnTo>
                        <a:pt x="172" y="187"/>
                      </a:lnTo>
                      <a:lnTo>
                        <a:pt x="161" y="194"/>
                      </a:lnTo>
                      <a:lnTo>
                        <a:pt x="177" y="194"/>
                      </a:lnTo>
                      <a:lnTo>
                        <a:pt x="177" y="177"/>
                      </a:lnTo>
                      <a:lnTo>
                        <a:pt x="161" y="177"/>
                      </a:lnTo>
                      <a:lnTo>
                        <a:pt x="177" y="153"/>
                      </a:lnTo>
                      <a:lnTo>
                        <a:pt x="177" y="120"/>
                      </a:lnTo>
                      <a:lnTo>
                        <a:pt x="210" y="116"/>
                      </a:lnTo>
                      <a:lnTo>
                        <a:pt x="215" y="99"/>
                      </a:lnTo>
                      <a:lnTo>
                        <a:pt x="232" y="99"/>
                      </a:lnTo>
                      <a:lnTo>
                        <a:pt x="253" y="83"/>
                      </a:lnTo>
                      <a:lnTo>
                        <a:pt x="232" y="78"/>
                      </a:lnTo>
                      <a:lnTo>
                        <a:pt x="243" y="45"/>
                      </a:lnTo>
                      <a:lnTo>
                        <a:pt x="253" y="45"/>
                      </a:lnTo>
                      <a:lnTo>
                        <a:pt x="265" y="28"/>
                      </a:lnTo>
                      <a:lnTo>
                        <a:pt x="307" y="38"/>
                      </a:lnTo>
                      <a:lnTo>
                        <a:pt x="307" y="21"/>
                      </a:lnTo>
                      <a:lnTo>
                        <a:pt x="335" y="0"/>
                      </a:lnTo>
                      <a:lnTo>
                        <a:pt x="352" y="0"/>
                      </a:lnTo>
                      <a:lnTo>
                        <a:pt x="357" y="5"/>
                      </a:lnTo>
                      <a:lnTo>
                        <a:pt x="378" y="5"/>
                      </a:lnTo>
                      <a:lnTo>
                        <a:pt x="390" y="21"/>
                      </a:lnTo>
                      <a:lnTo>
                        <a:pt x="411" y="12"/>
                      </a:lnTo>
                      <a:lnTo>
                        <a:pt x="432" y="21"/>
                      </a:lnTo>
                      <a:lnTo>
                        <a:pt x="444" y="21"/>
                      </a:lnTo>
                      <a:lnTo>
                        <a:pt x="432" y="38"/>
                      </a:lnTo>
                      <a:lnTo>
                        <a:pt x="444" y="45"/>
                      </a:lnTo>
                      <a:lnTo>
                        <a:pt x="470" y="28"/>
                      </a:lnTo>
                      <a:lnTo>
                        <a:pt x="498" y="28"/>
                      </a:lnTo>
                      <a:lnTo>
                        <a:pt x="515" y="28"/>
                      </a:lnTo>
                      <a:lnTo>
                        <a:pt x="536" y="54"/>
                      </a:lnTo>
                      <a:lnTo>
                        <a:pt x="541" y="54"/>
                      </a:lnTo>
                      <a:lnTo>
                        <a:pt x="541" y="78"/>
                      </a:lnTo>
                      <a:lnTo>
                        <a:pt x="536" y="83"/>
                      </a:lnTo>
                      <a:lnTo>
                        <a:pt x="553" y="111"/>
                      </a:lnTo>
                      <a:lnTo>
                        <a:pt x="536" y="132"/>
                      </a:lnTo>
                      <a:lnTo>
                        <a:pt x="557" y="149"/>
                      </a:lnTo>
                      <a:lnTo>
                        <a:pt x="557" y="165"/>
                      </a:lnTo>
                      <a:lnTo>
                        <a:pt x="569" y="170"/>
                      </a:lnTo>
                      <a:lnTo>
                        <a:pt x="574" y="187"/>
                      </a:lnTo>
                      <a:lnTo>
                        <a:pt x="612" y="203"/>
                      </a:lnTo>
                      <a:lnTo>
                        <a:pt x="607" y="231"/>
                      </a:lnTo>
                      <a:lnTo>
                        <a:pt x="628" y="231"/>
                      </a:lnTo>
                      <a:lnTo>
                        <a:pt x="650" y="243"/>
                      </a:lnTo>
                      <a:lnTo>
                        <a:pt x="661" y="243"/>
                      </a:lnTo>
                      <a:lnTo>
                        <a:pt x="650" y="248"/>
                      </a:lnTo>
                      <a:lnTo>
                        <a:pt x="650" y="260"/>
                      </a:lnTo>
                      <a:lnTo>
                        <a:pt x="678" y="265"/>
                      </a:lnTo>
                      <a:lnTo>
                        <a:pt x="666" y="276"/>
                      </a:lnTo>
                      <a:lnTo>
                        <a:pt x="633" y="298"/>
                      </a:lnTo>
                      <a:lnTo>
                        <a:pt x="579" y="288"/>
                      </a:lnTo>
                      <a:lnTo>
                        <a:pt x="569" y="305"/>
                      </a:lnTo>
                      <a:lnTo>
                        <a:pt x="591" y="331"/>
                      </a:lnTo>
                      <a:lnTo>
                        <a:pt x="579" y="338"/>
                      </a:lnTo>
                      <a:lnTo>
                        <a:pt x="591" y="354"/>
                      </a:lnTo>
                      <a:lnTo>
                        <a:pt x="591" y="376"/>
                      </a:lnTo>
                      <a:lnTo>
                        <a:pt x="607" y="397"/>
                      </a:lnTo>
                      <a:lnTo>
                        <a:pt x="541" y="397"/>
                      </a:lnTo>
                      <a:lnTo>
                        <a:pt x="541" y="409"/>
                      </a:lnTo>
                      <a:lnTo>
                        <a:pt x="524" y="425"/>
                      </a:lnTo>
                      <a:lnTo>
                        <a:pt x="520" y="442"/>
                      </a:lnTo>
                      <a:lnTo>
                        <a:pt x="524" y="470"/>
                      </a:lnTo>
                      <a:lnTo>
                        <a:pt x="520" y="479"/>
                      </a:lnTo>
                      <a:lnTo>
                        <a:pt x="487" y="453"/>
                      </a:lnTo>
                      <a:lnTo>
                        <a:pt x="465" y="463"/>
                      </a:lnTo>
                      <a:lnTo>
                        <a:pt x="461" y="453"/>
                      </a:lnTo>
                      <a:lnTo>
                        <a:pt x="432" y="463"/>
                      </a:lnTo>
                      <a:lnTo>
                        <a:pt x="416" y="442"/>
                      </a:lnTo>
                      <a:lnTo>
                        <a:pt x="395" y="446"/>
                      </a:lnTo>
                      <a:lnTo>
                        <a:pt x="390" y="463"/>
                      </a:lnTo>
                      <a:lnTo>
                        <a:pt x="378" y="446"/>
                      </a:lnTo>
                      <a:lnTo>
                        <a:pt x="357" y="446"/>
                      </a:lnTo>
                      <a:lnTo>
                        <a:pt x="357" y="442"/>
                      </a:lnTo>
                      <a:lnTo>
                        <a:pt x="340" y="446"/>
                      </a:lnTo>
                      <a:lnTo>
                        <a:pt x="324" y="442"/>
                      </a:lnTo>
                      <a:lnTo>
                        <a:pt x="319" y="453"/>
                      </a:lnTo>
                      <a:lnTo>
                        <a:pt x="319" y="453"/>
                      </a:lnTo>
                      <a:lnTo>
                        <a:pt x="319" y="446"/>
                      </a:lnTo>
                      <a:lnTo>
                        <a:pt x="286" y="446"/>
                      </a:lnTo>
                      <a:lnTo>
                        <a:pt x="281" y="430"/>
                      </a:lnTo>
                      <a:lnTo>
                        <a:pt x="177" y="413"/>
                      </a:lnTo>
                      <a:lnTo>
                        <a:pt x="85" y="413"/>
                      </a:lnTo>
                      <a:lnTo>
                        <a:pt x="64" y="446"/>
                      </a:lnTo>
                      <a:lnTo>
                        <a:pt x="31" y="442"/>
                      </a:lnTo>
                      <a:lnTo>
                        <a:pt x="31" y="453"/>
                      </a:lnTo>
                      <a:lnTo>
                        <a:pt x="31" y="453"/>
                      </a:lnTo>
                      <a:lnTo>
                        <a:pt x="31" y="453"/>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18" name="Freeform 405">
                  <a:extLst>
                    <a:ext uri="{FF2B5EF4-FFF2-40B4-BE49-F238E27FC236}">
                      <a16:creationId xmlns:a16="http://schemas.microsoft.com/office/drawing/2014/main" id="{961DCE04-534B-45C8-8BCD-42BDFB576DCF}"/>
                    </a:ext>
                  </a:extLst>
                </p:cNvPr>
                <p:cNvSpPr>
                  <a:spLocks/>
                </p:cNvSpPr>
                <p:nvPr/>
              </p:nvSpPr>
              <p:spPr bwMode="gray">
                <a:xfrm>
                  <a:off x="7371735" y="2659464"/>
                  <a:ext cx="179900" cy="109928"/>
                </a:xfrm>
                <a:custGeom>
                  <a:avLst/>
                  <a:gdLst>
                    <a:gd name="T0" fmla="*/ 400 w 437"/>
                    <a:gd name="T1" fmla="*/ 200 h 267"/>
                    <a:gd name="T2" fmla="*/ 366 w 437"/>
                    <a:gd name="T3" fmla="*/ 210 h 267"/>
                    <a:gd name="T4" fmla="*/ 345 w 437"/>
                    <a:gd name="T5" fmla="*/ 193 h 267"/>
                    <a:gd name="T6" fmla="*/ 329 w 437"/>
                    <a:gd name="T7" fmla="*/ 193 h 267"/>
                    <a:gd name="T8" fmla="*/ 324 w 437"/>
                    <a:gd name="T9" fmla="*/ 200 h 267"/>
                    <a:gd name="T10" fmla="*/ 303 w 437"/>
                    <a:gd name="T11" fmla="*/ 200 h 267"/>
                    <a:gd name="T12" fmla="*/ 291 w 437"/>
                    <a:gd name="T13" fmla="*/ 217 h 267"/>
                    <a:gd name="T14" fmla="*/ 286 w 437"/>
                    <a:gd name="T15" fmla="*/ 217 h 267"/>
                    <a:gd name="T16" fmla="*/ 286 w 437"/>
                    <a:gd name="T17" fmla="*/ 226 h 267"/>
                    <a:gd name="T18" fmla="*/ 260 w 437"/>
                    <a:gd name="T19" fmla="*/ 226 h 267"/>
                    <a:gd name="T20" fmla="*/ 270 w 437"/>
                    <a:gd name="T21" fmla="*/ 238 h 267"/>
                    <a:gd name="T22" fmla="*/ 270 w 437"/>
                    <a:gd name="T23" fmla="*/ 255 h 267"/>
                    <a:gd name="T24" fmla="*/ 206 w 437"/>
                    <a:gd name="T25" fmla="*/ 267 h 267"/>
                    <a:gd name="T26" fmla="*/ 140 w 437"/>
                    <a:gd name="T27" fmla="*/ 238 h 267"/>
                    <a:gd name="T28" fmla="*/ 92 w 437"/>
                    <a:gd name="T29" fmla="*/ 255 h 267"/>
                    <a:gd name="T30" fmla="*/ 43 w 437"/>
                    <a:gd name="T31" fmla="*/ 255 h 267"/>
                    <a:gd name="T32" fmla="*/ 43 w 437"/>
                    <a:gd name="T33" fmla="*/ 217 h 267"/>
                    <a:gd name="T34" fmla="*/ 38 w 437"/>
                    <a:gd name="T35" fmla="*/ 200 h 267"/>
                    <a:gd name="T36" fmla="*/ 17 w 437"/>
                    <a:gd name="T37" fmla="*/ 184 h 267"/>
                    <a:gd name="T38" fmla="*/ 0 w 437"/>
                    <a:gd name="T39" fmla="*/ 165 h 267"/>
                    <a:gd name="T40" fmla="*/ 17 w 437"/>
                    <a:gd name="T41" fmla="*/ 160 h 267"/>
                    <a:gd name="T42" fmla="*/ 5 w 437"/>
                    <a:gd name="T43" fmla="*/ 144 h 267"/>
                    <a:gd name="T44" fmla="*/ 5 w 437"/>
                    <a:gd name="T45" fmla="*/ 127 h 267"/>
                    <a:gd name="T46" fmla="*/ 33 w 437"/>
                    <a:gd name="T47" fmla="*/ 122 h 267"/>
                    <a:gd name="T48" fmla="*/ 43 w 437"/>
                    <a:gd name="T49" fmla="*/ 99 h 267"/>
                    <a:gd name="T50" fmla="*/ 17 w 437"/>
                    <a:gd name="T51" fmla="*/ 73 h 267"/>
                    <a:gd name="T52" fmla="*/ 0 w 437"/>
                    <a:gd name="T53" fmla="*/ 44 h 267"/>
                    <a:gd name="T54" fmla="*/ 5 w 437"/>
                    <a:gd name="T55" fmla="*/ 28 h 267"/>
                    <a:gd name="T56" fmla="*/ 22 w 437"/>
                    <a:gd name="T57" fmla="*/ 0 h 267"/>
                    <a:gd name="T58" fmla="*/ 43 w 437"/>
                    <a:gd name="T59" fmla="*/ 16 h 267"/>
                    <a:gd name="T60" fmla="*/ 38 w 437"/>
                    <a:gd name="T61" fmla="*/ 28 h 267"/>
                    <a:gd name="T62" fmla="*/ 38 w 437"/>
                    <a:gd name="T63" fmla="*/ 44 h 267"/>
                    <a:gd name="T64" fmla="*/ 76 w 437"/>
                    <a:gd name="T65" fmla="*/ 33 h 267"/>
                    <a:gd name="T66" fmla="*/ 130 w 437"/>
                    <a:gd name="T67" fmla="*/ 49 h 267"/>
                    <a:gd name="T68" fmla="*/ 152 w 437"/>
                    <a:gd name="T69" fmla="*/ 44 h 267"/>
                    <a:gd name="T70" fmla="*/ 215 w 437"/>
                    <a:gd name="T71" fmla="*/ 56 h 267"/>
                    <a:gd name="T72" fmla="*/ 239 w 437"/>
                    <a:gd name="T73" fmla="*/ 49 h 267"/>
                    <a:gd name="T74" fmla="*/ 270 w 437"/>
                    <a:gd name="T75" fmla="*/ 28 h 267"/>
                    <a:gd name="T76" fmla="*/ 329 w 437"/>
                    <a:gd name="T77" fmla="*/ 11 h 267"/>
                    <a:gd name="T78" fmla="*/ 345 w 437"/>
                    <a:gd name="T79" fmla="*/ 11 h 267"/>
                    <a:gd name="T80" fmla="*/ 357 w 437"/>
                    <a:gd name="T81" fmla="*/ 28 h 267"/>
                    <a:gd name="T82" fmla="*/ 366 w 437"/>
                    <a:gd name="T83" fmla="*/ 16 h 267"/>
                    <a:gd name="T84" fmla="*/ 378 w 437"/>
                    <a:gd name="T85" fmla="*/ 28 h 267"/>
                    <a:gd name="T86" fmla="*/ 395 w 437"/>
                    <a:gd name="T87" fmla="*/ 28 h 267"/>
                    <a:gd name="T88" fmla="*/ 400 w 437"/>
                    <a:gd name="T89" fmla="*/ 44 h 267"/>
                    <a:gd name="T90" fmla="*/ 437 w 437"/>
                    <a:gd name="T91" fmla="*/ 49 h 267"/>
                    <a:gd name="T92" fmla="*/ 437 w 437"/>
                    <a:gd name="T93" fmla="*/ 73 h 267"/>
                    <a:gd name="T94" fmla="*/ 411 w 437"/>
                    <a:gd name="T95" fmla="*/ 73 h 267"/>
                    <a:gd name="T96" fmla="*/ 395 w 437"/>
                    <a:gd name="T97" fmla="*/ 99 h 267"/>
                    <a:gd name="T98" fmla="*/ 395 w 437"/>
                    <a:gd name="T99" fmla="*/ 139 h 267"/>
                    <a:gd name="T100" fmla="*/ 378 w 437"/>
                    <a:gd name="T101" fmla="*/ 139 h 267"/>
                    <a:gd name="T102" fmla="*/ 362 w 437"/>
                    <a:gd name="T103" fmla="*/ 160 h 267"/>
                    <a:gd name="T104" fmla="*/ 378 w 437"/>
                    <a:gd name="T105" fmla="*/ 160 h 267"/>
                    <a:gd name="T106" fmla="*/ 400 w 437"/>
                    <a:gd name="T107" fmla="*/ 200 h 267"/>
                    <a:gd name="T108" fmla="*/ 400 w 437"/>
                    <a:gd name="T109" fmla="*/ 200 h 267"/>
                    <a:gd name="T110" fmla="*/ 400 w 437"/>
                    <a:gd name="T111" fmla="*/ 20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7" h="267">
                      <a:moveTo>
                        <a:pt x="400" y="200"/>
                      </a:moveTo>
                      <a:lnTo>
                        <a:pt x="366" y="210"/>
                      </a:lnTo>
                      <a:lnTo>
                        <a:pt x="345" y="193"/>
                      </a:lnTo>
                      <a:lnTo>
                        <a:pt x="329" y="193"/>
                      </a:lnTo>
                      <a:lnTo>
                        <a:pt x="324" y="200"/>
                      </a:lnTo>
                      <a:lnTo>
                        <a:pt x="303" y="200"/>
                      </a:lnTo>
                      <a:lnTo>
                        <a:pt x="291" y="217"/>
                      </a:lnTo>
                      <a:lnTo>
                        <a:pt x="286" y="217"/>
                      </a:lnTo>
                      <a:lnTo>
                        <a:pt x="286" y="226"/>
                      </a:lnTo>
                      <a:lnTo>
                        <a:pt x="260" y="226"/>
                      </a:lnTo>
                      <a:lnTo>
                        <a:pt x="270" y="238"/>
                      </a:lnTo>
                      <a:lnTo>
                        <a:pt x="270" y="255"/>
                      </a:lnTo>
                      <a:lnTo>
                        <a:pt x="206" y="267"/>
                      </a:lnTo>
                      <a:lnTo>
                        <a:pt x="140" y="238"/>
                      </a:lnTo>
                      <a:lnTo>
                        <a:pt x="92" y="255"/>
                      </a:lnTo>
                      <a:lnTo>
                        <a:pt x="43" y="255"/>
                      </a:lnTo>
                      <a:lnTo>
                        <a:pt x="43" y="217"/>
                      </a:lnTo>
                      <a:lnTo>
                        <a:pt x="38" y="200"/>
                      </a:lnTo>
                      <a:lnTo>
                        <a:pt x="17" y="184"/>
                      </a:lnTo>
                      <a:lnTo>
                        <a:pt x="0" y="165"/>
                      </a:lnTo>
                      <a:lnTo>
                        <a:pt x="17" y="160"/>
                      </a:lnTo>
                      <a:lnTo>
                        <a:pt x="5" y="144"/>
                      </a:lnTo>
                      <a:lnTo>
                        <a:pt x="5" y="127"/>
                      </a:lnTo>
                      <a:lnTo>
                        <a:pt x="33" y="122"/>
                      </a:lnTo>
                      <a:lnTo>
                        <a:pt x="43" y="99"/>
                      </a:lnTo>
                      <a:lnTo>
                        <a:pt x="17" y="73"/>
                      </a:lnTo>
                      <a:lnTo>
                        <a:pt x="0" y="44"/>
                      </a:lnTo>
                      <a:lnTo>
                        <a:pt x="5" y="28"/>
                      </a:lnTo>
                      <a:lnTo>
                        <a:pt x="22" y="0"/>
                      </a:lnTo>
                      <a:lnTo>
                        <a:pt x="43" y="16"/>
                      </a:lnTo>
                      <a:lnTo>
                        <a:pt x="38" y="28"/>
                      </a:lnTo>
                      <a:lnTo>
                        <a:pt x="38" y="44"/>
                      </a:lnTo>
                      <a:lnTo>
                        <a:pt x="76" y="33"/>
                      </a:lnTo>
                      <a:lnTo>
                        <a:pt x="130" y="49"/>
                      </a:lnTo>
                      <a:lnTo>
                        <a:pt x="152" y="44"/>
                      </a:lnTo>
                      <a:lnTo>
                        <a:pt x="215" y="56"/>
                      </a:lnTo>
                      <a:lnTo>
                        <a:pt x="239" y="49"/>
                      </a:lnTo>
                      <a:lnTo>
                        <a:pt x="270" y="28"/>
                      </a:lnTo>
                      <a:lnTo>
                        <a:pt x="329" y="11"/>
                      </a:lnTo>
                      <a:lnTo>
                        <a:pt x="345" y="11"/>
                      </a:lnTo>
                      <a:lnTo>
                        <a:pt x="357" y="28"/>
                      </a:lnTo>
                      <a:lnTo>
                        <a:pt x="366" y="16"/>
                      </a:lnTo>
                      <a:lnTo>
                        <a:pt x="378" y="28"/>
                      </a:lnTo>
                      <a:lnTo>
                        <a:pt x="395" y="28"/>
                      </a:lnTo>
                      <a:lnTo>
                        <a:pt x="400" y="44"/>
                      </a:lnTo>
                      <a:lnTo>
                        <a:pt x="437" y="49"/>
                      </a:lnTo>
                      <a:lnTo>
                        <a:pt x="437" y="73"/>
                      </a:lnTo>
                      <a:lnTo>
                        <a:pt x="411" y="73"/>
                      </a:lnTo>
                      <a:lnTo>
                        <a:pt x="395" y="99"/>
                      </a:lnTo>
                      <a:lnTo>
                        <a:pt x="395" y="139"/>
                      </a:lnTo>
                      <a:lnTo>
                        <a:pt x="378" y="139"/>
                      </a:lnTo>
                      <a:lnTo>
                        <a:pt x="362" y="160"/>
                      </a:lnTo>
                      <a:lnTo>
                        <a:pt x="378" y="160"/>
                      </a:lnTo>
                      <a:lnTo>
                        <a:pt x="400" y="200"/>
                      </a:lnTo>
                      <a:lnTo>
                        <a:pt x="400" y="200"/>
                      </a:lnTo>
                      <a:lnTo>
                        <a:pt x="400" y="200"/>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19" name="Freeform 425">
                  <a:extLst>
                    <a:ext uri="{FF2B5EF4-FFF2-40B4-BE49-F238E27FC236}">
                      <a16:creationId xmlns:a16="http://schemas.microsoft.com/office/drawing/2014/main" id="{23CF883A-BD43-45D9-BD15-EE10758B03D9}"/>
                    </a:ext>
                  </a:extLst>
                </p:cNvPr>
                <p:cNvSpPr>
                  <a:spLocks noEditPoints="1"/>
                </p:cNvSpPr>
                <p:nvPr/>
              </p:nvSpPr>
              <p:spPr bwMode="gray">
                <a:xfrm>
                  <a:off x="6960476" y="2129173"/>
                  <a:ext cx="204188" cy="132161"/>
                </a:xfrm>
                <a:custGeom>
                  <a:avLst/>
                  <a:gdLst>
                    <a:gd name="T0" fmla="*/ 10 w 496"/>
                    <a:gd name="T1" fmla="*/ 111 h 321"/>
                    <a:gd name="T2" fmla="*/ 123 w 496"/>
                    <a:gd name="T3" fmla="*/ 12 h 321"/>
                    <a:gd name="T4" fmla="*/ 156 w 496"/>
                    <a:gd name="T5" fmla="*/ 78 h 321"/>
                    <a:gd name="T6" fmla="*/ 43 w 496"/>
                    <a:gd name="T7" fmla="*/ 83 h 321"/>
                    <a:gd name="T8" fmla="*/ 206 w 496"/>
                    <a:gd name="T9" fmla="*/ 57 h 321"/>
                    <a:gd name="T10" fmla="*/ 206 w 496"/>
                    <a:gd name="T11" fmla="*/ 57 h 321"/>
                    <a:gd name="T12" fmla="*/ 43 w 496"/>
                    <a:gd name="T13" fmla="*/ 267 h 321"/>
                    <a:gd name="T14" fmla="*/ 43 w 496"/>
                    <a:gd name="T15" fmla="*/ 267 h 321"/>
                    <a:gd name="T16" fmla="*/ 0 w 496"/>
                    <a:gd name="T17" fmla="*/ 177 h 321"/>
                    <a:gd name="T18" fmla="*/ 0 w 496"/>
                    <a:gd name="T19" fmla="*/ 173 h 321"/>
                    <a:gd name="T20" fmla="*/ 47 w 496"/>
                    <a:gd name="T21" fmla="*/ 123 h 321"/>
                    <a:gd name="T22" fmla="*/ 64 w 496"/>
                    <a:gd name="T23" fmla="*/ 123 h 321"/>
                    <a:gd name="T24" fmla="*/ 85 w 496"/>
                    <a:gd name="T25" fmla="*/ 111 h 321"/>
                    <a:gd name="T26" fmla="*/ 135 w 496"/>
                    <a:gd name="T27" fmla="*/ 66 h 321"/>
                    <a:gd name="T28" fmla="*/ 156 w 496"/>
                    <a:gd name="T29" fmla="*/ 111 h 321"/>
                    <a:gd name="T30" fmla="*/ 206 w 496"/>
                    <a:gd name="T31" fmla="*/ 133 h 321"/>
                    <a:gd name="T32" fmla="*/ 156 w 496"/>
                    <a:gd name="T33" fmla="*/ 156 h 321"/>
                    <a:gd name="T34" fmla="*/ 151 w 496"/>
                    <a:gd name="T35" fmla="*/ 177 h 321"/>
                    <a:gd name="T36" fmla="*/ 135 w 496"/>
                    <a:gd name="T37" fmla="*/ 210 h 321"/>
                    <a:gd name="T38" fmla="*/ 106 w 496"/>
                    <a:gd name="T39" fmla="*/ 260 h 321"/>
                    <a:gd name="T40" fmla="*/ 102 w 496"/>
                    <a:gd name="T41" fmla="*/ 288 h 321"/>
                    <a:gd name="T42" fmla="*/ 43 w 496"/>
                    <a:gd name="T43" fmla="*/ 111 h 321"/>
                    <a:gd name="T44" fmla="*/ 47 w 496"/>
                    <a:gd name="T45" fmla="*/ 99 h 321"/>
                    <a:gd name="T46" fmla="*/ 243 w 496"/>
                    <a:gd name="T47" fmla="*/ 111 h 321"/>
                    <a:gd name="T48" fmla="*/ 243 w 496"/>
                    <a:gd name="T49" fmla="*/ 111 h 321"/>
                    <a:gd name="T50" fmla="*/ 210 w 496"/>
                    <a:gd name="T51" fmla="*/ 210 h 321"/>
                    <a:gd name="T52" fmla="*/ 215 w 496"/>
                    <a:gd name="T53" fmla="*/ 177 h 321"/>
                    <a:gd name="T54" fmla="*/ 265 w 496"/>
                    <a:gd name="T55" fmla="*/ 189 h 321"/>
                    <a:gd name="T56" fmla="*/ 269 w 496"/>
                    <a:gd name="T57" fmla="*/ 189 h 321"/>
                    <a:gd name="T58" fmla="*/ 312 w 496"/>
                    <a:gd name="T59" fmla="*/ 189 h 321"/>
                    <a:gd name="T60" fmla="*/ 269 w 496"/>
                    <a:gd name="T61" fmla="*/ 267 h 321"/>
                    <a:gd name="T62" fmla="*/ 260 w 496"/>
                    <a:gd name="T63" fmla="*/ 279 h 321"/>
                    <a:gd name="T64" fmla="*/ 243 w 496"/>
                    <a:gd name="T65" fmla="*/ 260 h 321"/>
                    <a:gd name="T66" fmla="*/ 173 w 496"/>
                    <a:gd name="T67" fmla="*/ 206 h 321"/>
                    <a:gd name="T68" fmla="*/ 177 w 496"/>
                    <a:gd name="T69" fmla="*/ 189 h 321"/>
                    <a:gd name="T70" fmla="*/ 319 w 496"/>
                    <a:gd name="T71" fmla="*/ 210 h 321"/>
                    <a:gd name="T72" fmla="*/ 173 w 496"/>
                    <a:gd name="T73" fmla="*/ 279 h 321"/>
                    <a:gd name="T74" fmla="*/ 161 w 496"/>
                    <a:gd name="T75" fmla="*/ 227 h 321"/>
                    <a:gd name="T76" fmla="*/ 177 w 496"/>
                    <a:gd name="T77" fmla="*/ 222 h 321"/>
                    <a:gd name="T78" fmla="*/ 173 w 496"/>
                    <a:gd name="T79" fmla="*/ 279 h 321"/>
                    <a:gd name="T80" fmla="*/ 26 w 496"/>
                    <a:gd name="T81" fmla="*/ 234 h 321"/>
                    <a:gd name="T82" fmla="*/ 487 w 496"/>
                    <a:gd name="T83" fmla="*/ 284 h 321"/>
                    <a:gd name="T84" fmla="*/ 487 w 496"/>
                    <a:gd name="T85" fmla="*/ 284 h 321"/>
                    <a:gd name="T86" fmla="*/ 177 w 496"/>
                    <a:gd name="T87" fmla="*/ 288 h 321"/>
                    <a:gd name="T88" fmla="*/ 177 w 496"/>
                    <a:gd name="T89" fmla="*/ 305 h 321"/>
                    <a:gd name="T90" fmla="*/ 118 w 496"/>
                    <a:gd name="T91" fmla="*/ 288 h 321"/>
                    <a:gd name="T92" fmla="*/ 106 w 496"/>
                    <a:gd name="T93" fmla="*/ 279 h 321"/>
                    <a:gd name="T94" fmla="*/ 173 w 496"/>
                    <a:gd name="T95" fmla="*/ 284 h 321"/>
                    <a:gd name="T96" fmla="*/ 173 w 496"/>
                    <a:gd name="T97" fmla="*/ 284 h 321"/>
                    <a:gd name="T98" fmla="*/ 298 w 496"/>
                    <a:gd name="T99" fmla="*/ 279 h 321"/>
                    <a:gd name="T100" fmla="*/ 286 w 496"/>
                    <a:gd name="T101" fmla="*/ 288 h 321"/>
                    <a:gd name="T102" fmla="*/ 269 w 496"/>
                    <a:gd name="T103" fmla="*/ 321 h 321"/>
                    <a:gd name="T104" fmla="*/ 265 w 496"/>
                    <a:gd name="T105" fmla="*/ 284 h 321"/>
                    <a:gd name="T106" fmla="*/ 243 w 496"/>
                    <a:gd name="T107" fmla="*/ 300 h 321"/>
                    <a:gd name="T108" fmla="*/ 206 w 496"/>
                    <a:gd name="T109" fmla="*/ 30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6" h="321">
                      <a:moveTo>
                        <a:pt x="26" y="111"/>
                      </a:moveTo>
                      <a:lnTo>
                        <a:pt x="31" y="116"/>
                      </a:lnTo>
                      <a:lnTo>
                        <a:pt x="31" y="116"/>
                      </a:lnTo>
                      <a:lnTo>
                        <a:pt x="10" y="111"/>
                      </a:lnTo>
                      <a:lnTo>
                        <a:pt x="10" y="99"/>
                      </a:lnTo>
                      <a:lnTo>
                        <a:pt x="31" y="62"/>
                      </a:lnTo>
                      <a:lnTo>
                        <a:pt x="85" y="62"/>
                      </a:lnTo>
                      <a:lnTo>
                        <a:pt x="123" y="12"/>
                      </a:lnTo>
                      <a:lnTo>
                        <a:pt x="177" y="0"/>
                      </a:lnTo>
                      <a:lnTo>
                        <a:pt x="161" y="12"/>
                      </a:lnTo>
                      <a:lnTo>
                        <a:pt x="173" y="57"/>
                      </a:lnTo>
                      <a:lnTo>
                        <a:pt x="156" y="78"/>
                      </a:lnTo>
                      <a:lnTo>
                        <a:pt x="135" y="66"/>
                      </a:lnTo>
                      <a:lnTo>
                        <a:pt x="80" y="78"/>
                      </a:lnTo>
                      <a:lnTo>
                        <a:pt x="69" y="66"/>
                      </a:lnTo>
                      <a:lnTo>
                        <a:pt x="43" y="83"/>
                      </a:lnTo>
                      <a:lnTo>
                        <a:pt x="26" y="111"/>
                      </a:lnTo>
                      <a:lnTo>
                        <a:pt x="26" y="111"/>
                      </a:lnTo>
                      <a:lnTo>
                        <a:pt x="26" y="111"/>
                      </a:lnTo>
                      <a:close/>
                      <a:moveTo>
                        <a:pt x="206" y="57"/>
                      </a:moveTo>
                      <a:lnTo>
                        <a:pt x="194" y="57"/>
                      </a:lnTo>
                      <a:lnTo>
                        <a:pt x="215" y="45"/>
                      </a:lnTo>
                      <a:lnTo>
                        <a:pt x="206" y="57"/>
                      </a:lnTo>
                      <a:lnTo>
                        <a:pt x="206" y="57"/>
                      </a:lnTo>
                      <a:lnTo>
                        <a:pt x="206" y="57"/>
                      </a:lnTo>
                      <a:close/>
                      <a:moveTo>
                        <a:pt x="97" y="300"/>
                      </a:moveTo>
                      <a:lnTo>
                        <a:pt x="43" y="288"/>
                      </a:lnTo>
                      <a:lnTo>
                        <a:pt x="43" y="267"/>
                      </a:lnTo>
                      <a:lnTo>
                        <a:pt x="26" y="279"/>
                      </a:lnTo>
                      <a:lnTo>
                        <a:pt x="26" y="267"/>
                      </a:lnTo>
                      <a:lnTo>
                        <a:pt x="26" y="260"/>
                      </a:lnTo>
                      <a:lnTo>
                        <a:pt x="43" y="267"/>
                      </a:lnTo>
                      <a:lnTo>
                        <a:pt x="31" y="234"/>
                      </a:lnTo>
                      <a:lnTo>
                        <a:pt x="0" y="227"/>
                      </a:lnTo>
                      <a:lnTo>
                        <a:pt x="0" y="206"/>
                      </a:lnTo>
                      <a:lnTo>
                        <a:pt x="0" y="177"/>
                      </a:lnTo>
                      <a:lnTo>
                        <a:pt x="0" y="194"/>
                      </a:lnTo>
                      <a:lnTo>
                        <a:pt x="14" y="189"/>
                      </a:lnTo>
                      <a:lnTo>
                        <a:pt x="10" y="173"/>
                      </a:lnTo>
                      <a:lnTo>
                        <a:pt x="0" y="173"/>
                      </a:lnTo>
                      <a:lnTo>
                        <a:pt x="0" y="177"/>
                      </a:lnTo>
                      <a:lnTo>
                        <a:pt x="0" y="111"/>
                      </a:lnTo>
                      <a:lnTo>
                        <a:pt x="43" y="133"/>
                      </a:lnTo>
                      <a:lnTo>
                        <a:pt x="47" y="123"/>
                      </a:lnTo>
                      <a:lnTo>
                        <a:pt x="43" y="116"/>
                      </a:lnTo>
                      <a:lnTo>
                        <a:pt x="69" y="99"/>
                      </a:lnTo>
                      <a:lnTo>
                        <a:pt x="69" y="111"/>
                      </a:lnTo>
                      <a:lnTo>
                        <a:pt x="64" y="123"/>
                      </a:lnTo>
                      <a:lnTo>
                        <a:pt x="80" y="116"/>
                      </a:lnTo>
                      <a:lnTo>
                        <a:pt x="85" y="123"/>
                      </a:lnTo>
                      <a:lnTo>
                        <a:pt x="85" y="123"/>
                      </a:lnTo>
                      <a:lnTo>
                        <a:pt x="85" y="111"/>
                      </a:lnTo>
                      <a:lnTo>
                        <a:pt x="69" y="111"/>
                      </a:lnTo>
                      <a:lnTo>
                        <a:pt x="69" y="83"/>
                      </a:lnTo>
                      <a:lnTo>
                        <a:pt x="80" y="78"/>
                      </a:lnTo>
                      <a:lnTo>
                        <a:pt x="135" y="66"/>
                      </a:lnTo>
                      <a:lnTo>
                        <a:pt x="156" y="78"/>
                      </a:lnTo>
                      <a:lnTo>
                        <a:pt x="156" y="99"/>
                      </a:lnTo>
                      <a:lnTo>
                        <a:pt x="123" y="116"/>
                      </a:lnTo>
                      <a:lnTo>
                        <a:pt x="156" y="111"/>
                      </a:lnTo>
                      <a:lnTo>
                        <a:pt x="151" y="133"/>
                      </a:lnTo>
                      <a:lnTo>
                        <a:pt x="156" y="123"/>
                      </a:lnTo>
                      <a:lnTo>
                        <a:pt x="194" y="123"/>
                      </a:lnTo>
                      <a:lnTo>
                        <a:pt x="206" y="133"/>
                      </a:lnTo>
                      <a:lnTo>
                        <a:pt x="189" y="168"/>
                      </a:lnTo>
                      <a:lnTo>
                        <a:pt x="177" y="156"/>
                      </a:lnTo>
                      <a:lnTo>
                        <a:pt x="173" y="173"/>
                      </a:lnTo>
                      <a:lnTo>
                        <a:pt x="156" y="156"/>
                      </a:lnTo>
                      <a:lnTo>
                        <a:pt x="161" y="156"/>
                      </a:lnTo>
                      <a:lnTo>
                        <a:pt x="161" y="149"/>
                      </a:lnTo>
                      <a:lnTo>
                        <a:pt x="151" y="168"/>
                      </a:lnTo>
                      <a:lnTo>
                        <a:pt x="151" y="177"/>
                      </a:lnTo>
                      <a:lnTo>
                        <a:pt x="151" y="194"/>
                      </a:lnTo>
                      <a:lnTo>
                        <a:pt x="123" y="194"/>
                      </a:lnTo>
                      <a:lnTo>
                        <a:pt x="135" y="194"/>
                      </a:lnTo>
                      <a:lnTo>
                        <a:pt x="135" y="210"/>
                      </a:lnTo>
                      <a:lnTo>
                        <a:pt x="102" y="210"/>
                      </a:lnTo>
                      <a:lnTo>
                        <a:pt x="118" y="222"/>
                      </a:lnTo>
                      <a:lnTo>
                        <a:pt x="102" y="234"/>
                      </a:lnTo>
                      <a:lnTo>
                        <a:pt x="106" y="260"/>
                      </a:lnTo>
                      <a:lnTo>
                        <a:pt x="97" y="267"/>
                      </a:lnTo>
                      <a:lnTo>
                        <a:pt x="118" y="288"/>
                      </a:lnTo>
                      <a:lnTo>
                        <a:pt x="106" y="300"/>
                      </a:lnTo>
                      <a:lnTo>
                        <a:pt x="102" y="288"/>
                      </a:lnTo>
                      <a:lnTo>
                        <a:pt x="97" y="300"/>
                      </a:lnTo>
                      <a:lnTo>
                        <a:pt x="97" y="300"/>
                      </a:lnTo>
                      <a:lnTo>
                        <a:pt x="97" y="300"/>
                      </a:lnTo>
                      <a:close/>
                      <a:moveTo>
                        <a:pt x="43" y="111"/>
                      </a:moveTo>
                      <a:lnTo>
                        <a:pt x="26" y="99"/>
                      </a:lnTo>
                      <a:lnTo>
                        <a:pt x="31" y="99"/>
                      </a:lnTo>
                      <a:lnTo>
                        <a:pt x="54" y="83"/>
                      </a:lnTo>
                      <a:lnTo>
                        <a:pt x="47" y="99"/>
                      </a:lnTo>
                      <a:lnTo>
                        <a:pt x="43" y="111"/>
                      </a:lnTo>
                      <a:lnTo>
                        <a:pt x="43" y="111"/>
                      </a:lnTo>
                      <a:lnTo>
                        <a:pt x="43" y="111"/>
                      </a:lnTo>
                      <a:close/>
                      <a:moveTo>
                        <a:pt x="243" y="111"/>
                      </a:moveTo>
                      <a:lnTo>
                        <a:pt x="243" y="111"/>
                      </a:lnTo>
                      <a:lnTo>
                        <a:pt x="248" y="111"/>
                      </a:lnTo>
                      <a:lnTo>
                        <a:pt x="243" y="111"/>
                      </a:lnTo>
                      <a:lnTo>
                        <a:pt x="243" y="111"/>
                      </a:lnTo>
                      <a:lnTo>
                        <a:pt x="243" y="111"/>
                      </a:lnTo>
                      <a:close/>
                      <a:moveTo>
                        <a:pt x="243" y="260"/>
                      </a:moveTo>
                      <a:lnTo>
                        <a:pt x="215" y="260"/>
                      </a:lnTo>
                      <a:lnTo>
                        <a:pt x="210" y="210"/>
                      </a:lnTo>
                      <a:lnTo>
                        <a:pt x="194" y="206"/>
                      </a:lnTo>
                      <a:lnTo>
                        <a:pt x="215" y="210"/>
                      </a:lnTo>
                      <a:lnTo>
                        <a:pt x="243" y="194"/>
                      </a:lnTo>
                      <a:lnTo>
                        <a:pt x="215" y="177"/>
                      </a:lnTo>
                      <a:lnTo>
                        <a:pt x="260" y="177"/>
                      </a:lnTo>
                      <a:lnTo>
                        <a:pt x="248" y="194"/>
                      </a:lnTo>
                      <a:lnTo>
                        <a:pt x="260" y="210"/>
                      </a:lnTo>
                      <a:lnTo>
                        <a:pt x="265" y="189"/>
                      </a:lnTo>
                      <a:lnTo>
                        <a:pt x="281" y="206"/>
                      </a:lnTo>
                      <a:lnTo>
                        <a:pt x="269" y="210"/>
                      </a:lnTo>
                      <a:lnTo>
                        <a:pt x="281" y="210"/>
                      </a:lnTo>
                      <a:lnTo>
                        <a:pt x="269" y="189"/>
                      </a:lnTo>
                      <a:lnTo>
                        <a:pt x="265" y="177"/>
                      </a:lnTo>
                      <a:lnTo>
                        <a:pt x="298" y="168"/>
                      </a:lnTo>
                      <a:lnTo>
                        <a:pt x="319" y="173"/>
                      </a:lnTo>
                      <a:lnTo>
                        <a:pt x="312" y="189"/>
                      </a:lnTo>
                      <a:lnTo>
                        <a:pt x="319" y="210"/>
                      </a:lnTo>
                      <a:lnTo>
                        <a:pt x="286" y="234"/>
                      </a:lnTo>
                      <a:lnTo>
                        <a:pt x="302" y="251"/>
                      </a:lnTo>
                      <a:lnTo>
                        <a:pt x="269" y="267"/>
                      </a:lnTo>
                      <a:lnTo>
                        <a:pt x="286" y="267"/>
                      </a:lnTo>
                      <a:lnTo>
                        <a:pt x="286" y="284"/>
                      </a:lnTo>
                      <a:lnTo>
                        <a:pt x="265" y="284"/>
                      </a:lnTo>
                      <a:lnTo>
                        <a:pt x="260" y="279"/>
                      </a:lnTo>
                      <a:lnTo>
                        <a:pt x="260" y="267"/>
                      </a:lnTo>
                      <a:lnTo>
                        <a:pt x="260" y="260"/>
                      </a:lnTo>
                      <a:lnTo>
                        <a:pt x="243" y="260"/>
                      </a:lnTo>
                      <a:lnTo>
                        <a:pt x="243" y="260"/>
                      </a:lnTo>
                      <a:lnTo>
                        <a:pt x="243" y="260"/>
                      </a:lnTo>
                      <a:close/>
                      <a:moveTo>
                        <a:pt x="177" y="189"/>
                      </a:moveTo>
                      <a:lnTo>
                        <a:pt x="173" y="206"/>
                      </a:lnTo>
                      <a:lnTo>
                        <a:pt x="173" y="206"/>
                      </a:lnTo>
                      <a:lnTo>
                        <a:pt x="173" y="177"/>
                      </a:lnTo>
                      <a:lnTo>
                        <a:pt x="177" y="189"/>
                      </a:lnTo>
                      <a:lnTo>
                        <a:pt x="177" y="189"/>
                      </a:lnTo>
                      <a:lnTo>
                        <a:pt x="177" y="189"/>
                      </a:lnTo>
                      <a:close/>
                      <a:moveTo>
                        <a:pt x="319" y="222"/>
                      </a:moveTo>
                      <a:lnTo>
                        <a:pt x="319" y="222"/>
                      </a:lnTo>
                      <a:lnTo>
                        <a:pt x="312" y="222"/>
                      </a:lnTo>
                      <a:lnTo>
                        <a:pt x="319" y="210"/>
                      </a:lnTo>
                      <a:lnTo>
                        <a:pt x="319" y="222"/>
                      </a:lnTo>
                      <a:lnTo>
                        <a:pt x="319" y="222"/>
                      </a:lnTo>
                      <a:lnTo>
                        <a:pt x="319" y="222"/>
                      </a:lnTo>
                      <a:close/>
                      <a:moveTo>
                        <a:pt x="173" y="279"/>
                      </a:moveTo>
                      <a:lnTo>
                        <a:pt x="139" y="279"/>
                      </a:lnTo>
                      <a:lnTo>
                        <a:pt x="106" y="227"/>
                      </a:lnTo>
                      <a:lnTo>
                        <a:pt x="156" y="222"/>
                      </a:lnTo>
                      <a:lnTo>
                        <a:pt x="161" y="227"/>
                      </a:lnTo>
                      <a:lnTo>
                        <a:pt x="161" y="234"/>
                      </a:lnTo>
                      <a:lnTo>
                        <a:pt x="161" y="234"/>
                      </a:lnTo>
                      <a:lnTo>
                        <a:pt x="173" y="227"/>
                      </a:lnTo>
                      <a:lnTo>
                        <a:pt x="177" y="222"/>
                      </a:lnTo>
                      <a:lnTo>
                        <a:pt x="189" y="251"/>
                      </a:lnTo>
                      <a:lnTo>
                        <a:pt x="189" y="279"/>
                      </a:lnTo>
                      <a:lnTo>
                        <a:pt x="173" y="279"/>
                      </a:lnTo>
                      <a:lnTo>
                        <a:pt x="173" y="279"/>
                      </a:lnTo>
                      <a:lnTo>
                        <a:pt x="173" y="279"/>
                      </a:lnTo>
                      <a:close/>
                      <a:moveTo>
                        <a:pt x="26" y="244"/>
                      </a:moveTo>
                      <a:lnTo>
                        <a:pt x="14" y="234"/>
                      </a:lnTo>
                      <a:lnTo>
                        <a:pt x="26" y="234"/>
                      </a:lnTo>
                      <a:lnTo>
                        <a:pt x="26" y="244"/>
                      </a:lnTo>
                      <a:lnTo>
                        <a:pt x="26" y="244"/>
                      </a:lnTo>
                      <a:lnTo>
                        <a:pt x="26" y="244"/>
                      </a:lnTo>
                      <a:close/>
                      <a:moveTo>
                        <a:pt x="487" y="284"/>
                      </a:moveTo>
                      <a:lnTo>
                        <a:pt x="458" y="267"/>
                      </a:lnTo>
                      <a:lnTo>
                        <a:pt x="465" y="251"/>
                      </a:lnTo>
                      <a:lnTo>
                        <a:pt x="496" y="267"/>
                      </a:lnTo>
                      <a:lnTo>
                        <a:pt x="487" y="284"/>
                      </a:lnTo>
                      <a:lnTo>
                        <a:pt x="487" y="284"/>
                      </a:lnTo>
                      <a:lnTo>
                        <a:pt x="487" y="284"/>
                      </a:lnTo>
                      <a:close/>
                      <a:moveTo>
                        <a:pt x="177" y="305"/>
                      </a:moveTo>
                      <a:lnTo>
                        <a:pt x="177" y="288"/>
                      </a:lnTo>
                      <a:lnTo>
                        <a:pt x="206" y="267"/>
                      </a:lnTo>
                      <a:lnTo>
                        <a:pt x="177" y="305"/>
                      </a:lnTo>
                      <a:lnTo>
                        <a:pt x="177" y="305"/>
                      </a:lnTo>
                      <a:lnTo>
                        <a:pt x="177" y="305"/>
                      </a:lnTo>
                      <a:close/>
                      <a:moveTo>
                        <a:pt x="135" y="284"/>
                      </a:moveTo>
                      <a:lnTo>
                        <a:pt x="139" y="288"/>
                      </a:lnTo>
                      <a:lnTo>
                        <a:pt x="123" y="288"/>
                      </a:lnTo>
                      <a:lnTo>
                        <a:pt x="118" y="288"/>
                      </a:lnTo>
                      <a:lnTo>
                        <a:pt x="118" y="284"/>
                      </a:lnTo>
                      <a:lnTo>
                        <a:pt x="118" y="284"/>
                      </a:lnTo>
                      <a:lnTo>
                        <a:pt x="118" y="279"/>
                      </a:lnTo>
                      <a:lnTo>
                        <a:pt x="106" y="279"/>
                      </a:lnTo>
                      <a:lnTo>
                        <a:pt x="135" y="284"/>
                      </a:lnTo>
                      <a:lnTo>
                        <a:pt x="135" y="284"/>
                      </a:lnTo>
                      <a:lnTo>
                        <a:pt x="135" y="284"/>
                      </a:lnTo>
                      <a:close/>
                      <a:moveTo>
                        <a:pt x="173" y="284"/>
                      </a:moveTo>
                      <a:lnTo>
                        <a:pt x="161" y="284"/>
                      </a:lnTo>
                      <a:lnTo>
                        <a:pt x="177" y="284"/>
                      </a:lnTo>
                      <a:lnTo>
                        <a:pt x="173" y="284"/>
                      </a:lnTo>
                      <a:lnTo>
                        <a:pt x="173" y="284"/>
                      </a:lnTo>
                      <a:lnTo>
                        <a:pt x="173" y="284"/>
                      </a:lnTo>
                      <a:close/>
                      <a:moveTo>
                        <a:pt x="286" y="288"/>
                      </a:moveTo>
                      <a:lnTo>
                        <a:pt x="281" y="284"/>
                      </a:lnTo>
                      <a:lnTo>
                        <a:pt x="298" y="279"/>
                      </a:lnTo>
                      <a:lnTo>
                        <a:pt x="312" y="284"/>
                      </a:lnTo>
                      <a:lnTo>
                        <a:pt x="286" y="288"/>
                      </a:lnTo>
                      <a:lnTo>
                        <a:pt x="286" y="288"/>
                      </a:lnTo>
                      <a:lnTo>
                        <a:pt x="286" y="288"/>
                      </a:lnTo>
                      <a:close/>
                      <a:moveTo>
                        <a:pt x="265" y="284"/>
                      </a:moveTo>
                      <a:lnTo>
                        <a:pt x="286" y="300"/>
                      </a:lnTo>
                      <a:lnTo>
                        <a:pt x="269" y="317"/>
                      </a:lnTo>
                      <a:lnTo>
                        <a:pt x="269" y="321"/>
                      </a:lnTo>
                      <a:lnTo>
                        <a:pt x="248" y="288"/>
                      </a:lnTo>
                      <a:lnTo>
                        <a:pt x="265" y="284"/>
                      </a:lnTo>
                      <a:lnTo>
                        <a:pt x="265" y="284"/>
                      </a:lnTo>
                      <a:lnTo>
                        <a:pt x="265" y="284"/>
                      </a:lnTo>
                      <a:close/>
                      <a:moveTo>
                        <a:pt x="206" y="300"/>
                      </a:moveTo>
                      <a:lnTo>
                        <a:pt x="210" y="288"/>
                      </a:lnTo>
                      <a:lnTo>
                        <a:pt x="215" y="284"/>
                      </a:lnTo>
                      <a:lnTo>
                        <a:pt x="243" y="300"/>
                      </a:lnTo>
                      <a:lnTo>
                        <a:pt x="248" y="288"/>
                      </a:lnTo>
                      <a:lnTo>
                        <a:pt x="265" y="317"/>
                      </a:lnTo>
                      <a:lnTo>
                        <a:pt x="232" y="317"/>
                      </a:lnTo>
                      <a:lnTo>
                        <a:pt x="206" y="300"/>
                      </a:lnTo>
                      <a:lnTo>
                        <a:pt x="206" y="300"/>
                      </a:lnTo>
                      <a:lnTo>
                        <a:pt x="206" y="300"/>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20" name="Freeform 431">
                  <a:extLst>
                    <a:ext uri="{FF2B5EF4-FFF2-40B4-BE49-F238E27FC236}">
                      <a16:creationId xmlns:a16="http://schemas.microsoft.com/office/drawing/2014/main" id="{0A6F25ED-F17C-4CFC-ABBB-66730CB5D766}"/>
                    </a:ext>
                  </a:extLst>
                </p:cNvPr>
                <p:cNvSpPr>
                  <a:spLocks noEditPoints="1"/>
                </p:cNvSpPr>
                <p:nvPr/>
              </p:nvSpPr>
              <p:spPr bwMode="gray">
                <a:xfrm>
                  <a:off x="6424894" y="2230456"/>
                  <a:ext cx="125147" cy="158511"/>
                </a:xfrm>
                <a:custGeom>
                  <a:avLst/>
                  <a:gdLst>
                    <a:gd name="T0" fmla="*/ 198 w 304"/>
                    <a:gd name="T1" fmla="*/ 59 h 385"/>
                    <a:gd name="T2" fmla="*/ 193 w 304"/>
                    <a:gd name="T3" fmla="*/ 75 h 385"/>
                    <a:gd name="T4" fmla="*/ 181 w 304"/>
                    <a:gd name="T5" fmla="*/ 116 h 385"/>
                    <a:gd name="T6" fmla="*/ 236 w 304"/>
                    <a:gd name="T7" fmla="*/ 92 h 385"/>
                    <a:gd name="T8" fmla="*/ 288 w 304"/>
                    <a:gd name="T9" fmla="*/ 125 h 385"/>
                    <a:gd name="T10" fmla="*/ 283 w 304"/>
                    <a:gd name="T11" fmla="*/ 132 h 385"/>
                    <a:gd name="T12" fmla="*/ 304 w 304"/>
                    <a:gd name="T13" fmla="*/ 182 h 385"/>
                    <a:gd name="T14" fmla="*/ 304 w 304"/>
                    <a:gd name="T15" fmla="*/ 220 h 385"/>
                    <a:gd name="T16" fmla="*/ 288 w 304"/>
                    <a:gd name="T17" fmla="*/ 264 h 385"/>
                    <a:gd name="T18" fmla="*/ 274 w 304"/>
                    <a:gd name="T19" fmla="*/ 298 h 385"/>
                    <a:gd name="T20" fmla="*/ 283 w 304"/>
                    <a:gd name="T21" fmla="*/ 314 h 385"/>
                    <a:gd name="T22" fmla="*/ 236 w 304"/>
                    <a:gd name="T23" fmla="*/ 298 h 385"/>
                    <a:gd name="T24" fmla="*/ 198 w 304"/>
                    <a:gd name="T25" fmla="*/ 319 h 385"/>
                    <a:gd name="T26" fmla="*/ 181 w 304"/>
                    <a:gd name="T27" fmla="*/ 331 h 385"/>
                    <a:gd name="T28" fmla="*/ 160 w 304"/>
                    <a:gd name="T29" fmla="*/ 347 h 385"/>
                    <a:gd name="T30" fmla="*/ 155 w 304"/>
                    <a:gd name="T31" fmla="*/ 335 h 385"/>
                    <a:gd name="T32" fmla="*/ 144 w 304"/>
                    <a:gd name="T33" fmla="*/ 335 h 385"/>
                    <a:gd name="T34" fmla="*/ 122 w 304"/>
                    <a:gd name="T35" fmla="*/ 368 h 385"/>
                    <a:gd name="T36" fmla="*/ 70 w 304"/>
                    <a:gd name="T37" fmla="*/ 373 h 385"/>
                    <a:gd name="T38" fmla="*/ 59 w 304"/>
                    <a:gd name="T39" fmla="*/ 368 h 385"/>
                    <a:gd name="T40" fmla="*/ 70 w 304"/>
                    <a:gd name="T41" fmla="*/ 364 h 385"/>
                    <a:gd name="T42" fmla="*/ 21 w 304"/>
                    <a:gd name="T43" fmla="*/ 368 h 385"/>
                    <a:gd name="T44" fmla="*/ 21 w 304"/>
                    <a:gd name="T45" fmla="*/ 352 h 385"/>
                    <a:gd name="T46" fmla="*/ 4 w 304"/>
                    <a:gd name="T47" fmla="*/ 352 h 385"/>
                    <a:gd name="T48" fmla="*/ 16 w 304"/>
                    <a:gd name="T49" fmla="*/ 331 h 385"/>
                    <a:gd name="T50" fmla="*/ 0 w 304"/>
                    <a:gd name="T51" fmla="*/ 319 h 385"/>
                    <a:gd name="T52" fmla="*/ 21 w 304"/>
                    <a:gd name="T53" fmla="*/ 298 h 385"/>
                    <a:gd name="T54" fmla="*/ 49 w 304"/>
                    <a:gd name="T55" fmla="*/ 290 h 385"/>
                    <a:gd name="T56" fmla="*/ 113 w 304"/>
                    <a:gd name="T57" fmla="*/ 264 h 385"/>
                    <a:gd name="T58" fmla="*/ 92 w 304"/>
                    <a:gd name="T59" fmla="*/ 264 h 385"/>
                    <a:gd name="T60" fmla="*/ 70 w 304"/>
                    <a:gd name="T61" fmla="*/ 253 h 385"/>
                    <a:gd name="T62" fmla="*/ 70 w 304"/>
                    <a:gd name="T63" fmla="*/ 236 h 385"/>
                    <a:gd name="T64" fmla="*/ 106 w 304"/>
                    <a:gd name="T65" fmla="*/ 220 h 385"/>
                    <a:gd name="T66" fmla="*/ 59 w 304"/>
                    <a:gd name="T67" fmla="*/ 208 h 385"/>
                    <a:gd name="T68" fmla="*/ 49 w 304"/>
                    <a:gd name="T69" fmla="*/ 203 h 385"/>
                    <a:gd name="T70" fmla="*/ 49 w 304"/>
                    <a:gd name="T71" fmla="*/ 187 h 385"/>
                    <a:gd name="T72" fmla="*/ 16 w 304"/>
                    <a:gd name="T73" fmla="*/ 182 h 385"/>
                    <a:gd name="T74" fmla="*/ 37 w 304"/>
                    <a:gd name="T75" fmla="*/ 170 h 385"/>
                    <a:gd name="T76" fmla="*/ 59 w 304"/>
                    <a:gd name="T77" fmla="*/ 153 h 385"/>
                    <a:gd name="T78" fmla="*/ 37 w 304"/>
                    <a:gd name="T79" fmla="*/ 149 h 385"/>
                    <a:gd name="T80" fmla="*/ 49 w 304"/>
                    <a:gd name="T81" fmla="*/ 142 h 385"/>
                    <a:gd name="T82" fmla="*/ 21 w 304"/>
                    <a:gd name="T83" fmla="*/ 125 h 385"/>
                    <a:gd name="T84" fmla="*/ 33 w 304"/>
                    <a:gd name="T85" fmla="*/ 99 h 385"/>
                    <a:gd name="T86" fmla="*/ 49 w 304"/>
                    <a:gd name="T87" fmla="*/ 99 h 385"/>
                    <a:gd name="T88" fmla="*/ 92 w 304"/>
                    <a:gd name="T89" fmla="*/ 116 h 385"/>
                    <a:gd name="T90" fmla="*/ 139 w 304"/>
                    <a:gd name="T91" fmla="*/ 109 h 385"/>
                    <a:gd name="T92" fmla="*/ 155 w 304"/>
                    <a:gd name="T93" fmla="*/ 87 h 385"/>
                    <a:gd name="T94" fmla="*/ 127 w 304"/>
                    <a:gd name="T95" fmla="*/ 75 h 385"/>
                    <a:gd name="T96" fmla="*/ 144 w 304"/>
                    <a:gd name="T97" fmla="*/ 42 h 385"/>
                    <a:gd name="T98" fmla="*/ 144 w 304"/>
                    <a:gd name="T99" fmla="*/ 38 h 385"/>
                    <a:gd name="T100" fmla="*/ 144 w 304"/>
                    <a:gd name="T101" fmla="*/ 21 h 385"/>
                    <a:gd name="T102" fmla="*/ 193 w 304"/>
                    <a:gd name="T103" fmla="*/ 33 h 385"/>
                    <a:gd name="T104" fmla="*/ 181 w 304"/>
                    <a:gd name="T105" fmla="*/ 16 h 385"/>
                    <a:gd name="T106" fmla="*/ 207 w 304"/>
                    <a:gd name="T107" fmla="*/ 21 h 385"/>
                    <a:gd name="T108" fmla="*/ 207 w 304"/>
                    <a:gd name="T109" fmla="*/ 33 h 385"/>
                    <a:gd name="T110" fmla="*/ 215 w 304"/>
                    <a:gd name="T111" fmla="*/ 5 h 385"/>
                    <a:gd name="T112" fmla="*/ 245 w 304"/>
                    <a:gd name="T113" fmla="*/ 16 h 385"/>
                    <a:gd name="T114" fmla="*/ 219 w 304"/>
                    <a:gd name="T115" fmla="*/ 33 h 385"/>
                    <a:gd name="T116" fmla="*/ 21 w 304"/>
                    <a:gd name="T117" fmla="*/ 132 h 385"/>
                    <a:gd name="T118" fmla="*/ 37 w 304"/>
                    <a:gd name="T119" fmla="*/ 149 h 385"/>
                    <a:gd name="T120" fmla="*/ 21 w 304"/>
                    <a:gd name="T121" fmla="*/ 132 h 385"/>
                    <a:gd name="T122" fmla="*/ 21 w 304"/>
                    <a:gd name="T123" fmla="*/ 132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4" h="385">
                      <a:moveTo>
                        <a:pt x="219" y="33"/>
                      </a:moveTo>
                      <a:lnTo>
                        <a:pt x="198" y="59"/>
                      </a:lnTo>
                      <a:lnTo>
                        <a:pt x="177" y="71"/>
                      </a:lnTo>
                      <a:lnTo>
                        <a:pt x="193" y="75"/>
                      </a:lnTo>
                      <a:lnTo>
                        <a:pt x="160" y="92"/>
                      </a:lnTo>
                      <a:lnTo>
                        <a:pt x="181" y="116"/>
                      </a:lnTo>
                      <a:lnTo>
                        <a:pt x="219" y="125"/>
                      </a:lnTo>
                      <a:lnTo>
                        <a:pt x="236" y="92"/>
                      </a:lnTo>
                      <a:lnTo>
                        <a:pt x="266" y="132"/>
                      </a:lnTo>
                      <a:lnTo>
                        <a:pt x="288" y="125"/>
                      </a:lnTo>
                      <a:lnTo>
                        <a:pt x="304" y="132"/>
                      </a:lnTo>
                      <a:lnTo>
                        <a:pt x="283" y="132"/>
                      </a:lnTo>
                      <a:lnTo>
                        <a:pt x="283" y="142"/>
                      </a:lnTo>
                      <a:lnTo>
                        <a:pt x="304" y="182"/>
                      </a:lnTo>
                      <a:lnTo>
                        <a:pt x="288" y="198"/>
                      </a:lnTo>
                      <a:lnTo>
                        <a:pt x="304" y="220"/>
                      </a:lnTo>
                      <a:lnTo>
                        <a:pt x="304" y="236"/>
                      </a:lnTo>
                      <a:lnTo>
                        <a:pt x="288" y="264"/>
                      </a:lnTo>
                      <a:lnTo>
                        <a:pt x="300" y="274"/>
                      </a:lnTo>
                      <a:lnTo>
                        <a:pt x="274" y="298"/>
                      </a:lnTo>
                      <a:lnTo>
                        <a:pt x="288" y="307"/>
                      </a:lnTo>
                      <a:lnTo>
                        <a:pt x="283" y="314"/>
                      </a:lnTo>
                      <a:lnTo>
                        <a:pt x="245" y="314"/>
                      </a:lnTo>
                      <a:lnTo>
                        <a:pt x="236" y="298"/>
                      </a:lnTo>
                      <a:lnTo>
                        <a:pt x="236" y="314"/>
                      </a:lnTo>
                      <a:lnTo>
                        <a:pt x="198" y="319"/>
                      </a:lnTo>
                      <a:lnTo>
                        <a:pt x="198" y="331"/>
                      </a:lnTo>
                      <a:lnTo>
                        <a:pt x="181" y="331"/>
                      </a:lnTo>
                      <a:lnTo>
                        <a:pt x="177" y="335"/>
                      </a:lnTo>
                      <a:lnTo>
                        <a:pt x="160" y="347"/>
                      </a:lnTo>
                      <a:lnTo>
                        <a:pt x="155" y="347"/>
                      </a:lnTo>
                      <a:lnTo>
                        <a:pt x="155" y="335"/>
                      </a:lnTo>
                      <a:lnTo>
                        <a:pt x="139" y="335"/>
                      </a:lnTo>
                      <a:lnTo>
                        <a:pt x="144" y="335"/>
                      </a:lnTo>
                      <a:lnTo>
                        <a:pt x="144" y="352"/>
                      </a:lnTo>
                      <a:lnTo>
                        <a:pt x="122" y="368"/>
                      </a:lnTo>
                      <a:lnTo>
                        <a:pt x="85" y="373"/>
                      </a:lnTo>
                      <a:lnTo>
                        <a:pt x="70" y="373"/>
                      </a:lnTo>
                      <a:lnTo>
                        <a:pt x="49" y="385"/>
                      </a:lnTo>
                      <a:lnTo>
                        <a:pt x="59" y="368"/>
                      </a:lnTo>
                      <a:lnTo>
                        <a:pt x="49" y="368"/>
                      </a:lnTo>
                      <a:lnTo>
                        <a:pt x="70" y="364"/>
                      </a:lnTo>
                      <a:lnTo>
                        <a:pt x="59" y="352"/>
                      </a:lnTo>
                      <a:lnTo>
                        <a:pt x="21" y="368"/>
                      </a:lnTo>
                      <a:lnTo>
                        <a:pt x="59" y="335"/>
                      </a:lnTo>
                      <a:lnTo>
                        <a:pt x="21" y="352"/>
                      </a:lnTo>
                      <a:lnTo>
                        <a:pt x="16" y="347"/>
                      </a:lnTo>
                      <a:lnTo>
                        <a:pt x="4" y="352"/>
                      </a:lnTo>
                      <a:lnTo>
                        <a:pt x="4" y="335"/>
                      </a:lnTo>
                      <a:lnTo>
                        <a:pt x="16" y="331"/>
                      </a:lnTo>
                      <a:lnTo>
                        <a:pt x="49" y="314"/>
                      </a:lnTo>
                      <a:lnTo>
                        <a:pt x="0" y="319"/>
                      </a:lnTo>
                      <a:lnTo>
                        <a:pt x="0" y="314"/>
                      </a:lnTo>
                      <a:lnTo>
                        <a:pt x="21" y="298"/>
                      </a:lnTo>
                      <a:lnTo>
                        <a:pt x="49" y="307"/>
                      </a:lnTo>
                      <a:lnTo>
                        <a:pt x="49" y="290"/>
                      </a:lnTo>
                      <a:lnTo>
                        <a:pt x="54" y="274"/>
                      </a:lnTo>
                      <a:lnTo>
                        <a:pt x="113" y="264"/>
                      </a:lnTo>
                      <a:lnTo>
                        <a:pt x="101" y="257"/>
                      </a:lnTo>
                      <a:lnTo>
                        <a:pt x="92" y="264"/>
                      </a:lnTo>
                      <a:lnTo>
                        <a:pt x="37" y="274"/>
                      </a:lnTo>
                      <a:lnTo>
                        <a:pt x="70" y="253"/>
                      </a:lnTo>
                      <a:lnTo>
                        <a:pt x="75" y="241"/>
                      </a:lnTo>
                      <a:lnTo>
                        <a:pt x="70" y="236"/>
                      </a:lnTo>
                      <a:lnTo>
                        <a:pt x="85" y="220"/>
                      </a:lnTo>
                      <a:lnTo>
                        <a:pt x="106" y="220"/>
                      </a:lnTo>
                      <a:lnTo>
                        <a:pt x="106" y="203"/>
                      </a:lnTo>
                      <a:lnTo>
                        <a:pt x="59" y="208"/>
                      </a:lnTo>
                      <a:lnTo>
                        <a:pt x="59" y="198"/>
                      </a:lnTo>
                      <a:lnTo>
                        <a:pt x="49" y="203"/>
                      </a:lnTo>
                      <a:lnTo>
                        <a:pt x="37" y="203"/>
                      </a:lnTo>
                      <a:lnTo>
                        <a:pt x="49" y="187"/>
                      </a:lnTo>
                      <a:lnTo>
                        <a:pt x="21" y="198"/>
                      </a:lnTo>
                      <a:lnTo>
                        <a:pt x="16" y="182"/>
                      </a:lnTo>
                      <a:lnTo>
                        <a:pt x="54" y="170"/>
                      </a:lnTo>
                      <a:lnTo>
                        <a:pt x="37" y="170"/>
                      </a:lnTo>
                      <a:lnTo>
                        <a:pt x="37" y="153"/>
                      </a:lnTo>
                      <a:lnTo>
                        <a:pt x="59" y="153"/>
                      </a:lnTo>
                      <a:lnTo>
                        <a:pt x="59" y="149"/>
                      </a:lnTo>
                      <a:lnTo>
                        <a:pt x="37" y="149"/>
                      </a:lnTo>
                      <a:lnTo>
                        <a:pt x="37" y="142"/>
                      </a:lnTo>
                      <a:lnTo>
                        <a:pt x="49" y="142"/>
                      </a:lnTo>
                      <a:lnTo>
                        <a:pt x="33" y="109"/>
                      </a:lnTo>
                      <a:lnTo>
                        <a:pt x="21" y="125"/>
                      </a:lnTo>
                      <a:lnTo>
                        <a:pt x="21" y="109"/>
                      </a:lnTo>
                      <a:lnTo>
                        <a:pt x="33" y="99"/>
                      </a:lnTo>
                      <a:lnTo>
                        <a:pt x="37" y="116"/>
                      </a:lnTo>
                      <a:lnTo>
                        <a:pt x="49" y="99"/>
                      </a:lnTo>
                      <a:lnTo>
                        <a:pt x="75" y="99"/>
                      </a:lnTo>
                      <a:lnTo>
                        <a:pt x="92" y="116"/>
                      </a:lnTo>
                      <a:lnTo>
                        <a:pt x="101" y="109"/>
                      </a:lnTo>
                      <a:lnTo>
                        <a:pt x="139" y="109"/>
                      </a:lnTo>
                      <a:lnTo>
                        <a:pt x="122" y="99"/>
                      </a:lnTo>
                      <a:lnTo>
                        <a:pt x="155" y="87"/>
                      </a:lnTo>
                      <a:lnTo>
                        <a:pt x="160" y="71"/>
                      </a:lnTo>
                      <a:lnTo>
                        <a:pt x="127" y="75"/>
                      </a:lnTo>
                      <a:lnTo>
                        <a:pt x="113" y="71"/>
                      </a:lnTo>
                      <a:lnTo>
                        <a:pt x="144" y="42"/>
                      </a:lnTo>
                      <a:lnTo>
                        <a:pt x="139" y="38"/>
                      </a:lnTo>
                      <a:lnTo>
                        <a:pt x="144" y="38"/>
                      </a:lnTo>
                      <a:lnTo>
                        <a:pt x="139" y="38"/>
                      </a:lnTo>
                      <a:lnTo>
                        <a:pt x="144" y="21"/>
                      </a:lnTo>
                      <a:lnTo>
                        <a:pt x="181" y="16"/>
                      </a:lnTo>
                      <a:lnTo>
                        <a:pt x="193" y="33"/>
                      </a:lnTo>
                      <a:lnTo>
                        <a:pt x="193" y="16"/>
                      </a:lnTo>
                      <a:lnTo>
                        <a:pt x="181" y="16"/>
                      </a:lnTo>
                      <a:lnTo>
                        <a:pt x="193" y="5"/>
                      </a:lnTo>
                      <a:lnTo>
                        <a:pt x="207" y="21"/>
                      </a:lnTo>
                      <a:lnTo>
                        <a:pt x="193" y="38"/>
                      </a:lnTo>
                      <a:lnTo>
                        <a:pt x="207" y="33"/>
                      </a:lnTo>
                      <a:lnTo>
                        <a:pt x="198" y="16"/>
                      </a:lnTo>
                      <a:lnTo>
                        <a:pt x="215" y="5"/>
                      </a:lnTo>
                      <a:lnTo>
                        <a:pt x="215" y="0"/>
                      </a:lnTo>
                      <a:lnTo>
                        <a:pt x="245" y="16"/>
                      </a:lnTo>
                      <a:lnTo>
                        <a:pt x="219" y="33"/>
                      </a:lnTo>
                      <a:lnTo>
                        <a:pt x="219" y="33"/>
                      </a:lnTo>
                      <a:lnTo>
                        <a:pt x="219" y="33"/>
                      </a:lnTo>
                      <a:close/>
                      <a:moveTo>
                        <a:pt x="21" y="132"/>
                      </a:moveTo>
                      <a:lnTo>
                        <a:pt x="33" y="132"/>
                      </a:lnTo>
                      <a:lnTo>
                        <a:pt x="37" y="149"/>
                      </a:lnTo>
                      <a:lnTo>
                        <a:pt x="16" y="142"/>
                      </a:lnTo>
                      <a:lnTo>
                        <a:pt x="21" y="132"/>
                      </a:lnTo>
                      <a:lnTo>
                        <a:pt x="21" y="132"/>
                      </a:lnTo>
                      <a:lnTo>
                        <a:pt x="21" y="132"/>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21" name="Freeform 433">
                  <a:extLst>
                    <a:ext uri="{FF2B5EF4-FFF2-40B4-BE49-F238E27FC236}">
                      <a16:creationId xmlns:a16="http://schemas.microsoft.com/office/drawing/2014/main" id="{393A30AD-B784-4FC6-905C-3206C4BDA741}"/>
                    </a:ext>
                  </a:extLst>
                </p:cNvPr>
                <p:cNvSpPr>
                  <a:spLocks noEditPoints="1"/>
                </p:cNvSpPr>
                <p:nvPr/>
              </p:nvSpPr>
              <p:spPr bwMode="gray">
                <a:xfrm>
                  <a:off x="7356503" y="2048477"/>
                  <a:ext cx="182782" cy="89755"/>
                </a:xfrm>
                <a:custGeom>
                  <a:avLst/>
                  <a:gdLst>
                    <a:gd name="T0" fmla="*/ 359 w 444"/>
                    <a:gd name="T1" fmla="*/ 208 h 218"/>
                    <a:gd name="T2" fmla="*/ 295 w 444"/>
                    <a:gd name="T3" fmla="*/ 184 h 218"/>
                    <a:gd name="T4" fmla="*/ 240 w 444"/>
                    <a:gd name="T5" fmla="*/ 168 h 218"/>
                    <a:gd name="T6" fmla="*/ 177 w 444"/>
                    <a:gd name="T7" fmla="*/ 184 h 218"/>
                    <a:gd name="T8" fmla="*/ 177 w 444"/>
                    <a:gd name="T9" fmla="*/ 130 h 218"/>
                    <a:gd name="T10" fmla="*/ 132 w 444"/>
                    <a:gd name="T11" fmla="*/ 130 h 218"/>
                    <a:gd name="T12" fmla="*/ 122 w 444"/>
                    <a:gd name="T13" fmla="*/ 97 h 218"/>
                    <a:gd name="T14" fmla="*/ 111 w 444"/>
                    <a:gd name="T15" fmla="*/ 88 h 218"/>
                    <a:gd name="T16" fmla="*/ 127 w 444"/>
                    <a:gd name="T17" fmla="*/ 71 h 218"/>
                    <a:gd name="T18" fmla="*/ 127 w 444"/>
                    <a:gd name="T19" fmla="*/ 71 h 218"/>
                    <a:gd name="T20" fmla="*/ 111 w 444"/>
                    <a:gd name="T21" fmla="*/ 43 h 218"/>
                    <a:gd name="T22" fmla="*/ 160 w 444"/>
                    <a:gd name="T23" fmla="*/ 21 h 218"/>
                    <a:gd name="T24" fmla="*/ 177 w 444"/>
                    <a:gd name="T25" fmla="*/ 14 h 218"/>
                    <a:gd name="T26" fmla="*/ 203 w 444"/>
                    <a:gd name="T27" fmla="*/ 5 h 218"/>
                    <a:gd name="T28" fmla="*/ 257 w 444"/>
                    <a:gd name="T29" fmla="*/ 0 h 218"/>
                    <a:gd name="T30" fmla="*/ 274 w 444"/>
                    <a:gd name="T31" fmla="*/ 0 h 218"/>
                    <a:gd name="T32" fmla="*/ 418 w 444"/>
                    <a:gd name="T33" fmla="*/ 21 h 218"/>
                    <a:gd name="T34" fmla="*/ 444 w 444"/>
                    <a:gd name="T35" fmla="*/ 26 h 218"/>
                    <a:gd name="T36" fmla="*/ 429 w 444"/>
                    <a:gd name="T37" fmla="*/ 38 h 218"/>
                    <a:gd name="T38" fmla="*/ 392 w 444"/>
                    <a:gd name="T39" fmla="*/ 88 h 218"/>
                    <a:gd name="T40" fmla="*/ 396 w 444"/>
                    <a:gd name="T41" fmla="*/ 147 h 218"/>
                    <a:gd name="T42" fmla="*/ 396 w 444"/>
                    <a:gd name="T43" fmla="*/ 184 h 218"/>
                    <a:gd name="T44" fmla="*/ 392 w 444"/>
                    <a:gd name="T45" fmla="*/ 218 h 218"/>
                    <a:gd name="T46" fmla="*/ 52 w 444"/>
                    <a:gd name="T47" fmla="*/ 97 h 218"/>
                    <a:gd name="T48" fmla="*/ 35 w 444"/>
                    <a:gd name="T49" fmla="*/ 76 h 218"/>
                    <a:gd name="T50" fmla="*/ 35 w 444"/>
                    <a:gd name="T51" fmla="*/ 71 h 218"/>
                    <a:gd name="T52" fmla="*/ 73 w 444"/>
                    <a:gd name="T53" fmla="*/ 71 h 218"/>
                    <a:gd name="T54" fmla="*/ 68 w 444"/>
                    <a:gd name="T55" fmla="*/ 88 h 218"/>
                    <a:gd name="T56" fmla="*/ 52 w 444"/>
                    <a:gd name="T57" fmla="*/ 97 h 218"/>
                    <a:gd name="T58" fmla="*/ 96 w 444"/>
                    <a:gd name="T59" fmla="*/ 59 h 218"/>
                    <a:gd name="T60" fmla="*/ 89 w 444"/>
                    <a:gd name="T61" fmla="*/ 71 h 218"/>
                    <a:gd name="T62" fmla="*/ 96 w 444"/>
                    <a:gd name="T63" fmla="*/ 59 h 218"/>
                    <a:gd name="T64" fmla="*/ 96 w 444"/>
                    <a:gd name="T65" fmla="*/ 59 h 218"/>
                    <a:gd name="T66" fmla="*/ 111 w 444"/>
                    <a:gd name="T67" fmla="*/ 114 h 218"/>
                    <a:gd name="T68" fmla="*/ 96 w 444"/>
                    <a:gd name="T69" fmla="*/ 97 h 218"/>
                    <a:gd name="T70" fmla="*/ 96 w 444"/>
                    <a:gd name="T71" fmla="*/ 97 h 218"/>
                    <a:gd name="T72" fmla="*/ 14 w 444"/>
                    <a:gd name="T73" fmla="*/ 168 h 218"/>
                    <a:gd name="T74" fmla="*/ 4 w 444"/>
                    <a:gd name="T75" fmla="*/ 142 h 218"/>
                    <a:gd name="T76" fmla="*/ 0 w 444"/>
                    <a:gd name="T77" fmla="*/ 114 h 218"/>
                    <a:gd name="T78" fmla="*/ 106 w 444"/>
                    <a:gd name="T79" fmla="*/ 125 h 218"/>
                    <a:gd name="T80" fmla="*/ 68 w 444"/>
                    <a:gd name="T81" fmla="*/ 147 h 218"/>
                    <a:gd name="T82" fmla="*/ 26 w 444"/>
                    <a:gd name="T83" fmla="*/ 168 h 218"/>
                    <a:gd name="T84" fmla="*/ 14 w 444"/>
                    <a:gd name="T85" fmla="*/ 18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4" h="218">
                      <a:moveTo>
                        <a:pt x="392" y="218"/>
                      </a:moveTo>
                      <a:lnTo>
                        <a:pt x="359" y="208"/>
                      </a:lnTo>
                      <a:lnTo>
                        <a:pt x="326" y="218"/>
                      </a:lnTo>
                      <a:lnTo>
                        <a:pt x="295" y="184"/>
                      </a:lnTo>
                      <a:lnTo>
                        <a:pt x="240" y="163"/>
                      </a:lnTo>
                      <a:lnTo>
                        <a:pt x="240" y="168"/>
                      </a:lnTo>
                      <a:lnTo>
                        <a:pt x="229" y="163"/>
                      </a:lnTo>
                      <a:lnTo>
                        <a:pt x="177" y="184"/>
                      </a:lnTo>
                      <a:lnTo>
                        <a:pt x="186" y="142"/>
                      </a:lnTo>
                      <a:lnTo>
                        <a:pt x="177" y="130"/>
                      </a:lnTo>
                      <a:lnTo>
                        <a:pt x="160" y="147"/>
                      </a:lnTo>
                      <a:lnTo>
                        <a:pt x="132" y="130"/>
                      </a:lnTo>
                      <a:lnTo>
                        <a:pt x="122" y="109"/>
                      </a:lnTo>
                      <a:lnTo>
                        <a:pt x="122" y="97"/>
                      </a:lnTo>
                      <a:lnTo>
                        <a:pt x="144" y="92"/>
                      </a:lnTo>
                      <a:lnTo>
                        <a:pt x="111" y="88"/>
                      </a:lnTo>
                      <a:lnTo>
                        <a:pt x="111" y="76"/>
                      </a:lnTo>
                      <a:lnTo>
                        <a:pt x="127" y="71"/>
                      </a:lnTo>
                      <a:lnTo>
                        <a:pt x="122" y="59"/>
                      </a:lnTo>
                      <a:lnTo>
                        <a:pt x="127" y="71"/>
                      </a:lnTo>
                      <a:lnTo>
                        <a:pt x="111" y="59"/>
                      </a:lnTo>
                      <a:lnTo>
                        <a:pt x="111" y="43"/>
                      </a:lnTo>
                      <a:lnTo>
                        <a:pt x="148" y="38"/>
                      </a:lnTo>
                      <a:lnTo>
                        <a:pt x="160" y="21"/>
                      </a:lnTo>
                      <a:lnTo>
                        <a:pt x="165" y="26"/>
                      </a:lnTo>
                      <a:lnTo>
                        <a:pt x="177" y="14"/>
                      </a:lnTo>
                      <a:lnTo>
                        <a:pt x="203" y="21"/>
                      </a:lnTo>
                      <a:lnTo>
                        <a:pt x="203" y="5"/>
                      </a:lnTo>
                      <a:lnTo>
                        <a:pt x="252" y="14"/>
                      </a:lnTo>
                      <a:lnTo>
                        <a:pt x="257" y="0"/>
                      </a:lnTo>
                      <a:lnTo>
                        <a:pt x="266" y="5"/>
                      </a:lnTo>
                      <a:lnTo>
                        <a:pt x="274" y="0"/>
                      </a:lnTo>
                      <a:lnTo>
                        <a:pt x="359" y="21"/>
                      </a:lnTo>
                      <a:lnTo>
                        <a:pt x="418" y="21"/>
                      </a:lnTo>
                      <a:lnTo>
                        <a:pt x="434" y="14"/>
                      </a:lnTo>
                      <a:lnTo>
                        <a:pt x="444" y="26"/>
                      </a:lnTo>
                      <a:lnTo>
                        <a:pt x="444" y="38"/>
                      </a:lnTo>
                      <a:lnTo>
                        <a:pt x="429" y="38"/>
                      </a:lnTo>
                      <a:lnTo>
                        <a:pt x="418" y="59"/>
                      </a:lnTo>
                      <a:lnTo>
                        <a:pt x="392" y="88"/>
                      </a:lnTo>
                      <a:lnTo>
                        <a:pt x="396" y="130"/>
                      </a:lnTo>
                      <a:lnTo>
                        <a:pt x="396" y="147"/>
                      </a:lnTo>
                      <a:lnTo>
                        <a:pt x="418" y="184"/>
                      </a:lnTo>
                      <a:lnTo>
                        <a:pt x="396" y="184"/>
                      </a:lnTo>
                      <a:lnTo>
                        <a:pt x="392" y="218"/>
                      </a:lnTo>
                      <a:lnTo>
                        <a:pt x="392" y="218"/>
                      </a:lnTo>
                      <a:lnTo>
                        <a:pt x="392" y="218"/>
                      </a:lnTo>
                      <a:close/>
                      <a:moveTo>
                        <a:pt x="52" y="97"/>
                      </a:moveTo>
                      <a:lnTo>
                        <a:pt x="42" y="97"/>
                      </a:lnTo>
                      <a:lnTo>
                        <a:pt x="35" y="76"/>
                      </a:lnTo>
                      <a:lnTo>
                        <a:pt x="14" y="76"/>
                      </a:lnTo>
                      <a:lnTo>
                        <a:pt x="35" y="71"/>
                      </a:lnTo>
                      <a:lnTo>
                        <a:pt x="52" y="59"/>
                      </a:lnTo>
                      <a:lnTo>
                        <a:pt x="73" y="71"/>
                      </a:lnTo>
                      <a:lnTo>
                        <a:pt x="89" y="88"/>
                      </a:lnTo>
                      <a:lnTo>
                        <a:pt x="68" y="88"/>
                      </a:lnTo>
                      <a:lnTo>
                        <a:pt x="52" y="97"/>
                      </a:lnTo>
                      <a:lnTo>
                        <a:pt x="52" y="97"/>
                      </a:lnTo>
                      <a:lnTo>
                        <a:pt x="52" y="97"/>
                      </a:lnTo>
                      <a:close/>
                      <a:moveTo>
                        <a:pt x="96" y="59"/>
                      </a:moveTo>
                      <a:lnTo>
                        <a:pt x="111" y="71"/>
                      </a:lnTo>
                      <a:lnTo>
                        <a:pt x="89" y="71"/>
                      </a:lnTo>
                      <a:lnTo>
                        <a:pt x="89" y="59"/>
                      </a:lnTo>
                      <a:lnTo>
                        <a:pt x="96" y="59"/>
                      </a:lnTo>
                      <a:lnTo>
                        <a:pt x="96" y="59"/>
                      </a:lnTo>
                      <a:lnTo>
                        <a:pt x="96" y="59"/>
                      </a:lnTo>
                      <a:close/>
                      <a:moveTo>
                        <a:pt x="96" y="97"/>
                      </a:moveTo>
                      <a:lnTo>
                        <a:pt x="111" y="114"/>
                      </a:lnTo>
                      <a:lnTo>
                        <a:pt x="89" y="109"/>
                      </a:lnTo>
                      <a:lnTo>
                        <a:pt x="96" y="97"/>
                      </a:lnTo>
                      <a:lnTo>
                        <a:pt x="96" y="97"/>
                      </a:lnTo>
                      <a:lnTo>
                        <a:pt x="96" y="97"/>
                      </a:lnTo>
                      <a:close/>
                      <a:moveTo>
                        <a:pt x="14" y="180"/>
                      </a:moveTo>
                      <a:lnTo>
                        <a:pt x="14" y="168"/>
                      </a:lnTo>
                      <a:lnTo>
                        <a:pt x="26" y="151"/>
                      </a:lnTo>
                      <a:lnTo>
                        <a:pt x="4" y="142"/>
                      </a:lnTo>
                      <a:lnTo>
                        <a:pt x="14" y="130"/>
                      </a:lnTo>
                      <a:lnTo>
                        <a:pt x="0" y="114"/>
                      </a:lnTo>
                      <a:lnTo>
                        <a:pt x="73" y="109"/>
                      </a:lnTo>
                      <a:lnTo>
                        <a:pt x="106" y="125"/>
                      </a:lnTo>
                      <a:lnTo>
                        <a:pt x="89" y="125"/>
                      </a:lnTo>
                      <a:lnTo>
                        <a:pt x="68" y="147"/>
                      </a:lnTo>
                      <a:lnTo>
                        <a:pt x="35" y="151"/>
                      </a:lnTo>
                      <a:lnTo>
                        <a:pt x="26" y="168"/>
                      </a:lnTo>
                      <a:lnTo>
                        <a:pt x="14" y="180"/>
                      </a:lnTo>
                      <a:lnTo>
                        <a:pt x="14" y="180"/>
                      </a:lnTo>
                      <a:lnTo>
                        <a:pt x="14" y="180"/>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22" name="Freeform 437">
                  <a:extLst>
                    <a:ext uri="{FF2B5EF4-FFF2-40B4-BE49-F238E27FC236}">
                      <a16:creationId xmlns:a16="http://schemas.microsoft.com/office/drawing/2014/main" id="{BA25BA24-8A9C-4C66-B5D6-3AA225B37D30}"/>
                    </a:ext>
                  </a:extLst>
                </p:cNvPr>
                <p:cNvSpPr>
                  <a:spLocks/>
                </p:cNvSpPr>
                <p:nvPr/>
              </p:nvSpPr>
              <p:spPr bwMode="gray">
                <a:xfrm>
                  <a:off x="7075332" y="2403375"/>
                  <a:ext cx="194308" cy="95519"/>
                </a:xfrm>
                <a:custGeom>
                  <a:avLst/>
                  <a:gdLst>
                    <a:gd name="T0" fmla="*/ 340 w 472"/>
                    <a:gd name="T1" fmla="*/ 225 h 232"/>
                    <a:gd name="T2" fmla="*/ 340 w 472"/>
                    <a:gd name="T3" fmla="*/ 220 h 232"/>
                    <a:gd name="T4" fmla="*/ 309 w 472"/>
                    <a:gd name="T5" fmla="*/ 208 h 232"/>
                    <a:gd name="T6" fmla="*/ 276 w 472"/>
                    <a:gd name="T7" fmla="*/ 220 h 232"/>
                    <a:gd name="T8" fmla="*/ 205 w 472"/>
                    <a:gd name="T9" fmla="*/ 187 h 232"/>
                    <a:gd name="T10" fmla="*/ 201 w 472"/>
                    <a:gd name="T11" fmla="*/ 208 h 232"/>
                    <a:gd name="T12" fmla="*/ 194 w 472"/>
                    <a:gd name="T13" fmla="*/ 208 h 232"/>
                    <a:gd name="T14" fmla="*/ 184 w 472"/>
                    <a:gd name="T15" fmla="*/ 232 h 232"/>
                    <a:gd name="T16" fmla="*/ 146 w 472"/>
                    <a:gd name="T17" fmla="*/ 225 h 232"/>
                    <a:gd name="T18" fmla="*/ 125 w 472"/>
                    <a:gd name="T19" fmla="*/ 208 h 232"/>
                    <a:gd name="T20" fmla="*/ 59 w 472"/>
                    <a:gd name="T21" fmla="*/ 166 h 232"/>
                    <a:gd name="T22" fmla="*/ 38 w 472"/>
                    <a:gd name="T23" fmla="*/ 154 h 232"/>
                    <a:gd name="T24" fmla="*/ 21 w 472"/>
                    <a:gd name="T25" fmla="*/ 133 h 232"/>
                    <a:gd name="T26" fmla="*/ 31 w 472"/>
                    <a:gd name="T27" fmla="*/ 109 h 232"/>
                    <a:gd name="T28" fmla="*/ 5 w 472"/>
                    <a:gd name="T29" fmla="*/ 92 h 232"/>
                    <a:gd name="T30" fmla="*/ 0 w 472"/>
                    <a:gd name="T31" fmla="*/ 67 h 232"/>
                    <a:gd name="T32" fmla="*/ 16 w 472"/>
                    <a:gd name="T33" fmla="*/ 76 h 232"/>
                    <a:gd name="T34" fmla="*/ 31 w 472"/>
                    <a:gd name="T35" fmla="*/ 59 h 232"/>
                    <a:gd name="T36" fmla="*/ 59 w 472"/>
                    <a:gd name="T37" fmla="*/ 59 h 232"/>
                    <a:gd name="T38" fmla="*/ 97 w 472"/>
                    <a:gd name="T39" fmla="*/ 26 h 232"/>
                    <a:gd name="T40" fmla="*/ 151 w 472"/>
                    <a:gd name="T41" fmla="*/ 10 h 232"/>
                    <a:gd name="T42" fmla="*/ 163 w 472"/>
                    <a:gd name="T43" fmla="*/ 10 h 232"/>
                    <a:gd name="T44" fmla="*/ 151 w 472"/>
                    <a:gd name="T45" fmla="*/ 5 h 232"/>
                    <a:gd name="T46" fmla="*/ 151 w 472"/>
                    <a:gd name="T47" fmla="*/ 0 h 232"/>
                    <a:gd name="T48" fmla="*/ 168 w 472"/>
                    <a:gd name="T49" fmla="*/ 5 h 232"/>
                    <a:gd name="T50" fmla="*/ 177 w 472"/>
                    <a:gd name="T51" fmla="*/ 22 h 232"/>
                    <a:gd name="T52" fmla="*/ 194 w 472"/>
                    <a:gd name="T53" fmla="*/ 22 h 232"/>
                    <a:gd name="T54" fmla="*/ 201 w 472"/>
                    <a:gd name="T55" fmla="*/ 22 h 232"/>
                    <a:gd name="T56" fmla="*/ 201 w 472"/>
                    <a:gd name="T57" fmla="*/ 5 h 232"/>
                    <a:gd name="T58" fmla="*/ 217 w 472"/>
                    <a:gd name="T59" fmla="*/ 5 h 232"/>
                    <a:gd name="T60" fmla="*/ 231 w 472"/>
                    <a:gd name="T61" fmla="*/ 26 h 232"/>
                    <a:gd name="T62" fmla="*/ 286 w 472"/>
                    <a:gd name="T63" fmla="*/ 38 h 232"/>
                    <a:gd name="T64" fmla="*/ 302 w 472"/>
                    <a:gd name="T65" fmla="*/ 43 h 232"/>
                    <a:gd name="T66" fmla="*/ 286 w 472"/>
                    <a:gd name="T67" fmla="*/ 59 h 232"/>
                    <a:gd name="T68" fmla="*/ 314 w 472"/>
                    <a:gd name="T69" fmla="*/ 92 h 232"/>
                    <a:gd name="T70" fmla="*/ 347 w 472"/>
                    <a:gd name="T71" fmla="*/ 76 h 232"/>
                    <a:gd name="T72" fmla="*/ 340 w 472"/>
                    <a:gd name="T73" fmla="*/ 59 h 232"/>
                    <a:gd name="T74" fmla="*/ 368 w 472"/>
                    <a:gd name="T75" fmla="*/ 76 h 232"/>
                    <a:gd name="T76" fmla="*/ 394 w 472"/>
                    <a:gd name="T77" fmla="*/ 67 h 232"/>
                    <a:gd name="T78" fmla="*/ 394 w 472"/>
                    <a:gd name="T79" fmla="*/ 76 h 232"/>
                    <a:gd name="T80" fmla="*/ 385 w 472"/>
                    <a:gd name="T81" fmla="*/ 83 h 232"/>
                    <a:gd name="T82" fmla="*/ 394 w 472"/>
                    <a:gd name="T83" fmla="*/ 92 h 232"/>
                    <a:gd name="T84" fmla="*/ 411 w 472"/>
                    <a:gd name="T85" fmla="*/ 100 h 232"/>
                    <a:gd name="T86" fmla="*/ 418 w 472"/>
                    <a:gd name="T87" fmla="*/ 92 h 232"/>
                    <a:gd name="T88" fmla="*/ 456 w 472"/>
                    <a:gd name="T89" fmla="*/ 109 h 232"/>
                    <a:gd name="T90" fmla="*/ 456 w 472"/>
                    <a:gd name="T91" fmla="*/ 121 h 232"/>
                    <a:gd name="T92" fmla="*/ 472 w 472"/>
                    <a:gd name="T93" fmla="*/ 133 h 232"/>
                    <a:gd name="T94" fmla="*/ 472 w 472"/>
                    <a:gd name="T95" fmla="*/ 149 h 232"/>
                    <a:gd name="T96" fmla="*/ 456 w 472"/>
                    <a:gd name="T97" fmla="*/ 149 h 232"/>
                    <a:gd name="T98" fmla="*/ 432 w 472"/>
                    <a:gd name="T99" fmla="*/ 166 h 232"/>
                    <a:gd name="T100" fmla="*/ 418 w 472"/>
                    <a:gd name="T101" fmla="*/ 187 h 232"/>
                    <a:gd name="T102" fmla="*/ 394 w 472"/>
                    <a:gd name="T103" fmla="*/ 204 h 232"/>
                    <a:gd name="T104" fmla="*/ 357 w 472"/>
                    <a:gd name="T105" fmla="*/ 204 h 232"/>
                    <a:gd name="T106" fmla="*/ 340 w 472"/>
                    <a:gd name="T107" fmla="*/ 225 h 232"/>
                    <a:gd name="T108" fmla="*/ 340 w 472"/>
                    <a:gd name="T109" fmla="*/ 225 h 232"/>
                    <a:gd name="T110" fmla="*/ 340 w 472"/>
                    <a:gd name="T111" fmla="*/ 22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2" h="232">
                      <a:moveTo>
                        <a:pt x="340" y="225"/>
                      </a:moveTo>
                      <a:lnTo>
                        <a:pt x="340" y="220"/>
                      </a:lnTo>
                      <a:lnTo>
                        <a:pt x="309" y="208"/>
                      </a:lnTo>
                      <a:lnTo>
                        <a:pt x="276" y="220"/>
                      </a:lnTo>
                      <a:lnTo>
                        <a:pt x="205" y="187"/>
                      </a:lnTo>
                      <a:lnTo>
                        <a:pt x="201" y="208"/>
                      </a:lnTo>
                      <a:lnTo>
                        <a:pt x="194" y="208"/>
                      </a:lnTo>
                      <a:lnTo>
                        <a:pt x="184" y="232"/>
                      </a:lnTo>
                      <a:lnTo>
                        <a:pt x="146" y="225"/>
                      </a:lnTo>
                      <a:lnTo>
                        <a:pt x="125" y="208"/>
                      </a:lnTo>
                      <a:lnTo>
                        <a:pt x="59" y="166"/>
                      </a:lnTo>
                      <a:lnTo>
                        <a:pt x="38" y="154"/>
                      </a:lnTo>
                      <a:lnTo>
                        <a:pt x="21" y="133"/>
                      </a:lnTo>
                      <a:lnTo>
                        <a:pt x="31" y="109"/>
                      </a:lnTo>
                      <a:lnTo>
                        <a:pt x="5" y="92"/>
                      </a:lnTo>
                      <a:lnTo>
                        <a:pt x="0" y="67"/>
                      </a:lnTo>
                      <a:lnTo>
                        <a:pt x="16" y="76"/>
                      </a:lnTo>
                      <a:lnTo>
                        <a:pt x="31" y="59"/>
                      </a:lnTo>
                      <a:lnTo>
                        <a:pt x="59" y="59"/>
                      </a:lnTo>
                      <a:lnTo>
                        <a:pt x="97" y="26"/>
                      </a:lnTo>
                      <a:lnTo>
                        <a:pt x="151" y="10"/>
                      </a:lnTo>
                      <a:lnTo>
                        <a:pt x="163" y="10"/>
                      </a:lnTo>
                      <a:lnTo>
                        <a:pt x="151" y="5"/>
                      </a:lnTo>
                      <a:lnTo>
                        <a:pt x="151" y="0"/>
                      </a:lnTo>
                      <a:lnTo>
                        <a:pt x="168" y="5"/>
                      </a:lnTo>
                      <a:lnTo>
                        <a:pt x="177" y="22"/>
                      </a:lnTo>
                      <a:lnTo>
                        <a:pt x="194" y="22"/>
                      </a:lnTo>
                      <a:lnTo>
                        <a:pt x="201" y="22"/>
                      </a:lnTo>
                      <a:lnTo>
                        <a:pt x="201" y="5"/>
                      </a:lnTo>
                      <a:lnTo>
                        <a:pt x="217" y="5"/>
                      </a:lnTo>
                      <a:lnTo>
                        <a:pt x="231" y="26"/>
                      </a:lnTo>
                      <a:lnTo>
                        <a:pt x="286" y="38"/>
                      </a:lnTo>
                      <a:lnTo>
                        <a:pt x="302" y="43"/>
                      </a:lnTo>
                      <a:lnTo>
                        <a:pt x="286" y="59"/>
                      </a:lnTo>
                      <a:lnTo>
                        <a:pt x="314" y="92"/>
                      </a:lnTo>
                      <a:lnTo>
                        <a:pt x="347" y="76"/>
                      </a:lnTo>
                      <a:lnTo>
                        <a:pt x="340" y="59"/>
                      </a:lnTo>
                      <a:lnTo>
                        <a:pt x="368" y="76"/>
                      </a:lnTo>
                      <a:lnTo>
                        <a:pt x="394" y="67"/>
                      </a:lnTo>
                      <a:lnTo>
                        <a:pt x="394" y="76"/>
                      </a:lnTo>
                      <a:lnTo>
                        <a:pt x="385" y="83"/>
                      </a:lnTo>
                      <a:lnTo>
                        <a:pt x="394" y="92"/>
                      </a:lnTo>
                      <a:lnTo>
                        <a:pt x="411" y="100"/>
                      </a:lnTo>
                      <a:lnTo>
                        <a:pt x="418" y="92"/>
                      </a:lnTo>
                      <a:lnTo>
                        <a:pt x="456" y="109"/>
                      </a:lnTo>
                      <a:lnTo>
                        <a:pt x="456" y="121"/>
                      </a:lnTo>
                      <a:lnTo>
                        <a:pt x="472" y="133"/>
                      </a:lnTo>
                      <a:lnTo>
                        <a:pt x="472" y="149"/>
                      </a:lnTo>
                      <a:lnTo>
                        <a:pt x="456" y="149"/>
                      </a:lnTo>
                      <a:lnTo>
                        <a:pt x="432" y="166"/>
                      </a:lnTo>
                      <a:lnTo>
                        <a:pt x="418" y="187"/>
                      </a:lnTo>
                      <a:lnTo>
                        <a:pt x="394" y="204"/>
                      </a:lnTo>
                      <a:lnTo>
                        <a:pt x="357" y="204"/>
                      </a:lnTo>
                      <a:lnTo>
                        <a:pt x="340" y="225"/>
                      </a:lnTo>
                      <a:lnTo>
                        <a:pt x="340" y="225"/>
                      </a:lnTo>
                      <a:lnTo>
                        <a:pt x="340" y="225"/>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23" name="Freeform 439">
                  <a:extLst>
                    <a:ext uri="{FF2B5EF4-FFF2-40B4-BE49-F238E27FC236}">
                      <a16:creationId xmlns:a16="http://schemas.microsoft.com/office/drawing/2014/main" id="{D2F3A67E-6D81-4D1A-8308-EA5DE26DBA09}"/>
                    </a:ext>
                  </a:extLst>
                </p:cNvPr>
                <p:cNvSpPr>
                  <a:spLocks noEditPoints="1"/>
                </p:cNvSpPr>
                <p:nvPr/>
              </p:nvSpPr>
              <p:spPr bwMode="gray">
                <a:xfrm>
                  <a:off x="7289401" y="1544949"/>
                  <a:ext cx="349097" cy="495706"/>
                </a:xfrm>
                <a:custGeom>
                  <a:avLst/>
                  <a:gdLst>
                    <a:gd name="T0" fmla="*/ 290 w 848"/>
                    <a:gd name="T1" fmla="*/ 448 h 1204"/>
                    <a:gd name="T2" fmla="*/ 290 w 848"/>
                    <a:gd name="T3" fmla="*/ 349 h 1204"/>
                    <a:gd name="T4" fmla="*/ 290 w 848"/>
                    <a:gd name="T5" fmla="*/ 267 h 1204"/>
                    <a:gd name="T6" fmla="*/ 113 w 848"/>
                    <a:gd name="T7" fmla="*/ 115 h 1204"/>
                    <a:gd name="T8" fmla="*/ 205 w 848"/>
                    <a:gd name="T9" fmla="*/ 172 h 1204"/>
                    <a:gd name="T10" fmla="*/ 399 w 848"/>
                    <a:gd name="T11" fmla="*/ 155 h 1204"/>
                    <a:gd name="T12" fmla="*/ 491 w 848"/>
                    <a:gd name="T13" fmla="*/ 16 h 1204"/>
                    <a:gd name="T14" fmla="*/ 685 w 848"/>
                    <a:gd name="T15" fmla="*/ 70 h 1204"/>
                    <a:gd name="T16" fmla="*/ 654 w 848"/>
                    <a:gd name="T17" fmla="*/ 155 h 1204"/>
                    <a:gd name="T18" fmla="*/ 739 w 848"/>
                    <a:gd name="T19" fmla="*/ 300 h 1204"/>
                    <a:gd name="T20" fmla="*/ 746 w 848"/>
                    <a:gd name="T21" fmla="*/ 538 h 1204"/>
                    <a:gd name="T22" fmla="*/ 729 w 848"/>
                    <a:gd name="T23" fmla="*/ 611 h 1204"/>
                    <a:gd name="T24" fmla="*/ 755 w 848"/>
                    <a:gd name="T25" fmla="*/ 666 h 1204"/>
                    <a:gd name="T26" fmla="*/ 777 w 848"/>
                    <a:gd name="T27" fmla="*/ 727 h 1204"/>
                    <a:gd name="T28" fmla="*/ 685 w 848"/>
                    <a:gd name="T29" fmla="*/ 1044 h 1204"/>
                    <a:gd name="T30" fmla="*/ 491 w 848"/>
                    <a:gd name="T31" fmla="*/ 1133 h 1204"/>
                    <a:gd name="T32" fmla="*/ 458 w 848"/>
                    <a:gd name="T33" fmla="*/ 1133 h 1204"/>
                    <a:gd name="T34" fmla="*/ 437 w 848"/>
                    <a:gd name="T35" fmla="*/ 1150 h 1204"/>
                    <a:gd name="T36" fmla="*/ 361 w 848"/>
                    <a:gd name="T37" fmla="*/ 1171 h 1204"/>
                    <a:gd name="T38" fmla="*/ 257 w 848"/>
                    <a:gd name="T39" fmla="*/ 1195 h 1204"/>
                    <a:gd name="T40" fmla="*/ 252 w 848"/>
                    <a:gd name="T41" fmla="*/ 1183 h 1204"/>
                    <a:gd name="T42" fmla="*/ 215 w 848"/>
                    <a:gd name="T43" fmla="*/ 1155 h 1204"/>
                    <a:gd name="T44" fmla="*/ 144 w 848"/>
                    <a:gd name="T45" fmla="*/ 1126 h 1204"/>
                    <a:gd name="T46" fmla="*/ 151 w 848"/>
                    <a:gd name="T47" fmla="*/ 1015 h 1204"/>
                    <a:gd name="T48" fmla="*/ 113 w 848"/>
                    <a:gd name="T49" fmla="*/ 892 h 1204"/>
                    <a:gd name="T50" fmla="*/ 134 w 848"/>
                    <a:gd name="T51" fmla="*/ 822 h 1204"/>
                    <a:gd name="T52" fmla="*/ 189 w 848"/>
                    <a:gd name="T53" fmla="*/ 800 h 1204"/>
                    <a:gd name="T54" fmla="*/ 236 w 848"/>
                    <a:gd name="T55" fmla="*/ 760 h 1204"/>
                    <a:gd name="T56" fmla="*/ 340 w 848"/>
                    <a:gd name="T57" fmla="*/ 670 h 1204"/>
                    <a:gd name="T58" fmla="*/ 399 w 848"/>
                    <a:gd name="T59" fmla="*/ 628 h 1204"/>
                    <a:gd name="T60" fmla="*/ 361 w 848"/>
                    <a:gd name="T61" fmla="*/ 543 h 1204"/>
                    <a:gd name="T62" fmla="*/ 328 w 848"/>
                    <a:gd name="T63" fmla="*/ 522 h 1204"/>
                    <a:gd name="T64" fmla="*/ 382 w 848"/>
                    <a:gd name="T65" fmla="*/ 616 h 1204"/>
                    <a:gd name="T66" fmla="*/ 236 w 848"/>
                    <a:gd name="T67" fmla="*/ 748 h 1204"/>
                    <a:gd name="T68" fmla="*/ 122 w 848"/>
                    <a:gd name="T69" fmla="*/ 817 h 1204"/>
                    <a:gd name="T70" fmla="*/ 189 w 848"/>
                    <a:gd name="T71" fmla="*/ 822 h 1204"/>
                    <a:gd name="T72" fmla="*/ 189 w 848"/>
                    <a:gd name="T73" fmla="*/ 822 h 1204"/>
                    <a:gd name="T74" fmla="*/ 122 w 848"/>
                    <a:gd name="T75" fmla="*/ 833 h 1204"/>
                    <a:gd name="T76" fmla="*/ 129 w 848"/>
                    <a:gd name="T77" fmla="*/ 1081 h 1204"/>
                    <a:gd name="T78" fmla="*/ 134 w 848"/>
                    <a:gd name="T79" fmla="*/ 1126 h 1204"/>
                    <a:gd name="T80" fmla="*/ 160 w 848"/>
                    <a:gd name="T81" fmla="*/ 1138 h 1204"/>
                    <a:gd name="T82" fmla="*/ 26 w 848"/>
                    <a:gd name="T83" fmla="*/ 1183 h 1204"/>
                    <a:gd name="T84" fmla="*/ 26 w 848"/>
                    <a:gd name="T85" fmla="*/ 1150 h 1204"/>
                    <a:gd name="T86" fmla="*/ 42 w 848"/>
                    <a:gd name="T87" fmla="*/ 1155 h 1204"/>
                    <a:gd name="T88" fmla="*/ 26 w 848"/>
                    <a:gd name="T89" fmla="*/ 1183 h 1204"/>
                    <a:gd name="T90" fmla="*/ 198 w 848"/>
                    <a:gd name="T91" fmla="*/ 1150 h 1204"/>
                    <a:gd name="T92" fmla="*/ 198 w 848"/>
                    <a:gd name="T93" fmla="*/ 1150 h 1204"/>
                    <a:gd name="T94" fmla="*/ 432 w 848"/>
                    <a:gd name="T95" fmla="*/ 1150 h 1204"/>
                    <a:gd name="T96" fmla="*/ 59 w 848"/>
                    <a:gd name="T97" fmla="*/ 1166 h 1204"/>
                    <a:gd name="T98" fmla="*/ 59 w 848"/>
                    <a:gd name="T99" fmla="*/ 1166 h 1204"/>
                    <a:gd name="T100" fmla="*/ 4 w 848"/>
                    <a:gd name="T101" fmla="*/ 1171 h 1204"/>
                    <a:gd name="T102" fmla="*/ 205 w 848"/>
                    <a:gd name="T103" fmla="*/ 1155 h 1204"/>
                    <a:gd name="T104" fmla="*/ 215 w 848"/>
                    <a:gd name="T105" fmla="*/ 1183 h 1204"/>
                    <a:gd name="T106" fmla="*/ 177 w 848"/>
                    <a:gd name="T107" fmla="*/ 1166 h 1204"/>
                    <a:gd name="T108" fmla="*/ 160 w 848"/>
                    <a:gd name="T109" fmla="*/ 1171 h 1204"/>
                    <a:gd name="T110" fmla="*/ 59 w 848"/>
                    <a:gd name="T111" fmla="*/ 1171 h 1204"/>
                    <a:gd name="T112" fmla="*/ 52 w 848"/>
                    <a:gd name="T113" fmla="*/ 1171 h 1204"/>
                    <a:gd name="T114" fmla="*/ 42 w 848"/>
                    <a:gd name="T115" fmla="*/ 1171 h 1204"/>
                    <a:gd name="T116" fmla="*/ 205 w 848"/>
                    <a:gd name="T117" fmla="*/ 1171 h 1204"/>
                    <a:gd name="T118" fmla="*/ 243 w 848"/>
                    <a:gd name="T119" fmla="*/ 1195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8" h="1204">
                      <a:moveTo>
                        <a:pt x="328" y="522"/>
                      </a:moveTo>
                      <a:lnTo>
                        <a:pt x="311" y="489"/>
                      </a:lnTo>
                      <a:lnTo>
                        <a:pt x="297" y="481"/>
                      </a:lnTo>
                      <a:lnTo>
                        <a:pt x="290" y="465"/>
                      </a:lnTo>
                      <a:lnTo>
                        <a:pt x="290" y="448"/>
                      </a:lnTo>
                      <a:lnTo>
                        <a:pt x="307" y="432"/>
                      </a:lnTo>
                      <a:lnTo>
                        <a:pt x="307" y="411"/>
                      </a:lnTo>
                      <a:lnTo>
                        <a:pt x="311" y="404"/>
                      </a:lnTo>
                      <a:lnTo>
                        <a:pt x="285" y="361"/>
                      </a:lnTo>
                      <a:lnTo>
                        <a:pt x="290" y="349"/>
                      </a:lnTo>
                      <a:lnTo>
                        <a:pt x="297" y="349"/>
                      </a:lnTo>
                      <a:lnTo>
                        <a:pt x="297" y="333"/>
                      </a:lnTo>
                      <a:lnTo>
                        <a:pt x="274" y="321"/>
                      </a:lnTo>
                      <a:lnTo>
                        <a:pt x="274" y="276"/>
                      </a:lnTo>
                      <a:lnTo>
                        <a:pt x="290" y="267"/>
                      </a:lnTo>
                      <a:lnTo>
                        <a:pt x="236" y="210"/>
                      </a:lnTo>
                      <a:lnTo>
                        <a:pt x="177" y="193"/>
                      </a:lnTo>
                      <a:lnTo>
                        <a:pt x="75" y="127"/>
                      </a:lnTo>
                      <a:lnTo>
                        <a:pt x="106" y="132"/>
                      </a:lnTo>
                      <a:lnTo>
                        <a:pt x="113" y="115"/>
                      </a:lnTo>
                      <a:lnTo>
                        <a:pt x="106" y="111"/>
                      </a:lnTo>
                      <a:lnTo>
                        <a:pt x="129" y="94"/>
                      </a:lnTo>
                      <a:lnTo>
                        <a:pt x="151" y="99"/>
                      </a:lnTo>
                      <a:lnTo>
                        <a:pt x="198" y="155"/>
                      </a:lnTo>
                      <a:lnTo>
                        <a:pt x="205" y="172"/>
                      </a:lnTo>
                      <a:lnTo>
                        <a:pt x="257" y="181"/>
                      </a:lnTo>
                      <a:lnTo>
                        <a:pt x="311" y="155"/>
                      </a:lnTo>
                      <a:lnTo>
                        <a:pt x="382" y="189"/>
                      </a:lnTo>
                      <a:lnTo>
                        <a:pt x="394" y="181"/>
                      </a:lnTo>
                      <a:lnTo>
                        <a:pt x="399" y="155"/>
                      </a:lnTo>
                      <a:lnTo>
                        <a:pt x="432" y="148"/>
                      </a:lnTo>
                      <a:lnTo>
                        <a:pt x="437" y="132"/>
                      </a:lnTo>
                      <a:lnTo>
                        <a:pt x="437" y="99"/>
                      </a:lnTo>
                      <a:lnTo>
                        <a:pt x="453" y="44"/>
                      </a:lnTo>
                      <a:lnTo>
                        <a:pt x="491" y="16"/>
                      </a:lnTo>
                      <a:lnTo>
                        <a:pt x="529" y="21"/>
                      </a:lnTo>
                      <a:lnTo>
                        <a:pt x="595" y="0"/>
                      </a:lnTo>
                      <a:lnTo>
                        <a:pt x="621" y="28"/>
                      </a:lnTo>
                      <a:lnTo>
                        <a:pt x="675" y="44"/>
                      </a:lnTo>
                      <a:lnTo>
                        <a:pt x="685" y="70"/>
                      </a:lnTo>
                      <a:lnTo>
                        <a:pt x="654" y="99"/>
                      </a:lnTo>
                      <a:lnTo>
                        <a:pt x="654" y="115"/>
                      </a:lnTo>
                      <a:lnTo>
                        <a:pt x="663" y="127"/>
                      </a:lnTo>
                      <a:lnTo>
                        <a:pt x="621" y="148"/>
                      </a:lnTo>
                      <a:lnTo>
                        <a:pt x="654" y="155"/>
                      </a:lnTo>
                      <a:lnTo>
                        <a:pt x="633" y="193"/>
                      </a:lnTo>
                      <a:lnTo>
                        <a:pt x="647" y="238"/>
                      </a:lnTo>
                      <a:lnTo>
                        <a:pt x="692" y="250"/>
                      </a:lnTo>
                      <a:lnTo>
                        <a:pt x="718" y="283"/>
                      </a:lnTo>
                      <a:lnTo>
                        <a:pt x="739" y="300"/>
                      </a:lnTo>
                      <a:lnTo>
                        <a:pt x="729" y="316"/>
                      </a:lnTo>
                      <a:lnTo>
                        <a:pt x="675" y="378"/>
                      </a:lnTo>
                      <a:lnTo>
                        <a:pt x="670" y="394"/>
                      </a:lnTo>
                      <a:lnTo>
                        <a:pt x="729" y="489"/>
                      </a:lnTo>
                      <a:lnTo>
                        <a:pt x="746" y="538"/>
                      </a:lnTo>
                      <a:lnTo>
                        <a:pt x="725" y="543"/>
                      </a:lnTo>
                      <a:lnTo>
                        <a:pt x="718" y="576"/>
                      </a:lnTo>
                      <a:lnTo>
                        <a:pt x="708" y="592"/>
                      </a:lnTo>
                      <a:lnTo>
                        <a:pt x="725" y="592"/>
                      </a:lnTo>
                      <a:lnTo>
                        <a:pt x="729" y="611"/>
                      </a:lnTo>
                      <a:lnTo>
                        <a:pt x="708" y="611"/>
                      </a:lnTo>
                      <a:lnTo>
                        <a:pt x="708" y="633"/>
                      </a:lnTo>
                      <a:lnTo>
                        <a:pt x="725" y="637"/>
                      </a:lnTo>
                      <a:lnTo>
                        <a:pt x="746" y="649"/>
                      </a:lnTo>
                      <a:lnTo>
                        <a:pt x="755" y="666"/>
                      </a:lnTo>
                      <a:lnTo>
                        <a:pt x="739" y="670"/>
                      </a:lnTo>
                      <a:lnTo>
                        <a:pt x="746" y="682"/>
                      </a:lnTo>
                      <a:lnTo>
                        <a:pt x="739" y="687"/>
                      </a:lnTo>
                      <a:lnTo>
                        <a:pt x="777" y="711"/>
                      </a:lnTo>
                      <a:lnTo>
                        <a:pt x="777" y="727"/>
                      </a:lnTo>
                      <a:lnTo>
                        <a:pt x="739" y="765"/>
                      </a:lnTo>
                      <a:lnTo>
                        <a:pt x="826" y="822"/>
                      </a:lnTo>
                      <a:lnTo>
                        <a:pt x="848" y="859"/>
                      </a:lnTo>
                      <a:lnTo>
                        <a:pt x="826" y="904"/>
                      </a:lnTo>
                      <a:lnTo>
                        <a:pt x="685" y="1044"/>
                      </a:lnTo>
                      <a:lnTo>
                        <a:pt x="583" y="1126"/>
                      </a:lnTo>
                      <a:lnTo>
                        <a:pt x="562" y="1133"/>
                      </a:lnTo>
                      <a:lnTo>
                        <a:pt x="540" y="1117"/>
                      </a:lnTo>
                      <a:lnTo>
                        <a:pt x="524" y="1133"/>
                      </a:lnTo>
                      <a:lnTo>
                        <a:pt x="491" y="1133"/>
                      </a:lnTo>
                      <a:lnTo>
                        <a:pt x="503" y="1117"/>
                      </a:lnTo>
                      <a:lnTo>
                        <a:pt x="507" y="1117"/>
                      </a:lnTo>
                      <a:lnTo>
                        <a:pt x="503" y="1110"/>
                      </a:lnTo>
                      <a:lnTo>
                        <a:pt x="486" y="1138"/>
                      </a:lnTo>
                      <a:lnTo>
                        <a:pt x="458" y="1133"/>
                      </a:lnTo>
                      <a:lnTo>
                        <a:pt x="458" y="1150"/>
                      </a:lnTo>
                      <a:lnTo>
                        <a:pt x="458" y="1150"/>
                      </a:lnTo>
                      <a:lnTo>
                        <a:pt x="448" y="1138"/>
                      </a:lnTo>
                      <a:lnTo>
                        <a:pt x="453" y="1155"/>
                      </a:lnTo>
                      <a:lnTo>
                        <a:pt x="437" y="1150"/>
                      </a:lnTo>
                      <a:lnTo>
                        <a:pt x="448" y="1155"/>
                      </a:lnTo>
                      <a:lnTo>
                        <a:pt x="437" y="1155"/>
                      </a:lnTo>
                      <a:lnTo>
                        <a:pt x="432" y="1138"/>
                      </a:lnTo>
                      <a:lnTo>
                        <a:pt x="420" y="1155"/>
                      </a:lnTo>
                      <a:lnTo>
                        <a:pt x="361" y="1171"/>
                      </a:lnTo>
                      <a:lnTo>
                        <a:pt x="349" y="1183"/>
                      </a:lnTo>
                      <a:lnTo>
                        <a:pt x="340" y="1171"/>
                      </a:lnTo>
                      <a:lnTo>
                        <a:pt x="274" y="1188"/>
                      </a:lnTo>
                      <a:lnTo>
                        <a:pt x="285" y="1171"/>
                      </a:lnTo>
                      <a:lnTo>
                        <a:pt x="257" y="1195"/>
                      </a:lnTo>
                      <a:lnTo>
                        <a:pt x="236" y="1204"/>
                      </a:lnTo>
                      <a:lnTo>
                        <a:pt x="269" y="1183"/>
                      </a:lnTo>
                      <a:lnTo>
                        <a:pt x="252" y="1188"/>
                      </a:lnTo>
                      <a:lnTo>
                        <a:pt x="257" y="1183"/>
                      </a:lnTo>
                      <a:lnTo>
                        <a:pt x="252" y="1183"/>
                      </a:lnTo>
                      <a:lnTo>
                        <a:pt x="243" y="1171"/>
                      </a:lnTo>
                      <a:lnTo>
                        <a:pt x="243" y="1171"/>
                      </a:lnTo>
                      <a:lnTo>
                        <a:pt x="236" y="1166"/>
                      </a:lnTo>
                      <a:lnTo>
                        <a:pt x="252" y="1150"/>
                      </a:lnTo>
                      <a:lnTo>
                        <a:pt x="215" y="1155"/>
                      </a:lnTo>
                      <a:lnTo>
                        <a:pt x="205" y="1155"/>
                      </a:lnTo>
                      <a:lnTo>
                        <a:pt x="219" y="1138"/>
                      </a:lnTo>
                      <a:lnTo>
                        <a:pt x="160" y="1133"/>
                      </a:lnTo>
                      <a:lnTo>
                        <a:pt x="160" y="1117"/>
                      </a:lnTo>
                      <a:lnTo>
                        <a:pt x="144" y="1126"/>
                      </a:lnTo>
                      <a:lnTo>
                        <a:pt x="129" y="1110"/>
                      </a:lnTo>
                      <a:lnTo>
                        <a:pt x="129" y="1081"/>
                      </a:lnTo>
                      <a:lnTo>
                        <a:pt x="144" y="1039"/>
                      </a:lnTo>
                      <a:lnTo>
                        <a:pt x="134" y="1015"/>
                      </a:lnTo>
                      <a:lnTo>
                        <a:pt x="151" y="1015"/>
                      </a:lnTo>
                      <a:lnTo>
                        <a:pt x="122" y="966"/>
                      </a:lnTo>
                      <a:lnTo>
                        <a:pt x="129" y="944"/>
                      </a:lnTo>
                      <a:lnTo>
                        <a:pt x="129" y="928"/>
                      </a:lnTo>
                      <a:lnTo>
                        <a:pt x="113" y="911"/>
                      </a:lnTo>
                      <a:lnTo>
                        <a:pt x="113" y="892"/>
                      </a:lnTo>
                      <a:lnTo>
                        <a:pt x="113" y="876"/>
                      </a:lnTo>
                      <a:lnTo>
                        <a:pt x="129" y="859"/>
                      </a:lnTo>
                      <a:lnTo>
                        <a:pt x="134" y="850"/>
                      </a:lnTo>
                      <a:lnTo>
                        <a:pt x="151" y="850"/>
                      </a:lnTo>
                      <a:lnTo>
                        <a:pt x="134" y="822"/>
                      </a:lnTo>
                      <a:lnTo>
                        <a:pt x="167" y="822"/>
                      </a:lnTo>
                      <a:lnTo>
                        <a:pt x="177" y="833"/>
                      </a:lnTo>
                      <a:lnTo>
                        <a:pt x="198" y="822"/>
                      </a:lnTo>
                      <a:lnTo>
                        <a:pt x="198" y="817"/>
                      </a:lnTo>
                      <a:lnTo>
                        <a:pt x="189" y="800"/>
                      </a:lnTo>
                      <a:lnTo>
                        <a:pt x="198" y="793"/>
                      </a:lnTo>
                      <a:lnTo>
                        <a:pt x="205" y="800"/>
                      </a:lnTo>
                      <a:lnTo>
                        <a:pt x="215" y="765"/>
                      </a:lnTo>
                      <a:lnTo>
                        <a:pt x="231" y="781"/>
                      </a:lnTo>
                      <a:lnTo>
                        <a:pt x="236" y="760"/>
                      </a:lnTo>
                      <a:lnTo>
                        <a:pt x="269" y="748"/>
                      </a:lnTo>
                      <a:lnTo>
                        <a:pt x="274" y="727"/>
                      </a:lnTo>
                      <a:lnTo>
                        <a:pt x="290" y="727"/>
                      </a:lnTo>
                      <a:lnTo>
                        <a:pt x="311" y="687"/>
                      </a:lnTo>
                      <a:lnTo>
                        <a:pt x="340" y="670"/>
                      </a:lnTo>
                      <a:lnTo>
                        <a:pt x="349" y="637"/>
                      </a:lnTo>
                      <a:lnTo>
                        <a:pt x="394" y="633"/>
                      </a:lnTo>
                      <a:lnTo>
                        <a:pt x="403" y="637"/>
                      </a:lnTo>
                      <a:lnTo>
                        <a:pt x="415" y="633"/>
                      </a:lnTo>
                      <a:lnTo>
                        <a:pt x="399" y="628"/>
                      </a:lnTo>
                      <a:lnTo>
                        <a:pt x="415" y="628"/>
                      </a:lnTo>
                      <a:lnTo>
                        <a:pt x="403" y="600"/>
                      </a:lnTo>
                      <a:lnTo>
                        <a:pt x="415" y="571"/>
                      </a:lnTo>
                      <a:lnTo>
                        <a:pt x="403" y="559"/>
                      </a:lnTo>
                      <a:lnTo>
                        <a:pt x="361" y="543"/>
                      </a:lnTo>
                      <a:lnTo>
                        <a:pt x="349" y="526"/>
                      </a:lnTo>
                      <a:lnTo>
                        <a:pt x="361" y="517"/>
                      </a:lnTo>
                      <a:lnTo>
                        <a:pt x="344" y="526"/>
                      </a:lnTo>
                      <a:lnTo>
                        <a:pt x="328" y="522"/>
                      </a:lnTo>
                      <a:lnTo>
                        <a:pt x="328" y="522"/>
                      </a:lnTo>
                      <a:lnTo>
                        <a:pt x="328" y="522"/>
                      </a:lnTo>
                      <a:close/>
                      <a:moveTo>
                        <a:pt x="382" y="616"/>
                      </a:moveTo>
                      <a:lnTo>
                        <a:pt x="366" y="628"/>
                      </a:lnTo>
                      <a:lnTo>
                        <a:pt x="349" y="616"/>
                      </a:lnTo>
                      <a:lnTo>
                        <a:pt x="382" y="616"/>
                      </a:lnTo>
                      <a:lnTo>
                        <a:pt x="382" y="616"/>
                      </a:lnTo>
                      <a:lnTo>
                        <a:pt x="382" y="616"/>
                      </a:lnTo>
                      <a:close/>
                      <a:moveTo>
                        <a:pt x="236" y="760"/>
                      </a:moveTo>
                      <a:lnTo>
                        <a:pt x="219" y="760"/>
                      </a:lnTo>
                      <a:lnTo>
                        <a:pt x="236" y="748"/>
                      </a:lnTo>
                      <a:lnTo>
                        <a:pt x="236" y="760"/>
                      </a:lnTo>
                      <a:lnTo>
                        <a:pt x="236" y="760"/>
                      </a:lnTo>
                      <a:lnTo>
                        <a:pt x="236" y="760"/>
                      </a:lnTo>
                      <a:close/>
                      <a:moveTo>
                        <a:pt x="129" y="817"/>
                      </a:moveTo>
                      <a:lnTo>
                        <a:pt x="122" y="817"/>
                      </a:lnTo>
                      <a:lnTo>
                        <a:pt x="129" y="817"/>
                      </a:lnTo>
                      <a:lnTo>
                        <a:pt x="129" y="817"/>
                      </a:lnTo>
                      <a:lnTo>
                        <a:pt x="129" y="817"/>
                      </a:lnTo>
                      <a:lnTo>
                        <a:pt x="129" y="817"/>
                      </a:lnTo>
                      <a:close/>
                      <a:moveTo>
                        <a:pt x="189" y="822"/>
                      </a:moveTo>
                      <a:lnTo>
                        <a:pt x="177" y="817"/>
                      </a:lnTo>
                      <a:lnTo>
                        <a:pt x="189" y="817"/>
                      </a:lnTo>
                      <a:lnTo>
                        <a:pt x="189" y="822"/>
                      </a:lnTo>
                      <a:lnTo>
                        <a:pt x="189" y="822"/>
                      </a:lnTo>
                      <a:lnTo>
                        <a:pt x="189" y="822"/>
                      </a:lnTo>
                      <a:close/>
                      <a:moveTo>
                        <a:pt x="122" y="833"/>
                      </a:moveTo>
                      <a:lnTo>
                        <a:pt x="113" y="817"/>
                      </a:lnTo>
                      <a:lnTo>
                        <a:pt x="134" y="822"/>
                      </a:lnTo>
                      <a:lnTo>
                        <a:pt x="122" y="833"/>
                      </a:lnTo>
                      <a:lnTo>
                        <a:pt x="122" y="833"/>
                      </a:lnTo>
                      <a:lnTo>
                        <a:pt x="122" y="833"/>
                      </a:lnTo>
                      <a:close/>
                      <a:moveTo>
                        <a:pt x="129" y="1081"/>
                      </a:moveTo>
                      <a:lnTo>
                        <a:pt x="122" y="1077"/>
                      </a:lnTo>
                      <a:lnTo>
                        <a:pt x="129" y="1081"/>
                      </a:lnTo>
                      <a:lnTo>
                        <a:pt x="129" y="1081"/>
                      </a:lnTo>
                      <a:lnTo>
                        <a:pt x="129" y="1081"/>
                      </a:lnTo>
                      <a:lnTo>
                        <a:pt x="129" y="1081"/>
                      </a:lnTo>
                      <a:close/>
                      <a:moveTo>
                        <a:pt x="134" y="1133"/>
                      </a:moveTo>
                      <a:lnTo>
                        <a:pt x="129" y="1126"/>
                      </a:lnTo>
                      <a:lnTo>
                        <a:pt x="134" y="1126"/>
                      </a:lnTo>
                      <a:lnTo>
                        <a:pt x="134" y="1133"/>
                      </a:lnTo>
                      <a:lnTo>
                        <a:pt x="134" y="1133"/>
                      </a:lnTo>
                      <a:lnTo>
                        <a:pt x="134" y="1133"/>
                      </a:lnTo>
                      <a:close/>
                      <a:moveTo>
                        <a:pt x="177" y="1150"/>
                      </a:moveTo>
                      <a:lnTo>
                        <a:pt x="160" y="1138"/>
                      </a:lnTo>
                      <a:lnTo>
                        <a:pt x="160" y="1133"/>
                      </a:lnTo>
                      <a:lnTo>
                        <a:pt x="177" y="1150"/>
                      </a:lnTo>
                      <a:lnTo>
                        <a:pt x="177" y="1150"/>
                      </a:lnTo>
                      <a:lnTo>
                        <a:pt x="177" y="1150"/>
                      </a:lnTo>
                      <a:close/>
                      <a:moveTo>
                        <a:pt x="26" y="1183"/>
                      </a:moveTo>
                      <a:lnTo>
                        <a:pt x="21" y="1171"/>
                      </a:lnTo>
                      <a:lnTo>
                        <a:pt x="14" y="1155"/>
                      </a:lnTo>
                      <a:lnTo>
                        <a:pt x="21" y="1150"/>
                      </a:lnTo>
                      <a:lnTo>
                        <a:pt x="21" y="1166"/>
                      </a:lnTo>
                      <a:lnTo>
                        <a:pt x="26" y="1150"/>
                      </a:lnTo>
                      <a:lnTo>
                        <a:pt x="21" y="1138"/>
                      </a:lnTo>
                      <a:lnTo>
                        <a:pt x="26" y="1138"/>
                      </a:lnTo>
                      <a:lnTo>
                        <a:pt x="52" y="1150"/>
                      </a:lnTo>
                      <a:lnTo>
                        <a:pt x="42" y="1166"/>
                      </a:lnTo>
                      <a:lnTo>
                        <a:pt x="42" y="1155"/>
                      </a:lnTo>
                      <a:lnTo>
                        <a:pt x="37" y="1150"/>
                      </a:lnTo>
                      <a:lnTo>
                        <a:pt x="26" y="1155"/>
                      </a:lnTo>
                      <a:lnTo>
                        <a:pt x="37" y="1171"/>
                      </a:lnTo>
                      <a:lnTo>
                        <a:pt x="26" y="1183"/>
                      </a:lnTo>
                      <a:lnTo>
                        <a:pt x="26" y="1183"/>
                      </a:lnTo>
                      <a:lnTo>
                        <a:pt x="26" y="1183"/>
                      </a:lnTo>
                      <a:close/>
                      <a:moveTo>
                        <a:pt x="198" y="1150"/>
                      </a:moveTo>
                      <a:lnTo>
                        <a:pt x="198" y="1150"/>
                      </a:lnTo>
                      <a:lnTo>
                        <a:pt x="205" y="1150"/>
                      </a:lnTo>
                      <a:lnTo>
                        <a:pt x="198" y="1150"/>
                      </a:lnTo>
                      <a:lnTo>
                        <a:pt x="198" y="1150"/>
                      </a:lnTo>
                      <a:lnTo>
                        <a:pt x="198" y="1150"/>
                      </a:lnTo>
                      <a:close/>
                      <a:moveTo>
                        <a:pt x="189" y="1155"/>
                      </a:moveTo>
                      <a:lnTo>
                        <a:pt x="181" y="1150"/>
                      </a:lnTo>
                      <a:lnTo>
                        <a:pt x="198" y="1150"/>
                      </a:lnTo>
                      <a:lnTo>
                        <a:pt x="189" y="1155"/>
                      </a:lnTo>
                      <a:lnTo>
                        <a:pt x="189" y="1155"/>
                      </a:lnTo>
                      <a:lnTo>
                        <a:pt x="189" y="1155"/>
                      </a:lnTo>
                      <a:close/>
                      <a:moveTo>
                        <a:pt x="432" y="1166"/>
                      </a:moveTo>
                      <a:lnTo>
                        <a:pt x="432" y="1150"/>
                      </a:lnTo>
                      <a:lnTo>
                        <a:pt x="432" y="1155"/>
                      </a:lnTo>
                      <a:lnTo>
                        <a:pt x="432" y="1166"/>
                      </a:lnTo>
                      <a:lnTo>
                        <a:pt x="432" y="1166"/>
                      </a:lnTo>
                      <a:lnTo>
                        <a:pt x="432" y="1166"/>
                      </a:lnTo>
                      <a:close/>
                      <a:moveTo>
                        <a:pt x="59" y="1166"/>
                      </a:moveTo>
                      <a:lnTo>
                        <a:pt x="59" y="1155"/>
                      </a:lnTo>
                      <a:lnTo>
                        <a:pt x="68" y="1155"/>
                      </a:lnTo>
                      <a:lnTo>
                        <a:pt x="59" y="1166"/>
                      </a:lnTo>
                      <a:lnTo>
                        <a:pt x="59" y="1166"/>
                      </a:lnTo>
                      <a:lnTo>
                        <a:pt x="59" y="1166"/>
                      </a:lnTo>
                      <a:close/>
                      <a:moveTo>
                        <a:pt x="4" y="1171"/>
                      </a:moveTo>
                      <a:lnTo>
                        <a:pt x="0" y="1166"/>
                      </a:lnTo>
                      <a:lnTo>
                        <a:pt x="4" y="1155"/>
                      </a:lnTo>
                      <a:lnTo>
                        <a:pt x="14" y="1166"/>
                      </a:lnTo>
                      <a:lnTo>
                        <a:pt x="4" y="1171"/>
                      </a:lnTo>
                      <a:lnTo>
                        <a:pt x="4" y="1171"/>
                      </a:lnTo>
                      <a:lnTo>
                        <a:pt x="4" y="1171"/>
                      </a:lnTo>
                      <a:close/>
                      <a:moveTo>
                        <a:pt x="215" y="1183"/>
                      </a:moveTo>
                      <a:lnTo>
                        <a:pt x="205" y="1183"/>
                      </a:lnTo>
                      <a:lnTo>
                        <a:pt x="205" y="1155"/>
                      </a:lnTo>
                      <a:lnTo>
                        <a:pt x="236" y="1155"/>
                      </a:lnTo>
                      <a:lnTo>
                        <a:pt x="236" y="1171"/>
                      </a:lnTo>
                      <a:lnTo>
                        <a:pt x="215" y="1183"/>
                      </a:lnTo>
                      <a:lnTo>
                        <a:pt x="215" y="1183"/>
                      </a:lnTo>
                      <a:lnTo>
                        <a:pt x="215" y="1183"/>
                      </a:lnTo>
                      <a:close/>
                      <a:moveTo>
                        <a:pt x="177" y="1166"/>
                      </a:moveTo>
                      <a:lnTo>
                        <a:pt x="167" y="1166"/>
                      </a:lnTo>
                      <a:lnTo>
                        <a:pt x="181" y="1166"/>
                      </a:lnTo>
                      <a:lnTo>
                        <a:pt x="177" y="1166"/>
                      </a:lnTo>
                      <a:lnTo>
                        <a:pt x="177" y="1166"/>
                      </a:lnTo>
                      <a:lnTo>
                        <a:pt x="177" y="1166"/>
                      </a:lnTo>
                      <a:close/>
                      <a:moveTo>
                        <a:pt x="160" y="1171"/>
                      </a:moveTo>
                      <a:lnTo>
                        <a:pt x="151" y="1166"/>
                      </a:lnTo>
                      <a:lnTo>
                        <a:pt x="167" y="1166"/>
                      </a:lnTo>
                      <a:lnTo>
                        <a:pt x="160" y="1171"/>
                      </a:lnTo>
                      <a:lnTo>
                        <a:pt x="160" y="1171"/>
                      </a:lnTo>
                      <a:lnTo>
                        <a:pt x="160" y="1171"/>
                      </a:lnTo>
                      <a:close/>
                      <a:moveTo>
                        <a:pt x="52" y="1171"/>
                      </a:moveTo>
                      <a:lnTo>
                        <a:pt x="52" y="1166"/>
                      </a:lnTo>
                      <a:lnTo>
                        <a:pt x="59" y="1171"/>
                      </a:lnTo>
                      <a:lnTo>
                        <a:pt x="52" y="1171"/>
                      </a:lnTo>
                      <a:lnTo>
                        <a:pt x="52" y="1171"/>
                      </a:lnTo>
                      <a:lnTo>
                        <a:pt x="52" y="1171"/>
                      </a:lnTo>
                      <a:close/>
                      <a:moveTo>
                        <a:pt x="42" y="1171"/>
                      </a:moveTo>
                      <a:lnTo>
                        <a:pt x="52" y="1171"/>
                      </a:lnTo>
                      <a:lnTo>
                        <a:pt x="52" y="1183"/>
                      </a:lnTo>
                      <a:lnTo>
                        <a:pt x="37" y="1171"/>
                      </a:lnTo>
                      <a:lnTo>
                        <a:pt x="42" y="1171"/>
                      </a:lnTo>
                      <a:lnTo>
                        <a:pt x="42" y="1171"/>
                      </a:lnTo>
                      <a:lnTo>
                        <a:pt x="42" y="1171"/>
                      </a:lnTo>
                      <a:close/>
                      <a:moveTo>
                        <a:pt x="205" y="1171"/>
                      </a:moveTo>
                      <a:lnTo>
                        <a:pt x="198" y="1183"/>
                      </a:lnTo>
                      <a:lnTo>
                        <a:pt x="198" y="1171"/>
                      </a:lnTo>
                      <a:lnTo>
                        <a:pt x="205" y="1171"/>
                      </a:lnTo>
                      <a:lnTo>
                        <a:pt x="205" y="1171"/>
                      </a:lnTo>
                      <a:lnTo>
                        <a:pt x="205" y="1171"/>
                      </a:lnTo>
                      <a:close/>
                      <a:moveTo>
                        <a:pt x="243" y="1195"/>
                      </a:moveTo>
                      <a:lnTo>
                        <a:pt x="231" y="1188"/>
                      </a:lnTo>
                      <a:lnTo>
                        <a:pt x="252" y="1188"/>
                      </a:lnTo>
                      <a:lnTo>
                        <a:pt x="243" y="1195"/>
                      </a:lnTo>
                      <a:lnTo>
                        <a:pt x="243" y="1195"/>
                      </a:lnTo>
                      <a:lnTo>
                        <a:pt x="243" y="1195"/>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24" name="Freeform 443">
                  <a:extLst>
                    <a:ext uri="{FF2B5EF4-FFF2-40B4-BE49-F238E27FC236}">
                      <a16:creationId xmlns:a16="http://schemas.microsoft.com/office/drawing/2014/main" id="{3012175D-0380-43A1-A4A7-99EE0655FFB3}"/>
                    </a:ext>
                  </a:extLst>
                </p:cNvPr>
                <p:cNvSpPr>
                  <a:spLocks noEditPoints="1"/>
                </p:cNvSpPr>
                <p:nvPr/>
              </p:nvSpPr>
              <p:spPr bwMode="gray">
                <a:xfrm>
                  <a:off x="6511344" y="1926197"/>
                  <a:ext cx="30053" cy="40760"/>
                </a:xfrm>
                <a:custGeom>
                  <a:avLst/>
                  <a:gdLst>
                    <a:gd name="T0" fmla="*/ 64 w 73"/>
                    <a:gd name="T1" fmla="*/ 16 h 99"/>
                    <a:gd name="T2" fmla="*/ 56 w 73"/>
                    <a:gd name="T3" fmla="*/ 4 h 99"/>
                    <a:gd name="T4" fmla="*/ 64 w 73"/>
                    <a:gd name="T5" fmla="*/ 0 h 99"/>
                    <a:gd name="T6" fmla="*/ 73 w 73"/>
                    <a:gd name="T7" fmla="*/ 4 h 99"/>
                    <a:gd name="T8" fmla="*/ 64 w 73"/>
                    <a:gd name="T9" fmla="*/ 16 h 99"/>
                    <a:gd name="T10" fmla="*/ 64 w 73"/>
                    <a:gd name="T11" fmla="*/ 16 h 99"/>
                    <a:gd name="T12" fmla="*/ 64 w 73"/>
                    <a:gd name="T13" fmla="*/ 16 h 99"/>
                    <a:gd name="T14" fmla="*/ 52 w 73"/>
                    <a:gd name="T15" fmla="*/ 33 h 99"/>
                    <a:gd name="T16" fmla="*/ 26 w 73"/>
                    <a:gd name="T17" fmla="*/ 0 h 99"/>
                    <a:gd name="T18" fmla="*/ 56 w 73"/>
                    <a:gd name="T19" fmla="*/ 16 h 99"/>
                    <a:gd name="T20" fmla="*/ 52 w 73"/>
                    <a:gd name="T21" fmla="*/ 33 h 99"/>
                    <a:gd name="T22" fmla="*/ 52 w 73"/>
                    <a:gd name="T23" fmla="*/ 33 h 99"/>
                    <a:gd name="T24" fmla="*/ 52 w 73"/>
                    <a:gd name="T25" fmla="*/ 33 h 99"/>
                    <a:gd name="T26" fmla="*/ 52 w 73"/>
                    <a:gd name="T27" fmla="*/ 44 h 99"/>
                    <a:gd name="T28" fmla="*/ 12 w 73"/>
                    <a:gd name="T29" fmla="*/ 16 h 99"/>
                    <a:gd name="T30" fmla="*/ 12 w 73"/>
                    <a:gd name="T31" fmla="*/ 4 h 99"/>
                    <a:gd name="T32" fmla="*/ 26 w 73"/>
                    <a:gd name="T33" fmla="*/ 4 h 99"/>
                    <a:gd name="T34" fmla="*/ 42 w 73"/>
                    <a:gd name="T35" fmla="*/ 21 h 99"/>
                    <a:gd name="T36" fmla="*/ 52 w 73"/>
                    <a:gd name="T37" fmla="*/ 44 h 99"/>
                    <a:gd name="T38" fmla="*/ 52 w 73"/>
                    <a:gd name="T39" fmla="*/ 44 h 99"/>
                    <a:gd name="T40" fmla="*/ 52 w 73"/>
                    <a:gd name="T41" fmla="*/ 44 h 99"/>
                    <a:gd name="T42" fmla="*/ 21 w 73"/>
                    <a:gd name="T43" fmla="*/ 33 h 99"/>
                    <a:gd name="T44" fmla="*/ 0 w 73"/>
                    <a:gd name="T45" fmla="*/ 21 h 99"/>
                    <a:gd name="T46" fmla="*/ 26 w 73"/>
                    <a:gd name="T47" fmla="*/ 21 h 99"/>
                    <a:gd name="T48" fmla="*/ 21 w 73"/>
                    <a:gd name="T49" fmla="*/ 33 h 99"/>
                    <a:gd name="T50" fmla="*/ 21 w 73"/>
                    <a:gd name="T51" fmla="*/ 33 h 99"/>
                    <a:gd name="T52" fmla="*/ 21 w 73"/>
                    <a:gd name="T53" fmla="*/ 33 h 99"/>
                    <a:gd name="T54" fmla="*/ 56 w 73"/>
                    <a:gd name="T55" fmla="*/ 61 h 99"/>
                    <a:gd name="T56" fmla="*/ 38 w 73"/>
                    <a:gd name="T57" fmla="*/ 44 h 99"/>
                    <a:gd name="T58" fmla="*/ 56 w 73"/>
                    <a:gd name="T59" fmla="*/ 54 h 99"/>
                    <a:gd name="T60" fmla="*/ 56 w 73"/>
                    <a:gd name="T61" fmla="*/ 61 h 99"/>
                    <a:gd name="T62" fmla="*/ 56 w 73"/>
                    <a:gd name="T63" fmla="*/ 61 h 99"/>
                    <a:gd name="T64" fmla="*/ 56 w 73"/>
                    <a:gd name="T65" fmla="*/ 61 h 99"/>
                    <a:gd name="T66" fmla="*/ 52 w 73"/>
                    <a:gd name="T67" fmla="*/ 99 h 99"/>
                    <a:gd name="T68" fmla="*/ 38 w 73"/>
                    <a:gd name="T69" fmla="*/ 78 h 99"/>
                    <a:gd name="T70" fmla="*/ 52 w 73"/>
                    <a:gd name="T71" fmla="*/ 87 h 99"/>
                    <a:gd name="T72" fmla="*/ 52 w 73"/>
                    <a:gd name="T73" fmla="*/ 99 h 99"/>
                    <a:gd name="T74" fmla="*/ 52 w 73"/>
                    <a:gd name="T75" fmla="*/ 99 h 99"/>
                    <a:gd name="T76" fmla="*/ 52 w 73"/>
                    <a:gd name="T77"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99">
                      <a:moveTo>
                        <a:pt x="64" y="16"/>
                      </a:moveTo>
                      <a:lnTo>
                        <a:pt x="56" y="4"/>
                      </a:lnTo>
                      <a:lnTo>
                        <a:pt x="64" y="0"/>
                      </a:lnTo>
                      <a:lnTo>
                        <a:pt x="73" y="4"/>
                      </a:lnTo>
                      <a:lnTo>
                        <a:pt x="64" y="16"/>
                      </a:lnTo>
                      <a:lnTo>
                        <a:pt x="64" y="16"/>
                      </a:lnTo>
                      <a:lnTo>
                        <a:pt x="64" y="16"/>
                      </a:lnTo>
                      <a:close/>
                      <a:moveTo>
                        <a:pt x="52" y="33"/>
                      </a:moveTo>
                      <a:lnTo>
                        <a:pt x="26" y="0"/>
                      </a:lnTo>
                      <a:lnTo>
                        <a:pt x="56" y="16"/>
                      </a:lnTo>
                      <a:lnTo>
                        <a:pt x="52" y="33"/>
                      </a:lnTo>
                      <a:lnTo>
                        <a:pt x="52" y="33"/>
                      </a:lnTo>
                      <a:lnTo>
                        <a:pt x="52" y="33"/>
                      </a:lnTo>
                      <a:close/>
                      <a:moveTo>
                        <a:pt x="52" y="44"/>
                      </a:moveTo>
                      <a:lnTo>
                        <a:pt x="12" y="16"/>
                      </a:lnTo>
                      <a:lnTo>
                        <a:pt x="12" y="4"/>
                      </a:lnTo>
                      <a:lnTo>
                        <a:pt x="26" y="4"/>
                      </a:lnTo>
                      <a:lnTo>
                        <a:pt x="42" y="21"/>
                      </a:lnTo>
                      <a:lnTo>
                        <a:pt x="52" y="44"/>
                      </a:lnTo>
                      <a:lnTo>
                        <a:pt x="52" y="44"/>
                      </a:lnTo>
                      <a:lnTo>
                        <a:pt x="52" y="44"/>
                      </a:lnTo>
                      <a:close/>
                      <a:moveTo>
                        <a:pt x="21" y="33"/>
                      </a:moveTo>
                      <a:lnTo>
                        <a:pt x="0" y="21"/>
                      </a:lnTo>
                      <a:lnTo>
                        <a:pt x="26" y="21"/>
                      </a:lnTo>
                      <a:lnTo>
                        <a:pt x="21" y="33"/>
                      </a:lnTo>
                      <a:lnTo>
                        <a:pt x="21" y="33"/>
                      </a:lnTo>
                      <a:lnTo>
                        <a:pt x="21" y="33"/>
                      </a:lnTo>
                      <a:close/>
                      <a:moveTo>
                        <a:pt x="56" y="61"/>
                      </a:moveTo>
                      <a:lnTo>
                        <a:pt x="38" y="44"/>
                      </a:lnTo>
                      <a:lnTo>
                        <a:pt x="56" y="54"/>
                      </a:lnTo>
                      <a:lnTo>
                        <a:pt x="56" y="61"/>
                      </a:lnTo>
                      <a:lnTo>
                        <a:pt x="56" y="61"/>
                      </a:lnTo>
                      <a:lnTo>
                        <a:pt x="56" y="61"/>
                      </a:lnTo>
                      <a:close/>
                      <a:moveTo>
                        <a:pt x="52" y="99"/>
                      </a:moveTo>
                      <a:lnTo>
                        <a:pt x="38" y="78"/>
                      </a:lnTo>
                      <a:lnTo>
                        <a:pt x="52" y="87"/>
                      </a:lnTo>
                      <a:lnTo>
                        <a:pt x="52" y="99"/>
                      </a:lnTo>
                      <a:lnTo>
                        <a:pt x="52" y="99"/>
                      </a:lnTo>
                      <a:lnTo>
                        <a:pt x="52" y="99"/>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25" name="Freeform 445">
                  <a:extLst>
                    <a:ext uri="{FF2B5EF4-FFF2-40B4-BE49-F238E27FC236}">
                      <a16:creationId xmlns:a16="http://schemas.microsoft.com/office/drawing/2014/main" id="{0431F48A-1E1E-402C-BCE2-E97F431AFB3A}"/>
                    </a:ext>
                  </a:extLst>
                </p:cNvPr>
                <p:cNvSpPr>
                  <a:spLocks noEditPoints="1"/>
                </p:cNvSpPr>
                <p:nvPr/>
              </p:nvSpPr>
              <p:spPr bwMode="gray">
                <a:xfrm>
                  <a:off x="6589149" y="2403375"/>
                  <a:ext cx="413317" cy="359839"/>
                </a:xfrm>
                <a:custGeom>
                  <a:avLst/>
                  <a:gdLst>
                    <a:gd name="T0" fmla="*/ 557 w 1004"/>
                    <a:gd name="T1" fmla="*/ 22 h 874"/>
                    <a:gd name="T2" fmla="*/ 626 w 1004"/>
                    <a:gd name="T3" fmla="*/ 76 h 874"/>
                    <a:gd name="T4" fmla="*/ 675 w 1004"/>
                    <a:gd name="T5" fmla="*/ 83 h 874"/>
                    <a:gd name="T6" fmla="*/ 718 w 1004"/>
                    <a:gd name="T7" fmla="*/ 149 h 874"/>
                    <a:gd name="T8" fmla="*/ 789 w 1004"/>
                    <a:gd name="T9" fmla="*/ 154 h 874"/>
                    <a:gd name="T10" fmla="*/ 848 w 1004"/>
                    <a:gd name="T11" fmla="*/ 178 h 874"/>
                    <a:gd name="T12" fmla="*/ 874 w 1004"/>
                    <a:gd name="T13" fmla="*/ 248 h 874"/>
                    <a:gd name="T14" fmla="*/ 864 w 1004"/>
                    <a:gd name="T15" fmla="*/ 322 h 874"/>
                    <a:gd name="T16" fmla="*/ 827 w 1004"/>
                    <a:gd name="T17" fmla="*/ 343 h 874"/>
                    <a:gd name="T18" fmla="*/ 767 w 1004"/>
                    <a:gd name="T19" fmla="*/ 416 h 874"/>
                    <a:gd name="T20" fmla="*/ 751 w 1004"/>
                    <a:gd name="T21" fmla="*/ 449 h 874"/>
                    <a:gd name="T22" fmla="*/ 805 w 1004"/>
                    <a:gd name="T23" fmla="*/ 426 h 874"/>
                    <a:gd name="T24" fmla="*/ 810 w 1004"/>
                    <a:gd name="T25" fmla="*/ 487 h 874"/>
                    <a:gd name="T26" fmla="*/ 805 w 1004"/>
                    <a:gd name="T27" fmla="*/ 565 h 874"/>
                    <a:gd name="T28" fmla="*/ 848 w 1004"/>
                    <a:gd name="T29" fmla="*/ 631 h 874"/>
                    <a:gd name="T30" fmla="*/ 860 w 1004"/>
                    <a:gd name="T31" fmla="*/ 664 h 874"/>
                    <a:gd name="T32" fmla="*/ 793 w 1004"/>
                    <a:gd name="T33" fmla="*/ 704 h 874"/>
                    <a:gd name="T34" fmla="*/ 767 w 1004"/>
                    <a:gd name="T35" fmla="*/ 726 h 874"/>
                    <a:gd name="T36" fmla="*/ 713 w 1004"/>
                    <a:gd name="T37" fmla="*/ 709 h 874"/>
                    <a:gd name="T38" fmla="*/ 685 w 1004"/>
                    <a:gd name="T39" fmla="*/ 685 h 874"/>
                    <a:gd name="T40" fmla="*/ 664 w 1004"/>
                    <a:gd name="T41" fmla="*/ 704 h 874"/>
                    <a:gd name="T42" fmla="*/ 567 w 1004"/>
                    <a:gd name="T43" fmla="*/ 709 h 874"/>
                    <a:gd name="T44" fmla="*/ 557 w 1004"/>
                    <a:gd name="T45" fmla="*/ 780 h 874"/>
                    <a:gd name="T46" fmla="*/ 470 w 1004"/>
                    <a:gd name="T47" fmla="*/ 787 h 874"/>
                    <a:gd name="T48" fmla="*/ 427 w 1004"/>
                    <a:gd name="T49" fmla="*/ 759 h 874"/>
                    <a:gd name="T50" fmla="*/ 307 w 1004"/>
                    <a:gd name="T51" fmla="*/ 747 h 874"/>
                    <a:gd name="T52" fmla="*/ 231 w 1004"/>
                    <a:gd name="T53" fmla="*/ 709 h 874"/>
                    <a:gd name="T54" fmla="*/ 248 w 1004"/>
                    <a:gd name="T55" fmla="*/ 593 h 874"/>
                    <a:gd name="T56" fmla="*/ 255 w 1004"/>
                    <a:gd name="T57" fmla="*/ 504 h 874"/>
                    <a:gd name="T58" fmla="*/ 248 w 1004"/>
                    <a:gd name="T59" fmla="*/ 499 h 874"/>
                    <a:gd name="T60" fmla="*/ 189 w 1004"/>
                    <a:gd name="T61" fmla="*/ 392 h 874"/>
                    <a:gd name="T62" fmla="*/ 210 w 1004"/>
                    <a:gd name="T63" fmla="*/ 355 h 874"/>
                    <a:gd name="T64" fmla="*/ 156 w 1004"/>
                    <a:gd name="T65" fmla="*/ 338 h 874"/>
                    <a:gd name="T66" fmla="*/ 134 w 1004"/>
                    <a:gd name="T67" fmla="*/ 331 h 874"/>
                    <a:gd name="T68" fmla="*/ 118 w 1004"/>
                    <a:gd name="T69" fmla="*/ 331 h 874"/>
                    <a:gd name="T70" fmla="*/ 28 w 1004"/>
                    <a:gd name="T71" fmla="*/ 289 h 874"/>
                    <a:gd name="T72" fmla="*/ 16 w 1004"/>
                    <a:gd name="T73" fmla="*/ 265 h 874"/>
                    <a:gd name="T74" fmla="*/ 0 w 1004"/>
                    <a:gd name="T75" fmla="*/ 248 h 874"/>
                    <a:gd name="T76" fmla="*/ 87 w 1004"/>
                    <a:gd name="T77" fmla="*/ 211 h 874"/>
                    <a:gd name="T78" fmla="*/ 193 w 1004"/>
                    <a:gd name="T79" fmla="*/ 232 h 874"/>
                    <a:gd name="T80" fmla="*/ 243 w 1004"/>
                    <a:gd name="T81" fmla="*/ 227 h 874"/>
                    <a:gd name="T82" fmla="*/ 201 w 1004"/>
                    <a:gd name="T83" fmla="*/ 133 h 874"/>
                    <a:gd name="T84" fmla="*/ 255 w 1004"/>
                    <a:gd name="T85" fmla="*/ 154 h 874"/>
                    <a:gd name="T86" fmla="*/ 340 w 1004"/>
                    <a:gd name="T87" fmla="*/ 137 h 874"/>
                    <a:gd name="T88" fmla="*/ 449 w 1004"/>
                    <a:gd name="T89" fmla="*/ 59 h 874"/>
                    <a:gd name="T90" fmla="*/ 512 w 1004"/>
                    <a:gd name="T91" fmla="*/ 0 h 874"/>
                    <a:gd name="T92" fmla="*/ 118 w 1004"/>
                    <a:gd name="T93" fmla="*/ 355 h 874"/>
                    <a:gd name="T94" fmla="*/ 231 w 1004"/>
                    <a:gd name="T95" fmla="*/ 466 h 874"/>
                    <a:gd name="T96" fmla="*/ 248 w 1004"/>
                    <a:gd name="T97" fmla="*/ 487 h 874"/>
                    <a:gd name="T98" fmla="*/ 945 w 1004"/>
                    <a:gd name="T99" fmla="*/ 796 h 874"/>
                    <a:gd name="T100" fmla="*/ 982 w 1004"/>
                    <a:gd name="T101" fmla="*/ 759 h 874"/>
                    <a:gd name="T102" fmla="*/ 999 w 1004"/>
                    <a:gd name="T103" fmla="*/ 820 h 874"/>
                    <a:gd name="T104" fmla="*/ 956 w 1004"/>
                    <a:gd name="T105" fmla="*/ 848 h 874"/>
                    <a:gd name="T106" fmla="*/ 945 w 1004"/>
                    <a:gd name="T107" fmla="*/ 820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4" h="874">
                      <a:moveTo>
                        <a:pt x="512" y="0"/>
                      </a:moveTo>
                      <a:lnTo>
                        <a:pt x="519" y="22"/>
                      </a:lnTo>
                      <a:lnTo>
                        <a:pt x="534" y="26"/>
                      </a:lnTo>
                      <a:lnTo>
                        <a:pt x="557" y="22"/>
                      </a:lnTo>
                      <a:lnTo>
                        <a:pt x="567" y="55"/>
                      </a:lnTo>
                      <a:lnTo>
                        <a:pt x="588" y="55"/>
                      </a:lnTo>
                      <a:lnTo>
                        <a:pt x="595" y="67"/>
                      </a:lnTo>
                      <a:lnTo>
                        <a:pt x="626" y="76"/>
                      </a:lnTo>
                      <a:lnTo>
                        <a:pt x="626" y="100"/>
                      </a:lnTo>
                      <a:lnTo>
                        <a:pt x="647" y="111"/>
                      </a:lnTo>
                      <a:lnTo>
                        <a:pt x="675" y="83"/>
                      </a:lnTo>
                      <a:lnTo>
                        <a:pt x="675" y="83"/>
                      </a:lnTo>
                      <a:lnTo>
                        <a:pt x="675" y="100"/>
                      </a:lnTo>
                      <a:lnTo>
                        <a:pt x="675" y="116"/>
                      </a:lnTo>
                      <a:lnTo>
                        <a:pt x="701" y="133"/>
                      </a:lnTo>
                      <a:lnTo>
                        <a:pt x="718" y="149"/>
                      </a:lnTo>
                      <a:lnTo>
                        <a:pt x="739" y="137"/>
                      </a:lnTo>
                      <a:lnTo>
                        <a:pt x="751" y="149"/>
                      </a:lnTo>
                      <a:lnTo>
                        <a:pt x="784" y="149"/>
                      </a:lnTo>
                      <a:lnTo>
                        <a:pt x="789" y="154"/>
                      </a:lnTo>
                      <a:lnTo>
                        <a:pt x="805" y="178"/>
                      </a:lnTo>
                      <a:lnTo>
                        <a:pt x="822" y="170"/>
                      </a:lnTo>
                      <a:lnTo>
                        <a:pt x="843" y="178"/>
                      </a:lnTo>
                      <a:lnTo>
                        <a:pt x="848" y="178"/>
                      </a:lnTo>
                      <a:lnTo>
                        <a:pt x="874" y="187"/>
                      </a:lnTo>
                      <a:lnTo>
                        <a:pt x="912" y="194"/>
                      </a:lnTo>
                      <a:lnTo>
                        <a:pt x="881" y="232"/>
                      </a:lnTo>
                      <a:lnTo>
                        <a:pt x="874" y="248"/>
                      </a:lnTo>
                      <a:lnTo>
                        <a:pt x="864" y="277"/>
                      </a:lnTo>
                      <a:lnTo>
                        <a:pt x="864" y="289"/>
                      </a:lnTo>
                      <a:lnTo>
                        <a:pt x="860" y="315"/>
                      </a:lnTo>
                      <a:lnTo>
                        <a:pt x="864" y="322"/>
                      </a:lnTo>
                      <a:lnTo>
                        <a:pt x="848" y="338"/>
                      </a:lnTo>
                      <a:lnTo>
                        <a:pt x="827" y="331"/>
                      </a:lnTo>
                      <a:lnTo>
                        <a:pt x="822" y="343"/>
                      </a:lnTo>
                      <a:lnTo>
                        <a:pt x="827" y="343"/>
                      </a:lnTo>
                      <a:lnTo>
                        <a:pt x="822" y="355"/>
                      </a:lnTo>
                      <a:lnTo>
                        <a:pt x="789" y="392"/>
                      </a:lnTo>
                      <a:lnTo>
                        <a:pt x="784" y="400"/>
                      </a:lnTo>
                      <a:lnTo>
                        <a:pt x="767" y="416"/>
                      </a:lnTo>
                      <a:lnTo>
                        <a:pt x="756" y="426"/>
                      </a:lnTo>
                      <a:lnTo>
                        <a:pt x="767" y="433"/>
                      </a:lnTo>
                      <a:lnTo>
                        <a:pt x="767" y="442"/>
                      </a:lnTo>
                      <a:lnTo>
                        <a:pt x="751" y="449"/>
                      </a:lnTo>
                      <a:lnTo>
                        <a:pt x="756" y="454"/>
                      </a:lnTo>
                      <a:lnTo>
                        <a:pt x="772" y="449"/>
                      </a:lnTo>
                      <a:lnTo>
                        <a:pt x="772" y="433"/>
                      </a:lnTo>
                      <a:lnTo>
                        <a:pt x="805" y="426"/>
                      </a:lnTo>
                      <a:lnTo>
                        <a:pt x="810" y="433"/>
                      </a:lnTo>
                      <a:lnTo>
                        <a:pt x="810" y="454"/>
                      </a:lnTo>
                      <a:lnTo>
                        <a:pt x="827" y="470"/>
                      </a:lnTo>
                      <a:lnTo>
                        <a:pt x="810" y="487"/>
                      </a:lnTo>
                      <a:lnTo>
                        <a:pt x="836" y="520"/>
                      </a:lnTo>
                      <a:lnTo>
                        <a:pt x="836" y="537"/>
                      </a:lnTo>
                      <a:lnTo>
                        <a:pt x="793" y="544"/>
                      </a:lnTo>
                      <a:lnTo>
                        <a:pt x="805" y="565"/>
                      </a:lnTo>
                      <a:lnTo>
                        <a:pt x="827" y="565"/>
                      </a:lnTo>
                      <a:lnTo>
                        <a:pt x="810" y="598"/>
                      </a:lnTo>
                      <a:lnTo>
                        <a:pt x="822" y="619"/>
                      </a:lnTo>
                      <a:lnTo>
                        <a:pt x="848" y="631"/>
                      </a:lnTo>
                      <a:lnTo>
                        <a:pt x="874" y="631"/>
                      </a:lnTo>
                      <a:lnTo>
                        <a:pt x="874" y="636"/>
                      </a:lnTo>
                      <a:lnTo>
                        <a:pt x="860" y="652"/>
                      </a:lnTo>
                      <a:lnTo>
                        <a:pt x="860" y="664"/>
                      </a:lnTo>
                      <a:lnTo>
                        <a:pt x="860" y="669"/>
                      </a:lnTo>
                      <a:lnTo>
                        <a:pt x="848" y="669"/>
                      </a:lnTo>
                      <a:lnTo>
                        <a:pt x="836" y="676"/>
                      </a:lnTo>
                      <a:lnTo>
                        <a:pt x="793" y="704"/>
                      </a:lnTo>
                      <a:lnTo>
                        <a:pt x="805" y="709"/>
                      </a:lnTo>
                      <a:lnTo>
                        <a:pt x="793" y="721"/>
                      </a:lnTo>
                      <a:lnTo>
                        <a:pt x="767" y="721"/>
                      </a:lnTo>
                      <a:lnTo>
                        <a:pt x="767" y="726"/>
                      </a:lnTo>
                      <a:lnTo>
                        <a:pt x="751" y="726"/>
                      </a:lnTo>
                      <a:lnTo>
                        <a:pt x="739" y="726"/>
                      </a:lnTo>
                      <a:lnTo>
                        <a:pt x="734" y="721"/>
                      </a:lnTo>
                      <a:lnTo>
                        <a:pt x="713" y="709"/>
                      </a:lnTo>
                      <a:lnTo>
                        <a:pt x="701" y="704"/>
                      </a:lnTo>
                      <a:lnTo>
                        <a:pt x="685" y="704"/>
                      </a:lnTo>
                      <a:lnTo>
                        <a:pt x="701" y="692"/>
                      </a:lnTo>
                      <a:lnTo>
                        <a:pt x="685" y="685"/>
                      </a:lnTo>
                      <a:lnTo>
                        <a:pt x="685" y="692"/>
                      </a:lnTo>
                      <a:lnTo>
                        <a:pt x="675" y="704"/>
                      </a:lnTo>
                      <a:lnTo>
                        <a:pt x="664" y="676"/>
                      </a:lnTo>
                      <a:lnTo>
                        <a:pt x="664" y="704"/>
                      </a:lnTo>
                      <a:lnTo>
                        <a:pt x="659" y="704"/>
                      </a:lnTo>
                      <a:lnTo>
                        <a:pt x="647" y="692"/>
                      </a:lnTo>
                      <a:lnTo>
                        <a:pt x="609" y="685"/>
                      </a:lnTo>
                      <a:lnTo>
                        <a:pt x="567" y="709"/>
                      </a:lnTo>
                      <a:lnTo>
                        <a:pt x="550" y="726"/>
                      </a:lnTo>
                      <a:lnTo>
                        <a:pt x="541" y="747"/>
                      </a:lnTo>
                      <a:lnTo>
                        <a:pt x="550" y="775"/>
                      </a:lnTo>
                      <a:lnTo>
                        <a:pt x="557" y="780"/>
                      </a:lnTo>
                      <a:lnTo>
                        <a:pt x="541" y="780"/>
                      </a:lnTo>
                      <a:lnTo>
                        <a:pt x="512" y="787"/>
                      </a:lnTo>
                      <a:lnTo>
                        <a:pt x="496" y="780"/>
                      </a:lnTo>
                      <a:lnTo>
                        <a:pt x="470" y="787"/>
                      </a:lnTo>
                      <a:lnTo>
                        <a:pt x="458" y="775"/>
                      </a:lnTo>
                      <a:lnTo>
                        <a:pt x="458" y="763"/>
                      </a:lnTo>
                      <a:lnTo>
                        <a:pt x="432" y="763"/>
                      </a:lnTo>
                      <a:lnTo>
                        <a:pt x="427" y="759"/>
                      </a:lnTo>
                      <a:lnTo>
                        <a:pt x="390" y="742"/>
                      </a:lnTo>
                      <a:lnTo>
                        <a:pt x="378" y="759"/>
                      </a:lnTo>
                      <a:lnTo>
                        <a:pt x="335" y="759"/>
                      </a:lnTo>
                      <a:lnTo>
                        <a:pt x="307" y="747"/>
                      </a:lnTo>
                      <a:lnTo>
                        <a:pt x="297" y="747"/>
                      </a:lnTo>
                      <a:lnTo>
                        <a:pt x="281" y="730"/>
                      </a:lnTo>
                      <a:lnTo>
                        <a:pt x="231" y="726"/>
                      </a:lnTo>
                      <a:lnTo>
                        <a:pt x="231" y="709"/>
                      </a:lnTo>
                      <a:lnTo>
                        <a:pt x="210" y="704"/>
                      </a:lnTo>
                      <a:lnTo>
                        <a:pt x="227" y="692"/>
                      </a:lnTo>
                      <a:lnTo>
                        <a:pt x="231" y="676"/>
                      </a:lnTo>
                      <a:lnTo>
                        <a:pt x="248" y="593"/>
                      </a:lnTo>
                      <a:lnTo>
                        <a:pt x="264" y="581"/>
                      </a:lnTo>
                      <a:lnTo>
                        <a:pt x="248" y="577"/>
                      </a:lnTo>
                      <a:lnTo>
                        <a:pt x="248" y="581"/>
                      </a:lnTo>
                      <a:lnTo>
                        <a:pt x="255" y="504"/>
                      </a:lnTo>
                      <a:lnTo>
                        <a:pt x="281" y="525"/>
                      </a:lnTo>
                      <a:lnTo>
                        <a:pt x="297" y="565"/>
                      </a:lnTo>
                      <a:lnTo>
                        <a:pt x="281" y="508"/>
                      </a:lnTo>
                      <a:lnTo>
                        <a:pt x="248" y="499"/>
                      </a:lnTo>
                      <a:lnTo>
                        <a:pt x="255" y="470"/>
                      </a:lnTo>
                      <a:lnTo>
                        <a:pt x="255" y="442"/>
                      </a:lnTo>
                      <a:lnTo>
                        <a:pt x="210" y="426"/>
                      </a:lnTo>
                      <a:lnTo>
                        <a:pt x="189" y="392"/>
                      </a:lnTo>
                      <a:lnTo>
                        <a:pt x="193" y="371"/>
                      </a:lnTo>
                      <a:lnTo>
                        <a:pt x="179" y="359"/>
                      </a:lnTo>
                      <a:lnTo>
                        <a:pt x="189" y="355"/>
                      </a:lnTo>
                      <a:lnTo>
                        <a:pt x="210" y="355"/>
                      </a:lnTo>
                      <a:lnTo>
                        <a:pt x="193" y="343"/>
                      </a:lnTo>
                      <a:lnTo>
                        <a:pt x="172" y="355"/>
                      </a:lnTo>
                      <a:lnTo>
                        <a:pt x="156" y="343"/>
                      </a:lnTo>
                      <a:lnTo>
                        <a:pt x="156" y="338"/>
                      </a:lnTo>
                      <a:lnTo>
                        <a:pt x="163" y="338"/>
                      </a:lnTo>
                      <a:lnTo>
                        <a:pt x="156" y="331"/>
                      </a:lnTo>
                      <a:lnTo>
                        <a:pt x="172" y="331"/>
                      </a:lnTo>
                      <a:lnTo>
                        <a:pt x="134" y="331"/>
                      </a:lnTo>
                      <a:lnTo>
                        <a:pt x="142" y="331"/>
                      </a:lnTo>
                      <a:lnTo>
                        <a:pt x="142" y="322"/>
                      </a:lnTo>
                      <a:lnTo>
                        <a:pt x="118" y="322"/>
                      </a:lnTo>
                      <a:lnTo>
                        <a:pt x="118" y="331"/>
                      </a:lnTo>
                      <a:lnTo>
                        <a:pt x="108" y="315"/>
                      </a:lnTo>
                      <a:lnTo>
                        <a:pt x="54" y="298"/>
                      </a:lnTo>
                      <a:lnTo>
                        <a:pt x="28" y="305"/>
                      </a:lnTo>
                      <a:lnTo>
                        <a:pt x="28" y="289"/>
                      </a:lnTo>
                      <a:lnTo>
                        <a:pt x="0" y="281"/>
                      </a:lnTo>
                      <a:lnTo>
                        <a:pt x="33" y="277"/>
                      </a:lnTo>
                      <a:lnTo>
                        <a:pt x="28" y="265"/>
                      </a:lnTo>
                      <a:lnTo>
                        <a:pt x="16" y="265"/>
                      </a:lnTo>
                      <a:lnTo>
                        <a:pt x="12" y="260"/>
                      </a:lnTo>
                      <a:lnTo>
                        <a:pt x="16" y="248"/>
                      </a:lnTo>
                      <a:lnTo>
                        <a:pt x="38" y="260"/>
                      </a:lnTo>
                      <a:lnTo>
                        <a:pt x="0" y="248"/>
                      </a:lnTo>
                      <a:lnTo>
                        <a:pt x="0" y="232"/>
                      </a:lnTo>
                      <a:lnTo>
                        <a:pt x="28" y="227"/>
                      </a:lnTo>
                      <a:lnTo>
                        <a:pt x="80" y="220"/>
                      </a:lnTo>
                      <a:lnTo>
                        <a:pt x="87" y="211"/>
                      </a:lnTo>
                      <a:lnTo>
                        <a:pt x="108" y="204"/>
                      </a:lnTo>
                      <a:lnTo>
                        <a:pt x="146" y="244"/>
                      </a:lnTo>
                      <a:lnTo>
                        <a:pt x="172" y="220"/>
                      </a:lnTo>
                      <a:lnTo>
                        <a:pt x="193" y="232"/>
                      </a:lnTo>
                      <a:lnTo>
                        <a:pt x="193" y="220"/>
                      </a:lnTo>
                      <a:lnTo>
                        <a:pt x="201" y="220"/>
                      </a:lnTo>
                      <a:lnTo>
                        <a:pt x="201" y="227"/>
                      </a:lnTo>
                      <a:lnTo>
                        <a:pt x="243" y="227"/>
                      </a:lnTo>
                      <a:lnTo>
                        <a:pt x="227" y="220"/>
                      </a:lnTo>
                      <a:lnTo>
                        <a:pt x="217" y="170"/>
                      </a:lnTo>
                      <a:lnTo>
                        <a:pt x="210" y="154"/>
                      </a:lnTo>
                      <a:lnTo>
                        <a:pt x="201" y="133"/>
                      </a:lnTo>
                      <a:lnTo>
                        <a:pt x="193" y="121"/>
                      </a:lnTo>
                      <a:lnTo>
                        <a:pt x="248" y="133"/>
                      </a:lnTo>
                      <a:lnTo>
                        <a:pt x="243" y="137"/>
                      </a:lnTo>
                      <a:lnTo>
                        <a:pt x="255" y="154"/>
                      </a:lnTo>
                      <a:lnTo>
                        <a:pt x="319" y="166"/>
                      </a:lnTo>
                      <a:lnTo>
                        <a:pt x="361" y="149"/>
                      </a:lnTo>
                      <a:lnTo>
                        <a:pt x="361" y="149"/>
                      </a:lnTo>
                      <a:lnTo>
                        <a:pt x="340" y="137"/>
                      </a:lnTo>
                      <a:lnTo>
                        <a:pt x="352" y="121"/>
                      </a:lnTo>
                      <a:lnTo>
                        <a:pt x="411" y="111"/>
                      </a:lnTo>
                      <a:lnTo>
                        <a:pt x="432" y="83"/>
                      </a:lnTo>
                      <a:lnTo>
                        <a:pt x="449" y="59"/>
                      </a:lnTo>
                      <a:lnTo>
                        <a:pt x="449" y="10"/>
                      </a:lnTo>
                      <a:lnTo>
                        <a:pt x="512" y="0"/>
                      </a:lnTo>
                      <a:lnTo>
                        <a:pt x="512" y="0"/>
                      </a:lnTo>
                      <a:lnTo>
                        <a:pt x="512" y="0"/>
                      </a:lnTo>
                      <a:close/>
                      <a:moveTo>
                        <a:pt x="118" y="355"/>
                      </a:moveTo>
                      <a:lnTo>
                        <a:pt x="108" y="343"/>
                      </a:lnTo>
                      <a:lnTo>
                        <a:pt x="104" y="338"/>
                      </a:lnTo>
                      <a:lnTo>
                        <a:pt x="118" y="355"/>
                      </a:lnTo>
                      <a:lnTo>
                        <a:pt x="118" y="355"/>
                      </a:lnTo>
                      <a:lnTo>
                        <a:pt x="118" y="355"/>
                      </a:lnTo>
                      <a:close/>
                      <a:moveTo>
                        <a:pt x="248" y="487"/>
                      </a:moveTo>
                      <a:lnTo>
                        <a:pt x="231" y="466"/>
                      </a:lnTo>
                      <a:lnTo>
                        <a:pt x="248" y="470"/>
                      </a:lnTo>
                      <a:lnTo>
                        <a:pt x="248" y="487"/>
                      </a:lnTo>
                      <a:lnTo>
                        <a:pt x="248" y="487"/>
                      </a:lnTo>
                      <a:lnTo>
                        <a:pt x="248" y="487"/>
                      </a:lnTo>
                      <a:close/>
                      <a:moveTo>
                        <a:pt x="945" y="820"/>
                      </a:moveTo>
                      <a:lnTo>
                        <a:pt x="945" y="813"/>
                      </a:lnTo>
                      <a:lnTo>
                        <a:pt x="935" y="796"/>
                      </a:lnTo>
                      <a:lnTo>
                        <a:pt x="945" y="796"/>
                      </a:lnTo>
                      <a:lnTo>
                        <a:pt x="935" y="787"/>
                      </a:lnTo>
                      <a:lnTo>
                        <a:pt x="945" y="775"/>
                      </a:lnTo>
                      <a:lnTo>
                        <a:pt x="973" y="759"/>
                      </a:lnTo>
                      <a:lnTo>
                        <a:pt x="982" y="759"/>
                      </a:lnTo>
                      <a:lnTo>
                        <a:pt x="987" y="730"/>
                      </a:lnTo>
                      <a:lnTo>
                        <a:pt x="999" y="730"/>
                      </a:lnTo>
                      <a:lnTo>
                        <a:pt x="1004" y="803"/>
                      </a:lnTo>
                      <a:lnTo>
                        <a:pt x="999" y="820"/>
                      </a:lnTo>
                      <a:lnTo>
                        <a:pt x="987" y="848"/>
                      </a:lnTo>
                      <a:lnTo>
                        <a:pt x="982" y="874"/>
                      </a:lnTo>
                      <a:lnTo>
                        <a:pt x="949" y="858"/>
                      </a:lnTo>
                      <a:lnTo>
                        <a:pt x="956" y="848"/>
                      </a:lnTo>
                      <a:lnTo>
                        <a:pt x="945" y="848"/>
                      </a:lnTo>
                      <a:lnTo>
                        <a:pt x="949" y="829"/>
                      </a:lnTo>
                      <a:lnTo>
                        <a:pt x="935" y="829"/>
                      </a:lnTo>
                      <a:lnTo>
                        <a:pt x="945" y="820"/>
                      </a:lnTo>
                      <a:lnTo>
                        <a:pt x="945" y="820"/>
                      </a:lnTo>
                      <a:lnTo>
                        <a:pt x="945" y="820"/>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26" name="Freeform 449">
                  <a:extLst>
                    <a:ext uri="{FF2B5EF4-FFF2-40B4-BE49-F238E27FC236}">
                      <a16:creationId xmlns:a16="http://schemas.microsoft.com/office/drawing/2014/main" id="{0B70F88D-76CA-4ED2-B8FD-F8C10A8F17BB}"/>
                    </a:ext>
                  </a:extLst>
                </p:cNvPr>
                <p:cNvSpPr>
                  <a:spLocks/>
                </p:cNvSpPr>
                <p:nvPr/>
              </p:nvSpPr>
              <p:spPr bwMode="gray">
                <a:xfrm>
                  <a:off x="7882206" y="2682519"/>
                  <a:ext cx="190603" cy="93459"/>
                </a:xfrm>
                <a:custGeom>
                  <a:avLst/>
                  <a:gdLst>
                    <a:gd name="T0" fmla="*/ 0 w 463"/>
                    <a:gd name="T1" fmla="*/ 26 h 227"/>
                    <a:gd name="T2" fmla="*/ 0 w 463"/>
                    <a:gd name="T3" fmla="*/ 10 h 227"/>
                    <a:gd name="T4" fmla="*/ 17 w 463"/>
                    <a:gd name="T5" fmla="*/ 0 h 227"/>
                    <a:gd name="T6" fmla="*/ 43 w 463"/>
                    <a:gd name="T7" fmla="*/ 10 h 227"/>
                    <a:gd name="T8" fmla="*/ 109 w 463"/>
                    <a:gd name="T9" fmla="*/ 33 h 227"/>
                    <a:gd name="T10" fmla="*/ 199 w 463"/>
                    <a:gd name="T11" fmla="*/ 43 h 227"/>
                    <a:gd name="T12" fmla="*/ 220 w 463"/>
                    <a:gd name="T13" fmla="*/ 66 h 227"/>
                    <a:gd name="T14" fmla="*/ 258 w 463"/>
                    <a:gd name="T15" fmla="*/ 83 h 227"/>
                    <a:gd name="T16" fmla="*/ 258 w 463"/>
                    <a:gd name="T17" fmla="*/ 88 h 227"/>
                    <a:gd name="T18" fmla="*/ 270 w 463"/>
                    <a:gd name="T19" fmla="*/ 88 h 227"/>
                    <a:gd name="T20" fmla="*/ 312 w 463"/>
                    <a:gd name="T21" fmla="*/ 71 h 227"/>
                    <a:gd name="T22" fmla="*/ 329 w 463"/>
                    <a:gd name="T23" fmla="*/ 88 h 227"/>
                    <a:gd name="T24" fmla="*/ 345 w 463"/>
                    <a:gd name="T25" fmla="*/ 71 h 227"/>
                    <a:gd name="T26" fmla="*/ 362 w 463"/>
                    <a:gd name="T27" fmla="*/ 83 h 227"/>
                    <a:gd name="T28" fmla="*/ 367 w 463"/>
                    <a:gd name="T29" fmla="*/ 100 h 227"/>
                    <a:gd name="T30" fmla="*/ 400 w 463"/>
                    <a:gd name="T31" fmla="*/ 100 h 227"/>
                    <a:gd name="T32" fmla="*/ 393 w 463"/>
                    <a:gd name="T33" fmla="*/ 128 h 227"/>
                    <a:gd name="T34" fmla="*/ 447 w 463"/>
                    <a:gd name="T35" fmla="*/ 154 h 227"/>
                    <a:gd name="T36" fmla="*/ 430 w 463"/>
                    <a:gd name="T37" fmla="*/ 170 h 227"/>
                    <a:gd name="T38" fmla="*/ 437 w 463"/>
                    <a:gd name="T39" fmla="*/ 182 h 227"/>
                    <a:gd name="T40" fmla="*/ 463 w 463"/>
                    <a:gd name="T41" fmla="*/ 199 h 227"/>
                    <a:gd name="T42" fmla="*/ 463 w 463"/>
                    <a:gd name="T43" fmla="*/ 215 h 227"/>
                    <a:gd name="T44" fmla="*/ 454 w 463"/>
                    <a:gd name="T45" fmla="*/ 227 h 227"/>
                    <a:gd name="T46" fmla="*/ 430 w 463"/>
                    <a:gd name="T47" fmla="*/ 211 h 227"/>
                    <a:gd name="T48" fmla="*/ 409 w 463"/>
                    <a:gd name="T49" fmla="*/ 211 h 227"/>
                    <a:gd name="T50" fmla="*/ 400 w 463"/>
                    <a:gd name="T51" fmla="*/ 199 h 227"/>
                    <a:gd name="T52" fmla="*/ 367 w 463"/>
                    <a:gd name="T53" fmla="*/ 194 h 227"/>
                    <a:gd name="T54" fmla="*/ 345 w 463"/>
                    <a:gd name="T55" fmla="*/ 199 h 227"/>
                    <a:gd name="T56" fmla="*/ 341 w 463"/>
                    <a:gd name="T57" fmla="*/ 211 h 227"/>
                    <a:gd name="T58" fmla="*/ 237 w 463"/>
                    <a:gd name="T59" fmla="*/ 215 h 227"/>
                    <a:gd name="T60" fmla="*/ 232 w 463"/>
                    <a:gd name="T61" fmla="*/ 215 h 227"/>
                    <a:gd name="T62" fmla="*/ 220 w 463"/>
                    <a:gd name="T63" fmla="*/ 215 h 227"/>
                    <a:gd name="T64" fmla="*/ 194 w 463"/>
                    <a:gd name="T65" fmla="*/ 177 h 227"/>
                    <a:gd name="T66" fmla="*/ 178 w 463"/>
                    <a:gd name="T67" fmla="*/ 177 h 227"/>
                    <a:gd name="T68" fmla="*/ 168 w 463"/>
                    <a:gd name="T69" fmla="*/ 194 h 227"/>
                    <a:gd name="T70" fmla="*/ 140 w 463"/>
                    <a:gd name="T71" fmla="*/ 182 h 227"/>
                    <a:gd name="T72" fmla="*/ 123 w 463"/>
                    <a:gd name="T73" fmla="*/ 194 h 227"/>
                    <a:gd name="T74" fmla="*/ 109 w 463"/>
                    <a:gd name="T75" fmla="*/ 182 h 227"/>
                    <a:gd name="T76" fmla="*/ 123 w 463"/>
                    <a:gd name="T77" fmla="*/ 154 h 227"/>
                    <a:gd name="T78" fmla="*/ 97 w 463"/>
                    <a:gd name="T79" fmla="*/ 83 h 227"/>
                    <a:gd name="T80" fmla="*/ 76 w 463"/>
                    <a:gd name="T81" fmla="*/ 71 h 227"/>
                    <a:gd name="T82" fmla="*/ 71 w 463"/>
                    <a:gd name="T83" fmla="*/ 55 h 227"/>
                    <a:gd name="T84" fmla="*/ 55 w 463"/>
                    <a:gd name="T85" fmla="*/ 50 h 227"/>
                    <a:gd name="T86" fmla="*/ 22 w 463"/>
                    <a:gd name="T87" fmla="*/ 43 h 227"/>
                    <a:gd name="T88" fmla="*/ 17 w 463"/>
                    <a:gd name="T89" fmla="*/ 26 h 227"/>
                    <a:gd name="T90" fmla="*/ 0 w 463"/>
                    <a:gd name="T91" fmla="*/ 26 h 227"/>
                    <a:gd name="T92" fmla="*/ 0 w 463"/>
                    <a:gd name="T93" fmla="*/ 26 h 227"/>
                    <a:gd name="T94" fmla="*/ 0 w 463"/>
                    <a:gd name="T95" fmla="*/ 2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63" h="227">
                      <a:moveTo>
                        <a:pt x="0" y="26"/>
                      </a:moveTo>
                      <a:lnTo>
                        <a:pt x="0" y="10"/>
                      </a:lnTo>
                      <a:lnTo>
                        <a:pt x="17" y="0"/>
                      </a:lnTo>
                      <a:lnTo>
                        <a:pt x="43" y="10"/>
                      </a:lnTo>
                      <a:lnTo>
                        <a:pt x="109" y="33"/>
                      </a:lnTo>
                      <a:lnTo>
                        <a:pt x="199" y="43"/>
                      </a:lnTo>
                      <a:lnTo>
                        <a:pt x="220" y="66"/>
                      </a:lnTo>
                      <a:lnTo>
                        <a:pt x="258" y="83"/>
                      </a:lnTo>
                      <a:lnTo>
                        <a:pt x="258" y="88"/>
                      </a:lnTo>
                      <a:lnTo>
                        <a:pt x="270" y="88"/>
                      </a:lnTo>
                      <a:lnTo>
                        <a:pt x="312" y="71"/>
                      </a:lnTo>
                      <a:lnTo>
                        <a:pt x="329" y="88"/>
                      </a:lnTo>
                      <a:lnTo>
                        <a:pt x="345" y="71"/>
                      </a:lnTo>
                      <a:lnTo>
                        <a:pt x="362" y="83"/>
                      </a:lnTo>
                      <a:lnTo>
                        <a:pt x="367" y="100"/>
                      </a:lnTo>
                      <a:lnTo>
                        <a:pt x="400" y="100"/>
                      </a:lnTo>
                      <a:lnTo>
                        <a:pt x="393" y="128"/>
                      </a:lnTo>
                      <a:lnTo>
                        <a:pt x="447" y="154"/>
                      </a:lnTo>
                      <a:lnTo>
                        <a:pt x="430" y="170"/>
                      </a:lnTo>
                      <a:lnTo>
                        <a:pt x="437" y="182"/>
                      </a:lnTo>
                      <a:lnTo>
                        <a:pt x="463" y="199"/>
                      </a:lnTo>
                      <a:lnTo>
                        <a:pt x="463" y="215"/>
                      </a:lnTo>
                      <a:lnTo>
                        <a:pt x="454" y="227"/>
                      </a:lnTo>
                      <a:lnTo>
                        <a:pt x="430" y="211"/>
                      </a:lnTo>
                      <a:lnTo>
                        <a:pt x="409" y="211"/>
                      </a:lnTo>
                      <a:lnTo>
                        <a:pt x="400" y="199"/>
                      </a:lnTo>
                      <a:lnTo>
                        <a:pt x="367" y="194"/>
                      </a:lnTo>
                      <a:lnTo>
                        <a:pt x="345" y="199"/>
                      </a:lnTo>
                      <a:lnTo>
                        <a:pt x="341" y="211"/>
                      </a:lnTo>
                      <a:lnTo>
                        <a:pt x="237" y="215"/>
                      </a:lnTo>
                      <a:lnTo>
                        <a:pt x="232" y="215"/>
                      </a:lnTo>
                      <a:lnTo>
                        <a:pt x="220" y="215"/>
                      </a:lnTo>
                      <a:lnTo>
                        <a:pt x="194" y="177"/>
                      </a:lnTo>
                      <a:lnTo>
                        <a:pt x="178" y="177"/>
                      </a:lnTo>
                      <a:lnTo>
                        <a:pt x="168" y="194"/>
                      </a:lnTo>
                      <a:lnTo>
                        <a:pt x="140" y="182"/>
                      </a:lnTo>
                      <a:lnTo>
                        <a:pt x="123" y="194"/>
                      </a:lnTo>
                      <a:lnTo>
                        <a:pt x="109" y="182"/>
                      </a:lnTo>
                      <a:lnTo>
                        <a:pt x="123" y="154"/>
                      </a:lnTo>
                      <a:lnTo>
                        <a:pt x="97" y="83"/>
                      </a:lnTo>
                      <a:lnTo>
                        <a:pt x="76" y="71"/>
                      </a:lnTo>
                      <a:lnTo>
                        <a:pt x="71" y="55"/>
                      </a:lnTo>
                      <a:lnTo>
                        <a:pt x="55" y="50"/>
                      </a:lnTo>
                      <a:lnTo>
                        <a:pt x="22" y="43"/>
                      </a:lnTo>
                      <a:lnTo>
                        <a:pt x="17" y="26"/>
                      </a:lnTo>
                      <a:lnTo>
                        <a:pt x="0" y="26"/>
                      </a:lnTo>
                      <a:lnTo>
                        <a:pt x="0" y="26"/>
                      </a:lnTo>
                      <a:lnTo>
                        <a:pt x="0" y="26"/>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27" name="Freeform 452">
                  <a:extLst>
                    <a:ext uri="{FF2B5EF4-FFF2-40B4-BE49-F238E27FC236}">
                      <a16:creationId xmlns:a16="http://schemas.microsoft.com/office/drawing/2014/main" id="{A6482EF9-3095-4AE5-99BC-E4987F0A5D2A}"/>
                    </a:ext>
                  </a:extLst>
                </p:cNvPr>
                <p:cNvSpPr>
                  <a:spLocks noEditPoints="1"/>
                </p:cNvSpPr>
                <p:nvPr/>
              </p:nvSpPr>
              <p:spPr bwMode="gray">
                <a:xfrm>
                  <a:off x="4618073" y="692696"/>
                  <a:ext cx="1754949" cy="1347958"/>
                </a:xfrm>
                <a:custGeom>
                  <a:avLst/>
                  <a:gdLst>
                    <a:gd name="T0" fmla="*/ 1604 w 4263"/>
                    <a:gd name="T1" fmla="*/ 2143 h 3274"/>
                    <a:gd name="T2" fmla="*/ 1549 w 4263"/>
                    <a:gd name="T3" fmla="*/ 1949 h 3274"/>
                    <a:gd name="T4" fmla="*/ 1240 w 4263"/>
                    <a:gd name="T5" fmla="*/ 1892 h 3274"/>
                    <a:gd name="T6" fmla="*/ 1219 w 4263"/>
                    <a:gd name="T7" fmla="*/ 1555 h 3274"/>
                    <a:gd name="T8" fmla="*/ 756 w 4263"/>
                    <a:gd name="T9" fmla="*/ 1205 h 3274"/>
                    <a:gd name="T10" fmla="*/ 236 w 4263"/>
                    <a:gd name="T11" fmla="*/ 1099 h 3274"/>
                    <a:gd name="T12" fmla="*/ 16 w 4263"/>
                    <a:gd name="T13" fmla="*/ 893 h 3274"/>
                    <a:gd name="T14" fmla="*/ 718 w 4263"/>
                    <a:gd name="T15" fmla="*/ 501 h 3274"/>
                    <a:gd name="T16" fmla="*/ 1516 w 4263"/>
                    <a:gd name="T17" fmla="*/ 305 h 3274"/>
                    <a:gd name="T18" fmla="*/ 2315 w 4263"/>
                    <a:gd name="T19" fmla="*/ 189 h 3274"/>
                    <a:gd name="T20" fmla="*/ 2482 w 4263"/>
                    <a:gd name="T21" fmla="*/ 24 h 3274"/>
                    <a:gd name="T22" fmla="*/ 3439 w 4263"/>
                    <a:gd name="T23" fmla="*/ 123 h 3274"/>
                    <a:gd name="T24" fmla="*/ 3439 w 4263"/>
                    <a:gd name="T25" fmla="*/ 506 h 3274"/>
                    <a:gd name="T26" fmla="*/ 3633 w 4263"/>
                    <a:gd name="T27" fmla="*/ 527 h 3274"/>
                    <a:gd name="T28" fmla="*/ 3746 w 4263"/>
                    <a:gd name="T29" fmla="*/ 749 h 3274"/>
                    <a:gd name="T30" fmla="*/ 3789 w 4263"/>
                    <a:gd name="T31" fmla="*/ 1054 h 3274"/>
                    <a:gd name="T32" fmla="*/ 3734 w 4263"/>
                    <a:gd name="T33" fmla="*/ 1259 h 3274"/>
                    <a:gd name="T34" fmla="*/ 3578 w 4263"/>
                    <a:gd name="T35" fmla="*/ 1489 h 3274"/>
                    <a:gd name="T36" fmla="*/ 3297 w 4263"/>
                    <a:gd name="T37" fmla="*/ 1637 h 3274"/>
                    <a:gd name="T38" fmla="*/ 3493 w 4263"/>
                    <a:gd name="T39" fmla="*/ 1814 h 3274"/>
                    <a:gd name="T40" fmla="*/ 3531 w 4263"/>
                    <a:gd name="T41" fmla="*/ 1982 h 3274"/>
                    <a:gd name="T42" fmla="*/ 3137 w 4263"/>
                    <a:gd name="T43" fmla="*/ 2015 h 3274"/>
                    <a:gd name="T44" fmla="*/ 3326 w 4263"/>
                    <a:gd name="T45" fmla="*/ 2197 h 3274"/>
                    <a:gd name="T46" fmla="*/ 2839 w 4263"/>
                    <a:gd name="T47" fmla="*/ 2275 h 3274"/>
                    <a:gd name="T48" fmla="*/ 2532 w 4263"/>
                    <a:gd name="T49" fmla="*/ 2592 h 3274"/>
                    <a:gd name="T50" fmla="*/ 2272 w 4263"/>
                    <a:gd name="T51" fmla="*/ 2670 h 3274"/>
                    <a:gd name="T52" fmla="*/ 2154 w 4263"/>
                    <a:gd name="T53" fmla="*/ 2941 h 3274"/>
                    <a:gd name="T54" fmla="*/ 2067 w 4263"/>
                    <a:gd name="T55" fmla="*/ 3163 h 3274"/>
                    <a:gd name="T56" fmla="*/ 1927 w 4263"/>
                    <a:gd name="T57" fmla="*/ 3203 h 3274"/>
                    <a:gd name="T58" fmla="*/ 1743 w 4263"/>
                    <a:gd name="T59" fmla="*/ 3163 h 3274"/>
                    <a:gd name="T60" fmla="*/ 1672 w 4263"/>
                    <a:gd name="T61" fmla="*/ 3031 h 3274"/>
                    <a:gd name="T62" fmla="*/ 1511 w 4263"/>
                    <a:gd name="T63" fmla="*/ 2821 h 3274"/>
                    <a:gd name="T64" fmla="*/ 1533 w 4263"/>
                    <a:gd name="T65" fmla="*/ 2736 h 3274"/>
                    <a:gd name="T66" fmla="*/ 1424 w 4263"/>
                    <a:gd name="T67" fmla="*/ 2632 h 3274"/>
                    <a:gd name="T68" fmla="*/ 1353 w 4263"/>
                    <a:gd name="T69" fmla="*/ 2514 h 3274"/>
                    <a:gd name="T70" fmla="*/ 1566 w 4263"/>
                    <a:gd name="T71" fmla="*/ 2393 h 3274"/>
                    <a:gd name="T72" fmla="*/ 1386 w 4263"/>
                    <a:gd name="T73" fmla="*/ 2320 h 3274"/>
                    <a:gd name="T74" fmla="*/ 2272 w 4263"/>
                    <a:gd name="T75" fmla="*/ 67 h 3274"/>
                    <a:gd name="T76" fmla="*/ 2298 w 4263"/>
                    <a:gd name="T77" fmla="*/ 173 h 3274"/>
                    <a:gd name="T78" fmla="*/ 3666 w 4263"/>
                    <a:gd name="T79" fmla="*/ 267 h 3274"/>
                    <a:gd name="T80" fmla="*/ 3881 w 4263"/>
                    <a:gd name="T81" fmla="*/ 749 h 3274"/>
                    <a:gd name="T82" fmla="*/ 3649 w 4263"/>
                    <a:gd name="T83" fmla="*/ 917 h 3274"/>
                    <a:gd name="T84" fmla="*/ 3881 w 4263"/>
                    <a:gd name="T85" fmla="*/ 962 h 3274"/>
                    <a:gd name="T86" fmla="*/ 3741 w 4263"/>
                    <a:gd name="T87" fmla="*/ 1127 h 3274"/>
                    <a:gd name="T88" fmla="*/ 215 w 4263"/>
                    <a:gd name="T89" fmla="*/ 1184 h 3274"/>
                    <a:gd name="T90" fmla="*/ 3864 w 4263"/>
                    <a:gd name="T91" fmla="*/ 1337 h 3274"/>
                    <a:gd name="T92" fmla="*/ 1133 w 4263"/>
                    <a:gd name="T93" fmla="*/ 1460 h 3274"/>
                    <a:gd name="T94" fmla="*/ 1164 w 4263"/>
                    <a:gd name="T95" fmla="*/ 1600 h 3274"/>
                    <a:gd name="T96" fmla="*/ 1202 w 4263"/>
                    <a:gd name="T97" fmla="*/ 1633 h 3274"/>
                    <a:gd name="T98" fmla="*/ 1240 w 4263"/>
                    <a:gd name="T99" fmla="*/ 1687 h 3274"/>
                    <a:gd name="T100" fmla="*/ 1209 w 4263"/>
                    <a:gd name="T101" fmla="*/ 1703 h 3274"/>
                    <a:gd name="T102" fmla="*/ 1226 w 4263"/>
                    <a:gd name="T103" fmla="*/ 1838 h 3274"/>
                    <a:gd name="T104" fmla="*/ 3342 w 4263"/>
                    <a:gd name="T105" fmla="*/ 1933 h 3274"/>
                    <a:gd name="T106" fmla="*/ 1353 w 4263"/>
                    <a:gd name="T107" fmla="*/ 2143 h 3274"/>
                    <a:gd name="T108" fmla="*/ 3486 w 4263"/>
                    <a:gd name="T109" fmla="*/ 2126 h 3274"/>
                    <a:gd name="T110" fmla="*/ 1457 w 4263"/>
                    <a:gd name="T111" fmla="*/ 2308 h 3274"/>
                    <a:gd name="T112" fmla="*/ 1370 w 4263"/>
                    <a:gd name="T113" fmla="*/ 2476 h 3274"/>
                    <a:gd name="T114" fmla="*/ 2504 w 4263"/>
                    <a:gd name="T115" fmla="*/ 2599 h 3274"/>
                    <a:gd name="T116" fmla="*/ 1408 w 4263"/>
                    <a:gd name="T117" fmla="*/ 2641 h 3274"/>
                    <a:gd name="T118" fmla="*/ 1511 w 4263"/>
                    <a:gd name="T119" fmla="*/ 2764 h 3274"/>
                    <a:gd name="T120" fmla="*/ 1566 w 4263"/>
                    <a:gd name="T121" fmla="*/ 2903 h 3274"/>
                    <a:gd name="T122" fmla="*/ 1776 w 4263"/>
                    <a:gd name="T123" fmla="*/ 3163 h 3274"/>
                    <a:gd name="T124" fmla="*/ 2071 w 4263"/>
                    <a:gd name="T125" fmla="*/ 3258 h 3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63" h="3274">
                      <a:moveTo>
                        <a:pt x="1441" y="2308"/>
                      </a:moveTo>
                      <a:lnTo>
                        <a:pt x="1436" y="2299"/>
                      </a:lnTo>
                      <a:lnTo>
                        <a:pt x="1408" y="2299"/>
                      </a:lnTo>
                      <a:lnTo>
                        <a:pt x="1424" y="2292"/>
                      </a:lnTo>
                      <a:lnTo>
                        <a:pt x="1382" y="2299"/>
                      </a:lnTo>
                      <a:lnTo>
                        <a:pt x="1382" y="2292"/>
                      </a:lnTo>
                      <a:lnTo>
                        <a:pt x="1398" y="2292"/>
                      </a:lnTo>
                      <a:lnTo>
                        <a:pt x="1441" y="2259"/>
                      </a:lnTo>
                      <a:lnTo>
                        <a:pt x="1478" y="2259"/>
                      </a:lnTo>
                      <a:lnTo>
                        <a:pt x="1490" y="2259"/>
                      </a:lnTo>
                      <a:lnTo>
                        <a:pt x="1478" y="2259"/>
                      </a:lnTo>
                      <a:lnTo>
                        <a:pt x="1504" y="2266"/>
                      </a:lnTo>
                      <a:lnTo>
                        <a:pt x="1559" y="2254"/>
                      </a:lnTo>
                      <a:lnTo>
                        <a:pt x="1559" y="2242"/>
                      </a:lnTo>
                      <a:lnTo>
                        <a:pt x="1542" y="2237"/>
                      </a:lnTo>
                      <a:lnTo>
                        <a:pt x="1570" y="2225"/>
                      </a:lnTo>
                      <a:lnTo>
                        <a:pt x="1528" y="2237"/>
                      </a:lnTo>
                      <a:lnTo>
                        <a:pt x="1549" y="2209"/>
                      </a:lnTo>
                      <a:lnTo>
                        <a:pt x="1533" y="2209"/>
                      </a:lnTo>
                      <a:lnTo>
                        <a:pt x="1542" y="2188"/>
                      </a:lnTo>
                      <a:lnTo>
                        <a:pt x="1559" y="2188"/>
                      </a:lnTo>
                      <a:lnTo>
                        <a:pt x="1542" y="2204"/>
                      </a:lnTo>
                      <a:lnTo>
                        <a:pt x="1566" y="2197"/>
                      </a:lnTo>
                      <a:lnTo>
                        <a:pt x="1587" y="2221"/>
                      </a:lnTo>
                      <a:lnTo>
                        <a:pt x="1596" y="2209"/>
                      </a:lnTo>
                      <a:lnTo>
                        <a:pt x="1580" y="2204"/>
                      </a:lnTo>
                      <a:lnTo>
                        <a:pt x="1596" y="2197"/>
                      </a:lnTo>
                      <a:lnTo>
                        <a:pt x="1596" y="2204"/>
                      </a:lnTo>
                      <a:lnTo>
                        <a:pt x="1604" y="2209"/>
                      </a:lnTo>
                      <a:lnTo>
                        <a:pt x="1596" y="2197"/>
                      </a:lnTo>
                      <a:lnTo>
                        <a:pt x="1566" y="2188"/>
                      </a:lnTo>
                      <a:lnTo>
                        <a:pt x="1604" y="2181"/>
                      </a:lnTo>
                      <a:lnTo>
                        <a:pt x="1580" y="2181"/>
                      </a:lnTo>
                      <a:lnTo>
                        <a:pt x="1580" y="2164"/>
                      </a:lnTo>
                      <a:lnTo>
                        <a:pt x="1587" y="2164"/>
                      </a:lnTo>
                      <a:lnTo>
                        <a:pt x="1549" y="2181"/>
                      </a:lnTo>
                      <a:lnTo>
                        <a:pt x="1533" y="2181"/>
                      </a:lnTo>
                      <a:lnTo>
                        <a:pt x="1559" y="2148"/>
                      </a:lnTo>
                      <a:lnTo>
                        <a:pt x="1604" y="2143"/>
                      </a:lnTo>
                      <a:lnTo>
                        <a:pt x="1549" y="2143"/>
                      </a:lnTo>
                      <a:lnTo>
                        <a:pt x="1559" y="2126"/>
                      </a:lnTo>
                      <a:lnTo>
                        <a:pt x="1587" y="2131"/>
                      </a:lnTo>
                      <a:lnTo>
                        <a:pt x="1559" y="2114"/>
                      </a:lnTo>
                      <a:lnTo>
                        <a:pt x="1570" y="2110"/>
                      </a:lnTo>
                      <a:lnTo>
                        <a:pt x="1604" y="2110"/>
                      </a:lnTo>
                      <a:lnTo>
                        <a:pt x="1596" y="2093"/>
                      </a:lnTo>
                      <a:lnTo>
                        <a:pt x="1570" y="2086"/>
                      </a:lnTo>
                      <a:lnTo>
                        <a:pt x="1596" y="2077"/>
                      </a:lnTo>
                      <a:lnTo>
                        <a:pt x="1528" y="2086"/>
                      </a:lnTo>
                      <a:lnTo>
                        <a:pt x="1559" y="2077"/>
                      </a:lnTo>
                      <a:lnTo>
                        <a:pt x="1528" y="2070"/>
                      </a:lnTo>
                      <a:lnTo>
                        <a:pt x="1511" y="2086"/>
                      </a:lnTo>
                      <a:lnTo>
                        <a:pt x="1452" y="2070"/>
                      </a:lnTo>
                      <a:lnTo>
                        <a:pt x="1424" y="2044"/>
                      </a:lnTo>
                      <a:lnTo>
                        <a:pt x="1344" y="2032"/>
                      </a:lnTo>
                      <a:lnTo>
                        <a:pt x="1289" y="1987"/>
                      </a:lnTo>
                      <a:lnTo>
                        <a:pt x="1327" y="1966"/>
                      </a:lnTo>
                      <a:lnTo>
                        <a:pt x="1424" y="1982"/>
                      </a:lnTo>
                      <a:lnTo>
                        <a:pt x="1504" y="2020"/>
                      </a:lnTo>
                      <a:lnTo>
                        <a:pt x="1570" y="2037"/>
                      </a:lnTo>
                      <a:lnTo>
                        <a:pt x="1580" y="2032"/>
                      </a:lnTo>
                      <a:lnTo>
                        <a:pt x="1566" y="2020"/>
                      </a:lnTo>
                      <a:lnTo>
                        <a:pt x="1580" y="2015"/>
                      </a:lnTo>
                      <a:lnTo>
                        <a:pt x="1549" y="2020"/>
                      </a:lnTo>
                      <a:lnTo>
                        <a:pt x="1516" y="2003"/>
                      </a:lnTo>
                      <a:lnTo>
                        <a:pt x="1528" y="1999"/>
                      </a:lnTo>
                      <a:lnTo>
                        <a:pt x="1549" y="2015"/>
                      </a:lnTo>
                      <a:lnTo>
                        <a:pt x="1566" y="2003"/>
                      </a:lnTo>
                      <a:lnTo>
                        <a:pt x="1542" y="1999"/>
                      </a:lnTo>
                      <a:lnTo>
                        <a:pt x="1570" y="1999"/>
                      </a:lnTo>
                      <a:lnTo>
                        <a:pt x="1511" y="1982"/>
                      </a:lnTo>
                      <a:lnTo>
                        <a:pt x="1528" y="1975"/>
                      </a:lnTo>
                      <a:lnTo>
                        <a:pt x="1570" y="1982"/>
                      </a:lnTo>
                      <a:lnTo>
                        <a:pt x="1549" y="1975"/>
                      </a:lnTo>
                      <a:lnTo>
                        <a:pt x="1559" y="1966"/>
                      </a:lnTo>
                      <a:lnTo>
                        <a:pt x="1533" y="1966"/>
                      </a:lnTo>
                      <a:lnTo>
                        <a:pt x="1478" y="1942"/>
                      </a:lnTo>
                      <a:lnTo>
                        <a:pt x="1549" y="1949"/>
                      </a:lnTo>
                      <a:lnTo>
                        <a:pt x="1511" y="1942"/>
                      </a:lnTo>
                      <a:lnTo>
                        <a:pt x="1528" y="1926"/>
                      </a:lnTo>
                      <a:lnTo>
                        <a:pt x="1457" y="1933"/>
                      </a:lnTo>
                      <a:lnTo>
                        <a:pt x="1511" y="1909"/>
                      </a:lnTo>
                      <a:lnTo>
                        <a:pt x="1504" y="1904"/>
                      </a:lnTo>
                      <a:lnTo>
                        <a:pt x="1436" y="1926"/>
                      </a:lnTo>
                      <a:lnTo>
                        <a:pt x="1457" y="1909"/>
                      </a:lnTo>
                      <a:lnTo>
                        <a:pt x="1457" y="1904"/>
                      </a:lnTo>
                      <a:lnTo>
                        <a:pt x="1516" y="1888"/>
                      </a:lnTo>
                      <a:lnTo>
                        <a:pt x="1495" y="1876"/>
                      </a:lnTo>
                      <a:lnTo>
                        <a:pt x="1441" y="1892"/>
                      </a:lnTo>
                      <a:lnTo>
                        <a:pt x="1403" y="1892"/>
                      </a:lnTo>
                      <a:lnTo>
                        <a:pt x="1441" y="1871"/>
                      </a:lnTo>
                      <a:lnTo>
                        <a:pt x="1490" y="1871"/>
                      </a:lnTo>
                      <a:lnTo>
                        <a:pt x="1504" y="1855"/>
                      </a:lnTo>
                      <a:lnTo>
                        <a:pt x="1462" y="1864"/>
                      </a:lnTo>
                      <a:lnTo>
                        <a:pt x="1386" y="1855"/>
                      </a:lnTo>
                      <a:lnTo>
                        <a:pt x="1424" y="1814"/>
                      </a:lnTo>
                      <a:lnTo>
                        <a:pt x="1408" y="1822"/>
                      </a:lnTo>
                      <a:lnTo>
                        <a:pt x="1403" y="1831"/>
                      </a:lnTo>
                      <a:lnTo>
                        <a:pt x="1382" y="1838"/>
                      </a:lnTo>
                      <a:lnTo>
                        <a:pt x="1382" y="1810"/>
                      </a:lnTo>
                      <a:lnTo>
                        <a:pt x="1353" y="1798"/>
                      </a:lnTo>
                      <a:lnTo>
                        <a:pt x="1344" y="1765"/>
                      </a:lnTo>
                      <a:lnTo>
                        <a:pt x="1365" y="1765"/>
                      </a:lnTo>
                      <a:lnTo>
                        <a:pt x="1332" y="1765"/>
                      </a:lnTo>
                      <a:lnTo>
                        <a:pt x="1382" y="1831"/>
                      </a:lnTo>
                      <a:lnTo>
                        <a:pt x="1353" y="1848"/>
                      </a:lnTo>
                      <a:lnTo>
                        <a:pt x="1344" y="1848"/>
                      </a:lnTo>
                      <a:lnTo>
                        <a:pt x="1348" y="1855"/>
                      </a:lnTo>
                      <a:lnTo>
                        <a:pt x="1348" y="1864"/>
                      </a:lnTo>
                      <a:lnTo>
                        <a:pt x="1327" y="1855"/>
                      </a:lnTo>
                      <a:lnTo>
                        <a:pt x="1327" y="1864"/>
                      </a:lnTo>
                      <a:lnTo>
                        <a:pt x="1344" y="1871"/>
                      </a:lnTo>
                      <a:lnTo>
                        <a:pt x="1344" y="1888"/>
                      </a:lnTo>
                      <a:lnTo>
                        <a:pt x="1278" y="1904"/>
                      </a:lnTo>
                      <a:lnTo>
                        <a:pt x="1247" y="1876"/>
                      </a:lnTo>
                      <a:lnTo>
                        <a:pt x="1256" y="1892"/>
                      </a:lnTo>
                      <a:lnTo>
                        <a:pt x="1240" y="1892"/>
                      </a:lnTo>
                      <a:lnTo>
                        <a:pt x="1219" y="1864"/>
                      </a:lnTo>
                      <a:lnTo>
                        <a:pt x="1226" y="1864"/>
                      </a:lnTo>
                      <a:lnTo>
                        <a:pt x="1202" y="1855"/>
                      </a:lnTo>
                      <a:lnTo>
                        <a:pt x="1240" y="1831"/>
                      </a:lnTo>
                      <a:lnTo>
                        <a:pt x="1278" y="1822"/>
                      </a:lnTo>
                      <a:lnTo>
                        <a:pt x="1294" y="1810"/>
                      </a:lnTo>
                      <a:lnTo>
                        <a:pt x="1311" y="1781"/>
                      </a:lnTo>
                      <a:lnTo>
                        <a:pt x="1273" y="1822"/>
                      </a:lnTo>
                      <a:lnTo>
                        <a:pt x="1240" y="1822"/>
                      </a:lnTo>
                      <a:lnTo>
                        <a:pt x="1226" y="1814"/>
                      </a:lnTo>
                      <a:lnTo>
                        <a:pt x="1273" y="1781"/>
                      </a:lnTo>
                      <a:lnTo>
                        <a:pt x="1263" y="1765"/>
                      </a:lnTo>
                      <a:lnTo>
                        <a:pt x="1289" y="1765"/>
                      </a:lnTo>
                      <a:lnTo>
                        <a:pt x="1263" y="1760"/>
                      </a:lnTo>
                      <a:lnTo>
                        <a:pt x="1273" y="1760"/>
                      </a:lnTo>
                      <a:lnTo>
                        <a:pt x="1247" y="1765"/>
                      </a:lnTo>
                      <a:lnTo>
                        <a:pt x="1219" y="1748"/>
                      </a:lnTo>
                      <a:lnTo>
                        <a:pt x="1235" y="1744"/>
                      </a:lnTo>
                      <a:lnTo>
                        <a:pt x="1311" y="1748"/>
                      </a:lnTo>
                      <a:lnTo>
                        <a:pt x="1263" y="1744"/>
                      </a:lnTo>
                      <a:lnTo>
                        <a:pt x="1273" y="1727"/>
                      </a:lnTo>
                      <a:lnTo>
                        <a:pt x="1289" y="1727"/>
                      </a:lnTo>
                      <a:lnTo>
                        <a:pt x="1273" y="1727"/>
                      </a:lnTo>
                      <a:lnTo>
                        <a:pt x="1289" y="1711"/>
                      </a:lnTo>
                      <a:lnTo>
                        <a:pt x="1273" y="1711"/>
                      </a:lnTo>
                      <a:lnTo>
                        <a:pt x="1294" y="1703"/>
                      </a:lnTo>
                      <a:lnTo>
                        <a:pt x="1273" y="1670"/>
                      </a:lnTo>
                      <a:lnTo>
                        <a:pt x="1219" y="1666"/>
                      </a:lnTo>
                      <a:lnTo>
                        <a:pt x="1256" y="1649"/>
                      </a:lnTo>
                      <a:lnTo>
                        <a:pt x="1235" y="1637"/>
                      </a:lnTo>
                      <a:lnTo>
                        <a:pt x="1247" y="1626"/>
                      </a:lnTo>
                      <a:lnTo>
                        <a:pt x="1256" y="1626"/>
                      </a:lnTo>
                      <a:lnTo>
                        <a:pt x="1188" y="1583"/>
                      </a:lnTo>
                      <a:lnTo>
                        <a:pt x="1202" y="1583"/>
                      </a:lnTo>
                      <a:lnTo>
                        <a:pt x="1193" y="1583"/>
                      </a:lnTo>
                      <a:lnTo>
                        <a:pt x="1193" y="1571"/>
                      </a:lnTo>
                      <a:lnTo>
                        <a:pt x="1219" y="1576"/>
                      </a:lnTo>
                      <a:lnTo>
                        <a:pt x="1193" y="1559"/>
                      </a:lnTo>
                      <a:lnTo>
                        <a:pt x="1219" y="1555"/>
                      </a:lnTo>
                      <a:lnTo>
                        <a:pt x="1188" y="1538"/>
                      </a:lnTo>
                      <a:lnTo>
                        <a:pt x="1193" y="1538"/>
                      </a:lnTo>
                      <a:lnTo>
                        <a:pt x="1164" y="1526"/>
                      </a:lnTo>
                      <a:lnTo>
                        <a:pt x="1188" y="1498"/>
                      </a:lnTo>
                      <a:lnTo>
                        <a:pt x="1100" y="1522"/>
                      </a:lnTo>
                      <a:lnTo>
                        <a:pt x="1171" y="1498"/>
                      </a:lnTo>
                      <a:lnTo>
                        <a:pt x="1138" y="1489"/>
                      </a:lnTo>
                      <a:lnTo>
                        <a:pt x="1188" y="1481"/>
                      </a:lnTo>
                      <a:lnTo>
                        <a:pt x="1138" y="1472"/>
                      </a:lnTo>
                      <a:lnTo>
                        <a:pt x="1181" y="1472"/>
                      </a:lnTo>
                      <a:lnTo>
                        <a:pt x="1181" y="1460"/>
                      </a:lnTo>
                      <a:lnTo>
                        <a:pt x="1155" y="1460"/>
                      </a:lnTo>
                      <a:lnTo>
                        <a:pt x="1133" y="1444"/>
                      </a:lnTo>
                      <a:lnTo>
                        <a:pt x="1126" y="1444"/>
                      </a:lnTo>
                      <a:lnTo>
                        <a:pt x="1112" y="1427"/>
                      </a:lnTo>
                      <a:lnTo>
                        <a:pt x="1133" y="1427"/>
                      </a:lnTo>
                      <a:lnTo>
                        <a:pt x="1126" y="1411"/>
                      </a:lnTo>
                      <a:lnTo>
                        <a:pt x="1041" y="1387"/>
                      </a:lnTo>
                      <a:lnTo>
                        <a:pt x="1058" y="1370"/>
                      </a:lnTo>
                      <a:lnTo>
                        <a:pt x="1030" y="1354"/>
                      </a:lnTo>
                      <a:lnTo>
                        <a:pt x="1030" y="1337"/>
                      </a:lnTo>
                      <a:lnTo>
                        <a:pt x="1004" y="1349"/>
                      </a:lnTo>
                      <a:lnTo>
                        <a:pt x="1041" y="1333"/>
                      </a:lnTo>
                      <a:lnTo>
                        <a:pt x="1041" y="1321"/>
                      </a:lnTo>
                      <a:lnTo>
                        <a:pt x="1025" y="1316"/>
                      </a:lnTo>
                      <a:lnTo>
                        <a:pt x="1030" y="1300"/>
                      </a:lnTo>
                      <a:lnTo>
                        <a:pt x="1008" y="1300"/>
                      </a:lnTo>
                      <a:lnTo>
                        <a:pt x="1025" y="1295"/>
                      </a:lnTo>
                      <a:lnTo>
                        <a:pt x="975" y="1295"/>
                      </a:lnTo>
                      <a:lnTo>
                        <a:pt x="971" y="1283"/>
                      </a:lnTo>
                      <a:lnTo>
                        <a:pt x="971" y="1276"/>
                      </a:lnTo>
                      <a:lnTo>
                        <a:pt x="971" y="1266"/>
                      </a:lnTo>
                      <a:lnTo>
                        <a:pt x="933" y="1283"/>
                      </a:lnTo>
                      <a:lnTo>
                        <a:pt x="937" y="1259"/>
                      </a:lnTo>
                      <a:lnTo>
                        <a:pt x="878" y="1238"/>
                      </a:lnTo>
                      <a:lnTo>
                        <a:pt x="862" y="1250"/>
                      </a:lnTo>
                      <a:lnTo>
                        <a:pt x="857" y="1226"/>
                      </a:lnTo>
                      <a:lnTo>
                        <a:pt x="760" y="1222"/>
                      </a:lnTo>
                      <a:lnTo>
                        <a:pt x="756" y="1205"/>
                      </a:lnTo>
                      <a:lnTo>
                        <a:pt x="722" y="1210"/>
                      </a:lnTo>
                      <a:lnTo>
                        <a:pt x="718" y="1222"/>
                      </a:lnTo>
                      <a:lnTo>
                        <a:pt x="706" y="1205"/>
                      </a:lnTo>
                      <a:lnTo>
                        <a:pt x="680" y="1193"/>
                      </a:lnTo>
                      <a:lnTo>
                        <a:pt x="652" y="1222"/>
                      </a:lnTo>
                      <a:lnTo>
                        <a:pt x="630" y="1226"/>
                      </a:lnTo>
                      <a:lnTo>
                        <a:pt x="614" y="1222"/>
                      </a:lnTo>
                      <a:lnTo>
                        <a:pt x="626" y="1205"/>
                      </a:lnTo>
                      <a:lnTo>
                        <a:pt x="597" y="1193"/>
                      </a:lnTo>
                      <a:lnTo>
                        <a:pt x="609" y="1205"/>
                      </a:lnTo>
                      <a:lnTo>
                        <a:pt x="597" y="1222"/>
                      </a:lnTo>
                      <a:lnTo>
                        <a:pt x="588" y="1210"/>
                      </a:lnTo>
                      <a:lnTo>
                        <a:pt x="588" y="1226"/>
                      </a:lnTo>
                      <a:lnTo>
                        <a:pt x="593" y="1226"/>
                      </a:lnTo>
                      <a:lnTo>
                        <a:pt x="538" y="1226"/>
                      </a:lnTo>
                      <a:lnTo>
                        <a:pt x="538" y="1238"/>
                      </a:lnTo>
                      <a:lnTo>
                        <a:pt x="534" y="1243"/>
                      </a:lnTo>
                      <a:lnTo>
                        <a:pt x="500" y="1238"/>
                      </a:lnTo>
                      <a:lnTo>
                        <a:pt x="517" y="1222"/>
                      </a:lnTo>
                      <a:lnTo>
                        <a:pt x="508" y="1222"/>
                      </a:lnTo>
                      <a:lnTo>
                        <a:pt x="522" y="1210"/>
                      </a:lnTo>
                      <a:lnTo>
                        <a:pt x="508" y="1210"/>
                      </a:lnTo>
                      <a:lnTo>
                        <a:pt x="479" y="1205"/>
                      </a:lnTo>
                      <a:lnTo>
                        <a:pt x="463" y="1238"/>
                      </a:lnTo>
                      <a:lnTo>
                        <a:pt x="425" y="1210"/>
                      </a:lnTo>
                      <a:lnTo>
                        <a:pt x="399" y="1226"/>
                      </a:lnTo>
                      <a:lnTo>
                        <a:pt x="463" y="1259"/>
                      </a:lnTo>
                      <a:lnTo>
                        <a:pt x="311" y="1238"/>
                      </a:lnTo>
                      <a:lnTo>
                        <a:pt x="323" y="1226"/>
                      </a:lnTo>
                      <a:lnTo>
                        <a:pt x="290" y="1226"/>
                      </a:lnTo>
                      <a:lnTo>
                        <a:pt x="302" y="1222"/>
                      </a:lnTo>
                      <a:lnTo>
                        <a:pt x="236" y="1193"/>
                      </a:lnTo>
                      <a:lnTo>
                        <a:pt x="302" y="1165"/>
                      </a:lnTo>
                      <a:lnTo>
                        <a:pt x="356" y="1165"/>
                      </a:lnTo>
                      <a:lnTo>
                        <a:pt x="356" y="1148"/>
                      </a:lnTo>
                      <a:lnTo>
                        <a:pt x="269" y="1148"/>
                      </a:lnTo>
                      <a:lnTo>
                        <a:pt x="205" y="1132"/>
                      </a:lnTo>
                      <a:lnTo>
                        <a:pt x="248" y="1099"/>
                      </a:lnTo>
                      <a:lnTo>
                        <a:pt x="236" y="1099"/>
                      </a:lnTo>
                      <a:lnTo>
                        <a:pt x="177" y="1132"/>
                      </a:lnTo>
                      <a:lnTo>
                        <a:pt x="144" y="1115"/>
                      </a:lnTo>
                      <a:lnTo>
                        <a:pt x="160" y="1111"/>
                      </a:lnTo>
                      <a:lnTo>
                        <a:pt x="130" y="1111"/>
                      </a:lnTo>
                      <a:lnTo>
                        <a:pt x="113" y="1094"/>
                      </a:lnTo>
                      <a:lnTo>
                        <a:pt x="151" y="1077"/>
                      </a:lnTo>
                      <a:lnTo>
                        <a:pt x="144" y="1073"/>
                      </a:lnTo>
                      <a:lnTo>
                        <a:pt x="198" y="1061"/>
                      </a:lnTo>
                      <a:lnTo>
                        <a:pt x="463" y="1077"/>
                      </a:lnTo>
                      <a:lnTo>
                        <a:pt x="479" y="1073"/>
                      </a:lnTo>
                      <a:lnTo>
                        <a:pt x="432" y="1077"/>
                      </a:lnTo>
                      <a:lnTo>
                        <a:pt x="274" y="1061"/>
                      </a:lnTo>
                      <a:lnTo>
                        <a:pt x="378" y="1037"/>
                      </a:lnTo>
                      <a:lnTo>
                        <a:pt x="479" y="1061"/>
                      </a:lnTo>
                      <a:lnTo>
                        <a:pt x="446" y="1037"/>
                      </a:lnTo>
                      <a:lnTo>
                        <a:pt x="484" y="1021"/>
                      </a:lnTo>
                      <a:lnTo>
                        <a:pt x="470" y="1004"/>
                      </a:lnTo>
                      <a:lnTo>
                        <a:pt x="437" y="1000"/>
                      </a:lnTo>
                      <a:lnTo>
                        <a:pt x="415" y="1000"/>
                      </a:lnTo>
                      <a:lnTo>
                        <a:pt x="382" y="1021"/>
                      </a:lnTo>
                      <a:lnTo>
                        <a:pt x="328" y="1021"/>
                      </a:lnTo>
                      <a:lnTo>
                        <a:pt x="302" y="1000"/>
                      </a:lnTo>
                      <a:lnTo>
                        <a:pt x="290" y="1000"/>
                      </a:lnTo>
                      <a:lnTo>
                        <a:pt x="307" y="1021"/>
                      </a:lnTo>
                      <a:lnTo>
                        <a:pt x="257" y="1028"/>
                      </a:lnTo>
                      <a:lnTo>
                        <a:pt x="193" y="1016"/>
                      </a:lnTo>
                      <a:lnTo>
                        <a:pt x="248" y="1000"/>
                      </a:lnTo>
                      <a:lnTo>
                        <a:pt x="248" y="983"/>
                      </a:lnTo>
                      <a:lnTo>
                        <a:pt x="167" y="1000"/>
                      </a:lnTo>
                      <a:lnTo>
                        <a:pt x="215" y="971"/>
                      </a:lnTo>
                      <a:lnTo>
                        <a:pt x="122" y="983"/>
                      </a:lnTo>
                      <a:lnTo>
                        <a:pt x="113" y="983"/>
                      </a:lnTo>
                      <a:lnTo>
                        <a:pt x="130" y="966"/>
                      </a:lnTo>
                      <a:lnTo>
                        <a:pt x="75" y="966"/>
                      </a:lnTo>
                      <a:lnTo>
                        <a:pt x="42" y="945"/>
                      </a:lnTo>
                      <a:lnTo>
                        <a:pt x="54" y="945"/>
                      </a:lnTo>
                      <a:lnTo>
                        <a:pt x="0" y="917"/>
                      </a:lnTo>
                      <a:lnTo>
                        <a:pt x="37" y="905"/>
                      </a:lnTo>
                      <a:lnTo>
                        <a:pt x="16" y="893"/>
                      </a:lnTo>
                      <a:lnTo>
                        <a:pt x="30" y="877"/>
                      </a:lnTo>
                      <a:lnTo>
                        <a:pt x="30" y="872"/>
                      </a:lnTo>
                      <a:lnTo>
                        <a:pt x="30" y="860"/>
                      </a:lnTo>
                      <a:lnTo>
                        <a:pt x="97" y="851"/>
                      </a:lnTo>
                      <a:lnTo>
                        <a:pt x="151" y="851"/>
                      </a:lnTo>
                      <a:lnTo>
                        <a:pt x="160" y="839"/>
                      </a:lnTo>
                      <a:lnTo>
                        <a:pt x="269" y="806"/>
                      </a:lnTo>
                      <a:lnTo>
                        <a:pt x="302" y="815"/>
                      </a:lnTo>
                      <a:lnTo>
                        <a:pt x="269" y="799"/>
                      </a:lnTo>
                      <a:lnTo>
                        <a:pt x="328" y="778"/>
                      </a:lnTo>
                      <a:lnTo>
                        <a:pt x="371" y="782"/>
                      </a:lnTo>
                      <a:lnTo>
                        <a:pt x="382" y="766"/>
                      </a:lnTo>
                      <a:lnTo>
                        <a:pt x="491" y="778"/>
                      </a:lnTo>
                      <a:lnTo>
                        <a:pt x="576" y="704"/>
                      </a:lnTo>
                      <a:lnTo>
                        <a:pt x="555" y="655"/>
                      </a:lnTo>
                      <a:lnTo>
                        <a:pt x="559" y="638"/>
                      </a:lnTo>
                      <a:lnTo>
                        <a:pt x="555" y="629"/>
                      </a:lnTo>
                      <a:lnTo>
                        <a:pt x="647" y="600"/>
                      </a:lnTo>
                      <a:lnTo>
                        <a:pt x="626" y="600"/>
                      </a:lnTo>
                      <a:lnTo>
                        <a:pt x="614" y="584"/>
                      </a:lnTo>
                      <a:lnTo>
                        <a:pt x="609" y="600"/>
                      </a:lnTo>
                      <a:lnTo>
                        <a:pt x="571" y="617"/>
                      </a:lnTo>
                      <a:lnTo>
                        <a:pt x="415" y="617"/>
                      </a:lnTo>
                      <a:lnTo>
                        <a:pt x="408" y="600"/>
                      </a:lnTo>
                      <a:lnTo>
                        <a:pt x="382" y="596"/>
                      </a:lnTo>
                      <a:lnTo>
                        <a:pt x="394" y="572"/>
                      </a:lnTo>
                      <a:lnTo>
                        <a:pt x="437" y="555"/>
                      </a:lnTo>
                      <a:lnTo>
                        <a:pt x="437" y="539"/>
                      </a:lnTo>
                      <a:lnTo>
                        <a:pt x="522" y="518"/>
                      </a:lnTo>
                      <a:lnTo>
                        <a:pt x="517" y="506"/>
                      </a:lnTo>
                      <a:lnTo>
                        <a:pt x="555" y="501"/>
                      </a:lnTo>
                      <a:lnTo>
                        <a:pt x="559" y="489"/>
                      </a:lnTo>
                      <a:lnTo>
                        <a:pt x="559" y="485"/>
                      </a:lnTo>
                      <a:lnTo>
                        <a:pt x="588" y="473"/>
                      </a:lnTo>
                      <a:lnTo>
                        <a:pt x="576" y="461"/>
                      </a:lnTo>
                      <a:lnTo>
                        <a:pt x="652" y="433"/>
                      </a:lnTo>
                      <a:lnTo>
                        <a:pt x="668" y="444"/>
                      </a:lnTo>
                      <a:lnTo>
                        <a:pt x="680" y="466"/>
                      </a:lnTo>
                      <a:lnTo>
                        <a:pt x="718" y="501"/>
                      </a:lnTo>
                      <a:lnTo>
                        <a:pt x="722" y="501"/>
                      </a:lnTo>
                      <a:lnTo>
                        <a:pt x="685" y="466"/>
                      </a:lnTo>
                      <a:lnTo>
                        <a:pt x="680" y="433"/>
                      </a:lnTo>
                      <a:lnTo>
                        <a:pt x="718" y="416"/>
                      </a:lnTo>
                      <a:lnTo>
                        <a:pt x="803" y="449"/>
                      </a:lnTo>
                      <a:lnTo>
                        <a:pt x="841" y="444"/>
                      </a:lnTo>
                      <a:lnTo>
                        <a:pt x="848" y="433"/>
                      </a:lnTo>
                      <a:lnTo>
                        <a:pt x="824" y="395"/>
                      </a:lnTo>
                      <a:lnTo>
                        <a:pt x="862" y="374"/>
                      </a:lnTo>
                      <a:lnTo>
                        <a:pt x="810" y="333"/>
                      </a:lnTo>
                      <a:lnTo>
                        <a:pt x="857" y="305"/>
                      </a:lnTo>
                      <a:lnTo>
                        <a:pt x="911" y="300"/>
                      </a:lnTo>
                      <a:lnTo>
                        <a:pt x="992" y="305"/>
                      </a:lnTo>
                      <a:lnTo>
                        <a:pt x="1008" y="350"/>
                      </a:lnTo>
                      <a:lnTo>
                        <a:pt x="1079" y="355"/>
                      </a:lnTo>
                      <a:lnTo>
                        <a:pt x="1112" y="390"/>
                      </a:lnTo>
                      <a:lnTo>
                        <a:pt x="1155" y="407"/>
                      </a:lnTo>
                      <a:lnTo>
                        <a:pt x="1164" y="407"/>
                      </a:lnTo>
                      <a:lnTo>
                        <a:pt x="1046" y="350"/>
                      </a:lnTo>
                      <a:lnTo>
                        <a:pt x="1020" y="305"/>
                      </a:lnTo>
                      <a:lnTo>
                        <a:pt x="949" y="296"/>
                      </a:lnTo>
                      <a:lnTo>
                        <a:pt x="1155" y="244"/>
                      </a:lnTo>
                      <a:lnTo>
                        <a:pt x="1171" y="263"/>
                      </a:lnTo>
                      <a:lnTo>
                        <a:pt x="1202" y="244"/>
                      </a:lnTo>
                      <a:lnTo>
                        <a:pt x="1247" y="244"/>
                      </a:lnTo>
                      <a:lnTo>
                        <a:pt x="1240" y="251"/>
                      </a:lnTo>
                      <a:lnTo>
                        <a:pt x="1256" y="263"/>
                      </a:lnTo>
                      <a:lnTo>
                        <a:pt x="1247" y="239"/>
                      </a:lnTo>
                      <a:lnTo>
                        <a:pt x="1226" y="239"/>
                      </a:lnTo>
                      <a:lnTo>
                        <a:pt x="1301" y="222"/>
                      </a:lnTo>
                      <a:lnTo>
                        <a:pt x="1365" y="267"/>
                      </a:lnTo>
                      <a:lnTo>
                        <a:pt x="1370" y="305"/>
                      </a:lnTo>
                      <a:lnTo>
                        <a:pt x="1348" y="338"/>
                      </a:lnTo>
                      <a:lnTo>
                        <a:pt x="1348" y="362"/>
                      </a:lnTo>
                      <a:lnTo>
                        <a:pt x="1370" y="374"/>
                      </a:lnTo>
                      <a:lnTo>
                        <a:pt x="1365" y="350"/>
                      </a:lnTo>
                      <a:lnTo>
                        <a:pt x="1408" y="317"/>
                      </a:lnTo>
                      <a:lnTo>
                        <a:pt x="1403" y="284"/>
                      </a:lnTo>
                      <a:lnTo>
                        <a:pt x="1516" y="305"/>
                      </a:lnTo>
                      <a:lnTo>
                        <a:pt x="1618" y="355"/>
                      </a:lnTo>
                      <a:lnTo>
                        <a:pt x="1641" y="350"/>
                      </a:lnTo>
                      <a:lnTo>
                        <a:pt x="1542" y="300"/>
                      </a:lnTo>
                      <a:lnTo>
                        <a:pt x="1625" y="305"/>
                      </a:lnTo>
                      <a:lnTo>
                        <a:pt x="1656" y="300"/>
                      </a:lnTo>
                      <a:lnTo>
                        <a:pt x="1566" y="251"/>
                      </a:lnTo>
                      <a:lnTo>
                        <a:pt x="1533" y="194"/>
                      </a:lnTo>
                      <a:lnTo>
                        <a:pt x="1672" y="206"/>
                      </a:lnTo>
                      <a:lnTo>
                        <a:pt x="1785" y="263"/>
                      </a:lnTo>
                      <a:lnTo>
                        <a:pt x="1873" y="279"/>
                      </a:lnTo>
                      <a:lnTo>
                        <a:pt x="1894" y="284"/>
                      </a:lnTo>
                      <a:lnTo>
                        <a:pt x="1889" y="300"/>
                      </a:lnTo>
                      <a:lnTo>
                        <a:pt x="1991" y="333"/>
                      </a:lnTo>
                      <a:lnTo>
                        <a:pt x="2019" y="317"/>
                      </a:lnTo>
                      <a:lnTo>
                        <a:pt x="1982" y="300"/>
                      </a:lnTo>
                      <a:lnTo>
                        <a:pt x="2003" y="296"/>
                      </a:lnTo>
                      <a:lnTo>
                        <a:pt x="1974" y="296"/>
                      </a:lnTo>
                      <a:lnTo>
                        <a:pt x="1996" y="279"/>
                      </a:lnTo>
                      <a:lnTo>
                        <a:pt x="1982" y="251"/>
                      </a:lnTo>
                      <a:lnTo>
                        <a:pt x="1991" y="239"/>
                      </a:lnTo>
                      <a:lnTo>
                        <a:pt x="2154" y="251"/>
                      </a:lnTo>
                      <a:lnTo>
                        <a:pt x="2050" y="227"/>
                      </a:lnTo>
                      <a:lnTo>
                        <a:pt x="2045" y="222"/>
                      </a:lnTo>
                      <a:lnTo>
                        <a:pt x="2050" y="222"/>
                      </a:lnTo>
                      <a:lnTo>
                        <a:pt x="1911" y="152"/>
                      </a:lnTo>
                      <a:lnTo>
                        <a:pt x="2163" y="152"/>
                      </a:lnTo>
                      <a:lnTo>
                        <a:pt x="2175" y="156"/>
                      </a:lnTo>
                      <a:lnTo>
                        <a:pt x="2163" y="168"/>
                      </a:lnTo>
                      <a:lnTo>
                        <a:pt x="2192" y="173"/>
                      </a:lnTo>
                      <a:lnTo>
                        <a:pt x="2192" y="194"/>
                      </a:lnTo>
                      <a:lnTo>
                        <a:pt x="2196" y="206"/>
                      </a:lnTo>
                      <a:lnTo>
                        <a:pt x="2208" y="194"/>
                      </a:lnTo>
                      <a:lnTo>
                        <a:pt x="2208" y="173"/>
                      </a:lnTo>
                      <a:lnTo>
                        <a:pt x="2180" y="156"/>
                      </a:lnTo>
                      <a:lnTo>
                        <a:pt x="2208" y="156"/>
                      </a:lnTo>
                      <a:lnTo>
                        <a:pt x="2298" y="189"/>
                      </a:lnTo>
                      <a:lnTo>
                        <a:pt x="2322" y="222"/>
                      </a:lnTo>
                      <a:lnTo>
                        <a:pt x="2336" y="222"/>
                      </a:lnTo>
                      <a:lnTo>
                        <a:pt x="2315" y="189"/>
                      </a:lnTo>
                      <a:lnTo>
                        <a:pt x="2326" y="178"/>
                      </a:lnTo>
                      <a:lnTo>
                        <a:pt x="2322" y="173"/>
                      </a:lnTo>
                      <a:lnTo>
                        <a:pt x="2305" y="168"/>
                      </a:lnTo>
                      <a:lnTo>
                        <a:pt x="2159" y="135"/>
                      </a:lnTo>
                      <a:lnTo>
                        <a:pt x="1958" y="123"/>
                      </a:lnTo>
                      <a:lnTo>
                        <a:pt x="1974" y="135"/>
                      </a:lnTo>
                      <a:lnTo>
                        <a:pt x="1894" y="140"/>
                      </a:lnTo>
                      <a:lnTo>
                        <a:pt x="1835" y="116"/>
                      </a:lnTo>
                      <a:lnTo>
                        <a:pt x="1894" y="123"/>
                      </a:lnTo>
                      <a:lnTo>
                        <a:pt x="1840" y="111"/>
                      </a:lnTo>
                      <a:lnTo>
                        <a:pt x="1894" y="95"/>
                      </a:lnTo>
                      <a:lnTo>
                        <a:pt x="1958" y="123"/>
                      </a:lnTo>
                      <a:lnTo>
                        <a:pt x="2083" y="123"/>
                      </a:lnTo>
                      <a:lnTo>
                        <a:pt x="1974" y="111"/>
                      </a:lnTo>
                      <a:lnTo>
                        <a:pt x="1927" y="83"/>
                      </a:lnTo>
                      <a:lnTo>
                        <a:pt x="1937" y="83"/>
                      </a:lnTo>
                      <a:lnTo>
                        <a:pt x="2109" y="95"/>
                      </a:lnTo>
                      <a:lnTo>
                        <a:pt x="2033" y="67"/>
                      </a:lnTo>
                      <a:lnTo>
                        <a:pt x="2109" y="67"/>
                      </a:lnTo>
                      <a:lnTo>
                        <a:pt x="2083" y="67"/>
                      </a:lnTo>
                      <a:lnTo>
                        <a:pt x="2126" y="62"/>
                      </a:lnTo>
                      <a:lnTo>
                        <a:pt x="2196" y="78"/>
                      </a:lnTo>
                      <a:lnTo>
                        <a:pt x="2180" y="95"/>
                      </a:lnTo>
                      <a:lnTo>
                        <a:pt x="2208" y="83"/>
                      </a:lnTo>
                      <a:lnTo>
                        <a:pt x="2272" y="116"/>
                      </a:lnTo>
                      <a:lnTo>
                        <a:pt x="2352" y="116"/>
                      </a:lnTo>
                      <a:lnTo>
                        <a:pt x="2411" y="156"/>
                      </a:lnTo>
                      <a:lnTo>
                        <a:pt x="2423" y="140"/>
                      </a:lnTo>
                      <a:lnTo>
                        <a:pt x="2374" y="116"/>
                      </a:lnTo>
                      <a:lnTo>
                        <a:pt x="2504" y="111"/>
                      </a:lnTo>
                      <a:lnTo>
                        <a:pt x="2397" y="100"/>
                      </a:lnTo>
                      <a:lnTo>
                        <a:pt x="2537" y="83"/>
                      </a:lnTo>
                      <a:lnTo>
                        <a:pt x="2407" y="67"/>
                      </a:lnTo>
                      <a:lnTo>
                        <a:pt x="2397" y="62"/>
                      </a:lnTo>
                      <a:lnTo>
                        <a:pt x="2397" y="29"/>
                      </a:lnTo>
                      <a:lnTo>
                        <a:pt x="2466" y="45"/>
                      </a:lnTo>
                      <a:lnTo>
                        <a:pt x="2478" y="45"/>
                      </a:lnTo>
                      <a:lnTo>
                        <a:pt x="2449" y="29"/>
                      </a:lnTo>
                      <a:lnTo>
                        <a:pt x="2482" y="24"/>
                      </a:lnTo>
                      <a:lnTo>
                        <a:pt x="2570" y="45"/>
                      </a:lnTo>
                      <a:lnTo>
                        <a:pt x="2537" y="24"/>
                      </a:lnTo>
                      <a:lnTo>
                        <a:pt x="2714" y="0"/>
                      </a:lnTo>
                      <a:lnTo>
                        <a:pt x="2747" y="29"/>
                      </a:lnTo>
                      <a:lnTo>
                        <a:pt x="2752" y="24"/>
                      </a:lnTo>
                      <a:lnTo>
                        <a:pt x="2730" y="5"/>
                      </a:lnTo>
                      <a:lnTo>
                        <a:pt x="2990" y="0"/>
                      </a:lnTo>
                      <a:lnTo>
                        <a:pt x="3125" y="24"/>
                      </a:lnTo>
                      <a:lnTo>
                        <a:pt x="3092" y="24"/>
                      </a:lnTo>
                      <a:lnTo>
                        <a:pt x="3115" y="41"/>
                      </a:lnTo>
                      <a:lnTo>
                        <a:pt x="3200" y="24"/>
                      </a:lnTo>
                      <a:lnTo>
                        <a:pt x="3326" y="57"/>
                      </a:lnTo>
                      <a:lnTo>
                        <a:pt x="3233" y="83"/>
                      </a:lnTo>
                      <a:lnTo>
                        <a:pt x="3016" y="78"/>
                      </a:lnTo>
                      <a:lnTo>
                        <a:pt x="2882" y="100"/>
                      </a:lnTo>
                      <a:lnTo>
                        <a:pt x="2775" y="83"/>
                      </a:lnTo>
                      <a:lnTo>
                        <a:pt x="2844" y="100"/>
                      </a:lnTo>
                      <a:lnTo>
                        <a:pt x="2624" y="123"/>
                      </a:lnTo>
                      <a:lnTo>
                        <a:pt x="2645" y="135"/>
                      </a:lnTo>
                      <a:lnTo>
                        <a:pt x="2629" y="152"/>
                      </a:lnTo>
                      <a:lnTo>
                        <a:pt x="2638" y="156"/>
                      </a:lnTo>
                      <a:lnTo>
                        <a:pt x="2645" y="140"/>
                      </a:lnTo>
                      <a:lnTo>
                        <a:pt x="2676" y="123"/>
                      </a:lnTo>
                      <a:lnTo>
                        <a:pt x="2747" y="123"/>
                      </a:lnTo>
                      <a:lnTo>
                        <a:pt x="2752" y="140"/>
                      </a:lnTo>
                      <a:lnTo>
                        <a:pt x="2737" y="152"/>
                      </a:lnTo>
                      <a:lnTo>
                        <a:pt x="2747" y="152"/>
                      </a:lnTo>
                      <a:lnTo>
                        <a:pt x="2768" y="116"/>
                      </a:lnTo>
                      <a:lnTo>
                        <a:pt x="2877" y="111"/>
                      </a:lnTo>
                      <a:lnTo>
                        <a:pt x="2898" y="123"/>
                      </a:lnTo>
                      <a:lnTo>
                        <a:pt x="3016" y="83"/>
                      </a:lnTo>
                      <a:lnTo>
                        <a:pt x="3146" y="100"/>
                      </a:lnTo>
                      <a:lnTo>
                        <a:pt x="3352" y="78"/>
                      </a:lnTo>
                      <a:lnTo>
                        <a:pt x="3380" y="95"/>
                      </a:lnTo>
                      <a:lnTo>
                        <a:pt x="3368" y="95"/>
                      </a:lnTo>
                      <a:lnTo>
                        <a:pt x="3385" y="111"/>
                      </a:lnTo>
                      <a:lnTo>
                        <a:pt x="3352" y="140"/>
                      </a:lnTo>
                      <a:lnTo>
                        <a:pt x="3309" y="152"/>
                      </a:lnTo>
                      <a:lnTo>
                        <a:pt x="3439" y="123"/>
                      </a:lnTo>
                      <a:lnTo>
                        <a:pt x="3448" y="135"/>
                      </a:lnTo>
                      <a:lnTo>
                        <a:pt x="3439" y="135"/>
                      </a:lnTo>
                      <a:lnTo>
                        <a:pt x="3439" y="156"/>
                      </a:lnTo>
                      <a:lnTo>
                        <a:pt x="3477" y="135"/>
                      </a:lnTo>
                      <a:lnTo>
                        <a:pt x="3628" y="178"/>
                      </a:lnTo>
                      <a:lnTo>
                        <a:pt x="3545" y="227"/>
                      </a:lnTo>
                      <a:lnTo>
                        <a:pt x="3363" y="263"/>
                      </a:lnTo>
                      <a:lnTo>
                        <a:pt x="3028" y="267"/>
                      </a:lnTo>
                      <a:lnTo>
                        <a:pt x="2910" y="251"/>
                      </a:lnTo>
                      <a:lnTo>
                        <a:pt x="3023" y="267"/>
                      </a:lnTo>
                      <a:lnTo>
                        <a:pt x="2801" y="322"/>
                      </a:lnTo>
                      <a:lnTo>
                        <a:pt x="2806" y="350"/>
                      </a:lnTo>
                      <a:lnTo>
                        <a:pt x="2898" y="317"/>
                      </a:lnTo>
                      <a:lnTo>
                        <a:pt x="3040" y="300"/>
                      </a:lnTo>
                      <a:lnTo>
                        <a:pt x="3028" y="305"/>
                      </a:lnTo>
                      <a:lnTo>
                        <a:pt x="3044" y="305"/>
                      </a:lnTo>
                      <a:lnTo>
                        <a:pt x="3082" y="296"/>
                      </a:lnTo>
                      <a:lnTo>
                        <a:pt x="3352" y="296"/>
                      </a:lnTo>
                      <a:lnTo>
                        <a:pt x="3347" y="317"/>
                      </a:lnTo>
                      <a:lnTo>
                        <a:pt x="3342" y="333"/>
                      </a:lnTo>
                      <a:lnTo>
                        <a:pt x="3184" y="378"/>
                      </a:lnTo>
                      <a:lnTo>
                        <a:pt x="3217" y="390"/>
                      </a:lnTo>
                      <a:lnTo>
                        <a:pt x="3184" y="395"/>
                      </a:lnTo>
                      <a:lnTo>
                        <a:pt x="3205" y="395"/>
                      </a:lnTo>
                      <a:lnTo>
                        <a:pt x="3368" y="338"/>
                      </a:lnTo>
                      <a:lnTo>
                        <a:pt x="3422" y="338"/>
                      </a:lnTo>
                      <a:lnTo>
                        <a:pt x="3432" y="333"/>
                      </a:lnTo>
                      <a:lnTo>
                        <a:pt x="3432" y="300"/>
                      </a:lnTo>
                      <a:lnTo>
                        <a:pt x="3439" y="284"/>
                      </a:lnTo>
                      <a:lnTo>
                        <a:pt x="3557" y="279"/>
                      </a:lnTo>
                      <a:lnTo>
                        <a:pt x="3578" y="300"/>
                      </a:lnTo>
                      <a:lnTo>
                        <a:pt x="3578" y="333"/>
                      </a:lnTo>
                      <a:lnTo>
                        <a:pt x="3562" y="378"/>
                      </a:lnTo>
                      <a:lnTo>
                        <a:pt x="3541" y="407"/>
                      </a:lnTo>
                      <a:lnTo>
                        <a:pt x="3507" y="411"/>
                      </a:lnTo>
                      <a:lnTo>
                        <a:pt x="3524" y="411"/>
                      </a:lnTo>
                      <a:lnTo>
                        <a:pt x="3448" y="473"/>
                      </a:lnTo>
                      <a:lnTo>
                        <a:pt x="3456" y="489"/>
                      </a:lnTo>
                      <a:lnTo>
                        <a:pt x="3439" y="506"/>
                      </a:lnTo>
                      <a:lnTo>
                        <a:pt x="3406" y="518"/>
                      </a:lnTo>
                      <a:lnTo>
                        <a:pt x="3432" y="518"/>
                      </a:lnTo>
                      <a:lnTo>
                        <a:pt x="3401" y="539"/>
                      </a:lnTo>
                      <a:lnTo>
                        <a:pt x="3465" y="506"/>
                      </a:lnTo>
                      <a:lnTo>
                        <a:pt x="3470" y="489"/>
                      </a:lnTo>
                      <a:lnTo>
                        <a:pt x="3470" y="473"/>
                      </a:lnTo>
                      <a:lnTo>
                        <a:pt x="3524" y="461"/>
                      </a:lnTo>
                      <a:lnTo>
                        <a:pt x="3666" y="362"/>
                      </a:lnTo>
                      <a:lnTo>
                        <a:pt x="3725" y="338"/>
                      </a:lnTo>
                      <a:lnTo>
                        <a:pt x="3704" y="355"/>
                      </a:lnTo>
                      <a:lnTo>
                        <a:pt x="3692" y="378"/>
                      </a:lnTo>
                      <a:lnTo>
                        <a:pt x="3772" y="362"/>
                      </a:lnTo>
                      <a:lnTo>
                        <a:pt x="3796" y="378"/>
                      </a:lnTo>
                      <a:lnTo>
                        <a:pt x="3810" y="374"/>
                      </a:lnTo>
                      <a:lnTo>
                        <a:pt x="3855" y="378"/>
                      </a:lnTo>
                      <a:lnTo>
                        <a:pt x="3855" y="362"/>
                      </a:lnTo>
                      <a:lnTo>
                        <a:pt x="3885" y="355"/>
                      </a:lnTo>
                      <a:lnTo>
                        <a:pt x="3864" y="350"/>
                      </a:lnTo>
                      <a:lnTo>
                        <a:pt x="3871" y="333"/>
                      </a:lnTo>
                      <a:lnTo>
                        <a:pt x="3902" y="338"/>
                      </a:lnTo>
                      <a:lnTo>
                        <a:pt x="3897" y="333"/>
                      </a:lnTo>
                      <a:lnTo>
                        <a:pt x="3897" y="317"/>
                      </a:lnTo>
                      <a:lnTo>
                        <a:pt x="3935" y="317"/>
                      </a:lnTo>
                      <a:lnTo>
                        <a:pt x="3952" y="300"/>
                      </a:lnTo>
                      <a:lnTo>
                        <a:pt x="4086" y="300"/>
                      </a:lnTo>
                      <a:lnTo>
                        <a:pt x="4195" y="322"/>
                      </a:lnTo>
                      <a:lnTo>
                        <a:pt x="4263" y="355"/>
                      </a:lnTo>
                      <a:lnTo>
                        <a:pt x="4136" y="433"/>
                      </a:lnTo>
                      <a:lnTo>
                        <a:pt x="4070" y="433"/>
                      </a:lnTo>
                      <a:lnTo>
                        <a:pt x="4060" y="444"/>
                      </a:lnTo>
                      <a:lnTo>
                        <a:pt x="4098" y="466"/>
                      </a:lnTo>
                      <a:lnTo>
                        <a:pt x="4011" y="489"/>
                      </a:lnTo>
                      <a:lnTo>
                        <a:pt x="3994" y="506"/>
                      </a:lnTo>
                      <a:lnTo>
                        <a:pt x="3864" y="489"/>
                      </a:lnTo>
                      <a:lnTo>
                        <a:pt x="3855" y="506"/>
                      </a:lnTo>
                      <a:lnTo>
                        <a:pt x="3817" y="522"/>
                      </a:lnTo>
                      <a:lnTo>
                        <a:pt x="3708" y="518"/>
                      </a:lnTo>
                      <a:lnTo>
                        <a:pt x="3682" y="527"/>
                      </a:lnTo>
                      <a:lnTo>
                        <a:pt x="3633" y="527"/>
                      </a:lnTo>
                      <a:lnTo>
                        <a:pt x="3666" y="544"/>
                      </a:lnTo>
                      <a:lnTo>
                        <a:pt x="3720" y="522"/>
                      </a:lnTo>
                      <a:lnTo>
                        <a:pt x="3826" y="539"/>
                      </a:lnTo>
                      <a:lnTo>
                        <a:pt x="3897" y="522"/>
                      </a:lnTo>
                      <a:lnTo>
                        <a:pt x="3994" y="544"/>
                      </a:lnTo>
                      <a:lnTo>
                        <a:pt x="3961" y="560"/>
                      </a:lnTo>
                      <a:lnTo>
                        <a:pt x="3952" y="560"/>
                      </a:lnTo>
                      <a:lnTo>
                        <a:pt x="3956" y="572"/>
                      </a:lnTo>
                      <a:lnTo>
                        <a:pt x="3918" y="584"/>
                      </a:lnTo>
                      <a:lnTo>
                        <a:pt x="3741" y="577"/>
                      </a:lnTo>
                      <a:lnTo>
                        <a:pt x="3682" y="612"/>
                      </a:lnTo>
                      <a:lnTo>
                        <a:pt x="3692" y="612"/>
                      </a:lnTo>
                      <a:lnTo>
                        <a:pt x="3682" y="629"/>
                      </a:lnTo>
                      <a:lnTo>
                        <a:pt x="3687" y="629"/>
                      </a:lnTo>
                      <a:lnTo>
                        <a:pt x="3666" y="650"/>
                      </a:lnTo>
                      <a:lnTo>
                        <a:pt x="3687" y="650"/>
                      </a:lnTo>
                      <a:lnTo>
                        <a:pt x="3692" y="666"/>
                      </a:lnTo>
                      <a:lnTo>
                        <a:pt x="3725" y="650"/>
                      </a:lnTo>
                      <a:lnTo>
                        <a:pt x="3704" y="655"/>
                      </a:lnTo>
                      <a:lnTo>
                        <a:pt x="3704" y="650"/>
                      </a:lnTo>
                      <a:lnTo>
                        <a:pt x="3720" y="633"/>
                      </a:lnTo>
                      <a:lnTo>
                        <a:pt x="3772" y="612"/>
                      </a:lnTo>
                      <a:lnTo>
                        <a:pt x="3864" y="600"/>
                      </a:lnTo>
                      <a:lnTo>
                        <a:pt x="3897" y="617"/>
                      </a:lnTo>
                      <a:lnTo>
                        <a:pt x="3843" y="666"/>
                      </a:lnTo>
                      <a:lnTo>
                        <a:pt x="3772" y="655"/>
                      </a:lnTo>
                      <a:lnTo>
                        <a:pt x="3746" y="683"/>
                      </a:lnTo>
                      <a:lnTo>
                        <a:pt x="3746" y="695"/>
                      </a:lnTo>
                      <a:lnTo>
                        <a:pt x="3734" y="711"/>
                      </a:lnTo>
                      <a:lnTo>
                        <a:pt x="3741" y="728"/>
                      </a:lnTo>
                      <a:lnTo>
                        <a:pt x="3725" y="761"/>
                      </a:lnTo>
                      <a:lnTo>
                        <a:pt x="3746" y="740"/>
                      </a:lnTo>
                      <a:lnTo>
                        <a:pt x="3779" y="740"/>
                      </a:lnTo>
                      <a:lnTo>
                        <a:pt x="3772" y="749"/>
                      </a:lnTo>
                      <a:lnTo>
                        <a:pt x="3789" y="761"/>
                      </a:lnTo>
                      <a:lnTo>
                        <a:pt x="3763" y="761"/>
                      </a:lnTo>
                      <a:lnTo>
                        <a:pt x="3772" y="744"/>
                      </a:lnTo>
                      <a:lnTo>
                        <a:pt x="3763" y="744"/>
                      </a:lnTo>
                      <a:lnTo>
                        <a:pt x="3746" y="749"/>
                      </a:lnTo>
                      <a:lnTo>
                        <a:pt x="3746" y="766"/>
                      </a:lnTo>
                      <a:lnTo>
                        <a:pt x="3708" y="778"/>
                      </a:lnTo>
                      <a:lnTo>
                        <a:pt x="3725" y="794"/>
                      </a:lnTo>
                      <a:lnTo>
                        <a:pt x="3720" y="806"/>
                      </a:lnTo>
                      <a:lnTo>
                        <a:pt x="3633" y="815"/>
                      </a:lnTo>
                      <a:lnTo>
                        <a:pt x="3654" y="839"/>
                      </a:lnTo>
                      <a:lnTo>
                        <a:pt x="3616" y="851"/>
                      </a:lnTo>
                      <a:lnTo>
                        <a:pt x="3654" y="851"/>
                      </a:lnTo>
                      <a:lnTo>
                        <a:pt x="3628" y="905"/>
                      </a:lnTo>
                      <a:lnTo>
                        <a:pt x="3628" y="910"/>
                      </a:lnTo>
                      <a:lnTo>
                        <a:pt x="3595" y="926"/>
                      </a:lnTo>
                      <a:lnTo>
                        <a:pt x="3616" y="926"/>
                      </a:lnTo>
                      <a:lnTo>
                        <a:pt x="3595" y="945"/>
                      </a:lnTo>
                      <a:lnTo>
                        <a:pt x="3583" y="962"/>
                      </a:lnTo>
                      <a:lnTo>
                        <a:pt x="3611" y="950"/>
                      </a:lnTo>
                      <a:lnTo>
                        <a:pt x="3578" y="1000"/>
                      </a:lnTo>
                      <a:lnTo>
                        <a:pt x="3616" y="1000"/>
                      </a:lnTo>
                      <a:lnTo>
                        <a:pt x="3595" y="1016"/>
                      </a:lnTo>
                      <a:lnTo>
                        <a:pt x="3611" y="1016"/>
                      </a:lnTo>
                      <a:lnTo>
                        <a:pt x="3616" y="1004"/>
                      </a:lnTo>
                      <a:lnTo>
                        <a:pt x="3628" y="971"/>
                      </a:lnTo>
                      <a:lnTo>
                        <a:pt x="3654" y="945"/>
                      </a:lnTo>
                      <a:lnTo>
                        <a:pt x="3692" y="966"/>
                      </a:lnTo>
                      <a:lnTo>
                        <a:pt x="3772" y="983"/>
                      </a:lnTo>
                      <a:lnTo>
                        <a:pt x="3796" y="1004"/>
                      </a:lnTo>
                      <a:lnTo>
                        <a:pt x="3763" y="1016"/>
                      </a:lnTo>
                      <a:lnTo>
                        <a:pt x="3704" y="988"/>
                      </a:lnTo>
                      <a:lnTo>
                        <a:pt x="3654" y="1000"/>
                      </a:lnTo>
                      <a:lnTo>
                        <a:pt x="3704" y="1016"/>
                      </a:lnTo>
                      <a:lnTo>
                        <a:pt x="3670" y="1016"/>
                      </a:lnTo>
                      <a:lnTo>
                        <a:pt x="3692" y="1021"/>
                      </a:lnTo>
                      <a:lnTo>
                        <a:pt x="3649" y="1016"/>
                      </a:lnTo>
                      <a:lnTo>
                        <a:pt x="3720" y="1028"/>
                      </a:lnTo>
                      <a:lnTo>
                        <a:pt x="3666" y="1037"/>
                      </a:lnTo>
                      <a:lnTo>
                        <a:pt x="3741" y="1037"/>
                      </a:lnTo>
                      <a:lnTo>
                        <a:pt x="3763" y="1054"/>
                      </a:lnTo>
                      <a:lnTo>
                        <a:pt x="3758" y="1061"/>
                      </a:lnTo>
                      <a:lnTo>
                        <a:pt x="3789" y="1073"/>
                      </a:lnTo>
                      <a:lnTo>
                        <a:pt x="3789" y="1054"/>
                      </a:lnTo>
                      <a:lnTo>
                        <a:pt x="3796" y="1044"/>
                      </a:lnTo>
                      <a:lnTo>
                        <a:pt x="3833" y="1044"/>
                      </a:lnTo>
                      <a:lnTo>
                        <a:pt x="3843" y="1061"/>
                      </a:lnTo>
                      <a:lnTo>
                        <a:pt x="3848" y="1111"/>
                      </a:lnTo>
                      <a:lnTo>
                        <a:pt x="3843" y="1132"/>
                      </a:lnTo>
                      <a:lnTo>
                        <a:pt x="3826" y="1132"/>
                      </a:lnTo>
                      <a:lnTo>
                        <a:pt x="3826" y="1139"/>
                      </a:lnTo>
                      <a:lnTo>
                        <a:pt x="3796" y="1127"/>
                      </a:lnTo>
                      <a:lnTo>
                        <a:pt x="3670" y="1099"/>
                      </a:lnTo>
                      <a:lnTo>
                        <a:pt x="3649" y="1111"/>
                      </a:lnTo>
                      <a:lnTo>
                        <a:pt x="3682" y="1111"/>
                      </a:lnTo>
                      <a:lnTo>
                        <a:pt x="3595" y="1115"/>
                      </a:lnTo>
                      <a:lnTo>
                        <a:pt x="3654" y="1127"/>
                      </a:lnTo>
                      <a:lnTo>
                        <a:pt x="3628" y="1132"/>
                      </a:lnTo>
                      <a:lnTo>
                        <a:pt x="3611" y="1155"/>
                      </a:lnTo>
                      <a:lnTo>
                        <a:pt x="3562" y="1127"/>
                      </a:lnTo>
                      <a:lnTo>
                        <a:pt x="3545" y="1127"/>
                      </a:lnTo>
                      <a:lnTo>
                        <a:pt x="3545" y="1139"/>
                      </a:lnTo>
                      <a:lnTo>
                        <a:pt x="3524" y="1148"/>
                      </a:lnTo>
                      <a:lnTo>
                        <a:pt x="3557" y="1172"/>
                      </a:lnTo>
                      <a:lnTo>
                        <a:pt x="3557" y="1165"/>
                      </a:lnTo>
                      <a:lnTo>
                        <a:pt x="3562" y="1155"/>
                      </a:lnTo>
                      <a:lnTo>
                        <a:pt x="3595" y="1165"/>
                      </a:lnTo>
                      <a:lnTo>
                        <a:pt x="3600" y="1172"/>
                      </a:lnTo>
                      <a:lnTo>
                        <a:pt x="3578" y="1184"/>
                      </a:lnTo>
                      <a:lnTo>
                        <a:pt x="3600" y="1184"/>
                      </a:lnTo>
                      <a:lnTo>
                        <a:pt x="3541" y="1184"/>
                      </a:lnTo>
                      <a:lnTo>
                        <a:pt x="3611" y="1189"/>
                      </a:lnTo>
                      <a:lnTo>
                        <a:pt x="3600" y="1210"/>
                      </a:lnTo>
                      <a:lnTo>
                        <a:pt x="3637" y="1205"/>
                      </a:lnTo>
                      <a:lnTo>
                        <a:pt x="3682" y="1226"/>
                      </a:lnTo>
                      <a:lnTo>
                        <a:pt x="3687" y="1226"/>
                      </a:lnTo>
                      <a:lnTo>
                        <a:pt x="3637" y="1205"/>
                      </a:lnTo>
                      <a:lnTo>
                        <a:pt x="3734" y="1222"/>
                      </a:lnTo>
                      <a:lnTo>
                        <a:pt x="3741" y="1226"/>
                      </a:lnTo>
                      <a:lnTo>
                        <a:pt x="3741" y="1243"/>
                      </a:lnTo>
                      <a:lnTo>
                        <a:pt x="3692" y="1250"/>
                      </a:lnTo>
                      <a:lnTo>
                        <a:pt x="3578" y="1250"/>
                      </a:lnTo>
                      <a:lnTo>
                        <a:pt x="3734" y="1259"/>
                      </a:lnTo>
                      <a:lnTo>
                        <a:pt x="3746" y="1283"/>
                      </a:lnTo>
                      <a:lnTo>
                        <a:pt x="3746" y="1300"/>
                      </a:lnTo>
                      <a:lnTo>
                        <a:pt x="3763" y="1316"/>
                      </a:lnTo>
                      <a:lnTo>
                        <a:pt x="3763" y="1337"/>
                      </a:lnTo>
                      <a:lnTo>
                        <a:pt x="3758" y="1370"/>
                      </a:lnTo>
                      <a:lnTo>
                        <a:pt x="3725" y="1377"/>
                      </a:lnTo>
                      <a:lnTo>
                        <a:pt x="3720" y="1370"/>
                      </a:lnTo>
                      <a:lnTo>
                        <a:pt x="3725" y="1354"/>
                      </a:lnTo>
                      <a:lnTo>
                        <a:pt x="3708" y="1349"/>
                      </a:lnTo>
                      <a:lnTo>
                        <a:pt x="3670" y="1354"/>
                      </a:lnTo>
                      <a:lnTo>
                        <a:pt x="3616" y="1316"/>
                      </a:lnTo>
                      <a:lnTo>
                        <a:pt x="3562" y="1300"/>
                      </a:lnTo>
                      <a:lnTo>
                        <a:pt x="3616" y="1333"/>
                      </a:lnTo>
                      <a:lnTo>
                        <a:pt x="3541" y="1316"/>
                      </a:lnTo>
                      <a:lnTo>
                        <a:pt x="3616" y="1333"/>
                      </a:lnTo>
                      <a:lnTo>
                        <a:pt x="3682" y="1377"/>
                      </a:lnTo>
                      <a:lnTo>
                        <a:pt x="3633" y="1377"/>
                      </a:lnTo>
                      <a:lnTo>
                        <a:pt x="3595" y="1406"/>
                      </a:lnTo>
                      <a:lnTo>
                        <a:pt x="3545" y="1370"/>
                      </a:lnTo>
                      <a:lnTo>
                        <a:pt x="3595" y="1406"/>
                      </a:lnTo>
                      <a:lnTo>
                        <a:pt x="3637" y="1387"/>
                      </a:lnTo>
                      <a:lnTo>
                        <a:pt x="3670" y="1387"/>
                      </a:lnTo>
                      <a:lnTo>
                        <a:pt x="3666" y="1415"/>
                      </a:lnTo>
                      <a:lnTo>
                        <a:pt x="3682" y="1432"/>
                      </a:lnTo>
                      <a:lnTo>
                        <a:pt x="3637" y="1444"/>
                      </a:lnTo>
                      <a:lnTo>
                        <a:pt x="3704" y="1444"/>
                      </a:lnTo>
                      <a:lnTo>
                        <a:pt x="3734" y="1460"/>
                      </a:lnTo>
                      <a:lnTo>
                        <a:pt x="3763" y="1444"/>
                      </a:lnTo>
                      <a:lnTo>
                        <a:pt x="3772" y="1448"/>
                      </a:lnTo>
                      <a:lnTo>
                        <a:pt x="3772" y="1465"/>
                      </a:lnTo>
                      <a:lnTo>
                        <a:pt x="3789" y="1472"/>
                      </a:lnTo>
                      <a:lnTo>
                        <a:pt x="3763" y="1498"/>
                      </a:lnTo>
                      <a:lnTo>
                        <a:pt x="3741" y="1505"/>
                      </a:lnTo>
                      <a:lnTo>
                        <a:pt x="3708" y="1498"/>
                      </a:lnTo>
                      <a:lnTo>
                        <a:pt x="3692" y="1472"/>
                      </a:lnTo>
                      <a:lnTo>
                        <a:pt x="3600" y="1472"/>
                      </a:lnTo>
                      <a:lnTo>
                        <a:pt x="3574" y="1448"/>
                      </a:lnTo>
                      <a:lnTo>
                        <a:pt x="3595" y="1481"/>
                      </a:lnTo>
                      <a:lnTo>
                        <a:pt x="3578" y="1489"/>
                      </a:lnTo>
                      <a:lnTo>
                        <a:pt x="3545" y="1498"/>
                      </a:lnTo>
                      <a:lnTo>
                        <a:pt x="3574" y="1498"/>
                      </a:lnTo>
                      <a:lnTo>
                        <a:pt x="3562" y="1514"/>
                      </a:lnTo>
                      <a:lnTo>
                        <a:pt x="3562" y="1522"/>
                      </a:lnTo>
                      <a:lnTo>
                        <a:pt x="3541" y="1526"/>
                      </a:lnTo>
                      <a:lnTo>
                        <a:pt x="3578" y="1538"/>
                      </a:lnTo>
                      <a:lnTo>
                        <a:pt x="3595" y="1559"/>
                      </a:lnTo>
                      <a:lnTo>
                        <a:pt x="3595" y="1583"/>
                      </a:lnTo>
                      <a:lnTo>
                        <a:pt x="3600" y="1576"/>
                      </a:lnTo>
                      <a:lnTo>
                        <a:pt x="3583" y="1538"/>
                      </a:lnTo>
                      <a:lnTo>
                        <a:pt x="3595" y="1526"/>
                      </a:lnTo>
                      <a:lnTo>
                        <a:pt x="3704" y="1555"/>
                      </a:lnTo>
                      <a:lnTo>
                        <a:pt x="3704" y="1571"/>
                      </a:lnTo>
                      <a:lnTo>
                        <a:pt x="3682" y="1576"/>
                      </a:lnTo>
                      <a:lnTo>
                        <a:pt x="3687" y="1583"/>
                      </a:lnTo>
                      <a:lnTo>
                        <a:pt x="3682" y="1600"/>
                      </a:lnTo>
                      <a:lnTo>
                        <a:pt x="3692" y="1600"/>
                      </a:lnTo>
                      <a:lnTo>
                        <a:pt x="3687" y="1616"/>
                      </a:lnTo>
                      <a:lnTo>
                        <a:pt x="3611" y="1609"/>
                      </a:lnTo>
                      <a:lnTo>
                        <a:pt x="3600" y="1626"/>
                      </a:lnTo>
                      <a:lnTo>
                        <a:pt x="3557" y="1637"/>
                      </a:lnTo>
                      <a:lnTo>
                        <a:pt x="3470" y="1616"/>
                      </a:lnTo>
                      <a:lnTo>
                        <a:pt x="3439" y="1592"/>
                      </a:lnTo>
                      <a:lnTo>
                        <a:pt x="3439" y="1576"/>
                      </a:lnTo>
                      <a:lnTo>
                        <a:pt x="3470" y="1576"/>
                      </a:lnTo>
                      <a:lnTo>
                        <a:pt x="3531" y="1600"/>
                      </a:lnTo>
                      <a:lnTo>
                        <a:pt x="3562" y="1592"/>
                      </a:lnTo>
                      <a:lnTo>
                        <a:pt x="3524" y="1600"/>
                      </a:lnTo>
                      <a:lnTo>
                        <a:pt x="3432" y="1559"/>
                      </a:lnTo>
                      <a:lnTo>
                        <a:pt x="3406" y="1576"/>
                      </a:lnTo>
                      <a:lnTo>
                        <a:pt x="3406" y="1600"/>
                      </a:lnTo>
                      <a:lnTo>
                        <a:pt x="3368" y="1592"/>
                      </a:lnTo>
                      <a:lnTo>
                        <a:pt x="3368" y="1576"/>
                      </a:lnTo>
                      <a:lnTo>
                        <a:pt x="3314" y="1543"/>
                      </a:lnTo>
                      <a:lnTo>
                        <a:pt x="3330" y="1571"/>
                      </a:lnTo>
                      <a:lnTo>
                        <a:pt x="3394" y="1609"/>
                      </a:lnTo>
                      <a:lnTo>
                        <a:pt x="3347" y="1616"/>
                      </a:lnTo>
                      <a:lnTo>
                        <a:pt x="3314" y="1637"/>
                      </a:lnTo>
                      <a:lnTo>
                        <a:pt x="3297" y="1637"/>
                      </a:lnTo>
                      <a:lnTo>
                        <a:pt x="3238" y="1633"/>
                      </a:lnTo>
                      <a:lnTo>
                        <a:pt x="3200" y="1609"/>
                      </a:lnTo>
                      <a:lnTo>
                        <a:pt x="3191" y="1616"/>
                      </a:lnTo>
                      <a:lnTo>
                        <a:pt x="3271" y="1637"/>
                      </a:lnTo>
                      <a:lnTo>
                        <a:pt x="3243" y="1654"/>
                      </a:lnTo>
                      <a:lnTo>
                        <a:pt x="3222" y="1649"/>
                      </a:lnTo>
                      <a:lnTo>
                        <a:pt x="3179" y="1654"/>
                      </a:lnTo>
                      <a:lnTo>
                        <a:pt x="3200" y="1666"/>
                      </a:lnTo>
                      <a:lnTo>
                        <a:pt x="3200" y="1682"/>
                      </a:lnTo>
                      <a:lnTo>
                        <a:pt x="3191" y="1687"/>
                      </a:lnTo>
                      <a:lnTo>
                        <a:pt x="3205" y="1682"/>
                      </a:lnTo>
                      <a:lnTo>
                        <a:pt x="3205" y="1666"/>
                      </a:lnTo>
                      <a:lnTo>
                        <a:pt x="3255" y="1666"/>
                      </a:lnTo>
                      <a:lnTo>
                        <a:pt x="3271" y="1649"/>
                      </a:lnTo>
                      <a:lnTo>
                        <a:pt x="3363" y="1666"/>
                      </a:lnTo>
                      <a:lnTo>
                        <a:pt x="3368" y="1682"/>
                      </a:lnTo>
                      <a:lnTo>
                        <a:pt x="3352" y="1687"/>
                      </a:lnTo>
                      <a:lnTo>
                        <a:pt x="3314" y="1687"/>
                      </a:lnTo>
                      <a:lnTo>
                        <a:pt x="3293" y="1703"/>
                      </a:lnTo>
                      <a:lnTo>
                        <a:pt x="3243" y="1694"/>
                      </a:lnTo>
                      <a:lnTo>
                        <a:pt x="3200" y="1694"/>
                      </a:lnTo>
                      <a:lnTo>
                        <a:pt x="3271" y="1711"/>
                      </a:lnTo>
                      <a:lnTo>
                        <a:pt x="3243" y="1720"/>
                      </a:lnTo>
                      <a:lnTo>
                        <a:pt x="3276" y="1711"/>
                      </a:lnTo>
                      <a:lnTo>
                        <a:pt x="3259" y="1737"/>
                      </a:lnTo>
                      <a:lnTo>
                        <a:pt x="3330" y="1703"/>
                      </a:lnTo>
                      <a:lnTo>
                        <a:pt x="3380" y="1711"/>
                      </a:lnTo>
                      <a:lnTo>
                        <a:pt x="3385" y="1720"/>
                      </a:lnTo>
                      <a:lnTo>
                        <a:pt x="3385" y="1737"/>
                      </a:lnTo>
                      <a:lnTo>
                        <a:pt x="3394" y="1744"/>
                      </a:lnTo>
                      <a:lnTo>
                        <a:pt x="3297" y="1760"/>
                      </a:lnTo>
                      <a:lnTo>
                        <a:pt x="3347" y="1760"/>
                      </a:lnTo>
                      <a:lnTo>
                        <a:pt x="3330" y="1798"/>
                      </a:lnTo>
                      <a:lnTo>
                        <a:pt x="3342" y="1793"/>
                      </a:lnTo>
                      <a:lnTo>
                        <a:pt x="3342" y="1777"/>
                      </a:lnTo>
                      <a:lnTo>
                        <a:pt x="3352" y="1765"/>
                      </a:lnTo>
                      <a:lnTo>
                        <a:pt x="3394" y="1760"/>
                      </a:lnTo>
                      <a:lnTo>
                        <a:pt x="3503" y="1810"/>
                      </a:lnTo>
                      <a:lnTo>
                        <a:pt x="3493" y="1814"/>
                      </a:lnTo>
                      <a:lnTo>
                        <a:pt x="3541" y="1831"/>
                      </a:lnTo>
                      <a:lnTo>
                        <a:pt x="3503" y="1864"/>
                      </a:lnTo>
                      <a:lnTo>
                        <a:pt x="3545" y="1838"/>
                      </a:lnTo>
                      <a:lnTo>
                        <a:pt x="3531" y="1864"/>
                      </a:lnTo>
                      <a:lnTo>
                        <a:pt x="3531" y="1871"/>
                      </a:lnTo>
                      <a:lnTo>
                        <a:pt x="3562" y="1848"/>
                      </a:lnTo>
                      <a:lnTo>
                        <a:pt x="3583" y="1848"/>
                      </a:lnTo>
                      <a:lnTo>
                        <a:pt x="3562" y="1864"/>
                      </a:lnTo>
                      <a:lnTo>
                        <a:pt x="3574" y="1871"/>
                      </a:lnTo>
                      <a:lnTo>
                        <a:pt x="3541" y="1871"/>
                      </a:lnTo>
                      <a:lnTo>
                        <a:pt x="3545" y="1909"/>
                      </a:lnTo>
                      <a:lnTo>
                        <a:pt x="3557" y="1909"/>
                      </a:lnTo>
                      <a:lnTo>
                        <a:pt x="3557" y="1888"/>
                      </a:lnTo>
                      <a:lnTo>
                        <a:pt x="3595" y="1876"/>
                      </a:lnTo>
                      <a:lnTo>
                        <a:pt x="3600" y="1892"/>
                      </a:lnTo>
                      <a:lnTo>
                        <a:pt x="3595" y="1904"/>
                      </a:lnTo>
                      <a:lnTo>
                        <a:pt x="3611" y="1904"/>
                      </a:lnTo>
                      <a:lnTo>
                        <a:pt x="3578" y="1909"/>
                      </a:lnTo>
                      <a:lnTo>
                        <a:pt x="3595" y="1909"/>
                      </a:lnTo>
                      <a:lnTo>
                        <a:pt x="3600" y="1926"/>
                      </a:lnTo>
                      <a:lnTo>
                        <a:pt x="3557" y="1942"/>
                      </a:lnTo>
                      <a:lnTo>
                        <a:pt x="3600" y="1933"/>
                      </a:lnTo>
                      <a:lnTo>
                        <a:pt x="3611" y="1949"/>
                      </a:lnTo>
                      <a:lnTo>
                        <a:pt x="3600" y="1975"/>
                      </a:lnTo>
                      <a:lnTo>
                        <a:pt x="3583" y="1975"/>
                      </a:lnTo>
                      <a:lnTo>
                        <a:pt x="3600" y="1975"/>
                      </a:lnTo>
                      <a:lnTo>
                        <a:pt x="3611" y="1982"/>
                      </a:lnTo>
                      <a:lnTo>
                        <a:pt x="3595" y="1982"/>
                      </a:lnTo>
                      <a:lnTo>
                        <a:pt x="3600" y="1987"/>
                      </a:lnTo>
                      <a:lnTo>
                        <a:pt x="3595" y="2003"/>
                      </a:lnTo>
                      <a:lnTo>
                        <a:pt x="3616" y="2003"/>
                      </a:lnTo>
                      <a:lnTo>
                        <a:pt x="3578" y="2032"/>
                      </a:lnTo>
                      <a:lnTo>
                        <a:pt x="3583" y="2015"/>
                      </a:lnTo>
                      <a:lnTo>
                        <a:pt x="3578" y="2015"/>
                      </a:lnTo>
                      <a:lnTo>
                        <a:pt x="3557" y="2020"/>
                      </a:lnTo>
                      <a:lnTo>
                        <a:pt x="3545" y="1987"/>
                      </a:lnTo>
                      <a:lnTo>
                        <a:pt x="3545" y="1966"/>
                      </a:lnTo>
                      <a:lnTo>
                        <a:pt x="3541" y="1966"/>
                      </a:lnTo>
                      <a:lnTo>
                        <a:pt x="3531" y="1982"/>
                      </a:lnTo>
                      <a:lnTo>
                        <a:pt x="3541" y="2003"/>
                      </a:lnTo>
                      <a:lnTo>
                        <a:pt x="3531" y="2020"/>
                      </a:lnTo>
                      <a:lnTo>
                        <a:pt x="3486" y="2020"/>
                      </a:lnTo>
                      <a:lnTo>
                        <a:pt x="3439" y="1987"/>
                      </a:lnTo>
                      <a:lnTo>
                        <a:pt x="3422" y="1975"/>
                      </a:lnTo>
                      <a:lnTo>
                        <a:pt x="3422" y="1942"/>
                      </a:lnTo>
                      <a:lnTo>
                        <a:pt x="3385" y="1904"/>
                      </a:lnTo>
                      <a:lnTo>
                        <a:pt x="3363" y="1909"/>
                      </a:lnTo>
                      <a:lnTo>
                        <a:pt x="3326" y="1876"/>
                      </a:lnTo>
                      <a:lnTo>
                        <a:pt x="3233" y="1871"/>
                      </a:lnTo>
                      <a:lnTo>
                        <a:pt x="3179" y="1822"/>
                      </a:lnTo>
                      <a:lnTo>
                        <a:pt x="3115" y="1798"/>
                      </a:lnTo>
                      <a:lnTo>
                        <a:pt x="3108" y="1798"/>
                      </a:lnTo>
                      <a:lnTo>
                        <a:pt x="3130" y="1814"/>
                      </a:lnTo>
                      <a:lnTo>
                        <a:pt x="3125" y="1822"/>
                      </a:lnTo>
                      <a:lnTo>
                        <a:pt x="3167" y="1831"/>
                      </a:lnTo>
                      <a:lnTo>
                        <a:pt x="3205" y="1855"/>
                      </a:lnTo>
                      <a:lnTo>
                        <a:pt x="3200" y="1864"/>
                      </a:lnTo>
                      <a:lnTo>
                        <a:pt x="3125" y="1871"/>
                      </a:lnTo>
                      <a:lnTo>
                        <a:pt x="3200" y="1871"/>
                      </a:lnTo>
                      <a:lnTo>
                        <a:pt x="3217" y="1871"/>
                      </a:lnTo>
                      <a:lnTo>
                        <a:pt x="3205" y="1876"/>
                      </a:lnTo>
                      <a:lnTo>
                        <a:pt x="3205" y="1888"/>
                      </a:lnTo>
                      <a:lnTo>
                        <a:pt x="3309" y="1876"/>
                      </a:lnTo>
                      <a:lnTo>
                        <a:pt x="3342" y="1904"/>
                      </a:lnTo>
                      <a:lnTo>
                        <a:pt x="3330" y="1921"/>
                      </a:lnTo>
                      <a:lnTo>
                        <a:pt x="3314" y="1909"/>
                      </a:lnTo>
                      <a:lnTo>
                        <a:pt x="3326" y="1926"/>
                      </a:lnTo>
                      <a:lnTo>
                        <a:pt x="3259" y="1949"/>
                      </a:lnTo>
                      <a:lnTo>
                        <a:pt x="3191" y="1959"/>
                      </a:lnTo>
                      <a:lnTo>
                        <a:pt x="3167" y="1926"/>
                      </a:lnTo>
                      <a:lnTo>
                        <a:pt x="3163" y="1926"/>
                      </a:lnTo>
                      <a:lnTo>
                        <a:pt x="3184" y="1949"/>
                      </a:lnTo>
                      <a:lnTo>
                        <a:pt x="3130" y="1949"/>
                      </a:lnTo>
                      <a:lnTo>
                        <a:pt x="3163" y="1966"/>
                      </a:lnTo>
                      <a:lnTo>
                        <a:pt x="3137" y="2003"/>
                      </a:lnTo>
                      <a:lnTo>
                        <a:pt x="3070" y="2015"/>
                      </a:lnTo>
                      <a:lnTo>
                        <a:pt x="3070" y="2032"/>
                      </a:lnTo>
                      <a:lnTo>
                        <a:pt x="3137" y="2015"/>
                      </a:lnTo>
                      <a:lnTo>
                        <a:pt x="3130" y="2020"/>
                      </a:lnTo>
                      <a:lnTo>
                        <a:pt x="3137" y="2032"/>
                      </a:lnTo>
                      <a:lnTo>
                        <a:pt x="3243" y="2015"/>
                      </a:lnTo>
                      <a:lnTo>
                        <a:pt x="3276" y="2032"/>
                      </a:lnTo>
                      <a:lnTo>
                        <a:pt x="3243" y="2037"/>
                      </a:lnTo>
                      <a:lnTo>
                        <a:pt x="3233" y="2037"/>
                      </a:lnTo>
                      <a:lnTo>
                        <a:pt x="3167" y="2070"/>
                      </a:lnTo>
                      <a:lnTo>
                        <a:pt x="3115" y="2060"/>
                      </a:lnTo>
                      <a:lnTo>
                        <a:pt x="3125" y="2070"/>
                      </a:lnTo>
                      <a:lnTo>
                        <a:pt x="3191" y="2070"/>
                      </a:lnTo>
                      <a:lnTo>
                        <a:pt x="3191" y="2086"/>
                      </a:lnTo>
                      <a:lnTo>
                        <a:pt x="3200" y="2086"/>
                      </a:lnTo>
                      <a:lnTo>
                        <a:pt x="3217" y="2053"/>
                      </a:lnTo>
                      <a:lnTo>
                        <a:pt x="3233" y="2044"/>
                      </a:lnTo>
                      <a:lnTo>
                        <a:pt x="3276" y="2053"/>
                      </a:lnTo>
                      <a:lnTo>
                        <a:pt x="3352" y="2020"/>
                      </a:lnTo>
                      <a:lnTo>
                        <a:pt x="3347" y="2037"/>
                      </a:lnTo>
                      <a:lnTo>
                        <a:pt x="3363" y="2032"/>
                      </a:lnTo>
                      <a:lnTo>
                        <a:pt x="3470" y="2060"/>
                      </a:lnTo>
                      <a:lnTo>
                        <a:pt x="3574" y="2060"/>
                      </a:lnTo>
                      <a:lnTo>
                        <a:pt x="3557" y="2077"/>
                      </a:lnTo>
                      <a:lnTo>
                        <a:pt x="3486" y="2093"/>
                      </a:lnTo>
                      <a:lnTo>
                        <a:pt x="3519" y="2098"/>
                      </a:lnTo>
                      <a:lnTo>
                        <a:pt x="3507" y="2110"/>
                      </a:lnTo>
                      <a:lnTo>
                        <a:pt x="3486" y="2093"/>
                      </a:lnTo>
                      <a:lnTo>
                        <a:pt x="3493" y="2110"/>
                      </a:lnTo>
                      <a:lnTo>
                        <a:pt x="3439" y="2110"/>
                      </a:lnTo>
                      <a:lnTo>
                        <a:pt x="3470" y="2126"/>
                      </a:lnTo>
                      <a:lnTo>
                        <a:pt x="3448" y="2143"/>
                      </a:lnTo>
                      <a:lnTo>
                        <a:pt x="3418" y="2126"/>
                      </a:lnTo>
                      <a:lnTo>
                        <a:pt x="3432" y="2143"/>
                      </a:lnTo>
                      <a:lnTo>
                        <a:pt x="3406" y="2155"/>
                      </a:lnTo>
                      <a:lnTo>
                        <a:pt x="3394" y="2155"/>
                      </a:lnTo>
                      <a:lnTo>
                        <a:pt x="3394" y="2171"/>
                      </a:lnTo>
                      <a:lnTo>
                        <a:pt x="3352" y="2171"/>
                      </a:lnTo>
                      <a:lnTo>
                        <a:pt x="3347" y="2171"/>
                      </a:lnTo>
                      <a:lnTo>
                        <a:pt x="3368" y="2188"/>
                      </a:lnTo>
                      <a:lnTo>
                        <a:pt x="3347" y="2204"/>
                      </a:lnTo>
                      <a:lnTo>
                        <a:pt x="3326" y="2197"/>
                      </a:lnTo>
                      <a:lnTo>
                        <a:pt x="3342" y="2209"/>
                      </a:lnTo>
                      <a:lnTo>
                        <a:pt x="3314" y="2209"/>
                      </a:lnTo>
                      <a:lnTo>
                        <a:pt x="3326" y="2221"/>
                      </a:lnTo>
                      <a:lnTo>
                        <a:pt x="3271" y="2242"/>
                      </a:lnTo>
                      <a:lnTo>
                        <a:pt x="3200" y="2259"/>
                      </a:lnTo>
                      <a:lnTo>
                        <a:pt x="3205" y="2259"/>
                      </a:lnTo>
                      <a:lnTo>
                        <a:pt x="3184" y="2259"/>
                      </a:lnTo>
                      <a:lnTo>
                        <a:pt x="3179" y="2266"/>
                      </a:lnTo>
                      <a:lnTo>
                        <a:pt x="3184" y="2266"/>
                      </a:lnTo>
                      <a:lnTo>
                        <a:pt x="3153" y="2259"/>
                      </a:lnTo>
                      <a:lnTo>
                        <a:pt x="3153" y="2275"/>
                      </a:lnTo>
                      <a:lnTo>
                        <a:pt x="3125" y="2275"/>
                      </a:lnTo>
                      <a:lnTo>
                        <a:pt x="3099" y="2292"/>
                      </a:lnTo>
                      <a:lnTo>
                        <a:pt x="3078" y="2282"/>
                      </a:lnTo>
                      <a:lnTo>
                        <a:pt x="3078" y="2292"/>
                      </a:lnTo>
                      <a:lnTo>
                        <a:pt x="3061" y="2292"/>
                      </a:lnTo>
                      <a:lnTo>
                        <a:pt x="3061" y="2308"/>
                      </a:lnTo>
                      <a:lnTo>
                        <a:pt x="3028" y="2292"/>
                      </a:lnTo>
                      <a:lnTo>
                        <a:pt x="3028" y="2275"/>
                      </a:lnTo>
                      <a:lnTo>
                        <a:pt x="3002" y="2299"/>
                      </a:lnTo>
                      <a:lnTo>
                        <a:pt x="3016" y="2315"/>
                      </a:lnTo>
                      <a:lnTo>
                        <a:pt x="2990" y="2315"/>
                      </a:lnTo>
                      <a:lnTo>
                        <a:pt x="2990" y="2308"/>
                      </a:lnTo>
                      <a:lnTo>
                        <a:pt x="2969" y="2299"/>
                      </a:lnTo>
                      <a:lnTo>
                        <a:pt x="2964" y="2299"/>
                      </a:lnTo>
                      <a:lnTo>
                        <a:pt x="2985" y="2308"/>
                      </a:lnTo>
                      <a:lnTo>
                        <a:pt x="2985" y="2320"/>
                      </a:lnTo>
                      <a:lnTo>
                        <a:pt x="2948" y="2320"/>
                      </a:lnTo>
                      <a:lnTo>
                        <a:pt x="2915" y="2315"/>
                      </a:lnTo>
                      <a:lnTo>
                        <a:pt x="2919" y="2308"/>
                      </a:lnTo>
                      <a:lnTo>
                        <a:pt x="2910" y="2320"/>
                      </a:lnTo>
                      <a:lnTo>
                        <a:pt x="2898" y="2315"/>
                      </a:lnTo>
                      <a:lnTo>
                        <a:pt x="2893" y="2308"/>
                      </a:lnTo>
                      <a:lnTo>
                        <a:pt x="2910" y="2299"/>
                      </a:lnTo>
                      <a:lnTo>
                        <a:pt x="2877" y="2299"/>
                      </a:lnTo>
                      <a:lnTo>
                        <a:pt x="2844" y="2254"/>
                      </a:lnTo>
                      <a:lnTo>
                        <a:pt x="2844" y="2266"/>
                      </a:lnTo>
                      <a:lnTo>
                        <a:pt x="2839" y="2266"/>
                      </a:lnTo>
                      <a:lnTo>
                        <a:pt x="2839" y="2275"/>
                      </a:lnTo>
                      <a:lnTo>
                        <a:pt x="2860" y="2292"/>
                      </a:lnTo>
                      <a:lnTo>
                        <a:pt x="2865" y="2308"/>
                      </a:lnTo>
                      <a:lnTo>
                        <a:pt x="2844" y="2308"/>
                      </a:lnTo>
                      <a:lnTo>
                        <a:pt x="2877" y="2315"/>
                      </a:lnTo>
                      <a:lnTo>
                        <a:pt x="2865" y="2348"/>
                      </a:lnTo>
                      <a:lnTo>
                        <a:pt x="2839" y="2348"/>
                      </a:lnTo>
                      <a:lnTo>
                        <a:pt x="2822" y="2365"/>
                      </a:lnTo>
                      <a:lnTo>
                        <a:pt x="2789" y="2370"/>
                      </a:lnTo>
                      <a:lnTo>
                        <a:pt x="2806" y="2377"/>
                      </a:lnTo>
                      <a:lnTo>
                        <a:pt x="2789" y="2386"/>
                      </a:lnTo>
                      <a:lnTo>
                        <a:pt x="2789" y="2403"/>
                      </a:lnTo>
                      <a:lnTo>
                        <a:pt x="2768" y="2410"/>
                      </a:lnTo>
                      <a:lnTo>
                        <a:pt x="2785" y="2426"/>
                      </a:lnTo>
                      <a:lnTo>
                        <a:pt x="2752" y="2459"/>
                      </a:lnTo>
                      <a:lnTo>
                        <a:pt x="2737" y="2448"/>
                      </a:lnTo>
                      <a:lnTo>
                        <a:pt x="2730" y="2481"/>
                      </a:lnTo>
                      <a:lnTo>
                        <a:pt x="2714" y="2504"/>
                      </a:lnTo>
                      <a:lnTo>
                        <a:pt x="2704" y="2497"/>
                      </a:lnTo>
                      <a:lnTo>
                        <a:pt x="2704" y="2481"/>
                      </a:lnTo>
                      <a:lnTo>
                        <a:pt x="2704" y="2497"/>
                      </a:lnTo>
                      <a:lnTo>
                        <a:pt x="2704" y="2504"/>
                      </a:lnTo>
                      <a:lnTo>
                        <a:pt x="2683" y="2530"/>
                      </a:lnTo>
                      <a:lnTo>
                        <a:pt x="2667" y="2537"/>
                      </a:lnTo>
                      <a:lnTo>
                        <a:pt x="2662" y="2530"/>
                      </a:lnTo>
                      <a:lnTo>
                        <a:pt x="2662" y="2521"/>
                      </a:lnTo>
                      <a:lnTo>
                        <a:pt x="2650" y="2537"/>
                      </a:lnTo>
                      <a:lnTo>
                        <a:pt x="2662" y="2542"/>
                      </a:lnTo>
                      <a:lnTo>
                        <a:pt x="2650" y="2542"/>
                      </a:lnTo>
                      <a:lnTo>
                        <a:pt x="2607" y="2521"/>
                      </a:lnTo>
                      <a:lnTo>
                        <a:pt x="2629" y="2542"/>
                      </a:lnTo>
                      <a:lnTo>
                        <a:pt x="2624" y="2542"/>
                      </a:lnTo>
                      <a:lnTo>
                        <a:pt x="2624" y="2559"/>
                      </a:lnTo>
                      <a:lnTo>
                        <a:pt x="2574" y="2587"/>
                      </a:lnTo>
                      <a:lnTo>
                        <a:pt x="2570" y="2575"/>
                      </a:lnTo>
                      <a:lnTo>
                        <a:pt x="2574" y="2559"/>
                      </a:lnTo>
                      <a:lnTo>
                        <a:pt x="2558" y="2559"/>
                      </a:lnTo>
                      <a:lnTo>
                        <a:pt x="2558" y="2570"/>
                      </a:lnTo>
                      <a:lnTo>
                        <a:pt x="2558" y="2575"/>
                      </a:lnTo>
                      <a:lnTo>
                        <a:pt x="2532" y="2592"/>
                      </a:lnTo>
                      <a:lnTo>
                        <a:pt x="2520" y="2575"/>
                      </a:lnTo>
                      <a:lnTo>
                        <a:pt x="2520" y="2570"/>
                      </a:lnTo>
                      <a:lnTo>
                        <a:pt x="2515" y="2570"/>
                      </a:lnTo>
                      <a:lnTo>
                        <a:pt x="2520" y="2592"/>
                      </a:lnTo>
                      <a:lnTo>
                        <a:pt x="2515" y="2599"/>
                      </a:lnTo>
                      <a:lnTo>
                        <a:pt x="2478" y="2587"/>
                      </a:lnTo>
                      <a:lnTo>
                        <a:pt x="2466" y="2570"/>
                      </a:lnTo>
                      <a:lnTo>
                        <a:pt x="2515" y="2530"/>
                      </a:lnTo>
                      <a:lnTo>
                        <a:pt x="2449" y="2530"/>
                      </a:lnTo>
                      <a:lnTo>
                        <a:pt x="2445" y="2530"/>
                      </a:lnTo>
                      <a:lnTo>
                        <a:pt x="2478" y="2542"/>
                      </a:lnTo>
                      <a:lnTo>
                        <a:pt x="2461" y="2542"/>
                      </a:lnTo>
                      <a:lnTo>
                        <a:pt x="2466" y="2554"/>
                      </a:lnTo>
                      <a:lnTo>
                        <a:pt x="2449" y="2559"/>
                      </a:lnTo>
                      <a:lnTo>
                        <a:pt x="2461" y="2575"/>
                      </a:lnTo>
                      <a:lnTo>
                        <a:pt x="2449" y="2587"/>
                      </a:lnTo>
                      <a:lnTo>
                        <a:pt x="2445" y="2575"/>
                      </a:lnTo>
                      <a:lnTo>
                        <a:pt x="2445" y="2587"/>
                      </a:lnTo>
                      <a:lnTo>
                        <a:pt x="2435" y="2587"/>
                      </a:lnTo>
                      <a:lnTo>
                        <a:pt x="2423" y="2570"/>
                      </a:lnTo>
                      <a:lnTo>
                        <a:pt x="2423" y="2587"/>
                      </a:lnTo>
                      <a:lnTo>
                        <a:pt x="2449" y="2592"/>
                      </a:lnTo>
                      <a:lnTo>
                        <a:pt x="2435" y="2615"/>
                      </a:lnTo>
                      <a:lnTo>
                        <a:pt x="2407" y="2608"/>
                      </a:lnTo>
                      <a:lnTo>
                        <a:pt x="2411" y="2625"/>
                      </a:lnTo>
                      <a:lnTo>
                        <a:pt x="2381" y="2625"/>
                      </a:lnTo>
                      <a:lnTo>
                        <a:pt x="2359" y="2608"/>
                      </a:lnTo>
                      <a:lnTo>
                        <a:pt x="2374" y="2625"/>
                      </a:lnTo>
                      <a:lnTo>
                        <a:pt x="2359" y="2632"/>
                      </a:lnTo>
                      <a:lnTo>
                        <a:pt x="2336" y="2608"/>
                      </a:lnTo>
                      <a:lnTo>
                        <a:pt x="2326" y="2625"/>
                      </a:lnTo>
                      <a:lnTo>
                        <a:pt x="2326" y="2632"/>
                      </a:lnTo>
                      <a:lnTo>
                        <a:pt x="2305" y="2625"/>
                      </a:lnTo>
                      <a:lnTo>
                        <a:pt x="2298" y="2632"/>
                      </a:lnTo>
                      <a:lnTo>
                        <a:pt x="2326" y="2641"/>
                      </a:lnTo>
                      <a:lnTo>
                        <a:pt x="2322" y="2648"/>
                      </a:lnTo>
                      <a:lnTo>
                        <a:pt x="2336" y="2665"/>
                      </a:lnTo>
                      <a:lnTo>
                        <a:pt x="2298" y="2686"/>
                      </a:lnTo>
                      <a:lnTo>
                        <a:pt x="2272" y="2670"/>
                      </a:lnTo>
                      <a:lnTo>
                        <a:pt x="2267" y="2686"/>
                      </a:lnTo>
                      <a:lnTo>
                        <a:pt x="2246" y="2681"/>
                      </a:lnTo>
                      <a:lnTo>
                        <a:pt x="2234" y="2698"/>
                      </a:lnTo>
                      <a:lnTo>
                        <a:pt x="2272" y="2726"/>
                      </a:lnTo>
                      <a:lnTo>
                        <a:pt x="2272" y="2752"/>
                      </a:lnTo>
                      <a:lnTo>
                        <a:pt x="2289" y="2764"/>
                      </a:lnTo>
                      <a:lnTo>
                        <a:pt x="2260" y="2764"/>
                      </a:lnTo>
                      <a:lnTo>
                        <a:pt x="2208" y="2776"/>
                      </a:lnTo>
                      <a:lnTo>
                        <a:pt x="2218" y="2792"/>
                      </a:lnTo>
                      <a:lnTo>
                        <a:pt x="2272" y="2797"/>
                      </a:lnTo>
                      <a:lnTo>
                        <a:pt x="2260" y="2814"/>
                      </a:lnTo>
                      <a:lnTo>
                        <a:pt x="2272" y="2814"/>
                      </a:lnTo>
                      <a:lnTo>
                        <a:pt x="2284" y="2837"/>
                      </a:lnTo>
                      <a:lnTo>
                        <a:pt x="2251" y="2837"/>
                      </a:lnTo>
                      <a:lnTo>
                        <a:pt x="2213" y="2821"/>
                      </a:lnTo>
                      <a:lnTo>
                        <a:pt x="2208" y="2830"/>
                      </a:lnTo>
                      <a:lnTo>
                        <a:pt x="2251" y="2847"/>
                      </a:lnTo>
                      <a:lnTo>
                        <a:pt x="2267" y="2863"/>
                      </a:lnTo>
                      <a:lnTo>
                        <a:pt x="2246" y="2863"/>
                      </a:lnTo>
                      <a:lnTo>
                        <a:pt x="2246" y="2870"/>
                      </a:lnTo>
                      <a:lnTo>
                        <a:pt x="2234" y="2863"/>
                      </a:lnTo>
                      <a:lnTo>
                        <a:pt x="2246" y="2875"/>
                      </a:lnTo>
                      <a:lnTo>
                        <a:pt x="2234" y="2875"/>
                      </a:lnTo>
                      <a:lnTo>
                        <a:pt x="2218" y="2863"/>
                      </a:lnTo>
                      <a:lnTo>
                        <a:pt x="2230" y="2875"/>
                      </a:lnTo>
                      <a:lnTo>
                        <a:pt x="2208" y="2863"/>
                      </a:lnTo>
                      <a:lnTo>
                        <a:pt x="2234" y="2887"/>
                      </a:lnTo>
                      <a:lnTo>
                        <a:pt x="2196" y="2863"/>
                      </a:lnTo>
                      <a:lnTo>
                        <a:pt x="2180" y="2870"/>
                      </a:lnTo>
                      <a:lnTo>
                        <a:pt x="2213" y="2908"/>
                      </a:lnTo>
                      <a:lnTo>
                        <a:pt x="2208" y="2908"/>
                      </a:lnTo>
                      <a:lnTo>
                        <a:pt x="2175" y="2892"/>
                      </a:lnTo>
                      <a:lnTo>
                        <a:pt x="2208" y="2920"/>
                      </a:lnTo>
                      <a:lnTo>
                        <a:pt x="2196" y="2920"/>
                      </a:lnTo>
                      <a:lnTo>
                        <a:pt x="2163" y="2903"/>
                      </a:lnTo>
                      <a:lnTo>
                        <a:pt x="2175" y="2920"/>
                      </a:lnTo>
                      <a:lnTo>
                        <a:pt x="2208" y="2925"/>
                      </a:lnTo>
                      <a:lnTo>
                        <a:pt x="2192" y="2941"/>
                      </a:lnTo>
                      <a:lnTo>
                        <a:pt x="2154" y="2941"/>
                      </a:lnTo>
                      <a:lnTo>
                        <a:pt x="2154" y="2925"/>
                      </a:lnTo>
                      <a:lnTo>
                        <a:pt x="2142" y="2932"/>
                      </a:lnTo>
                      <a:lnTo>
                        <a:pt x="2142" y="2941"/>
                      </a:lnTo>
                      <a:lnTo>
                        <a:pt x="2137" y="2948"/>
                      </a:lnTo>
                      <a:lnTo>
                        <a:pt x="2100" y="2948"/>
                      </a:lnTo>
                      <a:lnTo>
                        <a:pt x="2100" y="2958"/>
                      </a:lnTo>
                      <a:lnTo>
                        <a:pt x="2154" y="2974"/>
                      </a:lnTo>
                      <a:lnTo>
                        <a:pt x="2154" y="2981"/>
                      </a:lnTo>
                      <a:lnTo>
                        <a:pt x="2137" y="2981"/>
                      </a:lnTo>
                      <a:lnTo>
                        <a:pt x="2163" y="2986"/>
                      </a:lnTo>
                      <a:lnTo>
                        <a:pt x="2104" y="2974"/>
                      </a:lnTo>
                      <a:lnTo>
                        <a:pt x="2159" y="3003"/>
                      </a:lnTo>
                      <a:lnTo>
                        <a:pt x="2154" y="3019"/>
                      </a:lnTo>
                      <a:lnTo>
                        <a:pt x="2137" y="3036"/>
                      </a:lnTo>
                      <a:lnTo>
                        <a:pt x="2163" y="3036"/>
                      </a:lnTo>
                      <a:lnTo>
                        <a:pt x="2159" y="3043"/>
                      </a:lnTo>
                      <a:lnTo>
                        <a:pt x="2142" y="3043"/>
                      </a:lnTo>
                      <a:lnTo>
                        <a:pt x="2159" y="3052"/>
                      </a:lnTo>
                      <a:lnTo>
                        <a:pt x="2154" y="3059"/>
                      </a:lnTo>
                      <a:lnTo>
                        <a:pt x="2109" y="3059"/>
                      </a:lnTo>
                      <a:lnTo>
                        <a:pt x="2154" y="3076"/>
                      </a:lnTo>
                      <a:lnTo>
                        <a:pt x="2142" y="3085"/>
                      </a:lnTo>
                      <a:lnTo>
                        <a:pt x="2100" y="3076"/>
                      </a:lnTo>
                      <a:lnTo>
                        <a:pt x="2137" y="3085"/>
                      </a:lnTo>
                      <a:lnTo>
                        <a:pt x="2142" y="3097"/>
                      </a:lnTo>
                      <a:lnTo>
                        <a:pt x="2142" y="3109"/>
                      </a:lnTo>
                      <a:lnTo>
                        <a:pt x="2126" y="3114"/>
                      </a:lnTo>
                      <a:lnTo>
                        <a:pt x="2088" y="3109"/>
                      </a:lnTo>
                      <a:lnTo>
                        <a:pt x="2126" y="3114"/>
                      </a:lnTo>
                      <a:lnTo>
                        <a:pt x="2137" y="3125"/>
                      </a:lnTo>
                      <a:lnTo>
                        <a:pt x="2100" y="3125"/>
                      </a:lnTo>
                      <a:lnTo>
                        <a:pt x="2126" y="3130"/>
                      </a:lnTo>
                      <a:lnTo>
                        <a:pt x="2067" y="3130"/>
                      </a:lnTo>
                      <a:lnTo>
                        <a:pt x="2126" y="3142"/>
                      </a:lnTo>
                      <a:lnTo>
                        <a:pt x="2126" y="3147"/>
                      </a:lnTo>
                      <a:lnTo>
                        <a:pt x="2104" y="3154"/>
                      </a:lnTo>
                      <a:lnTo>
                        <a:pt x="2071" y="3147"/>
                      </a:lnTo>
                      <a:lnTo>
                        <a:pt x="2121" y="3163"/>
                      </a:lnTo>
                      <a:lnTo>
                        <a:pt x="2067" y="3163"/>
                      </a:lnTo>
                      <a:lnTo>
                        <a:pt x="2121" y="3170"/>
                      </a:lnTo>
                      <a:lnTo>
                        <a:pt x="2100" y="3180"/>
                      </a:lnTo>
                      <a:lnTo>
                        <a:pt x="2121" y="3180"/>
                      </a:lnTo>
                      <a:lnTo>
                        <a:pt x="2109" y="3187"/>
                      </a:lnTo>
                      <a:lnTo>
                        <a:pt x="2121" y="3187"/>
                      </a:lnTo>
                      <a:lnTo>
                        <a:pt x="2100" y="3196"/>
                      </a:lnTo>
                      <a:lnTo>
                        <a:pt x="2083" y="3196"/>
                      </a:lnTo>
                      <a:lnTo>
                        <a:pt x="2100" y="3203"/>
                      </a:lnTo>
                      <a:lnTo>
                        <a:pt x="2088" y="3203"/>
                      </a:lnTo>
                      <a:lnTo>
                        <a:pt x="2067" y="3196"/>
                      </a:lnTo>
                      <a:lnTo>
                        <a:pt x="2057" y="3170"/>
                      </a:lnTo>
                      <a:lnTo>
                        <a:pt x="2057" y="3196"/>
                      </a:lnTo>
                      <a:lnTo>
                        <a:pt x="2019" y="3187"/>
                      </a:lnTo>
                      <a:lnTo>
                        <a:pt x="2083" y="3203"/>
                      </a:lnTo>
                      <a:lnTo>
                        <a:pt x="2067" y="3220"/>
                      </a:lnTo>
                      <a:lnTo>
                        <a:pt x="2100" y="3208"/>
                      </a:lnTo>
                      <a:lnTo>
                        <a:pt x="2100" y="3225"/>
                      </a:lnTo>
                      <a:lnTo>
                        <a:pt x="2083" y="3225"/>
                      </a:lnTo>
                      <a:lnTo>
                        <a:pt x="2100" y="3225"/>
                      </a:lnTo>
                      <a:lnTo>
                        <a:pt x="2100" y="3241"/>
                      </a:lnTo>
                      <a:lnTo>
                        <a:pt x="2029" y="3236"/>
                      </a:lnTo>
                      <a:lnTo>
                        <a:pt x="2033" y="3220"/>
                      </a:lnTo>
                      <a:lnTo>
                        <a:pt x="2029" y="3208"/>
                      </a:lnTo>
                      <a:lnTo>
                        <a:pt x="2029" y="3220"/>
                      </a:lnTo>
                      <a:lnTo>
                        <a:pt x="2003" y="3236"/>
                      </a:lnTo>
                      <a:lnTo>
                        <a:pt x="1991" y="3253"/>
                      </a:lnTo>
                      <a:lnTo>
                        <a:pt x="1948" y="3241"/>
                      </a:lnTo>
                      <a:lnTo>
                        <a:pt x="1958" y="3236"/>
                      </a:lnTo>
                      <a:lnTo>
                        <a:pt x="1974" y="3236"/>
                      </a:lnTo>
                      <a:lnTo>
                        <a:pt x="2003" y="3196"/>
                      </a:lnTo>
                      <a:lnTo>
                        <a:pt x="1974" y="3225"/>
                      </a:lnTo>
                      <a:lnTo>
                        <a:pt x="1948" y="3236"/>
                      </a:lnTo>
                      <a:lnTo>
                        <a:pt x="1991" y="3170"/>
                      </a:lnTo>
                      <a:lnTo>
                        <a:pt x="1948" y="3203"/>
                      </a:lnTo>
                      <a:lnTo>
                        <a:pt x="1944" y="3196"/>
                      </a:lnTo>
                      <a:lnTo>
                        <a:pt x="1958" y="3180"/>
                      </a:lnTo>
                      <a:lnTo>
                        <a:pt x="1927" y="3203"/>
                      </a:lnTo>
                      <a:lnTo>
                        <a:pt x="1944" y="3180"/>
                      </a:lnTo>
                      <a:lnTo>
                        <a:pt x="1927" y="3203"/>
                      </a:lnTo>
                      <a:lnTo>
                        <a:pt x="1911" y="3187"/>
                      </a:lnTo>
                      <a:lnTo>
                        <a:pt x="1920" y="3187"/>
                      </a:lnTo>
                      <a:lnTo>
                        <a:pt x="1894" y="3187"/>
                      </a:lnTo>
                      <a:lnTo>
                        <a:pt x="1920" y="3180"/>
                      </a:lnTo>
                      <a:lnTo>
                        <a:pt x="1906" y="3180"/>
                      </a:lnTo>
                      <a:lnTo>
                        <a:pt x="1948" y="3154"/>
                      </a:lnTo>
                      <a:lnTo>
                        <a:pt x="1937" y="3142"/>
                      </a:lnTo>
                      <a:lnTo>
                        <a:pt x="1920" y="3170"/>
                      </a:lnTo>
                      <a:lnTo>
                        <a:pt x="1906" y="3170"/>
                      </a:lnTo>
                      <a:lnTo>
                        <a:pt x="1911" y="3163"/>
                      </a:lnTo>
                      <a:lnTo>
                        <a:pt x="1906" y="3163"/>
                      </a:lnTo>
                      <a:lnTo>
                        <a:pt x="1889" y="3170"/>
                      </a:lnTo>
                      <a:lnTo>
                        <a:pt x="1882" y="3170"/>
                      </a:lnTo>
                      <a:lnTo>
                        <a:pt x="1894" y="3154"/>
                      </a:lnTo>
                      <a:lnTo>
                        <a:pt x="1927" y="3147"/>
                      </a:lnTo>
                      <a:lnTo>
                        <a:pt x="1948" y="3125"/>
                      </a:lnTo>
                      <a:lnTo>
                        <a:pt x="1937" y="3130"/>
                      </a:lnTo>
                      <a:lnTo>
                        <a:pt x="1927" y="3114"/>
                      </a:lnTo>
                      <a:lnTo>
                        <a:pt x="1927" y="3130"/>
                      </a:lnTo>
                      <a:lnTo>
                        <a:pt x="1920" y="3142"/>
                      </a:lnTo>
                      <a:lnTo>
                        <a:pt x="1889" y="3154"/>
                      </a:lnTo>
                      <a:lnTo>
                        <a:pt x="1889" y="3147"/>
                      </a:lnTo>
                      <a:lnTo>
                        <a:pt x="1920" y="3130"/>
                      </a:lnTo>
                      <a:lnTo>
                        <a:pt x="1906" y="3114"/>
                      </a:lnTo>
                      <a:lnTo>
                        <a:pt x="1911" y="3109"/>
                      </a:lnTo>
                      <a:lnTo>
                        <a:pt x="1894" y="3114"/>
                      </a:lnTo>
                      <a:lnTo>
                        <a:pt x="1906" y="3125"/>
                      </a:lnTo>
                      <a:lnTo>
                        <a:pt x="1906" y="3130"/>
                      </a:lnTo>
                      <a:lnTo>
                        <a:pt x="1882" y="3147"/>
                      </a:lnTo>
                      <a:lnTo>
                        <a:pt x="1868" y="3130"/>
                      </a:lnTo>
                      <a:lnTo>
                        <a:pt x="1856" y="3154"/>
                      </a:lnTo>
                      <a:lnTo>
                        <a:pt x="1835" y="3147"/>
                      </a:lnTo>
                      <a:lnTo>
                        <a:pt x="1840" y="3154"/>
                      </a:lnTo>
                      <a:lnTo>
                        <a:pt x="1835" y="3163"/>
                      </a:lnTo>
                      <a:lnTo>
                        <a:pt x="1830" y="3147"/>
                      </a:lnTo>
                      <a:lnTo>
                        <a:pt x="1764" y="3154"/>
                      </a:lnTo>
                      <a:lnTo>
                        <a:pt x="1802" y="3154"/>
                      </a:lnTo>
                      <a:lnTo>
                        <a:pt x="1797" y="3163"/>
                      </a:lnTo>
                      <a:lnTo>
                        <a:pt x="1743" y="3163"/>
                      </a:lnTo>
                      <a:lnTo>
                        <a:pt x="1731" y="3163"/>
                      </a:lnTo>
                      <a:lnTo>
                        <a:pt x="1776" y="3142"/>
                      </a:lnTo>
                      <a:lnTo>
                        <a:pt x="1726" y="3147"/>
                      </a:lnTo>
                      <a:lnTo>
                        <a:pt x="1764" y="3142"/>
                      </a:lnTo>
                      <a:lnTo>
                        <a:pt x="1764" y="3130"/>
                      </a:lnTo>
                      <a:lnTo>
                        <a:pt x="1748" y="3130"/>
                      </a:lnTo>
                      <a:lnTo>
                        <a:pt x="1743" y="3125"/>
                      </a:lnTo>
                      <a:lnTo>
                        <a:pt x="1759" y="3109"/>
                      </a:lnTo>
                      <a:lnTo>
                        <a:pt x="1748" y="3109"/>
                      </a:lnTo>
                      <a:lnTo>
                        <a:pt x="1731" y="3114"/>
                      </a:lnTo>
                      <a:lnTo>
                        <a:pt x="1743" y="3130"/>
                      </a:lnTo>
                      <a:lnTo>
                        <a:pt x="1726" y="3130"/>
                      </a:lnTo>
                      <a:lnTo>
                        <a:pt x="1726" y="3125"/>
                      </a:lnTo>
                      <a:lnTo>
                        <a:pt x="1731" y="3125"/>
                      </a:lnTo>
                      <a:lnTo>
                        <a:pt x="1710" y="3125"/>
                      </a:lnTo>
                      <a:lnTo>
                        <a:pt x="1726" y="3109"/>
                      </a:lnTo>
                      <a:lnTo>
                        <a:pt x="1679" y="3097"/>
                      </a:lnTo>
                      <a:lnTo>
                        <a:pt x="1743" y="3085"/>
                      </a:lnTo>
                      <a:lnTo>
                        <a:pt x="1726" y="3076"/>
                      </a:lnTo>
                      <a:lnTo>
                        <a:pt x="1689" y="3092"/>
                      </a:lnTo>
                      <a:lnTo>
                        <a:pt x="1667" y="3085"/>
                      </a:lnTo>
                      <a:lnTo>
                        <a:pt x="1710" y="3076"/>
                      </a:lnTo>
                      <a:lnTo>
                        <a:pt x="1689" y="3076"/>
                      </a:lnTo>
                      <a:lnTo>
                        <a:pt x="1679" y="3076"/>
                      </a:lnTo>
                      <a:lnTo>
                        <a:pt x="1679" y="3059"/>
                      </a:lnTo>
                      <a:lnTo>
                        <a:pt x="1672" y="3069"/>
                      </a:lnTo>
                      <a:lnTo>
                        <a:pt x="1679" y="3052"/>
                      </a:lnTo>
                      <a:lnTo>
                        <a:pt x="1705" y="3036"/>
                      </a:lnTo>
                      <a:lnTo>
                        <a:pt x="1689" y="3036"/>
                      </a:lnTo>
                      <a:lnTo>
                        <a:pt x="1672" y="3052"/>
                      </a:lnTo>
                      <a:lnTo>
                        <a:pt x="1667" y="3069"/>
                      </a:lnTo>
                      <a:lnTo>
                        <a:pt x="1656" y="3059"/>
                      </a:lnTo>
                      <a:lnTo>
                        <a:pt x="1672" y="3043"/>
                      </a:lnTo>
                      <a:lnTo>
                        <a:pt x="1656" y="3052"/>
                      </a:lnTo>
                      <a:lnTo>
                        <a:pt x="1656" y="3036"/>
                      </a:lnTo>
                      <a:lnTo>
                        <a:pt x="1693" y="3031"/>
                      </a:lnTo>
                      <a:lnTo>
                        <a:pt x="1679" y="3019"/>
                      </a:lnTo>
                      <a:lnTo>
                        <a:pt x="1679" y="3014"/>
                      </a:lnTo>
                      <a:lnTo>
                        <a:pt x="1672" y="3031"/>
                      </a:lnTo>
                      <a:lnTo>
                        <a:pt x="1634" y="3036"/>
                      </a:lnTo>
                      <a:lnTo>
                        <a:pt x="1634" y="3019"/>
                      </a:lnTo>
                      <a:lnTo>
                        <a:pt x="1656" y="3019"/>
                      </a:lnTo>
                      <a:lnTo>
                        <a:pt x="1667" y="3014"/>
                      </a:lnTo>
                      <a:lnTo>
                        <a:pt x="1641" y="3014"/>
                      </a:lnTo>
                      <a:lnTo>
                        <a:pt x="1656" y="3003"/>
                      </a:lnTo>
                      <a:lnTo>
                        <a:pt x="1625" y="3003"/>
                      </a:lnTo>
                      <a:lnTo>
                        <a:pt x="1596" y="2981"/>
                      </a:lnTo>
                      <a:lnTo>
                        <a:pt x="1596" y="2958"/>
                      </a:lnTo>
                      <a:lnTo>
                        <a:pt x="1618" y="2941"/>
                      </a:lnTo>
                      <a:lnTo>
                        <a:pt x="1596" y="2958"/>
                      </a:lnTo>
                      <a:lnTo>
                        <a:pt x="1604" y="2925"/>
                      </a:lnTo>
                      <a:lnTo>
                        <a:pt x="1634" y="2920"/>
                      </a:lnTo>
                      <a:lnTo>
                        <a:pt x="1604" y="2925"/>
                      </a:lnTo>
                      <a:lnTo>
                        <a:pt x="1587" y="2948"/>
                      </a:lnTo>
                      <a:lnTo>
                        <a:pt x="1587" y="2925"/>
                      </a:lnTo>
                      <a:lnTo>
                        <a:pt x="1604" y="2920"/>
                      </a:lnTo>
                      <a:lnTo>
                        <a:pt x="1570" y="2925"/>
                      </a:lnTo>
                      <a:lnTo>
                        <a:pt x="1570" y="2908"/>
                      </a:lnTo>
                      <a:lnTo>
                        <a:pt x="1613" y="2892"/>
                      </a:lnTo>
                      <a:lnTo>
                        <a:pt x="1549" y="2908"/>
                      </a:lnTo>
                      <a:lnTo>
                        <a:pt x="1559" y="2892"/>
                      </a:lnTo>
                      <a:lnTo>
                        <a:pt x="1542" y="2903"/>
                      </a:lnTo>
                      <a:lnTo>
                        <a:pt x="1533" y="2887"/>
                      </a:lnTo>
                      <a:lnTo>
                        <a:pt x="1596" y="2875"/>
                      </a:lnTo>
                      <a:lnTo>
                        <a:pt x="1542" y="2875"/>
                      </a:lnTo>
                      <a:lnTo>
                        <a:pt x="1528" y="2870"/>
                      </a:lnTo>
                      <a:lnTo>
                        <a:pt x="1566" y="2863"/>
                      </a:lnTo>
                      <a:lnTo>
                        <a:pt x="1542" y="2863"/>
                      </a:lnTo>
                      <a:lnTo>
                        <a:pt x="1533" y="2854"/>
                      </a:lnTo>
                      <a:lnTo>
                        <a:pt x="1570" y="2854"/>
                      </a:lnTo>
                      <a:lnTo>
                        <a:pt x="1580" y="2847"/>
                      </a:lnTo>
                      <a:lnTo>
                        <a:pt x="1542" y="2847"/>
                      </a:lnTo>
                      <a:lnTo>
                        <a:pt x="1533" y="2854"/>
                      </a:lnTo>
                      <a:lnTo>
                        <a:pt x="1533" y="2863"/>
                      </a:lnTo>
                      <a:lnTo>
                        <a:pt x="1504" y="2837"/>
                      </a:lnTo>
                      <a:lnTo>
                        <a:pt x="1549" y="2814"/>
                      </a:lnTo>
                      <a:lnTo>
                        <a:pt x="1511" y="2830"/>
                      </a:lnTo>
                      <a:lnTo>
                        <a:pt x="1511" y="2821"/>
                      </a:lnTo>
                      <a:lnTo>
                        <a:pt x="1516" y="2821"/>
                      </a:lnTo>
                      <a:lnTo>
                        <a:pt x="1516" y="2814"/>
                      </a:lnTo>
                      <a:lnTo>
                        <a:pt x="1495" y="2809"/>
                      </a:lnTo>
                      <a:lnTo>
                        <a:pt x="1613" y="2781"/>
                      </a:lnTo>
                      <a:lnTo>
                        <a:pt x="1570" y="2781"/>
                      </a:lnTo>
                      <a:lnTo>
                        <a:pt x="1580" y="2776"/>
                      </a:lnTo>
                      <a:lnTo>
                        <a:pt x="1511" y="2797"/>
                      </a:lnTo>
                      <a:lnTo>
                        <a:pt x="1495" y="2792"/>
                      </a:lnTo>
                      <a:lnTo>
                        <a:pt x="1516" y="2792"/>
                      </a:lnTo>
                      <a:lnTo>
                        <a:pt x="1490" y="2781"/>
                      </a:lnTo>
                      <a:lnTo>
                        <a:pt x="1549" y="2781"/>
                      </a:lnTo>
                      <a:lnTo>
                        <a:pt x="1559" y="2776"/>
                      </a:lnTo>
                      <a:lnTo>
                        <a:pt x="1542" y="2776"/>
                      </a:lnTo>
                      <a:lnTo>
                        <a:pt x="1559" y="2759"/>
                      </a:lnTo>
                      <a:lnTo>
                        <a:pt x="1587" y="2764"/>
                      </a:lnTo>
                      <a:lnTo>
                        <a:pt x="1604" y="2759"/>
                      </a:lnTo>
                      <a:lnTo>
                        <a:pt x="1570" y="2759"/>
                      </a:lnTo>
                      <a:lnTo>
                        <a:pt x="1570" y="2752"/>
                      </a:lnTo>
                      <a:lnTo>
                        <a:pt x="1580" y="2743"/>
                      </a:lnTo>
                      <a:lnTo>
                        <a:pt x="1549" y="2736"/>
                      </a:lnTo>
                      <a:lnTo>
                        <a:pt x="1580" y="2726"/>
                      </a:lnTo>
                      <a:lnTo>
                        <a:pt x="1566" y="2726"/>
                      </a:lnTo>
                      <a:lnTo>
                        <a:pt x="1580" y="2726"/>
                      </a:lnTo>
                      <a:lnTo>
                        <a:pt x="1596" y="2726"/>
                      </a:lnTo>
                      <a:lnTo>
                        <a:pt x="1604" y="2752"/>
                      </a:lnTo>
                      <a:lnTo>
                        <a:pt x="1641" y="2764"/>
                      </a:lnTo>
                      <a:lnTo>
                        <a:pt x="1613" y="2743"/>
                      </a:lnTo>
                      <a:lnTo>
                        <a:pt x="1604" y="2736"/>
                      </a:lnTo>
                      <a:lnTo>
                        <a:pt x="1618" y="2726"/>
                      </a:lnTo>
                      <a:lnTo>
                        <a:pt x="1596" y="2726"/>
                      </a:lnTo>
                      <a:lnTo>
                        <a:pt x="1613" y="2703"/>
                      </a:lnTo>
                      <a:lnTo>
                        <a:pt x="1596" y="2719"/>
                      </a:lnTo>
                      <a:lnTo>
                        <a:pt x="1570" y="2719"/>
                      </a:lnTo>
                      <a:lnTo>
                        <a:pt x="1566" y="2698"/>
                      </a:lnTo>
                      <a:lnTo>
                        <a:pt x="1549" y="2665"/>
                      </a:lnTo>
                      <a:lnTo>
                        <a:pt x="1549" y="2698"/>
                      </a:lnTo>
                      <a:lnTo>
                        <a:pt x="1566" y="2698"/>
                      </a:lnTo>
                      <a:lnTo>
                        <a:pt x="1570" y="2719"/>
                      </a:lnTo>
                      <a:lnTo>
                        <a:pt x="1533" y="2736"/>
                      </a:lnTo>
                      <a:lnTo>
                        <a:pt x="1528" y="2736"/>
                      </a:lnTo>
                      <a:lnTo>
                        <a:pt x="1542" y="2719"/>
                      </a:lnTo>
                      <a:lnTo>
                        <a:pt x="1528" y="2719"/>
                      </a:lnTo>
                      <a:lnTo>
                        <a:pt x="1495" y="2776"/>
                      </a:lnTo>
                      <a:lnTo>
                        <a:pt x="1474" y="2781"/>
                      </a:lnTo>
                      <a:lnTo>
                        <a:pt x="1474" y="2759"/>
                      </a:lnTo>
                      <a:lnTo>
                        <a:pt x="1462" y="2759"/>
                      </a:lnTo>
                      <a:lnTo>
                        <a:pt x="1474" y="2736"/>
                      </a:lnTo>
                      <a:lnTo>
                        <a:pt x="1462" y="2726"/>
                      </a:lnTo>
                      <a:lnTo>
                        <a:pt x="1504" y="2710"/>
                      </a:lnTo>
                      <a:lnTo>
                        <a:pt x="1528" y="2686"/>
                      </a:lnTo>
                      <a:lnTo>
                        <a:pt x="1495" y="2703"/>
                      </a:lnTo>
                      <a:lnTo>
                        <a:pt x="1504" y="2698"/>
                      </a:lnTo>
                      <a:lnTo>
                        <a:pt x="1495" y="2686"/>
                      </a:lnTo>
                      <a:lnTo>
                        <a:pt x="1478" y="2710"/>
                      </a:lnTo>
                      <a:lnTo>
                        <a:pt x="1462" y="2710"/>
                      </a:lnTo>
                      <a:lnTo>
                        <a:pt x="1478" y="2703"/>
                      </a:lnTo>
                      <a:lnTo>
                        <a:pt x="1474" y="2703"/>
                      </a:lnTo>
                      <a:lnTo>
                        <a:pt x="1457" y="2710"/>
                      </a:lnTo>
                      <a:lnTo>
                        <a:pt x="1457" y="2703"/>
                      </a:lnTo>
                      <a:lnTo>
                        <a:pt x="1474" y="2698"/>
                      </a:lnTo>
                      <a:lnTo>
                        <a:pt x="1457" y="2681"/>
                      </a:lnTo>
                      <a:lnTo>
                        <a:pt x="1462" y="2665"/>
                      </a:lnTo>
                      <a:lnTo>
                        <a:pt x="1452" y="2665"/>
                      </a:lnTo>
                      <a:lnTo>
                        <a:pt x="1457" y="2653"/>
                      </a:lnTo>
                      <a:lnTo>
                        <a:pt x="1441" y="2670"/>
                      </a:lnTo>
                      <a:lnTo>
                        <a:pt x="1436" y="2653"/>
                      </a:lnTo>
                      <a:lnTo>
                        <a:pt x="1495" y="2625"/>
                      </a:lnTo>
                      <a:lnTo>
                        <a:pt x="1478" y="2615"/>
                      </a:lnTo>
                      <a:lnTo>
                        <a:pt x="1495" y="2608"/>
                      </a:lnTo>
                      <a:lnTo>
                        <a:pt x="1528" y="2599"/>
                      </a:lnTo>
                      <a:lnTo>
                        <a:pt x="1580" y="2608"/>
                      </a:lnTo>
                      <a:lnTo>
                        <a:pt x="1511" y="2599"/>
                      </a:lnTo>
                      <a:lnTo>
                        <a:pt x="1478" y="2615"/>
                      </a:lnTo>
                      <a:lnTo>
                        <a:pt x="1478" y="2625"/>
                      </a:lnTo>
                      <a:lnTo>
                        <a:pt x="1441" y="2648"/>
                      </a:lnTo>
                      <a:lnTo>
                        <a:pt x="1436" y="2632"/>
                      </a:lnTo>
                      <a:lnTo>
                        <a:pt x="1441" y="2615"/>
                      </a:lnTo>
                      <a:lnTo>
                        <a:pt x="1424" y="2632"/>
                      </a:lnTo>
                      <a:lnTo>
                        <a:pt x="1419" y="2625"/>
                      </a:lnTo>
                      <a:lnTo>
                        <a:pt x="1436" y="2615"/>
                      </a:lnTo>
                      <a:lnTo>
                        <a:pt x="1419" y="2615"/>
                      </a:lnTo>
                      <a:lnTo>
                        <a:pt x="1424" y="2592"/>
                      </a:lnTo>
                      <a:lnTo>
                        <a:pt x="1419" y="2608"/>
                      </a:lnTo>
                      <a:lnTo>
                        <a:pt x="1386" y="2608"/>
                      </a:lnTo>
                      <a:lnTo>
                        <a:pt x="1408" y="2592"/>
                      </a:lnTo>
                      <a:lnTo>
                        <a:pt x="1386" y="2599"/>
                      </a:lnTo>
                      <a:lnTo>
                        <a:pt x="1424" y="2575"/>
                      </a:lnTo>
                      <a:lnTo>
                        <a:pt x="1452" y="2587"/>
                      </a:lnTo>
                      <a:lnTo>
                        <a:pt x="1478" y="2570"/>
                      </a:lnTo>
                      <a:lnTo>
                        <a:pt x="1490" y="2575"/>
                      </a:lnTo>
                      <a:lnTo>
                        <a:pt x="1490" y="2570"/>
                      </a:lnTo>
                      <a:lnTo>
                        <a:pt x="1452" y="2587"/>
                      </a:lnTo>
                      <a:lnTo>
                        <a:pt x="1436" y="2575"/>
                      </a:lnTo>
                      <a:lnTo>
                        <a:pt x="1398" y="2592"/>
                      </a:lnTo>
                      <a:lnTo>
                        <a:pt x="1386" y="2587"/>
                      </a:lnTo>
                      <a:lnTo>
                        <a:pt x="1408" y="2570"/>
                      </a:lnTo>
                      <a:lnTo>
                        <a:pt x="1386" y="2575"/>
                      </a:lnTo>
                      <a:lnTo>
                        <a:pt x="1370" y="2575"/>
                      </a:lnTo>
                      <a:lnTo>
                        <a:pt x="1398" y="2570"/>
                      </a:lnTo>
                      <a:lnTo>
                        <a:pt x="1370" y="2570"/>
                      </a:lnTo>
                      <a:lnTo>
                        <a:pt x="1474" y="2514"/>
                      </a:lnTo>
                      <a:lnTo>
                        <a:pt x="1478" y="2497"/>
                      </a:lnTo>
                      <a:lnTo>
                        <a:pt x="1528" y="2476"/>
                      </a:lnTo>
                      <a:lnTo>
                        <a:pt x="1587" y="2476"/>
                      </a:lnTo>
                      <a:lnTo>
                        <a:pt x="1542" y="2464"/>
                      </a:lnTo>
                      <a:lnTo>
                        <a:pt x="1566" y="2448"/>
                      </a:lnTo>
                      <a:lnTo>
                        <a:pt x="1613" y="2459"/>
                      </a:lnTo>
                      <a:lnTo>
                        <a:pt x="1570" y="2448"/>
                      </a:lnTo>
                      <a:lnTo>
                        <a:pt x="1587" y="2443"/>
                      </a:lnTo>
                      <a:lnTo>
                        <a:pt x="1533" y="2464"/>
                      </a:lnTo>
                      <a:lnTo>
                        <a:pt x="1403" y="2554"/>
                      </a:lnTo>
                      <a:lnTo>
                        <a:pt x="1370" y="2559"/>
                      </a:lnTo>
                      <a:lnTo>
                        <a:pt x="1353" y="2554"/>
                      </a:lnTo>
                      <a:lnTo>
                        <a:pt x="1398" y="2537"/>
                      </a:lnTo>
                      <a:lnTo>
                        <a:pt x="1365" y="2542"/>
                      </a:lnTo>
                      <a:lnTo>
                        <a:pt x="1353" y="2537"/>
                      </a:lnTo>
                      <a:lnTo>
                        <a:pt x="1353" y="2514"/>
                      </a:lnTo>
                      <a:lnTo>
                        <a:pt x="1441" y="2504"/>
                      </a:lnTo>
                      <a:lnTo>
                        <a:pt x="1386" y="2504"/>
                      </a:lnTo>
                      <a:lnTo>
                        <a:pt x="1370" y="2497"/>
                      </a:lnTo>
                      <a:lnTo>
                        <a:pt x="1436" y="2488"/>
                      </a:lnTo>
                      <a:lnTo>
                        <a:pt x="1386" y="2481"/>
                      </a:lnTo>
                      <a:lnTo>
                        <a:pt x="1419" y="2481"/>
                      </a:lnTo>
                      <a:lnTo>
                        <a:pt x="1398" y="2481"/>
                      </a:lnTo>
                      <a:lnTo>
                        <a:pt x="1403" y="2476"/>
                      </a:lnTo>
                      <a:lnTo>
                        <a:pt x="1457" y="2476"/>
                      </a:lnTo>
                      <a:lnTo>
                        <a:pt x="1441" y="2464"/>
                      </a:lnTo>
                      <a:lnTo>
                        <a:pt x="1353" y="2464"/>
                      </a:lnTo>
                      <a:lnTo>
                        <a:pt x="1348" y="2459"/>
                      </a:lnTo>
                      <a:lnTo>
                        <a:pt x="1386" y="2448"/>
                      </a:lnTo>
                      <a:lnTo>
                        <a:pt x="1348" y="2443"/>
                      </a:lnTo>
                      <a:lnTo>
                        <a:pt x="1382" y="2443"/>
                      </a:lnTo>
                      <a:lnTo>
                        <a:pt x="1332" y="2443"/>
                      </a:lnTo>
                      <a:lnTo>
                        <a:pt x="1348" y="2431"/>
                      </a:lnTo>
                      <a:lnTo>
                        <a:pt x="1382" y="2426"/>
                      </a:lnTo>
                      <a:lnTo>
                        <a:pt x="1365" y="2426"/>
                      </a:lnTo>
                      <a:lnTo>
                        <a:pt x="1462" y="2410"/>
                      </a:lnTo>
                      <a:lnTo>
                        <a:pt x="1511" y="2410"/>
                      </a:lnTo>
                      <a:lnTo>
                        <a:pt x="1533" y="2431"/>
                      </a:lnTo>
                      <a:lnTo>
                        <a:pt x="1587" y="2431"/>
                      </a:lnTo>
                      <a:lnTo>
                        <a:pt x="1533" y="2431"/>
                      </a:lnTo>
                      <a:lnTo>
                        <a:pt x="1511" y="2410"/>
                      </a:lnTo>
                      <a:lnTo>
                        <a:pt x="1533" y="2403"/>
                      </a:lnTo>
                      <a:lnTo>
                        <a:pt x="1386" y="2410"/>
                      </a:lnTo>
                      <a:lnTo>
                        <a:pt x="1348" y="2426"/>
                      </a:lnTo>
                      <a:lnTo>
                        <a:pt x="1344" y="2419"/>
                      </a:lnTo>
                      <a:lnTo>
                        <a:pt x="1353" y="2393"/>
                      </a:lnTo>
                      <a:lnTo>
                        <a:pt x="1408" y="2370"/>
                      </a:lnTo>
                      <a:lnTo>
                        <a:pt x="1398" y="2370"/>
                      </a:lnTo>
                      <a:lnTo>
                        <a:pt x="1403" y="2370"/>
                      </a:lnTo>
                      <a:lnTo>
                        <a:pt x="1436" y="2365"/>
                      </a:lnTo>
                      <a:lnTo>
                        <a:pt x="1419" y="2365"/>
                      </a:lnTo>
                      <a:lnTo>
                        <a:pt x="1441" y="2365"/>
                      </a:lnTo>
                      <a:lnTo>
                        <a:pt x="1490" y="2377"/>
                      </a:lnTo>
                      <a:lnTo>
                        <a:pt x="1516" y="2370"/>
                      </a:lnTo>
                      <a:lnTo>
                        <a:pt x="1566" y="2393"/>
                      </a:lnTo>
                      <a:lnTo>
                        <a:pt x="1604" y="2393"/>
                      </a:lnTo>
                      <a:lnTo>
                        <a:pt x="1613" y="2386"/>
                      </a:lnTo>
                      <a:lnTo>
                        <a:pt x="1570" y="2393"/>
                      </a:lnTo>
                      <a:lnTo>
                        <a:pt x="1559" y="2377"/>
                      </a:lnTo>
                      <a:lnTo>
                        <a:pt x="1596" y="2365"/>
                      </a:lnTo>
                      <a:lnTo>
                        <a:pt x="1618" y="2370"/>
                      </a:lnTo>
                      <a:lnTo>
                        <a:pt x="1596" y="2365"/>
                      </a:lnTo>
                      <a:lnTo>
                        <a:pt x="1542" y="2377"/>
                      </a:lnTo>
                      <a:lnTo>
                        <a:pt x="1528" y="2365"/>
                      </a:lnTo>
                      <a:lnTo>
                        <a:pt x="1587" y="2348"/>
                      </a:lnTo>
                      <a:lnTo>
                        <a:pt x="1559" y="2337"/>
                      </a:lnTo>
                      <a:lnTo>
                        <a:pt x="1559" y="2348"/>
                      </a:lnTo>
                      <a:lnTo>
                        <a:pt x="1566" y="2348"/>
                      </a:lnTo>
                      <a:lnTo>
                        <a:pt x="1533" y="2365"/>
                      </a:lnTo>
                      <a:lnTo>
                        <a:pt x="1516" y="2348"/>
                      </a:lnTo>
                      <a:lnTo>
                        <a:pt x="1549" y="2348"/>
                      </a:lnTo>
                      <a:lnTo>
                        <a:pt x="1542" y="2332"/>
                      </a:lnTo>
                      <a:lnTo>
                        <a:pt x="1504" y="2337"/>
                      </a:lnTo>
                      <a:lnTo>
                        <a:pt x="1516" y="2353"/>
                      </a:lnTo>
                      <a:lnTo>
                        <a:pt x="1495" y="2370"/>
                      </a:lnTo>
                      <a:lnTo>
                        <a:pt x="1490" y="2365"/>
                      </a:lnTo>
                      <a:lnTo>
                        <a:pt x="1504" y="2353"/>
                      </a:lnTo>
                      <a:lnTo>
                        <a:pt x="1452" y="2353"/>
                      </a:lnTo>
                      <a:lnTo>
                        <a:pt x="1504" y="2332"/>
                      </a:lnTo>
                      <a:lnTo>
                        <a:pt x="1403" y="2365"/>
                      </a:lnTo>
                      <a:lnTo>
                        <a:pt x="1365" y="2386"/>
                      </a:lnTo>
                      <a:lnTo>
                        <a:pt x="1353" y="2386"/>
                      </a:lnTo>
                      <a:lnTo>
                        <a:pt x="1348" y="2377"/>
                      </a:lnTo>
                      <a:lnTo>
                        <a:pt x="1365" y="2370"/>
                      </a:lnTo>
                      <a:lnTo>
                        <a:pt x="1353" y="2353"/>
                      </a:lnTo>
                      <a:lnTo>
                        <a:pt x="1382" y="2353"/>
                      </a:lnTo>
                      <a:lnTo>
                        <a:pt x="1370" y="2348"/>
                      </a:lnTo>
                      <a:lnTo>
                        <a:pt x="1386" y="2353"/>
                      </a:lnTo>
                      <a:lnTo>
                        <a:pt x="1403" y="2348"/>
                      </a:lnTo>
                      <a:lnTo>
                        <a:pt x="1386" y="2348"/>
                      </a:lnTo>
                      <a:lnTo>
                        <a:pt x="1386" y="2337"/>
                      </a:lnTo>
                      <a:lnTo>
                        <a:pt x="1408" y="2332"/>
                      </a:lnTo>
                      <a:lnTo>
                        <a:pt x="1386" y="2332"/>
                      </a:lnTo>
                      <a:lnTo>
                        <a:pt x="1386" y="2320"/>
                      </a:lnTo>
                      <a:lnTo>
                        <a:pt x="1457" y="2337"/>
                      </a:lnTo>
                      <a:lnTo>
                        <a:pt x="1474" y="2332"/>
                      </a:lnTo>
                      <a:lnTo>
                        <a:pt x="1424" y="2332"/>
                      </a:lnTo>
                      <a:lnTo>
                        <a:pt x="1398" y="2315"/>
                      </a:lnTo>
                      <a:lnTo>
                        <a:pt x="1370" y="2315"/>
                      </a:lnTo>
                      <a:lnTo>
                        <a:pt x="1382" y="2308"/>
                      </a:lnTo>
                      <a:lnTo>
                        <a:pt x="1452" y="2320"/>
                      </a:lnTo>
                      <a:lnTo>
                        <a:pt x="1419" y="2308"/>
                      </a:lnTo>
                      <a:lnTo>
                        <a:pt x="1490" y="2320"/>
                      </a:lnTo>
                      <a:lnTo>
                        <a:pt x="1533" y="2320"/>
                      </a:lnTo>
                      <a:lnTo>
                        <a:pt x="1570" y="2337"/>
                      </a:lnTo>
                      <a:lnTo>
                        <a:pt x="1604" y="2337"/>
                      </a:lnTo>
                      <a:lnTo>
                        <a:pt x="1511" y="2308"/>
                      </a:lnTo>
                      <a:lnTo>
                        <a:pt x="1549" y="2308"/>
                      </a:lnTo>
                      <a:lnTo>
                        <a:pt x="1528" y="2299"/>
                      </a:lnTo>
                      <a:lnTo>
                        <a:pt x="1533" y="2292"/>
                      </a:lnTo>
                      <a:lnTo>
                        <a:pt x="1533" y="2282"/>
                      </a:lnTo>
                      <a:lnTo>
                        <a:pt x="1559" y="2266"/>
                      </a:lnTo>
                      <a:lnTo>
                        <a:pt x="1504" y="2275"/>
                      </a:lnTo>
                      <a:lnTo>
                        <a:pt x="1528" y="2292"/>
                      </a:lnTo>
                      <a:lnTo>
                        <a:pt x="1441" y="2308"/>
                      </a:lnTo>
                      <a:lnTo>
                        <a:pt x="1441" y="2308"/>
                      </a:lnTo>
                      <a:lnTo>
                        <a:pt x="1441" y="2308"/>
                      </a:lnTo>
                      <a:close/>
                      <a:moveTo>
                        <a:pt x="2343" y="45"/>
                      </a:moveTo>
                      <a:lnTo>
                        <a:pt x="2374" y="41"/>
                      </a:lnTo>
                      <a:lnTo>
                        <a:pt x="2390" y="57"/>
                      </a:lnTo>
                      <a:lnTo>
                        <a:pt x="2343" y="45"/>
                      </a:lnTo>
                      <a:lnTo>
                        <a:pt x="2343" y="45"/>
                      </a:lnTo>
                      <a:lnTo>
                        <a:pt x="2343" y="45"/>
                      </a:lnTo>
                      <a:close/>
                      <a:moveTo>
                        <a:pt x="2390" y="83"/>
                      </a:moveTo>
                      <a:lnTo>
                        <a:pt x="2267" y="62"/>
                      </a:lnTo>
                      <a:lnTo>
                        <a:pt x="2298" y="45"/>
                      </a:lnTo>
                      <a:lnTo>
                        <a:pt x="2411" y="83"/>
                      </a:lnTo>
                      <a:lnTo>
                        <a:pt x="2390" y="83"/>
                      </a:lnTo>
                      <a:lnTo>
                        <a:pt x="2390" y="83"/>
                      </a:lnTo>
                      <a:lnTo>
                        <a:pt x="2390" y="83"/>
                      </a:lnTo>
                      <a:close/>
                      <a:moveTo>
                        <a:pt x="2284" y="67"/>
                      </a:moveTo>
                      <a:lnTo>
                        <a:pt x="2315" y="67"/>
                      </a:lnTo>
                      <a:lnTo>
                        <a:pt x="2272" y="67"/>
                      </a:lnTo>
                      <a:lnTo>
                        <a:pt x="2284" y="67"/>
                      </a:lnTo>
                      <a:lnTo>
                        <a:pt x="2284" y="67"/>
                      </a:lnTo>
                      <a:lnTo>
                        <a:pt x="2284" y="67"/>
                      </a:lnTo>
                      <a:close/>
                      <a:moveTo>
                        <a:pt x="2411" y="83"/>
                      </a:moveTo>
                      <a:lnTo>
                        <a:pt x="2411" y="78"/>
                      </a:lnTo>
                      <a:lnTo>
                        <a:pt x="2449" y="83"/>
                      </a:lnTo>
                      <a:lnTo>
                        <a:pt x="2411" y="83"/>
                      </a:lnTo>
                      <a:lnTo>
                        <a:pt x="2411" y="83"/>
                      </a:lnTo>
                      <a:lnTo>
                        <a:pt x="2411" y="83"/>
                      </a:lnTo>
                      <a:close/>
                      <a:moveTo>
                        <a:pt x="2322" y="116"/>
                      </a:moveTo>
                      <a:lnTo>
                        <a:pt x="2213" y="78"/>
                      </a:lnTo>
                      <a:lnTo>
                        <a:pt x="2260" y="78"/>
                      </a:lnTo>
                      <a:lnTo>
                        <a:pt x="2322" y="116"/>
                      </a:lnTo>
                      <a:lnTo>
                        <a:pt x="2322" y="116"/>
                      </a:lnTo>
                      <a:lnTo>
                        <a:pt x="2322" y="116"/>
                      </a:lnTo>
                      <a:close/>
                      <a:moveTo>
                        <a:pt x="2343" y="111"/>
                      </a:moveTo>
                      <a:lnTo>
                        <a:pt x="2272" y="83"/>
                      </a:lnTo>
                      <a:lnTo>
                        <a:pt x="2369" y="95"/>
                      </a:lnTo>
                      <a:lnTo>
                        <a:pt x="2343" y="111"/>
                      </a:lnTo>
                      <a:lnTo>
                        <a:pt x="2343" y="111"/>
                      </a:lnTo>
                      <a:lnTo>
                        <a:pt x="2343" y="111"/>
                      </a:lnTo>
                      <a:close/>
                      <a:moveTo>
                        <a:pt x="1840" y="140"/>
                      </a:moveTo>
                      <a:lnTo>
                        <a:pt x="1802" y="123"/>
                      </a:lnTo>
                      <a:lnTo>
                        <a:pt x="1868" y="140"/>
                      </a:lnTo>
                      <a:lnTo>
                        <a:pt x="1840" y="140"/>
                      </a:lnTo>
                      <a:lnTo>
                        <a:pt x="1840" y="140"/>
                      </a:lnTo>
                      <a:lnTo>
                        <a:pt x="1840" y="140"/>
                      </a:lnTo>
                      <a:close/>
                      <a:moveTo>
                        <a:pt x="1731" y="152"/>
                      </a:moveTo>
                      <a:lnTo>
                        <a:pt x="1726" y="135"/>
                      </a:lnTo>
                      <a:lnTo>
                        <a:pt x="1797" y="152"/>
                      </a:lnTo>
                      <a:lnTo>
                        <a:pt x="1731" y="152"/>
                      </a:lnTo>
                      <a:lnTo>
                        <a:pt x="1731" y="152"/>
                      </a:lnTo>
                      <a:lnTo>
                        <a:pt x="1731" y="152"/>
                      </a:lnTo>
                      <a:close/>
                      <a:moveTo>
                        <a:pt x="2298" y="173"/>
                      </a:moveTo>
                      <a:lnTo>
                        <a:pt x="2284" y="168"/>
                      </a:lnTo>
                      <a:lnTo>
                        <a:pt x="2305" y="173"/>
                      </a:lnTo>
                      <a:lnTo>
                        <a:pt x="2298" y="173"/>
                      </a:lnTo>
                      <a:lnTo>
                        <a:pt x="2298" y="173"/>
                      </a:lnTo>
                      <a:lnTo>
                        <a:pt x="2298" y="173"/>
                      </a:lnTo>
                      <a:close/>
                      <a:moveTo>
                        <a:pt x="1965" y="279"/>
                      </a:moveTo>
                      <a:lnTo>
                        <a:pt x="1937" y="251"/>
                      </a:lnTo>
                      <a:lnTo>
                        <a:pt x="1830" y="222"/>
                      </a:lnTo>
                      <a:lnTo>
                        <a:pt x="1776" y="178"/>
                      </a:lnTo>
                      <a:lnTo>
                        <a:pt x="1882" y="173"/>
                      </a:lnTo>
                      <a:lnTo>
                        <a:pt x="2003" y="222"/>
                      </a:lnTo>
                      <a:lnTo>
                        <a:pt x="1958" y="251"/>
                      </a:lnTo>
                      <a:lnTo>
                        <a:pt x="1982" y="267"/>
                      </a:lnTo>
                      <a:lnTo>
                        <a:pt x="1965" y="279"/>
                      </a:lnTo>
                      <a:lnTo>
                        <a:pt x="1965" y="279"/>
                      </a:lnTo>
                      <a:lnTo>
                        <a:pt x="1965" y="279"/>
                      </a:lnTo>
                      <a:close/>
                      <a:moveTo>
                        <a:pt x="1731" y="211"/>
                      </a:moveTo>
                      <a:lnTo>
                        <a:pt x="1693" y="194"/>
                      </a:lnTo>
                      <a:lnTo>
                        <a:pt x="1748" y="206"/>
                      </a:lnTo>
                      <a:lnTo>
                        <a:pt x="1731" y="211"/>
                      </a:lnTo>
                      <a:lnTo>
                        <a:pt x="1731" y="211"/>
                      </a:lnTo>
                      <a:lnTo>
                        <a:pt x="1731" y="211"/>
                      </a:lnTo>
                      <a:close/>
                      <a:moveTo>
                        <a:pt x="1528" y="296"/>
                      </a:moveTo>
                      <a:lnTo>
                        <a:pt x="1403" y="267"/>
                      </a:lnTo>
                      <a:lnTo>
                        <a:pt x="1382" y="244"/>
                      </a:lnTo>
                      <a:lnTo>
                        <a:pt x="1398" y="227"/>
                      </a:lnTo>
                      <a:lnTo>
                        <a:pt x="1419" y="239"/>
                      </a:lnTo>
                      <a:lnTo>
                        <a:pt x="1528" y="296"/>
                      </a:lnTo>
                      <a:lnTo>
                        <a:pt x="1528" y="296"/>
                      </a:lnTo>
                      <a:lnTo>
                        <a:pt x="1528" y="296"/>
                      </a:lnTo>
                      <a:close/>
                      <a:moveTo>
                        <a:pt x="1462" y="251"/>
                      </a:moveTo>
                      <a:lnTo>
                        <a:pt x="1457" y="239"/>
                      </a:lnTo>
                      <a:lnTo>
                        <a:pt x="1490" y="251"/>
                      </a:lnTo>
                      <a:lnTo>
                        <a:pt x="1462" y="251"/>
                      </a:lnTo>
                      <a:lnTo>
                        <a:pt x="1462" y="251"/>
                      </a:lnTo>
                      <a:lnTo>
                        <a:pt x="1462" y="251"/>
                      </a:lnTo>
                      <a:close/>
                      <a:moveTo>
                        <a:pt x="3789" y="284"/>
                      </a:moveTo>
                      <a:lnTo>
                        <a:pt x="3763" y="251"/>
                      </a:lnTo>
                      <a:lnTo>
                        <a:pt x="3800" y="296"/>
                      </a:lnTo>
                      <a:lnTo>
                        <a:pt x="3789" y="284"/>
                      </a:lnTo>
                      <a:lnTo>
                        <a:pt x="3789" y="284"/>
                      </a:lnTo>
                      <a:lnTo>
                        <a:pt x="3789" y="284"/>
                      </a:lnTo>
                      <a:close/>
                      <a:moveTo>
                        <a:pt x="3704" y="305"/>
                      </a:moveTo>
                      <a:lnTo>
                        <a:pt x="3666" y="267"/>
                      </a:lnTo>
                      <a:lnTo>
                        <a:pt x="3692" y="267"/>
                      </a:lnTo>
                      <a:lnTo>
                        <a:pt x="3741" y="305"/>
                      </a:lnTo>
                      <a:lnTo>
                        <a:pt x="3704" y="305"/>
                      </a:lnTo>
                      <a:lnTo>
                        <a:pt x="3704" y="305"/>
                      </a:lnTo>
                      <a:lnTo>
                        <a:pt x="3704" y="305"/>
                      </a:lnTo>
                      <a:close/>
                      <a:moveTo>
                        <a:pt x="3817" y="350"/>
                      </a:moveTo>
                      <a:lnTo>
                        <a:pt x="3772" y="322"/>
                      </a:lnTo>
                      <a:lnTo>
                        <a:pt x="3810" y="322"/>
                      </a:lnTo>
                      <a:lnTo>
                        <a:pt x="3843" y="350"/>
                      </a:lnTo>
                      <a:lnTo>
                        <a:pt x="3817" y="350"/>
                      </a:lnTo>
                      <a:lnTo>
                        <a:pt x="3817" y="350"/>
                      </a:lnTo>
                      <a:lnTo>
                        <a:pt x="3817" y="350"/>
                      </a:lnTo>
                      <a:close/>
                      <a:moveTo>
                        <a:pt x="3654" y="355"/>
                      </a:moveTo>
                      <a:lnTo>
                        <a:pt x="3666" y="350"/>
                      </a:lnTo>
                      <a:lnTo>
                        <a:pt x="3649" y="338"/>
                      </a:lnTo>
                      <a:lnTo>
                        <a:pt x="3654" y="333"/>
                      </a:lnTo>
                      <a:lnTo>
                        <a:pt x="3708" y="338"/>
                      </a:lnTo>
                      <a:lnTo>
                        <a:pt x="3654" y="355"/>
                      </a:lnTo>
                      <a:lnTo>
                        <a:pt x="3654" y="355"/>
                      </a:lnTo>
                      <a:lnTo>
                        <a:pt x="3654" y="355"/>
                      </a:lnTo>
                      <a:close/>
                      <a:moveTo>
                        <a:pt x="3789" y="600"/>
                      </a:moveTo>
                      <a:lnTo>
                        <a:pt x="3720" y="612"/>
                      </a:lnTo>
                      <a:lnTo>
                        <a:pt x="3741" y="584"/>
                      </a:lnTo>
                      <a:lnTo>
                        <a:pt x="3789" y="600"/>
                      </a:lnTo>
                      <a:lnTo>
                        <a:pt x="3789" y="600"/>
                      </a:lnTo>
                      <a:lnTo>
                        <a:pt x="3789" y="600"/>
                      </a:lnTo>
                      <a:close/>
                      <a:moveTo>
                        <a:pt x="3763" y="749"/>
                      </a:moveTo>
                      <a:lnTo>
                        <a:pt x="3763" y="766"/>
                      </a:lnTo>
                      <a:lnTo>
                        <a:pt x="3758" y="761"/>
                      </a:lnTo>
                      <a:lnTo>
                        <a:pt x="3763" y="749"/>
                      </a:lnTo>
                      <a:lnTo>
                        <a:pt x="3763" y="749"/>
                      </a:lnTo>
                      <a:lnTo>
                        <a:pt x="3763" y="749"/>
                      </a:lnTo>
                      <a:close/>
                      <a:moveTo>
                        <a:pt x="3881" y="749"/>
                      </a:moveTo>
                      <a:lnTo>
                        <a:pt x="3885" y="761"/>
                      </a:lnTo>
                      <a:lnTo>
                        <a:pt x="3848" y="794"/>
                      </a:lnTo>
                      <a:lnTo>
                        <a:pt x="3855" y="778"/>
                      </a:lnTo>
                      <a:lnTo>
                        <a:pt x="3881" y="749"/>
                      </a:lnTo>
                      <a:lnTo>
                        <a:pt x="3881" y="749"/>
                      </a:lnTo>
                      <a:lnTo>
                        <a:pt x="3881" y="749"/>
                      </a:lnTo>
                      <a:close/>
                      <a:moveTo>
                        <a:pt x="3763" y="834"/>
                      </a:moveTo>
                      <a:lnTo>
                        <a:pt x="3734" y="822"/>
                      </a:lnTo>
                      <a:lnTo>
                        <a:pt x="3779" y="799"/>
                      </a:lnTo>
                      <a:lnTo>
                        <a:pt x="3763" y="815"/>
                      </a:lnTo>
                      <a:lnTo>
                        <a:pt x="3779" y="822"/>
                      </a:lnTo>
                      <a:lnTo>
                        <a:pt x="3758" y="822"/>
                      </a:lnTo>
                      <a:lnTo>
                        <a:pt x="3779" y="822"/>
                      </a:lnTo>
                      <a:lnTo>
                        <a:pt x="3763" y="834"/>
                      </a:lnTo>
                      <a:lnTo>
                        <a:pt x="3763" y="834"/>
                      </a:lnTo>
                      <a:lnTo>
                        <a:pt x="3763" y="834"/>
                      </a:lnTo>
                      <a:close/>
                      <a:moveTo>
                        <a:pt x="3843" y="834"/>
                      </a:moveTo>
                      <a:lnTo>
                        <a:pt x="3843" y="806"/>
                      </a:lnTo>
                      <a:lnTo>
                        <a:pt x="3855" y="815"/>
                      </a:lnTo>
                      <a:lnTo>
                        <a:pt x="3843" y="834"/>
                      </a:lnTo>
                      <a:lnTo>
                        <a:pt x="3843" y="834"/>
                      </a:lnTo>
                      <a:lnTo>
                        <a:pt x="3843" y="834"/>
                      </a:lnTo>
                      <a:close/>
                      <a:moveTo>
                        <a:pt x="3772" y="877"/>
                      </a:moveTo>
                      <a:lnTo>
                        <a:pt x="3789" y="889"/>
                      </a:lnTo>
                      <a:lnTo>
                        <a:pt x="3763" y="893"/>
                      </a:lnTo>
                      <a:lnTo>
                        <a:pt x="3763" y="889"/>
                      </a:lnTo>
                      <a:lnTo>
                        <a:pt x="3772" y="877"/>
                      </a:lnTo>
                      <a:lnTo>
                        <a:pt x="3772" y="877"/>
                      </a:lnTo>
                      <a:lnTo>
                        <a:pt x="3772" y="877"/>
                      </a:lnTo>
                      <a:close/>
                      <a:moveTo>
                        <a:pt x="3746" y="889"/>
                      </a:moveTo>
                      <a:lnTo>
                        <a:pt x="3758" y="893"/>
                      </a:lnTo>
                      <a:lnTo>
                        <a:pt x="3741" y="905"/>
                      </a:lnTo>
                      <a:lnTo>
                        <a:pt x="3741" y="889"/>
                      </a:lnTo>
                      <a:lnTo>
                        <a:pt x="3746" y="889"/>
                      </a:lnTo>
                      <a:lnTo>
                        <a:pt x="3746" y="889"/>
                      </a:lnTo>
                      <a:lnTo>
                        <a:pt x="3746" y="889"/>
                      </a:lnTo>
                      <a:close/>
                      <a:moveTo>
                        <a:pt x="3772" y="910"/>
                      </a:moveTo>
                      <a:lnTo>
                        <a:pt x="3763" y="905"/>
                      </a:lnTo>
                      <a:lnTo>
                        <a:pt x="3796" y="905"/>
                      </a:lnTo>
                      <a:lnTo>
                        <a:pt x="3772" y="910"/>
                      </a:lnTo>
                      <a:lnTo>
                        <a:pt x="3772" y="910"/>
                      </a:lnTo>
                      <a:lnTo>
                        <a:pt x="3772" y="910"/>
                      </a:lnTo>
                      <a:close/>
                      <a:moveTo>
                        <a:pt x="3649" y="917"/>
                      </a:moveTo>
                      <a:lnTo>
                        <a:pt x="3654" y="917"/>
                      </a:lnTo>
                      <a:lnTo>
                        <a:pt x="3649" y="917"/>
                      </a:lnTo>
                      <a:lnTo>
                        <a:pt x="3649" y="917"/>
                      </a:lnTo>
                      <a:lnTo>
                        <a:pt x="3649" y="917"/>
                      </a:lnTo>
                      <a:close/>
                      <a:moveTo>
                        <a:pt x="3796" y="917"/>
                      </a:moveTo>
                      <a:lnTo>
                        <a:pt x="3789" y="933"/>
                      </a:lnTo>
                      <a:lnTo>
                        <a:pt x="3779" y="926"/>
                      </a:lnTo>
                      <a:lnTo>
                        <a:pt x="3796" y="917"/>
                      </a:lnTo>
                      <a:lnTo>
                        <a:pt x="3796" y="917"/>
                      </a:lnTo>
                      <a:lnTo>
                        <a:pt x="3796" y="917"/>
                      </a:lnTo>
                      <a:close/>
                      <a:moveTo>
                        <a:pt x="3772" y="926"/>
                      </a:moveTo>
                      <a:lnTo>
                        <a:pt x="3763" y="926"/>
                      </a:lnTo>
                      <a:lnTo>
                        <a:pt x="3772" y="917"/>
                      </a:lnTo>
                      <a:lnTo>
                        <a:pt x="3772" y="926"/>
                      </a:lnTo>
                      <a:lnTo>
                        <a:pt x="3772" y="926"/>
                      </a:lnTo>
                      <a:lnTo>
                        <a:pt x="3772" y="926"/>
                      </a:lnTo>
                      <a:close/>
                      <a:moveTo>
                        <a:pt x="3637" y="945"/>
                      </a:moveTo>
                      <a:lnTo>
                        <a:pt x="3628" y="966"/>
                      </a:lnTo>
                      <a:lnTo>
                        <a:pt x="3616" y="962"/>
                      </a:lnTo>
                      <a:lnTo>
                        <a:pt x="3637" y="945"/>
                      </a:lnTo>
                      <a:lnTo>
                        <a:pt x="3637" y="945"/>
                      </a:lnTo>
                      <a:lnTo>
                        <a:pt x="3637" y="945"/>
                      </a:lnTo>
                      <a:close/>
                      <a:moveTo>
                        <a:pt x="3734" y="966"/>
                      </a:moveTo>
                      <a:lnTo>
                        <a:pt x="3772" y="971"/>
                      </a:lnTo>
                      <a:lnTo>
                        <a:pt x="3687" y="950"/>
                      </a:lnTo>
                      <a:lnTo>
                        <a:pt x="3725" y="950"/>
                      </a:lnTo>
                      <a:lnTo>
                        <a:pt x="3720" y="950"/>
                      </a:lnTo>
                      <a:lnTo>
                        <a:pt x="3734" y="966"/>
                      </a:lnTo>
                      <a:lnTo>
                        <a:pt x="3734" y="966"/>
                      </a:lnTo>
                      <a:lnTo>
                        <a:pt x="3734" y="966"/>
                      </a:lnTo>
                      <a:close/>
                      <a:moveTo>
                        <a:pt x="3746" y="962"/>
                      </a:moveTo>
                      <a:lnTo>
                        <a:pt x="3741" y="950"/>
                      </a:lnTo>
                      <a:lnTo>
                        <a:pt x="3746" y="962"/>
                      </a:lnTo>
                      <a:lnTo>
                        <a:pt x="3746" y="962"/>
                      </a:lnTo>
                      <a:lnTo>
                        <a:pt x="3746" y="962"/>
                      </a:lnTo>
                      <a:close/>
                      <a:moveTo>
                        <a:pt x="3881" y="962"/>
                      </a:moveTo>
                      <a:lnTo>
                        <a:pt x="3885" y="971"/>
                      </a:lnTo>
                      <a:lnTo>
                        <a:pt x="3881" y="988"/>
                      </a:lnTo>
                      <a:lnTo>
                        <a:pt x="3843" y="1000"/>
                      </a:lnTo>
                      <a:lnTo>
                        <a:pt x="3864" y="966"/>
                      </a:lnTo>
                      <a:lnTo>
                        <a:pt x="3881" y="962"/>
                      </a:lnTo>
                      <a:lnTo>
                        <a:pt x="3881" y="962"/>
                      </a:lnTo>
                      <a:lnTo>
                        <a:pt x="3881" y="962"/>
                      </a:lnTo>
                      <a:close/>
                      <a:moveTo>
                        <a:pt x="3708" y="1000"/>
                      </a:moveTo>
                      <a:lnTo>
                        <a:pt x="3720" y="1004"/>
                      </a:lnTo>
                      <a:lnTo>
                        <a:pt x="3687" y="1004"/>
                      </a:lnTo>
                      <a:lnTo>
                        <a:pt x="3708" y="1000"/>
                      </a:lnTo>
                      <a:lnTo>
                        <a:pt x="3708" y="1000"/>
                      </a:lnTo>
                      <a:lnTo>
                        <a:pt x="3708" y="1000"/>
                      </a:lnTo>
                      <a:close/>
                      <a:moveTo>
                        <a:pt x="432" y="1004"/>
                      </a:moveTo>
                      <a:lnTo>
                        <a:pt x="425" y="1004"/>
                      </a:lnTo>
                      <a:lnTo>
                        <a:pt x="446" y="1004"/>
                      </a:lnTo>
                      <a:lnTo>
                        <a:pt x="432" y="1004"/>
                      </a:lnTo>
                      <a:lnTo>
                        <a:pt x="432" y="1004"/>
                      </a:lnTo>
                      <a:lnTo>
                        <a:pt x="432" y="1004"/>
                      </a:lnTo>
                      <a:close/>
                      <a:moveTo>
                        <a:pt x="479" y="1028"/>
                      </a:moveTo>
                      <a:lnTo>
                        <a:pt x="437" y="1021"/>
                      </a:lnTo>
                      <a:lnTo>
                        <a:pt x="479" y="1021"/>
                      </a:lnTo>
                      <a:lnTo>
                        <a:pt x="479" y="1028"/>
                      </a:lnTo>
                      <a:lnTo>
                        <a:pt x="479" y="1028"/>
                      </a:lnTo>
                      <a:lnTo>
                        <a:pt x="479" y="1028"/>
                      </a:lnTo>
                      <a:close/>
                      <a:moveTo>
                        <a:pt x="122" y="1028"/>
                      </a:moveTo>
                      <a:lnTo>
                        <a:pt x="205" y="1037"/>
                      </a:lnTo>
                      <a:lnTo>
                        <a:pt x="139" y="1044"/>
                      </a:lnTo>
                      <a:lnTo>
                        <a:pt x="122" y="1028"/>
                      </a:lnTo>
                      <a:lnTo>
                        <a:pt x="122" y="1028"/>
                      </a:lnTo>
                      <a:lnTo>
                        <a:pt x="122" y="1028"/>
                      </a:lnTo>
                      <a:close/>
                      <a:moveTo>
                        <a:pt x="54" y="1028"/>
                      </a:moveTo>
                      <a:lnTo>
                        <a:pt x="113" y="1044"/>
                      </a:lnTo>
                      <a:lnTo>
                        <a:pt x="68" y="1054"/>
                      </a:lnTo>
                      <a:lnTo>
                        <a:pt x="30" y="1037"/>
                      </a:lnTo>
                      <a:lnTo>
                        <a:pt x="54" y="1028"/>
                      </a:lnTo>
                      <a:lnTo>
                        <a:pt x="54" y="1028"/>
                      </a:lnTo>
                      <a:lnTo>
                        <a:pt x="54" y="1028"/>
                      </a:lnTo>
                      <a:close/>
                      <a:moveTo>
                        <a:pt x="3741" y="1127"/>
                      </a:moveTo>
                      <a:lnTo>
                        <a:pt x="3746" y="1127"/>
                      </a:lnTo>
                      <a:lnTo>
                        <a:pt x="3734" y="1132"/>
                      </a:lnTo>
                      <a:lnTo>
                        <a:pt x="3741" y="1127"/>
                      </a:lnTo>
                      <a:lnTo>
                        <a:pt x="3741" y="1127"/>
                      </a:lnTo>
                      <a:lnTo>
                        <a:pt x="3741" y="1127"/>
                      </a:lnTo>
                      <a:close/>
                      <a:moveTo>
                        <a:pt x="3810" y="1226"/>
                      </a:moveTo>
                      <a:lnTo>
                        <a:pt x="3817" y="1243"/>
                      </a:lnTo>
                      <a:lnTo>
                        <a:pt x="3817" y="1266"/>
                      </a:lnTo>
                      <a:lnTo>
                        <a:pt x="3817" y="1250"/>
                      </a:lnTo>
                      <a:lnTo>
                        <a:pt x="3779" y="1172"/>
                      </a:lnTo>
                      <a:lnTo>
                        <a:pt x="3800" y="1165"/>
                      </a:lnTo>
                      <a:lnTo>
                        <a:pt x="3789" y="1155"/>
                      </a:lnTo>
                      <a:lnTo>
                        <a:pt x="3789" y="1139"/>
                      </a:lnTo>
                      <a:lnTo>
                        <a:pt x="3810" y="1155"/>
                      </a:lnTo>
                      <a:lnTo>
                        <a:pt x="3810" y="1172"/>
                      </a:lnTo>
                      <a:lnTo>
                        <a:pt x="3817" y="1222"/>
                      </a:lnTo>
                      <a:lnTo>
                        <a:pt x="3810" y="1226"/>
                      </a:lnTo>
                      <a:lnTo>
                        <a:pt x="3810" y="1226"/>
                      </a:lnTo>
                      <a:lnTo>
                        <a:pt x="3810" y="1226"/>
                      </a:lnTo>
                      <a:close/>
                      <a:moveTo>
                        <a:pt x="3741" y="1139"/>
                      </a:moveTo>
                      <a:lnTo>
                        <a:pt x="3746" y="1139"/>
                      </a:lnTo>
                      <a:lnTo>
                        <a:pt x="3725" y="1139"/>
                      </a:lnTo>
                      <a:lnTo>
                        <a:pt x="3741" y="1139"/>
                      </a:lnTo>
                      <a:lnTo>
                        <a:pt x="3741" y="1139"/>
                      </a:lnTo>
                      <a:lnTo>
                        <a:pt x="3741" y="1139"/>
                      </a:lnTo>
                      <a:close/>
                      <a:moveTo>
                        <a:pt x="3633" y="1165"/>
                      </a:moveTo>
                      <a:lnTo>
                        <a:pt x="3611" y="1155"/>
                      </a:lnTo>
                      <a:lnTo>
                        <a:pt x="3649" y="1155"/>
                      </a:lnTo>
                      <a:lnTo>
                        <a:pt x="3633" y="1165"/>
                      </a:lnTo>
                      <a:lnTo>
                        <a:pt x="3633" y="1165"/>
                      </a:lnTo>
                      <a:lnTo>
                        <a:pt x="3633" y="1165"/>
                      </a:lnTo>
                      <a:close/>
                      <a:moveTo>
                        <a:pt x="236" y="1155"/>
                      </a:moveTo>
                      <a:lnTo>
                        <a:pt x="252" y="1165"/>
                      </a:lnTo>
                      <a:lnTo>
                        <a:pt x="205" y="1165"/>
                      </a:lnTo>
                      <a:lnTo>
                        <a:pt x="236" y="1155"/>
                      </a:lnTo>
                      <a:lnTo>
                        <a:pt x="236" y="1155"/>
                      </a:lnTo>
                      <a:lnTo>
                        <a:pt x="236" y="1155"/>
                      </a:lnTo>
                      <a:close/>
                      <a:moveTo>
                        <a:pt x="3670" y="1172"/>
                      </a:moveTo>
                      <a:lnTo>
                        <a:pt x="3666" y="1189"/>
                      </a:lnTo>
                      <a:lnTo>
                        <a:pt x="3637" y="1184"/>
                      </a:lnTo>
                      <a:lnTo>
                        <a:pt x="3670" y="1172"/>
                      </a:lnTo>
                      <a:lnTo>
                        <a:pt x="3670" y="1172"/>
                      </a:lnTo>
                      <a:lnTo>
                        <a:pt x="3670" y="1172"/>
                      </a:lnTo>
                      <a:close/>
                      <a:moveTo>
                        <a:pt x="215" y="1184"/>
                      </a:moveTo>
                      <a:lnTo>
                        <a:pt x="219" y="1189"/>
                      </a:lnTo>
                      <a:lnTo>
                        <a:pt x="198" y="1184"/>
                      </a:lnTo>
                      <a:lnTo>
                        <a:pt x="215" y="1184"/>
                      </a:lnTo>
                      <a:lnTo>
                        <a:pt x="215" y="1184"/>
                      </a:lnTo>
                      <a:lnTo>
                        <a:pt x="215" y="1184"/>
                      </a:lnTo>
                      <a:close/>
                      <a:moveTo>
                        <a:pt x="3708" y="1193"/>
                      </a:moveTo>
                      <a:lnTo>
                        <a:pt x="3692" y="1210"/>
                      </a:lnTo>
                      <a:lnTo>
                        <a:pt x="3670" y="1193"/>
                      </a:lnTo>
                      <a:lnTo>
                        <a:pt x="3708" y="1193"/>
                      </a:lnTo>
                      <a:lnTo>
                        <a:pt x="3708" y="1193"/>
                      </a:lnTo>
                      <a:lnTo>
                        <a:pt x="3708" y="1193"/>
                      </a:lnTo>
                      <a:close/>
                      <a:moveTo>
                        <a:pt x="630" y="1226"/>
                      </a:moveTo>
                      <a:lnTo>
                        <a:pt x="630" y="1243"/>
                      </a:lnTo>
                      <a:lnTo>
                        <a:pt x="626" y="1238"/>
                      </a:lnTo>
                      <a:lnTo>
                        <a:pt x="630" y="1226"/>
                      </a:lnTo>
                      <a:lnTo>
                        <a:pt x="630" y="1226"/>
                      </a:lnTo>
                      <a:lnTo>
                        <a:pt x="630" y="1226"/>
                      </a:lnTo>
                      <a:close/>
                      <a:moveTo>
                        <a:pt x="559" y="1238"/>
                      </a:moveTo>
                      <a:lnTo>
                        <a:pt x="559" y="1243"/>
                      </a:lnTo>
                      <a:lnTo>
                        <a:pt x="545" y="1243"/>
                      </a:lnTo>
                      <a:lnTo>
                        <a:pt x="559" y="1238"/>
                      </a:lnTo>
                      <a:lnTo>
                        <a:pt x="559" y="1238"/>
                      </a:lnTo>
                      <a:lnTo>
                        <a:pt x="559" y="1238"/>
                      </a:lnTo>
                      <a:close/>
                      <a:moveTo>
                        <a:pt x="3864" y="1337"/>
                      </a:moveTo>
                      <a:lnTo>
                        <a:pt x="3871" y="1354"/>
                      </a:lnTo>
                      <a:lnTo>
                        <a:pt x="3843" y="1361"/>
                      </a:lnTo>
                      <a:lnTo>
                        <a:pt x="3881" y="1387"/>
                      </a:lnTo>
                      <a:lnTo>
                        <a:pt x="3909" y="1377"/>
                      </a:lnTo>
                      <a:lnTo>
                        <a:pt x="3902" y="1394"/>
                      </a:lnTo>
                      <a:lnTo>
                        <a:pt x="3885" y="1406"/>
                      </a:lnTo>
                      <a:lnTo>
                        <a:pt x="3885" y="1394"/>
                      </a:lnTo>
                      <a:lnTo>
                        <a:pt x="3871" y="1394"/>
                      </a:lnTo>
                      <a:lnTo>
                        <a:pt x="3796" y="1394"/>
                      </a:lnTo>
                      <a:lnTo>
                        <a:pt x="3800" y="1349"/>
                      </a:lnTo>
                      <a:lnTo>
                        <a:pt x="3817" y="1337"/>
                      </a:lnTo>
                      <a:lnTo>
                        <a:pt x="3843" y="1354"/>
                      </a:lnTo>
                      <a:lnTo>
                        <a:pt x="3848" y="1333"/>
                      </a:lnTo>
                      <a:lnTo>
                        <a:pt x="3864" y="1337"/>
                      </a:lnTo>
                      <a:lnTo>
                        <a:pt x="3864" y="1337"/>
                      </a:lnTo>
                      <a:lnTo>
                        <a:pt x="3864" y="1337"/>
                      </a:lnTo>
                      <a:close/>
                      <a:moveTo>
                        <a:pt x="3704" y="1387"/>
                      </a:moveTo>
                      <a:lnTo>
                        <a:pt x="3725" y="1394"/>
                      </a:lnTo>
                      <a:lnTo>
                        <a:pt x="3708" y="1411"/>
                      </a:lnTo>
                      <a:lnTo>
                        <a:pt x="3741" y="1415"/>
                      </a:lnTo>
                      <a:lnTo>
                        <a:pt x="3708" y="1444"/>
                      </a:lnTo>
                      <a:lnTo>
                        <a:pt x="3670" y="1427"/>
                      </a:lnTo>
                      <a:lnTo>
                        <a:pt x="3682" y="1411"/>
                      </a:lnTo>
                      <a:lnTo>
                        <a:pt x="3682" y="1394"/>
                      </a:lnTo>
                      <a:lnTo>
                        <a:pt x="3704" y="1387"/>
                      </a:lnTo>
                      <a:lnTo>
                        <a:pt x="3704" y="1387"/>
                      </a:lnTo>
                      <a:lnTo>
                        <a:pt x="3704" y="1387"/>
                      </a:lnTo>
                      <a:close/>
                      <a:moveTo>
                        <a:pt x="1084" y="1432"/>
                      </a:moveTo>
                      <a:lnTo>
                        <a:pt x="1096" y="1432"/>
                      </a:lnTo>
                      <a:lnTo>
                        <a:pt x="1074" y="1432"/>
                      </a:lnTo>
                      <a:lnTo>
                        <a:pt x="1084" y="1432"/>
                      </a:lnTo>
                      <a:lnTo>
                        <a:pt x="1084" y="1432"/>
                      </a:lnTo>
                      <a:lnTo>
                        <a:pt x="1084" y="1432"/>
                      </a:lnTo>
                      <a:close/>
                      <a:moveTo>
                        <a:pt x="3833" y="1444"/>
                      </a:moveTo>
                      <a:lnTo>
                        <a:pt x="3833" y="1448"/>
                      </a:lnTo>
                      <a:lnTo>
                        <a:pt x="3826" y="1448"/>
                      </a:lnTo>
                      <a:lnTo>
                        <a:pt x="3817" y="1432"/>
                      </a:lnTo>
                      <a:lnTo>
                        <a:pt x="3833" y="1444"/>
                      </a:lnTo>
                      <a:lnTo>
                        <a:pt x="3833" y="1444"/>
                      </a:lnTo>
                      <a:lnTo>
                        <a:pt x="3833" y="1444"/>
                      </a:lnTo>
                      <a:close/>
                      <a:moveTo>
                        <a:pt x="3810" y="1448"/>
                      </a:moveTo>
                      <a:lnTo>
                        <a:pt x="3800" y="1460"/>
                      </a:lnTo>
                      <a:lnTo>
                        <a:pt x="3772" y="1460"/>
                      </a:lnTo>
                      <a:lnTo>
                        <a:pt x="3800" y="1444"/>
                      </a:lnTo>
                      <a:lnTo>
                        <a:pt x="3810" y="1448"/>
                      </a:lnTo>
                      <a:lnTo>
                        <a:pt x="3810" y="1448"/>
                      </a:lnTo>
                      <a:lnTo>
                        <a:pt x="3810" y="1448"/>
                      </a:lnTo>
                      <a:close/>
                      <a:moveTo>
                        <a:pt x="1117" y="1448"/>
                      </a:moveTo>
                      <a:lnTo>
                        <a:pt x="1100" y="1460"/>
                      </a:lnTo>
                      <a:lnTo>
                        <a:pt x="1117" y="1448"/>
                      </a:lnTo>
                      <a:lnTo>
                        <a:pt x="1117" y="1448"/>
                      </a:lnTo>
                      <a:lnTo>
                        <a:pt x="1117" y="1448"/>
                      </a:lnTo>
                      <a:close/>
                      <a:moveTo>
                        <a:pt x="1126" y="1448"/>
                      </a:moveTo>
                      <a:lnTo>
                        <a:pt x="1133" y="1460"/>
                      </a:lnTo>
                      <a:lnTo>
                        <a:pt x="1117" y="1460"/>
                      </a:lnTo>
                      <a:lnTo>
                        <a:pt x="1126" y="1448"/>
                      </a:lnTo>
                      <a:lnTo>
                        <a:pt x="1126" y="1448"/>
                      </a:lnTo>
                      <a:lnTo>
                        <a:pt x="1126" y="1448"/>
                      </a:lnTo>
                      <a:close/>
                      <a:moveTo>
                        <a:pt x="1100" y="1465"/>
                      </a:moveTo>
                      <a:lnTo>
                        <a:pt x="1164" y="1465"/>
                      </a:lnTo>
                      <a:lnTo>
                        <a:pt x="1084" y="1465"/>
                      </a:lnTo>
                      <a:lnTo>
                        <a:pt x="1100" y="1465"/>
                      </a:lnTo>
                      <a:lnTo>
                        <a:pt x="1100" y="1465"/>
                      </a:lnTo>
                      <a:lnTo>
                        <a:pt x="1100" y="1465"/>
                      </a:lnTo>
                      <a:close/>
                      <a:moveTo>
                        <a:pt x="3649" y="1472"/>
                      </a:moveTo>
                      <a:lnTo>
                        <a:pt x="3682" y="1481"/>
                      </a:lnTo>
                      <a:lnTo>
                        <a:pt x="3687" y="1498"/>
                      </a:lnTo>
                      <a:lnTo>
                        <a:pt x="3708" y="1514"/>
                      </a:lnTo>
                      <a:lnTo>
                        <a:pt x="3633" y="1526"/>
                      </a:lnTo>
                      <a:lnTo>
                        <a:pt x="3578" y="1505"/>
                      </a:lnTo>
                      <a:lnTo>
                        <a:pt x="3611" y="1481"/>
                      </a:lnTo>
                      <a:lnTo>
                        <a:pt x="3649" y="1472"/>
                      </a:lnTo>
                      <a:lnTo>
                        <a:pt x="3649" y="1472"/>
                      </a:lnTo>
                      <a:lnTo>
                        <a:pt x="3649" y="1472"/>
                      </a:lnTo>
                      <a:close/>
                      <a:moveTo>
                        <a:pt x="3708" y="1543"/>
                      </a:moveTo>
                      <a:lnTo>
                        <a:pt x="3720" y="1555"/>
                      </a:lnTo>
                      <a:lnTo>
                        <a:pt x="3704" y="1555"/>
                      </a:lnTo>
                      <a:lnTo>
                        <a:pt x="3708" y="1543"/>
                      </a:lnTo>
                      <a:lnTo>
                        <a:pt x="3708" y="1543"/>
                      </a:lnTo>
                      <a:lnTo>
                        <a:pt x="3708" y="1543"/>
                      </a:lnTo>
                      <a:close/>
                      <a:moveTo>
                        <a:pt x="1171" y="1571"/>
                      </a:moveTo>
                      <a:lnTo>
                        <a:pt x="1138" y="1555"/>
                      </a:lnTo>
                      <a:lnTo>
                        <a:pt x="1193" y="1559"/>
                      </a:lnTo>
                      <a:lnTo>
                        <a:pt x="1171" y="1571"/>
                      </a:lnTo>
                      <a:lnTo>
                        <a:pt x="1171" y="1571"/>
                      </a:lnTo>
                      <a:lnTo>
                        <a:pt x="1171" y="1571"/>
                      </a:lnTo>
                      <a:close/>
                      <a:moveTo>
                        <a:pt x="1155" y="1583"/>
                      </a:moveTo>
                      <a:lnTo>
                        <a:pt x="1171" y="1583"/>
                      </a:lnTo>
                      <a:lnTo>
                        <a:pt x="1126" y="1583"/>
                      </a:lnTo>
                      <a:lnTo>
                        <a:pt x="1155" y="1583"/>
                      </a:lnTo>
                      <a:lnTo>
                        <a:pt x="1155" y="1583"/>
                      </a:lnTo>
                      <a:lnTo>
                        <a:pt x="1155" y="1583"/>
                      </a:lnTo>
                      <a:close/>
                      <a:moveTo>
                        <a:pt x="1164" y="1600"/>
                      </a:moveTo>
                      <a:lnTo>
                        <a:pt x="1155" y="1600"/>
                      </a:lnTo>
                      <a:lnTo>
                        <a:pt x="1171" y="1583"/>
                      </a:lnTo>
                      <a:lnTo>
                        <a:pt x="1181" y="1592"/>
                      </a:lnTo>
                      <a:lnTo>
                        <a:pt x="1164" y="1600"/>
                      </a:lnTo>
                      <a:lnTo>
                        <a:pt x="1164" y="1600"/>
                      </a:lnTo>
                      <a:lnTo>
                        <a:pt x="1164" y="1600"/>
                      </a:lnTo>
                      <a:close/>
                      <a:moveTo>
                        <a:pt x="1193" y="1600"/>
                      </a:moveTo>
                      <a:lnTo>
                        <a:pt x="1235" y="1616"/>
                      </a:lnTo>
                      <a:lnTo>
                        <a:pt x="1209" y="1626"/>
                      </a:lnTo>
                      <a:lnTo>
                        <a:pt x="1219" y="1609"/>
                      </a:lnTo>
                      <a:lnTo>
                        <a:pt x="1188" y="1600"/>
                      </a:lnTo>
                      <a:lnTo>
                        <a:pt x="1193" y="1600"/>
                      </a:lnTo>
                      <a:lnTo>
                        <a:pt x="1193" y="1600"/>
                      </a:lnTo>
                      <a:lnTo>
                        <a:pt x="1193" y="1600"/>
                      </a:lnTo>
                      <a:close/>
                      <a:moveTo>
                        <a:pt x="1193" y="1609"/>
                      </a:moveTo>
                      <a:lnTo>
                        <a:pt x="1209" y="1616"/>
                      </a:lnTo>
                      <a:lnTo>
                        <a:pt x="1188" y="1616"/>
                      </a:lnTo>
                      <a:lnTo>
                        <a:pt x="1193" y="1609"/>
                      </a:lnTo>
                      <a:lnTo>
                        <a:pt x="1193" y="1609"/>
                      </a:lnTo>
                      <a:lnTo>
                        <a:pt x="1193" y="1609"/>
                      </a:lnTo>
                      <a:close/>
                      <a:moveTo>
                        <a:pt x="3406" y="1616"/>
                      </a:moveTo>
                      <a:lnTo>
                        <a:pt x="3493" y="1649"/>
                      </a:lnTo>
                      <a:lnTo>
                        <a:pt x="3368" y="1633"/>
                      </a:lnTo>
                      <a:lnTo>
                        <a:pt x="3507" y="1654"/>
                      </a:lnTo>
                      <a:lnTo>
                        <a:pt x="3406" y="1670"/>
                      </a:lnTo>
                      <a:lnTo>
                        <a:pt x="3314" y="1649"/>
                      </a:lnTo>
                      <a:lnTo>
                        <a:pt x="3352" y="1626"/>
                      </a:lnTo>
                      <a:lnTo>
                        <a:pt x="3406" y="1616"/>
                      </a:lnTo>
                      <a:lnTo>
                        <a:pt x="3406" y="1616"/>
                      </a:lnTo>
                      <a:lnTo>
                        <a:pt x="3406" y="1616"/>
                      </a:lnTo>
                      <a:close/>
                      <a:moveTo>
                        <a:pt x="1193" y="1626"/>
                      </a:moveTo>
                      <a:lnTo>
                        <a:pt x="1202" y="1626"/>
                      </a:lnTo>
                      <a:lnTo>
                        <a:pt x="1188" y="1633"/>
                      </a:lnTo>
                      <a:lnTo>
                        <a:pt x="1193" y="1626"/>
                      </a:lnTo>
                      <a:lnTo>
                        <a:pt x="1193" y="1626"/>
                      </a:lnTo>
                      <a:lnTo>
                        <a:pt x="1193" y="1626"/>
                      </a:lnTo>
                      <a:close/>
                      <a:moveTo>
                        <a:pt x="1209" y="1626"/>
                      </a:moveTo>
                      <a:lnTo>
                        <a:pt x="1219" y="1633"/>
                      </a:lnTo>
                      <a:lnTo>
                        <a:pt x="1202" y="1633"/>
                      </a:lnTo>
                      <a:lnTo>
                        <a:pt x="1209" y="1626"/>
                      </a:lnTo>
                      <a:lnTo>
                        <a:pt x="1209" y="1626"/>
                      </a:lnTo>
                      <a:lnTo>
                        <a:pt x="1209" y="1626"/>
                      </a:lnTo>
                      <a:close/>
                      <a:moveTo>
                        <a:pt x="1202" y="1637"/>
                      </a:moveTo>
                      <a:lnTo>
                        <a:pt x="1188" y="1666"/>
                      </a:lnTo>
                      <a:lnTo>
                        <a:pt x="1193" y="1649"/>
                      </a:lnTo>
                      <a:lnTo>
                        <a:pt x="1202" y="1637"/>
                      </a:lnTo>
                      <a:lnTo>
                        <a:pt x="1202" y="1637"/>
                      </a:lnTo>
                      <a:lnTo>
                        <a:pt x="1202" y="1637"/>
                      </a:lnTo>
                      <a:close/>
                      <a:moveTo>
                        <a:pt x="1181" y="1649"/>
                      </a:moveTo>
                      <a:lnTo>
                        <a:pt x="1181" y="1654"/>
                      </a:lnTo>
                      <a:lnTo>
                        <a:pt x="1171" y="1654"/>
                      </a:lnTo>
                      <a:lnTo>
                        <a:pt x="1181" y="1649"/>
                      </a:lnTo>
                      <a:lnTo>
                        <a:pt x="1181" y="1649"/>
                      </a:lnTo>
                      <a:lnTo>
                        <a:pt x="1181" y="1649"/>
                      </a:lnTo>
                      <a:close/>
                      <a:moveTo>
                        <a:pt x="3583" y="1720"/>
                      </a:moveTo>
                      <a:lnTo>
                        <a:pt x="3541" y="1720"/>
                      </a:lnTo>
                      <a:lnTo>
                        <a:pt x="3503" y="1694"/>
                      </a:lnTo>
                      <a:lnTo>
                        <a:pt x="3401" y="1687"/>
                      </a:lnTo>
                      <a:lnTo>
                        <a:pt x="3394" y="1682"/>
                      </a:lnTo>
                      <a:lnTo>
                        <a:pt x="3493" y="1670"/>
                      </a:lnTo>
                      <a:lnTo>
                        <a:pt x="3545" y="1682"/>
                      </a:lnTo>
                      <a:lnTo>
                        <a:pt x="3583" y="1687"/>
                      </a:lnTo>
                      <a:lnTo>
                        <a:pt x="3562" y="1703"/>
                      </a:lnTo>
                      <a:lnTo>
                        <a:pt x="3578" y="1711"/>
                      </a:lnTo>
                      <a:lnTo>
                        <a:pt x="3583" y="1720"/>
                      </a:lnTo>
                      <a:lnTo>
                        <a:pt x="3583" y="1720"/>
                      </a:lnTo>
                      <a:lnTo>
                        <a:pt x="3583" y="1720"/>
                      </a:lnTo>
                      <a:close/>
                      <a:moveTo>
                        <a:pt x="1209" y="1670"/>
                      </a:moveTo>
                      <a:lnTo>
                        <a:pt x="1219" y="1670"/>
                      </a:lnTo>
                      <a:lnTo>
                        <a:pt x="1202" y="1670"/>
                      </a:lnTo>
                      <a:lnTo>
                        <a:pt x="1209" y="1670"/>
                      </a:lnTo>
                      <a:lnTo>
                        <a:pt x="1209" y="1670"/>
                      </a:lnTo>
                      <a:lnTo>
                        <a:pt x="1209" y="1670"/>
                      </a:lnTo>
                      <a:close/>
                      <a:moveTo>
                        <a:pt x="1240" y="1687"/>
                      </a:moveTo>
                      <a:lnTo>
                        <a:pt x="1219" y="1682"/>
                      </a:lnTo>
                      <a:lnTo>
                        <a:pt x="1226" y="1670"/>
                      </a:lnTo>
                      <a:lnTo>
                        <a:pt x="1256" y="1682"/>
                      </a:lnTo>
                      <a:lnTo>
                        <a:pt x="1240" y="1687"/>
                      </a:lnTo>
                      <a:lnTo>
                        <a:pt x="1240" y="1687"/>
                      </a:lnTo>
                      <a:lnTo>
                        <a:pt x="1240" y="1687"/>
                      </a:lnTo>
                      <a:close/>
                      <a:moveTo>
                        <a:pt x="3385" y="1687"/>
                      </a:moveTo>
                      <a:lnTo>
                        <a:pt x="3380" y="1711"/>
                      </a:lnTo>
                      <a:lnTo>
                        <a:pt x="3352" y="1703"/>
                      </a:lnTo>
                      <a:lnTo>
                        <a:pt x="3385" y="1687"/>
                      </a:lnTo>
                      <a:lnTo>
                        <a:pt x="3385" y="1687"/>
                      </a:lnTo>
                      <a:lnTo>
                        <a:pt x="3385" y="1687"/>
                      </a:lnTo>
                      <a:close/>
                      <a:moveTo>
                        <a:pt x="1226" y="1694"/>
                      </a:moveTo>
                      <a:lnTo>
                        <a:pt x="1240" y="1694"/>
                      </a:lnTo>
                      <a:lnTo>
                        <a:pt x="1226" y="1703"/>
                      </a:lnTo>
                      <a:lnTo>
                        <a:pt x="1226" y="1694"/>
                      </a:lnTo>
                      <a:lnTo>
                        <a:pt x="1226" y="1694"/>
                      </a:lnTo>
                      <a:lnTo>
                        <a:pt x="1226" y="1694"/>
                      </a:lnTo>
                      <a:close/>
                      <a:moveTo>
                        <a:pt x="3557" y="1798"/>
                      </a:moveTo>
                      <a:lnTo>
                        <a:pt x="3439" y="1748"/>
                      </a:lnTo>
                      <a:lnTo>
                        <a:pt x="3406" y="1737"/>
                      </a:lnTo>
                      <a:lnTo>
                        <a:pt x="3401" y="1703"/>
                      </a:lnTo>
                      <a:lnTo>
                        <a:pt x="3503" y="1694"/>
                      </a:lnTo>
                      <a:lnTo>
                        <a:pt x="3531" y="1727"/>
                      </a:lnTo>
                      <a:lnTo>
                        <a:pt x="3583" y="1748"/>
                      </a:lnTo>
                      <a:lnTo>
                        <a:pt x="3578" y="1760"/>
                      </a:lnTo>
                      <a:lnTo>
                        <a:pt x="3524" y="1748"/>
                      </a:lnTo>
                      <a:lnTo>
                        <a:pt x="3574" y="1777"/>
                      </a:lnTo>
                      <a:lnTo>
                        <a:pt x="3574" y="1793"/>
                      </a:lnTo>
                      <a:lnTo>
                        <a:pt x="3557" y="1798"/>
                      </a:lnTo>
                      <a:lnTo>
                        <a:pt x="3557" y="1798"/>
                      </a:lnTo>
                      <a:lnTo>
                        <a:pt x="3557" y="1798"/>
                      </a:lnTo>
                      <a:close/>
                      <a:moveTo>
                        <a:pt x="1247" y="1694"/>
                      </a:moveTo>
                      <a:lnTo>
                        <a:pt x="1263" y="1703"/>
                      </a:lnTo>
                      <a:lnTo>
                        <a:pt x="1226" y="1737"/>
                      </a:lnTo>
                      <a:lnTo>
                        <a:pt x="1235" y="1727"/>
                      </a:lnTo>
                      <a:lnTo>
                        <a:pt x="1202" y="1727"/>
                      </a:lnTo>
                      <a:lnTo>
                        <a:pt x="1219" y="1711"/>
                      </a:lnTo>
                      <a:lnTo>
                        <a:pt x="1247" y="1694"/>
                      </a:lnTo>
                      <a:lnTo>
                        <a:pt x="1247" y="1694"/>
                      </a:lnTo>
                      <a:lnTo>
                        <a:pt x="1247" y="1694"/>
                      </a:lnTo>
                      <a:close/>
                      <a:moveTo>
                        <a:pt x="1202" y="1703"/>
                      </a:moveTo>
                      <a:lnTo>
                        <a:pt x="1209" y="1703"/>
                      </a:lnTo>
                      <a:lnTo>
                        <a:pt x="1193" y="1703"/>
                      </a:lnTo>
                      <a:lnTo>
                        <a:pt x="1202" y="1703"/>
                      </a:lnTo>
                      <a:lnTo>
                        <a:pt x="1202" y="1703"/>
                      </a:lnTo>
                      <a:lnTo>
                        <a:pt x="1202" y="1703"/>
                      </a:lnTo>
                      <a:close/>
                      <a:moveTo>
                        <a:pt x="1219" y="1711"/>
                      </a:moveTo>
                      <a:lnTo>
                        <a:pt x="1193" y="1727"/>
                      </a:lnTo>
                      <a:lnTo>
                        <a:pt x="1181" y="1720"/>
                      </a:lnTo>
                      <a:lnTo>
                        <a:pt x="1219" y="1711"/>
                      </a:lnTo>
                      <a:lnTo>
                        <a:pt x="1219" y="1711"/>
                      </a:lnTo>
                      <a:lnTo>
                        <a:pt x="1219" y="1711"/>
                      </a:lnTo>
                      <a:close/>
                      <a:moveTo>
                        <a:pt x="1263" y="1711"/>
                      </a:moveTo>
                      <a:lnTo>
                        <a:pt x="1278" y="1720"/>
                      </a:lnTo>
                      <a:lnTo>
                        <a:pt x="1256" y="1720"/>
                      </a:lnTo>
                      <a:lnTo>
                        <a:pt x="1263" y="1711"/>
                      </a:lnTo>
                      <a:lnTo>
                        <a:pt x="1263" y="1711"/>
                      </a:lnTo>
                      <a:lnTo>
                        <a:pt x="1263" y="1711"/>
                      </a:lnTo>
                      <a:close/>
                      <a:moveTo>
                        <a:pt x="1263" y="1720"/>
                      </a:moveTo>
                      <a:lnTo>
                        <a:pt x="1263" y="1727"/>
                      </a:lnTo>
                      <a:lnTo>
                        <a:pt x="1247" y="1737"/>
                      </a:lnTo>
                      <a:lnTo>
                        <a:pt x="1247" y="1720"/>
                      </a:lnTo>
                      <a:lnTo>
                        <a:pt x="1263" y="1720"/>
                      </a:lnTo>
                      <a:lnTo>
                        <a:pt x="1263" y="1720"/>
                      </a:lnTo>
                      <a:lnTo>
                        <a:pt x="1263" y="1720"/>
                      </a:lnTo>
                      <a:close/>
                      <a:moveTo>
                        <a:pt x="1202" y="1737"/>
                      </a:moveTo>
                      <a:lnTo>
                        <a:pt x="1193" y="1737"/>
                      </a:lnTo>
                      <a:lnTo>
                        <a:pt x="1219" y="1737"/>
                      </a:lnTo>
                      <a:lnTo>
                        <a:pt x="1202" y="1737"/>
                      </a:lnTo>
                      <a:lnTo>
                        <a:pt x="1202" y="1737"/>
                      </a:lnTo>
                      <a:lnTo>
                        <a:pt x="1202" y="1737"/>
                      </a:lnTo>
                      <a:close/>
                      <a:moveTo>
                        <a:pt x="1263" y="1760"/>
                      </a:moveTo>
                      <a:lnTo>
                        <a:pt x="1263" y="1777"/>
                      </a:lnTo>
                      <a:lnTo>
                        <a:pt x="1240" y="1793"/>
                      </a:lnTo>
                      <a:lnTo>
                        <a:pt x="1219" y="1793"/>
                      </a:lnTo>
                      <a:lnTo>
                        <a:pt x="1263" y="1760"/>
                      </a:lnTo>
                      <a:lnTo>
                        <a:pt x="1263" y="1760"/>
                      </a:lnTo>
                      <a:lnTo>
                        <a:pt x="1263" y="1760"/>
                      </a:lnTo>
                      <a:close/>
                      <a:moveTo>
                        <a:pt x="1226" y="1822"/>
                      </a:moveTo>
                      <a:lnTo>
                        <a:pt x="1235" y="1831"/>
                      </a:lnTo>
                      <a:lnTo>
                        <a:pt x="1226" y="1838"/>
                      </a:lnTo>
                      <a:lnTo>
                        <a:pt x="1209" y="1831"/>
                      </a:lnTo>
                      <a:lnTo>
                        <a:pt x="1226" y="1822"/>
                      </a:lnTo>
                      <a:lnTo>
                        <a:pt x="1226" y="1822"/>
                      </a:lnTo>
                      <a:lnTo>
                        <a:pt x="1226" y="1822"/>
                      </a:lnTo>
                      <a:close/>
                      <a:moveTo>
                        <a:pt x="1386" y="1876"/>
                      </a:moveTo>
                      <a:lnTo>
                        <a:pt x="1370" y="1871"/>
                      </a:lnTo>
                      <a:lnTo>
                        <a:pt x="1370" y="1864"/>
                      </a:lnTo>
                      <a:lnTo>
                        <a:pt x="1419" y="1864"/>
                      </a:lnTo>
                      <a:lnTo>
                        <a:pt x="1386" y="1876"/>
                      </a:lnTo>
                      <a:lnTo>
                        <a:pt x="1386" y="1876"/>
                      </a:lnTo>
                      <a:lnTo>
                        <a:pt x="1386" y="1876"/>
                      </a:lnTo>
                      <a:close/>
                      <a:moveTo>
                        <a:pt x="1398" y="1904"/>
                      </a:moveTo>
                      <a:lnTo>
                        <a:pt x="1441" y="1904"/>
                      </a:lnTo>
                      <a:lnTo>
                        <a:pt x="1452" y="1909"/>
                      </a:lnTo>
                      <a:lnTo>
                        <a:pt x="1408" y="1926"/>
                      </a:lnTo>
                      <a:lnTo>
                        <a:pt x="1398" y="1921"/>
                      </a:lnTo>
                      <a:lnTo>
                        <a:pt x="1398" y="1904"/>
                      </a:lnTo>
                      <a:lnTo>
                        <a:pt x="1398" y="1904"/>
                      </a:lnTo>
                      <a:lnTo>
                        <a:pt x="1398" y="1904"/>
                      </a:lnTo>
                      <a:close/>
                      <a:moveTo>
                        <a:pt x="1365" y="1909"/>
                      </a:moveTo>
                      <a:lnTo>
                        <a:pt x="1382" y="1926"/>
                      </a:lnTo>
                      <a:lnTo>
                        <a:pt x="1370" y="1942"/>
                      </a:lnTo>
                      <a:lnTo>
                        <a:pt x="1353" y="1942"/>
                      </a:lnTo>
                      <a:lnTo>
                        <a:pt x="1332" y="1933"/>
                      </a:lnTo>
                      <a:lnTo>
                        <a:pt x="1365" y="1909"/>
                      </a:lnTo>
                      <a:lnTo>
                        <a:pt x="1365" y="1909"/>
                      </a:lnTo>
                      <a:lnTo>
                        <a:pt x="1365" y="1909"/>
                      </a:lnTo>
                      <a:close/>
                      <a:moveTo>
                        <a:pt x="3347" y="1921"/>
                      </a:moveTo>
                      <a:lnTo>
                        <a:pt x="3347" y="1926"/>
                      </a:lnTo>
                      <a:lnTo>
                        <a:pt x="3330" y="1926"/>
                      </a:lnTo>
                      <a:lnTo>
                        <a:pt x="3347" y="1921"/>
                      </a:lnTo>
                      <a:lnTo>
                        <a:pt x="3347" y="1921"/>
                      </a:lnTo>
                      <a:lnTo>
                        <a:pt x="3347" y="1921"/>
                      </a:lnTo>
                      <a:close/>
                      <a:moveTo>
                        <a:pt x="3342" y="1933"/>
                      </a:moveTo>
                      <a:lnTo>
                        <a:pt x="3347" y="1942"/>
                      </a:lnTo>
                      <a:lnTo>
                        <a:pt x="3326" y="1933"/>
                      </a:lnTo>
                      <a:lnTo>
                        <a:pt x="3342" y="1933"/>
                      </a:lnTo>
                      <a:lnTo>
                        <a:pt x="3342" y="1933"/>
                      </a:lnTo>
                      <a:lnTo>
                        <a:pt x="3342" y="1933"/>
                      </a:lnTo>
                      <a:close/>
                      <a:moveTo>
                        <a:pt x="3288" y="2003"/>
                      </a:moveTo>
                      <a:lnTo>
                        <a:pt x="3146" y="2020"/>
                      </a:lnTo>
                      <a:lnTo>
                        <a:pt x="3153" y="1999"/>
                      </a:lnTo>
                      <a:lnTo>
                        <a:pt x="3179" y="1987"/>
                      </a:lnTo>
                      <a:lnTo>
                        <a:pt x="3217" y="1966"/>
                      </a:lnTo>
                      <a:lnTo>
                        <a:pt x="3276" y="1959"/>
                      </a:lnTo>
                      <a:lnTo>
                        <a:pt x="3314" y="1933"/>
                      </a:lnTo>
                      <a:lnTo>
                        <a:pt x="3314" y="1949"/>
                      </a:lnTo>
                      <a:lnTo>
                        <a:pt x="3342" y="1959"/>
                      </a:lnTo>
                      <a:lnTo>
                        <a:pt x="3347" y="1987"/>
                      </a:lnTo>
                      <a:lnTo>
                        <a:pt x="3288" y="2003"/>
                      </a:lnTo>
                      <a:lnTo>
                        <a:pt x="3288" y="2003"/>
                      </a:lnTo>
                      <a:lnTo>
                        <a:pt x="3288" y="2003"/>
                      </a:lnTo>
                      <a:close/>
                      <a:moveTo>
                        <a:pt x="1478" y="1949"/>
                      </a:moveTo>
                      <a:lnTo>
                        <a:pt x="1504" y="1966"/>
                      </a:lnTo>
                      <a:lnTo>
                        <a:pt x="1462" y="1959"/>
                      </a:lnTo>
                      <a:lnTo>
                        <a:pt x="1478" y="1949"/>
                      </a:lnTo>
                      <a:lnTo>
                        <a:pt x="1478" y="1949"/>
                      </a:lnTo>
                      <a:lnTo>
                        <a:pt x="1478" y="1949"/>
                      </a:lnTo>
                      <a:close/>
                      <a:moveTo>
                        <a:pt x="3205" y="1966"/>
                      </a:moveTo>
                      <a:lnTo>
                        <a:pt x="3179" y="1982"/>
                      </a:lnTo>
                      <a:lnTo>
                        <a:pt x="3179" y="1966"/>
                      </a:lnTo>
                      <a:lnTo>
                        <a:pt x="3205" y="1966"/>
                      </a:lnTo>
                      <a:lnTo>
                        <a:pt x="3205" y="1966"/>
                      </a:lnTo>
                      <a:lnTo>
                        <a:pt x="3205" y="1966"/>
                      </a:lnTo>
                      <a:close/>
                      <a:moveTo>
                        <a:pt x="1263" y="2015"/>
                      </a:moveTo>
                      <a:lnTo>
                        <a:pt x="1289" y="2032"/>
                      </a:lnTo>
                      <a:lnTo>
                        <a:pt x="1273" y="2032"/>
                      </a:lnTo>
                      <a:lnTo>
                        <a:pt x="1263" y="2020"/>
                      </a:lnTo>
                      <a:lnTo>
                        <a:pt x="1263" y="2015"/>
                      </a:lnTo>
                      <a:lnTo>
                        <a:pt x="1263" y="2015"/>
                      </a:lnTo>
                      <a:lnTo>
                        <a:pt x="1263" y="2015"/>
                      </a:lnTo>
                      <a:close/>
                      <a:moveTo>
                        <a:pt x="1315" y="2155"/>
                      </a:moveTo>
                      <a:lnTo>
                        <a:pt x="1382" y="2148"/>
                      </a:lnTo>
                      <a:lnTo>
                        <a:pt x="1365" y="2148"/>
                      </a:lnTo>
                      <a:lnTo>
                        <a:pt x="1382" y="2131"/>
                      </a:lnTo>
                      <a:lnTo>
                        <a:pt x="1348" y="2148"/>
                      </a:lnTo>
                      <a:lnTo>
                        <a:pt x="1344" y="2148"/>
                      </a:lnTo>
                      <a:lnTo>
                        <a:pt x="1353" y="2143"/>
                      </a:lnTo>
                      <a:lnTo>
                        <a:pt x="1332" y="2143"/>
                      </a:lnTo>
                      <a:lnTo>
                        <a:pt x="1344" y="2131"/>
                      </a:lnTo>
                      <a:lnTo>
                        <a:pt x="1344" y="2126"/>
                      </a:lnTo>
                      <a:lnTo>
                        <a:pt x="1327" y="2131"/>
                      </a:lnTo>
                      <a:lnTo>
                        <a:pt x="1278" y="2126"/>
                      </a:lnTo>
                      <a:lnTo>
                        <a:pt x="1263" y="2114"/>
                      </a:lnTo>
                      <a:lnTo>
                        <a:pt x="1289" y="2110"/>
                      </a:lnTo>
                      <a:lnTo>
                        <a:pt x="1311" y="2114"/>
                      </a:lnTo>
                      <a:lnTo>
                        <a:pt x="1273" y="2098"/>
                      </a:lnTo>
                      <a:lnTo>
                        <a:pt x="1273" y="2086"/>
                      </a:lnTo>
                      <a:lnTo>
                        <a:pt x="1315" y="2086"/>
                      </a:lnTo>
                      <a:lnTo>
                        <a:pt x="1278" y="2070"/>
                      </a:lnTo>
                      <a:lnTo>
                        <a:pt x="1278" y="2053"/>
                      </a:lnTo>
                      <a:lnTo>
                        <a:pt x="1311" y="2037"/>
                      </a:lnTo>
                      <a:lnTo>
                        <a:pt x="1370" y="2044"/>
                      </a:lnTo>
                      <a:lnTo>
                        <a:pt x="1424" y="2086"/>
                      </a:lnTo>
                      <a:lnTo>
                        <a:pt x="1478" y="2098"/>
                      </a:lnTo>
                      <a:lnTo>
                        <a:pt x="1478" y="2110"/>
                      </a:lnTo>
                      <a:lnTo>
                        <a:pt x="1474" y="2114"/>
                      </a:lnTo>
                      <a:lnTo>
                        <a:pt x="1490" y="2126"/>
                      </a:lnTo>
                      <a:lnTo>
                        <a:pt x="1457" y="2148"/>
                      </a:lnTo>
                      <a:lnTo>
                        <a:pt x="1365" y="2171"/>
                      </a:lnTo>
                      <a:lnTo>
                        <a:pt x="1315" y="2155"/>
                      </a:lnTo>
                      <a:lnTo>
                        <a:pt x="1315" y="2155"/>
                      </a:lnTo>
                      <a:lnTo>
                        <a:pt x="1315" y="2155"/>
                      </a:lnTo>
                      <a:close/>
                      <a:moveTo>
                        <a:pt x="1542" y="2086"/>
                      </a:moveTo>
                      <a:lnTo>
                        <a:pt x="1570" y="2098"/>
                      </a:lnTo>
                      <a:lnTo>
                        <a:pt x="1549" y="2114"/>
                      </a:lnTo>
                      <a:lnTo>
                        <a:pt x="1549" y="2131"/>
                      </a:lnTo>
                      <a:lnTo>
                        <a:pt x="1528" y="2143"/>
                      </a:lnTo>
                      <a:lnTo>
                        <a:pt x="1516" y="2114"/>
                      </a:lnTo>
                      <a:lnTo>
                        <a:pt x="1542" y="2093"/>
                      </a:lnTo>
                      <a:lnTo>
                        <a:pt x="1516" y="2093"/>
                      </a:lnTo>
                      <a:lnTo>
                        <a:pt x="1542" y="2086"/>
                      </a:lnTo>
                      <a:lnTo>
                        <a:pt x="1542" y="2086"/>
                      </a:lnTo>
                      <a:lnTo>
                        <a:pt x="1542" y="2086"/>
                      </a:lnTo>
                      <a:close/>
                      <a:moveTo>
                        <a:pt x="3493" y="2110"/>
                      </a:moveTo>
                      <a:lnTo>
                        <a:pt x="3493" y="2114"/>
                      </a:lnTo>
                      <a:lnTo>
                        <a:pt x="3486" y="2126"/>
                      </a:lnTo>
                      <a:lnTo>
                        <a:pt x="3470" y="2114"/>
                      </a:lnTo>
                      <a:lnTo>
                        <a:pt x="3493" y="2110"/>
                      </a:lnTo>
                      <a:lnTo>
                        <a:pt x="3493" y="2110"/>
                      </a:lnTo>
                      <a:lnTo>
                        <a:pt x="3493" y="2110"/>
                      </a:lnTo>
                      <a:close/>
                      <a:moveTo>
                        <a:pt x="1462" y="2242"/>
                      </a:moveTo>
                      <a:lnTo>
                        <a:pt x="1398" y="2259"/>
                      </a:lnTo>
                      <a:lnTo>
                        <a:pt x="1436" y="2242"/>
                      </a:lnTo>
                      <a:lnTo>
                        <a:pt x="1462" y="2242"/>
                      </a:lnTo>
                      <a:lnTo>
                        <a:pt x="1462" y="2242"/>
                      </a:lnTo>
                      <a:lnTo>
                        <a:pt x="1462" y="2242"/>
                      </a:lnTo>
                      <a:close/>
                      <a:moveTo>
                        <a:pt x="1533" y="2242"/>
                      </a:moveTo>
                      <a:lnTo>
                        <a:pt x="1542" y="2254"/>
                      </a:lnTo>
                      <a:lnTo>
                        <a:pt x="1528" y="2254"/>
                      </a:lnTo>
                      <a:lnTo>
                        <a:pt x="1533" y="2242"/>
                      </a:lnTo>
                      <a:lnTo>
                        <a:pt x="1533" y="2242"/>
                      </a:lnTo>
                      <a:lnTo>
                        <a:pt x="1533" y="2242"/>
                      </a:lnTo>
                      <a:close/>
                      <a:moveTo>
                        <a:pt x="1436" y="2259"/>
                      </a:moveTo>
                      <a:lnTo>
                        <a:pt x="1441" y="2259"/>
                      </a:lnTo>
                      <a:lnTo>
                        <a:pt x="1424" y="2259"/>
                      </a:lnTo>
                      <a:lnTo>
                        <a:pt x="1436" y="2259"/>
                      </a:lnTo>
                      <a:lnTo>
                        <a:pt x="1436" y="2259"/>
                      </a:lnTo>
                      <a:lnTo>
                        <a:pt x="1436" y="2259"/>
                      </a:lnTo>
                      <a:close/>
                      <a:moveTo>
                        <a:pt x="1419" y="2259"/>
                      </a:moveTo>
                      <a:lnTo>
                        <a:pt x="1419" y="2266"/>
                      </a:lnTo>
                      <a:lnTo>
                        <a:pt x="1408" y="2259"/>
                      </a:lnTo>
                      <a:lnTo>
                        <a:pt x="1419" y="2259"/>
                      </a:lnTo>
                      <a:lnTo>
                        <a:pt x="1419" y="2259"/>
                      </a:lnTo>
                      <a:lnTo>
                        <a:pt x="1419" y="2259"/>
                      </a:lnTo>
                      <a:close/>
                      <a:moveTo>
                        <a:pt x="1403" y="2266"/>
                      </a:moveTo>
                      <a:lnTo>
                        <a:pt x="1408" y="2275"/>
                      </a:lnTo>
                      <a:lnTo>
                        <a:pt x="1386" y="2282"/>
                      </a:lnTo>
                      <a:lnTo>
                        <a:pt x="1403" y="2266"/>
                      </a:lnTo>
                      <a:lnTo>
                        <a:pt x="1403" y="2266"/>
                      </a:lnTo>
                      <a:lnTo>
                        <a:pt x="1403" y="2266"/>
                      </a:lnTo>
                      <a:close/>
                      <a:moveTo>
                        <a:pt x="1457" y="2308"/>
                      </a:moveTo>
                      <a:lnTo>
                        <a:pt x="1511" y="2299"/>
                      </a:lnTo>
                      <a:lnTo>
                        <a:pt x="1474" y="2315"/>
                      </a:lnTo>
                      <a:lnTo>
                        <a:pt x="1457" y="2308"/>
                      </a:lnTo>
                      <a:lnTo>
                        <a:pt x="1457" y="2308"/>
                      </a:lnTo>
                      <a:lnTo>
                        <a:pt x="1457" y="2308"/>
                      </a:lnTo>
                      <a:close/>
                      <a:moveTo>
                        <a:pt x="3040" y="2299"/>
                      </a:moveTo>
                      <a:lnTo>
                        <a:pt x="3028" y="2315"/>
                      </a:lnTo>
                      <a:lnTo>
                        <a:pt x="3016" y="2308"/>
                      </a:lnTo>
                      <a:lnTo>
                        <a:pt x="3040" y="2299"/>
                      </a:lnTo>
                      <a:lnTo>
                        <a:pt x="3040" y="2299"/>
                      </a:lnTo>
                      <a:lnTo>
                        <a:pt x="3040" y="2299"/>
                      </a:lnTo>
                      <a:close/>
                      <a:moveTo>
                        <a:pt x="2893" y="2308"/>
                      </a:moveTo>
                      <a:lnTo>
                        <a:pt x="2898" y="2308"/>
                      </a:lnTo>
                      <a:lnTo>
                        <a:pt x="2877" y="2308"/>
                      </a:lnTo>
                      <a:lnTo>
                        <a:pt x="2893" y="2308"/>
                      </a:lnTo>
                      <a:lnTo>
                        <a:pt x="2893" y="2308"/>
                      </a:lnTo>
                      <a:lnTo>
                        <a:pt x="2893" y="2308"/>
                      </a:lnTo>
                      <a:close/>
                      <a:moveTo>
                        <a:pt x="1478" y="2315"/>
                      </a:moveTo>
                      <a:lnTo>
                        <a:pt x="1533" y="2315"/>
                      </a:lnTo>
                      <a:lnTo>
                        <a:pt x="1474" y="2320"/>
                      </a:lnTo>
                      <a:lnTo>
                        <a:pt x="1478" y="2315"/>
                      </a:lnTo>
                      <a:lnTo>
                        <a:pt x="1478" y="2315"/>
                      </a:lnTo>
                      <a:lnTo>
                        <a:pt x="1478" y="2315"/>
                      </a:lnTo>
                      <a:close/>
                      <a:moveTo>
                        <a:pt x="1370" y="2320"/>
                      </a:moveTo>
                      <a:lnTo>
                        <a:pt x="1386" y="2320"/>
                      </a:lnTo>
                      <a:lnTo>
                        <a:pt x="1382" y="2332"/>
                      </a:lnTo>
                      <a:lnTo>
                        <a:pt x="1370" y="2320"/>
                      </a:lnTo>
                      <a:lnTo>
                        <a:pt x="1370" y="2320"/>
                      </a:lnTo>
                      <a:lnTo>
                        <a:pt x="1370" y="2320"/>
                      </a:lnTo>
                      <a:close/>
                      <a:moveTo>
                        <a:pt x="1353" y="2370"/>
                      </a:moveTo>
                      <a:lnTo>
                        <a:pt x="1348" y="2353"/>
                      </a:lnTo>
                      <a:lnTo>
                        <a:pt x="1365" y="2365"/>
                      </a:lnTo>
                      <a:lnTo>
                        <a:pt x="1353" y="2370"/>
                      </a:lnTo>
                      <a:lnTo>
                        <a:pt x="1353" y="2370"/>
                      </a:lnTo>
                      <a:lnTo>
                        <a:pt x="1353" y="2370"/>
                      </a:lnTo>
                      <a:close/>
                      <a:moveTo>
                        <a:pt x="2789" y="2410"/>
                      </a:moveTo>
                      <a:lnTo>
                        <a:pt x="2789" y="2419"/>
                      </a:lnTo>
                      <a:lnTo>
                        <a:pt x="2785" y="2410"/>
                      </a:lnTo>
                      <a:lnTo>
                        <a:pt x="2789" y="2410"/>
                      </a:lnTo>
                      <a:lnTo>
                        <a:pt x="2789" y="2410"/>
                      </a:lnTo>
                      <a:lnTo>
                        <a:pt x="2789" y="2410"/>
                      </a:lnTo>
                      <a:close/>
                      <a:moveTo>
                        <a:pt x="1408" y="2464"/>
                      </a:moveTo>
                      <a:lnTo>
                        <a:pt x="1370" y="2476"/>
                      </a:lnTo>
                      <a:lnTo>
                        <a:pt x="1382" y="2464"/>
                      </a:lnTo>
                      <a:lnTo>
                        <a:pt x="1408" y="2464"/>
                      </a:lnTo>
                      <a:lnTo>
                        <a:pt x="1408" y="2464"/>
                      </a:lnTo>
                      <a:lnTo>
                        <a:pt x="1408" y="2464"/>
                      </a:lnTo>
                      <a:close/>
                      <a:moveTo>
                        <a:pt x="2747" y="2464"/>
                      </a:moveTo>
                      <a:lnTo>
                        <a:pt x="2747" y="2476"/>
                      </a:lnTo>
                      <a:lnTo>
                        <a:pt x="2737" y="2481"/>
                      </a:lnTo>
                      <a:lnTo>
                        <a:pt x="2747" y="2464"/>
                      </a:lnTo>
                      <a:lnTo>
                        <a:pt x="2747" y="2464"/>
                      </a:lnTo>
                      <a:lnTo>
                        <a:pt x="2747" y="2464"/>
                      </a:lnTo>
                      <a:close/>
                      <a:moveTo>
                        <a:pt x="2629" y="2554"/>
                      </a:moveTo>
                      <a:lnTo>
                        <a:pt x="2629" y="2542"/>
                      </a:lnTo>
                      <a:lnTo>
                        <a:pt x="2638" y="2542"/>
                      </a:lnTo>
                      <a:lnTo>
                        <a:pt x="2629" y="2554"/>
                      </a:lnTo>
                      <a:lnTo>
                        <a:pt x="2629" y="2554"/>
                      </a:lnTo>
                      <a:lnTo>
                        <a:pt x="2629" y="2554"/>
                      </a:lnTo>
                      <a:close/>
                      <a:moveTo>
                        <a:pt x="1353" y="2570"/>
                      </a:moveTo>
                      <a:lnTo>
                        <a:pt x="1353" y="2559"/>
                      </a:lnTo>
                      <a:lnTo>
                        <a:pt x="1370" y="2559"/>
                      </a:lnTo>
                      <a:lnTo>
                        <a:pt x="1353" y="2570"/>
                      </a:lnTo>
                      <a:lnTo>
                        <a:pt x="1353" y="2570"/>
                      </a:lnTo>
                      <a:lnTo>
                        <a:pt x="1353" y="2570"/>
                      </a:lnTo>
                      <a:close/>
                      <a:moveTo>
                        <a:pt x="2541" y="2599"/>
                      </a:moveTo>
                      <a:lnTo>
                        <a:pt x="2541" y="2587"/>
                      </a:lnTo>
                      <a:lnTo>
                        <a:pt x="2558" y="2575"/>
                      </a:lnTo>
                      <a:lnTo>
                        <a:pt x="2541" y="2599"/>
                      </a:lnTo>
                      <a:lnTo>
                        <a:pt x="2541" y="2599"/>
                      </a:lnTo>
                      <a:lnTo>
                        <a:pt x="2541" y="2599"/>
                      </a:lnTo>
                      <a:close/>
                      <a:moveTo>
                        <a:pt x="2570" y="2592"/>
                      </a:moveTo>
                      <a:lnTo>
                        <a:pt x="2574" y="2587"/>
                      </a:lnTo>
                      <a:lnTo>
                        <a:pt x="2586" y="2587"/>
                      </a:lnTo>
                      <a:lnTo>
                        <a:pt x="2570" y="2592"/>
                      </a:lnTo>
                      <a:lnTo>
                        <a:pt x="2570" y="2592"/>
                      </a:lnTo>
                      <a:lnTo>
                        <a:pt x="2570" y="2592"/>
                      </a:lnTo>
                      <a:close/>
                      <a:moveTo>
                        <a:pt x="2478" y="2625"/>
                      </a:moveTo>
                      <a:lnTo>
                        <a:pt x="2461" y="2625"/>
                      </a:lnTo>
                      <a:lnTo>
                        <a:pt x="2461" y="2599"/>
                      </a:lnTo>
                      <a:lnTo>
                        <a:pt x="2482" y="2587"/>
                      </a:lnTo>
                      <a:lnTo>
                        <a:pt x="2504" y="2599"/>
                      </a:lnTo>
                      <a:lnTo>
                        <a:pt x="2487" y="2592"/>
                      </a:lnTo>
                      <a:lnTo>
                        <a:pt x="2504" y="2608"/>
                      </a:lnTo>
                      <a:lnTo>
                        <a:pt x="2482" y="2625"/>
                      </a:lnTo>
                      <a:lnTo>
                        <a:pt x="2478" y="2615"/>
                      </a:lnTo>
                      <a:lnTo>
                        <a:pt x="2482" y="2625"/>
                      </a:lnTo>
                      <a:lnTo>
                        <a:pt x="2478" y="2625"/>
                      </a:lnTo>
                      <a:lnTo>
                        <a:pt x="2478" y="2625"/>
                      </a:lnTo>
                      <a:lnTo>
                        <a:pt x="2478" y="2625"/>
                      </a:lnTo>
                      <a:close/>
                      <a:moveTo>
                        <a:pt x="2537" y="2608"/>
                      </a:moveTo>
                      <a:lnTo>
                        <a:pt x="2532" y="2592"/>
                      </a:lnTo>
                      <a:lnTo>
                        <a:pt x="2541" y="2592"/>
                      </a:lnTo>
                      <a:lnTo>
                        <a:pt x="2537" y="2608"/>
                      </a:lnTo>
                      <a:lnTo>
                        <a:pt x="2537" y="2608"/>
                      </a:lnTo>
                      <a:lnTo>
                        <a:pt x="2537" y="2608"/>
                      </a:lnTo>
                      <a:close/>
                      <a:moveTo>
                        <a:pt x="2520" y="2625"/>
                      </a:moveTo>
                      <a:lnTo>
                        <a:pt x="2515" y="2608"/>
                      </a:lnTo>
                      <a:lnTo>
                        <a:pt x="2520" y="2608"/>
                      </a:lnTo>
                      <a:lnTo>
                        <a:pt x="2532" y="2615"/>
                      </a:lnTo>
                      <a:lnTo>
                        <a:pt x="2520" y="2625"/>
                      </a:lnTo>
                      <a:lnTo>
                        <a:pt x="2520" y="2625"/>
                      </a:lnTo>
                      <a:lnTo>
                        <a:pt x="2520" y="2625"/>
                      </a:lnTo>
                      <a:close/>
                      <a:moveTo>
                        <a:pt x="1386" y="2625"/>
                      </a:moveTo>
                      <a:lnTo>
                        <a:pt x="1419" y="2615"/>
                      </a:lnTo>
                      <a:lnTo>
                        <a:pt x="1403" y="2625"/>
                      </a:lnTo>
                      <a:lnTo>
                        <a:pt x="1386" y="2625"/>
                      </a:lnTo>
                      <a:lnTo>
                        <a:pt x="1386" y="2625"/>
                      </a:lnTo>
                      <a:lnTo>
                        <a:pt x="1386" y="2625"/>
                      </a:lnTo>
                      <a:close/>
                      <a:moveTo>
                        <a:pt x="2390" y="2632"/>
                      </a:moveTo>
                      <a:lnTo>
                        <a:pt x="2397" y="2625"/>
                      </a:lnTo>
                      <a:lnTo>
                        <a:pt x="2407" y="2625"/>
                      </a:lnTo>
                      <a:lnTo>
                        <a:pt x="2390" y="2632"/>
                      </a:lnTo>
                      <a:lnTo>
                        <a:pt x="2390" y="2632"/>
                      </a:lnTo>
                      <a:lnTo>
                        <a:pt x="2390" y="2632"/>
                      </a:lnTo>
                      <a:close/>
                      <a:moveTo>
                        <a:pt x="1408" y="2641"/>
                      </a:moveTo>
                      <a:lnTo>
                        <a:pt x="1398" y="2632"/>
                      </a:lnTo>
                      <a:lnTo>
                        <a:pt x="1408" y="2632"/>
                      </a:lnTo>
                      <a:lnTo>
                        <a:pt x="1408" y="2641"/>
                      </a:lnTo>
                      <a:lnTo>
                        <a:pt x="1408" y="2641"/>
                      </a:lnTo>
                      <a:lnTo>
                        <a:pt x="1408" y="2641"/>
                      </a:lnTo>
                      <a:close/>
                      <a:moveTo>
                        <a:pt x="2369" y="2641"/>
                      </a:moveTo>
                      <a:lnTo>
                        <a:pt x="2359" y="2632"/>
                      </a:lnTo>
                      <a:lnTo>
                        <a:pt x="2369" y="2632"/>
                      </a:lnTo>
                      <a:lnTo>
                        <a:pt x="2369" y="2641"/>
                      </a:lnTo>
                      <a:lnTo>
                        <a:pt x="2369" y="2641"/>
                      </a:lnTo>
                      <a:lnTo>
                        <a:pt x="2369" y="2641"/>
                      </a:lnTo>
                      <a:close/>
                      <a:moveTo>
                        <a:pt x="2343" y="2653"/>
                      </a:moveTo>
                      <a:lnTo>
                        <a:pt x="2326" y="2648"/>
                      </a:lnTo>
                      <a:lnTo>
                        <a:pt x="2352" y="2653"/>
                      </a:lnTo>
                      <a:lnTo>
                        <a:pt x="2343" y="2653"/>
                      </a:lnTo>
                      <a:lnTo>
                        <a:pt x="2343" y="2653"/>
                      </a:lnTo>
                      <a:lnTo>
                        <a:pt x="2343" y="2653"/>
                      </a:lnTo>
                      <a:close/>
                      <a:moveTo>
                        <a:pt x="2305" y="2759"/>
                      </a:moveTo>
                      <a:lnTo>
                        <a:pt x="2284" y="2752"/>
                      </a:lnTo>
                      <a:lnTo>
                        <a:pt x="2272" y="2726"/>
                      </a:lnTo>
                      <a:lnTo>
                        <a:pt x="2251" y="2703"/>
                      </a:lnTo>
                      <a:lnTo>
                        <a:pt x="2272" y="2710"/>
                      </a:lnTo>
                      <a:lnTo>
                        <a:pt x="2289" y="2743"/>
                      </a:lnTo>
                      <a:lnTo>
                        <a:pt x="2305" y="2752"/>
                      </a:lnTo>
                      <a:lnTo>
                        <a:pt x="2305" y="2759"/>
                      </a:lnTo>
                      <a:lnTo>
                        <a:pt x="2305" y="2759"/>
                      </a:lnTo>
                      <a:lnTo>
                        <a:pt x="2305" y="2759"/>
                      </a:lnTo>
                      <a:close/>
                      <a:moveTo>
                        <a:pt x="1533" y="2743"/>
                      </a:moveTo>
                      <a:lnTo>
                        <a:pt x="1528" y="2759"/>
                      </a:lnTo>
                      <a:lnTo>
                        <a:pt x="1516" y="2759"/>
                      </a:lnTo>
                      <a:lnTo>
                        <a:pt x="1528" y="2743"/>
                      </a:lnTo>
                      <a:lnTo>
                        <a:pt x="1533" y="2743"/>
                      </a:lnTo>
                      <a:lnTo>
                        <a:pt x="1533" y="2743"/>
                      </a:lnTo>
                      <a:lnTo>
                        <a:pt x="1533" y="2743"/>
                      </a:lnTo>
                      <a:close/>
                      <a:moveTo>
                        <a:pt x="1559" y="2752"/>
                      </a:moveTo>
                      <a:lnTo>
                        <a:pt x="1533" y="2776"/>
                      </a:lnTo>
                      <a:lnTo>
                        <a:pt x="1516" y="2781"/>
                      </a:lnTo>
                      <a:lnTo>
                        <a:pt x="1542" y="2743"/>
                      </a:lnTo>
                      <a:lnTo>
                        <a:pt x="1559" y="2752"/>
                      </a:lnTo>
                      <a:lnTo>
                        <a:pt x="1559" y="2752"/>
                      </a:lnTo>
                      <a:lnTo>
                        <a:pt x="1559" y="2752"/>
                      </a:lnTo>
                      <a:close/>
                      <a:moveTo>
                        <a:pt x="1516" y="2764"/>
                      </a:moveTo>
                      <a:lnTo>
                        <a:pt x="1504" y="2776"/>
                      </a:lnTo>
                      <a:lnTo>
                        <a:pt x="1511" y="2764"/>
                      </a:lnTo>
                      <a:lnTo>
                        <a:pt x="1516" y="2764"/>
                      </a:lnTo>
                      <a:lnTo>
                        <a:pt x="1516" y="2764"/>
                      </a:lnTo>
                      <a:lnTo>
                        <a:pt x="1516" y="2764"/>
                      </a:lnTo>
                      <a:close/>
                      <a:moveTo>
                        <a:pt x="2234" y="2776"/>
                      </a:moveTo>
                      <a:lnTo>
                        <a:pt x="2218" y="2776"/>
                      </a:lnTo>
                      <a:lnTo>
                        <a:pt x="2234" y="2776"/>
                      </a:lnTo>
                      <a:lnTo>
                        <a:pt x="2234" y="2776"/>
                      </a:lnTo>
                      <a:lnTo>
                        <a:pt x="2234" y="2776"/>
                      </a:lnTo>
                      <a:close/>
                      <a:moveTo>
                        <a:pt x="2246" y="2781"/>
                      </a:moveTo>
                      <a:lnTo>
                        <a:pt x="2251" y="2776"/>
                      </a:lnTo>
                      <a:lnTo>
                        <a:pt x="2267" y="2776"/>
                      </a:lnTo>
                      <a:lnTo>
                        <a:pt x="2267" y="2781"/>
                      </a:lnTo>
                      <a:lnTo>
                        <a:pt x="2246" y="2781"/>
                      </a:lnTo>
                      <a:lnTo>
                        <a:pt x="2246" y="2781"/>
                      </a:lnTo>
                      <a:lnTo>
                        <a:pt x="2246" y="2781"/>
                      </a:lnTo>
                      <a:close/>
                      <a:moveTo>
                        <a:pt x="2234" y="2903"/>
                      </a:moveTo>
                      <a:lnTo>
                        <a:pt x="2213" y="2892"/>
                      </a:lnTo>
                      <a:lnTo>
                        <a:pt x="2180" y="2870"/>
                      </a:lnTo>
                      <a:lnTo>
                        <a:pt x="2196" y="2863"/>
                      </a:lnTo>
                      <a:lnTo>
                        <a:pt x="2230" y="2887"/>
                      </a:lnTo>
                      <a:lnTo>
                        <a:pt x="2234" y="2903"/>
                      </a:lnTo>
                      <a:lnTo>
                        <a:pt x="2234" y="2903"/>
                      </a:lnTo>
                      <a:lnTo>
                        <a:pt x="2234" y="2903"/>
                      </a:lnTo>
                      <a:close/>
                      <a:moveTo>
                        <a:pt x="2230" y="2908"/>
                      </a:moveTo>
                      <a:lnTo>
                        <a:pt x="2213" y="2903"/>
                      </a:lnTo>
                      <a:lnTo>
                        <a:pt x="2230" y="2903"/>
                      </a:lnTo>
                      <a:lnTo>
                        <a:pt x="2230" y="2908"/>
                      </a:lnTo>
                      <a:lnTo>
                        <a:pt x="2230" y="2908"/>
                      </a:lnTo>
                      <a:lnTo>
                        <a:pt x="2230" y="2908"/>
                      </a:lnTo>
                      <a:close/>
                      <a:moveTo>
                        <a:pt x="1580" y="2903"/>
                      </a:moveTo>
                      <a:lnTo>
                        <a:pt x="1566" y="2908"/>
                      </a:lnTo>
                      <a:lnTo>
                        <a:pt x="1580" y="2903"/>
                      </a:lnTo>
                      <a:lnTo>
                        <a:pt x="1580" y="2903"/>
                      </a:lnTo>
                      <a:lnTo>
                        <a:pt x="1580" y="2903"/>
                      </a:lnTo>
                      <a:close/>
                      <a:moveTo>
                        <a:pt x="1566" y="2903"/>
                      </a:moveTo>
                      <a:lnTo>
                        <a:pt x="1566" y="2908"/>
                      </a:lnTo>
                      <a:lnTo>
                        <a:pt x="1549" y="2908"/>
                      </a:lnTo>
                      <a:lnTo>
                        <a:pt x="1566" y="2903"/>
                      </a:lnTo>
                      <a:lnTo>
                        <a:pt x="1566" y="2903"/>
                      </a:lnTo>
                      <a:lnTo>
                        <a:pt x="1566" y="2903"/>
                      </a:lnTo>
                      <a:close/>
                      <a:moveTo>
                        <a:pt x="2208" y="2932"/>
                      </a:moveTo>
                      <a:lnTo>
                        <a:pt x="2208" y="2920"/>
                      </a:lnTo>
                      <a:lnTo>
                        <a:pt x="2213" y="2920"/>
                      </a:lnTo>
                      <a:lnTo>
                        <a:pt x="2208" y="2932"/>
                      </a:lnTo>
                      <a:lnTo>
                        <a:pt x="2208" y="2932"/>
                      </a:lnTo>
                      <a:lnTo>
                        <a:pt x="2208" y="2932"/>
                      </a:lnTo>
                      <a:close/>
                      <a:moveTo>
                        <a:pt x="2154" y="2958"/>
                      </a:moveTo>
                      <a:lnTo>
                        <a:pt x="2142" y="2948"/>
                      </a:lnTo>
                      <a:lnTo>
                        <a:pt x="2154" y="2941"/>
                      </a:lnTo>
                      <a:lnTo>
                        <a:pt x="2180" y="2948"/>
                      </a:lnTo>
                      <a:lnTo>
                        <a:pt x="2154" y="2958"/>
                      </a:lnTo>
                      <a:lnTo>
                        <a:pt x="2154" y="2958"/>
                      </a:lnTo>
                      <a:lnTo>
                        <a:pt x="2154" y="2958"/>
                      </a:lnTo>
                      <a:close/>
                      <a:moveTo>
                        <a:pt x="2163" y="2981"/>
                      </a:moveTo>
                      <a:lnTo>
                        <a:pt x="2154" y="2965"/>
                      </a:lnTo>
                      <a:lnTo>
                        <a:pt x="2163" y="2974"/>
                      </a:lnTo>
                      <a:lnTo>
                        <a:pt x="2163" y="2981"/>
                      </a:lnTo>
                      <a:lnTo>
                        <a:pt x="2163" y="2981"/>
                      </a:lnTo>
                      <a:lnTo>
                        <a:pt x="2163" y="2981"/>
                      </a:lnTo>
                      <a:close/>
                      <a:moveTo>
                        <a:pt x="2159" y="3059"/>
                      </a:moveTo>
                      <a:lnTo>
                        <a:pt x="2163" y="3043"/>
                      </a:lnTo>
                      <a:lnTo>
                        <a:pt x="2163" y="3059"/>
                      </a:lnTo>
                      <a:lnTo>
                        <a:pt x="2159" y="3059"/>
                      </a:lnTo>
                      <a:lnTo>
                        <a:pt x="2159" y="3059"/>
                      </a:lnTo>
                      <a:lnTo>
                        <a:pt x="2159" y="3059"/>
                      </a:lnTo>
                      <a:close/>
                      <a:moveTo>
                        <a:pt x="1743" y="3130"/>
                      </a:moveTo>
                      <a:lnTo>
                        <a:pt x="1748" y="3142"/>
                      </a:lnTo>
                      <a:lnTo>
                        <a:pt x="1726" y="3130"/>
                      </a:lnTo>
                      <a:lnTo>
                        <a:pt x="1743" y="3130"/>
                      </a:lnTo>
                      <a:lnTo>
                        <a:pt x="1743" y="3130"/>
                      </a:lnTo>
                      <a:lnTo>
                        <a:pt x="1743" y="3130"/>
                      </a:lnTo>
                      <a:close/>
                      <a:moveTo>
                        <a:pt x="1882" y="3154"/>
                      </a:moveTo>
                      <a:lnTo>
                        <a:pt x="1835" y="3170"/>
                      </a:lnTo>
                      <a:lnTo>
                        <a:pt x="1882" y="3147"/>
                      </a:lnTo>
                      <a:lnTo>
                        <a:pt x="1882" y="3154"/>
                      </a:lnTo>
                      <a:lnTo>
                        <a:pt x="1882" y="3154"/>
                      </a:lnTo>
                      <a:lnTo>
                        <a:pt x="1882" y="3154"/>
                      </a:lnTo>
                      <a:close/>
                      <a:moveTo>
                        <a:pt x="1776" y="3163"/>
                      </a:moveTo>
                      <a:lnTo>
                        <a:pt x="1764" y="3170"/>
                      </a:lnTo>
                      <a:lnTo>
                        <a:pt x="1781" y="3170"/>
                      </a:lnTo>
                      <a:lnTo>
                        <a:pt x="1764" y="3180"/>
                      </a:lnTo>
                      <a:lnTo>
                        <a:pt x="1731" y="3163"/>
                      </a:lnTo>
                      <a:lnTo>
                        <a:pt x="1776" y="3163"/>
                      </a:lnTo>
                      <a:lnTo>
                        <a:pt x="1776" y="3163"/>
                      </a:lnTo>
                      <a:lnTo>
                        <a:pt x="1776" y="3163"/>
                      </a:lnTo>
                      <a:close/>
                      <a:moveTo>
                        <a:pt x="1873" y="3170"/>
                      </a:moveTo>
                      <a:lnTo>
                        <a:pt x="1873" y="3180"/>
                      </a:lnTo>
                      <a:lnTo>
                        <a:pt x="1856" y="3180"/>
                      </a:lnTo>
                      <a:lnTo>
                        <a:pt x="1873" y="3170"/>
                      </a:lnTo>
                      <a:lnTo>
                        <a:pt x="1873" y="3170"/>
                      </a:lnTo>
                      <a:lnTo>
                        <a:pt x="1873" y="3170"/>
                      </a:lnTo>
                      <a:close/>
                      <a:moveTo>
                        <a:pt x="1958" y="3208"/>
                      </a:moveTo>
                      <a:lnTo>
                        <a:pt x="1948" y="3225"/>
                      </a:lnTo>
                      <a:lnTo>
                        <a:pt x="1937" y="3236"/>
                      </a:lnTo>
                      <a:lnTo>
                        <a:pt x="1944" y="3208"/>
                      </a:lnTo>
                      <a:lnTo>
                        <a:pt x="1958" y="3208"/>
                      </a:lnTo>
                      <a:lnTo>
                        <a:pt x="1958" y="3208"/>
                      </a:lnTo>
                      <a:lnTo>
                        <a:pt x="1958" y="3208"/>
                      </a:lnTo>
                      <a:close/>
                      <a:moveTo>
                        <a:pt x="2067" y="3258"/>
                      </a:moveTo>
                      <a:lnTo>
                        <a:pt x="2045" y="3253"/>
                      </a:lnTo>
                      <a:lnTo>
                        <a:pt x="2029" y="3236"/>
                      </a:lnTo>
                      <a:lnTo>
                        <a:pt x="2100" y="3241"/>
                      </a:lnTo>
                      <a:lnTo>
                        <a:pt x="2088" y="3253"/>
                      </a:lnTo>
                      <a:lnTo>
                        <a:pt x="2067" y="3241"/>
                      </a:lnTo>
                      <a:lnTo>
                        <a:pt x="2071" y="3253"/>
                      </a:lnTo>
                      <a:lnTo>
                        <a:pt x="2067" y="3258"/>
                      </a:lnTo>
                      <a:lnTo>
                        <a:pt x="2067" y="3258"/>
                      </a:lnTo>
                      <a:lnTo>
                        <a:pt x="2067" y="3258"/>
                      </a:lnTo>
                      <a:close/>
                      <a:moveTo>
                        <a:pt x="2019" y="3241"/>
                      </a:moveTo>
                      <a:lnTo>
                        <a:pt x="2019" y="3253"/>
                      </a:lnTo>
                      <a:lnTo>
                        <a:pt x="2012" y="3258"/>
                      </a:lnTo>
                      <a:lnTo>
                        <a:pt x="1996" y="3253"/>
                      </a:lnTo>
                      <a:lnTo>
                        <a:pt x="2003" y="3236"/>
                      </a:lnTo>
                      <a:lnTo>
                        <a:pt x="2019" y="3241"/>
                      </a:lnTo>
                      <a:lnTo>
                        <a:pt x="2019" y="3241"/>
                      </a:lnTo>
                      <a:lnTo>
                        <a:pt x="2019" y="3241"/>
                      </a:lnTo>
                      <a:close/>
                      <a:moveTo>
                        <a:pt x="2071" y="3258"/>
                      </a:moveTo>
                      <a:lnTo>
                        <a:pt x="2071" y="3253"/>
                      </a:lnTo>
                      <a:lnTo>
                        <a:pt x="2083" y="3253"/>
                      </a:lnTo>
                      <a:lnTo>
                        <a:pt x="2071" y="3258"/>
                      </a:lnTo>
                      <a:lnTo>
                        <a:pt x="2071" y="3258"/>
                      </a:lnTo>
                      <a:lnTo>
                        <a:pt x="2071" y="3258"/>
                      </a:lnTo>
                      <a:close/>
                      <a:moveTo>
                        <a:pt x="2029" y="3265"/>
                      </a:moveTo>
                      <a:lnTo>
                        <a:pt x="2012" y="3258"/>
                      </a:lnTo>
                      <a:lnTo>
                        <a:pt x="2019" y="3253"/>
                      </a:lnTo>
                      <a:lnTo>
                        <a:pt x="2033" y="3253"/>
                      </a:lnTo>
                      <a:lnTo>
                        <a:pt x="2029" y="3265"/>
                      </a:lnTo>
                      <a:lnTo>
                        <a:pt x="2029" y="3265"/>
                      </a:lnTo>
                      <a:lnTo>
                        <a:pt x="2029" y="3265"/>
                      </a:lnTo>
                      <a:close/>
                      <a:moveTo>
                        <a:pt x="2083" y="3258"/>
                      </a:moveTo>
                      <a:lnTo>
                        <a:pt x="2083" y="3253"/>
                      </a:lnTo>
                      <a:lnTo>
                        <a:pt x="2088" y="3258"/>
                      </a:lnTo>
                      <a:lnTo>
                        <a:pt x="2083" y="3258"/>
                      </a:lnTo>
                      <a:lnTo>
                        <a:pt x="2083" y="3258"/>
                      </a:lnTo>
                      <a:lnTo>
                        <a:pt x="2083" y="3258"/>
                      </a:lnTo>
                      <a:close/>
                      <a:moveTo>
                        <a:pt x="2045" y="3274"/>
                      </a:moveTo>
                      <a:lnTo>
                        <a:pt x="2029" y="3265"/>
                      </a:lnTo>
                      <a:lnTo>
                        <a:pt x="2033" y="3258"/>
                      </a:lnTo>
                      <a:lnTo>
                        <a:pt x="2057" y="3265"/>
                      </a:lnTo>
                      <a:lnTo>
                        <a:pt x="2045" y="3274"/>
                      </a:lnTo>
                      <a:lnTo>
                        <a:pt x="2045" y="3274"/>
                      </a:lnTo>
                      <a:lnTo>
                        <a:pt x="2045" y="3274"/>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28" name="Freeform 456">
                  <a:extLst>
                    <a:ext uri="{FF2B5EF4-FFF2-40B4-BE49-F238E27FC236}">
                      <a16:creationId xmlns:a16="http://schemas.microsoft.com/office/drawing/2014/main" id="{110FC997-1F06-49CB-BB1C-E8D1EA483852}"/>
                    </a:ext>
                  </a:extLst>
                </p:cNvPr>
                <p:cNvSpPr>
                  <a:spLocks noEditPoints="1"/>
                </p:cNvSpPr>
                <p:nvPr/>
              </p:nvSpPr>
              <p:spPr bwMode="gray">
                <a:xfrm>
                  <a:off x="7295987" y="2752512"/>
                  <a:ext cx="243297" cy="233443"/>
                </a:xfrm>
                <a:custGeom>
                  <a:avLst/>
                  <a:gdLst>
                    <a:gd name="T0" fmla="*/ 76 w 591"/>
                    <a:gd name="T1" fmla="*/ 111 h 567"/>
                    <a:gd name="T2" fmla="*/ 227 w 591"/>
                    <a:gd name="T3" fmla="*/ 29 h 567"/>
                    <a:gd name="T4" fmla="*/ 484 w 591"/>
                    <a:gd name="T5" fmla="*/ 7 h 567"/>
                    <a:gd name="T6" fmla="*/ 350 w 591"/>
                    <a:gd name="T7" fmla="*/ 69 h 567"/>
                    <a:gd name="T8" fmla="*/ 324 w 591"/>
                    <a:gd name="T9" fmla="*/ 135 h 567"/>
                    <a:gd name="T10" fmla="*/ 274 w 591"/>
                    <a:gd name="T11" fmla="*/ 123 h 567"/>
                    <a:gd name="T12" fmla="*/ 227 w 591"/>
                    <a:gd name="T13" fmla="*/ 102 h 567"/>
                    <a:gd name="T14" fmla="*/ 220 w 591"/>
                    <a:gd name="T15" fmla="*/ 213 h 567"/>
                    <a:gd name="T16" fmla="*/ 307 w 591"/>
                    <a:gd name="T17" fmla="*/ 300 h 567"/>
                    <a:gd name="T18" fmla="*/ 253 w 591"/>
                    <a:gd name="T19" fmla="*/ 357 h 567"/>
                    <a:gd name="T20" fmla="*/ 215 w 591"/>
                    <a:gd name="T21" fmla="*/ 345 h 567"/>
                    <a:gd name="T22" fmla="*/ 189 w 591"/>
                    <a:gd name="T23" fmla="*/ 452 h 567"/>
                    <a:gd name="T24" fmla="*/ 135 w 591"/>
                    <a:gd name="T25" fmla="*/ 374 h 567"/>
                    <a:gd name="T26" fmla="*/ 227 w 591"/>
                    <a:gd name="T27" fmla="*/ 317 h 567"/>
                    <a:gd name="T28" fmla="*/ 128 w 591"/>
                    <a:gd name="T29" fmla="*/ 284 h 567"/>
                    <a:gd name="T30" fmla="*/ 76 w 591"/>
                    <a:gd name="T31" fmla="*/ 222 h 567"/>
                    <a:gd name="T32" fmla="*/ 21 w 591"/>
                    <a:gd name="T33" fmla="*/ 173 h 567"/>
                    <a:gd name="T34" fmla="*/ 345 w 591"/>
                    <a:gd name="T35" fmla="*/ 95 h 567"/>
                    <a:gd name="T36" fmla="*/ 413 w 591"/>
                    <a:gd name="T37" fmla="*/ 102 h 567"/>
                    <a:gd name="T38" fmla="*/ 397 w 591"/>
                    <a:gd name="T39" fmla="*/ 140 h 567"/>
                    <a:gd name="T40" fmla="*/ 26 w 591"/>
                    <a:gd name="T41" fmla="*/ 196 h 567"/>
                    <a:gd name="T42" fmla="*/ 468 w 591"/>
                    <a:gd name="T43" fmla="*/ 206 h 567"/>
                    <a:gd name="T44" fmla="*/ 468 w 591"/>
                    <a:gd name="T45" fmla="*/ 206 h 567"/>
                    <a:gd name="T46" fmla="*/ 258 w 591"/>
                    <a:gd name="T47" fmla="*/ 222 h 567"/>
                    <a:gd name="T48" fmla="*/ 274 w 591"/>
                    <a:gd name="T49" fmla="*/ 279 h 567"/>
                    <a:gd name="T50" fmla="*/ 333 w 591"/>
                    <a:gd name="T51" fmla="*/ 300 h 567"/>
                    <a:gd name="T52" fmla="*/ 333 w 591"/>
                    <a:gd name="T53" fmla="*/ 230 h 567"/>
                    <a:gd name="T54" fmla="*/ 59 w 591"/>
                    <a:gd name="T55" fmla="*/ 246 h 567"/>
                    <a:gd name="T56" fmla="*/ 404 w 591"/>
                    <a:gd name="T57" fmla="*/ 267 h 567"/>
                    <a:gd name="T58" fmla="*/ 442 w 591"/>
                    <a:gd name="T59" fmla="*/ 300 h 567"/>
                    <a:gd name="T60" fmla="*/ 59 w 591"/>
                    <a:gd name="T61" fmla="*/ 279 h 567"/>
                    <a:gd name="T62" fmla="*/ 350 w 591"/>
                    <a:gd name="T63" fmla="*/ 317 h 567"/>
                    <a:gd name="T64" fmla="*/ 64 w 591"/>
                    <a:gd name="T65" fmla="*/ 324 h 567"/>
                    <a:gd name="T66" fmla="*/ 489 w 591"/>
                    <a:gd name="T67" fmla="*/ 333 h 567"/>
                    <a:gd name="T68" fmla="*/ 258 w 591"/>
                    <a:gd name="T69" fmla="*/ 341 h 567"/>
                    <a:gd name="T70" fmla="*/ 435 w 591"/>
                    <a:gd name="T71" fmla="*/ 357 h 567"/>
                    <a:gd name="T72" fmla="*/ 383 w 591"/>
                    <a:gd name="T73" fmla="*/ 345 h 567"/>
                    <a:gd name="T74" fmla="*/ 366 w 591"/>
                    <a:gd name="T75" fmla="*/ 362 h 567"/>
                    <a:gd name="T76" fmla="*/ 397 w 591"/>
                    <a:gd name="T77" fmla="*/ 362 h 567"/>
                    <a:gd name="T78" fmla="*/ 333 w 591"/>
                    <a:gd name="T79" fmla="*/ 390 h 567"/>
                    <a:gd name="T80" fmla="*/ 387 w 591"/>
                    <a:gd name="T81" fmla="*/ 390 h 567"/>
                    <a:gd name="T82" fmla="*/ 387 w 591"/>
                    <a:gd name="T83" fmla="*/ 390 h 567"/>
                    <a:gd name="T84" fmla="*/ 506 w 591"/>
                    <a:gd name="T85" fmla="*/ 402 h 567"/>
                    <a:gd name="T86" fmla="*/ 376 w 591"/>
                    <a:gd name="T87" fmla="*/ 402 h 567"/>
                    <a:gd name="T88" fmla="*/ 510 w 591"/>
                    <a:gd name="T89" fmla="*/ 411 h 567"/>
                    <a:gd name="T90" fmla="*/ 435 w 591"/>
                    <a:gd name="T91" fmla="*/ 411 h 567"/>
                    <a:gd name="T92" fmla="*/ 397 w 591"/>
                    <a:gd name="T93" fmla="*/ 428 h 567"/>
                    <a:gd name="T94" fmla="*/ 324 w 591"/>
                    <a:gd name="T95" fmla="*/ 428 h 567"/>
                    <a:gd name="T96" fmla="*/ 458 w 591"/>
                    <a:gd name="T97" fmla="*/ 435 h 567"/>
                    <a:gd name="T98" fmla="*/ 404 w 591"/>
                    <a:gd name="T99" fmla="*/ 444 h 567"/>
                    <a:gd name="T100" fmla="*/ 539 w 591"/>
                    <a:gd name="T101" fmla="*/ 452 h 567"/>
                    <a:gd name="T102" fmla="*/ 591 w 591"/>
                    <a:gd name="T103" fmla="*/ 444 h 567"/>
                    <a:gd name="T104" fmla="*/ 421 w 591"/>
                    <a:gd name="T105" fmla="*/ 452 h 567"/>
                    <a:gd name="T106" fmla="*/ 522 w 591"/>
                    <a:gd name="T107" fmla="*/ 529 h 567"/>
                    <a:gd name="T108" fmla="*/ 269 w 591"/>
                    <a:gd name="T109" fmla="*/ 513 h 567"/>
                    <a:gd name="T110" fmla="*/ 397 w 591"/>
                    <a:gd name="T111" fmla="*/ 539 h 567"/>
                    <a:gd name="T112" fmla="*/ 350 w 591"/>
                    <a:gd name="T113" fmla="*/ 567 h 567"/>
                    <a:gd name="T114" fmla="*/ 510 w 591"/>
                    <a:gd name="T115" fmla="*/ 522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91" h="567">
                      <a:moveTo>
                        <a:pt x="21" y="173"/>
                      </a:moveTo>
                      <a:lnTo>
                        <a:pt x="38" y="173"/>
                      </a:lnTo>
                      <a:lnTo>
                        <a:pt x="43" y="168"/>
                      </a:lnTo>
                      <a:lnTo>
                        <a:pt x="38" y="168"/>
                      </a:lnTo>
                      <a:lnTo>
                        <a:pt x="54" y="156"/>
                      </a:lnTo>
                      <a:lnTo>
                        <a:pt x="43" y="152"/>
                      </a:lnTo>
                      <a:lnTo>
                        <a:pt x="64" y="135"/>
                      </a:lnTo>
                      <a:lnTo>
                        <a:pt x="76" y="111"/>
                      </a:lnTo>
                      <a:lnTo>
                        <a:pt x="92" y="95"/>
                      </a:lnTo>
                      <a:lnTo>
                        <a:pt x="92" y="69"/>
                      </a:lnTo>
                      <a:lnTo>
                        <a:pt x="128" y="69"/>
                      </a:lnTo>
                      <a:lnTo>
                        <a:pt x="144" y="62"/>
                      </a:lnTo>
                      <a:lnTo>
                        <a:pt x="161" y="45"/>
                      </a:lnTo>
                      <a:lnTo>
                        <a:pt x="215" y="45"/>
                      </a:lnTo>
                      <a:lnTo>
                        <a:pt x="215" y="29"/>
                      </a:lnTo>
                      <a:lnTo>
                        <a:pt x="227" y="29"/>
                      </a:lnTo>
                      <a:lnTo>
                        <a:pt x="274" y="29"/>
                      </a:lnTo>
                      <a:lnTo>
                        <a:pt x="324" y="12"/>
                      </a:lnTo>
                      <a:lnTo>
                        <a:pt x="387" y="41"/>
                      </a:lnTo>
                      <a:lnTo>
                        <a:pt x="451" y="29"/>
                      </a:lnTo>
                      <a:lnTo>
                        <a:pt x="451" y="12"/>
                      </a:lnTo>
                      <a:lnTo>
                        <a:pt x="442" y="0"/>
                      </a:lnTo>
                      <a:lnTo>
                        <a:pt x="468" y="0"/>
                      </a:lnTo>
                      <a:lnTo>
                        <a:pt x="484" y="7"/>
                      </a:lnTo>
                      <a:lnTo>
                        <a:pt x="484" y="29"/>
                      </a:lnTo>
                      <a:lnTo>
                        <a:pt x="458" y="41"/>
                      </a:lnTo>
                      <a:lnTo>
                        <a:pt x="468" y="62"/>
                      </a:lnTo>
                      <a:lnTo>
                        <a:pt x="442" y="85"/>
                      </a:lnTo>
                      <a:lnTo>
                        <a:pt x="442" y="78"/>
                      </a:lnTo>
                      <a:lnTo>
                        <a:pt x="383" y="62"/>
                      </a:lnTo>
                      <a:lnTo>
                        <a:pt x="383" y="62"/>
                      </a:lnTo>
                      <a:lnTo>
                        <a:pt x="350" y="69"/>
                      </a:lnTo>
                      <a:lnTo>
                        <a:pt x="328" y="62"/>
                      </a:lnTo>
                      <a:lnTo>
                        <a:pt x="307" y="85"/>
                      </a:lnTo>
                      <a:lnTo>
                        <a:pt x="279" y="78"/>
                      </a:lnTo>
                      <a:lnTo>
                        <a:pt x="274" y="85"/>
                      </a:lnTo>
                      <a:lnTo>
                        <a:pt x="291" y="111"/>
                      </a:lnTo>
                      <a:lnTo>
                        <a:pt x="312" y="118"/>
                      </a:lnTo>
                      <a:lnTo>
                        <a:pt x="328" y="135"/>
                      </a:lnTo>
                      <a:lnTo>
                        <a:pt x="324" y="135"/>
                      </a:lnTo>
                      <a:lnTo>
                        <a:pt x="312" y="118"/>
                      </a:lnTo>
                      <a:lnTo>
                        <a:pt x="291" y="118"/>
                      </a:lnTo>
                      <a:lnTo>
                        <a:pt x="279" y="118"/>
                      </a:lnTo>
                      <a:lnTo>
                        <a:pt x="279" y="123"/>
                      </a:lnTo>
                      <a:lnTo>
                        <a:pt x="295" y="135"/>
                      </a:lnTo>
                      <a:lnTo>
                        <a:pt x="295" y="140"/>
                      </a:lnTo>
                      <a:lnTo>
                        <a:pt x="295" y="152"/>
                      </a:lnTo>
                      <a:lnTo>
                        <a:pt x="274" y="123"/>
                      </a:lnTo>
                      <a:lnTo>
                        <a:pt x="253" y="123"/>
                      </a:lnTo>
                      <a:lnTo>
                        <a:pt x="253" y="135"/>
                      </a:lnTo>
                      <a:lnTo>
                        <a:pt x="279" y="152"/>
                      </a:lnTo>
                      <a:lnTo>
                        <a:pt x="258" y="152"/>
                      </a:lnTo>
                      <a:lnTo>
                        <a:pt x="253" y="123"/>
                      </a:lnTo>
                      <a:lnTo>
                        <a:pt x="220" y="111"/>
                      </a:lnTo>
                      <a:lnTo>
                        <a:pt x="220" y="102"/>
                      </a:lnTo>
                      <a:lnTo>
                        <a:pt x="227" y="102"/>
                      </a:lnTo>
                      <a:lnTo>
                        <a:pt x="227" y="95"/>
                      </a:lnTo>
                      <a:lnTo>
                        <a:pt x="199" y="102"/>
                      </a:lnTo>
                      <a:lnTo>
                        <a:pt x="199" y="140"/>
                      </a:lnTo>
                      <a:lnTo>
                        <a:pt x="253" y="213"/>
                      </a:lnTo>
                      <a:lnTo>
                        <a:pt x="236" y="222"/>
                      </a:lnTo>
                      <a:lnTo>
                        <a:pt x="241" y="213"/>
                      </a:lnTo>
                      <a:lnTo>
                        <a:pt x="227" y="196"/>
                      </a:lnTo>
                      <a:lnTo>
                        <a:pt x="220" y="213"/>
                      </a:lnTo>
                      <a:lnTo>
                        <a:pt x="236" y="230"/>
                      </a:lnTo>
                      <a:lnTo>
                        <a:pt x="220" y="234"/>
                      </a:lnTo>
                      <a:lnTo>
                        <a:pt x="199" y="246"/>
                      </a:lnTo>
                      <a:lnTo>
                        <a:pt x="227" y="251"/>
                      </a:lnTo>
                      <a:lnTo>
                        <a:pt x="236" y="263"/>
                      </a:lnTo>
                      <a:lnTo>
                        <a:pt x="253" y="263"/>
                      </a:lnTo>
                      <a:lnTo>
                        <a:pt x="253" y="267"/>
                      </a:lnTo>
                      <a:lnTo>
                        <a:pt x="307" y="300"/>
                      </a:lnTo>
                      <a:lnTo>
                        <a:pt x="295" y="307"/>
                      </a:lnTo>
                      <a:lnTo>
                        <a:pt x="307" y="333"/>
                      </a:lnTo>
                      <a:lnTo>
                        <a:pt x="295" y="341"/>
                      </a:lnTo>
                      <a:lnTo>
                        <a:pt x="269" y="307"/>
                      </a:lnTo>
                      <a:lnTo>
                        <a:pt x="227" y="324"/>
                      </a:lnTo>
                      <a:lnTo>
                        <a:pt x="236" y="324"/>
                      </a:lnTo>
                      <a:lnTo>
                        <a:pt x="241" y="345"/>
                      </a:lnTo>
                      <a:lnTo>
                        <a:pt x="253" y="357"/>
                      </a:lnTo>
                      <a:lnTo>
                        <a:pt x="253" y="345"/>
                      </a:lnTo>
                      <a:lnTo>
                        <a:pt x="258" y="345"/>
                      </a:lnTo>
                      <a:lnTo>
                        <a:pt x="269" y="362"/>
                      </a:lnTo>
                      <a:lnTo>
                        <a:pt x="253" y="362"/>
                      </a:lnTo>
                      <a:lnTo>
                        <a:pt x="241" y="374"/>
                      </a:lnTo>
                      <a:lnTo>
                        <a:pt x="236" y="362"/>
                      </a:lnTo>
                      <a:lnTo>
                        <a:pt x="236" y="362"/>
                      </a:lnTo>
                      <a:lnTo>
                        <a:pt x="215" y="345"/>
                      </a:lnTo>
                      <a:lnTo>
                        <a:pt x="236" y="418"/>
                      </a:lnTo>
                      <a:lnTo>
                        <a:pt x="227" y="428"/>
                      </a:lnTo>
                      <a:lnTo>
                        <a:pt x="241" y="444"/>
                      </a:lnTo>
                      <a:lnTo>
                        <a:pt x="227" y="435"/>
                      </a:lnTo>
                      <a:lnTo>
                        <a:pt x="215" y="411"/>
                      </a:lnTo>
                      <a:lnTo>
                        <a:pt x="203" y="411"/>
                      </a:lnTo>
                      <a:lnTo>
                        <a:pt x="189" y="428"/>
                      </a:lnTo>
                      <a:lnTo>
                        <a:pt x="189" y="452"/>
                      </a:lnTo>
                      <a:lnTo>
                        <a:pt x="165" y="395"/>
                      </a:lnTo>
                      <a:lnTo>
                        <a:pt x="151" y="395"/>
                      </a:lnTo>
                      <a:lnTo>
                        <a:pt x="161" y="411"/>
                      </a:lnTo>
                      <a:lnTo>
                        <a:pt x="151" y="418"/>
                      </a:lnTo>
                      <a:lnTo>
                        <a:pt x="135" y="411"/>
                      </a:lnTo>
                      <a:lnTo>
                        <a:pt x="135" y="402"/>
                      </a:lnTo>
                      <a:lnTo>
                        <a:pt x="128" y="390"/>
                      </a:lnTo>
                      <a:lnTo>
                        <a:pt x="135" y="374"/>
                      </a:lnTo>
                      <a:lnTo>
                        <a:pt x="135" y="362"/>
                      </a:lnTo>
                      <a:lnTo>
                        <a:pt x="97" y="324"/>
                      </a:lnTo>
                      <a:lnTo>
                        <a:pt x="113" y="307"/>
                      </a:lnTo>
                      <a:lnTo>
                        <a:pt x="113" y="291"/>
                      </a:lnTo>
                      <a:lnTo>
                        <a:pt x="135" y="300"/>
                      </a:lnTo>
                      <a:lnTo>
                        <a:pt x="151" y="284"/>
                      </a:lnTo>
                      <a:lnTo>
                        <a:pt x="220" y="317"/>
                      </a:lnTo>
                      <a:lnTo>
                        <a:pt x="227" y="317"/>
                      </a:lnTo>
                      <a:lnTo>
                        <a:pt x="220" y="307"/>
                      </a:lnTo>
                      <a:lnTo>
                        <a:pt x="241" y="307"/>
                      </a:lnTo>
                      <a:lnTo>
                        <a:pt x="241" y="300"/>
                      </a:lnTo>
                      <a:lnTo>
                        <a:pt x="215" y="291"/>
                      </a:lnTo>
                      <a:lnTo>
                        <a:pt x="189" y="279"/>
                      </a:lnTo>
                      <a:lnTo>
                        <a:pt x="182" y="284"/>
                      </a:lnTo>
                      <a:lnTo>
                        <a:pt x="161" y="279"/>
                      </a:lnTo>
                      <a:lnTo>
                        <a:pt x="128" y="284"/>
                      </a:lnTo>
                      <a:lnTo>
                        <a:pt x="113" y="279"/>
                      </a:lnTo>
                      <a:lnTo>
                        <a:pt x="97" y="284"/>
                      </a:lnTo>
                      <a:lnTo>
                        <a:pt x="92" y="263"/>
                      </a:lnTo>
                      <a:lnTo>
                        <a:pt x="64" y="246"/>
                      </a:lnTo>
                      <a:lnTo>
                        <a:pt x="76" y="234"/>
                      </a:lnTo>
                      <a:lnTo>
                        <a:pt x="97" y="246"/>
                      </a:lnTo>
                      <a:lnTo>
                        <a:pt x="97" y="230"/>
                      </a:lnTo>
                      <a:lnTo>
                        <a:pt x="76" y="222"/>
                      </a:lnTo>
                      <a:lnTo>
                        <a:pt x="76" y="230"/>
                      </a:lnTo>
                      <a:lnTo>
                        <a:pt x="76" y="234"/>
                      </a:lnTo>
                      <a:lnTo>
                        <a:pt x="64" y="234"/>
                      </a:lnTo>
                      <a:lnTo>
                        <a:pt x="54" y="206"/>
                      </a:lnTo>
                      <a:lnTo>
                        <a:pt x="38" y="206"/>
                      </a:lnTo>
                      <a:lnTo>
                        <a:pt x="38" y="180"/>
                      </a:lnTo>
                      <a:lnTo>
                        <a:pt x="21" y="173"/>
                      </a:lnTo>
                      <a:lnTo>
                        <a:pt x="21" y="173"/>
                      </a:lnTo>
                      <a:lnTo>
                        <a:pt x="21" y="173"/>
                      </a:lnTo>
                      <a:close/>
                      <a:moveTo>
                        <a:pt x="345" y="95"/>
                      </a:moveTo>
                      <a:lnTo>
                        <a:pt x="333" y="85"/>
                      </a:lnTo>
                      <a:lnTo>
                        <a:pt x="345" y="78"/>
                      </a:lnTo>
                      <a:lnTo>
                        <a:pt x="350" y="78"/>
                      </a:lnTo>
                      <a:lnTo>
                        <a:pt x="350" y="95"/>
                      </a:lnTo>
                      <a:lnTo>
                        <a:pt x="345" y="95"/>
                      </a:lnTo>
                      <a:lnTo>
                        <a:pt x="345" y="95"/>
                      </a:lnTo>
                      <a:lnTo>
                        <a:pt x="345" y="95"/>
                      </a:lnTo>
                      <a:close/>
                      <a:moveTo>
                        <a:pt x="413" y="102"/>
                      </a:moveTo>
                      <a:lnTo>
                        <a:pt x="421" y="111"/>
                      </a:lnTo>
                      <a:lnTo>
                        <a:pt x="413" y="111"/>
                      </a:lnTo>
                      <a:lnTo>
                        <a:pt x="397" y="102"/>
                      </a:lnTo>
                      <a:lnTo>
                        <a:pt x="413" y="102"/>
                      </a:lnTo>
                      <a:lnTo>
                        <a:pt x="413" y="102"/>
                      </a:lnTo>
                      <a:lnTo>
                        <a:pt x="413" y="102"/>
                      </a:lnTo>
                      <a:close/>
                      <a:moveTo>
                        <a:pt x="397" y="140"/>
                      </a:moveTo>
                      <a:lnTo>
                        <a:pt x="397" y="168"/>
                      </a:lnTo>
                      <a:lnTo>
                        <a:pt x="387" y="152"/>
                      </a:lnTo>
                      <a:lnTo>
                        <a:pt x="383" y="156"/>
                      </a:lnTo>
                      <a:lnTo>
                        <a:pt x="383" y="168"/>
                      </a:lnTo>
                      <a:lnTo>
                        <a:pt x="376" y="156"/>
                      </a:lnTo>
                      <a:lnTo>
                        <a:pt x="376" y="152"/>
                      </a:lnTo>
                      <a:lnTo>
                        <a:pt x="397" y="140"/>
                      </a:lnTo>
                      <a:lnTo>
                        <a:pt x="397" y="140"/>
                      </a:lnTo>
                      <a:lnTo>
                        <a:pt x="397" y="140"/>
                      </a:lnTo>
                      <a:close/>
                      <a:moveTo>
                        <a:pt x="5" y="156"/>
                      </a:moveTo>
                      <a:lnTo>
                        <a:pt x="10" y="168"/>
                      </a:lnTo>
                      <a:lnTo>
                        <a:pt x="5" y="173"/>
                      </a:lnTo>
                      <a:lnTo>
                        <a:pt x="10" y="189"/>
                      </a:lnTo>
                      <a:lnTo>
                        <a:pt x="21" y="189"/>
                      </a:lnTo>
                      <a:lnTo>
                        <a:pt x="26" y="196"/>
                      </a:lnTo>
                      <a:lnTo>
                        <a:pt x="10" y="189"/>
                      </a:lnTo>
                      <a:lnTo>
                        <a:pt x="0" y="173"/>
                      </a:lnTo>
                      <a:lnTo>
                        <a:pt x="0" y="168"/>
                      </a:lnTo>
                      <a:lnTo>
                        <a:pt x="5" y="156"/>
                      </a:lnTo>
                      <a:lnTo>
                        <a:pt x="5" y="156"/>
                      </a:lnTo>
                      <a:lnTo>
                        <a:pt x="5" y="156"/>
                      </a:lnTo>
                      <a:close/>
                      <a:moveTo>
                        <a:pt x="468" y="206"/>
                      </a:moveTo>
                      <a:lnTo>
                        <a:pt x="468" y="206"/>
                      </a:lnTo>
                      <a:lnTo>
                        <a:pt x="484" y="230"/>
                      </a:lnTo>
                      <a:lnTo>
                        <a:pt x="458" y="230"/>
                      </a:lnTo>
                      <a:lnTo>
                        <a:pt x="442" y="222"/>
                      </a:lnTo>
                      <a:lnTo>
                        <a:pt x="458" y="213"/>
                      </a:lnTo>
                      <a:lnTo>
                        <a:pt x="442" y="222"/>
                      </a:lnTo>
                      <a:lnTo>
                        <a:pt x="430" y="213"/>
                      </a:lnTo>
                      <a:lnTo>
                        <a:pt x="451" y="196"/>
                      </a:lnTo>
                      <a:lnTo>
                        <a:pt x="468" y="206"/>
                      </a:lnTo>
                      <a:lnTo>
                        <a:pt x="468" y="206"/>
                      </a:lnTo>
                      <a:lnTo>
                        <a:pt x="468" y="206"/>
                      </a:lnTo>
                      <a:close/>
                      <a:moveTo>
                        <a:pt x="258" y="222"/>
                      </a:moveTo>
                      <a:lnTo>
                        <a:pt x="258" y="213"/>
                      </a:lnTo>
                      <a:lnTo>
                        <a:pt x="269" y="213"/>
                      </a:lnTo>
                      <a:lnTo>
                        <a:pt x="258" y="222"/>
                      </a:lnTo>
                      <a:lnTo>
                        <a:pt x="258" y="222"/>
                      </a:lnTo>
                      <a:lnTo>
                        <a:pt x="258" y="222"/>
                      </a:lnTo>
                      <a:close/>
                      <a:moveTo>
                        <a:pt x="279" y="222"/>
                      </a:moveTo>
                      <a:lnTo>
                        <a:pt x="269" y="213"/>
                      </a:lnTo>
                      <a:lnTo>
                        <a:pt x="279" y="222"/>
                      </a:lnTo>
                      <a:lnTo>
                        <a:pt x="279" y="222"/>
                      </a:lnTo>
                      <a:lnTo>
                        <a:pt x="279" y="222"/>
                      </a:lnTo>
                      <a:lnTo>
                        <a:pt x="279" y="222"/>
                      </a:lnTo>
                      <a:close/>
                      <a:moveTo>
                        <a:pt x="307" y="284"/>
                      </a:moveTo>
                      <a:lnTo>
                        <a:pt x="274" y="279"/>
                      </a:lnTo>
                      <a:lnTo>
                        <a:pt x="274" y="267"/>
                      </a:lnTo>
                      <a:lnTo>
                        <a:pt x="241" y="246"/>
                      </a:lnTo>
                      <a:lnTo>
                        <a:pt x="220" y="246"/>
                      </a:lnTo>
                      <a:lnTo>
                        <a:pt x="253" y="230"/>
                      </a:lnTo>
                      <a:lnTo>
                        <a:pt x="269" y="251"/>
                      </a:lnTo>
                      <a:lnTo>
                        <a:pt x="312" y="263"/>
                      </a:lnTo>
                      <a:lnTo>
                        <a:pt x="312" y="291"/>
                      </a:lnTo>
                      <a:lnTo>
                        <a:pt x="333" y="300"/>
                      </a:lnTo>
                      <a:lnTo>
                        <a:pt x="333" y="317"/>
                      </a:lnTo>
                      <a:lnTo>
                        <a:pt x="328" y="317"/>
                      </a:lnTo>
                      <a:lnTo>
                        <a:pt x="307" y="284"/>
                      </a:lnTo>
                      <a:lnTo>
                        <a:pt x="307" y="284"/>
                      </a:lnTo>
                      <a:lnTo>
                        <a:pt x="307" y="284"/>
                      </a:lnTo>
                      <a:close/>
                      <a:moveTo>
                        <a:pt x="333" y="251"/>
                      </a:moveTo>
                      <a:lnTo>
                        <a:pt x="328" y="234"/>
                      </a:lnTo>
                      <a:lnTo>
                        <a:pt x="333" y="230"/>
                      </a:lnTo>
                      <a:lnTo>
                        <a:pt x="345" y="246"/>
                      </a:lnTo>
                      <a:lnTo>
                        <a:pt x="333" y="251"/>
                      </a:lnTo>
                      <a:lnTo>
                        <a:pt x="333" y="251"/>
                      </a:lnTo>
                      <a:lnTo>
                        <a:pt x="333" y="251"/>
                      </a:lnTo>
                      <a:close/>
                      <a:moveTo>
                        <a:pt x="64" y="246"/>
                      </a:moveTo>
                      <a:lnTo>
                        <a:pt x="64" y="263"/>
                      </a:lnTo>
                      <a:lnTo>
                        <a:pt x="59" y="267"/>
                      </a:lnTo>
                      <a:lnTo>
                        <a:pt x="59" y="246"/>
                      </a:lnTo>
                      <a:lnTo>
                        <a:pt x="64" y="246"/>
                      </a:lnTo>
                      <a:lnTo>
                        <a:pt x="64" y="246"/>
                      </a:lnTo>
                      <a:lnTo>
                        <a:pt x="64" y="246"/>
                      </a:lnTo>
                      <a:close/>
                      <a:moveTo>
                        <a:pt x="404" y="267"/>
                      </a:moveTo>
                      <a:lnTo>
                        <a:pt x="404" y="263"/>
                      </a:lnTo>
                      <a:lnTo>
                        <a:pt x="413" y="263"/>
                      </a:lnTo>
                      <a:lnTo>
                        <a:pt x="404" y="267"/>
                      </a:lnTo>
                      <a:lnTo>
                        <a:pt x="404" y="267"/>
                      </a:lnTo>
                      <a:lnTo>
                        <a:pt x="404" y="267"/>
                      </a:lnTo>
                      <a:close/>
                      <a:moveTo>
                        <a:pt x="442" y="300"/>
                      </a:moveTo>
                      <a:lnTo>
                        <a:pt x="430" y="291"/>
                      </a:lnTo>
                      <a:lnTo>
                        <a:pt x="435" y="284"/>
                      </a:lnTo>
                      <a:lnTo>
                        <a:pt x="430" y="267"/>
                      </a:lnTo>
                      <a:lnTo>
                        <a:pt x="451" y="267"/>
                      </a:lnTo>
                      <a:lnTo>
                        <a:pt x="451" y="291"/>
                      </a:lnTo>
                      <a:lnTo>
                        <a:pt x="442" y="300"/>
                      </a:lnTo>
                      <a:lnTo>
                        <a:pt x="442" y="300"/>
                      </a:lnTo>
                      <a:lnTo>
                        <a:pt x="442" y="300"/>
                      </a:lnTo>
                      <a:close/>
                      <a:moveTo>
                        <a:pt x="59" y="279"/>
                      </a:moveTo>
                      <a:lnTo>
                        <a:pt x="76" y="307"/>
                      </a:lnTo>
                      <a:lnTo>
                        <a:pt x="43" y="300"/>
                      </a:lnTo>
                      <a:lnTo>
                        <a:pt x="59" y="279"/>
                      </a:lnTo>
                      <a:lnTo>
                        <a:pt x="59" y="279"/>
                      </a:lnTo>
                      <a:lnTo>
                        <a:pt x="59" y="279"/>
                      </a:lnTo>
                      <a:close/>
                      <a:moveTo>
                        <a:pt x="269" y="317"/>
                      </a:moveTo>
                      <a:lnTo>
                        <a:pt x="269" y="324"/>
                      </a:lnTo>
                      <a:lnTo>
                        <a:pt x="258" y="324"/>
                      </a:lnTo>
                      <a:lnTo>
                        <a:pt x="269" y="317"/>
                      </a:lnTo>
                      <a:lnTo>
                        <a:pt x="269" y="317"/>
                      </a:lnTo>
                      <a:lnTo>
                        <a:pt x="269" y="317"/>
                      </a:lnTo>
                      <a:close/>
                      <a:moveTo>
                        <a:pt x="366" y="341"/>
                      </a:moveTo>
                      <a:lnTo>
                        <a:pt x="350" y="317"/>
                      </a:lnTo>
                      <a:lnTo>
                        <a:pt x="350" y="317"/>
                      </a:lnTo>
                      <a:lnTo>
                        <a:pt x="366" y="324"/>
                      </a:lnTo>
                      <a:lnTo>
                        <a:pt x="366" y="341"/>
                      </a:lnTo>
                      <a:lnTo>
                        <a:pt x="366" y="341"/>
                      </a:lnTo>
                      <a:lnTo>
                        <a:pt x="366" y="341"/>
                      </a:lnTo>
                      <a:close/>
                      <a:moveTo>
                        <a:pt x="76" y="341"/>
                      </a:moveTo>
                      <a:lnTo>
                        <a:pt x="64" y="333"/>
                      </a:lnTo>
                      <a:lnTo>
                        <a:pt x="64" y="324"/>
                      </a:lnTo>
                      <a:lnTo>
                        <a:pt x="92" y="341"/>
                      </a:lnTo>
                      <a:lnTo>
                        <a:pt x="80" y="341"/>
                      </a:lnTo>
                      <a:lnTo>
                        <a:pt x="76" y="341"/>
                      </a:lnTo>
                      <a:lnTo>
                        <a:pt x="76" y="341"/>
                      </a:lnTo>
                      <a:lnTo>
                        <a:pt x="76" y="341"/>
                      </a:lnTo>
                      <a:close/>
                      <a:moveTo>
                        <a:pt x="494" y="345"/>
                      </a:moveTo>
                      <a:lnTo>
                        <a:pt x="484" y="341"/>
                      </a:lnTo>
                      <a:lnTo>
                        <a:pt x="489" y="333"/>
                      </a:lnTo>
                      <a:lnTo>
                        <a:pt x="510" y="341"/>
                      </a:lnTo>
                      <a:lnTo>
                        <a:pt x="494" y="345"/>
                      </a:lnTo>
                      <a:lnTo>
                        <a:pt x="494" y="345"/>
                      </a:lnTo>
                      <a:lnTo>
                        <a:pt x="494" y="345"/>
                      </a:lnTo>
                      <a:close/>
                      <a:moveTo>
                        <a:pt x="258" y="341"/>
                      </a:moveTo>
                      <a:lnTo>
                        <a:pt x="258" y="333"/>
                      </a:lnTo>
                      <a:lnTo>
                        <a:pt x="269" y="333"/>
                      </a:lnTo>
                      <a:lnTo>
                        <a:pt x="258" y="341"/>
                      </a:lnTo>
                      <a:lnTo>
                        <a:pt x="258" y="341"/>
                      </a:lnTo>
                      <a:lnTo>
                        <a:pt x="258" y="341"/>
                      </a:lnTo>
                      <a:close/>
                      <a:moveTo>
                        <a:pt x="435" y="357"/>
                      </a:moveTo>
                      <a:lnTo>
                        <a:pt x="442" y="345"/>
                      </a:lnTo>
                      <a:lnTo>
                        <a:pt x="468" y="341"/>
                      </a:lnTo>
                      <a:lnTo>
                        <a:pt x="435" y="357"/>
                      </a:lnTo>
                      <a:lnTo>
                        <a:pt x="435" y="357"/>
                      </a:lnTo>
                      <a:lnTo>
                        <a:pt x="435" y="357"/>
                      </a:lnTo>
                      <a:close/>
                      <a:moveTo>
                        <a:pt x="324" y="357"/>
                      </a:moveTo>
                      <a:lnTo>
                        <a:pt x="324" y="341"/>
                      </a:lnTo>
                      <a:lnTo>
                        <a:pt x="328" y="341"/>
                      </a:lnTo>
                      <a:lnTo>
                        <a:pt x="324" y="357"/>
                      </a:lnTo>
                      <a:lnTo>
                        <a:pt x="324" y="357"/>
                      </a:lnTo>
                      <a:lnTo>
                        <a:pt x="324" y="357"/>
                      </a:lnTo>
                      <a:close/>
                      <a:moveTo>
                        <a:pt x="376" y="341"/>
                      </a:moveTo>
                      <a:lnTo>
                        <a:pt x="383" y="345"/>
                      </a:lnTo>
                      <a:lnTo>
                        <a:pt x="383" y="357"/>
                      </a:lnTo>
                      <a:lnTo>
                        <a:pt x="366" y="341"/>
                      </a:lnTo>
                      <a:lnTo>
                        <a:pt x="376" y="341"/>
                      </a:lnTo>
                      <a:lnTo>
                        <a:pt x="376" y="341"/>
                      </a:lnTo>
                      <a:lnTo>
                        <a:pt x="376" y="341"/>
                      </a:lnTo>
                      <a:close/>
                      <a:moveTo>
                        <a:pt x="359" y="362"/>
                      </a:moveTo>
                      <a:lnTo>
                        <a:pt x="359" y="357"/>
                      </a:lnTo>
                      <a:lnTo>
                        <a:pt x="366" y="362"/>
                      </a:lnTo>
                      <a:lnTo>
                        <a:pt x="359" y="362"/>
                      </a:lnTo>
                      <a:lnTo>
                        <a:pt x="359" y="362"/>
                      </a:lnTo>
                      <a:lnTo>
                        <a:pt x="359" y="362"/>
                      </a:lnTo>
                      <a:close/>
                      <a:moveTo>
                        <a:pt x="397" y="362"/>
                      </a:moveTo>
                      <a:lnTo>
                        <a:pt x="387" y="357"/>
                      </a:lnTo>
                      <a:lnTo>
                        <a:pt x="397" y="357"/>
                      </a:lnTo>
                      <a:lnTo>
                        <a:pt x="397" y="362"/>
                      </a:lnTo>
                      <a:lnTo>
                        <a:pt x="397" y="362"/>
                      </a:lnTo>
                      <a:lnTo>
                        <a:pt x="397" y="362"/>
                      </a:lnTo>
                      <a:close/>
                      <a:moveTo>
                        <a:pt x="328" y="357"/>
                      </a:moveTo>
                      <a:lnTo>
                        <a:pt x="333" y="362"/>
                      </a:lnTo>
                      <a:lnTo>
                        <a:pt x="328" y="374"/>
                      </a:lnTo>
                      <a:lnTo>
                        <a:pt x="328" y="357"/>
                      </a:lnTo>
                      <a:lnTo>
                        <a:pt x="328" y="357"/>
                      </a:lnTo>
                      <a:lnTo>
                        <a:pt x="328" y="357"/>
                      </a:lnTo>
                      <a:close/>
                      <a:moveTo>
                        <a:pt x="333" y="390"/>
                      </a:moveTo>
                      <a:lnTo>
                        <a:pt x="328" y="390"/>
                      </a:lnTo>
                      <a:lnTo>
                        <a:pt x="328" y="378"/>
                      </a:lnTo>
                      <a:lnTo>
                        <a:pt x="333" y="378"/>
                      </a:lnTo>
                      <a:lnTo>
                        <a:pt x="333" y="390"/>
                      </a:lnTo>
                      <a:lnTo>
                        <a:pt x="333" y="390"/>
                      </a:lnTo>
                      <a:lnTo>
                        <a:pt x="333" y="390"/>
                      </a:lnTo>
                      <a:close/>
                      <a:moveTo>
                        <a:pt x="397" y="402"/>
                      </a:moveTo>
                      <a:lnTo>
                        <a:pt x="387" y="390"/>
                      </a:lnTo>
                      <a:lnTo>
                        <a:pt x="404" y="378"/>
                      </a:lnTo>
                      <a:lnTo>
                        <a:pt x="413" y="395"/>
                      </a:lnTo>
                      <a:lnTo>
                        <a:pt x="397" y="402"/>
                      </a:lnTo>
                      <a:lnTo>
                        <a:pt x="397" y="402"/>
                      </a:lnTo>
                      <a:lnTo>
                        <a:pt x="397" y="402"/>
                      </a:lnTo>
                      <a:close/>
                      <a:moveTo>
                        <a:pt x="383" y="395"/>
                      </a:moveTo>
                      <a:lnTo>
                        <a:pt x="376" y="395"/>
                      </a:lnTo>
                      <a:lnTo>
                        <a:pt x="387" y="390"/>
                      </a:lnTo>
                      <a:lnTo>
                        <a:pt x="383" y="395"/>
                      </a:lnTo>
                      <a:lnTo>
                        <a:pt x="383" y="395"/>
                      </a:lnTo>
                      <a:lnTo>
                        <a:pt x="383" y="395"/>
                      </a:lnTo>
                      <a:close/>
                      <a:moveTo>
                        <a:pt x="506" y="402"/>
                      </a:moveTo>
                      <a:lnTo>
                        <a:pt x="494" y="390"/>
                      </a:lnTo>
                      <a:lnTo>
                        <a:pt x="510" y="395"/>
                      </a:lnTo>
                      <a:lnTo>
                        <a:pt x="506" y="402"/>
                      </a:lnTo>
                      <a:lnTo>
                        <a:pt x="506" y="402"/>
                      </a:lnTo>
                      <a:lnTo>
                        <a:pt x="506" y="402"/>
                      </a:lnTo>
                      <a:close/>
                      <a:moveTo>
                        <a:pt x="350" y="402"/>
                      </a:moveTo>
                      <a:lnTo>
                        <a:pt x="345" y="395"/>
                      </a:lnTo>
                      <a:lnTo>
                        <a:pt x="350" y="402"/>
                      </a:lnTo>
                      <a:lnTo>
                        <a:pt x="350" y="402"/>
                      </a:lnTo>
                      <a:lnTo>
                        <a:pt x="350" y="402"/>
                      </a:lnTo>
                      <a:lnTo>
                        <a:pt x="350" y="402"/>
                      </a:lnTo>
                      <a:close/>
                      <a:moveTo>
                        <a:pt x="376" y="402"/>
                      </a:moveTo>
                      <a:lnTo>
                        <a:pt x="366" y="395"/>
                      </a:lnTo>
                      <a:lnTo>
                        <a:pt x="376" y="395"/>
                      </a:lnTo>
                      <a:lnTo>
                        <a:pt x="376" y="402"/>
                      </a:lnTo>
                      <a:lnTo>
                        <a:pt x="376" y="402"/>
                      </a:lnTo>
                      <a:lnTo>
                        <a:pt x="376" y="402"/>
                      </a:lnTo>
                      <a:close/>
                      <a:moveTo>
                        <a:pt x="506" y="428"/>
                      </a:moveTo>
                      <a:lnTo>
                        <a:pt x="506" y="418"/>
                      </a:lnTo>
                      <a:lnTo>
                        <a:pt x="510" y="411"/>
                      </a:lnTo>
                      <a:lnTo>
                        <a:pt x="539" y="411"/>
                      </a:lnTo>
                      <a:lnTo>
                        <a:pt x="506" y="418"/>
                      </a:lnTo>
                      <a:lnTo>
                        <a:pt x="506" y="428"/>
                      </a:lnTo>
                      <a:lnTo>
                        <a:pt x="506" y="428"/>
                      </a:lnTo>
                      <a:lnTo>
                        <a:pt x="506" y="428"/>
                      </a:lnTo>
                      <a:close/>
                      <a:moveTo>
                        <a:pt x="430" y="418"/>
                      </a:moveTo>
                      <a:lnTo>
                        <a:pt x="421" y="411"/>
                      </a:lnTo>
                      <a:lnTo>
                        <a:pt x="435" y="411"/>
                      </a:lnTo>
                      <a:lnTo>
                        <a:pt x="430" y="418"/>
                      </a:lnTo>
                      <a:lnTo>
                        <a:pt x="430" y="418"/>
                      </a:lnTo>
                      <a:lnTo>
                        <a:pt x="430" y="418"/>
                      </a:lnTo>
                      <a:close/>
                      <a:moveTo>
                        <a:pt x="397" y="428"/>
                      </a:moveTo>
                      <a:lnTo>
                        <a:pt x="387" y="411"/>
                      </a:lnTo>
                      <a:lnTo>
                        <a:pt x="397" y="418"/>
                      </a:lnTo>
                      <a:lnTo>
                        <a:pt x="397" y="428"/>
                      </a:lnTo>
                      <a:lnTo>
                        <a:pt x="397" y="428"/>
                      </a:lnTo>
                      <a:lnTo>
                        <a:pt x="397" y="428"/>
                      </a:lnTo>
                      <a:close/>
                      <a:moveTo>
                        <a:pt x="324" y="428"/>
                      </a:moveTo>
                      <a:lnTo>
                        <a:pt x="324" y="418"/>
                      </a:lnTo>
                      <a:lnTo>
                        <a:pt x="333" y="418"/>
                      </a:lnTo>
                      <a:lnTo>
                        <a:pt x="333" y="428"/>
                      </a:lnTo>
                      <a:lnTo>
                        <a:pt x="324" y="428"/>
                      </a:lnTo>
                      <a:lnTo>
                        <a:pt x="324" y="428"/>
                      </a:lnTo>
                      <a:lnTo>
                        <a:pt x="324" y="428"/>
                      </a:lnTo>
                      <a:close/>
                      <a:moveTo>
                        <a:pt x="565" y="435"/>
                      </a:moveTo>
                      <a:lnTo>
                        <a:pt x="560" y="435"/>
                      </a:lnTo>
                      <a:lnTo>
                        <a:pt x="565" y="428"/>
                      </a:lnTo>
                      <a:lnTo>
                        <a:pt x="565" y="435"/>
                      </a:lnTo>
                      <a:lnTo>
                        <a:pt x="565" y="435"/>
                      </a:lnTo>
                      <a:lnTo>
                        <a:pt x="565" y="435"/>
                      </a:lnTo>
                      <a:close/>
                      <a:moveTo>
                        <a:pt x="473" y="435"/>
                      </a:moveTo>
                      <a:lnTo>
                        <a:pt x="458" y="435"/>
                      </a:lnTo>
                      <a:lnTo>
                        <a:pt x="458" y="435"/>
                      </a:lnTo>
                      <a:lnTo>
                        <a:pt x="468" y="428"/>
                      </a:lnTo>
                      <a:lnTo>
                        <a:pt x="473" y="435"/>
                      </a:lnTo>
                      <a:lnTo>
                        <a:pt x="473" y="435"/>
                      </a:lnTo>
                      <a:lnTo>
                        <a:pt x="473" y="435"/>
                      </a:lnTo>
                      <a:close/>
                      <a:moveTo>
                        <a:pt x="397" y="452"/>
                      </a:moveTo>
                      <a:lnTo>
                        <a:pt x="397" y="444"/>
                      </a:lnTo>
                      <a:lnTo>
                        <a:pt x="404" y="444"/>
                      </a:lnTo>
                      <a:lnTo>
                        <a:pt x="397" y="452"/>
                      </a:lnTo>
                      <a:lnTo>
                        <a:pt x="397" y="452"/>
                      </a:lnTo>
                      <a:lnTo>
                        <a:pt x="397" y="452"/>
                      </a:lnTo>
                      <a:close/>
                      <a:moveTo>
                        <a:pt x="539" y="452"/>
                      </a:moveTo>
                      <a:lnTo>
                        <a:pt x="527" y="444"/>
                      </a:lnTo>
                      <a:lnTo>
                        <a:pt x="543" y="444"/>
                      </a:lnTo>
                      <a:lnTo>
                        <a:pt x="539" y="452"/>
                      </a:lnTo>
                      <a:lnTo>
                        <a:pt x="539" y="452"/>
                      </a:lnTo>
                      <a:lnTo>
                        <a:pt x="539" y="452"/>
                      </a:lnTo>
                      <a:close/>
                      <a:moveTo>
                        <a:pt x="591" y="444"/>
                      </a:moveTo>
                      <a:lnTo>
                        <a:pt x="581" y="468"/>
                      </a:lnTo>
                      <a:lnTo>
                        <a:pt x="565" y="485"/>
                      </a:lnTo>
                      <a:lnTo>
                        <a:pt x="560" y="489"/>
                      </a:lnTo>
                      <a:lnTo>
                        <a:pt x="560" y="468"/>
                      </a:lnTo>
                      <a:lnTo>
                        <a:pt x="565" y="456"/>
                      </a:lnTo>
                      <a:lnTo>
                        <a:pt x="591" y="444"/>
                      </a:lnTo>
                      <a:lnTo>
                        <a:pt x="591" y="444"/>
                      </a:lnTo>
                      <a:lnTo>
                        <a:pt x="591" y="444"/>
                      </a:lnTo>
                      <a:close/>
                      <a:moveTo>
                        <a:pt x="421" y="452"/>
                      </a:moveTo>
                      <a:lnTo>
                        <a:pt x="421" y="444"/>
                      </a:lnTo>
                      <a:lnTo>
                        <a:pt x="430" y="452"/>
                      </a:lnTo>
                      <a:lnTo>
                        <a:pt x="421" y="452"/>
                      </a:lnTo>
                      <a:lnTo>
                        <a:pt x="421" y="452"/>
                      </a:lnTo>
                      <a:lnTo>
                        <a:pt x="421" y="452"/>
                      </a:lnTo>
                      <a:close/>
                      <a:moveTo>
                        <a:pt x="227" y="452"/>
                      </a:moveTo>
                      <a:lnTo>
                        <a:pt x="236" y="456"/>
                      </a:lnTo>
                      <a:lnTo>
                        <a:pt x="236" y="468"/>
                      </a:lnTo>
                      <a:lnTo>
                        <a:pt x="220" y="468"/>
                      </a:lnTo>
                      <a:lnTo>
                        <a:pt x="227" y="452"/>
                      </a:lnTo>
                      <a:lnTo>
                        <a:pt x="227" y="452"/>
                      </a:lnTo>
                      <a:lnTo>
                        <a:pt x="227" y="452"/>
                      </a:lnTo>
                      <a:close/>
                      <a:moveTo>
                        <a:pt x="522" y="529"/>
                      </a:moveTo>
                      <a:lnTo>
                        <a:pt x="510" y="513"/>
                      </a:lnTo>
                      <a:lnTo>
                        <a:pt x="527" y="489"/>
                      </a:lnTo>
                      <a:lnTo>
                        <a:pt x="522" y="529"/>
                      </a:lnTo>
                      <a:lnTo>
                        <a:pt x="522" y="529"/>
                      </a:lnTo>
                      <a:lnTo>
                        <a:pt x="522" y="529"/>
                      </a:lnTo>
                      <a:close/>
                      <a:moveTo>
                        <a:pt x="274" y="546"/>
                      </a:moveTo>
                      <a:lnTo>
                        <a:pt x="269" y="539"/>
                      </a:lnTo>
                      <a:lnTo>
                        <a:pt x="269" y="513"/>
                      </a:lnTo>
                      <a:lnTo>
                        <a:pt x="279" y="522"/>
                      </a:lnTo>
                      <a:lnTo>
                        <a:pt x="279" y="506"/>
                      </a:lnTo>
                      <a:lnTo>
                        <a:pt x="291" y="522"/>
                      </a:lnTo>
                      <a:lnTo>
                        <a:pt x="312" y="513"/>
                      </a:lnTo>
                      <a:lnTo>
                        <a:pt x="307" y="522"/>
                      </a:lnTo>
                      <a:lnTo>
                        <a:pt x="324" y="529"/>
                      </a:lnTo>
                      <a:lnTo>
                        <a:pt x="350" y="529"/>
                      </a:lnTo>
                      <a:lnTo>
                        <a:pt x="397" y="539"/>
                      </a:lnTo>
                      <a:lnTo>
                        <a:pt x="421" y="539"/>
                      </a:lnTo>
                      <a:lnTo>
                        <a:pt x="421" y="546"/>
                      </a:lnTo>
                      <a:lnTo>
                        <a:pt x="430" y="555"/>
                      </a:lnTo>
                      <a:lnTo>
                        <a:pt x="458" y="539"/>
                      </a:lnTo>
                      <a:lnTo>
                        <a:pt x="458" y="555"/>
                      </a:lnTo>
                      <a:lnTo>
                        <a:pt x="442" y="563"/>
                      </a:lnTo>
                      <a:lnTo>
                        <a:pt x="366" y="567"/>
                      </a:lnTo>
                      <a:lnTo>
                        <a:pt x="350" y="567"/>
                      </a:lnTo>
                      <a:lnTo>
                        <a:pt x="350" y="555"/>
                      </a:lnTo>
                      <a:lnTo>
                        <a:pt x="328" y="546"/>
                      </a:lnTo>
                      <a:lnTo>
                        <a:pt x="274" y="546"/>
                      </a:lnTo>
                      <a:lnTo>
                        <a:pt x="274" y="546"/>
                      </a:lnTo>
                      <a:lnTo>
                        <a:pt x="274" y="546"/>
                      </a:lnTo>
                      <a:close/>
                      <a:moveTo>
                        <a:pt x="494" y="529"/>
                      </a:moveTo>
                      <a:lnTo>
                        <a:pt x="506" y="529"/>
                      </a:lnTo>
                      <a:lnTo>
                        <a:pt x="510" y="522"/>
                      </a:lnTo>
                      <a:lnTo>
                        <a:pt x="494" y="529"/>
                      </a:lnTo>
                      <a:lnTo>
                        <a:pt x="494" y="529"/>
                      </a:lnTo>
                      <a:lnTo>
                        <a:pt x="494" y="529"/>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29" name="Freeform 464">
                  <a:extLst>
                    <a:ext uri="{FF2B5EF4-FFF2-40B4-BE49-F238E27FC236}">
                      <a16:creationId xmlns:a16="http://schemas.microsoft.com/office/drawing/2014/main" id="{071EB0C0-6CA2-4E71-8E91-BB8CD5F253B3}"/>
                    </a:ext>
                  </a:extLst>
                </p:cNvPr>
                <p:cNvSpPr>
                  <a:spLocks noEditPoints="1"/>
                </p:cNvSpPr>
                <p:nvPr/>
              </p:nvSpPr>
              <p:spPr bwMode="gray">
                <a:xfrm>
                  <a:off x="7115264" y="2574650"/>
                  <a:ext cx="174136" cy="149864"/>
                </a:xfrm>
                <a:custGeom>
                  <a:avLst/>
                  <a:gdLst>
                    <a:gd name="T0" fmla="*/ 82 w 423"/>
                    <a:gd name="T1" fmla="*/ 83 h 364"/>
                    <a:gd name="T2" fmla="*/ 125 w 423"/>
                    <a:gd name="T3" fmla="*/ 95 h 364"/>
                    <a:gd name="T4" fmla="*/ 125 w 423"/>
                    <a:gd name="T5" fmla="*/ 71 h 364"/>
                    <a:gd name="T6" fmla="*/ 151 w 423"/>
                    <a:gd name="T7" fmla="*/ 38 h 364"/>
                    <a:gd name="T8" fmla="*/ 196 w 423"/>
                    <a:gd name="T9" fmla="*/ 0 h 364"/>
                    <a:gd name="T10" fmla="*/ 264 w 423"/>
                    <a:gd name="T11" fmla="*/ 54 h 364"/>
                    <a:gd name="T12" fmla="*/ 340 w 423"/>
                    <a:gd name="T13" fmla="*/ 71 h 364"/>
                    <a:gd name="T14" fmla="*/ 378 w 423"/>
                    <a:gd name="T15" fmla="*/ 88 h 364"/>
                    <a:gd name="T16" fmla="*/ 389 w 423"/>
                    <a:gd name="T17" fmla="*/ 104 h 364"/>
                    <a:gd name="T18" fmla="*/ 389 w 423"/>
                    <a:gd name="T19" fmla="*/ 149 h 364"/>
                    <a:gd name="T20" fmla="*/ 356 w 423"/>
                    <a:gd name="T21" fmla="*/ 137 h 364"/>
                    <a:gd name="T22" fmla="*/ 260 w 423"/>
                    <a:gd name="T23" fmla="*/ 128 h 364"/>
                    <a:gd name="T24" fmla="*/ 212 w 423"/>
                    <a:gd name="T25" fmla="*/ 121 h 364"/>
                    <a:gd name="T26" fmla="*/ 163 w 423"/>
                    <a:gd name="T27" fmla="*/ 128 h 364"/>
                    <a:gd name="T28" fmla="*/ 189 w 423"/>
                    <a:gd name="T29" fmla="*/ 199 h 364"/>
                    <a:gd name="T30" fmla="*/ 243 w 423"/>
                    <a:gd name="T31" fmla="*/ 260 h 364"/>
                    <a:gd name="T32" fmla="*/ 286 w 423"/>
                    <a:gd name="T33" fmla="*/ 310 h 364"/>
                    <a:gd name="T34" fmla="*/ 243 w 423"/>
                    <a:gd name="T35" fmla="*/ 276 h 364"/>
                    <a:gd name="T36" fmla="*/ 175 w 423"/>
                    <a:gd name="T37" fmla="*/ 253 h 364"/>
                    <a:gd name="T38" fmla="*/ 108 w 423"/>
                    <a:gd name="T39" fmla="*/ 203 h 364"/>
                    <a:gd name="T40" fmla="*/ 141 w 423"/>
                    <a:gd name="T41" fmla="*/ 203 h 364"/>
                    <a:gd name="T42" fmla="*/ 104 w 423"/>
                    <a:gd name="T43" fmla="*/ 144 h 364"/>
                    <a:gd name="T44" fmla="*/ 54 w 423"/>
                    <a:gd name="T45" fmla="*/ 111 h 364"/>
                    <a:gd name="T46" fmla="*/ 12 w 423"/>
                    <a:gd name="T47" fmla="*/ 128 h 364"/>
                    <a:gd name="T48" fmla="*/ 12 w 423"/>
                    <a:gd name="T49" fmla="*/ 95 h 364"/>
                    <a:gd name="T50" fmla="*/ 66 w 423"/>
                    <a:gd name="T51" fmla="*/ 137 h 364"/>
                    <a:gd name="T52" fmla="*/ 87 w 423"/>
                    <a:gd name="T53" fmla="*/ 144 h 364"/>
                    <a:gd name="T54" fmla="*/ 71 w 423"/>
                    <a:gd name="T55" fmla="*/ 177 h 364"/>
                    <a:gd name="T56" fmla="*/ 54 w 423"/>
                    <a:gd name="T57" fmla="*/ 128 h 364"/>
                    <a:gd name="T58" fmla="*/ 71 w 423"/>
                    <a:gd name="T59" fmla="*/ 177 h 364"/>
                    <a:gd name="T60" fmla="*/ 87 w 423"/>
                    <a:gd name="T61" fmla="*/ 165 h 364"/>
                    <a:gd name="T62" fmla="*/ 87 w 423"/>
                    <a:gd name="T63" fmla="*/ 165 h 364"/>
                    <a:gd name="T64" fmla="*/ 120 w 423"/>
                    <a:gd name="T65" fmla="*/ 236 h 364"/>
                    <a:gd name="T66" fmla="*/ 120 w 423"/>
                    <a:gd name="T67" fmla="*/ 236 h 364"/>
                    <a:gd name="T68" fmla="*/ 226 w 423"/>
                    <a:gd name="T69" fmla="*/ 293 h 364"/>
                    <a:gd name="T70" fmla="*/ 243 w 423"/>
                    <a:gd name="T71" fmla="*/ 288 h 364"/>
                    <a:gd name="T72" fmla="*/ 226 w 423"/>
                    <a:gd name="T73" fmla="*/ 293 h 364"/>
                    <a:gd name="T74" fmla="*/ 260 w 423"/>
                    <a:gd name="T75" fmla="*/ 305 h 364"/>
                    <a:gd name="T76" fmla="*/ 248 w 423"/>
                    <a:gd name="T77" fmla="*/ 310 h 364"/>
                    <a:gd name="T78" fmla="*/ 196 w 423"/>
                    <a:gd name="T79" fmla="*/ 310 h 364"/>
                    <a:gd name="T80" fmla="*/ 179 w 423"/>
                    <a:gd name="T81" fmla="*/ 314 h 364"/>
                    <a:gd name="T82" fmla="*/ 352 w 423"/>
                    <a:gd name="T83" fmla="*/ 359 h 364"/>
                    <a:gd name="T84" fmla="*/ 314 w 423"/>
                    <a:gd name="T85" fmla="*/ 331 h 364"/>
                    <a:gd name="T86" fmla="*/ 286 w 423"/>
                    <a:gd name="T87" fmla="*/ 326 h 364"/>
                    <a:gd name="T88" fmla="*/ 217 w 423"/>
                    <a:gd name="T89" fmla="*/ 314 h 364"/>
                    <a:gd name="T90" fmla="*/ 234 w 423"/>
                    <a:gd name="T91" fmla="*/ 326 h 364"/>
                    <a:gd name="T92" fmla="*/ 234 w 423"/>
                    <a:gd name="T93" fmla="*/ 331 h 364"/>
                    <a:gd name="T94" fmla="*/ 243 w 423"/>
                    <a:gd name="T95" fmla="*/ 343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3" h="364">
                      <a:moveTo>
                        <a:pt x="12" y="95"/>
                      </a:moveTo>
                      <a:lnTo>
                        <a:pt x="66" y="95"/>
                      </a:lnTo>
                      <a:lnTo>
                        <a:pt x="82" y="83"/>
                      </a:lnTo>
                      <a:lnTo>
                        <a:pt x="99" y="95"/>
                      </a:lnTo>
                      <a:lnTo>
                        <a:pt x="120" y="104"/>
                      </a:lnTo>
                      <a:lnTo>
                        <a:pt x="125" y="95"/>
                      </a:lnTo>
                      <a:lnTo>
                        <a:pt x="137" y="83"/>
                      </a:lnTo>
                      <a:lnTo>
                        <a:pt x="125" y="83"/>
                      </a:lnTo>
                      <a:lnTo>
                        <a:pt x="125" y="71"/>
                      </a:lnTo>
                      <a:lnTo>
                        <a:pt x="158" y="66"/>
                      </a:lnTo>
                      <a:lnTo>
                        <a:pt x="158" y="50"/>
                      </a:lnTo>
                      <a:lnTo>
                        <a:pt x="151" y="38"/>
                      </a:lnTo>
                      <a:lnTo>
                        <a:pt x="151" y="33"/>
                      </a:lnTo>
                      <a:lnTo>
                        <a:pt x="196" y="17"/>
                      </a:lnTo>
                      <a:lnTo>
                        <a:pt x="196" y="0"/>
                      </a:lnTo>
                      <a:lnTo>
                        <a:pt x="217" y="12"/>
                      </a:lnTo>
                      <a:lnTo>
                        <a:pt x="260" y="33"/>
                      </a:lnTo>
                      <a:lnTo>
                        <a:pt x="264" y="54"/>
                      </a:lnTo>
                      <a:lnTo>
                        <a:pt x="286" y="54"/>
                      </a:lnTo>
                      <a:lnTo>
                        <a:pt x="297" y="66"/>
                      </a:lnTo>
                      <a:lnTo>
                        <a:pt x="340" y="71"/>
                      </a:lnTo>
                      <a:lnTo>
                        <a:pt x="373" y="54"/>
                      </a:lnTo>
                      <a:lnTo>
                        <a:pt x="378" y="71"/>
                      </a:lnTo>
                      <a:lnTo>
                        <a:pt x="378" y="88"/>
                      </a:lnTo>
                      <a:lnTo>
                        <a:pt x="394" y="95"/>
                      </a:lnTo>
                      <a:lnTo>
                        <a:pt x="389" y="95"/>
                      </a:lnTo>
                      <a:lnTo>
                        <a:pt x="389" y="104"/>
                      </a:lnTo>
                      <a:lnTo>
                        <a:pt x="423" y="121"/>
                      </a:lnTo>
                      <a:lnTo>
                        <a:pt x="394" y="121"/>
                      </a:lnTo>
                      <a:lnTo>
                        <a:pt x="389" y="149"/>
                      </a:lnTo>
                      <a:lnTo>
                        <a:pt x="373" y="149"/>
                      </a:lnTo>
                      <a:lnTo>
                        <a:pt x="373" y="144"/>
                      </a:lnTo>
                      <a:lnTo>
                        <a:pt x="356" y="137"/>
                      </a:lnTo>
                      <a:lnTo>
                        <a:pt x="335" y="128"/>
                      </a:lnTo>
                      <a:lnTo>
                        <a:pt x="302" y="137"/>
                      </a:lnTo>
                      <a:lnTo>
                        <a:pt x="260" y="128"/>
                      </a:lnTo>
                      <a:lnTo>
                        <a:pt x="243" y="121"/>
                      </a:lnTo>
                      <a:lnTo>
                        <a:pt x="234" y="121"/>
                      </a:lnTo>
                      <a:lnTo>
                        <a:pt x="212" y="121"/>
                      </a:lnTo>
                      <a:lnTo>
                        <a:pt x="196" y="144"/>
                      </a:lnTo>
                      <a:lnTo>
                        <a:pt x="179" y="121"/>
                      </a:lnTo>
                      <a:lnTo>
                        <a:pt x="163" y="128"/>
                      </a:lnTo>
                      <a:lnTo>
                        <a:pt x="158" y="161"/>
                      </a:lnTo>
                      <a:lnTo>
                        <a:pt x="189" y="182"/>
                      </a:lnTo>
                      <a:lnTo>
                        <a:pt x="189" y="199"/>
                      </a:lnTo>
                      <a:lnTo>
                        <a:pt x="189" y="215"/>
                      </a:lnTo>
                      <a:lnTo>
                        <a:pt x="212" y="232"/>
                      </a:lnTo>
                      <a:lnTo>
                        <a:pt x="243" y="260"/>
                      </a:lnTo>
                      <a:lnTo>
                        <a:pt x="264" y="276"/>
                      </a:lnTo>
                      <a:lnTo>
                        <a:pt x="264" y="293"/>
                      </a:lnTo>
                      <a:lnTo>
                        <a:pt x="286" y="310"/>
                      </a:lnTo>
                      <a:lnTo>
                        <a:pt x="297" y="314"/>
                      </a:lnTo>
                      <a:lnTo>
                        <a:pt x="286" y="314"/>
                      </a:lnTo>
                      <a:lnTo>
                        <a:pt x="243" y="276"/>
                      </a:lnTo>
                      <a:lnTo>
                        <a:pt x="205" y="272"/>
                      </a:lnTo>
                      <a:lnTo>
                        <a:pt x="175" y="272"/>
                      </a:lnTo>
                      <a:lnTo>
                        <a:pt x="175" y="253"/>
                      </a:lnTo>
                      <a:lnTo>
                        <a:pt x="137" y="236"/>
                      </a:lnTo>
                      <a:lnTo>
                        <a:pt x="120" y="215"/>
                      </a:lnTo>
                      <a:lnTo>
                        <a:pt x="108" y="203"/>
                      </a:lnTo>
                      <a:lnTo>
                        <a:pt x="125" y="203"/>
                      </a:lnTo>
                      <a:lnTo>
                        <a:pt x="125" y="199"/>
                      </a:lnTo>
                      <a:lnTo>
                        <a:pt x="141" y="203"/>
                      </a:lnTo>
                      <a:lnTo>
                        <a:pt x="104" y="177"/>
                      </a:lnTo>
                      <a:lnTo>
                        <a:pt x="99" y="165"/>
                      </a:lnTo>
                      <a:lnTo>
                        <a:pt x="104" y="144"/>
                      </a:lnTo>
                      <a:lnTo>
                        <a:pt x="99" y="128"/>
                      </a:lnTo>
                      <a:lnTo>
                        <a:pt x="71" y="111"/>
                      </a:lnTo>
                      <a:lnTo>
                        <a:pt x="54" y="111"/>
                      </a:lnTo>
                      <a:lnTo>
                        <a:pt x="49" y="144"/>
                      </a:lnTo>
                      <a:lnTo>
                        <a:pt x="28" y="161"/>
                      </a:lnTo>
                      <a:lnTo>
                        <a:pt x="12" y="128"/>
                      </a:lnTo>
                      <a:lnTo>
                        <a:pt x="0" y="95"/>
                      </a:lnTo>
                      <a:lnTo>
                        <a:pt x="12" y="95"/>
                      </a:lnTo>
                      <a:lnTo>
                        <a:pt x="12" y="95"/>
                      </a:lnTo>
                      <a:lnTo>
                        <a:pt x="12" y="95"/>
                      </a:lnTo>
                      <a:close/>
                      <a:moveTo>
                        <a:pt x="87" y="144"/>
                      </a:moveTo>
                      <a:lnTo>
                        <a:pt x="66" y="137"/>
                      </a:lnTo>
                      <a:lnTo>
                        <a:pt x="71" y="121"/>
                      </a:lnTo>
                      <a:lnTo>
                        <a:pt x="99" y="144"/>
                      </a:lnTo>
                      <a:lnTo>
                        <a:pt x="87" y="144"/>
                      </a:lnTo>
                      <a:lnTo>
                        <a:pt x="87" y="144"/>
                      </a:lnTo>
                      <a:lnTo>
                        <a:pt x="87" y="144"/>
                      </a:lnTo>
                      <a:close/>
                      <a:moveTo>
                        <a:pt x="71" y="177"/>
                      </a:moveTo>
                      <a:lnTo>
                        <a:pt x="54" y="149"/>
                      </a:lnTo>
                      <a:lnTo>
                        <a:pt x="66" y="149"/>
                      </a:lnTo>
                      <a:lnTo>
                        <a:pt x="54" y="128"/>
                      </a:lnTo>
                      <a:lnTo>
                        <a:pt x="54" y="128"/>
                      </a:lnTo>
                      <a:lnTo>
                        <a:pt x="71" y="144"/>
                      </a:lnTo>
                      <a:lnTo>
                        <a:pt x="71" y="177"/>
                      </a:lnTo>
                      <a:lnTo>
                        <a:pt x="71" y="177"/>
                      </a:lnTo>
                      <a:lnTo>
                        <a:pt x="71" y="177"/>
                      </a:lnTo>
                      <a:close/>
                      <a:moveTo>
                        <a:pt x="87" y="165"/>
                      </a:moveTo>
                      <a:lnTo>
                        <a:pt x="125" y="199"/>
                      </a:lnTo>
                      <a:lnTo>
                        <a:pt x="108" y="199"/>
                      </a:lnTo>
                      <a:lnTo>
                        <a:pt x="87" y="165"/>
                      </a:lnTo>
                      <a:lnTo>
                        <a:pt x="87" y="165"/>
                      </a:lnTo>
                      <a:lnTo>
                        <a:pt x="87" y="165"/>
                      </a:lnTo>
                      <a:close/>
                      <a:moveTo>
                        <a:pt x="120" y="236"/>
                      </a:moveTo>
                      <a:lnTo>
                        <a:pt x="99" y="215"/>
                      </a:lnTo>
                      <a:lnTo>
                        <a:pt x="108" y="220"/>
                      </a:lnTo>
                      <a:lnTo>
                        <a:pt x="120" y="236"/>
                      </a:lnTo>
                      <a:lnTo>
                        <a:pt x="120" y="236"/>
                      </a:lnTo>
                      <a:lnTo>
                        <a:pt x="120" y="236"/>
                      </a:lnTo>
                      <a:close/>
                      <a:moveTo>
                        <a:pt x="226" y="293"/>
                      </a:moveTo>
                      <a:lnTo>
                        <a:pt x="205" y="288"/>
                      </a:lnTo>
                      <a:lnTo>
                        <a:pt x="205" y="288"/>
                      </a:lnTo>
                      <a:lnTo>
                        <a:pt x="243" y="288"/>
                      </a:lnTo>
                      <a:lnTo>
                        <a:pt x="226" y="293"/>
                      </a:lnTo>
                      <a:lnTo>
                        <a:pt x="226" y="293"/>
                      </a:lnTo>
                      <a:lnTo>
                        <a:pt x="226" y="293"/>
                      </a:lnTo>
                      <a:close/>
                      <a:moveTo>
                        <a:pt x="248" y="310"/>
                      </a:moveTo>
                      <a:lnTo>
                        <a:pt x="205" y="305"/>
                      </a:lnTo>
                      <a:lnTo>
                        <a:pt x="260" y="305"/>
                      </a:lnTo>
                      <a:lnTo>
                        <a:pt x="248" y="310"/>
                      </a:lnTo>
                      <a:lnTo>
                        <a:pt x="248" y="310"/>
                      </a:lnTo>
                      <a:lnTo>
                        <a:pt x="248" y="310"/>
                      </a:lnTo>
                      <a:close/>
                      <a:moveTo>
                        <a:pt x="179" y="314"/>
                      </a:moveTo>
                      <a:lnTo>
                        <a:pt x="179" y="310"/>
                      </a:lnTo>
                      <a:lnTo>
                        <a:pt x="196" y="310"/>
                      </a:lnTo>
                      <a:lnTo>
                        <a:pt x="179" y="314"/>
                      </a:lnTo>
                      <a:lnTo>
                        <a:pt x="179" y="314"/>
                      </a:lnTo>
                      <a:lnTo>
                        <a:pt x="179" y="314"/>
                      </a:lnTo>
                      <a:close/>
                      <a:moveTo>
                        <a:pt x="286" y="326"/>
                      </a:moveTo>
                      <a:lnTo>
                        <a:pt x="302" y="326"/>
                      </a:lnTo>
                      <a:lnTo>
                        <a:pt x="352" y="359"/>
                      </a:lnTo>
                      <a:lnTo>
                        <a:pt x="352" y="364"/>
                      </a:lnTo>
                      <a:lnTo>
                        <a:pt x="352" y="364"/>
                      </a:lnTo>
                      <a:lnTo>
                        <a:pt x="314" y="331"/>
                      </a:lnTo>
                      <a:lnTo>
                        <a:pt x="248" y="310"/>
                      </a:lnTo>
                      <a:lnTo>
                        <a:pt x="286" y="326"/>
                      </a:lnTo>
                      <a:lnTo>
                        <a:pt x="286" y="326"/>
                      </a:lnTo>
                      <a:lnTo>
                        <a:pt x="286" y="326"/>
                      </a:lnTo>
                      <a:close/>
                      <a:moveTo>
                        <a:pt x="234" y="326"/>
                      </a:moveTo>
                      <a:lnTo>
                        <a:pt x="217" y="314"/>
                      </a:lnTo>
                      <a:lnTo>
                        <a:pt x="260" y="326"/>
                      </a:lnTo>
                      <a:lnTo>
                        <a:pt x="234" y="326"/>
                      </a:lnTo>
                      <a:lnTo>
                        <a:pt x="234" y="326"/>
                      </a:lnTo>
                      <a:lnTo>
                        <a:pt x="234" y="326"/>
                      </a:lnTo>
                      <a:close/>
                      <a:moveTo>
                        <a:pt x="243" y="343"/>
                      </a:moveTo>
                      <a:lnTo>
                        <a:pt x="234" y="331"/>
                      </a:lnTo>
                      <a:lnTo>
                        <a:pt x="243" y="331"/>
                      </a:lnTo>
                      <a:lnTo>
                        <a:pt x="243" y="343"/>
                      </a:lnTo>
                      <a:lnTo>
                        <a:pt x="243" y="343"/>
                      </a:lnTo>
                      <a:lnTo>
                        <a:pt x="243" y="343"/>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0" name="Freeform 465">
                  <a:extLst>
                    <a:ext uri="{FF2B5EF4-FFF2-40B4-BE49-F238E27FC236}">
                      <a16:creationId xmlns:a16="http://schemas.microsoft.com/office/drawing/2014/main" id="{FD6BC6D9-92A1-490B-A995-1FED6CE4B99D}"/>
                    </a:ext>
                  </a:extLst>
                </p:cNvPr>
                <p:cNvSpPr>
                  <a:spLocks/>
                </p:cNvSpPr>
                <p:nvPr/>
              </p:nvSpPr>
              <p:spPr bwMode="gray">
                <a:xfrm>
                  <a:off x="7188130" y="2498894"/>
                  <a:ext cx="197190" cy="105811"/>
                </a:xfrm>
                <a:custGeom>
                  <a:avLst/>
                  <a:gdLst>
                    <a:gd name="T0" fmla="*/ 298 w 479"/>
                    <a:gd name="T1" fmla="*/ 224 h 257"/>
                    <a:gd name="T2" fmla="*/ 248 w 479"/>
                    <a:gd name="T3" fmla="*/ 217 h 257"/>
                    <a:gd name="T4" fmla="*/ 227 w 479"/>
                    <a:gd name="T5" fmla="*/ 234 h 257"/>
                    <a:gd name="T6" fmla="*/ 215 w 479"/>
                    <a:gd name="T7" fmla="*/ 234 h 257"/>
                    <a:gd name="T8" fmla="*/ 194 w 479"/>
                    <a:gd name="T9" fmla="*/ 241 h 257"/>
                    <a:gd name="T10" fmla="*/ 163 w 479"/>
                    <a:gd name="T11" fmla="*/ 257 h 257"/>
                    <a:gd name="T12" fmla="*/ 118 w 479"/>
                    <a:gd name="T13" fmla="*/ 250 h 257"/>
                    <a:gd name="T14" fmla="*/ 109 w 479"/>
                    <a:gd name="T15" fmla="*/ 241 h 257"/>
                    <a:gd name="T16" fmla="*/ 87 w 479"/>
                    <a:gd name="T17" fmla="*/ 241 h 257"/>
                    <a:gd name="T18" fmla="*/ 80 w 479"/>
                    <a:gd name="T19" fmla="*/ 217 h 257"/>
                    <a:gd name="T20" fmla="*/ 38 w 479"/>
                    <a:gd name="T21" fmla="*/ 196 h 257"/>
                    <a:gd name="T22" fmla="*/ 16 w 479"/>
                    <a:gd name="T23" fmla="*/ 168 h 257"/>
                    <a:gd name="T24" fmla="*/ 26 w 479"/>
                    <a:gd name="T25" fmla="*/ 160 h 257"/>
                    <a:gd name="T26" fmla="*/ 0 w 479"/>
                    <a:gd name="T27" fmla="*/ 156 h 257"/>
                    <a:gd name="T28" fmla="*/ 16 w 479"/>
                    <a:gd name="T29" fmla="*/ 144 h 257"/>
                    <a:gd name="T30" fmla="*/ 33 w 479"/>
                    <a:gd name="T31" fmla="*/ 144 h 257"/>
                    <a:gd name="T32" fmla="*/ 26 w 479"/>
                    <a:gd name="T33" fmla="*/ 123 h 257"/>
                    <a:gd name="T34" fmla="*/ 33 w 479"/>
                    <a:gd name="T35" fmla="*/ 123 h 257"/>
                    <a:gd name="T36" fmla="*/ 33 w 479"/>
                    <a:gd name="T37" fmla="*/ 106 h 257"/>
                    <a:gd name="T38" fmla="*/ 49 w 479"/>
                    <a:gd name="T39" fmla="*/ 99 h 257"/>
                    <a:gd name="T40" fmla="*/ 33 w 479"/>
                    <a:gd name="T41" fmla="*/ 83 h 257"/>
                    <a:gd name="T42" fmla="*/ 38 w 479"/>
                    <a:gd name="T43" fmla="*/ 73 h 257"/>
                    <a:gd name="T44" fmla="*/ 49 w 479"/>
                    <a:gd name="T45" fmla="*/ 83 h 257"/>
                    <a:gd name="T46" fmla="*/ 71 w 479"/>
                    <a:gd name="T47" fmla="*/ 83 h 257"/>
                    <a:gd name="T48" fmla="*/ 80 w 479"/>
                    <a:gd name="T49" fmla="*/ 49 h 257"/>
                    <a:gd name="T50" fmla="*/ 92 w 479"/>
                    <a:gd name="T51" fmla="*/ 49 h 257"/>
                    <a:gd name="T52" fmla="*/ 125 w 479"/>
                    <a:gd name="T53" fmla="*/ 73 h 257"/>
                    <a:gd name="T54" fmla="*/ 156 w 479"/>
                    <a:gd name="T55" fmla="*/ 73 h 257"/>
                    <a:gd name="T56" fmla="*/ 194 w 479"/>
                    <a:gd name="T57" fmla="*/ 66 h 257"/>
                    <a:gd name="T58" fmla="*/ 194 w 479"/>
                    <a:gd name="T59" fmla="*/ 54 h 257"/>
                    <a:gd name="T60" fmla="*/ 210 w 479"/>
                    <a:gd name="T61" fmla="*/ 49 h 257"/>
                    <a:gd name="T62" fmla="*/ 243 w 479"/>
                    <a:gd name="T63" fmla="*/ 45 h 257"/>
                    <a:gd name="T64" fmla="*/ 248 w 479"/>
                    <a:gd name="T65" fmla="*/ 33 h 257"/>
                    <a:gd name="T66" fmla="*/ 269 w 479"/>
                    <a:gd name="T67" fmla="*/ 45 h 257"/>
                    <a:gd name="T68" fmla="*/ 302 w 479"/>
                    <a:gd name="T69" fmla="*/ 28 h 257"/>
                    <a:gd name="T70" fmla="*/ 319 w 479"/>
                    <a:gd name="T71" fmla="*/ 0 h 257"/>
                    <a:gd name="T72" fmla="*/ 323 w 479"/>
                    <a:gd name="T73" fmla="*/ 0 h 257"/>
                    <a:gd name="T74" fmla="*/ 357 w 479"/>
                    <a:gd name="T75" fmla="*/ 0 h 257"/>
                    <a:gd name="T76" fmla="*/ 378 w 479"/>
                    <a:gd name="T77" fmla="*/ 0 h 257"/>
                    <a:gd name="T78" fmla="*/ 404 w 479"/>
                    <a:gd name="T79" fmla="*/ 16 h 257"/>
                    <a:gd name="T80" fmla="*/ 427 w 479"/>
                    <a:gd name="T81" fmla="*/ 16 h 257"/>
                    <a:gd name="T82" fmla="*/ 432 w 479"/>
                    <a:gd name="T83" fmla="*/ 16 h 257"/>
                    <a:gd name="T84" fmla="*/ 465 w 479"/>
                    <a:gd name="T85" fmla="*/ 45 h 257"/>
                    <a:gd name="T86" fmla="*/ 475 w 479"/>
                    <a:gd name="T87" fmla="*/ 45 h 257"/>
                    <a:gd name="T88" fmla="*/ 479 w 479"/>
                    <a:gd name="T89" fmla="*/ 54 h 257"/>
                    <a:gd name="T90" fmla="*/ 465 w 479"/>
                    <a:gd name="T91" fmla="*/ 73 h 257"/>
                    <a:gd name="T92" fmla="*/ 442 w 479"/>
                    <a:gd name="T93" fmla="*/ 83 h 257"/>
                    <a:gd name="T94" fmla="*/ 420 w 479"/>
                    <a:gd name="T95" fmla="*/ 99 h 257"/>
                    <a:gd name="T96" fmla="*/ 420 w 479"/>
                    <a:gd name="T97" fmla="*/ 111 h 257"/>
                    <a:gd name="T98" fmla="*/ 394 w 479"/>
                    <a:gd name="T99" fmla="*/ 144 h 257"/>
                    <a:gd name="T100" fmla="*/ 390 w 479"/>
                    <a:gd name="T101" fmla="*/ 168 h 257"/>
                    <a:gd name="T102" fmla="*/ 373 w 479"/>
                    <a:gd name="T103" fmla="*/ 179 h 257"/>
                    <a:gd name="T104" fmla="*/ 366 w 479"/>
                    <a:gd name="T105" fmla="*/ 212 h 257"/>
                    <a:gd name="T106" fmla="*/ 335 w 479"/>
                    <a:gd name="T107" fmla="*/ 212 h 257"/>
                    <a:gd name="T108" fmla="*/ 323 w 479"/>
                    <a:gd name="T109" fmla="*/ 224 h 257"/>
                    <a:gd name="T110" fmla="*/ 314 w 479"/>
                    <a:gd name="T111" fmla="*/ 217 h 257"/>
                    <a:gd name="T112" fmla="*/ 298 w 479"/>
                    <a:gd name="T113" fmla="*/ 224 h 257"/>
                    <a:gd name="T114" fmla="*/ 298 w 479"/>
                    <a:gd name="T115" fmla="*/ 224 h 257"/>
                    <a:gd name="T116" fmla="*/ 298 w 479"/>
                    <a:gd name="T117" fmla="*/ 224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9" h="257">
                      <a:moveTo>
                        <a:pt x="298" y="224"/>
                      </a:moveTo>
                      <a:lnTo>
                        <a:pt x="248" y="217"/>
                      </a:lnTo>
                      <a:lnTo>
                        <a:pt x="227" y="234"/>
                      </a:lnTo>
                      <a:lnTo>
                        <a:pt x="215" y="234"/>
                      </a:lnTo>
                      <a:lnTo>
                        <a:pt x="194" y="241"/>
                      </a:lnTo>
                      <a:lnTo>
                        <a:pt x="163" y="257"/>
                      </a:lnTo>
                      <a:lnTo>
                        <a:pt x="118" y="250"/>
                      </a:lnTo>
                      <a:lnTo>
                        <a:pt x="109" y="241"/>
                      </a:lnTo>
                      <a:lnTo>
                        <a:pt x="87" y="241"/>
                      </a:lnTo>
                      <a:lnTo>
                        <a:pt x="80" y="217"/>
                      </a:lnTo>
                      <a:lnTo>
                        <a:pt x="38" y="196"/>
                      </a:lnTo>
                      <a:lnTo>
                        <a:pt x="16" y="168"/>
                      </a:lnTo>
                      <a:lnTo>
                        <a:pt x="26" y="160"/>
                      </a:lnTo>
                      <a:lnTo>
                        <a:pt x="0" y="156"/>
                      </a:lnTo>
                      <a:lnTo>
                        <a:pt x="16" y="144"/>
                      </a:lnTo>
                      <a:lnTo>
                        <a:pt x="33" y="144"/>
                      </a:lnTo>
                      <a:lnTo>
                        <a:pt x="26" y="123"/>
                      </a:lnTo>
                      <a:lnTo>
                        <a:pt x="33" y="123"/>
                      </a:lnTo>
                      <a:lnTo>
                        <a:pt x="33" y="106"/>
                      </a:lnTo>
                      <a:lnTo>
                        <a:pt x="49" y="99"/>
                      </a:lnTo>
                      <a:lnTo>
                        <a:pt x="33" y="83"/>
                      </a:lnTo>
                      <a:lnTo>
                        <a:pt x="38" y="73"/>
                      </a:lnTo>
                      <a:lnTo>
                        <a:pt x="49" y="83"/>
                      </a:lnTo>
                      <a:lnTo>
                        <a:pt x="71" y="83"/>
                      </a:lnTo>
                      <a:lnTo>
                        <a:pt x="80" y="49"/>
                      </a:lnTo>
                      <a:lnTo>
                        <a:pt x="92" y="49"/>
                      </a:lnTo>
                      <a:lnTo>
                        <a:pt x="125" y="73"/>
                      </a:lnTo>
                      <a:lnTo>
                        <a:pt x="156" y="73"/>
                      </a:lnTo>
                      <a:lnTo>
                        <a:pt x="194" y="66"/>
                      </a:lnTo>
                      <a:lnTo>
                        <a:pt x="194" y="54"/>
                      </a:lnTo>
                      <a:lnTo>
                        <a:pt x="210" y="49"/>
                      </a:lnTo>
                      <a:lnTo>
                        <a:pt x="243" y="45"/>
                      </a:lnTo>
                      <a:lnTo>
                        <a:pt x="248" y="33"/>
                      </a:lnTo>
                      <a:lnTo>
                        <a:pt x="269" y="45"/>
                      </a:lnTo>
                      <a:lnTo>
                        <a:pt x="302" y="28"/>
                      </a:lnTo>
                      <a:lnTo>
                        <a:pt x="319" y="0"/>
                      </a:lnTo>
                      <a:lnTo>
                        <a:pt x="323" y="0"/>
                      </a:lnTo>
                      <a:lnTo>
                        <a:pt x="357" y="0"/>
                      </a:lnTo>
                      <a:lnTo>
                        <a:pt x="378" y="0"/>
                      </a:lnTo>
                      <a:lnTo>
                        <a:pt x="404" y="16"/>
                      </a:lnTo>
                      <a:lnTo>
                        <a:pt x="427" y="16"/>
                      </a:lnTo>
                      <a:lnTo>
                        <a:pt x="432" y="16"/>
                      </a:lnTo>
                      <a:lnTo>
                        <a:pt x="465" y="45"/>
                      </a:lnTo>
                      <a:lnTo>
                        <a:pt x="475" y="45"/>
                      </a:lnTo>
                      <a:lnTo>
                        <a:pt x="479" y="54"/>
                      </a:lnTo>
                      <a:lnTo>
                        <a:pt x="465" y="73"/>
                      </a:lnTo>
                      <a:lnTo>
                        <a:pt x="442" y="83"/>
                      </a:lnTo>
                      <a:lnTo>
                        <a:pt x="420" y="99"/>
                      </a:lnTo>
                      <a:lnTo>
                        <a:pt x="420" y="111"/>
                      </a:lnTo>
                      <a:lnTo>
                        <a:pt x="394" y="144"/>
                      </a:lnTo>
                      <a:lnTo>
                        <a:pt x="390" y="168"/>
                      </a:lnTo>
                      <a:lnTo>
                        <a:pt x="373" y="179"/>
                      </a:lnTo>
                      <a:lnTo>
                        <a:pt x="366" y="212"/>
                      </a:lnTo>
                      <a:lnTo>
                        <a:pt x="335" y="212"/>
                      </a:lnTo>
                      <a:lnTo>
                        <a:pt x="323" y="224"/>
                      </a:lnTo>
                      <a:lnTo>
                        <a:pt x="314" y="217"/>
                      </a:lnTo>
                      <a:lnTo>
                        <a:pt x="298" y="224"/>
                      </a:lnTo>
                      <a:lnTo>
                        <a:pt x="298" y="224"/>
                      </a:lnTo>
                      <a:lnTo>
                        <a:pt x="298" y="224"/>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1" name="Freeform 466">
                  <a:extLst>
                    <a:ext uri="{FF2B5EF4-FFF2-40B4-BE49-F238E27FC236}">
                      <a16:creationId xmlns:a16="http://schemas.microsoft.com/office/drawing/2014/main" id="{8B7AF1CB-D963-4D6C-A7E5-A53887883C0E}"/>
                    </a:ext>
                  </a:extLst>
                </p:cNvPr>
                <p:cNvSpPr>
                  <a:spLocks/>
                </p:cNvSpPr>
                <p:nvPr/>
              </p:nvSpPr>
              <p:spPr bwMode="gray">
                <a:xfrm>
                  <a:off x="6017340" y="1722809"/>
                  <a:ext cx="317809" cy="153570"/>
                </a:xfrm>
                <a:custGeom>
                  <a:avLst/>
                  <a:gdLst>
                    <a:gd name="T0" fmla="*/ 215 w 772"/>
                    <a:gd name="T1" fmla="*/ 241 h 373"/>
                    <a:gd name="T2" fmla="*/ 160 w 772"/>
                    <a:gd name="T3" fmla="*/ 250 h 373"/>
                    <a:gd name="T4" fmla="*/ 156 w 772"/>
                    <a:gd name="T5" fmla="*/ 224 h 373"/>
                    <a:gd name="T6" fmla="*/ 47 w 772"/>
                    <a:gd name="T7" fmla="*/ 224 h 373"/>
                    <a:gd name="T8" fmla="*/ 90 w 772"/>
                    <a:gd name="T9" fmla="*/ 184 h 373"/>
                    <a:gd name="T10" fmla="*/ 172 w 772"/>
                    <a:gd name="T11" fmla="*/ 179 h 373"/>
                    <a:gd name="T12" fmla="*/ 156 w 772"/>
                    <a:gd name="T13" fmla="*/ 127 h 373"/>
                    <a:gd name="T14" fmla="*/ 101 w 772"/>
                    <a:gd name="T15" fmla="*/ 123 h 373"/>
                    <a:gd name="T16" fmla="*/ 14 w 772"/>
                    <a:gd name="T17" fmla="*/ 111 h 373"/>
                    <a:gd name="T18" fmla="*/ 52 w 772"/>
                    <a:gd name="T19" fmla="*/ 111 h 373"/>
                    <a:gd name="T20" fmla="*/ 68 w 772"/>
                    <a:gd name="T21" fmla="*/ 111 h 373"/>
                    <a:gd name="T22" fmla="*/ 90 w 772"/>
                    <a:gd name="T23" fmla="*/ 94 h 373"/>
                    <a:gd name="T24" fmla="*/ 52 w 772"/>
                    <a:gd name="T25" fmla="*/ 85 h 373"/>
                    <a:gd name="T26" fmla="*/ 52 w 772"/>
                    <a:gd name="T27" fmla="*/ 68 h 373"/>
                    <a:gd name="T28" fmla="*/ 75 w 772"/>
                    <a:gd name="T29" fmla="*/ 49 h 373"/>
                    <a:gd name="T30" fmla="*/ 139 w 772"/>
                    <a:gd name="T31" fmla="*/ 73 h 373"/>
                    <a:gd name="T32" fmla="*/ 144 w 772"/>
                    <a:gd name="T33" fmla="*/ 90 h 373"/>
                    <a:gd name="T34" fmla="*/ 106 w 772"/>
                    <a:gd name="T35" fmla="*/ 40 h 373"/>
                    <a:gd name="T36" fmla="*/ 106 w 772"/>
                    <a:gd name="T37" fmla="*/ 16 h 373"/>
                    <a:gd name="T38" fmla="*/ 194 w 772"/>
                    <a:gd name="T39" fmla="*/ 49 h 373"/>
                    <a:gd name="T40" fmla="*/ 210 w 772"/>
                    <a:gd name="T41" fmla="*/ 73 h 373"/>
                    <a:gd name="T42" fmla="*/ 210 w 772"/>
                    <a:gd name="T43" fmla="*/ 106 h 373"/>
                    <a:gd name="T44" fmla="*/ 227 w 772"/>
                    <a:gd name="T45" fmla="*/ 123 h 373"/>
                    <a:gd name="T46" fmla="*/ 248 w 772"/>
                    <a:gd name="T47" fmla="*/ 139 h 373"/>
                    <a:gd name="T48" fmla="*/ 269 w 772"/>
                    <a:gd name="T49" fmla="*/ 123 h 373"/>
                    <a:gd name="T50" fmla="*/ 302 w 772"/>
                    <a:gd name="T51" fmla="*/ 94 h 373"/>
                    <a:gd name="T52" fmla="*/ 345 w 772"/>
                    <a:gd name="T53" fmla="*/ 94 h 373"/>
                    <a:gd name="T54" fmla="*/ 354 w 772"/>
                    <a:gd name="T55" fmla="*/ 73 h 373"/>
                    <a:gd name="T56" fmla="*/ 387 w 772"/>
                    <a:gd name="T57" fmla="*/ 49 h 373"/>
                    <a:gd name="T58" fmla="*/ 425 w 772"/>
                    <a:gd name="T59" fmla="*/ 73 h 373"/>
                    <a:gd name="T60" fmla="*/ 453 w 772"/>
                    <a:gd name="T61" fmla="*/ 90 h 373"/>
                    <a:gd name="T62" fmla="*/ 463 w 772"/>
                    <a:gd name="T63" fmla="*/ 49 h 373"/>
                    <a:gd name="T64" fmla="*/ 517 w 772"/>
                    <a:gd name="T65" fmla="*/ 40 h 373"/>
                    <a:gd name="T66" fmla="*/ 571 w 772"/>
                    <a:gd name="T67" fmla="*/ 33 h 373"/>
                    <a:gd name="T68" fmla="*/ 614 w 772"/>
                    <a:gd name="T69" fmla="*/ 28 h 373"/>
                    <a:gd name="T70" fmla="*/ 668 w 772"/>
                    <a:gd name="T71" fmla="*/ 28 h 373"/>
                    <a:gd name="T72" fmla="*/ 668 w 772"/>
                    <a:gd name="T73" fmla="*/ 49 h 373"/>
                    <a:gd name="T74" fmla="*/ 680 w 772"/>
                    <a:gd name="T75" fmla="*/ 106 h 373"/>
                    <a:gd name="T76" fmla="*/ 701 w 772"/>
                    <a:gd name="T77" fmla="*/ 127 h 373"/>
                    <a:gd name="T78" fmla="*/ 765 w 772"/>
                    <a:gd name="T79" fmla="*/ 127 h 373"/>
                    <a:gd name="T80" fmla="*/ 734 w 772"/>
                    <a:gd name="T81" fmla="*/ 168 h 373"/>
                    <a:gd name="T82" fmla="*/ 765 w 772"/>
                    <a:gd name="T83" fmla="*/ 196 h 373"/>
                    <a:gd name="T84" fmla="*/ 734 w 772"/>
                    <a:gd name="T85" fmla="*/ 196 h 373"/>
                    <a:gd name="T86" fmla="*/ 739 w 772"/>
                    <a:gd name="T87" fmla="*/ 224 h 373"/>
                    <a:gd name="T88" fmla="*/ 711 w 772"/>
                    <a:gd name="T89" fmla="*/ 224 h 373"/>
                    <a:gd name="T90" fmla="*/ 701 w 772"/>
                    <a:gd name="T91" fmla="*/ 257 h 373"/>
                    <a:gd name="T92" fmla="*/ 642 w 772"/>
                    <a:gd name="T93" fmla="*/ 262 h 373"/>
                    <a:gd name="T94" fmla="*/ 560 w 772"/>
                    <a:gd name="T95" fmla="*/ 319 h 373"/>
                    <a:gd name="T96" fmla="*/ 522 w 772"/>
                    <a:gd name="T97" fmla="*/ 328 h 373"/>
                    <a:gd name="T98" fmla="*/ 468 w 772"/>
                    <a:gd name="T99" fmla="*/ 352 h 373"/>
                    <a:gd name="T100" fmla="*/ 302 w 772"/>
                    <a:gd name="T101" fmla="*/ 364 h 373"/>
                    <a:gd name="T102" fmla="*/ 290 w 772"/>
                    <a:gd name="T103" fmla="*/ 335 h 373"/>
                    <a:gd name="T104" fmla="*/ 279 w 772"/>
                    <a:gd name="T105" fmla="*/ 328 h 373"/>
                    <a:gd name="T106" fmla="*/ 231 w 772"/>
                    <a:gd name="T107" fmla="*/ 319 h 373"/>
                    <a:gd name="T108" fmla="*/ 123 w 772"/>
                    <a:gd name="T109" fmla="*/ 328 h 373"/>
                    <a:gd name="T110" fmla="*/ 177 w 772"/>
                    <a:gd name="T111" fmla="*/ 295 h 373"/>
                    <a:gd name="T112" fmla="*/ 198 w 772"/>
                    <a:gd name="T113" fmla="*/ 279 h 373"/>
                    <a:gd name="T114" fmla="*/ 227 w 772"/>
                    <a:gd name="T115" fmla="*/ 262 h 373"/>
                    <a:gd name="T116" fmla="*/ 177 w 772"/>
                    <a:gd name="T117" fmla="*/ 257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72" h="373">
                      <a:moveTo>
                        <a:pt x="177" y="257"/>
                      </a:moveTo>
                      <a:lnTo>
                        <a:pt x="198" y="234"/>
                      </a:lnTo>
                      <a:lnTo>
                        <a:pt x="215" y="241"/>
                      </a:lnTo>
                      <a:lnTo>
                        <a:pt x="198" y="234"/>
                      </a:lnTo>
                      <a:lnTo>
                        <a:pt x="210" y="234"/>
                      </a:lnTo>
                      <a:lnTo>
                        <a:pt x="160" y="250"/>
                      </a:lnTo>
                      <a:lnTo>
                        <a:pt x="156" y="241"/>
                      </a:lnTo>
                      <a:lnTo>
                        <a:pt x="144" y="234"/>
                      </a:lnTo>
                      <a:lnTo>
                        <a:pt x="156" y="224"/>
                      </a:lnTo>
                      <a:lnTo>
                        <a:pt x="144" y="208"/>
                      </a:lnTo>
                      <a:lnTo>
                        <a:pt x="75" y="208"/>
                      </a:lnTo>
                      <a:lnTo>
                        <a:pt x="47" y="224"/>
                      </a:lnTo>
                      <a:lnTo>
                        <a:pt x="31" y="201"/>
                      </a:lnTo>
                      <a:lnTo>
                        <a:pt x="64" y="201"/>
                      </a:lnTo>
                      <a:lnTo>
                        <a:pt x="90" y="184"/>
                      </a:lnTo>
                      <a:lnTo>
                        <a:pt x="182" y="184"/>
                      </a:lnTo>
                      <a:lnTo>
                        <a:pt x="194" y="163"/>
                      </a:lnTo>
                      <a:lnTo>
                        <a:pt x="172" y="179"/>
                      </a:lnTo>
                      <a:lnTo>
                        <a:pt x="139" y="168"/>
                      </a:lnTo>
                      <a:lnTo>
                        <a:pt x="198" y="139"/>
                      </a:lnTo>
                      <a:lnTo>
                        <a:pt x="156" y="127"/>
                      </a:lnTo>
                      <a:lnTo>
                        <a:pt x="172" y="123"/>
                      </a:lnTo>
                      <a:lnTo>
                        <a:pt x="144" y="127"/>
                      </a:lnTo>
                      <a:lnTo>
                        <a:pt x="101" y="123"/>
                      </a:lnTo>
                      <a:lnTo>
                        <a:pt x="47" y="139"/>
                      </a:lnTo>
                      <a:lnTo>
                        <a:pt x="0" y="127"/>
                      </a:lnTo>
                      <a:lnTo>
                        <a:pt x="14" y="111"/>
                      </a:lnTo>
                      <a:lnTo>
                        <a:pt x="52" y="127"/>
                      </a:lnTo>
                      <a:lnTo>
                        <a:pt x="31" y="111"/>
                      </a:lnTo>
                      <a:lnTo>
                        <a:pt x="52" y="111"/>
                      </a:lnTo>
                      <a:lnTo>
                        <a:pt x="31" y="106"/>
                      </a:lnTo>
                      <a:lnTo>
                        <a:pt x="31" y="90"/>
                      </a:lnTo>
                      <a:lnTo>
                        <a:pt x="68" y="111"/>
                      </a:lnTo>
                      <a:lnTo>
                        <a:pt x="85" y="111"/>
                      </a:lnTo>
                      <a:lnTo>
                        <a:pt x="68" y="106"/>
                      </a:lnTo>
                      <a:lnTo>
                        <a:pt x="90" y="94"/>
                      </a:lnTo>
                      <a:lnTo>
                        <a:pt x="52" y="94"/>
                      </a:lnTo>
                      <a:lnTo>
                        <a:pt x="47" y="90"/>
                      </a:lnTo>
                      <a:lnTo>
                        <a:pt x="52" y="85"/>
                      </a:lnTo>
                      <a:lnTo>
                        <a:pt x="90" y="90"/>
                      </a:lnTo>
                      <a:lnTo>
                        <a:pt x="47" y="68"/>
                      </a:lnTo>
                      <a:lnTo>
                        <a:pt x="52" y="68"/>
                      </a:lnTo>
                      <a:lnTo>
                        <a:pt x="85" y="73"/>
                      </a:lnTo>
                      <a:lnTo>
                        <a:pt x="64" y="57"/>
                      </a:lnTo>
                      <a:lnTo>
                        <a:pt x="75" y="49"/>
                      </a:lnTo>
                      <a:lnTo>
                        <a:pt x="123" y="73"/>
                      </a:lnTo>
                      <a:lnTo>
                        <a:pt x="127" y="68"/>
                      </a:lnTo>
                      <a:lnTo>
                        <a:pt x="139" y="73"/>
                      </a:lnTo>
                      <a:lnTo>
                        <a:pt x="127" y="90"/>
                      </a:lnTo>
                      <a:lnTo>
                        <a:pt x="139" y="73"/>
                      </a:lnTo>
                      <a:lnTo>
                        <a:pt x="144" y="90"/>
                      </a:lnTo>
                      <a:lnTo>
                        <a:pt x="144" y="73"/>
                      </a:lnTo>
                      <a:lnTo>
                        <a:pt x="139" y="57"/>
                      </a:lnTo>
                      <a:lnTo>
                        <a:pt x="106" y="40"/>
                      </a:lnTo>
                      <a:lnTo>
                        <a:pt x="144" y="40"/>
                      </a:lnTo>
                      <a:lnTo>
                        <a:pt x="90" y="28"/>
                      </a:lnTo>
                      <a:lnTo>
                        <a:pt x="106" y="16"/>
                      </a:lnTo>
                      <a:lnTo>
                        <a:pt x="144" y="16"/>
                      </a:lnTo>
                      <a:lnTo>
                        <a:pt x="160" y="33"/>
                      </a:lnTo>
                      <a:lnTo>
                        <a:pt x="194" y="49"/>
                      </a:lnTo>
                      <a:lnTo>
                        <a:pt x="198" y="68"/>
                      </a:lnTo>
                      <a:lnTo>
                        <a:pt x="215" y="68"/>
                      </a:lnTo>
                      <a:lnTo>
                        <a:pt x="210" y="73"/>
                      </a:lnTo>
                      <a:lnTo>
                        <a:pt x="227" y="85"/>
                      </a:lnTo>
                      <a:lnTo>
                        <a:pt x="227" y="106"/>
                      </a:lnTo>
                      <a:lnTo>
                        <a:pt x="210" y="106"/>
                      </a:lnTo>
                      <a:lnTo>
                        <a:pt x="194" y="94"/>
                      </a:lnTo>
                      <a:lnTo>
                        <a:pt x="198" y="111"/>
                      </a:lnTo>
                      <a:lnTo>
                        <a:pt x="227" y="123"/>
                      </a:lnTo>
                      <a:lnTo>
                        <a:pt x="236" y="168"/>
                      </a:lnTo>
                      <a:lnTo>
                        <a:pt x="236" y="139"/>
                      </a:lnTo>
                      <a:lnTo>
                        <a:pt x="248" y="139"/>
                      </a:lnTo>
                      <a:lnTo>
                        <a:pt x="253" y="123"/>
                      </a:lnTo>
                      <a:lnTo>
                        <a:pt x="269" y="106"/>
                      </a:lnTo>
                      <a:lnTo>
                        <a:pt x="269" y="123"/>
                      </a:lnTo>
                      <a:lnTo>
                        <a:pt x="286" y="127"/>
                      </a:lnTo>
                      <a:lnTo>
                        <a:pt x="290" y="111"/>
                      </a:lnTo>
                      <a:lnTo>
                        <a:pt x="302" y="94"/>
                      </a:lnTo>
                      <a:lnTo>
                        <a:pt x="286" y="57"/>
                      </a:lnTo>
                      <a:lnTo>
                        <a:pt x="307" y="57"/>
                      </a:lnTo>
                      <a:lnTo>
                        <a:pt x="345" y="94"/>
                      </a:lnTo>
                      <a:lnTo>
                        <a:pt x="354" y="106"/>
                      </a:lnTo>
                      <a:lnTo>
                        <a:pt x="361" y="90"/>
                      </a:lnTo>
                      <a:lnTo>
                        <a:pt x="354" y="73"/>
                      </a:lnTo>
                      <a:lnTo>
                        <a:pt x="354" y="68"/>
                      </a:lnTo>
                      <a:lnTo>
                        <a:pt x="387" y="57"/>
                      </a:lnTo>
                      <a:lnTo>
                        <a:pt x="387" y="49"/>
                      </a:lnTo>
                      <a:lnTo>
                        <a:pt x="399" y="49"/>
                      </a:lnTo>
                      <a:lnTo>
                        <a:pt x="416" y="57"/>
                      </a:lnTo>
                      <a:lnTo>
                        <a:pt x="425" y="73"/>
                      </a:lnTo>
                      <a:lnTo>
                        <a:pt x="442" y="85"/>
                      </a:lnTo>
                      <a:lnTo>
                        <a:pt x="453" y="111"/>
                      </a:lnTo>
                      <a:lnTo>
                        <a:pt x="453" y="90"/>
                      </a:lnTo>
                      <a:lnTo>
                        <a:pt x="442" y="68"/>
                      </a:lnTo>
                      <a:lnTo>
                        <a:pt x="442" y="49"/>
                      </a:lnTo>
                      <a:lnTo>
                        <a:pt x="463" y="49"/>
                      </a:lnTo>
                      <a:lnTo>
                        <a:pt x="484" y="73"/>
                      </a:lnTo>
                      <a:lnTo>
                        <a:pt x="501" y="73"/>
                      </a:lnTo>
                      <a:lnTo>
                        <a:pt x="517" y="40"/>
                      </a:lnTo>
                      <a:lnTo>
                        <a:pt x="555" y="57"/>
                      </a:lnTo>
                      <a:lnTo>
                        <a:pt x="550" y="49"/>
                      </a:lnTo>
                      <a:lnTo>
                        <a:pt x="571" y="33"/>
                      </a:lnTo>
                      <a:lnTo>
                        <a:pt x="555" y="12"/>
                      </a:lnTo>
                      <a:lnTo>
                        <a:pt x="593" y="0"/>
                      </a:lnTo>
                      <a:lnTo>
                        <a:pt x="614" y="28"/>
                      </a:lnTo>
                      <a:lnTo>
                        <a:pt x="614" y="40"/>
                      </a:lnTo>
                      <a:lnTo>
                        <a:pt x="642" y="49"/>
                      </a:lnTo>
                      <a:lnTo>
                        <a:pt x="668" y="28"/>
                      </a:lnTo>
                      <a:lnTo>
                        <a:pt x="685" y="28"/>
                      </a:lnTo>
                      <a:lnTo>
                        <a:pt x="668" y="33"/>
                      </a:lnTo>
                      <a:lnTo>
                        <a:pt x="668" y="49"/>
                      </a:lnTo>
                      <a:lnTo>
                        <a:pt x="657" y="57"/>
                      </a:lnTo>
                      <a:lnTo>
                        <a:pt x="697" y="73"/>
                      </a:lnTo>
                      <a:lnTo>
                        <a:pt x="680" y="106"/>
                      </a:lnTo>
                      <a:lnTo>
                        <a:pt x="718" y="94"/>
                      </a:lnTo>
                      <a:lnTo>
                        <a:pt x="718" y="111"/>
                      </a:lnTo>
                      <a:lnTo>
                        <a:pt x="701" y="127"/>
                      </a:lnTo>
                      <a:lnTo>
                        <a:pt x="718" y="111"/>
                      </a:lnTo>
                      <a:lnTo>
                        <a:pt x="765" y="123"/>
                      </a:lnTo>
                      <a:lnTo>
                        <a:pt x="765" y="127"/>
                      </a:lnTo>
                      <a:lnTo>
                        <a:pt x="756" y="151"/>
                      </a:lnTo>
                      <a:lnTo>
                        <a:pt x="772" y="163"/>
                      </a:lnTo>
                      <a:lnTo>
                        <a:pt x="734" y="168"/>
                      </a:lnTo>
                      <a:lnTo>
                        <a:pt x="765" y="168"/>
                      </a:lnTo>
                      <a:lnTo>
                        <a:pt x="772" y="179"/>
                      </a:lnTo>
                      <a:lnTo>
                        <a:pt x="765" y="196"/>
                      </a:lnTo>
                      <a:lnTo>
                        <a:pt x="739" y="179"/>
                      </a:lnTo>
                      <a:lnTo>
                        <a:pt x="756" y="201"/>
                      </a:lnTo>
                      <a:lnTo>
                        <a:pt x="734" y="196"/>
                      </a:lnTo>
                      <a:lnTo>
                        <a:pt x="756" y="201"/>
                      </a:lnTo>
                      <a:lnTo>
                        <a:pt x="734" y="217"/>
                      </a:lnTo>
                      <a:lnTo>
                        <a:pt x="739" y="224"/>
                      </a:lnTo>
                      <a:lnTo>
                        <a:pt x="718" y="224"/>
                      </a:lnTo>
                      <a:lnTo>
                        <a:pt x="701" y="208"/>
                      </a:lnTo>
                      <a:lnTo>
                        <a:pt x="711" y="224"/>
                      </a:lnTo>
                      <a:lnTo>
                        <a:pt x="697" y="241"/>
                      </a:lnTo>
                      <a:lnTo>
                        <a:pt x="711" y="241"/>
                      </a:lnTo>
                      <a:lnTo>
                        <a:pt x="701" y="257"/>
                      </a:lnTo>
                      <a:lnTo>
                        <a:pt x="685" y="257"/>
                      </a:lnTo>
                      <a:lnTo>
                        <a:pt x="668" y="274"/>
                      </a:lnTo>
                      <a:lnTo>
                        <a:pt x="642" y="262"/>
                      </a:lnTo>
                      <a:lnTo>
                        <a:pt x="642" y="274"/>
                      </a:lnTo>
                      <a:lnTo>
                        <a:pt x="593" y="290"/>
                      </a:lnTo>
                      <a:lnTo>
                        <a:pt x="560" y="319"/>
                      </a:lnTo>
                      <a:lnTo>
                        <a:pt x="538" y="328"/>
                      </a:lnTo>
                      <a:lnTo>
                        <a:pt x="534" y="312"/>
                      </a:lnTo>
                      <a:lnTo>
                        <a:pt x="522" y="328"/>
                      </a:lnTo>
                      <a:lnTo>
                        <a:pt x="468" y="335"/>
                      </a:lnTo>
                      <a:lnTo>
                        <a:pt x="463" y="345"/>
                      </a:lnTo>
                      <a:lnTo>
                        <a:pt x="468" y="352"/>
                      </a:lnTo>
                      <a:lnTo>
                        <a:pt x="463" y="364"/>
                      </a:lnTo>
                      <a:lnTo>
                        <a:pt x="408" y="373"/>
                      </a:lnTo>
                      <a:lnTo>
                        <a:pt x="302" y="364"/>
                      </a:lnTo>
                      <a:lnTo>
                        <a:pt x="279" y="335"/>
                      </a:lnTo>
                      <a:lnTo>
                        <a:pt x="290" y="335"/>
                      </a:lnTo>
                      <a:lnTo>
                        <a:pt x="290" y="335"/>
                      </a:lnTo>
                      <a:lnTo>
                        <a:pt x="279" y="335"/>
                      </a:lnTo>
                      <a:lnTo>
                        <a:pt x="269" y="335"/>
                      </a:lnTo>
                      <a:lnTo>
                        <a:pt x="279" y="328"/>
                      </a:lnTo>
                      <a:lnTo>
                        <a:pt x="269" y="319"/>
                      </a:lnTo>
                      <a:lnTo>
                        <a:pt x="253" y="328"/>
                      </a:lnTo>
                      <a:lnTo>
                        <a:pt x="231" y="319"/>
                      </a:lnTo>
                      <a:lnTo>
                        <a:pt x="248" y="312"/>
                      </a:lnTo>
                      <a:lnTo>
                        <a:pt x="198" y="328"/>
                      </a:lnTo>
                      <a:lnTo>
                        <a:pt x="123" y="328"/>
                      </a:lnTo>
                      <a:lnTo>
                        <a:pt x="127" y="295"/>
                      </a:lnTo>
                      <a:lnTo>
                        <a:pt x="139" y="307"/>
                      </a:lnTo>
                      <a:lnTo>
                        <a:pt x="177" y="295"/>
                      </a:lnTo>
                      <a:lnTo>
                        <a:pt x="182" y="295"/>
                      </a:lnTo>
                      <a:lnTo>
                        <a:pt x="177" y="290"/>
                      </a:lnTo>
                      <a:lnTo>
                        <a:pt x="198" y="279"/>
                      </a:lnTo>
                      <a:lnTo>
                        <a:pt x="182" y="279"/>
                      </a:lnTo>
                      <a:lnTo>
                        <a:pt x="194" y="262"/>
                      </a:lnTo>
                      <a:lnTo>
                        <a:pt x="227" y="262"/>
                      </a:lnTo>
                      <a:lnTo>
                        <a:pt x="172" y="274"/>
                      </a:lnTo>
                      <a:lnTo>
                        <a:pt x="177" y="257"/>
                      </a:lnTo>
                      <a:lnTo>
                        <a:pt x="177" y="257"/>
                      </a:lnTo>
                      <a:lnTo>
                        <a:pt x="177" y="257"/>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2" name="Freeform 468">
                  <a:extLst>
                    <a:ext uri="{FF2B5EF4-FFF2-40B4-BE49-F238E27FC236}">
                      <a16:creationId xmlns:a16="http://schemas.microsoft.com/office/drawing/2014/main" id="{F3E079CA-6E18-4222-93CD-494C8766BD27}"/>
                    </a:ext>
                  </a:extLst>
                </p:cNvPr>
                <p:cNvSpPr>
                  <a:spLocks/>
                </p:cNvSpPr>
                <p:nvPr/>
              </p:nvSpPr>
              <p:spPr bwMode="gray">
                <a:xfrm>
                  <a:off x="6589149" y="2269157"/>
                  <a:ext cx="12350" cy="15645"/>
                </a:xfrm>
                <a:custGeom>
                  <a:avLst/>
                  <a:gdLst>
                    <a:gd name="T0" fmla="*/ 0 w 30"/>
                    <a:gd name="T1" fmla="*/ 38 h 38"/>
                    <a:gd name="T2" fmla="*/ 0 w 30"/>
                    <a:gd name="T3" fmla="*/ 22 h 38"/>
                    <a:gd name="T4" fmla="*/ 26 w 30"/>
                    <a:gd name="T5" fmla="*/ 0 h 38"/>
                    <a:gd name="T6" fmla="*/ 30 w 30"/>
                    <a:gd name="T7" fmla="*/ 17 h 38"/>
                    <a:gd name="T8" fmla="*/ 26 w 30"/>
                    <a:gd name="T9" fmla="*/ 22 h 38"/>
                    <a:gd name="T10" fmla="*/ 0 w 30"/>
                    <a:gd name="T11" fmla="*/ 38 h 38"/>
                    <a:gd name="T12" fmla="*/ 0 w 30"/>
                    <a:gd name="T13" fmla="*/ 38 h 38"/>
                    <a:gd name="T14" fmla="*/ 0 w 30"/>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8">
                      <a:moveTo>
                        <a:pt x="0" y="38"/>
                      </a:moveTo>
                      <a:lnTo>
                        <a:pt x="0" y="22"/>
                      </a:lnTo>
                      <a:lnTo>
                        <a:pt x="26" y="0"/>
                      </a:lnTo>
                      <a:lnTo>
                        <a:pt x="30" y="17"/>
                      </a:lnTo>
                      <a:lnTo>
                        <a:pt x="26" y="22"/>
                      </a:lnTo>
                      <a:lnTo>
                        <a:pt x="0" y="38"/>
                      </a:lnTo>
                      <a:lnTo>
                        <a:pt x="0" y="38"/>
                      </a:lnTo>
                      <a:lnTo>
                        <a:pt x="0" y="38"/>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3" name="Freeform 477">
                  <a:extLst>
                    <a:ext uri="{FF2B5EF4-FFF2-40B4-BE49-F238E27FC236}">
                      <a16:creationId xmlns:a16="http://schemas.microsoft.com/office/drawing/2014/main" id="{94C44475-B00E-4EAD-A5AD-63CD5814BBD1}"/>
                    </a:ext>
                  </a:extLst>
                </p:cNvPr>
                <p:cNvSpPr>
                  <a:spLocks/>
                </p:cNvSpPr>
                <p:nvPr/>
              </p:nvSpPr>
              <p:spPr bwMode="gray">
                <a:xfrm>
                  <a:off x="6662016" y="2473368"/>
                  <a:ext cx="6587" cy="4117"/>
                </a:xfrm>
                <a:custGeom>
                  <a:avLst/>
                  <a:gdLst>
                    <a:gd name="T0" fmla="*/ 9 w 16"/>
                    <a:gd name="T1" fmla="*/ 10 h 10"/>
                    <a:gd name="T2" fmla="*/ 0 w 16"/>
                    <a:gd name="T3" fmla="*/ 0 h 10"/>
                    <a:gd name="T4" fmla="*/ 16 w 16"/>
                    <a:gd name="T5" fmla="*/ 0 h 10"/>
                    <a:gd name="T6" fmla="*/ 9 w 16"/>
                    <a:gd name="T7" fmla="*/ 10 h 10"/>
                    <a:gd name="T8" fmla="*/ 9 w 16"/>
                    <a:gd name="T9" fmla="*/ 10 h 10"/>
                    <a:gd name="T10" fmla="*/ 9 w 16"/>
                    <a:gd name="T11" fmla="*/ 10 h 10"/>
                  </a:gdLst>
                  <a:ahLst/>
                  <a:cxnLst>
                    <a:cxn ang="0">
                      <a:pos x="T0" y="T1"/>
                    </a:cxn>
                    <a:cxn ang="0">
                      <a:pos x="T2" y="T3"/>
                    </a:cxn>
                    <a:cxn ang="0">
                      <a:pos x="T4" y="T5"/>
                    </a:cxn>
                    <a:cxn ang="0">
                      <a:pos x="T6" y="T7"/>
                    </a:cxn>
                    <a:cxn ang="0">
                      <a:pos x="T8" y="T9"/>
                    </a:cxn>
                    <a:cxn ang="0">
                      <a:pos x="T10" y="T11"/>
                    </a:cxn>
                  </a:cxnLst>
                  <a:rect l="0" t="0" r="r" b="b"/>
                  <a:pathLst>
                    <a:path w="16" h="10">
                      <a:moveTo>
                        <a:pt x="9" y="10"/>
                      </a:moveTo>
                      <a:lnTo>
                        <a:pt x="0" y="0"/>
                      </a:lnTo>
                      <a:lnTo>
                        <a:pt x="16" y="0"/>
                      </a:lnTo>
                      <a:lnTo>
                        <a:pt x="9" y="10"/>
                      </a:lnTo>
                      <a:lnTo>
                        <a:pt x="9" y="10"/>
                      </a:lnTo>
                      <a:lnTo>
                        <a:pt x="9" y="10"/>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4" name="Freeform 479">
                  <a:extLst>
                    <a:ext uri="{FF2B5EF4-FFF2-40B4-BE49-F238E27FC236}">
                      <a16:creationId xmlns:a16="http://schemas.microsoft.com/office/drawing/2014/main" id="{D33B84C5-E773-4F75-9A59-A619B3D17D9E}"/>
                    </a:ext>
                  </a:extLst>
                </p:cNvPr>
                <p:cNvSpPr>
                  <a:spLocks/>
                </p:cNvSpPr>
                <p:nvPr/>
              </p:nvSpPr>
              <p:spPr bwMode="gray">
                <a:xfrm>
                  <a:off x="6461531" y="1486484"/>
                  <a:ext cx="36227" cy="19351"/>
                </a:xfrm>
                <a:custGeom>
                  <a:avLst/>
                  <a:gdLst>
                    <a:gd name="T0" fmla="*/ 12 w 88"/>
                    <a:gd name="T1" fmla="*/ 47 h 47"/>
                    <a:gd name="T2" fmla="*/ 0 w 88"/>
                    <a:gd name="T3" fmla="*/ 35 h 47"/>
                    <a:gd name="T4" fmla="*/ 50 w 88"/>
                    <a:gd name="T5" fmla="*/ 14 h 47"/>
                    <a:gd name="T6" fmla="*/ 55 w 88"/>
                    <a:gd name="T7" fmla="*/ 0 h 47"/>
                    <a:gd name="T8" fmla="*/ 88 w 88"/>
                    <a:gd name="T9" fmla="*/ 0 h 47"/>
                    <a:gd name="T10" fmla="*/ 76 w 88"/>
                    <a:gd name="T11" fmla="*/ 14 h 47"/>
                    <a:gd name="T12" fmla="*/ 38 w 88"/>
                    <a:gd name="T13" fmla="*/ 21 h 47"/>
                    <a:gd name="T14" fmla="*/ 12 w 88"/>
                    <a:gd name="T15" fmla="*/ 47 h 47"/>
                    <a:gd name="T16" fmla="*/ 12 w 88"/>
                    <a:gd name="T17" fmla="*/ 47 h 47"/>
                    <a:gd name="T18" fmla="*/ 12 w 88"/>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47">
                      <a:moveTo>
                        <a:pt x="12" y="47"/>
                      </a:moveTo>
                      <a:lnTo>
                        <a:pt x="0" y="35"/>
                      </a:lnTo>
                      <a:lnTo>
                        <a:pt x="50" y="14"/>
                      </a:lnTo>
                      <a:lnTo>
                        <a:pt x="55" y="0"/>
                      </a:lnTo>
                      <a:lnTo>
                        <a:pt x="88" y="0"/>
                      </a:lnTo>
                      <a:lnTo>
                        <a:pt x="76" y="14"/>
                      </a:lnTo>
                      <a:lnTo>
                        <a:pt x="38" y="21"/>
                      </a:lnTo>
                      <a:lnTo>
                        <a:pt x="12" y="47"/>
                      </a:lnTo>
                      <a:lnTo>
                        <a:pt x="12" y="47"/>
                      </a:lnTo>
                      <a:lnTo>
                        <a:pt x="12" y="47"/>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5" name="Freeform 482">
                  <a:extLst>
                    <a:ext uri="{FF2B5EF4-FFF2-40B4-BE49-F238E27FC236}">
                      <a16:creationId xmlns:a16="http://schemas.microsoft.com/office/drawing/2014/main" id="{E3C4D7D4-F912-43E7-81D6-3D3916E86831}"/>
                    </a:ext>
                  </a:extLst>
                </p:cNvPr>
                <p:cNvSpPr>
                  <a:spLocks/>
                </p:cNvSpPr>
                <p:nvPr/>
              </p:nvSpPr>
              <p:spPr bwMode="gray">
                <a:xfrm>
                  <a:off x="8726540" y="2696106"/>
                  <a:ext cx="314928" cy="143277"/>
                </a:xfrm>
                <a:custGeom>
                  <a:avLst/>
                  <a:gdLst>
                    <a:gd name="T0" fmla="*/ 397 w 765"/>
                    <a:gd name="T1" fmla="*/ 255 h 348"/>
                    <a:gd name="T2" fmla="*/ 359 w 765"/>
                    <a:gd name="T3" fmla="*/ 272 h 348"/>
                    <a:gd name="T4" fmla="*/ 321 w 765"/>
                    <a:gd name="T5" fmla="*/ 305 h 348"/>
                    <a:gd name="T6" fmla="*/ 321 w 765"/>
                    <a:gd name="T7" fmla="*/ 326 h 348"/>
                    <a:gd name="T8" fmla="*/ 271 w 765"/>
                    <a:gd name="T9" fmla="*/ 331 h 348"/>
                    <a:gd name="T10" fmla="*/ 212 w 765"/>
                    <a:gd name="T11" fmla="*/ 348 h 348"/>
                    <a:gd name="T12" fmla="*/ 168 w 765"/>
                    <a:gd name="T13" fmla="*/ 343 h 348"/>
                    <a:gd name="T14" fmla="*/ 158 w 765"/>
                    <a:gd name="T15" fmla="*/ 326 h 348"/>
                    <a:gd name="T16" fmla="*/ 125 w 765"/>
                    <a:gd name="T17" fmla="*/ 326 h 348"/>
                    <a:gd name="T18" fmla="*/ 104 w 765"/>
                    <a:gd name="T19" fmla="*/ 331 h 348"/>
                    <a:gd name="T20" fmla="*/ 87 w 765"/>
                    <a:gd name="T21" fmla="*/ 315 h 348"/>
                    <a:gd name="T22" fmla="*/ 0 w 765"/>
                    <a:gd name="T23" fmla="*/ 293 h 348"/>
                    <a:gd name="T24" fmla="*/ 7 w 765"/>
                    <a:gd name="T25" fmla="*/ 289 h 348"/>
                    <a:gd name="T26" fmla="*/ 16 w 765"/>
                    <a:gd name="T27" fmla="*/ 272 h 348"/>
                    <a:gd name="T28" fmla="*/ 87 w 765"/>
                    <a:gd name="T29" fmla="*/ 277 h 348"/>
                    <a:gd name="T30" fmla="*/ 92 w 765"/>
                    <a:gd name="T31" fmla="*/ 289 h 348"/>
                    <a:gd name="T32" fmla="*/ 113 w 765"/>
                    <a:gd name="T33" fmla="*/ 272 h 348"/>
                    <a:gd name="T34" fmla="*/ 146 w 765"/>
                    <a:gd name="T35" fmla="*/ 255 h 348"/>
                    <a:gd name="T36" fmla="*/ 196 w 765"/>
                    <a:gd name="T37" fmla="*/ 260 h 348"/>
                    <a:gd name="T38" fmla="*/ 201 w 765"/>
                    <a:gd name="T39" fmla="*/ 248 h 348"/>
                    <a:gd name="T40" fmla="*/ 217 w 765"/>
                    <a:gd name="T41" fmla="*/ 232 h 348"/>
                    <a:gd name="T42" fmla="*/ 250 w 765"/>
                    <a:gd name="T43" fmla="*/ 222 h 348"/>
                    <a:gd name="T44" fmla="*/ 234 w 765"/>
                    <a:gd name="T45" fmla="*/ 206 h 348"/>
                    <a:gd name="T46" fmla="*/ 201 w 765"/>
                    <a:gd name="T47" fmla="*/ 199 h 348"/>
                    <a:gd name="T48" fmla="*/ 184 w 765"/>
                    <a:gd name="T49" fmla="*/ 182 h 348"/>
                    <a:gd name="T50" fmla="*/ 168 w 765"/>
                    <a:gd name="T51" fmla="*/ 149 h 348"/>
                    <a:gd name="T52" fmla="*/ 146 w 765"/>
                    <a:gd name="T53" fmla="*/ 166 h 348"/>
                    <a:gd name="T54" fmla="*/ 108 w 765"/>
                    <a:gd name="T55" fmla="*/ 178 h 348"/>
                    <a:gd name="T56" fmla="*/ 87 w 765"/>
                    <a:gd name="T57" fmla="*/ 161 h 348"/>
                    <a:gd name="T58" fmla="*/ 104 w 765"/>
                    <a:gd name="T59" fmla="*/ 123 h 348"/>
                    <a:gd name="T60" fmla="*/ 108 w 765"/>
                    <a:gd name="T61" fmla="*/ 107 h 348"/>
                    <a:gd name="T62" fmla="*/ 125 w 765"/>
                    <a:gd name="T63" fmla="*/ 78 h 348"/>
                    <a:gd name="T64" fmla="*/ 108 w 765"/>
                    <a:gd name="T65" fmla="*/ 78 h 348"/>
                    <a:gd name="T66" fmla="*/ 168 w 765"/>
                    <a:gd name="T67" fmla="*/ 41 h 348"/>
                    <a:gd name="T68" fmla="*/ 293 w 765"/>
                    <a:gd name="T69" fmla="*/ 74 h 348"/>
                    <a:gd name="T70" fmla="*/ 305 w 765"/>
                    <a:gd name="T71" fmla="*/ 17 h 348"/>
                    <a:gd name="T72" fmla="*/ 385 w 765"/>
                    <a:gd name="T73" fmla="*/ 24 h 348"/>
                    <a:gd name="T74" fmla="*/ 456 w 765"/>
                    <a:gd name="T75" fmla="*/ 24 h 348"/>
                    <a:gd name="T76" fmla="*/ 543 w 765"/>
                    <a:gd name="T77" fmla="*/ 24 h 348"/>
                    <a:gd name="T78" fmla="*/ 699 w 765"/>
                    <a:gd name="T79" fmla="*/ 41 h 348"/>
                    <a:gd name="T80" fmla="*/ 711 w 765"/>
                    <a:gd name="T81" fmla="*/ 74 h 348"/>
                    <a:gd name="T82" fmla="*/ 765 w 765"/>
                    <a:gd name="T83" fmla="*/ 95 h 348"/>
                    <a:gd name="T84" fmla="*/ 742 w 765"/>
                    <a:gd name="T85" fmla="*/ 111 h 348"/>
                    <a:gd name="T86" fmla="*/ 704 w 765"/>
                    <a:gd name="T87" fmla="*/ 128 h 348"/>
                    <a:gd name="T88" fmla="*/ 635 w 765"/>
                    <a:gd name="T89" fmla="*/ 178 h 348"/>
                    <a:gd name="T90" fmla="*/ 536 w 765"/>
                    <a:gd name="T91" fmla="*/ 199 h 348"/>
                    <a:gd name="T92" fmla="*/ 520 w 765"/>
                    <a:gd name="T93" fmla="*/ 232 h 348"/>
                    <a:gd name="T94" fmla="*/ 482 w 765"/>
                    <a:gd name="T95" fmla="*/ 248 h 348"/>
                    <a:gd name="T96" fmla="*/ 439 w 765"/>
                    <a:gd name="T97" fmla="*/ 232 h 348"/>
                    <a:gd name="T98" fmla="*/ 385 w 765"/>
                    <a:gd name="T99" fmla="*/ 239 h 348"/>
                    <a:gd name="T100" fmla="*/ 385 w 765"/>
                    <a:gd name="T101" fmla="*/ 23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5" h="348">
                      <a:moveTo>
                        <a:pt x="385" y="239"/>
                      </a:moveTo>
                      <a:lnTo>
                        <a:pt x="397" y="255"/>
                      </a:lnTo>
                      <a:lnTo>
                        <a:pt x="380" y="255"/>
                      </a:lnTo>
                      <a:lnTo>
                        <a:pt x="359" y="272"/>
                      </a:lnTo>
                      <a:lnTo>
                        <a:pt x="331" y="277"/>
                      </a:lnTo>
                      <a:lnTo>
                        <a:pt x="321" y="305"/>
                      </a:lnTo>
                      <a:lnTo>
                        <a:pt x="326" y="315"/>
                      </a:lnTo>
                      <a:lnTo>
                        <a:pt x="321" y="326"/>
                      </a:lnTo>
                      <a:lnTo>
                        <a:pt x="309" y="326"/>
                      </a:lnTo>
                      <a:lnTo>
                        <a:pt x="271" y="331"/>
                      </a:lnTo>
                      <a:lnTo>
                        <a:pt x="217" y="331"/>
                      </a:lnTo>
                      <a:lnTo>
                        <a:pt x="212" y="348"/>
                      </a:lnTo>
                      <a:lnTo>
                        <a:pt x="196" y="331"/>
                      </a:lnTo>
                      <a:lnTo>
                        <a:pt x="168" y="343"/>
                      </a:lnTo>
                      <a:lnTo>
                        <a:pt x="168" y="326"/>
                      </a:lnTo>
                      <a:lnTo>
                        <a:pt x="158" y="326"/>
                      </a:lnTo>
                      <a:lnTo>
                        <a:pt x="158" y="315"/>
                      </a:lnTo>
                      <a:lnTo>
                        <a:pt x="125" y="326"/>
                      </a:lnTo>
                      <a:lnTo>
                        <a:pt x="113" y="331"/>
                      </a:lnTo>
                      <a:lnTo>
                        <a:pt x="104" y="331"/>
                      </a:lnTo>
                      <a:lnTo>
                        <a:pt x="92" y="315"/>
                      </a:lnTo>
                      <a:lnTo>
                        <a:pt x="87" y="315"/>
                      </a:lnTo>
                      <a:lnTo>
                        <a:pt x="0" y="315"/>
                      </a:lnTo>
                      <a:lnTo>
                        <a:pt x="0" y="293"/>
                      </a:lnTo>
                      <a:lnTo>
                        <a:pt x="0" y="277"/>
                      </a:lnTo>
                      <a:lnTo>
                        <a:pt x="7" y="289"/>
                      </a:lnTo>
                      <a:lnTo>
                        <a:pt x="16" y="289"/>
                      </a:lnTo>
                      <a:lnTo>
                        <a:pt x="16" y="272"/>
                      </a:lnTo>
                      <a:lnTo>
                        <a:pt x="54" y="260"/>
                      </a:lnTo>
                      <a:lnTo>
                        <a:pt x="87" y="277"/>
                      </a:lnTo>
                      <a:lnTo>
                        <a:pt x="87" y="289"/>
                      </a:lnTo>
                      <a:lnTo>
                        <a:pt x="92" y="289"/>
                      </a:lnTo>
                      <a:lnTo>
                        <a:pt x="92" y="272"/>
                      </a:lnTo>
                      <a:lnTo>
                        <a:pt x="113" y="272"/>
                      </a:lnTo>
                      <a:lnTo>
                        <a:pt x="113" y="260"/>
                      </a:lnTo>
                      <a:lnTo>
                        <a:pt x="146" y="255"/>
                      </a:lnTo>
                      <a:lnTo>
                        <a:pt x="168" y="272"/>
                      </a:lnTo>
                      <a:lnTo>
                        <a:pt x="196" y="260"/>
                      </a:lnTo>
                      <a:lnTo>
                        <a:pt x="196" y="255"/>
                      </a:lnTo>
                      <a:lnTo>
                        <a:pt x="201" y="248"/>
                      </a:lnTo>
                      <a:lnTo>
                        <a:pt x="217" y="248"/>
                      </a:lnTo>
                      <a:lnTo>
                        <a:pt x="217" y="232"/>
                      </a:lnTo>
                      <a:lnTo>
                        <a:pt x="234" y="239"/>
                      </a:lnTo>
                      <a:lnTo>
                        <a:pt x="250" y="222"/>
                      </a:lnTo>
                      <a:lnTo>
                        <a:pt x="271" y="215"/>
                      </a:lnTo>
                      <a:lnTo>
                        <a:pt x="234" y="206"/>
                      </a:lnTo>
                      <a:lnTo>
                        <a:pt x="217" y="194"/>
                      </a:lnTo>
                      <a:lnTo>
                        <a:pt x="201" y="199"/>
                      </a:lnTo>
                      <a:lnTo>
                        <a:pt x="201" y="182"/>
                      </a:lnTo>
                      <a:lnTo>
                        <a:pt x="184" y="182"/>
                      </a:lnTo>
                      <a:lnTo>
                        <a:pt x="184" y="166"/>
                      </a:lnTo>
                      <a:lnTo>
                        <a:pt x="168" y="149"/>
                      </a:lnTo>
                      <a:lnTo>
                        <a:pt x="163" y="166"/>
                      </a:lnTo>
                      <a:lnTo>
                        <a:pt x="146" y="166"/>
                      </a:lnTo>
                      <a:lnTo>
                        <a:pt x="146" y="182"/>
                      </a:lnTo>
                      <a:lnTo>
                        <a:pt x="108" y="178"/>
                      </a:lnTo>
                      <a:lnTo>
                        <a:pt x="104" y="161"/>
                      </a:lnTo>
                      <a:lnTo>
                        <a:pt x="87" y="161"/>
                      </a:lnTo>
                      <a:lnTo>
                        <a:pt x="61" y="149"/>
                      </a:lnTo>
                      <a:lnTo>
                        <a:pt x="104" y="123"/>
                      </a:lnTo>
                      <a:lnTo>
                        <a:pt x="108" y="123"/>
                      </a:lnTo>
                      <a:lnTo>
                        <a:pt x="108" y="107"/>
                      </a:lnTo>
                      <a:lnTo>
                        <a:pt x="142" y="95"/>
                      </a:lnTo>
                      <a:lnTo>
                        <a:pt x="125" y="78"/>
                      </a:lnTo>
                      <a:lnTo>
                        <a:pt x="113" y="90"/>
                      </a:lnTo>
                      <a:lnTo>
                        <a:pt x="108" y="78"/>
                      </a:lnTo>
                      <a:lnTo>
                        <a:pt x="130" y="50"/>
                      </a:lnTo>
                      <a:lnTo>
                        <a:pt x="168" y="41"/>
                      </a:lnTo>
                      <a:lnTo>
                        <a:pt x="212" y="41"/>
                      </a:lnTo>
                      <a:lnTo>
                        <a:pt x="293" y="74"/>
                      </a:lnTo>
                      <a:lnTo>
                        <a:pt x="293" y="57"/>
                      </a:lnTo>
                      <a:lnTo>
                        <a:pt x="305" y="17"/>
                      </a:lnTo>
                      <a:lnTo>
                        <a:pt x="347" y="0"/>
                      </a:lnTo>
                      <a:lnTo>
                        <a:pt x="385" y="24"/>
                      </a:lnTo>
                      <a:lnTo>
                        <a:pt x="451" y="41"/>
                      </a:lnTo>
                      <a:lnTo>
                        <a:pt x="456" y="24"/>
                      </a:lnTo>
                      <a:lnTo>
                        <a:pt x="520" y="33"/>
                      </a:lnTo>
                      <a:lnTo>
                        <a:pt x="543" y="24"/>
                      </a:lnTo>
                      <a:lnTo>
                        <a:pt x="557" y="33"/>
                      </a:lnTo>
                      <a:lnTo>
                        <a:pt x="699" y="41"/>
                      </a:lnTo>
                      <a:lnTo>
                        <a:pt x="699" y="50"/>
                      </a:lnTo>
                      <a:lnTo>
                        <a:pt x="711" y="74"/>
                      </a:lnTo>
                      <a:lnTo>
                        <a:pt x="753" y="74"/>
                      </a:lnTo>
                      <a:lnTo>
                        <a:pt x="765" y="95"/>
                      </a:lnTo>
                      <a:lnTo>
                        <a:pt x="765" y="107"/>
                      </a:lnTo>
                      <a:lnTo>
                        <a:pt x="742" y="111"/>
                      </a:lnTo>
                      <a:lnTo>
                        <a:pt x="737" y="123"/>
                      </a:lnTo>
                      <a:lnTo>
                        <a:pt x="704" y="128"/>
                      </a:lnTo>
                      <a:lnTo>
                        <a:pt x="645" y="161"/>
                      </a:lnTo>
                      <a:lnTo>
                        <a:pt x="635" y="178"/>
                      </a:lnTo>
                      <a:lnTo>
                        <a:pt x="619" y="194"/>
                      </a:lnTo>
                      <a:lnTo>
                        <a:pt x="536" y="199"/>
                      </a:lnTo>
                      <a:lnTo>
                        <a:pt x="520" y="215"/>
                      </a:lnTo>
                      <a:lnTo>
                        <a:pt x="520" y="232"/>
                      </a:lnTo>
                      <a:lnTo>
                        <a:pt x="494" y="255"/>
                      </a:lnTo>
                      <a:lnTo>
                        <a:pt x="482" y="248"/>
                      </a:lnTo>
                      <a:lnTo>
                        <a:pt x="451" y="255"/>
                      </a:lnTo>
                      <a:lnTo>
                        <a:pt x="439" y="232"/>
                      </a:lnTo>
                      <a:lnTo>
                        <a:pt x="418" y="248"/>
                      </a:lnTo>
                      <a:lnTo>
                        <a:pt x="385" y="239"/>
                      </a:lnTo>
                      <a:lnTo>
                        <a:pt x="385" y="239"/>
                      </a:lnTo>
                      <a:lnTo>
                        <a:pt x="385" y="239"/>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6" name="Freeform 483">
                  <a:extLst>
                    <a:ext uri="{FF2B5EF4-FFF2-40B4-BE49-F238E27FC236}">
                      <a16:creationId xmlns:a16="http://schemas.microsoft.com/office/drawing/2014/main" id="{BDC5B0F2-1621-47DA-A1FD-8CF2112E9A5E}"/>
                    </a:ext>
                  </a:extLst>
                </p:cNvPr>
                <p:cNvSpPr>
                  <a:spLocks/>
                </p:cNvSpPr>
                <p:nvPr/>
              </p:nvSpPr>
              <p:spPr bwMode="gray">
                <a:xfrm>
                  <a:off x="10314352" y="2705165"/>
                  <a:ext cx="184016" cy="187742"/>
                </a:xfrm>
                <a:custGeom>
                  <a:avLst/>
                  <a:gdLst>
                    <a:gd name="T0" fmla="*/ 45 w 447"/>
                    <a:gd name="T1" fmla="*/ 217 h 456"/>
                    <a:gd name="T2" fmla="*/ 55 w 447"/>
                    <a:gd name="T3" fmla="*/ 217 h 456"/>
                    <a:gd name="T4" fmla="*/ 104 w 447"/>
                    <a:gd name="T5" fmla="*/ 184 h 456"/>
                    <a:gd name="T6" fmla="*/ 156 w 447"/>
                    <a:gd name="T7" fmla="*/ 144 h 456"/>
                    <a:gd name="T8" fmla="*/ 189 w 447"/>
                    <a:gd name="T9" fmla="*/ 106 h 456"/>
                    <a:gd name="T10" fmla="*/ 270 w 447"/>
                    <a:gd name="T11" fmla="*/ 144 h 456"/>
                    <a:gd name="T12" fmla="*/ 270 w 447"/>
                    <a:gd name="T13" fmla="*/ 106 h 456"/>
                    <a:gd name="T14" fmla="*/ 324 w 447"/>
                    <a:gd name="T15" fmla="*/ 89 h 456"/>
                    <a:gd name="T16" fmla="*/ 357 w 447"/>
                    <a:gd name="T17" fmla="*/ 49 h 456"/>
                    <a:gd name="T18" fmla="*/ 378 w 447"/>
                    <a:gd name="T19" fmla="*/ 49 h 456"/>
                    <a:gd name="T20" fmla="*/ 421 w 447"/>
                    <a:gd name="T21" fmla="*/ 11 h 456"/>
                    <a:gd name="T22" fmla="*/ 442 w 447"/>
                    <a:gd name="T23" fmla="*/ 45 h 456"/>
                    <a:gd name="T24" fmla="*/ 447 w 447"/>
                    <a:gd name="T25" fmla="*/ 66 h 456"/>
                    <a:gd name="T26" fmla="*/ 378 w 447"/>
                    <a:gd name="T27" fmla="*/ 122 h 456"/>
                    <a:gd name="T28" fmla="*/ 388 w 447"/>
                    <a:gd name="T29" fmla="*/ 144 h 456"/>
                    <a:gd name="T30" fmla="*/ 350 w 447"/>
                    <a:gd name="T31" fmla="*/ 200 h 456"/>
                    <a:gd name="T32" fmla="*/ 303 w 447"/>
                    <a:gd name="T33" fmla="*/ 238 h 456"/>
                    <a:gd name="T34" fmla="*/ 286 w 447"/>
                    <a:gd name="T35" fmla="*/ 255 h 456"/>
                    <a:gd name="T36" fmla="*/ 260 w 447"/>
                    <a:gd name="T37" fmla="*/ 271 h 456"/>
                    <a:gd name="T38" fmla="*/ 232 w 447"/>
                    <a:gd name="T39" fmla="*/ 323 h 456"/>
                    <a:gd name="T40" fmla="*/ 218 w 447"/>
                    <a:gd name="T41" fmla="*/ 311 h 456"/>
                    <a:gd name="T42" fmla="*/ 248 w 447"/>
                    <a:gd name="T43" fmla="*/ 340 h 456"/>
                    <a:gd name="T44" fmla="*/ 281 w 447"/>
                    <a:gd name="T45" fmla="*/ 394 h 456"/>
                    <a:gd name="T46" fmla="*/ 206 w 447"/>
                    <a:gd name="T47" fmla="*/ 406 h 456"/>
                    <a:gd name="T48" fmla="*/ 163 w 447"/>
                    <a:gd name="T49" fmla="*/ 451 h 456"/>
                    <a:gd name="T50" fmla="*/ 135 w 447"/>
                    <a:gd name="T51" fmla="*/ 451 h 456"/>
                    <a:gd name="T52" fmla="*/ 121 w 447"/>
                    <a:gd name="T53" fmla="*/ 439 h 456"/>
                    <a:gd name="T54" fmla="*/ 109 w 447"/>
                    <a:gd name="T55" fmla="*/ 432 h 456"/>
                    <a:gd name="T56" fmla="*/ 104 w 447"/>
                    <a:gd name="T57" fmla="*/ 439 h 456"/>
                    <a:gd name="T58" fmla="*/ 88 w 447"/>
                    <a:gd name="T59" fmla="*/ 439 h 456"/>
                    <a:gd name="T60" fmla="*/ 71 w 447"/>
                    <a:gd name="T61" fmla="*/ 422 h 456"/>
                    <a:gd name="T62" fmla="*/ 45 w 447"/>
                    <a:gd name="T63" fmla="*/ 406 h 456"/>
                    <a:gd name="T64" fmla="*/ 83 w 447"/>
                    <a:gd name="T65" fmla="*/ 366 h 456"/>
                    <a:gd name="T66" fmla="*/ 66 w 447"/>
                    <a:gd name="T67" fmla="*/ 361 h 456"/>
                    <a:gd name="T68" fmla="*/ 71 w 447"/>
                    <a:gd name="T69" fmla="*/ 304 h 456"/>
                    <a:gd name="T70" fmla="*/ 55 w 447"/>
                    <a:gd name="T71" fmla="*/ 295 h 456"/>
                    <a:gd name="T72" fmla="*/ 33 w 447"/>
                    <a:gd name="T73" fmla="*/ 288 h 456"/>
                    <a:gd name="T74" fmla="*/ 17 w 447"/>
                    <a:gd name="T75" fmla="*/ 283 h 456"/>
                    <a:gd name="T76" fmla="*/ 12 w 447"/>
                    <a:gd name="T77" fmla="*/ 250 h 456"/>
                    <a:gd name="T78" fmla="*/ 12 w 447"/>
                    <a:gd name="T79" fmla="*/ 25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47" h="456">
                      <a:moveTo>
                        <a:pt x="12" y="250"/>
                      </a:moveTo>
                      <a:lnTo>
                        <a:pt x="45" y="217"/>
                      </a:lnTo>
                      <a:lnTo>
                        <a:pt x="55" y="229"/>
                      </a:lnTo>
                      <a:lnTo>
                        <a:pt x="55" y="217"/>
                      </a:lnTo>
                      <a:lnTo>
                        <a:pt x="83" y="200"/>
                      </a:lnTo>
                      <a:lnTo>
                        <a:pt x="104" y="184"/>
                      </a:lnTo>
                      <a:lnTo>
                        <a:pt x="125" y="184"/>
                      </a:lnTo>
                      <a:lnTo>
                        <a:pt x="156" y="144"/>
                      </a:lnTo>
                      <a:lnTo>
                        <a:pt x="163" y="122"/>
                      </a:lnTo>
                      <a:lnTo>
                        <a:pt x="189" y="106"/>
                      </a:lnTo>
                      <a:lnTo>
                        <a:pt x="210" y="139"/>
                      </a:lnTo>
                      <a:lnTo>
                        <a:pt x="270" y="144"/>
                      </a:lnTo>
                      <a:lnTo>
                        <a:pt x="281" y="122"/>
                      </a:lnTo>
                      <a:lnTo>
                        <a:pt x="270" y="106"/>
                      </a:lnTo>
                      <a:lnTo>
                        <a:pt x="265" y="89"/>
                      </a:lnTo>
                      <a:lnTo>
                        <a:pt x="324" y="89"/>
                      </a:lnTo>
                      <a:lnTo>
                        <a:pt x="350" y="66"/>
                      </a:lnTo>
                      <a:lnTo>
                        <a:pt x="357" y="49"/>
                      </a:lnTo>
                      <a:lnTo>
                        <a:pt x="366" y="56"/>
                      </a:lnTo>
                      <a:lnTo>
                        <a:pt x="378" y="49"/>
                      </a:lnTo>
                      <a:lnTo>
                        <a:pt x="395" y="0"/>
                      </a:lnTo>
                      <a:lnTo>
                        <a:pt x="421" y="11"/>
                      </a:lnTo>
                      <a:lnTo>
                        <a:pt x="421" y="28"/>
                      </a:lnTo>
                      <a:lnTo>
                        <a:pt x="442" y="45"/>
                      </a:lnTo>
                      <a:lnTo>
                        <a:pt x="442" y="49"/>
                      </a:lnTo>
                      <a:lnTo>
                        <a:pt x="447" y="66"/>
                      </a:lnTo>
                      <a:lnTo>
                        <a:pt x="433" y="56"/>
                      </a:lnTo>
                      <a:lnTo>
                        <a:pt x="378" y="122"/>
                      </a:lnTo>
                      <a:lnTo>
                        <a:pt x="378" y="139"/>
                      </a:lnTo>
                      <a:lnTo>
                        <a:pt x="388" y="144"/>
                      </a:lnTo>
                      <a:lnTo>
                        <a:pt x="378" y="193"/>
                      </a:lnTo>
                      <a:lnTo>
                        <a:pt x="350" y="200"/>
                      </a:lnTo>
                      <a:lnTo>
                        <a:pt x="340" y="217"/>
                      </a:lnTo>
                      <a:lnTo>
                        <a:pt x="303" y="238"/>
                      </a:lnTo>
                      <a:lnTo>
                        <a:pt x="303" y="250"/>
                      </a:lnTo>
                      <a:lnTo>
                        <a:pt x="286" y="255"/>
                      </a:lnTo>
                      <a:lnTo>
                        <a:pt x="265" y="255"/>
                      </a:lnTo>
                      <a:lnTo>
                        <a:pt x="260" y="271"/>
                      </a:lnTo>
                      <a:lnTo>
                        <a:pt x="227" y="283"/>
                      </a:lnTo>
                      <a:lnTo>
                        <a:pt x="232" y="323"/>
                      </a:lnTo>
                      <a:lnTo>
                        <a:pt x="227" y="311"/>
                      </a:lnTo>
                      <a:lnTo>
                        <a:pt x="218" y="311"/>
                      </a:lnTo>
                      <a:lnTo>
                        <a:pt x="218" y="328"/>
                      </a:lnTo>
                      <a:lnTo>
                        <a:pt x="248" y="340"/>
                      </a:lnTo>
                      <a:lnTo>
                        <a:pt x="286" y="378"/>
                      </a:lnTo>
                      <a:lnTo>
                        <a:pt x="281" y="394"/>
                      </a:lnTo>
                      <a:lnTo>
                        <a:pt x="265" y="399"/>
                      </a:lnTo>
                      <a:lnTo>
                        <a:pt x="206" y="406"/>
                      </a:lnTo>
                      <a:lnTo>
                        <a:pt x="173" y="439"/>
                      </a:lnTo>
                      <a:lnTo>
                        <a:pt x="163" y="451"/>
                      </a:lnTo>
                      <a:lnTo>
                        <a:pt x="151" y="439"/>
                      </a:lnTo>
                      <a:lnTo>
                        <a:pt x="135" y="451"/>
                      </a:lnTo>
                      <a:lnTo>
                        <a:pt x="135" y="456"/>
                      </a:lnTo>
                      <a:lnTo>
                        <a:pt x="121" y="439"/>
                      </a:lnTo>
                      <a:lnTo>
                        <a:pt x="121" y="451"/>
                      </a:lnTo>
                      <a:lnTo>
                        <a:pt x="109" y="432"/>
                      </a:lnTo>
                      <a:lnTo>
                        <a:pt x="97" y="422"/>
                      </a:lnTo>
                      <a:lnTo>
                        <a:pt x="104" y="439"/>
                      </a:lnTo>
                      <a:lnTo>
                        <a:pt x="71" y="456"/>
                      </a:lnTo>
                      <a:lnTo>
                        <a:pt x="88" y="439"/>
                      </a:lnTo>
                      <a:lnTo>
                        <a:pt x="50" y="432"/>
                      </a:lnTo>
                      <a:lnTo>
                        <a:pt x="71" y="422"/>
                      </a:lnTo>
                      <a:lnTo>
                        <a:pt x="29" y="415"/>
                      </a:lnTo>
                      <a:lnTo>
                        <a:pt x="45" y="406"/>
                      </a:lnTo>
                      <a:lnTo>
                        <a:pt x="50" y="382"/>
                      </a:lnTo>
                      <a:lnTo>
                        <a:pt x="83" y="366"/>
                      </a:lnTo>
                      <a:lnTo>
                        <a:pt x="97" y="378"/>
                      </a:lnTo>
                      <a:lnTo>
                        <a:pt x="66" y="361"/>
                      </a:lnTo>
                      <a:lnTo>
                        <a:pt x="83" y="323"/>
                      </a:lnTo>
                      <a:lnTo>
                        <a:pt x="71" y="304"/>
                      </a:lnTo>
                      <a:lnTo>
                        <a:pt x="83" y="295"/>
                      </a:lnTo>
                      <a:lnTo>
                        <a:pt x="55" y="295"/>
                      </a:lnTo>
                      <a:lnTo>
                        <a:pt x="33" y="283"/>
                      </a:lnTo>
                      <a:lnTo>
                        <a:pt x="33" y="288"/>
                      </a:lnTo>
                      <a:lnTo>
                        <a:pt x="29" y="295"/>
                      </a:lnTo>
                      <a:lnTo>
                        <a:pt x="17" y="283"/>
                      </a:lnTo>
                      <a:lnTo>
                        <a:pt x="0" y="267"/>
                      </a:lnTo>
                      <a:lnTo>
                        <a:pt x="12" y="250"/>
                      </a:lnTo>
                      <a:lnTo>
                        <a:pt x="12" y="250"/>
                      </a:lnTo>
                      <a:lnTo>
                        <a:pt x="12" y="250"/>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7" name="Freeform 488">
                  <a:extLst>
                    <a:ext uri="{FF2B5EF4-FFF2-40B4-BE49-F238E27FC236}">
                      <a16:creationId xmlns:a16="http://schemas.microsoft.com/office/drawing/2014/main" id="{44BFD338-D3E1-4707-A28A-71909C57630E}"/>
                    </a:ext>
                  </a:extLst>
                </p:cNvPr>
                <p:cNvSpPr>
                  <a:spLocks noEditPoints="1"/>
                </p:cNvSpPr>
                <p:nvPr/>
              </p:nvSpPr>
              <p:spPr bwMode="gray">
                <a:xfrm>
                  <a:off x="8069103" y="2224692"/>
                  <a:ext cx="1178611" cy="566933"/>
                </a:xfrm>
                <a:custGeom>
                  <a:avLst/>
                  <a:gdLst>
                    <a:gd name="T0" fmla="*/ 456 w 2863"/>
                    <a:gd name="T1" fmla="*/ 1240 h 1377"/>
                    <a:gd name="T2" fmla="*/ 364 w 2863"/>
                    <a:gd name="T3" fmla="*/ 1155 h 1377"/>
                    <a:gd name="T4" fmla="*/ 267 w 2863"/>
                    <a:gd name="T5" fmla="*/ 1015 h 1377"/>
                    <a:gd name="T6" fmla="*/ 309 w 2863"/>
                    <a:gd name="T7" fmla="*/ 994 h 1377"/>
                    <a:gd name="T8" fmla="*/ 465 w 2863"/>
                    <a:gd name="T9" fmla="*/ 878 h 1377"/>
                    <a:gd name="T10" fmla="*/ 394 w 2863"/>
                    <a:gd name="T11" fmla="*/ 829 h 1377"/>
                    <a:gd name="T12" fmla="*/ 196 w 2863"/>
                    <a:gd name="T13" fmla="*/ 850 h 1377"/>
                    <a:gd name="T14" fmla="*/ 158 w 2863"/>
                    <a:gd name="T15" fmla="*/ 834 h 1377"/>
                    <a:gd name="T16" fmla="*/ 0 w 2863"/>
                    <a:gd name="T17" fmla="*/ 678 h 1377"/>
                    <a:gd name="T18" fmla="*/ 71 w 2863"/>
                    <a:gd name="T19" fmla="*/ 493 h 1377"/>
                    <a:gd name="T20" fmla="*/ 158 w 2863"/>
                    <a:gd name="T21" fmla="*/ 510 h 1377"/>
                    <a:gd name="T22" fmla="*/ 272 w 2863"/>
                    <a:gd name="T23" fmla="*/ 399 h 1377"/>
                    <a:gd name="T24" fmla="*/ 335 w 2863"/>
                    <a:gd name="T25" fmla="*/ 382 h 1377"/>
                    <a:gd name="T26" fmla="*/ 411 w 2863"/>
                    <a:gd name="T27" fmla="*/ 366 h 1377"/>
                    <a:gd name="T28" fmla="*/ 562 w 2863"/>
                    <a:gd name="T29" fmla="*/ 456 h 1377"/>
                    <a:gd name="T30" fmla="*/ 574 w 2863"/>
                    <a:gd name="T31" fmla="*/ 434 h 1377"/>
                    <a:gd name="T32" fmla="*/ 713 w 2863"/>
                    <a:gd name="T33" fmla="*/ 434 h 1377"/>
                    <a:gd name="T34" fmla="*/ 827 w 2863"/>
                    <a:gd name="T35" fmla="*/ 423 h 1377"/>
                    <a:gd name="T36" fmla="*/ 914 w 2863"/>
                    <a:gd name="T37" fmla="*/ 489 h 1377"/>
                    <a:gd name="T38" fmla="*/ 1061 w 2863"/>
                    <a:gd name="T39" fmla="*/ 418 h 1377"/>
                    <a:gd name="T40" fmla="*/ 952 w 2863"/>
                    <a:gd name="T41" fmla="*/ 349 h 1377"/>
                    <a:gd name="T42" fmla="*/ 1006 w 2863"/>
                    <a:gd name="T43" fmla="*/ 278 h 1377"/>
                    <a:gd name="T44" fmla="*/ 1028 w 2863"/>
                    <a:gd name="T45" fmla="*/ 217 h 1377"/>
                    <a:gd name="T46" fmla="*/ 1037 w 2863"/>
                    <a:gd name="T47" fmla="*/ 167 h 1377"/>
                    <a:gd name="T48" fmla="*/ 1129 w 2863"/>
                    <a:gd name="T49" fmla="*/ 160 h 1377"/>
                    <a:gd name="T50" fmla="*/ 1226 w 2863"/>
                    <a:gd name="T51" fmla="*/ 111 h 1377"/>
                    <a:gd name="T52" fmla="*/ 1368 w 2863"/>
                    <a:gd name="T53" fmla="*/ 89 h 1377"/>
                    <a:gd name="T54" fmla="*/ 1561 w 2863"/>
                    <a:gd name="T55" fmla="*/ 12 h 1377"/>
                    <a:gd name="T56" fmla="*/ 1687 w 2863"/>
                    <a:gd name="T57" fmla="*/ 16 h 1377"/>
                    <a:gd name="T58" fmla="*/ 1729 w 2863"/>
                    <a:gd name="T59" fmla="*/ 111 h 1377"/>
                    <a:gd name="T60" fmla="*/ 1795 w 2863"/>
                    <a:gd name="T61" fmla="*/ 106 h 1377"/>
                    <a:gd name="T62" fmla="*/ 1838 w 2863"/>
                    <a:gd name="T63" fmla="*/ 156 h 1377"/>
                    <a:gd name="T64" fmla="*/ 1918 w 2863"/>
                    <a:gd name="T65" fmla="*/ 139 h 1377"/>
                    <a:gd name="T66" fmla="*/ 1946 w 2863"/>
                    <a:gd name="T67" fmla="*/ 184 h 1377"/>
                    <a:gd name="T68" fmla="*/ 2027 w 2863"/>
                    <a:gd name="T69" fmla="*/ 139 h 1377"/>
                    <a:gd name="T70" fmla="*/ 2119 w 2863"/>
                    <a:gd name="T71" fmla="*/ 127 h 1377"/>
                    <a:gd name="T72" fmla="*/ 2376 w 2863"/>
                    <a:gd name="T73" fmla="*/ 423 h 1377"/>
                    <a:gd name="T74" fmla="*/ 2523 w 2863"/>
                    <a:gd name="T75" fmla="*/ 460 h 1377"/>
                    <a:gd name="T76" fmla="*/ 2702 w 2863"/>
                    <a:gd name="T77" fmla="*/ 534 h 1377"/>
                    <a:gd name="T78" fmla="*/ 2825 w 2863"/>
                    <a:gd name="T79" fmla="*/ 550 h 1377"/>
                    <a:gd name="T80" fmla="*/ 2837 w 2863"/>
                    <a:gd name="T81" fmla="*/ 612 h 1377"/>
                    <a:gd name="T82" fmla="*/ 2750 w 2863"/>
                    <a:gd name="T83" fmla="*/ 777 h 1377"/>
                    <a:gd name="T84" fmla="*/ 2627 w 2863"/>
                    <a:gd name="T85" fmla="*/ 810 h 1377"/>
                    <a:gd name="T86" fmla="*/ 2485 w 2863"/>
                    <a:gd name="T87" fmla="*/ 978 h 1377"/>
                    <a:gd name="T88" fmla="*/ 2376 w 2863"/>
                    <a:gd name="T89" fmla="*/ 1027 h 1377"/>
                    <a:gd name="T90" fmla="*/ 2362 w 2863"/>
                    <a:gd name="T91" fmla="*/ 1200 h 1377"/>
                    <a:gd name="T92" fmla="*/ 2157 w 2863"/>
                    <a:gd name="T93" fmla="*/ 1178 h 1377"/>
                    <a:gd name="T94" fmla="*/ 1902 w 2863"/>
                    <a:gd name="T95" fmla="*/ 1162 h 1377"/>
                    <a:gd name="T96" fmla="*/ 1713 w 2863"/>
                    <a:gd name="T97" fmla="*/ 1233 h 1377"/>
                    <a:gd name="T98" fmla="*/ 1583 w 2863"/>
                    <a:gd name="T99" fmla="*/ 1323 h 1377"/>
                    <a:gd name="T100" fmla="*/ 1422 w 2863"/>
                    <a:gd name="T101" fmla="*/ 1327 h 1377"/>
                    <a:gd name="T102" fmla="*/ 1292 w 2863"/>
                    <a:gd name="T103" fmla="*/ 1105 h 1377"/>
                    <a:gd name="T104" fmla="*/ 666 w 2863"/>
                    <a:gd name="T105" fmla="*/ 1311 h 1377"/>
                    <a:gd name="T106" fmla="*/ 456 w 2863"/>
                    <a:gd name="T107" fmla="*/ 883 h 1377"/>
                    <a:gd name="T108" fmla="*/ 267 w 2863"/>
                    <a:gd name="T109" fmla="*/ 994 h 1377"/>
                    <a:gd name="T110" fmla="*/ 255 w 2863"/>
                    <a:gd name="T111" fmla="*/ 999 h 1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63" h="1377">
                      <a:moveTo>
                        <a:pt x="666" y="1311"/>
                      </a:moveTo>
                      <a:lnTo>
                        <a:pt x="628" y="1323"/>
                      </a:lnTo>
                      <a:lnTo>
                        <a:pt x="595" y="1273"/>
                      </a:lnTo>
                      <a:lnTo>
                        <a:pt x="595" y="1266"/>
                      </a:lnTo>
                      <a:lnTo>
                        <a:pt x="541" y="1221"/>
                      </a:lnTo>
                      <a:lnTo>
                        <a:pt x="487" y="1233"/>
                      </a:lnTo>
                      <a:lnTo>
                        <a:pt x="456" y="1240"/>
                      </a:lnTo>
                      <a:lnTo>
                        <a:pt x="418" y="1282"/>
                      </a:lnTo>
                      <a:lnTo>
                        <a:pt x="418" y="1266"/>
                      </a:lnTo>
                      <a:lnTo>
                        <a:pt x="411" y="1249"/>
                      </a:lnTo>
                      <a:lnTo>
                        <a:pt x="432" y="1195"/>
                      </a:lnTo>
                      <a:lnTo>
                        <a:pt x="394" y="1178"/>
                      </a:lnTo>
                      <a:lnTo>
                        <a:pt x="380" y="1183"/>
                      </a:lnTo>
                      <a:lnTo>
                        <a:pt x="364" y="1155"/>
                      </a:lnTo>
                      <a:lnTo>
                        <a:pt x="335" y="1155"/>
                      </a:lnTo>
                      <a:lnTo>
                        <a:pt x="335" y="1129"/>
                      </a:lnTo>
                      <a:lnTo>
                        <a:pt x="319" y="1100"/>
                      </a:lnTo>
                      <a:lnTo>
                        <a:pt x="305" y="1067"/>
                      </a:lnTo>
                      <a:lnTo>
                        <a:pt x="267" y="1051"/>
                      </a:lnTo>
                      <a:lnTo>
                        <a:pt x="267" y="1027"/>
                      </a:lnTo>
                      <a:lnTo>
                        <a:pt x="267" y="1015"/>
                      </a:lnTo>
                      <a:lnTo>
                        <a:pt x="305" y="1027"/>
                      </a:lnTo>
                      <a:lnTo>
                        <a:pt x="326" y="1034"/>
                      </a:lnTo>
                      <a:lnTo>
                        <a:pt x="357" y="1034"/>
                      </a:lnTo>
                      <a:lnTo>
                        <a:pt x="335" y="1027"/>
                      </a:lnTo>
                      <a:lnTo>
                        <a:pt x="335" y="1015"/>
                      </a:lnTo>
                      <a:lnTo>
                        <a:pt x="309" y="999"/>
                      </a:lnTo>
                      <a:lnTo>
                        <a:pt x="309" y="994"/>
                      </a:lnTo>
                      <a:lnTo>
                        <a:pt x="335" y="978"/>
                      </a:lnTo>
                      <a:lnTo>
                        <a:pt x="343" y="956"/>
                      </a:lnTo>
                      <a:lnTo>
                        <a:pt x="418" y="956"/>
                      </a:lnTo>
                      <a:lnTo>
                        <a:pt x="470" y="961"/>
                      </a:lnTo>
                      <a:lnTo>
                        <a:pt x="432" y="940"/>
                      </a:lnTo>
                      <a:lnTo>
                        <a:pt x="465" y="900"/>
                      </a:lnTo>
                      <a:lnTo>
                        <a:pt x="465" y="878"/>
                      </a:lnTo>
                      <a:lnTo>
                        <a:pt x="456" y="862"/>
                      </a:lnTo>
                      <a:lnTo>
                        <a:pt x="470" y="845"/>
                      </a:lnTo>
                      <a:lnTo>
                        <a:pt x="470" y="834"/>
                      </a:lnTo>
                      <a:lnTo>
                        <a:pt x="456" y="822"/>
                      </a:lnTo>
                      <a:lnTo>
                        <a:pt x="449" y="810"/>
                      </a:lnTo>
                      <a:lnTo>
                        <a:pt x="418" y="810"/>
                      </a:lnTo>
                      <a:lnTo>
                        <a:pt x="394" y="829"/>
                      </a:lnTo>
                      <a:lnTo>
                        <a:pt x="373" y="822"/>
                      </a:lnTo>
                      <a:lnTo>
                        <a:pt x="357" y="805"/>
                      </a:lnTo>
                      <a:lnTo>
                        <a:pt x="326" y="805"/>
                      </a:lnTo>
                      <a:lnTo>
                        <a:pt x="305" y="822"/>
                      </a:lnTo>
                      <a:lnTo>
                        <a:pt x="272" y="822"/>
                      </a:lnTo>
                      <a:lnTo>
                        <a:pt x="234" y="850"/>
                      </a:lnTo>
                      <a:lnTo>
                        <a:pt x="196" y="850"/>
                      </a:lnTo>
                      <a:lnTo>
                        <a:pt x="201" y="867"/>
                      </a:lnTo>
                      <a:lnTo>
                        <a:pt x="196" y="862"/>
                      </a:lnTo>
                      <a:lnTo>
                        <a:pt x="184" y="867"/>
                      </a:lnTo>
                      <a:lnTo>
                        <a:pt x="142" y="850"/>
                      </a:lnTo>
                      <a:lnTo>
                        <a:pt x="142" y="834"/>
                      </a:lnTo>
                      <a:lnTo>
                        <a:pt x="158" y="834"/>
                      </a:lnTo>
                      <a:lnTo>
                        <a:pt x="158" y="834"/>
                      </a:lnTo>
                      <a:lnTo>
                        <a:pt x="180" y="829"/>
                      </a:lnTo>
                      <a:lnTo>
                        <a:pt x="120" y="751"/>
                      </a:lnTo>
                      <a:lnTo>
                        <a:pt x="66" y="734"/>
                      </a:lnTo>
                      <a:lnTo>
                        <a:pt x="66" y="751"/>
                      </a:lnTo>
                      <a:lnTo>
                        <a:pt x="50" y="734"/>
                      </a:lnTo>
                      <a:lnTo>
                        <a:pt x="38" y="694"/>
                      </a:lnTo>
                      <a:lnTo>
                        <a:pt x="0" y="678"/>
                      </a:lnTo>
                      <a:lnTo>
                        <a:pt x="17" y="628"/>
                      </a:lnTo>
                      <a:lnTo>
                        <a:pt x="38" y="612"/>
                      </a:lnTo>
                      <a:lnTo>
                        <a:pt x="17" y="600"/>
                      </a:lnTo>
                      <a:lnTo>
                        <a:pt x="33" y="550"/>
                      </a:lnTo>
                      <a:lnTo>
                        <a:pt x="54" y="529"/>
                      </a:lnTo>
                      <a:lnTo>
                        <a:pt x="54" y="501"/>
                      </a:lnTo>
                      <a:lnTo>
                        <a:pt x="71" y="493"/>
                      </a:lnTo>
                      <a:lnTo>
                        <a:pt x="76" y="489"/>
                      </a:lnTo>
                      <a:lnTo>
                        <a:pt x="104" y="510"/>
                      </a:lnTo>
                      <a:lnTo>
                        <a:pt x="125" y="545"/>
                      </a:lnTo>
                      <a:lnTo>
                        <a:pt x="130" y="550"/>
                      </a:lnTo>
                      <a:lnTo>
                        <a:pt x="163" y="545"/>
                      </a:lnTo>
                      <a:lnTo>
                        <a:pt x="175" y="529"/>
                      </a:lnTo>
                      <a:lnTo>
                        <a:pt x="158" y="510"/>
                      </a:lnTo>
                      <a:lnTo>
                        <a:pt x="158" y="477"/>
                      </a:lnTo>
                      <a:lnTo>
                        <a:pt x="201" y="456"/>
                      </a:lnTo>
                      <a:lnTo>
                        <a:pt x="201" y="439"/>
                      </a:lnTo>
                      <a:lnTo>
                        <a:pt x="213" y="423"/>
                      </a:lnTo>
                      <a:lnTo>
                        <a:pt x="234" y="434"/>
                      </a:lnTo>
                      <a:lnTo>
                        <a:pt x="272" y="406"/>
                      </a:lnTo>
                      <a:lnTo>
                        <a:pt x="272" y="399"/>
                      </a:lnTo>
                      <a:lnTo>
                        <a:pt x="288" y="389"/>
                      </a:lnTo>
                      <a:lnTo>
                        <a:pt x="288" y="378"/>
                      </a:lnTo>
                      <a:lnTo>
                        <a:pt x="305" y="382"/>
                      </a:lnTo>
                      <a:lnTo>
                        <a:pt x="305" y="366"/>
                      </a:lnTo>
                      <a:lnTo>
                        <a:pt x="343" y="378"/>
                      </a:lnTo>
                      <a:lnTo>
                        <a:pt x="343" y="382"/>
                      </a:lnTo>
                      <a:lnTo>
                        <a:pt x="335" y="382"/>
                      </a:lnTo>
                      <a:lnTo>
                        <a:pt x="335" y="389"/>
                      </a:lnTo>
                      <a:lnTo>
                        <a:pt x="364" y="389"/>
                      </a:lnTo>
                      <a:lnTo>
                        <a:pt x="373" y="389"/>
                      </a:lnTo>
                      <a:lnTo>
                        <a:pt x="373" y="382"/>
                      </a:lnTo>
                      <a:lnTo>
                        <a:pt x="380" y="378"/>
                      </a:lnTo>
                      <a:lnTo>
                        <a:pt x="394" y="378"/>
                      </a:lnTo>
                      <a:lnTo>
                        <a:pt x="411" y="366"/>
                      </a:lnTo>
                      <a:lnTo>
                        <a:pt x="428" y="389"/>
                      </a:lnTo>
                      <a:lnTo>
                        <a:pt x="487" y="389"/>
                      </a:lnTo>
                      <a:lnTo>
                        <a:pt x="503" y="399"/>
                      </a:lnTo>
                      <a:lnTo>
                        <a:pt x="503" y="418"/>
                      </a:lnTo>
                      <a:lnTo>
                        <a:pt x="524" y="423"/>
                      </a:lnTo>
                      <a:lnTo>
                        <a:pt x="553" y="444"/>
                      </a:lnTo>
                      <a:lnTo>
                        <a:pt x="562" y="456"/>
                      </a:lnTo>
                      <a:lnTo>
                        <a:pt x="557" y="472"/>
                      </a:lnTo>
                      <a:lnTo>
                        <a:pt x="562" y="489"/>
                      </a:lnTo>
                      <a:lnTo>
                        <a:pt x="574" y="477"/>
                      </a:lnTo>
                      <a:lnTo>
                        <a:pt x="574" y="444"/>
                      </a:lnTo>
                      <a:lnTo>
                        <a:pt x="562" y="444"/>
                      </a:lnTo>
                      <a:lnTo>
                        <a:pt x="562" y="439"/>
                      </a:lnTo>
                      <a:lnTo>
                        <a:pt x="574" y="434"/>
                      </a:lnTo>
                      <a:lnTo>
                        <a:pt x="645" y="489"/>
                      </a:lnTo>
                      <a:lnTo>
                        <a:pt x="671" y="460"/>
                      </a:lnTo>
                      <a:lnTo>
                        <a:pt x="683" y="444"/>
                      </a:lnTo>
                      <a:lnTo>
                        <a:pt x="687" y="444"/>
                      </a:lnTo>
                      <a:lnTo>
                        <a:pt x="704" y="434"/>
                      </a:lnTo>
                      <a:lnTo>
                        <a:pt x="720" y="439"/>
                      </a:lnTo>
                      <a:lnTo>
                        <a:pt x="713" y="434"/>
                      </a:lnTo>
                      <a:lnTo>
                        <a:pt x="720" y="434"/>
                      </a:lnTo>
                      <a:lnTo>
                        <a:pt x="742" y="434"/>
                      </a:lnTo>
                      <a:lnTo>
                        <a:pt x="772" y="456"/>
                      </a:lnTo>
                      <a:lnTo>
                        <a:pt x="789" y="444"/>
                      </a:lnTo>
                      <a:lnTo>
                        <a:pt x="789" y="434"/>
                      </a:lnTo>
                      <a:lnTo>
                        <a:pt x="822" y="434"/>
                      </a:lnTo>
                      <a:lnTo>
                        <a:pt x="827" y="423"/>
                      </a:lnTo>
                      <a:lnTo>
                        <a:pt x="848" y="434"/>
                      </a:lnTo>
                      <a:lnTo>
                        <a:pt x="843" y="444"/>
                      </a:lnTo>
                      <a:lnTo>
                        <a:pt x="848" y="456"/>
                      </a:lnTo>
                      <a:lnTo>
                        <a:pt x="876" y="472"/>
                      </a:lnTo>
                      <a:lnTo>
                        <a:pt x="914" y="472"/>
                      </a:lnTo>
                      <a:lnTo>
                        <a:pt x="919" y="477"/>
                      </a:lnTo>
                      <a:lnTo>
                        <a:pt x="914" y="489"/>
                      </a:lnTo>
                      <a:lnTo>
                        <a:pt x="914" y="489"/>
                      </a:lnTo>
                      <a:lnTo>
                        <a:pt x="935" y="477"/>
                      </a:lnTo>
                      <a:lnTo>
                        <a:pt x="952" y="456"/>
                      </a:lnTo>
                      <a:lnTo>
                        <a:pt x="968" y="472"/>
                      </a:lnTo>
                      <a:lnTo>
                        <a:pt x="994" y="472"/>
                      </a:lnTo>
                      <a:lnTo>
                        <a:pt x="1044" y="460"/>
                      </a:lnTo>
                      <a:lnTo>
                        <a:pt x="1061" y="418"/>
                      </a:lnTo>
                      <a:lnTo>
                        <a:pt x="1065" y="418"/>
                      </a:lnTo>
                      <a:lnTo>
                        <a:pt x="1049" y="399"/>
                      </a:lnTo>
                      <a:lnTo>
                        <a:pt x="1011" y="389"/>
                      </a:lnTo>
                      <a:lnTo>
                        <a:pt x="1011" y="382"/>
                      </a:lnTo>
                      <a:lnTo>
                        <a:pt x="973" y="378"/>
                      </a:lnTo>
                      <a:lnTo>
                        <a:pt x="985" y="361"/>
                      </a:lnTo>
                      <a:lnTo>
                        <a:pt x="952" y="349"/>
                      </a:lnTo>
                      <a:lnTo>
                        <a:pt x="940" y="345"/>
                      </a:lnTo>
                      <a:lnTo>
                        <a:pt x="985" y="328"/>
                      </a:lnTo>
                      <a:lnTo>
                        <a:pt x="994" y="328"/>
                      </a:lnTo>
                      <a:lnTo>
                        <a:pt x="1023" y="312"/>
                      </a:lnTo>
                      <a:lnTo>
                        <a:pt x="1011" y="295"/>
                      </a:lnTo>
                      <a:lnTo>
                        <a:pt x="1006" y="288"/>
                      </a:lnTo>
                      <a:lnTo>
                        <a:pt x="1006" y="278"/>
                      </a:lnTo>
                      <a:lnTo>
                        <a:pt x="994" y="278"/>
                      </a:lnTo>
                      <a:lnTo>
                        <a:pt x="1023" y="250"/>
                      </a:lnTo>
                      <a:lnTo>
                        <a:pt x="1049" y="238"/>
                      </a:lnTo>
                      <a:lnTo>
                        <a:pt x="1082" y="250"/>
                      </a:lnTo>
                      <a:lnTo>
                        <a:pt x="1098" y="250"/>
                      </a:lnTo>
                      <a:lnTo>
                        <a:pt x="1098" y="234"/>
                      </a:lnTo>
                      <a:lnTo>
                        <a:pt x="1028" y="217"/>
                      </a:lnTo>
                      <a:lnTo>
                        <a:pt x="1037" y="193"/>
                      </a:lnTo>
                      <a:lnTo>
                        <a:pt x="1044" y="201"/>
                      </a:lnTo>
                      <a:lnTo>
                        <a:pt x="1061" y="193"/>
                      </a:lnTo>
                      <a:lnTo>
                        <a:pt x="1049" y="184"/>
                      </a:lnTo>
                      <a:lnTo>
                        <a:pt x="1011" y="184"/>
                      </a:lnTo>
                      <a:lnTo>
                        <a:pt x="1023" y="184"/>
                      </a:lnTo>
                      <a:lnTo>
                        <a:pt x="1037" y="167"/>
                      </a:lnTo>
                      <a:lnTo>
                        <a:pt x="1023" y="160"/>
                      </a:lnTo>
                      <a:lnTo>
                        <a:pt x="1023" y="156"/>
                      </a:lnTo>
                      <a:lnTo>
                        <a:pt x="1044" y="139"/>
                      </a:lnTo>
                      <a:lnTo>
                        <a:pt x="1091" y="156"/>
                      </a:lnTo>
                      <a:lnTo>
                        <a:pt x="1091" y="144"/>
                      </a:lnTo>
                      <a:lnTo>
                        <a:pt x="1113" y="144"/>
                      </a:lnTo>
                      <a:lnTo>
                        <a:pt x="1129" y="160"/>
                      </a:lnTo>
                      <a:lnTo>
                        <a:pt x="1129" y="144"/>
                      </a:lnTo>
                      <a:lnTo>
                        <a:pt x="1167" y="139"/>
                      </a:lnTo>
                      <a:lnTo>
                        <a:pt x="1167" y="127"/>
                      </a:lnTo>
                      <a:lnTo>
                        <a:pt x="1205" y="123"/>
                      </a:lnTo>
                      <a:lnTo>
                        <a:pt x="1221" y="127"/>
                      </a:lnTo>
                      <a:lnTo>
                        <a:pt x="1226" y="123"/>
                      </a:lnTo>
                      <a:lnTo>
                        <a:pt x="1226" y="111"/>
                      </a:lnTo>
                      <a:lnTo>
                        <a:pt x="1292" y="106"/>
                      </a:lnTo>
                      <a:lnTo>
                        <a:pt x="1313" y="111"/>
                      </a:lnTo>
                      <a:lnTo>
                        <a:pt x="1313" y="99"/>
                      </a:lnTo>
                      <a:lnTo>
                        <a:pt x="1330" y="82"/>
                      </a:lnTo>
                      <a:lnTo>
                        <a:pt x="1351" y="89"/>
                      </a:lnTo>
                      <a:lnTo>
                        <a:pt x="1368" y="73"/>
                      </a:lnTo>
                      <a:lnTo>
                        <a:pt x="1368" y="89"/>
                      </a:lnTo>
                      <a:lnTo>
                        <a:pt x="1476" y="66"/>
                      </a:lnTo>
                      <a:lnTo>
                        <a:pt x="1507" y="49"/>
                      </a:lnTo>
                      <a:lnTo>
                        <a:pt x="1524" y="49"/>
                      </a:lnTo>
                      <a:lnTo>
                        <a:pt x="1528" y="45"/>
                      </a:lnTo>
                      <a:lnTo>
                        <a:pt x="1524" y="28"/>
                      </a:lnTo>
                      <a:lnTo>
                        <a:pt x="1552" y="28"/>
                      </a:lnTo>
                      <a:lnTo>
                        <a:pt x="1561" y="12"/>
                      </a:lnTo>
                      <a:lnTo>
                        <a:pt x="1578" y="16"/>
                      </a:lnTo>
                      <a:lnTo>
                        <a:pt x="1578" y="0"/>
                      </a:lnTo>
                      <a:lnTo>
                        <a:pt x="1594" y="16"/>
                      </a:lnTo>
                      <a:lnTo>
                        <a:pt x="1599" y="12"/>
                      </a:lnTo>
                      <a:lnTo>
                        <a:pt x="1620" y="12"/>
                      </a:lnTo>
                      <a:lnTo>
                        <a:pt x="1670" y="33"/>
                      </a:lnTo>
                      <a:lnTo>
                        <a:pt x="1687" y="16"/>
                      </a:lnTo>
                      <a:lnTo>
                        <a:pt x="1708" y="16"/>
                      </a:lnTo>
                      <a:lnTo>
                        <a:pt x="1708" y="16"/>
                      </a:lnTo>
                      <a:lnTo>
                        <a:pt x="1713" y="45"/>
                      </a:lnTo>
                      <a:lnTo>
                        <a:pt x="1724" y="66"/>
                      </a:lnTo>
                      <a:lnTo>
                        <a:pt x="1741" y="82"/>
                      </a:lnTo>
                      <a:lnTo>
                        <a:pt x="1729" y="89"/>
                      </a:lnTo>
                      <a:lnTo>
                        <a:pt x="1729" y="111"/>
                      </a:lnTo>
                      <a:lnTo>
                        <a:pt x="1713" y="111"/>
                      </a:lnTo>
                      <a:lnTo>
                        <a:pt x="1729" y="139"/>
                      </a:lnTo>
                      <a:lnTo>
                        <a:pt x="1746" y="127"/>
                      </a:lnTo>
                      <a:lnTo>
                        <a:pt x="1762" y="139"/>
                      </a:lnTo>
                      <a:lnTo>
                        <a:pt x="1767" y="123"/>
                      </a:lnTo>
                      <a:lnTo>
                        <a:pt x="1800" y="139"/>
                      </a:lnTo>
                      <a:lnTo>
                        <a:pt x="1795" y="106"/>
                      </a:lnTo>
                      <a:lnTo>
                        <a:pt x="1800" y="111"/>
                      </a:lnTo>
                      <a:lnTo>
                        <a:pt x="1817" y="123"/>
                      </a:lnTo>
                      <a:lnTo>
                        <a:pt x="1809" y="127"/>
                      </a:lnTo>
                      <a:lnTo>
                        <a:pt x="1821" y="127"/>
                      </a:lnTo>
                      <a:lnTo>
                        <a:pt x="1817" y="156"/>
                      </a:lnTo>
                      <a:lnTo>
                        <a:pt x="1821" y="156"/>
                      </a:lnTo>
                      <a:lnTo>
                        <a:pt x="1838" y="156"/>
                      </a:lnTo>
                      <a:lnTo>
                        <a:pt x="1838" y="139"/>
                      </a:lnTo>
                      <a:lnTo>
                        <a:pt x="1821" y="144"/>
                      </a:lnTo>
                      <a:lnTo>
                        <a:pt x="1833" y="127"/>
                      </a:lnTo>
                      <a:lnTo>
                        <a:pt x="1854" y="139"/>
                      </a:lnTo>
                      <a:lnTo>
                        <a:pt x="1864" y="144"/>
                      </a:lnTo>
                      <a:lnTo>
                        <a:pt x="1876" y="156"/>
                      </a:lnTo>
                      <a:lnTo>
                        <a:pt x="1918" y="139"/>
                      </a:lnTo>
                      <a:lnTo>
                        <a:pt x="1909" y="160"/>
                      </a:lnTo>
                      <a:lnTo>
                        <a:pt x="1892" y="160"/>
                      </a:lnTo>
                      <a:lnTo>
                        <a:pt x="1876" y="184"/>
                      </a:lnTo>
                      <a:lnTo>
                        <a:pt x="1892" y="201"/>
                      </a:lnTo>
                      <a:lnTo>
                        <a:pt x="1909" y="184"/>
                      </a:lnTo>
                      <a:lnTo>
                        <a:pt x="1923" y="184"/>
                      </a:lnTo>
                      <a:lnTo>
                        <a:pt x="1946" y="184"/>
                      </a:lnTo>
                      <a:lnTo>
                        <a:pt x="1961" y="201"/>
                      </a:lnTo>
                      <a:lnTo>
                        <a:pt x="1961" y="177"/>
                      </a:lnTo>
                      <a:lnTo>
                        <a:pt x="1977" y="177"/>
                      </a:lnTo>
                      <a:lnTo>
                        <a:pt x="1984" y="160"/>
                      </a:lnTo>
                      <a:lnTo>
                        <a:pt x="1998" y="167"/>
                      </a:lnTo>
                      <a:lnTo>
                        <a:pt x="2031" y="144"/>
                      </a:lnTo>
                      <a:lnTo>
                        <a:pt x="2027" y="139"/>
                      </a:lnTo>
                      <a:lnTo>
                        <a:pt x="2031" y="139"/>
                      </a:lnTo>
                      <a:lnTo>
                        <a:pt x="2086" y="123"/>
                      </a:lnTo>
                      <a:lnTo>
                        <a:pt x="2086" y="111"/>
                      </a:lnTo>
                      <a:lnTo>
                        <a:pt x="2102" y="111"/>
                      </a:lnTo>
                      <a:lnTo>
                        <a:pt x="2124" y="106"/>
                      </a:lnTo>
                      <a:lnTo>
                        <a:pt x="2135" y="123"/>
                      </a:lnTo>
                      <a:lnTo>
                        <a:pt x="2119" y="127"/>
                      </a:lnTo>
                      <a:lnTo>
                        <a:pt x="2102" y="127"/>
                      </a:lnTo>
                      <a:lnTo>
                        <a:pt x="2107" y="144"/>
                      </a:lnTo>
                      <a:lnTo>
                        <a:pt x="2199" y="217"/>
                      </a:lnTo>
                      <a:lnTo>
                        <a:pt x="2355" y="460"/>
                      </a:lnTo>
                      <a:lnTo>
                        <a:pt x="2355" y="456"/>
                      </a:lnTo>
                      <a:lnTo>
                        <a:pt x="2388" y="439"/>
                      </a:lnTo>
                      <a:lnTo>
                        <a:pt x="2376" y="423"/>
                      </a:lnTo>
                      <a:lnTo>
                        <a:pt x="2393" y="418"/>
                      </a:lnTo>
                      <a:lnTo>
                        <a:pt x="2405" y="406"/>
                      </a:lnTo>
                      <a:lnTo>
                        <a:pt x="2431" y="423"/>
                      </a:lnTo>
                      <a:lnTo>
                        <a:pt x="2426" y="444"/>
                      </a:lnTo>
                      <a:lnTo>
                        <a:pt x="2447" y="439"/>
                      </a:lnTo>
                      <a:lnTo>
                        <a:pt x="2459" y="460"/>
                      </a:lnTo>
                      <a:lnTo>
                        <a:pt x="2523" y="460"/>
                      </a:lnTo>
                      <a:lnTo>
                        <a:pt x="2539" y="456"/>
                      </a:lnTo>
                      <a:lnTo>
                        <a:pt x="2539" y="444"/>
                      </a:lnTo>
                      <a:lnTo>
                        <a:pt x="2594" y="439"/>
                      </a:lnTo>
                      <a:lnTo>
                        <a:pt x="2627" y="456"/>
                      </a:lnTo>
                      <a:lnTo>
                        <a:pt x="2657" y="510"/>
                      </a:lnTo>
                      <a:lnTo>
                        <a:pt x="2702" y="529"/>
                      </a:lnTo>
                      <a:lnTo>
                        <a:pt x="2702" y="534"/>
                      </a:lnTo>
                      <a:lnTo>
                        <a:pt x="2702" y="545"/>
                      </a:lnTo>
                      <a:lnTo>
                        <a:pt x="2712" y="545"/>
                      </a:lnTo>
                      <a:lnTo>
                        <a:pt x="2717" y="571"/>
                      </a:lnTo>
                      <a:lnTo>
                        <a:pt x="2750" y="571"/>
                      </a:lnTo>
                      <a:lnTo>
                        <a:pt x="2787" y="583"/>
                      </a:lnTo>
                      <a:lnTo>
                        <a:pt x="2809" y="550"/>
                      </a:lnTo>
                      <a:lnTo>
                        <a:pt x="2825" y="550"/>
                      </a:lnTo>
                      <a:lnTo>
                        <a:pt x="2825" y="555"/>
                      </a:lnTo>
                      <a:lnTo>
                        <a:pt x="2809" y="571"/>
                      </a:lnTo>
                      <a:lnTo>
                        <a:pt x="2837" y="583"/>
                      </a:lnTo>
                      <a:lnTo>
                        <a:pt x="2837" y="600"/>
                      </a:lnTo>
                      <a:lnTo>
                        <a:pt x="2863" y="604"/>
                      </a:lnTo>
                      <a:lnTo>
                        <a:pt x="2863" y="623"/>
                      </a:lnTo>
                      <a:lnTo>
                        <a:pt x="2837" y="612"/>
                      </a:lnTo>
                      <a:lnTo>
                        <a:pt x="2820" y="628"/>
                      </a:lnTo>
                      <a:lnTo>
                        <a:pt x="2825" y="656"/>
                      </a:lnTo>
                      <a:lnTo>
                        <a:pt x="2809" y="666"/>
                      </a:lnTo>
                      <a:lnTo>
                        <a:pt x="2754" y="682"/>
                      </a:lnTo>
                      <a:lnTo>
                        <a:pt x="2740" y="723"/>
                      </a:lnTo>
                      <a:lnTo>
                        <a:pt x="2740" y="767"/>
                      </a:lnTo>
                      <a:lnTo>
                        <a:pt x="2750" y="777"/>
                      </a:lnTo>
                      <a:lnTo>
                        <a:pt x="2750" y="789"/>
                      </a:lnTo>
                      <a:lnTo>
                        <a:pt x="2740" y="805"/>
                      </a:lnTo>
                      <a:lnTo>
                        <a:pt x="2717" y="805"/>
                      </a:lnTo>
                      <a:lnTo>
                        <a:pt x="2686" y="829"/>
                      </a:lnTo>
                      <a:lnTo>
                        <a:pt x="2686" y="822"/>
                      </a:lnTo>
                      <a:lnTo>
                        <a:pt x="2679" y="810"/>
                      </a:lnTo>
                      <a:lnTo>
                        <a:pt x="2627" y="810"/>
                      </a:lnTo>
                      <a:lnTo>
                        <a:pt x="2565" y="789"/>
                      </a:lnTo>
                      <a:lnTo>
                        <a:pt x="2565" y="810"/>
                      </a:lnTo>
                      <a:lnTo>
                        <a:pt x="2513" y="940"/>
                      </a:lnTo>
                      <a:lnTo>
                        <a:pt x="2535" y="956"/>
                      </a:lnTo>
                      <a:lnTo>
                        <a:pt x="2535" y="978"/>
                      </a:lnTo>
                      <a:lnTo>
                        <a:pt x="2513" y="973"/>
                      </a:lnTo>
                      <a:lnTo>
                        <a:pt x="2485" y="978"/>
                      </a:lnTo>
                      <a:lnTo>
                        <a:pt x="2468" y="961"/>
                      </a:lnTo>
                      <a:lnTo>
                        <a:pt x="2355" y="989"/>
                      </a:lnTo>
                      <a:lnTo>
                        <a:pt x="2339" y="999"/>
                      </a:lnTo>
                      <a:lnTo>
                        <a:pt x="2350" y="1011"/>
                      </a:lnTo>
                      <a:lnTo>
                        <a:pt x="2372" y="1011"/>
                      </a:lnTo>
                      <a:lnTo>
                        <a:pt x="2388" y="1015"/>
                      </a:lnTo>
                      <a:lnTo>
                        <a:pt x="2376" y="1027"/>
                      </a:lnTo>
                      <a:lnTo>
                        <a:pt x="2376" y="1067"/>
                      </a:lnTo>
                      <a:lnTo>
                        <a:pt x="2405" y="1129"/>
                      </a:lnTo>
                      <a:lnTo>
                        <a:pt x="2409" y="1155"/>
                      </a:lnTo>
                      <a:lnTo>
                        <a:pt x="2376" y="1167"/>
                      </a:lnTo>
                      <a:lnTo>
                        <a:pt x="2393" y="1178"/>
                      </a:lnTo>
                      <a:lnTo>
                        <a:pt x="2372" y="1183"/>
                      </a:lnTo>
                      <a:lnTo>
                        <a:pt x="2362" y="1200"/>
                      </a:lnTo>
                      <a:lnTo>
                        <a:pt x="2372" y="1233"/>
                      </a:lnTo>
                      <a:lnTo>
                        <a:pt x="2362" y="1240"/>
                      </a:lnTo>
                      <a:lnTo>
                        <a:pt x="2350" y="1216"/>
                      </a:lnTo>
                      <a:lnTo>
                        <a:pt x="2308" y="1216"/>
                      </a:lnTo>
                      <a:lnTo>
                        <a:pt x="2296" y="1195"/>
                      </a:lnTo>
                      <a:lnTo>
                        <a:pt x="2296" y="1183"/>
                      </a:lnTo>
                      <a:lnTo>
                        <a:pt x="2157" y="1178"/>
                      </a:lnTo>
                      <a:lnTo>
                        <a:pt x="2140" y="1167"/>
                      </a:lnTo>
                      <a:lnTo>
                        <a:pt x="2119" y="1178"/>
                      </a:lnTo>
                      <a:lnTo>
                        <a:pt x="2053" y="1167"/>
                      </a:lnTo>
                      <a:lnTo>
                        <a:pt x="2048" y="1183"/>
                      </a:lnTo>
                      <a:lnTo>
                        <a:pt x="1984" y="1167"/>
                      </a:lnTo>
                      <a:lnTo>
                        <a:pt x="1946" y="1145"/>
                      </a:lnTo>
                      <a:lnTo>
                        <a:pt x="1902" y="1162"/>
                      </a:lnTo>
                      <a:lnTo>
                        <a:pt x="1892" y="1200"/>
                      </a:lnTo>
                      <a:lnTo>
                        <a:pt x="1892" y="1216"/>
                      </a:lnTo>
                      <a:lnTo>
                        <a:pt x="1809" y="1183"/>
                      </a:lnTo>
                      <a:lnTo>
                        <a:pt x="1767" y="1183"/>
                      </a:lnTo>
                      <a:lnTo>
                        <a:pt x="1729" y="1195"/>
                      </a:lnTo>
                      <a:lnTo>
                        <a:pt x="1708" y="1221"/>
                      </a:lnTo>
                      <a:lnTo>
                        <a:pt x="1713" y="1233"/>
                      </a:lnTo>
                      <a:lnTo>
                        <a:pt x="1703" y="1240"/>
                      </a:lnTo>
                      <a:lnTo>
                        <a:pt x="1691" y="1256"/>
                      </a:lnTo>
                      <a:lnTo>
                        <a:pt x="1675" y="1249"/>
                      </a:lnTo>
                      <a:lnTo>
                        <a:pt x="1649" y="1282"/>
                      </a:lnTo>
                      <a:lnTo>
                        <a:pt x="1620" y="1282"/>
                      </a:lnTo>
                      <a:lnTo>
                        <a:pt x="1583" y="1311"/>
                      </a:lnTo>
                      <a:lnTo>
                        <a:pt x="1583" y="1323"/>
                      </a:lnTo>
                      <a:lnTo>
                        <a:pt x="1552" y="1351"/>
                      </a:lnTo>
                      <a:lnTo>
                        <a:pt x="1552" y="1377"/>
                      </a:lnTo>
                      <a:lnTo>
                        <a:pt x="1540" y="1377"/>
                      </a:lnTo>
                      <a:lnTo>
                        <a:pt x="1514" y="1360"/>
                      </a:lnTo>
                      <a:lnTo>
                        <a:pt x="1524" y="1339"/>
                      </a:lnTo>
                      <a:lnTo>
                        <a:pt x="1507" y="1327"/>
                      </a:lnTo>
                      <a:lnTo>
                        <a:pt x="1422" y="1327"/>
                      </a:lnTo>
                      <a:lnTo>
                        <a:pt x="1405" y="1256"/>
                      </a:lnTo>
                      <a:lnTo>
                        <a:pt x="1368" y="1256"/>
                      </a:lnTo>
                      <a:lnTo>
                        <a:pt x="1377" y="1167"/>
                      </a:lnTo>
                      <a:lnTo>
                        <a:pt x="1351" y="1178"/>
                      </a:lnTo>
                      <a:lnTo>
                        <a:pt x="1335" y="1138"/>
                      </a:lnTo>
                      <a:lnTo>
                        <a:pt x="1313" y="1129"/>
                      </a:lnTo>
                      <a:lnTo>
                        <a:pt x="1292" y="1105"/>
                      </a:lnTo>
                      <a:lnTo>
                        <a:pt x="1259" y="1122"/>
                      </a:lnTo>
                      <a:lnTo>
                        <a:pt x="1174" y="1110"/>
                      </a:lnTo>
                      <a:lnTo>
                        <a:pt x="1091" y="1122"/>
                      </a:lnTo>
                      <a:lnTo>
                        <a:pt x="1028" y="1056"/>
                      </a:lnTo>
                      <a:lnTo>
                        <a:pt x="843" y="940"/>
                      </a:lnTo>
                      <a:lnTo>
                        <a:pt x="666" y="994"/>
                      </a:lnTo>
                      <a:lnTo>
                        <a:pt x="666" y="1311"/>
                      </a:lnTo>
                      <a:lnTo>
                        <a:pt x="666" y="1311"/>
                      </a:lnTo>
                      <a:lnTo>
                        <a:pt x="666" y="1311"/>
                      </a:lnTo>
                      <a:close/>
                      <a:moveTo>
                        <a:pt x="456" y="883"/>
                      </a:moveTo>
                      <a:lnTo>
                        <a:pt x="449" y="878"/>
                      </a:lnTo>
                      <a:lnTo>
                        <a:pt x="456" y="867"/>
                      </a:lnTo>
                      <a:lnTo>
                        <a:pt x="465" y="878"/>
                      </a:lnTo>
                      <a:lnTo>
                        <a:pt x="456" y="883"/>
                      </a:lnTo>
                      <a:lnTo>
                        <a:pt x="456" y="883"/>
                      </a:lnTo>
                      <a:lnTo>
                        <a:pt x="456" y="883"/>
                      </a:lnTo>
                      <a:close/>
                      <a:moveTo>
                        <a:pt x="267" y="994"/>
                      </a:moveTo>
                      <a:lnTo>
                        <a:pt x="267" y="989"/>
                      </a:lnTo>
                      <a:lnTo>
                        <a:pt x="272" y="989"/>
                      </a:lnTo>
                      <a:lnTo>
                        <a:pt x="267" y="994"/>
                      </a:lnTo>
                      <a:lnTo>
                        <a:pt x="267" y="994"/>
                      </a:lnTo>
                      <a:lnTo>
                        <a:pt x="267" y="994"/>
                      </a:lnTo>
                      <a:close/>
                      <a:moveTo>
                        <a:pt x="255" y="1011"/>
                      </a:moveTo>
                      <a:lnTo>
                        <a:pt x="239" y="994"/>
                      </a:lnTo>
                      <a:lnTo>
                        <a:pt x="250" y="989"/>
                      </a:lnTo>
                      <a:lnTo>
                        <a:pt x="255" y="989"/>
                      </a:lnTo>
                      <a:lnTo>
                        <a:pt x="250" y="994"/>
                      </a:lnTo>
                      <a:lnTo>
                        <a:pt x="255" y="999"/>
                      </a:lnTo>
                      <a:lnTo>
                        <a:pt x="255" y="1011"/>
                      </a:lnTo>
                      <a:lnTo>
                        <a:pt x="255" y="1011"/>
                      </a:lnTo>
                      <a:lnTo>
                        <a:pt x="255" y="1011"/>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8" name="Freeform 491">
                  <a:extLst>
                    <a:ext uri="{FF2B5EF4-FFF2-40B4-BE49-F238E27FC236}">
                      <a16:creationId xmlns:a16="http://schemas.microsoft.com/office/drawing/2014/main" id="{CA6C2C2B-D37D-42E7-87EC-9141DE91E4A3}"/>
                    </a:ext>
                  </a:extLst>
                </p:cNvPr>
                <p:cNvSpPr>
                  <a:spLocks/>
                </p:cNvSpPr>
                <p:nvPr/>
              </p:nvSpPr>
              <p:spPr bwMode="gray">
                <a:xfrm>
                  <a:off x="7333037" y="2115586"/>
                  <a:ext cx="209952" cy="100047"/>
                </a:xfrm>
                <a:custGeom>
                  <a:avLst/>
                  <a:gdLst>
                    <a:gd name="T0" fmla="*/ 234 w 510"/>
                    <a:gd name="T1" fmla="*/ 21 h 243"/>
                    <a:gd name="T2" fmla="*/ 288 w 510"/>
                    <a:gd name="T3" fmla="*/ 0 h 243"/>
                    <a:gd name="T4" fmla="*/ 297 w 510"/>
                    <a:gd name="T5" fmla="*/ 5 h 243"/>
                    <a:gd name="T6" fmla="*/ 297 w 510"/>
                    <a:gd name="T7" fmla="*/ 0 h 243"/>
                    <a:gd name="T8" fmla="*/ 352 w 510"/>
                    <a:gd name="T9" fmla="*/ 21 h 243"/>
                    <a:gd name="T10" fmla="*/ 385 w 510"/>
                    <a:gd name="T11" fmla="*/ 55 h 243"/>
                    <a:gd name="T12" fmla="*/ 418 w 510"/>
                    <a:gd name="T13" fmla="*/ 43 h 243"/>
                    <a:gd name="T14" fmla="*/ 451 w 510"/>
                    <a:gd name="T15" fmla="*/ 55 h 243"/>
                    <a:gd name="T16" fmla="*/ 456 w 510"/>
                    <a:gd name="T17" fmla="*/ 55 h 243"/>
                    <a:gd name="T18" fmla="*/ 456 w 510"/>
                    <a:gd name="T19" fmla="*/ 59 h 243"/>
                    <a:gd name="T20" fmla="*/ 477 w 510"/>
                    <a:gd name="T21" fmla="*/ 76 h 243"/>
                    <a:gd name="T22" fmla="*/ 472 w 510"/>
                    <a:gd name="T23" fmla="*/ 116 h 243"/>
                    <a:gd name="T24" fmla="*/ 489 w 510"/>
                    <a:gd name="T25" fmla="*/ 128 h 243"/>
                    <a:gd name="T26" fmla="*/ 510 w 510"/>
                    <a:gd name="T27" fmla="*/ 182 h 243"/>
                    <a:gd name="T28" fmla="*/ 505 w 510"/>
                    <a:gd name="T29" fmla="*/ 199 h 243"/>
                    <a:gd name="T30" fmla="*/ 489 w 510"/>
                    <a:gd name="T31" fmla="*/ 199 h 243"/>
                    <a:gd name="T32" fmla="*/ 460 w 510"/>
                    <a:gd name="T33" fmla="*/ 222 h 243"/>
                    <a:gd name="T34" fmla="*/ 460 w 510"/>
                    <a:gd name="T35" fmla="*/ 239 h 243"/>
                    <a:gd name="T36" fmla="*/ 418 w 510"/>
                    <a:gd name="T37" fmla="*/ 227 h 243"/>
                    <a:gd name="T38" fmla="*/ 406 w 510"/>
                    <a:gd name="T39" fmla="*/ 243 h 243"/>
                    <a:gd name="T40" fmla="*/ 397 w 510"/>
                    <a:gd name="T41" fmla="*/ 243 h 243"/>
                    <a:gd name="T42" fmla="*/ 368 w 510"/>
                    <a:gd name="T43" fmla="*/ 239 h 243"/>
                    <a:gd name="T44" fmla="*/ 331 w 510"/>
                    <a:gd name="T45" fmla="*/ 199 h 243"/>
                    <a:gd name="T46" fmla="*/ 288 w 510"/>
                    <a:gd name="T47" fmla="*/ 189 h 243"/>
                    <a:gd name="T48" fmla="*/ 271 w 510"/>
                    <a:gd name="T49" fmla="*/ 166 h 243"/>
                    <a:gd name="T50" fmla="*/ 243 w 510"/>
                    <a:gd name="T51" fmla="*/ 182 h 243"/>
                    <a:gd name="T52" fmla="*/ 222 w 510"/>
                    <a:gd name="T53" fmla="*/ 189 h 243"/>
                    <a:gd name="T54" fmla="*/ 163 w 510"/>
                    <a:gd name="T55" fmla="*/ 170 h 243"/>
                    <a:gd name="T56" fmla="*/ 146 w 510"/>
                    <a:gd name="T57" fmla="*/ 182 h 243"/>
                    <a:gd name="T58" fmla="*/ 134 w 510"/>
                    <a:gd name="T59" fmla="*/ 170 h 243"/>
                    <a:gd name="T60" fmla="*/ 113 w 510"/>
                    <a:gd name="T61" fmla="*/ 170 h 243"/>
                    <a:gd name="T62" fmla="*/ 75 w 510"/>
                    <a:gd name="T63" fmla="*/ 170 h 243"/>
                    <a:gd name="T64" fmla="*/ 21 w 510"/>
                    <a:gd name="T65" fmla="*/ 189 h 243"/>
                    <a:gd name="T66" fmla="*/ 16 w 510"/>
                    <a:gd name="T67" fmla="*/ 206 h 243"/>
                    <a:gd name="T68" fmla="*/ 0 w 510"/>
                    <a:gd name="T69" fmla="*/ 206 h 243"/>
                    <a:gd name="T70" fmla="*/ 0 w 510"/>
                    <a:gd name="T71" fmla="*/ 170 h 243"/>
                    <a:gd name="T72" fmla="*/ 0 w 510"/>
                    <a:gd name="T73" fmla="*/ 154 h 243"/>
                    <a:gd name="T74" fmla="*/ 5 w 510"/>
                    <a:gd name="T75" fmla="*/ 166 h 243"/>
                    <a:gd name="T76" fmla="*/ 0 w 510"/>
                    <a:gd name="T77" fmla="*/ 128 h 243"/>
                    <a:gd name="T78" fmla="*/ 21 w 510"/>
                    <a:gd name="T79" fmla="*/ 111 h 243"/>
                    <a:gd name="T80" fmla="*/ 26 w 510"/>
                    <a:gd name="T81" fmla="*/ 76 h 243"/>
                    <a:gd name="T82" fmla="*/ 54 w 510"/>
                    <a:gd name="T83" fmla="*/ 55 h 243"/>
                    <a:gd name="T84" fmla="*/ 113 w 510"/>
                    <a:gd name="T85" fmla="*/ 33 h 243"/>
                    <a:gd name="T86" fmla="*/ 113 w 510"/>
                    <a:gd name="T87" fmla="*/ 43 h 243"/>
                    <a:gd name="T88" fmla="*/ 146 w 510"/>
                    <a:gd name="T89" fmla="*/ 71 h 243"/>
                    <a:gd name="T90" fmla="*/ 151 w 510"/>
                    <a:gd name="T91" fmla="*/ 99 h 243"/>
                    <a:gd name="T92" fmla="*/ 189 w 510"/>
                    <a:gd name="T93" fmla="*/ 111 h 243"/>
                    <a:gd name="T94" fmla="*/ 238 w 510"/>
                    <a:gd name="T95" fmla="*/ 88 h 243"/>
                    <a:gd name="T96" fmla="*/ 234 w 510"/>
                    <a:gd name="T97" fmla="*/ 21 h 243"/>
                    <a:gd name="T98" fmla="*/ 234 w 510"/>
                    <a:gd name="T99" fmla="*/ 21 h 243"/>
                    <a:gd name="T100" fmla="*/ 234 w 510"/>
                    <a:gd name="T101" fmla="*/ 21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0" h="243">
                      <a:moveTo>
                        <a:pt x="234" y="21"/>
                      </a:moveTo>
                      <a:lnTo>
                        <a:pt x="288" y="0"/>
                      </a:lnTo>
                      <a:lnTo>
                        <a:pt x="297" y="5"/>
                      </a:lnTo>
                      <a:lnTo>
                        <a:pt x="297" y="0"/>
                      </a:lnTo>
                      <a:lnTo>
                        <a:pt x="352" y="21"/>
                      </a:lnTo>
                      <a:lnTo>
                        <a:pt x="385" y="55"/>
                      </a:lnTo>
                      <a:lnTo>
                        <a:pt x="418" y="43"/>
                      </a:lnTo>
                      <a:lnTo>
                        <a:pt x="451" y="55"/>
                      </a:lnTo>
                      <a:lnTo>
                        <a:pt x="456" y="55"/>
                      </a:lnTo>
                      <a:lnTo>
                        <a:pt x="456" y="59"/>
                      </a:lnTo>
                      <a:lnTo>
                        <a:pt x="477" y="76"/>
                      </a:lnTo>
                      <a:lnTo>
                        <a:pt x="472" y="116"/>
                      </a:lnTo>
                      <a:lnTo>
                        <a:pt x="489" y="128"/>
                      </a:lnTo>
                      <a:lnTo>
                        <a:pt x="510" y="182"/>
                      </a:lnTo>
                      <a:lnTo>
                        <a:pt x="505" y="199"/>
                      </a:lnTo>
                      <a:lnTo>
                        <a:pt x="489" y="199"/>
                      </a:lnTo>
                      <a:lnTo>
                        <a:pt x="460" y="222"/>
                      </a:lnTo>
                      <a:lnTo>
                        <a:pt x="460" y="239"/>
                      </a:lnTo>
                      <a:lnTo>
                        <a:pt x="418" y="227"/>
                      </a:lnTo>
                      <a:lnTo>
                        <a:pt x="406" y="243"/>
                      </a:lnTo>
                      <a:lnTo>
                        <a:pt x="397" y="243"/>
                      </a:lnTo>
                      <a:lnTo>
                        <a:pt x="368" y="239"/>
                      </a:lnTo>
                      <a:lnTo>
                        <a:pt x="331" y="199"/>
                      </a:lnTo>
                      <a:lnTo>
                        <a:pt x="288" y="189"/>
                      </a:lnTo>
                      <a:lnTo>
                        <a:pt x="271" y="166"/>
                      </a:lnTo>
                      <a:lnTo>
                        <a:pt x="243" y="182"/>
                      </a:lnTo>
                      <a:lnTo>
                        <a:pt x="222" y="189"/>
                      </a:lnTo>
                      <a:lnTo>
                        <a:pt x="163" y="170"/>
                      </a:lnTo>
                      <a:lnTo>
                        <a:pt x="146" y="182"/>
                      </a:lnTo>
                      <a:lnTo>
                        <a:pt x="134" y="170"/>
                      </a:lnTo>
                      <a:lnTo>
                        <a:pt x="113" y="170"/>
                      </a:lnTo>
                      <a:lnTo>
                        <a:pt x="75" y="170"/>
                      </a:lnTo>
                      <a:lnTo>
                        <a:pt x="21" y="189"/>
                      </a:lnTo>
                      <a:lnTo>
                        <a:pt x="16" y="206"/>
                      </a:lnTo>
                      <a:lnTo>
                        <a:pt x="0" y="206"/>
                      </a:lnTo>
                      <a:lnTo>
                        <a:pt x="0" y="170"/>
                      </a:lnTo>
                      <a:lnTo>
                        <a:pt x="0" y="154"/>
                      </a:lnTo>
                      <a:lnTo>
                        <a:pt x="5" y="166"/>
                      </a:lnTo>
                      <a:lnTo>
                        <a:pt x="0" y="128"/>
                      </a:lnTo>
                      <a:lnTo>
                        <a:pt x="21" y="111"/>
                      </a:lnTo>
                      <a:lnTo>
                        <a:pt x="26" y="76"/>
                      </a:lnTo>
                      <a:lnTo>
                        <a:pt x="54" y="55"/>
                      </a:lnTo>
                      <a:lnTo>
                        <a:pt x="113" y="33"/>
                      </a:lnTo>
                      <a:lnTo>
                        <a:pt x="113" y="43"/>
                      </a:lnTo>
                      <a:lnTo>
                        <a:pt x="146" y="71"/>
                      </a:lnTo>
                      <a:lnTo>
                        <a:pt x="151" y="99"/>
                      </a:lnTo>
                      <a:lnTo>
                        <a:pt x="189" y="111"/>
                      </a:lnTo>
                      <a:lnTo>
                        <a:pt x="238" y="88"/>
                      </a:lnTo>
                      <a:lnTo>
                        <a:pt x="234" y="21"/>
                      </a:lnTo>
                      <a:lnTo>
                        <a:pt x="234" y="21"/>
                      </a:lnTo>
                      <a:lnTo>
                        <a:pt x="234" y="21"/>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9" name="Freeform 492">
                  <a:extLst>
                    <a:ext uri="{FF2B5EF4-FFF2-40B4-BE49-F238E27FC236}">
                      <a16:creationId xmlns:a16="http://schemas.microsoft.com/office/drawing/2014/main" id="{7974983A-BDDC-43F3-BE13-E0F23807BC4F}"/>
                    </a:ext>
                  </a:extLst>
                </p:cNvPr>
                <p:cNvSpPr>
                  <a:spLocks noEditPoints="1"/>
                </p:cNvSpPr>
                <p:nvPr/>
              </p:nvSpPr>
              <p:spPr bwMode="gray">
                <a:xfrm>
                  <a:off x="7328921" y="2183931"/>
                  <a:ext cx="172078" cy="107870"/>
                </a:xfrm>
                <a:custGeom>
                  <a:avLst/>
                  <a:gdLst>
                    <a:gd name="T0" fmla="*/ 137 w 418"/>
                    <a:gd name="T1" fmla="*/ 212 h 262"/>
                    <a:gd name="T2" fmla="*/ 126 w 418"/>
                    <a:gd name="T3" fmla="*/ 200 h 262"/>
                    <a:gd name="T4" fmla="*/ 137 w 418"/>
                    <a:gd name="T5" fmla="*/ 184 h 262"/>
                    <a:gd name="T6" fmla="*/ 142 w 418"/>
                    <a:gd name="T7" fmla="*/ 167 h 262"/>
                    <a:gd name="T8" fmla="*/ 121 w 418"/>
                    <a:gd name="T9" fmla="*/ 146 h 262"/>
                    <a:gd name="T10" fmla="*/ 88 w 418"/>
                    <a:gd name="T11" fmla="*/ 146 h 262"/>
                    <a:gd name="T12" fmla="*/ 33 w 418"/>
                    <a:gd name="T13" fmla="*/ 118 h 262"/>
                    <a:gd name="T14" fmla="*/ 29 w 418"/>
                    <a:gd name="T15" fmla="*/ 129 h 262"/>
                    <a:gd name="T16" fmla="*/ 29 w 418"/>
                    <a:gd name="T17" fmla="*/ 113 h 262"/>
                    <a:gd name="T18" fmla="*/ 29 w 418"/>
                    <a:gd name="T19" fmla="*/ 113 h 262"/>
                    <a:gd name="T20" fmla="*/ 29 w 418"/>
                    <a:gd name="T21" fmla="*/ 101 h 262"/>
                    <a:gd name="T22" fmla="*/ 12 w 418"/>
                    <a:gd name="T23" fmla="*/ 73 h 262"/>
                    <a:gd name="T24" fmla="*/ 12 w 418"/>
                    <a:gd name="T25" fmla="*/ 40 h 262"/>
                    <a:gd name="T26" fmla="*/ 29 w 418"/>
                    <a:gd name="T27" fmla="*/ 40 h 262"/>
                    <a:gd name="T28" fmla="*/ 33 w 418"/>
                    <a:gd name="T29" fmla="*/ 23 h 262"/>
                    <a:gd name="T30" fmla="*/ 88 w 418"/>
                    <a:gd name="T31" fmla="*/ 7 h 262"/>
                    <a:gd name="T32" fmla="*/ 126 w 418"/>
                    <a:gd name="T33" fmla="*/ 7 h 262"/>
                    <a:gd name="T34" fmla="*/ 147 w 418"/>
                    <a:gd name="T35" fmla="*/ 7 h 262"/>
                    <a:gd name="T36" fmla="*/ 159 w 418"/>
                    <a:gd name="T37" fmla="*/ 16 h 262"/>
                    <a:gd name="T38" fmla="*/ 175 w 418"/>
                    <a:gd name="T39" fmla="*/ 7 h 262"/>
                    <a:gd name="T40" fmla="*/ 234 w 418"/>
                    <a:gd name="T41" fmla="*/ 23 h 262"/>
                    <a:gd name="T42" fmla="*/ 256 w 418"/>
                    <a:gd name="T43" fmla="*/ 16 h 262"/>
                    <a:gd name="T44" fmla="*/ 281 w 418"/>
                    <a:gd name="T45" fmla="*/ 0 h 262"/>
                    <a:gd name="T46" fmla="*/ 298 w 418"/>
                    <a:gd name="T47" fmla="*/ 23 h 262"/>
                    <a:gd name="T48" fmla="*/ 341 w 418"/>
                    <a:gd name="T49" fmla="*/ 35 h 262"/>
                    <a:gd name="T50" fmla="*/ 378 w 418"/>
                    <a:gd name="T51" fmla="*/ 73 h 262"/>
                    <a:gd name="T52" fmla="*/ 407 w 418"/>
                    <a:gd name="T53" fmla="*/ 77 h 262"/>
                    <a:gd name="T54" fmla="*/ 395 w 418"/>
                    <a:gd name="T55" fmla="*/ 113 h 262"/>
                    <a:gd name="T56" fmla="*/ 418 w 418"/>
                    <a:gd name="T57" fmla="*/ 118 h 262"/>
                    <a:gd name="T58" fmla="*/ 395 w 418"/>
                    <a:gd name="T59" fmla="*/ 134 h 262"/>
                    <a:gd name="T60" fmla="*/ 378 w 418"/>
                    <a:gd name="T61" fmla="*/ 134 h 262"/>
                    <a:gd name="T62" fmla="*/ 374 w 418"/>
                    <a:gd name="T63" fmla="*/ 151 h 262"/>
                    <a:gd name="T64" fmla="*/ 341 w 418"/>
                    <a:gd name="T65" fmla="*/ 155 h 262"/>
                    <a:gd name="T66" fmla="*/ 341 w 418"/>
                    <a:gd name="T67" fmla="*/ 191 h 262"/>
                    <a:gd name="T68" fmla="*/ 326 w 418"/>
                    <a:gd name="T69" fmla="*/ 212 h 262"/>
                    <a:gd name="T70" fmla="*/ 341 w 418"/>
                    <a:gd name="T71" fmla="*/ 212 h 262"/>
                    <a:gd name="T72" fmla="*/ 341 w 418"/>
                    <a:gd name="T73" fmla="*/ 229 h 262"/>
                    <a:gd name="T74" fmla="*/ 326 w 418"/>
                    <a:gd name="T75" fmla="*/ 229 h 262"/>
                    <a:gd name="T76" fmla="*/ 336 w 418"/>
                    <a:gd name="T77" fmla="*/ 224 h 262"/>
                    <a:gd name="T78" fmla="*/ 326 w 418"/>
                    <a:gd name="T79" fmla="*/ 212 h 262"/>
                    <a:gd name="T80" fmla="*/ 298 w 418"/>
                    <a:gd name="T81" fmla="*/ 240 h 262"/>
                    <a:gd name="T82" fmla="*/ 281 w 418"/>
                    <a:gd name="T83" fmla="*/ 229 h 262"/>
                    <a:gd name="T84" fmla="*/ 281 w 418"/>
                    <a:gd name="T85" fmla="*/ 257 h 262"/>
                    <a:gd name="T86" fmla="*/ 265 w 418"/>
                    <a:gd name="T87" fmla="*/ 245 h 262"/>
                    <a:gd name="T88" fmla="*/ 251 w 418"/>
                    <a:gd name="T89" fmla="*/ 262 h 262"/>
                    <a:gd name="T90" fmla="*/ 234 w 418"/>
                    <a:gd name="T91" fmla="*/ 257 h 262"/>
                    <a:gd name="T92" fmla="*/ 189 w 418"/>
                    <a:gd name="T93" fmla="*/ 257 h 262"/>
                    <a:gd name="T94" fmla="*/ 180 w 418"/>
                    <a:gd name="T95" fmla="*/ 240 h 262"/>
                    <a:gd name="T96" fmla="*/ 175 w 418"/>
                    <a:gd name="T97" fmla="*/ 224 h 262"/>
                    <a:gd name="T98" fmla="*/ 147 w 418"/>
                    <a:gd name="T99" fmla="*/ 207 h 262"/>
                    <a:gd name="T100" fmla="*/ 137 w 418"/>
                    <a:gd name="T101" fmla="*/ 212 h 262"/>
                    <a:gd name="T102" fmla="*/ 137 w 418"/>
                    <a:gd name="T103" fmla="*/ 212 h 262"/>
                    <a:gd name="T104" fmla="*/ 137 w 418"/>
                    <a:gd name="T105" fmla="*/ 212 h 262"/>
                    <a:gd name="T106" fmla="*/ 12 w 418"/>
                    <a:gd name="T107" fmla="*/ 118 h 262"/>
                    <a:gd name="T108" fmla="*/ 0 w 418"/>
                    <a:gd name="T109" fmla="*/ 118 h 262"/>
                    <a:gd name="T110" fmla="*/ 17 w 418"/>
                    <a:gd name="T111" fmla="*/ 94 h 262"/>
                    <a:gd name="T112" fmla="*/ 17 w 418"/>
                    <a:gd name="T113" fmla="*/ 77 h 262"/>
                    <a:gd name="T114" fmla="*/ 17 w 418"/>
                    <a:gd name="T115" fmla="*/ 101 h 262"/>
                    <a:gd name="T116" fmla="*/ 12 w 418"/>
                    <a:gd name="T117" fmla="*/ 118 h 262"/>
                    <a:gd name="T118" fmla="*/ 12 w 418"/>
                    <a:gd name="T119" fmla="*/ 118 h 262"/>
                    <a:gd name="T120" fmla="*/ 12 w 418"/>
                    <a:gd name="T121" fmla="*/ 11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8" h="262">
                      <a:moveTo>
                        <a:pt x="137" y="212"/>
                      </a:moveTo>
                      <a:lnTo>
                        <a:pt x="126" y="200"/>
                      </a:lnTo>
                      <a:lnTo>
                        <a:pt x="137" y="184"/>
                      </a:lnTo>
                      <a:lnTo>
                        <a:pt x="142" y="167"/>
                      </a:lnTo>
                      <a:lnTo>
                        <a:pt x="121" y="146"/>
                      </a:lnTo>
                      <a:lnTo>
                        <a:pt x="88" y="146"/>
                      </a:lnTo>
                      <a:lnTo>
                        <a:pt x="33" y="118"/>
                      </a:lnTo>
                      <a:lnTo>
                        <a:pt x="29" y="129"/>
                      </a:lnTo>
                      <a:lnTo>
                        <a:pt x="29" y="113"/>
                      </a:lnTo>
                      <a:lnTo>
                        <a:pt x="29" y="113"/>
                      </a:lnTo>
                      <a:lnTo>
                        <a:pt x="29" y="101"/>
                      </a:lnTo>
                      <a:lnTo>
                        <a:pt x="12" y="73"/>
                      </a:lnTo>
                      <a:lnTo>
                        <a:pt x="12" y="40"/>
                      </a:lnTo>
                      <a:lnTo>
                        <a:pt x="29" y="40"/>
                      </a:lnTo>
                      <a:lnTo>
                        <a:pt x="33" y="23"/>
                      </a:lnTo>
                      <a:lnTo>
                        <a:pt x="88" y="7"/>
                      </a:lnTo>
                      <a:lnTo>
                        <a:pt x="126" y="7"/>
                      </a:lnTo>
                      <a:lnTo>
                        <a:pt x="147" y="7"/>
                      </a:lnTo>
                      <a:lnTo>
                        <a:pt x="159" y="16"/>
                      </a:lnTo>
                      <a:lnTo>
                        <a:pt x="175" y="7"/>
                      </a:lnTo>
                      <a:lnTo>
                        <a:pt x="234" y="23"/>
                      </a:lnTo>
                      <a:lnTo>
                        <a:pt x="256" y="16"/>
                      </a:lnTo>
                      <a:lnTo>
                        <a:pt x="281" y="0"/>
                      </a:lnTo>
                      <a:lnTo>
                        <a:pt x="298" y="23"/>
                      </a:lnTo>
                      <a:lnTo>
                        <a:pt x="341" y="35"/>
                      </a:lnTo>
                      <a:lnTo>
                        <a:pt x="378" y="73"/>
                      </a:lnTo>
                      <a:lnTo>
                        <a:pt x="407" y="77"/>
                      </a:lnTo>
                      <a:lnTo>
                        <a:pt x="395" y="113"/>
                      </a:lnTo>
                      <a:lnTo>
                        <a:pt x="418" y="118"/>
                      </a:lnTo>
                      <a:lnTo>
                        <a:pt x="395" y="134"/>
                      </a:lnTo>
                      <a:lnTo>
                        <a:pt x="378" y="134"/>
                      </a:lnTo>
                      <a:lnTo>
                        <a:pt x="374" y="151"/>
                      </a:lnTo>
                      <a:lnTo>
                        <a:pt x="341" y="155"/>
                      </a:lnTo>
                      <a:lnTo>
                        <a:pt x="341" y="191"/>
                      </a:lnTo>
                      <a:lnTo>
                        <a:pt x="326" y="212"/>
                      </a:lnTo>
                      <a:lnTo>
                        <a:pt x="341" y="212"/>
                      </a:lnTo>
                      <a:lnTo>
                        <a:pt x="341" y="229"/>
                      </a:lnTo>
                      <a:lnTo>
                        <a:pt x="326" y="229"/>
                      </a:lnTo>
                      <a:lnTo>
                        <a:pt x="336" y="224"/>
                      </a:lnTo>
                      <a:lnTo>
                        <a:pt x="326" y="212"/>
                      </a:lnTo>
                      <a:lnTo>
                        <a:pt x="298" y="240"/>
                      </a:lnTo>
                      <a:lnTo>
                        <a:pt x="281" y="229"/>
                      </a:lnTo>
                      <a:lnTo>
                        <a:pt x="281" y="257"/>
                      </a:lnTo>
                      <a:lnTo>
                        <a:pt x="265" y="245"/>
                      </a:lnTo>
                      <a:lnTo>
                        <a:pt x="251" y="262"/>
                      </a:lnTo>
                      <a:lnTo>
                        <a:pt x="234" y="257"/>
                      </a:lnTo>
                      <a:lnTo>
                        <a:pt x="189" y="257"/>
                      </a:lnTo>
                      <a:lnTo>
                        <a:pt x="180" y="240"/>
                      </a:lnTo>
                      <a:lnTo>
                        <a:pt x="175" y="224"/>
                      </a:lnTo>
                      <a:lnTo>
                        <a:pt x="147" y="207"/>
                      </a:lnTo>
                      <a:lnTo>
                        <a:pt x="137" y="212"/>
                      </a:lnTo>
                      <a:lnTo>
                        <a:pt x="137" y="212"/>
                      </a:lnTo>
                      <a:lnTo>
                        <a:pt x="137" y="212"/>
                      </a:lnTo>
                      <a:close/>
                      <a:moveTo>
                        <a:pt x="12" y="118"/>
                      </a:moveTo>
                      <a:lnTo>
                        <a:pt x="0" y="118"/>
                      </a:lnTo>
                      <a:lnTo>
                        <a:pt x="17" y="94"/>
                      </a:lnTo>
                      <a:lnTo>
                        <a:pt x="17" y="77"/>
                      </a:lnTo>
                      <a:lnTo>
                        <a:pt x="17" y="101"/>
                      </a:lnTo>
                      <a:lnTo>
                        <a:pt x="12" y="118"/>
                      </a:lnTo>
                      <a:lnTo>
                        <a:pt x="12" y="118"/>
                      </a:lnTo>
                      <a:lnTo>
                        <a:pt x="12" y="118"/>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0" name="Freeform 494">
                  <a:extLst>
                    <a:ext uri="{FF2B5EF4-FFF2-40B4-BE49-F238E27FC236}">
                      <a16:creationId xmlns:a16="http://schemas.microsoft.com/office/drawing/2014/main" id="{FFE52AE0-0DB1-4521-BE81-F212FFEA6948}"/>
                    </a:ext>
                  </a:extLst>
                </p:cNvPr>
                <p:cNvSpPr>
                  <a:spLocks/>
                </p:cNvSpPr>
                <p:nvPr/>
              </p:nvSpPr>
              <p:spPr bwMode="gray">
                <a:xfrm>
                  <a:off x="7211595" y="2459781"/>
                  <a:ext cx="165080" cy="69169"/>
                </a:xfrm>
                <a:custGeom>
                  <a:avLst/>
                  <a:gdLst>
                    <a:gd name="T0" fmla="*/ 155 w 401"/>
                    <a:gd name="T1" fmla="*/ 144 h 168"/>
                    <a:gd name="T2" fmla="*/ 139 w 401"/>
                    <a:gd name="T3" fmla="*/ 152 h 168"/>
                    <a:gd name="T4" fmla="*/ 139 w 401"/>
                    <a:gd name="T5" fmla="*/ 161 h 168"/>
                    <a:gd name="T6" fmla="*/ 101 w 401"/>
                    <a:gd name="T7" fmla="*/ 168 h 168"/>
                    <a:gd name="T8" fmla="*/ 68 w 401"/>
                    <a:gd name="T9" fmla="*/ 168 h 168"/>
                    <a:gd name="T10" fmla="*/ 37 w 401"/>
                    <a:gd name="T11" fmla="*/ 144 h 168"/>
                    <a:gd name="T12" fmla="*/ 26 w 401"/>
                    <a:gd name="T13" fmla="*/ 144 h 168"/>
                    <a:gd name="T14" fmla="*/ 0 w 401"/>
                    <a:gd name="T15" fmla="*/ 111 h 168"/>
                    <a:gd name="T16" fmla="*/ 9 w 401"/>
                    <a:gd name="T17" fmla="*/ 90 h 168"/>
                    <a:gd name="T18" fmla="*/ 26 w 401"/>
                    <a:gd name="T19" fmla="*/ 67 h 168"/>
                    <a:gd name="T20" fmla="*/ 63 w 401"/>
                    <a:gd name="T21" fmla="*/ 67 h 168"/>
                    <a:gd name="T22" fmla="*/ 85 w 401"/>
                    <a:gd name="T23" fmla="*/ 50 h 168"/>
                    <a:gd name="T24" fmla="*/ 101 w 401"/>
                    <a:gd name="T25" fmla="*/ 29 h 168"/>
                    <a:gd name="T26" fmla="*/ 122 w 401"/>
                    <a:gd name="T27" fmla="*/ 12 h 168"/>
                    <a:gd name="T28" fmla="*/ 139 w 401"/>
                    <a:gd name="T29" fmla="*/ 12 h 168"/>
                    <a:gd name="T30" fmla="*/ 144 w 401"/>
                    <a:gd name="T31" fmla="*/ 12 h 168"/>
                    <a:gd name="T32" fmla="*/ 155 w 401"/>
                    <a:gd name="T33" fmla="*/ 17 h 168"/>
                    <a:gd name="T34" fmla="*/ 160 w 401"/>
                    <a:gd name="T35" fmla="*/ 17 h 168"/>
                    <a:gd name="T36" fmla="*/ 186 w 401"/>
                    <a:gd name="T37" fmla="*/ 0 h 168"/>
                    <a:gd name="T38" fmla="*/ 203 w 401"/>
                    <a:gd name="T39" fmla="*/ 17 h 168"/>
                    <a:gd name="T40" fmla="*/ 207 w 401"/>
                    <a:gd name="T41" fmla="*/ 17 h 168"/>
                    <a:gd name="T42" fmla="*/ 207 w 401"/>
                    <a:gd name="T43" fmla="*/ 33 h 168"/>
                    <a:gd name="T44" fmla="*/ 224 w 401"/>
                    <a:gd name="T45" fmla="*/ 38 h 168"/>
                    <a:gd name="T46" fmla="*/ 229 w 401"/>
                    <a:gd name="T47" fmla="*/ 29 h 168"/>
                    <a:gd name="T48" fmla="*/ 245 w 401"/>
                    <a:gd name="T49" fmla="*/ 17 h 168"/>
                    <a:gd name="T50" fmla="*/ 278 w 401"/>
                    <a:gd name="T51" fmla="*/ 17 h 168"/>
                    <a:gd name="T52" fmla="*/ 283 w 401"/>
                    <a:gd name="T53" fmla="*/ 29 h 168"/>
                    <a:gd name="T54" fmla="*/ 300 w 401"/>
                    <a:gd name="T55" fmla="*/ 17 h 168"/>
                    <a:gd name="T56" fmla="*/ 337 w 401"/>
                    <a:gd name="T57" fmla="*/ 17 h 168"/>
                    <a:gd name="T58" fmla="*/ 363 w 401"/>
                    <a:gd name="T59" fmla="*/ 29 h 168"/>
                    <a:gd name="T60" fmla="*/ 363 w 401"/>
                    <a:gd name="T61" fmla="*/ 33 h 168"/>
                    <a:gd name="T62" fmla="*/ 401 w 401"/>
                    <a:gd name="T63" fmla="*/ 50 h 168"/>
                    <a:gd name="T64" fmla="*/ 387 w 401"/>
                    <a:gd name="T65" fmla="*/ 83 h 168"/>
                    <a:gd name="T66" fmla="*/ 370 w 401"/>
                    <a:gd name="T67" fmla="*/ 95 h 168"/>
                    <a:gd name="T68" fmla="*/ 370 w 401"/>
                    <a:gd name="T69" fmla="*/ 111 h 168"/>
                    <a:gd name="T70" fmla="*/ 349 w 401"/>
                    <a:gd name="T71" fmla="*/ 111 h 168"/>
                    <a:gd name="T72" fmla="*/ 321 w 401"/>
                    <a:gd name="T73" fmla="*/ 95 h 168"/>
                    <a:gd name="T74" fmla="*/ 300 w 401"/>
                    <a:gd name="T75" fmla="*/ 95 h 168"/>
                    <a:gd name="T76" fmla="*/ 266 w 401"/>
                    <a:gd name="T77" fmla="*/ 95 h 168"/>
                    <a:gd name="T78" fmla="*/ 262 w 401"/>
                    <a:gd name="T79" fmla="*/ 95 h 168"/>
                    <a:gd name="T80" fmla="*/ 245 w 401"/>
                    <a:gd name="T81" fmla="*/ 123 h 168"/>
                    <a:gd name="T82" fmla="*/ 215 w 401"/>
                    <a:gd name="T83" fmla="*/ 140 h 168"/>
                    <a:gd name="T84" fmla="*/ 193 w 401"/>
                    <a:gd name="T85" fmla="*/ 128 h 168"/>
                    <a:gd name="T86" fmla="*/ 186 w 401"/>
                    <a:gd name="T87" fmla="*/ 140 h 168"/>
                    <a:gd name="T88" fmla="*/ 155 w 401"/>
                    <a:gd name="T89" fmla="*/ 144 h 168"/>
                    <a:gd name="T90" fmla="*/ 155 w 401"/>
                    <a:gd name="T91" fmla="*/ 144 h 168"/>
                    <a:gd name="T92" fmla="*/ 155 w 401"/>
                    <a:gd name="T93" fmla="*/ 14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1" h="168">
                      <a:moveTo>
                        <a:pt x="155" y="144"/>
                      </a:moveTo>
                      <a:lnTo>
                        <a:pt x="139" y="152"/>
                      </a:lnTo>
                      <a:lnTo>
                        <a:pt x="139" y="161"/>
                      </a:lnTo>
                      <a:lnTo>
                        <a:pt x="101" y="168"/>
                      </a:lnTo>
                      <a:lnTo>
                        <a:pt x="68" y="168"/>
                      </a:lnTo>
                      <a:lnTo>
                        <a:pt x="37" y="144"/>
                      </a:lnTo>
                      <a:lnTo>
                        <a:pt x="26" y="144"/>
                      </a:lnTo>
                      <a:lnTo>
                        <a:pt x="0" y="111"/>
                      </a:lnTo>
                      <a:lnTo>
                        <a:pt x="9" y="90"/>
                      </a:lnTo>
                      <a:lnTo>
                        <a:pt x="26" y="67"/>
                      </a:lnTo>
                      <a:lnTo>
                        <a:pt x="63" y="67"/>
                      </a:lnTo>
                      <a:lnTo>
                        <a:pt x="85" y="50"/>
                      </a:lnTo>
                      <a:lnTo>
                        <a:pt x="101" y="29"/>
                      </a:lnTo>
                      <a:lnTo>
                        <a:pt x="122" y="12"/>
                      </a:lnTo>
                      <a:lnTo>
                        <a:pt x="139" y="12"/>
                      </a:lnTo>
                      <a:lnTo>
                        <a:pt x="144" y="12"/>
                      </a:lnTo>
                      <a:lnTo>
                        <a:pt x="155" y="17"/>
                      </a:lnTo>
                      <a:lnTo>
                        <a:pt x="160" y="17"/>
                      </a:lnTo>
                      <a:lnTo>
                        <a:pt x="186" y="0"/>
                      </a:lnTo>
                      <a:lnTo>
                        <a:pt x="203" y="17"/>
                      </a:lnTo>
                      <a:lnTo>
                        <a:pt x="207" y="17"/>
                      </a:lnTo>
                      <a:lnTo>
                        <a:pt x="207" y="33"/>
                      </a:lnTo>
                      <a:lnTo>
                        <a:pt x="224" y="38"/>
                      </a:lnTo>
                      <a:lnTo>
                        <a:pt x="229" y="29"/>
                      </a:lnTo>
                      <a:lnTo>
                        <a:pt x="245" y="17"/>
                      </a:lnTo>
                      <a:lnTo>
                        <a:pt x="278" y="17"/>
                      </a:lnTo>
                      <a:lnTo>
                        <a:pt x="283" y="29"/>
                      </a:lnTo>
                      <a:lnTo>
                        <a:pt x="300" y="17"/>
                      </a:lnTo>
                      <a:lnTo>
                        <a:pt x="337" y="17"/>
                      </a:lnTo>
                      <a:lnTo>
                        <a:pt x="363" y="29"/>
                      </a:lnTo>
                      <a:lnTo>
                        <a:pt x="363" y="33"/>
                      </a:lnTo>
                      <a:lnTo>
                        <a:pt x="401" y="50"/>
                      </a:lnTo>
                      <a:lnTo>
                        <a:pt x="387" y="83"/>
                      </a:lnTo>
                      <a:lnTo>
                        <a:pt x="370" y="95"/>
                      </a:lnTo>
                      <a:lnTo>
                        <a:pt x="370" y="111"/>
                      </a:lnTo>
                      <a:lnTo>
                        <a:pt x="349" y="111"/>
                      </a:lnTo>
                      <a:lnTo>
                        <a:pt x="321" y="95"/>
                      </a:lnTo>
                      <a:lnTo>
                        <a:pt x="300" y="95"/>
                      </a:lnTo>
                      <a:lnTo>
                        <a:pt x="266" y="95"/>
                      </a:lnTo>
                      <a:lnTo>
                        <a:pt x="262" y="95"/>
                      </a:lnTo>
                      <a:lnTo>
                        <a:pt x="245" y="123"/>
                      </a:lnTo>
                      <a:lnTo>
                        <a:pt x="215" y="140"/>
                      </a:lnTo>
                      <a:lnTo>
                        <a:pt x="193" y="128"/>
                      </a:lnTo>
                      <a:lnTo>
                        <a:pt x="186" y="140"/>
                      </a:lnTo>
                      <a:lnTo>
                        <a:pt x="155" y="144"/>
                      </a:lnTo>
                      <a:lnTo>
                        <a:pt x="155" y="144"/>
                      </a:lnTo>
                      <a:lnTo>
                        <a:pt x="155" y="144"/>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1" name="Freeform 495">
                  <a:extLst>
                    <a:ext uri="{FF2B5EF4-FFF2-40B4-BE49-F238E27FC236}">
                      <a16:creationId xmlns:a16="http://schemas.microsoft.com/office/drawing/2014/main" id="{2B6B6095-37E9-4998-BD25-40E715488923}"/>
                    </a:ext>
                  </a:extLst>
                </p:cNvPr>
                <p:cNvSpPr>
                  <a:spLocks/>
                </p:cNvSpPr>
                <p:nvPr/>
              </p:nvSpPr>
              <p:spPr bwMode="gray">
                <a:xfrm>
                  <a:off x="6999585" y="2549535"/>
                  <a:ext cx="2882" cy="7823"/>
                </a:xfrm>
                <a:custGeom>
                  <a:avLst/>
                  <a:gdLst>
                    <a:gd name="T0" fmla="*/ 7 w 7"/>
                    <a:gd name="T1" fmla="*/ 0 h 19"/>
                    <a:gd name="T2" fmla="*/ 7 w 7"/>
                    <a:gd name="T3" fmla="*/ 19 h 19"/>
                    <a:gd name="T4" fmla="*/ 0 w 7"/>
                    <a:gd name="T5" fmla="*/ 19 h 19"/>
                    <a:gd name="T6" fmla="*/ 7 w 7"/>
                    <a:gd name="T7" fmla="*/ 0 h 19"/>
                    <a:gd name="T8" fmla="*/ 7 w 7"/>
                    <a:gd name="T9" fmla="*/ 0 h 19"/>
                    <a:gd name="T10" fmla="*/ 7 w 7"/>
                    <a:gd name="T11" fmla="*/ 0 h 19"/>
                  </a:gdLst>
                  <a:ahLst/>
                  <a:cxnLst>
                    <a:cxn ang="0">
                      <a:pos x="T0" y="T1"/>
                    </a:cxn>
                    <a:cxn ang="0">
                      <a:pos x="T2" y="T3"/>
                    </a:cxn>
                    <a:cxn ang="0">
                      <a:pos x="T4" y="T5"/>
                    </a:cxn>
                    <a:cxn ang="0">
                      <a:pos x="T6" y="T7"/>
                    </a:cxn>
                    <a:cxn ang="0">
                      <a:pos x="T8" y="T9"/>
                    </a:cxn>
                    <a:cxn ang="0">
                      <a:pos x="T10" y="T11"/>
                    </a:cxn>
                  </a:cxnLst>
                  <a:rect l="0" t="0" r="r" b="b"/>
                  <a:pathLst>
                    <a:path w="7" h="19">
                      <a:moveTo>
                        <a:pt x="7" y="0"/>
                      </a:moveTo>
                      <a:lnTo>
                        <a:pt x="7" y="19"/>
                      </a:lnTo>
                      <a:lnTo>
                        <a:pt x="0" y="19"/>
                      </a:lnTo>
                      <a:lnTo>
                        <a:pt x="7" y="0"/>
                      </a:lnTo>
                      <a:lnTo>
                        <a:pt x="7" y="0"/>
                      </a:lnTo>
                      <a:lnTo>
                        <a:pt x="7" y="0"/>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2" name="Freeform 497">
                  <a:extLst>
                    <a:ext uri="{FF2B5EF4-FFF2-40B4-BE49-F238E27FC236}">
                      <a16:creationId xmlns:a16="http://schemas.microsoft.com/office/drawing/2014/main" id="{7EEF7377-44C7-4908-A345-91A21273A650}"/>
                    </a:ext>
                  </a:extLst>
                </p:cNvPr>
                <p:cNvSpPr>
                  <a:spLocks/>
                </p:cNvSpPr>
                <p:nvPr/>
              </p:nvSpPr>
              <p:spPr bwMode="gray">
                <a:xfrm>
                  <a:off x="6891315" y="2438373"/>
                  <a:ext cx="21406" cy="26350"/>
                </a:xfrm>
                <a:custGeom>
                  <a:avLst/>
                  <a:gdLst>
                    <a:gd name="T0" fmla="*/ 45 w 52"/>
                    <a:gd name="T1" fmla="*/ 64 h 64"/>
                    <a:gd name="T2" fmla="*/ 45 w 52"/>
                    <a:gd name="T3" fmla="*/ 64 h 64"/>
                    <a:gd name="T4" fmla="*/ 15 w 52"/>
                    <a:gd name="T5" fmla="*/ 64 h 64"/>
                    <a:gd name="T6" fmla="*/ 5 w 52"/>
                    <a:gd name="T7" fmla="*/ 55 h 64"/>
                    <a:gd name="T8" fmla="*/ 15 w 52"/>
                    <a:gd name="T9" fmla="*/ 48 h 64"/>
                    <a:gd name="T10" fmla="*/ 0 w 52"/>
                    <a:gd name="T11" fmla="*/ 33 h 64"/>
                    <a:gd name="T12" fmla="*/ 0 w 52"/>
                    <a:gd name="T13" fmla="*/ 17 h 64"/>
                    <a:gd name="T14" fmla="*/ 15 w 52"/>
                    <a:gd name="T15" fmla="*/ 0 h 64"/>
                    <a:gd name="T16" fmla="*/ 31 w 52"/>
                    <a:gd name="T17" fmla="*/ 0 h 64"/>
                    <a:gd name="T18" fmla="*/ 36 w 52"/>
                    <a:gd name="T19" fmla="*/ 26 h 64"/>
                    <a:gd name="T20" fmla="*/ 52 w 52"/>
                    <a:gd name="T21" fmla="*/ 33 h 64"/>
                    <a:gd name="T22" fmla="*/ 45 w 52"/>
                    <a:gd name="T23" fmla="*/ 64 h 64"/>
                    <a:gd name="T24" fmla="*/ 45 w 52"/>
                    <a:gd name="T25" fmla="*/ 64 h 64"/>
                    <a:gd name="T26" fmla="*/ 45 w 52"/>
                    <a:gd name="T2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64">
                      <a:moveTo>
                        <a:pt x="45" y="64"/>
                      </a:moveTo>
                      <a:lnTo>
                        <a:pt x="45" y="64"/>
                      </a:lnTo>
                      <a:lnTo>
                        <a:pt x="15" y="64"/>
                      </a:lnTo>
                      <a:lnTo>
                        <a:pt x="5" y="55"/>
                      </a:lnTo>
                      <a:lnTo>
                        <a:pt x="15" y="48"/>
                      </a:lnTo>
                      <a:lnTo>
                        <a:pt x="0" y="33"/>
                      </a:lnTo>
                      <a:lnTo>
                        <a:pt x="0" y="17"/>
                      </a:lnTo>
                      <a:lnTo>
                        <a:pt x="15" y="0"/>
                      </a:lnTo>
                      <a:lnTo>
                        <a:pt x="31" y="0"/>
                      </a:lnTo>
                      <a:lnTo>
                        <a:pt x="36" y="26"/>
                      </a:lnTo>
                      <a:lnTo>
                        <a:pt x="52" y="33"/>
                      </a:lnTo>
                      <a:lnTo>
                        <a:pt x="45" y="64"/>
                      </a:lnTo>
                      <a:lnTo>
                        <a:pt x="45" y="64"/>
                      </a:lnTo>
                      <a:lnTo>
                        <a:pt x="45" y="64"/>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3" name="Freeform 501">
                  <a:extLst>
                    <a:ext uri="{FF2B5EF4-FFF2-40B4-BE49-F238E27FC236}">
                      <a16:creationId xmlns:a16="http://schemas.microsoft.com/office/drawing/2014/main" id="{62527905-DB31-462E-A8D4-ECCE001BE411}"/>
                    </a:ext>
                  </a:extLst>
                </p:cNvPr>
                <p:cNvSpPr>
                  <a:spLocks/>
                </p:cNvSpPr>
                <p:nvPr/>
              </p:nvSpPr>
              <p:spPr bwMode="gray">
                <a:xfrm>
                  <a:off x="7495236" y="2503835"/>
                  <a:ext cx="101271" cy="114456"/>
                </a:xfrm>
                <a:custGeom>
                  <a:avLst/>
                  <a:gdLst>
                    <a:gd name="T0" fmla="*/ 0 w 246"/>
                    <a:gd name="T1" fmla="*/ 16 h 278"/>
                    <a:gd name="T2" fmla="*/ 5 w 246"/>
                    <a:gd name="T3" fmla="*/ 7 h 278"/>
                    <a:gd name="T4" fmla="*/ 76 w 246"/>
                    <a:gd name="T5" fmla="*/ 0 h 278"/>
                    <a:gd name="T6" fmla="*/ 97 w 246"/>
                    <a:gd name="T7" fmla="*/ 16 h 278"/>
                    <a:gd name="T8" fmla="*/ 97 w 246"/>
                    <a:gd name="T9" fmla="*/ 23 h 278"/>
                    <a:gd name="T10" fmla="*/ 152 w 246"/>
                    <a:gd name="T11" fmla="*/ 33 h 278"/>
                    <a:gd name="T12" fmla="*/ 168 w 246"/>
                    <a:gd name="T13" fmla="*/ 45 h 278"/>
                    <a:gd name="T14" fmla="*/ 175 w 246"/>
                    <a:gd name="T15" fmla="*/ 45 h 278"/>
                    <a:gd name="T16" fmla="*/ 185 w 246"/>
                    <a:gd name="T17" fmla="*/ 61 h 278"/>
                    <a:gd name="T18" fmla="*/ 175 w 246"/>
                    <a:gd name="T19" fmla="*/ 89 h 278"/>
                    <a:gd name="T20" fmla="*/ 175 w 246"/>
                    <a:gd name="T21" fmla="*/ 94 h 278"/>
                    <a:gd name="T22" fmla="*/ 192 w 246"/>
                    <a:gd name="T23" fmla="*/ 111 h 278"/>
                    <a:gd name="T24" fmla="*/ 208 w 246"/>
                    <a:gd name="T25" fmla="*/ 101 h 278"/>
                    <a:gd name="T26" fmla="*/ 208 w 246"/>
                    <a:gd name="T27" fmla="*/ 146 h 278"/>
                    <a:gd name="T28" fmla="*/ 229 w 246"/>
                    <a:gd name="T29" fmla="*/ 151 h 278"/>
                    <a:gd name="T30" fmla="*/ 229 w 246"/>
                    <a:gd name="T31" fmla="*/ 172 h 278"/>
                    <a:gd name="T32" fmla="*/ 229 w 246"/>
                    <a:gd name="T33" fmla="*/ 172 h 278"/>
                    <a:gd name="T34" fmla="*/ 246 w 246"/>
                    <a:gd name="T35" fmla="*/ 189 h 278"/>
                    <a:gd name="T36" fmla="*/ 229 w 246"/>
                    <a:gd name="T37" fmla="*/ 189 h 278"/>
                    <a:gd name="T38" fmla="*/ 218 w 246"/>
                    <a:gd name="T39" fmla="*/ 184 h 278"/>
                    <a:gd name="T40" fmla="*/ 208 w 246"/>
                    <a:gd name="T41" fmla="*/ 189 h 278"/>
                    <a:gd name="T42" fmla="*/ 201 w 246"/>
                    <a:gd name="T43" fmla="*/ 184 h 278"/>
                    <a:gd name="T44" fmla="*/ 185 w 246"/>
                    <a:gd name="T45" fmla="*/ 189 h 278"/>
                    <a:gd name="T46" fmla="*/ 175 w 246"/>
                    <a:gd name="T47" fmla="*/ 172 h 278"/>
                    <a:gd name="T48" fmla="*/ 168 w 246"/>
                    <a:gd name="T49" fmla="*/ 184 h 278"/>
                    <a:gd name="T50" fmla="*/ 163 w 246"/>
                    <a:gd name="T51" fmla="*/ 200 h 278"/>
                    <a:gd name="T52" fmla="*/ 168 w 246"/>
                    <a:gd name="T53" fmla="*/ 208 h 278"/>
                    <a:gd name="T54" fmla="*/ 163 w 246"/>
                    <a:gd name="T55" fmla="*/ 224 h 278"/>
                    <a:gd name="T56" fmla="*/ 147 w 246"/>
                    <a:gd name="T57" fmla="*/ 229 h 278"/>
                    <a:gd name="T58" fmla="*/ 147 w 246"/>
                    <a:gd name="T59" fmla="*/ 241 h 278"/>
                    <a:gd name="T60" fmla="*/ 130 w 246"/>
                    <a:gd name="T61" fmla="*/ 257 h 278"/>
                    <a:gd name="T62" fmla="*/ 130 w 246"/>
                    <a:gd name="T63" fmla="*/ 269 h 278"/>
                    <a:gd name="T64" fmla="*/ 114 w 246"/>
                    <a:gd name="T65" fmla="*/ 269 h 278"/>
                    <a:gd name="T66" fmla="*/ 109 w 246"/>
                    <a:gd name="T67" fmla="*/ 278 h 278"/>
                    <a:gd name="T68" fmla="*/ 97 w 246"/>
                    <a:gd name="T69" fmla="*/ 262 h 278"/>
                    <a:gd name="T70" fmla="*/ 109 w 246"/>
                    <a:gd name="T71" fmla="*/ 257 h 278"/>
                    <a:gd name="T72" fmla="*/ 97 w 246"/>
                    <a:gd name="T73" fmla="*/ 212 h 278"/>
                    <a:gd name="T74" fmla="*/ 114 w 246"/>
                    <a:gd name="T75" fmla="*/ 184 h 278"/>
                    <a:gd name="T76" fmla="*/ 97 w 246"/>
                    <a:gd name="T77" fmla="*/ 134 h 278"/>
                    <a:gd name="T78" fmla="*/ 83 w 246"/>
                    <a:gd name="T79" fmla="*/ 118 h 278"/>
                    <a:gd name="T80" fmla="*/ 43 w 246"/>
                    <a:gd name="T81" fmla="*/ 73 h 278"/>
                    <a:gd name="T82" fmla="*/ 22 w 246"/>
                    <a:gd name="T83" fmla="*/ 33 h 278"/>
                    <a:gd name="T84" fmla="*/ 0 w 246"/>
                    <a:gd name="T85" fmla="*/ 16 h 278"/>
                    <a:gd name="T86" fmla="*/ 0 w 246"/>
                    <a:gd name="T87" fmla="*/ 16 h 278"/>
                    <a:gd name="T88" fmla="*/ 0 w 246"/>
                    <a:gd name="T89" fmla="*/ 1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6" h="278">
                      <a:moveTo>
                        <a:pt x="0" y="16"/>
                      </a:moveTo>
                      <a:lnTo>
                        <a:pt x="5" y="7"/>
                      </a:lnTo>
                      <a:lnTo>
                        <a:pt x="76" y="0"/>
                      </a:lnTo>
                      <a:lnTo>
                        <a:pt x="97" y="16"/>
                      </a:lnTo>
                      <a:lnTo>
                        <a:pt x="97" y="23"/>
                      </a:lnTo>
                      <a:lnTo>
                        <a:pt x="152" y="33"/>
                      </a:lnTo>
                      <a:lnTo>
                        <a:pt x="168" y="45"/>
                      </a:lnTo>
                      <a:lnTo>
                        <a:pt x="175" y="45"/>
                      </a:lnTo>
                      <a:lnTo>
                        <a:pt x="185" y="61"/>
                      </a:lnTo>
                      <a:lnTo>
                        <a:pt x="175" y="89"/>
                      </a:lnTo>
                      <a:lnTo>
                        <a:pt x="175" y="94"/>
                      </a:lnTo>
                      <a:lnTo>
                        <a:pt x="192" y="111"/>
                      </a:lnTo>
                      <a:lnTo>
                        <a:pt x="208" y="101"/>
                      </a:lnTo>
                      <a:lnTo>
                        <a:pt x="208" y="146"/>
                      </a:lnTo>
                      <a:lnTo>
                        <a:pt x="229" y="151"/>
                      </a:lnTo>
                      <a:lnTo>
                        <a:pt x="229" y="172"/>
                      </a:lnTo>
                      <a:lnTo>
                        <a:pt x="229" y="172"/>
                      </a:lnTo>
                      <a:lnTo>
                        <a:pt x="246" y="189"/>
                      </a:lnTo>
                      <a:lnTo>
                        <a:pt x="229" y="189"/>
                      </a:lnTo>
                      <a:lnTo>
                        <a:pt x="218" y="184"/>
                      </a:lnTo>
                      <a:lnTo>
                        <a:pt x="208" y="189"/>
                      </a:lnTo>
                      <a:lnTo>
                        <a:pt x="201" y="184"/>
                      </a:lnTo>
                      <a:lnTo>
                        <a:pt x="185" y="189"/>
                      </a:lnTo>
                      <a:lnTo>
                        <a:pt x="175" y="172"/>
                      </a:lnTo>
                      <a:lnTo>
                        <a:pt x="168" y="184"/>
                      </a:lnTo>
                      <a:lnTo>
                        <a:pt x="163" y="200"/>
                      </a:lnTo>
                      <a:lnTo>
                        <a:pt x="168" y="208"/>
                      </a:lnTo>
                      <a:lnTo>
                        <a:pt x="163" y="224"/>
                      </a:lnTo>
                      <a:lnTo>
                        <a:pt x="147" y="229"/>
                      </a:lnTo>
                      <a:lnTo>
                        <a:pt x="147" y="241"/>
                      </a:lnTo>
                      <a:lnTo>
                        <a:pt x="130" y="257"/>
                      </a:lnTo>
                      <a:lnTo>
                        <a:pt x="130" y="269"/>
                      </a:lnTo>
                      <a:lnTo>
                        <a:pt x="114" y="269"/>
                      </a:lnTo>
                      <a:lnTo>
                        <a:pt x="109" y="278"/>
                      </a:lnTo>
                      <a:lnTo>
                        <a:pt x="97" y="262"/>
                      </a:lnTo>
                      <a:lnTo>
                        <a:pt x="109" y="257"/>
                      </a:lnTo>
                      <a:lnTo>
                        <a:pt x="97" y="212"/>
                      </a:lnTo>
                      <a:lnTo>
                        <a:pt x="114" y="184"/>
                      </a:lnTo>
                      <a:lnTo>
                        <a:pt x="97" y="134"/>
                      </a:lnTo>
                      <a:lnTo>
                        <a:pt x="83" y="118"/>
                      </a:lnTo>
                      <a:lnTo>
                        <a:pt x="43" y="73"/>
                      </a:lnTo>
                      <a:lnTo>
                        <a:pt x="22" y="33"/>
                      </a:lnTo>
                      <a:lnTo>
                        <a:pt x="0" y="16"/>
                      </a:lnTo>
                      <a:lnTo>
                        <a:pt x="0" y="16"/>
                      </a:lnTo>
                      <a:lnTo>
                        <a:pt x="0" y="16"/>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4" name="Freeform 503">
                  <a:extLst>
                    <a:ext uri="{FF2B5EF4-FFF2-40B4-BE49-F238E27FC236}">
                      <a16:creationId xmlns:a16="http://schemas.microsoft.com/office/drawing/2014/main" id="{5F64A1E6-EDA0-43F2-BADA-B67AC79037AB}"/>
                    </a:ext>
                  </a:extLst>
                </p:cNvPr>
                <p:cNvSpPr>
                  <a:spLocks/>
                </p:cNvSpPr>
                <p:nvPr/>
              </p:nvSpPr>
              <p:spPr bwMode="gray">
                <a:xfrm>
                  <a:off x="9260477" y="2360558"/>
                  <a:ext cx="927492" cy="394012"/>
                </a:xfrm>
                <a:custGeom>
                  <a:avLst/>
                  <a:gdLst>
                    <a:gd name="T0" fmla="*/ 1993 w 2253"/>
                    <a:gd name="T1" fmla="*/ 603 h 957"/>
                    <a:gd name="T2" fmla="*/ 1875 w 2253"/>
                    <a:gd name="T3" fmla="*/ 643 h 957"/>
                    <a:gd name="T4" fmla="*/ 1729 w 2253"/>
                    <a:gd name="T5" fmla="*/ 659 h 957"/>
                    <a:gd name="T6" fmla="*/ 1658 w 2253"/>
                    <a:gd name="T7" fmla="*/ 719 h 957"/>
                    <a:gd name="T8" fmla="*/ 1632 w 2253"/>
                    <a:gd name="T9" fmla="*/ 808 h 957"/>
                    <a:gd name="T10" fmla="*/ 1382 w 2253"/>
                    <a:gd name="T11" fmla="*/ 886 h 957"/>
                    <a:gd name="T12" fmla="*/ 1209 w 2253"/>
                    <a:gd name="T13" fmla="*/ 957 h 957"/>
                    <a:gd name="T14" fmla="*/ 1171 w 2253"/>
                    <a:gd name="T15" fmla="*/ 936 h 957"/>
                    <a:gd name="T16" fmla="*/ 1048 w 2253"/>
                    <a:gd name="T17" fmla="*/ 907 h 957"/>
                    <a:gd name="T18" fmla="*/ 919 w 2253"/>
                    <a:gd name="T19" fmla="*/ 863 h 957"/>
                    <a:gd name="T20" fmla="*/ 654 w 2253"/>
                    <a:gd name="T21" fmla="*/ 853 h 957"/>
                    <a:gd name="T22" fmla="*/ 571 w 2253"/>
                    <a:gd name="T23" fmla="*/ 813 h 957"/>
                    <a:gd name="T24" fmla="*/ 534 w 2253"/>
                    <a:gd name="T25" fmla="*/ 726 h 957"/>
                    <a:gd name="T26" fmla="*/ 411 w 2253"/>
                    <a:gd name="T27" fmla="*/ 664 h 957"/>
                    <a:gd name="T28" fmla="*/ 200 w 2253"/>
                    <a:gd name="T29" fmla="*/ 615 h 957"/>
                    <a:gd name="T30" fmla="*/ 222 w 2253"/>
                    <a:gd name="T31" fmla="*/ 548 h 957"/>
                    <a:gd name="T32" fmla="*/ 210 w 2253"/>
                    <a:gd name="T33" fmla="*/ 475 h 957"/>
                    <a:gd name="T34" fmla="*/ 163 w 2253"/>
                    <a:gd name="T35" fmla="*/ 409 h 957"/>
                    <a:gd name="T36" fmla="*/ 125 w 2253"/>
                    <a:gd name="T37" fmla="*/ 388 h 957"/>
                    <a:gd name="T38" fmla="*/ 54 w 2253"/>
                    <a:gd name="T39" fmla="*/ 355 h 957"/>
                    <a:gd name="T40" fmla="*/ 0 w 2253"/>
                    <a:gd name="T41" fmla="*/ 310 h 957"/>
                    <a:gd name="T42" fmla="*/ 21 w 2253"/>
                    <a:gd name="T43" fmla="*/ 277 h 957"/>
                    <a:gd name="T44" fmla="*/ 75 w 2253"/>
                    <a:gd name="T45" fmla="*/ 260 h 957"/>
                    <a:gd name="T46" fmla="*/ 101 w 2253"/>
                    <a:gd name="T47" fmla="*/ 256 h 957"/>
                    <a:gd name="T48" fmla="*/ 139 w 2253"/>
                    <a:gd name="T49" fmla="*/ 227 h 957"/>
                    <a:gd name="T50" fmla="*/ 163 w 2253"/>
                    <a:gd name="T51" fmla="*/ 199 h 957"/>
                    <a:gd name="T52" fmla="*/ 252 w 2253"/>
                    <a:gd name="T53" fmla="*/ 161 h 957"/>
                    <a:gd name="T54" fmla="*/ 319 w 2253"/>
                    <a:gd name="T55" fmla="*/ 128 h 957"/>
                    <a:gd name="T56" fmla="*/ 361 w 2253"/>
                    <a:gd name="T57" fmla="*/ 128 h 957"/>
                    <a:gd name="T58" fmla="*/ 453 w 2253"/>
                    <a:gd name="T59" fmla="*/ 149 h 957"/>
                    <a:gd name="T60" fmla="*/ 503 w 2253"/>
                    <a:gd name="T61" fmla="*/ 199 h 957"/>
                    <a:gd name="T62" fmla="*/ 562 w 2253"/>
                    <a:gd name="T63" fmla="*/ 206 h 957"/>
                    <a:gd name="T64" fmla="*/ 616 w 2253"/>
                    <a:gd name="T65" fmla="*/ 222 h 957"/>
                    <a:gd name="T66" fmla="*/ 697 w 2253"/>
                    <a:gd name="T67" fmla="*/ 206 h 957"/>
                    <a:gd name="T68" fmla="*/ 739 w 2253"/>
                    <a:gd name="T69" fmla="*/ 161 h 957"/>
                    <a:gd name="T70" fmla="*/ 718 w 2253"/>
                    <a:gd name="T71" fmla="*/ 128 h 957"/>
                    <a:gd name="T72" fmla="*/ 734 w 2253"/>
                    <a:gd name="T73" fmla="*/ 62 h 957"/>
                    <a:gd name="T74" fmla="*/ 777 w 2253"/>
                    <a:gd name="T75" fmla="*/ 0 h 957"/>
                    <a:gd name="T76" fmla="*/ 956 w 2253"/>
                    <a:gd name="T77" fmla="*/ 71 h 957"/>
                    <a:gd name="T78" fmla="*/ 1011 w 2253"/>
                    <a:gd name="T79" fmla="*/ 95 h 957"/>
                    <a:gd name="T80" fmla="*/ 1025 w 2253"/>
                    <a:gd name="T81" fmla="*/ 133 h 957"/>
                    <a:gd name="T82" fmla="*/ 1079 w 2253"/>
                    <a:gd name="T83" fmla="*/ 173 h 957"/>
                    <a:gd name="T84" fmla="*/ 1129 w 2253"/>
                    <a:gd name="T85" fmla="*/ 189 h 957"/>
                    <a:gd name="T86" fmla="*/ 1237 w 2253"/>
                    <a:gd name="T87" fmla="*/ 161 h 957"/>
                    <a:gd name="T88" fmla="*/ 1330 w 2253"/>
                    <a:gd name="T89" fmla="*/ 173 h 957"/>
                    <a:gd name="T90" fmla="*/ 1419 w 2253"/>
                    <a:gd name="T91" fmla="*/ 215 h 957"/>
                    <a:gd name="T92" fmla="*/ 1507 w 2253"/>
                    <a:gd name="T93" fmla="*/ 260 h 957"/>
                    <a:gd name="T94" fmla="*/ 1653 w 2253"/>
                    <a:gd name="T95" fmla="*/ 272 h 957"/>
                    <a:gd name="T96" fmla="*/ 1859 w 2253"/>
                    <a:gd name="T97" fmla="*/ 173 h 957"/>
                    <a:gd name="T98" fmla="*/ 1960 w 2253"/>
                    <a:gd name="T99" fmla="*/ 215 h 957"/>
                    <a:gd name="T100" fmla="*/ 2031 w 2253"/>
                    <a:gd name="T101" fmla="*/ 222 h 957"/>
                    <a:gd name="T102" fmla="*/ 1965 w 2253"/>
                    <a:gd name="T103" fmla="*/ 367 h 957"/>
                    <a:gd name="T104" fmla="*/ 1977 w 2253"/>
                    <a:gd name="T105" fmla="*/ 421 h 957"/>
                    <a:gd name="T106" fmla="*/ 2074 w 2253"/>
                    <a:gd name="T107" fmla="*/ 421 h 957"/>
                    <a:gd name="T108" fmla="*/ 2178 w 2253"/>
                    <a:gd name="T109" fmla="*/ 409 h 957"/>
                    <a:gd name="T110" fmla="*/ 2237 w 2253"/>
                    <a:gd name="T111" fmla="*/ 466 h 957"/>
                    <a:gd name="T112" fmla="*/ 2237 w 2253"/>
                    <a:gd name="T113" fmla="*/ 520 h 957"/>
                    <a:gd name="T114" fmla="*/ 2178 w 2253"/>
                    <a:gd name="T115" fmla="*/ 515 h 957"/>
                    <a:gd name="T116" fmla="*/ 2074 w 2253"/>
                    <a:gd name="T117" fmla="*/ 520 h 957"/>
                    <a:gd name="T118" fmla="*/ 2031 w 2253"/>
                    <a:gd name="T119" fmla="*/ 548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3" h="957">
                      <a:moveTo>
                        <a:pt x="2031" y="548"/>
                      </a:moveTo>
                      <a:lnTo>
                        <a:pt x="2010" y="560"/>
                      </a:lnTo>
                      <a:lnTo>
                        <a:pt x="1993" y="603"/>
                      </a:lnTo>
                      <a:lnTo>
                        <a:pt x="1944" y="626"/>
                      </a:lnTo>
                      <a:lnTo>
                        <a:pt x="1875" y="626"/>
                      </a:lnTo>
                      <a:lnTo>
                        <a:pt x="1875" y="643"/>
                      </a:lnTo>
                      <a:lnTo>
                        <a:pt x="1814" y="681"/>
                      </a:lnTo>
                      <a:lnTo>
                        <a:pt x="1762" y="669"/>
                      </a:lnTo>
                      <a:lnTo>
                        <a:pt x="1729" y="659"/>
                      </a:lnTo>
                      <a:lnTo>
                        <a:pt x="1708" y="648"/>
                      </a:lnTo>
                      <a:lnTo>
                        <a:pt x="1686" y="664"/>
                      </a:lnTo>
                      <a:lnTo>
                        <a:pt x="1658" y="719"/>
                      </a:lnTo>
                      <a:lnTo>
                        <a:pt x="1691" y="754"/>
                      </a:lnTo>
                      <a:lnTo>
                        <a:pt x="1696" y="775"/>
                      </a:lnTo>
                      <a:lnTo>
                        <a:pt x="1632" y="808"/>
                      </a:lnTo>
                      <a:lnTo>
                        <a:pt x="1587" y="853"/>
                      </a:lnTo>
                      <a:lnTo>
                        <a:pt x="1511" y="886"/>
                      </a:lnTo>
                      <a:lnTo>
                        <a:pt x="1382" y="886"/>
                      </a:lnTo>
                      <a:lnTo>
                        <a:pt x="1263" y="924"/>
                      </a:lnTo>
                      <a:lnTo>
                        <a:pt x="1226" y="952"/>
                      </a:lnTo>
                      <a:lnTo>
                        <a:pt x="1209" y="957"/>
                      </a:lnTo>
                      <a:lnTo>
                        <a:pt x="1204" y="957"/>
                      </a:lnTo>
                      <a:lnTo>
                        <a:pt x="1171" y="952"/>
                      </a:lnTo>
                      <a:lnTo>
                        <a:pt x="1171" y="936"/>
                      </a:lnTo>
                      <a:lnTo>
                        <a:pt x="1129" y="941"/>
                      </a:lnTo>
                      <a:lnTo>
                        <a:pt x="1096" y="936"/>
                      </a:lnTo>
                      <a:lnTo>
                        <a:pt x="1048" y="907"/>
                      </a:lnTo>
                      <a:lnTo>
                        <a:pt x="1004" y="903"/>
                      </a:lnTo>
                      <a:lnTo>
                        <a:pt x="987" y="879"/>
                      </a:lnTo>
                      <a:lnTo>
                        <a:pt x="919" y="863"/>
                      </a:lnTo>
                      <a:lnTo>
                        <a:pt x="881" y="863"/>
                      </a:lnTo>
                      <a:lnTo>
                        <a:pt x="826" y="879"/>
                      </a:lnTo>
                      <a:lnTo>
                        <a:pt x="654" y="853"/>
                      </a:lnTo>
                      <a:lnTo>
                        <a:pt x="600" y="863"/>
                      </a:lnTo>
                      <a:lnTo>
                        <a:pt x="600" y="846"/>
                      </a:lnTo>
                      <a:lnTo>
                        <a:pt x="571" y="813"/>
                      </a:lnTo>
                      <a:lnTo>
                        <a:pt x="545" y="754"/>
                      </a:lnTo>
                      <a:lnTo>
                        <a:pt x="534" y="754"/>
                      </a:lnTo>
                      <a:lnTo>
                        <a:pt x="534" y="726"/>
                      </a:lnTo>
                      <a:lnTo>
                        <a:pt x="508" y="726"/>
                      </a:lnTo>
                      <a:lnTo>
                        <a:pt x="486" y="719"/>
                      </a:lnTo>
                      <a:lnTo>
                        <a:pt x="411" y="664"/>
                      </a:lnTo>
                      <a:lnTo>
                        <a:pt x="264" y="659"/>
                      </a:lnTo>
                      <a:lnTo>
                        <a:pt x="215" y="643"/>
                      </a:lnTo>
                      <a:lnTo>
                        <a:pt x="200" y="615"/>
                      </a:lnTo>
                      <a:lnTo>
                        <a:pt x="210" y="593"/>
                      </a:lnTo>
                      <a:lnTo>
                        <a:pt x="231" y="570"/>
                      </a:lnTo>
                      <a:lnTo>
                        <a:pt x="222" y="548"/>
                      </a:lnTo>
                      <a:lnTo>
                        <a:pt x="231" y="520"/>
                      </a:lnTo>
                      <a:lnTo>
                        <a:pt x="222" y="492"/>
                      </a:lnTo>
                      <a:lnTo>
                        <a:pt x="210" y="475"/>
                      </a:lnTo>
                      <a:lnTo>
                        <a:pt x="193" y="449"/>
                      </a:lnTo>
                      <a:lnTo>
                        <a:pt x="184" y="437"/>
                      </a:lnTo>
                      <a:lnTo>
                        <a:pt x="163" y="409"/>
                      </a:lnTo>
                      <a:lnTo>
                        <a:pt x="163" y="404"/>
                      </a:lnTo>
                      <a:lnTo>
                        <a:pt x="139" y="404"/>
                      </a:lnTo>
                      <a:lnTo>
                        <a:pt x="125" y="388"/>
                      </a:lnTo>
                      <a:lnTo>
                        <a:pt x="92" y="388"/>
                      </a:lnTo>
                      <a:lnTo>
                        <a:pt x="59" y="371"/>
                      </a:lnTo>
                      <a:lnTo>
                        <a:pt x="54" y="355"/>
                      </a:lnTo>
                      <a:lnTo>
                        <a:pt x="16" y="338"/>
                      </a:lnTo>
                      <a:lnTo>
                        <a:pt x="21" y="326"/>
                      </a:lnTo>
                      <a:lnTo>
                        <a:pt x="0" y="310"/>
                      </a:lnTo>
                      <a:lnTo>
                        <a:pt x="4" y="300"/>
                      </a:lnTo>
                      <a:lnTo>
                        <a:pt x="4" y="282"/>
                      </a:lnTo>
                      <a:lnTo>
                        <a:pt x="21" y="277"/>
                      </a:lnTo>
                      <a:lnTo>
                        <a:pt x="21" y="260"/>
                      </a:lnTo>
                      <a:lnTo>
                        <a:pt x="33" y="256"/>
                      </a:lnTo>
                      <a:lnTo>
                        <a:pt x="75" y="260"/>
                      </a:lnTo>
                      <a:lnTo>
                        <a:pt x="75" y="244"/>
                      </a:lnTo>
                      <a:lnTo>
                        <a:pt x="87" y="256"/>
                      </a:lnTo>
                      <a:lnTo>
                        <a:pt x="101" y="256"/>
                      </a:lnTo>
                      <a:lnTo>
                        <a:pt x="101" y="239"/>
                      </a:lnTo>
                      <a:lnTo>
                        <a:pt x="108" y="244"/>
                      </a:lnTo>
                      <a:lnTo>
                        <a:pt x="139" y="227"/>
                      </a:lnTo>
                      <a:lnTo>
                        <a:pt x="130" y="215"/>
                      </a:lnTo>
                      <a:lnTo>
                        <a:pt x="156" y="206"/>
                      </a:lnTo>
                      <a:lnTo>
                        <a:pt x="163" y="199"/>
                      </a:lnTo>
                      <a:lnTo>
                        <a:pt x="210" y="182"/>
                      </a:lnTo>
                      <a:lnTo>
                        <a:pt x="222" y="166"/>
                      </a:lnTo>
                      <a:lnTo>
                        <a:pt x="252" y="161"/>
                      </a:lnTo>
                      <a:lnTo>
                        <a:pt x="276" y="145"/>
                      </a:lnTo>
                      <a:lnTo>
                        <a:pt x="307" y="133"/>
                      </a:lnTo>
                      <a:lnTo>
                        <a:pt x="319" y="128"/>
                      </a:lnTo>
                      <a:lnTo>
                        <a:pt x="340" y="145"/>
                      </a:lnTo>
                      <a:lnTo>
                        <a:pt x="356" y="128"/>
                      </a:lnTo>
                      <a:lnTo>
                        <a:pt x="361" y="128"/>
                      </a:lnTo>
                      <a:lnTo>
                        <a:pt x="361" y="145"/>
                      </a:lnTo>
                      <a:lnTo>
                        <a:pt x="373" y="149"/>
                      </a:lnTo>
                      <a:lnTo>
                        <a:pt x="453" y="149"/>
                      </a:lnTo>
                      <a:lnTo>
                        <a:pt x="465" y="182"/>
                      </a:lnTo>
                      <a:lnTo>
                        <a:pt x="479" y="206"/>
                      </a:lnTo>
                      <a:lnTo>
                        <a:pt x="503" y="199"/>
                      </a:lnTo>
                      <a:lnTo>
                        <a:pt x="508" y="206"/>
                      </a:lnTo>
                      <a:lnTo>
                        <a:pt x="541" y="215"/>
                      </a:lnTo>
                      <a:lnTo>
                        <a:pt x="562" y="206"/>
                      </a:lnTo>
                      <a:lnTo>
                        <a:pt x="571" y="215"/>
                      </a:lnTo>
                      <a:lnTo>
                        <a:pt x="578" y="206"/>
                      </a:lnTo>
                      <a:lnTo>
                        <a:pt x="616" y="222"/>
                      </a:lnTo>
                      <a:lnTo>
                        <a:pt x="647" y="215"/>
                      </a:lnTo>
                      <a:lnTo>
                        <a:pt x="671" y="227"/>
                      </a:lnTo>
                      <a:lnTo>
                        <a:pt x="697" y="206"/>
                      </a:lnTo>
                      <a:lnTo>
                        <a:pt x="722" y="199"/>
                      </a:lnTo>
                      <a:lnTo>
                        <a:pt x="739" y="173"/>
                      </a:lnTo>
                      <a:lnTo>
                        <a:pt x="739" y="161"/>
                      </a:lnTo>
                      <a:lnTo>
                        <a:pt x="718" y="145"/>
                      </a:lnTo>
                      <a:lnTo>
                        <a:pt x="718" y="133"/>
                      </a:lnTo>
                      <a:lnTo>
                        <a:pt x="718" y="128"/>
                      </a:lnTo>
                      <a:lnTo>
                        <a:pt x="701" y="111"/>
                      </a:lnTo>
                      <a:lnTo>
                        <a:pt x="718" y="62"/>
                      </a:lnTo>
                      <a:lnTo>
                        <a:pt x="734" y="62"/>
                      </a:lnTo>
                      <a:lnTo>
                        <a:pt x="739" y="38"/>
                      </a:lnTo>
                      <a:lnTo>
                        <a:pt x="760" y="34"/>
                      </a:lnTo>
                      <a:lnTo>
                        <a:pt x="777" y="0"/>
                      </a:lnTo>
                      <a:lnTo>
                        <a:pt x="859" y="38"/>
                      </a:lnTo>
                      <a:lnTo>
                        <a:pt x="897" y="38"/>
                      </a:lnTo>
                      <a:lnTo>
                        <a:pt x="956" y="71"/>
                      </a:lnTo>
                      <a:lnTo>
                        <a:pt x="973" y="62"/>
                      </a:lnTo>
                      <a:lnTo>
                        <a:pt x="1011" y="78"/>
                      </a:lnTo>
                      <a:lnTo>
                        <a:pt x="1011" y="95"/>
                      </a:lnTo>
                      <a:lnTo>
                        <a:pt x="1020" y="111"/>
                      </a:lnTo>
                      <a:lnTo>
                        <a:pt x="1011" y="128"/>
                      </a:lnTo>
                      <a:lnTo>
                        <a:pt x="1025" y="133"/>
                      </a:lnTo>
                      <a:lnTo>
                        <a:pt x="1020" y="149"/>
                      </a:lnTo>
                      <a:lnTo>
                        <a:pt x="1063" y="173"/>
                      </a:lnTo>
                      <a:lnTo>
                        <a:pt x="1079" y="173"/>
                      </a:lnTo>
                      <a:lnTo>
                        <a:pt x="1086" y="189"/>
                      </a:lnTo>
                      <a:lnTo>
                        <a:pt x="1117" y="189"/>
                      </a:lnTo>
                      <a:lnTo>
                        <a:pt x="1129" y="189"/>
                      </a:lnTo>
                      <a:lnTo>
                        <a:pt x="1141" y="189"/>
                      </a:lnTo>
                      <a:lnTo>
                        <a:pt x="1167" y="173"/>
                      </a:lnTo>
                      <a:lnTo>
                        <a:pt x="1237" y="161"/>
                      </a:lnTo>
                      <a:lnTo>
                        <a:pt x="1280" y="166"/>
                      </a:lnTo>
                      <a:lnTo>
                        <a:pt x="1297" y="173"/>
                      </a:lnTo>
                      <a:lnTo>
                        <a:pt x="1330" y="173"/>
                      </a:lnTo>
                      <a:lnTo>
                        <a:pt x="1351" y="189"/>
                      </a:lnTo>
                      <a:lnTo>
                        <a:pt x="1356" y="206"/>
                      </a:lnTo>
                      <a:lnTo>
                        <a:pt x="1419" y="215"/>
                      </a:lnTo>
                      <a:lnTo>
                        <a:pt x="1415" y="239"/>
                      </a:lnTo>
                      <a:lnTo>
                        <a:pt x="1457" y="272"/>
                      </a:lnTo>
                      <a:lnTo>
                        <a:pt x="1507" y="260"/>
                      </a:lnTo>
                      <a:lnTo>
                        <a:pt x="1528" y="277"/>
                      </a:lnTo>
                      <a:lnTo>
                        <a:pt x="1615" y="282"/>
                      </a:lnTo>
                      <a:lnTo>
                        <a:pt x="1653" y="272"/>
                      </a:lnTo>
                      <a:lnTo>
                        <a:pt x="1776" y="244"/>
                      </a:lnTo>
                      <a:lnTo>
                        <a:pt x="1783" y="222"/>
                      </a:lnTo>
                      <a:lnTo>
                        <a:pt x="1859" y="173"/>
                      </a:lnTo>
                      <a:lnTo>
                        <a:pt x="1901" y="182"/>
                      </a:lnTo>
                      <a:lnTo>
                        <a:pt x="1939" y="215"/>
                      </a:lnTo>
                      <a:lnTo>
                        <a:pt x="1960" y="215"/>
                      </a:lnTo>
                      <a:lnTo>
                        <a:pt x="1998" y="206"/>
                      </a:lnTo>
                      <a:lnTo>
                        <a:pt x="2019" y="215"/>
                      </a:lnTo>
                      <a:lnTo>
                        <a:pt x="2031" y="222"/>
                      </a:lnTo>
                      <a:lnTo>
                        <a:pt x="1982" y="317"/>
                      </a:lnTo>
                      <a:lnTo>
                        <a:pt x="1965" y="338"/>
                      </a:lnTo>
                      <a:lnTo>
                        <a:pt x="1965" y="367"/>
                      </a:lnTo>
                      <a:lnTo>
                        <a:pt x="1944" y="383"/>
                      </a:lnTo>
                      <a:lnTo>
                        <a:pt x="1956" y="393"/>
                      </a:lnTo>
                      <a:lnTo>
                        <a:pt x="1977" y="421"/>
                      </a:lnTo>
                      <a:lnTo>
                        <a:pt x="1998" y="404"/>
                      </a:lnTo>
                      <a:lnTo>
                        <a:pt x="2048" y="404"/>
                      </a:lnTo>
                      <a:lnTo>
                        <a:pt x="2074" y="421"/>
                      </a:lnTo>
                      <a:lnTo>
                        <a:pt x="2107" y="388"/>
                      </a:lnTo>
                      <a:lnTo>
                        <a:pt x="2161" y="388"/>
                      </a:lnTo>
                      <a:lnTo>
                        <a:pt x="2178" y="409"/>
                      </a:lnTo>
                      <a:lnTo>
                        <a:pt x="2199" y="421"/>
                      </a:lnTo>
                      <a:lnTo>
                        <a:pt x="2199" y="437"/>
                      </a:lnTo>
                      <a:lnTo>
                        <a:pt x="2237" y="466"/>
                      </a:lnTo>
                      <a:lnTo>
                        <a:pt x="2253" y="492"/>
                      </a:lnTo>
                      <a:lnTo>
                        <a:pt x="2253" y="504"/>
                      </a:lnTo>
                      <a:lnTo>
                        <a:pt x="2237" y="520"/>
                      </a:lnTo>
                      <a:lnTo>
                        <a:pt x="2215" y="515"/>
                      </a:lnTo>
                      <a:lnTo>
                        <a:pt x="2182" y="504"/>
                      </a:lnTo>
                      <a:lnTo>
                        <a:pt x="2178" y="515"/>
                      </a:lnTo>
                      <a:lnTo>
                        <a:pt x="2145" y="504"/>
                      </a:lnTo>
                      <a:lnTo>
                        <a:pt x="2107" y="520"/>
                      </a:lnTo>
                      <a:lnTo>
                        <a:pt x="2074" y="520"/>
                      </a:lnTo>
                      <a:lnTo>
                        <a:pt x="2074" y="537"/>
                      </a:lnTo>
                      <a:lnTo>
                        <a:pt x="2036" y="537"/>
                      </a:lnTo>
                      <a:lnTo>
                        <a:pt x="2031" y="548"/>
                      </a:lnTo>
                      <a:lnTo>
                        <a:pt x="2031" y="548"/>
                      </a:lnTo>
                      <a:lnTo>
                        <a:pt x="2031" y="548"/>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5" name="Freeform 506">
                  <a:extLst>
                    <a:ext uri="{FF2B5EF4-FFF2-40B4-BE49-F238E27FC236}">
                      <a16:creationId xmlns:a16="http://schemas.microsoft.com/office/drawing/2014/main" id="{68DAD397-F86B-4AA5-AEDE-97F6504C78E6}"/>
                    </a:ext>
                  </a:extLst>
                </p:cNvPr>
                <p:cNvSpPr>
                  <a:spLocks/>
                </p:cNvSpPr>
                <p:nvPr/>
              </p:nvSpPr>
              <p:spPr bwMode="gray">
                <a:xfrm>
                  <a:off x="7317394" y="2728220"/>
                  <a:ext cx="72043" cy="51876"/>
                </a:xfrm>
                <a:custGeom>
                  <a:avLst/>
                  <a:gdLst>
                    <a:gd name="T0" fmla="*/ 21 w 175"/>
                    <a:gd name="T1" fmla="*/ 126 h 126"/>
                    <a:gd name="T2" fmla="*/ 9 w 175"/>
                    <a:gd name="T3" fmla="*/ 126 h 126"/>
                    <a:gd name="T4" fmla="*/ 0 w 175"/>
                    <a:gd name="T5" fmla="*/ 88 h 126"/>
                    <a:gd name="T6" fmla="*/ 5 w 175"/>
                    <a:gd name="T7" fmla="*/ 81 h 126"/>
                    <a:gd name="T8" fmla="*/ 0 w 175"/>
                    <a:gd name="T9" fmla="*/ 71 h 126"/>
                    <a:gd name="T10" fmla="*/ 5 w 175"/>
                    <a:gd name="T11" fmla="*/ 43 h 126"/>
                    <a:gd name="T12" fmla="*/ 9 w 175"/>
                    <a:gd name="T13" fmla="*/ 43 h 126"/>
                    <a:gd name="T14" fmla="*/ 21 w 175"/>
                    <a:gd name="T15" fmla="*/ 26 h 126"/>
                    <a:gd name="T16" fmla="*/ 43 w 175"/>
                    <a:gd name="T17" fmla="*/ 17 h 126"/>
                    <a:gd name="T18" fmla="*/ 59 w 175"/>
                    <a:gd name="T19" fmla="*/ 17 h 126"/>
                    <a:gd name="T20" fmla="*/ 66 w 175"/>
                    <a:gd name="T21" fmla="*/ 10 h 126"/>
                    <a:gd name="T22" fmla="*/ 80 w 175"/>
                    <a:gd name="T23" fmla="*/ 10 h 126"/>
                    <a:gd name="T24" fmla="*/ 97 w 175"/>
                    <a:gd name="T25" fmla="*/ 0 h 126"/>
                    <a:gd name="T26" fmla="*/ 130 w 175"/>
                    <a:gd name="T27" fmla="*/ 0 h 126"/>
                    <a:gd name="T28" fmla="*/ 147 w 175"/>
                    <a:gd name="T29" fmla="*/ 17 h 126"/>
                    <a:gd name="T30" fmla="*/ 170 w 175"/>
                    <a:gd name="T31" fmla="*/ 33 h 126"/>
                    <a:gd name="T32" fmla="*/ 175 w 175"/>
                    <a:gd name="T33" fmla="*/ 50 h 126"/>
                    <a:gd name="T34" fmla="*/ 175 w 175"/>
                    <a:gd name="T35" fmla="*/ 88 h 126"/>
                    <a:gd name="T36" fmla="*/ 163 w 175"/>
                    <a:gd name="T37" fmla="*/ 88 h 126"/>
                    <a:gd name="T38" fmla="*/ 163 w 175"/>
                    <a:gd name="T39" fmla="*/ 102 h 126"/>
                    <a:gd name="T40" fmla="*/ 109 w 175"/>
                    <a:gd name="T41" fmla="*/ 102 h 126"/>
                    <a:gd name="T42" fmla="*/ 92 w 175"/>
                    <a:gd name="T43" fmla="*/ 118 h 126"/>
                    <a:gd name="T44" fmla="*/ 76 w 175"/>
                    <a:gd name="T45" fmla="*/ 126 h 126"/>
                    <a:gd name="T46" fmla="*/ 38 w 175"/>
                    <a:gd name="T47" fmla="*/ 126 h 126"/>
                    <a:gd name="T48" fmla="*/ 21 w 175"/>
                    <a:gd name="T49" fmla="*/ 126 h 126"/>
                    <a:gd name="T50" fmla="*/ 21 w 175"/>
                    <a:gd name="T51" fmla="*/ 126 h 126"/>
                    <a:gd name="T52" fmla="*/ 21 w 175"/>
                    <a:gd name="T53"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26">
                      <a:moveTo>
                        <a:pt x="21" y="126"/>
                      </a:moveTo>
                      <a:lnTo>
                        <a:pt x="9" y="126"/>
                      </a:lnTo>
                      <a:lnTo>
                        <a:pt x="0" y="88"/>
                      </a:lnTo>
                      <a:lnTo>
                        <a:pt x="5" y="81"/>
                      </a:lnTo>
                      <a:lnTo>
                        <a:pt x="0" y="71"/>
                      </a:lnTo>
                      <a:lnTo>
                        <a:pt x="5" y="43"/>
                      </a:lnTo>
                      <a:lnTo>
                        <a:pt x="9" y="43"/>
                      </a:lnTo>
                      <a:lnTo>
                        <a:pt x="21" y="26"/>
                      </a:lnTo>
                      <a:lnTo>
                        <a:pt x="43" y="17"/>
                      </a:lnTo>
                      <a:lnTo>
                        <a:pt x="59" y="17"/>
                      </a:lnTo>
                      <a:lnTo>
                        <a:pt x="66" y="10"/>
                      </a:lnTo>
                      <a:lnTo>
                        <a:pt x="80" y="10"/>
                      </a:lnTo>
                      <a:lnTo>
                        <a:pt x="97" y="0"/>
                      </a:lnTo>
                      <a:lnTo>
                        <a:pt x="130" y="0"/>
                      </a:lnTo>
                      <a:lnTo>
                        <a:pt x="147" y="17"/>
                      </a:lnTo>
                      <a:lnTo>
                        <a:pt x="170" y="33"/>
                      </a:lnTo>
                      <a:lnTo>
                        <a:pt x="175" y="50"/>
                      </a:lnTo>
                      <a:lnTo>
                        <a:pt x="175" y="88"/>
                      </a:lnTo>
                      <a:lnTo>
                        <a:pt x="163" y="88"/>
                      </a:lnTo>
                      <a:lnTo>
                        <a:pt x="163" y="102"/>
                      </a:lnTo>
                      <a:lnTo>
                        <a:pt x="109" y="102"/>
                      </a:lnTo>
                      <a:lnTo>
                        <a:pt x="92" y="118"/>
                      </a:lnTo>
                      <a:lnTo>
                        <a:pt x="76" y="126"/>
                      </a:lnTo>
                      <a:lnTo>
                        <a:pt x="38" y="126"/>
                      </a:lnTo>
                      <a:lnTo>
                        <a:pt x="21" y="126"/>
                      </a:lnTo>
                      <a:lnTo>
                        <a:pt x="21" y="126"/>
                      </a:lnTo>
                      <a:lnTo>
                        <a:pt x="21" y="126"/>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6" name="Freeform 511">
                  <a:extLst>
                    <a:ext uri="{FF2B5EF4-FFF2-40B4-BE49-F238E27FC236}">
                      <a16:creationId xmlns:a16="http://schemas.microsoft.com/office/drawing/2014/main" id="{330BF201-2549-4902-B7B8-18C0147DF75A}"/>
                    </a:ext>
                  </a:extLst>
                </p:cNvPr>
                <p:cNvSpPr>
                  <a:spLocks noEditPoints="1"/>
                </p:cNvSpPr>
                <p:nvPr/>
              </p:nvSpPr>
              <p:spPr bwMode="gray">
                <a:xfrm>
                  <a:off x="7134612" y="2947253"/>
                  <a:ext cx="9880" cy="10705"/>
                </a:xfrm>
                <a:custGeom>
                  <a:avLst/>
                  <a:gdLst>
                    <a:gd name="T0" fmla="*/ 7 w 24"/>
                    <a:gd name="T1" fmla="*/ 12 h 26"/>
                    <a:gd name="T2" fmla="*/ 0 w 24"/>
                    <a:gd name="T3" fmla="*/ 0 h 26"/>
                    <a:gd name="T4" fmla="*/ 7 w 24"/>
                    <a:gd name="T5" fmla="*/ 0 h 26"/>
                    <a:gd name="T6" fmla="*/ 7 w 24"/>
                    <a:gd name="T7" fmla="*/ 12 h 26"/>
                    <a:gd name="T8" fmla="*/ 7 w 24"/>
                    <a:gd name="T9" fmla="*/ 12 h 26"/>
                    <a:gd name="T10" fmla="*/ 7 w 24"/>
                    <a:gd name="T11" fmla="*/ 12 h 26"/>
                    <a:gd name="T12" fmla="*/ 24 w 24"/>
                    <a:gd name="T13" fmla="*/ 26 h 26"/>
                    <a:gd name="T14" fmla="*/ 7 w 24"/>
                    <a:gd name="T15" fmla="*/ 16 h 26"/>
                    <a:gd name="T16" fmla="*/ 7 w 24"/>
                    <a:gd name="T17" fmla="*/ 12 h 26"/>
                    <a:gd name="T18" fmla="*/ 24 w 24"/>
                    <a:gd name="T19" fmla="*/ 16 h 26"/>
                    <a:gd name="T20" fmla="*/ 24 w 24"/>
                    <a:gd name="T21" fmla="*/ 26 h 26"/>
                    <a:gd name="T22" fmla="*/ 24 w 24"/>
                    <a:gd name="T23" fmla="*/ 26 h 26"/>
                    <a:gd name="T24" fmla="*/ 24 w 24"/>
                    <a:gd name="T2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6">
                      <a:moveTo>
                        <a:pt x="7" y="12"/>
                      </a:moveTo>
                      <a:lnTo>
                        <a:pt x="0" y="0"/>
                      </a:lnTo>
                      <a:lnTo>
                        <a:pt x="7" y="0"/>
                      </a:lnTo>
                      <a:lnTo>
                        <a:pt x="7" y="12"/>
                      </a:lnTo>
                      <a:lnTo>
                        <a:pt x="7" y="12"/>
                      </a:lnTo>
                      <a:lnTo>
                        <a:pt x="7" y="12"/>
                      </a:lnTo>
                      <a:close/>
                      <a:moveTo>
                        <a:pt x="24" y="26"/>
                      </a:moveTo>
                      <a:lnTo>
                        <a:pt x="7" y="16"/>
                      </a:lnTo>
                      <a:lnTo>
                        <a:pt x="7" y="12"/>
                      </a:lnTo>
                      <a:lnTo>
                        <a:pt x="24" y="16"/>
                      </a:lnTo>
                      <a:lnTo>
                        <a:pt x="24" y="26"/>
                      </a:lnTo>
                      <a:lnTo>
                        <a:pt x="24" y="26"/>
                      </a:lnTo>
                      <a:lnTo>
                        <a:pt x="24" y="26"/>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7" name="Freeform 513">
                  <a:extLst>
                    <a:ext uri="{FF2B5EF4-FFF2-40B4-BE49-F238E27FC236}">
                      <a16:creationId xmlns:a16="http://schemas.microsoft.com/office/drawing/2014/main" id="{8AFB4F35-825E-43FC-8696-BDFF5AC275BC}"/>
                    </a:ext>
                  </a:extLst>
                </p:cNvPr>
                <p:cNvSpPr>
                  <a:spLocks/>
                </p:cNvSpPr>
                <p:nvPr/>
              </p:nvSpPr>
              <p:spPr bwMode="gray">
                <a:xfrm>
                  <a:off x="7260171" y="2685402"/>
                  <a:ext cx="53518" cy="60523"/>
                </a:xfrm>
                <a:custGeom>
                  <a:avLst/>
                  <a:gdLst>
                    <a:gd name="T0" fmla="*/ 0 w 130"/>
                    <a:gd name="T1" fmla="*/ 90 h 147"/>
                    <a:gd name="T2" fmla="*/ 7 w 130"/>
                    <a:gd name="T3" fmla="*/ 81 h 147"/>
                    <a:gd name="T4" fmla="*/ 0 w 130"/>
                    <a:gd name="T5" fmla="*/ 62 h 147"/>
                    <a:gd name="T6" fmla="*/ 0 w 130"/>
                    <a:gd name="T7" fmla="*/ 45 h 147"/>
                    <a:gd name="T8" fmla="*/ 16 w 130"/>
                    <a:gd name="T9" fmla="*/ 41 h 147"/>
                    <a:gd name="T10" fmla="*/ 16 w 130"/>
                    <a:gd name="T11" fmla="*/ 24 h 147"/>
                    <a:gd name="T12" fmla="*/ 28 w 130"/>
                    <a:gd name="T13" fmla="*/ 17 h 147"/>
                    <a:gd name="T14" fmla="*/ 37 w 130"/>
                    <a:gd name="T15" fmla="*/ 24 h 147"/>
                    <a:gd name="T16" fmla="*/ 45 w 130"/>
                    <a:gd name="T17" fmla="*/ 17 h 147"/>
                    <a:gd name="T18" fmla="*/ 28 w 130"/>
                    <a:gd name="T19" fmla="*/ 0 h 147"/>
                    <a:gd name="T20" fmla="*/ 54 w 130"/>
                    <a:gd name="T21" fmla="*/ 0 h 147"/>
                    <a:gd name="T22" fmla="*/ 87 w 130"/>
                    <a:gd name="T23" fmla="*/ 36 h 147"/>
                    <a:gd name="T24" fmla="*/ 130 w 130"/>
                    <a:gd name="T25" fmla="*/ 57 h 147"/>
                    <a:gd name="T26" fmla="*/ 130 w 130"/>
                    <a:gd name="T27" fmla="*/ 62 h 147"/>
                    <a:gd name="T28" fmla="*/ 125 w 130"/>
                    <a:gd name="T29" fmla="*/ 62 h 147"/>
                    <a:gd name="T30" fmla="*/ 108 w 130"/>
                    <a:gd name="T31" fmla="*/ 74 h 147"/>
                    <a:gd name="T32" fmla="*/ 113 w 130"/>
                    <a:gd name="T33" fmla="*/ 81 h 147"/>
                    <a:gd name="T34" fmla="*/ 108 w 130"/>
                    <a:gd name="T35" fmla="*/ 90 h 147"/>
                    <a:gd name="T36" fmla="*/ 92 w 130"/>
                    <a:gd name="T37" fmla="*/ 97 h 147"/>
                    <a:gd name="T38" fmla="*/ 92 w 130"/>
                    <a:gd name="T39" fmla="*/ 81 h 147"/>
                    <a:gd name="T40" fmla="*/ 87 w 130"/>
                    <a:gd name="T41" fmla="*/ 81 h 147"/>
                    <a:gd name="T42" fmla="*/ 54 w 130"/>
                    <a:gd name="T43" fmla="*/ 118 h 147"/>
                    <a:gd name="T44" fmla="*/ 59 w 130"/>
                    <a:gd name="T45" fmla="*/ 130 h 147"/>
                    <a:gd name="T46" fmla="*/ 59 w 130"/>
                    <a:gd name="T47" fmla="*/ 147 h 147"/>
                    <a:gd name="T48" fmla="*/ 45 w 130"/>
                    <a:gd name="T49" fmla="*/ 135 h 147"/>
                    <a:gd name="T50" fmla="*/ 28 w 130"/>
                    <a:gd name="T51" fmla="*/ 114 h 147"/>
                    <a:gd name="T52" fmla="*/ 7 w 130"/>
                    <a:gd name="T53" fmla="*/ 97 h 147"/>
                    <a:gd name="T54" fmla="*/ 16 w 130"/>
                    <a:gd name="T55" fmla="*/ 102 h 147"/>
                    <a:gd name="T56" fmla="*/ 16 w 130"/>
                    <a:gd name="T57" fmla="*/ 97 h 147"/>
                    <a:gd name="T58" fmla="*/ 0 w 130"/>
                    <a:gd name="T59" fmla="*/ 97 h 147"/>
                    <a:gd name="T60" fmla="*/ 0 w 130"/>
                    <a:gd name="T61" fmla="*/ 90 h 147"/>
                    <a:gd name="T62" fmla="*/ 0 w 130"/>
                    <a:gd name="T63" fmla="*/ 90 h 147"/>
                    <a:gd name="T64" fmla="*/ 0 w 130"/>
                    <a:gd name="T65" fmla="*/ 9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0" h="147">
                      <a:moveTo>
                        <a:pt x="0" y="90"/>
                      </a:moveTo>
                      <a:lnTo>
                        <a:pt x="7" y="81"/>
                      </a:lnTo>
                      <a:lnTo>
                        <a:pt x="0" y="62"/>
                      </a:lnTo>
                      <a:lnTo>
                        <a:pt x="0" y="45"/>
                      </a:lnTo>
                      <a:lnTo>
                        <a:pt x="16" y="41"/>
                      </a:lnTo>
                      <a:lnTo>
                        <a:pt x="16" y="24"/>
                      </a:lnTo>
                      <a:lnTo>
                        <a:pt x="28" y="17"/>
                      </a:lnTo>
                      <a:lnTo>
                        <a:pt x="37" y="24"/>
                      </a:lnTo>
                      <a:lnTo>
                        <a:pt x="45" y="17"/>
                      </a:lnTo>
                      <a:lnTo>
                        <a:pt x="28" y="0"/>
                      </a:lnTo>
                      <a:lnTo>
                        <a:pt x="54" y="0"/>
                      </a:lnTo>
                      <a:lnTo>
                        <a:pt x="87" y="36"/>
                      </a:lnTo>
                      <a:lnTo>
                        <a:pt x="130" y="57"/>
                      </a:lnTo>
                      <a:lnTo>
                        <a:pt x="130" y="62"/>
                      </a:lnTo>
                      <a:lnTo>
                        <a:pt x="125" y="62"/>
                      </a:lnTo>
                      <a:lnTo>
                        <a:pt x="108" y="74"/>
                      </a:lnTo>
                      <a:lnTo>
                        <a:pt x="113" y="81"/>
                      </a:lnTo>
                      <a:lnTo>
                        <a:pt x="108" y="90"/>
                      </a:lnTo>
                      <a:lnTo>
                        <a:pt x="92" y="97"/>
                      </a:lnTo>
                      <a:lnTo>
                        <a:pt x="92" y="81"/>
                      </a:lnTo>
                      <a:lnTo>
                        <a:pt x="87" y="81"/>
                      </a:lnTo>
                      <a:lnTo>
                        <a:pt x="54" y="118"/>
                      </a:lnTo>
                      <a:lnTo>
                        <a:pt x="59" y="130"/>
                      </a:lnTo>
                      <a:lnTo>
                        <a:pt x="59" y="147"/>
                      </a:lnTo>
                      <a:lnTo>
                        <a:pt x="45" y="135"/>
                      </a:lnTo>
                      <a:lnTo>
                        <a:pt x="28" y="114"/>
                      </a:lnTo>
                      <a:lnTo>
                        <a:pt x="7" y="97"/>
                      </a:lnTo>
                      <a:lnTo>
                        <a:pt x="16" y="102"/>
                      </a:lnTo>
                      <a:lnTo>
                        <a:pt x="16" y="97"/>
                      </a:lnTo>
                      <a:lnTo>
                        <a:pt x="0" y="97"/>
                      </a:lnTo>
                      <a:lnTo>
                        <a:pt x="0" y="90"/>
                      </a:lnTo>
                      <a:lnTo>
                        <a:pt x="0" y="90"/>
                      </a:lnTo>
                      <a:lnTo>
                        <a:pt x="0" y="90"/>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8" name="Freeform 522">
                  <a:extLst>
                    <a:ext uri="{FF2B5EF4-FFF2-40B4-BE49-F238E27FC236}">
                      <a16:creationId xmlns:a16="http://schemas.microsoft.com/office/drawing/2014/main" id="{27E8AD4B-D2E8-461B-9BCB-A0C9DCFB93BC}"/>
                    </a:ext>
                  </a:extLst>
                </p:cNvPr>
                <p:cNvSpPr>
                  <a:spLocks noEditPoints="1"/>
                </p:cNvSpPr>
                <p:nvPr/>
              </p:nvSpPr>
              <p:spPr bwMode="gray">
                <a:xfrm>
                  <a:off x="6824213" y="2308270"/>
                  <a:ext cx="111151" cy="107046"/>
                </a:xfrm>
                <a:custGeom>
                  <a:avLst/>
                  <a:gdLst>
                    <a:gd name="T0" fmla="*/ 156 w 270"/>
                    <a:gd name="T1" fmla="*/ 0 h 260"/>
                    <a:gd name="T2" fmla="*/ 161 w 270"/>
                    <a:gd name="T3" fmla="*/ 0 h 260"/>
                    <a:gd name="T4" fmla="*/ 161 w 270"/>
                    <a:gd name="T5" fmla="*/ 0 h 260"/>
                    <a:gd name="T6" fmla="*/ 270 w 270"/>
                    <a:gd name="T7" fmla="*/ 49 h 260"/>
                    <a:gd name="T8" fmla="*/ 237 w 270"/>
                    <a:gd name="T9" fmla="*/ 78 h 260"/>
                    <a:gd name="T10" fmla="*/ 253 w 270"/>
                    <a:gd name="T11" fmla="*/ 104 h 260"/>
                    <a:gd name="T12" fmla="*/ 232 w 270"/>
                    <a:gd name="T13" fmla="*/ 132 h 260"/>
                    <a:gd name="T14" fmla="*/ 178 w 270"/>
                    <a:gd name="T15" fmla="*/ 161 h 260"/>
                    <a:gd name="T16" fmla="*/ 199 w 270"/>
                    <a:gd name="T17" fmla="*/ 205 h 260"/>
                    <a:gd name="T18" fmla="*/ 185 w 270"/>
                    <a:gd name="T19" fmla="*/ 222 h 260"/>
                    <a:gd name="T20" fmla="*/ 185 w 270"/>
                    <a:gd name="T21" fmla="*/ 243 h 260"/>
                    <a:gd name="T22" fmla="*/ 161 w 270"/>
                    <a:gd name="T23" fmla="*/ 260 h 260"/>
                    <a:gd name="T24" fmla="*/ 168 w 270"/>
                    <a:gd name="T25" fmla="*/ 222 h 260"/>
                    <a:gd name="T26" fmla="*/ 130 w 270"/>
                    <a:gd name="T27" fmla="*/ 217 h 260"/>
                    <a:gd name="T28" fmla="*/ 109 w 270"/>
                    <a:gd name="T29" fmla="*/ 198 h 260"/>
                    <a:gd name="T30" fmla="*/ 85 w 270"/>
                    <a:gd name="T31" fmla="*/ 198 h 260"/>
                    <a:gd name="T32" fmla="*/ 69 w 270"/>
                    <a:gd name="T33" fmla="*/ 198 h 260"/>
                    <a:gd name="T34" fmla="*/ 59 w 270"/>
                    <a:gd name="T35" fmla="*/ 198 h 260"/>
                    <a:gd name="T36" fmla="*/ 0 w 270"/>
                    <a:gd name="T37" fmla="*/ 189 h 260"/>
                    <a:gd name="T38" fmla="*/ 31 w 270"/>
                    <a:gd name="T39" fmla="*/ 182 h 260"/>
                    <a:gd name="T40" fmla="*/ 55 w 270"/>
                    <a:gd name="T41" fmla="*/ 198 h 260"/>
                    <a:gd name="T42" fmla="*/ 38 w 270"/>
                    <a:gd name="T43" fmla="*/ 182 h 260"/>
                    <a:gd name="T44" fmla="*/ 22 w 270"/>
                    <a:gd name="T45" fmla="*/ 165 h 260"/>
                    <a:gd name="T46" fmla="*/ 31 w 270"/>
                    <a:gd name="T47" fmla="*/ 161 h 260"/>
                    <a:gd name="T48" fmla="*/ 38 w 270"/>
                    <a:gd name="T49" fmla="*/ 144 h 260"/>
                    <a:gd name="T50" fmla="*/ 85 w 270"/>
                    <a:gd name="T51" fmla="*/ 94 h 260"/>
                    <a:gd name="T52" fmla="*/ 168 w 270"/>
                    <a:gd name="T53" fmla="*/ 94 h 260"/>
                    <a:gd name="T54" fmla="*/ 156 w 270"/>
                    <a:gd name="T55" fmla="*/ 78 h 260"/>
                    <a:gd name="T56" fmla="*/ 161 w 270"/>
                    <a:gd name="T57" fmla="*/ 66 h 260"/>
                    <a:gd name="T58" fmla="*/ 140 w 270"/>
                    <a:gd name="T59" fmla="*/ 38 h 260"/>
                    <a:gd name="T60" fmla="*/ 123 w 270"/>
                    <a:gd name="T61" fmla="*/ 66 h 260"/>
                    <a:gd name="T62" fmla="*/ 114 w 270"/>
                    <a:gd name="T63" fmla="*/ 78 h 260"/>
                    <a:gd name="T64" fmla="*/ 114 w 270"/>
                    <a:gd name="T65" fmla="*/ 104 h 260"/>
                    <a:gd name="T66" fmla="*/ 93 w 270"/>
                    <a:gd name="T67" fmla="*/ 49 h 260"/>
                    <a:gd name="T68" fmla="*/ 114 w 270"/>
                    <a:gd name="T69" fmla="*/ 49 h 260"/>
                    <a:gd name="T70" fmla="*/ 178 w 270"/>
                    <a:gd name="T71" fmla="*/ 9 h 260"/>
                    <a:gd name="T72" fmla="*/ 270 w 270"/>
                    <a:gd name="T73" fmla="*/ 21 h 260"/>
                    <a:gd name="T74" fmla="*/ 270 w 270"/>
                    <a:gd name="T75" fmla="*/ 21 h 260"/>
                    <a:gd name="T76" fmla="*/ 93 w 270"/>
                    <a:gd name="T77" fmla="*/ 38 h 260"/>
                    <a:gd name="T78" fmla="*/ 109 w 270"/>
                    <a:gd name="T79" fmla="*/ 38 h 260"/>
                    <a:gd name="T80" fmla="*/ 93 w 270"/>
                    <a:gd name="T81" fmla="*/ 49 h 260"/>
                    <a:gd name="T82" fmla="*/ 114 w 270"/>
                    <a:gd name="T83" fmla="*/ 104 h 260"/>
                    <a:gd name="T84" fmla="*/ 130 w 270"/>
                    <a:gd name="T85" fmla="*/ 71 h 260"/>
                    <a:gd name="T86" fmla="*/ 123 w 270"/>
                    <a:gd name="T87" fmla="*/ 104 h 260"/>
                    <a:gd name="T88" fmla="*/ 114 w 270"/>
                    <a:gd name="T89" fmla="*/ 104 h 260"/>
                    <a:gd name="T90" fmla="*/ 114 w 270"/>
                    <a:gd name="T91" fmla="*/ 104 h 260"/>
                    <a:gd name="T92" fmla="*/ 140 w 270"/>
                    <a:gd name="T93" fmla="*/ 120 h 260"/>
                    <a:gd name="T94" fmla="*/ 156 w 270"/>
                    <a:gd name="T95" fmla="*/ 87 h 260"/>
                    <a:gd name="T96" fmla="*/ 168 w 270"/>
                    <a:gd name="T97" fmla="*/ 104 h 260"/>
                    <a:gd name="T98" fmla="*/ 156 w 270"/>
                    <a:gd name="T99" fmla="*/ 104 h 260"/>
                    <a:gd name="T100" fmla="*/ 59 w 270"/>
                    <a:gd name="T101" fmla="*/ 205 h 260"/>
                    <a:gd name="T102" fmla="*/ 17 w 270"/>
                    <a:gd name="T103" fmla="*/ 205 h 260"/>
                    <a:gd name="T104" fmla="*/ 0 w 270"/>
                    <a:gd name="T105" fmla="*/ 198 h 260"/>
                    <a:gd name="T106" fmla="*/ 59 w 270"/>
                    <a:gd name="T107" fmla="*/ 20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0" h="260">
                      <a:moveTo>
                        <a:pt x="161" y="0"/>
                      </a:moveTo>
                      <a:lnTo>
                        <a:pt x="156" y="0"/>
                      </a:lnTo>
                      <a:lnTo>
                        <a:pt x="178" y="0"/>
                      </a:lnTo>
                      <a:lnTo>
                        <a:pt x="161" y="0"/>
                      </a:lnTo>
                      <a:lnTo>
                        <a:pt x="161" y="0"/>
                      </a:lnTo>
                      <a:lnTo>
                        <a:pt x="161" y="0"/>
                      </a:lnTo>
                      <a:close/>
                      <a:moveTo>
                        <a:pt x="270" y="21"/>
                      </a:moveTo>
                      <a:lnTo>
                        <a:pt x="270" y="49"/>
                      </a:lnTo>
                      <a:lnTo>
                        <a:pt x="253" y="78"/>
                      </a:lnTo>
                      <a:lnTo>
                        <a:pt x="237" y="78"/>
                      </a:lnTo>
                      <a:lnTo>
                        <a:pt x="232" y="87"/>
                      </a:lnTo>
                      <a:lnTo>
                        <a:pt x="253" y="104"/>
                      </a:lnTo>
                      <a:lnTo>
                        <a:pt x="253" y="120"/>
                      </a:lnTo>
                      <a:lnTo>
                        <a:pt x="232" y="132"/>
                      </a:lnTo>
                      <a:lnTo>
                        <a:pt x="237" y="144"/>
                      </a:lnTo>
                      <a:lnTo>
                        <a:pt x="178" y="161"/>
                      </a:lnTo>
                      <a:lnTo>
                        <a:pt x="199" y="189"/>
                      </a:lnTo>
                      <a:lnTo>
                        <a:pt x="199" y="205"/>
                      </a:lnTo>
                      <a:lnTo>
                        <a:pt x="185" y="217"/>
                      </a:lnTo>
                      <a:lnTo>
                        <a:pt x="185" y="222"/>
                      </a:lnTo>
                      <a:lnTo>
                        <a:pt x="168" y="234"/>
                      </a:lnTo>
                      <a:lnTo>
                        <a:pt x="185" y="243"/>
                      </a:lnTo>
                      <a:lnTo>
                        <a:pt x="185" y="260"/>
                      </a:lnTo>
                      <a:lnTo>
                        <a:pt x="161" y="260"/>
                      </a:lnTo>
                      <a:lnTo>
                        <a:pt x="156" y="255"/>
                      </a:lnTo>
                      <a:lnTo>
                        <a:pt x="168" y="222"/>
                      </a:lnTo>
                      <a:lnTo>
                        <a:pt x="147" y="205"/>
                      </a:lnTo>
                      <a:lnTo>
                        <a:pt x="130" y="217"/>
                      </a:lnTo>
                      <a:lnTo>
                        <a:pt x="114" y="189"/>
                      </a:lnTo>
                      <a:lnTo>
                        <a:pt x="109" y="198"/>
                      </a:lnTo>
                      <a:lnTo>
                        <a:pt x="102" y="189"/>
                      </a:lnTo>
                      <a:lnTo>
                        <a:pt x="85" y="198"/>
                      </a:lnTo>
                      <a:lnTo>
                        <a:pt x="76" y="189"/>
                      </a:lnTo>
                      <a:lnTo>
                        <a:pt x="69" y="198"/>
                      </a:lnTo>
                      <a:lnTo>
                        <a:pt x="69" y="205"/>
                      </a:lnTo>
                      <a:lnTo>
                        <a:pt x="59" y="198"/>
                      </a:lnTo>
                      <a:lnTo>
                        <a:pt x="31" y="198"/>
                      </a:lnTo>
                      <a:lnTo>
                        <a:pt x="0" y="189"/>
                      </a:lnTo>
                      <a:lnTo>
                        <a:pt x="31" y="182"/>
                      </a:lnTo>
                      <a:lnTo>
                        <a:pt x="31" y="182"/>
                      </a:lnTo>
                      <a:lnTo>
                        <a:pt x="31" y="182"/>
                      </a:lnTo>
                      <a:lnTo>
                        <a:pt x="55" y="198"/>
                      </a:lnTo>
                      <a:lnTo>
                        <a:pt x="59" y="198"/>
                      </a:lnTo>
                      <a:lnTo>
                        <a:pt x="38" y="182"/>
                      </a:lnTo>
                      <a:lnTo>
                        <a:pt x="55" y="182"/>
                      </a:lnTo>
                      <a:lnTo>
                        <a:pt x="22" y="165"/>
                      </a:lnTo>
                      <a:lnTo>
                        <a:pt x="55" y="177"/>
                      </a:lnTo>
                      <a:lnTo>
                        <a:pt x="31" y="161"/>
                      </a:lnTo>
                      <a:lnTo>
                        <a:pt x="48" y="161"/>
                      </a:lnTo>
                      <a:lnTo>
                        <a:pt x="38" y="144"/>
                      </a:lnTo>
                      <a:lnTo>
                        <a:pt x="69" y="127"/>
                      </a:lnTo>
                      <a:lnTo>
                        <a:pt x="85" y="94"/>
                      </a:lnTo>
                      <a:lnTo>
                        <a:pt x="140" y="120"/>
                      </a:lnTo>
                      <a:lnTo>
                        <a:pt x="168" y="94"/>
                      </a:lnTo>
                      <a:lnTo>
                        <a:pt x="168" y="78"/>
                      </a:lnTo>
                      <a:lnTo>
                        <a:pt x="156" y="78"/>
                      </a:lnTo>
                      <a:lnTo>
                        <a:pt x="156" y="71"/>
                      </a:lnTo>
                      <a:lnTo>
                        <a:pt x="161" y="66"/>
                      </a:lnTo>
                      <a:lnTo>
                        <a:pt x="140" y="54"/>
                      </a:lnTo>
                      <a:lnTo>
                        <a:pt x="140" y="38"/>
                      </a:lnTo>
                      <a:lnTo>
                        <a:pt x="114" y="49"/>
                      </a:lnTo>
                      <a:lnTo>
                        <a:pt x="123" y="66"/>
                      </a:lnTo>
                      <a:lnTo>
                        <a:pt x="130" y="71"/>
                      </a:lnTo>
                      <a:lnTo>
                        <a:pt x="114" y="78"/>
                      </a:lnTo>
                      <a:lnTo>
                        <a:pt x="114" y="94"/>
                      </a:lnTo>
                      <a:lnTo>
                        <a:pt x="114" y="104"/>
                      </a:lnTo>
                      <a:lnTo>
                        <a:pt x="85" y="94"/>
                      </a:lnTo>
                      <a:lnTo>
                        <a:pt x="93" y="49"/>
                      </a:lnTo>
                      <a:lnTo>
                        <a:pt x="102" y="54"/>
                      </a:lnTo>
                      <a:lnTo>
                        <a:pt x="114" y="49"/>
                      </a:lnTo>
                      <a:lnTo>
                        <a:pt x="156" y="16"/>
                      </a:lnTo>
                      <a:lnTo>
                        <a:pt x="178" y="9"/>
                      </a:lnTo>
                      <a:lnTo>
                        <a:pt x="232" y="0"/>
                      </a:lnTo>
                      <a:lnTo>
                        <a:pt x="270" y="21"/>
                      </a:lnTo>
                      <a:lnTo>
                        <a:pt x="270" y="21"/>
                      </a:lnTo>
                      <a:lnTo>
                        <a:pt x="270" y="21"/>
                      </a:lnTo>
                      <a:close/>
                      <a:moveTo>
                        <a:pt x="93" y="49"/>
                      </a:moveTo>
                      <a:lnTo>
                        <a:pt x="93" y="38"/>
                      </a:lnTo>
                      <a:lnTo>
                        <a:pt x="102" y="21"/>
                      </a:lnTo>
                      <a:lnTo>
                        <a:pt x="109" y="38"/>
                      </a:lnTo>
                      <a:lnTo>
                        <a:pt x="93" y="49"/>
                      </a:lnTo>
                      <a:lnTo>
                        <a:pt x="93" y="49"/>
                      </a:lnTo>
                      <a:lnTo>
                        <a:pt x="93" y="49"/>
                      </a:lnTo>
                      <a:close/>
                      <a:moveTo>
                        <a:pt x="114" y="104"/>
                      </a:moveTo>
                      <a:lnTo>
                        <a:pt x="114" y="78"/>
                      </a:lnTo>
                      <a:lnTo>
                        <a:pt x="130" y="71"/>
                      </a:lnTo>
                      <a:lnTo>
                        <a:pt x="147" y="87"/>
                      </a:lnTo>
                      <a:lnTo>
                        <a:pt x="123" y="104"/>
                      </a:lnTo>
                      <a:lnTo>
                        <a:pt x="114" y="104"/>
                      </a:lnTo>
                      <a:lnTo>
                        <a:pt x="114" y="104"/>
                      </a:lnTo>
                      <a:lnTo>
                        <a:pt x="114" y="104"/>
                      </a:lnTo>
                      <a:lnTo>
                        <a:pt x="114" y="104"/>
                      </a:lnTo>
                      <a:close/>
                      <a:moveTo>
                        <a:pt x="156" y="104"/>
                      </a:moveTo>
                      <a:lnTo>
                        <a:pt x="140" y="120"/>
                      </a:lnTo>
                      <a:lnTo>
                        <a:pt x="123" y="104"/>
                      </a:lnTo>
                      <a:lnTo>
                        <a:pt x="156" y="87"/>
                      </a:lnTo>
                      <a:lnTo>
                        <a:pt x="168" y="87"/>
                      </a:lnTo>
                      <a:lnTo>
                        <a:pt x="168" y="104"/>
                      </a:lnTo>
                      <a:lnTo>
                        <a:pt x="156" y="104"/>
                      </a:lnTo>
                      <a:lnTo>
                        <a:pt x="156" y="104"/>
                      </a:lnTo>
                      <a:lnTo>
                        <a:pt x="156" y="104"/>
                      </a:lnTo>
                      <a:close/>
                      <a:moveTo>
                        <a:pt x="59" y="205"/>
                      </a:moveTo>
                      <a:lnTo>
                        <a:pt x="31" y="217"/>
                      </a:lnTo>
                      <a:lnTo>
                        <a:pt x="17" y="205"/>
                      </a:lnTo>
                      <a:lnTo>
                        <a:pt x="0" y="217"/>
                      </a:lnTo>
                      <a:lnTo>
                        <a:pt x="0" y="198"/>
                      </a:lnTo>
                      <a:lnTo>
                        <a:pt x="59" y="205"/>
                      </a:lnTo>
                      <a:lnTo>
                        <a:pt x="59" y="205"/>
                      </a:lnTo>
                      <a:lnTo>
                        <a:pt x="59" y="205"/>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9" name="Freeform 523">
                  <a:extLst>
                    <a:ext uri="{FF2B5EF4-FFF2-40B4-BE49-F238E27FC236}">
                      <a16:creationId xmlns:a16="http://schemas.microsoft.com/office/drawing/2014/main" id="{8FB4E1A4-3048-407E-B9BE-020C34F98B66}"/>
                    </a:ext>
                  </a:extLst>
                </p:cNvPr>
                <p:cNvSpPr>
                  <a:spLocks noEditPoints="1"/>
                </p:cNvSpPr>
                <p:nvPr/>
              </p:nvSpPr>
              <p:spPr bwMode="gray">
                <a:xfrm>
                  <a:off x="6866204" y="1486484"/>
                  <a:ext cx="758296" cy="631983"/>
                </a:xfrm>
                <a:custGeom>
                  <a:avLst/>
                  <a:gdLst>
                    <a:gd name="T0" fmla="*/ 1713 w 1842"/>
                    <a:gd name="T1" fmla="*/ 238 h 1535"/>
                    <a:gd name="T2" fmla="*/ 1285 w 1842"/>
                    <a:gd name="T3" fmla="*/ 326 h 1535"/>
                    <a:gd name="T4" fmla="*/ 919 w 1842"/>
                    <a:gd name="T5" fmla="*/ 411 h 1535"/>
                    <a:gd name="T6" fmla="*/ 546 w 1842"/>
                    <a:gd name="T7" fmla="*/ 886 h 1535"/>
                    <a:gd name="T8" fmla="*/ 470 w 1842"/>
                    <a:gd name="T9" fmla="*/ 1441 h 1535"/>
                    <a:gd name="T10" fmla="*/ 399 w 1842"/>
                    <a:gd name="T11" fmla="*/ 1403 h 1535"/>
                    <a:gd name="T12" fmla="*/ 92 w 1842"/>
                    <a:gd name="T13" fmla="*/ 1453 h 1535"/>
                    <a:gd name="T14" fmla="*/ 54 w 1842"/>
                    <a:gd name="T15" fmla="*/ 1386 h 1535"/>
                    <a:gd name="T16" fmla="*/ 163 w 1842"/>
                    <a:gd name="T17" fmla="*/ 1268 h 1535"/>
                    <a:gd name="T18" fmla="*/ 54 w 1842"/>
                    <a:gd name="T19" fmla="*/ 1242 h 1535"/>
                    <a:gd name="T20" fmla="*/ 189 w 1842"/>
                    <a:gd name="T21" fmla="*/ 1164 h 1535"/>
                    <a:gd name="T22" fmla="*/ 21 w 1842"/>
                    <a:gd name="T23" fmla="*/ 1148 h 1535"/>
                    <a:gd name="T24" fmla="*/ 97 w 1842"/>
                    <a:gd name="T25" fmla="*/ 1058 h 1535"/>
                    <a:gd name="T26" fmla="*/ 206 w 1842"/>
                    <a:gd name="T27" fmla="*/ 1049 h 1535"/>
                    <a:gd name="T28" fmla="*/ 227 w 1842"/>
                    <a:gd name="T29" fmla="*/ 980 h 1535"/>
                    <a:gd name="T30" fmla="*/ 361 w 1842"/>
                    <a:gd name="T31" fmla="*/ 947 h 1535"/>
                    <a:gd name="T32" fmla="*/ 352 w 1842"/>
                    <a:gd name="T33" fmla="*/ 938 h 1535"/>
                    <a:gd name="T34" fmla="*/ 470 w 1842"/>
                    <a:gd name="T35" fmla="*/ 815 h 1535"/>
                    <a:gd name="T36" fmla="*/ 541 w 1842"/>
                    <a:gd name="T37" fmla="*/ 720 h 1535"/>
                    <a:gd name="T38" fmla="*/ 567 w 1842"/>
                    <a:gd name="T39" fmla="*/ 626 h 1535"/>
                    <a:gd name="T40" fmla="*/ 659 w 1842"/>
                    <a:gd name="T41" fmla="*/ 503 h 1535"/>
                    <a:gd name="T42" fmla="*/ 692 w 1842"/>
                    <a:gd name="T43" fmla="*/ 465 h 1535"/>
                    <a:gd name="T44" fmla="*/ 702 w 1842"/>
                    <a:gd name="T45" fmla="*/ 420 h 1535"/>
                    <a:gd name="T46" fmla="*/ 801 w 1842"/>
                    <a:gd name="T47" fmla="*/ 387 h 1535"/>
                    <a:gd name="T48" fmla="*/ 848 w 1842"/>
                    <a:gd name="T49" fmla="*/ 338 h 1535"/>
                    <a:gd name="T50" fmla="*/ 994 w 1842"/>
                    <a:gd name="T51" fmla="*/ 243 h 1535"/>
                    <a:gd name="T52" fmla="*/ 1049 w 1842"/>
                    <a:gd name="T53" fmla="*/ 189 h 1535"/>
                    <a:gd name="T54" fmla="*/ 1172 w 1842"/>
                    <a:gd name="T55" fmla="*/ 111 h 1535"/>
                    <a:gd name="T56" fmla="*/ 1318 w 1842"/>
                    <a:gd name="T57" fmla="*/ 94 h 1535"/>
                    <a:gd name="T58" fmla="*/ 1431 w 1842"/>
                    <a:gd name="T59" fmla="*/ 104 h 1535"/>
                    <a:gd name="T60" fmla="*/ 1557 w 1842"/>
                    <a:gd name="T61" fmla="*/ 71 h 1535"/>
                    <a:gd name="T62" fmla="*/ 1625 w 1842"/>
                    <a:gd name="T63" fmla="*/ 94 h 1535"/>
                    <a:gd name="T64" fmla="*/ 1826 w 1842"/>
                    <a:gd name="T65" fmla="*/ 94 h 1535"/>
                    <a:gd name="T66" fmla="*/ 1798 w 1842"/>
                    <a:gd name="T67" fmla="*/ 189 h 1535"/>
                    <a:gd name="T68" fmla="*/ 1205 w 1842"/>
                    <a:gd name="T69" fmla="*/ 61 h 1535"/>
                    <a:gd name="T70" fmla="*/ 1351 w 1842"/>
                    <a:gd name="T71" fmla="*/ 71 h 1535"/>
                    <a:gd name="T72" fmla="*/ 1188 w 1842"/>
                    <a:gd name="T73" fmla="*/ 116 h 1535"/>
                    <a:gd name="T74" fmla="*/ 999 w 1842"/>
                    <a:gd name="T75" fmla="*/ 132 h 1535"/>
                    <a:gd name="T76" fmla="*/ 1124 w 1842"/>
                    <a:gd name="T77" fmla="*/ 132 h 1535"/>
                    <a:gd name="T78" fmla="*/ 1124 w 1842"/>
                    <a:gd name="T79" fmla="*/ 160 h 1535"/>
                    <a:gd name="T80" fmla="*/ 1750 w 1842"/>
                    <a:gd name="T81" fmla="*/ 182 h 1535"/>
                    <a:gd name="T82" fmla="*/ 940 w 1842"/>
                    <a:gd name="T83" fmla="*/ 198 h 1535"/>
                    <a:gd name="T84" fmla="*/ 919 w 1842"/>
                    <a:gd name="T85" fmla="*/ 238 h 1535"/>
                    <a:gd name="T86" fmla="*/ 876 w 1842"/>
                    <a:gd name="T87" fmla="*/ 276 h 1535"/>
                    <a:gd name="T88" fmla="*/ 676 w 1842"/>
                    <a:gd name="T89" fmla="*/ 326 h 1535"/>
                    <a:gd name="T90" fmla="*/ 768 w 1842"/>
                    <a:gd name="T91" fmla="*/ 349 h 1535"/>
                    <a:gd name="T92" fmla="*/ 709 w 1842"/>
                    <a:gd name="T93" fmla="*/ 293 h 1535"/>
                    <a:gd name="T94" fmla="*/ 794 w 1842"/>
                    <a:gd name="T95" fmla="*/ 354 h 1535"/>
                    <a:gd name="T96" fmla="*/ 654 w 1842"/>
                    <a:gd name="T97" fmla="*/ 371 h 1535"/>
                    <a:gd name="T98" fmla="*/ 583 w 1842"/>
                    <a:gd name="T99" fmla="*/ 404 h 1535"/>
                    <a:gd name="T100" fmla="*/ 725 w 1842"/>
                    <a:gd name="T101" fmla="*/ 411 h 1535"/>
                    <a:gd name="T102" fmla="*/ 529 w 1842"/>
                    <a:gd name="T103" fmla="*/ 666 h 1535"/>
                    <a:gd name="T104" fmla="*/ 498 w 1842"/>
                    <a:gd name="T105" fmla="*/ 753 h 1535"/>
                    <a:gd name="T106" fmla="*/ 454 w 1842"/>
                    <a:gd name="T107" fmla="*/ 810 h 1535"/>
                    <a:gd name="T108" fmla="*/ 255 w 1842"/>
                    <a:gd name="T109" fmla="*/ 942 h 1535"/>
                    <a:gd name="T110" fmla="*/ 260 w 1842"/>
                    <a:gd name="T111" fmla="*/ 959 h 1535"/>
                    <a:gd name="T112" fmla="*/ 239 w 1842"/>
                    <a:gd name="T113" fmla="*/ 975 h 1535"/>
                    <a:gd name="T114" fmla="*/ 135 w 1842"/>
                    <a:gd name="T115" fmla="*/ 1020 h 1535"/>
                    <a:gd name="T116" fmla="*/ 66 w 1842"/>
                    <a:gd name="T117" fmla="*/ 1075 h 1535"/>
                    <a:gd name="T118" fmla="*/ 7 w 1842"/>
                    <a:gd name="T119" fmla="*/ 1131 h 1535"/>
                    <a:gd name="T120" fmla="*/ 21 w 1842"/>
                    <a:gd name="T121" fmla="*/ 1280 h 1535"/>
                    <a:gd name="T122" fmla="*/ 28 w 1842"/>
                    <a:gd name="T123" fmla="*/ 1325 h 1535"/>
                    <a:gd name="T124" fmla="*/ 38 w 1842"/>
                    <a:gd name="T125" fmla="*/ 1353 h 1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42" h="1535">
                      <a:moveTo>
                        <a:pt x="1457" y="33"/>
                      </a:moveTo>
                      <a:lnTo>
                        <a:pt x="1443" y="21"/>
                      </a:lnTo>
                      <a:lnTo>
                        <a:pt x="1448" y="16"/>
                      </a:lnTo>
                      <a:lnTo>
                        <a:pt x="1431" y="16"/>
                      </a:lnTo>
                      <a:lnTo>
                        <a:pt x="1465" y="0"/>
                      </a:lnTo>
                      <a:lnTo>
                        <a:pt x="1486" y="5"/>
                      </a:lnTo>
                      <a:lnTo>
                        <a:pt x="1481" y="21"/>
                      </a:lnTo>
                      <a:lnTo>
                        <a:pt x="1495" y="16"/>
                      </a:lnTo>
                      <a:lnTo>
                        <a:pt x="1457" y="33"/>
                      </a:lnTo>
                      <a:lnTo>
                        <a:pt x="1457" y="33"/>
                      </a:lnTo>
                      <a:lnTo>
                        <a:pt x="1457" y="33"/>
                      </a:lnTo>
                      <a:close/>
                      <a:moveTo>
                        <a:pt x="1826" y="172"/>
                      </a:moveTo>
                      <a:lnTo>
                        <a:pt x="1826" y="189"/>
                      </a:lnTo>
                      <a:lnTo>
                        <a:pt x="1826" y="205"/>
                      </a:lnTo>
                      <a:lnTo>
                        <a:pt x="1805" y="205"/>
                      </a:lnTo>
                      <a:lnTo>
                        <a:pt x="1772" y="198"/>
                      </a:lnTo>
                      <a:lnTo>
                        <a:pt x="1772" y="205"/>
                      </a:lnTo>
                      <a:lnTo>
                        <a:pt x="1772" y="215"/>
                      </a:lnTo>
                      <a:lnTo>
                        <a:pt x="1713" y="238"/>
                      </a:lnTo>
                      <a:lnTo>
                        <a:pt x="1713" y="260"/>
                      </a:lnTo>
                      <a:lnTo>
                        <a:pt x="1691" y="272"/>
                      </a:lnTo>
                      <a:lnTo>
                        <a:pt x="1680" y="260"/>
                      </a:lnTo>
                      <a:lnTo>
                        <a:pt x="1680" y="243"/>
                      </a:lnTo>
                      <a:lnTo>
                        <a:pt x="1713" y="215"/>
                      </a:lnTo>
                      <a:lnTo>
                        <a:pt x="1701" y="189"/>
                      </a:lnTo>
                      <a:lnTo>
                        <a:pt x="1646" y="172"/>
                      </a:lnTo>
                      <a:lnTo>
                        <a:pt x="1620" y="144"/>
                      </a:lnTo>
                      <a:lnTo>
                        <a:pt x="1557" y="165"/>
                      </a:lnTo>
                      <a:lnTo>
                        <a:pt x="1519" y="160"/>
                      </a:lnTo>
                      <a:lnTo>
                        <a:pt x="1481" y="189"/>
                      </a:lnTo>
                      <a:lnTo>
                        <a:pt x="1465" y="243"/>
                      </a:lnTo>
                      <a:lnTo>
                        <a:pt x="1465" y="276"/>
                      </a:lnTo>
                      <a:lnTo>
                        <a:pt x="1457" y="293"/>
                      </a:lnTo>
                      <a:lnTo>
                        <a:pt x="1427" y="300"/>
                      </a:lnTo>
                      <a:lnTo>
                        <a:pt x="1420" y="326"/>
                      </a:lnTo>
                      <a:lnTo>
                        <a:pt x="1410" y="333"/>
                      </a:lnTo>
                      <a:lnTo>
                        <a:pt x="1339" y="300"/>
                      </a:lnTo>
                      <a:lnTo>
                        <a:pt x="1285" y="326"/>
                      </a:lnTo>
                      <a:lnTo>
                        <a:pt x="1231" y="316"/>
                      </a:lnTo>
                      <a:lnTo>
                        <a:pt x="1226" y="300"/>
                      </a:lnTo>
                      <a:lnTo>
                        <a:pt x="1179" y="243"/>
                      </a:lnTo>
                      <a:lnTo>
                        <a:pt x="1155" y="238"/>
                      </a:lnTo>
                      <a:lnTo>
                        <a:pt x="1134" y="255"/>
                      </a:lnTo>
                      <a:lnTo>
                        <a:pt x="1141" y="260"/>
                      </a:lnTo>
                      <a:lnTo>
                        <a:pt x="1134" y="276"/>
                      </a:lnTo>
                      <a:lnTo>
                        <a:pt x="1103" y="272"/>
                      </a:lnTo>
                      <a:lnTo>
                        <a:pt x="1070" y="272"/>
                      </a:lnTo>
                      <a:lnTo>
                        <a:pt x="1087" y="283"/>
                      </a:lnTo>
                      <a:lnTo>
                        <a:pt x="1087" y="300"/>
                      </a:lnTo>
                      <a:lnTo>
                        <a:pt x="1054" y="333"/>
                      </a:lnTo>
                      <a:lnTo>
                        <a:pt x="1080" y="338"/>
                      </a:lnTo>
                      <a:lnTo>
                        <a:pt x="1054" y="366"/>
                      </a:lnTo>
                      <a:lnTo>
                        <a:pt x="983" y="338"/>
                      </a:lnTo>
                      <a:lnTo>
                        <a:pt x="924" y="338"/>
                      </a:lnTo>
                      <a:lnTo>
                        <a:pt x="924" y="349"/>
                      </a:lnTo>
                      <a:lnTo>
                        <a:pt x="928" y="383"/>
                      </a:lnTo>
                      <a:lnTo>
                        <a:pt x="919" y="411"/>
                      </a:lnTo>
                      <a:lnTo>
                        <a:pt x="869" y="387"/>
                      </a:lnTo>
                      <a:lnTo>
                        <a:pt x="831" y="411"/>
                      </a:lnTo>
                      <a:lnTo>
                        <a:pt x="815" y="449"/>
                      </a:lnTo>
                      <a:lnTo>
                        <a:pt x="784" y="477"/>
                      </a:lnTo>
                      <a:lnTo>
                        <a:pt x="810" y="498"/>
                      </a:lnTo>
                      <a:lnTo>
                        <a:pt x="810" y="522"/>
                      </a:lnTo>
                      <a:lnTo>
                        <a:pt x="739" y="588"/>
                      </a:lnTo>
                      <a:lnTo>
                        <a:pt x="746" y="609"/>
                      </a:lnTo>
                      <a:lnTo>
                        <a:pt x="713" y="626"/>
                      </a:lnTo>
                      <a:lnTo>
                        <a:pt x="676" y="631"/>
                      </a:lnTo>
                      <a:lnTo>
                        <a:pt x="687" y="666"/>
                      </a:lnTo>
                      <a:lnTo>
                        <a:pt x="676" y="699"/>
                      </a:lnTo>
                      <a:lnTo>
                        <a:pt x="676" y="725"/>
                      </a:lnTo>
                      <a:lnTo>
                        <a:pt x="617" y="815"/>
                      </a:lnTo>
                      <a:lnTo>
                        <a:pt x="650" y="827"/>
                      </a:lnTo>
                      <a:lnTo>
                        <a:pt x="654" y="853"/>
                      </a:lnTo>
                      <a:lnTo>
                        <a:pt x="638" y="881"/>
                      </a:lnTo>
                      <a:lnTo>
                        <a:pt x="567" y="869"/>
                      </a:lnTo>
                      <a:lnTo>
                        <a:pt x="546" y="886"/>
                      </a:lnTo>
                      <a:lnTo>
                        <a:pt x="508" y="926"/>
                      </a:lnTo>
                      <a:lnTo>
                        <a:pt x="513" y="938"/>
                      </a:lnTo>
                      <a:lnTo>
                        <a:pt x="498" y="964"/>
                      </a:lnTo>
                      <a:lnTo>
                        <a:pt x="513" y="992"/>
                      </a:lnTo>
                      <a:lnTo>
                        <a:pt x="498" y="1004"/>
                      </a:lnTo>
                      <a:lnTo>
                        <a:pt x="508" y="1037"/>
                      </a:lnTo>
                      <a:lnTo>
                        <a:pt x="524" y="1075"/>
                      </a:lnTo>
                      <a:lnTo>
                        <a:pt x="508" y="1131"/>
                      </a:lnTo>
                      <a:lnTo>
                        <a:pt x="562" y="1181"/>
                      </a:lnTo>
                      <a:lnTo>
                        <a:pt x="546" y="1214"/>
                      </a:lnTo>
                      <a:lnTo>
                        <a:pt x="513" y="1214"/>
                      </a:lnTo>
                      <a:lnTo>
                        <a:pt x="546" y="1275"/>
                      </a:lnTo>
                      <a:lnTo>
                        <a:pt x="529" y="1313"/>
                      </a:lnTo>
                      <a:lnTo>
                        <a:pt x="508" y="1337"/>
                      </a:lnTo>
                      <a:lnTo>
                        <a:pt x="487" y="1337"/>
                      </a:lnTo>
                      <a:lnTo>
                        <a:pt x="491" y="1353"/>
                      </a:lnTo>
                      <a:lnTo>
                        <a:pt x="475" y="1370"/>
                      </a:lnTo>
                      <a:lnTo>
                        <a:pt x="487" y="1403"/>
                      </a:lnTo>
                      <a:lnTo>
                        <a:pt x="470" y="1441"/>
                      </a:lnTo>
                      <a:lnTo>
                        <a:pt x="461" y="1441"/>
                      </a:lnTo>
                      <a:lnTo>
                        <a:pt x="461" y="1436"/>
                      </a:lnTo>
                      <a:lnTo>
                        <a:pt x="454" y="1420"/>
                      </a:lnTo>
                      <a:lnTo>
                        <a:pt x="416" y="1408"/>
                      </a:lnTo>
                      <a:lnTo>
                        <a:pt x="399" y="1353"/>
                      </a:lnTo>
                      <a:lnTo>
                        <a:pt x="406" y="1337"/>
                      </a:lnTo>
                      <a:lnTo>
                        <a:pt x="416" y="1346"/>
                      </a:lnTo>
                      <a:lnTo>
                        <a:pt x="406" y="1330"/>
                      </a:lnTo>
                      <a:lnTo>
                        <a:pt x="390" y="1337"/>
                      </a:lnTo>
                      <a:lnTo>
                        <a:pt x="399" y="1370"/>
                      </a:lnTo>
                      <a:lnTo>
                        <a:pt x="399" y="1379"/>
                      </a:lnTo>
                      <a:lnTo>
                        <a:pt x="390" y="1379"/>
                      </a:lnTo>
                      <a:lnTo>
                        <a:pt x="385" y="1353"/>
                      </a:lnTo>
                      <a:lnTo>
                        <a:pt x="378" y="1353"/>
                      </a:lnTo>
                      <a:lnTo>
                        <a:pt x="390" y="1370"/>
                      </a:lnTo>
                      <a:lnTo>
                        <a:pt x="385" y="1379"/>
                      </a:lnTo>
                      <a:lnTo>
                        <a:pt x="378" y="1370"/>
                      </a:lnTo>
                      <a:lnTo>
                        <a:pt x="390" y="1386"/>
                      </a:lnTo>
                      <a:lnTo>
                        <a:pt x="399" y="1403"/>
                      </a:lnTo>
                      <a:lnTo>
                        <a:pt x="385" y="1403"/>
                      </a:lnTo>
                      <a:lnTo>
                        <a:pt x="378" y="1424"/>
                      </a:lnTo>
                      <a:lnTo>
                        <a:pt x="352" y="1436"/>
                      </a:lnTo>
                      <a:lnTo>
                        <a:pt x="331" y="1420"/>
                      </a:lnTo>
                      <a:lnTo>
                        <a:pt x="335" y="1436"/>
                      </a:lnTo>
                      <a:lnTo>
                        <a:pt x="255" y="1507"/>
                      </a:lnTo>
                      <a:lnTo>
                        <a:pt x="239" y="1514"/>
                      </a:lnTo>
                      <a:lnTo>
                        <a:pt x="239" y="1519"/>
                      </a:lnTo>
                      <a:lnTo>
                        <a:pt x="151" y="1535"/>
                      </a:lnTo>
                      <a:lnTo>
                        <a:pt x="135" y="1531"/>
                      </a:lnTo>
                      <a:lnTo>
                        <a:pt x="120" y="1531"/>
                      </a:lnTo>
                      <a:lnTo>
                        <a:pt x="130" y="1514"/>
                      </a:lnTo>
                      <a:lnTo>
                        <a:pt x="109" y="1507"/>
                      </a:lnTo>
                      <a:lnTo>
                        <a:pt x="83" y="1497"/>
                      </a:lnTo>
                      <a:lnTo>
                        <a:pt x="76" y="1490"/>
                      </a:lnTo>
                      <a:lnTo>
                        <a:pt x="59" y="1490"/>
                      </a:lnTo>
                      <a:lnTo>
                        <a:pt x="45" y="1457"/>
                      </a:lnTo>
                      <a:lnTo>
                        <a:pt x="45" y="1424"/>
                      </a:lnTo>
                      <a:lnTo>
                        <a:pt x="92" y="1453"/>
                      </a:lnTo>
                      <a:lnTo>
                        <a:pt x="97" y="1453"/>
                      </a:lnTo>
                      <a:lnTo>
                        <a:pt x="83" y="1441"/>
                      </a:lnTo>
                      <a:lnTo>
                        <a:pt x="92" y="1436"/>
                      </a:lnTo>
                      <a:lnTo>
                        <a:pt x="120" y="1424"/>
                      </a:lnTo>
                      <a:lnTo>
                        <a:pt x="92" y="1436"/>
                      </a:lnTo>
                      <a:lnTo>
                        <a:pt x="83" y="1441"/>
                      </a:lnTo>
                      <a:lnTo>
                        <a:pt x="66" y="1424"/>
                      </a:lnTo>
                      <a:lnTo>
                        <a:pt x="92" y="1403"/>
                      </a:lnTo>
                      <a:lnTo>
                        <a:pt x="113" y="1391"/>
                      </a:lnTo>
                      <a:lnTo>
                        <a:pt x="92" y="1403"/>
                      </a:lnTo>
                      <a:lnTo>
                        <a:pt x="76" y="1391"/>
                      </a:lnTo>
                      <a:lnTo>
                        <a:pt x="97" y="1379"/>
                      </a:lnTo>
                      <a:lnTo>
                        <a:pt x="113" y="1370"/>
                      </a:lnTo>
                      <a:lnTo>
                        <a:pt x="97" y="1370"/>
                      </a:lnTo>
                      <a:lnTo>
                        <a:pt x="76" y="1391"/>
                      </a:lnTo>
                      <a:lnTo>
                        <a:pt x="76" y="1386"/>
                      </a:lnTo>
                      <a:lnTo>
                        <a:pt x="92" y="1379"/>
                      </a:lnTo>
                      <a:lnTo>
                        <a:pt x="66" y="1379"/>
                      </a:lnTo>
                      <a:lnTo>
                        <a:pt x="54" y="1386"/>
                      </a:lnTo>
                      <a:lnTo>
                        <a:pt x="66" y="1386"/>
                      </a:lnTo>
                      <a:lnTo>
                        <a:pt x="66" y="1391"/>
                      </a:lnTo>
                      <a:lnTo>
                        <a:pt x="59" y="1403"/>
                      </a:lnTo>
                      <a:lnTo>
                        <a:pt x="54" y="1391"/>
                      </a:lnTo>
                      <a:lnTo>
                        <a:pt x="45" y="1403"/>
                      </a:lnTo>
                      <a:lnTo>
                        <a:pt x="28" y="1391"/>
                      </a:lnTo>
                      <a:lnTo>
                        <a:pt x="21" y="1379"/>
                      </a:lnTo>
                      <a:lnTo>
                        <a:pt x="45" y="1353"/>
                      </a:lnTo>
                      <a:lnTo>
                        <a:pt x="45" y="1379"/>
                      </a:lnTo>
                      <a:lnTo>
                        <a:pt x="54" y="1363"/>
                      </a:lnTo>
                      <a:lnTo>
                        <a:pt x="97" y="1337"/>
                      </a:lnTo>
                      <a:lnTo>
                        <a:pt x="76" y="1353"/>
                      </a:lnTo>
                      <a:lnTo>
                        <a:pt x="59" y="1337"/>
                      </a:lnTo>
                      <a:lnTo>
                        <a:pt x="76" y="1330"/>
                      </a:lnTo>
                      <a:lnTo>
                        <a:pt x="92" y="1292"/>
                      </a:lnTo>
                      <a:lnTo>
                        <a:pt x="120" y="1280"/>
                      </a:lnTo>
                      <a:lnTo>
                        <a:pt x="113" y="1313"/>
                      </a:lnTo>
                      <a:lnTo>
                        <a:pt x="120" y="1280"/>
                      </a:lnTo>
                      <a:lnTo>
                        <a:pt x="163" y="1268"/>
                      </a:lnTo>
                      <a:lnTo>
                        <a:pt x="146" y="1268"/>
                      </a:lnTo>
                      <a:lnTo>
                        <a:pt x="151" y="1259"/>
                      </a:lnTo>
                      <a:lnTo>
                        <a:pt x="130" y="1275"/>
                      </a:lnTo>
                      <a:lnTo>
                        <a:pt x="97" y="1280"/>
                      </a:lnTo>
                      <a:lnTo>
                        <a:pt x="92" y="1297"/>
                      </a:lnTo>
                      <a:lnTo>
                        <a:pt x="76" y="1297"/>
                      </a:lnTo>
                      <a:lnTo>
                        <a:pt x="66" y="1325"/>
                      </a:lnTo>
                      <a:lnTo>
                        <a:pt x="59" y="1325"/>
                      </a:lnTo>
                      <a:lnTo>
                        <a:pt x="54" y="1308"/>
                      </a:lnTo>
                      <a:lnTo>
                        <a:pt x="45" y="1308"/>
                      </a:lnTo>
                      <a:lnTo>
                        <a:pt x="59" y="1280"/>
                      </a:lnTo>
                      <a:lnTo>
                        <a:pt x="38" y="1308"/>
                      </a:lnTo>
                      <a:lnTo>
                        <a:pt x="21" y="1297"/>
                      </a:lnTo>
                      <a:lnTo>
                        <a:pt x="28" y="1297"/>
                      </a:lnTo>
                      <a:lnTo>
                        <a:pt x="21" y="1292"/>
                      </a:lnTo>
                      <a:lnTo>
                        <a:pt x="28" y="1268"/>
                      </a:lnTo>
                      <a:lnTo>
                        <a:pt x="54" y="1280"/>
                      </a:lnTo>
                      <a:lnTo>
                        <a:pt x="59" y="1252"/>
                      </a:lnTo>
                      <a:lnTo>
                        <a:pt x="54" y="1242"/>
                      </a:lnTo>
                      <a:lnTo>
                        <a:pt x="28" y="1268"/>
                      </a:lnTo>
                      <a:lnTo>
                        <a:pt x="12" y="1252"/>
                      </a:lnTo>
                      <a:lnTo>
                        <a:pt x="28" y="1259"/>
                      </a:lnTo>
                      <a:lnTo>
                        <a:pt x="21" y="1242"/>
                      </a:lnTo>
                      <a:lnTo>
                        <a:pt x="7" y="1235"/>
                      </a:lnTo>
                      <a:lnTo>
                        <a:pt x="38" y="1259"/>
                      </a:lnTo>
                      <a:lnTo>
                        <a:pt x="28" y="1242"/>
                      </a:lnTo>
                      <a:lnTo>
                        <a:pt x="45" y="1226"/>
                      </a:lnTo>
                      <a:lnTo>
                        <a:pt x="12" y="1235"/>
                      </a:lnTo>
                      <a:lnTo>
                        <a:pt x="12" y="1214"/>
                      </a:lnTo>
                      <a:lnTo>
                        <a:pt x="76" y="1202"/>
                      </a:lnTo>
                      <a:lnTo>
                        <a:pt x="109" y="1214"/>
                      </a:lnTo>
                      <a:lnTo>
                        <a:pt x="135" y="1202"/>
                      </a:lnTo>
                      <a:lnTo>
                        <a:pt x="163" y="1226"/>
                      </a:lnTo>
                      <a:lnTo>
                        <a:pt x="163" y="1219"/>
                      </a:lnTo>
                      <a:lnTo>
                        <a:pt x="151" y="1202"/>
                      </a:lnTo>
                      <a:lnTo>
                        <a:pt x="184" y="1197"/>
                      </a:lnTo>
                      <a:lnTo>
                        <a:pt x="168" y="1181"/>
                      </a:lnTo>
                      <a:lnTo>
                        <a:pt x="189" y="1164"/>
                      </a:lnTo>
                      <a:lnTo>
                        <a:pt x="168" y="1181"/>
                      </a:lnTo>
                      <a:lnTo>
                        <a:pt x="172" y="1197"/>
                      </a:lnTo>
                      <a:lnTo>
                        <a:pt x="146" y="1202"/>
                      </a:lnTo>
                      <a:lnTo>
                        <a:pt x="120" y="1186"/>
                      </a:lnTo>
                      <a:lnTo>
                        <a:pt x="130" y="1169"/>
                      </a:lnTo>
                      <a:lnTo>
                        <a:pt x="109" y="1202"/>
                      </a:lnTo>
                      <a:lnTo>
                        <a:pt x="59" y="1197"/>
                      </a:lnTo>
                      <a:lnTo>
                        <a:pt x="38" y="1214"/>
                      </a:lnTo>
                      <a:lnTo>
                        <a:pt x="12" y="1197"/>
                      </a:lnTo>
                      <a:lnTo>
                        <a:pt x="28" y="1197"/>
                      </a:lnTo>
                      <a:lnTo>
                        <a:pt x="7" y="1186"/>
                      </a:lnTo>
                      <a:lnTo>
                        <a:pt x="54" y="1181"/>
                      </a:lnTo>
                      <a:lnTo>
                        <a:pt x="12" y="1181"/>
                      </a:lnTo>
                      <a:lnTo>
                        <a:pt x="7" y="1169"/>
                      </a:lnTo>
                      <a:lnTo>
                        <a:pt x="66" y="1164"/>
                      </a:lnTo>
                      <a:lnTo>
                        <a:pt x="21" y="1164"/>
                      </a:lnTo>
                      <a:lnTo>
                        <a:pt x="21" y="1160"/>
                      </a:lnTo>
                      <a:lnTo>
                        <a:pt x="28" y="1160"/>
                      </a:lnTo>
                      <a:lnTo>
                        <a:pt x="21" y="1148"/>
                      </a:lnTo>
                      <a:lnTo>
                        <a:pt x="38" y="1148"/>
                      </a:lnTo>
                      <a:lnTo>
                        <a:pt x="7" y="1141"/>
                      </a:lnTo>
                      <a:lnTo>
                        <a:pt x="38" y="1115"/>
                      </a:lnTo>
                      <a:lnTo>
                        <a:pt x="113" y="1124"/>
                      </a:lnTo>
                      <a:lnTo>
                        <a:pt x="130" y="1115"/>
                      </a:lnTo>
                      <a:lnTo>
                        <a:pt x="21" y="1115"/>
                      </a:lnTo>
                      <a:lnTo>
                        <a:pt x="21" y="1108"/>
                      </a:lnTo>
                      <a:lnTo>
                        <a:pt x="38" y="1103"/>
                      </a:lnTo>
                      <a:lnTo>
                        <a:pt x="12" y="1086"/>
                      </a:lnTo>
                      <a:lnTo>
                        <a:pt x="21" y="1086"/>
                      </a:lnTo>
                      <a:lnTo>
                        <a:pt x="45" y="1108"/>
                      </a:lnTo>
                      <a:lnTo>
                        <a:pt x="45" y="1091"/>
                      </a:lnTo>
                      <a:lnTo>
                        <a:pt x="38" y="1091"/>
                      </a:lnTo>
                      <a:lnTo>
                        <a:pt x="38" y="1086"/>
                      </a:lnTo>
                      <a:lnTo>
                        <a:pt x="66" y="1086"/>
                      </a:lnTo>
                      <a:lnTo>
                        <a:pt x="76" y="1091"/>
                      </a:lnTo>
                      <a:lnTo>
                        <a:pt x="109" y="1103"/>
                      </a:lnTo>
                      <a:lnTo>
                        <a:pt x="76" y="1086"/>
                      </a:lnTo>
                      <a:lnTo>
                        <a:pt x="97" y="1058"/>
                      </a:lnTo>
                      <a:lnTo>
                        <a:pt x="113" y="1091"/>
                      </a:lnTo>
                      <a:lnTo>
                        <a:pt x="120" y="1091"/>
                      </a:lnTo>
                      <a:lnTo>
                        <a:pt x="109" y="1058"/>
                      </a:lnTo>
                      <a:lnTo>
                        <a:pt x="130" y="1053"/>
                      </a:lnTo>
                      <a:lnTo>
                        <a:pt x="146" y="1058"/>
                      </a:lnTo>
                      <a:lnTo>
                        <a:pt x="151" y="1075"/>
                      </a:lnTo>
                      <a:lnTo>
                        <a:pt x="146" y="1091"/>
                      </a:lnTo>
                      <a:lnTo>
                        <a:pt x="151" y="1091"/>
                      </a:lnTo>
                      <a:lnTo>
                        <a:pt x="146" y="1091"/>
                      </a:lnTo>
                      <a:lnTo>
                        <a:pt x="151" y="1075"/>
                      </a:lnTo>
                      <a:lnTo>
                        <a:pt x="172" y="1075"/>
                      </a:lnTo>
                      <a:lnTo>
                        <a:pt x="146" y="1070"/>
                      </a:lnTo>
                      <a:lnTo>
                        <a:pt x="135" y="1053"/>
                      </a:lnTo>
                      <a:lnTo>
                        <a:pt x="97" y="1053"/>
                      </a:lnTo>
                      <a:lnTo>
                        <a:pt x="120" y="1053"/>
                      </a:lnTo>
                      <a:lnTo>
                        <a:pt x="97" y="1037"/>
                      </a:lnTo>
                      <a:lnTo>
                        <a:pt x="151" y="1032"/>
                      </a:lnTo>
                      <a:lnTo>
                        <a:pt x="189" y="1053"/>
                      </a:lnTo>
                      <a:lnTo>
                        <a:pt x="206" y="1049"/>
                      </a:lnTo>
                      <a:lnTo>
                        <a:pt x="172" y="1037"/>
                      </a:lnTo>
                      <a:lnTo>
                        <a:pt x="206" y="1020"/>
                      </a:lnTo>
                      <a:lnTo>
                        <a:pt x="227" y="1032"/>
                      </a:lnTo>
                      <a:lnTo>
                        <a:pt x="222" y="1020"/>
                      </a:lnTo>
                      <a:lnTo>
                        <a:pt x="172" y="1020"/>
                      </a:lnTo>
                      <a:lnTo>
                        <a:pt x="201" y="1013"/>
                      </a:lnTo>
                      <a:lnTo>
                        <a:pt x="189" y="1013"/>
                      </a:lnTo>
                      <a:lnTo>
                        <a:pt x="146" y="1020"/>
                      </a:lnTo>
                      <a:lnTo>
                        <a:pt x="146" y="997"/>
                      </a:lnTo>
                      <a:lnTo>
                        <a:pt x="168" y="992"/>
                      </a:lnTo>
                      <a:lnTo>
                        <a:pt x="184" y="1004"/>
                      </a:lnTo>
                      <a:lnTo>
                        <a:pt x="222" y="997"/>
                      </a:lnTo>
                      <a:lnTo>
                        <a:pt x="227" y="1013"/>
                      </a:lnTo>
                      <a:lnTo>
                        <a:pt x="260" y="1032"/>
                      </a:lnTo>
                      <a:lnTo>
                        <a:pt x="260" y="1020"/>
                      </a:lnTo>
                      <a:lnTo>
                        <a:pt x="227" y="1013"/>
                      </a:lnTo>
                      <a:lnTo>
                        <a:pt x="227" y="997"/>
                      </a:lnTo>
                      <a:lnTo>
                        <a:pt x="217" y="992"/>
                      </a:lnTo>
                      <a:lnTo>
                        <a:pt x="227" y="980"/>
                      </a:lnTo>
                      <a:lnTo>
                        <a:pt x="243" y="1004"/>
                      </a:lnTo>
                      <a:lnTo>
                        <a:pt x="260" y="1013"/>
                      </a:lnTo>
                      <a:lnTo>
                        <a:pt x="255" y="997"/>
                      </a:lnTo>
                      <a:lnTo>
                        <a:pt x="272" y="997"/>
                      </a:lnTo>
                      <a:lnTo>
                        <a:pt x="243" y="997"/>
                      </a:lnTo>
                      <a:lnTo>
                        <a:pt x="227" y="980"/>
                      </a:lnTo>
                      <a:lnTo>
                        <a:pt x="281" y="975"/>
                      </a:lnTo>
                      <a:lnTo>
                        <a:pt x="260" y="975"/>
                      </a:lnTo>
                      <a:lnTo>
                        <a:pt x="255" y="959"/>
                      </a:lnTo>
                      <a:lnTo>
                        <a:pt x="276" y="959"/>
                      </a:lnTo>
                      <a:lnTo>
                        <a:pt x="272" y="947"/>
                      </a:lnTo>
                      <a:lnTo>
                        <a:pt x="293" y="942"/>
                      </a:lnTo>
                      <a:lnTo>
                        <a:pt x="309" y="947"/>
                      </a:lnTo>
                      <a:lnTo>
                        <a:pt x="324" y="947"/>
                      </a:lnTo>
                      <a:lnTo>
                        <a:pt x="309" y="947"/>
                      </a:lnTo>
                      <a:lnTo>
                        <a:pt x="298" y="942"/>
                      </a:lnTo>
                      <a:lnTo>
                        <a:pt x="331" y="926"/>
                      </a:lnTo>
                      <a:lnTo>
                        <a:pt x="335" y="921"/>
                      </a:lnTo>
                      <a:lnTo>
                        <a:pt x="361" y="947"/>
                      </a:lnTo>
                      <a:lnTo>
                        <a:pt x="378" y="964"/>
                      </a:lnTo>
                      <a:lnTo>
                        <a:pt x="378" y="959"/>
                      </a:lnTo>
                      <a:lnTo>
                        <a:pt x="361" y="947"/>
                      </a:lnTo>
                      <a:lnTo>
                        <a:pt x="423" y="942"/>
                      </a:lnTo>
                      <a:lnTo>
                        <a:pt x="416" y="938"/>
                      </a:lnTo>
                      <a:lnTo>
                        <a:pt x="423" y="926"/>
                      </a:lnTo>
                      <a:lnTo>
                        <a:pt x="406" y="938"/>
                      </a:lnTo>
                      <a:lnTo>
                        <a:pt x="432" y="909"/>
                      </a:lnTo>
                      <a:lnTo>
                        <a:pt x="461" y="905"/>
                      </a:lnTo>
                      <a:lnTo>
                        <a:pt x="437" y="893"/>
                      </a:lnTo>
                      <a:lnTo>
                        <a:pt x="461" y="881"/>
                      </a:lnTo>
                      <a:lnTo>
                        <a:pt x="454" y="881"/>
                      </a:lnTo>
                      <a:lnTo>
                        <a:pt x="454" y="864"/>
                      </a:lnTo>
                      <a:lnTo>
                        <a:pt x="399" y="905"/>
                      </a:lnTo>
                      <a:lnTo>
                        <a:pt x="423" y="893"/>
                      </a:lnTo>
                      <a:lnTo>
                        <a:pt x="437" y="893"/>
                      </a:lnTo>
                      <a:lnTo>
                        <a:pt x="423" y="909"/>
                      </a:lnTo>
                      <a:lnTo>
                        <a:pt x="361" y="938"/>
                      </a:lnTo>
                      <a:lnTo>
                        <a:pt x="352" y="938"/>
                      </a:lnTo>
                      <a:lnTo>
                        <a:pt x="347" y="921"/>
                      </a:lnTo>
                      <a:lnTo>
                        <a:pt x="368" y="909"/>
                      </a:lnTo>
                      <a:lnTo>
                        <a:pt x="331" y="921"/>
                      </a:lnTo>
                      <a:lnTo>
                        <a:pt x="331" y="909"/>
                      </a:lnTo>
                      <a:lnTo>
                        <a:pt x="378" y="886"/>
                      </a:lnTo>
                      <a:lnTo>
                        <a:pt x="361" y="881"/>
                      </a:lnTo>
                      <a:lnTo>
                        <a:pt x="368" y="853"/>
                      </a:lnTo>
                      <a:lnTo>
                        <a:pt x="390" y="836"/>
                      </a:lnTo>
                      <a:lnTo>
                        <a:pt x="406" y="836"/>
                      </a:lnTo>
                      <a:lnTo>
                        <a:pt x="390" y="831"/>
                      </a:lnTo>
                      <a:lnTo>
                        <a:pt x="423" y="836"/>
                      </a:lnTo>
                      <a:lnTo>
                        <a:pt x="406" y="831"/>
                      </a:lnTo>
                      <a:lnTo>
                        <a:pt x="423" y="827"/>
                      </a:lnTo>
                      <a:lnTo>
                        <a:pt x="432" y="810"/>
                      </a:lnTo>
                      <a:lnTo>
                        <a:pt x="444" y="827"/>
                      </a:lnTo>
                      <a:lnTo>
                        <a:pt x="444" y="836"/>
                      </a:lnTo>
                      <a:lnTo>
                        <a:pt x="470" y="815"/>
                      </a:lnTo>
                      <a:lnTo>
                        <a:pt x="487" y="815"/>
                      </a:lnTo>
                      <a:lnTo>
                        <a:pt x="470" y="815"/>
                      </a:lnTo>
                      <a:lnTo>
                        <a:pt x="461" y="798"/>
                      </a:lnTo>
                      <a:lnTo>
                        <a:pt x="491" y="782"/>
                      </a:lnTo>
                      <a:lnTo>
                        <a:pt x="475" y="782"/>
                      </a:lnTo>
                      <a:lnTo>
                        <a:pt x="487" y="777"/>
                      </a:lnTo>
                      <a:lnTo>
                        <a:pt x="513" y="770"/>
                      </a:lnTo>
                      <a:lnTo>
                        <a:pt x="498" y="770"/>
                      </a:lnTo>
                      <a:lnTo>
                        <a:pt x="444" y="794"/>
                      </a:lnTo>
                      <a:lnTo>
                        <a:pt x="454" y="782"/>
                      </a:lnTo>
                      <a:lnTo>
                        <a:pt x="444" y="782"/>
                      </a:lnTo>
                      <a:lnTo>
                        <a:pt x="475" y="777"/>
                      </a:lnTo>
                      <a:lnTo>
                        <a:pt x="444" y="782"/>
                      </a:lnTo>
                      <a:lnTo>
                        <a:pt x="454" y="777"/>
                      </a:lnTo>
                      <a:lnTo>
                        <a:pt x="546" y="742"/>
                      </a:lnTo>
                      <a:lnTo>
                        <a:pt x="567" y="725"/>
                      </a:lnTo>
                      <a:lnTo>
                        <a:pt x="529" y="742"/>
                      </a:lnTo>
                      <a:lnTo>
                        <a:pt x="524" y="742"/>
                      </a:lnTo>
                      <a:lnTo>
                        <a:pt x="546" y="737"/>
                      </a:lnTo>
                      <a:lnTo>
                        <a:pt x="513" y="737"/>
                      </a:lnTo>
                      <a:lnTo>
                        <a:pt x="541" y="720"/>
                      </a:lnTo>
                      <a:lnTo>
                        <a:pt x="529" y="716"/>
                      </a:lnTo>
                      <a:lnTo>
                        <a:pt x="546" y="716"/>
                      </a:lnTo>
                      <a:lnTo>
                        <a:pt x="529" y="699"/>
                      </a:lnTo>
                      <a:lnTo>
                        <a:pt x="524" y="687"/>
                      </a:lnTo>
                      <a:lnTo>
                        <a:pt x="541" y="683"/>
                      </a:lnTo>
                      <a:lnTo>
                        <a:pt x="550" y="687"/>
                      </a:lnTo>
                      <a:lnTo>
                        <a:pt x="541" y="671"/>
                      </a:lnTo>
                      <a:lnTo>
                        <a:pt x="546" y="659"/>
                      </a:lnTo>
                      <a:lnTo>
                        <a:pt x="562" y="649"/>
                      </a:lnTo>
                      <a:lnTo>
                        <a:pt x="583" y="666"/>
                      </a:lnTo>
                      <a:lnTo>
                        <a:pt x="579" y="649"/>
                      </a:lnTo>
                      <a:lnTo>
                        <a:pt x="567" y="649"/>
                      </a:lnTo>
                      <a:lnTo>
                        <a:pt x="567" y="642"/>
                      </a:lnTo>
                      <a:lnTo>
                        <a:pt x="546" y="642"/>
                      </a:lnTo>
                      <a:lnTo>
                        <a:pt x="605" y="614"/>
                      </a:lnTo>
                      <a:lnTo>
                        <a:pt x="605" y="631"/>
                      </a:lnTo>
                      <a:lnTo>
                        <a:pt x="617" y="614"/>
                      </a:lnTo>
                      <a:lnTo>
                        <a:pt x="654" y="609"/>
                      </a:lnTo>
                      <a:lnTo>
                        <a:pt x="567" y="626"/>
                      </a:lnTo>
                      <a:lnTo>
                        <a:pt x="605" y="609"/>
                      </a:lnTo>
                      <a:lnTo>
                        <a:pt x="567" y="609"/>
                      </a:lnTo>
                      <a:lnTo>
                        <a:pt x="583" y="593"/>
                      </a:lnTo>
                      <a:lnTo>
                        <a:pt x="567" y="588"/>
                      </a:lnTo>
                      <a:lnTo>
                        <a:pt x="621" y="572"/>
                      </a:lnTo>
                      <a:lnTo>
                        <a:pt x="583" y="576"/>
                      </a:lnTo>
                      <a:lnTo>
                        <a:pt x="583" y="572"/>
                      </a:lnTo>
                      <a:lnTo>
                        <a:pt x="605" y="572"/>
                      </a:lnTo>
                      <a:lnTo>
                        <a:pt x="583" y="560"/>
                      </a:lnTo>
                      <a:lnTo>
                        <a:pt x="621" y="560"/>
                      </a:lnTo>
                      <a:lnTo>
                        <a:pt x="633" y="560"/>
                      </a:lnTo>
                      <a:lnTo>
                        <a:pt x="605" y="560"/>
                      </a:lnTo>
                      <a:lnTo>
                        <a:pt x="621" y="555"/>
                      </a:lnTo>
                      <a:lnTo>
                        <a:pt x="605" y="555"/>
                      </a:lnTo>
                      <a:lnTo>
                        <a:pt x="638" y="555"/>
                      </a:lnTo>
                      <a:lnTo>
                        <a:pt x="605" y="531"/>
                      </a:lnTo>
                      <a:lnTo>
                        <a:pt x="687" y="522"/>
                      </a:lnTo>
                      <a:lnTo>
                        <a:pt x="659" y="515"/>
                      </a:lnTo>
                      <a:lnTo>
                        <a:pt x="659" y="503"/>
                      </a:lnTo>
                      <a:lnTo>
                        <a:pt x="692" y="503"/>
                      </a:lnTo>
                      <a:lnTo>
                        <a:pt x="676" y="503"/>
                      </a:lnTo>
                      <a:lnTo>
                        <a:pt x="676" y="498"/>
                      </a:lnTo>
                      <a:lnTo>
                        <a:pt x="709" y="498"/>
                      </a:lnTo>
                      <a:lnTo>
                        <a:pt x="702" y="503"/>
                      </a:lnTo>
                      <a:lnTo>
                        <a:pt x="709" y="515"/>
                      </a:lnTo>
                      <a:lnTo>
                        <a:pt x="709" y="503"/>
                      </a:lnTo>
                      <a:lnTo>
                        <a:pt x="709" y="498"/>
                      </a:lnTo>
                      <a:lnTo>
                        <a:pt x="730" y="503"/>
                      </a:lnTo>
                      <a:lnTo>
                        <a:pt x="746" y="515"/>
                      </a:lnTo>
                      <a:lnTo>
                        <a:pt x="739" y="498"/>
                      </a:lnTo>
                      <a:lnTo>
                        <a:pt x="763" y="503"/>
                      </a:lnTo>
                      <a:lnTo>
                        <a:pt x="713" y="498"/>
                      </a:lnTo>
                      <a:lnTo>
                        <a:pt x="725" y="494"/>
                      </a:lnTo>
                      <a:lnTo>
                        <a:pt x="687" y="498"/>
                      </a:lnTo>
                      <a:lnTo>
                        <a:pt x="671" y="498"/>
                      </a:lnTo>
                      <a:lnTo>
                        <a:pt x="687" y="477"/>
                      </a:lnTo>
                      <a:lnTo>
                        <a:pt x="709" y="477"/>
                      </a:lnTo>
                      <a:lnTo>
                        <a:pt x="692" y="465"/>
                      </a:lnTo>
                      <a:lnTo>
                        <a:pt x="713" y="460"/>
                      </a:lnTo>
                      <a:lnTo>
                        <a:pt x="725" y="460"/>
                      </a:lnTo>
                      <a:lnTo>
                        <a:pt x="709" y="465"/>
                      </a:lnTo>
                      <a:lnTo>
                        <a:pt x="739" y="465"/>
                      </a:lnTo>
                      <a:lnTo>
                        <a:pt x="756" y="494"/>
                      </a:lnTo>
                      <a:lnTo>
                        <a:pt x="763" y="494"/>
                      </a:lnTo>
                      <a:lnTo>
                        <a:pt x="746" y="465"/>
                      </a:lnTo>
                      <a:lnTo>
                        <a:pt x="777" y="460"/>
                      </a:lnTo>
                      <a:lnTo>
                        <a:pt x="730" y="460"/>
                      </a:lnTo>
                      <a:lnTo>
                        <a:pt x="725" y="449"/>
                      </a:lnTo>
                      <a:lnTo>
                        <a:pt x="730" y="437"/>
                      </a:lnTo>
                      <a:lnTo>
                        <a:pt x="768" y="444"/>
                      </a:lnTo>
                      <a:lnTo>
                        <a:pt x="739" y="427"/>
                      </a:lnTo>
                      <a:lnTo>
                        <a:pt x="692" y="444"/>
                      </a:lnTo>
                      <a:lnTo>
                        <a:pt x="692" y="437"/>
                      </a:lnTo>
                      <a:lnTo>
                        <a:pt x="713" y="437"/>
                      </a:lnTo>
                      <a:lnTo>
                        <a:pt x="692" y="427"/>
                      </a:lnTo>
                      <a:lnTo>
                        <a:pt x="713" y="420"/>
                      </a:lnTo>
                      <a:lnTo>
                        <a:pt x="702" y="420"/>
                      </a:lnTo>
                      <a:lnTo>
                        <a:pt x="709" y="420"/>
                      </a:lnTo>
                      <a:lnTo>
                        <a:pt x="768" y="411"/>
                      </a:lnTo>
                      <a:lnTo>
                        <a:pt x="777" y="404"/>
                      </a:lnTo>
                      <a:lnTo>
                        <a:pt x="730" y="394"/>
                      </a:lnTo>
                      <a:lnTo>
                        <a:pt x="746" y="387"/>
                      </a:lnTo>
                      <a:lnTo>
                        <a:pt x="763" y="387"/>
                      </a:lnTo>
                      <a:lnTo>
                        <a:pt x="756" y="394"/>
                      </a:lnTo>
                      <a:lnTo>
                        <a:pt x="768" y="387"/>
                      </a:lnTo>
                      <a:lnTo>
                        <a:pt x="777" y="371"/>
                      </a:lnTo>
                      <a:lnTo>
                        <a:pt x="784" y="383"/>
                      </a:lnTo>
                      <a:lnTo>
                        <a:pt x="794" y="420"/>
                      </a:lnTo>
                      <a:lnTo>
                        <a:pt x="815" y="427"/>
                      </a:lnTo>
                      <a:lnTo>
                        <a:pt x="801" y="420"/>
                      </a:lnTo>
                      <a:lnTo>
                        <a:pt x="794" y="404"/>
                      </a:lnTo>
                      <a:lnTo>
                        <a:pt x="815" y="411"/>
                      </a:lnTo>
                      <a:lnTo>
                        <a:pt x="810" y="394"/>
                      </a:lnTo>
                      <a:lnTo>
                        <a:pt x="831" y="394"/>
                      </a:lnTo>
                      <a:lnTo>
                        <a:pt x="810" y="394"/>
                      </a:lnTo>
                      <a:lnTo>
                        <a:pt x="801" y="387"/>
                      </a:lnTo>
                      <a:lnTo>
                        <a:pt x="815" y="383"/>
                      </a:lnTo>
                      <a:lnTo>
                        <a:pt x="794" y="383"/>
                      </a:lnTo>
                      <a:lnTo>
                        <a:pt x="801" y="371"/>
                      </a:lnTo>
                      <a:lnTo>
                        <a:pt x="784" y="371"/>
                      </a:lnTo>
                      <a:lnTo>
                        <a:pt x="815" y="371"/>
                      </a:lnTo>
                      <a:lnTo>
                        <a:pt x="839" y="387"/>
                      </a:lnTo>
                      <a:lnTo>
                        <a:pt x="794" y="366"/>
                      </a:lnTo>
                      <a:lnTo>
                        <a:pt x="801" y="354"/>
                      </a:lnTo>
                      <a:lnTo>
                        <a:pt x="865" y="354"/>
                      </a:lnTo>
                      <a:lnTo>
                        <a:pt x="876" y="383"/>
                      </a:lnTo>
                      <a:lnTo>
                        <a:pt x="876" y="371"/>
                      </a:lnTo>
                      <a:lnTo>
                        <a:pt x="865" y="354"/>
                      </a:lnTo>
                      <a:lnTo>
                        <a:pt x="891" y="354"/>
                      </a:lnTo>
                      <a:lnTo>
                        <a:pt x="876" y="349"/>
                      </a:lnTo>
                      <a:lnTo>
                        <a:pt x="891" y="349"/>
                      </a:lnTo>
                      <a:lnTo>
                        <a:pt x="891" y="338"/>
                      </a:lnTo>
                      <a:lnTo>
                        <a:pt x="853" y="349"/>
                      </a:lnTo>
                      <a:lnTo>
                        <a:pt x="853" y="338"/>
                      </a:lnTo>
                      <a:lnTo>
                        <a:pt x="848" y="338"/>
                      </a:lnTo>
                      <a:lnTo>
                        <a:pt x="815" y="349"/>
                      </a:lnTo>
                      <a:lnTo>
                        <a:pt x="815" y="338"/>
                      </a:lnTo>
                      <a:lnTo>
                        <a:pt x="822" y="333"/>
                      </a:lnTo>
                      <a:lnTo>
                        <a:pt x="822" y="326"/>
                      </a:lnTo>
                      <a:lnTo>
                        <a:pt x="848" y="316"/>
                      </a:lnTo>
                      <a:lnTo>
                        <a:pt x="902" y="326"/>
                      </a:lnTo>
                      <a:lnTo>
                        <a:pt x="869" y="309"/>
                      </a:lnTo>
                      <a:lnTo>
                        <a:pt x="886" y="300"/>
                      </a:lnTo>
                      <a:lnTo>
                        <a:pt x="907" y="309"/>
                      </a:lnTo>
                      <a:lnTo>
                        <a:pt x="886" y="300"/>
                      </a:lnTo>
                      <a:lnTo>
                        <a:pt x="907" y="293"/>
                      </a:lnTo>
                      <a:lnTo>
                        <a:pt x="876" y="293"/>
                      </a:lnTo>
                      <a:lnTo>
                        <a:pt x="891" y="260"/>
                      </a:lnTo>
                      <a:lnTo>
                        <a:pt x="928" y="260"/>
                      </a:lnTo>
                      <a:lnTo>
                        <a:pt x="924" y="243"/>
                      </a:lnTo>
                      <a:lnTo>
                        <a:pt x="940" y="215"/>
                      </a:lnTo>
                      <a:lnTo>
                        <a:pt x="973" y="243"/>
                      </a:lnTo>
                      <a:lnTo>
                        <a:pt x="978" y="238"/>
                      </a:lnTo>
                      <a:lnTo>
                        <a:pt x="994" y="243"/>
                      </a:lnTo>
                      <a:lnTo>
                        <a:pt x="957" y="222"/>
                      </a:lnTo>
                      <a:lnTo>
                        <a:pt x="957" y="215"/>
                      </a:lnTo>
                      <a:lnTo>
                        <a:pt x="978" y="205"/>
                      </a:lnTo>
                      <a:lnTo>
                        <a:pt x="994" y="227"/>
                      </a:lnTo>
                      <a:lnTo>
                        <a:pt x="1016" y="238"/>
                      </a:lnTo>
                      <a:lnTo>
                        <a:pt x="999" y="243"/>
                      </a:lnTo>
                      <a:lnTo>
                        <a:pt x="1028" y="243"/>
                      </a:lnTo>
                      <a:lnTo>
                        <a:pt x="1028" y="238"/>
                      </a:lnTo>
                      <a:lnTo>
                        <a:pt x="994" y="222"/>
                      </a:lnTo>
                      <a:lnTo>
                        <a:pt x="1011" y="215"/>
                      </a:lnTo>
                      <a:lnTo>
                        <a:pt x="1011" y="205"/>
                      </a:lnTo>
                      <a:lnTo>
                        <a:pt x="994" y="215"/>
                      </a:lnTo>
                      <a:lnTo>
                        <a:pt x="983" y="198"/>
                      </a:lnTo>
                      <a:lnTo>
                        <a:pt x="1011" y="182"/>
                      </a:lnTo>
                      <a:lnTo>
                        <a:pt x="1049" y="172"/>
                      </a:lnTo>
                      <a:lnTo>
                        <a:pt x="1042" y="198"/>
                      </a:lnTo>
                      <a:lnTo>
                        <a:pt x="1032" y="227"/>
                      </a:lnTo>
                      <a:lnTo>
                        <a:pt x="1042" y="222"/>
                      </a:lnTo>
                      <a:lnTo>
                        <a:pt x="1049" y="189"/>
                      </a:lnTo>
                      <a:lnTo>
                        <a:pt x="1087" y="160"/>
                      </a:lnTo>
                      <a:lnTo>
                        <a:pt x="1096" y="165"/>
                      </a:lnTo>
                      <a:lnTo>
                        <a:pt x="1080" y="222"/>
                      </a:lnTo>
                      <a:lnTo>
                        <a:pt x="1054" y="243"/>
                      </a:lnTo>
                      <a:lnTo>
                        <a:pt x="1096" y="205"/>
                      </a:lnTo>
                      <a:lnTo>
                        <a:pt x="1124" y="215"/>
                      </a:lnTo>
                      <a:lnTo>
                        <a:pt x="1096" y="198"/>
                      </a:lnTo>
                      <a:lnTo>
                        <a:pt x="1103" y="182"/>
                      </a:lnTo>
                      <a:lnTo>
                        <a:pt x="1141" y="160"/>
                      </a:lnTo>
                      <a:lnTo>
                        <a:pt x="1124" y="165"/>
                      </a:lnTo>
                      <a:lnTo>
                        <a:pt x="1134" y="172"/>
                      </a:lnTo>
                      <a:lnTo>
                        <a:pt x="1155" y="149"/>
                      </a:lnTo>
                      <a:lnTo>
                        <a:pt x="1209" y="182"/>
                      </a:lnTo>
                      <a:lnTo>
                        <a:pt x="1188" y="144"/>
                      </a:lnTo>
                      <a:lnTo>
                        <a:pt x="1209" y="132"/>
                      </a:lnTo>
                      <a:lnTo>
                        <a:pt x="1162" y="132"/>
                      </a:lnTo>
                      <a:lnTo>
                        <a:pt x="1150" y="127"/>
                      </a:lnTo>
                      <a:lnTo>
                        <a:pt x="1155" y="116"/>
                      </a:lnTo>
                      <a:lnTo>
                        <a:pt x="1172" y="111"/>
                      </a:lnTo>
                      <a:lnTo>
                        <a:pt x="1188" y="116"/>
                      </a:lnTo>
                      <a:lnTo>
                        <a:pt x="1205" y="111"/>
                      </a:lnTo>
                      <a:lnTo>
                        <a:pt x="1226" y="111"/>
                      </a:lnTo>
                      <a:lnTo>
                        <a:pt x="1226" y="127"/>
                      </a:lnTo>
                      <a:lnTo>
                        <a:pt x="1243" y="132"/>
                      </a:lnTo>
                      <a:lnTo>
                        <a:pt x="1226" y="127"/>
                      </a:lnTo>
                      <a:lnTo>
                        <a:pt x="1231" y="116"/>
                      </a:lnTo>
                      <a:lnTo>
                        <a:pt x="1268" y="127"/>
                      </a:lnTo>
                      <a:lnTo>
                        <a:pt x="1259" y="132"/>
                      </a:lnTo>
                      <a:lnTo>
                        <a:pt x="1226" y="144"/>
                      </a:lnTo>
                      <a:lnTo>
                        <a:pt x="1264" y="132"/>
                      </a:lnTo>
                      <a:lnTo>
                        <a:pt x="1297" y="160"/>
                      </a:lnTo>
                      <a:lnTo>
                        <a:pt x="1313" y="149"/>
                      </a:lnTo>
                      <a:lnTo>
                        <a:pt x="1285" y="144"/>
                      </a:lnTo>
                      <a:lnTo>
                        <a:pt x="1297" y="132"/>
                      </a:lnTo>
                      <a:lnTo>
                        <a:pt x="1297" y="116"/>
                      </a:lnTo>
                      <a:lnTo>
                        <a:pt x="1313" y="116"/>
                      </a:lnTo>
                      <a:lnTo>
                        <a:pt x="1302" y="116"/>
                      </a:lnTo>
                      <a:lnTo>
                        <a:pt x="1318" y="94"/>
                      </a:lnTo>
                      <a:lnTo>
                        <a:pt x="1339" y="87"/>
                      </a:lnTo>
                      <a:lnTo>
                        <a:pt x="1368" y="94"/>
                      </a:lnTo>
                      <a:lnTo>
                        <a:pt x="1356" y="78"/>
                      </a:lnTo>
                      <a:lnTo>
                        <a:pt x="1368" y="61"/>
                      </a:lnTo>
                      <a:lnTo>
                        <a:pt x="1394" y="71"/>
                      </a:lnTo>
                      <a:lnTo>
                        <a:pt x="1377" y="54"/>
                      </a:lnTo>
                      <a:lnTo>
                        <a:pt x="1356" y="49"/>
                      </a:lnTo>
                      <a:lnTo>
                        <a:pt x="1372" y="38"/>
                      </a:lnTo>
                      <a:lnTo>
                        <a:pt x="1389" y="49"/>
                      </a:lnTo>
                      <a:lnTo>
                        <a:pt x="1389" y="21"/>
                      </a:lnTo>
                      <a:lnTo>
                        <a:pt x="1405" y="33"/>
                      </a:lnTo>
                      <a:lnTo>
                        <a:pt x="1410" y="21"/>
                      </a:lnTo>
                      <a:lnTo>
                        <a:pt x="1431" y="49"/>
                      </a:lnTo>
                      <a:lnTo>
                        <a:pt x="1443" y="38"/>
                      </a:lnTo>
                      <a:lnTo>
                        <a:pt x="1443" y="21"/>
                      </a:lnTo>
                      <a:lnTo>
                        <a:pt x="1481" y="33"/>
                      </a:lnTo>
                      <a:lnTo>
                        <a:pt x="1420" y="87"/>
                      </a:lnTo>
                      <a:lnTo>
                        <a:pt x="1431" y="87"/>
                      </a:lnTo>
                      <a:lnTo>
                        <a:pt x="1431" y="104"/>
                      </a:lnTo>
                      <a:lnTo>
                        <a:pt x="1420" y="104"/>
                      </a:lnTo>
                      <a:lnTo>
                        <a:pt x="1420" y="116"/>
                      </a:lnTo>
                      <a:lnTo>
                        <a:pt x="1410" y="116"/>
                      </a:lnTo>
                      <a:lnTo>
                        <a:pt x="1410" y="144"/>
                      </a:lnTo>
                      <a:lnTo>
                        <a:pt x="1420" y="144"/>
                      </a:lnTo>
                      <a:lnTo>
                        <a:pt x="1420" y="132"/>
                      </a:lnTo>
                      <a:lnTo>
                        <a:pt x="1420" y="144"/>
                      </a:lnTo>
                      <a:lnTo>
                        <a:pt x="1427" y="144"/>
                      </a:lnTo>
                      <a:lnTo>
                        <a:pt x="1448" y="116"/>
                      </a:lnTo>
                      <a:lnTo>
                        <a:pt x="1443" y="104"/>
                      </a:lnTo>
                      <a:lnTo>
                        <a:pt x="1528" y="33"/>
                      </a:lnTo>
                      <a:lnTo>
                        <a:pt x="1533" y="33"/>
                      </a:lnTo>
                      <a:lnTo>
                        <a:pt x="1533" y="54"/>
                      </a:lnTo>
                      <a:lnTo>
                        <a:pt x="1502" y="71"/>
                      </a:lnTo>
                      <a:lnTo>
                        <a:pt x="1528" y="71"/>
                      </a:lnTo>
                      <a:lnTo>
                        <a:pt x="1519" y="104"/>
                      </a:lnTo>
                      <a:lnTo>
                        <a:pt x="1557" y="87"/>
                      </a:lnTo>
                      <a:lnTo>
                        <a:pt x="1550" y="78"/>
                      </a:lnTo>
                      <a:lnTo>
                        <a:pt x="1557" y="71"/>
                      </a:lnTo>
                      <a:lnTo>
                        <a:pt x="1571" y="78"/>
                      </a:lnTo>
                      <a:lnTo>
                        <a:pt x="1566" y="71"/>
                      </a:lnTo>
                      <a:lnTo>
                        <a:pt x="1566" y="54"/>
                      </a:lnTo>
                      <a:lnTo>
                        <a:pt x="1571" y="38"/>
                      </a:lnTo>
                      <a:lnTo>
                        <a:pt x="1594" y="49"/>
                      </a:lnTo>
                      <a:lnTo>
                        <a:pt x="1566" y="21"/>
                      </a:lnTo>
                      <a:lnTo>
                        <a:pt x="1594" y="5"/>
                      </a:lnTo>
                      <a:lnTo>
                        <a:pt x="1609" y="16"/>
                      </a:lnTo>
                      <a:lnTo>
                        <a:pt x="1637" y="5"/>
                      </a:lnTo>
                      <a:lnTo>
                        <a:pt x="1663" y="21"/>
                      </a:lnTo>
                      <a:lnTo>
                        <a:pt x="1642" y="49"/>
                      </a:lnTo>
                      <a:lnTo>
                        <a:pt x="1604" y="49"/>
                      </a:lnTo>
                      <a:lnTo>
                        <a:pt x="1637" y="54"/>
                      </a:lnTo>
                      <a:lnTo>
                        <a:pt x="1594" y="71"/>
                      </a:lnTo>
                      <a:lnTo>
                        <a:pt x="1642" y="54"/>
                      </a:lnTo>
                      <a:lnTo>
                        <a:pt x="1642" y="71"/>
                      </a:lnTo>
                      <a:lnTo>
                        <a:pt x="1609" y="87"/>
                      </a:lnTo>
                      <a:lnTo>
                        <a:pt x="1637" y="87"/>
                      </a:lnTo>
                      <a:lnTo>
                        <a:pt x="1625" y="94"/>
                      </a:lnTo>
                      <a:lnTo>
                        <a:pt x="1637" y="94"/>
                      </a:lnTo>
                      <a:lnTo>
                        <a:pt x="1646" y="87"/>
                      </a:lnTo>
                      <a:lnTo>
                        <a:pt x="1637" y="104"/>
                      </a:lnTo>
                      <a:lnTo>
                        <a:pt x="1637" y="127"/>
                      </a:lnTo>
                      <a:lnTo>
                        <a:pt x="1625" y="144"/>
                      </a:lnTo>
                      <a:lnTo>
                        <a:pt x="1642" y="127"/>
                      </a:lnTo>
                      <a:lnTo>
                        <a:pt x="1642" y="104"/>
                      </a:lnTo>
                      <a:lnTo>
                        <a:pt x="1658" y="54"/>
                      </a:lnTo>
                      <a:lnTo>
                        <a:pt x="1675" y="38"/>
                      </a:lnTo>
                      <a:lnTo>
                        <a:pt x="1696" y="38"/>
                      </a:lnTo>
                      <a:lnTo>
                        <a:pt x="1713" y="38"/>
                      </a:lnTo>
                      <a:lnTo>
                        <a:pt x="1717" y="61"/>
                      </a:lnTo>
                      <a:lnTo>
                        <a:pt x="1750" y="54"/>
                      </a:lnTo>
                      <a:lnTo>
                        <a:pt x="1746" y="71"/>
                      </a:lnTo>
                      <a:lnTo>
                        <a:pt x="1772" y="54"/>
                      </a:lnTo>
                      <a:lnTo>
                        <a:pt x="1788" y="71"/>
                      </a:lnTo>
                      <a:lnTo>
                        <a:pt x="1767" y="78"/>
                      </a:lnTo>
                      <a:lnTo>
                        <a:pt x="1805" y="78"/>
                      </a:lnTo>
                      <a:lnTo>
                        <a:pt x="1826" y="94"/>
                      </a:lnTo>
                      <a:lnTo>
                        <a:pt x="1842" y="111"/>
                      </a:lnTo>
                      <a:lnTo>
                        <a:pt x="1798" y="116"/>
                      </a:lnTo>
                      <a:lnTo>
                        <a:pt x="1772" y="144"/>
                      </a:lnTo>
                      <a:lnTo>
                        <a:pt x="1675" y="127"/>
                      </a:lnTo>
                      <a:lnTo>
                        <a:pt x="1663" y="127"/>
                      </a:lnTo>
                      <a:lnTo>
                        <a:pt x="1675" y="127"/>
                      </a:lnTo>
                      <a:lnTo>
                        <a:pt x="1663" y="132"/>
                      </a:lnTo>
                      <a:lnTo>
                        <a:pt x="1746" y="160"/>
                      </a:lnTo>
                      <a:lnTo>
                        <a:pt x="1717" y="165"/>
                      </a:lnTo>
                      <a:lnTo>
                        <a:pt x="1746" y="165"/>
                      </a:lnTo>
                      <a:lnTo>
                        <a:pt x="1750" y="172"/>
                      </a:lnTo>
                      <a:lnTo>
                        <a:pt x="1729" y="198"/>
                      </a:lnTo>
                      <a:lnTo>
                        <a:pt x="1755" y="182"/>
                      </a:lnTo>
                      <a:lnTo>
                        <a:pt x="1772" y="189"/>
                      </a:lnTo>
                      <a:lnTo>
                        <a:pt x="1772" y="182"/>
                      </a:lnTo>
                      <a:lnTo>
                        <a:pt x="1772" y="165"/>
                      </a:lnTo>
                      <a:lnTo>
                        <a:pt x="1788" y="172"/>
                      </a:lnTo>
                      <a:lnTo>
                        <a:pt x="1788" y="189"/>
                      </a:lnTo>
                      <a:lnTo>
                        <a:pt x="1798" y="189"/>
                      </a:lnTo>
                      <a:lnTo>
                        <a:pt x="1798" y="172"/>
                      </a:lnTo>
                      <a:lnTo>
                        <a:pt x="1826" y="172"/>
                      </a:lnTo>
                      <a:lnTo>
                        <a:pt x="1826" y="172"/>
                      </a:lnTo>
                      <a:lnTo>
                        <a:pt x="1826" y="172"/>
                      </a:lnTo>
                      <a:close/>
                      <a:moveTo>
                        <a:pt x="1394" y="16"/>
                      </a:moveTo>
                      <a:lnTo>
                        <a:pt x="1389" y="5"/>
                      </a:lnTo>
                      <a:lnTo>
                        <a:pt x="1405" y="5"/>
                      </a:lnTo>
                      <a:lnTo>
                        <a:pt x="1394" y="16"/>
                      </a:lnTo>
                      <a:lnTo>
                        <a:pt x="1394" y="16"/>
                      </a:lnTo>
                      <a:lnTo>
                        <a:pt x="1394" y="16"/>
                      </a:lnTo>
                      <a:close/>
                      <a:moveTo>
                        <a:pt x="1351" y="33"/>
                      </a:moveTo>
                      <a:lnTo>
                        <a:pt x="1335" y="21"/>
                      </a:lnTo>
                      <a:lnTo>
                        <a:pt x="1356" y="21"/>
                      </a:lnTo>
                      <a:lnTo>
                        <a:pt x="1351" y="33"/>
                      </a:lnTo>
                      <a:lnTo>
                        <a:pt x="1351" y="33"/>
                      </a:lnTo>
                      <a:lnTo>
                        <a:pt x="1351" y="33"/>
                      </a:lnTo>
                      <a:close/>
                      <a:moveTo>
                        <a:pt x="1217" y="87"/>
                      </a:moveTo>
                      <a:lnTo>
                        <a:pt x="1217" y="71"/>
                      </a:lnTo>
                      <a:lnTo>
                        <a:pt x="1205" y="61"/>
                      </a:lnTo>
                      <a:lnTo>
                        <a:pt x="1243" y="54"/>
                      </a:lnTo>
                      <a:lnTo>
                        <a:pt x="1247" y="61"/>
                      </a:lnTo>
                      <a:lnTo>
                        <a:pt x="1247" y="71"/>
                      </a:lnTo>
                      <a:lnTo>
                        <a:pt x="1259" y="71"/>
                      </a:lnTo>
                      <a:lnTo>
                        <a:pt x="1259" y="54"/>
                      </a:lnTo>
                      <a:lnTo>
                        <a:pt x="1268" y="61"/>
                      </a:lnTo>
                      <a:lnTo>
                        <a:pt x="1285" y="49"/>
                      </a:lnTo>
                      <a:lnTo>
                        <a:pt x="1297" y="49"/>
                      </a:lnTo>
                      <a:lnTo>
                        <a:pt x="1297" y="38"/>
                      </a:lnTo>
                      <a:lnTo>
                        <a:pt x="1302" y="49"/>
                      </a:lnTo>
                      <a:lnTo>
                        <a:pt x="1280" y="78"/>
                      </a:lnTo>
                      <a:lnTo>
                        <a:pt x="1217" y="87"/>
                      </a:lnTo>
                      <a:lnTo>
                        <a:pt x="1217" y="87"/>
                      </a:lnTo>
                      <a:lnTo>
                        <a:pt x="1217" y="87"/>
                      </a:lnTo>
                      <a:close/>
                      <a:moveTo>
                        <a:pt x="1335" y="87"/>
                      </a:moveTo>
                      <a:lnTo>
                        <a:pt x="1323" y="78"/>
                      </a:lnTo>
                      <a:lnTo>
                        <a:pt x="1318" y="61"/>
                      </a:lnTo>
                      <a:lnTo>
                        <a:pt x="1335" y="54"/>
                      </a:lnTo>
                      <a:lnTo>
                        <a:pt x="1351" y="71"/>
                      </a:lnTo>
                      <a:lnTo>
                        <a:pt x="1335" y="87"/>
                      </a:lnTo>
                      <a:lnTo>
                        <a:pt x="1335" y="87"/>
                      </a:lnTo>
                      <a:lnTo>
                        <a:pt x="1335" y="87"/>
                      </a:lnTo>
                      <a:close/>
                      <a:moveTo>
                        <a:pt x="1280" y="116"/>
                      </a:moveTo>
                      <a:lnTo>
                        <a:pt x="1264" y="94"/>
                      </a:lnTo>
                      <a:lnTo>
                        <a:pt x="1302" y="78"/>
                      </a:lnTo>
                      <a:lnTo>
                        <a:pt x="1302" y="71"/>
                      </a:lnTo>
                      <a:lnTo>
                        <a:pt x="1318" y="87"/>
                      </a:lnTo>
                      <a:lnTo>
                        <a:pt x="1313" y="104"/>
                      </a:lnTo>
                      <a:lnTo>
                        <a:pt x="1280" y="116"/>
                      </a:lnTo>
                      <a:lnTo>
                        <a:pt x="1280" y="116"/>
                      </a:lnTo>
                      <a:lnTo>
                        <a:pt x="1280" y="116"/>
                      </a:lnTo>
                      <a:close/>
                      <a:moveTo>
                        <a:pt x="1268" y="116"/>
                      </a:moveTo>
                      <a:lnTo>
                        <a:pt x="1226" y="111"/>
                      </a:lnTo>
                      <a:lnTo>
                        <a:pt x="1247" y="104"/>
                      </a:lnTo>
                      <a:lnTo>
                        <a:pt x="1268" y="116"/>
                      </a:lnTo>
                      <a:lnTo>
                        <a:pt x="1268" y="116"/>
                      </a:lnTo>
                      <a:lnTo>
                        <a:pt x="1268" y="116"/>
                      </a:lnTo>
                      <a:close/>
                      <a:moveTo>
                        <a:pt x="1188" y="116"/>
                      </a:moveTo>
                      <a:lnTo>
                        <a:pt x="1179" y="104"/>
                      </a:lnTo>
                      <a:lnTo>
                        <a:pt x="1193" y="104"/>
                      </a:lnTo>
                      <a:lnTo>
                        <a:pt x="1188" y="116"/>
                      </a:lnTo>
                      <a:lnTo>
                        <a:pt x="1188" y="116"/>
                      </a:lnTo>
                      <a:lnTo>
                        <a:pt x="1188" y="116"/>
                      </a:lnTo>
                      <a:close/>
                      <a:moveTo>
                        <a:pt x="1054" y="144"/>
                      </a:moveTo>
                      <a:lnTo>
                        <a:pt x="1049" y="144"/>
                      </a:lnTo>
                      <a:lnTo>
                        <a:pt x="1032" y="116"/>
                      </a:lnTo>
                      <a:lnTo>
                        <a:pt x="1042" y="111"/>
                      </a:lnTo>
                      <a:lnTo>
                        <a:pt x="1070" y="132"/>
                      </a:lnTo>
                      <a:lnTo>
                        <a:pt x="1054" y="144"/>
                      </a:lnTo>
                      <a:lnTo>
                        <a:pt x="1054" y="144"/>
                      </a:lnTo>
                      <a:lnTo>
                        <a:pt x="1054" y="144"/>
                      </a:lnTo>
                      <a:close/>
                      <a:moveTo>
                        <a:pt x="999" y="132"/>
                      </a:moveTo>
                      <a:lnTo>
                        <a:pt x="994" y="127"/>
                      </a:lnTo>
                      <a:lnTo>
                        <a:pt x="1011" y="116"/>
                      </a:lnTo>
                      <a:lnTo>
                        <a:pt x="1011" y="132"/>
                      </a:lnTo>
                      <a:lnTo>
                        <a:pt x="999" y="132"/>
                      </a:lnTo>
                      <a:lnTo>
                        <a:pt x="999" y="132"/>
                      </a:lnTo>
                      <a:lnTo>
                        <a:pt x="999" y="132"/>
                      </a:lnTo>
                      <a:close/>
                      <a:moveTo>
                        <a:pt x="1103" y="144"/>
                      </a:moveTo>
                      <a:lnTo>
                        <a:pt x="1087" y="144"/>
                      </a:lnTo>
                      <a:lnTo>
                        <a:pt x="1096" y="127"/>
                      </a:lnTo>
                      <a:lnTo>
                        <a:pt x="1103" y="116"/>
                      </a:lnTo>
                      <a:lnTo>
                        <a:pt x="1117" y="127"/>
                      </a:lnTo>
                      <a:lnTo>
                        <a:pt x="1117" y="144"/>
                      </a:lnTo>
                      <a:lnTo>
                        <a:pt x="1103" y="144"/>
                      </a:lnTo>
                      <a:lnTo>
                        <a:pt x="1103" y="144"/>
                      </a:lnTo>
                      <a:lnTo>
                        <a:pt x="1103" y="144"/>
                      </a:lnTo>
                      <a:close/>
                      <a:moveTo>
                        <a:pt x="1032" y="132"/>
                      </a:moveTo>
                      <a:lnTo>
                        <a:pt x="1016" y="132"/>
                      </a:lnTo>
                      <a:lnTo>
                        <a:pt x="1028" y="127"/>
                      </a:lnTo>
                      <a:lnTo>
                        <a:pt x="1032" y="132"/>
                      </a:lnTo>
                      <a:lnTo>
                        <a:pt x="1032" y="132"/>
                      </a:lnTo>
                      <a:lnTo>
                        <a:pt x="1032" y="132"/>
                      </a:lnTo>
                      <a:close/>
                      <a:moveTo>
                        <a:pt x="1124" y="144"/>
                      </a:moveTo>
                      <a:lnTo>
                        <a:pt x="1117" y="132"/>
                      </a:lnTo>
                      <a:lnTo>
                        <a:pt x="1124" y="132"/>
                      </a:lnTo>
                      <a:lnTo>
                        <a:pt x="1124" y="144"/>
                      </a:lnTo>
                      <a:lnTo>
                        <a:pt x="1124" y="144"/>
                      </a:lnTo>
                      <a:lnTo>
                        <a:pt x="1124" y="144"/>
                      </a:lnTo>
                      <a:close/>
                      <a:moveTo>
                        <a:pt x="973" y="149"/>
                      </a:moveTo>
                      <a:lnTo>
                        <a:pt x="973" y="132"/>
                      </a:lnTo>
                      <a:lnTo>
                        <a:pt x="994" y="144"/>
                      </a:lnTo>
                      <a:lnTo>
                        <a:pt x="973" y="149"/>
                      </a:lnTo>
                      <a:lnTo>
                        <a:pt x="973" y="149"/>
                      </a:lnTo>
                      <a:lnTo>
                        <a:pt x="973" y="149"/>
                      </a:lnTo>
                      <a:close/>
                      <a:moveTo>
                        <a:pt x="999" y="172"/>
                      </a:moveTo>
                      <a:lnTo>
                        <a:pt x="973" y="160"/>
                      </a:lnTo>
                      <a:lnTo>
                        <a:pt x="1011" y="132"/>
                      </a:lnTo>
                      <a:lnTo>
                        <a:pt x="1016" y="149"/>
                      </a:lnTo>
                      <a:lnTo>
                        <a:pt x="1032" y="144"/>
                      </a:lnTo>
                      <a:lnTo>
                        <a:pt x="1042" y="149"/>
                      </a:lnTo>
                      <a:lnTo>
                        <a:pt x="999" y="172"/>
                      </a:lnTo>
                      <a:lnTo>
                        <a:pt x="999" y="172"/>
                      </a:lnTo>
                      <a:lnTo>
                        <a:pt x="999" y="172"/>
                      </a:lnTo>
                      <a:close/>
                      <a:moveTo>
                        <a:pt x="1124" y="160"/>
                      </a:moveTo>
                      <a:lnTo>
                        <a:pt x="1117" y="149"/>
                      </a:lnTo>
                      <a:lnTo>
                        <a:pt x="1141" y="149"/>
                      </a:lnTo>
                      <a:lnTo>
                        <a:pt x="1124" y="160"/>
                      </a:lnTo>
                      <a:lnTo>
                        <a:pt x="1124" y="160"/>
                      </a:lnTo>
                      <a:lnTo>
                        <a:pt x="1124" y="160"/>
                      </a:lnTo>
                      <a:close/>
                      <a:moveTo>
                        <a:pt x="1028" y="172"/>
                      </a:moveTo>
                      <a:lnTo>
                        <a:pt x="1049" y="149"/>
                      </a:lnTo>
                      <a:lnTo>
                        <a:pt x="1054" y="160"/>
                      </a:lnTo>
                      <a:lnTo>
                        <a:pt x="1049" y="165"/>
                      </a:lnTo>
                      <a:lnTo>
                        <a:pt x="1028" y="172"/>
                      </a:lnTo>
                      <a:lnTo>
                        <a:pt x="1028" y="172"/>
                      </a:lnTo>
                      <a:lnTo>
                        <a:pt x="1028" y="172"/>
                      </a:lnTo>
                      <a:close/>
                      <a:moveTo>
                        <a:pt x="1750" y="182"/>
                      </a:moveTo>
                      <a:lnTo>
                        <a:pt x="1746" y="182"/>
                      </a:lnTo>
                      <a:lnTo>
                        <a:pt x="1750" y="165"/>
                      </a:lnTo>
                      <a:lnTo>
                        <a:pt x="1767" y="172"/>
                      </a:lnTo>
                      <a:lnTo>
                        <a:pt x="1750" y="182"/>
                      </a:lnTo>
                      <a:lnTo>
                        <a:pt x="1750" y="182"/>
                      </a:lnTo>
                      <a:lnTo>
                        <a:pt x="1750" y="182"/>
                      </a:lnTo>
                      <a:close/>
                      <a:moveTo>
                        <a:pt x="1103" y="172"/>
                      </a:moveTo>
                      <a:lnTo>
                        <a:pt x="1103" y="165"/>
                      </a:lnTo>
                      <a:lnTo>
                        <a:pt x="1117" y="165"/>
                      </a:lnTo>
                      <a:lnTo>
                        <a:pt x="1117" y="172"/>
                      </a:lnTo>
                      <a:lnTo>
                        <a:pt x="1103" y="172"/>
                      </a:lnTo>
                      <a:lnTo>
                        <a:pt x="1103" y="172"/>
                      </a:lnTo>
                      <a:lnTo>
                        <a:pt x="1103" y="172"/>
                      </a:lnTo>
                      <a:close/>
                      <a:moveTo>
                        <a:pt x="945" y="189"/>
                      </a:moveTo>
                      <a:lnTo>
                        <a:pt x="961" y="189"/>
                      </a:lnTo>
                      <a:lnTo>
                        <a:pt x="945" y="189"/>
                      </a:lnTo>
                      <a:lnTo>
                        <a:pt x="945" y="172"/>
                      </a:lnTo>
                      <a:lnTo>
                        <a:pt x="978" y="189"/>
                      </a:lnTo>
                      <a:lnTo>
                        <a:pt x="973" y="165"/>
                      </a:lnTo>
                      <a:lnTo>
                        <a:pt x="994" y="182"/>
                      </a:lnTo>
                      <a:lnTo>
                        <a:pt x="978" y="189"/>
                      </a:lnTo>
                      <a:lnTo>
                        <a:pt x="978" y="205"/>
                      </a:lnTo>
                      <a:lnTo>
                        <a:pt x="973" y="205"/>
                      </a:lnTo>
                      <a:lnTo>
                        <a:pt x="924" y="205"/>
                      </a:lnTo>
                      <a:lnTo>
                        <a:pt x="940" y="198"/>
                      </a:lnTo>
                      <a:lnTo>
                        <a:pt x="928" y="189"/>
                      </a:lnTo>
                      <a:lnTo>
                        <a:pt x="945" y="189"/>
                      </a:lnTo>
                      <a:lnTo>
                        <a:pt x="945" y="189"/>
                      </a:lnTo>
                      <a:lnTo>
                        <a:pt x="945" y="189"/>
                      </a:lnTo>
                      <a:close/>
                      <a:moveTo>
                        <a:pt x="839" y="255"/>
                      </a:moveTo>
                      <a:lnTo>
                        <a:pt x="865" y="243"/>
                      </a:lnTo>
                      <a:lnTo>
                        <a:pt x="848" y="238"/>
                      </a:lnTo>
                      <a:lnTo>
                        <a:pt x="853" y="238"/>
                      </a:lnTo>
                      <a:lnTo>
                        <a:pt x="839" y="227"/>
                      </a:lnTo>
                      <a:lnTo>
                        <a:pt x="848" y="227"/>
                      </a:lnTo>
                      <a:lnTo>
                        <a:pt x="886" y="222"/>
                      </a:lnTo>
                      <a:lnTo>
                        <a:pt x="865" y="215"/>
                      </a:lnTo>
                      <a:lnTo>
                        <a:pt x="891" y="222"/>
                      </a:lnTo>
                      <a:lnTo>
                        <a:pt x="886" y="205"/>
                      </a:lnTo>
                      <a:lnTo>
                        <a:pt x="902" y="215"/>
                      </a:lnTo>
                      <a:lnTo>
                        <a:pt x="891" y="205"/>
                      </a:lnTo>
                      <a:lnTo>
                        <a:pt x="907" y="205"/>
                      </a:lnTo>
                      <a:lnTo>
                        <a:pt x="928" y="227"/>
                      </a:lnTo>
                      <a:lnTo>
                        <a:pt x="919" y="238"/>
                      </a:lnTo>
                      <a:lnTo>
                        <a:pt x="919" y="243"/>
                      </a:lnTo>
                      <a:lnTo>
                        <a:pt x="924" y="255"/>
                      </a:lnTo>
                      <a:lnTo>
                        <a:pt x="886" y="255"/>
                      </a:lnTo>
                      <a:lnTo>
                        <a:pt x="853" y="276"/>
                      </a:lnTo>
                      <a:lnTo>
                        <a:pt x="865" y="272"/>
                      </a:lnTo>
                      <a:lnTo>
                        <a:pt x="831" y="272"/>
                      </a:lnTo>
                      <a:lnTo>
                        <a:pt x="865" y="255"/>
                      </a:lnTo>
                      <a:lnTo>
                        <a:pt x="839" y="255"/>
                      </a:lnTo>
                      <a:lnTo>
                        <a:pt x="839" y="255"/>
                      </a:lnTo>
                      <a:lnTo>
                        <a:pt x="839" y="255"/>
                      </a:lnTo>
                      <a:close/>
                      <a:moveTo>
                        <a:pt x="746" y="293"/>
                      </a:moveTo>
                      <a:lnTo>
                        <a:pt x="739" y="276"/>
                      </a:lnTo>
                      <a:lnTo>
                        <a:pt x="746" y="272"/>
                      </a:lnTo>
                      <a:lnTo>
                        <a:pt x="794" y="243"/>
                      </a:lnTo>
                      <a:lnTo>
                        <a:pt x="784" y="260"/>
                      </a:lnTo>
                      <a:lnTo>
                        <a:pt x="746" y="293"/>
                      </a:lnTo>
                      <a:lnTo>
                        <a:pt x="746" y="293"/>
                      </a:lnTo>
                      <a:lnTo>
                        <a:pt x="746" y="293"/>
                      </a:lnTo>
                      <a:close/>
                      <a:moveTo>
                        <a:pt x="876" y="276"/>
                      </a:moveTo>
                      <a:lnTo>
                        <a:pt x="876" y="272"/>
                      </a:lnTo>
                      <a:lnTo>
                        <a:pt x="891" y="272"/>
                      </a:lnTo>
                      <a:lnTo>
                        <a:pt x="876" y="276"/>
                      </a:lnTo>
                      <a:lnTo>
                        <a:pt x="876" y="276"/>
                      </a:lnTo>
                      <a:lnTo>
                        <a:pt x="876" y="276"/>
                      </a:lnTo>
                      <a:close/>
                      <a:moveTo>
                        <a:pt x="676" y="326"/>
                      </a:moveTo>
                      <a:lnTo>
                        <a:pt x="671" y="316"/>
                      </a:lnTo>
                      <a:lnTo>
                        <a:pt x="676" y="300"/>
                      </a:lnTo>
                      <a:lnTo>
                        <a:pt x="702" y="309"/>
                      </a:lnTo>
                      <a:lnTo>
                        <a:pt x="709" y="293"/>
                      </a:lnTo>
                      <a:lnTo>
                        <a:pt x="725" y="300"/>
                      </a:lnTo>
                      <a:lnTo>
                        <a:pt x="709" y="283"/>
                      </a:lnTo>
                      <a:lnTo>
                        <a:pt x="713" y="276"/>
                      </a:lnTo>
                      <a:lnTo>
                        <a:pt x="739" y="300"/>
                      </a:lnTo>
                      <a:lnTo>
                        <a:pt x="739" y="316"/>
                      </a:lnTo>
                      <a:lnTo>
                        <a:pt x="713" y="333"/>
                      </a:lnTo>
                      <a:lnTo>
                        <a:pt x="702" y="326"/>
                      </a:lnTo>
                      <a:lnTo>
                        <a:pt x="725" y="309"/>
                      </a:lnTo>
                      <a:lnTo>
                        <a:pt x="676" y="326"/>
                      </a:lnTo>
                      <a:lnTo>
                        <a:pt x="676" y="326"/>
                      </a:lnTo>
                      <a:lnTo>
                        <a:pt x="676" y="326"/>
                      </a:lnTo>
                      <a:close/>
                      <a:moveTo>
                        <a:pt x="815" y="293"/>
                      </a:moveTo>
                      <a:lnTo>
                        <a:pt x="801" y="283"/>
                      </a:lnTo>
                      <a:lnTo>
                        <a:pt x="822" y="283"/>
                      </a:lnTo>
                      <a:lnTo>
                        <a:pt x="815" y="293"/>
                      </a:lnTo>
                      <a:lnTo>
                        <a:pt x="815" y="293"/>
                      </a:lnTo>
                      <a:lnTo>
                        <a:pt x="815" y="293"/>
                      </a:lnTo>
                      <a:close/>
                      <a:moveTo>
                        <a:pt x="777" y="283"/>
                      </a:moveTo>
                      <a:lnTo>
                        <a:pt x="768" y="300"/>
                      </a:lnTo>
                      <a:lnTo>
                        <a:pt x="777" y="309"/>
                      </a:lnTo>
                      <a:lnTo>
                        <a:pt x="763" y="338"/>
                      </a:lnTo>
                      <a:lnTo>
                        <a:pt x="794" y="293"/>
                      </a:lnTo>
                      <a:lnTo>
                        <a:pt x="815" y="300"/>
                      </a:lnTo>
                      <a:lnTo>
                        <a:pt x="822" y="326"/>
                      </a:lnTo>
                      <a:lnTo>
                        <a:pt x="815" y="333"/>
                      </a:lnTo>
                      <a:lnTo>
                        <a:pt x="794" y="333"/>
                      </a:lnTo>
                      <a:lnTo>
                        <a:pt x="777" y="354"/>
                      </a:lnTo>
                      <a:lnTo>
                        <a:pt x="768" y="349"/>
                      </a:lnTo>
                      <a:lnTo>
                        <a:pt x="756" y="366"/>
                      </a:lnTo>
                      <a:lnTo>
                        <a:pt x="730" y="366"/>
                      </a:lnTo>
                      <a:lnTo>
                        <a:pt x="756" y="338"/>
                      </a:lnTo>
                      <a:lnTo>
                        <a:pt x="746" y="338"/>
                      </a:lnTo>
                      <a:lnTo>
                        <a:pt x="709" y="371"/>
                      </a:lnTo>
                      <a:lnTo>
                        <a:pt x="730" y="338"/>
                      </a:lnTo>
                      <a:lnTo>
                        <a:pt x="725" y="338"/>
                      </a:lnTo>
                      <a:lnTo>
                        <a:pt x="746" y="326"/>
                      </a:lnTo>
                      <a:lnTo>
                        <a:pt x="739" y="309"/>
                      </a:lnTo>
                      <a:lnTo>
                        <a:pt x="763" y="316"/>
                      </a:lnTo>
                      <a:lnTo>
                        <a:pt x="739" y="309"/>
                      </a:lnTo>
                      <a:lnTo>
                        <a:pt x="756" y="283"/>
                      </a:lnTo>
                      <a:lnTo>
                        <a:pt x="777" y="283"/>
                      </a:lnTo>
                      <a:lnTo>
                        <a:pt x="777" y="283"/>
                      </a:lnTo>
                      <a:lnTo>
                        <a:pt x="777" y="283"/>
                      </a:lnTo>
                      <a:close/>
                      <a:moveTo>
                        <a:pt x="709" y="293"/>
                      </a:moveTo>
                      <a:lnTo>
                        <a:pt x="702" y="283"/>
                      </a:lnTo>
                      <a:lnTo>
                        <a:pt x="709" y="283"/>
                      </a:lnTo>
                      <a:lnTo>
                        <a:pt x="709" y="293"/>
                      </a:lnTo>
                      <a:lnTo>
                        <a:pt x="709" y="293"/>
                      </a:lnTo>
                      <a:lnTo>
                        <a:pt x="709" y="293"/>
                      </a:lnTo>
                      <a:close/>
                      <a:moveTo>
                        <a:pt x="869" y="300"/>
                      </a:moveTo>
                      <a:lnTo>
                        <a:pt x="853" y="293"/>
                      </a:lnTo>
                      <a:lnTo>
                        <a:pt x="886" y="293"/>
                      </a:lnTo>
                      <a:lnTo>
                        <a:pt x="869" y="300"/>
                      </a:lnTo>
                      <a:lnTo>
                        <a:pt x="869" y="300"/>
                      </a:lnTo>
                      <a:lnTo>
                        <a:pt x="869" y="300"/>
                      </a:lnTo>
                      <a:close/>
                      <a:moveTo>
                        <a:pt x="839" y="316"/>
                      </a:moveTo>
                      <a:lnTo>
                        <a:pt x="848" y="293"/>
                      </a:lnTo>
                      <a:lnTo>
                        <a:pt x="865" y="309"/>
                      </a:lnTo>
                      <a:lnTo>
                        <a:pt x="839" y="316"/>
                      </a:lnTo>
                      <a:lnTo>
                        <a:pt x="839" y="316"/>
                      </a:lnTo>
                      <a:lnTo>
                        <a:pt x="839" y="316"/>
                      </a:lnTo>
                      <a:close/>
                      <a:moveTo>
                        <a:pt x="794" y="354"/>
                      </a:moveTo>
                      <a:lnTo>
                        <a:pt x="801" y="338"/>
                      </a:lnTo>
                      <a:lnTo>
                        <a:pt x="815" y="349"/>
                      </a:lnTo>
                      <a:lnTo>
                        <a:pt x="794" y="354"/>
                      </a:lnTo>
                      <a:lnTo>
                        <a:pt x="794" y="354"/>
                      </a:lnTo>
                      <a:lnTo>
                        <a:pt x="794" y="354"/>
                      </a:lnTo>
                      <a:close/>
                      <a:moveTo>
                        <a:pt x="654" y="387"/>
                      </a:moveTo>
                      <a:lnTo>
                        <a:pt x="659" y="366"/>
                      </a:lnTo>
                      <a:lnTo>
                        <a:pt x="676" y="366"/>
                      </a:lnTo>
                      <a:lnTo>
                        <a:pt x="671" y="354"/>
                      </a:lnTo>
                      <a:lnTo>
                        <a:pt x="676" y="354"/>
                      </a:lnTo>
                      <a:lnTo>
                        <a:pt x="702" y="349"/>
                      </a:lnTo>
                      <a:lnTo>
                        <a:pt x="692" y="366"/>
                      </a:lnTo>
                      <a:lnTo>
                        <a:pt x="725" y="349"/>
                      </a:lnTo>
                      <a:lnTo>
                        <a:pt x="702" y="371"/>
                      </a:lnTo>
                      <a:lnTo>
                        <a:pt x="654" y="387"/>
                      </a:lnTo>
                      <a:lnTo>
                        <a:pt x="654" y="387"/>
                      </a:lnTo>
                      <a:lnTo>
                        <a:pt x="654" y="387"/>
                      </a:lnTo>
                      <a:close/>
                      <a:moveTo>
                        <a:pt x="654" y="371"/>
                      </a:moveTo>
                      <a:lnTo>
                        <a:pt x="650" y="366"/>
                      </a:lnTo>
                      <a:lnTo>
                        <a:pt x="654" y="366"/>
                      </a:lnTo>
                      <a:lnTo>
                        <a:pt x="654" y="371"/>
                      </a:lnTo>
                      <a:lnTo>
                        <a:pt x="654" y="371"/>
                      </a:lnTo>
                      <a:lnTo>
                        <a:pt x="654" y="371"/>
                      </a:lnTo>
                      <a:close/>
                      <a:moveTo>
                        <a:pt x="638" y="371"/>
                      </a:moveTo>
                      <a:lnTo>
                        <a:pt x="633" y="366"/>
                      </a:lnTo>
                      <a:lnTo>
                        <a:pt x="638" y="366"/>
                      </a:lnTo>
                      <a:lnTo>
                        <a:pt x="638" y="371"/>
                      </a:lnTo>
                      <a:lnTo>
                        <a:pt x="638" y="371"/>
                      </a:lnTo>
                      <a:lnTo>
                        <a:pt x="638" y="371"/>
                      </a:lnTo>
                      <a:close/>
                      <a:moveTo>
                        <a:pt x="605" y="394"/>
                      </a:moveTo>
                      <a:lnTo>
                        <a:pt x="600" y="394"/>
                      </a:lnTo>
                      <a:lnTo>
                        <a:pt x="605" y="371"/>
                      </a:lnTo>
                      <a:lnTo>
                        <a:pt x="650" y="371"/>
                      </a:lnTo>
                      <a:lnTo>
                        <a:pt x="605" y="394"/>
                      </a:lnTo>
                      <a:lnTo>
                        <a:pt x="605" y="394"/>
                      </a:lnTo>
                      <a:lnTo>
                        <a:pt x="605" y="394"/>
                      </a:lnTo>
                      <a:close/>
                      <a:moveTo>
                        <a:pt x="583" y="404"/>
                      </a:moveTo>
                      <a:lnTo>
                        <a:pt x="583" y="394"/>
                      </a:lnTo>
                      <a:lnTo>
                        <a:pt x="595" y="387"/>
                      </a:lnTo>
                      <a:lnTo>
                        <a:pt x="600" y="387"/>
                      </a:lnTo>
                      <a:lnTo>
                        <a:pt x="583" y="404"/>
                      </a:lnTo>
                      <a:lnTo>
                        <a:pt x="583" y="404"/>
                      </a:lnTo>
                      <a:lnTo>
                        <a:pt x="583" y="404"/>
                      </a:lnTo>
                      <a:close/>
                      <a:moveTo>
                        <a:pt x="550" y="427"/>
                      </a:moveTo>
                      <a:lnTo>
                        <a:pt x="579" y="387"/>
                      </a:lnTo>
                      <a:lnTo>
                        <a:pt x="583" y="394"/>
                      </a:lnTo>
                      <a:lnTo>
                        <a:pt x="579" y="411"/>
                      </a:lnTo>
                      <a:lnTo>
                        <a:pt x="550" y="427"/>
                      </a:lnTo>
                      <a:lnTo>
                        <a:pt x="550" y="427"/>
                      </a:lnTo>
                      <a:lnTo>
                        <a:pt x="550" y="427"/>
                      </a:lnTo>
                      <a:close/>
                      <a:moveTo>
                        <a:pt x="756" y="404"/>
                      </a:moveTo>
                      <a:lnTo>
                        <a:pt x="746" y="404"/>
                      </a:lnTo>
                      <a:lnTo>
                        <a:pt x="777" y="404"/>
                      </a:lnTo>
                      <a:lnTo>
                        <a:pt x="756" y="404"/>
                      </a:lnTo>
                      <a:lnTo>
                        <a:pt x="756" y="404"/>
                      </a:lnTo>
                      <a:lnTo>
                        <a:pt x="756" y="404"/>
                      </a:lnTo>
                      <a:close/>
                      <a:moveTo>
                        <a:pt x="725" y="411"/>
                      </a:moveTo>
                      <a:lnTo>
                        <a:pt x="709" y="411"/>
                      </a:lnTo>
                      <a:lnTo>
                        <a:pt x="730" y="411"/>
                      </a:lnTo>
                      <a:lnTo>
                        <a:pt x="725" y="411"/>
                      </a:lnTo>
                      <a:lnTo>
                        <a:pt x="725" y="411"/>
                      </a:lnTo>
                      <a:lnTo>
                        <a:pt x="725" y="411"/>
                      </a:lnTo>
                      <a:close/>
                      <a:moveTo>
                        <a:pt x="654" y="522"/>
                      </a:moveTo>
                      <a:lnTo>
                        <a:pt x="638" y="515"/>
                      </a:lnTo>
                      <a:lnTo>
                        <a:pt x="659" y="503"/>
                      </a:lnTo>
                      <a:lnTo>
                        <a:pt x="654" y="522"/>
                      </a:lnTo>
                      <a:lnTo>
                        <a:pt x="654" y="522"/>
                      </a:lnTo>
                      <a:lnTo>
                        <a:pt x="654" y="522"/>
                      </a:lnTo>
                      <a:close/>
                      <a:moveTo>
                        <a:pt x="550" y="614"/>
                      </a:moveTo>
                      <a:lnTo>
                        <a:pt x="562" y="609"/>
                      </a:lnTo>
                      <a:lnTo>
                        <a:pt x="550" y="614"/>
                      </a:lnTo>
                      <a:lnTo>
                        <a:pt x="550" y="614"/>
                      </a:lnTo>
                      <a:lnTo>
                        <a:pt x="550" y="614"/>
                      </a:lnTo>
                      <a:close/>
                      <a:moveTo>
                        <a:pt x="524" y="642"/>
                      </a:moveTo>
                      <a:lnTo>
                        <a:pt x="541" y="614"/>
                      </a:lnTo>
                      <a:lnTo>
                        <a:pt x="546" y="631"/>
                      </a:lnTo>
                      <a:lnTo>
                        <a:pt x="524" y="642"/>
                      </a:lnTo>
                      <a:lnTo>
                        <a:pt x="524" y="642"/>
                      </a:lnTo>
                      <a:lnTo>
                        <a:pt x="524" y="642"/>
                      </a:lnTo>
                      <a:close/>
                      <a:moveTo>
                        <a:pt x="529" y="666"/>
                      </a:moveTo>
                      <a:lnTo>
                        <a:pt x="541" y="649"/>
                      </a:lnTo>
                      <a:lnTo>
                        <a:pt x="562" y="642"/>
                      </a:lnTo>
                      <a:lnTo>
                        <a:pt x="529" y="666"/>
                      </a:lnTo>
                      <a:lnTo>
                        <a:pt x="529" y="666"/>
                      </a:lnTo>
                      <a:lnTo>
                        <a:pt x="529" y="666"/>
                      </a:lnTo>
                      <a:close/>
                      <a:moveTo>
                        <a:pt x="491" y="699"/>
                      </a:moveTo>
                      <a:lnTo>
                        <a:pt x="487" y="687"/>
                      </a:lnTo>
                      <a:lnTo>
                        <a:pt x="498" y="683"/>
                      </a:lnTo>
                      <a:lnTo>
                        <a:pt x="491" y="699"/>
                      </a:lnTo>
                      <a:lnTo>
                        <a:pt x="491" y="699"/>
                      </a:lnTo>
                      <a:lnTo>
                        <a:pt x="491" y="699"/>
                      </a:lnTo>
                      <a:close/>
                      <a:moveTo>
                        <a:pt x="508" y="737"/>
                      </a:moveTo>
                      <a:lnTo>
                        <a:pt x="513" y="699"/>
                      </a:lnTo>
                      <a:lnTo>
                        <a:pt x="541" y="720"/>
                      </a:lnTo>
                      <a:lnTo>
                        <a:pt x="508" y="737"/>
                      </a:lnTo>
                      <a:lnTo>
                        <a:pt x="508" y="737"/>
                      </a:lnTo>
                      <a:lnTo>
                        <a:pt x="508" y="737"/>
                      </a:lnTo>
                      <a:close/>
                      <a:moveTo>
                        <a:pt x="508" y="758"/>
                      </a:moveTo>
                      <a:lnTo>
                        <a:pt x="498" y="753"/>
                      </a:lnTo>
                      <a:lnTo>
                        <a:pt x="513" y="737"/>
                      </a:lnTo>
                      <a:lnTo>
                        <a:pt x="524" y="753"/>
                      </a:lnTo>
                      <a:lnTo>
                        <a:pt x="508" y="758"/>
                      </a:lnTo>
                      <a:lnTo>
                        <a:pt x="508" y="758"/>
                      </a:lnTo>
                      <a:lnTo>
                        <a:pt x="508" y="758"/>
                      </a:lnTo>
                      <a:close/>
                      <a:moveTo>
                        <a:pt x="470" y="758"/>
                      </a:moveTo>
                      <a:lnTo>
                        <a:pt x="470" y="753"/>
                      </a:lnTo>
                      <a:lnTo>
                        <a:pt x="487" y="753"/>
                      </a:lnTo>
                      <a:lnTo>
                        <a:pt x="470" y="758"/>
                      </a:lnTo>
                      <a:lnTo>
                        <a:pt x="470" y="758"/>
                      </a:lnTo>
                      <a:lnTo>
                        <a:pt x="470" y="758"/>
                      </a:lnTo>
                      <a:close/>
                      <a:moveTo>
                        <a:pt x="437" y="782"/>
                      </a:moveTo>
                      <a:lnTo>
                        <a:pt x="416" y="782"/>
                      </a:lnTo>
                      <a:lnTo>
                        <a:pt x="437" y="770"/>
                      </a:lnTo>
                      <a:lnTo>
                        <a:pt x="444" y="777"/>
                      </a:lnTo>
                      <a:lnTo>
                        <a:pt x="437" y="782"/>
                      </a:lnTo>
                      <a:lnTo>
                        <a:pt x="437" y="782"/>
                      </a:lnTo>
                      <a:lnTo>
                        <a:pt x="437" y="782"/>
                      </a:lnTo>
                      <a:close/>
                      <a:moveTo>
                        <a:pt x="454" y="810"/>
                      </a:moveTo>
                      <a:lnTo>
                        <a:pt x="444" y="810"/>
                      </a:lnTo>
                      <a:lnTo>
                        <a:pt x="454" y="798"/>
                      </a:lnTo>
                      <a:lnTo>
                        <a:pt x="454" y="810"/>
                      </a:lnTo>
                      <a:lnTo>
                        <a:pt x="454" y="810"/>
                      </a:lnTo>
                      <a:lnTo>
                        <a:pt x="454" y="810"/>
                      </a:lnTo>
                      <a:close/>
                      <a:moveTo>
                        <a:pt x="461" y="827"/>
                      </a:moveTo>
                      <a:lnTo>
                        <a:pt x="444" y="827"/>
                      </a:lnTo>
                      <a:lnTo>
                        <a:pt x="432" y="810"/>
                      </a:lnTo>
                      <a:lnTo>
                        <a:pt x="461" y="815"/>
                      </a:lnTo>
                      <a:lnTo>
                        <a:pt x="461" y="827"/>
                      </a:lnTo>
                      <a:lnTo>
                        <a:pt x="461" y="827"/>
                      </a:lnTo>
                      <a:lnTo>
                        <a:pt x="461" y="827"/>
                      </a:lnTo>
                      <a:close/>
                      <a:moveTo>
                        <a:pt x="243" y="921"/>
                      </a:moveTo>
                      <a:lnTo>
                        <a:pt x="276" y="905"/>
                      </a:lnTo>
                      <a:lnTo>
                        <a:pt x="276" y="909"/>
                      </a:lnTo>
                      <a:lnTo>
                        <a:pt x="243" y="921"/>
                      </a:lnTo>
                      <a:lnTo>
                        <a:pt x="243" y="921"/>
                      </a:lnTo>
                      <a:lnTo>
                        <a:pt x="243" y="921"/>
                      </a:lnTo>
                      <a:close/>
                      <a:moveTo>
                        <a:pt x="255" y="942"/>
                      </a:moveTo>
                      <a:lnTo>
                        <a:pt x="239" y="942"/>
                      </a:lnTo>
                      <a:lnTo>
                        <a:pt x="281" y="921"/>
                      </a:lnTo>
                      <a:lnTo>
                        <a:pt x="298" y="926"/>
                      </a:lnTo>
                      <a:lnTo>
                        <a:pt x="255" y="942"/>
                      </a:lnTo>
                      <a:lnTo>
                        <a:pt x="255" y="942"/>
                      </a:lnTo>
                      <a:lnTo>
                        <a:pt x="255" y="942"/>
                      </a:lnTo>
                      <a:close/>
                      <a:moveTo>
                        <a:pt x="222" y="959"/>
                      </a:moveTo>
                      <a:lnTo>
                        <a:pt x="206" y="947"/>
                      </a:lnTo>
                      <a:lnTo>
                        <a:pt x="222" y="942"/>
                      </a:lnTo>
                      <a:lnTo>
                        <a:pt x="227" y="947"/>
                      </a:lnTo>
                      <a:lnTo>
                        <a:pt x="222" y="959"/>
                      </a:lnTo>
                      <a:lnTo>
                        <a:pt x="222" y="959"/>
                      </a:lnTo>
                      <a:lnTo>
                        <a:pt x="222" y="959"/>
                      </a:lnTo>
                      <a:close/>
                      <a:moveTo>
                        <a:pt x="260" y="959"/>
                      </a:moveTo>
                      <a:lnTo>
                        <a:pt x="255" y="959"/>
                      </a:lnTo>
                      <a:lnTo>
                        <a:pt x="272" y="959"/>
                      </a:lnTo>
                      <a:lnTo>
                        <a:pt x="260" y="959"/>
                      </a:lnTo>
                      <a:lnTo>
                        <a:pt x="260" y="959"/>
                      </a:lnTo>
                      <a:lnTo>
                        <a:pt x="260" y="959"/>
                      </a:lnTo>
                      <a:close/>
                      <a:moveTo>
                        <a:pt x="243" y="975"/>
                      </a:moveTo>
                      <a:lnTo>
                        <a:pt x="239" y="964"/>
                      </a:lnTo>
                      <a:lnTo>
                        <a:pt x="255" y="959"/>
                      </a:lnTo>
                      <a:lnTo>
                        <a:pt x="260" y="975"/>
                      </a:lnTo>
                      <a:lnTo>
                        <a:pt x="243" y="975"/>
                      </a:lnTo>
                      <a:lnTo>
                        <a:pt x="243" y="975"/>
                      </a:lnTo>
                      <a:lnTo>
                        <a:pt x="243" y="975"/>
                      </a:lnTo>
                      <a:close/>
                      <a:moveTo>
                        <a:pt x="222" y="975"/>
                      </a:moveTo>
                      <a:lnTo>
                        <a:pt x="217" y="975"/>
                      </a:lnTo>
                      <a:lnTo>
                        <a:pt x="222" y="964"/>
                      </a:lnTo>
                      <a:lnTo>
                        <a:pt x="227" y="975"/>
                      </a:lnTo>
                      <a:lnTo>
                        <a:pt x="222" y="975"/>
                      </a:lnTo>
                      <a:lnTo>
                        <a:pt x="222" y="975"/>
                      </a:lnTo>
                      <a:lnTo>
                        <a:pt x="222" y="975"/>
                      </a:lnTo>
                      <a:close/>
                      <a:moveTo>
                        <a:pt x="239" y="975"/>
                      </a:moveTo>
                      <a:lnTo>
                        <a:pt x="227" y="964"/>
                      </a:lnTo>
                      <a:lnTo>
                        <a:pt x="243" y="975"/>
                      </a:lnTo>
                      <a:lnTo>
                        <a:pt x="239" y="975"/>
                      </a:lnTo>
                      <a:lnTo>
                        <a:pt x="239" y="975"/>
                      </a:lnTo>
                      <a:lnTo>
                        <a:pt x="239" y="975"/>
                      </a:lnTo>
                      <a:close/>
                      <a:moveTo>
                        <a:pt x="206" y="992"/>
                      </a:moveTo>
                      <a:lnTo>
                        <a:pt x="201" y="992"/>
                      </a:lnTo>
                      <a:lnTo>
                        <a:pt x="217" y="980"/>
                      </a:lnTo>
                      <a:lnTo>
                        <a:pt x="206" y="992"/>
                      </a:lnTo>
                      <a:lnTo>
                        <a:pt x="206" y="992"/>
                      </a:lnTo>
                      <a:lnTo>
                        <a:pt x="206" y="992"/>
                      </a:lnTo>
                      <a:close/>
                      <a:moveTo>
                        <a:pt x="184" y="997"/>
                      </a:moveTo>
                      <a:lnTo>
                        <a:pt x="172" y="997"/>
                      </a:lnTo>
                      <a:lnTo>
                        <a:pt x="172" y="992"/>
                      </a:lnTo>
                      <a:lnTo>
                        <a:pt x="189" y="980"/>
                      </a:lnTo>
                      <a:lnTo>
                        <a:pt x="201" y="992"/>
                      </a:lnTo>
                      <a:lnTo>
                        <a:pt x="184" y="997"/>
                      </a:lnTo>
                      <a:lnTo>
                        <a:pt x="184" y="997"/>
                      </a:lnTo>
                      <a:lnTo>
                        <a:pt x="184" y="997"/>
                      </a:lnTo>
                      <a:close/>
                      <a:moveTo>
                        <a:pt x="135" y="1020"/>
                      </a:moveTo>
                      <a:lnTo>
                        <a:pt x="135" y="1013"/>
                      </a:lnTo>
                      <a:lnTo>
                        <a:pt x="146" y="1013"/>
                      </a:lnTo>
                      <a:lnTo>
                        <a:pt x="135" y="1020"/>
                      </a:lnTo>
                      <a:lnTo>
                        <a:pt x="135" y="1020"/>
                      </a:lnTo>
                      <a:lnTo>
                        <a:pt x="135" y="1020"/>
                      </a:lnTo>
                      <a:close/>
                      <a:moveTo>
                        <a:pt x="130" y="1032"/>
                      </a:moveTo>
                      <a:lnTo>
                        <a:pt x="130" y="1020"/>
                      </a:lnTo>
                      <a:lnTo>
                        <a:pt x="146" y="1032"/>
                      </a:lnTo>
                      <a:lnTo>
                        <a:pt x="130" y="1032"/>
                      </a:lnTo>
                      <a:lnTo>
                        <a:pt x="130" y="1032"/>
                      </a:lnTo>
                      <a:lnTo>
                        <a:pt x="130" y="1032"/>
                      </a:lnTo>
                      <a:close/>
                      <a:moveTo>
                        <a:pt x="97" y="1058"/>
                      </a:moveTo>
                      <a:lnTo>
                        <a:pt x="83" y="1053"/>
                      </a:lnTo>
                      <a:lnTo>
                        <a:pt x="109" y="1058"/>
                      </a:lnTo>
                      <a:lnTo>
                        <a:pt x="97" y="1058"/>
                      </a:lnTo>
                      <a:lnTo>
                        <a:pt x="97" y="1058"/>
                      </a:lnTo>
                      <a:lnTo>
                        <a:pt x="97" y="1058"/>
                      </a:lnTo>
                      <a:close/>
                      <a:moveTo>
                        <a:pt x="66" y="1075"/>
                      </a:moveTo>
                      <a:lnTo>
                        <a:pt x="66" y="1058"/>
                      </a:lnTo>
                      <a:lnTo>
                        <a:pt x="83" y="1070"/>
                      </a:lnTo>
                      <a:lnTo>
                        <a:pt x="66" y="1075"/>
                      </a:lnTo>
                      <a:lnTo>
                        <a:pt x="66" y="1075"/>
                      </a:lnTo>
                      <a:lnTo>
                        <a:pt x="66" y="1075"/>
                      </a:lnTo>
                      <a:close/>
                      <a:moveTo>
                        <a:pt x="54" y="1086"/>
                      </a:moveTo>
                      <a:lnTo>
                        <a:pt x="45" y="1086"/>
                      </a:lnTo>
                      <a:lnTo>
                        <a:pt x="45" y="1075"/>
                      </a:lnTo>
                      <a:lnTo>
                        <a:pt x="66" y="1075"/>
                      </a:lnTo>
                      <a:lnTo>
                        <a:pt x="54" y="1086"/>
                      </a:lnTo>
                      <a:lnTo>
                        <a:pt x="54" y="1086"/>
                      </a:lnTo>
                      <a:lnTo>
                        <a:pt x="54" y="1086"/>
                      </a:lnTo>
                      <a:close/>
                      <a:moveTo>
                        <a:pt x="12" y="1115"/>
                      </a:moveTo>
                      <a:lnTo>
                        <a:pt x="12" y="1103"/>
                      </a:lnTo>
                      <a:lnTo>
                        <a:pt x="12" y="1115"/>
                      </a:lnTo>
                      <a:lnTo>
                        <a:pt x="12" y="1115"/>
                      </a:lnTo>
                      <a:lnTo>
                        <a:pt x="12" y="1115"/>
                      </a:lnTo>
                      <a:close/>
                      <a:moveTo>
                        <a:pt x="7" y="1131"/>
                      </a:moveTo>
                      <a:lnTo>
                        <a:pt x="0" y="1124"/>
                      </a:lnTo>
                      <a:lnTo>
                        <a:pt x="7" y="1115"/>
                      </a:lnTo>
                      <a:lnTo>
                        <a:pt x="21" y="1124"/>
                      </a:lnTo>
                      <a:lnTo>
                        <a:pt x="7" y="1131"/>
                      </a:lnTo>
                      <a:lnTo>
                        <a:pt x="7" y="1131"/>
                      </a:lnTo>
                      <a:lnTo>
                        <a:pt x="7" y="1131"/>
                      </a:lnTo>
                      <a:close/>
                      <a:moveTo>
                        <a:pt x="0" y="1214"/>
                      </a:moveTo>
                      <a:lnTo>
                        <a:pt x="0" y="1197"/>
                      </a:lnTo>
                      <a:lnTo>
                        <a:pt x="7" y="1197"/>
                      </a:lnTo>
                      <a:lnTo>
                        <a:pt x="7" y="1202"/>
                      </a:lnTo>
                      <a:lnTo>
                        <a:pt x="0" y="1214"/>
                      </a:lnTo>
                      <a:lnTo>
                        <a:pt x="0" y="1214"/>
                      </a:lnTo>
                      <a:lnTo>
                        <a:pt x="0" y="1214"/>
                      </a:lnTo>
                      <a:close/>
                      <a:moveTo>
                        <a:pt x="45" y="1275"/>
                      </a:moveTo>
                      <a:lnTo>
                        <a:pt x="38" y="1268"/>
                      </a:lnTo>
                      <a:lnTo>
                        <a:pt x="59" y="1252"/>
                      </a:lnTo>
                      <a:lnTo>
                        <a:pt x="59" y="1275"/>
                      </a:lnTo>
                      <a:lnTo>
                        <a:pt x="45" y="1275"/>
                      </a:lnTo>
                      <a:lnTo>
                        <a:pt x="45" y="1275"/>
                      </a:lnTo>
                      <a:lnTo>
                        <a:pt x="45" y="1275"/>
                      </a:lnTo>
                      <a:close/>
                      <a:moveTo>
                        <a:pt x="21" y="1280"/>
                      </a:moveTo>
                      <a:lnTo>
                        <a:pt x="7" y="1268"/>
                      </a:lnTo>
                      <a:lnTo>
                        <a:pt x="21" y="1275"/>
                      </a:lnTo>
                      <a:lnTo>
                        <a:pt x="21" y="1280"/>
                      </a:lnTo>
                      <a:lnTo>
                        <a:pt x="21" y="1280"/>
                      </a:lnTo>
                      <a:lnTo>
                        <a:pt x="21" y="1280"/>
                      </a:lnTo>
                      <a:close/>
                      <a:moveTo>
                        <a:pt x="12" y="1308"/>
                      </a:moveTo>
                      <a:lnTo>
                        <a:pt x="7" y="1297"/>
                      </a:lnTo>
                      <a:lnTo>
                        <a:pt x="7" y="1275"/>
                      </a:lnTo>
                      <a:lnTo>
                        <a:pt x="12" y="1292"/>
                      </a:lnTo>
                      <a:lnTo>
                        <a:pt x="12" y="1308"/>
                      </a:lnTo>
                      <a:lnTo>
                        <a:pt x="12" y="1308"/>
                      </a:lnTo>
                      <a:lnTo>
                        <a:pt x="12" y="1308"/>
                      </a:lnTo>
                      <a:close/>
                      <a:moveTo>
                        <a:pt x="76" y="1313"/>
                      </a:moveTo>
                      <a:lnTo>
                        <a:pt x="76" y="1308"/>
                      </a:lnTo>
                      <a:lnTo>
                        <a:pt x="83" y="1308"/>
                      </a:lnTo>
                      <a:lnTo>
                        <a:pt x="76" y="1313"/>
                      </a:lnTo>
                      <a:lnTo>
                        <a:pt x="76" y="1313"/>
                      </a:lnTo>
                      <a:lnTo>
                        <a:pt x="76" y="1313"/>
                      </a:lnTo>
                      <a:close/>
                      <a:moveTo>
                        <a:pt x="28" y="1325"/>
                      </a:moveTo>
                      <a:lnTo>
                        <a:pt x="21" y="1325"/>
                      </a:lnTo>
                      <a:lnTo>
                        <a:pt x="21" y="1313"/>
                      </a:lnTo>
                      <a:lnTo>
                        <a:pt x="28" y="1325"/>
                      </a:lnTo>
                      <a:lnTo>
                        <a:pt x="28" y="1325"/>
                      </a:lnTo>
                      <a:lnTo>
                        <a:pt x="28" y="1325"/>
                      </a:lnTo>
                      <a:close/>
                      <a:moveTo>
                        <a:pt x="45" y="1337"/>
                      </a:moveTo>
                      <a:lnTo>
                        <a:pt x="38" y="1325"/>
                      </a:lnTo>
                      <a:lnTo>
                        <a:pt x="54" y="1313"/>
                      </a:lnTo>
                      <a:lnTo>
                        <a:pt x="45" y="1337"/>
                      </a:lnTo>
                      <a:lnTo>
                        <a:pt x="45" y="1337"/>
                      </a:lnTo>
                      <a:lnTo>
                        <a:pt x="45" y="1337"/>
                      </a:lnTo>
                      <a:close/>
                      <a:moveTo>
                        <a:pt x="38" y="1353"/>
                      </a:moveTo>
                      <a:lnTo>
                        <a:pt x="28" y="1346"/>
                      </a:lnTo>
                      <a:lnTo>
                        <a:pt x="28" y="1330"/>
                      </a:lnTo>
                      <a:lnTo>
                        <a:pt x="45" y="1337"/>
                      </a:lnTo>
                      <a:lnTo>
                        <a:pt x="38" y="1353"/>
                      </a:lnTo>
                      <a:lnTo>
                        <a:pt x="38" y="1353"/>
                      </a:lnTo>
                      <a:lnTo>
                        <a:pt x="38" y="1353"/>
                      </a:lnTo>
                      <a:close/>
                      <a:moveTo>
                        <a:pt x="21" y="1370"/>
                      </a:moveTo>
                      <a:lnTo>
                        <a:pt x="12" y="1346"/>
                      </a:lnTo>
                      <a:lnTo>
                        <a:pt x="21" y="1337"/>
                      </a:lnTo>
                      <a:lnTo>
                        <a:pt x="38" y="1353"/>
                      </a:lnTo>
                      <a:lnTo>
                        <a:pt x="21" y="1353"/>
                      </a:lnTo>
                      <a:lnTo>
                        <a:pt x="21" y="1370"/>
                      </a:lnTo>
                      <a:lnTo>
                        <a:pt x="21" y="1370"/>
                      </a:lnTo>
                      <a:lnTo>
                        <a:pt x="21" y="1370"/>
                      </a:lnTo>
                      <a:close/>
                      <a:moveTo>
                        <a:pt x="21" y="1420"/>
                      </a:moveTo>
                      <a:lnTo>
                        <a:pt x="21" y="1386"/>
                      </a:lnTo>
                      <a:lnTo>
                        <a:pt x="28" y="1408"/>
                      </a:lnTo>
                      <a:lnTo>
                        <a:pt x="21" y="1420"/>
                      </a:lnTo>
                      <a:lnTo>
                        <a:pt x="21" y="1420"/>
                      </a:lnTo>
                      <a:lnTo>
                        <a:pt x="21" y="1420"/>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0" name="Freeform 532">
                  <a:extLst>
                    <a:ext uri="{FF2B5EF4-FFF2-40B4-BE49-F238E27FC236}">
                      <a16:creationId xmlns:a16="http://schemas.microsoft.com/office/drawing/2014/main" id="{D05FE1D9-1E58-47C8-B554-26A48545F22E}"/>
                    </a:ext>
                  </a:extLst>
                </p:cNvPr>
                <p:cNvSpPr>
                  <a:spLocks/>
                </p:cNvSpPr>
                <p:nvPr/>
              </p:nvSpPr>
              <p:spPr bwMode="gray">
                <a:xfrm>
                  <a:off x="7134612" y="2252688"/>
                  <a:ext cx="288992" cy="229738"/>
                </a:xfrm>
                <a:custGeom>
                  <a:avLst/>
                  <a:gdLst>
                    <a:gd name="T0" fmla="*/ 87 w 702"/>
                    <a:gd name="T1" fmla="*/ 392 h 558"/>
                    <a:gd name="T2" fmla="*/ 54 w 702"/>
                    <a:gd name="T3" fmla="*/ 371 h 558"/>
                    <a:gd name="T4" fmla="*/ 50 w 702"/>
                    <a:gd name="T5" fmla="*/ 388 h 558"/>
                    <a:gd name="T6" fmla="*/ 54 w 702"/>
                    <a:gd name="T7" fmla="*/ 321 h 558"/>
                    <a:gd name="T8" fmla="*/ 40 w 702"/>
                    <a:gd name="T9" fmla="*/ 310 h 558"/>
                    <a:gd name="T10" fmla="*/ 40 w 702"/>
                    <a:gd name="T11" fmla="*/ 265 h 558"/>
                    <a:gd name="T12" fmla="*/ 24 w 702"/>
                    <a:gd name="T13" fmla="*/ 239 h 558"/>
                    <a:gd name="T14" fmla="*/ 0 w 702"/>
                    <a:gd name="T15" fmla="*/ 189 h 558"/>
                    <a:gd name="T16" fmla="*/ 16 w 702"/>
                    <a:gd name="T17" fmla="*/ 166 h 558"/>
                    <a:gd name="T18" fmla="*/ 7 w 702"/>
                    <a:gd name="T19" fmla="*/ 111 h 558"/>
                    <a:gd name="T20" fmla="*/ 33 w 702"/>
                    <a:gd name="T21" fmla="*/ 99 h 558"/>
                    <a:gd name="T22" fmla="*/ 0 w 702"/>
                    <a:gd name="T23" fmla="*/ 90 h 558"/>
                    <a:gd name="T24" fmla="*/ 163 w 702"/>
                    <a:gd name="T25" fmla="*/ 24 h 558"/>
                    <a:gd name="T26" fmla="*/ 293 w 702"/>
                    <a:gd name="T27" fmla="*/ 0 h 558"/>
                    <a:gd name="T28" fmla="*/ 326 w 702"/>
                    <a:gd name="T29" fmla="*/ 24 h 558"/>
                    <a:gd name="T30" fmla="*/ 309 w 702"/>
                    <a:gd name="T31" fmla="*/ 40 h 558"/>
                    <a:gd name="T32" fmla="*/ 380 w 702"/>
                    <a:gd name="T33" fmla="*/ 33 h 558"/>
                    <a:gd name="T34" fmla="*/ 359 w 702"/>
                    <a:gd name="T35" fmla="*/ 45 h 558"/>
                    <a:gd name="T36" fmla="*/ 397 w 702"/>
                    <a:gd name="T37" fmla="*/ 40 h 558"/>
                    <a:gd name="T38" fmla="*/ 609 w 702"/>
                    <a:gd name="T39" fmla="*/ 45 h 558"/>
                    <a:gd name="T40" fmla="*/ 647 w 702"/>
                    <a:gd name="T41" fmla="*/ 57 h 558"/>
                    <a:gd name="T42" fmla="*/ 664 w 702"/>
                    <a:gd name="T43" fmla="*/ 90 h 558"/>
                    <a:gd name="T44" fmla="*/ 690 w 702"/>
                    <a:gd name="T45" fmla="*/ 206 h 558"/>
                    <a:gd name="T46" fmla="*/ 635 w 702"/>
                    <a:gd name="T47" fmla="*/ 244 h 558"/>
                    <a:gd name="T48" fmla="*/ 664 w 702"/>
                    <a:gd name="T49" fmla="*/ 310 h 558"/>
                    <a:gd name="T50" fmla="*/ 673 w 702"/>
                    <a:gd name="T51" fmla="*/ 350 h 558"/>
                    <a:gd name="T52" fmla="*/ 690 w 702"/>
                    <a:gd name="T53" fmla="*/ 388 h 558"/>
                    <a:gd name="T54" fmla="*/ 690 w 702"/>
                    <a:gd name="T55" fmla="*/ 425 h 558"/>
                    <a:gd name="T56" fmla="*/ 647 w 702"/>
                    <a:gd name="T57" fmla="*/ 458 h 558"/>
                    <a:gd name="T58" fmla="*/ 609 w 702"/>
                    <a:gd name="T59" fmla="*/ 532 h 558"/>
                    <a:gd name="T60" fmla="*/ 614 w 702"/>
                    <a:gd name="T61" fmla="*/ 553 h 558"/>
                    <a:gd name="T62" fmla="*/ 593 w 702"/>
                    <a:gd name="T63" fmla="*/ 553 h 558"/>
                    <a:gd name="T64" fmla="*/ 555 w 702"/>
                    <a:gd name="T65" fmla="*/ 532 h 558"/>
                    <a:gd name="T66" fmla="*/ 489 w 702"/>
                    <a:gd name="T67" fmla="*/ 520 h 558"/>
                    <a:gd name="T68" fmla="*/ 468 w 702"/>
                    <a:gd name="T69" fmla="*/ 520 h 558"/>
                    <a:gd name="T70" fmla="*/ 418 w 702"/>
                    <a:gd name="T71" fmla="*/ 532 h 558"/>
                    <a:gd name="T72" fmla="*/ 397 w 702"/>
                    <a:gd name="T73" fmla="*/ 536 h 558"/>
                    <a:gd name="T74" fmla="*/ 392 w 702"/>
                    <a:gd name="T75" fmla="*/ 520 h 558"/>
                    <a:gd name="T76" fmla="*/ 347 w 702"/>
                    <a:gd name="T77" fmla="*/ 520 h 558"/>
                    <a:gd name="T78" fmla="*/ 331 w 702"/>
                    <a:gd name="T79" fmla="*/ 515 h 558"/>
                    <a:gd name="T80" fmla="*/ 326 w 702"/>
                    <a:gd name="T81" fmla="*/ 499 h 558"/>
                    <a:gd name="T82" fmla="*/ 309 w 702"/>
                    <a:gd name="T83" fmla="*/ 475 h 558"/>
                    <a:gd name="T84" fmla="*/ 267 w 702"/>
                    <a:gd name="T85" fmla="*/ 466 h 558"/>
                    <a:gd name="T86" fmla="*/ 239 w 702"/>
                    <a:gd name="T87" fmla="*/ 449 h 558"/>
                    <a:gd name="T88" fmla="*/ 250 w 702"/>
                    <a:gd name="T89" fmla="*/ 433 h 558"/>
                    <a:gd name="T90" fmla="*/ 196 w 702"/>
                    <a:gd name="T91" fmla="*/ 425 h 558"/>
                    <a:gd name="T92" fmla="*/ 170 w 702"/>
                    <a:gd name="T93" fmla="*/ 458 h 558"/>
                    <a:gd name="T94" fmla="*/ 158 w 702"/>
                    <a:gd name="T95" fmla="*/ 409 h 558"/>
                    <a:gd name="T96" fmla="*/ 142 w 702"/>
                    <a:gd name="T97" fmla="*/ 40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2" h="558">
                      <a:moveTo>
                        <a:pt x="142" y="404"/>
                      </a:moveTo>
                      <a:lnTo>
                        <a:pt x="87" y="392"/>
                      </a:lnTo>
                      <a:lnTo>
                        <a:pt x="71" y="371"/>
                      </a:lnTo>
                      <a:lnTo>
                        <a:pt x="54" y="371"/>
                      </a:lnTo>
                      <a:lnTo>
                        <a:pt x="54" y="388"/>
                      </a:lnTo>
                      <a:lnTo>
                        <a:pt x="50" y="388"/>
                      </a:lnTo>
                      <a:lnTo>
                        <a:pt x="61" y="350"/>
                      </a:lnTo>
                      <a:lnTo>
                        <a:pt x="54" y="321"/>
                      </a:lnTo>
                      <a:lnTo>
                        <a:pt x="40" y="321"/>
                      </a:lnTo>
                      <a:lnTo>
                        <a:pt x="40" y="310"/>
                      </a:lnTo>
                      <a:lnTo>
                        <a:pt x="33" y="293"/>
                      </a:lnTo>
                      <a:lnTo>
                        <a:pt x="40" y="265"/>
                      </a:lnTo>
                      <a:lnTo>
                        <a:pt x="40" y="255"/>
                      </a:lnTo>
                      <a:lnTo>
                        <a:pt x="24" y="239"/>
                      </a:lnTo>
                      <a:lnTo>
                        <a:pt x="33" y="222"/>
                      </a:lnTo>
                      <a:lnTo>
                        <a:pt x="0" y="189"/>
                      </a:lnTo>
                      <a:lnTo>
                        <a:pt x="0" y="182"/>
                      </a:lnTo>
                      <a:lnTo>
                        <a:pt x="16" y="166"/>
                      </a:lnTo>
                      <a:lnTo>
                        <a:pt x="16" y="144"/>
                      </a:lnTo>
                      <a:lnTo>
                        <a:pt x="7" y="111"/>
                      </a:lnTo>
                      <a:lnTo>
                        <a:pt x="24" y="111"/>
                      </a:lnTo>
                      <a:lnTo>
                        <a:pt x="33" y="99"/>
                      </a:lnTo>
                      <a:lnTo>
                        <a:pt x="0" y="95"/>
                      </a:lnTo>
                      <a:lnTo>
                        <a:pt x="0" y="90"/>
                      </a:lnTo>
                      <a:lnTo>
                        <a:pt x="142" y="57"/>
                      </a:lnTo>
                      <a:lnTo>
                        <a:pt x="163" y="24"/>
                      </a:lnTo>
                      <a:lnTo>
                        <a:pt x="267" y="0"/>
                      </a:lnTo>
                      <a:lnTo>
                        <a:pt x="293" y="0"/>
                      </a:lnTo>
                      <a:lnTo>
                        <a:pt x="321" y="17"/>
                      </a:lnTo>
                      <a:lnTo>
                        <a:pt x="326" y="24"/>
                      </a:lnTo>
                      <a:lnTo>
                        <a:pt x="293" y="7"/>
                      </a:lnTo>
                      <a:lnTo>
                        <a:pt x="309" y="40"/>
                      </a:lnTo>
                      <a:lnTo>
                        <a:pt x="326" y="45"/>
                      </a:lnTo>
                      <a:lnTo>
                        <a:pt x="380" y="33"/>
                      </a:lnTo>
                      <a:lnTo>
                        <a:pt x="392" y="40"/>
                      </a:lnTo>
                      <a:lnTo>
                        <a:pt x="359" y="45"/>
                      </a:lnTo>
                      <a:lnTo>
                        <a:pt x="364" y="57"/>
                      </a:lnTo>
                      <a:lnTo>
                        <a:pt x="397" y="40"/>
                      </a:lnTo>
                      <a:lnTo>
                        <a:pt x="510" y="45"/>
                      </a:lnTo>
                      <a:lnTo>
                        <a:pt x="609" y="45"/>
                      </a:lnTo>
                      <a:lnTo>
                        <a:pt x="619" y="40"/>
                      </a:lnTo>
                      <a:lnTo>
                        <a:pt x="647" y="57"/>
                      </a:lnTo>
                      <a:lnTo>
                        <a:pt x="652" y="73"/>
                      </a:lnTo>
                      <a:lnTo>
                        <a:pt x="664" y="90"/>
                      </a:lnTo>
                      <a:lnTo>
                        <a:pt x="690" y="173"/>
                      </a:lnTo>
                      <a:lnTo>
                        <a:pt x="690" y="206"/>
                      </a:lnTo>
                      <a:lnTo>
                        <a:pt x="652" y="227"/>
                      </a:lnTo>
                      <a:lnTo>
                        <a:pt x="635" y="244"/>
                      </a:lnTo>
                      <a:lnTo>
                        <a:pt x="668" y="265"/>
                      </a:lnTo>
                      <a:lnTo>
                        <a:pt x="664" y="310"/>
                      </a:lnTo>
                      <a:lnTo>
                        <a:pt x="668" y="321"/>
                      </a:lnTo>
                      <a:lnTo>
                        <a:pt x="673" y="350"/>
                      </a:lnTo>
                      <a:lnTo>
                        <a:pt x="702" y="388"/>
                      </a:lnTo>
                      <a:lnTo>
                        <a:pt x="690" y="388"/>
                      </a:lnTo>
                      <a:lnTo>
                        <a:pt x="702" y="409"/>
                      </a:lnTo>
                      <a:lnTo>
                        <a:pt x="690" y="425"/>
                      </a:lnTo>
                      <a:lnTo>
                        <a:pt x="673" y="425"/>
                      </a:lnTo>
                      <a:lnTo>
                        <a:pt x="647" y="458"/>
                      </a:lnTo>
                      <a:lnTo>
                        <a:pt x="598" y="503"/>
                      </a:lnTo>
                      <a:lnTo>
                        <a:pt x="609" y="532"/>
                      </a:lnTo>
                      <a:lnTo>
                        <a:pt x="598" y="541"/>
                      </a:lnTo>
                      <a:lnTo>
                        <a:pt x="614" y="553"/>
                      </a:lnTo>
                      <a:lnTo>
                        <a:pt x="614" y="558"/>
                      </a:lnTo>
                      <a:lnTo>
                        <a:pt x="593" y="553"/>
                      </a:lnTo>
                      <a:lnTo>
                        <a:pt x="555" y="536"/>
                      </a:lnTo>
                      <a:lnTo>
                        <a:pt x="555" y="532"/>
                      </a:lnTo>
                      <a:lnTo>
                        <a:pt x="527" y="520"/>
                      </a:lnTo>
                      <a:lnTo>
                        <a:pt x="489" y="520"/>
                      </a:lnTo>
                      <a:lnTo>
                        <a:pt x="472" y="532"/>
                      </a:lnTo>
                      <a:lnTo>
                        <a:pt x="468" y="520"/>
                      </a:lnTo>
                      <a:lnTo>
                        <a:pt x="435" y="520"/>
                      </a:lnTo>
                      <a:lnTo>
                        <a:pt x="418" y="532"/>
                      </a:lnTo>
                      <a:lnTo>
                        <a:pt x="413" y="541"/>
                      </a:lnTo>
                      <a:lnTo>
                        <a:pt x="397" y="536"/>
                      </a:lnTo>
                      <a:lnTo>
                        <a:pt x="397" y="520"/>
                      </a:lnTo>
                      <a:lnTo>
                        <a:pt x="392" y="520"/>
                      </a:lnTo>
                      <a:lnTo>
                        <a:pt x="376" y="503"/>
                      </a:lnTo>
                      <a:lnTo>
                        <a:pt x="347" y="520"/>
                      </a:lnTo>
                      <a:lnTo>
                        <a:pt x="342" y="520"/>
                      </a:lnTo>
                      <a:lnTo>
                        <a:pt x="331" y="515"/>
                      </a:lnTo>
                      <a:lnTo>
                        <a:pt x="326" y="515"/>
                      </a:lnTo>
                      <a:lnTo>
                        <a:pt x="326" y="499"/>
                      </a:lnTo>
                      <a:lnTo>
                        <a:pt x="309" y="487"/>
                      </a:lnTo>
                      <a:lnTo>
                        <a:pt x="309" y="475"/>
                      </a:lnTo>
                      <a:lnTo>
                        <a:pt x="272" y="458"/>
                      </a:lnTo>
                      <a:lnTo>
                        <a:pt x="267" y="466"/>
                      </a:lnTo>
                      <a:lnTo>
                        <a:pt x="250" y="458"/>
                      </a:lnTo>
                      <a:lnTo>
                        <a:pt x="239" y="449"/>
                      </a:lnTo>
                      <a:lnTo>
                        <a:pt x="250" y="442"/>
                      </a:lnTo>
                      <a:lnTo>
                        <a:pt x="250" y="433"/>
                      </a:lnTo>
                      <a:lnTo>
                        <a:pt x="224" y="442"/>
                      </a:lnTo>
                      <a:lnTo>
                        <a:pt x="196" y="425"/>
                      </a:lnTo>
                      <a:lnTo>
                        <a:pt x="201" y="442"/>
                      </a:lnTo>
                      <a:lnTo>
                        <a:pt x="170" y="458"/>
                      </a:lnTo>
                      <a:lnTo>
                        <a:pt x="142" y="425"/>
                      </a:lnTo>
                      <a:lnTo>
                        <a:pt x="158" y="409"/>
                      </a:lnTo>
                      <a:lnTo>
                        <a:pt x="142" y="404"/>
                      </a:lnTo>
                      <a:lnTo>
                        <a:pt x="142" y="404"/>
                      </a:lnTo>
                      <a:lnTo>
                        <a:pt x="142" y="404"/>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1" name="Freeform 540">
                  <a:extLst>
                    <a:ext uri="{FF2B5EF4-FFF2-40B4-BE49-F238E27FC236}">
                      <a16:creationId xmlns:a16="http://schemas.microsoft.com/office/drawing/2014/main" id="{AAF7777E-7748-461F-93E3-D0B06F444B3A}"/>
                    </a:ext>
                  </a:extLst>
                </p:cNvPr>
                <p:cNvSpPr>
                  <a:spLocks/>
                </p:cNvSpPr>
                <p:nvPr/>
              </p:nvSpPr>
              <p:spPr bwMode="gray">
                <a:xfrm>
                  <a:off x="7311631" y="2510422"/>
                  <a:ext cx="272114" cy="172098"/>
                </a:xfrm>
                <a:custGeom>
                  <a:avLst/>
                  <a:gdLst>
                    <a:gd name="T0" fmla="*/ 151 w 661"/>
                    <a:gd name="T1" fmla="*/ 340 h 418"/>
                    <a:gd name="T2" fmla="*/ 151 w 661"/>
                    <a:gd name="T3" fmla="*/ 324 h 418"/>
                    <a:gd name="T4" fmla="*/ 130 w 661"/>
                    <a:gd name="T5" fmla="*/ 340 h 418"/>
                    <a:gd name="T6" fmla="*/ 97 w 661"/>
                    <a:gd name="T7" fmla="*/ 324 h 418"/>
                    <a:gd name="T8" fmla="*/ 80 w 661"/>
                    <a:gd name="T9" fmla="*/ 317 h 418"/>
                    <a:gd name="T10" fmla="*/ 92 w 661"/>
                    <a:gd name="T11" fmla="*/ 307 h 418"/>
                    <a:gd name="T12" fmla="*/ 92 w 661"/>
                    <a:gd name="T13" fmla="*/ 284 h 418"/>
                    <a:gd name="T14" fmla="*/ 38 w 661"/>
                    <a:gd name="T15" fmla="*/ 229 h 418"/>
                    <a:gd name="T16" fmla="*/ 0 w 661"/>
                    <a:gd name="T17" fmla="*/ 196 h 418"/>
                    <a:gd name="T18" fmla="*/ 28 w 661"/>
                    <a:gd name="T19" fmla="*/ 196 h 418"/>
                    <a:gd name="T20" fmla="*/ 71 w 661"/>
                    <a:gd name="T21" fmla="*/ 184 h 418"/>
                    <a:gd name="T22" fmla="*/ 92 w 661"/>
                    <a:gd name="T23" fmla="*/ 140 h 418"/>
                    <a:gd name="T24" fmla="*/ 123 w 661"/>
                    <a:gd name="T25" fmla="*/ 85 h 418"/>
                    <a:gd name="T26" fmla="*/ 146 w 661"/>
                    <a:gd name="T27" fmla="*/ 57 h 418"/>
                    <a:gd name="T28" fmla="*/ 182 w 661"/>
                    <a:gd name="T29" fmla="*/ 29 h 418"/>
                    <a:gd name="T30" fmla="*/ 220 w 661"/>
                    <a:gd name="T31" fmla="*/ 29 h 418"/>
                    <a:gd name="T32" fmla="*/ 295 w 661"/>
                    <a:gd name="T33" fmla="*/ 29 h 418"/>
                    <a:gd name="T34" fmla="*/ 349 w 661"/>
                    <a:gd name="T35" fmla="*/ 29 h 418"/>
                    <a:gd name="T36" fmla="*/ 420 w 661"/>
                    <a:gd name="T37" fmla="*/ 7 h 418"/>
                    <a:gd name="T38" fmla="*/ 468 w 661"/>
                    <a:gd name="T39" fmla="*/ 19 h 418"/>
                    <a:gd name="T40" fmla="*/ 527 w 661"/>
                    <a:gd name="T41" fmla="*/ 102 h 418"/>
                    <a:gd name="T42" fmla="*/ 560 w 661"/>
                    <a:gd name="T43" fmla="*/ 168 h 418"/>
                    <a:gd name="T44" fmla="*/ 553 w 661"/>
                    <a:gd name="T45" fmla="*/ 239 h 418"/>
                    <a:gd name="T46" fmla="*/ 553 w 661"/>
                    <a:gd name="T47" fmla="*/ 262 h 418"/>
                    <a:gd name="T48" fmla="*/ 590 w 661"/>
                    <a:gd name="T49" fmla="*/ 279 h 418"/>
                    <a:gd name="T50" fmla="*/ 649 w 661"/>
                    <a:gd name="T51" fmla="*/ 267 h 418"/>
                    <a:gd name="T52" fmla="*/ 649 w 661"/>
                    <a:gd name="T53" fmla="*/ 317 h 418"/>
                    <a:gd name="T54" fmla="*/ 612 w 661"/>
                    <a:gd name="T55" fmla="*/ 307 h 418"/>
                    <a:gd name="T56" fmla="*/ 612 w 661"/>
                    <a:gd name="T57" fmla="*/ 300 h 418"/>
                    <a:gd name="T58" fmla="*/ 607 w 661"/>
                    <a:gd name="T59" fmla="*/ 317 h 418"/>
                    <a:gd name="T60" fmla="*/ 612 w 661"/>
                    <a:gd name="T61" fmla="*/ 324 h 418"/>
                    <a:gd name="T62" fmla="*/ 590 w 661"/>
                    <a:gd name="T63" fmla="*/ 340 h 418"/>
                    <a:gd name="T64" fmla="*/ 581 w 661"/>
                    <a:gd name="T65" fmla="*/ 357 h 418"/>
                    <a:gd name="T66" fmla="*/ 581 w 661"/>
                    <a:gd name="T67" fmla="*/ 411 h 418"/>
                    <a:gd name="T68" fmla="*/ 538 w 661"/>
                    <a:gd name="T69" fmla="*/ 390 h 418"/>
                    <a:gd name="T70" fmla="*/ 510 w 661"/>
                    <a:gd name="T71" fmla="*/ 378 h 418"/>
                    <a:gd name="T72" fmla="*/ 489 w 661"/>
                    <a:gd name="T73" fmla="*/ 373 h 418"/>
                    <a:gd name="T74" fmla="*/ 413 w 661"/>
                    <a:gd name="T75" fmla="*/ 390 h 418"/>
                    <a:gd name="T76" fmla="*/ 361 w 661"/>
                    <a:gd name="T77" fmla="*/ 418 h 418"/>
                    <a:gd name="T78" fmla="*/ 274 w 661"/>
                    <a:gd name="T79" fmla="*/ 411 h 418"/>
                    <a:gd name="T80" fmla="*/ 182 w 661"/>
                    <a:gd name="T81" fmla="*/ 406 h 418"/>
                    <a:gd name="T82" fmla="*/ 189 w 661"/>
                    <a:gd name="T83" fmla="*/ 378 h 418"/>
                    <a:gd name="T84" fmla="*/ 168 w 661"/>
                    <a:gd name="T85" fmla="*/ 36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1" h="418">
                      <a:moveTo>
                        <a:pt x="168" y="362"/>
                      </a:moveTo>
                      <a:lnTo>
                        <a:pt x="151" y="340"/>
                      </a:lnTo>
                      <a:lnTo>
                        <a:pt x="177" y="340"/>
                      </a:lnTo>
                      <a:lnTo>
                        <a:pt x="151" y="324"/>
                      </a:lnTo>
                      <a:lnTo>
                        <a:pt x="146" y="324"/>
                      </a:lnTo>
                      <a:lnTo>
                        <a:pt x="130" y="340"/>
                      </a:lnTo>
                      <a:lnTo>
                        <a:pt x="123" y="333"/>
                      </a:lnTo>
                      <a:lnTo>
                        <a:pt x="97" y="324"/>
                      </a:lnTo>
                      <a:lnTo>
                        <a:pt x="92" y="317"/>
                      </a:lnTo>
                      <a:lnTo>
                        <a:pt x="80" y="317"/>
                      </a:lnTo>
                      <a:lnTo>
                        <a:pt x="75" y="307"/>
                      </a:lnTo>
                      <a:lnTo>
                        <a:pt x="92" y="307"/>
                      </a:lnTo>
                      <a:lnTo>
                        <a:pt x="75" y="300"/>
                      </a:lnTo>
                      <a:lnTo>
                        <a:pt x="92" y="284"/>
                      </a:lnTo>
                      <a:lnTo>
                        <a:pt x="38" y="251"/>
                      </a:lnTo>
                      <a:lnTo>
                        <a:pt x="38" y="229"/>
                      </a:lnTo>
                      <a:lnTo>
                        <a:pt x="28" y="229"/>
                      </a:lnTo>
                      <a:lnTo>
                        <a:pt x="0" y="196"/>
                      </a:lnTo>
                      <a:lnTo>
                        <a:pt x="16" y="189"/>
                      </a:lnTo>
                      <a:lnTo>
                        <a:pt x="28" y="196"/>
                      </a:lnTo>
                      <a:lnTo>
                        <a:pt x="38" y="184"/>
                      </a:lnTo>
                      <a:lnTo>
                        <a:pt x="71" y="184"/>
                      </a:lnTo>
                      <a:lnTo>
                        <a:pt x="75" y="151"/>
                      </a:lnTo>
                      <a:lnTo>
                        <a:pt x="92" y="140"/>
                      </a:lnTo>
                      <a:lnTo>
                        <a:pt x="97" y="118"/>
                      </a:lnTo>
                      <a:lnTo>
                        <a:pt x="123" y="85"/>
                      </a:lnTo>
                      <a:lnTo>
                        <a:pt x="123" y="73"/>
                      </a:lnTo>
                      <a:lnTo>
                        <a:pt x="146" y="57"/>
                      </a:lnTo>
                      <a:lnTo>
                        <a:pt x="168" y="45"/>
                      </a:lnTo>
                      <a:lnTo>
                        <a:pt x="182" y="29"/>
                      </a:lnTo>
                      <a:lnTo>
                        <a:pt x="205" y="19"/>
                      </a:lnTo>
                      <a:lnTo>
                        <a:pt x="220" y="29"/>
                      </a:lnTo>
                      <a:lnTo>
                        <a:pt x="274" y="29"/>
                      </a:lnTo>
                      <a:lnTo>
                        <a:pt x="295" y="29"/>
                      </a:lnTo>
                      <a:lnTo>
                        <a:pt x="328" y="57"/>
                      </a:lnTo>
                      <a:lnTo>
                        <a:pt x="349" y="29"/>
                      </a:lnTo>
                      <a:lnTo>
                        <a:pt x="413" y="29"/>
                      </a:lnTo>
                      <a:lnTo>
                        <a:pt x="420" y="7"/>
                      </a:lnTo>
                      <a:lnTo>
                        <a:pt x="446" y="0"/>
                      </a:lnTo>
                      <a:lnTo>
                        <a:pt x="468" y="19"/>
                      </a:lnTo>
                      <a:lnTo>
                        <a:pt x="489" y="57"/>
                      </a:lnTo>
                      <a:lnTo>
                        <a:pt x="527" y="102"/>
                      </a:lnTo>
                      <a:lnTo>
                        <a:pt x="543" y="118"/>
                      </a:lnTo>
                      <a:lnTo>
                        <a:pt x="560" y="168"/>
                      </a:lnTo>
                      <a:lnTo>
                        <a:pt x="543" y="196"/>
                      </a:lnTo>
                      <a:lnTo>
                        <a:pt x="553" y="239"/>
                      </a:lnTo>
                      <a:lnTo>
                        <a:pt x="543" y="246"/>
                      </a:lnTo>
                      <a:lnTo>
                        <a:pt x="553" y="262"/>
                      </a:lnTo>
                      <a:lnTo>
                        <a:pt x="564" y="267"/>
                      </a:lnTo>
                      <a:lnTo>
                        <a:pt x="590" y="279"/>
                      </a:lnTo>
                      <a:lnTo>
                        <a:pt x="635" y="262"/>
                      </a:lnTo>
                      <a:lnTo>
                        <a:pt x="649" y="267"/>
                      </a:lnTo>
                      <a:lnTo>
                        <a:pt x="661" y="279"/>
                      </a:lnTo>
                      <a:lnTo>
                        <a:pt x="649" y="317"/>
                      </a:lnTo>
                      <a:lnTo>
                        <a:pt x="612" y="317"/>
                      </a:lnTo>
                      <a:lnTo>
                        <a:pt x="612" y="307"/>
                      </a:lnTo>
                      <a:lnTo>
                        <a:pt x="619" y="300"/>
                      </a:lnTo>
                      <a:lnTo>
                        <a:pt x="612" y="300"/>
                      </a:lnTo>
                      <a:lnTo>
                        <a:pt x="598" y="300"/>
                      </a:lnTo>
                      <a:lnTo>
                        <a:pt x="607" y="317"/>
                      </a:lnTo>
                      <a:lnTo>
                        <a:pt x="598" y="333"/>
                      </a:lnTo>
                      <a:lnTo>
                        <a:pt x="612" y="324"/>
                      </a:lnTo>
                      <a:lnTo>
                        <a:pt x="590" y="333"/>
                      </a:lnTo>
                      <a:lnTo>
                        <a:pt x="590" y="340"/>
                      </a:lnTo>
                      <a:lnTo>
                        <a:pt x="607" y="333"/>
                      </a:lnTo>
                      <a:lnTo>
                        <a:pt x="581" y="357"/>
                      </a:lnTo>
                      <a:lnTo>
                        <a:pt x="590" y="390"/>
                      </a:lnTo>
                      <a:lnTo>
                        <a:pt x="581" y="411"/>
                      </a:lnTo>
                      <a:lnTo>
                        <a:pt x="543" y="406"/>
                      </a:lnTo>
                      <a:lnTo>
                        <a:pt x="538" y="390"/>
                      </a:lnTo>
                      <a:lnTo>
                        <a:pt x="522" y="390"/>
                      </a:lnTo>
                      <a:lnTo>
                        <a:pt x="510" y="378"/>
                      </a:lnTo>
                      <a:lnTo>
                        <a:pt x="501" y="390"/>
                      </a:lnTo>
                      <a:lnTo>
                        <a:pt x="489" y="373"/>
                      </a:lnTo>
                      <a:lnTo>
                        <a:pt x="472" y="373"/>
                      </a:lnTo>
                      <a:lnTo>
                        <a:pt x="413" y="390"/>
                      </a:lnTo>
                      <a:lnTo>
                        <a:pt x="383" y="411"/>
                      </a:lnTo>
                      <a:lnTo>
                        <a:pt x="361" y="418"/>
                      </a:lnTo>
                      <a:lnTo>
                        <a:pt x="295" y="406"/>
                      </a:lnTo>
                      <a:lnTo>
                        <a:pt x="274" y="411"/>
                      </a:lnTo>
                      <a:lnTo>
                        <a:pt x="220" y="395"/>
                      </a:lnTo>
                      <a:lnTo>
                        <a:pt x="182" y="406"/>
                      </a:lnTo>
                      <a:lnTo>
                        <a:pt x="182" y="390"/>
                      </a:lnTo>
                      <a:lnTo>
                        <a:pt x="189" y="378"/>
                      </a:lnTo>
                      <a:lnTo>
                        <a:pt x="168" y="362"/>
                      </a:lnTo>
                      <a:lnTo>
                        <a:pt x="168" y="362"/>
                      </a:lnTo>
                      <a:lnTo>
                        <a:pt x="168" y="362"/>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2" name="Freeform 543">
                  <a:extLst>
                    <a:ext uri="{FF2B5EF4-FFF2-40B4-BE49-F238E27FC236}">
                      <a16:creationId xmlns:a16="http://schemas.microsoft.com/office/drawing/2014/main" id="{7C245FA2-CCBA-453A-A669-2769B42AC000}"/>
                    </a:ext>
                  </a:extLst>
                </p:cNvPr>
                <p:cNvSpPr>
                  <a:spLocks noEditPoints="1"/>
                </p:cNvSpPr>
                <p:nvPr/>
              </p:nvSpPr>
              <p:spPr bwMode="gray">
                <a:xfrm>
                  <a:off x="1738441" y="824034"/>
                  <a:ext cx="10478239" cy="1947006"/>
                </a:xfrm>
                <a:custGeom>
                  <a:avLst/>
                  <a:gdLst>
                    <a:gd name="T0" fmla="*/ 24366 w 25453"/>
                    <a:gd name="T1" fmla="*/ 2721 h 4729"/>
                    <a:gd name="T2" fmla="*/ 23563 w 25453"/>
                    <a:gd name="T3" fmla="*/ 3031 h 4729"/>
                    <a:gd name="T4" fmla="*/ 23076 w 25453"/>
                    <a:gd name="T5" fmla="*/ 3692 h 4729"/>
                    <a:gd name="T6" fmla="*/ 23331 w 25453"/>
                    <a:gd name="T7" fmla="*/ 2809 h 4729"/>
                    <a:gd name="T8" fmla="*/ 22391 w 25453"/>
                    <a:gd name="T9" fmla="*/ 2993 h 4729"/>
                    <a:gd name="T10" fmla="*/ 22018 w 25453"/>
                    <a:gd name="T11" fmla="*/ 3643 h 4729"/>
                    <a:gd name="T12" fmla="*/ 21312 w 25453"/>
                    <a:gd name="T13" fmla="*/ 4578 h 4729"/>
                    <a:gd name="T14" fmla="*/ 20955 w 25453"/>
                    <a:gd name="T15" fmla="*/ 3676 h 4729"/>
                    <a:gd name="T16" fmla="*/ 19167 w 25453"/>
                    <a:gd name="T17" fmla="*/ 3768 h 4729"/>
                    <a:gd name="T18" fmla="*/ 18078 w 25453"/>
                    <a:gd name="T19" fmla="*/ 3936 h 4729"/>
                    <a:gd name="T20" fmla="*/ 17117 w 25453"/>
                    <a:gd name="T21" fmla="*/ 3487 h 4729"/>
                    <a:gd name="T22" fmla="*/ 16424 w 25453"/>
                    <a:gd name="T23" fmla="*/ 3803 h 4729"/>
                    <a:gd name="T24" fmla="*/ 15550 w 25453"/>
                    <a:gd name="T25" fmla="*/ 3931 h 4729"/>
                    <a:gd name="T26" fmla="*/ 15425 w 25453"/>
                    <a:gd name="T27" fmla="*/ 4694 h 4729"/>
                    <a:gd name="T28" fmla="*/ 14821 w 25453"/>
                    <a:gd name="T29" fmla="*/ 4191 h 4729"/>
                    <a:gd name="T30" fmla="*/ 14388 w 25453"/>
                    <a:gd name="T31" fmla="*/ 3581 h 4729"/>
                    <a:gd name="T32" fmla="*/ 14169 w 25453"/>
                    <a:gd name="T33" fmla="*/ 2792 h 4729"/>
                    <a:gd name="T34" fmla="*/ 14471 w 25453"/>
                    <a:gd name="T35" fmla="*/ 1862 h 4729"/>
                    <a:gd name="T36" fmla="*/ 14660 w 25453"/>
                    <a:gd name="T37" fmla="*/ 2488 h 4729"/>
                    <a:gd name="T38" fmla="*/ 15395 w 25453"/>
                    <a:gd name="T39" fmla="*/ 2018 h 4729"/>
                    <a:gd name="T40" fmla="*/ 16278 w 25453"/>
                    <a:gd name="T41" fmla="*/ 1918 h 4729"/>
                    <a:gd name="T42" fmla="*/ 16991 w 25453"/>
                    <a:gd name="T43" fmla="*/ 1368 h 4729"/>
                    <a:gd name="T44" fmla="*/ 17298 w 25453"/>
                    <a:gd name="T45" fmla="*/ 2105 h 4729"/>
                    <a:gd name="T46" fmla="*/ 17407 w 25453"/>
                    <a:gd name="T47" fmla="*/ 1545 h 4729"/>
                    <a:gd name="T48" fmla="*/ 17969 w 25453"/>
                    <a:gd name="T49" fmla="*/ 1718 h 4729"/>
                    <a:gd name="T50" fmla="*/ 18272 w 25453"/>
                    <a:gd name="T51" fmla="*/ 1075 h 4729"/>
                    <a:gd name="T52" fmla="*/ 19103 w 25453"/>
                    <a:gd name="T53" fmla="*/ 891 h 4729"/>
                    <a:gd name="T54" fmla="*/ 20065 w 25453"/>
                    <a:gd name="T55" fmla="*/ 981 h 4729"/>
                    <a:gd name="T56" fmla="*/ 20074 w 25453"/>
                    <a:gd name="T57" fmla="*/ 1290 h 4729"/>
                    <a:gd name="T58" fmla="*/ 21782 w 25453"/>
                    <a:gd name="T59" fmla="*/ 1573 h 4729"/>
                    <a:gd name="T60" fmla="*/ 22644 w 25453"/>
                    <a:gd name="T61" fmla="*/ 1552 h 4729"/>
                    <a:gd name="T62" fmla="*/ 24227 w 25453"/>
                    <a:gd name="T63" fmla="*/ 1767 h 4729"/>
                    <a:gd name="T64" fmla="*/ 25053 w 25453"/>
                    <a:gd name="T65" fmla="*/ 2046 h 4729"/>
                    <a:gd name="T66" fmla="*/ 25205 w 25453"/>
                    <a:gd name="T67" fmla="*/ 2400 h 4729"/>
                    <a:gd name="T68" fmla="*/ 16188 w 25453"/>
                    <a:gd name="T69" fmla="*/ 5 h 4729"/>
                    <a:gd name="T70" fmla="*/ 18557 w 25453"/>
                    <a:gd name="T71" fmla="*/ 236 h 4729"/>
                    <a:gd name="T72" fmla="*/ 16198 w 25453"/>
                    <a:gd name="T73" fmla="*/ 116 h 4729"/>
                    <a:gd name="T74" fmla="*/ 15593 w 25453"/>
                    <a:gd name="T75" fmla="*/ 203 h 4729"/>
                    <a:gd name="T76" fmla="*/ 15345 w 25453"/>
                    <a:gd name="T77" fmla="*/ 236 h 4729"/>
                    <a:gd name="T78" fmla="*/ 15933 w 25453"/>
                    <a:gd name="T79" fmla="*/ 236 h 4729"/>
                    <a:gd name="T80" fmla="*/ 18650 w 25453"/>
                    <a:gd name="T81" fmla="*/ 404 h 4729"/>
                    <a:gd name="T82" fmla="*/ 16252 w 25453"/>
                    <a:gd name="T83" fmla="*/ 322 h 4729"/>
                    <a:gd name="T84" fmla="*/ 19221 w 25453"/>
                    <a:gd name="T85" fmla="*/ 598 h 4729"/>
                    <a:gd name="T86" fmla="*/ 23093 w 25453"/>
                    <a:gd name="T87" fmla="*/ 758 h 4729"/>
                    <a:gd name="T88" fmla="*/ 16727 w 25453"/>
                    <a:gd name="T89" fmla="*/ 832 h 4729"/>
                    <a:gd name="T90" fmla="*/ 18978 w 25453"/>
                    <a:gd name="T91" fmla="*/ 815 h 4729"/>
                    <a:gd name="T92" fmla="*/ 18898 w 25453"/>
                    <a:gd name="T93" fmla="*/ 886 h 4729"/>
                    <a:gd name="T94" fmla="*/ 22046 w 25453"/>
                    <a:gd name="T95" fmla="*/ 931 h 4729"/>
                    <a:gd name="T96" fmla="*/ 16257 w 25453"/>
                    <a:gd name="T97" fmla="*/ 947 h 4729"/>
                    <a:gd name="T98" fmla="*/ 17700 w 25453"/>
                    <a:gd name="T99" fmla="*/ 1129 h 4729"/>
                    <a:gd name="T100" fmla="*/ 18125 w 25453"/>
                    <a:gd name="T101" fmla="*/ 1195 h 4729"/>
                    <a:gd name="T102" fmla="*/ 20700 w 25453"/>
                    <a:gd name="T103" fmla="*/ 1363 h 4729"/>
                    <a:gd name="T104" fmla="*/ 17133 w 25453"/>
                    <a:gd name="T105" fmla="*/ 1314 h 4729"/>
                    <a:gd name="T106" fmla="*/ 15858 w 25453"/>
                    <a:gd name="T107" fmla="*/ 1363 h 4729"/>
                    <a:gd name="T108" fmla="*/ 17693 w 25453"/>
                    <a:gd name="T109" fmla="*/ 1392 h 4729"/>
                    <a:gd name="T110" fmla="*/ 21775 w 25453"/>
                    <a:gd name="T111" fmla="*/ 1552 h 4729"/>
                    <a:gd name="T112" fmla="*/ 16257 w 25453"/>
                    <a:gd name="T113" fmla="*/ 1696 h 4729"/>
                    <a:gd name="T114" fmla="*/ 15534 w 25453"/>
                    <a:gd name="T115" fmla="*/ 1923 h 4729"/>
                    <a:gd name="T116" fmla="*/ 0 w 25453"/>
                    <a:gd name="T117" fmla="*/ 2400 h 4729"/>
                    <a:gd name="T118" fmla="*/ 13590 w 25453"/>
                    <a:gd name="T119" fmla="*/ 3421 h 4729"/>
                    <a:gd name="T120" fmla="*/ 22169 w 25453"/>
                    <a:gd name="T121" fmla="*/ 3659 h 4729"/>
                    <a:gd name="T122" fmla="*/ 23001 w 25453"/>
                    <a:gd name="T123" fmla="*/ 3903 h 4729"/>
                    <a:gd name="T124" fmla="*/ 22483 w 25453"/>
                    <a:gd name="T125" fmla="*/ 4373 h 4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453" h="4729">
                      <a:moveTo>
                        <a:pt x="24735" y="2360"/>
                      </a:moveTo>
                      <a:lnTo>
                        <a:pt x="24706" y="2388"/>
                      </a:lnTo>
                      <a:lnTo>
                        <a:pt x="24638" y="2421"/>
                      </a:lnTo>
                      <a:lnTo>
                        <a:pt x="24654" y="2405"/>
                      </a:lnTo>
                      <a:lnTo>
                        <a:pt x="24572" y="2405"/>
                      </a:lnTo>
                      <a:lnTo>
                        <a:pt x="24562" y="2384"/>
                      </a:lnTo>
                      <a:lnTo>
                        <a:pt x="24517" y="2360"/>
                      </a:lnTo>
                      <a:lnTo>
                        <a:pt x="24479" y="2367"/>
                      </a:lnTo>
                      <a:lnTo>
                        <a:pt x="24529" y="2367"/>
                      </a:lnTo>
                      <a:lnTo>
                        <a:pt x="24550" y="2388"/>
                      </a:lnTo>
                      <a:lnTo>
                        <a:pt x="24529" y="2400"/>
                      </a:lnTo>
                      <a:lnTo>
                        <a:pt x="24508" y="2384"/>
                      </a:lnTo>
                      <a:lnTo>
                        <a:pt x="24491" y="2388"/>
                      </a:lnTo>
                      <a:lnTo>
                        <a:pt x="24465" y="2377"/>
                      </a:lnTo>
                      <a:lnTo>
                        <a:pt x="24442" y="2400"/>
                      </a:lnTo>
                      <a:lnTo>
                        <a:pt x="24352" y="2405"/>
                      </a:lnTo>
                      <a:lnTo>
                        <a:pt x="24437" y="2400"/>
                      </a:lnTo>
                      <a:lnTo>
                        <a:pt x="24465" y="2384"/>
                      </a:lnTo>
                      <a:lnTo>
                        <a:pt x="24491" y="2405"/>
                      </a:lnTo>
                      <a:lnTo>
                        <a:pt x="24465" y="2417"/>
                      </a:lnTo>
                      <a:lnTo>
                        <a:pt x="24465" y="2421"/>
                      </a:lnTo>
                      <a:lnTo>
                        <a:pt x="24491" y="2405"/>
                      </a:lnTo>
                      <a:lnTo>
                        <a:pt x="24513" y="2421"/>
                      </a:lnTo>
                      <a:lnTo>
                        <a:pt x="24529" y="2405"/>
                      </a:lnTo>
                      <a:lnTo>
                        <a:pt x="24567" y="2400"/>
                      </a:lnTo>
                      <a:lnTo>
                        <a:pt x="24550" y="2421"/>
                      </a:lnTo>
                      <a:lnTo>
                        <a:pt x="24572" y="2445"/>
                      </a:lnTo>
                      <a:lnTo>
                        <a:pt x="24605" y="2462"/>
                      </a:lnTo>
                      <a:lnTo>
                        <a:pt x="24621" y="2445"/>
                      </a:lnTo>
                      <a:lnTo>
                        <a:pt x="24626" y="2455"/>
                      </a:lnTo>
                      <a:lnTo>
                        <a:pt x="24638" y="2478"/>
                      </a:lnTo>
                      <a:lnTo>
                        <a:pt x="24626" y="2495"/>
                      </a:lnTo>
                      <a:lnTo>
                        <a:pt x="24642" y="2495"/>
                      </a:lnTo>
                      <a:lnTo>
                        <a:pt x="24654" y="2528"/>
                      </a:lnTo>
                      <a:lnTo>
                        <a:pt x="24642" y="2528"/>
                      </a:lnTo>
                      <a:lnTo>
                        <a:pt x="24621" y="2532"/>
                      </a:lnTo>
                      <a:lnTo>
                        <a:pt x="24654" y="2532"/>
                      </a:lnTo>
                      <a:lnTo>
                        <a:pt x="24654" y="2549"/>
                      </a:lnTo>
                      <a:lnTo>
                        <a:pt x="24642" y="2556"/>
                      </a:lnTo>
                      <a:lnTo>
                        <a:pt x="24659" y="2549"/>
                      </a:lnTo>
                      <a:lnTo>
                        <a:pt x="24654" y="2532"/>
                      </a:lnTo>
                      <a:lnTo>
                        <a:pt x="24668" y="2566"/>
                      </a:lnTo>
                      <a:lnTo>
                        <a:pt x="24659" y="2556"/>
                      </a:lnTo>
                      <a:lnTo>
                        <a:pt x="24659" y="2566"/>
                      </a:lnTo>
                      <a:lnTo>
                        <a:pt x="24697" y="2582"/>
                      </a:lnTo>
                      <a:lnTo>
                        <a:pt x="24697" y="2599"/>
                      </a:lnTo>
                      <a:lnTo>
                        <a:pt x="24680" y="2606"/>
                      </a:lnTo>
                      <a:lnTo>
                        <a:pt x="24706" y="2622"/>
                      </a:lnTo>
                      <a:lnTo>
                        <a:pt x="24706" y="2643"/>
                      </a:lnTo>
                      <a:lnTo>
                        <a:pt x="24676" y="2660"/>
                      </a:lnTo>
                      <a:lnTo>
                        <a:pt x="24680" y="2677"/>
                      </a:lnTo>
                      <a:lnTo>
                        <a:pt x="24676" y="2681"/>
                      </a:lnTo>
                      <a:lnTo>
                        <a:pt x="24600" y="2655"/>
                      </a:lnTo>
                      <a:lnTo>
                        <a:pt x="24550" y="2643"/>
                      </a:lnTo>
                      <a:lnTo>
                        <a:pt x="24550" y="2627"/>
                      </a:lnTo>
                      <a:lnTo>
                        <a:pt x="24562" y="2622"/>
                      </a:lnTo>
                      <a:lnTo>
                        <a:pt x="24546" y="2639"/>
                      </a:lnTo>
                      <a:lnTo>
                        <a:pt x="24529" y="2610"/>
                      </a:lnTo>
                      <a:lnTo>
                        <a:pt x="24529" y="2639"/>
                      </a:lnTo>
                      <a:lnTo>
                        <a:pt x="24550" y="2643"/>
                      </a:lnTo>
                      <a:lnTo>
                        <a:pt x="24508" y="2655"/>
                      </a:lnTo>
                      <a:lnTo>
                        <a:pt x="24479" y="2677"/>
                      </a:lnTo>
                      <a:lnTo>
                        <a:pt x="24373" y="2721"/>
                      </a:lnTo>
                      <a:lnTo>
                        <a:pt x="24357" y="2717"/>
                      </a:lnTo>
                      <a:lnTo>
                        <a:pt x="24366" y="2721"/>
                      </a:lnTo>
                      <a:lnTo>
                        <a:pt x="24357" y="2733"/>
                      </a:lnTo>
                      <a:lnTo>
                        <a:pt x="24328" y="2733"/>
                      </a:lnTo>
                      <a:lnTo>
                        <a:pt x="24319" y="2738"/>
                      </a:lnTo>
                      <a:lnTo>
                        <a:pt x="24302" y="2750"/>
                      </a:lnTo>
                      <a:lnTo>
                        <a:pt x="24290" y="2738"/>
                      </a:lnTo>
                      <a:lnTo>
                        <a:pt x="24281" y="2766"/>
                      </a:lnTo>
                      <a:lnTo>
                        <a:pt x="24276" y="2766"/>
                      </a:lnTo>
                      <a:lnTo>
                        <a:pt x="24260" y="2776"/>
                      </a:lnTo>
                      <a:lnTo>
                        <a:pt x="24243" y="2771"/>
                      </a:lnTo>
                      <a:lnTo>
                        <a:pt x="24227" y="2776"/>
                      </a:lnTo>
                      <a:lnTo>
                        <a:pt x="24243" y="2788"/>
                      </a:lnTo>
                      <a:lnTo>
                        <a:pt x="24227" y="2788"/>
                      </a:lnTo>
                      <a:lnTo>
                        <a:pt x="24239" y="2792"/>
                      </a:lnTo>
                      <a:lnTo>
                        <a:pt x="24222" y="2804"/>
                      </a:lnTo>
                      <a:lnTo>
                        <a:pt x="24205" y="2792"/>
                      </a:lnTo>
                      <a:lnTo>
                        <a:pt x="24205" y="2809"/>
                      </a:lnTo>
                      <a:lnTo>
                        <a:pt x="24210" y="2821"/>
                      </a:lnTo>
                      <a:lnTo>
                        <a:pt x="24194" y="2821"/>
                      </a:lnTo>
                      <a:lnTo>
                        <a:pt x="24184" y="2809"/>
                      </a:lnTo>
                      <a:lnTo>
                        <a:pt x="24189" y="2828"/>
                      </a:lnTo>
                      <a:lnTo>
                        <a:pt x="24184" y="2844"/>
                      </a:lnTo>
                      <a:lnTo>
                        <a:pt x="24172" y="2828"/>
                      </a:lnTo>
                      <a:lnTo>
                        <a:pt x="24172" y="2844"/>
                      </a:lnTo>
                      <a:lnTo>
                        <a:pt x="24151" y="2844"/>
                      </a:lnTo>
                      <a:lnTo>
                        <a:pt x="24151" y="2849"/>
                      </a:lnTo>
                      <a:lnTo>
                        <a:pt x="24135" y="2849"/>
                      </a:lnTo>
                      <a:lnTo>
                        <a:pt x="24135" y="2866"/>
                      </a:lnTo>
                      <a:lnTo>
                        <a:pt x="24080" y="2887"/>
                      </a:lnTo>
                      <a:lnTo>
                        <a:pt x="24080" y="2899"/>
                      </a:lnTo>
                      <a:lnTo>
                        <a:pt x="24076" y="2903"/>
                      </a:lnTo>
                      <a:lnTo>
                        <a:pt x="24064" y="2936"/>
                      </a:lnTo>
                      <a:lnTo>
                        <a:pt x="24059" y="2936"/>
                      </a:lnTo>
                      <a:lnTo>
                        <a:pt x="24033" y="2920"/>
                      </a:lnTo>
                      <a:lnTo>
                        <a:pt x="24021" y="2887"/>
                      </a:lnTo>
                      <a:lnTo>
                        <a:pt x="23979" y="2866"/>
                      </a:lnTo>
                      <a:lnTo>
                        <a:pt x="23979" y="2877"/>
                      </a:lnTo>
                      <a:lnTo>
                        <a:pt x="23913" y="2866"/>
                      </a:lnTo>
                      <a:lnTo>
                        <a:pt x="23832" y="2899"/>
                      </a:lnTo>
                      <a:lnTo>
                        <a:pt x="23761" y="2953"/>
                      </a:lnTo>
                      <a:lnTo>
                        <a:pt x="23773" y="2887"/>
                      </a:lnTo>
                      <a:lnTo>
                        <a:pt x="23778" y="2882"/>
                      </a:lnTo>
                      <a:lnTo>
                        <a:pt x="23757" y="2882"/>
                      </a:lnTo>
                      <a:lnTo>
                        <a:pt x="23702" y="2920"/>
                      </a:lnTo>
                      <a:lnTo>
                        <a:pt x="23686" y="2915"/>
                      </a:lnTo>
                      <a:lnTo>
                        <a:pt x="23702" y="2932"/>
                      </a:lnTo>
                      <a:lnTo>
                        <a:pt x="23681" y="2953"/>
                      </a:lnTo>
                      <a:lnTo>
                        <a:pt x="23665" y="2936"/>
                      </a:lnTo>
                      <a:lnTo>
                        <a:pt x="23648" y="2920"/>
                      </a:lnTo>
                      <a:lnTo>
                        <a:pt x="23643" y="2920"/>
                      </a:lnTo>
                      <a:lnTo>
                        <a:pt x="23643" y="2932"/>
                      </a:lnTo>
                      <a:lnTo>
                        <a:pt x="23627" y="2936"/>
                      </a:lnTo>
                      <a:lnTo>
                        <a:pt x="23627" y="2943"/>
                      </a:lnTo>
                      <a:lnTo>
                        <a:pt x="23617" y="2943"/>
                      </a:lnTo>
                      <a:lnTo>
                        <a:pt x="23627" y="2936"/>
                      </a:lnTo>
                      <a:lnTo>
                        <a:pt x="23617" y="2932"/>
                      </a:lnTo>
                      <a:lnTo>
                        <a:pt x="23596" y="2932"/>
                      </a:lnTo>
                      <a:lnTo>
                        <a:pt x="23601" y="2936"/>
                      </a:lnTo>
                      <a:lnTo>
                        <a:pt x="23596" y="2943"/>
                      </a:lnTo>
                      <a:lnTo>
                        <a:pt x="23572" y="2953"/>
                      </a:lnTo>
                      <a:lnTo>
                        <a:pt x="23572" y="2972"/>
                      </a:lnTo>
                      <a:lnTo>
                        <a:pt x="23558" y="2977"/>
                      </a:lnTo>
                      <a:lnTo>
                        <a:pt x="23572" y="2998"/>
                      </a:lnTo>
                      <a:lnTo>
                        <a:pt x="23563" y="3010"/>
                      </a:lnTo>
                      <a:lnTo>
                        <a:pt x="23546" y="3010"/>
                      </a:lnTo>
                      <a:lnTo>
                        <a:pt x="23563" y="3031"/>
                      </a:lnTo>
                      <a:lnTo>
                        <a:pt x="23546" y="3026"/>
                      </a:lnTo>
                      <a:lnTo>
                        <a:pt x="23542" y="3026"/>
                      </a:lnTo>
                      <a:lnTo>
                        <a:pt x="23546" y="3043"/>
                      </a:lnTo>
                      <a:lnTo>
                        <a:pt x="23504" y="3071"/>
                      </a:lnTo>
                      <a:lnTo>
                        <a:pt x="23487" y="3099"/>
                      </a:lnTo>
                      <a:lnTo>
                        <a:pt x="23471" y="3137"/>
                      </a:lnTo>
                      <a:lnTo>
                        <a:pt x="23487" y="3158"/>
                      </a:lnTo>
                      <a:lnTo>
                        <a:pt x="23504" y="3170"/>
                      </a:lnTo>
                      <a:lnTo>
                        <a:pt x="23504" y="3175"/>
                      </a:lnTo>
                      <a:lnTo>
                        <a:pt x="23520" y="3154"/>
                      </a:lnTo>
                      <a:lnTo>
                        <a:pt x="23563" y="3158"/>
                      </a:lnTo>
                      <a:lnTo>
                        <a:pt x="23563" y="3170"/>
                      </a:lnTo>
                      <a:lnTo>
                        <a:pt x="23558" y="3192"/>
                      </a:lnTo>
                      <a:lnTo>
                        <a:pt x="23525" y="3208"/>
                      </a:lnTo>
                      <a:lnTo>
                        <a:pt x="23535" y="3236"/>
                      </a:lnTo>
                      <a:lnTo>
                        <a:pt x="23535" y="3269"/>
                      </a:lnTo>
                      <a:lnTo>
                        <a:pt x="23542" y="3281"/>
                      </a:lnTo>
                      <a:lnTo>
                        <a:pt x="23563" y="3269"/>
                      </a:lnTo>
                      <a:lnTo>
                        <a:pt x="23572" y="3326"/>
                      </a:lnTo>
                      <a:lnTo>
                        <a:pt x="23546" y="3347"/>
                      </a:lnTo>
                      <a:lnTo>
                        <a:pt x="23525" y="3336"/>
                      </a:lnTo>
                      <a:lnTo>
                        <a:pt x="23525" y="3319"/>
                      </a:lnTo>
                      <a:lnTo>
                        <a:pt x="23558" y="3293"/>
                      </a:lnTo>
                      <a:lnTo>
                        <a:pt x="23546" y="3293"/>
                      </a:lnTo>
                      <a:lnTo>
                        <a:pt x="23542" y="3303"/>
                      </a:lnTo>
                      <a:lnTo>
                        <a:pt x="23525" y="3303"/>
                      </a:lnTo>
                      <a:lnTo>
                        <a:pt x="23504" y="3310"/>
                      </a:lnTo>
                      <a:lnTo>
                        <a:pt x="23520" y="3326"/>
                      </a:lnTo>
                      <a:lnTo>
                        <a:pt x="23483" y="3343"/>
                      </a:lnTo>
                      <a:lnTo>
                        <a:pt x="23454" y="3397"/>
                      </a:lnTo>
                      <a:lnTo>
                        <a:pt x="23466" y="3437"/>
                      </a:lnTo>
                      <a:lnTo>
                        <a:pt x="23487" y="3458"/>
                      </a:lnTo>
                      <a:lnTo>
                        <a:pt x="23487" y="3475"/>
                      </a:lnTo>
                      <a:lnTo>
                        <a:pt x="23454" y="3503"/>
                      </a:lnTo>
                      <a:lnTo>
                        <a:pt x="23428" y="3503"/>
                      </a:lnTo>
                      <a:lnTo>
                        <a:pt x="23416" y="3491"/>
                      </a:lnTo>
                      <a:lnTo>
                        <a:pt x="23383" y="3503"/>
                      </a:lnTo>
                      <a:lnTo>
                        <a:pt x="23341" y="3541"/>
                      </a:lnTo>
                      <a:lnTo>
                        <a:pt x="23324" y="3581"/>
                      </a:lnTo>
                      <a:lnTo>
                        <a:pt x="23331" y="3586"/>
                      </a:lnTo>
                      <a:lnTo>
                        <a:pt x="23331" y="3603"/>
                      </a:lnTo>
                      <a:lnTo>
                        <a:pt x="23324" y="3598"/>
                      </a:lnTo>
                      <a:lnTo>
                        <a:pt x="23341" y="3619"/>
                      </a:lnTo>
                      <a:lnTo>
                        <a:pt x="23341" y="3636"/>
                      </a:lnTo>
                      <a:lnTo>
                        <a:pt x="23308" y="3619"/>
                      </a:lnTo>
                      <a:lnTo>
                        <a:pt x="23270" y="3643"/>
                      </a:lnTo>
                      <a:lnTo>
                        <a:pt x="23249" y="3659"/>
                      </a:lnTo>
                      <a:lnTo>
                        <a:pt x="23239" y="3643"/>
                      </a:lnTo>
                      <a:lnTo>
                        <a:pt x="23223" y="3643"/>
                      </a:lnTo>
                      <a:lnTo>
                        <a:pt x="23223" y="3659"/>
                      </a:lnTo>
                      <a:lnTo>
                        <a:pt x="23239" y="3659"/>
                      </a:lnTo>
                      <a:lnTo>
                        <a:pt x="23232" y="3680"/>
                      </a:lnTo>
                      <a:lnTo>
                        <a:pt x="23223" y="3680"/>
                      </a:lnTo>
                      <a:lnTo>
                        <a:pt x="23232" y="3692"/>
                      </a:lnTo>
                      <a:lnTo>
                        <a:pt x="23232" y="3714"/>
                      </a:lnTo>
                      <a:lnTo>
                        <a:pt x="23218" y="3730"/>
                      </a:lnTo>
                      <a:lnTo>
                        <a:pt x="23218" y="3751"/>
                      </a:lnTo>
                      <a:lnTo>
                        <a:pt x="23105" y="3846"/>
                      </a:lnTo>
                      <a:lnTo>
                        <a:pt x="23109" y="3836"/>
                      </a:lnTo>
                      <a:lnTo>
                        <a:pt x="23093" y="3808"/>
                      </a:lnTo>
                      <a:lnTo>
                        <a:pt x="23093" y="3751"/>
                      </a:lnTo>
                      <a:lnTo>
                        <a:pt x="23076" y="3692"/>
                      </a:lnTo>
                      <a:lnTo>
                        <a:pt x="23088" y="3697"/>
                      </a:lnTo>
                      <a:lnTo>
                        <a:pt x="23088" y="3692"/>
                      </a:lnTo>
                      <a:lnTo>
                        <a:pt x="23076" y="3692"/>
                      </a:lnTo>
                      <a:lnTo>
                        <a:pt x="23060" y="3669"/>
                      </a:lnTo>
                      <a:lnTo>
                        <a:pt x="23022" y="3421"/>
                      </a:lnTo>
                      <a:lnTo>
                        <a:pt x="23034" y="3359"/>
                      </a:lnTo>
                      <a:lnTo>
                        <a:pt x="23055" y="3281"/>
                      </a:lnTo>
                      <a:lnTo>
                        <a:pt x="23088" y="3253"/>
                      </a:lnTo>
                      <a:lnTo>
                        <a:pt x="23093" y="3236"/>
                      </a:lnTo>
                      <a:lnTo>
                        <a:pt x="23105" y="3236"/>
                      </a:lnTo>
                      <a:lnTo>
                        <a:pt x="23126" y="3208"/>
                      </a:lnTo>
                      <a:lnTo>
                        <a:pt x="23126" y="3182"/>
                      </a:lnTo>
                      <a:lnTo>
                        <a:pt x="23109" y="3175"/>
                      </a:lnTo>
                      <a:lnTo>
                        <a:pt x="23126" y="3158"/>
                      </a:lnTo>
                      <a:lnTo>
                        <a:pt x="23142" y="3170"/>
                      </a:lnTo>
                      <a:lnTo>
                        <a:pt x="23157" y="3170"/>
                      </a:lnTo>
                      <a:lnTo>
                        <a:pt x="23168" y="3142"/>
                      </a:lnTo>
                      <a:lnTo>
                        <a:pt x="23218" y="3142"/>
                      </a:lnTo>
                      <a:lnTo>
                        <a:pt x="23320" y="3059"/>
                      </a:lnTo>
                      <a:lnTo>
                        <a:pt x="23324" y="3031"/>
                      </a:lnTo>
                      <a:lnTo>
                        <a:pt x="23362" y="2998"/>
                      </a:lnTo>
                      <a:lnTo>
                        <a:pt x="23374" y="2977"/>
                      </a:lnTo>
                      <a:lnTo>
                        <a:pt x="23395" y="2972"/>
                      </a:lnTo>
                      <a:lnTo>
                        <a:pt x="23438" y="2920"/>
                      </a:lnTo>
                      <a:lnTo>
                        <a:pt x="23466" y="2915"/>
                      </a:lnTo>
                      <a:lnTo>
                        <a:pt x="23471" y="2903"/>
                      </a:lnTo>
                      <a:lnTo>
                        <a:pt x="23471" y="2882"/>
                      </a:lnTo>
                      <a:lnTo>
                        <a:pt x="23535" y="2861"/>
                      </a:lnTo>
                      <a:lnTo>
                        <a:pt x="23542" y="2849"/>
                      </a:lnTo>
                      <a:lnTo>
                        <a:pt x="23596" y="2832"/>
                      </a:lnTo>
                      <a:lnTo>
                        <a:pt x="23596" y="2828"/>
                      </a:lnTo>
                      <a:lnTo>
                        <a:pt x="23579" y="2821"/>
                      </a:lnTo>
                      <a:lnTo>
                        <a:pt x="23617" y="2788"/>
                      </a:lnTo>
                      <a:lnTo>
                        <a:pt x="23617" y="2776"/>
                      </a:lnTo>
                      <a:lnTo>
                        <a:pt x="23601" y="2771"/>
                      </a:lnTo>
                      <a:lnTo>
                        <a:pt x="23610" y="2755"/>
                      </a:lnTo>
                      <a:lnTo>
                        <a:pt x="23617" y="2750"/>
                      </a:lnTo>
                      <a:lnTo>
                        <a:pt x="23627" y="2681"/>
                      </a:lnTo>
                      <a:lnTo>
                        <a:pt x="23655" y="2660"/>
                      </a:lnTo>
                      <a:lnTo>
                        <a:pt x="23698" y="2665"/>
                      </a:lnTo>
                      <a:lnTo>
                        <a:pt x="23709" y="2677"/>
                      </a:lnTo>
                      <a:lnTo>
                        <a:pt x="23698" y="2660"/>
                      </a:lnTo>
                      <a:lnTo>
                        <a:pt x="23735" y="2660"/>
                      </a:lnTo>
                      <a:lnTo>
                        <a:pt x="23686" y="2655"/>
                      </a:lnTo>
                      <a:lnTo>
                        <a:pt x="23643" y="2639"/>
                      </a:lnTo>
                      <a:lnTo>
                        <a:pt x="23563" y="2655"/>
                      </a:lnTo>
                      <a:lnTo>
                        <a:pt x="23558" y="2660"/>
                      </a:lnTo>
                      <a:lnTo>
                        <a:pt x="23572" y="2677"/>
                      </a:lnTo>
                      <a:lnTo>
                        <a:pt x="23558" y="2681"/>
                      </a:lnTo>
                      <a:lnTo>
                        <a:pt x="23558" y="2710"/>
                      </a:lnTo>
                      <a:lnTo>
                        <a:pt x="23542" y="2733"/>
                      </a:lnTo>
                      <a:lnTo>
                        <a:pt x="23572" y="2738"/>
                      </a:lnTo>
                      <a:lnTo>
                        <a:pt x="23563" y="2750"/>
                      </a:lnTo>
                      <a:lnTo>
                        <a:pt x="23546" y="2766"/>
                      </a:lnTo>
                      <a:lnTo>
                        <a:pt x="23535" y="2750"/>
                      </a:lnTo>
                      <a:lnTo>
                        <a:pt x="23525" y="2750"/>
                      </a:lnTo>
                      <a:lnTo>
                        <a:pt x="23535" y="2755"/>
                      </a:lnTo>
                      <a:lnTo>
                        <a:pt x="23504" y="2750"/>
                      </a:lnTo>
                      <a:lnTo>
                        <a:pt x="23400" y="2832"/>
                      </a:lnTo>
                      <a:lnTo>
                        <a:pt x="23395" y="2849"/>
                      </a:lnTo>
                      <a:lnTo>
                        <a:pt x="23362" y="2849"/>
                      </a:lnTo>
                      <a:lnTo>
                        <a:pt x="23346" y="2866"/>
                      </a:lnTo>
                      <a:lnTo>
                        <a:pt x="23357" y="2849"/>
                      </a:lnTo>
                      <a:lnTo>
                        <a:pt x="23346" y="2844"/>
                      </a:lnTo>
                      <a:lnTo>
                        <a:pt x="23362" y="2821"/>
                      </a:lnTo>
                      <a:lnTo>
                        <a:pt x="23346" y="2821"/>
                      </a:lnTo>
                      <a:lnTo>
                        <a:pt x="23324" y="2828"/>
                      </a:lnTo>
                      <a:lnTo>
                        <a:pt x="23331" y="2809"/>
                      </a:lnTo>
                      <a:lnTo>
                        <a:pt x="23331" y="2792"/>
                      </a:lnTo>
                      <a:lnTo>
                        <a:pt x="23324" y="2792"/>
                      </a:lnTo>
                      <a:lnTo>
                        <a:pt x="23362" y="2738"/>
                      </a:lnTo>
                      <a:lnTo>
                        <a:pt x="23362" y="2717"/>
                      </a:lnTo>
                      <a:lnTo>
                        <a:pt x="23303" y="2750"/>
                      </a:lnTo>
                      <a:lnTo>
                        <a:pt x="23294" y="2721"/>
                      </a:lnTo>
                      <a:lnTo>
                        <a:pt x="23287" y="2721"/>
                      </a:lnTo>
                      <a:lnTo>
                        <a:pt x="23202" y="2738"/>
                      </a:lnTo>
                      <a:lnTo>
                        <a:pt x="23164" y="2733"/>
                      </a:lnTo>
                      <a:lnTo>
                        <a:pt x="23109" y="2766"/>
                      </a:lnTo>
                      <a:lnTo>
                        <a:pt x="23105" y="2804"/>
                      </a:lnTo>
                      <a:lnTo>
                        <a:pt x="23060" y="2821"/>
                      </a:lnTo>
                      <a:lnTo>
                        <a:pt x="23055" y="2832"/>
                      </a:lnTo>
                      <a:lnTo>
                        <a:pt x="23050" y="2849"/>
                      </a:lnTo>
                      <a:lnTo>
                        <a:pt x="22984" y="2887"/>
                      </a:lnTo>
                      <a:lnTo>
                        <a:pt x="22963" y="2915"/>
                      </a:lnTo>
                      <a:lnTo>
                        <a:pt x="22946" y="2936"/>
                      </a:lnTo>
                      <a:lnTo>
                        <a:pt x="22930" y="2943"/>
                      </a:lnTo>
                      <a:lnTo>
                        <a:pt x="22942" y="2972"/>
                      </a:lnTo>
                      <a:lnTo>
                        <a:pt x="22925" y="2988"/>
                      </a:lnTo>
                      <a:lnTo>
                        <a:pt x="22925" y="2993"/>
                      </a:lnTo>
                      <a:lnTo>
                        <a:pt x="22953" y="2993"/>
                      </a:lnTo>
                      <a:lnTo>
                        <a:pt x="22946" y="2977"/>
                      </a:lnTo>
                      <a:lnTo>
                        <a:pt x="22984" y="2988"/>
                      </a:lnTo>
                      <a:lnTo>
                        <a:pt x="23001" y="2998"/>
                      </a:lnTo>
                      <a:lnTo>
                        <a:pt x="22996" y="3014"/>
                      </a:lnTo>
                      <a:lnTo>
                        <a:pt x="22968" y="3026"/>
                      </a:lnTo>
                      <a:lnTo>
                        <a:pt x="22946" y="3014"/>
                      </a:lnTo>
                      <a:lnTo>
                        <a:pt x="22942" y="3014"/>
                      </a:lnTo>
                      <a:lnTo>
                        <a:pt x="22930" y="3031"/>
                      </a:lnTo>
                      <a:lnTo>
                        <a:pt x="22916" y="3031"/>
                      </a:lnTo>
                      <a:lnTo>
                        <a:pt x="22899" y="3014"/>
                      </a:lnTo>
                      <a:lnTo>
                        <a:pt x="22871" y="3010"/>
                      </a:lnTo>
                      <a:lnTo>
                        <a:pt x="22861" y="3026"/>
                      </a:lnTo>
                      <a:lnTo>
                        <a:pt x="22845" y="3031"/>
                      </a:lnTo>
                      <a:lnTo>
                        <a:pt x="22840" y="3047"/>
                      </a:lnTo>
                      <a:lnTo>
                        <a:pt x="22802" y="3031"/>
                      </a:lnTo>
                      <a:lnTo>
                        <a:pt x="22786" y="3043"/>
                      </a:lnTo>
                      <a:lnTo>
                        <a:pt x="22779" y="3047"/>
                      </a:lnTo>
                      <a:lnTo>
                        <a:pt x="22731" y="3059"/>
                      </a:lnTo>
                      <a:lnTo>
                        <a:pt x="22710" y="3026"/>
                      </a:lnTo>
                      <a:lnTo>
                        <a:pt x="22791" y="3014"/>
                      </a:lnTo>
                      <a:lnTo>
                        <a:pt x="22765" y="3010"/>
                      </a:lnTo>
                      <a:lnTo>
                        <a:pt x="22748" y="2988"/>
                      </a:lnTo>
                      <a:lnTo>
                        <a:pt x="22731" y="2977"/>
                      </a:lnTo>
                      <a:lnTo>
                        <a:pt x="22698" y="2977"/>
                      </a:lnTo>
                      <a:lnTo>
                        <a:pt x="22698" y="2988"/>
                      </a:lnTo>
                      <a:lnTo>
                        <a:pt x="22682" y="2993"/>
                      </a:lnTo>
                      <a:lnTo>
                        <a:pt x="22682" y="2988"/>
                      </a:lnTo>
                      <a:lnTo>
                        <a:pt x="22665" y="2988"/>
                      </a:lnTo>
                      <a:lnTo>
                        <a:pt x="22682" y="2977"/>
                      </a:lnTo>
                      <a:lnTo>
                        <a:pt x="22606" y="2953"/>
                      </a:lnTo>
                      <a:lnTo>
                        <a:pt x="22568" y="2972"/>
                      </a:lnTo>
                      <a:lnTo>
                        <a:pt x="22576" y="2993"/>
                      </a:lnTo>
                      <a:lnTo>
                        <a:pt x="22559" y="2993"/>
                      </a:lnTo>
                      <a:lnTo>
                        <a:pt x="22552" y="2977"/>
                      </a:lnTo>
                      <a:lnTo>
                        <a:pt x="22547" y="2988"/>
                      </a:lnTo>
                      <a:lnTo>
                        <a:pt x="22547" y="2998"/>
                      </a:lnTo>
                      <a:lnTo>
                        <a:pt x="22559" y="2998"/>
                      </a:lnTo>
                      <a:lnTo>
                        <a:pt x="22559" y="3010"/>
                      </a:lnTo>
                      <a:lnTo>
                        <a:pt x="22521" y="3010"/>
                      </a:lnTo>
                      <a:lnTo>
                        <a:pt x="22521" y="2993"/>
                      </a:lnTo>
                      <a:lnTo>
                        <a:pt x="22505" y="2993"/>
                      </a:lnTo>
                      <a:lnTo>
                        <a:pt x="22462" y="3010"/>
                      </a:lnTo>
                      <a:lnTo>
                        <a:pt x="22391" y="2993"/>
                      </a:lnTo>
                      <a:lnTo>
                        <a:pt x="22375" y="2993"/>
                      </a:lnTo>
                      <a:lnTo>
                        <a:pt x="22375" y="3014"/>
                      </a:lnTo>
                      <a:lnTo>
                        <a:pt x="22354" y="3026"/>
                      </a:lnTo>
                      <a:lnTo>
                        <a:pt x="22337" y="3010"/>
                      </a:lnTo>
                      <a:lnTo>
                        <a:pt x="22342" y="2993"/>
                      </a:lnTo>
                      <a:lnTo>
                        <a:pt x="22207" y="2993"/>
                      </a:lnTo>
                      <a:lnTo>
                        <a:pt x="22160" y="2998"/>
                      </a:lnTo>
                      <a:lnTo>
                        <a:pt x="22084" y="3031"/>
                      </a:lnTo>
                      <a:lnTo>
                        <a:pt x="22051" y="3071"/>
                      </a:lnTo>
                      <a:lnTo>
                        <a:pt x="21980" y="3121"/>
                      </a:lnTo>
                      <a:lnTo>
                        <a:pt x="21964" y="3158"/>
                      </a:lnTo>
                      <a:lnTo>
                        <a:pt x="21938" y="3175"/>
                      </a:lnTo>
                      <a:lnTo>
                        <a:pt x="21900" y="3215"/>
                      </a:lnTo>
                      <a:lnTo>
                        <a:pt x="21872" y="3225"/>
                      </a:lnTo>
                      <a:lnTo>
                        <a:pt x="21857" y="3248"/>
                      </a:lnTo>
                      <a:lnTo>
                        <a:pt x="21834" y="3248"/>
                      </a:lnTo>
                      <a:lnTo>
                        <a:pt x="21803" y="3293"/>
                      </a:lnTo>
                      <a:lnTo>
                        <a:pt x="21803" y="3303"/>
                      </a:lnTo>
                      <a:lnTo>
                        <a:pt x="21775" y="3336"/>
                      </a:lnTo>
                      <a:lnTo>
                        <a:pt x="21683" y="3397"/>
                      </a:lnTo>
                      <a:lnTo>
                        <a:pt x="21668" y="3421"/>
                      </a:lnTo>
                      <a:lnTo>
                        <a:pt x="21619" y="3437"/>
                      </a:lnTo>
                      <a:lnTo>
                        <a:pt x="21598" y="3458"/>
                      </a:lnTo>
                      <a:lnTo>
                        <a:pt x="21602" y="3475"/>
                      </a:lnTo>
                      <a:lnTo>
                        <a:pt x="21635" y="3491"/>
                      </a:lnTo>
                      <a:lnTo>
                        <a:pt x="21711" y="3487"/>
                      </a:lnTo>
                      <a:lnTo>
                        <a:pt x="21711" y="3491"/>
                      </a:lnTo>
                      <a:lnTo>
                        <a:pt x="21706" y="3508"/>
                      </a:lnTo>
                      <a:lnTo>
                        <a:pt x="21711" y="3532"/>
                      </a:lnTo>
                      <a:lnTo>
                        <a:pt x="21694" y="3558"/>
                      </a:lnTo>
                      <a:lnTo>
                        <a:pt x="21706" y="3569"/>
                      </a:lnTo>
                      <a:lnTo>
                        <a:pt x="21737" y="3565"/>
                      </a:lnTo>
                      <a:lnTo>
                        <a:pt x="21744" y="3548"/>
                      </a:lnTo>
                      <a:lnTo>
                        <a:pt x="21728" y="3532"/>
                      </a:lnTo>
                      <a:lnTo>
                        <a:pt x="21737" y="3532"/>
                      </a:lnTo>
                      <a:lnTo>
                        <a:pt x="21775" y="3515"/>
                      </a:lnTo>
                      <a:lnTo>
                        <a:pt x="21744" y="3541"/>
                      </a:lnTo>
                      <a:lnTo>
                        <a:pt x="21744" y="3548"/>
                      </a:lnTo>
                      <a:lnTo>
                        <a:pt x="21765" y="3558"/>
                      </a:lnTo>
                      <a:lnTo>
                        <a:pt x="21782" y="3558"/>
                      </a:lnTo>
                      <a:lnTo>
                        <a:pt x="21765" y="3565"/>
                      </a:lnTo>
                      <a:lnTo>
                        <a:pt x="21758" y="3581"/>
                      </a:lnTo>
                      <a:lnTo>
                        <a:pt x="21737" y="3586"/>
                      </a:lnTo>
                      <a:lnTo>
                        <a:pt x="21744" y="3598"/>
                      </a:lnTo>
                      <a:lnTo>
                        <a:pt x="21791" y="3598"/>
                      </a:lnTo>
                      <a:lnTo>
                        <a:pt x="21813" y="3581"/>
                      </a:lnTo>
                      <a:lnTo>
                        <a:pt x="21820" y="3565"/>
                      </a:lnTo>
                      <a:lnTo>
                        <a:pt x="21834" y="3548"/>
                      </a:lnTo>
                      <a:lnTo>
                        <a:pt x="21834" y="3569"/>
                      </a:lnTo>
                      <a:lnTo>
                        <a:pt x="21813" y="3598"/>
                      </a:lnTo>
                      <a:lnTo>
                        <a:pt x="21829" y="3598"/>
                      </a:lnTo>
                      <a:lnTo>
                        <a:pt x="21834" y="3581"/>
                      </a:lnTo>
                      <a:lnTo>
                        <a:pt x="21850" y="3548"/>
                      </a:lnTo>
                      <a:lnTo>
                        <a:pt x="21846" y="3525"/>
                      </a:lnTo>
                      <a:lnTo>
                        <a:pt x="21834" y="3525"/>
                      </a:lnTo>
                      <a:lnTo>
                        <a:pt x="21888" y="3532"/>
                      </a:lnTo>
                      <a:lnTo>
                        <a:pt x="21909" y="3515"/>
                      </a:lnTo>
                      <a:lnTo>
                        <a:pt x="21954" y="3548"/>
                      </a:lnTo>
                      <a:lnTo>
                        <a:pt x="21954" y="3565"/>
                      </a:lnTo>
                      <a:lnTo>
                        <a:pt x="21976" y="3586"/>
                      </a:lnTo>
                      <a:lnTo>
                        <a:pt x="22009" y="3598"/>
                      </a:lnTo>
                      <a:lnTo>
                        <a:pt x="21997" y="3603"/>
                      </a:lnTo>
                      <a:lnTo>
                        <a:pt x="22035" y="3619"/>
                      </a:lnTo>
                      <a:lnTo>
                        <a:pt x="22035" y="3636"/>
                      </a:lnTo>
                      <a:lnTo>
                        <a:pt x="22018" y="3643"/>
                      </a:lnTo>
                      <a:lnTo>
                        <a:pt x="22018" y="3652"/>
                      </a:lnTo>
                      <a:lnTo>
                        <a:pt x="21980" y="3636"/>
                      </a:lnTo>
                      <a:lnTo>
                        <a:pt x="22018" y="3669"/>
                      </a:lnTo>
                      <a:lnTo>
                        <a:pt x="22030" y="3680"/>
                      </a:lnTo>
                      <a:lnTo>
                        <a:pt x="22013" y="3709"/>
                      </a:lnTo>
                      <a:lnTo>
                        <a:pt x="22046" y="3725"/>
                      </a:lnTo>
                      <a:lnTo>
                        <a:pt x="22030" y="3747"/>
                      </a:lnTo>
                      <a:lnTo>
                        <a:pt x="22035" y="3751"/>
                      </a:lnTo>
                      <a:lnTo>
                        <a:pt x="21997" y="3780"/>
                      </a:lnTo>
                      <a:lnTo>
                        <a:pt x="21997" y="3791"/>
                      </a:lnTo>
                      <a:lnTo>
                        <a:pt x="21992" y="3803"/>
                      </a:lnTo>
                      <a:lnTo>
                        <a:pt x="21997" y="3803"/>
                      </a:lnTo>
                      <a:lnTo>
                        <a:pt x="21997" y="3808"/>
                      </a:lnTo>
                      <a:lnTo>
                        <a:pt x="21980" y="3808"/>
                      </a:lnTo>
                      <a:lnTo>
                        <a:pt x="21980" y="3846"/>
                      </a:lnTo>
                      <a:lnTo>
                        <a:pt x="21976" y="3858"/>
                      </a:lnTo>
                      <a:lnTo>
                        <a:pt x="21964" y="3862"/>
                      </a:lnTo>
                      <a:lnTo>
                        <a:pt x="21964" y="3919"/>
                      </a:lnTo>
                      <a:lnTo>
                        <a:pt x="21976" y="3931"/>
                      </a:lnTo>
                      <a:lnTo>
                        <a:pt x="21980" y="3931"/>
                      </a:lnTo>
                      <a:lnTo>
                        <a:pt x="21959" y="3947"/>
                      </a:lnTo>
                      <a:lnTo>
                        <a:pt x="21976" y="3973"/>
                      </a:lnTo>
                      <a:lnTo>
                        <a:pt x="21959" y="4006"/>
                      </a:lnTo>
                      <a:lnTo>
                        <a:pt x="21959" y="4030"/>
                      </a:lnTo>
                      <a:lnTo>
                        <a:pt x="21954" y="4047"/>
                      </a:lnTo>
                      <a:lnTo>
                        <a:pt x="21942" y="4080"/>
                      </a:lnTo>
                      <a:lnTo>
                        <a:pt x="21883" y="4141"/>
                      </a:lnTo>
                      <a:lnTo>
                        <a:pt x="21867" y="4174"/>
                      </a:lnTo>
                      <a:lnTo>
                        <a:pt x="21834" y="4207"/>
                      </a:lnTo>
                      <a:lnTo>
                        <a:pt x="21820" y="4252"/>
                      </a:lnTo>
                      <a:lnTo>
                        <a:pt x="21796" y="4285"/>
                      </a:lnTo>
                      <a:lnTo>
                        <a:pt x="21683" y="4413"/>
                      </a:lnTo>
                      <a:lnTo>
                        <a:pt x="21668" y="4434"/>
                      </a:lnTo>
                      <a:lnTo>
                        <a:pt x="21640" y="4451"/>
                      </a:lnTo>
                      <a:lnTo>
                        <a:pt x="21631" y="4474"/>
                      </a:lnTo>
                      <a:lnTo>
                        <a:pt x="21614" y="4484"/>
                      </a:lnTo>
                      <a:lnTo>
                        <a:pt x="21619" y="4491"/>
                      </a:lnTo>
                      <a:lnTo>
                        <a:pt x="21619" y="4500"/>
                      </a:lnTo>
                      <a:lnTo>
                        <a:pt x="21586" y="4524"/>
                      </a:lnTo>
                      <a:lnTo>
                        <a:pt x="21527" y="4562"/>
                      </a:lnTo>
                      <a:lnTo>
                        <a:pt x="21505" y="4578"/>
                      </a:lnTo>
                      <a:lnTo>
                        <a:pt x="21456" y="4595"/>
                      </a:lnTo>
                      <a:lnTo>
                        <a:pt x="21442" y="4595"/>
                      </a:lnTo>
                      <a:lnTo>
                        <a:pt x="21442" y="4583"/>
                      </a:lnTo>
                      <a:lnTo>
                        <a:pt x="21435" y="4595"/>
                      </a:lnTo>
                      <a:lnTo>
                        <a:pt x="21425" y="4578"/>
                      </a:lnTo>
                      <a:lnTo>
                        <a:pt x="21413" y="4583"/>
                      </a:lnTo>
                      <a:lnTo>
                        <a:pt x="21404" y="4578"/>
                      </a:lnTo>
                      <a:lnTo>
                        <a:pt x="21397" y="4583"/>
                      </a:lnTo>
                      <a:lnTo>
                        <a:pt x="21397" y="4545"/>
                      </a:lnTo>
                      <a:lnTo>
                        <a:pt x="21371" y="4562"/>
                      </a:lnTo>
                      <a:lnTo>
                        <a:pt x="21366" y="4562"/>
                      </a:lnTo>
                      <a:lnTo>
                        <a:pt x="21380" y="4540"/>
                      </a:lnTo>
                      <a:lnTo>
                        <a:pt x="21359" y="4540"/>
                      </a:lnTo>
                      <a:lnTo>
                        <a:pt x="21333" y="4578"/>
                      </a:lnTo>
                      <a:lnTo>
                        <a:pt x="21317" y="4583"/>
                      </a:lnTo>
                      <a:lnTo>
                        <a:pt x="21317" y="4611"/>
                      </a:lnTo>
                      <a:lnTo>
                        <a:pt x="21312" y="4602"/>
                      </a:lnTo>
                      <a:lnTo>
                        <a:pt x="21279" y="4595"/>
                      </a:lnTo>
                      <a:lnTo>
                        <a:pt x="21295" y="4611"/>
                      </a:lnTo>
                      <a:lnTo>
                        <a:pt x="21279" y="4635"/>
                      </a:lnTo>
                      <a:lnTo>
                        <a:pt x="21274" y="4618"/>
                      </a:lnTo>
                      <a:lnTo>
                        <a:pt x="21274" y="4602"/>
                      </a:lnTo>
                      <a:lnTo>
                        <a:pt x="21262" y="4595"/>
                      </a:lnTo>
                      <a:lnTo>
                        <a:pt x="21312" y="4578"/>
                      </a:lnTo>
                      <a:lnTo>
                        <a:pt x="21312" y="4562"/>
                      </a:lnTo>
                      <a:lnTo>
                        <a:pt x="21328" y="4540"/>
                      </a:lnTo>
                      <a:lnTo>
                        <a:pt x="21317" y="4524"/>
                      </a:lnTo>
                      <a:lnTo>
                        <a:pt x="21328" y="4474"/>
                      </a:lnTo>
                      <a:lnTo>
                        <a:pt x="21312" y="4417"/>
                      </a:lnTo>
                      <a:lnTo>
                        <a:pt x="21295" y="4401"/>
                      </a:lnTo>
                      <a:lnTo>
                        <a:pt x="21333" y="4396"/>
                      </a:lnTo>
                      <a:lnTo>
                        <a:pt x="21366" y="4363"/>
                      </a:lnTo>
                      <a:lnTo>
                        <a:pt x="21371" y="4373"/>
                      </a:lnTo>
                      <a:lnTo>
                        <a:pt x="21435" y="4389"/>
                      </a:lnTo>
                      <a:lnTo>
                        <a:pt x="21451" y="4380"/>
                      </a:lnTo>
                      <a:lnTo>
                        <a:pt x="21451" y="4356"/>
                      </a:lnTo>
                      <a:lnTo>
                        <a:pt x="21472" y="4340"/>
                      </a:lnTo>
                      <a:lnTo>
                        <a:pt x="21472" y="4318"/>
                      </a:lnTo>
                      <a:lnTo>
                        <a:pt x="21505" y="4278"/>
                      </a:lnTo>
                      <a:lnTo>
                        <a:pt x="21510" y="4269"/>
                      </a:lnTo>
                      <a:lnTo>
                        <a:pt x="21505" y="4262"/>
                      </a:lnTo>
                      <a:lnTo>
                        <a:pt x="21510" y="4245"/>
                      </a:lnTo>
                      <a:lnTo>
                        <a:pt x="21522" y="4207"/>
                      </a:lnTo>
                      <a:lnTo>
                        <a:pt x="21527" y="4207"/>
                      </a:lnTo>
                      <a:lnTo>
                        <a:pt x="21527" y="4179"/>
                      </a:lnTo>
                      <a:lnTo>
                        <a:pt x="21548" y="4167"/>
                      </a:lnTo>
                      <a:lnTo>
                        <a:pt x="21565" y="4151"/>
                      </a:lnTo>
                      <a:lnTo>
                        <a:pt x="21548" y="4117"/>
                      </a:lnTo>
                      <a:lnTo>
                        <a:pt x="21565" y="4096"/>
                      </a:lnTo>
                      <a:lnTo>
                        <a:pt x="21543" y="4084"/>
                      </a:lnTo>
                      <a:lnTo>
                        <a:pt x="21494" y="4096"/>
                      </a:lnTo>
                      <a:lnTo>
                        <a:pt x="21479" y="4117"/>
                      </a:lnTo>
                      <a:lnTo>
                        <a:pt x="21451" y="4113"/>
                      </a:lnTo>
                      <a:lnTo>
                        <a:pt x="21418" y="4134"/>
                      </a:lnTo>
                      <a:lnTo>
                        <a:pt x="21413" y="4151"/>
                      </a:lnTo>
                      <a:lnTo>
                        <a:pt x="21305" y="4151"/>
                      </a:lnTo>
                      <a:lnTo>
                        <a:pt x="21295" y="4125"/>
                      </a:lnTo>
                      <a:lnTo>
                        <a:pt x="21279" y="4113"/>
                      </a:lnTo>
                      <a:lnTo>
                        <a:pt x="21291" y="4096"/>
                      </a:lnTo>
                      <a:lnTo>
                        <a:pt x="21274" y="4063"/>
                      </a:lnTo>
                      <a:lnTo>
                        <a:pt x="21279" y="4040"/>
                      </a:lnTo>
                      <a:lnTo>
                        <a:pt x="21253" y="4040"/>
                      </a:lnTo>
                      <a:lnTo>
                        <a:pt x="21224" y="4023"/>
                      </a:lnTo>
                      <a:lnTo>
                        <a:pt x="21208" y="4006"/>
                      </a:lnTo>
                      <a:lnTo>
                        <a:pt x="21203" y="4002"/>
                      </a:lnTo>
                      <a:lnTo>
                        <a:pt x="21198" y="3990"/>
                      </a:lnTo>
                      <a:lnTo>
                        <a:pt x="21170" y="4002"/>
                      </a:lnTo>
                      <a:lnTo>
                        <a:pt x="21149" y="3973"/>
                      </a:lnTo>
                      <a:lnTo>
                        <a:pt x="21078" y="3973"/>
                      </a:lnTo>
                      <a:lnTo>
                        <a:pt x="21057" y="3952"/>
                      </a:lnTo>
                      <a:lnTo>
                        <a:pt x="21057" y="3931"/>
                      </a:lnTo>
                      <a:lnTo>
                        <a:pt x="21064" y="3914"/>
                      </a:lnTo>
                      <a:lnTo>
                        <a:pt x="21047" y="3903"/>
                      </a:lnTo>
                      <a:lnTo>
                        <a:pt x="21040" y="3891"/>
                      </a:lnTo>
                      <a:lnTo>
                        <a:pt x="21047" y="3879"/>
                      </a:lnTo>
                      <a:lnTo>
                        <a:pt x="21040" y="3862"/>
                      </a:lnTo>
                      <a:lnTo>
                        <a:pt x="21019" y="3836"/>
                      </a:lnTo>
                      <a:lnTo>
                        <a:pt x="21019" y="3808"/>
                      </a:lnTo>
                      <a:lnTo>
                        <a:pt x="21009" y="3820"/>
                      </a:lnTo>
                      <a:lnTo>
                        <a:pt x="21019" y="3803"/>
                      </a:lnTo>
                      <a:lnTo>
                        <a:pt x="21009" y="3803"/>
                      </a:lnTo>
                      <a:lnTo>
                        <a:pt x="21002" y="3768"/>
                      </a:lnTo>
                      <a:lnTo>
                        <a:pt x="20981" y="3747"/>
                      </a:lnTo>
                      <a:lnTo>
                        <a:pt x="20993" y="3730"/>
                      </a:lnTo>
                      <a:lnTo>
                        <a:pt x="20972" y="3730"/>
                      </a:lnTo>
                      <a:lnTo>
                        <a:pt x="20981" y="3709"/>
                      </a:lnTo>
                      <a:lnTo>
                        <a:pt x="20965" y="3692"/>
                      </a:lnTo>
                      <a:lnTo>
                        <a:pt x="20950" y="3692"/>
                      </a:lnTo>
                      <a:lnTo>
                        <a:pt x="20955" y="3676"/>
                      </a:lnTo>
                      <a:lnTo>
                        <a:pt x="20927" y="3659"/>
                      </a:lnTo>
                      <a:lnTo>
                        <a:pt x="20934" y="3652"/>
                      </a:lnTo>
                      <a:lnTo>
                        <a:pt x="20927" y="3643"/>
                      </a:lnTo>
                      <a:lnTo>
                        <a:pt x="20896" y="3624"/>
                      </a:lnTo>
                      <a:lnTo>
                        <a:pt x="20875" y="3636"/>
                      </a:lnTo>
                      <a:lnTo>
                        <a:pt x="20846" y="3624"/>
                      </a:lnTo>
                      <a:lnTo>
                        <a:pt x="20830" y="3614"/>
                      </a:lnTo>
                      <a:lnTo>
                        <a:pt x="20820" y="3614"/>
                      </a:lnTo>
                      <a:lnTo>
                        <a:pt x="20787" y="3598"/>
                      </a:lnTo>
                      <a:lnTo>
                        <a:pt x="20587" y="3619"/>
                      </a:lnTo>
                      <a:lnTo>
                        <a:pt x="20535" y="3669"/>
                      </a:lnTo>
                      <a:lnTo>
                        <a:pt x="20539" y="3692"/>
                      </a:lnTo>
                      <a:lnTo>
                        <a:pt x="20561" y="3680"/>
                      </a:lnTo>
                      <a:lnTo>
                        <a:pt x="20577" y="3692"/>
                      </a:lnTo>
                      <a:lnTo>
                        <a:pt x="20577" y="3714"/>
                      </a:lnTo>
                      <a:lnTo>
                        <a:pt x="20587" y="3730"/>
                      </a:lnTo>
                      <a:lnTo>
                        <a:pt x="20577" y="3751"/>
                      </a:lnTo>
                      <a:lnTo>
                        <a:pt x="20539" y="3780"/>
                      </a:lnTo>
                      <a:lnTo>
                        <a:pt x="20518" y="3836"/>
                      </a:lnTo>
                      <a:lnTo>
                        <a:pt x="20502" y="3846"/>
                      </a:lnTo>
                      <a:lnTo>
                        <a:pt x="20497" y="3862"/>
                      </a:lnTo>
                      <a:lnTo>
                        <a:pt x="20468" y="3895"/>
                      </a:lnTo>
                      <a:lnTo>
                        <a:pt x="20485" y="3903"/>
                      </a:lnTo>
                      <a:lnTo>
                        <a:pt x="20485" y="3931"/>
                      </a:lnTo>
                      <a:lnTo>
                        <a:pt x="20468" y="3936"/>
                      </a:lnTo>
                      <a:lnTo>
                        <a:pt x="20431" y="3947"/>
                      </a:lnTo>
                      <a:lnTo>
                        <a:pt x="20388" y="3985"/>
                      </a:lnTo>
                      <a:lnTo>
                        <a:pt x="20301" y="3952"/>
                      </a:lnTo>
                      <a:lnTo>
                        <a:pt x="20291" y="3947"/>
                      </a:lnTo>
                      <a:lnTo>
                        <a:pt x="20270" y="3936"/>
                      </a:lnTo>
                      <a:lnTo>
                        <a:pt x="20232" y="3947"/>
                      </a:lnTo>
                      <a:lnTo>
                        <a:pt x="20209" y="3947"/>
                      </a:lnTo>
                      <a:lnTo>
                        <a:pt x="20171" y="3914"/>
                      </a:lnTo>
                      <a:lnTo>
                        <a:pt x="20128" y="3903"/>
                      </a:lnTo>
                      <a:lnTo>
                        <a:pt x="20053" y="3952"/>
                      </a:lnTo>
                      <a:lnTo>
                        <a:pt x="20048" y="3973"/>
                      </a:lnTo>
                      <a:lnTo>
                        <a:pt x="19923" y="4002"/>
                      </a:lnTo>
                      <a:lnTo>
                        <a:pt x="19885" y="4014"/>
                      </a:lnTo>
                      <a:lnTo>
                        <a:pt x="19800" y="4006"/>
                      </a:lnTo>
                      <a:lnTo>
                        <a:pt x="19779" y="3990"/>
                      </a:lnTo>
                      <a:lnTo>
                        <a:pt x="19729" y="4002"/>
                      </a:lnTo>
                      <a:lnTo>
                        <a:pt x="19687" y="3969"/>
                      </a:lnTo>
                      <a:lnTo>
                        <a:pt x="19691" y="3947"/>
                      </a:lnTo>
                      <a:lnTo>
                        <a:pt x="19628" y="3936"/>
                      </a:lnTo>
                      <a:lnTo>
                        <a:pt x="19620" y="3919"/>
                      </a:lnTo>
                      <a:lnTo>
                        <a:pt x="19599" y="3903"/>
                      </a:lnTo>
                      <a:lnTo>
                        <a:pt x="19566" y="3903"/>
                      </a:lnTo>
                      <a:lnTo>
                        <a:pt x="19552" y="3895"/>
                      </a:lnTo>
                      <a:lnTo>
                        <a:pt x="19507" y="3891"/>
                      </a:lnTo>
                      <a:lnTo>
                        <a:pt x="19439" y="3903"/>
                      </a:lnTo>
                      <a:lnTo>
                        <a:pt x="19410" y="3919"/>
                      </a:lnTo>
                      <a:lnTo>
                        <a:pt x="19401" y="3919"/>
                      </a:lnTo>
                      <a:lnTo>
                        <a:pt x="19389" y="3919"/>
                      </a:lnTo>
                      <a:lnTo>
                        <a:pt x="19356" y="3919"/>
                      </a:lnTo>
                      <a:lnTo>
                        <a:pt x="19351" y="3903"/>
                      </a:lnTo>
                      <a:lnTo>
                        <a:pt x="19335" y="3903"/>
                      </a:lnTo>
                      <a:lnTo>
                        <a:pt x="19292" y="3879"/>
                      </a:lnTo>
                      <a:lnTo>
                        <a:pt x="19297" y="3862"/>
                      </a:lnTo>
                      <a:lnTo>
                        <a:pt x="19280" y="3858"/>
                      </a:lnTo>
                      <a:lnTo>
                        <a:pt x="19292" y="3841"/>
                      </a:lnTo>
                      <a:lnTo>
                        <a:pt x="19280" y="3825"/>
                      </a:lnTo>
                      <a:lnTo>
                        <a:pt x="19280" y="3808"/>
                      </a:lnTo>
                      <a:lnTo>
                        <a:pt x="19243" y="3791"/>
                      </a:lnTo>
                      <a:lnTo>
                        <a:pt x="19226" y="3803"/>
                      </a:lnTo>
                      <a:lnTo>
                        <a:pt x="19167" y="3768"/>
                      </a:lnTo>
                      <a:lnTo>
                        <a:pt x="19129" y="3768"/>
                      </a:lnTo>
                      <a:lnTo>
                        <a:pt x="19049" y="3730"/>
                      </a:lnTo>
                      <a:lnTo>
                        <a:pt x="19032" y="3763"/>
                      </a:lnTo>
                      <a:lnTo>
                        <a:pt x="19011" y="3768"/>
                      </a:lnTo>
                      <a:lnTo>
                        <a:pt x="19006" y="3791"/>
                      </a:lnTo>
                      <a:lnTo>
                        <a:pt x="18990" y="3791"/>
                      </a:lnTo>
                      <a:lnTo>
                        <a:pt x="18973" y="3841"/>
                      </a:lnTo>
                      <a:lnTo>
                        <a:pt x="18990" y="3858"/>
                      </a:lnTo>
                      <a:lnTo>
                        <a:pt x="18990" y="3862"/>
                      </a:lnTo>
                      <a:lnTo>
                        <a:pt x="18990" y="3874"/>
                      </a:lnTo>
                      <a:lnTo>
                        <a:pt x="19011" y="3891"/>
                      </a:lnTo>
                      <a:lnTo>
                        <a:pt x="19011" y="3903"/>
                      </a:lnTo>
                      <a:lnTo>
                        <a:pt x="18994" y="3931"/>
                      </a:lnTo>
                      <a:lnTo>
                        <a:pt x="18969" y="3936"/>
                      </a:lnTo>
                      <a:lnTo>
                        <a:pt x="18940" y="3957"/>
                      </a:lnTo>
                      <a:lnTo>
                        <a:pt x="18919" y="3947"/>
                      </a:lnTo>
                      <a:lnTo>
                        <a:pt x="18886" y="3952"/>
                      </a:lnTo>
                      <a:lnTo>
                        <a:pt x="18848" y="3936"/>
                      </a:lnTo>
                      <a:lnTo>
                        <a:pt x="18843" y="3947"/>
                      </a:lnTo>
                      <a:lnTo>
                        <a:pt x="18834" y="3936"/>
                      </a:lnTo>
                      <a:lnTo>
                        <a:pt x="18810" y="3947"/>
                      </a:lnTo>
                      <a:lnTo>
                        <a:pt x="18780" y="3936"/>
                      </a:lnTo>
                      <a:lnTo>
                        <a:pt x="18772" y="3931"/>
                      </a:lnTo>
                      <a:lnTo>
                        <a:pt x="18751" y="3936"/>
                      </a:lnTo>
                      <a:lnTo>
                        <a:pt x="18735" y="3914"/>
                      </a:lnTo>
                      <a:lnTo>
                        <a:pt x="18725" y="3879"/>
                      </a:lnTo>
                      <a:lnTo>
                        <a:pt x="18645" y="3879"/>
                      </a:lnTo>
                      <a:lnTo>
                        <a:pt x="18633" y="3874"/>
                      </a:lnTo>
                      <a:lnTo>
                        <a:pt x="18633" y="3858"/>
                      </a:lnTo>
                      <a:lnTo>
                        <a:pt x="18628" y="3858"/>
                      </a:lnTo>
                      <a:lnTo>
                        <a:pt x="18612" y="3874"/>
                      </a:lnTo>
                      <a:lnTo>
                        <a:pt x="18591" y="3858"/>
                      </a:lnTo>
                      <a:lnTo>
                        <a:pt x="18579" y="3862"/>
                      </a:lnTo>
                      <a:lnTo>
                        <a:pt x="18546" y="3874"/>
                      </a:lnTo>
                      <a:lnTo>
                        <a:pt x="18524" y="3891"/>
                      </a:lnTo>
                      <a:lnTo>
                        <a:pt x="18494" y="3895"/>
                      </a:lnTo>
                      <a:lnTo>
                        <a:pt x="18482" y="3914"/>
                      </a:lnTo>
                      <a:lnTo>
                        <a:pt x="18432" y="3931"/>
                      </a:lnTo>
                      <a:lnTo>
                        <a:pt x="18428" y="3936"/>
                      </a:lnTo>
                      <a:lnTo>
                        <a:pt x="18402" y="3947"/>
                      </a:lnTo>
                      <a:lnTo>
                        <a:pt x="18411" y="3957"/>
                      </a:lnTo>
                      <a:lnTo>
                        <a:pt x="18380" y="3973"/>
                      </a:lnTo>
                      <a:lnTo>
                        <a:pt x="18373" y="3969"/>
                      </a:lnTo>
                      <a:lnTo>
                        <a:pt x="18373" y="3985"/>
                      </a:lnTo>
                      <a:lnTo>
                        <a:pt x="18357" y="3985"/>
                      </a:lnTo>
                      <a:lnTo>
                        <a:pt x="18347" y="3973"/>
                      </a:lnTo>
                      <a:lnTo>
                        <a:pt x="18347" y="3990"/>
                      </a:lnTo>
                      <a:lnTo>
                        <a:pt x="18305" y="3985"/>
                      </a:lnTo>
                      <a:lnTo>
                        <a:pt x="18293" y="3990"/>
                      </a:lnTo>
                      <a:lnTo>
                        <a:pt x="18293" y="4006"/>
                      </a:lnTo>
                      <a:lnTo>
                        <a:pt x="18276" y="4014"/>
                      </a:lnTo>
                      <a:lnTo>
                        <a:pt x="18239" y="4023"/>
                      </a:lnTo>
                      <a:lnTo>
                        <a:pt x="18239" y="4006"/>
                      </a:lnTo>
                      <a:lnTo>
                        <a:pt x="18213" y="4002"/>
                      </a:lnTo>
                      <a:lnTo>
                        <a:pt x="18213" y="3985"/>
                      </a:lnTo>
                      <a:lnTo>
                        <a:pt x="18184" y="3973"/>
                      </a:lnTo>
                      <a:lnTo>
                        <a:pt x="18201" y="3957"/>
                      </a:lnTo>
                      <a:lnTo>
                        <a:pt x="18201" y="3952"/>
                      </a:lnTo>
                      <a:lnTo>
                        <a:pt x="18184" y="3952"/>
                      </a:lnTo>
                      <a:lnTo>
                        <a:pt x="18163" y="3985"/>
                      </a:lnTo>
                      <a:lnTo>
                        <a:pt x="18125" y="3973"/>
                      </a:lnTo>
                      <a:lnTo>
                        <a:pt x="18092" y="3973"/>
                      </a:lnTo>
                      <a:lnTo>
                        <a:pt x="18087" y="3947"/>
                      </a:lnTo>
                      <a:lnTo>
                        <a:pt x="18078" y="3947"/>
                      </a:lnTo>
                      <a:lnTo>
                        <a:pt x="18078" y="3936"/>
                      </a:lnTo>
                      <a:lnTo>
                        <a:pt x="18078" y="3931"/>
                      </a:lnTo>
                      <a:lnTo>
                        <a:pt x="18033" y="3914"/>
                      </a:lnTo>
                      <a:lnTo>
                        <a:pt x="18002" y="3858"/>
                      </a:lnTo>
                      <a:lnTo>
                        <a:pt x="17969" y="3841"/>
                      </a:lnTo>
                      <a:lnTo>
                        <a:pt x="17915" y="3846"/>
                      </a:lnTo>
                      <a:lnTo>
                        <a:pt x="17915" y="3858"/>
                      </a:lnTo>
                      <a:lnTo>
                        <a:pt x="17898" y="3862"/>
                      </a:lnTo>
                      <a:lnTo>
                        <a:pt x="17835" y="3862"/>
                      </a:lnTo>
                      <a:lnTo>
                        <a:pt x="17823" y="3841"/>
                      </a:lnTo>
                      <a:lnTo>
                        <a:pt x="17802" y="3846"/>
                      </a:lnTo>
                      <a:lnTo>
                        <a:pt x="17806" y="3825"/>
                      </a:lnTo>
                      <a:lnTo>
                        <a:pt x="17780" y="3808"/>
                      </a:lnTo>
                      <a:lnTo>
                        <a:pt x="17769" y="3820"/>
                      </a:lnTo>
                      <a:lnTo>
                        <a:pt x="17752" y="3825"/>
                      </a:lnTo>
                      <a:lnTo>
                        <a:pt x="17764" y="3841"/>
                      </a:lnTo>
                      <a:lnTo>
                        <a:pt x="17731" y="3858"/>
                      </a:lnTo>
                      <a:lnTo>
                        <a:pt x="17731" y="3862"/>
                      </a:lnTo>
                      <a:lnTo>
                        <a:pt x="17575" y="3619"/>
                      </a:lnTo>
                      <a:lnTo>
                        <a:pt x="17483" y="3548"/>
                      </a:lnTo>
                      <a:lnTo>
                        <a:pt x="17478" y="3532"/>
                      </a:lnTo>
                      <a:lnTo>
                        <a:pt x="17495" y="3532"/>
                      </a:lnTo>
                      <a:lnTo>
                        <a:pt x="17511" y="3525"/>
                      </a:lnTo>
                      <a:lnTo>
                        <a:pt x="17499" y="3508"/>
                      </a:lnTo>
                      <a:lnTo>
                        <a:pt x="17478" y="3515"/>
                      </a:lnTo>
                      <a:lnTo>
                        <a:pt x="17461" y="3515"/>
                      </a:lnTo>
                      <a:lnTo>
                        <a:pt x="17461" y="3525"/>
                      </a:lnTo>
                      <a:lnTo>
                        <a:pt x="17407" y="3541"/>
                      </a:lnTo>
                      <a:lnTo>
                        <a:pt x="17402" y="3541"/>
                      </a:lnTo>
                      <a:lnTo>
                        <a:pt x="17407" y="3548"/>
                      </a:lnTo>
                      <a:lnTo>
                        <a:pt x="17374" y="3569"/>
                      </a:lnTo>
                      <a:lnTo>
                        <a:pt x="17360" y="3565"/>
                      </a:lnTo>
                      <a:lnTo>
                        <a:pt x="17353" y="3581"/>
                      </a:lnTo>
                      <a:lnTo>
                        <a:pt x="17336" y="3581"/>
                      </a:lnTo>
                      <a:lnTo>
                        <a:pt x="17336" y="3603"/>
                      </a:lnTo>
                      <a:lnTo>
                        <a:pt x="17322" y="3586"/>
                      </a:lnTo>
                      <a:lnTo>
                        <a:pt x="17298" y="3586"/>
                      </a:lnTo>
                      <a:lnTo>
                        <a:pt x="17284" y="3586"/>
                      </a:lnTo>
                      <a:lnTo>
                        <a:pt x="17268" y="3603"/>
                      </a:lnTo>
                      <a:lnTo>
                        <a:pt x="17251" y="3586"/>
                      </a:lnTo>
                      <a:lnTo>
                        <a:pt x="17268" y="3565"/>
                      </a:lnTo>
                      <a:lnTo>
                        <a:pt x="17284" y="3565"/>
                      </a:lnTo>
                      <a:lnTo>
                        <a:pt x="17294" y="3541"/>
                      </a:lnTo>
                      <a:lnTo>
                        <a:pt x="17251" y="3558"/>
                      </a:lnTo>
                      <a:lnTo>
                        <a:pt x="17239" y="3548"/>
                      </a:lnTo>
                      <a:lnTo>
                        <a:pt x="17230" y="3541"/>
                      </a:lnTo>
                      <a:lnTo>
                        <a:pt x="17209" y="3532"/>
                      </a:lnTo>
                      <a:lnTo>
                        <a:pt x="17197" y="3548"/>
                      </a:lnTo>
                      <a:lnTo>
                        <a:pt x="17213" y="3541"/>
                      </a:lnTo>
                      <a:lnTo>
                        <a:pt x="17213" y="3558"/>
                      </a:lnTo>
                      <a:lnTo>
                        <a:pt x="17197" y="3558"/>
                      </a:lnTo>
                      <a:lnTo>
                        <a:pt x="17192" y="3558"/>
                      </a:lnTo>
                      <a:lnTo>
                        <a:pt x="17197" y="3532"/>
                      </a:lnTo>
                      <a:lnTo>
                        <a:pt x="17185" y="3532"/>
                      </a:lnTo>
                      <a:lnTo>
                        <a:pt x="17192" y="3525"/>
                      </a:lnTo>
                      <a:lnTo>
                        <a:pt x="17176" y="3515"/>
                      </a:lnTo>
                      <a:lnTo>
                        <a:pt x="17171" y="3508"/>
                      </a:lnTo>
                      <a:lnTo>
                        <a:pt x="17176" y="3541"/>
                      </a:lnTo>
                      <a:lnTo>
                        <a:pt x="17143" y="3525"/>
                      </a:lnTo>
                      <a:lnTo>
                        <a:pt x="17138" y="3541"/>
                      </a:lnTo>
                      <a:lnTo>
                        <a:pt x="17121" y="3532"/>
                      </a:lnTo>
                      <a:lnTo>
                        <a:pt x="17105" y="3541"/>
                      </a:lnTo>
                      <a:lnTo>
                        <a:pt x="17088" y="3515"/>
                      </a:lnTo>
                      <a:lnTo>
                        <a:pt x="17105" y="3515"/>
                      </a:lnTo>
                      <a:lnTo>
                        <a:pt x="17105" y="3491"/>
                      </a:lnTo>
                      <a:lnTo>
                        <a:pt x="17117" y="3487"/>
                      </a:lnTo>
                      <a:lnTo>
                        <a:pt x="17100" y="3470"/>
                      </a:lnTo>
                      <a:lnTo>
                        <a:pt x="17088" y="3447"/>
                      </a:lnTo>
                      <a:lnTo>
                        <a:pt x="17083" y="3421"/>
                      </a:lnTo>
                      <a:lnTo>
                        <a:pt x="17062" y="3421"/>
                      </a:lnTo>
                      <a:lnTo>
                        <a:pt x="17046" y="3437"/>
                      </a:lnTo>
                      <a:lnTo>
                        <a:pt x="16996" y="3414"/>
                      </a:lnTo>
                      <a:lnTo>
                        <a:pt x="16975" y="3414"/>
                      </a:lnTo>
                      <a:lnTo>
                        <a:pt x="16970" y="3421"/>
                      </a:lnTo>
                      <a:lnTo>
                        <a:pt x="16954" y="3404"/>
                      </a:lnTo>
                      <a:lnTo>
                        <a:pt x="16954" y="3421"/>
                      </a:lnTo>
                      <a:lnTo>
                        <a:pt x="16937" y="3414"/>
                      </a:lnTo>
                      <a:lnTo>
                        <a:pt x="16928" y="3430"/>
                      </a:lnTo>
                      <a:lnTo>
                        <a:pt x="16899" y="3430"/>
                      </a:lnTo>
                      <a:lnTo>
                        <a:pt x="16906" y="3447"/>
                      </a:lnTo>
                      <a:lnTo>
                        <a:pt x="16899" y="3454"/>
                      </a:lnTo>
                      <a:lnTo>
                        <a:pt x="16883" y="3454"/>
                      </a:lnTo>
                      <a:lnTo>
                        <a:pt x="16852" y="3470"/>
                      </a:lnTo>
                      <a:lnTo>
                        <a:pt x="16743" y="3491"/>
                      </a:lnTo>
                      <a:lnTo>
                        <a:pt x="16743" y="3475"/>
                      </a:lnTo>
                      <a:lnTo>
                        <a:pt x="16727" y="3491"/>
                      </a:lnTo>
                      <a:lnTo>
                        <a:pt x="16706" y="3487"/>
                      </a:lnTo>
                      <a:lnTo>
                        <a:pt x="16689" y="3503"/>
                      </a:lnTo>
                      <a:lnTo>
                        <a:pt x="16689" y="3515"/>
                      </a:lnTo>
                      <a:lnTo>
                        <a:pt x="16668" y="3508"/>
                      </a:lnTo>
                      <a:lnTo>
                        <a:pt x="16604" y="3515"/>
                      </a:lnTo>
                      <a:lnTo>
                        <a:pt x="16604" y="3525"/>
                      </a:lnTo>
                      <a:lnTo>
                        <a:pt x="16597" y="3532"/>
                      </a:lnTo>
                      <a:lnTo>
                        <a:pt x="16580" y="3525"/>
                      </a:lnTo>
                      <a:lnTo>
                        <a:pt x="16543" y="3532"/>
                      </a:lnTo>
                      <a:lnTo>
                        <a:pt x="16543" y="3541"/>
                      </a:lnTo>
                      <a:lnTo>
                        <a:pt x="16505" y="3548"/>
                      </a:lnTo>
                      <a:lnTo>
                        <a:pt x="16505" y="3565"/>
                      </a:lnTo>
                      <a:lnTo>
                        <a:pt x="16491" y="3548"/>
                      </a:lnTo>
                      <a:lnTo>
                        <a:pt x="16467" y="3548"/>
                      </a:lnTo>
                      <a:lnTo>
                        <a:pt x="16467" y="3558"/>
                      </a:lnTo>
                      <a:lnTo>
                        <a:pt x="16420" y="3541"/>
                      </a:lnTo>
                      <a:lnTo>
                        <a:pt x="16398" y="3558"/>
                      </a:lnTo>
                      <a:lnTo>
                        <a:pt x="16398" y="3565"/>
                      </a:lnTo>
                      <a:lnTo>
                        <a:pt x="16415" y="3569"/>
                      </a:lnTo>
                      <a:lnTo>
                        <a:pt x="16398" y="3586"/>
                      </a:lnTo>
                      <a:lnTo>
                        <a:pt x="16387" y="3586"/>
                      </a:lnTo>
                      <a:lnTo>
                        <a:pt x="16424" y="3586"/>
                      </a:lnTo>
                      <a:lnTo>
                        <a:pt x="16436" y="3598"/>
                      </a:lnTo>
                      <a:lnTo>
                        <a:pt x="16420" y="3603"/>
                      </a:lnTo>
                      <a:lnTo>
                        <a:pt x="16415" y="3598"/>
                      </a:lnTo>
                      <a:lnTo>
                        <a:pt x="16403" y="3619"/>
                      </a:lnTo>
                      <a:lnTo>
                        <a:pt x="16474" y="3636"/>
                      </a:lnTo>
                      <a:lnTo>
                        <a:pt x="16474" y="3652"/>
                      </a:lnTo>
                      <a:lnTo>
                        <a:pt x="16458" y="3652"/>
                      </a:lnTo>
                      <a:lnTo>
                        <a:pt x="16424" y="3643"/>
                      </a:lnTo>
                      <a:lnTo>
                        <a:pt x="16398" y="3652"/>
                      </a:lnTo>
                      <a:lnTo>
                        <a:pt x="16370" y="3680"/>
                      </a:lnTo>
                      <a:lnTo>
                        <a:pt x="16382" y="3680"/>
                      </a:lnTo>
                      <a:lnTo>
                        <a:pt x="16382" y="3692"/>
                      </a:lnTo>
                      <a:lnTo>
                        <a:pt x="16387" y="3697"/>
                      </a:lnTo>
                      <a:lnTo>
                        <a:pt x="16398" y="3714"/>
                      </a:lnTo>
                      <a:lnTo>
                        <a:pt x="16370" y="3730"/>
                      </a:lnTo>
                      <a:lnTo>
                        <a:pt x="16361" y="3730"/>
                      </a:lnTo>
                      <a:lnTo>
                        <a:pt x="16316" y="3747"/>
                      </a:lnTo>
                      <a:lnTo>
                        <a:pt x="16328" y="3751"/>
                      </a:lnTo>
                      <a:lnTo>
                        <a:pt x="16361" y="3763"/>
                      </a:lnTo>
                      <a:lnTo>
                        <a:pt x="16349" y="3780"/>
                      </a:lnTo>
                      <a:lnTo>
                        <a:pt x="16387" y="3787"/>
                      </a:lnTo>
                      <a:lnTo>
                        <a:pt x="16387" y="3791"/>
                      </a:lnTo>
                      <a:lnTo>
                        <a:pt x="16424" y="3803"/>
                      </a:lnTo>
                      <a:lnTo>
                        <a:pt x="16441" y="3820"/>
                      </a:lnTo>
                      <a:lnTo>
                        <a:pt x="16436" y="3820"/>
                      </a:lnTo>
                      <a:lnTo>
                        <a:pt x="16420" y="3862"/>
                      </a:lnTo>
                      <a:lnTo>
                        <a:pt x="16370" y="3874"/>
                      </a:lnTo>
                      <a:lnTo>
                        <a:pt x="16344" y="3874"/>
                      </a:lnTo>
                      <a:lnTo>
                        <a:pt x="16328" y="3858"/>
                      </a:lnTo>
                      <a:lnTo>
                        <a:pt x="16311" y="3879"/>
                      </a:lnTo>
                      <a:lnTo>
                        <a:pt x="16290" y="3891"/>
                      </a:lnTo>
                      <a:lnTo>
                        <a:pt x="16295" y="3879"/>
                      </a:lnTo>
                      <a:lnTo>
                        <a:pt x="16290" y="3874"/>
                      </a:lnTo>
                      <a:lnTo>
                        <a:pt x="16252" y="3874"/>
                      </a:lnTo>
                      <a:lnTo>
                        <a:pt x="16226" y="3858"/>
                      </a:lnTo>
                      <a:lnTo>
                        <a:pt x="16219" y="3846"/>
                      </a:lnTo>
                      <a:lnTo>
                        <a:pt x="16226" y="3836"/>
                      </a:lnTo>
                      <a:lnTo>
                        <a:pt x="16202" y="3825"/>
                      </a:lnTo>
                      <a:lnTo>
                        <a:pt x="16198" y="3836"/>
                      </a:lnTo>
                      <a:lnTo>
                        <a:pt x="16165" y="3836"/>
                      </a:lnTo>
                      <a:lnTo>
                        <a:pt x="16165" y="3846"/>
                      </a:lnTo>
                      <a:lnTo>
                        <a:pt x="16150" y="3858"/>
                      </a:lnTo>
                      <a:lnTo>
                        <a:pt x="16117" y="3836"/>
                      </a:lnTo>
                      <a:lnTo>
                        <a:pt x="16096" y="3836"/>
                      </a:lnTo>
                      <a:lnTo>
                        <a:pt x="16089" y="3836"/>
                      </a:lnTo>
                      <a:lnTo>
                        <a:pt x="16096" y="3841"/>
                      </a:lnTo>
                      <a:lnTo>
                        <a:pt x="16080" y="3836"/>
                      </a:lnTo>
                      <a:lnTo>
                        <a:pt x="16063" y="3846"/>
                      </a:lnTo>
                      <a:lnTo>
                        <a:pt x="16058" y="3846"/>
                      </a:lnTo>
                      <a:lnTo>
                        <a:pt x="16047" y="3862"/>
                      </a:lnTo>
                      <a:lnTo>
                        <a:pt x="16021" y="3891"/>
                      </a:lnTo>
                      <a:lnTo>
                        <a:pt x="15950" y="3836"/>
                      </a:lnTo>
                      <a:lnTo>
                        <a:pt x="15938" y="3841"/>
                      </a:lnTo>
                      <a:lnTo>
                        <a:pt x="15938" y="3846"/>
                      </a:lnTo>
                      <a:lnTo>
                        <a:pt x="15950" y="3846"/>
                      </a:lnTo>
                      <a:lnTo>
                        <a:pt x="15950" y="3879"/>
                      </a:lnTo>
                      <a:lnTo>
                        <a:pt x="15938" y="3891"/>
                      </a:lnTo>
                      <a:lnTo>
                        <a:pt x="15933" y="3874"/>
                      </a:lnTo>
                      <a:lnTo>
                        <a:pt x="15938" y="3858"/>
                      </a:lnTo>
                      <a:lnTo>
                        <a:pt x="15928" y="3846"/>
                      </a:lnTo>
                      <a:lnTo>
                        <a:pt x="15900" y="3825"/>
                      </a:lnTo>
                      <a:lnTo>
                        <a:pt x="15879" y="3820"/>
                      </a:lnTo>
                      <a:lnTo>
                        <a:pt x="15879" y="3803"/>
                      </a:lnTo>
                      <a:lnTo>
                        <a:pt x="15862" y="3791"/>
                      </a:lnTo>
                      <a:lnTo>
                        <a:pt x="15803" y="3791"/>
                      </a:lnTo>
                      <a:lnTo>
                        <a:pt x="15787" y="3768"/>
                      </a:lnTo>
                      <a:lnTo>
                        <a:pt x="15772" y="3780"/>
                      </a:lnTo>
                      <a:lnTo>
                        <a:pt x="15756" y="3780"/>
                      </a:lnTo>
                      <a:lnTo>
                        <a:pt x="15749" y="3787"/>
                      </a:lnTo>
                      <a:lnTo>
                        <a:pt x="15749" y="3791"/>
                      </a:lnTo>
                      <a:lnTo>
                        <a:pt x="15739" y="3791"/>
                      </a:lnTo>
                      <a:lnTo>
                        <a:pt x="15711" y="3791"/>
                      </a:lnTo>
                      <a:lnTo>
                        <a:pt x="15711" y="3787"/>
                      </a:lnTo>
                      <a:lnTo>
                        <a:pt x="15718" y="3787"/>
                      </a:lnTo>
                      <a:lnTo>
                        <a:pt x="15718" y="3780"/>
                      </a:lnTo>
                      <a:lnTo>
                        <a:pt x="15680" y="3768"/>
                      </a:lnTo>
                      <a:lnTo>
                        <a:pt x="15680" y="3787"/>
                      </a:lnTo>
                      <a:lnTo>
                        <a:pt x="15664" y="3780"/>
                      </a:lnTo>
                      <a:lnTo>
                        <a:pt x="15664" y="3791"/>
                      </a:lnTo>
                      <a:lnTo>
                        <a:pt x="15647" y="3803"/>
                      </a:lnTo>
                      <a:lnTo>
                        <a:pt x="15647" y="3808"/>
                      </a:lnTo>
                      <a:lnTo>
                        <a:pt x="15609" y="3836"/>
                      </a:lnTo>
                      <a:lnTo>
                        <a:pt x="15588" y="3825"/>
                      </a:lnTo>
                      <a:lnTo>
                        <a:pt x="15576" y="3841"/>
                      </a:lnTo>
                      <a:lnTo>
                        <a:pt x="15576" y="3858"/>
                      </a:lnTo>
                      <a:lnTo>
                        <a:pt x="15534" y="3879"/>
                      </a:lnTo>
                      <a:lnTo>
                        <a:pt x="15534" y="3914"/>
                      </a:lnTo>
                      <a:lnTo>
                        <a:pt x="15550" y="3931"/>
                      </a:lnTo>
                      <a:lnTo>
                        <a:pt x="15539" y="3947"/>
                      </a:lnTo>
                      <a:lnTo>
                        <a:pt x="15508" y="3952"/>
                      </a:lnTo>
                      <a:lnTo>
                        <a:pt x="15501" y="3947"/>
                      </a:lnTo>
                      <a:lnTo>
                        <a:pt x="15480" y="3914"/>
                      </a:lnTo>
                      <a:lnTo>
                        <a:pt x="15454" y="3891"/>
                      </a:lnTo>
                      <a:lnTo>
                        <a:pt x="15447" y="3895"/>
                      </a:lnTo>
                      <a:lnTo>
                        <a:pt x="15432" y="3903"/>
                      </a:lnTo>
                      <a:lnTo>
                        <a:pt x="15432" y="3931"/>
                      </a:lnTo>
                      <a:lnTo>
                        <a:pt x="15409" y="3952"/>
                      </a:lnTo>
                      <a:lnTo>
                        <a:pt x="15395" y="4002"/>
                      </a:lnTo>
                      <a:lnTo>
                        <a:pt x="15416" y="4014"/>
                      </a:lnTo>
                      <a:lnTo>
                        <a:pt x="15395" y="4030"/>
                      </a:lnTo>
                      <a:lnTo>
                        <a:pt x="15378" y="4080"/>
                      </a:lnTo>
                      <a:lnTo>
                        <a:pt x="15416" y="4096"/>
                      </a:lnTo>
                      <a:lnTo>
                        <a:pt x="15425" y="4134"/>
                      </a:lnTo>
                      <a:lnTo>
                        <a:pt x="15442" y="4151"/>
                      </a:lnTo>
                      <a:lnTo>
                        <a:pt x="15442" y="4134"/>
                      </a:lnTo>
                      <a:lnTo>
                        <a:pt x="15496" y="4151"/>
                      </a:lnTo>
                      <a:lnTo>
                        <a:pt x="15555" y="4228"/>
                      </a:lnTo>
                      <a:lnTo>
                        <a:pt x="15534" y="4236"/>
                      </a:lnTo>
                      <a:lnTo>
                        <a:pt x="15517" y="4236"/>
                      </a:lnTo>
                      <a:lnTo>
                        <a:pt x="15517" y="4252"/>
                      </a:lnTo>
                      <a:lnTo>
                        <a:pt x="15560" y="4269"/>
                      </a:lnTo>
                      <a:lnTo>
                        <a:pt x="15572" y="4278"/>
                      </a:lnTo>
                      <a:lnTo>
                        <a:pt x="15560" y="4278"/>
                      </a:lnTo>
                      <a:lnTo>
                        <a:pt x="15550" y="4290"/>
                      </a:lnTo>
                      <a:lnTo>
                        <a:pt x="15522" y="4290"/>
                      </a:lnTo>
                      <a:lnTo>
                        <a:pt x="15534" y="4302"/>
                      </a:lnTo>
                      <a:lnTo>
                        <a:pt x="15534" y="4318"/>
                      </a:lnTo>
                      <a:lnTo>
                        <a:pt x="15522" y="4306"/>
                      </a:lnTo>
                      <a:lnTo>
                        <a:pt x="15496" y="4323"/>
                      </a:lnTo>
                      <a:lnTo>
                        <a:pt x="15470" y="4335"/>
                      </a:lnTo>
                      <a:lnTo>
                        <a:pt x="15447" y="4323"/>
                      </a:lnTo>
                      <a:lnTo>
                        <a:pt x="15454" y="4340"/>
                      </a:lnTo>
                      <a:lnTo>
                        <a:pt x="15442" y="4323"/>
                      </a:lnTo>
                      <a:lnTo>
                        <a:pt x="15447" y="4340"/>
                      </a:lnTo>
                      <a:lnTo>
                        <a:pt x="15447" y="4356"/>
                      </a:lnTo>
                      <a:lnTo>
                        <a:pt x="15416" y="4413"/>
                      </a:lnTo>
                      <a:lnTo>
                        <a:pt x="15416" y="4401"/>
                      </a:lnTo>
                      <a:lnTo>
                        <a:pt x="15395" y="4417"/>
                      </a:lnTo>
                      <a:lnTo>
                        <a:pt x="15387" y="4434"/>
                      </a:lnTo>
                      <a:lnTo>
                        <a:pt x="15395" y="4446"/>
                      </a:lnTo>
                      <a:lnTo>
                        <a:pt x="15416" y="4451"/>
                      </a:lnTo>
                      <a:lnTo>
                        <a:pt x="15432" y="4484"/>
                      </a:lnTo>
                      <a:lnTo>
                        <a:pt x="15447" y="4500"/>
                      </a:lnTo>
                      <a:lnTo>
                        <a:pt x="15442" y="4512"/>
                      </a:lnTo>
                      <a:lnTo>
                        <a:pt x="15442" y="4524"/>
                      </a:lnTo>
                      <a:lnTo>
                        <a:pt x="15447" y="4491"/>
                      </a:lnTo>
                      <a:lnTo>
                        <a:pt x="15463" y="4491"/>
                      </a:lnTo>
                      <a:lnTo>
                        <a:pt x="15447" y="4528"/>
                      </a:lnTo>
                      <a:lnTo>
                        <a:pt x="15447" y="4540"/>
                      </a:lnTo>
                      <a:lnTo>
                        <a:pt x="15454" y="4545"/>
                      </a:lnTo>
                      <a:lnTo>
                        <a:pt x="15447" y="4557"/>
                      </a:lnTo>
                      <a:lnTo>
                        <a:pt x="15442" y="4566"/>
                      </a:lnTo>
                      <a:lnTo>
                        <a:pt x="15463" y="4578"/>
                      </a:lnTo>
                      <a:lnTo>
                        <a:pt x="15463" y="4602"/>
                      </a:lnTo>
                      <a:lnTo>
                        <a:pt x="15484" y="4623"/>
                      </a:lnTo>
                      <a:lnTo>
                        <a:pt x="15508" y="4668"/>
                      </a:lnTo>
                      <a:lnTo>
                        <a:pt x="15522" y="4673"/>
                      </a:lnTo>
                      <a:lnTo>
                        <a:pt x="15508" y="4689"/>
                      </a:lnTo>
                      <a:lnTo>
                        <a:pt x="15484" y="4706"/>
                      </a:lnTo>
                      <a:lnTo>
                        <a:pt x="15480" y="4722"/>
                      </a:lnTo>
                      <a:lnTo>
                        <a:pt x="15463" y="4729"/>
                      </a:lnTo>
                      <a:lnTo>
                        <a:pt x="15432" y="4710"/>
                      </a:lnTo>
                      <a:lnTo>
                        <a:pt x="15425" y="4694"/>
                      </a:lnTo>
                      <a:lnTo>
                        <a:pt x="15395" y="4668"/>
                      </a:lnTo>
                      <a:lnTo>
                        <a:pt x="15387" y="4673"/>
                      </a:lnTo>
                      <a:lnTo>
                        <a:pt x="15371" y="4668"/>
                      </a:lnTo>
                      <a:lnTo>
                        <a:pt x="15319" y="4639"/>
                      </a:lnTo>
                      <a:lnTo>
                        <a:pt x="15324" y="4611"/>
                      </a:lnTo>
                      <a:lnTo>
                        <a:pt x="15291" y="4611"/>
                      </a:lnTo>
                      <a:lnTo>
                        <a:pt x="15286" y="4595"/>
                      </a:lnTo>
                      <a:lnTo>
                        <a:pt x="15269" y="4583"/>
                      </a:lnTo>
                      <a:lnTo>
                        <a:pt x="15253" y="4602"/>
                      </a:lnTo>
                      <a:lnTo>
                        <a:pt x="15236" y="4583"/>
                      </a:lnTo>
                      <a:lnTo>
                        <a:pt x="15194" y="4602"/>
                      </a:lnTo>
                      <a:lnTo>
                        <a:pt x="15182" y="4602"/>
                      </a:lnTo>
                      <a:lnTo>
                        <a:pt x="15182" y="4595"/>
                      </a:lnTo>
                      <a:lnTo>
                        <a:pt x="15144" y="4578"/>
                      </a:lnTo>
                      <a:lnTo>
                        <a:pt x="15123" y="4557"/>
                      </a:lnTo>
                      <a:lnTo>
                        <a:pt x="15031" y="4545"/>
                      </a:lnTo>
                      <a:lnTo>
                        <a:pt x="14967" y="4524"/>
                      </a:lnTo>
                      <a:lnTo>
                        <a:pt x="14941" y="4512"/>
                      </a:lnTo>
                      <a:lnTo>
                        <a:pt x="14924" y="4524"/>
                      </a:lnTo>
                      <a:lnTo>
                        <a:pt x="14924" y="4540"/>
                      </a:lnTo>
                      <a:lnTo>
                        <a:pt x="14832" y="4458"/>
                      </a:lnTo>
                      <a:lnTo>
                        <a:pt x="14795" y="4446"/>
                      </a:lnTo>
                      <a:lnTo>
                        <a:pt x="14766" y="4417"/>
                      </a:lnTo>
                      <a:lnTo>
                        <a:pt x="14766" y="4429"/>
                      </a:lnTo>
                      <a:lnTo>
                        <a:pt x="14745" y="4417"/>
                      </a:lnTo>
                      <a:lnTo>
                        <a:pt x="14724" y="4396"/>
                      </a:lnTo>
                      <a:lnTo>
                        <a:pt x="14686" y="4380"/>
                      </a:lnTo>
                      <a:lnTo>
                        <a:pt x="14707" y="4363"/>
                      </a:lnTo>
                      <a:lnTo>
                        <a:pt x="14691" y="4356"/>
                      </a:lnTo>
                      <a:lnTo>
                        <a:pt x="14686" y="4363"/>
                      </a:lnTo>
                      <a:lnTo>
                        <a:pt x="14698" y="4356"/>
                      </a:lnTo>
                      <a:lnTo>
                        <a:pt x="14714" y="4363"/>
                      </a:lnTo>
                      <a:lnTo>
                        <a:pt x="14714" y="4373"/>
                      </a:lnTo>
                      <a:lnTo>
                        <a:pt x="14745" y="4356"/>
                      </a:lnTo>
                      <a:lnTo>
                        <a:pt x="14761" y="4363"/>
                      </a:lnTo>
                      <a:lnTo>
                        <a:pt x="14761" y="4340"/>
                      </a:lnTo>
                      <a:lnTo>
                        <a:pt x="14752" y="4340"/>
                      </a:lnTo>
                      <a:lnTo>
                        <a:pt x="14752" y="4356"/>
                      </a:lnTo>
                      <a:lnTo>
                        <a:pt x="14752" y="4340"/>
                      </a:lnTo>
                      <a:lnTo>
                        <a:pt x="14761" y="4340"/>
                      </a:lnTo>
                      <a:lnTo>
                        <a:pt x="14752" y="4335"/>
                      </a:lnTo>
                      <a:lnTo>
                        <a:pt x="14766" y="4323"/>
                      </a:lnTo>
                      <a:lnTo>
                        <a:pt x="14778" y="4302"/>
                      </a:lnTo>
                      <a:lnTo>
                        <a:pt x="14783" y="4302"/>
                      </a:lnTo>
                      <a:lnTo>
                        <a:pt x="14783" y="4306"/>
                      </a:lnTo>
                      <a:lnTo>
                        <a:pt x="14795" y="4290"/>
                      </a:lnTo>
                      <a:lnTo>
                        <a:pt x="14816" y="4302"/>
                      </a:lnTo>
                      <a:lnTo>
                        <a:pt x="14821" y="4290"/>
                      </a:lnTo>
                      <a:lnTo>
                        <a:pt x="14783" y="4269"/>
                      </a:lnTo>
                      <a:lnTo>
                        <a:pt x="14778" y="4269"/>
                      </a:lnTo>
                      <a:lnTo>
                        <a:pt x="14761" y="4245"/>
                      </a:lnTo>
                      <a:lnTo>
                        <a:pt x="14783" y="4245"/>
                      </a:lnTo>
                      <a:lnTo>
                        <a:pt x="14799" y="4236"/>
                      </a:lnTo>
                      <a:lnTo>
                        <a:pt x="14821" y="4245"/>
                      </a:lnTo>
                      <a:lnTo>
                        <a:pt x="14816" y="4236"/>
                      </a:lnTo>
                      <a:lnTo>
                        <a:pt x="14804" y="4236"/>
                      </a:lnTo>
                      <a:lnTo>
                        <a:pt x="14804" y="4228"/>
                      </a:lnTo>
                      <a:lnTo>
                        <a:pt x="14854" y="4212"/>
                      </a:lnTo>
                      <a:lnTo>
                        <a:pt x="14870" y="4212"/>
                      </a:lnTo>
                      <a:lnTo>
                        <a:pt x="14870" y="4207"/>
                      </a:lnTo>
                      <a:lnTo>
                        <a:pt x="14870" y="4191"/>
                      </a:lnTo>
                      <a:lnTo>
                        <a:pt x="14854" y="4191"/>
                      </a:lnTo>
                      <a:lnTo>
                        <a:pt x="14821" y="4207"/>
                      </a:lnTo>
                      <a:lnTo>
                        <a:pt x="14816" y="4195"/>
                      </a:lnTo>
                      <a:lnTo>
                        <a:pt x="14821" y="4191"/>
                      </a:lnTo>
                      <a:lnTo>
                        <a:pt x="14832" y="4191"/>
                      </a:lnTo>
                      <a:lnTo>
                        <a:pt x="14799" y="4207"/>
                      </a:lnTo>
                      <a:lnTo>
                        <a:pt x="14799" y="4158"/>
                      </a:lnTo>
                      <a:lnTo>
                        <a:pt x="14832" y="4151"/>
                      </a:lnTo>
                      <a:lnTo>
                        <a:pt x="14837" y="4134"/>
                      </a:lnTo>
                      <a:lnTo>
                        <a:pt x="14908" y="4134"/>
                      </a:lnTo>
                      <a:lnTo>
                        <a:pt x="14908" y="4117"/>
                      </a:lnTo>
                      <a:lnTo>
                        <a:pt x="14924" y="4096"/>
                      </a:lnTo>
                      <a:lnTo>
                        <a:pt x="14908" y="4068"/>
                      </a:lnTo>
                      <a:lnTo>
                        <a:pt x="14903" y="4063"/>
                      </a:lnTo>
                      <a:lnTo>
                        <a:pt x="14908" y="4047"/>
                      </a:lnTo>
                      <a:lnTo>
                        <a:pt x="14924" y="4047"/>
                      </a:lnTo>
                      <a:lnTo>
                        <a:pt x="14924" y="4040"/>
                      </a:lnTo>
                      <a:lnTo>
                        <a:pt x="14908" y="4040"/>
                      </a:lnTo>
                      <a:lnTo>
                        <a:pt x="14903" y="4030"/>
                      </a:lnTo>
                      <a:lnTo>
                        <a:pt x="14913" y="4023"/>
                      </a:lnTo>
                      <a:lnTo>
                        <a:pt x="14929" y="4006"/>
                      </a:lnTo>
                      <a:lnTo>
                        <a:pt x="14924" y="3985"/>
                      </a:lnTo>
                      <a:lnTo>
                        <a:pt x="14929" y="3973"/>
                      </a:lnTo>
                      <a:lnTo>
                        <a:pt x="14908" y="3973"/>
                      </a:lnTo>
                      <a:lnTo>
                        <a:pt x="14891" y="3957"/>
                      </a:lnTo>
                      <a:lnTo>
                        <a:pt x="14870" y="3957"/>
                      </a:lnTo>
                      <a:lnTo>
                        <a:pt x="14858" y="3947"/>
                      </a:lnTo>
                      <a:lnTo>
                        <a:pt x="14849" y="3952"/>
                      </a:lnTo>
                      <a:lnTo>
                        <a:pt x="14799" y="3931"/>
                      </a:lnTo>
                      <a:lnTo>
                        <a:pt x="14795" y="3931"/>
                      </a:lnTo>
                      <a:lnTo>
                        <a:pt x="14783" y="3947"/>
                      </a:lnTo>
                      <a:lnTo>
                        <a:pt x="14761" y="3931"/>
                      </a:lnTo>
                      <a:lnTo>
                        <a:pt x="14745" y="3895"/>
                      </a:lnTo>
                      <a:lnTo>
                        <a:pt x="14686" y="3914"/>
                      </a:lnTo>
                      <a:lnTo>
                        <a:pt x="14660" y="3903"/>
                      </a:lnTo>
                      <a:lnTo>
                        <a:pt x="14653" y="3895"/>
                      </a:lnTo>
                      <a:lnTo>
                        <a:pt x="14615" y="3895"/>
                      </a:lnTo>
                      <a:lnTo>
                        <a:pt x="14601" y="3874"/>
                      </a:lnTo>
                      <a:lnTo>
                        <a:pt x="14606" y="3874"/>
                      </a:lnTo>
                      <a:lnTo>
                        <a:pt x="14589" y="3841"/>
                      </a:lnTo>
                      <a:lnTo>
                        <a:pt x="14601" y="3836"/>
                      </a:lnTo>
                      <a:lnTo>
                        <a:pt x="14584" y="3836"/>
                      </a:lnTo>
                      <a:lnTo>
                        <a:pt x="14577" y="3820"/>
                      </a:lnTo>
                      <a:lnTo>
                        <a:pt x="14551" y="3825"/>
                      </a:lnTo>
                      <a:lnTo>
                        <a:pt x="14530" y="3820"/>
                      </a:lnTo>
                      <a:lnTo>
                        <a:pt x="14509" y="3780"/>
                      </a:lnTo>
                      <a:lnTo>
                        <a:pt x="14530" y="3768"/>
                      </a:lnTo>
                      <a:lnTo>
                        <a:pt x="14530" y="3763"/>
                      </a:lnTo>
                      <a:lnTo>
                        <a:pt x="14509" y="3747"/>
                      </a:lnTo>
                      <a:lnTo>
                        <a:pt x="14509" y="3730"/>
                      </a:lnTo>
                      <a:lnTo>
                        <a:pt x="14492" y="3709"/>
                      </a:lnTo>
                      <a:lnTo>
                        <a:pt x="14443" y="3709"/>
                      </a:lnTo>
                      <a:lnTo>
                        <a:pt x="14421" y="3725"/>
                      </a:lnTo>
                      <a:lnTo>
                        <a:pt x="14384" y="3714"/>
                      </a:lnTo>
                      <a:lnTo>
                        <a:pt x="14374" y="3735"/>
                      </a:lnTo>
                      <a:lnTo>
                        <a:pt x="14346" y="3735"/>
                      </a:lnTo>
                      <a:lnTo>
                        <a:pt x="14329" y="3714"/>
                      </a:lnTo>
                      <a:lnTo>
                        <a:pt x="14329" y="3692"/>
                      </a:lnTo>
                      <a:lnTo>
                        <a:pt x="14320" y="3676"/>
                      </a:lnTo>
                      <a:lnTo>
                        <a:pt x="14329" y="3669"/>
                      </a:lnTo>
                      <a:lnTo>
                        <a:pt x="14308" y="3643"/>
                      </a:lnTo>
                      <a:lnTo>
                        <a:pt x="14320" y="3624"/>
                      </a:lnTo>
                      <a:lnTo>
                        <a:pt x="14374" y="3636"/>
                      </a:lnTo>
                      <a:lnTo>
                        <a:pt x="14405" y="3614"/>
                      </a:lnTo>
                      <a:lnTo>
                        <a:pt x="14417" y="3603"/>
                      </a:lnTo>
                      <a:lnTo>
                        <a:pt x="14388" y="3598"/>
                      </a:lnTo>
                      <a:lnTo>
                        <a:pt x="14388" y="3586"/>
                      </a:lnTo>
                      <a:lnTo>
                        <a:pt x="14400" y="3581"/>
                      </a:lnTo>
                      <a:lnTo>
                        <a:pt x="14388" y="3581"/>
                      </a:lnTo>
                      <a:lnTo>
                        <a:pt x="14367" y="3569"/>
                      </a:lnTo>
                      <a:lnTo>
                        <a:pt x="14346" y="3569"/>
                      </a:lnTo>
                      <a:lnTo>
                        <a:pt x="14350" y="3541"/>
                      </a:lnTo>
                      <a:lnTo>
                        <a:pt x="14313" y="3525"/>
                      </a:lnTo>
                      <a:lnTo>
                        <a:pt x="14308" y="3508"/>
                      </a:lnTo>
                      <a:lnTo>
                        <a:pt x="14298" y="3503"/>
                      </a:lnTo>
                      <a:lnTo>
                        <a:pt x="14298" y="3487"/>
                      </a:lnTo>
                      <a:lnTo>
                        <a:pt x="14275" y="3470"/>
                      </a:lnTo>
                      <a:lnTo>
                        <a:pt x="14291" y="3447"/>
                      </a:lnTo>
                      <a:lnTo>
                        <a:pt x="14275" y="3421"/>
                      </a:lnTo>
                      <a:lnTo>
                        <a:pt x="14282" y="3414"/>
                      </a:lnTo>
                      <a:lnTo>
                        <a:pt x="14282" y="3392"/>
                      </a:lnTo>
                      <a:lnTo>
                        <a:pt x="14275" y="3392"/>
                      </a:lnTo>
                      <a:lnTo>
                        <a:pt x="14254" y="3364"/>
                      </a:lnTo>
                      <a:lnTo>
                        <a:pt x="14237" y="3364"/>
                      </a:lnTo>
                      <a:lnTo>
                        <a:pt x="14211" y="3364"/>
                      </a:lnTo>
                      <a:lnTo>
                        <a:pt x="14185" y="3380"/>
                      </a:lnTo>
                      <a:lnTo>
                        <a:pt x="14173" y="3376"/>
                      </a:lnTo>
                      <a:lnTo>
                        <a:pt x="14185" y="3359"/>
                      </a:lnTo>
                      <a:lnTo>
                        <a:pt x="14173" y="3359"/>
                      </a:lnTo>
                      <a:lnTo>
                        <a:pt x="14152" y="3347"/>
                      </a:lnTo>
                      <a:lnTo>
                        <a:pt x="14131" y="3359"/>
                      </a:lnTo>
                      <a:lnTo>
                        <a:pt x="14119" y="3343"/>
                      </a:lnTo>
                      <a:lnTo>
                        <a:pt x="14098" y="3343"/>
                      </a:lnTo>
                      <a:lnTo>
                        <a:pt x="14093" y="3336"/>
                      </a:lnTo>
                      <a:lnTo>
                        <a:pt x="14098" y="3319"/>
                      </a:lnTo>
                      <a:lnTo>
                        <a:pt x="14076" y="3265"/>
                      </a:lnTo>
                      <a:lnTo>
                        <a:pt x="14060" y="3253"/>
                      </a:lnTo>
                      <a:lnTo>
                        <a:pt x="14065" y="3215"/>
                      </a:lnTo>
                      <a:lnTo>
                        <a:pt x="14043" y="3199"/>
                      </a:lnTo>
                      <a:lnTo>
                        <a:pt x="14043" y="3192"/>
                      </a:lnTo>
                      <a:lnTo>
                        <a:pt x="14039" y="3192"/>
                      </a:lnTo>
                      <a:lnTo>
                        <a:pt x="14043" y="3158"/>
                      </a:lnTo>
                      <a:lnTo>
                        <a:pt x="14065" y="3158"/>
                      </a:lnTo>
                      <a:lnTo>
                        <a:pt x="14043" y="3121"/>
                      </a:lnTo>
                      <a:lnTo>
                        <a:pt x="14043" y="3104"/>
                      </a:lnTo>
                      <a:lnTo>
                        <a:pt x="14039" y="3059"/>
                      </a:lnTo>
                      <a:lnTo>
                        <a:pt x="14065" y="3031"/>
                      </a:lnTo>
                      <a:lnTo>
                        <a:pt x="14076" y="3010"/>
                      </a:lnTo>
                      <a:lnTo>
                        <a:pt x="14093" y="3010"/>
                      </a:lnTo>
                      <a:lnTo>
                        <a:pt x="14093" y="2998"/>
                      </a:lnTo>
                      <a:lnTo>
                        <a:pt x="14081" y="2988"/>
                      </a:lnTo>
                      <a:lnTo>
                        <a:pt x="14081" y="2977"/>
                      </a:lnTo>
                      <a:lnTo>
                        <a:pt x="14076" y="2960"/>
                      </a:lnTo>
                      <a:lnTo>
                        <a:pt x="14081" y="2953"/>
                      </a:lnTo>
                      <a:lnTo>
                        <a:pt x="14102" y="2972"/>
                      </a:lnTo>
                      <a:lnTo>
                        <a:pt x="14114" y="2943"/>
                      </a:lnTo>
                      <a:lnTo>
                        <a:pt x="14136" y="2953"/>
                      </a:lnTo>
                      <a:lnTo>
                        <a:pt x="14157" y="2932"/>
                      </a:lnTo>
                      <a:lnTo>
                        <a:pt x="14228" y="2943"/>
                      </a:lnTo>
                      <a:lnTo>
                        <a:pt x="14237" y="2936"/>
                      </a:lnTo>
                      <a:lnTo>
                        <a:pt x="14211" y="2932"/>
                      </a:lnTo>
                      <a:lnTo>
                        <a:pt x="14211" y="2915"/>
                      </a:lnTo>
                      <a:lnTo>
                        <a:pt x="14199" y="2915"/>
                      </a:lnTo>
                      <a:lnTo>
                        <a:pt x="14152" y="2915"/>
                      </a:lnTo>
                      <a:lnTo>
                        <a:pt x="14119" y="2887"/>
                      </a:lnTo>
                      <a:lnTo>
                        <a:pt x="14114" y="2877"/>
                      </a:lnTo>
                      <a:lnTo>
                        <a:pt x="14131" y="2882"/>
                      </a:lnTo>
                      <a:lnTo>
                        <a:pt x="14131" y="2866"/>
                      </a:lnTo>
                      <a:lnTo>
                        <a:pt x="14119" y="2866"/>
                      </a:lnTo>
                      <a:lnTo>
                        <a:pt x="14131" y="2866"/>
                      </a:lnTo>
                      <a:lnTo>
                        <a:pt x="14131" y="2849"/>
                      </a:lnTo>
                      <a:lnTo>
                        <a:pt x="14093" y="2877"/>
                      </a:lnTo>
                      <a:lnTo>
                        <a:pt x="14065" y="2877"/>
                      </a:lnTo>
                      <a:lnTo>
                        <a:pt x="14169" y="2792"/>
                      </a:lnTo>
                      <a:lnTo>
                        <a:pt x="14308" y="2655"/>
                      </a:lnTo>
                      <a:lnTo>
                        <a:pt x="14329" y="2610"/>
                      </a:lnTo>
                      <a:lnTo>
                        <a:pt x="14308" y="2573"/>
                      </a:lnTo>
                      <a:lnTo>
                        <a:pt x="14223" y="2516"/>
                      </a:lnTo>
                      <a:lnTo>
                        <a:pt x="14261" y="2478"/>
                      </a:lnTo>
                      <a:lnTo>
                        <a:pt x="14261" y="2462"/>
                      </a:lnTo>
                      <a:lnTo>
                        <a:pt x="14223" y="2438"/>
                      </a:lnTo>
                      <a:lnTo>
                        <a:pt x="14228" y="2433"/>
                      </a:lnTo>
                      <a:lnTo>
                        <a:pt x="14223" y="2421"/>
                      </a:lnTo>
                      <a:lnTo>
                        <a:pt x="14237" y="2417"/>
                      </a:lnTo>
                      <a:lnTo>
                        <a:pt x="14228" y="2400"/>
                      </a:lnTo>
                      <a:lnTo>
                        <a:pt x="14206" y="2388"/>
                      </a:lnTo>
                      <a:lnTo>
                        <a:pt x="14190" y="2384"/>
                      </a:lnTo>
                      <a:lnTo>
                        <a:pt x="14190" y="2360"/>
                      </a:lnTo>
                      <a:lnTo>
                        <a:pt x="14211" y="2360"/>
                      </a:lnTo>
                      <a:lnTo>
                        <a:pt x="14206" y="2343"/>
                      </a:lnTo>
                      <a:lnTo>
                        <a:pt x="14190" y="2343"/>
                      </a:lnTo>
                      <a:lnTo>
                        <a:pt x="14199" y="2327"/>
                      </a:lnTo>
                      <a:lnTo>
                        <a:pt x="14206" y="2294"/>
                      </a:lnTo>
                      <a:lnTo>
                        <a:pt x="14228" y="2289"/>
                      </a:lnTo>
                      <a:lnTo>
                        <a:pt x="14211" y="2240"/>
                      </a:lnTo>
                      <a:lnTo>
                        <a:pt x="14152" y="2145"/>
                      </a:lnTo>
                      <a:lnTo>
                        <a:pt x="14157" y="2129"/>
                      </a:lnTo>
                      <a:lnTo>
                        <a:pt x="14211" y="2067"/>
                      </a:lnTo>
                      <a:lnTo>
                        <a:pt x="14223" y="2051"/>
                      </a:lnTo>
                      <a:lnTo>
                        <a:pt x="14199" y="2034"/>
                      </a:lnTo>
                      <a:lnTo>
                        <a:pt x="14173" y="2001"/>
                      </a:lnTo>
                      <a:lnTo>
                        <a:pt x="14131" y="1989"/>
                      </a:lnTo>
                      <a:lnTo>
                        <a:pt x="14114" y="1944"/>
                      </a:lnTo>
                      <a:lnTo>
                        <a:pt x="14136" y="1906"/>
                      </a:lnTo>
                      <a:lnTo>
                        <a:pt x="14102" y="1902"/>
                      </a:lnTo>
                      <a:lnTo>
                        <a:pt x="14147" y="1878"/>
                      </a:lnTo>
                      <a:lnTo>
                        <a:pt x="14169" y="1866"/>
                      </a:lnTo>
                      <a:lnTo>
                        <a:pt x="14169" y="1845"/>
                      </a:lnTo>
                      <a:lnTo>
                        <a:pt x="14228" y="1824"/>
                      </a:lnTo>
                      <a:lnTo>
                        <a:pt x="14228" y="1812"/>
                      </a:lnTo>
                      <a:lnTo>
                        <a:pt x="14228" y="1807"/>
                      </a:lnTo>
                      <a:lnTo>
                        <a:pt x="14261" y="1812"/>
                      </a:lnTo>
                      <a:lnTo>
                        <a:pt x="14282" y="1812"/>
                      </a:lnTo>
                      <a:lnTo>
                        <a:pt x="14282" y="1795"/>
                      </a:lnTo>
                      <a:lnTo>
                        <a:pt x="14282" y="1779"/>
                      </a:lnTo>
                      <a:lnTo>
                        <a:pt x="14346" y="1795"/>
                      </a:lnTo>
                      <a:lnTo>
                        <a:pt x="14336" y="1791"/>
                      </a:lnTo>
                      <a:lnTo>
                        <a:pt x="14336" y="1779"/>
                      </a:lnTo>
                      <a:lnTo>
                        <a:pt x="14367" y="1779"/>
                      </a:lnTo>
                      <a:lnTo>
                        <a:pt x="14350" y="1767"/>
                      </a:lnTo>
                      <a:lnTo>
                        <a:pt x="14400" y="1791"/>
                      </a:lnTo>
                      <a:lnTo>
                        <a:pt x="14438" y="1791"/>
                      </a:lnTo>
                      <a:lnTo>
                        <a:pt x="14438" y="1807"/>
                      </a:lnTo>
                      <a:lnTo>
                        <a:pt x="14421" y="1812"/>
                      </a:lnTo>
                      <a:lnTo>
                        <a:pt x="14362" y="1807"/>
                      </a:lnTo>
                      <a:lnTo>
                        <a:pt x="14388" y="1824"/>
                      </a:lnTo>
                      <a:lnTo>
                        <a:pt x="14374" y="1829"/>
                      </a:lnTo>
                      <a:lnTo>
                        <a:pt x="14426" y="1829"/>
                      </a:lnTo>
                      <a:lnTo>
                        <a:pt x="14417" y="1845"/>
                      </a:lnTo>
                      <a:lnTo>
                        <a:pt x="14426" y="1833"/>
                      </a:lnTo>
                      <a:lnTo>
                        <a:pt x="14471" y="1829"/>
                      </a:lnTo>
                      <a:lnTo>
                        <a:pt x="14443" y="1850"/>
                      </a:lnTo>
                      <a:lnTo>
                        <a:pt x="14459" y="1850"/>
                      </a:lnTo>
                      <a:lnTo>
                        <a:pt x="14471" y="1862"/>
                      </a:lnTo>
                      <a:lnTo>
                        <a:pt x="14426" y="1878"/>
                      </a:lnTo>
                      <a:lnTo>
                        <a:pt x="14426" y="1890"/>
                      </a:lnTo>
                      <a:lnTo>
                        <a:pt x="14426" y="1878"/>
                      </a:lnTo>
                      <a:lnTo>
                        <a:pt x="14459" y="1878"/>
                      </a:lnTo>
                      <a:lnTo>
                        <a:pt x="14471" y="1862"/>
                      </a:lnTo>
                      <a:lnTo>
                        <a:pt x="14471" y="1845"/>
                      </a:lnTo>
                      <a:lnTo>
                        <a:pt x="14480" y="1845"/>
                      </a:lnTo>
                      <a:lnTo>
                        <a:pt x="14639" y="1862"/>
                      </a:lnTo>
                      <a:lnTo>
                        <a:pt x="14761" y="1923"/>
                      </a:lnTo>
                      <a:lnTo>
                        <a:pt x="14804" y="1973"/>
                      </a:lnTo>
                      <a:lnTo>
                        <a:pt x="14821" y="1961"/>
                      </a:lnTo>
                      <a:lnTo>
                        <a:pt x="14887" y="2001"/>
                      </a:lnTo>
                      <a:lnTo>
                        <a:pt x="14908" y="2001"/>
                      </a:lnTo>
                      <a:lnTo>
                        <a:pt x="14903" y="1989"/>
                      </a:lnTo>
                      <a:lnTo>
                        <a:pt x="14908" y="1989"/>
                      </a:lnTo>
                      <a:lnTo>
                        <a:pt x="14946" y="2018"/>
                      </a:lnTo>
                      <a:lnTo>
                        <a:pt x="14946" y="2029"/>
                      </a:lnTo>
                      <a:lnTo>
                        <a:pt x="14955" y="2046"/>
                      </a:lnTo>
                      <a:lnTo>
                        <a:pt x="14993" y="2046"/>
                      </a:lnTo>
                      <a:lnTo>
                        <a:pt x="14993" y="2072"/>
                      </a:lnTo>
                      <a:lnTo>
                        <a:pt x="15000" y="2084"/>
                      </a:lnTo>
                      <a:lnTo>
                        <a:pt x="15000" y="2105"/>
                      </a:lnTo>
                      <a:lnTo>
                        <a:pt x="15017" y="2105"/>
                      </a:lnTo>
                      <a:lnTo>
                        <a:pt x="15017" y="2112"/>
                      </a:lnTo>
                      <a:lnTo>
                        <a:pt x="15010" y="2157"/>
                      </a:lnTo>
                      <a:lnTo>
                        <a:pt x="14962" y="2199"/>
                      </a:lnTo>
                      <a:lnTo>
                        <a:pt x="14924" y="2216"/>
                      </a:lnTo>
                      <a:lnTo>
                        <a:pt x="14821" y="2249"/>
                      </a:lnTo>
                      <a:lnTo>
                        <a:pt x="14606" y="2211"/>
                      </a:lnTo>
                      <a:lnTo>
                        <a:pt x="14563" y="2178"/>
                      </a:lnTo>
                      <a:lnTo>
                        <a:pt x="14530" y="2183"/>
                      </a:lnTo>
                      <a:lnTo>
                        <a:pt x="14525" y="2178"/>
                      </a:lnTo>
                      <a:lnTo>
                        <a:pt x="14530" y="2178"/>
                      </a:lnTo>
                      <a:lnTo>
                        <a:pt x="14492" y="2166"/>
                      </a:lnTo>
                      <a:lnTo>
                        <a:pt x="14471" y="2157"/>
                      </a:lnTo>
                      <a:lnTo>
                        <a:pt x="14476" y="2162"/>
                      </a:lnTo>
                      <a:lnTo>
                        <a:pt x="14471" y="2166"/>
                      </a:lnTo>
                      <a:lnTo>
                        <a:pt x="14443" y="2157"/>
                      </a:lnTo>
                      <a:lnTo>
                        <a:pt x="14405" y="2121"/>
                      </a:lnTo>
                      <a:lnTo>
                        <a:pt x="14350" y="2112"/>
                      </a:lnTo>
                      <a:lnTo>
                        <a:pt x="14374" y="2112"/>
                      </a:lnTo>
                      <a:lnTo>
                        <a:pt x="14400" y="2129"/>
                      </a:lnTo>
                      <a:lnTo>
                        <a:pt x="14400" y="2145"/>
                      </a:lnTo>
                      <a:lnTo>
                        <a:pt x="14421" y="2162"/>
                      </a:lnTo>
                      <a:lnTo>
                        <a:pt x="14417" y="2166"/>
                      </a:lnTo>
                      <a:lnTo>
                        <a:pt x="14454" y="2178"/>
                      </a:lnTo>
                      <a:lnTo>
                        <a:pt x="14421" y="2183"/>
                      </a:lnTo>
                      <a:lnTo>
                        <a:pt x="14443" y="2178"/>
                      </a:lnTo>
                      <a:lnTo>
                        <a:pt x="14471" y="2195"/>
                      </a:lnTo>
                      <a:lnTo>
                        <a:pt x="14421" y="2195"/>
                      </a:lnTo>
                      <a:lnTo>
                        <a:pt x="14480" y="2199"/>
                      </a:lnTo>
                      <a:lnTo>
                        <a:pt x="14454" y="2216"/>
                      </a:lnTo>
                      <a:lnTo>
                        <a:pt x="14509" y="2223"/>
                      </a:lnTo>
                      <a:lnTo>
                        <a:pt x="14563" y="2266"/>
                      </a:lnTo>
                      <a:lnTo>
                        <a:pt x="14568" y="2289"/>
                      </a:lnTo>
                      <a:lnTo>
                        <a:pt x="14547" y="2273"/>
                      </a:lnTo>
                      <a:lnTo>
                        <a:pt x="14551" y="2306"/>
                      </a:lnTo>
                      <a:lnTo>
                        <a:pt x="14547" y="2322"/>
                      </a:lnTo>
                      <a:lnTo>
                        <a:pt x="14530" y="2327"/>
                      </a:lnTo>
                      <a:lnTo>
                        <a:pt x="14547" y="2343"/>
                      </a:lnTo>
                      <a:lnTo>
                        <a:pt x="14568" y="2388"/>
                      </a:lnTo>
                      <a:lnTo>
                        <a:pt x="14568" y="2417"/>
                      </a:lnTo>
                      <a:lnTo>
                        <a:pt x="14551" y="2421"/>
                      </a:lnTo>
                      <a:lnTo>
                        <a:pt x="14589" y="2445"/>
                      </a:lnTo>
                      <a:lnTo>
                        <a:pt x="14606" y="2438"/>
                      </a:lnTo>
                      <a:lnTo>
                        <a:pt x="14622" y="2445"/>
                      </a:lnTo>
                      <a:lnTo>
                        <a:pt x="14639" y="2462"/>
                      </a:lnTo>
                      <a:lnTo>
                        <a:pt x="14643" y="2462"/>
                      </a:lnTo>
                      <a:lnTo>
                        <a:pt x="14660" y="2471"/>
                      </a:lnTo>
                      <a:lnTo>
                        <a:pt x="14660" y="2488"/>
                      </a:lnTo>
                      <a:lnTo>
                        <a:pt x="14740" y="2511"/>
                      </a:lnTo>
                      <a:lnTo>
                        <a:pt x="14783" y="2488"/>
                      </a:lnTo>
                      <a:lnTo>
                        <a:pt x="14783" y="2471"/>
                      </a:lnTo>
                      <a:lnTo>
                        <a:pt x="14778" y="2462"/>
                      </a:lnTo>
                      <a:lnTo>
                        <a:pt x="14778" y="2445"/>
                      </a:lnTo>
                      <a:lnTo>
                        <a:pt x="14766" y="2438"/>
                      </a:lnTo>
                      <a:lnTo>
                        <a:pt x="14728" y="2445"/>
                      </a:lnTo>
                      <a:lnTo>
                        <a:pt x="14724" y="2438"/>
                      </a:lnTo>
                      <a:lnTo>
                        <a:pt x="14691" y="2405"/>
                      </a:lnTo>
                      <a:lnTo>
                        <a:pt x="14676" y="2400"/>
                      </a:lnTo>
                      <a:lnTo>
                        <a:pt x="14669" y="2377"/>
                      </a:lnTo>
                      <a:lnTo>
                        <a:pt x="14698" y="2377"/>
                      </a:lnTo>
                      <a:lnTo>
                        <a:pt x="14698" y="2351"/>
                      </a:lnTo>
                      <a:lnTo>
                        <a:pt x="14714" y="2343"/>
                      </a:lnTo>
                      <a:lnTo>
                        <a:pt x="14761" y="2367"/>
                      </a:lnTo>
                      <a:lnTo>
                        <a:pt x="14778" y="2384"/>
                      </a:lnTo>
                      <a:lnTo>
                        <a:pt x="14804" y="2384"/>
                      </a:lnTo>
                      <a:lnTo>
                        <a:pt x="14783" y="2400"/>
                      </a:lnTo>
                      <a:lnTo>
                        <a:pt x="14783" y="2417"/>
                      </a:lnTo>
                      <a:lnTo>
                        <a:pt x="14816" y="2388"/>
                      </a:lnTo>
                      <a:lnTo>
                        <a:pt x="14891" y="2421"/>
                      </a:lnTo>
                      <a:lnTo>
                        <a:pt x="14913" y="2417"/>
                      </a:lnTo>
                      <a:lnTo>
                        <a:pt x="14908" y="2417"/>
                      </a:lnTo>
                      <a:lnTo>
                        <a:pt x="14908" y="2405"/>
                      </a:lnTo>
                      <a:lnTo>
                        <a:pt x="14955" y="2421"/>
                      </a:lnTo>
                      <a:lnTo>
                        <a:pt x="14946" y="2377"/>
                      </a:lnTo>
                      <a:lnTo>
                        <a:pt x="14903" y="2327"/>
                      </a:lnTo>
                      <a:lnTo>
                        <a:pt x="14903" y="2306"/>
                      </a:lnTo>
                      <a:lnTo>
                        <a:pt x="14946" y="2277"/>
                      </a:lnTo>
                      <a:lnTo>
                        <a:pt x="14967" y="2256"/>
                      </a:lnTo>
                      <a:lnTo>
                        <a:pt x="15021" y="2240"/>
                      </a:lnTo>
                      <a:lnTo>
                        <a:pt x="15069" y="2195"/>
                      </a:lnTo>
                      <a:lnTo>
                        <a:pt x="15106" y="2211"/>
                      </a:lnTo>
                      <a:lnTo>
                        <a:pt x="15156" y="2199"/>
                      </a:lnTo>
                      <a:lnTo>
                        <a:pt x="15177" y="2223"/>
                      </a:lnTo>
                      <a:lnTo>
                        <a:pt x="15156" y="2240"/>
                      </a:lnTo>
                      <a:lnTo>
                        <a:pt x="15156" y="2249"/>
                      </a:lnTo>
                      <a:lnTo>
                        <a:pt x="15172" y="2256"/>
                      </a:lnTo>
                      <a:lnTo>
                        <a:pt x="15172" y="2249"/>
                      </a:lnTo>
                      <a:lnTo>
                        <a:pt x="15156" y="2240"/>
                      </a:lnTo>
                      <a:lnTo>
                        <a:pt x="15194" y="2232"/>
                      </a:lnTo>
                      <a:lnTo>
                        <a:pt x="15198" y="2240"/>
                      </a:lnTo>
                      <a:lnTo>
                        <a:pt x="15198" y="2249"/>
                      </a:lnTo>
                      <a:lnTo>
                        <a:pt x="15215" y="2266"/>
                      </a:lnTo>
                      <a:lnTo>
                        <a:pt x="15210" y="2232"/>
                      </a:lnTo>
                      <a:lnTo>
                        <a:pt x="15232" y="2166"/>
                      </a:lnTo>
                      <a:lnTo>
                        <a:pt x="15227" y="2162"/>
                      </a:lnTo>
                      <a:lnTo>
                        <a:pt x="15236" y="2145"/>
                      </a:lnTo>
                      <a:lnTo>
                        <a:pt x="15210" y="2112"/>
                      </a:lnTo>
                      <a:lnTo>
                        <a:pt x="15182" y="2105"/>
                      </a:lnTo>
                      <a:lnTo>
                        <a:pt x="15182" y="2100"/>
                      </a:lnTo>
                      <a:lnTo>
                        <a:pt x="15210" y="2051"/>
                      </a:lnTo>
                      <a:lnTo>
                        <a:pt x="15210" y="2029"/>
                      </a:lnTo>
                      <a:lnTo>
                        <a:pt x="15215" y="2018"/>
                      </a:lnTo>
                      <a:lnTo>
                        <a:pt x="15210" y="2018"/>
                      </a:lnTo>
                      <a:lnTo>
                        <a:pt x="15215" y="1977"/>
                      </a:lnTo>
                      <a:lnTo>
                        <a:pt x="15156" y="1940"/>
                      </a:lnTo>
                      <a:lnTo>
                        <a:pt x="15156" y="1923"/>
                      </a:lnTo>
                      <a:lnTo>
                        <a:pt x="15210" y="1940"/>
                      </a:lnTo>
                      <a:lnTo>
                        <a:pt x="15291" y="1940"/>
                      </a:lnTo>
                      <a:lnTo>
                        <a:pt x="15333" y="1944"/>
                      </a:lnTo>
                      <a:lnTo>
                        <a:pt x="15340" y="1973"/>
                      </a:lnTo>
                      <a:lnTo>
                        <a:pt x="15378" y="1994"/>
                      </a:lnTo>
                      <a:lnTo>
                        <a:pt x="15378" y="2013"/>
                      </a:lnTo>
                      <a:lnTo>
                        <a:pt x="15395" y="2018"/>
                      </a:lnTo>
                      <a:lnTo>
                        <a:pt x="15395" y="2034"/>
                      </a:lnTo>
                      <a:lnTo>
                        <a:pt x="15302" y="2046"/>
                      </a:lnTo>
                      <a:lnTo>
                        <a:pt x="15291" y="2051"/>
                      </a:lnTo>
                      <a:lnTo>
                        <a:pt x="15291" y="2055"/>
                      </a:lnTo>
                      <a:lnTo>
                        <a:pt x="15269" y="2067"/>
                      </a:lnTo>
                      <a:lnTo>
                        <a:pt x="15265" y="2088"/>
                      </a:lnTo>
                      <a:lnTo>
                        <a:pt x="15319" y="2112"/>
                      </a:lnTo>
                      <a:lnTo>
                        <a:pt x="15324" y="2145"/>
                      </a:lnTo>
                      <a:lnTo>
                        <a:pt x="15340" y="2157"/>
                      </a:lnTo>
                      <a:lnTo>
                        <a:pt x="15387" y="2157"/>
                      </a:lnTo>
                      <a:lnTo>
                        <a:pt x="15371" y="2162"/>
                      </a:lnTo>
                      <a:lnTo>
                        <a:pt x="15463" y="2138"/>
                      </a:lnTo>
                      <a:lnTo>
                        <a:pt x="15463" y="2121"/>
                      </a:lnTo>
                      <a:lnTo>
                        <a:pt x="15454" y="2105"/>
                      </a:lnTo>
                      <a:lnTo>
                        <a:pt x="15480" y="2072"/>
                      </a:lnTo>
                      <a:lnTo>
                        <a:pt x="15470" y="2055"/>
                      </a:lnTo>
                      <a:lnTo>
                        <a:pt x="15480" y="2051"/>
                      </a:lnTo>
                      <a:lnTo>
                        <a:pt x="15534" y="2046"/>
                      </a:lnTo>
                      <a:lnTo>
                        <a:pt x="15555" y="2055"/>
                      </a:lnTo>
                      <a:lnTo>
                        <a:pt x="15522" y="2018"/>
                      </a:lnTo>
                      <a:lnTo>
                        <a:pt x="15572" y="2029"/>
                      </a:lnTo>
                      <a:lnTo>
                        <a:pt x="15626" y="1994"/>
                      </a:lnTo>
                      <a:lnTo>
                        <a:pt x="15609" y="2013"/>
                      </a:lnTo>
                      <a:lnTo>
                        <a:pt x="15614" y="2001"/>
                      </a:lnTo>
                      <a:lnTo>
                        <a:pt x="15680" y="1961"/>
                      </a:lnTo>
                      <a:lnTo>
                        <a:pt x="15697" y="1961"/>
                      </a:lnTo>
                      <a:lnTo>
                        <a:pt x="15765" y="1940"/>
                      </a:lnTo>
                      <a:lnTo>
                        <a:pt x="15787" y="1944"/>
                      </a:lnTo>
                      <a:lnTo>
                        <a:pt x="15772" y="1961"/>
                      </a:lnTo>
                      <a:lnTo>
                        <a:pt x="15777" y="1973"/>
                      </a:lnTo>
                      <a:lnTo>
                        <a:pt x="15810" y="1956"/>
                      </a:lnTo>
                      <a:lnTo>
                        <a:pt x="15794" y="1940"/>
                      </a:lnTo>
                      <a:lnTo>
                        <a:pt x="15810" y="1935"/>
                      </a:lnTo>
                      <a:lnTo>
                        <a:pt x="15777" y="1935"/>
                      </a:lnTo>
                      <a:lnTo>
                        <a:pt x="15886" y="1890"/>
                      </a:lnTo>
                      <a:lnTo>
                        <a:pt x="15938" y="1885"/>
                      </a:lnTo>
                      <a:lnTo>
                        <a:pt x="15874" y="1902"/>
                      </a:lnTo>
                      <a:lnTo>
                        <a:pt x="15900" y="1902"/>
                      </a:lnTo>
                      <a:lnTo>
                        <a:pt x="15879" y="1935"/>
                      </a:lnTo>
                      <a:lnTo>
                        <a:pt x="15895" y="1961"/>
                      </a:lnTo>
                      <a:lnTo>
                        <a:pt x="15886" y="1973"/>
                      </a:lnTo>
                      <a:lnTo>
                        <a:pt x="15874" y="1956"/>
                      </a:lnTo>
                      <a:lnTo>
                        <a:pt x="15879" y="1973"/>
                      </a:lnTo>
                      <a:lnTo>
                        <a:pt x="15862" y="1961"/>
                      </a:lnTo>
                      <a:lnTo>
                        <a:pt x="15848" y="1977"/>
                      </a:lnTo>
                      <a:lnTo>
                        <a:pt x="15917" y="1989"/>
                      </a:lnTo>
                      <a:lnTo>
                        <a:pt x="15933" y="1973"/>
                      </a:lnTo>
                      <a:lnTo>
                        <a:pt x="15954" y="1989"/>
                      </a:lnTo>
                      <a:lnTo>
                        <a:pt x="15966" y="1977"/>
                      </a:lnTo>
                      <a:lnTo>
                        <a:pt x="15966" y="1973"/>
                      </a:lnTo>
                      <a:lnTo>
                        <a:pt x="15966" y="1961"/>
                      </a:lnTo>
                      <a:lnTo>
                        <a:pt x="15992" y="1940"/>
                      </a:lnTo>
                      <a:lnTo>
                        <a:pt x="16042" y="1923"/>
                      </a:lnTo>
                      <a:lnTo>
                        <a:pt x="16134" y="1940"/>
                      </a:lnTo>
                      <a:lnTo>
                        <a:pt x="16155" y="1918"/>
                      </a:lnTo>
                      <a:lnTo>
                        <a:pt x="16181" y="1918"/>
                      </a:lnTo>
                      <a:lnTo>
                        <a:pt x="16181" y="1906"/>
                      </a:lnTo>
                      <a:lnTo>
                        <a:pt x="16198" y="1902"/>
                      </a:lnTo>
                      <a:lnTo>
                        <a:pt x="16209" y="1918"/>
                      </a:lnTo>
                      <a:lnTo>
                        <a:pt x="16202" y="1906"/>
                      </a:lnTo>
                      <a:lnTo>
                        <a:pt x="16202" y="1902"/>
                      </a:lnTo>
                      <a:lnTo>
                        <a:pt x="16240" y="1885"/>
                      </a:lnTo>
                      <a:lnTo>
                        <a:pt x="16273" y="1885"/>
                      </a:lnTo>
                      <a:lnTo>
                        <a:pt x="16240" y="1890"/>
                      </a:lnTo>
                      <a:lnTo>
                        <a:pt x="16278" y="1918"/>
                      </a:lnTo>
                      <a:lnTo>
                        <a:pt x="16257" y="1935"/>
                      </a:lnTo>
                      <a:lnTo>
                        <a:pt x="16257" y="1956"/>
                      </a:lnTo>
                      <a:lnTo>
                        <a:pt x="16311" y="1961"/>
                      </a:lnTo>
                      <a:lnTo>
                        <a:pt x="16316" y="1956"/>
                      </a:lnTo>
                      <a:lnTo>
                        <a:pt x="16306" y="1935"/>
                      </a:lnTo>
                      <a:lnTo>
                        <a:pt x="16311" y="1923"/>
                      </a:lnTo>
                      <a:lnTo>
                        <a:pt x="16361" y="1923"/>
                      </a:lnTo>
                      <a:lnTo>
                        <a:pt x="16387" y="1902"/>
                      </a:lnTo>
                      <a:lnTo>
                        <a:pt x="16387" y="1866"/>
                      </a:lnTo>
                      <a:lnTo>
                        <a:pt x="16365" y="1866"/>
                      </a:lnTo>
                      <a:lnTo>
                        <a:pt x="16361" y="1845"/>
                      </a:lnTo>
                      <a:lnTo>
                        <a:pt x="16332" y="1812"/>
                      </a:lnTo>
                      <a:lnTo>
                        <a:pt x="16344" y="1795"/>
                      </a:lnTo>
                      <a:lnTo>
                        <a:pt x="16365" y="1795"/>
                      </a:lnTo>
                      <a:lnTo>
                        <a:pt x="16370" y="1779"/>
                      </a:lnTo>
                      <a:lnTo>
                        <a:pt x="16382" y="1774"/>
                      </a:lnTo>
                      <a:lnTo>
                        <a:pt x="16543" y="1795"/>
                      </a:lnTo>
                      <a:lnTo>
                        <a:pt x="16613" y="1812"/>
                      </a:lnTo>
                      <a:lnTo>
                        <a:pt x="16672" y="1845"/>
                      </a:lnTo>
                      <a:lnTo>
                        <a:pt x="16656" y="1850"/>
                      </a:lnTo>
                      <a:lnTo>
                        <a:pt x="16656" y="1866"/>
                      </a:lnTo>
                      <a:lnTo>
                        <a:pt x="16684" y="1850"/>
                      </a:lnTo>
                      <a:lnTo>
                        <a:pt x="16739" y="1866"/>
                      </a:lnTo>
                      <a:lnTo>
                        <a:pt x="16722" y="1878"/>
                      </a:lnTo>
                      <a:lnTo>
                        <a:pt x="16819" y="1906"/>
                      </a:lnTo>
                      <a:lnTo>
                        <a:pt x="16814" y="1906"/>
                      </a:lnTo>
                      <a:lnTo>
                        <a:pt x="16831" y="1923"/>
                      </a:lnTo>
                      <a:lnTo>
                        <a:pt x="16899" y="1956"/>
                      </a:lnTo>
                      <a:lnTo>
                        <a:pt x="16906" y="1973"/>
                      </a:lnTo>
                      <a:lnTo>
                        <a:pt x="16899" y="1977"/>
                      </a:lnTo>
                      <a:lnTo>
                        <a:pt x="16906" y="1989"/>
                      </a:lnTo>
                      <a:lnTo>
                        <a:pt x="16916" y="1977"/>
                      </a:lnTo>
                      <a:lnTo>
                        <a:pt x="16958" y="1902"/>
                      </a:lnTo>
                      <a:lnTo>
                        <a:pt x="16954" y="1902"/>
                      </a:lnTo>
                      <a:lnTo>
                        <a:pt x="16970" y="1890"/>
                      </a:lnTo>
                      <a:lnTo>
                        <a:pt x="16937" y="1902"/>
                      </a:lnTo>
                      <a:lnTo>
                        <a:pt x="16916" y="1885"/>
                      </a:lnTo>
                      <a:lnTo>
                        <a:pt x="16890" y="1850"/>
                      </a:lnTo>
                      <a:lnTo>
                        <a:pt x="16890" y="1812"/>
                      </a:lnTo>
                      <a:lnTo>
                        <a:pt x="16883" y="1824"/>
                      </a:lnTo>
                      <a:lnTo>
                        <a:pt x="16814" y="1795"/>
                      </a:lnTo>
                      <a:lnTo>
                        <a:pt x="16814" y="1824"/>
                      </a:lnTo>
                      <a:lnTo>
                        <a:pt x="16798" y="1812"/>
                      </a:lnTo>
                      <a:lnTo>
                        <a:pt x="16798" y="1791"/>
                      </a:lnTo>
                      <a:lnTo>
                        <a:pt x="16807" y="1758"/>
                      </a:lnTo>
                      <a:lnTo>
                        <a:pt x="16814" y="1751"/>
                      </a:lnTo>
                      <a:lnTo>
                        <a:pt x="16814" y="1767"/>
                      </a:lnTo>
                      <a:lnTo>
                        <a:pt x="16831" y="1758"/>
                      </a:lnTo>
                      <a:lnTo>
                        <a:pt x="16835" y="1739"/>
                      </a:lnTo>
                      <a:lnTo>
                        <a:pt x="16819" y="1734"/>
                      </a:lnTo>
                      <a:lnTo>
                        <a:pt x="16835" y="1663"/>
                      </a:lnTo>
                      <a:lnTo>
                        <a:pt x="16819" y="1647"/>
                      </a:lnTo>
                      <a:lnTo>
                        <a:pt x="16793" y="1663"/>
                      </a:lnTo>
                      <a:lnTo>
                        <a:pt x="16793" y="1640"/>
                      </a:lnTo>
                      <a:lnTo>
                        <a:pt x="16807" y="1614"/>
                      </a:lnTo>
                      <a:lnTo>
                        <a:pt x="16798" y="1630"/>
                      </a:lnTo>
                      <a:lnTo>
                        <a:pt x="16793" y="1623"/>
                      </a:lnTo>
                      <a:lnTo>
                        <a:pt x="16807" y="1590"/>
                      </a:lnTo>
                      <a:lnTo>
                        <a:pt x="16883" y="1557"/>
                      </a:lnTo>
                      <a:lnTo>
                        <a:pt x="16916" y="1519"/>
                      </a:lnTo>
                      <a:lnTo>
                        <a:pt x="16954" y="1401"/>
                      </a:lnTo>
                      <a:lnTo>
                        <a:pt x="16970" y="1384"/>
                      </a:lnTo>
                      <a:lnTo>
                        <a:pt x="16975" y="1368"/>
                      </a:lnTo>
                      <a:lnTo>
                        <a:pt x="17013" y="1363"/>
                      </a:lnTo>
                      <a:lnTo>
                        <a:pt x="16991" y="1368"/>
                      </a:lnTo>
                      <a:lnTo>
                        <a:pt x="16996" y="1375"/>
                      </a:lnTo>
                      <a:lnTo>
                        <a:pt x="17138" y="1368"/>
                      </a:lnTo>
                      <a:lnTo>
                        <a:pt x="17171" y="1384"/>
                      </a:lnTo>
                      <a:lnTo>
                        <a:pt x="17154" y="1384"/>
                      </a:lnTo>
                      <a:lnTo>
                        <a:pt x="17223" y="1401"/>
                      </a:lnTo>
                      <a:lnTo>
                        <a:pt x="17213" y="1418"/>
                      </a:lnTo>
                      <a:lnTo>
                        <a:pt x="17230" y="1458"/>
                      </a:lnTo>
                      <a:lnTo>
                        <a:pt x="17197" y="1503"/>
                      </a:lnTo>
                      <a:lnTo>
                        <a:pt x="17192" y="1512"/>
                      </a:lnTo>
                      <a:lnTo>
                        <a:pt x="17192" y="1536"/>
                      </a:lnTo>
                      <a:lnTo>
                        <a:pt x="17154" y="1569"/>
                      </a:lnTo>
                      <a:lnTo>
                        <a:pt x="17171" y="1590"/>
                      </a:lnTo>
                      <a:lnTo>
                        <a:pt x="17209" y="1614"/>
                      </a:lnTo>
                      <a:lnTo>
                        <a:pt x="17209" y="1623"/>
                      </a:lnTo>
                      <a:lnTo>
                        <a:pt x="17223" y="1647"/>
                      </a:lnTo>
                      <a:lnTo>
                        <a:pt x="17213" y="1680"/>
                      </a:lnTo>
                      <a:lnTo>
                        <a:pt x="17223" y="1701"/>
                      </a:lnTo>
                      <a:lnTo>
                        <a:pt x="17192" y="1722"/>
                      </a:lnTo>
                      <a:lnTo>
                        <a:pt x="17209" y="1734"/>
                      </a:lnTo>
                      <a:lnTo>
                        <a:pt x="17197" y="1751"/>
                      </a:lnTo>
                      <a:lnTo>
                        <a:pt x="17213" y="1774"/>
                      </a:lnTo>
                      <a:lnTo>
                        <a:pt x="17197" y="1807"/>
                      </a:lnTo>
                      <a:lnTo>
                        <a:pt x="17209" y="1829"/>
                      </a:lnTo>
                      <a:lnTo>
                        <a:pt x="17197" y="1866"/>
                      </a:lnTo>
                      <a:lnTo>
                        <a:pt x="17209" y="1890"/>
                      </a:lnTo>
                      <a:lnTo>
                        <a:pt x="17213" y="1906"/>
                      </a:lnTo>
                      <a:lnTo>
                        <a:pt x="17268" y="1940"/>
                      </a:lnTo>
                      <a:lnTo>
                        <a:pt x="17284" y="1956"/>
                      </a:lnTo>
                      <a:lnTo>
                        <a:pt x="17268" y="1944"/>
                      </a:lnTo>
                      <a:lnTo>
                        <a:pt x="17246" y="1989"/>
                      </a:lnTo>
                      <a:lnTo>
                        <a:pt x="17239" y="1994"/>
                      </a:lnTo>
                      <a:lnTo>
                        <a:pt x="17251" y="2029"/>
                      </a:lnTo>
                      <a:lnTo>
                        <a:pt x="17239" y="2046"/>
                      </a:lnTo>
                      <a:lnTo>
                        <a:pt x="17209" y="2055"/>
                      </a:lnTo>
                      <a:lnTo>
                        <a:pt x="17209" y="2067"/>
                      </a:lnTo>
                      <a:lnTo>
                        <a:pt x="17192" y="2072"/>
                      </a:lnTo>
                      <a:lnTo>
                        <a:pt x="17197" y="2084"/>
                      </a:lnTo>
                      <a:lnTo>
                        <a:pt x="17192" y="2088"/>
                      </a:lnTo>
                      <a:lnTo>
                        <a:pt x="17171" y="2100"/>
                      </a:lnTo>
                      <a:lnTo>
                        <a:pt x="17185" y="2112"/>
                      </a:lnTo>
                      <a:lnTo>
                        <a:pt x="17176" y="2105"/>
                      </a:lnTo>
                      <a:lnTo>
                        <a:pt x="17154" y="2138"/>
                      </a:lnTo>
                      <a:lnTo>
                        <a:pt x="17121" y="2138"/>
                      </a:lnTo>
                      <a:lnTo>
                        <a:pt x="17138" y="2166"/>
                      </a:lnTo>
                      <a:lnTo>
                        <a:pt x="17138" y="2178"/>
                      </a:lnTo>
                      <a:lnTo>
                        <a:pt x="17100" y="2178"/>
                      </a:lnTo>
                      <a:lnTo>
                        <a:pt x="17088" y="2183"/>
                      </a:lnTo>
                      <a:lnTo>
                        <a:pt x="17079" y="2195"/>
                      </a:lnTo>
                      <a:lnTo>
                        <a:pt x="17046" y="2178"/>
                      </a:lnTo>
                      <a:lnTo>
                        <a:pt x="17079" y="2162"/>
                      </a:lnTo>
                      <a:lnTo>
                        <a:pt x="17046" y="2166"/>
                      </a:lnTo>
                      <a:lnTo>
                        <a:pt x="17013" y="2157"/>
                      </a:lnTo>
                      <a:lnTo>
                        <a:pt x="16954" y="2157"/>
                      </a:lnTo>
                      <a:lnTo>
                        <a:pt x="16958" y="2162"/>
                      </a:lnTo>
                      <a:lnTo>
                        <a:pt x="16958" y="2178"/>
                      </a:lnTo>
                      <a:lnTo>
                        <a:pt x="16982" y="2195"/>
                      </a:lnTo>
                      <a:lnTo>
                        <a:pt x="17050" y="2216"/>
                      </a:lnTo>
                      <a:lnTo>
                        <a:pt x="17133" y="2211"/>
                      </a:lnTo>
                      <a:lnTo>
                        <a:pt x="17171" y="2223"/>
                      </a:lnTo>
                      <a:lnTo>
                        <a:pt x="17192" y="2216"/>
                      </a:lnTo>
                      <a:lnTo>
                        <a:pt x="17192" y="2195"/>
                      </a:lnTo>
                      <a:lnTo>
                        <a:pt x="17197" y="2178"/>
                      </a:lnTo>
                      <a:lnTo>
                        <a:pt x="17230" y="2178"/>
                      </a:lnTo>
                      <a:lnTo>
                        <a:pt x="17294" y="2138"/>
                      </a:lnTo>
                      <a:lnTo>
                        <a:pt x="17298" y="2105"/>
                      </a:lnTo>
                      <a:lnTo>
                        <a:pt x="17298" y="2100"/>
                      </a:lnTo>
                      <a:lnTo>
                        <a:pt x="17353" y="2051"/>
                      </a:lnTo>
                      <a:lnTo>
                        <a:pt x="17360" y="2018"/>
                      </a:lnTo>
                      <a:lnTo>
                        <a:pt x="17353" y="1994"/>
                      </a:lnTo>
                      <a:lnTo>
                        <a:pt x="17332" y="1961"/>
                      </a:lnTo>
                      <a:lnTo>
                        <a:pt x="17336" y="1944"/>
                      </a:lnTo>
                      <a:lnTo>
                        <a:pt x="17336" y="1923"/>
                      </a:lnTo>
                      <a:lnTo>
                        <a:pt x="17353" y="1918"/>
                      </a:lnTo>
                      <a:lnTo>
                        <a:pt x="17483" y="1890"/>
                      </a:lnTo>
                      <a:lnTo>
                        <a:pt x="17495" y="1902"/>
                      </a:lnTo>
                      <a:lnTo>
                        <a:pt x="17495" y="1918"/>
                      </a:lnTo>
                      <a:lnTo>
                        <a:pt x="17537" y="1944"/>
                      </a:lnTo>
                      <a:lnTo>
                        <a:pt x="17537" y="1961"/>
                      </a:lnTo>
                      <a:lnTo>
                        <a:pt x="17532" y="1973"/>
                      </a:lnTo>
                      <a:lnTo>
                        <a:pt x="17537" y="1977"/>
                      </a:lnTo>
                      <a:lnTo>
                        <a:pt x="17532" y="2013"/>
                      </a:lnTo>
                      <a:lnTo>
                        <a:pt x="17537" y="2018"/>
                      </a:lnTo>
                      <a:lnTo>
                        <a:pt x="17520" y="2034"/>
                      </a:lnTo>
                      <a:lnTo>
                        <a:pt x="17570" y="2067"/>
                      </a:lnTo>
                      <a:lnTo>
                        <a:pt x="17662" y="2067"/>
                      </a:lnTo>
                      <a:lnTo>
                        <a:pt x="17646" y="2051"/>
                      </a:lnTo>
                      <a:lnTo>
                        <a:pt x="17624" y="2055"/>
                      </a:lnTo>
                      <a:lnTo>
                        <a:pt x="17617" y="2055"/>
                      </a:lnTo>
                      <a:lnTo>
                        <a:pt x="17629" y="2051"/>
                      </a:lnTo>
                      <a:lnTo>
                        <a:pt x="17549" y="2046"/>
                      </a:lnTo>
                      <a:lnTo>
                        <a:pt x="17554" y="1994"/>
                      </a:lnTo>
                      <a:lnTo>
                        <a:pt x="17601" y="1977"/>
                      </a:lnTo>
                      <a:lnTo>
                        <a:pt x="17587" y="1961"/>
                      </a:lnTo>
                      <a:lnTo>
                        <a:pt x="17587" y="1944"/>
                      </a:lnTo>
                      <a:lnTo>
                        <a:pt x="17570" y="1944"/>
                      </a:lnTo>
                      <a:lnTo>
                        <a:pt x="17563" y="1902"/>
                      </a:lnTo>
                      <a:lnTo>
                        <a:pt x="17445" y="1850"/>
                      </a:lnTo>
                      <a:lnTo>
                        <a:pt x="17407" y="1850"/>
                      </a:lnTo>
                      <a:lnTo>
                        <a:pt x="17360" y="1878"/>
                      </a:lnTo>
                      <a:lnTo>
                        <a:pt x="17332" y="1866"/>
                      </a:lnTo>
                      <a:lnTo>
                        <a:pt x="17298" y="1878"/>
                      </a:lnTo>
                      <a:lnTo>
                        <a:pt x="17284" y="1862"/>
                      </a:lnTo>
                      <a:lnTo>
                        <a:pt x="17298" y="1829"/>
                      </a:lnTo>
                      <a:lnTo>
                        <a:pt x="17268" y="1791"/>
                      </a:lnTo>
                      <a:lnTo>
                        <a:pt x="17294" y="1751"/>
                      </a:lnTo>
                      <a:lnTo>
                        <a:pt x="17284" y="1739"/>
                      </a:lnTo>
                      <a:lnTo>
                        <a:pt x="17332" y="1696"/>
                      </a:lnTo>
                      <a:lnTo>
                        <a:pt x="17332" y="1668"/>
                      </a:lnTo>
                      <a:lnTo>
                        <a:pt x="17298" y="1647"/>
                      </a:lnTo>
                      <a:lnTo>
                        <a:pt x="17298" y="1630"/>
                      </a:lnTo>
                      <a:lnTo>
                        <a:pt x="17268" y="1590"/>
                      </a:lnTo>
                      <a:lnTo>
                        <a:pt x="17239" y="1573"/>
                      </a:lnTo>
                      <a:lnTo>
                        <a:pt x="17268" y="1545"/>
                      </a:lnTo>
                      <a:lnTo>
                        <a:pt x="17268" y="1529"/>
                      </a:lnTo>
                      <a:lnTo>
                        <a:pt x="17268" y="1519"/>
                      </a:lnTo>
                      <a:lnTo>
                        <a:pt x="17369" y="1479"/>
                      </a:lnTo>
                      <a:lnTo>
                        <a:pt x="17386" y="1462"/>
                      </a:lnTo>
                      <a:lnTo>
                        <a:pt x="17386" y="1441"/>
                      </a:lnTo>
                      <a:lnTo>
                        <a:pt x="17374" y="1408"/>
                      </a:lnTo>
                      <a:lnTo>
                        <a:pt x="17360" y="1384"/>
                      </a:lnTo>
                      <a:lnTo>
                        <a:pt x="17374" y="1375"/>
                      </a:lnTo>
                      <a:lnTo>
                        <a:pt x="17402" y="1384"/>
                      </a:lnTo>
                      <a:lnTo>
                        <a:pt x="17412" y="1392"/>
                      </a:lnTo>
                      <a:lnTo>
                        <a:pt x="17402" y="1401"/>
                      </a:lnTo>
                      <a:lnTo>
                        <a:pt x="17424" y="1418"/>
                      </a:lnTo>
                      <a:lnTo>
                        <a:pt x="17412" y="1425"/>
                      </a:lnTo>
                      <a:lnTo>
                        <a:pt x="17428" y="1458"/>
                      </a:lnTo>
                      <a:lnTo>
                        <a:pt x="17391" y="1512"/>
                      </a:lnTo>
                      <a:lnTo>
                        <a:pt x="17391" y="1529"/>
                      </a:lnTo>
                      <a:lnTo>
                        <a:pt x="17407" y="1545"/>
                      </a:lnTo>
                      <a:lnTo>
                        <a:pt x="17407" y="1557"/>
                      </a:lnTo>
                      <a:lnTo>
                        <a:pt x="17391" y="1569"/>
                      </a:lnTo>
                      <a:lnTo>
                        <a:pt x="17391" y="1573"/>
                      </a:lnTo>
                      <a:lnTo>
                        <a:pt x="17428" y="1590"/>
                      </a:lnTo>
                      <a:lnTo>
                        <a:pt x="17511" y="1602"/>
                      </a:lnTo>
                      <a:lnTo>
                        <a:pt x="17511" y="1614"/>
                      </a:lnTo>
                      <a:lnTo>
                        <a:pt x="17516" y="1607"/>
                      </a:lnTo>
                      <a:lnTo>
                        <a:pt x="17563" y="1607"/>
                      </a:lnTo>
                      <a:lnTo>
                        <a:pt x="17575" y="1614"/>
                      </a:lnTo>
                      <a:lnTo>
                        <a:pt x="17587" y="1630"/>
                      </a:lnTo>
                      <a:lnTo>
                        <a:pt x="17617" y="1640"/>
                      </a:lnTo>
                      <a:lnTo>
                        <a:pt x="17662" y="1630"/>
                      </a:lnTo>
                      <a:lnTo>
                        <a:pt x="17624" y="1630"/>
                      </a:lnTo>
                      <a:lnTo>
                        <a:pt x="17617" y="1630"/>
                      </a:lnTo>
                      <a:lnTo>
                        <a:pt x="17624" y="1614"/>
                      </a:lnTo>
                      <a:lnTo>
                        <a:pt x="17608" y="1614"/>
                      </a:lnTo>
                      <a:lnTo>
                        <a:pt x="17624" y="1623"/>
                      </a:lnTo>
                      <a:lnTo>
                        <a:pt x="17617" y="1623"/>
                      </a:lnTo>
                      <a:lnTo>
                        <a:pt x="17601" y="1614"/>
                      </a:lnTo>
                      <a:lnTo>
                        <a:pt x="17608" y="1590"/>
                      </a:lnTo>
                      <a:lnTo>
                        <a:pt x="17575" y="1590"/>
                      </a:lnTo>
                      <a:lnTo>
                        <a:pt x="17587" y="1573"/>
                      </a:lnTo>
                      <a:lnTo>
                        <a:pt x="17570" y="1590"/>
                      </a:lnTo>
                      <a:lnTo>
                        <a:pt x="17549" y="1585"/>
                      </a:lnTo>
                      <a:lnTo>
                        <a:pt x="17554" y="1590"/>
                      </a:lnTo>
                      <a:lnTo>
                        <a:pt x="17461" y="1552"/>
                      </a:lnTo>
                      <a:lnTo>
                        <a:pt x="17445" y="1512"/>
                      </a:lnTo>
                      <a:lnTo>
                        <a:pt x="17457" y="1503"/>
                      </a:lnTo>
                      <a:lnTo>
                        <a:pt x="17511" y="1491"/>
                      </a:lnTo>
                      <a:lnTo>
                        <a:pt x="17554" y="1519"/>
                      </a:lnTo>
                      <a:lnTo>
                        <a:pt x="17591" y="1512"/>
                      </a:lnTo>
                      <a:lnTo>
                        <a:pt x="17601" y="1495"/>
                      </a:lnTo>
                      <a:lnTo>
                        <a:pt x="17587" y="1479"/>
                      </a:lnTo>
                      <a:lnTo>
                        <a:pt x="17537" y="1479"/>
                      </a:lnTo>
                      <a:lnTo>
                        <a:pt x="17549" y="1462"/>
                      </a:lnTo>
                      <a:lnTo>
                        <a:pt x="17563" y="1474"/>
                      </a:lnTo>
                      <a:lnTo>
                        <a:pt x="17575" y="1446"/>
                      </a:lnTo>
                      <a:lnTo>
                        <a:pt x="17624" y="1441"/>
                      </a:lnTo>
                      <a:lnTo>
                        <a:pt x="17693" y="1446"/>
                      </a:lnTo>
                      <a:lnTo>
                        <a:pt x="17785" y="1479"/>
                      </a:lnTo>
                      <a:lnTo>
                        <a:pt x="17785" y="1491"/>
                      </a:lnTo>
                      <a:lnTo>
                        <a:pt x="17769" y="1491"/>
                      </a:lnTo>
                      <a:lnTo>
                        <a:pt x="17839" y="1536"/>
                      </a:lnTo>
                      <a:lnTo>
                        <a:pt x="17927" y="1529"/>
                      </a:lnTo>
                      <a:lnTo>
                        <a:pt x="17953" y="1536"/>
                      </a:lnTo>
                      <a:lnTo>
                        <a:pt x="17941" y="1552"/>
                      </a:lnTo>
                      <a:lnTo>
                        <a:pt x="17932" y="1569"/>
                      </a:lnTo>
                      <a:lnTo>
                        <a:pt x="17889" y="1590"/>
                      </a:lnTo>
                      <a:lnTo>
                        <a:pt x="17894" y="1614"/>
                      </a:lnTo>
                      <a:lnTo>
                        <a:pt x="17877" y="1630"/>
                      </a:lnTo>
                      <a:lnTo>
                        <a:pt x="17894" y="1656"/>
                      </a:lnTo>
                      <a:lnTo>
                        <a:pt x="17872" y="1684"/>
                      </a:lnTo>
                      <a:lnTo>
                        <a:pt x="17894" y="1734"/>
                      </a:lnTo>
                      <a:lnTo>
                        <a:pt x="17877" y="1684"/>
                      </a:lnTo>
                      <a:lnTo>
                        <a:pt x="17898" y="1680"/>
                      </a:lnTo>
                      <a:lnTo>
                        <a:pt x="17898" y="1656"/>
                      </a:lnTo>
                      <a:lnTo>
                        <a:pt x="17910" y="1630"/>
                      </a:lnTo>
                      <a:lnTo>
                        <a:pt x="17948" y="1640"/>
                      </a:lnTo>
                      <a:lnTo>
                        <a:pt x="17941" y="1701"/>
                      </a:lnTo>
                      <a:lnTo>
                        <a:pt x="17910" y="1722"/>
                      </a:lnTo>
                      <a:lnTo>
                        <a:pt x="17910" y="1734"/>
                      </a:lnTo>
                      <a:lnTo>
                        <a:pt x="17948" y="1751"/>
                      </a:lnTo>
                      <a:lnTo>
                        <a:pt x="17948" y="1739"/>
                      </a:lnTo>
                      <a:lnTo>
                        <a:pt x="17932" y="1718"/>
                      </a:lnTo>
                      <a:lnTo>
                        <a:pt x="17969" y="1718"/>
                      </a:lnTo>
                      <a:lnTo>
                        <a:pt x="17986" y="1701"/>
                      </a:lnTo>
                      <a:lnTo>
                        <a:pt x="17969" y="1640"/>
                      </a:lnTo>
                      <a:lnTo>
                        <a:pt x="17948" y="1602"/>
                      </a:lnTo>
                      <a:lnTo>
                        <a:pt x="17979" y="1545"/>
                      </a:lnTo>
                      <a:lnTo>
                        <a:pt x="17965" y="1519"/>
                      </a:lnTo>
                      <a:lnTo>
                        <a:pt x="17915" y="1512"/>
                      </a:lnTo>
                      <a:lnTo>
                        <a:pt x="17877" y="1479"/>
                      </a:lnTo>
                      <a:lnTo>
                        <a:pt x="17889" y="1474"/>
                      </a:lnTo>
                      <a:lnTo>
                        <a:pt x="17877" y="1458"/>
                      </a:lnTo>
                      <a:lnTo>
                        <a:pt x="17806" y="1446"/>
                      </a:lnTo>
                      <a:lnTo>
                        <a:pt x="17780" y="1425"/>
                      </a:lnTo>
                      <a:lnTo>
                        <a:pt x="17785" y="1408"/>
                      </a:lnTo>
                      <a:lnTo>
                        <a:pt x="17769" y="1392"/>
                      </a:lnTo>
                      <a:lnTo>
                        <a:pt x="17785" y="1375"/>
                      </a:lnTo>
                      <a:lnTo>
                        <a:pt x="17785" y="1363"/>
                      </a:lnTo>
                      <a:lnTo>
                        <a:pt x="17752" y="1347"/>
                      </a:lnTo>
                      <a:lnTo>
                        <a:pt x="17764" y="1335"/>
                      </a:lnTo>
                      <a:lnTo>
                        <a:pt x="17738" y="1335"/>
                      </a:lnTo>
                      <a:lnTo>
                        <a:pt x="17764" y="1330"/>
                      </a:lnTo>
                      <a:lnTo>
                        <a:pt x="17747" y="1314"/>
                      </a:lnTo>
                      <a:lnTo>
                        <a:pt x="17769" y="1290"/>
                      </a:lnTo>
                      <a:lnTo>
                        <a:pt x="17764" y="1290"/>
                      </a:lnTo>
                      <a:lnTo>
                        <a:pt x="17764" y="1281"/>
                      </a:lnTo>
                      <a:lnTo>
                        <a:pt x="18054" y="1252"/>
                      </a:lnTo>
                      <a:lnTo>
                        <a:pt x="18092" y="1257"/>
                      </a:lnTo>
                      <a:lnTo>
                        <a:pt x="18146" y="1240"/>
                      </a:lnTo>
                      <a:lnTo>
                        <a:pt x="18222" y="1240"/>
                      </a:lnTo>
                      <a:lnTo>
                        <a:pt x="18217" y="1252"/>
                      </a:lnTo>
                      <a:lnTo>
                        <a:pt x="18130" y="1297"/>
                      </a:lnTo>
                      <a:lnTo>
                        <a:pt x="18130" y="1314"/>
                      </a:lnTo>
                      <a:lnTo>
                        <a:pt x="18196" y="1347"/>
                      </a:lnTo>
                      <a:lnTo>
                        <a:pt x="18201" y="1363"/>
                      </a:lnTo>
                      <a:lnTo>
                        <a:pt x="18196" y="1335"/>
                      </a:lnTo>
                      <a:lnTo>
                        <a:pt x="18142" y="1314"/>
                      </a:lnTo>
                      <a:lnTo>
                        <a:pt x="18130" y="1290"/>
                      </a:lnTo>
                      <a:lnTo>
                        <a:pt x="18234" y="1273"/>
                      </a:lnTo>
                      <a:lnTo>
                        <a:pt x="18267" y="1236"/>
                      </a:lnTo>
                      <a:lnTo>
                        <a:pt x="18239" y="1240"/>
                      </a:lnTo>
                      <a:lnTo>
                        <a:pt x="18217" y="1219"/>
                      </a:lnTo>
                      <a:lnTo>
                        <a:pt x="18250" y="1219"/>
                      </a:lnTo>
                      <a:lnTo>
                        <a:pt x="18239" y="1207"/>
                      </a:lnTo>
                      <a:lnTo>
                        <a:pt x="18213" y="1207"/>
                      </a:lnTo>
                      <a:lnTo>
                        <a:pt x="18201" y="1186"/>
                      </a:lnTo>
                      <a:lnTo>
                        <a:pt x="18184" y="1186"/>
                      </a:lnTo>
                      <a:lnTo>
                        <a:pt x="18142" y="1179"/>
                      </a:lnTo>
                      <a:lnTo>
                        <a:pt x="18142" y="1170"/>
                      </a:lnTo>
                      <a:lnTo>
                        <a:pt x="18168" y="1179"/>
                      </a:lnTo>
                      <a:lnTo>
                        <a:pt x="18146" y="1162"/>
                      </a:lnTo>
                      <a:lnTo>
                        <a:pt x="18180" y="1153"/>
                      </a:lnTo>
                      <a:lnTo>
                        <a:pt x="18213" y="1162"/>
                      </a:lnTo>
                      <a:lnTo>
                        <a:pt x="18196" y="1179"/>
                      </a:lnTo>
                      <a:lnTo>
                        <a:pt x="18222" y="1170"/>
                      </a:lnTo>
                      <a:lnTo>
                        <a:pt x="18184" y="1146"/>
                      </a:lnTo>
                      <a:lnTo>
                        <a:pt x="18196" y="1141"/>
                      </a:lnTo>
                      <a:lnTo>
                        <a:pt x="18184" y="1141"/>
                      </a:lnTo>
                      <a:lnTo>
                        <a:pt x="18130" y="1129"/>
                      </a:lnTo>
                      <a:lnTo>
                        <a:pt x="18158" y="1113"/>
                      </a:lnTo>
                      <a:lnTo>
                        <a:pt x="18146" y="1108"/>
                      </a:lnTo>
                      <a:lnTo>
                        <a:pt x="18213" y="1129"/>
                      </a:lnTo>
                      <a:lnTo>
                        <a:pt x="18213" y="1125"/>
                      </a:lnTo>
                      <a:lnTo>
                        <a:pt x="18201" y="1125"/>
                      </a:lnTo>
                      <a:lnTo>
                        <a:pt x="18239" y="1087"/>
                      </a:lnTo>
                      <a:lnTo>
                        <a:pt x="18234" y="1075"/>
                      </a:lnTo>
                      <a:lnTo>
                        <a:pt x="18255" y="1087"/>
                      </a:lnTo>
                      <a:lnTo>
                        <a:pt x="18272" y="1075"/>
                      </a:lnTo>
                      <a:lnTo>
                        <a:pt x="18213" y="1070"/>
                      </a:lnTo>
                      <a:lnTo>
                        <a:pt x="18217" y="1051"/>
                      </a:lnTo>
                      <a:lnTo>
                        <a:pt x="18288" y="1058"/>
                      </a:lnTo>
                      <a:lnTo>
                        <a:pt x="18373" y="1002"/>
                      </a:lnTo>
                      <a:lnTo>
                        <a:pt x="18395" y="1014"/>
                      </a:lnTo>
                      <a:lnTo>
                        <a:pt x="18428" y="997"/>
                      </a:lnTo>
                      <a:lnTo>
                        <a:pt x="18487" y="981"/>
                      </a:lnTo>
                      <a:lnTo>
                        <a:pt x="18541" y="981"/>
                      </a:lnTo>
                      <a:lnTo>
                        <a:pt x="18546" y="976"/>
                      </a:lnTo>
                      <a:lnTo>
                        <a:pt x="18720" y="943"/>
                      </a:lnTo>
                      <a:lnTo>
                        <a:pt x="18671" y="943"/>
                      </a:lnTo>
                      <a:lnTo>
                        <a:pt x="18666" y="947"/>
                      </a:lnTo>
                      <a:lnTo>
                        <a:pt x="18654" y="931"/>
                      </a:lnTo>
                      <a:lnTo>
                        <a:pt x="18645" y="943"/>
                      </a:lnTo>
                      <a:lnTo>
                        <a:pt x="18645" y="947"/>
                      </a:lnTo>
                      <a:lnTo>
                        <a:pt x="18628" y="943"/>
                      </a:lnTo>
                      <a:lnTo>
                        <a:pt x="18633" y="924"/>
                      </a:lnTo>
                      <a:lnTo>
                        <a:pt x="18654" y="924"/>
                      </a:lnTo>
                      <a:lnTo>
                        <a:pt x="18650" y="919"/>
                      </a:lnTo>
                      <a:lnTo>
                        <a:pt x="18666" y="919"/>
                      </a:lnTo>
                      <a:lnTo>
                        <a:pt x="18654" y="924"/>
                      </a:lnTo>
                      <a:lnTo>
                        <a:pt x="18666" y="931"/>
                      </a:lnTo>
                      <a:lnTo>
                        <a:pt x="18709" y="924"/>
                      </a:lnTo>
                      <a:lnTo>
                        <a:pt x="18683" y="907"/>
                      </a:lnTo>
                      <a:lnTo>
                        <a:pt x="18735" y="907"/>
                      </a:lnTo>
                      <a:lnTo>
                        <a:pt x="18742" y="924"/>
                      </a:lnTo>
                      <a:lnTo>
                        <a:pt x="18758" y="919"/>
                      </a:lnTo>
                      <a:lnTo>
                        <a:pt x="18742" y="907"/>
                      </a:lnTo>
                      <a:lnTo>
                        <a:pt x="18751" y="907"/>
                      </a:lnTo>
                      <a:lnTo>
                        <a:pt x="18865" y="919"/>
                      </a:lnTo>
                      <a:lnTo>
                        <a:pt x="18817" y="947"/>
                      </a:lnTo>
                      <a:lnTo>
                        <a:pt x="18827" y="947"/>
                      </a:lnTo>
                      <a:lnTo>
                        <a:pt x="18843" y="943"/>
                      </a:lnTo>
                      <a:lnTo>
                        <a:pt x="18881" y="931"/>
                      </a:lnTo>
                      <a:lnTo>
                        <a:pt x="18886" y="943"/>
                      </a:lnTo>
                      <a:lnTo>
                        <a:pt x="18881" y="947"/>
                      </a:lnTo>
                      <a:lnTo>
                        <a:pt x="18935" y="924"/>
                      </a:lnTo>
                      <a:lnTo>
                        <a:pt x="18940" y="924"/>
                      </a:lnTo>
                      <a:lnTo>
                        <a:pt x="18924" y="943"/>
                      </a:lnTo>
                      <a:lnTo>
                        <a:pt x="18973" y="931"/>
                      </a:lnTo>
                      <a:lnTo>
                        <a:pt x="18957" y="924"/>
                      </a:lnTo>
                      <a:lnTo>
                        <a:pt x="18994" y="919"/>
                      </a:lnTo>
                      <a:lnTo>
                        <a:pt x="19006" y="919"/>
                      </a:lnTo>
                      <a:lnTo>
                        <a:pt x="18978" y="907"/>
                      </a:lnTo>
                      <a:lnTo>
                        <a:pt x="19044" y="891"/>
                      </a:lnTo>
                      <a:lnTo>
                        <a:pt x="19032" y="903"/>
                      </a:lnTo>
                      <a:lnTo>
                        <a:pt x="19082" y="903"/>
                      </a:lnTo>
                      <a:lnTo>
                        <a:pt x="19065" y="907"/>
                      </a:lnTo>
                      <a:lnTo>
                        <a:pt x="19098" y="907"/>
                      </a:lnTo>
                      <a:lnTo>
                        <a:pt x="19087" y="919"/>
                      </a:lnTo>
                      <a:lnTo>
                        <a:pt x="19113" y="924"/>
                      </a:lnTo>
                      <a:lnTo>
                        <a:pt x="19103" y="959"/>
                      </a:lnTo>
                      <a:lnTo>
                        <a:pt x="19075" y="964"/>
                      </a:lnTo>
                      <a:lnTo>
                        <a:pt x="19065" y="997"/>
                      </a:lnTo>
                      <a:lnTo>
                        <a:pt x="19103" y="1014"/>
                      </a:lnTo>
                      <a:lnTo>
                        <a:pt x="19141" y="1051"/>
                      </a:lnTo>
                      <a:lnTo>
                        <a:pt x="19136" y="1035"/>
                      </a:lnTo>
                      <a:lnTo>
                        <a:pt x="19113" y="1018"/>
                      </a:lnTo>
                      <a:lnTo>
                        <a:pt x="19120" y="1014"/>
                      </a:lnTo>
                      <a:lnTo>
                        <a:pt x="19075" y="997"/>
                      </a:lnTo>
                      <a:lnTo>
                        <a:pt x="19082" y="964"/>
                      </a:lnTo>
                      <a:lnTo>
                        <a:pt x="19103" y="964"/>
                      </a:lnTo>
                      <a:lnTo>
                        <a:pt x="19120" y="947"/>
                      </a:lnTo>
                      <a:lnTo>
                        <a:pt x="19120" y="919"/>
                      </a:lnTo>
                      <a:lnTo>
                        <a:pt x="19103" y="891"/>
                      </a:lnTo>
                      <a:lnTo>
                        <a:pt x="19061" y="874"/>
                      </a:lnTo>
                      <a:lnTo>
                        <a:pt x="19044" y="865"/>
                      </a:lnTo>
                      <a:lnTo>
                        <a:pt x="19188" y="853"/>
                      </a:lnTo>
                      <a:lnTo>
                        <a:pt x="19280" y="874"/>
                      </a:lnTo>
                      <a:lnTo>
                        <a:pt x="19188" y="848"/>
                      </a:lnTo>
                      <a:lnTo>
                        <a:pt x="19205" y="848"/>
                      </a:lnTo>
                      <a:lnTo>
                        <a:pt x="19212" y="820"/>
                      </a:lnTo>
                      <a:lnTo>
                        <a:pt x="19188" y="799"/>
                      </a:lnTo>
                      <a:lnTo>
                        <a:pt x="19195" y="780"/>
                      </a:lnTo>
                      <a:lnTo>
                        <a:pt x="19212" y="780"/>
                      </a:lnTo>
                      <a:lnTo>
                        <a:pt x="19212" y="763"/>
                      </a:lnTo>
                      <a:lnTo>
                        <a:pt x="19276" y="721"/>
                      </a:lnTo>
                      <a:lnTo>
                        <a:pt x="19292" y="725"/>
                      </a:lnTo>
                      <a:lnTo>
                        <a:pt x="19351" y="681"/>
                      </a:lnTo>
                      <a:lnTo>
                        <a:pt x="19427" y="671"/>
                      </a:lnTo>
                      <a:lnTo>
                        <a:pt x="19439" y="671"/>
                      </a:lnTo>
                      <a:lnTo>
                        <a:pt x="19427" y="681"/>
                      </a:lnTo>
                      <a:lnTo>
                        <a:pt x="19460" y="671"/>
                      </a:lnTo>
                      <a:lnTo>
                        <a:pt x="19476" y="697"/>
                      </a:lnTo>
                      <a:lnTo>
                        <a:pt x="19507" y="697"/>
                      </a:lnTo>
                      <a:lnTo>
                        <a:pt x="19535" y="697"/>
                      </a:lnTo>
                      <a:lnTo>
                        <a:pt x="19552" y="721"/>
                      </a:lnTo>
                      <a:lnTo>
                        <a:pt x="19566" y="725"/>
                      </a:lnTo>
                      <a:lnTo>
                        <a:pt x="19528" y="725"/>
                      </a:lnTo>
                      <a:lnTo>
                        <a:pt x="19514" y="742"/>
                      </a:lnTo>
                      <a:lnTo>
                        <a:pt x="19422" y="763"/>
                      </a:lnTo>
                      <a:lnTo>
                        <a:pt x="19545" y="758"/>
                      </a:lnTo>
                      <a:lnTo>
                        <a:pt x="19535" y="775"/>
                      </a:lnTo>
                      <a:lnTo>
                        <a:pt x="19514" y="780"/>
                      </a:lnTo>
                      <a:lnTo>
                        <a:pt x="19604" y="775"/>
                      </a:lnTo>
                      <a:lnTo>
                        <a:pt x="19654" y="792"/>
                      </a:lnTo>
                      <a:lnTo>
                        <a:pt x="19637" y="799"/>
                      </a:lnTo>
                      <a:lnTo>
                        <a:pt x="19642" y="799"/>
                      </a:lnTo>
                      <a:lnTo>
                        <a:pt x="19590" y="848"/>
                      </a:lnTo>
                      <a:lnTo>
                        <a:pt x="19573" y="848"/>
                      </a:lnTo>
                      <a:lnTo>
                        <a:pt x="19573" y="853"/>
                      </a:lnTo>
                      <a:lnTo>
                        <a:pt x="19687" y="853"/>
                      </a:lnTo>
                      <a:lnTo>
                        <a:pt x="19691" y="836"/>
                      </a:lnTo>
                      <a:lnTo>
                        <a:pt x="19687" y="832"/>
                      </a:lnTo>
                      <a:lnTo>
                        <a:pt x="19687" y="820"/>
                      </a:lnTo>
                      <a:lnTo>
                        <a:pt x="19831" y="832"/>
                      </a:lnTo>
                      <a:lnTo>
                        <a:pt x="19906" y="820"/>
                      </a:lnTo>
                      <a:lnTo>
                        <a:pt x="19982" y="865"/>
                      </a:lnTo>
                      <a:lnTo>
                        <a:pt x="19961" y="874"/>
                      </a:lnTo>
                      <a:lnTo>
                        <a:pt x="19994" y="865"/>
                      </a:lnTo>
                      <a:lnTo>
                        <a:pt x="20020" y="886"/>
                      </a:lnTo>
                      <a:lnTo>
                        <a:pt x="20015" y="903"/>
                      </a:lnTo>
                      <a:lnTo>
                        <a:pt x="20010" y="891"/>
                      </a:lnTo>
                      <a:lnTo>
                        <a:pt x="20031" y="907"/>
                      </a:lnTo>
                      <a:lnTo>
                        <a:pt x="20010" y="924"/>
                      </a:lnTo>
                      <a:lnTo>
                        <a:pt x="20065" y="907"/>
                      </a:lnTo>
                      <a:lnTo>
                        <a:pt x="20036" y="891"/>
                      </a:lnTo>
                      <a:lnTo>
                        <a:pt x="20065" y="891"/>
                      </a:lnTo>
                      <a:lnTo>
                        <a:pt x="20074" y="907"/>
                      </a:lnTo>
                      <a:lnTo>
                        <a:pt x="20074" y="947"/>
                      </a:lnTo>
                      <a:lnTo>
                        <a:pt x="20091" y="943"/>
                      </a:lnTo>
                      <a:lnTo>
                        <a:pt x="20102" y="959"/>
                      </a:lnTo>
                      <a:lnTo>
                        <a:pt x="20091" y="985"/>
                      </a:lnTo>
                      <a:lnTo>
                        <a:pt x="20074" y="997"/>
                      </a:lnTo>
                      <a:lnTo>
                        <a:pt x="20069" y="997"/>
                      </a:lnTo>
                      <a:lnTo>
                        <a:pt x="20086" y="981"/>
                      </a:lnTo>
                      <a:lnTo>
                        <a:pt x="19994" y="959"/>
                      </a:lnTo>
                      <a:lnTo>
                        <a:pt x="20031" y="976"/>
                      </a:lnTo>
                      <a:lnTo>
                        <a:pt x="20031" y="997"/>
                      </a:lnTo>
                      <a:lnTo>
                        <a:pt x="20065" y="981"/>
                      </a:lnTo>
                      <a:lnTo>
                        <a:pt x="20065" y="997"/>
                      </a:lnTo>
                      <a:lnTo>
                        <a:pt x="20086" y="1002"/>
                      </a:lnTo>
                      <a:lnTo>
                        <a:pt x="20091" y="1018"/>
                      </a:lnTo>
                      <a:lnTo>
                        <a:pt x="20074" y="1018"/>
                      </a:lnTo>
                      <a:lnTo>
                        <a:pt x="20086" y="1030"/>
                      </a:lnTo>
                      <a:lnTo>
                        <a:pt x="20031" y="1075"/>
                      </a:lnTo>
                      <a:lnTo>
                        <a:pt x="19977" y="1092"/>
                      </a:lnTo>
                      <a:lnTo>
                        <a:pt x="19956" y="1125"/>
                      </a:lnTo>
                      <a:lnTo>
                        <a:pt x="19930" y="1125"/>
                      </a:lnTo>
                      <a:lnTo>
                        <a:pt x="19902" y="1141"/>
                      </a:lnTo>
                      <a:lnTo>
                        <a:pt x="19854" y="1153"/>
                      </a:lnTo>
                      <a:lnTo>
                        <a:pt x="19859" y="1153"/>
                      </a:lnTo>
                      <a:lnTo>
                        <a:pt x="19847" y="1170"/>
                      </a:lnTo>
                      <a:lnTo>
                        <a:pt x="19800" y="1170"/>
                      </a:lnTo>
                      <a:lnTo>
                        <a:pt x="19831" y="1179"/>
                      </a:lnTo>
                      <a:lnTo>
                        <a:pt x="19821" y="1195"/>
                      </a:lnTo>
                      <a:lnTo>
                        <a:pt x="19767" y="1219"/>
                      </a:lnTo>
                      <a:lnTo>
                        <a:pt x="19708" y="1264"/>
                      </a:lnTo>
                      <a:lnTo>
                        <a:pt x="19628" y="1273"/>
                      </a:lnTo>
                      <a:lnTo>
                        <a:pt x="19628" y="1281"/>
                      </a:lnTo>
                      <a:lnTo>
                        <a:pt x="19604" y="1314"/>
                      </a:lnTo>
                      <a:lnTo>
                        <a:pt x="19552" y="1318"/>
                      </a:lnTo>
                      <a:lnTo>
                        <a:pt x="19535" y="1363"/>
                      </a:lnTo>
                      <a:lnTo>
                        <a:pt x="19498" y="1392"/>
                      </a:lnTo>
                      <a:lnTo>
                        <a:pt x="19566" y="1363"/>
                      </a:lnTo>
                      <a:lnTo>
                        <a:pt x="19561" y="1347"/>
                      </a:lnTo>
                      <a:lnTo>
                        <a:pt x="19573" y="1330"/>
                      </a:lnTo>
                      <a:lnTo>
                        <a:pt x="19604" y="1335"/>
                      </a:lnTo>
                      <a:lnTo>
                        <a:pt x="19713" y="1330"/>
                      </a:lnTo>
                      <a:lnTo>
                        <a:pt x="19708" y="1318"/>
                      </a:lnTo>
                      <a:lnTo>
                        <a:pt x="19779" y="1307"/>
                      </a:lnTo>
                      <a:lnTo>
                        <a:pt x="19779" y="1290"/>
                      </a:lnTo>
                      <a:lnTo>
                        <a:pt x="19793" y="1297"/>
                      </a:lnTo>
                      <a:lnTo>
                        <a:pt x="19779" y="1281"/>
                      </a:lnTo>
                      <a:lnTo>
                        <a:pt x="19817" y="1297"/>
                      </a:lnTo>
                      <a:lnTo>
                        <a:pt x="19892" y="1264"/>
                      </a:lnTo>
                      <a:lnTo>
                        <a:pt x="19892" y="1252"/>
                      </a:lnTo>
                      <a:lnTo>
                        <a:pt x="19876" y="1252"/>
                      </a:lnTo>
                      <a:lnTo>
                        <a:pt x="19817" y="1264"/>
                      </a:lnTo>
                      <a:lnTo>
                        <a:pt x="19800" y="1252"/>
                      </a:lnTo>
                      <a:lnTo>
                        <a:pt x="19821" y="1224"/>
                      </a:lnTo>
                      <a:lnTo>
                        <a:pt x="19847" y="1219"/>
                      </a:lnTo>
                      <a:lnTo>
                        <a:pt x="19902" y="1236"/>
                      </a:lnTo>
                      <a:lnTo>
                        <a:pt x="19906" y="1219"/>
                      </a:lnTo>
                      <a:lnTo>
                        <a:pt x="19939" y="1207"/>
                      </a:lnTo>
                      <a:lnTo>
                        <a:pt x="19913" y="1224"/>
                      </a:lnTo>
                      <a:lnTo>
                        <a:pt x="19930" y="1240"/>
                      </a:lnTo>
                      <a:lnTo>
                        <a:pt x="19982" y="1257"/>
                      </a:lnTo>
                      <a:lnTo>
                        <a:pt x="20031" y="1252"/>
                      </a:lnTo>
                      <a:lnTo>
                        <a:pt x="20036" y="1240"/>
                      </a:lnTo>
                      <a:lnTo>
                        <a:pt x="20031" y="1224"/>
                      </a:lnTo>
                      <a:lnTo>
                        <a:pt x="20069" y="1264"/>
                      </a:lnTo>
                      <a:lnTo>
                        <a:pt x="20053" y="1297"/>
                      </a:lnTo>
                      <a:lnTo>
                        <a:pt x="20074" y="1314"/>
                      </a:lnTo>
                      <a:lnTo>
                        <a:pt x="20074" y="1363"/>
                      </a:lnTo>
                      <a:lnTo>
                        <a:pt x="20048" y="1375"/>
                      </a:lnTo>
                      <a:lnTo>
                        <a:pt x="20053" y="1392"/>
                      </a:lnTo>
                      <a:lnTo>
                        <a:pt x="20119" y="1418"/>
                      </a:lnTo>
                      <a:lnTo>
                        <a:pt x="20069" y="1401"/>
                      </a:lnTo>
                      <a:lnTo>
                        <a:pt x="20053" y="1384"/>
                      </a:lnTo>
                      <a:lnTo>
                        <a:pt x="20074" y="1363"/>
                      </a:lnTo>
                      <a:lnTo>
                        <a:pt x="20074" y="1318"/>
                      </a:lnTo>
                      <a:lnTo>
                        <a:pt x="20119" y="1314"/>
                      </a:lnTo>
                      <a:lnTo>
                        <a:pt x="20091" y="1314"/>
                      </a:lnTo>
                      <a:lnTo>
                        <a:pt x="20074" y="1290"/>
                      </a:lnTo>
                      <a:lnTo>
                        <a:pt x="20216" y="1257"/>
                      </a:lnTo>
                      <a:lnTo>
                        <a:pt x="20443" y="1281"/>
                      </a:lnTo>
                      <a:lnTo>
                        <a:pt x="20464" y="1290"/>
                      </a:lnTo>
                      <a:lnTo>
                        <a:pt x="20426" y="1290"/>
                      </a:lnTo>
                      <a:lnTo>
                        <a:pt x="20414" y="1297"/>
                      </a:lnTo>
                      <a:lnTo>
                        <a:pt x="20414" y="1330"/>
                      </a:lnTo>
                      <a:lnTo>
                        <a:pt x="20502" y="1351"/>
                      </a:lnTo>
                      <a:lnTo>
                        <a:pt x="20518" y="1368"/>
                      </a:lnTo>
                      <a:lnTo>
                        <a:pt x="20572" y="1375"/>
                      </a:lnTo>
                      <a:lnTo>
                        <a:pt x="20518" y="1363"/>
                      </a:lnTo>
                      <a:lnTo>
                        <a:pt x="20662" y="1363"/>
                      </a:lnTo>
                      <a:lnTo>
                        <a:pt x="20766" y="1392"/>
                      </a:lnTo>
                      <a:lnTo>
                        <a:pt x="20792" y="1392"/>
                      </a:lnTo>
                      <a:lnTo>
                        <a:pt x="20863" y="1408"/>
                      </a:lnTo>
                      <a:lnTo>
                        <a:pt x="20965" y="1458"/>
                      </a:lnTo>
                      <a:lnTo>
                        <a:pt x="20981" y="1446"/>
                      </a:lnTo>
                      <a:lnTo>
                        <a:pt x="21035" y="1512"/>
                      </a:lnTo>
                      <a:lnTo>
                        <a:pt x="21026" y="1529"/>
                      </a:lnTo>
                      <a:lnTo>
                        <a:pt x="21040" y="1573"/>
                      </a:lnTo>
                      <a:lnTo>
                        <a:pt x="21040" y="1569"/>
                      </a:lnTo>
                      <a:lnTo>
                        <a:pt x="21035" y="1529"/>
                      </a:lnTo>
                      <a:lnTo>
                        <a:pt x="21047" y="1512"/>
                      </a:lnTo>
                      <a:lnTo>
                        <a:pt x="21019" y="1491"/>
                      </a:lnTo>
                      <a:lnTo>
                        <a:pt x="21019" y="1458"/>
                      </a:lnTo>
                      <a:lnTo>
                        <a:pt x="21002" y="1441"/>
                      </a:lnTo>
                      <a:lnTo>
                        <a:pt x="21073" y="1446"/>
                      </a:lnTo>
                      <a:lnTo>
                        <a:pt x="21111" y="1479"/>
                      </a:lnTo>
                      <a:lnTo>
                        <a:pt x="21144" y="1529"/>
                      </a:lnTo>
                      <a:lnTo>
                        <a:pt x="21170" y="1519"/>
                      </a:lnTo>
                      <a:lnTo>
                        <a:pt x="21165" y="1495"/>
                      </a:lnTo>
                      <a:lnTo>
                        <a:pt x="21203" y="1536"/>
                      </a:lnTo>
                      <a:lnTo>
                        <a:pt x="21154" y="1536"/>
                      </a:lnTo>
                      <a:lnTo>
                        <a:pt x="21149" y="1545"/>
                      </a:lnTo>
                      <a:lnTo>
                        <a:pt x="21149" y="1552"/>
                      </a:lnTo>
                      <a:lnTo>
                        <a:pt x="21170" y="1552"/>
                      </a:lnTo>
                      <a:lnTo>
                        <a:pt x="21187" y="1585"/>
                      </a:lnTo>
                      <a:lnTo>
                        <a:pt x="21208" y="1590"/>
                      </a:lnTo>
                      <a:lnTo>
                        <a:pt x="21208" y="1614"/>
                      </a:lnTo>
                      <a:lnTo>
                        <a:pt x="21236" y="1614"/>
                      </a:lnTo>
                      <a:lnTo>
                        <a:pt x="21253" y="1630"/>
                      </a:lnTo>
                      <a:lnTo>
                        <a:pt x="21241" y="1630"/>
                      </a:lnTo>
                      <a:lnTo>
                        <a:pt x="21274" y="1647"/>
                      </a:lnTo>
                      <a:lnTo>
                        <a:pt x="21291" y="1630"/>
                      </a:lnTo>
                      <a:lnTo>
                        <a:pt x="21295" y="1663"/>
                      </a:lnTo>
                      <a:lnTo>
                        <a:pt x="21312" y="1663"/>
                      </a:lnTo>
                      <a:lnTo>
                        <a:pt x="21342" y="1647"/>
                      </a:lnTo>
                      <a:lnTo>
                        <a:pt x="21366" y="1602"/>
                      </a:lnTo>
                      <a:lnTo>
                        <a:pt x="21387" y="1602"/>
                      </a:lnTo>
                      <a:lnTo>
                        <a:pt x="21371" y="1590"/>
                      </a:lnTo>
                      <a:lnTo>
                        <a:pt x="21387" y="1536"/>
                      </a:lnTo>
                      <a:lnTo>
                        <a:pt x="21425" y="1503"/>
                      </a:lnTo>
                      <a:lnTo>
                        <a:pt x="21425" y="1529"/>
                      </a:lnTo>
                      <a:lnTo>
                        <a:pt x="21489" y="1569"/>
                      </a:lnTo>
                      <a:lnTo>
                        <a:pt x="21543" y="1585"/>
                      </a:lnTo>
                      <a:lnTo>
                        <a:pt x="21640" y="1545"/>
                      </a:lnTo>
                      <a:lnTo>
                        <a:pt x="21758" y="1585"/>
                      </a:lnTo>
                      <a:lnTo>
                        <a:pt x="21749" y="1590"/>
                      </a:lnTo>
                      <a:lnTo>
                        <a:pt x="21765" y="1590"/>
                      </a:lnTo>
                      <a:lnTo>
                        <a:pt x="21782" y="1614"/>
                      </a:lnTo>
                      <a:lnTo>
                        <a:pt x="21796" y="1607"/>
                      </a:lnTo>
                      <a:lnTo>
                        <a:pt x="21775" y="1602"/>
                      </a:lnTo>
                      <a:lnTo>
                        <a:pt x="21813" y="1590"/>
                      </a:lnTo>
                      <a:lnTo>
                        <a:pt x="21791" y="1590"/>
                      </a:lnTo>
                      <a:lnTo>
                        <a:pt x="21813" y="1585"/>
                      </a:lnTo>
                      <a:lnTo>
                        <a:pt x="21782" y="1573"/>
                      </a:lnTo>
                      <a:lnTo>
                        <a:pt x="21796" y="1552"/>
                      </a:lnTo>
                      <a:lnTo>
                        <a:pt x="21829" y="1545"/>
                      </a:lnTo>
                      <a:lnTo>
                        <a:pt x="21820" y="1552"/>
                      </a:lnTo>
                      <a:lnTo>
                        <a:pt x="21829" y="1557"/>
                      </a:lnTo>
                      <a:lnTo>
                        <a:pt x="21846" y="1545"/>
                      </a:lnTo>
                      <a:lnTo>
                        <a:pt x="21867" y="1552"/>
                      </a:lnTo>
                      <a:lnTo>
                        <a:pt x="21872" y="1573"/>
                      </a:lnTo>
                      <a:lnTo>
                        <a:pt x="21883" y="1573"/>
                      </a:lnTo>
                      <a:lnTo>
                        <a:pt x="21900" y="1557"/>
                      </a:lnTo>
                      <a:lnTo>
                        <a:pt x="21926" y="1569"/>
                      </a:lnTo>
                      <a:lnTo>
                        <a:pt x="21909" y="1536"/>
                      </a:lnTo>
                      <a:lnTo>
                        <a:pt x="21909" y="1512"/>
                      </a:lnTo>
                      <a:lnTo>
                        <a:pt x="21888" y="1503"/>
                      </a:lnTo>
                      <a:lnTo>
                        <a:pt x="21905" y="1503"/>
                      </a:lnTo>
                      <a:lnTo>
                        <a:pt x="21926" y="1474"/>
                      </a:lnTo>
                      <a:lnTo>
                        <a:pt x="21938" y="1479"/>
                      </a:lnTo>
                      <a:lnTo>
                        <a:pt x="21954" y="1462"/>
                      </a:lnTo>
                      <a:lnTo>
                        <a:pt x="21905" y="1462"/>
                      </a:lnTo>
                      <a:lnTo>
                        <a:pt x="21888" y="1479"/>
                      </a:lnTo>
                      <a:lnTo>
                        <a:pt x="21867" y="1462"/>
                      </a:lnTo>
                      <a:lnTo>
                        <a:pt x="21905" y="1425"/>
                      </a:lnTo>
                      <a:lnTo>
                        <a:pt x="21976" y="1425"/>
                      </a:lnTo>
                      <a:lnTo>
                        <a:pt x="22009" y="1418"/>
                      </a:lnTo>
                      <a:lnTo>
                        <a:pt x="22009" y="1401"/>
                      </a:lnTo>
                      <a:lnTo>
                        <a:pt x="21976" y="1375"/>
                      </a:lnTo>
                      <a:lnTo>
                        <a:pt x="21992" y="1375"/>
                      </a:lnTo>
                      <a:lnTo>
                        <a:pt x="22072" y="1392"/>
                      </a:lnTo>
                      <a:lnTo>
                        <a:pt x="22316" y="1425"/>
                      </a:lnTo>
                      <a:lnTo>
                        <a:pt x="22413" y="1446"/>
                      </a:lnTo>
                      <a:lnTo>
                        <a:pt x="22316" y="1446"/>
                      </a:lnTo>
                      <a:lnTo>
                        <a:pt x="22283" y="1429"/>
                      </a:lnTo>
                      <a:lnTo>
                        <a:pt x="22266" y="1441"/>
                      </a:lnTo>
                      <a:lnTo>
                        <a:pt x="22250" y="1462"/>
                      </a:lnTo>
                      <a:lnTo>
                        <a:pt x="22224" y="1458"/>
                      </a:lnTo>
                      <a:lnTo>
                        <a:pt x="22245" y="1474"/>
                      </a:lnTo>
                      <a:lnTo>
                        <a:pt x="22424" y="1458"/>
                      </a:lnTo>
                      <a:lnTo>
                        <a:pt x="22354" y="1512"/>
                      </a:lnTo>
                      <a:lnTo>
                        <a:pt x="22354" y="1491"/>
                      </a:lnTo>
                      <a:lnTo>
                        <a:pt x="22375" y="1479"/>
                      </a:lnTo>
                      <a:lnTo>
                        <a:pt x="22358" y="1474"/>
                      </a:lnTo>
                      <a:lnTo>
                        <a:pt x="22354" y="1491"/>
                      </a:lnTo>
                      <a:lnTo>
                        <a:pt x="22342" y="1462"/>
                      </a:lnTo>
                      <a:lnTo>
                        <a:pt x="22332" y="1462"/>
                      </a:lnTo>
                      <a:lnTo>
                        <a:pt x="22337" y="1462"/>
                      </a:lnTo>
                      <a:lnTo>
                        <a:pt x="22332" y="1491"/>
                      </a:lnTo>
                      <a:lnTo>
                        <a:pt x="22337" y="1491"/>
                      </a:lnTo>
                      <a:lnTo>
                        <a:pt x="22342" y="1503"/>
                      </a:lnTo>
                      <a:lnTo>
                        <a:pt x="22304" y="1512"/>
                      </a:lnTo>
                      <a:lnTo>
                        <a:pt x="22283" y="1503"/>
                      </a:lnTo>
                      <a:lnTo>
                        <a:pt x="22299" y="1519"/>
                      </a:lnTo>
                      <a:lnTo>
                        <a:pt x="22278" y="1529"/>
                      </a:lnTo>
                      <a:lnTo>
                        <a:pt x="22278" y="1536"/>
                      </a:lnTo>
                      <a:lnTo>
                        <a:pt x="22304" y="1545"/>
                      </a:lnTo>
                      <a:lnTo>
                        <a:pt x="22358" y="1519"/>
                      </a:lnTo>
                      <a:lnTo>
                        <a:pt x="22439" y="1446"/>
                      </a:lnTo>
                      <a:lnTo>
                        <a:pt x="22576" y="1462"/>
                      </a:lnTo>
                      <a:lnTo>
                        <a:pt x="22613" y="1479"/>
                      </a:lnTo>
                      <a:lnTo>
                        <a:pt x="22639" y="1512"/>
                      </a:lnTo>
                      <a:lnTo>
                        <a:pt x="22613" y="1529"/>
                      </a:lnTo>
                      <a:lnTo>
                        <a:pt x="22590" y="1503"/>
                      </a:lnTo>
                      <a:lnTo>
                        <a:pt x="22576" y="1529"/>
                      </a:lnTo>
                      <a:lnTo>
                        <a:pt x="22552" y="1519"/>
                      </a:lnTo>
                      <a:lnTo>
                        <a:pt x="22568" y="1529"/>
                      </a:lnTo>
                      <a:lnTo>
                        <a:pt x="22552" y="1536"/>
                      </a:lnTo>
                      <a:lnTo>
                        <a:pt x="22644" y="1552"/>
                      </a:lnTo>
                      <a:lnTo>
                        <a:pt x="22628" y="1552"/>
                      </a:lnTo>
                      <a:lnTo>
                        <a:pt x="22623" y="1569"/>
                      </a:lnTo>
                      <a:lnTo>
                        <a:pt x="22682" y="1557"/>
                      </a:lnTo>
                      <a:lnTo>
                        <a:pt x="22665" y="1585"/>
                      </a:lnTo>
                      <a:lnTo>
                        <a:pt x="22639" y="1602"/>
                      </a:lnTo>
                      <a:lnTo>
                        <a:pt x="22682" y="1573"/>
                      </a:lnTo>
                      <a:lnTo>
                        <a:pt x="22677" y="1590"/>
                      </a:lnTo>
                      <a:lnTo>
                        <a:pt x="22710" y="1573"/>
                      </a:lnTo>
                      <a:lnTo>
                        <a:pt x="22736" y="1585"/>
                      </a:lnTo>
                      <a:lnTo>
                        <a:pt x="22786" y="1630"/>
                      </a:lnTo>
                      <a:lnTo>
                        <a:pt x="22753" y="1630"/>
                      </a:lnTo>
                      <a:lnTo>
                        <a:pt x="22816" y="1647"/>
                      </a:lnTo>
                      <a:lnTo>
                        <a:pt x="22892" y="1647"/>
                      </a:lnTo>
                      <a:lnTo>
                        <a:pt x="23055" y="1614"/>
                      </a:lnTo>
                      <a:lnTo>
                        <a:pt x="23194" y="1623"/>
                      </a:lnTo>
                      <a:lnTo>
                        <a:pt x="23270" y="1647"/>
                      </a:lnTo>
                      <a:lnTo>
                        <a:pt x="23320" y="1668"/>
                      </a:lnTo>
                      <a:lnTo>
                        <a:pt x="23341" y="1701"/>
                      </a:lnTo>
                      <a:lnTo>
                        <a:pt x="23341" y="1722"/>
                      </a:lnTo>
                      <a:lnTo>
                        <a:pt x="23331" y="1739"/>
                      </a:lnTo>
                      <a:lnTo>
                        <a:pt x="23324" y="1739"/>
                      </a:lnTo>
                      <a:lnTo>
                        <a:pt x="23324" y="1751"/>
                      </a:lnTo>
                      <a:lnTo>
                        <a:pt x="23320" y="1774"/>
                      </a:lnTo>
                      <a:lnTo>
                        <a:pt x="23320" y="1779"/>
                      </a:lnTo>
                      <a:lnTo>
                        <a:pt x="23412" y="1812"/>
                      </a:lnTo>
                      <a:lnTo>
                        <a:pt x="23400" y="1829"/>
                      </a:lnTo>
                      <a:lnTo>
                        <a:pt x="23412" y="1862"/>
                      </a:lnTo>
                      <a:lnTo>
                        <a:pt x="23400" y="1878"/>
                      </a:lnTo>
                      <a:lnTo>
                        <a:pt x="23433" y="1885"/>
                      </a:lnTo>
                      <a:lnTo>
                        <a:pt x="23412" y="1940"/>
                      </a:lnTo>
                      <a:lnTo>
                        <a:pt x="23383" y="1940"/>
                      </a:lnTo>
                      <a:lnTo>
                        <a:pt x="23395" y="1944"/>
                      </a:lnTo>
                      <a:lnTo>
                        <a:pt x="23416" y="1940"/>
                      </a:lnTo>
                      <a:lnTo>
                        <a:pt x="23433" y="1906"/>
                      </a:lnTo>
                      <a:lnTo>
                        <a:pt x="23450" y="1890"/>
                      </a:lnTo>
                      <a:lnTo>
                        <a:pt x="23438" y="1862"/>
                      </a:lnTo>
                      <a:lnTo>
                        <a:pt x="23438" y="1833"/>
                      </a:lnTo>
                      <a:lnTo>
                        <a:pt x="23504" y="1807"/>
                      </a:lnTo>
                      <a:lnTo>
                        <a:pt x="23589" y="1795"/>
                      </a:lnTo>
                      <a:lnTo>
                        <a:pt x="23617" y="1791"/>
                      </a:lnTo>
                      <a:lnTo>
                        <a:pt x="23655" y="1807"/>
                      </a:lnTo>
                      <a:lnTo>
                        <a:pt x="23816" y="1824"/>
                      </a:lnTo>
                      <a:lnTo>
                        <a:pt x="23882" y="1791"/>
                      </a:lnTo>
                      <a:lnTo>
                        <a:pt x="23920" y="1812"/>
                      </a:lnTo>
                      <a:lnTo>
                        <a:pt x="23913" y="1833"/>
                      </a:lnTo>
                      <a:lnTo>
                        <a:pt x="23920" y="1850"/>
                      </a:lnTo>
                      <a:lnTo>
                        <a:pt x="23995" y="1878"/>
                      </a:lnTo>
                      <a:lnTo>
                        <a:pt x="24005" y="1906"/>
                      </a:lnTo>
                      <a:lnTo>
                        <a:pt x="24012" y="1918"/>
                      </a:lnTo>
                      <a:lnTo>
                        <a:pt x="24064" y="1906"/>
                      </a:lnTo>
                      <a:lnTo>
                        <a:pt x="24080" y="1918"/>
                      </a:lnTo>
                      <a:lnTo>
                        <a:pt x="24064" y="1906"/>
                      </a:lnTo>
                      <a:lnTo>
                        <a:pt x="24080" y="1902"/>
                      </a:lnTo>
                      <a:lnTo>
                        <a:pt x="24087" y="1906"/>
                      </a:lnTo>
                      <a:lnTo>
                        <a:pt x="24087" y="1890"/>
                      </a:lnTo>
                      <a:lnTo>
                        <a:pt x="24113" y="1878"/>
                      </a:lnTo>
                      <a:lnTo>
                        <a:pt x="24102" y="1845"/>
                      </a:lnTo>
                      <a:lnTo>
                        <a:pt x="24080" y="1812"/>
                      </a:lnTo>
                      <a:lnTo>
                        <a:pt x="24050" y="1807"/>
                      </a:lnTo>
                      <a:lnTo>
                        <a:pt x="24059" y="1791"/>
                      </a:lnTo>
                      <a:lnTo>
                        <a:pt x="24080" y="1791"/>
                      </a:lnTo>
                      <a:lnTo>
                        <a:pt x="24080" y="1751"/>
                      </a:lnTo>
                      <a:lnTo>
                        <a:pt x="24064" y="1739"/>
                      </a:lnTo>
                      <a:lnTo>
                        <a:pt x="24076" y="1739"/>
                      </a:lnTo>
                      <a:lnTo>
                        <a:pt x="24227" y="1767"/>
                      </a:lnTo>
                      <a:lnTo>
                        <a:pt x="24260" y="1774"/>
                      </a:lnTo>
                      <a:lnTo>
                        <a:pt x="24264" y="1791"/>
                      </a:lnTo>
                      <a:lnTo>
                        <a:pt x="24281" y="1779"/>
                      </a:lnTo>
                      <a:lnTo>
                        <a:pt x="24260" y="1767"/>
                      </a:lnTo>
                      <a:lnTo>
                        <a:pt x="24281" y="1767"/>
                      </a:lnTo>
                      <a:lnTo>
                        <a:pt x="24314" y="1779"/>
                      </a:lnTo>
                      <a:lnTo>
                        <a:pt x="24465" y="1774"/>
                      </a:lnTo>
                      <a:lnTo>
                        <a:pt x="24513" y="1795"/>
                      </a:lnTo>
                      <a:lnTo>
                        <a:pt x="24654" y="1833"/>
                      </a:lnTo>
                      <a:lnTo>
                        <a:pt x="24676" y="1845"/>
                      </a:lnTo>
                      <a:lnTo>
                        <a:pt x="24654" y="1833"/>
                      </a:lnTo>
                      <a:lnTo>
                        <a:pt x="24642" y="1845"/>
                      </a:lnTo>
                      <a:lnTo>
                        <a:pt x="24692" y="1850"/>
                      </a:lnTo>
                      <a:lnTo>
                        <a:pt x="24735" y="1885"/>
                      </a:lnTo>
                      <a:lnTo>
                        <a:pt x="24706" y="1866"/>
                      </a:lnTo>
                      <a:lnTo>
                        <a:pt x="24723" y="1885"/>
                      </a:lnTo>
                      <a:lnTo>
                        <a:pt x="24735" y="1885"/>
                      </a:lnTo>
                      <a:lnTo>
                        <a:pt x="24735" y="1944"/>
                      </a:lnTo>
                      <a:lnTo>
                        <a:pt x="24735" y="2013"/>
                      </a:lnTo>
                      <a:lnTo>
                        <a:pt x="24735" y="2067"/>
                      </a:lnTo>
                      <a:lnTo>
                        <a:pt x="24735" y="2129"/>
                      </a:lnTo>
                      <a:lnTo>
                        <a:pt x="24735" y="2183"/>
                      </a:lnTo>
                      <a:lnTo>
                        <a:pt x="24735" y="2249"/>
                      </a:lnTo>
                      <a:lnTo>
                        <a:pt x="24735" y="2306"/>
                      </a:lnTo>
                      <a:lnTo>
                        <a:pt x="24735" y="2360"/>
                      </a:lnTo>
                      <a:lnTo>
                        <a:pt x="24735" y="2360"/>
                      </a:lnTo>
                      <a:lnTo>
                        <a:pt x="24735" y="2360"/>
                      </a:lnTo>
                      <a:close/>
                      <a:moveTo>
                        <a:pt x="24735" y="1557"/>
                      </a:moveTo>
                      <a:lnTo>
                        <a:pt x="24739" y="1552"/>
                      </a:lnTo>
                      <a:lnTo>
                        <a:pt x="24836" y="1552"/>
                      </a:lnTo>
                      <a:lnTo>
                        <a:pt x="24912" y="1602"/>
                      </a:lnTo>
                      <a:lnTo>
                        <a:pt x="24874" y="1623"/>
                      </a:lnTo>
                      <a:lnTo>
                        <a:pt x="24782" y="1640"/>
                      </a:lnTo>
                      <a:lnTo>
                        <a:pt x="24735" y="1630"/>
                      </a:lnTo>
                      <a:lnTo>
                        <a:pt x="24735" y="1590"/>
                      </a:lnTo>
                      <a:lnTo>
                        <a:pt x="24735" y="1557"/>
                      </a:lnTo>
                      <a:lnTo>
                        <a:pt x="24735" y="1557"/>
                      </a:lnTo>
                      <a:lnTo>
                        <a:pt x="24735" y="1557"/>
                      </a:lnTo>
                      <a:close/>
                      <a:moveTo>
                        <a:pt x="24735" y="1630"/>
                      </a:moveTo>
                      <a:lnTo>
                        <a:pt x="24654" y="1656"/>
                      </a:lnTo>
                      <a:lnTo>
                        <a:pt x="24642" y="1623"/>
                      </a:lnTo>
                      <a:lnTo>
                        <a:pt x="24659" y="1602"/>
                      </a:lnTo>
                      <a:lnTo>
                        <a:pt x="24735" y="1557"/>
                      </a:lnTo>
                      <a:lnTo>
                        <a:pt x="24735" y="1590"/>
                      </a:lnTo>
                      <a:lnTo>
                        <a:pt x="24735" y="1630"/>
                      </a:lnTo>
                      <a:lnTo>
                        <a:pt x="24735" y="1630"/>
                      </a:lnTo>
                      <a:lnTo>
                        <a:pt x="24735" y="1630"/>
                      </a:lnTo>
                      <a:close/>
                      <a:moveTo>
                        <a:pt x="24735" y="1885"/>
                      </a:moveTo>
                      <a:lnTo>
                        <a:pt x="24756" y="1902"/>
                      </a:lnTo>
                      <a:lnTo>
                        <a:pt x="24768" y="1890"/>
                      </a:lnTo>
                      <a:lnTo>
                        <a:pt x="24772" y="1906"/>
                      </a:lnTo>
                      <a:lnTo>
                        <a:pt x="24805" y="1918"/>
                      </a:lnTo>
                      <a:lnTo>
                        <a:pt x="24836" y="1940"/>
                      </a:lnTo>
                      <a:lnTo>
                        <a:pt x="24820" y="1935"/>
                      </a:lnTo>
                      <a:lnTo>
                        <a:pt x="24820" y="1940"/>
                      </a:lnTo>
                      <a:lnTo>
                        <a:pt x="24864" y="1956"/>
                      </a:lnTo>
                      <a:lnTo>
                        <a:pt x="24874" y="1973"/>
                      </a:lnTo>
                      <a:lnTo>
                        <a:pt x="24890" y="1973"/>
                      </a:lnTo>
                      <a:lnTo>
                        <a:pt x="24843" y="1940"/>
                      </a:lnTo>
                      <a:lnTo>
                        <a:pt x="24895" y="1973"/>
                      </a:lnTo>
                      <a:lnTo>
                        <a:pt x="24890" y="1977"/>
                      </a:lnTo>
                      <a:lnTo>
                        <a:pt x="24895" y="1977"/>
                      </a:lnTo>
                      <a:lnTo>
                        <a:pt x="24919" y="1977"/>
                      </a:lnTo>
                      <a:lnTo>
                        <a:pt x="24928" y="1994"/>
                      </a:lnTo>
                      <a:lnTo>
                        <a:pt x="25053" y="2046"/>
                      </a:lnTo>
                      <a:lnTo>
                        <a:pt x="25063" y="2072"/>
                      </a:lnTo>
                      <a:lnTo>
                        <a:pt x="25058" y="2088"/>
                      </a:lnTo>
                      <a:lnTo>
                        <a:pt x="25075" y="2088"/>
                      </a:lnTo>
                      <a:lnTo>
                        <a:pt x="25079" y="2084"/>
                      </a:lnTo>
                      <a:lnTo>
                        <a:pt x="25096" y="2084"/>
                      </a:lnTo>
                      <a:lnTo>
                        <a:pt x="25096" y="2100"/>
                      </a:lnTo>
                      <a:lnTo>
                        <a:pt x="25091" y="2100"/>
                      </a:lnTo>
                      <a:lnTo>
                        <a:pt x="25079" y="2121"/>
                      </a:lnTo>
                      <a:lnTo>
                        <a:pt x="25096" y="2162"/>
                      </a:lnTo>
                      <a:lnTo>
                        <a:pt x="25079" y="2166"/>
                      </a:lnTo>
                      <a:lnTo>
                        <a:pt x="25117" y="2183"/>
                      </a:lnTo>
                      <a:lnTo>
                        <a:pt x="25117" y="2216"/>
                      </a:lnTo>
                      <a:lnTo>
                        <a:pt x="25150" y="2195"/>
                      </a:lnTo>
                      <a:lnTo>
                        <a:pt x="25146" y="2223"/>
                      </a:lnTo>
                      <a:lnTo>
                        <a:pt x="25150" y="2223"/>
                      </a:lnTo>
                      <a:lnTo>
                        <a:pt x="25167" y="2199"/>
                      </a:lnTo>
                      <a:lnTo>
                        <a:pt x="25129" y="2183"/>
                      </a:lnTo>
                      <a:lnTo>
                        <a:pt x="25150" y="2166"/>
                      </a:lnTo>
                      <a:lnTo>
                        <a:pt x="25146" y="2138"/>
                      </a:lnTo>
                      <a:lnTo>
                        <a:pt x="25108" y="2121"/>
                      </a:lnTo>
                      <a:lnTo>
                        <a:pt x="25172" y="2112"/>
                      </a:lnTo>
                      <a:lnTo>
                        <a:pt x="25214" y="2121"/>
                      </a:lnTo>
                      <a:lnTo>
                        <a:pt x="25198" y="2138"/>
                      </a:lnTo>
                      <a:lnTo>
                        <a:pt x="25198" y="2157"/>
                      </a:lnTo>
                      <a:lnTo>
                        <a:pt x="25214" y="2157"/>
                      </a:lnTo>
                      <a:lnTo>
                        <a:pt x="25205" y="2138"/>
                      </a:lnTo>
                      <a:lnTo>
                        <a:pt x="25214" y="2129"/>
                      </a:lnTo>
                      <a:lnTo>
                        <a:pt x="25235" y="2145"/>
                      </a:lnTo>
                      <a:lnTo>
                        <a:pt x="25259" y="2138"/>
                      </a:lnTo>
                      <a:lnTo>
                        <a:pt x="25221" y="2121"/>
                      </a:lnTo>
                      <a:lnTo>
                        <a:pt x="25311" y="2138"/>
                      </a:lnTo>
                      <a:lnTo>
                        <a:pt x="25311" y="2157"/>
                      </a:lnTo>
                      <a:lnTo>
                        <a:pt x="25335" y="2162"/>
                      </a:lnTo>
                      <a:lnTo>
                        <a:pt x="25335" y="2178"/>
                      </a:lnTo>
                      <a:lnTo>
                        <a:pt x="25398" y="2216"/>
                      </a:lnTo>
                      <a:lnTo>
                        <a:pt x="25387" y="2223"/>
                      </a:lnTo>
                      <a:lnTo>
                        <a:pt x="25403" y="2216"/>
                      </a:lnTo>
                      <a:lnTo>
                        <a:pt x="25420" y="2223"/>
                      </a:lnTo>
                      <a:lnTo>
                        <a:pt x="25415" y="2232"/>
                      </a:lnTo>
                      <a:lnTo>
                        <a:pt x="25441" y="2232"/>
                      </a:lnTo>
                      <a:lnTo>
                        <a:pt x="25453" y="2249"/>
                      </a:lnTo>
                      <a:lnTo>
                        <a:pt x="25453" y="2256"/>
                      </a:lnTo>
                      <a:lnTo>
                        <a:pt x="25420" y="2249"/>
                      </a:lnTo>
                      <a:lnTo>
                        <a:pt x="25387" y="2273"/>
                      </a:lnTo>
                      <a:lnTo>
                        <a:pt x="25398" y="2273"/>
                      </a:lnTo>
                      <a:lnTo>
                        <a:pt x="25398" y="2289"/>
                      </a:lnTo>
                      <a:lnTo>
                        <a:pt x="25387" y="2294"/>
                      </a:lnTo>
                      <a:lnTo>
                        <a:pt x="25323" y="2273"/>
                      </a:lnTo>
                      <a:lnTo>
                        <a:pt x="25361" y="2306"/>
                      </a:lnTo>
                      <a:lnTo>
                        <a:pt x="25349" y="2310"/>
                      </a:lnTo>
                      <a:lnTo>
                        <a:pt x="25335" y="2306"/>
                      </a:lnTo>
                      <a:lnTo>
                        <a:pt x="25290" y="2310"/>
                      </a:lnTo>
                      <a:lnTo>
                        <a:pt x="25306" y="2310"/>
                      </a:lnTo>
                      <a:lnTo>
                        <a:pt x="25273" y="2306"/>
                      </a:lnTo>
                      <a:lnTo>
                        <a:pt x="25268" y="2294"/>
                      </a:lnTo>
                      <a:lnTo>
                        <a:pt x="25235" y="2289"/>
                      </a:lnTo>
                      <a:lnTo>
                        <a:pt x="25259" y="2306"/>
                      </a:lnTo>
                      <a:lnTo>
                        <a:pt x="25268" y="2322"/>
                      </a:lnTo>
                      <a:lnTo>
                        <a:pt x="25280" y="2322"/>
                      </a:lnTo>
                      <a:lnTo>
                        <a:pt x="25273" y="2343"/>
                      </a:lnTo>
                      <a:lnTo>
                        <a:pt x="25242" y="2343"/>
                      </a:lnTo>
                      <a:lnTo>
                        <a:pt x="25273" y="2343"/>
                      </a:lnTo>
                      <a:lnTo>
                        <a:pt x="25280" y="2360"/>
                      </a:lnTo>
                      <a:lnTo>
                        <a:pt x="25259" y="2384"/>
                      </a:lnTo>
                      <a:lnTo>
                        <a:pt x="25205" y="2400"/>
                      </a:lnTo>
                      <a:lnTo>
                        <a:pt x="25226" y="2388"/>
                      </a:lnTo>
                      <a:lnTo>
                        <a:pt x="25235" y="2400"/>
                      </a:lnTo>
                      <a:lnTo>
                        <a:pt x="25214" y="2405"/>
                      </a:lnTo>
                      <a:lnTo>
                        <a:pt x="25259" y="2421"/>
                      </a:lnTo>
                      <a:lnTo>
                        <a:pt x="25268" y="2433"/>
                      </a:lnTo>
                      <a:lnTo>
                        <a:pt x="25252" y="2438"/>
                      </a:lnTo>
                      <a:lnTo>
                        <a:pt x="25235" y="2421"/>
                      </a:lnTo>
                      <a:lnTo>
                        <a:pt x="25221" y="2433"/>
                      </a:lnTo>
                      <a:lnTo>
                        <a:pt x="25226" y="2438"/>
                      </a:lnTo>
                      <a:lnTo>
                        <a:pt x="25226" y="2445"/>
                      </a:lnTo>
                      <a:lnTo>
                        <a:pt x="25205" y="2455"/>
                      </a:lnTo>
                      <a:lnTo>
                        <a:pt x="25188" y="2445"/>
                      </a:lnTo>
                      <a:lnTo>
                        <a:pt x="25205" y="2433"/>
                      </a:lnTo>
                      <a:lnTo>
                        <a:pt x="25188" y="2417"/>
                      </a:lnTo>
                      <a:lnTo>
                        <a:pt x="25198" y="2433"/>
                      </a:lnTo>
                      <a:lnTo>
                        <a:pt x="25172" y="2445"/>
                      </a:lnTo>
                      <a:lnTo>
                        <a:pt x="25150" y="2438"/>
                      </a:lnTo>
                      <a:lnTo>
                        <a:pt x="25146" y="2421"/>
                      </a:lnTo>
                      <a:lnTo>
                        <a:pt x="25091" y="2400"/>
                      </a:lnTo>
                      <a:lnTo>
                        <a:pt x="25053" y="2400"/>
                      </a:lnTo>
                      <a:lnTo>
                        <a:pt x="25053" y="2388"/>
                      </a:lnTo>
                      <a:lnTo>
                        <a:pt x="25020" y="2367"/>
                      </a:lnTo>
                      <a:lnTo>
                        <a:pt x="25025" y="2351"/>
                      </a:lnTo>
                      <a:lnTo>
                        <a:pt x="25020" y="2327"/>
                      </a:lnTo>
                      <a:lnTo>
                        <a:pt x="25004" y="2310"/>
                      </a:lnTo>
                      <a:lnTo>
                        <a:pt x="24933" y="2294"/>
                      </a:lnTo>
                      <a:lnTo>
                        <a:pt x="24902" y="2310"/>
                      </a:lnTo>
                      <a:lnTo>
                        <a:pt x="24836" y="2310"/>
                      </a:lnTo>
                      <a:lnTo>
                        <a:pt x="24843" y="2289"/>
                      </a:lnTo>
                      <a:lnTo>
                        <a:pt x="24827" y="2277"/>
                      </a:lnTo>
                      <a:lnTo>
                        <a:pt x="24810" y="2256"/>
                      </a:lnTo>
                      <a:lnTo>
                        <a:pt x="24820" y="2249"/>
                      </a:lnTo>
                      <a:lnTo>
                        <a:pt x="24836" y="2232"/>
                      </a:lnTo>
                      <a:lnTo>
                        <a:pt x="24836" y="2199"/>
                      </a:lnTo>
                      <a:lnTo>
                        <a:pt x="24810" y="2232"/>
                      </a:lnTo>
                      <a:lnTo>
                        <a:pt x="24794" y="2232"/>
                      </a:lnTo>
                      <a:lnTo>
                        <a:pt x="24789" y="2199"/>
                      </a:lnTo>
                      <a:lnTo>
                        <a:pt x="24789" y="2216"/>
                      </a:lnTo>
                      <a:lnTo>
                        <a:pt x="24772" y="2211"/>
                      </a:lnTo>
                      <a:lnTo>
                        <a:pt x="24789" y="2232"/>
                      </a:lnTo>
                      <a:lnTo>
                        <a:pt x="24782" y="2232"/>
                      </a:lnTo>
                      <a:lnTo>
                        <a:pt x="24756" y="2240"/>
                      </a:lnTo>
                      <a:lnTo>
                        <a:pt x="24751" y="2232"/>
                      </a:lnTo>
                      <a:lnTo>
                        <a:pt x="24756" y="2232"/>
                      </a:lnTo>
                      <a:lnTo>
                        <a:pt x="24751" y="2232"/>
                      </a:lnTo>
                      <a:lnTo>
                        <a:pt x="24739" y="2266"/>
                      </a:lnTo>
                      <a:lnTo>
                        <a:pt x="24782" y="2294"/>
                      </a:lnTo>
                      <a:lnTo>
                        <a:pt x="24782" y="2306"/>
                      </a:lnTo>
                      <a:lnTo>
                        <a:pt x="24768" y="2322"/>
                      </a:lnTo>
                      <a:lnTo>
                        <a:pt x="24768" y="2343"/>
                      </a:lnTo>
                      <a:lnTo>
                        <a:pt x="24751" y="2351"/>
                      </a:lnTo>
                      <a:lnTo>
                        <a:pt x="24735" y="2360"/>
                      </a:lnTo>
                      <a:lnTo>
                        <a:pt x="24735" y="2306"/>
                      </a:lnTo>
                      <a:lnTo>
                        <a:pt x="24735" y="2249"/>
                      </a:lnTo>
                      <a:lnTo>
                        <a:pt x="24735" y="2183"/>
                      </a:lnTo>
                      <a:lnTo>
                        <a:pt x="24735" y="2129"/>
                      </a:lnTo>
                      <a:lnTo>
                        <a:pt x="24735" y="2067"/>
                      </a:lnTo>
                      <a:lnTo>
                        <a:pt x="24735" y="2013"/>
                      </a:lnTo>
                      <a:lnTo>
                        <a:pt x="24735" y="1944"/>
                      </a:lnTo>
                      <a:lnTo>
                        <a:pt x="24735" y="1885"/>
                      </a:lnTo>
                      <a:lnTo>
                        <a:pt x="24735" y="1885"/>
                      </a:lnTo>
                      <a:lnTo>
                        <a:pt x="24735" y="1885"/>
                      </a:lnTo>
                      <a:close/>
                      <a:moveTo>
                        <a:pt x="16188" y="22"/>
                      </a:moveTo>
                      <a:lnTo>
                        <a:pt x="16172" y="22"/>
                      </a:lnTo>
                      <a:lnTo>
                        <a:pt x="16188" y="5"/>
                      </a:lnTo>
                      <a:lnTo>
                        <a:pt x="16278" y="0"/>
                      </a:lnTo>
                      <a:lnTo>
                        <a:pt x="16264" y="17"/>
                      </a:lnTo>
                      <a:lnTo>
                        <a:pt x="16188" y="22"/>
                      </a:lnTo>
                      <a:lnTo>
                        <a:pt x="16188" y="22"/>
                      </a:lnTo>
                      <a:lnTo>
                        <a:pt x="16188" y="22"/>
                      </a:lnTo>
                      <a:close/>
                      <a:moveTo>
                        <a:pt x="16474" y="22"/>
                      </a:moveTo>
                      <a:lnTo>
                        <a:pt x="16550" y="22"/>
                      </a:lnTo>
                      <a:lnTo>
                        <a:pt x="16592" y="33"/>
                      </a:lnTo>
                      <a:lnTo>
                        <a:pt x="16566" y="43"/>
                      </a:lnTo>
                      <a:lnTo>
                        <a:pt x="16474" y="33"/>
                      </a:lnTo>
                      <a:lnTo>
                        <a:pt x="16474" y="22"/>
                      </a:lnTo>
                      <a:lnTo>
                        <a:pt x="16474" y="22"/>
                      </a:lnTo>
                      <a:lnTo>
                        <a:pt x="16474" y="22"/>
                      </a:lnTo>
                      <a:close/>
                      <a:moveTo>
                        <a:pt x="16202" y="38"/>
                      </a:moveTo>
                      <a:lnTo>
                        <a:pt x="16235" y="38"/>
                      </a:lnTo>
                      <a:lnTo>
                        <a:pt x="16198" y="43"/>
                      </a:lnTo>
                      <a:lnTo>
                        <a:pt x="16202" y="38"/>
                      </a:lnTo>
                      <a:lnTo>
                        <a:pt x="16202" y="38"/>
                      </a:lnTo>
                      <a:lnTo>
                        <a:pt x="16202" y="38"/>
                      </a:lnTo>
                      <a:close/>
                      <a:moveTo>
                        <a:pt x="16453" y="38"/>
                      </a:moveTo>
                      <a:lnTo>
                        <a:pt x="16474" y="43"/>
                      </a:lnTo>
                      <a:lnTo>
                        <a:pt x="16441" y="38"/>
                      </a:lnTo>
                      <a:lnTo>
                        <a:pt x="16453" y="38"/>
                      </a:lnTo>
                      <a:lnTo>
                        <a:pt x="16453" y="38"/>
                      </a:lnTo>
                      <a:lnTo>
                        <a:pt x="16453" y="38"/>
                      </a:lnTo>
                      <a:close/>
                      <a:moveTo>
                        <a:pt x="16188" y="76"/>
                      </a:moveTo>
                      <a:lnTo>
                        <a:pt x="16096" y="59"/>
                      </a:lnTo>
                      <a:lnTo>
                        <a:pt x="16165" y="43"/>
                      </a:lnTo>
                      <a:lnTo>
                        <a:pt x="16219" y="71"/>
                      </a:lnTo>
                      <a:lnTo>
                        <a:pt x="16188" y="76"/>
                      </a:lnTo>
                      <a:lnTo>
                        <a:pt x="16188" y="76"/>
                      </a:lnTo>
                      <a:lnTo>
                        <a:pt x="16188" y="76"/>
                      </a:lnTo>
                      <a:close/>
                      <a:moveTo>
                        <a:pt x="16209" y="88"/>
                      </a:moveTo>
                      <a:lnTo>
                        <a:pt x="16252" y="71"/>
                      </a:lnTo>
                      <a:lnTo>
                        <a:pt x="16278" y="88"/>
                      </a:lnTo>
                      <a:lnTo>
                        <a:pt x="16209" y="88"/>
                      </a:lnTo>
                      <a:lnTo>
                        <a:pt x="16209" y="88"/>
                      </a:lnTo>
                      <a:lnTo>
                        <a:pt x="16209" y="88"/>
                      </a:lnTo>
                      <a:close/>
                      <a:moveTo>
                        <a:pt x="16009" y="99"/>
                      </a:moveTo>
                      <a:lnTo>
                        <a:pt x="16021" y="92"/>
                      </a:lnTo>
                      <a:lnTo>
                        <a:pt x="16004" y="92"/>
                      </a:lnTo>
                      <a:lnTo>
                        <a:pt x="16089" y="99"/>
                      </a:lnTo>
                      <a:lnTo>
                        <a:pt x="16063" y="76"/>
                      </a:lnTo>
                      <a:lnTo>
                        <a:pt x="16172" y="92"/>
                      </a:lnTo>
                      <a:lnTo>
                        <a:pt x="16075" y="116"/>
                      </a:lnTo>
                      <a:lnTo>
                        <a:pt x="16009" y="99"/>
                      </a:lnTo>
                      <a:lnTo>
                        <a:pt x="16009" y="99"/>
                      </a:lnTo>
                      <a:lnTo>
                        <a:pt x="16009" y="99"/>
                      </a:lnTo>
                      <a:close/>
                      <a:moveTo>
                        <a:pt x="15917" y="92"/>
                      </a:moveTo>
                      <a:lnTo>
                        <a:pt x="15912" y="88"/>
                      </a:lnTo>
                      <a:lnTo>
                        <a:pt x="15933" y="92"/>
                      </a:lnTo>
                      <a:lnTo>
                        <a:pt x="15917" y="92"/>
                      </a:lnTo>
                      <a:lnTo>
                        <a:pt x="15917" y="92"/>
                      </a:lnTo>
                      <a:lnTo>
                        <a:pt x="15917" y="92"/>
                      </a:lnTo>
                      <a:close/>
                      <a:moveTo>
                        <a:pt x="16311" y="92"/>
                      </a:moveTo>
                      <a:lnTo>
                        <a:pt x="16365" y="92"/>
                      </a:lnTo>
                      <a:lnTo>
                        <a:pt x="16306" y="92"/>
                      </a:lnTo>
                      <a:lnTo>
                        <a:pt x="16311" y="92"/>
                      </a:lnTo>
                      <a:lnTo>
                        <a:pt x="16311" y="92"/>
                      </a:lnTo>
                      <a:lnTo>
                        <a:pt x="16311" y="92"/>
                      </a:lnTo>
                      <a:close/>
                      <a:moveTo>
                        <a:pt x="18654" y="265"/>
                      </a:moveTo>
                      <a:lnTo>
                        <a:pt x="18524" y="260"/>
                      </a:lnTo>
                      <a:lnTo>
                        <a:pt x="18546" y="244"/>
                      </a:lnTo>
                      <a:lnTo>
                        <a:pt x="18612" y="244"/>
                      </a:lnTo>
                      <a:lnTo>
                        <a:pt x="18557" y="236"/>
                      </a:lnTo>
                      <a:lnTo>
                        <a:pt x="18617" y="220"/>
                      </a:lnTo>
                      <a:lnTo>
                        <a:pt x="18628" y="203"/>
                      </a:lnTo>
                      <a:lnTo>
                        <a:pt x="18654" y="170"/>
                      </a:lnTo>
                      <a:lnTo>
                        <a:pt x="18600" y="182"/>
                      </a:lnTo>
                      <a:lnTo>
                        <a:pt x="18617" y="166"/>
                      </a:lnTo>
                      <a:lnTo>
                        <a:pt x="18650" y="154"/>
                      </a:lnTo>
                      <a:lnTo>
                        <a:pt x="18645" y="144"/>
                      </a:lnTo>
                      <a:lnTo>
                        <a:pt x="18817" y="99"/>
                      </a:lnTo>
                      <a:lnTo>
                        <a:pt x="18780" y="99"/>
                      </a:lnTo>
                      <a:lnTo>
                        <a:pt x="18789" y="92"/>
                      </a:lnTo>
                      <a:lnTo>
                        <a:pt x="18834" y="92"/>
                      </a:lnTo>
                      <a:lnTo>
                        <a:pt x="18898" y="149"/>
                      </a:lnTo>
                      <a:lnTo>
                        <a:pt x="18990" y="187"/>
                      </a:lnTo>
                      <a:lnTo>
                        <a:pt x="18924" y="199"/>
                      </a:lnTo>
                      <a:lnTo>
                        <a:pt x="18919" y="220"/>
                      </a:lnTo>
                      <a:lnTo>
                        <a:pt x="18924" y="227"/>
                      </a:lnTo>
                      <a:lnTo>
                        <a:pt x="18935" y="255"/>
                      </a:lnTo>
                      <a:lnTo>
                        <a:pt x="18952" y="260"/>
                      </a:lnTo>
                      <a:lnTo>
                        <a:pt x="18924" y="265"/>
                      </a:lnTo>
                      <a:lnTo>
                        <a:pt x="18763" y="281"/>
                      </a:lnTo>
                      <a:lnTo>
                        <a:pt x="18687" y="310"/>
                      </a:lnTo>
                      <a:lnTo>
                        <a:pt x="18574" y="281"/>
                      </a:lnTo>
                      <a:lnTo>
                        <a:pt x="18628" y="281"/>
                      </a:lnTo>
                      <a:lnTo>
                        <a:pt x="18579" y="260"/>
                      </a:lnTo>
                      <a:lnTo>
                        <a:pt x="18654" y="265"/>
                      </a:lnTo>
                      <a:lnTo>
                        <a:pt x="18654" y="265"/>
                      </a:lnTo>
                      <a:lnTo>
                        <a:pt x="18654" y="265"/>
                      </a:lnTo>
                      <a:close/>
                      <a:moveTo>
                        <a:pt x="16117" y="109"/>
                      </a:moveTo>
                      <a:lnTo>
                        <a:pt x="16188" y="109"/>
                      </a:lnTo>
                      <a:lnTo>
                        <a:pt x="16150" y="128"/>
                      </a:lnTo>
                      <a:lnTo>
                        <a:pt x="16113" y="116"/>
                      </a:lnTo>
                      <a:lnTo>
                        <a:pt x="16117" y="109"/>
                      </a:lnTo>
                      <a:lnTo>
                        <a:pt x="16117" y="109"/>
                      </a:lnTo>
                      <a:lnTo>
                        <a:pt x="16117" y="109"/>
                      </a:lnTo>
                      <a:close/>
                      <a:moveTo>
                        <a:pt x="18503" y="133"/>
                      </a:moveTo>
                      <a:lnTo>
                        <a:pt x="18428" y="128"/>
                      </a:lnTo>
                      <a:lnTo>
                        <a:pt x="18418" y="109"/>
                      </a:lnTo>
                      <a:lnTo>
                        <a:pt x="18503" y="99"/>
                      </a:lnTo>
                      <a:lnTo>
                        <a:pt x="18541" y="116"/>
                      </a:lnTo>
                      <a:lnTo>
                        <a:pt x="18503" y="133"/>
                      </a:lnTo>
                      <a:lnTo>
                        <a:pt x="18503" y="133"/>
                      </a:lnTo>
                      <a:lnTo>
                        <a:pt x="18503" y="133"/>
                      </a:lnTo>
                      <a:close/>
                      <a:moveTo>
                        <a:pt x="16505" y="166"/>
                      </a:moveTo>
                      <a:lnTo>
                        <a:pt x="16543" y="149"/>
                      </a:lnTo>
                      <a:lnTo>
                        <a:pt x="16613" y="144"/>
                      </a:lnTo>
                      <a:lnTo>
                        <a:pt x="16618" y="116"/>
                      </a:lnTo>
                      <a:lnTo>
                        <a:pt x="16646" y="109"/>
                      </a:lnTo>
                      <a:lnTo>
                        <a:pt x="16689" y="116"/>
                      </a:lnTo>
                      <a:lnTo>
                        <a:pt x="16706" y="144"/>
                      </a:lnTo>
                      <a:lnTo>
                        <a:pt x="16706" y="154"/>
                      </a:lnTo>
                      <a:lnTo>
                        <a:pt x="16646" y="182"/>
                      </a:lnTo>
                      <a:lnTo>
                        <a:pt x="16550" y="199"/>
                      </a:lnTo>
                      <a:lnTo>
                        <a:pt x="16495" y="170"/>
                      </a:lnTo>
                      <a:lnTo>
                        <a:pt x="16505" y="166"/>
                      </a:lnTo>
                      <a:lnTo>
                        <a:pt x="16505" y="166"/>
                      </a:lnTo>
                      <a:lnTo>
                        <a:pt x="16505" y="166"/>
                      </a:lnTo>
                      <a:close/>
                      <a:moveTo>
                        <a:pt x="15647" y="133"/>
                      </a:moveTo>
                      <a:lnTo>
                        <a:pt x="15659" y="133"/>
                      </a:lnTo>
                      <a:lnTo>
                        <a:pt x="15647" y="128"/>
                      </a:lnTo>
                      <a:lnTo>
                        <a:pt x="15659" y="116"/>
                      </a:lnTo>
                      <a:lnTo>
                        <a:pt x="15685" y="128"/>
                      </a:lnTo>
                      <a:lnTo>
                        <a:pt x="15647" y="133"/>
                      </a:lnTo>
                      <a:lnTo>
                        <a:pt x="15647" y="133"/>
                      </a:lnTo>
                      <a:lnTo>
                        <a:pt x="15647" y="133"/>
                      </a:lnTo>
                      <a:close/>
                      <a:moveTo>
                        <a:pt x="16198" y="116"/>
                      </a:moveTo>
                      <a:lnTo>
                        <a:pt x="16226" y="116"/>
                      </a:lnTo>
                      <a:lnTo>
                        <a:pt x="16198" y="116"/>
                      </a:lnTo>
                      <a:lnTo>
                        <a:pt x="16198" y="116"/>
                      </a:lnTo>
                      <a:lnTo>
                        <a:pt x="16198" y="116"/>
                      </a:lnTo>
                      <a:close/>
                      <a:moveTo>
                        <a:pt x="16328" y="144"/>
                      </a:moveTo>
                      <a:lnTo>
                        <a:pt x="16370" y="128"/>
                      </a:lnTo>
                      <a:lnTo>
                        <a:pt x="16441" y="128"/>
                      </a:lnTo>
                      <a:lnTo>
                        <a:pt x="16398" y="154"/>
                      </a:lnTo>
                      <a:lnTo>
                        <a:pt x="16328" y="144"/>
                      </a:lnTo>
                      <a:lnTo>
                        <a:pt x="16328" y="144"/>
                      </a:lnTo>
                      <a:lnTo>
                        <a:pt x="16328" y="144"/>
                      </a:lnTo>
                      <a:close/>
                      <a:moveTo>
                        <a:pt x="15933" y="144"/>
                      </a:moveTo>
                      <a:lnTo>
                        <a:pt x="15950" y="128"/>
                      </a:lnTo>
                      <a:lnTo>
                        <a:pt x="16009" y="144"/>
                      </a:lnTo>
                      <a:lnTo>
                        <a:pt x="16047" y="133"/>
                      </a:lnTo>
                      <a:lnTo>
                        <a:pt x="16165" y="182"/>
                      </a:lnTo>
                      <a:lnTo>
                        <a:pt x="16113" y="199"/>
                      </a:lnTo>
                      <a:lnTo>
                        <a:pt x="16089" y="170"/>
                      </a:lnTo>
                      <a:lnTo>
                        <a:pt x="15933" y="144"/>
                      </a:lnTo>
                      <a:lnTo>
                        <a:pt x="15933" y="144"/>
                      </a:lnTo>
                      <a:lnTo>
                        <a:pt x="15933" y="144"/>
                      </a:lnTo>
                      <a:close/>
                      <a:moveTo>
                        <a:pt x="16047" y="128"/>
                      </a:moveTo>
                      <a:lnTo>
                        <a:pt x="16150" y="133"/>
                      </a:lnTo>
                      <a:lnTo>
                        <a:pt x="16202" y="154"/>
                      </a:lnTo>
                      <a:lnTo>
                        <a:pt x="16155" y="166"/>
                      </a:lnTo>
                      <a:lnTo>
                        <a:pt x="16047" y="128"/>
                      </a:lnTo>
                      <a:lnTo>
                        <a:pt x="16047" y="128"/>
                      </a:lnTo>
                      <a:lnTo>
                        <a:pt x="16047" y="128"/>
                      </a:lnTo>
                      <a:close/>
                      <a:moveTo>
                        <a:pt x="16172" y="133"/>
                      </a:moveTo>
                      <a:lnTo>
                        <a:pt x="16188" y="128"/>
                      </a:lnTo>
                      <a:lnTo>
                        <a:pt x="16235" y="144"/>
                      </a:lnTo>
                      <a:lnTo>
                        <a:pt x="16209" y="149"/>
                      </a:lnTo>
                      <a:lnTo>
                        <a:pt x="16172" y="133"/>
                      </a:lnTo>
                      <a:lnTo>
                        <a:pt x="16172" y="133"/>
                      </a:lnTo>
                      <a:lnTo>
                        <a:pt x="16172" y="133"/>
                      </a:lnTo>
                      <a:close/>
                      <a:moveTo>
                        <a:pt x="17672" y="149"/>
                      </a:moveTo>
                      <a:lnTo>
                        <a:pt x="17752" y="154"/>
                      </a:lnTo>
                      <a:lnTo>
                        <a:pt x="17714" y="170"/>
                      </a:lnTo>
                      <a:lnTo>
                        <a:pt x="17655" y="170"/>
                      </a:lnTo>
                      <a:lnTo>
                        <a:pt x="17672" y="149"/>
                      </a:lnTo>
                      <a:lnTo>
                        <a:pt x="17672" y="149"/>
                      </a:lnTo>
                      <a:lnTo>
                        <a:pt x="17672" y="149"/>
                      </a:lnTo>
                      <a:close/>
                      <a:moveTo>
                        <a:pt x="15534" y="260"/>
                      </a:moveTo>
                      <a:lnTo>
                        <a:pt x="15555" y="277"/>
                      </a:lnTo>
                      <a:lnTo>
                        <a:pt x="15517" y="277"/>
                      </a:lnTo>
                      <a:lnTo>
                        <a:pt x="15517" y="281"/>
                      </a:lnTo>
                      <a:lnTo>
                        <a:pt x="15508" y="293"/>
                      </a:lnTo>
                      <a:lnTo>
                        <a:pt x="15454" y="298"/>
                      </a:lnTo>
                      <a:lnTo>
                        <a:pt x="15454" y="293"/>
                      </a:lnTo>
                      <a:lnTo>
                        <a:pt x="15463" y="281"/>
                      </a:lnTo>
                      <a:lnTo>
                        <a:pt x="15484" y="277"/>
                      </a:lnTo>
                      <a:lnTo>
                        <a:pt x="15447" y="265"/>
                      </a:lnTo>
                      <a:lnTo>
                        <a:pt x="15416" y="281"/>
                      </a:lnTo>
                      <a:lnTo>
                        <a:pt x="15387" y="260"/>
                      </a:lnTo>
                      <a:lnTo>
                        <a:pt x="15416" y="244"/>
                      </a:lnTo>
                      <a:lnTo>
                        <a:pt x="15496" y="255"/>
                      </a:lnTo>
                      <a:lnTo>
                        <a:pt x="15454" y="244"/>
                      </a:lnTo>
                      <a:lnTo>
                        <a:pt x="15501" y="236"/>
                      </a:lnTo>
                      <a:lnTo>
                        <a:pt x="15484" y="227"/>
                      </a:lnTo>
                      <a:lnTo>
                        <a:pt x="15442" y="236"/>
                      </a:lnTo>
                      <a:lnTo>
                        <a:pt x="15508" y="210"/>
                      </a:lnTo>
                      <a:lnTo>
                        <a:pt x="15560" y="220"/>
                      </a:lnTo>
                      <a:lnTo>
                        <a:pt x="15576" y="210"/>
                      </a:lnTo>
                      <a:lnTo>
                        <a:pt x="15572" y="203"/>
                      </a:lnTo>
                      <a:lnTo>
                        <a:pt x="15593" y="203"/>
                      </a:lnTo>
                      <a:lnTo>
                        <a:pt x="15605" y="187"/>
                      </a:lnTo>
                      <a:lnTo>
                        <a:pt x="15550" y="187"/>
                      </a:lnTo>
                      <a:lnTo>
                        <a:pt x="15631" y="154"/>
                      </a:lnTo>
                      <a:lnTo>
                        <a:pt x="15659" y="154"/>
                      </a:lnTo>
                      <a:lnTo>
                        <a:pt x="15626" y="166"/>
                      </a:lnTo>
                      <a:lnTo>
                        <a:pt x="15680" y="154"/>
                      </a:lnTo>
                      <a:lnTo>
                        <a:pt x="15697" y="166"/>
                      </a:lnTo>
                      <a:lnTo>
                        <a:pt x="15643" y="187"/>
                      </a:lnTo>
                      <a:lnTo>
                        <a:pt x="15711" y="182"/>
                      </a:lnTo>
                      <a:lnTo>
                        <a:pt x="15739" y="187"/>
                      </a:lnTo>
                      <a:lnTo>
                        <a:pt x="15685" y="220"/>
                      </a:lnTo>
                      <a:lnTo>
                        <a:pt x="15605" y="227"/>
                      </a:lnTo>
                      <a:lnTo>
                        <a:pt x="15609" y="244"/>
                      </a:lnTo>
                      <a:lnTo>
                        <a:pt x="15539" y="244"/>
                      </a:lnTo>
                      <a:lnTo>
                        <a:pt x="15522" y="260"/>
                      </a:lnTo>
                      <a:lnTo>
                        <a:pt x="15534" y="260"/>
                      </a:lnTo>
                      <a:lnTo>
                        <a:pt x="15534" y="260"/>
                      </a:lnTo>
                      <a:lnTo>
                        <a:pt x="15534" y="260"/>
                      </a:lnTo>
                      <a:close/>
                      <a:moveTo>
                        <a:pt x="16181" y="170"/>
                      </a:moveTo>
                      <a:lnTo>
                        <a:pt x="16235" y="154"/>
                      </a:lnTo>
                      <a:lnTo>
                        <a:pt x="16257" y="170"/>
                      </a:lnTo>
                      <a:lnTo>
                        <a:pt x="16219" y="187"/>
                      </a:lnTo>
                      <a:lnTo>
                        <a:pt x="16172" y="170"/>
                      </a:lnTo>
                      <a:lnTo>
                        <a:pt x="16181" y="170"/>
                      </a:lnTo>
                      <a:lnTo>
                        <a:pt x="16181" y="170"/>
                      </a:lnTo>
                      <a:lnTo>
                        <a:pt x="16181" y="170"/>
                      </a:lnTo>
                      <a:close/>
                      <a:moveTo>
                        <a:pt x="15900" y="170"/>
                      </a:moveTo>
                      <a:lnTo>
                        <a:pt x="15983" y="154"/>
                      </a:lnTo>
                      <a:lnTo>
                        <a:pt x="16042" y="170"/>
                      </a:lnTo>
                      <a:lnTo>
                        <a:pt x="15966" y="187"/>
                      </a:lnTo>
                      <a:lnTo>
                        <a:pt x="15900" y="170"/>
                      </a:lnTo>
                      <a:lnTo>
                        <a:pt x="15900" y="170"/>
                      </a:lnTo>
                      <a:lnTo>
                        <a:pt x="15900" y="170"/>
                      </a:lnTo>
                      <a:close/>
                      <a:moveTo>
                        <a:pt x="16273" y="220"/>
                      </a:moveTo>
                      <a:lnTo>
                        <a:pt x="16278" y="210"/>
                      </a:lnTo>
                      <a:lnTo>
                        <a:pt x="16264" y="203"/>
                      </a:lnTo>
                      <a:lnTo>
                        <a:pt x="16273" y="199"/>
                      </a:lnTo>
                      <a:lnTo>
                        <a:pt x="16306" y="170"/>
                      </a:lnTo>
                      <a:lnTo>
                        <a:pt x="16453" y="166"/>
                      </a:lnTo>
                      <a:lnTo>
                        <a:pt x="16479" y="182"/>
                      </a:lnTo>
                      <a:lnTo>
                        <a:pt x="16467" y="199"/>
                      </a:lnTo>
                      <a:lnTo>
                        <a:pt x="16474" y="203"/>
                      </a:lnTo>
                      <a:lnTo>
                        <a:pt x="16441" y="210"/>
                      </a:lnTo>
                      <a:lnTo>
                        <a:pt x="16398" y="244"/>
                      </a:lnTo>
                      <a:lnTo>
                        <a:pt x="16344" y="227"/>
                      </a:lnTo>
                      <a:lnTo>
                        <a:pt x="16295" y="236"/>
                      </a:lnTo>
                      <a:lnTo>
                        <a:pt x="16273" y="220"/>
                      </a:lnTo>
                      <a:lnTo>
                        <a:pt x="16273" y="220"/>
                      </a:lnTo>
                      <a:lnTo>
                        <a:pt x="16273" y="220"/>
                      </a:lnTo>
                      <a:close/>
                      <a:moveTo>
                        <a:pt x="15345" y="236"/>
                      </a:moveTo>
                      <a:lnTo>
                        <a:pt x="15340" y="210"/>
                      </a:lnTo>
                      <a:lnTo>
                        <a:pt x="15307" y="220"/>
                      </a:lnTo>
                      <a:lnTo>
                        <a:pt x="15265" y="203"/>
                      </a:lnTo>
                      <a:lnTo>
                        <a:pt x="15409" y="182"/>
                      </a:lnTo>
                      <a:lnTo>
                        <a:pt x="15447" y="166"/>
                      </a:lnTo>
                      <a:lnTo>
                        <a:pt x="15517" y="182"/>
                      </a:lnTo>
                      <a:lnTo>
                        <a:pt x="15522" y="182"/>
                      </a:lnTo>
                      <a:lnTo>
                        <a:pt x="15508" y="187"/>
                      </a:lnTo>
                      <a:lnTo>
                        <a:pt x="15534" y="203"/>
                      </a:lnTo>
                      <a:lnTo>
                        <a:pt x="15484" y="199"/>
                      </a:lnTo>
                      <a:lnTo>
                        <a:pt x="15463" y="182"/>
                      </a:lnTo>
                      <a:lnTo>
                        <a:pt x="15432" y="199"/>
                      </a:lnTo>
                      <a:lnTo>
                        <a:pt x="15442" y="210"/>
                      </a:lnTo>
                      <a:lnTo>
                        <a:pt x="15425" y="203"/>
                      </a:lnTo>
                      <a:lnTo>
                        <a:pt x="15345" y="236"/>
                      </a:lnTo>
                      <a:lnTo>
                        <a:pt x="15345" y="236"/>
                      </a:lnTo>
                      <a:lnTo>
                        <a:pt x="15345" y="236"/>
                      </a:lnTo>
                      <a:close/>
                      <a:moveTo>
                        <a:pt x="16009" y="187"/>
                      </a:moveTo>
                      <a:lnTo>
                        <a:pt x="16080" y="182"/>
                      </a:lnTo>
                      <a:lnTo>
                        <a:pt x="16113" y="199"/>
                      </a:lnTo>
                      <a:lnTo>
                        <a:pt x="16037" y="203"/>
                      </a:lnTo>
                      <a:lnTo>
                        <a:pt x="16004" y="187"/>
                      </a:lnTo>
                      <a:lnTo>
                        <a:pt x="16009" y="187"/>
                      </a:lnTo>
                      <a:lnTo>
                        <a:pt x="16009" y="187"/>
                      </a:lnTo>
                      <a:lnTo>
                        <a:pt x="16009" y="187"/>
                      </a:lnTo>
                      <a:close/>
                      <a:moveTo>
                        <a:pt x="15848" y="220"/>
                      </a:moveTo>
                      <a:lnTo>
                        <a:pt x="15858" y="210"/>
                      </a:lnTo>
                      <a:lnTo>
                        <a:pt x="15841" y="203"/>
                      </a:lnTo>
                      <a:lnTo>
                        <a:pt x="15858" y="203"/>
                      </a:lnTo>
                      <a:lnTo>
                        <a:pt x="15874" y="220"/>
                      </a:lnTo>
                      <a:lnTo>
                        <a:pt x="15848" y="220"/>
                      </a:lnTo>
                      <a:lnTo>
                        <a:pt x="15848" y="220"/>
                      </a:lnTo>
                      <a:lnTo>
                        <a:pt x="15848" y="220"/>
                      </a:lnTo>
                      <a:close/>
                      <a:moveTo>
                        <a:pt x="16134" y="203"/>
                      </a:moveTo>
                      <a:lnTo>
                        <a:pt x="16188" y="203"/>
                      </a:lnTo>
                      <a:lnTo>
                        <a:pt x="16165" y="220"/>
                      </a:lnTo>
                      <a:lnTo>
                        <a:pt x="16127" y="210"/>
                      </a:lnTo>
                      <a:lnTo>
                        <a:pt x="16134" y="203"/>
                      </a:lnTo>
                      <a:lnTo>
                        <a:pt x="16134" y="203"/>
                      </a:lnTo>
                      <a:lnTo>
                        <a:pt x="16134" y="203"/>
                      </a:lnTo>
                      <a:close/>
                      <a:moveTo>
                        <a:pt x="15886" y="227"/>
                      </a:moveTo>
                      <a:lnTo>
                        <a:pt x="15900" y="220"/>
                      </a:lnTo>
                      <a:lnTo>
                        <a:pt x="15895" y="210"/>
                      </a:lnTo>
                      <a:lnTo>
                        <a:pt x="15900" y="203"/>
                      </a:lnTo>
                      <a:lnTo>
                        <a:pt x="15928" y="210"/>
                      </a:lnTo>
                      <a:lnTo>
                        <a:pt x="15912" y="220"/>
                      </a:lnTo>
                      <a:lnTo>
                        <a:pt x="15933" y="227"/>
                      </a:lnTo>
                      <a:lnTo>
                        <a:pt x="15917" y="236"/>
                      </a:lnTo>
                      <a:lnTo>
                        <a:pt x="15886" y="227"/>
                      </a:lnTo>
                      <a:lnTo>
                        <a:pt x="15886" y="227"/>
                      </a:lnTo>
                      <a:lnTo>
                        <a:pt x="15886" y="227"/>
                      </a:lnTo>
                      <a:close/>
                      <a:moveTo>
                        <a:pt x="15950" y="220"/>
                      </a:moveTo>
                      <a:lnTo>
                        <a:pt x="15971" y="210"/>
                      </a:lnTo>
                      <a:lnTo>
                        <a:pt x="15983" y="227"/>
                      </a:lnTo>
                      <a:lnTo>
                        <a:pt x="15950" y="220"/>
                      </a:lnTo>
                      <a:lnTo>
                        <a:pt x="15950" y="220"/>
                      </a:lnTo>
                      <a:lnTo>
                        <a:pt x="15950" y="220"/>
                      </a:lnTo>
                      <a:close/>
                      <a:moveTo>
                        <a:pt x="16155" y="293"/>
                      </a:moveTo>
                      <a:lnTo>
                        <a:pt x="16134" y="281"/>
                      </a:lnTo>
                      <a:lnTo>
                        <a:pt x="16134" y="244"/>
                      </a:lnTo>
                      <a:lnTo>
                        <a:pt x="16113" y="227"/>
                      </a:lnTo>
                      <a:lnTo>
                        <a:pt x="16209" y="227"/>
                      </a:lnTo>
                      <a:lnTo>
                        <a:pt x="16273" y="255"/>
                      </a:lnTo>
                      <a:lnTo>
                        <a:pt x="16209" y="260"/>
                      </a:lnTo>
                      <a:lnTo>
                        <a:pt x="16188" y="265"/>
                      </a:lnTo>
                      <a:lnTo>
                        <a:pt x="16219" y="265"/>
                      </a:lnTo>
                      <a:lnTo>
                        <a:pt x="16209" y="281"/>
                      </a:lnTo>
                      <a:lnTo>
                        <a:pt x="16181" y="277"/>
                      </a:lnTo>
                      <a:lnTo>
                        <a:pt x="16172" y="281"/>
                      </a:lnTo>
                      <a:lnTo>
                        <a:pt x="16181" y="293"/>
                      </a:lnTo>
                      <a:lnTo>
                        <a:pt x="16155" y="293"/>
                      </a:lnTo>
                      <a:lnTo>
                        <a:pt x="16155" y="293"/>
                      </a:lnTo>
                      <a:lnTo>
                        <a:pt x="16155" y="293"/>
                      </a:lnTo>
                      <a:close/>
                      <a:moveTo>
                        <a:pt x="15933" y="236"/>
                      </a:moveTo>
                      <a:lnTo>
                        <a:pt x="15950" y="227"/>
                      </a:lnTo>
                      <a:lnTo>
                        <a:pt x="15966" y="236"/>
                      </a:lnTo>
                      <a:lnTo>
                        <a:pt x="15928" y="244"/>
                      </a:lnTo>
                      <a:lnTo>
                        <a:pt x="15933" y="236"/>
                      </a:lnTo>
                      <a:lnTo>
                        <a:pt x="15933" y="236"/>
                      </a:lnTo>
                      <a:lnTo>
                        <a:pt x="15933" y="236"/>
                      </a:lnTo>
                      <a:close/>
                      <a:moveTo>
                        <a:pt x="15983" y="236"/>
                      </a:moveTo>
                      <a:lnTo>
                        <a:pt x="15992" y="236"/>
                      </a:lnTo>
                      <a:lnTo>
                        <a:pt x="15971" y="236"/>
                      </a:lnTo>
                      <a:lnTo>
                        <a:pt x="15983" y="236"/>
                      </a:lnTo>
                      <a:lnTo>
                        <a:pt x="15983" y="236"/>
                      </a:lnTo>
                      <a:lnTo>
                        <a:pt x="15983" y="236"/>
                      </a:lnTo>
                      <a:close/>
                      <a:moveTo>
                        <a:pt x="15787" y="277"/>
                      </a:moveTo>
                      <a:lnTo>
                        <a:pt x="15772" y="265"/>
                      </a:lnTo>
                      <a:lnTo>
                        <a:pt x="15824" y="244"/>
                      </a:lnTo>
                      <a:lnTo>
                        <a:pt x="15858" y="244"/>
                      </a:lnTo>
                      <a:lnTo>
                        <a:pt x="15895" y="265"/>
                      </a:lnTo>
                      <a:lnTo>
                        <a:pt x="15862" y="281"/>
                      </a:lnTo>
                      <a:lnTo>
                        <a:pt x="15787" y="277"/>
                      </a:lnTo>
                      <a:lnTo>
                        <a:pt x="15787" y="277"/>
                      </a:lnTo>
                      <a:lnTo>
                        <a:pt x="15787" y="277"/>
                      </a:lnTo>
                      <a:close/>
                      <a:moveTo>
                        <a:pt x="16025" y="293"/>
                      </a:moveTo>
                      <a:lnTo>
                        <a:pt x="16042" y="277"/>
                      </a:lnTo>
                      <a:lnTo>
                        <a:pt x="16042" y="265"/>
                      </a:lnTo>
                      <a:lnTo>
                        <a:pt x="16042" y="255"/>
                      </a:lnTo>
                      <a:lnTo>
                        <a:pt x="16117" y="260"/>
                      </a:lnTo>
                      <a:lnTo>
                        <a:pt x="16117" y="293"/>
                      </a:lnTo>
                      <a:lnTo>
                        <a:pt x="16113" y="298"/>
                      </a:lnTo>
                      <a:lnTo>
                        <a:pt x="16021" y="293"/>
                      </a:lnTo>
                      <a:lnTo>
                        <a:pt x="16025" y="293"/>
                      </a:lnTo>
                      <a:lnTo>
                        <a:pt x="16025" y="293"/>
                      </a:lnTo>
                      <a:lnTo>
                        <a:pt x="16025" y="293"/>
                      </a:lnTo>
                      <a:close/>
                      <a:moveTo>
                        <a:pt x="15966" y="265"/>
                      </a:moveTo>
                      <a:lnTo>
                        <a:pt x="15992" y="255"/>
                      </a:lnTo>
                      <a:lnTo>
                        <a:pt x="16009" y="260"/>
                      </a:lnTo>
                      <a:lnTo>
                        <a:pt x="15983" y="277"/>
                      </a:lnTo>
                      <a:lnTo>
                        <a:pt x="15966" y="265"/>
                      </a:lnTo>
                      <a:lnTo>
                        <a:pt x="15966" y="265"/>
                      </a:lnTo>
                      <a:lnTo>
                        <a:pt x="15966" y="265"/>
                      </a:lnTo>
                      <a:close/>
                      <a:moveTo>
                        <a:pt x="15917" y="277"/>
                      </a:moveTo>
                      <a:lnTo>
                        <a:pt x="15912" y="260"/>
                      </a:lnTo>
                      <a:lnTo>
                        <a:pt x="15917" y="255"/>
                      </a:lnTo>
                      <a:lnTo>
                        <a:pt x="15933" y="260"/>
                      </a:lnTo>
                      <a:lnTo>
                        <a:pt x="15917" y="277"/>
                      </a:lnTo>
                      <a:lnTo>
                        <a:pt x="15917" y="277"/>
                      </a:lnTo>
                      <a:lnTo>
                        <a:pt x="15917" y="277"/>
                      </a:lnTo>
                      <a:close/>
                      <a:moveTo>
                        <a:pt x="15609" y="298"/>
                      </a:moveTo>
                      <a:lnTo>
                        <a:pt x="15588" y="281"/>
                      </a:lnTo>
                      <a:lnTo>
                        <a:pt x="15614" y="265"/>
                      </a:lnTo>
                      <a:lnTo>
                        <a:pt x="15647" y="281"/>
                      </a:lnTo>
                      <a:lnTo>
                        <a:pt x="15609" y="298"/>
                      </a:lnTo>
                      <a:lnTo>
                        <a:pt x="15609" y="298"/>
                      </a:lnTo>
                      <a:lnTo>
                        <a:pt x="15609" y="298"/>
                      </a:lnTo>
                      <a:close/>
                      <a:moveTo>
                        <a:pt x="19098" y="425"/>
                      </a:moveTo>
                      <a:lnTo>
                        <a:pt x="19061" y="425"/>
                      </a:lnTo>
                      <a:lnTo>
                        <a:pt x="19120" y="459"/>
                      </a:lnTo>
                      <a:lnTo>
                        <a:pt x="19129" y="482"/>
                      </a:lnTo>
                      <a:lnTo>
                        <a:pt x="19087" y="499"/>
                      </a:lnTo>
                      <a:lnTo>
                        <a:pt x="19011" y="503"/>
                      </a:lnTo>
                      <a:lnTo>
                        <a:pt x="18935" y="499"/>
                      </a:lnTo>
                      <a:lnTo>
                        <a:pt x="18898" y="475"/>
                      </a:lnTo>
                      <a:lnTo>
                        <a:pt x="18827" y="475"/>
                      </a:lnTo>
                      <a:lnTo>
                        <a:pt x="18817" y="449"/>
                      </a:lnTo>
                      <a:lnTo>
                        <a:pt x="18780" y="466"/>
                      </a:lnTo>
                      <a:lnTo>
                        <a:pt x="18735" y="433"/>
                      </a:lnTo>
                      <a:lnTo>
                        <a:pt x="18735" y="392"/>
                      </a:lnTo>
                      <a:lnTo>
                        <a:pt x="18687" y="392"/>
                      </a:lnTo>
                      <a:lnTo>
                        <a:pt x="18704" y="392"/>
                      </a:lnTo>
                      <a:lnTo>
                        <a:pt x="18687" y="388"/>
                      </a:lnTo>
                      <a:lnTo>
                        <a:pt x="18697" y="371"/>
                      </a:lnTo>
                      <a:lnTo>
                        <a:pt x="18650" y="404"/>
                      </a:lnTo>
                      <a:lnTo>
                        <a:pt x="18650" y="392"/>
                      </a:lnTo>
                      <a:lnTo>
                        <a:pt x="18654" y="388"/>
                      </a:lnTo>
                      <a:lnTo>
                        <a:pt x="18628" y="376"/>
                      </a:lnTo>
                      <a:lnTo>
                        <a:pt x="18654" y="388"/>
                      </a:lnTo>
                      <a:lnTo>
                        <a:pt x="18709" y="347"/>
                      </a:lnTo>
                      <a:lnTo>
                        <a:pt x="18751" y="338"/>
                      </a:lnTo>
                      <a:lnTo>
                        <a:pt x="18725" y="322"/>
                      </a:lnTo>
                      <a:lnTo>
                        <a:pt x="18772" y="293"/>
                      </a:lnTo>
                      <a:lnTo>
                        <a:pt x="18796" y="310"/>
                      </a:lnTo>
                      <a:lnTo>
                        <a:pt x="18817" y="293"/>
                      </a:lnTo>
                      <a:lnTo>
                        <a:pt x="18957" y="281"/>
                      </a:lnTo>
                      <a:lnTo>
                        <a:pt x="18990" y="298"/>
                      </a:lnTo>
                      <a:lnTo>
                        <a:pt x="18957" y="347"/>
                      </a:lnTo>
                      <a:lnTo>
                        <a:pt x="18935" y="355"/>
                      </a:lnTo>
                      <a:lnTo>
                        <a:pt x="18969" y="347"/>
                      </a:lnTo>
                      <a:lnTo>
                        <a:pt x="18978" y="322"/>
                      </a:lnTo>
                      <a:lnTo>
                        <a:pt x="19011" y="331"/>
                      </a:lnTo>
                      <a:lnTo>
                        <a:pt x="19028" y="314"/>
                      </a:lnTo>
                      <a:lnTo>
                        <a:pt x="19023" y="310"/>
                      </a:lnTo>
                      <a:lnTo>
                        <a:pt x="19028" y="298"/>
                      </a:lnTo>
                      <a:lnTo>
                        <a:pt x="19075" y="298"/>
                      </a:lnTo>
                      <a:lnTo>
                        <a:pt x="19136" y="347"/>
                      </a:lnTo>
                      <a:lnTo>
                        <a:pt x="19113" y="371"/>
                      </a:lnTo>
                      <a:lnTo>
                        <a:pt x="19103" y="392"/>
                      </a:lnTo>
                      <a:lnTo>
                        <a:pt x="19113" y="409"/>
                      </a:lnTo>
                      <a:lnTo>
                        <a:pt x="19098" y="425"/>
                      </a:lnTo>
                      <a:lnTo>
                        <a:pt x="19098" y="425"/>
                      </a:lnTo>
                      <a:lnTo>
                        <a:pt x="19098" y="425"/>
                      </a:lnTo>
                      <a:close/>
                      <a:moveTo>
                        <a:pt x="16240" y="310"/>
                      </a:moveTo>
                      <a:lnTo>
                        <a:pt x="16278" y="293"/>
                      </a:lnTo>
                      <a:lnTo>
                        <a:pt x="16311" y="293"/>
                      </a:lnTo>
                      <a:lnTo>
                        <a:pt x="16311" y="310"/>
                      </a:lnTo>
                      <a:lnTo>
                        <a:pt x="16278" y="322"/>
                      </a:lnTo>
                      <a:lnTo>
                        <a:pt x="16240" y="310"/>
                      </a:lnTo>
                      <a:lnTo>
                        <a:pt x="16240" y="310"/>
                      </a:lnTo>
                      <a:lnTo>
                        <a:pt x="16240" y="310"/>
                      </a:lnTo>
                      <a:close/>
                      <a:moveTo>
                        <a:pt x="15626" y="314"/>
                      </a:moveTo>
                      <a:lnTo>
                        <a:pt x="15659" y="314"/>
                      </a:lnTo>
                      <a:lnTo>
                        <a:pt x="15697" y="293"/>
                      </a:lnTo>
                      <a:lnTo>
                        <a:pt x="15723" y="322"/>
                      </a:lnTo>
                      <a:lnTo>
                        <a:pt x="15626" y="314"/>
                      </a:lnTo>
                      <a:lnTo>
                        <a:pt x="15626" y="314"/>
                      </a:lnTo>
                      <a:lnTo>
                        <a:pt x="15626" y="314"/>
                      </a:lnTo>
                      <a:close/>
                      <a:moveTo>
                        <a:pt x="18503" y="298"/>
                      </a:moveTo>
                      <a:lnTo>
                        <a:pt x="18487" y="298"/>
                      </a:lnTo>
                      <a:lnTo>
                        <a:pt x="18633" y="310"/>
                      </a:lnTo>
                      <a:lnTo>
                        <a:pt x="18697" y="322"/>
                      </a:lnTo>
                      <a:lnTo>
                        <a:pt x="18645" y="355"/>
                      </a:lnTo>
                      <a:lnTo>
                        <a:pt x="18562" y="364"/>
                      </a:lnTo>
                      <a:lnTo>
                        <a:pt x="18595" y="355"/>
                      </a:lnTo>
                      <a:lnTo>
                        <a:pt x="18574" y="338"/>
                      </a:lnTo>
                      <a:lnTo>
                        <a:pt x="18503" y="331"/>
                      </a:lnTo>
                      <a:lnTo>
                        <a:pt x="18508" y="322"/>
                      </a:lnTo>
                      <a:lnTo>
                        <a:pt x="18503" y="298"/>
                      </a:lnTo>
                      <a:lnTo>
                        <a:pt x="18503" y="298"/>
                      </a:lnTo>
                      <a:lnTo>
                        <a:pt x="18503" y="298"/>
                      </a:lnTo>
                      <a:close/>
                      <a:moveTo>
                        <a:pt x="18704" y="310"/>
                      </a:moveTo>
                      <a:lnTo>
                        <a:pt x="18735" y="310"/>
                      </a:lnTo>
                      <a:lnTo>
                        <a:pt x="18704" y="314"/>
                      </a:lnTo>
                      <a:lnTo>
                        <a:pt x="18704" y="310"/>
                      </a:lnTo>
                      <a:lnTo>
                        <a:pt x="18704" y="310"/>
                      </a:lnTo>
                      <a:lnTo>
                        <a:pt x="18704" y="310"/>
                      </a:lnTo>
                      <a:close/>
                      <a:moveTo>
                        <a:pt x="16209" y="314"/>
                      </a:moveTo>
                      <a:lnTo>
                        <a:pt x="16226" y="314"/>
                      </a:lnTo>
                      <a:lnTo>
                        <a:pt x="16252" y="322"/>
                      </a:lnTo>
                      <a:lnTo>
                        <a:pt x="16202" y="322"/>
                      </a:lnTo>
                      <a:lnTo>
                        <a:pt x="16209" y="314"/>
                      </a:lnTo>
                      <a:lnTo>
                        <a:pt x="16209" y="314"/>
                      </a:lnTo>
                      <a:lnTo>
                        <a:pt x="16209" y="314"/>
                      </a:lnTo>
                      <a:close/>
                      <a:moveTo>
                        <a:pt x="18541" y="364"/>
                      </a:moveTo>
                      <a:lnTo>
                        <a:pt x="18503" y="355"/>
                      </a:lnTo>
                      <a:lnTo>
                        <a:pt x="18557" y="364"/>
                      </a:lnTo>
                      <a:lnTo>
                        <a:pt x="18541" y="364"/>
                      </a:lnTo>
                      <a:lnTo>
                        <a:pt x="18541" y="364"/>
                      </a:lnTo>
                      <a:lnTo>
                        <a:pt x="18541" y="364"/>
                      </a:lnTo>
                      <a:close/>
                      <a:moveTo>
                        <a:pt x="19129" y="376"/>
                      </a:moveTo>
                      <a:lnTo>
                        <a:pt x="19129" y="364"/>
                      </a:lnTo>
                      <a:lnTo>
                        <a:pt x="19150" y="364"/>
                      </a:lnTo>
                      <a:lnTo>
                        <a:pt x="19129" y="376"/>
                      </a:lnTo>
                      <a:lnTo>
                        <a:pt x="19129" y="376"/>
                      </a:lnTo>
                      <a:lnTo>
                        <a:pt x="19129" y="376"/>
                      </a:lnTo>
                      <a:close/>
                      <a:moveTo>
                        <a:pt x="17495" y="388"/>
                      </a:moveTo>
                      <a:lnTo>
                        <a:pt x="17445" y="371"/>
                      </a:lnTo>
                      <a:lnTo>
                        <a:pt x="17563" y="388"/>
                      </a:lnTo>
                      <a:lnTo>
                        <a:pt x="17499" y="392"/>
                      </a:lnTo>
                      <a:lnTo>
                        <a:pt x="17495" y="388"/>
                      </a:lnTo>
                      <a:lnTo>
                        <a:pt x="17495" y="388"/>
                      </a:lnTo>
                      <a:lnTo>
                        <a:pt x="17495" y="388"/>
                      </a:lnTo>
                      <a:close/>
                      <a:moveTo>
                        <a:pt x="18494" y="388"/>
                      </a:moveTo>
                      <a:lnTo>
                        <a:pt x="18536" y="392"/>
                      </a:lnTo>
                      <a:lnTo>
                        <a:pt x="18482" y="376"/>
                      </a:lnTo>
                      <a:lnTo>
                        <a:pt x="18494" y="388"/>
                      </a:lnTo>
                      <a:lnTo>
                        <a:pt x="18494" y="388"/>
                      </a:lnTo>
                      <a:lnTo>
                        <a:pt x="18494" y="388"/>
                      </a:lnTo>
                      <a:close/>
                      <a:moveTo>
                        <a:pt x="19129" y="392"/>
                      </a:moveTo>
                      <a:lnTo>
                        <a:pt x="19129" y="404"/>
                      </a:lnTo>
                      <a:lnTo>
                        <a:pt x="19120" y="404"/>
                      </a:lnTo>
                      <a:lnTo>
                        <a:pt x="19129" y="392"/>
                      </a:lnTo>
                      <a:lnTo>
                        <a:pt x="19129" y="392"/>
                      </a:lnTo>
                      <a:lnTo>
                        <a:pt x="19129" y="392"/>
                      </a:lnTo>
                      <a:close/>
                      <a:moveTo>
                        <a:pt x="19136" y="553"/>
                      </a:moveTo>
                      <a:lnTo>
                        <a:pt x="19157" y="503"/>
                      </a:lnTo>
                      <a:lnTo>
                        <a:pt x="19212" y="515"/>
                      </a:lnTo>
                      <a:lnTo>
                        <a:pt x="19183" y="487"/>
                      </a:lnTo>
                      <a:lnTo>
                        <a:pt x="19195" y="466"/>
                      </a:lnTo>
                      <a:lnTo>
                        <a:pt x="19243" y="475"/>
                      </a:lnTo>
                      <a:lnTo>
                        <a:pt x="19195" y="459"/>
                      </a:lnTo>
                      <a:lnTo>
                        <a:pt x="19212" y="433"/>
                      </a:lnTo>
                      <a:lnTo>
                        <a:pt x="19250" y="409"/>
                      </a:lnTo>
                      <a:lnTo>
                        <a:pt x="19264" y="425"/>
                      </a:lnTo>
                      <a:lnTo>
                        <a:pt x="19280" y="433"/>
                      </a:lnTo>
                      <a:lnTo>
                        <a:pt x="19280" y="409"/>
                      </a:lnTo>
                      <a:lnTo>
                        <a:pt x="19297" y="404"/>
                      </a:lnTo>
                      <a:lnTo>
                        <a:pt x="19351" y="421"/>
                      </a:lnTo>
                      <a:lnTo>
                        <a:pt x="19330" y="433"/>
                      </a:lnTo>
                      <a:lnTo>
                        <a:pt x="19297" y="499"/>
                      </a:lnTo>
                      <a:lnTo>
                        <a:pt x="19335" y="466"/>
                      </a:lnTo>
                      <a:lnTo>
                        <a:pt x="19406" y="449"/>
                      </a:lnTo>
                      <a:lnTo>
                        <a:pt x="19410" y="475"/>
                      </a:lnTo>
                      <a:lnTo>
                        <a:pt x="19439" y="475"/>
                      </a:lnTo>
                      <a:lnTo>
                        <a:pt x="19453" y="499"/>
                      </a:lnTo>
                      <a:lnTo>
                        <a:pt x="19453" y="503"/>
                      </a:lnTo>
                      <a:lnTo>
                        <a:pt x="19460" y="499"/>
                      </a:lnTo>
                      <a:lnTo>
                        <a:pt x="19491" y="499"/>
                      </a:lnTo>
                      <a:lnTo>
                        <a:pt x="19507" y="536"/>
                      </a:lnTo>
                      <a:lnTo>
                        <a:pt x="19460" y="577"/>
                      </a:lnTo>
                      <a:lnTo>
                        <a:pt x="19335" y="593"/>
                      </a:lnTo>
                      <a:lnTo>
                        <a:pt x="19318" y="598"/>
                      </a:lnTo>
                      <a:lnTo>
                        <a:pt x="19302" y="593"/>
                      </a:lnTo>
                      <a:lnTo>
                        <a:pt x="19221" y="598"/>
                      </a:lnTo>
                      <a:lnTo>
                        <a:pt x="19129" y="631"/>
                      </a:lnTo>
                      <a:lnTo>
                        <a:pt x="19087" y="643"/>
                      </a:lnTo>
                      <a:lnTo>
                        <a:pt x="19082" y="626"/>
                      </a:lnTo>
                      <a:lnTo>
                        <a:pt x="19136" y="553"/>
                      </a:lnTo>
                      <a:lnTo>
                        <a:pt x="19136" y="553"/>
                      </a:lnTo>
                      <a:lnTo>
                        <a:pt x="19136" y="553"/>
                      </a:lnTo>
                      <a:close/>
                      <a:moveTo>
                        <a:pt x="19561" y="598"/>
                      </a:moveTo>
                      <a:lnTo>
                        <a:pt x="19552" y="593"/>
                      </a:lnTo>
                      <a:lnTo>
                        <a:pt x="19583" y="577"/>
                      </a:lnTo>
                      <a:lnTo>
                        <a:pt x="19604" y="586"/>
                      </a:lnTo>
                      <a:lnTo>
                        <a:pt x="19561" y="598"/>
                      </a:lnTo>
                      <a:lnTo>
                        <a:pt x="19561" y="598"/>
                      </a:lnTo>
                      <a:lnTo>
                        <a:pt x="19561" y="598"/>
                      </a:lnTo>
                      <a:close/>
                      <a:moveTo>
                        <a:pt x="19654" y="626"/>
                      </a:moveTo>
                      <a:lnTo>
                        <a:pt x="19583" y="598"/>
                      </a:lnTo>
                      <a:lnTo>
                        <a:pt x="19670" y="610"/>
                      </a:lnTo>
                      <a:lnTo>
                        <a:pt x="19654" y="626"/>
                      </a:lnTo>
                      <a:lnTo>
                        <a:pt x="19654" y="626"/>
                      </a:lnTo>
                      <a:lnTo>
                        <a:pt x="19654" y="626"/>
                      </a:lnTo>
                      <a:close/>
                      <a:moveTo>
                        <a:pt x="18562" y="688"/>
                      </a:moveTo>
                      <a:lnTo>
                        <a:pt x="18546" y="681"/>
                      </a:lnTo>
                      <a:lnTo>
                        <a:pt x="18574" y="688"/>
                      </a:lnTo>
                      <a:lnTo>
                        <a:pt x="18562" y="688"/>
                      </a:lnTo>
                      <a:lnTo>
                        <a:pt x="18562" y="688"/>
                      </a:lnTo>
                      <a:lnTo>
                        <a:pt x="18562" y="688"/>
                      </a:lnTo>
                      <a:close/>
                      <a:moveTo>
                        <a:pt x="19642" y="754"/>
                      </a:moveTo>
                      <a:lnTo>
                        <a:pt x="19637" y="742"/>
                      </a:lnTo>
                      <a:lnTo>
                        <a:pt x="19654" y="725"/>
                      </a:lnTo>
                      <a:lnTo>
                        <a:pt x="19670" y="737"/>
                      </a:lnTo>
                      <a:lnTo>
                        <a:pt x="19670" y="742"/>
                      </a:lnTo>
                      <a:lnTo>
                        <a:pt x="19642" y="754"/>
                      </a:lnTo>
                      <a:lnTo>
                        <a:pt x="19642" y="754"/>
                      </a:lnTo>
                      <a:lnTo>
                        <a:pt x="19642" y="754"/>
                      </a:lnTo>
                      <a:close/>
                      <a:moveTo>
                        <a:pt x="18373" y="758"/>
                      </a:moveTo>
                      <a:lnTo>
                        <a:pt x="18364" y="742"/>
                      </a:lnTo>
                      <a:lnTo>
                        <a:pt x="18373" y="737"/>
                      </a:lnTo>
                      <a:lnTo>
                        <a:pt x="18402" y="742"/>
                      </a:lnTo>
                      <a:lnTo>
                        <a:pt x="18373" y="758"/>
                      </a:lnTo>
                      <a:lnTo>
                        <a:pt x="18373" y="758"/>
                      </a:lnTo>
                      <a:lnTo>
                        <a:pt x="18373" y="758"/>
                      </a:lnTo>
                      <a:close/>
                      <a:moveTo>
                        <a:pt x="19535" y="742"/>
                      </a:moveTo>
                      <a:lnTo>
                        <a:pt x="19552" y="737"/>
                      </a:lnTo>
                      <a:lnTo>
                        <a:pt x="19535" y="742"/>
                      </a:lnTo>
                      <a:lnTo>
                        <a:pt x="19535" y="742"/>
                      </a:lnTo>
                      <a:lnTo>
                        <a:pt x="19535" y="742"/>
                      </a:lnTo>
                      <a:close/>
                      <a:moveTo>
                        <a:pt x="18881" y="754"/>
                      </a:moveTo>
                      <a:lnTo>
                        <a:pt x="18886" y="758"/>
                      </a:lnTo>
                      <a:lnTo>
                        <a:pt x="18860" y="780"/>
                      </a:lnTo>
                      <a:lnTo>
                        <a:pt x="18796" y="780"/>
                      </a:lnTo>
                      <a:lnTo>
                        <a:pt x="18881" y="754"/>
                      </a:lnTo>
                      <a:lnTo>
                        <a:pt x="18881" y="754"/>
                      </a:lnTo>
                      <a:lnTo>
                        <a:pt x="18881" y="754"/>
                      </a:lnTo>
                      <a:close/>
                      <a:moveTo>
                        <a:pt x="18357" y="758"/>
                      </a:moveTo>
                      <a:lnTo>
                        <a:pt x="18331" y="763"/>
                      </a:lnTo>
                      <a:lnTo>
                        <a:pt x="18347" y="763"/>
                      </a:lnTo>
                      <a:lnTo>
                        <a:pt x="18343" y="780"/>
                      </a:lnTo>
                      <a:lnTo>
                        <a:pt x="18331" y="763"/>
                      </a:lnTo>
                      <a:lnTo>
                        <a:pt x="18357" y="758"/>
                      </a:lnTo>
                      <a:lnTo>
                        <a:pt x="18357" y="758"/>
                      </a:lnTo>
                      <a:lnTo>
                        <a:pt x="18357" y="758"/>
                      </a:lnTo>
                      <a:close/>
                      <a:moveTo>
                        <a:pt x="23093" y="758"/>
                      </a:moveTo>
                      <a:lnTo>
                        <a:pt x="23109" y="758"/>
                      </a:lnTo>
                      <a:lnTo>
                        <a:pt x="23088" y="758"/>
                      </a:lnTo>
                      <a:lnTo>
                        <a:pt x="23093" y="758"/>
                      </a:lnTo>
                      <a:lnTo>
                        <a:pt x="23093" y="758"/>
                      </a:lnTo>
                      <a:lnTo>
                        <a:pt x="23093" y="758"/>
                      </a:lnTo>
                      <a:close/>
                      <a:moveTo>
                        <a:pt x="16101" y="1314"/>
                      </a:moveTo>
                      <a:lnTo>
                        <a:pt x="16096" y="1307"/>
                      </a:lnTo>
                      <a:lnTo>
                        <a:pt x="16096" y="1318"/>
                      </a:lnTo>
                      <a:lnTo>
                        <a:pt x="16047" y="1318"/>
                      </a:lnTo>
                      <a:lnTo>
                        <a:pt x="16037" y="1297"/>
                      </a:lnTo>
                      <a:lnTo>
                        <a:pt x="16042" y="1314"/>
                      </a:lnTo>
                      <a:lnTo>
                        <a:pt x="15971" y="1297"/>
                      </a:lnTo>
                      <a:lnTo>
                        <a:pt x="15917" y="1314"/>
                      </a:lnTo>
                      <a:lnTo>
                        <a:pt x="15900" y="1307"/>
                      </a:lnTo>
                      <a:lnTo>
                        <a:pt x="15928" y="1297"/>
                      </a:lnTo>
                      <a:lnTo>
                        <a:pt x="15928" y="1290"/>
                      </a:lnTo>
                      <a:lnTo>
                        <a:pt x="15917" y="1290"/>
                      </a:lnTo>
                      <a:lnTo>
                        <a:pt x="15928" y="1281"/>
                      </a:lnTo>
                      <a:lnTo>
                        <a:pt x="15987" y="1257"/>
                      </a:lnTo>
                      <a:lnTo>
                        <a:pt x="15900" y="1273"/>
                      </a:lnTo>
                      <a:lnTo>
                        <a:pt x="15879" y="1252"/>
                      </a:lnTo>
                      <a:lnTo>
                        <a:pt x="15954" y="1224"/>
                      </a:lnTo>
                      <a:lnTo>
                        <a:pt x="15938" y="1219"/>
                      </a:lnTo>
                      <a:lnTo>
                        <a:pt x="15971" y="1195"/>
                      </a:lnTo>
                      <a:lnTo>
                        <a:pt x="16037" y="1203"/>
                      </a:lnTo>
                      <a:lnTo>
                        <a:pt x="15983" y="1179"/>
                      </a:lnTo>
                      <a:lnTo>
                        <a:pt x="16025" y="1179"/>
                      </a:lnTo>
                      <a:lnTo>
                        <a:pt x="15987" y="1170"/>
                      </a:lnTo>
                      <a:lnTo>
                        <a:pt x="15992" y="1153"/>
                      </a:lnTo>
                      <a:lnTo>
                        <a:pt x="16063" y="1146"/>
                      </a:lnTo>
                      <a:lnTo>
                        <a:pt x="16009" y="1141"/>
                      </a:lnTo>
                      <a:lnTo>
                        <a:pt x="16009" y="1125"/>
                      </a:lnTo>
                      <a:lnTo>
                        <a:pt x="16113" y="1125"/>
                      </a:lnTo>
                      <a:lnTo>
                        <a:pt x="16089" y="1125"/>
                      </a:lnTo>
                      <a:lnTo>
                        <a:pt x="16075" y="1108"/>
                      </a:lnTo>
                      <a:lnTo>
                        <a:pt x="16037" y="1108"/>
                      </a:lnTo>
                      <a:lnTo>
                        <a:pt x="16089" y="1087"/>
                      </a:lnTo>
                      <a:lnTo>
                        <a:pt x="16063" y="1087"/>
                      </a:lnTo>
                      <a:lnTo>
                        <a:pt x="16075" y="1075"/>
                      </a:lnTo>
                      <a:lnTo>
                        <a:pt x="16037" y="1075"/>
                      </a:lnTo>
                      <a:lnTo>
                        <a:pt x="16042" y="1070"/>
                      </a:lnTo>
                      <a:lnTo>
                        <a:pt x="16025" y="1070"/>
                      </a:lnTo>
                      <a:lnTo>
                        <a:pt x="16025" y="1058"/>
                      </a:lnTo>
                      <a:lnTo>
                        <a:pt x="16063" y="1051"/>
                      </a:lnTo>
                      <a:lnTo>
                        <a:pt x="16075" y="1070"/>
                      </a:lnTo>
                      <a:lnTo>
                        <a:pt x="16101" y="1042"/>
                      </a:lnTo>
                      <a:lnTo>
                        <a:pt x="16096" y="1035"/>
                      </a:lnTo>
                      <a:lnTo>
                        <a:pt x="16101" y="1030"/>
                      </a:lnTo>
                      <a:lnTo>
                        <a:pt x="16165" y="1030"/>
                      </a:lnTo>
                      <a:lnTo>
                        <a:pt x="16150" y="1002"/>
                      </a:lnTo>
                      <a:lnTo>
                        <a:pt x="16198" y="997"/>
                      </a:lnTo>
                      <a:lnTo>
                        <a:pt x="16181" y="985"/>
                      </a:lnTo>
                      <a:lnTo>
                        <a:pt x="16235" y="959"/>
                      </a:lnTo>
                      <a:lnTo>
                        <a:pt x="16349" y="931"/>
                      </a:lnTo>
                      <a:lnTo>
                        <a:pt x="16328" y="924"/>
                      </a:lnTo>
                      <a:lnTo>
                        <a:pt x="16344" y="919"/>
                      </a:lnTo>
                      <a:lnTo>
                        <a:pt x="16382" y="919"/>
                      </a:lnTo>
                      <a:lnTo>
                        <a:pt x="16361" y="931"/>
                      </a:lnTo>
                      <a:lnTo>
                        <a:pt x="16370" y="931"/>
                      </a:lnTo>
                      <a:lnTo>
                        <a:pt x="16403" y="907"/>
                      </a:lnTo>
                      <a:lnTo>
                        <a:pt x="16387" y="907"/>
                      </a:lnTo>
                      <a:lnTo>
                        <a:pt x="16398" y="891"/>
                      </a:lnTo>
                      <a:lnTo>
                        <a:pt x="16441" y="886"/>
                      </a:lnTo>
                      <a:lnTo>
                        <a:pt x="16495" y="903"/>
                      </a:lnTo>
                      <a:lnTo>
                        <a:pt x="16580" y="874"/>
                      </a:lnTo>
                      <a:lnTo>
                        <a:pt x="16613" y="886"/>
                      </a:lnTo>
                      <a:lnTo>
                        <a:pt x="16710" y="848"/>
                      </a:lnTo>
                      <a:lnTo>
                        <a:pt x="16743" y="853"/>
                      </a:lnTo>
                      <a:lnTo>
                        <a:pt x="16727" y="832"/>
                      </a:lnTo>
                      <a:lnTo>
                        <a:pt x="16852" y="780"/>
                      </a:lnTo>
                      <a:lnTo>
                        <a:pt x="16921" y="792"/>
                      </a:lnTo>
                      <a:lnTo>
                        <a:pt x="16954" y="815"/>
                      </a:lnTo>
                      <a:lnTo>
                        <a:pt x="16937" y="848"/>
                      </a:lnTo>
                      <a:lnTo>
                        <a:pt x="16944" y="853"/>
                      </a:lnTo>
                      <a:lnTo>
                        <a:pt x="16899" y="886"/>
                      </a:lnTo>
                      <a:lnTo>
                        <a:pt x="16906" y="886"/>
                      </a:lnTo>
                      <a:lnTo>
                        <a:pt x="16684" y="959"/>
                      </a:lnTo>
                      <a:lnTo>
                        <a:pt x="16592" y="981"/>
                      </a:lnTo>
                      <a:lnTo>
                        <a:pt x="16576" y="976"/>
                      </a:lnTo>
                      <a:lnTo>
                        <a:pt x="16559" y="985"/>
                      </a:lnTo>
                      <a:lnTo>
                        <a:pt x="16441" y="1018"/>
                      </a:lnTo>
                      <a:lnTo>
                        <a:pt x="16424" y="1042"/>
                      </a:lnTo>
                      <a:lnTo>
                        <a:pt x="16415" y="1030"/>
                      </a:lnTo>
                      <a:lnTo>
                        <a:pt x="16403" y="1042"/>
                      </a:lnTo>
                      <a:lnTo>
                        <a:pt x="16370" y="1058"/>
                      </a:lnTo>
                      <a:lnTo>
                        <a:pt x="16382" y="1070"/>
                      </a:lnTo>
                      <a:lnTo>
                        <a:pt x="16370" y="1075"/>
                      </a:lnTo>
                      <a:lnTo>
                        <a:pt x="16361" y="1058"/>
                      </a:lnTo>
                      <a:lnTo>
                        <a:pt x="16361" y="1075"/>
                      </a:lnTo>
                      <a:lnTo>
                        <a:pt x="16316" y="1075"/>
                      </a:lnTo>
                      <a:lnTo>
                        <a:pt x="16370" y="1087"/>
                      </a:lnTo>
                      <a:lnTo>
                        <a:pt x="16332" y="1096"/>
                      </a:lnTo>
                      <a:lnTo>
                        <a:pt x="16349" y="1108"/>
                      </a:lnTo>
                      <a:lnTo>
                        <a:pt x="16344" y="1113"/>
                      </a:lnTo>
                      <a:lnTo>
                        <a:pt x="16316" y="1113"/>
                      </a:lnTo>
                      <a:lnTo>
                        <a:pt x="16290" y="1108"/>
                      </a:lnTo>
                      <a:lnTo>
                        <a:pt x="16311" y="1125"/>
                      </a:lnTo>
                      <a:lnTo>
                        <a:pt x="16306" y="1141"/>
                      </a:lnTo>
                      <a:lnTo>
                        <a:pt x="16264" y="1113"/>
                      </a:lnTo>
                      <a:lnTo>
                        <a:pt x="16273" y="1129"/>
                      </a:lnTo>
                      <a:lnTo>
                        <a:pt x="16257" y="1141"/>
                      </a:lnTo>
                      <a:lnTo>
                        <a:pt x="16264" y="1153"/>
                      </a:lnTo>
                      <a:lnTo>
                        <a:pt x="16198" y="1141"/>
                      </a:lnTo>
                      <a:lnTo>
                        <a:pt x="16226" y="1153"/>
                      </a:lnTo>
                      <a:lnTo>
                        <a:pt x="16235" y="1179"/>
                      </a:lnTo>
                      <a:lnTo>
                        <a:pt x="16219" y="1195"/>
                      </a:lnTo>
                      <a:lnTo>
                        <a:pt x="16202" y="1186"/>
                      </a:lnTo>
                      <a:lnTo>
                        <a:pt x="16209" y="1203"/>
                      </a:lnTo>
                      <a:lnTo>
                        <a:pt x="16198" y="1203"/>
                      </a:lnTo>
                      <a:lnTo>
                        <a:pt x="16198" y="1219"/>
                      </a:lnTo>
                      <a:lnTo>
                        <a:pt x="16165" y="1207"/>
                      </a:lnTo>
                      <a:lnTo>
                        <a:pt x="16150" y="1195"/>
                      </a:lnTo>
                      <a:lnTo>
                        <a:pt x="16143" y="1195"/>
                      </a:lnTo>
                      <a:lnTo>
                        <a:pt x="16150" y="1207"/>
                      </a:lnTo>
                      <a:lnTo>
                        <a:pt x="16134" y="1207"/>
                      </a:lnTo>
                      <a:lnTo>
                        <a:pt x="16172" y="1236"/>
                      </a:lnTo>
                      <a:lnTo>
                        <a:pt x="16181" y="1252"/>
                      </a:lnTo>
                      <a:lnTo>
                        <a:pt x="16165" y="1257"/>
                      </a:lnTo>
                      <a:lnTo>
                        <a:pt x="16143" y="1240"/>
                      </a:lnTo>
                      <a:lnTo>
                        <a:pt x="16080" y="1236"/>
                      </a:lnTo>
                      <a:lnTo>
                        <a:pt x="16134" y="1240"/>
                      </a:lnTo>
                      <a:lnTo>
                        <a:pt x="16155" y="1264"/>
                      </a:lnTo>
                      <a:lnTo>
                        <a:pt x="16134" y="1281"/>
                      </a:lnTo>
                      <a:lnTo>
                        <a:pt x="16096" y="1264"/>
                      </a:lnTo>
                      <a:lnTo>
                        <a:pt x="16096" y="1273"/>
                      </a:lnTo>
                      <a:lnTo>
                        <a:pt x="16127" y="1290"/>
                      </a:lnTo>
                      <a:lnTo>
                        <a:pt x="16101" y="1314"/>
                      </a:lnTo>
                      <a:lnTo>
                        <a:pt x="16101" y="1314"/>
                      </a:lnTo>
                      <a:lnTo>
                        <a:pt x="16101" y="1314"/>
                      </a:lnTo>
                      <a:close/>
                      <a:moveTo>
                        <a:pt x="18978" y="815"/>
                      </a:moveTo>
                      <a:lnTo>
                        <a:pt x="18969" y="808"/>
                      </a:lnTo>
                      <a:lnTo>
                        <a:pt x="18978" y="808"/>
                      </a:lnTo>
                      <a:lnTo>
                        <a:pt x="18978" y="815"/>
                      </a:lnTo>
                      <a:lnTo>
                        <a:pt x="18978" y="815"/>
                      </a:lnTo>
                      <a:lnTo>
                        <a:pt x="18978" y="815"/>
                      </a:lnTo>
                      <a:close/>
                      <a:moveTo>
                        <a:pt x="22521" y="836"/>
                      </a:moveTo>
                      <a:lnTo>
                        <a:pt x="22547" y="820"/>
                      </a:lnTo>
                      <a:lnTo>
                        <a:pt x="22585" y="820"/>
                      </a:lnTo>
                      <a:lnTo>
                        <a:pt x="22576" y="836"/>
                      </a:lnTo>
                      <a:lnTo>
                        <a:pt x="22521" y="836"/>
                      </a:lnTo>
                      <a:lnTo>
                        <a:pt x="22521" y="836"/>
                      </a:lnTo>
                      <a:lnTo>
                        <a:pt x="22521" y="836"/>
                      </a:lnTo>
                      <a:close/>
                      <a:moveTo>
                        <a:pt x="18957" y="848"/>
                      </a:moveTo>
                      <a:lnTo>
                        <a:pt x="18940" y="836"/>
                      </a:lnTo>
                      <a:lnTo>
                        <a:pt x="18952" y="820"/>
                      </a:lnTo>
                      <a:lnTo>
                        <a:pt x="18957" y="836"/>
                      </a:lnTo>
                      <a:lnTo>
                        <a:pt x="18957" y="848"/>
                      </a:lnTo>
                      <a:lnTo>
                        <a:pt x="18957" y="848"/>
                      </a:lnTo>
                      <a:lnTo>
                        <a:pt x="18957" y="848"/>
                      </a:lnTo>
                      <a:close/>
                      <a:moveTo>
                        <a:pt x="18827" y="832"/>
                      </a:moveTo>
                      <a:lnTo>
                        <a:pt x="18834" y="832"/>
                      </a:lnTo>
                      <a:lnTo>
                        <a:pt x="18806" y="832"/>
                      </a:lnTo>
                      <a:lnTo>
                        <a:pt x="18827" y="832"/>
                      </a:lnTo>
                      <a:lnTo>
                        <a:pt x="18827" y="832"/>
                      </a:lnTo>
                      <a:lnTo>
                        <a:pt x="18827" y="832"/>
                      </a:lnTo>
                      <a:close/>
                      <a:moveTo>
                        <a:pt x="18789" y="820"/>
                      </a:moveTo>
                      <a:lnTo>
                        <a:pt x="18806" y="832"/>
                      </a:lnTo>
                      <a:lnTo>
                        <a:pt x="18763" y="836"/>
                      </a:lnTo>
                      <a:lnTo>
                        <a:pt x="18789" y="820"/>
                      </a:lnTo>
                      <a:lnTo>
                        <a:pt x="18789" y="820"/>
                      </a:lnTo>
                      <a:lnTo>
                        <a:pt x="18789" y="820"/>
                      </a:lnTo>
                      <a:close/>
                      <a:moveTo>
                        <a:pt x="18881" y="832"/>
                      </a:moveTo>
                      <a:lnTo>
                        <a:pt x="18865" y="836"/>
                      </a:lnTo>
                      <a:lnTo>
                        <a:pt x="18843" y="836"/>
                      </a:lnTo>
                      <a:lnTo>
                        <a:pt x="18881" y="832"/>
                      </a:lnTo>
                      <a:lnTo>
                        <a:pt x="18881" y="832"/>
                      </a:lnTo>
                      <a:lnTo>
                        <a:pt x="18881" y="832"/>
                      </a:lnTo>
                      <a:close/>
                      <a:moveTo>
                        <a:pt x="20010" y="865"/>
                      </a:moveTo>
                      <a:lnTo>
                        <a:pt x="19968" y="836"/>
                      </a:lnTo>
                      <a:lnTo>
                        <a:pt x="20010" y="836"/>
                      </a:lnTo>
                      <a:lnTo>
                        <a:pt x="20020" y="853"/>
                      </a:lnTo>
                      <a:lnTo>
                        <a:pt x="20010" y="865"/>
                      </a:lnTo>
                      <a:lnTo>
                        <a:pt x="20010" y="865"/>
                      </a:lnTo>
                      <a:lnTo>
                        <a:pt x="20010" y="865"/>
                      </a:lnTo>
                      <a:close/>
                      <a:moveTo>
                        <a:pt x="18704" y="836"/>
                      </a:moveTo>
                      <a:lnTo>
                        <a:pt x="18735" y="848"/>
                      </a:lnTo>
                      <a:lnTo>
                        <a:pt x="18697" y="848"/>
                      </a:lnTo>
                      <a:lnTo>
                        <a:pt x="18704" y="836"/>
                      </a:lnTo>
                      <a:lnTo>
                        <a:pt x="18704" y="836"/>
                      </a:lnTo>
                      <a:lnTo>
                        <a:pt x="18704" y="836"/>
                      </a:lnTo>
                      <a:close/>
                      <a:moveTo>
                        <a:pt x="20048" y="874"/>
                      </a:moveTo>
                      <a:lnTo>
                        <a:pt x="20065" y="870"/>
                      </a:lnTo>
                      <a:lnTo>
                        <a:pt x="20069" y="874"/>
                      </a:lnTo>
                      <a:lnTo>
                        <a:pt x="20048" y="874"/>
                      </a:lnTo>
                      <a:lnTo>
                        <a:pt x="20048" y="874"/>
                      </a:lnTo>
                      <a:lnTo>
                        <a:pt x="20048" y="874"/>
                      </a:lnTo>
                      <a:close/>
                      <a:moveTo>
                        <a:pt x="18902" y="907"/>
                      </a:moveTo>
                      <a:lnTo>
                        <a:pt x="18898" y="903"/>
                      </a:lnTo>
                      <a:lnTo>
                        <a:pt x="18902" y="874"/>
                      </a:lnTo>
                      <a:lnTo>
                        <a:pt x="18919" y="886"/>
                      </a:lnTo>
                      <a:lnTo>
                        <a:pt x="18902" y="907"/>
                      </a:lnTo>
                      <a:lnTo>
                        <a:pt x="18902" y="907"/>
                      </a:lnTo>
                      <a:lnTo>
                        <a:pt x="18902" y="907"/>
                      </a:lnTo>
                      <a:close/>
                      <a:moveTo>
                        <a:pt x="18898" y="886"/>
                      </a:moveTo>
                      <a:lnTo>
                        <a:pt x="18872" y="886"/>
                      </a:lnTo>
                      <a:lnTo>
                        <a:pt x="18902" y="886"/>
                      </a:lnTo>
                      <a:lnTo>
                        <a:pt x="18898" y="886"/>
                      </a:lnTo>
                      <a:lnTo>
                        <a:pt x="18898" y="886"/>
                      </a:lnTo>
                      <a:lnTo>
                        <a:pt x="18898" y="886"/>
                      </a:lnTo>
                      <a:close/>
                      <a:moveTo>
                        <a:pt x="18872" y="919"/>
                      </a:moveTo>
                      <a:lnTo>
                        <a:pt x="18796" y="903"/>
                      </a:lnTo>
                      <a:lnTo>
                        <a:pt x="18806" y="886"/>
                      </a:lnTo>
                      <a:lnTo>
                        <a:pt x="18898" y="891"/>
                      </a:lnTo>
                      <a:lnTo>
                        <a:pt x="18886" y="907"/>
                      </a:lnTo>
                      <a:lnTo>
                        <a:pt x="18886" y="891"/>
                      </a:lnTo>
                      <a:lnTo>
                        <a:pt x="18872" y="891"/>
                      </a:lnTo>
                      <a:lnTo>
                        <a:pt x="18872" y="903"/>
                      </a:lnTo>
                      <a:lnTo>
                        <a:pt x="18872" y="907"/>
                      </a:lnTo>
                      <a:lnTo>
                        <a:pt x="18872" y="919"/>
                      </a:lnTo>
                      <a:lnTo>
                        <a:pt x="18872" y="919"/>
                      </a:lnTo>
                      <a:lnTo>
                        <a:pt x="18872" y="919"/>
                      </a:lnTo>
                      <a:close/>
                      <a:moveTo>
                        <a:pt x="18758" y="891"/>
                      </a:moveTo>
                      <a:lnTo>
                        <a:pt x="18780" y="891"/>
                      </a:lnTo>
                      <a:lnTo>
                        <a:pt x="18763" y="903"/>
                      </a:lnTo>
                      <a:lnTo>
                        <a:pt x="18735" y="903"/>
                      </a:lnTo>
                      <a:lnTo>
                        <a:pt x="18763" y="903"/>
                      </a:lnTo>
                      <a:lnTo>
                        <a:pt x="18758" y="891"/>
                      </a:lnTo>
                      <a:lnTo>
                        <a:pt x="18758" y="891"/>
                      </a:lnTo>
                      <a:lnTo>
                        <a:pt x="18758" y="891"/>
                      </a:lnTo>
                      <a:close/>
                      <a:moveTo>
                        <a:pt x="18780" y="903"/>
                      </a:moveTo>
                      <a:lnTo>
                        <a:pt x="18789" y="907"/>
                      </a:lnTo>
                      <a:lnTo>
                        <a:pt x="18780" y="907"/>
                      </a:lnTo>
                      <a:lnTo>
                        <a:pt x="18780" y="903"/>
                      </a:lnTo>
                      <a:lnTo>
                        <a:pt x="18780" y="903"/>
                      </a:lnTo>
                      <a:lnTo>
                        <a:pt x="18780" y="903"/>
                      </a:lnTo>
                      <a:close/>
                      <a:moveTo>
                        <a:pt x="22105" y="1108"/>
                      </a:moveTo>
                      <a:lnTo>
                        <a:pt x="22072" y="1087"/>
                      </a:lnTo>
                      <a:lnTo>
                        <a:pt x="22098" y="1087"/>
                      </a:lnTo>
                      <a:lnTo>
                        <a:pt x="22089" y="1075"/>
                      </a:lnTo>
                      <a:lnTo>
                        <a:pt x="21938" y="1096"/>
                      </a:lnTo>
                      <a:lnTo>
                        <a:pt x="21909" y="1087"/>
                      </a:lnTo>
                      <a:lnTo>
                        <a:pt x="21900" y="1087"/>
                      </a:lnTo>
                      <a:lnTo>
                        <a:pt x="21905" y="1096"/>
                      </a:lnTo>
                      <a:lnTo>
                        <a:pt x="21900" y="1113"/>
                      </a:lnTo>
                      <a:lnTo>
                        <a:pt x="21867" y="1125"/>
                      </a:lnTo>
                      <a:lnTo>
                        <a:pt x="21791" y="1096"/>
                      </a:lnTo>
                      <a:lnTo>
                        <a:pt x="21782" y="1087"/>
                      </a:lnTo>
                      <a:lnTo>
                        <a:pt x="21737" y="1058"/>
                      </a:lnTo>
                      <a:lnTo>
                        <a:pt x="21711" y="1030"/>
                      </a:lnTo>
                      <a:lnTo>
                        <a:pt x="21749" y="1030"/>
                      </a:lnTo>
                      <a:lnTo>
                        <a:pt x="21749" y="1018"/>
                      </a:lnTo>
                      <a:lnTo>
                        <a:pt x="21737" y="1018"/>
                      </a:lnTo>
                      <a:lnTo>
                        <a:pt x="21744" y="985"/>
                      </a:lnTo>
                      <a:lnTo>
                        <a:pt x="21720" y="985"/>
                      </a:lnTo>
                      <a:lnTo>
                        <a:pt x="21737" y="981"/>
                      </a:lnTo>
                      <a:lnTo>
                        <a:pt x="21728" y="976"/>
                      </a:lnTo>
                      <a:lnTo>
                        <a:pt x="21737" y="964"/>
                      </a:lnTo>
                      <a:lnTo>
                        <a:pt x="21775" y="964"/>
                      </a:lnTo>
                      <a:lnTo>
                        <a:pt x="21749" y="943"/>
                      </a:lnTo>
                      <a:lnTo>
                        <a:pt x="21820" y="907"/>
                      </a:lnTo>
                      <a:lnTo>
                        <a:pt x="21829" y="924"/>
                      </a:lnTo>
                      <a:lnTo>
                        <a:pt x="21829" y="903"/>
                      </a:lnTo>
                      <a:lnTo>
                        <a:pt x="21850" y="903"/>
                      </a:lnTo>
                      <a:lnTo>
                        <a:pt x="21872" y="919"/>
                      </a:lnTo>
                      <a:lnTo>
                        <a:pt x="21921" y="931"/>
                      </a:lnTo>
                      <a:lnTo>
                        <a:pt x="21926" y="943"/>
                      </a:lnTo>
                      <a:lnTo>
                        <a:pt x="21921" y="947"/>
                      </a:lnTo>
                      <a:lnTo>
                        <a:pt x="21926" y="959"/>
                      </a:lnTo>
                      <a:lnTo>
                        <a:pt x="21964" y="964"/>
                      </a:lnTo>
                      <a:lnTo>
                        <a:pt x="21964" y="981"/>
                      </a:lnTo>
                      <a:lnTo>
                        <a:pt x="22009" y="981"/>
                      </a:lnTo>
                      <a:lnTo>
                        <a:pt x="21997" y="976"/>
                      </a:lnTo>
                      <a:lnTo>
                        <a:pt x="22009" y="924"/>
                      </a:lnTo>
                      <a:lnTo>
                        <a:pt x="22046" y="931"/>
                      </a:lnTo>
                      <a:lnTo>
                        <a:pt x="22030" y="903"/>
                      </a:lnTo>
                      <a:lnTo>
                        <a:pt x="22115" y="947"/>
                      </a:lnTo>
                      <a:lnTo>
                        <a:pt x="22207" y="959"/>
                      </a:lnTo>
                      <a:lnTo>
                        <a:pt x="22316" y="1002"/>
                      </a:lnTo>
                      <a:lnTo>
                        <a:pt x="22266" y="1014"/>
                      </a:lnTo>
                      <a:lnTo>
                        <a:pt x="22261" y="1030"/>
                      </a:lnTo>
                      <a:lnTo>
                        <a:pt x="22283" y="1035"/>
                      </a:lnTo>
                      <a:lnTo>
                        <a:pt x="22245" y="1070"/>
                      </a:lnTo>
                      <a:lnTo>
                        <a:pt x="22212" y="1075"/>
                      </a:lnTo>
                      <a:lnTo>
                        <a:pt x="22136" y="1058"/>
                      </a:lnTo>
                      <a:lnTo>
                        <a:pt x="22105" y="1030"/>
                      </a:lnTo>
                      <a:lnTo>
                        <a:pt x="22115" y="1014"/>
                      </a:lnTo>
                      <a:lnTo>
                        <a:pt x="22143" y="985"/>
                      </a:lnTo>
                      <a:lnTo>
                        <a:pt x="22143" y="981"/>
                      </a:lnTo>
                      <a:lnTo>
                        <a:pt x="22105" y="976"/>
                      </a:lnTo>
                      <a:lnTo>
                        <a:pt x="22084" y="985"/>
                      </a:lnTo>
                      <a:lnTo>
                        <a:pt x="22084" y="1018"/>
                      </a:lnTo>
                      <a:lnTo>
                        <a:pt x="22115" y="1058"/>
                      </a:lnTo>
                      <a:lnTo>
                        <a:pt x="22191" y="1087"/>
                      </a:lnTo>
                      <a:lnTo>
                        <a:pt x="22122" y="1092"/>
                      </a:lnTo>
                      <a:lnTo>
                        <a:pt x="22105" y="1108"/>
                      </a:lnTo>
                      <a:lnTo>
                        <a:pt x="22105" y="1108"/>
                      </a:lnTo>
                      <a:lnTo>
                        <a:pt x="22105" y="1108"/>
                      </a:lnTo>
                      <a:close/>
                      <a:moveTo>
                        <a:pt x="22816" y="907"/>
                      </a:moveTo>
                      <a:lnTo>
                        <a:pt x="22807" y="907"/>
                      </a:lnTo>
                      <a:lnTo>
                        <a:pt x="22833" y="907"/>
                      </a:lnTo>
                      <a:lnTo>
                        <a:pt x="22816" y="907"/>
                      </a:lnTo>
                      <a:lnTo>
                        <a:pt x="22816" y="907"/>
                      </a:lnTo>
                      <a:lnTo>
                        <a:pt x="22816" y="907"/>
                      </a:lnTo>
                      <a:close/>
                      <a:moveTo>
                        <a:pt x="16316" y="907"/>
                      </a:moveTo>
                      <a:lnTo>
                        <a:pt x="16361" y="903"/>
                      </a:lnTo>
                      <a:lnTo>
                        <a:pt x="16311" y="919"/>
                      </a:lnTo>
                      <a:lnTo>
                        <a:pt x="16316" y="907"/>
                      </a:lnTo>
                      <a:lnTo>
                        <a:pt x="16316" y="907"/>
                      </a:lnTo>
                      <a:lnTo>
                        <a:pt x="16316" y="907"/>
                      </a:lnTo>
                      <a:close/>
                      <a:moveTo>
                        <a:pt x="21997" y="924"/>
                      </a:moveTo>
                      <a:lnTo>
                        <a:pt x="21992" y="919"/>
                      </a:lnTo>
                      <a:lnTo>
                        <a:pt x="21997" y="907"/>
                      </a:lnTo>
                      <a:lnTo>
                        <a:pt x="22013" y="919"/>
                      </a:lnTo>
                      <a:lnTo>
                        <a:pt x="21997" y="924"/>
                      </a:lnTo>
                      <a:lnTo>
                        <a:pt x="21997" y="924"/>
                      </a:lnTo>
                      <a:lnTo>
                        <a:pt x="21997" y="924"/>
                      </a:lnTo>
                      <a:close/>
                      <a:moveTo>
                        <a:pt x="17932" y="943"/>
                      </a:moveTo>
                      <a:lnTo>
                        <a:pt x="17889" y="943"/>
                      </a:lnTo>
                      <a:lnTo>
                        <a:pt x="17953" y="943"/>
                      </a:lnTo>
                      <a:lnTo>
                        <a:pt x="17932" y="943"/>
                      </a:lnTo>
                      <a:lnTo>
                        <a:pt x="17932" y="943"/>
                      </a:lnTo>
                      <a:lnTo>
                        <a:pt x="17932" y="943"/>
                      </a:lnTo>
                      <a:close/>
                      <a:moveTo>
                        <a:pt x="16240" y="943"/>
                      </a:moveTo>
                      <a:lnTo>
                        <a:pt x="16273" y="931"/>
                      </a:lnTo>
                      <a:lnTo>
                        <a:pt x="16235" y="947"/>
                      </a:lnTo>
                      <a:lnTo>
                        <a:pt x="16240" y="943"/>
                      </a:lnTo>
                      <a:lnTo>
                        <a:pt x="16240" y="943"/>
                      </a:lnTo>
                      <a:lnTo>
                        <a:pt x="16240" y="943"/>
                      </a:lnTo>
                      <a:close/>
                      <a:moveTo>
                        <a:pt x="17839" y="943"/>
                      </a:moveTo>
                      <a:lnTo>
                        <a:pt x="17889" y="947"/>
                      </a:lnTo>
                      <a:lnTo>
                        <a:pt x="17835" y="943"/>
                      </a:lnTo>
                      <a:lnTo>
                        <a:pt x="17839" y="943"/>
                      </a:lnTo>
                      <a:lnTo>
                        <a:pt x="17839" y="943"/>
                      </a:lnTo>
                      <a:lnTo>
                        <a:pt x="17839" y="943"/>
                      </a:lnTo>
                      <a:close/>
                      <a:moveTo>
                        <a:pt x="16257" y="947"/>
                      </a:moveTo>
                      <a:lnTo>
                        <a:pt x="16273" y="943"/>
                      </a:lnTo>
                      <a:lnTo>
                        <a:pt x="16252" y="947"/>
                      </a:lnTo>
                      <a:lnTo>
                        <a:pt x="16257" y="947"/>
                      </a:lnTo>
                      <a:lnTo>
                        <a:pt x="16257" y="947"/>
                      </a:lnTo>
                      <a:lnTo>
                        <a:pt x="16257" y="947"/>
                      </a:lnTo>
                      <a:close/>
                      <a:moveTo>
                        <a:pt x="21614" y="1018"/>
                      </a:moveTo>
                      <a:lnTo>
                        <a:pt x="21631" y="997"/>
                      </a:lnTo>
                      <a:lnTo>
                        <a:pt x="21619" y="981"/>
                      </a:lnTo>
                      <a:lnTo>
                        <a:pt x="21635" y="959"/>
                      </a:lnTo>
                      <a:lnTo>
                        <a:pt x="21640" y="981"/>
                      </a:lnTo>
                      <a:lnTo>
                        <a:pt x="21668" y="985"/>
                      </a:lnTo>
                      <a:lnTo>
                        <a:pt x="21652" y="1002"/>
                      </a:lnTo>
                      <a:lnTo>
                        <a:pt x="21657" y="1014"/>
                      </a:lnTo>
                      <a:lnTo>
                        <a:pt x="21652" y="1018"/>
                      </a:lnTo>
                      <a:lnTo>
                        <a:pt x="21614" y="1018"/>
                      </a:lnTo>
                      <a:lnTo>
                        <a:pt x="21614" y="1018"/>
                      </a:lnTo>
                      <a:lnTo>
                        <a:pt x="21614" y="1018"/>
                      </a:lnTo>
                      <a:close/>
                      <a:moveTo>
                        <a:pt x="22391" y="985"/>
                      </a:moveTo>
                      <a:lnTo>
                        <a:pt x="22408" y="1002"/>
                      </a:lnTo>
                      <a:lnTo>
                        <a:pt x="22396" y="1014"/>
                      </a:lnTo>
                      <a:lnTo>
                        <a:pt x="22424" y="1030"/>
                      </a:lnTo>
                      <a:lnTo>
                        <a:pt x="22450" y="1030"/>
                      </a:lnTo>
                      <a:lnTo>
                        <a:pt x="22439" y="1030"/>
                      </a:lnTo>
                      <a:lnTo>
                        <a:pt x="22450" y="1014"/>
                      </a:lnTo>
                      <a:lnTo>
                        <a:pt x="22521" y="1018"/>
                      </a:lnTo>
                      <a:lnTo>
                        <a:pt x="22538" y="1018"/>
                      </a:lnTo>
                      <a:lnTo>
                        <a:pt x="22531" y="1035"/>
                      </a:lnTo>
                      <a:lnTo>
                        <a:pt x="22538" y="1042"/>
                      </a:lnTo>
                      <a:lnTo>
                        <a:pt x="22590" y="1035"/>
                      </a:lnTo>
                      <a:lnTo>
                        <a:pt x="22644" y="1042"/>
                      </a:lnTo>
                      <a:lnTo>
                        <a:pt x="22665" y="1070"/>
                      </a:lnTo>
                      <a:lnTo>
                        <a:pt x="22698" y="1058"/>
                      </a:lnTo>
                      <a:lnTo>
                        <a:pt x="22682" y="1075"/>
                      </a:lnTo>
                      <a:lnTo>
                        <a:pt x="22677" y="1092"/>
                      </a:lnTo>
                      <a:lnTo>
                        <a:pt x="22613" y="1113"/>
                      </a:lnTo>
                      <a:lnTo>
                        <a:pt x="22514" y="1108"/>
                      </a:lnTo>
                      <a:lnTo>
                        <a:pt x="22358" y="1042"/>
                      </a:lnTo>
                      <a:lnTo>
                        <a:pt x="22387" y="997"/>
                      </a:lnTo>
                      <a:lnTo>
                        <a:pt x="22391" y="985"/>
                      </a:lnTo>
                      <a:lnTo>
                        <a:pt x="22391" y="985"/>
                      </a:lnTo>
                      <a:lnTo>
                        <a:pt x="22391" y="985"/>
                      </a:lnTo>
                      <a:close/>
                      <a:moveTo>
                        <a:pt x="17877" y="1002"/>
                      </a:moveTo>
                      <a:lnTo>
                        <a:pt x="17872" y="1014"/>
                      </a:lnTo>
                      <a:lnTo>
                        <a:pt x="17889" y="1030"/>
                      </a:lnTo>
                      <a:lnTo>
                        <a:pt x="17872" y="1030"/>
                      </a:lnTo>
                      <a:lnTo>
                        <a:pt x="17872" y="1051"/>
                      </a:lnTo>
                      <a:lnTo>
                        <a:pt x="17856" y="1042"/>
                      </a:lnTo>
                      <a:lnTo>
                        <a:pt x="17856" y="1035"/>
                      </a:lnTo>
                      <a:lnTo>
                        <a:pt x="17844" y="1035"/>
                      </a:lnTo>
                      <a:lnTo>
                        <a:pt x="17835" y="1030"/>
                      </a:lnTo>
                      <a:lnTo>
                        <a:pt x="17877" y="1002"/>
                      </a:lnTo>
                      <a:lnTo>
                        <a:pt x="17877" y="1002"/>
                      </a:lnTo>
                      <a:lnTo>
                        <a:pt x="17877" y="1002"/>
                      </a:lnTo>
                      <a:close/>
                      <a:moveTo>
                        <a:pt x="18217" y="1075"/>
                      </a:moveTo>
                      <a:lnTo>
                        <a:pt x="18222" y="1087"/>
                      </a:lnTo>
                      <a:lnTo>
                        <a:pt x="18196" y="1092"/>
                      </a:lnTo>
                      <a:lnTo>
                        <a:pt x="18201" y="1096"/>
                      </a:lnTo>
                      <a:lnTo>
                        <a:pt x="18163" y="1092"/>
                      </a:lnTo>
                      <a:lnTo>
                        <a:pt x="18217" y="1075"/>
                      </a:lnTo>
                      <a:lnTo>
                        <a:pt x="18217" y="1075"/>
                      </a:lnTo>
                      <a:lnTo>
                        <a:pt x="18217" y="1075"/>
                      </a:lnTo>
                      <a:close/>
                      <a:moveTo>
                        <a:pt x="18109" y="1108"/>
                      </a:moveTo>
                      <a:lnTo>
                        <a:pt x="18125" y="1113"/>
                      </a:lnTo>
                      <a:lnTo>
                        <a:pt x="18087" y="1113"/>
                      </a:lnTo>
                      <a:lnTo>
                        <a:pt x="18109" y="1108"/>
                      </a:lnTo>
                      <a:lnTo>
                        <a:pt x="18109" y="1108"/>
                      </a:lnTo>
                      <a:lnTo>
                        <a:pt x="18109" y="1108"/>
                      </a:lnTo>
                      <a:close/>
                      <a:moveTo>
                        <a:pt x="17672" y="1129"/>
                      </a:moveTo>
                      <a:lnTo>
                        <a:pt x="17700" y="1129"/>
                      </a:lnTo>
                      <a:lnTo>
                        <a:pt x="17693" y="1146"/>
                      </a:lnTo>
                      <a:lnTo>
                        <a:pt x="17672" y="1129"/>
                      </a:lnTo>
                      <a:lnTo>
                        <a:pt x="17672" y="1129"/>
                      </a:lnTo>
                      <a:lnTo>
                        <a:pt x="17672" y="1129"/>
                      </a:lnTo>
                      <a:close/>
                      <a:moveTo>
                        <a:pt x="18125" y="1141"/>
                      </a:moveTo>
                      <a:lnTo>
                        <a:pt x="18104" y="1153"/>
                      </a:lnTo>
                      <a:lnTo>
                        <a:pt x="18087" y="1146"/>
                      </a:lnTo>
                      <a:lnTo>
                        <a:pt x="18125" y="1141"/>
                      </a:lnTo>
                      <a:lnTo>
                        <a:pt x="18125" y="1141"/>
                      </a:lnTo>
                      <a:lnTo>
                        <a:pt x="18125" y="1141"/>
                      </a:lnTo>
                      <a:close/>
                      <a:moveTo>
                        <a:pt x="18142" y="1153"/>
                      </a:moveTo>
                      <a:lnTo>
                        <a:pt x="18125" y="1153"/>
                      </a:lnTo>
                      <a:lnTo>
                        <a:pt x="18130" y="1141"/>
                      </a:lnTo>
                      <a:lnTo>
                        <a:pt x="18163" y="1146"/>
                      </a:lnTo>
                      <a:lnTo>
                        <a:pt x="18142" y="1153"/>
                      </a:lnTo>
                      <a:lnTo>
                        <a:pt x="18142" y="1153"/>
                      </a:lnTo>
                      <a:lnTo>
                        <a:pt x="18142" y="1153"/>
                      </a:lnTo>
                      <a:close/>
                      <a:moveTo>
                        <a:pt x="20020" y="1207"/>
                      </a:moveTo>
                      <a:lnTo>
                        <a:pt x="19982" y="1203"/>
                      </a:lnTo>
                      <a:lnTo>
                        <a:pt x="19930" y="1170"/>
                      </a:lnTo>
                      <a:lnTo>
                        <a:pt x="19961" y="1170"/>
                      </a:lnTo>
                      <a:lnTo>
                        <a:pt x="19977" y="1141"/>
                      </a:lnTo>
                      <a:lnTo>
                        <a:pt x="20069" y="1162"/>
                      </a:lnTo>
                      <a:lnTo>
                        <a:pt x="20053" y="1186"/>
                      </a:lnTo>
                      <a:lnTo>
                        <a:pt x="20020" y="1207"/>
                      </a:lnTo>
                      <a:lnTo>
                        <a:pt x="20020" y="1207"/>
                      </a:lnTo>
                      <a:lnTo>
                        <a:pt x="20020" y="1207"/>
                      </a:lnTo>
                      <a:close/>
                      <a:moveTo>
                        <a:pt x="18054" y="1146"/>
                      </a:moveTo>
                      <a:lnTo>
                        <a:pt x="18071" y="1153"/>
                      </a:lnTo>
                      <a:lnTo>
                        <a:pt x="18050" y="1153"/>
                      </a:lnTo>
                      <a:lnTo>
                        <a:pt x="18054" y="1162"/>
                      </a:lnTo>
                      <a:lnTo>
                        <a:pt x="18033" y="1153"/>
                      </a:lnTo>
                      <a:lnTo>
                        <a:pt x="18054" y="1146"/>
                      </a:lnTo>
                      <a:lnTo>
                        <a:pt x="18054" y="1146"/>
                      </a:lnTo>
                      <a:lnTo>
                        <a:pt x="18054" y="1146"/>
                      </a:lnTo>
                      <a:close/>
                      <a:moveTo>
                        <a:pt x="20246" y="1179"/>
                      </a:moveTo>
                      <a:lnTo>
                        <a:pt x="20246" y="1162"/>
                      </a:lnTo>
                      <a:lnTo>
                        <a:pt x="20263" y="1179"/>
                      </a:lnTo>
                      <a:lnTo>
                        <a:pt x="20246" y="1179"/>
                      </a:lnTo>
                      <a:lnTo>
                        <a:pt x="20246" y="1179"/>
                      </a:lnTo>
                      <a:lnTo>
                        <a:pt x="20246" y="1179"/>
                      </a:lnTo>
                      <a:close/>
                      <a:moveTo>
                        <a:pt x="21964" y="1236"/>
                      </a:moveTo>
                      <a:lnTo>
                        <a:pt x="21942" y="1219"/>
                      </a:lnTo>
                      <a:lnTo>
                        <a:pt x="21942" y="1195"/>
                      </a:lnTo>
                      <a:lnTo>
                        <a:pt x="21980" y="1179"/>
                      </a:lnTo>
                      <a:lnTo>
                        <a:pt x="22013" y="1195"/>
                      </a:lnTo>
                      <a:lnTo>
                        <a:pt x="22009" y="1219"/>
                      </a:lnTo>
                      <a:lnTo>
                        <a:pt x="21964" y="1236"/>
                      </a:lnTo>
                      <a:lnTo>
                        <a:pt x="21964" y="1236"/>
                      </a:lnTo>
                      <a:lnTo>
                        <a:pt x="21964" y="1236"/>
                      </a:lnTo>
                      <a:close/>
                      <a:moveTo>
                        <a:pt x="21614" y="1186"/>
                      </a:moveTo>
                      <a:lnTo>
                        <a:pt x="21657" y="1207"/>
                      </a:lnTo>
                      <a:lnTo>
                        <a:pt x="21673" y="1224"/>
                      </a:lnTo>
                      <a:lnTo>
                        <a:pt x="21657" y="1236"/>
                      </a:lnTo>
                      <a:lnTo>
                        <a:pt x="21614" y="1195"/>
                      </a:lnTo>
                      <a:lnTo>
                        <a:pt x="21614" y="1186"/>
                      </a:lnTo>
                      <a:lnTo>
                        <a:pt x="21614" y="1186"/>
                      </a:lnTo>
                      <a:lnTo>
                        <a:pt x="21614" y="1186"/>
                      </a:lnTo>
                      <a:close/>
                      <a:moveTo>
                        <a:pt x="18125" y="1195"/>
                      </a:moveTo>
                      <a:lnTo>
                        <a:pt x="18109" y="1203"/>
                      </a:lnTo>
                      <a:lnTo>
                        <a:pt x="18116" y="1195"/>
                      </a:lnTo>
                      <a:lnTo>
                        <a:pt x="18104" y="1195"/>
                      </a:lnTo>
                      <a:lnTo>
                        <a:pt x="18125" y="1195"/>
                      </a:lnTo>
                      <a:lnTo>
                        <a:pt x="18125" y="1195"/>
                      </a:lnTo>
                      <a:lnTo>
                        <a:pt x="18125" y="1195"/>
                      </a:lnTo>
                      <a:close/>
                      <a:moveTo>
                        <a:pt x="17910" y="1195"/>
                      </a:moveTo>
                      <a:lnTo>
                        <a:pt x="17915" y="1203"/>
                      </a:lnTo>
                      <a:lnTo>
                        <a:pt x="17889" y="1203"/>
                      </a:lnTo>
                      <a:lnTo>
                        <a:pt x="17910" y="1195"/>
                      </a:lnTo>
                      <a:lnTo>
                        <a:pt x="17910" y="1195"/>
                      </a:lnTo>
                      <a:lnTo>
                        <a:pt x="17910" y="1195"/>
                      </a:lnTo>
                      <a:close/>
                      <a:moveTo>
                        <a:pt x="17927" y="1207"/>
                      </a:moveTo>
                      <a:lnTo>
                        <a:pt x="17948" y="1195"/>
                      </a:lnTo>
                      <a:lnTo>
                        <a:pt x="17979" y="1207"/>
                      </a:lnTo>
                      <a:lnTo>
                        <a:pt x="17927" y="1207"/>
                      </a:lnTo>
                      <a:lnTo>
                        <a:pt x="17927" y="1207"/>
                      </a:lnTo>
                      <a:lnTo>
                        <a:pt x="17927" y="1207"/>
                      </a:lnTo>
                      <a:close/>
                      <a:moveTo>
                        <a:pt x="18002" y="1219"/>
                      </a:moveTo>
                      <a:lnTo>
                        <a:pt x="18033" y="1207"/>
                      </a:lnTo>
                      <a:lnTo>
                        <a:pt x="18033" y="1224"/>
                      </a:lnTo>
                      <a:lnTo>
                        <a:pt x="18002" y="1219"/>
                      </a:lnTo>
                      <a:lnTo>
                        <a:pt x="18002" y="1219"/>
                      </a:lnTo>
                      <a:lnTo>
                        <a:pt x="18002" y="1219"/>
                      </a:lnTo>
                      <a:close/>
                      <a:moveTo>
                        <a:pt x="20846" y="1240"/>
                      </a:moveTo>
                      <a:lnTo>
                        <a:pt x="20830" y="1236"/>
                      </a:lnTo>
                      <a:lnTo>
                        <a:pt x="20858" y="1236"/>
                      </a:lnTo>
                      <a:lnTo>
                        <a:pt x="20846" y="1240"/>
                      </a:lnTo>
                      <a:lnTo>
                        <a:pt x="20846" y="1240"/>
                      </a:lnTo>
                      <a:lnTo>
                        <a:pt x="20846" y="1240"/>
                      </a:lnTo>
                      <a:close/>
                      <a:moveTo>
                        <a:pt x="22013" y="1236"/>
                      </a:moveTo>
                      <a:lnTo>
                        <a:pt x="22072" y="1236"/>
                      </a:lnTo>
                      <a:lnTo>
                        <a:pt x="22115" y="1240"/>
                      </a:lnTo>
                      <a:lnTo>
                        <a:pt x="22174" y="1290"/>
                      </a:lnTo>
                      <a:lnTo>
                        <a:pt x="22181" y="1297"/>
                      </a:lnTo>
                      <a:lnTo>
                        <a:pt x="22174" y="1307"/>
                      </a:lnTo>
                      <a:lnTo>
                        <a:pt x="22181" y="1330"/>
                      </a:lnTo>
                      <a:lnTo>
                        <a:pt x="22098" y="1318"/>
                      </a:lnTo>
                      <a:lnTo>
                        <a:pt x="21992" y="1297"/>
                      </a:lnTo>
                      <a:lnTo>
                        <a:pt x="21926" y="1314"/>
                      </a:lnTo>
                      <a:lnTo>
                        <a:pt x="21909" y="1307"/>
                      </a:lnTo>
                      <a:lnTo>
                        <a:pt x="21964" y="1290"/>
                      </a:lnTo>
                      <a:lnTo>
                        <a:pt x="22013" y="1236"/>
                      </a:lnTo>
                      <a:lnTo>
                        <a:pt x="22013" y="1236"/>
                      </a:lnTo>
                      <a:lnTo>
                        <a:pt x="22013" y="1236"/>
                      </a:lnTo>
                      <a:close/>
                      <a:moveTo>
                        <a:pt x="20776" y="1330"/>
                      </a:moveTo>
                      <a:lnTo>
                        <a:pt x="20754" y="1307"/>
                      </a:lnTo>
                      <a:lnTo>
                        <a:pt x="20754" y="1281"/>
                      </a:lnTo>
                      <a:lnTo>
                        <a:pt x="20771" y="1264"/>
                      </a:lnTo>
                      <a:lnTo>
                        <a:pt x="20809" y="1273"/>
                      </a:lnTo>
                      <a:lnTo>
                        <a:pt x="20804" y="1252"/>
                      </a:lnTo>
                      <a:lnTo>
                        <a:pt x="20820" y="1264"/>
                      </a:lnTo>
                      <a:lnTo>
                        <a:pt x="20842" y="1252"/>
                      </a:lnTo>
                      <a:lnTo>
                        <a:pt x="20880" y="1273"/>
                      </a:lnTo>
                      <a:lnTo>
                        <a:pt x="20896" y="1264"/>
                      </a:lnTo>
                      <a:lnTo>
                        <a:pt x="20901" y="1281"/>
                      </a:lnTo>
                      <a:lnTo>
                        <a:pt x="20927" y="1281"/>
                      </a:lnTo>
                      <a:lnTo>
                        <a:pt x="20917" y="1297"/>
                      </a:lnTo>
                      <a:lnTo>
                        <a:pt x="20917" y="1307"/>
                      </a:lnTo>
                      <a:lnTo>
                        <a:pt x="20972" y="1281"/>
                      </a:lnTo>
                      <a:lnTo>
                        <a:pt x="20981" y="1290"/>
                      </a:lnTo>
                      <a:lnTo>
                        <a:pt x="20965" y="1307"/>
                      </a:lnTo>
                      <a:lnTo>
                        <a:pt x="20988" y="1307"/>
                      </a:lnTo>
                      <a:lnTo>
                        <a:pt x="21002" y="1347"/>
                      </a:lnTo>
                      <a:lnTo>
                        <a:pt x="20972" y="1375"/>
                      </a:lnTo>
                      <a:lnTo>
                        <a:pt x="20981" y="1384"/>
                      </a:lnTo>
                      <a:lnTo>
                        <a:pt x="20972" y="1425"/>
                      </a:lnTo>
                      <a:lnTo>
                        <a:pt x="20981" y="1441"/>
                      </a:lnTo>
                      <a:lnTo>
                        <a:pt x="20965" y="1458"/>
                      </a:lnTo>
                      <a:lnTo>
                        <a:pt x="20863" y="1401"/>
                      </a:lnTo>
                      <a:lnTo>
                        <a:pt x="20700" y="1363"/>
                      </a:lnTo>
                      <a:lnTo>
                        <a:pt x="20717" y="1351"/>
                      </a:lnTo>
                      <a:lnTo>
                        <a:pt x="20754" y="1368"/>
                      </a:lnTo>
                      <a:lnTo>
                        <a:pt x="20766" y="1363"/>
                      </a:lnTo>
                      <a:lnTo>
                        <a:pt x="20771" y="1335"/>
                      </a:lnTo>
                      <a:lnTo>
                        <a:pt x="20787" y="1330"/>
                      </a:lnTo>
                      <a:lnTo>
                        <a:pt x="20776" y="1330"/>
                      </a:lnTo>
                      <a:lnTo>
                        <a:pt x="20776" y="1330"/>
                      </a:lnTo>
                      <a:lnTo>
                        <a:pt x="20776" y="1330"/>
                      </a:lnTo>
                      <a:close/>
                      <a:moveTo>
                        <a:pt x="18213" y="1264"/>
                      </a:moveTo>
                      <a:lnTo>
                        <a:pt x="18201" y="1273"/>
                      </a:lnTo>
                      <a:lnTo>
                        <a:pt x="18168" y="1273"/>
                      </a:lnTo>
                      <a:lnTo>
                        <a:pt x="18213" y="1264"/>
                      </a:lnTo>
                      <a:lnTo>
                        <a:pt x="18213" y="1264"/>
                      </a:lnTo>
                      <a:lnTo>
                        <a:pt x="18213" y="1264"/>
                      </a:lnTo>
                      <a:close/>
                      <a:moveTo>
                        <a:pt x="17747" y="1290"/>
                      </a:moveTo>
                      <a:lnTo>
                        <a:pt x="17731" y="1281"/>
                      </a:lnTo>
                      <a:lnTo>
                        <a:pt x="17752" y="1281"/>
                      </a:lnTo>
                      <a:lnTo>
                        <a:pt x="17747" y="1290"/>
                      </a:lnTo>
                      <a:lnTo>
                        <a:pt x="17747" y="1290"/>
                      </a:lnTo>
                      <a:lnTo>
                        <a:pt x="17747" y="1290"/>
                      </a:lnTo>
                      <a:close/>
                      <a:moveTo>
                        <a:pt x="17402" y="1297"/>
                      </a:moveTo>
                      <a:lnTo>
                        <a:pt x="17412" y="1281"/>
                      </a:lnTo>
                      <a:lnTo>
                        <a:pt x="17457" y="1281"/>
                      </a:lnTo>
                      <a:lnTo>
                        <a:pt x="17440" y="1297"/>
                      </a:lnTo>
                      <a:lnTo>
                        <a:pt x="17407" y="1297"/>
                      </a:lnTo>
                      <a:lnTo>
                        <a:pt x="17412" y="1290"/>
                      </a:lnTo>
                      <a:lnTo>
                        <a:pt x="17402" y="1297"/>
                      </a:lnTo>
                      <a:lnTo>
                        <a:pt x="17402" y="1297"/>
                      </a:lnTo>
                      <a:lnTo>
                        <a:pt x="17402" y="1297"/>
                      </a:lnTo>
                      <a:close/>
                      <a:moveTo>
                        <a:pt x="21002" y="1347"/>
                      </a:moveTo>
                      <a:lnTo>
                        <a:pt x="21002" y="1335"/>
                      </a:lnTo>
                      <a:lnTo>
                        <a:pt x="20993" y="1318"/>
                      </a:lnTo>
                      <a:lnTo>
                        <a:pt x="20993" y="1307"/>
                      </a:lnTo>
                      <a:lnTo>
                        <a:pt x="21002" y="1297"/>
                      </a:lnTo>
                      <a:lnTo>
                        <a:pt x="21009" y="1307"/>
                      </a:lnTo>
                      <a:lnTo>
                        <a:pt x="21019" y="1290"/>
                      </a:lnTo>
                      <a:lnTo>
                        <a:pt x="21009" y="1290"/>
                      </a:lnTo>
                      <a:lnTo>
                        <a:pt x="21026" y="1281"/>
                      </a:lnTo>
                      <a:lnTo>
                        <a:pt x="21090" y="1290"/>
                      </a:lnTo>
                      <a:lnTo>
                        <a:pt x="21094" y="1307"/>
                      </a:lnTo>
                      <a:lnTo>
                        <a:pt x="21116" y="1314"/>
                      </a:lnTo>
                      <a:lnTo>
                        <a:pt x="21111" y="1318"/>
                      </a:lnTo>
                      <a:lnTo>
                        <a:pt x="21154" y="1335"/>
                      </a:lnTo>
                      <a:lnTo>
                        <a:pt x="21149" y="1351"/>
                      </a:lnTo>
                      <a:lnTo>
                        <a:pt x="21170" y="1347"/>
                      </a:lnTo>
                      <a:lnTo>
                        <a:pt x="21154" y="1363"/>
                      </a:lnTo>
                      <a:lnTo>
                        <a:pt x="21111" y="1368"/>
                      </a:lnTo>
                      <a:lnTo>
                        <a:pt x="21111" y="1384"/>
                      </a:lnTo>
                      <a:lnTo>
                        <a:pt x="20993" y="1425"/>
                      </a:lnTo>
                      <a:lnTo>
                        <a:pt x="20988" y="1429"/>
                      </a:lnTo>
                      <a:lnTo>
                        <a:pt x="20993" y="1441"/>
                      </a:lnTo>
                      <a:lnTo>
                        <a:pt x="20972" y="1425"/>
                      </a:lnTo>
                      <a:lnTo>
                        <a:pt x="20981" y="1401"/>
                      </a:lnTo>
                      <a:lnTo>
                        <a:pt x="20988" y="1384"/>
                      </a:lnTo>
                      <a:lnTo>
                        <a:pt x="20981" y="1368"/>
                      </a:lnTo>
                      <a:lnTo>
                        <a:pt x="21002" y="1347"/>
                      </a:lnTo>
                      <a:lnTo>
                        <a:pt x="21002" y="1347"/>
                      </a:lnTo>
                      <a:lnTo>
                        <a:pt x="21002" y="1347"/>
                      </a:lnTo>
                      <a:close/>
                      <a:moveTo>
                        <a:pt x="17013" y="1351"/>
                      </a:moveTo>
                      <a:lnTo>
                        <a:pt x="17029" y="1330"/>
                      </a:lnTo>
                      <a:lnTo>
                        <a:pt x="17024" y="1307"/>
                      </a:lnTo>
                      <a:lnTo>
                        <a:pt x="17062" y="1290"/>
                      </a:lnTo>
                      <a:lnTo>
                        <a:pt x="17117" y="1297"/>
                      </a:lnTo>
                      <a:lnTo>
                        <a:pt x="17088" y="1318"/>
                      </a:lnTo>
                      <a:lnTo>
                        <a:pt x="17133" y="1314"/>
                      </a:lnTo>
                      <a:lnTo>
                        <a:pt x="17143" y="1330"/>
                      </a:lnTo>
                      <a:lnTo>
                        <a:pt x="17050" y="1351"/>
                      </a:lnTo>
                      <a:lnTo>
                        <a:pt x="17013" y="1351"/>
                      </a:lnTo>
                      <a:lnTo>
                        <a:pt x="17013" y="1351"/>
                      </a:lnTo>
                      <a:lnTo>
                        <a:pt x="17013" y="1351"/>
                      </a:lnTo>
                      <a:close/>
                      <a:moveTo>
                        <a:pt x="16134" y="1684"/>
                      </a:moveTo>
                      <a:lnTo>
                        <a:pt x="16089" y="1680"/>
                      </a:lnTo>
                      <a:lnTo>
                        <a:pt x="16080" y="1668"/>
                      </a:lnTo>
                      <a:lnTo>
                        <a:pt x="16080" y="1663"/>
                      </a:lnTo>
                      <a:lnTo>
                        <a:pt x="16058" y="1668"/>
                      </a:lnTo>
                      <a:lnTo>
                        <a:pt x="16075" y="1668"/>
                      </a:lnTo>
                      <a:lnTo>
                        <a:pt x="16089" y="1684"/>
                      </a:lnTo>
                      <a:lnTo>
                        <a:pt x="16075" y="1684"/>
                      </a:lnTo>
                      <a:lnTo>
                        <a:pt x="16063" y="1684"/>
                      </a:lnTo>
                      <a:lnTo>
                        <a:pt x="16080" y="1684"/>
                      </a:lnTo>
                      <a:lnTo>
                        <a:pt x="16037" y="1668"/>
                      </a:lnTo>
                      <a:lnTo>
                        <a:pt x="16047" y="1684"/>
                      </a:lnTo>
                      <a:lnTo>
                        <a:pt x="16037" y="1684"/>
                      </a:lnTo>
                      <a:lnTo>
                        <a:pt x="16021" y="1680"/>
                      </a:lnTo>
                      <a:lnTo>
                        <a:pt x="16025" y="1668"/>
                      </a:lnTo>
                      <a:lnTo>
                        <a:pt x="16004" y="1663"/>
                      </a:lnTo>
                      <a:lnTo>
                        <a:pt x="15983" y="1684"/>
                      </a:lnTo>
                      <a:lnTo>
                        <a:pt x="15938" y="1656"/>
                      </a:lnTo>
                      <a:lnTo>
                        <a:pt x="15933" y="1663"/>
                      </a:lnTo>
                      <a:lnTo>
                        <a:pt x="15954" y="1668"/>
                      </a:lnTo>
                      <a:lnTo>
                        <a:pt x="15928" y="1656"/>
                      </a:lnTo>
                      <a:lnTo>
                        <a:pt x="15862" y="1656"/>
                      </a:lnTo>
                      <a:lnTo>
                        <a:pt x="15858" y="1647"/>
                      </a:lnTo>
                      <a:lnTo>
                        <a:pt x="15879" y="1647"/>
                      </a:lnTo>
                      <a:lnTo>
                        <a:pt x="15886" y="1640"/>
                      </a:lnTo>
                      <a:lnTo>
                        <a:pt x="15862" y="1614"/>
                      </a:lnTo>
                      <a:lnTo>
                        <a:pt x="15917" y="1607"/>
                      </a:lnTo>
                      <a:lnTo>
                        <a:pt x="15862" y="1602"/>
                      </a:lnTo>
                      <a:lnTo>
                        <a:pt x="15862" y="1590"/>
                      </a:lnTo>
                      <a:lnTo>
                        <a:pt x="15879" y="1573"/>
                      </a:lnTo>
                      <a:lnTo>
                        <a:pt x="15895" y="1569"/>
                      </a:lnTo>
                      <a:lnTo>
                        <a:pt x="15862" y="1590"/>
                      </a:lnTo>
                      <a:lnTo>
                        <a:pt x="15848" y="1569"/>
                      </a:lnTo>
                      <a:lnTo>
                        <a:pt x="15862" y="1557"/>
                      </a:lnTo>
                      <a:lnTo>
                        <a:pt x="15858" y="1552"/>
                      </a:lnTo>
                      <a:lnTo>
                        <a:pt x="15824" y="1573"/>
                      </a:lnTo>
                      <a:lnTo>
                        <a:pt x="15803" y="1557"/>
                      </a:lnTo>
                      <a:lnTo>
                        <a:pt x="15803" y="1552"/>
                      </a:lnTo>
                      <a:lnTo>
                        <a:pt x="15787" y="1569"/>
                      </a:lnTo>
                      <a:lnTo>
                        <a:pt x="15777" y="1552"/>
                      </a:lnTo>
                      <a:lnTo>
                        <a:pt x="15772" y="1557"/>
                      </a:lnTo>
                      <a:lnTo>
                        <a:pt x="15777" y="1557"/>
                      </a:lnTo>
                      <a:lnTo>
                        <a:pt x="15749" y="1569"/>
                      </a:lnTo>
                      <a:lnTo>
                        <a:pt x="15735" y="1552"/>
                      </a:lnTo>
                      <a:lnTo>
                        <a:pt x="15718" y="1512"/>
                      </a:lnTo>
                      <a:lnTo>
                        <a:pt x="15735" y="1491"/>
                      </a:lnTo>
                      <a:lnTo>
                        <a:pt x="15749" y="1474"/>
                      </a:lnTo>
                      <a:lnTo>
                        <a:pt x="15787" y="1491"/>
                      </a:lnTo>
                      <a:lnTo>
                        <a:pt x="15787" y="1462"/>
                      </a:lnTo>
                      <a:lnTo>
                        <a:pt x="15820" y="1446"/>
                      </a:lnTo>
                      <a:lnTo>
                        <a:pt x="15810" y="1429"/>
                      </a:lnTo>
                      <a:lnTo>
                        <a:pt x="15841" y="1418"/>
                      </a:lnTo>
                      <a:lnTo>
                        <a:pt x="15810" y="1418"/>
                      </a:lnTo>
                      <a:lnTo>
                        <a:pt x="15820" y="1408"/>
                      </a:lnTo>
                      <a:lnTo>
                        <a:pt x="15848" y="1408"/>
                      </a:lnTo>
                      <a:lnTo>
                        <a:pt x="15787" y="1392"/>
                      </a:lnTo>
                      <a:lnTo>
                        <a:pt x="15832" y="1368"/>
                      </a:lnTo>
                      <a:lnTo>
                        <a:pt x="15858" y="1375"/>
                      </a:lnTo>
                      <a:lnTo>
                        <a:pt x="15841" y="1363"/>
                      </a:lnTo>
                      <a:lnTo>
                        <a:pt x="15858" y="1363"/>
                      </a:lnTo>
                      <a:lnTo>
                        <a:pt x="15841" y="1347"/>
                      </a:lnTo>
                      <a:lnTo>
                        <a:pt x="15858" y="1330"/>
                      </a:lnTo>
                      <a:lnTo>
                        <a:pt x="15886" y="1314"/>
                      </a:lnTo>
                      <a:lnTo>
                        <a:pt x="15917" y="1318"/>
                      </a:lnTo>
                      <a:lnTo>
                        <a:pt x="15966" y="1297"/>
                      </a:lnTo>
                      <a:lnTo>
                        <a:pt x="16075" y="1330"/>
                      </a:lnTo>
                      <a:lnTo>
                        <a:pt x="16080" y="1335"/>
                      </a:lnTo>
                      <a:lnTo>
                        <a:pt x="16025" y="1351"/>
                      </a:lnTo>
                      <a:lnTo>
                        <a:pt x="16075" y="1351"/>
                      </a:lnTo>
                      <a:lnTo>
                        <a:pt x="16063" y="1363"/>
                      </a:lnTo>
                      <a:lnTo>
                        <a:pt x="16021" y="1363"/>
                      </a:lnTo>
                      <a:lnTo>
                        <a:pt x="16058" y="1363"/>
                      </a:lnTo>
                      <a:lnTo>
                        <a:pt x="16047" y="1384"/>
                      </a:lnTo>
                      <a:lnTo>
                        <a:pt x="16004" y="1384"/>
                      </a:lnTo>
                      <a:lnTo>
                        <a:pt x="16042" y="1401"/>
                      </a:lnTo>
                      <a:lnTo>
                        <a:pt x="16025" y="1408"/>
                      </a:lnTo>
                      <a:lnTo>
                        <a:pt x="16021" y="1425"/>
                      </a:lnTo>
                      <a:lnTo>
                        <a:pt x="15987" y="1418"/>
                      </a:lnTo>
                      <a:lnTo>
                        <a:pt x="16009" y="1425"/>
                      </a:lnTo>
                      <a:lnTo>
                        <a:pt x="15983" y="1429"/>
                      </a:lnTo>
                      <a:lnTo>
                        <a:pt x="16004" y="1429"/>
                      </a:lnTo>
                      <a:lnTo>
                        <a:pt x="16004" y="1458"/>
                      </a:lnTo>
                      <a:lnTo>
                        <a:pt x="16009" y="1474"/>
                      </a:lnTo>
                      <a:lnTo>
                        <a:pt x="15987" y="1503"/>
                      </a:lnTo>
                      <a:lnTo>
                        <a:pt x="16009" y="1512"/>
                      </a:lnTo>
                      <a:lnTo>
                        <a:pt x="16021" y="1545"/>
                      </a:lnTo>
                      <a:lnTo>
                        <a:pt x="16058" y="1602"/>
                      </a:lnTo>
                      <a:lnTo>
                        <a:pt x="16117" y="1647"/>
                      </a:lnTo>
                      <a:lnTo>
                        <a:pt x="16155" y="1663"/>
                      </a:lnTo>
                      <a:lnTo>
                        <a:pt x="16143" y="1680"/>
                      </a:lnTo>
                      <a:lnTo>
                        <a:pt x="16096" y="1668"/>
                      </a:lnTo>
                      <a:lnTo>
                        <a:pt x="16134" y="1684"/>
                      </a:lnTo>
                      <a:lnTo>
                        <a:pt x="16134" y="1684"/>
                      </a:lnTo>
                      <a:lnTo>
                        <a:pt x="16134" y="1684"/>
                      </a:lnTo>
                      <a:close/>
                      <a:moveTo>
                        <a:pt x="17105" y="1314"/>
                      </a:moveTo>
                      <a:lnTo>
                        <a:pt x="17121" y="1307"/>
                      </a:lnTo>
                      <a:lnTo>
                        <a:pt x="17105" y="1318"/>
                      </a:lnTo>
                      <a:lnTo>
                        <a:pt x="17105" y="1314"/>
                      </a:lnTo>
                      <a:lnTo>
                        <a:pt x="17105" y="1314"/>
                      </a:lnTo>
                      <a:lnTo>
                        <a:pt x="17105" y="1314"/>
                      </a:lnTo>
                      <a:close/>
                      <a:moveTo>
                        <a:pt x="17461" y="1335"/>
                      </a:moveTo>
                      <a:lnTo>
                        <a:pt x="17457" y="1330"/>
                      </a:lnTo>
                      <a:lnTo>
                        <a:pt x="17499" y="1335"/>
                      </a:lnTo>
                      <a:lnTo>
                        <a:pt x="17461" y="1335"/>
                      </a:lnTo>
                      <a:lnTo>
                        <a:pt x="17461" y="1335"/>
                      </a:lnTo>
                      <a:lnTo>
                        <a:pt x="17461" y="1335"/>
                      </a:lnTo>
                      <a:close/>
                      <a:moveTo>
                        <a:pt x="20535" y="1351"/>
                      </a:moveTo>
                      <a:lnTo>
                        <a:pt x="20506" y="1347"/>
                      </a:lnTo>
                      <a:lnTo>
                        <a:pt x="20523" y="1335"/>
                      </a:lnTo>
                      <a:lnTo>
                        <a:pt x="20549" y="1347"/>
                      </a:lnTo>
                      <a:lnTo>
                        <a:pt x="20535" y="1351"/>
                      </a:lnTo>
                      <a:lnTo>
                        <a:pt x="20535" y="1351"/>
                      </a:lnTo>
                      <a:lnTo>
                        <a:pt x="20535" y="1351"/>
                      </a:lnTo>
                      <a:close/>
                      <a:moveTo>
                        <a:pt x="17315" y="1351"/>
                      </a:moveTo>
                      <a:lnTo>
                        <a:pt x="17336" y="1335"/>
                      </a:lnTo>
                      <a:lnTo>
                        <a:pt x="17369" y="1351"/>
                      </a:lnTo>
                      <a:lnTo>
                        <a:pt x="17353" y="1347"/>
                      </a:lnTo>
                      <a:lnTo>
                        <a:pt x="17353" y="1375"/>
                      </a:lnTo>
                      <a:lnTo>
                        <a:pt x="17315" y="1351"/>
                      </a:lnTo>
                      <a:lnTo>
                        <a:pt x="17315" y="1351"/>
                      </a:lnTo>
                      <a:lnTo>
                        <a:pt x="17315" y="1351"/>
                      </a:lnTo>
                      <a:close/>
                      <a:moveTo>
                        <a:pt x="17629" y="1368"/>
                      </a:moveTo>
                      <a:lnTo>
                        <a:pt x="17672" y="1347"/>
                      </a:lnTo>
                      <a:lnTo>
                        <a:pt x="17693" y="1368"/>
                      </a:lnTo>
                      <a:lnTo>
                        <a:pt x="17693" y="1392"/>
                      </a:lnTo>
                      <a:lnTo>
                        <a:pt x="17683" y="1401"/>
                      </a:lnTo>
                      <a:lnTo>
                        <a:pt x="17629" y="1384"/>
                      </a:lnTo>
                      <a:lnTo>
                        <a:pt x="17629" y="1368"/>
                      </a:lnTo>
                      <a:lnTo>
                        <a:pt x="17629" y="1368"/>
                      </a:lnTo>
                      <a:lnTo>
                        <a:pt x="17629" y="1368"/>
                      </a:lnTo>
                      <a:close/>
                      <a:moveTo>
                        <a:pt x="20695" y="1368"/>
                      </a:moveTo>
                      <a:lnTo>
                        <a:pt x="20787" y="1392"/>
                      </a:lnTo>
                      <a:lnTo>
                        <a:pt x="20724" y="1384"/>
                      </a:lnTo>
                      <a:lnTo>
                        <a:pt x="20695" y="1368"/>
                      </a:lnTo>
                      <a:lnTo>
                        <a:pt x="20695" y="1368"/>
                      </a:lnTo>
                      <a:lnTo>
                        <a:pt x="20695" y="1368"/>
                      </a:lnTo>
                      <a:close/>
                      <a:moveTo>
                        <a:pt x="21170" y="1384"/>
                      </a:moveTo>
                      <a:lnTo>
                        <a:pt x="21111" y="1375"/>
                      </a:lnTo>
                      <a:lnTo>
                        <a:pt x="21149" y="1375"/>
                      </a:lnTo>
                      <a:lnTo>
                        <a:pt x="21182" y="1384"/>
                      </a:lnTo>
                      <a:lnTo>
                        <a:pt x="21170" y="1384"/>
                      </a:lnTo>
                      <a:lnTo>
                        <a:pt x="21170" y="1384"/>
                      </a:lnTo>
                      <a:lnTo>
                        <a:pt x="21170" y="1384"/>
                      </a:lnTo>
                      <a:close/>
                      <a:moveTo>
                        <a:pt x="21040" y="1408"/>
                      </a:moveTo>
                      <a:lnTo>
                        <a:pt x="21111" y="1384"/>
                      </a:lnTo>
                      <a:lnTo>
                        <a:pt x="21187" y="1401"/>
                      </a:lnTo>
                      <a:lnTo>
                        <a:pt x="21040" y="1408"/>
                      </a:lnTo>
                      <a:lnTo>
                        <a:pt x="21040" y="1408"/>
                      </a:lnTo>
                      <a:lnTo>
                        <a:pt x="21040" y="1408"/>
                      </a:lnTo>
                      <a:close/>
                      <a:moveTo>
                        <a:pt x="17223" y="1401"/>
                      </a:moveTo>
                      <a:lnTo>
                        <a:pt x="17239" y="1401"/>
                      </a:lnTo>
                      <a:lnTo>
                        <a:pt x="17239" y="1408"/>
                      </a:lnTo>
                      <a:lnTo>
                        <a:pt x="17223" y="1401"/>
                      </a:lnTo>
                      <a:lnTo>
                        <a:pt x="17223" y="1401"/>
                      </a:lnTo>
                      <a:lnTo>
                        <a:pt x="17223" y="1401"/>
                      </a:lnTo>
                      <a:close/>
                      <a:moveTo>
                        <a:pt x="21102" y="1408"/>
                      </a:moveTo>
                      <a:lnTo>
                        <a:pt x="21144" y="1401"/>
                      </a:lnTo>
                      <a:lnTo>
                        <a:pt x="21154" y="1418"/>
                      </a:lnTo>
                      <a:lnTo>
                        <a:pt x="21144" y="1425"/>
                      </a:lnTo>
                      <a:lnTo>
                        <a:pt x="21102" y="1408"/>
                      </a:lnTo>
                      <a:lnTo>
                        <a:pt x="21102" y="1408"/>
                      </a:lnTo>
                      <a:lnTo>
                        <a:pt x="21102" y="1408"/>
                      </a:lnTo>
                      <a:close/>
                      <a:moveTo>
                        <a:pt x="21002" y="1429"/>
                      </a:moveTo>
                      <a:lnTo>
                        <a:pt x="21002" y="1425"/>
                      </a:lnTo>
                      <a:lnTo>
                        <a:pt x="21078" y="1408"/>
                      </a:lnTo>
                      <a:lnTo>
                        <a:pt x="21144" y="1429"/>
                      </a:lnTo>
                      <a:lnTo>
                        <a:pt x="21182" y="1429"/>
                      </a:lnTo>
                      <a:lnTo>
                        <a:pt x="21198" y="1446"/>
                      </a:lnTo>
                      <a:lnTo>
                        <a:pt x="21187" y="1458"/>
                      </a:lnTo>
                      <a:lnTo>
                        <a:pt x="21203" y="1462"/>
                      </a:lnTo>
                      <a:lnTo>
                        <a:pt x="21182" y="1474"/>
                      </a:lnTo>
                      <a:lnTo>
                        <a:pt x="21198" y="1479"/>
                      </a:lnTo>
                      <a:lnTo>
                        <a:pt x="21187" y="1479"/>
                      </a:lnTo>
                      <a:lnTo>
                        <a:pt x="21149" y="1491"/>
                      </a:lnTo>
                      <a:lnTo>
                        <a:pt x="21064" y="1429"/>
                      </a:lnTo>
                      <a:lnTo>
                        <a:pt x="21002" y="1429"/>
                      </a:lnTo>
                      <a:lnTo>
                        <a:pt x="21002" y="1429"/>
                      </a:lnTo>
                      <a:lnTo>
                        <a:pt x="21002" y="1429"/>
                      </a:lnTo>
                      <a:close/>
                      <a:moveTo>
                        <a:pt x="17511" y="1446"/>
                      </a:moveTo>
                      <a:lnTo>
                        <a:pt x="17563" y="1408"/>
                      </a:lnTo>
                      <a:lnTo>
                        <a:pt x="17617" y="1425"/>
                      </a:lnTo>
                      <a:lnTo>
                        <a:pt x="17570" y="1458"/>
                      </a:lnTo>
                      <a:lnTo>
                        <a:pt x="17520" y="1458"/>
                      </a:lnTo>
                      <a:lnTo>
                        <a:pt x="17511" y="1446"/>
                      </a:lnTo>
                      <a:lnTo>
                        <a:pt x="17511" y="1446"/>
                      </a:lnTo>
                      <a:lnTo>
                        <a:pt x="17511" y="1446"/>
                      </a:lnTo>
                      <a:close/>
                      <a:moveTo>
                        <a:pt x="21791" y="1557"/>
                      </a:moveTo>
                      <a:lnTo>
                        <a:pt x="21775" y="1573"/>
                      </a:lnTo>
                      <a:lnTo>
                        <a:pt x="21720" y="1557"/>
                      </a:lnTo>
                      <a:lnTo>
                        <a:pt x="21775" y="1552"/>
                      </a:lnTo>
                      <a:lnTo>
                        <a:pt x="21791" y="1557"/>
                      </a:lnTo>
                      <a:lnTo>
                        <a:pt x="21791" y="1557"/>
                      </a:lnTo>
                      <a:lnTo>
                        <a:pt x="21791" y="1557"/>
                      </a:lnTo>
                      <a:close/>
                      <a:moveTo>
                        <a:pt x="15832" y="1630"/>
                      </a:moveTo>
                      <a:lnTo>
                        <a:pt x="15810" y="1602"/>
                      </a:lnTo>
                      <a:lnTo>
                        <a:pt x="15777" y="1585"/>
                      </a:lnTo>
                      <a:lnTo>
                        <a:pt x="15810" y="1573"/>
                      </a:lnTo>
                      <a:lnTo>
                        <a:pt x="15832" y="1590"/>
                      </a:lnTo>
                      <a:lnTo>
                        <a:pt x="15810" y="1573"/>
                      </a:lnTo>
                      <a:lnTo>
                        <a:pt x="15820" y="1590"/>
                      </a:lnTo>
                      <a:lnTo>
                        <a:pt x="15848" y="1590"/>
                      </a:lnTo>
                      <a:lnTo>
                        <a:pt x="15848" y="1607"/>
                      </a:lnTo>
                      <a:lnTo>
                        <a:pt x="15832" y="1614"/>
                      </a:lnTo>
                      <a:lnTo>
                        <a:pt x="15841" y="1630"/>
                      </a:lnTo>
                      <a:lnTo>
                        <a:pt x="15832" y="1630"/>
                      </a:lnTo>
                      <a:lnTo>
                        <a:pt x="15832" y="1630"/>
                      </a:lnTo>
                      <a:lnTo>
                        <a:pt x="15832" y="1630"/>
                      </a:lnTo>
                      <a:close/>
                      <a:moveTo>
                        <a:pt x="15848" y="1585"/>
                      </a:moveTo>
                      <a:lnTo>
                        <a:pt x="15841" y="1585"/>
                      </a:lnTo>
                      <a:lnTo>
                        <a:pt x="15858" y="1590"/>
                      </a:lnTo>
                      <a:lnTo>
                        <a:pt x="15848" y="1585"/>
                      </a:lnTo>
                      <a:lnTo>
                        <a:pt x="15848" y="1585"/>
                      </a:lnTo>
                      <a:lnTo>
                        <a:pt x="15848" y="1585"/>
                      </a:lnTo>
                      <a:close/>
                      <a:moveTo>
                        <a:pt x="23383" y="1656"/>
                      </a:moveTo>
                      <a:lnTo>
                        <a:pt x="23374" y="1647"/>
                      </a:lnTo>
                      <a:lnTo>
                        <a:pt x="23362" y="1640"/>
                      </a:lnTo>
                      <a:lnTo>
                        <a:pt x="23383" y="1656"/>
                      </a:lnTo>
                      <a:lnTo>
                        <a:pt x="23383" y="1656"/>
                      </a:lnTo>
                      <a:lnTo>
                        <a:pt x="23383" y="1656"/>
                      </a:lnTo>
                      <a:close/>
                      <a:moveTo>
                        <a:pt x="17941" y="1701"/>
                      </a:moveTo>
                      <a:lnTo>
                        <a:pt x="17948" y="1656"/>
                      </a:lnTo>
                      <a:lnTo>
                        <a:pt x="17953" y="1647"/>
                      </a:lnTo>
                      <a:lnTo>
                        <a:pt x="17969" y="1663"/>
                      </a:lnTo>
                      <a:lnTo>
                        <a:pt x="17953" y="1668"/>
                      </a:lnTo>
                      <a:lnTo>
                        <a:pt x="17953" y="1696"/>
                      </a:lnTo>
                      <a:lnTo>
                        <a:pt x="17941" y="1701"/>
                      </a:lnTo>
                      <a:lnTo>
                        <a:pt x="17941" y="1701"/>
                      </a:lnTo>
                      <a:lnTo>
                        <a:pt x="17941" y="1701"/>
                      </a:lnTo>
                      <a:close/>
                      <a:moveTo>
                        <a:pt x="16117" y="1696"/>
                      </a:moveTo>
                      <a:lnTo>
                        <a:pt x="16101" y="1680"/>
                      </a:lnTo>
                      <a:lnTo>
                        <a:pt x="16127" y="1684"/>
                      </a:lnTo>
                      <a:lnTo>
                        <a:pt x="16117" y="1696"/>
                      </a:lnTo>
                      <a:lnTo>
                        <a:pt x="16117" y="1696"/>
                      </a:lnTo>
                      <a:lnTo>
                        <a:pt x="16117" y="1696"/>
                      </a:lnTo>
                      <a:close/>
                      <a:moveTo>
                        <a:pt x="17979" y="1701"/>
                      </a:moveTo>
                      <a:lnTo>
                        <a:pt x="17965" y="1713"/>
                      </a:lnTo>
                      <a:lnTo>
                        <a:pt x="17979" y="1684"/>
                      </a:lnTo>
                      <a:lnTo>
                        <a:pt x="17979" y="1696"/>
                      </a:lnTo>
                      <a:lnTo>
                        <a:pt x="17979" y="1701"/>
                      </a:lnTo>
                      <a:lnTo>
                        <a:pt x="17979" y="1701"/>
                      </a:lnTo>
                      <a:lnTo>
                        <a:pt x="17979" y="1701"/>
                      </a:lnTo>
                      <a:close/>
                      <a:moveTo>
                        <a:pt x="16316" y="1795"/>
                      </a:moveTo>
                      <a:lnTo>
                        <a:pt x="16295" y="1795"/>
                      </a:lnTo>
                      <a:lnTo>
                        <a:pt x="16290" y="1791"/>
                      </a:lnTo>
                      <a:lnTo>
                        <a:pt x="16295" y="1779"/>
                      </a:lnTo>
                      <a:lnTo>
                        <a:pt x="16278" y="1774"/>
                      </a:lnTo>
                      <a:lnTo>
                        <a:pt x="16252" y="1767"/>
                      </a:lnTo>
                      <a:lnTo>
                        <a:pt x="16264" y="1774"/>
                      </a:lnTo>
                      <a:lnTo>
                        <a:pt x="16257" y="1774"/>
                      </a:lnTo>
                      <a:lnTo>
                        <a:pt x="16226" y="1751"/>
                      </a:lnTo>
                      <a:lnTo>
                        <a:pt x="16226" y="1734"/>
                      </a:lnTo>
                      <a:lnTo>
                        <a:pt x="16209" y="1722"/>
                      </a:lnTo>
                      <a:lnTo>
                        <a:pt x="16240" y="1734"/>
                      </a:lnTo>
                      <a:lnTo>
                        <a:pt x="16226" y="1718"/>
                      </a:lnTo>
                      <a:lnTo>
                        <a:pt x="16257" y="1696"/>
                      </a:lnTo>
                      <a:lnTo>
                        <a:pt x="16349" y="1767"/>
                      </a:lnTo>
                      <a:lnTo>
                        <a:pt x="16361" y="1779"/>
                      </a:lnTo>
                      <a:lnTo>
                        <a:pt x="16316" y="1795"/>
                      </a:lnTo>
                      <a:lnTo>
                        <a:pt x="16316" y="1795"/>
                      </a:lnTo>
                      <a:lnTo>
                        <a:pt x="16316" y="1795"/>
                      </a:lnTo>
                      <a:close/>
                      <a:moveTo>
                        <a:pt x="17927" y="1734"/>
                      </a:moveTo>
                      <a:lnTo>
                        <a:pt x="17932" y="1722"/>
                      </a:lnTo>
                      <a:lnTo>
                        <a:pt x="17948" y="1739"/>
                      </a:lnTo>
                      <a:lnTo>
                        <a:pt x="17927" y="1734"/>
                      </a:lnTo>
                      <a:lnTo>
                        <a:pt x="17927" y="1734"/>
                      </a:lnTo>
                      <a:lnTo>
                        <a:pt x="17927" y="1734"/>
                      </a:lnTo>
                      <a:close/>
                      <a:moveTo>
                        <a:pt x="23995" y="1791"/>
                      </a:moveTo>
                      <a:lnTo>
                        <a:pt x="23988" y="1791"/>
                      </a:lnTo>
                      <a:lnTo>
                        <a:pt x="23988" y="1807"/>
                      </a:lnTo>
                      <a:lnTo>
                        <a:pt x="23979" y="1812"/>
                      </a:lnTo>
                      <a:lnTo>
                        <a:pt x="23957" y="1812"/>
                      </a:lnTo>
                      <a:lnTo>
                        <a:pt x="23882" y="1779"/>
                      </a:lnTo>
                      <a:lnTo>
                        <a:pt x="23920" y="1758"/>
                      </a:lnTo>
                      <a:lnTo>
                        <a:pt x="23995" y="1774"/>
                      </a:lnTo>
                      <a:lnTo>
                        <a:pt x="23995" y="1791"/>
                      </a:lnTo>
                      <a:lnTo>
                        <a:pt x="23995" y="1791"/>
                      </a:lnTo>
                      <a:lnTo>
                        <a:pt x="23995" y="1791"/>
                      </a:lnTo>
                      <a:close/>
                      <a:moveTo>
                        <a:pt x="24050" y="1795"/>
                      </a:moveTo>
                      <a:lnTo>
                        <a:pt x="24033" y="1791"/>
                      </a:lnTo>
                      <a:lnTo>
                        <a:pt x="24050" y="1779"/>
                      </a:lnTo>
                      <a:lnTo>
                        <a:pt x="24050" y="1795"/>
                      </a:lnTo>
                      <a:lnTo>
                        <a:pt x="24050" y="1795"/>
                      </a:lnTo>
                      <a:lnTo>
                        <a:pt x="24050" y="1795"/>
                      </a:lnTo>
                      <a:close/>
                      <a:moveTo>
                        <a:pt x="23433" y="1833"/>
                      </a:moveTo>
                      <a:lnTo>
                        <a:pt x="23433" y="1812"/>
                      </a:lnTo>
                      <a:lnTo>
                        <a:pt x="23450" y="1812"/>
                      </a:lnTo>
                      <a:lnTo>
                        <a:pt x="23450" y="1829"/>
                      </a:lnTo>
                      <a:lnTo>
                        <a:pt x="23433" y="1833"/>
                      </a:lnTo>
                      <a:lnTo>
                        <a:pt x="23433" y="1833"/>
                      </a:lnTo>
                      <a:lnTo>
                        <a:pt x="23433" y="1833"/>
                      </a:lnTo>
                      <a:close/>
                      <a:moveTo>
                        <a:pt x="16814" y="1824"/>
                      </a:moveTo>
                      <a:lnTo>
                        <a:pt x="16835" y="1812"/>
                      </a:lnTo>
                      <a:lnTo>
                        <a:pt x="16831" y="1829"/>
                      </a:lnTo>
                      <a:lnTo>
                        <a:pt x="16814" y="1824"/>
                      </a:lnTo>
                      <a:lnTo>
                        <a:pt x="16814" y="1824"/>
                      </a:lnTo>
                      <a:lnTo>
                        <a:pt x="16814" y="1824"/>
                      </a:lnTo>
                      <a:close/>
                      <a:moveTo>
                        <a:pt x="23433" y="1902"/>
                      </a:moveTo>
                      <a:lnTo>
                        <a:pt x="23438" y="1885"/>
                      </a:lnTo>
                      <a:lnTo>
                        <a:pt x="23416" y="1878"/>
                      </a:lnTo>
                      <a:lnTo>
                        <a:pt x="23416" y="1845"/>
                      </a:lnTo>
                      <a:lnTo>
                        <a:pt x="23412" y="1833"/>
                      </a:lnTo>
                      <a:lnTo>
                        <a:pt x="23416" y="1829"/>
                      </a:lnTo>
                      <a:lnTo>
                        <a:pt x="23433" y="1824"/>
                      </a:lnTo>
                      <a:lnTo>
                        <a:pt x="23428" y="1829"/>
                      </a:lnTo>
                      <a:lnTo>
                        <a:pt x="23433" y="1833"/>
                      </a:lnTo>
                      <a:lnTo>
                        <a:pt x="23433" y="1850"/>
                      </a:lnTo>
                      <a:lnTo>
                        <a:pt x="23438" y="1890"/>
                      </a:lnTo>
                      <a:lnTo>
                        <a:pt x="23433" y="1902"/>
                      </a:lnTo>
                      <a:lnTo>
                        <a:pt x="23433" y="1902"/>
                      </a:lnTo>
                      <a:lnTo>
                        <a:pt x="23433" y="1902"/>
                      </a:lnTo>
                      <a:close/>
                      <a:moveTo>
                        <a:pt x="15496" y="1878"/>
                      </a:moveTo>
                      <a:lnTo>
                        <a:pt x="15508" y="1845"/>
                      </a:lnTo>
                      <a:lnTo>
                        <a:pt x="15555" y="1824"/>
                      </a:lnTo>
                      <a:lnTo>
                        <a:pt x="15631" y="1850"/>
                      </a:lnTo>
                      <a:lnTo>
                        <a:pt x="15647" y="1866"/>
                      </a:lnTo>
                      <a:lnTo>
                        <a:pt x="15631" y="1885"/>
                      </a:lnTo>
                      <a:lnTo>
                        <a:pt x="15643" y="1866"/>
                      </a:lnTo>
                      <a:lnTo>
                        <a:pt x="15631" y="1866"/>
                      </a:lnTo>
                      <a:lnTo>
                        <a:pt x="15588" y="1906"/>
                      </a:lnTo>
                      <a:lnTo>
                        <a:pt x="15534" y="1923"/>
                      </a:lnTo>
                      <a:lnTo>
                        <a:pt x="15496" y="1902"/>
                      </a:lnTo>
                      <a:lnTo>
                        <a:pt x="15496" y="1878"/>
                      </a:lnTo>
                      <a:lnTo>
                        <a:pt x="15496" y="1878"/>
                      </a:lnTo>
                      <a:lnTo>
                        <a:pt x="15496" y="1878"/>
                      </a:lnTo>
                      <a:close/>
                      <a:moveTo>
                        <a:pt x="16814" y="1833"/>
                      </a:moveTo>
                      <a:lnTo>
                        <a:pt x="16814" y="1829"/>
                      </a:lnTo>
                      <a:lnTo>
                        <a:pt x="16831" y="1833"/>
                      </a:lnTo>
                      <a:lnTo>
                        <a:pt x="16814" y="1833"/>
                      </a:lnTo>
                      <a:lnTo>
                        <a:pt x="16814" y="1833"/>
                      </a:lnTo>
                      <a:lnTo>
                        <a:pt x="16814" y="1833"/>
                      </a:lnTo>
                      <a:close/>
                      <a:moveTo>
                        <a:pt x="14513" y="1833"/>
                      </a:moveTo>
                      <a:lnTo>
                        <a:pt x="14530" y="1845"/>
                      </a:lnTo>
                      <a:lnTo>
                        <a:pt x="14497" y="1833"/>
                      </a:lnTo>
                      <a:lnTo>
                        <a:pt x="14513" y="1833"/>
                      </a:lnTo>
                      <a:lnTo>
                        <a:pt x="14513" y="1833"/>
                      </a:lnTo>
                      <a:lnTo>
                        <a:pt x="14513" y="1833"/>
                      </a:lnTo>
                      <a:close/>
                      <a:moveTo>
                        <a:pt x="16273" y="1866"/>
                      </a:moveTo>
                      <a:lnTo>
                        <a:pt x="16235" y="1845"/>
                      </a:lnTo>
                      <a:lnTo>
                        <a:pt x="16264" y="1850"/>
                      </a:lnTo>
                      <a:lnTo>
                        <a:pt x="16273" y="1866"/>
                      </a:lnTo>
                      <a:lnTo>
                        <a:pt x="16273" y="1866"/>
                      </a:lnTo>
                      <a:lnTo>
                        <a:pt x="16273" y="1866"/>
                      </a:lnTo>
                      <a:close/>
                      <a:moveTo>
                        <a:pt x="16134" y="1918"/>
                      </a:moveTo>
                      <a:lnTo>
                        <a:pt x="16181" y="1906"/>
                      </a:lnTo>
                      <a:lnTo>
                        <a:pt x="16127" y="1923"/>
                      </a:lnTo>
                      <a:lnTo>
                        <a:pt x="16134" y="1918"/>
                      </a:lnTo>
                      <a:lnTo>
                        <a:pt x="16134" y="1918"/>
                      </a:lnTo>
                      <a:lnTo>
                        <a:pt x="16134" y="1918"/>
                      </a:lnTo>
                      <a:close/>
                      <a:moveTo>
                        <a:pt x="17013" y="2195"/>
                      </a:moveTo>
                      <a:lnTo>
                        <a:pt x="16982" y="2162"/>
                      </a:lnTo>
                      <a:lnTo>
                        <a:pt x="16958" y="2162"/>
                      </a:lnTo>
                      <a:lnTo>
                        <a:pt x="17029" y="2166"/>
                      </a:lnTo>
                      <a:lnTo>
                        <a:pt x="17029" y="2195"/>
                      </a:lnTo>
                      <a:lnTo>
                        <a:pt x="17013" y="2195"/>
                      </a:lnTo>
                      <a:lnTo>
                        <a:pt x="17013" y="2195"/>
                      </a:lnTo>
                      <a:lnTo>
                        <a:pt x="17013" y="2195"/>
                      </a:lnTo>
                      <a:close/>
                      <a:moveTo>
                        <a:pt x="15102" y="2162"/>
                      </a:moveTo>
                      <a:lnTo>
                        <a:pt x="15106" y="2166"/>
                      </a:lnTo>
                      <a:lnTo>
                        <a:pt x="15092" y="2162"/>
                      </a:lnTo>
                      <a:lnTo>
                        <a:pt x="15102" y="2162"/>
                      </a:lnTo>
                      <a:lnTo>
                        <a:pt x="15102" y="2162"/>
                      </a:lnTo>
                      <a:lnTo>
                        <a:pt x="15102" y="2162"/>
                      </a:lnTo>
                      <a:close/>
                      <a:moveTo>
                        <a:pt x="16975" y="2166"/>
                      </a:moveTo>
                      <a:lnTo>
                        <a:pt x="16975" y="2178"/>
                      </a:lnTo>
                      <a:lnTo>
                        <a:pt x="16975" y="2166"/>
                      </a:lnTo>
                      <a:lnTo>
                        <a:pt x="16975" y="2166"/>
                      </a:lnTo>
                      <a:lnTo>
                        <a:pt x="16975" y="2166"/>
                      </a:lnTo>
                      <a:close/>
                      <a:moveTo>
                        <a:pt x="253" y="2277"/>
                      </a:moveTo>
                      <a:lnTo>
                        <a:pt x="253" y="2273"/>
                      </a:lnTo>
                      <a:lnTo>
                        <a:pt x="265" y="2273"/>
                      </a:lnTo>
                      <a:lnTo>
                        <a:pt x="253" y="2277"/>
                      </a:lnTo>
                      <a:lnTo>
                        <a:pt x="253" y="2277"/>
                      </a:lnTo>
                      <a:lnTo>
                        <a:pt x="253" y="2277"/>
                      </a:lnTo>
                      <a:close/>
                      <a:moveTo>
                        <a:pt x="14632" y="2351"/>
                      </a:moveTo>
                      <a:lnTo>
                        <a:pt x="14632" y="2367"/>
                      </a:lnTo>
                      <a:lnTo>
                        <a:pt x="14622" y="2377"/>
                      </a:lnTo>
                      <a:lnTo>
                        <a:pt x="14606" y="2351"/>
                      </a:lnTo>
                      <a:lnTo>
                        <a:pt x="14632" y="2351"/>
                      </a:lnTo>
                      <a:lnTo>
                        <a:pt x="14632" y="2351"/>
                      </a:lnTo>
                      <a:lnTo>
                        <a:pt x="14632" y="2351"/>
                      </a:lnTo>
                      <a:close/>
                      <a:moveTo>
                        <a:pt x="0" y="2400"/>
                      </a:moveTo>
                      <a:lnTo>
                        <a:pt x="17" y="2384"/>
                      </a:lnTo>
                      <a:lnTo>
                        <a:pt x="38" y="2400"/>
                      </a:lnTo>
                      <a:lnTo>
                        <a:pt x="0" y="2400"/>
                      </a:lnTo>
                      <a:lnTo>
                        <a:pt x="0" y="2400"/>
                      </a:lnTo>
                      <a:lnTo>
                        <a:pt x="0" y="2400"/>
                      </a:lnTo>
                      <a:close/>
                      <a:moveTo>
                        <a:pt x="14946" y="2400"/>
                      </a:moveTo>
                      <a:lnTo>
                        <a:pt x="14955" y="2421"/>
                      </a:lnTo>
                      <a:lnTo>
                        <a:pt x="14913" y="2405"/>
                      </a:lnTo>
                      <a:lnTo>
                        <a:pt x="14941" y="2417"/>
                      </a:lnTo>
                      <a:lnTo>
                        <a:pt x="14929" y="2400"/>
                      </a:lnTo>
                      <a:lnTo>
                        <a:pt x="14946" y="2400"/>
                      </a:lnTo>
                      <a:lnTo>
                        <a:pt x="14946" y="2400"/>
                      </a:lnTo>
                      <a:lnTo>
                        <a:pt x="14946" y="2400"/>
                      </a:lnTo>
                      <a:close/>
                      <a:moveTo>
                        <a:pt x="14639" y="2438"/>
                      </a:moveTo>
                      <a:lnTo>
                        <a:pt x="14643" y="2445"/>
                      </a:lnTo>
                      <a:lnTo>
                        <a:pt x="14632" y="2438"/>
                      </a:lnTo>
                      <a:lnTo>
                        <a:pt x="14639" y="2438"/>
                      </a:lnTo>
                      <a:lnTo>
                        <a:pt x="14639" y="2438"/>
                      </a:lnTo>
                      <a:lnTo>
                        <a:pt x="14639" y="2438"/>
                      </a:lnTo>
                      <a:close/>
                      <a:moveTo>
                        <a:pt x="14119" y="2899"/>
                      </a:moveTo>
                      <a:lnTo>
                        <a:pt x="14131" y="2899"/>
                      </a:lnTo>
                      <a:lnTo>
                        <a:pt x="14119" y="2887"/>
                      </a:lnTo>
                      <a:lnTo>
                        <a:pt x="14119" y="2899"/>
                      </a:lnTo>
                      <a:lnTo>
                        <a:pt x="14119" y="2899"/>
                      </a:lnTo>
                      <a:lnTo>
                        <a:pt x="14119" y="2899"/>
                      </a:lnTo>
                      <a:close/>
                      <a:moveTo>
                        <a:pt x="23572" y="3088"/>
                      </a:moveTo>
                      <a:lnTo>
                        <a:pt x="23596" y="3064"/>
                      </a:lnTo>
                      <a:lnTo>
                        <a:pt x="23610" y="3043"/>
                      </a:lnTo>
                      <a:lnTo>
                        <a:pt x="23596" y="3031"/>
                      </a:lnTo>
                      <a:lnTo>
                        <a:pt x="23655" y="3014"/>
                      </a:lnTo>
                      <a:lnTo>
                        <a:pt x="23665" y="3031"/>
                      </a:lnTo>
                      <a:lnTo>
                        <a:pt x="23665" y="3047"/>
                      </a:lnTo>
                      <a:lnTo>
                        <a:pt x="23627" y="3059"/>
                      </a:lnTo>
                      <a:lnTo>
                        <a:pt x="23579" y="3099"/>
                      </a:lnTo>
                      <a:lnTo>
                        <a:pt x="23572" y="3088"/>
                      </a:lnTo>
                      <a:lnTo>
                        <a:pt x="23572" y="3088"/>
                      </a:lnTo>
                      <a:lnTo>
                        <a:pt x="23572" y="3088"/>
                      </a:lnTo>
                      <a:close/>
                      <a:moveTo>
                        <a:pt x="22665" y="3031"/>
                      </a:moveTo>
                      <a:lnTo>
                        <a:pt x="22682" y="3026"/>
                      </a:lnTo>
                      <a:lnTo>
                        <a:pt x="22665" y="3031"/>
                      </a:lnTo>
                      <a:lnTo>
                        <a:pt x="22665" y="3031"/>
                      </a:lnTo>
                      <a:lnTo>
                        <a:pt x="22665" y="3031"/>
                      </a:lnTo>
                      <a:close/>
                      <a:moveTo>
                        <a:pt x="23773" y="3421"/>
                      </a:moveTo>
                      <a:lnTo>
                        <a:pt x="23773" y="3437"/>
                      </a:lnTo>
                      <a:lnTo>
                        <a:pt x="23806" y="3470"/>
                      </a:lnTo>
                      <a:lnTo>
                        <a:pt x="23806" y="3487"/>
                      </a:lnTo>
                      <a:lnTo>
                        <a:pt x="23778" y="3470"/>
                      </a:lnTo>
                      <a:lnTo>
                        <a:pt x="23752" y="3421"/>
                      </a:lnTo>
                      <a:lnTo>
                        <a:pt x="23773" y="3421"/>
                      </a:lnTo>
                      <a:lnTo>
                        <a:pt x="23773" y="3421"/>
                      </a:lnTo>
                      <a:lnTo>
                        <a:pt x="23773" y="3421"/>
                      </a:lnTo>
                      <a:close/>
                      <a:moveTo>
                        <a:pt x="13606" y="3430"/>
                      </a:moveTo>
                      <a:lnTo>
                        <a:pt x="13611" y="3421"/>
                      </a:lnTo>
                      <a:lnTo>
                        <a:pt x="13665" y="3447"/>
                      </a:lnTo>
                      <a:lnTo>
                        <a:pt x="13699" y="3447"/>
                      </a:lnTo>
                      <a:lnTo>
                        <a:pt x="13720" y="3470"/>
                      </a:lnTo>
                      <a:lnTo>
                        <a:pt x="13715" y="3487"/>
                      </a:lnTo>
                      <a:lnTo>
                        <a:pt x="13703" y="3503"/>
                      </a:lnTo>
                      <a:lnTo>
                        <a:pt x="13715" y="3515"/>
                      </a:lnTo>
                      <a:lnTo>
                        <a:pt x="13618" y="3515"/>
                      </a:lnTo>
                      <a:lnTo>
                        <a:pt x="13505" y="3508"/>
                      </a:lnTo>
                      <a:lnTo>
                        <a:pt x="13552" y="3487"/>
                      </a:lnTo>
                      <a:lnTo>
                        <a:pt x="13526" y="3487"/>
                      </a:lnTo>
                      <a:lnTo>
                        <a:pt x="13519" y="3475"/>
                      </a:lnTo>
                      <a:lnTo>
                        <a:pt x="13510" y="3487"/>
                      </a:lnTo>
                      <a:lnTo>
                        <a:pt x="13519" y="3454"/>
                      </a:lnTo>
                      <a:lnTo>
                        <a:pt x="13552" y="3454"/>
                      </a:lnTo>
                      <a:lnTo>
                        <a:pt x="13580" y="3421"/>
                      </a:lnTo>
                      <a:lnTo>
                        <a:pt x="13590" y="3421"/>
                      </a:lnTo>
                      <a:lnTo>
                        <a:pt x="13557" y="3454"/>
                      </a:lnTo>
                      <a:lnTo>
                        <a:pt x="13606" y="3458"/>
                      </a:lnTo>
                      <a:lnTo>
                        <a:pt x="13606" y="3437"/>
                      </a:lnTo>
                      <a:lnTo>
                        <a:pt x="13606" y="3430"/>
                      </a:lnTo>
                      <a:lnTo>
                        <a:pt x="13606" y="3430"/>
                      </a:lnTo>
                      <a:lnTo>
                        <a:pt x="13606" y="3430"/>
                      </a:lnTo>
                      <a:close/>
                      <a:moveTo>
                        <a:pt x="21744" y="3475"/>
                      </a:moveTo>
                      <a:lnTo>
                        <a:pt x="21765" y="3430"/>
                      </a:lnTo>
                      <a:lnTo>
                        <a:pt x="21803" y="3447"/>
                      </a:lnTo>
                      <a:lnTo>
                        <a:pt x="21775" y="3491"/>
                      </a:lnTo>
                      <a:lnTo>
                        <a:pt x="21758" y="3458"/>
                      </a:lnTo>
                      <a:lnTo>
                        <a:pt x="21744" y="3475"/>
                      </a:lnTo>
                      <a:lnTo>
                        <a:pt x="21744" y="3475"/>
                      </a:lnTo>
                      <a:lnTo>
                        <a:pt x="21744" y="3475"/>
                      </a:lnTo>
                      <a:close/>
                      <a:moveTo>
                        <a:pt x="21694" y="3458"/>
                      </a:moveTo>
                      <a:lnTo>
                        <a:pt x="21737" y="3437"/>
                      </a:lnTo>
                      <a:lnTo>
                        <a:pt x="21728" y="3458"/>
                      </a:lnTo>
                      <a:lnTo>
                        <a:pt x="21694" y="3458"/>
                      </a:lnTo>
                      <a:lnTo>
                        <a:pt x="21694" y="3458"/>
                      </a:lnTo>
                      <a:lnTo>
                        <a:pt x="21694" y="3458"/>
                      </a:lnTo>
                      <a:close/>
                      <a:moveTo>
                        <a:pt x="13498" y="3508"/>
                      </a:moveTo>
                      <a:lnTo>
                        <a:pt x="13488" y="3503"/>
                      </a:lnTo>
                      <a:lnTo>
                        <a:pt x="13510" y="3487"/>
                      </a:lnTo>
                      <a:lnTo>
                        <a:pt x="13498" y="3508"/>
                      </a:lnTo>
                      <a:lnTo>
                        <a:pt x="13498" y="3508"/>
                      </a:lnTo>
                      <a:lnTo>
                        <a:pt x="13498" y="3508"/>
                      </a:lnTo>
                      <a:close/>
                      <a:moveTo>
                        <a:pt x="21765" y="3508"/>
                      </a:moveTo>
                      <a:lnTo>
                        <a:pt x="21758" y="3503"/>
                      </a:lnTo>
                      <a:lnTo>
                        <a:pt x="21765" y="3491"/>
                      </a:lnTo>
                      <a:lnTo>
                        <a:pt x="21765" y="3508"/>
                      </a:lnTo>
                      <a:lnTo>
                        <a:pt x="21765" y="3508"/>
                      </a:lnTo>
                      <a:lnTo>
                        <a:pt x="21765" y="3508"/>
                      </a:lnTo>
                      <a:close/>
                      <a:moveTo>
                        <a:pt x="22072" y="4080"/>
                      </a:moveTo>
                      <a:lnTo>
                        <a:pt x="22068" y="4058"/>
                      </a:lnTo>
                      <a:lnTo>
                        <a:pt x="22072" y="4030"/>
                      </a:lnTo>
                      <a:lnTo>
                        <a:pt x="22084" y="3973"/>
                      </a:lnTo>
                      <a:lnTo>
                        <a:pt x="22084" y="3903"/>
                      </a:lnTo>
                      <a:lnTo>
                        <a:pt x="22072" y="3891"/>
                      </a:lnTo>
                      <a:lnTo>
                        <a:pt x="22089" y="3825"/>
                      </a:lnTo>
                      <a:lnTo>
                        <a:pt x="22084" y="3791"/>
                      </a:lnTo>
                      <a:lnTo>
                        <a:pt x="22051" y="3751"/>
                      </a:lnTo>
                      <a:lnTo>
                        <a:pt x="22051" y="3714"/>
                      </a:lnTo>
                      <a:lnTo>
                        <a:pt x="22061" y="3692"/>
                      </a:lnTo>
                      <a:lnTo>
                        <a:pt x="22068" y="3643"/>
                      </a:lnTo>
                      <a:lnTo>
                        <a:pt x="22061" y="3614"/>
                      </a:lnTo>
                      <a:lnTo>
                        <a:pt x="22089" y="3598"/>
                      </a:lnTo>
                      <a:lnTo>
                        <a:pt x="22089" y="3614"/>
                      </a:lnTo>
                      <a:lnTo>
                        <a:pt x="22105" y="3614"/>
                      </a:lnTo>
                      <a:lnTo>
                        <a:pt x="22122" y="3598"/>
                      </a:lnTo>
                      <a:lnTo>
                        <a:pt x="22115" y="3598"/>
                      </a:lnTo>
                      <a:lnTo>
                        <a:pt x="22105" y="3581"/>
                      </a:lnTo>
                      <a:lnTo>
                        <a:pt x="22122" y="3586"/>
                      </a:lnTo>
                      <a:lnTo>
                        <a:pt x="22127" y="3581"/>
                      </a:lnTo>
                      <a:lnTo>
                        <a:pt x="22127" y="3565"/>
                      </a:lnTo>
                      <a:lnTo>
                        <a:pt x="22115" y="3581"/>
                      </a:lnTo>
                      <a:lnTo>
                        <a:pt x="22122" y="3558"/>
                      </a:lnTo>
                      <a:lnTo>
                        <a:pt x="22098" y="3525"/>
                      </a:lnTo>
                      <a:lnTo>
                        <a:pt x="22122" y="3525"/>
                      </a:lnTo>
                      <a:lnTo>
                        <a:pt x="22122" y="3508"/>
                      </a:lnTo>
                      <a:lnTo>
                        <a:pt x="22143" y="3541"/>
                      </a:lnTo>
                      <a:lnTo>
                        <a:pt x="22136" y="3569"/>
                      </a:lnTo>
                      <a:lnTo>
                        <a:pt x="22153" y="3598"/>
                      </a:lnTo>
                      <a:lnTo>
                        <a:pt x="22153" y="3614"/>
                      </a:lnTo>
                      <a:lnTo>
                        <a:pt x="22160" y="3619"/>
                      </a:lnTo>
                      <a:lnTo>
                        <a:pt x="22169" y="3659"/>
                      </a:lnTo>
                      <a:lnTo>
                        <a:pt x="22169" y="3697"/>
                      </a:lnTo>
                      <a:lnTo>
                        <a:pt x="22160" y="3714"/>
                      </a:lnTo>
                      <a:lnTo>
                        <a:pt x="22160" y="3692"/>
                      </a:lnTo>
                      <a:lnTo>
                        <a:pt x="22153" y="3709"/>
                      </a:lnTo>
                      <a:lnTo>
                        <a:pt x="22153" y="3747"/>
                      </a:lnTo>
                      <a:lnTo>
                        <a:pt x="22169" y="3768"/>
                      </a:lnTo>
                      <a:lnTo>
                        <a:pt x="22160" y="3791"/>
                      </a:lnTo>
                      <a:lnTo>
                        <a:pt x="22169" y="3791"/>
                      </a:lnTo>
                      <a:lnTo>
                        <a:pt x="22169" y="3780"/>
                      </a:lnTo>
                      <a:lnTo>
                        <a:pt x="22174" y="3808"/>
                      </a:lnTo>
                      <a:lnTo>
                        <a:pt x="22169" y="3808"/>
                      </a:lnTo>
                      <a:lnTo>
                        <a:pt x="22181" y="3820"/>
                      </a:lnTo>
                      <a:lnTo>
                        <a:pt x="22198" y="3903"/>
                      </a:lnTo>
                      <a:lnTo>
                        <a:pt x="22212" y="3936"/>
                      </a:lnTo>
                      <a:lnTo>
                        <a:pt x="22245" y="4023"/>
                      </a:lnTo>
                      <a:lnTo>
                        <a:pt x="22261" y="4040"/>
                      </a:lnTo>
                      <a:lnTo>
                        <a:pt x="22266" y="4063"/>
                      </a:lnTo>
                      <a:lnTo>
                        <a:pt x="22245" y="4030"/>
                      </a:lnTo>
                      <a:lnTo>
                        <a:pt x="22212" y="4006"/>
                      </a:lnTo>
                      <a:lnTo>
                        <a:pt x="22169" y="3990"/>
                      </a:lnTo>
                      <a:lnTo>
                        <a:pt x="22169" y="4002"/>
                      </a:lnTo>
                      <a:lnTo>
                        <a:pt x="22191" y="4002"/>
                      </a:lnTo>
                      <a:lnTo>
                        <a:pt x="22160" y="4006"/>
                      </a:lnTo>
                      <a:lnTo>
                        <a:pt x="22143" y="4023"/>
                      </a:lnTo>
                      <a:lnTo>
                        <a:pt x="22143" y="4040"/>
                      </a:lnTo>
                      <a:lnTo>
                        <a:pt x="22115" y="4117"/>
                      </a:lnTo>
                      <a:lnTo>
                        <a:pt x="22115" y="4141"/>
                      </a:lnTo>
                      <a:lnTo>
                        <a:pt x="22122" y="4158"/>
                      </a:lnTo>
                      <a:lnTo>
                        <a:pt x="22143" y="4191"/>
                      </a:lnTo>
                      <a:lnTo>
                        <a:pt x="22160" y="4236"/>
                      </a:lnTo>
                      <a:lnTo>
                        <a:pt x="22169" y="4245"/>
                      </a:lnTo>
                      <a:lnTo>
                        <a:pt x="22169" y="4228"/>
                      </a:lnTo>
                      <a:lnTo>
                        <a:pt x="22174" y="4228"/>
                      </a:lnTo>
                      <a:lnTo>
                        <a:pt x="22181" y="4269"/>
                      </a:lnTo>
                      <a:lnTo>
                        <a:pt x="22174" y="4302"/>
                      </a:lnTo>
                      <a:lnTo>
                        <a:pt x="22169" y="4252"/>
                      </a:lnTo>
                      <a:lnTo>
                        <a:pt x="22127" y="4252"/>
                      </a:lnTo>
                      <a:lnTo>
                        <a:pt x="22122" y="4236"/>
                      </a:lnTo>
                      <a:lnTo>
                        <a:pt x="22105" y="4252"/>
                      </a:lnTo>
                      <a:lnTo>
                        <a:pt x="22084" y="4306"/>
                      </a:lnTo>
                      <a:lnTo>
                        <a:pt x="22068" y="4302"/>
                      </a:lnTo>
                      <a:lnTo>
                        <a:pt x="22061" y="4252"/>
                      </a:lnTo>
                      <a:lnTo>
                        <a:pt x="22072" y="4207"/>
                      </a:lnTo>
                      <a:lnTo>
                        <a:pt x="22072" y="4158"/>
                      </a:lnTo>
                      <a:lnTo>
                        <a:pt x="22089" y="4125"/>
                      </a:lnTo>
                      <a:lnTo>
                        <a:pt x="22084" y="4096"/>
                      </a:lnTo>
                      <a:lnTo>
                        <a:pt x="22072" y="4080"/>
                      </a:lnTo>
                      <a:lnTo>
                        <a:pt x="22072" y="4080"/>
                      </a:lnTo>
                      <a:lnTo>
                        <a:pt x="22072" y="4080"/>
                      </a:lnTo>
                      <a:close/>
                      <a:moveTo>
                        <a:pt x="23017" y="3846"/>
                      </a:moveTo>
                      <a:lnTo>
                        <a:pt x="23022" y="3846"/>
                      </a:lnTo>
                      <a:lnTo>
                        <a:pt x="23034" y="3858"/>
                      </a:lnTo>
                      <a:lnTo>
                        <a:pt x="23022" y="3858"/>
                      </a:lnTo>
                      <a:lnTo>
                        <a:pt x="23017" y="3846"/>
                      </a:lnTo>
                      <a:lnTo>
                        <a:pt x="23017" y="3846"/>
                      </a:lnTo>
                      <a:lnTo>
                        <a:pt x="23017" y="3846"/>
                      </a:lnTo>
                      <a:close/>
                      <a:moveTo>
                        <a:pt x="23088" y="3874"/>
                      </a:moveTo>
                      <a:lnTo>
                        <a:pt x="23072" y="3874"/>
                      </a:lnTo>
                      <a:lnTo>
                        <a:pt x="23072" y="3862"/>
                      </a:lnTo>
                      <a:lnTo>
                        <a:pt x="23088" y="3858"/>
                      </a:lnTo>
                      <a:lnTo>
                        <a:pt x="23088" y="3874"/>
                      </a:lnTo>
                      <a:lnTo>
                        <a:pt x="23088" y="3874"/>
                      </a:lnTo>
                      <a:lnTo>
                        <a:pt x="23088" y="3874"/>
                      </a:lnTo>
                      <a:close/>
                      <a:moveTo>
                        <a:pt x="23001" y="3931"/>
                      </a:moveTo>
                      <a:lnTo>
                        <a:pt x="23001" y="3903"/>
                      </a:lnTo>
                      <a:lnTo>
                        <a:pt x="23034" y="3895"/>
                      </a:lnTo>
                      <a:lnTo>
                        <a:pt x="23050" y="3874"/>
                      </a:lnTo>
                      <a:lnTo>
                        <a:pt x="23060" y="3862"/>
                      </a:lnTo>
                      <a:lnTo>
                        <a:pt x="23072" y="3891"/>
                      </a:lnTo>
                      <a:lnTo>
                        <a:pt x="23050" y="3914"/>
                      </a:lnTo>
                      <a:lnTo>
                        <a:pt x="23001" y="3931"/>
                      </a:lnTo>
                      <a:lnTo>
                        <a:pt x="23001" y="3931"/>
                      </a:lnTo>
                      <a:lnTo>
                        <a:pt x="23001" y="3931"/>
                      </a:lnTo>
                      <a:close/>
                      <a:moveTo>
                        <a:pt x="22946" y="3957"/>
                      </a:moveTo>
                      <a:lnTo>
                        <a:pt x="22946" y="3952"/>
                      </a:lnTo>
                      <a:lnTo>
                        <a:pt x="22946" y="3957"/>
                      </a:lnTo>
                      <a:lnTo>
                        <a:pt x="22946" y="3957"/>
                      </a:lnTo>
                      <a:lnTo>
                        <a:pt x="22946" y="3957"/>
                      </a:lnTo>
                      <a:close/>
                      <a:moveTo>
                        <a:pt x="22953" y="4002"/>
                      </a:moveTo>
                      <a:lnTo>
                        <a:pt x="22968" y="3973"/>
                      </a:lnTo>
                      <a:lnTo>
                        <a:pt x="22979" y="3969"/>
                      </a:lnTo>
                      <a:lnTo>
                        <a:pt x="22968" y="3990"/>
                      </a:lnTo>
                      <a:lnTo>
                        <a:pt x="22968" y="4002"/>
                      </a:lnTo>
                      <a:lnTo>
                        <a:pt x="22953" y="4002"/>
                      </a:lnTo>
                      <a:lnTo>
                        <a:pt x="22953" y="4002"/>
                      </a:lnTo>
                      <a:lnTo>
                        <a:pt x="22953" y="4002"/>
                      </a:lnTo>
                      <a:close/>
                      <a:moveTo>
                        <a:pt x="22946" y="4014"/>
                      </a:moveTo>
                      <a:lnTo>
                        <a:pt x="22953" y="4014"/>
                      </a:lnTo>
                      <a:lnTo>
                        <a:pt x="22953" y="4023"/>
                      </a:lnTo>
                      <a:lnTo>
                        <a:pt x="22946" y="4014"/>
                      </a:lnTo>
                      <a:lnTo>
                        <a:pt x="22946" y="4014"/>
                      </a:lnTo>
                      <a:lnTo>
                        <a:pt x="22946" y="4014"/>
                      </a:lnTo>
                      <a:close/>
                      <a:moveTo>
                        <a:pt x="22916" y="4058"/>
                      </a:moveTo>
                      <a:lnTo>
                        <a:pt x="22925" y="4040"/>
                      </a:lnTo>
                      <a:lnTo>
                        <a:pt x="22930" y="4040"/>
                      </a:lnTo>
                      <a:lnTo>
                        <a:pt x="22916" y="4058"/>
                      </a:lnTo>
                      <a:lnTo>
                        <a:pt x="22916" y="4058"/>
                      </a:lnTo>
                      <a:lnTo>
                        <a:pt x="22916" y="4058"/>
                      </a:lnTo>
                      <a:close/>
                      <a:moveTo>
                        <a:pt x="22861" y="4117"/>
                      </a:moveTo>
                      <a:lnTo>
                        <a:pt x="22854" y="4113"/>
                      </a:lnTo>
                      <a:lnTo>
                        <a:pt x="22861" y="4113"/>
                      </a:lnTo>
                      <a:lnTo>
                        <a:pt x="22861" y="4117"/>
                      </a:lnTo>
                      <a:lnTo>
                        <a:pt x="22861" y="4117"/>
                      </a:lnTo>
                      <a:lnTo>
                        <a:pt x="22861" y="4117"/>
                      </a:lnTo>
                      <a:close/>
                      <a:moveTo>
                        <a:pt x="22807" y="4179"/>
                      </a:moveTo>
                      <a:lnTo>
                        <a:pt x="22816" y="4179"/>
                      </a:lnTo>
                      <a:lnTo>
                        <a:pt x="22807" y="4179"/>
                      </a:lnTo>
                      <a:lnTo>
                        <a:pt x="22807" y="4179"/>
                      </a:lnTo>
                      <a:lnTo>
                        <a:pt x="22807" y="4179"/>
                      </a:lnTo>
                      <a:close/>
                      <a:moveTo>
                        <a:pt x="22791" y="4195"/>
                      </a:moveTo>
                      <a:lnTo>
                        <a:pt x="22779" y="4224"/>
                      </a:lnTo>
                      <a:lnTo>
                        <a:pt x="22753" y="4228"/>
                      </a:lnTo>
                      <a:lnTo>
                        <a:pt x="22791" y="4195"/>
                      </a:lnTo>
                      <a:lnTo>
                        <a:pt x="22791" y="4195"/>
                      </a:lnTo>
                      <a:lnTo>
                        <a:pt x="22791" y="4195"/>
                      </a:lnTo>
                      <a:close/>
                      <a:moveTo>
                        <a:pt x="22602" y="4340"/>
                      </a:moveTo>
                      <a:lnTo>
                        <a:pt x="22613" y="4318"/>
                      </a:lnTo>
                      <a:lnTo>
                        <a:pt x="22628" y="4302"/>
                      </a:lnTo>
                      <a:lnTo>
                        <a:pt x="22661" y="4285"/>
                      </a:lnTo>
                      <a:lnTo>
                        <a:pt x="22665" y="4285"/>
                      </a:lnTo>
                      <a:lnTo>
                        <a:pt x="22644" y="4306"/>
                      </a:lnTo>
                      <a:lnTo>
                        <a:pt x="22613" y="4335"/>
                      </a:lnTo>
                      <a:lnTo>
                        <a:pt x="22602" y="4340"/>
                      </a:lnTo>
                      <a:lnTo>
                        <a:pt x="22602" y="4340"/>
                      </a:lnTo>
                      <a:lnTo>
                        <a:pt x="22602" y="4340"/>
                      </a:lnTo>
                      <a:close/>
                      <a:moveTo>
                        <a:pt x="22413" y="4446"/>
                      </a:moveTo>
                      <a:lnTo>
                        <a:pt x="22413" y="4434"/>
                      </a:lnTo>
                      <a:lnTo>
                        <a:pt x="22439" y="4417"/>
                      </a:lnTo>
                      <a:lnTo>
                        <a:pt x="22429" y="4413"/>
                      </a:lnTo>
                      <a:lnTo>
                        <a:pt x="22483" y="4373"/>
                      </a:lnTo>
                      <a:lnTo>
                        <a:pt x="22483" y="4363"/>
                      </a:lnTo>
                      <a:lnTo>
                        <a:pt x="22493" y="4356"/>
                      </a:lnTo>
                      <a:lnTo>
                        <a:pt x="22500" y="4373"/>
                      </a:lnTo>
                      <a:lnTo>
                        <a:pt x="22514" y="4373"/>
                      </a:lnTo>
                      <a:lnTo>
                        <a:pt x="22547" y="4347"/>
                      </a:lnTo>
                      <a:lnTo>
                        <a:pt x="22552" y="4347"/>
                      </a:lnTo>
                      <a:lnTo>
                        <a:pt x="22552" y="4363"/>
                      </a:lnTo>
                      <a:lnTo>
                        <a:pt x="22514" y="4373"/>
                      </a:lnTo>
                      <a:lnTo>
                        <a:pt x="22476" y="4396"/>
                      </a:lnTo>
                      <a:lnTo>
                        <a:pt x="22467" y="4396"/>
                      </a:lnTo>
                      <a:lnTo>
                        <a:pt x="22462" y="4413"/>
                      </a:lnTo>
                      <a:lnTo>
                        <a:pt x="22413" y="4446"/>
                      </a:lnTo>
                      <a:lnTo>
                        <a:pt x="22413" y="4446"/>
                      </a:lnTo>
                      <a:lnTo>
                        <a:pt x="22413" y="4446"/>
                      </a:lnTo>
                      <a:close/>
                      <a:moveTo>
                        <a:pt x="22370" y="4434"/>
                      </a:moveTo>
                      <a:lnTo>
                        <a:pt x="22391" y="4446"/>
                      </a:lnTo>
                      <a:lnTo>
                        <a:pt x="22354" y="4467"/>
                      </a:lnTo>
                      <a:lnTo>
                        <a:pt x="22337" y="4491"/>
                      </a:lnTo>
                      <a:lnTo>
                        <a:pt x="22332" y="4491"/>
                      </a:lnTo>
                      <a:lnTo>
                        <a:pt x="22320" y="4512"/>
                      </a:lnTo>
                      <a:lnTo>
                        <a:pt x="22316" y="4507"/>
                      </a:lnTo>
                      <a:lnTo>
                        <a:pt x="22316" y="4500"/>
                      </a:lnTo>
                      <a:lnTo>
                        <a:pt x="22337" y="4474"/>
                      </a:lnTo>
                      <a:lnTo>
                        <a:pt x="22370" y="4434"/>
                      </a:lnTo>
                      <a:lnTo>
                        <a:pt x="22370" y="4434"/>
                      </a:lnTo>
                      <a:lnTo>
                        <a:pt x="22370" y="4434"/>
                      </a:lnTo>
                      <a:close/>
                      <a:moveTo>
                        <a:pt x="15463" y="4484"/>
                      </a:moveTo>
                      <a:lnTo>
                        <a:pt x="15454" y="4484"/>
                      </a:lnTo>
                      <a:lnTo>
                        <a:pt x="15463" y="4484"/>
                      </a:lnTo>
                      <a:lnTo>
                        <a:pt x="15463" y="4484"/>
                      </a:lnTo>
                      <a:lnTo>
                        <a:pt x="15463" y="4484"/>
                      </a:lnTo>
                      <a:close/>
                      <a:moveTo>
                        <a:pt x="22413" y="4491"/>
                      </a:moveTo>
                      <a:lnTo>
                        <a:pt x="22408" y="4507"/>
                      </a:lnTo>
                      <a:lnTo>
                        <a:pt x="22396" y="4507"/>
                      </a:lnTo>
                      <a:lnTo>
                        <a:pt x="22396" y="4500"/>
                      </a:lnTo>
                      <a:lnTo>
                        <a:pt x="22413" y="4491"/>
                      </a:lnTo>
                      <a:lnTo>
                        <a:pt x="22413" y="4491"/>
                      </a:lnTo>
                      <a:lnTo>
                        <a:pt x="22413" y="4491"/>
                      </a:lnTo>
                      <a:close/>
                      <a:moveTo>
                        <a:pt x="22370" y="4524"/>
                      </a:moveTo>
                      <a:lnTo>
                        <a:pt x="22370" y="4528"/>
                      </a:lnTo>
                      <a:lnTo>
                        <a:pt x="22358" y="4524"/>
                      </a:lnTo>
                      <a:lnTo>
                        <a:pt x="22370" y="4524"/>
                      </a:lnTo>
                      <a:lnTo>
                        <a:pt x="22370" y="4524"/>
                      </a:lnTo>
                      <a:lnTo>
                        <a:pt x="22370" y="4524"/>
                      </a:lnTo>
                      <a:close/>
                      <a:moveTo>
                        <a:pt x="21366" y="4566"/>
                      </a:moveTo>
                      <a:lnTo>
                        <a:pt x="21359" y="4566"/>
                      </a:lnTo>
                      <a:lnTo>
                        <a:pt x="21366" y="4562"/>
                      </a:lnTo>
                      <a:lnTo>
                        <a:pt x="21366" y="4566"/>
                      </a:lnTo>
                      <a:lnTo>
                        <a:pt x="21366" y="4566"/>
                      </a:lnTo>
                      <a:lnTo>
                        <a:pt x="21366" y="4566"/>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3" name="Freeform 546">
                  <a:extLst>
                    <a:ext uri="{FF2B5EF4-FFF2-40B4-BE49-F238E27FC236}">
                      <a16:creationId xmlns:a16="http://schemas.microsoft.com/office/drawing/2014/main" id="{47830D2D-68E1-481E-899E-3F9CBD6E6EE4}"/>
                    </a:ext>
                  </a:extLst>
                </p:cNvPr>
                <p:cNvSpPr>
                  <a:spLocks/>
                </p:cNvSpPr>
                <p:nvPr/>
              </p:nvSpPr>
              <p:spPr bwMode="gray">
                <a:xfrm>
                  <a:off x="5096433" y="2557357"/>
                  <a:ext cx="6587" cy="8646"/>
                </a:xfrm>
                <a:custGeom>
                  <a:avLst/>
                  <a:gdLst>
                    <a:gd name="T0" fmla="*/ 5 w 16"/>
                    <a:gd name="T1" fmla="*/ 0 h 21"/>
                    <a:gd name="T2" fmla="*/ 5 w 16"/>
                    <a:gd name="T3" fmla="*/ 4 h 21"/>
                    <a:gd name="T4" fmla="*/ 5 w 16"/>
                    <a:gd name="T5" fmla="*/ 4 h 21"/>
                    <a:gd name="T6" fmla="*/ 16 w 16"/>
                    <a:gd name="T7" fmla="*/ 21 h 21"/>
                    <a:gd name="T8" fmla="*/ 5 w 16"/>
                    <a:gd name="T9" fmla="*/ 21 h 21"/>
                    <a:gd name="T10" fmla="*/ 0 w 16"/>
                    <a:gd name="T11" fmla="*/ 0 h 21"/>
                    <a:gd name="T12" fmla="*/ 5 w 16"/>
                    <a:gd name="T13" fmla="*/ 0 h 21"/>
                    <a:gd name="T14" fmla="*/ 5 w 16"/>
                    <a:gd name="T15" fmla="*/ 0 h 21"/>
                    <a:gd name="T16" fmla="*/ 5 w 16"/>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1">
                      <a:moveTo>
                        <a:pt x="5" y="0"/>
                      </a:moveTo>
                      <a:lnTo>
                        <a:pt x="5" y="4"/>
                      </a:lnTo>
                      <a:lnTo>
                        <a:pt x="5" y="4"/>
                      </a:lnTo>
                      <a:lnTo>
                        <a:pt x="16" y="21"/>
                      </a:lnTo>
                      <a:lnTo>
                        <a:pt x="5" y="21"/>
                      </a:lnTo>
                      <a:lnTo>
                        <a:pt x="0" y="0"/>
                      </a:lnTo>
                      <a:lnTo>
                        <a:pt x="5" y="0"/>
                      </a:lnTo>
                      <a:lnTo>
                        <a:pt x="5" y="0"/>
                      </a:lnTo>
                      <a:lnTo>
                        <a:pt x="5" y="0"/>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4" name="Freeform 552">
                  <a:extLst>
                    <a:ext uri="{FF2B5EF4-FFF2-40B4-BE49-F238E27FC236}">
                      <a16:creationId xmlns:a16="http://schemas.microsoft.com/office/drawing/2014/main" id="{8AA287E0-8574-48F7-B84A-E0A6F27E990E}"/>
                    </a:ext>
                  </a:extLst>
                </p:cNvPr>
                <p:cNvSpPr>
                  <a:spLocks/>
                </p:cNvSpPr>
                <p:nvPr/>
              </p:nvSpPr>
              <p:spPr bwMode="gray">
                <a:xfrm>
                  <a:off x="7114029" y="2563945"/>
                  <a:ext cx="89745" cy="54346"/>
                </a:xfrm>
                <a:custGeom>
                  <a:avLst/>
                  <a:gdLst>
                    <a:gd name="T0" fmla="*/ 22 w 218"/>
                    <a:gd name="T1" fmla="*/ 28 h 132"/>
                    <a:gd name="T2" fmla="*/ 74 w 218"/>
                    <a:gd name="T3" fmla="*/ 45 h 132"/>
                    <a:gd name="T4" fmla="*/ 102 w 218"/>
                    <a:gd name="T5" fmla="*/ 38 h 132"/>
                    <a:gd name="T6" fmla="*/ 102 w 218"/>
                    <a:gd name="T7" fmla="*/ 21 h 132"/>
                    <a:gd name="T8" fmla="*/ 166 w 218"/>
                    <a:gd name="T9" fmla="*/ 12 h 132"/>
                    <a:gd name="T10" fmla="*/ 180 w 218"/>
                    <a:gd name="T11" fmla="*/ 0 h 132"/>
                    <a:gd name="T12" fmla="*/ 208 w 218"/>
                    <a:gd name="T13" fmla="*/ 5 h 132"/>
                    <a:gd name="T14" fmla="*/ 196 w 218"/>
                    <a:gd name="T15" fmla="*/ 12 h 132"/>
                    <a:gd name="T16" fmla="*/ 218 w 218"/>
                    <a:gd name="T17" fmla="*/ 38 h 132"/>
                    <a:gd name="T18" fmla="*/ 196 w 218"/>
                    <a:gd name="T19" fmla="*/ 28 h 132"/>
                    <a:gd name="T20" fmla="*/ 196 w 218"/>
                    <a:gd name="T21" fmla="*/ 45 h 132"/>
                    <a:gd name="T22" fmla="*/ 154 w 218"/>
                    <a:gd name="T23" fmla="*/ 62 h 132"/>
                    <a:gd name="T24" fmla="*/ 154 w 218"/>
                    <a:gd name="T25" fmla="*/ 66 h 132"/>
                    <a:gd name="T26" fmla="*/ 159 w 218"/>
                    <a:gd name="T27" fmla="*/ 78 h 132"/>
                    <a:gd name="T28" fmla="*/ 159 w 218"/>
                    <a:gd name="T29" fmla="*/ 95 h 132"/>
                    <a:gd name="T30" fmla="*/ 128 w 218"/>
                    <a:gd name="T31" fmla="*/ 99 h 132"/>
                    <a:gd name="T32" fmla="*/ 128 w 218"/>
                    <a:gd name="T33" fmla="*/ 111 h 132"/>
                    <a:gd name="T34" fmla="*/ 137 w 218"/>
                    <a:gd name="T35" fmla="*/ 111 h 132"/>
                    <a:gd name="T36" fmla="*/ 128 w 218"/>
                    <a:gd name="T37" fmla="*/ 123 h 132"/>
                    <a:gd name="T38" fmla="*/ 123 w 218"/>
                    <a:gd name="T39" fmla="*/ 132 h 132"/>
                    <a:gd name="T40" fmla="*/ 102 w 218"/>
                    <a:gd name="T41" fmla="*/ 123 h 132"/>
                    <a:gd name="T42" fmla="*/ 85 w 218"/>
                    <a:gd name="T43" fmla="*/ 111 h 132"/>
                    <a:gd name="T44" fmla="*/ 69 w 218"/>
                    <a:gd name="T45" fmla="*/ 123 h 132"/>
                    <a:gd name="T46" fmla="*/ 15 w 218"/>
                    <a:gd name="T47" fmla="*/ 123 h 132"/>
                    <a:gd name="T48" fmla="*/ 22 w 218"/>
                    <a:gd name="T49" fmla="*/ 116 h 132"/>
                    <a:gd name="T50" fmla="*/ 22 w 218"/>
                    <a:gd name="T51" fmla="*/ 116 h 132"/>
                    <a:gd name="T52" fmla="*/ 36 w 218"/>
                    <a:gd name="T53" fmla="*/ 111 h 132"/>
                    <a:gd name="T54" fmla="*/ 15 w 218"/>
                    <a:gd name="T55" fmla="*/ 95 h 132"/>
                    <a:gd name="T56" fmla="*/ 15 w 218"/>
                    <a:gd name="T57" fmla="*/ 78 h 132"/>
                    <a:gd name="T58" fmla="*/ 5 w 218"/>
                    <a:gd name="T59" fmla="*/ 78 h 132"/>
                    <a:gd name="T60" fmla="*/ 15 w 218"/>
                    <a:gd name="T61" fmla="*/ 62 h 132"/>
                    <a:gd name="T62" fmla="*/ 0 w 218"/>
                    <a:gd name="T63" fmla="*/ 62 h 132"/>
                    <a:gd name="T64" fmla="*/ 0 w 218"/>
                    <a:gd name="T65" fmla="*/ 54 h 132"/>
                    <a:gd name="T66" fmla="*/ 22 w 218"/>
                    <a:gd name="T67" fmla="*/ 28 h 132"/>
                    <a:gd name="T68" fmla="*/ 22 w 218"/>
                    <a:gd name="T69" fmla="*/ 28 h 132"/>
                    <a:gd name="T70" fmla="*/ 22 w 218"/>
                    <a:gd name="T71" fmla="*/ 2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8" h="132">
                      <a:moveTo>
                        <a:pt x="22" y="28"/>
                      </a:moveTo>
                      <a:lnTo>
                        <a:pt x="74" y="45"/>
                      </a:lnTo>
                      <a:lnTo>
                        <a:pt x="102" y="38"/>
                      </a:lnTo>
                      <a:lnTo>
                        <a:pt x="102" y="21"/>
                      </a:lnTo>
                      <a:lnTo>
                        <a:pt x="166" y="12"/>
                      </a:lnTo>
                      <a:lnTo>
                        <a:pt x="180" y="0"/>
                      </a:lnTo>
                      <a:lnTo>
                        <a:pt x="208" y="5"/>
                      </a:lnTo>
                      <a:lnTo>
                        <a:pt x="196" y="12"/>
                      </a:lnTo>
                      <a:lnTo>
                        <a:pt x="218" y="38"/>
                      </a:lnTo>
                      <a:lnTo>
                        <a:pt x="196" y="28"/>
                      </a:lnTo>
                      <a:lnTo>
                        <a:pt x="196" y="45"/>
                      </a:lnTo>
                      <a:lnTo>
                        <a:pt x="154" y="62"/>
                      </a:lnTo>
                      <a:lnTo>
                        <a:pt x="154" y="66"/>
                      </a:lnTo>
                      <a:lnTo>
                        <a:pt x="159" y="78"/>
                      </a:lnTo>
                      <a:lnTo>
                        <a:pt x="159" y="95"/>
                      </a:lnTo>
                      <a:lnTo>
                        <a:pt x="128" y="99"/>
                      </a:lnTo>
                      <a:lnTo>
                        <a:pt x="128" y="111"/>
                      </a:lnTo>
                      <a:lnTo>
                        <a:pt x="137" y="111"/>
                      </a:lnTo>
                      <a:lnTo>
                        <a:pt x="128" y="123"/>
                      </a:lnTo>
                      <a:lnTo>
                        <a:pt x="123" y="132"/>
                      </a:lnTo>
                      <a:lnTo>
                        <a:pt x="102" y="123"/>
                      </a:lnTo>
                      <a:lnTo>
                        <a:pt x="85" y="111"/>
                      </a:lnTo>
                      <a:lnTo>
                        <a:pt x="69" y="123"/>
                      </a:lnTo>
                      <a:lnTo>
                        <a:pt x="15" y="123"/>
                      </a:lnTo>
                      <a:lnTo>
                        <a:pt x="22" y="116"/>
                      </a:lnTo>
                      <a:lnTo>
                        <a:pt x="22" y="116"/>
                      </a:lnTo>
                      <a:lnTo>
                        <a:pt x="36" y="111"/>
                      </a:lnTo>
                      <a:lnTo>
                        <a:pt x="15" y="95"/>
                      </a:lnTo>
                      <a:lnTo>
                        <a:pt x="15" y="78"/>
                      </a:lnTo>
                      <a:lnTo>
                        <a:pt x="5" y="78"/>
                      </a:lnTo>
                      <a:lnTo>
                        <a:pt x="15" y="62"/>
                      </a:lnTo>
                      <a:lnTo>
                        <a:pt x="0" y="62"/>
                      </a:lnTo>
                      <a:lnTo>
                        <a:pt x="0" y="54"/>
                      </a:lnTo>
                      <a:lnTo>
                        <a:pt x="22" y="28"/>
                      </a:lnTo>
                      <a:lnTo>
                        <a:pt x="22" y="28"/>
                      </a:lnTo>
                      <a:lnTo>
                        <a:pt x="22" y="28"/>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5" name="Freeform 554">
                  <a:extLst>
                    <a:ext uri="{FF2B5EF4-FFF2-40B4-BE49-F238E27FC236}">
                      <a16:creationId xmlns:a16="http://schemas.microsoft.com/office/drawing/2014/main" id="{97B1DC43-D6A7-400C-B10F-004194FFDAAE}"/>
                    </a:ext>
                  </a:extLst>
                </p:cNvPr>
                <p:cNvSpPr>
                  <a:spLocks/>
                </p:cNvSpPr>
                <p:nvPr/>
              </p:nvSpPr>
              <p:spPr bwMode="gray">
                <a:xfrm>
                  <a:off x="7083977" y="2670169"/>
                  <a:ext cx="4940" cy="3706"/>
                </a:xfrm>
                <a:custGeom>
                  <a:avLst/>
                  <a:gdLst>
                    <a:gd name="T0" fmla="*/ 0 w 12"/>
                    <a:gd name="T1" fmla="*/ 0 h 9"/>
                    <a:gd name="T2" fmla="*/ 12 w 12"/>
                    <a:gd name="T3" fmla="*/ 0 h 9"/>
                    <a:gd name="T4" fmla="*/ 0 w 12"/>
                    <a:gd name="T5" fmla="*/ 9 h 9"/>
                    <a:gd name="T6" fmla="*/ 0 w 12"/>
                    <a:gd name="T7" fmla="*/ 0 h 9"/>
                    <a:gd name="T8" fmla="*/ 0 w 12"/>
                    <a:gd name="T9" fmla="*/ 0 h 9"/>
                    <a:gd name="T10" fmla="*/ 0 w 12"/>
                    <a:gd name="T11" fmla="*/ 0 h 9"/>
                  </a:gdLst>
                  <a:ahLst/>
                  <a:cxnLst>
                    <a:cxn ang="0">
                      <a:pos x="T0" y="T1"/>
                    </a:cxn>
                    <a:cxn ang="0">
                      <a:pos x="T2" y="T3"/>
                    </a:cxn>
                    <a:cxn ang="0">
                      <a:pos x="T4" y="T5"/>
                    </a:cxn>
                    <a:cxn ang="0">
                      <a:pos x="T6" y="T7"/>
                    </a:cxn>
                    <a:cxn ang="0">
                      <a:pos x="T8" y="T9"/>
                    </a:cxn>
                    <a:cxn ang="0">
                      <a:pos x="T10" y="T11"/>
                    </a:cxn>
                  </a:cxnLst>
                  <a:rect l="0" t="0" r="r" b="b"/>
                  <a:pathLst>
                    <a:path w="12" h="9">
                      <a:moveTo>
                        <a:pt x="0" y="0"/>
                      </a:moveTo>
                      <a:lnTo>
                        <a:pt x="12" y="0"/>
                      </a:lnTo>
                      <a:lnTo>
                        <a:pt x="0" y="9"/>
                      </a:lnTo>
                      <a:lnTo>
                        <a:pt x="0" y="0"/>
                      </a:lnTo>
                      <a:lnTo>
                        <a:pt x="0" y="0"/>
                      </a:lnTo>
                      <a:lnTo>
                        <a:pt x="0" y="0"/>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6" name="Freeform 558">
                  <a:extLst>
                    <a:ext uri="{FF2B5EF4-FFF2-40B4-BE49-F238E27FC236}">
                      <a16:creationId xmlns:a16="http://schemas.microsoft.com/office/drawing/2014/main" id="{6ECB5FBA-C04E-4124-82F3-5DAB8CF9AEDC}"/>
                    </a:ext>
                  </a:extLst>
                </p:cNvPr>
                <p:cNvSpPr>
                  <a:spLocks/>
                </p:cNvSpPr>
                <p:nvPr/>
              </p:nvSpPr>
              <p:spPr bwMode="gray">
                <a:xfrm>
                  <a:off x="7269639" y="2588237"/>
                  <a:ext cx="119796" cy="157688"/>
                </a:xfrm>
                <a:custGeom>
                  <a:avLst/>
                  <a:gdLst>
                    <a:gd name="T0" fmla="*/ 90 w 291"/>
                    <a:gd name="T1" fmla="*/ 317 h 383"/>
                    <a:gd name="T2" fmla="*/ 102 w 291"/>
                    <a:gd name="T3" fmla="*/ 300 h 383"/>
                    <a:gd name="T4" fmla="*/ 107 w 291"/>
                    <a:gd name="T5" fmla="*/ 295 h 383"/>
                    <a:gd name="T6" fmla="*/ 31 w 291"/>
                    <a:gd name="T7" fmla="*/ 239 h 383"/>
                    <a:gd name="T8" fmla="*/ 48 w 291"/>
                    <a:gd name="T9" fmla="*/ 222 h 383"/>
                    <a:gd name="T10" fmla="*/ 48 w 291"/>
                    <a:gd name="T11" fmla="*/ 201 h 383"/>
                    <a:gd name="T12" fmla="*/ 22 w 291"/>
                    <a:gd name="T13" fmla="*/ 168 h 383"/>
                    <a:gd name="T14" fmla="*/ 14 w 291"/>
                    <a:gd name="T15" fmla="*/ 118 h 383"/>
                    <a:gd name="T16" fmla="*/ 48 w 291"/>
                    <a:gd name="T17" fmla="*/ 90 h 383"/>
                    <a:gd name="T18" fmla="*/ 14 w 291"/>
                    <a:gd name="T19" fmla="*/ 62 h 383"/>
                    <a:gd name="T20" fmla="*/ 5 w 291"/>
                    <a:gd name="T21" fmla="*/ 57 h 383"/>
                    <a:gd name="T22" fmla="*/ 0 w 291"/>
                    <a:gd name="T23" fmla="*/ 24 h 383"/>
                    <a:gd name="T24" fmla="*/ 31 w 291"/>
                    <a:gd name="T25" fmla="*/ 17 h 383"/>
                    <a:gd name="T26" fmla="*/ 102 w 291"/>
                    <a:gd name="T27" fmla="*/ 7 h 383"/>
                    <a:gd name="T28" fmla="*/ 140 w 291"/>
                    <a:gd name="T29" fmla="*/ 40 h 383"/>
                    <a:gd name="T30" fmla="*/ 194 w 291"/>
                    <a:gd name="T31" fmla="*/ 95 h 383"/>
                    <a:gd name="T32" fmla="*/ 194 w 291"/>
                    <a:gd name="T33" fmla="*/ 118 h 383"/>
                    <a:gd name="T34" fmla="*/ 182 w 291"/>
                    <a:gd name="T35" fmla="*/ 128 h 383"/>
                    <a:gd name="T36" fmla="*/ 199 w 291"/>
                    <a:gd name="T37" fmla="*/ 135 h 383"/>
                    <a:gd name="T38" fmla="*/ 232 w 291"/>
                    <a:gd name="T39" fmla="*/ 151 h 383"/>
                    <a:gd name="T40" fmla="*/ 253 w 291"/>
                    <a:gd name="T41" fmla="*/ 135 h 383"/>
                    <a:gd name="T42" fmla="*/ 253 w 291"/>
                    <a:gd name="T43" fmla="*/ 151 h 383"/>
                    <a:gd name="T44" fmla="*/ 253 w 291"/>
                    <a:gd name="T45" fmla="*/ 201 h 383"/>
                    <a:gd name="T46" fmla="*/ 265 w 291"/>
                    <a:gd name="T47" fmla="*/ 246 h 383"/>
                    <a:gd name="T48" fmla="*/ 279 w 291"/>
                    <a:gd name="T49" fmla="*/ 295 h 383"/>
                    <a:gd name="T50" fmla="*/ 253 w 291"/>
                    <a:gd name="T51" fmla="*/ 317 h 383"/>
                    <a:gd name="T52" fmla="*/ 248 w 291"/>
                    <a:gd name="T53" fmla="*/ 338 h 383"/>
                    <a:gd name="T54" fmla="*/ 199 w 291"/>
                    <a:gd name="T55" fmla="*/ 350 h 383"/>
                    <a:gd name="T56" fmla="*/ 177 w 291"/>
                    <a:gd name="T57" fmla="*/ 354 h 383"/>
                    <a:gd name="T58" fmla="*/ 140 w 291"/>
                    <a:gd name="T59" fmla="*/ 366 h 383"/>
                    <a:gd name="T60" fmla="*/ 123 w 291"/>
                    <a:gd name="T61" fmla="*/ 383 h 383"/>
                    <a:gd name="T62" fmla="*/ 102 w 291"/>
                    <a:gd name="T63" fmla="*/ 338 h 383"/>
                    <a:gd name="T64" fmla="*/ 85 w 291"/>
                    <a:gd name="T65" fmla="*/ 32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1" h="383">
                      <a:moveTo>
                        <a:pt x="85" y="329"/>
                      </a:moveTo>
                      <a:lnTo>
                        <a:pt x="90" y="317"/>
                      </a:lnTo>
                      <a:lnTo>
                        <a:pt x="85" y="312"/>
                      </a:lnTo>
                      <a:lnTo>
                        <a:pt x="102" y="300"/>
                      </a:lnTo>
                      <a:lnTo>
                        <a:pt x="107" y="300"/>
                      </a:lnTo>
                      <a:lnTo>
                        <a:pt x="107" y="295"/>
                      </a:lnTo>
                      <a:lnTo>
                        <a:pt x="64" y="272"/>
                      </a:lnTo>
                      <a:lnTo>
                        <a:pt x="31" y="239"/>
                      </a:lnTo>
                      <a:lnTo>
                        <a:pt x="48" y="239"/>
                      </a:lnTo>
                      <a:lnTo>
                        <a:pt x="48" y="222"/>
                      </a:lnTo>
                      <a:lnTo>
                        <a:pt x="31" y="201"/>
                      </a:lnTo>
                      <a:lnTo>
                        <a:pt x="48" y="201"/>
                      </a:lnTo>
                      <a:lnTo>
                        <a:pt x="52" y="189"/>
                      </a:lnTo>
                      <a:lnTo>
                        <a:pt x="22" y="168"/>
                      </a:lnTo>
                      <a:lnTo>
                        <a:pt x="38" y="118"/>
                      </a:lnTo>
                      <a:lnTo>
                        <a:pt x="14" y="118"/>
                      </a:lnTo>
                      <a:lnTo>
                        <a:pt x="22" y="90"/>
                      </a:lnTo>
                      <a:lnTo>
                        <a:pt x="48" y="90"/>
                      </a:lnTo>
                      <a:lnTo>
                        <a:pt x="14" y="73"/>
                      </a:lnTo>
                      <a:lnTo>
                        <a:pt x="14" y="62"/>
                      </a:lnTo>
                      <a:lnTo>
                        <a:pt x="22" y="62"/>
                      </a:lnTo>
                      <a:lnTo>
                        <a:pt x="5" y="57"/>
                      </a:lnTo>
                      <a:lnTo>
                        <a:pt x="5" y="40"/>
                      </a:lnTo>
                      <a:lnTo>
                        <a:pt x="0" y="24"/>
                      </a:lnTo>
                      <a:lnTo>
                        <a:pt x="22" y="17"/>
                      </a:lnTo>
                      <a:lnTo>
                        <a:pt x="31" y="17"/>
                      </a:lnTo>
                      <a:lnTo>
                        <a:pt x="52" y="0"/>
                      </a:lnTo>
                      <a:lnTo>
                        <a:pt x="102" y="7"/>
                      </a:lnTo>
                      <a:lnTo>
                        <a:pt x="128" y="40"/>
                      </a:lnTo>
                      <a:lnTo>
                        <a:pt x="140" y="40"/>
                      </a:lnTo>
                      <a:lnTo>
                        <a:pt x="140" y="62"/>
                      </a:lnTo>
                      <a:lnTo>
                        <a:pt x="194" y="95"/>
                      </a:lnTo>
                      <a:lnTo>
                        <a:pt x="177" y="111"/>
                      </a:lnTo>
                      <a:lnTo>
                        <a:pt x="194" y="118"/>
                      </a:lnTo>
                      <a:lnTo>
                        <a:pt x="177" y="118"/>
                      </a:lnTo>
                      <a:lnTo>
                        <a:pt x="182" y="128"/>
                      </a:lnTo>
                      <a:lnTo>
                        <a:pt x="194" y="128"/>
                      </a:lnTo>
                      <a:lnTo>
                        <a:pt x="199" y="135"/>
                      </a:lnTo>
                      <a:lnTo>
                        <a:pt x="227" y="144"/>
                      </a:lnTo>
                      <a:lnTo>
                        <a:pt x="232" y="151"/>
                      </a:lnTo>
                      <a:lnTo>
                        <a:pt x="248" y="135"/>
                      </a:lnTo>
                      <a:lnTo>
                        <a:pt x="253" y="135"/>
                      </a:lnTo>
                      <a:lnTo>
                        <a:pt x="279" y="151"/>
                      </a:lnTo>
                      <a:lnTo>
                        <a:pt x="253" y="151"/>
                      </a:lnTo>
                      <a:lnTo>
                        <a:pt x="270" y="173"/>
                      </a:lnTo>
                      <a:lnTo>
                        <a:pt x="253" y="201"/>
                      </a:lnTo>
                      <a:lnTo>
                        <a:pt x="248" y="217"/>
                      </a:lnTo>
                      <a:lnTo>
                        <a:pt x="265" y="246"/>
                      </a:lnTo>
                      <a:lnTo>
                        <a:pt x="291" y="272"/>
                      </a:lnTo>
                      <a:lnTo>
                        <a:pt x="279" y="295"/>
                      </a:lnTo>
                      <a:lnTo>
                        <a:pt x="253" y="300"/>
                      </a:lnTo>
                      <a:lnTo>
                        <a:pt x="253" y="317"/>
                      </a:lnTo>
                      <a:lnTo>
                        <a:pt x="265" y="333"/>
                      </a:lnTo>
                      <a:lnTo>
                        <a:pt x="248" y="338"/>
                      </a:lnTo>
                      <a:lnTo>
                        <a:pt x="215" y="338"/>
                      </a:lnTo>
                      <a:lnTo>
                        <a:pt x="199" y="350"/>
                      </a:lnTo>
                      <a:lnTo>
                        <a:pt x="182" y="350"/>
                      </a:lnTo>
                      <a:lnTo>
                        <a:pt x="177" y="354"/>
                      </a:lnTo>
                      <a:lnTo>
                        <a:pt x="161" y="354"/>
                      </a:lnTo>
                      <a:lnTo>
                        <a:pt x="140" y="366"/>
                      </a:lnTo>
                      <a:lnTo>
                        <a:pt x="128" y="383"/>
                      </a:lnTo>
                      <a:lnTo>
                        <a:pt x="123" y="383"/>
                      </a:lnTo>
                      <a:lnTo>
                        <a:pt x="123" y="350"/>
                      </a:lnTo>
                      <a:lnTo>
                        <a:pt x="102" y="338"/>
                      </a:lnTo>
                      <a:lnTo>
                        <a:pt x="85" y="329"/>
                      </a:lnTo>
                      <a:lnTo>
                        <a:pt x="85" y="329"/>
                      </a:lnTo>
                      <a:lnTo>
                        <a:pt x="85" y="329"/>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7" name="Freeform 560">
                  <a:extLst>
                    <a:ext uri="{FF2B5EF4-FFF2-40B4-BE49-F238E27FC236}">
                      <a16:creationId xmlns:a16="http://schemas.microsoft.com/office/drawing/2014/main" id="{7239528F-2682-4719-9E0F-9337C8020D77}"/>
                    </a:ext>
                  </a:extLst>
                </p:cNvPr>
                <p:cNvSpPr>
                  <a:spLocks noEditPoints="1"/>
                </p:cNvSpPr>
                <p:nvPr/>
              </p:nvSpPr>
              <p:spPr bwMode="gray">
                <a:xfrm>
                  <a:off x="7027578" y="899789"/>
                  <a:ext cx="761590" cy="406775"/>
                </a:xfrm>
                <a:custGeom>
                  <a:avLst/>
                  <a:gdLst>
                    <a:gd name="T0" fmla="*/ 749 w 1850"/>
                    <a:gd name="T1" fmla="*/ 22 h 988"/>
                    <a:gd name="T2" fmla="*/ 706 w 1850"/>
                    <a:gd name="T3" fmla="*/ 17 h 988"/>
                    <a:gd name="T4" fmla="*/ 678 w 1850"/>
                    <a:gd name="T5" fmla="*/ 38 h 988"/>
                    <a:gd name="T6" fmla="*/ 959 w 1850"/>
                    <a:gd name="T7" fmla="*/ 43 h 988"/>
                    <a:gd name="T8" fmla="*/ 834 w 1850"/>
                    <a:gd name="T9" fmla="*/ 60 h 988"/>
                    <a:gd name="T10" fmla="*/ 905 w 1850"/>
                    <a:gd name="T11" fmla="*/ 71 h 988"/>
                    <a:gd name="T12" fmla="*/ 933 w 1850"/>
                    <a:gd name="T13" fmla="*/ 78 h 988"/>
                    <a:gd name="T14" fmla="*/ 1013 w 1850"/>
                    <a:gd name="T15" fmla="*/ 78 h 988"/>
                    <a:gd name="T16" fmla="*/ 1082 w 1850"/>
                    <a:gd name="T17" fmla="*/ 187 h 988"/>
                    <a:gd name="T18" fmla="*/ 921 w 1850"/>
                    <a:gd name="T19" fmla="*/ 260 h 988"/>
                    <a:gd name="T20" fmla="*/ 690 w 1850"/>
                    <a:gd name="T21" fmla="*/ 187 h 988"/>
                    <a:gd name="T22" fmla="*/ 586 w 1850"/>
                    <a:gd name="T23" fmla="*/ 128 h 988"/>
                    <a:gd name="T24" fmla="*/ 657 w 1850"/>
                    <a:gd name="T25" fmla="*/ 95 h 988"/>
                    <a:gd name="T26" fmla="*/ 728 w 1850"/>
                    <a:gd name="T27" fmla="*/ 78 h 988"/>
                    <a:gd name="T28" fmla="*/ 825 w 1850"/>
                    <a:gd name="T29" fmla="*/ 133 h 988"/>
                    <a:gd name="T30" fmla="*/ 980 w 1850"/>
                    <a:gd name="T31" fmla="*/ 60 h 988"/>
                    <a:gd name="T32" fmla="*/ 586 w 1850"/>
                    <a:gd name="T33" fmla="*/ 78 h 988"/>
                    <a:gd name="T34" fmla="*/ 1481 w 1850"/>
                    <a:gd name="T35" fmla="*/ 116 h 988"/>
                    <a:gd name="T36" fmla="*/ 1219 w 1850"/>
                    <a:gd name="T37" fmla="*/ 100 h 988"/>
                    <a:gd name="T38" fmla="*/ 1843 w 1850"/>
                    <a:gd name="T39" fmla="*/ 100 h 988"/>
                    <a:gd name="T40" fmla="*/ 85 w 1850"/>
                    <a:gd name="T41" fmla="*/ 334 h 988"/>
                    <a:gd name="T42" fmla="*/ 118 w 1850"/>
                    <a:gd name="T43" fmla="*/ 244 h 988"/>
                    <a:gd name="T44" fmla="*/ 31 w 1850"/>
                    <a:gd name="T45" fmla="*/ 227 h 988"/>
                    <a:gd name="T46" fmla="*/ 85 w 1850"/>
                    <a:gd name="T47" fmla="*/ 154 h 988"/>
                    <a:gd name="T48" fmla="*/ 139 w 1850"/>
                    <a:gd name="T49" fmla="*/ 194 h 988"/>
                    <a:gd name="T50" fmla="*/ 295 w 1850"/>
                    <a:gd name="T51" fmla="*/ 154 h 988"/>
                    <a:gd name="T52" fmla="*/ 388 w 1850"/>
                    <a:gd name="T53" fmla="*/ 239 h 988"/>
                    <a:gd name="T54" fmla="*/ 458 w 1850"/>
                    <a:gd name="T55" fmla="*/ 133 h 988"/>
                    <a:gd name="T56" fmla="*/ 555 w 1850"/>
                    <a:gd name="T57" fmla="*/ 187 h 988"/>
                    <a:gd name="T58" fmla="*/ 652 w 1850"/>
                    <a:gd name="T59" fmla="*/ 350 h 988"/>
                    <a:gd name="T60" fmla="*/ 555 w 1850"/>
                    <a:gd name="T61" fmla="*/ 442 h 988"/>
                    <a:gd name="T62" fmla="*/ 480 w 1850"/>
                    <a:gd name="T63" fmla="*/ 598 h 988"/>
                    <a:gd name="T64" fmla="*/ 350 w 1850"/>
                    <a:gd name="T65" fmla="*/ 598 h 988"/>
                    <a:gd name="T66" fmla="*/ 286 w 1850"/>
                    <a:gd name="T67" fmla="*/ 520 h 988"/>
                    <a:gd name="T68" fmla="*/ 248 w 1850"/>
                    <a:gd name="T69" fmla="*/ 487 h 988"/>
                    <a:gd name="T70" fmla="*/ 265 w 1850"/>
                    <a:gd name="T71" fmla="*/ 433 h 988"/>
                    <a:gd name="T72" fmla="*/ 480 w 1850"/>
                    <a:gd name="T73" fmla="*/ 376 h 988"/>
                    <a:gd name="T74" fmla="*/ 350 w 1850"/>
                    <a:gd name="T75" fmla="*/ 350 h 988"/>
                    <a:gd name="T76" fmla="*/ 286 w 1850"/>
                    <a:gd name="T77" fmla="*/ 355 h 988"/>
                    <a:gd name="T78" fmla="*/ 227 w 1850"/>
                    <a:gd name="T79" fmla="*/ 416 h 988"/>
                    <a:gd name="T80" fmla="*/ 662 w 1850"/>
                    <a:gd name="T81" fmla="*/ 249 h 988"/>
                    <a:gd name="T82" fmla="*/ 673 w 1850"/>
                    <a:gd name="T83" fmla="*/ 282 h 988"/>
                    <a:gd name="T84" fmla="*/ 732 w 1850"/>
                    <a:gd name="T85" fmla="*/ 282 h 988"/>
                    <a:gd name="T86" fmla="*/ 1396 w 1850"/>
                    <a:gd name="T87" fmla="*/ 293 h 988"/>
                    <a:gd name="T88" fmla="*/ 1354 w 1850"/>
                    <a:gd name="T89" fmla="*/ 305 h 988"/>
                    <a:gd name="T90" fmla="*/ 47 w 1850"/>
                    <a:gd name="T91" fmla="*/ 371 h 988"/>
                    <a:gd name="T92" fmla="*/ 97 w 1850"/>
                    <a:gd name="T93" fmla="*/ 376 h 988"/>
                    <a:gd name="T94" fmla="*/ 1136 w 1850"/>
                    <a:gd name="T95" fmla="*/ 315 h 988"/>
                    <a:gd name="T96" fmla="*/ 813 w 1850"/>
                    <a:gd name="T97" fmla="*/ 355 h 988"/>
                    <a:gd name="T98" fmla="*/ 678 w 1850"/>
                    <a:gd name="T99" fmla="*/ 371 h 988"/>
                    <a:gd name="T100" fmla="*/ 841 w 1850"/>
                    <a:gd name="T101" fmla="*/ 537 h 988"/>
                    <a:gd name="T102" fmla="*/ 732 w 1850"/>
                    <a:gd name="T103" fmla="*/ 433 h 988"/>
                    <a:gd name="T104" fmla="*/ 1013 w 1850"/>
                    <a:gd name="T105" fmla="*/ 482 h 988"/>
                    <a:gd name="T106" fmla="*/ 879 w 1850"/>
                    <a:gd name="T107" fmla="*/ 560 h 988"/>
                    <a:gd name="T108" fmla="*/ 1068 w 1850"/>
                    <a:gd name="T109" fmla="*/ 648 h 988"/>
                    <a:gd name="T110" fmla="*/ 602 w 1850"/>
                    <a:gd name="T111" fmla="*/ 988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50" h="988">
                      <a:moveTo>
                        <a:pt x="728" y="17"/>
                      </a:moveTo>
                      <a:lnTo>
                        <a:pt x="711" y="0"/>
                      </a:lnTo>
                      <a:lnTo>
                        <a:pt x="744" y="5"/>
                      </a:lnTo>
                      <a:lnTo>
                        <a:pt x="728" y="17"/>
                      </a:lnTo>
                      <a:lnTo>
                        <a:pt x="728" y="17"/>
                      </a:lnTo>
                      <a:lnTo>
                        <a:pt x="728" y="17"/>
                      </a:lnTo>
                      <a:close/>
                      <a:moveTo>
                        <a:pt x="749" y="22"/>
                      </a:moveTo>
                      <a:lnTo>
                        <a:pt x="744" y="17"/>
                      </a:lnTo>
                      <a:lnTo>
                        <a:pt x="765" y="17"/>
                      </a:lnTo>
                      <a:lnTo>
                        <a:pt x="749" y="22"/>
                      </a:lnTo>
                      <a:lnTo>
                        <a:pt x="749" y="22"/>
                      </a:lnTo>
                      <a:lnTo>
                        <a:pt x="749" y="22"/>
                      </a:lnTo>
                      <a:close/>
                      <a:moveTo>
                        <a:pt x="716" y="22"/>
                      </a:moveTo>
                      <a:lnTo>
                        <a:pt x="706" y="17"/>
                      </a:lnTo>
                      <a:lnTo>
                        <a:pt x="728" y="22"/>
                      </a:lnTo>
                      <a:lnTo>
                        <a:pt x="716" y="22"/>
                      </a:lnTo>
                      <a:lnTo>
                        <a:pt x="716" y="22"/>
                      </a:lnTo>
                      <a:lnTo>
                        <a:pt x="716" y="22"/>
                      </a:lnTo>
                      <a:close/>
                      <a:moveTo>
                        <a:pt x="673" y="43"/>
                      </a:moveTo>
                      <a:lnTo>
                        <a:pt x="657" y="43"/>
                      </a:lnTo>
                      <a:lnTo>
                        <a:pt x="678" y="38"/>
                      </a:lnTo>
                      <a:lnTo>
                        <a:pt x="673" y="43"/>
                      </a:lnTo>
                      <a:lnTo>
                        <a:pt x="673" y="43"/>
                      </a:lnTo>
                      <a:lnTo>
                        <a:pt x="673" y="43"/>
                      </a:lnTo>
                      <a:close/>
                      <a:moveTo>
                        <a:pt x="959" y="43"/>
                      </a:moveTo>
                      <a:lnTo>
                        <a:pt x="976" y="43"/>
                      </a:lnTo>
                      <a:lnTo>
                        <a:pt x="947" y="43"/>
                      </a:lnTo>
                      <a:lnTo>
                        <a:pt x="959" y="43"/>
                      </a:lnTo>
                      <a:lnTo>
                        <a:pt x="959" y="43"/>
                      </a:lnTo>
                      <a:lnTo>
                        <a:pt x="959" y="43"/>
                      </a:lnTo>
                      <a:close/>
                      <a:moveTo>
                        <a:pt x="834" y="128"/>
                      </a:moveTo>
                      <a:lnTo>
                        <a:pt x="841" y="83"/>
                      </a:lnTo>
                      <a:lnTo>
                        <a:pt x="851" y="78"/>
                      </a:lnTo>
                      <a:lnTo>
                        <a:pt x="834" y="71"/>
                      </a:lnTo>
                      <a:lnTo>
                        <a:pt x="834" y="60"/>
                      </a:lnTo>
                      <a:lnTo>
                        <a:pt x="858" y="55"/>
                      </a:lnTo>
                      <a:lnTo>
                        <a:pt x="858" y="71"/>
                      </a:lnTo>
                      <a:lnTo>
                        <a:pt x="867" y="71"/>
                      </a:lnTo>
                      <a:lnTo>
                        <a:pt x="872" y="43"/>
                      </a:lnTo>
                      <a:lnTo>
                        <a:pt x="905" y="55"/>
                      </a:lnTo>
                      <a:lnTo>
                        <a:pt x="888" y="60"/>
                      </a:lnTo>
                      <a:lnTo>
                        <a:pt x="905" y="71"/>
                      </a:lnTo>
                      <a:lnTo>
                        <a:pt x="888" y="83"/>
                      </a:lnTo>
                      <a:lnTo>
                        <a:pt x="879" y="100"/>
                      </a:lnTo>
                      <a:lnTo>
                        <a:pt x="888" y="112"/>
                      </a:lnTo>
                      <a:lnTo>
                        <a:pt x="910" y="95"/>
                      </a:lnTo>
                      <a:lnTo>
                        <a:pt x="926" y="100"/>
                      </a:lnTo>
                      <a:lnTo>
                        <a:pt x="933" y="95"/>
                      </a:lnTo>
                      <a:lnTo>
                        <a:pt x="933" y="78"/>
                      </a:lnTo>
                      <a:lnTo>
                        <a:pt x="980" y="78"/>
                      </a:lnTo>
                      <a:lnTo>
                        <a:pt x="964" y="71"/>
                      </a:lnTo>
                      <a:lnTo>
                        <a:pt x="997" y="78"/>
                      </a:lnTo>
                      <a:lnTo>
                        <a:pt x="980" y="83"/>
                      </a:lnTo>
                      <a:lnTo>
                        <a:pt x="985" y="83"/>
                      </a:lnTo>
                      <a:lnTo>
                        <a:pt x="1013" y="71"/>
                      </a:lnTo>
                      <a:lnTo>
                        <a:pt x="1013" y="78"/>
                      </a:lnTo>
                      <a:lnTo>
                        <a:pt x="1002" y="83"/>
                      </a:lnTo>
                      <a:lnTo>
                        <a:pt x="1039" y="78"/>
                      </a:lnTo>
                      <a:lnTo>
                        <a:pt x="1035" y="83"/>
                      </a:lnTo>
                      <a:lnTo>
                        <a:pt x="1174" y="112"/>
                      </a:lnTo>
                      <a:lnTo>
                        <a:pt x="1165" y="133"/>
                      </a:lnTo>
                      <a:lnTo>
                        <a:pt x="1181" y="138"/>
                      </a:lnTo>
                      <a:lnTo>
                        <a:pt x="1082" y="187"/>
                      </a:lnTo>
                      <a:lnTo>
                        <a:pt x="1089" y="206"/>
                      </a:lnTo>
                      <a:lnTo>
                        <a:pt x="1073" y="223"/>
                      </a:lnTo>
                      <a:lnTo>
                        <a:pt x="1035" y="239"/>
                      </a:lnTo>
                      <a:lnTo>
                        <a:pt x="1002" y="227"/>
                      </a:lnTo>
                      <a:lnTo>
                        <a:pt x="976" y="239"/>
                      </a:lnTo>
                      <a:lnTo>
                        <a:pt x="959" y="260"/>
                      </a:lnTo>
                      <a:lnTo>
                        <a:pt x="921" y="260"/>
                      </a:lnTo>
                      <a:lnTo>
                        <a:pt x="858" y="239"/>
                      </a:lnTo>
                      <a:lnTo>
                        <a:pt x="872" y="223"/>
                      </a:lnTo>
                      <a:lnTo>
                        <a:pt x="728" y="227"/>
                      </a:lnTo>
                      <a:lnTo>
                        <a:pt x="728" y="211"/>
                      </a:lnTo>
                      <a:lnTo>
                        <a:pt x="690" y="211"/>
                      </a:lnTo>
                      <a:lnTo>
                        <a:pt x="640" y="187"/>
                      </a:lnTo>
                      <a:lnTo>
                        <a:pt x="690" y="187"/>
                      </a:lnTo>
                      <a:lnTo>
                        <a:pt x="749" y="194"/>
                      </a:lnTo>
                      <a:lnTo>
                        <a:pt x="706" y="182"/>
                      </a:lnTo>
                      <a:lnTo>
                        <a:pt x="803" y="171"/>
                      </a:lnTo>
                      <a:lnTo>
                        <a:pt x="834" y="154"/>
                      </a:lnTo>
                      <a:lnTo>
                        <a:pt x="586" y="171"/>
                      </a:lnTo>
                      <a:lnTo>
                        <a:pt x="539" y="138"/>
                      </a:lnTo>
                      <a:lnTo>
                        <a:pt x="586" y="128"/>
                      </a:lnTo>
                      <a:lnTo>
                        <a:pt x="517" y="112"/>
                      </a:lnTo>
                      <a:lnTo>
                        <a:pt x="581" y="95"/>
                      </a:lnTo>
                      <a:lnTo>
                        <a:pt x="624" y="112"/>
                      </a:lnTo>
                      <a:lnTo>
                        <a:pt x="640" y="100"/>
                      </a:lnTo>
                      <a:lnTo>
                        <a:pt x="619" y="95"/>
                      </a:lnTo>
                      <a:lnTo>
                        <a:pt x="602" y="71"/>
                      </a:lnTo>
                      <a:lnTo>
                        <a:pt x="657" y="95"/>
                      </a:lnTo>
                      <a:lnTo>
                        <a:pt x="657" y="78"/>
                      </a:lnTo>
                      <a:lnTo>
                        <a:pt x="662" y="60"/>
                      </a:lnTo>
                      <a:lnTo>
                        <a:pt x="636" y="55"/>
                      </a:lnTo>
                      <a:lnTo>
                        <a:pt x="652" y="43"/>
                      </a:lnTo>
                      <a:lnTo>
                        <a:pt x="706" y="60"/>
                      </a:lnTo>
                      <a:lnTo>
                        <a:pt x="711" y="78"/>
                      </a:lnTo>
                      <a:lnTo>
                        <a:pt x="728" y="78"/>
                      </a:lnTo>
                      <a:lnTo>
                        <a:pt x="728" y="83"/>
                      </a:lnTo>
                      <a:lnTo>
                        <a:pt x="728" y="95"/>
                      </a:lnTo>
                      <a:lnTo>
                        <a:pt x="803" y="83"/>
                      </a:lnTo>
                      <a:lnTo>
                        <a:pt x="803" y="95"/>
                      </a:lnTo>
                      <a:lnTo>
                        <a:pt x="782" y="112"/>
                      </a:lnTo>
                      <a:lnTo>
                        <a:pt x="803" y="100"/>
                      </a:lnTo>
                      <a:lnTo>
                        <a:pt x="825" y="133"/>
                      </a:lnTo>
                      <a:lnTo>
                        <a:pt x="834" y="128"/>
                      </a:lnTo>
                      <a:lnTo>
                        <a:pt x="834" y="128"/>
                      </a:lnTo>
                      <a:lnTo>
                        <a:pt x="834" y="128"/>
                      </a:lnTo>
                      <a:close/>
                      <a:moveTo>
                        <a:pt x="976" y="60"/>
                      </a:moveTo>
                      <a:lnTo>
                        <a:pt x="959" y="60"/>
                      </a:lnTo>
                      <a:lnTo>
                        <a:pt x="964" y="55"/>
                      </a:lnTo>
                      <a:lnTo>
                        <a:pt x="980" y="60"/>
                      </a:lnTo>
                      <a:lnTo>
                        <a:pt x="976" y="60"/>
                      </a:lnTo>
                      <a:lnTo>
                        <a:pt x="976" y="60"/>
                      </a:lnTo>
                      <a:lnTo>
                        <a:pt x="976" y="60"/>
                      </a:lnTo>
                      <a:close/>
                      <a:moveTo>
                        <a:pt x="565" y="83"/>
                      </a:moveTo>
                      <a:lnTo>
                        <a:pt x="539" y="78"/>
                      </a:lnTo>
                      <a:lnTo>
                        <a:pt x="555" y="71"/>
                      </a:lnTo>
                      <a:lnTo>
                        <a:pt x="586" y="78"/>
                      </a:lnTo>
                      <a:lnTo>
                        <a:pt x="565" y="83"/>
                      </a:lnTo>
                      <a:lnTo>
                        <a:pt x="565" y="83"/>
                      </a:lnTo>
                      <a:lnTo>
                        <a:pt x="565" y="83"/>
                      </a:lnTo>
                      <a:close/>
                      <a:moveTo>
                        <a:pt x="1481" y="116"/>
                      </a:moveTo>
                      <a:lnTo>
                        <a:pt x="1472" y="112"/>
                      </a:lnTo>
                      <a:lnTo>
                        <a:pt x="1628" y="95"/>
                      </a:lnTo>
                      <a:lnTo>
                        <a:pt x="1481" y="116"/>
                      </a:lnTo>
                      <a:lnTo>
                        <a:pt x="1481" y="116"/>
                      </a:lnTo>
                      <a:lnTo>
                        <a:pt x="1481" y="116"/>
                      </a:lnTo>
                      <a:close/>
                      <a:moveTo>
                        <a:pt x="1219" y="100"/>
                      </a:moveTo>
                      <a:lnTo>
                        <a:pt x="1233" y="100"/>
                      </a:lnTo>
                      <a:lnTo>
                        <a:pt x="1212" y="112"/>
                      </a:lnTo>
                      <a:lnTo>
                        <a:pt x="1219" y="100"/>
                      </a:lnTo>
                      <a:lnTo>
                        <a:pt x="1219" y="100"/>
                      </a:lnTo>
                      <a:lnTo>
                        <a:pt x="1219" y="100"/>
                      </a:lnTo>
                      <a:close/>
                      <a:moveTo>
                        <a:pt x="1843" y="100"/>
                      </a:moveTo>
                      <a:lnTo>
                        <a:pt x="1838" y="100"/>
                      </a:lnTo>
                      <a:lnTo>
                        <a:pt x="1850" y="100"/>
                      </a:lnTo>
                      <a:lnTo>
                        <a:pt x="1843" y="100"/>
                      </a:lnTo>
                      <a:lnTo>
                        <a:pt x="1843" y="100"/>
                      </a:lnTo>
                      <a:lnTo>
                        <a:pt x="1843" y="100"/>
                      </a:lnTo>
                      <a:close/>
                      <a:moveTo>
                        <a:pt x="227" y="416"/>
                      </a:moveTo>
                      <a:lnTo>
                        <a:pt x="177" y="409"/>
                      </a:lnTo>
                      <a:lnTo>
                        <a:pt x="173" y="393"/>
                      </a:lnTo>
                      <a:lnTo>
                        <a:pt x="135" y="371"/>
                      </a:lnTo>
                      <a:lnTo>
                        <a:pt x="194" y="360"/>
                      </a:lnTo>
                      <a:lnTo>
                        <a:pt x="102" y="350"/>
                      </a:lnTo>
                      <a:lnTo>
                        <a:pt x="85" y="334"/>
                      </a:lnTo>
                      <a:lnTo>
                        <a:pt x="102" y="315"/>
                      </a:lnTo>
                      <a:lnTo>
                        <a:pt x="64" y="293"/>
                      </a:lnTo>
                      <a:lnTo>
                        <a:pt x="151" y="298"/>
                      </a:lnTo>
                      <a:lnTo>
                        <a:pt x="139" y="293"/>
                      </a:lnTo>
                      <a:lnTo>
                        <a:pt x="106" y="293"/>
                      </a:lnTo>
                      <a:lnTo>
                        <a:pt x="97" y="277"/>
                      </a:lnTo>
                      <a:lnTo>
                        <a:pt x="118" y="244"/>
                      </a:lnTo>
                      <a:lnTo>
                        <a:pt x="102" y="249"/>
                      </a:lnTo>
                      <a:lnTo>
                        <a:pt x="85" y="239"/>
                      </a:lnTo>
                      <a:lnTo>
                        <a:pt x="80" y="244"/>
                      </a:lnTo>
                      <a:lnTo>
                        <a:pt x="97" y="260"/>
                      </a:lnTo>
                      <a:lnTo>
                        <a:pt x="52" y="277"/>
                      </a:lnTo>
                      <a:lnTo>
                        <a:pt x="47" y="249"/>
                      </a:lnTo>
                      <a:lnTo>
                        <a:pt x="31" y="227"/>
                      </a:lnTo>
                      <a:lnTo>
                        <a:pt x="31" y="211"/>
                      </a:lnTo>
                      <a:lnTo>
                        <a:pt x="14" y="194"/>
                      </a:lnTo>
                      <a:lnTo>
                        <a:pt x="52" y="194"/>
                      </a:lnTo>
                      <a:lnTo>
                        <a:pt x="31" y="194"/>
                      </a:lnTo>
                      <a:lnTo>
                        <a:pt x="64" y="187"/>
                      </a:lnTo>
                      <a:lnTo>
                        <a:pt x="52" y="166"/>
                      </a:lnTo>
                      <a:lnTo>
                        <a:pt x="85" y="154"/>
                      </a:lnTo>
                      <a:lnTo>
                        <a:pt x="135" y="182"/>
                      </a:lnTo>
                      <a:lnTo>
                        <a:pt x="135" y="171"/>
                      </a:lnTo>
                      <a:lnTo>
                        <a:pt x="123" y="154"/>
                      </a:lnTo>
                      <a:lnTo>
                        <a:pt x="156" y="166"/>
                      </a:lnTo>
                      <a:lnTo>
                        <a:pt x="241" y="149"/>
                      </a:lnTo>
                      <a:lnTo>
                        <a:pt x="248" y="166"/>
                      </a:lnTo>
                      <a:lnTo>
                        <a:pt x="139" y="194"/>
                      </a:lnTo>
                      <a:lnTo>
                        <a:pt x="215" y="194"/>
                      </a:lnTo>
                      <a:lnTo>
                        <a:pt x="203" y="211"/>
                      </a:lnTo>
                      <a:lnTo>
                        <a:pt x="227" y="211"/>
                      </a:lnTo>
                      <a:lnTo>
                        <a:pt x="258" y="244"/>
                      </a:lnTo>
                      <a:lnTo>
                        <a:pt x="265" y="239"/>
                      </a:lnTo>
                      <a:lnTo>
                        <a:pt x="241" y="206"/>
                      </a:lnTo>
                      <a:lnTo>
                        <a:pt x="295" y="154"/>
                      </a:lnTo>
                      <a:lnTo>
                        <a:pt x="338" y="187"/>
                      </a:lnTo>
                      <a:lnTo>
                        <a:pt x="354" y="239"/>
                      </a:lnTo>
                      <a:lnTo>
                        <a:pt x="376" y="249"/>
                      </a:lnTo>
                      <a:lnTo>
                        <a:pt x="371" y="265"/>
                      </a:lnTo>
                      <a:lnTo>
                        <a:pt x="376" y="260"/>
                      </a:lnTo>
                      <a:lnTo>
                        <a:pt x="425" y="305"/>
                      </a:lnTo>
                      <a:lnTo>
                        <a:pt x="388" y="239"/>
                      </a:lnTo>
                      <a:lnTo>
                        <a:pt x="366" y="154"/>
                      </a:lnTo>
                      <a:lnTo>
                        <a:pt x="404" y="149"/>
                      </a:lnTo>
                      <a:lnTo>
                        <a:pt x="388" y="133"/>
                      </a:lnTo>
                      <a:lnTo>
                        <a:pt x="409" y="116"/>
                      </a:lnTo>
                      <a:lnTo>
                        <a:pt x="430" y="116"/>
                      </a:lnTo>
                      <a:lnTo>
                        <a:pt x="447" y="149"/>
                      </a:lnTo>
                      <a:lnTo>
                        <a:pt x="458" y="133"/>
                      </a:lnTo>
                      <a:lnTo>
                        <a:pt x="480" y="138"/>
                      </a:lnTo>
                      <a:lnTo>
                        <a:pt x="539" y="171"/>
                      </a:lnTo>
                      <a:lnTo>
                        <a:pt x="517" y="187"/>
                      </a:lnTo>
                      <a:lnTo>
                        <a:pt x="513" y="206"/>
                      </a:lnTo>
                      <a:lnTo>
                        <a:pt x="517" y="223"/>
                      </a:lnTo>
                      <a:lnTo>
                        <a:pt x="501" y="227"/>
                      </a:lnTo>
                      <a:lnTo>
                        <a:pt x="555" y="187"/>
                      </a:lnTo>
                      <a:lnTo>
                        <a:pt x="586" y="211"/>
                      </a:lnTo>
                      <a:lnTo>
                        <a:pt x="593" y="260"/>
                      </a:lnTo>
                      <a:lnTo>
                        <a:pt x="652" y="265"/>
                      </a:lnTo>
                      <a:lnTo>
                        <a:pt x="662" y="282"/>
                      </a:lnTo>
                      <a:lnTo>
                        <a:pt x="782" y="315"/>
                      </a:lnTo>
                      <a:lnTo>
                        <a:pt x="765" y="350"/>
                      </a:lnTo>
                      <a:lnTo>
                        <a:pt x="652" y="350"/>
                      </a:lnTo>
                      <a:lnTo>
                        <a:pt x="640" y="355"/>
                      </a:lnTo>
                      <a:lnTo>
                        <a:pt x="652" y="371"/>
                      </a:lnTo>
                      <a:lnTo>
                        <a:pt x="593" y="371"/>
                      </a:lnTo>
                      <a:lnTo>
                        <a:pt x="602" y="388"/>
                      </a:lnTo>
                      <a:lnTo>
                        <a:pt x="602" y="404"/>
                      </a:lnTo>
                      <a:lnTo>
                        <a:pt x="610" y="433"/>
                      </a:lnTo>
                      <a:lnTo>
                        <a:pt x="555" y="442"/>
                      </a:lnTo>
                      <a:lnTo>
                        <a:pt x="555" y="466"/>
                      </a:lnTo>
                      <a:lnTo>
                        <a:pt x="565" y="482"/>
                      </a:lnTo>
                      <a:lnTo>
                        <a:pt x="548" y="520"/>
                      </a:lnTo>
                      <a:lnTo>
                        <a:pt x="513" y="537"/>
                      </a:lnTo>
                      <a:lnTo>
                        <a:pt x="484" y="593"/>
                      </a:lnTo>
                      <a:lnTo>
                        <a:pt x="463" y="593"/>
                      </a:lnTo>
                      <a:lnTo>
                        <a:pt x="480" y="598"/>
                      </a:lnTo>
                      <a:lnTo>
                        <a:pt x="458" y="631"/>
                      </a:lnTo>
                      <a:lnTo>
                        <a:pt x="475" y="648"/>
                      </a:lnTo>
                      <a:lnTo>
                        <a:pt x="447" y="664"/>
                      </a:lnTo>
                      <a:lnTo>
                        <a:pt x="354" y="615"/>
                      </a:lnTo>
                      <a:lnTo>
                        <a:pt x="425" y="598"/>
                      </a:lnTo>
                      <a:lnTo>
                        <a:pt x="392" y="582"/>
                      </a:lnTo>
                      <a:lnTo>
                        <a:pt x="350" y="598"/>
                      </a:lnTo>
                      <a:lnTo>
                        <a:pt x="324" y="577"/>
                      </a:lnTo>
                      <a:lnTo>
                        <a:pt x="286" y="577"/>
                      </a:lnTo>
                      <a:lnTo>
                        <a:pt x="265" y="553"/>
                      </a:lnTo>
                      <a:lnTo>
                        <a:pt x="241" y="520"/>
                      </a:lnTo>
                      <a:lnTo>
                        <a:pt x="269" y="515"/>
                      </a:lnTo>
                      <a:lnTo>
                        <a:pt x="286" y="515"/>
                      </a:lnTo>
                      <a:lnTo>
                        <a:pt x="286" y="520"/>
                      </a:lnTo>
                      <a:lnTo>
                        <a:pt x="371" y="520"/>
                      </a:lnTo>
                      <a:lnTo>
                        <a:pt x="404" y="537"/>
                      </a:lnTo>
                      <a:lnTo>
                        <a:pt x="409" y="527"/>
                      </a:lnTo>
                      <a:lnTo>
                        <a:pt x="300" y="499"/>
                      </a:lnTo>
                      <a:lnTo>
                        <a:pt x="447" y="471"/>
                      </a:lnTo>
                      <a:lnTo>
                        <a:pt x="463" y="461"/>
                      </a:lnTo>
                      <a:lnTo>
                        <a:pt x="248" y="487"/>
                      </a:lnTo>
                      <a:lnTo>
                        <a:pt x="232" y="482"/>
                      </a:lnTo>
                      <a:lnTo>
                        <a:pt x="241" y="471"/>
                      </a:lnTo>
                      <a:lnTo>
                        <a:pt x="227" y="466"/>
                      </a:lnTo>
                      <a:lnTo>
                        <a:pt x="227" y="442"/>
                      </a:lnTo>
                      <a:lnTo>
                        <a:pt x="248" y="433"/>
                      </a:lnTo>
                      <a:lnTo>
                        <a:pt x="269" y="449"/>
                      </a:lnTo>
                      <a:lnTo>
                        <a:pt x="265" y="433"/>
                      </a:lnTo>
                      <a:lnTo>
                        <a:pt x="317" y="426"/>
                      </a:lnTo>
                      <a:lnTo>
                        <a:pt x="338" y="409"/>
                      </a:lnTo>
                      <a:lnTo>
                        <a:pt x="371" y="409"/>
                      </a:lnTo>
                      <a:lnTo>
                        <a:pt x="366" y="404"/>
                      </a:lnTo>
                      <a:lnTo>
                        <a:pt x="371" y="393"/>
                      </a:lnTo>
                      <a:lnTo>
                        <a:pt x="442" y="393"/>
                      </a:lnTo>
                      <a:lnTo>
                        <a:pt x="480" y="376"/>
                      </a:lnTo>
                      <a:lnTo>
                        <a:pt x="409" y="376"/>
                      </a:lnTo>
                      <a:lnTo>
                        <a:pt x="447" y="338"/>
                      </a:lnTo>
                      <a:lnTo>
                        <a:pt x="425" y="334"/>
                      </a:lnTo>
                      <a:lnTo>
                        <a:pt x="392" y="371"/>
                      </a:lnTo>
                      <a:lnTo>
                        <a:pt x="354" y="376"/>
                      </a:lnTo>
                      <a:lnTo>
                        <a:pt x="333" y="355"/>
                      </a:lnTo>
                      <a:lnTo>
                        <a:pt x="350" y="350"/>
                      </a:lnTo>
                      <a:lnTo>
                        <a:pt x="354" y="322"/>
                      </a:lnTo>
                      <a:lnTo>
                        <a:pt x="350" y="315"/>
                      </a:lnTo>
                      <a:lnTo>
                        <a:pt x="324" y="355"/>
                      </a:lnTo>
                      <a:lnTo>
                        <a:pt x="312" y="350"/>
                      </a:lnTo>
                      <a:lnTo>
                        <a:pt x="312" y="334"/>
                      </a:lnTo>
                      <a:lnTo>
                        <a:pt x="286" y="338"/>
                      </a:lnTo>
                      <a:lnTo>
                        <a:pt x="286" y="355"/>
                      </a:lnTo>
                      <a:lnTo>
                        <a:pt x="279" y="371"/>
                      </a:lnTo>
                      <a:lnTo>
                        <a:pt x="300" y="388"/>
                      </a:lnTo>
                      <a:lnTo>
                        <a:pt x="279" y="388"/>
                      </a:lnTo>
                      <a:lnTo>
                        <a:pt x="269" y="393"/>
                      </a:lnTo>
                      <a:lnTo>
                        <a:pt x="227" y="416"/>
                      </a:lnTo>
                      <a:lnTo>
                        <a:pt x="227" y="416"/>
                      </a:lnTo>
                      <a:lnTo>
                        <a:pt x="227" y="416"/>
                      </a:lnTo>
                      <a:close/>
                      <a:moveTo>
                        <a:pt x="26" y="182"/>
                      </a:moveTo>
                      <a:lnTo>
                        <a:pt x="14" y="171"/>
                      </a:lnTo>
                      <a:lnTo>
                        <a:pt x="47" y="182"/>
                      </a:lnTo>
                      <a:lnTo>
                        <a:pt x="26" y="182"/>
                      </a:lnTo>
                      <a:lnTo>
                        <a:pt x="26" y="182"/>
                      </a:lnTo>
                      <a:lnTo>
                        <a:pt x="26" y="182"/>
                      </a:lnTo>
                      <a:close/>
                      <a:moveTo>
                        <a:pt x="662" y="249"/>
                      </a:moveTo>
                      <a:lnTo>
                        <a:pt x="673" y="239"/>
                      </a:lnTo>
                      <a:lnTo>
                        <a:pt x="678" y="239"/>
                      </a:lnTo>
                      <a:lnTo>
                        <a:pt x="662" y="249"/>
                      </a:lnTo>
                      <a:lnTo>
                        <a:pt x="662" y="249"/>
                      </a:lnTo>
                      <a:lnTo>
                        <a:pt x="662" y="249"/>
                      </a:lnTo>
                      <a:close/>
                      <a:moveTo>
                        <a:pt x="695" y="293"/>
                      </a:moveTo>
                      <a:lnTo>
                        <a:pt x="673" y="282"/>
                      </a:lnTo>
                      <a:lnTo>
                        <a:pt x="690" y="265"/>
                      </a:lnTo>
                      <a:lnTo>
                        <a:pt x="728" y="277"/>
                      </a:lnTo>
                      <a:lnTo>
                        <a:pt x="695" y="293"/>
                      </a:lnTo>
                      <a:lnTo>
                        <a:pt x="695" y="293"/>
                      </a:lnTo>
                      <a:lnTo>
                        <a:pt x="695" y="293"/>
                      </a:lnTo>
                      <a:close/>
                      <a:moveTo>
                        <a:pt x="744" y="282"/>
                      </a:moveTo>
                      <a:lnTo>
                        <a:pt x="732" y="282"/>
                      </a:lnTo>
                      <a:lnTo>
                        <a:pt x="761" y="282"/>
                      </a:lnTo>
                      <a:lnTo>
                        <a:pt x="744" y="282"/>
                      </a:lnTo>
                      <a:lnTo>
                        <a:pt x="744" y="282"/>
                      </a:lnTo>
                      <a:lnTo>
                        <a:pt x="744" y="282"/>
                      </a:lnTo>
                      <a:close/>
                      <a:moveTo>
                        <a:pt x="1391" y="293"/>
                      </a:moveTo>
                      <a:lnTo>
                        <a:pt x="1375" y="293"/>
                      </a:lnTo>
                      <a:lnTo>
                        <a:pt x="1396" y="293"/>
                      </a:lnTo>
                      <a:lnTo>
                        <a:pt x="1391" y="293"/>
                      </a:lnTo>
                      <a:lnTo>
                        <a:pt x="1391" y="293"/>
                      </a:lnTo>
                      <a:lnTo>
                        <a:pt x="1391" y="293"/>
                      </a:lnTo>
                      <a:close/>
                      <a:moveTo>
                        <a:pt x="1233" y="315"/>
                      </a:moveTo>
                      <a:lnTo>
                        <a:pt x="1233" y="305"/>
                      </a:lnTo>
                      <a:lnTo>
                        <a:pt x="1257" y="298"/>
                      </a:lnTo>
                      <a:lnTo>
                        <a:pt x="1354" y="305"/>
                      </a:lnTo>
                      <a:lnTo>
                        <a:pt x="1321" y="315"/>
                      </a:lnTo>
                      <a:lnTo>
                        <a:pt x="1288" y="298"/>
                      </a:lnTo>
                      <a:lnTo>
                        <a:pt x="1233" y="315"/>
                      </a:lnTo>
                      <a:lnTo>
                        <a:pt x="1233" y="315"/>
                      </a:lnTo>
                      <a:lnTo>
                        <a:pt x="1233" y="315"/>
                      </a:lnTo>
                      <a:close/>
                      <a:moveTo>
                        <a:pt x="118" y="416"/>
                      </a:moveTo>
                      <a:lnTo>
                        <a:pt x="47" y="371"/>
                      </a:lnTo>
                      <a:lnTo>
                        <a:pt x="10" y="322"/>
                      </a:lnTo>
                      <a:lnTo>
                        <a:pt x="0" y="305"/>
                      </a:lnTo>
                      <a:lnTo>
                        <a:pt x="43" y="315"/>
                      </a:lnTo>
                      <a:lnTo>
                        <a:pt x="52" y="334"/>
                      </a:lnTo>
                      <a:lnTo>
                        <a:pt x="47" y="334"/>
                      </a:lnTo>
                      <a:lnTo>
                        <a:pt x="52" y="360"/>
                      </a:lnTo>
                      <a:lnTo>
                        <a:pt x="97" y="376"/>
                      </a:lnTo>
                      <a:lnTo>
                        <a:pt x="118" y="404"/>
                      </a:lnTo>
                      <a:lnTo>
                        <a:pt x="118" y="416"/>
                      </a:lnTo>
                      <a:lnTo>
                        <a:pt x="118" y="416"/>
                      </a:lnTo>
                      <a:lnTo>
                        <a:pt x="118" y="416"/>
                      </a:lnTo>
                      <a:close/>
                      <a:moveTo>
                        <a:pt x="1143" y="350"/>
                      </a:moveTo>
                      <a:lnTo>
                        <a:pt x="1120" y="322"/>
                      </a:lnTo>
                      <a:lnTo>
                        <a:pt x="1136" y="315"/>
                      </a:lnTo>
                      <a:lnTo>
                        <a:pt x="1165" y="338"/>
                      </a:lnTo>
                      <a:lnTo>
                        <a:pt x="1143" y="350"/>
                      </a:lnTo>
                      <a:lnTo>
                        <a:pt x="1143" y="350"/>
                      </a:lnTo>
                      <a:lnTo>
                        <a:pt x="1143" y="350"/>
                      </a:lnTo>
                      <a:close/>
                      <a:moveTo>
                        <a:pt x="678" y="371"/>
                      </a:moveTo>
                      <a:lnTo>
                        <a:pt x="761" y="350"/>
                      </a:lnTo>
                      <a:lnTo>
                        <a:pt x="813" y="355"/>
                      </a:lnTo>
                      <a:lnTo>
                        <a:pt x="825" y="371"/>
                      </a:lnTo>
                      <a:lnTo>
                        <a:pt x="825" y="404"/>
                      </a:lnTo>
                      <a:lnTo>
                        <a:pt x="716" y="416"/>
                      </a:lnTo>
                      <a:lnTo>
                        <a:pt x="728" y="404"/>
                      </a:lnTo>
                      <a:lnTo>
                        <a:pt x="706" y="393"/>
                      </a:lnTo>
                      <a:lnTo>
                        <a:pt x="716" y="388"/>
                      </a:lnTo>
                      <a:lnTo>
                        <a:pt x="678" y="371"/>
                      </a:lnTo>
                      <a:lnTo>
                        <a:pt x="678" y="371"/>
                      </a:lnTo>
                      <a:lnTo>
                        <a:pt x="678" y="371"/>
                      </a:lnTo>
                      <a:close/>
                      <a:moveTo>
                        <a:pt x="858" y="560"/>
                      </a:moveTo>
                      <a:lnTo>
                        <a:pt x="841" y="560"/>
                      </a:lnTo>
                      <a:lnTo>
                        <a:pt x="841" y="553"/>
                      </a:lnTo>
                      <a:lnTo>
                        <a:pt x="851" y="544"/>
                      </a:lnTo>
                      <a:lnTo>
                        <a:pt x="841" y="537"/>
                      </a:lnTo>
                      <a:lnTo>
                        <a:pt x="867" y="515"/>
                      </a:lnTo>
                      <a:lnTo>
                        <a:pt x="732" y="527"/>
                      </a:lnTo>
                      <a:lnTo>
                        <a:pt x="732" y="515"/>
                      </a:lnTo>
                      <a:lnTo>
                        <a:pt x="761" y="504"/>
                      </a:lnTo>
                      <a:lnTo>
                        <a:pt x="761" y="487"/>
                      </a:lnTo>
                      <a:lnTo>
                        <a:pt x="787" y="461"/>
                      </a:lnTo>
                      <a:lnTo>
                        <a:pt x="732" y="433"/>
                      </a:lnTo>
                      <a:lnTo>
                        <a:pt x="879" y="409"/>
                      </a:lnTo>
                      <a:lnTo>
                        <a:pt x="910" y="416"/>
                      </a:lnTo>
                      <a:lnTo>
                        <a:pt x="888" y="433"/>
                      </a:lnTo>
                      <a:lnTo>
                        <a:pt x="888" y="449"/>
                      </a:lnTo>
                      <a:lnTo>
                        <a:pt x="926" y="466"/>
                      </a:lnTo>
                      <a:lnTo>
                        <a:pt x="976" y="466"/>
                      </a:lnTo>
                      <a:lnTo>
                        <a:pt x="1013" y="482"/>
                      </a:lnTo>
                      <a:lnTo>
                        <a:pt x="964" y="499"/>
                      </a:lnTo>
                      <a:lnTo>
                        <a:pt x="933" y="527"/>
                      </a:lnTo>
                      <a:lnTo>
                        <a:pt x="858" y="560"/>
                      </a:lnTo>
                      <a:lnTo>
                        <a:pt x="858" y="560"/>
                      </a:lnTo>
                      <a:lnTo>
                        <a:pt x="858" y="560"/>
                      </a:lnTo>
                      <a:close/>
                      <a:moveTo>
                        <a:pt x="888" y="560"/>
                      </a:moveTo>
                      <a:lnTo>
                        <a:pt x="879" y="560"/>
                      </a:lnTo>
                      <a:lnTo>
                        <a:pt x="905" y="560"/>
                      </a:lnTo>
                      <a:lnTo>
                        <a:pt x="888" y="560"/>
                      </a:lnTo>
                      <a:lnTo>
                        <a:pt x="888" y="560"/>
                      </a:lnTo>
                      <a:lnTo>
                        <a:pt x="888" y="560"/>
                      </a:lnTo>
                      <a:close/>
                      <a:moveTo>
                        <a:pt x="1018" y="688"/>
                      </a:moveTo>
                      <a:lnTo>
                        <a:pt x="1018" y="681"/>
                      </a:lnTo>
                      <a:lnTo>
                        <a:pt x="1068" y="648"/>
                      </a:lnTo>
                      <a:lnTo>
                        <a:pt x="1018" y="688"/>
                      </a:lnTo>
                      <a:lnTo>
                        <a:pt x="1018" y="688"/>
                      </a:lnTo>
                      <a:lnTo>
                        <a:pt x="1018" y="688"/>
                      </a:lnTo>
                      <a:close/>
                      <a:moveTo>
                        <a:pt x="602" y="988"/>
                      </a:moveTo>
                      <a:lnTo>
                        <a:pt x="586" y="969"/>
                      </a:lnTo>
                      <a:lnTo>
                        <a:pt x="619" y="969"/>
                      </a:lnTo>
                      <a:lnTo>
                        <a:pt x="602" y="988"/>
                      </a:lnTo>
                      <a:lnTo>
                        <a:pt x="602" y="988"/>
                      </a:lnTo>
                      <a:lnTo>
                        <a:pt x="602" y="988"/>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8" name="Freeform 561">
                  <a:extLst>
                    <a:ext uri="{FF2B5EF4-FFF2-40B4-BE49-F238E27FC236}">
                      <a16:creationId xmlns:a16="http://schemas.microsoft.com/office/drawing/2014/main" id="{D6696331-52CA-4F75-965C-C9242BFC1850}"/>
                    </a:ext>
                  </a:extLst>
                </p:cNvPr>
                <p:cNvSpPr>
                  <a:spLocks noEditPoints="1"/>
                </p:cNvSpPr>
                <p:nvPr/>
              </p:nvSpPr>
              <p:spPr bwMode="gray">
                <a:xfrm>
                  <a:off x="7046927" y="1597236"/>
                  <a:ext cx="377501" cy="633219"/>
                </a:xfrm>
                <a:custGeom>
                  <a:avLst/>
                  <a:gdLst>
                    <a:gd name="T0" fmla="*/ 69 w 917"/>
                    <a:gd name="T1" fmla="*/ 1065 h 1538"/>
                    <a:gd name="T2" fmla="*/ 69 w 917"/>
                    <a:gd name="T3" fmla="*/ 860 h 1538"/>
                    <a:gd name="T4" fmla="*/ 76 w 917"/>
                    <a:gd name="T5" fmla="*/ 666 h 1538"/>
                    <a:gd name="T6" fmla="*/ 211 w 917"/>
                    <a:gd name="T7" fmla="*/ 555 h 1538"/>
                    <a:gd name="T8" fmla="*/ 274 w 917"/>
                    <a:gd name="T9" fmla="*/ 357 h 1538"/>
                    <a:gd name="T10" fmla="*/ 378 w 917"/>
                    <a:gd name="T11" fmla="*/ 177 h 1538"/>
                    <a:gd name="T12" fmla="*/ 485 w 917"/>
                    <a:gd name="T13" fmla="*/ 66 h 1538"/>
                    <a:gd name="T14" fmla="*/ 648 w 917"/>
                    <a:gd name="T15" fmla="*/ 12 h 1538"/>
                    <a:gd name="T16" fmla="*/ 865 w 917"/>
                    <a:gd name="T17" fmla="*/ 151 h 1538"/>
                    <a:gd name="T18" fmla="*/ 903 w 917"/>
                    <a:gd name="T19" fmla="*/ 279 h 1538"/>
                    <a:gd name="T20" fmla="*/ 903 w 917"/>
                    <a:gd name="T21" fmla="*/ 362 h 1538"/>
                    <a:gd name="T22" fmla="*/ 794 w 917"/>
                    <a:gd name="T23" fmla="*/ 395 h 1538"/>
                    <a:gd name="T24" fmla="*/ 778 w 917"/>
                    <a:gd name="T25" fmla="*/ 428 h 1538"/>
                    <a:gd name="T26" fmla="*/ 740 w 917"/>
                    <a:gd name="T27" fmla="*/ 465 h 1538"/>
                    <a:gd name="T28" fmla="*/ 697 w 917"/>
                    <a:gd name="T29" fmla="*/ 510 h 1538"/>
                    <a:gd name="T30" fmla="*/ 697 w 917"/>
                    <a:gd name="T31" fmla="*/ 593 h 1538"/>
                    <a:gd name="T32" fmla="*/ 589 w 917"/>
                    <a:gd name="T33" fmla="*/ 666 h 1538"/>
                    <a:gd name="T34" fmla="*/ 546 w 917"/>
                    <a:gd name="T35" fmla="*/ 695 h 1538"/>
                    <a:gd name="T36" fmla="*/ 501 w 917"/>
                    <a:gd name="T37" fmla="*/ 749 h 1538"/>
                    <a:gd name="T38" fmla="*/ 480 w 917"/>
                    <a:gd name="T39" fmla="*/ 761 h 1538"/>
                    <a:gd name="T40" fmla="*/ 463 w 917"/>
                    <a:gd name="T41" fmla="*/ 806 h 1538"/>
                    <a:gd name="T42" fmla="*/ 447 w 917"/>
                    <a:gd name="T43" fmla="*/ 877 h 1538"/>
                    <a:gd name="T44" fmla="*/ 433 w 917"/>
                    <a:gd name="T45" fmla="*/ 910 h 1538"/>
                    <a:gd name="T46" fmla="*/ 480 w 917"/>
                    <a:gd name="T47" fmla="*/ 988 h 1538"/>
                    <a:gd name="T48" fmla="*/ 539 w 917"/>
                    <a:gd name="T49" fmla="*/ 1044 h 1538"/>
                    <a:gd name="T50" fmla="*/ 555 w 917"/>
                    <a:gd name="T51" fmla="*/ 1082 h 1538"/>
                    <a:gd name="T52" fmla="*/ 470 w 917"/>
                    <a:gd name="T53" fmla="*/ 1110 h 1538"/>
                    <a:gd name="T54" fmla="*/ 454 w 917"/>
                    <a:gd name="T55" fmla="*/ 1099 h 1538"/>
                    <a:gd name="T56" fmla="*/ 454 w 917"/>
                    <a:gd name="T57" fmla="*/ 1110 h 1538"/>
                    <a:gd name="T58" fmla="*/ 395 w 917"/>
                    <a:gd name="T59" fmla="*/ 1110 h 1538"/>
                    <a:gd name="T60" fmla="*/ 437 w 917"/>
                    <a:gd name="T61" fmla="*/ 1132 h 1538"/>
                    <a:gd name="T62" fmla="*/ 534 w 917"/>
                    <a:gd name="T63" fmla="*/ 1122 h 1538"/>
                    <a:gd name="T64" fmla="*/ 454 w 917"/>
                    <a:gd name="T65" fmla="*/ 1172 h 1538"/>
                    <a:gd name="T66" fmla="*/ 383 w 917"/>
                    <a:gd name="T67" fmla="*/ 1205 h 1538"/>
                    <a:gd name="T68" fmla="*/ 383 w 917"/>
                    <a:gd name="T69" fmla="*/ 1266 h 1538"/>
                    <a:gd name="T70" fmla="*/ 383 w 917"/>
                    <a:gd name="T71" fmla="*/ 1304 h 1538"/>
                    <a:gd name="T72" fmla="*/ 371 w 917"/>
                    <a:gd name="T73" fmla="*/ 1403 h 1538"/>
                    <a:gd name="T74" fmla="*/ 215 w 917"/>
                    <a:gd name="T75" fmla="*/ 1486 h 1538"/>
                    <a:gd name="T76" fmla="*/ 130 w 917"/>
                    <a:gd name="T77" fmla="*/ 1538 h 1538"/>
                    <a:gd name="T78" fmla="*/ 123 w 917"/>
                    <a:gd name="T79" fmla="*/ 1427 h 1538"/>
                    <a:gd name="T80" fmla="*/ 69 w 917"/>
                    <a:gd name="T81" fmla="*/ 1321 h 1538"/>
                    <a:gd name="T82" fmla="*/ 55 w 917"/>
                    <a:gd name="T83" fmla="*/ 1299 h 1538"/>
                    <a:gd name="T84" fmla="*/ 5 w 917"/>
                    <a:gd name="T85" fmla="*/ 1226 h 1538"/>
                    <a:gd name="T86" fmla="*/ 31 w 917"/>
                    <a:gd name="T87" fmla="*/ 1172 h 1538"/>
                    <a:gd name="T88" fmla="*/ 485 w 917"/>
                    <a:gd name="T89" fmla="*/ 761 h 1538"/>
                    <a:gd name="T90" fmla="*/ 447 w 917"/>
                    <a:gd name="T91" fmla="*/ 789 h 1538"/>
                    <a:gd name="T92" fmla="*/ 508 w 917"/>
                    <a:gd name="T93" fmla="*/ 999 h 1538"/>
                    <a:gd name="T94" fmla="*/ 534 w 917"/>
                    <a:gd name="T95" fmla="*/ 1099 h 1538"/>
                    <a:gd name="T96" fmla="*/ 433 w 917"/>
                    <a:gd name="T97" fmla="*/ 1115 h 1538"/>
                    <a:gd name="T98" fmla="*/ 447 w 917"/>
                    <a:gd name="T99" fmla="*/ 1115 h 1538"/>
                    <a:gd name="T100" fmla="*/ 522 w 917"/>
                    <a:gd name="T101" fmla="*/ 1132 h 1538"/>
                    <a:gd name="T102" fmla="*/ 577 w 917"/>
                    <a:gd name="T103" fmla="*/ 1226 h 1538"/>
                    <a:gd name="T104" fmla="*/ 38 w 917"/>
                    <a:gd name="T105" fmla="*/ 1238 h 1538"/>
                    <a:gd name="T106" fmla="*/ 48 w 917"/>
                    <a:gd name="T107" fmla="*/ 1259 h 1538"/>
                    <a:gd name="T108" fmla="*/ 560 w 917"/>
                    <a:gd name="T109" fmla="*/ 1283 h 1538"/>
                    <a:gd name="T110" fmla="*/ 560 w 917"/>
                    <a:gd name="T111" fmla="*/ 1283 h 1538"/>
                    <a:gd name="T112" fmla="*/ 508 w 917"/>
                    <a:gd name="T113" fmla="*/ 1354 h 1538"/>
                    <a:gd name="T114" fmla="*/ 555 w 917"/>
                    <a:gd name="T115" fmla="*/ 1276 h 1538"/>
                    <a:gd name="T116" fmla="*/ 426 w 917"/>
                    <a:gd name="T117" fmla="*/ 1337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7" h="1538">
                      <a:moveTo>
                        <a:pt x="31" y="1172"/>
                      </a:moveTo>
                      <a:lnTo>
                        <a:pt x="48" y="1132"/>
                      </a:lnTo>
                      <a:lnTo>
                        <a:pt x="38" y="1099"/>
                      </a:lnTo>
                      <a:lnTo>
                        <a:pt x="55" y="1082"/>
                      </a:lnTo>
                      <a:lnTo>
                        <a:pt x="48" y="1065"/>
                      </a:lnTo>
                      <a:lnTo>
                        <a:pt x="69" y="1065"/>
                      </a:lnTo>
                      <a:lnTo>
                        <a:pt x="92" y="1044"/>
                      </a:lnTo>
                      <a:lnTo>
                        <a:pt x="107" y="1004"/>
                      </a:lnTo>
                      <a:lnTo>
                        <a:pt x="76" y="943"/>
                      </a:lnTo>
                      <a:lnTo>
                        <a:pt x="107" y="943"/>
                      </a:lnTo>
                      <a:lnTo>
                        <a:pt x="123" y="910"/>
                      </a:lnTo>
                      <a:lnTo>
                        <a:pt x="69" y="860"/>
                      </a:lnTo>
                      <a:lnTo>
                        <a:pt x="85" y="806"/>
                      </a:lnTo>
                      <a:lnTo>
                        <a:pt x="69" y="765"/>
                      </a:lnTo>
                      <a:lnTo>
                        <a:pt x="59" y="732"/>
                      </a:lnTo>
                      <a:lnTo>
                        <a:pt x="76" y="721"/>
                      </a:lnTo>
                      <a:lnTo>
                        <a:pt x="59" y="695"/>
                      </a:lnTo>
                      <a:lnTo>
                        <a:pt x="76" y="666"/>
                      </a:lnTo>
                      <a:lnTo>
                        <a:pt x="69" y="654"/>
                      </a:lnTo>
                      <a:lnTo>
                        <a:pt x="107" y="617"/>
                      </a:lnTo>
                      <a:lnTo>
                        <a:pt x="130" y="600"/>
                      </a:lnTo>
                      <a:lnTo>
                        <a:pt x="199" y="612"/>
                      </a:lnTo>
                      <a:lnTo>
                        <a:pt x="215" y="584"/>
                      </a:lnTo>
                      <a:lnTo>
                        <a:pt x="211" y="555"/>
                      </a:lnTo>
                      <a:lnTo>
                        <a:pt x="178" y="543"/>
                      </a:lnTo>
                      <a:lnTo>
                        <a:pt x="237" y="456"/>
                      </a:lnTo>
                      <a:lnTo>
                        <a:pt x="237" y="428"/>
                      </a:lnTo>
                      <a:lnTo>
                        <a:pt x="248" y="395"/>
                      </a:lnTo>
                      <a:lnTo>
                        <a:pt x="237" y="362"/>
                      </a:lnTo>
                      <a:lnTo>
                        <a:pt x="274" y="357"/>
                      </a:lnTo>
                      <a:lnTo>
                        <a:pt x="307" y="338"/>
                      </a:lnTo>
                      <a:lnTo>
                        <a:pt x="303" y="317"/>
                      </a:lnTo>
                      <a:lnTo>
                        <a:pt x="371" y="251"/>
                      </a:lnTo>
                      <a:lnTo>
                        <a:pt x="371" y="229"/>
                      </a:lnTo>
                      <a:lnTo>
                        <a:pt x="345" y="206"/>
                      </a:lnTo>
                      <a:lnTo>
                        <a:pt x="378" y="177"/>
                      </a:lnTo>
                      <a:lnTo>
                        <a:pt x="395" y="140"/>
                      </a:lnTo>
                      <a:lnTo>
                        <a:pt x="433" y="118"/>
                      </a:lnTo>
                      <a:lnTo>
                        <a:pt x="480" y="140"/>
                      </a:lnTo>
                      <a:lnTo>
                        <a:pt x="492" y="111"/>
                      </a:lnTo>
                      <a:lnTo>
                        <a:pt x="485" y="78"/>
                      </a:lnTo>
                      <a:lnTo>
                        <a:pt x="485" y="66"/>
                      </a:lnTo>
                      <a:lnTo>
                        <a:pt x="546" y="66"/>
                      </a:lnTo>
                      <a:lnTo>
                        <a:pt x="615" y="95"/>
                      </a:lnTo>
                      <a:lnTo>
                        <a:pt x="643" y="66"/>
                      </a:lnTo>
                      <a:lnTo>
                        <a:pt x="615" y="62"/>
                      </a:lnTo>
                      <a:lnTo>
                        <a:pt x="648" y="28"/>
                      </a:lnTo>
                      <a:lnTo>
                        <a:pt x="648" y="12"/>
                      </a:lnTo>
                      <a:lnTo>
                        <a:pt x="631" y="0"/>
                      </a:lnTo>
                      <a:lnTo>
                        <a:pt x="664" y="0"/>
                      </a:lnTo>
                      <a:lnTo>
                        <a:pt x="766" y="66"/>
                      </a:lnTo>
                      <a:lnTo>
                        <a:pt x="827" y="83"/>
                      </a:lnTo>
                      <a:lnTo>
                        <a:pt x="879" y="140"/>
                      </a:lnTo>
                      <a:lnTo>
                        <a:pt x="865" y="151"/>
                      </a:lnTo>
                      <a:lnTo>
                        <a:pt x="865" y="194"/>
                      </a:lnTo>
                      <a:lnTo>
                        <a:pt x="886" y="206"/>
                      </a:lnTo>
                      <a:lnTo>
                        <a:pt x="886" y="222"/>
                      </a:lnTo>
                      <a:lnTo>
                        <a:pt x="879" y="222"/>
                      </a:lnTo>
                      <a:lnTo>
                        <a:pt x="874" y="234"/>
                      </a:lnTo>
                      <a:lnTo>
                        <a:pt x="903" y="279"/>
                      </a:lnTo>
                      <a:lnTo>
                        <a:pt x="896" y="284"/>
                      </a:lnTo>
                      <a:lnTo>
                        <a:pt x="896" y="305"/>
                      </a:lnTo>
                      <a:lnTo>
                        <a:pt x="879" y="321"/>
                      </a:lnTo>
                      <a:lnTo>
                        <a:pt x="879" y="338"/>
                      </a:lnTo>
                      <a:lnTo>
                        <a:pt x="886" y="357"/>
                      </a:lnTo>
                      <a:lnTo>
                        <a:pt x="903" y="362"/>
                      </a:lnTo>
                      <a:lnTo>
                        <a:pt x="917" y="395"/>
                      </a:lnTo>
                      <a:lnTo>
                        <a:pt x="848" y="399"/>
                      </a:lnTo>
                      <a:lnTo>
                        <a:pt x="841" y="411"/>
                      </a:lnTo>
                      <a:lnTo>
                        <a:pt x="811" y="390"/>
                      </a:lnTo>
                      <a:lnTo>
                        <a:pt x="811" y="399"/>
                      </a:lnTo>
                      <a:lnTo>
                        <a:pt x="794" y="395"/>
                      </a:lnTo>
                      <a:lnTo>
                        <a:pt x="789" y="395"/>
                      </a:lnTo>
                      <a:lnTo>
                        <a:pt x="778" y="416"/>
                      </a:lnTo>
                      <a:lnTo>
                        <a:pt x="794" y="416"/>
                      </a:lnTo>
                      <a:lnTo>
                        <a:pt x="794" y="428"/>
                      </a:lnTo>
                      <a:lnTo>
                        <a:pt x="752" y="411"/>
                      </a:lnTo>
                      <a:lnTo>
                        <a:pt x="778" y="428"/>
                      </a:lnTo>
                      <a:lnTo>
                        <a:pt x="756" y="432"/>
                      </a:lnTo>
                      <a:lnTo>
                        <a:pt x="766" y="444"/>
                      </a:lnTo>
                      <a:lnTo>
                        <a:pt x="756" y="449"/>
                      </a:lnTo>
                      <a:lnTo>
                        <a:pt x="723" y="449"/>
                      </a:lnTo>
                      <a:lnTo>
                        <a:pt x="740" y="456"/>
                      </a:lnTo>
                      <a:lnTo>
                        <a:pt x="740" y="465"/>
                      </a:lnTo>
                      <a:lnTo>
                        <a:pt x="711" y="449"/>
                      </a:lnTo>
                      <a:lnTo>
                        <a:pt x="740" y="473"/>
                      </a:lnTo>
                      <a:lnTo>
                        <a:pt x="735" y="489"/>
                      </a:lnTo>
                      <a:lnTo>
                        <a:pt x="711" y="501"/>
                      </a:lnTo>
                      <a:lnTo>
                        <a:pt x="711" y="510"/>
                      </a:lnTo>
                      <a:lnTo>
                        <a:pt x="697" y="510"/>
                      </a:lnTo>
                      <a:lnTo>
                        <a:pt x="718" y="522"/>
                      </a:lnTo>
                      <a:lnTo>
                        <a:pt x="718" y="527"/>
                      </a:lnTo>
                      <a:lnTo>
                        <a:pt x="702" y="527"/>
                      </a:lnTo>
                      <a:lnTo>
                        <a:pt x="735" y="543"/>
                      </a:lnTo>
                      <a:lnTo>
                        <a:pt x="735" y="560"/>
                      </a:lnTo>
                      <a:lnTo>
                        <a:pt x="697" y="593"/>
                      </a:lnTo>
                      <a:lnTo>
                        <a:pt x="681" y="621"/>
                      </a:lnTo>
                      <a:lnTo>
                        <a:pt x="659" y="633"/>
                      </a:lnTo>
                      <a:lnTo>
                        <a:pt x="648" y="650"/>
                      </a:lnTo>
                      <a:lnTo>
                        <a:pt x="615" y="654"/>
                      </a:lnTo>
                      <a:lnTo>
                        <a:pt x="605" y="671"/>
                      </a:lnTo>
                      <a:lnTo>
                        <a:pt x="589" y="666"/>
                      </a:lnTo>
                      <a:lnTo>
                        <a:pt x="589" y="671"/>
                      </a:lnTo>
                      <a:lnTo>
                        <a:pt x="572" y="671"/>
                      </a:lnTo>
                      <a:lnTo>
                        <a:pt x="572" y="688"/>
                      </a:lnTo>
                      <a:lnTo>
                        <a:pt x="555" y="695"/>
                      </a:lnTo>
                      <a:lnTo>
                        <a:pt x="555" y="704"/>
                      </a:lnTo>
                      <a:lnTo>
                        <a:pt x="546" y="695"/>
                      </a:lnTo>
                      <a:lnTo>
                        <a:pt x="539" y="695"/>
                      </a:lnTo>
                      <a:lnTo>
                        <a:pt x="546" y="704"/>
                      </a:lnTo>
                      <a:lnTo>
                        <a:pt x="534" y="704"/>
                      </a:lnTo>
                      <a:lnTo>
                        <a:pt x="501" y="721"/>
                      </a:lnTo>
                      <a:lnTo>
                        <a:pt x="522" y="728"/>
                      </a:lnTo>
                      <a:lnTo>
                        <a:pt x="501" y="749"/>
                      </a:lnTo>
                      <a:lnTo>
                        <a:pt x="480" y="744"/>
                      </a:lnTo>
                      <a:lnTo>
                        <a:pt x="470" y="728"/>
                      </a:lnTo>
                      <a:lnTo>
                        <a:pt x="463" y="728"/>
                      </a:lnTo>
                      <a:lnTo>
                        <a:pt x="485" y="749"/>
                      </a:lnTo>
                      <a:lnTo>
                        <a:pt x="485" y="761"/>
                      </a:lnTo>
                      <a:lnTo>
                        <a:pt x="480" y="761"/>
                      </a:lnTo>
                      <a:lnTo>
                        <a:pt x="485" y="765"/>
                      </a:lnTo>
                      <a:lnTo>
                        <a:pt x="463" y="782"/>
                      </a:lnTo>
                      <a:lnTo>
                        <a:pt x="437" y="777"/>
                      </a:lnTo>
                      <a:lnTo>
                        <a:pt x="437" y="782"/>
                      </a:lnTo>
                      <a:lnTo>
                        <a:pt x="437" y="799"/>
                      </a:lnTo>
                      <a:lnTo>
                        <a:pt x="463" y="806"/>
                      </a:lnTo>
                      <a:lnTo>
                        <a:pt x="447" y="806"/>
                      </a:lnTo>
                      <a:lnTo>
                        <a:pt x="447" y="839"/>
                      </a:lnTo>
                      <a:lnTo>
                        <a:pt x="437" y="839"/>
                      </a:lnTo>
                      <a:lnTo>
                        <a:pt x="437" y="855"/>
                      </a:lnTo>
                      <a:lnTo>
                        <a:pt x="447" y="872"/>
                      </a:lnTo>
                      <a:lnTo>
                        <a:pt x="447" y="877"/>
                      </a:lnTo>
                      <a:lnTo>
                        <a:pt x="426" y="872"/>
                      </a:lnTo>
                      <a:lnTo>
                        <a:pt x="433" y="872"/>
                      </a:lnTo>
                      <a:lnTo>
                        <a:pt x="416" y="877"/>
                      </a:lnTo>
                      <a:lnTo>
                        <a:pt x="433" y="893"/>
                      </a:lnTo>
                      <a:lnTo>
                        <a:pt x="416" y="900"/>
                      </a:lnTo>
                      <a:lnTo>
                        <a:pt x="433" y="910"/>
                      </a:lnTo>
                      <a:lnTo>
                        <a:pt x="426" y="950"/>
                      </a:lnTo>
                      <a:lnTo>
                        <a:pt x="433" y="966"/>
                      </a:lnTo>
                      <a:lnTo>
                        <a:pt x="433" y="983"/>
                      </a:lnTo>
                      <a:lnTo>
                        <a:pt x="454" y="988"/>
                      </a:lnTo>
                      <a:lnTo>
                        <a:pt x="463" y="999"/>
                      </a:lnTo>
                      <a:lnTo>
                        <a:pt x="480" y="988"/>
                      </a:lnTo>
                      <a:lnTo>
                        <a:pt x="501" y="1021"/>
                      </a:lnTo>
                      <a:lnTo>
                        <a:pt x="518" y="1021"/>
                      </a:lnTo>
                      <a:lnTo>
                        <a:pt x="522" y="1028"/>
                      </a:lnTo>
                      <a:lnTo>
                        <a:pt x="508" y="1021"/>
                      </a:lnTo>
                      <a:lnTo>
                        <a:pt x="508" y="1037"/>
                      </a:lnTo>
                      <a:lnTo>
                        <a:pt x="539" y="1044"/>
                      </a:lnTo>
                      <a:lnTo>
                        <a:pt x="546" y="1061"/>
                      </a:lnTo>
                      <a:lnTo>
                        <a:pt x="555" y="1065"/>
                      </a:lnTo>
                      <a:lnTo>
                        <a:pt x="555" y="1077"/>
                      </a:lnTo>
                      <a:lnTo>
                        <a:pt x="546" y="1065"/>
                      </a:lnTo>
                      <a:lnTo>
                        <a:pt x="539" y="1077"/>
                      </a:lnTo>
                      <a:lnTo>
                        <a:pt x="555" y="1082"/>
                      </a:lnTo>
                      <a:lnTo>
                        <a:pt x="501" y="1110"/>
                      </a:lnTo>
                      <a:lnTo>
                        <a:pt x="508" y="1115"/>
                      </a:lnTo>
                      <a:lnTo>
                        <a:pt x="492" y="1115"/>
                      </a:lnTo>
                      <a:lnTo>
                        <a:pt x="485" y="1122"/>
                      </a:lnTo>
                      <a:lnTo>
                        <a:pt x="470" y="1115"/>
                      </a:lnTo>
                      <a:lnTo>
                        <a:pt x="470" y="1110"/>
                      </a:lnTo>
                      <a:lnTo>
                        <a:pt x="463" y="1094"/>
                      </a:lnTo>
                      <a:lnTo>
                        <a:pt x="454" y="1094"/>
                      </a:lnTo>
                      <a:lnTo>
                        <a:pt x="463" y="1082"/>
                      </a:lnTo>
                      <a:lnTo>
                        <a:pt x="454" y="1077"/>
                      </a:lnTo>
                      <a:lnTo>
                        <a:pt x="447" y="1094"/>
                      </a:lnTo>
                      <a:lnTo>
                        <a:pt x="454" y="1099"/>
                      </a:lnTo>
                      <a:lnTo>
                        <a:pt x="447" y="1082"/>
                      </a:lnTo>
                      <a:lnTo>
                        <a:pt x="454" y="1082"/>
                      </a:lnTo>
                      <a:lnTo>
                        <a:pt x="454" y="1094"/>
                      </a:lnTo>
                      <a:lnTo>
                        <a:pt x="470" y="1099"/>
                      </a:lnTo>
                      <a:lnTo>
                        <a:pt x="463" y="1115"/>
                      </a:lnTo>
                      <a:lnTo>
                        <a:pt x="454" y="1110"/>
                      </a:lnTo>
                      <a:lnTo>
                        <a:pt x="437" y="1094"/>
                      </a:lnTo>
                      <a:lnTo>
                        <a:pt x="437" y="1110"/>
                      </a:lnTo>
                      <a:lnTo>
                        <a:pt x="378" y="1099"/>
                      </a:lnTo>
                      <a:lnTo>
                        <a:pt x="378" y="1110"/>
                      </a:lnTo>
                      <a:lnTo>
                        <a:pt x="345" y="1110"/>
                      </a:lnTo>
                      <a:lnTo>
                        <a:pt x="395" y="1110"/>
                      </a:lnTo>
                      <a:lnTo>
                        <a:pt x="409" y="1122"/>
                      </a:lnTo>
                      <a:lnTo>
                        <a:pt x="395" y="1110"/>
                      </a:lnTo>
                      <a:lnTo>
                        <a:pt x="400" y="1110"/>
                      </a:lnTo>
                      <a:lnTo>
                        <a:pt x="433" y="1122"/>
                      </a:lnTo>
                      <a:lnTo>
                        <a:pt x="433" y="1132"/>
                      </a:lnTo>
                      <a:lnTo>
                        <a:pt x="437" y="1132"/>
                      </a:lnTo>
                      <a:lnTo>
                        <a:pt x="437" y="1122"/>
                      </a:lnTo>
                      <a:lnTo>
                        <a:pt x="470" y="1132"/>
                      </a:lnTo>
                      <a:lnTo>
                        <a:pt x="501" y="1122"/>
                      </a:lnTo>
                      <a:lnTo>
                        <a:pt x="518" y="1122"/>
                      </a:lnTo>
                      <a:lnTo>
                        <a:pt x="518" y="1115"/>
                      </a:lnTo>
                      <a:lnTo>
                        <a:pt x="534" y="1122"/>
                      </a:lnTo>
                      <a:lnTo>
                        <a:pt x="501" y="1132"/>
                      </a:lnTo>
                      <a:lnTo>
                        <a:pt x="501" y="1148"/>
                      </a:lnTo>
                      <a:lnTo>
                        <a:pt x="485" y="1155"/>
                      </a:lnTo>
                      <a:lnTo>
                        <a:pt x="480" y="1181"/>
                      </a:lnTo>
                      <a:lnTo>
                        <a:pt x="463" y="1139"/>
                      </a:lnTo>
                      <a:lnTo>
                        <a:pt x="454" y="1172"/>
                      </a:lnTo>
                      <a:lnTo>
                        <a:pt x="437" y="1188"/>
                      </a:lnTo>
                      <a:lnTo>
                        <a:pt x="416" y="1188"/>
                      </a:lnTo>
                      <a:lnTo>
                        <a:pt x="426" y="1193"/>
                      </a:lnTo>
                      <a:lnTo>
                        <a:pt x="409" y="1205"/>
                      </a:lnTo>
                      <a:lnTo>
                        <a:pt x="357" y="1205"/>
                      </a:lnTo>
                      <a:lnTo>
                        <a:pt x="383" y="1205"/>
                      </a:lnTo>
                      <a:lnTo>
                        <a:pt x="409" y="1221"/>
                      </a:lnTo>
                      <a:lnTo>
                        <a:pt x="371" y="1221"/>
                      </a:lnTo>
                      <a:lnTo>
                        <a:pt x="395" y="1226"/>
                      </a:lnTo>
                      <a:lnTo>
                        <a:pt x="400" y="1243"/>
                      </a:lnTo>
                      <a:lnTo>
                        <a:pt x="395" y="1266"/>
                      </a:lnTo>
                      <a:lnTo>
                        <a:pt x="383" y="1266"/>
                      </a:lnTo>
                      <a:lnTo>
                        <a:pt x="395" y="1283"/>
                      </a:lnTo>
                      <a:lnTo>
                        <a:pt x="378" y="1266"/>
                      </a:lnTo>
                      <a:lnTo>
                        <a:pt x="395" y="1292"/>
                      </a:lnTo>
                      <a:lnTo>
                        <a:pt x="371" y="1276"/>
                      </a:lnTo>
                      <a:lnTo>
                        <a:pt x="395" y="1299"/>
                      </a:lnTo>
                      <a:lnTo>
                        <a:pt x="383" y="1304"/>
                      </a:lnTo>
                      <a:lnTo>
                        <a:pt x="395" y="1321"/>
                      </a:lnTo>
                      <a:lnTo>
                        <a:pt x="378" y="1337"/>
                      </a:lnTo>
                      <a:lnTo>
                        <a:pt x="378" y="1354"/>
                      </a:lnTo>
                      <a:lnTo>
                        <a:pt x="383" y="1358"/>
                      </a:lnTo>
                      <a:lnTo>
                        <a:pt x="378" y="1370"/>
                      </a:lnTo>
                      <a:lnTo>
                        <a:pt x="371" y="1403"/>
                      </a:lnTo>
                      <a:lnTo>
                        <a:pt x="329" y="1465"/>
                      </a:lnTo>
                      <a:lnTo>
                        <a:pt x="319" y="1460"/>
                      </a:lnTo>
                      <a:lnTo>
                        <a:pt x="253" y="1460"/>
                      </a:lnTo>
                      <a:lnTo>
                        <a:pt x="253" y="1469"/>
                      </a:lnTo>
                      <a:lnTo>
                        <a:pt x="237" y="1465"/>
                      </a:lnTo>
                      <a:lnTo>
                        <a:pt x="215" y="1486"/>
                      </a:lnTo>
                      <a:lnTo>
                        <a:pt x="215" y="1505"/>
                      </a:lnTo>
                      <a:lnTo>
                        <a:pt x="232" y="1521"/>
                      </a:lnTo>
                      <a:lnTo>
                        <a:pt x="215" y="1538"/>
                      </a:lnTo>
                      <a:lnTo>
                        <a:pt x="182" y="1526"/>
                      </a:lnTo>
                      <a:lnTo>
                        <a:pt x="156" y="1538"/>
                      </a:lnTo>
                      <a:lnTo>
                        <a:pt x="130" y="1538"/>
                      </a:lnTo>
                      <a:lnTo>
                        <a:pt x="123" y="1521"/>
                      </a:lnTo>
                      <a:lnTo>
                        <a:pt x="140" y="1505"/>
                      </a:lnTo>
                      <a:lnTo>
                        <a:pt x="92" y="1443"/>
                      </a:lnTo>
                      <a:lnTo>
                        <a:pt x="123" y="1448"/>
                      </a:lnTo>
                      <a:lnTo>
                        <a:pt x="107" y="1432"/>
                      </a:lnTo>
                      <a:lnTo>
                        <a:pt x="123" y="1427"/>
                      </a:lnTo>
                      <a:lnTo>
                        <a:pt x="123" y="1410"/>
                      </a:lnTo>
                      <a:lnTo>
                        <a:pt x="114" y="1410"/>
                      </a:lnTo>
                      <a:lnTo>
                        <a:pt x="102" y="1387"/>
                      </a:lnTo>
                      <a:lnTo>
                        <a:pt x="85" y="1377"/>
                      </a:lnTo>
                      <a:lnTo>
                        <a:pt x="69" y="1349"/>
                      </a:lnTo>
                      <a:lnTo>
                        <a:pt x="69" y="1321"/>
                      </a:lnTo>
                      <a:lnTo>
                        <a:pt x="59" y="1321"/>
                      </a:lnTo>
                      <a:lnTo>
                        <a:pt x="59" y="1337"/>
                      </a:lnTo>
                      <a:lnTo>
                        <a:pt x="55" y="1332"/>
                      </a:lnTo>
                      <a:lnTo>
                        <a:pt x="55" y="1304"/>
                      </a:lnTo>
                      <a:lnTo>
                        <a:pt x="55" y="1299"/>
                      </a:lnTo>
                      <a:lnTo>
                        <a:pt x="55" y="1299"/>
                      </a:lnTo>
                      <a:lnTo>
                        <a:pt x="38" y="1299"/>
                      </a:lnTo>
                      <a:lnTo>
                        <a:pt x="38" y="1283"/>
                      </a:lnTo>
                      <a:lnTo>
                        <a:pt x="55" y="1243"/>
                      </a:lnTo>
                      <a:lnTo>
                        <a:pt x="48" y="1238"/>
                      </a:lnTo>
                      <a:lnTo>
                        <a:pt x="31" y="1243"/>
                      </a:lnTo>
                      <a:lnTo>
                        <a:pt x="5" y="1226"/>
                      </a:lnTo>
                      <a:lnTo>
                        <a:pt x="5" y="1181"/>
                      </a:lnTo>
                      <a:lnTo>
                        <a:pt x="0" y="1165"/>
                      </a:lnTo>
                      <a:lnTo>
                        <a:pt x="15" y="1148"/>
                      </a:lnTo>
                      <a:lnTo>
                        <a:pt x="22" y="1165"/>
                      </a:lnTo>
                      <a:lnTo>
                        <a:pt x="22" y="1172"/>
                      </a:lnTo>
                      <a:lnTo>
                        <a:pt x="31" y="1172"/>
                      </a:lnTo>
                      <a:lnTo>
                        <a:pt x="31" y="1172"/>
                      </a:lnTo>
                      <a:lnTo>
                        <a:pt x="31" y="1172"/>
                      </a:lnTo>
                      <a:close/>
                      <a:moveTo>
                        <a:pt x="485" y="761"/>
                      </a:moveTo>
                      <a:lnTo>
                        <a:pt x="485" y="749"/>
                      </a:lnTo>
                      <a:lnTo>
                        <a:pt x="492" y="749"/>
                      </a:lnTo>
                      <a:lnTo>
                        <a:pt x="485" y="761"/>
                      </a:lnTo>
                      <a:lnTo>
                        <a:pt x="485" y="761"/>
                      </a:lnTo>
                      <a:lnTo>
                        <a:pt x="485" y="761"/>
                      </a:lnTo>
                      <a:close/>
                      <a:moveTo>
                        <a:pt x="447" y="799"/>
                      </a:moveTo>
                      <a:lnTo>
                        <a:pt x="437" y="782"/>
                      </a:lnTo>
                      <a:lnTo>
                        <a:pt x="447" y="782"/>
                      </a:lnTo>
                      <a:lnTo>
                        <a:pt x="447" y="789"/>
                      </a:lnTo>
                      <a:lnTo>
                        <a:pt x="447" y="799"/>
                      </a:lnTo>
                      <a:lnTo>
                        <a:pt x="447" y="799"/>
                      </a:lnTo>
                      <a:lnTo>
                        <a:pt x="447" y="799"/>
                      </a:lnTo>
                      <a:close/>
                      <a:moveTo>
                        <a:pt x="522" y="1021"/>
                      </a:moveTo>
                      <a:lnTo>
                        <a:pt x="508" y="1011"/>
                      </a:lnTo>
                      <a:lnTo>
                        <a:pt x="508" y="999"/>
                      </a:lnTo>
                      <a:lnTo>
                        <a:pt x="522" y="1021"/>
                      </a:lnTo>
                      <a:lnTo>
                        <a:pt x="522" y="1021"/>
                      </a:lnTo>
                      <a:lnTo>
                        <a:pt x="522" y="1021"/>
                      </a:lnTo>
                      <a:close/>
                      <a:moveTo>
                        <a:pt x="522" y="1115"/>
                      </a:moveTo>
                      <a:lnTo>
                        <a:pt x="522" y="1110"/>
                      </a:lnTo>
                      <a:lnTo>
                        <a:pt x="534" y="1099"/>
                      </a:lnTo>
                      <a:lnTo>
                        <a:pt x="522" y="1115"/>
                      </a:lnTo>
                      <a:lnTo>
                        <a:pt x="522" y="1115"/>
                      </a:lnTo>
                      <a:lnTo>
                        <a:pt x="522" y="1115"/>
                      </a:lnTo>
                      <a:close/>
                      <a:moveTo>
                        <a:pt x="433" y="1122"/>
                      </a:moveTo>
                      <a:lnTo>
                        <a:pt x="416" y="1115"/>
                      </a:lnTo>
                      <a:lnTo>
                        <a:pt x="433" y="1115"/>
                      </a:lnTo>
                      <a:lnTo>
                        <a:pt x="433" y="1122"/>
                      </a:lnTo>
                      <a:lnTo>
                        <a:pt x="433" y="1122"/>
                      </a:lnTo>
                      <a:lnTo>
                        <a:pt x="433" y="1122"/>
                      </a:lnTo>
                      <a:close/>
                      <a:moveTo>
                        <a:pt x="470" y="1132"/>
                      </a:moveTo>
                      <a:lnTo>
                        <a:pt x="454" y="1132"/>
                      </a:lnTo>
                      <a:lnTo>
                        <a:pt x="447" y="1115"/>
                      </a:lnTo>
                      <a:lnTo>
                        <a:pt x="470" y="1132"/>
                      </a:lnTo>
                      <a:lnTo>
                        <a:pt x="470" y="1132"/>
                      </a:lnTo>
                      <a:lnTo>
                        <a:pt x="470" y="1132"/>
                      </a:lnTo>
                      <a:close/>
                      <a:moveTo>
                        <a:pt x="518" y="1139"/>
                      </a:moveTo>
                      <a:lnTo>
                        <a:pt x="508" y="1132"/>
                      </a:lnTo>
                      <a:lnTo>
                        <a:pt x="522" y="1132"/>
                      </a:lnTo>
                      <a:lnTo>
                        <a:pt x="518" y="1139"/>
                      </a:lnTo>
                      <a:lnTo>
                        <a:pt x="518" y="1139"/>
                      </a:lnTo>
                      <a:lnTo>
                        <a:pt x="518" y="1139"/>
                      </a:lnTo>
                      <a:close/>
                      <a:moveTo>
                        <a:pt x="572" y="1238"/>
                      </a:moveTo>
                      <a:lnTo>
                        <a:pt x="560" y="1226"/>
                      </a:lnTo>
                      <a:lnTo>
                        <a:pt x="577" y="1226"/>
                      </a:lnTo>
                      <a:lnTo>
                        <a:pt x="572" y="1238"/>
                      </a:lnTo>
                      <a:lnTo>
                        <a:pt x="572" y="1238"/>
                      </a:lnTo>
                      <a:lnTo>
                        <a:pt x="572" y="1238"/>
                      </a:lnTo>
                      <a:close/>
                      <a:moveTo>
                        <a:pt x="22" y="1259"/>
                      </a:moveTo>
                      <a:lnTo>
                        <a:pt x="22" y="1250"/>
                      </a:lnTo>
                      <a:lnTo>
                        <a:pt x="38" y="1238"/>
                      </a:lnTo>
                      <a:lnTo>
                        <a:pt x="48" y="1243"/>
                      </a:lnTo>
                      <a:lnTo>
                        <a:pt x="48" y="1250"/>
                      </a:lnTo>
                      <a:lnTo>
                        <a:pt x="22" y="1259"/>
                      </a:lnTo>
                      <a:lnTo>
                        <a:pt x="22" y="1259"/>
                      </a:lnTo>
                      <a:lnTo>
                        <a:pt x="22" y="1259"/>
                      </a:lnTo>
                      <a:close/>
                      <a:moveTo>
                        <a:pt x="48" y="1259"/>
                      </a:moveTo>
                      <a:lnTo>
                        <a:pt x="31" y="1276"/>
                      </a:lnTo>
                      <a:lnTo>
                        <a:pt x="31" y="1266"/>
                      </a:lnTo>
                      <a:lnTo>
                        <a:pt x="48" y="1259"/>
                      </a:lnTo>
                      <a:lnTo>
                        <a:pt x="48" y="1259"/>
                      </a:lnTo>
                      <a:lnTo>
                        <a:pt x="48" y="1259"/>
                      </a:lnTo>
                      <a:close/>
                      <a:moveTo>
                        <a:pt x="560" y="1283"/>
                      </a:moveTo>
                      <a:lnTo>
                        <a:pt x="555" y="1276"/>
                      </a:lnTo>
                      <a:lnTo>
                        <a:pt x="560" y="1266"/>
                      </a:lnTo>
                      <a:lnTo>
                        <a:pt x="577" y="1266"/>
                      </a:lnTo>
                      <a:lnTo>
                        <a:pt x="560" y="1276"/>
                      </a:lnTo>
                      <a:lnTo>
                        <a:pt x="560" y="1283"/>
                      </a:lnTo>
                      <a:lnTo>
                        <a:pt x="560" y="1283"/>
                      </a:lnTo>
                      <a:lnTo>
                        <a:pt x="560" y="1283"/>
                      </a:lnTo>
                      <a:close/>
                      <a:moveTo>
                        <a:pt x="555" y="1276"/>
                      </a:moveTo>
                      <a:lnTo>
                        <a:pt x="555" y="1283"/>
                      </a:lnTo>
                      <a:lnTo>
                        <a:pt x="539" y="1299"/>
                      </a:lnTo>
                      <a:lnTo>
                        <a:pt x="534" y="1349"/>
                      </a:lnTo>
                      <a:lnTo>
                        <a:pt x="508" y="1354"/>
                      </a:lnTo>
                      <a:lnTo>
                        <a:pt x="501" y="1377"/>
                      </a:lnTo>
                      <a:lnTo>
                        <a:pt x="492" y="1377"/>
                      </a:lnTo>
                      <a:lnTo>
                        <a:pt x="501" y="1370"/>
                      </a:lnTo>
                      <a:lnTo>
                        <a:pt x="492" y="1316"/>
                      </a:lnTo>
                      <a:lnTo>
                        <a:pt x="534" y="1276"/>
                      </a:lnTo>
                      <a:lnTo>
                        <a:pt x="555" y="1276"/>
                      </a:lnTo>
                      <a:lnTo>
                        <a:pt x="555" y="1276"/>
                      </a:lnTo>
                      <a:lnTo>
                        <a:pt x="555" y="1276"/>
                      </a:lnTo>
                      <a:close/>
                      <a:moveTo>
                        <a:pt x="371" y="1448"/>
                      </a:moveTo>
                      <a:lnTo>
                        <a:pt x="371" y="1410"/>
                      </a:lnTo>
                      <a:lnTo>
                        <a:pt x="409" y="1337"/>
                      </a:lnTo>
                      <a:lnTo>
                        <a:pt x="426" y="1337"/>
                      </a:lnTo>
                      <a:lnTo>
                        <a:pt x="371" y="1448"/>
                      </a:lnTo>
                      <a:lnTo>
                        <a:pt x="371" y="1448"/>
                      </a:lnTo>
                      <a:lnTo>
                        <a:pt x="371" y="1448"/>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9" name="Freeform 568">
                  <a:extLst>
                    <a:ext uri="{FF2B5EF4-FFF2-40B4-BE49-F238E27FC236}">
                      <a16:creationId xmlns:a16="http://schemas.microsoft.com/office/drawing/2014/main" id="{1E9002F9-90F6-4E32-ADC7-F4BB71B4FFBB}"/>
                    </a:ext>
                  </a:extLst>
                </p:cNvPr>
                <p:cNvSpPr>
                  <a:spLocks/>
                </p:cNvSpPr>
                <p:nvPr/>
              </p:nvSpPr>
              <p:spPr bwMode="gray">
                <a:xfrm>
                  <a:off x="8668084" y="2775979"/>
                  <a:ext cx="229712" cy="151924"/>
                </a:xfrm>
                <a:custGeom>
                  <a:avLst/>
                  <a:gdLst>
                    <a:gd name="T0" fmla="*/ 520 w 558"/>
                    <a:gd name="T1" fmla="*/ 302 h 369"/>
                    <a:gd name="T2" fmla="*/ 451 w 558"/>
                    <a:gd name="T3" fmla="*/ 319 h 369"/>
                    <a:gd name="T4" fmla="*/ 461 w 558"/>
                    <a:gd name="T5" fmla="*/ 314 h 369"/>
                    <a:gd name="T6" fmla="*/ 418 w 558"/>
                    <a:gd name="T7" fmla="*/ 298 h 369"/>
                    <a:gd name="T8" fmla="*/ 380 w 558"/>
                    <a:gd name="T9" fmla="*/ 335 h 369"/>
                    <a:gd name="T10" fmla="*/ 321 w 558"/>
                    <a:gd name="T11" fmla="*/ 359 h 369"/>
                    <a:gd name="T12" fmla="*/ 305 w 558"/>
                    <a:gd name="T13" fmla="*/ 359 h 369"/>
                    <a:gd name="T14" fmla="*/ 305 w 558"/>
                    <a:gd name="T15" fmla="*/ 265 h 369"/>
                    <a:gd name="T16" fmla="*/ 288 w 558"/>
                    <a:gd name="T17" fmla="*/ 232 h 369"/>
                    <a:gd name="T18" fmla="*/ 246 w 558"/>
                    <a:gd name="T19" fmla="*/ 220 h 369"/>
                    <a:gd name="T20" fmla="*/ 213 w 558"/>
                    <a:gd name="T21" fmla="*/ 281 h 369"/>
                    <a:gd name="T22" fmla="*/ 180 w 558"/>
                    <a:gd name="T23" fmla="*/ 286 h 369"/>
                    <a:gd name="T24" fmla="*/ 147 w 558"/>
                    <a:gd name="T25" fmla="*/ 302 h 369"/>
                    <a:gd name="T26" fmla="*/ 142 w 558"/>
                    <a:gd name="T27" fmla="*/ 331 h 369"/>
                    <a:gd name="T28" fmla="*/ 54 w 558"/>
                    <a:gd name="T29" fmla="*/ 343 h 369"/>
                    <a:gd name="T30" fmla="*/ 33 w 558"/>
                    <a:gd name="T31" fmla="*/ 319 h 369"/>
                    <a:gd name="T32" fmla="*/ 66 w 558"/>
                    <a:gd name="T33" fmla="*/ 260 h 369"/>
                    <a:gd name="T34" fmla="*/ 83 w 558"/>
                    <a:gd name="T35" fmla="*/ 243 h 369"/>
                    <a:gd name="T36" fmla="*/ 54 w 558"/>
                    <a:gd name="T37" fmla="*/ 187 h 369"/>
                    <a:gd name="T38" fmla="*/ 54 w 558"/>
                    <a:gd name="T39" fmla="*/ 170 h 369"/>
                    <a:gd name="T40" fmla="*/ 28 w 558"/>
                    <a:gd name="T41" fmla="*/ 165 h 369"/>
                    <a:gd name="T42" fmla="*/ 0 w 558"/>
                    <a:gd name="T43" fmla="*/ 149 h 369"/>
                    <a:gd name="T44" fmla="*/ 33 w 558"/>
                    <a:gd name="T45" fmla="*/ 116 h 369"/>
                    <a:gd name="T46" fmla="*/ 92 w 558"/>
                    <a:gd name="T47" fmla="*/ 99 h 369"/>
                    <a:gd name="T48" fmla="*/ 104 w 558"/>
                    <a:gd name="T49" fmla="*/ 83 h 369"/>
                    <a:gd name="T50" fmla="*/ 92 w 558"/>
                    <a:gd name="T51" fmla="*/ 78 h 369"/>
                    <a:gd name="T52" fmla="*/ 142 w 558"/>
                    <a:gd name="T53" fmla="*/ 45 h 369"/>
                    <a:gd name="T54" fmla="*/ 147 w 558"/>
                    <a:gd name="T55" fmla="*/ 21 h 369"/>
                    <a:gd name="T56" fmla="*/ 213 w 558"/>
                    <a:gd name="T57" fmla="*/ 12 h 369"/>
                    <a:gd name="T58" fmla="*/ 250 w 558"/>
                    <a:gd name="T59" fmla="*/ 28 h 369"/>
                    <a:gd name="T60" fmla="*/ 217 w 558"/>
                    <a:gd name="T61" fmla="*/ 54 h 369"/>
                    <a:gd name="T62" fmla="*/ 255 w 558"/>
                    <a:gd name="T63" fmla="*/ 66 h 369"/>
                    <a:gd name="T64" fmla="*/ 234 w 558"/>
                    <a:gd name="T65" fmla="*/ 78 h 369"/>
                    <a:gd name="T66" fmla="*/ 229 w 558"/>
                    <a:gd name="T67" fmla="*/ 95 h 369"/>
                    <a:gd name="T68" fmla="*/ 196 w 558"/>
                    <a:gd name="T69" fmla="*/ 66 h 369"/>
                    <a:gd name="T70" fmla="*/ 158 w 558"/>
                    <a:gd name="T71" fmla="*/ 95 h 369"/>
                    <a:gd name="T72" fmla="*/ 142 w 558"/>
                    <a:gd name="T73" fmla="*/ 83 h 369"/>
                    <a:gd name="T74" fmla="*/ 142 w 558"/>
                    <a:gd name="T75" fmla="*/ 121 h 369"/>
                    <a:gd name="T76" fmla="*/ 234 w 558"/>
                    <a:gd name="T77" fmla="*/ 121 h 369"/>
                    <a:gd name="T78" fmla="*/ 255 w 558"/>
                    <a:gd name="T79" fmla="*/ 137 h 369"/>
                    <a:gd name="T80" fmla="*/ 298 w 558"/>
                    <a:gd name="T81" fmla="*/ 121 h 369"/>
                    <a:gd name="T82" fmla="*/ 310 w 558"/>
                    <a:gd name="T83" fmla="*/ 132 h 369"/>
                    <a:gd name="T84" fmla="*/ 336 w 558"/>
                    <a:gd name="T85" fmla="*/ 137 h 369"/>
                    <a:gd name="T86" fmla="*/ 359 w 558"/>
                    <a:gd name="T87" fmla="*/ 137 h 369"/>
                    <a:gd name="T88" fmla="*/ 451 w 558"/>
                    <a:gd name="T89" fmla="*/ 132 h 369"/>
                    <a:gd name="T90" fmla="*/ 461 w 558"/>
                    <a:gd name="T91" fmla="*/ 170 h 369"/>
                    <a:gd name="T92" fmla="*/ 461 w 558"/>
                    <a:gd name="T93" fmla="*/ 203 h 369"/>
                    <a:gd name="T94" fmla="*/ 482 w 558"/>
                    <a:gd name="T95" fmla="*/ 203 h 369"/>
                    <a:gd name="T96" fmla="*/ 536 w 558"/>
                    <a:gd name="T97" fmla="*/ 220 h 369"/>
                    <a:gd name="T98" fmla="*/ 543 w 558"/>
                    <a:gd name="T99" fmla="*/ 276 h 369"/>
                    <a:gd name="T100" fmla="*/ 558 w 558"/>
                    <a:gd name="T101" fmla="*/ 302 h 369"/>
                    <a:gd name="T102" fmla="*/ 536 w 558"/>
                    <a:gd name="T103" fmla="*/ 31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58" h="369">
                      <a:moveTo>
                        <a:pt x="536" y="319"/>
                      </a:moveTo>
                      <a:lnTo>
                        <a:pt x="520" y="302"/>
                      </a:lnTo>
                      <a:lnTo>
                        <a:pt x="489" y="302"/>
                      </a:lnTo>
                      <a:lnTo>
                        <a:pt x="451" y="319"/>
                      </a:lnTo>
                      <a:lnTo>
                        <a:pt x="444" y="314"/>
                      </a:lnTo>
                      <a:lnTo>
                        <a:pt x="461" y="314"/>
                      </a:lnTo>
                      <a:lnTo>
                        <a:pt x="461" y="302"/>
                      </a:lnTo>
                      <a:lnTo>
                        <a:pt x="418" y="298"/>
                      </a:lnTo>
                      <a:lnTo>
                        <a:pt x="390" y="319"/>
                      </a:lnTo>
                      <a:lnTo>
                        <a:pt x="380" y="335"/>
                      </a:lnTo>
                      <a:lnTo>
                        <a:pt x="352" y="335"/>
                      </a:lnTo>
                      <a:lnTo>
                        <a:pt x="321" y="359"/>
                      </a:lnTo>
                      <a:lnTo>
                        <a:pt x="310" y="369"/>
                      </a:lnTo>
                      <a:lnTo>
                        <a:pt x="305" y="359"/>
                      </a:lnTo>
                      <a:lnTo>
                        <a:pt x="288" y="331"/>
                      </a:lnTo>
                      <a:lnTo>
                        <a:pt x="305" y="265"/>
                      </a:lnTo>
                      <a:lnTo>
                        <a:pt x="284" y="265"/>
                      </a:lnTo>
                      <a:lnTo>
                        <a:pt x="288" y="232"/>
                      </a:lnTo>
                      <a:lnTo>
                        <a:pt x="255" y="220"/>
                      </a:lnTo>
                      <a:lnTo>
                        <a:pt x="246" y="220"/>
                      </a:lnTo>
                      <a:lnTo>
                        <a:pt x="201" y="260"/>
                      </a:lnTo>
                      <a:lnTo>
                        <a:pt x="213" y="281"/>
                      </a:lnTo>
                      <a:lnTo>
                        <a:pt x="201" y="298"/>
                      </a:lnTo>
                      <a:lnTo>
                        <a:pt x="180" y="286"/>
                      </a:lnTo>
                      <a:lnTo>
                        <a:pt x="158" y="286"/>
                      </a:lnTo>
                      <a:lnTo>
                        <a:pt x="147" y="302"/>
                      </a:lnTo>
                      <a:lnTo>
                        <a:pt x="147" y="319"/>
                      </a:lnTo>
                      <a:lnTo>
                        <a:pt x="142" y="331"/>
                      </a:lnTo>
                      <a:lnTo>
                        <a:pt x="109" y="314"/>
                      </a:lnTo>
                      <a:lnTo>
                        <a:pt x="54" y="343"/>
                      </a:lnTo>
                      <a:lnTo>
                        <a:pt x="33" y="331"/>
                      </a:lnTo>
                      <a:lnTo>
                        <a:pt x="33" y="319"/>
                      </a:lnTo>
                      <a:lnTo>
                        <a:pt x="38" y="298"/>
                      </a:lnTo>
                      <a:lnTo>
                        <a:pt x="66" y="260"/>
                      </a:lnTo>
                      <a:lnTo>
                        <a:pt x="71" y="260"/>
                      </a:lnTo>
                      <a:lnTo>
                        <a:pt x="83" y="243"/>
                      </a:lnTo>
                      <a:lnTo>
                        <a:pt x="54" y="210"/>
                      </a:lnTo>
                      <a:lnTo>
                        <a:pt x="54" y="187"/>
                      </a:lnTo>
                      <a:lnTo>
                        <a:pt x="66" y="187"/>
                      </a:lnTo>
                      <a:lnTo>
                        <a:pt x="54" y="170"/>
                      </a:lnTo>
                      <a:lnTo>
                        <a:pt x="33" y="170"/>
                      </a:lnTo>
                      <a:lnTo>
                        <a:pt x="28" y="165"/>
                      </a:lnTo>
                      <a:lnTo>
                        <a:pt x="12" y="154"/>
                      </a:lnTo>
                      <a:lnTo>
                        <a:pt x="0" y="149"/>
                      </a:lnTo>
                      <a:lnTo>
                        <a:pt x="12" y="132"/>
                      </a:lnTo>
                      <a:lnTo>
                        <a:pt x="33" y="116"/>
                      </a:lnTo>
                      <a:lnTo>
                        <a:pt x="88" y="121"/>
                      </a:lnTo>
                      <a:lnTo>
                        <a:pt x="92" y="99"/>
                      </a:lnTo>
                      <a:lnTo>
                        <a:pt x="109" y="99"/>
                      </a:lnTo>
                      <a:lnTo>
                        <a:pt x="104" y="83"/>
                      </a:lnTo>
                      <a:lnTo>
                        <a:pt x="121" y="78"/>
                      </a:lnTo>
                      <a:lnTo>
                        <a:pt x="92" y="78"/>
                      </a:lnTo>
                      <a:lnTo>
                        <a:pt x="142" y="66"/>
                      </a:lnTo>
                      <a:lnTo>
                        <a:pt x="142" y="45"/>
                      </a:lnTo>
                      <a:lnTo>
                        <a:pt x="147" y="21"/>
                      </a:lnTo>
                      <a:lnTo>
                        <a:pt x="147" y="21"/>
                      </a:lnTo>
                      <a:lnTo>
                        <a:pt x="175" y="38"/>
                      </a:lnTo>
                      <a:lnTo>
                        <a:pt x="213" y="12"/>
                      </a:lnTo>
                      <a:lnTo>
                        <a:pt x="217" y="0"/>
                      </a:lnTo>
                      <a:lnTo>
                        <a:pt x="250" y="28"/>
                      </a:lnTo>
                      <a:lnTo>
                        <a:pt x="217" y="54"/>
                      </a:lnTo>
                      <a:lnTo>
                        <a:pt x="217" y="54"/>
                      </a:lnTo>
                      <a:lnTo>
                        <a:pt x="234" y="66"/>
                      </a:lnTo>
                      <a:lnTo>
                        <a:pt x="255" y="66"/>
                      </a:lnTo>
                      <a:lnTo>
                        <a:pt x="255" y="78"/>
                      </a:lnTo>
                      <a:lnTo>
                        <a:pt x="234" y="78"/>
                      </a:lnTo>
                      <a:lnTo>
                        <a:pt x="234" y="95"/>
                      </a:lnTo>
                      <a:lnTo>
                        <a:pt x="229" y="95"/>
                      </a:lnTo>
                      <a:lnTo>
                        <a:pt x="229" y="83"/>
                      </a:lnTo>
                      <a:lnTo>
                        <a:pt x="196" y="66"/>
                      </a:lnTo>
                      <a:lnTo>
                        <a:pt x="158" y="78"/>
                      </a:lnTo>
                      <a:lnTo>
                        <a:pt x="158" y="95"/>
                      </a:lnTo>
                      <a:lnTo>
                        <a:pt x="147" y="95"/>
                      </a:lnTo>
                      <a:lnTo>
                        <a:pt x="142" y="83"/>
                      </a:lnTo>
                      <a:lnTo>
                        <a:pt x="142" y="99"/>
                      </a:lnTo>
                      <a:lnTo>
                        <a:pt x="142" y="121"/>
                      </a:lnTo>
                      <a:lnTo>
                        <a:pt x="229" y="121"/>
                      </a:lnTo>
                      <a:lnTo>
                        <a:pt x="234" y="121"/>
                      </a:lnTo>
                      <a:lnTo>
                        <a:pt x="246" y="137"/>
                      </a:lnTo>
                      <a:lnTo>
                        <a:pt x="255" y="137"/>
                      </a:lnTo>
                      <a:lnTo>
                        <a:pt x="267" y="132"/>
                      </a:lnTo>
                      <a:lnTo>
                        <a:pt x="298" y="121"/>
                      </a:lnTo>
                      <a:lnTo>
                        <a:pt x="298" y="132"/>
                      </a:lnTo>
                      <a:lnTo>
                        <a:pt x="310" y="132"/>
                      </a:lnTo>
                      <a:lnTo>
                        <a:pt x="310" y="149"/>
                      </a:lnTo>
                      <a:lnTo>
                        <a:pt x="336" y="137"/>
                      </a:lnTo>
                      <a:lnTo>
                        <a:pt x="352" y="154"/>
                      </a:lnTo>
                      <a:lnTo>
                        <a:pt x="359" y="137"/>
                      </a:lnTo>
                      <a:lnTo>
                        <a:pt x="413" y="137"/>
                      </a:lnTo>
                      <a:lnTo>
                        <a:pt x="451" y="132"/>
                      </a:lnTo>
                      <a:lnTo>
                        <a:pt x="444" y="154"/>
                      </a:lnTo>
                      <a:lnTo>
                        <a:pt x="461" y="170"/>
                      </a:lnTo>
                      <a:lnTo>
                        <a:pt x="451" y="177"/>
                      </a:lnTo>
                      <a:lnTo>
                        <a:pt x="461" y="203"/>
                      </a:lnTo>
                      <a:lnTo>
                        <a:pt x="473" y="210"/>
                      </a:lnTo>
                      <a:lnTo>
                        <a:pt x="482" y="203"/>
                      </a:lnTo>
                      <a:lnTo>
                        <a:pt x="499" y="203"/>
                      </a:lnTo>
                      <a:lnTo>
                        <a:pt x="536" y="220"/>
                      </a:lnTo>
                      <a:lnTo>
                        <a:pt x="527" y="248"/>
                      </a:lnTo>
                      <a:lnTo>
                        <a:pt x="543" y="276"/>
                      </a:lnTo>
                      <a:lnTo>
                        <a:pt x="536" y="281"/>
                      </a:lnTo>
                      <a:lnTo>
                        <a:pt x="558" y="302"/>
                      </a:lnTo>
                      <a:lnTo>
                        <a:pt x="536" y="319"/>
                      </a:lnTo>
                      <a:lnTo>
                        <a:pt x="536" y="319"/>
                      </a:lnTo>
                      <a:lnTo>
                        <a:pt x="536" y="319"/>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60" name="Freeform 574">
                  <a:extLst>
                    <a:ext uri="{FF2B5EF4-FFF2-40B4-BE49-F238E27FC236}">
                      <a16:creationId xmlns:a16="http://schemas.microsoft.com/office/drawing/2014/main" id="{7639559A-2FF9-4935-8746-5ADF15691298}"/>
                    </a:ext>
                  </a:extLst>
                </p:cNvPr>
                <p:cNvSpPr>
                  <a:spLocks noEditPoints="1"/>
                </p:cNvSpPr>
                <p:nvPr/>
              </p:nvSpPr>
              <p:spPr bwMode="gray">
                <a:xfrm>
                  <a:off x="7467242" y="2738924"/>
                  <a:ext cx="551226" cy="219033"/>
                </a:xfrm>
                <a:custGeom>
                  <a:avLst/>
                  <a:gdLst>
                    <a:gd name="T0" fmla="*/ 71 w 1339"/>
                    <a:gd name="T1" fmla="*/ 62 h 532"/>
                    <a:gd name="T2" fmla="*/ 59 w 1339"/>
                    <a:gd name="T3" fmla="*/ 22 h 532"/>
                    <a:gd name="T4" fmla="*/ 113 w 1339"/>
                    <a:gd name="T5" fmla="*/ 0 h 532"/>
                    <a:gd name="T6" fmla="*/ 168 w 1339"/>
                    <a:gd name="T7" fmla="*/ 38 h 532"/>
                    <a:gd name="T8" fmla="*/ 222 w 1339"/>
                    <a:gd name="T9" fmla="*/ 95 h 532"/>
                    <a:gd name="T10" fmla="*/ 177 w 1339"/>
                    <a:gd name="T11" fmla="*/ 88 h 532"/>
                    <a:gd name="T12" fmla="*/ 75 w 1339"/>
                    <a:gd name="T13" fmla="*/ 144 h 532"/>
                    <a:gd name="T14" fmla="*/ 80 w 1339"/>
                    <a:gd name="T15" fmla="*/ 128 h 532"/>
                    <a:gd name="T16" fmla="*/ 26 w 1339"/>
                    <a:gd name="T17" fmla="*/ 116 h 532"/>
                    <a:gd name="T18" fmla="*/ 1264 w 1339"/>
                    <a:gd name="T19" fmla="*/ 409 h 532"/>
                    <a:gd name="T20" fmla="*/ 1188 w 1339"/>
                    <a:gd name="T21" fmla="*/ 421 h 532"/>
                    <a:gd name="T22" fmla="*/ 1150 w 1339"/>
                    <a:gd name="T23" fmla="*/ 409 h 532"/>
                    <a:gd name="T24" fmla="*/ 957 w 1339"/>
                    <a:gd name="T25" fmla="*/ 461 h 532"/>
                    <a:gd name="T26" fmla="*/ 827 w 1339"/>
                    <a:gd name="T27" fmla="*/ 461 h 532"/>
                    <a:gd name="T28" fmla="*/ 777 w 1339"/>
                    <a:gd name="T29" fmla="*/ 487 h 532"/>
                    <a:gd name="T30" fmla="*/ 739 w 1339"/>
                    <a:gd name="T31" fmla="*/ 532 h 532"/>
                    <a:gd name="T32" fmla="*/ 739 w 1339"/>
                    <a:gd name="T33" fmla="*/ 461 h 532"/>
                    <a:gd name="T34" fmla="*/ 701 w 1339"/>
                    <a:gd name="T35" fmla="*/ 461 h 532"/>
                    <a:gd name="T36" fmla="*/ 583 w 1339"/>
                    <a:gd name="T37" fmla="*/ 487 h 532"/>
                    <a:gd name="T38" fmla="*/ 470 w 1339"/>
                    <a:gd name="T39" fmla="*/ 499 h 532"/>
                    <a:gd name="T40" fmla="*/ 340 w 1339"/>
                    <a:gd name="T41" fmla="*/ 482 h 532"/>
                    <a:gd name="T42" fmla="*/ 243 w 1339"/>
                    <a:gd name="T43" fmla="*/ 482 h 532"/>
                    <a:gd name="T44" fmla="*/ 231 w 1339"/>
                    <a:gd name="T45" fmla="*/ 449 h 532"/>
                    <a:gd name="T46" fmla="*/ 189 w 1339"/>
                    <a:gd name="T47" fmla="*/ 444 h 532"/>
                    <a:gd name="T48" fmla="*/ 168 w 1339"/>
                    <a:gd name="T49" fmla="*/ 461 h 532"/>
                    <a:gd name="T50" fmla="*/ 125 w 1339"/>
                    <a:gd name="T51" fmla="*/ 461 h 532"/>
                    <a:gd name="T52" fmla="*/ 113 w 1339"/>
                    <a:gd name="T53" fmla="*/ 433 h 532"/>
                    <a:gd name="T54" fmla="*/ 134 w 1339"/>
                    <a:gd name="T55" fmla="*/ 409 h 532"/>
                    <a:gd name="T56" fmla="*/ 113 w 1339"/>
                    <a:gd name="T57" fmla="*/ 350 h 532"/>
                    <a:gd name="T58" fmla="*/ 42 w 1339"/>
                    <a:gd name="T59" fmla="*/ 322 h 532"/>
                    <a:gd name="T60" fmla="*/ 54 w 1339"/>
                    <a:gd name="T61" fmla="*/ 310 h 532"/>
                    <a:gd name="T62" fmla="*/ 108 w 1339"/>
                    <a:gd name="T63" fmla="*/ 310 h 532"/>
                    <a:gd name="T64" fmla="*/ 97 w 1339"/>
                    <a:gd name="T65" fmla="*/ 265 h 532"/>
                    <a:gd name="T66" fmla="*/ 92 w 1339"/>
                    <a:gd name="T67" fmla="*/ 222 h 532"/>
                    <a:gd name="T68" fmla="*/ 75 w 1339"/>
                    <a:gd name="T69" fmla="*/ 144 h 532"/>
                    <a:gd name="T70" fmla="*/ 146 w 1339"/>
                    <a:gd name="T71" fmla="*/ 133 h 532"/>
                    <a:gd name="T72" fmla="*/ 163 w 1339"/>
                    <a:gd name="T73" fmla="*/ 149 h 532"/>
                    <a:gd name="T74" fmla="*/ 269 w 1339"/>
                    <a:gd name="T75" fmla="*/ 116 h 532"/>
                    <a:gd name="T76" fmla="*/ 238 w 1339"/>
                    <a:gd name="T77" fmla="*/ 88 h 532"/>
                    <a:gd name="T78" fmla="*/ 361 w 1339"/>
                    <a:gd name="T79" fmla="*/ 88 h 532"/>
                    <a:gd name="T80" fmla="*/ 541 w 1339"/>
                    <a:gd name="T81" fmla="*/ 5 h 532"/>
                    <a:gd name="T82" fmla="*/ 692 w 1339"/>
                    <a:gd name="T83" fmla="*/ 38 h 532"/>
                    <a:gd name="T84" fmla="*/ 756 w 1339"/>
                    <a:gd name="T85" fmla="*/ 71 h 532"/>
                    <a:gd name="T86" fmla="*/ 831 w 1339"/>
                    <a:gd name="T87" fmla="*/ 88 h 532"/>
                    <a:gd name="T88" fmla="*/ 961 w 1339"/>
                    <a:gd name="T89" fmla="*/ 88 h 532"/>
                    <a:gd name="T90" fmla="*/ 1134 w 1339"/>
                    <a:gd name="T91" fmla="*/ 55 h 532"/>
                    <a:gd name="T92" fmla="*/ 1205 w 1339"/>
                    <a:gd name="T93" fmla="*/ 38 h 532"/>
                    <a:gd name="T94" fmla="*/ 1268 w 1339"/>
                    <a:gd name="T95" fmla="*/ 111 h 532"/>
                    <a:gd name="T96" fmla="*/ 1280 w 1339"/>
                    <a:gd name="T97" fmla="*/ 173 h 532"/>
                    <a:gd name="T98" fmla="*/ 1334 w 1339"/>
                    <a:gd name="T99" fmla="*/ 199 h 532"/>
                    <a:gd name="T100" fmla="*/ 1301 w 1339"/>
                    <a:gd name="T101" fmla="*/ 255 h 532"/>
                    <a:gd name="T102" fmla="*/ 1318 w 1339"/>
                    <a:gd name="T103" fmla="*/ 317 h 532"/>
                    <a:gd name="T104" fmla="*/ 1339 w 1339"/>
                    <a:gd name="T105" fmla="*/ 404 h 532"/>
                    <a:gd name="T106" fmla="*/ 1301 w 1339"/>
                    <a:gd name="T107" fmla="*/ 421 h 532"/>
                    <a:gd name="T108" fmla="*/ 1297 w 1339"/>
                    <a:gd name="T109" fmla="*/ 404 h 532"/>
                    <a:gd name="T110" fmla="*/ 134 w 1339"/>
                    <a:gd name="T111" fmla="*/ 128 h 532"/>
                    <a:gd name="T112" fmla="*/ 0 w 1339"/>
                    <a:gd name="T113" fmla="*/ 166 h 532"/>
                    <a:gd name="T114" fmla="*/ 5 w 1339"/>
                    <a:gd name="T115" fmla="*/ 166 h 532"/>
                    <a:gd name="T116" fmla="*/ 21 w 1339"/>
                    <a:gd name="T117" fmla="*/ 189 h 532"/>
                    <a:gd name="T118" fmla="*/ 26 w 1339"/>
                    <a:gd name="T119" fmla="*/ 199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39" h="532">
                      <a:moveTo>
                        <a:pt x="26" y="116"/>
                      </a:moveTo>
                      <a:lnTo>
                        <a:pt x="54" y="95"/>
                      </a:lnTo>
                      <a:lnTo>
                        <a:pt x="42" y="71"/>
                      </a:lnTo>
                      <a:lnTo>
                        <a:pt x="71" y="62"/>
                      </a:lnTo>
                      <a:lnTo>
                        <a:pt x="71" y="38"/>
                      </a:lnTo>
                      <a:lnTo>
                        <a:pt x="54" y="33"/>
                      </a:lnTo>
                      <a:lnTo>
                        <a:pt x="54" y="22"/>
                      </a:lnTo>
                      <a:lnTo>
                        <a:pt x="59" y="22"/>
                      </a:lnTo>
                      <a:lnTo>
                        <a:pt x="71" y="5"/>
                      </a:lnTo>
                      <a:lnTo>
                        <a:pt x="92" y="5"/>
                      </a:lnTo>
                      <a:lnTo>
                        <a:pt x="97" y="0"/>
                      </a:lnTo>
                      <a:lnTo>
                        <a:pt x="113" y="0"/>
                      </a:lnTo>
                      <a:lnTo>
                        <a:pt x="134" y="17"/>
                      </a:lnTo>
                      <a:lnTo>
                        <a:pt x="168" y="5"/>
                      </a:lnTo>
                      <a:lnTo>
                        <a:pt x="163" y="22"/>
                      </a:lnTo>
                      <a:lnTo>
                        <a:pt x="168" y="38"/>
                      </a:lnTo>
                      <a:lnTo>
                        <a:pt x="201" y="55"/>
                      </a:lnTo>
                      <a:lnTo>
                        <a:pt x="238" y="71"/>
                      </a:lnTo>
                      <a:lnTo>
                        <a:pt x="238" y="88"/>
                      </a:lnTo>
                      <a:lnTo>
                        <a:pt x="222" y="95"/>
                      </a:lnTo>
                      <a:lnTo>
                        <a:pt x="205" y="95"/>
                      </a:lnTo>
                      <a:lnTo>
                        <a:pt x="201" y="88"/>
                      </a:lnTo>
                      <a:lnTo>
                        <a:pt x="201" y="95"/>
                      </a:lnTo>
                      <a:lnTo>
                        <a:pt x="177" y="88"/>
                      </a:lnTo>
                      <a:lnTo>
                        <a:pt x="163" y="95"/>
                      </a:lnTo>
                      <a:lnTo>
                        <a:pt x="130" y="95"/>
                      </a:lnTo>
                      <a:lnTo>
                        <a:pt x="113" y="116"/>
                      </a:lnTo>
                      <a:lnTo>
                        <a:pt x="75" y="144"/>
                      </a:lnTo>
                      <a:lnTo>
                        <a:pt x="38" y="173"/>
                      </a:lnTo>
                      <a:lnTo>
                        <a:pt x="42" y="156"/>
                      </a:lnTo>
                      <a:lnTo>
                        <a:pt x="38" y="149"/>
                      </a:lnTo>
                      <a:lnTo>
                        <a:pt x="80" y="128"/>
                      </a:lnTo>
                      <a:lnTo>
                        <a:pt x="75" y="116"/>
                      </a:lnTo>
                      <a:lnTo>
                        <a:pt x="26" y="128"/>
                      </a:lnTo>
                      <a:lnTo>
                        <a:pt x="26" y="116"/>
                      </a:lnTo>
                      <a:lnTo>
                        <a:pt x="26" y="116"/>
                      </a:lnTo>
                      <a:lnTo>
                        <a:pt x="26" y="116"/>
                      </a:lnTo>
                      <a:close/>
                      <a:moveTo>
                        <a:pt x="1297" y="404"/>
                      </a:moveTo>
                      <a:lnTo>
                        <a:pt x="1280" y="409"/>
                      </a:lnTo>
                      <a:lnTo>
                        <a:pt x="1264" y="409"/>
                      </a:lnTo>
                      <a:lnTo>
                        <a:pt x="1226" y="392"/>
                      </a:lnTo>
                      <a:lnTo>
                        <a:pt x="1214" y="404"/>
                      </a:lnTo>
                      <a:lnTo>
                        <a:pt x="1205" y="392"/>
                      </a:lnTo>
                      <a:lnTo>
                        <a:pt x="1188" y="421"/>
                      </a:lnTo>
                      <a:lnTo>
                        <a:pt x="1171" y="421"/>
                      </a:lnTo>
                      <a:lnTo>
                        <a:pt x="1171" y="409"/>
                      </a:lnTo>
                      <a:lnTo>
                        <a:pt x="1155" y="404"/>
                      </a:lnTo>
                      <a:lnTo>
                        <a:pt x="1150" y="409"/>
                      </a:lnTo>
                      <a:lnTo>
                        <a:pt x="1117" y="421"/>
                      </a:lnTo>
                      <a:lnTo>
                        <a:pt x="1063" y="421"/>
                      </a:lnTo>
                      <a:lnTo>
                        <a:pt x="994" y="449"/>
                      </a:lnTo>
                      <a:lnTo>
                        <a:pt x="957" y="461"/>
                      </a:lnTo>
                      <a:lnTo>
                        <a:pt x="919" y="449"/>
                      </a:lnTo>
                      <a:lnTo>
                        <a:pt x="902" y="444"/>
                      </a:lnTo>
                      <a:lnTo>
                        <a:pt x="886" y="433"/>
                      </a:lnTo>
                      <a:lnTo>
                        <a:pt x="827" y="461"/>
                      </a:lnTo>
                      <a:lnTo>
                        <a:pt x="810" y="461"/>
                      </a:lnTo>
                      <a:lnTo>
                        <a:pt x="772" y="444"/>
                      </a:lnTo>
                      <a:lnTo>
                        <a:pt x="760" y="477"/>
                      </a:lnTo>
                      <a:lnTo>
                        <a:pt x="777" y="487"/>
                      </a:lnTo>
                      <a:lnTo>
                        <a:pt x="756" y="487"/>
                      </a:lnTo>
                      <a:lnTo>
                        <a:pt x="756" y="515"/>
                      </a:lnTo>
                      <a:lnTo>
                        <a:pt x="739" y="515"/>
                      </a:lnTo>
                      <a:lnTo>
                        <a:pt x="739" y="532"/>
                      </a:lnTo>
                      <a:lnTo>
                        <a:pt x="723" y="515"/>
                      </a:lnTo>
                      <a:lnTo>
                        <a:pt x="723" y="515"/>
                      </a:lnTo>
                      <a:lnTo>
                        <a:pt x="706" y="482"/>
                      </a:lnTo>
                      <a:lnTo>
                        <a:pt x="739" y="461"/>
                      </a:lnTo>
                      <a:lnTo>
                        <a:pt x="739" y="444"/>
                      </a:lnTo>
                      <a:lnTo>
                        <a:pt x="723" y="433"/>
                      </a:lnTo>
                      <a:lnTo>
                        <a:pt x="692" y="449"/>
                      </a:lnTo>
                      <a:lnTo>
                        <a:pt x="701" y="461"/>
                      </a:lnTo>
                      <a:lnTo>
                        <a:pt x="675" y="466"/>
                      </a:lnTo>
                      <a:lnTo>
                        <a:pt x="631" y="444"/>
                      </a:lnTo>
                      <a:lnTo>
                        <a:pt x="609" y="466"/>
                      </a:lnTo>
                      <a:lnTo>
                        <a:pt x="583" y="487"/>
                      </a:lnTo>
                      <a:lnTo>
                        <a:pt x="579" y="482"/>
                      </a:lnTo>
                      <a:lnTo>
                        <a:pt x="562" y="499"/>
                      </a:lnTo>
                      <a:lnTo>
                        <a:pt x="503" y="503"/>
                      </a:lnTo>
                      <a:lnTo>
                        <a:pt x="470" y="499"/>
                      </a:lnTo>
                      <a:lnTo>
                        <a:pt x="449" y="466"/>
                      </a:lnTo>
                      <a:lnTo>
                        <a:pt x="378" y="444"/>
                      </a:lnTo>
                      <a:lnTo>
                        <a:pt x="345" y="444"/>
                      </a:lnTo>
                      <a:lnTo>
                        <a:pt x="340" y="482"/>
                      </a:lnTo>
                      <a:lnTo>
                        <a:pt x="328" y="499"/>
                      </a:lnTo>
                      <a:lnTo>
                        <a:pt x="323" y="482"/>
                      </a:lnTo>
                      <a:lnTo>
                        <a:pt x="286" y="499"/>
                      </a:lnTo>
                      <a:lnTo>
                        <a:pt x="243" y="482"/>
                      </a:lnTo>
                      <a:lnTo>
                        <a:pt x="243" y="466"/>
                      </a:lnTo>
                      <a:lnTo>
                        <a:pt x="238" y="466"/>
                      </a:lnTo>
                      <a:lnTo>
                        <a:pt x="238" y="461"/>
                      </a:lnTo>
                      <a:lnTo>
                        <a:pt x="231" y="449"/>
                      </a:lnTo>
                      <a:lnTo>
                        <a:pt x="222" y="461"/>
                      </a:lnTo>
                      <a:lnTo>
                        <a:pt x="215" y="449"/>
                      </a:lnTo>
                      <a:lnTo>
                        <a:pt x="201" y="433"/>
                      </a:lnTo>
                      <a:lnTo>
                        <a:pt x="189" y="444"/>
                      </a:lnTo>
                      <a:lnTo>
                        <a:pt x="184" y="444"/>
                      </a:lnTo>
                      <a:lnTo>
                        <a:pt x="184" y="449"/>
                      </a:lnTo>
                      <a:lnTo>
                        <a:pt x="163" y="466"/>
                      </a:lnTo>
                      <a:lnTo>
                        <a:pt x="168" y="461"/>
                      </a:lnTo>
                      <a:lnTo>
                        <a:pt x="163" y="449"/>
                      </a:lnTo>
                      <a:lnTo>
                        <a:pt x="177" y="449"/>
                      </a:lnTo>
                      <a:lnTo>
                        <a:pt x="177" y="444"/>
                      </a:lnTo>
                      <a:lnTo>
                        <a:pt x="125" y="461"/>
                      </a:lnTo>
                      <a:lnTo>
                        <a:pt x="168" y="444"/>
                      </a:lnTo>
                      <a:lnTo>
                        <a:pt x="168" y="433"/>
                      </a:lnTo>
                      <a:lnTo>
                        <a:pt x="189" y="425"/>
                      </a:lnTo>
                      <a:lnTo>
                        <a:pt x="113" y="433"/>
                      </a:lnTo>
                      <a:lnTo>
                        <a:pt x="113" y="425"/>
                      </a:lnTo>
                      <a:lnTo>
                        <a:pt x="113" y="421"/>
                      </a:lnTo>
                      <a:lnTo>
                        <a:pt x="130" y="421"/>
                      </a:lnTo>
                      <a:lnTo>
                        <a:pt x="134" y="409"/>
                      </a:lnTo>
                      <a:lnTo>
                        <a:pt x="125" y="404"/>
                      </a:lnTo>
                      <a:lnTo>
                        <a:pt x="125" y="392"/>
                      </a:lnTo>
                      <a:lnTo>
                        <a:pt x="108" y="404"/>
                      </a:lnTo>
                      <a:lnTo>
                        <a:pt x="113" y="350"/>
                      </a:lnTo>
                      <a:lnTo>
                        <a:pt x="92" y="338"/>
                      </a:lnTo>
                      <a:lnTo>
                        <a:pt x="75" y="322"/>
                      </a:lnTo>
                      <a:lnTo>
                        <a:pt x="71" y="338"/>
                      </a:lnTo>
                      <a:lnTo>
                        <a:pt x="42" y="322"/>
                      </a:lnTo>
                      <a:lnTo>
                        <a:pt x="42" y="317"/>
                      </a:lnTo>
                      <a:lnTo>
                        <a:pt x="54" y="317"/>
                      </a:lnTo>
                      <a:lnTo>
                        <a:pt x="59" y="310"/>
                      </a:lnTo>
                      <a:lnTo>
                        <a:pt x="54" y="310"/>
                      </a:lnTo>
                      <a:lnTo>
                        <a:pt x="54" y="293"/>
                      </a:lnTo>
                      <a:lnTo>
                        <a:pt x="59" y="293"/>
                      </a:lnTo>
                      <a:lnTo>
                        <a:pt x="75" y="317"/>
                      </a:lnTo>
                      <a:lnTo>
                        <a:pt x="108" y="310"/>
                      </a:lnTo>
                      <a:lnTo>
                        <a:pt x="92" y="310"/>
                      </a:lnTo>
                      <a:lnTo>
                        <a:pt x="75" y="293"/>
                      </a:lnTo>
                      <a:lnTo>
                        <a:pt x="75" y="281"/>
                      </a:lnTo>
                      <a:lnTo>
                        <a:pt x="97" y="265"/>
                      </a:lnTo>
                      <a:lnTo>
                        <a:pt x="80" y="265"/>
                      </a:lnTo>
                      <a:lnTo>
                        <a:pt x="80" y="255"/>
                      </a:lnTo>
                      <a:lnTo>
                        <a:pt x="71" y="239"/>
                      </a:lnTo>
                      <a:lnTo>
                        <a:pt x="92" y="222"/>
                      </a:lnTo>
                      <a:lnTo>
                        <a:pt x="92" y="211"/>
                      </a:lnTo>
                      <a:lnTo>
                        <a:pt x="26" y="222"/>
                      </a:lnTo>
                      <a:lnTo>
                        <a:pt x="38" y="182"/>
                      </a:lnTo>
                      <a:lnTo>
                        <a:pt x="75" y="144"/>
                      </a:lnTo>
                      <a:lnTo>
                        <a:pt x="108" y="144"/>
                      </a:lnTo>
                      <a:lnTo>
                        <a:pt x="130" y="149"/>
                      </a:lnTo>
                      <a:lnTo>
                        <a:pt x="151" y="149"/>
                      </a:lnTo>
                      <a:lnTo>
                        <a:pt x="146" y="133"/>
                      </a:lnTo>
                      <a:lnTo>
                        <a:pt x="146" y="133"/>
                      </a:lnTo>
                      <a:lnTo>
                        <a:pt x="168" y="133"/>
                      </a:lnTo>
                      <a:lnTo>
                        <a:pt x="163" y="144"/>
                      </a:lnTo>
                      <a:lnTo>
                        <a:pt x="163" y="149"/>
                      </a:lnTo>
                      <a:lnTo>
                        <a:pt x="238" y="149"/>
                      </a:lnTo>
                      <a:lnTo>
                        <a:pt x="243" y="144"/>
                      </a:lnTo>
                      <a:lnTo>
                        <a:pt x="222" y="133"/>
                      </a:lnTo>
                      <a:lnTo>
                        <a:pt x="269" y="116"/>
                      </a:lnTo>
                      <a:lnTo>
                        <a:pt x="297" y="116"/>
                      </a:lnTo>
                      <a:lnTo>
                        <a:pt x="260" y="111"/>
                      </a:lnTo>
                      <a:lnTo>
                        <a:pt x="243" y="100"/>
                      </a:lnTo>
                      <a:lnTo>
                        <a:pt x="238" y="88"/>
                      </a:lnTo>
                      <a:lnTo>
                        <a:pt x="243" y="71"/>
                      </a:lnTo>
                      <a:lnTo>
                        <a:pt x="307" y="78"/>
                      </a:lnTo>
                      <a:lnTo>
                        <a:pt x="323" y="71"/>
                      </a:lnTo>
                      <a:lnTo>
                        <a:pt x="361" y="88"/>
                      </a:lnTo>
                      <a:lnTo>
                        <a:pt x="394" y="88"/>
                      </a:lnTo>
                      <a:lnTo>
                        <a:pt x="416" y="62"/>
                      </a:lnTo>
                      <a:lnTo>
                        <a:pt x="458" y="33"/>
                      </a:lnTo>
                      <a:lnTo>
                        <a:pt x="541" y="5"/>
                      </a:lnTo>
                      <a:lnTo>
                        <a:pt x="638" y="5"/>
                      </a:lnTo>
                      <a:lnTo>
                        <a:pt x="654" y="0"/>
                      </a:lnTo>
                      <a:lnTo>
                        <a:pt x="675" y="33"/>
                      </a:lnTo>
                      <a:lnTo>
                        <a:pt x="692" y="38"/>
                      </a:lnTo>
                      <a:lnTo>
                        <a:pt x="723" y="33"/>
                      </a:lnTo>
                      <a:lnTo>
                        <a:pt x="730" y="33"/>
                      </a:lnTo>
                      <a:lnTo>
                        <a:pt x="730" y="55"/>
                      </a:lnTo>
                      <a:lnTo>
                        <a:pt x="756" y="71"/>
                      </a:lnTo>
                      <a:lnTo>
                        <a:pt x="782" y="62"/>
                      </a:lnTo>
                      <a:lnTo>
                        <a:pt x="798" y="71"/>
                      </a:lnTo>
                      <a:lnTo>
                        <a:pt x="798" y="78"/>
                      </a:lnTo>
                      <a:lnTo>
                        <a:pt x="831" y="88"/>
                      </a:lnTo>
                      <a:lnTo>
                        <a:pt x="848" y="78"/>
                      </a:lnTo>
                      <a:lnTo>
                        <a:pt x="853" y="95"/>
                      </a:lnTo>
                      <a:lnTo>
                        <a:pt x="890" y="100"/>
                      </a:lnTo>
                      <a:lnTo>
                        <a:pt x="961" y="88"/>
                      </a:lnTo>
                      <a:lnTo>
                        <a:pt x="1016" y="100"/>
                      </a:lnTo>
                      <a:lnTo>
                        <a:pt x="1101" y="62"/>
                      </a:lnTo>
                      <a:lnTo>
                        <a:pt x="1117" y="45"/>
                      </a:lnTo>
                      <a:lnTo>
                        <a:pt x="1134" y="55"/>
                      </a:lnTo>
                      <a:lnTo>
                        <a:pt x="1150" y="45"/>
                      </a:lnTo>
                      <a:lnTo>
                        <a:pt x="1176" y="55"/>
                      </a:lnTo>
                      <a:lnTo>
                        <a:pt x="1188" y="38"/>
                      </a:lnTo>
                      <a:lnTo>
                        <a:pt x="1205" y="38"/>
                      </a:lnTo>
                      <a:lnTo>
                        <a:pt x="1231" y="78"/>
                      </a:lnTo>
                      <a:lnTo>
                        <a:pt x="1242" y="78"/>
                      </a:lnTo>
                      <a:lnTo>
                        <a:pt x="1247" y="78"/>
                      </a:lnTo>
                      <a:lnTo>
                        <a:pt x="1268" y="111"/>
                      </a:lnTo>
                      <a:lnTo>
                        <a:pt x="1259" y="144"/>
                      </a:lnTo>
                      <a:lnTo>
                        <a:pt x="1264" y="166"/>
                      </a:lnTo>
                      <a:lnTo>
                        <a:pt x="1264" y="166"/>
                      </a:lnTo>
                      <a:lnTo>
                        <a:pt x="1280" y="173"/>
                      </a:lnTo>
                      <a:lnTo>
                        <a:pt x="1311" y="173"/>
                      </a:lnTo>
                      <a:lnTo>
                        <a:pt x="1339" y="206"/>
                      </a:lnTo>
                      <a:lnTo>
                        <a:pt x="1339" y="206"/>
                      </a:lnTo>
                      <a:lnTo>
                        <a:pt x="1334" y="199"/>
                      </a:lnTo>
                      <a:lnTo>
                        <a:pt x="1318" y="206"/>
                      </a:lnTo>
                      <a:lnTo>
                        <a:pt x="1318" y="227"/>
                      </a:lnTo>
                      <a:lnTo>
                        <a:pt x="1285" y="227"/>
                      </a:lnTo>
                      <a:lnTo>
                        <a:pt x="1301" y="255"/>
                      </a:lnTo>
                      <a:lnTo>
                        <a:pt x="1301" y="265"/>
                      </a:lnTo>
                      <a:lnTo>
                        <a:pt x="1311" y="277"/>
                      </a:lnTo>
                      <a:lnTo>
                        <a:pt x="1311" y="317"/>
                      </a:lnTo>
                      <a:lnTo>
                        <a:pt x="1318" y="317"/>
                      </a:lnTo>
                      <a:lnTo>
                        <a:pt x="1301" y="355"/>
                      </a:lnTo>
                      <a:lnTo>
                        <a:pt x="1334" y="371"/>
                      </a:lnTo>
                      <a:lnTo>
                        <a:pt x="1323" y="392"/>
                      </a:lnTo>
                      <a:lnTo>
                        <a:pt x="1339" y="404"/>
                      </a:lnTo>
                      <a:lnTo>
                        <a:pt x="1339" y="421"/>
                      </a:lnTo>
                      <a:lnTo>
                        <a:pt x="1334" y="409"/>
                      </a:lnTo>
                      <a:lnTo>
                        <a:pt x="1311" y="433"/>
                      </a:lnTo>
                      <a:lnTo>
                        <a:pt x="1301" y="421"/>
                      </a:lnTo>
                      <a:lnTo>
                        <a:pt x="1301" y="409"/>
                      </a:lnTo>
                      <a:lnTo>
                        <a:pt x="1297" y="404"/>
                      </a:lnTo>
                      <a:lnTo>
                        <a:pt x="1297" y="404"/>
                      </a:lnTo>
                      <a:lnTo>
                        <a:pt x="1297" y="404"/>
                      </a:lnTo>
                      <a:close/>
                      <a:moveTo>
                        <a:pt x="134" y="128"/>
                      </a:moveTo>
                      <a:lnTo>
                        <a:pt x="130" y="128"/>
                      </a:lnTo>
                      <a:lnTo>
                        <a:pt x="146" y="128"/>
                      </a:lnTo>
                      <a:lnTo>
                        <a:pt x="134" y="128"/>
                      </a:lnTo>
                      <a:lnTo>
                        <a:pt x="134" y="128"/>
                      </a:lnTo>
                      <a:lnTo>
                        <a:pt x="134" y="128"/>
                      </a:lnTo>
                      <a:close/>
                      <a:moveTo>
                        <a:pt x="5" y="166"/>
                      </a:moveTo>
                      <a:lnTo>
                        <a:pt x="0" y="166"/>
                      </a:lnTo>
                      <a:lnTo>
                        <a:pt x="5" y="156"/>
                      </a:lnTo>
                      <a:lnTo>
                        <a:pt x="21" y="156"/>
                      </a:lnTo>
                      <a:lnTo>
                        <a:pt x="21" y="166"/>
                      </a:lnTo>
                      <a:lnTo>
                        <a:pt x="5" y="166"/>
                      </a:lnTo>
                      <a:lnTo>
                        <a:pt x="5" y="166"/>
                      </a:lnTo>
                      <a:lnTo>
                        <a:pt x="5" y="166"/>
                      </a:lnTo>
                      <a:close/>
                      <a:moveTo>
                        <a:pt x="26" y="199"/>
                      </a:moveTo>
                      <a:lnTo>
                        <a:pt x="21" y="189"/>
                      </a:lnTo>
                      <a:lnTo>
                        <a:pt x="26" y="189"/>
                      </a:lnTo>
                      <a:lnTo>
                        <a:pt x="26" y="199"/>
                      </a:lnTo>
                      <a:lnTo>
                        <a:pt x="26" y="199"/>
                      </a:lnTo>
                      <a:lnTo>
                        <a:pt x="26" y="199"/>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61" name="Freeform 577">
                  <a:extLst>
                    <a:ext uri="{FF2B5EF4-FFF2-40B4-BE49-F238E27FC236}">
                      <a16:creationId xmlns:a16="http://schemas.microsoft.com/office/drawing/2014/main" id="{90327A16-3A5F-4A2D-BD12-44C1DED09D27}"/>
                    </a:ext>
                  </a:extLst>
                </p:cNvPr>
                <p:cNvSpPr>
                  <a:spLocks/>
                </p:cNvSpPr>
                <p:nvPr/>
              </p:nvSpPr>
              <p:spPr bwMode="gray">
                <a:xfrm>
                  <a:off x="8241181" y="2712986"/>
                  <a:ext cx="409611" cy="264321"/>
                </a:xfrm>
                <a:custGeom>
                  <a:avLst/>
                  <a:gdLst>
                    <a:gd name="T0" fmla="*/ 926 w 995"/>
                    <a:gd name="T1" fmla="*/ 453 h 642"/>
                    <a:gd name="T2" fmla="*/ 860 w 995"/>
                    <a:gd name="T3" fmla="*/ 486 h 642"/>
                    <a:gd name="T4" fmla="*/ 806 w 995"/>
                    <a:gd name="T5" fmla="*/ 571 h 642"/>
                    <a:gd name="T6" fmla="*/ 747 w 995"/>
                    <a:gd name="T7" fmla="*/ 609 h 642"/>
                    <a:gd name="T8" fmla="*/ 699 w 995"/>
                    <a:gd name="T9" fmla="*/ 637 h 642"/>
                    <a:gd name="T10" fmla="*/ 640 w 995"/>
                    <a:gd name="T11" fmla="*/ 621 h 642"/>
                    <a:gd name="T12" fmla="*/ 607 w 995"/>
                    <a:gd name="T13" fmla="*/ 526 h 642"/>
                    <a:gd name="T14" fmla="*/ 494 w 995"/>
                    <a:gd name="T15" fmla="*/ 477 h 642"/>
                    <a:gd name="T16" fmla="*/ 409 w 995"/>
                    <a:gd name="T17" fmla="*/ 437 h 642"/>
                    <a:gd name="T18" fmla="*/ 333 w 995"/>
                    <a:gd name="T19" fmla="*/ 387 h 642"/>
                    <a:gd name="T20" fmla="*/ 279 w 995"/>
                    <a:gd name="T21" fmla="*/ 387 h 642"/>
                    <a:gd name="T22" fmla="*/ 262 w 995"/>
                    <a:gd name="T23" fmla="*/ 403 h 642"/>
                    <a:gd name="T24" fmla="*/ 161 w 995"/>
                    <a:gd name="T25" fmla="*/ 453 h 642"/>
                    <a:gd name="T26" fmla="*/ 102 w 995"/>
                    <a:gd name="T27" fmla="*/ 470 h 642"/>
                    <a:gd name="T28" fmla="*/ 106 w 995"/>
                    <a:gd name="T29" fmla="*/ 333 h 642"/>
                    <a:gd name="T30" fmla="*/ 47 w 995"/>
                    <a:gd name="T31" fmla="*/ 292 h 642"/>
                    <a:gd name="T32" fmla="*/ 52 w 995"/>
                    <a:gd name="T33" fmla="*/ 271 h 642"/>
                    <a:gd name="T34" fmla="*/ 90 w 995"/>
                    <a:gd name="T35" fmla="*/ 288 h 642"/>
                    <a:gd name="T36" fmla="*/ 31 w 995"/>
                    <a:gd name="T37" fmla="*/ 248 h 642"/>
                    <a:gd name="T38" fmla="*/ 17 w 995"/>
                    <a:gd name="T39" fmla="*/ 210 h 642"/>
                    <a:gd name="T40" fmla="*/ 47 w 995"/>
                    <a:gd name="T41" fmla="*/ 177 h 642"/>
                    <a:gd name="T42" fmla="*/ 90 w 995"/>
                    <a:gd name="T43" fmla="*/ 193 h 642"/>
                    <a:gd name="T44" fmla="*/ 135 w 995"/>
                    <a:gd name="T45" fmla="*/ 160 h 642"/>
                    <a:gd name="T46" fmla="*/ 161 w 995"/>
                    <a:gd name="T47" fmla="*/ 153 h 642"/>
                    <a:gd name="T48" fmla="*/ 90 w 995"/>
                    <a:gd name="T49" fmla="*/ 54 h 642"/>
                    <a:gd name="T50" fmla="*/ 26 w 995"/>
                    <a:gd name="T51" fmla="*/ 99 h 642"/>
                    <a:gd name="T52" fmla="*/ 31 w 995"/>
                    <a:gd name="T53" fmla="*/ 153 h 642"/>
                    <a:gd name="T54" fmla="*/ 10 w 995"/>
                    <a:gd name="T55" fmla="*/ 103 h 642"/>
                    <a:gd name="T56" fmla="*/ 69 w 995"/>
                    <a:gd name="T57" fmla="*/ 49 h 642"/>
                    <a:gd name="T58" fmla="*/ 177 w 995"/>
                    <a:gd name="T59" fmla="*/ 87 h 642"/>
                    <a:gd name="T60" fmla="*/ 321 w 995"/>
                    <a:gd name="T61" fmla="*/ 137 h 642"/>
                    <a:gd name="T62" fmla="*/ 317 w 995"/>
                    <a:gd name="T63" fmla="*/ 82 h 642"/>
                    <a:gd name="T64" fmla="*/ 392 w 995"/>
                    <a:gd name="T65" fmla="*/ 26 h 642"/>
                    <a:gd name="T66" fmla="*/ 425 w 995"/>
                    <a:gd name="T67" fmla="*/ 49 h 642"/>
                    <a:gd name="T68" fmla="*/ 425 w 995"/>
                    <a:gd name="T69" fmla="*/ 16 h 642"/>
                    <a:gd name="T70" fmla="*/ 468 w 995"/>
                    <a:gd name="T71" fmla="*/ 26 h 642"/>
                    <a:gd name="T72" fmla="*/ 532 w 995"/>
                    <a:gd name="T73" fmla="*/ 49 h 642"/>
                    <a:gd name="T74" fmla="*/ 532 w 995"/>
                    <a:gd name="T75" fmla="*/ 87 h 642"/>
                    <a:gd name="T76" fmla="*/ 539 w 995"/>
                    <a:gd name="T77" fmla="*/ 127 h 642"/>
                    <a:gd name="T78" fmla="*/ 619 w 995"/>
                    <a:gd name="T79" fmla="*/ 144 h 642"/>
                    <a:gd name="T80" fmla="*/ 678 w 995"/>
                    <a:gd name="T81" fmla="*/ 193 h 642"/>
                    <a:gd name="T82" fmla="*/ 780 w 995"/>
                    <a:gd name="T83" fmla="*/ 292 h 642"/>
                    <a:gd name="T84" fmla="*/ 834 w 995"/>
                    <a:gd name="T85" fmla="*/ 326 h 642"/>
                    <a:gd name="T86" fmla="*/ 995 w 995"/>
                    <a:gd name="T87" fmla="*/ 415 h 642"/>
                    <a:gd name="T88" fmla="*/ 985 w 995"/>
                    <a:gd name="T89" fmla="*/ 460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5" h="642">
                      <a:moveTo>
                        <a:pt x="985" y="460"/>
                      </a:moveTo>
                      <a:lnTo>
                        <a:pt x="969" y="470"/>
                      </a:lnTo>
                      <a:lnTo>
                        <a:pt x="926" y="453"/>
                      </a:lnTo>
                      <a:lnTo>
                        <a:pt x="914" y="477"/>
                      </a:lnTo>
                      <a:lnTo>
                        <a:pt x="888" y="477"/>
                      </a:lnTo>
                      <a:lnTo>
                        <a:pt x="860" y="486"/>
                      </a:lnTo>
                      <a:lnTo>
                        <a:pt x="860" y="498"/>
                      </a:lnTo>
                      <a:lnTo>
                        <a:pt x="839" y="552"/>
                      </a:lnTo>
                      <a:lnTo>
                        <a:pt x="806" y="571"/>
                      </a:lnTo>
                      <a:lnTo>
                        <a:pt x="747" y="588"/>
                      </a:lnTo>
                      <a:lnTo>
                        <a:pt x="747" y="604"/>
                      </a:lnTo>
                      <a:lnTo>
                        <a:pt x="747" y="609"/>
                      </a:lnTo>
                      <a:lnTo>
                        <a:pt x="747" y="621"/>
                      </a:lnTo>
                      <a:lnTo>
                        <a:pt x="716" y="637"/>
                      </a:lnTo>
                      <a:lnTo>
                        <a:pt x="699" y="637"/>
                      </a:lnTo>
                      <a:lnTo>
                        <a:pt x="683" y="642"/>
                      </a:lnTo>
                      <a:lnTo>
                        <a:pt x="671" y="621"/>
                      </a:lnTo>
                      <a:lnTo>
                        <a:pt x="640" y="621"/>
                      </a:lnTo>
                      <a:lnTo>
                        <a:pt x="624" y="604"/>
                      </a:lnTo>
                      <a:lnTo>
                        <a:pt x="619" y="609"/>
                      </a:lnTo>
                      <a:lnTo>
                        <a:pt x="607" y="526"/>
                      </a:lnTo>
                      <a:lnTo>
                        <a:pt x="548" y="526"/>
                      </a:lnTo>
                      <a:lnTo>
                        <a:pt x="532" y="493"/>
                      </a:lnTo>
                      <a:lnTo>
                        <a:pt x="494" y="477"/>
                      </a:lnTo>
                      <a:lnTo>
                        <a:pt x="477" y="453"/>
                      </a:lnTo>
                      <a:lnTo>
                        <a:pt x="456" y="437"/>
                      </a:lnTo>
                      <a:lnTo>
                        <a:pt x="409" y="437"/>
                      </a:lnTo>
                      <a:lnTo>
                        <a:pt x="404" y="432"/>
                      </a:lnTo>
                      <a:lnTo>
                        <a:pt x="350" y="415"/>
                      </a:lnTo>
                      <a:lnTo>
                        <a:pt x="333" y="387"/>
                      </a:lnTo>
                      <a:lnTo>
                        <a:pt x="321" y="399"/>
                      </a:lnTo>
                      <a:lnTo>
                        <a:pt x="300" y="387"/>
                      </a:lnTo>
                      <a:lnTo>
                        <a:pt x="279" y="387"/>
                      </a:lnTo>
                      <a:lnTo>
                        <a:pt x="269" y="399"/>
                      </a:lnTo>
                      <a:lnTo>
                        <a:pt x="269" y="403"/>
                      </a:lnTo>
                      <a:lnTo>
                        <a:pt x="262" y="403"/>
                      </a:lnTo>
                      <a:lnTo>
                        <a:pt x="210" y="403"/>
                      </a:lnTo>
                      <a:lnTo>
                        <a:pt x="173" y="432"/>
                      </a:lnTo>
                      <a:lnTo>
                        <a:pt x="161" y="453"/>
                      </a:lnTo>
                      <a:lnTo>
                        <a:pt x="156" y="460"/>
                      </a:lnTo>
                      <a:lnTo>
                        <a:pt x="123" y="470"/>
                      </a:lnTo>
                      <a:lnTo>
                        <a:pt x="102" y="470"/>
                      </a:lnTo>
                      <a:lnTo>
                        <a:pt x="90" y="420"/>
                      </a:lnTo>
                      <a:lnTo>
                        <a:pt x="90" y="366"/>
                      </a:lnTo>
                      <a:lnTo>
                        <a:pt x="106" y="333"/>
                      </a:lnTo>
                      <a:lnTo>
                        <a:pt x="85" y="321"/>
                      </a:lnTo>
                      <a:lnTo>
                        <a:pt x="80" y="304"/>
                      </a:lnTo>
                      <a:lnTo>
                        <a:pt x="47" y="292"/>
                      </a:lnTo>
                      <a:lnTo>
                        <a:pt x="47" y="309"/>
                      </a:lnTo>
                      <a:lnTo>
                        <a:pt x="47" y="288"/>
                      </a:lnTo>
                      <a:lnTo>
                        <a:pt x="52" y="271"/>
                      </a:lnTo>
                      <a:lnTo>
                        <a:pt x="52" y="288"/>
                      </a:lnTo>
                      <a:lnTo>
                        <a:pt x="80" y="288"/>
                      </a:lnTo>
                      <a:lnTo>
                        <a:pt x="90" y="288"/>
                      </a:lnTo>
                      <a:lnTo>
                        <a:pt x="69" y="271"/>
                      </a:lnTo>
                      <a:lnTo>
                        <a:pt x="80" y="248"/>
                      </a:lnTo>
                      <a:lnTo>
                        <a:pt x="31" y="248"/>
                      </a:lnTo>
                      <a:lnTo>
                        <a:pt x="38" y="264"/>
                      </a:lnTo>
                      <a:lnTo>
                        <a:pt x="17" y="238"/>
                      </a:lnTo>
                      <a:lnTo>
                        <a:pt x="17" y="210"/>
                      </a:lnTo>
                      <a:lnTo>
                        <a:pt x="31" y="181"/>
                      </a:lnTo>
                      <a:lnTo>
                        <a:pt x="31" y="153"/>
                      </a:lnTo>
                      <a:lnTo>
                        <a:pt x="47" y="177"/>
                      </a:lnTo>
                      <a:lnTo>
                        <a:pt x="69" y="181"/>
                      </a:lnTo>
                      <a:lnTo>
                        <a:pt x="80" y="165"/>
                      </a:lnTo>
                      <a:lnTo>
                        <a:pt x="90" y="193"/>
                      </a:lnTo>
                      <a:lnTo>
                        <a:pt x="139" y="181"/>
                      </a:lnTo>
                      <a:lnTo>
                        <a:pt x="123" y="165"/>
                      </a:lnTo>
                      <a:lnTo>
                        <a:pt x="135" y="160"/>
                      </a:lnTo>
                      <a:lnTo>
                        <a:pt x="139" y="177"/>
                      </a:lnTo>
                      <a:lnTo>
                        <a:pt x="156" y="165"/>
                      </a:lnTo>
                      <a:lnTo>
                        <a:pt x="161" y="153"/>
                      </a:lnTo>
                      <a:lnTo>
                        <a:pt x="118" y="120"/>
                      </a:lnTo>
                      <a:lnTo>
                        <a:pt x="102" y="66"/>
                      </a:lnTo>
                      <a:lnTo>
                        <a:pt x="90" y="54"/>
                      </a:lnTo>
                      <a:lnTo>
                        <a:pt x="47" y="66"/>
                      </a:lnTo>
                      <a:lnTo>
                        <a:pt x="31" y="70"/>
                      </a:lnTo>
                      <a:lnTo>
                        <a:pt x="26" y="99"/>
                      </a:lnTo>
                      <a:lnTo>
                        <a:pt x="31" y="99"/>
                      </a:lnTo>
                      <a:lnTo>
                        <a:pt x="26" y="120"/>
                      </a:lnTo>
                      <a:lnTo>
                        <a:pt x="31" y="153"/>
                      </a:lnTo>
                      <a:lnTo>
                        <a:pt x="26" y="127"/>
                      </a:lnTo>
                      <a:lnTo>
                        <a:pt x="10" y="111"/>
                      </a:lnTo>
                      <a:lnTo>
                        <a:pt x="10" y="103"/>
                      </a:lnTo>
                      <a:lnTo>
                        <a:pt x="0" y="99"/>
                      </a:lnTo>
                      <a:lnTo>
                        <a:pt x="38" y="54"/>
                      </a:lnTo>
                      <a:lnTo>
                        <a:pt x="69" y="49"/>
                      </a:lnTo>
                      <a:lnTo>
                        <a:pt x="123" y="37"/>
                      </a:lnTo>
                      <a:lnTo>
                        <a:pt x="177" y="82"/>
                      </a:lnTo>
                      <a:lnTo>
                        <a:pt x="177" y="87"/>
                      </a:lnTo>
                      <a:lnTo>
                        <a:pt x="210" y="137"/>
                      </a:lnTo>
                      <a:lnTo>
                        <a:pt x="246" y="127"/>
                      </a:lnTo>
                      <a:lnTo>
                        <a:pt x="321" y="137"/>
                      </a:lnTo>
                      <a:lnTo>
                        <a:pt x="321" y="127"/>
                      </a:lnTo>
                      <a:lnTo>
                        <a:pt x="317" y="99"/>
                      </a:lnTo>
                      <a:lnTo>
                        <a:pt x="317" y="82"/>
                      </a:lnTo>
                      <a:lnTo>
                        <a:pt x="350" y="54"/>
                      </a:lnTo>
                      <a:lnTo>
                        <a:pt x="376" y="54"/>
                      </a:lnTo>
                      <a:lnTo>
                        <a:pt x="392" y="26"/>
                      </a:lnTo>
                      <a:lnTo>
                        <a:pt x="409" y="33"/>
                      </a:lnTo>
                      <a:lnTo>
                        <a:pt x="413" y="49"/>
                      </a:lnTo>
                      <a:lnTo>
                        <a:pt x="425" y="49"/>
                      </a:lnTo>
                      <a:lnTo>
                        <a:pt x="404" y="16"/>
                      </a:lnTo>
                      <a:lnTo>
                        <a:pt x="409" y="9"/>
                      </a:lnTo>
                      <a:lnTo>
                        <a:pt x="425" y="16"/>
                      </a:lnTo>
                      <a:lnTo>
                        <a:pt x="430" y="0"/>
                      </a:lnTo>
                      <a:lnTo>
                        <a:pt x="456" y="26"/>
                      </a:lnTo>
                      <a:lnTo>
                        <a:pt x="468" y="26"/>
                      </a:lnTo>
                      <a:lnTo>
                        <a:pt x="477" y="37"/>
                      </a:lnTo>
                      <a:lnTo>
                        <a:pt x="515" y="37"/>
                      </a:lnTo>
                      <a:lnTo>
                        <a:pt x="532" y="49"/>
                      </a:lnTo>
                      <a:lnTo>
                        <a:pt x="532" y="66"/>
                      </a:lnTo>
                      <a:lnTo>
                        <a:pt x="548" y="87"/>
                      </a:lnTo>
                      <a:lnTo>
                        <a:pt x="532" y="87"/>
                      </a:lnTo>
                      <a:lnTo>
                        <a:pt x="539" y="103"/>
                      </a:lnTo>
                      <a:lnTo>
                        <a:pt x="532" y="120"/>
                      </a:lnTo>
                      <a:lnTo>
                        <a:pt x="539" y="127"/>
                      </a:lnTo>
                      <a:lnTo>
                        <a:pt x="565" y="137"/>
                      </a:lnTo>
                      <a:lnTo>
                        <a:pt x="591" y="137"/>
                      </a:lnTo>
                      <a:lnTo>
                        <a:pt x="619" y="144"/>
                      </a:lnTo>
                      <a:lnTo>
                        <a:pt x="628" y="127"/>
                      </a:lnTo>
                      <a:lnTo>
                        <a:pt x="662" y="144"/>
                      </a:lnTo>
                      <a:lnTo>
                        <a:pt x="678" y="193"/>
                      </a:lnTo>
                      <a:lnTo>
                        <a:pt x="695" y="210"/>
                      </a:lnTo>
                      <a:lnTo>
                        <a:pt x="699" y="238"/>
                      </a:lnTo>
                      <a:lnTo>
                        <a:pt x="780" y="292"/>
                      </a:lnTo>
                      <a:lnTo>
                        <a:pt x="784" y="309"/>
                      </a:lnTo>
                      <a:lnTo>
                        <a:pt x="817" y="333"/>
                      </a:lnTo>
                      <a:lnTo>
                        <a:pt x="834" y="326"/>
                      </a:lnTo>
                      <a:lnTo>
                        <a:pt x="914" y="387"/>
                      </a:lnTo>
                      <a:lnTo>
                        <a:pt x="940" y="387"/>
                      </a:lnTo>
                      <a:lnTo>
                        <a:pt x="995" y="415"/>
                      </a:lnTo>
                      <a:lnTo>
                        <a:pt x="985" y="432"/>
                      </a:lnTo>
                      <a:lnTo>
                        <a:pt x="985" y="460"/>
                      </a:lnTo>
                      <a:lnTo>
                        <a:pt x="985" y="460"/>
                      </a:lnTo>
                      <a:lnTo>
                        <a:pt x="985" y="460"/>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62" name="Freeform 580">
                  <a:extLst>
                    <a:ext uri="{FF2B5EF4-FFF2-40B4-BE49-F238E27FC236}">
                      <a16:creationId xmlns:a16="http://schemas.microsoft.com/office/drawing/2014/main" id="{7B570113-A981-41D1-89B2-8D234DE08350}"/>
                    </a:ext>
                  </a:extLst>
                </p:cNvPr>
                <p:cNvSpPr>
                  <a:spLocks noEditPoints="1"/>
                </p:cNvSpPr>
                <p:nvPr/>
              </p:nvSpPr>
              <p:spPr bwMode="gray">
                <a:xfrm>
                  <a:off x="6489938" y="1994953"/>
                  <a:ext cx="288581" cy="448359"/>
                </a:xfrm>
                <a:custGeom>
                  <a:avLst/>
                  <a:gdLst>
                    <a:gd name="T0" fmla="*/ 494 w 701"/>
                    <a:gd name="T1" fmla="*/ 38 h 1089"/>
                    <a:gd name="T2" fmla="*/ 494 w 701"/>
                    <a:gd name="T3" fmla="*/ 71 h 1089"/>
                    <a:gd name="T4" fmla="*/ 472 w 701"/>
                    <a:gd name="T5" fmla="*/ 71 h 1089"/>
                    <a:gd name="T6" fmla="*/ 489 w 701"/>
                    <a:gd name="T7" fmla="*/ 62 h 1089"/>
                    <a:gd name="T8" fmla="*/ 375 w 701"/>
                    <a:gd name="T9" fmla="*/ 206 h 1089"/>
                    <a:gd name="T10" fmla="*/ 347 w 701"/>
                    <a:gd name="T11" fmla="*/ 222 h 1089"/>
                    <a:gd name="T12" fmla="*/ 375 w 701"/>
                    <a:gd name="T13" fmla="*/ 215 h 1089"/>
                    <a:gd name="T14" fmla="*/ 201 w 701"/>
                    <a:gd name="T15" fmla="*/ 907 h 1089"/>
                    <a:gd name="T16" fmla="*/ 342 w 701"/>
                    <a:gd name="T17" fmla="*/ 770 h 1089"/>
                    <a:gd name="T18" fmla="*/ 375 w 701"/>
                    <a:gd name="T19" fmla="*/ 737 h 1089"/>
                    <a:gd name="T20" fmla="*/ 359 w 701"/>
                    <a:gd name="T21" fmla="*/ 610 h 1089"/>
                    <a:gd name="T22" fmla="*/ 234 w 701"/>
                    <a:gd name="T23" fmla="*/ 643 h 1089"/>
                    <a:gd name="T24" fmla="*/ 234 w 701"/>
                    <a:gd name="T25" fmla="*/ 503 h 1089"/>
                    <a:gd name="T26" fmla="*/ 217 w 701"/>
                    <a:gd name="T27" fmla="*/ 482 h 1089"/>
                    <a:gd name="T28" fmla="*/ 179 w 701"/>
                    <a:gd name="T29" fmla="*/ 499 h 1089"/>
                    <a:gd name="T30" fmla="*/ 196 w 701"/>
                    <a:gd name="T31" fmla="*/ 459 h 1089"/>
                    <a:gd name="T32" fmla="*/ 163 w 701"/>
                    <a:gd name="T33" fmla="*/ 425 h 1089"/>
                    <a:gd name="T34" fmla="*/ 170 w 701"/>
                    <a:gd name="T35" fmla="*/ 392 h 1089"/>
                    <a:gd name="T36" fmla="*/ 163 w 701"/>
                    <a:gd name="T37" fmla="*/ 350 h 1089"/>
                    <a:gd name="T38" fmla="*/ 184 w 701"/>
                    <a:gd name="T39" fmla="*/ 293 h 1089"/>
                    <a:gd name="T40" fmla="*/ 250 w 701"/>
                    <a:gd name="T41" fmla="*/ 239 h 1089"/>
                    <a:gd name="T42" fmla="*/ 288 w 701"/>
                    <a:gd name="T43" fmla="*/ 317 h 1089"/>
                    <a:gd name="T44" fmla="*/ 430 w 701"/>
                    <a:gd name="T45" fmla="*/ 333 h 1089"/>
                    <a:gd name="T46" fmla="*/ 375 w 701"/>
                    <a:gd name="T47" fmla="*/ 459 h 1089"/>
                    <a:gd name="T48" fmla="*/ 456 w 701"/>
                    <a:gd name="T49" fmla="*/ 548 h 1089"/>
                    <a:gd name="T50" fmla="*/ 581 w 701"/>
                    <a:gd name="T51" fmla="*/ 754 h 1089"/>
                    <a:gd name="T52" fmla="*/ 614 w 701"/>
                    <a:gd name="T53" fmla="*/ 808 h 1089"/>
                    <a:gd name="T54" fmla="*/ 668 w 701"/>
                    <a:gd name="T55" fmla="*/ 907 h 1089"/>
                    <a:gd name="T56" fmla="*/ 614 w 701"/>
                    <a:gd name="T57" fmla="*/ 957 h 1089"/>
                    <a:gd name="T58" fmla="*/ 522 w 701"/>
                    <a:gd name="T59" fmla="*/ 1018 h 1089"/>
                    <a:gd name="T60" fmla="*/ 364 w 701"/>
                    <a:gd name="T61" fmla="*/ 1018 h 1089"/>
                    <a:gd name="T62" fmla="*/ 212 w 701"/>
                    <a:gd name="T63" fmla="*/ 1089 h 1089"/>
                    <a:gd name="T64" fmla="*/ 255 w 701"/>
                    <a:gd name="T65" fmla="*/ 1018 h 1089"/>
                    <a:gd name="T66" fmla="*/ 342 w 701"/>
                    <a:gd name="T67" fmla="*/ 957 h 1089"/>
                    <a:gd name="T68" fmla="*/ 217 w 701"/>
                    <a:gd name="T69" fmla="*/ 936 h 1089"/>
                    <a:gd name="T70" fmla="*/ 104 w 701"/>
                    <a:gd name="T71" fmla="*/ 317 h 1089"/>
                    <a:gd name="T72" fmla="*/ 87 w 701"/>
                    <a:gd name="T73" fmla="*/ 277 h 1089"/>
                    <a:gd name="T74" fmla="*/ 142 w 701"/>
                    <a:gd name="T75" fmla="*/ 277 h 1089"/>
                    <a:gd name="T76" fmla="*/ 38 w 701"/>
                    <a:gd name="T77" fmla="*/ 338 h 1089"/>
                    <a:gd name="T78" fmla="*/ 146 w 701"/>
                    <a:gd name="T79" fmla="*/ 388 h 1089"/>
                    <a:gd name="T80" fmla="*/ 108 w 701"/>
                    <a:gd name="T81" fmla="*/ 338 h 1089"/>
                    <a:gd name="T82" fmla="*/ 163 w 701"/>
                    <a:gd name="T83" fmla="*/ 392 h 1089"/>
                    <a:gd name="T84" fmla="*/ 61 w 701"/>
                    <a:gd name="T85" fmla="*/ 392 h 1089"/>
                    <a:gd name="T86" fmla="*/ 49 w 701"/>
                    <a:gd name="T87" fmla="*/ 409 h 1089"/>
                    <a:gd name="T88" fmla="*/ 116 w 701"/>
                    <a:gd name="T89" fmla="*/ 404 h 1089"/>
                    <a:gd name="T90" fmla="*/ 142 w 701"/>
                    <a:gd name="T91" fmla="*/ 421 h 1089"/>
                    <a:gd name="T92" fmla="*/ 146 w 701"/>
                    <a:gd name="T93" fmla="*/ 466 h 1089"/>
                    <a:gd name="T94" fmla="*/ 78 w 701"/>
                    <a:gd name="T95" fmla="*/ 459 h 1089"/>
                    <a:gd name="T96" fmla="*/ 170 w 701"/>
                    <a:gd name="T97" fmla="*/ 492 h 1089"/>
                    <a:gd name="T98" fmla="*/ 142 w 701"/>
                    <a:gd name="T99" fmla="*/ 503 h 1089"/>
                    <a:gd name="T100" fmla="*/ 130 w 701"/>
                    <a:gd name="T101" fmla="*/ 548 h 1089"/>
                    <a:gd name="T102" fmla="*/ 217 w 701"/>
                    <a:gd name="T103" fmla="*/ 536 h 1089"/>
                    <a:gd name="T104" fmla="*/ 212 w 701"/>
                    <a:gd name="T105" fmla="*/ 560 h 1089"/>
                    <a:gd name="T106" fmla="*/ 38 w 701"/>
                    <a:gd name="T107" fmla="*/ 631 h 1089"/>
                    <a:gd name="T108" fmla="*/ 158 w 701"/>
                    <a:gd name="T109" fmla="*/ 647 h 1089"/>
                    <a:gd name="T110" fmla="*/ 158 w 701"/>
                    <a:gd name="T111" fmla="*/ 697 h 1089"/>
                    <a:gd name="T112" fmla="*/ 250 w 701"/>
                    <a:gd name="T113" fmla="*/ 770 h 1089"/>
                    <a:gd name="T114" fmla="*/ 635 w 701"/>
                    <a:gd name="T115" fmla="*/ 957 h 1089"/>
                    <a:gd name="T116" fmla="*/ 484 w 701"/>
                    <a:gd name="T117" fmla="*/ 1035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1" h="1089">
                      <a:moveTo>
                        <a:pt x="510" y="17"/>
                      </a:moveTo>
                      <a:lnTo>
                        <a:pt x="505" y="17"/>
                      </a:lnTo>
                      <a:lnTo>
                        <a:pt x="510" y="0"/>
                      </a:lnTo>
                      <a:lnTo>
                        <a:pt x="522" y="0"/>
                      </a:lnTo>
                      <a:lnTo>
                        <a:pt x="510" y="17"/>
                      </a:lnTo>
                      <a:lnTo>
                        <a:pt x="510" y="17"/>
                      </a:lnTo>
                      <a:lnTo>
                        <a:pt x="510" y="17"/>
                      </a:lnTo>
                      <a:close/>
                      <a:moveTo>
                        <a:pt x="494" y="38"/>
                      </a:moveTo>
                      <a:lnTo>
                        <a:pt x="489" y="22"/>
                      </a:lnTo>
                      <a:lnTo>
                        <a:pt x="505" y="5"/>
                      </a:lnTo>
                      <a:lnTo>
                        <a:pt x="505" y="33"/>
                      </a:lnTo>
                      <a:lnTo>
                        <a:pt x="494" y="38"/>
                      </a:lnTo>
                      <a:lnTo>
                        <a:pt x="494" y="38"/>
                      </a:lnTo>
                      <a:lnTo>
                        <a:pt x="494" y="38"/>
                      </a:lnTo>
                      <a:close/>
                      <a:moveTo>
                        <a:pt x="489" y="62"/>
                      </a:moveTo>
                      <a:lnTo>
                        <a:pt x="494" y="71"/>
                      </a:lnTo>
                      <a:lnTo>
                        <a:pt x="489" y="78"/>
                      </a:lnTo>
                      <a:lnTo>
                        <a:pt x="484" y="99"/>
                      </a:lnTo>
                      <a:lnTo>
                        <a:pt x="472" y="99"/>
                      </a:lnTo>
                      <a:lnTo>
                        <a:pt x="489" y="78"/>
                      </a:lnTo>
                      <a:lnTo>
                        <a:pt x="484" y="62"/>
                      </a:lnTo>
                      <a:lnTo>
                        <a:pt x="472" y="62"/>
                      </a:lnTo>
                      <a:lnTo>
                        <a:pt x="484" y="71"/>
                      </a:lnTo>
                      <a:lnTo>
                        <a:pt x="472" y="71"/>
                      </a:lnTo>
                      <a:lnTo>
                        <a:pt x="456" y="55"/>
                      </a:lnTo>
                      <a:lnTo>
                        <a:pt x="484" y="45"/>
                      </a:lnTo>
                      <a:lnTo>
                        <a:pt x="456" y="38"/>
                      </a:lnTo>
                      <a:lnTo>
                        <a:pt x="484" y="22"/>
                      </a:lnTo>
                      <a:lnTo>
                        <a:pt x="484" y="38"/>
                      </a:lnTo>
                      <a:lnTo>
                        <a:pt x="505" y="38"/>
                      </a:lnTo>
                      <a:lnTo>
                        <a:pt x="489" y="62"/>
                      </a:lnTo>
                      <a:lnTo>
                        <a:pt x="489" y="62"/>
                      </a:lnTo>
                      <a:lnTo>
                        <a:pt x="489" y="62"/>
                      </a:lnTo>
                      <a:close/>
                      <a:moveTo>
                        <a:pt x="385" y="173"/>
                      </a:moveTo>
                      <a:lnTo>
                        <a:pt x="385" y="166"/>
                      </a:lnTo>
                      <a:lnTo>
                        <a:pt x="401" y="166"/>
                      </a:lnTo>
                      <a:lnTo>
                        <a:pt x="385" y="173"/>
                      </a:lnTo>
                      <a:lnTo>
                        <a:pt x="385" y="173"/>
                      </a:lnTo>
                      <a:lnTo>
                        <a:pt x="385" y="173"/>
                      </a:lnTo>
                      <a:close/>
                      <a:moveTo>
                        <a:pt x="375" y="206"/>
                      </a:moveTo>
                      <a:lnTo>
                        <a:pt x="342" y="199"/>
                      </a:lnTo>
                      <a:lnTo>
                        <a:pt x="342" y="182"/>
                      </a:lnTo>
                      <a:lnTo>
                        <a:pt x="359" y="182"/>
                      </a:lnTo>
                      <a:lnTo>
                        <a:pt x="380" y="206"/>
                      </a:lnTo>
                      <a:lnTo>
                        <a:pt x="375" y="206"/>
                      </a:lnTo>
                      <a:lnTo>
                        <a:pt x="375" y="206"/>
                      </a:lnTo>
                      <a:lnTo>
                        <a:pt x="375" y="206"/>
                      </a:lnTo>
                      <a:close/>
                      <a:moveTo>
                        <a:pt x="347" y="222"/>
                      </a:moveTo>
                      <a:lnTo>
                        <a:pt x="331" y="206"/>
                      </a:lnTo>
                      <a:lnTo>
                        <a:pt x="347" y="215"/>
                      </a:lnTo>
                      <a:lnTo>
                        <a:pt x="347" y="222"/>
                      </a:lnTo>
                      <a:lnTo>
                        <a:pt x="347" y="222"/>
                      </a:lnTo>
                      <a:lnTo>
                        <a:pt x="347" y="222"/>
                      </a:lnTo>
                      <a:close/>
                      <a:moveTo>
                        <a:pt x="364" y="222"/>
                      </a:moveTo>
                      <a:lnTo>
                        <a:pt x="359" y="215"/>
                      </a:lnTo>
                      <a:lnTo>
                        <a:pt x="375" y="215"/>
                      </a:lnTo>
                      <a:lnTo>
                        <a:pt x="364" y="222"/>
                      </a:lnTo>
                      <a:lnTo>
                        <a:pt x="364" y="222"/>
                      </a:lnTo>
                      <a:lnTo>
                        <a:pt x="364" y="222"/>
                      </a:lnTo>
                      <a:close/>
                      <a:moveTo>
                        <a:pt x="217" y="936"/>
                      </a:moveTo>
                      <a:lnTo>
                        <a:pt x="234" y="924"/>
                      </a:lnTo>
                      <a:lnTo>
                        <a:pt x="201" y="924"/>
                      </a:lnTo>
                      <a:lnTo>
                        <a:pt x="217" y="924"/>
                      </a:lnTo>
                      <a:lnTo>
                        <a:pt x="201" y="907"/>
                      </a:lnTo>
                      <a:lnTo>
                        <a:pt x="276" y="879"/>
                      </a:lnTo>
                      <a:lnTo>
                        <a:pt x="288" y="853"/>
                      </a:lnTo>
                      <a:lnTo>
                        <a:pt x="276" y="813"/>
                      </a:lnTo>
                      <a:lnTo>
                        <a:pt x="255" y="825"/>
                      </a:lnTo>
                      <a:lnTo>
                        <a:pt x="238" y="825"/>
                      </a:lnTo>
                      <a:lnTo>
                        <a:pt x="238" y="825"/>
                      </a:lnTo>
                      <a:lnTo>
                        <a:pt x="276" y="780"/>
                      </a:lnTo>
                      <a:lnTo>
                        <a:pt x="342" y="770"/>
                      </a:lnTo>
                      <a:lnTo>
                        <a:pt x="359" y="780"/>
                      </a:lnTo>
                      <a:lnTo>
                        <a:pt x="347" y="770"/>
                      </a:lnTo>
                      <a:lnTo>
                        <a:pt x="359" y="770"/>
                      </a:lnTo>
                      <a:lnTo>
                        <a:pt x="375" y="775"/>
                      </a:lnTo>
                      <a:lnTo>
                        <a:pt x="380" y="770"/>
                      </a:lnTo>
                      <a:lnTo>
                        <a:pt x="364" y="770"/>
                      </a:lnTo>
                      <a:lnTo>
                        <a:pt x="359" y="754"/>
                      </a:lnTo>
                      <a:lnTo>
                        <a:pt x="375" y="737"/>
                      </a:lnTo>
                      <a:lnTo>
                        <a:pt x="359" y="725"/>
                      </a:lnTo>
                      <a:lnTo>
                        <a:pt x="359" y="714"/>
                      </a:lnTo>
                      <a:lnTo>
                        <a:pt x="364" y="714"/>
                      </a:lnTo>
                      <a:lnTo>
                        <a:pt x="375" y="681"/>
                      </a:lnTo>
                      <a:lnTo>
                        <a:pt x="347" y="697"/>
                      </a:lnTo>
                      <a:lnTo>
                        <a:pt x="321" y="659"/>
                      </a:lnTo>
                      <a:lnTo>
                        <a:pt x="331" y="614"/>
                      </a:lnTo>
                      <a:lnTo>
                        <a:pt x="359" y="610"/>
                      </a:lnTo>
                      <a:lnTo>
                        <a:pt x="326" y="610"/>
                      </a:lnTo>
                      <a:lnTo>
                        <a:pt x="321" y="614"/>
                      </a:lnTo>
                      <a:lnTo>
                        <a:pt x="293" y="631"/>
                      </a:lnTo>
                      <a:lnTo>
                        <a:pt x="267" y="614"/>
                      </a:lnTo>
                      <a:lnTo>
                        <a:pt x="267" y="643"/>
                      </a:lnTo>
                      <a:lnTo>
                        <a:pt x="234" y="614"/>
                      </a:lnTo>
                      <a:lnTo>
                        <a:pt x="222" y="626"/>
                      </a:lnTo>
                      <a:lnTo>
                        <a:pt x="234" y="643"/>
                      </a:lnTo>
                      <a:lnTo>
                        <a:pt x="222" y="643"/>
                      </a:lnTo>
                      <a:lnTo>
                        <a:pt x="212" y="614"/>
                      </a:lnTo>
                      <a:lnTo>
                        <a:pt x="212" y="610"/>
                      </a:lnTo>
                      <a:lnTo>
                        <a:pt x="250" y="553"/>
                      </a:lnTo>
                      <a:lnTo>
                        <a:pt x="222" y="536"/>
                      </a:lnTo>
                      <a:lnTo>
                        <a:pt x="234" y="515"/>
                      </a:lnTo>
                      <a:lnTo>
                        <a:pt x="255" y="515"/>
                      </a:lnTo>
                      <a:lnTo>
                        <a:pt x="234" y="503"/>
                      </a:lnTo>
                      <a:lnTo>
                        <a:pt x="234" y="492"/>
                      </a:lnTo>
                      <a:lnTo>
                        <a:pt x="222" y="520"/>
                      </a:lnTo>
                      <a:lnTo>
                        <a:pt x="212" y="515"/>
                      </a:lnTo>
                      <a:lnTo>
                        <a:pt x="212" y="520"/>
                      </a:lnTo>
                      <a:lnTo>
                        <a:pt x="201" y="520"/>
                      </a:lnTo>
                      <a:lnTo>
                        <a:pt x="201" y="503"/>
                      </a:lnTo>
                      <a:lnTo>
                        <a:pt x="222" y="482"/>
                      </a:lnTo>
                      <a:lnTo>
                        <a:pt x="217" y="482"/>
                      </a:lnTo>
                      <a:lnTo>
                        <a:pt x="196" y="503"/>
                      </a:lnTo>
                      <a:lnTo>
                        <a:pt x="196" y="532"/>
                      </a:lnTo>
                      <a:lnTo>
                        <a:pt x="184" y="548"/>
                      </a:lnTo>
                      <a:lnTo>
                        <a:pt x="184" y="570"/>
                      </a:lnTo>
                      <a:lnTo>
                        <a:pt x="163" y="577"/>
                      </a:lnTo>
                      <a:lnTo>
                        <a:pt x="179" y="532"/>
                      </a:lnTo>
                      <a:lnTo>
                        <a:pt x="170" y="515"/>
                      </a:lnTo>
                      <a:lnTo>
                        <a:pt x="179" y="499"/>
                      </a:lnTo>
                      <a:lnTo>
                        <a:pt x="170" y="503"/>
                      </a:lnTo>
                      <a:lnTo>
                        <a:pt x="184" y="492"/>
                      </a:lnTo>
                      <a:lnTo>
                        <a:pt x="179" y="492"/>
                      </a:lnTo>
                      <a:lnTo>
                        <a:pt x="179" y="475"/>
                      </a:lnTo>
                      <a:lnTo>
                        <a:pt x="217" y="449"/>
                      </a:lnTo>
                      <a:lnTo>
                        <a:pt x="217" y="449"/>
                      </a:lnTo>
                      <a:lnTo>
                        <a:pt x="212" y="459"/>
                      </a:lnTo>
                      <a:lnTo>
                        <a:pt x="196" y="459"/>
                      </a:lnTo>
                      <a:lnTo>
                        <a:pt x="201" y="449"/>
                      </a:lnTo>
                      <a:lnTo>
                        <a:pt x="196" y="442"/>
                      </a:lnTo>
                      <a:lnTo>
                        <a:pt x="212" y="421"/>
                      </a:lnTo>
                      <a:lnTo>
                        <a:pt x="170" y="459"/>
                      </a:lnTo>
                      <a:lnTo>
                        <a:pt x="146" y="442"/>
                      </a:lnTo>
                      <a:lnTo>
                        <a:pt x="184" y="437"/>
                      </a:lnTo>
                      <a:lnTo>
                        <a:pt x="130" y="437"/>
                      </a:lnTo>
                      <a:lnTo>
                        <a:pt x="163" y="425"/>
                      </a:lnTo>
                      <a:lnTo>
                        <a:pt x="163" y="425"/>
                      </a:lnTo>
                      <a:lnTo>
                        <a:pt x="163" y="421"/>
                      </a:lnTo>
                      <a:lnTo>
                        <a:pt x="179" y="421"/>
                      </a:lnTo>
                      <a:lnTo>
                        <a:pt x="158" y="409"/>
                      </a:lnTo>
                      <a:lnTo>
                        <a:pt x="163" y="404"/>
                      </a:lnTo>
                      <a:lnTo>
                        <a:pt x="184" y="404"/>
                      </a:lnTo>
                      <a:lnTo>
                        <a:pt x="163" y="392"/>
                      </a:lnTo>
                      <a:lnTo>
                        <a:pt x="170" y="392"/>
                      </a:lnTo>
                      <a:lnTo>
                        <a:pt x="196" y="392"/>
                      </a:lnTo>
                      <a:lnTo>
                        <a:pt x="179" y="388"/>
                      </a:lnTo>
                      <a:lnTo>
                        <a:pt x="179" y="383"/>
                      </a:lnTo>
                      <a:lnTo>
                        <a:pt x="196" y="383"/>
                      </a:lnTo>
                      <a:lnTo>
                        <a:pt x="179" y="371"/>
                      </a:lnTo>
                      <a:lnTo>
                        <a:pt x="184" y="366"/>
                      </a:lnTo>
                      <a:lnTo>
                        <a:pt x="163" y="366"/>
                      </a:lnTo>
                      <a:lnTo>
                        <a:pt x="163" y="350"/>
                      </a:lnTo>
                      <a:lnTo>
                        <a:pt x="184" y="350"/>
                      </a:lnTo>
                      <a:lnTo>
                        <a:pt x="163" y="338"/>
                      </a:lnTo>
                      <a:lnTo>
                        <a:pt x="163" y="317"/>
                      </a:lnTo>
                      <a:lnTo>
                        <a:pt x="170" y="317"/>
                      </a:lnTo>
                      <a:lnTo>
                        <a:pt x="179" y="326"/>
                      </a:lnTo>
                      <a:lnTo>
                        <a:pt x="179" y="310"/>
                      </a:lnTo>
                      <a:lnTo>
                        <a:pt x="217" y="317"/>
                      </a:lnTo>
                      <a:lnTo>
                        <a:pt x="184" y="293"/>
                      </a:lnTo>
                      <a:lnTo>
                        <a:pt x="201" y="293"/>
                      </a:lnTo>
                      <a:lnTo>
                        <a:pt x="196" y="277"/>
                      </a:lnTo>
                      <a:lnTo>
                        <a:pt x="217" y="277"/>
                      </a:lnTo>
                      <a:lnTo>
                        <a:pt x="212" y="260"/>
                      </a:lnTo>
                      <a:lnTo>
                        <a:pt x="222" y="239"/>
                      </a:lnTo>
                      <a:lnTo>
                        <a:pt x="238" y="244"/>
                      </a:lnTo>
                      <a:lnTo>
                        <a:pt x="238" y="255"/>
                      </a:lnTo>
                      <a:lnTo>
                        <a:pt x="250" y="239"/>
                      </a:lnTo>
                      <a:lnTo>
                        <a:pt x="271" y="244"/>
                      </a:lnTo>
                      <a:lnTo>
                        <a:pt x="359" y="227"/>
                      </a:lnTo>
                      <a:lnTo>
                        <a:pt x="359" y="255"/>
                      </a:lnTo>
                      <a:lnTo>
                        <a:pt x="347" y="272"/>
                      </a:lnTo>
                      <a:lnTo>
                        <a:pt x="293" y="310"/>
                      </a:lnTo>
                      <a:lnTo>
                        <a:pt x="288" y="317"/>
                      </a:lnTo>
                      <a:lnTo>
                        <a:pt x="267" y="310"/>
                      </a:lnTo>
                      <a:lnTo>
                        <a:pt x="288" y="317"/>
                      </a:lnTo>
                      <a:lnTo>
                        <a:pt x="309" y="317"/>
                      </a:lnTo>
                      <a:lnTo>
                        <a:pt x="293" y="333"/>
                      </a:lnTo>
                      <a:lnTo>
                        <a:pt x="271" y="333"/>
                      </a:lnTo>
                      <a:lnTo>
                        <a:pt x="267" y="350"/>
                      </a:lnTo>
                      <a:lnTo>
                        <a:pt x="288" y="338"/>
                      </a:lnTo>
                      <a:lnTo>
                        <a:pt x="276" y="355"/>
                      </a:lnTo>
                      <a:lnTo>
                        <a:pt x="326" y="333"/>
                      </a:lnTo>
                      <a:lnTo>
                        <a:pt x="430" y="333"/>
                      </a:lnTo>
                      <a:lnTo>
                        <a:pt x="439" y="333"/>
                      </a:lnTo>
                      <a:lnTo>
                        <a:pt x="451" y="355"/>
                      </a:lnTo>
                      <a:lnTo>
                        <a:pt x="434" y="371"/>
                      </a:lnTo>
                      <a:lnTo>
                        <a:pt x="418" y="421"/>
                      </a:lnTo>
                      <a:lnTo>
                        <a:pt x="397" y="437"/>
                      </a:lnTo>
                      <a:lnTo>
                        <a:pt x="397" y="449"/>
                      </a:lnTo>
                      <a:lnTo>
                        <a:pt x="342" y="466"/>
                      </a:lnTo>
                      <a:lnTo>
                        <a:pt x="375" y="459"/>
                      </a:lnTo>
                      <a:lnTo>
                        <a:pt x="397" y="482"/>
                      </a:lnTo>
                      <a:lnTo>
                        <a:pt x="331" y="503"/>
                      </a:lnTo>
                      <a:lnTo>
                        <a:pt x="309" y="503"/>
                      </a:lnTo>
                      <a:lnTo>
                        <a:pt x="359" y="515"/>
                      </a:lnTo>
                      <a:lnTo>
                        <a:pt x="385" y="499"/>
                      </a:lnTo>
                      <a:lnTo>
                        <a:pt x="430" y="520"/>
                      </a:lnTo>
                      <a:lnTo>
                        <a:pt x="439" y="548"/>
                      </a:lnTo>
                      <a:lnTo>
                        <a:pt x="456" y="548"/>
                      </a:lnTo>
                      <a:lnTo>
                        <a:pt x="484" y="631"/>
                      </a:lnTo>
                      <a:lnTo>
                        <a:pt x="489" y="643"/>
                      </a:lnTo>
                      <a:lnTo>
                        <a:pt x="538" y="659"/>
                      </a:lnTo>
                      <a:lnTo>
                        <a:pt x="548" y="681"/>
                      </a:lnTo>
                      <a:lnTo>
                        <a:pt x="564" y="697"/>
                      </a:lnTo>
                      <a:lnTo>
                        <a:pt x="560" y="702"/>
                      </a:lnTo>
                      <a:lnTo>
                        <a:pt x="581" y="742"/>
                      </a:lnTo>
                      <a:lnTo>
                        <a:pt x="581" y="754"/>
                      </a:lnTo>
                      <a:lnTo>
                        <a:pt x="560" y="737"/>
                      </a:lnTo>
                      <a:lnTo>
                        <a:pt x="522" y="737"/>
                      </a:lnTo>
                      <a:lnTo>
                        <a:pt x="548" y="737"/>
                      </a:lnTo>
                      <a:lnTo>
                        <a:pt x="593" y="770"/>
                      </a:lnTo>
                      <a:lnTo>
                        <a:pt x="597" y="792"/>
                      </a:lnTo>
                      <a:lnTo>
                        <a:pt x="576" y="813"/>
                      </a:lnTo>
                      <a:lnTo>
                        <a:pt x="597" y="825"/>
                      </a:lnTo>
                      <a:lnTo>
                        <a:pt x="614" y="808"/>
                      </a:lnTo>
                      <a:lnTo>
                        <a:pt x="635" y="808"/>
                      </a:lnTo>
                      <a:lnTo>
                        <a:pt x="668" y="813"/>
                      </a:lnTo>
                      <a:lnTo>
                        <a:pt x="690" y="829"/>
                      </a:lnTo>
                      <a:lnTo>
                        <a:pt x="701" y="853"/>
                      </a:lnTo>
                      <a:lnTo>
                        <a:pt x="685" y="891"/>
                      </a:lnTo>
                      <a:lnTo>
                        <a:pt x="668" y="907"/>
                      </a:lnTo>
                      <a:lnTo>
                        <a:pt x="657" y="903"/>
                      </a:lnTo>
                      <a:lnTo>
                        <a:pt x="668" y="907"/>
                      </a:lnTo>
                      <a:lnTo>
                        <a:pt x="657" y="919"/>
                      </a:lnTo>
                      <a:lnTo>
                        <a:pt x="647" y="919"/>
                      </a:lnTo>
                      <a:lnTo>
                        <a:pt x="619" y="924"/>
                      </a:lnTo>
                      <a:lnTo>
                        <a:pt x="635" y="924"/>
                      </a:lnTo>
                      <a:lnTo>
                        <a:pt x="647" y="940"/>
                      </a:lnTo>
                      <a:lnTo>
                        <a:pt x="597" y="957"/>
                      </a:lnTo>
                      <a:lnTo>
                        <a:pt x="619" y="947"/>
                      </a:lnTo>
                      <a:lnTo>
                        <a:pt x="614" y="957"/>
                      </a:lnTo>
                      <a:lnTo>
                        <a:pt x="635" y="964"/>
                      </a:lnTo>
                      <a:lnTo>
                        <a:pt x="673" y="957"/>
                      </a:lnTo>
                      <a:lnTo>
                        <a:pt x="673" y="981"/>
                      </a:lnTo>
                      <a:lnTo>
                        <a:pt x="647" y="990"/>
                      </a:lnTo>
                      <a:lnTo>
                        <a:pt x="647" y="1002"/>
                      </a:lnTo>
                      <a:lnTo>
                        <a:pt x="593" y="1018"/>
                      </a:lnTo>
                      <a:lnTo>
                        <a:pt x="560" y="1014"/>
                      </a:lnTo>
                      <a:lnTo>
                        <a:pt x="522" y="1018"/>
                      </a:lnTo>
                      <a:lnTo>
                        <a:pt x="510" y="1014"/>
                      </a:lnTo>
                      <a:lnTo>
                        <a:pt x="494" y="1014"/>
                      </a:lnTo>
                      <a:lnTo>
                        <a:pt x="494" y="1018"/>
                      </a:lnTo>
                      <a:lnTo>
                        <a:pt x="430" y="1018"/>
                      </a:lnTo>
                      <a:lnTo>
                        <a:pt x="434" y="1035"/>
                      </a:lnTo>
                      <a:lnTo>
                        <a:pt x="401" y="1030"/>
                      </a:lnTo>
                      <a:lnTo>
                        <a:pt x="401" y="1035"/>
                      </a:lnTo>
                      <a:lnTo>
                        <a:pt x="364" y="1018"/>
                      </a:lnTo>
                      <a:lnTo>
                        <a:pt x="331" y="1035"/>
                      </a:lnTo>
                      <a:lnTo>
                        <a:pt x="309" y="1068"/>
                      </a:lnTo>
                      <a:lnTo>
                        <a:pt x="276" y="1051"/>
                      </a:lnTo>
                      <a:lnTo>
                        <a:pt x="267" y="1056"/>
                      </a:lnTo>
                      <a:lnTo>
                        <a:pt x="238" y="1056"/>
                      </a:lnTo>
                      <a:lnTo>
                        <a:pt x="217" y="1073"/>
                      </a:lnTo>
                      <a:lnTo>
                        <a:pt x="217" y="1084"/>
                      </a:lnTo>
                      <a:lnTo>
                        <a:pt x="212" y="1089"/>
                      </a:lnTo>
                      <a:lnTo>
                        <a:pt x="184" y="1073"/>
                      </a:lnTo>
                      <a:lnTo>
                        <a:pt x="170" y="1084"/>
                      </a:lnTo>
                      <a:lnTo>
                        <a:pt x="170" y="1073"/>
                      </a:lnTo>
                      <a:lnTo>
                        <a:pt x="196" y="1073"/>
                      </a:lnTo>
                      <a:lnTo>
                        <a:pt x="217" y="1051"/>
                      </a:lnTo>
                      <a:lnTo>
                        <a:pt x="217" y="1035"/>
                      </a:lnTo>
                      <a:lnTo>
                        <a:pt x="238" y="1035"/>
                      </a:lnTo>
                      <a:lnTo>
                        <a:pt x="255" y="1018"/>
                      </a:lnTo>
                      <a:lnTo>
                        <a:pt x="255" y="997"/>
                      </a:lnTo>
                      <a:lnTo>
                        <a:pt x="271" y="997"/>
                      </a:lnTo>
                      <a:lnTo>
                        <a:pt x="276" y="990"/>
                      </a:lnTo>
                      <a:lnTo>
                        <a:pt x="276" y="981"/>
                      </a:lnTo>
                      <a:lnTo>
                        <a:pt x="359" y="973"/>
                      </a:lnTo>
                      <a:lnTo>
                        <a:pt x="364" y="957"/>
                      </a:lnTo>
                      <a:lnTo>
                        <a:pt x="401" y="924"/>
                      </a:lnTo>
                      <a:lnTo>
                        <a:pt x="342" y="957"/>
                      </a:lnTo>
                      <a:lnTo>
                        <a:pt x="326" y="957"/>
                      </a:lnTo>
                      <a:lnTo>
                        <a:pt x="305" y="936"/>
                      </a:lnTo>
                      <a:lnTo>
                        <a:pt x="276" y="947"/>
                      </a:lnTo>
                      <a:lnTo>
                        <a:pt x="271" y="940"/>
                      </a:lnTo>
                      <a:lnTo>
                        <a:pt x="288" y="936"/>
                      </a:lnTo>
                      <a:lnTo>
                        <a:pt x="267" y="924"/>
                      </a:lnTo>
                      <a:lnTo>
                        <a:pt x="217" y="936"/>
                      </a:lnTo>
                      <a:lnTo>
                        <a:pt x="217" y="936"/>
                      </a:lnTo>
                      <a:lnTo>
                        <a:pt x="217" y="936"/>
                      </a:lnTo>
                      <a:close/>
                      <a:moveTo>
                        <a:pt x="116" y="310"/>
                      </a:moveTo>
                      <a:lnTo>
                        <a:pt x="104" y="310"/>
                      </a:lnTo>
                      <a:lnTo>
                        <a:pt x="104" y="298"/>
                      </a:lnTo>
                      <a:lnTo>
                        <a:pt x="108" y="293"/>
                      </a:lnTo>
                      <a:lnTo>
                        <a:pt x="104" y="293"/>
                      </a:lnTo>
                      <a:lnTo>
                        <a:pt x="104" y="298"/>
                      </a:lnTo>
                      <a:lnTo>
                        <a:pt x="104" y="317"/>
                      </a:lnTo>
                      <a:lnTo>
                        <a:pt x="87" y="333"/>
                      </a:lnTo>
                      <a:lnTo>
                        <a:pt x="71" y="317"/>
                      </a:lnTo>
                      <a:lnTo>
                        <a:pt x="92" y="310"/>
                      </a:lnTo>
                      <a:lnTo>
                        <a:pt x="71" y="298"/>
                      </a:lnTo>
                      <a:lnTo>
                        <a:pt x="78" y="298"/>
                      </a:lnTo>
                      <a:lnTo>
                        <a:pt x="71" y="281"/>
                      </a:lnTo>
                      <a:lnTo>
                        <a:pt x="78" y="277"/>
                      </a:lnTo>
                      <a:lnTo>
                        <a:pt x="87" y="277"/>
                      </a:lnTo>
                      <a:lnTo>
                        <a:pt x="92" y="293"/>
                      </a:lnTo>
                      <a:lnTo>
                        <a:pt x="92" y="281"/>
                      </a:lnTo>
                      <a:lnTo>
                        <a:pt x="104" y="277"/>
                      </a:lnTo>
                      <a:lnTo>
                        <a:pt x="92" y="272"/>
                      </a:lnTo>
                      <a:lnTo>
                        <a:pt x="130" y="244"/>
                      </a:lnTo>
                      <a:lnTo>
                        <a:pt x="142" y="255"/>
                      </a:lnTo>
                      <a:lnTo>
                        <a:pt x="125" y="277"/>
                      </a:lnTo>
                      <a:lnTo>
                        <a:pt x="142" y="277"/>
                      </a:lnTo>
                      <a:lnTo>
                        <a:pt x="108" y="293"/>
                      </a:lnTo>
                      <a:lnTo>
                        <a:pt x="125" y="293"/>
                      </a:lnTo>
                      <a:lnTo>
                        <a:pt x="125" y="298"/>
                      </a:lnTo>
                      <a:lnTo>
                        <a:pt x="116" y="310"/>
                      </a:lnTo>
                      <a:lnTo>
                        <a:pt x="116" y="310"/>
                      </a:lnTo>
                      <a:lnTo>
                        <a:pt x="116" y="310"/>
                      </a:lnTo>
                      <a:close/>
                      <a:moveTo>
                        <a:pt x="61" y="350"/>
                      </a:moveTo>
                      <a:lnTo>
                        <a:pt x="38" y="338"/>
                      </a:lnTo>
                      <a:lnTo>
                        <a:pt x="71" y="333"/>
                      </a:lnTo>
                      <a:lnTo>
                        <a:pt x="78" y="338"/>
                      </a:lnTo>
                      <a:lnTo>
                        <a:pt x="61" y="350"/>
                      </a:lnTo>
                      <a:lnTo>
                        <a:pt x="61" y="350"/>
                      </a:lnTo>
                      <a:lnTo>
                        <a:pt x="61" y="350"/>
                      </a:lnTo>
                      <a:close/>
                      <a:moveTo>
                        <a:pt x="163" y="392"/>
                      </a:moveTo>
                      <a:lnTo>
                        <a:pt x="146" y="404"/>
                      </a:lnTo>
                      <a:lnTo>
                        <a:pt x="146" y="388"/>
                      </a:lnTo>
                      <a:lnTo>
                        <a:pt x="130" y="388"/>
                      </a:lnTo>
                      <a:lnTo>
                        <a:pt x="116" y="371"/>
                      </a:lnTo>
                      <a:lnTo>
                        <a:pt x="130" y="371"/>
                      </a:lnTo>
                      <a:lnTo>
                        <a:pt x="116" y="366"/>
                      </a:lnTo>
                      <a:lnTo>
                        <a:pt x="108" y="371"/>
                      </a:lnTo>
                      <a:lnTo>
                        <a:pt x="104" y="366"/>
                      </a:lnTo>
                      <a:lnTo>
                        <a:pt x="92" y="355"/>
                      </a:lnTo>
                      <a:lnTo>
                        <a:pt x="108" y="338"/>
                      </a:lnTo>
                      <a:lnTo>
                        <a:pt x="125" y="350"/>
                      </a:lnTo>
                      <a:lnTo>
                        <a:pt x="125" y="338"/>
                      </a:lnTo>
                      <a:lnTo>
                        <a:pt x="130" y="333"/>
                      </a:lnTo>
                      <a:lnTo>
                        <a:pt x="142" y="350"/>
                      </a:lnTo>
                      <a:lnTo>
                        <a:pt x="142" y="371"/>
                      </a:lnTo>
                      <a:lnTo>
                        <a:pt x="179" y="383"/>
                      </a:lnTo>
                      <a:lnTo>
                        <a:pt x="163" y="392"/>
                      </a:lnTo>
                      <a:lnTo>
                        <a:pt x="163" y="392"/>
                      </a:lnTo>
                      <a:lnTo>
                        <a:pt x="163" y="392"/>
                      </a:lnTo>
                      <a:close/>
                      <a:moveTo>
                        <a:pt x="61" y="366"/>
                      </a:moveTo>
                      <a:lnTo>
                        <a:pt x="54" y="355"/>
                      </a:lnTo>
                      <a:lnTo>
                        <a:pt x="61" y="355"/>
                      </a:lnTo>
                      <a:lnTo>
                        <a:pt x="61" y="366"/>
                      </a:lnTo>
                      <a:lnTo>
                        <a:pt x="61" y="366"/>
                      </a:lnTo>
                      <a:lnTo>
                        <a:pt x="61" y="366"/>
                      </a:lnTo>
                      <a:close/>
                      <a:moveTo>
                        <a:pt x="61" y="392"/>
                      </a:moveTo>
                      <a:lnTo>
                        <a:pt x="54" y="392"/>
                      </a:lnTo>
                      <a:lnTo>
                        <a:pt x="54" y="366"/>
                      </a:lnTo>
                      <a:lnTo>
                        <a:pt x="61" y="371"/>
                      </a:lnTo>
                      <a:lnTo>
                        <a:pt x="61" y="371"/>
                      </a:lnTo>
                      <a:lnTo>
                        <a:pt x="61" y="392"/>
                      </a:lnTo>
                      <a:lnTo>
                        <a:pt x="61" y="392"/>
                      </a:lnTo>
                      <a:lnTo>
                        <a:pt x="61" y="392"/>
                      </a:lnTo>
                      <a:close/>
                      <a:moveTo>
                        <a:pt x="49" y="409"/>
                      </a:moveTo>
                      <a:lnTo>
                        <a:pt x="38" y="409"/>
                      </a:lnTo>
                      <a:lnTo>
                        <a:pt x="49" y="392"/>
                      </a:lnTo>
                      <a:lnTo>
                        <a:pt x="54" y="404"/>
                      </a:lnTo>
                      <a:lnTo>
                        <a:pt x="49" y="409"/>
                      </a:lnTo>
                      <a:lnTo>
                        <a:pt x="49" y="409"/>
                      </a:lnTo>
                      <a:lnTo>
                        <a:pt x="49" y="409"/>
                      </a:lnTo>
                      <a:close/>
                      <a:moveTo>
                        <a:pt x="130" y="409"/>
                      </a:moveTo>
                      <a:lnTo>
                        <a:pt x="116" y="404"/>
                      </a:lnTo>
                      <a:lnTo>
                        <a:pt x="130" y="404"/>
                      </a:lnTo>
                      <a:lnTo>
                        <a:pt x="130" y="409"/>
                      </a:lnTo>
                      <a:lnTo>
                        <a:pt x="130" y="409"/>
                      </a:lnTo>
                      <a:lnTo>
                        <a:pt x="130" y="409"/>
                      </a:lnTo>
                      <a:close/>
                      <a:moveTo>
                        <a:pt x="142" y="421"/>
                      </a:moveTo>
                      <a:lnTo>
                        <a:pt x="142" y="409"/>
                      </a:lnTo>
                      <a:lnTo>
                        <a:pt x="142" y="409"/>
                      </a:lnTo>
                      <a:lnTo>
                        <a:pt x="142" y="421"/>
                      </a:lnTo>
                      <a:lnTo>
                        <a:pt x="142" y="421"/>
                      </a:lnTo>
                      <a:lnTo>
                        <a:pt x="142" y="421"/>
                      </a:lnTo>
                      <a:close/>
                      <a:moveTo>
                        <a:pt x="142" y="442"/>
                      </a:moveTo>
                      <a:lnTo>
                        <a:pt x="179" y="466"/>
                      </a:lnTo>
                      <a:lnTo>
                        <a:pt x="163" y="475"/>
                      </a:lnTo>
                      <a:lnTo>
                        <a:pt x="130" y="482"/>
                      </a:lnTo>
                      <a:lnTo>
                        <a:pt x="125" y="475"/>
                      </a:lnTo>
                      <a:lnTo>
                        <a:pt x="146" y="466"/>
                      </a:lnTo>
                      <a:lnTo>
                        <a:pt x="142" y="466"/>
                      </a:lnTo>
                      <a:lnTo>
                        <a:pt x="146" y="459"/>
                      </a:lnTo>
                      <a:lnTo>
                        <a:pt x="125" y="449"/>
                      </a:lnTo>
                      <a:lnTo>
                        <a:pt x="142" y="442"/>
                      </a:lnTo>
                      <a:lnTo>
                        <a:pt x="142" y="442"/>
                      </a:lnTo>
                      <a:lnTo>
                        <a:pt x="142" y="442"/>
                      </a:lnTo>
                      <a:close/>
                      <a:moveTo>
                        <a:pt x="87" y="459"/>
                      </a:moveTo>
                      <a:lnTo>
                        <a:pt x="78" y="459"/>
                      </a:lnTo>
                      <a:lnTo>
                        <a:pt x="104" y="449"/>
                      </a:lnTo>
                      <a:lnTo>
                        <a:pt x="87" y="459"/>
                      </a:lnTo>
                      <a:lnTo>
                        <a:pt x="87" y="459"/>
                      </a:lnTo>
                      <a:lnTo>
                        <a:pt x="87" y="459"/>
                      </a:lnTo>
                      <a:close/>
                      <a:moveTo>
                        <a:pt x="158" y="532"/>
                      </a:moveTo>
                      <a:lnTo>
                        <a:pt x="146" y="520"/>
                      </a:lnTo>
                      <a:lnTo>
                        <a:pt x="146" y="515"/>
                      </a:lnTo>
                      <a:lnTo>
                        <a:pt x="170" y="492"/>
                      </a:lnTo>
                      <a:lnTo>
                        <a:pt x="158" y="532"/>
                      </a:lnTo>
                      <a:lnTo>
                        <a:pt x="158" y="532"/>
                      </a:lnTo>
                      <a:lnTo>
                        <a:pt x="158" y="532"/>
                      </a:lnTo>
                      <a:close/>
                      <a:moveTo>
                        <a:pt x="142" y="503"/>
                      </a:moveTo>
                      <a:lnTo>
                        <a:pt x="130" y="499"/>
                      </a:lnTo>
                      <a:lnTo>
                        <a:pt x="142" y="492"/>
                      </a:lnTo>
                      <a:lnTo>
                        <a:pt x="142" y="503"/>
                      </a:lnTo>
                      <a:lnTo>
                        <a:pt x="142" y="503"/>
                      </a:lnTo>
                      <a:lnTo>
                        <a:pt x="142" y="503"/>
                      </a:lnTo>
                      <a:close/>
                      <a:moveTo>
                        <a:pt x="130" y="548"/>
                      </a:moveTo>
                      <a:lnTo>
                        <a:pt x="130" y="532"/>
                      </a:lnTo>
                      <a:lnTo>
                        <a:pt x="116" y="536"/>
                      </a:lnTo>
                      <a:lnTo>
                        <a:pt x="116" y="520"/>
                      </a:lnTo>
                      <a:lnTo>
                        <a:pt x="142" y="515"/>
                      </a:lnTo>
                      <a:lnTo>
                        <a:pt x="146" y="536"/>
                      </a:lnTo>
                      <a:lnTo>
                        <a:pt x="130" y="548"/>
                      </a:lnTo>
                      <a:lnTo>
                        <a:pt x="130" y="548"/>
                      </a:lnTo>
                      <a:lnTo>
                        <a:pt x="130" y="548"/>
                      </a:lnTo>
                      <a:close/>
                      <a:moveTo>
                        <a:pt x="217" y="536"/>
                      </a:moveTo>
                      <a:lnTo>
                        <a:pt x="212" y="515"/>
                      </a:lnTo>
                      <a:lnTo>
                        <a:pt x="217" y="520"/>
                      </a:lnTo>
                      <a:lnTo>
                        <a:pt x="217" y="536"/>
                      </a:lnTo>
                      <a:lnTo>
                        <a:pt x="217" y="536"/>
                      </a:lnTo>
                      <a:lnTo>
                        <a:pt x="217" y="536"/>
                      </a:lnTo>
                      <a:close/>
                      <a:moveTo>
                        <a:pt x="212" y="560"/>
                      </a:moveTo>
                      <a:lnTo>
                        <a:pt x="196" y="560"/>
                      </a:lnTo>
                      <a:lnTo>
                        <a:pt x="196" y="536"/>
                      </a:lnTo>
                      <a:lnTo>
                        <a:pt x="212" y="536"/>
                      </a:lnTo>
                      <a:lnTo>
                        <a:pt x="217" y="560"/>
                      </a:lnTo>
                      <a:lnTo>
                        <a:pt x="212" y="560"/>
                      </a:lnTo>
                      <a:lnTo>
                        <a:pt x="212" y="560"/>
                      </a:lnTo>
                      <a:lnTo>
                        <a:pt x="212" y="560"/>
                      </a:lnTo>
                      <a:close/>
                      <a:moveTo>
                        <a:pt x="108" y="702"/>
                      </a:moveTo>
                      <a:lnTo>
                        <a:pt x="78" y="664"/>
                      </a:lnTo>
                      <a:lnTo>
                        <a:pt x="61" y="697"/>
                      </a:lnTo>
                      <a:lnTo>
                        <a:pt x="23" y="685"/>
                      </a:lnTo>
                      <a:lnTo>
                        <a:pt x="0" y="664"/>
                      </a:lnTo>
                      <a:lnTo>
                        <a:pt x="33" y="647"/>
                      </a:lnTo>
                      <a:lnTo>
                        <a:pt x="16" y="643"/>
                      </a:lnTo>
                      <a:lnTo>
                        <a:pt x="38" y="631"/>
                      </a:lnTo>
                      <a:lnTo>
                        <a:pt x="61" y="603"/>
                      </a:lnTo>
                      <a:lnTo>
                        <a:pt x="78" y="603"/>
                      </a:lnTo>
                      <a:lnTo>
                        <a:pt x="87" y="593"/>
                      </a:lnTo>
                      <a:lnTo>
                        <a:pt x="116" y="586"/>
                      </a:lnTo>
                      <a:lnTo>
                        <a:pt x="146" y="586"/>
                      </a:lnTo>
                      <a:lnTo>
                        <a:pt x="146" y="603"/>
                      </a:lnTo>
                      <a:lnTo>
                        <a:pt x="170" y="626"/>
                      </a:lnTo>
                      <a:lnTo>
                        <a:pt x="158" y="647"/>
                      </a:lnTo>
                      <a:lnTo>
                        <a:pt x="179" y="643"/>
                      </a:lnTo>
                      <a:lnTo>
                        <a:pt x="196" y="659"/>
                      </a:lnTo>
                      <a:lnTo>
                        <a:pt x="184" y="669"/>
                      </a:lnTo>
                      <a:lnTo>
                        <a:pt x="179" y="659"/>
                      </a:lnTo>
                      <a:lnTo>
                        <a:pt x="170" y="647"/>
                      </a:lnTo>
                      <a:lnTo>
                        <a:pt x="179" y="681"/>
                      </a:lnTo>
                      <a:lnTo>
                        <a:pt x="163" y="681"/>
                      </a:lnTo>
                      <a:lnTo>
                        <a:pt x="158" y="697"/>
                      </a:lnTo>
                      <a:lnTo>
                        <a:pt x="146" y="702"/>
                      </a:lnTo>
                      <a:lnTo>
                        <a:pt x="130" y="697"/>
                      </a:lnTo>
                      <a:lnTo>
                        <a:pt x="108" y="702"/>
                      </a:lnTo>
                      <a:lnTo>
                        <a:pt x="108" y="702"/>
                      </a:lnTo>
                      <a:lnTo>
                        <a:pt x="108" y="702"/>
                      </a:lnTo>
                      <a:close/>
                      <a:moveTo>
                        <a:pt x="267" y="792"/>
                      </a:moveTo>
                      <a:lnTo>
                        <a:pt x="250" y="775"/>
                      </a:lnTo>
                      <a:lnTo>
                        <a:pt x="250" y="770"/>
                      </a:lnTo>
                      <a:lnTo>
                        <a:pt x="271" y="770"/>
                      </a:lnTo>
                      <a:lnTo>
                        <a:pt x="288" y="775"/>
                      </a:lnTo>
                      <a:lnTo>
                        <a:pt x="267" y="792"/>
                      </a:lnTo>
                      <a:lnTo>
                        <a:pt x="267" y="792"/>
                      </a:lnTo>
                      <a:lnTo>
                        <a:pt x="267" y="792"/>
                      </a:lnTo>
                      <a:close/>
                      <a:moveTo>
                        <a:pt x="635" y="964"/>
                      </a:moveTo>
                      <a:lnTo>
                        <a:pt x="631" y="957"/>
                      </a:lnTo>
                      <a:lnTo>
                        <a:pt x="635" y="957"/>
                      </a:lnTo>
                      <a:lnTo>
                        <a:pt x="635" y="964"/>
                      </a:lnTo>
                      <a:lnTo>
                        <a:pt x="635" y="964"/>
                      </a:lnTo>
                      <a:lnTo>
                        <a:pt x="635" y="964"/>
                      </a:lnTo>
                      <a:close/>
                      <a:moveTo>
                        <a:pt x="484" y="1035"/>
                      </a:moveTo>
                      <a:lnTo>
                        <a:pt x="468" y="1030"/>
                      </a:lnTo>
                      <a:lnTo>
                        <a:pt x="484" y="1018"/>
                      </a:lnTo>
                      <a:lnTo>
                        <a:pt x="494" y="1030"/>
                      </a:lnTo>
                      <a:lnTo>
                        <a:pt x="484" y="1035"/>
                      </a:lnTo>
                      <a:lnTo>
                        <a:pt x="484" y="1035"/>
                      </a:lnTo>
                      <a:lnTo>
                        <a:pt x="484" y="1035"/>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63" name="Freeform 581">
                  <a:extLst>
                    <a:ext uri="{FF2B5EF4-FFF2-40B4-BE49-F238E27FC236}">
                      <a16:creationId xmlns:a16="http://schemas.microsoft.com/office/drawing/2014/main" id="{A56993C8-84C4-483E-9329-8449F8593BD3}"/>
                    </a:ext>
                  </a:extLst>
                </p:cNvPr>
                <p:cNvSpPr>
                  <a:spLocks noEditPoints="1"/>
                </p:cNvSpPr>
                <p:nvPr/>
              </p:nvSpPr>
              <p:spPr bwMode="gray">
                <a:xfrm>
                  <a:off x="7365147" y="2349853"/>
                  <a:ext cx="519116" cy="307552"/>
                </a:xfrm>
                <a:custGeom>
                  <a:avLst/>
                  <a:gdLst>
                    <a:gd name="T0" fmla="*/ 463 w 1261"/>
                    <a:gd name="T1" fmla="*/ 669 h 747"/>
                    <a:gd name="T2" fmla="*/ 446 w 1261"/>
                    <a:gd name="T3" fmla="*/ 641 h 747"/>
                    <a:gd name="T4" fmla="*/ 479 w 1261"/>
                    <a:gd name="T5" fmla="*/ 598 h 747"/>
                    <a:gd name="T6" fmla="*/ 489 w 1261"/>
                    <a:gd name="T7" fmla="*/ 546 h 747"/>
                    <a:gd name="T8" fmla="*/ 534 w 1261"/>
                    <a:gd name="T9" fmla="*/ 558 h 747"/>
                    <a:gd name="T10" fmla="*/ 543 w 1261"/>
                    <a:gd name="T11" fmla="*/ 546 h 747"/>
                    <a:gd name="T12" fmla="*/ 505 w 1261"/>
                    <a:gd name="T13" fmla="*/ 485 h 747"/>
                    <a:gd name="T14" fmla="*/ 489 w 1261"/>
                    <a:gd name="T15" fmla="*/ 419 h 747"/>
                    <a:gd name="T16" fmla="*/ 413 w 1261"/>
                    <a:gd name="T17" fmla="*/ 390 h 747"/>
                    <a:gd name="T18" fmla="*/ 290 w 1261"/>
                    <a:gd name="T19" fmla="*/ 397 h 747"/>
                    <a:gd name="T20" fmla="*/ 165 w 1261"/>
                    <a:gd name="T21" fmla="*/ 419 h 747"/>
                    <a:gd name="T22" fmla="*/ 52 w 1261"/>
                    <a:gd name="T23" fmla="*/ 419 h 747"/>
                    <a:gd name="T24" fmla="*/ 0 w 1261"/>
                    <a:gd name="T25" fmla="*/ 381 h 747"/>
                    <a:gd name="T26" fmla="*/ 52 w 1261"/>
                    <a:gd name="T27" fmla="*/ 324 h 747"/>
                    <a:gd name="T28" fmla="*/ 38 w 1261"/>
                    <a:gd name="T29" fmla="*/ 267 h 747"/>
                    <a:gd name="T30" fmla="*/ 139 w 1261"/>
                    <a:gd name="T31" fmla="*/ 173 h 747"/>
                    <a:gd name="T32" fmla="*/ 106 w 1261"/>
                    <a:gd name="T33" fmla="*/ 85 h 747"/>
                    <a:gd name="T34" fmla="*/ 253 w 1261"/>
                    <a:gd name="T35" fmla="*/ 45 h 747"/>
                    <a:gd name="T36" fmla="*/ 392 w 1261"/>
                    <a:gd name="T37" fmla="*/ 85 h 747"/>
                    <a:gd name="T38" fmla="*/ 430 w 1261"/>
                    <a:gd name="T39" fmla="*/ 74 h 747"/>
                    <a:gd name="T40" fmla="*/ 468 w 1261"/>
                    <a:gd name="T41" fmla="*/ 78 h 747"/>
                    <a:gd name="T42" fmla="*/ 538 w 1261"/>
                    <a:gd name="T43" fmla="*/ 95 h 747"/>
                    <a:gd name="T44" fmla="*/ 593 w 1261"/>
                    <a:gd name="T45" fmla="*/ 74 h 747"/>
                    <a:gd name="T46" fmla="*/ 678 w 1261"/>
                    <a:gd name="T47" fmla="*/ 29 h 747"/>
                    <a:gd name="T48" fmla="*/ 775 w 1261"/>
                    <a:gd name="T49" fmla="*/ 0 h 747"/>
                    <a:gd name="T50" fmla="*/ 862 w 1261"/>
                    <a:gd name="T51" fmla="*/ 57 h 747"/>
                    <a:gd name="T52" fmla="*/ 883 w 1261"/>
                    <a:gd name="T53" fmla="*/ 119 h 747"/>
                    <a:gd name="T54" fmla="*/ 921 w 1261"/>
                    <a:gd name="T55" fmla="*/ 135 h 747"/>
                    <a:gd name="T56" fmla="*/ 985 w 1261"/>
                    <a:gd name="T57" fmla="*/ 189 h 747"/>
                    <a:gd name="T58" fmla="*/ 1093 w 1261"/>
                    <a:gd name="T59" fmla="*/ 225 h 747"/>
                    <a:gd name="T60" fmla="*/ 1179 w 1261"/>
                    <a:gd name="T61" fmla="*/ 246 h 747"/>
                    <a:gd name="T62" fmla="*/ 1240 w 1261"/>
                    <a:gd name="T63" fmla="*/ 267 h 747"/>
                    <a:gd name="T64" fmla="*/ 1245 w 1261"/>
                    <a:gd name="T65" fmla="*/ 319 h 747"/>
                    <a:gd name="T66" fmla="*/ 1254 w 1261"/>
                    <a:gd name="T67" fmla="*/ 341 h 747"/>
                    <a:gd name="T68" fmla="*/ 1254 w 1261"/>
                    <a:gd name="T69" fmla="*/ 390 h 747"/>
                    <a:gd name="T70" fmla="*/ 1164 w 1261"/>
                    <a:gd name="T71" fmla="*/ 447 h 747"/>
                    <a:gd name="T72" fmla="*/ 1060 w 1261"/>
                    <a:gd name="T73" fmla="*/ 520 h 747"/>
                    <a:gd name="T74" fmla="*/ 900 w 1261"/>
                    <a:gd name="T75" fmla="*/ 586 h 747"/>
                    <a:gd name="T76" fmla="*/ 879 w 1261"/>
                    <a:gd name="T77" fmla="*/ 579 h 747"/>
                    <a:gd name="T78" fmla="*/ 867 w 1261"/>
                    <a:gd name="T79" fmla="*/ 579 h 747"/>
                    <a:gd name="T80" fmla="*/ 829 w 1261"/>
                    <a:gd name="T81" fmla="*/ 579 h 747"/>
                    <a:gd name="T82" fmla="*/ 824 w 1261"/>
                    <a:gd name="T83" fmla="*/ 598 h 747"/>
                    <a:gd name="T84" fmla="*/ 857 w 1261"/>
                    <a:gd name="T85" fmla="*/ 598 h 747"/>
                    <a:gd name="T86" fmla="*/ 862 w 1261"/>
                    <a:gd name="T87" fmla="*/ 619 h 747"/>
                    <a:gd name="T88" fmla="*/ 900 w 1261"/>
                    <a:gd name="T89" fmla="*/ 652 h 747"/>
                    <a:gd name="T90" fmla="*/ 895 w 1261"/>
                    <a:gd name="T91" fmla="*/ 598 h 747"/>
                    <a:gd name="T92" fmla="*/ 968 w 1261"/>
                    <a:gd name="T93" fmla="*/ 659 h 747"/>
                    <a:gd name="T94" fmla="*/ 1001 w 1261"/>
                    <a:gd name="T95" fmla="*/ 685 h 747"/>
                    <a:gd name="T96" fmla="*/ 900 w 1261"/>
                    <a:gd name="T97" fmla="*/ 697 h 747"/>
                    <a:gd name="T98" fmla="*/ 808 w 1261"/>
                    <a:gd name="T99" fmla="*/ 742 h 747"/>
                    <a:gd name="T100" fmla="*/ 808 w 1261"/>
                    <a:gd name="T101" fmla="*/ 697 h 747"/>
                    <a:gd name="T102" fmla="*/ 732 w 1261"/>
                    <a:gd name="T103" fmla="*/ 659 h 747"/>
                    <a:gd name="T104" fmla="*/ 808 w 1261"/>
                    <a:gd name="T105" fmla="*/ 598 h 747"/>
                    <a:gd name="T106" fmla="*/ 732 w 1261"/>
                    <a:gd name="T107" fmla="*/ 586 h 747"/>
                    <a:gd name="T108" fmla="*/ 652 w 1261"/>
                    <a:gd name="T109" fmla="*/ 546 h 747"/>
                    <a:gd name="T110" fmla="*/ 694 w 1261"/>
                    <a:gd name="T111" fmla="*/ 541 h 747"/>
                    <a:gd name="T112" fmla="*/ 685 w 1261"/>
                    <a:gd name="T113" fmla="*/ 501 h 747"/>
                    <a:gd name="T114" fmla="*/ 685 w 1261"/>
                    <a:gd name="T115" fmla="*/ 541 h 747"/>
                    <a:gd name="T116" fmla="*/ 609 w 1261"/>
                    <a:gd name="T117" fmla="*/ 546 h 747"/>
                    <a:gd name="T118" fmla="*/ 534 w 1261"/>
                    <a:gd name="T119" fmla="*/ 636 h 747"/>
                    <a:gd name="T120" fmla="*/ 534 w 1261"/>
                    <a:gd name="T121" fmla="*/ 669 h 747"/>
                    <a:gd name="T122" fmla="*/ 699 w 1261"/>
                    <a:gd name="T123" fmla="*/ 586 h 747"/>
                    <a:gd name="T124" fmla="*/ 699 w 1261"/>
                    <a:gd name="T125" fmla="*/ 586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1" h="747">
                      <a:moveTo>
                        <a:pt x="534" y="669"/>
                      </a:moveTo>
                      <a:lnTo>
                        <a:pt x="522" y="659"/>
                      </a:lnTo>
                      <a:lnTo>
                        <a:pt x="505" y="652"/>
                      </a:lnTo>
                      <a:lnTo>
                        <a:pt x="463" y="669"/>
                      </a:lnTo>
                      <a:lnTo>
                        <a:pt x="437" y="659"/>
                      </a:lnTo>
                      <a:lnTo>
                        <a:pt x="425" y="652"/>
                      </a:lnTo>
                      <a:lnTo>
                        <a:pt x="430" y="641"/>
                      </a:lnTo>
                      <a:lnTo>
                        <a:pt x="446" y="641"/>
                      </a:lnTo>
                      <a:lnTo>
                        <a:pt x="446" y="631"/>
                      </a:lnTo>
                      <a:lnTo>
                        <a:pt x="463" y="615"/>
                      </a:lnTo>
                      <a:lnTo>
                        <a:pt x="463" y="603"/>
                      </a:lnTo>
                      <a:lnTo>
                        <a:pt x="479" y="598"/>
                      </a:lnTo>
                      <a:lnTo>
                        <a:pt x="484" y="579"/>
                      </a:lnTo>
                      <a:lnTo>
                        <a:pt x="479" y="574"/>
                      </a:lnTo>
                      <a:lnTo>
                        <a:pt x="484" y="558"/>
                      </a:lnTo>
                      <a:lnTo>
                        <a:pt x="489" y="546"/>
                      </a:lnTo>
                      <a:lnTo>
                        <a:pt x="501" y="563"/>
                      </a:lnTo>
                      <a:lnTo>
                        <a:pt x="517" y="558"/>
                      </a:lnTo>
                      <a:lnTo>
                        <a:pt x="522" y="563"/>
                      </a:lnTo>
                      <a:lnTo>
                        <a:pt x="534" y="558"/>
                      </a:lnTo>
                      <a:lnTo>
                        <a:pt x="543" y="563"/>
                      </a:lnTo>
                      <a:lnTo>
                        <a:pt x="560" y="563"/>
                      </a:lnTo>
                      <a:lnTo>
                        <a:pt x="543" y="546"/>
                      </a:lnTo>
                      <a:lnTo>
                        <a:pt x="543" y="546"/>
                      </a:lnTo>
                      <a:lnTo>
                        <a:pt x="543" y="525"/>
                      </a:lnTo>
                      <a:lnTo>
                        <a:pt x="522" y="520"/>
                      </a:lnTo>
                      <a:lnTo>
                        <a:pt x="522" y="475"/>
                      </a:lnTo>
                      <a:lnTo>
                        <a:pt x="505" y="485"/>
                      </a:lnTo>
                      <a:lnTo>
                        <a:pt x="489" y="468"/>
                      </a:lnTo>
                      <a:lnTo>
                        <a:pt x="489" y="463"/>
                      </a:lnTo>
                      <a:lnTo>
                        <a:pt x="501" y="435"/>
                      </a:lnTo>
                      <a:lnTo>
                        <a:pt x="489" y="419"/>
                      </a:lnTo>
                      <a:lnTo>
                        <a:pt x="484" y="419"/>
                      </a:lnTo>
                      <a:lnTo>
                        <a:pt x="468" y="407"/>
                      </a:lnTo>
                      <a:lnTo>
                        <a:pt x="413" y="397"/>
                      </a:lnTo>
                      <a:lnTo>
                        <a:pt x="413" y="390"/>
                      </a:lnTo>
                      <a:lnTo>
                        <a:pt x="392" y="374"/>
                      </a:lnTo>
                      <a:lnTo>
                        <a:pt x="323" y="381"/>
                      </a:lnTo>
                      <a:lnTo>
                        <a:pt x="316" y="390"/>
                      </a:lnTo>
                      <a:lnTo>
                        <a:pt x="290" y="397"/>
                      </a:lnTo>
                      <a:lnTo>
                        <a:pt x="286" y="419"/>
                      </a:lnTo>
                      <a:lnTo>
                        <a:pt x="219" y="419"/>
                      </a:lnTo>
                      <a:lnTo>
                        <a:pt x="198" y="447"/>
                      </a:lnTo>
                      <a:lnTo>
                        <a:pt x="165" y="419"/>
                      </a:lnTo>
                      <a:lnTo>
                        <a:pt x="144" y="419"/>
                      </a:lnTo>
                      <a:lnTo>
                        <a:pt x="90" y="419"/>
                      </a:lnTo>
                      <a:lnTo>
                        <a:pt x="75" y="407"/>
                      </a:lnTo>
                      <a:lnTo>
                        <a:pt x="52" y="419"/>
                      </a:lnTo>
                      <a:lnTo>
                        <a:pt x="47" y="407"/>
                      </a:lnTo>
                      <a:lnTo>
                        <a:pt x="38" y="407"/>
                      </a:lnTo>
                      <a:lnTo>
                        <a:pt x="5" y="381"/>
                      </a:lnTo>
                      <a:lnTo>
                        <a:pt x="0" y="381"/>
                      </a:lnTo>
                      <a:lnTo>
                        <a:pt x="0" y="362"/>
                      </a:lnTo>
                      <a:lnTo>
                        <a:pt x="14" y="352"/>
                      </a:lnTo>
                      <a:lnTo>
                        <a:pt x="31" y="319"/>
                      </a:lnTo>
                      <a:lnTo>
                        <a:pt x="52" y="324"/>
                      </a:lnTo>
                      <a:lnTo>
                        <a:pt x="52" y="319"/>
                      </a:lnTo>
                      <a:lnTo>
                        <a:pt x="38" y="308"/>
                      </a:lnTo>
                      <a:lnTo>
                        <a:pt x="47" y="296"/>
                      </a:lnTo>
                      <a:lnTo>
                        <a:pt x="38" y="267"/>
                      </a:lnTo>
                      <a:lnTo>
                        <a:pt x="85" y="225"/>
                      </a:lnTo>
                      <a:lnTo>
                        <a:pt x="113" y="189"/>
                      </a:lnTo>
                      <a:lnTo>
                        <a:pt x="127" y="189"/>
                      </a:lnTo>
                      <a:lnTo>
                        <a:pt x="139" y="173"/>
                      </a:lnTo>
                      <a:lnTo>
                        <a:pt x="127" y="152"/>
                      </a:lnTo>
                      <a:lnTo>
                        <a:pt x="139" y="152"/>
                      </a:lnTo>
                      <a:lnTo>
                        <a:pt x="113" y="111"/>
                      </a:lnTo>
                      <a:lnTo>
                        <a:pt x="106" y="85"/>
                      </a:lnTo>
                      <a:lnTo>
                        <a:pt x="106" y="74"/>
                      </a:lnTo>
                      <a:lnTo>
                        <a:pt x="139" y="78"/>
                      </a:lnTo>
                      <a:lnTo>
                        <a:pt x="160" y="45"/>
                      </a:lnTo>
                      <a:lnTo>
                        <a:pt x="253" y="45"/>
                      </a:lnTo>
                      <a:lnTo>
                        <a:pt x="354" y="62"/>
                      </a:lnTo>
                      <a:lnTo>
                        <a:pt x="361" y="78"/>
                      </a:lnTo>
                      <a:lnTo>
                        <a:pt x="392" y="78"/>
                      </a:lnTo>
                      <a:lnTo>
                        <a:pt x="392" y="85"/>
                      </a:lnTo>
                      <a:lnTo>
                        <a:pt x="392" y="85"/>
                      </a:lnTo>
                      <a:lnTo>
                        <a:pt x="399" y="74"/>
                      </a:lnTo>
                      <a:lnTo>
                        <a:pt x="413" y="78"/>
                      </a:lnTo>
                      <a:lnTo>
                        <a:pt x="430" y="74"/>
                      </a:lnTo>
                      <a:lnTo>
                        <a:pt x="430" y="78"/>
                      </a:lnTo>
                      <a:lnTo>
                        <a:pt x="451" y="78"/>
                      </a:lnTo>
                      <a:lnTo>
                        <a:pt x="463" y="95"/>
                      </a:lnTo>
                      <a:lnTo>
                        <a:pt x="468" y="78"/>
                      </a:lnTo>
                      <a:lnTo>
                        <a:pt x="489" y="74"/>
                      </a:lnTo>
                      <a:lnTo>
                        <a:pt x="505" y="95"/>
                      </a:lnTo>
                      <a:lnTo>
                        <a:pt x="534" y="85"/>
                      </a:lnTo>
                      <a:lnTo>
                        <a:pt x="538" y="95"/>
                      </a:lnTo>
                      <a:lnTo>
                        <a:pt x="560" y="85"/>
                      </a:lnTo>
                      <a:lnTo>
                        <a:pt x="593" y="111"/>
                      </a:lnTo>
                      <a:lnTo>
                        <a:pt x="597" y="102"/>
                      </a:lnTo>
                      <a:lnTo>
                        <a:pt x="593" y="74"/>
                      </a:lnTo>
                      <a:lnTo>
                        <a:pt x="597" y="57"/>
                      </a:lnTo>
                      <a:lnTo>
                        <a:pt x="614" y="41"/>
                      </a:lnTo>
                      <a:lnTo>
                        <a:pt x="614" y="29"/>
                      </a:lnTo>
                      <a:lnTo>
                        <a:pt x="678" y="29"/>
                      </a:lnTo>
                      <a:lnTo>
                        <a:pt x="706" y="29"/>
                      </a:lnTo>
                      <a:lnTo>
                        <a:pt x="716" y="8"/>
                      </a:lnTo>
                      <a:lnTo>
                        <a:pt x="753" y="17"/>
                      </a:lnTo>
                      <a:lnTo>
                        <a:pt x="775" y="0"/>
                      </a:lnTo>
                      <a:lnTo>
                        <a:pt x="824" y="0"/>
                      </a:lnTo>
                      <a:lnTo>
                        <a:pt x="841" y="24"/>
                      </a:lnTo>
                      <a:lnTo>
                        <a:pt x="841" y="41"/>
                      </a:lnTo>
                      <a:lnTo>
                        <a:pt x="862" y="57"/>
                      </a:lnTo>
                      <a:lnTo>
                        <a:pt x="862" y="62"/>
                      </a:lnTo>
                      <a:lnTo>
                        <a:pt x="841" y="74"/>
                      </a:lnTo>
                      <a:lnTo>
                        <a:pt x="862" y="111"/>
                      </a:lnTo>
                      <a:lnTo>
                        <a:pt x="883" y="119"/>
                      </a:lnTo>
                      <a:lnTo>
                        <a:pt x="909" y="111"/>
                      </a:lnTo>
                      <a:lnTo>
                        <a:pt x="916" y="128"/>
                      </a:lnTo>
                      <a:lnTo>
                        <a:pt x="933" y="128"/>
                      </a:lnTo>
                      <a:lnTo>
                        <a:pt x="921" y="135"/>
                      </a:lnTo>
                      <a:lnTo>
                        <a:pt x="938" y="168"/>
                      </a:lnTo>
                      <a:lnTo>
                        <a:pt x="933" y="168"/>
                      </a:lnTo>
                      <a:lnTo>
                        <a:pt x="947" y="189"/>
                      </a:lnTo>
                      <a:lnTo>
                        <a:pt x="985" y="189"/>
                      </a:lnTo>
                      <a:lnTo>
                        <a:pt x="992" y="197"/>
                      </a:lnTo>
                      <a:lnTo>
                        <a:pt x="1018" y="206"/>
                      </a:lnTo>
                      <a:lnTo>
                        <a:pt x="1077" y="189"/>
                      </a:lnTo>
                      <a:lnTo>
                        <a:pt x="1093" y="225"/>
                      </a:lnTo>
                      <a:lnTo>
                        <a:pt x="1115" y="241"/>
                      </a:lnTo>
                      <a:lnTo>
                        <a:pt x="1127" y="225"/>
                      </a:lnTo>
                      <a:lnTo>
                        <a:pt x="1131" y="225"/>
                      </a:lnTo>
                      <a:lnTo>
                        <a:pt x="1179" y="246"/>
                      </a:lnTo>
                      <a:lnTo>
                        <a:pt x="1190" y="241"/>
                      </a:lnTo>
                      <a:lnTo>
                        <a:pt x="1202" y="251"/>
                      </a:lnTo>
                      <a:lnTo>
                        <a:pt x="1223" y="251"/>
                      </a:lnTo>
                      <a:lnTo>
                        <a:pt x="1240" y="267"/>
                      </a:lnTo>
                      <a:lnTo>
                        <a:pt x="1261" y="267"/>
                      </a:lnTo>
                      <a:lnTo>
                        <a:pt x="1254" y="279"/>
                      </a:lnTo>
                      <a:lnTo>
                        <a:pt x="1261" y="303"/>
                      </a:lnTo>
                      <a:lnTo>
                        <a:pt x="1245" y="319"/>
                      </a:lnTo>
                      <a:lnTo>
                        <a:pt x="1233" y="324"/>
                      </a:lnTo>
                      <a:lnTo>
                        <a:pt x="1240" y="336"/>
                      </a:lnTo>
                      <a:lnTo>
                        <a:pt x="1254" y="336"/>
                      </a:lnTo>
                      <a:lnTo>
                        <a:pt x="1254" y="341"/>
                      </a:lnTo>
                      <a:lnTo>
                        <a:pt x="1240" y="341"/>
                      </a:lnTo>
                      <a:lnTo>
                        <a:pt x="1233" y="357"/>
                      </a:lnTo>
                      <a:lnTo>
                        <a:pt x="1240" y="362"/>
                      </a:lnTo>
                      <a:lnTo>
                        <a:pt x="1254" y="390"/>
                      </a:lnTo>
                      <a:lnTo>
                        <a:pt x="1240" y="414"/>
                      </a:lnTo>
                      <a:lnTo>
                        <a:pt x="1240" y="430"/>
                      </a:lnTo>
                      <a:lnTo>
                        <a:pt x="1169" y="430"/>
                      </a:lnTo>
                      <a:lnTo>
                        <a:pt x="1164" y="447"/>
                      </a:lnTo>
                      <a:lnTo>
                        <a:pt x="1131" y="452"/>
                      </a:lnTo>
                      <a:lnTo>
                        <a:pt x="1131" y="501"/>
                      </a:lnTo>
                      <a:lnTo>
                        <a:pt x="1077" y="501"/>
                      </a:lnTo>
                      <a:lnTo>
                        <a:pt x="1060" y="520"/>
                      </a:lnTo>
                      <a:lnTo>
                        <a:pt x="1056" y="520"/>
                      </a:lnTo>
                      <a:lnTo>
                        <a:pt x="985" y="541"/>
                      </a:lnTo>
                      <a:lnTo>
                        <a:pt x="964" y="541"/>
                      </a:lnTo>
                      <a:lnTo>
                        <a:pt x="900" y="586"/>
                      </a:lnTo>
                      <a:lnTo>
                        <a:pt x="921" y="574"/>
                      </a:lnTo>
                      <a:lnTo>
                        <a:pt x="916" y="558"/>
                      </a:lnTo>
                      <a:lnTo>
                        <a:pt x="909" y="574"/>
                      </a:lnTo>
                      <a:lnTo>
                        <a:pt x="879" y="579"/>
                      </a:lnTo>
                      <a:lnTo>
                        <a:pt x="867" y="598"/>
                      </a:lnTo>
                      <a:lnTo>
                        <a:pt x="862" y="598"/>
                      </a:lnTo>
                      <a:lnTo>
                        <a:pt x="867" y="586"/>
                      </a:lnTo>
                      <a:lnTo>
                        <a:pt x="867" y="579"/>
                      </a:lnTo>
                      <a:lnTo>
                        <a:pt x="857" y="579"/>
                      </a:lnTo>
                      <a:lnTo>
                        <a:pt x="845" y="574"/>
                      </a:lnTo>
                      <a:lnTo>
                        <a:pt x="841" y="586"/>
                      </a:lnTo>
                      <a:lnTo>
                        <a:pt x="829" y="579"/>
                      </a:lnTo>
                      <a:lnTo>
                        <a:pt x="808" y="579"/>
                      </a:lnTo>
                      <a:lnTo>
                        <a:pt x="812" y="586"/>
                      </a:lnTo>
                      <a:lnTo>
                        <a:pt x="824" y="579"/>
                      </a:lnTo>
                      <a:lnTo>
                        <a:pt x="824" y="598"/>
                      </a:lnTo>
                      <a:lnTo>
                        <a:pt x="829" y="586"/>
                      </a:lnTo>
                      <a:lnTo>
                        <a:pt x="841" y="603"/>
                      </a:lnTo>
                      <a:lnTo>
                        <a:pt x="845" y="598"/>
                      </a:lnTo>
                      <a:lnTo>
                        <a:pt x="857" y="598"/>
                      </a:lnTo>
                      <a:lnTo>
                        <a:pt x="862" y="603"/>
                      </a:lnTo>
                      <a:lnTo>
                        <a:pt x="857" y="615"/>
                      </a:lnTo>
                      <a:lnTo>
                        <a:pt x="879" y="603"/>
                      </a:lnTo>
                      <a:lnTo>
                        <a:pt x="862" y="619"/>
                      </a:lnTo>
                      <a:lnTo>
                        <a:pt x="879" y="619"/>
                      </a:lnTo>
                      <a:lnTo>
                        <a:pt x="900" y="631"/>
                      </a:lnTo>
                      <a:lnTo>
                        <a:pt x="909" y="641"/>
                      </a:lnTo>
                      <a:lnTo>
                        <a:pt x="900" y="652"/>
                      </a:lnTo>
                      <a:lnTo>
                        <a:pt x="909" y="659"/>
                      </a:lnTo>
                      <a:lnTo>
                        <a:pt x="921" y="659"/>
                      </a:lnTo>
                      <a:lnTo>
                        <a:pt x="879" y="586"/>
                      </a:lnTo>
                      <a:lnTo>
                        <a:pt x="895" y="598"/>
                      </a:lnTo>
                      <a:lnTo>
                        <a:pt x="909" y="631"/>
                      </a:lnTo>
                      <a:lnTo>
                        <a:pt x="938" y="659"/>
                      </a:lnTo>
                      <a:lnTo>
                        <a:pt x="964" y="652"/>
                      </a:lnTo>
                      <a:lnTo>
                        <a:pt x="968" y="659"/>
                      </a:lnTo>
                      <a:lnTo>
                        <a:pt x="985" y="641"/>
                      </a:lnTo>
                      <a:lnTo>
                        <a:pt x="1018" y="652"/>
                      </a:lnTo>
                      <a:lnTo>
                        <a:pt x="1001" y="659"/>
                      </a:lnTo>
                      <a:lnTo>
                        <a:pt x="1001" y="685"/>
                      </a:lnTo>
                      <a:lnTo>
                        <a:pt x="964" y="693"/>
                      </a:lnTo>
                      <a:lnTo>
                        <a:pt x="938" y="676"/>
                      </a:lnTo>
                      <a:lnTo>
                        <a:pt x="909" y="709"/>
                      </a:lnTo>
                      <a:lnTo>
                        <a:pt x="900" y="697"/>
                      </a:lnTo>
                      <a:lnTo>
                        <a:pt x="867" y="709"/>
                      </a:lnTo>
                      <a:lnTo>
                        <a:pt x="857" y="730"/>
                      </a:lnTo>
                      <a:lnTo>
                        <a:pt x="829" y="747"/>
                      </a:lnTo>
                      <a:lnTo>
                        <a:pt x="808" y="742"/>
                      </a:lnTo>
                      <a:lnTo>
                        <a:pt x="786" y="726"/>
                      </a:lnTo>
                      <a:lnTo>
                        <a:pt x="803" y="726"/>
                      </a:lnTo>
                      <a:lnTo>
                        <a:pt x="803" y="709"/>
                      </a:lnTo>
                      <a:lnTo>
                        <a:pt x="808" y="697"/>
                      </a:lnTo>
                      <a:lnTo>
                        <a:pt x="803" y="676"/>
                      </a:lnTo>
                      <a:lnTo>
                        <a:pt x="775" y="676"/>
                      </a:lnTo>
                      <a:lnTo>
                        <a:pt x="753" y="659"/>
                      </a:lnTo>
                      <a:lnTo>
                        <a:pt x="732" y="659"/>
                      </a:lnTo>
                      <a:lnTo>
                        <a:pt x="720" y="652"/>
                      </a:lnTo>
                      <a:lnTo>
                        <a:pt x="753" y="631"/>
                      </a:lnTo>
                      <a:lnTo>
                        <a:pt x="812" y="603"/>
                      </a:lnTo>
                      <a:lnTo>
                        <a:pt x="808" y="598"/>
                      </a:lnTo>
                      <a:lnTo>
                        <a:pt x="808" y="586"/>
                      </a:lnTo>
                      <a:lnTo>
                        <a:pt x="791" y="598"/>
                      </a:lnTo>
                      <a:lnTo>
                        <a:pt x="775" y="579"/>
                      </a:lnTo>
                      <a:lnTo>
                        <a:pt x="732" y="586"/>
                      </a:lnTo>
                      <a:lnTo>
                        <a:pt x="678" y="574"/>
                      </a:lnTo>
                      <a:lnTo>
                        <a:pt x="694" y="563"/>
                      </a:lnTo>
                      <a:lnTo>
                        <a:pt x="668" y="558"/>
                      </a:lnTo>
                      <a:lnTo>
                        <a:pt x="652" y="546"/>
                      </a:lnTo>
                      <a:lnTo>
                        <a:pt x="716" y="558"/>
                      </a:lnTo>
                      <a:lnTo>
                        <a:pt x="737" y="541"/>
                      </a:lnTo>
                      <a:lnTo>
                        <a:pt x="716" y="546"/>
                      </a:lnTo>
                      <a:lnTo>
                        <a:pt x="694" y="541"/>
                      </a:lnTo>
                      <a:lnTo>
                        <a:pt x="685" y="530"/>
                      </a:lnTo>
                      <a:lnTo>
                        <a:pt x="694" y="508"/>
                      </a:lnTo>
                      <a:lnTo>
                        <a:pt x="678" y="485"/>
                      </a:lnTo>
                      <a:lnTo>
                        <a:pt x="685" y="501"/>
                      </a:lnTo>
                      <a:lnTo>
                        <a:pt x="685" y="508"/>
                      </a:lnTo>
                      <a:lnTo>
                        <a:pt x="694" y="520"/>
                      </a:lnTo>
                      <a:lnTo>
                        <a:pt x="685" y="525"/>
                      </a:lnTo>
                      <a:lnTo>
                        <a:pt x="685" y="541"/>
                      </a:lnTo>
                      <a:lnTo>
                        <a:pt x="652" y="541"/>
                      </a:lnTo>
                      <a:lnTo>
                        <a:pt x="661" y="525"/>
                      </a:lnTo>
                      <a:lnTo>
                        <a:pt x="652" y="541"/>
                      </a:lnTo>
                      <a:lnTo>
                        <a:pt x="609" y="546"/>
                      </a:lnTo>
                      <a:lnTo>
                        <a:pt x="609" y="563"/>
                      </a:lnTo>
                      <a:lnTo>
                        <a:pt x="571" y="615"/>
                      </a:lnTo>
                      <a:lnTo>
                        <a:pt x="543" y="615"/>
                      </a:lnTo>
                      <a:lnTo>
                        <a:pt x="534" y="636"/>
                      </a:lnTo>
                      <a:lnTo>
                        <a:pt x="522" y="615"/>
                      </a:lnTo>
                      <a:lnTo>
                        <a:pt x="522" y="636"/>
                      </a:lnTo>
                      <a:lnTo>
                        <a:pt x="538" y="652"/>
                      </a:lnTo>
                      <a:lnTo>
                        <a:pt x="534" y="669"/>
                      </a:lnTo>
                      <a:lnTo>
                        <a:pt x="534" y="669"/>
                      </a:lnTo>
                      <a:lnTo>
                        <a:pt x="534" y="669"/>
                      </a:lnTo>
                      <a:lnTo>
                        <a:pt x="534" y="669"/>
                      </a:lnTo>
                      <a:close/>
                      <a:moveTo>
                        <a:pt x="699" y="586"/>
                      </a:moveTo>
                      <a:lnTo>
                        <a:pt x="661" y="574"/>
                      </a:lnTo>
                      <a:lnTo>
                        <a:pt x="652" y="563"/>
                      </a:lnTo>
                      <a:lnTo>
                        <a:pt x="661" y="574"/>
                      </a:lnTo>
                      <a:lnTo>
                        <a:pt x="699" y="586"/>
                      </a:lnTo>
                      <a:lnTo>
                        <a:pt x="699" y="586"/>
                      </a:lnTo>
                      <a:lnTo>
                        <a:pt x="699" y="586"/>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64" name="Freeform 585">
                  <a:extLst>
                    <a:ext uri="{FF2B5EF4-FFF2-40B4-BE49-F238E27FC236}">
                      <a16:creationId xmlns:a16="http://schemas.microsoft.com/office/drawing/2014/main" id="{01C9BFD1-F38A-44E3-8A55-1E8ADD4A3A22}"/>
                    </a:ext>
                  </a:extLst>
                </p:cNvPr>
                <p:cNvSpPr>
                  <a:spLocks/>
                </p:cNvSpPr>
                <p:nvPr/>
              </p:nvSpPr>
              <p:spPr bwMode="gray">
                <a:xfrm>
                  <a:off x="8341217" y="2611704"/>
                  <a:ext cx="496885" cy="296436"/>
                </a:xfrm>
                <a:custGeom>
                  <a:avLst/>
                  <a:gdLst>
                    <a:gd name="T0" fmla="*/ 827 w 1207"/>
                    <a:gd name="T1" fmla="*/ 515 h 720"/>
                    <a:gd name="T2" fmla="*/ 806 w 1207"/>
                    <a:gd name="T3" fmla="*/ 555 h 720"/>
                    <a:gd name="T4" fmla="*/ 851 w 1207"/>
                    <a:gd name="T5" fmla="*/ 572 h 720"/>
                    <a:gd name="T6" fmla="*/ 851 w 1207"/>
                    <a:gd name="T7" fmla="*/ 609 h 720"/>
                    <a:gd name="T8" fmla="*/ 860 w 1207"/>
                    <a:gd name="T9" fmla="*/ 659 h 720"/>
                    <a:gd name="T10" fmla="*/ 813 w 1207"/>
                    <a:gd name="T11" fmla="*/ 716 h 720"/>
                    <a:gd name="T12" fmla="*/ 742 w 1207"/>
                    <a:gd name="T13" fmla="*/ 704 h 720"/>
                    <a:gd name="T14" fmla="*/ 700 w 1207"/>
                    <a:gd name="T15" fmla="*/ 633 h 720"/>
                    <a:gd name="T16" fmla="*/ 574 w 1207"/>
                    <a:gd name="T17" fmla="*/ 576 h 720"/>
                    <a:gd name="T18" fmla="*/ 456 w 1207"/>
                    <a:gd name="T19" fmla="*/ 482 h 720"/>
                    <a:gd name="T20" fmla="*/ 419 w 1207"/>
                    <a:gd name="T21" fmla="*/ 387 h 720"/>
                    <a:gd name="T22" fmla="*/ 348 w 1207"/>
                    <a:gd name="T23" fmla="*/ 383 h 720"/>
                    <a:gd name="T24" fmla="*/ 289 w 1207"/>
                    <a:gd name="T25" fmla="*/ 366 h 720"/>
                    <a:gd name="T26" fmla="*/ 303 w 1207"/>
                    <a:gd name="T27" fmla="*/ 333 h 720"/>
                    <a:gd name="T28" fmla="*/ 272 w 1207"/>
                    <a:gd name="T29" fmla="*/ 283 h 720"/>
                    <a:gd name="T30" fmla="*/ 213 w 1207"/>
                    <a:gd name="T31" fmla="*/ 272 h 720"/>
                    <a:gd name="T32" fmla="*/ 163 w 1207"/>
                    <a:gd name="T33" fmla="*/ 255 h 720"/>
                    <a:gd name="T34" fmla="*/ 168 w 1207"/>
                    <a:gd name="T35" fmla="*/ 293 h 720"/>
                    <a:gd name="T36" fmla="*/ 130 w 1207"/>
                    <a:gd name="T37" fmla="*/ 300 h 720"/>
                    <a:gd name="T38" fmla="*/ 71 w 1207"/>
                    <a:gd name="T39" fmla="*/ 345 h 720"/>
                    <a:gd name="T40" fmla="*/ 0 w 1207"/>
                    <a:gd name="T41" fmla="*/ 371 h 720"/>
                    <a:gd name="T42" fmla="*/ 364 w 1207"/>
                    <a:gd name="T43" fmla="*/ 116 h 720"/>
                    <a:gd name="T44" fmla="*/ 596 w 1207"/>
                    <a:gd name="T45" fmla="*/ 182 h 720"/>
                    <a:gd name="T46" fmla="*/ 671 w 1207"/>
                    <a:gd name="T47" fmla="*/ 201 h 720"/>
                    <a:gd name="T48" fmla="*/ 704 w 1207"/>
                    <a:gd name="T49" fmla="*/ 316 h 720"/>
                    <a:gd name="T50" fmla="*/ 844 w 1207"/>
                    <a:gd name="T51" fmla="*/ 387 h 720"/>
                    <a:gd name="T52" fmla="*/ 877 w 1207"/>
                    <a:gd name="T53" fmla="*/ 437 h 720"/>
                    <a:gd name="T54" fmla="*/ 919 w 1207"/>
                    <a:gd name="T55" fmla="*/ 383 h 720"/>
                    <a:gd name="T56" fmla="*/ 985 w 1207"/>
                    <a:gd name="T57" fmla="*/ 345 h 720"/>
                    <a:gd name="T58" fmla="*/ 1040 w 1207"/>
                    <a:gd name="T59" fmla="*/ 300 h 720"/>
                    <a:gd name="T60" fmla="*/ 1078 w 1207"/>
                    <a:gd name="T61" fmla="*/ 300 h 720"/>
                    <a:gd name="T62" fmla="*/ 1040 w 1207"/>
                    <a:gd name="T63" fmla="*/ 328 h 720"/>
                    <a:gd name="T64" fmla="*/ 1040 w 1207"/>
                    <a:gd name="T65" fmla="*/ 366 h 720"/>
                    <a:gd name="T66" fmla="*/ 1082 w 1207"/>
                    <a:gd name="T67" fmla="*/ 371 h 720"/>
                    <a:gd name="T68" fmla="*/ 1120 w 1207"/>
                    <a:gd name="T69" fmla="*/ 371 h 720"/>
                    <a:gd name="T70" fmla="*/ 1137 w 1207"/>
                    <a:gd name="T71" fmla="*/ 404 h 720"/>
                    <a:gd name="T72" fmla="*/ 1207 w 1207"/>
                    <a:gd name="T73" fmla="*/ 420 h 720"/>
                    <a:gd name="T74" fmla="*/ 1153 w 1207"/>
                    <a:gd name="T75" fmla="*/ 437 h 720"/>
                    <a:gd name="T76" fmla="*/ 1132 w 1207"/>
                    <a:gd name="T77" fmla="*/ 460 h 720"/>
                    <a:gd name="T78" fmla="*/ 1082 w 1207"/>
                    <a:gd name="T79" fmla="*/ 460 h 720"/>
                    <a:gd name="T80" fmla="*/ 1011 w 1207"/>
                    <a:gd name="T81" fmla="*/ 456 h 720"/>
                    <a:gd name="T82" fmla="*/ 1011 w 1207"/>
                    <a:gd name="T83" fmla="*/ 399 h 720"/>
                    <a:gd name="T84" fmla="*/ 943 w 1207"/>
                    <a:gd name="T85" fmla="*/ 420 h 720"/>
                    <a:gd name="T86" fmla="*/ 936 w 1207"/>
                    <a:gd name="T87" fmla="*/ 465 h 720"/>
                    <a:gd name="T88" fmla="*/ 898 w 1207"/>
                    <a:gd name="T89" fmla="*/ 482 h 720"/>
                    <a:gd name="T90" fmla="*/ 889 w 1207"/>
                    <a:gd name="T91" fmla="*/ 49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07" h="720">
                      <a:moveTo>
                        <a:pt x="889" y="498"/>
                      </a:moveTo>
                      <a:lnTo>
                        <a:pt x="882" y="522"/>
                      </a:lnTo>
                      <a:lnTo>
                        <a:pt x="827" y="515"/>
                      </a:lnTo>
                      <a:lnTo>
                        <a:pt x="806" y="531"/>
                      </a:lnTo>
                      <a:lnTo>
                        <a:pt x="796" y="548"/>
                      </a:lnTo>
                      <a:lnTo>
                        <a:pt x="806" y="555"/>
                      </a:lnTo>
                      <a:lnTo>
                        <a:pt x="822" y="564"/>
                      </a:lnTo>
                      <a:lnTo>
                        <a:pt x="827" y="572"/>
                      </a:lnTo>
                      <a:lnTo>
                        <a:pt x="851" y="572"/>
                      </a:lnTo>
                      <a:lnTo>
                        <a:pt x="860" y="588"/>
                      </a:lnTo>
                      <a:lnTo>
                        <a:pt x="851" y="588"/>
                      </a:lnTo>
                      <a:lnTo>
                        <a:pt x="851" y="609"/>
                      </a:lnTo>
                      <a:lnTo>
                        <a:pt x="877" y="642"/>
                      </a:lnTo>
                      <a:lnTo>
                        <a:pt x="867" y="659"/>
                      </a:lnTo>
                      <a:lnTo>
                        <a:pt x="860" y="659"/>
                      </a:lnTo>
                      <a:lnTo>
                        <a:pt x="834" y="699"/>
                      </a:lnTo>
                      <a:lnTo>
                        <a:pt x="827" y="720"/>
                      </a:lnTo>
                      <a:lnTo>
                        <a:pt x="813" y="716"/>
                      </a:lnTo>
                      <a:lnTo>
                        <a:pt x="789" y="720"/>
                      </a:lnTo>
                      <a:lnTo>
                        <a:pt x="775" y="704"/>
                      </a:lnTo>
                      <a:lnTo>
                        <a:pt x="742" y="704"/>
                      </a:lnTo>
                      <a:lnTo>
                        <a:pt x="742" y="675"/>
                      </a:lnTo>
                      <a:lnTo>
                        <a:pt x="752" y="659"/>
                      </a:lnTo>
                      <a:lnTo>
                        <a:pt x="700" y="633"/>
                      </a:lnTo>
                      <a:lnTo>
                        <a:pt x="671" y="633"/>
                      </a:lnTo>
                      <a:lnTo>
                        <a:pt x="591" y="572"/>
                      </a:lnTo>
                      <a:lnTo>
                        <a:pt x="574" y="576"/>
                      </a:lnTo>
                      <a:lnTo>
                        <a:pt x="541" y="555"/>
                      </a:lnTo>
                      <a:lnTo>
                        <a:pt x="537" y="538"/>
                      </a:lnTo>
                      <a:lnTo>
                        <a:pt x="456" y="482"/>
                      </a:lnTo>
                      <a:lnTo>
                        <a:pt x="449" y="456"/>
                      </a:lnTo>
                      <a:lnTo>
                        <a:pt x="433" y="437"/>
                      </a:lnTo>
                      <a:lnTo>
                        <a:pt x="419" y="387"/>
                      </a:lnTo>
                      <a:lnTo>
                        <a:pt x="385" y="371"/>
                      </a:lnTo>
                      <a:lnTo>
                        <a:pt x="374" y="387"/>
                      </a:lnTo>
                      <a:lnTo>
                        <a:pt x="348" y="383"/>
                      </a:lnTo>
                      <a:lnTo>
                        <a:pt x="319" y="383"/>
                      </a:lnTo>
                      <a:lnTo>
                        <a:pt x="293" y="371"/>
                      </a:lnTo>
                      <a:lnTo>
                        <a:pt x="289" y="366"/>
                      </a:lnTo>
                      <a:lnTo>
                        <a:pt x="293" y="349"/>
                      </a:lnTo>
                      <a:lnTo>
                        <a:pt x="289" y="333"/>
                      </a:lnTo>
                      <a:lnTo>
                        <a:pt x="303" y="333"/>
                      </a:lnTo>
                      <a:lnTo>
                        <a:pt x="289" y="309"/>
                      </a:lnTo>
                      <a:lnTo>
                        <a:pt x="289" y="293"/>
                      </a:lnTo>
                      <a:lnTo>
                        <a:pt x="272" y="283"/>
                      </a:lnTo>
                      <a:lnTo>
                        <a:pt x="234" y="283"/>
                      </a:lnTo>
                      <a:lnTo>
                        <a:pt x="222" y="272"/>
                      </a:lnTo>
                      <a:lnTo>
                        <a:pt x="213" y="272"/>
                      </a:lnTo>
                      <a:lnTo>
                        <a:pt x="185" y="243"/>
                      </a:lnTo>
                      <a:lnTo>
                        <a:pt x="180" y="260"/>
                      </a:lnTo>
                      <a:lnTo>
                        <a:pt x="163" y="255"/>
                      </a:lnTo>
                      <a:lnTo>
                        <a:pt x="159" y="260"/>
                      </a:lnTo>
                      <a:lnTo>
                        <a:pt x="180" y="293"/>
                      </a:lnTo>
                      <a:lnTo>
                        <a:pt x="168" y="293"/>
                      </a:lnTo>
                      <a:lnTo>
                        <a:pt x="163" y="276"/>
                      </a:lnTo>
                      <a:lnTo>
                        <a:pt x="147" y="272"/>
                      </a:lnTo>
                      <a:lnTo>
                        <a:pt x="130" y="300"/>
                      </a:lnTo>
                      <a:lnTo>
                        <a:pt x="104" y="300"/>
                      </a:lnTo>
                      <a:lnTo>
                        <a:pt x="71" y="328"/>
                      </a:lnTo>
                      <a:lnTo>
                        <a:pt x="71" y="345"/>
                      </a:lnTo>
                      <a:lnTo>
                        <a:pt x="76" y="371"/>
                      </a:lnTo>
                      <a:lnTo>
                        <a:pt x="76" y="383"/>
                      </a:lnTo>
                      <a:lnTo>
                        <a:pt x="0" y="371"/>
                      </a:lnTo>
                      <a:lnTo>
                        <a:pt x="0" y="54"/>
                      </a:lnTo>
                      <a:lnTo>
                        <a:pt x="180" y="0"/>
                      </a:lnTo>
                      <a:lnTo>
                        <a:pt x="364" y="116"/>
                      </a:lnTo>
                      <a:lnTo>
                        <a:pt x="428" y="182"/>
                      </a:lnTo>
                      <a:lnTo>
                        <a:pt x="508" y="172"/>
                      </a:lnTo>
                      <a:lnTo>
                        <a:pt x="596" y="182"/>
                      </a:lnTo>
                      <a:lnTo>
                        <a:pt x="629" y="165"/>
                      </a:lnTo>
                      <a:lnTo>
                        <a:pt x="650" y="189"/>
                      </a:lnTo>
                      <a:lnTo>
                        <a:pt x="671" y="201"/>
                      </a:lnTo>
                      <a:lnTo>
                        <a:pt x="688" y="238"/>
                      </a:lnTo>
                      <a:lnTo>
                        <a:pt x="714" y="227"/>
                      </a:lnTo>
                      <a:lnTo>
                        <a:pt x="704" y="316"/>
                      </a:lnTo>
                      <a:lnTo>
                        <a:pt x="742" y="316"/>
                      </a:lnTo>
                      <a:lnTo>
                        <a:pt x="759" y="387"/>
                      </a:lnTo>
                      <a:lnTo>
                        <a:pt x="844" y="387"/>
                      </a:lnTo>
                      <a:lnTo>
                        <a:pt x="860" y="399"/>
                      </a:lnTo>
                      <a:lnTo>
                        <a:pt x="851" y="420"/>
                      </a:lnTo>
                      <a:lnTo>
                        <a:pt x="877" y="437"/>
                      </a:lnTo>
                      <a:lnTo>
                        <a:pt x="889" y="437"/>
                      </a:lnTo>
                      <a:lnTo>
                        <a:pt x="889" y="411"/>
                      </a:lnTo>
                      <a:lnTo>
                        <a:pt x="919" y="383"/>
                      </a:lnTo>
                      <a:lnTo>
                        <a:pt x="919" y="371"/>
                      </a:lnTo>
                      <a:lnTo>
                        <a:pt x="957" y="345"/>
                      </a:lnTo>
                      <a:lnTo>
                        <a:pt x="985" y="345"/>
                      </a:lnTo>
                      <a:lnTo>
                        <a:pt x="1011" y="309"/>
                      </a:lnTo>
                      <a:lnTo>
                        <a:pt x="1028" y="316"/>
                      </a:lnTo>
                      <a:lnTo>
                        <a:pt x="1040" y="300"/>
                      </a:lnTo>
                      <a:lnTo>
                        <a:pt x="1049" y="293"/>
                      </a:lnTo>
                      <a:lnTo>
                        <a:pt x="1061" y="283"/>
                      </a:lnTo>
                      <a:lnTo>
                        <a:pt x="1078" y="300"/>
                      </a:lnTo>
                      <a:lnTo>
                        <a:pt x="1044" y="309"/>
                      </a:lnTo>
                      <a:lnTo>
                        <a:pt x="1044" y="328"/>
                      </a:lnTo>
                      <a:lnTo>
                        <a:pt x="1040" y="328"/>
                      </a:lnTo>
                      <a:lnTo>
                        <a:pt x="995" y="354"/>
                      </a:lnTo>
                      <a:lnTo>
                        <a:pt x="1023" y="366"/>
                      </a:lnTo>
                      <a:lnTo>
                        <a:pt x="1040" y="366"/>
                      </a:lnTo>
                      <a:lnTo>
                        <a:pt x="1044" y="383"/>
                      </a:lnTo>
                      <a:lnTo>
                        <a:pt x="1082" y="387"/>
                      </a:lnTo>
                      <a:lnTo>
                        <a:pt x="1082" y="371"/>
                      </a:lnTo>
                      <a:lnTo>
                        <a:pt x="1099" y="371"/>
                      </a:lnTo>
                      <a:lnTo>
                        <a:pt x="1104" y="354"/>
                      </a:lnTo>
                      <a:lnTo>
                        <a:pt x="1120" y="371"/>
                      </a:lnTo>
                      <a:lnTo>
                        <a:pt x="1120" y="387"/>
                      </a:lnTo>
                      <a:lnTo>
                        <a:pt x="1137" y="387"/>
                      </a:lnTo>
                      <a:lnTo>
                        <a:pt x="1137" y="404"/>
                      </a:lnTo>
                      <a:lnTo>
                        <a:pt x="1153" y="399"/>
                      </a:lnTo>
                      <a:lnTo>
                        <a:pt x="1170" y="411"/>
                      </a:lnTo>
                      <a:lnTo>
                        <a:pt x="1207" y="420"/>
                      </a:lnTo>
                      <a:lnTo>
                        <a:pt x="1186" y="427"/>
                      </a:lnTo>
                      <a:lnTo>
                        <a:pt x="1170" y="444"/>
                      </a:lnTo>
                      <a:lnTo>
                        <a:pt x="1153" y="437"/>
                      </a:lnTo>
                      <a:lnTo>
                        <a:pt x="1153" y="456"/>
                      </a:lnTo>
                      <a:lnTo>
                        <a:pt x="1137" y="456"/>
                      </a:lnTo>
                      <a:lnTo>
                        <a:pt x="1132" y="460"/>
                      </a:lnTo>
                      <a:lnTo>
                        <a:pt x="1132" y="465"/>
                      </a:lnTo>
                      <a:lnTo>
                        <a:pt x="1104" y="477"/>
                      </a:lnTo>
                      <a:lnTo>
                        <a:pt x="1082" y="460"/>
                      </a:lnTo>
                      <a:lnTo>
                        <a:pt x="1049" y="465"/>
                      </a:lnTo>
                      <a:lnTo>
                        <a:pt x="1028" y="465"/>
                      </a:lnTo>
                      <a:lnTo>
                        <a:pt x="1011" y="456"/>
                      </a:lnTo>
                      <a:lnTo>
                        <a:pt x="1011" y="456"/>
                      </a:lnTo>
                      <a:lnTo>
                        <a:pt x="1044" y="427"/>
                      </a:lnTo>
                      <a:lnTo>
                        <a:pt x="1011" y="399"/>
                      </a:lnTo>
                      <a:lnTo>
                        <a:pt x="1007" y="411"/>
                      </a:lnTo>
                      <a:lnTo>
                        <a:pt x="969" y="437"/>
                      </a:lnTo>
                      <a:lnTo>
                        <a:pt x="943" y="420"/>
                      </a:lnTo>
                      <a:lnTo>
                        <a:pt x="943" y="420"/>
                      </a:lnTo>
                      <a:lnTo>
                        <a:pt x="936" y="444"/>
                      </a:lnTo>
                      <a:lnTo>
                        <a:pt x="936" y="465"/>
                      </a:lnTo>
                      <a:lnTo>
                        <a:pt x="889" y="477"/>
                      </a:lnTo>
                      <a:lnTo>
                        <a:pt x="915" y="477"/>
                      </a:lnTo>
                      <a:lnTo>
                        <a:pt x="898" y="482"/>
                      </a:lnTo>
                      <a:lnTo>
                        <a:pt x="905" y="498"/>
                      </a:lnTo>
                      <a:lnTo>
                        <a:pt x="889" y="498"/>
                      </a:lnTo>
                      <a:lnTo>
                        <a:pt x="889" y="498"/>
                      </a:lnTo>
                      <a:lnTo>
                        <a:pt x="889" y="498"/>
                      </a:lnTo>
                      <a:close/>
                    </a:path>
                  </a:pathLst>
                </a:custGeom>
                <a:grpFill/>
                <a:ln w="6350" cap="rnd">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3465" name="Gruppieren 3464">
            <a:extLst>
              <a:ext uri="{FF2B5EF4-FFF2-40B4-BE49-F238E27FC236}">
                <a16:creationId xmlns:a16="http://schemas.microsoft.com/office/drawing/2014/main" id="{28A09F5D-2755-4B04-9A5E-19CC8F9EE273}"/>
              </a:ext>
            </a:extLst>
          </p:cNvPr>
          <p:cNvGrpSpPr/>
          <p:nvPr/>
        </p:nvGrpSpPr>
        <p:grpSpPr bwMode="gray">
          <a:xfrm>
            <a:off x="7222132" y="325263"/>
            <a:ext cx="4631844" cy="5810739"/>
            <a:chOff x="8473775" y="2306210"/>
            <a:chExt cx="2843406" cy="3567109"/>
          </a:xfrm>
          <a:pattFill prst="ltHorz">
            <a:fgClr>
              <a:schemeClr val="accent2"/>
            </a:fgClr>
            <a:bgClr>
              <a:schemeClr val="bg1"/>
            </a:bgClr>
          </a:pattFill>
        </p:grpSpPr>
        <p:sp>
          <p:nvSpPr>
            <p:cNvPr id="3466" name="Freeform 379">
              <a:extLst>
                <a:ext uri="{FF2B5EF4-FFF2-40B4-BE49-F238E27FC236}">
                  <a16:creationId xmlns:a16="http://schemas.microsoft.com/office/drawing/2014/main" id="{B5B44496-8BE8-400E-9CB4-8280A6FF334D}"/>
                </a:ext>
              </a:extLst>
            </p:cNvPr>
            <p:cNvSpPr>
              <a:spLocks/>
            </p:cNvSpPr>
            <p:nvPr/>
          </p:nvSpPr>
          <p:spPr bwMode="gray">
            <a:xfrm>
              <a:off x="8473775" y="2866557"/>
              <a:ext cx="414964" cy="299318"/>
            </a:xfrm>
            <a:custGeom>
              <a:avLst/>
              <a:gdLst>
                <a:gd name="T0" fmla="*/ 75 w 1008"/>
                <a:gd name="T1" fmla="*/ 243 h 727"/>
                <a:gd name="T2" fmla="*/ 137 w 1008"/>
                <a:gd name="T3" fmla="*/ 260 h 727"/>
                <a:gd name="T4" fmla="*/ 184 w 1008"/>
                <a:gd name="T5" fmla="*/ 234 h 727"/>
                <a:gd name="T6" fmla="*/ 243 w 1008"/>
                <a:gd name="T7" fmla="*/ 193 h 727"/>
                <a:gd name="T8" fmla="*/ 297 w 1008"/>
                <a:gd name="T9" fmla="*/ 111 h 727"/>
                <a:gd name="T10" fmla="*/ 361 w 1008"/>
                <a:gd name="T11" fmla="*/ 78 h 727"/>
                <a:gd name="T12" fmla="*/ 453 w 1008"/>
                <a:gd name="T13" fmla="*/ 82 h 727"/>
                <a:gd name="T14" fmla="*/ 508 w 1008"/>
                <a:gd name="T15" fmla="*/ 99 h 727"/>
                <a:gd name="T16" fmla="*/ 583 w 1008"/>
                <a:gd name="T17" fmla="*/ 94 h 727"/>
                <a:gd name="T18" fmla="*/ 621 w 1008"/>
                <a:gd name="T19" fmla="*/ 82 h 727"/>
                <a:gd name="T20" fmla="*/ 675 w 1008"/>
                <a:gd name="T21" fmla="*/ 78 h 727"/>
                <a:gd name="T22" fmla="*/ 718 w 1008"/>
                <a:gd name="T23" fmla="*/ 0 h 727"/>
                <a:gd name="T24" fmla="*/ 756 w 1008"/>
                <a:gd name="T25" fmla="*/ 42 h 727"/>
                <a:gd name="T26" fmla="*/ 777 w 1008"/>
                <a:gd name="T27" fmla="*/ 139 h 727"/>
                <a:gd name="T28" fmla="*/ 826 w 1008"/>
                <a:gd name="T29" fmla="*/ 115 h 727"/>
                <a:gd name="T30" fmla="*/ 890 w 1008"/>
                <a:gd name="T31" fmla="*/ 78 h 727"/>
                <a:gd name="T32" fmla="*/ 919 w 1008"/>
                <a:gd name="T33" fmla="*/ 94 h 727"/>
                <a:gd name="T34" fmla="*/ 994 w 1008"/>
                <a:gd name="T35" fmla="*/ 82 h 727"/>
                <a:gd name="T36" fmla="*/ 999 w 1008"/>
                <a:gd name="T37" fmla="*/ 94 h 727"/>
                <a:gd name="T38" fmla="*/ 987 w 1008"/>
                <a:gd name="T39" fmla="*/ 120 h 727"/>
                <a:gd name="T40" fmla="*/ 923 w 1008"/>
                <a:gd name="T41" fmla="*/ 120 h 727"/>
                <a:gd name="T42" fmla="*/ 784 w 1008"/>
                <a:gd name="T43" fmla="*/ 165 h 727"/>
                <a:gd name="T44" fmla="*/ 756 w 1008"/>
                <a:gd name="T45" fmla="*/ 189 h 727"/>
                <a:gd name="T46" fmla="*/ 777 w 1008"/>
                <a:gd name="T47" fmla="*/ 250 h 727"/>
                <a:gd name="T48" fmla="*/ 772 w 1008"/>
                <a:gd name="T49" fmla="*/ 283 h 727"/>
                <a:gd name="T50" fmla="*/ 730 w 1008"/>
                <a:gd name="T51" fmla="*/ 321 h 727"/>
                <a:gd name="T52" fmla="*/ 701 w 1008"/>
                <a:gd name="T53" fmla="*/ 373 h 727"/>
                <a:gd name="T54" fmla="*/ 663 w 1008"/>
                <a:gd name="T55" fmla="*/ 390 h 727"/>
                <a:gd name="T56" fmla="*/ 685 w 1008"/>
                <a:gd name="T57" fmla="*/ 415 h 727"/>
                <a:gd name="T58" fmla="*/ 633 w 1008"/>
                <a:gd name="T59" fmla="*/ 456 h 727"/>
                <a:gd name="T60" fmla="*/ 616 w 1008"/>
                <a:gd name="T61" fmla="*/ 489 h 727"/>
                <a:gd name="T62" fmla="*/ 583 w 1008"/>
                <a:gd name="T63" fmla="*/ 562 h 727"/>
                <a:gd name="T64" fmla="*/ 562 w 1008"/>
                <a:gd name="T65" fmla="*/ 545 h 727"/>
                <a:gd name="T66" fmla="*/ 491 w 1008"/>
                <a:gd name="T67" fmla="*/ 562 h 727"/>
                <a:gd name="T68" fmla="*/ 453 w 1008"/>
                <a:gd name="T69" fmla="*/ 578 h 727"/>
                <a:gd name="T70" fmla="*/ 415 w 1008"/>
                <a:gd name="T71" fmla="*/ 612 h 727"/>
                <a:gd name="T72" fmla="*/ 399 w 1008"/>
                <a:gd name="T73" fmla="*/ 678 h 727"/>
                <a:gd name="T74" fmla="*/ 314 w 1008"/>
                <a:gd name="T75" fmla="*/ 723 h 727"/>
                <a:gd name="T76" fmla="*/ 217 w 1008"/>
                <a:gd name="T77" fmla="*/ 723 h 727"/>
                <a:gd name="T78" fmla="*/ 23 w 1008"/>
                <a:gd name="T79" fmla="*/ 694 h 727"/>
                <a:gd name="T80" fmla="*/ 82 w 1008"/>
                <a:gd name="T81" fmla="*/ 578 h 727"/>
                <a:gd name="T82" fmla="*/ 23 w 1008"/>
                <a:gd name="T83" fmla="*/ 505 h 727"/>
                <a:gd name="T84" fmla="*/ 0 w 1008"/>
                <a:gd name="T85" fmla="*/ 394 h 727"/>
                <a:gd name="T86" fmla="*/ 23 w 1008"/>
                <a:gd name="T87" fmla="*/ 338 h 727"/>
                <a:gd name="T88" fmla="*/ 37 w 1008"/>
                <a:gd name="T89" fmla="*/ 300 h 727"/>
                <a:gd name="T90" fmla="*/ 54 w 1008"/>
                <a:gd name="T91" fmla="*/ 23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08" h="727">
                  <a:moveTo>
                    <a:pt x="54" y="234"/>
                  </a:moveTo>
                  <a:lnTo>
                    <a:pt x="61" y="227"/>
                  </a:lnTo>
                  <a:lnTo>
                    <a:pt x="75" y="243"/>
                  </a:lnTo>
                  <a:lnTo>
                    <a:pt x="108" y="243"/>
                  </a:lnTo>
                  <a:lnTo>
                    <a:pt x="120" y="267"/>
                  </a:lnTo>
                  <a:lnTo>
                    <a:pt x="137" y="260"/>
                  </a:lnTo>
                  <a:lnTo>
                    <a:pt x="151" y="260"/>
                  </a:lnTo>
                  <a:lnTo>
                    <a:pt x="184" y="243"/>
                  </a:lnTo>
                  <a:lnTo>
                    <a:pt x="184" y="234"/>
                  </a:lnTo>
                  <a:lnTo>
                    <a:pt x="184" y="227"/>
                  </a:lnTo>
                  <a:lnTo>
                    <a:pt x="184" y="210"/>
                  </a:lnTo>
                  <a:lnTo>
                    <a:pt x="243" y="193"/>
                  </a:lnTo>
                  <a:lnTo>
                    <a:pt x="276" y="177"/>
                  </a:lnTo>
                  <a:lnTo>
                    <a:pt x="297" y="120"/>
                  </a:lnTo>
                  <a:lnTo>
                    <a:pt x="297" y="111"/>
                  </a:lnTo>
                  <a:lnTo>
                    <a:pt x="323" y="99"/>
                  </a:lnTo>
                  <a:lnTo>
                    <a:pt x="352" y="99"/>
                  </a:lnTo>
                  <a:lnTo>
                    <a:pt x="361" y="78"/>
                  </a:lnTo>
                  <a:lnTo>
                    <a:pt x="406" y="94"/>
                  </a:lnTo>
                  <a:lnTo>
                    <a:pt x="422" y="82"/>
                  </a:lnTo>
                  <a:lnTo>
                    <a:pt x="453" y="82"/>
                  </a:lnTo>
                  <a:lnTo>
                    <a:pt x="470" y="99"/>
                  </a:lnTo>
                  <a:lnTo>
                    <a:pt x="491" y="94"/>
                  </a:lnTo>
                  <a:lnTo>
                    <a:pt x="508" y="99"/>
                  </a:lnTo>
                  <a:lnTo>
                    <a:pt x="508" y="111"/>
                  </a:lnTo>
                  <a:lnTo>
                    <a:pt x="529" y="120"/>
                  </a:lnTo>
                  <a:lnTo>
                    <a:pt x="583" y="94"/>
                  </a:lnTo>
                  <a:lnTo>
                    <a:pt x="616" y="111"/>
                  </a:lnTo>
                  <a:lnTo>
                    <a:pt x="621" y="99"/>
                  </a:lnTo>
                  <a:lnTo>
                    <a:pt x="621" y="82"/>
                  </a:lnTo>
                  <a:lnTo>
                    <a:pt x="633" y="66"/>
                  </a:lnTo>
                  <a:lnTo>
                    <a:pt x="654" y="66"/>
                  </a:lnTo>
                  <a:lnTo>
                    <a:pt x="675" y="78"/>
                  </a:lnTo>
                  <a:lnTo>
                    <a:pt x="685" y="61"/>
                  </a:lnTo>
                  <a:lnTo>
                    <a:pt x="675" y="38"/>
                  </a:lnTo>
                  <a:lnTo>
                    <a:pt x="718" y="0"/>
                  </a:lnTo>
                  <a:lnTo>
                    <a:pt x="730" y="0"/>
                  </a:lnTo>
                  <a:lnTo>
                    <a:pt x="760" y="9"/>
                  </a:lnTo>
                  <a:lnTo>
                    <a:pt x="756" y="42"/>
                  </a:lnTo>
                  <a:lnTo>
                    <a:pt x="777" y="42"/>
                  </a:lnTo>
                  <a:lnTo>
                    <a:pt x="760" y="111"/>
                  </a:lnTo>
                  <a:lnTo>
                    <a:pt x="777" y="139"/>
                  </a:lnTo>
                  <a:lnTo>
                    <a:pt x="784" y="149"/>
                  </a:lnTo>
                  <a:lnTo>
                    <a:pt x="793" y="139"/>
                  </a:lnTo>
                  <a:lnTo>
                    <a:pt x="826" y="115"/>
                  </a:lnTo>
                  <a:lnTo>
                    <a:pt x="852" y="115"/>
                  </a:lnTo>
                  <a:lnTo>
                    <a:pt x="864" y="99"/>
                  </a:lnTo>
                  <a:lnTo>
                    <a:pt x="890" y="78"/>
                  </a:lnTo>
                  <a:lnTo>
                    <a:pt x="933" y="82"/>
                  </a:lnTo>
                  <a:lnTo>
                    <a:pt x="933" y="94"/>
                  </a:lnTo>
                  <a:lnTo>
                    <a:pt x="919" y="94"/>
                  </a:lnTo>
                  <a:lnTo>
                    <a:pt x="923" y="99"/>
                  </a:lnTo>
                  <a:lnTo>
                    <a:pt x="961" y="82"/>
                  </a:lnTo>
                  <a:lnTo>
                    <a:pt x="994" y="82"/>
                  </a:lnTo>
                  <a:lnTo>
                    <a:pt x="1008" y="99"/>
                  </a:lnTo>
                  <a:lnTo>
                    <a:pt x="999" y="99"/>
                  </a:lnTo>
                  <a:lnTo>
                    <a:pt x="999" y="94"/>
                  </a:lnTo>
                  <a:lnTo>
                    <a:pt x="971" y="99"/>
                  </a:lnTo>
                  <a:lnTo>
                    <a:pt x="987" y="115"/>
                  </a:lnTo>
                  <a:lnTo>
                    <a:pt x="987" y="120"/>
                  </a:lnTo>
                  <a:lnTo>
                    <a:pt x="978" y="115"/>
                  </a:lnTo>
                  <a:lnTo>
                    <a:pt x="945" y="132"/>
                  </a:lnTo>
                  <a:lnTo>
                    <a:pt x="923" y="120"/>
                  </a:lnTo>
                  <a:lnTo>
                    <a:pt x="848" y="132"/>
                  </a:lnTo>
                  <a:lnTo>
                    <a:pt x="815" y="139"/>
                  </a:lnTo>
                  <a:lnTo>
                    <a:pt x="784" y="165"/>
                  </a:lnTo>
                  <a:lnTo>
                    <a:pt x="777" y="165"/>
                  </a:lnTo>
                  <a:lnTo>
                    <a:pt x="777" y="172"/>
                  </a:lnTo>
                  <a:lnTo>
                    <a:pt x="756" y="189"/>
                  </a:lnTo>
                  <a:lnTo>
                    <a:pt x="746" y="193"/>
                  </a:lnTo>
                  <a:lnTo>
                    <a:pt x="772" y="210"/>
                  </a:lnTo>
                  <a:lnTo>
                    <a:pt x="777" y="250"/>
                  </a:lnTo>
                  <a:lnTo>
                    <a:pt x="772" y="260"/>
                  </a:lnTo>
                  <a:lnTo>
                    <a:pt x="777" y="267"/>
                  </a:lnTo>
                  <a:lnTo>
                    <a:pt x="772" y="283"/>
                  </a:lnTo>
                  <a:lnTo>
                    <a:pt x="739" y="304"/>
                  </a:lnTo>
                  <a:lnTo>
                    <a:pt x="739" y="316"/>
                  </a:lnTo>
                  <a:lnTo>
                    <a:pt x="730" y="321"/>
                  </a:lnTo>
                  <a:lnTo>
                    <a:pt x="746" y="338"/>
                  </a:lnTo>
                  <a:lnTo>
                    <a:pt x="739" y="361"/>
                  </a:lnTo>
                  <a:lnTo>
                    <a:pt x="701" y="373"/>
                  </a:lnTo>
                  <a:lnTo>
                    <a:pt x="654" y="361"/>
                  </a:lnTo>
                  <a:lnTo>
                    <a:pt x="663" y="378"/>
                  </a:lnTo>
                  <a:lnTo>
                    <a:pt x="663" y="390"/>
                  </a:lnTo>
                  <a:lnTo>
                    <a:pt x="675" y="390"/>
                  </a:lnTo>
                  <a:lnTo>
                    <a:pt x="675" y="399"/>
                  </a:lnTo>
                  <a:lnTo>
                    <a:pt x="685" y="415"/>
                  </a:lnTo>
                  <a:lnTo>
                    <a:pt x="671" y="434"/>
                  </a:lnTo>
                  <a:lnTo>
                    <a:pt x="633" y="444"/>
                  </a:lnTo>
                  <a:lnTo>
                    <a:pt x="633" y="456"/>
                  </a:lnTo>
                  <a:lnTo>
                    <a:pt x="621" y="467"/>
                  </a:lnTo>
                  <a:lnTo>
                    <a:pt x="621" y="472"/>
                  </a:lnTo>
                  <a:lnTo>
                    <a:pt x="616" y="489"/>
                  </a:lnTo>
                  <a:lnTo>
                    <a:pt x="616" y="529"/>
                  </a:lnTo>
                  <a:lnTo>
                    <a:pt x="600" y="555"/>
                  </a:lnTo>
                  <a:lnTo>
                    <a:pt x="583" y="562"/>
                  </a:lnTo>
                  <a:lnTo>
                    <a:pt x="562" y="538"/>
                  </a:lnTo>
                  <a:lnTo>
                    <a:pt x="557" y="545"/>
                  </a:lnTo>
                  <a:lnTo>
                    <a:pt x="562" y="545"/>
                  </a:lnTo>
                  <a:lnTo>
                    <a:pt x="541" y="538"/>
                  </a:lnTo>
                  <a:lnTo>
                    <a:pt x="524" y="555"/>
                  </a:lnTo>
                  <a:lnTo>
                    <a:pt x="491" y="562"/>
                  </a:lnTo>
                  <a:lnTo>
                    <a:pt x="508" y="578"/>
                  </a:lnTo>
                  <a:lnTo>
                    <a:pt x="474" y="583"/>
                  </a:lnTo>
                  <a:lnTo>
                    <a:pt x="453" y="578"/>
                  </a:lnTo>
                  <a:lnTo>
                    <a:pt x="437" y="583"/>
                  </a:lnTo>
                  <a:lnTo>
                    <a:pt x="422" y="612"/>
                  </a:lnTo>
                  <a:lnTo>
                    <a:pt x="415" y="612"/>
                  </a:lnTo>
                  <a:lnTo>
                    <a:pt x="406" y="640"/>
                  </a:lnTo>
                  <a:lnTo>
                    <a:pt x="406" y="668"/>
                  </a:lnTo>
                  <a:lnTo>
                    <a:pt x="399" y="678"/>
                  </a:lnTo>
                  <a:lnTo>
                    <a:pt x="406" y="689"/>
                  </a:lnTo>
                  <a:lnTo>
                    <a:pt x="399" y="694"/>
                  </a:lnTo>
                  <a:lnTo>
                    <a:pt x="314" y="723"/>
                  </a:lnTo>
                  <a:lnTo>
                    <a:pt x="271" y="723"/>
                  </a:lnTo>
                  <a:lnTo>
                    <a:pt x="243" y="727"/>
                  </a:lnTo>
                  <a:lnTo>
                    <a:pt x="217" y="723"/>
                  </a:lnTo>
                  <a:lnTo>
                    <a:pt x="189" y="727"/>
                  </a:lnTo>
                  <a:lnTo>
                    <a:pt x="137" y="727"/>
                  </a:lnTo>
                  <a:lnTo>
                    <a:pt x="23" y="694"/>
                  </a:lnTo>
                  <a:lnTo>
                    <a:pt x="82" y="623"/>
                  </a:lnTo>
                  <a:lnTo>
                    <a:pt x="92" y="600"/>
                  </a:lnTo>
                  <a:lnTo>
                    <a:pt x="82" y="578"/>
                  </a:lnTo>
                  <a:lnTo>
                    <a:pt x="23" y="567"/>
                  </a:lnTo>
                  <a:lnTo>
                    <a:pt x="23" y="529"/>
                  </a:lnTo>
                  <a:lnTo>
                    <a:pt x="23" y="505"/>
                  </a:lnTo>
                  <a:lnTo>
                    <a:pt x="7" y="434"/>
                  </a:lnTo>
                  <a:lnTo>
                    <a:pt x="28" y="399"/>
                  </a:lnTo>
                  <a:lnTo>
                    <a:pt x="0" y="394"/>
                  </a:lnTo>
                  <a:lnTo>
                    <a:pt x="0" y="354"/>
                  </a:lnTo>
                  <a:lnTo>
                    <a:pt x="7" y="338"/>
                  </a:lnTo>
                  <a:lnTo>
                    <a:pt x="23" y="338"/>
                  </a:lnTo>
                  <a:lnTo>
                    <a:pt x="11" y="321"/>
                  </a:lnTo>
                  <a:lnTo>
                    <a:pt x="28" y="316"/>
                  </a:lnTo>
                  <a:lnTo>
                    <a:pt x="37" y="300"/>
                  </a:lnTo>
                  <a:lnTo>
                    <a:pt x="37" y="260"/>
                  </a:lnTo>
                  <a:lnTo>
                    <a:pt x="54" y="234"/>
                  </a:lnTo>
                  <a:lnTo>
                    <a:pt x="54" y="234"/>
                  </a:lnTo>
                  <a:lnTo>
                    <a:pt x="54" y="23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67" name="Freeform 388">
              <a:extLst>
                <a:ext uri="{FF2B5EF4-FFF2-40B4-BE49-F238E27FC236}">
                  <a16:creationId xmlns:a16="http://schemas.microsoft.com/office/drawing/2014/main" id="{004A8FBF-18B4-4804-8F6A-1BAD9E243551}"/>
                </a:ext>
              </a:extLst>
            </p:cNvPr>
            <p:cNvSpPr>
              <a:spLocks noEditPoints="1"/>
            </p:cNvSpPr>
            <p:nvPr/>
          </p:nvSpPr>
          <p:spPr bwMode="gray">
            <a:xfrm>
              <a:off x="9987898" y="4363968"/>
              <a:ext cx="1329283" cy="1509351"/>
            </a:xfrm>
            <a:custGeom>
              <a:avLst/>
              <a:gdLst>
                <a:gd name="T0" fmla="*/ 2050 w 3229"/>
                <a:gd name="T1" fmla="*/ 41 h 3666"/>
                <a:gd name="T2" fmla="*/ 2239 w 3229"/>
                <a:gd name="T3" fmla="*/ 2190 h 3666"/>
                <a:gd name="T4" fmla="*/ 1939 w 3229"/>
                <a:gd name="T5" fmla="*/ 2152 h 3666"/>
                <a:gd name="T6" fmla="*/ 1835 w 3229"/>
                <a:gd name="T7" fmla="*/ 1930 h 3666"/>
                <a:gd name="T8" fmla="*/ 1712 w 3229"/>
                <a:gd name="T9" fmla="*/ 1902 h 3666"/>
                <a:gd name="T10" fmla="*/ 1603 w 3229"/>
                <a:gd name="T11" fmla="*/ 1885 h 3666"/>
                <a:gd name="T12" fmla="*/ 1495 w 3229"/>
                <a:gd name="T13" fmla="*/ 1746 h 3666"/>
                <a:gd name="T14" fmla="*/ 1204 w 3229"/>
                <a:gd name="T15" fmla="*/ 1630 h 3666"/>
                <a:gd name="T16" fmla="*/ 621 w 3229"/>
                <a:gd name="T17" fmla="*/ 1815 h 3666"/>
                <a:gd name="T18" fmla="*/ 309 w 3229"/>
                <a:gd name="T19" fmla="*/ 1902 h 3666"/>
                <a:gd name="T20" fmla="*/ 196 w 3229"/>
                <a:gd name="T21" fmla="*/ 1647 h 3666"/>
                <a:gd name="T22" fmla="*/ 49 w 3229"/>
                <a:gd name="T23" fmla="*/ 1243 h 3666"/>
                <a:gd name="T24" fmla="*/ 33 w 3229"/>
                <a:gd name="T25" fmla="*/ 1071 h 3666"/>
                <a:gd name="T26" fmla="*/ 285 w 3229"/>
                <a:gd name="T27" fmla="*/ 782 h 3666"/>
                <a:gd name="T28" fmla="*/ 649 w 3229"/>
                <a:gd name="T29" fmla="*/ 527 h 3666"/>
                <a:gd name="T30" fmla="*/ 751 w 3229"/>
                <a:gd name="T31" fmla="*/ 482 h 3666"/>
                <a:gd name="T32" fmla="*/ 836 w 3229"/>
                <a:gd name="T33" fmla="*/ 466 h 3666"/>
                <a:gd name="T34" fmla="*/ 848 w 3229"/>
                <a:gd name="T35" fmla="*/ 388 h 3666"/>
                <a:gd name="T36" fmla="*/ 890 w 3229"/>
                <a:gd name="T37" fmla="*/ 305 h 3666"/>
                <a:gd name="T38" fmla="*/ 956 w 3229"/>
                <a:gd name="T39" fmla="*/ 305 h 3666"/>
                <a:gd name="T40" fmla="*/ 1091 w 3229"/>
                <a:gd name="T41" fmla="*/ 362 h 3666"/>
                <a:gd name="T42" fmla="*/ 1171 w 3229"/>
                <a:gd name="T43" fmla="*/ 345 h 3666"/>
                <a:gd name="T44" fmla="*/ 1226 w 3229"/>
                <a:gd name="T45" fmla="*/ 189 h 3666"/>
                <a:gd name="T46" fmla="*/ 1365 w 3229"/>
                <a:gd name="T47" fmla="*/ 156 h 3666"/>
                <a:gd name="T48" fmla="*/ 1419 w 3229"/>
                <a:gd name="T49" fmla="*/ 123 h 3666"/>
                <a:gd name="T50" fmla="*/ 1613 w 3229"/>
                <a:gd name="T51" fmla="*/ 123 h 3666"/>
                <a:gd name="T52" fmla="*/ 1674 w 3229"/>
                <a:gd name="T53" fmla="*/ 156 h 3666"/>
                <a:gd name="T54" fmla="*/ 1603 w 3229"/>
                <a:gd name="T55" fmla="*/ 305 h 3666"/>
                <a:gd name="T56" fmla="*/ 1953 w 3229"/>
                <a:gd name="T57" fmla="*/ 544 h 3666"/>
                <a:gd name="T58" fmla="*/ 2012 w 3229"/>
                <a:gd name="T59" fmla="*/ 178 h 3666"/>
                <a:gd name="T60" fmla="*/ 2121 w 3229"/>
                <a:gd name="T61" fmla="*/ 140 h 3666"/>
                <a:gd name="T62" fmla="*/ 2267 w 3229"/>
                <a:gd name="T63" fmla="*/ 355 h 3666"/>
                <a:gd name="T64" fmla="*/ 2414 w 3229"/>
                <a:gd name="T65" fmla="*/ 676 h 3666"/>
                <a:gd name="T66" fmla="*/ 2548 w 3229"/>
                <a:gd name="T67" fmla="*/ 832 h 3666"/>
                <a:gd name="T68" fmla="*/ 2671 w 3229"/>
                <a:gd name="T69" fmla="*/ 1004 h 3666"/>
                <a:gd name="T70" fmla="*/ 2822 w 3229"/>
                <a:gd name="T71" fmla="*/ 1304 h 3666"/>
                <a:gd name="T72" fmla="*/ 2700 w 3229"/>
                <a:gd name="T73" fmla="*/ 1774 h 3666"/>
                <a:gd name="T74" fmla="*/ 2603 w 3229"/>
                <a:gd name="T75" fmla="*/ 2079 h 3666"/>
                <a:gd name="T76" fmla="*/ 1667 w 3229"/>
                <a:gd name="T77" fmla="*/ 67 h 3666"/>
                <a:gd name="T78" fmla="*/ 1280 w 3229"/>
                <a:gd name="T79" fmla="*/ 100 h 3666"/>
                <a:gd name="T80" fmla="*/ 1226 w 3229"/>
                <a:gd name="T81" fmla="*/ 133 h 3666"/>
                <a:gd name="T82" fmla="*/ 1684 w 3229"/>
                <a:gd name="T83" fmla="*/ 300 h 3666"/>
                <a:gd name="T84" fmla="*/ 1629 w 3229"/>
                <a:gd name="T85" fmla="*/ 279 h 3666"/>
                <a:gd name="T86" fmla="*/ 810 w 3229"/>
                <a:gd name="T87" fmla="*/ 378 h 3666"/>
                <a:gd name="T88" fmla="*/ 1689 w 3229"/>
                <a:gd name="T89" fmla="*/ 428 h 3666"/>
                <a:gd name="T90" fmla="*/ 1835 w 3229"/>
                <a:gd name="T91" fmla="*/ 489 h 3666"/>
                <a:gd name="T92" fmla="*/ 2338 w 3229"/>
                <a:gd name="T93" fmla="*/ 622 h 3666"/>
                <a:gd name="T94" fmla="*/ 2520 w 3229"/>
                <a:gd name="T95" fmla="*/ 745 h 3666"/>
                <a:gd name="T96" fmla="*/ 2629 w 3229"/>
                <a:gd name="T97" fmla="*/ 910 h 3666"/>
                <a:gd name="T98" fmla="*/ 2834 w 3229"/>
                <a:gd name="T99" fmla="*/ 1115 h 3666"/>
                <a:gd name="T100" fmla="*/ 2839 w 3229"/>
                <a:gd name="T101" fmla="*/ 1297 h 3666"/>
                <a:gd name="T102" fmla="*/ 1651 w 3229"/>
                <a:gd name="T103" fmla="*/ 1980 h 3666"/>
                <a:gd name="T104" fmla="*/ 2267 w 3229"/>
                <a:gd name="T105" fmla="*/ 2202 h 3666"/>
                <a:gd name="T106" fmla="*/ 2187 w 3229"/>
                <a:gd name="T107" fmla="*/ 2313 h 3666"/>
                <a:gd name="T108" fmla="*/ 2461 w 3229"/>
                <a:gd name="T109" fmla="*/ 2363 h 3666"/>
                <a:gd name="T110" fmla="*/ 2466 w 3229"/>
                <a:gd name="T111" fmla="*/ 2363 h 3666"/>
                <a:gd name="T112" fmla="*/ 2305 w 3229"/>
                <a:gd name="T113" fmla="*/ 2606 h 3666"/>
                <a:gd name="T114" fmla="*/ 2385 w 3229"/>
                <a:gd name="T115" fmla="*/ 2417 h 3666"/>
                <a:gd name="T116" fmla="*/ 2456 w 3229"/>
                <a:gd name="T117" fmla="*/ 2596 h 3666"/>
                <a:gd name="T118" fmla="*/ 2390 w 3229"/>
                <a:gd name="T119" fmla="*/ 2606 h 3666"/>
                <a:gd name="T120" fmla="*/ 2414 w 3229"/>
                <a:gd name="T121" fmla="*/ 2596 h 3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29" h="3666">
                  <a:moveTo>
                    <a:pt x="2045" y="12"/>
                  </a:moveTo>
                  <a:lnTo>
                    <a:pt x="2045" y="5"/>
                  </a:lnTo>
                  <a:lnTo>
                    <a:pt x="2045" y="0"/>
                  </a:lnTo>
                  <a:lnTo>
                    <a:pt x="2045" y="12"/>
                  </a:lnTo>
                  <a:lnTo>
                    <a:pt x="2045" y="12"/>
                  </a:lnTo>
                  <a:lnTo>
                    <a:pt x="2045" y="12"/>
                  </a:lnTo>
                  <a:close/>
                  <a:moveTo>
                    <a:pt x="2050" y="12"/>
                  </a:moveTo>
                  <a:lnTo>
                    <a:pt x="2050" y="5"/>
                  </a:lnTo>
                  <a:lnTo>
                    <a:pt x="2062" y="12"/>
                  </a:lnTo>
                  <a:lnTo>
                    <a:pt x="2050" y="12"/>
                  </a:lnTo>
                  <a:lnTo>
                    <a:pt x="2050" y="12"/>
                  </a:lnTo>
                  <a:lnTo>
                    <a:pt x="2050" y="12"/>
                  </a:lnTo>
                  <a:close/>
                  <a:moveTo>
                    <a:pt x="2050" y="57"/>
                  </a:moveTo>
                  <a:lnTo>
                    <a:pt x="2045" y="45"/>
                  </a:lnTo>
                  <a:lnTo>
                    <a:pt x="2050" y="41"/>
                  </a:lnTo>
                  <a:lnTo>
                    <a:pt x="2050" y="45"/>
                  </a:lnTo>
                  <a:lnTo>
                    <a:pt x="2050" y="57"/>
                  </a:lnTo>
                  <a:lnTo>
                    <a:pt x="2050" y="57"/>
                  </a:lnTo>
                  <a:lnTo>
                    <a:pt x="2050" y="57"/>
                  </a:lnTo>
                  <a:close/>
                  <a:moveTo>
                    <a:pt x="2348" y="2247"/>
                  </a:moveTo>
                  <a:lnTo>
                    <a:pt x="2331" y="2219"/>
                  </a:lnTo>
                  <a:lnTo>
                    <a:pt x="2305" y="2223"/>
                  </a:lnTo>
                  <a:lnTo>
                    <a:pt x="2305" y="2202"/>
                  </a:lnTo>
                  <a:lnTo>
                    <a:pt x="2293" y="2207"/>
                  </a:lnTo>
                  <a:lnTo>
                    <a:pt x="2277" y="2190"/>
                  </a:lnTo>
                  <a:lnTo>
                    <a:pt x="2284" y="2181"/>
                  </a:lnTo>
                  <a:lnTo>
                    <a:pt x="2277" y="2169"/>
                  </a:lnTo>
                  <a:lnTo>
                    <a:pt x="2267" y="2169"/>
                  </a:lnTo>
                  <a:lnTo>
                    <a:pt x="2251" y="2190"/>
                  </a:lnTo>
                  <a:lnTo>
                    <a:pt x="2239" y="2190"/>
                  </a:lnTo>
                  <a:lnTo>
                    <a:pt x="2229" y="2181"/>
                  </a:lnTo>
                  <a:lnTo>
                    <a:pt x="2246" y="2181"/>
                  </a:lnTo>
                  <a:lnTo>
                    <a:pt x="2251" y="2164"/>
                  </a:lnTo>
                  <a:lnTo>
                    <a:pt x="2246" y="2136"/>
                  </a:lnTo>
                  <a:lnTo>
                    <a:pt x="2196" y="2164"/>
                  </a:lnTo>
                  <a:lnTo>
                    <a:pt x="2225" y="2164"/>
                  </a:lnTo>
                  <a:lnTo>
                    <a:pt x="2225" y="2181"/>
                  </a:lnTo>
                  <a:lnTo>
                    <a:pt x="2196" y="2181"/>
                  </a:lnTo>
                  <a:lnTo>
                    <a:pt x="2142" y="2223"/>
                  </a:lnTo>
                  <a:lnTo>
                    <a:pt x="2062" y="2181"/>
                  </a:lnTo>
                  <a:lnTo>
                    <a:pt x="2045" y="2185"/>
                  </a:lnTo>
                  <a:lnTo>
                    <a:pt x="2024" y="2169"/>
                  </a:lnTo>
                  <a:lnTo>
                    <a:pt x="2007" y="2185"/>
                  </a:lnTo>
                  <a:lnTo>
                    <a:pt x="1977" y="2164"/>
                  </a:lnTo>
                  <a:lnTo>
                    <a:pt x="1939" y="2152"/>
                  </a:lnTo>
                  <a:lnTo>
                    <a:pt x="1873" y="2079"/>
                  </a:lnTo>
                  <a:lnTo>
                    <a:pt x="1873" y="2058"/>
                  </a:lnTo>
                  <a:lnTo>
                    <a:pt x="1885" y="2053"/>
                  </a:lnTo>
                  <a:lnTo>
                    <a:pt x="1885" y="2025"/>
                  </a:lnTo>
                  <a:lnTo>
                    <a:pt x="1873" y="2001"/>
                  </a:lnTo>
                  <a:lnTo>
                    <a:pt x="1830" y="1959"/>
                  </a:lnTo>
                  <a:lnTo>
                    <a:pt x="1852" y="1968"/>
                  </a:lnTo>
                  <a:lnTo>
                    <a:pt x="1873" y="2001"/>
                  </a:lnTo>
                  <a:lnTo>
                    <a:pt x="1868" y="1985"/>
                  </a:lnTo>
                  <a:lnTo>
                    <a:pt x="1835" y="1959"/>
                  </a:lnTo>
                  <a:lnTo>
                    <a:pt x="1835" y="1942"/>
                  </a:lnTo>
                  <a:lnTo>
                    <a:pt x="1847" y="1959"/>
                  </a:lnTo>
                  <a:lnTo>
                    <a:pt x="1852" y="1959"/>
                  </a:lnTo>
                  <a:lnTo>
                    <a:pt x="1852" y="1930"/>
                  </a:lnTo>
                  <a:lnTo>
                    <a:pt x="1835" y="1930"/>
                  </a:lnTo>
                  <a:lnTo>
                    <a:pt x="1818" y="1942"/>
                  </a:lnTo>
                  <a:lnTo>
                    <a:pt x="1830" y="1947"/>
                  </a:lnTo>
                  <a:lnTo>
                    <a:pt x="1809" y="1947"/>
                  </a:lnTo>
                  <a:lnTo>
                    <a:pt x="1792" y="1959"/>
                  </a:lnTo>
                  <a:lnTo>
                    <a:pt x="1759" y="1959"/>
                  </a:lnTo>
                  <a:lnTo>
                    <a:pt x="1792" y="1930"/>
                  </a:lnTo>
                  <a:lnTo>
                    <a:pt x="1792" y="1909"/>
                  </a:lnTo>
                  <a:lnTo>
                    <a:pt x="1792" y="1874"/>
                  </a:lnTo>
                  <a:lnTo>
                    <a:pt x="1759" y="1831"/>
                  </a:lnTo>
                  <a:lnTo>
                    <a:pt x="1755" y="1857"/>
                  </a:lnTo>
                  <a:lnTo>
                    <a:pt x="1738" y="1914"/>
                  </a:lnTo>
                  <a:lnTo>
                    <a:pt x="1722" y="1909"/>
                  </a:lnTo>
                  <a:lnTo>
                    <a:pt x="1674" y="1926"/>
                  </a:lnTo>
                  <a:lnTo>
                    <a:pt x="1689" y="1893"/>
                  </a:lnTo>
                  <a:lnTo>
                    <a:pt x="1712" y="1902"/>
                  </a:lnTo>
                  <a:lnTo>
                    <a:pt x="1722" y="1874"/>
                  </a:lnTo>
                  <a:lnTo>
                    <a:pt x="1722" y="1836"/>
                  </a:lnTo>
                  <a:lnTo>
                    <a:pt x="1726" y="1815"/>
                  </a:lnTo>
                  <a:lnTo>
                    <a:pt x="1755" y="1791"/>
                  </a:lnTo>
                  <a:lnTo>
                    <a:pt x="1743" y="1765"/>
                  </a:lnTo>
                  <a:lnTo>
                    <a:pt x="1759" y="1746"/>
                  </a:lnTo>
                  <a:lnTo>
                    <a:pt x="1738" y="1704"/>
                  </a:lnTo>
                  <a:lnTo>
                    <a:pt x="1743" y="1741"/>
                  </a:lnTo>
                  <a:lnTo>
                    <a:pt x="1722" y="1746"/>
                  </a:lnTo>
                  <a:lnTo>
                    <a:pt x="1700" y="1798"/>
                  </a:lnTo>
                  <a:lnTo>
                    <a:pt x="1684" y="1798"/>
                  </a:lnTo>
                  <a:lnTo>
                    <a:pt x="1674" y="1803"/>
                  </a:lnTo>
                  <a:lnTo>
                    <a:pt x="1646" y="1819"/>
                  </a:lnTo>
                  <a:lnTo>
                    <a:pt x="1613" y="1869"/>
                  </a:lnTo>
                  <a:lnTo>
                    <a:pt x="1603" y="1885"/>
                  </a:lnTo>
                  <a:lnTo>
                    <a:pt x="1613" y="1885"/>
                  </a:lnTo>
                  <a:lnTo>
                    <a:pt x="1613" y="1902"/>
                  </a:lnTo>
                  <a:lnTo>
                    <a:pt x="1599" y="1893"/>
                  </a:lnTo>
                  <a:lnTo>
                    <a:pt x="1592" y="1902"/>
                  </a:lnTo>
                  <a:lnTo>
                    <a:pt x="1566" y="1869"/>
                  </a:lnTo>
                  <a:lnTo>
                    <a:pt x="1549" y="1869"/>
                  </a:lnTo>
                  <a:lnTo>
                    <a:pt x="1561" y="1852"/>
                  </a:lnTo>
                  <a:lnTo>
                    <a:pt x="1575" y="1874"/>
                  </a:lnTo>
                  <a:lnTo>
                    <a:pt x="1582" y="1869"/>
                  </a:lnTo>
                  <a:lnTo>
                    <a:pt x="1575" y="1869"/>
                  </a:lnTo>
                  <a:lnTo>
                    <a:pt x="1566" y="1819"/>
                  </a:lnTo>
                  <a:lnTo>
                    <a:pt x="1537" y="1791"/>
                  </a:lnTo>
                  <a:lnTo>
                    <a:pt x="1537" y="1782"/>
                  </a:lnTo>
                  <a:lnTo>
                    <a:pt x="1528" y="1758"/>
                  </a:lnTo>
                  <a:lnTo>
                    <a:pt x="1495" y="1746"/>
                  </a:lnTo>
                  <a:lnTo>
                    <a:pt x="1485" y="1720"/>
                  </a:lnTo>
                  <a:lnTo>
                    <a:pt x="1490" y="1725"/>
                  </a:lnTo>
                  <a:lnTo>
                    <a:pt x="1495" y="1720"/>
                  </a:lnTo>
                  <a:lnTo>
                    <a:pt x="1490" y="1704"/>
                  </a:lnTo>
                  <a:lnTo>
                    <a:pt x="1469" y="1704"/>
                  </a:lnTo>
                  <a:lnTo>
                    <a:pt x="1474" y="1692"/>
                  </a:lnTo>
                  <a:lnTo>
                    <a:pt x="1452" y="1670"/>
                  </a:lnTo>
                  <a:lnTo>
                    <a:pt x="1436" y="1680"/>
                  </a:lnTo>
                  <a:lnTo>
                    <a:pt x="1415" y="1680"/>
                  </a:lnTo>
                  <a:lnTo>
                    <a:pt x="1386" y="1654"/>
                  </a:lnTo>
                  <a:lnTo>
                    <a:pt x="1351" y="1663"/>
                  </a:lnTo>
                  <a:lnTo>
                    <a:pt x="1322" y="1637"/>
                  </a:lnTo>
                  <a:lnTo>
                    <a:pt x="1275" y="1614"/>
                  </a:lnTo>
                  <a:lnTo>
                    <a:pt x="1252" y="1630"/>
                  </a:lnTo>
                  <a:lnTo>
                    <a:pt x="1204" y="1630"/>
                  </a:lnTo>
                  <a:lnTo>
                    <a:pt x="1129" y="1637"/>
                  </a:lnTo>
                  <a:lnTo>
                    <a:pt x="1058" y="1670"/>
                  </a:lnTo>
                  <a:lnTo>
                    <a:pt x="1003" y="1687"/>
                  </a:lnTo>
                  <a:lnTo>
                    <a:pt x="911" y="1680"/>
                  </a:lnTo>
                  <a:lnTo>
                    <a:pt x="826" y="1737"/>
                  </a:lnTo>
                  <a:lnTo>
                    <a:pt x="793" y="1741"/>
                  </a:lnTo>
                  <a:lnTo>
                    <a:pt x="784" y="1746"/>
                  </a:lnTo>
                  <a:lnTo>
                    <a:pt x="772" y="1791"/>
                  </a:lnTo>
                  <a:lnTo>
                    <a:pt x="755" y="1803"/>
                  </a:lnTo>
                  <a:lnTo>
                    <a:pt x="718" y="1819"/>
                  </a:lnTo>
                  <a:lnTo>
                    <a:pt x="701" y="1815"/>
                  </a:lnTo>
                  <a:lnTo>
                    <a:pt x="659" y="1815"/>
                  </a:lnTo>
                  <a:lnTo>
                    <a:pt x="642" y="1819"/>
                  </a:lnTo>
                  <a:lnTo>
                    <a:pt x="633" y="1803"/>
                  </a:lnTo>
                  <a:lnTo>
                    <a:pt x="621" y="1815"/>
                  </a:lnTo>
                  <a:lnTo>
                    <a:pt x="595" y="1803"/>
                  </a:lnTo>
                  <a:lnTo>
                    <a:pt x="557" y="1815"/>
                  </a:lnTo>
                  <a:lnTo>
                    <a:pt x="524" y="1819"/>
                  </a:lnTo>
                  <a:lnTo>
                    <a:pt x="498" y="1815"/>
                  </a:lnTo>
                  <a:lnTo>
                    <a:pt x="465" y="1831"/>
                  </a:lnTo>
                  <a:lnTo>
                    <a:pt x="448" y="1857"/>
                  </a:lnTo>
                  <a:lnTo>
                    <a:pt x="444" y="1857"/>
                  </a:lnTo>
                  <a:lnTo>
                    <a:pt x="415" y="1857"/>
                  </a:lnTo>
                  <a:lnTo>
                    <a:pt x="373" y="1893"/>
                  </a:lnTo>
                  <a:lnTo>
                    <a:pt x="340" y="1909"/>
                  </a:lnTo>
                  <a:lnTo>
                    <a:pt x="356" y="1909"/>
                  </a:lnTo>
                  <a:lnTo>
                    <a:pt x="352" y="1914"/>
                  </a:lnTo>
                  <a:lnTo>
                    <a:pt x="335" y="1909"/>
                  </a:lnTo>
                  <a:lnTo>
                    <a:pt x="323" y="1914"/>
                  </a:lnTo>
                  <a:lnTo>
                    <a:pt x="309" y="1902"/>
                  </a:lnTo>
                  <a:lnTo>
                    <a:pt x="255" y="1909"/>
                  </a:lnTo>
                  <a:lnTo>
                    <a:pt x="210" y="1885"/>
                  </a:lnTo>
                  <a:lnTo>
                    <a:pt x="189" y="1857"/>
                  </a:lnTo>
                  <a:lnTo>
                    <a:pt x="163" y="1848"/>
                  </a:lnTo>
                  <a:lnTo>
                    <a:pt x="158" y="1852"/>
                  </a:lnTo>
                  <a:lnTo>
                    <a:pt x="146" y="1848"/>
                  </a:lnTo>
                  <a:lnTo>
                    <a:pt x="141" y="1782"/>
                  </a:lnTo>
                  <a:lnTo>
                    <a:pt x="158" y="1791"/>
                  </a:lnTo>
                  <a:lnTo>
                    <a:pt x="172" y="1791"/>
                  </a:lnTo>
                  <a:lnTo>
                    <a:pt x="196" y="1765"/>
                  </a:lnTo>
                  <a:lnTo>
                    <a:pt x="189" y="1720"/>
                  </a:lnTo>
                  <a:lnTo>
                    <a:pt x="196" y="1704"/>
                  </a:lnTo>
                  <a:lnTo>
                    <a:pt x="189" y="1708"/>
                  </a:lnTo>
                  <a:lnTo>
                    <a:pt x="196" y="1725"/>
                  </a:lnTo>
                  <a:lnTo>
                    <a:pt x="196" y="1647"/>
                  </a:lnTo>
                  <a:lnTo>
                    <a:pt x="146" y="1543"/>
                  </a:lnTo>
                  <a:lnTo>
                    <a:pt x="141" y="1503"/>
                  </a:lnTo>
                  <a:lnTo>
                    <a:pt x="141" y="1465"/>
                  </a:lnTo>
                  <a:lnTo>
                    <a:pt x="134" y="1441"/>
                  </a:lnTo>
                  <a:lnTo>
                    <a:pt x="120" y="1408"/>
                  </a:lnTo>
                  <a:lnTo>
                    <a:pt x="108" y="1387"/>
                  </a:lnTo>
                  <a:lnTo>
                    <a:pt x="87" y="1354"/>
                  </a:lnTo>
                  <a:lnTo>
                    <a:pt x="87" y="1314"/>
                  </a:lnTo>
                  <a:lnTo>
                    <a:pt x="70" y="1281"/>
                  </a:lnTo>
                  <a:lnTo>
                    <a:pt x="16" y="1210"/>
                  </a:lnTo>
                  <a:lnTo>
                    <a:pt x="28" y="1193"/>
                  </a:lnTo>
                  <a:lnTo>
                    <a:pt x="28" y="1210"/>
                  </a:lnTo>
                  <a:lnTo>
                    <a:pt x="33" y="1203"/>
                  </a:lnTo>
                  <a:lnTo>
                    <a:pt x="37" y="1210"/>
                  </a:lnTo>
                  <a:lnTo>
                    <a:pt x="49" y="1243"/>
                  </a:lnTo>
                  <a:lnTo>
                    <a:pt x="66" y="1226"/>
                  </a:lnTo>
                  <a:lnTo>
                    <a:pt x="66" y="1210"/>
                  </a:lnTo>
                  <a:lnTo>
                    <a:pt x="37" y="1193"/>
                  </a:lnTo>
                  <a:lnTo>
                    <a:pt x="33" y="1170"/>
                  </a:lnTo>
                  <a:lnTo>
                    <a:pt x="37" y="1153"/>
                  </a:lnTo>
                  <a:lnTo>
                    <a:pt x="54" y="1182"/>
                  </a:lnTo>
                  <a:lnTo>
                    <a:pt x="54" y="1203"/>
                  </a:lnTo>
                  <a:lnTo>
                    <a:pt x="66" y="1193"/>
                  </a:lnTo>
                  <a:lnTo>
                    <a:pt x="82" y="1226"/>
                  </a:lnTo>
                  <a:lnTo>
                    <a:pt x="87" y="1210"/>
                  </a:lnTo>
                  <a:lnTo>
                    <a:pt x="87" y="1203"/>
                  </a:lnTo>
                  <a:lnTo>
                    <a:pt x="92" y="1182"/>
                  </a:lnTo>
                  <a:lnTo>
                    <a:pt x="54" y="1127"/>
                  </a:lnTo>
                  <a:lnTo>
                    <a:pt x="49" y="1094"/>
                  </a:lnTo>
                  <a:lnTo>
                    <a:pt x="33" y="1071"/>
                  </a:lnTo>
                  <a:lnTo>
                    <a:pt x="37" y="1021"/>
                  </a:lnTo>
                  <a:lnTo>
                    <a:pt x="54" y="1000"/>
                  </a:lnTo>
                  <a:lnTo>
                    <a:pt x="66" y="959"/>
                  </a:lnTo>
                  <a:lnTo>
                    <a:pt x="49" y="931"/>
                  </a:lnTo>
                  <a:lnTo>
                    <a:pt x="70" y="889"/>
                  </a:lnTo>
                  <a:lnTo>
                    <a:pt x="87" y="872"/>
                  </a:lnTo>
                  <a:lnTo>
                    <a:pt x="82" y="893"/>
                  </a:lnTo>
                  <a:lnTo>
                    <a:pt x="87" y="926"/>
                  </a:lnTo>
                  <a:lnTo>
                    <a:pt x="104" y="915"/>
                  </a:lnTo>
                  <a:lnTo>
                    <a:pt x="120" y="872"/>
                  </a:lnTo>
                  <a:lnTo>
                    <a:pt x="179" y="848"/>
                  </a:lnTo>
                  <a:lnTo>
                    <a:pt x="210" y="815"/>
                  </a:lnTo>
                  <a:lnTo>
                    <a:pt x="264" y="782"/>
                  </a:lnTo>
                  <a:lnTo>
                    <a:pt x="271" y="794"/>
                  </a:lnTo>
                  <a:lnTo>
                    <a:pt x="285" y="782"/>
                  </a:lnTo>
                  <a:lnTo>
                    <a:pt x="309" y="794"/>
                  </a:lnTo>
                  <a:lnTo>
                    <a:pt x="335" y="782"/>
                  </a:lnTo>
                  <a:lnTo>
                    <a:pt x="361" y="761"/>
                  </a:lnTo>
                  <a:lnTo>
                    <a:pt x="411" y="761"/>
                  </a:lnTo>
                  <a:lnTo>
                    <a:pt x="432" y="733"/>
                  </a:lnTo>
                  <a:lnTo>
                    <a:pt x="465" y="745"/>
                  </a:lnTo>
                  <a:lnTo>
                    <a:pt x="519" y="728"/>
                  </a:lnTo>
                  <a:lnTo>
                    <a:pt x="566" y="704"/>
                  </a:lnTo>
                  <a:lnTo>
                    <a:pt x="595" y="671"/>
                  </a:lnTo>
                  <a:lnTo>
                    <a:pt x="621" y="617"/>
                  </a:lnTo>
                  <a:lnTo>
                    <a:pt x="633" y="617"/>
                  </a:lnTo>
                  <a:lnTo>
                    <a:pt x="659" y="593"/>
                  </a:lnTo>
                  <a:lnTo>
                    <a:pt x="659" y="584"/>
                  </a:lnTo>
                  <a:lnTo>
                    <a:pt x="649" y="577"/>
                  </a:lnTo>
                  <a:lnTo>
                    <a:pt x="649" y="527"/>
                  </a:lnTo>
                  <a:lnTo>
                    <a:pt x="663" y="511"/>
                  </a:lnTo>
                  <a:lnTo>
                    <a:pt x="675" y="506"/>
                  </a:lnTo>
                  <a:lnTo>
                    <a:pt x="675" y="499"/>
                  </a:lnTo>
                  <a:lnTo>
                    <a:pt x="687" y="489"/>
                  </a:lnTo>
                  <a:lnTo>
                    <a:pt x="687" y="482"/>
                  </a:lnTo>
                  <a:lnTo>
                    <a:pt x="696" y="466"/>
                  </a:lnTo>
                  <a:lnTo>
                    <a:pt x="713" y="466"/>
                  </a:lnTo>
                  <a:lnTo>
                    <a:pt x="701" y="482"/>
                  </a:lnTo>
                  <a:lnTo>
                    <a:pt x="739" y="556"/>
                  </a:lnTo>
                  <a:lnTo>
                    <a:pt x="751" y="511"/>
                  </a:lnTo>
                  <a:lnTo>
                    <a:pt x="772" y="527"/>
                  </a:lnTo>
                  <a:lnTo>
                    <a:pt x="755" y="511"/>
                  </a:lnTo>
                  <a:lnTo>
                    <a:pt x="767" y="506"/>
                  </a:lnTo>
                  <a:lnTo>
                    <a:pt x="755" y="506"/>
                  </a:lnTo>
                  <a:lnTo>
                    <a:pt x="751" y="482"/>
                  </a:lnTo>
                  <a:lnTo>
                    <a:pt x="734" y="473"/>
                  </a:lnTo>
                  <a:lnTo>
                    <a:pt x="751" y="473"/>
                  </a:lnTo>
                  <a:lnTo>
                    <a:pt x="755" y="466"/>
                  </a:lnTo>
                  <a:lnTo>
                    <a:pt x="755" y="456"/>
                  </a:lnTo>
                  <a:lnTo>
                    <a:pt x="739" y="456"/>
                  </a:lnTo>
                  <a:lnTo>
                    <a:pt x="739" y="449"/>
                  </a:lnTo>
                  <a:lnTo>
                    <a:pt x="755" y="449"/>
                  </a:lnTo>
                  <a:lnTo>
                    <a:pt x="767" y="449"/>
                  </a:lnTo>
                  <a:lnTo>
                    <a:pt x="755" y="456"/>
                  </a:lnTo>
                  <a:lnTo>
                    <a:pt x="767" y="466"/>
                  </a:lnTo>
                  <a:lnTo>
                    <a:pt x="772" y="456"/>
                  </a:lnTo>
                  <a:lnTo>
                    <a:pt x="789" y="456"/>
                  </a:lnTo>
                  <a:lnTo>
                    <a:pt x="789" y="466"/>
                  </a:lnTo>
                  <a:lnTo>
                    <a:pt x="805" y="466"/>
                  </a:lnTo>
                  <a:lnTo>
                    <a:pt x="836" y="466"/>
                  </a:lnTo>
                  <a:lnTo>
                    <a:pt x="805" y="456"/>
                  </a:lnTo>
                  <a:lnTo>
                    <a:pt x="805" y="445"/>
                  </a:lnTo>
                  <a:lnTo>
                    <a:pt x="810" y="449"/>
                  </a:lnTo>
                  <a:lnTo>
                    <a:pt x="822" y="445"/>
                  </a:lnTo>
                  <a:lnTo>
                    <a:pt x="822" y="433"/>
                  </a:lnTo>
                  <a:lnTo>
                    <a:pt x="826" y="428"/>
                  </a:lnTo>
                  <a:lnTo>
                    <a:pt x="822" y="416"/>
                  </a:lnTo>
                  <a:lnTo>
                    <a:pt x="810" y="433"/>
                  </a:lnTo>
                  <a:lnTo>
                    <a:pt x="805" y="428"/>
                  </a:lnTo>
                  <a:lnTo>
                    <a:pt x="805" y="400"/>
                  </a:lnTo>
                  <a:lnTo>
                    <a:pt x="822" y="395"/>
                  </a:lnTo>
                  <a:lnTo>
                    <a:pt x="826" y="378"/>
                  </a:lnTo>
                  <a:lnTo>
                    <a:pt x="859" y="400"/>
                  </a:lnTo>
                  <a:lnTo>
                    <a:pt x="848" y="395"/>
                  </a:lnTo>
                  <a:lnTo>
                    <a:pt x="848" y="388"/>
                  </a:lnTo>
                  <a:lnTo>
                    <a:pt x="836" y="388"/>
                  </a:lnTo>
                  <a:lnTo>
                    <a:pt x="848" y="371"/>
                  </a:lnTo>
                  <a:lnTo>
                    <a:pt x="836" y="378"/>
                  </a:lnTo>
                  <a:lnTo>
                    <a:pt x="836" y="371"/>
                  </a:lnTo>
                  <a:lnTo>
                    <a:pt x="848" y="362"/>
                  </a:lnTo>
                  <a:lnTo>
                    <a:pt x="859" y="378"/>
                  </a:lnTo>
                  <a:lnTo>
                    <a:pt x="859" y="362"/>
                  </a:lnTo>
                  <a:lnTo>
                    <a:pt x="864" y="371"/>
                  </a:lnTo>
                  <a:lnTo>
                    <a:pt x="874" y="371"/>
                  </a:lnTo>
                  <a:lnTo>
                    <a:pt x="859" y="362"/>
                  </a:lnTo>
                  <a:lnTo>
                    <a:pt x="864" y="355"/>
                  </a:lnTo>
                  <a:lnTo>
                    <a:pt x="859" y="345"/>
                  </a:lnTo>
                  <a:lnTo>
                    <a:pt x="864" y="334"/>
                  </a:lnTo>
                  <a:lnTo>
                    <a:pt x="890" y="334"/>
                  </a:lnTo>
                  <a:lnTo>
                    <a:pt x="890" y="305"/>
                  </a:lnTo>
                  <a:lnTo>
                    <a:pt x="897" y="305"/>
                  </a:lnTo>
                  <a:lnTo>
                    <a:pt x="890" y="338"/>
                  </a:lnTo>
                  <a:lnTo>
                    <a:pt x="897" y="317"/>
                  </a:lnTo>
                  <a:lnTo>
                    <a:pt x="902" y="322"/>
                  </a:lnTo>
                  <a:lnTo>
                    <a:pt x="911" y="338"/>
                  </a:lnTo>
                  <a:lnTo>
                    <a:pt x="918" y="334"/>
                  </a:lnTo>
                  <a:lnTo>
                    <a:pt x="928" y="300"/>
                  </a:lnTo>
                  <a:lnTo>
                    <a:pt x="918" y="284"/>
                  </a:lnTo>
                  <a:lnTo>
                    <a:pt x="928" y="284"/>
                  </a:lnTo>
                  <a:lnTo>
                    <a:pt x="928" y="289"/>
                  </a:lnTo>
                  <a:lnTo>
                    <a:pt x="935" y="305"/>
                  </a:lnTo>
                  <a:lnTo>
                    <a:pt x="944" y="289"/>
                  </a:lnTo>
                  <a:lnTo>
                    <a:pt x="949" y="284"/>
                  </a:lnTo>
                  <a:lnTo>
                    <a:pt x="949" y="289"/>
                  </a:lnTo>
                  <a:lnTo>
                    <a:pt x="956" y="305"/>
                  </a:lnTo>
                  <a:lnTo>
                    <a:pt x="973" y="284"/>
                  </a:lnTo>
                  <a:lnTo>
                    <a:pt x="966" y="279"/>
                  </a:lnTo>
                  <a:lnTo>
                    <a:pt x="973" y="267"/>
                  </a:lnTo>
                  <a:lnTo>
                    <a:pt x="987" y="279"/>
                  </a:lnTo>
                  <a:lnTo>
                    <a:pt x="999" y="284"/>
                  </a:lnTo>
                  <a:lnTo>
                    <a:pt x="1011" y="284"/>
                  </a:lnTo>
                  <a:lnTo>
                    <a:pt x="1053" y="334"/>
                  </a:lnTo>
                  <a:lnTo>
                    <a:pt x="1063" y="338"/>
                  </a:lnTo>
                  <a:lnTo>
                    <a:pt x="1058" y="400"/>
                  </a:lnTo>
                  <a:lnTo>
                    <a:pt x="1063" y="378"/>
                  </a:lnTo>
                  <a:lnTo>
                    <a:pt x="1074" y="395"/>
                  </a:lnTo>
                  <a:lnTo>
                    <a:pt x="1063" y="371"/>
                  </a:lnTo>
                  <a:lnTo>
                    <a:pt x="1079" y="355"/>
                  </a:lnTo>
                  <a:lnTo>
                    <a:pt x="1079" y="362"/>
                  </a:lnTo>
                  <a:lnTo>
                    <a:pt x="1091" y="362"/>
                  </a:lnTo>
                  <a:lnTo>
                    <a:pt x="1079" y="345"/>
                  </a:lnTo>
                  <a:lnTo>
                    <a:pt x="1096" y="345"/>
                  </a:lnTo>
                  <a:lnTo>
                    <a:pt x="1133" y="355"/>
                  </a:lnTo>
                  <a:lnTo>
                    <a:pt x="1133" y="362"/>
                  </a:lnTo>
                  <a:lnTo>
                    <a:pt x="1133" y="378"/>
                  </a:lnTo>
                  <a:lnTo>
                    <a:pt x="1145" y="371"/>
                  </a:lnTo>
                  <a:lnTo>
                    <a:pt x="1145" y="355"/>
                  </a:lnTo>
                  <a:lnTo>
                    <a:pt x="1150" y="355"/>
                  </a:lnTo>
                  <a:lnTo>
                    <a:pt x="1171" y="378"/>
                  </a:lnTo>
                  <a:lnTo>
                    <a:pt x="1166" y="362"/>
                  </a:lnTo>
                  <a:lnTo>
                    <a:pt x="1171" y="345"/>
                  </a:lnTo>
                  <a:lnTo>
                    <a:pt x="1183" y="355"/>
                  </a:lnTo>
                  <a:lnTo>
                    <a:pt x="1188" y="345"/>
                  </a:lnTo>
                  <a:lnTo>
                    <a:pt x="1183" y="345"/>
                  </a:lnTo>
                  <a:lnTo>
                    <a:pt x="1171" y="345"/>
                  </a:lnTo>
                  <a:lnTo>
                    <a:pt x="1166" y="334"/>
                  </a:lnTo>
                  <a:lnTo>
                    <a:pt x="1183" y="334"/>
                  </a:lnTo>
                  <a:lnTo>
                    <a:pt x="1166" y="334"/>
                  </a:lnTo>
                  <a:lnTo>
                    <a:pt x="1150" y="322"/>
                  </a:lnTo>
                  <a:lnTo>
                    <a:pt x="1150" y="317"/>
                  </a:lnTo>
                  <a:lnTo>
                    <a:pt x="1162" y="300"/>
                  </a:lnTo>
                  <a:lnTo>
                    <a:pt x="1171" y="289"/>
                  </a:lnTo>
                  <a:lnTo>
                    <a:pt x="1188" y="251"/>
                  </a:lnTo>
                  <a:lnTo>
                    <a:pt x="1200" y="251"/>
                  </a:lnTo>
                  <a:lnTo>
                    <a:pt x="1214" y="234"/>
                  </a:lnTo>
                  <a:lnTo>
                    <a:pt x="1204" y="227"/>
                  </a:lnTo>
                  <a:lnTo>
                    <a:pt x="1204" y="211"/>
                  </a:lnTo>
                  <a:lnTo>
                    <a:pt x="1221" y="211"/>
                  </a:lnTo>
                  <a:lnTo>
                    <a:pt x="1221" y="189"/>
                  </a:lnTo>
                  <a:lnTo>
                    <a:pt x="1226" y="189"/>
                  </a:lnTo>
                  <a:lnTo>
                    <a:pt x="1242" y="194"/>
                  </a:lnTo>
                  <a:lnTo>
                    <a:pt x="1237" y="189"/>
                  </a:lnTo>
                  <a:lnTo>
                    <a:pt x="1237" y="173"/>
                  </a:lnTo>
                  <a:lnTo>
                    <a:pt x="1252" y="173"/>
                  </a:lnTo>
                  <a:lnTo>
                    <a:pt x="1259" y="189"/>
                  </a:lnTo>
                  <a:lnTo>
                    <a:pt x="1268" y="178"/>
                  </a:lnTo>
                  <a:lnTo>
                    <a:pt x="1252" y="173"/>
                  </a:lnTo>
                  <a:lnTo>
                    <a:pt x="1259" y="168"/>
                  </a:lnTo>
                  <a:lnTo>
                    <a:pt x="1268" y="173"/>
                  </a:lnTo>
                  <a:lnTo>
                    <a:pt x="1268" y="156"/>
                  </a:lnTo>
                  <a:lnTo>
                    <a:pt x="1296" y="168"/>
                  </a:lnTo>
                  <a:lnTo>
                    <a:pt x="1344" y="168"/>
                  </a:lnTo>
                  <a:lnTo>
                    <a:pt x="1360" y="156"/>
                  </a:lnTo>
                  <a:lnTo>
                    <a:pt x="1365" y="173"/>
                  </a:lnTo>
                  <a:lnTo>
                    <a:pt x="1365" y="156"/>
                  </a:lnTo>
                  <a:lnTo>
                    <a:pt x="1386" y="152"/>
                  </a:lnTo>
                  <a:lnTo>
                    <a:pt x="1381" y="152"/>
                  </a:lnTo>
                  <a:lnTo>
                    <a:pt x="1381" y="116"/>
                  </a:lnTo>
                  <a:lnTo>
                    <a:pt x="1365" y="100"/>
                  </a:lnTo>
                  <a:lnTo>
                    <a:pt x="1344" y="111"/>
                  </a:lnTo>
                  <a:lnTo>
                    <a:pt x="1334" y="95"/>
                  </a:lnTo>
                  <a:lnTo>
                    <a:pt x="1322" y="95"/>
                  </a:lnTo>
                  <a:lnTo>
                    <a:pt x="1334" y="78"/>
                  </a:lnTo>
                  <a:lnTo>
                    <a:pt x="1351" y="100"/>
                  </a:lnTo>
                  <a:lnTo>
                    <a:pt x="1351" y="95"/>
                  </a:lnTo>
                  <a:lnTo>
                    <a:pt x="1344" y="78"/>
                  </a:lnTo>
                  <a:lnTo>
                    <a:pt x="1360" y="78"/>
                  </a:lnTo>
                  <a:lnTo>
                    <a:pt x="1381" y="111"/>
                  </a:lnTo>
                  <a:lnTo>
                    <a:pt x="1398" y="95"/>
                  </a:lnTo>
                  <a:lnTo>
                    <a:pt x="1419" y="123"/>
                  </a:lnTo>
                  <a:lnTo>
                    <a:pt x="1431" y="116"/>
                  </a:lnTo>
                  <a:lnTo>
                    <a:pt x="1452" y="133"/>
                  </a:lnTo>
                  <a:lnTo>
                    <a:pt x="1469" y="123"/>
                  </a:lnTo>
                  <a:lnTo>
                    <a:pt x="1469" y="133"/>
                  </a:lnTo>
                  <a:lnTo>
                    <a:pt x="1474" y="133"/>
                  </a:lnTo>
                  <a:lnTo>
                    <a:pt x="1485" y="133"/>
                  </a:lnTo>
                  <a:lnTo>
                    <a:pt x="1490" y="152"/>
                  </a:lnTo>
                  <a:lnTo>
                    <a:pt x="1528" y="140"/>
                  </a:lnTo>
                  <a:lnTo>
                    <a:pt x="1537" y="152"/>
                  </a:lnTo>
                  <a:lnTo>
                    <a:pt x="1561" y="168"/>
                  </a:lnTo>
                  <a:lnTo>
                    <a:pt x="1566" y="152"/>
                  </a:lnTo>
                  <a:lnTo>
                    <a:pt x="1592" y="152"/>
                  </a:lnTo>
                  <a:lnTo>
                    <a:pt x="1592" y="140"/>
                  </a:lnTo>
                  <a:lnTo>
                    <a:pt x="1599" y="140"/>
                  </a:lnTo>
                  <a:lnTo>
                    <a:pt x="1613" y="123"/>
                  </a:lnTo>
                  <a:lnTo>
                    <a:pt x="1599" y="140"/>
                  </a:lnTo>
                  <a:lnTo>
                    <a:pt x="1599" y="152"/>
                  </a:lnTo>
                  <a:lnTo>
                    <a:pt x="1592" y="156"/>
                  </a:lnTo>
                  <a:lnTo>
                    <a:pt x="1599" y="168"/>
                  </a:lnTo>
                  <a:lnTo>
                    <a:pt x="1620" y="152"/>
                  </a:lnTo>
                  <a:lnTo>
                    <a:pt x="1613" y="156"/>
                  </a:lnTo>
                  <a:lnTo>
                    <a:pt x="1620" y="156"/>
                  </a:lnTo>
                  <a:lnTo>
                    <a:pt x="1613" y="173"/>
                  </a:lnTo>
                  <a:lnTo>
                    <a:pt x="1620" y="178"/>
                  </a:lnTo>
                  <a:lnTo>
                    <a:pt x="1637" y="173"/>
                  </a:lnTo>
                  <a:lnTo>
                    <a:pt x="1646" y="156"/>
                  </a:lnTo>
                  <a:lnTo>
                    <a:pt x="1629" y="156"/>
                  </a:lnTo>
                  <a:lnTo>
                    <a:pt x="1658" y="140"/>
                  </a:lnTo>
                  <a:lnTo>
                    <a:pt x="1658" y="168"/>
                  </a:lnTo>
                  <a:lnTo>
                    <a:pt x="1674" y="156"/>
                  </a:lnTo>
                  <a:lnTo>
                    <a:pt x="1684" y="173"/>
                  </a:lnTo>
                  <a:lnTo>
                    <a:pt x="1667" y="178"/>
                  </a:lnTo>
                  <a:lnTo>
                    <a:pt x="1658" y="206"/>
                  </a:lnTo>
                  <a:lnTo>
                    <a:pt x="1651" y="194"/>
                  </a:lnTo>
                  <a:lnTo>
                    <a:pt x="1651" y="222"/>
                  </a:lnTo>
                  <a:lnTo>
                    <a:pt x="1651" y="234"/>
                  </a:lnTo>
                  <a:lnTo>
                    <a:pt x="1646" y="234"/>
                  </a:lnTo>
                  <a:lnTo>
                    <a:pt x="1646" y="222"/>
                  </a:lnTo>
                  <a:lnTo>
                    <a:pt x="1629" y="234"/>
                  </a:lnTo>
                  <a:lnTo>
                    <a:pt x="1620" y="227"/>
                  </a:lnTo>
                  <a:lnTo>
                    <a:pt x="1613" y="234"/>
                  </a:lnTo>
                  <a:lnTo>
                    <a:pt x="1603" y="260"/>
                  </a:lnTo>
                  <a:lnTo>
                    <a:pt x="1603" y="267"/>
                  </a:lnTo>
                  <a:lnTo>
                    <a:pt x="1620" y="267"/>
                  </a:lnTo>
                  <a:lnTo>
                    <a:pt x="1603" y="305"/>
                  </a:lnTo>
                  <a:lnTo>
                    <a:pt x="1592" y="322"/>
                  </a:lnTo>
                  <a:lnTo>
                    <a:pt x="1582" y="338"/>
                  </a:lnTo>
                  <a:lnTo>
                    <a:pt x="1575" y="338"/>
                  </a:lnTo>
                  <a:lnTo>
                    <a:pt x="1575" y="355"/>
                  </a:lnTo>
                  <a:lnTo>
                    <a:pt x="1629" y="395"/>
                  </a:lnTo>
                  <a:lnTo>
                    <a:pt x="1637" y="400"/>
                  </a:lnTo>
                  <a:lnTo>
                    <a:pt x="1667" y="428"/>
                  </a:lnTo>
                  <a:lnTo>
                    <a:pt x="1689" y="428"/>
                  </a:lnTo>
                  <a:lnTo>
                    <a:pt x="1738" y="456"/>
                  </a:lnTo>
                  <a:lnTo>
                    <a:pt x="1764" y="489"/>
                  </a:lnTo>
                  <a:lnTo>
                    <a:pt x="1830" y="506"/>
                  </a:lnTo>
                  <a:lnTo>
                    <a:pt x="1847" y="539"/>
                  </a:lnTo>
                  <a:lnTo>
                    <a:pt x="1901" y="560"/>
                  </a:lnTo>
                  <a:lnTo>
                    <a:pt x="1927" y="560"/>
                  </a:lnTo>
                  <a:lnTo>
                    <a:pt x="1953" y="544"/>
                  </a:lnTo>
                  <a:lnTo>
                    <a:pt x="1960" y="511"/>
                  </a:lnTo>
                  <a:lnTo>
                    <a:pt x="1981" y="482"/>
                  </a:lnTo>
                  <a:lnTo>
                    <a:pt x="1998" y="445"/>
                  </a:lnTo>
                  <a:lnTo>
                    <a:pt x="1998" y="400"/>
                  </a:lnTo>
                  <a:lnTo>
                    <a:pt x="2012" y="362"/>
                  </a:lnTo>
                  <a:lnTo>
                    <a:pt x="2007" y="322"/>
                  </a:lnTo>
                  <a:lnTo>
                    <a:pt x="2007" y="300"/>
                  </a:lnTo>
                  <a:lnTo>
                    <a:pt x="1998" y="279"/>
                  </a:lnTo>
                  <a:lnTo>
                    <a:pt x="2012" y="234"/>
                  </a:lnTo>
                  <a:lnTo>
                    <a:pt x="2007" y="211"/>
                  </a:lnTo>
                  <a:lnTo>
                    <a:pt x="2024" y="194"/>
                  </a:lnTo>
                  <a:lnTo>
                    <a:pt x="2029" y="206"/>
                  </a:lnTo>
                  <a:lnTo>
                    <a:pt x="2024" y="178"/>
                  </a:lnTo>
                  <a:lnTo>
                    <a:pt x="2012" y="173"/>
                  </a:lnTo>
                  <a:lnTo>
                    <a:pt x="2012" y="178"/>
                  </a:lnTo>
                  <a:lnTo>
                    <a:pt x="2007" y="178"/>
                  </a:lnTo>
                  <a:lnTo>
                    <a:pt x="2029" y="140"/>
                  </a:lnTo>
                  <a:lnTo>
                    <a:pt x="2029" y="152"/>
                  </a:lnTo>
                  <a:lnTo>
                    <a:pt x="2036" y="152"/>
                  </a:lnTo>
                  <a:lnTo>
                    <a:pt x="2029" y="140"/>
                  </a:lnTo>
                  <a:lnTo>
                    <a:pt x="2045" y="95"/>
                  </a:lnTo>
                  <a:lnTo>
                    <a:pt x="2045" y="67"/>
                  </a:lnTo>
                  <a:lnTo>
                    <a:pt x="2062" y="62"/>
                  </a:lnTo>
                  <a:lnTo>
                    <a:pt x="2066" y="45"/>
                  </a:lnTo>
                  <a:lnTo>
                    <a:pt x="2078" y="57"/>
                  </a:lnTo>
                  <a:lnTo>
                    <a:pt x="2066" y="67"/>
                  </a:lnTo>
                  <a:lnTo>
                    <a:pt x="2078" y="62"/>
                  </a:lnTo>
                  <a:lnTo>
                    <a:pt x="2088" y="78"/>
                  </a:lnTo>
                  <a:lnTo>
                    <a:pt x="2100" y="133"/>
                  </a:lnTo>
                  <a:lnTo>
                    <a:pt x="2121" y="140"/>
                  </a:lnTo>
                  <a:lnTo>
                    <a:pt x="2116" y="168"/>
                  </a:lnTo>
                  <a:lnTo>
                    <a:pt x="2133" y="173"/>
                  </a:lnTo>
                  <a:lnTo>
                    <a:pt x="2133" y="178"/>
                  </a:lnTo>
                  <a:lnTo>
                    <a:pt x="2137" y="189"/>
                  </a:lnTo>
                  <a:lnTo>
                    <a:pt x="2133" y="206"/>
                  </a:lnTo>
                  <a:lnTo>
                    <a:pt x="2142" y="206"/>
                  </a:lnTo>
                  <a:lnTo>
                    <a:pt x="2142" y="251"/>
                  </a:lnTo>
                  <a:lnTo>
                    <a:pt x="2142" y="267"/>
                  </a:lnTo>
                  <a:lnTo>
                    <a:pt x="2159" y="322"/>
                  </a:lnTo>
                  <a:lnTo>
                    <a:pt x="2175" y="322"/>
                  </a:lnTo>
                  <a:lnTo>
                    <a:pt x="2213" y="300"/>
                  </a:lnTo>
                  <a:lnTo>
                    <a:pt x="2225" y="334"/>
                  </a:lnTo>
                  <a:lnTo>
                    <a:pt x="2239" y="334"/>
                  </a:lnTo>
                  <a:lnTo>
                    <a:pt x="2246" y="345"/>
                  </a:lnTo>
                  <a:lnTo>
                    <a:pt x="2267" y="355"/>
                  </a:lnTo>
                  <a:lnTo>
                    <a:pt x="2263" y="371"/>
                  </a:lnTo>
                  <a:lnTo>
                    <a:pt x="2263" y="395"/>
                  </a:lnTo>
                  <a:lnTo>
                    <a:pt x="2277" y="445"/>
                  </a:lnTo>
                  <a:lnTo>
                    <a:pt x="2277" y="473"/>
                  </a:lnTo>
                  <a:lnTo>
                    <a:pt x="2305" y="506"/>
                  </a:lnTo>
                  <a:lnTo>
                    <a:pt x="2315" y="506"/>
                  </a:lnTo>
                  <a:lnTo>
                    <a:pt x="2305" y="511"/>
                  </a:lnTo>
                  <a:lnTo>
                    <a:pt x="2322" y="560"/>
                  </a:lnTo>
                  <a:lnTo>
                    <a:pt x="2315" y="600"/>
                  </a:lnTo>
                  <a:lnTo>
                    <a:pt x="2338" y="622"/>
                  </a:lnTo>
                  <a:lnTo>
                    <a:pt x="2338" y="650"/>
                  </a:lnTo>
                  <a:lnTo>
                    <a:pt x="2352" y="671"/>
                  </a:lnTo>
                  <a:lnTo>
                    <a:pt x="2402" y="688"/>
                  </a:lnTo>
                  <a:lnTo>
                    <a:pt x="2414" y="688"/>
                  </a:lnTo>
                  <a:lnTo>
                    <a:pt x="2414" y="676"/>
                  </a:lnTo>
                  <a:lnTo>
                    <a:pt x="2428" y="721"/>
                  </a:lnTo>
                  <a:lnTo>
                    <a:pt x="2440" y="721"/>
                  </a:lnTo>
                  <a:lnTo>
                    <a:pt x="2440" y="711"/>
                  </a:lnTo>
                  <a:lnTo>
                    <a:pt x="2444" y="711"/>
                  </a:lnTo>
                  <a:lnTo>
                    <a:pt x="2444" y="728"/>
                  </a:lnTo>
                  <a:lnTo>
                    <a:pt x="2466" y="728"/>
                  </a:lnTo>
                  <a:lnTo>
                    <a:pt x="2482" y="749"/>
                  </a:lnTo>
                  <a:lnTo>
                    <a:pt x="2494" y="733"/>
                  </a:lnTo>
                  <a:lnTo>
                    <a:pt x="2515" y="749"/>
                  </a:lnTo>
                  <a:lnTo>
                    <a:pt x="2520" y="778"/>
                  </a:lnTo>
                  <a:lnTo>
                    <a:pt x="2515" y="766"/>
                  </a:lnTo>
                  <a:lnTo>
                    <a:pt x="2511" y="782"/>
                  </a:lnTo>
                  <a:lnTo>
                    <a:pt x="2515" y="799"/>
                  </a:lnTo>
                  <a:lnTo>
                    <a:pt x="2548" y="815"/>
                  </a:lnTo>
                  <a:lnTo>
                    <a:pt x="2548" y="832"/>
                  </a:lnTo>
                  <a:lnTo>
                    <a:pt x="2565" y="856"/>
                  </a:lnTo>
                  <a:lnTo>
                    <a:pt x="2565" y="893"/>
                  </a:lnTo>
                  <a:lnTo>
                    <a:pt x="2574" y="910"/>
                  </a:lnTo>
                  <a:lnTo>
                    <a:pt x="2574" y="926"/>
                  </a:lnTo>
                  <a:lnTo>
                    <a:pt x="2586" y="910"/>
                  </a:lnTo>
                  <a:lnTo>
                    <a:pt x="2603" y="931"/>
                  </a:lnTo>
                  <a:lnTo>
                    <a:pt x="2591" y="910"/>
                  </a:lnTo>
                  <a:lnTo>
                    <a:pt x="2603" y="893"/>
                  </a:lnTo>
                  <a:lnTo>
                    <a:pt x="2607" y="915"/>
                  </a:lnTo>
                  <a:lnTo>
                    <a:pt x="2638" y="926"/>
                  </a:lnTo>
                  <a:lnTo>
                    <a:pt x="2638" y="910"/>
                  </a:lnTo>
                  <a:lnTo>
                    <a:pt x="2655" y="943"/>
                  </a:lnTo>
                  <a:lnTo>
                    <a:pt x="2655" y="971"/>
                  </a:lnTo>
                  <a:lnTo>
                    <a:pt x="2662" y="1000"/>
                  </a:lnTo>
                  <a:lnTo>
                    <a:pt x="2671" y="1004"/>
                  </a:lnTo>
                  <a:lnTo>
                    <a:pt x="2676" y="1021"/>
                  </a:lnTo>
                  <a:lnTo>
                    <a:pt x="2709" y="1042"/>
                  </a:lnTo>
                  <a:lnTo>
                    <a:pt x="2714" y="1037"/>
                  </a:lnTo>
                  <a:lnTo>
                    <a:pt x="2730" y="1054"/>
                  </a:lnTo>
                  <a:lnTo>
                    <a:pt x="2747" y="1082"/>
                  </a:lnTo>
                  <a:lnTo>
                    <a:pt x="2768" y="1099"/>
                  </a:lnTo>
                  <a:lnTo>
                    <a:pt x="2785" y="1132"/>
                  </a:lnTo>
                  <a:lnTo>
                    <a:pt x="2801" y="1137"/>
                  </a:lnTo>
                  <a:lnTo>
                    <a:pt x="2801" y="1170"/>
                  </a:lnTo>
                  <a:lnTo>
                    <a:pt x="2822" y="1186"/>
                  </a:lnTo>
                  <a:lnTo>
                    <a:pt x="2818" y="1210"/>
                  </a:lnTo>
                  <a:lnTo>
                    <a:pt x="2818" y="1276"/>
                  </a:lnTo>
                  <a:lnTo>
                    <a:pt x="2806" y="1281"/>
                  </a:lnTo>
                  <a:lnTo>
                    <a:pt x="2806" y="1293"/>
                  </a:lnTo>
                  <a:lnTo>
                    <a:pt x="2822" y="1304"/>
                  </a:lnTo>
                  <a:lnTo>
                    <a:pt x="2851" y="1370"/>
                  </a:lnTo>
                  <a:lnTo>
                    <a:pt x="2851" y="1408"/>
                  </a:lnTo>
                  <a:lnTo>
                    <a:pt x="2834" y="1448"/>
                  </a:lnTo>
                  <a:lnTo>
                    <a:pt x="2822" y="1498"/>
                  </a:lnTo>
                  <a:lnTo>
                    <a:pt x="2806" y="1543"/>
                  </a:lnTo>
                  <a:lnTo>
                    <a:pt x="2818" y="1576"/>
                  </a:lnTo>
                  <a:lnTo>
                    <a:pt x="2801" y="1630"/>
                  </a:lnTo>
                  <a:lnTo>
                    <a:pt x="2780" y="1670"/>
                  </a:lnTo>
                  <a:lnTo>
                    <a:pt x="2780" y="1692"/>
                  </a:lnTo>
                  <a:lnTo>
                    <a:pt x="2747" y="1720"/>
                  </a:lnTo>
                  <a:lnTo>
                    <a:pt x="2747" y="1725"/>
                  </a:lnTo>
                  <a:lnTo>
                    <a:pt x="2726" y="1737"/>
                  </a:lnTo>
                  <a:lnTo>
                    <a:pt x="2709" y="1765"/>
                  </a:lnTo>
                  <a:lnTo>
                    <a:pt x="2700" y="1765"/>
                  </a:lnTo>
                  <a:lnTo>
                    <a:pt x="2700" y="1774"/>
                  </a:lnTo>
                  <a:lnTo>
                    <a:pt x="2692" y="1791"/>
                  </a:lnTo>
                  <a:lnTo>
                    <a:pt x="2688" y="1819"/>
                  </a:lnTo>
                  <a:lnTo>
                    <a:pt x="2676" y="1819"/>
                  </a:lnTo>
                  <a:lnTo>
                    <a:pt x="2688" y="1831"/>
                  </a:lnTo>
                  <a:lnTo>
                    <a:pt x="2662" y="1848"/>
                  </a:lnTo>
                  <a:lnTo>
                    <a:pt x="2655" y="1885"/>
                  </a:lnTo>
                  <a:lnTo>
                    <a:pt x="2645" y="1893"/>
                  </a:lnTo>
                  <a:lnTo>
                    <a:pt x="2655" y="1909"/>
                  </a:lnTo>
                  <a:lnTo>
                    <a:pt x="2645" y="1909"/>
                  </a:lnTo>
                  <a:lnTo>
                    <a:pt x="2645" y="1914"/>
                  </a:lnTo>
                  <a:lnTo>
                    <a:pt x="2638" y="1926"/>
                  </a:lnTo>
                  <a:lnTo>
                    <a:pt x="2607" y="1980"/>
                  </a:lnTo>
                  <a:lnTo>
                    <a:pt x="2607" y="2013"/>
                  </a:lnTo>
                  <a:lnTo>
                    <a:pt x="2591" y="2058"/>
                  </a:lnTo>
                  <a:lnTo>
                    <a:pt x="2603" y="2079"/>
                  </a:lnTo>
                  <a:lnTo>
                    <a:pt x="2591" y="2091"/>
                  </a:lnTo>
                  <a:lnTo>
                    <a:pt x="2591" y="2107"/>
                  </a:lnTo>
                  <a:lnTo>
                    <a:pt x="2565" y="2129"/>
                  </a:lnTo>
                  <a:lnTo>
                    <a:pt x="2477" y="2136"/>
                  </a:lnTo>
                  <a:lnTo>
                    <a:pt x="2440" y="2145"/>
                  </a:lnTo>
                  <a:lnTo>
                    <a:pt x="2376" y="2202"/>
                  </a:lnTo>
                  <a:lnTo>
                    <a:pt x="2331" y="2207"/>
                  </a:lnTo>
                  <a:lnTo>
                    <a:pt x="2338" y="2223"/>
                  </a:lnTo>
                  <a:lnTo>
                    <a:pt x="2352" y="2219"/>
                  </a:lnTo>
                  <a:lnTo>
                    <a:pt x="2352" y="2240"/>
                  </a:lnTo>
                  <a:lnTo>
                    <a:pt x="2348" y="2247"/>
                  </a:lnTo>
                  <a:lnTo>
                    <a:pt x="2348" y="2247"/>
                  </a:lnTo>
                  <a:lnTo>
                    <a:pt x="2348" y="2247"/>
                  </a:lnTo>
                  <a:close/>
                  <a:moveTo>
                    <a:pt x="1651" y="100"/>
                  </a:moveTo>
                  <a:lnTo>
                    <a:pt x="1667" y="67"/>
                  </a:lnTo>
                  <a:lnTo>
                    <a:pt x="1667" y="83"/>
                  </a:lnTo>
                  <a:lnTo>
                    <a:pt x="1651" y="100"/>
                  </a:lnTo>
                  <a:lnTo>
                    <a:pt x="1651" y="100"/>
                  </a:lnTo>
                  <a:lnTo>
                    <a:pt x="1651" y="100"/>
                  </a:lnTo>
                  <a:close/>
                  <a:moveTo>
                    <a:pt x="1377" y="95"/>
                  </a:moveTo>
                  <a:lnTo>
                    <a:pt x="1377" y="67"/>
                  </a:lnTo>
                  <a:lnTo>
                    <a:pt x="1377" y="95"/>
                  </a:lnTo>
                  <a:lnTo>
                    <a:pt x="1377" y="95"/>
                  </a:lnTo>
                  <a:lnTo>
                    <a:pt x="1377" y="95"/>
                  </a:lnTo>
                  <a:close/>
                  <a:moveTo>
                    <a:pt x="1268" y="140"/>
                  </a:moveTo>
                  <a:lnTo>
                    <a:pt x="1226" y="116"/>
                  </a:lnTo>
                  <a:lnTo>
                    <a:pt x="1221" y="83"/>
                  </a:lnTo>
                  <a:lnTo>
                    <a:pt x="1242" y="100"/>
                  </a:lnTo>
                  <a:lnTo>
                    <a:pt x="1275" y="83"/>
                  </a:lnTo>
                  <a:lnTo>
                    <a:pt x="1280" y="100"/>
                  </a:lnTo>
                  <a:lnTo>
                    <a:pt x="1280" y="83"/>
                  </a:lnTo>
                  <a:lnTo>
                    <a:pt x="1306" y="100"/>
                  </a:lnTo>
                  <a:lnTo>
                    <a:pt x="1289" y="123"/>
                  </a:lnTo>
                  <a:lnTo>
                    <a:pt x="1268" y="140"/>
                  </a:lnTo>
                  <a:lnTo>
                    <a:pt x="1268" y="140"/>
                  </a:lnTo>
                  <a:lnTo>
                    <a:pt x="1268" y="140"/>
                  </a:lnTo>
                  <a:close/>
                  <a:moveTo>
                    <a:pt x="1226" y="133"/>
                  </a:moveTo>
                  <a:lnTo>
                    <a:pt x="1200" y="123"/>
                  </a:lnTo>
                  <a:lnTo>
                    <a:pt x="1204" y="116"/>
                  </a:lnTo>
                  <a:lnTo>
                    <a:pt x="1214" y="116"/>
                  </a:lnTo>
                  <a:lnTo>
                    <a:pt x="1214" y="95"/>
                  </a:lnTo>
                  <a:lnTo>
                    <a:pt x="1221" y="95"/>
                  </a:lnTo>
                  <a:lnTo>
                    <a:pt x="1226" y="116"/>
                  </a:lnTo>
                  <a:lnTo>
                    <a:pt x="1242" y="123"/>
                  </a:lnTo>
                  <a:lnTo>
                    <a:pt x="1226" y="133"/>
                  </a:lnTo>
                  <a:lnTo>
                    <a:pt x="1226" y="133"/>
                  </a:lnTo>
                  <a:lnTo>
                    <a:pt x="1226" y="133"/>
                  </a:lnTo>
                  <a:close/>
                  <a:moveTo>
                    <a:pt x="1377" y="123"/>
                  </a:moveTo>
                  <a:lnTo>
                    <a:pt x="1377" y="116"/>
                  </a:lnTo>
                  <a:lnTo>
                    <a:pt x="1381" y="116"/>
                  </a:lnTo>
                  <a:lnTo>
                    <a:pt x="1377" y="123"/>
                  </a:lnTo>
                  <a:lnTo>
                    <a:pt x="1377" y="123"/>
                  </a:lnTo>
                  <a:lnTo>
                    <a:pt x="1377" y="123"/>
                  </a:lnTo>
                  <a:close/>
                  <a:moveTo>
                    <a:pt x="1613" y="123"/>
                  </a:moveTo>
                  <a:lnTo>
                    <a:pt x="1613" y="116"/>
                  </a:lnTo>
                  <a:lnTo>
                    <a:pt x="1620" y="116"/>
                  </a:lnTo>
                  <a:lnTo>
                    <a:pt x="1613" y="123"/>
                  </a:lnTo>
                  <a:lnTo>
                    <a:pt x="1613" y="123"/>
                  </a:lnTo>
                  <a:lnTo>
                    <a:pt x="1613" y="123"/>
                  </a:lnTo>
                  <a:close/>
                  <a:moveTo>
                    <a:pt x="1684" y="300"/>
                  </a:moveTo>
                  <a:lnTo>
                    <a:pt x="1674" y="305"/>
                  </a:lnTo>
                  <a:lnTo>
                    <a:pt x="1646" y="305"/>
                  </a:lnTo>
                  <a:lnTo>
                    <a:pt x="1651" y="279"/>
                  </a:lnTo>
                  <a:lnTo>
                    <a:pt x="1658" y="279"/>
                  </a:lnTo>
                  <a:lnTo>
                    <a:pt x="1667" y="267"/>
                  </a:lnTo>
                  <a:lnTo>
                    <a:pt x="1667" y="279"/>
                  </a:lnTo>
                  <a:lnTo>
                    <a:pt x="1674" y="279"/>
                  </a:lnTo>
                  <a:lnTo>
                    <a:pt x="1674" y="267"/>
                  </a:lnTo>
                  <a:lnTo>
                    <a:pt x="1684" y="279"/>
                  </a:lnTo>
                  <a:lnTo>
                    <a:pt x="1667" y="284"/>
                  </a:lnTo>
                  <a:lnTo>
                    <a:pt x="1667" y="300"/>
                  </a:lnTo>
                  <a:lnTo>
                    <a:pt x="1684" y="300"/>
                  </a:lnTo>
                  <a:lnTo>
                    <a:pt x="1684" y="300"/>
                  </a:lnTo>
                  <a:lnTo>
                    <a:pt x="1684" y="300"/>
                  </a:lnTo>
                  <a:close/>
                  <a:moveTo>
                    <a:pt x="1629" y="279"/>
                  </a:moveTo>
                  <a:lnTo>
                    <a:pt x="1620" y="279"/>
                  </a:lnTo>
                  <a:lnTo>
                    <a:pt x="1629" y="267"/>
                  </a:lnTo>
                  <a:lnTo>
                    <a:pt x="1637" y="267"/>
                  </a:lnTo>
                  <a:lnTo>
                    <a:pt x="1629" y="279"/>
                  </a:lnTo>
                  <a:lnTo>
                    <a:pt x="1629" y="279"/>
                  </a:lnTo>
                  <a:lnTo>
                    <a:pt x="1629" y="279"/>
                  </a:lnTo>
                  <a:close/>
                  <a:moveTo>
                    <a:pt x="859" y="338"/>
                  </a:moveTo>
                  <a:lnTo>
                    <a:pt x="848" y="334"/>
                  </a:lnTo>
                  <a:lnTo>
                    <a:pt x="859" y="322"/>
                  </a:lnTo>
                  <a:lnTo>
                    <a:pt x="859" y="338"/>
                  </a:lnTo>
                  <a:lnTo>
                    <a:pt x="859" y="338"/>
                  </a:lnTo>
                  <a:lnTo>
                    <a:pt x="859" y="338"/>
                  </a:lnTo>
                  <a:close/>
                  <a:moveTo>
                    <a:pt x="810" y="395"/>
                  </a:moveTo>
                  <a:lnTo>
                    <a:pt x="805" y="388"/>
                  </a:lnTo>
                  <a:lnTo>
                    <a:pt x="810" y="378"/>
                  </a:lnTo>
                  <a:lnTo>
                    <a:pt x="822" y="395"/>
                  </a:lnTo>
                  <a:lnTo>
                    <a:pt x="810" y="395"/>
                  </a:lnTo>
                  <a:lnTo>
                    <a:pt x="810" y="395"/>
                  </a:lnTo>
                  <a:lnTo>
                    <a:pt x="810" y="395"/>
                  </a:lnTo>
                  <a:close/>
                  <a:moveTo>
                    <a:pt x="1651" y="411"/>
                  </a:moveTo>
                  <a:lnTo>
                    <a:pt x="1651" y="400"/>
                  </a:lnTo>
                  <a:lnTo>
                    <a:pt x="1658" y="400"/>
                  </a:lnTo>
                  <a:lnTo>
                    <a:pt x="1651" y="411"/>
                  </a:lnTo>
                  <a:lnTo>
                    <a:pt x="1651" y="411"/>
                  </a:lnTo>
                  <a:lnTo>
                    <a:pt x="1651" y="411"/>
                  </a:lnTo>
                  <a:close/>
                  <a:moveTo>
                    <a:pt x="1689" y="428"/>
                  </a:moveTo>
                  <a:lnTo>
                    <a:pt x="1684" y="411"/>
                  </a:lnTo>
                  <a:lnTo>
                    <a:pt x="1689" y="400"/>
                  </a:lnTo>
                  <a:lnTo>
                    <a:pt x="1689" y="428"/>
                  </a:lnTo>
                  <a:lnTo>
                    <a:pt x="1689" y="428"/>
                  </a:lnTo>
                  <a:lnTo>
                    <a:pt x="1689" y="428"/>
                  </a:lnTo>
                  <a:close/>
                  <a:moveTo>
                    <a:pt x="1667" y="416"/>
                  </a:moveTo>
                  <a:lnTo>
                    <a:pt x="1667" y="411"/>
                  </a:lnTo>
                  <a:lnTo>
                    <a:pt x="1674" y="411"/>
                  </a:lnTo>
                  <a:lnTo>
                    <a:pt x="1667" y="416"/>
                  </a:lnTo>
                  <a:lnTo>
                    <a:pt x="1667" y="416"/>
                  </a:lnTo>
                  <a:lnTo>
                    <a:pt x="1667" y="416"/>
                  </a:lnTo>
                  <a:close/>
                  <a:moveTo>
                    <a:pt x="1835" y="489"/>
                  </a:moveTo>
                  <a:lnTo>
                    <a:pt x="1835" y="482"/>
                  </a:lnTo>
                  <a:lnTo>
                    <a:pt x="1847" y="473"/>
                  </a:lnTo>
                  <a:lnTo>
                    <a:pt x="1873" y="466"/>
                  </a:lnTo>
                  <a:lnTo>
                    <a:pt x="1873" y="473"/>
                  </a:lnTo>
                  <a:lnTo>
                    <a:pt x="1863" y="473"/>
                  </a:lnTo>
                  <a:lnTo>
                    <a:pt x="1863" y="489"/>
                  </a:lnTo>
                  <a:lnTo>
                    <a:pt x="1835" y="489"/>
                  </a:lnTo>
                  <a:lnTo>
                    <a:pt x="1835" y="489"/>
                  </a:lnTo>
                  <a:lnTo>
                    <a:pt x="1835" y="489"/>
                  </a:lnTo>
                  <a:close/>
                  <a:moveTo>
                    <a:pt x="1863" y="522"/>
                  </a:moveTo>
                  <a:lnTo>
                    <a:pt x="1852" y="511"/>
                  </a:lnTo>
                  <a:lnTo>
                    <a:pt x="1868" y="511"/>
                  </a:lnTo>
                  <a:lnTo>
                    <a:pt x="1868" y="522"/>
                  </a:lnTo>
                  <a:lnTo>
                    <a:pt x="1863" y="522"/>
                  </a:lnTo>
                  <a:lnTo>
                    <a:pt x="1863" y="522"/>
                  </a:lnTo>
                  <a:lnTo>
                    <a:pt x="1863" y="522"/>
                  </a:lnTo>
                  <a:close/>
                  <a:moveTo>
                    <a:pt x="2338" y="622"/>
                  </a:moveTo>
                  <a:lnTo>
                    <a:pt x="2322" y="600"/>
                  </a:lnTo>
                  <a:lnTo>
                    <a:pt x="2338" y="610"/>
                  </a:lnTo>
                  <a:lnTo>
                    <a:pt x="2348" y="617"/>
                  </a:lnTo>
                  <a:lnTo>
                    <a:pt x="2338" y="622"/>
                  </a:lnTo>
                  <a:lnTo>
                    <a:pt x="2338" y="622"/>
                  </a:lnTo>
                  <a:lnTo>
                    <a:pt x="2338" y="622"/>
                  </a:lnTo>
                  <a:close/>
                  <a:moveTo>
                    <a:pt x="2376" y="671"/>
                  </a:moveTo>
                  <a:lnTo>
                    <a:pt x="2369" y="671"/>
                  </a:lnTo>
                  <a:lnTo>
                    <a:pt x="2376" y="667"/>
                  </a:lnTo>
                  <a:lnTo>
                    <a:pt x="2376" y="671"/>
                  </a:lnTo>
                  <a:lnTo>
                    <a:pt x="2376" y="671"/>
                  </a:lnTo>
                  <a:lnTo>
                    <a:pt x="2376" y="671"/>
                  </a:lnTo>
                  <a:close/>
                  <a:moveTo>
                    <a:pt x="2520" y="749"/>
                  </a:moveTo>
                  <a:lnTo>
                    <a:pt x="2515" y="745"/>
                  </a:lnTo>
                  <a:lnTo>
                    <a:pt x="2520" y="733"/>
                  </a:lnTo>
                  <a:lnTo>
                    <a:pt x="2520" y="749"/>
                  </a:lnTo>
                  <a:lnTo>
                    <a:pt x="2520" y="749"/>
                  </a:lnTo>
                  <a:lnTo>
                    <a:pt x="2520" y="749"/>
                  </a:lnTo>
                  <a:close/>
                  <a:moveTo>
                    <a:pt x="2520" y="761"/>
                  </a:moveTo>
                  <a:lnTo>
                    <a:pt x="2520" y="745"/>
                  </a:lnTo>
                  <a:lnTo>
                    <a:pt x="2532" y="749"/>
                  </a:lnTo>
                  <a:lnTo>
                    <a:pt x="2520" y="761"/>
                  </a:lnTo>
                  <a:lnTo>
                    <a:pt x="2520" y="761"/>
                  </a:lnTo>
                  <a:lnTo>
                    <a:pt x="2520" y="761"/>
                  </a:lnTo>
                  <a:close/>
                  <a:moveTo>
                    <a:pt x="172" y="799"/>
                  </a:moveTo>
                  <a:lnTo>
                    <a:pt x="163" y="799"/>
                  </a:lnTo>
                  <a:lnTo>
                    <a:pt x="179" y="782"/>
                  </a:lnTo>
                  <a:lnTo>
                    <a:pt x="172" y="799"/>
                  </a:lnTo>
                  <a:lnTo>
                    <a:pt x="172" y="799"/>
                  </a:lnTo>
                  <a:lnTo>
                    <a:pt x="172" y="799"/>
                  </a:lnTo>
                  <a:close/>
                  <a:moveTo>
                    <a:pt x="2629" y="910"/>
                  </a:moveTo>
                  <a:lnTo>
                    <a:pt x="2629" y="905"/>
                  </a:lnTo>
                  <a:lnTo>
                    <a:pt x="2638" y="910"/>
                  </a:lnTo>
                  <a:lnTo>
                    <a:pt x="2629" y="910"/>
                  </a:lnTo>
                  <a:lnTo>
                    <a:pt x="2629" y="910"/>
                  </a:lnTo>
                  <a:lnTo>
                    <a:pt x="2629" y="910"/>
                  </a:lnTo>
                  <a:close/>
                  <a:moveTo>
                    <a:pt x="2688" y="1021"/>
                  </a:moveTo>
                  <a:lnTo>
                    <a:pt x="2671" y="1000"/>
                  </a:lnTo>
                  <a:lnTo>
                    <a:pt x="2688" y="1004"/>
                  </a:lnTo>
                  <a:lnTo>
                    <a:pt x="2692" y="1021"/>
                  </a:lnTo>
                  <a:lnTo>
                    <a:pt x="2688" y="1021"/>
                  </a:lnTo>
                  <a:lnTo>
                    <a:pt x="2688" y="1021"/>
                  </a:lnTo>
                  <a:lnTo>
                    <a:pt x="2688" y="1021"/>
                  </a:lnTo>
                  <a:close/>
                  <a:moveTo>
                    <a:pt x="2818" y="1170"/>
                  </a:moveTo>
                  <a:lnTo>
                    <a:pt x="2801" y="1153"/>
                  </a:lnTo>
                  <a:lnTo>
                    <a:pt x="2806" y="1132"/>
                  </a:lnTo>
                  <a:lnTo>
                    <a:pt x="2822" y="1115"/>
                  </a:lnTo>
                  <a:lnTo>
                    <a:pt x="2818" y="1099"/>
                  </a:lnTo>
                  <a:lnTo>
                    <a:pt x="2822" y="1094"/>
                  </a:lnTo>
                  <a:lnTo>
                    <a:pt x="2834" y="1115"/>
                  </a:lnTo>
                  <a:lnTo>
                    <a:pt x="2818" y="1170"/>
                  </a:lnTo>
                  <a:lnTo>
                    <a:pt x="2818" y="1170"/>
                  </a:lnTo>
                  <a:lnTo>
                    <a:pt x="2818" y="1170"/>
                  </a:lnTo>
                  <a:close/>
                  <a:moveTo>
                    <a:pt x="16" y="1203"/>
                  </a:moveTo>
                  <a:lnTo>
                    <a:pt x="0" y="1170"/>
                  </a:lnTo>
                  <a:lnTo>
                    <a:pt x="0" y="1148"/>
                  </a:lnTo>
                  <a:lnTo>
                    <a:pt x="16" y="1203"/>
                  </a:lnTo>
                  <a:lnTo>
                    <a:pt x="16" y="1203"/>
                  </a:lnTo>
                  <a:lnTo>
                    <a:pt x="16" y="1203"/>
                  </a:lnTo>
                  <a:close/>
                  <a:moveTo>
                    <a:pt x="2839" y="1297"/>
                  </a:moveTo>
                  <a:lnTo>
                    <a:pt x="2834" y="1276"/>
                  </a:lnTo>
                  <a:lnTo>
                    <a:pt x="2839" y="1264"/>
                  </a:lnTo>
                  <a:lnTo>
                    <a:pt x="2839" y="1297"/>
                  </a:lnTo>
                  <a:lnTo>
                    <a:pt x="2839" y="1297"/>
                  </a:lnTo>
                  <a:lnTo>
                    <a:pt x="2839" y="1297"/>
                  </a:lnTo>
                  <a:close/>
                  <a:moveTo>
                    <a:pt x="2839" y="1321"/>
                  </a:moveTo>
                  <a:lnTo>
                    <a:pt x="2839" y="1297"/>
                  </a:lnTo>
                  <a:lnTo>
                    <a:pt x="2851" y="1297"/>
                  </a:lnTo>
                  <a:lnTo>
                    <a:pt x="2839" y="1321"/>
                  </a:lnTo>
                  <a:lnTo>
                    <a:pt x="2839" y="1321"/>
                  </a:lnTo>
                  <a:lnTo>
                    <a:pt x="2839" y="1321"/>
                  </a:lnTo>
                  <a:close/>
                  <a:moveTo>
                    <a:pt x="1755" y="1963"/>
                  </a:moveTo>
                  <a:lnTo>
                    <a:pt x="1759" y="1963"/>
                  </a:lnTo>
                  <a:lnTo>
                    <a:pt x="1764" y="1968"/>
                  </a:lnTo>
                  <a:lnTo>
                    <a:pt x="1759" y="1980"/>
                  </a:lnTo>
                  <a:lnTo>
                    <a:pt x="1738" y="1968"/>
                  </a:lnTo>
                  <a:lnTo>
                    <a:pt x="1722" y="1996"/>
                  </a:lnTo>
                  <a:lnTo>
                    <a:pt x="1705" y="1980"/>
                  </a:lnTo>
                  <a:lnTo>
                    <a:pt x="1667" y="1985"/>
                  </a:lnTo>
                  <a:lnTo>
                    <a:pt x="1651" y="1980"/>
                  </a:lnTo>
                  <a:lnTo>
                    <a:pt x="1658" y="1963"/>
                  </a:lnTo>
                  <a:lnTo>
                    <a:pt x="1705" y="1947"/>
                  </a:lnTo>
                  <a:lnTo>
                    <a:pt x="1722" y="1959"/>
                  </a:lnTo>
                  <a:lnTo>
                    <a:pt x="1726" y="1963"/>
                  </a:lnTo>
                  <a:lnTo>
                    <a:pt x="1743" y="1968"/>
                  </a:lnTo>
                  <a:lnTo>
                    <a:pt x="1755" y="1963"/>
                  </a:lnTo>
                  <a:lnTo>
                    <a:pt x="1755" y="1963"/>
                  </a:lnTo>
                  <a:lnTo>
                    <a:pt x="1755" y="1963"/>
                  </a:lnTo>
                  <a:close/>
                  <a:moveTo>
                    <a:pt x="2267" y="2185"/>
                  </a:moveTo>
                  <a:lnTo>
                    <a:pt x="2267" y="2181"/>
                  </a:lnTo>
                  <a:lnTo>
                    <a:pt x="2284" y="2181"/>
                  </a:lnTo>
                  <a:lnTo>
                    <a:pt x="2267" y="2185"/>
                  </a:lnTo>
                  <a:lnTo>
                    <a:pt x="2267" y="2185"/>
                  </a:lnTo>
                  <a:lnTo>
                    <a:pt x="2267" y="2185"/>
                  </a:lnTo>
                  <a:close/>
                  <a:moveTo>
                    <a:pt x="2267" y="2202"/>
                  </a:moveTo>
                  <a:lnTo>
                    <a:pt x="2251" y="2190"/>
                  </a:lnTo>
                  <a:lnTo>
                    <a:pt x="2267" y="2185"/>
                  </a:lnTo>
                  <a:lnTo>
                    <a:pt x="2267" y="2202"/>
                  </a:lnTo>
                  <a:lnTo>
                    <a:pt x="2267" y="2202"/>
                  </a:lnTo>
                  <a:lnTo>
                    <a:pt x="2267" y="2202"/>
                  </a:lnTo>
                  <a:close/>
                  <a:moveTo>
                    <a:pt x="2352" y="2219"/>
                  </a:moveTo>
                  <a:lnTo>
                    <a:pt x="2359" y="2219"/>
                  </a:lnTo>
                  <a:lnTo>
                    <a:pt x="2352" y="2219"/>
                  </a:lnTo>
                  <a:lnTo>
                    <a:pt x="2352" y="2219"/>
                  </a:lnTo>
                  <a:lnTo>
                    <a:pt x="2352" y="2219"/>
                  </a:lnTo>
                  <a:close/>
                  <a:moveTo>
                    <a:pt x="2170" y="2330"/>
                  </a:moveTo>
                  <a:lnTo>
                    <a:pt x="2170" y="2301"/>
                  </a:lnTo>
                  <a:lnTo>
                    <a:pt x="2175" y="2280"/>
                  </a:lnTo>
                  <a:lnTo>
                    <a:pt x="2187" y="2289"/>
                  </a:lnTo>
                  <a:lnTo>
                    <a:pt x="2187" y="2313"/>
                  </a:lnTo>
                  <a:lnTo>
                    <a:pt x="2170" y="2330"/>
                  </a:lnTo>
                  <a:lnTo>
                    <a:pt x="2170" y="2330"/>
                  </a:lnTo>
                  <a:lnTo>
                    <a:pt x="2170" y="2330"/>
                  </a:lnTo>
                  <a:close/>
                  <a:moveTo>
                    <a:pt x="2466" y="2346"/>
                  </a:moveTo>
                  <a:lnTo>
                    <a:pt x="2440" y="2313"/>
                  </a:lnTo>
                  <a:lnTo>
                    <a:pt x="2444" y="2296"/>
                  </a:lnTo>
                  <a:lnTo>
                    <a:pt x="2456" y="2296"/>
                  </a:lnTo>
                  <a:lnTo>
                    <a:pt x="2477" y="2313"/>
                  </a:lnTo>
                  <a:lnTo>
                    <a:pt x="2477" y="2334"/>
                  </a:lnTo>
                  <a:lnTo>
                    <a:pt x="2466" y="2346"/>
                  </a:lnTo>
                  <a:lnTo>
                    <a:pt x="2466" y="2346"/>
                  </a:lnTo>
                  <a:lnTo>
                    <a:pt x="2466" y="2346"/>
                  </a:lnTo>
                  <a:close/>
                  <a:moveTo>
                    <a:pt x="2482" y="2363"/>
                  </a:moveTo>
                  <a:lnTo>
                    <a:pt x="2477" y="2351"/>
                  </a:lnTo>
                  <a:lnTo>
                    <a:pt x="2461" y="2363"/>
                  </a:lnTo>
                  <a:lnTo>
                    <a:pt x="2456" y="2351"/>
                  </a:lnTo>
                  <a:lnTo>
                    <a:pt x="2482" y="2346"/>
                  </a:lnTo>
                  <a:lnTo>
                    <a:pt x="2494" y="2351"/>
                  </a:lnTo>
                  <a:lnTo>
                    <a:pt x="2482" y="2363"/>
                  </a:lnTo>
                  <a:lnTo>
                    <a:pt x="2482" y="2363"/>
                  </a:lnTo>
                  <a:lnTo>
                    <a:pt x="2482" y="2363"/>
                  </a:lnTo>
                  <a:close/>
                  <a:moveTo>
                    <a:pt x="2239" y="2363"/>
                  </a:moveTo>
                  <a:lnTo>
                    <a:pt x="2239" y="2351"/>
                  </a:lnTo>
                  <a:lnTo>
                    <a:pt x="2246" y="2351"/>
                  </a:lnTo>
                  <a:lnTo>
                    <a:pt x="2239" y="2363"/>
                  </a:lnTo>
                  <a:lnTo>
                    <a:pt x="2239" y="2363"/>
                  </a:lnTo>
                  <a:lnTo>
                    <a:pt x="2239" y="2363"/>
                  </a:lnTo>
                  <a:close/>
                  <a:moveTo>
                    <a:pt x="2466" y="2367"/>
                  </a:moveTo>
                  <a:lnTo>
                    <a:pt x="2461" y="2367"/>
                  </a:lnTo>
                  <a:lnTo>
                    <a:pt x="2466" y="2363"/>
                  </a:lnTo>
                  <a:lnTo>
                    <a:pt x="2466" y="2367"/>
                  </a:lnTo>
                  <a:lnTo>
                    <a:pt x="2466" y="2367"/>
                  </a:lnTo>
                  <a:lnTo>
                    <a:pt x="2466" y="2367"/>
                  </a:lnTo>
                  <a:close/>
                  <a:moveTo>
                    <a:pt x="2239" y="2384"/>
                  </a:moveTo>
                  <a:lnTo>
                    <a:pt x="2246" y="2367"/>
                  </a:lnTo>
                  <a:lnTo>
                    <a:pt x="2246" y="2374"/>
                  </a:lnTo>
                  <a:lnTo>
                    <a:pt x="2239" y="2384"/>
                  </a:lnTo>
                  <a:lnTo>
                    <a:pt x="2239" y="2384"/>
                  </a:lnTo>
                  <a:lnTo>
                    <a:pt x="2239" y="2384"/>
                  </a:lnTo>
                  <a:close/>
                  <a:moveTo>
                    <a:pt x="2385" y="2630"/>
                  </a:moveTo>
                  <a:lnTo>
                    <a:pt x="2322" y="2622"/>
                  </a:lnTo>
                  <a:lnTo>
                    <a:pt x="2315" y="2613"/>
                  </a:lnTo>
                  <a:lnTo>
                    <a:pt x="2331" y="2613"/>
                  </a:lnTo>
                  <a:lnTo>
                    <a:pt x="2331" y="2606"/>
                  </a:lnTo>
                  <a:lnTo>
                    <a:pt x="2305" y="2606"/>
                  </a:lnTo>
                  <a:lnTo>
                    <a:pt x="2284" y="2573"/>
                  </a:lnTo>
                  <a:lnTo>
                    <a:pt x="2267" y="2540"/>
                  </a:lnTo>
                  <a:lnTo>
                    <a:pt x="2263" y="2511"/>
                  </a:lnTo>
                  <a:lnTo>
                    <a:pt x="2277" y="2528"/>
                  </a:lnTo>
                  <a:lnTo>
                    <a:pt x="2277" y="2535"/>
                  </a:lnTo>
                  <a:lnTo>
                    <a:pt x="2284" y="2518"/>
                  </a:lnTo>
                  <a:lnTo>
                    <a:pt x="2267" y="2502"/>
                  </a:lnTo>
                  <a:lnTo>
                    <a:pt x="2225" y="2424"/>
                  </a:lnTo>
                  <a:lnTo>
                    <a:pt x="2225" y="2400"/>
                  </a:lnTo>
                  <a:lnTo>
                    <a:pt x="2225" y="2384"/>
                  </a:lnTo>
                  <a:lnTo>
                    <a:pt x="2267" y="2384"/>
                  </a:lnTo>
                  <a:lnTo>
                    <a:pt x="2331" y="2417"/>
                  </a:lnTo>
                  <a:lnTo>
                    <a:pt x="2359" y="2424"/>
                  </a:lnTo>
                  <a:lnTo>
                    <a:pt x="2369" y="2407"/>
                  </a:lnTo>
                  <a:lnTo>
                    <a:pt x="2385" y="2417"/>
                  </a:lnTo>
                  <a:lnTo>
                    <a:pt x="2376" y="2407"/>
                  </a:lnTo>
                  <a:lnTo>
                    <a:pt x="2385" y="2400"/>
                  </a:lnTo>
                  <a:lnTo>
                    <a:pt x="2414" y="2407"/>
                  </a:lnTo>
                  <a:lnTo>
                    <a:pt x="2428" y="2391"/>
                  </a:lnTo>
                  <a:lnTo>
                    <a:pt x="2444" y="2391"/>
                  </a:lnTo>
                  <a:lnTo>
                    <a:pt x="2456" y="2384"/>
                  </a:lnTo>
                  <a:lnTo>
                    <a:pt x="2477" y="2400"/>
                  </a:lnTo>
                  <a:lnTo>
                    <a:pt x="2477" y="2474"/>
                  </a:lnTo>
                  <a:lnTo>
                    <a:pt x="2482" y="2511"/>
                  </a:lnTo>
                  <a:lnTo>
                    <a:pt x="2477" y="2511"/>
                  </a:lnTo>
                  <a:lnTo>
                    <a:pt x="2477" y="2502"/>
                  </a:lnTo>
                  <a:lnTo>
                    <a:pt x="2466" y="2485"/>
                  </a:lnTo>
                  <a:lnTo>
                    <a:pt x="2444" y="2568"/>
                  </a:lnTo>
                  <a:lnTo>
                    <a:pt x="2456" y="2568"/>
                  </a:lnTo>
                  <a:lnTo>
                    <a:pt x="2456" y="2596"/>
                  </a:lnTo>
                  <a:lnTo>
                    <a:pt x="2444" y="2589"/>
                  </a:lnTo>
                  <a:lnTo>
                    <a:pt x="2444" y="2596"/>
                  </a:lnTo>
                  <a:lnTo>
                    <a:pt x="2428" y="2585"/>
                  </a:lnTo>
                  <a:lnTo>
                    <a:pt x="2440" y="2573"/>
                  </a:lnTo>
                  <a:lnTo>
                    <a:pt x="2440" y="2585"/>
                  </a:lnTo>
                  <a:lnTo>
                    <a:pt x="2456" y="2585"/>
                  </a:lnTo>
                  <a:lnTo>
                    <a:pt x="2444" y="2573"/>
                  </a:lnTo>
                  <a:lnTo>
                    <a:pt x="2423" y="2568"/>
                  </a:lnTo>
                  <a:lnTo>
                    <a:pt x="2423" y="2573"/>
                  </a:lnTo>
                  <a:lnTo>
                    <a:pt x="2414" y="2585"/>
                  </a:lnTo>
                  <a:lnTo>
                    <a:pt x="2414" y="2568"/>
                  </a:lnTo>
                  <a:lnTo>
                    <a:pt x="2407" y="2568"/>
                  </a:lnTo>
                  <a:lnTo>
                    <a:pt x="2407" y="2596"/>
                  </a:lnTo>
                  <a:lnTo>
                    <a:pt x="2385" y="2589"/>
                  </a:lnTo>
                  <a:lnTo>
                    <a:pt x="2390" y="2606"/>
                  </a:lnTo>
                  <a:lnTo>
                    <a:pt x="2385" y="2630"/>
                  </a:lnTo>
                  <a:lnTo>
                    <a:pt x="2385" y="2630"/>
                  </a:lnTo>
                  <a:lnTo>
                    <a:pt x="2385" y="2630"/>
                  </a:lnTo>
                  <a:close/>
                  <a:moveTo>
                    <a:pt x="2461" y="2556"/>
                  </a:moveTo>
                  <a:lnTo>
                    <a:pt x="2461" y="2540"/>
                  </a:lnTo>
                  <a:lnTo>
                    <a:pt x="2466" y="2540"/>
                  </a:lnTo>
                  <a:lnTo>
                    <a:pt x="2466" y="2552"/>
                  </a:lnTo>
                  <a:lnTo>
                    <a:pt x="2461" y="2556"/>
                  </a:lnTo>
                  <a:lnTo>
                    <a:pt x="2461" y="2556"/>
                  </a:lnTo>
                  <a:lnTo>
                    <a:pt x="2461" y="2556"/>
                  </a:lnTo>
                  <a:close/>
                  <a:moveTo>
                    <a:pt x="2414" y="2596"/>
                  </a:moveTo>
                  <a:lnTo>
                    <a:pt x="2407" y="2589"/>
                  </a:lnTo>
                  <a:lnTo>
                    <a:pt x="2414" y="2585"/>
                  </a:lnTo>
                  <a:lnTo>
                    <a:pt x="2414" y="2596"/>
                  </a:lnTo>
                  <a:lnTo>
                    <a:pt x="2414" y="2596"/>
                  </a:lnTo>
                  <a:lnTo>
                    <a:pt x="2414" y="2596"/>
                  </a:lnTo>
                  <a:close/>
                  <a:moveTo>
                    <a:pt x="2407" y="2622"/>
                  </a:moveTo>
                  <a:lnTo>
                    <a:pt x="2390" y="2613"/>
                  </a:lnTo>
                  <a:lnTo>
                    <a:pt x="2407" y="2596"/>
                  </a:lnTo>
                  <a:lnTo>
                    <a:pt x="2414" y="2613"/>
                  </a:lnTo>
                  <a:lnTo>
                    <a:pt x="2407" y="2622"/>
                  </a:lnTo>
                  <a:lnTo>
                    <a:pt x="2407" y="2622"/>
                  </a:lnTo>
                  <a:lnTo>
                    <a:pt x="2407" y="2622"/>
                  </a:lnTo>
                  <a:close/>
                  <a:moveTo>
                    <a:pt x="3217" y="3666"/>
                  </a:moveTo>
                  <a:lnTo>
                    <a:pt x="3217" y="3659"/>
                  </a:lnTo>
                  <a:lnTo>
                    <a:pt x="3229" y="3643"/>
                  </a:lnTo>
                  <a:lnTo>
                    <a:pt x="3217" y="3666"/>
                  </a:lnTo>
                  <a:lnTo>
                    <a:pt x="3217" y="3666"/>
                  </a:lnTo>
                  <a:lnTo>
                    <a:pt x="3217" y="366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68" name="Freeform 395">
              <a:extLst>
                <a:ext uri="{FF2B5EF4-FFF2-40B4-BE49-F238E27FC236}">
                  <a16:creationId xmlns:a16="http://schemas.microsoft.com/office/drawing/2014/main" id="{A510CB30-258B-485D-869C-F652A4975D94}"/>
                </a:ext>
              </a:extLst>
            </p:cNvPr>
            <p:cNvSpPr>
              <a:spLocks noEditPoints="1"/>
            </p:cNvSpPr>
            <p:nvPr/>
          </p:nvSpPr>
          <p:spPr bwMode="gray">
            <a:xfrm>
              <a:off x="9267064" y="3256451"/>
              <a:ext cx="132146" cy="183625"/>
            </a:xfrm>
            <a:custGeom>
              <a:avLst/>
              <a:gdLst>
                <a:gd name="T0" fmla="*/ 71 w 321"/>
                <a:gd name="T1" fmla="*/ 262 h 446"/>
                <a:gd name="T2" fmla="*/ 38 w 321"/>
                <a:gd name="T3" fmla="*/ 229 h 446"/>
                <a:gd name="T4" fmla="*/ 55 w 321"/>
                <a:gd name="T5" fmla="*/ 184 h 446"/>
                <a:gd name="T6" fmla="*/ 5 w 321"/>
                <a:gd name="T7" fmla="*/ 163 h 446"/>
                <a:gd name="T8" fmla="*/ 5 w 321"/>
                <a:gd name="T9" fmla="*/ 128 h 446"/>
                <a:gd name="T10" fmla="*/ 71 w 321"/>
                <a:gd name="T11" fmla="*/ 111 h 446"/>
                <a:gd name="T12" fmla="*/ 55 w 321"/>
                <a:gd name="T13" fmla="*/ 90 h 446"/>
                <a:gd name="T14" fmla="*/ 5 w 321"/>
                <a:gd name="T15" fmla="*/ 57 h 446"/>
                <a:gd name="T16" fmla="*/ 33 w 321"/>
                <a:gd name="T17" fmla="*/ 5 h 446"/>
                <a:gd name="T18" fmla="*/ 59 w 321"/>
                <a:gd name="T19" fmla="*/ 33 h 446"/>
                <a:gd name="T20" fmla="*/ 71 w 321"/>
                <a:gd name="T21" fmla="*/ 17 h 446"/>
                <a:gd name="T22" fmla="*/ 92 w 321"/>
                <a:gd name="T23" fmla="*/ 50 h 446"/>
                <a:gd name="T24" fmla="*/ 123 w 321"/>
                <a:gd name="T25" fmla="*/ 33 h 446"/>
                <a:gd name="T26" fmla="*/ 168 w 321"/>
                <a:gd name="T27" fmla="*/ 111 h 446"/>
                <a:gd name="T28" fmla="*/ 312 w 321"/>
                <a:gd name="T29" fmla="*/ 135 h 446"/>
                <a:gd name="T30" fmla="*/ 274 w 321"/>
                <a:gd name="T31" fmla="*/ 172 h 446"/>
                <a:gd name="T32" fmla="*/ 232 w 321"/>
                <a:gd name="T33" fmla="*/ 205 h 446"/>
                <a:gd name="T34" fmla="*/ 236 w 321"/>
                <a:gd name="T35" fmla="*/ 274 h 446"/>
                <a:gd name="T36" fmla="*/ 258 w 321"/>
                <a:gd name="T37" fmla="*/ 279 h 446"/>
                <a:gd name="T38" fmla="*/ 274 w 321"/>
                <a:gd name="T39" fmla="*/ 241 h 446"/>
                <a:gd name="T40" fmla="*/ 300 w 321"/>
                <a:gd name="T41" fmla="*/ 224 h 446"/>
                <a:gd name="T42" fmla="*/ 312 w 321"/>
                <a:gd name="T43" fmla="*/ 302 h 446"/>
                <a:gd name="T44" fmla="*/ 321 w 321"/>
                <a:gd name="T45" fmla="*/ 406 h 446"/>
                <a:gd name="T46" fmla="*/ 291 w 321"/>
                <a:gd name="T47" fmla="*/ 406 h 446"/>
                <a:gd name="T48" fmla="*/ 286 w 321"/>
                <a:gd name="T49" fmla="*/ 413 h 446"/>
                <a:gd name="T50" fmla="*/ 269 w 321"/>
                <a:gd name="T51" fmla="*/ 373 h 446"/>
                <a:gd name="T52" fmla="*/ 220 w 321"/>
                <a:gd name="T53" fmla="*/ 312 h 446"/>
                <a:gd name="T54" fmla="*/ 182 w 321"/>
                <a:gd name="T55" fmla="*/ 274 h 446"/>
                <a:gd name="T56" fmla="*/ 182 w 321"/>
                <a:gd name="T57" fmla="*/ 241 h 446"/>
                <a:gd name="T58" fmla="*/ 177 w 321"/>
                <a:gd name="T59" fmla="*/ 241 h 446"/>
                <a:gd name="T60" fmla="*/ 182 w 321"/>
                <a:gd name="T61" fmla="*/ 262 h 446"/>
                <a:gd name="T62" fmla="*/ 168 w 321"/>
                <a:gd name="T63" fmla="*/ 295 h 446"/>
                <a:gd name="T64" fmla="*/ 168 w 321"/>
                <a:gd name="T65" fmla="*/ 352 h 446"/>
                <a:gd name="T66" fmla="*/ 151 w 321"/>
                <a:gd name="T67" fmla="*/ 368 h 446"/>
                <a:gd name="T68" fmla="*/ 144 w 321"/>
                <a:gd name="T69" fmla="*/ 357 h 446"/>
                <a:gd name="T70" fmla="*/ 140 w 321"/>
                <a:gd name="T71" fmla="*/ 352 h 446"/>
                <a:gd name="T72" fmla="*/ 130 w 321"/>
                <a:gd name="T73" fmla="*/ 335 h 446"/>
                <a:gd name="T74" fmla="*/ 109 w 321"/>
                <a:gd name="T75" fmla="*/ 368 h 446"/>
                <a:gd name="T76" fmla="*/ 97 w 321"/>
                <a:gd name="T77" fmla="*/ 335 h 446"/>
                <a:gd name="T78" fmla="*/ 92 w 321"/>
                <a:gd name="T79" fmla="*/ 373 h 446"/>
                <a:gd name="T80" fmla="*/ 76 w 321"/>
                <a:gd name="T81" fmla="*/ 368 h 446"/>
                <a:gd name="T82" fmla="*/ 76 w 321"/>
                <a:gd name="T83" fmla="*/ 347 h 446"/>
                <a:gd name="T84" fmla="*/ 168 w 321"/>
                <a:gd name="T85" fmla="*/ 246 h 446"/>
                <a:gd name="T86" fmla="*/ 177 w 321"/>
                <a:gd name="T87" fmla="*/ 257 h 446"/>
                <a:gd name="T88" fmla="*/ 177 w 321"/>
                <a:gd name="T89" fmla="*/ 274 h 446"/>
                <a:gd name="T90" fmla="*/ 182 w 321"/>
                <a:gd name="T91" fmla="*/ 279 h 446"/>
                <a:gd name="T92" fmla="*/ 182 w 321"/>
                <a:gd name="T93" fmla="*/ 286 h 446"/>
                <a:gd name="T94" fmla="*/ 177 w 321"/>
                <a:gd name="T95" fmla="*/ 302 h 446"/>
                <a:gd name="T96" fmla="*/ 182 w 321"/>
                <a:gd name="T97" fmla="*/ 352 h 446"/>
                <a:gd name="T98" fmla="*/ 182 w 321"/>
                <a:gd name="T99" fmla="*/ 295 h 446"/>
                <a:gd name="T100" fmla="*/ 199 w 321"/>
                <a:gd name="T101" fmla="*/ 347 h 446"/>
                <a:gd name="T102" fmla="*/ 182 w 321"/>
                <a:gd name="T103" fmla="*/ 357 h 446"/>
                <a:gd name="T104" fmla="*/ 236 w 321"/>
                <a:gd name="T105" fmla="*/ 302 h 446"/>
                <a:gd name="T106" fmla="*/ 248 w 321"/>
                <a:gd name="T107" fmla="*/ 328 h 446"/>
                <a:gd name="T108" fmla="*/ 215 w 321"/>
                <a:gd name="T109" fmla="*/ 312 h 446"/>
                <a:gd name="T110" fmla="*/ 215 w 321"/>
                <a:gd name="T111" fmla="*/ 352 h 446"/>
                <a:gd name="T112" fmla="*/ 177 w 321"/>
                <a:gd name="T113" fmla="*/ 352 h 446"/>
                <a:gd name="T114" fmla="*/ 177 w 321"/>
                <a:gd name="T115" fmla="*/ 352 h 446"/>
                <a:gd name="T116" fmla="*/ 168 w 321"/>
                <a:gd name="T117" fmla="*/ 352 h 446"/>
                <a:gd name="T118" fmla="*/ 168 w 321"/>
                <a:gd name="T119" fmla="*/ 357 h 446"/>
                <a:gd name="T120" fmla="*/ 269 w 321"/>
                <a:gd name="T121" fmla="*/ 373 h 446"/>
                <a:gd name="T122" fmla="*/ 269 w 321"/>
                <a:gd name="T123" fmla="*/ 39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1" h="446">
                  <a:moveTo>
                    <a:pt x="76" y="347"/>
                  </a:moveTo>
                  <a:lnTo>
                    <a:pt x="59" y="279"/>
                  </a:lnTo>
                  <a:lnTo>
                    <a:pt x="71" y="262"/>
                  </a:lnTo>
                  <a:lnTo>
                    <a:pt x="55" y="257"/>
                  </a:lnTo>
                  <a:lnTo>
                    <a:pt x="55" y="241"/>
                  </a:lnTo>
                  <a:lnTo>
                    <a:pt x="38" y="229"/>
                  </a:lnTo>
                  <a:lnTo>
                    <a:pt x="38" y="217"/>
                  </a:lnTo>
                  <a:lnTo>
                    <a:pt x="55" y="205"/>
                  </a:lnTo>
                  <a:lnTo>
                    <a:pt x="55" y="184"/>
                  </a:lnTo>
                  <a:lnTo>
                    <a:pt x="43" y="172"/>
                  </a:lnTo>
                  <a:lnTo>
                    <a:pt x="38" y="172"/>
                  </a:lnTo>
                  <a:lnTo>
                    <a:pt x="5" y="163"/>
                  </a:lnTo>
                  <a:lnTo>
                    <a:pt x="0" y="151"/>
                  </a:lnTo>
                  <a:lnTo>
                    <a:pt x="17" y="135"/>
                  </a:lnTo>
                  <a:lnTo>
                    <a:pt x="5" y="128"/>
                  </a:lnTo>
                  <a:lnTo>
                    <a:pt x="21" y="135"/>
                  </a:lnTo>
                  <a:lnTo>
                    <a:pt x="33" y="111"/>
                  </a:lnTo>
                  <a:lnTo>
                    <a:pt x="71" y="111"/>
                  </a:lnTo>
                  <a:lnTo>
                    <a:pt x="71" y="106"/>
                  </a:lnTo>
                  <a:lnTo>
                    <a:pt x="59" y="94"/>
                  </a:lnTo>
                  <a:lnTo>
                    <a:pt x="55" y="90"/>
                  </a:lnTo>
                  <a:lnTo>
                    <a:pt x="38" y="90"/>
                  </a:lnTo>
                  <a:lnTo>
                    <a:pt x="21" y="61"/>
                  </a:lnTo>
                  <a:lnTo>
                    <a:pt x="5" y="57"/>
                  </a:lnTo>
                  <a:lnTo>
                    <a:pt x="17" y="33"/>
                  </a:lnTo>
                  <a:lnTo>
                    <a:pt x="38" y="17"/>
                  </a:lnTo>
                  <a:lnTo>
                    <a:pt x="33" y="5"/>
                  </a:lnTo>
                  <a:lnTo>
                    <a:pt x="21" y="5"/>
                  </a:lnTo>
                  <a:lnTo>
                    <a:pt x="33" y="0"/>
                  </a:lnTo>
                  <a:lnTo>
                    <a:pt x="59" y="33"/>
                  </a:lnTo>
                  <a:lnTo>
                    <a:pt x="76" y="24"/>
                  </a:lnTo>
                  <a:lnTo>
                    <a:pt x="59" y="17"/>
                  </a:lnTo>
                  <a:lnTo>
                    <a:pt x="71" y="17"/>
                  </a:lnTo>
                  <a:lnTo>
                    <a:pt x="76" y="17"/>
                  </a:lnTo>
                  <a:lnTo>
                    <a:pt x="76" y="33"/>
                  </a:lnTo>
                  <a:lnTo>
                    <a:pt x="92" y="50"/>
                  </a:lnTo>
                  <a:lnTo>
                    <a:pt x="109" y="50"/>
                  </a:lnTo>
                  <a:lnTo>
                    <a:pt x="114" y="33"/>
                  </a:lnTo>
                  <a:lnTo>
                    <a:pt x="123" y="33"/>
                  </a:lnTo>
                  <a:lnTo>
                    <a:pt x="130" y="57"/>
                  </a:lnTo>
                  <a:lnTo>
                    <a:pt x="130" y="106"/>
                  </a:lnTo>
                  <a:lnTo>
                    <a:pt x="168" y="111"/>
                  </a:lnTo>
                  <a:lnTo>
                    <a:pt x="286" y="111"/>
                  </a:lnTo>
                  <a:lnTo>
                    <a:pt x="307" y="118"/>
                  </a:lnTo>
                  <a:lnTo>
                    <a:pt x="312" y="135"/>
                  </a:lnTo>
                  <a:lnTo>
                    <a:pt x="300" y="135"/>
                  </a:lnTo>
                  <a:lnTo>
                    <a:pt x="291" y="168"/>
                  </a:lnTo>
                  <a:lnTo>
                    <a:pt x="274" y="172"/>
                  </a:lnTo>
                  <a:lnTo>
                    <a:pt x="269" y="189"/>
                  </a:lnTo>
                  <a:lnTo>
                    <a:pt x="236" y="189"/>
                  </a:lnTo>
                  <a:lnTo>
                    <a:pt x="232" y="205"/>
                  </a:lnTo>
                  <a:lnTo>
                    <a:pt x="220" y="229"/>
                  </a:lnTo>
                  <a:lnTo>
                    <a:pt x="232" y="274"/>
                  </a:lnTo>
                  <a:lnTo>
                    <a:pt x="236" y="274"/>
                  </a:lnTo>
                  <a:lnTo>
                    <a:pt x="236" y="257"/>
                  </a:lnTo>
                  <a:lnTo>
                    <a:pt x="248" y="279"/>
                  </a:lnTo>
                  <a:lnTo>
                    <a:pt x="258" y="279"/>
                  </a:lnTo>
                  <a:lnTo>
                    <a:pt x="269" y="274"/>
                  </a:lnTo>
                  <a:lnTo>
                    <a:pt x="258" y="257"/>
                  </a:lnTo>
                  <a:lnTo>
                    <a:pt x="274" y="241"/>
                  </a:lnTo>
                  <a:lnTo>
                    <a:pt x="274" y="224"/>
                  </a:lnTo>
                  <a:lnTo>
                    <a:pt x="286" y="229"/>
                  </a:lnTo>
                  <a:lnTo>
                    <a:pt x="300" y="224"/>
                  </a:lnTo>
                  <a:lnTo>
                    <a:pt x="307" y="257"/>
                  </a:lnTo>
                  <a:lnTo>
                    <a:pt x="307" y="279"/>
                  </a:lnTo>
                  <a:lnTo>
                    <a:pt x="312" y="302"/>
                  </a:lnTo>
                  <a:lnTo>
                    <a:pt x="321" y="357"/>
                  </a:lnTo>
                  <a:lnTo>
                    <a:pt x="321" y="406"/>
                  </a:lnTo>
                  <a:lnTo>
                    <a:pt x="321" y="406"/>
                  </a:lnTo>
                  <a:lnTo>
                    <a:pt x="307" y="390"/>
                  </a:lnTo>
                  <a:lnTo>
                    <a:pt x="300" y="402"/>
                  </a:lnTo>
                  <a:lnTo>
                    <a:pt x="291" y="406"/>
                  </a:lnTo>
                  <a:lnTo>
                    <a:pt x="300" y="425"/>
                  </a:lnTo>
                  <a:lnTo>
                    <a:pt x="300" y="446"/>
                  </a:lnTo>
                  <a:lnTo>
                    <a:pt x="286" y="413"/>
                  </a:lnTo>
                  <a:lnTo>
                    <a:pt x="274" y="402"/>
                  </a:lnTo>
                  <a:lnTo>
                    <a:pt x="286" y="385"/>
                  </a:lnTo>
                  <a:lnTo>
                    <a:pt x="269" y="373"/>
                  </a:lnTo>
                  <a:lnTo>
                    <a:pt x="258" y="319"/>
                  </a:lnTo>
                  <a:lnTo>
                    <a:pt x="236" y="295"/>
                  </a:lnTo>
                  <a:lnTo>
                    <a:pt x="220" y="312"/>
                  </a:lnTo>
                  <a:lnTo>
                    <a:pt x="203" y="312"/>
                  </a:lnTo>
                  <a:lnTo>
                    <a:pt x="199" y="302"/>
                  </a:lnTo>
                  <a:lnTo>
                    <a:pt x="182" y="274"/>
                  </a:lnTo>
                  <a:lnTo>
                    <a:pt x="182" y="241"/>
                  </a:lnTo>
                  <a:lnTo>
                    <a:pt x="194" y="241"/>
                  </a:lnTo>
                  <a:lnTo>
                    <a:pt x="182" y="241"/>
                  </a:lnTo>
                  <a:lnTo>
                    <a:pt x="182" y="229"/>
                  </a:lnTo>
                  <a:lnTo>
                    <a:pt x="177" y="229"/>
                  </a:lnTo>
                  <a:lnTo>
                    <a:pt x="177" y="241"/>
                  </a:lnTo>
                  <a:lnTo>
                    <a:pt x="177" y="246"/>
                  </a:lnTo>
                  <a:lnTo>
                    <a:pt x="161" y="246"/>
                  </a:lnTo>
                  <a:lnTo>
                    <a:pt x="182" y="262"/>
                  </a:lnTo>
                  <a:lnTo>
                    <a:pt x="177" y="274"/>
                  </a:lnTo>
                  <a:lnTo>
                    <a:pt x="168" y="274"/>
                  </a:lnTo>
                  <a:lnTo>
                    <a:pt x="168" y="295"/>
                  </a:lnTo>
                  <a:lnTo>
                    <a:pt x="177" y="312"/>
                  </a:lnTo>
                  <a:lnTo>
                    <a:pt x="182" y="328"/>
                  </a:lnTo>
                  <a:lnTo>
                    <a:pt x="168" y="352"/>
                  </a:lnTo>
                  <a:lnTo>
                    <a:pt x="168" y="335"/>
                  </a:lnTo>
                  <a:lnTo>
                    <a:pt x="161" y="368"/>
                  </a:lnTo>
                  <a:lnTo>
                    <a:pt x="151" y="368"/>
                  </a:lnTo>
                  <a:lnTo>
                    <a:pt x="140" y="368"/>
                  </a:lnTo>
                  <a:lnTo>
                    <a:pt x="151" y="347"/>
                  </a:lnTo>
                  <a:lnTo>
                    <a:pt x="144" y="357"/>
                  </a:lnTo>
                  <a:lnTo>
                    <a:pt x="140" y="352"/>
                  </a:lnTo>
                  <a:lnTo>
                    <a:pt x="144" y="347"/>
                  </a:lnTo>
                  <a:lnTo>
                    <a:pt x="140" y="352"/>
                  </a:lnTo>
                  <a:lnTo>
                    <a:pt x="130" y="335"/>
                  </a:lnTo>
                  <a:lnTo>
                    <a:pt x="140" y="319"/>
                  </a:lnTo>
                  <a:lnTo>
                    <a:pt x="130" y="335"/>
                  </a:lnTo>
                  <a:lnTo>
                    <a:pt x="130" y="357"/>
                  </a:lnTo>
                  <a:lnTo>
                    <a:pt x="109" y="373"/>
                  </a:lnTo>
                  <a:lnTo>
                    <a:pt x="109" y="368"/>
                  </a:lnTo>
                  <a:lnTo>
                    <a:pt x="114" y="328"/>
                  </a:lnTo>
                  <a:lnTo>
                    <a:pt x="109" y="357"/>
                  </a:lnTo>
                  <a:lnTo>
                    <a:pt x="97" y="335"/>
                  </a:lnTo>
                  <a:lnTo>
                    <a:pt x="109" y="357"/>
                  </a:lnTo>
                  <a:lnTo>
                    <a:pt x="97" y="373"/>
                  </a:lnTo>
                  <a:lnTo>
                    <a:pt x="92" y="373"/>
                  </a:lnTo>
                  <a:lnTo>
                    <a:pt x="92" y="357"/>
                  </a:lnTo>
                  <a:lnTo>
                    <a:pt x="88" y="385"/>
                  </a:lnTo>
                  <a:lnTo>
                    <a:pt x="76" y="368"/>
                  </a:lnTo>
                  <a:lnTo>
                    <a:pt x="76" y="347"/>
                  </a:lnTo>
                  <a:lnTo>
                    <a:pt x="76" y="347"/>
                  </a:lnTo>
                  <a:lnTo>
                    <a:pt x="76" y="347"/>
                  </a:lnTo>
                  <a:close/>
                  <a:moveTo>
                    <a:pt x="177" y="257"/>
                  </a:moveTo>
                  <a:lnTo>
                    <a:pt x="182" y="257"/>
                  </a:lnTo>
                  <a:lnTo>
                    <a:pt x="168" y="246"/>
                  </a:lnTo>
                  <a:lnTo>
                    <a:pt x="177" y="257"/>
                  </a:lnTo>
                  <a:lnTo>
                    <a:pt x="177" y="257"/>
                  </a:lnTo>
                  <a:lnTo>
                    <a:pt x="177" y="257"/>
                  </a:lnTo>
                  <a:close/>
                  <a:moveTo>
                    <a:pt x="182" y="279"/>
                  </a:moveTo>
                  <a:lnTo>
                    <a:pt x="177" y="279"/>
                  </a:lnTo>
                  <a:lnTo>
                    <a:pt x="177" y="274"/>
                  </a:lnTo>
                  <a:lnTo>
                    <a:pt x="182" y="279"/>
                  </a:lnTo>
                  <a:lnTo>
                    <a:pt x="182" y="279"/>
                  </a:lnTo>
                  <a:lnTo>
                    <a:pt x="182" y="279"/>
                  </a:lnTo>
                  <a:close/>
                  <a:moveTo>
                    <a:pt x="177" y="302"/>
                  </a:moveTo>
                  <a:lnTo>
                    <a:pt x="168" y="286"/>
                  </a:lnTo>
                  <a:lnTo>
                    <a:pt x="182" y="286"/>
                  </a:lnTo>
                  <a:lnTo>
                    <a:pt x="177" y="295"/>
                  </a:lnTo>
                  <a:lnTo>
                    <a:pt x="177" y="302"/>
                  </a:lnTo>
                  <a:lnTo>
                    <a:pt x="177" y="302"/>
                  </a:lnTo>
                  <a:lnTo>
                    <a:pt x="177" y="302"/>
                  </a:lnTo>
                  <a:close/>
                  <a:moveTo>
                    <a:pt x="182" y="357"/>
                  </a:moveTo>
                  <a:lnTo>
                    <a:pt x="182" y="352"/>
                  </a:lnTo>
                  <a:lnTo>
                    <a:pt x="182" y="319"/>
                  </a:lnTo>
                  <a:lnTo>
                    <a:pt x="177" y="302"/>
                  </a:lnTo>
                  <a:lnTo>
                    <a:pt x="182" y="295"/>
                  </a:lnTo>
                  <a:lnTo>
                    <a:pt x="182" y="295"/>
                  </a:lnTo>
                  <a:lnTo>
                    <a:pt x="199" y="319"/>
                  </a:lnTo>
                  <a:lnTo>
                    <a:pt x="199" y="347"/>
                  </a:lnTo>
                  <a:lnTo>
                    <a:pt x="182" y="357"/>
                  </a:lnTo>
                  <a:lnTo>
                    <a:pt x="182" y="357"/>
                  </a:lnTo>
                  <a:lnTo>
                    <a:pt x="182" y="357"/>
                  </a:lnTo>
                  <a:close/>
                  <a:moveTo>
                    <a:pt x="248" y="328"/>
                  </a:moveTo>
                  <a:lnTo>
                    <a:pt x="236" y="319"/>
                  </a:lnTo>
                  <a:lnTo>
                    <a:pt x="236" y="302"/>
                  </a:lnTo>
                  <a:lnTo>
                    <a:pt x="248" y="319"/>
                  </a:lnTo>
                  <a:lnTo>
                    <a:pt x="248" y="328"/>
                  </a:lnTo>
                  <a:lnTo>
                    <a:pt x="248" y="328"/>
                  </a:lnTo>
                  <a:lnTo>
                    <a:pt x="248" y="328"/>
                  </a:lnTo>
                  <a:close/>
                  <a:moveTo>
                    <a:pt x="215" y="352"/>
                  </a:moveTo>
                  <a:lnTo>
                    <a:pt x="215" y="312"/>
                  </a:lnTo>
                  <a:lnTo>
                    <a:pt x="220" y="335"/>
                  </a:lnTo>
                  <a:lnTo>
                    <a:pt x="215" y="352"/>
                  </a:lnTo>
                  <a:lnTo>
                    <a:pt x="215" y="352"/>
                  </a:lnTo>
                  <a:lnTo>
                    <a:pt x="215" y="352"/>
                  </a:lnTo>
                  <a:close/>
                  <a:moveTo>
                    <a:pt x="177" y="352"/>
                  </a:moveTo>
                  <a:lnTo>
                    <a:pt x="177" y="352"/>
                  </a:lnTo>
                  <a:lnTo>
                    <a:pt x="182" y="347"/>
                  </a:lnTo>
                  <a:lnTo>
                    <a:pt x="177" y="352"/>
                  </a:lnTo>
                  <a:lnTo>
                    <a:pt x="177" y="352"/>
                  </a:lnTo>
                  <a:lnTo>
                    <a:pt x="177" y="352"/>
                  </a:lnTo>
                  <a:close/>
                  <a:moveTo>
                    <a:pt x="168" y="357"/>
                  </a:moveTo>
                  <a:lnTo>
                    <a:pt x="168" y="352"/>
                  </a:lnTo>
                  <a:lnTo>
                    <a:pt x="177" y="357"/>
                  </a:lnTo>
                  <a:lnTo>
                    <a:pt x="168" y="357"/>
                  </a:lnTo>
                  <a:lnTo>
                    <a:pt x="168" y="357"/>
                  </a:lnTo>
                  <a:lnTo>
                    <a:pt x="168" y="357"/>
                  </a:lnTo>
                  <a:close/>
                  <a:moveTo>
                    <a:pt x="269" y="390"/>
                  </a:moveTo>
                  <a:lnTo>
                    <a:pt x="269" y="373"/>
                  </a:lnTo>
                  <a:lnTo>
                    <a:pt x="274" y="385"/>
                  </a:lnTo>
                  <a:lnTo>
                    <a:pt x="269" y="390"/>
                  </a:lnTo>
                  <a:lnTo>
                    <a:pt x="269" y="390"/>
                  </a:lnTo>
                  <a:lnTo>
                    <a:pt x="269" y="39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69" name="Freeform 399">
              <a:extLst>
                <a:ext uri="{FF2B5EF4-FFF2-40B4-BE49-F238E27FC236}">
                  <a16:creationId xmlns:a16="http://schemas.microsoft.com/office/drawing/2014/main" id="{6D70F109-9CF0-4F50-907D-83EC641343A0}"/>
                </a:ext>
              </a:extLst>
            </p:cNvPr>
            <p:cNvSpPr>
              <a:spLocks noEditPoints="1"/>
            </p:cNvSpPr>
            <p:nvPr/>
          </p:nvSpPr>
          <p:spPr bwMode="gray">
            <a:xfrm>
              <a:off x="9387682" y="3196342"/>
              <a:ext cx="259764" cy="576402"/>
            </a:xfrm>
            <a:custGeom>
              <a:avLst/>
              <a:gdLst>
                <a:gd name="T0" fmla="*/ 31 w 631"/>
                <a:gd name="T1" fmla="*/ 552 h 1400"/>
                <a:gd name="T2" fmla="*/ 64 w 631"/>
                <a:gd name="T3" fmla="*/ 448 h 1400"/>
                <a:gd name="T4" fmla="*/ 92 w 631"/>
                <a:gd name="T5" fmla="*/ 354 h 1400"/>
                <a:gd name="T6" fmla="*/ 173 w 631"/>
                <a:gd name="T7" fmla="*/ 243 h 1400"/>
                <a:gd name="T8" fmla="*/ 286 w 631"/>
                <a:gd name="T9" fmla="*/ 94 h 1400"/>
                <a:gd name="T10" fmla="*/ 362 w 631"/>
                <a:gd name="T11" fmla="*/ 23 h 1400"/>
                <a:gd name="T12" fmla="*/ 442 w 631"/>
                <a:gd name="T13" fmla="*/ 73 h 1400"/>
                <a:gd name="T14" fmla="*/ 447 w 631"/>
                <a:gd name="T15" fmla="*/ 205 h 1400"/>
                <a:gd name="T16" fmla="*/ 392 w 631"/>
                <a:gd name="T17" fmla="*/ 276 h 1400"/>
                <a:gd name="T18" fmla="*/ 388 w 631"/>
                <a:gd name="T19" fmla="*/ 366 h 1400"/>
                <a:gd name="T20" fmla="*/ 463 w 631"/>
                <a:gd name="T21" fmla="*/ 387 h 1400"/>
                <a:gd name="T22" fmla="*/ 501 w 631"/>
                <a:gd name="T23" fmla="*/ 448 h 1400"/>
                <a:gd name="T24" fmla="*/ 555 w 631"/>
                <a:gd name="T25" fmla="*/ 536 h 1400"/>
                <a:gd name="T26" fmla="*/ 614 w 631"/>
                <a:gd name="T27" fmla="*/ 548 h 1400"/>
                <a:gd name="T28" fmla="*/ 555 w 631"/>
                <a:gd name="T29" fmla="*/ 625 h 1400"/>
                <a:gd name="T30" fmla="*/ 484 w 631"/>
                <a:gd name="T31" fmla="*/ 647 h 1400"/>
                <a:gd name="T32" fmla="*/ 399 w 631"/>
                <a:gd name="T33" fmla="*/ 680 h 1400"/>
                <a:gd name="T34" fmla="*/ 362 w 631"/>
                <a:gd name="T35" fmla="*/ 758 h 1400"/>
                <a:gd name="T36" fmla="*/ 451 w 631"/>
                <a:gd name="T37" fmla="*/ 923 h 1400"/>
                <a:gd name="T38" fmla="*/ 442 w 631"/>
                <a:gd name="T39" fmla="*/ 996 h 1400"/>
                <a:gd name="T40" fmla="*/ 496 w 631"/>
                <a:gd name="T41" fmla="*/ 1112 h 1400"/>
                <a:gd name="T42" fmla="*/ 506 w 631"/>
                <a:gd name="T43" fmla="*/ 1216 h 1400"/>
                <a:gd name="T44" fmla="*/ 447 w 631"/>
                <a:gd name="T45" fmla="*/ 1388 h 1400"/>
                <a:gd name="T46" fmla="*/ 463 w 631"/>
                <a:gd name="T47" fmla="*/ 1256 h 1400"/>
                <a:gd name="T48" fmla="*/ 447 w 631"/>
                <a:gd name="T49" fmla="*/ 1223 h 1400"/>
                <a:gd name="T50" fmla="*/ 425 w 631"/>
                <a:gd name="T51" fmla="*/ 1088 h 1400"/>
                <a:gd name="T52" fmla="*/ 388 w 631"/>
                <a:gd name="T53" fmla="*/ 907 h 1400"/>
                <a:gd name="T54" fmla="*/ 333 w 631"/>
                <a:gd name="T55" fmla="*/ 869 h 1400"/>
                <a:gd name="T56" fmla="*/ 286 w 631"/>
                <a:gd name="T57" fmla="*/ 918 h 1400"/>
                <a:gd name="T58" fmla="*/ 227 w 631"/>
                <a:gd name="T59" fmla="*/ 940 h 1400"/>
                <a:gd name="T60" fmla="*/ 199 w 631"/>
                <a:gd name="T61" fmla="*/ 963 h 1400"/>
                <a:gd name="T62" fmla="*/ 182 w 631"/>
                <a:gd name="T63" fmla="*/ 940 h 1400"/>
                <a:gd name="T64" fmla="*/ 144 w 631"/>
                <a:gd name="T65" fmla="*/ 947 h 1400"/>
                <a:gd name="T66" fmla="*/ 139 w 631"/>
                <a:gd name="T67" fmla="*/ 737 h 1400"/>
                <a:gd name="T68" fmla="*/ 102 w 631"/>
                <a:gd name="T69" fmla="*/ 670 h 1400"/>
                <a:gd name="T70" fmla="*/ 69 w 631"/>
                <a:gd name="T71" fmla="*/ 659 h 1400"/>
                <a:gd name="T72" fmla="*/ 47 w 631"/>
                <a:gd name="T73" fmla="*/ 642 h 1400"/>
                <a:gd name="T74" fmla="*/ 17 w 631"/>
                <a:gd name="T75" fmla="*/ 602 h 1400"/>
                <a:gd name="T76" fmla="*/ 102 w 631"/>
                <a:gd name="T77" fmla="*/ 687 h 1400"/>
                <a:gd name="T78" fmla="*/ 123 w 631"/>
                <a:gd name="T79" fmla="*/ 725 h 1400"/>
                <a:gd name="T80" fmla="*/ 118 w 631"/>
                <a:gd name="T81" fmla="*/ 703 h 1400"/>
                <a:gd name="T82" fmla="*/ 92 w 631"/>
                <a:gd name="T83" fmla="*/ 737 h 1400"/>
                <a:gd name="T84" fmla="*/ 376 w 631"/>
                <a:gd name="T85" fmla="*/ 935 h 1400"/>
                <a:gd name="T86" fmla="*/ 173 w 631"/>
                <a:gd name="T87" fmla="*/ 940 h 1400"/>
                <a:gd name="T88" fmla="*/ 430 w 631"/>
                <a:gd name="T89" fmla="*/ 1216 h 1400"/>
                <a:gd name="T90" fmla="*/ 430 w 631"/>
                <a:gd name="T91" fmla="*/ 1216 h 1400"/>
                <a:gd name="T92" fmla="*/ 409 w 631"/>
                <a:gd name="T93" fmla="*/ 1216 h 1400"/>
                <a:gd name="T94" fmla="*/ 413 w 631"/>
                <a:gd name="T95" fmla="*/ 1223 h 1400"/>
                <a:gd name="T96" fmla="*/ 442 w 631"/>
                <a:gd name="T97" fmla="*/ 1233 h 1400"/>
                <a:gd name="T98" fmla="*/ 447 w 631"/>
                <a:gd name="T99" fmla="*/ 1256 h 1400"/>
                <a:gd name="T100" fmla="*/ 430 w 631"/>
                <a:gd name="T101" fmla="*/ 1256 h 1400"/>
                <a:gd name="T102" fmla="*/ 447 w 631"/>
                <a:gd name="T103" fmla="*/ 1306 h 1400"/>
                <a:gd name="T104" fmla="*/ 425 w 631"/>
                <a:gd name="T105" fmla="*/ 1332 h 1400"/>
                <a:gd name="T106" fmla="*/ 425 w 631"/>
                <a:gd name="T107" fmla="*/ 1332 h 1400"/>
                <a:gd name="T108" fmla="*/ 399 w 631"/>
                <a:gd name="T109" fmla="*/ 1348 h 1400"/>
                <a:gd name="T110" fmla="*/ 425 w 631"/>
                <a:gd name="T111" fmla="*/ 1384 h 1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1400">
                  <a:moveTo>
                    <a:pt x="10" y="569"/>
                  </a:moveTo>
                  <a:lnTo>
                    <a:pt x="0" y="552"/>
                  </a:lnTo>
                  <a:lnTo>
                    <a:pt x="10" y="548"/>
                  </a:lnTo>
                  <a:lnTo>
                    <a:pt x="17" y="536"/>
                  </a:lnTo>
                  <a:lnTo>
                    <a:pt x="31" y="552"/>
                  </a:lnTo>
                  <a:lnTo>
                    <a:pt x="31" y="552"/>
                  </a:lnTo>
                  <a:lnTo>
                    <a:pt x="31" y="503"/>
                  </a:lnTo>
                  <a:lnTo>
                    <a:pt x="38" y="493"/>
                  </a:lnTo>
                  <a:lnTo>
                    <a:pt x="54" y="498"/>
                  </a:lnTo>
                  <a:lnTo>
                    <a:pt x="64" y="481"/>
                  </a:lnTo>
                  <a:lnTo>
                    <a:pt x="69" y="481"/>
                  </a:lnTo>
                  <a:lnTo>
                    <a:pt x="64" y="448"/>
                  </a:lnTo>
                  <a:lnTo>
                    <a:pt x="69" y="420"/>
                  </a:lnTo>
                  <a:lnTo>
                    <a:pt x="76" y="427"/>
                  </a:lnTo>
                  <a:lnTo>
                    <a:pt x="85" y="411"/>
                  </a:lnTo>
                  <a:lnTo>
                    <a:pt x="85" y="370"/>
                  </a:lnTo>
                  <a:lnTo>
                    <a:pt x="85" y="337"/>
                  </a:lnTo>
                  <a:lnTo>
                    <a:pt x="92" y="354"/>
                  </a:lnTo>
                  <a:lnTo>
                    <a:pt x="106" y="349"/>
                  </a:lnTo>
                  <a:lnTo>
                    <a:pt x="139" y="366"/>
                  </a:lnTo>
                  <a:lnTo>
                    <a:pt x="177" y="266"/>
                  </a:lnTo>
                  <a:lnTo>
                    <a:pt x="177" y="259"/>
                  </a:lnTo>
                  <a:lnTo>
                    <a:pt x="173" y="255"/>
                  </a:lnTo>
                  <a:lnTo>
                    <a:pt x="173" y="243"/>
                  </a:lnTo>
                  <a:lnTo>
                    <a:pt x="194" y="226"/>
                  </a:lnTo>
                  <a:lnTo>
                    <a:pt x="210" y="188"/>
                  </a:lnTo>
                  <a:lnTo>
                    <a:pt x="199" y="172"/>
                  </a:lnTo>
                  <a:lnTo>
                    <a:pt x="210" y="151"/>
                  </a:lnTo>
                  <a:lnTo>
                    <a:pt x="232" y="144"/>
                  </a:lnTo>
                  <a:lnTo>
                    <a:pt x="286" y="94"/>
                  </a:lnTo>
                  <a:lnTo>
                    <a:pt x="317" y="94"/>
                  </a:lnTo>
                  <a:lnTo>
                    <a:pt x="333" y="99"/>
                  </a:lnTo>
                  <a:lnTo>
                    <a:pt x="345" y="111"/>
                  </a:lnTo>
                  <a:lnTo>
                    <a:pt x="333" y="73"/>
                  </a:lnTo>
                  <a:lnTo>
                    <a:pt x="362" y="44"/>
                  </a:lnTo>
                  <a:lnTo>
                    <a:pt x="362" y="23"/>
                  </a:lnTo>
                  <a:lnTo>
                    <a:pt x="371" y="16"/>
                  </a:lnTo>
                  <a:lnTo>
                    <a:pt x="376" y="0"/>
                  </a:lnTo>
                  <a:lnTo>
                    <a:pt x="409" y="23"/>
                  </a:lnTo>
                  <a:lnTo>
                    <a:pt x="413" y="33"/>
                  </a:lnTo>
                  <a:lnTo>
                    <a:pt x="430" y="77"/>
                  </a:lnTo>
                  <a:lnTo>
                    <a:pt x="442" y="73"/>
                  </a:lnTo>
                  <a:lnTo>
                    <a:pt x="451" y="77"/>
                  </a:lnTo>
                  <a:lnTo>
                    <a:pt x="463" y="134"/>
                  </a:lnTo>
                  <a:lnTo>
                    <a:pt x="463" y="184"/>
                  </a:lnTo>
                  <a:lnTo>
                    <a:pt x="447" y="188"/>
                  </a:lnTo>
                  <a:lnTo>
                    <a:pt x="451" y="205"/>
                  </a:lnTo>
                  <a:lnTo>
                    <a:pt x="447" y="205"/>
                  </a:lnTo>
                  <a:lnTo>
                    <a:pt x="430" y="226"/>
                  </a:lnTo>
                  <a:lnTo>
                    <a:pt x="425" y="226"/>
                  </a:lnTo>
                  <a:lnTo>
                    <a:pt x="409" y="255"/>
                  </a:lnTo>
                  <a:lnTo>
                    <a:pt x="399" y="259"/>
                  </a:lnTo>
                  <a:lnTo>
                    <a:pt x="392" y="255"/>
                  </a:lnTo>
                  <a:lnTo>
                    <a:pt x="392" y="276"/>
                  </a:lnTo>
                  <a:lnTo>
                    <a:pt x="376" y="292"/>
                  </a:lnTo>
                  <a:lnTo>
                    <a:pt x="376" y="316"/>
                  </a:lnTo>
                  <a:lnTo>
                    <a:pt x="388" y="316"/>
                  </a:lnTo>
                  <a:lnTo>
                    <a:pt x="392" y="337"/>
                  </a:lnTo>
                  <a:lnTo>
                    <a:pt x="376" y="354"/>
                  </a:lnTo>
                  <a:lnTo>
                    <a:pt x="388" y="366"/>
                  </a:lnTo>
                  <a:lnTo>
                    <a:pt x="413" y="337"/>
                  </a:lnTo>
                  <a:lnTo>
                    <a:pt x="468" y="337"/>
                  </a:lnTo>
                  <a:lnTo>
                    <a:pt x="451" y="354"/>
                  </a:lnTo>
                  <a:lnTo>
                    <a:pt x="451" y="366"/>
                  </a:lnTo>
                  <a:lnTo>
                    <a:pt x="463" y="370"/>
                  </a:lnTo>
                  <a:lnTo>
                    <a:pt x="463" y="387"/>
                  </a:lnTo>
                  <a:lnTo>
                    <a:pt x="468" y="394"/>
                  </a:lnTo>
                  <a:lnTo>
                    <a:pt x="468" y="411"/>
                  </a:lnTo>
                  <a:lnTo>
                    <a:pt x="484" y="420"/>
                  </a:lnTo>
                  <a:lnTo>
                    <a:pt x="517" y="420"/>
                  </a:lnTo>
                  <a:lnTo>
                    <a:pt x="517" y="427"/>
                  </a:lnTo>
                  <a:lnTo>
                    <a:pt x="501" y="448"/>
                  </a:lnTo>
                  <a:lnTo>
                    <a:pt x="506" y="465"/>
                  </a:lnTo>
                  <a:lnTo>
                    <a:pt x="484" y="493"/>
                  </a:lnTo>
                  <a:lnTo>
                    <a:pt x="550" y="498"/>
                  </a:lnTo>
                  <a:lnTo>
                    <a:pt x="550" y="519"/>
                  </a:lnTo>
                  <a:lnTo>
                    <a:pt x="555" y="531"/>
                  </a:lnTo>
                  <a:lnTo>
                    <a:pt x="555" y="536"/>
                  </a:lnTo>
                  <a:lnTo>
                    <a:pt x="560" y="548"/>
                  </a:lnTo>
                  <a:lnTo>
                    <a:pt x="576" y="536"/>
                  </a:lnTo>
                  <a:lnTo>
                    <a:pt x="588" y="548"/>
                  </a:lnTo>
                  <a:lnTo>
                    <a:pt x="624" y="519"/>
                  </a:lnTo>
                  <a:lnTo>
                    <a:pt x="631" y="531"/>
                  </a:lnTo>
                  <a:lnTo>
                    <a:pt x="614" y="548"/>
                  </a:lnTo>
                  <a:lnTo>
                    <a:pt x="602" y="552"/>
                  </a:lnTo>
                  <a:lnTo>
                    <a:pt x="588" y="576"/>
                  </a:lnTo>
                  <a:lnTo>
                    <a:pt x="588" y="585"/>
                  </a:lnTo>
                  <a:lnTo>
                    <a:pt x="593" y="585"/>
                  </a:lnTo>
                  <a:lnTo>
                    <a:pt x="560" y="592"/>
                  </a:lnTo>
                  <a:lnTo>
                    <a:pt x="555" y="625"/>
                  </a:lnTo>
                  <a:lnTo>
                    <a:pt x="550" y="614"/>
                  </a:lnTo>
                  <a:lnTo>
                    <a:pt x="534" y="625"/>
                  </a:lnTo>
                  <a:lnTo>
                    <a:pt x="517" y="625"/>
                  </a:lnTo>
                  <a:lnTo>
                    <a:pt x="517" y="642"/>
                  </a:lnTo>
                  <a:lnTo>
                    <a:pt x="506" y="642"/>
                  </a:lnTo>
                  <a:lnTo>
                    <a:pt x="484" y="647"/>
                  </a:lnTo>
                  <a:lnTo>
                    <a:pt x="480" y="663"/>
                  </a:lnTo>
                  <a:lnTo>
                    <a:pt x="468" y="663"/>
                  </a:lnTo>
                  <a:lnTo>
                    <a:pt x="425" y="670"/>
                  </a:lnTo>
                  <a:lnTo>
                    <a:pt x="409" y="663"/>
                  </a:lnTo>
                  <a:lnTo>
                    <a:pt x="409" y="680"/>
                  </a:lnTo>
                  <a:lnTo>
                    <a:pt x="399" y="680"/>
                  </a:lnTo>
                  <a:lnTo>
                    <a:pt x="392" y="696"/>
                  </a:lnTo>
                  <a:lnTo>
                    <a:pt x="392" y="720"/>
                  </a:lnTo>
                  <a:lnTo>
                    <a:pt x="388" y="725"/>
                  </a:lnTo>
                  <a:lnTo>
                    <a:pt x="392" y="758"/>
                  </a:lnTo>
                  <a:lnTo>
                    <a:pt x="371" y="770"/>
                  </a:lnTo>
                  <a:lnTo>
                    <a:pt x="362" y="758"/>
                  </a:lnTo>
                  <a:lnTo>
                    <a:pt x="371" y="779"/>
                  </a:lnTo>
                  <a:lnTo>
                    <a:pt x="388" y="779"/>
                  </a:lnTo>
                  <a:lnTo>
                    <a:pt x="392" y="824"/>
                  </a:lnTo>
                  <a:lnTo>
                    <a:pt x="447" y="881"/>
                  </a:lnTo>
                  <a:lnTo>
                    <a:pt x="442" y="890"/>
                  </a:lnTo>
                  <a:lnTo>
                    <a:pt x="451" y="923"/>
                  </a:lnTo>
                  <a:lnTo>
                    <a:pt x="468" y="918"/>
                  </a:lnTo>
                  <a:lnTo>
                    <a:pt x="468" y="918"/>
                  </a:lnTo>
                  <a:lnTo>
                    <a:pt x="468" y="940"/>
                  </a:lnTo>
                  <a:lnTo>
                    <a:pt x="451" y="947"/>
                  </a:lnTo>
                  <a:lnTo>
                    <a:pt x="447" y="996"/>
                  </a:lnTo>
                  <a:lnTo>
                    <a:pt x="442" y="996"/>
                  </a:lnTo>
                  <a:lnTo>
                    <a:pt x="425" y="1001"/>
                  </a:lnTo>
                  <a:lnTo>
                    <a:pt x="425" y="1018"/>
                  </a:lnTo>
                  <a:lnTo>
                    <a:pt x="430" y="1046"/>
                  </a:lnTo>
                  <a:lnTo>
                    <a:pt x="451" y="1072"/>
                  </a:lnTo>
                  <a:lnTo>
                    <a:pt x="480" y="1088"/>
                  </a:lnTo>
                  <a:lnTo>
                    <a:pt x="496" y="1112"/>
                  </a:lnTo>
                  <a:lnTo>
                    <a:pt x="496" y="1157"/>
                  </a:lnTo>
                  <a:lnTo>
                    <a:pt x="484" y="1157"/>
                  </a:lnTo>
                  <a:lnTo>
                    <a:pt x="484" y="1162"/>
                  </a:lnTo>
                  <a:lnTo>
                    <a:pt x="496" y="1183"/>
                  </a:lnTo>
                  <a:lnTo>
                    <a:pt x="506" y="1199"/>
                  </a:lnTo>
                  <a:lnTo>
                    <a:pt x="506" y="1216"/>
                  </a:lnTo>
                  <a:lnTo>
                    <a:pt x="522" y="1256"/>
                  </a:lnTo>
                  <a:lnTo>
                    <a:pt x="496" y="1311"/>
                  </a:lnTo>
                  <a:lnTo>
                    <a:pt x="463" y="1332"/>
                  </a:lnTo>
                  <a:lnTo>
                    <a:pt x="463" y="1348"/>
                  </a:lnTo>
                  <a:lnTo>
                    <a:pt x="463" y="1360"/>
                  </a:lnTo>
                  <a:lnTo>
                    <a:pt x="447" y="1388"/>
                  </a:lnTo>
                  <a:lnTo>
                    <a:pt x="442" y="1332"/>
                  </a:lnTo>
                  <a:lnTo>
                    <a:pt x="447" y="1332"/>
                  </a:lnTo>
                  <a:lnTo>
                    <a:pt x="451" y="1322"/>
                  </a:lnTo>
                  <a:lnTo>
                    <a:pt x="463" y="1266"/>
                  </a:lnTo>
                  <a:lnTo>
                    <a:pt x="468" y="1266"/>
                  </a:lnTo>
                  <a:lnTo>
                    <a:pt x="463" y="1256"/>
                  </a:lnTo>
                  <a:lnTo>
                    <a:pt x="451" y="1266"/>
                  </a:lnTo>
                  <a:lnTo>
                    <a:pt x="447" y="1256"/>
                  </a:lnTo>
                  <a:lnTo>
                    <a:pt x="451" y="1240"/>
                  </a:lnTo>
                  <a:lnTo>
                    <a:pt x="451" y="1223"/>
                  </a:lnTo>
                  <a:lnTo>
                    <a:pt x="451" y="1223"/>
                  </a:lnTo>
                  <a:lnTo>
                    <a:pt x="447" y="1223"/>
                  </a:lnTo>
                  <a:lnTo>
                    <a:pt x="451" y="1216"/>
                  </a:lnTo>
                  <a:lnTo>
                    <a:pt x="447" y="1211"/>
                  </a:lnTo>
                  <a:lnTo>
                    <a:pt x="451" y="1195"/>
                  </a:lnTo>
                  <a:lnTo>
                    <a:pt x="447" y="1157"/>
                  </a:lnTo>
                  <a:lnTo>
                    <a:pt x="430" y="1112"/>
                  </a:lnTo>
                  <a:lnTo>
                    <a:pt x="425" y="1088"/>
                  </a:lnTo>
                  <a:lnTo>
                    <a:pt x="413" y="1129"/>
                  </a:lnTo>
                  <a:lnTo>
                    <a:pt x="413" y="1084"/>
                  </a:lnTo>
                  <a:lnTo>
                    <a:pt x="392" y="1029"/>
                  </a:lnTo>
                  <a:lnTo>
                    <a:pt x="388" y="956"/>
                  </a:lnTo>
                  <a:lnTo>
                    <a:pt x="376" y="940"/>
                  </a:lnTo>
                  <a:lnTo>
                    <a:pt x="388" y="907"/>
                  </a:lnTo>
                  <a:lnTo>
                    <a:pt x="392" y="907"/>
                  </a:lnTo>
                  <a:lnTo>
                    <a:pt x="362" y="907"/>
                  </a:lnTo>
                  <a:lnTo>
                    <a:pt x="345" y="864"/>
                  </a:lnTo>
                  <a:lnTo>
                    <a:pt x="333" y="836"/>
                  </a:lnTo>
                  <a:lnTo>
                    <a:pt x="324" y="864"/>
                  </a:lnTo>
                  <a:lnTo>
                    <a:pt x="333" y="869"/>
                  </a:lnTo>
                  <a:lnTo>
                    <a:pt x="324" y="890"/>
                  </a:lnTo>
                  <a:lnTo>
                    <a:pt x="307" y="907"/>
                  </a:lnTo>
                  <a:lnTo>
                    <a:pt x="291" y="907"/>
                  </a:lnTo>
                  <a:lnTo>
                    <a:pt x="286" y="902"/>
                  </a:lnTo>
                  <a:lnTo>
                    <a:pt x="286" y="885"/>
                  </a:lnTo>
                  <a:lnTo>
                    <a:pt x="286" y="918"/>
                  </a:lnTo>
                  <a:lnTo>
                    <a:pt x="269" y="918"/>
                  </a:lnTo>
                  <a:lnTo>
                    <a:pt x="269" y="923"/>
                  </a:lnTo>
                  <a:lnTo>
                    <a:pt x="253" y="940"/>
                  </a:lnTo>
                  <a:lnTo>
                    <a:pt x="232" y="963"/>
                  </a:lnTo>
                  <a:lnTo>
                    <a:pt x="215" y="963"/>
                  </a:lnTo>
                  <a:lnTo>
                    <a:pt x="227" y="940"/>
                  </a:lnTo>
                  <a:lnTo>
                    <a:pt x="215" y="963"/>
                  </a:lnTo>
                  <a:lnTo>
                    <a:pt x="210" y="963"/>
                  </a:lnTo>
                  <a:lnTo>
                    <a:pt x="210" y="940"/>
                  </a:lnTo>
                  <a:lnTo>
                    <a:pt x="215" y="940"/>
                  </a:lnTo>
                  <a:lnTo>
                    <a:pt x="210" y="940"/>
                  </a:lnTo>
                  <a:lnTo>
                    <a:pt x="199" y="963"/>
                  </a:lnTo>
                  <a:lnTo>
                    <a:pt x="182" y="963"/>
                  </a:lnTo>
                  <a:lnTo>
                    <a:pt x="182" y="940"/>
                  </a:lnTo>
                  <a:lnTo>
                    <a:pt x="199" y="935"/>
                  </a:lnTo>
                  <a:lnTo>
                    <a:pt x="173" y="956"/>
                  </a:lnTo>
                  <a:lnTo>
                    <a:pt x="173" y="956"/>
                  </a:lnTo>
                  <a:lnTo>
                    <a:pt x="182" y="940"/>
                  </a:lnTo>
                  <a:lnTo>
                    <a:pt x="173" y="947"/>
                  </a:lnTo>
                  <a:lnTo>
                    <a:pt x="177" y="940"/>
                  </a:lnTo>
                  <a:lnTo>
                    <a:pt x="173" y="923"/>
                  </a:lnTo>
                  <a:lnTo>
                    <a:pt x="161" y="923"/>
                  </a:lnTo>
                  <a:lnTo>
                    <a:pt x="161" y="940"/>
                  </a:lnTo>
                  <a:lnTo>
                    <a:pt x="144" y="947"/>
                  </a:lnTo>
                  <a:lnTo>
                    <a:pt x="144" y="923"/>
                  </a:lnTo>
                  <a:lnTo>
                    <a:pt x="173" y="829"/>
                  </a:lnTo>
                  <a:lnTo>
                    <a:pt x="156" y="774"/>
                  </a:lnTo>
                  <a:lnTo>
                    <a:pt x="144" y="758"/>
                  </a:lnTo>
                  <a:lnTo>
                    <a:pt x="144" y="741"/>
                  </a:lnTo>
                  <a:lnTo>
                    <a:pt x="139" y="737"/>
                  </a:lnTo>
                  <a:lnTo>
                    <a:pt x="128" y="737"/>
                  </a:lnTo>
                  <a:lnTo>
                    <a:pt x="128" y="713"/>
                  </a:lnTo>
                  <a:lnTo>
                    <a:pt x="123" y="713"/>
                  </a:lnTo>
                  <a:lnTo>
                    <a:pt x="118" y="703"/>
                  </a:lnTo>
                  <a:lnTo>
                    <a:pt x="123" y="696"/>
                  </a:lnTo>
                  <a:lnTo>
                    <a:pt x="102" y="670"/>
                  </a:lnTo>
                  <a:lnTo>
                    <a:pt x="106" y="659"/>
                  </a:lnTo>
                  <a:lnTo>
                    <a:pt x="102" y="663"/>
                  </a:lnTo>
                  <a:lnTo>
                    <a:pt x="85" y="647"/>
                  </a:lnTo>
                  <a:lnTo>
                    <a:pt x="69" y="647"/>
                  </a:lnTo>
                  <a:lnTo>
                    <a:pt x="76" y="663"/>
                  </a:lnTo>
                  <a:lnTo>
                    <a:pt x="69" y="659"/>
                  </a:lnTo>
                  <a:lnTo>
                    <a:pt x="69" y="663"/>
                  </a:lnTo>
                  <a:lnTo>
                    <a:pt x="54" y="642"/>
                  </a:lnTo>
                  <a:lnTo>
                    <a:pt x="69" y="642"/>
                  </a:lnTo>
                  <a:lnTo>
                    <a:pt x="54" y="642"/>
                  </a:lnTo>
                  <a:lnTo>
                    <a:pt x="64" y="609"/>
                  </a:lnTo>
                  <a:lnTo>
                    <a:pt x="47" y="642"/>
                  </a:lnTo>
                  <a:lnTo>
                    <a:pt x="38" y="630"/>
                  </a:lnTo>
                  <a:lnTo>
                    <a:pt x="47" y="625"/>
                  </a:lnTo>
                  <a:lnTo>
                    <a:pt x="47" y="614"/>
                  </a:lnTo>
                  <a:lnTo>
                    <a:pt x="31" y="602"/>
                  </a:lnTo>
                  <a:lnTo>
                    <a:pt x="38" y="630"/>
                  </a:lnTo>
                  <a:lnTo>
                    <a:pt x="17" y="602"/>
                  </a:lnTo>
                  <a:lnTo>
                    <a:pt x="10" y="569"/>
                  </a:lnTo>
                  <a:lnTo>
                    <a:pt x="10" y="569"/>
                  </a:lnTo>
                  <a:lnTo>
                    <a:pt x="10" y="569"/>
                  </a:lnTo>
                  <a:close/>
                  <a:moveTo>
                    <a:pt x="123" y="696"/>
                  </a:moveTo>
                  <a:lnTo>
                    <a:pt x="118" y="703"/>
                  </a:lnTo>
                  <a:lnTo>
                    <a:pt x="102" y="687"/>
                  </a:lnTo>
                  <a:lnTo>
                    <a:pt x="106" y="687"/>
                  </a:lnTo>
                  <a:lnTo>
                    <a:pt x="123" y="696"/>
                  </a:lnTo>
                  <a:lnTo>
                    <a:pt x="123" y="696"/>
                  </a:lnTo>
                  <a:lnTo>
                    <a:pt x="123" y="696"/>
                  </a:lnTo>
                  <a:close/>
                  <a:moveTo>
                    <a:pt x="118" y="703"/>
                  </a:moveTo>
                  <a:lnTo>
                    <a:pt x="123" y="725"/>
                  </a:lnTo>
                  <a:lnTo>
                    <a:pt x="123" y="737"/>
                  </a:lnTo>
                  <a:lnTo>
                    <a:pt x="106" y="725"/>
                  </a:lnTo>
                  <a:lnTo>
                    <a:pt x="92" y="696"/>
                  </a:lnTo>
                  <a:lnTo>
                    <a:pt x="92" y="696"/>
                  </a:lnTo>
                  <a:lnTo>
                    <a:pt x="106" y="703"/>
                  </a:lnTo>
                  <a:lnTo>
                    <a:pt x="118" y="703"/>
                  </a:lnTo>
                  <a:lnTo>
                    <a:pt x="118" y="703"/>
                  </a:lnTo>
                  <a:lnTo>
                    <a:pt x="118" y="703"/>
                  </a:lnTo>
                  <a:close/>
                  <a:moveTo>
                    <a:pt x="102" y="737"/>
                  </a:moveTo>
                  <a:lnTo>
                    <a:pt x="106" y="737"/>
                  </a:lnTo>
                  <a:lnTo>
                    <a:pt x="106" y="753"/>
                  </a:lnTo>
                  <a:lnTo>
                    <a:pt x="92" y="737"/>
                  </a:lnTo>
                  <a:lnTo>
                    <a:pt x="102" y="737"/>
                  </a:lnTo>
                  <a:lnTo>
                    <a:pt x="102" y="737"/>
                  </a:lnTo>
                  <a:lnTo>
                    <a:pt x="102" y="737"/>
                  </a:lnTo>
                  <a:close/>
                  <a:moveTo>
                    <a:pt x="376" y="907"/>
                  </a:moveTo>
                  <a:lnTo>
                    <a:pt x="376" y="918"/>
                  </a:lnTo>
                  <a:lnTo>
                    <a:pt x="376" y="935"/>
                  </a:lnTo>
                  <a:lnTo>
                    <a:pt x="371" y="923"/>
                  </a:lnTo>
                  <a:lnTo>
                    <a:pt x="376" y="907"/>
                  </a:lnTo>
                  <a:lnTo>
                    <a:pt x="376" y="907"/>
                  </a:lnTo>
                  <a:lnTo>
                    <a:pt x="376" y="907"/>
                  </a:lnTo>
                  <a:close/>
                  <a:moveTo>
                    <a:pt x="173" y="935"/>
                  </a:moveTo>
                  <a:lnTo>
                    <a:pt x="173" y="940"/>
                  </a:lnTo>
                  <a:lnTo>
                    <a:pt x="156" y="956"/>
                  </a:lnTo>
                  <a:lnTo>
                    <a:pt x="156" y="947"/>
                  </a:lnTo>
                  <a:lnTo>
                    <a:pt x="173" y="935"/>
                  </a:lnTo>
                  <a:lnTo>
                    <a:pt x="173" y="935"/>
                  </a:lnTo>
                  <a:lnTo>
                    <a:pt x="173" y="935"/>
                  </a:lnTo>
                  <a:close/>
                  <a:moveTo>
                    <a:pt x="430" y="1216"/>
                  </a:moveTo>
                  <a:lnTo>
                    <a:pt x="430" y="1195"/>
                  </a:lnTo>
                  <a:lnTo>
                    <a:pt x="442" y="1195"/>
                  </a:lnTo>
                  <a:lnTo>
                    <a:pt x="442" y="1211"/>
                  </a:lnTo>
                  <a:lnTo>
                    <a:pt x="430" y="1216"/>
                  </a:lnTo>
                  <a:lnTo>
                    <a:pt x="430" y="1216"/>
                  </a:lnTo>
                  <a:lnTo>
                    <a:pt x="430" y="1216"/>
                  </a:lnTo>
                  <a:lnTo>
                    <a:pt x="430" y="1216"/>
                  </a:lnTo>
                  <a:close/>
                  <a:moveTo>
                    <a:pt x="409" y="1216"/>
                  </a:moveTo>
                  <a:lnTo>
                    <a:pt x="399" y="1216"/>
                  </a:lnTo>
                  <a:lnTo>
                    <a:pt x="413" y="1211"/>
                  </a:lnTo>
                  <a:lnTo>
                    <a:pt x="409" y="1216"/>
                  </a:lnTo>
                  <a:lnTo>
                    <a:pt x="409" y="1216"/>
                  </a:lnTo>
                  <a:lnTo>
                    <a:pt x="409" y="1216"/>
                  </a:lnTo>
                  <a:close/>
                  <a:moveTo>
                    <a:pt x="413" y="1223"/>
                  </a:moveTo>
                  <a:lnTo>
                    <a:pt x="409" y="1216"/>
                  </a:lnTo>
                  <a:lnTo>
                    <a:pt x="413" y="1216"/>
                  </a:lnTo>
                  <a:lnTo>
                    <a:pt x="413" y="1233"/>
                  </a:lnTo>
                  <a:lnTo>
                    <a:pt x="413" y="1223"/>
                  </a:lnTo>
                  <a:lnTo>
                    <a:pt x="413" y="1223"/>
                  </a:lnTo>
                  <a:lnTo>
                    <a:pt x="413" y="1223"/>
                  </a:lnTo>
                  <a:close/>
                  <a:moveTo>
                    <a:pt x="447" y="1240"/>
                  </a:moveTo>
                  <a:lnTo>
                    <a:pt x="451" y="1249"/>
                  </a:lnTo>
                  <a:lnTo>
                    <a:pt x="442" y="1249"/>
                  </a:lnTo>
                  <a:lnTo>
                    <a:pt x="442" y="1233"/>
                  </a:lnTo>
                  <a:lnTo>
                    <a:pt x="447" y="1240"/>
                  </a:lnTo>
                  <a:lnTo>
                    <a:pt x="447" y="1240"/>
                  </a:lnTo>
                  <a:lnTo>
                    <a:pt x="447" y="1240"/>
                  </a:lnTo>
                  <a:close/>
                  <a:moveTo>
                    <a:pt x="442" y="1273"/>
                  </a:moveTo>
                  <a:lnTo>
                    <a:pt x="430" y="1256"/>
                  </a:lnTo>
                  <a:lnTo>
                    <a:pt x="447" y="1256"/>
                  </a:lnTo>
                  <a:lnTo>
                    <a:pt x="447" y="1273"/>
                  </a:lnTo>
                  <a:lnTo>
                    <a:pt x="442" y="1273"/>
                  </a:lnTo>
                  <a:lnTo>
                    <a:pt x="442" y="1273"/>
                  </a:lnTo>
                  <a:lnTo>
                    <a:pt x="442" y="1273"/>
                  </a:lnTo>
                  <a:close/>
                  <a:moveTo>
                    <a:pt x="413" y="1277"/>
                  </a:moveTo>
                  <a:lnTo>
                    <a:pt x="430" y="1256"/>
                  </a:lnTo>
                  <a:lnTo>
                    <a:pt x="425" y="1277"/>
                  </a:lnTo>
                  <a:lnTo>
                    <a:pt x="413" y="1277"/>
                  </a:lnTo>
                  <a:lnTo>
                    <a:pt x="413" y="1277"/>
                  </a:lnTo>
                  <a:lnTo>
                    <a:pt x="413" y="1277"/>
                  </a:lnTo>
                  <a:close/>
                  <a:moveTo>
                    <a:pt x="442" y="1311"/>
                  </a:moveTo>
                  <a:lnTo>
                    <a:pt x="447" y="1306"/>
                  </a:lnTo>
                  <a:lnTo>
                    <a:pt x="447" y="1322"/>
                  </a:lnTo>
                  <a:lnTo>
                    <a:pt x="442" y="1311"/>
                  </a:lnTo>
                  <a:lnTo>
                    <a:pt x="442" y="1311"/>
                  </a:lnTo>
                  <a:lnTo>
                    <a:pt x="442" y="1311"/>
                  </a:lnTo>
                  <a:close/>
                  <a:moveTo>
                    <a:pt x="425" y="1332"/>
                  </a:moveTo>
                  <a:lnTo>
                    <a:pt x="425" y="1332"/>
                  </a:lnTo>
                  <a:lnTo>
                    <a:pt x="413" y="1322"/>
                  </a:lnTo>
                  <a:lnTo>
                    <a:pt x="413" y="1322"/>
                  </a:lnTo>
                  <a:lnTo>
                    <a:pt x="413" y="1311"/>
                  </a:lnTo>
                  <a:lnTo>
                    <a:pt x="425" y="1332"/>
                  </a:lnTo>
                  <a:lnTo>
                    <a:pt x="425" y="1332"/>
                  </a:lnTo>
                  <a:lnTo>
                    <a:pt x="425" y="1332"/>
                  </a:lnTo>
                  <a:close/>
                  <a:moveTo>
                    <a:pt x="399" y="1348"/>
                  </a:moveTo>
                  <a:lnTo>
                    <a:pt x="399" y="1360"/>
                  </a:lnTo>
                  <a:lnTo>
                    <a:pt x="399" y="1348"/>
                  </a:lnTo>
                  <a:lnTo>
                    <a:pt x="399" y="1348"/>
                  </a:lnTo>
                  <a:lnTo>
                    <a:pt x="399" y="1348"/>
                  </a:lnTo>
                  <a:lnTo>
                    <a:pt x="399" y="1348"/>
                  </a:lnTo>
                  <a:close/>
                  <a:moveTo>
                    <a:pt x="425" y="1384"/>
                  </a:moveTo>
                  <a:lnTo>
                    <a:pt x="413" y="1400"/>
                  </a:lnTo>
                  <a:lnTo>
                    <a:pt x="425" y="1384"/>
                  </a:lnTo>
                  <a:lnTo>
                    <a:pt x="425" y="1384"/>
                  </a:lnTo>
                  <a:lnTo>
                    <a:pt x="425" y="1384"/>
                  </a:lnTo>
                  <a:lnTo>
                    <a:pt x="425" y="138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70" name="Freeform 404">
              <a:extLst>
                <a:ext uri="{FF2B5EF4-FFF2-40B4-BE49-F238E27FC236}">
                  <a16:creationId xmlns:a16="http://schemas.microsoft.com/office/drawing/2014/main" id="{0C12D882-F002-4FC6-8EA6-E659C6867762}"/>
                </a:ext>
              </a:extLst>
            </p:cNvPr>
            <p:cNvSpPr>
              <a:spLocks/>
            </p:cNvSpPr>
            <p:nvPr/>
          </p:nvSpPr>
          <p:spPr bwMode="gray">
            <a:xfrm>
              <a:off x="9288470" y="3202106"/>
              <a:ext cx="97154" cy="52288"/>
            </a:xfrm>
            <a:custGeom>
              <a:avLst/>
              <a:gdLst>
                <a:gd name="T0" fmla="*/ 5 w 236"/>
                <a:gd name="T1" fmla="*/ 78 h 127"/>
                <a:gd name="T2" fmla="*/ 55 w 236"/>
                <a:gd name="T3" fmla="*/ 21 h 127"/>
                <a:gd name="T4" fmla="*/ 88 w 236"/>
                <a:gd name="T5" fmla="*/ 0 h 127"/>
                <a:gd name="T6" fmla="*/ 116 w 236"/>
                <a:gd name="T7" fmla="*/ 4 h 127"/>
                <a:gd name="T8" fmla="*/ 116 w 236"/>
                <a:gd name="T9" fmla="*/ 21 h 127"/>
                <a:gd name="T10" fmla="*/ 166 w 236"/>
                <a:gd name="T11" fmla="*/ 28 h 127"/>
                <a:gd name="T12" fmla="*/ 182 w 236"/>
                <a:gd name="T13" fmla="*/ 21 h 127"/>
                <a:gd name="T14" fmla="*/ 203 w 236"/>
                <a:gd name="T15" fmla="*/ 28 h 127"/>
                <a:gd name="T16" fmla="*/ 203 w 236"/>
                <a:gd name="T17" fmla="*/ 45 h 127"/>
                <a:gd name="T18" fmla="*/ 203 w 236"/>
                <a:gd name="T19" fmla="*/ 54 h 127"/>
                <a:gd name="T20" fmla="*/ 203 w 236"/>
                <a:gd name="T21" fmla="*/ 61 h 127"/>
                <a:gd name="T22" fmla="*/ 225 w 236"/>
                <a:gd name="T23" fmla="*/ 61 h 127"/>
                <a:gd name="T24" fmla="*/ 236 w 236"/>
                <a:gd name="T25" fmla="*/ 78 h 127"/>
                <a:gd name="T26" fmla="*/ 225 w 236"/>
                <a:gd name="T27" fmla="*/ 94 h 127"/>
                <a:gd name="T28" fmla="*/ 236 w 236"/>
                <a:gd name="T29" fmla="*/ 111 h 127"/>
                <a:gd name="T30" fmla="*/ 236 w 236"/>
                <a:gd name="T31" fmla="*/ 111 h 127"/>
                <a:gd name="T32" fmla="*/ 199 w 236"/>
                <a:gd name="T33" fmla="*/ 118 h 127"/>
                <a:gd name="T34" fmla="*/ 187 w 236"/>
                <a:gd name="T35" fmla="*/ 111 h 127"/>
                <a:gd name="T36" fmla="*/ 182 w 236"/>
                <a:gd name="T37" fmla="*/ 118 h 127"/>
                <a:gd name="T38" fmla="*/ 142 w 236"/>
                <a:gd name="T39" fmla="*/ 118 h 127"/>
                <a:gd name="T40" fmla="*/ 116 w 236"/>
                <a:gd name="T41" fmla="*/ 111 h 127"/>
                <a:gd name="T42" fmla="*/ 92 w 236"/>
                <a:gd name="T43" fmla="*/ 127 h 127"/>
                <a:gd name="T44" fmla="*/ 62 w 236"/>
                <a:gd name="T45" fmla="*/ 127 h 127"/>
                <a:gd name="T46" fmla="*/ 38 w 236"/>
                <a:gd name="T47" fmla="*/ 118 h 127"/>
                <a:gd name="T48" fmla="*/ 21 w 236"/>
                <a:gd name="T49" fmla="*/ 118 h 127"/>
                <a:gd name="T50" fmla="*/ 5 w 236"/>
                <a:gd name="T51" fmla="*/ 99 h 127"/>
                <a:gd name="T52" fmla="*/ 0 w 236"/>
                <a:gd name="T53" fmla="*/ 94 h 127"/>
                <a:gd name="T54" fmla="*/ 5 w 236"/>
                <a:gd name="T55" fmla="*/ 78 h 127"/>
                <a:gd name="T56" fmla="*/ 5 w 236"/>
                <a:gd name="T57" fmla="*/ 78 h 127"/>
                <a:gd name="T58" fmla="*/ 5 w 236"/>
                <a:gd name="T59" fmla="*/ 7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6" h="127">
                  <a:moveTo>
                    <a:pt x="5" y="78"/>
                  </a:moveTo>
                  <a:lnTo>
                    <a:pt x="55" y="21"/>
                  </a:lnTo>
                  <a:lnTo>
                    <a:pt x="88" y="0"/>
                  </a:lnTo>
                  <a:lnTo>
                    <a:pt x="116" y="4"/>
                  </a:lnTo>
                  <a:lnTo>
                    <a:pt x="116" y="21"/>
                  </a:lnTo>
                  <a:lnTo>
                    <a:pt x="166" y="28"/>
                  </a:lnTo>
                  <a:lnTo>
                    <a:pt x="182" y="21"/>
                  </a:lnTo>
                  <a:lnTo>
                    <a:pt x="203" y="28"/>
                  </a:lnTo>
                  <a:lnTo>
                    <a:pt x="203" y="45"/>
                  </a:lnTo>
                  <a:lnTo>
                    <a:pt x="203" y="54"/>
                  </a:lnTo>
                  <a:lnTo>
                    <a:pt x="203" y="61"/>
                  </a:lnTo>
                  <a:lnTo>
                    <a:pt x="225" y="61"/>
                  </a:lnTo>
                  <a:lnTo>
                    <a:pt x="236" y="78"/>
                  </a:lnTo>
                  <a:lnTo>
                    <a:pt x="225" y="94"/>
                  </a:lnTo>
                  <a:lnTo>
                    <a:pt x="236" y="111"/>
                  </a:lnTo>
                  <a:lnTo>
                    <a:pt x="236" y="111"/>
                  </a:lnTo>
                  <a:lnTo>
                    <a:pt x="199" y="118"/>
                  </a:lnTo>
                  <a:lnTo>
                    <a:pt x="187" y="111"/>
                  </a:lnTo>
                  <a:lnTo>
                    <a:pt x="182" y="118"/>
                  </a:lnTo>
                  <a:lnTo>
                    <a:pt x="142" y="118"/>
                  </a:lnTo>
                  <a:lnTo>
                    <a:pt x="116" y="111"/>
                  </a:lnTo>
                  <a:lnTo>
                    <a:pt x="92" y="127"/>
                  </a:lnTo>
                  <a:lnTo>
                    <a:pt x="62" y="127"/>
                  </a:lnTo>
                  <a:lnTo>
                    <a:pt x="38" y="118"/>
                  </a:lnTo>
                  <a:lnTo>
                    <a:pt x="21" y="118"/>
                  </a:lnTo>
                  <a:lnTo>
                    <a:pt x="5" y="99"/>
                  </a:lnTo>
                  <a:lnTo>
                    <a:pt x="0" y="94"/>
                  </a:lnTo>
                  <a:lnTo>
                    <a:pt x="5" y="78"/>
                  </a:lnTo>
                  <a:lnTo>
                    <a:pt x="5" y="78"/>
                  </a:lnTo>
                  <a:lnTo>
                    <a:pt x="5" y="7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71" name="Freeform 406">
              <a:extLst>
                <a:ext uri="{FF2B5EF4-FFF2-40B4-BE49-F238E27FC236}">
                  <a16:creationId xmlns:a16="http://schemas.microsoft.com/office/drawing/2014/main" id="{91D0DDB8-99BA-47A7-8568-FF88AC612205}"/>
                </a:ext>
              </a:extLst>
            </p:cNvPr>
            <p:cNvSpPr>
              <a:spLocks noEditPoints="1"/>
            </p:cNvSpPr>
            <p:nvPr/>
          </p:nvSpPr>
          <p:spPr bwMode="gray">
            <a:xfrm>
              <a:off x="10020008" y="3917667"/>
              <a:ext cx="38697" cy="29232"/>
            </a:xfrm>
            <a:custGeom>
              <a:avLst/>
              <a:gdLst>
                <a:gd name="T0" fmla="*/ 66 w 94"/>
                <a:gd name="T1" fmla="*/ 5 h 71"/>
                <a:gd name="T2" fmla="*/ 56 w 94"/>
                <a:gd name="T3" fmla="*/ 21 h 71"/>
                <a:gd name="T4" fmla="*/ 56 w 94"/>
                <a:gd name="T5" fmla="*/ 45 h 71"/>
                <a:gd name="T6" fmla="*/ 56 w 94"/>
                <a:gd name="T7" fmla="*/ 62 h 71"/>
                <a:gd name="T8" fmla="*/ 40 w 94"/>
                <a:gd name="T9" fmla="*/ 71 h 71"/>
                <a:gd name="T10" fmla="*/ 11 w 94"/>
                <a:gd name="T11" fmla="*/ 26 h 71"/>
                <a:gd name="T12" fmla="*/ 0 w 94"/>
                <a:gd name="T13" fmla="*/ 26 h 71"/>
                <a:gd name="T14" fmla="*/ 28 w 94"/>
                <a:gd name="T15" fmla="*/ 21 h 71"/>
                <a:gd name="T16" fmla="*/ 61 w 94"/>
                <a:gd name="T17" fmla="*/ 0 h 71"/>
                <a:gd name="T18" fmla="*/ 66 w 94"/>
                <a:gd name="T19" fmla="*/ 0 h 71"/>
                <a:gd name="T20" fmla="*/ 66 w 94"/>
                <a:gd name="T21" fmla="*/ 5 h 71"/>
                <a:gd name="T22" fmla="*/ 66 w 94"/>
                <a:gd name="T23" fmla="*/ 5 h 71"/>
                <a:gd name="T24" fmla="*/ 66 w 94"/>
                <a:gd name="T25" fmla="*/ 5 h 71"/>
                <a:gd name="T26" fmla="*/ 77 w 94"/>
                <a:gd name="T27" fmla="*/ 5 h 71"/>
                <a:gd name="T28" fmla="*/ 94 w 94"/>
                <a:gd name="T29" fmla="*/ 45 h 71"/>
                <a:gd name="T30" fmla="*/ 66 w 94"/>
                <a:gd name="T31" fmla="*/ 45 h 71"/>
                <a:gd name="T32" fmla="*/ 66 w 94"/>
                <a:gd name="T33" fmla="*/ 17 h 71"/>
                <a:gd name="T34" fmla="*/ 77 w 94"/>
                <a:gd name="T35" fmla="*/ 5 h 71"/>
                <a:gd name="T36" fmla="*/ 77 w 94"/>
                <a:gd name="T37" fmla="*/ 5 h 71"/>
                <a:gd name="T38" fmla="*/ 77 w 94"/>
                <a:gd name="T39" fmla="*/ 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71">
                  <a:moveTo>
                    <a:pt x="66" y="5"/>
                  </a:moveTo>
                  <a:lnTo>
                    <a:pt x="56" y="21"/>
                  </a:lnTo>
                  <a:lnTo>
                    <a:pt x="56" y="45"/>
                  </a:lnTo>
                  <a:lnTo>
                    <a:pt x="56" y="62"/>
                  </a:lnTo>
                  <a:lnTo>
                    <a:pt x="40" y="71"/>
                  </a:lnTo>
                  <a:lnTo>
                    <a:pt x="11" y="26"/>
                  </a:lnTo>
                  <a:lnTo>
                    <a:pt x="0" y="26"/>
                  </a:lnTo>
                  <a:lnTo>
                    <a:pt x="28" y="21"/>
                  </a:lnTo>
                  <a:lnTo>
                    <a:pt x="61" y="0"/>
                  </a:lnTo>
                  <a:lnTo>
                    <a:pt x="66" y="0"/>
                  </a:lnTo>
                  <a:lnTo>
                    <a:pt x="66" y="5"/>
                  </a:lnTo>
                  <a:lnTo>
                    <a:pt x="66" y="5"/>
                  </a:lnTo>
                  <a:lnTo>
                    <a:pt x="66" y="5"/>
                  </a:lnTo>
                  <a:close/>
                  <a:moveTo>
                    <a:pt x="77" y="5"/>
                  </a:moveTo>
                  <a:lnTo>
                    <a:pt x="94" y="45"/>
                  </a:lnTo>
                  <a:lnTo>
                    <a:pt x="66" y="45"/>
                  </a:lnTo>
                  <a:lnTo>
                    <a:pt x="66" y="17"/>
                  </a:lnTo>
                  <a:lnTo>
                    <a:pt x="77" y="5"/>
                  </a:lnTo>
                  <a:lnTo>
                    <a:pt x="77" y="5"/>
                  </a:lnTo>
                  <a:lnTo>
                    <a:pt x="77" y="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72" name="Freeform 409">
              <a:extLst>
                <a:ext uri="{FF2B5EF4-FFF2-40B4-BE49-F238E27FC236}">
                  <a16:creationId xmlns:a16="http://schemas.microsoft.com/office/drawing/2014/main" id="{126D75FC-B158-4A6E-9B3F-E197C0EC8330}"/>
                </a:ext>
              </a:extLst>
            </p:cNvPr>
            <p:cNvSpPr>
              <a:spLocks noEditPoints="1"/>
            </p:cNvSpPr>
            <p:nvPr/>
          </p:nvSpPr>
          <p:spPr bwMode="gray">
            <a:xfrm>
              <a:off x="9680380" y="3627820"/>
              <a:ext cx="150672" cy="128456"/>
            </a:xfrm>
            <a:custGeom>
              <a:avLst/>
              <a:gdLst>
                <a:gd name="T0" fmla="*/ 28 w 366"/>
                <a:gd name="T1" fmla="*/ 187 h 312"/>
                <a:gd name="T2" fmla="*/ 12 w 366"/>
                <a:gd name="T3" fmla="*/ 147 h 312"/>
                <a:gd name="T4" fmla="*/ 0 w 366"/>
                <a:gd name="T5" fmla="*/ 97 h 312"/>
                <a:gd name="T6" fmla="*/ 21 w 366"/>
                <a:gd name="T7" fmla="*/ 76 h 312"/>
                <a:gd name="T8" fmla="*/ 28 w 366"/>
                <a:gd name="T9" fmla="*/ 66 h 312"/>
                <a:gd name="T10" fmla="*/ 59 w 366"/>
                <a:gd name="T11" fmla="*/ 22 h 312"/>
                <a:gd name="T12" fmla="*/ 114 w 366"/>
                <a:gd name="T13" fmla="*/ 22 h 312"/>
                <a:gd name="T14" fmla="*/ 189 w 366"/>
                <a:gd name="T15" fmla="*/ 22 h 312"/>
                <a:gd name="T16" fmla="*/ 199 w 366"/>
                <a:gd name="T17" fmla="*/ 22 h 312"/>
                <a:gd name="T18" fmla="*/ 227 w 366"/>
                <a:gd name="T19" fmla="*/ 38 h 312"/>
                <a:gd name="T20" fmla="*/ 258 w 366"/>
                <a:gd name="T21" fmla="*/ 55 h 312"/>
                <a:gd name="T22" fmla="*/ 258 w 366"/>
                <a:gd name="T23" fmla="*/ 22 h 312"/>
                <a:gd name="T24" fmla="*/ 274 w 366"/>
                <a:gd name="T25" fmla="*/ 10 h 312"/>
                <a:gd name="T26" fmla="*/ 295 w 366"/>
                <a:gd name="T27" fmla="*/ 5 h 312"/>
                <a:gd name="T28" fmla="*/ 366 w 366"/>
                <a:gd name="T29" fmla="*/ 0 h 312"/>
                <a:gd name="T30" fmla="*/ 359 w 366"/>
                <a:gd name="T31" fmla="*/ 55 h 312"/>
                <a:gd name="T32" fmla="*/ 366 w 366"/>
                <a:gd name="T33" fmla="*/ 81 h 312"/>
                <a:gd name="T34" fmla="*/ 366 w 366"/>
                <a:gd name="T35" fmla="*/ 147 h 312"/>
                <a:gd name="T36" fmla="*/ 359 w 366"/>
                <a:gd name="T37" fmla="*/ 175 h 312"/>
                <a:gd name="T38" fmla="*/ 333 w 366"/>
                <a:gd name="T39" fmla="*/ 170 h 312"/>
                <a:gd name="T40" fmla="*/ 279 w 366"/>
                <a:gd name="T41" fmla="*/ 192 h 312"/>
                <a:gd name="T42" fmla="*/ 258 w 366"/>
                <a:gd name="T43" fmla="*/ 208 h 312"/>
                <a:gd name="T44" fmla="*/ 241 w 366"/>
                <a:gd name="T45" fmla="*/ 225 h 312"/>
                <a:gd name="T46" fmla="*/ 269 w 366"/>
                <a:gd name="T47" fmla="*/ 263 h 312"/>
                <a:gd name="T48" fmla="*/ 241 w 366"/>
                <a:gd name="T49" fmla="*/ 263 h 312"/>
                <a:gd name="T50" fmla="*/ 215 w 366"/>
                <a:gd name="T51" fmla="*/ 274 h 312"/>
                <a:gd name="T52" fmla="*/ 189 w 366"/>
                <a:gd name="T53" fmla="*/ 274 h 312"/>
                <a:gd name="T54" fmla="*/ 182 w 366"/>
                <a:gd name="T55" fmla="*/ 296 h 312"/>
                <a:gd name="T56" fmla="*/ 151 w 366"/>
                <a:gd name="T57" fmla="*/ 312 h 312"/>
                <a:gd name="T58" fmla="*/ 114 w 366"/>
                <a:gd name="T59" fmla="*/ 296 h 312"/>
                <a:gd name="T60" fmla="*/ 80 w 366"/>
                <a:gd name="T61" fmla="*/ 296 h 312"/>
                <a:gd name="T62" fmla="*/ 97 w 366"/>
                <a:gd name="T63" fmla="*/ 274 h 312"/>
                <a:gd name="T64" fmla="*/ 76 w 366"/>
                <a:gd name="T65" fmla="*/ 274 h 312"/>
                <a:gd name="T66" fmla="*/ 54 w 366"/>
                <a:gd name="T67" fmla="*/ 241 h 312"/>
                <a:gd name="T68" fmla="*/ 43 w 366"/>
                <a:gd name="T69" fmla="*/ 220 h 312"/>
                <a:gd name="T70" fmla="*/ 43 w 366"/>
                <a:gd name="T71" fmla="*/ 220 h 312"/>
                <a:gd name="T72" fmla="*/ 43 w 366"/>
                <a:gd name="T73" fmla="*/ 225 h 312"/>
                <a:gd name="T74" fmla="*/ 43 w 366"/>
                <a:gd name="T75" fmla="*/ 220 h 312"/>
                <a:gd name="T76" fmla="*/ 66 w 366"/>
                <a:gd name="T77" fmla="*/ 286 h 312"/>
                <a:gd name="T78" fmla="*/ 66 w 366"/>
                <a:gd name="T79" fmla="*/ 286 h 312"/>
                <a:gd name="T80" fmla="*/ 66 w 366"/>
                <a:gd name="T81" fmla="*/ 286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6" h="312">
                  <a:moveTo>
                    <a:pt x="43" y="220"/>
                  </a:moveTo>
                  <a:lnTo>
                    <a:pt x="28" y="187"/>
                  </a:lnTo>
                  <a:lnTo>
                    <a:pt x="28" y="163"/>
                  </a:lnTo>
                  <a:lnTo>
                    <a:pt x="12" y="147"/>
                  </a:lnTo>
                  <a:lnTo>
                    <a:pt x="12" y="121"/>
                  </a:lnTo>
                  <a:lnTo>
                    <a:pt x="0" y="97"/>
                  </a:lnTo>
                  <a:lnTo>
                    <a:pt x="7" y="76"/>
                  </a:lnTo>
                  <a:lnTo>
                    <a:pt x="21" y="76"/>
                  </a:lnTo>
                  <a:lnTo>
                    <a:pt x="12" y="66"/>
                  </a:lnTo>
                  <a:lnTo>
                    <a:pt x="28" y="66"/>
                  </a:lnTo>
                  <a:lnTo>
                    <a:pt x="43" y="38"/>
                  </a:lnTo>
                  <a:lnTo>
                    <a:pt x="59" y="22"/>
                  </a:lnTo>
                  <a:lnTo>
                    <a:pt x="92" y="10"/>
                  </a:lnTo>
                  <a:lnTo>
                    <a:pt x="114" y="22"/>
                  </a:lnTo>
                  <a:lnTo>
                    <a:pt x="173" y="10"/>
                  </a:lnTo>
                  <a:lnTo>
                    <a:pt x="189" y="22"/>
                  </a:lnTo>
                  <a:lnTo>
                    <a:pt x="189" y="38"/>
                  </a:lnTo>
                  <a:lnTo>
                    <a:pt x="199" y="22"/>
                  </a:lnTo>
                  <a:lnTo>
                    <a:pt x="215" y="43"/>
                  </a:lnTo>
                  <a:lnTo>
                    <a:pt x="227" y="38"/>
                  </a:lnTo>
                  <a:lnTo>
                    <a:pt x="253" y="55"/>
                  </a:lnTo>
                  <a:lnTo>
                    <a:pt x="258" y="55"/>
                  </a:lnTo>
                  <a:lnTo>
                    <a:pt x="269" y="43"/>
                  </a:lnTo>
                  <a:lnTo>
                    <a:pt x="258" y="22"/>
                  </a:lnTo>
                  <a:lnTo>
                    <a:pt x="274" y="22"/>
                  </a:lnTo>
                  <a:lnTo>
                    <a:pt x="274" y="10"/>
                  </a:lnTo>
                  <a:lnTo>
                    <a:pt x="279" y="10"/>
                  </a:lnTo>
                  <a:lnTo>
                    <a:pt x="295" y="5"/>
                  </a:lnTo>
                  <a:lnTo>
                    <a:pt x="312" y="26"/>
                  </a:lnTo>
                  <a:lnTo>
                    <a:pt x="366" y="0"/>
                  </a:lnTo>
                  <a:lnTo>
                    <a:pt x="350" y="38"/>
                  </a:lnTo>
                  <a:lnTo>
                    <a:pt x="359" y="55"/>
                  </a:lnTo>
                  <a:lnTo>
                    <a:pt x="359" y="59"/>
                  </a:lnTo>
                  <a:lnTo>
                    <a:pt x="366" y="81"/>
                  </a:lnTo>
                  <a:lnTo>
                    <a:pt x="359" y="121"/>
                  </a:lnTo>
                  <a:lnTo>
                    <a:pt x="366" y="147"/>
                  </a:lnTo>
                  <a:lnTo>
                    <a:pt x="366" y="170"/>
                  </a:lnTo>
                  <a:lnTo>
                    <a:pt x="359" y="175"/>
                  </a:lnTo>
                  <a:lnTo>
                    <a:pt x="350" y="170"/>
                  </a:lnTo>
                  <a:lnTo>
                    <a:pt x="333" y="170"/>
                  </a:lnTo>
                  <a:lnTo>
                    <a:pt x="307" y="192"/>
                  </a:lnTo>
                  <a:lnTo>
                    <a:pt x="279" y="192"/>
                  </a:lnTo>
                  <a:lnTo>
                    <a:pt x="291" y="220"/>
                  </a:lnTo>
                  <a:lnTo>
                    <a:pt x="258" y="208"/>
                  </a:lnTo>
                  <a:lnTo>
                    <a:pt x="253" y="220"/>
                  </a:lnTo>
                  <a:lnTo>
                    <a:pt x="241" y="225"/>
                  </a:lnTo>
                  <a:lnTo>
                    <a:pt x="241" y="246"/>
                  </a:lnTo>
                  <a:lnTo>
                    <a:pt x="269" y="263"/>
                  </a:lnTo>
                  <a:lnTo>
                    <a:pt x="269" y="279"/>
                  </a:lnTo>
                  <a:lnTo>
                    <a:pt x="241" y="263"/>
                  </a:lnTo>
                  <a:lnTo>
                    <a:pt x="220" y="274"/>
                  </a:lnTo>
                  <a:lnTo>
                    <a:pt x="215" y="274"/>
                  </a:lnTo>
                  <a:lnTo>
                    <a:pt x="199" y="274"/>
                  </a:lnTo>
                  <a:lnTo>
                    <a:pt x="189" y="274"/>
                  </a:lnTo>
                  <a:lnTo>
                    <a:pt x="189" y="286"/>
                  </a:lnTo>
                  <a:lnTo>
                    <a:pt x="182" y="296"/>
                  </a:lnTo>
                  <a:lnTo>
                    <a:pt x="161" y="303"/>
                  </a:lnTo>
                  <a:lnTo>
                    <a:pt x="151" y="312"/>
                  </a:lnTo>
                  <a:lnTo>
                    <a:pt x="135" y="296"/>
                  </a:lnTo>
                  <a:lnTo>
                    <a:pt x="114" y="296"/>
                  </a:lnTo>
                  <a:lnTo>
                    <a:pt x="92" y="303"/>
                  </a:lnTo>
                  <a:lnTo>
                    <a:pt x="80" y="296"/>
                  </a:lnTo>
                  <a:lnTo>
                    <a:pt x="97" y="286"/>
                  </a:lnTo>
                  <a:lnTo>
                    <a:pt x="97" y="274"/>
                  </a:lnTo>
                  <a:lnTo>
                    <a:pt x="80" y="258"/>
                  </a:lnTo>
                  <a:lnTo>
                    <a:pt x="76" y="274"/>
                  </a:lnTo>
                  <a:lnTo>
                    <a:pt x="59" y="274"/>
                  </a:lnTo>
                  <a:lnTo>
                    <a:pt x="54" y="241"/>
                  </a:lnTo>
                  <a:lnTo>
                    <a:pt x="43" y="225"/>
                  </a:lnTo>
                  <a:lnTo>
                    <a:pt x="43" y="220"/>
                  </a:lnTo>
                  <a:lnTo>
                    <a:pt x="54" y="220"/>
                  </a:lnTo>
                  <a:lnTo>
                    <a:pt x="43" y="220"/>
                  </a:lnTo>
                  <a:lnTo>
                    <a:pt x="38" y="208"/>
                  </a:lnTo>
                  <a:lnTo>
                    <a:pt x="43" y="225"/>
                  </a:lnTo>
                  <a:lnTo>
                    <a:pt x="43" y="220"/>
                  </a:lnTo>
                  <a:lnTo>
                    <a:pt x="43" y="220"/>
                  </a:lnTo>
                  <a:lnTo>
                    <a:pt x="43" y="220"/>
                  </a:lnTo>
                  <a:close/>
                  <a:moveTo>
                    <a:pt x="66" y="286"/>
                  </a:moveTo>
                  <a:lnTo>
                    <a:pt x="59" y="279"/>
                  </a:lnTo>
                  <a:lnTo>
                    <a:pt x="66" y="286"/>
                  </a:lnTo>
                  <a:lnTo>
                    <a:pt x="66" y="286"/>
                  </a:lnTo>
                  <a:lnTo>
                    <a:pt x="66" y="286"/>
                  </a:lnTo>
                  <a:lnTo>
                    <a:pt x="66" y="28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73" name="Freeform 414">
              <a:extLst>
                <a:ext uri="{FF2B5EF4-FFF2-40B4-BE49-F238E27FC236}">
                  <a16:creationId xmlns:a16="http://schemas.microsoft.com/office/drawing/2014/main" id="{2115E4AB-188C-4A46-93F5-D356D56F7D35}"/>
                </a:ext>
              </a:extLst>
            </p:cNvPr>
            <p:cNvSpPr>
              <a:spLocks noEditPoints="1"/>
            </p:cNvSpPr>
            <p:nvPr/>
          </p:nvSpPr>
          <p:spPr bwMode="gray">
            <a:xfrm>
              <a:off x="8852100" y="2306210"/>
              <a:ext cx="1764830" cy="1215798"/>
            </a:xfrm>
            <a:custGeom>
              <a:avLst/>
              <a:gdLst>
                <a:gd name="T0" fmla="*/ 361 w 4287"/>
                <a:gd name="T1" fmla="*/ 1833 h 2953"/>
                <a:gd name="T2" fmla="*/ 314 w 4287"/>
                <a:gd name="T3" fmla="*/ 1606 h 2953"/>
                <a:gd name="T4" fmla="*/ 54 w 4287"/>
                <a:gd name="T5" fmla="*/ 1462 h 2953"/>
                <a:gd name="T6" fmla="*/ 7 w 4287"/>
                <a:gd name="T7" fmla="*/ 1273 h 2953"/>
                <a:gd name="T8" fmla="*/ 233 w 4287"/>
                <a:gd name="T9" fmla="*/ 1146 h 2953"/>
                <a:gd name="T10" fmla="*/ 474 w 4287"/>
                <a:gd name="T11" fmla="*/ 869 h 2953"/>
                <a:gd name="T12" fmla="*/ 777 w 4287"/>
                <a:gd name="T13" fmla="*/ 614 h 2953"/>
                <a:gd name="T14" fmla="*/ 999 w 4287"/>
                <a:gd name="T15" fmla="*/ 432 h 2953"/>
                <a:gd name="T16" fmla="*/ 1216 w 4287"/>
                <a:gd name="T17" fmla="*/ 680 h 2953"/>
                <a:gd name="T18" fmla="*/ 1821 w 4287"/>
                <a:gd name="T19" fmla="*/ 1014 h 2953"/>
                <a:gd name="T20" fmla="*/ 2581 w 4287"/>
                <a:gd name="T21" fmla="*/ 985 h 2953"/>
                <a:gd name="T22" fmla="*/ 3030 w 4287"/>
                <a:gd name="T23" fmla="*/ 669 h 2953"/>
                <a:gd name="T24" fmla="*/ 3099 w 4287"/>
                <a:gd name="T25" fmla="*/ 520 h 2953"/>
                <a:gd name="T26" fmla="*/ 3191 w 4287"/>
                <a:gd name="T27" fmla="*/ 298 h 2953"/>
                <a:gd name="T28" fmla="*/ 3569 w 4287"/>
                <a:gd name="T29" fmla="*/ 26 h 2953"/>
                <a:gd name="T30" fmla="*/ 3732 w 4287"/>
                <a:gd name="T31" fmla="*/ 222 h 2953"/>
                <a:gd name="T32" fmla="*/ 3947 w 4287"/>
                <a:gd name="T33" fmla="*/ 425 h 2953"/>
                <a:gd name="T34" fmla="*/ 4287 w 4287"/>
                <a:gd name="T35" fmla="*/ 553 h 2953"/>
                <a:gd name="T36" fmla="*/ 4055 w 4287"/>
                <a:gd name="T37" fmla="*/ 796 h 2953"/>
                <a:gd name="T38" fmla="*/ 3921 w 4287"/>
                <a:gd name="T39" fmla="*/ 1025 h 2953"/>
                <a:gd name="T40" fmla="*/ 3607 w 4287"/>
                <a:gd name="T41" fmla="*/ 1195 h 2953"/>
                <a:gd name="T42" fmla="*/ 3363 w 4287"/>
                <a:gd name="T43" fmla="*/ 1295 h 2953"/>
                <a:gd name="T44" fmla="*/ 3283 w 4287"/>
                <a:gd name="T45" fmla="*/ 1207 h 2953"/>
                <a:gd name="T46" fmla="*/ 3203 w 4287"/>
                <a:gd name="T47" fmla="*/ 1472 h 2953"/>
                <a:gd name="T48" fmla="*/ 3408 w 4287"/>
                <a:gd name="T49" fmla="*/ 1495 h 2953"/>
                <a:gd name="T50" fmla="*/ 3278 w 4287"/>
                <a:gd name="T51" fmla="*/ 1540 h 2953"/>
                <a:gd name="T52" fmla="*/ 3354 w 4287"/>
                <a:gd name="T53" fmla="*/ 1862 h 2953"/>
                <a:gd name="T54" fmla="*/ 3300 w 4287"/>
                <a:gd name="T55" fmla="*/ 1888 h 2953"/>
                <a:gd name="T56" fmla="*/ 3370 w 4287"/>
                <a:gd name="T57" fmla="*/ 2048 h 2953"/>
                <a:gd name="T58" fmla="*/ 3363 w 4287"/>
                <a:gd name="T59" fmla="*/ 2105 h 2953"/>
                <a:gd name="T60" fmla="*/ 3295 w 4287"/>
                <a:gd name="T61" fmla="*/ 2199 h 2953"/>
                <a:gd name="T62" fmla="*/ 3245 w 4287"/>
                <a:gd name="T63" fmla="*/ 2294 h 2953"/>
                <a:gd name="T64" fmla="*/ 3191 w 4287"/>
                <a:gd name="T65" fmla="*/ 2343 h 2953"/>
                <a:gd name="T66" fmla="*/ 3170 w 4287"/>
                <a:gd name="T67" fmla="*/ 2426 h 2953"/>
                <a:gd name="T68" fmla="*/ 3120 w 4287"/>
                <a:gd name="T69" fmla="*/ 2492 h 2953"/>
                <a:gd name="T70" fmla="*/ 2938 w 4287"/>
                <a:gd name="T71" fmla="*/ 2608 h 2953"/>
                <a:gd name="T72" fmla="*/ 2841 w 4287"/>
                <a:gd name="T73" fmla="*/ 2624 h 2953"/>
                <a:gd name="T74" fmla="*/ 2787 w 4287"/>
                <a:gd name="T75" fmla="*/ 2653 h 2953"/>
                <a:gd name="T76" fmla="*/ 2624 w 4287"/>
                <a:gd name="T77" fmla="*/ 2698 h 2953"/>
                <a:gd name="T78" fmla="*/ 2591 w 4287"/>
                <a:gd name="T79" fmla="*/ 2776 h 2953"/>
                <a:gd name="T80" fmla="*/ 2522 w 4287"/>
                <a:gd name="T81" fmla="*/ 2698 h 2953"/>
                <a:gd name="T82" fmla="*/ 2430 w 4287"/>
                <a:gd name="T83" fmla="*/ 2691 h 2953"/>
                <a:gd name="T84" fmla="*/ 2241 w 4287"/>
                <a:gd name="T85" fmla="*/ 2580 h 2953"/>
                <a:gd name="T86" fmla="*/ 1972 w 4287"/>
                <a:gd name="T87" fmla="*/ 2624 h 2953"/>
                <a:gd name="T88" fmla="*/ 1851 w 4287"/>
                <a:gd name="T89" fmla="*/ 2681 h 2953"/>
                <a:gd name="T90" fmla="*/ 1691 w 4287"/>
                <a:gd name="T91" fmla="*/ 2525 h 2953"/>
                <a:gd name="T92" fmla="*/ 1766 w 4287"/>
                <a:gd name="T93" fmla="*/ 2294 h 2953"/>
                <a:gd name="T94" fmla="*/ 1582 w 4287"/>
                <a:gd name="T95" fmla="*/ 2126 h 2953"/>
                <a:gd name="T96" fmla="*/ 1313 w 4287"/>
                <a:gd name="T97" fmla="*/ 2216 h 2953"/>
                <a:gd name="T98" fmla="*/ 1015 w 4287"/>
                <a:gd name="T99" fmla="*/ 2204 h 2953"/>
                <a:gd name="T100" fmla="*/ 810 w 4287"/>
                <a:gd name="T101" fmla="*/ 2150 h 2953"/>
                <a:gd name="T102" fmla="*/ 529 w 4287"/>
                <a:gd name="T103" fmla="*/ 2039 h 2953"/>
                <a:gd name="T104" fmla="*/ 3229 w 4287"/>
                <a:gd name="T105" fmla="*/ 1866 h 2953"/>
                <a:gd name="T106" fmla="*/ 3401 w 4287"/>
                <a:gd name="T107" fmla="*/ 2032 h 2953"/>
                <a:gd name="T108" fmla="*/ 3418 w 4287"/>
                <a:gd name="T109" fmla="*/ 2048 h 2953"/>
                <a:gd name="T110" fmla="*/ 3337 w 4287"/>
                <a:gd name="T111" fmla="*/ 2192 h 2953"/>
                <a:gd name="T112" fmla="*/ 3115 w 4287"/>
                <a:gd name="T113" fmla="*/ 2476 h 2953"/>
                <a:gd name="T114" fmla="*/ 2851 w 4287"/>
                <a:gd name="T115" fmla="*/ 2641 h 2953"/>
                <a:gd name="T116" fmla="*/ 2683 w 4287"/>
                <a:gd name="T117" fmla="*/ 2691 h 2953"/>
                <a:gd name="T118" fmla="*/ 2570 w 4287"/>
                <a:gd name="T119" fmla="*/ 2731 h 2953"/>
                <a:gd name="T120" fmla="*/ 2560 w 4287"/>
                <a:gd name="T121" fmla="*/ 2809 h 2953"/>
                <a:gd name="T122" fmla="*/ 2527 w 4287"/>
                <a:gd name="T123" fmla="*/ 2941 h 2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87" h="2953">
                  <a:moveTo>
                    <a:pt x="524" y="2032"/>
                  </a:moveTo>
                  <a:lnTo>
                    <a:pt x="491" y="2010"/>
                  </a:lnTo>
                  <a:lnTo>
                    <a:pt x="460" y="1999"/>
                  </a:lnTo>
                  <a:lnTo>
                    <a:pt x="470" y="1982"/>
                  </a:lnTo>
                  <a:lnTo>
                    <a:pt x="437" y="1973"/>
                  </a:lnTo>
                  <a:lnTo>
                    <a:pt x="415" y="1973"/>
                  </a:lnTo>
                  <a:lnTo>
                    <a:pt x="385" y="1928"/>
                  </a:lnTo>
                  <a:lnTo>
                    <a:pt x="368" y="1944"/>
                  </a:lnTo>
                  <a:lnTo>
                    <a:pt x="361" y="1937"/>
                  </a:lnTo>
                  <a:lnTo>
                    <a:pt x="361" y="1921"/>
                  </a:lnTo>
                  <a:lnTo>
                    <a:pt x="368" y="1916"/>
                  </a:lnTo>
                  <a:lnTo>
                    <a:pt x="352" y="1904"/>
                  </a:lnTo>
                  <a:lnTo>
                    <a:pt x="361" y="1888"/>
                  </a:lnTo>
                  <a:lnTo>
                    <a:pt x="340" y="1866"/>
                  </a:lnTo>
                  <a:lnTo>
                    <a:pt x="340" y="1845"/>
                  </a:lnTo>
                  <a:lnTo>
                    <a:pt x="361" y="1833"/>
                  </a:lnTo>
                  <a:lnTo>
                    <a:pt x="361" y="1850"/>
                  </a:lnTo>
                  <a:lnTo>
                    <a:pt x="378" y="1862"/>
                  </a:lnTo>
                  <a:lnTo>
                    <a:pt x="394" y="1850"/>
                  </a:lnTo>
                  <a:lnTo>
                    <a:pt x="399" y="1850"/>
                  </a:lnTo>
                  <a:lnTo>
                    <a:pt x="415" y="1828"/>
                  </a:lnTo>
                  <a:lnTo>
                    <a:pt x="399" y="1812"/>
                  </a:lnTo>
                  <a:lnTo>
                    <a:pt x="406" y="1795"/>
                  </a:lnTo>
                  <a:lnTo>
                    <a:pt x="378" y="1776"/>
                  </a:lnTo>
                  <a:lnTo>
                    <a:pt x="361" y="1760"/>
                  </a:lnTo>
                  <a:lnTo>
                    <a:pt x="361" y="1717"/>
                  </a:lnTo>
                  <a:lnTo>
                    <a:pt x="378" y="1706"/>
                  </a:lnTo>
                  <a:lnTo>
                    <a:pt x="378" y="1701"/>
                  </a:lnTo>
                  <a:lnTo>
                    <a:pt x="352" y="1684"/>
                  </a:lnTo>
                  <a:lnTo>
                    <a:pt x="330" y="1677"/>
                  </a:lnTo>
                  <a:lnTo>
                    <a:pt x="309" y="1623"/>
                  </a:lnTo>
                  <a:lnTo>
                    <a:pt x="314" y="1606"/>
                  </a:lnTo>
                  <a:lnTo>
                    <a:pt x="297" y="1606"/>
                  </a:lnTo>
                  <a:lnTo>
                    <a:pt x="271" y="1606"/>
                  </a:lnTo>
                  <a:lnTo>
                    <a:pt x="233" y="1595"/>
                  </a:lnTo>
                  <a:lnTo>
                    <a:pt x="205" y="1583"/>
                  </a:lnTo>
                  <a:lnTo>
                    <a:pt x="205" y="1573"/>
                  </a:lnTo>
                  <a:lnTo>
                    <a:pt x="184" y="1583"/>
                  </a:lnTo>
                  <a:lnTo>
                    <a:pt x="179" y="1566"/>
                  </a:lnTo>
                  <a:lnTo>
                    <a:pt x="163" y="1557"/>
                  </a:lnTo>
                  <a:lnTo>
                    <a:pt x="167" y="1540"/>
                  </a:lnTo>
                  <a:lnTo>
                    <a:pt x="163" y="1512"/>
                  </a:lnTo>
                  <a:lnTo>
                    <a:pt x="146" y="1500"/>
                  </a:lnTo>
                  <a:lnTo>
                    <a:pt x="129" y="1500"/>
                  </a:lnTo>
                  <a:lnTo>
                    <a:pt x="125" y="1484"/>
                  </a:lnTo>
                  <a:lnTo>
                    <a:pt x="108" y="1479"/>
                  </a:lnTo>
                  <a:lnTo>
                    <a:pt x="70" y="1479"/>
                  </a:lnTo>
                  <a:lnTo>
                    <a:pt x="54" y="1462"/>
                  </a:lnTo>
                  <a:lnTo>
                    <a:pt x="82" y="1455"/>
                  </a:lnTo>
                  <a:lnTo>
                    <a:pt x="82" y="1462"/>
                  </a:lnTo>
                  <a:lnTo>
                    <a:pt x="92" y="1462"/>
                  </a:lnTo>
                  <a:lnTo>
                    <a:pt x="113" y="1446"/>
                  </a:lnTo>
                  <a:lnTo>
                    <a:pt x="92" y="1422"/>
                  </a:lnTo>
                  <a:lnTo>
                    <a:pt x="96" y="1417"/>
                  </a:lnTo>
                  <a:lnTo>
                    <a:pt x="82" y="1389"/>
                  </a:lnTo>
                  <a:lnTo>
                    <a:pt x="92" y="1363"/>
                  </a:lnTo>
                  <a:lnTo>
                    <a:pt x="54" y="1347"/>
                  </a:lnTo>
                  <a:lnTo>
                    <a:pt x="37" y="1347"/>
                  </a:lnTo>
                  <a:lnTo>
                    <a:pt x="28" y="1351"/>
                  </a:lnTo>
                  <a:lnTo>
                    <a:pt x="16" y="1347"/>
                  </a:lnTo>
                  <a:lnTo>
                    <a:pt x="7" y="1318"/>
                  </a:lnTo>
                  <a:lnTo>
                    <a:pt x="16" y="1311"/>
                  </a:lnTo>
                  <a:lnTo>
                    <a:pt x="0" y="1295"/>
                  </a:lnTo>
                  <a:lnTo>
                    <a:pt x="7" y="1273"/>
                  </a:lnTo>
                  <a:lnTo>
                    <a:pt x="16" y="1273"/>
                  </a:lnTo>
                  <a:lnTo>
                    <a:pt x="21" y="1262"/>
                  </a:lnTo>
                  <a:lnTo>
                    <a:pt x="16" y="1252"/>
                  </a:lnTo>
                  <a:lnTo>
                    <a:pt x="28" y="1224"/>
                  </a:lnTo>
                  <a:lnTo>
                    <a:pt x="54" y="1219"/>
                  </a:lnTo>
                  <a:lnTo>
                    <a:pt x="75" y="1202"/>
                  </a:lnTo>
                  <a:lnTo>
                    <a:pt x="92" y="1202"/>
                  </a:lnTo>
                  <a:lnTo>
                    <a:pt x="82" y="1186"/>
                  </a:lnTo>
                  <a:lnTo>
                    <a:pt x="113" y="1195"/>
                  </a:lnTo>
                  <a:lnTo>
                    <a:pt x="134" y="1179"/>
                  </a:lnTo>
                  <a:lnTo>
                    <a:pt x="146" y="1202"/>
                  </a:lnTo>
                  <a:lnTo>
                    <a:pt x="179" y="1195"/>
                  </a:lnTo>
                  <a:lnTo>
                    <a:pt x="189" y="1202"/>
                  </a:lnTo>
                  <a:lnTo>
                    <a:pt x="217" y="1179"/>
                  </a:lnTo>
                  <a:lnTo>
                    <a:pt x="217" y="1162"/>
                  </a:lnTo>
                  <a:lnTo>
                    <a:pt x="233" y="1146"/>
                  </a:lnTo>
                  <a:lnTo>
                    <a:pt x="314" y="1141"/>
                  </a:lnTo>
                  <a:lnTo>
                    <a:pt x="330" y="1125"/>
                  </a:lnTo>
                  <a:lnTo>
                    <a:pt x="340" y="1108"/>
                  </a:lnTo>
                  <a:lnTo>
                    <a:pt x="399" y="1075"/>
                  </a:lnTo>
                  <a:lnTo>
                    <a:pt x="432" y="1068"/>
                  </a:lnTo>
                  <a:lnTo>
                    <a:pt x="437" y="1058"/>
                  </a:lnTo>
                  <a:lnTo>
                    <a:pt x="460" y="1051"/>
                  </a:lnTo>
                  <a:lnTo>
                    <a:pt x="460" y="1042"/>
                  </a:lnTo>
                  <a:lnTo>
                    <a:pt x="470" y="1035"/>
                  </a:lnTo>
                  <a:lnTo>
                    <a:pt x="460" y="1002"/>
                  </a:lnTo>
                  <a:lnTo>
                    <a:pt x="470" y="985"/>
                  </a:lnTo>
                  <a:lnTo>
                    <a:pt x="491" y="980"/>
                  </a:lnTo>
                  <a:lnTo>
                    <a:pt x="474" y="969"/>
                  </a:lnTo>
                  <a:lnTo>
                    <a:pt x="507" y="957"/>
                  </a:lnTo>
                  <a:lnTo>
                    <a:pt x="503" y="931"/>
                  </a:lnTo>
                  <a:lnTo>
                    <a:pt x="474" y="869"/>
                  </a:lnTo>
                  <a:lnTo>
                    <a:pt x="474" y="829"/>
                  </a:lnTo>
                  <a:lnTo>
                    <a:pt x="486" y="820"/>
                  </a:lnTo>
                  <a:lnTo>
                    <a:pt x="470" y="813"/>
                  </a:lnTo>
                  <a:lnTo>
                    <a:pt x="448" y="813"/>
                  </a:lnTo>
                  <a:lnTo>
                    <a:pt x="437" y="803"/>
                  </a:lnTo>
                  <a:lnTo>
                    <a:pt x="453" y="791"/>
                  </a:lnTo>
                  <a:lnTo>
                    <a:pt x="566" y="763"/>
                  </a:lnTo>
                  <a:lnTo>
                    <a:pt x="583" y="780"/>
                  </a:lnTo>
                  <a:lnTo>
                    <a:pt x="611" y="775"/>
                  </a:lnTo>
                  <a:lnTo>
                    <a:pt x="633" y="780"/>
                  </a:lnTo>
                  <a:lnTo>
                    <a:pt x="633" y="758"/>
                  </a:lnTo>
                  <a:lnTo>
                    <a:pt x="611" y="742"/>
                  </a:lnTo>
                  <a:lnTo>
                    <a:pt x="663" y="614"/>
                  </a:lnTo>
                  <a:lnTo>
                    <a:pt x="663" y="593"/>
                  </a:lnTo>
                  <a:lnTo>
                    <a:pt x="725" y="614"/>
                  </a:lnTo>
                  <a:lnTo>
                    <a:pt x="777" y="614"/>
                  </a:lnTo>
                  <a:lnTo>
                    <a:pt x="784" y="626"/>
                  </a:lnTo>
                  <a:lnTo>
                    <a:pt x="784" y="631"/>
                  </a:lnTo>
                  <a:lnTo>
                    <a:pt x="815" y="610"/>
                  </a:lnTo>
                  <a:lnTo>
                    <a:pt x="838" y="610"/>
                  </a:lnTo>
                  <a:lnTo>
                    <a:pt x="848" y="593"/>
                  </a:lnTo>
                  <a:lnTo>
                    <a:pt x="848" y="581"/>
                  </a:lnTo>
                  <a:lnTo>
                    <a:pt x="838" y="569"/>
                  </a:lnTo>
                  <a:lnTo>
                    <a:pt x="838" y="527"/>
                  </a:lnTo>
                  <a:lnTo>
                    <a:pt x="852" y="487"/>
                  </a:lnTo>
                  <a:lnTo>
                    <a:pt x="907" y="470"/>
                  </a:lnTo>
                  <a:lnTo>
                    <a:pt x="923" y="458"/>
                  </a:lnTo>
                  <a:lnTo>
                    <a:pt x="918" y="432"/>
                  </a:lnTo>
                  <a:lnTo>
                    <a:pt x="935" y="416"/>
                  </a:lnTo>
                  <a:lnTo>
                    <a:pt x="961" y="425"/>
                  </a:lnTo>
                  <a:lnTo>
                    <a:pt x="999" y="416"/>
                  </a:lnTo>
                  <a:lnTo>
                    <a:pt x="999" y="432"/>
                  </a:lnTo>
                  <a:lnTo>
                    <a:pt x="994" y="442"/>
                  </a:lnTo>
                  <a:lnTo>
                    <a:pt x="1015" y="458"/>
                  </a:lnTo>
                  <a:lnTo>
                    <a:pt x="1011" y="470"/>
                  </a:lnTo>
                  <a:lnTo>
                    <a:pt x="1048" y="487"/>
                  </a:lnTo>
                  <a:lnTo>
                    <a:pt x="1053" y="503"/>
                  </a:lnTo>
                  <a:lnTo>
                    <a:pt x="1086" y="520"/>
                  </a:lnTo>
                  <a:lnTo>
                    <a:pt x="1117" y="520"/>
                  </a:lnTo>
                  <a:lnTo>
                    <a:pt x="1133" y="536"/>
                  </a:lnTo>
                  <a:lnTo>
                    <a:pt x="1155" y="536"/>
                  </a:lnTo>
                  <a:lnTo>
                    <a:pt x="1155" y="543"/>
                  </a:lnTo>
                  <a:lnTo>
                    <a:pt x="1178" y="569"/>
                  </a:lnTo>
                  <a:lnTo>
                    <a:pt x="1188" y="581"/>
                  </a:lnTo>
                  <a:lnTo>
                    <a:pt x="1204" y="610"/>
                  </a:lnTo>
                  <a:lnTo>
                    <a:pt x="1216" y="626"/>
                  </a:lnTo>
                  <a:lnTo>
                    <a:pt x="1226" y="652"/>
                  </a:lnTo>
                  <a:lnTo>
                    <a:pt x="1216" y="680"/>
                  </a:lnTo>
                  <a:lnTo>
                    <a:pt x="1226" y="704"/>
                  </a:lnTo>
                  <a:lnTo>
                    <a:pt x="1204" y="725"/>
                  </a:lnTo>
                  <a:lnTo>
                    <a:pt x="1192" y="747"/>
                  </a:lnTo>
                  <a:lnTo>
                    <a:pt x="1209" y="775"/>
                  </a:lnTo>
                  <a:lnTo>
                    <a:pt x="1259" y="791"/>
                  </a:lnTo>
                  <a:lnTo>
                    <a:pt x="1405" y="796"/>
                  </a:lnTo>
                  <a:lnTo>
                    <a:pt x="1481" y="853"/>
                  </a:lnTo>
                  <a:lnTo>
                    <a:pt x="1502" y="858"/>
                  </a:lnTo>
                  <a:lnTo>
                    <a:pt x="1528" y="858"/>
                  </a:lnTo>
                  <a:lnTo>
                    <a:pt x="1528" y="886"/>
                  </a:lnTo>
                  <a:lnTo>
                    <a:pt x="1540" y="886"/>
                  </a:lnTo>
                  <a:lnTo>
                    <a:pt x="1566" y="947"/>
                  </a:lnTo>
                  <a:lnTo>
                    <a:pt x="1594" y="980"/>
                  </a:lnTo>
                  <a:lnTo>
                    <a:pt x="1594" y="997"/>
                  </a:lnTo>
                  <a:lnTo>
                    <a:pt x="1646" y="985"/>
                  </a:lnTo>
                  <a:lnTo>
                    <a:pt x="1821" y="1014"/>
                  </a:lnTo>
                  <a:lnTo>
                    <a:pt x="1873" y="997"/>
                  </a:lnTo>
                  <a:lnTo>
                    <a:pt x="1911" y="997"/>
                  </a:lnTo>
                  <a:lnTo>
                    <a:pt x="1981" y="1014"/>
                  </a:lnTo>
                  <a:lnTo>
                    <a:pt x="1998" y="1035"/>
                  </a:lnTo>
                  <a:lnTo>
                    <a:pt x="2040" y="1042"/>
                  </a:lnTo>
                  <a:lnTo>
                    <a:pt x="2090" y="1068"/>
                  </a:lnTo>
                  <a:lnTo>
                    <a:pt x="2123" y="1075"/>
                  </a:lnTo>
                  <a:lnTo>
                    <a:pt x="2166" y="1068"/>
                  </a:lnTo>
                  <a:lnTo>
                    <a:pt x="2166" y="1084"/>
                  </a:lnTo>
                  <a:lnTo>
                    <a:pt x="2199" y="1091"/>
                  </a:lnTo>
                  <a:lnTo>
                    <a:pt x="2203" y="1091"/>
                  </a:lnTo>
                  <a:lnTo>
                    <a:pt x="2220" y="1084"/>
                  </a:lnTo>
                  <a:lnTo>
                    <a:pt x="2258" y="1058"/>
                  </a:lnTo>
                  <a:lnTo>
                    <a:pt x="2376" y="1018"/>
                  </a:lnTo>
                  <a:lnTo>
                    <a:pt x="2506" y="1018"/>
                  </a:lnTo>
                  <a:lnTo>
                    <a:pt x="2581" y="985"/>
                  </a:lnTo>
                  <a:lnTo>
                    <a:pt x="2624" y="940"/>
                  </a:lnTo>
                  <a:lnTo>
                    <a:pt x="2690" y="907"/>
                  </a:lnTo>
                  <a:lnTo>
                    <a:pt x="2683" y="886"/>
                  </a:lnTo>
                  <a:lnTo>
                    <a:pt x="2652" y="853"/>
                  </a:lnTo>
                  <a:lnTo>
                    <a:pt x="2678" y="796"/>
                  </a:lnTo>
                  <a:lnTo>
                    <a:pt x="2700" y="780"/>
                  </a:lnTo>
                  <a:lnTo>
                    <a:pt x="2721" y="791"/>
                  </a:lnTo>
                  <a:lnTo>
                    <a:pt x="2754" y="803"/>
                  </a:lnTo>
                  <a:lnTo>
                    <a:pt x="2808" y="813"/>
                  </a:lnTo>
                  <a:lnTo>
                    <a:pt x="2867" y="775"/>
                  </a:lnTo>
                  <a:lnTo>
                    <a:pt x="2867" y="758"/>
                  </a:lnTo>
                  <a:lnTo>
                    <a:pt x="2938" y="758"/>
                  </a:lnTo>
                  <a:lnTo>
                    <a:pt x="2985" y="737"/>
                  </a:lnTo>
                  <a:lnTo>
                    <a:pt x="3002" y="692"/>
                  </a:lnTo>
                  <a:lnTo>
                    <a:pt x="3023" y="680"/>
                  </a:lnTo>
                  <a:lnTo>
                    <a:pt x="3030" y="669"/>
                  </a:lnTo>
                  <a:lnTo>
                    <a:pt x="3068" y="669"/>
                  </a:lnTo>
                  <a:lnTo>
                    <a:pt x="3068" y="652"/>
                  </a:lnTo>
                  <a:lnTo>
                    <a:pt x="3099" y="652"/>
                  </a:lnTo>
                  <a:lnTo>
                    <a:pt x="3137" y="636"/>
                  </a:lnTo>
                  <a:lnTo>
                    <a:pt x="3170" y="647"/>
                  </a:lnTo>
                  <a:lnTo>
                    <a:pt x="3174" y="636"/>
                  </a:lnTo>
                  <a:lnTo>
                    <a:pt x="3207" y="647"/>
                  </a:lnTo>
                  <a:lnTo>
                    <a:pt x="3229" y="652"/>
                  </a:lnTo>
                  <a:lnTo>
                    <a:pt x="3245" y="636"/>
                  </a:lnTo>
                  <a:lnTo>
                    <a:pt x="3245" y="626"/>
                  </a:lnTo>
                  <a:lnTo>
                    <a:pt x="3229" y="598"/>
                  </a:lnTo>
                  <a:lnTo>
                    <a:pt x="3191" y="569"/>
                  </a:lnTo>
                  <a:lnTo>
                    <a:pt x="3191" y="553"/>
                  </a:lnTo>
                  <a:lnTo>
                    <a:pt x="3170" y="543"/>
                  </a:lnTo>
                  <a:lnTo>
                    <a:pt x="3153" y="520"/>
                  </a:lnTo>
                  <a:lnTo>
                    <a:pt x="3099" y="520"/>
                  </a:lnTo>
                  <a:lnTo>
                    <a:pt x="3068" y="553"/>
                  </a:lnTo>
                  <a:lnTo>
                    <a:pt x="3040" y="536"/>
                  </a:lnTo>
                  <a:lnTo>
                    <a:pt x="2992" y="536"/>
                  </a:lnTo>
                  <a:lnTo>
                    <a:pt x="2969" y="553"/>
                  </a:lnTo>
                  <a:lnTo>
                    <a:pt x="2948" y="527"/>
                  </a:lnTo>
                  <a:lnTo>
                    <a:pt x="2938" y="515"/>
                  </a:lnTo>
                  <a:lnTo>
                    <a:pt x="2959" y="499"/>
                  </a:lnTo>
                  <a:lnTo>
                    <a:pt x="2959" y="470"/>
                  </a:lnTo>
                  <a:lnTo>
                    <a:pt x="2976" y="449"/>
                  </a:lnTo>
                  <a:lnTo>
                    <a:pt x="3023" y="354"/>
                  </a:lnTo>
                  <a:lnTo>
                    <a:pt x="3111" y="388"/>
                  </a:lnTo>
                  <a:lnTo>
                    <a:pt x="3153" y="347"/>
                  </a:lnTo>
                  <a:lnTo>
                    <a:pt x="3191" y="338"/>
                  </a:lnTo>
                  <a:lnTo>
                    <a:pt x="3207" y="331"/>
                  </a:lnTo>
                  <a:lnTo>
                    <a:pt x="3207" y="305"/>
                  </a:lnTo>
                  <a:lnTo>
                    <a:pt x="3191" y="298"/>
                  </a:lnTo>
                  <a:lnTo>
                    <a:pt x="3219" y="265"/>
                  </a:lnTo>
                  <a:lnTo>
                    <a:pt x="3224" y="248"/>
                  </a:lnTo>
                  <a:lnTo>
                    <a:pt x="3240" y="239"/>
                  </a:lnTo>
                  <a:lnTo>
                    <a:pt x="3262" y="182"/>
                  </a:lnTo>
                  <a:lnTo>
                    <a:pt x="3300" y="154"/>
                  </a:lnTo>
                  <a:lnTo>
                    <a:pt x="3309" y="132"/>
                  </a:lnTo>
                  <a:lnTo>
                    <a:pt x="3300" y="116"/>
                  </a:lnTo>
                  <a:lnTo>
                    <a:pt x="3300" y="95"/>
                  </a:lnTo>
                  <a:lnTo>
                    <a:pt x="3283" y="83"/>
                  </a:lnTo>
                  <a:lnTo>
                    <a:pt x="3262" y="95"/>
                  </a:lnTo>
                  <a:lnTo>
                    <a:pt x="3257" y="71"/>
                  </a:lnTo>
                  <a:lnTo>
                    <a:pt x="3309" y="21"/>
                  </a:lnTo>
                  <a:lnTo>
                    <a:pt x="3510" y="0"/>
                  </a:lnTo>
                  <a:lnTo>
                    <a:pt x="3543" y="17"/>
                  </a:lnTo>
                  <a:lnTo>
                    <a:pt x="3552" y="17"/>
                  </a:lnTo>
                  <a:lnTo>
                    <a:pt x="3569" y="26"/>
                  </a:lnTo>
                  <a:lnTo>
                    <a:pt x="3597" y="38"/>
                  </a:lnTo>
                  <a:lnTo>
                    <a:pt x="3618" y="26"/>
                  </a:lnTo>
                  <a:lnTo>
                    <a:pt x="3649" y="43"/>
                  </a:lnTo>
                  <a:lnTo>
                    <a:pt x="3656" y="54"/>
                  </a:lnTo>
                  <a:lnTo>
                    <a:pt x="3649" y="62"/>
                  </a:lnTo>
                  <a:lnTo>
                    <a:pt x="3677" y="78"/>
                  </a:lnTo>
                  <a:lnTo>
                    <a:pt x="3673" y="95"/>
                  </a:lnTo>
                  <a:lnTo>
                    <a:pt x="3687" y="95"/>
                  </a:lnTo>
                  <a:lnTo>
                    <a:pt x="3703" y="111"/>
                  </a:lnTo>
                  <a:lnTo>
                    <a:pt x="3694" y="132"/>
                  </a:lnTo>
                  <a:lnTo>
                    <a:pt x="3715" y="132"/>
                  </a:lnTo>
                  <a:lnTo>
                    <a:pt x="3703" y="149"/>
                  </a:lnTo>
                  <a:lnTo>
                    <a:pt x="3725" y="170"/>
                  </a:lnTo>
                  <a:lnTo>
                    <a:pt x="3732" y="203"/>
                  </a:lnTo>
                  <a:lnTo>
                    <a:pt x="3741" y="203"/>
                  </a:lnTo>
                  <a:lnTo>
                    <a:pt x="3732" y="222"/>
                  </a:lnTo>
                  <a:lnTo>
                    <a:pt x="3741" y="210"/>
                  </a:lnTo>
                  <a:lnTo>
                    <a:pt x="3741" y="239"/>
                  </a:lnTo>
                  <a:lnTo>
                    <a:pt x="3762" y="265"/>
                  </a:lnTo>
                  <a:lnTo>
                    <a:pt x="3770" y="281"/>
                  </a:lnTo>
                  <a:lnTo>
                    <a:pt x="3762" y="293"/>
                  </a:lnTo>
                  <a:lnTo>
                    <a:pt x="3770" y="305"/>
                  </a:lnTo>
                  <a:lnTo>
                    <a:pt x="3786" y="314"/>
                  </a:lnTo>
                  <a:lnTo>
                    <a:pt x="3779" y="331"/>
                  </a:lnTo>
                  <a:lnTo>
                    <a:pt x="3779" y="354"/>
                  </a:lnTo>
                  <a:lnTo>
                    <a:pt x="3800" y="376"/>
                  </a:lnTo>
                  <a:lnTo>
                    <a:pt x="3871" y="376"/>
                  </a:lnTo>
                  <a:lnTo>
                    <a:pt x="3892" y="404"/>
                  </a:lnTo>
                  <a:lnTo>
                    <a:pt x="3921" y="392"/>
                  </a:lnTo>
                  <a:lnTo>
                    <a:pt x="3925" y="404"/>
                  </a:lnTo>
                  <a:lnTo>
                    <a:pt x="3930" y="409"/>
                  </a:lnTo>
                  <a:lnTo>
                    <a:pt x="3947" y="425"/>
                  </a:lnTo>
                  <a:lnTo>
                    <a:pt x="3975" y="442"/>
                  </a:lnTo>
                  <a:lnTo>
                    <a:pt x="4001" y="442"/>
                  </a:lnTo>
                  <a:lnTo>
                    <a:pt x="3996" y="465"/>
                  </a:lnTo>
                  <a:lnTo>
                    <a:pt x="4013" y="499"/>
                  </a:lnTo>
                  <a:lnTo>
                    <a:pt x="4001" y="515"/>
                  </a:lnTo>
                  <a:lnTo>
                    <a:pt x="4018" y="527"/>
                  </a:lnTo>
                  <a:lnTo>
                    <a:pt x="4027" y="553"/>
                  </a:lnTo>
                  <a:lnTo>
                    <a:pt x="4136" y="553"/>
                  </a:lnTo>
                  <a:lnTo>
                    <a:pt x="4140" y="536"/>
                  </a:lnTo>
                  <a:lnTo>
                    <a:pt x="4174" y="515"/>
                  </a:lnTo>
                  <a:lnTo>
                    <a:pt x="4202" y="520"/>
                  </a:lnTo>
                  <a:lnTo>
                    <a:pt x="4216" y="499"/>
                  </a:lnTo>
                  <a:lnTo>
                    <a:pt x="4266" y="487"/>
                  </a:lnTo>
                  <a:lnTo>
                    <a:pt x="4287" y="499"/>
                  </a:lnTo>
                  <a:lnTo>
                    <a:pt x="4270" y="520"/>
                  </a:lnTo>
                  <a:lnTo>
                    <a:pt x="4287" y="553"/>
                  </a:lnTo>
                  <a:lnTo>
                    <a:pt x="4270" y="569"/>
                  </a:lnTo>
                  <a:lnTo>
                    <a:pt x="4249" y="581"/>
                  </a:lnTo>
                  <a:lnTo>
                    <a:pt x="4249" y="610"/>
                  </a:lnTo>
                  <a:lnTo>
                    <a:pt x="4244" y="610"/>
                  </a:lnTo>
                  <a:lnTo>
                    <a:pt x="4233" y="647"/>
                  </a:lnTo>
                  <a:lnTo>
                    <a:pt x="4228" y="664"/>
                  </a:lnTo>
                  <a:lnTo>
                    <a:pt x="4233" y="669"/>
                  </a:lnTo>
                  <a:lnTo>
                    <a:pt x="4228" y="680"/>
                  </a:lnTo>
                  <a:lnTo>
                    <a:pt x="4195" y="721"/>
                  </a:lnTo>
                  <a:lnTo>
                    <a:pt x="4195" y="742"/>
                  </a:lnTo>
                  <a:lnTo>
                    <a:pt x="4174" y="758"/>
                  </a:lnTo>
                  <a:lnTo>
                    <a:pt x="4174" y="780"/>
                  </a:lnTo>
                  <a:lnTo>
                    <a:pt x="4157" y="791"/>
                  </a:lnTo>
                  <a:lnTo>
                    <a:pt x="4093" y="775"/>
                  </a:lnTo>
                  <a:lnTo>
                    <a:pt x="4088" y="763"/>
                  </a:lnTo>
                  <a:lnTo>
                    <a:pt x="4055" y="796"/>
                  </a:lnTo>
                  <a:lnTo>
                    <a:pt x="4018" y="803"/>
                  </a:lnTo>
                  <a:lnTo>
                    <a:pt x="4034" y="820"/>
                  </a:lnTo>
                  <a:lnTo>
                    <a:pt x="4051" y="874"/>
                  </a:lnTo>
                  <a:lnTo>
                    <a:pt x="4039" y="924"/>
                  </a:lnTo>
                  <a:lnTo>
                    <a:pt x="4051" y="940"/>
                  </a:lnTo>
                  <a:lnTo>
                    <a:pt x="4034" y="964"/>
                  </a:lnTo>
                  <a:lnTo>
                    <a:pt x="4034" y="980"/>
                  </a:lnTo>
                  <a:lnTo>
                    <a:pt x="3985" y="997"/>
                  </a:lnTo>
                  <a:lnTo>
                    <a:pt x="3996" y="1002"/>
                  </a:lnTo>
                  <a:lnTo>
                    <a:pt x="3996" y="1018"/>
                  </a:lnTo>
                  <a:lnTo>
                    <a:pt x="3996" y="1014"/>
                  </a:lnTo>
                  <a:lnTo>
                    <a:pt x="3975" y="997"/>
                  </a:lnTo>
                  <a:lnTo>
                    <a:pt x="3975" y="980"/>
                  </a:lnTo>
                  <a:lnTo>
                    <a:pt x="3947" y="969"/>
                  </a:lnTo>
                  <a:lnTo>
                    <a:pt x="3930" y="1018"/>
                  </a:lnTo>
                  <a:lnTo>
                    <a:pt x="3921" y="1025"/>
                  </a:lnTo>
                  <a:lnTo>
                    <a:pt x="3909" y="1018"/>
                  </a:lnTo>
                  <a:lnTo>
                    <a:pt x="3904" y="1035"/>
                  </a:lnTo>
                  <a:lnTo>
                    <a:pt x="3876" y="1058"/>
                  </a:lnTo>
                  <a:lnTo>
                    <a:pt x="3817" y="1058"/>
                  </a:lnTo>
                  <a:lnTo>
                    <a:pt x="3824" y="1075"/>
                  </a:lnTo>
                  <a:lnTo>
                    <a:pt x="3833" y="1091"/>
                  </a:lnTo>
                  <a:lnTo>
                    <a:pt x="3824" y="1113"/>
                  </a:lnTo>
                  <a:lnTo>
                    <a:pt x="3762" y="1108"/>
                  </a:lnTo>
                  <a:lnTo>
                    <a:pt x="3741" y="1075"/>
                  </a:lnTo>
                  <a:lnTo>
                    <a:pt x="3715" y="1091"/>
                  </a:lnTo>
                  <a:lnTo>
                    <a:pt x="3711" y="1113"/>
                  </a:lnTo>
                  <a:lnTo>
                    <a:pt x="3677" y="1151"/>
                  </a:lnTo>
                  <a:lnTo>
                    <a:pt x="3656" y="1151"/>
                  </a:lnTo>
                  <a:lnTo>
                    <a:pt x="3635" y="1169"/>
                  </a:lnTo>
                  <a:lnTo>
                    <a:pt x="3607" y="1186"/>
                  </a:lnTo>
                  <a:lnTo>
                    <a:pt x="3607" y="1195"/>
                  </a:lnTo>
                  <a:lnTo>
                    <a:pt x="3597" y="1186"/>
                  </a:lnTo>
                  <a:lnTo>
                    <a:pt x="3564" y="1219"/>
                  </a:lnTo>
                  <a:lnTo>
                    <a:pt x="3552" y="1236"/>
                  </a:lnTo>
                  <a:lnTo>
                    <a:pt x="3543" y="1240"/>
                  </a:lnTo>
                  <a:lnTo>
                    <a:pt x="3514" y="1240"/>
                  </a:lnTo>
                  <a:lnTo>
                    <a:pt x="3493" y="1252"/>
                  </a:lnTo>
                  <a:lnTo>
                    <a:pt x="3477" y="1240"/>
                  </a:lnTo>
                  <a:lnTo>
                    <a:pt x="3488" y="1257"/>
                  </a:lnTo>
                  <a:lnTo>
                    <a:pt x="3422" y="1278"/>
                  </a:lnTo>
                  <a:lnTo>
                    <a:pt x="3392" y="1311"/>
                  </a:lnTo>
                  <a:lnTo>
                    <a:pt x="3370" y="1311"/>
                  </a:lnTo>
                  <a:lnTo>
                    <a:pt x="3370" y="1330"/>
                  </a:lnTo>
                  <a:lnTo>
                    <a:pt x="3333" y="1335"/>
                  </a:lnTo>
                  <a:lnTo>
                    <a:pt x="3333" y="1318"/>
                  </a:lnTo>
                  <a:lnTo>
                    <a:pt x="3370" y="1306"/>
                  </a:lnTo>
                  <a:lnTo>
                    <a:pt x="3363" y="1295"/>
                  </a:lnTo>
                  <a:lnTo>
                    <a:pt x="3380" y="1278"/>
                  </a:lnTo>
                  <a:lnTo>
                    <a:pt x="3363" y="1278"/>
                  </a:lnTo>
                  <a:lnTo>
                    <a:pt x="3354" y="1273"/>
                  </a:lnTo>
                  <a:lnTo>
                    <a:pt x="3337" y="1262"/>
                  </a:lnTo>
                  <a:lnTo>
                    <a:pt x="3363" y="1257"/>
                  </a:lnTo>
                  <a:lnTo>
                    <a:pt x="3354" y="1240"/>
                  </a:lnTo>
                  <a:lnTo>
                    <a:pt x="3385" y="1236"/>
                  </a:lnTo>
                  <a:lnTo>
                    <a:pt x="3418" y="1186"/>
                  </a:lnTo>
                  <a:lnTo>
                    <a:pt x="3401" y="1162"/>
                  </a:lnTo>
                  <a:lnTo>
                    <a:pt x="3337" y="1151"/>
                  </a:lnTo>
                  <a:lnTo>
                    <a:pt x="3325" y="1162"/>
                  </a:lnTo>
                  <a:lnTo>
                    <a:pt x="3316" y="1162"/>
                  </a:lnTo>
                  <a:lnTo>
                    <a:pt x="3325" y="1169"/>
                  </a:lnTo>
                  <a:lnTo>
                    <a:pt x="3309" y="1169"/>
                  </a:lnTo>
                  <a:lnTo>
                    <a:pt x="3295" y="1195"/>
                  </a:lnTo>
                  <a:lnTo>
                    <a:pt x="3283" y="1207"/>
                  </a:lnTo>
                  <a:lnTo>
                    <a:pt x="3224" y="1240"/>
                  </a:lnTo>
                  <a:lnTo>
                    <a:pt x="3207" y="1252"/>
                  </a:lnTo>
                  <a:lnTo>
                    <a:pt x="3203" y="1278"/>
                  </a:lnTo>
                  <a:lnTo>
                    <a:pt x="3174" y="1306"/>
                  </a:lnTo>
                  <a:lnTo>
                    <a:pt x="3186" y="1295"/>
                  </a:lnTo>
                  <a:lnTo>
                    <a:pt x="3153" y="1295"/>
                  </a:lnTo>
                  <a:lnTo>
                    <a:pt x="3137" y="1311"/>
                  </a:lnTo>
                  <a:lnTo>
                    <a:pt x="3115" y="1295"/>
                  </a:lnTo>
                  <a:lnTo>
                    <a:pt x="3094" y="1306"/>
                  </a:lnTo>
                  <a:lnTo>
                    <a:pt x="3082" y="1347"/>
                  </a:lnTo>
                  <a:lnTo>
                    <a:pt x="3094" y="1368"/>
                  </a:lnTo>
                  <a:lnTo>
                    <a:pt x="3120" y="1384"/>
                  </a:lnTo>
                  <a:lnTo>
                    <a:pt x="3170" y="1384"/>
                  </a:lnTo>
                  <a:lnTo>
                    <a:pt x="3186" y="1406"/>
                  </a:lnTo>
                  <a:lnTo>
                    <a:pt x="3174" y="1455"/>
                  </a:lnTo>
                  <a:lnTo>
                    <a:pt x="3203" y="1472"/>
                  </a:lnTo>
                  <a:lnTo>
                    <a:pt x="3240" y="1472"/>
                  </a:lnTo>
                  <a:lnTo>
                    <a:pt x="3245" y="1462"/>
                  </a:lnTo>
                  <a:lnTo>
                    <a:pt x="3245" y="1446"/>
                  </a:lnTo>
                  <a:lnTo>
                    <a:pt x="3309" y="1406"/>
                  </a:lnTo>
                  <a:lnTo>
                    <a:pt x="3316" y="1417"/>
                  </a:lnTo>
                  <a:lnTo>
                    <a:pt x="3333" y="1429"/>
                  </a:lnTo>
                  <a:lnTo>
                    <a:pt x="3363" y="1446"/>
                  </a:lnTo>
                  <a:lnTo>
                    <a:pt x="3401" y="1429"/>
                  </a:lnTo>
                  <a:lnTo>
                    <a:pt x="3408" y="1446"/>
                  </a:lnTo>
                  <a:lnTo>
                    <a:pt x="3434" y="1446"/>
                  </a:lnTo>
                  <a:lnTo>
                    <a:pt x="3439" y="1462"/>
                  </a:lnTo>
                  <a:lnTo>
                    <a:pt x="3422" y="1472"/>
                  </a:lnTo>
                  <a:lnTo>
                    <a:pt x="3422" y="1479"/>
                  </a:lnTo>
                  <a:lnTo>
                    <a:pt x="3434" y="1479"/>
                  </a:lnTo>
                  <a:lnTo>
                    <a:pt x="3434" y="1484"/>
                  </a:lnTo>
                  <a:lnTo>
                    <a:pt x="3408" y="1495"/>
                  </a:lnTo>
                  <a:lnTo>
                    <a:pt x="3408" y="1484"/>
                  </a:lnTo>
                  <a:lnTo>
                    <a:pt x="3392" y="1479"/>
                  </a:lnTo>
                  <a:lnTo>
                    <a:pt x="3363" y="1500"/>
                  </a:lnTo>
                  <a:lnTo>
                    <a:pt x="3363" y="1495"/>
                  </a:lnTo>
                  <a:lnTo>
                    <a:pt x="3325" y="1517"/>
                  </a:lnTo>
                  <a:lnTo>
                    <a:pt x="3309" y="1512"/>
                  </a:lnTo>
                  <a:lnTo>
                    <a:pt x="3309" y="1517"/>
                  </a:lnTo>
                  <a:lnTo>
                    <a:pt x="3316" y="1512"/>
                  </a:lnTo>
                  <a:lnTo>
                    <a:pt x="3325" y="1517"/>
                  </a:lnTo>
                  <a:lnTo>
                    <a:pt x="3316" y="1533"/>
                  </a:lnTo>
                  <a:lnTo>
                    <a:pt x="3309" y="1528"/>
                  </a:lnTo>
                  <a:lnTo>
                    <a:pt x="3300" y="1528"/>
                  </a:lnTo>
                  <a:lnTo>
                    <a:pt x="3300" y="1550"/>
                  </a:lnTo>
                  <a:lnTo>
                    <a:pt x="3278" y="1557"/>
                  </a:lnTo>
                  <a:lnTo>
                    <a:pt x="3278" y="1550"/>
                  </a:lnTo>
                  <a:lnTo>
                    <a:pt x="3278" y="1540"/>
                  </a:lnTo>
                  <a:lnTo>
                    <a:pt x="3262" y="1550"/>
                  </a:lnTo>
                  <a:lnTo>
                    <a:pt x="3271" y="1566"/>
                  </a:lnTo>
                  <a:lnTo>
                    <a:pt x="3245" y="1583"/>
                  </a:lnTo>
                  <a:lnTo>
                    <a:pt x="3245" y="1590"/>
                  </a:lnTo>
                  <a:lnTo>
                    <a:pt x="3229" y="1595"/>
                  </a:lnTo>
                  <a:lnTo>
                    <a:pt x="3207" y="1639"/>
                  </a:lnTo>
                  <a:lnTo>
                    <a:pt x="3203" y="1639"/>
                  </a:lnTo>
                  <a:lnTo>
                    <a:pt x="3191" y="1651"/>
                  </a:lnTo>
                  <a:lnTo>
                    <a:pt x="3203" y="1661"/>
                  </a:lnTo>
                  <a:lnTo>
                    <a:pt x="3219" y="1668"/>
                  </a:lnTo>
                  <a:lnTo>
                    <a:pt x="3229" y="1684"/>
                  </a:lnTo>
                  <a:lnTo>
                    <a:pt x="3271" y="1701"/>
                  </a:lnTo>
                  <a:lnTo>
                    <a:pt x="3283" y="1755"/>
                  </a:lnTo>
                  <a:lnTo>
                    <a:pt x="3316" y="1812"/>
                  </a:lnTo>
                  <a:lnTo>
                    <a:pt x="3316" y="1833"/>
                  </a:lnTo>
                  <a:lnTo>
                    <a:pt x="3354" y="1862"/>
                  </a:lnTo>
                  <a:lnTo>
                    <a:pt x="3354" y="1871"/>
                  </a:lnTo>
                  <a:lnTo>
                    <a:pt x="3380" y="1888"/>
                  </a:lnTo>
                  <a:lnTo>
                    <a:pt x="3385" y="1904"/>
                  </a:lnTo>
                  <a:lnTo>
                    <a:pt x="3385" y="1916"/>
                  </a:lnTo>
                  <a:lnTo>
                    <a:pt x="3347" y="1899"/>
                  </a:lnTo>
                  <a:lnTo>
                    <a:pt x="3325" y="1899"/>
                  </a:lnTo>
                  <a:lnTo>
                    <a:pt x="3295" y="1883"/>
                  </a:lnTo>
                  <a:lnTo>
                    <a:pt x="3262" y="1888"/>
                  </a:lnTo>
                  <a:lnTo>
                    <a:pt x="3240" y="1862"/>
                  </a:lnTo>
                  <a:lnTo>
                    <a:pt x="3229" y="1866"/>
                  </a:lnTo>
                  <a:lnTo>
                    <a:pt x="3224" y="1871"/>
                  </a:lnTo>
                  <a:lnTo>
                    <a:pt x="3240" y="1871"/>
                  </a:lnTo>
                  <a:lnTo>
                    <a:pt x="3245" y="1888"/>
                  </a:lnTo>
                  <a:lnTo>
                    <a:pt x="3262" y="1888"/>
                  </a:lnTo>
                  <a:lnTo>
                    <a:pt x="3283" y="1883"/>
                  </a:lnTo>
                  <a:lnTo>
                    <a:pt x="3300" y="1888"/>
                  </a:lnTo>
                  <a:lnTo>
                    <a:pt x="3309" y="1899"/>
                  </a:lnTo>
                  <a:lnTo>
                    <a:pt x="3300" y="1899"/>
                  </a:lnTo>
                  <a:lnTo>
                    <a:pt x="3333" y="1904"/>
                  </a:lnTo>
                  <a:lnTo>
                    <a:pt x="3370" y="1937"/>
                  </a:lnTo>
                  <a:lnTo>
                    <a:pt x="3385" y="1973"/>
                  </a:lnTo>
                  <a:lnTo>
                    <a:pt x="3385" y="1977"/>
                  </a:lnTo>
                  <a:lnTo>
                    <a:pt x="3354" y="1977"/>
                  </a:lnTo>
                  <a:lnTo>
                    <a:pt x="3325" y="1999"/>
                  </a:lnTo>
                  <a:lnTo>
                    <a:pt x="3309" y="2015"/>
                  </a:lnTo>
                  <a:lnTo>
                    <a:pt x="3283" y="2015"/>
                  </a:lnTo>
                  <a:lnTo>
                    <a:pt x="3262" y="2032"/>
                  </a:lnTo>
                  <a:lnTo>
                    <a:pt x="3295" y="2015"/>
                  </a:lnTo>
                  <a:lnTo>
                    <a:pt x="3295" y="2032"/>
                  </a:lnTo>
                  <a:lnTo>
                    <a:pt x="3309" y="2039"/>
                  </a:lnTo>
                  <a:lnTo>
                    <a:pt x="3347" y="2027"/>
                  </a:lnTo>
                  <a:lnTo>
                    <a:pt x="3370" y="2048"/>
                  </a:lnTo>
                  <a:lnTo>
                    <a:pt x="3401" y="2055"/>
                  </a:lnTo>
                  <a:lnTo>
                    <a:pt x="3370" y="2081"/>
                  </a:lnTo>
                  <a:lnTo>
                    <a:pt x="3363" y="2081"/>
                  </a:lnTo>
                  <a:lnTo>
                    <a:pt x="3354" y="2088"/>
                  </a:lnTo>
                  <a:lnTo>
                    <a:pt x="3380" y="2081"/>
                  </a:lnTo>
                  <a:lnTo>
                    <a:pt x="3380" y="2088"/>
                  </a:lnTo>
                  <a:lnTo>
                    <a:pt x="3385" y="2081"/>
                  </a:lnTo>
                  <a:lnTo>
                    <a:pt x="3380" y="2081"/>
                  </a:lnTo>
                  <a:lnTo>
                    <a:pt x="3385" y="2072"/>
                  </a:lnTo>
                  <a:lnTo>
                    <a:pt x="3392" y="2081"/>
                  </a:lnTo>
                  <a:lnTo>
                    <a:pt x="3385" y="2105"/>
                  </a:lnTo>
                  <a:lnTo>
                    <a:pt x="3392" y="2105"/>
                  </a:lnTo>
                  <a:lnTo>
                    <a:pt x="3385" y="2110"/>
                  </a:lnTo>
                  <a:lnTo>
                    <a:pt x="3380" y="2093"/>
                  </a:lnTo>
                  <a:lnTo>
                    <a:pt x="3380" y="2110"/>
                  </a:lnTo>
                  <a:lnTo>
                    <a:pt x="3363" y="2105"/>
                  </a:lnTo>
                  <a:lnTo>
                    <a:pt x="3354" y="2110"/>
                  </a:lnTo>
                  <a:lnTo>
                    <a:pt x="3370" y="2121"/>
                  </a:lnTo>
                  <a:lnTo>
                    <a:pt x="3370" y="2126"/>
                  </a:lnTo>
                  <a:lnTo>
                    <a:pt x="3354" y="2126"/>
                  </a:lnTo>
                  <a:lnTo>
                    <a:pt x="3370" y="2138"/>
                  </a:lnTo>
                  <a:lnTo>
                    <a:pt x="3363" y="2143"/>
                  </a:lnTo>
                  <a:lnTo>
                    <a:pt x="3347" y="2143"/>
                  </a:lnTo>
                  <a:lnTo>
                    <a:pt x="3333" y="2138"/>
                  </a:lnTo>
                  <a:lnTo>
                    <a:pt x="3354" y="2150"/>
                  </a:lnTo>
                  <a:lnTo>
                    <a:pt x="3370" y="2176"/>
                  </a:lnTo>
                  <a:lnTo>
                    <a:pt x="3363" y="2183"/>
                  </a:lnTo>
                  <a:lnTo>
                    <a:pt x="3354" y="2176"/>
                  </a:lnTo>
                  <a:lnTo>
                    <a:pt x="3347" y="2192"/>
                  </a:lnTo>
                  <a:lnTo>
                    <a:pt x="3337" y="2176"/>
                  </a:lnTo>
                  <a:lnTo>
                    <a:pt x="3316" y="2199"/>
                  </a:lnTo>
                  <a:lnTo>
                    <a:pt x="3295" y="2199"/>
                  </a:lnTo>
                  <a:lnTo>
                    <a:pt x="3316" y="2204"/>
                  </a:lnTo>
                  <a:lnTo>
                    <a:pt x="3316" y="2216"/>
                  </a:lnTo>
                  <a:lnTo>
                    <a:pt x="3295" y="2232"/>
                  </a:lnTo>
                  <a:lnTo>
                    <a:pt x="3300" y="2249"/>
                  </a:lnTo>
                  <a:lnTo>
                    <a:pt x="3283" y="2258"/>
                  </a:lnTo>
                  <a:lnTo>
                    <a:pt x="3278" y="2254"/>
                  </a:lnTo>
                  <a:lnTo>
                    <a:pt x="3271" y="2254"/>
                  </a:lnTo>
                  <a:lnTo>
                    <a:pt x="3271" y="2258"/>
                  </a:lnTo>
                  <a:lnTo>
                    <a:pt x="3283" y="2270"/>
                  </a:lnTo>
                  <a:lnTo>
                    <a:pt x="3271" y="2270"/>
                  </a:lnTo>
                  <a:lnTo>
                    <a:pt x="3271" y="2287"/>
                  </a:lnTo>
                  <a:lnTo>
                    <a:pt x="3257" y="2287"/>
                  </a:lnTo>
                  <a:lnTo>
                    <a:pt x="3262" y="2310"/>
                  </a:lnTo>
                  <a:lnTo>
                    <a:pt x="3245" y="2315"/>
                  </a:lnTo>
                  <a:lnTo>
                    <a:pt x="3262" y="2294"/>
                  </a:lnTo>
                  <a:lnTo>
                    <a:pt x="3245" y="2294"/>
                  </a:lnTo>
                  <a:lnTo>
                    <a:pt x="3245" y="2310"/>
                  </a:lnTo>
                  <a:lnTo>
                    <a:pt x="3240" y="2294"/>
                  </a:lnTo>
                  <a:lnTo>
                    <a:pt x="3229" y="2294"/>
                  </a:lnTo>
                  <a:lnTo>
                    <a:pt x="3229" y="2303"/>
                  </a:lnTo>
                  <a:lnTo>
                    <a:pt x="3224" y="2294"/>
                  </a:lnTo>
                  <a:lnTo>
                    <a:pt x="3224" y="2310"/>
                  </a:lnTo>
                  <a:lnTo>
                    <a:pt x="3229" y="2310"/>
                  </a:lnTo>
                  <a:lnTo>
                    <a:pt x="3240" y="2327"/>
                  </a:lnTo>
                  <a:lnTo>
                    <a:pt x="3229" y="2315"/>
                  </a:lnTo>
                  <a:lnTo>
                    <a:pt x="3224" y="2327"/>
                  </a:lnTo>
                  <a:lnTo>
                    <a:pt x="3229" y="2332"/>
                  </a:lnTo>
                  <a:lnTo>
                    <a:pt x="3240" y="2327"/>
                  </a:lnTo>
                  <a:lnTo>
                    <a:pt x="3245" y="2327"/>
                  </a:lnTo>
                  <a:lnTo>
                    <a:pt x="3229" y="2332"/>
                  </a:lnTo>
                  <a:lnTo>
                    <a:pt x="3219" y="2360"/>
                  </a:lnTo>
                  <a:lnTo>
                    <a:pt x="3191" y="2343"/>
                  </a:lnTo>
                  <a:lnTo>
                    <a:pt x="3207" y="2360"/>
                  </a:lnTo>
                  <a:lnTo>
                    <a:pt x="3224" y="2348"/>
                  </a:lnTo>
                  <a:lnTo>
                    <a:pt x="3229" y="2360"/>
                  </a:lnTo>
                  <a:lnTo>
                    <a:pt x="3224" y="2365"/>
                  </a:lnTo>
                  <a:lnTo>
                    <a:pt x="3224" y="2381"/>
                  </a:lnTo>
                  <a:lnTo>
                    <a:pt x="3219" y="2381"/>
                  </a:lnTo>
                  <a:lnTo>
                    <a:pt x="3229" y="2402"/>
                  </a:lnTo>
                  <a:lnTo>
                    <a:pt x="3207" y="2386"/>
                  </a:lnTo>
                  <a:lnTo>
                    <a:pt x="3191" y="2402"/>
                  </a:lnTo>
                  <a:lnTo>
                    <a:pt x="3207" y="2414"/>
                  </a:lnTo>
                  <a:lnTo>
                    <a:pt x="3191" y="2426"/>
                  </a:lnTo>
                  <a:lnTo>
                    <a:pt x="3186" y="2419"/>
                  </a:lnTo>
                  <a:lnTo>
                    <a:pt x="3186" y="2414"/>
                  </a:lnTo>
                  <a:lnTo>
                    <a:pt x="3174" y="2414"/>
                  </a:lnTo>
                  <a:lnTo>
                    <a:pt x="3186" y="2419"/>
                  </a:lnTo>
                  <a:lnTo>
                    <a:pt x="3170" y="2426"/>
                  </a:lnTo>
                  <a:lnTo>
                    <a:pt x="3186" y="2438"/>
                  </a:lnTo>
                  <a:lnTo>
                    <a:pt x="3165" y="2443"/>
                  </a:lnTo>
                  <a:lnTo>
                    <a:pt x="3165" y="2438"/>
                  </a:lnTo>
                  <a:lnTo>
                    <a:pt x="3153" y="2443"/>
                  </a:lnTo>
                  <a:lnTo>
                    <a:pt x="3153" y="2454"/>
                  </a:lnTo>
                  <a:lnTo>
                    <a:pt x="3170" y="2454"/>
                  </a:lnTo>
                  <a:lnTo>
                    <a:pt x="3153" y="2471"/>
                  </a:lnTo>
                  <a:lnTo>
                    <a:pt x="3148" y="2459"/>
                  </a:lnTo>
                  <a:lnTo>
                    <a:pt x="3132" y="2471"/>
                  </a:lnTo>
                  <a:lnTo>
                    <a:pt x="3120" y="2459"/>
                  </a:lnTo>
                  <a:lnTo>
                    <a:pt x="3111" y="2471"/>
                  </a:lnTo>
                  <a:lnTo>
                    <a:pt x="3115" y="2471"/>
                  </a:lnTo>
                  <a:lnTo>
                    <a:pt x="3115" y="2476"/>
                  </a:lnTo>
                  <a:lnTo>
                    <a:pt x="3099" y="2476"/>
                  </a:lnTo>
                  <a:lnTo>
                    <a:pt x="3115" y="2476"/>
                  </a:lnTo>
                  <a:lnTo>
                    <a:pt x="3120" y="2492"/>
                  </a:lnTo>
                  <a:lnTo>
                    <a:pt x="3094" y="2513"/>
                  </a:lnTo>
                  <a:lnTo>
                    <a:pt x="3099" y="2509"/>
                  </a:lnTo>
                  <a:lnTo>
                    <a:pt x="3082" y="2525"/>
                  </a:lnTo>
                  <a:lnTo>
                    <a:pt x="3061" y="2530"/>
                  </a:lnTo>
                  <a:lnTo>
                    <a:pt x="3056" y="2537"/>
                  </a:lnTo>
                  <a:lnTo>
                    <a:pt x="3040" y="2530"/>
                  </a:lnTo>
                  <a:lnTo>
                    <a:pt x="3023" y="2563"/>
                  </a:lnTo>
                  <a:lnTo>
                    <a:pt x="3007" y="2554"/>
                  </a:lnTo>
                  <a:lnTo>
                    <a:pt x="3030" y="2570"/>
                  </a:lnTo>
                  <a:lnTo>
                    <a:pt x="3007" y="2570"/>
                  </a:lnTo>
                  <a:lnTo>
                    <a:pt x="3007" y="2587"/>
                  </a:lnTo>
                  <a:lnTo>
                    <a:pt x="2992" y="2591"/>
                  </a:lnTo>
                  <a:lnTo>
                    <a:pt x="2959" y="2603"/>
                  </a:lnTo>
                  <a:lnTo>
                    <a:pt x="2948" y="2591"/>
                  </a:lnTo>
                  <a:lnTo>
                    <a:pt x="2938" y="2591"/>
                  </a:lnTo>
                  <a:lnTo>
                    <a:pt x="2938" y="2608"/>
                  </a:lnTo>
                  <a:lnTo>
                    <a:pt x="2917" y="2603"/>
                  </a:lnTo>
                  <a:lnTo>
                    <a:pt x="2893" y="2608"/>
                  </a:lnTo>
                  <a:lnTo>
                    <a:pt x="2893" y="2620"/>
                  </a:lnTo>
                  <a:lnTo>
                    <a:pt x="2884" y="2620"/>
                  </a:lnTo>
                  <a:lnTo>
                    <a:pt x="2884" y="2603"/>
                  </a:lnTo>
                  <a:lnTo>
                    <a:pt x="2867" y="2608"/>
                  </a:lnTo>
                  <a:lnTo>
                    <a:pt x="2879" y="2624"/>
                  </a:lnTo>
                  <a:lnTo>
                    <a:pt x="2867" y="2624"/>
                  </a:lnTo>
                  <a:lnTo>
                    <a:pt x="2863" y="2620"/>
                  </a:lnTo>
                  <a:lnTo>
                    <a:pt x="2846" y="2620"/>
                  </a:lnTo>
                  <a:lnTo>
                    <a:pt x="2851" y="2624"/>
                  </a:lnTo>
                  <a:lnTo>
                    <a:pt x="2863" y="2624"/>
                  </a:lnTo>
                  <a:lnTo>
                    <a:pt x="2851" y="2636"/>
                  </a:lnTo>
                  <a:lnTo>
                    <a:pt x="2851" y="2641"/>
                  </a:lnTo>
                  <a:lnTo>
                    <a:pt x="2829" y="2636"/>
                  </a:lnTo>
                  <a:lnTo>
                    <a:pt x="2841" y="2624"/>
                  </a:lnTo>
                  <a:lnTo>
                    <a:pt x="2825" y="2624"/>
                  </a:lnTo>
                  <a:lnTo>
                    <a:pt x="2813" y="2603"/>
                  </a:lnTo>
                  <a:lnTo>
                    <a:pt x="2808" y="2591"/>
                  </a:lnTo>
                  <a:lnTo>
                    <a:pt x="2796" y="2580"/>
                  </a:lnTo>
                  <a:lnTo>
                    <a:pt x="2825" y="2580"/>
                  </a:lnTo>
                  <a:lnTo>
                    <a:pt x="2813" y="2570"/>
                  </a:lnTo>
                  <a:lnTo>
                    <a:pt x="2796" y="2580"/>
                  </a:lnTo>
                  <a:lnTo>
                    <a:pt x="2796" y="2591"/>
                  </a:lnTo>
                  <a:lnTo>
                    <a:pt x="2792" y="2591"/>
                  </a:lnTo>
                  <a:lnTo>
                    <a:pt x="2796" y="2620"/>
                  </a:lnTo>
                  <a:lnTo>
                    <a:pt x="2796" y="2641"/>
                  </a:lnTo>
                  <a:lnTo>
                    <a:pt x="2796" y="2653"/>
                  </a:lnTo>
                  <a:lnTo>
                    <a:pt x="2792" y="2653"/>
                  </a:lnTo>
                  <a:lnTo>
                    <a:pt x="2775" y="2620"/>
                  </a:lnTo>
                  <a:lnTo>
                    <a:pt x="2792" y="2653"/>
                  </a:lnTo>
                  <a:lnTo>
                    <a:pt x="2787" y="2653"/>
                  </a:lnTo>
                  <a:lnTo>
                    <a:pt x="2775" y="2658"/>
                  </a:lnTo>
                  <a:lnTo>
                    <a:pt x="2770" y="2658"/>
                  </a:lnTo>
                  <a:lnTo>
                    <a:pt x="2770" y="2641"/>
                  </a:lnTo>
                  <a:lnTo>
                    <a:pt x="2759" y="2674"/>
                  </a:lnTo>
                  <a:lnTo>
                    <a:pt x="2754" y="2665"/>
                  </a:lnTo>
                  <a:lnTo>
                    <a:pt x="2737" y="2681"/>
                  </a:lnTo>
                  <a:lnTo>
                    <a:pt x="2733" y="2674"/>
                  </a:lnTo>
                  <a:lnTo>
                    <a:pt x="2716" y="2681"/>
                  </a:lnTo>
                  <a:lnTo>
                    <a:pt x="2683" y="2665"/>
                  </a:lnTo>
                  <a:lnTo>
                    <a:pt x="2690" y="2681"/>
                  </a:lnTo>
                  <a:lnTo>
                    <a:pt x="2683" y="2691"/>
                  </a:lnTo>
                  <a:lnTo>
                    <a:pt x="2666" y="2674"/>
                  </a:lnTo>
                  <a:lnTo>
                    <a:pt x="2678" y="2691"/>
                  </a:lnTo>
                  <a:lnTo>
                    <a:pt x="2666" y="2698"/>
                  </a:lnTo>
                  <a:lnTo>
                    <a:pt x="2629" y="2707"/>
                  </a:lnTo>
                  <a:lnTo>
                    <a:pt x="2624" y="2698"/>
                  </a:lnTo>
                  <a:lnTo>
                    <a:pt x="2624" y="2707"/>
                  </a:lnTo>
                  <a:lnTo>
                    <a:pt x="2629" y="2698"/>
                  </a:lnTo>
                  <a:lnTo>
                    <a:pt x="2607" y="2707"/>
                  </a:lnTo>
                  <a:lnTo>
                    <a:pt x="2598" y="2714"/>
                  </a:lnTo>
                  <a:lnTo>
                    <a:pt x="2607" y="2707"/>
                  </a:lnTo>
                  <a:lnTo>
                    <a:pt x="2598" y="2707"/>
                  </a:lnTo>
                  <a:lnTo>
                    <a:pt x="2598" y="2719"/>
                  </a:lnTo>
                  <a:lnTo>
                    <a:pt x="2591" y="2719"/>
                  </a:lnTo>
                  <a:lnTo>
                    <a:pt x="2581" y="2719"/>
                  </a:lnTo>
                  <a:lnTo>
                    <a:pt x="2581" y="2707"/>
                  </a:lnTo>
                  <a:lnTo>
                    <a:pt x="2581" y="2719"/>
                  </a:lnTo>
                  <a:lnTo>
                    <a:pt x="2560" y="2736"/>
                  </a:lnTo>
                  <a:lnTo>
                    <a:pt x="2560" y="2747"/>
                  </a:lnTo>
                  <a:lnTo>
                    <a:pt x="2577" y="2747"/>
                  </a:lnTo>
                  <a:lnTo>
                    <a:pt x="2577" y="2764"/>
                  </a:lnTo>
                  <a:lnTo>
                    <a:pt x="2591" y="2776"/>
                  </a:lnTo>
                  <a:lnTo>
                    <a:pt x="2577" y="2792"/>
                  </a:lnTo>
                  <a:lnTo>
                    <a:pt x="2553" y="2792"/>
                  </a:lnTo>
                  <a:lnTo>
                    <a:pt x="2544" y="2792"/>
                  </a:lnTo>
                  <a:lnTo>
                    <a:pt x="2544" y="2785"/>
                  </a:lnTo>
                  <a:lnTo>
                    <a:pt x="2553" y="2776"/>
                  </a:lnTo>
                  <a:lnTo>
                    <a:pt x="2539" y="2764"/>
                  </a:lnTo>
                  <a:lnTo>
                    <a:pt x="2527" y="2747"/>
                  </a:lnTo>
                  <a:lnTo>
                    <a:pt x="2539" y="2714"/>
                  </a:lnTo>
                  <a:lnTo>
                    <a:pt x="2553" y="2707"/>
                  </a:lnTo>
                  <a:lnTo>
                    <a:pt x="2539" y="2707"/>
                  </a:lnTo>
                  <a:lnTo>
                    <a:pt x="2539" y="2691"/>
                  </a:lnTo>
                  <a:lnTo>
                    <a:pt x="2539" y="2698"/>
                  </a:lnTo>
                  <a:lnTo>
                    <a:pt x="2527" y="2698"/>
                  </a:lnTo>
                  <a:lnTo>
                    <a:pt x="2522" y="2681"/>
                  </a:lnTo>
                  <a:lnTo>
                    <a:pt x="2522" y="2691"/>
                  </a:lnTo>
                  <a:lnTo>
                    <a:pt x="2522" y="2698"/>
                  </a:lnTo>
                  <a:lnTo>
                    <a:pt x="2489" y="2707"/>
                  </a:lnTo>
                  <a:lnTo>
                    <a:pt x="2489" y="2691"/>
                  </a:lnTo>
                  <a:lnTo>
                    <a:pt x="2473" y="2681"/>
                  </a:lnTo>
                  <a:lnTo>
                    <a:pt x="2468" y="2674"/>
                  </a:lnTo>
                  <a:lnTo>
                    <a:pt x="2473" y="2691"/>
                  </a:lnTo>
                  <a:lnTo>
                    <a:pt x="2468" y="2691"/>
                  </a:lnTo>
                  <a:lnTo>
                    <a:pt x="2463" y="2665"/>
                  </a:lnTo>
                  <a:lnTo>
                    <a:pt x="2447" y="2665"/>
                  </a:lnTo>
                  <a:lnTo>
                    <a:pt x="2447" y="2674"/>
                  </a:lnTo>
                  <a:lnTo>
                    <a:pt x="2451" y="2681"/>
                  </a:lnTo>
                  <a:lnTo>
                    <a:pt x="2447" y="2691"/>
                  </a:lnTo>
                  <a:lnTo>
                    <a:pt x="2435" y="2698"/>
                  </a:lnTo>
                  <a:lnTo>
                    <a:pt x="2447" y="2691"/>
                  </a:lnTo>
                  <a:lnTo>
                    <a:pt x="2435" y="2681"/>
                  </a:lnTo>
                  <a:lnTo>
                    <a:pt x="2430" y="2698"/>
                  </a:lnTo>
                  <a:lnTo>
                    <a:pt x="2430" y="2691"/>
                  </a:lnTo>
                  <a:lnTo>
                    <a:pt x="2414" y="2698"/>
                  </a:lnTo>
                  <a:lnTo>
                    <a:pt x="2397" y="2691"/>
                  </a:lnTo>
                  <a:lnTo>
                    <a:pt x="2364" y="2691"/>
                  </a:lnTo>
                  <a:lnTo>
                    <a:pt x="2359" y="2681"/>
                  </a:lnTo>
                  <a:lnTo>
                    <a:pt x="2343" y="2674"/>
                  </a:lnTo>
                  <a:lnTo>
                    <a:pt x="2343" y="2665"/>
                  </a:lnTo>
                  <a:lnTo>
                    <a:pt x="2322" y="2658"/>
                  </a:lnTo>
                  <a:lnTo>
                    <a:pt x="2322" y="2641"/>
                  </a:lnTo>
                  <a:lnTo>
                    <a:pt x="2312" y="2624"/>
                  </a:lnTo>
                  <a:lnTo>
                    <a:pt x="2326" y="2603"/>
                  </a:lnTo>
                  <a:lnTo>
                    <a:pt x="2322" y="2591"/>
                  </a:lnTo>
                  <a:lnTo>
                    <a:pt x="2305" y="2587"/>
                  </a:lnTo>
                  <a:lnTo>
                    <a:pt x="2289" y="2591"/>
                  </a:lnTo>
                  <a:lnTo>
                    <a:pt x="2284" y="2587"/>
                  </a:lnTo>
                  <a:lnTo>
                    <a:pt x="2258" y="2591"/>
                  </a:lnTo>
                  <a:lnTo>
                    <a:pt x="2241" y="2580"/>
                  </a:lnTo>
                  <a:lnTo>
                    <a:pt x="2229" y="2563"/>
                  </a:lnTo>
                  <a:lnTo>
                    <a:pt x="2199" y="2570"/>
                  </a:lnTo>
                  <a:lnTo>
                    <a:pt x="2182" y="2603"/>
                  </a:lnTo>
                  <a:lnTo>
                    <a:pt x="2175" y="2591"/>
                  </a:lnTo>
                  <a:lnTo>
                    <a:pt x="2161" y="2608"/>
                  </a:lnTo>
                  <a:lnTo>
                    <a:pt x="2149" y="2603"/>
                  </a:lnTo>
                  <a:lnTo>
                    <a:pt x="2149" y="2591"/>
                  </a:lnTo>
                  <a:lnTo>
                    <a:pt x="2133" y="2603"/>
                  </a:lnTo>
                  <a:lnTo>
                    <a:pt x="2128" y="2624"/>
                  </a:lnTo>
                  <a:lnTo>
                    <a:pt x="2107" y="2603"/>
                  </a:lnTo>
                  <a:lnTo>
                    <a:pt x="2095" y="2620"/>
                  </a:lnTo>
                  <a:lnTo>
                    <a:pt x="2078" y="2603"/>
                  </a:lnTo>
                  <a:lnTo>
                    <a:pt x="2069" y="2624"/>
                  </a:lnTo>
                  <a:lnTo>
                    <a:pt x="2024" y="2603"/>
                  </a:lnTo>
                  <a:lnTo>
                    <a:pt x="2003" y="2636"/>
                  </a:lnTo>
                  <a:lnTo>
                    <a:pt x="1972" y="2624"/>
                  </a:lnTo>
                  <a:lnTo>
                    <a:pt x="1960" y="2641"/>
                  </a:lnTo>
                  <a:lnTo>
                    <a:pt x="1965" y="2665"/>
                  </a:lnTo>
                  <a:lnTo>
                    <a:pt x="1972" y="2674"/>
                  </a:lnTo>
                  <a:lnTo>
                    <a:pt x="1972" y="2714"/>
                  </a:lnTo>
                  <a:lnTo>
                    <a:pt x="1981" y="2719"/>
                  </a:lnTo>
                  <a:lnTo>
                    <a:pt x="1972" y="2731"/>
                  </a:lnTo>
                  <a:lnTo>
                    <a:pt x="1960" y="2719"/>
                  </a:lnTo>
                  <a:lnTo>
                    <a:pt x="1944" y="2719"/>
                  </a:lnTo>
                  <a:lnTo>
                    <a:pt x="1934" y="2691"/>
                  </a:lnTo>
                  <a:lnTo>
                    <a:pt x="1927" y="2681"/>
                  </a:lnTo>
                  <a:lnTo>
                    <a:pt x="1889" y="2707"/>
                  </a:lnTo>
                  <a:lnTo>
                    <a:pt x="1880" y="2698"/>
                  </a:lnTo>
                  <a:lnTo>
                    <a:pt x="1863" y="2707"/>
                  </a:lnTo>
                  <a:lnTo>
                    <a:pt x="1859" y="2698"/>
                  </a:lnTo>
                  <a:lnTo>
                    <a:pt x="1859" y="2691"/>
                  </a:lnTo>
                  <a:lnTo>
                    <a:pt x="1851" y="2681"/>
                  </a:lnTo>
                  <a:lnTo>
                    <a:pt x="1851" y="2658"/>
                  </a:lnTo>
                  <a:lnTo>
                    <a:pt x="1788" y="2653"/>
                  </a:lnTo>
                  <a:lnTo>
                    <a:pt x="1809" y="2624"/>
                  </a:lnTo>
                  <a:lnTo>
                    <a:pt x="1804" y="2608"/>
                  </a:lnTo>
                  <a:lnTo>
                    <a:pt x="1821" y="2587"/>
                  </a:lnTo>
                  <a:lnTo>
                    <a:pt x="1821" y="2580"/>
                  </a:lnTo>
                  <a:lnTo>
                    <a:pt x="1788" y="2580"/>
                  </a:lnTo>
                  <a:lnTo>
                    <a:pt x="1771" y="2570"/>
                  </a:lnTo>
                  <a:lnTo>
                    <a:pt x="1771" y="2554"/>
                  </a:lnTo>
                  <a:lnTo>
                    <a:pt x="1766" y="2547"/>
                  </a:lnTo>
                  <a:lnTo>
                    <a:pt x="1766" y="2530"/>
                  </a:lnTo>
                  <a:lnTo>
                    <a:pt x="1755" y="2525"/>
                  </a:lnTo>
                  <a:lnTo>
                    <a:pt x="1755" y="2513"/>
                  </a:lnTo>
                  <a:lnTo>
                    <a:pt x="1771" y="2497"/>
                  </a:lnTo>
                  <a:lnTo>
                    <a:pt x="1717" y="2497"/>
                  </a:lnTo>
                  <a:lnTo>
                    <a:pt x="1691" y="2525"/>
                  </a:lnTo>
                  <a:lnTo>
                    <a:pt x="1679" y="2513"/>
                  </a:lnTo>
                  <a:lnTo>
                    <a:pt x="1696" y="2497"/>
                  </a:lnTo>
                  <a:lnTo>
                    <a:pt x="1691" y="2476"/>
                  </a:lnTo>
                  <a:lnTo>
                    <a:pt x="1679" y="2476"/>
                  </a:lnTo>
                  <a:lnTo>
                    <a:pt x="1679" y="2454"/>
                  </a:lnTo>
                  <a:lnTo>
                    <a:pt x="1696" y="2438"/>
                  </a:lnTo>
                  <a:lnTo>
                    <a:pt x="1696" y="2414"/>
                  </a:lnTo>
                  <a:lnTo>
                    <a:pt x="1700" y="2419"/>
                  </a:lnTo>
                  <a:lnTo>
                    <a:pt x="1712" y="2414"/>
                  </a:lnTo>
                  <a:lnTo>
                    <a:pt x="1729" y="2386"/>
                  </a:lnTo>
                  <a:lnTo>
                    <a:pt x="1733" y="2386"/>
                  </a:lnTo>
                  <a:lnTo>
                    <a:pt x="1750" y="2365"/>
                  </a:lnTo>
                  <a:lnTo>
                    <a:pt x="1755" y="2365"/>
                  </a:lnTo>
                  <a:lnTo>
                    <a:pt x="1750" y="2348"/>
                  </a:lnTo>
                  <a:lnTo>
                    <a:pt x="1766" y="2343"/>
                  </a:lnTo>
                  <a:lnTo>
                    <a:pt x="1766" y="2294"/>
                  </a:lnTo>
                  <a:lnTo>
                    <a:pt x="1755" y="2237"/>
                  </a:lnTo>
                  <a:lnTo>
                    <a:pt x="1745" y="2232"/>
                  </a:lnTo>
                  <a:lnTo>
                    <a:pt x="1733" y="2237"/>
                  </a:lnTo>
                  <a:lnTo>
                    <a:pt x="1717" y="2192"/>
                  </a:lnTo>
                  <a:lnTo>
                    <a:pt x="1712" y="2183"/>
                  </a:lnTo>
                  <a:lnTo>
                    <a:pt x="1679" y="2159"/>
                  </a:lnTo>
                  <a:lnTo>
                    <a:pt x="1674" y="2176"/>
                  </a:lnTo>
                  <a:lnTo>
                    <a:pt x="1663" y="2183"/>
                  </a:lnTo>
                  <a:lnTo>
                    <a:pt x="1646" y="2176"/>
                  </a:lnTo>
                  <a:lnTo>
                    <a:pt x="1641" y="2176"/>
                  </a:lnTo>
                  <a:lnTo>
                    <a:pt x="1620" y="2166"/>
                  </a:lnTo>
                  <a:lnTo>
                    <a:pt x="1594" y="2176"/>
                  </a:lnTo>
                  <a:lnTo>
                    <a:pt x="1594" y="2159"/>
                  </a:lnTo>
                  <a:lnTo>
                    <a:pt x="1608" y="2143"/>
                  </a:lnTo>
                  <a:lnTo>
                    <a:pt x="1603" y="2121"/>
                  </a:lnTo>
                  <a:lnTo>
                    <a:pt x="1582" y="2126"/>
                  </a:lnTo>
                  <a:lnTo>
                    <a:pt x="1582" y="2121"/>
                  </a:lnTo>
                  <a:lnTo>
                    <a:pt x="1594" y="2105"/>
                  </a:lnTo>
                  <a:lnTo>
                    <a:pt x="1587" y="2105"/>
                  </a:lnTo>
                  <a:lnTo>
                    <a:pt x="1570" y="2088"/>
                  </a:lnTo>
                  <a:lnTo>
                    <a:pt x="1540" y="2105"/>
                  </a:lnTo>
                  <a:lnTo>
                    <a:pt x="1528" y="2121"/>
                  </a:lnTo>
                  <a:lnTo>
                    <a:pt x="1485" y="2110"/>
                  </a:lnTo>
                  <a:lnTo>
                    <a:pt x="1474" y="2093"/>
                  </a:lnTo>
                  <a:lnTo>
                    <a:pt x="1448" y="2121"/>
                  </a:lnTo>
                  <a:lnTo>
                    <a:pt x="1426" y="2150"/>
                  </a:lnTo>
                  <a:lnTo>
                    <a:pt x="1389" y="2150"/>
                  </a:lnTo>
                  <a:lnTo>
                    <a:pt x="1372" y="2176"/>
                  </a:lnTo>
                  <a:lnTo>
                    <a:pt x="1339" y="2192"/>
                  </a:lnTo>
                  <a:lnTo>
                    <a:pt x="1339" y="2204"/>
                  </a:lnTo>
                  <a:lnTo>
                    <a:pt x="1322" y="2216"/>
                  </a:lnTo>
                  <a:lnTo>
                    <a:pt x="1313" y="2216"/>
                  </a:lnTo>
                  <a:lnTo>
                    <a:pt x="1285" y="2221"/>
                  </a:lnTo>
                  <a:lnTo>
                    <a:pt x="1263" y="2221"/>
                  </a:lnTo>
                  <a:lnTo>
                    <a:pt x="1263" y="2204"/>
                  </a:lnTo>
                  <a:lnTo>
                    <a:pt x="1242" y="2199"/>
                  </a:lnTo>
                  <a:lnTo>
                    <a:pt x="1226" y="2204"/>
                  </a:lnTo>
                  <a:lnTo>
                    <a:pt x="1178" y="2199"/>
                  </a:lnTo>
                  <a:lnTo>
                    <a:pt x="1178" y="2183"/>
                  </a:lnTo>
                  <a:lnTo>
                    <a:pt x="1150" y="2176"/>
                  </a:lnTo>
                  <a:lnTo>
                    <a:pt x="1117" y="2199"/>
                  </a:lnTo>
                  <a:lnTo>
                    <a:pt x="1070" y="2254"/>
                  </a:lnTo>
                  <a:lnTo>
                    <a:pt x="1065" y="2237"/>
                  </a:lnTo>
                  <a:lnTo>
                    <a:pt x="1070" y="2216"/>
                  </a:lnTo>
                  <a:lnTo>
                    <a:pt x="1070" y="2199"/>
                  </a:lnTo>
                  <a:lnTo>
                    <a:pt x="1053" y="2192"/>
                  </a:lnTo>
                  <a:lnTo>
                    <a:pt x="1041" y="2199"/>
                  </a:lnTo>
                  <a:lnTo>
                    <a:pt x="1015" y="2204"/>
                  </a:lnTo>
                  <a:lnTo>
                    <a:pt x="1015" y="2216"/>
                  </a:lnTo>
                  <a:lnTo>
                    <a:pt x="999" y="2204"/>
                  </a:lnTo>
                  <a:lnTo>
                    <a:pt x="989" y="2216"/>
                  </a:lnTo>
                  <a:lnTo>
                    <a:pt x="956" y="2216"/>
                  </a:lnTo>
                  <a:lnTo>
                    <a:pt x="918" y="2192"/>
                  </a:lnTo>
                  <a:lnTo>
                    <a:pt x="907" y="2192"/>
                  </a:lnTo>
                  <a:lnTo>
                    <a:pt x="902" y="2204"/>
                  </a:lnTo>
                  <a:lnTo>
                    <a:pt x="885" y="2199"/>
                  </a:lnTo>
                  <a:lnTo>
                    <a:pt x="885" y="2192"/>
                  </a:lnTo>
                  <a:lnTo>
                    <a:pt x="881" y="2192"/>
                  </a:lnTo>
                  <a:lnTo>
                    <a:pt x="881" y="2204"/>
                  </a:lnTo>
                  <a:lnTo>
                    <a:pt x="869" y="2204"/>
                  </a:lnTo>
                  <a:lnTo>
                    <a:pt x="864" y="2192"/>
                  </a:lnTo>
                  <a:lnTo>
                    <a:pt x="848" y="2183"/>
                  </a:lnTo>
                  <a:lnTo>
                    <a:pt x="810" y="2176"/>
                  </a:lnTo>
                  <a:lnTo>
                    <a:pt x="810" y="2150"/>
                  </a:lnTo>
                  <a:lnTo>
                    <a:pt x="800" y="2150"/>
                  </a:lnTo>
                  <a:lnTo>
                    <a:pt x="784" y="2159"/>
                  </a:lnTo>
                  <a:lnTo>
                    <a:pt x="763" y="2143"/>
                  </a:lnTo>
                  <a:lnTo>
                    <a:pt x="746" y="2126"/>
                  </a:lnTo>
                  <a:lnTo>
                    <a:pt x="739" y="2105"/>
                  </a:lnTo>
                  <a:lnTo>
                    <a:pt x="725" y="2105"/>
                  </a:lnTo>
                  <a:lnTo>
                    <a:pt x="708" y="2110"/>
                  </a:lnTo>
                  <a:lnTo>
                    <a:pt x="701" y="2110"/>
                  </a:lnTo>
                  <a:lnTo>
                    <a:pt x="670" y="2072"/>
                  </a:lnTo>
                  <a:lnTo>
                    <a:pt x="649" y="2072"/>
                  </a:lnTo>
                  <a:lnTo>
                    <a:pt x="616" y="2039"/>
                  </a:lnTo>
                  <a:lnTo>
                    <a:pt x="600" y="2039"/>
                  </a:lnTo>
                  <a:lnTo>
                    <a:pt x="595" y="2015"/>
                  </a:lnTo>
                  <a:lnTo>
                    <a:pt x="545" y="2015"/>
                  </a:lnTo>
                  <a:lnTo>
                    <a:pt x="545" y="2032"/>
                  </a:lnTo>
                  <a:lnTo>
                    <a:pt x="529" y="2039"/>
                  </a:lnTo>
                  <a:lnTo>
                    <a:pt x="524" y="2039"/>
                  </a:lnTo>
                  <a:lnTo>
                    <a:pt x="524" y="2032"/>
                  </a:lnTo>
                  <a:lnTo>
                    <a:pt x="524" y="2032"/>
                  </a:lnTo>
                  <a:lnTo>
                    <a:pt x="524" y="2032"/>
                  </a:lnTo>
                  <a:close/>
                  <a:moveTo>
                    <a:pt x="3354" y="1278"/>
                  </a:moveTo>
                  <a:lnTo>
                    <a:pt x="3337" y="1278"/>
                  </a:lnTo>
                  <a:lnTo>
                    <a:pt x="3354" y="1273"/>
                  </a:lnTo>
                  <a:lnTo>
                    <a:pt x="3354" y="1278"/>
                  </a:lnTo>
                  <a:lnTo>
                    <a:pt x="3354" y="1278"/>
                  </a:lnTo>
                  <a:lnTo>
                    <a:pt x="3354" y="1278"/>
                  </a:lnTo>
                  <a:close/>
                  <a:moveTo>
                    <a:pt x="3229" y="1866"/>
                  </a:moveTo>
                  <a:lnTo>
                    <a:pt x="3240" y="1866"/>
                  </a:lnTo>
                  <a:lnTo>
                    <a:pt x="3245" y="1883"/>
                  </a:lnTo>
                  <a:lnTo>
                    <a:pt x="3229" y="1866"/>
                  </a:lnTo>
                  <a:lnTo>
                    <a:pt x="3229" y="1866"/>
                  </a:lnTo>
                  <a:lnTo>
                    <a:pt x="3229" y="1866"/>
                  </a:lnTo>
                  <a:close/>
                  <a:moveTo>
                    <a:pt x="3337" y="1904"/>
                  </a:moveTo>
                  <a:lnTo>
                    <a:pt x="3347" y="1899"/>
                  </a:lnTo>
                  <a:lnTo>
                    <a:pt x="3385" y="1928"/>
                  </a:lnTo>
                  <a:lnTo>
                    <a:pt x="3363" y="1921"/>
                  </a:lnTo>
                  <a:lnTo>
                    <a:pt x="3337" y="1904"/>
                  </a:lnTo>
                  <a:lnTo>
                    <a:pt x="3337" y="1904"/>
                  </a:lnTo>
                  <a:lnTo>
                    <a:pt x="3337" y="1904"/>
                  </a:lnTo>
                  <a:close/>
                  <a:moveTo>
                    <a:pt x="3401" y="2027"/>
                  </a:moveTo>
                  <a:lnTo>
                    <a:pt x="3408" y="2015"/>
                  </a:lnTo>
                  <a:lnTo>
                    <a:pt x="3408" y="2027"/>
                  </a:lnTo>
                  <a:lnTo>
                    <a:pt x="3401" y="2027"/>
                  </a:lnTo>
                  <a:lnTo>
                    <a:pt x="3401" y="2027"/>
                  </a:lnTo>
                  <a:lnTo>
                    <a:pt x="3401" y="2027"/>
                  </a:lnTo>
                  <a:close/>
                  <a:moveTo>
                    <a:pt x="3392" y="2039"/>
                  </a:moveTo>
                  <a:lnTo>
                    <a:pt x="3392" y="2032"/>
                  </a:lnTo>
                  <a:lnTo>
                    <a:pt x="3401" y="2032"/>
                  </a:lnTo>
                  <a:lnTo>
                    <a:pt x="3418" y="2039"/>
                  </a:lnTo>
                  <a:lnTo>
                    <a:pt x="3418" y="2048"/>
                  </a:lnTo>
                  <a:lnTo>
                    <a:pt x="3392" y="2039"/>
                  </a:lnTo>
                  <a:lnTo>
                    <a:pt x="3392" y="2039"/>
                  </a:lnTo>
                  <a:lnTo>
                    <a:pt x="3392" y="2039"/>
                  </a:lnTo>
                  <a:close/>
                  <a:moveTo>
                    <a:pt x="3385" y="2039"/>
                  </a:moveTo>
                  <a:lnTo>
                    <a:pt x="3385" y="2048"/>
                  </a:lnTo>
                  <a:lnTo>
                    <a:pt x="3385" y="2039"/>
                  </a:lnTo>
                  <a:lnTo>
                    <a:pt x="3385" y="2039"/>
                  </a:lnTo>
                  <a:lnTo>
                    <a:pt x="3385" y="2039"/>
                  </a:lnTo>
                  <a:close/>
                  <a:moveTo>
                    <a:pt x="3418" y="2048"/>
                  </a:moveTo>
                  <a:lnTo>
                    <a:pt x="3422" y="2048"/>
                  </a:lnTo>
                  <a:lnTo>
                    <a:pt x="3422" y="2055"/>
                  </a:lnTo>
                  <a:lnTo>
                    <a:pt x="3418" y="2048"/>
                  </a:lnTo>
                  <a:lnTo>
                    <a:pt x="3418" y="2048"/>
                  </a:lnTo>
                  <a:lnTo>
                    <a:pt x="3418" y="2048"/>
                  </a:lnTo>
                  <a:close/>
                  <a:moveTo>
                    <a:pt x="3401" y="2072"/>
                  </a:moveTo>
                  <a:lnTo>
                    <a:pt x="3392" y="2065"/>
                  </a:lnTo>
                  <a:lnTo>
                    <a:pt x="3401" y="2065"/>
                  </a:lnTo>
                  <a:lnTo>
                    <a:pt x="3408" y="2072"/>
                  </a:lnTo>
                  <a:lnTo>
                    <a:pt x="3401" y="2072"/>
                  </a:lnTo>
                  <a:lnTo>
                    <a:pt x="3401" y="2072"/>
                  </a:lnTo>
                  <a:lnTo>
                    <a:pt x="3401" y="2072"/>
                  </a:lnTo>
                  <a:close/>
                  <a:moveTo>
                    <a:pt x="3385" y="2121"/>
                  </a:moveTo>
                  <a:lnTo>
                    <a:pt x="3385" y="2110"/>
                  </a:lnTo>
                  <a:lnTo>
                    <a:pt x="3392" y="2110"/>
                  </a:lnTo>
                  <a:lnTo>
                    <a:pt x="3385" y="2121"/>
                  </a:lnTo>
                  <a:lnTo>
                    <a:pt x="3385" y="2121"/>
                  </a:lnTo>
                  <a:lnTo>
                    <a:pt x="3385" y="2121"/>
                  </a:lnTo>
                  <a:close/>
                  <a:moveTo>
                    <a:pt x="3333" y="2192"/>
                  </a:moveTo>
                  <a:lnTo>
                    <a:pt x="3337" y="2183"/>
                  </a:lnTo>
                  <a:lnTo>
                    <a:pt x="3337" y="2192"/>
                  </a:lnTo>
                  <a:lnTo>
                    <a:pt x="3337" y="2199"/>
                  </a:lnTo>
                  <a:lnTo>
                    <a:pt x="3333" y="2192"/>
                  </a:lnTo>
                  <a:lnTo>
                    <a:pt x="3333" y="2192"/>
                  </a:lnTo>
                  <a:lnTo>
                    <a:pt x="3333" y="2192"/>
                  </a:lnTo>
                  <a:close/>
                  <a:moveTo>
                    <a:pt x="3229" y="2398"/>
                  </a:moveTo>
                  <a:lnTo>
                    <a:pt x="3229" y="2386"/>
                  </a:lnTo>
                  <a:lnTo>
                    <a:pt x="3240" y="2381"/>
                  </a:lnTo>
                  <a:lnTo>
                    <a:pt x="3240" y="2386"/>
                  </a:lnTo>
                  <a:lnTo>
                    <a:pt x="3240" y="2402"/>
                  </a:lnTo>
                  <a:lnTo>
                    <a:pt x="3229" y="2398"/>
                  </a:lnTo>
                  <a:lnTo>
                    <a:pt x="3229" y="2398"/>
                  </a:lnTo>
                  <a:lnTo>
                    <a:pt x="3229" y="2398"/>
                  </a:lnTo>
                  <a:close/>
                  <a:moveTo>
                    <a:pt x="3115" y="2476"/>
                  </a:moveTo>
                  <a:lnTo>
                    <a:pt x="3120" y="2471"/>
                  </a:lnTo>
                  <a:lnTo>
                    <a:pt x="3115" y="2476"/>
                  </a:lnTo>
                  <a:lnTo>
                    <a:pt x="3115" y="2476"/>
                  </a:lnTo>
                  <a:lnTo>
                    <a:pt x="3115" y="2476"/>
                  </a:lnTo>
                  <a:close/>
                  <a:moveTo>
                    <a:pt x="3077" y="2530"/>
                  </a:moveTo>
                  <a:lnTo>
                    <a:pt x="3068" y="2537"/>
                  </a:lnTo>
                  <a:lnTo>
                    <a:pt x="3061" y="2537"/>
                  </a:lnTo>
                  <a:lnTo>
                    <a:pt x="3068" y="2525"/>
                  </a:lnTo>
                  <a:lnTo>
                    <a:pt x="3077" y="2530"/>
                  </a:lnTo>
                  <a:lnTo>
                    <a:pt x="3077" y="2530"/>
                  </a:lnTo>
                  <a:lnTo>
                    <a:pt x="3077" y="2530"/>
                  </a:lnTo>
                  <a:close/>
                  <a:moveTo>
                    <a:pt x="3056" y="2547"/>
                  </a:moveTo>
                  <a:lnTo>
                    <a:pt x="3056" y="2554"/>
                  </a:lnTo>
                  <a:lnTo>
                    <a:pt x="3040" y="2554"/>
                  </a:lnTo>
                  <a:lnTo>
                    <a:pt x="3056" y="2547"/>
                  </a:lnTo>
                  <a:lnTo>
                    <a:pt x="3056" y="2547"/>
                  </a:lnTo>
                  <a:lnTo>
                    <a:pt x="3056" y="2547"/>
                  </a:lnTo>
                  <a:close/>
                  <a:moveTo>
                    <a:pt x="2846" y="2641"/>
                  </a:moveTo>
                  <a:lnTo>
                    <a:pt x="2851" y="2641"/>
                  </a:lnTo>
                  <a:lnTo>
                    <a:pt x="2846" y="2641"/>
                  </a:lnTo>
                  <a:lnTo>
                    <a:pt x="2846" y="2641"/>
                  </a:lnTo>
                  <a:lnTo>
                    <a:pt x="2846" y="2641"/>
                  </a:lnTo>
                  <a:close/>
                  <a:moveTo>
                    <a:pt x="2792" y="2658"/>
                  </a:moveTo>
                  <a:lnTo>
                    <a:pt x="2787" y="2658"/>
                  </a:lnTo>
                  <a:lnTo>
                    <a:pt x="2792" y="2658"/>
                  </a:lnTo>
                  <a:lnTo>
                    <a:pt x="2792" y="2658"/>
                  </a:lnTo>
                  <a:lnTo>
                    <a:pt x="2792" y="2658"/>
                  </a:lnTo>
                  <a:close/>
                  <a:moveTo>
                    <a:pt x="2742" y="2691"/>
                  </a:moveTo>
                  <a:lnTo>
                    <a:pt x="2742" y="2681"/>
                  </a:lnTo>
                  <a:lnTo>
                    <a:pt x="2754" y="2681"/>
                  </a:lnTo>
                  <a:lnTo>
                    <a:pt x="2742" y="2691"/>
                  </a:lnTo>
                  <a:lnTo>
                    <a:pt x="2742" y="2691"/>
                  </a:lnTo>
                  <a:lnTo>
                    <a:pt x="2742" y="2691"/>
                  </a:lnTo>
                  <a:close/>
                  <a:moveTo>
                    <a:pt x="2683" y="2698"/>
                  </a:moveTo>
                  <a:lnTo>
                    <a:pt x="2683" y="2691"/>
                  </a:lnTo>
                  <a:lnTo>
                    <a:pt x="2690" y="2691"/>
                  </a:lnTo>
                  <a:lnTo>
                    <a:pt x="2683" y="2698"/>
                  </a:lnTo>
                  <a:lnTo>
                    <a:pt x="2683" y="2698"/>
                  </a:lnTo>
                  <a:lnTo>
                    <a:pt x="2683" y="2698"/>
                  </a:lnTo>
                  <a:close/>
                  <a:moveTo>
                    <a:pt x="2591" y="2719"/>
                  </a:moveTo>
                  <a:lnTo>
                    <a:pt x="2598" y="2719"/>
                  </a:lnTo>
                  <a:lnTo>
                    <a:pt x="2591" y="2731"/>
                  </a:lnTo>
                  <a:lnTo>
                    <a:pt x="2581" y="2719"/>
                  </a:lnTo>
                  <a:lnTo>
                    <a:pt x="2591" y="2719"/>
                  </a:lnTo>
                  <a:lnTo>
                    <a:pt x="2591" y="2719"/>
                  </a:lnTo>
                  <a:lnTo>
                    <a:pt x="2591" y="2719"/>
                  </a:lnTo>
                  <a:close/>
                  <a:moveTo>
                    <a:pt x="2581" y="2731"/>
                  </a:moveTo>
                  <a:lnTo>
                    <a:pt x="2591" y="2731"/>
                  </a:lnTo>
                  <a:lnTo>
                    <a:pt x="2591" y="2736"/>
                  </a:lnTo>
                  <a:lnTo>
                    <a:pt x="2570" y="2736"/>
                  </a:lnTo>
                  <a:lnTo>
                    <a:pt x="2570" y="2731"/>
                  </a:lnTo>
                  <a:lnTo>
                    <a:pt x="2581" y="2731"/>
                  </a:lnTo>
                  <a:lnTo>
                    <a:pt x="2581" y="2731"/>
                  </a:lnTo>
                  <a:lnTo>
                    <a:pt x="2581" y="2731"/>
                  </a:lnTo>
                  <a:close/>
                  <a:moveTo>
                    <a:pt x="2527" y="2941"/>
                  </a:moveTo>
                  <a:lnTo>
                    <a:pt x="2522" y="2953"/>
                  </a:lnTo>
                  <a:lnTo>
                    <a:pt x="2515" y="2941"/>
                  </a:lnTo>
                  <a:lnTo>
                    <a:pt x="2463" y="2920"/>
                  </a:lnTo>
                  <a:lnTo>
                    <a:pt x="2451" y="2880"/>
                  </a:lnTo>
                  <a:lnTo>
                    <a:pt x="2463" y="2858"/>
                  </a:lnTo>
                  <a:lnTo>
                    <a:pt x="2506" y="2830"/>
                  </a:lnTo>
                  <a:lnTo>
                    <a:pt x="2489" y="2830"/>
                  </a:lnTo>
                  <a:lnTo>
                    <a:pt x="2506" y="2818"/>
                  </a:lnTo>
                  <a:lnTo>
                    <a:pt x="2515" y="2825"/>
                  </a:lnTo>
                  <a:lnTo>
                    <a:pt x="2522" y="2809"/>
                  </a:lnTo>
                  <a:lnTo>
                    <a:pt x="2553" y="2818"/>
                  </a:lnTo>
                  <a:lnTo>
                    <a:pt x="2560" y="2809"/>
                  </a:lnTo>
                  <a:lnTo>
                    <a:pt x="2591" y="2809"/>
                  </a:lnTo>
                  <a:lnTo>
                    <a:pt x="2598" y="2802"/>
                  </a:lnTo>
                  <a:lnTo>
                    <a:pt x="2607" y="2809"/>
                  </a:lnTo>
                  <a:lnTo>
                    <a:pt x="2614" y="2809"/>
                  </a:lnTo>
                  <a:lnTo>
                    <a:pt x="2624" y="2842"/>
                  </a:lnTo>
                  <a:lnTo>
                    <a:pt x="2607" y="2847"/>
                  </a:lnTo>
                  <a:lnTo>
                    <a:pt x="2591" y="2875"/>
                  </a:lnTo>
                  <a:lnTo>
                    <a:pt x="2581" y="2875"/>
                  </a:lnTo>
                  <a:lnTo>
                    <a:pt x="2591" y="2880"/>
                  </a:lnTo>
                  <a:lnTo>
                    <a:pt x="2591" y="2901"/>
                  </a:lnTo>
                  <a:lnTo>
                    <a:pt x="2560" y="2920"/>
                  </a:lnTo>
                  <a:lnTo>
                    <a:pt x="2553" y="2936"/>
                  </a:lnTo>
                  <a:lnTo>
                    <a:pt x="2539" y="2936"/>
                  </a:lnTo>
                  <a:lnTo>
                    <a:pt x="2527" y="2941"/>
                  </a:lnTo>
                  <a:lnTo>
                    <a:pt x="2527" y="2941"/>
                  </a:lnTo>
                  <a:lnTo>
                    <a:pt x="2527" y="294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74" name="Freeform 467">
              <a:extLst>
                <a:ext uri="{FF2B5EF4-FFF2-40B4-BE49-F238E27FC236}">
                  <a16:creationId xmlns:a16="http://schemas.microsoft.com/office/drawing/2014/main" id="{456576D9-351D-4428-B06F-48AB3D71D8B7}"/>
                </a:ext>
              </a:extLst>
            </p:cNvPr>
            <p:cNvSpPr>
              <a:spLocks noEditPoints="1"/>
            </p:cNvSpPr>
            <p:nvPr/>
          </p:nvSpPr>
          <p:spPr bwMode="gray">
            <a:xfrm>
              <a:off x="9476192" y="3888436"/>
              <a:ext cx="1322696" cy="501058"/>
            </a:xfrm>
            <a:custGeom>
              <a:avLst/>
              <a:gdLst>
                <a:gd name="T0" fmla="*/ 647 w 3213"/>
                <a:gd name="T1" fmla="*/ 629 h 1217"/>
                <a:gd name="T2" fmla="*/ 392 w 3213"/>
                <a:gd name="T3" fmla="*/ 600 h 1217"/>
                <a:gd name="T4" fmla="*/ 123 w 3213"/>
                <a:gd name="T5" fmla="*/ 52 h 1217"/>
                <a:gd name="T6" fmla="*/ 2213 w 3213"/>
                <a:gd name="T7" fmla="*/ 123 h 1217"/>
                <a:gd name="T8" fmla="*/ 1403 w 3213"/>
                <a:gd name="T9" fmla="*/ 206 h 1217"/>
                <a:gd name="T10" fmla="*/ 1592 w 3213"/>
                <a:gd name="T11" fmla="*/ 345 h 1217"/>
                <a:gd name="T12" fmla="*/ 1365 w 3213"/>
                <a:gd name="T13" fmla="*/ 733 h 1217"/>
                <a:gd name="T14" fmla="*/ 1042 w 3213"/>
                <a:gd name="T15" fmla="*/ 527 h 1217"/>
                <a:gd name="T16" fmla="*/ 895 w 3213"/>
                <a:gd name="T17" fmla="*/ 152 h 1217"/>
                <a:gd name="T18" fmla="*/ 1545 w 3213"/>
                <a:gd name="T19" fmla="*/ 180 h 1217"/>
                <a:gd name="T20" fmla="*/ 735 w 3213"/>
                <a:gd name="T21" fmla="*/ 222 h 1217"/>
                <a:gd name="T22" fmla="*/ 2332 w 3213"/>
                <a:gd name="T23" fmla="*/ 279 h 1217"/>
                <a:gd name="T24" fmla="*/ 2284 w 3213"/>
                <a:gd name="T25" fmla="*/ 456 h 1217"/>
                <a:gd name="T26" fmla="*/ 1852 w 3213"/>
                <a:gd name="T27" fmla="*/ 723 h 1217"/>
                <a:gd name="T28" fmla="*/ 1651 w 3213"/>
                <a:gd name="T29" fmla="*/ 629 h 1217"/>
                <a:gd name="T30" fmla="*/ 1906 w 3213"/>
                <a:gd name="T31" fmla="*/ 362 h 1217"/>
                <a:gd name="T32" fmla="*/ 1781 w 3213"/>
                <a:gd name="T33" fmla="*/ 527 h 1217"/>
                <a:gd name="T34" fmla="*/ 1890 w 3213"/>
                <a:gd name="T35" fmla="*/ 666 h 1217"/>
                <a:gd name="T36" fmla="*/ 2105 w 3213"/>
                <a:gd name="T37" fmla="*/ 317 h 1217"/>
                <a:gd name="T38" fmla="*/ 610 w 3213"/>
                <a:gd name="T39" fmla="*/ 350 h 1217"/>
                <a:gd name="T40" fmla="*/ 605 w 3213"/>
                <a:gd name="T41" fmla="*/ 350 h 1217"/>
                <a:gd name="T42" fmla="*/ 555 w 3213"/>
                <a:gd name="T43" fmla="*/ 378 h 1217"/>
                <a:gd name="T44" fmla="*/ 232 w 3213"/>
                <a:gd name="T45" fmla="*/ 456 h 1217"/>
                <a:gd name="T46" fmla="*/ 593 w 3213"/>
                <a:gd name="T47" fmla="*/ 444 h 1217"/>
                <a:gd name="T48" fmla="*/ 2284 w 3213"/>
                <a:gd name="T49" fmla="*/ 478 h 1217"/>
                <a:gd name="T50" fmla="*/ 3149 w 3213"/>
                <a:gd name="T51" fmla="*/ 995 h 1217"/>
                <a:gd name="T52" fmla="*/ 2787 w 3213"/>
                <a:gd name="T53" fmla="*/ 711 h 1217"/>
                <a:gd name="T54" fmla="*/ 2575 w 3213"/>
                <a:gd name="T55" fmla="*/ 629 h 1217"/>
                <a:gd name="T56" fmla="*/ 2587 w 3213"/>
                <a:gd name="T57" fmla="*/ 461 h 1217"/>
                <a:gd name="T58" fmla="*/ 3149 w 3213"/>
                <a:gd name="T59" fmla="*/ 600 h 1217"/>
                <a:gd name="T60" fmla="*/ 2872 w 3213"/>
                <a:gd name="T61" fmla="*/ 518 h 1217"/>
                <a:gd name="T62" fmla="*/ 236 w 3213"/>
                <a:gd name="T63" fmla="*/ 494 h 1217"/>
                <a:gd name="T64" fmla="*/ 1954 w 3213"/>
                <a:gd name="T65" fmla="*/ 527 h 1217"/>
                <a:gd name="T66" fmla="*/ 749 w 3213"/>
                <a:gd name="T67" fmla="*/ 629 h 1217"/>
                <a:gd name="T68" fmla="*/ 2894 w 3213"/>
                <a:gd name="T69" fmla="*/ 567 h 1217"/>
                <a:gd name="T70" fmla="*/ 2117 w 3213"/>
                <a:gd name="T71" fmla="*/ 555 h 1217"/>
                <a:gd name="T72" fmla="*/ 345 w 3213"/>
                <a:gd name="T73" fmla="*/ 629 h 1217"/>
                <a:gd name="T74" fmla="*/ 2461 w 3213"/>
                <a:gd name="T75" fmla="*/ 645 h 1217"/>
                <a:gd name="T76" fmla="*/ 810 w 3213"/>
                <a:gd name="T77" fmla="*/ 638 h 1217"/>
                <a:gd name="T78" fmla="*/ 1474 w 3213"/>
                <a:gd name="T79" fmla="*/ 711 h 1217"/>
                <a:gd name="T80" fmla="*/ 2306 w 3213"/>
                <a:gd name="T81" fmla="*/ 695 h 1217"/>
                <a:gd name="T82" fmla="*/ 1970 w 3213"/>
                <a:gd name="T83" fmla="*/ 723 h 1217"/>
                <a:gd name="T84" fmla="*/ 1923 w 3213"/>
                <a:gd name="T85" fmla="*/ 806 h 1217"/>
                <a:gd name="T86" fmla="*/ 2662 w 3213"/>
                <a:gd name="T87" fmla="*/ 811 h 1217"/>
                <a:gd name="T88" fmla="*/ 1765 w 3213"/>
                <a:gd name="T89" fmla="*/ 844 h 1217"/>
                <a:gd name="T90" fmla="*/ 739 w 3213"/>
                <a:gd name="T91" fmla="*/ 889 h 1217"/>
                <a:gd name="T92" fmla="*/ 1214 w 3213"/>
                <a:gd name="T93" fmla="*/ 933 h 1217"/>
                <a:gd name="T94" fmla="*/ 2733 w 3213"/>
                <a:gd name="T95" fmla="*/ 860 h 1217"/>
                <a:gd name="T96" fmla="*/ 697 w 3213"/>
                <a:gd name="T97" fmla="*/ 905 h 1217"/>
                <a:gd name="T98" fmla="*/ 1781 w 3213"/>
                <a:gd name="T99" fmla="*/ 938 h 1217"/>
                <a:gd name="T100" fmla="*/ 2523 w 3213"/>
                <a:gd name="T101" fmla="*/ 971 h 1217"/>
                <a:gd name="T102" fmla="*/ 2511 w 3213"/>
                <a:gd name="T103" fmla="*/ 962 h 1217"/>
                <a:gd name="T104" fmla="*/ 1349 w 3213"/>
                <a:gd name="T105" fmla="*/ 1011 h 1217"/>
                <a:gd name="T106" fmla="*/ 1944 w 3213"/>
                <a:gd name="T107" fmla="*/ 1016 h 1217"/>
                <a:gd name="T108" fmla="*/ 1559 w 3213"/>
                <a:gd name="T109" fmla="*/ 1044 h 1217"/>
                <a:gd name="T110" fmla="*/ 2301 w 3213"/>
                <a:gd name="T111" fmla="*/ 1028 h 1217"/>
                <a:gd name="T112" fmla="*/ 3061 w 3213"/>
                <a:gd name="T113" fmla="*/ 1033 h 1217"/>
                <a:gd name="T114" fmla="*/ 2306 w 3213"/>
                <a:gd name="T115" fmla="*/ 1016 h 1217"/>
                <a:gd name="T116" fmla="*/ 2230 w 3213"/>
                <a:gd name="T117" fmla="*/ 1028 h 1217"/>
                <a:gd name="T118" fmla="*/ 1961 w 3213"/>
                <a:gd name="T119" fmla="*/ 1044 h 1217"/>
                <a:gd name="T120" fmla="*/ 1755 w 3213"/>
                <a:gd name="T121" fmla="*/ 1127 h 1217"/>
                <a:gd name="T122" fmla="*/ 1939 w 3213"/>
                <a:gd name="T123" fmla="*/ 1210 h 1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13" h="1217">
                  <a:moveTo>
                    <a:pt x="10" y="12"/>
                  </a:moveTo>
                  <a:lnTo>
                    <a:pt x="0" y="12"/>
                  </a:lnTo>
                  <a:lnTo>
                    <a:pt x="0" y="0"/>
                  </a:lnTo>
                  <a:lnTo>
                    <a:pt x="10" y="12"/>
                  </a:lnTo>
                  <a:lnTo>
                    <a:pt x="10" y="12"/>
                  </a:lnTo>
                  <a:lnTo>
                    <a:pt x="10" y="12"/>
                  </a:lnTo>
                  <a:close/>
                  <a:moveTo>
                    <a:pt x="539" y="383"/>
                  </a:moveTo>
                  <a:lnTo>
                    <a:pt x="550" y="400"/>
                  </a:lnTo>
                  <a:lnTo>
                    <a:pt x="517" y="418"/>
                  </a:lnTo>
                  <a:lnTo>
                    <a:pt x="501" y="407"/>
                  </a:lnTo>
                  <a:lnTo>
                    <a:pt x="517" y="418"/>
                  </a:lnTo>
                  <a:lnTo>
                    <a:pt x="572" y="390"/>
                  </a:lnTo>
                  <a:lnTo>
                    <a:pt x="593" y="407"/>
                  </a:lnTo>
                  <a:lnTo>
                    <a:pt x="605" y="435"/>
                  </a:lnTo>
                  <a:lnTo>
                    <a:pt x="588" y="435"/>
                  </a:lnTo>
                  <a:lnTo>
                    <a:pt x="560" y="444"/>
                  </a:lnTo>
                  <a:lnTo>
                    <a:pt x="576" y="444"/>
                  </a:lnTo>
                  <a:lnTo>
                    <a:pt x="560" y="456"/>
                  </a:lnTo>
                  <a:lnTo>
                    <a:pt x="588" y="461"/>
                  </a:lnTo>
                  <a:lnTo>
                    <a:pt x="572" y="478"/>
                  </a:lnTo>
                  <a:lnTo>
                    <a:pt x="593" y="501"/>
                  </a:lnTo>
                  <a:lnTo>
                    <a:pt x="643" y="501"/>
                  </a:lnTo>
                  <a:lnTo>
                    <a:pt x="647" y="555"/>
                  </a:lnTo>
                  <a:lnTo>
                    <a:pt x="647" y="567"/>
                  </a:lnTo>
                  <a:lnTo>
                    <a:pt x="659" y="567"/>
                  </a:lnTo>
                  <a:lnTo>
                    <a:pt x="669" y="572"/>
                  </a:lnTo>
                  <a:lnTo>
                    <a:pt x="669" y="584"/>
                  </a:lnTo>
                  <a:lnTo>
                    <a:pt x="664" y="600"/>
                  </a:lnTo>
                  <a:lnTo>
                    <a:pt x="664" y="612"/>
                  </a:lnTo>
                  <a:lnTo>
                    <a:pt x="647" y="629"/>
                  </a:lnTo>
                  <a:lnTo>
                    <a:pt x="664" y="612"/>
                  </a:lnTo>
                  <a:lnTo>
                    <a:pt x="669" y="589"/>
                  </a:lnTo>
                  <a:lnTo>
                    <a:pt x="685" y="600"/>
                  </a:lnTo>
                  <a:lnTo>
                    <a:pt x="723" y="600"/>
                  </a:lnTo>
                  <a:lnTo>
                    <a:pt x="723" y="612"/>
                  </a:lnTo>
                  <a:lnTo>
                    <a:pt x="739" y="622"/>
                  </a:lnTo>
                  <a:lnTo>
                    <a:pt x="739" y="638"/>
                  </a:lnTo>
                  <a:lnTo>
                    <a:pt x="756" y="645"/>
                  </a:lnTo>
                  <a:lnTo>
                    <a:pt x="756" y="662"/>
                  </a:lnTo>
                  <a:lnTo>
                    <a:pt x="749" y="678"/>
                  </a:lnTo>
                  <a:lnTo>
                    <a:pt x="739" y="695"/>
                  </a:lnTo>
                  <a:lnTo>
                    <a:pt x="749" y="711"/>
                  </a:lnTo>
                  <a:lnTo>
                    <a:pt x="739" y="733"/>
                  </a:lnTo>
                  <a:lnTo>
                    <a:pt x="749" y="756"/>
                  </a:lnTo>
                  <a:lnTo>
                    <a:pt x="739" y="834"/>
                  </a:lnTo>
                  <a:lnTo>
                    <a:pt x="735" y="851"/>
                  </a:lnTo>
                  <a:lnTo>
                    <a:pt x="702" y="822"/>
                  </a:lnTo>
                  <a:lnTo>
                    <a:pt x="697" y="834"/>
                  </a:lnTo>
                  <a:lnTo>
                    <a:pt x="702" y="844"/>
                  </a:lnTo>
                  <a:lnTo>
                    <a:pt x="697" y="844"/>
                  </a:lnTo>
                  <a:lnTo>
                    <a:pt x="664" y="827"/>
                  </a:lnTo>
                  <a:lnTo>
                    <a:pt x="647" y="827"/>
                  </a:lnTo>
                  <a:lnTo>
                    <a:pt x="664" y="851"/>
                  </a:lnTo>
                  <a:lnTo>
                    <a:pt x="659" y="860"/>
                  </a:lnTo>
                  <a:lnTo>
                    <a:pt x="605" y="794"/>
                  </a:lnTo>
                  <a:lnTo>
                    <a:pt x="496" y="716"/>
                  </a:lnTo>
                  <a:lnTo>
                    <a:pt x="484" y="695"/>
                  </a:lnTo>
                  <a:lnTo>
                    <a:pt x="447" y="662"/>
                  </a:lnTo>
                  <a:lnTo>
                    <a:pt x="425" y="622"/>
                  </a:lnTo>
                  <a:lnTo>
                    <a:pt x="392" y="600"/>
                  </a:lnTo>
                  <a:lnTo>
                    <a:pt x="392" y="584"/>
                  </a:lnTo>
                  <a:lnTo>
                    <a:pt x="392" y="567"/>
                  </a:lnTo>
                  <a:lnTo>
                    <a:pt x="378" y="546"/>
                  </a:lnTo>
                  <a:lnTo>
                    <a:pt x="371" y="527"/>
                  </a:lnTo>
                  <a:lnTo>
                    <a:pt x="361" y="518"/>
                  </a:lnTo>
                  <a:lnTo>
                    <a:pt x="354" y="489"/>
                  </a:lnTo>
                  <a:lnTo>
                    <a:pt x="317" y="444"/>
                  </a:lnTo>
                  <a:lnTo>
                    <a:pt x="317" y="435"/>
                  </a:lnTo>
                  <a:lnTo>
                    <a:pt x="307" y="423"/>
                  </a:lnTo>
                  <a:lnTo>
                    <a:pt x="269" y="407"/>
                  </a:lnTo>
                  <a:lnTo>
                    <a:pt x="269" y="383"/>
                  </a:lnTo>
                  <a:lnTo>
                    <a:pt x="236" y="312"/>
                  </a:lnTo>
                  <a:lnTo>
                    <a:pt x="248" y="312"/>
                  </a:lnTo>
                  <a:lnTo>
                    <a:pt x="248" y="307"/>
                  </a:lnTo>
                  <a:lnTo>
                    <a:pt x="182" y="263"/>
                  </a:lnTo>
                  <a:lnTo>
                    <a:pt x="177" y="263"/>
                  </a:lnTo>
                  <a:lnTo>
                    <a:pt x="173" y="255"/>
                  </a:lnTo>
                  <a:lnTo>
                    <a:pt x="161" y="222"/>
                  </a:lnTo>
                  <a:lnTo>
                    <a:pt x="144" y="218"/>
                  </a:lnTo>
                  <a:lnTo>
                    <a:pt x="118" y="163"/>
                  </a:lnTo>
                  <a:lnTo>
                    <a:pt x="85" y="152"/>
                  </a:lnTo>
                  <a:lnTo>
                    <a:pt x="14" y="90"/>
                  </a:lnTo>
                  <a:lnTo>
                    <a:pt x="0" y="57"/>
                  </a:lnTo>
                  <a:lnTo>
                    <a:pt x="0" y="29"/>
                  </a:lnTo>
                  <a:lnTo>
                    <a:pt x="10" y="19"/>
                  </a:lnTo>
                  <a:lnTo>
                    <a:pt x="21" y="19"/>
                  </a:lnTo>
                  <a:lnTo>
                    <a:pt x="47" y="36"/>
                  </a:lnTo>
                  <a:lnTo>
                    <a:pt x="52" y="41"/>
                  </a:lnTo>
                  <a:lnTo>
                    <a:pt x="76" y="52"/>
                  </a:lnTo>
                  <a:lnTo>
                    <a:pt x="123" y="52"/>
                  </a:lnTo>
                  <a:lnTo>
                    <a:pt x="139" y="57"/>
                  </a:lnTo>
                  <a:lnTo>
                    <a:pt x="156" y="52"/>
                  </a:lnTo>
                  <a:lnTo>
                    <a:pt x="182" y="74"/>
                  </a:lnTo>
                  <a:lnTo>
                    <a:pt x="194" y="95"/>
                  </a:lnTo>
                  <a:lnTo>
                    <a:pt x="210" y="107"/>
                  </a:lnTo>
                  <a:lnTo>
                    <a:pt x="210" y="128"/>
                  </a:lnTo>
                  <a:lnTo>
                    <a:pt x="333" y="218"/>
                  </a:lnTo>
                  <a:lnTo>
                    <a:pt x="333" y="239"/>
                  </a:lnTo>
                  <a:lnTo>
                    <a:pt x="333" y="234"/>
                  </a:lnTo>
                  <a:lnTo>
                    <a:pt x="340" y="234"/>
                  </a:lnTo>
                  <a:lnTo>
                    <a:pt x="340" y="251"/>
                  </a:lnTo>
                  <a:lnTo>
                    <a:pt x="340" y="234"/>
                  </a:lnTo>
                  <a:lnTo>
                    <a:pt x="345" y="234"/>
                  </a:lnTo>
                  <a:lnTo>
                    <a:pt x="361" y="263"/>
                  </a:lnTo>
                  <a:lnTo>
                    <a:pt x="392" y="279"/>
                  </a:lnTo>
                  <a:lnTo>
                    <a:pt x="399" y="296"/>
                  </a:lnTo>
                  <a:lnTo>
                    <a:pt x="387" y="263"/>
                  </a:lnTo>
                  <a:lnTo>
                    <a:pt x="409" y="263"/>
                  </a:lnTo>
                  <a:lnTo>
                    <a:pt x="425" y="279"/>
                  </a:lnTo>
                  <a:lnTo>
                    <a:pt x="430" y="307"/>
                  </a:lnTo>
                  <a:lnTo>
                    <a:pt x="454" y="312"/>
                  </a:lnTo>
                  <a:lnTo>
                    <a:pt x="484" y="329"/>
                  </a:lnTo>
                  <a:lnTo>
                    <a:pt x="484" y="350"/>
                  </a:lnTo>
                  <a:lnTo>
                    <a:pt x="501" y="366"/>
                  </a:lnTo>
                  <a:lnTo>
                    <a:pt x="534" y="378"/>
                  </a:lnTo>
                  <a:lnTo>
                    <a:pt x="539" y="383"/>
                  </a:lnTo>
                  <a:lnTo>
                    <a:pt x="539" y="383"/>
                  </a:lnTo>
                  <a:lnTo>
                    <a:pt x="539" y="383"/>
                  </a:lnTo>
                  <a:close/>
                  <a:moveTo>
                    <a:pt x="2209" y="140"/>
                  </a:moveTo>
                  <a:lnTo>
                    <a:pt x="2213" y="123"/>
                  </a:lnTo>
                  <a:lnTo>
                    <a:pt x="2209" y="111"/>
                  </a:lnTo>
                  <a:lnTo>
                    <a:pt x="2209" y="95"/>
                  </a:lnTo>
                  <a:lnTo>
                    <a:pt x="2213" y="107"/>
                  </a:lnTo>
                  <a:lnTo>
                    <a:pt x="2225" y="123"/>
                  </a:lnTo>
                  <a:lnTo>
                    <a:pt x="2209" y="140"/>
                  </a:lnTo>
                  <a:lnTo>
                    <a:pt x="2209" y="140"/>
                  </a:lnTo>
                  <a:lnTo>
                    <a:pt x="2209" y="140"/>
                  </a:lnTo>
                  <a:close/>
                  <a:moveTo>
                    <a:pt x="1009" y="279"/>
                  </a:moveTo>
                  <a:lnTo>
                    <a:pt x="1004" y="291"/>
                  </a:lnTo>
                  <a:lnTo>
                    <a:pt x="1009" y="312"/>
                  </a:lnTo>
                  <a:lnTo>
                    <a:pt x="1075" y="366"/>
                  </a:lnTo>
                  <a:lnTo>
                    <a:pt x="1117" y="350"/>
                  </a:lnTo>
                  <a:lnTo>
                    <a:pt x="1167" y="362"/>
                  </a:lnTo>
                  <a:lnTo>
                    <a:pt x="1172" y="345"/>
                  </a:lnTo>
                  <a:lnTo>
                    <a:pt x="1181" y="345"/>
                  </a:lnTo>
                  <a:lnTo>
                    <a:pt x="1188" y="317"/>
                  </a:lnTo>
                  <a:lnTo>
                    <a:pt x="1205" y="312"/>
                  </a:lnTo>
                  <a:lnTo>
                    <a:pt x="1243" y="312"/>
                  </a:lnTo>
                  <a:lnTo>
                    <a:pt x="1252" y="329"/>
                  </a:lnTo>
                  <a:lnTo>
                    <a:pt x="1290" y="333"/>
                  </a:lnTo>
                  <a:lnTo>
                    <a:pt x="1311" y="317"/>
                  </a:lnTo>
                  <a:lnTo>
                    <a:pt x="1344" y="317"/>
                  </a:lnTo>
                  <a:lnTo>
                    <a:pt x="1361" y="329"/>
                  </a:lnTo>
                  <a:lnTo>
                    <a:pt x="1365" y="307"/>
                  </a:lnTo>
                  <a:lnTo>
                    <a:pt x="1377" y="291"/>
                  </a:lnTo>
                  <a:lnTo>
                    <a:pt x="1377" y="263"/>
                  </a:lnTo>
                  <a:lnTo>
                    <a:pt x="1403" y="251"/>
                  </a:lnTo>
                  <a:lnTo>
                    <a:pt x="1387" y="239"/>
                  </a:lnTo>
                  <a:lnTo>
                    <a:pt x="1398" y="218"/>
                  </a:lnTo>
                  <a:lnTo>
                    <a:pt x="1403" y="206"/>
                  </a:lnTo>
                  <a:lnTo>
                    <a:pt x="1420" y="206"/>
                  </a:lnTo>
                  <a:lnTo>
                    <a:pt x="1432" y="180"/>
                  </a:lnTo>
                  <a:lnTo>
                    <a:pt x="1432" y="163"/>
                  </a:lnTo>
                  <a:lnTo>
                    <a:pt x="1432" y="128"/>
                  </a:lnTo>
                  <a:lnTo>
                    <a:pt x="1441" y="111"/>
                  </a:lnTo>
                  <a:lnTo>
                    <a:pt x="1458" y="123"/>
                  </a:lnTo>
                  <a:lnTo>
                    <a:pt x="1469" y="111"/>
                  </a:lnTo>
                  <a:lnTo>
                    <a:pt x="1491" y="123"/>
                  </a:lnTo>
                  <a:lnTo>
                    <a:pt x="1545" y="111"/>
                  </a:lnTo>
                  <a:lnTo>
                    <a:pt x="1566" y="128"/>
                  </a:lnTo>
                  <a:lnTo>
                    <a:pt x="1550" y="128"/>
                  </a:lnTo>
                  <a:lnTo>
                    <a:pt x="1583" y="163"/>
                  </a:lnTo>
                  <a:lnTo>
                    <a:pt x="1576" y="168"/>
                  </a:lnTo>
                  <a:lnTo>
                    <a:pt x="1528" y="168"/>
                  </a:lnTo>
                  <a:lnTo>
                    <a:pt x="1538" y="168"/>
                  </a:lnTo>
                  <a:lnTo>
                    <a:pt x="1545" y="180"/>
                  </a:lnTo>
                  <a:lnTo>
                    <a:pt x="1559" y="180"/>
                  </a:lnTo>
                  <a:lnTo>
                    <a:pt x="1545" y="196"/>
                  </a:lnTo>
                  <a:lnTo>
                    <a:pt x="1566" y="206"/>
                  </a:lnTo>
                  <a:lnTo>
                    <a:pt x="1576" y="222"/>
                  </a:lnTo>
                  <a:lnTo>
                    <a:pt x="1583" y="222"/>
                  </a:lnTo>
                  <a:lnTo>
                    <a:pt x="1604" y="263"/>
                  </a:lnTo>
                  <a:lnTo>
                    <a:pt x="1592" y="279"/>
                  </a:lnTo>
                  <a:lnTo>
                    <a:pt x="1583" y="272"/>
                  </a:lnTo>
                  <a:lnTo>
                    <a:pt x="1592" y="296"/>
                  </a:lnTo>
                  <a:lnTo>
                    <a:pt x="1668" y="362"/>
                  </a:lnTo>
                  <a:lnTo>
                    <a:pt x="1651" y="366"/>
                  </a:lnTo>
                  <a:lnTo>
                    <a:pt x="1621" y="366"/>
                  </a:lnTo>
                  <a:lnTo>
                    <a:pt x="1597" y="362"/>
                  </a:lnTo>
                  <a:lnTo>
                    <a:pt x="1592" y="345"/>
                  </a:lnTo>
                  <a:lnTo>
                    <a:pt x="1597" y="366"/>
                  </a:lnTo>
                  <a:lnTo>
                    <a:pt x="1592" y="366"/>
                  </a:lnTo>
                  <a:lnTo>
                    <a:pt x="1576" y="378"/>
                  </a:lnTo>
                  <a:lnTo>
                    <a:pt x="1559" y="423"/>
                  </a:lnTo>
                  <a:lnTo>
                    <a:pt x="1559" y="435"/>
                  </a:lnTo>
                  <a:lnTo>
                    <a:pt x="1559" y="444"/>
                  </a:lnTo>
                  <a:lnTo>
                    <a:pt x="1559" y="461"/>
                  </a:lnTo>
                  <a:lnTo>
                    <a:pt x="1566" y="456"/>
                  </a:lnTo>
                  <a:lnTo>
                    <a:pt x="1566" y="489"/>
                  </a:lnTo>
                  <a:lnTo>
                    <a:pt x="1559" y="489"/>
                  </a:lnTo>
                  <a:lnTo>
                    <a:pt x="1545" y="489"/>
                  </a:lnTo>
                  <a:lnTo>
                    <a:pt x="1521" y="518"/>
                  </a:lnTo>
                  <a:lnTo>
                    <a:pt x="1512" y="518"/>
                  </a:lnTo>
                  <a:lnTo>
                    <a:pt x="1507" y="501"/>
                  </a:lnTo>
                  <a:lnTo>
                    <a:pt x="1507" y="527"/>
                  </a:lnTo>
                  <a:lnTo>
                    <a:pt x="1491" y="534"/>
                  </a:lnTo>
                  <a:lnTo>
                    <a:pt x="1491" y="546"/>
                  </a:lnTo>
                  <a:lnTo>
                    <a:pt x="1474" y="555"/>
                  </a:lnTo>
                  <a:lnTo>
                    <a:pt x="1491" y="555"/>
                  </a:lnTo>
                  <a:lnTo>
                    <a:pt x="1491" y="572"/>
                  </a:lnTo>
                  <a:lnTo>
                    <a:pt x="1484" y="584"/>
                  </a:lnTo>
                  <a:lnTo>
                    <a:pt x="1495" y="589"/>
                  </a:lnTo>
                  <a:lnTo>
                    <a:pt x="1491" y="612"/>
                  </a:lnTo>
                  <a:lnTo>
                    <a:pt x="1474" y="612"/>
                  </a:lnTo>
                  <a:lnTo>
                    <a:pt x="1484" y="629"/>
                  </a:lnTo>
                  <a:lnTo>
                    <a:pt x="1474" y="645"/>
                  </a:lnTo>
                  <a:lnTo>
                    <a:pt x="1469" y="629"/>
                  </a:lnTo>
                  <a:lnTo>
                    <a:pt x="1474" y="655"/>
                  </a:lnTo>
                  <a:lnTo>
                    <a:pt x="1453" y="683"/>
                  </a:lnTo>
                  <a:lnTo>
                    <a:pt x="1365" y="733"/>
                  </a:lnTo>
                  <a:lnTo>
                    <a:pt x="1361" y="723"/>
                  </a:lnTo>
                  <a:lnTo>
                    <a:pt x="1361" y="695"/>
                  </a:lnTo>
                  <a:lnTo>
                    <a:pt x="1349" y="678"/>
                  </a:lnTo>
                  <a:lnTo>
                    <a:pt x="1323" y="666"/>
                  </a:lnTo>
                  <a:lnTo>
                    <a:pt x="1290" y="678"/>
                  </a:lnTo>
                  <a:lnTo>
                    <a:pt x="1290" y="655"/>
                  </a:lnTo>
                  <a:lnTo>
                    <a:pt x="1273" y="662"/>
                  </a:lnTo>
                  <a:lnTo>
                    <a:pt x="1252" y="645"/>
                  </a:lnTo>
                  <a:lnTo>
                    <a:pt x="1243" y="655"/>
                  </a:lnTo>
                  <a:lnTo>
                    <a:pt x="1243" y="662"/>
                  </a:lnTo>
                  <a:lnTo>
                    <a:pt x="1219" y="678"/>
                  </a:lnTo>
                  <a:lnTo>
                    <a:pt x="1214" y="678"/>
                  </a:lnTo>
                  <a:lnTo>
                    <a:pt x="1188" y="666"/>
                  </a:lnTo>
                  <a:lnTo>
                    <a:pt x="1167" y="683"/>
                  </a:lnTo>
                  <a:lnTo>
                    <a:pt x="1160" y="683"/>
                  </a:lnTo>
                  <a:lnTo>
                    <a:pt x="1167" y="645"/>
                  </a:lnTo>
                  <a:lnTo>
                    <a:pt x="1160" y="629"/>
                  </a:lnTo>
                  <a:lnTo>
                    <a:pt x="1150" y="638"/>
                  </a:lnTo>
                  <a:lnTo>
                    <a:pt x="1143" y="645"/>
                  </a:lnTo>
                  <a:lnTo>
                    <a:pt x="1127" y="638"/>
                  </a:lnTo>
                  <a:lnTo>
                    <a:pt x="1106" y="655"/>
                  </a:lnTo>
                  <a:lnTo>
                    <a:pt x="1089" y="645"/>
                  </a:lnTo>
                  <a:lnTo>
                    <a:pt x="1096" y="638"/>
                  </a:lnTo>
                  <a:lnTo>
                    <a:pt x="1080" y="655"/>
                  </a:lnTo>
                  <a:lnTo>
                    <a:pt x="1075" y="638"/>
                  </a:lnTo>
                  <a:lnTo>
                    <a:pt x="1051" y="645"/>
                  </a:lnTo>
                  <a:lnTo>
                    <a:pt x="1042" y="572"/>
                  </a:lnTo>
                  <a:lnTo>
                    <a:pt x="1025" y="555"/>
                  </a:lnTo>
                  <a:lnTo>
                    <a:pt x="1037" y="551"/>
                  </a:lnTo>
                  <a:lnTo>
                    <a:pt x="1042" y="527"/>
                  </a:lnTo>
                  <a:lnTo>
                    <a:pt x="1021" y="494"/>
                  </a:lnTo>
                  <a:lnTo>
                    <a:pt x="983" y="489"/>
                  </a:lnTo>
                  <a:lnTo>
                    <a:pt x="983" y="478"/>
                  </a:lnTo>
                  <a:lnTo>
                    <a:pt x="1004" y="478"/>
                  </a:lnTo>
                  <a:lnTo>
                    <a:pt x="971" y="461"/>
                  </a:lnTo>
                  <a:lnTo>
                    <a:pt x="966" y="444"/>
                  </a:lnTo>
                  <a:lnTo>
                    <a:pt x="983" y="440"/>
                  </a:lnTo>
                  <a:lnTo>
                    <a:pt x="971" y="423"/>
                  </a:lnTo>
                  <a:lnTo>
                    <a:pt x="966" y="407"/>
                  </a:lnTo>
                  <a:lnTo>
                    <a:pt x="954" y="407"/>
                  </a:lnTo>
                  <a:lnTo>
                    <a:pt x="954" y="383"/>
                  </a:lnTo>
                  <a:lnTo>
                    <a:pt x="954" y="366"/>
                  </a:lnTo>
                  <a:lnTo>
                    <a:pt x="966" y="362"/>
                  </a:lnTo>
                  <a:lnTo>
                    <a:pt x="966" y="345"/>
                  </a:lnTo>
                  <a:lnTo>
                    <a:pt x="983" y="329"/>
                  </a:lnTo>
                  <a:lnTo>
                    <a:pt x="966" y="345"/>
                  </a:lnTo>
                  <a:lnTo>
                    <a:pt x="971" y="317"/>
                  </a:lnTo>
                  <a:lnTo>
                    <a:pt x="983" y="307"/>
                  </a:lnTo>
                  <a:lnTo>
                    <a:pt x="987" y="291"/>
                  </a:lnTo>
                  <a:lnTo>
                    <a:pt x="1009" y="279"/>
                  </a:lnTo>
                  <a:lnTo>
                    <a:pt x="1009" y="279"/>
                  </a:lnTo>
                  <a:lnTo>
                    <a:pt x="1009" y="279"/>
                  </a:lnTo>
                  <a:close/>
                  <a:moveTo>
                    <a:pt x="895" y="152"/>
                  </a:moveTo>
                  <a:lnTo>
                    <a:pt x="895" y="140"/>
                  </a:lnTo>
                  <a:lnTo>
                    <a:pt x="912" y="128"/>
                  </a:lnTo>
                  <a:lnTo>
                    <a:pt x="917" y="140"/>
                  </a:lnTo>
                  <a:lnTo>
                    <a:pt x="917" y="163"/>
                  </a:lnTo>
                  <a:lnTo>
                    <a:pt x="900" y="163"/>
                  </a:lnTo>
                  <a:lnTo>
                    <a:pt x="912" y="152"/>
                  </a:lnTo>
                  <a:lnTo>
                    <a:pt x="895" y="152"/>
                  </a:lnTo>
                  <a:lnTo>
                    <a:pt x="895" y="152"/>
                  </a:lnTo>
                  <a:lnTo>
                    <a:pt x="895" y="152"/>
                  </a:lnTo>
                  <a:close/>
                  <a:moveTo>
                    <a:pt x="1576" y="128"/>
                  </a:moveTo>
                  <a:lnTo>
                    <a:pt x="1592" y="128"/>
                  </a:lnTo>
                  <a:lnTo>
                    <a:pt x="1592" y="140"/>
                  </a:lnTo>
                  <a:lnTo>
                    <a:pt x="1576" y="128"/>
                  </a:lnTo>
                  <a:lnTo>
                    <a:pt x="1576" y="128"/>
                  </a:lnTo>
                  <a:lnTo>
                    <a:pt x="1576" y="128"/>
                  </a:lnTo>
                  <a:close/>
                  <a:moveTo>
                    <a:pt x="1566" y="128"/>
                  </a:moveTo>
                  <a:lnTo>
                    <a:pt x="1576" y="140"/>
                  </a:lnTo>
                  <a:lnTo>
                    <a:pt x="1566" y="140"/>
                  </a:lnTo>
                  <a:lnTo>
                    <a:pt x="1566" y="128"/>
                  </a:lnTo>
                  <a:lnTo>
                    <a:pt x="1566" y="128"/>
                  </a:lnTo>
                  <a:lnTo>
                    <a:pt x="1566" y="128"/>
                  </a:lnTo>
                  <a:close/>
                  <a:moveTo>
                    <a:pt x="2209" y="152"/>
                  </a:moveTo>
                  <a:lnTo>
                    <a:pt x="2197" y="140"/>
                  </a:lnTo>
                  <a:lnTo>
                    <a:pt x="2209" y="147"/>
                  </a:lnTo>
                  <a:lnTo>
                    <a:pt x="2209" y="152"/>
                  </a:lnTo>
                  <a:lnTo>
                    <a:pt x="2209" y="152"/>
                  </a:lnTo>
                  <a:lnTo>
                    <a:pt x="2209" y="152"/>
                  </a:lnTo>
                  <a:close/>
                  <a:moveTo>
                    <a:pt x="2143" y="185"/>
                  </a:moveTo>
                  <a:lnTo>
                    <a:pt x="2133" y="163"/>
                  </a:lnTo>
                  <a:lnTo>
                    <a:pt x="2143" y="163"/>
                  </a:lnTo>
                  <a:lnTo>
                    <a:pt x="2154" y="180"/>
                  </a:lnTo>
                  <a:lnTo>
                    <a:pt x="2143" y="185"/>
                  </a:lnTo>
                  <a:lnTo>
                    <a:pt x="2143" y="185"/>
                  </a:lnTo>
                  <a:lnTo>
                    <a:pt x="2143" y="185"/>
                  </a:lnTo>
                  <a:close/>
                  <a:moveTo>
                    <a:pt x="1545" y="168"/>
                  </a:moveTo>
                  <a:lnTo>
                    <a:pt x="1559" y="180"/>
                  </a:lnTo>
                  <a:lnTo>
                    <a:pt x="1545" y="180"/>
                  </a:lnTo>
                  <a:lnTo>
                    <a:pt x="1545" y="168"/>
                  </a:lnTo>
                  <a:lnTo>
                    <a:pt x="1545" y="168"/>
                  </a:lnTo>
                  <a:lnTo>
                    <a:pt x="1545" y="168"/>
                  </a:lnTo>
                  <a:close/>
                  <a:moveTo>
                    <a:pt x="1566" y="180"/>
                  </a:moveTo>
                  <a:lnTo>
                    <a:pt x="1576" y="185"/>
                  </a:lnTo>
                  <a:lnTo>
                    <a:pt x="1566" y="196"/>
                  </a:lnTo>
                  <a:lnTo>
                    <a:pt x="1566" y="180"/>
                  </a:lnTo>
                  <a:lnTo>
                    <a:pt x="1566" y="180"/>
                  </a:lnTo>
                  <a:lnTo>
                    <a:pt x="1566" y="180"/>
                  </a:lnTo>
                  <a:close/>
                  <a:moveTo>
                    <a:pt x="773" y="196"/>
                  </a:moveTo>
                  <a:lnTo>
                    <a:pt x="773" y="185"/>
                  </a:lnTo>
                  <a:lnTo>
                    <a:pt x="773" y="196"/>
                  </a:lnTo>
                  <a:lnTo>
                    <a:pt x="773" y="196"/>
                  </a:lnTo>
                  <a:lnTo>
                    <a:pt x="773" y="196"/>
                  </a:lnTo>
                  <a:close/>
                  <a:moveTo>
                    <a:pt x="1559" y="185"/>
                  </a:moveTo>
                  <a:lnTo>
                    <a:pt x="1559" y="196"/>
                  </a:lnTo>
                  <a:lnTo>
                    <a:pt x="1559" y="185"/>
                  </a:lnTo>
                  <a:lnTo>
                    <a:pt x="1559" y="185"/>
                  </a:lnTo>
                  <a:lnTo>
                    <a:pt x="1559" y="185"/>
                  </a:lnTo>
                  <a:close/>
                  <a:moveTo>
                    <a:pt x="773" y="201"/>
                  </a:moveTo>
                  <a:lnTo>
                    <a:pt x="773" y="196"/>
                  </a:lnTo>
                  <a:lnTo>
                    <a:pt x="773" y="201"/>
                  </a:lnTo>
                  <a:lnTo>
                    <a:pt x="773" y="201"/>
                  </a:lnTo>
                  <a:lnTo>
                    <a:pt x="773" y="201"/>
                  </a:lnTo>
                  <a:close/>
                  <a:moveTo>
                    <a:pt x="735" y="222"/>
                  </a:moveTo>
                  <a:lnTo>
                    <a:pt x="735" y="206"/>
                  </a:lnTo>
                  <a:lnTo>
                    <a:pt x="739" y="218"/>
                  </a:lnTo>
                  <a:lnTo>
                    <a:pt x="735" y="222"/>
                  </a:lnTo>
                  <a:lnTo>
                    <a:pt x="735" y="222"/>
                  </a:lnTo>
                  <a:lnTo>
                    <a:pt x="735" y="222"/>
                  </a:lnTo>
                  <a:close/>
                  <a:moveTo>
                    <a:pt x="950" y="218"/>
                  </a:moveTo>
                  <a:lnTo>
                    <a:pt x="954" y="206"/>
                  </a:lnTo>
                  <a:lnTo>
                    <a:pt x="954" y="218"/>
                  </a:lnTo>
                  <a:lnTo>
                    <a:pt x="950" y="218"/>
                  </a:lnTo>
                  <a:lnTo>
                    <a:pt x="950" y="218"/>
                  </a:lnTo>
                  <a:lnTo>
                    <a:pt x="950" y="218"/>
                  </a:lnTo>
                  <a:close/>
                  <a:moveTo>
                    <a:pt x="85" y="255"/>
                  </a:moveTo>
                  <a:lnTo>
                    <a:pt x="76" y="255"/>
                  </a:lnTo>
                  <a:lnTo>
                    <a:pt x="52" y="239"/>
                  </a:lnTo>
                  <a:lnTo>
                    <a:pt x="38" y="234"/>
                  </a:lnTo>
                  <a:lnTo>
                    <a:pt x="31" y="222"/>
                  </a:lnTo>
                  <a:lnTo>
                    <a:pt x="38" y="218"/>
                  </a:lnTo>
                  <a:lnTo>
                    <a:pt x="47" y="218"/>
                  </a:lnTo>
                  <a:lnTo>
                    <a:pt x="85" y="251"/>
                  </a:lnTo>
                  <a:lnTo>
                    <a:pt x="85" y="255"/>
                  </a:lnTo>
                  <a:lnTo>
                    <a:pt x="85" y="255"/>
                  </a:lnTo>
                  <a:lnTo>
                    <a:pt x="85" y="255"/>
                  </a:lnTo>
                  <a:close/>
                  <a:moveTo>
                    <a:pt x="2117" y="234"/>
                  </a:moveTo>
                  <a:lnTo>
                    <a:pt x="2117" y="239"/>
                  </a:lnTo>
                  <a:lnTo>
                    <a:pt x="2117" y="222"/>
                  </a:lnTo>
                  <a:lnTo>
                    <a:pt x="2117" y="234"/>
                  </a:lnTo>
                  <a:lnTo>
                    <a:pt x="2117" y="234"/>
                  </a:lnTo>
                  <a:lnTo>
                    <a:pt x="2117" y="234"/>
                  </a:lnTo>
                  <a:close/>
                  <a:moveTo>
                    <a:pt x="2317" y="279"/>
                  </a:moveTo>
                  <a:lnTo>
                    <a:pt x="2317" y="263"/>
                  </a:lnTo>
                  <a:lnTo>
                    <a:pt x="2332" y="239"/>
                  </a:lnTo>
                  <a:lnTo>
                    <a:pt x="2339" y="239"/>
                  </a:lnTo>
                  <a:lnTo>
                    <a:pt x="2348" y="251"/>
                  </a:lnTo>
                  <a:lnTo>
                    <a:pt x="2339" y="263"/>
                  </a:lnTo>
                  <a:lnTo>
                    <a:pt x="2332" y="279"/>
                  </a:lnTo>
                  <a:lnTo>
                    <a:pt x="2317" y="279"/>
                  </a:lnTo>
                  <a:lnTo>
                    <a:pt x="2317" y="279"/>
                  </a:lnTo>
                  <a:lnTo>
                    <a:pt x="2317" y="279"/>
                  </a:lnTo>
                  <a:close/>
                  <a:moveTo>
                    <a:pt x="144" y="279"/>
                  </a:moveTo>
                  <a:lnTo>
                    <a:pt x="128" y="263"/>
                  </a:lnTo>
                  <a:lnTo>
                    <a:pt x="139" y="263"/>
                  </a:lnTo>
                  <a:lnTo>
                    <a:pt x="144" y="279"/>
                  </a:lnTo>
                  <a:lnTo>
                    <a:pt x="144" y="279"/>
                  </a:lnTo>
                  <a:lnTo>
                    <a:pt x="144" y="279"/>
                  </a:lnTo>
                  <a:close/>
                  <a:moveTo>
                    <a:pt x="2284" y="366"/>
                  </a:moveTo>
                  <a:lnTo>
                    <a:pt x="2294" y="366"/>
                  </a:lnTo>
                  <a:lnTo>
                    <a:pt x="2294" y="350"/>
                  </a:lnTo>
                  <a:lnTo>
                    <a:pt x="2306" y="345"/>
                  </a:lnTo>
                  <a:lnTo>
                    <a:pt x="2306" y="329"/>
                  </a:lnTo>
                  <a:lnTo>
                    <a:pt x="2332" y="317"/>
                  </a:lnTo>
                  <a:lnTo>
                    <a:pt x="2348" y="312"/>
                  </a:lnTo>
                  <a:lnTo>
                    <a:pt x="2348" y="350"/>
                  </a:lnTo>
                  <a:lnTo>
                    <a:pt x="2317" y="366"/>
                  </a:lnTo>
                  <a:lnTo>
                    <a:pt x="2322" y="383"/>
                  </a:lnTo>
                  <a:lnTo>
                    <a:pt x="2348" y="390"/>
                  </a:lnTo>
                  <a:lnTo>
                    <a:pt x="2348" y="400"/>
                  </a:lnTo>
                  <a:lnTo>
                    <a:pt x="2360" y="418"/>
                  </a:lnTo>
                  <a:lnTo>
                    <a:pt x="2301" y="390"/>
                  </a:lnTo>
                  <a:lnTo>
                    <a:pt x="2294" y="400"/>
                  </a:lnTo>
                  <a:lnTo>
                    <a:pt x="2294" y="407"/>
                  </a:lnTo>
                  <a:lnTo>
                    <a:pt x="2294" y="435"/>
                  </a:lnTo>
                  <a:lnTo>
                    <a:pt x="2301" y="456"/>
                  </a:lnTo>
                  <a:lnTo>
                    <a:pt x="2322" y="494"/>
                  </a:lnTo>
                  <a:lnTo>
                    <a:pt x="2301" y="478"/>
                  </a:lnTo>
                  <a:lnTo>
                    <a:pt x="2284" y="456"/>
                  </a:lnTo>
                  <a:lnTo>
                    <a:pt x="2280" y="444"/>
                  </a:lnTo>
                  <a:lnTo>
                    <a:pt x="2280" y="418"/>
                  </a:lnTo>
                  <a:lnTo>
                    <a:pt x="2263" y="383"/>
                  </a:lnTo>
                  <a:lnTo>
                    <a:pt x="2268" y="366"/>
                  </a:lnTo>
                  <a:lnTo>
                    <a:pt x="2263" y="366"/>
                  </a:lnTo>
                  <a:lnTo>
                    <a:pt x="2263" y="350"/>
                  </a:lnTo>
                  <a:lnTo>
                    <a:pt x="2251" y="350"/>
                  </a:lnTo>
                  <a:lnTo>
                    <a:pt x="2268" y="307"/>
                  </a:lnTo>
                  <a:lnTo>
                    <a:pt x="2294" y="272"/>
                  </a:lnTo>
                  <a:lnTo>
                    <a:pt x="2301" y="272"/>
                  </a:lnTo>
                  <a:lnTo>
                    <a:pt x="2284" y="291"/>
                  </a:lnTo>
                  <a:lnTo>
                    <a:pt x="2301" y="307"/>
                  </a:lnTo>
                  <a:lnTo>
                    <a:pt x="2301" y="329"/>
                  </a:lnTo>
                  <a:lnTo>
                    <a:pt x="2268" y="362"/>
                  </a:lnTo>
                  <a:lnTo>
                    <a:pt x="2284" y="366"/>
                  </a:lnTo>
                  <a:lnTo>
                    <a:pt x="2284" y="366"/>
                  </a:lnTo>
                  <a:lnTo>
                    <a:pt x="2284" y="366"/>
                  </a:lnTo>
                  <a:close/>
                  <a:moveTo>
                    <a:pt x="454" y="291"/>
                  </a:moveTo>
                  <a:lnTo>
                    <a:pt x="447" y="307"/>
                  </a:lnTo>
                  <a:lnTo>
                    <a:pt x="430" y="307"/>
                  </a:lnTo>
                  <a:lnTo>
                    <a:pt x="430" y="291"/>
                  </a:lnTo>
                  <a:lnTo>
                    <a:pt x="430" y="279"/>
                  </a:lnTo>
                  <a:lnTo>
                    <a:pt x="447" y="272"/>
                  </a:lnTo>
                  <a:lnTo>
                    <a:pt x="454" y="291"/>
                  </a:lnTo>
                  <a:lnTo>
                    <a:pt x="454" y="291"/>
                  </a:lnTo>
                  <a:lnTo>
                    <a:pt x="454" y="291"/>
                  </a:lnTo>
                  <a:close/>
                  <a:moveTo>
                    <a:pt x="1873" y="778"/>
                  </a:moveTo>
                  <a:lnTo>
                    <a:pt x="1852" y="778"/>
                  </a:lnTo>
                  <a:lnTo>
                    <a:pt x="1835" y="766"/>
                  </a:lnTo>
                  <a:lnTo>
                    <a:pt x="1852" y="723"/>
                  </a:lnTo>
                  <a:lnTo>
                    <a:pt x="1831" y="716"/>
                  </a:lnTo>
                  <a:lnTo>
                    <a:pt x="1798" y="683"/>
                  </a:lnTo>
                  <a:lnTo>
                    <a:pt x="1798" y="666"/>
                  </a:lnTo>
                  <a:lnTo>
                    <a:pt x="1814" y="662"/>
                  </a:lnTo>
                  <a:lnTo>
                    <a:pt x="1814" y="629"/>
                  </a:lnTo>
                  <a:lnTo>
                    <a:pt x="1809" y="622"/>
                  </a:lnTo>
                  <a:lnTo>
                    <a:pt x="1793" y="612"/>
                  </a:lnTo>
                  <a:lnTo>
                    <a:pt x="1755" y="645"/>
                  </a:lnTo>
                  <a:lnTo>
                    <a:pt x="1765" y="662"/>
                  </a:lnTo>
                  <a:lnTo>
                    <a:pt x="1765" y="695"/>
                  </a:lnTo>
                  <a:lnTo>
                    <a:pt x="1760" y="723"/>
                  </a:lnTo>
                  <a:lnTo>
                    <a:pt x="1765" y="766"/>
                  </a:lnTo>
                  <a:lnTo>
                    <a:pt x="1755" y="794"/>
                  </a:lnTo>
                  <a:lnTo>
                    <a:pt x="1765" y="834"/>
                  </a:lnTo>
                  <a:lnTo>
                    <a:pt x="1760" y="827"/>
                  </a:lnTo>
                  <a:lnTo>
                    <a:pt x="1743" y="834"/>
                  </a:lnTo>
                  <a:lnTo>
                    <a:pt x="1727" y="827"/>
                  </a:lnTo>
                  <a:lnTo>
                    <a:pt x="1722" y="844"/>
                  </a:lnTo>
                  <a:lnTo>
                    <a:pt x="1710" y="844"/>
                  </a:lnTo>
                  <a:lnTo>
                    <a:pt x="1689" y="822"/>
                  </a:lnTo>
                  <a:lnTo>
                    <a:pt x="1706" y="740"/>
                  </a:lnTo>
                  <a:lnTo>
                    <a:pt x="1706" y="716"/>
                  </a:lnTo>
                  <a:lnTo>
                    <a:pt x="1701" y="695"/>
                  </a:lnTo>
                  <a:lnTo>
                    <a:pt x="1706" y="683"/>
                  </a:lnTo>
                  <a:lnTo>
                    <a:pt x="1689" y="678"/>
                  </a:lnTo>
                  <a:lnTo>
                    <a:pt x="1658" y="683"/>
                  </a:lnTo>
                  <a:lnTo>
                    <a:pt x="1651" y="666"/>
                  </a:lnTo>
                  <a:lnTo>
                    <a:pt x="1658" y="638"/>
                  </a:lnTo>
                  <a:lnTo>
                    <a:pt x="1651" y="638"/>
                  </a:lnTo>
                  <a:lnTo>
                    <a:pt x="1651" y="629"/>
                  </a:lnTo>
                  <a:lnTo>
                    <a:pt x="1651" y="612"/>
                  </a:lnTo>
                  <a:lnTo>
                    <a:pt x="1658" y="622"/>
                  </a:lnTo>
                  <a:lnTo>
                    <a:pt x="1672" y="605"/>
                  </a:lnTo>
                  <a:lnTo>
                    <a:pt x="1684" y="572"/>
                  </a:lnTo>
                  <a:lnTo>
                    <a:pt x="1689" y="567"/>
                  </a:lnTo>
                  <a:lnTo>
                    <a:pt x="1689" y="518"/>
                  </a:lnTo>
                  <a:lnTo>
                    <a:pt x="1706" y="494"/>
                  </a:lnTo>
                  <a:lnTo>
                    <a:pt x="1710" y="478"/>
                  </a:lnTo>
                  <a:lnTo>
                    <a:pt x="1727" y="489"/>
                  </a:lnTo>
                  <a:lnTo>
                    <a:pt x="1722" y="461"/>
                  </a:lnTo>
                  <a:lnTo>
                    <a:pt x="1722" y="440"/>
                  </a:lnTo>
                  <a:lnTo>
                    <a:pt x="1710" y="440"/>
                  </a:lnTo>
                  <a:lnTo>
                    <a:pt x="1706" y="435"/>
                  </a:lnTo>
                  <a:lnTo>
                    <a:pt x="1722" y="440"/>
                  </a:lnTo>
                  <a:lnTo>
                    <a:pt x="1727" y="423"/>
                  </a:lnTo>
                  <a:lnTo>
                    <a:pt x="1722" y="418"/>
                  </a:lnTo>
                  <a:lnTo>
                    <a:pt x="1727" y="390"/>
                  </a:lnTo>
                  <a:lnTo>
                    <a:pt x="1739" y="390"/>
                  </a:lnTo>
                  <a:lnTo>
                    <a:pt x="1739" y="378"/>
                  </a:lnTo>
                  <a:lnTo>
                    <a:pt x="1755" y="366"/>
                  </a:lnTo>
                  <a:lnTo>
                    <a:pt x="1760" y="362"/>
                  </a:lnTo>
                  <a:lnTo>
                    <a:pt x="1760" y="366"/>
                  </a:lnTo>
                  <a:lnTo>
                    <a:pt x="1776" y="378"/>
                  </a:lnTo>
                  <a:lnTo>
                    <a:pt x="1793" y="350"/>
                  </a:lnTo>
                  <a:lnTo>
                    <a:pt x="1793" y="333"/>
                  </a:lnTo>
                  <a:lnTo>
                    <a:pt x="1835" y="333"/>
                  </a:lnTo>
                  <a:lnTo>
                    <a:pt x="1847" y="350"/>
                  </a:lnTo>
                  <a:lnTo>
                    <a:pt x="1869" y="350"/>
                  </a:lnTo>
                  <a:lnTo>
                    <a:pt x="1873" y="350"/>
                  </a:lnTo>
                  <a:lnTo>
                    <a:pt x="1906" y="362"/>
                  </a:lnTo>
                  <a:lnTo>
                    <a:pt x="1939" y="366"/>
                  </a:lnTo>
                  <a:lnTo>
                    <a:pt x="1944" y="362"/>
                  </a:lnTo>
                  <a:lnTo>
                    <a:pt x="1961" y="362"/>
                  </a:lnTo>
                  <a:lnTo>
                    <a:pt x="2015" y="366"/>
                  </a:lnTo>
                  <a:lnTo>
                    <a:pt x="2036" y="350"/>
                  </a:lnTo>
                  <a:lnTo>
                    <a:pt x="2046" y="345"/>
                  </a:lnTo>
                  <a:lnTo>
                    <a:pt x="2062" y="345"/>
                  </a:lnTo>
                  <a:lnTo>
                    <a:pt x="2053" y="329"/>
                  </a:lnTo>
                  <a:lnTo>
                    <a:pt x="2079" y="317"/>
                  </a:lnTo>
                  <a:lnTo>
                    <a:pt x="2079" y="312"/>
                  </a:lnTo>
                  <a:lnTo>
                    <a:pt x="2084" y="307"/>
                  </a:lnTo>
                  <a:lnTo>
                    <a:pt x="2100" y="307"/>
                  </a:lnTo>
                  <a:lnTo>
                    <a:pt x="2105" y="317"/>
                  </a:lnTo>
                  <a:lnTo>
                    <a:pt x="2091" y="329"/>
                  </a:lnTo>
                  <a:lnTo>
                    <a:pt x="2079" y="362"/>
                  </a:lnTo>
                  <a:lnTo>
                    <a:pt x="2036" y="400"/>
                  </a:lnTo>
                  <a:lnTo>
                    <a:pt x="1991" y="407"/>
                  </a:lnTo>
                  <a:lnTo>
                    <a:pt x="1970" y="407"/>
                  </a:lnTo>
                  <a:lnTo>
                    <a:pt x="1954" y="390"/>
                  </a:lnTo>
                  <a:lnTo>
                    <a:pt x="1864" y="400"/>
                  </a:lnTo>
                  <a:lnTo>
                    <a:pt x="1847" y="390"/>
                  </a:lnTo>
                  <a:lnTo>
                    <a:pt x="1814" y="400"/>
                  </a:lnTo>
                  <a:lnTo>
                    <a:pt x="1776" y="390"/>
                  </a:lnTo>
                  <a:lnTo>
                    <a:pt x="1760" y="390"/>
                  </a:lnTo>
                  <a:lnTo>
                    <a:pt x="1743" y="418"/>
                  </a:lnTo>
                  <a:lnTo>
                    <a:pt x="1739" y="440"/>
                  </a:lnTo>
                  <a:lnTo>
                    <a:pt x="1743" y="473"/>
                  </a:lnTo>
                  <a:lnTo>
                    <a:pt x="1755" y="494"/>
                  </a:lnTo>
                  <a:lnTo>
                    <a:pt x="1776" y="501"/>
                  </a:lnTo>
                  <a:lnTo>
                    <a:pt x="1781" y="527"/>
                  </a:lnTo>
                  <a:lnTo>
                    <a:pt x="1793" y="527"/>
                  </a:lnTo>
                  <a:lnTo>
                    <a:pt x="1814" y="534"/>
                  </a:lnTo>
                  <a:lnTo>
                    <a:pt x="1835" y="494"/>
                  </a:lnTo>
                  <a:lnTo>
                    <a:pt x="1852" y="489"/>
                  </a:lnTo>
                  <a:lnTo>
                    <a:pt x="1852" y="494"/>
                  </a:lnTo>
                  <a:lnTo>
                    <a:pt x="1869" y="494"/>
                  </a:lnTo>
                  <a:lnTo>
                    <a:pt x="1885" y="494"/>
                  </a:lnTo>
                  <a:lnTo>
                    <a:pt x="1890" y="489"/>
                  </a:lnTo>
                  <a:lnTo>
                    <a:pt x="1939" y="489"/>
                  </a:lnTo>
                  <a:lnTo>
                    <a:pt x="1944" y="478"/>
                  </a:lnTo>
                  <a:lnTo>
                    <a:pt x="1928" y="478"/>
                  </a:lnTo>
                  <a:lnTo>
                    <a:pt x="1954" y="473"/>
                  </a:lnTo>
                  <a:lnTo>
                    <a:pt x="1970" y="473"/>
                  </a:lnTo>
                  <a:lnTo>
                    <a:pt x="1977" y="489"/>
                  </a:lnTo>
                  <a:lnTo>
                    <a:pt x="1970" y="501"/>
                  </a:lnTo>
                  <a:lnTo>
                    <a:pt x="1961" y="494"/>
                  </a:lnTo>
                  <a:lnTo>
                    <a:pt x="1939" y="494"/>
                  </a:lnTo>
                  <a:lnTo>
                    <a:pt x="1906" y="534"/>
                  </a:lnTo>
                  <a:lnTo>
                    <a:pt x="1869" y="551"/>
                  </a:lnTo>
                  <a:lnTo>
                    <a:pt x="1852" y="567"/>
                  </a:lnTo>
                  <a:lnTo>
                    <a:pt x="1831" y="555"/>
                  </a:lnTo>
                  <a:lnTo>
                    <a:pt x="1831" y="572"/>
                  </a:lnTo>
                  <a:lnTo>
                    <a:pt x="1835" y="572"/>
                  </a:lnTo>
                  <a:lnTo>
                    <a:pt x="1847" y="584"/>
                  </a:lnTo>
                  <a:lnTo>
                    <a:pt x="1869" y="600"/>
                  </a:lnTo>
                  <a:lnTo>
                    <a:pt x="1873" y="622"/>
                  </a:lnTo>
                  <a:lnTo>
                    <a:pt x="1902" y="638"/>
                  </a:lnTo>
                  <a:lnTo>
                    <a:pt x="1902" y="645"/>
                  </a:lnTo>
                  <a:lnTo>
                    <a:pt x="1906" y="655"/>
                  </a:lnTo>
                  <a:lnTo>
                    <a:pt x="1890" y="666"/>
                  </a:lnTo>
                  <a:lnTo>
                    <a:pt x="1890" y="695"/>
                  </a:lnTo>
                  <a:lnTo>
                    <a:pt x="1923" y="711"/>
                  </a:lnTo>
                  <a:lnTo>
                    <a:pt x="1923" y="723"/>
                  </a:lnTo>
                  <a:lnTo>
                    <a:pt x="1939" y="723"/>
                  </a:lnTo>
                  <a:lnTo>
                    <a:pt x="1928" y="716"/>
                  </a:lnTo>
                  <a:lnTo>
                    <a:pt x="1939" y="733"/>
                  </a:lnTo>
                  <a:lnTo>
                    <a:pt x="1939" y="749"/>
                  </a:lnTo>
                  <a:lnTo>
                    <a:pt x="1928" y="749"/>
                  </a:lnTo>
                  <a:lnTo>
                    <a:pt x="1916" y="749"/>
                  </a:lnTo>
                  <a:lnTo>
                    <a:pt x="1885" y="756"/>
                  </a:lnTo>
                  <a:lnTo>
                    <a:pt x="1873" y="766"/>
                  </a:lnTo>
                  <a:lnTo>
                    <a:pt x="1885" y="773"/>
                  </a:lnTo>
                  <a:lnTo>
                    <a:pt x="1873" y="778"/>
                  </a:lnTo>
                  <a:lnTo>
                    <a:pt x="1873" y="778"/>
                  </a:lnTo>
                  <a:lnTo>
                    <a:pt x="1873" y="778"/>
                  </a:lnTo>
                  <a:close/>
                  <a:moveTo>
                    <a:pt x="508" y="329"/>
                  </a:moveTo>
                  <a:lnTo>
                    <a:pt x="508" y="333"/>
                  </a:lnTo>
                  <a:lnTo>
                    <a:pt x="496" y="329"/>
                  </a:lnTo>
                  <a:lnTo>
                    <a:pt x="480" y="317"/>
                  </a:lnTo>
                  <a:lnTo>
                    <a:pt x="470" y="312"/>
                  </a:lnTo>
                  <a:lnTo>
                    <a:pt x="501" y="317"/>
                  </a:lnTo>
                  <a:lnTo>
                    <a:pt x="508" y="329"/>
                  </a:lnTo>
                  <a:lnTo>
                    <a:pt x="508" y="329"/>
                  </a:lnTo>
                  <a:lnTo>
                    <a:pt x="508" y="329"/>
                  </a:lnTo>
                  <a:close/>
                  <a:moveTo>
                    <a:pt x="2105" y="317"/>
                  </a:moveTo>
                  <a:lnTo>
                    <a:pt x="2105" y="329"/>
                  </a:lnTo>
                  <a:lnTo>
                    <a:pt x="2100" y="329"/>
                  </a:lnTo>
                  <a:lnTo>
                    <a:pt x="2105" y="317"/>
                  </a:lnTo>
                  <a:lnTo>
                    <a:pt x="2105" y="317"/>
                  </a:lnTo>
                  <a:lnTo>
                    <a:pt x="2105" y="317"/>
                  </a:lnTo>
                  <a:close/>
                  <a:moveTo>
                    <a:pt x="177" y="390"/>
                  </a:moveTo>
                  <a:lnTo>
                    <a:pt x="173" y="383"/>
                  </a:lnTo>
                  <a:lnTo>
                    <a:pt x="161" y="366"/>
                  </a:lnTo>
                  <a:lnTo>
                    <a:pt x="128" y="329"/>
                  </a:lnTo>
                  <a:lnTo>
                    <a:pt x="144" y="317"/>
                  </a:lnTo>
                  <a:lnTo>
                    <a:pt x="156" y="317"/>
                  </a:lnTo>
                  <a:lnTo>
                    <a:pt x="173" y="345"/>
                  </a:lnTo>
                  <a:lnTo>
                    <a:pt x="182" y="350"/>
                  </a:lnTo>
                  <a:lnTo>
                    <a:pt x="182" y="383"/>
                  </a:lnTo>
                  <a:lnTo>
                    <a:pt x="177" y="390"/>
                  </a:lnTo>
                  <a:lnTo>
                    <a:pt x="177" y="390"/>
                  </a:lnTo>
                  <a:lnTo>
                    <a:pt x="177" y="390"/>
                  </a:lnTo>
                  <a:close/>
                  <a:moveTo>
                    <a:pt x="508" y="345"/>
                  </a:moveTo>
                  <a:lnTo>
                    <a:pt x="508" y="362"/>
                  </a:lnTo>
                  <a:lnTo>
                    <a:pt x="501" y="362"/>
                  </a:lnTo>
                  <a:lnTo>
                    <a:pt x="484" y="350"/>
                  </a:lnTo>
                  <a:lnTo>
                    <a:pt x="484" y="329"/>
                  </a:lnTo>
                  <a:lnTo>
                    <a:pt x="508" y="345"/>
                  </a:lnTo>
                  <a:lnTo>
                    <a:pt x="508" y="345"/>
                  </a:lnTo>
                  <a:lnTo>
                    <a:pt x="508" y="345"/>
                  </a:lnTo>
                  <a:close/>
                  <a:moveTo>
                    <a:pt x="664" y="350"/>
                  </a:moveTo>
                  <a:lnTo>
                    <a:pt x="659" y="366"/>
                  </a:lnTo>
                  <a:lnTo>
                    <a:pt x="631" y="350"/>
                  </a:lnTo>
                  <a:lnTo>
                    <a:pt x="643" y="345"/>
                  </a:lnTo>
                  <a:lnTo>
                    <a:pt x="664" y="350"/>
                  </a:lnTo>
                  <a:lnTo>
                    <a:pt x="664" y="350"/>
                  </a:lnTo>
                  <a:lnTo>
                    <a:pt x="664" y="350"/>
                  </a:lnTo>
                  <a:close/>
                  <a:moveTo>
                    <a:pt x="626" y="345"/>
                  </a:moveTo>
                  <a:lnTo>
                    <a:pt x="614" y="362"/>
                  </a:lnTo>
                  <a:lnTo>
                    <a:pt x="610" y="350"/>
                  </a:lnTo>
                  <a:lnTo>
                    <a:pt x="614" y="345"/>
                  </a:lnTo>
                  <a:lnTo>
                    <a:pt x="626" y="345"/>
                  </a:lnTo>
                  <a:lnTo>
                    <a:pt x="626" y="345"/>
                  </a:lnTo>
                  <a:lnTo>
                    <a:pt x="626" y="345"/>
                  </a:lnTo>
                  <a:close/>
                  <a:moveTo>
                    <a:pt x="550" y="366"/>
                  </a:moveTo>
                  <a:lnTo>
                    <a:pt x="522" y="350"/>
                  </a:lnTo>
                  <a:lnTo>
                    <a:pt x="522" y="345"/>
                  </a:lnTo>
                  <a:lnTo>
                    <a:pt x="550" y="350"/>
                  </a:lnTo>
                  <a:lnTo>
                    <a:pt x="555" y="366"/>
                  </a:lnTo>
                  <a:lnTo>
                    <a:pt x="550" y="366"/>
                  </a:lnTo>
                  <a:lnTo>
                    <a:pt x="550" y="366"/>
                  </a:lnTo>
                  <a:lnTo>
                    <a:pt x="550" y="366"/>
                  </a:lnTo>
                  <a:close/>
                  <a:moveTo>
                    <a:pt x="539" y="378"/>
                  </a:moveTo>
                  <a:lnTo>
                    <a:pt x="534" y="366"/>
                  </a:lnTo>
                  <a:lnTo>
                    <a:pt x="508" y="366"/>
                  </a:lnTo>
                  <a:lnTo>
                    <a:pt x="501" y="366"/>
                  </a:lnTo>
                  <a:lnTo>
                    <a:pt x="508" y="362"/>
                  </a:lnTo>
                  <a:lnTo>
                    <a:pt x="508" y="345"/>
                  </a:lnTo>
                  <a:lnTo>
                    <a:pt x="550" y="366"/>
                  </a:lnTo>
                  <a:lnTo>
                    <a:pt x="539" y="378"/>
                  </a:lnTo>
                  <a:lnTo>
                    <a:pt x="539" y="378"/>
                  </a:lnTo>
                  <a:lnTo>
                    <a:pt x="539" y="378"/>
                  </a:lnTo>
                  <a:close/>
                  <a:moveTo>
                    <a:pt x="572" y="350"/>
                  </a:moveTo>
                  <a:lnTo>
                    <a:pt x="572" y="362"/>
                  </a:lnTo>
                  <a:lnTo>
                    <a:pt x="560" y="345"/>
                  </a:lnTo>
                  <a:lnTo>
                    <a:pt x="572" y="350"/>
                  </a:lnTo>
                  <a:lnTo>
                    <a:pt x="572" y="350"/>
                  </a:lnTo>
                  <a:lnTo>
                    <a:pt x="572" y="350"/>
                  </a:lnTo>
                  <a:close/>
                  <a:moveTo>
                    <a:pt x="610" y="362"/>
                  </a:moveTo>
                  <a:lnTo>
                    <a:pt x="605" y="350"/>
                  </a:lnTo>
                  <a:lnTo>
                    <a:pt x="610" y="362"/>
                  </a:lnTo>
                  <a:lnTo>
                    <a:pt x="610" y="362"/>
                  </a:lnTo>
                  <a:lnTo>
                    <a:pt x="610" y="362"/>
                  </a:lnTo>
                  <a:close/>
                  <a:moveTo>
                    <a:pt x="626" y="366"/>
                  </a:moveTo>
                  <a:lnTo>
                    <a:pt x="614" y="362"/>
                  </a:lnTo>
                  <a:lnTo>
                    <a:pt x="631" y="366"/>
                  </a:lnTo>
                  <a:lnTo>
                    <a:pt x="626" y="366"/>
                  </a:lnTo>
                  <a:lnTo>
                    <a:pt x="626" y="366"/>
                  </a:lnTo>
                  <a:lnTo>
                    <a:pt x="626" y="366"/>
                  </a:lnTo>
                  <a:close/>
                  <a:moveTo>
                    <a:pt x="576" y="378"/>
                  </a:moveTo>
                  <a:lnTo>
                    <a:pt x="572" y="383"/>
                  </a:lnTo>
                  <a:lnTo>
                    <a:pt x="572" y="366"/>
                  </a:lnTo>
                  <a:lnTo>
                    <a:pt x="576" y="378"/>
                  </a:lnTo>
                  <a:lnTo>
                    <a:pt x="576" y="378"/>
                  </a:lnTo>
                  <a:lnTo>
                    <a:pt x="576" y="378"/>
                  </a:lnTo>
                  <a:close/>
                  <a:moveTo>
                    <a:pt x="631" y="378"/>
                  </a:moveTo>
                  <a:lnTo>
                    <a:pt x="626" y="378"/>
                  </a:lnTo>
                  <a:lnTo>
                    <a:pt x="631" y="366"/>
                  </a:lnTo>
                  <a:lnTo>
                    <a:pt x="631" y="378"/>
                  </a:lnTo>
                  <a:lnTo>
                    <a:pt x="631" y="378"/>
                  </a:lnTo>
                  <a:lnTo>
                    <a:pt x="631" y="378"/>
                  </a:lnTo>
                  <a:close/>
                  <a:moveTo>
                    <a:pt x="2263" y="378"/>
                  </a:moveTo>
                  <a:lnTo>
                    <a:pt x="2251" y="383"/>
                  </a:lnTo>
                  <a:lnTo>
                    <a:pt x="2251" y="378"/>
                  </a:lnTo>
                  <a:lnTo>
                    <a:pt x="2263" y="378"/>
                  </a:lnTo>
                  <a:lnTo>
                    <a:pt x="2263" y="378"/>
                  </a:lnTo>
                  <a:lnTo>
                    <a:pt x="2263" y="378"/>
                  </a:lnTo>
                  <a:close/>
                  <a:moveTo>
                    <a:pt x="560" y="383"/>
                  </a:moveTo>
                  <a:lnTo>
                    <a:pt x="555" y="390"/>
                  </a:lnTo>
                  <a:lnTo>
                    <a:pt x="555" y="378"/>
                  </a:lnTo>
                  <a:lnTo>
                    <a:pt x="560" y="383"/>
                  </a:lnTo>
                  <a:lnTo>
                    <a:pt x="560" y="383"/>
                  </a:lnTo>
                  <a:lnTo>
                    <a:pt x="560" y="383"/>
                  </a:lnTo>
                  <a:close/>
                  <a:moveTo>
                    <a:pt x="2251" y="400"/>
                  </a:moveTo>
                  <a:lnTo>
                    <a:pt x="2251" y="407"/>
                  </a:lnTo>
                  <a:lnTo>
                    <a:pt x="2251" y="400"/>
                  </a:lnTo>
                  <a:lnTo>
                    <a:pt x="2251" y="400"/>
                  </a:lnTo>
                  <a:lnTo>
                    <a:pt x="2251" y="400"/>
                  </a:lnTo>
                  <a:close/>
                  <a:moveTo>
                    <a:pt x="248" y="423"/>
                  </a:moveTo>
                  <a:lnTo>
                    <a:pt x="232" y="418"/>
                  </a:lnTo>
                  <a:lnTo>
                    <a:pt x="248" y="418"/>
                  </a:lnTo>
                  <a:lnTo>
                    <a:pt x="248" y="423"/>
                  </a:lnTo>
                  <a:lnTo>
                    <a:pt x="248" y="423"/>
                  </a:lnTo>
                  <a:lnTo>
                    <a:pt x="248" y="423"/>
                  </a:lnTo>
                  <a:close/>
                  <a:moveTo>
                    <a:pt x="2407" y="444"/>
                  </a:moveTo>
                  <a:lnTo>
                    <a:pt x="2386" y="423"/>
                  </a:lnTo>
                  <a:lnTo>
                    <a:pt x="2407" y="440"/>
                  </a:lnTo>
                  <a:lnTo>
                    <a:pt x="2407" y="444"/>
                  </a:lnTo>
                  <a:lnTo>
                    <a:pt x="2407" y="444"/>
                  </a:lnTo>
                  <a:lnTo>
                    <a:pt x="2407" y="444"/>
                  </a:lnTo>
                  <a:close/>
                  <a:moveTo>
                    <a:pt x="680" y="456"/>
                  </a:moveTo>
                  <a:lnTo>
                    <a:pt x="664" y="444"/>
                  </a:lnTo>
                  <a:lnTo>
                    <a:pt x="647" y="444"/>
                  </a:lnTo>
                  <a:lnTo>
                    <a:pt x="643" y="444"/>
                  </a:lnTo>
                  <a:lnTo>
                    <a:pt x="647" y="435"/>
                  </a:lnTo>
                  <a:lnTo>
                    <a:pt x="680" y="440"/>
                  </a:lnTo>
                  <a:lnTo>
                    <a:pt x="680" y="456"/>
                  </a:lnTo>
                  <a:lnTo>
                    <a:pt x="680" y="456"/>
                  </a:lnTo>
                  <a:lnTo>
                    <a:pt x="680" y="456"/>
                  </a:lnTo>
                  <a:close/>
                  <a:moveTo>
                    <a:pt x="232" y="456"/>
                  </a:moveTo>
                  <a:lnTo>
                    <a:pt x="215" y="435"/>
                  </a:lnTo>
                  <a:lnTo>
                    <a:pt x="227" y="435"/>
                  </a:lnTo>
                  <a:lnTo>
                    <a:pt x="232" y="456"/>
                  </a:lnTo>
                  <a:lnTo>
                    <a:pt x="232" y="456"/>
                  </a:lnTo>
                  <a:lnTo>
                    <a:pt x="232" y="456"/>
                  </a:lnTo>
                  <a:close/>
                  <a:moveTo>
                    <a:pt x="2485" y="435"/>
                  </a:moveTo>
                  <a:lnTo>
                    <a:pt x="2516" y="435"/>
                  </a:lnTo>
                  <a:lnTo>
                    <a:pt x="2532" y="440"/>
                  </a:lnTo>
                  <a:lnTo>
                    <a:pt x="2532" y="444"/>
                  </a:lnTo>
                  <a:lnTo>
                    <a:pt x="2523" y="456"/>
                  </a:lnTo>
                  <a:lnTo>
                    <a:pt x="2511" y="456"/>
                  </a:lnTo>
                  <a:lnTo>
                    <a:pt x="2478" y="435"/>
                  </a:lnTo>
                  <a:lnTo>
                    <a:pt x="2499" y="456"/>
                  </a:lnTo>
                  <a:lnTo>
                    <a:pt x="2495" y="461"/>
                  </a:lnTo>
                  <a:lnTo>
                    <a:pt x="2485" y="444"/>
                  </a:lnTo>
                  <a:lnTo>
                    <a:pt x="2478" y="456"/>
                  </a:lnTo>
                  <a:lnTo>
                    <a:pt x="2478" y="444"/>
                  </a:lnTo>
                  <a:lnTo>
                    <a:pt x="2457" y="444"/>
                  </a:lnTo>
                  <a:lnTo>
                    <a:pt x="2469" y="440"/>
                  </a:lnTo>
                  <a:lnTo>
                    <a:pt x="2461" y="440"/>
                  </a:lnTo>
                  <a:lnTo>
                    <a:pt x="2457" y="440"/>
                  </a:lnTo>
                  <a:lnTo>
                    <a:pt x="2485" y="435"/>
                  </a:lnTo>
                  <a:lnTo>
                    <a:pt x="2485" y="435"/>
                  </a:lnTo>
                  <a:lnTo>
                    <a:pt x="2485" y="435"/>
                  </a:lnTo>
                  <a:close/>
                  <a:moveTo>
                    <a:pt x="1890" y="444"/>
                  </a:moveTo>
                  <a:lnTo>
                    <a:pt x="1885" y="444"/>
                  </a:lnTo>
                  <a:lnTo>
                    <a:pt x="1890" y="444"/>
                  </a:lnTo>
                  <a:lnTo>
                    <a:pt x="1890" y="444"/>
                  </a:lnTo>
                  <a:lnTo>
                    <a:pt x="1890" y="444"/>
                  </a:lnTo>
                  <a:close/>
                  <a:moveTo>
                    <a:pt x="593" y="444"/>
                  </a:moveTo>
                  <a:lnTo>
                    <a:pt x="593" y="456"/>
                  </a:lnTo>
                  <a:lnTo>
                    <a:pt x="572" y="456"/>
                  </a:lnTo>
                  <a:lnTo>
                    <a:pt x="576" y="444"/>
                  </a:lnTo>
                  <a:lnTo>
                    <a:pt x="593" y="444"/>
                  </a:lnTo>
                  <a:lnTo>
                    <a:pt x="593" y="444"/>
                  </a:lnTo>
                  <a:lnTo>
                    <a:pt x="593" y="444"/>
                  </a:lnTo>
                  <a:close/>
                  <a:moveTo>
                    <a:pt x="227" y="461"/>
                  </a:moveTo>
                  <a:lnTo>
                    <a:pt x="227" y="473"/>
                  </a:lnTo>
                  <a:lnTo>
                    <a:pt x="215" y="473"/>
                  </a:lnTo>
                  <a:lnTo>
                    <a:pt x="227" y="444"/>
                  </a:lnTo>
                  <a:lnTo>
                    <a:pt x="227" y="461"/>
                  </a:lnTo>
                  <a:lnTo>
                    <a:pt x="227" y="461"/>
                  </a:lnTo>
                  <a:lnTo>
                    <a:pt x="227" y="461"/>
                  </a:lnTo>
                  <a:close/>
                  <a:moveTo>
                    <a:pt x="2246" y="444"/>
                  </a:moveTo>
                  <a:lnTo>
                    <a:pt x="2246" y="461"/>
                  </a:lnTo>
                  <a:lnTo>
                    <a:pt x="2242" y="461"/>
                  </a:lnTo>
                  <a:lnTo>
                    <a:pt x="2242" y="444"/>
                  </a:lnTo>
                  <a:lnTo>
                    <a:pt x="2246" y="444"/>
                  </a:lnTo>
                  <a:lnTo>
                    <a:pt x="2246" y="444"/>
                  </a:lnTo>
                  <a:lnTo>
                    <a:pt x="2246" y="444"/>
                  </a:lnTo>
                  <a:close/>
                  <a:moveTo>
                    <a:pt x="1885" y="456"/>
                  </a:moveTo>
                  <a:lnTo>
                    <a:pt x="1885" y="444"/>
                  </a:lnTo>
                  <a:lnTo>
                    <a:pt x="1885" y="456"/>
                  </a:lnTo>
                  <a:lnTo>
                    <a:pt x="1885" y="456"/>
                  </a:lnTo>
                  <a:lnTo>
                    <a:pt x="1885" y="456"/>
                  </a:lnTo>
                  <a:close/>
                  <a:moveTo>
                    <a:pt x="2263" y="444"/>
                  </a:moveTo>
                  <a:lnTo>
                    <a:pt x="2280" y="461"/>
                  </a:lnTo>
                  <a:lnTo>
                    <a:pt x="2268" y="473"/>
                  </a:lnTo>
                  <a:lnTo>
                    <a:pt x="2280" y="478"/>
                  </a:lnTo>
                  <a:lnTo>
                    <a:pt x="2284" y="478"/>
                  </a:lnTo>
                  <a:lnTo>
                    <a:pt x="2294" y="489"/>
                  </a:lnTo>
                  <a:lnTo>
                    <a:pt x="2284" y="494"/>
                  </a:lnTo>
                  <a:lnTo>
                    <a:pt x="2268" y="489"/>
                  </a:lnTo>
                  <a:lnTo>
                    <a:pt x="2263" y="489"/>
                  </a:lnTo>
                  <a:lnTo>
                    <a:pt x="2246" y="461"/>
                  </a:lnTo>
                  <a:lnTo>
                    <a:pt x="2246" y="456"/>
                  </a:lnTo>
                  <a:lnTo>
                    <a:pt x="2263" y="444"/>
                  </a:lnTo>
                  <a:lnTo>
                    <a:pt x="2263" y="444"/>
                  </a:lnTo>
                  <a:lnTo>
                    <a:pt x="2263" y="444"/>
                  </a:lnTo>
                  <a:close/>
                  <a:moveTo>
                    <a:pt x="1885" y="456"/>
                  </a:moveTo>
                  <a:lnTo>
                    <a:pt x="1869" y="456"/>
                  </a:lnTo>
                  <a:lnTo>
                    <a:pt x="1873" y="444"/>
                  </a:lnTo>
                  <a:lnTo>
                    <a:pt x="1885" y="456"/>
                  </a:lnTo>
                  <a:lnTo>
                    <a:pt x="1885" y="456"/>
                  </a:lnTo>
                  <a:lnTo>
                    <a:pt x="1885" y="456"/>
                  </a:lnTo>
                  <a:close/>
                  <a:moveTo>
                    <a:pt x="647" y="456"/>
                  </a:moveTo>
                  <a:lnTo>
                    <a:pt x="659" y="461"/>
                  </a:lnTo>
                  <a:lnTo>
                    <a:pt x="647" y="473"/>
                  </a:lnTo>
                  <a:lnTo>
                    <a:pt x="631" y="461"/>
                  </a:lnTo>
                  <a:lnTo>
                    <a:pt x="647" y="456"/>
                  </a:lnTo>
                  <a:lnTo>
                    <a:pt x="647" y="456"/>
                  </a:lnTo>
                  <a:lnTo>
                    <a:pt x="647" y="456"/>
                  </a:lnTo>
                  <a:close/>
                  <a:moveTo>
                    <a:pt x="3213" y="612"/>
                  </a:moveTo>
                  <a:lnTo>
                    <a:pt x="3213" y="884"/>
                  </a:lnTo>
                  <a:lnTo>
                    <a:pt x="3203" y="905"/>
                  </a:lnTo>
                  <a:lnTo>
                    <a:pt x="3203" y="922"/>
                  </a:lnTo>
                  <a:lnTo>
                    <a:pt x="3213" y="922"/>
                  </a:lnTo>
                  <a:lnTo>
                    <a:pt x="3213" y="1089"/>
                  </a:lnTo>
                  <a:lnTo>
                    <a:pt x="3142" y="1016"/>
                  </a:lnTo>
                  <a:lnTo>
                    <a:pt x="3149" y="995"/>
                  </a:lnTo>
                  <a:lnTo>
                    <a:pt x="3132" y="1016"/>
                  </a:lnTo>
                  <a:lnTo>
                    <a:pt x="3095" y="1016"/>
                  </a:lnTo>
                  <a:lnTo>
                    <a:pt x="3090" y="1011"/>
                  </a:lnTo>
                  <a:lnTo>
                    <a:pt x="3061" y="1028"/>
                  </a:lnTo>
                  <a:lnTo>
                    <a:pt x="3057" y="1016"/>
                  </a:lnTo>
                  <a:lnTo>
                    <a:pt x="3078" y="978"/>
                  </a:lnTo>
                  <a:lnTo>
                    <a:pt x="3052" y="945"/>
                  </a:lnTo>
                  <a:lnTo>
                    <a:pt x="3073" y="955"/>
                  </a:lnTo>
                  <a:lnTo>
                    <a:pt x="3090" y="945"/>
                  </a:lnTo>
                  <a:lnTo>
                    <a:pt x="3073" y="945"/>
                  </a:lnTo>
                  <a:lnTo>
                    <a:pt x="3057" y="945"/>
                  </a:lnTo>
                  <a:lnTo>
                    <a:pt x="3040" y="933"/>
                  </a:lnTo>
                  <a:lnTo>
                    <a:pt x="3061" y="922"/>
                  </a:lnTo>
                  <a:lnTo>
                    <a:pt x="3078" y="933"/>
                  </a:lnTo>
                  <a:lnTo>
                    <a:pt x="3052" y="917"/>
                  </a:lnTo>
                  <a:lnTo>
                    <a:pt x="3052" y="905"/>
                  </a:lnTo>
                  <a:lnTo>
                    <a:pt x="3024" y="884"/>
                  </a:lnTo>
                  <a:lnTo>
                    <a:pt x="3019" y="851"/>
                  </a:lnTo>
                  <a:lnTo>
                    <a:pt x="3007" y="844"/>
                  </a:lnTo>
                  <a:lnTo>
                    <a:pt x="3024" y="834"/>
                  </a:lnTo>
                  <a:lnTo>
                    <a:pt x="3002" y="844"/>
                  </a:lnTo>
                  <a:lnTo>
                    <a:pt x="3002" y="822"/>
                  </a:lnTo>
                  <a:lnTo>
                    <a:pt x="2998" y="822"/>
                  </a:lnTo>
                  <a:lnTo>
                    <a:pt x="2948" y="789"/>
                  </a:lnTo>
                  <a:lnTo>
                    <a:pt x="2915" y="778"/>
                  </a:lnTo>
                  <a:lnTo>
                    <a:pt x="2856" y="756"/>
                  </a:lnTo>
                  <a:lnTo>
                    <a:pt x="2802" y="749"/>
                  </a:lnTo>
                  <a:lnTo>
                    <a:pt x="2764" y="723"/>
                  </a:lnTo>
                  <a:lnTo>
                    <a:pt x="2771" y="711"/>
                  </a:lnTo>
                  <a:lnTo>
                    <a:pt x="2787" y="711"/>
                  </a:lnTo>
                  <a:lnTo>
                    <a:pt x="2764" y="711"/>
                  </a:lnTo>
                  <a:lnTo>
                    <a:pt x="2754" y="716"/>
                  </a:lnTo>
                  <a:lnTo>
                    <a:pt x="2750" y="711"/>
                  </a:lnTo>
                  <a:lnTo>
                    <a:pt x="2738" y="716"/>
                  </a:lnTo>
                  <a:lnTo>
                    <a:pt x="2733" y="716"/>
                  </a:lnTo>
                  <a:lnTo>
                    <a:pt x="2733" y="700"/>
                  </a:lnTo>
                  <a:lnTo>
                    <a:pt x="2717" y="700"/>
                  </a:lnTo>
                  <a:lnTo>
                    <a:pt x="2712" y="683"/>
                  </a:lnTo>
                  <a:lnTo>
                    <a:pt x="2700" y="695"/>
                  </a:lnTo>
                  <a:lnTo>
                    <a:pt x="2695" y="678"/>
                  </a:lnTo>
                  <a:lnTo>
                    <a:pt x="2700" y="662"/>
                  </a:lnTo>
                  <a:lnTo>
                    <a:pt x="2712" y="655"/>
                  </a:lnTo>
                  <a:lnTo>
                    <a:pt x="2712" y="645"/>
                  </a:lnTo>
                  <a:lnTo>
                    <a:pt x="2695" y="655"/>
                  </a:lnTo>
                  <a:lnTo>
                    <a:pt x="2695" y="678"/>
                  </a:lnTo>
                  <a:lnTo>
                    <a:pt x="2683" y="678"/>
                  </a:lnTo>
                  <a:lnTo>
                    <a:pt x="2683" y="683"/>
                  </a:lnTo>
                  <a:lnTo>
                    <a:pt x="2679" y="700"/>
                  </a:lnTo>
                  <a:lnTo>
                    <a:pt x="2679" y="711"/>
                  </a:lnTo>
                  <a:lnTo>
                    <a:pt x="2662" y="723"/>
                  </a:lnTo>
                  <a:lnTo>
                    <a:pt x="2641" y="723"/>
                  </a:lnTo>
                  <a:lnTo>
                    <a:pt x="2629" y="695"/>
                  </a:lnTo>
                  <a:lnTo>
                    <a:pt x="2641" y="683"/>
                  </a:lnTo>
                  <a:lnTo>
                    <a:pt x="2641" y="678"/>
                  </a:lnTo>
                  <a:lnTo>
                    <a:pt x="2629" y="666"/>
                  </a:lnTo>
                  <a:lnTo>
                    <a:pt x="2624" y="666"/>
                  </a:lnTo>
                  <a:lnTo>
                    <a:pt x="2620" y="655"/>
                  </a:lnTo>
                  <a:lnTo>
                    <a:pt x="2603" y="638"/>
                  </a:lnTo>
                  <a:lnTo>
                    <a:pt x="2587" y="645"/>
                  </a:lnTo>
                  <a:lnTo>
                    <a:pt x="2575" y="629"/>
                  </a:lnTo>
                  <a:lnTo>
                    <a:pt x="2603" y="622"/>
                  </a:lnTo>
                  <a:lnTo>
                    <a:pt x="2629" y="629"/>
                  </a:lnTo>
                  <a:lnTo>
                    <a:pt x="2646" y="605"/>
                  </a:lnTo>
                  <a:lnTo>
                    <a:pt x="2662" y="605"/>
                  </a:lnTo>
                  <a:lnTo>
                    <a:pt x="2683" y="612"/>
                  </a:lnTo>
                  <a:lnTo>
                    <a:pt x="2695" y="612"/>
                  </a:lnTo>
                  <a:lnTo>
                    <a:pt x="2695" y="622"/>
                  </a:lnTo>
                  <a:lnTo>
                    <a:pt x="2700" y="605"/>
                  </a:lnTo>
                  <a:lnTo>
                    <a:pt x="2712" y="622"/>
                  </a:lnTo>
                  <a:lnTo>
                    <a:pt x="2700" y="605"/>
                  </a:lnTo>
                  <a:lnTo>
                    <a:pt x="2717" y="600"/>
                  </a:lnTo>
                  <a:lnTo>
                    <a:pt x="2717" y="589"/>
                  </a:lnTo>
                  <a:lnTo>
                    <a:pt x="2712" y="600"/>
                  </a:lnTo>
                  <a:lnTo>
                    <a:pt x="2700" y="589"/>
                  </a:lnTo>
                  <a:lnTo>
                    <a:pt x="2717" y="584"/>
                  </a:lnTo>
                  <a:lnTo>
                    <a:pt x="2695" y="589"/>
                  </a:lnTo>
                  <a:lnTo>
                    <a:pt x="2674" y="589"/>
                  </a:lnTo>
                  <a:lnTo>
                    <a:pt x="2624" y="600"/>
                  </a:lnTo>
                  <a:lnTo>
                    <a:pt x="2620" y="589"/>
                  </a:lnTo>
                  <a:lnTo>
                    <a:pt x="2603" y="589"/>
                  </a:lnTo>
                  <a:lnTo>
                    <a:pt x="2575" y="584"/>
                  </a:lnTo>
                  <a:lnTo>
                    <a:pt x="2570" y="551"/>
                  </a:lnTo>
                  <a:lnTo>
                    <a:pt x="2523" y="527"/>
                  </a:lnTo>
                  <a:lnTo>
                    <a:pt x="2532" y="534"/>
                  </a:lnTo>
                  <a:lnTo>
                    <a:pt x="2523" y="534"/>
                  </a:lnTo>
                  <a:lnTo>
                    <a:pt x="2511" y="527"/>
                  </a:lnTo>
                  <a:lnTo>
                    <a:pt x="2523" y="511"/>
                  </a:lnTo>
                  <a:lnTo>
                    <a:pt x="2523" y="489"/>
                  </a:lnTo>
                  <a:lnTo>
                    <a:pt x="2570" y="478"/>
                  </a:lnTo>
                  <a:lnTo>
                    <a:pt x="2587" y="461"/>
                  </a:lnTo>
                  <a:lnTo>
                    <a:pt x="2608" y="456"/>
                  </a:lnTo>
                  <a:lnTo>
                    <a:pt x="2662" y="473"/>
                  </a:lnTo>
                  <a:lnTo>
                    <a:pt x="2679" y="478"/>
                  </a:lnTo>
                  <a:lnTo>
                    <a:pt x="2717" y="478"/>
                  </a:lnTo>
                  <a:lnTo>
                    <a:pt x="2726" y="489"/>
                  </a:lnTo>
                  <a:lnTo>
                    <a:pt x="2717" y="494"/>
                  </a:lnTo>
                  <a:lnTo>
                    <a:pt x="2738" y="527"/>
                  </a:lnTo>
                  <a:lnTo>
                    <a:pt x="2726" y="551"/>
                  </a:lnTo>
                  <a:lnTo>
                    <a:pt x="2733" y="600"/>
                  </a:lnTo>
                  <a:lnTo>
                    <a:pt x="2750" y="638"/>
                  </a:lnTo>
                  <a:lnTo>
                    <a:pt x="2754" y="629"/>
                  </a:lnTo>
                  <a:lnTo>
                    <a:pt x="2754" y="612"/>
                  </a:lnTo>
                  <a:lnTo>
                    <a:pt x="2754" y="605"/>
                  </a:lnTo>
                  <a:lnTo>
                    <a:pt x="2764" y="605"/>
                  </a:lnTo>
                  <a:lnTo>
                    <a:pt x="2771" y="645"/>
                  </a:lnTo>
                  <a:lnTo>
                    <a:pt x="2780" y="638"/>
                  </a:lnTo>
                  <a:lnTo>
                    <a:pt x="2780" y="655"/>
                  </a:lnTo>
                  <a:lnTo>
                    <a:pt x="2780" y="662"/>
                  </a:lnTo>
                  <a:lnTo>
                    <a:pt x="2792" y="666"/>
                  </a:lnTo>
                  <a:lnTo>
                    <a:pt x="2825" y="666"/>
                  </a:lnTo>
                  <a:lnTo>
                    <a:pt x="2856" y="645"/>
                  </a:lnTo>
                  <a:lnTo>
                    <a:pt x="2863" y="622"/>
                  </a:lnTo>
                  <a:lnTo>
                    <a:pt x="2877" y="612"/>
                  </a:lnTo>
                  <a:lnTo>
                    <a:pt x="2889" y="589"/>
                  </a:lnTo>
                  <a:lnTo>
                    <a:pt x="2910" y="589"/>
                  </a:lnTo>
                  <a:lnTo>
                    <a:pt x="2943" y="584"/>
                  </a:lnTo>
                  <a:lnTo>
                    <a:pt x="2943" y="555"/>
                  </a:lnTo>
                  <a:lnTo>
                    <a:pt x="2986" y="534"/>
                  </a:lnTo>
                  <a:lnTo>
                    <a:pt x="3128" y="600"/>
                  </a:lnTo>
                  <a:lnTo>
                    <a:pt x="3149" y="600"/>
                  </a:lnTo>
                  <a:lnTo>
                    <a:pt x="3165" y="605"/>
                  </a:lnTo>
                  <a:lnTo>
                    <a:pt x="3187" y="605"/>
                  </a:lnTo>
                  <a:lnTo>
                    <a:pt x="3187" y="622"/>
                  </a:lnTo>
                  <a:lnTo>
                    <a:pt x="3213" y="612"/>
                  </a:lnTo>
                  <a:lnTo>
                    <a:pt x="3213" y="612"/>
                  </a:lnTo>
                  <a:lnTo>
                    <a:pt x="3213" y="612"/>
                  </a:lnTo>
                  <a:close/>
                  <a:moveTo>
                    <a:pt x="1869" y="461"/>
                  </a:moveTo>
                  <a:lnTo>
                    <a:pt x="1852" y="473"/>
                  </a:lnTo>
                  <a:lnTo>
                    <a:pt x="1864" y="456"/>
                  </a:lnTo>
                  <a:lnTo>
                    <a:pt x="1869" y="461"/>
                  </a:lnTo>
                  <a:lnTo>
                    <a:pt x="1869" y="461"/>
                  </a:lnTo>
                  <a:lnTo>
                    <a:pt x="1869" y="461"/>
                  </a:lnTo>
                  <a:close/>
                  <a:moveTo>
                    <a:pt x="2485" y="456"/>
                  </a:moveTo>
                  <a:lnTo>
                    <a:pt x="2485" y="461"/>
                  </a:lnTo>
                  <a:lnTo>
                    <a:pt x="2469" y="461"/>
                  </a:lnTo>
                  <a:lnTo>
                    <a:pt x="2485" y="456"/>
                  </a:lnTo>
                  <a:lnTo>
                    <a:pt x="2485" y="456"/>
                  </a:lnTo>
                  <a:lnTo>
                    <a:pt x="2485" y="456"/>
                  </a:lnTo>
                  <a:close/>
                  <a:moveTo>
                    <a:pt x="2246" y="473"/>
                  </a:moveTo>
                  <a:lnTo>
                    <a:pt x="2246" y="489"/>
                  </a:lnTo>
                  <a:lnTo>
                    <a:pt x="2242" y="489"/>
                  </a:lnTo>
                  <a:lnTo>
                    <a:pt x="2246" y="473"/>
                  </a:lnTo>
                  <a:lnTo>
                    <a:pt x="2246" y="473"/>
                  </a:lnTo>
                  <a:lnTo>
                    <a:pt x="2246" y="473"/>
                  </a:lnTo>
                  <a:close/>
                  <a:moveTo>
                    <a:pt x="2818" y="478"/>
                  </a:moveTo>
                  <a:lnTo>
                    <a:pt x="2839" y="478"/>
                  </a:lnTo>
                  <a:lnTo>
                    <a:pt x="2846" y="478"/>
                  </a:lnTo>
                  <a:lnTo>
                    <a:pt x="2872" y="501"/>
                  </a:lnTo>
                  <a:lnTo>
                    <a:pt x="2889" y="511"/>
                  </a:lnTo>
                  <a:lnTo>
                    <a:pt x="2872" y="518"/>
                  </a:lnTo>
                  <a:lnTo>
                    <a:pt x="2846" y="511"/>
                  </a:lnTo>
                  <a:lnTo>
                    <a:pt x="2839" y="489"/>
                  </a:lnTo>
                  <a:lnTo>
                    <a:pt x="2835" y="494"/>
                  </a:lnTo>
                  <a:lnTo>
                    <a:pt x="2825" y="489"/>
                  </a:lnTo>
                  <a:lnTo>
                    <a:pt x="2818" y="478"/>
                  </a:lnTo>
                  <a:lnTo>
                    <a:pt x="2818" y="478"/>
                  </a:lnTo>
                  <a:lnTo>
                    <a:pt x="2818" y="478"/>
                  </a:lnTo>
                  <a:close/>
                  <a:moveTo>
                    <a:pt x="2495" y="489"/>
                  </a:moveTo>
                  <a:lnTo>
                    <a:pt x="2499" y="489"/>
                  </a:lnTo>
                  <a:lnTo>
                    <a:pt x="2495" y="489"/>
                  </a:lnTo>
                  <a:lnTo>
                    <a:pt x="2461" y="494"/>
                  </a:lnTo>
                  <a:lnTo>
                    <a:pt x="2469" y="489"/>
                  </a:lnTo>
                  <a:lnTo>
                    <a:pt x="2495" y="489"/>
                  </a:lnTo>
                  <a:lnTo>
                    <a:pt x="2495" y="489"/>
                  </a:lnTo>
                  <a:lnTo>
                    <a:pt x="2495" y="489"/>
                  </a:lnTo>
                  <a:close/>
                  <a:moveTo>
                    <a:pt x="2499" y="494"/>
                  </a:moveTo>
                  <a:lnTo>
                    <a:pt x="2516" y="494"/>
                  </a:lnTo>
                  <a:lnTo>
                    <a:pt x="2511" y="527"/>
                  </a:lnTo>
                  <a:lnTo>
                    <a:pt x="2495" y="518"/>
                  </a:lnTo>
                  <a:lnTo>
                    <a:pt x="2485" y="501"/>
                  </a:lnTo>
                  <a:lnTo>
                    <a:pt x="2499" y="494"/>
                  </a:lnTo>
                  <a:lnTo>
                    <a:pt x="2499" y="494"/>
                  </a:lnTo>
                  <a:lnTo>
                    <a:pt x="2499" y="494"/>
                  </a:lnTo>
                  <a:close/>
                  <a:moveTo>
                    <a:pt x="286" y="551"/>
                  </a:moveTo>
                  <a:lnTo>
                    <a:pt x="279" y="546"/>
                  </a:lnTo>
                  <a:lnTo>
                    <a:pt x="279" y="555"/>
                  </a:lnTo>
                  <a:lnTo>
                    <a:pt x="269" y="555"/>
                  </a:lnTo>
                  <a:lnTo>
                    <a:pt x="248" y="546"/>
                  </a:lnTo>
                  <a:lnTo>
                    <a:pt x="232" y="511"/>
                  </a:lnTo>
                  <a:lnTo>
                    <a:pt x="236" y="494"/>
                  </a:lnTo>
                  <a:lnTo>
                    <a:pt x="253" y="494"/>
                  </a:lnTo>
                  <a:lnTo>
                    <a:pt x="286" y="551"/>
                  </a:lnTo>
                  <a:lnTo>
                    <a:pt x="286" y="551"/>
                  </a:lnTo>
                  <a:lnTo>
                    <a:pt x="286" y="551"/>
                  </a:lnTo>
                  <a:close/>
                  <a:moveTo>
                    <a:pt x="2780" y="494"/>
                  </a:moveTo>
                  <a:lnTo>
                    <a:pt x="2787" y="501"/>
                  </a:lnTo>
                  <a:lnTo>
                    <a:pt x="2780" y="511"/>
                  </a:lnTo>
                  <a:lnTo>
                    <a:pt x="2771" y="501"/>
                  </a:lnTo>
                  <a:lnTo>
                    <a:pt x="2780" y="494"/>
                  </a:lnTo>
                  <a:lnTo>
                    <a:pt x="2780" y="494"/>
                  </a:lnTo>
                  <a:lnTo>
                    <a:pt x="2780" y="494"/>
                  </a:lnTo>
                  <a:close/>
                  <a:moveTo>
                    <a:pt x="1021" y="501"/>
                  </a:moveTo>
                  <a:lnTo>
                    <a:pt x="1021" y="511"/>
                  </a:lnTo>
                  <a:lnTo>
                    <a:pt x="999" y="518"/>
                  </a:lnTo>
                  <a:lnTo>
                    <a:pt x="999" y="501"/>
                  </a:lnTo>
                  <a:lnTo>
                    <a:pt x="1021" y="501"/>
                  </a:lnTo>
                  <a:lnTo>
                    <a:pt x="1021" y="501"/>
                  </a:lnTo>
                  <a:lnTo>
                    <a:pt x="1021" y="501"/>
                  </a:lnTo>
                  <a:close/>
                  <a:moveTo>
                    <a:pt x="2431" y="511"/>
                  </a:moveTo>
                  <a:lnTo>
                    <a:pt x="2414" y="518"/>
                  </a:lnTo>
                  <a:lnTo>
                    <a:pt x="2431" y="511"/>
                  </a:lnTo>
                  <a:lnTo>
                    <a:pt x="2431" y="511"/>
                  </a:lnTo>
                  <a:lnTo>
                    <a:pt x="2431" y="511"/>
                  </a:lnTo>
                  <a:close/>
                  <a:moveTo>
                    <a:pt x="1982" y="518"/>
                  </a:moveTo>
                  <a:lnTo>
                    <a:pt x="1977" y="534"/>
                  </a:lnTo>
                  <a:lnTo>
                    <a:pt x="1970" y="534"/>
                  </a:lnTo>
                  <a:lnTo>
                    <a:pt x="1961" y="546"/>
                  </a:lnTo>
                  <a:lnTo>
                    <a:pt x="1954" y="546"/>
                  </a:lnTo>
                  <a:lnTo>
                    <a:pt x="1961" y="534"/>
                  </a:lnTo>
                  <a:lnTo>
                    <a:pt x="1954" y="527"/>
                  </a:lnTo>
                  <a:lnTo>
                    <a:pt x="1939" y="546"/>
                  </a:lnTo>
                  <a:lnTo>
                    <a:pt x="1928" y="534"/>
                  </a:lnTo>
                  <a:lnTo>
                    <a:pt x="1939" y="511"/>
                  </a:lnTo>
                  <a:lnTo>
                    <a:pt x="1961" y="511"/>
                  </a:lnTo>
                  <a:lnTo>
                    <a:pt x="1961" y="527"/>
                  </a:lnTo>
                  <a:lnTo>
                    <a:pt x="1977" y="518"/>
                  </a:lnTo>
                  <a:lnTo>
                    <a:pt x="1982" y="518"/>
                  </a:lnTo>
                  <a:lnTo>
                    <a:pt x="1982" y="518"/>
                  </a:lnTo>
                  <a:lnTo>
                    <a:pt x="1982" y="518"/>
                  </a:lnTo>
                  <a:close/>
                  <a:moveTo>
                    <a:pt x="2268" y="511"/>
                  </a:moveTo>
                  <a:lnTo>
                    <a:pt x="2268" y="518"/>
                  </a:lnTo>
                  <a:lnTo>
                    <a:pt x="2263" y="518"/>
                  </a:lnTo>
                  <a:lnTo>
                    <a:pt x="2268" y="511"/>
                  </a:lnTo>
                  <a:lnTo>
                    <a:pt x="2268" y="511"/>
                  </a:lnTo>
                  <a:lnTo>
                    <a:pt x="2268" y="511"/>
                  </a:lnTo>
                  <a:close/>
                  <a:moveTo>
                    <a:pt x="2251" y="546"/>
                  </a:moveTo>
                  <a:lnTo>
                    <a:pt x="2263" y="534"/>
                  </a:lnTo>
                  <a:lnTo>
                    <a:pt x="2268" y="527"/>
                  </a:lnTo>
                  <a:lnTo>
                    <a:pt x="2306" y="551"/>
                  </a:lnTo>
                  <a:lnTo>
                    <a:pt x="2301" y="551"/>
                  </a:lnTo>
                  <a:lnTo>
                    <a:pt x="2268" y="551"/>
                  </a:lnTo>
                  <a:lnTo>
                    <a:pt x="2251" y="551"/>
                  </a:lnTo>
                  <a:lnTo>
                    <a:pt x="2251" y="546"/>
                  </a:lnTo>
                  <a:lnTo>
                    <a:pt x="2251" y="546"/>
                  </a:lnTo>
                  <a:lnTo>
                    <a:pt x="2251" y="546"/>
                  </a:lnTo>
                  <a:close/>
                  <a:moveTo>
                    <a:pt x="803" y="645"/>
                  </a:moveTo>
                  <a:lnTo>
                    <a:pt x="803" y="655"/>
                  </a:lnTo>
                  <a:lnTo>
                    <a:pt x="787" y="655"/>
                  </a:lnTo>
                  <a:lnTo>
                    <a:pt x="787" y="645"/>
                  </a:lnTo>
                  <a:lnTo>
                    <a:pt x="749" y="629"/>
                  </a:lnTo>
                  <a:lnTo>
                    <a:pt x="749" y="622"/>
                  </a:lnTo>
                  <a:lnTo>
                    <a:pt x="749" y="605"/>
                  </a:lnTo>
                  <a:lnTo>
                    <a:pt x="739" y="600"/>
                  </a:lnTo>
                  <a:lnTo>
                    <a:pt x="735" y="584"/>
                  </a:lnTo>
                  <a:lnTo>
                    <a:pt x="697" y="572"/>
                  </a:lnTo>
                  <a:lnTo>
                    <a:pt x="697" y="567"/>
                  </a:lnTo>
                  <a:lnTo>
                    <a:pt x="711" y="555"/>
                  </a:lnTo>
                  <a:lnTo>
                    <a:pt x="711" y="551"/>
                  </a:lnTo>
                  <a:lnTo>
                    <a:pt x="711" y="546"/>
                  </a:lnTo>
                  <a:lnTo>
                    <a:pt x="723" y="546"/>
                  </a:lnTo>
                  <a:lnTo>
                    <a:pt x="735" y="551"/>
                  </a:lnTo>
                  <a:lnTo>
                    <a:pt x="739" y="555"/>
                  </a:lnTo>
                  <a:lnTo>
                    <a:pt x="735" y="546"/>
                  </a:lnTo>
                  <a:lnTo>
                    <a:pt x="749" y="534"/>
                  </a:lnTo>
                  <a:lnTo>
                    <a:pt x="756" y="546"/>
                  </a:lnTo>
                  <a:lnTo>
                    <a:pt x="773" y="600"/>
                  </a:lnTo>
                  <a:lnTo>
                    <a:pt x="810" y="612"/>
                  </a:lnTo>
                  <a:lnTo>
                    <a:pt x="794" y="638"/>
                  </a:lnTo>
                  <a:lnTo>
                    <a:pt x="803" y="645"/>
                  </a:lnTo>
                  <a:lnTo>
                    <a:pt x="803" y="645"/>
                  </a:lnTo>
                  <a:lnTo>
                    <a:pt x="803" y="645"/>
                  </a:lnTo>
                  <a:close/>
                  <a:moveTo>
                    <a:pt x="966" y="546"/>
                  </a:moveTo>
                  <a:lnTo>
                    <a:pt x="954" y="551"/>
                  </a:lnTo>
                  <a:lnTo>
                    <a:pt x="950" y="546"/>
                  </a:lnTo>
                  <a:lnTo>
                    <a:pt x="966" y="546"/>
                  </a:lnTo>
                  <a:lnTo>
                    <a:pt x="966" y="546"/>
                  </a:lnTo>
                  <a:lnTo>
                    <a:pt x="966" y="546"/>
                  </a:lnTo>
                  <a:close/>
                  <a:moveTo>
                    <a:pt x="2825" y="546"/>
                  </a:moveTo>
                  <a:lnTo>
                    <a:pt x="2927" y="555"/>
                  </a:lnTo>
                  <a:lnTo>
                    <a:pt x="2894" y="567"/>
                  </a:lnTo>
                  <a:lnTo>
                    <a:pt x="2872" y="567"/>
                  </a:lnTo>
                  <a:lnTo>
                    <a:pt x="2818" y="546"/>
                  </a:lnTo>
                  <a:lnTo>
                    <a:pt x="2825" y="546"/>
                  </a:lnTo>
                  <a:lnTo>
                    <a:pt x="2825" y="546"/>
                  </a:lnTo>
                  <a:lnTo>
                    <a:pt x="2825" y="546"/>
                  </a:lnTo>
                  <a:close/>
                  <a:moveTo>
                    <a:pt x="2046" y="551"/>
                  </a:moveTo>
                  <a:lnTo>
                    <a:pt x="2100" y="551"/>
                  </a:lnTo>
                  <a:lnTo>
                    <a:pt x="2105" y="551"/>
                  </a:lnTo>
                  <a:lnTo>
                    <a:pt x="2105" y="567"/>
                  </a:lnTo>
                  <a:lnTo>
                    <a:pt x="2079" y="567"/>
                  </a:lnTo>
                  <a:lnTo>
                    <a:pt x="2046" y="572"/>
                  </a:lnTo>
                  <a:lnTo>
                    <a:pt x="2036" y="555"/>
                  </a:lnTo>
                  <a:lnTo>
                    <a:pt x="2046" y="551"/>
                  </a:lnTo>
                  <a:lnTo>
                    <a:pt x="2046" y="551"/>
                  </a:lnTo>
                  <a:lnTo>
                    <a:pt x="2046" y="551"/>
                  </a:lnTo>
                  <a:close/>
                  <a:moveTo>
                    <a:pt x="2461" y="551"/>
                  </a:moveTo>
                  <a:lnTo>
                    <a:pt x="2469" y="555"/>
                  </a:lnTo>
                  <a:lnTo>
                    <a:pt x="2461" y="572"/>
                  </a:lnTo>
                  <a:lnTo>
                    <a:pt x="2445" y="572"/>
                  </a:lnTo>
                  <a:lnTo>
                    <a:pt x="2414" y="567"/>
                  </a:lnTo>
                  <a:lnTo>
                    <a:pt x="2461" y="551"/>
                  </a:lnTo>
                  <a:lnTo>
                    <a:pt x="2461" y="551"/>
                  </a:lnTo>
                  <a:lnTo>
                    <a:pt x="2461" y="551"/>
                  </a:lnTo>
                  <a:close/>
                  <a:moveTo>
                    <a:pt x="1961" y="555"/>
                  </a:moveTo>
                  <a:lnTo>
                    <a:pt x="1954" y="567"/>
                  </a:lnTo>
                  <a:lnTo>
                    <a:pt x="1954" y="555"/>
                  </a:lnTo>
                  <a:lnTo>
                    <a:pt x="1961" y="555"/>
                  </a:lnTo>
                  <a:lnTo>
                    <a:pt x="1961" y="555"/>
                  </a:lnTo>
                  <a:lnTo>
                    <a:pt x="1961" y="555"/>
                  </a:lnTo>
                  <a:close/>
                  <a:moveTo>
                    <a:pt x="2117" y="555"/>
                  </a:moveTo>
                  <a:lnTo>
                    <a:pt x="2187" y="555"/>
                  </a:lnTo>
                  <a:lnTo>
                    <a:pt x="2121" y="567"/>
                  </a:lnTo>
                  <a:lnTo>
                    <a:pt x="2105" y="567"/>
                  </a:lnTo>
                  <a:lnTo>
                    <a:pt x="2117" y="555"/>
                  </a:lnTo>
                  <a:lnTo>
                    <a:pt x="2117" y="555"/>
                  </a:lnTo>
                  <a:lnTo>
                    <a:pt x="2117" y="555"/>
                  </a:lnTo>
                  <a:close/>
                  <a:moveTo>
                    <a:pt x="2008" y="567"/>
                  </a:moveTo>
                  <a:lnTo>
                    <a:pt x="2008" y="572"/>
                  </a:lnTo>
                  <a:lnTo>
                    <a:pt x="1998" y="567"/>
                  </a:lnTo>
                  <a:lnTo>
                    <a:pt x="2008" y="567"/>
                  </a:lnTo>
                  <a:lnTo>
                    <a:pt x="2008" y="567"/>
                  </a:lnTo>
                  <a:lnTo>
                    <a:pt x="2008" y="567"/>
                  </a:lnTo>
                  <a:close/>
                  <a:moveTo>
                    <a:pt x="2154" y="572"/>
                  </a:moveTo>
                  <a:lnTo>
                    <a:pt x="2159" y="605"/>
                  </a:lnTo>
                  <a:lnTo>
                    <a:pt x="2143" y="584"/>
                  </a:lnTo>
                  <a:lnTo>
                    <a:pt x="2154" y="572"/>
                  </a:lnTo>
                  <a:lnTo>
                    <a:pt x="2154" y="572"/>
                  </a:lnTo>
                  <a:lnTo>
                    <a:pt x="2154" y="572"/>
                  </a:lnTo>
                  <a:close/>
                  <a:moveTo>
                    <a:pt x="324" y="600"/>
                  </a:moveTo>
                  <a:lnTo>
                    <a:pt x="302" y="589"/>
                  </a:lnTo>
                  <a:lnTo>
                    <a:pt x="302" y="572"/>
                  </a:lnTo>
                  <a:lnTo>
                    <a:pt x="307" y="572"/>
                  </a:lnTo>
                  <a:lnTo>
                    <a:pt x="324" y="600"/>
                  </a:lnTo>
                  <a:lnTo>
                    <a:pt x="324" y="600"/>
                  </a:lnTo>
                  <a:lnTo>
                    <a:pt x="324" y="600"/>
                  </a:lnTo>
                  <a:close/>
                  <a:moveTo>
                    <a:pt x="345" y="629"/>
                  </a:moveTo>
                  <a:lnTo>
                    <a:pt x="333" y="629"/>
                  </a:lnTo>
                  <a:lnTo>
                    <a:pt x="333" y="605"/>
                  </a:lnTo>
                  <a:lnTo>
                    <a:pt x="345" y="629"/>
                  </a:lnTo>
                  <a:lnTo>
                    <a:pt x="345" y="629"/>
                  </a:lnTo>
                  <a:lnTo>
                    <a:pt x="345" y="629"/>
                  </a:lnTo>
                  <a:close/>
                  <a:moveTo>
                    <a:pt x="862" y="629"/>
                  </a:moveTo>
                  <a:lnTo>
                    <a:pt x="874" y="612"/>
                  </a:lnTo>
                  <a:lnTo>
                    <a:pt x="879" y="612"/>
                  </a:lnTo>
                  <a:lnTo>
                    <a:pt x="900" y="612"/>
                  </a:lnTo>
                  <a:lnTo>
                    <a:pt x="917" y="638"/>
                  </a:lnTo>
                  <a:lnTo>
                    <a:pt x="900" y="662"/>
                  </a:lnTo>
                  <a:lnTo>
                    <a:pt x="895" y="662"/>
                  </a:lnTo>
                  <a:lnTo>
                    <a:pt x="891" y="645"/>
                  </a:lnTo>
                  <a:lnTo>
                    <a:pt x="879" y="655"/>
                  </a:lnTo>
                  <a:lnTo>
                    <a:pt x="862" y="662"/>
                  </a:lnTo>
                  <a:lnTo>
                    <a:pt x="862" y="629"/>
                  </a:lnTo>
                  <a:lnTo>
                    <a:pt x="862" y="629"/>
                  </a:lnTo>
                  <a:lnTo>
                    <a:pt x="862" y="629"/>
                  </a:lnTo>
                  <a:close/>
                  <a:moveTo>
                    <a:pt x="361" y="666"/>
                  </a:moveTo>
                  <a:lnTo>
                    <a:pt x="345" y="645"/>
                  </a:lnTo>
                  <a:lnTo>
                    <a:pt x="345" y="629"/>
                  </a:lnTo>
                  <a:lnTo>
                    <a:pt x="361" y="645"/>
                  </a:lnTo>
                  <a:lnTo>
                    <a:pt x="361" y="655"/>
                  </a:lnTo>
                  <a:lnTo>
                    <a:pt x="361" y="666"/>
                  </a:lnTo>
                  <a:lnTo>
                    <a:pt x="361" y="666"/>
                  </a:lnTo>
                  <a:lnTo>
                    <a:pt x="361" y="666"/>
                  </a:lnTo>
                  <a:close/>
                  <a:moveTo>
                    <a:pt x="2294" y="683"/>
                  </a:moveTo>
                  <a:lnTo>
                    <a:pt x="2284" y="662"/>
                  </a:lnTo>
                  <a:lnTo>
                    <a:pt x="2306" y="638"/>
                  </a:lnTo>
                  <a:lnTo>
                    <a:pt x="2360" y="638"/>
                  </a:lnTo>
                  <a:lnTo>
                    <a:pt x="2376" y="645"/>
                  </a:lnTo>
                  <a:lnTo>
                    <a:pt x="2407" y="629"/>
                  </a:lnTo>
                  <a:lnTo>
                    <a:pt x="2440" y="645"/>
                  </a:lnTo>
                  <a:lnTo>
                    <a:pt x="2461" y="645"/>
                  </a:lnTo>
                  <a:lnTo>
                    <a:pt x="2478" y="655"/>
                  </a:lnTo>
                  <a:lnTo>
                    <a:pt x="2485" y="666"/>
                  </a:lnTo>
                  <a:lnTo>
                    <a:pt x="2495" y="678"/>
                  </a:lnTo>
                  <a:lnTo>
                    <a:pt x="2499" y="683"/>
                  </a:lnTo>
                  <a:lnTo>
                    <a:pt x="2495" y="711"/>
                  </a:lnTo>
                  <a:lnTo>
                    <a:pt x="2440" y="678"/>
                  </a:lnTo>
                  <a:lnTo>
                    <a:pt x="2431" y="666"/>
                  </a:lnTo>
                  <a:lnTo>
                    <a:pt x="2402" y="666"/>
                  </a:lnTo>
                  <a:lnTo>
                    <a:pt x="2402" y="678"/>
                  </a:lnTo>
                  <a:lnTo>
                    <a:pt x="2360" y="666"/>
                  </a:lnTo>
                  <a:lnTo>
                    <a:pt x="2369" y="662"/>
                  </a:lnTo>
                  <a:lnTo>
                    <a:pt x="2360" y="662"/>
                  </a:lnTo>
                  <a:lnTo>
                    <a:pt x="2332" y="678"/>
                  </a:lnTo>
                  <a:lnTo>
                    <a:pt x="2306" y="655"/>
                  </a:lnTo>
                  <a:lnTo>
                    <a:pt x="2294" y="683"/>
                  </a:lnTo>
                  <a:lnTo>
                    <a:pt x="2294" y="683"/>
                  </a:lnTo>
                  <a:lnTo>
                    <a:pt x="2294" y="683"/>
                  </a:lnTo>
                  <a:close/>
                  <a:moveTo>
                    <a:pt x="858" y="629"/>
                  </a:moveTo>
                  <a:lnTo>
                    <a:pt x="858" y="638"/>
                  </a:lnTo>
                  <a:lnTo>
                    <a:pt x="848" y="638"/>
                  </a:lnTo>
                  <a:lnTo>
                    <a:pt x="858" y="629"/>
                  </a:lnTo>
                  <a:lnTo>
                    <a:pt x="858" y="629"/>
                  </a:lnTo>
                  <a:lnTo>
                    <a:pt x="858" y="629"/>
                  </a:lnTo>
                  <a:close/>
                  <a:moveTo>
                    <a:pt x="810" y="638"/>
                  </a:moveTo>
                  <a:lnTo>
                    <a:pt x="820" y="638"/>
                  </a:lnTo>
                  <a:lnTo>
                    <a:pt x="820" y="645"/>
                  </a:lnTo>
                  <a:lnTo>
                    <a:pt x="803" y="645"/>
                  </a:lnTo>
                  <a:lnTo>
                    <a:pt x="810" y="638"/>
                  </a:lnTo>
                  <a:lnTo>
                    <a:pt x="810" y="638"/>
                  </a:lnTo>
                  <a:lnTo>
                    <a:pt x="810" y="638"/>
                  </a:lnTo>
                  <a:close/>
                  <a:moveTo>
                    <a:pt x="2294" y="638"/>
                  </a:moveTo>
                  <a:lnTo>
                    <a:pt x="2294" y="645"/>
                  </a:lnTo>
                  <a:lnTo>
                    <a:pt x="2284" y="645"/>
                  </a:lnTo>
                  <a:lnTo>
                    <a:pt x="2294" y="638"/>
                  </a:lnTo>
                  <a:lnTo>
                    <a:pt x="2294" y="638"/>
                  </a:lnTo>
                  <a:lnTo>
                    <a:pt x="2294" y="638"/>
                  </a:lnTo>
                  <a:close/>
                  <a:moveTo>
                    <a:pt x="2171" y="655"/>
                  </a:moveTo>
                  <a:lnTo>
                    <a:pt x="2171" y="662"/>
                  </a:lnTo>
                  <a:lnTo>
                    <a:pt x="2187" y="655"/>
                  </a:lnTo>
                  <a:lnTo>
                    <a:pt x="2209" y="645"/>
                  </a:lnTo>
                  <a:lnTo>
                    <a:pt x="2230" y="655"/>
                  </a:lnTo>
                  <a:lnTo>
                    <a:pt x="2242" y="662"/>
                  </a:lnTo>
                  <a:lnTo>
                    <a:pt x="2230" y="666"/>
                  </a:lnTo>
                  <a:lnTo>
                    <a:pt x="2246" y="666"/>
                  </a:lnTo>
                  <a:lnTo>
                    <a:pt x="2246" y="695"/>
                  </a:lnTo>
                  <a:lnTo>
                    <a:pt x="2209" y="700"/>
                  </a:lnTo>
                  <a:lnTo>
                    <a:pt x="2192" y="700"/>
                  </a:lnTo>
                  <a:lnTo>
                    <a:pt x="2159" y="678"/>
                  </a:lnTo>
                  <a:lnTo>
                    <a:pt x="2159" y="662"/>
                  </a:lnTo>
                  <a:lnTo>
                    <a:pt x="2171" y="655"/>
                  </a:lnTo>
                  <a:lnTo>
                    <a:pt x="2171" y="655"/>
                  </a:lnTo>
                  <a:lnTo>
                    <a:pt x="2171" y="655"/>
                  </a:lnTo>
                  <a:close/>
                  <a:moveTo>
                    <a:pt x="2280" y="655"/>
                  </a:moveTo>
                  <a:lnTo>
                    <a:pt x="2284" y="662"/>
                  </a:lnTo>
                  <a:lnTo>
                    <a:pt x="2268" y="662"/>
                  </a:lnTo>
                  <a:lnTo>
                    <a:pt x="2280" y="655"/>
                  </a:lnTo>
                  <a:lnTo>
                    <a:pt x="2280" y="655"/>
                  </a:lnTo>
                  <a:lnTo>
                    <a:pt x="2280" y="655"/>
                  </a:lnTo>
                  <a:close/>
                  <a:moveTo>
                    <a:pt x="1474" y="662"/>
                  </a:moveTo>
                  <a:lnTo>
                    <a:pt x="1474" y="711"/>
                  </a:lnTo>
                  <a:lnTo>
                    <a:pt x="1458" y="716"/>
                  </a:lnTo>
                  <a:lnTo>
                    <a:pt x="1458" y="695"/>
                  </a:lnTo>
                  <a:lnTo>
                    <a:pt x="1469" y="666"/>
                  </a:lnTo>
                  <a:lnTo>
                    <a:pt x="1474" y="662"/>
                  </a:lnTo>
                  <a:lnTo>
                    <a:pt x="1474" y="662"/>
                  </a:lnTo>
                  <a:lnTo>
                    <a:pt x="1474" y="662"/>
                  </a:lnTo>
                  <a:close/>
                  <a:moveTo>
                    <a:pt x="2268" y="662"/>
                  </a:moveTo>
                  <a:lnTo>
                    <a:pt x="2268" y="666"/>
                  </a:lnTo>
                  <a:lnTo>
                    <a:pt x="2263" y="666"/>
                  </a:lnTo>
                  <a:lnTo>
                    <a:pt x="2268" y="662"/>
                  </a:lnTo>
                  <a:lnTo>
                    <a:pt x="2268" y="662"/>
                  </a:lnTo>
                  <a:lnTo>
                    <a:pt x="2268" y="662"/>
                  </a:lnTo>
                  <a:close/>
                  <a:moveTo>
                    <a:pt x="1484" y="678"/>
                  </a:moveTo>
                  <a:lnTo>
                    <a:pt x="1484" y="695"/>
                  </a:lnTo>
                  <a:lnTo>
                    <a:pt x="1474" y="683"/>
                  </a:lnTo>
                  <a:lnTo>
                    <a:pt x="1484" y="678"/>
                  </a:lnTo>
                  <a:lnTo>
                    <a:pt x="1484" y="678"/>
                  </a:lnTo>
                  <a:lnTo>
                    <a:pt x="1484" y="678"/>
                  </a:lnTo>
                  <a:close/>
                  <a:moveTo>
                    <a:pt x="2339" y="678"/>
                  </a:moveTo>
                  <a:lnTo>
                    <a:pt x="2348" y="678"/>
                  </a:lnTo>
                  <a:lnTo>
                    <a:pt x="2348" y="683"/>
                  </a:lnTo>
                  <a:lnTo>
                    <a:pt x="2339" y="695"/>
                  </a:lnTo>
                  <a:lnTo>
                    <a:pt x="2339" y="678"/>
                  </a:lnTo>
                  <a:lnTo>
                    <a:pt x="2339" y="678"/>
                  </a:lnTo>
                  <a:lnTo>
                    <a:pt x="2339" y="678"/>
                  </a:lnTo>
                  <a:close/>
                  <a:moveTo>
                    <a:pt x="2301" y="683"/>
                  </a:moveTo>
                  <a:lnTo>
                    <a:pt x="2322" y="683"/>
                  </a:lnTo>
                  <a:lnTo>
                    <a:pt x="2317" y="700"/>
                  </a:lnTo>
                  <a:lnTo>
                    <a:pt x="2306" y="700"/>
                  </a:lnTo>
                  <a:lnTo>
                    <a:pt x="2306" y="695"/>
                  </a:lnTo>
                  <a:lnTo>
                    <a:pt x="2294" y="700"/>
                  </a:lnTo>
                  <a:lnTo>
                    <a:pt x="2294" y="695"/>
                  </a:lnTo>
                  <a:lnTo>
                    <a:pt x="2301" y="683"/>
                  </a:lnTo>
                  <a:lnTo>
                    <a:pt x="2301" y="683"/>
                  </a:lnTo>
                  <a:lnTo>
                    <a:pt x="2301" y="683"/>
                  </a:lnTo>
                  <a:close/>
                  <a:moveTo>
                    <a:pt x="2332" y="683"/>
                  </a:moveTo>
                  <a:lnTo>
                    <a:pt x="2339" y="683"/>
                  </a:lnTo>
                  <a:lnTo>
                    <a:pt x="2322" y="695"/>
                  </a:lnTo>
                  <a:lnTo>
                    <a:pt x="2332" y="683"/>
                  </a:lnTo>
                  <a:lnTo>
                    <a:pt x="2332" y="683"/>
                  </a:lnTo>
                  <a:lnTo>
                    <a:pt x="2332" y="683"/>
                  </a:lnTo>
                  <a:close/>
                  <a:moveTo>
                    <a:pt x="1954" y="683"/>
                  </a:moveTo>
                  <a:lnTo>
                    <a:pt x="1961" y="683"/>
                  </a:lnTo>
                  <a:lnTo>
                    <a:pt x="1954" y="695"/>
                  </a:lnTo>
                  <a:lnTo>
                    <a:pt x="1954" y="683"/>
                  </a:lnTo>
                  <a:lnTo>
                    <a:pt x="1954" y="683"/>
                  </a:lnTo>
                  <a:lnTo>
                    <a:pt x="1954" y="683"/>
                  </a:lnTo>
                  <a:close/>
                  <a:moveTo>
                    <a:pt x="2246" y="700"/>
                  </a:moveTo>
                  <a:lnTo>
                    <a:pt x="2246" y="711"/>
                  </a:lnTo>
                  <a:lnTo>
                    <a:pt x="2242" y="711"/>
                  </a:lnTo>
                  <a:lnTo>
                    <a:pt x="2246" y="700"/>
                  </a:lnTo>
                  <a:lnTo>
                    <a:pt x="2246" y="700"/>
                  </a:lnTo>
                  <a:lnTo>
                    <a:pt x="2246" y="700"/>
                  </a:lnTo>
                  <a:close/>
                  <a:moveTo>
                    <a:pt x="2726" y="711"/>
                  </a:moveTo>
                  <a:lnTo>
                    <a:pt x="2733" y="716"/>
                  </a:lnTo>
                  <a:lnTo>
                    <a:pt x="2726" y="711"/>
                  </a:lnTo>
                  <a:lnTo>
                    <a:pt x="2726" y="711"/>
                  </a:lnTo>
                  <a:lnTo>
                    <a:pt x="2726" y="711"/>
                  </a:lnTo>
                  <a:close/>
                  <a:moveTo>
                    <a:pt x="1954" y="716"/>
                  </a:moveTo>
                  <a:lnTo>
                    <a:pt x="1970" y="723"/>
                  </a:lnTo>
                  <a:lnTo>
                    <a:pt x="1961" y="733"/>
                  </a:lnTo>
                  <a:lnTo>
                    <a:pt x="1944" y="723"/>
                  </a:lnTo>
                  <a:lnTo>
                    <a:pt x="1954" y="716"/>
                  </a:lnTo>
                  <a:lnTo>
                    <a:pt x="1954" y="716"/>
                  </a:lnTo>
                  <a:lnTo>
                    <a:pt x="1954" y="716"/>
                  </a:lnTo>
                  <a:close/>
                  <a:moveTo>
                    <a:pt x="2674" y="723"/>
                  </a:moveTo>
                  <a:lnTo>
                    <a:pt x="2695" y="740"/>
                  </a:lnTo>
                  <a:lnTo>
                    <a:pt x="2674" y="733"/>
                  </a:lnTo>
                  <a:lnTo>
                    <a:pt x="2674" y="723"/>
                  </a:lnTo>
                  <a:lnTo>
                    <a:pt x="2674" y="723"/>
                  </a:lnTo>
                  <a:lnTo>
                    <a:pt x="2674" y="723"/>
                  </a:lnTo>
                  <a:close/>
                  <a:moveTo>
                    <a:pt x="1954" y="749"/>
                  </a:moveTo>
                  <a:lnTo>
                    <a:pt x="1961" y="756"/>
                  </a:lnTo>
                  <a:lnTo>
                    <a:pt x="1961" y="778"/>
                  </a:lnTo>
                  <a:lnTo>
                    <a:pt x="1954" y="766"/>
                  </a:lnTo>
                  <a:lnTo>
                    <a:pt x="1954" y="773"/>
                  </a:lnTo>
                  <a:lnTo>
                    <a:pt x="1944" y="794"/>
                  </a:lnTo>
                  <a:lnTo>
                    <a:pt x="1961" y="811"/>
                  </a:lnTo>
                  <a:lnTo>
                    <a:pt x="1939" y="822"/>
                  </a:lnTo>
                  <a:lnTo>
                    <a:pt x="1939" y="834"/>
                  </a:lnTo>
                  <a:lnTo>
                    <a:pt x="1923" y="834"/>
                  </a:lnTo>
                  <a:lnTo>
                    <a:pt x="1916" y="827"/>
                  </a:lnTo>
                  <a:lnTo>
                    <a:pt x="1928" y="794"/>
                  </a:lnTo>
                  <a:lnTo>
                    <a:pt x="1939" y="756"/>
                  </a:lnTo>
                  <a:lnTo>
                    <a:pt x="1954" y="749"/>
                  </a:lnTo>
                  <a:lnTo>
                    <a:pt x="1954" y="749"/>
                  </a:lnTo>
                  <a:lnTo>
                    <a:pt x="1954" y="749"/>
                  </a:lnTo>
                  <a:close/>
                  <a:moveTo>
                    <a:pt x="1928" y="766"/>
                  </a:moveTo>
                  <a:lnTo>
                    <a:pt x="1928" y="789"/>
                  </a:lnTo>
                  <a:lnTo>
                    <a:pt x="1923" y="806"/>
                  </a:lnTo>
                  <a:lnTo>
                    <a:pt x="1923" y="811"/>
                  </a:lnTo>
                  <a:lnTo>
                    <a:pt x="1916" y="822"/>
                  </a:lnTo>
                  <a:lnTo>
                    <a:pt x="1902" y="822"/>
                  </a:lnTo>
                  <a:lnTo>
                    <a:pt x="1906" y="794"/>
                  </a:lnTo>
                  <a:lnTo>
                    <a:pt x="1902" y="778"/>
                  </a:lnTo>
                  <a:lnTo>
                    <a:pt x="1928" y="766"/>
                  </a:lnTo>
                  <a:lnTo>
                    <a:pt x="1928" y="766"/>
                  </a:lnTo>
                  <a:lnTo>
                    <a:pt x="1928" y="766"/>
                  </a:lnTo>
                  <a:close/>
                  <a:moveTo>
                    <a:pt x="1873" y="794"/>
                  </a:moveTo>
                  <a:lnTo>
                    <a:pt x="1885" y="822"/>
                  </a:lnTo>
                  <a:lnTo>
                    <a:pt x="1873" y="822"/>
                  </a:lnTo>
                  <a:lnTo>
                    <a:pt x="1864" y="811"/>
                  </a:lnTo>
                  <a:lnTo>
                    <a:pt x="1869" y="794"/>
                  </a:lnTo>
                  <a:lnTo>
                    <a:pt x="1873" y="794"/>
                  </a:lnTo>
                  <a:lnTo>
                    <a:pt x="1873" y="794"/>
                  </a:lnTo>
                  <a:lnTo>
                    <a:pt x="1873" y="794"/>
                  </a:lnTo>
                  <a:close/>
                  <a:moveTo>
                    <a:pt x="501" y="827"/>
                  </a:moveTo>
                  <a:lnTo>
                    <a:pt x="480" y="811"/>
                  </a:lnTo>
                  <a:lnTo>
                    <a:pt x="484" y="811"/>
                  </a:lnTo>
                  <a:lnTo>
                    <a:pt x="501" y="822"/>
                  </a:lnTo>
                  <a:lnTo>
                    <a:pt x="501" y="827"/>
                  </a:lnTo>
                  <a:lnTo>
                    <a:pt x="501" y="827"/>
                  </a:lnTo>
                  <a:lnTo>
                    <a:pt x="501" y="827"/>
                  </a:lnTo>
                  <a:close/>
                  <a:moveTo>
                    <a:pt x="2662" y="811"/>
                  </a:moveTo>
                  <a:lnTo>
                    <a:pt x="2658" y="834"/>
                  </a:lnTo>
                  <a:lnTo>
                    <a:pt x="2641" y="860"/>
                  </a:lnTo>
                  <a:lnTo>
                    <a:pt x="2658" y="811"/>
                  </a:lnTo>
                  <a:lnTo>
                    <a:pt x="2662" y="811"/>
                  </a:lnTo>
                  <a:lnTo>
                    <a:pt x="2662" y="811"/>
                  </a:lnTo>
                  <a:lnTo>
                    <a:pt x="2662" y="811"/>
                  </a:lnTo>
                  <a:close/>
                  <a:moveTo>
                    <a:pt x="2754" y="822"/>
                  </a:moveTo>
                  <a:lnTo>
                    <a:pt x="2764" y="827"/>
                  </a:lnTo>
                  <a:lnTo>
                    <a:pt x="2771" y="851"/>
                  </a:lnTo>
                  <a:lnTo>
                    <a:pt x="2771" y="860"/>
                  </a:lnTo>
                  <a:lnTo>
                    <a:pt x="2764" y="860"/>
                  </a:lnTo>
                  <a:lnTo>
                    <a:pt x="2738" y="860"/>
                  </a:lnTo>
                  <a:lnTo>
                    <a:pt x="2750" y="844"/>
                  </a:lnTo>
                  <a:lnTo>
                    <a:pt x="2733" y="844"/>
                  </a:lnTo>
                  <a:lnTo>
                    <a:pt x="2738" y="844"/>
                  </a:lnTo>
                  <a:lnTo>
                    <a:pt x="2754" y="822"/>
                  </a:lnTo>
                  <a:lnTo>
                    <a:pt x="2754" y="822"/>
                  </a:lnTo>
                  <a:lnTo>
                    <a:pt x="2754" y="822"/>
                  </a:lnTo>
                  <a:close/>
                  <a:moveTo>
                    <a:pt x="2629" y="834"/>
                  </a:moveTo>
                  <a:lnTo>
                    <a:pt x="2629" y="851"/>
                  </a:lnTo>
                  <a:lnTo>
                    <a:pt x="2629" y="860"/>
                  </a:lnTo>
                  <a:lnTo>
                    <a:pt x="2624" y="834"/>
                  </a:lnTo>
                  <a:lnTo>
                    <a:pt x="2629" y="834"/>
                  </a:lnTo>
                  <a:lnTo>
                    <a:pt x="2629" y="834"/>
                  </a:lnTo>
                  <a:lnTo>
                    <a:pt x="2629" y="834"/>
                  </a:lnTo>
                  <a:close/>
                  <a:moveTo>
                    <a:pt x="1226" y="844"/>
                  </a:moveTo>
                  <a:lnTo>
                    <a:pt x="1226" y="851"/>
                  </a:lnTo>
                  <a:lnTo>
                    <a:pt x="1219" y="851"/>
                  </a:lnTo>
                  <a:lnTo>
                    <a:pt x="1226" y="844"/>
                  </a:lnTo>
                  <a:lnTo>
                    <a:pt x="1226" y="844"/>
                  </a:lnTo>
                  <a:lnTo>
                    <a:pt x="1226" y="844"/>
                  </a:lnTo>
                  <a:close/>
                  <a:moveTo>
                    <a:pt x="1765" y="844"/>
                  </a:moveTo>
                  <a:lnTo>
                    <a:pt x="1776" y="867"/>
                  </a:lnTo>
                  <a:lnTo>
                    <a:pt x="1765" y="900"/>
                  </a:lnTo>
                  <a:lnTo>
                    <a:pt x="1765" y="844"/>
                  </a:lnTo>
                  <a:lnTo>
                    <a:pt x="1765" y="844"/>
                  </a:lnTo>
                  <a:lnTo>
                    <a:pt x="1765" y="844"/>
                  </a:lnTo>
                  <a:close/>
                  <a:moveTo>
                    <a:pt x="1361" y="1066"/>
                  </a:moveTo>
                  <a:lnTo>
                    <a:pt x="1332" y="1049"/>
                  </a:lnTo>
                  <a:lnTo>
                    <a:pt x="1323" y="1049"/>
                  </a:lnTo>
                  <a:lnTo>
                    <a:pt x="1295" y="1044"/>
                  </a:lnTo>
                  <a:lnTo>
                    <a:pt x="1257" y="1028"/>
                  </a:lnTo>
                  <a:lnTo>
                    <a:pt x="1219" y="1033"/>
                  </a:lnTo>
                  <a:lnTo>
                    <a:pt x="1160" y="1028"/>
                  </a:lnTo>
                  <a:lnTo>
                    <a:pt x="1150" y="1033"/>
                  </a:lnTo>
                  <a:lnTo>
                    <a:pt x="1080" y="1016"/>
                  </a:lnTo>
                  <a:lnTo>
                    <a:pt x="1037" y="995"/>
                  </a:lnTo>
                  <a:lnTo>
                    <a:pt x="987" y="988"/>
                  </a:lnTo>
                  <a:lnTo>
                    <a:pt x="966" y="988"/>
                  </a:lnTo>
                  <a:lnTo>
                    <a:pt x="954" y="978"/>
                  </a:lnTo>
                  <a:lnTo>
                    <a:pt x="933" y="988"/>
                  </a:lnTo>
                  <a:lnTo>
                    <a:pt x="928" y="995"/>
                  </a:lnTo>
                  <a:lnTo>
                    <a:pt x="900" y="995"/>
                  </a:lnTo>
                  <a:lnTo>
                    <a:pt x="858" y="971"/>
                  </a:lnTo>
                  <a:lnTo>
                    <a:pt x="777" y="962"/>
                  </a:lnTo>
                  <a:lnTo>
                    <a:pt x="777" y="955"/>
                  </a:lnTo>
                  <a:lnTo>
                    <a:pt x="794" y="938"/>
                  </a:lnTo>
                  <a:lnTo>
                    <a:pt x="787" y="933"/>
                  </a:lnTo>
                  <a:lnTo>
                    <a:pt x="777" y="933"/>
                  </a:lnTo>
                  <a:lnTo>
                    <a:pt x="756" y="922"/>
                  </a:lnTo>
                  <a:lnTo>
                    <a:pt x="718" y="922"/>
                  </a:lnTo>
                  <a:lnTo>
                    <a:pt x="702" y="917"/>
                  </a:lnTo>
                  <a:lnTo>
                    <a:pt x="718" y="922"/>
                  </a:lnTo>
                  <a:lnTo>
                    <a:pt x="723" y="905"/>
                  </a:lnTo>
                  <a:lnTo>
                    <a:pt x="723" y="900"/>
                  </a:lnTo>
                  <a:lnTo>
                    <a:pt x="739" y="889"/>
                  </a:lnTo>
                  <a:lnTo>
                    <a:pt x="739" y="867"/>
                  </a:lnTo>
                  <a:lnTo>
                    <a:pt x="756" y="851"/>
                  </a:lnTo>
                  <a:lnTo>
                    <a:pt x="765" y="860"/>
                  </a:lnTo>
                  <a:lnTo>
                    <a:pt x="773" y="860"/>
                  </a:lnTo>
                  <a:lnTo>
                    <a:pt x="787" y="867"/>
                  </a:lnTo>
                  <a:lnTo>
                    <a:pt x="803" y="860"/>
                  </a:lnTo>
                  <a:lnTo>
                    <a:pt x="810" y="867"/>
                  </a:lnTo>
                  <a:lnTo>
                    <a:pt x="824" y="867"/>
                  </a:lnTo>
                  <a:lnTo>
                    <a:pt x="824" y="851"/>
                  </a:lnTo>
                  <a:lnTo>
                    <a:pt x="848" y="860"/>
                  </a:lnTo>
                  <a:lnTo>
                    <a:pt x="874" y="884"/>
                  </a:lnTo>
                  <a:lnTo>
                    <a:pt x="891" y="877"/>
                  </a:lnTo>
                  <a:lnTo>
                    <a:pt x="900" y="884"/>
                  </a:lnTo>
                  <a:lnTo>
                    <a:pt x="917" y="884"/>
                  </a:lnTo>
                  <a:lnTo>
                    <a:pt x="933" y="900"/>
                  </a:lnTo>
                  <a:lnTo>
                    <a:pt x="933" y="917"/>
                  </a:lnTo>
                  <a:lnTo>
                    <a:pt x="983" y="922"/>
                  </a:lnTo>
                  <a:lnTo>
                    <a:pt x="1004" y="922"/>
                  </a:lnTo>
                  <a:lnTo>
                    <a:pt x="1063" y="933"/>
                  </a:lnTo>
                  <a:lnTo>
                    <a:pt x="1075" y="922"/>
                  </a:lnTo>
                  <a:lnTo>
                    <a:pt x="1089" y="889"/>
                  </a:lnTo>
                  <a:lnTo>
                    <a:pt x="1096" y="889"/>
                  </a:lnTo>
                  <a:lnTo>
                    <a:pt x="1113" y="889"/>
                  </a:lnTo>
                  <a:lnTo>
                    <a:pt x="1113" y="917"/>
                  </a:lnTo>
                  <a:lnTo>
                    <a:pt x="1134" y="917"/>
                  </a:lnTo>
                  <a:lnTo>
                    <a:pt x="1143" y="905"/>
                  </a:lnTo>
                  <a:lnTo>
                    <a:pt x="1160" y="917"/>
                  </a:lnTo>
                  <a:lnTo>
                    <a:pt x="1172" y="917"/>
                  </a:lnTo>
                  <a:lnTo>
                    <a:pt x="1181" y="933"/>
                  </a:lnTo>
                  <a:lnTo>
                    <a:pt x="1214" y="933"/>
                  </a:lnTo>
                  <a:lnTo>
                    <a:pt x="1219" y="945"/>
                  </a:lnTo>
                  <a:lnTo>
                    <a:pt x="1226" y="945"/>
                  </a:lnTo>
                  <a:lnTo>
                    <a:pt x="1235" y="955"/>
                  </a:lnTo>
                  <a:lnTo>
                    <a:pt x="1226" y="971"/>
                  </a:lnTo>
                  <a:lnTo>
                    <a:pt x="1257" y="988"/>
                  </a:lnTo>
                  <a:lnTo>
                    <a:pt x="1295" y="988"/>
                  </a:lnTo>
                  <a:lnTo>
                    <a:pt x="1323" y="978"/>
                  </a:lnTo>
                  <a:lnTo>
                    <a:pt x="1344" y="995"/>
                  </a:lnTo>
                  <a:lnTo>
                    <a:pt x="1344" y="1033"/>
                  </a:lnTo>
                  <a:lnTo>
                    <a:pt x="1349" y="1049"/>
                  </a:lnTo>
                  <a:lnTo>
                    <a:pt x="1361" y="1056"/>
                  </a:lnTo>
                  <a:lnTo>
                    <a:pt x="1361" y="1066"/>
                  </a:lnTo>
                  <a:lnTo>
                    <a:pt x="1361" y="1066"/>
                  </a:lnTo>
                  <a:lnTo>
                    <a:pt x="1361" y="1066"/>
                  </a:lnTo>
                  <a:close/>
                  <a:moveTo>
                    <a:pt x="2754" y="860"/>
                  </a:moveTo>
                  <a:lnTo>
                    <a:pt x="2764" y="860"/>
                  </a:lnTo>
                  <a:lnTo>
                    <a:pt x="2771" y="867"/>
                  </a:lnTo>
                  <a:lnTo>
                    <a:pt x="2771" y="884"/>
                  </a:lnTo>
                  <a:lnTo>
                    <a:pt x="2764" y="889"/>
                  </a:lnTo>
                  <a:lnTo>
                    <a:pt x="2738" y="867"/>
                  </a:lnTo>
                  <a:lnTo>
                    <a:pt x="2754" y="860"/>
                  </a:lnTo>
                  <a:lnTo>
                    <a:pt x="2754" y="860"/>
                  </a:lnTo>
                  <a:lnTo>
                    <a:pt x="2754" y="860"/>
                  </a:lnTo>
                  <a:close/>
                  <a:moveTo>
                    <a:pt x="2733" y="860"/>
                  </a:moveTo>
                  <a:lnTo>
                    <a:pt x="2733" y="867"/>
                  </a:lnTo>
                  <a:lnTo>
                    <a:pt x="2750" y="884"/>
                  </a:lnTo>
                  <a:lnTo>
                    <a:pt x="2738" y="884"/>
                  </a:lnTo>
                  <a:lnTo>
                    <a:pt x="2726" y="867"/>
                  </a:lnTo>
                  <a:lnTo>
                    <a:pt x="2726" y="860"/>
                  </a:lnTo>
                  <a:lnTo>
                    <a:pt x="2733" y="860"/>
                  </a:lnTo>
                  <a:lnTo>
                    <a:pt x="2733" y="860"/>
                  </a:lnTo>
                  <a:lnTo>
                    <a:pt x="2733" y="860"/>
                  </a:lnTo>
                  <a:close/>
                  <a:moveTo>
                    <a:pt x="2726" y="877"/>
                  </a:moveTo>
                  <a:lnTo>
                    <a:pt x="2754" y="905"/>
                  </a:lnTo>
                  <a:lnTo>
                    <a:pt x="2733" y="933"/>
                  </a:lnTo>
                  <a:lnTo>
                    <a:pt x="2726" y="917"/>
                  </a:lnTo>
                  <a:lnTo>
                    <a:pt x="2726" y="877"/>
                  </a:lnTo>
                  <a:lnTo>
                    <a:pt x="2726" y="877"/>
                  </a:lnTo>
                  <a:lnTo>
                    <a:pt x="2726" y="877"/>
                  </a:lnTo>
                  <a:close/>
                  <a:moveTo>
                    <a:pt x="2750" y="884"/>
                  </a:moveTo>
                  <a:lnTo>
                    <a:pt x="2764" y="889"/>
                  </a:lnTo>
                  <a:lnTo>
                    <a:pt x="2754" y="900"/>
                  </a:lnTo>
                  <a:lnTo>
                    <a:pt x="2738" y="889"/>
                  </a:lnTo>
                  <a:lnTo>
                    <a:pt x="2750" y="884"/>
                  </a:lnTo>
                  <a:lnTo>
                    <a:pt x="2750" y="884"/>
                  </a:lnTo>
                  <a:lnTo>
                    <a:pt x="2750" y="884"/>
                  </a:lnTo>
                  <a:close/>
                  <a:moveTo>
                    <a:pt x="2780" y="884"/>
                  </a:moveTo>
                  <a:lnTo>
                    <a:pt x="2780" y="900"/>
                  </a:lnTo>
                  <a:lnTo>
                    <a:pt x="2771" y="889"/>
                  </a:lnTo>
                  <a:lnTo>
                    <a:pt x="2780" y="884"/>
                  </a:lnTo>
                  <a:lnTo>
                    <a:pt x="2780" y="884"/>
                  </a:lnTo>
                  <a:lnTo>
                    <a:pt x="2780" y="884"/>
                  </a:lnTo>
                  <a:close/>
                  <a:moveTo>
                    <a:pt x="2764" y="889"/>
                  </a:moveTo>
                  <a:lnTo>
                    <a:pt x="2771" y="900"/>
                  </a:lnTo>
                  <a:lnTo>
                    <a:pt x="2764" y="900"/>
                  </a:lnTo>
                  <a:lnTo>
                    <a:pt x="2764" y="889"/>
                  </a:lnTo>
                  <a:lnTo>
                    <a:pt x="2764" y="889"/>
                  </a:lnTo>
                  <a:lnTo>
                    <a:pt x="2764" y="889"/>
                  </a:lnTo>
                  <a:close/>
                  <a:moveTo>
                    <a:pt x="702" y="900"/>
                  </a:moveTo>
                  <a:lnTo>
                    <a:pt x="697" y="905"/>
                  </a:lnTo>
                  <a:lnTo>
                    <a:pt x="702" y="900"/>
                  </a:lnTo>
                  <a:lnTo>
                    <a:pt x="702" y="900"/>
                  </a:lnTo>
                  <a:lnTo>
                    <a:pt x="702" y="900"/>
                  </a:lnTo>
                  <a:close/>
                  <a:moveTo>
                    <a:pt x="3040" y="917"/>
                  </a:moveTo>
                  <a:lnTo>
                    <a:pt x="3057" y="922"/>
                  </a:lnTo>
                  <a:lnTo>
                    <a:pt x="3052" y="922"/>
                  </a:lnTo>
                  <a:lnTo>
                    <a:pt x="3040" y="917"/>
                  </a:lnTo>
                  <a:lnTo>
                    <a:pt x="3040" y="917"/>
                  </a:lnTo>
                  <a:lnTo>
                    <a:pt x="3040" y="917"/>
                  </a:lnTo>
                  <a:close/>
                  <a:moveTo>
                    <a:pt x="1403" y="922"/>
                  </a:moveTo>
                  <a:lnTo>
                    <a:pt x="1432" y="933"/>
                  </a:lnTo>
                  <a:lnTo>
                    <a:pt x="1415" y="933"/>
                  </a:lnTo>
                  <a:lnTo>
                    <a:pt x="1403" y="933"/>
                  </a:lnTo>
                  <a:lnTo>
                    <a:pt x="1398" y="933"/>
                  </a:lnTo>
                  <a:lnTo>
                    <a:pt x="1403" y="922"/>
                  </a:lnTo>
                  <a:lnTo>
                    <a:pt x="1403" y="922"/>
                  </a:lnTo>
                  <a:lnTo>
                    <a:pt x="1403" y="922"/>
                  </a:lnTo>
                  <a:close/>
                  <a:moveTo>
                    <a:pt x="1243" y="922"/>
                  </a:moveTo>
                  <a:lnTo>
                    <a:pt x="1311" y="922"/>
                  </a:lnTo>
                  <a:lnTo>
                    <a:pt x="1328" y="933"/>
                  </a:lnTo>
                  <a:lnTo>
                    <a:pt x="1280" y="945"/>
                  </a:lnTo>
                  <a:lnTo>
                    <a:pt x="1226" y="945"/>
                  </a:lnTo>
                  <a:lnTo>
                    <a:pt x="1219" y="938"/>
                  </a:lnTo>
                  <a:lnTo>
                    <a:pt x="1243" y="922"/>
                  </a:lnTo>
                  <a:lnTo>
                    <a:pt x="1243" y="922"/>
                  </a:lnTo>
                  <a:lnTo>
                    <a:pt x="1243" y="922"/>
                  </a:lnTo>
                  <a:close/>
                  <a:moveTo>
                    <a:pt x="1781" y="938"/>
                  </a:moveTo>
                  <a:lnTo>
                    <a:pt x="1793" y="938"/>
                  </a:lnTo>
                  <a:lnTo>
                    <a:pt x="1793" y="945"/>
                  </a:lnTo>
                  <a:lnTo>
                    <a:pt x="1781" y="938"/>
                  </a:lnTo>
                  <a:lnTo>
                    <a:pt x="1781" y="938"/>
                  </a:lnTo>
                  <a:lnTo>
                    <a:pt x="1781" y="938"/>
                  </a:lnTo>
                  <a:close/>
                  <a:moveTo>
                    <a:pt x="1332" y="938"/>
                  </a:moveTo>
                  <a:lnTo>
                    <a:pt x="1344" y="945"/>
                  </a:lnTo>
                  <a:lnTo>
                    <a:pt x="1332" y="945"/>
                  </a:lnTo>
                  <a:lnTo>
                    <a:pt x="1332" y="938"/>
                  </a:lnTo>
                  <a:lnTo>
                    <a:pt x="1332" y="938"/>
                  </a:lnTo>
                  <a:lnTo>
                    <a:pt x="1332" y="938"/>
                  </a:lnTo>
                  <a:close/>
                  <a:moveTo>
                    <a:pt x="2339" y="938"/>
                  </a:moveTo>
                  <a:lnTo>
                    <a:pt x="2348" y="938"/>
                  </a:lnTo>
                  <a:lnTo>
                    <a:pt x="2339" y="945"/>
                  </a:lnTo>
                  <a:lnTo>
                    <a:pt x="2332" y="945"/>
                  </a:lnTo>
                  <a:lnTo>
                    <a:pt x="2339" y="938"/>
                  </a:lnTo>
                  <a:lnTo>
                    <a:pt x="2339" y="938"/>
                  </a:lnTo>
                  <a:lnTo>
                    <a:pt x="2339" y="938"/>
                  </a:lnTo>
                  <a:close/>
                  <a:moveTo>
                    <a:pt x="2565" y="938"/>
                  </a:moveTo>
                  <a:lnTo>
                    <a:pt x="2570" y="938"/>
                  </a:lnTo>
                  <a:lnTo>
                    <a:pt x="2575" y="955"/>
                  </a:lnTo>
                  <a:lnTo>
                    <a:pt x="2565" y="938"/>
                  </a:lnTo>
                  <a:lnTo>
                    <a:pt x="2565" y="938"/>
                  </a:lnTo>
                  <a:lnTo>
                    <a:pt x="2565" y="938"/>
                  </a:lnTo>
                  <a:close/>
                  <a:moveTo>
                    <a:pt x="2554" y="938"/>
                  </a:moveTo>
                  <a:lnTo>
                    <a:pt x="2565" y="945"/>
                  </a:lnTo>
                  <a:lnTo>
                    <a:pt x="2554" y="955"/>
                  </a:lnTo>
                  <a:lnTo>
                    <a:pt x="2554" y="978"/>
                  </a:lnTo>
                  <a:lnTo>
                    <a:pt x="2537" y="995"/>
                  </a:lnTo>
                  <a:lnTo>
                    <a:pt x="2532" y="1011"/>
                  </a:lnTo>
                  <a:lnTo>
                    <a:pt x="2516" y="1011"/>
                  </a:lnTo>
                  <a:lnTo>
                    <a:pt x="2516" y="995"/>
                  </a:lnTo>
                  <a:lnTo>
                    <a:pt x="2523" y="971"/>
                  </a:lnTo>
                  <a:lnTo>
                    <a:pt x="2554" y="938"/>
                  </a:lnTo>
                  <a:lnTo>
                    <a:pt x="2554" y="938"/>
                  </a:lnTo>
                  <a:lnTo>
                    <a:pt x="2554" y="938"/>
                  </a:lnTo>
                  <a:close/>
                  <a:moveTo>
                    <a:pt x="1814" y="955"/>
                  </a:moveTo>
                  <a:lnTo>
                    <a:pt x="1819" y="962"/>
                  </a:lnTo>
                  <a:lnTo>
                    <a:pt x="1814" y="962"/>
                  </a:lnTo>
                  <a:lnTo>
                    <a:pt x="1814" y="955"/>
                  </a:lnTo>
                  <a:lnTo>
                    <a:pt x="1814" y="955"/>
                  </a:lnTo>
                  <a:lnTo>
                    <a:pt x="1814" y="955"/>
                  </a:lnTo>
                  <a:close/>
                  <a:moveTo>
                    <a:pt x="1864" y="962"/>
                  </a:moveTo>
                  <a:lnTo>
                    <a:pt x="1869" y="962"/>
                  </a:lnTo>
                  <a:lnTo>
                    <a:pt x="1864" y="962"/>
                  </a:lnTo>
                  <a:lnTo>
                    <a:pt x="1864" y="962"/>
                  </a:lnTo>
                  <a:lnTo>
                    <a:pt x="1864" y="962"/>
                  </a:lnTo>
                  <a:close/>
                  <a:moveTo>
                    <a:pt x="3040" y="962"/>
                  </a:moveTo>
                  <a:lnTo>
                    <a:pt x="3057" y="962"/>
                  </a:lnTo>
                  <a:lnTo>
                    <a:pt x="3073" y="978"/>
                  </a:lnTo>
                  <a:lnTo>
                    <a:pt x="3057" y="1011"/>
                  </a:lnTo>
                  <a:lnTo>
                    <a:pt x="3024" y="1033"/>
                  </a:lnTo>
                  <a:lnTo>
                    <a:pt x="2986" y="1033"/>
                  </a:lnTo>
                  <a:lnTo>
                    <a:pt x="2969" y="1033"/>
                  </a:lnTo>
                  <a:lnTo>
                    <a:pt x="3002" y="978"/>
                  </a:lnTo>
                  <a:lnTo>
                    <a:pt x="3040" y="962"/>
                  </a:lnTo>
                  <a:lnTo>
                    <a:pt x="3040" y="962"/>
                  </a:lnTo>
                  <a:lnTo>
                    <a:pt x="3040" y="962"/>
                  </a:lnTo>
                  <a:close/>
                  <a:moveTo>
                    <a:pt x="2511" y="962"/>
                  </a:moveTo>
                  <a:lnTo>
                    <a:pt x="2523" y="962"/>
                  </a:lnTo>
                  <a:lnTo>
                    <a:pt x="2511" y="971"/>
                  </a:lnTo>
                  <a:lnTo>
                    <a:pt x="2511" y="962"/>
                  </a:lnTo>
                  <a:lnTo>
                    <a:pt x="2511" y="962"/>
                  </a:lnTo>
                  <a:lnTo>
                    <a:pt x="2511" y="962"/>
                  </a:lnTo>
                  <a:close/>
                  <a:moveTo>
                    <a:pt x="2251" y="971"/>
                  </a:moveTo>
                  <a:lnTo>
                    <a:pt x="2263" y="978"/>
                  </a:lnTo>
                  <a:lnTo>
                    <a:pt x="2251" y="978"/>
                  </a:lnTo>
                  <a:lnTo>
                    <a:pt x="2251" y="971"/>
                  </a:lnTo>
                  <a:lnTo>
                    <a:pt x="2251" y="971"/>
                  </a:lnTo>
                  <a:lnTo>
                    <a:pt x="2251" y="971"/>
                  </a:lnTo>
                  <a:close/>
                  <a:moveTo>
                    <a:pt x="2154" y="978"/>
                  </a:moveTo>
                  <a:lnTo>
                    <a:pt x="2171" y="988"/>
                  </a:lnTo>
                  <a:lnTo>
                    <a:pt x="2197" y="978"/>
                  </a:lnTo>
                  <a:lnTo>
                    <a:pt x="2213" y="988"/>
                  </a:lnTo>
                  <a:lnTo>
                    <a:pt x="2187" y="1000"/>
                  </a:lnTo>
                  <a:lnTo>
                    <a:pt x="2159" y="995"/>
                  </a:lnTo>
                  <a:lnTo>
                    <a:pt x="2138" y="1011"/>
                  </a:lnTo>
                  <a:lnTo>
                    <a:pt x="2154" y="978"/>
                  </a:lnTo>
                  <a:lnTo>
                    <a:pt x="2154" y="978"/>
                  </a:lnTo>
                  <a:lnTo>
                    <a:pt x="2154" y="978"/>
                  </a:lnTo>
                  <a:close/>
                  <a:moveTo>
                    <a:pt x="2407" y="995"/>
                  </a:moveTo>
                  <a:lnTo>
                    <a:pt x="2424" y="995"/>
                  </a:lnTo>
                  <a:lnTo>
                    <a:pt x="2424" y="1011"/>
                  </a:lnTo>
                  <a:lnTo>
                    <a:pt x="2407" y="1000"/>
                  </a:lnTo>
                  <a:lnTo>
                    <a:pt x="2407" y="995"/>
                  </a:lnTo>
                  <a:lnTo>
                    <a:pt x="2407" y="995"/>
                  </a:lnTo>
                  <a:lnTo>
                    <a:pt x="2407" y="995"/>
                  </a:lnTo>
                  <a:close/>
                  <a:moveTo>
                    <a:pt x="2242" y="1011"/>
                  </a:moveTo>
                  <a:lnTo>
                    <a:pt x="2246" y="1011"/>
                  </a:lnTo>
                  <a:lnTo>
                    <a:pt x="2242" y="1011"/>
                  </a:lnTo>
                  <a:lnTo>
                    <a:pt x="2242" y="1011"/>
                  </a:lnTo>
                  <a:lnTo>
                    <a:pt x="2242" y="1011"/>
                  </a:lnTo>
                  <a:close/>
                  <a:moveTo>
                    <a:pt x="1349" y="1011"/>
                  </a:moveTo>
                  <a:lnTo>
                    <a:pt x="1382" y="1016"/>
                  </a:lnTo>
                  <a:lnTo>
                    <a:pt x="1398" y="1011"/>
                  </a:lnTo>
                  <a:lnTo>
                    <a:pt x="1420" y="1016"/>
                  </a:lnTo>
                  <a:lnTo>
                    <a:pt x="1436" y="1033"/>
                  </a:lnTo>
                  <a:lnTo>
                    <a:pt x="1403" y="1049"/>
                  </a:lnTo>
                  <a:lnTo>
                    <a:pt x="1398" y="1056"/>
                  </a:lnTo>
                  <a:lnTo>
                    <a:pt x="1403" y="1066"/>
                  </a:lnTo>
                  <a:lnTo>
                    <a:pt x="1398" y="1066"/>
                  </a:lnTo>
                  <a:lnTo>
                    <a:pt x="1398" y="1056"/>
                  </a:lnTo>
                  <a:lnTo>
                    <a:pt x="1377" y="1044"/>
                  </a:lnTo>
                  <a:lnTo>
                    <a:pt x="1361" y="1033"/>
                  </a:lnTo>
                  <a:lnTo>
                    <a:pt x="1349" y="1016"/>
                  </a:lnTo>
                  <a:lnTo>
                    <a:pt x="1349" y="1011"/>
                  </a:lnTo>
                  <a:lnTo>
                    <a:pt x="1349" y="1011"/>
                  </a:lnTo>
                  <a:lnTo>
                    <a:pt x="1349" y="1011"/>
                  </a:lnTo>
                  <a:close/>
                  <a:moveTo>
                    <a:pt x="1722" y="1056"/>
                  </a:moveTo>
                  <a:lnTo>
                    <a:pt x="1722" y="1049"/>
                  </a:lnTo>
                  <a:lnTo>
                    <a:pt x="1755" y="1028"/>
                  </a:lnTo>
                  <a:lnTo>
                    <a:pt x="1798" y="1033"/>
                  </a:lnTo>
                  <a:lnTo>
                    <a:pt x="1847" y="1049"/>
                  </a:lnTo>
                  <a:lnTo>
                    <a:pt x="1852" y="1044"/>
                  </a:lnTo>
                  <a:lnTo>
                    <a:pt x="1873" y="1044"/>
                  </a:lnTo>
                  <a:lnTo>
                    <a:pt x="1902" y="1049"/>
                  </a:lnTo>
                  <a:lnTo>
                    <a:pt x="1906" y="1049"/>
                  </a:lnTo>
                  <a:lnTo>
                    <a:pt x="1923" y="1033"/>
                  </a:lnTo>
                  <a:lnTo>
                    <a:pt x="1939" y="1028"/>
                  </a:lnTo>
                  <a:lnTo>
                    <a:pt x="1944" y="1016"/>
                  </a:lnTo>
                  <a:lnTo>
                    <a:pt x="1928" y="1028"/>
                  </a:lnTo>
                  <a:lnTo>
                    <a:pt x="1939" y="1011"/>
                  </a:lnTo>
                  <a:lnTo>
                    <a:pt x="1944" y="1016"/>
                  </a:lnTo>
                  <a:lnTo>
                    <a:pt x="1944" y="1028"/>
                  </a:lnTo>
                  <a:lnTo>
                    <a:pt x="1928" y="1033"/>
                  </a:lnTo>
                  <a:lnTo>
                    <a:pt x="1939" y="1049"/>
                  </a:lnTo>
                  <a:lnTo>
                    <a:pt x="1864" y="1073"/>
                  </a:lnTo>
                  <a:lnTo>
                    <a:pt x="1835" y="1066"/>
                  </a:lnTo>
                  <a:lnTo>
                    <a:pt x="1831" y="1073"/>
                  </a:lnTo>
                  <a:lnTo>
                    <a:pt x="1809" y="1073"/>
                  </a:lnTo>
                  <a:lnTo>
                    <a:pt x="1776" y="1066"/>
                  </a:lnTo>
                  <a:lnTo>
                    <a:pt x="1727" y="1066"/>
                  </a:lnTo>
                  <a:lnTo>
                    <a:pt x="1722" y="1056"/>
                  </a:lnTo>
                  <a:lnTo>
                    <a:pt x="1722" y="1056"/>
                  </a:lnTo>
                  <a:lnTo>
                    <a:pt x="1722" y="1056"/>
                  </a:lnTo>
                  <a:close/>
                  <a:moveTo>
                    <a:pt x="1684" y="1056"/>
                  </a:moveTo>
                  <a:lnTo>
                    <a:pt x="1668" y="1066"/>
                  </a:lnTo>
                  <a:lnTo>
                    <a:pt x="1658" y="1056"/>
                  </a:lnTo>
                  <a:lnTo>
                    <a:pt x="1651" y="1056"/>
                  </a:lnTo>
                  <a:lnTo>
                    <a:pt x="1647" y="1056"/>
                  </a:lnTo>
                  <a:lnTo>
                    <a:pt x="1658" y="1066"/>
                  </a:lnTo>
                  <a:lnTo>
                    <a:pt x="1630" y="1066"/>
                  </a:lnTo>
                  <a:lnTo>
                    <a:pt x="1621" y="1066"/>
                  </a:lnTo>
                  <a:lnTo>
                    <a:pt x="1621" y="1049"/>
                  </a:lnTo>
                  <a:lnTo>
                    <a:pt x="1604" y="1066"/>
                  </a:lnTo>
                  <a:lnTo>
                    <a:pt x="1576" y="1073"/>
                  </a:lnTo>
                  <a:lnTo>
                    <a:pt x="1550" y="1082"/>
                  </a:lnTo>
                  <a:lnTo>
                    <a:pt x="1545" y="1082"/>
                  </a:lnTo>
                  <a:lnTo>
                    <a:pt x="1528" y="1089"/>
                  </a:lnTo>
                  <a:lnTo>
                    <a:pt x="1507" y="1073"/>
                  </a:lnTo>
                  <a:lnTo>
                    <a:pt x="1512" y="1049"/>
                  </a:lnTo>
                  <a:lnTo>
                    <a:pt x="1538" y="1033"/>
                  </a:lnTo>
                  <a:lnTo>
                    <a:pt x="1559" y="1044"/>
                  </a:lnTo>
                  <a:lnTo>
                    <a:pt x="1566" y="1033"/>
                  </a:lnTo>
                  <a:lnTo>
                    <a:pt x="1566" y="1044"/>
                  </a:lnTo>
                  <a:lnTo>
                    <a:pt x="1592" y="1056"/>
                  </a:lnTo>
                  <a:lnTo>
                    <a:pt x="1597" y="1056"/>
                  </a:lnTo>
                  <a:lnTo>
                    <a:pt x="1613" y="1056"/>
                  </a:lnTo>
                  <a:lnTo>
                    <a:pt x="1613" y="1049"/>
                  </a:lnTo>
                  <a:lnTo>
                    <a:pt x="1597" y="1044"/>
                  </a:lnTo>
                  <a:lnTo>
                    <a:pt x="1576" y="1028"/>
                  </a:lnTo>
                  <a:lnTo>
                    <a:pt x="1576" y="1016"/>
                  </a:lnTo>
                  <a:lnTo>
                    <a:pt x="1592" y="1011"/>
                  </a:lnTo>
                  <a:lnTo>
                    <a:pt x="1604" y="1016"/>
                  </a:lnTo>
                  <a:lnTo>
                    <a:pt x="1621" y="1033"/>
                  </a:lnTo>
                  <a:lnTo>
                    <a:pt x="1630" y="1028"/>
                  </a:lnTo>
                  <a:lnTo>
                    <a:pt x="1647" y="1028"/>
                  </a:lnTo>
                  <a:lnTo>
                    <a:pt x="1647" y="1049"/>
                  </a:lnTo>
                  <a:lnTo>
                    <a:pt x="1651" y="1028"/>
                  </a:lnTo>
                  <a:lnTo>
                    <a:pt x="1668" y="1028"/>
                  </a:lnTo>
                  <a:lnTo>
                    <a:pt x="1668" y="1049"/>
                  </a:lnTo>
                  <a:lnTo>
                    <a:pt x="1684" y="1056"/>
                  </a:lnTo>
                  <a:lnTo>
                    <a:pt x="1684" y="1056"/>
                  </a:lnTo>
                  <a:lnTo>
                    <a:pt x="1684" y="1056"/>
                  </a:lnTo>
                  <a:close/>
                  <a:moveTo>
                    <a:pt x="2495" y="1033"/>
                  </a:moveTo>
                  <a:lnTo>
                    <a:pt x="2511" y="1011"/>
                  </a:lnTo>
                  <a:lnTo>
                    <a:pt x="2523" y="1016"/>
                  </a:lnTo>
                  <a:lnTo>
                    <a:pt x="2495" y="1033"/>
                  </a:lnTo>
                  <a:lnTo>
                    <a:pt x="2495" y="1033"/>
                  </a:lnTo>
                  <a:lnTo>
                    <a:pt x="2495" y="1033"/>
                  </a:lnTo>
                  <a:close/>
                  <a:moveTo>
                    <a:pt x="2284" y="1011"/>
                  </a:moveTo>
                  <a:lnTo>
                    <a:pt x="2306" y="1016"/>
                  </a:lnTo>
                  <a:lnTo>
                    <a:pt x="2301" y="1028"/>
                  </a:lnTo>
                  <a:lnTo>
                    <a:pt x="2284" y="1016"/>
                  </a:lnTo>
                  <a:lnTo>
                    <a:pt x="2284" y="1011"/>
                  </a:lnTo>
                  <a:lnTo>
                    <a:pt x="2284" y="1011"/>
                  </a:lnTo>
                  <a:lnTo>
                    <a:pt x="2284" y="1011"/>
                  </a:lnTo>
                  <a:close/>
                  <a:moveTo>
                    <a:pt x="2053" y="1016"/>
                  </a:moveTo>
                  <a:lnTo>
                    <a:pt x="2091" y="1016"/>
                  </a:lnTo>
                  <a:lnTo>
                    <a:pt x="2100" y="1028"/>
                  </a:lnTo>
                  <a:lnTo>
                    <a:pt x="2046" y="1044"/>
                  </a:lnTo>
                  <a:lnTo>
                    <a:pt x="2053" y="1016"/>
                  </a:lnTo>
                  <a:lnTo>
                    <a:pt x="2053" y="1016"/>
                  </a:lnTo>
                  <a:lnTo>
                    <a:pt x="2053" y="1016"/>
                  </a:lnTo>
                  <a:close/>
                  <a:moveTo>
                    <a:pt x="1672" y="1016"/>
                  </a:moveTo>
                  <a:lnTo>
                    <a:pt x="1668" y="1028"/>
                  </a:lnTo>
                  <a:lnTo>
                    <a:pt x="1672" y="1016"/>
                  </a:lnTo>
                  <a:lnTo>
                    <a:pt x="1672" y="1016"/>
                  </a:lnTo>
                  <a:lnTo>
                    <a:pt x="1672" y="1016"/>
                  </a:lnTo>
                  <a:close/>
                  <a:moveTo>
                    <a:pt x="1566" y="1033"/>
                  </a:moveTo>
                  <a:lnTo>
                    <a:pt x="1559" y="1016"/>
                  </a:lnTo>
                  <a:lnTo>
                    <a:pt x="1576" y="1016"/>
                  </a:lnTo>
                  <a:lnTo>
                    <a:pt x="1566" y="1033"/>
                  </a:lnTo>
                  <a:lnTo>
                    <a:pt x="1566" y="1033"/>
                  </a:lnTo>
                  <a:lnTo>
                    <a:pt x="1566" y="1033"/>
                  </a:lnTo>
                  <a:close/>
                  <a:moveTo>
                    <a:pt x="2280" y="1016"/>
                  </a:moveTo>
                  <a:lnTo>
                    <a:pt x="2284" y="1016"/>
                  </a:lnTo>
                  <a:lnTo>
                    <a:pt x="2268" y="1028"/>
                  </a:lnTo>
                  <a:lnTo>
                    <a:pt x="2280" y="1016"/>
                  </a:lnTo>
                  <a:lnTo>
                    <a:pt x="2280" y="1016"/>
                  </a:lnTo>
                  <a:lnTo>
                    <a:pt x="2280" y="1016"/>
                  </a:lnTo>
                  <a:close/>
                  <a:moveTo>
                    <a:pt x="3057" y="1016"/>
                  </a:moveTo>
                  <a:lnTo>
                    <a:pt x="3061" y="1033"/>
                  </a:lnTo>
                  <a:lnTo>
                    <a:pt x="3040" y="1033"/>
                  </a:lnTo>
                  <a:lnTo>
                    <a:pt x="3052" y="1016"/>
                  </a:lnTo>
                  <a:lnTo>
                    <a:pt x="3057" y="1016"/>
                  </a:lnTo>
                  <a:lnTo>
                    <a:pt x="3057" y="1016"/>
                  </a:lnTo>
                  <a:lnTo>
                    <a:pt x="3057" y="1016"/>
                  </a:lnTo>
                  <a:close/>
                  <a:moveTo>
                    <a:pt x="2015" y="1033"/>
                  </a:moveTo>
                  <a:lnTo>
                    <a:pt x="2024" y="1033"/>
                  </a:lnTo>
                  <a:lnTo>
                    <a:pt x="2036" y="1016"/>
                  </a:lnTo>
                  <a:lnTo>
                    <a:pt x="2024" y="1049"/>
                  </a:lnTo>
                  <a:lnTo>
                    <a:pt x="2015" y="1033"/>
                  </a:lnTo>
                  <a:lnTo>
                    <a:pt x="2008" y="1044"/>
                  </a:lnTo>
                  <a:lnTo>
                    <a:pt x="2015" y="1033"/>
                  </a:lnTo>
                  <a:lnTo>
                    <a:pt x="2015" y="1033"/>
                  </a:lnTo>
                  <a:lnTo>
                    <a:pt x="2015" y="1033"/>
                  </a:lnTo>
                  <a:close/>
                  <a:moveTo>
                    <a:pt x="1977" y="1049"/>
                  </a:moveTo>
                  <a:lnTo>
                    <a:pt x="1961" y="1044"/>
                  </a:lnTo>
                  <a:lnTo>
                    <a:pt x="1982" y="1033"/>
                  </a:lnTo>
                  <a:lnTo>
                    <a:pt x="1970" y="1028"/>
                  </a:lnTo>
                  <a:lnTo>
                    <a:pt x="1977" y="1028"/>
                  </a:lnTo>
                  <a:lnTo>
                    <a:pt x="1982" y="1028"/>
                  </a:lnTo>
                  <a:lnTo>
                    <a:pt x="1991" y="1033"/>
                  </a:lnTo>
                  <a:lnTo>
                    <a:pt x="1998" y="1016"/>
                  </a:lnTo>
                  <a:lnTo>
                    <a:pt x="2015" y="1028"/>
                  </a:lnTo>
                  <a:lnTo>
                    <a:pt x="1977" y="1049"/>
                  </a:lnTo>
                  <a:lnTo>
                    <a:pt x="1977" y="1049"/>
                  </a:lnTo>
                  <a:lnTo>
                    <a:pt x="1977" y="1049"/>
                  </a:lnTo>
                  <a:close/>
                  <a:moveTo>
                    <a:pt x="2306" y="1016"/>
                  </a:moveTo>
                  <a:lnTo>
                    <a:pt x="2317" y="1028"/>
                  </a:lnTo>
                  <a:lnTo>
                    <a:pt x="2306" y="1028"/>
                  </a:lnTo>
                  <a:lnTo>
                    <a:pt x="2306" y="1016"/>
                  </a:lnTo>
                  <a:lnTo>
                    <a:pt x="2306" y="1016"/>
                  </a:lnTo>
                  <a:lnTo>
                    <a:pt x="2306" y="1016"/>
                  </a:lnTo>
                  <a:close/>
                  <a:moveTo>
                    <a:pt x="1484" y="1016"/>
                  </a:moveTo>
                  <a:lnTo>
                    <a:pt x="1507" y="1033"/>
                  </a:lnTo>
                  <a:lnTo>
                    <a:pt x="1495" y="1066"/>
                  </a:lnTo>
                  <a:lnTo>
                    <a:pt x="1495" y="1073"/>
                  </a:lnTo>
                  <a:lnTo>
                    <a:pt x="1491" y="1073"/>
                  </a:lnTo>
                  <a:lnTo>
                    <a:pt x="1491" y="1066"/>
                  </a:lnTo>
                  <a:lnTo>
                    <a:pt x="1469" y="1073"/>
                  </a:lnTo>
                  <a:lnTo>
                    <a:pt x="1441" y="1066"/>
                  </a:lnTo>
                  <a:lnTo>
                    <a:pt x="1441" y="1056"/>
                  </a:lnTo>
                  <a:lnTo>
                    <a:pt x="1458" y="1056"/>
                  </a:lnTo>
                  <a:lnTo>
                    <a:pt x="1458" y="1033"/>
                  </a:lnTo>
                  <a:lnTo>
                    <a:pt x="1484" y="1016"/>
                  </a:lnTo>
                  <a:lnTo>
                    <a:pt x="1484" y="1016"/>
                  </a:lnTo>
                  <a:lnTo>
                    <a:pt x="1484" y="1016"/>
                  </a:lnTo>
                  <a:close/>
                  <a:moveTo>
                    <a:pt x="1954" y="1028"/>
                  </a:moveTo>
                  <a:lnTo>
                    <a:pt x="1970" y="1028"/>
                  </a:lnTo>
                  <a:lnTo>
                    <a:pt x="1970" y="1033"/>
                  </a:lnTo>
                  <a:lnTo>
                    <a:pt x="1944" y="1033"/>
                  </a:lnTo>
                  <a:lnTo>
                    <a:pt x="1954" y="1028"/>
                  </a:lnTo>
                  <a:lnTo>
                    <a:pt x="1954" y="1028"/>
                  </a:lnTo>
                  <a:lnTo>
                    <a:pt x="1954" y="1028"/>
                  </a:lnTo>
                  <a:close/>
                  <a:moveTo>
                    <a:pt x="2024" y="1106"/>
                  </a:moveTo>
                  <a:lnTo>
                    <a:pt x="2062" y="1089"/>
                  </a:lnTo>
                  <a:lnTo>
                    <a:pt x="2084" y="1073"/>
                  </a:lnTo>
                  <a:lnTo>
                    <a:pt x="2100" y="1049"/>
                  </a:lnTo>
                  <a:lnTo>
                    <a:pt x="2187" y="1033"/>
                  </a:lnTo>
                  <a:lnTo>
                    <a:pt x="2197" y="1044"/>
                  </a:lnTo>
                  <a:lnTo>
                    <a:pt x="2230" y="1028"/>
                  </a:lnTo>
                  <a:lnTo>
                    <a:pt x="2246" y="1033"/>
                  </a:lnTo>
                  <a:lnTo>
                    <a:pt x="2230" y="1056"/>
                  </a:lnTo>
                  <a:lnTo>
                    <a:pt x="2197" y="1066"/>
                  </a:lnTo>
                  <a:lnTo>
                    <a:pt x="2192" y="1073"/>
                  </a:lnTo>
                  <a:lnTo>
                    <a:pt x="2171" y="1082"/>
                  </a:lnTo>
                  <a:lnTo>
                    <a:pt x="2117" y="1099"/>
                  </a:lnTo>
                  <a:lnTo>
                    <a:pt x="2091" y="1111"/>
                  </a:lnTo>
                  <a:lnTo>
                    <a:pt x="2084" y="1127"/>
                  </a:lnTo>
                  <a:lnTo>
                    <a:pt x="2046" y="1160"/>
                  </a:lnTo>
                  <a:lnTo>
                    <a:pt x="2024" y="1160"/>
                  </a:lnTo>
                  <a:lnTo>
                    <a:pt x="2008" y="1177"/>
                  </a:lnTo>
                  <a:lnTo>
                    <a:pt x="1982" y="1177"/>
                  </a:lnTo>
                  <a:lnTo>
                    <a:pt x="1982" y="1165"/>
                  </a:lnTo>
                  <a:lnTo>
                    <a:pt x="1998" y="1160"/>
                  </a:lnTo>
                  <a:lnTo>
                    <a:pt x="1982" y="1155"/>
                  </a:lnTo>
                  <a:lnTo>
                    <a:pt x="1991" y="1127"/>
                  </a:lnTo>
                  <a:lnTo>
                    <a:pt x="2024" y="1106"/>
                  </a:lnTo>
                  <a:lnTo>
                    <a:pt x="2024" y="1106"/>
                  </a:lnTo>
                  <a:lnTo>
                    <a:pt x="2024" y="1106"/>
                  </a:lnTo>
                  <a:close/>
                  <a:moveTo>
                    <a:pt x="1701" y="1033"/>
                  </a:moveTo>
                  <a:lnTo>
                    <a:pt x="1706" y="1049"/>
                  </a:lnTo>
                  <a:lnTo>
                    <a:pt x="1701" y="1049"/>
                  </a:lnTo>
                  <a:lnTo>
                    <a:pt x="1701" y="1056"/>
                  </a:lnTo>
                  <a:lnTo>
                    <a:pt x="1689" y="1056"/>
                  </a:lnTo>
                  <a:lnTo>
                    <a:pt x="1701" y="1033"/>
                  </a:lnTo>
                  <a:lnTo>
                    <a:pt x="1701" y="1033"/>
                  </a:lnTo>
                  <a:lnTo>
                    <a:pt x="1701" y="1033"/>
                  </a:lnTo>
                  <a:close/>
                  <a:moveTo>
                    <a:pt x="1944" y="1049"/>
                  </a:moveTo>
                  <a:lnTo>
                    <a:pt x="1944" y="1044"/>
                  </a:lnTo>
                  <a:lnTo>
                    <a:pt x="1961" y="1044"/>
                  </a:lnTo>
                  <a:lnTo>
                    <a:pt x="1944" y="1049"/>
                  </a:lnTo>
                  <a:lnTo>
                    <a:pt x="1944" y="1049"/>
                  </a:lnTo>
                  <a:lnTo>
                    <a:pt x="1944" y="1049"/>
                  </a:lnTo>
                  <a:close/>
                  <a:moveTo>
                    <a:pt x="1269" y="1044"/>
                  </a:moveTo>
                  <a:lnTo>
                    <a:pt x="1269" y="1033"/>
                  </a:lnTo>
                  <a:lnTo>
                    <a:pt x="1273" y="1044"/>
                  </a:lnTo>
                  <a:lnTo>
                    <a:pt x="1269" y="1044"/>
                  </a:lnTo>
                  <a:lnTo>
                    <a:pt x="1269" y="1044"/>
                  </a:lnTo>
                  <a:lnTo>
                    <a:pt x="1269" y="1044"/>
                  </a:lnTo>
                  <a:close/>
                  <a:moveTo>
                    <a:pt x="1710" y="1056"/>
                  </a:moveTo>
                  <a:lnTo>
                    <a:pt x="1710" y="1066"/>
                  </a:lnTo>
                  <a:lnTo>
                    <a:pt x="1706" y="1066"/>
                  </a:lnTo>
                  <a:lnTo>
                    <a:pt x="1710" y="1049"/>
                  </a:lnTo>
                  <a:lnTo>
                    <a:pt x="1710" y="1056"/>
                  </a:lnTo>
                  <a:lnTo>
                    <a:pt x="1710" y="1056"/>
                  </a:lnTo>
                  <a:lnTo>
                    <a:pt x="1710" y="1056"/>
                  </a:lnTo>
                  <a:close/>
                  <a:moveTo>
                    <a:pt x="1432" y="1066"/>
                  </a:moveTo>
                  <a:lnTo>
                    <a:pt x="1420" y="1056"/>
                  </a:lnTo>
                  <a:lnTo>
                    <a:pt x="1432" y="1056"/>
                  </a:lnTo>
                  <a:lnTo>
                    <a:pt x="1432" y="1066"/>
                  </a:lnTo>
                  <a:lnTo>
                    <a:pt x="1432" y="1066"/>
                  </a:lnTo>
                  <a:lnTo>
                    <a:pt x="1432" y="1066"/>
                  </a:lnTo>
                  <a:close/>
                  <a:moveTo>
                    <a:pt x="1684" y="1139"/>
                  </a:moveTo>
                  <a:lnTo>
                    <a:pt x="1658" y="1122"/>
                  </a:lnTo>
                  <a:lnTo>
                    <a:pt x="1668" y="1111"/>
                  </a:lnTo>
                  <a:lnTo>
                    <a:pt x="1684" y="1106"/>
                  </a:lnTo>
                  <a:lnTo>
                    <a:pt x="1722" y="1106"/>
                  </a:lnTo>
                  <a:lnTo>
                    <a:pt x="1727" y="1099"/>
                  </a:lnTo>
                  <a:lnTo>
                    <a:pt x="1755" y="1111"/>
                  </a:lnTo>
                  <a:lnTo>
                    <a:pt x="1755" y="1127"/>
                  </a:lnTo>
                  <a:lnTo>
                    <a:pt x="1765" y="1122"/>
                  </a:lnTo>
                  <a:lnTo>
                    <a:pt x="1776" y="1127"/>
                  </a:lnTo>
                  <a:lnTo>
                    <a:pt x="1798" y="1160"/>
                  </a:lnTo>
                  <a:lnTo>
                    <a:pt x="1781" y="1165"/>
                  </a:lnTo>
                  <a:lnTo>
                    <a:pt x="1755" y="1165"/>
                  </a:lnTo>
                  <a:lnTo>
                    <a:pt x="1710" y="1139"/>
                  </a:lnTo>
                  <a:lnTo>
                    <a:pt x="1684" y="1139"/>
                  </a:lnTo>
                  <a:lnTo>
                    <a:pt x="1684" y="1139"/>
                  </a:lnTo>
                  <a:lnTo>
                    <a:pt x="1684" y="1139"/>
                  </a:lnTo>
                  <a:close/>
                  <a:moveTo>
                    <a:pt x="1977" y="1160"/>
                  </a:moveTo>
                  <a:lnTo>
                    <a:pt x="1982" y="1165"/>
                  </a:lnTo>
                  <a:lnTo>
                    <a:pt x="1970" y="1177"/>
                  </a:lnTo>
                  <a:lnTo>
                    <a:pt x="1977" y="1160"/>
                  </a:lnTo>
                  <a:lnTo>
                    <a:pt x="1977" y="1160"/>
                  </a:lnTo>
                  <a:lnTo>
                    <a:pt x="1977" y="1160"/>
                  </a:lnTo>
                  <a:close/>
                  <a:moveTo>
                    <a:pt x="1864" y="1193"/>
                  </a:moveTo>
                  <a:lnTo>
                    <a:pt x="1869" y="1181"/>
                  </a:lnTo>
                  <a:lnTo>
                    <a:pt x="1873" y="1181"/>
                  </a:lnTo>
                  <a:lnTo>
                    <a:pt x="1869" y="1193"/>
                  </a:lnTo>
                  <a:lnTo>
                    <a:pt x="1864" y="1193"/>
                  </a:lnTo>
                  <a:lnTo>
                    <a:pt x="1864" y="1193"/>
                  </a:lnTo>
                  <a:lnTo>
                    <a:pt x="1864" y="1193"/>
                  </a:lnTo>
                  <a:close/>
                  <a:moveTo>
                    <a:pt x="1939" y="1210"/>
                  </a:moveTo>
                  <a:lnTo>
                    <a:pt x="1977" y="1181"/>
                  </a:lnTo>
                  <a:lnTo>
                    <a:pt x="1977" y="1200"/>
                  </a:lnTo>
                  <a:lnTo>
                    <a:pt x="1961" y="1210"/>
                  </a:lnTo>
                  <a:lnTo>
                    <a:pt x="1939" y="1217"/>
                  </a:lnTo>
                  <a:lnTo>
                    <a:pt x="1939" y="1210"/>
                  </a:lnTo>
                  <a:lnTo>
                    <a:pt x="1939" y="1210"/>
                  </a:lnTo>
                  <a:lnTo>
                    <a:pt x="1939" y="121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75" name="Freeform 469">
              <a:extLst>
                <a:ext uri="{FF2B5EF4-FFF2-40B4-BE49-F238E27FC236}">
                  <a16:creationId xmlns:a16="http://schemas.microsoft.com/office/drawing/2014/main" id="{0F9C3F81-D3EF-446F-BD98-49EEDCF05215}"/>
                </a:ext>
              </a:extLst>
            </p:cNvPr>
            <p:cNvSpPr>
              <a:spLocks noEditPoints="1"/>
            </p:cNvSpPr>
            <p:nvPr/>
          </p:nvSpPr>
          <p:spPr bwMode="gray">
            <a:xfrm>
              <a:off x="8691549" y="2966603"/>
              <a:ext cx="843924" cy="897542"/>
            </a:xfrm>
            <a:custGeom>
              <a:avLst/>
              <a:gdLst>
                <a:gd name="T0" fmla="*/ 1634 w 2050"/>
                <a:gd name="T1" fmla="*/ 959 h 2180"/>
                <a:gd name="T2" fmla="*/ 1701 w 2050"/>
                <a:gd name="T3" fmla="*/ 839 h 2180"/>
                <a:gd name="T4" fmla="*/ 1507 w 2050"/>
                <a:gd name="T5" fmla="*/ 756 h 2180"/>
                <a:gd name="T6" fmla="*/ 1419 w 2050"/>
                <a:gd name="T7" fmla="*/ 711 h 2180"/>
                <a:gd name="T8" fmla="*/ 1469 w 2050"/>
                <a:gd name="T9" fmla="*/ 810 h 2180"/>
                <a:gd name="T10" fmla="*/ 1441 w 2050"/>
                <a:gd name="T11" fmla="*/ 876 h 2180"/>
                <a:gd name="T12" fmla="*/ 1474 w 2050"/>
                <a:gd name="T13" fmla="*/ 1049 h 2180"/>
                <a:gd name="T14" fmla="*/ 1431 w 2050"/>
                <a:gd name="T15" fmla="*/ 1094 h 2180"/>
                <a:gd name="T16" fmla="*/ 1386 w 2050"/>
                <a:gd name="T17" fmla="*/ 1020 h 2180"/>
                <a:gd name="T18" fmla="*/ 1327 w 2050"/>
                <a:gd name="T19" fmla="*/ 1160 h 2180"/>
                <a:gd name="T20" fmla="*/ 1219 w 2050"/>
                <a:gd name="T21" fmla="*/ 1238 h 2180"/>
                <a:gd name="T22" fmla="*/ 1171 w 2050"/>
                <a:gd name="T23" fmla="*/ 1276 h 2180"/>
                <a:gd name="T24" fmla="*/ 954 w 2050"/>
                <a:gd name="T25" fmla="*/ 1481 h 2180"/>
                <a:gd name="T26" fmla="*/ 848 w 2050"/>
                <a:gd name="T27" fmla="*/ 1609 h 2180"/>
                <a:gd name="T28" fmla="*/ 827 w 2050"/>
                <a:gd name="T29" fmla="*/ 1864 h 2180"/>
                <a:gd name="T30" fmla="*/ 765 w 2050"/>
                <a:gd name="T31" fmla="*/ 1998 h 2180"/>
                <a:gd name="T32" fmla="*/ 593 w 2050"/>
                <a:gd name="T33" fmla="*/ 2020 h 2180"/>
                <a:gd name="T34" fmla="*/ 534 w 2050"/>
                <a:gd name="T35" fmla="*/ 1835 h 2180"/>
                <a:gd name="T36" fmla="*/ 404 w 2050"/>
                <a:gd name="T37" fmla="*/ 1547 h 2180"/>
                <a:gd name="T38" fmla="*/ 340 w 2050"/>
                <a:gd name="T39" fmla="*/ 1292 h 2180"/>
                <a:gd name="T40" fmla="*/ 340 w 2050"/>
                <a:gd name="T41" fmla="*/ 1148 h 2180"/>
                <a:gd name="T42" fmla="*/ 356 w 2050"/>
                <a:gd name="T43" fmla="*/ 1077 h 2180"/>
                <a:gd name="T44" fmla="*/ 286 w 2050"/>
                <a:gd name="T45" fmla="*/ 1037 h 2180"/>
                <a:gd name="T46" fmla="*/ 297 w 2050"/>
                <a:gd name="T47" fmla="*/ 1087 h 2180"/>
                <a:gd name="T48" fmla="*/ 172 w 2050"/>
                <a:gd name="T49" fmla="*/ 983 h 2180"/>
                <a:gd name="T50" fmla="*/ 26 w 2050"/>
                <a:gd name="T51" fmla="*/ 933 h 2180"/>
                <a:gd name="T52" fmla="*/ 64 w 2050"/>
                <a:gd name="T53" fmla="*/ 888 h 2180"/>
                <a:gd name="T54" fmla="*/ 198 w 2050"/>
                <a:gd name="T55" fmla="*/ 872 h 2180"/>
                <a:gd name="T56" fmla="*/ 125 w 2050"/>
                <a:gd name="T57" fmla="*/ 704 h 2180"/>
                <a:gd name="T58" fmla="*/ 286 w 2050"/>
                <a:gd name="T59" fmla="*/ 560 h 2180"/>
                <a:gd name="T60" fmla="*/ 458 w 2050"/>
                <a:gd name="T61" fmla="*/ 354 h 2180"/>
                <a:gd name="T62" fmla="*/ 486 w 2050"/>
                <a:gd name="T63" fmla="*/ 243 h 2180"/>
                <a:gd name="T64" fmla="*/ 411 w 2050"/>
                <a:gd name="T65" fmla="*/ 111 h 2180"/>
                <a:gd name="T66" fmla="*/ 621 w 2050"/>
                <a:gd name="T67" fmla="*/ 61 h 2180"/>
                <a:gd name="T68" fmla="*/ 751 w 2050"/>
                <a:gd name="T69" fmla="*/ 111 h 2180"/>
                <a:gd name="T70" fmla="*/ 751 w 2050"/>
                <a:gd name="T71" fmla="*/ 243 h 2180"/>
                <a:gd name="T72" fmla="*/ 756 w 2050"/>
                <a:gd name="T73" fmla="*/ 338 h 2180"/>
                <a:gd name="T74" fmla="*/ 864 w 2050"/>
                <a:gd name="T75" fmla="*/ 477 h 2180"/>
                <a:gd name="T76" fmla="*/ 982 w 2050"/>
                <a:gd name="T77" fmla="*/ 600 h 2180"/>
                <a:gd name="T78" fmla="*/ 1129 w 2050"/>
                <a:gd name="T79" fmla="*/ 633 h 2180"/>
                <a:gd name="T80" fmla="*/ 1327 w 2050"/>
                <a:gd name="T81" fmla="*/ 711 h 2180"/>
                <a:gd name="T82" fmla="*/ 1403 w 2050"/>
                <a:gd name="T83" fmla="*/ 600 h 2180"/>
                <a:gd name="T84" fmla="*/ 1474 w 2050"/>
                <a:gd name="T85" fmla="*/ 687 h 2180"/>
                <a:gd name="T86" fmla="*/ 1684 w 2050"/>
                <a:gd name="T87" fmla="*/ 683 h 2180"/>
                <a:gd name="T88" fmla="*/ 1710 w 2050"/>
                <a:gd name="T89" fmla="*/ 609 h 2180"/>
                <a:gd name="T90" fmla="*/ 1916 w 2050"/>
                <a:gd name="T91" fmla="*/ 517 h 2180"/>
                <a:gd name="T92" fmla="*/ 1982 w 2050"/>
                <a:gd name="T93" fmla="*/ 555 h 2180"/>
                <a:gd name="T94" fmla="*/ 2024 w 2050"/>
                <a:gd name="T95" fmla="*/ 654 h 2180"/>
                <a:gd name="T96" fmla="*/ 1861 w 2050"/>
                <a:gd name="T97" fmla="*/ 810 h 2180"/>
                <a:gd name="T98" fmla="*/ 1764 w 2050"/>
                <a:gd name="T99" fmla="*/ 983 h 2180"/>
                <a:gd name="T100" fmla="*/ 1705 w 2050"/>
                <a:gd name="T101" fmla="*/ 983 h 2180"/>
                <a:gd name="T102" fmla="*/ 1441 w 2050"/>
                <a:gd name="T103" fmla="*/ 1070 h 2180"/>
                <a:gd name="T104" fmla="*/ 1743 w 2050"/>
                <a:gd name="T105" fmla="*/ 1687 h 2180"/>
                <a:gd name="T106" fmla="*/ 1727 w 2050"/>
                <a:gd name="T107" fmla="*/ 1743 h 2180"/>
                <a:gd name="T108" fmla="*/ 1727 w 2050"/>
                <a:gd name="T109" fmla="*/ 1776 h 2180"/>
                <a:gd name="T110" fmla="*/ 1727 w 2050"/>
                <a:gd name="T111" fmla="*/ 1793 h 2180"/>
                <a:gd name="T112" fmla="*/ 1701 w 2050"/>
                <a:gd name="T113" fmla="*/ 1831 h 2180"/>
                <a:gd name="T114" fmla="*/ 1722 w 2050"/>
                <a:gd name="T115" fmla="*/ 1847 h 2180"/>
                <a:gd name="T116" fmla="*/ 1710 w 2050"/>
                <a:gd name="T117" fmla="*/ 1887 h 2180"/>
                <a:gd name="T118" fmla="*/ 1755 w 2050"/>
                <a:gd name="T119" fmla="*/ 2069 h 2180"/>
                <a:gd name="T120" fmla="*/ 1776 w 2050"/>
                <a:gd name="T121" fmla="*/ 2091 h 2180"/>
                <a:gd name="T122" fmla="*/ 1793 w 2050"/>
                <a:gd name="T123" fmla="*/ 2091 h 2180"/>
                <a:gd name="T124" fmla="*/ 1814 w 2050"/>
                <a:gd name="T125" fmla="*/ 2164 h 2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50" h="2180">
                  <a:moveTo>
                    <a:pt x="1701" y="926"/>
                  </a:moveTo>
                  <a:lnTo>
                    <a:pt x="1684" y="933"/>
                  </a:lnTo>
                  <a:lnTo>
                    <a:pt x="1672" y="926"/>
                  </a:lnTo>
                  <a:lnTo>
                    <a:pt x="1672" y="943"/>
                  </a:lnTo>
                  <a:lnTo>
                    <a:pt x="1656" y="959"/>
                  </a:lnTo>
                  <a:lnTo>
                    <a:pt x="1667" y="976"/>
                  </a:lnTo>
                  <a:lnTo>
                    <a:pt x="1656" y="983"/>
                  </a:lnTo>
                  <a:lnTo>
                    <a:pt x="1646" y="983"/>
                  </a:lnTo>
                  <a:lnTo>
                    <a:pt x="1634" y="959"/>
                  </a:lnTo>
                  <a:lnTo>
                    <a:pt x="1634" y="976"/>
                  </a:lnTo>
                  <a:lnTo>
                    <a:pt x="1630" y="976"/>
                  </a:lnTo>
                  <a:lnTo>
                    <a:pt x="1618" y="933"/>
                  </a:lnTo>
                  <a:lnTo>
                    <a:pt x="1630" y="909"/>
                  </a:lnTo>
                  <a:lnTo>
                    <a:pt x="1634" y="893"/>
                  </a:lnTo>
                  <a:lnTo>
                    <a:pt x="1667" y="893"/>
                  </a:lnTo>
                  <a:lnTo>
                    <a:pt x="1672" y="876"/>
                  </a:lnTo>
                  <a:lnTo>
                    <a:pt x="1689" y="872"/>
                  </a:lnTo>
                  <a:lnTo>
                    <a:pt x="1701" y="839"/>
                  </a:lnTo>
                  <a:lnTo>
                    <a:pt x="1710" y="839"/>
                  </a:lnTo>
                  <a:lnTo>
                    <a:pt x="1705" y="822"/>
                  </a:lnTo>
                  <a:lnTo>
                    <a:pt x="1684" y="815"/>
                  </a:lnTo>
                  <a:lnTo>
                    <a:pt x="1566" y="815"/>
                  </a:lnTo>
                  <a:lnTo>
                    <a:pt x="1528" y="810"/>
                  </a:lnTo>
                  <a:lnTo>
                    <a:pt x="1528" y="761"/>
                  </a:lnTo>
                  <a:lnTo>
                    <a:pt x="1521" y="737"/>
                  </a:lnTo>
                  <a:lnTo>
                    <a:pt x="1512" y="737"/>
                  </a:lnTo>
                  <a:lnTo>
                    <a:pt x="1507" y="756"/>
                  </a:lnTo>
                  <a:lnTo>
                    <a:pt x="1490" y="756"/>
                  </a:lnTo>
                  <a:lnTo>
                    <a:pt x="1474" y="737"/>
                  </a:lnTo>
                  <a:lnTo>
                    <a:pt x="1474" y="721"/>
                  </a:lnTo>
                  <a:lnTo>
                    <a:pt x="1469" y="721"/>
                  </a:lnTo>
                  <a:lnTo>
                    <a:pt x="1457" y="721"/>
                  </a:lnTo>
                  <a:lnTo>
                    <a:pt x="1474" y="728"/>
                  </a:lnTo>
                  <a:lnTo>
                    <a:pt x="1457" y="737"/>
                  </a:lnTo>
                  <a:lnTo>
                    <a:pt x="1431" y="704"/>
                  </a:lnTo>
                  <a:lnTo>
                    <a:pt x="1419" y="711"/>
                  </a:lnTo>
                  <a:lnTo>
                    <a:pt x="1431" y="711"/>
                  </a:lnTo>
                  <a:lnTo>
                    <a:pt x="1436" y="721"/>
                  </a:lnTo>
                  <a:lnTo>
                    <a:pt x="1415" y="737"/>
                  </a:lnTo>
                  <a:lnTo>
                    <a:pt x="1403" y="761"/>
                  </a:lnTo>
                  <a:lnTo>
                    <a:pt x="1419" y="765"/>
                  </a:lnTo>
                  <a:lnTo>
                    <a:pt x="1436" y="794"/>
                  </a:lnTo>
                  <a:lnTo>
                    <a:pt x="1453" y="794"/>
                  </a:lnTo>
                  <a:lnTo>
                    <a:pt x="1457" y="798"/>
                  </a:lnTo>
                  <a:lnTo>
                    <a:pt x="1469" y="810"/>
                  </a:lnTo>
                  <a:lnTo>
                    <a:pt x="1469" y="815"/>
                  </a:lnTo>
                  <a:lnTo>
                    <a:pt x="1431" y="815"/>
                  </a:lnTo>
                  <a:lnTo>
                    <a:pt x="1419" y="839"/>
                  </a:lnTo>
                  <a:lnTo>
                    <a:pt x="1403" y="832"/>
                  </a:lnTo>
                  <a:lnTo>
                    <a:pt x="1415" y="839"/>
                  </a:lnTo>
                  <a:lnTo>
                    <a:pt x="1398" y="855"/>
                  </a:lnTo>
                  <a:lnTo>
                    <a:pt x="1403" y="865"/>
                  </a:lnTo>
                  <a:lnTo>
                    <a:pt x="1436" y="876"/>
                  </a:lnTo>
                  <a:lnTo>
                    <a:pt x="1441" y="876"/>
                  </a:lnTo>
                  <a:lnTo>
                    <a:pt x="1453" y="888"/>
                  </a:lnTo>
                  <a:lnTo>
                    <a:pt x="1453" y="909"/>
                  </a:lnTo>
                  <a:lnTo>
                    <a:pt x="1436" y="921"/>
                  </a:lnTo>
                  <a:lnTo>
                    <a:pt x="1436" y="933"/>
                  </a:lnTo>
                  <a:lnTo>
                    <a:pt x="1453" y="943"/>
                  </a:lnTo>
                  <a:lnTo>
                    <a:pt x="1453" y="959"/>
                  </a:lnTo>
                  <a:lnTo>
                    <a:pt x="1469" y="966"/>
                  </a:lnTo>
                  <a:lnTo>
                    <a:pt x="1457" y="983"/>
                  </a:lnTo>
                  <a:lnTo>
                    <a:pt x="1474" y="1049"/>
                  </a:lnTo>
                  <a:lnTo>
                    <a:pt x="1469" y="1061"/>
                  </a:lnTo>
                  <a:lnTo>
                    <a:pt x="1474" y="1087"/>
                  </a:lnTo>
                  <a:lnTo>
                    <a:pt x="1441" y="1094"/>
                  </a:lnTo>
                  <a:lnTo>
                    <a:pt x="1453" y="1054"/>
                  </a:lnTo>
                  <a:lnTo>
                    <a:pt x="1441" y="1054"/>
                  </a:lnTo>
                  <a:lnTo>
                    <a:pt x="1441" y="1061"/>
                  </a:lnTo>
                  <a:lnTo>
                    <a:pt x="1441" y="1037"/>
                  </a:lnTo>
                  <a:lnTo>
                    <a:pt x="1436" y="1094"/>
                  </a:lnTo>
                  <a:lnTo>
                    <a:pt x="1431" y="1094"/>
                  </a:lnTo>
                  <a:lnTo>
                    <a:pt x="1436" y="1061"/>
                  </a:lnTo>
                  <a:lnTo>
                    <a:pt x="1431" y="1087"/>
                  </a:lnTo>
                  <a:lnTo>
                    <a:pt x="1419" y="1087"/>
                  </a:lnTo>
                  <a:lnTo>
                    <a:pt x="1415" y="1070"/>
                  </a:lnTo>
                  <a:lnTo>
                    <a:pt x="1415" y="1094"/>
                  </a:lnTo>
                  <a:lnTo>
                    <a:pt x="1403" y="1061"/>
                  </a:lnTo>
                  <a:lnTo>
                    <a:pt x="1415" y="1049"/>
                  </a:lnTo>
                  <a:lnTo>
                    <a:pt x="1398" y="1037"/>
                  </a:lnTo>
                  <a:lnTo>
                    <a:pt x="1386" y="1020"/>
                  </a:lnTo>
                  <a:lnTo>
                    <a:pt x="1398" y="1037"/>
                  </a:lnTo>
                  <a:lnTo>
                    <a:pt x="1415" y="1054"/>
                  </a:lnTo>
                  <a:lnTo>
                    <a:pt x="1382" y="1077"/>
                  </a:lnTo>
                  <a:lnTo>
                    <a:pt x="1344" y="1094"/>
                  </a:lnTo>
                  <a:lnTo>
                    <a:pt x="1327" y="1103"/>
                  </a:lnTo>
                  <a:lnTo>
                    <a:pt x="1311" y="1115"/>
                  </a:lnTo>
                  <a:lnTo>
                    <a:pt x="1327" y="1148"/>
                  </a:lnTo>
                  <a:lnTo>
                    <a:pt x="1323" y="1148"/>
                  </a:lnTo>
                  <a:lnTo>
                    <a:pt x="1327" y="1160"/>
                  </a:lnTo>
                  <a:lnTo>
                    <a:pt x="1311" y="1172"/>
                  </a:lnTo>
                  <a:lnTo>
                    <a:pt x="1306" y="1181"/>
                  </a:lnTo>
                  <a:lnTo>
                    <a:pt x="1311" y="1172"/>
                  </a:lnTo>
                  <a:lnTo>
                    <a:pt x="1311" y="1181"/>
                  </a:lnTo>
                  <a:lnTo>
                    <a:pt x="1290" y="1198"/>
                  </a:lnTo>
                  <a:lnTo>
                    <a:pt x="1290" y="1214"/>
                  </a:lnTo>
                  <a:lnTo>
                    <a:pt x="1273" y="1205"/>
                  </a:lnTo>
                  <a:lnTo>
                    <a:pt x="1280" y="1214"/>
                  </a:lnTo>
                  <a:lnTo>
                    <a:pt x="1219" y="1238"/>
                  </a:lnTo>
                  <a:lnTo>
                    <a:pt x="1226" y="1221"/>
                  </a:lnTo>
                  <a:lnTo>
                    <a:pt x="1219" y="1214"/>
                  </a:lnTo>
                  <a:lnTo>
                    <a:pt x="1205" y="1226"/>
                  </a:lnTo>
                  <a:lnTo>
                    <a:pt x="1197" y="1243"/>
                  </a:lnTo>
                  <a:lnTo>
                    <a:pt x="1205" y="1238"/>
                  </a:lnTo>
                  <a:lnTo>
                    <a:pt x="1214" y="1226"/>
                  </a:lnTo>
                  <a:lnTo>
                    <a:pt x="1214" y="1238"/>
                  </a:lnTo>
                  <a:lnTo>
                    <a:pt x="1167" y="1276"/>
                  </a:lnTo>
                  <a:lnTo>
                    <a:pt x="1171" y="1276"/>
                  </a:lnTo>
                  <a:lnTo>
                    <a:pt x="1167" y="1283"/>
                  </a:lnTo>
                  <a:lnTo>
                    <a:pt x="1129" y="1332"/>
                  </a:lnTo>
                  <a:lnTo>
                    <a:pt x="1091" y="1354"/>
                  </a:lnTo>
                  <a:lnTo>
                    <a:pt x="1063" y="1387"/>
                  </a:lnTo>
                  <a:lnTo>
                    <a:pt x="1004" y="1427"/>
                  </a:lnTo>
                  <a:lnTo>
                    <a:pt x="999" y="1436"/>
                  </a:lnTo>
                  <a:lnTo>
                    <a:pt x="1004" y="1443"/>
                  </a:lnTo>
                  <a:lnTo>
                    <a:pt x="999" y="1460"/>
                  </a:lnTo>
                  <a:lnTo>
                    <a:pt x="954" y="1481"/>
                  </a:lnTo>
                  <a:lnTo>
                    <a:pt x="928" y="1481"/>
                  </a:lnTo>
                  <a:lnTo>
                    <a:pt x="912" y="1521"/>
                  </a:lnTo>
                  <a:lnTo>
                    <a:pt x="895" y="1514"/>
                  </a:lnTo>
                  <a:lnTo>
                    <a:pt x="895" y="1505"/>
                  </a:lnTo>
                  <a:lnTo>
                    <a:pt x="895" y="1521"/>
                  </a:lnTo>
                  <a:lnTo>
                    <a:pt x="890" y="1514"/>
                  </a:lnTo>
                  <a:lnTo>
                    <a:pt x="857" y="1531"/>
                  </a:lnTo>
                  <a:lnTo>
                    <a:pt x="841" y="1576"/>
                  </a:lnTo>
                  <a:lnTo>
                    <a:pt x="848" y="1609"/>
                  </a:lnTo>
                  <a:lnTo>
                    <a:pt x="841" y="1642"/>
                  </a:lnTo>
                  <a:lnTo>
                    <a:pt x="857" y="1698"/>
                  </a:lnTo>
                  <a:lnTo>
                    <a:pt x="848" y="1670"/>
                  </a:lnTo>
                  <a:lnTo>
                    <a:pt x="841" y="1682"/>
                  </a:lnTo>
                  <a:lnTo>
                    <a:pt x="857" y="1703"/>
                  </a:lnTo>
                  <a:lnTo>
                    <a:pt x="848" y="1769"/>
                  </a:lnTo>
                  <a:lnTo>
                    <a:pt x="827" y="1798"/>
                  </a:lnTo>
                  <a:lnTo>
                    <a:pt x="819" y="1826"/>
                  </a:lnTo>
                  <a:lnTo>
                    <a:pt x="827" y="1864"/>
                  </a:lnTo>
                  <a:lnTo>
                    <a:pt x="827" y="1925"/>
                  </a:lnTo>
                  <a:lnTo>
                    <a:pt x="789" y="1925"/>
                  </a:lnTo>
                  <a:lnTo>
                    <a:pt x="782" y="1942"/>
                  </a:lnTo>
                  <a:lnTo>
                    <a:pt x="756" y="1980"/>
                  </a:lnTo>
                  <a:lnTo>
                    <a:pt x="765" y="1998"/>
                  </a:lnTo>
                  <a:lnTo>
                    <a:pt x="789" y="1998"/>
                  </a:lnTo>
                  <a:lnTo>
                    <a:pt x="793" y="2003"/>
                  </a:lnTo>
                  <a:lnTo>
                    <a:pt x="789" y="1998"/>
                  </a:lnTo>
                  <a:lnTo>
                    <a:pt x="765" y="1998"/>
                  </a:lnTo>
                  <a:lnTo>
                    <a:pt x="727" y="2015"/>
                  </a:lnTo>
                  <a:lnTo>
                    <a:pt x="713" y="2020"/>
                  </a:lnTo>
                  <a:lnTo>
                    <a:pt x="701" y="2057"/>
                  </a:lnTo>
                  <a:lnTo>
                    <a:pt x="664" y="2086"/>
                  </a:lnTo>
                  <a:lnTo>
                    <a:pt x="647" y="2086"/>
                  </a:lnTo>
                  <a:lnTo>
                    <a:pt x="626" y="2057"/>
                  </a:lnTo>
                  <a:lnTo>
                    <a:pt x="593" y="2031"/>
                  </a:lnTo>
                  <a:lnTo>
                    <a:pt x="605" y="2020"/>
                  </a:lnTo>
                  <a:lnTo>
                    <a:pt x="593" y="2020"/>
                  </a:lnTo>
                  <a:lnTo>
                    <a:pt x="576" y="1998"/>
                  </a:lnTo>
                  <a:lnTo>
                    <a:pt x="571" y="1946"/>
                  </a:lnTo>
                  <a:lnTo>
                    <a:pt x="576" y="1958"/>
                  </a:lnTo>
                  <a:lnTo>
                    <a:pt x="576" y="1980"/>
                  </a:lnTo>
                  <a:lnTo>
                    <a:pt x="588" y="1980"/>
                  </a:lnTo>
                  <a:lnTo>
                    <a:pt x="571" y="1937"/>
                  </a:lnTo>
                  <a:lnTo>
                    <a:pt x="571" y="1946"/>
                  </a:lnTo>
                  <a:lnTo>
                    <a:pt x="571" y="1942"/>
                  </a:lnTo>
                  <a:lnTo>
                    <a:pt x="534" y="1835"/>
                  </a:lnTo>
                  <a:lnTo>
                    <a:pt x="501" y="1798"/>
                  </a:lnTo>
                  <a:lnTo>
                    <a:pt x="470" y="1736"/>
                  </a:lnTo>
                  <a:lnTo>
                    <a:pt x="442" y="1616"/>
                  </a:lnTo>
                  <a:lnTo>
                    <a:pt x="442" y="1609"/>
                  </a:lnTo>
                  <a:lnTo>
                    <a:pt x="432" y="1616"/>
                  </a:lnTo>
                  <a:lnTo>
                    <a:pt x="432" y="1604"/>
                  </a:lnTo>
                  <a:lnTo>
                    <a:pt x="425" y="1592"/>
                  </a:lnTo>
                  <a:lnTo>
                    <a:pt x="411" y="1554"/>
                  </a:lnTo>
                  <a:lnTo>
                    <a:pt x="404" y="1547"/>
                  </a:lnTo>
                  <a:lnTo>
                    <a:pt x="411" y="1554"/>
                  </a:lnTo>
                  <a:lnTo>
                    <a:pt x="404" y="1547"/>
                  </a:lnTo>
                  <a:lnTo>
                    <a:pt x="378" y="1498"/>
                  </a:lnTo>
                  <a:lnTo>
                    <a:pt x="361" y="1427"/>
                  </a:lnTo>
                  <a:lnTo>
                    <a:pt x="335" y="1309"/>
                  </a:lnTo>
                  <a:lnTo>
                    <a:pt x="335" y="1299"/>
                  </a:lnTo>
                  <a:lnTo>
                    <a:pt x="340" y="1299"/>
                  </a:lnTo>
                  <a:lnTo>
                    <a:pt x="349" y="1299"/>
                  </a:lnTo>
                  <a:lnTo>
                    <a:pt x="340" y="1292"/>
                  </a:lnTo>
                  <a:lnTo>
                    <a:pt x="349" y="1283"/>
                  </a:lnTo>
                  <a:lnTo>
                    <a:pt x="340" y="1276"/>
                  </a:lnTo>
                  <a:lnTo>
                    <a:pt x="335" y="1292"/>
                  </a:lnTo>
                  <a:lnTo>
                    <a:pt x="335" y="1283"/>
                  </a:lnTo>
                  <a:lnTo>
                    <a:pt x="335" y="1259"/>
                  </a:lnTo>
                  <a:lnTo>
                    <a:pt x="349" y="1271"/>
                  </a:lnTo>
                  <a:lnTo>
                    <a:pt x="323" y="1254"/>
                  </a:lnTo>
                  <a:lnTo>
                    <a:pt x="323" y="1221"/>
                  </a:lnTo>
                  <a:lnTo>
                    <a:pt x="340" y="1148"/>
                  </a:lnTo>
                  <a:lnTo>
                    <a:pt x="335" y="1143"/>
                  </a:lnTo>
                  <a:lnTo>
                    <a:pt x="335" y="1127"/>
                  </a:lnTo>
                  <a:lnTo>
                    <a:pt x="319" y="1127"/>
                  </a:lnTo>
                  <a:lnTo>
                    <a:pt x="323" y="1115"/>
                  </a:lnTo>
                  <a:lnTo>
                    <a:pt x="319" y="1103"/>
                  </a:lnTo>
                  <a:lnTo>
                    <a:pt x="323" y="1103"/>
                  </a:lnTo>
                  <a:lnTo>
                    <a:pt x="319" y="1103"/>
                  </a:lnTo>
                  <a:lnTo>
                    <a:pt x="335" y="1087"/>
                  </a:lnTo>
                  <a:lnTo>
                    <a:pt x="356" y="1077"/>
                  </a:lnTo>
                  <a:lnTo>
                    <a:pt x="307" y="1087"/>
                  </a:lnTo>
                  <a:lnTo>
                    <a:pt x="319" y="1070"/>
                  </a:lnTo>
                  <a:lnTo>
                    <a:pt x="323" y="1061"/>
                  </a:lnTo>
                  <a:lnTo>
                    <a:pt x="319" y="1061"/>
                  </a:lnTo>
                  <a:lnTo>
                    <a:pt x="307" y="1061"/>
                  </a:lnTo>
                  <a:lnTo>
                    <a:pt x="319" y="1049"/>
                  </a:lnTo>
                  <a:lnTo>
                    <a:pt x="323" y="1049"/>
                  </a:lnTo>
                  <a:lnTo>
                    <a:pt x="340" y="1037"/>
                  </a:lnTo>
                  <a:lnTo>
                    <a:pt x="286" y="1037"/>
                  </a:lnTo>
                  <a:lnTo>
                    <a:pt x="302" y="1049"/>
                  </a:lnTo>
                  <a:lnTo>
                    <a:pt x="297" y="1054"/>
                  </a:lnTo>
                  <a:lnTo>
                    <a:pt x="281" y="1061"/>
                  </a:lnTo>
                  <a:lnTo>
                    <a:pt x="286" y="1061"/>
                  </a:lnTo>
                  <a:lnTo>
                    <a:pt x="286" y="1070"/>
                  </a:lnTo>
                  <a:lnTo>
                    <a:pt x="281" y="1070"/>
                  </a:lnTo>
                  <a:lnTo>
                    <a:pt x="281" y="1077"/>
                  </a:lnTo>
                  <a:lnTo>
                    <a:pt x="286" y="1070"/>
                  </a:lnTo>
                  <a:lnTo>
                    <a:pt x="297" y="1087"/>
                  </a:lnTo>
                  <a:lnTo>
                    <a:pt x="286" y="1115"/>
                  </a:lnTo>
                  <a:lnTo>
                    <a:pt x="243" y="1143"/>
                  </a:lnTo>
                  <a:lnTo>
                    <a:pt x="193" y="1160"/>
                  </a:lnTo>
                  <a:lnTo>
                    <a:pt x="139" y="1127"/>
                  </a:lnTo>
                  <a:lnTo>
                    <a:pt x="64" y="1037"/>
                  </a:lnTo>
                  <a:lnTo>
                    <a:pt x="71" y="1020"/>
                  </a:lnTo>
                  <a:lnTo>
                    <a:pt x="80" y="1037"/>
                  </a:lnTo>
                  <a:lnTo>
                    <a:pt x="146" y="1016"/>
                  </a:lnTo>
                  <a:lnTo>
                    <a:pt x="172" y="983"/>
                  </a:lnTo>
                  <a:lnTo>
                    <a:pt x="172" y="976"/>
                  </a:lnTo>
                  <a:lnTo>
                    <a:pt x="163" y="976"/>
                  </a:lnTo>
                  <a:lnTo>
                    <a:pt x="163" y="983"/>
                  </a:lnTo>
                  <a:lnTo>
                    <a:pt x="125" y="987"/>
                  </a:lnTo>
                  <a:lnTo>
                    <a:pt x="118" y="999"/>
                  </a:lnTo>
                  <a:lnTo>
                    <a:pt x="80" y="987"/>
                  </a:lnTo>
                  <a:lnTo>
                    <a:pt x="38" y="966"/>
                  </a:lnTo>
                  <a:lnTo>
                    <a:pt x="26" y="950"/>
                  </a:lnTo>
                  <a:lnTo>
                    <a:pt x="26" y="933"/>
                  </a:lnTo>
                  <a:lnTo>
                    <a:pt x="49" y="921"/>
                  </a:lnTo>
                  <a:lnTo>
                    <a:pt x="26" y="926"/>
                  </a:lnTo>
                  <a:lnTo>
                    <a:pt x="16" y="933"/>
                  </a:lnTo>
                  <a:lnTo>
                    <a:pt x="0" y="933"/>
                  </a:lnTo>
                  <a:lnTo>
                    <a:pt x="12" y="921"/>
                  </a:lnTo>
                  <a:lnTo>
                    <a:pt x="16" y="909"/>
                  </a:lnTo>
                  <a:lnTo>
                    <a:pt x="49" y="909"/>
                  </a:lnTo>
                  <a:lnTo>
                    <a:pt x="49" y="876"/>
                  </a:lnTo>
                  <a:lnTo>
                    <a:pt x="64" y="888"/>
                  </a:lnTo>
                  <a:lnTo>
                    <a:pt x="108" y="888"/>
                  </a:lnTo>
                  <a:lnTo>
                    <a:pt x="118" y="893"/>
                  </a:lnTo>
                  <a:lnTo>
                    <a:pt x="134" y="893"/>
                  </a:lnTo>
                  <a:lnTo>
                    <a:pt x="139" y="876"/>
                  </a:lnTo>
                  <a:lnTo>
                    <a:pt x="172" y="872"/>
                  </a:lnTo>
                  <a:lnTo>
                    <a:pt x="177" y="888"/>
                  </a:lnTo>
                  <a:lnTo>
                    <a:pt x="189" y="888"/>
                  </a:lnTo>
                  <a:lnTo>
                    <a:pt x="210" y="872"/>
                  </a:lnTo>
                  <a:lnTo>
                    <a:pt x="198" y="872"/>
                  </a:lnTo>
                  <a:lnTo>
                    <a:pt x="198" y="855"/>
                  </a:lnTo>
                  <a:lnTo>
                    <a:pt x="210" y="855"/>
                  </a:lnTo>
                  <a:lnTo>
                    <a:pt x="193" y="815"/>
                  </a:lnTo>
                  <a:lnTo>
                    <a:pt x="189" y="798"/>
                  </a:lnTo>
                  <a:lnTo>
                    <a:pt x="177" y="777"/>
                  </a:lnTo>
                  <a:lnTo>
                    <a:pt x="156" y="777"/>
                  </a:lnTo>
                  <a:lnTo>
                    <a:pt x="139" y="756"/>
                  </a:lnTo>
                  <a:lnTo>
                    <a:pt x="146" y="711"/>
                  </a:lnTo>
                  <a:lnTo>
                    <a:pt x="125" y="704"/>
                  </a:lnTo>
                  <a:lnTo>
                    <a:pt x="101" y="699"/>
                  </a:lnTo>
                  <a:lnTo>
                    <a:pt x="108" y="654"/>
                  </a:lnTo>
                  <a:lnTo>
                    <a:pt x="163" y="593"/>
                  </a:lnTo>
                  <a:lnTo>
                    <a:pt x="177" y="593"/>
                  </a:lnTo>
                  <a:lnTo>
                    <a:pt x="189" y="617"/>
                  </a:lnTo>
                  <a:lnTo>
                    <a:pt x="193" y="617"/>
                  </a:lnTo>
                  <a:lnTo>
                    <a:pt x="269" y="600"/>
                  </a:lnTo>
                  <a:lnTo>
                    <a:pt x="269" y="588"/>
                  </a:lnTo>
                  <a:lnTo>
                    <a:pt x="286" y="560"/>
                  </a:lnTo>
                  <a:lnTo>
                    <a:pt x="302" y="539"/>
                  </a:lnTo>
                  <a:lnTo>
                    <a:pt x="340" y="517"/>
                  </a:lnTo>
                  <a:lnTo>
                    <a:pt x="373" y="444"/>
                  </a:lnTo>
                  <a:lnTo>
                    <a:pt x="411" y="428"/>
                  </a:lnTo>
                  <a:lnTo>
                    <a:pt x="411" y="411"/>
                  </a:lnTo>
                  <a:lnTo>
                    <a:pt x="442" y="371"/>
                  </a:lnTo>
                  <a:lnTo>
                    <a:pt x="463" y="354"/>
                  </a:lnTo>
                  <a:lnTo>
                    <a:pt x="458" y="350"/>
                  </a:lnTo>
                  <a:lnTo>
                    <a:pt x="458" y="354"/>
                  </a:lnTo>
                  <a:lnTo>
                    <a:pt x="449" y="350"/>
                  </a:lnTo>
                  <a:lnTo>
                    <a:pt x="458" y="321"/>
                  </a:lnTo>
                  <a:lnTo>
                    <a:pt x="449" y="300"/>
                  </a:lnTo>
                  <a:lnTo>
                    <a:pt x="458" y="295"/>
                  </a:lnTo>
                  <a:lnTo>
                    <a:pt x="479" y="279"/>
                  </a:lnTo>
                  <a:lnTo>
                    <a:pt x="501" y="279"/>
                  </a:lnTo>
                  <a:lnTo>
                    <a:pt x="512" y="262"/>
                  </a:lnTo>
                  <a:lnTo>
                    <a:pt x="512" y="255"/>
                  </a:lnTo>
                  <a:lnTo>
                    <a:pt x="486" y="243"/>
                  </a:lnTo>
                  <a:lnTo>
                    <a:pt x="463" y="243"/>
                  </a:lnTo>
                  <a:lnTo>
                    <a:pt x="463" y="222"/>
                  </a:lnTo>
                  <a:lnTo>
                    <a:pt x="442" y="222"/>
                  </a:lnTo>
                  <a:lnTo>
                    <a:pt x="442" y="201"/>
                  </a:lnTo>
                  <a:lnTo>
                    <a:pt x="416" y="189"/>
                  </a:lnTo>
                  <a:lnTo>
                    <a:pt x="425" y="156"/>
                  </a:lnTo>
                  <a:lnTo>
                    <a:pt x="416" y="144"/>
                  </a:lnTo>
                  <a:lnTo>
                    <a:pt x="432" y="116"/>
                  </a:lnTo>
                  <a:lnTo>
                    <a:pt x="411" y="111"/>
                  </a:lnTo>
                  <a:lnTo>
                    <a:pt x="416" y="99"/>
                  </a:lnTo>
                  <a:lnTo>
                    <a:pt x="404" y="90"/>
                  </a:lnTo>
                  <a:lnTo>
                    <a:pt x="411" y="73"/>
                  </a:lnTo>
                  <a:lnTo>
                    <a:pt x="442" y="57"/>
                  </a:lnTo>
                  <a:lnTo>
                    <a:pt x="534" y="78"/>
                  </a:lnTo>
                  <a:lnTo>
                    <a:pt x="555" y="73"/>
                  </a:lnTo>
                  <a:lnTo>
                    <a:pt x="567" y="73"/>
                  </a:lnTo>
                  <a:lnTo>
                    <a:pt x="588" y="57"/>
                  </a:lnTo>
                  <a:lnTo>
                    <a:pt x="621" y="61"/>
                  </a:lnTo>
                  <a:lnTo>
                    <a:pt x="626" y="33"/>
                  </a:lnTo>
                  <a:lnTo>
                    <a:pt x="685" y="0"/>
                  </a:lnTo>
                  <a:lnTo>
                    <a:pt x="701" y="0"/>
                  </a:lnTo>
                  <a:lnTo>
                    <a:pt x="697" y="17"/>
                  </a:lnTo>
                  <a:lnTo>
                    <a:pt x="718" y="73"/>
                  </a:lnTo>
                  <a:lnTo>
                    <a:pt x="739" y="78"/>
                  </a:lnTo>
                  <a:lnTo>
                    <a:pt x="765" y="95"/>
                  </a:lnTo>
                  <a:lnTo>
                    <a:pt x="765" y="99"/>
                  </a:lnTo>
                  <a:lnTo>
                    <a:pt x="751" y="111"/>
                  </a:lnTo>
                  <a:lnTo>
                    <a:pt x="751" y="156"/>
                  </a:lnTo>
                  <a:lnTo>
                    <a:pt x="765" y="172"/>
                  </a:lnTo>
                  <a:lnTo>
                    <a:pt x="793" y="189"/>
                  </a:lnTo>
                  <a:lnTo>
                    <a:pt x="789" y="206"/>
                  </a:lnTo>
                  <a:lnTo>
                    <a:pt x="803" y="222"/>
                  </a:lnTo>
                  <a:lnTo>
                    <a:pt x="789" y="243"/>
                  </a:lnTo>
                  <a:lnTo>
                    <a:pt x="782" y="243"/>
                  </a:lnTo>
                  <a:lnTo>
                    <a:pt x="765" y="255"/>
                  </a:lnTo>
                  <a:lnTo>
                    <a:pt x="751" y="243"/>
                  </a:lnTo>
                  <a:lnTo>
                    <a:pt x="751" y="227"/>
                  </a:lnTo>
                  <a:lnTo>
                    <a:pt x="727" y="239"/>
                  </a:lnTo>
                  <a:lnTo>
                    <a:pt x="727" y="262"/>
                  </a:lnTo>
                  <a:lnTo>
                    <a:pt x="751" y="284"/>
                  </a:lnTo>
                  <a:lnTo>
                    <a:pt x="739" y="300"/>
                  </a:lnTo>
                  <a:lnTo>
                    <a:pt x="756" y="312"/>
                  </a:lnTo>
                  <a:lnTo>
                    <a:pt x="751" y="317"/>
                  </a:lnTo>
                  <a:lnTo>
                    <a:pt x="751" y="333"/>
                  </a:lnTo>
                  <a:lnTo>
                    <a:pt x="756" y="338"/>
                  </a:lnTo>
                  <a:lnTo>
                    <a:pt x="772" y="321"/>
                  </a:lnTo>
                  <a:lnTo>
                    <a:pt x="803" y="366"/>
                  </a:lnTo>
                  <a:lnTo>
                    <a:pt x="827" y="366"/>
                  </a:lnTo>
                  <a:lnTo>
                    <a:pt x="857" y="378"/>
                  </a:lnTo>
                  <a:lnTo>
                    <a:pt x="848" y="395"/>
                  </a:lnTo>
                  <a:lnTo>
                    <a:pt x="879" y="406"/>
                  </a:lnTo>
                  <a:lnTo>
                    <a:pt x="912" y="428"/>
                  </a:lnTo>
                  <a:lnTo>
                    <a:pt x="864" y="461"/>
                  </a:lnTo>
                  <a:lnTo>
                    <a:pt x="864" y="477"/>
                  </a:lnTo>
                  <a:lnTo>
                    <a:pt x="848" y="482"/>
                  </a:lnTo>
                  <a:lnTo>
                    <a:pt x="857" y="501"/>
                  </a:lnTo>
                  <a:lnTo>
                    <a:pt x="841" y="534"/>
                  </a:lnTo>
                  <a:lnTo>
                    <a:pt x="874" y="555"/>
                  </a:lnTo>
                  <a:lnTo>
                    <a:pt x="874" y="543"/>
                  </a:lnTo>
                  <a:lnTo>
                    <a:pt x="916" y="572"/>
                  </a:lnTo>
                  <a:lnTo>
                    <a:pt x="928" y="588"/>
                  </a:lnTo>
                  <a:lnTo>
                    <a:pt x="966" y="609"/>
                  </a:lnTo>
                  <a:lnTo>
                    <a:pt x="982" y="600"/>
                  </a:lnTo>
                  <a:lnTo>
                    <a:pt x="1004" y="628"/>
                  </a:lnTo>
                  <a:lnTo>
                    <a:pt x="1025" y="617"/>
                  </a:lnTo>
                  <a:lnTo>
                    <a:pt x="1025" y="633"/>
                  </a:lnTo>
                  <a:lnTo>
                    <a:pt x="1058" y="645"/>
                  </a:lnTo>
                  <a:lnTo>
                    <a:pt x="1063" y="650"/>
                  </a:lnTo>
                  <a:lnTo>
                    <a:pt x="1075" y="645"/>
                  </a:lnTo>
                  <a:lnTo>
                    <a:pt x="1105" y="650"/>
                  </a:lnTo>
                  <a:lnTo>
                    <a:pt x="1105" y="645"/>
                  </a:lnTo>
                  <a:lnTo>
                    <a:pt x="1129" y="633"/>
                  </a:lnTo>
                  <a:lnTo>
                    <a:pt x="1134" y="645"/>
                  </a:lnTo>
                  <a:lnTo>
                    <a:pt x="1160" y="650"/>
                  </a:lnTo>
                  <a:lnTo>
                    <a:pt x="1167" y="671"/>
                  </a:lnTo>
                  <a:lnTo>
                    <a:pt x="1214" y="699"/>
                  </a:lnTo>
                  <a:lnTo>
                    <a:pt x="1226" y="683"/>
                  </a:lnTo>
                  <a:lnTo>
                    <a:pt x="1252" y="704"/>
                  </a:lnTo>
                  <a:lnTo>
                    <a:pt x="1256" y="699"/>
                  </a:lnTo>
                  <a:lnTo>
                    <a:pt x="1311" y="721"/>
                  </a:lnTo>
                  <a:lnTo>
                    <a:pt x="1327" y="711"/>
                  </a:lnTo>
                  <a:lnTo>
                    <a:pt x="1344" y="721"/>
                  </a:lnTo>
                  <a:lnTo>
                    <a:pt x="1386" y="711"/>
                  </a:lnTo>
                  <a:lnTo>
                    <a:pt x="1398" y="721"/>
                  </a:lnTo>
                  <a:lnTo>
                    <a:pt x="1415" y="699"/>
                  </a:lnTo>
                  <a:lnTo>
                    <a:pt x="1398" y="666"/>
                  </a:lnTo>
                  <a:lnTo>
                    <a:pt x="1403" y="633"/>
                  </a:lnTo>
                  <a:lnTo>
                    <a:pt x="1415" y="609"/>
                  </a:lnTo>
                  <a:lnTo>
                    <a:pt x="1403" y="609"/>
                  </a:lnTo>
                  <a:lnTo>
                    <a:pt x="1403" y="600"/>
                  </a:lnTo>
                  <a:lnTo>
                    <a:pt x="1431" y="593"/>
                  </a:lnTo>
                  <a:lnTo>
                    <a:pt x="1441" y="588"/>
                  </a:lnTo>
                  <a:lnTo>
                    <a:pt x="1457" y="593"/>
                  </a:lnTo>
                  <a:lnTo>
                    <a:pt x="1457" y="609"/>
                  </a:lnTo>
                  <a:lnTo>
                    <a:pt x="1453" y="633"/>
                  </a:lnTo>
                  <a:lnTo>
                    <a:pt x="1457" y="650"/>
                  </a:lnTo>
                  <a:lnTo>
                    <a:pt x="1453" y="666"/>
                  </a:lnTo>
                  <a:lnTo>
                    <a:pt x="1457" y="671"/>
                  </a:lnTo>
                  <a:lnTo>
                    <a:pt x="1474" y="687"/>
                  </a:lnTo>
                  <a:lnTo>
                    <a:pt x="1490" y="687"/>
                  </a:lnTo>
                  <a:lnTo>
                    <a:pt x="1512" y="699"/>
                  </a:lnTo>
                  <a:lnTo>
                    <a:pt x="1545" y="699"/>
                  </a:lnTo>
                  <a:lnTo>
                    <a:pt x="1566" y="683"/>
                  </a:lnTo>
                  <a:lnTo>
                    <a:pt x="1592" y="687"/>
                  </a:lnTo>
                  <a:lnTo>
                    <a:pt x="1630" y="687"/>
                  </a:lnTo>
                  <a:lnTo>
                    <a:pt x="1634" y="683"/>
                  </a:lnTo>
                  <a:lnTo>
                    <a:pt x="1646" y="687"/>
                  </a:lnTo>
                  <a:lnTo>
                    <a:pt x="1684" y="683"/>
                  </a:lnTo>
                  <a:lnTo>
                    <a:pt x="1672" y="666"/>
                  </a:lnTo>
                  <a:lnTo>
                    <a:pt x="1684" y="650"/>
                  </a:lnTo>
                  <a:lnTo>
                    <a:pt x="1672" y="633"/>
                  </a:lnTo>
                  <a:lnTo>
                    <a:pt x="1651" y="633"/>
                  </a:lnTo>
                  <a:lnTo>
                    <a:pt x="1651" y="628"/>
                  </a:lnTo>
                  <a:lnTo>
                    <a:pt x="1651" y="617"/>
                  </a:lnTo>
                  <a:lnTo>
                    <a:pt x="1672" y="617"/>
                  </a:lnTo>
                  <a:lnTo>
                    <a:pt x="1701" y="609"/>
                  </a:lnTo>
                  <a:lnTo>
                    <a:pt x="1710" y="609"/>
                  </a:lnTo>
                  <a:lnTo>
                    <a:pt x="1727" y="600"/>
                  </a:lnTo>
                  <a:lnTo>
                    <a:pt x="1727" y="588"/>
                  </a:lnTo>
                  <a:lnTo>
                    <a:pt x="1760" y="572"/>
                  </a:lnTo>
                  <a:lnTo>
                    <a:pt x="1776" y="543"/>
                  </a:lnTo>
                  <a:lnTo>
                    <a:pt x="1814" y="543"/>
                  </a:lnTo>
                  <a:lnTo>
                    <a:pt x="1835" y="517"/>
                  </a:lnTo>
                  <a:lnTo>
                    <a:pt x="1861" y="489"/>
                  </a:lnTo>
                  <a:lnTo>
                    <a:pt x="1873" y="506"/>
                  </a:lnTo>
                  <a:lnTo>
                    <a:pt x="1916" y="517"/>
                  </a:lnTo>
                  <a:lnTo>
                    <a:pt x="1927" y="501"/>
                  </a:lnTo>
                  <a:lnTo>
                    <a:pt x="1958" y="482"/>
                  </a:lnTo>
                  <a:lnTo>
                    <a:pt x="1975" y="501"/>
                  </a:lnTo>
                  <a:lnTo>
                    <a:pt x="1982" y="501"/>
                  </a:lnTo>
                  <a:lnTo>
                    <a:pt x="1970" y="517"/>
                  </a:lnTo>
                  <a:lnTo>
                    <a:pt x="1970" y="522"/>
                  </a:lnTo>
                  <a:lnTo>
                    <a:pt x="1991" y="517"/>
                  </a:lnTo>
                  <a:lnTo>
                    <a:pt x="1996" y="539"/>
                  </a:lnTo>
                  <a:lnTo>
                    <a:pt x="1982" y="555"/>
                  </a:lnTo>
                  <a:lnTo>
                    <a:pt x="1982" y="572"/>
                  </a:lnTo>
                  <a:lnTo>
                    <a:pt x="2008" y="560"/>
                  </a:lnTo>
                  <a:lnTo>
                    <a:pt x="2029" y="572"/>
                  </a:lnTo>
                  <a:lnTo>
                    <a:pt x="2034" y="572"/>
                  </a:lnTo>
                  <a:lnTo>
                    <a:pt x="2050" y="576"/>
                  </a:lnTo>
                  <a:lnTo>
                    <a:pt x="2050" y="600"/>
                  </a:lnTo>
                  <a:lnTo>
                    <a:pt x="2024" y="628"/>
                  </a:lnTo>
                  <a:lnTo>
                    <a:pt x="2034" y="666"/>
                  </a:lnTo>
                  <a:lnTo>
                    <a:pt x="2024" y="654"/>
                  </a:lnTo>
                  <a:lnTo>
                    <a:pt x="2008" y="650"/>
                  </a:lnTo>
                  <a:lnTo>
                    <a:pt x="1975" y="650"/>
                  </a:lnTo>
                  <a:lnTo>
                    <a:pt x="1920" y="699"/>
                  </a:lnTo>
                  <a:lnTo>
                    <a:pt x="1899" y="704"/>
                  </a:lnTo>
                  <a:lnTo>
                    <a:pt x="1890" y="728"/>
                  </a:lnTo>
                  <a:lnTo>
                    <a:pt x="1899" y="744"/>
                  </a:lnTo>
                  <a:lnTo>
                    <a:pt x="1882" y="782"/>
                  </a:lnTo>
                  <a:lnTo>
                    <a:pt x="1861" y="798"/>
                  </a:lnTo>
                  <a:lnTo>
                    <a:pt x="1861" y="810"/>
                  </a:lnTo>
                  <a:lnTo>
                    <a:pt x="1868" y="815"/>
                  </a:lnTo>
                  <a:lnTo>
                    <a:pt x="1868" y="822"/>
                  </a:lnTo>
                  <a:lnTo>
                    <a:pt x="1830" y="921"/>
                  </a:lnTo>
                  <a:lnTo>
                    <a:pt x="1797" y="905"/>
                  </a:lnTo>
                  <a:lnTo>
                    <a:pt x="1781" y="909"/>
                  </a:lnTo>
                  <a:lnTo>
                    <a:pt x="1776" y="893"/>
                  </a:lnTo>
                  <a:lnTo>
                    <a:pt x="1776" y="926"/>
                  </a:lnTo>
                  <a:lnTo>
                    <a:pt x="1776" y="966"/>
                  </a:lnTo>
                  <a:lnTo>
                    <a:pt x="1764" y="983"/>
                  </a:lnTo>
                  <a:lnTo>
                    <a:pt x="1760" y="976"/>
                  </a:lnTo>
                  <a:lnTo>
                    <a:pt x="1755" y="1004"/>
                  </a:lnTo>
                  <a:lnTo>
                    <a:pt x="1760" y="1037"/>
                  </a:lnTo>
                  <a:lnTo>
                    <a:pt x="1755" y="1037"/>
                  </a:lnTo>
                  <a:lnTo>
                    <a:pt x="1743" y="1054"/>
                  </a:lnTo>
                  <a:lnTo>
                    <a:pt x="1727" y="1049"/>
                  </a:lnTo>
                  <a:lnTo>
                    <a:pt x="1722" y="1061"/>
                  </a:lnTo>
                  <a:lnTo>
                    <a:pt x="1710" y="1004"/>
                  </a:lnTo>
                  <a:lnTo>
                    <a:pt x="1705" y="983"/>
                  </a:lnTo>
                  <a:lnTo>
                    <a:pt x="1705" y="959"/>
                  </a:lnTo>
                  <a:lnTo>
                    <a:pt x="1701" y="926"/>
                  </a:lnTo>
                  <a:lnTo>
                    <a:pt x="1701" y="926"/>
                  </a:lnTo>
                  <a:lnTo>
                    <a:pt x="1701" y="926"/>
                  </a:lnTo>
                  <a:close/>
                  <a:moveTo>
                    <a:pt x="1441" y="1070"/>
                  </a:moveTo>
                  <a:lnTo>
                    <a:pt x="1436" y="1070"/>
                  </a:lnTo>
                  <a:lnTo>
                    <a:pt x="1441" y="1061"/>
                  </a:lnTo>
                  <a:lnTo>
                    <a:pt x="1441" y="1070"/>
                  </a:lnTo>
                  <a:lnTo>
                    <a:pt x="1441" y="1070"/>
                  </a:lnTo>
                  <a:lnTo>
                    <a:pt x="1441" y="1070"/>
                  </a:lnTo>
                  <a:close/>
                  <a:moveTo>
                    <a:pt x="1403" y="1070"/>
                  </a:moveTo>
                  <a:lnTo>
                    <a:pt x="1403" y="1087"/>
                  </a:lnTo>
                  <a:lnTo>
                    <a:pt x="1403" y="1070"/>
                  </a:lnTo>
                  <a:lnTo>
                    <a:pt x="1403" y="1070"/>
                  </a:lnTo>
                  <a:lnTo>
                    <a:pt x="1403" y="1070"/>
                  </a:lnTo>
                  <a:close/>
                  <a:moveTo>
                    <a:pt x="1738" y="1736"/>
                  </a:moveTo>
                  <a:lnTo>
                    <a:pt x="1738" y="1703"/>
                  </a:lnTo>
                  <a:lnTo>
                    <a:pt x="1743" y="1687"/>
                  </a:lnTo>
                  <a:lnTo>
                    <a:pt x="1755" y="1687"/>
                  </a:lnTo>
                  <a:lnTo>
                    <a:pt x="1755" y="1720"/>
                  </a:lnTo>
                  <a:lnTo>
                    <a:pt x="1743" y="1720"/>
                  </a:lnTo>
                  <a:lnTo>
                    <a:pt x="1738" y="1736"/>
                  </a:lnTo>
                  <a:lnTo>
                    <a:pt x="1738" y="1736"/>
                  </a:lnTo>
                  <a:lnTo>
                    <a:pt x="1738" y="1736"/>
                  </a:lnTo>
                  <a:close/>
                  <a:moveTo>
                    <a:pt x="1738" y="1776"/>
                  </a:moveTo>
                  <a:lnTo>
                    <a:pt x="1727" y="1776"/>
                  </a:lnTo>
                  <a:lnTo>
                    <a:pt x="1727" y="1743"/>
                  </a:lnTo>
                  <a:lnTo>
                    <a:pt x="1743" y="1736"/>
                  </a:lnTo>
                  <a:lnTo>
                    <a:pt x="1743" y="1760"/>
                  </a:lnTo>
                  <a:lnTo>
                    <a:pt x="1743" y="1769"/>
                  </a:lnTo>
                  <a:lnTo>
                    <a:pt x="1738" y="1769"/>
                  </a:lnTo>
                  <a:lnTo>
                    <a:pt x="1738" y="1776"/>
                  </a:lnTo>
                  <a:lnTo>
                    <a:pt x="1738" y="1776"/>
                  </a:lnTo>
                  <a:lnTo>
                    <a:pt x="1738" y="1776"/>
                  </a:lnTo>
                  <a:close/>
                  <a:moveTo>
                    <a:pt x="1727" y="1793"/>
                  </a:moveTo>
                  <a:lnTo>
                    <a:pt x="1727" y="1776"/>
                  </a:lnTo>
                  <a:lnTo>
                    <a:pt x="1743" y="1776"/>
                  </a:lnTo>
                  <a:lnTo>
                    <a:pt x="1727" y="1793"/>
                  </a:lnTo>
                  <a:lnTo>
                    <a:pt x="1727" y="1793"/>
                  </a:lnTo>
                  <a:lnTo>
                    <a:pt x="1727" y="1793"/>
                  </a:lnTo>
                  <a:close/>
                  <a:moveTo>
                    <a:pt x="1727" y="1793"/>
                  </a:moveTo>
                  <a:lnTo>
                    <a:pt x="1727" y="1835"/>
                  </a:lnTo>
                  <a:lnTo>
                    <a:pt x="1710" y="1809"/>
                  </a:lnTo>
                  <a:lnTo>
                    <a:pt x="1727" y="1781"/>
                  </a:lnTo>
                  <a:lnTo>
                    <a:pt x="1727" y="1793"/>
                  </a:lnTo>
                  <a:lnTo>
                    <a:pt x="1727" y="1793"/>
                  </a:lnTo>
                  <a:lnTo>
                    <a:pt x="1727" y="1793"/>
                  </a:lnTo>
                  <a:close/>
                  <a:moveTo>
                    <a:pt x="1755" y="1798"/>
                  </a:moveTo>
                  <a:lnTo>
                    <a:pt x="1755" y="1809"/>
                  </a:lnTo>
                  <a:lnTo>
                    <a:pt x="1743" y="1798"/>
                  </a:lnTo>
                  <a:lnTo>
                    <a:pt x="1755" y="1798"/>
                  </a:lnTo>
                  <a:lnTo>
                    <a:pt x="1755" y="1798"/>
                  </a:lnTo>
                  <a:lnTo>
                    <a:pt x="1755" y="1798"/>
                  </a:lnTo>
                  <a:close/>
                  <a:moveTo>
                    <a:pt x="1701" y="1831"/>
                  </a:moveTo>
                  <a:lnTo>
                    <a:pt x="1689" y="1831"/>
                  </a:lnTo>
                  <a:lnTo>
                    <a:pt x="1701" y="1831"/>
                  </a:lnTo>
                  <a:lnTo>
                    <a:pt x="1701" y="1831"/>
                  </a:lnTo>
                  <a:lnTo>
                    <a:pt x="1701" y="1831"/>
                  </a:lnTo>
                  <a:close/>
                  <a:moveTo>
                    <a:pt x="1722" y="1847"/>
                  </a:moveTo>
                  <a:lnTo>
                    <a:pt x="1722" y="1831"/>
                  </a:lnTo>
                  <a:lnTo>
                    <a:pt x="1727" y="1847"/>
                  </a:lnTo>
                  <a:lnTo>
                    <a:pt x="1722" y="1847"/>
                  </a:lnTo>
                  <a:lnTo>
                    <a:pt x="1722" y="1847"/>
                  </a:lnTo>
                  <a:lnTo>
                    <a:pt x="1722" y="1847"/>
                  </a:lnTo>
                  <a:close/>
                  <a:moveTo>
                    <a:pt x="1710" y="1887"/>
                  </a:moveTo>
                  <a:lnTo>
                    <a:pt x="1710" y="1909"/>
                  </a:lnTo>
                  <a:lnTo>
                    <a:pt x="1705" y="1904"/>
                  </a:lnTo>
                  <a:lnTo>
                    <a:pt x="1705" y="1887"/>
                  </a:lnTo>
                  <a:lnTo>
                    <a:pt x="1710" y="1880"/>
                  </a:lnTo>
                  <a:lnTo>
                    <a:pt x="1710" y="1887"/>
                  </a:lnTo>
                  <a:lnTo>
                    <a:pt x="1710" y="1887"/>
                  </a:lnTo>
                  <a:lnTo>
                    <a:pt x="1710" y="1887"/>
                  </a:lnTo>
                  <a:close/>
                  <a:moveTo>
                    <a:pt x="1738" y="1998"/>
                  </a:moveTo>
                  <a:lnTo>
                    <a:pt x="1738" y="2003"/>
                  </a:lnTo>
                  <a:lnTo>
                    <a:pt x="1727" y="2003"/>
                  </a:lnTo>
                  <a:lnTo>
                    <a:pt x="1738" y="1998"/>
                  </a:lnTo>
                  <a:lnTo>
                    <a:pt x="1738" y="1998"/>
                  </a:lnTo>
                  <a:lnTo>
                    <a:pt x="1738" y="1998"/>
                  </a:lnTo>
                  <a:close/>
                  <a:moveTo>
                    <a:pt x="1755" y="2069"/>
                  </a:moveTo>
                  <a:lnTo>
                    <a:pt x="1760" y="2074"/>
                  </a:lnTo>
                  <a:lnTo>
                    <a:pt x="1755" y="2069"/>
                  </a:lnTo>
                  <a:lnTo>
                    <a:pt x="1755" y="2069"/>
                  </a:lnTo>
                  <a:lnTo>
                    <a:pt x="1755" y="2069"/>
                  </a:lnTo>
                  <a:close/>
                  <a:moveTo>
                    <a:pt x="1781" y="2074"/>
                  </a:moveTo>
                  <a:lnTo>
                    <a:pt x="1781" y="2091"/>
                  </a:lnTo>
                  <a:lnTo>
                    <a:pt x="1776" y="2074"/>
                  </a:lnTo>
                  <a:lnTo>
                    <a:pt x="1781" y="2074"/>
                  </a:lnTo>
                  <a:lnTo>
                    <a:pt x="1781" y="2074"/>
                  </a:lnTo>
                  <a:lnTo>
                    <a:pt x="1781" y="2074"/>
                  </a:lnTo>
                  <a:close/>
                  <a:moveTo>
                    <a:pt x="1776" y="2091"/>
                  </a:moveTo>
                  <a:lnTo>
                    <a:pt x="1781" y="2102"/>
                  </a:lnTo>
                  <a:lnTo>
                    <a:pt x="1764" y="2091"/>
                  </a:lnTo>
                  <a:lnTo>
                    <a:pt x="1776" y="2091"/>
                  </a:lnTo>
                  <a:lnTo>
                    <a:pt x="1776" y="2091"/>
                  </a:lnTo>
                  <a:lnTo>
                    <a:pt x="1776" y="2091"/>
                  </a:lnTo>
                  <a:close/>
                  <a:moveTo>
                    <a:pt x="1793" y="2091"/>
                  </a:moveTo>
                  <a:lnTo>
                    <a:pt x="1781" y="2091"/>
                  </a:lnTo>
                  <a:lnTo>
                    <a:pt x="1793" y="2091"/>
                  </a:lnTo>
                  <a:lnTo>
                    <a:pt x="1793" y="2091"/>
                  </a:lnTo>
                  <a:lnTo>
                    <a:pt x="1793" y="2091"/>
                  </a:lnTo>
                  <a:close/>
                  <a:moveTo>
                    <a:pt x="1797" y="2131"/>
                  </a:moveTo>
                  <a:lnTo>
                    <a:pt x="1797" y="2143"/>
                  </a:lnTo>
                  <a:lnTo>
                    <a:pt x="1793" y="2147"/>
                  </a:lnTo>
                  <a:lnTo>
                    <a:pt x="1797" y="2131"/>
                  </a:lnTo>
                  <a:lnTo>
                    <a:pt x="1797" y="2131"/>
                  </a:lnTo>
                  <a:lnTo>
                    <a:pt x="1797" y="2131"/>
                  </a:lnTo>
                  <a:close/>
                  <a:moveTo>
                    <a:pt x="1807" y="2147"/>
                  </a:moveTo>
                  <a:lnTo>
                    <a:pt x="1814" y="2164"/>
                  </a:lnTo>
                  <a:lnTo>
                    <a:pt x="1807" y="2180"/>
                  </a:lnTo>
                  <a:lnTo>
                    <a:pt x="1793" y="2159"/>
                  </a:lnTo>
                  <a:lnTo>
                    <a:pt x="1807" y="2147"/>
                  </a:lnTo>
                  <a:lnTo>
                    <a:pt x="1807" y="2147"/>
                  </a:lnTo>
                  <a:lnTo>
                    <a:pt x="1807" y="214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76" name="Freeform 476">
              <a:extLst>
                <a:ext uri="{FF2B5EF4-FFF2-40B4-BE49-F238E27FC236}">
                  <a16:creationId xmlns:a16="http://schemas.microsoft.com/office/drawing/2014/main" id="{29BCADAE-0951-4430-846E-50B162759E88}"/>
                </a:ext>
              </a:extLst>
            </p:cNvPr>
            <p:cNvSpPr>
              <a:spLocks noEditPoints="1"/>
            </p:cNvSpPr>
            <p:nvPr/>
          </p:nvSpPr>
          <p:spPr bwMode="gray">
            <a:xfrm>
              <a:off x="10295004" y="2613763"/>
              <a:ext cx="641793" cy="718445"/>
            </a:xfrm>
            <a:custGeom>
              <a:avLst/>
              <a:gdLst>
                <a:gd name="T0" fmla="*/ 1521 w 1559"/>
                <a:gd name="T1" fmla="*/ 193 h 1745"/>
                <a:gd name="T2" fmla="*/ 1483 w 1559"/>
                <a:gd name="T3" fmla="*/ 215 h 1745"/>
                <a:gd name="T4" fmla="*/ 1207 w 1559"/>
                <a:gd name="T5" fmla="*/ 267 h 1745"/>
                <a:gd name="T6" fmla="*/ 1181 w 1559"/>
                <a:gd name="T7" fmla="*/ 337 h 1745"/>
                <a:gd name="T8" fmla="*/ 1191 w 1559"/>
                <a:gd name="T9" fmla="*/ 222 h 1745"/>
                <a:gd name="T10" fmla="*/ 1278 w 1559"/>
                <a:gd name="T11" fmla="*/ 82 h 1745"/>
                <a:gd name="T12" fmla="*/ 1450 w 1559"/>
                <a:gd name="T13" fmla="*/ 139 h 1745"/>
                <a:gd name="T14" fmla="*/ 1245 w 1559"/>
                <a:gd name="T15" fmla="*/ 33 h 1745"/>
                <a:gd name="T16" fmla="*/ 1115 w 1559"/>
                <a:gd name="T17" fmla="*/ 292 h 1745"/>
                <a:gd name="T18" fmla="*/ 1136 w 1559"/>
                <a:gd name="T19" fmla="*/ 897 h 1745"/>
                <a:gd name="T20" fmla="*/ 1127 w 1559"/>
                <a:gd name="T21" fmla="*/ 876 h 1745"/>
                <a:gd name="T22" fmla="*/ 1072 w 1559"/>
                <a:gd name="T23" fmla="*/ 897 h 1745"/>
                <a:gd name="T24" fmla="*/ 943 w 1559"/>
                <a:gd name="T25" fmla="*/ 914 h 1745"/>
                <a:gd name="T26" fmla="*/ 938 w 1559"/>
                <a:gd name="T27" fmla="*/ 947 h 1745"/>
                <a:gd name="T28" fmla="*/ 801 w 1559"/>
                <a:gd name="T29" fmla="*/ 987 h 1745"/>
                <a:gd name="T30" fmla="*/ 737 w 1559"/>
                <a:gd name="T31" fmla="*/ 930 h 1745"/>
                <a:gd name="T32" fmla="*/ 666 w 1559"/>
                <a:gd name="T33" fmla="*/ 954 h 1745"/>
                <a:gd name="T34" fmla="*/ 574 w 1559"/>
                <a:gd name="T35" fmla="*/ 975 h 1745"/>
                <a:gd name="T36" fmla="*/ 633 w 1559"/>
                <a:gd name="T37" fmla="*/ 864 h 1745"/>
                <a:gd name="T38" fmla="*/ 829 w 1559"/>
                <a:gd name="T39" fmla="*/ 859 h 1745"/>
                <a:gd name="T40" fmla="*/ 921 w 1559"/>
                <a:gd name="T41" fmla="*/ 753 h 1745"/>
                <a:gd name="T42" fmla="*/ 943 w 1559"/>
                <a:gd name="T43" fmla="*/ 732 h 1745"/>
                <a:gd name="T44" fmla="*/ 1136 w 1559"/>
                <a:gd name="T45" fmla="*/ 581 h 1745"/>
                <a:gd name="T46" fmla="*/ 1169 w 1559"/>
                <a:gd name="T47" fmla="*/ 415 h 1745"/>
                <a:gd name="T48" fmla="*/ 1235 w 1559"/>
                <a:gd name="T49" fmla="*/ 375 h 1745"/>
                <a:gd name="T50" fmla="*/ 1283 w 1559"/>
                <a:gd name="T51" fmla="*/ 543 h 1745"/>
                <a:gd name="T52" fmla="*/ 1212 w 1559"/>
                <a:gd name="T53" fmla="*/ 654 h 1745"/>
                <a:gd name="T54" fmla="*/ 1051 w 1559"/>
                <a:gd name="T55" fmla="*/ 642 h 1745"/>
                <a:gd name="T56" fmla="*/ 683 w 1559"/>
                <a:gd name="T57" fmla="*/ 786 h 1745"/>
                <a:gd name="T58" fmla="*/ 1106 w 1559"/>
                <a:gd name="T59" fmla="*/ 918 h 1745"/>
                <a:gd name="T60" fmla="*/ 411 w 1559"/>
                <a:gd name="T61" fmla="*/ 918 h 1745"/>
                <a:gd name="T62" fmla="*/ 780 w 1559"/>
                <a:gd name="T63" fmla="*/ 959 h 1745"/>
                <a:gd name="T64" fmla="*/ 725 w 1559"/>
                <a:gd name="T65" fmla="*/ 1025 h 1745"/>
                <a:gd name="T66" fmla="*/ 628 w 1559"/>
                <a:gd name="T67" fmla="*/ 1041 h 1745"/>
                <a:gd name="T68" fmla="*/ 720 w 1559"/>
                <a:gd name="T69" fmla="*/ 954 h 1745"/>
                <a:gd name="T70" fmla="*/ 402 w 1559"/>
                <a:gd name="T71" fmla="*/ 959 h 1745"/>
                <a:gd name="T72" fmla="*/ 657 w 1559"/>
                <a:gd name="T73" fmla="*/ 954 h 1745"/>
                <a:gd name="T74" fmla="*/ 628 w 1559"/>
                <a:gd name="T75" fmla="*/ 970 h 1745"/>
                <a:gd name="T76" fmla="*/ 565 w 1559"/>
                <a:gd name="T77" fmla="*/ 1008 h 1745"/>
                <a:gd name="T78" fmla="*/ 527 w 1559"/>
                <a:gd name="T79" fmla="*/ 1181 h 1745"/>
                <a:gd name="T80" fmla="*/ 489 w 1559"/>
                <a:gd name="T81" fmla="*/ 1174 h 1745"/>
                <a:gd name="T82" fmla="*/ 489 w 1559"/>
                <a:gd name="T83" fmla="*/ 1081 h 1745"/>
                <a:gd name="T84" fmla="*/ 456 w 1559"/>
                <a:gd name="T85" fmla="*/ 1098 h 1745"/>
                <a:gd name="T86" fmla="*/ 435 w 1559"/>
                <a:gd name="T87" fmla="*/ 1070 h 1745"/>
                <a:gd name="T88" fmla="*/ 472 w 1559"/>
                <a:gd name="T89" fmla="*/ 1008 h 1745"/>
                <a:gd name="T90" fmla="*/ 423 w 1559"/>
                <a:gd name="T91" fmla="*/ 1004 h 1745"/>
                <a:gd name="T92" fmla="*/ 418 w 1559"/>
                <a:gd name="T93" fmla="*/ 1029 h 1745"/>
                <a:gd name="T94" fmla="*/ 385 w 1559"/>
                <a:gd name="T95" fmla="*/ 1058 h 1745"/>
                <a:gd name="T96" fmla="*/ 359 w 1559"/>
                <a:gd name="T97" fmla="*/ 1081 h 1745"/>
                <a:gd name="T98" fmla="*/ 465 w 1559"/>
                <a:gd name="T99" fmla="*/ 1103 h 1745"/>
                <a:gd name="T100" fmla="*/ 456 w 1559"/>
                <a:gd name="T101" fmla="*/ 1124 h 1745"/>
                <a:gd name="T102" fmla="*/ 527 w 1559"/>
                <a:gd name="T103" fmla="*/ 1230 h 1745"/>
                <a:gd name="T104" fmla="*/ 489 w 1559"/>
                <a:gd name="T105" fmla="*/ 1280 h 1745"/>
                <a:gd name="T106" fmla="*/ 385 w 1559"/>
                <a:gd name="T107" fmla="*/ 1436 h 1745"/>
                <a:gd name="T108" fmla="*/ 397 w 1559"/>
                <a:gd name="T109" fmla="*/ 1436 h 1745"/>
                <a:gd name="T110" fmla="*/ 359 w 1559"/>
                <a:gd name="T111" fmla="*/ 1502 h 1745"/>
                <a:gd name="T112" fmla="*/ 293 w 1559"/>
                <a:gd name="T113" fmla="*/ 1596 h 1745"/>
                <a:gd name="T114" fmla="*/ 217 w 1559"/>
                <a:gd name="T115" fmla="*/ 1580 h 1745"/>
                <a:gd name="T116" fmla="*/ 116 w 1559"/>
                <a:gd name="T117" fmla="*/ 1696 h 1745"/>
                <a:gd name="T118" fmla="*/ 33 w 1559"/>
                <a:gd name="T119" fmla="*/ 1729 h 1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59" h="1745">
                  <a:moveTo>
                    <a:pt x="1450" y="139"/>
                  </a:moveTo>
                  <a:lnTo>
                    <a:pt x="1483" y="144"/>
                  </a:lnTo>
                  <a:lnTo>
                    <a:pt x="1521" y="104"/>
                  </a:lnTo>
                  <a:lnTo>
                    <a:pt x="1531" y="111"/>
                  </a:lnTo>
                  <a:lnTo>
                    <a:pt x="1505" y="155"/>
                  </a:lnTo>
                  <a:lnTo>
                    <a:pt x="1517" y="165"/>
                  </a:lnTo>
                  <a:lnTo>
                    <a:pt x="1521" y="177"/>
                  </a:lnTo>
                  <a:lnTo>
                    <a:pt x="1517" y="165"/>
                  </a:lnTo>
                  <a:lnTo>
                    <a:pt x="1521" y="193"/>
                  </a:lnTo>
                  <a:lnTo>
                    <a:pt x="1521" y="193"/>
                  </a:lnTo>
                  <a:lnTo>
                    <a:pt x="1538" y="198"/>
                  </a:lnTo>
                  <a:lnTo>
                    <a:pt x="1547" y="193"/>
                  </a:lnTo>
                  <a:lnTo>
                    <a:pt x="1559" y="193"/>
                  </a:lnTo>
                  <a:lnTo>
                    <a:pt x="1547" y="193"/>
                  </a:lnTo>
                  <a:lnTo>
                    <a:pt x="1538" y="210"/>
                  </a:lnTo>
                  <a:lnTo>
                    <a:pt x="1517" y="210"/>
                  </a:lnTo>
                  <a:lnTo>
                    <a:pt x="1500" y="222"/>
                  </a:lnTo>
                  <a:lnTo>
                    <a:pt x="1483" y="215"/>
                  </a:lnTo>
                  <a:lnTo>
                    <a:pt x="1479" y="231"/>
                  </a:lnTo>
                  <a:lnTo>
                    <a:pt x="1450" y="222"/>
                  </a:lnTo>
                  <a:lnTo>
                    <a:pt x="1429" y="231"/>
                  </a:lnTo>
                  <a:lnTo>
                    <a:pt x="1391" y="271"/>
                  </a:lnTo>
                  <a:lnTo>
                    <a:pt x="1375" y="321"/>
                  </a:lnTo>
                  <a:lnTo>
                    <a:pt x="1278" y="255"/>
                  </a:lnTo>
                  <a:lnTo>
                    <a:pt x="1250" y="267"/>
                  </a:lnTo>
                  <a:lnTo>
                    <a:pt x="1224" y="288"/>
                  </a:lnTo>
                  <a:lnTo>
                    <a:pt x="1207" y="267"/>
                  </a:lnTo>
                  <a:lnTo>
                    <a:pt x="1181" y="267"/>
                  </a:lnTo>
                  <a:lnTo>
                    <a:pt x="1174" y="271"/>
                  </a:lnTo>
                  <a:lnTo>
                    <a:pt x="1169" y="288"/>
                  </a:lnTo>
                  <a:lnTo>
                    <a:pt x="1191" y="304"/>
                  </a:lnTo>
                  <a:lnTo>
                    <a:pt x="1198" y="304"/>
                  </a:lnTo>
                  <a:lnTo>
                    <a:pt x="1235" y="326"/>
                  </a:lnTo>
                  <a:lnTo>
                    <a:pt x="1224" y="337"/>
                  </a:lnTo>
                  <a:lnTo>
                    <a:pt x="1198" y="326"/>
                  </a:lnTo>
                  <a:lnTo>
                    <a:pt x="1181" y="337"/>
                  </a:lnTo>
                  <a:lnTo>
                    <a:pt x="1181" y="349"/>
                  </a:lnTo>
                  <a:lnTo>
                    <a:pt x="1169" y="359"/>
                  </a:lnTo>
                  <a:lnTo>
                    <a:pt x="1153" y="359"/>
                  </a:lnTo>
                  <a:lnTo>
                    <a:pt x="1153" y="342"/>
                  </a:lnTo>
                  <a:lnTo>
                    <a:pt x="1157" y="309"/>
                  </a:lnTo>
                  <a:lnTo>
                    <a:pt x="1136" y="288"/>
                  </a:lnTo>
                  <a:lnTo>
                    <a:pt x="1136" y="255"/>
                  </a:lnTo>
                  <a:lnTo>
                    <a:pt x="1174" y="238"/>
                  </a:lnTo>
                  <a:lnTo>
                    <a:pt x="1191" y="222"/>
                  </a:lnTo>
                  <a:lnTo>
                    <a:pt x="1174" y="198"/>
                  </a:lnTo>
                  <a:lnTo>
                    <a:pt x="1181" y="193"/>
                  </a:lnTo>
                  <a:lnTo>
                    <a:pt x="1207" y="210"/>
                  </a:lnTo>
                  <a:lnTo>
                    <a:pt x="1228" y="210"/>
                  </a:lnTo>
                  <a:lnTo>
                    <a:pt x="1250" y="193"/>
                  </a:lnTo>
                  <a:lnTo>
                    <a:pt x="1245" y="160"/>
                  </a:lnTo>
                  <a:lnTo>
                    <a:pt x="1266" y="139"/>
                  </a:lnTo>
                  <a:lnTo>
                    <a:pt x="1266" y="111"/>
                  </a:lnTo>
                  <a:lnTo>
                    <a:pt x="1278" y="82"/>
                  </a:lnTo>
                  <a:lnTo>
                    <a:pt x="1261" y="28"/>
                  </a:lnTo>
                  <a:lnTo>
                    <a:pt x="1266" y="11"/>
                  </a:lnTo>
                  <a:lnTo>
                    <a:pt x="1287" y="0"/>
                  </a:lnTo>
                  <a:lnTo>
                    <a:pt x="1370" y="87"/>
                  </a:lnTo>
                  <a:lnTo>
                    <a:pt x="1408" y="111"/>
                  </a:lnTo>
                  <a:lnTo>
                    <a:pt x="1413" y="127"/>
                  </a:lnTo>
                  <a:lnTo>
                    <a:pt x="1446" y="127"/>
                  </a:lnTo>
                  <a:lnTo>
                    <a:pt x="1450" y="139"/>
                  </a:lnTo>
                  <a:lnTo>
                    <a:pt x="1450" y="139"/>
                  </a:lnTo>
                  <a:lnTo>
                    <a:pt x="1450" y="139"/>
                  </a:lnTo>
                  <a:close/>
                  <a:moveTo>
                    <a:pt x="1224" y="11"/>
                  </a:moveTo>
                  <a:lnTo>
                    <a:pt x="1228" y="11"/>
                  </a:lnTo>
                  <a:lnTo>
                    <a:pt x="1224" y="28"/>
                  </a:lnTo>
                  <a:lnTo>
                    <a:pt x="1224" y="11"/>
                  </a:lnTo>
                  <a:lnTo>
                    <a:pt x="1224" y="11"/>
                  </a:lnTo>
                  <a:lnTo>
                    <a:pt x="1224" y="11"/>
                  </a:lnTo>
                  <a:close/>
                  <a:moveTo>
                    <a:pt x="1228" y="28"/>
                  </a:moveTo>
                  <a:lnTo>
                    <a:pt x="1245" y="33"/>
                  </a:lnTo>
                  <a:lnTo>
                    <a:pt x="1228" y="33"/>
                  </a:lnTo>
                  <a:lnTo>
                    <a:pt x="1228" y="28"/>
                  </a:lnTo>
                  <a:lnTo>
                    <a:pt x="1228" y="28"/>
                  </a:lnTo>
                  <a:lnTo>
                    <a:pt x="1228" y="28"/>
                  </a:lnTo>
                  <a:close/>
                  <a:moveTo>
                    <a:pt x="1115" y="292"/>
                  </a:moveTo>
                  <a:lnTo>
                    <a:pt x="1120" y="288"/>
                  </a:lnTo>
                  <a:lnTo>
                    <a:pt x="1115" y="304"/>
                  </a:lnTo>
                  <a:lnTo>
                    <a:pt x="1115" y="292"/>
                  </a:lnTo>
                  <a:lnTo>
                    <a:pt x="1115" y="292"/>
                  </a:lnTo>
                  <a:lnTo>
                    <a:pt x="1115" y="292"/>
                  </a:lnTo>
                  <a:close/>
                  <a:moveTo>
                    <a:pt x="1207" y="748"/>
                  </a:moveTo>
                  <a:lnTo>
                    <a:pt x="1191" y="791"/>
                  </a:lnTo>
                  <a:lnTo>
                    <a:pt x="1207" y="843"/>
                  </a:lnTo>
                  <a:lnTo>
                    <a:pt x="1181" y="859"/>
                  </a:lnTo>
                  <a:lnTo>
                    <a:pt x="1174" y="892"/>
                  </a:lnTo>
                  <a:lnTo>
                    <a:pt x="1157" y="892"/>
                  </a:lnTo>
                  <a:lnTo>
                    <a:pt x="1143" y="902"/>
                  </a:lnTo>
                  <a:lnTo>
                    <a:pt x="1136" y="897"/>
                  </a:lnTo>
                  <a:lnTo>
                    <a:pt x="1143" y="897"/>
                  </a:lnTo>
                  <a:lnTo>
                    <a:pt x="1136" y="876"/>
                  </a:lnTo>
                  <a:lnTo>
                    <a:pt x="1157" y="848"/>
                  </a:lnTo>
                  <a:lnTo>
                    <a:pt x="1143" y="843"/>
                  </a:lnTo>
                  <a:lnTo>
                    <a:pt x="1136" y="843"/>
                  </a:lnTo>
                  <a:lnTo>
                    <a:pt x="1136" y="859"/>
                  </a:lnTo>
                  <a:lnTo>
                    <a:pt x="1127" y="859"/>
                  </a:lnTo>
                  <a:lnTo>
                    <a:pt x="1127" y="876"/>
                  </a:lnTo>
                  <a:lnTo>
                    <a:pt x="1127" y="876"/>
                  </a:lnTo>
                  <a:lnTo>
                    <a:pt x="1127" y="892"/>
                  </a:lnTo>
                  <a:lnTo>
                    <a:pt x="1120" y="876"/>
                  </a:lnTo>
                  <a:lnTo>
                    <a:pt x="1089" y="881"/>
                  </a:lnTo>
                  <a:lnTo>
                    <a:pt x="1082" y="892"/>
                  </a:lnTo>
                  <a:lnTo>
                    <a:pt x="1089" y="902"/>
                  </a:lnTo>
                  <a:lnTo>
                    <a:pt x="1068" y="930"/>
                  </a:lnTo>
                  <a:lnTo>
                    <a:pt x="1061" y="918"/>
                  </a:lnTo>
                  <a:lnTo>
                    <a:pt x="1068" y="897"/>
                  </a:lnTo>
                  <a:lnTo>
                    <a:pt x="1072" y="897"/>
                  </a:lnTo>
                  <a:lnTo>
                    <a:pt x="1061" y="892"/>
                  </a:lnTo>
                  <a:lnTo>
                    <a:pt x="1051" y="892"/>
                  </a:lnTo>
                  <a:lnTo>
                    <a:pt x="1035" y="902"/>
                  </a:lnTo>
                  <a:lnTo>
                    <a:pt x="1018" y="930"/>
                  </a:lnTo>
                  <a:lnTo>
                    <a:pt x="980" y="918"/>
                  </a:lnTo>
                  <a:lnTo>
                    <a:pt x="943" y="930"/>
                  </a:lnTo>
                  <a:lnTo>
                    <a:pt x="964" y="918"/>
                  </a:lnTo>
                  <a:lnTo>
                    <a:pt x="959" y="914"/>
                  </a:lnTo>
                  <a:lnTo>
                    <a:pt x="943" y="914"/>
                  </a:lnTo>
                  <a:lnTo>
                    <a:pt x="938" y="902"/>
                  </a:lnTo>
                  <a:lnTo>
                    <a:pt x="938" y="914"/>
                  </a:lnTo>
                  <a:lnTo>
                    <a:pt x="938" y="918"/>
                  </a:lnTo>
                  <a:lnTo>
                    <a:pt x="926" y="918"/>
                  </a:lnTo>
                  <a:lnTo>
                    <a:pt x="926" y="892"/>
                  </a:lnTo>
                  <a:lnTo>
                    <a:pt x="909" y="897"/>
                  </a:lnTo>
                  <a:lnTo>
                    <a:pt x="905" y="918"/>
                  </a:lnTo>
                  <a:lnTo>
                    <a:pt x="905" y="930"/>
                  </a:lnTo>
                  <a:lnTo>
                    <a:pt x="938" y="947"/>
                  </a:lnTo>
                  <a:lnTo>
                    <a:pt x="938" y="954"/>
                  </a:lnTo>
                  <a:lnTo>
                    <a:pt x="909" y="954"/>
                  </a:lnTo>
                  <a:lnTo>
                    <a:pt x="900" y="959"/>
                  </a:lnTo>
                  <a:lnTo>
                    <a:pt x="888" y="987"/>
                  </a:lnTo>
                  <a:lnTo>
                    <a:pt x="850" y="1025"/>
                  </a:lnTo>
                  <a:lnTo>
                    <a:pt x="829" y="1013"/>
                  </a:lnTo>
                  <a:lnTo>
                    <a:pt x="817" y="1008"/>
                  </a:lnTo>
                  <a:lnTo>
                    <a:pt x="829" y="1004"/>
                  </a:lnTo>
                  <a:lnTo>
                    <a:pt x="801" y="987"/>
                  </a:lnTo>
                  <a:lnTo>
                    <a:pt x="813" y="970"/>
                  </a:lnTo>
                  <a:lnTo>
                    <a:pt x="801" y="959"/>
                  </a:lnTo>
                  <a:lnTo>
                    <a:pt x="801" y="954"/>
                  </a:lnTo>
                  <a:lnTo>
                    <a:pt x="829" y="930"/>
                  </a:lnTo>
                  <a:lnTo>
                    <a:pt x="817" y="918"/>
                  </a:lnTo>
                  <a:lnTo>
                    <a:pt x="801" y="930"/>
                  </a:lnTo>
                  <a:lnTo>
                    <a:pt x="775" y="914"/>
                  </a:lnTo>
                  <a:lnTo>
                    <a:pt x="742" y="918"/>
                  </a:lnTo>
                  <a:lnTo>
                    <a:pt x="737" y="930"/>
                  </a:lnTo>
                  <a:lnTo>
                    <a:pt x="725" y="930"/>
                  </a:lnTo>
                  <a:lnTo>
                    <a:pt x="737" y="930"/>
                  </a:lnTo>
                  <a:lnTo>
                    <a:pt x="725" y="947"/>
                  </a:lnTo>
                  <a:lnTo>
                    <a:pt x="704" y="937"/>
                  </a:lnTo>
                  <a:lnTo>
                    <a:pt x="683" y="954"/>
                  </a:lnTo>
                  <a:lnTo>
                    <a:pt x="671" y="947"/>
                  </a:lnTo>
                  <a:lnTo>
                    <a:pt x="671" y="954"/>
                  </a:lnTo>
                  <a:lnTo>
                    <a:pt x="666" y="959"/>
                  </a:lnTo>
                  <a:lnTo>
                    <a:pt x="666" y="954"/>
                  </a:lnTo>
                  <a:lnTo>
                    <a:pt x="650" y="954"/>
                  </a:lnTo>
                  <a:lnTo>
                    <a:pt x="628" y="959"/>
                  </a:lnTo>
                  <a:lnTo>
                    <a:pt x="628" y="954"/>
                  </a:lnTo>
                  <a:lnTo>
                    <a:pt x="612" y="954"/>
                  </a:lnTo>
                  <a:lnTo>
                    <a:pt x="602" y="959"/>
                  </a:lnTo>
                  <a:lnTo>
                    <a:pt x="595" y="992"/>
                  </a:lnTo>
                  <a:lnTo>
                    <a:pt x="586" y="1004"/>
                  </a:lnTo>
                  <a:lnTo>
                    <a:pt x="586" y="987"/>
                  </a:lnTo>
                  <a:lnTo>
                    <a:pt x="574" y="975"/>
                  </a:lnTo>
                  <a:lnTo>
                    <a:pt x="532" y="987"/>
                  </a:lnTo>
                  <a:lnTo>
                    <a:pt x="520" y="975"/>
                  </a:lnTo>
                  <a:lnTo>
                    <a:pt x="510" y="987"/>
                  </a:lnTo>
                  <a:lnTo>
                    <a:pt x="510" y="947"/>
                  </a:lnTo>
                  <a:lnTo>
                    <a:pt x="548" y="947"/>
                  </a:lnTo>
                  <a:lnTo>
                    <a:pt x="557" y="930"/>
                  </a:lnTo>
                  <a:lnTo>
                    <a:pt x="579" y="918"/>
                  </a:lnTo>
                  <a:lnTo>
                    <a:pt x="633" y="876"/>
                  </a:lnTo>
                  <a:lnTo>
                    <a:pt x="633" y="864"/>
                  </a:lnTo>
                  <a:lnTo>
                    <a:pt x="666" y="848"/>
                  </a:lnTo>
                  <a:lnTo>
                    <a:pt x="687" y="859"/>
                  </a:lnTo>
                  <a:lnTo>
                    <a:pt x="742" y="848"/>
                  </a:lnTo>
                  <a:lnTo>
                    <a:pt x="763" y="843"/>
                  </a:lnTo>
                  <a:lnTo>
                    <a:pt x="796" y="843"/>
                  </a:lnTo>
                  <a:lnTo>
                    <a:pt x="813" y="836"/>
                  </a:lnTo>
                  <a:lnTo>
                    <a:pt x="817" y="843"/>
                  </a:lnTo>
                  <a:lnTo>
                    <a:pt x="813" y="848"/>
                  </a:lnTo>
                  <a:lnTo>
                    <a:pt x="829" y="859"/>
                  </a:lnTo>
                  <a:lnTo>
                    <a:pt x="817" y="848"/>
                  </a:lnTo>
                  <a:lnTo>
                    <a:pt x="829" y="848"/>
                  </a:lnTo>
                  <a:lnTo>
                    <a:pt x="834" y="859"/>
                  </a:lnTo>
                  <a:lnTo>
                    <a:pt x="850" y="859"/>
                  </a:lnTo>
                  <a:lnTo>
                    <a:pt x="872" y="836"/>
                  </a:lnTo>
                  <a:lnTo>
                    <a:pt x="872" y="843"/>
                  </a:lnTo>
                  <a:lnTo>
                    <a:pt x="872" y="836"/>
                  </a:lnTo>
                  <a:lnTo>
                    <a:pt x="867" y="819"/>
                  </a:lnTo>
                  <a:lnTo>
                    <a:pt x="921" y="753"/>
                  </a:lnTo>
                  <a:lnTo>
                    <a:pt x="921" y="737"/>
                  </a:lnTo>
                  <a:lnTo>
                    <a:pt x="921" y="715"/>
                  </a:lnTo>
                  <a:lnTo>
                    <a:pt x="926" y="699"/>
                  </a:lnTo>
                  <a:lnTo>
                    <a:pt x="964" y="692"/>
                  </a:lnTo>
                  <a:lnTo>
                    <a:pt x="964" y="699"/>
                  </a:lnTo>
                  <a:lnTo>
                    <a:pt x="943" y="715"/>
                  </a:lnTo>
                  <a:lnTo>
                    <a:pt x="938" y="715"/>
                  </a:lnTo>
                  <a:lnTo>
                    <a:pt x="926" y="725"/>
                  </a:lnTo>
                  <a:lnTo>
                    <a:pt x="943" y="732"/>
                  </a:lnTo>
                  <a:lnTo>
                    <a:pt x="943" y="748"/>
                  </a:lnTo>
                  <a:lnTo>
                    <a:pt x="959" y="753"/>
                  </a:lnTo>
                  <a:lnTo>
                    <a:pt x="976" y="737"/>
                  </a:lnTo>
                  <a:lnTo>
                    <a:pt x="1030" y="715"/>
                  </a:lnTo>
                  <a:lnTo>
                    <a:pt x="1051" y="699"/>
                  </a:lnTo>
                  <a:lnTo>
                    <a:pt x="1068" y="670"/>
                  </a:lnTo>
                  <a:lnTo>
                    <a:pt x="1115" y="637"/>
                  </a:lnTo>
                  <a:lnTo>
                    <a:pt x="1115" y="614"/>
                  </a:lnTo>
                  <a:lnTo>
                    <a:pt x="1136" y="581"/>
                  </a:lnTo>
                  <a:lnTo>
                    <a:pt x="1153" y="531"/>
                  </a:lnTo>
                  <a:lnTo>
                    <a:pt x="1153" y="503"/>
                  </a:lnTo>
                  <a:lnTo>
                    <a:pt x="1127" y="486"/>
                  </a:lnTo>
                  <a:lnTo>
                    <a:pt x="1127" y="486"/>
                  </a:lnTo>
                  <a:lnTo>
                    <a:pt x="1143" y="486"/>
                  </a:lnTo>
                  <a:lnTo>
                    <a:pt x="1153" y="460"/>
                  </a:lnTo>
                  <a:lnTo>
                    <a:pt x="1136" y="432"/>
                  </a:lnTo>
                  <a:lnTo>
                    <a:pt x="1153" y="415"/>
                  </a:lnTo>
                  <a:lnTo>
                    <a:pt x="1169" y="415"/>
                  </a:lnTo>
                  <a:lnTo>
                    <a:pt x="1174" y="375"/>
                  </a:lnTo>
                  <a:lnTo>
                    <a:pt x="1198" y="382"/>
                  </a:lnTo>
                  <a:lnTo>
                    <a:pt x="1198" y="415"/>
                  </a:lnTo>
                  <a:lnTo>
                    <a:pt x="1207" y="404"/>
                  </a:lnTo>
                  <a:lnTo>
                    <a:pt x="1212" y="399"/>
                  </a:lnTo>
                  <a:lnTo>
                    <a:pt x="1228" y="404"/>
                  </a:lnTo>
                  <a:lnTo>
                    <a:pt x="1235" y="404"/>
                  </a:lnTo>
                  <a:lnTo>
                    <a:pt x="1235" y="382"/>
                  </a:lnTo>
                  <a:lnTo>
                    <a:pt x="1235" y="375"/>
                  </a:lnTo>
                  <a:lnTo>
                    <a:pt x="1207" y="382"/>
                  </a:lnTo>
                  <a:lnTo>
                    <a:pt x="1212" y="349"/>
                  </a:lnTo>
                  <a:lnTo>
                    <a:pt x="1235" y="366"/>
                  </a:lnTo>
                  <a:lnTo>
                    <a:pt x="1250" y="366"/>
                  </a:lnTo>
                  <a:lnTo>
                    <a:pt x="1245" y="382"/>
                  </a:lnTo>
                  <a:lnTo>
                    <a:pt x="1250" y="432"/>
                  </a:lnTo>
                  <a:lnTo>
                    <a:pt x="1278" y="460"/>
                  </a:lnTo>
                  <a:lnTo>
                    <a:pt x="1299" y="515"/>
                  </a:lnTo>
                  <a:lnTo>
                    <a:pt x="1283" y="543"/>
                  </a:lnTo>
                  <a:lnTo>
                    <a:pt x="1283" y="564"/>
                  </a:lnTo>
                  <a:lnTo>
                    <a:pt x="1266" y="564"/>
                  </a:lnTo>
                  <a:lnTo>
                    <a:pt x="1266" y="571"/>
                  </a:lnTo>
                  <a:lnTo>
                    <a:pt x="1261" y="581"/>
                  </a:lnTo>
                  <a:lnTo>
                    <a:pt x="1261" y="626"/>
                  </a:lnTo>
                  <a:lnTo>
                    <a:pt x="1245" y="614"/>
                  </a:lnTo>
                  <a:lnTo>
                    <a:pt x="1228" y="621"/>
                  </a:lnTo>
                  <a:lnTo>
                    <a:pt x="1212" y="637"/>
                  </a:lnTo>
                  <a:lnTo>
                    <a:pt x="1212" y="654"/>
                  </a:lnTo>
                  <a:lnTo>
                    <a:pt x="1224" y="675"/>
                  </a:lnTo>
                  <a:lnTo>
                    <a:pt x="1224" y="699"/>
                  </a:lnTo>
                  <a:lnTo>
                    <a:pt x="1224" y="732"/>
                  </a:lnTo>
                  <a:lnTo>
                    <a:pt x="1207" y="748"/>
                  </a:lnTo>
                  <a:lnTo>
                    <a:pt x="1207" y="748"/>
                  </a:lnTo>
                  <a:lnTo>
                    <a:pt x="1207" y="748"/>
                  </a:lnTo>
                  <a:close/>
                  <a:moveTo>
                    <a:pt x="1044" y="626"/>
                  </a:moveTo>
                  <a:lnTo>
                    <a:pt x="1035" y="642"/>
                  </a:lnTo>
                  <a:lnTo>
                    <a:pt x="1051" y="642"/>
                  </a:lnTo>
                  <a:lnTo>
                    <a:pt x="1044" y="659"/>
                  </a:lnTo>
                  <a:lnTo>
                    <a:pt x="1030" y="670"/>
                  </a:lnTo>
                  <a:lnTo>
                    <a:pt x="1035" y="654"/>
                  </a:lnTo>
                  <a:lnTo>
                    <a:pt x="1030" y="654"/>
                  </a:lnTo>
                  <a:lnTo>
                    <a:pt x="1030" y="642"/>
                  </a:lnTo>
                  <a:lnTo>
                    <a:pt x="1044" y="626"/>
                  </a:lnTo>
                  <a:lnTo>
                    <a:pt x="1044" y="626"/>
                  </a:lnTo>
                  <a:lnTo>
                    <a:pt x="1044" y="626"/>
                  </a:lnTo>
                  <a:close/>
                  <a:moveTo>
                    <a:pt x="683" y="786"/>
                  </a:moveTo>
                  <a:lnTo>
                    <a:pt x="687" y="803"/>
                  </a:lnTo>
                  <a:lnTo>
                    <a:pt x="671" y="803"/>
                  </a:lnTo>
                  <a:lnTo>
                    <a:pt x="671" y="791"/>
                  </a:lnTo>
                  <a:lnTo>
                    <a:pt x="683" y="786"/>
                  </a:lnTo>
                  <a:lnTo>
                    <a:pt x="683" y="786"/>
                  </a:lnTo>
                  <a:lnTo>
                    <a:pt x="683" y="786"/>
                  </a:lnTo>
                  <a:close/>
                  <a:moveTo>
                    <a:pt x="1106" y="914"/>
                  </a:moveTo>
                  <a:lnTo>
                    <a:pt x="1115" y="918"/>
                  </a:lnTo>
                  <a:lnTo>
                    <a:pt x="1106" y="918"/>
                  </a:lnTo>
                  <a:lnTo>
                    <a:pt x="1106" y="914"/>
                  </a:lnTo>
                  <a:lnTo>
                    <a:pt x="1106" y="914"/>
                  </a:lnTo>
                  <a:lnTo>
                    <a:pt x="1106" y="914"/>
                  </a:lnTo>
                  <a:close/>
                  <a:moveTo>
                    <a:pt x="411" y="918"/>
                  </a:moveTo>
                  <a:lnTo>
                    <a:pt x="402" y="954"/>
                  </a:lnTo>
                  <a:lnTo>
                    <a:pt x="397" y="954"/>
                  </a:lnTo>
                  <a:lnTo>
                    <a:pt x="397" y="930"/>
                  </a:lnTo>
                  <a:lnTo>
                    <a:pt x="411" y="918"/>
                  </a:lnTo>
                  <a:lnTo>
                    <a:pt x="411" y="918"/>
                  </a:lnTo>
                  <a:lnTo>
                    <a:pt x="411" y="918"/>
                  </a:lnTo>
                  <a:close/>
                  <a:moveTo>
                    <a:pt x="780" y="959"/>
                  </a:moveTo>
                  <a:lnTo>
                    <a:pt x="775" y="954"/>
                  </a:lnTo>
                  <a:lnTo>
                    <a:pt x="796" y="930"/>
                  </a:lnTo>
                  <a:lnTo>
                    <a:pt x="791" y="947"/>
                  </a:lnTo>
                  <a:lnTo>
                    <a:pt x="796" y="959"/>
                  </a:lnTo>
                  <a:lnTo>
                    <a:pt x="780" y="959"/>
                  </a:lnTo>
                  <a:lnTo>
                    <a:pt x="780" y="959"/>
                  </a:lnTo>
                  <a:lnTo>
                    <a:pt x="780" y="959"/>
                  </a:lnTo>
                  <a:close/>
                  <a:moveTo>
                    <a:pt x="758" y="937"/>
                  </a:moveTo>
                  <a:lnTo>
                    <a:pt x="746" y="947"/>
                  </a:lnTo>
                  <a:lnTo>
                    <a:pt x="742" y="937"/>
                  </a:lnTo>
                  <a:lnTo>
                    <a:pt x="758" y="937"/>
                  </a:lnTo>
                  <a:lnTo>
                    <a:pt x="758" y="937"/>
                  </a:lnTo>
                  <a:lnTo>
                    <a:pt x="758" y="937"/>
                  </a:lnTo>
                  <a:close/>
                  <a:moveTo>
                    <a:pt x="746" y="1013"/>
                  </a:moveTo>
                  <a:lnTo>
                    <a:pt x="742" y="1041"/>
                  </a:lnTo>
                  <a:lnTo>
                    <a:pt x="725" y="1025"/>
                  </a:lnTo>
                  <a:lnTo>
                    <a:pt x="709" y="1013"/>
                  </a:lnTo>
                  <a:lnTo>
                    <a:pt x="683" y="1029"/>
                  </a:lnTo>
                  <a:lnTo>
                    <a:pt x="671" y="1041"/>
                  </a:lnTo>
                  <a:lnTo>
                    <a:pt x="657" y="1058"/>
                  </a:lnTo>
                  <a:lnTo>
                    <a:pt x="657" y="1081"/>
                  </a:lnTo>
                  <a:lnTo>
                    <a:pt x="633" y="1081"/>
                  </a:lnTo>
                  <a:lnTo>
                    <a:pt x="640" y="1065"/>
                  </a:lnTo>
                  <a:lnTo>
                    <a:pt x="619" y="1065"/>
                  </a:lnTo>
                  <a:lnTo>
                    <a:pt x="628" y="1041"/>
                  </a:lnTo>
                  <a:lnTo>
                    <a:pt x="612" y="1029"/>
                  </a:lnTo>
                  <a:lnTo>
                    <a:pt x="612" y="1025"/>
                  </a:lnTo>
                  <a:lnTo>
                    <a:pt x="586" y="1029"/>
                  </a:lnTo>
                  <a:lnTo>
                    <a:pt x="633" y="1008"/>
                  </a:lnTo>
                  <a:lnTo>
                    <a:pt x="650" y="970"/>
                  </a:lnTo>
                  <a:lnTo>
                    <a:pt x="666" y="987"/>
                  </a:lnTo>
                  <a:lnTo>
                    <a:pt x="694" y="987"/>
                  </a:lnTo>
                  <a:lnTo>
                    <a:pt x="704" y="959"/>
                  </a:lnTo>
                  <a:lnTo>
                    <a:pt x="720" y="954"/>
                  </a:lnTo>
                  <a:lnTo>
                    <a:pt x="737" y="947"/>
                  </a:lnTo>
                  <a:lnTo>
                    <a:pt x="758" y="959"/>
                  </a:lnTo>
                  <a:lnTo>
                    <a:pt x="763" y="959"/>
                  </a:lnTo>
                  <a:lnTo>
                    <a:pt x="775" y="975"/>
                  </a:lnTo>
                  <a:lnTo>
                    <a:pt x="780" y="992"/>
                  </a:lnTo>
                  <a:lnTo>
                    <a:pt x="746" y="1013"/>
                  </a:lnTo>
                  <a:lnTo>
                    <a:pt x="746" y="1013"/>
                  </a:lnTo>
                  <a:lnTo>
                    <a:pt x="746" y="1013"/>
                  </a:lnTo>
                  <a:close/>
                  <a:moveTo>
                    <a:pt x="402" y="959"/>
                  </a:moveTo>
                  <a:lnTo>
                    <a:pt x="385" y="970"/>
                  </a:lnTo>
                  <a:lnTo>
                    <a:pt x="397" y="954"/>
                  </a:lnTo>
                  <a:lnTo>
                    <a:pt x="402" y="959"/>
                  </a:lnTo>
                  <a:lnTo>
                    <a:pt x="402" y="959"/>
                  </a:lnTo>
                  <a:lnTo>
                    <a:pt x="402" y="959"/>
                  </a:lnTo>
                  <a:close/>
                  <a:moveTo>
                    <a:pt x="657" y="954"/>
                  </a:moveTo>
                  <a:lnTo>
                    <a:pt x="666" y="959"/>
                  </a:lnTo>
                  <a:lnTo>
                    <a:pt x="657" y="959"/>
                  </a:lnTo>
                  <a:lnTo>
                    <a:pt x="657" y="954"/>
                  </a:lnTo>
                  <a:lnTo>
                    <a:pt x="657" y="954"/>
                  </a:lnTo>
                  <a:lnTo>
                    <a:pt x="657" y="954"/>
                  </a:lnTo>
                  <a:close/>
                  <a:moveTo>
                    <a:pt x="628" y="959"/>
                  </a:moveTo>
                  <a:lnTo>
                    <a:pt x="619" y="970"/>
                  </a:lnTo>
                  <a:lnTo>
                    <a:pt x="619" y="959"/>
                  </a:lnTo>
                  <a:lnTo>
                    <a:pt x="628" y="959"/>
                  </a:lnTo>
                  <a:lnTo>
                    <a:pt x="628" y="959"/>
                  </a:lnTo>
                  <a:lnTo>
                    <a:pt x="628" y="959"/>
                  </a:lnTo>
                  <a:close/>
                  <a:moveTo>
                    <a:pt x="628" y="970"/>
                  </a:moveTo>
                  <a:lnTo>
                    <a:pt x="628" y="975"/>
                  </a:lnTo>
                  <a:lnTo>
                    <a:pt x="619" y="970"/>
                  </a:lnTo>
                  <a:lnTo>
                    <a:pt x="628" y="970"/>
                  </a:lnTo>
                  <a:lnTo>
                    <a:pt x="628" y="970"/>
                  </a:lnTo>
                  <a:lnTo>
                    <a:pt x="628" y="970"/>
                  </a:lnTo>
                  <a:close/>
                  <a:moveTo>
                    <a:pt x="532" y="1008"/>
                  </a:moveTo>
                  <a:lnTo>
                    <a:pt x="548" y="1013"/>
                  </a:lnTo>
                  <a:lnTo>
                    <a:pt x="557" y="1008"/>
                  </a:lnTo>
                  <a:lnTo>
                    <a:pt x="565" y="1008"/>
                  </a:lnTo>
                  <a:lnTo>
                    <a:pt x="574" y="1025"/>
                  </a:lnTo>
                  <a:lnTo>
                    <a:pt x="557" y="1029"/>
                  </a:lnTo>
                  <a:lnTo>
                    <a:pt x="557" y="1041"/>
                  </a:lnTo>
                  <a:lnTo>
                    <a:pt x="579" y="1041"/>
                  </a:lnTo>
                  <a:lnTo>
                    <a:pt x="574" y="1046"/>
                  </a:lnTo>
                  <a:lnTo>
                    <a:pt x="586" y="1070"/>
                  </a:lnTo>
                  <a:lnTo>
                    <a:pt x="565" y="1098"/>
                  </a:lnTo>
                  <a:lnTo>
                    <a:pt x="541" y="1190"/>
                  </a:lnTo>
                  <a:lnTo>
                    <a:pt x="527" y="1181"/>
                  </a:lnTo>
                  <a:lnTo>
                    <a:pt x="520" y="1190"/>
                  </a:lnTo>
                  <a:lnTo>
                    <a:pt x="527" y="1197"/>
                  </a:lnTo>
                  <a:lnTo>
                    <a:pt x="494" y="1226"/>
                  </a:lnTo>
                  <a:lnTo>
                    <a:pt x="503" y="1190"/>
                  </a:lnTo>
                  <a:lnTo>
                    <a:pt x="489" y="1174"/>
                  </a:lnTo>
                  <a:lnTo>
                    <a:pt x="503" y="1174"/>
                  </a:lnTo>
                  <a:lnTo>
                    <a:pt x="503" y="1169"/>
                  </a:lnTo>
                  <a:lnTo>
                    <a:pt x="494" y="1157"/>
                  </a:lnTo>
                  <a:lnTo>
                    <a:pt x="489" y="1174"/>
                  </a:lnTo>
                  <a:lnTo>
                    <a:pt x="494" y="1209"/>
                  </a:lnTo>
                  <a:lnTo>
                    <a:pt x="465" y="1197"/>
                  </a:lnTo>
                  <a:lnTo>
                    <a:pt x="472" y="1169"/>
                  </a:lnTo>
                  <a:lnTo>
                    <a:pt x="456" y="1157"/>
                  </a:lnTo>
                  <a:lnTo>
                    <a:pt x="456" y="1136"/>
                  </a:lnTo>
                  <a:lnTo>
                    <a:pt x="489" y="1103"/>
                  </a:lnTo>
                  <a:lnTo>
                    <a:pt x="489" y="1086"/>
                  </a:lnTo>
                  <a:lnTo>
                    <a:pt x="477" y="1086"/>
                  </a:lnTo>
                  <a:lnTo>
                    <a:pt x="489" y="1081"/>
                  </a:lnTo>
                  <a:lnTo>
                    <a:pt x="477" y="1065"/>
                  </a:lnTo>
                  <a:lnTo>
                    <a:pt x="477" y="1058"/>
                  </a:lnTo>
                  <a:lnTo>
                    <a:pt x="465" y="1046"/>
                  </a:lnTo>
                  <a:lnTo>
                    <a:pt x="456" y="1046"/>
                  </a:lnTo>
                  <a:lnTo>
                    <a:pt x="465" y="1065"/>
                  </a:lnTo>
                  <a:lnTo>
                    <a:pt x="456" y="1070"/>
                  </a:lnTo>
                  <a:lnTo>
                    <a:pt x="472" y="1070"/>
                  </a:lnTo>
                  <a:lnTo>
                    <a:pt x="472" y="1086"/>
                  </a:lnTo>
                  <a:lnTo>
                    <a:pt x="456" y="1098"/>
                  </a:lnTo>
                  <a:lnTo>
                    <a:pt x="456" y="1086"/>
                  </a:lnTo>
                  <a:lnTo>
                    <a:pt x="465" y="1081"/>
                  </a:lnTo>
                  <a:lnTo>
                    <a:pt x="456" y="1081"/>
                  </a:lnTo>
                  <a:lnTo>
                    <a:pt x="435" y="1098"/>
                  </a:lnTo>
                  <a:lnTo>
                    <a:pt x="439" y="1081"/>
                  </a:lnTo>
                  <a:lnTo>
                    <a:pt x="423" y="1070"/>
                  </a:lnTo>
                  <a:lnTo>
                    <a:pt x="423" y="1058"/>
                  </a:lnTo>
                  <a:lnTo>
                    <a:pt x="435" y="1065"/>
                  </a:lnTo>
                  <a:lnTo>
                    <a:pt x="435" y="1070"/>
                  </a:lnTo>
                  <a:lnTo>
                    <a:pt x="451" y="1070"/>
                  </a:lnTo>
                  <a:lnTo>
                    <a:pt x="439" y="1058"/>
                  </a:lnTo>
                  <a:lnTo>
                    <a:pt x="418" y="1041"/>
                  </a:lnTo>
                  <a:lnTo>
                    <a:pt x="418" y="1029"/>
                  </a:lnTo>
                  <a:lnTo>
                    <a:pt x="435" y="1029"/>
                  </a:lnTo>
                  <a:lnTo>
                    <a:pt x="439" y="1013"/>
                  </a:lnTo>
                  <a:lnTo>
                    <a:pt x="451" y="1025"/>
                  </a:lnTo>
                  <a:lnTo>
                    <a:pt x="465" y="1008"/>
                  </a:lnTo>
                  <a:lnTo>
                    <a:pt x="472" y="1008"/>
                  </a:lnTo>
                  <a:lnTo>
                    <a:pt x="477" y="992"/>
                  </a:lnTo>
                  <a:lnTo>
                    <a:pt x="494" y="987"/>
                  </a:lnTo>
                  <a:lnTo>
                    <a:pt x="520" y="987"/>
                  </a:lnTo>
                  <a:lnTo>
                    <a:pt x="527" y="1008"/>
                  </a:lnTo>
                  <a:lnTo>
                    <a:pt x="532" y="1008"/>
                  </a:lnTo>
                  <a:lnTo>
                    <a:pt x="532" y="1008"/>
                  </a:lnTo>
                  <a:lnTo>
                    <a:pt x="532" y="1008"/>
                  </a:lnTo>
                  <a:close/>
                  <a:moveTo>
                    <a:pt x="423" y="1004"/>
                  </a:moveTo>
                  <a:lnTo>
                    <a:pt x="423" y="1004"/>
                  </a:lnTo>
                  <a:lnTo>
                    <a:pt x="423" y="992"/>
                  </a:lnTo>
                  <a:lnTo>
                    <a:pt x="435" y="1004"/>
                  </a:lnTo>
                  <a:lnTo>
                    <a:pt x="423" y="1004"/>
                  </a:lnTo>
                  <a:lnTo>
                    <a:pt x="423" y="1004"/>
                  </a:lnTo>
                  <a:lnTo>
                    <a:pt x="423" y="1004"/>
                  </a:lnTo>
                  <a:close/>
                  <a:moveTo>
                    <a:pt x="418" y="1029"/>
                  </a:moveTo>
                  <a:lnTo>
                    <a:pt x="402" y="1046"/>
                  </a:lnTo>
                  <a:lnTo>
                    <a:pt x="418" y="1025"/>
                  </a:lnTo>
                  <a:lnTo>
                    <a:pt x="418" y="1029"/>
                  </a:lnTo>
                  <a:lnTo>
                    <a:pt x="418" y="1029"/>
                  </a:lnTo>
                  <a:lnTo>
                    <a:pt x="418" y="1029"/>
                  </a:lnTo>
                  <a:close/>
                  <a:moveTo>
                    <a:pt x="385" y="1058"/>
                  </a:moveTo>
                  <a:lnTo>
                    <a:pt x="385" y="1065"/>
                  </a:lnTo>
                  <a:lnTo>
                    <a:pt x="385" y="1065"/>
                  </a:lnTo>
                  <a:lnTo>
                    <a:pt x="380" y="1070"/>
                  </a:lnTo>
                  <a:lnTo>
                    <a:pt x="380" y="1065"/>
                  </a:lnTo>
                  <a:lnTo>
                    <a:pt x="385" y="1046"/>
                  </a:lnTo>
                  <a:lnTo>
                    <a:pt x="385" y="1058"/>
                  </a:lnTo>
                  <a:lnTo>
                    <a:pt x="385" y="1058"/>
                  </a:lnTo>
                  <a:lnTo>
                    <a:pt x="385" y="1058"/>
                  </a:lnTo>
                  <a:close/>
                  <a:moveTo>
                    <a:pt x="359" y="1081"/>
                  </a:moveTo>
                  <a:lnTo>
                    <a:pt x="359" y="1081"/>
                  </a:lnTo>
                  <a:lnTo>
                    <a:pt x="364" y="1081"/>
                  </a:lnTo>
                  <a:lnTo>
                    <a:pt x="369" y="1086"/>
                  </a:lnTo>
                  <a:lnTo>
                    <a:pt x="347" y="1086"/>
                  </a:lnTo>
                  <a:lnTo>
                    <a:pt x="359" y="1081"/>
                  </a:lnTo>
                  <a:lnTo>
                    <a:pt x="359" y="1081"/>
                  </a:lnTo>
                  <a:lnTo>
                    <a:pt x="359" y="1081"/>
                  </a:lnTo>
                  <a:close/>
                  <a:moveTo>
                    <a:pt x="451" y="1124"/>
                  </a:moveTo>
                  <a:lnTo>
                    <a:pt x="451" y="1103"/>
                  </a:lnTo>
                  <a:lnTo>
                    <a:pt x="456" y="1098"/>
                  </a:lnTo>
                  <a:lnTo>
                    <a:pt x="465" y="1115"/>
                  </a:lnTo>
                  <a:lnTo>
                    <a:pt x="451" y="1124"/>
                  </a:lnTo>
                  <a:lnTo>
                    <a:pt x="451" y="1124"/>
                  </a:lnTo>
                  <a:lnTo>
                    <a:pt x="451" y="1124"/>
                  </a:lnTo>
                  <a:close/>
                  <a:moveTo>
                    <a:pt x="465" y="1103"/>
                  </a:moveTo>
                  <a:lnTo>
                    <a:pt x="477" y="1098"/>
                  </a:lnTo>
                  <a:lnTo>
                    <a:pt x="472" y="1115"/>
                  </a:lnTo>
                  <a:lnTo>
                    <a:pt x="465" y="1103"/>
                  </a:lnTo>
                  <a:lnTo>
                    <a:pt x="465" y="1103"/>
                  </a:lnTo>
                  <a:lnTo>
                    <a:pt x="465" y="1103"/>
                  </a:lnTo>
                  <a:close/>
                  <a:moveTo>
                    <a:pt x="456" y="1124"/>
                  </a:moveTo>
                  <a:lnTo>
                    <a:pt x="465" y="1124"/>
                  </a:lnTo>
                  <a:lnTo>
                    <a:pt x="456" y="1124"/>
                  </a:lnTo>
                  <a:lnTo>
                    <a:pt x="456" y="1124"/>
                  </a:lnTo>
                  <a:lnTo>
                    <a:pt x="456" y="1124"/>
                  </a:lnTo>
                  <a:lnTo>
                    <a:pt x="456" y="1124"/>
                  </a:lnTo>
                  <a:close/>
                  <a:moveTo>
                    <a:pt x="423" y="1169"/>
                  </a:moveTo>
                  <a:lnTo>
                    <a:pt x="435" y="1157"/>
                  </a:lnTo>
                  <a:lnTo>
                    <a:pt x="423" y="1169"/>
                  </a:lnTo>
                  <a:lnTo>
                    <a:pt x="423" y="1169"/>
                  </a:lnTo>
                  <a:lnTo>
                    <a:pt x="423" y="1169"/>
                  </a:lnTo>
                  <a:lnTo>
                    <a:pt x="423" y="1169"/>
                  </a:lnTo>
                  <a:close/>
                  <a:moveTo>
                    <a:pt x="527" y="1230"/>
                  </a:moveTo>
                  <a:lnTo>
                    <a:pt x="520" y="1268"/>
                  </a:lnTo>
                  <a:lnTo>
                    <a:pt x="510" y="1268"/>
                  </a:lnTo>
                  <a:lnTo>
                    <a:pt x="510" y="1247"/>
                  </a:lnTo>
                  <a:lnTo>
                    <a:pt x="527" y="1230"/>
                  </a:lnTo>
                  <a:lnTo>
                    <a:pt x="527" y="1230"/>
                  </a:lnTo>
                  <a:lnTo>
                    <a:pt x="527" y="1230"/>
                  </a:lnTo>
                  <a:close/>
                  <a:moveTo>
                    <a:pt x="489" y="1263"/>
                  </a:moveTo>
                  <a:lnTo>
                    <a:pt x="494" y="1268"/>
                  </a:lnTo>
                  <a:lnTo>
                    <a:pt x="489" y="1280"/>
                  </a:lnTo>
                  <a:lnTo>
                    <a:pt x="477" y="1280"/>
                  </a:lnTo>
                  <a:lnTo>
                    <a:pt x="472" y="1268"/>
                  </a:lnTo>
                  <a:lnTo>
                    <a:pt x="489" y="1263"/>
                  </a:lnTo>
                  <a:lnTo>
                    <a:pt x="489" y="1263"/>
                  </a:lnTo>
                  <a:lnTo>
                    <a:pt x="489" y="1263"/>
                  </a:lnTo>
                  <a:close/>
                  <a:moveTo>
                    <a:pt x="423" y="1412"/>
                  </a:moveTo>
                  <a:lnTo>
                    <a:pt x="423" y="1419"/>
                  </a:lnTo>
                  <a:lnTo>
                    <a:pt x="402" y="1445"/>
                  </a:lnTo>
                  <a:lnTo>
                    <a:pt x="385" y="1436"/>
                  </a:lnTo>
                  <a:lnTo>
                    <a:pt x="423" y="1412"/>
                  </a:lnTo>
                  <a:lnTo>
                    <a:pt x="423" y="1412"/>
                  </a:lnTo>
                  <a:lnTo>
                    <a:pt x="423" y="1412"/>
                  </a:lnTo>
                  <a:close/>
                  <a:moveTo>
                    <a:pt x="397" y="1436"/>
                  </a:moveTo>
                  <a:lnTo>
                    <a:pt x="402" y="1445"/>
                  </a:lnTo>
                  <a:lnTo>
                    <a:pt x="397" y="1445"/>
                  </a:lnTo>
                  <a:lnTo>
                    <a:pt x="397" y="1436"/>
                  </a:lnTo>
                  <a:lnTo>
                    <a:pt x="397" y="1436"/>
                  </a:lnTo>
                  <a:lnTo>
                    <a:pt x="397" y="1436"/>
                  </a:lnTo>
                  <a:close/>
                  <a:moveTo>
                    <a:pt x="369" y="1457"/>
                  </a:moveTo>
                  <a:lnTo>
                    <a:pt x="380" y="1474"/>
                  </a:lnTo>
                  <a:lnTo>
                    <a:pt x="369" y="1485"/>
                  </a:lnTo>
                  <a:lnTo>
                    <a:pt x="369" y="1469"/>
                  </a:lnTo>
                  <a:lnTo>
                    <a:pt x="369" y="1457"/>
                  </a:lnTo>
                  <a:lnTo>
                    <a:pt x="369" y="1457"/>
                  </a:lnTo>
                  <a:lnTo>
                    <a:pt x="369" y="1457"/>
                  </a:lnTo>
                  <a:close/>
                  <a:moveTo>
                    <a:pt x="347" y="1502"/>
                  </a:moveTo>
                  <a:lnTo>
                    <a:pt x="359" y="1502"/>
                  </a:lnTo>
                  <a:lnTo>
                    <a:pt x="347" y="1507"/>
                  </a:lnTo>
                  <a:lnTo>
                    <a:pt x="347" y="1502"/>
                  </a:lnTo>
                  <a:lnTo>
                    <a:pt x="347" y="1502"/>
                  </a:lnTo>
                  <a:lnTo>
                    <a:pt x="347" y="1502"/>
                  </a:lnTo>
                  <a:close/>
                  <a:moveTo>
                    <a:pt x="326" y="1547"/>
                  </a:moveTo>
                  <a:lnTo>
                    <a:pt x="331" y="1547"/>
                  </a:lnTo>
                  <a:lnTo>
                    <a:pt x="326" y="1556"/>
                  </a:lnTo>
                  <a:lnTo>
                    <a:pt x="293" y="1580"/>
                  </a:lnTo>
                  <a:lnTo>
                    <a:pt x="293" y="1596"/>
                  </a:lnTo>
                  <a:lnTo>
                    <a:pt x="288" y="1601"/>
                  </a:lnTo>
                  <a:lnTo>
                    <a:pt x="288" y="1580"/>
                  </a:lnTo>
                  <a:lnTo>
                    <a:pt x="305" y="1568"/>
                  </a:lnTo>
                  <a:lnTo>
                    <a:pt x="305" y="1556"/>
                  </a:lnTo>
                  <a:lnTo>
                    <a:pt x="309" y="1563"/>
                  </a:lnTo>
                  <a:lnTo>
                    <a:pt x="326" y="1547"/>
                  </a:lnTo>
                  <a:lnTo>
                    <a:pt x="326" y="1547"/>
                  </a:lnTo>
                  <a:lnTo>
                    <a:pt x="326" y="1547"/>
                  </a:lnTo>
                  <a:close/>
                  <a:moveTo>
                    <a:pt x="217" y="1580"/>
                  </a:moveTo>
                  <a:lnTo>
                    <a:pt x="222" y="1585"/>
                  </a:lnTo>
                  <a:lnTo>
                    <a:pt x="217" y="1580"/>
                  </a:lnTo>
                  <a:lnTo>
                    <a:pt x="217" y="1580"/>
                  </a:lnTo>
                  <a:lnTo>
                    <a:pt x="217" y="1580"/>
                  </a:lnTo>
                  <a:lnTo>
                    <a:pt x="217" y="1580"/>
                  </a:lnTo>
                  <a:close/>
                  <a:moveTo>
                    <a:pt x="116" y="1696"/>
                  </a:moveTo>
                  <a:lnTo>
                    <a:pt x="125" y="1707"/>
                  </a:lnTo>
                  <a:lnTo>
                    <a:pt x="116" y="1707"/>
                  </a:lnTo>
                  <a:lnTo>
                    <a:pt x="116" y="1696"/>
                  </a:lnTo>
                  <a:lnTo>
                    <a:pt x="116" y="1696"/>
                  </a:lnTo>
                  <a:lnTo>
                    <a:pt x="116" y="1696"/>
                  </a:lnTo>
                  <a:close/>
                  <a:moveTo>
                    <a:pt x="33" y="1729"/>
                  </a:moveTo>
                  <a:lnTo>
                    <a:pt x="40" y="1729"/>
                  </a:lnTo>
                  <a:lnTo>
                    <a:pt x="45" y="1724"/>
                  </a:lnTo>
                  <a:lnTo>
                    <a:pt x="40" y="1736"/>
                  </a:lnTo>
                  <a:lnTo>
                    <a:pt x="33" y="1736"/>
                  </a:lnTo>
                  <a:lnTo>
                    <a:pt x="33" y="1729"/>
                  </a:lnTo>
                  <a:lnTo>
                    <a:pt x="33" y="1729"/>
                  </a:lnTo>
                  <a:lnTo>
                    <a:pt x="33" y="1729"/>
                  </a:lnTo>
                  <a:close/>
                  <a:moveTo>
                    <a:pt x="7" y="1729"/>
                  </a:moveTo>
                  <a:lnTo>
                    <a:pt x="24" y="1736"/>
                  </a:lnTo>
                  <a:lnTo>
                    <a:pt x="17" y="1745"/>
                  </a:lnTo>
                  <a:lnTo>
                    <a:pt x="0" y="1736"/>
                  </a:lnTo>
                  <a:lnTo>
                    <a:pt x="7" y="1729"/>
                  </a:lnTo>
                  <a:lnTo>
                    <a:pt x="7" y="1729"/>
                  </a:lnTo>
                  <a:lnTo>
                    <a:pt x="7" y="172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77" name="Freeform 485">
              <a:extLst>
                <a:ext uri="{FF2B5EF4-FFF2-40B4-BE49-F238E27FC236}">
                  <a16:creationId xmlns:a16="http://schemas.microsoft.com/office/drawing/2014/main" id="{0170BB01-FD2A-425C-B44E-D6AB6ED21C7A}"/>
                </a:ext>
              </a:extLst>
            </p:cNvPr>
            <p:cNvSpPr>
              <a:spLocks noEditPoints="1"/>
            </p:cNvSpPr>
            <p:nvPr/>
          </p:nvSpPr>
          <p:spPr bwMode="gray">
            <a:xfrm>
              <a:off x="10325056" y="2860793"/>
              <a:ext cx="181136" cy="181567"/>
            </a:xfrm>
            <a:custGeom>
              <a:avLst/>
              <a:gdLst>
                <a:gd name="T0" fmla="*/ 239 w 440"/>
                <a:gd name="T1" fmla="*/ 23 h 441"/>
                <a:gd name="T2" fmla="*/ 277 w 440"/>
                <a:gd name="T3" fmla="*/ 40 h 441"/>
                <a:gd name="T4" fmla="*/ 340 w 440"/>
                <a:gd name="T5" fmla="*/ 155 h 441"/>
                <a:gd name="T6" fmla="*/ 347 w 440"/>
                <a:gd name="T7" fmla="*/ 210 h 441"/>
                <a:gd name="T8" fmla="*/ 314 w 440"/>
                <a:gd name="T9" fmla="*/ 292 h 441"/>
                <a:gd name="T10" fmla="*/ 260 w 440"/>
                <a:gd name="T11" fmla="*/ 297 h 441"/>
                <a:gd name="T12" fmla="*/ 260 w 440"/>
                <a:gd name="T13" fmla="*/ 297 h 441"/>
                <a:gd name="T14" fmla="*/ 206 w 440"/>
                <a:gd name="T15" fmla="*/ 304 h 441"/>
                <a:gd name="T16" fmla="*/ 206 w 440"/>
                <a:gd name="T17" fmla="*/ 333 h 441"/>
                <a:gd name="T18" fmla="*/ 201 w 440"/>
                <a:gd name="T19" fmla="*/ 333 h 441"/>
                <a:gd name="T20" fmla="*/ 189 w 440"/>
                <a:gd name="T21" fmla="*/ 333 h 441"/>
                <a:gd name="T22" fmla="*/ 163 w 440"/>
                <a:gd name="T23" fmla="*/ 349 h 441"/>
                <a:gd name="T24" fmla="*/ 114 w 440"/>
                <a:gd name="T25" fmla="*/ 321 h 441"/>
                <a:gd name="T26" fmla="*/ 130 w 440"/>
                <a:gd name="T27" fmla="*/ 333 h 441"/>
                <a:gd name="T28" fmla="*/ 137 w 440"/>
                <a:gd name="T29" fmla="*/ 314 h 441"/>
                <a:gd name="T30" fmla="*/ 125 w 440"/>
                <a:gd name="T31" fmla="*/ 314 h 441"/>
                <a:gd name="T32" fmla="*/ 114 w 440"/>
                <a:gd name="T33" fmla="*/ 292 h 441"/>
                <a:gd name="T34" fmla="*/ 125 w 440"/>
                <a:gd name="T35" fmla="*/ 281 h 441"/>
                <a:gd name="T36" fmla="*/ 147 w 440"/>
                <a:gd name="T37" fmla="*/ 248 h 441"/>
                <a:gd name="T38" fmla="*/ 137 w 440"/>
                <a:gd name="T39" fmla="*/ 226 h 441"/>
                <a:gd name="T40" fmla="*/ 147 w 440"/>
                <a:gd name="T41" fmla="*/ 222 h 441"/>
                <a:gd name="T42" fmla="*/ 125 w 440"/>
                <a:gd name="T43" fmla="*/ 155 h 441"/>
                <a:gd name="T44" fmla="*/ 109 w 440"/>
                <a:gd name="T45" fmla="*/ 155 h 441"/>
                <a:gd name="T46" fmla="*/ 125 w 440"/>
                <a:gd name="T47" fmla="*/ 148 h 441"/>
                <a:gd name="T48" fmla="*/ 130 w 440"/>
                <a:gd name="T49" fmla="*/ 148 h 441"/>
                <a:gd name="T50" fmla="*/ 151 w 440"/>
                <a:gd name="T51" fmla="*/ 155 h 441"/>
                <a:gd name="T52" fmla="*/ 151 w 440"/>
                <a:gd name="T53" fmla="*/ 115 h 441"/>
                <a:gd name="T54" fmla="*/ 151 w 440"/>
                <a:gd name="T55" fmla="*/ 111 h 441"/>
                <a:gd name="T56" fmla="*/ 130 w 440"/>
                <a:gd name="T57" fmla="*/ 73 h 441"/>
                <a:gd name="T58" fmla="*/ 147 w 440"/>
                <a:gd name="T59" fmla="*/ 61 h 441"/>
                <a:gd name="T60" fmla="*/ 7 w 440"/>
                <a:gd name="T61" fmla="*/ 61 h 441"/>
                <a:gd name="T62" fmla="*/ 7 w 440"/>
                <a:gd name="T63" fmla="*/ 56 h 441"/>
                <a:gd name="T64" fmla="*/ 130 w 440"/>
                <a:gd name="T65" fmla="*/ 82 h 441"/>
                <a:gd name="T66" fmla="*/ 130 w 440"/>
                <a:gd name="T67" fmla="*/ 73 h 441"/>
                <a:gd name="T68" fmla="*/ 440 w 440"/>
                <a:gd name="T69" fmla="*/ 94 h 441"/>
                <a:gd name="T70" fmla="*/ 440 w 440"/>
                <a:gd name="T71" fmla="*/ 94 h 441"/>
                <a:gd name="T72" fmla="*/ 125 w 440"/>
                <a:gd name="T73" fmla="*/ 181 h 441"/>
                <a:gd name="T74" fmla="*/ 125 w 440"/>
                <a:gd name="T75" fmla="*/ 181 h 441"/>
                <a:gd name="T76" fmla="*/ 288 w 440"/>
                <a:gd name="T77" fmla="*/ 304 h 441"/>
                <a:gd name="T78" fmla="*/ 277 w 440"/>
                <a:gd name="T79" fmla="*/ 314 h 441"/>
                <a:gd name="T80" fmla="*/ 288 w 440"/>
                <a:gd name="T81" fmla="*/ 304 h 441"/>
                <a:gd name="T82" fmla="*/ 234 w 440"/>
                <a:gd name="T83" fmla="*/ 314 h 441"/>
                <a:gd name="T84" fmla="*/ 222 w 440"/>
                <a:gd name="T85" fmla="*/ 321 h 441"/>
                <a:gd name="T86" fmla="*/ 234 w 440"/>
                <a:gd name="T87" fmla="*/ 304 h 441"/>
                <a:gd name="T88" fmla="*/ 222 w 440"/>
                <a:gd name="T89" fmla="*/ 333 h 441"/>
                <a:gd name="T90" fmla="*/ 222 w 440"/>
                <a:gd name="T91" fmla="*/ 333 h 441"/>
                <a:gd name="T92" fmla="*/ 114 w 440"/>
                <a:gd name="T93" fmla="*/ 349 h 441"/>
                <a:gd name="T94" fmla="*/ 125 w 440"/>
                <a:gd name="T95" fmla="*/ 337 h 441"/>
                <a:gd name="T96" fmla="*/ 222 w 440"/>
                <a:gd name="T97" fmla="*/ 337 h 441"/>
                <a:gd name="T98" fmla="*/ 222 w 440"/>
                <a:gd name="T99" fmla="*/ 337 h 441"/>
                <a:gd name="T100" fmla="*/ 184 w 440"/>
                <a:gd name="T101" fmla="*/ 337 h 441"/>
                <a:gd name="T102" fmla="*/ 184 w 440"/>
                <a:gd name="T103" fmla="*/ 337 h 441"/>
                <a:gd name="T104" fmla="*/ 147 w 440"/>
                <a:gd name="T105" fmla="*/ 349 h 441"/>
                <a:gd name="T106" fmla="*/ 147 w 440"/>
                <a:gd name="T107" fmla="*/ 349 h 441"/>
                <a:gd name="T108" fmla="*/ 151 w 440"/>
                <a:gd name="T109" fmla="*/ 415 h 441"/>
                <a:gd name="T110" fmla="*/ 114 w 440"/>
                <a:gd name="T111" fmla="*/ 441 h 441"/>
                <a:gd name="T112" fmla="*/ 151 w 440"/>
                <a:gd name="T113" fmla="*/ 415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0" h="441">
                  <a:moveTo>
                    <a:pt x="147" y="61"/>
                  </a:moveTo>
                  <a:lnTo>
                    <a:pt x="180" y="28"/>
                  </a:lnTo>
                  <a:lnTo>
                    <a:pt x="239" y="23"/>
                  </a:lnTo>
                  <a:lnTo>
                    <a:pt x="255" y="16"/>
                  </a:lnTo>
                  <a:lnTo>
                    <a:pt x="260" y="0"/>
                  </a:lnTo>
                  <a:lnTo>
                    <a:pt x="277" y="40"/>
                  </a:lnTo>
                  <a:lnTo>
                    <a:pt x="310" y="78"/>
                  </a:lnTo>
                  <a:lnTo>
                    <a:pt x="340" y="132"/>
                  </a:lnTo>
                  <a:lnTo>
                    <a:pt x="340" y="155"/>
                  </a:lnTo>
                  <a:lnTo>
                    <a:pt x="331" y="210"/>
                  </a:lnTo>
                  <a:lnTo>
                    <a:pt x="340" y="222"/>
                  </a:lnTo>
                  <a:lnTo>
                    <a:pt x="347" y="210"/>
                  </a:lnTo>
                  <a:lnTo>
                    <a:pt x="347" y="210"/>
                  </a:lnTo>
                  <a:lnTo>
                    <a:pt x="340" y="248"/>
                  </a:lnTo>
                  <a:lnTo>
                    <a:pt x="314" y="292"/>
                  </a:lnTo>
                  <a:lnTo>
                    <a:pt x="293" y="292"/>
                  </a:lnTo>
                  <a:lnTo>
                    <a:pt x="277" y="281"/>
                  </a:lnTo>
                  <a:lnTo>
                    <a:pt x="260" y="297"/>
                  </a:lnTo>
                  <a:lnTo>
                    <a:pt x="272" y="297"/>
                  </a:lnTo>
                  <a:lnTo>
                    <a:pt x="272" y="314"/>
                  </a:lnTo>
                  <a:lnTo>
                    <a:pt x="260" y="297"/>
                  </a:lnTo>
                  <a:lnTo>
                    <a:pt x="255" y="304"/>
                  </a:lnTo>
                  <a:lnTo>
                    <a:pt x="239" y="297"/>
                  </a:lnTo>
                  <a:lnTo>
                    <a:pt x="206" y="304"/>
                  </a:lnTo>
                  <a:lnTo>
                    <a:pt x="206" y="314"/>
                  </a:lnTo>
                  <a:lnTo>
                    <a:pt x="222" y="314"/>
                  </a:lnTo>
                  <a:lnTo>
                    <a:pt x="206" y="333"/>
                  </a:lnTo>
                  <a:lnTo>
                    <a:pt x="201" y="304"/>
                  </a:lnTo>
                  <a:lnTo>
                    <a:pt x="189" y="321"/>
                  </a:lnTo>
                  <a:lnTo>
                    <a:pt x="201" y="333"/>
                  </a:lnTo>
                  <a:lnTo>
                    <a:pt x="189" y="337"/>
                  </a:lnTo>
                  <a:lnTo>
                    <a:pt x="180" y="337"/>
                  </a:lnTo>
                  <a:lnTo>
                    <a:pt x="189" y="333"/>
                  </a:lnTo>
                  <a:lnTo>
                    <a:pt x="189" y="321"/>
                  </a:lnTo>
                  <a:lnTo>
                    <a:pt x="168" y="333"/>
                  </a:lnTo>
                  <a:lnTo>
                    <a:pt x="163" y="349"/>
                  </a:lnTo>
                  <a:lnTo>
                    <a:pt x="151" y="333"/>
                  </a:lnTo>
                  <a:lnTo>
                    <a:pt x="137" y="354"/>
                  </a:lnTo>
                  <a:lnTo>
                    <a:pt x="114" y="321"/>
                  </a:lnTo>
                  <a:lnTo>
                    <a:pt x="114" y="321"/>
                  </a:lnTo>
                  <a:lnTo>
                    <a:pt x="130" y="333"/>
                  </a:lnTo>
                  <a:lnTo>
                    <a:pt x="130" y="333"/>
                  </a:lnTo>
                  <a:lnTo>
                    <a:pt x="137" y="333"/>
                  </a:lnTo>
                  <a:lnTo>
                    <a:pt x="130" y="321"/>
                  </a:lnTo>
                  <a:lnTo>
                    <a:pt x="137" y="314"/>
                  </a:lnTo>
                  <a:lnTo>
                    <a:pt x="130" y="304"/>
                  </a:lnTo>
                  <a:lnTo>
                    <a:pt x="130" y="314"/>
                  </a:lnTo>
                  <a:lnTo>
                    <a:pt x="125" y="314"/>
                  </a:lnTo>
                  <a:lnTo>
                    <a:pt x="125" y="297"/>
                  </a:lnTo>
                  <a:lnTo>
                    <a:pt x="114" y="304"/>
                  </a:lnTo>
                  <a:lnTo>
                    <a:pt x="114" y="292"/>
                  </a:lnTo>
                  <a:lnTo>
                    <a:pt x="125" y="281"/>
                  </a:lnTo>
                  <a:lnTo>
                    <a:pt x="125" y="297"/>
                  </a:lnTo>
                  <a:lnTo>
                    <a:pt x="125" y="281"/>
                  </a:lnTo>
                  <a:lnTo>
                    <a:pt x="125" y="264"/>
                  </a:lnTo>
                  <a:lnTo>
                    <a:pt x="130" y="259"/>
                  </a:lnTo>
                  <a:lnTo>
                    <a:pt x="147" y="248"/>
                  </a:lnTo>
                  <a:lnTo>
                    <a:pt x="130" y="243"/>
                  </a:lnTo>
                  <a:lnTo>
                    <a:pt x="151" y="226"/>
                  </a:lnTo>
                  <a:lnTo>
                    <a:pt x="137" y="226"/>
                  </a:lnTo>
                  <a:lnTo>
                    <a:pt x="137" y="222"/>
                  </a:lnTo>
                  <a:lnTo>
                    <a:pt x="151" y="210"/>
                  </a:lnTo>
                  <a:lnTo>
                    <a:pt x="147" y="222"/>
                  </a:lnTo>
                  <a:lnTo>
                    <a:pt x="130" y="205"/>
                  </a:lnTo>
                  <a:lnTo>
                    <a:pt x="130" y="155"/>
                  </a:lnTo>
                  <a:lnTo>
                    <a:pt x="125" y="155"/>
                  </a:lnTo>
                  <a:lnTo>
                    <a:pt x="114" y="172"/>
                  </a:lnTo>
                  <a:lnTo>
                    <a:pt x="114" y="155"/>
                  </a:lnTo>
                  <a:lnTo>
                    <a:pt x="109" y="155"/>
                  </a:lnTo>
                  <a:lnTo>
                    <a:pt x="114" y="139"/>
                  </a:lnTo>
                  <a:lnTo>
                    <a:pt x="114" y="148"/>
                  </a:lnTo>
                  <a:lnTo>
                    <a:pt x="125" y="148"/>
                  </a:lnTo>
                  <a:lnTo>
                    <a:pt x="125" y="132"/>
                  </a:lnTo>
                  <a:lnTo>
                    <a:pt x="125" y="132"/>
                  </a:lnTo>
                  <a:lnTo>
                    <a:pt x="130" y="148"/>
                  </a:lnTo>
                  <a:lnTo>
                    <a:pt x="130" y="132"/>
                  </a:lnTo>
                  <a:lnTo>
                    <a:pt x="151" y="139"/>
                  </a:lnTo>
                  <a:lnTo>
                    <a:pt x="151" y="155"/>
                  </a:lnTo>
                  <a:lnTo>
                    <a:pt x="168" y="139"/>
                  </a:lnTo>
                  <a:lnTo>
                    <a:pt x="147" y="132"/>
                  </a:lnTo>
                  <a:lnTo>
                    <a:pt x="151" y="115"/>
                  </a:lnTo>
                  <a:lnTo>
                    <a:pt x="137" y="127"/>
                  </a:lnTo>
                  <a:lnTo>
                    <a:pt x="137" y="115"/>
                  </a:lnTo>
                  <a:lnTo>
                    <a:pt x="151" y="111"/>
                  </a:lnTo>
                  <a:lnTo>
                    <a:pt x="147" y="111"/>
                  </a:lnTo>
                  <a:lnTo>
                    <a:pt x="130" y="78"/>
                  </a:lnTo>
                  <a:lnTo>
                    <a:pt x="130" y="73"/>
                  </a:lnTo>
                  <a:lnTo>
                    <a:pt x="147" y="78"/>
                  </a:lnTo>
                  <a:lnTo>
                    <a:pt x="147" y="61"/>
                  </a:lnTo>
                  <a:lnTo>
                    <a:pt x="147" y="61"/>
                  </a:lnTo>
                  <a:lnTo>
                    <a:pt x="147" y="61"/>
                  </a:lnTo>
                  <a:close/>
                  <a:moveTo>
                    <a:pt x="7" y="56"/>
                  </a:moveTo>
                  <a:lnTo>
                    <a:pt x="7" y="61"/>
                  </a:lnTo>
                  <a:lnTo>
                    <a:pt x="0" y="56"/>
                  </a:lnTo>
                  <a:lnTo>
                    <a:pt x="7" y="56"/>
                  </a:lnTo>
                  <a:lnTo>
                    <a:pt x="7" y="56"/>
                  </a:lnTo>
                  <a:lnTo>
                    <a:pt x="7" y="56"/>
                  </a:lnTo>
                  <a:close/>
                  <a:moveTo>
                    <a:pt x="130" y="73"/>
                  </a:moveTo>
                  <a:lnTo>
                    <a:pt x="130" y="82"/>
                  </a:lnTo>
                  <a:lnTo>
                    <a:pt x="125" y="82"/>
                  </a:lnTo>
                  <a:lnTo>
                    <a:pt x="125" y="73"/>
                  </a:lnTo>
                  <a:lnTo>
                    <a:pt x="130" y="73"/>
                  </a:lnTo>
                  <a:lnTo>
                    <a:pt x="130" y="73"/>
                  </a:lnTo>
                  <a:lnTo>
                    <a:pt x="130" y="73"/>
                  </a:lnTo>
                  <a:close/>
                  <a:moveTo>
                    <a:pt x="440" y="94"/>
                  </a:moveTo>
                  <a:lnTo>
                    <a:pt x="440" y="99"/>
                  </a:lnTo>
                  <a:lnTo>
                    <a:pt x="433" y="94"/>
                  </a:lnTo>
                  <a:lnTo>
                    <a:pt x="440" y="94"/>
                  </a:lnTo>
                  <a:lnTo>
                    <a:pt x="440" y="94"/>
                  </a:lnTo>
                  <a:lnTo>
                    <a:pt x="440" y="94"/>
                  </a:lnTo>
                  <a:close/>
                  <a:moveTo>
                    <a:pt x="125" y="181"/>
                  </a:moveTo>
                  <a:lnTo>
                    <a:pt x="125" y="181"/>
                  </a:lnTo>
                  <a:lnTo>
                    <a:pt x="125" y="165"/>
                  </a:lnTo>
                  <a:lnTo>
                    <a:pt x="125" y="181"/>
                  </a:lnTo>
                  <a:lnTo>
                    <a:pt x="125" y="181"/>
                  </a:lnTo>
                  <a:lnTo>
                    <a:pt x="125" y="181"/>
                  </a:lnTo>
                  <a:close/>
                  <a:moveTo>
                    <a:pt x="288" y="304"/>
                  </a:moveTo>
                  <a:lnTo>
                    <a:pt x="288" y="314"/>
                  </a:lnTo>
                  <a:lnTo>
                    <a:pt x="277" y="321"/>
                  </a:lnTo>
                  <a:lnTo>
                    <a:pt x="277" y="314"/>
                  </a:lnTo>
                  <a:lnTo>
                    <a:pt x="272" y="304"/>
                  </a:lnTo>
                  <a:lnTo>
                    <a:pt x="288" y="304"/>
                  </a:lnTo>
                  <a:lnTo>
                    <a:pt x="288" y="304"/>
                  </a:lnTo>
                  <a:lnTo>
                    <a:pt x="288" y="304"/>
                  </a:lnTo>
                  <a:close/>
                  <a:moveTo>
                    <a:pt x="234" y="304"/>
                  </a:moveTo>
                  <a:lnTo>
                    <a:pt x="234" y="314"/>
                  </a:lnTo>
                  <a:lnTo>
                    <a:pt x="239" y="314"/>
                  </a:lnTo>
                  <a:lnTo>
                    <a:pt x="239" y="321"/>
                  </a:lnTo>
                  <a:lnTo>
                    <a:pt x="222" y="321"/>
                  </a:lnTo>
                  <a:lnTo>
                    <a:pt x="222" y="304"/>
                  </a:lnTo>
                  <a:lnTo>
                    <a:pt x="234" y="304"/>
                  </a:lnTo>
                  <a:lnTo>
                    <a:pt x="234" y="304"/>
                  </a:lnTo>
                  <a:lnTo>
                    <a:pt x="234" y="304"/>
                  </a:lnTo>
                  <a:close/>
                  <a:moveTo>
                    <a:pt x="222" y="333"/>
                  </a:moveTo>
                  <a:lnTo>
                    <a:pt x="222" y="333"/>
                  </a:lnTo>
                  <a:lnTo>
                    <a:pt x="218" y="333"/>
                  </a:lnTo>
                  <a:lnTo>
                    <a:pt x="222" y="333"/>
                  </a:lnTo>
                  <a:lnTo>
                    <a:pt x="222" y="333"/>
                  </a:lnTo>
                  <a:lnTo>
                    <a:pt x="222" y="333"/>
                  </a:lnTo>
                  <a:close/>
                  <a:moveTo>
                    <a:pt x="125" y="337"/>
                  </a:moveTo>
                  <a:lnTo>
                    <a:pt x="114" y="349"/>
                  </a:lnTo>
                  <a:lnTo>
                    <a:pt x="99" y="349"/>
                  </a:lnTo>
                  <a:lnTo>
                    <a:pt x="114" y="333"/>
                  </a:lnTo>
                  <a:lnTo>
                    <a:pt x="125" y="337"/>
                  </a:lnTo>
                  <a:lnTo>
                    <a:pt x="125" y="337"/>
                  </a:lnTo>
                  <a:lnTo>
                    <a:pt x="125" y="337"/>
                  </a:lnTo>
                  <a:close/>
                  <a:moveTo>
                    <a:pt x="222" y="337"/>
                  </a:moveTo>
                  <a:lnTo>
                    <a:pt x="222" y="337"/>
                  </a:lnTo>
                  <a:lnTo>
                    <a:pt x="218" y="337"/>
                  </a:lnTo>
                  <a:lnTo>
                    <a:pt x="222" y="337"/>
                  </a:lnTo>
                  <a:lnTo>
                    <a:pt x="222" y="337"/>
                  </a:lnTo>
                  <a:lnTo>
                    <a:pt x="222" y="337"/>
                  </a:lnTo>
                  <a:close/>
                  <a:moveTo>
                    <a:pt x="184" y="337"/>
                  </a:moveTo>
                  <a:lnTo>
                    <a:pt x="184" y="349"/>
                  </a:lnTo>
                  <a:lnTo>
                    <a:pt x="180" y="349"/>
                  </a:lnTo>
                  <a:lnTo>
                    <a:pt x="184" y="337"/>
                  </a:lnTo>
                  <a:lnTo>
                    <a:pt x="184" y="337"/>
                  </a:lnTo>
                  <a:lnTo>
                    <a:pt x="184" y="337"/>
                  </a:lnTo>
                  <a:close/>
                  <a:moveTo>
                    <a:pt x="147" y="349"/>
                  </a:moveTo>
                  <a:lnTo>
                    <a:pt x="147" y="354"/>
                  </a:lnTo>
                  <a:lnTo>
                    <a:pt x="137" y="354"/>
                  </a:lnTo>
                  <a:lnTo>
                    <a:pt x="147" y="349"/>
                  </a:lnTo>
                  <a:lnTo>
                    <a:pt x="147" y="349"/>
                  </a:lnTo>
                  <a:lnTo>
                    <a:pt x="147" y="349"/>
                  </a:lnTo>
                  <a:close/>
                  <a:moveTo>
                    <a:pt x="151" y="415"/>
                  </a:moveTo>
                  <a:lnTo>
                    <a:pt x="163" y="425"/>
                  </a:lnTo>
                  <a:lnTo>
                    <a:pt x="151" y="432"/>
                  </a:lnTo>
                  <a:lnTo>
                    <a:pt x="114" y="441"/>
                  </a:lnTo>
                  <a:lnTo>
                    <a:pt x="109" y="441"/>
                  </a:lnTo>
                  <a:lnTo>
                    <a:pt x="114" y="425"/>
                  </a:lnTo>
                  <a:lnTo>
                    <a:pt x="151" y="415"/>
                  </a:lnTo>
                  <a:lnTo>
                    <a:pt x="151" y="415"/>
                  </a:lnTo>
                  <a:lnTo>
                    <a:pt x="151" y="41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78" name="Freeform 486">
              <a:extLst>
                <a:ext uri="{FF2B5EF4-FFF2-40B4-BE49-F238E27FC236}">
                  <a16:creationId xmlns:a16="http://schemas.microsoft.com/office/drawing/2014/main" id="{929C127A-565E-4A96-83A5-4B78FFBE8B55}"/>
                </a:ext>
              </a:extLst>
            </p:cNvPr>
            <p:cNvSpPr>
              <a:spLocks/>
            </p:cNvSpPr>
            <p:nvPr/>
          </p:nvSpPr>
          <p:spPr bwMode="gray">
            <a:xfrm>
              <a:off x="9774653" y="4373025"/>
              <a:ext cx="2882" cy="6588"/>
            </a:xfrm>
            <a:custGeom>
              <a:avLst/>
              <a:gdLst>
                <a:gd name="T0" fmla="*/ 7 w 7"/>
                <a:gd name="T1" fmla="*/ 16 h 16"/>
                <a:gd name="T2" fmla="*/ 0 w 7"/>
                <a:gd name="T3" fmla="*/ 7 h 16"/>
                <a:gd name="T4" fmla="*/ 7 w 7"/>
                <a:gd name="T5" fmla="*/ 0 h 16"/>
                <a:gd name="T6" fmla="*/ 7 w 7"/>
                <a:gd name="T7" fmla="*/ 16 h 16"/>
                <a:gd name="T8" fmla="*/ 7 w 7"/>
                <a:gd name="T9" fmla="*/ 16 h 16"/>
                <a:gd name="T10" fmla="*/ 7 w 7"/>
                <a:gd name="T11" fmla="*/ 16 h 16"/>
              </a:gdLst>
              <a:ahLst/>
              <a:cxnLst>
                <a:cxn ang="0">
                  <a:pos x="T0" y="T1"/>
                </a:cxn>
                <a:cxn ang="0">
                  <a:pos x="T2" y="T3"/>
                </a:cxn>
                <a:cxn ang="0">
                  <a:pos x="T4" y="T5"/>
                </a:cxn>
                <a:cxn ang="0">
                  <a:pos x="T6" y="T7"/>
                </a:cxn>
                <a:cxn ang="0">
                  <a:pos x="T8" y="T9"/>
                </a:cxn>
                <a:cxn ang="0">
                  <a:pos x="T10" y="T11"/>
                </a:cxn>
              </a:cxnLst>
              <a:rect l="0" t="0" r="r" b="b"/>
              <a:pathLst>
                <a:path w="7" h="16">
                  <a:moveTo>
                    <a:pt x="7" y="16"/>
                  </a:moveTo>
                  <a:lnTo>
                    <a:pt x="0" y="7"/>
                  </a:lnTo>
                  <a:lnTo>
                    <a:pt x="7" y="0"/>
                  </a:lnTo>
                  <a:lnTo>
                    <a:pt x="7" y="16"/>
                  </a:lnTo>
                  <a:lnTo>
                    <a:pt x="7" y="16"/>
                  </a:lnTo>
                  <a:lnTo>
                    <a:pt x="7" y="1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79" name="Freeform 489">
              <a:extLst>
                <a:ext uri="{FF2B5EF4-FFF2-40B4-BE49-F238E27FC236}">
                  <a16:creationId xmlns:a16="http://schemas.microsoft.com/office/drawing/2014/main" id="{CD640C3B-F911-4113-BCAD-217A4E21D711}"/>
                </a:ext>
              </a:extLst>
            </p:cNvPr>
            <p:cNvSpPr>
              <a:spLocks/>
            </p:cNvSpPr>
            <p:nvPr/>
          </p:nvSpPr>
          <p:spPr bwMode="gray">
            <a:xfrm>
              <a:off x="9615337" y="3387789"/>
              <a:ext cx="220655" cy="262674"/>
            </a:xfrm>
            <a:custGeom>
              <a:avLst/>
              <a:gdLst>
                <a:gd name="T0" fmla="*/ 5 w 536"/>
                <a:gd name="T1" fmla="*/ 127 h 638"/>
                <a:gd name="T2" fmla="*/ 33 w 536"/>
                <a:gd name="T3" fmla="*/ 120 h 638"/>
                <a:gd name="T4" fmla="*/ 49 w 536"/>
                <a:gd name="T5" fmla="*/ 87 h 638"/>
                <a:gd name="T6" fmla="*/ 75 w 536"/>
                <a:gd name="T7" fmla="*/ 66 h 638"/>
                <a:gd name="T8" fmla="*/ 104 w 536"/>
                <a:gd name="T9" fmla="*/ 94 h 638"/>
                <a:gd name="T10" fmla="*/ 125 w 536"/>
                <a:gd name="T11" fmla="*/ 94 h 638"/>
                <a:gd name="T12" fmla="*/ 113 w 536"/>
                <a:gd name="T13" fmla="*/ 49 h 638"/>
                <a:gd name="T14" fmla="*/ 104 w 536"/>
                <a:gd name="T15" fmla="*/ 16 h 638"/>
                <a:gd name="T16" fmla="*/ 146 w 536"/>
                <a:gd name="T17" fmla="*/ 9 h 638"/>
                <a:gd name="T18" fmla="*/ 179 w 536"/>
                <a:gd name="T19" fmla="*/ 66 h 638"/>
                <a:gd name="T20" fmla="*/ 196 w 536"/>
                <a:gd name="T21" fmla="*/ 87 h 638"/>
                <a:gd name="T22" fmla="*/ 255 w 536"/>
                <a:gd name="T23" fmla="*/ 137 h 638"/>
                <a:gd name="T24" fmla="*/ 276 w 536"/>
                <a:gd name="T25" fmla="*/ 111 h 638"/>
                <a:gd name="T26" fmla="*/ 305 w 536"/>
                <a:gd name="T27" fmla="*/ 149 h 638"/>
                <a:gd name="T28" fmla="*/ 342 w 536"/>
                <a:gd name="T29" fmla="*/ 177 h 638"/>
                <a:gd name="T30" fmla="*/ 331 w 536"/>
                <a:gd name="T31" fmla="*/ 194 h 638"/>
                <a:gd name="T32" fmla="*/ 319 w 536"/>
                <a:gd name="T33" fmla="*/ 215 h 638"/>
                <a:gd name="T34" fmla="*/ 276 w 536"/>
                <a:gd name="T35" fmla="*/ 222 h 638"/>
                <a:gd name="T36" fmla="*/ 288 w 536"/>
                <a:gd name="T37" fmla="*/ 248 h 638"/>
                <a:gd name="T38" fmla="*/ 357 w 536"/>
                <a:gd name="T39" fmla="*/ 288 h 638"/>
                <a:gd name="T40" fmla="*/ 357 w 536"/>
                <a:gd name="T41" fmla="*/ 309 h 638"/>
                <a:gd name="T42" fmla="*/ 380 w 536"/>
                <a:gd name="T43" fmla="*/ 326 h 638"/>
                <a:gd name="T44" fmla="*/ 439 w 536"/>
                <a:gd name="T45" fmla="*/ 399 h 638"/>
                <a:gd name="T46" fmla="*/ 456 w 536"/>
                <a:gd name="T47" fmla="*/ 416 h 638"/>
                <a:gd name="T48" fmla="*/ 465 w 536"/>
                <a:gd name="T49" fmla="*/ 456 h 638"/>
                <a:gd name="T50" fmla="*/ 482 w 536"/>
                <a:gd name="T51" fmla="*/ 444 h 638"/>
                <a:gd name="T52" fmla="*/ 494 w 536"/>
                <a:gd name="T53" fmla="*/ 460 h 638"/>
                <a:gd name="T54" fmla="*/ 520 w 536"/>
                <a:gd name="T55" fmla="*/ 477 h 638"/>
                <a:gd name="T56" fmla="*/ 494 w 536"/>
                <a:gd name="T57" fmla="*/ 498 h 638"/>
                <a:gd name="T58" fmla="*/ 527 w 536"/>
                <a:gd name="T59" fmla="*/ 555 h 638"/>
                <a:gd name="T60" fmla="*/ 527 w 536"/>
                <a:gd name="T61" fmla="*/ 583 h 638"/>
                <a:gd name="T62" fmla="*/ 456 w 536"/>
                <a:gd name="T63" fmla="*/ 588 h 638"/>
                <a:gd name="T64" fmla="*/ 435 w 536"/>
                <a:gd name="T65" fmla="*/ 593 h 638"/>
                <a:gd name="T66" fmla="*/ 418 w 536"/>
                <a:gd name="T67" fmla="*/ 605 h 638"/>
                <a:gd name="T68" fmla="*/ 418 w 536"/>
                <a:gd name="T69" fmla="*/ 638 h 638"/>
                <a:gd name="T70" fmla="*/ 385 w 536"/>
                <a:gd name="T71" fmla="*/ 621 h 638"/>
                <a:gd name="T72" fmla="*/ 357 w 536"/>
                <a:gd name="T73" fmla="*/ 605 h 638"/>
                <a:gd name="T74" fmla="*/ 385 w 536"/>
                <a:gd name="T75" fmla="*/ 555 h 638"/>
                <a:gd name="T76" fmla="*/ 385 w 536"/>
                <a:gd name="T77" fmla="*/ 510 h 638"/>
                <a:gd name="T78" fmla="*/ 373 w 536"/>
                <a:gd name="T79" fmla="*/ 494 h 638"/>
                <a:gd name="T80" fmla="*/ 347 w 536"/>
                <a:gd name="T81" fmla="*/ 477 h 638"/>
                <a:gd name="T82" fmla="*/ 331 w 536"/>
                <a:gd name="T83" fmla="*/ 387 h 638"/>
                <a:gd name="T84" fmla="*/ 293 w 536"/>
                <a:gd name="T85" fmla="*/ 349 h 638"/>
                <a:gd name="T86" fmla="*/ 234 w 536"/>
                <a:gd name="T87" fmla="*/ 305 h 638"/>
                <a:gd name="T88" fmla="*/ 222 w 536"/>
                <a:gd name="T89" fmla="*/ 316 h 638"/>
                <a:gd name="T90" fmla="*/ 212 w 536"/>
                <a:gd name="T91" fmla="*/ 333 h 638"/>
                <a:gd name="T92" fmla="*/ 179 w 536"/>
                <a:gd name="T93" fmla="*/ 349 h 638"/>
                <a:gd name="T94" fmla="*/ 163 w 536"/>
                <a:gd name="T95" fmla="*/ 333 h 638"/>
                <a:gd name="T96" fmla="*/ 125 w 536"/>
                <a:gd name="T97" fmla="*/ 333 h 638"/>
                <a:gd name="T98" fmla="*/ 104 w 536"/>
                <a:gd name="T99" fmla="*/ 349 h 638"/>
                <a:gd name="T100" fmla="*/ 59 w 536"/>
                <a:gd name="T101" fmla="*/ 366 h 638"/>
                <a:gd name="T102" fmla="*/ 75 w 536"/>
                <a:gd name="T103" fmla="*/ 309 h 638"/>
                <a:gd name="T104" fmla="*/ 87 w 536"/>
                <a:gd name="T105" fmla="*/ 288 h 638"/>
                <a:gd name="T106" fmla="*/ 87 w 536"/>
                <a:gd name="T107" fmla="*/ 255 h 638"/>
                <a:gd name="T108" fmla="*/ 87 w 536"/>
                <a:gd name="T109" fmla="*/ 222 h 638"/>
                <a:gd name="T110" fmla="*/ 49 w 536"/>
                <a:gd name="T111" fmla="*/ 222 h 638"/>
                <a:gd name="T112" fmla="*/ 21 w 536"/>
                <a:gd name="T113" fmla="*/ 205 h 638"/>
                <a:gd name="T114" fmla="*/ 21 w 536"/>
                <a:gd name="T115" fmla="*/ 177 h 638"/>
                <a:gd name="T116" fmla="*/ 5 w 536"/>
                <a:gd name="T117" fmla="*/ 165 h 638"/>
                <a:gd name="T118" fmla="*/ 0 w 536"/>
                <a:gd name="T119" fmla="*/ 16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 h="638">
                  <a:moveTo>
                    <a:pt x="0" y="160"/>
                  </a:moveTo>
                  <a:lnTo>
                    <a:pt x="5" y="127"/>
                  </a:lnTo>
                  <a:lnTo>
                    <a:pt x="38" y="120"/>
                  </a:lnTo>
                  <a:lnTo>
                    <a:pt x="33" y="120"/>
                  </a:lnTo>
                  <a:lnTo>
                    <a:pt x="33" y="111"/>
                  </a:lnTo>
                  <a:lnTo>
                    <a:pt x="49" y="87"/>
                  </a:lnTo>
                  <a:lnTo>
                    <a:pt x="59" y="83"/>
                  </a:lnTo>
                  <a:lnTo>
                    <a:pt x="75" y="66"/>
                  </a:lnTo>
                  <a:lnTo>
                    <a:pt x="87" y="94"/>
                  </a:lnTo>
                  <a:lnTo>
                    <a:pt x="104" y="94"/>
                  </a:lnTo>
                  <a:lnTo>
                    <a:pt x="113" y="104"/>
                  </a:lnTo>
                  <a:lnTo>
                    <a:pt x="125" y="94"/>
                  </a:lnTo>
                  <a:lnTo>
                    <a:pt x="113" y="87"/>
                  </a:lnTo>
                  <a:lnTo>
                    <a:pt x="113" y="49"/>
                  </a:lnTo>
                  <a:lnTo>
                    <a:pt x="109" y="38"/>
                  </a:lnTo>
                  <a:lnTo>
                    <a:pt x="104" y="16"/>
                  </a:lnTo>
                  <a:lnTo>
                    <a:pt x="113" y="0"/>
                  </a:lnTo>
                  <a:lnTo>
                    <a:pt x="146" y="9"/>
                  </a:lnTo>
                  <a:lnTo>
                    <a:pt x="179" y="38"/>
                  </a:lnTo>
                  <a:lnTo>
                    <a:pt x="179" y="66"/>
                  </a:lnTo>
                  <a:lnTo>
                    <a:pt x="201" y="54"/>
                  </a:lnTo>
                  <a:lnTo>
                    <a:pt x="196" y="87"/>
                  </a:lnTo>
                  <a:lnTo>
                    <a:pt x="217" y="120"/>
                  </a:lnTo>
                  <a:lnTo>
                    <a:pt x="255" y="137"/>
                  </a:lnTo>
                  <a:lnTo>
                    <a:pt x="264" y="120"/>
                  </a:lnTo>
                  <a:lnTo>
                    <a:pt x="276" y="111"/>
                  </a:lnTo>
                  <a:lnTo>
                    <a:pt x="319" y="137"/>
                  </a:lnTo>
                  <a:lnTo>
                    <a:pt x="305" y="149"/>
                  </a:lnTo>
                  <a:lnTo>
                    <a:pt x="319" y="149"/>
                  </a:lnTo>
                  <a:lnTo>
                    <a:pt x="342" y="177"/>
                  </a:lnTo>
                  <a:lnTo>
                    <a:pt x="342" y="182"/>
                  </a:lnTo>
                  <a:lnTo>
                    <a:pt x="331" y="194"/>
                  </a:lnTo>
                  <a:lnTo>
                    <a:pt x="331" y="198"/>
                  </a:lnTo>
                  <a:lnTo>
                    <a:pt x="319" y="215"/>
                  </a:lnTo>
                  <a:lnTo>
                    <a:pt x="276" y="205"/>
                  </a:lnTo>
                  <a:lnTo>
                    <a:pt x="276" y="222"/>
                  </a:lnTo>
                  <a:lnTo>
                    <a:pt x="264" y="238"/>
                  </a:lnTo>
                  <a:lnTo>
                    <a:pt x="288" y="248"/>
                  </a:lnTo>
                  <a:lnTo>
                    <a:pt x="326" y="276"/>
                  </a:lnTo>
                  <a:lnTo>
                    <a:pt x="357" y="288"/>
                  </a:lnTo>
                  <a:lnTo>
                    <a:pt x="357" y="305"/>
                  </a:lnTo>
                  <a:lnTo>
                    <a:pt x="357" y="309"/>
                  </a:lnTo>
                  <a:lnTo>
                    <a:pt x="373" y="326"/>
                  </a:lnTo>
                  <a:lnTo>
                    <a:pt x="380" y="326"/>
                  </a:lnTo>
                  <a:lnTo>
                    <a:pt x="397" y="361"/>
                  </a:lnTo>
                  <a:lnTo>
                    <a:pt x="439" y="399"/>
                  </a:lnTo>
                  <a:lnTo>
                    <a:pt x="449" y="416"/>
                  </a:lnTo>
                  <a:lnTo>
                    <a:pt x="456" y="416"/>
                  </a:lnTo>
                  <a:lnTo>
                    <a:pt x="456" y="437"/>
                  </a:lnTo>
                  <a:lnTo>
                    <a:pt x="465" y="456"/>
                  </a:lnTo>
                  <a:lnTo>
                    <a:pt x="472" y="456"/>
                  </a:lnTo>
                  <a:lnTo>
                    <a:pt x="482" y="444"/>
                  </a:lnTo>
                  <a:lnTo>
                    <a:pt x="489" y="460"/>
                  </a:lnTo>
                  <a:lnTo>
                    <a:pt x="494" y="460"/>
                  </a:lnTo>
                  <a:lnTo>
                    <a:pt x="510" y="477"/>
                  </a:lnTo>
                  <a:lnTo>
                    <a:pt x="520" y="477"/>
                  </a:lnTo>
                  <a:lnTo>
                    <a:pt x="510" y="494"/>
                  </a:lnTo>
                  <a:lnTo>
                    <a:pt x="494" y="498"/>
                  </a:lnTo>
                  <a:lnTo>
                    <a:pt x="536" y="538"/>
                  </a:lnTo>
                  <a:lnTo>
                    <a:pt x="527" y="555"/>
                  </a:lnTo>
                  <a:lnTo>
                    <a:pt x="520" y="555"/>
                  </a:lnTo>
                  <a:lnTo>
                    <a:pt x="527" y="583"/>
                  </a:lnTo>
                  <a:lnTo>
                    <a:pt x="472" y="609"/>
                  </a:lnTo>
                  <a:lnTo>
                    <a:pt x="456" y="588"/>
                  </a:lnTo>
                  <a:lnTo>
                    <a:pt x="439" y="593"/>
                  </a:lnTo>
                  <a:lnTo>
                    <a:pt x="435" y="593"/>
                  </a:lnTo>
                  <a:lnTo>
                    <a:pt x="435" y="605"/>
                  </a:lnTo>
                  <a:lnTo>
                    <a:pt x="418" y="605"/>
                  </a:lnTo>
                  <a:lnTo>
                    <a:pt x="427" y="628"/>
                  </a:lnTo>
                  <a:lnTo>
                    <a:pt x="418" y="638"/>
                  </a:lnTo>
                  <a:lnTo>
                    <a:pt x="411" y="638"/>
                  </a:lnTo>
                  <a:lnTo>
                    <a:pt x="385" y="621"/>
                  </a:lnTo>
                  <a:lnTo>
                    <a:pt x="373" y="628"/>
                  </a:lnTo>
                  <a:lnTo>
                    <a:pt x="357" y="605"/>
                  </a:lnTo>
                  <a:lnTo>
                    <a:pt x="380" y="588"/>
                  </a:lnTo>
                  <a:lnTo>
                    <a:pt x="385" y="555"/>
                  </a:lnTo>
                  <a:lnTo>
                    <a:pt x="380" y="550"/>
                  </a:lnTo>
                  <a:lnTo>
                    <a:pt x="385" y="510"/>
                  </a:lnTo>
                  <a:lnTo>
                    <a:pt x="373" y="498"/>
                  </a:lnTo>
                  <a:lnTo>
                    <a:pt x="373" y="494"/>
                  </a:lnTo>
                  <a:lnTo>
                    <a:pt x="373" y="482"/>
                  </a:lnTo>
                  <a:lnTo>
                    <a:pt x="347" y="477"/>
                  </a:lnTo>
                  <a:lnTo>
                    <a:pt x="326" y="444"/>
                  </a:lnTo>
                  <a:lnTo>
                    <a:pt x="331" y="387"/>
                  </a:lnTo>
                  <a:lnTo>
                    <a:pt x="326" y="371"/>
                  </a:lnTo>
                  <a:lnTo>
                    <a:pt x="293" y="349"/>
                  </a:lnTo>
                  <a:lnTo>
                    <a:pt x="272" y="309"/>
                  </a:lnTo>
                  <a:lnTo>
                    <a:pt x="234" y="305"/>
                  </a:lnTo>
                  <a:lnTo>
                    <a:pt x="222" y="309"/>
                  </a:lnTo>
                  <a:lnTo>
                    <a:pt x="222" y="316"/>
                  </a:lnTo>
                  <a:lnTo>
                    <a:pt x="212" y="326"/>
                  </a:lnTo>
                  <a:lnTo>
                    <a:pt x="212" y="333"/>
                  </a:lnTo>
                  <a:lnTo>
                    <a:pt x="196" y="333"/>
                  </a:lnTo>
                  <a:lnTo>
                    <a:pt x="179" y="349"/>
                  </a:lnTo>
                  <a:lnTo>
                    <a:pt x="179" y="342"/>
                  </a:lnTo>
                  <a:lnTo>
                    <a:pt x="163" y="333"/>
                  </a:lnTo>
                  <a:lnTo>
                    <a:pt x="142" y="316"/>
                  </a:lnTo>
                  <a:lnTo>
                    <a:pt x="125" y="333"/>
                  </a:lnTo>
                  <a:lnTo>
                    <a:pt x="113" y="333"/>
                  </a:lnTo>
                  <a:lnTo>
                    <a:pt x="104" y="349"/>
                  </a:lnTo>
                  <a:lnTo>
                    <a:pt x="75" y="371"/>
                  </a:lnTo>
                  <a:lnTo>
                    <a:pt x="59" y="366"/>
                  </a:lnTo>
                  <a:lnTo>
                    <a:pt x="75" y="326"/>
                  </a:lnTo>
                  <a:lnTo>
                    <a:pt x="75" y="309"/>
                  </a:lnTo>
                  <a:lnTo>
                    <a:pt x="71" y="305"/>
                  </a:lnTo>
                  <a:lnTo>
                    <a:pt x="87" y="288"/>
                  </a:lnTo>
                  <a:lnTo>
                    <a:pt x="75" y="272"/>
                  </a:lnTo>
                  <a:lnTo>
                    <a:pt x="87" y="255"/>
                  </a:lnTo>
                  <a:lnTo>
                    <a:pt x="75" y="231"/>
                  </a:lnTo>
                  <a:lnTo>
                    <a:pt x="87" y="222"/>
                  </a:lnTo>
                  <a:lnTo>
                    <a:pt x="54" y="215"/>
                  </a:lnTo>
                  <a:lnTo>
                    <a:pt x="49" y="222"/>
                  </a:lnTo>
                  <a:lnTo>
                    <a:pt x="33" y="222"/>
                  </a:lnTo>
                  <a:lnTo>
                    <a:pt x="21" y="205"/>
                  </a:lnTo>
                  <a:lnTo>
                    <a:pt x="33" y="177"/>
                  </a:lnTo>
                  <a:lnTo>
                    <a:pt x="21" y="177"/>
                  </a:lnTo>
                  <a:lnTo>
                    <a:pt x="16" y="160"/>
                  </a:lnTo>
                  <a:lnTo>
                    <a:pt x="5" y="165"/>
                  </a:lnTo>
                  <a:lnTo>
                    <a:pt x="0" y="160"/>
                  </a:lnTo>
                  <a:lnTo>
                    <a:pt x="0" y="160"/>
                  </a:lnTo>
                  <a:lnTo>
                    <a:pt x="0" y="16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80" name="Freeform 515">
              <a:extLst>
                <a:ext uri="{FF2B5EF4-FFF2-40B4-BE49-F238E27FC236}">
                  <a16:creationId xmlns:a16="http://schemas.microsoft.com/office/drawing/2014/main" id="{AB24E209-8F29-40F8-A3F7-B529DA015396}"/>
                </a:ext>
              </a:extLst>
            </p:cNvPr>
            <p:cNvSpPr>
              <a:spLocks noEditPoints="1"/>
            </p:cNvSpPr>
            <p:nvPr/>
          </p:nvSpPr>
          <p:spPr bwMode="gray">
            <a:xfrm>
              <a:off x="9602574" y="3848911"/>
              <a:ext cx="566869" cy="192272"/>
            </a:xfrm>
            <a:custGeom>
              <a:avLst/>
              <a:gdLst>
                <a:gd name="T0" fmla="*/ 1205 w 1377"/>
                <a:gd name="T1" fmla="*/ 4 h 467"/>
                <a:gd name="T2" fmla="*/ 1238 w 1377"/>
                <a:gd name="T3" fmla="*/ 0 h 467"/>
                <a:gd name="T4" fmla="*/ 1233 w 1377"/>
                <a:gd name="T5" fmla="*/ 0 h 467"/>
                <a:gd name="T6" fmla="*/ 1184 w 1377"/>
                <a:gd name="T7" fmla="*/ 222 h 467"/>
                <a:gd name="T8" fmla="*/ 1125 w 1377"/>
                <a:gd name="T9" fmla="*/ 226 h 467"/>
                <a:gd name="T10" fmla="*/ 1099 w 1377"/>
                <a:gd name="T11" fmla="*/ 304 h 467"/>
                <a:gd name="T12" fmla="*/ 1070 w 1377"/>
                <a:gd name="T13" fmla="*/ 361 h 467"/>
                <a:gd name="T14" fmla="*/ 1037 w 1377"/>
                <a:gd name="T15" fmla="*/ 415 h 467"/>
                <a:gd name="T16" fmla="*/ 936 w 1377"/>
                <a:gd name="T17" fmla="*/ 411 h 467"/>
                <a:gd name="T18" fmla="*/ 865 w 1377"/>
                <a:gd name="T19" fmla="*/ 444 h 467"/>
                <a:gd name="T20" fmla="*/ 704 w 1377"/>
                <a:gd name="T21" fmla="*/ 411 h 467"/>
                <a:gd name="T22" fmla="*/ 718 w 1377"/>
                <a:gd name="T23" fmla="*/ 406 h 467"/>
                <a:gd name="T24" fmla="*/ 784 w 1377"/>
                <a:gd name="T25" fmla="*/ 415 h 467"/>
                <a:gd name="T26" fmla="*/ 827 w 1377"/>
                <a:gd name="T27" fmla="*/ 427 h 467"/>
                <a:gd name="T28" fmla="*/ 822 w 1377"/>
                <a:gd name="T29" fmla="*/ 373 h 467"/>
                <a:gd name="T30" fmla="*/ 827 w 1377"/>
                <a:gd name="T31" fmla="*/ 333 h 467"/>
                <a:gd name="T32" fmla="*/ 1006 w 1377"/>
                <a:gd name="T33" fmla="*/ 193 h 467"/>
                <a:gd name="T34" fmla="*/ 1070 w 1377"/>
                <a:gd name="T35" fmla="*/ 226 h 467"/>
                <a:gd name="T36" fmla="*/ 1082 w 1377"/>
                <a:gd name="T37" fmla="*/ 181 h 467"/>
                <a:gd name="T38" fmla="*/ 1091 w 1377"/>
                <a:gd name="T39" fmla="*/ 172 h 467"/>
                <a:gd name="T40" fmla="*/ 1108 w 1377"/>
                <a:gd name="T41" fmla="*/ 139 h 467"/>
                <a:gd name="T42" fmla="*/ 1151 w 1377"/>
                <a:gd name="T43" fmla="*/ 99 h 467"/>
                <a:gd name="T44" fmla="*/ 1205 w 1377"/>
                <a:gd name="T45" fmla="*/ 25 h 467"/>
                <a:gd name="T46" fmla="*/ 1238 w 1377"/>
                <a:gd name="T47" fmla="*/ 44 h 467"/>
                <a:gd name="T48" fmla="*/ 1259 w 1377"/>
                <a:gd name="T49" fmla="*/ 77 h 467"/>
                <a:gd name="T50" fmla="*/ 1292 w 1377"/>
                <a:gd name="T51" fmla="*/ 82 h 467"/>
                <a:gd name="T52" fmla="*/ 1314 w 1377"/>
                <a:gd name="T53" fmla="*/ 111 h 467"/>
                <a:gd name="T54" fmla="*/ 1377 w 1377"/>
                <a:gd name="T55" fmla="*/ 155 h 467"/>
                <a:gd name="T56" fmla="*/ 1297 w 1377"/>
                <a:gd name="T57" fmla="*/ 172 h 467"/>
                <a:gd name="T58" fmla="*/ 1330 w 1377"/>
                <a:gd name="T59" fmla="*/ 205 h 467"/>
                <a:gd name="T60" fmla="*/ 1271 w 1377"/>
                <a:gd name="T61" fmla="*/ 210 h 467"/>
                <a:gd name="T62" fmla="*/ 1243 w 1377"/>
                <a:gd name="T63" fmla="*/ 44 h 467"/>
                <a:gd name="T64" fmla="*/ 1243 w 1377"/>
                <a:gd name="T65" fmla="*/ 44 h 467"/>
                <a:gd name="T66" fmla="*/ 38 w 1377"/>
                <a:gd name="T67" fmla="*/ 44 h 467"/>
                <a:gd name="T68" fmla="*/ 83 w 1377"/>
                <a:gd name="T69" fmla="*/ 54 h 467"/>
                <a:gd name="T70" fmla="*/ 92 w 1377"/>
                <a:gd name="T71" fmla="*/ 111 h 467"/>
                <a:gd name="T72" fmla="*/ 158 w 1377"/>
                <a:gd name="T73" fmla="*/ 111 h 467"/>
                <a:gd name="T74" fmla="*/ 243 w 1377"/>
                <a:gd name="T75" fmla="*/ 132 h 467"/>
                <a:gd name="T76" fmla="*/ 272 w 1377"/>
                <a:gd name="T77" fmla="*/ 278 h 467"/>
                <a:gd name="T78" fmla="*/ 326 w 1377"/>
                <a:gd name="T79" fmla="*/ 406 h 467"/>
                <a:gd name="T80" fmla="*/ 303 w 1377"/>
                <a:gd name="T81" fmla="*/ 427 h 467"/>
                <a:gd name="T82" fmla="*/ 217 w 1377"/>
                <a:gd name="T83" fmla="*/ 394 h 467"/>
                <a:gd name="T84" fmla="*/ 121 w 1377"/>
                <a:gd name="T85" fmla="*/ 321 h 467"/>
                <a:gd name="T86" fmla="*/ 83 w 1377"/>
                <a:gd name="T87" fmla="*/ 250 h 467"/>
                <a:gd name="T88" fmla="*/ 88 w 1377"/>
                <a:gd name="T89" fmla="*/ 238 h 467"/>
                <a:gd name="T90" fmla="*/ 54 w 1377"/>
                <a:gd name="T91" fmla="*/ 148 h 467"/>
                <a:gd name="T92" fmla="*/ 33 w 1377"/>
                <a:gd name="T93" fmla="*/ 61 h 467"/>
                <a:gd name="T94" fmla="*/ 0 w 1377"/>
                <a:gd name="T95" fmla="*/ 61 h 467"/>
                <a:gd name="T96" fmla="*/ 50 w 1377"/>
                <a:gd name="T97" fmla="*/ 132 h 467"/>
                <a:gd name="T98" fmla="*/ 50 w 1377"/>
                <a:gd name="T99" fmla="*/ 132 h 467"/>
                <a:gd name="T100" fmla="*/ 1099 w 1377"/>
                <a:gd name="T101" fmla="*/ 139 h 467"/>
                <a:gd name="T102" fmla="*/ 1091 w 1377"/>
                <a:gd name="T103" fmla="*/ 148 h 467"/>
                <a:gd name="T104" fmla="*/ 1288 w 1377"/>
                <a:gd name="T105" fmla="*/ 226 h 467"/>
                <a:gd name="T106" fmla="*/ 822 w 1377"/>
                <a:gd name="T107" fmla="*/ 321 h 467"/>
                <a:gd name="T108" fmla="*/ 822 w 1377"/>
                <a:gd name="T109" fmla="*/ 349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77" h="467">
                  <a:moveTo>
                    <a:pt x="1205" y="4"/>
                  </a:moveTo>
                  <a:lnTo>
                    <a:pt x="1221" y="0"/>
                  </a:lnTo>
                  <a:lnTo>
                    <a:pt x="1221" y="0"/>
                  </a:lnTo>
                  <a:lnTo>
                    <a:pt x="1205" y="4"/>
                  </a:lnTo>
                  <a:lnTo>
                    <a:pt x="1205" y="4"/>
                  </a:lnTo>
                  <a:lnTo>
                    <a:pt x="1205" y="4"/>
                  </a:lnTo>
                  <a:close/>
                  <a:moveTo>
                    <a:pt x="1233" y="0"/>
                  </a:moveTo>
                  <a:lnTo>
                    <a:pt x="1238" y="0"/>
                  </a:lnTo>
                  <a:lnTo>
                    <a:pt x="1238" y="4"/>
                  </a:lnTo>
                  <a:lnTo>
                    <a:pt x="1221" y="16"/>
                  </a:lnTo>
                  <a:lnTo>
                    <a:pt x="1233" y="0"/>
                  </a:lnTo>
                  <a:lnTo>
                    <a:pt x="1233" y="0"/>
                  </a:lnTo>
                  <a:lnTo>
                    <a:pt x="1233" y="0"/>
                  </a:lnTo>
                  <a:close/>
                  <a:moveTo>
                    <a:pt x="1259" y="226"/>
                  </a:moveTo>
                  <a:lnTo>
                    <a:pt x="1238" y="210"/>
                  </a:lnTo>
                  <a:lnTo>
                    <a:pt x="1184" y="222"/>
                  </a:lnTo>
                  <a:lnTo>
                    <a:pt x="1162" y="210"/>
                  </a:lnTo>
                  <a:lnTo>
                    <a:pt x="1151" y="222"/>
                  </a:lnTo>
                  <a:lnTo>
                    <a:pt x="1136" y="210"/>
                  </a:lnTo>
                  <a:lnTo>
                    <a:pt x="1125" y="226"/>
                  </a:lnTo>
                  <a:lnTo>
                    <a:pt x="1125" y="259"/>
                  </a:lnTo>
                  <a:lnTo>
                    <a:pt x="1125" y="278"/>
                  </a:lnTo>
                  <a:lnTo>
                    <a:pt x="1113" y="304"/>
                  </a:lnTo>
                  <a:lnTo>
                    <a:pt x="1099" y="304"/>
                  </a:lnTo>
                  <a:lnTo>
                    <a:pt x="1091" y="316"/>
                  </a:lnTo>
                  <a:lnTo>
                    <a:pt x="1082" y="337"/>
                  </a:lnTo>
                  <a:lnTo>
                    <a:pt x="1099" y="349"/>
                  </a:lnTo>
                  <a:lnTo>
                    <a:pt x="1070" y="361"/>
                  </a:lnTo>
                  <a:lnTo>
                    <a:pt x="1070" y="389"/>
                  </a:lnTo>
                  <a:lnTo>
                    <a:pt x="1061" y="406"/>
                  </a:lnTo>
                  <a:lnTo>
                    <a:pt x="1054" y="427"/>
                  </a:lnTo>
                  <a:lnTo>
                    <a:pt x="1037" y="415"/>
                  </a:lnTo>
                  <a:lnTo>
                    <a:pt x="1006" y="415"/>
                  </a:lnTo>
                  <a:lnTo>
                    <a:pt x="985" y="434"/>
                  </a:lnTo>
                  <a:lnTo>
                    <a:pt x="947" y="427"/>
                  </a:lnTo>
                  <a:lnTo>
                    <a:pt x="936" y="411"/>
                  </a:lnTo>
                  <a:lnTo>
                    <a:pt x="898" y="411"/>
                  </a:lnTo>
                  <a:lnTo>
                    <a:pt x="881" y="415"/>
                  </a:lnTo>
                  <a:lnTo>
                    <a:pt x="877" y="444"/>
                  </a:lnTo>
                  <a:lnTo>
                    <a:pt x="865" y="444"/>
                  </a:lnTo>
                  <a:lnTo>
                    <a:pt x="860" y="460"/>
                  </a:lnTo>
                  <a:lnTo>
                    <a:pt x="810" y="451"/>
                  </a:lnTo>
                  <a:lnTo>
                    <a:pt x="768" y="467"/>
                  </a:lnTo>
                  <a:lnTo>
                    <a:pt x="704" y="411"/>
                  </a:lnTo>
                  <a:lnTo>
                    <a:pt x="697" y="389"/>
                  </a:lnTo>
                  <a:lnTo>
                    <a:pt x="704" y="377"/>
                  </a:lnTo>
                  <a:lnTo>
                    <a:pt x="704" y="389"/>
                  </a:lnTo>
                  <a:lnTo>
                    <a:pt x="718" y="406"/>
                  </a:lnTo>
                  <a:lnTo>
                    <a:pt x="747" y="406"/>
                  </a:lnTo>
                  <a:lnTo>
                    <a:pt x="751" y="394"/>
                  </a:lnTo>
                  <a:lnTo>
                    <a:pt x="758" y="411"/>
                  </a:lnTo>
                  <a:lnTo>
                    <a:pt x="784" y="415"/>
                  </a:lnTo>
                  <a:lnTo>
                    <a:pt x="773" y="415"/>
                  </a:lnTo>
                  <a:lnTo>
                    <a:pt x="784" y="411"/>
                  </a:lnTo>
                  <a:lnTo>
                    <a:pt x="810" y="427"/>
                  </a:lnTo>
                  <a:lnTo>
                    <a:pt x="827" y="427"/>
                  </a:lnTo>
                  <a:lnTo>
                    <a:pt x="806" y="415"/>
                  </a:lnTo>
                  <a:lnTo>
                    <a:pt x="801" y="411"/>
                  </a:lnTo>
                  <a:lnTo>
                    <a:pt x="810" y="377"/>
                  </a:lnTo>
                  <a:lnTo>
                    <a:pt x="822" y="373"/>
                  </a:lnTo>
                  <a:lnTo>
                    <a:pt x="810" y="373"/>
                  </a:lnTo>
                  <a:lnTo>
                    <a:pt x="810" y="356"/>
                  </a:lnTo>
                  <a:lnTo>
                    <a:pt x="827" y="356"/>
                  </a:lnTo>
                  <a:lnTo>
                    <a:pt x="827" y="333"/>
                  </a:lnTo>
                  <a:lnTo>
                    <a:pt x="843" y="321"/>
                  </a:lnTo>
                  <a:lnTo>
                    <a:pt x="936" y="300"/>
                  </a:lnTo>
                  <a:lnTo>
                    <a:pt x="1006" y="222"/>
                  </a:lnTo>
                  <a:lnTo>
                    <a:pt x="1006" y="193"/>
                  </a:lnTo>
                  <a:lnTo>
                    <a:pt x="1016" y="193"/>
                  </a:lnTo>
                  <a:lnTo>
                    <a:pt x="1028" y="193"/>
                  </a:lnTo>
                  <a:lnTo>
                    <a:pt x="1054" y="238"/>
                  </a:lnTo>
                  <a:lnTo>
                    <a:pt x="1070" y="226"/>
                  </a:lnTo>
                  <a:lnTo>
                    <a:pt x="1070" y="210"/>
                  </a:lnTo>
                  <a:lnTo>
                    <a:pt x="1070" y="188"/>
                  </a:lnTo>
                  <a:lnTo>
                    <a:pt x="1082" y="172"/>
                  </a:lnTo>
                  <a:lnTo>
                    <a:pt x="1082" y="181"/>
                  </a:lnTo>
                  <a:lnTo>
                    <a:pt x="1082" y="210"/>
                  </a:lnTo>
                  <a:lnTo>
                    <a:pt x="1108" y="210"/>
                  </a:lnTo>
                  <a:lnTo>
                    <a:pt x="1091" y="172"/>
                  </a:lnTo>
                  <a:lnTo>
                    <a:pt x="1091" y="172"/>
                  </a:lnTo>
                  <a:lnTo>
                    <a:pt x="1108" y="172"/>
                  </a:lnTo>
                  <a:lnTo>
                    <a:pt x="1113" y="165"/>
                  </a:lnTo>
                  <a:lnTo>
                    <a:pt x="1125" y="148"/>
                  </a:lnTo>
                  <a:lnTo>
                    <a:pt x="1108" y="139"/>
                  </a:lnTo>
                  <a:lnTo>
                    <a:pt x="1108" y="132"/>
                  </a:lnTo>
                  <a:lnTo>
                    <a:pt x="1113" y="127"/>
                  </a:lnTo>
                  <a:lnTo>
                    <a:pt x="1136" y="127"/>
                  </a:lnTo>
                  <a:lnTo>
                    <a:pt x="1151" y="99"/>
                  </a:lnTo>
                  <a:lnTo>
                    <a:pt x="1162" y="82"/>
                  </a:lnTo>
                  <a:lnTo>
                    <a:pt x="1184" y="61"/>
                  </a:lnTo>
                  <a:lnTo>
                    <a:pt x="1200" y="21"/>
                  </a:lnTo>
                  <a:lnTo>
                    <a:pt x="1205" y="25"/>
                  </a:lnTo>
                  <a:lnTo>
                    <a:pt x="1205" y="54"/>
                  </a:lnTo>
                  <a:lnTo>
                    <a:pt x="1233" y="21"/>
                  </a:lnTo>
                  <a:lnTo>
                    <a:pt x="1238" y="21"/>
                  </a:lnTo>
                  <a:lnTo>
                    <a:pt x="1238" y="44"/>
                  </a:lnTo>
                  <a:lnTo>
                    <a:pt x="1271" y="54"/>
                  </a:lnTo>
                  <a:lnTo>
                    <a:pt x="1271" y="61"/>
                  </a:lnTo>
                  <a:lnTo>
                    <a:pt x="1271" y="77"/>
                  </a:lnTo>
                  <a:lnTo>
                    <a:pt x="1259" y="77"/>
                  </a:lnTo>
                  <a:lnTo>
                    <a:pt x="1271" y="94"/>
                  </a:lnTo>
                  <a:lnTo>
                    <a:pt x="1254" y="99"/>
                  </a:lnTo>
                  <a:lnTo>
                    <a:pt x="1276" y="99"/>
                  </a:lnTo>
                  <a:lnTo>
                    <a:pt x="1292" y="82"/>
                  </a:lnTo>
                  <a:lnTo>
                    <a:pt x="1297" y="99"/>
                  </a:lnTo>
                  <a:lnTo>
                    <a:pt x="1288" y="111"/>
                  </a:lnTo>
                  <a:lnTo>
                    <a:pt x="1288" y="115"/>
                  </a:lnTo>
                  <a:lnTo>
                    <a:pt x="1314" y="111"/>
                  </a:lnTo>
                  <a:lnTo>
                    <a:pt x="1351" y="132"/>
                  </a:lnTo>
                  <a:lnTo>
                    <a:pt x="1377" y="132"/>
                  </a:lnTo>
                  <a:lnTo>
                    <a:pt x="1377" y="139"/>
                  </a:lnTo>
                  <a:lnTo>
                    <a:pt x="1377" y="155"/>
                  </a:lnTo>
                  <a:lnTo>
                    <a:pt x="1363" y="155"/>
                  </a:lnTo>
                  <a:lnTo>
                    <a:pt x="1340" y="172"/>
                  </a:lnTo>
                  <a:lnTo>
                    <a:pt x="1314" y="165"/>
                  </a:lnTo>
                  <a:lnTo>
                    <a:pt x="1297" y="172"/>
                  </a:lnTo>
                  <a:lnTo>
                    <a:pt x="1309" y="188"/>
                  </a:lnTo>
                  <a:lnTo>
                    <a:pt x="1325" y="193"/>
                  </a:lnTo>
                  <a:lnTo>
                    <a:pt x="1325" y="205"/>
                  </a:lnTo>
                  <a:lnTo>
                    <a:pt x="1330" y="205"/>
                  </a:lnTo>
                  <a:lnTo>
                    <a:pt x="1340" y="205"/>
                  </a:lnTo>
                  <a:lnTo>
                    <a:pt x="1330" y="210"/>
                  </a:lnTo>
                  <a:lnTo>
                    <a:pt x="1292" y="222"/>
                  </a:lnTo>
                  <a:lnTo>
                    <a:pt x="1271" y="210"/>
                  </a:lnTo>
                  <a:lnTo>
                    <a:pt x="1259" y="226"/>
                  </a:lnTo>
                  <a:lnTo>
                    <a:pt x="1259" y="226"/>
                  </a:lnTo>
                  <a:lnTo>
                    <a:pt x="1259" y="226"/>
                  </a:lnTo>
                  <a:close/>
                  <a:moveTo>
                    <a:pt x="1243" y="44"/>
                  </a:moveTo>
                  <a:lnTo>
                    <a:pt x="1254" y="37"/>
                  </a:lnTo>
                  <a:lnTo>
                    <a:pt x="1254" y="44"/>
                  </a:lnTo>
                  <a:lnTo>
                    <a:pt x="1254" y="44"/>
                  </a:lnTo>
                  <a:lnTo>
                    <a:pt x="1243" y="44"/>
                  </a:lnTo>
                  <a:lnTo>
                    <a:pt x="1243" y="44"/>
                  </a:lnTo>
                  <a:lnTo>
                    <a:pt x="1243" y="44"/>
                  </a:lnTo>
                  <a:close/>
                  <a:moveTo>
                    <a:pt x="33" y="61"/>
                  </a:moveTo>
                  <a:lnTo>
                    <a:pt x="38" y="44"/>
                  </a:lnTo>
                  <a:lnTo>
                    <a:pt x="50" y="44"/>
                  </a:lnTo>
                  <a:lnTo>
                    <a:pt x="54" y="54"/>
                  </a:lnTo>
                  <a:lnTo>
                    <a:pt x="71" y="61"/>
                  </a:lnTo>
                  <a:lnTo>
                    <a:pt x="83" y="54"/>
                  </a:lnTo>
                  <a:lnTo>
                    <a:pt x="88" y="77"/>
                  </a:lnTo>
                  <a:lnTo>
                    <a:pt x="104" y="77"/>
                  </a:lnTo>
                  <a:lnTo>
                    <a:pt x="104" y="94"/>
                  </a:lnTo>
                  <a:lnTo>
                    <a:pt x="92" y="111"/>
                  </a:lnTo>
                  <a:lnTo>
                    <a:pt x="104" y="115"/>
                  </a:lnTo>
                  <a:lnTo>
                    <a:pt x="137" y="99"/>
                  </a:lnTo>
                  <a:lnTo>
                    <a:pt x="142" y="111"/>
                  </a:lnTo>
                  <a:lnTo>
                    <a:pt x="158" y="111"/>
                  </a:lnTo>
                  <a:lnTo>
                    <a:pt x="175" y="77"/>
                  </a:lnTo>
                  <a:lnTo>
                    <a:pt x="189" y="77"/>
                  </a:lnTo>
                  <a:lnTo>
                    <a:pt x="201" y="99"/>
                  </a:lnTo>
                  <a:lnTo>
                    <a:pt x="243" y="132"/>
                  </a:lnTo>
                  <a:lnTo>
                    <a:pt x="265" y="172"/>
                  </a:lnTo>
                  <a:lnTo>
                    <a:pt x="272" y="210"/>
                  </a:lnTo>
                  <a:lnTo>
                    <a:pt x="255" y="259"/>
                  </a:lnTo>
                  <a:lnTo>
                    <a:pt x="272" y="278"/>
                  </a:lnTo>
                  <a:lnTo>
                    <a:pt x="265" y="316"/>
                  </a:lnTo>
                  <a:lnTo>
                    <a:pt x="281" y="333"/>
                  </a:lnTo>
                  <a:lnTo>
                    <a:pt x="298" y="337"/>
                  </a:lnTo>
                  <a:lnTo>
                    <a:pt x="326" y="406"/>
                  </a:lnTo>
                  <a:lnTo>
                    <a:pt x="326" y="427"/>
                  </a:lnTo>
                  <a:lnTo>
                    <a:pt x="310" y="427"/>
                  </a:lnTo>
                  <a:lnTo>
                    <a:pt x="303" y="411"/>
                  </a:lnTo>
                  <a:lnTo>
                    <a:pt x="303" y="427"/>
                  </a:lnTo>
                  <a:lnTo>
                    <a:pt x="288" y="415"/>
                  </a:lnTo>
                  <a:lnTo>
                    <a:pt x="272" y="434"/>
                  </a:lnTo>
                  <a:lnTo>
                    <a:pt x="265" y="415"/>
                  </a:lnTo>
                  <a:lnTo>
                    <a:pt x="217" y="394"/>
                  </a:lnTo>
                  <a:lnTo>
                    <a:pt x="201" y="377"/>
                  </a:lnTo>
                  <a:lnTo>
                    <a:pt x="180" y="361"/>
                  </a:lnTo>
                  <a:lnTo>
                    <a:pt x="147" y="337"/>
                  </a:lnTo>
                  <a:lnTo>
                    <a:pt x="121" y="321"/>
                  </a:lnTo>
                  <a:lnTo>
                    <a:pt x="125" y="304"/>
                  </a:lnTo>
                  <a:lnTo>
                    <a:pt x="121" y="295"/>
                  </a:lnTo>
                  <a:lnTo>
                    <a:pt x="92" y="266"/>
                  </a:lnTo>
                  <a:lnTo>
                    <a:pt x="83" y="250"/>
                  </a:lnTo>
                  <a:lnTo>
                    <a:pt x="88" y="250"/>
                  </a:lnTo>
                  <a:lnTo>
                    <a:pt x="71" y="243"/>
                  </a:lnTo>
                  <a:lnTo>
                    <a:pt x="83" y="238"/>
                  </a:lnTo>
                  <a:lnTo>
                    <a:pt x="88" y="238"/>
                  </a:lnTo>
                  <a:lnTo>
                    <a:pt x="71" y="226"/>
                  </a:lnTo>
                  <a:lnTo>
                    <a:pt x="71" y="181"/>
                  </a:lnTo>
                  <a:lnTo>
                    <a:pt x="50" y="155"/>
                  </a:lnTo>
                  <a:lnTo>
                    <a:pt x="54" y="148"/>
                  </a:lnTo>
                  <a:lnTo>
                    <a:pt x="50" y="94"/>
                  </a:lnTo>
                  <a:lnTo>
                    <a:pt x="33" y="61"/>
                  </a:lnTo>
                  <a:lnTo>
                    <a:pt x="33" y="61"/>
                  </a:lnTo>
                  <a:lnTo>
                    <a:pt x="33" y="61"/>
                  </a:lnTo>
                  <a:close/>
                  <a:moveTo>
                    <a:pt x="17" y="61"/>
                  </a:moveTo>
                  <a:lnTo>
                    <a:pt x="17" y="70"/>
                  </a:lnTo>
                  <a:lnTo>
                    <a:pt x="12" y="77"/>
                  </a:lnTo>
                  <a:lnTo>
                    <a:pt x="0" y="61"/>
                  </a:lnTo>
                  <a:lnTo>
                    <a:pt x="17" y="61"/>
                  </a:lnTo>
                  <a:lnTo>
                    <a:pt x="17" y="61"/>
                  </a:lnTo>
                  <a:lnTo>
                    <a:pt x="17" y="61"/>
                  </a:lnTo>
                  <a:close/>
                  <a:moveTo>
                    <a:pt x="50" y="132"/>
                  </a:moveTo>
                  <a:lnTo>
                    <a:pt x="50" y="148"/>
                  </a:lnTo>
                  <a:lnTo>
                    <a:pt x="38" y="148"/>
                  </a:lnTo>
                  <a:lnTo>
                    <a:pt x="38" y="132"/>
                  </a:lnTo>
                  <a:lnTo>
                    <a:pt x="50" y="132"/>
                  </a:lnTo>
                  <a:lnTo>
                    <a:pt x="50" y="132"/>
                  </a:lnTo>
                  <a:lnTo>
                    <a:pt x="50" y="132"/>
                  </a:lnTo>
                  <a:close/>
                  <a:moveTo>
                    <a:pt x="1091" y="148"/>
                  </a:moveTo>
                  <a:lnTo>
                    <a:pt x="1099" y="139"/>
                  </a:lnTo>
                  <a:lnTo>
                    <a:pt x="1099" y="139"/>
                  </a:lnTo>
                  <a:lnTo>
                    <a:pt x="1091" y="148"/>
                  </a:lnTo>
                  <a:lnTo>
                    <a:pt x="1091" y="148"/>
                  </a:lnTo>
                  <a:lnTo>
                    <a:pt x="1091" y="148"/>
                  </a:lnTo>
                  <a:close/>
                  <a:moveTo>
                    <a:pt x="1288" y="226"/>
                  </a:moveTo>
                  <a:lnTo>
                    <a:pt x="1271" y="226"/>
                  </a:lnTo>
                  <a:lnTo>
                    <a:pt x="1271" y="222"/>
                  </a:lnTo>
                  <a:lnTo>
                    <a:pt x="1288" y="226"/>
                  </a:lnTo>
                  <a:lnTo>
                    <a:pt x="1288" y="226"/>
                  </a:lnTo>
                  <a:lnTo>
                    <a:pt x="1288" y="226"/>
                  </a:lnTo>
                  <a:close/>
                  <a:moveTo>
                    <a:pt x="822" y="349"/>
                  </a:moveTo>
                  <a:lnTo>
                    <a:pt x="822" y="321"/>
                  </a:lnTo>
                  <a:lnTo>
                    <a:pt x="827" y="356"/>
                  </a:lnTo>
                  <a:lnTo>
                    <a:pt x="822" y="349"/>
                  </a:lnTo>
                  <a:lnTo>
                    <a:pt x="822" y="349"/>
                  </a:lnTo>
                  <a:lnTo>
                    <a:pt x="822" y="34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81" name="Freeform 524">
              <a:extLst>
                <a:ext uri="{FF2B5EF4-FFF2-40B4-BE49-F238E27FC236}">
                  <a16:creationId xmlns:a16="http://schemas.microsoft.com/office/drawing/2014/main" id="{8B9825F9-7902-43BB-B464-61AA159C0DCD}"/>
                </a:ext>
              </a:extLst>
            </p:cNvPr>
            <p:cNvSpPr>
              <a:spLocks/>
            </p:cNvSpPr>
            <p:nvPr/>
          </p:nvSpPr>
          <p:spPr bwMode="gray">
            <a:xfrm>
              <a:off x="9037763" y="3136643"/>
              <a:ext cx="236298" cy="126808"/>
            </a:xfrm>
            <a:custGeom>
              <a:avLst/>
              <a:gdLst>
                <a:gd name="T0" fmla="*/ 163 w 574"/>
                <a:gd name="T1" fmla="*/ 215 h 308"/>
                <a:gd name="T2" fmla="*/ 125 w 574"/>
                <a:gd name="T3" fmla="*/ 199 h 308"/>
                <a:gd name="T4" fmla="*/ 75 w 574"/>
                <a:gd name="T5" fmla="*/ 159 h 308"/>
                <a:gd name="T6" fmla="*/ 33 w 574"/>
                <a:gd name="T7" fmla="*/ 142 h 308"/>
                <a:gd name="T8" fmla="*/ 16 w 574"/>
                <a:gd name="T9" fmla="*/ 88 h 308"/>
                <a:gd name="T10" fmla="*/ 21 w 574"/>
                <a:gd name="T11" fmla="*/ 67 h 308"/>
                <a:gd name="T12" fmla="*/ 71 w 574"/>
                <a:gd name="T13" fmla="*/ 17 h 308"/>
                <a:gd name="T14" fmla="*/ 75 w 574"/>
                <a:gd name="T15" fmla="*/ 22 h 308"/>
                <a:gd name="T16" fmla="*/ 92 w 574"/>
                <a:gd name="T17" fmla="*/ 0 h 308"/>
                <a:gd name="T18" fmla="*/ 146 w 574"/>
                <a:gd name="T19" fmla="*/ 22 h 308"/>
                <a:gd name="T20" fmla="*/ 196 w 574"/>
                <a:gd name="T21" fmla="*/ 55 h 308"/>
                <a:gd name="T22" fmla="*/ 250 w 574"/>
                <a:gd name="T23" fmla="*/ 93 h 308"/>
                <a:gd name="T24" fmla="*/ 271 w 574"/>
                <a:gd name="T25" fmla="*/ 88 h 308"/>
                <a:gd name="T26" fmla="*/ 293 w 574"/>
                <a:gd name="T27" fmla="*/ 109 h 308"/>
                <a:gd name="T28" fmla="*/ 330 w 574"/>
                <a:gd name="T29" fmla="*/ 142 h 308"/>
                <a:gd name="T30" fmla="*/ 359 w 574"/>
                <a:gd name="T31" fmla="*/ 133 h 308"/>
                <a:gd name="T32" fmla="*/ 397 w 574"/>
                <a:gd name="T33" fmla="*/ 166 h 308"/>
                <a:gd name="T34" fmla="*/ 418 w 574"/>
                <a:gd name="T35" fmla="*/ 187 h 308"/>
                <a:gd name="T36" fmla="*/ 427 w 574"/>
                <a:gd name="T37" fmla="*/ 175 h 308"/>
                <a:gd name="T38" fmla="*/ 434 w 574"/>
                <a:gd name="T39" fmla="*/ 182 h 308"/>
                <a:gd name="T40" fmla="*/ 456 w 574"/>
                <a:gd name="T41" fmla="*/ 175 h 308"/>
                <a:gd name="T42" fmla="*/ 505 w 574"/>
                <a:gd name="T43" fmla="*/ 199 h 308"/>
                <a:gd name="T44" fmla="*/ 548 w 574"/>
                <a:gd name="T45" fmla="*/ 187 h 308"/>
                <a:gd name="T46" fmla="*/ 574 w 574"/>
                <a:gd name="T47" fmla="*/ 199 h 308"/>
                <a:gd name="T48" fmla="*/ 560 w 574"/>
                <a:gd name="T49" fmla="*/ 253 h 308"/>
                <a:gd name="T50" fmla="*/ 560 w 574"/>
                <a:gd name="T51" fmla="*/ 308 h 308"/>
                <a:gd name="T52" fmla="*/ 505 w 574"/>
                <a:gd name="T53" fmla="*/ 308 h 308"/>
                <a:gd name="T54" fmla="*/ 472 w 574"/>
                <a:gd name="T55" fmla="*/ 308 h 308"/>
                <a:gd name="T56" fmla="*/ 413 w 574"/>
                <a:gd name="T57" fmla="*/ 291 h 308"/>
                <a:gd name="T58" fmla="*/ 373 w 574"/>
                <a:gd name="T59" fmla="*/ 286 h 308"/>
                <a:gd name="T60" fmla="*/ 321 w 574"/>
                <a:gd name="T61" fmla="*/ 237 h 308"/>
                <a:gd name="T62" fmla="*/ 288 w 574"/>
                <a:gd name="T63" fmla="*/ 220 h 308"/>
                <a:gd name="T64" fmla="*/ 267 w 574"/>
                <a:gd name="T65" fmla="*/ 237 h 308"/>
                <a:gd name="T66" fmla="*/ 222 w 574"/>
                <a:gd name="T67" fmla="*/ 237 h 308"/>
                <a:gd name="T68" fmla="*/ 184 w 574"/>
                <a:gd name="T69" fmla="*/ 220 h 308"/>
                <a:gd name="T70" fmla="*/ 184 w 574"/>
                <a:gd name="T71" fmla="*/ 2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74" h="308">
                  <a:moveTo>
                    <a:pt x="184" y="204"/>
                  </a:moveTo>
                  <a:lnTo>
                    <a:pt x="163" y="215"/>
                  </a:lnTo>
                  <a:lnTo>
                    <a:pt x="141" y="187"/>
                  </a:lnTo>
                  <a:lnTo>
                    <a:pt x="125" y="199"/>
                  </a:lnTo>
                  <a:lnTo>
                    <a:pt x="87" y="175"/>
                  </a:lnTo>
                  <a:lnTo>
                    <a:pt x="75" y="159"/>
                  </a:lnTo>
                  <a:lnTo>
                    <a:pt x="33" y="133"/>
                  </a:lnTo>
                  <a:lnTo>
                    <a:pt x="33" y="142"/>
                  </a:lnTo>
                  <a:lnTo>
                    <a:pt x="0" y="121"/>
                  </a:lnTo>
                  <a:lnTo>
                    <a:pt x="16" y="88"/>
                  </a:lnTo>
                  <a:lnTo>
                    <a:pt x="4" y="71"/>
                  </a:lnTo>
                  <a:lnTo>
                    <a:pt x="21" y="67"/>
                  </a:lnTo>
                  <a:lnTo>
                    <a:pt x="21" y="50"/>
                  </a:lnTo>
                  <a:lnTo>
                    <a:pt x="71" y="17"/>
                  </a:lnTo>
                  <a:lnTo>
                    <a:pt x="71" y="22"/>
                  </a:lnTo>
                  <a:lnTo>
                    <a:pt x="75" y="22"/>
                  </a:lnTo>
                  <a:lnTo>
                    <a:pt x="92" y="17"/>
                  </a:lnTo>
                  <a:lnTo>
                    <a:pt x="92" y="0"/>
                  </a:lnTo>
                  <a:lnTo>
                    <a:pt x="141" y="0"/>
                  </a:lnTo>
                  <a:lnTo>
                    <a:pt x="146" y="22"/>
                  </a:lnTo>
                  <a:lnTo>
                    <a:pt x="163" y="22"/>
                  </a:lnTo>
                  <a:lnTo>
                    <a:pt x="196" y="55"/>
                  </a:lnTo>
                  <a:lnTo>
                    <a:pt x="217" y="55"/>
                  </a:lnTo>
                  <a:lnTo>
                    <a:pt x="250" y="93"/>
                  </a:lnTo>
                  <a:lnTo>
                    <a:pt x="255" y="93"/>
                  </a:lnTo>
                  <a:lnTo>
                    <a:pt x="271" y="88"/>
                  </a:lnTo>
                  <a:lnTo>
                    <a:pt x="288" y="88"/>
                  </a:lnTo>
                  <a:lnTo>
                    <a:pt x="293" y="109"/>
                  </a:lnTo>
                  <a:lnTo>
                    <a:pt x="309" y="126"/>
                  </a:lnTo>
                  <a:lnTo>
                    <a:pt x="330" y="142"/>
                  </a:lnTo>
                  <a:lnTo>
                    <a:pt x="347" y="133"/>
                  </a:lnTo>
                  <a:lnTo>
                    <a:pt x="359" y="133"/>
                  </a:lnTo>
                  <a:lnTo>
                    <a:pt x="359" y="159"/>
                  </a:lnTo>
                  <a:lnTo>
                    <a:pt x="397" y="166"/>
                  </a:lnTo>
                  <a:lnTo>
                    <a:pt x="413" y="175"/>
                  </a:lnTo>
                  <a:lnTo>
                    <a:pt x="418" y="187"/>
                  </a:lnTo>
                  <a:lnTo>
                    <a:pt x="427" y="187"/>
                  </a:lnTo>
                  <a:lnTo>
                    <a:pt x="427" y="175"/>
                  </a:lnTo>
                  <a:lnTo>
                    <a:pt x="434" y="175"/>
                  </a:lnTo>
                  <a:lnTo>
                    <a:pt x="434" y="182"/>
                  </a:lnTo>
                  <a:lnTo>
                    <a:pt x="451" y="187"/>
                  </a:lnTo>
                  <a:lnTo>
                    <a:pt x="456" y="175"/>
                  </a:lnTo>
                  <a:lnTo>
                    <a:pt x="467" y="175"/>
                  </a:lnTo>
                  <a:lnTo>
                    <a:pt x="505" y="199"/>
                  </a:lnTo>
                  <a:lnTo>
                    <a:pt x="536" y="199"/>
                  </a:lnTo>
                  <a:lnTo>
                    <a:pt x="548" y="187"/>
                  </a:lnTo>
                  <a:lnTo>
                    <a:pt x="564" y="199"/>
                  </a:lnTo>
                  <a:lnTo>
                    <a:pt x="574" y="199"/>
                  </a:lnTo>
                  <a:lnTo>
                    <a:pt x="564" y="220"/>
                  </a:lnTo>
                  <a:lnTo>
                    <a:pt x="560" y="253"/>
                  </a:lnTo>
                  <a:lnTo>
                    <a:pt x="574" y="286"/>
                  </a:lnTo>
                  <a:lnTo>
                    <a:pt x="560" y="308"/>
                  </a:lnTo>
                  <a:lnTo>
                    <a:pt x="548" y="298"/>
                  </a:lnTo>
                  <a:lnTo>
                    <a:pt x="505" y="308"/>
                  </a:lnTo>
                  <a:lnTo>
                    <a:pt x="489" y="298"/>
                  </a:lnTo>
                  <a:lnTo>
                    <a:pt x="472" y="308"/>
                  </a:lnTo>
                  <a:lnTo>
                    <a:pt x="418" y="286"/>
                  </a:lnTo>
                  <a:lnTo>
                    <a:pt x="413" y="291"/>
                  </a:lnTo>
                  <a:lnTo>
                    <a:pt x="385" y="270"/>
                  </a:lnTo>
                  <a:lnTo>
                    <a:pt x="373" y="286"/>
                  </a:lnTo>
                  <a:lnTo>
                    <a:pt x="326" y="258"/>
                  </a:lnTo>
                  <a:lnTo>
                    <a:pt x="321" y="237"/>
                  </a:lnTo>
                  <a:lnTo>
                    <a:pt x="293" y="232"/>
                  </a:lnTo>
                  <a:lnTo>
                    <a:pt x="288" y="220"/>
                  </a:lnTo>
                  <a:lnTo>
                    <a:pt x="267" y="232"/>
                  </a:lnTo>
                  <a:lnTo>
                    <a:pt x="267" y="237"/>
                  </a:lnTo>
                  <a:lnTo>
                    <a:pt x="234" y="232"/>
                  </a:lnTo>
                  <a:lnTo>
                    <a:pt x="222" y="237"/>
                  </a:lnTo>
                  <a:lnTo>
                    <a:pt x="217" y="232"/>
                  </a:lnTo>
                  <a:lnTo>
                    <a:pt x="184" y="220"/>
                  </a:lnTo>
                  <a:lnTo>
                    <a:pt x="184" y="204"/>
                  </a:lnTo>
                  <a:lnTo>
                    <a:pt x="184" y="204"/>
                  </a:lnTo>
                  <a:lnTo>
                    <a:pt x="184" y="20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82" name="Freeform 531">
              <a:extLst>
                <a:ext uri="{FF2B5EF4-FFF2-40B4-BE49-F238E27FC236}">
                  <a16:creationId xmlns:a16="http://schemas.microsoft.com/office/drawing/2014/main" id="{17C3643B-ADD8-4E41-9C80-4254A9506520}"/>
                </a:ext>
              </a:extLst>
            </p:cNvPr>
            <p:cNvSpPr>
              <a:spLocks noEditPoints="1"/>
            </p:cNvSpPr>
            <p:nvPr/>
          </p:nvSpPr>
          <p:spPr bwMode="gray">
            <a:xfrm>
              <a:off x="8483244" y="2915139"/>
              <a:ext cx="491122" cy="433537"/>
            </a:xfrm>
            <a:custGeom>
              <a:avLst/>
              <a:gdLst>
                <a:gd name="T0" fmla="*/ 248 w 1193"/>
                <a:gd name="T1" fmla="*/ 605 h 1053"/>
                <a:gd name="T2" fmla="*/ 378 w 1193"/>
                <a:gd name="T3" fmla="*/ 560 h 1053"/>
                <a:gd name="T4" fmla="*/ 399 w 1193"/>
                <a:gd name="T5" fmla="*/ 494 h 1053"/>
                <a:gd name="T6" fmla="*/ 485 w 1193"/>
                <a:gd name="T7" fmla="*/ 460 h 1053"/>
                <a:gd name="T8" fmla="*/ 539 w 1193"/>
                <a:gd name="T9" fmla="*/ 427 h 1053"/>
                <a:gd name="T10" fmla="*/ 577 w 1193"/>
                <a:gd name="T11" fmla="*/ 439 h 1053"/>
                <a:gd name="T12" fmla="*/ 598 w 1193"/>
                <a:gd name="T13" fmla="*/ 349 h 1053"/>
                <a:gd name="T14" fmla="*/ 664 w 1193"/>
                <a:gd name="T15" fmla="*/ 300 h 1053"/>
                <a:gd name="T16" fmla="*/ 643 w 1193"/>
                <a:gd name="T17" fmla="*/ 262 h 1053"/>
                <a:gd name="T18" fmla="*/ 723 w 1193"/>
                <a:gd name="T19" fmla="*/ 222 h 1053"/>
                <a:gd name="T20" fmla="*/ 749 w 1193"/>
                <a:gd name="T21" fmla="*/ 168 h 1053"/>
                <a:gd name="T22" fmla="*/ 749 w 1193"/>
                <a:gd name="T23" fmla="*/ 94 h 1053"/>
                <a:gd name="T24" fmla="*/ 756 w 1193"/>
                <a:gd name="T25" fmla="*/ 52 h 1053"/>
                <a:gd name="T26" fmla="*/ 900 w 1193"/>
                <a:gd name="T27" fmla="*/ 7 h 1053"/>
                <a:gd name="T28" fmla="*/ 966 w 1193"/>
                <a:gd name="T29" fmla="*/ 0 h 1053"/>
                <a:gd name="T30" fmla="*/ 1042 w 1193"/>
                <a:gd name="T31" fmla="*/ 23 h 1053"/>
                <a:gd name="T32" fmla="*/ 1073 w 1193"/>
                <a:gd name="T33" fmla="*/ 90 h 1053"/>
                <a:gd name="T34" fmla="*/ 1127 w 1193"/>
                <a:gd name="T35" fmla="*/ 118 h 1053"/>
                <a:gd name="T36" fmla="*/ 1127 w 1193"/>
                <a:gd name="T37" fmla="*/ 189 h 1053"/>
                <a:gd name="T38" fmla="*/ 1042 w 1193"/>
                <a:gd name="T39" fmla="*/ 205 h 1053"/>
                <a:gd name="T40" fmla="*/ 922 w 1193"/>
                <a:gd name="T41" fmla="*/ 229 h 1053"/>
                <a:gd name="T42" fmla="*/ 933 w 1193"/>
                <a:gd name="T43" fmla="*/ 283 h 1053"/>
                <a:gd name="T44" fmla="*/ 971 w 1193"/>
                <a:gd name="T45" fmla="*/ 349 h 1053"/>
                <a:gd name="T46" fmla="*/ 1018 w 1193"/>
                <a:gd name="T47" fmla="*/ 387 h 1053"/>
                <a:gd name="T48" fmla="*/ 955 w 1193"/>
                <a:gd name="T49" fmla="*/ 427 h 1053"/>
                <a:gd name="T50" fmla="*/ 966 w 1193"/>
                <a:gd name="T51" fmla="*/ 477 h 1053"/>
                <a:gd name="T52" fmla="*/ 917 w 1193"/>
                <a:gd name="T53" fmla="*/ 555 h 1053"/>
                <a:gd name="T54" fmla="*/ 794 w 1193"/>
                <a:gd name="T55" fmla="*/ 687 h 1053"/>
                <a:gd name="T56" fmla="*/ 695 w 1193"/>
                <a:gd name="T57" fmla="*/ 742 h 1053"/>
                <a:gd name="T58" fmla="*/ 610 w 1193"/>
                <a:gd name="T59" fmla="*/ 827 h 1053"/>
                <a:gd name="T60" fmla="*/ 664 w 1193"/>
                <a:gd name="T61" fmla="*/ 902 h 1053"/>
                <a:gd name="T62" fmla="*/ 718 w 1193"/>
                <a:gd name="T63" fmla="*/ 980 h 1053"/>
                <a:gd name="T64" fmla="*/ 695 w 1193"/>
                <a:gd name="T65" fmla="*/ 1013 h 1053"/>
                <a:gd name="T66" fmla="*/ 643 w 1193"/>
                <a:gd name="T67" fmla="*/ 1020 h 1053"/>
                <a:gd name="T68" fmla="*/ 555 w 1193"/>
                <a:gd name="T69" fmla="*/ 1001 h 1053"/>
                <a:gd name="T70" fmla="*/ 518 w 1193"/>
                <a:gd name="T71" fmla="*/ 1037 h 1053"/>
                <a:gd name="T72" fmla="*/ 501 w 1193"/>
                <a:gd name="T73" fmla="*/ 1046 h 1053"/>
                <a:gd name="T74" fmla="*/ 468 w 1193"/>
                <a:gd name="T75" fmla="*/ 1037 h 1053"/>
                <a:gd name="T76" fmla="*/ 437 w 1193"/>
                <a:gd name="T77" fmla="*/ 980 h 1053"/>
                <a:gd name="T78" fmla="*/ 399 w 1193"/>
                <a:gd name="T79" fmla="*/ 926 h 1053"/>
                <a:gd name="T80" fmla="*/ 383 w 1193"/>
                <a:gd name="T81" fmla="*/ 909 h 1053"/>
                <a:gd name="T82" fmla="*/ 265 w 1193"/>
                <a:gd name="T83" fmla="*/ 935 h 1053"/>
                <a:gd name="T84" fmla="*/ 220 w 1193"/>
                <a:gd name="T85" fmla="*/ 926 h 1053"/>
                <a:gd name="T86" fmla="*/ 69 w 1193"/>
                <a:gd name="T87" fmla="*/ 947 h 1053"/>
                <a:gd name="T88" fmla="*/ 59 w 1193"/>
                <a:gd name="T89" fmla="*/ 893 h 1053"/>
                <a:gd name="T90" fmla="*/ 97 w 1193"/>
                <a:gd name="T91" fmla="*/ 848 h 1053"/>
                <a:gd name="T92" fmla="*/ 161 w 1193"/>
                <a:gd name="T93" fmla="*/ 831 h 1053"/>
                <a:gd name="T94" fmla="*/ 140 w 1193"/>
                <a:gd name="T95" fmla="*/ 782 h 1053"/>
                <a:gd name="T96" fmla="*/ 107 w 1193"/>
                <a:gd name="T97" fmla="*/ 687 h 1053"/>
                <a:gd name="T98" fmla="*/ 0 w 1193"/>
                <a:gd name="T99" fmla="*/ 576 h 1053"/>
                <a:gd name="T100" fmla="*/ 166 w 1193"/>
                <a:gd name="T101" fmla="*/ 609 h 1053"/>
                <a:gd name="T102" fmla="*/ 463 w 1193"/>
                <a:gd name="T103" fmla="*/ 1030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93" h="1053">
                  <a:moveTo>
                    <a:pt x="166" y="609"/>
                  </a:moveTo>
                  <a:lnTo>
                    <a:pt x="194" y="605"/>
                  </a:lnTo>
                  <a:lnTo>
                    <a:pt x="220" y="609"/>
                  </a:lnTo>
                  <a:lnTo>
                    <a:pt x="248" y="605"/>
                  </a:lnTo>
                  <a:lnTo>
                    <a:pt x="291" y="605"/>
                  </a:lnTo>
                  <a:lnTo>
                    <a:pt x="378" y="576"/>
                  </a:lnTo>
                  <a:lnTo>
                    <a:pt x="383" y="571"/>
                  </a:lnTo>
                  <a:lnTo>
                    <a:pt x="378" y="560"/>
                  </a:lnTo>
                  <a:lnTo>
                    <a:pt x="383" y="548"/>
                  </a:lnTo>
                  <a:lnTo>
                    <a:pt x="383" y="522"/>
                  </a:lnTo>
                  <a:lnTo>
                    <a:pt x="392" y="494"/>
                  </a:lnTo>
                  <a:lnTo>
                    <a:pt x="399" y="494"/>
                  </a:lnTo>
                  <a:lnTo>
                    <a:pt x="416" y="465"/>
                  </a:lnTo>
                  <a:lnTo>
                    <a:pt x="430" y="460"/>
                  </a:lnTo>
                  <a:lnTo>
                    <a:pt x="454" y="465"/>
                  </a:lnTo>
                  <a:lnTo>
                    <a:pt x="485" y="460"/>
                  </a:lnTo>
                  <a:lnTo>
                    <a:pt x="468" y="444"/>
                  </a:lnTo>
                  <a:lnTo>
                    <a:pt x="501" y="439"/>
                  </a:lnTo>
                  <a:lnTo>
                    <a:pt x="518" y="423"/>
                  </a:lnTo>
                  <a:lnTo>
                    <a:pt x="539" y="427"/>
                  </a:lnTo>
                  <a:lnTo>
                    <a:pt x="534" y="427"/>
                  </a:lnTo>
                  <a:lnTo>
                    <a:pt x="539" y="423"/>
                  </a:lnTo>
                  <a:lnTo>
                    <a:pt x="560" y="444"/>
                  </a:lnTo>
                  <a:lnTo>
                    <a:pt x="577" y="439"/>
                  </a:lnTo>
                  <a:lnTo>
                    <a:pt x="593" y="411"/>
                  </a:lnTo>
                  <a:lnTo>
                    <a:pt x="593" y="371"/>
                  </a:lnTo>
                  <a:lnTo>
                    <a:pt x="598" y="354"/>
                  </a:lnTo>
                  <a:lnTo>
                    <a:pt x="598" y="349"/>
                  </a:lnTo>
                  <a:lnTo>
                    <a:pt x="610" y="338"/>
                  </a:lnTo>
                  <a:lnTo>
                    <a:pt x="610" y="328"/>
                  </a:lnTo>
                  <a:lnTo>
                    <a:pt x="648" y="316"/>
                  </a:lnTo>
                  <a:lnTo>
                    <a:pt x="664" y="300"/>
                  </a:lnTo>
                  <a:lnTo>
                    <a:pt x="652" y="283"/>
                  </a:lnTo>
                  <a:lnTo>
                    <a:pt x="652" y="272"/>
                  </a:lnTo>
                  <a:lnTo>
                    <a:pt x="643" y="272"/>
                  </a:lnTo>
                  <a:lnTo>
                    <a:pt x="643" y="262"/>
                  </a:lnTo>
                  <a:lnTo>
                    <a:pt x="631" y="246"/>
                  </a:lnTo>
                  <a:lnTo>
                    <a:pt x="681" y="255"/>
                  </a:lnTo>
                  <a:lnTo>
                    <a:pt x="718" y="246"/>
                  </a:lnTo>
                  <a:lnTo>
                    <a:pt x="723" y="222"/>
                  </a:lnTo>
                  <a:lnTo>
                    <a:pt x="707" y="205"/>
                  </a:lnTo>
                  <a:lnTo>
                    <a:pt x="718" y="201"/>
                  </a:lnTo>
                  <a:lnTo>
                    <a:pt x="718" y="189"/>
                  </a:lnTo>
                  <a:lnTo>
                    <a:pt x="749" y="168"/>
                  </a:lnTo>
                  <a:lnTo>
                    <a:pt x="756" y="151"/>
                  </a:lnTo>
                  <a:lnTo>
                    <a:pt x="749" y="144"/>
                  </a:lnTo>
                  <a:lnTo>
                    <a:pt x="756" y="134"/>
                  </a:lnTo>
                  <a:lnTo>
                    <a:pt x="749" y="94"/>
                  </a:lnTo>
                  <a:lnTo>
                    <a:pt x="723" y="78"/>
                  </a:lnTo>
                  <a:lnTo>
                    <a:pt x="733" y="73"/>
                  </a:lnTo>
                  <a:lnTo>
                    <a:pt x="756" y="57"/>
                  </a:lnTo>
                  <a:lnTo>
                    <a:pt x="756" y="52"/>
                  </a:lnTo>
                  <a:lnTo>
                    <a:pt x="761" y="52"/>
                  </a:lnTo>
                  <a:lnTo>
                    <a:pt x="794" y="23"/>
                  </a:lnTo>
                  <a:lnTo>
                    <a:pt x="825" y="19"/>
                  </a:lnTo>
                  <a:lnTo>
                    <a:pt x="900" y="7"/>
                  </a:lnTo>
                  <a:lnTo>
                    <a:pt x="922" y="19"/>
                  </a:lnTo>
                  <a:lnTo>
                    <a:pt x="955" y="0"/>
                  </a:lnTo>
                  <a:lnTo>
                    <a:pt x="966" y="7"/>
                  </a:lnTo>
                  <a:lnTo>
                    <a:pt x="966" y="0"/>
                  </a:lnTo>
                  <a:lnTo>
                    <a:pt x="1004" y="0"/>
                  </a:lnTo>
                  <a:lnTo>
                    <a:pt x="1018" y="7"/>
                  </a:lnTo>
                  <a:lnTo>
                    <a:pt x="1025" y="23"/>
                  </a:lnTo>
                  <a:lnTo>
                    <a:pt x="1042" y="23"/>
                  </a:lnTo>
                  <a:lnTo>
                    <a:pt x="1056" y="35"/>
                  </a:lnTo>
                  <a:lnTo>
                    <a:pt x="1063" y="61"/>
                  </a:lnTo>
                  <a:lnTo>
                    <a:pt x="1056" y="78"/>
                  </a:lnTo>
                  <a:lnTo>
                    <a:pt x="1073" y="90"/>
                  </a:lnTo>
                  <a:lnTo>
                    <a:pt x="1080" y="106"/>
                  </a:lnTo>
                  <a:lnTo>
                    <a:pt x="1101" y="94"/>
                  </a:lnTo>
                  <a:lnTo>
                    <a:pt x="1101" y="106"/>
                  </a:lnTo>
                  <a:lnTo>
                    <a:pt x="1127" y="118"/>
                  </a:lnTo>
                  <a:lnTo>
                    <a:pt x="1165" y="127"/>
                  </a:lnTo>
                  <a:lnTo>
                    <a:pt x="1193" y="127"/>
                  </a:lnTo>
                  <a:lnTo>
                    <a:pt x="1132" y="160"/>
                  </a:lnTo>
                  <a:lnTo>
                    <a:pt x="1127" y="189"/>
                  </a:lnTo>
                  <a:lnTo>
                    <a:pt x="1094" y="184"/>
                  </a:lnTo>
                  <a:lnTo>
                    <a:pt x="1073" y="201"/>
                  </a:lnTo>
                  <a:lnTo>
                    <a:pt x="1063" y="201"/>
                  </a:lnTo>
                  <a:lnTo>
                    <a:pt x="1042" y="205"/>
                  </a:lnTo>
                  <a:lnTo>
                    <a:pt x="950" y="184"/>
                  </a:lnTo>
                  <a:lnTo>
                    <a:pt x="917" y="201"/>
                  </a:lnTo>
                  <a:lnTo>
                    <a:pt x="912" y="217"/>
                  </a:lnTo>
                  <a:lnTo>
                    <a:pt x="922" y="229"/>
                  </a:lnTo>
                  <a:lnTo>
                    <a:pt x="917" y="238"/>
                  </a:lnTo>
                  <a:lnTo>
                    <a:pt x="938" y="246"/>
                  </a:lnTo>
                  <a:lnTo>
                    <a:pt x="922" y="272"/>
                  </a:lnTo>
                  <a:lnTo>
                    <a:pt x="933" y="283"/>
                  </a:lnTo>
                  <a:lnTo>
                    <a:pt x="922" y="316"/>
                  </a:lnTo>
                  <a:lnTo>
                    <a:pt x="950" y="328"/>
                  </a:lnTo>
                  <a:lnTo>
                    <a:pt x="950" y="349"/>
                  </a:lnTo>
                  <a:lnTo>
                    <a:pt x="971" y="349"/>
                  </a:lnTo>
                  <a:lnTo>
                    <a:pt x="971" y="371"/>
                  </a:lnTo>
                  <a:lnTo>
                    <a:pt x="992" y="371"/>
                  </a:lnTo>
                  <a:lnTo>
                    <a:pt x="1018" y="383"/>
                  </a:lnTo>
                  <a:lnTo>
                    <a:pt x="1018" y="387"/>
                  </a:lnTo>
                  <a:lnTo>
                    <a:pt x="1009" y="404"/>
                  </a:lnTo>
                  <a:lnTo>
                    <a:pt x="988" y="404"/>
                  </a:lnTo>
                  <a:lnTo>
                    <a:pt x="966" y="423"/>
                  </a:lnTo>
                  <a:lnTo>
                    <a:pt x="955" y="427"/>
                  </a:lnTo>
                  <a:lnTo>
                    <a:pt x="966" y="449"/>
                  </a:lnTo>
                  <a:lnTo>
                    <a:pt x="955" y="477"/>
                  </a:lnTo>
                  <a:lnTo>
                    <a:pt x="966" y="482"/>
                  </a:lnTo>
                  <a:lnTo>
                    <a:pt x="966" y="477"/>
                  </a:lnTo>
                  <a:lnTo>
                    <a:pt x="971" y="482"/>
                  </a:lnTo>
                  <a:lnTo>
                    <a:pt x="950" y="498"/>
                  </a:lnTo>
                  <a:lnTo>
                    <a:pt x="917" y="538"/>
                  </a:lnTo>
                  <a:lnTo>
                    <a:pt x="917" y="555"/>
                  </a:lnTo>
                  <a:lnTo>
                    <a:pt x="879" y="571"/>
                  </a:lnTo>
                  <a:lnTo>
                    <a:pt x="846" y="642"/>
                  </a:lnTo>
                  <a:lnTo>
                    <a:pt x="808" y="666"/>
                  </a:lnTo>
                  <a:lnTo>
                    <a:pt x="794" y="687"/>
                  </a:lnTo>
                  <a:lnTo>
                    <a:pt x="777" y="716"/>
                  </a:lnTo>
                  <a:lnTo>
                    <a:pt x="777" y="725"/>
                  </a:lnTo>
                  <a:lnTo>
                    <a:pt x="702" y="742"/>
                  </a:lnTo>
                  <a:lnTo>
                    <a:pt x="695" y="742"/>
                  </a:lnTo>
                  <a:lnTo>
                    <a:pt x="685" y="720"/>
                  </a:lnTo>
                  <a:lnTo>
                    <a:pt x="669" y="720"/>
                  </a:lnTo>
                  <a:lnTo>
                    <a:pt x="614" y="782"/>
                  </a:lnTo>
                  <a:lnTo>
                    <a:pt x="610" y="827"/>
                  </a:lnTo>
                  <a:lnTo>
                    <a:pt x="631" y="831"/>
                  </a:lnTo>
                  <a:lnTo>
                    <a:pt x="652" y="836"/>
                  </a:lnTo>
                  <a:lnTo>
                    <a:pt x="648" y="881"/>
                  </a:lnTo>
                  <a:lnTo>
                    <a:pt x="664" y="902"/>
                  </a:lnTo>
                  <a:lnTo>
                    <a:pt x="685" y="902"/>
                  </a:lnTo>
                  <a:lnTo>
                    <a:pt x="695" y="926"/>
                  </a:lnTo>
                  <a:lnTo>
                    <a:pt x="702" y="942"/>
                  </a:lnTo>
                  <a:lnTo>
                    <a:pt x="718" y="980"/>
                  </a:lnTo>
                  <a:lnTo>
                    <a:pt x="707" y="980"/>
                  </a:lnTo>
                  <a:lnTo>
                    <a:pt x="707" y="997"/>
                  </a:lnTo>
                  <a:lnTo>
                    <a:pt x="718" y="997"/>
                  </a:lnTo>
                  <a:lnTo>
                    <a:pt x="695" y="1013"/>
                  </a:lnTo>
                  <a:lnTo>
                    <a:pt x="685" y="1013"/>
                  </a:lnTo>
                  <a:lnTo>
                    <a:pt x="681" y="997"/>
                  </a:lnTo>
                  <a:lnTo>
                    <a:pt x="648" y="1001"/>
                  </a:lnTo>
                  <a:lnTo>
                    <a:pt x="643" y="1020"/>
                  </a:lnTo>
                  <a:lnTo>
                    <a:pt x="626" y="1020"/>
                  </a:lnTo>
                  <a:lnTo>
                    <a:pt x="614" y="1013"/>
                  </a:lnTo>
                  <a:lnTo>
                    <a:pt x="572" y="1013"/>
                  </a:lnTo>
                  <a:lnTo>
                    <a:pt x="555" y="1001"/>
                  </a:lnTo>
                  <a:lnTo>
                    <a:pt x="555" y="1037"/>
                  </a:lnTo>
                  <a:lnTo>
                    <a:pt x="522" y="1037"/>
                  </a:lnTo>
                  <a:lnTo>
                    <a:pt x="518" y="1046"/>
                  </a:lnTo>
                  <a:lnTo>
                    <a:pt x="518" y="1037"/>
                  </a:lnTo>
                  <a:lnTo>
                    <a:pt x="518" y="1053"/>
                  </a:lnTo>
                  <a:lnTo>
                    <a:pt x="506" y="1053"/>
                  </a:lnTo>
                  <a:lnTo>
                    <a:pt x="501" y="1037"/>
                  </a:lnTo>
                  <a:lnTo>
                    <a:pt x="501" y="1046"/>
                  </a:lnTo>
                  <a:lnTo>
                    <a:pt x="492" y="1037"/>
                  </a:lnTo>
                  <a:lnTo>
                    <a:pt x="492" y="1046"/>
                  </a:lnTo>
                  <a:lnTo>
                    <a:pt x="485" y="1046"/>
                  </a:lnTo>
                  <a:lnTo>
                    <a:pt x="468" y="1037"/>
                  </a:lnTo>
                  <a:lnTo>
                    <a:pt x="468" y="1037"/>
                  </a:lnTo>
                  <a:lnTo>
                    <a:pt x="463" y="1030"/>
                  </a:lnTo>
                  <a:lnTo>
                    <a:pt x="454" y="1020"/>
                  </a:lnTo>
                  <a:lnTo>
                    <a:pt x="437" y="980"/>
                  </a:lnTo>
                  <a:lnTo>
                    <a:pt x="447" y="975"/>
                  </a:lnTo>
                  <a:lnTo>
                    <a:pt x="409" y="964"/>
                  </a:lnTo>
                  <a:lnTo>
                    <a:pt x="416" y="942"/>
                  </a:lnTo>
                  <a:lnTo>
                    <a:pt x="399" y="926"/>
                  </a:lnTo>
                  <a:lnTo>
                    <a:pt x="399" y="919"/>
                  </a:lnTo>
                  <a:lnTo>
                    <a:pt x="383" y="909"/>
                  </a:lnTo>
                  <a:lnTo>
                    <a:pt x="371" y="919"/>
                  </a:lnTo>
                  <a:lnTo>
                    <a:pt x="383" y="909"/>
                  </a:lnTo>
                  <a:lnTo>
                    <a:pt x="399" y="926"/>
                  </a:lnTo>
                  <a:lnTo>
                    <a:pt x="274" y="926"/>
                  </a:lnTo>
                  <a:lnTo>
                    <a:pt x="270" y="942"/>
                  </a:lnTo>
                  <a:lnTo>
                    <a:pt x="265" y="935"/>
                  </a:lnTo>
                  <a:lnTo>
                    <a:pt x="232" y="926"/>
                  </a:lnTo>
                  <a:lnTo>
                    <a:pt x="232" y="919"/>
                  </a:lnTo>
                  <a:lnTo>
                    <a:pt x="220" y="926"/>
                  </a:lnTo>
                  <a:lnTo>
                    <a:pt x="220" y="926"/>
                  </a:lnTo>
                  <a:lnTo>
                    <a:pt x="199" y="926"/>
                  </a:lnTo>
                  <a:lnTo>
                    <a:pt x="182" y="935"/>
                  </a:lnTo>
                  <a:lnTo>
                    <a:pt x="90" y="942"/>
                  </a:lnTo>
                  <a:lnTo>
                    <a:pt x="69" y="947"/>
                  </a:lnTo>
                  <a:lnTo>
                    <a:pt x="59" y="947"/>
                  </a:lnTo>
                  <a:lnTo>
                    <a:pt x="69" y="942"/>
                  </a:lnTo>
                  <a:lnTo>
                    <a:pt x="52" y="942"/>
                  </a:lnTo>
                  <a:lnTo>
                    <a:pt x="59" y="893"/>
                  </a:lnTo>
                  <a:lnTo>
                    <a:pt x="69" y="893"/>
                  </a:lnTo>
                  <a:lnTo>
                    <a:pt x="69" y="864"/>
                  </a:lnTo>
                  <a:lnTo>
                    <a:pt x="90" y="848"/>
                  </a:lnTo>
                  <a:lnTo>
                    <a:pt x="97" y="848"/>
                  </a:lnTo>
                  <a:lnTo>
                    <a:pt x="97" y="836"/>
                  </a:lnTo>
                  <a:lnTo>
                    <a:pt x="114" y="831"/>
                  </a:lnTo>
                  <a:lnTo>
                    <a:pt x="140" y="831"/>
                  </a:lnTo>
                  <a:lnTo>
                    <a:pt x="161" y="831"/>
                  </a:lnTo>
                  <a:lnTo>
                    <a:pt x="166" y="791"/>
                  </a:lnTo>
                  <a:lnTo>
                    <a:pt x="177" y="791"/>
                  </a:lnTo>
                  <a:lnTo>
                    <a:pt x="166" y="775"/>
                  </a:lnTo>
                  <a:lnTo>
                    <a:pt x="140" y="782"/>
                  </a:lnTo>
                  <a:lnTo>
                    <a:pt x="140" y="770"/>
                  </a:lnTo>
                  <a:lnTo>
                    <a:pt x="140" y="704"/>
                  </a:lnTo>
                  <a:lnTo>
                    <a:pt x="123" y="704"/>
                  </a:lnTo>
                  <a:lnTo>
                    <a:pt x="107" y="687"/>
                  </a:lnTo>
                  <a:lnTo>
                    <a:pt x="76" y="683"/>
                  </a:lnTo>
                  <a:lnTo>
                    <a:pt x="52" y="666"/>
                  </a:lnTo>
                  <a:lnTo>
                    <a:pt x="31" y="616"/>
                  </a:lnTo>
                  <a:lnTo>
                    <a:pt x="0" y="576"/>
                  </a:lnTo>
                  <a:lnTo>
                    <a:pt x="114" y="609"/>
                  </a:lnTo>
                  <a:lnTo>
                    <a:pt x="166" y="609"/>
                  </a:lnTo>
                  <a:lnTo>
                    <a:pt x="166" y="609"/>
                  </a:lnTo>
                  <a:lnTo>
                    <a:pt x="166" y="609"/>
                  </a:lnTo>
                  <a:close/>
                  <a:moveTo>
                    <a:pt x="463" y="1030"/>
                  </a:moveTo>
                  <a:lnTo>
                    <a:pt x="463" y="1030"/>
                  </a:lnTo>
                  <a:lnTo>
                    <a:pt x="463" y="1030"/>
                  </a:lnTo>
                  <a:lnTo>
                    <a:pt x="463" y="1030"/>
                  </a:lnTo>
                  <a:lnTo>
                    <a:pt x="463" y="1030"/>
                  </a:lnTo>
                  <a:lnTo>
                    <a:pt x="463" y="103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83" name="Freeform 535">
              <a:extLst>
                <a:ext uri="{FF2B5EF4-FFF2-40B4-BE49-F238E27FC236}">
                  <a16:creationId xmlns:a16="http://schemas.microsoft.com/office/drawing/2014/main" id="{615143D9-A97B-42C5-A7AE-6FDFC16E5CB9}"/>
                </a:ext>
              </a:extLst>
            </p:cNvPr>
            <p:cNvSpPr>
              <a:spLocks noEditPoints="1"/>
            </p:cNvSpPr>
            <p:nvPr/>
          </p:nvSpPr>
          <p:spPr bwMode="gray">
            <a:xfrm>
              <a:off x="10793949" y="4106233"/>
              <a:ext cx="434724" cy="305494"/>
            </a:xfrm>
            <a:custGeom>
              <a:avLst/>
              <a:gdLst>
                <a:gd name="T0" fmla="*/ 616 w 1056"/>
                <a:gd name="T1" fmla="*/ 17 h 742"/>
                <a:gd name="T2" fmla="*/ 394 w 1056"/>
                <a:gd name="T3" fmla="*/ 62 h 742"/>
                <a:gd name="T4" fmla="*/ 482 w 1056"/>
                <a:gd name="T5" fmla="*/ 71 h 742"/>
                <a:gd name="T6" fmla="*/ 666 w 1056"/>
                <a:gd name="T7" fmla="*/ 95 h 742"/>
                <a:gd name="T8" fmla="*/ 666 w 1056"/>
                <a:gd name="T9" fmla="*/ 95 h 742"/>
                <a:gd name="T10" fmla="*/ 860 w 1056"/>
                <a:gd name="T11" fmla="*/ 227 h 742"/>
                <a:gd name="T12" fmla="*/ 789 w 1056"/>
                <a:gd name="T13" fmla="*/ 149 h 742"/>
                <a:gd name="T14" fmla="*/ 768 w 1056"/>
                <a:gd name="T15" fmla="*/ 133 h 742"/>
                <a:gd name="T16" fmla="*/ 9 w 1056"/>
                <a:gd name="T17" fmla="*/ 393 h 742"/>
                <a:gd name="T18" fmla="*/ 118 w 1056"/>
                <a:gd name="T19" fmla="*/ 133 h 742"/>
                <a:gd name="T20" fmla="*/ 253 w 1056"/>
                <a:gd name="T21" fmla="*/ 189 h 742"/>
                <a:gd name="T22" fmla="*/ 340 w 1056"/>
                <a:gd name="T23" fmla="*/ 300 h 742"/>
                <a:gd name="T24" fmla="*/ 470 w 1056"/>
                <a:gd name="T25" fmla="*/ 388 h 742"/>
                <a:gd name="T26" fmla="*/ 482 w 1056"/>
                <a:gd name="T27" fmla="*/ 471 h 742"/>
                <a:gd name="T28" fmla="*/ 595 w 1056"/>
                <a:gd name="T29" fmla="*/ 560 h 742"/>
                <a:gd name="T30" fmla="*/ 616 w 1056"/>
                <a:gd name="T31" fmla="*/ 610 h 742"/>
                <a:gd name="T32" fmla="*/ 666 w 1056"/>
                <a:gd name="T33" fmla="*/ 648 h 742"/>
                <a:gd name="T34" fmla="*/ 616 w 1056"/>
                <a:gd name="T35" fmla="*/ 648 h 742"/>
                <a:gd name="T36" fmla="*/ 470 w 1056"/>
                <a:gd name="T37" fmla="*/ 626 h 742"/>
                <a:gd name="T38" fmla="*/ 399 w 1056"/>
                <a:gd name="T39" fmla="*/ 553 h 742"/>
                <a:gd name="T40" fmla="*/ 253 w 1056"/>
                <a:gd name="T41" fmla="*/ 449 h 742"/>
                <a:gd name="T42" fmla="*/ 238 w 1056"/>
                <a:gd name="T43" fmla="*/ 449 h 742"/>
                <a:gd name="T44" fmla="*/ 172 w 1056"/>
                <a:gd name="T45" fmla="*/ 471 h 742"/>
                <a:gd name="T46" fmla="*/ 101 w 1056"/>
                <a:gd name="T47" fmla="*/ 487 h 742"/>
                <a:gd name="T48" fmla="*/ 177 w 1056"/>
                <a:gd name="T49" fmla="*/ 537 h 742"/>
                <a:gd name="T50" fmla="*/ 47 w 1056"/>
                <a:gd name="T51" fmla="*/ 570 h 742"/>
                <a:gd name="T52" fmla="*/ 775 w 1056"/>
                <a:gd name="T53" fmla="*/ 100 h 742"/>
                <a:gd name="T54" fmla="*/ 697 w 1056"/>
                <a:gd name="T55" fmla="*/ 116 h 742"/>
                <a:gd name="T56" fmla="*/ 827 w 1056"/>
                <a:gd name="T57" fmla="*/ 133 h 742"/>
                <a:gd name="T58" fmla="*/ 897 w 1056"/>
                <a:gd name="T59" fmla="*/ 194 h 742"/>
                <a:gd name="T60" fmla="*/ 687 w 1056"/>
                <a:gd name="T61" fmla="*/ 338 h 742"/>
                <a:gd name="T62" fmla="*/ 553 w 1056"/>
                <a:gd name="T63" fmla="*/ 322 h 742"/>
                <a:gd name="T64" fmla="*/ 633 w 1056"/>
                <a:gd name="T65" fmla="*/ 300 h 742"/>
                <a:gd name="T66" fmla="*/ 642 w 1056"/>
                <a:gd name="T67" fmla="*/ 284 h 742"/>
                <a:gd name="T68" fmla="*/ 730 w 1056"/>
                <a:gd name="T69" fmla="*/ 260 h 742"/>
                <a:gd name="T70" fmla="*/ 789 w 1056"/>
                <a:gd name="T71" fmla="*/ 211 h 742"/>
                <a:gd name="T72" fmla="*/ 789 w 1056"/>
                <a:gd name="T73" fmla="*/ 284 h 742"/>
                <a:gd name="T74" fmla="*/ 687 w 1056"/>
                <a:gd name="T75" fmla="*/ 338 h 742"/>
                <a:gd name="T76" fmla="*/ 357 w 1056"/>
                <a:gd name="T77" fmla="*/ 244 h 742"/>
                <a:gd name="T78" fmla="*/ 612 w 1056"/>
                <a:gd name="T79" fmla="*/ 244 h 742"/>
                <a:gd name="T80" fmla="*/ 973 w 1056"/>
                <a:gd name="T81" fmla="*/ 277 h 742"/>
                <a:gd name="T82" fmla="*/ 432 w 1056"/>
                <a:gd name="T83" fmla="*/ 277 h 742"/>
                <a:gd name="T84" fmla="*/ 1023 w 1056"/>
                <a:gd name="T85" fmla="*/ 350 h 742"/>
                <a:gd name="T86" fmla="*/ 1006 w 1056"/>
                <a:gd name="T87" fmla="*/ 371 h 742"/>
                <a:gd name="T88" fmla="*/ 1006 w 1056"/>
                <a:gd name="T89" fmla="*/ 322 h 742"/>
                <a:gd name="T90" fmla="*/ 482 w 1056"/>
                <a:gd name="T91" fmla="*/ 300 h 742"/>
                <a:gd name="T92" fmla="*/ 194 w 1056"/>
                <a:gd name="T93" fmla="*/ 482 h 742"/>
                <a:gd name="T94" fmla="*/ 194 w 1056"/>
                <a:gd name="T95" fmla="*/ 487 h 742"/>
                <a:gd name="T96" fmla="*/ 172 w 1056"/>
                <a:gd name="T97" fmla="*/ 504 h 742"/>
                <a:gd name="T98" fmla="*/ 163 w 1056"/>
                <a:gd name="T99" fmla="*/ 504 h 742"/>
                <a:gd name="T100" fmla="*/ 713 w 1056"/>
                <a:gd name="T101" fmla="*/ 515 h 742"/>
                <a:gd name="T102" fmla="*/ 812 w 1056"/>
                <a:gd name="T103" fmla="*/ 553 h 742"/>
                <a:gd name="T104" fmla="*/ 666 w 1056"/>
                <a:gd name="T105" fmla="*/ 582 h 742"/>
                <a:gd name="T106" fmla="*/ 666 w 1056"/>
                <a:gd name="T107" fmla="*/ 582 h 742"/>
                <a:gd name="T108" fmla="*/ 697 w 1056"/>
                <a:gd name="T109" fmla="*/ 598 h 742"/>
                <a:gd name="T110" fmla="*/ 720 w 1056"/>
                <a:gd name="T111" fmla="*/ 626 h 742"/>
                <a:gd name="T112" fmla="*/ 697 w 1056"/>
                <a:gd name="T113" fmla="*/ 671 h 742"/>
                <a:gd name="T114" fmla="*/ 704 w 1056"/>
                <a:gd name="T115" fmla="*/ 671 h 742"/>
                <a:gd name="T116" fmla="*/ 704 w 1056"/>
                <a:gd name="T117" fmla="*/ 671 h 742"/>
                <a:gd name="T118" fmla="*/ 838 w 1056"/>
                <a:gd name="T119" fmla="*/ 671 h 742"/>
                <a:gd name="T120" fmla="*/ 864 w 1056"/>
                <a:gd name="T121" fmla="*/ 721 h 742"/>
                <a:gd name="T122" fmla="*/ 931 w 1056"/>
                <a:gd name="T123" fmla="*/ 726 h 742"/>
                <a:gd name="T124" fmla="*/ 893 w 1056"/>
                <a:gd name="T125" fmla="*/ 74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6" h="742">
                  <a:moveTo>
                    <a:pt x="616" y="17"/>
                  </a:moveTo>
                  <a:lnTo>
                    <a:pt x="605" y="5"/>
                  </a:lnTo>
                  <a:lnTo>
                    <a:pt x="612" y="0"/>
                  </a:lnTo>
                  <a:lnTo>
                    <a:pt x="616" y="5"/>
                  </a:lnTo>
                  <a:lnTo>
                    <a:pt x="628" y="17"/>
                  </a:lnTo>
                  <a:lnTo>
                    <a:pt x="616" y="17"/>
                  </a:lnTo>
                  <a:lnTo>
                    <a:pt x="616" y="17"/>
                  </a:lnTo>
                  <a:lnTo>
                    <a:pt x="616" y="17"/>
                  </a:lnTo>
                  <a:close/>
                  <a:moveTo>
                    <a:pt x="453" y="38"/>
                  </a:moveTo>
                  <a:lnTo>
                    <a:pt x="453" y="45"/>
                  </a:lnTo>
                  <a:lnTo>
                    <a:pt x="444" y="62"/>
                  </a:lnTo>
                  <a:lnTo>
                    <a:pt x="394" y="62"/>
                  </a:lnTo>
                  <a:lnTo>
                    <a:pt x="399" y="45"/>
                  </a:lnTo>
                  <a:lnTo>
                    <a:pt x="453" y="45"/>
                  </a:lnTo>
                  <a:lnTo>
                    <a:pt x="453" y="38"/>
                  </a:lnTo>
                  <a:lnTo>
                    <a:pt x="453" y="38"/>
                  </a:lnTo>
                  <a:lnTo>
                    <a:pt x="453" y="38"/>
                  </a:lnTo>
                  <a:close/>
                  <a:moveTo>
                    <a:pt x="482" y="71"/>
                  </a:moveTo>
                  <a:lnTo>
                    <a:pt x="486" y="62"/>
                  </a:lnTo>
                  <a:lnTo>
                    <a:pt x="486" y="62"/>
                  </a:lnTo>
                  <a:lnTo>
                    <a:pt x="482" y="71"/>
                  </a:lnTo>
                  <a:lnTo>
                    <a:pt x="482" y="71"/>
                  </a:lnTo>
                  <a:lnTo>
                    <a:pt x="482" y="71"/>
                  </a:lnTo>
                  <a:close/>
                  <a:moveTo>
                    <a:pt x="666" y="95"/>
                  </a:moveTo>
                  <a:lnTo>
                    <a:pt x="649" y="95"/>
                  </a:lnTo>
                  <a:lnTo>
                    <a:pt x="633" y="78"/>
                  </a:lnTo>
                  <a:lnTo>
                    <a:pt x="659" y="71"/>
                  </a:lnTo>
                  <a:lnTo>
                    <a:pt x="666" y="78"/>
                  </a:lnTo>
                  <a:lnTo>
                    <a:pt x="671" y="95"/>
                  </a:lnTo>
                  <a:lnTo>
                    <a:pt x="666" y="95"/>
                  </a:lnTo>
                  <a:lnTo>
                    <a:pt x="666" y="95"/>
                  </a:lnTo>
                  <a:lnTo>
                    <a:pt x="666" y="95"/>
                  </a:lnTo>
                  <a:close/>
                  <a:moveTo>
                    <a:pt x="827" y="182"/>
                  </a:moveTo>
                  <a:lnTo>
                    <a:pt x="860" y="206"/>
                  </a:lnTo>
                  <a:lnTo>
                    <a:pt x="850" y="223"/>
                  </a:lnTo>
                  <a:lnTo>
                    <a:pt x="860" y="227"/>
                  </a:lnTo>
                  <a:lnTo>
                    <a:pt x="843" y="244"/>
                  </a:lnTo>
                  <a:lnTo>
                    <a:pt x="838" y="239"/>
                  </a:lnTo>
                  <a:lnTo>
                    <a:pt x="827" y="223"/>
                  </a:lnTo>
                  <a:lnTo>
                    <a:pt x="827" y="206"/>
                  </a:lnTo>
                  <a:lnTo>
                    <a:pt x="805" y="166"/>
                  </a:lnTo>
                  <a:lnTo>
                    <a:pt x="789" y="149"/>
                  </a:lnTo>
                  <a:lnTo>
                    <a:pt x="775" y="149"/>
                  </a:lnTo>
                  <a:lnTo>
                    <a:pt x="720" y="100"/>
                  </a:lnTo>
                  <a:lnTo>
                    <a:pt x="687" y="100"/>
                  </a:lnTo>
                  <a:lnTo>
                    <a:pt x="704" y="95"/>
                  </a:lnTo>
                  <a:lnTo>
                    <a:pt x="697" y="83"/>
                  </a:lnTo>
                  <a:lnTo>
                    <a:pt x="768" y="133"/>
                  </a:lnTo>
                  <a:lnTo>
                    <a:pt x="784" y="133"/>
                  </a:lnTo>
                  <a:lnTo>
                    <a:pt x="827" y="182"/>
                  </a:lnTo>
                  <a:lnTo>
                    <a:pt x="827" y="182"/>
                  </a:lnTo>
                  <a:lnTo>
                    <a:pt x="827" y="182"/>
                  </a:lnTo>
                  <a:close/>
                  <a:moveTo>
                    <a:pt x="9" y="560"/>
                  </a:moveTo>
                  <a:lnTo>
                    <a:pt x="9" y="393"/>
                  </a:lnTo>
                  <a:lnTo>
                    <a:pt x="0" y="393"/>
                  </a:lnTo>
                  <a:lnTo>
                    <a:pt x="0" y="376"/>
                  </a:lnTo>
                  <a:lnTo>
                    <a:pt x="9" y="355"/>
                  </a:lnTo>
                  <a:lnTo>
                    <a:pt x="9" y="83"/>
                  </a:lnTo>
                  <a:lnTo>
                    <a:pt x="21" y="83"/>
                  </a:lnTo>
                  <a:lnTo>
                    <a:pt x="118" y="133"/>
                  </a:lnTo>
                  <a:lnTo>
                    <a:pt x="184" y="149"/>
                  </a:lnTo>
                  <a:lnTo>
                    <a:pt x="215" y="173"/>
                  </a:lnTo>
                  <a:lnTo>
                    <a:pt x="231" y="182"/>
                  </a:lnTo>
                  <a:lnTo>
                    <a:pt x="238" y="173"/>
                  </a:lnTo>
                  <a:lnTo>
                    <a:pt x="253" y="173"/>
                  </a:lnTo>
                  <a:lnTo>
                    <a:pt x="253" y="189"/>
                  </a:lnTo>
                  <a:lnTo>
                    <a:pt x="281" y="194"/>
                  </a:lnTo>
                  <a:lnTo>
                    <a:pt x="293" y="211"/>
                  </a:lnTo>
                  <a:lnTo>
                    <a:pt x="307" y="223"/>
                  </a:lnTo>
                  <a:lnTo>
                    <a:pt x="340" y="244"/>
                  </a:lnTo>
                  <a:lnTo>
                    <a:pt x="345" y="265"/>
                  </a:lnTo>
                  <a:lnTo>
                    <a:pt x="340" y="300"/>
                  </a:lnTo>
                  <a:lnTo>
                    <a:pt x="394" y="305"/>
                  </a:lnTo>
                  <a:lnTo>
                    <a:pt x="432" y="334"/>
                  </a:lnTo>
                  <a:lnTo>
                    <a:pt x="465" y="334"/>
                  </a:lnTo>
                  <a:lnTo>
                    <a:pt x="486" y="355"/>
                  </a:lnTo>
                  <a:lnTo>
                    <a:pt x="486" y="376"/>
                  </a:lnTo>
                  <a:lnTo>
                    <a:pt x="470" y="388"/>
                  </a:lnTo>
                  <a:lnTo>
                    <a:pt x="427" y="388"/>
                  </a:lnTo>
                  <a:lnTo>
                    <a:pt x="427" y="404"/>
                  </a:lnTo>
                  <a:lnTo>
                    <a:pt x="444" y="416"/>
                  </a:lnTo>
                  <a:lnTo>
                    <a:pt x="444" y="445"/>
                  </a:lnTo>
                  <a:lnTo>
                    <a:pt x="465" y="449"/>
                  </a:lnTo>
                  <a:lnTo>
                    <a:pt x="482" y="471"/>
                  </a:lnTo>
                  <a:lnTo>
                    <a:pt x="508" y="482"/>
                  </a:lnTo>
                  <a:lnTo>
                    <a:pt x="519" y="520"/>
                  </a:lnTo>
                  <a:lnTo>
                    <a:pt x="524" y="527"/>
                  </a:lnTo>
                  <a:lnTo>
                    <a:pt x="541" y="553"/>
                  </a:lnTo>
                  <a:lnTo>
                    <a:pt x="590" y="553"/>
                  </a:lnTo>
                  <a:lnTo>
                    <a:pt x="595" y="560"/>
                  </a:lnTo>
                  <a:lnTo>
                    <a:pt x="579" y="577"/>
                  </a:lnTo>
                  <a:lnTo>
                    <a:pt x="590" y="582"/>
                  </a:lnTo>
                  <a:lnTo>
                    <a:pt x="605" y="593"/>
                  </a:lnTo>
                  <a:lnTo>
                    <a:pt x="642" y="593"/>
                  </a:lnTo>
                  <a:lnTo>
                    <a:pt x="642" y="598"/>
                  </a:lnTo>
                  <a:lnTo>
                    <a:pt x="616" y="610"/>
                  </a:lnTo>
                  <a:lnTo>
                    <a:pt x="633" y="626"/>
                  </a:lnTo>
                  <a:lnTo>
                    <a:pt x="682" y="638"/>
                  </a:lnTo>
                  <a:lnTo>
                    <a:pt x="704" y="638"/>
                  </a:lnTo>
                  <a:lnTo>
                    <a:pt x="682" y="648"/>
                  </a:lnTo>
                  <a:lnTo>
                    <a:pt x="666" y="648"/>
                  </a:lnTo>
                  <a:lnTo>
                    <a:pt x="666" y="648"/>
                  </a:lnTo>
                  <a:lnTo>
                    <a:pt x="687" y="655"/>
                  </a:lnTo>
                  <a:lnTo>
                    <a:pt x="687" y="664"/>
                  </a:lnTo>
                  <a:lnTo>
                    <a:pt x="659" y="671"/>
                  </a:lnTo>
                  <a:lnTo>
                    <a:pt x="628" y="664"/>
                  </a:lnTo>
                  <a:lnTo>
                    <a:pt x="642" y="655"/>
                  </a:lnTo>
                  <a:lnTo>
                    <a:pt x="616" y="648"/>
                  </a:lnTo>
                  <a:lnTo>
                    <a:pt x="562" y="638"/>
                  </a:lnTo>
                  <a:lnTo>
                    <a:pt x="553" y="631"/>
                  </a:lnTo>
                  <a:lnTo>
                    <a:pt x="524" y="638"/>
                  </a:lnTo>
                  <a:lnTo>
                    <a:pt x="508" y="631"/>
                  </a:lnTo>
                  <a:lnTo>
                    <a:pt x="498" y="631"/>
                  </a:lnTo>
                  <a:lnTo>
                    <a:pt x="470" y="626"/>
                  </a:lnTo>
                  <a:lnTo>
                    <a:pt x="449" y="593"/>
                  </a:lnTo>
                  <a:lnTo>
                    <a:pt x="432" y="582"/>
                  </a:lnTo>
                  <a:lnTo>
                    <a:pt x="416" y="570"/>
                  </a:lnTo>
                  <a:lnTo>
                    <a:pt x="427" y="553"/>
                  </a:lnTo>
                  <a:lnTo>
                    <a:pt x="427" y="560"/>
                  </a:lnTo>
                  <a:lnTo>
                    <a:pt x="399" y="553"/>
                  </a:lnTo>
                  <a:lnTo>
                    <a:pt x="394" y="537"/>
                  </a:lnTo>
                  <a:lnTo>
                    <a:pt x="361" y="482"/>
                  </a:lnTo>
                  <a:lnTo>
                    <a:pt x="281" y="466"/>
                  </a:lnTo>
                  <a:lnTo>
                    <a:pt x="281" y="449"/>
                  </a:lnTo>
                  <a:lnTo>
                    <a:pt x="281" y="461"/>
                  </a:lnTo>
                  <a:lnTo>
                    <a:pt x="253" y="449"/>
                  </a:lnTo>
                  <a:lnTo>
                    <a:pt x="253" y="445"/>
                  </a:lnTo>
                  <a:lnTo>
                    <a:pt x="253" y="449"/>
                  </a:lnTo>
                  <a:lnTo>
                    <a:pt x="248" y="445"/>
                  </a:lnTo>
                  <a:lnTo>
                    <a:pt x="248" y="461"/>
                  </a:lnTo>
                  <a:lnTo>
                    <a:pt x="238" y="461"/>
                  </a:lnTo>
                  <a:lnTo>
                    <a:pt x="238" y="449"/>
                  </a:lnTo>
                  <a:lnTo>
                    <a:pt x="231" y="466"/>
                  </a:lnTo>
                  <a:lnTo>
                    <a:pt x="210" y="461"/>
                  </a:lnTo>
                  <a:lnTo>
                    <a:pt x="194" y="445"/>
                  </a:lnTo>
                  <a:lnTo>
                    <a:pt x="215" y="471"/>
                  </a:lnTo>
                  <a:lnTo>
                    <a:pt x="201" y="482"/>
                  </a:lnTo>
                  <a:lnTo>
                    <a:pt x="172" y="471"/>
                  </a:lnTo>
                  <a:lnTo>
                    <a:pt x="184" y="482"/>
                  </a:lnTo>
                  <a:lnTo>
                    <a:pt x="194" y="499"/>
                  </a:lnTo>
                  <a:lnTo>
                    <a:pt x="146" y="504"/>
                  </a:lnTo>
                  <a:lnTo>
                    <a:pt x="123" y="499"/>
                  </a:lnTo>
                  <a:lnTo>
                    <a:pt x="108" y="504"/>
                  </a:lnTo>
                  <a:lnTo>
                    <a:pt x="101" y="487"/>
                  </a:lnTo>
                  <a:lnTo>
                    <a:pt x="85" y="499"/>
                  </a:lnTo>
                  <a:lnTo>
                    <a:pt x="101" y="487"/>
                  </a:lnTo>
                  <a:lnTo>
                    <a:pt x="108" y="504"/>
                  </a:lnTo>
                  <a:lnTo>
                    <a:pt x="130" y="499"/>
                  </a:lnTo>
                  <a:lnTo>
                    <a:pt x="156" y="515"/>
                  </a:lnTo>
                  <a:lnTo>
                    <a:pt x="177" y="537"/>
                  </a:lnTo>
                  <a:lnTo>
                    <a:pt x="177" y="544"/>
                  </a:lnTo>
                  <a:lnTo>
                    <a:pt x="172" y="553"/>
                  </a:lnTo>
                  <a:lnTo>
                    <a:pt x="146" y="553"/>
                  </a:lnTo>
                  <a:lnTo>
                    <a:pt x="123" y="577"/>
                  </a:lnTo>
                  <a:lnTo>
                    <a:pt x="92" y="560"/>
                  </a:lnTo>
                  <a:lnTo>
                    <a:pt x="47" y="570"/>
                  </a:lnTo>
                  <a:lnTo>
                    <a:pt x="33" y="560"/>
                  </a:lnTo>
                  <a:lnTo>
                    <a:pt x="16" y="570"/>
                  </a:lnTo>
                  <a:lnTo>
                    <a:pt x="9" y="560"/>
                  </a:lnTo>
                  <a:lnTo>
                    <a:pt x="9" y="560"/>
                  </a:lnTo>
                  <a:lnTo>
                    <a:pt x="9" y="560"/>
                  </a:lnTo>
                  <a:close/>
                  <a:moveTo>
                    <a:pt x="775" y="100"/>
                  </a:moveTo>
                  <a:lnTo>
                    <a:pt x="775" y="95"/>
                  </a:lnTo>
                  <a:lnTo>
                    <a:pt x="784" y="100"/>
                  </a:lnTo>
                  <a:lnTo>
                    <a:pt x="775" y="100"/>
                  </a:lnTo>
                  <a:lnTo>
                    <a:pt x="775" y="100"/>
                  </a:lnTo>
                  <a:lnTo>
                    <a:pt x="775" y="100"/>
                  </a:lnTo>
                  <a:close/>
                  <a:moveTo>
                    <a:pt x="697" y="116"/>
                  </a:moveTo>
                  <a:lnTo>
                    <a:pt x="704" y="112"/>
                  </a:lnTo>
                  <a:lnTo>
                    <a:pt x="713" y="116"/>
                  </a:lnTo>
                  <a:lnTo>
                    <a:pt x="697" y="116"/>
                  </a:lnTo>
                  <a:lnTo>
                    <a:pt x="697" y="116"/>
                  </a:lnTo>
                  <a:lnTo>
                    <a:pt x="697" y="116"/>
                  </a:lnTo>
                  <a:close/>
                  <a:moveTo>
                    <a:pt x="827" y="133"/>
                  </a:moveTo>
                  <a:lnTo>
                    <a:pt x="822" y="128"/>
                  </a:lnTo>
                  <a:lnTo>
                    <a:pt x="827" y="116"/>
                  </a:lnTo>
                  <a:lnTo>
                    <a:pt x="827" y="133"/>
                  </a:lnTo>
                  <a:lnTo>
                    <a:pt x="827" y="133"/>
                  </a:lnTo>
                  <a:lnTo>
                    <a:pt x="827" y="133"/>
                  </a:lnTo>
                  <a:close/>
                  <a:moveTo>
                    <a:pt x="897" y="194"/>
                  </a:moveTo>
                  <a:lnTo>
                    <a:pt x="893" y="194"/>
                  </a:lnTo>
                  <a:lnTo>
                    <a:pt x="897" y="189"/>
                  </a:lnTo>
                  <a:lnTo>
                    <a:pt x="897" y="194"/>
                  </a:lnTo>
                  <a:lnTo>
                    <a:pt x="897" y="194"/>
                  </a:lnTo>
                  <a:lnTo>
                    <a:pt x="897" y="194"/>
                  </a:lnTo>
                  <a:close/>
                  <a:moveTo>
                    <a:pt x="687" y="338"/>
                  </a:moveTo>
                  <a:lnTo>
                    <a:pt x="666" y="355"/>
                  </a:lnTo>
                  <a:lnTo>
                    <a:pt x="612" y="355"/>
                  </a:lnTo>
                  <a:lnTo>
                    <a:pt x="595" y="338"/>
                  </a:lnTo>
                  <a:lnTo>
                    <a:pt x="574" y="350"/>
                  </a:lnTo>
                  <a:lnTo>
                    <a:pt x="574" y="338"/>
                  </a:lnTo>
                  <a:lnTo>
                    <a:pt x="553" y="322"/>
                  </a:lnTo>
                  <a:lnTo>
                    <a:pt x="524" y="317"/>
                  </a:lnTo>
                  <a:lnTo>
                    <a:pt x="519" y="305"/>
                  </a:lnTo>
                  <a:lnTo>
                    <a:pt x="524" y="293"/>
                  </a:lnTo>
                  <a:lnTo>
                    <a:pt x="562" y="293"/>
                  </a:lnTo>
                  <a:lnTo>
                    <a:pt x="590" y="305"/>
                  </a:lnTo>
                  <a:lnTo>
                    <a:pt x="633" y="300"/>
                  </a:lnTo>
                  <a:lnTo>
                    <a:pt x="633" y="293"/>
                  </a:lnTo>
                  <a:lnTo>
                    <a:pt x="633" y="284"/>
                  </a:lnTo>
                  <a:lnTo>
                    <a:pt x="642" y="260"/>
                  </a:lnTo>
                  <a:lnTo>
                    <a:pt x="659" y="265"/>
                  </a:lnTo>
                  <a:lnTo>
                    <a:pt x="642" y="265"/>
                  </a:lnTo>
                  <a:lnTo>
                    <a:pt x="642" y="284"/>
                  </a:lnTo>
                  <a:lnTo>
                    <a:pt x="649" y="300"/>
                  </a:lnTo>
                  <a:lnTo>
                    <a:pt x="659" y="300"/>
                  </a:lnTo>
                  <a:lnTo>
                    <a:pt x="671" y="293"/>
                  </a:lnTo>
                  <a:lnTo>
                    <a:pt x="682" y="300"/>
                  </a:lnTo>
                  <a:lnTo>
                    <a:pt x="704" y="300"/>
                  </a:lnTo>
                  <a:lnTo>
                    <a:pt x="730" y="260"/>
                  </a:lnTo>
                  <a:lnTo>
                    <a:pt x="758" y="249"/>
                  </a:lnTo>
                  <a:lnTo>
                    <a:pt x="742" y="206"/>
                  </a:lnTo>
                  <a:lnTo>
                    <a:pt x="768" y="206"/>
                  </a:lnTo>
                  <a:lnTo>
                    <a:pt x="784" y="211"/>
                  </a:lnTo>
                  <a:lnTo>
                    <a:pt x="796" y="206"/>
                  </a:lnTo>
                  <a:lnTo>
                    <a:pt x="789" y="211"/>
                  </a:lnTo>
                  <a:lnTo>
                    <a:pt x="805" y="211"/>
                  </a:lnTo>
                  <a:lnTo>
                    <a:pt x="812" y="239"/>
                  </a:lnTo>
                  <a:lnTo>
                    <a:pt x="796" y="260"/>
                  </a:lnTo>
                  <a:lnTo>
                    <a:pt x="784" y="260"/>
                  </a:lnTo>
                  <a:lnTo>
                    <a:pt x="784" y="277"/>
                  </a:lnTo>
                  <a:lnTo>
                    <a:pt x="789" y="284"/>
                  </a:lnTo>
                  <a:lnTo>
                    <a:pt x="789" y="293"/>
                  </a:lnTo>
                  <a:lnTo>
                    <a:pt x="768" y="305"/>
                  </a:lnTo>
                  <a:lnTo>
                    <a:pt x="742" y="300"/>
                  </a:lnTo>
                  <a:lnTo>
                    <a:pt x="734" y="317"/>
                  </a:lnTo>
                  <a:lnTo>
                    <a:pt x="687" y="338"/>
                  </a:lnTo>
                  <a:lnTo>
                    <a:pt x="687" y="338"/>
                  </a:lnTo>
                  <a:lnTo>
                    <a:pt x="687" y="338"/>
                  </a:lnTo>
                  <a:close/>
                  <a:moveTo>
                    <a:pt x="357" y="244"/>
                  </a:moveTo>
                  <a:lnTo>
                    <a:pt x="345" y="239"/>
                  </a:lnTo>
                  <a:lnTo>
                    <a:pt x="357" y="227"/>
                  </a:lnTo>
                  <a:lnTo>
                    <a:pt x="361" y="239"/>
                  </a:lnTo>
                  <a:lnTo>
                    <a:pt x="357" y="244"/>
                  </a:lnTo>
                  <a:lnTo>
                    <a:pt x="357" y="244"/>
                  </a:lnTo>
                  <a:lnTo>
                    <a:pt x="357" y="244"/>
                  </a:lnTo>
                  <a:close/>
                  <a:moveTo>
                    <a:pt x="612" y="244"/>
                  </a:moveTo>
                  <a:lnTo>
                    <a:pt x="605" y="239"/>
                  </a:lnTo>
                  <a:lnTo>
                    <a:pt x="605" y="239"/>
                  </a:lnTo>
                  <a:lnTo>
                    <a:pt x="612" y="244"/>
                  </a:lnTo>
                  <a:lnTo>
                    <a:pt x="612" y="244"/>
                  </a:lnTo>
                  <a:lnTo>
                    <a:pt x="612" y="244"/>
                  </a:lnTo>
                  <a:close/>
                  <a:moveTo>
                    <a:pt x="968" y="293"/>
                  </a:moveTo>
                  <a:lnTo>
                    <a:pt x="956" y="265"/>
                  </a:lnTo>
                  <a:lnTo>
                    <a:pt x="968" y="260"/>
                  </a:lnTo>
                  <a:lnTo>
                    <a:pt x="973" y="277"/>
                  </a:lnTo>
                  <a:lnTo>
                    <a:pt x="968" y="293"/>
                  </a:lnTo>
                  <a:lnTo>
                    <a:pt x="968" y="293"/>
                  </a:lnTo>
                  <a:lnTo>
                    <a:pt x="968" y="293"/>
                  </a:lnTo>
                  <a:close/>
                  <a:moveTo>
                    <a:pt x="444" y="293"/>
                  </a:moveTo>
                  <a:lnTo>
                    <a:pt x="427" y="284"/>
                  </a:lnTo>
                  <a:lnTo>
                    <a:pt x="432" y="277"/>
                  </a:lnTo>
                  <a:lnTo>
                    <a:pt x="444" y="284"/>
                  </a:lnTo>
                  <a:lnTo>
                    <a:pt x="444" y="293"/>
                  </a:lnTo>
                  <a:lnTo>
                    <a:pt x="444" y="293"/>
                  </a:lnTo>
                  <a:lnTo>
                    <a:pt x="444" y="293"/>
                  </a:lnTo>
                  <a:close/>
                  <a:moveTo>
                    <a:pt x="1023" y="334"/>
                  </a:moveTo>
                  <a:lnTo>
                    <a:pt x="1023" y="350"/>
                  </a:lnTo>
                  <a:lnTo>
                    <a:pt x="1056" y="371"/>
                  </a:lnTo>
                  <a:lnTo>
                    <a:pt x="1056" y="393"/>
                  </a:lnTo>
                  <a:lnTo>
                    <a:pt x="1056" y="388"/>
                  </a:lnTo>
                  <a:lnTo>
                    <a:pt x="1039" y="393"/>
                  </a:lnTo>
                  <a:lnTo>
                    <a:pt x="1011" y="388"/>
                  </a:lnTo>
                  <a:lnTo>
                    <a:pt x="1006" y="371"/>
                  </a:lnTo>
                  <a:lnTo>
                    <a:pt x="1006" y="355"/>
                  </a:lnTo>
                  <a:lnTo>
                    <a:pt x="990" y="350"/>
                  </a:lnTo>
                  <a:lnTo>
                    <a:pt x="973" y="334"/>
                  </a:lnTo>
                  <a:lnTo>
                    <a:pt x="973" y="300"/>
                  </a:lnTo>
                  <a:lnTo>
                    <a:pt x="1001" y="300"/>
                  </a:lnTo>
                  <a:lnTo>
                    <a:pt x="1006" y="322"/>
                  </a:lnTo>
                  <a:lnTo>
                    <a:pt x="1023" y="334"/>
                  </a:lnTo>
                  <a:lnTo>
                    <a:pt x="1023" y="334"/>
                  </a:lnTo>
                  <a:lnTo>
                    <a:pt x="1023" y="334"/>
                  </a:lnTo>
                  <a:close/>
                  <a:moveTo>
                    <a:pt x="498" y="322"/>
                  </a:moveTo>
                  <a:lnTo>
                    <a:pt x="482" y="305"/>
                  </a:lnTo>
                  <a:lnTo>
                    <a:pt x="482" y="300"/>
                  </a:lnTo>
                  <a:lnTo>
                    <a:pt x="503" y="305"/>
                  </a:lnTo>
                  <a:lnTo>
                    <a:pt x="498" y="322"/>
                  </a:lnTo>
                  <a:lnTo>
                    <a:pt x="498" y="322"/>
                  </a:lnTo>
                  <a:lnTo>
                    <a:pt x="498" y="322"/>
                  </a:lnTo>
                  <a:close/>
                  <a:moveTo>
                    <a:pt x="194" y="487"/>
                  </a:moveTo>
                  <a:lnTo>
                    <a:pt x="194" y="482"/>
                  </a:lnTo>
                  <a:lnTo>
                    <a:pt x="194" y="487"/>
                  </a:lnTo>
                  <a:lnTo>
                    <a:pt x="194" y="487"/>
                  </a:lnTo>
                  <a:lnTo>
                    <a:pt x="194" y="487"/>
                  </a:lnTo>
                  <a:lnTo>
                    <a:pt x="194" y="487"/>
                  </a:lnTo>
                  <a:close/>
                  <a:moveTo>
                    <a:pt x="194" y="499"/>
                  </a:moveTo>
                  <a:lnTo>
                    <a:pt x="194" y="487"/>
                  </a:lnTo>
                  <a:lnTo>
                    <a:pt x="201" y="487"/>
                  </a:lnTo>
                  <a:lnTo>
                    <a:pt x="194" y="499"/>
                  </a:lnTo>
                  <a:lnTo>
                    <a:pt x="194" y="499"/>
                  </a:lnTo>
                  <a:lnTo>
                    <a:pt x="194" y="499"/>
                  </a:lnTo>
                  <a:close/>
                  <a:moveTo>
                    <a:pt x="184" y="515"/>
                  </a:moveTo>
                  <a:lnTo>
                    <a:pt x="172" y="504"/>
                  </a:lnTo>
                  <a:lnTo>
                    <a:pt x="184" y="504"/>
                  </a:lnTo>
                  <a:lnTo>
                    <a:pt x="184" y="515"/>
                  </a:lnTo>
                  <a:lnTo>
                    <a:pt x="184" y="515"/>
                  </a:lnTo>
                  <a:lnTo>
                    <a:pt x="184" y="515"/>
                  </a:lnTo>
                  <a:close/>
                  <a:moveTo>
                    <a:pt x="194" y="527"/>
                  </a:moveTo>
                  <a:lnTo>
                    <a:pt x="163" y="504"/>
                  </a:lnTo>
                  <a:lnTo>
                    <a:pt x="177" y="515"/>
                  </a:lnTo>
                  <a:lnTo>
                    <a:pt x="194" y="527"/>
                  </a:lnTo>
                  <a:lnTo>
                    <a:pt x="194" y="527"/>
                  </a:lnTo>
                  <a:lnTo>
                    <a:pt x="194" y="527"/>
                  </a:lnTo>
                  <a:close/>
                  <a:moveTo>
                    <a:pt x="720" y="537"/>
                  </a:moveTo>
                  <a:lnTo>
                    <a:pt x="713" y="515"/>
                  </a:lnTo>
                  <a:lnTo>
                    <a:pt x="720" y="504"/>
                  </a:lnTo>
                  <a:lnTo>
                    <a:pt x="720" y="537"/>
                  </a:lnTo>
                  <a:lnTo>
                    <a:pt x="720" y="537"/>
                  </a:lnTo>
                  <a:lnTo>
                    <a:pt x="720" y="537"/>
                  </a:lnTo>
                  <a:close/>
                  <a:moveTo>
                    <a:pt x="838" y="570"/>
                  </a:moveTo>
                  <a:lnTo>
                    <a:pt x="812" y="553"/>
                  </a:lnTo>
                  <a:lnTo>
                    <a:pt x="838" y="544"/>
                  </a:lnTo>
                  <a:lnTo>
                    <a:pt x="850" y="560"/>
                  </a:lnTo>
                  <a:lnTo>
                    <a:pt x="838" y="570"/>
                  </a:lnTo>
                  <a:lnTo>
                    <a:pt x="838" y="570"/>
                  </a:lnTo>
                  <a:lnTo>
                    <a:pt x="838" y="570"/>
                  </a:lnTo>
                  <a:close/>
                  <a:moveTo>
                    <a:pt x="666" y="582"/>
                  </a:moveTo>
                  <a:lnTo>
                    <a:pt x="649" y="577"/>
                  </a:lnTo>
                  <a:lnTo>
                    <a:pt x="649" y="570"/>
                  </a:lnTo>
                  <a:lnTo>
                    <a:pt x="666" y="570"/>
                  </a:lnTo>
                  <a:lnTo>
                    <a:pt x="666" y="582"/>
                  </a:lnTo>
                  <a:lnTo>
                    <a:pt x="666" y="582"/>
                  </a:lnTo>
                  <a:lnTo>
                    <a:pt x="666" y="582"/>
                  </a:lnTo>
                  <a:close/>
                  <a:moveTo>
                    <a:pt x="697" y="598"/>
                  </a:moveTo>
                  <a:lnTo>
                    <a:pt x="671" y="593"/>
                  </a:lnTo>
                  <a:lnTo>
                    <a:pt x="671" y="577"/>
                  </a:lnTo>
                  <a:lnTo>
                    <a:pt x="697" y="582"/>
                  </a:lnTo>
                  <a:lnTo>
                    <a:pt x="704" y="598"/>
                  </a:lnTo>
                  <a:lnTo>
                    <a:pt x="697" y="598"/>
                  </a:lnTo>
                  <a:lnTo>
                    <a:pt x="697" y="598"/>
                  </a:lnTo>
                  <a:lnTo>
                    <a:pt x="697" y="598"/>
                  </a:lnTo>
                  <a:close/>
                  <a:moveTo>
                    <a:pt x="730" y="638"/>
                  </a:moveTo>
                  <a:lnTo>
                    <a:pt x="704" y="631"/>
                  </a:lnTo>
                  <a:lnTo>
                    <a:pt x="697" y="598"/>
                  </a:lnTo>
                  <a:lnTo>
                    <a:pt x="720" y="626"/>
                  </a:lnTo>
                  <a:lnTo>
                    <a:pt x="730" y="615"/>
                  </a:lnTo>
                  <a:lnTo>
                    <a:pt x="730" y="638"/>
                  </a:lnTo>
                  <a:lnTo>
                    <a:pt x="730" y="638"/>
                  </a:lnTo>
                  <a:lnTo>
                    <a:pt x="730" y="638"/>
                  </a:lnTo>
                  <a:close/>
                  <a:moveTo>
                    <a:pt x="704" y="671"/>
                  </a:moveTo>
                  <a:lnTo>
                    <a:pt x="697" y="671"/>
                  </a:lnTo>
                  <a:lnTo>
                    <a:pt x="697" y="664"/>
                  </a:lnTo>
                  <a:lnTo>
                    <a:pt x="704" y="664"/>
                  </a:lnTo>
                  <a:lnTo>
                    <a:pt x="704" y="671"/>
                  </a:lnTo>
                  <a:lnTo>
                    <a:pt x="704" y="671"/>
                  </a:lnTo>
                  <a:lnTo>
                    <a:pt x="704" y="671"/>
                  </a:lnTo>
                  <a:close/>
                  <a:moveTo>
                    <a:pt x="704" y="671"/>
                  </a:moveTo>
                  <a:lnTo>
                    <a:pt x="704" y="664"/>
                  </a:lnTo>
                  <a:lnTo>
                    <a:pt x="713" y="664"/>
                  </a:lnTo>
                  <a:lnTo>
                    <a:pt x="713" y="671"/>
                  </a:lnTo>
                  <a:lnTo>
                    <a:pt x="704" y="671"/>
                  </a:lnTo>
                  <a:lnTo>
                    <a:pt x="704" y="671"/>
                  </a:lnTo>
                  <a:lnTo>
                    <a:pt x="704" y="671"/>
                  </a:lnTo>
                  <a:close/>
                  <a:moveTo>
                    <a:pt x="838" y="671"/>
                  </a:moveTo>
                  <a:lnTo>
                    <a:pt x="822" y="671"/>
                  </a:lnTo>
                  <a:lnTo>
                    <a:pt x="843" y="671"/>
                  </a:lnTo>
                  <a:lnTo>
                    <a:pt x="838" y="671"/>
                  </a:lnTo>
                  <a:lnTo>
                    <a:pt x="838" y="671"/>
                  </a:lnTo>
                  <a:lnTo>
                    <a:pt x="838" y="671"/>
                  </a:lnTo>
                  <a:close/>
                  <a:moveTo>
                    <a:pt x="864" y="721"/>
                  </a:moveTo>
                  <a:lnTo>
                    <a:pt x="860" y="709"/>
                  </a:lnTo>
                  <a:lnTo>
                    <a:pt x="864" y="709"/>
                  </a:lnTo>
                  <a:lnTo>
                    <a:pt x="864" y="721"/>
                  </a:lnTo>
                  <a:lnTo>
                    <a:pt x="864" y="721"/>
                  </a:lnTo>
                  <a:lnTo>
                    <a:pt x="864" y="721"/>
                  </a:lnTo>
                  <a:close/>
                  <a:moveTo>
                    <a:pt x="931" y="726"/>
                  </a:moveTo>
                  <a:lnTo>
                    <a:pt x="919" y="721"/>
                  </a:lnTo>
                  <a:lnTo>
                    <a:pt x="935" y="721"/>
                  </a:lnTo>
                  <a:lnTo>
                    <a:pt x="947" y="726"/>
                  </a:lnTo>
                  <a:lnTo>
                    <a:pt x="931" y="726"/>
                  </a:lnTo>
                  <a:lnTo>
                    <a:pt x="931" y="726"/>
                  </a:lnTo>
                  <a:lnTo>
                    <a:pt x="931" y="726"/>
                  </a:lnTo>
                  <a:close/>
                  <a:moveTo>
                    <a:pt x="893" y="742"/>
                  </a:moveTo>
                  <a:lnTo>
                    <a:pt x="876" y="737"/>
                  </a:lnTo>
                  <a:lnTo>
                    <a:pt x="864" y="721"/>
                  </a:lnTo>
                  <a:lnTo>
                    <a:pt x="905" y="742"/>
                  </a:lnTo>
                  <a:lnTo>
                    <a:pt x="893" y="742"/>
                  </a:lnTo>
                  <a:lnTo>
                    <a:pt x="893" y="742"/>
                  </a:lnTo>
                  <a:lnTo>
                    <a:pt x="893" y="74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84" name="Freeform 541">
              <a:extLst>
                <a:ext uri="{FF2B5EF4-FFF2-40B4-BE49-F238E27FC236}">
                  <a16:creationId xmlns:a16="http://schemas.microsoft.com/office/drawing/2014/main" id="{29F07503-17F2-45F0-8E3D-D10B9B878D45}"/>
                </a:ext>
              </a:extLst>
            </p:cNvPr>
            <p:cNvSpPr>
              <a:spLocks noEditPoints="1"/>
            </p:cNvSpPr>
            <p:nvPr/>
          </p:nvSpPr>
          <p:spPr bwMode="gray">
            <a:xfrm>
              <a:off x="10102341" y="3479191"/>
              <a:ext cx="278290" cy="438478"/>
            </a:xfrm>
            <a:custGeom>
              <a:avLst/>
              <a:gdLst>
                <a:gd name="T0" fmla="*/ 324 w 676"/>
                <a:gd name="T1" fmla="*/ 16 h 1065"/>
                <a:gd name="T2" fmla="*/ 310 w 676"/>
                <a:gd name="T3" fmla="*/ 50 h 1065"/>
                <a:gd name="T4" fmla="*/ 459 w 676"/>
                <a:gd name="T5" fmla="*/ 437 h 1065"/>
                <a:gd name="T6" fmla="*/ 487 w 676"/>
                <a:gd name="T7" fmla="*/ 494 h 1065"/>
                <a:gd name="T8" fmla="*/ 395 w 676"/>
                <a:gd name="T9" fmla="*/ 416 h 1065"/>
                <a:gd name="T10" fmla="*/ 260 w 676"/>
                <a:gd name="T11" fmla="*/ 416 h 1065"/>
                <a:gd name="T12" fmla="*/ 239 w 676"/>
                <a:gd name="T13" fmla="*/ 349 h 1065"/>
                <a:gd name="T14" fmla="*/ 244 w 676"/>
                <a:gd name="T15" fmla="*/ 250 h 1065"/>
                <a:gd name="T16" fmla="*/ 378 w 676"/>
                <a:gd name="T17" fmla="*/ 90 h 1065"/>
                <a:gd name="T18" fmla="*/ 369 w 676"/>
                <a:gd name="T19" fmla="*/ 250 h 1065"/>
                <a:gd name="T20" fmla="*/ 369 w 676"/>
                <a:gd name="T21" fmla="*/ 416 h 1065"/>
                <a:gd name="T22" fmla="*/ 433 w 676"/>
                <a:gd name="T23" fmla="*/ 437 h 1065"/>
                <a:gd name="T24" fmla="*/ 362 w 676"/>
                <a:gd name="T25" fmla="*/ 342 h 1065"/>
                <a:gd name="T26" fmla="*/ 369 w 676"/>
                <a:gd name="T27" fmla="*/ 361 h 1065"/>
                <a:gd name="T28" fmla="*/ 508 w 676"/>
                <a:gd name="T29" fmla="*/ 444 h 1065"/>
                <a:gd name="T30" fmla="*/ 345 w 676"/>
                <a:gd name="T31" fmla="*/ 461 h 1065"/>
                <a:gd name="T32" fmla="*/ 239 w 676"/>
                <a:gd name="T33" fmla="*/ 444 h 1065"/>
                <a:gd name="T34" fmla="*/ 487 w 676"/>
                <a:gd name="T35" fmla="*/ 453 h 1065"/>
                <a:gd name="T36" fmla="*/ 492 w 676"/>
                <a:gd name="T37" fmla="*/ 470 h 1065"/>
                <a:gd name="T38" fmla="*/ 362 w 676"/>
                <a:gd name="T39" fmla="*/ 510 h 1065"/>
                <a:gd name="T40" fmla="*/ 503 w 676"/>
                <a:gd name="T41" fmla="*/ 581 h 1065"/>
                <a:gd name="T42" fmla="*/ 617 w 676"/>
                <a:gd name="T43" fmla="*/ 626 h 1065"/>
                <a:gd name="T44" fmla="*/ 584 w 676"/>
                <a:gd name="T45" fmla="*/ 527 h 1065"/>
                <a:gd name="T46" fmla="*/ 617 w 676"/>
                <a:gd name="T47" fmla="*/ 626 h 1065"/>
                <a:gd name="T48" fmla="*/ 218 w 676"/>
                <a:gd name="T49" fmla="*/ 555 h 1065"/>
                <a:gd name="T50" fmla="*/ 293 w 676"/>
                <a:gd name="T51" fmla="*/ 538 h 1065"/>
                <a:gd name="T52" fmla="*/ 433 w 676"/>
                <a:gd name="T53" fmla="*/ 621 h 1065"/>
                <a:gd name="T54" fmla="*/ 369 w 676"/>
                <a:gd name="T55" fmla="*/ 572 h 1065"/>
                <a:gd name="T56" fmla="*/ 529 w 676"/>
                <a:gd name="T57" fmla="*/ 581 h 1065"/>
                <a:gd name="T58" fmla="*/ 525 w 676"/>
                <a:gd name="T59" fmla="*/ 638 h 1065"/>
                <a:gd name="T60" fmla="*/ 546 w 676"/>
                <a:gd name="T61" fmla="*/ 692 h 1065"/>
                <a:gd name="T62" fmla="*/ 189 w 676"/>
                <a:gd name="T63" fmla="*/ 666 h 1065"/>
                <a:gd name="T64" fmla="*/ 24 w 676"/>
                <a:gd name="T65" fmla="*/ 803 h 1065"/>
                <a:gd name="T66" fmla="*/ 168 w 676"/>
                <a:gd name="T67" fmla="*/ 659 h 1065"/>
                <a:gd name="T68" fmla="*/ 185 w 676"/>
                <a:gd name="T69" fmla="*/ 642 h 1065"/>
                <a:gd name="T70" fmla="*/ 475 w 676"/>
                <a:gd name="T71" fmla="*/ 666 h 1065"/>
                <a:gd name="T72" fmla="*/ 449 w 676"/>
                <a:gd name="T73" fmla="*/ 675 h 1065"/>
                <a:gd name="T74" fmla="*/ 416 w 676"/>
                <a:gd name="T75" fmla="*/ 699 h 1065"/>
                <a:gd name="T76" fmla="*/ 617 w 676"/>
                <a:gd name="T77" fmla="*/ 649 h 1065"/>
                <a:gd name="T78" fmla="*/ 407 w 676"/>
                <a:gd name="T79" fmla="*/ 659 h 1065"/>
                <a:gd name="T80" fmla="*/ 513 w 676"/>
                <a:gd name="T81" fmla="*/ 659 h 1065"/>
                <a:gd name="T82" fmla="*/ 201 w 676"/>
                <a:gd name="T83" fmla="*/ 666 h 1065"/>
                <a:gd name="T84" fmla="*/ 529 w 676"/>
                <a:gd name="T85" fmla="*/ 699 h 1065"/>
                <a:gd name="T86" fmla="*/ 529 w 676"/>
                <a:gd name="T87" fmla="*/ 699 h 1065"/>
                <a:gd name="T88" fmla="*/ 638 w 676"/>
                <a:gd name="T89" fmla="*/ 720 h 1065"/>
                <a:gd name="T90" fmla="*/ 407 w 676"/>
                <a:gd name="T91" fmla="*/ 886 h 1065"/>
                <a:gd name="T92" fmla="*/ 421 w 676"/>
                <a:gd name="T93" fmla="*/ 831 h 1065"/>
                <a:gd name="T94" fmla="*/ 513 w 676"/>
                <a:gd name="T95" fmla="*/ 815 h 1065"/>
                <a:gd name="T96" fmla="*/ 631 w 676"/>
                <a:gd name="T97" fmla="*/ 737 h 1065"/>
                <a:gd name="T98" fmla="*/ 664 w 676"/>
                <a:gd name="T99" fmla="*/ 860 h 1065"/>
                <a:gd name="T100" fmla="*/ 622 w 676"/>
                <a:gd name="T101" fmla="*/ 914 h 1065"/>
                <a:gd name="T102" fmla="*/ 584 w 676"/>
                <a:gd name="T103" fmla="*/ 1025 h 1065"/>
                <a:gd name="T104" fmla="*/ 492 w 676"/>
                <a:gd name="T105" fmla="*/ 869 h 1065"/>
                <a:gd name="T106" fmla="*/ 454 w 676"/>
                <a:gd name="T107" fmla="*/ 758 h 1065"/>
                <a:gd name="T108" fmla="*/ 546 w 676"/>
                <a:gd name="T109" fmla="*/ 770 h 1065"/>
                <a:gd name="T110" fmla="*/ 416 w 676"/>
                <a:gd name="T111" fmla="*/ 898 h 1065"/>
                <a:gd name="T112" fmla="*/ 622 w 676"/>
                <a:gd name="T113" fmla="*/ 914 h 1065"/>
                <a:gd name="T114" fmla="*/ 352 w 676"/>
                <a:gd name="T115" fmla="*/ 959 h 1065"/>
                <a:gd name="T116" fmla="*/ 255 w 676"/>
                <a:gd name="T117" fmla="*/ 959 h 1065"/>
                <a:gd name="T118" fmla="*/ 310 w 676"/>
                <a:gd name="T119" fmla="*/ 997 h 1065"/>
                <a:gd name="T120" fmla="*/ 277 w 676"/>
                <a:gd name="T121" fmla="*/ 1025 h 1065"/>
                <a:gd name="T122" fmla="*/ 206 w 676"/>
                <a:gd name="T123" fmla="*/ 1065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6" h="1065">
                  <a:moveTo>
                    <a:pt x="352" y="0"/>
                  </a:moveTo>
                  <a:lnTo>
                    <a:pt x="345" y="0"/>
                  </a:lnTo>
                  <a:lnTo>
                    <a:pt x="352" y="0"/>
                  </a:lnTo>
                  <a:lnTo>
                    <a:pt x="352" y="0"/>
                  </a:lnTo>
                  <a:lnTo>
                    <a:pt x="352" y="0"/>
                  </a:lnTo>
                  <a:close/>
                  <a:moveTo>
                    <a:pt x="324" y="16"/>
                  </a:moveTo>
                  <a:lnTo>
                    <a:pt x="314" y="12"/>
                  </a:lnTo>
                  <a:lnTo>
                    <a:pt x="324" y="12"/>
                  </a:lnTo>
                  <a:lnTo>
                    <a:pt x="324" y="16"/>
                  </a:lnTo>
                  <a:lnTo>
                    <a:pt x="324" y="16"/>
                  </a:lnTo>
                  <a:lnTo>
                    <a:pt x="324" y="16"/>
                  </a:lnTo>
                  <a:close/>
                  <a:moveTo>
                    <a:pt x="345" y="54"/>
                  </a:moveTo>
                  <a:lnTo>
                    <a:pt x="345" y="38"/>
                  </a:lnTo>
                  <a:lnTo>
                    <a:pt x="352" y="38"/>
                  </a:lnTo>
                  <a:lnTo>
                    <a:pt x="345" y="54"/>
                  </a:lnTo>
                  <a:lnTo>
                    <a:pt x="345" y="54"/>
                  </a:lnTo>
                  <a:lnTo>
                    <a:pt x="345" y="54"/>
                  </a:lnTo>
                  <a:close/>
                  <a:moveTo>
                    <a:pt x="310" y="50"/>
                  </a:moveTo>
                  <a:lnTo>
                    <a:pt x="314" y="50"/>
                  </a:lnTo>
                  <a:lnTo>
                    <a:pt x="310" y="50"/>
                  </a:lnTo>
                  <a:lnTo>
                    <a:pt x="310" y="50"/>
                  </a:lnTo>
                  <a:lnTo>
                    <a:pt x="310" y="50"/>
                  </a:lnTo>
                  <a:close/>
                  <a:moveTo>
                    <a:pt x="433" y="437"/>
                  </a:moveTo>
                  <a:lnTo>
                    <a:pt x="449" y="420"/>
                  </a:lnTo>
                  <a:lnTo>
                    <a:pt x="437" y="404"/>
                  </a:lnTo>
                  <a:lnTo>
                    <a:pt x="449" y="404"/>
                  </a:lnTo>
                  <a:lnTo>
                    <a:pt x="454" y="416"/>
                  </a:lnTo>
                  <a:lnTo>
                    <a:pt x="492" y="427"/>
                  </a:lnTo>
                  <a:lnTo>
                    <a:pt x="459" y="427"/>
                  </a:lnTo>
                  <a:lnTo>
                    <a:pt x="459" y="437"/>
                  </a:lnTo>
                  <a:lnTo>
                    <a:pt x="487" y="470"/>
                  </a:lnTo>
                  <a:lnTo>
                    <a:pt x="475" y="470"/>
                  </a:lnTo>
                  <a:lnTo>
                    <a:pt x="475" y="477"/>
                  </a:lnTo>
                  <a:lnTo>
                    <a:pt x="487" y="470"/>
                  </a:lnTo>
                  <a:lnTo>
                    <a:pt x="503" y="482"/>
                  </a:lnTo>
                  <a:lnTo>
                    <a:pt x="508" y="477"/>
                  </a:lnTo>
                  <a:lnTo>
                    <a:pt x="503" y="515"/>
                  </a:lnTo>
                  <a:lnTo>
                    <a:pt x="492" y="515"/>
                  </a:lnTo>
                  <a:lnTo>
                    <a:pt x="487" y="498"/>
                  </a:lnTo>
                  <a:lnTo>
                    <a:pt x="487" y="494"/>
                  </a:lnTo>
                  <a:lnTo>
                    <a:pt x="492" y="494"/>
                  </a:lnTo>
                  <a:lnTo>
                    <a:pt x="503" y="482"/>
                  </a:lnTo>
                  <a:lnTo>
                    <a:pt x="487" y="482"/>
                  </a:lnTo>
                  <a:lnTo>
                    <a:pt x="475" y="494"/>
                  </a:lnTo>
                  <a:lnTo>
                    <a:pt x="454" y="477"/>
                  </a:lnTo>
                  <a:lnTo>
                    <a:pt x="449" y="482"/>
                  </a:lnTo>
                  <a:lnTo>
                    <a:pt x="437" y="453"/>
                  </a:lnTo>
                  <a:lnTo>
                    <a:pt x="416" y="437"/>
                  </a:lnTo>
                  <a:lnTo>
                    <a:pt x="416" y="427"/>
                  </a:lnTo>
                  <a:lnTo>
                    <a:pt x="395" y="416"/>
                  </a:lnTo>
                  <a:lnTo>
                    <a:pt x="395" y="427"/>
                  </a:lnTo>
                  <a:lnTo>
                    <a:pt x="407" y="470"/>
                  </a:lnTo>
                  <a:lnTo>
                    <a:pt x="400" y="470"/>
                  </a:lnTo>
                  <a:lnTo>
                    <a:pt x="383" y="444"/>
                  </a:lnTo>
                  <a:lnTo>
                    <a:pt x="340" y="416"/>
                  </a:lnTo>
                  <a:lnTo>
                    <a:pt x="314" y="420"/>
                  </a:lnTo>
                  <a:lnTo>
                    <a:pt x="310" y="437"/>
                  </a:lnTo>
                  <a:lnTo>
                    <a:pt x="293" y="437"/>
                  </a:lnTo>
                  <a:lnTo>
                    <a:pt x="277" y="416"/>
                  </a:lnTo>
                  <a:lnTo>
                    <a:pt x="260" y="416"/>
                  </a:lnTo>
                  <a:lnTo>
                    <a:pt x="260" y="427"/>
                  </a:lnTo>
                  <a:lnTo>
                    <a:pt x="255" y="387"/>
                  </a:lnTo>
                  <a:lnTo>
                    <a:pt x="286" y="371"/>
                  </a:lnTo>
                  <a:lnTo>
                    <a:pt x="286" y="366"/>
                  </a:lnTo>
                  <a:lnTo>
                    <a:pt x="277" y="349"/>
                  </a:lnTo>
                  <a:lnTo>
                    <a:pt x="255" y="349"/>
                  </a:lnTo>
                  <a:lnTo>
                    <a:pt x="255" y="371"/>
                  </a:lnTo>
                  <a:lnTo>
                    <a:pt x="244" y="383"/>
                  </a:lnTo>
                  <a:lnTo>
                    <a:pt x="234" y="361"/>
                  </a:lnTo>
                  <a:lnTo>
                    <a:pt x="239" y="349"/>
                  </a:lnTo>
                  <a:lnTo>
                    <a:pt x="222" y="349"/>
                  </a:lnTo>
                  <a:lnTo>
                    <a:pt x="218" y="316"/>
                  </a:lnTo>
                  <a:lnTo>
                    <a:pt x="206" y="305"/>
                  </a:lnTo>
                  <a:lnTo>
                    <a:pt x="206" y="272"/>
                  </a:lnTo>
                  <a:lnTo>
                    <a:pt x="206" y="260"/>
                  </a:lnTo>
                  <a:lnTo>
                    <a:pt x="201" y="272"/>
                  </a:lnTo>
                  <a:lnTo>
                    <a:pt x="201" y="250"/>
                  </a:lnTo>
                  <a:lnTo>
                    <a:pt x="206" y="234"/>
                  </a:lnTo>
                  <a:lnTo>
                    <a:pt x="222" y="260"/>
                  </a:lnTo>
                  <a:lnTo>
                    <a:pt x="244" y="250"/>
                  </a:lnTo>
                  <a:lnTo>
                    <a:pt x="239" y="217"/>
                  </a:lnTo>
                  <a:lnTo>
                    <a:pt x="244" y="194"/>
                  </a:lnTo>
                  <a:lnTo>
                    <a:pt x="244" y="161"/>
                  </a:lnTo>
                  <a:lnTo>
                    <a:pt x="239" y="144"/>
                  </a:lnTo>
                  <a:lnTo>
                    <a:pt x="260" y="73"/>
                  </a:lnTo>
                  <a:lnTo>
                    <a:pt x="293" y="66"/>
                  </a:lnTo>
                  <a:lnTo>
                    <a:pt x="352" y="94"/>
                  </a:lnTo>
                  <a:lnTo>
                    <a:pt x="362" y="90"/>
                  </a:lnTo>
                  <a:lnTo>
                    <a:pt x="369" y="73"/>
                  </a:lnTo>
                  <a:lnTo>
                    <a:pt x="378" y="90"/>
                  </a:lnTo>
                  <a:lnTo>
                    <a:pt x="378" y="94"/>
                  </a:lnTo>
                  <a:lnTo>
                    <a:pt x="369" y="106"/>
                  </a:lnTo>
                  <a:lnTo>
                    <a:pt x="362" y="127"/>
                  </a:lnTo>
                  <a:lnTo>
                    <a:pt x="369" y="161"/>
                  </a:lnTo>
                  <a:lnTo>
                    <a:pt x="383" y="165"/>
                  </a:lnTo>
                  <a:lnTo>
                    <a:pt x="383" y="177"/>
                  </a:lnTo>
                  <a:lnTo>
                    <a:pt x="395" y="177"/>
                  </a:lnTo>
                  <a:lnTo>
                    <a:pt x="383" y="198"/>
                  </a:lnTo>
                  <a:lnTo>
                    <a:pt x="369" y="234"/>
                  </a:lnTo>
                  <a:lnTo>
                    <a:pt x="369" y="250"/>
                  </a:lnTo>
                  <a:lnTo>
                    <a:pt x="362" y="255"/>
                  </a:lnTo>
                  <a:lnTo>
                    <a:pt x="352" y="260"/>
                  </a:lnTo>
                  <a:lnTo>
                    <a:pt x="362" y="250"/>
                  </a:lnTo>
                  <a:lnTo>
                    <a:pt x="324" y="272"/>
                  </a:lnTo>
                  <a:lnTo>
                    <a:pt x="331" y="288"/>
                  </a:lnTo>
                  <a:lnTo>
                    <a:pt x="310" y="309"/>
                  </a:lnTo>
                  <a:lnTo>
                    <a:pt x="331" y="361"/>
                  </a:lnTo>
                  <a:lnTo>
                    <a:pt x="331" y="366"/>
                  </a:lnTo>
                  <a:lnTo>
                    <a:pt x="340" y="399"/>
                  </a:lnTo>
                  <a:lnTo>
                    <a:pt x="369" y="416"/>
                  </a:lnTo>
                  <a:lnTo>
                    <a:pt x="378" y="404"/>
                  </a:lnTo>
                  <a:lnTo>
                    <a:pt x="369" y="399"/>
                  </a:lnTo>
                  <a:lnTo>
                    <a:pt x="369" y="387"/>
                  </a:lnTo>
                  <a:lnTo>
                    <a:pt x="378" y="404"/>
                  </a:lnTo>
                  <a:lnTo>
                    <a:pt x="383" y="383"/>
                  </a:lnTo>
                  <a:lnTo>
                    <a:pt x="407" y="387"/>
                  </a:lnTo>
                  <a:lnTo>
                    <a:pt x="433" y="416"/>
                  </a:lnTo>
                  <a:lnTo>
                    <a:pt x="433" y="437"/>
                  </a:lnTo>
                  <a:lnTo>
                    <a:pt x="433" y="437"/>
                  </a:lnTo>
                  <a:lnTo>
                    <a:pt x="433" y="437"/>
                  </a:lnTo>
                  <a:close/>
                  <a:moveTo>
                    <a:pt x="218" y="250"/>
                  </a:moveTo>
                  <a:lnTo>
                    <a:pt x="206" y="238"/>
                  </a:lnTo>
                  <a:lnTo>
                    <a:pt x="218" y="238"/>
                  </a:lnTo>
                  <a:lnTo>
                    <a:pt x="218" y="250"/>
                  </a:lnTo>
                  <a:lnTo>
                    <a:pt x="218" y="250"/>
                  </a:lnTo>
                  <a:lnTo>
                    <a:pt x="218" y="250"/>
                  </a:lnTo>
                  <a:close/>
                  <a:moveTo>
                    <a:pt x="352" y="366"/>
                  </a:moveTo>
                  <a:lnTo>
                    <a:pt x="340" y="342"/>
                  </a:lnTo>
                  <a:lnTo>
                    <a:pt x="352" y="333"/>
                  </a:lnTo>
                  <a:lnTo>
                    <a:pt x="362" y="342"/>
                  </a:lnTo>
                  <a:lnTo>
                    <a:pt x="352" y="342"/>
                  </a:lnTo>
                  <a:lnTo>
                    <a:pt x="352" y="361"/>
                  </a:lnTo>
                  <a:lnTo>
                    <a:pt x="352" y="366"/>
                  </a:lnTo>
                  <a:lnTo>
                    <a:pt x="352" y="366"/>
                  </a:lnTo>
                  <a:lnTo>
                    <a:pt x="352" y="366"/>
                  </a:lnTo>
                  <a:close/>
                  <a:moveTo>
                    <a:pt x="369" y="361"/>
                  </a:moveTo>
                  <a:lnTo>
                    <a:pt x="362" y="349"/>
                  </a:lnTo>
                  <a:lnTo>
                    <a:pt x="369" y="349"/>
                  </a:lnTo>
                  <a:lnTo>
                    <a:pt x="369" y="361"/>
                  </a:lnTo>
                  <a:lnTo>
                    <a:pt x="369" y="361"/>
                  </a:lnTo>
                  <a:lnTo>
                    <a:pt x="369" y="361"/>
                  </a:lnTo>
                  <a:close/>
                  <a:moveTo>
                    <a:pt x="508" y="444"/>
                  </a:moveTo>
                  <a:lnTo>
                    <a:pt x="503" y="437"/>
                  </a:lnTo>
                  <a:lnTo>
                    <a:pt x="503" y="420"/>
                  </a:lnTo>
                  <a:lnTo>
                    <a:pt x="503" y="404"/>
                  </a:lnTo>
                  <a:lnTo>
                    <a:pt x="508" y="404"/>
                  </a:lnTo>
                  <a:lnTo>
                    <a:pt x="525" y="420"/>
                  </a:lnTo>
                  <a:lnTo>
                    <a:pt x="513" y="444"/>
                  </a:lnTo>
                  <a:lnTo>
                    <a:pt x="513" y="437"/>
                  </a:lnTo>
                  <a:lnTo>
                    <a:pt x="508" y="444"/>
                  </a:lnTo>
                  <a:lnTo>
                    <a:pt x="508" y="444"/>
                  </a:lnTo>
                  <a:lnTo>
                    <a:pt x="508" y="444"/>
                  </a:lnTo>
                  <a:close/>
                  <a:moveTo>
                    <a:pt x="234" y="437"/>
                  </a:moveTo>
                  <a:lnTo>
                    <a:pt x="222" y="420"/>
                  </a:lnTo>
                  <a:lnTo>
                    <a:pt x="234" y="420"/>
                  </a:lnTo>
                  <a:lnTo>
                    <a:pt x="234" y="437"/>
                  </a:lnTo>
                  <a:lnTo>
                    <a:pt x="234" y="437"/>
                  </a:lnTo>
                  <a:lnTo>
                    <a:pt x="234" y="437"/>
                  </a:lnTo>
                  <a:close/>
                  <a:moveTo>
                    <a:pt x="352" y="470"/>
                  </a:moveTo>
                  <a:lnTo>
                    <a:pt x="345" y="461"/>
                  </a:lnTo>
                  <a:lnTo>
                    <a:pt x="345" y="444"/>
                  </a:lnTo>
                  <a:lnTo>
                    <a:pt x="362" y="453"/>
                  </a:lnTo>
                  <a:lnTo>
                    <a:pt x="352" y="470"/>
                  </a:lnTo>
                  <a:lnTo>
                    <a:pt x="352" y="470"/>
                  </a:lnTo>
                  <a:lnTo>
                    <a:pt x="352" y="470"/>
                  </a:lnTo>
                  <a:close/>
                  <a:moveTo>
                    <a:pt x="314" y="531"/>
                  </a:moveTo>
                  <a:lnTo>
                    <a:pt x="293" y="538"/>
                  </a:lnTo>
                  <a:lnTo>
                    <a:pt x="272" y="498"/>
                  </a:lnTo>
                  <a:lnTo>
                    <a:pt x="260" y="477"/>
                  </a:lnTo>
                  <a:lnTo>
                    <a:pt x="239" y="444"/>
                  </a:lnTo>
                  <a:lnTo>
                    <a:pt x="286" y="444"/>
                  </a:lnTo>
                  <a:lnTo>
                    <a:pt x="324" y="470"/>
                  </a:lnTo>
                  <a:lnTo>
                    <a:pt x="314" y="498"/>
                  </a:lnTo>
                  <a:lnTo>
                    <a:pt x="324" y="510"/>
                  </a:lnTo>
                  <a:lnTo>
                    <a:pt x="314" y="527"/>
                  </a:lnTo>
                  <a:lnTo>
                    <a:pt x="314" y="531"/>
                  </a:lnTo>
                  <a:lnTo>
                    <a:pt x="314" y="531"/>
                  </a:lnTo>
                  <a:lnTo>
                    <a:pt x="314" y="531"/>
                  </a:lnTo>
                  <a:close/>
                  <a:moveTo>
                    <a:pt x="487" y="470"/>
                  </a:moveTo>
                  <a:lnTo>
                    <a:pt x="487" y="453"/>
                  </a:lnTo>
                  <a:lnTo>
                    <a:pt x="492" y="461"/>
                  </a:lnTo>
                  <a:lnTo>
                    <a:pt x="487" y="470"/>
                  </a:lnTo>
                  <a:lnTo>
                    <a:pt x="487" y="470"/>
                  </a:lnTo>
                  <a:lnTo>
                    <a:pt x="487" y="470"/>
                  </a:lnTo>
                  <a:close/>
                  <a:moveTo>
                    <a:pt x="492" y="470"/>
                  </a:moveTo>
                  <a:lnTo>
                    <a:pt x="492" y="461"/>
                  </a:lnTo>
                  <a:lnTo>
                    <a:pt x="503" y="461"/>
                  </a:lnTo>
                  <a:lnTo>
                    <a:pt x="492" y="470"/>
                  </a:lnTo>
                  <a:lnTo>
                    <a:pt x="492" y="470"/>
                  </a:lnTo>
                  <a:lnTo>
                    <a:pt x="492" y="470"/>
                  </a:lnTo>
                  <a:close/>
                  <a:moveTo>
                    <a:pt x="454" y="510"/>
                  </a:moveTo>
                  <a:lnTo>
                    <a:pt x="421" y="477"/>
                  </a:lnTo>
                  <a:lnTo>
                    <a:pt x="433" y="477"/>
                  </a:lnTo>
                  <a:lnTo>
                    <a:pt x="454" y="510"/>
                  </a:lnTo>
                  <a:lnTo>
                    <a:pt x="454" y="510"/>
                  </a:lnTo>
                  <a:lnTo>
                    <a:pt x="454" y="510"/>
                  </a:lnTo>
                  <a:close/>
                  <a:moveTo>
                    <a:pt x="352" y="548"/>
                  </a:moveTo>
                  <a:lnTo>
                    <a:pt x="345" y="531"/>
                  </a:lnTo>
                  <a:lnTo>
                    <a:pt x="352" y="515"/>
                  </a:lnTo>
                  <a:lnTo>
                    <a:pt x="362" y="510"/>
                  </a:lnTo>
                  <a:lnTo>
                    <a:pt x="352" y="548"/>
                  </a:lnTo>
                  <a:lnTo>
                    <a:pt x="352" y="548"/>
                  </a:lnTo>
                  <a:lnTo>
                    <a:pt x="352" y="548"/>
                  </a:lnTo>
                  <a:close/>
                  <a:moveTo>
                    <a:pt x="475" y="531"/>
                  </a:moveTo>
                  <a:lnTo>
                    <a:pt x="470" y="510"/>
                  </a:lnTo>
                  <a:lnTo>
                    <a:pt x="475" y="510"/>
                  </a:lnTo>
                  <a:lnTo>
                    <a:pt x="475" y="531"/>
                  </a:lnTo>
                  <a:lnTo>
                    <a:pt x="475" y="531"/>
                  </a:lnTo>
                  <a:lnTo>
                    <a:pt x="475" y="531"/>
                  </a:lnTo>
                  <a:close/>
                  <a:moveTo>
                    <a:pt x="503" y="581"/>
                  </a:moveTo>
                  <a:lnTo>
                    <a:pt x="459" y="538"/>
                  </a:lnTo>
                  <a:lnTo>
                    <a:pt x="437" y="564"/>
                  </a:lnTo>
                  <a:lnTo>
                    <a:pt x="449" y="538"/>
                  </a:lnTo>
                  <a:lnTo>
                    <a:pt x="437" y="510"/>
                  </a:lnTo>
                  <a:lnTo>
                    <a:pt x="492" y="538"/>
                  </a:lnTo>
                  <a:lnTo>
                    <a:pt x="503" y="555"/>
                  </a:lnTo>
                  <a:lnTo>
                    <a:pt x="503" y="581"/>
                  </a:lnTo>
                  <a:lnTo>
                    <a:pt x="503" y="581"/>
                  </a:lnTo>
                  <a:lnTo>
                    <a:pt x="503" y="581"/>
                  </a:lnTo>
                  <a:close/>
                  <a:moveTo>
                    <a:pt x="617" y="626"/>
                  </a:moveTo>
                  <a:lnTo>
                    <a:pt x="610" y="621"/>
                  </a:lnTo>
                  <a:lnTo>
                    <a:pt x="584" y="621"/>
                  </a:lnTo>
                  <a:lnTo>
                    <a:pt x="563" y="593"/>
                  </a:lnTo>
                  <a:lnTo>
                    <a:pt x="555" y="593"/>
                  </a:lnTo>
                  <a:lnTo>
                    <a:pt x="567" y="572"/>
                  </a:lnTo>
                  <a:lnTo>
                    <a:pt x="525" y="538"/>
                  </a:lnTo>
                  <a:lnTo>
                    <a:pt x="513" y="515"/>
                  </a:lnTo>
                  <a:lnTo>
                    <a:pt x="541" y="515"/>
                  </a:lnTo>
                  <a:lnTo>
                    <a:pt x="579" y="515"/>
                  </a:lnTo>
                  <a:lnTo>
                    <a:pt x="584" y="527"/>
                  </a:lnTo>
                  <a:lnTo>
                    <a:pt x="584" y="531"/>
                  </a:lnTo>
                  <a:lnTo>
                    <a:pt x="600" y="538"/>
                  </a:lnTo>
                  <a:lnTo>
                    <a:pt x="593" y="548"/>
                  </a:lnTo>
                  <a:lnTo>
                    <a:pt x="600" y="548"/>
                  </a:lnTo>
                  <a:lnTo>
                    <a:pt x="593" y="555"/>
                  </a:lnTo>
                  <a:lnTo>
                    <a:pt x="593" y="588"/>
                  </a:lnTo>
                  <a:lnTo>
                    <a:pt x="610" y="605"/>
                  </a:lnTo>
                  <a:lnTo>
                    <a:pt x="600" y="609"/>
                  </a:lnTo>
                  <a:lnTo>
                    <a:pt x="610" y="609"/>
                  </a:lnTo>
                  <a:lnTo>
                    <a:pt x="617" y="626"/>
                  </a:lnTo>
                  <a:lnTo>
                    <a:pt x="617" y="626"/>
                  </a:lnTo>
                  <a:lnTo>
                    <a:pt x="617" y="626"/>
                  </a:lnTo>
                  <a:close/>
                  <a:moveTo>
                    <a:pt x="400" y="538"/>
                  </a:moveTo>
                  <a:lnTo>
                    <a:pt x="383" y="527"/>
                  </a:lnTo>
                  <a:lnTo>
                    <a:pt x="400" y="527"/>
                  </a:lnTo>
                  <a:lnTo>
                    <a:pt x="400" y="538"/>
                  </a:lnTo>
                  <a:lnTo>
                    <a:pt x="400" y="538"/>
                  </a:lnTo>
                  <a:lnTo>
                    <a:pt x="400" y="538"/>
                  </a:lnTo>
                  <a:close/>
                  <a:moveTo>
                    <a:pt x="234" y="555"/>
                  </a:moveTo>
                  <a:lnTo>
                    <a:pt x="218" y="555"/>
                  </a:lnTo>
                  <a:lnTo>
                    <a:pt x="206" y="531"/>
                  </a:lnTo>
                  <a:lnTo>
                    <a:pt x="239" y="548"/>
                  </a:lnTo>
                  <a:lnTo>
                    <a:pt x="239" y="555"/>
                  </a:lnTo>
                  <a:lnTo>
                    <a:pt x="234" y="555"/>
                  </a:lnTo>
                  <a:lnTo>
                    <a:pt x="234" y="555"/>
                  </a:lnTo>
                  <a:lnTo>
                    <a:pt x="234" y="555"/>
                  </a:lnTo>
                  <a:close/>
                  <a:moveTo>
                    <a:pt x="293" y="538"/>
                  </a:moveTo>
                  <a:lnTo>
                    <a:pt x="293" y="548"/>
                  </a:lnTo>
                  <a:lnTo>
                    <a:pt x="286" y="538"/>
                  </a:lnTo>
                  <a:lnTo>
                    <a:pt x="293" y="538"/>
                  </a:lnTo>
                  <a:lnTo>
                    <a:pt x="293" y="538"/>
                  </a:lnTo>
                  <a:lnTo>
                    <a:pt x="293" y="538"/>
                  </a:lnTo>
                  <a:close/>
                  <a:moveTo>
                    <a:pt x="206" y="581"/>
                  </a:moveTo>
                  <a:lnTo>
                    <a:pt x="206" y="555"/>
                  </a:lnTo>
                  <a:lnTo>
                    <a:pt x="222" y="564"/>
                  </a:lnTo>
                  <a:lnTo>
                    <a:pt x="206" y="581"/>
                  </a:lnTo>
                  <a:lnTo>
                    <a:pt x="206" y="581"/>
                  </a:lnTo>
                  <a:lnTo>
                    <a:pt x="206" y="581"/>
                  </a:lnTo>
                  <a:close/>
                  <a:moveTo>
                    <a:pt x="433" y="609"/>
                  </a:moveTo>
                  <a:lnTo>
                    <a:pt x="433" y="621"/>
                  </a:lnTo>
                  <a:lnTo>
                    <a:pt x="407" y="638"/>
                  </a:lnTo>
                  <a:lnTo>
                    <a:pt x="407" y="642"/>
                  </a:lnTo>
                  <a:lnTo>
                    <a:pt x="369" y="659"/>
                  </a:lnTo>
                  <a:lnTo>
                    <a:pt x="352" y="675"/>
                  </a:lnTo>
                  <a:lnTo>
                    <a:pt x="345" y="666"/>
                  </a:lnTo>
                  <a:lnTo>
                    <a:pt x="362" y="581"/>
                  </a:lnTo>
                  <a:lnTo>
                    <a:pt x="362" y="572"/>
                  </a:lnTo>
                  <a:lnTo>
                    <a:pt x="345" y="572"/>
                  </a:lnTo>
                  <a:lnTo>
                    <a:pt x="345" y="564"/>
                  </a:lnTo>
                  <a:lnTo>
                    <a:pt x="369" y="572"/>
                  </a:lnTo>
                  <a:lnTo>
                    <a:pt x="395" y="588"/>
                  </a:lnTo>
                  <a:lnTo>
                    <a:pt x="416" y="588"/>
                  </a:lnTo>
                  <a:lnTo>
                    <a:pt x="416" y="593"/>
                  </a:lnTo>
                  <a:lnTo>
                    <a:pt x="437" y="588"/>
                  </a:lnTo>
                  <a:lnTo>
                    <a:pt x="433" y="609"/>
                  </a:lnTo>
                  <a:lnTo>
                    <a:pt x="433" y="609"/>
                  </a:lnTo>
                  <a:lnTo>
                    <a:pt x="433" y="609"/>
                  </a:lnTo>
                  <a:close/>
                  <a:moveTo>
                    <a:pt x="529" y="593"/>
                  </a:moveTo>
                  <a:lnTo>
                    <a:pt x="513" y="581"/>
                  </a:lnTo>
                  <a:lnTo>
                    <a:pt x="529" y="581"/>
                  </a:lnTo>
                  <a:lnTo>
                    <a:pt x="541" y="588"/>
                  </a:lnTo>
                  <a:lnTo>
                    <a:pt x="529" y="593"/>
                  </a:lnTo>
                  <a:lnTo>
                    <a:pt x="529" y="593"/>
                  </a:lnTo>
                  <a:lnTo>
                    <a:pt x="529" y="593"/>
                  </a:lnTo>
                  <a:close/>
                  <a:moveTo>
                    <a:pt x="546" y="659"/>
                  </a:moveTo>
                  <a:lnTo>
                    <a:pt x="555" y="649"/>
                  </a:lnTo>
                  <a:lnTo>
                    <a:pt x="541" y="638"/>
                  </a:lnTo>
                  <a:lnTo>
                    <a:pt x="529" y="626"/>
                  </a:lnTo>
                  <a:lnTo>
                    <a:pt x="529" y="638"/>
                  </a:lnTo>
                  <a:lnTo>
                    <a:pt x="525" y="638"/>
                  </a:lnTo>
                  <a:lnTo>
                    <a:pt x="513" y="588"/>
                  </a:lnTo>
                  <a:lnTo>
                    <a:pt x="541" y="605"/>
                  </a:lnTo>
                  <a:lnTo>
                    <a:pt x="555" y="593"/>
                  </a:lnTo>
                  <a:lnTo>
                    <a:pt x="563" y="605"/>
                  </a:lnTo>
                  <a:lnTo>
                    <a:pt x="563" y="649"/>
                  </a:lnTo>
                  <a:lnTo>
                    <a:pt x="584" y="683"/>
                  </a:lnTo>
                  <a:lnTo>
                    <a:pt x="567" y="692"/>
                  </a:lnTo>
                  <a:lnTo>
                    <a:pt x="563" y="675"/>
                  </a:lnTo>
                  <a:lnTo>
                    <a:pt x="567" y="699"/>
                  </a:lnTo>
                  <a:lnTo>
                    <a:pt x="546" y="692"/>
                  </a:lnTo>
                  <a:lnTo>
                    <a:pt x="546" y="659"/>
                  </a:lnTo>
                  <a:lnTo>
                    <a:pt x="546" y="659"/>
                  </a:lnTo>
                  <a:lnTo>
                    <a:pt x="546" y="659"/>
                  </a:lnTo>
                  <a:close/>
                  <a:moveTo>
                    <a:pt x="201" y="605"/>
                  </a:moveTo>
                  <a:lnTo>
                    <a:pt x="189" y="593"/>
                  </a:lnTo>
                  <a:lnTo>
                    <a:pt x="206" y="593"/>
                  </a:lnTo>
                  <a:lnTo>
                    <a:pt x="201" y="605"/>
                  </a:lnTo>
                  <a:lnTo>
                    <a:pt x="201" y="605"/>
                  </a:lnTo>
                  <a:lnTo>
                    <a:pt x="201" y="605"/>
                  </a:lnTo>
                  <a:close/>
                  <a:moveTo>
                    <a:pt x="189" y="666"/>
                  </a:moveTo>
                  <a:lnTo>
                    <a:pt x="168" y="683"/>
                  </a:lnTo>
                  <a:lnTo>
                    <a:pt x="163" y="699"/>
                  </a:lnTo>
                  <a:lnTo>
                    <a:pt x="130" y="704"/>
                  </a:lnTo>
                  <a:lnTo>
                    <a:pt x="126" y="720"/>
                  </a:lnTo>
                  <a:lnTo>
                    <a:pt x="130" y="732"/>
                  </a:lnTo>
                  <a:lnTo>
                    <a:pt x="100" y="758"/>
                  </a:lnTo>
                  <a:lnTo>
                    <a:pt x="83" y="758"/>
                  </a:lnTo>
                  <a:lnTo>
                    <a:pt x="76" y="786"/>
                  </a:lnTo>
                  <a:lnTo>
                    <a:pt x="17" y="827"/>
                  </a:lnTo>
                  <a:lnTo>
                    <a:pt x="24" y="803"/>
                  </a:lnTo>
                  <a:lnTo>
                    <a:pt x="55" y="770"/>
                  </a:lnTo>
                  <a:lnTo>
                    <a:pt x="71" y="753"/>
                  </a:lnTo>
                  <a:lnTo>
                    <a:pt x="76" y="753"/>
                  </a:lnTo>
                  <a:lnTo>
                    <a:pt x="130" y="692"/>
                  </a:lnTo>
                  <a:lnTo>
                    <a:pt x="130" y="699"/>
                  </a:lnTo>
                  <a:lnTo>
                    <a:pt x="130" y="692"/>
                  </a:lnTo>
                  <a:lnTo>
                    <a:pt x="137" y="692"/>
                  </a:lnTo>
                  <a:lnTo>
                    <a:pt x="147" y="666"/>
                  </a:lnTo>
                  <a:lnTo>
                    <a:pt x="151" y="675"/>
                  </a:lnTo>
                  <a:lnTo>
                    <a:pt x="168" y="659"/>
                  </a:lnTo>
                  <a:lnTo>
                    <a:pt x="168" y="649"/>
                  </a:lnTo>
                  <a:lnTo>
                    <a:pt x="163" y="638"/>
                  </a:lnTo>
                  <a:lnTo>
                    <a:pt x="180" y="649"/>
                  </a:lnTo>
                  <a:lnTo>
                    <a:pt x="168" y="626"/>
                  </a:lnTo>
                  <a:lnTo>
                    <a:pt x="168" y="621"/>
                  </a:lnTo>
                  <a:lnTo>
                    <a:pt x="180" y="626"/>
                  </a:lnTo>
                  <a:lnTo>
                    <a:pt x="180" y="593"/>
                  </a:lnTo>
                  <a:lnTo>
                    <a:pt x="185" y="609"/>
                  </a:lnTo>
                  <a:lnTo>
                    <a:pt x="180" y="638"/>
                  </a:lnTo>
                  <a:lnTo>
                    <a:pt x="185" y="642"/>
                  </a:lnTo>
                  <a:lnTo>
                    <a:pt x="189" y="666"/>
                  </a:lnTo>
                  <a:lnTo>
                    <a:pt x="189" y="666"/>
                  </a:lnTo>
                  <a:lnTo>
                    <a:pt x="189" y="666"/>
                  </a:lnTo>
                  <a:close/>
                  <a:moveTo>
                    <a:pt x="475" y="621"/>
                  </a:moveTo>
                  <a:lnTo>
                    <a:pt x="475" y="605"/>
                  </a:lnTo>
                  <a:lnTo>
                    <a:pt x="475" y="621"/>
                  </a:lnTo>
                  <a:lnTo>
                    <a:pt x="475" y="621"/>
                  </a:lnTo>
                  <a:lnTo>
                    <a:pt x="475" y="621"/>
                  </a:lnTo>
                  <a:close/>
                  <a:moveTo>
                    <a:pt x="454" y="699"/>
                  </a:moveTo>
                  <a:lnTo>
                    <a:pt x="475" y="666"/>
                  </a:lnTo>
                  <a:lnTo>
                    <a:pt x="492" y="621"/>
                  </a:lnTo>
                  <a:lnTo>
                    <a:pt x="503" y="609"/>
                  </a:lnTo>
                  <a:lnTo>
                    <a:pt x="503" y="675"/>
                  </a:lnTo>
                  <a:lnTo>
                    <a:pt x="470" y="699"/>
                  </a:lnTo>
                  <a:lnTo>
                    <a:pt x="459" y="732"/>
                  </a:lnTo>
                  <a:lnTo>
                    <a:pt x="449" y="749"/>
                  </a:lnTo>
                  <a:lnTo>
                    <a:pt x="454" y="699"/>
                  </a:lnTo>
                  <a:lnTo>
                    <a:pt x="454" y="699"/>
                  </a:lnTo>
                  <a:lnTo>
                    <a:pt x="454" y="699"/>
                  </a:lnTo>
                  <a:close/>
                  <a:moveTo>
                    <a:pt x="449" y="675"/>
                  </a:moveTo>
                  <a:lnTo>
                    <a:pt x="433" y="732"/>
                  </a:lnTo>
                  <a:lnTo>
                    <a:pt x="449" y="753"/>
                  </a:lnTo>
                  <a:lnTo>
                    <a:pt x="437" y="770"/>
                  </a:lnTo>
                  <a:lnTo>
                    <a:pt x="421" y="770"/>
                  </a:lnTo>
                  <a:lnTo>
                    <a:pt x="416" y="753"/>
                  </a:lnTo>
                  <a:lnTo>
                    <a:pt x="395" y="737"/>
                  </a:lnTo>
                  <a:lnTo>
                    <a:pt x="383" y="716"/>
                  </a:lnTo>
                  <a:lnTo>
                    <a:pt x="383" y="704"/>
                  </a:lnTo>
                  <a:lnTo>
                    <a:pt x="400" y="704"/>
                  </a:lnTo>
                  <a:lnTo>
                    <a:pt x="416" y="699"/>
                  </a:lnTo>
                  <a:lnTo>
                    <a:pt x="416" y="659"/>
                  </a:lnTo>
                  <a:lnTo>
                    <a:pt x="421" y="649"/>
                  </a:lnTo>
                  <a:lnTo>
                    <a:pt x="421" y="638"/>
                  </a:lnTo>
                  <a:lnTo>
                    <a:pt x="437" y="626"/>
                  </a:lnTo>
                  <a:lnTo>
                    <a:pt x="459" y="638"/>
                  </a:lnTo>
                  <a:lnTo>
                    <a:pt x="459" y="642"/>
                  </a:lnTo>
                  <a:lnTo>
                    <a:pt x="449" y="675"/>
                  </a:lnTo>
                  <a:lnTo>
                    <a:pt x="449" y="675"/>
                  </a:lnTo>
                  <a:lnTo>
                    <a:pt x="449" y="675"/>
                  </a:lnTo>
                  <a:close/>
                  <a:moveTo>
                    <a:pt x="617" y="649"/>
                  </a:moveTo>
                  <a:lnTo>
                    <a:pt x="610" y="642"/>
                  </a:lnTo>
                  <a:lnTo>
                    <a:pt x="617" y="642"/>
                  </a:lnTo>
                  <a:lnTo>
                    <a:pt x="622" y="649"/>
                  </a:lnTo>
                  <a:lnTo>
                    <a:pt x="617" y="649"/>
                  </a:lnTo>
                  <a:lnTo>
                    <a:pt x="617" y="649"/>
                  </a:lnTo>
                  <a:lnTo>
                    <a:pt x="617" y="649"/>
                  </a:lnTo>
                  <a:close/>
                  <a:moveTo>
                    <a:pt x="395" y="675"/>
                  </a:moveTo>
                  <a:lnTo>
                    <a:pt x="383" y="666"/>
                  </a:lnTo>
                  <a:lnTo>
                    <a:pt x="400" y="649"/>
                  </a:lnTo>
                  <a:lnTo>
                    <a:pt x="407" y="659"/>
                  </a:lnTo>
                  <a:lnTo>
                    <a:pt x="395" y="675"/>
                  </a:lnTo>
                  <a:lnTo>
                    <a:pt x="395" y="675"/>
                  </a:lnTo>
                  <a:lnTo>
                    <a:pt x="395" y="675"/>
                  </a:lnTo>
                  <a:close/>
                  <a:moveTo>
                    <a:pt x="525" y="659"/>
                  </a:moveTo>
                  <a:lnTo>
                    <a:pt x="525" y="649"/>
                  </a:lnTo>
                  <a:lnTo>
                    <a:pt x="529" y="649"/>
                  </a:lnTo>
                  <a:lnTo>
                    <a:pt x="525" y="659"/>
                  </a:lnTo>
                  <a:lnTo>
                    <a:pt x="525" y="659"/>
                  </a:lnTo>
                  <a:lnTo>
                    <a:pt x="525" y="659"/>
                  </a:lnTo>
                  <a:close/>
                  <a:moveTo>
                    <a:pt x="513" y="659"/>
                  </a:moveTo>
                  <a:lnTo>
                    <a:pt x="513" y="649"/>
                  </a:lnTo>
                  <a:lnTo>
                    <a:pt x="525" y="659"/>
                  </a:lnTo>
                  <a:lnTo>
                    <a:pt x="513" y="659"/>
                  </a:lnTo>
                  <a:lnTo>
                    <a:pt x="513" y="659"/>
                  </a:lnTo>
                  <a:lnTo>
                    <a:pt x="513" y="659"/>
                  </a:lnTo>
                  <a:close/>
                  <a:moveTo>
                    <a:pt x="201" y="666"/>
                  </a:moveTo>
                  <a:lnTo>
                    <a:pt x="201" y="659"/>
                  </a:lnTo>
                  <a:lnTo>
                    <a:pt x="218" y="659"/>
                  </a:lnTo>
                  <a:lnTo>
                    <a:pt x="201" y="666"/>
                  </a:lnTo>
                  <a:lnTo>
                    <a:pt x="201" y="666"/>
                  </a:lnTo>
                  <a:lnTo>
                    <a:pt x="201" y="666"/>
                  </a:lnTo>
                  <a:close/>
                  <a:moveTo>
                    <a:pt x="610" y="716"/>
                  </a:moveTo>
                  <a:lnTo>
                    <a:pt x="610" y="704"/>
                  </a:lnTo>
                  <a:lnTo>
                    <a:pt x="600" y="692"/>
                  </a:lnTo>
                  <a:lnTo>
                    <a:pt x="610" y="666"/>
                  </a:lnTo>
                  <a:lnTo>
                    <a:pt x="617" y="704"/>
                  </a:lnTo>
                  <a:lnTo>
                    <a:pt x="610" y="716"/>
                  </a:lnTo>
                  <a:lnTo>
                    <a:pt x="610" y="716"/>
                  </a:lnTo>
                  <a:lnTo>
                    <a:pt x="610" y="716"/>
                  </a:lnTo>
                  <a:close/>
                  <a:moveTo>
                    <a:pt x="529" y="699"/>
                  </a:moveTo>
                  <a:lnTo>
                    <a:pt x="529" y="716"/>
                  </a:lnTo>
                  <a:lnTo>
                    <a:pt x="541" y="720"/>
                  </a:lnTo>
                  <a:lnTo>
                    <a:pt x="525" y="732"/>
                  </a:lnTo>
                  <a:lnTo>
                    <a:pt x="492" y="732"/>
                  </a:lnTo>
                  <a:lnTo>
                    <a:pt x="475" y="720"/>
                  </a:lnTo>
                  <a:lnTo>
                    <a:pt x="475" y="716"/>
                  </a:lnTo>
                  <a:lnTo>
                    <a:pt x="508" y="692"/>
                  </a:lnTo>
                  <a:lnTo>
                    <a:pt x="529" y="699"/>
                  </a:lnTo>
                  <a:lnTo>
                    <a:pt x="529" y="699"/>
                  </a:lnTo>
                  <a:lnTo>
                    <a:pt x="529" y="699"/>
                  </a:lnTo>
                  <a:close/>
                  <a:moveTo>
                    <a:pt x="584" y="704"/>
                  </a:moveTo>
                  <a:lnTo>
                    <a:pt x="579" y="692"/>
                  </a:lnTo>
                  <a:lnTo>
                    <a:pt x="584" y="704"/>
                  </a:lnTo>
                  <a:lnTo>
                    <a:pt x="584" y="704"/>
                  </a:lnTo>
                  <a:lnTo>
                    <a:pt x="584" y="704"/>
                  </a:lnTo>
                  <a:close/>
                  <a:moveTo>
                    <a:pt x="638" y="720"/>
                  </a:moveTo>
                  <a:lnTo>
                    <a:pt x="631" y="716"/>
                  </a:lnTo>
                  <a:lnTo>
                    <a:pt x="638" y="699"/>
                  </a:lnTo>
                  <a:lnTo>
                    <a:pt x="648" y="716"/>
                  </a:lnTo>
                  <a:lnTo>
                    <a:pt x="638" y="720"/>
                  </a:lnTo>
                  <a:lnTo>
                    <a:pt x="638" y="720"/>
                  </a:lnTo>
                  <a:lnTo>
                    <a:pt x="638" y="720"/>
                  </a:lnTo>
                  <a:close/>
                  <a:moveTo>
                    <a:pt x="454" y="898"/>
                  </a:moveTo>
                  <a:lnTo>
                    <a:pt x="449" y="881"/>
                  </a:lnTo>
                  <a:lnTo>
                    <a:pt x="437" y="886"/>
                  </a:lnTo>
                  <a:lnTo>
                    <a:pt x="433" y="881"/>
                  </a:lnTo>
                  <a:lnTo>
                    <a:pt x="437" y="881"/>
                  </a:lnTo>
                  <a:lnTo>
                    <a:pt x="433" y="864"/>
                  </a:lnTo>
                  <a:lnTo>
                    <a:pt x="421" y="886"/>
                  </a:lnTo>
                  <a:lnTo>
                    <a:pt x="407" y="886"/>
                  </a:lnTo>
                  <a:lnTo>
                    <a:pt x="416" y="864"/>
                  </a:lnTo>
                  <a:lnTo>
                    <a:pt x="400" y="864"/>
                  </a:lnTo>
                  <a:lnTo>
                    <a:pt x="378" y="886"/>
                  </a:lnTo>
                  <a:lnTo>
                    <a:pt x="383" y="886"/>
                  </a:lnTo>
                  <a:lnTo>
                    <a:pt x="378" y="898"/>
                  </a:lnTo>
                  <a:lnTo>
                    <a:pt x="362" y="926"/>
                  </a:lnTo>
                  <a:lnTo>
                    <a:pt x="352" y="921"/>
                  </a:lnTo>
                  <a:lnTo>
                    <a:pt x="345" y="914"/>
                  </a:lnTo>
                  <a:lnTo>
                    <a:pt x="369" y="848"/>
                  </a:lnTo>
                  <a:lnTo>
                    <a:pt x="421" y="831"/>
                  </a:lnTo>
                  <a:lnTo>
                    <a:pt x="421" y="810"/>
                  </a:lnTo>
                  <a:lnTo>
                    <a:pt x="449" y="810"/>
                  </a:lnTo>
                  <a:lnTo>
                    <a:pt x="454" y="794"/>
                  </a:lnTo>
                  <a:lnTo>
                    <a:pt x="475" y="803"/>
                  </a:lnTo>
                  <a:lnTo>
                    <a:pt x="487" y="810"/>
                  </a:lnTo>
                  <a:lnTo>
                    <a:pt x="487" y="831"/>
                  </a:lnTo>
                  <a:lnTo>
                    <a:pt x="470" y="848"/>
                  </a:lnTo>
                  <a:lnTo>
                    <a:pt x="492" y="831"/>
                  </a:lnTo>
                  <a:lnTo>
                    <a:pt x="508" y="831"/>
                  </a:lnTo>
                  <a:lnTo>
                    <a:pt x="513" y="815"/>
                  </a:lnTo>
                  <a:lnTo>
                    <a:pt x="525" y="803"/>
                  </a:lnTo>
                  <a:lnTo>
                    <a:pt x="546" y="810"/>
                  </a:lnTo>
                  <a:lnTo>
                    <a:pt x="555" y="777"/>
                  </a:lnTo>
                  <a:lnTo>
                    <a:pt x="567" y="786"/>
                  </a:lnTo>
                  <a:lnTo>
                    <a:pt x="584" y="777"/>
                  </a:lnTo>
                  <a:lnTo>
                    <a:pt x="600" y="777"/>
                  </a:lnTo>
                  <a:lnTo>
                    <a:pt x="593" y="732"/>
                  </a:lnTo>
                  <a:lnTo>
                    <a:pt x="593" y="716"/>
                  </a:lnTo>
                  <a:lnTo>
                    <a:pt x="610" y="732"/>
                  </a:lnTo>
                  <a:lnTo>
                    <a:pt x="631" y="737"/>
                  </a:lnTo>
                  <a:lnTo>
                    <a:pt x="638" y="753"/>
                  </a:lnTo>
                  <a:lnTo>
                    <a:pt x="648" y="753"/>
                  </a:lnTo>
                  <a:lnTo>
                    <a:pt x="648" y="770"/>
                  </a:lnTo>
                  <a:lnTo>
                    <a:pt x="664" y="786"/>
                  </a:lnTo>
                  <a:lnTo>
                    <a:pt x="638" y="803"/>
                  </a:lnTo>
                  <a:lnTo>
                    <a:pt x="648" y="810"/>
                  </a:lnTo>
                  <a:lnTo>
                    <a:pt x="664" y="810"/>
                  </a:lnTo>
                  <a:lnTo>
                    <a:pt x="655" y="831"/>
                  </a:lnTo>
                  <a:lnTo>
                    <a:pt x="669" y="831"/>
                  </a:lnTo>
                  <a:lnTo>
                    <a:pt x="664" y="860"/>
                  </a:lnTo>
                  <a:lnTo>
                    <a:pt x="669" y="869"/>
                  </a:lnTo>
                  <a:lnTo>
                    <a:pt x="676" y="898"/>
                  </a:lnTo>
                  <a:lnTo>
                    <a:pt x="655" y="926"/>
                  </a:lnTo>
                  <a:lnTo>
                    <a:pt x="664" y="938"/>
                  </a:lnTo>
                  <a:lnTo>
                    <a:pt x="655" y="926"/>
                  </a:lnTo>
                  <a:lnTo>
                    <a:pt x="648" y="926"/>
                  </a:lnTo>
                  <a:lnTo>
                    <a:pt x="655" y="938"/>
                  </a:lnTo>
                  <a:lnTo>
                    <a:pt x="648" y="975"/>
                  </a:lnTo>
                  <a:lnTo>
                    <a:pt x="638" y="926"/>
                  </a:lnTo>
                  <a:lnTo>
                    <a:pt x="622" y="914"/>
                  </a:lnTo>
                  <a:lnTo>
                    <a:pt x="622" y="898"/>
                  </a:lnTo>
                  <a:lnTo>
                    <a:pt x="610" y="902"/>
                  </a:lnTo>
                  <a:lnTo>
                    <a:pt x="610" y="914"/>
                  </a:lnTo>
                  <a:lnTo>
                    <a:pt x="600" y="921"/>
                  </a:lnTo>
                  <a:lnTo>
                    <a:pt x="593" y="938"/>
                  </a:lnTo>
                  <a:lnTo>
                    <a:pt x="593" y="954"/>
                  </a:lnTo>
                  <a:lnTo>
                    <a:pt x="610" y="959"/>
                  </a:lnTo>
                  <a:lnTo>
                    <a:pt x="617" y="992"/>
                  </a:lnTo>
                  <a:lnTo>
                    <a:pt x="593" y="1025"/>
                  </a:lnTo>
                  <a:lnTo>
                    <a:pt x="584" y="1025"/>
                  </a:lnTo>
                  <a:lnTo>
                    <a:pt x="579" y="1009"/>
                  </a:lnTo>
                  <a:lnTo>
                    <a:pt x="584" y="980"/>
                  </a:lnTo>
                  <a:lnTo>
                    <a:pt x="579" y="980"/>
                  </a:lnTo>
                  <a:lnTo>
                    <a:pt x="567" y="997"/>
                  </a:lnTo>
                  <a:lnTo>
                    <a:pt x="563" y="997"/>
                  </a:lnTo>
                  <a:lnTo>
                    <a:pt x="513" y="980"/>
                  </a:lnTo>
                  <a:lnTo>
                    <a:pt x="503" y="971"/>
                  </a:lnTo>
                  <a:lnTo>
                    <a:pt x="492" y="926"/>
                  </a:lnTo>
                  <a:lnTo>
                    <a:pt x="513" y="886"/>
                  </a:lnTo>
                  <a:lnTo>
                    <a:pt x="492" y="869"/>
                  </a:lnTo>
                  <a:lnTo>
                    <a:pt x="459" y="860"/>
                  </a:lnTo>
                  <a:lnTo>
                    <a:pt x="454" y="860"/>
                  </a:lnTo>
                  <a:lnTo>
                    <a:pt x="454" y="869"/>
                  </a:lnTo>
                  <a:lnTo>
                    <a:pt x="449" y="881"/>
                  </a:lnTo>
                  <a:lnTo>
                    <a:pt x="454" y="886"/>
                  </a:lnTo>
                  <a:lnTo>
                    <a:pt x="454" y="898"/>
                  </a:lnTo>
                  <a:lnTo>
                    <a:pt x="454" y="898"/>
                  </a:lnTo>
                  <a:lnTo>
                    <a:pt x="454" y="898"/>
                  </a:lnTo>
                  <a:close/>
                  <a:moveTo>
                    <a:pt x="470" y="770"/>
                  </a:moveTo>
                  <a:lnTo>
                    <a:pt x="454" y="758"/>
                  </a:lnTo>
                  <a:lnTo>
                    <a:pt x="470" y="753"/>
                  </a:lnTo>
                  <a:lnTo>
                    <a:pt x="475" y="758"/>
                  </a:lnTo>
                  <a:lnTo>
                    <a:pt x="470" y="770"/>
                  </a:lnTo>
                  <a:lnTo>
                    <a:pt x="470" y="770"/>
                  </a:lnTo>
                  <a:lnTo>
                    <a:pt x="470" y="770"/>
                  </a:lnTo>
                  <a:close/>
                  <a:moveTo>
                    <a:pt x="546" y="770"/>
                  </a:moveTo>
                  <a:lnTo>
                    <a:pt x="541" y="758"/>
                  </a:lnTo>
                  <a:lnTo>
                    <a:pt x="541" y="753"/>
                  </a:lnTo>
                  <a:lnTo>
                    <a:pt x="546" y="758"/>
                  </a:lnTo>
                  <a:lnTo>
                    <a:pt x="546" y="770"/>
                  </a:lnTo>
                  <a:lnTo>
                    <a:pt x="546" y="770"/>
                  </a:lnTo>
                  <a:lnTo>
                    <a:pt x="546" y="770"/>
                  </a:lnTo>
                  <a:close/>
                  <a:moveTo>
                    <a:pt x="7" y="864"/>
                  </a:moveTo>
                  <a:lnTo>
                    <a:pt x="0" y="843"/>
                  </a:lnTo>
                  <a:lnTo>
                    <a:pt x="7" y="843"/>
                  </a:lnTo>
                  <a:lnTo>
                    <a:pt x="17" y="860"/>
                  </a:lnTo>
                  <a:lnTo>
                    <a:pt x="7" y="864"/>
                  </a:lnTo>
                  <a:lnTo>
                    <a:pt x="7" y="864"/>
                  </a:lnTo>
                  <a:lnTo>
                    <a:pt x="7" y="864"/>
                  </a:lnTo>
                  <a:close/>
                  <a:moveTo>
                    <a:pt x="416" y="898"/>
                  </a:moveTo>
                  <a:lnTo>
                    <a:pt x="407" y="886"/>
                  </a:lnTo>
                  <a:lnTo>
                    <a:pt x="421" y="886"/>
                  </a:lnTo>
                  <a:lnTo>
                    <a:pt x="421" y="898"/>
                  </a:lnTo>
                  <a:lnTo>
                    <a:pt x="416" y="898"/>
                  </a:lnTo>
                  <a:lnTo>
                    <a:pt x="416" y="898"/>
                  </a:lnTo>
                  <a:lnTo>
                    <a:pt x="416" y="898"/>
                  </a:lnTo>
                  <a:close/>
                  <a:moveTo>
                    <a:pt x="617" y="926"/>
                  </a:moveTo>
                  <a:lnTo>
                    <a:pt x="610" y="914"/>
                  </a:lnTo>
                  <a:lnTo>
                    <a:pt x="617" y="902"/>
                  </a:lnTo>
                  <a:lnTo>
                    <a:pt x="622" y="914"/>
                  </a:lnTo>
                  <a:lnTo>
                    <a:pt x="617" y="926"/>
                  </a:lnTo>
                  <a:lnTo>
                    <a:pt x="617" y="926"/>
                  </a:lnTo>
                  <a:lnTo>
                    <a:pt x="617" y="926"/>
                  </a:lnTo>
                  <a:close/>
                  <a:moveTo>
                    <a:pt x="114" y="921"/>
                  </a:moveTo>
                  <a:lnTo>
                    <a:pt x="109" y="921"/>
                  </a:lnTo>
                  <a:lnTo>
                    <a:pt x="114" y="914"/>
                  </a:lnTo>
                  <a:lnTo>
                    <a:pt x="114" y="921"/>
                  </a:lnTo>
                  <a:lnTo>
                    <a:pt x="114" y="921"/>
                  </a:lnTo>
                  <a:lnTo>
                    <a:pt x="114" y="921"/>
                  </a:lnTo>
                  <a:close/>
                  <a:moveTo>
                    <a:pt x="352" y="959"/>
                  </a:moveTo>
                  <a:lnTo>
                    <a:pt x="340" y="942"/>
                  </a:lnTo>
                  <a:lnTo>
                    <a:pt x="362" y="938"/>
                  </a:lnTo>
                  <a:lnTo>
                    <a:pt x="369" y="954"/>
                  </a:lnTo>
                  <a:lnTo>
                    <a:pt x="369" y="959"/>
                  </a:lnTo>
                  <a:lnTo>
                    <a:pt x="352" y="959"/>
                  </a:lnTo>
                  <a:lnTo>
                    <a:pt x="352" y="959"/>
                  </a:lnTo>
                  <a:lnTo>
                    <a:pt x="352" y="959"/>
                  </a:lnTo>
                  <a:close/>
                  <a:moveTo>
                    <a:pt x="255" y="975"/>
                  </a:moveTo>
                  <a:lnTo>
                    <a:pt x="244" y="975"/>
                  </a:lnTo>
                  <a:lnTo>
                    <a:pt x="255" y="959"/>
                  </a:lnTo>
                  <a:lnTo>
                    <a:pt x="255" y="975"/>
                  </a:lnTo>
                  <a:lnTo>
                    <a:pt x="255" y="975"/>
                  </a:lnTo>
                  <a:lnTo>
                    <a:pt x="255" y="975"/>
                  </a:lnTo>
                  <a:close/>
                  <a:moveTo>
                    <a:pt x="345" y="992"/>
                  </a:moveTo>
                  <a:lnTo>
                    <a:pt x="340" y="980"/>
                  </a:lnTo>
                  <a:lnTo>
                    <a:pt x="352" y="992"/>
                  </a:lnTo>
                  <a:lnTo>
                    <a:pt x="345" y="992"/>
                  </a:lnTo>
                  <a:lnTo>
                    <a:pt x="345" y="992"/>
                  </a:lnTo>
                  <a:lnTo>
                    <a:pt x="345" y="992"/>
                  </a:lnTo>
                  <a:close/>
                  <a:moveTo>
                    <a:pt x="310" y="997"/>
                  </a:moveTo>
                  <a:lnTo>
                    <a:pt x="298" y="997"/>
                  </a:lnTo>
                  <a:lnTo>
                    <a:pt x="277" y="997"/>
                  </a:lnTo>
                  <a:lnTo>
                    <a:pt x="277" y="992"/>
                  </a:lnTo>
                  <a:lnTo>
                    <a:pt x="293" y="980"/>
                  </a:lnTo>
                  <a:lnTo>
                    <a:pt x="314" y="992"/>
                  </a:lnTo>
                  <a:lnTo>
                    <a:pt x="310" y="997"/>
                  </a:lnTo>
                  <a:lnTo>
                    <a:pt x="310" y="997"/>
                  </a:lnTo>
                  <a:lnTo>
                    <a:pt x="310" y="997"/>
                  </a:lnTo>
                  <a:close/>
                  <a:moveTo>
                    <a:pt x="277" y="1030"/>
                  </a:moveTo>
                  <a:lnTo>
                    <a:pt x="277" y="1025"/>
                  </a:lnTo>
                  <a:lnTo>
                    <a:pt x="277" y="1030"/>
                  </a:lnTo>
                  <a:lnTo>
                    <a:pt x="277" y="1030"/>
                  </a:lnTo>
                  <a:lnTo>
                    <a:pt x="277" y="1030"/>
                  </a:lnTo>
                  <a:close/>
                  <a:moveTo>
                    <a:pt x="206" y="1065"/>
                  </a:moveTo>
                  <a:lnTo>
                    <a:pt x="201" y="1053"/>
                  </a:lnTo>
                  <a:lnTo>
                    <a:pt x="234" y="1037"/>
                  </a:lnTo>
                  <a:lnTo>
                    <a:pt x="234" y="1053"/>
                  </a:lnTo>
                  <a:lnTo>
                    <a:pt x="218" y="1046"/>
                  </a:lnTo>
                  <a:lnTo>
                    <a:pt x="206" y="1065"/>
                  </a:lnTo>
                  <a:lnTo>
                    <a:pt x="206" y="1065"/>
                  </a:lnTo>
                  <a:lnTo>
                    <a:pt x="206" y="106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85" name="Freeform 555">
              <a:extLst>
                <a:ext uri="{FF2B5EF4-FFF2-40B4-BE49-F238E27FC236}">
                  <a16:creationId xmlns:a16="http://schemas.microsoft.com/office/drawing/2014/main" id="{CE4DC7E8-AC96-4B1A-9474-7E3FBFD6A300}"/>
                </a:ext>
              </a:extLst>
            </p:cNvPr>
            <p:cNvSpPr>
              <a:spLocks/>
            </p:cNvSpPr>
            <p:nvPr/>
          </p:nvSpPr>
          <p:spPr bwMode="gray">
            <a:xfrm>
              <a:off x="9717431" y="4024713"/>
              <a:ext cx="9880" cy="2059"/>
            </a:xfrm>
            <a:custGeom>
              <a:avLst/>
              <a:gdLst>
                <a:gd name="T0" fmla="*/ 24 w 24"/>
                <a:gd name="T1" fmla="*/ 0 h 5"/>
                <a:gd name="T2" fmla="*/ 16 w 24"/>
                <a:gd name="T3" fmla="*/ 5 h 5"/>
                <a:gd name="T4" fmla="*/ 0 w 24"/>
                <a:gd name="T5" fmla="*/ 5 h 5"/>
                <a:gd name="T6" fmla="*/ 7 w 24"/>
                <a:gd name="T7" fmla="*/ 0 h 5"/>
                <a:gd name="T8" fmla="*/ 24 w 24"/>
                <a:gd name="T9" fmla="*/ 0 h 5"/>
                <a:gd name="T10" fmla="*/ 24 w 24"/>
                <a:gd name="T11" fmla="*/ 0 h 5"/>
                <a:gd name="T12" fmla="*/ 24 w 2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4" h="5">
                  <a:moveTo>
                    <a:pt x="24" y="0"/>
                  </a:moveTo>
                  <a:lnTo>
                    <a:pt x="16" y="5"/>
                  </a:lnTo>
                  <a:lnTo>
                    <a:pt x="0" y="5"/>
                  </a:lnTo>
                  <a:lnTo>
                    <a:pt x="7" y="0"/>
                  </a:lnTo>
                  <a:lnTo>
                    <a:pt x="24" y="0"/>
                  </a:lnTo>
                  <a:lnTo>
                    <a:pt x="24" y="0"/>
                  </a:lnTo>
                  <a:lnTo>
                    <a:pt x="24"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86" name="Freeform 567">
              <a:extLst>
                <a:ext uri="{FF2B5EF4-FFF2-40B4-BE49-F238E27FC236}">
                  <a16:creationId xmlns:a16="http://schemas.microsoft.com/office/drawing/2014/main" id="{19D6F696-542A-4D25-8146-46C22E623754}"/>
                </a:ext>
              </a:extLst>
            </p:cNvPr>
            <p:cNvSpPr>
              <a:spLocks noEditPoints="1"/>
            </p:cNvSpPr>
            <p:nvPr/>
          </p:nvSpPr>
          <p:spPr bwMode="gray">
            <a:xfrm>
              <a:off x="9535473" y="3449135"/>
              <a:ext cx="239180" cy="447123"/>
            </a:xfrm>
            <a:custGeom>
              <a:avLst/>
              <a:gdLst>
                <a:gd name="T0" fmla="*/ 298 w 581"/>
                <a:gd name="T1" fmla="*/ 1070 h 1086"/>
                <a:gd name="T2" fmla="*/ 267 w 581"/>
                <a:gd name="T3" fmla="*/ 1046 h 1086"/>
                <a:gd name="T4" fmla="*/ 217 w 581"/>
                <a:gd name="T5" fmla="*/ 1025 h 1086"/>
                <a:gd name="T6" fmla="*/ 196 w 581"/>
                <a:gd name="T7" fmla="*/ 1025 h 1086"/>
                <a:gd name="T8" fmla="*/ 147 w 581"/>
                <a:gd name="T9" fmla="*/ 968 h 1086"/>
                <a:gd name="T10" fmla="*/ 121 w 581"/>
                <a:gd name="T11" fmla="*/ 930 h 1086"/>
                <a:gd name="T12" fmla="*/ 92 w 581"/>
                <a:gd name="T13" fmla="*/ 885 h 1086"/>
                <a:gd name="T14" fmla="*/ 66 w 581"/>
                <a:gd name="T15" fmla="*/ 881 h 1086"/>
                <a:gd name="T16" fmla="*/ 104 w 581"/>
                <a:gd name="T17" fmla="*/ 720 h 1086"/>
                <a:gd name="T18" fmla="*/ 147 w 581"/>
                <a:gd name="T19" fmla="*/ 588 h 1086"/>
                <a:gd name="T20" fmla="*/ 137 w 581"/>
                <a:gd name="T21" fmla="*/ 543 h 1086"/>
                <a:gd name="T22" fmla="*/ 71 w 581"/>
                <a:gd name="T23" fmla="*/ 432 h 1086"/>
                <a:gd name="T24" fmla="*/ 88 w 581"/>
                <a:gd name="T25" fmla="*/ 382 h 1086"/>
                <a:gd name="T26" fmla="*/ 109 w 581"/>
                <a:gd name="T27" fmla="*/ 304 h 1086"/>
                <a:gd name="T28" fmla="*/ 33 w 581"/>
                <a:gd name="T29" fmla="*/ 210 h 1086"/>
                <a:gd name="T30" fmla="*/ 12 w 581"/>
                <a:gd name="T31" fmla="*/ 156 h 1086"/>
                <a:gd name="T32" fmla="*/ 33 w 581"/>
                <a:gd name="T33" fmla="*/ 82 h 1086"/>
                <a:gd name="T34" fmla="*/ 66 w 581"/>
                <a:gd name="T35" fmla="*/ 56 h 1086"/>
                <a:gd name="T36" fmla="*/ 147 w 581"/>
                <a:gd name="T37" fmla="*/ 28 h 1086"/>
                <a:gd name="T38" fmla="*/ 191 w 581"/>
                <a:gd name="T39" fmla="*/ 0 h 1086"/>
                <a:gd name="T40" fmla="*/ 217 w 581"/>
                <a:gd name="T41" fmla="*/ 28 h 1086"/>
                <a:gd name="T42" fmla="*/ 243 w 581"/>
                <a:gd name="T43" fmla="*/ 73 h 1086"/>
                <a:gd name="T44" fmla="*/ 281 w 581"/>
                <a:gd name="T45" fmla="*/ 106 h 1086"/>
                <a:gd name="T46" fmla="*/ 272 w 581"/>
                <a:gd name="T47" fmla="*/ 160 h 1086"/>
                <a:gd name="T48" fmla="*/ 298 w 581"/>
                <a:gd name="T49" fmla="*/ 200 h 1086"/>
                <a:gd name="T50" fmla="*/ 359 w 581"/>
                <a:gd name="T51" fmla="*/ 182 h 1086"/>
                <a:gd name="T52" fmla="*/ 406 w 581"/>
                <a:gd name="T53" fmla="*/ 182 h 1086"/>
                <a:gd name="T54" fmla="*/ 428 w 581"/>
                <a:gd name="T55" fmla="*/ 156 h 1086"/>
                <a:gd name="T56" fmla="*/ 527 w 581"/>
                <a:gd name="T57" fmla="*/ 238 h 1086"/>
                <a:gd name="T58" fmla="*/ 569 w 581"/>
                <a:gd name="T59" fmla="*/ 345 h 1086"/>
                <a:gd name="T60" fmla="*/ 581 w 581"/>
                <a:gd name="T61" fmla="*/ 404 h 1086"/>
                <a:gd name="T62" fmla="*/ 543 w 581"/>
                <a:gd name="T63" fmla="*/ 453 h 1086"/>
                <a:gd name="T64" fmla="*/ 414 w 581"/>
                <a:gd name="T65" fmla="*/ 453 h 1086"/>
                <a:gd name="T66" fmla="*/ 373 w 581"/>
                <a:gd name="T67" fmla="*/ 510 h 1086"/>
                <a:gd name="T68" fmla="*/ 364 w 581"/>
                <a:gd name="T69" fmla="*/ 581 h 1086"/>
                <a:gd name="T70" fmla="*/ 373 w 581"/>
                <a:gd name="T71" fmla="*/ 609 h 1086"/>
                <a:gd name="T72" fmla="*/ 359 w 581"/>
                <a:gd name="T73" fmla="*/ 604 h 1086"/>
                <a:gd name="T74" fmla="*/ 310 w 581"/>
                <a:gd name="T75" fmla="*/ 571 h 1086"/>
                <a:gd name="T76" fmla="*/ 251 w 581"/>
                <a:gd name="T77" fmla="*/ 581 h 1086"/>
                <a:gd name="T78" fmla="*/ 191 w 581"/>
                <a:gd name="T79" fmla="*/ 531 h 1086"/>
                <a:gd name="T80" fmla="*/ 163 w 581"/>
                <a:gd name="T81" fmla="*/ 666 h 1086"/>
                <a:gd name="T82" fmla="*/ 142 w 581"/>
                <a:gd name="T83" fmla="*/ 819 h 1086"/>
                <a:gd name="T84" fmla="*/ 191 w 581"/>
                <a:gd name="T85" fmla="*/ 876 h 1086"/>
                <a:gd name="T86" fmla="*/ 201 w 581"/>
                <a:gd name="T87" fmla="*/ 885 h 1086"/>
                <a:gd name="T88" fmla="*/ 213 w 581"/>
                <a:gd name="T89" fmla="*/ 935 h 1086"/>
                <a:gd name="T90" fmla="*/ 217 w 581"/>
                <a:gd name="T91" fmla="*/ 975 h 1086"/>
                <a:gd name="T92" fmla="*/ 281 w 581"/>
                <a:gd name="T93" fmla="*/ 996 h 1086"/>
                <a:gd name="T94" fmla="*/ 336 w 581"/>
                <a:gd name="T95" fmla="*/ 1046 h 1086"/>
                <a:gd name="T96" fmla="*/ 352 w 581"/>
                <a:gd name="T97" fmla="*/ 626 h 1086"/>
                <a:gd name="T98" fmla="*/ 359 w 581"/>
                <a:gd name="T99" fmla="*/ 626 h 1086"/>
                <a:gd name="T100" fmla="*/ 364 w 581"/>
                <a:gd name="T101" fmla="*/ 642 h 1086"/>
                <a:gd name="T102" fmla="*/ 196 w 581"/>
                <a:gd name="T103" fmla="*/ 791 h 1086"/>
                <a:gd name="T104" fmla="*/ 191 w 581"/>
                <a:gd name="T105" fmla="*/ 786 h 1086"/>
                <a:gd name="T106" fmla="*/ 196 w 581"/>
                <a:gd name="T107" fmla="*/ 808 h 1086"/>
                <a:gd name="T108" fmla="*/ 66 w 581"/>
                <a:gd name="T109" fmla="*/ 843 h 1086"/>
                <a:gd name="T110" fmla="*/ 71 w 581"/>
                <a:gd name="T111" fmla="*/ 843 h 1086"/>
                <a:gd name="T112" fmla="*/ 66 w 581"/>
                <a:gd name="T113" fmla="*/ 902 h 1086"/>
                <a:gd name="T114" fmla="*/ 88 w 581"/>
                <a:gd name="T115" fmla="*/ 914 h 1086"/>
                <a:gd name="T116" fmla="*/ 88 w 581"/>
                <a:gd name="T117" fmla="*/ 914 h 1086"/>
                <a:gd name="T118" fmla="*/ 158 w 581"/>
                <a:gd name="T119" fmla="*/ 1025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1" h="1086">
                  <a:moveTo>
                    <a:pt x="336" y="1046"/>
                  </a:moveTo>
                  <a:lnTo>
                    <a:pt x="321" y="1079"/>
                  </a:lnTo>
                  <a:lnTo>
                    <a:pt x="305" y="1079"/>
                  </a:lnTo>
                  <a:lnTo>
                    <a:pt x="298" y="1070"/>
                  </a:lnTo>
                  <a:lnTo>
                    <a:pt x="267" y="1086"/>
                  </a:lnTo>
                  <a:lnTo>
                    <a:pt x="255" y="1079"/>
                  </a:lnTo>
                  <a:lnTo>
                    <a:pt x="267" y="1063"/>
                  </a:lnTo>
                  <a:lnTo>
                    <a:pt x="267" y="1046"/>
                  </a:lnTo>
                  <a:lnTo>
                    <a:pt x="251" y="1046"/>
                  </a:lnTo>
                  <a:lnTo>
                    <a:pt x="243" y="1025"/>
                  </a:lnTo>
                  <a:lnTo>
                    <a:pt x="234" y="1030"/>
                  </a:lnTo>
                  <a:lnTo>
                    <a:pt x="217" y="1025"/>
                  </a:lnTo>
                  <a:lnTo>
                    <a:pt x="213" y="1013"/>
                  </a:lnTo>
                  <a:lnTo>
                    <a:pt x="201" y="1013"/>
                  </a:lnTo>
                  <a:lnTo>
                    <a:pt x="196" y="1030"/>
                  </a:lnTo>
                  <a:lnTo>
                    <a:pt x="196" y="1025"/>
                  </a:lnTo>
                  <a:lnTo>
                    <a:pt x="163" y="996"/>
                  </a:lnTo>
                  <a:lnTo>
                    <a:pt x="175" y="987"/>
                  </a:lnTo>
                  <a:lnTo>
                    <a:pt x="158" y="987"/>
                  </a:lnTo>
                  <a:lnTo>
                    <a:pt x="147" y="968"/>
                  </a:lnTo>
                  <a:lnTo>
                    <a:pt x="137" y="942"/>
                  </a:lnTo>
                  <a:lnTo>
                    <a:pt x="125" y="935"/>
                  </a:lnTo>
                  <a:lnTo>
                    <a:pt x="121" y="935"/>
                  </a:lnTo>
                  <a:lnTo>
                    <a:pt x="121" y="930"/>
                  </a:lnTo>
                  <a:lnTo>
                    <a:pt x="104" y="919"/>
                  </a:lnTo>
                  <a:lnTo>
                    <a:pt x="92" y="897"/>
                  </a:lnTo>
                  <a:lnTo>
                    <a:pt x="92" y="897"/>
                  </a:lnTo>
                  <a:lnTo>
                    <a:pt x="92" y="885"/>
                  </a:lnTo>
                  <a:lnTo>
                    <a:pt x="83" y="897"/>
                  </a:lnTo>
                  <a:lnTo>
                    <a:pt x="83" y="902"/>
                  </a:lnTo>
                  <a:lnTo>
                    <a:pt x="66" y="897"/>
                  </a:lnTo>
                  <a:lnTo>
                    <a:pt x="66" y="881"/>
                  </a:lnTo>
                  <a:lnTo>
                    <a:pt x="71" y="831"/>
                  </a:lnTo>
                  <a:lnTo>
                    <a:pt x="104" y="748"/>
                  </a:lnTo>
                  <a:lnTo>
                    <a:pt x="104" y="737"/>
                  </a:lnTo>
                  <a:lnTo>
                    <a:pt x="104" y="720"/>
                  </a:lnTo>
                  <a:lnTo>
                    <a:pt x="137" y="699"/>
                  </a:lnTo>
                  <a:lnTo>
                    <a:pt x="163" y="642"/>
                  </a:lnTo>
                  <a:lnTo>
                    <a:pt x="147" y="604"/>
                  </a:lnTo>
                  <a:lnTo>
                    <a:pt x="147" y="588"/>
                  </a:lnTo>
                  <a:lnTo>
                    <a:pt x="137" y="571"/>
                  </a:lnTo>
                  <a:lnTo>
                    <a:pt x="125" y="548"/>
                  </a:lnTo>
                  <a:lnTo>
                    <a:pt x="125" y="543"/>
                  </a:lnTo>
                  <a:lnTo>
                    <a:pt x="137" y="543"/>
                  </a:lnTo>
                  <a:lnTo>
                    <a:pt x="137" y="498"/>
                  </a:lnTo>
                  <a:lnTo>
                    <a:pt x="121" y="477"/>
                  </a:lnTo>
                  <a:lnTo>
                    <a:pt x="92" y="460"/>
                  </a:lnTo>
                  <a:lnTo>
                    <a:pt x="71" y="432"/>
                  </a:lnTo>
                  <a:lnTo>
                    <a:pt x="66" y="404"/>
                  </a:lnTo>
                  <a:lnTo>
                    <a:pt x="66" y="387"/>
                  </a:lnTo>
                  <a:lnTo>
                    <a:pt x="83" y="382"/>
                  </a:lnTo>
                  <a:lnTo>
                    <a:pt x="88" y="382"/>
                  </a:lnTo>
                  <a:lnTo>
                    <a:pt x="92" y="333"/>
                  </a:lnTo>
                  <a:lnTo>
                    <a:pt x="109" y="326"/>
                  </a:lnTo>
                  <a:lnTo>
                    <a:pt x="109" y="304"/>
                  </a:lnTo>
                  <a:lnTo>
                    <a:pt x="109" y="304"/>
                  </a:lnTo>
                  <a:lnTo>
                    <a:pt x="92" y="309"/>
                  </a:lnTo>
                  <a:lnTo>
                    <a:pt x="83" y="276"/>
                  </a:lnTo>
                  <a:lnTo>
                    <a:pt x="88" y="267"/>
                  </a:lnTo>
                  <a:lnTo>
                    <a:pt x="33" y="210"/>
                  </a:lnTo>
                  <a:lnTo>
                    <a:pt x="29" y="165"/>
                  </a:lnTo>
                  <a:lnTo>
                    <a:pt x="12" y="165"/>
                  </a:lnTo>
                  <a:lnTo>
                    <a:pt x="0" y="144"/>
                  </a:lnTo>
                  <a:lnTo>
                    <a:pt x="12" y="156"/>
                  </a:lnTo>
                  <a:lnTo>
                    <a:pt x="33" y="144"/>
                  </a:lnTo>
                  <a:lnTo>
                    <a:pt x="29" y="111"/>
                  </a:lnTo>
                  <a:lnTo>
                    <a:pt x="33" y="106"/>
                  </a:lnTo>
                  <a:lnTo>
                    <a:pt x="33" y="82"/>
                  </a:lnTo>
                  <a:lnTo>
                    <a:pt x="38" y="66"/>
                  </a:lnTo>
                  <a:lnTo>
                    <a:pt x="50" y="66"/>
                  </a:lnTo>
                  <a:lnTo>
                    <a:pt x="50" y="49"/>
                  </a:lnTo>
                  <a:lnTo>
                    <a:pt x="66" y="56"/>
                  </a:lnTo>
                  <a:lnTo>
                    <a:pt x="109" y="49"/>
                  </a:lnTo>
                  <a:lnTo>
                    <a:pt x="121" y="49"/>
                  </a:lnTo>
                  <a:lnTo>
                    <a:pt x="125" y="33"/>
                  </a:lnTo>
                  <a:lnTo>
                    <a:pt x="147" y="28"/>
                  </a:lnTo>
                  <a:lnTo>
                    <a:pt x="158" y="28"/>
                  </a:lnTo>
                  <a:lnTo>
                    <a:pt x="158" y="11"/>
                  </a:lnTo>
                  <a:lnTo>
                    <a:pt x="175" y="11"/>
                  </a:lnTo>
                  <a:lnTo>
                    <a:pt x="191" y="0"/>
                  </a:lnTo>
                  <a:lnTo>
                    <a:pt x="196" y="11"/>
                  </a:lnTo>
                  <a:lnTo>
                    <a:pt x="201" y="16"/>
                  </a:lnTo>
                  <a:lnTo>
                    <a:pt x="213" y="11"/>
                  </a:lnTo>
                  <a:lnTo>
                    <a:pt x="217" y="28"/>
                  </a:lnTo>
                  <a:lnTo>
                    <a:pt x="229" y="28"/>
                  </a:lnTo>
                  <a:lnTo>
                    <a:pt x="217" y="56"/>
                  </a:lnTo>
                  <a:lnTo>
                    <a:pt x="229" y="73"/>
                  </a:lnTo>
                  <a:lnTo>
                    <a:pt x="243" y="73"/>
                  </a:lnTo>
                  <a:lnTo>
                    <a:pt x="251" y="66"/>
                  </a:lnTo>
                  <a:lnTo>
                    <a:pt x="281" y="73"/>
                  </a:lnTo>
                  <a:lnTo>
                    <a:pt x="272" y="82"/>
                  </a:lnTo>
                  <a:lnTo>
                    <a:pt x="281" y="106"/>
                  </a:lnTo>
                  <a:lnTo>
                    <a:pt x="272" y="123"/>
                  </a:lnTo>
                  <a:lnTo>
                    <a:pt x="281" y="139"/>
                  </a:lnTo>
                  <a:lnTo>
                    <a:pt x="267" y="156"/>
                  </a:lnTo>
                  <a:lnTo>
                    <a:pt x="272" y="160"/>
                  </a:lnTo>
                  <a:lnTo>
                    <a:pt x="272" y="177"/>
                  </a:lnTo>
                  <a:lnTo>
                    <a:pt x="255" y="217"/>
                  </a:lnTo>
                  <a:lnTo>
                    <a:pt x="272" y="222"/>
                  </a:lnTo>
                  <a:lnTo>
                    <a:pt x="298" y="200"/>
                  </a:lnTo>
                  <a:lnTo>
                    <a:pt x="310" y="182"/>
                  </a:lnTo>
                  <a:lnTo>
                    <a:pt x="321" y="182"/>
                  </a:lnTo>
                  <a:lnTo>
                    <a:pt x="336" y="165"/>
                  </a:lnTo>
                  <a:lnTo>
                    <a:pt x="359" y="182"/>
                  </a:lnTo>
                  <a:lnTo>
                    <a:pt x="373" y="193"/>
                  </a:lnTo>
                  <a:lnTo>
                    <a:pt x="373" y="200"/>
                  </a:lnTo>
                  <a:lnTo>
                    <a:pt x="390" y="182"/>
                  </a:lnTo>
                  <a:lnTo>
                    <a:pt x="406" y="182"/>
                  </a:lnTo>
                  <a:lnTo>
                    <a:pt x="406" y="177"/>
                  </a:lnTo>
                  <a:lnTo>
                    <a:pt x="418" y="165"/>
                  </a:lnTo>
                  <a:lnTo>
                    <a:pt x="418" y="160"/>
                  </a:lnTo>
                  <a:lnTo>
                    <a:pt x="428" y="156"/>
                  </a:lnTo>
                  <a:lnTo>
                    <a:pt x="466" y="160"/>
                  </a:lnTo>
                  <a:lnTo>
                    <a:pt x="489" y="200"/>
                  </a:lnTo>
                  <a:lnTo>
                    <a:pt x="520" y="222"/>
                  </a:lnTo>
                  <a:lnTo>
                    <a:pt x="527" y="238"/>
                  </a:lnTo>
                  <a:lnTo>
                    <a:pt x="520" y="293"/>
                  </a:lnTo>
                  <a:lnTo>
                    <a:pt x="543" y="326"/>
                  </a:lnTo>
                  <a:lnTo>
                    <a:pt x="569" y="333"/>
                  </a:lnTo>
                  <a:lnTo>
                    <a:pt x="569" y="345"/>
                  </a:lnTo>
                  <a:lnTo>
                    <a:pt x="569" y="349"/>
                  </a:lnTo>
                  <a:lnTo>
                    <a:pt x="581" y="361"/>
                  </a:lnTo>
                  <a:lnTo>
                    <a:pt x="574" y="399"/>
                  </a:lnTo>
                  <a:lnTo>
                    <a:pt x="581" y="404"/>
                  </a:lnTo>
                  <a:lnTo>
                    <a:pt x="574" y="437"/>
                  </a:lnTo>
                  <a:lnTo>
                    <a:pt x="553" y="453"/>
                  </a:lnTo>
                  <a:lnTo>
                    <a:pt x="543" y="470"/>
                  </a:lnTo>
                  <a:lnTo>
                    <a:pt x="543" y="453"/>
                  </a:lnTo>
                  <a:lnTo>
                    <a:pt x="527" y="444"/>
                  </a:lnTo>
                  <a:lnTo>
                    <a:pt x="466" y="453"/>
                  </a:lnTo>
                  <a:lnTo>
                    <a:pt x="444" y="444"/>
                  </a:lnTo>
                  <a:lnTo>
                    <a:pt x="414" y="453"/>
                  </a:lnTo>
                  <a:lnTo>
                    <a:pt x="397" y="470"/>
                  </a:lnTo>
                  <a:lnTo>
                    <a:pt x="380" y="498"/>
                  </a:lnTo>
                  <a:lnTo>
                    <a:pt x="364" y="498"/>
                  </a:lnTo>
                  <a:lnTo>
                    <a:pt x="373" y="510"/>
                  </a:lnTo>
                  <a:lnTo>
                    <a:pt x="359" y="510"/>
                  </a:lnTo>
                  <a:lnTo>
                    <a:pt x="352" y="531"/>
                  </a:lnTo>
                  <a:lnTo>
                    <a:pt x="364" y="555"/>
                  </a:lnTo>
                  <a:lnTo>
                    <a:pt x="364" y="581"/>
                  </a:lnTo>
                  <a:lnTo>
                    <a:pt x="380" y="597"/>
                  </a:lnTo>
                  <a:lnTo>
                    <a:pt x="380" y="621"/>
                  </a:lnTo>
                  <a:lnTo>
                    <a:pt x="397" y="654"/>
                  </a:lnTo>
                  <a:lnTo>
                    <a:pt x="373" y="609"/>
                  </a:lnTo>
                  <a:lnTo>
                    <a:pt x="364" y="609"/>
                  </a:lnTo>
                  <a:lnTo>
                    <a:pt x="364" y="621"/>
                  </a:lnTo>
                  <a:lnTo>
                    <a:pt x="352" y="609"/>
                  </a:lnTo>
                  <a:lnTo>
                    <a:pt x="359" y="604"/>
                  </a:lnTo>
                  <a:lnTo>
                    <a:pt x="343" y="604"/>
                  </a:lnTo>
                  <a:lnTo>
                    <a:pt x="336" y="588"/>
                  </a:lnTo>
                  <a:lnTo>
                    <a:pt x="326" y="588"/>
                  </a:lnTo>
                  <a:lnTo>
                    <a:pt x="310" y="571"/>
                  </a:lnTo>
                  <a:lnTo>
                    <a:pt x="288" y="581"/>
                  </a:lnTo>
                  <a:lnTo>
                    <a:pt x="267" y="581"/>
                  </a:lnTo>
                  <a:lnTo>
                    <a:pt x="255" y="588"/>
                  </a:lnTo>
                  <a:lnTo>
                    <a:pt x="251" y="581"/>
                  </a:lnTo>
                  <a:lnTo>
                    <a:pt x="255" y="515"/>
                  </a:lnTo>
                  <a:lnTo>
                    <a:pt x="229" y="515"/>
                  </a:lnTo>
                  <a:lnTo>
                    <a:pt x="196" y="526"/>
                  </a:lnTo>
                  <a:lnTo>
                    <a:pt x="191" y="531"/>
                  </a:lnTo>
                  <a:lnTo>
                    <a:pt x="196" y="548"/>
                  </a:lnTo>
                  <a:lnTo>
                    <a:pt x="191" y="581"/>
                  </a:lnTo>
                  <a:lnTo>
                    <a:pt x="191" y="609"/>
                  </a:lnTo>
                  <a:lnTo>
                    <a:pt x="163" y="666"/>
                  </a:lnTo>
                  <a:lnTo>
                    <a:pt x="158" y="708"/>
                  </a:lnTo>
                  <a:lnTo>
                    <a:pt x="125" y="748"/>
                  </a:lnTo>
                  <a:lnTo>
                    <a:pt x="125" y="791"/>
                  </a:lnTo>
                  <a:lnTo>
                    <a:pt x="142" y="819"/>
                  </a:lnTo>
                  <a:lnTo>
                    <a:pt x="137" y="826"/>
                  </a:lnTo>
                  <a:lnTo>
                    <a:pt x="147" y="831"/>
                  </a:lnTo>
                  <a:lnTo>
                    <a:pt x="180" y="826"/>
                  </a:lnTo>
                  <a:lnTo>
                    <a:pt x="191" y="876"/>
                  </a:lnTo>
                  <a:lnTo>
                    <a:pt x="196" y="885"/>
                  </a:lnTo>
                  <a:lnTo>
                    <a:pt x="201" y="885"/>
                  </a:lnTo>
                  <a:lnTo>
                    <a:pt x="196" y="881"/>
                  </a:lnTo>
                  <a:lnTo>
                    <a:pt x="201" y="885"/>
                  </a:lnTo>
                  <a:lnTo>
                    <a:pt x="217" y="959"/>
                  </a:lnTo>
                  <a:lnTo>
                    <a:pt x="229" y="975"/>
                  </a:lnTo>
                  <a:lnTo>
                    <a:pt x="217" y="968"/>
                  </a:lnTo>
                  <a:lnTo>
                    <a:pt x="213" y="935"/>
                  </a:lnTo>
                  <a:lnTo>
                    <a:pt x="201" y="935"/>
                  </a:lnTo>
                  <a:lnTo>
                    <a:pt x="196" y="935"/>
                  </a:lnTo>
                  <a:lnTo>
                    <a:pt x="201" y="952"/>
                  </a:lnTo>
                  <a:lnTo>
                    <a:pt x="217" y="975"/>
                  </a:lnTo>
                  <a:lnTo>
                    <a:pt x="234" y="975"/>
                  </a:lnTo>
                  <a:lnTo>
                    <a:pt x="243" y="992"/>
                  </a:lnTo>
                  <a:lnTo>
                    <a:pt x="255" y="996"/>
                  </a:lnTo>
                  <a:lnTo>
                    <a:pt x="281" y="996"/>
                  </a:lnTo>
                  <a:lnTo>
                    <a:pt x="281" y="992"/>
                  </a:lnTo>
                  <a:lnTo>
                    <a:pt x="298" y="996"/>
                  </a:lnTo>
                  <a:lnTo>
                    <a:pt x="310" y="1030"/>
                  </a:lnTo>
                  <a:lnTo>
                    <a:pt x="336" y="1046"/>
                  </a:lnTo>
                  <a:lnTo>
                    <a:pt x="336" y="1046"/>
                  </a:lnTo>
                  <a:lnTo>
                    <a:pt x="336" y="1046"/>
                  </a:lnTo>
                  <a:close/>
                  <a:moveTo>
                    <a:pt x="359" y="626"/>
                  </a:moveTo>
                  <a:lnTo>
                    <a:pt x="352" y="626"/>
                  </a:lnTo>
                  <a:lnTo>
                    <a:pt x="352" y="621"/>
                  </a:lnTo>
                  <a:lnTo>
                    <a:pt x="359" y="626"/>
                  </a:lnTo>
                  <a:lnTo>
                    <a:pt x="359" y="626"/>
                  </a:lnTo>
                  <a:lnTo>
                    <a:pt x="359" y="626"/>
                  </a:lnTo>
                  <a:close/>
                  <a:moveTo>
                    <a:pt x="364" y="642"/>
                  </a:moveTo>
                  <a:lnTo>
                    <a:pt x="373" y="659"/>
                  </a:lnTo>
                  <a:lnTo>
                    <a:pt x="364" y="659"/>
                  </a:lnTo>
                  <a:lnTo>
                    <a:pt x="364" y="642"/>
                  </a:lnTo>
                  <a:lnTo>
                    <a:pt x="364" y="642"/>
                  </a:lnTo>
                  <a:lnTo>
                    <a:pt x="364" y="642"/>
                  </a:lnTo>
                  <a:close/>
                  <a:moveTo>
                    <a:pt x="191" y="786"/>
                  </a:moveTo>
                  <a:lnTo>
                    <a:pt x="196" y="791"/>
                  </a:lnTo>
                  <a:lnTo>
                    <a:pt x="191" y="791"/>
                  </a:lnTo>
                  <a:lnTo>
                    <a:pt x="191" y="786"/>
                  </a:lnTo>
                  <a:lnTo>
                    <a:pt x="191" y="786"/>
                  </a:lnTo>
                  <a:lnTo>
                    <a:pt x="191" y="786"/>
                  </a:lnTo>
                  <a:close/>
                  <a:moveTo>
                    <a:pt x="196" y="808"/>
                  </a:moveTo>
                  <a:lnTo>
                    <a:pt x="191" y="819"/>
                  </a:lnTo>
                  <a:lnTo>
                    <a:pt x="191" y="808"/>
                  </a:lnTo>
                  <a:lnTo>
                    <a:pt x="196" y="808"/>
                  </a:lnTo>
                  <a:lnTo>
                    <a:pt x="196" y="808"/>
                  </a:lnTo>
                  <a:lnTo>
                    <a:pt x="196" y="808"/>
                  </a:lnTo>
                  <a:close/>
                  <a:moveTo>
                    <a:pt x="71" y="843"/>
                  </a:moveTo>
                  <a:lnTo>
                    <a:pt x="66" y="843"/>
                  </a:lnTo>
                  <a:lnTo>
                    <a:pt x="66" y="831"/>
                  </a:lnTo>
                  <a:lnTo>
                    <a:pt x="71" y="843"/>
                  </a:lnTo>
                  <a:lnTo>
                    <a:pt x="71" y="843"/>
                  </a:lnTo>
                  <a:lnTo>
                    <a:pt x="71" y="843"/>
                  </a:lnTo>
                  <a:close/>
                  <a:moveTo>
                    <a:pt x="71" y="902"/>
                  </a:moveTo>
                  <a:lnTo>
                    <a:pt x="83" y="930"/>
                  </a:lnTo>
                  <a:lnTo>
                    <a:pt x="71" y="935"/>
                  </a:lnTo>
                  <a:lnTo>
                    <a:pt x="66" y="902"/>
                  </a:lnTo>
                  <a:lnTo>
                    <a:pt x="71" y="902"/>
                  </a:lnTo>
                  <a:lnTo>
                    <a:pt x="71" y="902"/>
                  </a:lnTo>
                  <a:lnTo>
                    <a:pt x="71" y="902"/>
                  </a:lnTo>
                  <a:close/>
                  <a:moveTo>
                    <a:pt x="88" y="914"/>
                  </a:moveTo>
                  <a:lnTo>
                    <a:pt x="88" y="914"/>
                  </a:lnTo>
                  <a:lnTo>
                    <a:pt x="88" y="930"/>
                  </a:lnTo>
                  <a:lnTo>
                    <a:pt x="88" y="914"/>
                  </a:lnTo>
                  <a:lnTo>
                    <a:pt x="88" y="914"/>
                  </a:lnTo>
                  <a:lnTo>
                    <a:pt x="88" y="914"/>
                  </a:lnTo>
                  <a:close/>
                  <a:moveTo>
                    <a:pt x="163" y="1013"/>
                  </a:moveTo>
                  <a:lnTo>
                    <a:pt x="163" y="1030"/>
                  </a:lnTo>
                  <a:lnTo>
                    <a:pt x="158" y="1025"/>
                  </a:lnTo>
                  <a:lnTo>
                    <a:pt x="163" y="1013"/>
                  </a:lnTo>
                  <a:lnTo>
                    <a:pt x="163" y="1013"/>
                  </a:lnTo>
                  <a:lnTo>
                    <a:pt x="163" y="101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87" name="Freeform 575">
              <a:extLst>
                <a:ext uri="{FF2B5EF4-FFF2-40B4-BE49-F238E27FC236}">
                  <a16:creationId xmlns:a16="http://schemas.microsoft.com/office/drawing/2014/main" id="{03184AED-6DAC-465B-AD05-1DFC22885E3F}"/>
                </a:ext>
              </a:extLst>
            </p:cNvPr>
            <p:cNvSpPr>
              <a:spLocks noEditPoints="1"/>
            </p:cNvSpPr>
            <p:nvPr/>
          </p:nvSpPr>
          <p:spPr bwMode="gray">
            <a:xfrm>
              <a:off x="10140216" y="3301329"/>
              <a:ext cx="107034" cy="102106"/>
            </a:xfrm>
            <a:custGeom>
              <a:avLst/>
              <a:gdLst>
                <a:gd name="T0" fmla="*/ 130 w 260"/>
                <a:gd name="T1" fmla="*/ 132 h 248"/>
                <a:gd name="T2" fmla="*/ 142 w 260"/>
                <a:gd name="T3" fmla="*/ 108 h 248"/>
                <a:gd name="T4" fmla="*/ 196 w 260"/>
                <a:gd name="T5" fmla="*/ 21 h 248"/>
                <a:gd name="T6" fmla="*/ 222 w 260"/>
                <a:gd name="T7" fmla="*/ 4 h 248"/>
                <a:gd name="T8" fmla="*/ 222 w 260"/>
                <a:gd name="T9" fmla="*/ 4 h 248"/>
                <a:gd name="T10" fmla="*/ 234 w 260"/>
                <a:gd name="T11" fmla="*/ 0 h 248"/>
                <a:gd name="T12" fmla="*/ 260 w 260"/>
                <a:gd name="T13" fmla="*/ 9 h 248"/>
                <a:gd name="T14" fmla="*/ 251 w 260"/>
                <a:gd name="T15" fmla="*/ 26 h 248"/>
                <a:gd name="T16" fmla="*/ 256 w 260"/>
                <a:gd name="T17" fmla="*/ 59 h 248"/>
                <a:gd name="T18" fmla="*/ 239 w 260"/>
                <a:gd name="T19" fmla="*/ 82 h 248"/>
                <a:gd name="T20" fmla="*/ 222 w 260"/>
                <a:gd name="T21" fmla="*/ 148 h 248"/>
                <a:gd name="T22" fmla="*/ 206 w 260"/>
                <a:gd name="T23" fmla="*/ 174 h 248"/>
                <a:gd name="T24" fmla="*/ 196 w 260"/>
                <a:gd name="T25" fmla="*/ 203 h 248"/>
                <a:gd name="T26" fmla="*/ 180 w 260"/>
                <a:gd name="T27" fmla="*/ 248 h 248"/>
                <a:gd name="T28" fmla="*/ 168 w 260"/>
                <a:gd name="T29" fmla="*/ 248 h 248"/>
                <a:gd name="T30" fmla="*/ 168 w 260"/>
                <a:gd name="T31" fmla="*/ 226 h 248"/>
                <a:gd name="T32" fmla="*/ 147 w 260"/>
                <a:gd name="T33" fmla="*/ 203 h 248"/>
                <a:gd name="T34" fmla="*/ 130 w 260"/>
                <a:gd name="T35" fmla="*/ 170 h 248"/>
                <a:gd name="T36" fmla="*/ 126 w 260"/>
                <a:gd name="T37" fmla="*/ 165 h 248"/>
                <a:gd name="T38" fmla="*/ 130 w 260"/>
                <a:gd name="T39" fmla="*/ 132 h 248"/>
                <a:gd name="T40" fmla="*/ 130 w 260"/>
                <a:gd name="T41" fmla="*/ 132 h 248"/>
                <a:gd name="T42" fmla="*/ 130 w 260"/>
                <a:gd name="T43" fmla="*/ 132 h 248"/>
                <a:gd name="T44" fmla="*/ 0 w 260"/>
                <a:gd name="T45" fmla="*/ 59 h 248"/>
                <a:gd name="T46" fmla="*/ 5 w 260"/>
                <a:gd name="T47" fmla="*/ 54 h 248"/>
                <a:gd name="T48" fmla="*/ 17 w 260"/>
                <a:gd name="T49" fmla="*/ 59 h 248"/>
                <a:gd name="T50" fmla="*/ 17 w 260"/>
                <a:gd name="T51" fmla="*/ 59 h 248"/>
                <a:gd name="T52" fmla="*/ 0 w 260"/>
                <a:gd name="T53" fmla="*/ 59 h 248"/>
                <a:gd name="T54" fmla="*/ 0 w 260"/>
                <a:gd name="T55" fmla="*/ 59 h 248"/>
                <a:gd name="T56" fmla="*/ 0 w 260"/>
                <a:gd name="T57" fmla="*/ 59 h 248"/>
                <a:gd name="T58" fmla="*/ 93 w 260"/>
                <a:gd name="T59" fmla="*/ 132 h 248"/>
                <a:gd name="T60" fmla="*/ 93 w 260"/>
                <a:gd name="T61" fmla="*/ 120 h 248"/>
                <a:gd name="T62" fmla="*/ 97 w 260"/>
                <a:gd name="T63" fmla="*/ 132 h 248"/>
                <a:gd name="T64" fmla="*/ 93 w 260"/>
                <a:gd name="T65" fmla="*/ 132 h 248"/>
                <a:gd name="T66" fmla="*/ 93 w 260"/>
                <a:gd name="T67" fmla="*/ 132 h 248"/>
                <a:gd name="T68" fmla="*/ 93 w 260"/>
                <a:gd name="T69" fmla="*/ 13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0" h="248">
                  <a:moveTo>
                    <a:pt x="130" y="132"/>
                  </a:moveTo>
                  <a:lnTo>
                    <a:pt x="142" y="108"/>
                  </a:lnTo>
                  <a:lnTo>
                    <a:pt x="196" y="21"/>
                  </a:lnTo>
                  <a:lnTo>
                    <a:pt x="222" y="4"/>
                  </a:lnTo>
                  <a:lnTo>
                    <a:pt x="222" y="4"/>
                  </a:lnTo>
                  <a:lnTo>
                    <a:pt x="234" y="0"/>
                  </a:lnTo>
                  <a:lnTo>
                    <a:pt x="260" y="9"/>
                  </a:lnTo>
                  <a:lnTo>
                    <a:pt x="251" y="26"/>
                  </a:lnTo>
                  <a:lnTo>
                    <a:pt x="256" y="59"/>
                  </a:lnTo>
                  <a:lnTo>
                    <a:pt x="239" y="82"/>
                  </a:lnTo>
                  <a:lnTo>
                    <a:pt x="222" y="148"/>
                  </a:lnTo>
                  <a:lnTo>
                    <a:pt x="206" y="174"/>
                  </a:lnTo>
                  <a:lnTo>
                    <a:pt x="196" y="203"/>
                  </a:lnTo>
                  <a:lnTo>
                    <a:pt x="180" y="248"/>
                  </a:lnTo>
                  <a:lnTo>
                    <a:pt x="168" y="248"/>
                  </a:lnTo>
                  <a:lnTo>
                    <a:pt x="168" y="226"/>
                  </a:lnTo>
                  <a:lnTo>
                    <a:pt x="147" y="203"/>
                  </a:lnTo>
                  <a:lnTo>
                    <a:pt x="130" y="170"/>
                  </a:lnTo>
                  <a:lnTo>
                    <a:pt x="126" y="165"/>
                  </a:lnTo>
                  <a:lnTo>
                    <a:pt x="130" y="132"/>
                  </a:lnTo>
                  <a:lnTo>
                    <a:pt x="130" y="132"/>
                  </a:lnTo>
                  <a:lnTo>
                    <a:pt x="130" y="132"/>
                  </a:lnTo>
                  <a:close/>
                  <a:moveTo>
                    <a:pt x="0" y="59"/>
                  </a:moveTo>
                  <a:lnTo>
                    <a:pt x="5" y="54"/>
                  </a:lnTo>
                  <a:lnTo>
                    <a:pt x="17" y="59"/>
                  </a:lnTo>
                  <a:lnTo>
                    <a:pt x="17" y="59"/>
                  </a:lnTo>
                  <a:lnTo>
                    <a:pt x="0" y="59"/>
                  </a:lnTo>
                  <a:lnTo>
                    <a:pt x="0" y="59"/>
                  </a:lnTo>
                  <a:lnTo>
                    <a:pt x="0" y="59"/>
                  </a:lnTo>
                  <a:close/>
                  <a:moveTo>
                    <a:pt x="93" y="132"/>
                  </a:moveTo>
                  <a:lnTo>
                    <a:pt x="93" y="120"/>
                  </a:lnTo>
                  <a:lnTo>
                    <a:pt x="97" y="132"/>
                  </a:lnTo>
                  <a:lnTo>
                    <a:pt x="93" y="132"/>
                  </a:lnTo>
                  <a:lnTo>
                    <a:pt x="93" y="132"/>
                  </a:lnTo>
                  <a:lnTo>
                    <a:pt x="93" y="13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88" name="Freeform 588">
              <a:extLst>
                <a:ext uri="{FF2B5EF4-FFF2-40B4-BE49-F238E27FC236}">
                  <a16:creationId xmlns:a16="http://schemas.microsoft.com/office/drawing/2014/main" id="{6124B574-44C7-4BD4-B519-A6925E5300DB}"/>
                </a:ext>
              </a:extLst>
            </p:cNvPr>
            <p:cNvSpPr>
              <a:spLocks noEditPoints="1"/>
            </p:cNvSpPr>
            <p:nvPr/>
          </p:nvSpPr>
          <p:spPr bwMode="gray">
            <a:xfrm>
              <a:off x="9675441" y="3362263"/>
              <a:ext cx="212010" cy="447536"/>
            </a:xfrm>
            <a:custGeom>
              <a:avLst/>
              <a:gdLst>
                <a:gd name="T0" fmla="*/ 374 w 515"/>
                <a:gd name="T1" fmla="*/ 615 h 1087"/>
                <a:gd name="T2" fmla="*/ 364 w 515"/>
                <a:gd name="T3" fmla="*/ 556 h 1087"/>
                <a:gd name="T4" fmla="*/ 340 w 515"/>
                <a:gd name="T5" fmla="*/ 522 h 1087"/>
                <a:gd name="T6" fmla="*/ 310 w 515"/>
                <a:gd name="T7" fmla="*/ 499 h 1087"/>
                <a:gd name="T8" fmla="*/ 248 w 515"/>
                <a:gd name="T9" fmla="*/ 421 h 1087"/>
                <a:gd name="T10" fmla="*/ 211 w 515"/>
                <a:gd name="T11" fmla="*/ 367 h 1087"/>
                <a:gd name="T12" fmla="*/ 118 w 515"/>
                <a:gd name="T13" fmla="*/ 300 h 1087"/>
                <a:gd name="T14" fmla="*/ 185 w 515"/>
                <a:gd name="T15" fmla="*/ 260 h 1087"/>
                <a:gd name="T16" fmla="*/ 173 w 515"/>
                <a:gd name="T17" fmla="*/ 211 h 1087"/>
                <a:gd name="T18" fmla="*/ 118 w 515"/>
                <a:gd name="T19" fmla="*/ 182 h 1087"/>
                <a:gd name="T20" fmla="*/ 55 w 515"/>
                <a:gd name="T21" fmla="*/ 116 h 1087"/>
                <a:gd name="T22" fmla="*/ 22 w 515"/>
                <a:gd name="T23" fmla="*/ 41 h 1087"/>
                <a:gd name="T24" fmla="*/ 102 w 515"/>
                <a:gd name="T25" fmla="*/ 41 h 1087"/>
                <a:gd name="T26" fmla="*/ 147 w 515"/>
                <a:gd name="T27" fmla="*/ 41 h 1087"/>
                <a:gd name="T28" fmla="*/ 194 w 515"/>
                <a:gd name="T29" fmla="*/ 5 h 1087"/>
                <a:gd name="T30" fmla="*/ 281 w 515"/>
                <a:gd name="T31" fmla="*/ 22 h 1087"/>
                <a:gd name="T32" fmla="*/ 326 w 515"/>
                <a:gd name="T33" fmla="*/ 41 h 1087"/>
                <a:gd name="T34" fmla="*/ 340 w 515"/>
                <a:gd name="T35" fmla="*/ 100 h 1087"/>
                <a:gd name="T36" fmla="*/ 395 w 515"/>
                <a:gd name="T37" fmla="*/ 128 h 1087"/>
                <a:gd name="T38" fmla="*/ 395 w 515"/>
                <a:gd name="T39" fmla="*/ 133 h 1087"/>
                <a:gd name="T40" fmla="*/ 348 w 515"/>
                <a:gd name="T41" fmla="*/ 182 h 1087"/>
                <a:gd name="T42" fmla="*/ 336 w 515"/>
                <a:gd name="T43" fmla="*/ 173 h 1087"/>
                <a:gd name="T44" fmla="*/ 310 w 515"/>
                <a:gd name="T45" fmla="*/ 173 h 1087"/>
                <a:gd name="T46" fmla="*/ 310 w 515"/>
                <a:gd name="T47" fmla="*/ 201 h 1087"/>
                <a:gd name="T48" fmla="*/ 265 w 515"/>
                <a:gd name="T49" fmla="*/ 256 h 1087"/>
                <a:gd name="T50" fmla="*/ 265 w 515"/>
                <a:gd name="T51" fmla="*/ 367 h 1087"/>
                <a:gd name="T52" fmla="*/ 348 w 515"/>
                <a:gd name="T53" fmla="*/ 466 h 1087"/>
                <a:gd name="T54" fmla="*/ 390 w 515"/>
                <a:gd name="T55" fmla="*/ 504 h 1087"/>
                <a:gd name="T56" fmla="*/ 418 w 515"/>
                <a:gd name="T57" fmla="*/ 539 h 1087"/>
                <a:gd name="T58" fmla="*/ 428 w 515"/>
                <a:gd name="T59" fmla="*/ 539 h 1087"/>
                <a:gd name="T60" fmla="*/ 503 w 515"/>
                <a:gd name="T61" fmla="*/ 704 h 1087"/>
                <a:gd name="T62" fmla="*/ 499 w 515"/>
                <a:gd name="T63" fmla="*/ 737 h 1087"/>
                <a:gd name="T64" fmla="*/ 487 w 515"/>
                <a:gd name="T65" fmla="*/ 808 h 1087"/>
                <a:gd name="T66" fmla="*/ 487 w 515"/>
                <a:gd name="T67" fmla="*/ 848 h 1087"/>
                <a:gd name="T68" fmla="*/ 482 w 515"/>
                <a:gd name="T69" fmla="*/ 886 h 1087"/>
                <a:gd name="T70" fmla="*/ 395 w 515"/>
                <a:gd name="T71" fmla="*/ 931 h 1087"/>
                <a:gd name="T72" fmla="*/ 336 w 515"/>
                <a:gd name="T73" fmla="*/ 948 h 1087"/>
                <a:gd name="T74" fmla="*/ 310 w 515"/>
                <a:gd name="T75" fmla="*/ 948 h 1087"/>
                <a:gd name="T76" fmla="*/ 326 w 515"/>
                <a:gd name="T77" fmla="*/ 976 h 1087"/>
                <a:gd name="T78" fmla="*/ 319 w 515"/>
                <a:gd name="T79" fmla="*/ 988 h 1087"/>
                <a:gd name="T80" fmla="*/ 310 w 515"/>
                <a:gd name="T81" fmla="*/ 1014 h 1087"/>
                <a:gd name="T82" fmla="*/ 281 w 515"/>
                <a:gd name="T83" fmla="*/ 1030 h 1087"/>
                <a:gd name="T84" fmla="*/ 180 w 515"/>
                <a:gd name="T85" fmla="*/ 1087 h 1087"/>
                <a:gd name="T86" fmla="*/ 201 w 515"/>
                <a:gd name="T87" fmla="*/ 988 h 1087"/>
                <a:gd name="T88" fmla="*/ 173 w 515"/>
                <a:gd name="T89" fmla="*/ 976 h 1087"/>
                <a:gd name="T90" fmla="*/ 201 w 515"/>
                <a:gd name="T91" fmla="*/ 931 h 1087"/>
                <a:gd name="T92" fmla="*/ 234 w 515"/>
                <a:gd name="T93" fmla="*/ 919 h 1087"/>
                <a:gd name="T94" fmla="*/ 255 w 515"/>
                <a:gd name="T95" fmla="*/ 893 h 1087"/>
                <a:gd name="T96" fmla="*/ 303 w 515"/>
                <a:gd name="T97" fmla="*/ 865 h 1087"/>
                <a:gd name="T98" fmla="*/ 364 w 515"/>
                <a:gd name="T99" fmla="*/ 815 h 1087"/>
                <a:gd name="T100" fmla="*/ 374 w 515"/>
                <a:gd name="T101" fmla="*/ 766 h 1087"/>
                <a:gd name="T102" fmla="*/ 374 w 515"/>
                <a:gd name="T103" fmla="*/ 700 h 1087"/>
                <a:gd name="T104" fmla="*/ 364 w 515"/>
                <a:gd name="T105" fmla="*/ 166 h 1087"/>
                <a:gd name="T106" fmla="*/ 378 w 515"/>
                <a:gd name="T107" fmla="*/ 173 h 1087"/>
                <a:gd name="T108" fmla="*/ 378 w 515"/>
                <a:gd name="T109" fmla="*/ 173 h 1087"/>
                <a:gd name="T110" fmla="*/ 336 w 515"/>
                <a:gd name="T111" fmla="*/ 189 h 1087"/>
                <a:gd name="T112" fmla="*/ 336 w 515"/>
                <a:gd name="T113" fmla="*/ 182 h 1087"/>
                <a:gd name="T114" fmla="*/ 336 w 515"/>
                <a:gd name="T115" fmla="*/ 182 h 1087"/>
                <a:gd name="T116" fmla="*/ 326 w 515"/>
                <a:gd name="T117" fmla="*/ 959 h 1087"/>
                <a:gd name="T118" fmla="*/ 326 w 515"/>
                <a:gd name="T119" fmla="*/ 931 h 1087"/>
                <a:gd name="T120" fmla="*/ 336 w 515"/>
                <a:gd name="T121" fmla="*/ 948 h 1087"/>
                <a:gd name="T122" fmla="*/ 130 w 515"/>
                <a:gd name="T123" fmla="*/ 959 h 1087"/>
                <a:gd name="T124" fmla="*/ 130 w 515"/>
                <a:gd name="T125" fmla="*/ 948 h 1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5" h="1087">
                  <a:moveTo>
                    <a:pt x="374" y="700"/>
                  </a:moveTo>
                  <a:lnTo>
                    <a:pt x="364" y="683"/>
                  </a:lnTo>
                  <a:lnTo>
                    <a:pt x="378" y="643"/>
                  </a:lnTo>
                  <a:lnTo>
                    <a:pt x="374" y="615"/>
                  </a:lnTo>
                  <a:lnTo>
                    <a:pt x="378" y="615"/>
                  </a:lnTo>
                  <a:lnTo>
                    <a:pt x="390" y="598"/>
                  </a:lnTo>
                  <a:lnTo>
                    <a:pt x="348" y="560"/>
                  </a:lnTo>
                  <a:lnTo>
                    <a:pt x="364" y="556"/>
                  </a:lnTo>
                  <a:lnTo>
                    <a:pt x="374" y="539"/>
                  </a:lnTo>
                  <a:lnTo>
                    <a:pt x="364" y="539"/>
                  </a:lnTo>
                  <a:lnTo>
                    <a:pt x="348" y="522"/>
                  </a:lnTo>
                  <a:lnTo>
                    <a:pt x="340" y="522"/>
                  </a:lnTo>
                  <a:lnTo>
                    <a:pt x="336" y="504"/>
                  </a:lnTo>
                  <a:lnTo>
                    <a:pt x="326" y="515"/>
                  </a:lnTo>
                  <a:lnTo>
                    <a:pt x="319" y="515"/>
                  </a:lnTo>
                  <a:lnTo>
                    <a:pt x="310" y="499"/>
                  </a:lnTo>
                  <a:lnTo>
                    <a:pt x="310" y="478"/>
                  </a:lnTo>
                  <a:lnTo>
                    <a:pt x="303" y="478"/>
                  </a:lnTo>
                  <a:lnTo>
                    <a:pt x="293" y="461"/>
                  </a:lnTo>
                  <a:lnTo>
                    <a:pt x="248" y="421"/>
                  </a:lnTo>
                  <a:lnTo>
                    <a:pt x="234" y="388"/>
                  </a:lnTo>
                  <a:lnTo>
                    <a:pt x="227" y="388"/>
                  </a:lnTo>
                  <a:lnTo>
                    <a:pt x="211" y="371"/>
                  </a:lnTo>
                  <a:lnTo>
                    <a:pt x="211" y="367"/>
                  </a:lnTo>
                  <a:lnTo>
                    <a:pt x="211" y="350"/>
                  </a:lnTo>
                  <a:lnTo>
                    <a:pt x="180" y="338"/>
                  </a:lnTo>
                  <a:lnTo>
                    <a:pt x="140" y="310"/>
                  </a:lnTo>
                  <a:lnTo>
                    <a:pt x="118" y="300"/>
                  </a:lnTo>
                  <a:lnTo>
                    <a:pt x="130" y="284"/>
                  </a:lnTo>
                  <a:lnTo>
                    <a:pt x="130" y="267"/>
                  </a:lnTo>
                  <a:lnTo>
                    <a:pt x="173" y="277"/>
                  </a:lnTo>
                  <a:lnTo>
                    <a:pt x="185" y="260"/>
                  </a:lnTo>
                  <a:lnTo>
                    <a:pt x="185" y="256"/>
                  </a:lnTo>
                  <a:lnTo>
                    <a:pt x="194" y="244"/>
                  </a:lnTo>
                  <a:lnTo>
                    <a:pt x="194" y="239"/>
                  </a:lnTo>
                  <a:lnTo>
                    <a:pt x="173" y="211"/>
                  </a:lnTo>
                  <a:lnTo>
                    <a:pt x="156" y="211"/>
                  </a:lnTo>
                  <a:lnTo>
                    <a:pt x="173" y="201"/>
                  </a:lnTo>
                  <a:lnTo>
                    <a:pt x="130" y="173"/>
                  </a:lnTo>
                  <a:lnTo>
                    <a:pt x="118" y="182"/>
                  </a:lnTo>
                  <a:lnTo>
                    <a:pt x="109" y="201"/>
                  </a:lnTo>
                  <a:lnTo>
                    <a:pt x="71" y="182"/>
                  </a:lnTo>
                  <a:lnTo>
                    <a:pt x="48" y="149"/>
                  </a:lnTo>
                  <a:lnTo>
                    <a:pt x="55" y="116"/>
                  </a:lnTo>
                  <a:lnTo>
                    <a:pt x="33" y="128"/>
                  </a:lnTo>
                  <a:lnTo>
                    <a:pt x="33" y="100"/>
                  </a:lnTo>
                  <a:lnTo>
                    <a:pt x="0" y="74"/>
                  </a:lnTo>
                  <a:lnTo>
                    <a:pt x="22" y="41"/>
                  </a:lnTo>
                  <a:lnTo>
                    <a:pt x="64" y="62"/>
                  </a:lnTo>
                  <a:lnTo>
                    <a:pt x="76" y="41"/>
                  </a:lnTo>
                  <a:lnTo>
                    <a:pt x="92" y="57"/>
                  </a:lnTo>
                  <a:lnTo>
                    <a:pt x="102" y="41"/>
                  </a:lnTo>
                  <a:lnTo>
                    <a:pt x="126" y="62"/>
                  </a:lnTo>
                  <a:lnTo>
                    <a:pt x="130" y="41"/>
                  </a:lnTo>
                  <a:lnTo>
                    <a:pt x="147" y="29"/>
                  </a:lnTo>
                  <a:lnTo>
                    <a:pt x="147" y="41"/>
                  </a:lnTo>
                  <a:lnTo>
                    <a:pt x="156" y="45"/>
                  </a:lnTo>
                  <a:lnTo>
                    <a:pt x="173" y="29"/>
                  </a:lnTo>
                  <a:lnTo>
                    <a:pt x="180" y="41"/>
                  </a:lnTo>
                  <a:lnTo>
                    <a:pt x="194" y="5"/>
                  </a:lnTo>
                  <a:lnTo>
                    <a:pt x="227" y="0"/>
                  </a:lnTo>
                  <a:lnTo>
                    <a:pt x="239" y="17"/>
                  </a:lnTo>
                  <a:lnTo>
                    <a:pt x="255" y="29"/>
                  </a:lnTo>
                  <a:lnTo>
                    <a:pt x="281" y="22"/>
                  </a:lnTo>
                  <a:lnTo>
                    <a:pt x="286" y="29"/>
                  </a:lnTo>
                  <a:lnTo>
                    <a:pt x="303" y="22"/>
                  </a:lnTo>
                  <a:lnTo>
                    <a:pt x="319" y="29"/>
                  </a:lnTo>
                  <a:lnTo>
                    <a:pt x="326" y="41"/>
                  </a:lnTo>
                  <a:lnTo>
                    <a:pt x="310" y="62"/>
                  </a:lnTo>
                  <a:lnTo>
                    <a:pt x="319" y="78"/>
                  </a:lnTo>
                  <a:lnTo>
                    <a:pt x="319" y="95"/>
                  </a:lnTo>
                  <a:lnTo>
                    <a:pt x="340" y="100"/>
                  </a:lnTo>
                  <a:lnTo>
                    <a:pt x="340" y="111"/>
                  </a:lnTo>
                  <a:lnTo>
                    <a:pt x="357" y="116"/>
                  </a:lnTo>
                  <a:lnTo>
                    <a:pt x="364" y="128"/>
                  </a:lnTo>
                  <a:lnTo>
                    <a:pt x="395" y="128"/>
                  </a:lnTo>
                  <a:lnTo>
                    <a:pt x="411" y="133"/>
                  </a:lnTo>
                  <a:lnTo>
                    <a:pt x="411" y="133"/>
                  </a:lnTo>
                  <a:lnTo>
                    <a:pt x="407" y="145"/>
                  </a:lnTo>
                  <a:lnTo>
                    <a:pt x="395" y="133"/>
                  </a:lnTo>
                  <a:lnTo>
                    <a:pt x="378" y="149"/>
                  </a:lnTo>
                  <a:lnTo>
                    <a:pt x="374" y="149"/>
                  </a:lnTo>
                  <a:lnTo>
                    <a:pt x="364" y="173"/>
                  </a:lnTo>
                  <a:lnTo>
                    <a:pt x="348" y="182"/>
                  </a:lnTo>
                  <a:lnTo>
                    <a:pt x="340" y="173"/>
                  </a:lnTo>
                  <a:lnTo>
                    <a:pt x="348" y="173"/>
                  </a:lnTo>
                  <a:lnTo>
                    <a:pt x="340" y="173"/>
                  </a:lnTo>
                  <a:lnTo>
                    <a:pt x="336" y="173"/>
                  </a:lnTo>
                  <a:lnTo>
                    <a:pt x="336" y="182"/>
                  </a:lnTo>
                  <a:lnTo>
                    <a:pt x="326" y="182"/>
                  </a:lnTo>
                  <a:lnTo>
                    <a:pt x="326" y="173"/>
                  </a:lnTo>
                  <a:lnTo>
                    <a:pt x="310" y="173"/>
                  </a:lnTo>
                  <a:lnTo>
                    <a:pt x="326" y="182"/>
                  </a:lnTo>
                  <a:lnTo>
                    <a:pt x="319" y="182"/>
                  </a:lnTo>
                  <a:lnTo>
                    <a:pt x="326" y="201"/>
                  </a:lnTo>
                  <a:lnTo>
                    <a:pt x="310" y="201"/>
                  </a:lnTo>
                  <a:lnTo>
                    <a:pt x="310" y="227"/>
                  </a:lnTo>
                  <a:lnTo>
                    <a:pt x="303" y="227"/>
                  </a:lnTo>
                  <a:lnTo>
                    <a:pt x="310" y="227"/>
                  </a:lnTo>
                  <a:lnTo>
                    <a:pt x="265" y="256"/>
                  </a:lnTo>
                  <a:lnTo>
                    <a:pt x="255" y="277"/>
                  </a:lnTo>
                  <a:lnTo>
                    <a:pt x="255" y="300"/>
                  </a:lnTo>
                  <a:lnTo>
                    <a:pt x="239" y="322"/>
                  </a:lnTo>
                  <a:lnTo>
                    <a:pt x="265" y="367"/>
                  </a:lnTo>
                  <a:lnTo>
                    <a:pt x="303" y="404"/>
                  </a:lnTo>
                  <a:lnTo>
                    <a:pt x="293" y="421"/>
                  </a:lnTo>
                  <a:lnTo>
                    <a:pt x="319" y="445"/>
                  </a:lnTo>
                  <a:lnTo>
                    <a:pt x="348" y="466"/>
                  </a:lnTo>
                  <a:lnTo>
                    <a:pt x="348" y="482"/>
                  </a:lnTo>
                  <a:lnTo>
                    <a:pt x="378" y="499"/>
                  </a:lnTo>
                  <a:lnTo>
                    <a:pt x="374" y="499"/>
                  </a:lnTo>
                  <a:lnTo>
                    <a:pt x="390" y="504"/>
                  </a:lnTo>
                  <a:lnTo>
                    <a:pt x="395" y="522"/>
                  </a:lnTo>
                  <a:lnTo>
                    <a:pt x="411" y="522"/>
                  </a:lnTo>
                  <a:lnTo>
                    <a:pt x="428" y="532"/>
                  </a:lnTo>
                  <a:lnTo>
                    <a:pt x="418" y="539"/>
                  </a:lnTo>
                  <a:lnTo>
                    <a:pt x="428" y="544"/>
                  </a:lnTo>
                  <a:lnTo>
                    <a:pt x="428" y="532"/>
                  </a:lnTo>
                  <a:lnTo>
                    <a:pt x="433" y="539"/>
                  </a:lnTo>
                  <a:lnTo>
                    <a:pt x="428" y="539"/>
                  </a:lnTo>
                  <a:lnTo>
                    <a:pt x="433" y="544"/>
                  </a:lnTo>
                  <a:lnTo>
                    <a:pt x="461" y="589"/>
                  </a:lnTo>
                  <a:lnTo>
                    <a:pt x="466" y="589"/>
                  </a:lnTo>
                  <a:lnTo>
                    <a:pt x="503" y="704"/>
                  </a:lnTo>
                  <a:lnTo>
                    <a:pt x="503" y="709"/>
                  </a:lnTo>
                  <a:lnTo>
                    <a:pt x="499" y="704"/>
                  </a:lnTo>
                  <a:lnTo>
                    <a:pt x="499" y="704"/>
                  </a:lnTo>
                  <a:lnTo>
                    <a:pt x="499" y="737"/>
                  </a:lnTo>
                  <a:lnTo>
                    <a:pt x="515" y="775"/>
                  </a:lnTo>
                  <a:lnTo>
                    <a:pt x="499" y="792"/>
                  </a:lnTo>
                  <a:lnTo>
                    <a:pt x="503" y="815"/>
                  </a:lnTo>
                  <a:lnTo>
                    <a:pt x="487" y="808"/>
                  </a:lnTo>
                  <a:lnTo>
                    <a:pt x="499" y="848"/>
                  </a:lnTo>
                  <a:lnTo>
                    <a:pt x="499" y="832"/>
                  </a:lnTo>
                  <a:lnTo>
                    <a:pt x="499" y="837"/>
                  </a:lnTo>
                  <a:lnTo>
                    <a:pt x="487" y="848"/>
                  </a:lnTo>
                  <a:lnTo>
                    <a:pt x="499" y="853"/>
                  </a:lnTo>
                  <a:lnTo>
                    <a:pt x="487" y="870"/>
                  </a:lnTo>
                  <a:lnTo>
                    <a:pt x="482" y="870"/>
                  </a:lnTo>
                  <a:lnTo>
                    <a:pt x="482" y="886"/>
                  </a:lnTo>
                  <a:lnTo>
                    <a:pt x="466" y="886"/>
                  </a:lnTo>
                  <a:lnTo>
                    <a:pt x="418" y="919"/>
                  </a:lnTo>
                  <a:lnTo>
                    <a:pt x="411" y="931"/>
                  </a:lnTo>
                  <a:lnTo>
                    <a:pt x="395" y="931"/>
                  </a:lnTo>
                  <a:lnTo>
                    <a:pt x="357" y="959"/>
                  </a:lnTo>
                  <a:lnTo>
                    <a:pt x="340" y="948"/>
                  </a:lnTo>
                  <a:lnTo>
                    <a:pt x="340" y="931"/>
                  </a:lnTo>
                  <a:lnTo>
                    <a:pt x="336" y="948"/>
                  </a:lnTo>
                  <a:lnTo>
                    <a:pt x="336" y="943"/>
                  </a:lnTo>
                  <a:lnTo>
                    <a:pt x="319" y="931"/>
                  </a:lnTo>
                  <a:lnTo>
                    <a:pt x="319" y="948"/>
                  </a:lnTo>
                  <a:lnTo>
                    <a:pt x="310" y="948"/>
                  </a:lnTo>
                  <a:lnTo>
                    <a:pt x="319" y="948"/>
                  </a:lnTo>
                  <a:lnTo>
                    <a:pt x="326" y="964"/>
                  </a:lnTo>
                  <a:lnTo>
                    <a:pt x="293" y="964"/>
                  </a:lnTo>
                  <a:lnTo>
                    <a:pt x="326" y="976"/>
                  </a:lnTo>
                  <a:lnTo>
                    <a:pt x="326" y="981"/>
                  </a:lnTo>
                  <a:lnTo>
                    <a:pt x="310" y="988"/>
                  </a:lnTo>
                  <a:lnTo>
                    <a:pt x="286" y="964"/>
                  </a:lnTo>
                  <a:lnTo>
                    <a:pt x="319" y="988"/>
                  </a:lnTo>
                  <a:lnTo>
                    <a:pt x="310" y="997"/>
                  </a:lnTo>
                  <a:lnTo>
                    <a:pt x="281" y="964"/>
                  </a:lnTo>
                  <a:lnTo>
                    <a:pt x="310" y="1004"/>
                  </a:lnTo>
                  <a:lnTo>
                    <a:pt x="310" y="1014"/>
                  </a:lnTo>
                  <a:lnTo>
                    <a:pt x="293" y="1021"/>
                  </a:lnTo>
                  <a:lnTo>
                    <a:pt x="255" y="981"/>
                  </a:lnTo>
                  <a:lnTo>
                    <a:pt x="281" y="1014"/>
                  </a:lnTo>
                  <a:lnTo>
                    <a:pt x="281" y="1030"/>
                  </a:lnTo>
                  <a:lnTo>
                    <a:pt x="234" y="1042"/>
                  </a:lnTo>
                  <a:lnTo>
                    <a:pt x="218" y="1075"/>
                  </a:lnTo>
                  <a:lnTo>
                    <a:pt x="201" y="1087"/>
                  </a:lnTo>
                  <a:lnTo>
                    <a:pt x="180" y="1087"/>
                  </a:lnTo>
                  <a:lnTo>
                    <a:pt x="194" y="1075"/>
                  </a:lnTo>
                  <a:lnTo>
                    <a:pt x="185" y="1070"/>
                  </a:lnTo>
                  <a:lnTo>
                    <a:pt x="185" y="1004"/>
                  </a:lnTo>
                  <a:lnTo>
                    <a:pt x="201" y="988"/>
                  </a:lnTo>
                  <a:lnTo>
                    <a:pt x="211" y="997"/>
                  </a:lnTo>
                  <a:lnTo>
                    <a:pt x="211" y="988"/>
                  </a:lnTo>
                  <a:lnTo>
                    <a:pt x="185" y="964"/>
                  </a:lnTo>
                  <a:lnTo>
                    <a:pt x="173" y="976"/>
                  </a:lnTo>
                  <a:lnTo>
                    <a:pt x="163" y="959"/>
                  </a:lnTo>
                  <a:lnTo>
                    <a:pt x="173" y="948"/>
                  </a:lnTo>
                  <a:lnTo>
                    <a:pt x="194" y="943"/>
                  </a:lnTo>
                  <a:lnTo>
                    <a:pt x="201" y="931"/>
                  </a:lnTo>
                  <a:lnTo>
                    <a:pt x="201" y="919"/>
                  </a:lnTo>
                  <a:lnTo>
                    <a:pt x="211" y="919"/>
                  </a:lnTo>
                  <a:lnTo>
                    <a:pt x="227" y="919"/>
                  </a:lnTo>
                  <a:lnTo>
                    <a:pt x="234" y="919"/>
                  </a:lnTo>
                  <a:lnTo>
                    <a:pt x="255" y="910"/>
                  </a:lnTo>
                  <a:lnTo>
                    <a:pt x="281" y="926"/>
                  </a:lnTo>
                  <a:lnTo>
                    <a:pt x="281" y="910"/>
                  </a:lnTo>
                  <a:lnTo>
                    <a:pt x="255" y="893"/>
                  </a:lnTo>
                  <a:lnTo>
                    <a:pt x="255" y="870"/>
                  </a:lnTo>
                  <a:lnTo>
                    <a:pt x="265" y="865"/>
                  </a:lnTo>
                  <a:lnTo>
                    <a:pt x="272" y="853"/>
                  </a:lnTo>
                  <a:lnTo>
                    <a:pt x="303" y="865"/>
                  </a:lnTo>
                  <a:lnTo>
                    <a:pt x="293" y="837"/>
                  </a:lnTo>
                  <a:lnTo>
                    <a:pt x="319" y="837"/>
                  </a:lnTo>
                  <a:lnTo>
                    <a:pt x="348" y="815"/>
                  </a:lnTo>
                  <a:lnTo>
                    <a:pt x="364" y="815"/>
                  </a:lnTo>
                  <a:lnTo>
                    <a:pt x="374" y="820"/>
                  </a:lnTo>
                  <a:lnTo>
                    <a:pt x="378" y="815"/>
                  </a:lnTo>
                  <a:lnTo>
                    <a:pt x="378" y="792"/>
                  </a:lnTo>
                  <a:lnTo>
                    <a:pt x="374" y="766"/>
                  </a:lnTo>
                  <a:lnTo>
                    <a:pt x="378" y="726"/>
                  </a:lnTo>
                  <a:lnTo>
                    <a:pt x="374" y="704"/>
                  </a:lnTo>
                  <a:lnTo>
                    <a:pt x="374" y="700"/>
                  </a:lnTo>
                  <a:lnTo>
                    <a:pt x="374" y="700"/>
                  </a:lnTo>
                  <a:lnTo>
                    <a:pt x="374" y="700"/>
                  </a:lnTo>
                  <a:close/>
                  <a:moveTo>
                    <a:pt x="374" y="149"/>
                  </a:moveTo>
                  <a:lnTo>
                    <a:pt x="378" y="156"/>
                  </a:lnTo>
                  <a:lnTo>
                    <a:pt x="364" y="166"/>
                  </a:lnTo>
                  <a:lnTo>
                    <a:pt x="374" y="149"/>
                  </a:lnTo>
                  <a:lnTo>
                    <a:pt x="374" y="149"/>
                  </a:lnTo>
                  <a:lnTo>
                    <a:pt x="374" y="149"/>
                  </a:lnTo>
                  <a:close/>
                  <a:moveTo>
                    <a:pt x="378" y="173"/>
                  </a:moveTo>
                  <a:lnTo>
                    <a:pt x="374" y="182"/>
                  </a:lnTo>
                  <a:lnTo>
                    <a:pt x="364" y="182"/>
                  </a:lnTo>
                  <a:lnTo>
                    <a:pt x="378" y="173"/>
                  </a:lnTo>
                  <a:lnTo>
                    <a:pt x="378" y="173"/>
                  </a:lnTo>
                  <a:lnTo>
                    <a:pt x="378" y="173"/>
                  </a:lnTo>
                  <a:close/>
                  <a:moveTo>
                    <a:pt x="326" y="182"/>
                  </a:moveTo>
                  <a:lnTo>
                    <a:pt x="326" y="182"/>
                  </a:lnTo>
                  <a:lnTo>
                    <a:pt x="336" y="189"/>
                  </a:lnTo>
                  <a:lnTo>
                    <a:pt x="326" y="182"/>
                  </a:lnTo>
                  <a:lnTo>
                    <a:pt x="326" y="182"/>
                  </a:lnTo>
                  <a:lnTo>
                    <a:pt x="326" y="182"/>
                  </a:lnTo>
                  <a:close/>
                  <a:moveTo>
                    <a:pt x="336" y="182"/>
                  </a:moveTo>
                  <a:lnTo>
                    <a:pt x="348" y="189"/>
                  </a:lnTo>
                  <a:lnTo>
                    <a:pt x="340" y="201"/>
                  </a:lnTo>
                  <a:lnTo>
                    <a:pt x="336" y="182"/>
                  </a:lnTo>
                  <a:lnTo>
                    <a:pt x="336" y="182"/>
                  </a:lnTo>
                  <a:lnTo>
                    <a:pt x="336" y="182"/>
                  </a:lnTo>
                  <a:close/>
                  <a:moveTo>
                    <a:pt x="326" y="931"/>
                  </a:moveTo>
                  <a:lnTo>
                    <a:pt x="326" y="943"/>
                  </a:lnTo>
                  <a:lnTo>
                    <a:pt x="326" y="959"/>
                  </a:lnTo>
                  <a:lnTo>
                    <a:pt x="326" y="948"/>
                  </a:lnTo>
                  <a:lnTo>
                    <a:pt x="326" y="931"/>
                  </a:lnTo>
                  <a:lnTo>
                    <a:pt x="326" y="931"/>
                  </a:lnTo>
                  <a:lnTo>
                    <a:pt x="326" y="931"/>
                  </a:lnTo>
                  <a:close/>
                  <a:moveTo>
                    <a:pt x="336" y="948"/>
                  </a:moveTo>
                  <a:lnTo>
                    <a:pt x="340" y="959"/>
                  </a:lnTo>
                  <a:lnTo>
                    <a:pt x="336" y="959"/>
                  </a:lnTo>
                  <a:lnTo>
                    <a:pt x="336" y="948"/>
                  </a:lnTo>
                  <a:lnTo>
                    <a:pt x="336" y="948"/>
                  </a:lnTo>
                  <a:lnTo>
                    <a:pt x="336" y="948"/>
                  </a:lnTo>
                  <a:close/>
                  <a:moveTo>
                    <a:pt x="130" y="948"/>
                  </a:moveTo>
                  <a:lnTo>
                    <a:pt x="130" y="959"/>
                  </a:lnTo>
                  <a:lnTo>
                    <a:pt x="130" y="981"/>
                  </a:lnTo>
                  <a:lnTo>
                    <a:pt x="118" y="959"/>
                  </a:lnTo>
                  <a:lnTo>
                    <a:pt x="130" y="948"/>
                  </a:lnTo>
                  <a:lnTo>
                    <a:pt x="130" y="948"/>
                  </a:lnTo>
                  <a:lnTo>
                    <a:pt x="130" y="94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528" name="Gruppieren 3527">
            <a:extLst>
              <a:ext uri="{FF2B5EF4-FFF2-40B4-BE49-F238E27FC236}">
                <a16:creationId xmlns:a16="http://schemas.microsoft.com/office/drawing/2014/main" id="{780B2267-E750-4624-BB92-C485D8A10153}"/>
              </a:ext>
            </a:extLst>
          </p:cNvPr>
          <p:cNvGrpSpPr/>
          <p:nvPr/>
        </p:nvGrpSpPr>
        <p:grpSpPr bwMode="gray">
          <a:xfrm>
            <a:off x="3185784" y="1164950"/>
            <a:ext cx="5038896" cy="4869779"/>
            <a:chOff x="5995933" y="2821679"/>
            <a:chExt cx="3093288" cy="2989470"/>
          </a:xfrm>
          <a:pattFill prst="ltUpDiag">
            <a:fgClr>
              <a:schemeClr val="accent2"/>
            </a:fgClr>
            <a:bgClr>
              <a:schemeClr val="bg1"/>
            </a:bgClr>
          </a:pattFill>
        </p:grpSpPr>
        <p:sp>
          <p:nvSpPr>
            <p:cNvPr id="3529" name="Freeform 380">
              <a:extLst>
                <a:ext uri="{FF2B5EF4-FFF2-40B4-BE49-F238E27FC236}">
                  <a16:creationId xmlns:a16="http://schemas.microsoft.com/office/drawing/2014/main" id="{7241B22F-5D85-4A95-A153-8EC53E96DF03}"/>
                </a:ext>
              </a:extLst>
            </p:cNvPr>
            <p:cNvSpPr>
              <a:spLocks/>
            </p:cNvSpPr>
            <p:nvPr/>
          </p:nvSpPr>
          <p:spPr bwMode="gray">
            <a:xfrm>
              <a:off x="6476353" y="2912257"/>
              <a:ext cx="594864" cy="582578"/>
            </a:xfrm>
            <a:custGeom>
              <a:avLst/>
              <a:gdLst>
                <a:gd name="T0" fmla="*/ 399 w 1445"/>
                <a:gd name="T1" fmla="*/ 427 h 1415"/>
                <a:gd name="T2" fmla="*/ 446 w 1445"/>
                <a:gd name="T3" fmla="*/ 399 h 1415"/>
                <a:gd name="T4" fmla="*/ 522 w 1445"/>
                <a:gd name="T5" fmla="*/ 399 h 1415"/>
                <a:gd name="T6" fmla="*/ 522 w 1445"/>
                <a:gd name="T7" fmla="*/ 387 h 1415"/>
                <a:gd name="T8" fmla="*/ 508 w 1445"/>
                <a:gd name="T9" fmla="*/ 354 h 1415"/>
                <a:gd name="T10" fmla="*/ 508 w 1445"/>
                <a:gd name="T11" fmla="*/ 333 h 1415"/>
                <a:gd name="T12" fmla="*/ 491 w 1445"/>
                <a:gd name="T13" fmla="*/ 283 h 1415"/>
                <a:gd name="T14" fmla="*/ 491 w 1445"/>
                <a:gd name="T15" fmla="*/ 243 h 1415"/>
                <a:gd name="T16" fmla="*/ 491 w 1445"/>
                <a:gd name="T17" fmla="*/ 210 h 1415"/>
                <a:gd name="T18" fmla="*/ 484 w 1445"/>
                <a:gd name="T19" fmla="*/ 193 h 1415"/>
                <a:gd name="T20" fmla="*/ 484 w 1445"/>
                <a:gd name="T21" fmla="*/ 165 h 1415"/>
                <a:gd name="T22" fmla="*/ 538 w 1445"/>
                <a:gd name="T23" fmla="*/ 116 h 1415"/>
                <a:gd name="T24" fmla="*/ 560 w 1445"/>
                <a:gd name="T25" fmla="*/ 116 h 1415"/>
                <a:gd name="T26" fmla="*/ 597 w 1445"/>
                <a:gd name="T27" fmla="*/ 111 h 1415"/>
                <a:gd name="T28" fmla="*/ 690 w 1445"/>
                <a:gd name="T29" fmla="*/ 45 h 1415"/>
                <a:gd name="T30" fmla="*/ 786 w 1445"/>
                <a:gd name="T31" fmla="*/ 45 h 1415"/>
                <a:gd name="T32" fmla="*/ 853 w 1445"/>
                <a:gd name="T33" fmla="*/ 28 h 1415"/>
                <a:gd name="T34" fmla="*/ 938 w 1445"/>
                <a:gd name="T35" fmla="*/ 12 h 1415"/>
                <a:gd name="T36" fmla="*/ 1008 w 1445"/>
                <a:gd name="T37" fmla="*/ 21 h 1415"/>
                <a:gd name="T38" fmla="*/ 1046 w 1445"/>
                <a:gd name="T39" fmla="*/ 4 h 1415"/>
                <a:gd name="T40" fmla="*/ 1067 w 1445"/>
                <a:gd name="T41" fmla="*/ 12 h 1415"/>
                <a:gd name="T42" fmla="*/ 1110 w 1445"/>
                <a:gd name="T43" fmla="*/ 12 h 1415"/>
                <a:gd name="T44" fmla="*/ 1117 w 1445"/>
                <a:gd name="T45" fmla="*/ 0 h 1415"/>
                <a:gd name="T46" fmla="*/ 1164 w 1445"/>
                <a:gd name="T47" fmla="*/ 21 h 1415"/>
                <a:gd name="T48" fmla="*/ 1209 w 1445"/>
                <a:gd name="T49" fmla="*/ 12 h 1415"/>
                <a:gd name="T50" fmla="*/ 1176 w 1445"/>
                <a:gd name="T51" fmla="*/ 45 h 1415"/>
                <a:gd name="T52" fmla="*/ 1186 w 1445"/>
                <a:gd name="T53" fmla="*/ 99 h 1415"/>
                <a:gd name="T54" fmla="*/ 1193 w 1445"/>
                <a:gd name="T55" fmla="*/ 139 h 1415"/>
                <a:gd name="T56" fmla="*/ 1186 w 1445"/>
                <a:gd name="T57" fmla="*/ 205 h 1415"/>
                <a:gd name="T58" fmla="*/ 1155 w 1445"/>
                <a:gd name="T59" fmla="*/ 234 h 1415"/>
                <a:gd name="T60" fmla="*/ 1134 w 1445"/>
                <a:gd name="T61" fmla="*/ 260 h 1415"/>
                <a:gd name="T62" fmla="*/ 1176 w 1445"/>
                <a:gd name="T63" fmla="*/ 321 h 1415"/>
                <a:gd name="T64" fmla="*/ 1193 w 1445"/>
                <a:gd name="T65" fmla="*/ 371 h 1415"/>
                <a:gd name="T66" fmla="*/ 1278 w 1445"/>
                <a:gd name="T67" fmla="*/ 555 h 1415"/>
                <a:gd name="T68" fmla="*/ 1285 w 1445"/>
                <a:gd name="T69" fmla="*/ 600 h 1415"/>
                <a:gd name="T70" fmla="*/ 1294 w 1445"/>
                <a:gd name="T71" fmla="*/ 711 h 1415"/>
                <a:gd name="T72" fmla="*/ 1285 w 1445"/>
                <a:gd name="T73" fmla="*/ 782 h 1415"/>
                <a:gd name="T74" fmla="*/ 1299 w 1445"/>
                <a:gd name="T75" fmla="*/ 822 h 1415"/>
                <a:gd name="T76" fmla="*/ 1273 w 1445"/>
                <a:gd name="T77" fmla="*/ 855 h 1415"/>
                <a:gd name="T78" fmla="*/ 1311 w 1445"/>
                <a:gd name="T79" fmla="*/ 933 h 1415"/>
                <a:gd name="T80" fmla="*/ 1327 w 1445"/>
                <a:gd name="T81" fmla="*/ 982 h 1415"/>
                <a:gd name="T82" fmla="*/ 1337 w 1445"/>
                <a:gd name="T83" fmla="*/ 1004 h 1415"/>
                <a:gd name="T84" fmla="*/ 1419 w 1445"/>
                <a:gd name="T85" fmla="*/ 1011 h 1415"/>
                <a:gd name="T86" fmla="*/ 1134 w 1445"/>
                <a:gd name="T87" fmla="*/ 1278 h 1415"/>
                <a:gd name="T88" fmla="*/ 907 w 1445"/>
                <a:gd name="T89" fmla="*/ 1405 h 1415"/>
                <a:gd name="T90" fmla="*/ 824 w 1445"/>
                <a:gd name="T91" fmla="*/ 1405 h 1415"/>
                <a:gd name="T92" fmla="*/ 831 w 1445"/>
                <a:gd name="T93" fmla="*/ 1353 h 1415"/>
                <a:gd name="T94" fmla="*/ 760 w 1445"/>
                <a:gd name="T95" fmla="*/ 1320 h 1415"/>
                <a:gd name="T96" fmla="*/ 734 w 1445"/>
                <a:gd name="T97" fmla="*/ 1315 h 1415"/>
                <a:gd name="T98" fmla="*/ 690 w 1445"/>
                <a:gd name="T99" fmla="*/ 1282 h 1415"/>
                <a:gd name="T100" fmla="*/ 269 w 1445"/>
                <a:gd name="T101" fmla="*/ 966 h 1415"/>
                <a:gd name="T102" fmla="*/ 0 w 1445"/>
                <a:gd name="T103" fmla="*/ 760 h 1415"/>
                <a:gd name="T104" fmla="*/ 108 w 1445"/>
                <a:gd name="T105" fmla="*/ 600 h 1415"/>
                <a:gd name="T106" fmla="*/ 160 w 1445"/>
                <a:gd name="T107" fmla="*/ 593 h 1415"/>
                <a:gd name="T108" fmla="*/ 236 w 1445"/>
                <a:gd name="T109" fmla="*/ 567 h 1415"/>
                <a:gd name="T110" fmla="*/ 302 w 1445"/>
                <a:gd name="T111" fmla="*/ 522 h 1415"/>
                <a:gd name="T112" fmla="*/ 356 w 1445"/>
                <a:gd name="T113" fmla="*/ 498 h 1415"/>
                <a:gd name="T114" fmla="*/ 340 w 1445"/>
                <a:gd name="T115" fmla="*/ 482 h 1415"/>
                <a:gd name="T116" fmla="*/ 366 w 1445"/>
                <a:gd name="T117" fmla="*/ 432 h 1415"/>
                <a:gd name="T118" fmla="*/ 366 w 1445"/>
                <a:gd name="T119" fmla="*/ 432 h 1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5" h="1415">
                  <a:moveTo>
                    <a:pt x="366" y="432"/>
                  </a:moveTo>
                  <a:lnTo>
                    <a:pt x="399" y="427"/>
                  </a:lnTo>
                  <a:lnTo>
                    <a:pt x="408" y="411"/>
                  </a:lnTo>
                  <a:lnTo>
                    <a:pt x="446" y="399"/>
                  </a:lnTo>
                  <a:lnTo>
                    <a:pt x="522" y="411"/>
                  </a:lnTo>
                  <a:lnTo>
                    <a:pt x="522" y="399"/>
                  </a:lnTo>
                  <a:lnTo>
                    <a:pt x="517" y="399"/>
                  </a:lnTo>
                  <a:lnTo>
                    <a:pt x="522" y="387"/>
                  </a:lnTo>
                  <a:lnTo>
                    <a:pt x="538" y="371"/>
                  </a:lnTo>
                  <a:lnTo>
                    <a:pt x="508" y="354"/>
                  </a:lnTo>
                  <a:lnTo>
                    <a:pt x="501" y="338"/>
                  </a:lnTo>
                  <a:lnTo>
                    <a:pt x="508" y="333"/>
                  </a:lnTo>
                  <a:lnTo>
                    <a:pt x="491" y="316"/>
                  </a:lnTo>
                  <a:lnTo>
                    <a:pt x="491" y="283"/>
                  </a:lnTo>
                  <a:lnTo>
                    <a:pt x="484" y="276"/>
                  </a:lnTo>
                  <a:lnTo>
                    <a:pt x="491" y="243"/>
                  </a:lnTo>
                  <a:lnTo>
                    <a:pt x="484" y="222"/>
                  </a:lnTo>
                  <a:lnTo>
                    <a:pt x="491" y="210"/>
                  </a:lnTo>
                  <a:lnTo>
                    <a:pt x="475" y="205"/>
                  </a:lnTo>
                  <a:lnTo>
                    <a:pt x="484" y="193"/>
                  </a:lnTo>
                  <a:lnTo>
                    <a:pt x="453" y="165"/>
                  </a:lnTo>
                  <a:lnTo>
                    <a:pt x="484" y="165"/>
                  </a:lnTo>
                  <a:lnTo>
                    <a:pt x="517" y="139"/>
                  </a:lnTo>
                  <a:lnTo>
                    <a:pt x="538" y="116"/>
                  </a:lnTo>
                  <a:lnTo>
                    <a:pt x="555" y="111"/>
                  </a:lnTo>
                  <a:lnTo>
                    <a:pt x="560" y="116"/>
                  </a:lnTo>
                  <a:lnTo>
                    <a:pt x="583" y="99"/>
                  </a:lnTo>
                  <a:lnTo>
                    <a:pt x="597" y="111"/>
                  </a:lnTo>
                  <a:lnTo>
                    <a:pt x="626" y="82"/>
                  </a:lnTo>
                  <a:lnTo>
                    <a:pt x="690" y="45"/>
                  </a:lnTo>
                  <a:lnTo>
                    <a:pt x="772" y="38"/>
                  </a:lnTo>
                  <a:lnTo>
                    <a:pt x="786" y="45"/>
                  </a:lnTo>
                  <a:lnTo>
                    <a:pt x="810" y="21"/>
                  </a:lnTo>
                  <a:lnTo>
                    <a:pt x="853" y="28"/>
                  </a:lnTo>
                  <a:lnTo>
                    <a:pt x="878" y="12"/>
                  </a:lnTo>
                  <a:lnTo>
                    <a:pt x="938" y="12"/>
                  </a:lnTo>
                  <a:lnTo>
                    <a:pt x="975" y="38"/>
                  </a:lnTo>
                  <a:lnTo>
                    <a:pt x="1008" y="21"/>
                  </a:lnTo>
                  <a:lnTo>
                    <a:pt x="1046" y="12"/>
                  </a:lnTo>
                  <a:lnTo>
                    <a:pt x="1046" y="4"/>
                  </a:lnTo>
                  <a:lnTo>
                    <a:pt x="1063" y="0"/>
                  </a:lnTo>
                  <a:lnTo>
                    <a:pt x="1067" y="12"/>
                  </a:lnTo>
                  <a:lnTo>
                    <a:pt x="1096" y="12"/>
                  </a:lnTo>
                  <a:lnTo>
                    <a:pt x="1110" y="12"/>
                  </a:lnTo>
                  <a:lnTo>
                    <a:pt x="1117" y="4"/>
                  </a:lnTo>
                  <a:lnTo>
                    <a:pt x="1117" y="0"/>
                  </a:lnTo>
                  <a:lnTo>
                    <a:pt x="1155" y="12"/>
                  </a:lnTo>
                  <a:lnTo>
                    <a:pt x="1164" y="21"/>
                  </a:lnTo>
                  <a:lnTo>
                    <a:pt x="1186" y="12"/>
                  </a:lnTo>
                  <a:lnTo>
                    <a:pt x="1209" y="12"/>
                  </a:lnTo>
                  <a:lnTo>
                    <a:pt x="1219" y="21"/>
                  </a:lnTo>
                  <a:lnTo>
                    <a:pt x="1176" y="45"/>
                  </a:lnTo>
                  <a:lnTo>
                    <a:pt x="1193" y="54"/>
                  </a:lnTo>
                  <a:lnTo>
                    <a:pt x="1186" y="99"/>
                  </a:lnTo>
                  <a:lnTo>
                    <a:pt x="1193" y="116"/>
                  </a:lnTo>
                  <a:lnTo>
                    <a:pt x="1193" y="139"/>
                  </a:lnTo>
                  <a:lnTo>
                    <a:pt x="1193" y="156"/>
                  </a:lnTo>
                  <a:lnTo>
                    <a:pt x="1186" y="205"/>
                  </a:lnTo>
                  <a:lnTo>
                    <a:pt x="1155" y="222"/>
                  </a:lnTo>
                  <a:lnTo>
                    <a:pt x="1155" y="234"/>
                  </a:lnTo>
                  <a:lnTo>
                    <a:pt x="1134" y="243"/>
                  </a:lnTo>
                  <a:lnTo>
                    <a:pt x="1134" y="260"/>
                  </a:lnTo>
                  <a:lnTo>
                    <a:pt x="1148" y="316"/>
                  </a:lnTo>
                  <a:lnTo>
                    <a:pt x="1176" y="321"/>
                  </a:lnTo>
                  <a:lnTo>
                    <a:pt x="1193" y="345"/>
                  </a:lnTo>
                  <a:lnTo>
                    <a:pt x="1193" y="371"/>
                  </a:lnTo>
                  <a:lnTo>
                    <a:pt x="1240" y="411"/>
                  </a:lnTo>
                  <a:lnTo>
                    <a:pt x="1278" y="555"/>
                  </a:lnTo>
                  <a:lnTo>
                    <a:pt x="1261" y="560"/>
                  </a:lnTo>
                  <a:lnTo>
                    <a:pt x="1285" y="600"/>
                  </a:lnTo>
                  <a:lnTo>
                    <a:pt x="1294" y="638"/>
                  </a:lnTo>
                  <a:lnTo>
                    <a:pt x="1294" y="711"/>
                  </a:lnTo>
                  <a:lnTo>
                    <a:pt x="1311" y="744"/>
                  </a:lnTo>
                  <a:lnTo>
                    <a:pt x="1285" y="782"/>
                  </a:lnTo>
                  <a:lnTo>
                    <a:pt x="1299" y="815"/>
                  </a:lnTo>
                  <a:lnTo>
                    <a:pt x="1299" y="822"/>
                  </a:lnTo>
                  <a:lnTo>
                    <a:pt x="1299" y="843"/>
                  </a:lnTo>
                  <a:lnTo>
                    <a:pt x="1273" y="855"/>
                  </a:lnTo>
                  <a:lnTo>
                    <a:pt x="1261" y="871"/>
                  </a:lnTo>
                  <a:lnTo>
                    <a:pt x="1311" y="933"/>
                  </a:lnTo>
                  <a:lnTo>
                    <a:pt x="1311" y="971"/>
                  </a:lnTo>
                  <a:lnTo>
                    <a:pt x="1327" y="982"/>
                  </a:lnTo>
                  <a:lnTo>
                    <a:pt x="1327" y="987"/>
                  </a:lnTo>
                  <a:lnTo>
                    <a:pt x="1337" y="1004"/>
                  </a:lnTo>
                  <a:lnTo>
                    <a:pt x="1353" y="999"/>
                  </a:lnTo>
                  <a:lnTo>
                    <a:pt x="1419" y="1011"/>
                  </a:lnTo>
                  <a:lnTo>
                    <a:pt x="1445" y="1077"/>
                  </a:lnTo>
                  <a:lnTo>
                    <a:pt x="1134" y="1278"/>
                  </a:lnTo>
                  <a:lnTo>
                    <a:pt x="1013" y="1389"/>
                  </a:lnTo>
                  <a:lnTo>
                    <a:pt x="907" y="1405"/>
                  </a:lnTo>
                  <a:lnTo>
                    <a:pt x="841" y="1415"/>
                  </a:lnTo>
                  <a:lnTo>
                    <a:pt x="824" y="1405"/>
                  </a:lnTo>
                  <a:lnTo>
                    <a:pt x="841" y="1389"/>
                  </a:lnTo>
                  <a:lnTo>
                    <a:pt x="831" y="1353"/>
                  </a:lnTo>
                  <a:lnTo>
                    <a:pt x="777" y="1337"/>
                  </a:lnTo>
                  <a:lnTo>
                    <a:pt x="760" y="1320"/>
                  </a:lnTo>
                  <a:lnTo>
                    <a:pt x="756" y="1320"/>
                  </a:lnTo>
                  <a:lnTo>
                    <a:pt x="734" y="1315"/>
                  </a:lnTo>
                  <a:lnTo>
                    <a:pt x="723" y="1299"/>
                  </a:lnTo>
                  <a:lnTo>
                    <a:pt x="690" y="1282"/>
                  </a:lnTo>
                  <a:lnTo>
                    <a:pt x="690" y="1261"/>
                  </a:lnTo>
                  <a:lnTo>
                    <a:pt x="269" y="966"/>
                  </a:lnTo>
                  <a:lnTo>
                    <a:pt x="0" y="782"/>
                  </a:lnTo>
                  <a:lnTo>
                    <a:pt x="0" y="760"/>
                  </a:lnTo>
                  <a:lnTo>
                    <a:pt x="0" y="671"/>
                  </a:lnTo>
                  <a:lnTo>
                    <a:pt x="108" y="600"/>
                  </a:lnTo>
                  <a:lnTo>
                    <a:pt x="146" y="609"/>
                  </a:lnTo>
                  <a:lnTo>
                    <a:pt x="160" y="593"/>
                  </a:lnTo>
                  <a:lnTo>
                    <a:pt x="222" y="583"/>
                  </a:lnTo>
                  <a:lnTo>
                    <a:pt x="236" y="567"/>
                  </a:lnTo>
                  <a:lnTo>
                    <a:pt x="260" y="538"/>
                  </a:lnTo>
                  <a:lnTo>
                    <a:pt x="302" y="522"/>
                  </a:lnTo>
                  <a:lnTo>
                    <a:pt x="323" y="498"/>
                  </a:lnTo>
                  <a:lnTo>
                    <a:pt x="356" y="498"/>
                  </a:lnTo>
                  <a:lnTo>
                    <a:pt x="356" y="489"/>
                  </a:lnTo>
                  <a:lnTo>
                    <a:pt x="340" y="482"/>
                  </a:lnTo>
                  <a:lnTo>
                    <a:pt x="340" y="444"/>
                  </a:lnTo>
                  <a:lnTo>
                    <a:pt x="366" y="432"/>
                  </a:lnTo>
                  <a:lnTo>
                    <a:pt x="366" y="432"/>
                  </a:lnTo>
                  <a:lnTo>
                    <a:pt x="366" y="43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0" name="Freeform 385">
              <a:extLst>
                <a:ext uri="{FF2B5EF4-FFF2-40B4-BE49-F238E27FC236}">
                  <a16:creationId xmlns:a16="http://schemas.microsoft.com/office/drawing/2014/main" id="{216319E0-1B0D-4AE8-B597-B6E3DB03AA5B}"/>
                </a:ext>
              </a:extLst>
            </p:cNvPr>
            <p:cNvSpPr>
              <a:spLocks noEditPoints="1"/>
            </p:cNvSpPr>
            <p:nvPr/>
          </p:nvSpPr>
          <p:spPr bwMode="gray">
            <a:xfrm>
              <a:off x="7066686" y="4198046"/>
              <a:ext cx="356918" cy="406364"/>
            </a:xfrm>
            <a:custGeom>
              <a:avLst/>
              <a:gdLst>
                <a:gd name="T0" fmla="*/ 75 w 867"/>
                <a:gd name="T1" fmla="*/ 23 h 987"/>
                <a:gd name="T2" fmla="*/ 54 w 867"/>
                <a:gd name="T3" fmla="*/ 94 h 987"/>
                <a:gd name="T4" fmla="*/ 21 w 867"/>
                <a:gd name="T5" fmla="*/ 85 h 987"/>
                <a:gd name="T6" fmla="*/ 9 w 867"/>
                <a:gd name="T7" fmla="*/ 40 h 987"/>
                <a:gd name="T8" fmla="*/ 37 w 867"/>
                <a:gd name="T9" fmla="*/ 23 h 987"/>
                <a:gd name="T10" fmla="*/ 59 w 867"/>
                <a:gd name="T11" fmla="*/ 7 h 987"/>
                <a:gd name="T12" fmla="*/ 75 w 867"/>
                <a:gd name="T13" fmla="*/ 0 h 987"/>
                <a:gd name="T14" fmla="*/ 92 w 867"/>
                <a:gd name="T15" fmla="*/ 16 h 987"/>
                <a:gd name="T16" fmla="*/ 817 w 867"/>
                <a:gd name="T17" fmla="*/ 966 h 987"/>
                <a:gd name="T18" fmla="*/ 654 w 867"/>
                <a:gd name="T19" fmla="*/ 982 h 987"/>
                <a:gd name="T20" fmla="*/ 616 w 867"/>
                <a:gd name="T21" fmla="*/ 987 h 987"/>
                <a:gd name="T22" fmla="*/ 498 w 867"/>
                <a:gd name="T23" fmla="*/ 970 h 987"/>
                <a:gd name="T24" fmla="*/ 470 w 867"/>
                <a:gd name="T25" fmla="*/ 942 h 987"/>
                <a:gd name="T26" fmla="*/ 118 w 867"/>
                <a:gd name="T27" fmla="*/ 916 h 987"/>
                <a:gd name="T28" fmla="*/ 54 w 867"/>
                <a:gd name="T29" fmla="*/ 933 h 987"/>
                <a:gd name="T30" fmla="*/ 0 w 867"/>
                <a:gd name="T31" fmla="*/ 933 h 987"/>
                <a:gd name="T32" fmla="*/ 0 w 867"/>
                <a:gd name="T33" fmla="*/ 838 h 987"/>
                <a:gd name="T34" fmla="*/ 9 w 867"/>
                <a:gd name="T35" fmla="*/ 814 h 987"/>
                <a:gd name="T36" fmla="*/ 37 w 867"/>
                <a:gd name="T37" fmla="*/ 748 h 987"/>
                <a:gd name="T38" fmla="*/ 54 w 867"/>
                <a:gd name="T39" fmla="*/ 682 h 987"/>
                <a:gd name="T40" fmla="*/ 80 w 867"/>
                <a:gd name="T41" fmla="*/ 616 h 987"/>
                <a:gd name="T42" fmla="*/ 113 w 867"/>
                <a:gd name="T43" fmla="*/ 583 h 987"/>
                <a:gd name="T44" fmla="*/ 146 w 867"/>
                <a:gd name="T45" fmla="*/ 472 h 987"/>
                <a:gd name="T46" fmla="*/ 134 w 867"/>
                <a:gd name="T47" fmla="*/ 451 h 987"/>
                <a:gd name="T48" fmla="*/ 80 w 867"/>
                <a:gd name="T49" fmla="*/ 333 h 987"/>
                <a:gd name="T50" fmla="*/ 80 w 867"/>
                <a:gd name="T51" fmla="*/ 333 h 987"/>
                <a:gd name="T52" fmla="*/ 113 w 867"/>
                <a:gd name="T53" fmla="*/ 283 h 987"/>
                <a:gd name="T54" fmla="*/ 75 w 867"/>
                <a:gd name="T55" fmla="*/ 184 h 987"/>
                <a:gd name="T56" fmla="*/ 26 w 867"/>
                <a:gd name="T57" fmla="*/ 118 h 987"/>
                <a:gd name="T58" fmla="*/ 96 w 867"/>
                <a:gd name="T59" fmla="*/ 101 h 987"/>
                <a:gd name="T60" fmla="*/ 335 w 867"/>
                <a:gd name="T61" fmla="*/ 111 h 987"/>
                <a:gd name="T62" fmla="*/ 344 w 867"/>
                <a:gd name="T63" fmla="*/ 139 h 987"/>
                <a:gd name="T64" fmla="*/ 361 w 867"/>
                <a:gd name="T65" fmla="*/ 196 h 987"/>
                <a:gd name="T66" fmla="*/ 432 w 867"/>
                <a:gd name="T67" fmla="*/ 262 h 987"/>
                <a:gd name="T68" fmla="*/ 444 w 867"/>
                <a:gd name="T69" fmla="*/ 262 h 987"/>
                <a:gd name="T70" fmla="*/ 470 w 867"/>
                <a:gd name="T71" fmla="*/ 250 h 987"/>
                <a:gd name="T72" fmla="*/ 529 w 867"/>
                <a:gd name="T73" fmla="*/ 229 h 987"/>
                <a:gd name="T74" fmla="*/ 545 w 867"/>
                <a:gd name="T75" fmla="*/ 184 h 987"/>
                <a:gd name="T76" fmla="*/ 600 w 867"/>
                <a:gd name="T77" fmla="*/ 184 h 987"/>
                <a:gd name="T78" fmla="*/ 616 w 867"/>
                <a:gd name="T79" fmla="*/ 205 h 987"/>
                <a:gd name="T80" fmla="*/ 708 w 867"/>
                <a:gd name="T81" fmla="*/ 222 h 987"/>
                <a:gd name="T82" fmla="*/ 708 w 867"/>
                <a:gd name="T83" fmla="*/ 295 h 987"/>
                <a:gd name="T84" fmla="*/ 708 w 867"/>
                <a:gd name="T85" fmla="*/ 377 h 987"/>
                <a:gd name="T86" fmla="*/ 741 w 867"/>
                <a:gd name="T87" fmla="*/ 427 h 987"/>
                <a:gd name="T88" fmla="*/ 730 w 867"/>
                <a:gd name="T89" fmla="*/ 467 h 987"/>
                <a:gd name="T90" fmla="*/ 758 w 867"/>
                <a:gd name="T91" fmla="*/ 472 h 987"/>
                <a:gd name="T92" fmla="*/ 817 w 867"/>
                <a:gd name="T93" fmla="*/ 472 h 987"/>
                <a:gd name="T94" fmla="*/ 855 w 867"/>
                <a:gd name="T95" fmla="*/ 467 h 987"/>
                <a:gd name="T96" fmla="*/ 855 w 867"/>
                <a:gd name="T97" fmla="*/ 522 h 987"/>
                <a:gd name="T98" fmla="*/ 867 w 867"/>
                <a:gd name="T99" fmla="*/ 578 h 987"/>
                <a:gd name="T100" fmla="*/ 855 w 867"/>
                <a:gd name="T101" fmla="*/ 628 h 987"/>
                <a:gd name="T102" fmla="*/ 720 w 867"/>
                <a:gd name="T103" fmla="*/ 855 h 987"/>
                <a:gd name="T104" fmla="*/ 800 w 867"/>
                <a:gd name="T105" fmla="*/ 949 h 987"/>
                <a:gd name="T106" fmla="*/ 817 w 867"/>
                <a:gd name="T107" fmla="*/ 966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7" h="987">
                  <a:moveTo>
                    <a:pt x="92" y="16"/>
                  </a:moveTo>
                  <a:lnTo>
                    <a:pt x="75" y="23"/>
                  </a:lnTo>
                  <a:lnTo>
                    <a:pt x="54" y="40"/>
                  </a:lnTo>
                  <a:lnTo>
                    <a:pt x="54" y="94"/>
                  </a:lnTo>
                  <a:lnTo>
                    <a:pt x="26" y="94"/>
                  </a:lnTo>
                  <a:lnTo>
                    <a:pt x="21" y="85"/>
                  </a:lnTo>
                  <a:lnTo>
                    <a:pt x="26" y="73"/>
                  </a:lnTo>
                  <a:lnTo>
                    <a:pt x="9" y="40"/>
                  </a:lnTo>
                  <a:lnTo>
                    <a:pt x="26" y="23"/>
                  </a:lnTo>
                  <a:lnTo>
                    <a:pt x="37" y="23"/>
                  </a:lnTo>
                  <a:lnTo>
                    <a:pt x="42" y="16"/>
                  </a:lnTo>
                  <a:lnTo>
                    <a:pt x="59" y="7"/>
                  </a:lnTo>
                  <a:lnTo>
                    <a:pt x="63" y="0"/>
                  </a:lnTo>
                  <a:lnTo>
                    <a:pt x="75" y="0"/>
                  </a:lnTo>
                  <a:lnTo>
                    <a:pt x="92" y="16"/>
                  </a:lnTo>
                  <a:lnTo>
                    <a:pt x="92" y="16"/>
                  </a:lnTo>
                  <a:lnTo>
                    <a:pt x="92" y="16"/>
                  </a:lnTo>
                  <a:close/>
                  <a:moveTo>
                    <a:pt x="817" y="966"/>
                  </a:moveTo>
                  <a:lnTo>
                    <a:pt x="670" y="987"/>
                  </a:lnTo>
                  <a:lnTo>
                    <a:pt x="654" y="982"/>
                  </a:lnTo>
                  <a:lnTo>
                    <a:pt x="637" y="987"/>
                  </a:lnTo>
                  <a:lnTo>
                    <a:pt x="616" y="987"/>
                  </a:lnTo>
                  <a:lnTo>
                    <a:pt x="600" y="982"/>
                  </a:lnTo>
                  <a:lnTo>
                    <a:pt x="498" y="970"/>
                  </a:lnTo>
                  <a:lnTo>
                    <a:pt x="474" y="966"/>
                  </a:lnTo>
                  <a:lnTo>
                    <a:pt x="470" y="942"/>
                  </a:lnTo>
                  <a:lnTo>
                    <a:pt x="151" y="949"/>
                  </a:lnTo>
                  <a:lnTo>
                    <a:pt x="118" y="916"/>
                  </a:lnTo>
                  <a:lnTo>
                    <a:pt x="96" y="909"/>
                  </a:lnTo>
                  <a:lnTo>
                    <a:pt x="54" y="933"/>
                  </a:lnTo>
                  <a:lnTo>
                    <a:pt x="21" y="925"/>
                  </a:lnTo>
                  <a:lnTo>
                    <a:pt x="0" y="933"/>
                  </a:lnTo>
                  <a:lnTo>
                    <a:pt x="0" y="876"/>
                  </a:lnTo>
                  <a:lnTo>
                    <a:pt x="0" y="838"/>
                  </a:lnTo>
                  <a:lnTo>
                    <a:pt x="0" y="831"/>
                  </a:lnTo>
                  <a:lnTo>
                    <a:pt x="9" y="814"/>
                  </a:lnTo>
                  <a:lnTo>
                    <a:pt x="21" y="781"/>
                  </a:lnTo>
                  <a:lnTo>
                    <a:pt x="37" y="748"/>
                  </a:lnTo>
                  <a:lnTo>
                    <a:pt x="37" y="703"/>
                  </a:lnTo>
                  <a:lnTo>
                    <a:pt x="54" y="682"/>
                  </a:lnTo>
                  <a:lnTo>
                    <a:pt x="54" y="649"/>
                  </a:lnTo>
                  <a:lnTo>
                    <a:pt x="80" y="616"/>
                  </a:lnTo>
                  <a:lnTo>
                    <a:pt x="80" y="600"/>
                  </a:lnTo>
                  <a:lnTo>
                    <a:pt x="113" y="583"/>
                  </a:lnTo>
                  <a:lnTo>
                    <a:pt x="134" y="526"/>
                  </a:lnTo>
                  <a:lnTo>
                    <a:pt x="146" y="472"/>
                  </a:lnTo>
                  <a:lnTo>
                    <a:pt x="134" y="460"/>
                  </a:lnTo>
                  <a:lnTo>
                    <a:pt x="134" y="451"/>
                  </a:lnTo>
                  <a:lnTo>
                    <a:pt x="118" y="432"/>
                  </a:lnTo>
                  <a:lnTo>
                    <a:pt x="80" y="333"/>
                  </a:lnTo>
                  <a:lnTo>
                    <a:pt x="92" y="316"/>
                  </a:lnTo>
                  <a:lnTo>
                    <a:pt x="80" y="333"/>
                  </a:lnTo>
                  <a:lnTo>
                    <a:pt x="113" y="304"/>
                  </a:lnTo>
                  <a:lnTo>
                    <a:pt x="113" y="283"/>
                  </a:lnTo>
                  <a:lnTo>
                    <a:pt x="75" y="205"/>
                  </a:lnTo>
                  <a:lnTo>
                    <a:pt x="75" y="184"/>
                  </a:lnTo>
                  <a:lnTo>
                    <a:pt x="54" y="155"/>
                  </a:lnTo>
                  <a:lnTo>
                    <a:pt x="26" y="118"/>
                  </a:lnTo>
                  <a:lnTo>
                    <a:pt x="63" y="111"/>
                  </a:lnTo>
                  <a:lnTo>
                    <a:pt x="96" y="101"/>
                  </a:lnTo>
                  <a:lnTo>
                    <a:pt x="297" y="101"/>
                  </a:lnTo>
                  <a:lnTo>
                    <a:pt x="335" y="111"/>
                  </a:lnTo>
                  <a:lnTo>
                    <a:pt x="344" y="127"/>
                  </a:lnTo>
                  <a:lnTo>
                    <a:pt x="344" y="139"/>
                  </a:lnTo>
                  <a:lnTo>
                    <a:pt x="361" y="184"/>
                  </a:lnTo>
                  <a:lnTo>
                    <a:pt x="361" y="196"/>
                  </a:lnTo>
                  <a:lnTo>
                    <a:pt x="406" y="262"/>
                  </a:lnTo>
                  <a:lnTo>
                    <a:pt x="432" y="262"/>
                  </a:lnTo>
                  <a:lnTo>
                    <a:pt x="444" y="262"/>
                  </a:lnTo>
                  <a:lnTo>
                    <a:pt x="444" y="262"/>
                  </a:lnTo>
                  <a:lnTo>
                    <a:pt x="470" y="250"/>
                  </a:lnTo>
                  <a:lnTo>
                    <a:pt x="470" y="250"/>
                  </a:lnTo>
                  <a:lnTo>
                    <a:pt x="529" y="250"/>
                  </a:lnTo>
                  <a:lnTo>
                    <a:pt x="529" y="229"/>
                  </a:lnTo>
                  <a:lnTo>
                    <a:pt x="545" y="222"/>
                  </a:lnTo>
                  <a:lnTo>
                    <a:pt x="545" y="184"/>
                  </a:lnTo>
                  <a:lnTo>
                    <a:pt x="600" y="184"/>
                  </a:lnTo>
                  <a:lnTo>
                    <a:pt x="600" y="184"/>
                  </a:lnTo>
                  <a:lnTo>
                    <a:pt x="621" y="184"/>
                  </a:lnTo>
                  <a:lnTo>
                    <a:pt x="616" y="205"/>
                  </a:lnTo>
                  <a:lnTo>
                    <a:pt x="704" y="205"/>
                  </a:lnTo>
                  <a:lnTo>
                    <a:pt x="708" y="222"/>
                  </a:lnTo>
                  <a:lnTo>
                    <a:pt x="704" y="250"/>
                  </a:lnTo>
                  <a:lnTo>
                    <a:pt x="708" y="295"/>
                  </a:lnTo>
                  <a:lnTo>
                    <a:pt x="704" y="356"/>
                  </a:lnTo>
                  <a:lnTo>
                    <a:pt x="708" y="377"/>
                  </a:lnTo>
                  <a:lnTo>
                    <a:pt x="725" y="394"/>
                  </a:lnTo>
                  <a:lnTo>
                    <a:pt x="741" y="427"/>
                  </a:lnTo>
                  <a:lnTo>
                    <a:pt x="741" y="460"/>
                  </a:lnTo>
                  <a:lnTo>
                    <a:pt x="730" y="467"/>
                  </a:lnTo>
                  <a:lnTo>
                    <a:pt x="730" y="488"/>
                  </a:lnTo>
                  <a:lnTo>
                    <a:pt x="758" y="472"/>
                  </a:lnTo>
                  <a:lnTo>
                    <a:pt x="796" y="484"/>
                  </a:lnTo>
                  <a:lnTo>
                    <a:pt x="817" y="472"/>
                  </a:lnTo>
                  <a:lnTo>
                    <a:pt x="850" y="472"/>
                  </a:lnTo>
                  <a:lnTo>
                    <a:pt x="855" y="467"/>
                  </a:lnTo>
                  <a:lnTo>
                    <a:pt x="867" y="505"/>
                  </a:lnTo>
                  <a:lnTo>
                    <a:pt x="855" y="522"/>
                  </a:lnTo>
                  <a:lnTo>
                    <a:pt x="855" y="559"/>
                  </a:lnTo>
                  <a:lnTo>
                    <a:pt x="867" y="578"/>
                  </a:lnTo>
                  <a:lnTo>
                    <a:pt x="850" y="600"/>
                  </a:lnTo>
                  <a:lnTo>
                    <a:pt x="855" y="628"/>
                  </a:lnTo>
                  <a:lnTo>
                    <a:pt x="720" y="616"/>
                  </a:lnTo>
                  <a:lnTo>
                    <a:pt x="720" y="855"/>
                  </a:lnTo>
                  <a:lnTo>
                    <a:pt x="725" y="876"/>
                  </a:lnTo>
                  <a:lnTo>
                    <a:pt x="800" y="949"/>
                  </a:lnTo>
                  <a:lnTo>
                    <a:pt x="817" y="966"/>
                  </a:lnTo>
                  <a:lnTo>
                    <a:pt x="817" y="966"/>
                  </a:lnTo>
                  <a:lnTo>
                    <a:pt x="817" y="96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1" name="Freeform 390">
              <a:extLst>
                <a:ext uri="{FF2B5EF4-FFF2-40B4-BE49-F238E27FC236}">
                  <a16:creationId xmlns:a16="http://schemas.microsoft.com/office/drawing/2014/main" id="{0EA465CF-79F9-4CEE-91A5-6A56F6084481}"/>
                </a:ext>
              </a:extLst>
            </p:cNvPr>
            <p:cNvSpPr>
              <a:spLocks/>
            </p:cNvSpPr>
            <p:nvPr/>
          </p:nvSpPr>
          <p:spPr bwMode="gray">
            <a:xfrm>
              <a:off x="8184783" y="3270861"/>
              <a:ext cx="824" cy="11941"/>
            </a:xfrm>
            <a:custGeom>
              <a:avLst/>
              <a:gdLst>
                <a:gd name="T0" fmla="*/ 2 w 2"/>
                <a:gd name="T1" fmla="*/ 0 h 29"/>
                <a:gd name="T2" fmla="*/ 2 w 2"/>
                <a:gd name="T3" fmla="*/ 29 h 29"/>
                <a:gd name="T4" fmla="*/ 0 w 2"/>
                <a:gd name="T5" fmla="*/ 17 h 29"/>
                <a:gd name="T6" fmla="*/ 0 w 2"/>
                <a:gd name="T7" fmla="*/ 0 h 29"/>
                <a:gd name="T8" fmla="*/ 2 w 2"/>
                <a:gd name="T9" fmla="*/ 0 h 29"/>
                <a:gd name="T10" fmla="*/ 2 w 2"/>
                <a:gd name="T11" fmla="*/ 0 h 29"/>
                <a:gd name="T12" fmla="*/ 2 w 2"/>
                <a:gd name="T13" fmla="*/ 0 h 29"/>
                <a:gd name="T14" fmla="*/ 2 w 2"/>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9">
                  <a:moveTo>
                    <a:pt x="2" y="0"/>
                  </a:moveTo>
                  <a:lnTo>
                    <a:pt x="2" y="29"/>
                  </a:lnTo>
                  <a:lnTo>
                    <a:pt x="0" y="17"/>
                  </a:lnTo>
                  <a:lnTo>
                    <a:pt x="0" y="0"/>
                  </a:lnTo>
                  <a:lnTo>
                    <a:pt x="2" y="0"/>
                  </a:lnTo>
                  <a:lnTo>
                    <a:pt x="2" y="0"/>
                  </a:lnTo>
                  <a:lnTo>
                    <a:pt x="2" y="0"/>
                  </a:lnTo>
                  <a:lnTo>
                    <a:pt x="2"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2" name="Freeform 392">
              <a:extLst>
                <a:ext uri="{FF2B5EF4-FFF2-40B4-BE49-F238E27FC236}">
                  <a16:creationId xmlns:a16="http://schemas.microsoft.com/office/drawing/2014/main" id="{0A68AA3D-BD31-42DB-8AD2-A561F27D6AF4}"/>
                </a:ext>
              </a:extLst>
            </p:cNvPr>
            <p:cNvSpPr>
              <a:spLocks/>
            </p:cNvSpPr>
            <p:nvPr/>
          </p:nvSpPr>
          <p:spPr bwMode="gray">
            <a:xfrm>
              <a:off x="7304632" y="4597410"/>
              <a:ext cx="268408" cy="284085"/>
            </a:xfrm>
            <a:custGeom>
              <a:avLst/>
              <a:gdLst>
                <a:gd name="T0" fmla="*/ 0 w 652"/>
                <a:gd name="T1" fmla="*/ 525 h 690"/>
                <a:gd name="T2" fmla="*/ 0 w 652"/>
                <a:gd name="T3" fmla="*/ 322 h 690"/>
                <a:gd name="T4" fmla="*/ 71 w 652"/>
                <a:gd name="T5" fmla="*/ 322 h 690"/>
                <a:gd name="T6" fmla="*/ 71 w 652"/>
                <a:gd name="T7" fmla="*/ 45 h 690"/>
                <a:gd name="T8" fmla="*/ 232 w 652"/>
                <a:gd name="T9" fmla="*/ 17 h 690"/>
                <a:gd name="T10" fmla="*/ 253 w 652"/>
                <a:gd name="T11" fmla="*/ 55 h 690"/>
                <a:gd name="T12" fmla="*/ 303 w 652"/>
                <a:gd name="T13" fmla="*/ 17 h 690"/>
                <a:gd name="T14" fmla="*/ 312 w 652"/>
                <a:gd name="T15" fmla="*/ 29 h 690"/>
                <a:gd name="T16" fmla="*/ 340 w 652"/>
                <a:gd name="T17" fmla="*/ 0 h 690"/>
                <a:gd name="T18" fmla="*/ 366 w 652"/>
                <a:gd name="T19" fmla="*/ 0 h 690"/>
                <a:gd name="T20" fmla="*/ 366 w 652"/>
                <a:gd name="T21" fmla="*/ 29 h 690"/>
                <a:gd name="T22" fmla="*/ 416 w 652"/>
                <a:gd name="T23" fmla="*/ 88 h 690"/>
                <a:gd name="T24" fmla="*/ 416 w 652"/>
                <a:gd name="T25" fmla="*/ 100 h 690"/>
                <a:gd name="T26" fmla="*/ 430 w 652"/>
                <a:gd name="T27" fmla="*/ 128 h 690"/>
                <a:gd name="T28" fmla="*/ 468 w 652"/>
                <a:gd name="T29" fmla="*/ 161 h 690"/>
                <a:gd name="T30" fmla="*/ 501 w 652"/>
                <a:gd name="T31" fmla="*/ 178 h 690"/>
                <a:gd name="T32" fmla="*/ 506 w 652"/>
                <a:gd name="T33" fmla="*/ 211 h 690"/>
                <a:gd name="T34" fmla="*/ 539 w 652"/>
                <a:gd name="T35" fmla="*/ 211 h 690"/>
                <a:gd name="T36" fmla="*/ 539 w 652"/>
                <a:gd name="T37" fmla="*/ 248 h 690"/>
                <a:gd name="T38" fmla="*/ 560 w 652"/>
                <a:gd name="T39" fmla="*/ 289 h 690"/>
                <a:gd name="T40" fmla="*/ 598 w 652"/>
                <a:gd name="T41" fmla="*/ 289 h 690"/>
                <a:gd name="T42" fmla="*/ 631 w 652"/>
                <a:gd name="T43" fmla="*/ 305 h 690"/>
                <a:gd name="T44" fmla="*/ 631 w 652"/>
                <a:gd name="T45" fmla="*/ 322 h 690"/>
                <a:gd name="T46" fmla="*/ 648 w 652"/>
                <a:gd name="T47" fmla="*/ 322 h 690"/>
                <a:gd name="T48" fmla="*/ 652 w 652"/>
                <a:gd name="T49" fmla="*/ 338 h 690"/>
                <a:gd name="T50" fmla="*/ 631 w 652"/>
                <a:gd name="T51" fmla="*/ 338 h 690"/>
                <a:gd name="T52" fmla="*/ 626 w 652"/>
                <a:gd name="T53" fmla="*/ 348 h 690"/>
                <a:gd name="T54" fmla="*/ 577 w 652"/>
                <a:gd name="T55" fmla="*/ 364 h 690"/>
                <a:gd name="T56" fmla="*/ 555 w 652"/>
                <a:gd name="T57" fmla="*/ 397 h 690"/>
                <a:gd name="T58" fmla="*/ 529 w 652"/>
                <a:gd name="T59" fmla="*/ 414 h 690"/>
                <a:gd name="T60" fmla="*/ 522 w 652"/>
                <a:gd name="T61" fmla="*/ 421 h 690"/>
                <a:gd name="T62" fmla="*/ 518 w 652"/>
                <a:gd name="T63" fmla="*/ 421 h 690"/>
                <a:gd name="T64" fmla="*/ 485 w 652"/>
                <a:gd name="T65" fmla="*/ 447 h 690"/>
                <a:gd name="T66" fmla="*/ 475 w 652"/>
                <a:gd name="T67" fmla="*/ 492 h 690"/>
                <a:gd name="T68" fmla="*/ 447 w 652"/>
                <a:gd name="T69" fmla="*/ 515 h 690"/>
                <a:gd name="T70" fmla="*/ 409 w 652"/>
                <a:gd name="T71" fmla="*/ 525 h 690"/>
                <a:gd name="T72" fmla="*/ 392 w 652"/>
                <a:gd name="T73" fmla="*/ 581 h 690"/>
                <a:gd name="T74" fmla="*/ 383 w 652"/>
                <a:gd name="T75" fmla="*/ 598 h 690"/>
                <a:gd name="T76" fmla="*/ 324 w 652"/>
                <a:gd name="T77" fmla="*/ 615 h 690"/>
                <a:gd name="T78" fmla="*/ 303 w 652"/>
                <a:gd name="T79" fmla="*/ 603 h 690"/>
                <a:gd name="T80" fmla="*/ 291 w 652"/>
                <a:gd name="T81" fmla="*/ 598 h 690"/>
                <a:gd name="T82" fmla="*/ 270 w 652"/>
                <a:gd name="T83" fmla="*/ 598 h 690"/>
                <a:gd name="T84" fmla="*/ 237 w 652"/>
                <a:gd name="T85" fmla="*/ 565 h 690"/>
                <a:gd name="T86" fmla="*/ 206 w 652"/>
                <a:gd name="T87" fmla="*/ 570 h 690"/>
                <a:gd name="T88" fmla="*/ 194 w 652"/>
                <a:gd name="T89" fmla="*/ 586 h 690"/>
                <a:gd name="T90" fmla="*/ 182 w 652"/>
                <a:gd name="T91" fmla="*/ 624 h 690"/>
                <a:gd name="T92" fmla="*/ 152 w 652"/>
                <a:gd name="T93" fmla="*/ 652 h 690"/>
                <a:gd name="T94" fmla="*/ 140 w 652"/>
                <a:gd name="T95" fmla="*/ 674 h 690"/>
                <a:gd name="T96" fmla="*/ 123 w 652"/>
                <a:gd name="T97" fmla="*/ 674 h 690"/>
                <a:gd name="T98" fmla="*/ 114 w 652"/>
                <a:gd name="T99" fmla="*/ 690 h 690"/>
                <a:gd name="T100" fmla="*/ 43 w 652"/>
                <a:gd name="T101" fmla="*/ 681 h 690"/>
                <a:gd name="T102" fmla="*/ 38 w 652"/>
                <a:gd name="T103" fmla="*/ 657 h 690"/>
                <a:gd name="T104" fmla="*/ 59 w 652"/>
                <a:gd name="T105" fmla="*/ 636 h 690"/>
                <a:gd name="T106" fmla="*/ 55 w 652"/>
                <a:gd name="T107" fmla="*/ 615 h 690"/>
                <a:gd name="T108" fmla="*/ 22 w 652"/>
                <a:gd name="T109" fmla="*/ 548 h 690"/>
                <a:gd name="T110" fmla="*/ 0 w 652"/>
                <a:gd name="T111" fmla="*/ 525 h 690"/>
                <a:gd name="T112" fmla="*/ 0 w 652"/>
                <a:gd name="T113" fmla="*/ 525 h 690"/>
                <a:gd name="T114" fmla="*/ 0 w 652"/>
                <a:gd name="T115" fmla="*/ 52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2" h="690">
                  <a:moveTo>
                    <a:pt x="0" y="525"/>
                  </a:moveTo>
                  <a:lnTo>
                    <a:pt x="0" y="322"/>
                  </a:lnTo>
                  <a:lnTo>
                    <a:pt x="71" y="322"/>
                  </a:lnTo>
                  <a:lnTo>
                    <a:pt x="71" y="45"/>
                  </a:lnTo>
                  <a:lnTo>
                    <a:pt x="232" y="17"/>
                  </a:lnTo>
                  <a:lnTo>
                    <a:pt x="253" y="55"/>
                  </a:lnTo>
                  <a:lnTo>
                    <a:pt x="303" y="17"/>
                  </a:lnTo>
                  <a:lnTo>
                    <a:pt x="312" y="29"/>
                  </a:lnTo>
                  <a:lnTo>
                    <a:pt x="340" y="0"/>
                  </a:lnTo>
                  <a:lnTo>
                    <a:pt x="366" y="0"/>
                  </a:lnTo>
                  <a:lnTo>
                    <a:pt x="366" y="29"/>
                  </a:lnTo>
                  <a:lnTo>
                    <a:pt x="416" y="88"/>
                  </a:lnTo>
                  <a:lnTo>
                    <a:pt x="416" y="100"/>
                  </a:lnTo>
                  <a:lnTo>
                    <a:pt x="430" y="128"/>
                  </a:lnTo>
                  <a:lnTo>
                    <a:pt x="468" y="161"/>
                  </a:lnTo>
                  <a:lnTo>
                    <a:pt x="501" y="178"/>
                  </a:lnTo>
                  <a:lnTo>
                    <a:pt x="506" y="211"/>
                  </a:lnTo>
                  <a:lnTo>
                    <a:pt x="539" y="211"/>
                  </a:lnTo>
                  <a:lnTo>
                    <a:pt x="539" y="248"/>
                  </a:lnTo>
                  <a:lnTo>
                    <a:pt x="560" y="289"/>
                  </a:lnTo>
                  <a:lnTo>
                    <a:pt x="598" y="289"/>
                  </a:lnTo>
                  <a:lnTo>
                    <a:pt x="631" y="305"/>
                  </a:lnTo>
                  <a:lnTo>
                    <a:pt x="631" y="322"/>
                  </a:lnTo>
                  <a:lnTo>
                    <a:pt x="648" y="322"/>
                  </a:lnTo>
                  <a:lnTo>
                    <a:pt x="652" y="338"/>
                  </a:lnTo>
                  <a:lnTo>
                    <a:pt x="631" y="338"/>
                  </a:lnTo>
                  <a:lnTo>
                    <a:pt x="626" y="348"/>
                  </a:lnTo>
                  <a:lnTo>
                    <a:pt x="577" y="364"/>
                  </a:lnTo>
                  <a:lnTo>
                    <a:pt x="555" y="397"/>
                  </a:lnTo>
                  <a:lnTo>
                    <a:pt x="529" y="414"/>
                  </a:lnTo>
                  <a:lnTo>
                    <a:pt x="522" y="421"/>
                  </a:lnTo>
                  <a:lnTo>
                    <a:pt x="518" y="421"/>
                  </a:lnTo>
                  <a:lnTo>
                    <a:pt x="485" y="447"/>
                  </a:lnTo>
                  <a:lnTo>
                    <a:pt x="475" y="492"/>
                  </a:lnTo>
                  <a:lnTo>
                    <a:pt x="447" y="515"/>
                  </a:lnTo>
                  <a:lnTo>
                    <a:pt x="409" y="525"/>
                  </a:lnTo>
                  <a:lnTo>
                    <a:pt x="392" y="581"/>
                  </a:lnTo>
                  <a:lnTo>
                    <a:pt x="383" y="598"/>
                  </a:lnTo>
                  <a:lnTo>
                    <a:pt x="324" y="615"/>
                  </a:lnTo>
                  <a:lnTo>
                    <a:pt x="303" y="603"/>
                  </a:lnTo>
                  <a:lnTo>
                    <a:pt x="291" y="598"/>
                  </a:lnTo>
                  <a:lnTo>
                    <a:pt x="270" y="598"/>
                  </a:lnTo>
                  <a:lnTo>
                    <a:pt x="237" y="565"/>
                  </a:lnTo>
                  <a:lnTo>
                    <a:pt x="206" y="570"/>
                  </a:lnTo>
                  <a:lnTo>
                    <a:pt x="194" y="586"/>
                  </a:lnTo>
                  <a:lnTo>
                    <a:pt x="182" y="624"/>
                  </a:lnTo>
                  <a:lnTo>
                    <a:pt x="152" y="652"/>
                  </a:lnTo>
                  <a:lnTo>
                    <a:pt x="140" y="674"/>
                  </a:lnTo>
                  <a:lnTo>
                    <a:pt x="123" y="674"/>
                  </a:lnTo>
                  <a:lnTo>
                    <a:pt x="114" y="690"/>
                  </a:lnTo>
                  <a:lnTo>
                    <a:pt x="43" y="681"/>
                  </a:lnTo>
                  <a:lnTo>
                    <a:pt x="38" y="657"/>
                  </a:lnTo>
                  <a:lnTo>
                    <a:pt x="59" y="636"/>
                  </a:lnTo>
                  <a:lnTo>
                    <a:pt x="55" y="615"/>
                  </a:lnTo>
                  <a:lnTo>
                    <a:pt x="22" y="548"/>
                  </a:lnTo>
                  <a:lnTo>
                    <a:pt x="0" y="525"/>
                  </a:lnTo>
                  <a:lnTo>
                    <a:pt x="0" y="525"/>
                  </a:lnTo>
                  <a:lnTo>
                    <a:pt x="0" y="52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3" name="Freeform 400">
              <a:extLst>
                <a:ext uri="{FF2B5EF4-FFF2-40B4-BE49-F238E27FC236}">
                  <a16:creationId xmlns:a16="http://schemas.microsoft.com/office/drawing/2014/main" id="{6579E876-C15A-4453-81D6-010B130A42B7}"/>
                </a:ext>
              </a:extLst>
            </p:cNvPr>
            <p:cNvSpPr>
              <a:spLocks/>
            </p:cNvSpPr>
            <p:nvPr/>
          </p:nvSpPr>
          <p:spPr bwMode="gray">
            <a:xfrm>
              <a:off x="6748466" y="3696164"/>
              <a:ext cx="89332" cy="183625"/>
            </a:xfrm>
            <a:custGeom>
              <a:avLst/>
              <a:gdLst>
                <a:gd name="T0" fmla="*/ 59 w 217"/>
                <a:gd name="T1" fmla="*/ 446 h 446"/>
                <a:gd name="T2" fmla="*/ 71 w 217"/>
                <a:gd name="T3" fmla="*/ 441 h 446"/>
                <a:gd name="T4" fmla="*/ 55 w 217"/>
                <a:gd name="T5" fmla="*/ 413 h 446"/>
                <a:gd name="T6" fmla="*/ 55 w 217"/>
                <a:gd name="T7" fmla="*/ 392 h 446"/>
                <a:gd name="T8" fmla="*/ 59 w 217"/>
                <a:gd name="T9" fmla="*/ 392 h 446"/>
                <a:gd name="T10" fmla="*/ 59 w 217"/>
                <a:gd name="T11" fmla="*/ 354 h 446"/>
                <a:gd name="T12" fmla="*/ 59 w 217"/>
                <a:gd name="T13" fmla="*/ 243 h 446"/>
                <a:gd name="T14" fmla="*/ 38 w 217"/>
                <a:gd name="T15" fmla="*/ 210 h 446"/>
                <a:gd name="T16" fmla="*/ 38 w 217"/>
                <a:gd name="T17" fmla="*/ 172 h 446"/>
                <a:gd name="T18" fmla="*/ 0 w 217"/>
                <a:gd name="T19" fmla="*/ 148 h 446"/>
                <a:gd name="T20" fmla="*/ 5 w 217"/>
                <a:gd name="T21" fmla="*/ 99 h 446"/>
                <a:gd name="T22" fmla="*/ 26 w 217"/>
                <a:gd name="T23" fmla="*/ 82 h 446"/>
                <a:gd name="T24" fmla="*/ 38 w 217"/>
                <a:gd name="T25" fmla="*/ 78 h 446"/>
                <a:gd name="T26" fmla="*/ 43 w 217"/>
                <a:gd name="T27" fmla="*/ 66 h 446"/>
                <a:gd name="T28" fmla="*/ 59 w 217"/>
                <a:gd name="T29" fmla="*/ 78 h 446"/>
                <a:gd name="T30" fmla="*/ 80 w 217"/>
                <a:gd name="T31" fmla="*/ 66 h 446"/>
                <a:gd name="T32" fmla="*/ 109 w 217"/>
                <a:gd name="T33" fmla="*/ 56 h 446"/>
                <a:gd name="T34" fmla="*/ 114 w 217"/>
                <a:gd name="T35" fmla="*/ 40 h 446"/>
                <a:gd name="T36" fmla="*/ 114 w 217"/>
                <a:gd name="T37" fmla="*/ 11 h 446"/>
                <a:gd name="T38" fmla="*/ 147 w 217"/>
                <a:gd name="T39" fmla="*/ 0 h 446"/>
                <a:gd name="T40" fmla="*/ 201 w 217"/>
                <a:gd name="T41" fmla="*/ 56 h 446"/>
                <a:gd name="T42" fmla="*/ 192 w 217"/>
                <a:gd name="T43" fmla="*/ 66 h 446"/>
                <a:gd name="T44" fmla="*/ 208 w 217"/>
                <a:gd name="T45" fmla="*/ 94 h 446"/>
                <a:gd name="T46" fmla="*/ 208 w 217"/>
                <a:gd name="T47" fmla="*/ 115 h 446"/>
                <a:gd name="T48" fmla="*/ 217 w 217"/>
                <a:gd name="T49" fmla="*/ 132 h 446"/>
                <a:gd name="T50" fmla="*/ 217 w 217"/>
                <a:gd name="T51" fmla="*/ 148 h 446"/>
                <a:gd name="T52" fmla="*/ 208 w 217"/>
                <a:gd name="T53" fmla="*/ 139 h 446"/>
                <a:gd name="T54" fmla="*/ 201 w 217"/>
                <a:gd name="T55" fmla="*/ 156 h 446"/>
                <a:gd name="T56" fmla="*/ 208 w 217"/>
                <a:gd name="T57" fmla="*/ 165 h 446"/>
                <a:gd name="T58" fmla="*/ 201 w 217"/>
                <a:gd name="T59" fmla="*/ 177 h 446"/>
                <a:gd name="T60" fmla="*/ 180 w 217"/>
                <a:gd name="T61" fmla="*/ 189 h 446"/>
                <a:gd name="T62" fmla="*/ 184 w 217"/>
                <a:gd name="T63" fmla="*/ 193 h 446"/>
                <a:gd name="T64" fmla="*/ 168 w 217"/>
                <a:gd name="T65" fmla="*/ 222 h 446"/>
                <a:gd name="T66" fmla="*/ 163 w 217"/>
                <a:gd name="T67" fmla="*/ 243 h 446"/>
                <a:gd name="T68" fmla="*/ 137 w 217"/>
                <a:gd name="T69" fmla="*/ 243 h 446"/>
                <a:gd name="T70" fmla="*/ 130 w 217"/>
                <a:gd name="T71" fmla="*/ 330 h 446"/>
                <a:gd name="T72" fmla="*/ 137 w 217"/>
                <a:gd name="T73" fmla="*/ 387 h 446"/>
                <a:gd name="T74" fmla="*/ 137 w 217"/>
                <a:gd name="T75" fmla="*/ 441 h 446"/>
                <a:gd name="T76" fmla="*/ 59 w 217"/>
                <a:gd name="T77" fmla="*/ 446 h 446"/>
                <a:gd name="T78" fmla="*/ 59 w 217"/>
                <a:gd name="T79" fmla="*/ 446 h 446"/>
                <a:gd name="T80" fmla="*/ 59 w 217"/>
                <a:gd name="T81"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7" h="446">
                  <a:moveTo>
                    <a:pt x="59" y="446"/>
                  </a:moveTo>
                  <a:lnTo>
                    <a:pt x="71" y="441"/>
                  </a:lnTo>
                  <a:lnTo>
                    <a:pt x="55" y="413"/>
                  </a:lnTo>
                  <a:lnTo>
                    <a:pt x="55" y="392"/>
                  </a:lnTo>
                  <a:lnTo>
                    <a:pt x="59" y="392"/>
                  </a:lnTo>
                  <a:lnTo>
                    <a:pt x="59" y="354"/>
                  </a:lnTo>
                  <a:lnTo>
                    <a:pt x="59" y="243"/>
                  </a:lnTo>
                  <a:lnTo>
                    <a:pt x="38" y="210"/>
                  </a:lnTo>
                  <a:lnTo>
                    <a:pt x="38" y="172"/>
                  </a:lnTo>
                  <a:lnTo>
                    <a:pt x="0" y="148"/>
                  </a:lnTo>
                  <a:lnTo>
                    <a:pt x="5" y="99"/>
                  </a:lnTo>
                  <a:lnTo>
                    <a:pt x="26" y="82"/>
                  </a:lnTo>
                  <a:lnTo>
                    <a:pt x="38" y="78"/>
                  </a:lnTo>
                  <a:lnTo>
                    <a:pt x="43" y="66"/>
                  </a:lnTo>
                  <a:lnTo>
                    <a:pt x="59" y="78"/>
                  </a:lnTo>
                  <a:lnTo>
                    <a:pt x="80" y="66"/>
                  </a:lnTo>
                  <a:lnTo>
                    <a:pt x="109" y="56"/>
                  </a:lnTo>
                  <a:lnTo>
                    <a:pt x="114" y="40"/>
                  </a:lnTo>
                  <a:lnTo>
                    <a:pt x="114" y="11"/>
                  </a:lnTo>
                  <a:lnTo>
                    <a:pt x="147" y="0"/>
                  </a:lnTo>
                  <a:lnTo>
                    <a:pt x="201" y="56"/>
                  </a:lnTo>
                  <a:lnTo>
                    <a:pt x="192" y="66"/>
                  </a:lnTo>
                  <a:lnTo>
                    <a:pt x="208" y="94"/>
                  </a:lnTo>
                  <a:lnTo>
                    <a:pt x="208" y="115"/>
                  </a:lnTo>
                  <a:lnTo>
                    <a:pt x="217" y="132"/>
                  </a:lnTo>
                  <a:lnTo>
                    <a:pt x="217" y="148"/>
                  </a:lnTo>
                  <a:lnTo>
                    <a:pt x="208" y="139"/>
                  </a:lnTo>
                  <a:lnTo>
                    <a:pt x="201" y="156"/>
                  </a:lnTo>
                  <a:lnTo>
                    <a:pt x="208" y="165"/>
                  </a:lnTo>
                  <a:lnTo>
                    <a:pt x="201" y="177"/>
                  </a:lnTo>
                  <a:lnTo>
                    <a:pt x="180" y="189"/>
                  </a:lnTo>
                  <a:lnTo>
                    <a:pt x="184" y="193"/>
                  </a:lnTo>
                  <a:lnTo>
                    <a:pt x="168" y="222"/>
                  </a:lnTo>
                  <a:lnTo>
                    <a:pt x="163" y="243"/>
                  </a:lnTo>
                  <a:lnTo>
                    <a:pt x="137" y="243"/>
                  </a:lnTo>
                  <a:lnTo>
                    <a:pt x="130" y="330"/>
                  </a:lnTo>
                  <a:lnTo>
                    <a:pt x="137" y="387"/>
                  </a:lnTo>
                  <a:lnTo>
                    <a:pt x="137" y="441"/>
                  </a:lnTo>
                  <a:lnTo>
                    <a:pt x="59" y="446"/>
                  </a:lnTo>
                  <a:lnTo>
                    <a:pt x="59" y="446"/>
                  </a:lnTo>
                  <a:lnTo>
                    <a:pt x="59" y="44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4" name="Freeform 407">
              <a:extLst>
                <a:ext uri="{FF2B5EF4-FFF2-40B4-BE49-F238E27FC236}">
                  <a16:creationId xmlns:a16="http://schemas.microsoft.com/office/drawing/2014/main" id="{879B0889-427E-46A3-8AD8-C54B491F1FD8}"/>
                </a:ext>
              </a:extLst>
            </p:cNvPr>
            <p:cNvSpPr>
              <a:spLocks/>
            </p:cNvSpPr>
            <p:nvPr/>
          </p:nvSpPr>
          <p:spPr bwMode="gray">
            <a:xfrm>
              <a:off x="7564396" y="4136700"/>
              <a:ext cx="51458" cy="61346"/>
            </a:xfrm>
            <a:custGeom>
              <a:avLst/>
              <a:gdLst>
                <a:gd name="T0" fmla="*/ 21 w 125"/>
                <a:gd name="T1" fmla="*/ 149 h 149"/>
                <a:gd name="T2" fmla="*/ 21 w 125"/>
                <a:gd name="T3" fmla="*/ 123 h 149"/>
                <a:gd name="T4" fmla="*/ 17 w 125"/>
                <a:gd name="T5" fmla="*/ 111 h 149"/>
                <a:gd name="T6" fmla="*/ 17 w 125"/>
                <a:gd name="T7" fmla="*/ 45 h 149"/>
                <a:gd name="T8" fmla="*/ 0 w 125"/>
                <a:gd name="T9" fmla="*/ 28 h 149"/>
                <a:gd name="T10" fmla="*/ 0 w 125"/>
                <a:gd name="T11" fmla="*/ 28 h 149"/>
                <a:gd name="T12" fmla="*/ 0 w 125"/>
                <a:gd name="T13" fmla="*/ 12 h 149"/>
                <a:gd name="T14" fmla="*/ 5 w 125"/>
                <a:gd name="T15" fmla="*/ 12 h 149"/>
                <a:gd name="T16" fmla="*/ 21 w 125"/>
                <a:gd name="T17" fmla="*/ 21 h 149"/>
                <a:gd name="T18" fmla="*/ 21 w 125"/>
                <a:gd name="T19" fmla="*/ 28 h 149"/>
                <a:gd name="T20" fmla="*/ 54 w 125"/>
                <a:gd name="T21" fmla="*/ 28 h 149"/>
                <a:gd name="T22" fmla="*/ 59 w 125"/>
                <a:gd name="T23" fmla="*/ 0 h 149"/>
                <a:gd name="T24" fmla="*/ 76 w 125"/>
                <a:gd name="T25" fmla="*/ 4 h 149"/>
                <a:gd name="T26" fmla="*/ 92 w 125"/>
                <a:gd name="T27" fmla="*/ 0 h 149"/>
                <a:gd name="T28" fmla="*/ 109 w 125"/>
                <a:gd name="T29" fmla="*/ 0 h 149"/>
                <a:gd name="T30" fmla="*/ 102 w 125"/>
                <a:gd name="T31" fmla="*/ 38 h 149"/>
                <a:gd name="T32" fmla="*/ 102 w 125"/>
                <a:gd name="T33" fmla="*/ 38 h 149"/>
                <a:gd name="T34" fmla="*/ 109 w 125"/>
                <a:gd name="T35" fmla="*/ 38 h 149"/>
                <a:gd name="T36" fmla="*/ 125 w 125"/>
                <a:gd name="T37" fmla="*/ 45 h 149"/>
                <a:gd name="T38" fmla="*/ 125 w 125"/>
                <a:gd name="T39" fmla="*/ 61 h 149"/>
                <a:gd name="T40" fmla="*/ 102 w 125"/>
                <a:gd name="T41" fmla="*/ 82 h 149"/>
                <a:gd name="T42" fmla="*/ 92 w 125"/>
                <a:gd name="T43" fmla="*/ 99 h 149"/>
                <a:gd name="T44" fmla="*/ 92 w 125"/>
                <a:gd name="T45" fmla="*/ 99 h 149"/>
                <a:gd name="T46" fmla="*/ 71 w 125"/>
                <a:gd name="T47" fmla="*/ 132 h 149"/>
                <a:gd name="T48" fmla="*/ 54 w 125"/>
                <a:gd name="T49" fmla="*/ 149 h 149"/>
                <a:gd name="T50" fmla="*/ 21 w 125"/>
                <a:gd name="T51" fmla="*/ 149 h 149"/>
                <a:gd name="T52" fmla="*/ 21 w 125"/>
                <a:gd name="T53" fmla="*/ 149 h 149"/>
                <a:gd name="T54" fmla="*/ 21 w 125"/>
                <a:gd name="T55"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5" h="149">
                  <a:moveTo>
                    <a:pt x="21" y="149"/>
                  </a:moveTo>
                  <a:lnTo>
                    <a:pt x="21" y="123"/>
                  </a:lnTo>
                  <a:lnTo>
                    <a:pt x="17" y="111"/>
                  </a:lnTo>
                  <a:lnTo>
                    <a:pt x="17" y="45"/>
                  </a:lnTo>
                  <a:lnTo>
                    <a:pt x="0" y="28"/>
                  </a:lnTo>
                  <a:lnTo>
                    <a:pt x="0" y="28"/>
                  </a:lnTo>
                  <a:lnTo>
                    <a:pt x="0" y="12"/>
                  </a:lnTo>
                  <a:lnTo>
                    <a:pt x="5" y="12"/>
                  </a:lnTo>
                  <a:lnTo>
                    <a:pt x="21" y="21"/>
                  </a:lnTo>
                  <a:lnTo>
                    <a:pt x="21" y="28"/>
                  </a:lnTo>
                  <a:lnTo>
                    <a:pt x="54" y="28"/>
                  </a:lnTo>
                  <a:lnTo>
                    <a:pt x="59" y="0"/>
                  </a:lnTo>
                  <a:lnTo>
                    <a:pt x="76" y="4"/>
                  </a:lnTo>
                  <a:lnTo>
                    <a:pt x="92" y="0"/>
                  </a:lnTo>
                  <a:lnTo>
                    <a:pt x="109" y="0"/>
                  </a:lnTo>
                  <a:lnTo>
                    <a:pt x="102" y="38"/>
                  </a:lnTo>
                  <a:lnTo>
                    <a:pt x="102" y="38"/>
                  </a:lnTo>
                  <a:lnTo>
                    <a:pt x="109" y="38"/>
                  </a:lnTo>
                  <a:lnTo>
                    <a:pt x="125" y="45"/>
                  </a:lnTo>
                  <a:lnTo>
                    <a:pt x="125" y="61"/>
                  </a:lnTo>
                  <a:lnTo>
                    <a:pt x="102" y="82"/>
                  </a:lnTo>
                  <a:lnTo>
                    <a:pt x="92" y="99"/>
                  </a:lnTo>
                  <a:lnTo>
                    <a:pt x="92" y="99"/>
                  </a:lnTo>
                  <a:lnTo>
                    <a:pt x="71" y="132"/>
                  </a:lnTo>
                  <a:lnTo>
                    <a:pt x="54" y="149"/>
                  </a:lnTo>
                  <a:lnTo>
                    <a:pt x="21" y="149"/>
                  </a:lnTo>
                  <a:lnTo>
                    <a:pt x="21" y="149"/>
                  </a:lnTo>
                  <a:lnTo>
                    <a:pt x="21" y="14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5" name="Freeform 410">
              <a:extLst>
                <a:ext uri="{FF2B5EF4-FFF2-40B4-BE49-F238E27FC236}">
                  <a16:creationId xmlns:a16="http://schemas.microsoft.com/office/drawing/2014/main" id="{7698CD23-DC13-4A3B-8808-A53D90916996}"/>
                </a:ext>
              </a:extLst>
            </p:cNvPr>
            <p:cNvSpPr>
              <a:spLocks/>
            </p:cNvSpPr>
            <p:nvPr/>
          </p:nvSpPr>
          <p:spPr bwMode="gray">
            <a:xfrm>
              <a:off x="7114029" y="3357734"/>
              <a:ext cx="303401" cy="483354"/>
            </a:xfrm>
            <a:custGeom>
              <a:avLst/>
              <a:gdLst>
                <a:gd name="T0" fmla="*/ 17 w 737"/>
                <a:gd name="T1" fmla="*/ 720 h 1174"/>
                <a:gd name="T2" fmla="*/ 17 w 737"/>
                <a:gd name="T3" fmla="*/ 659 h 1174"/>
                <a:gd name="T4" fmla="*/ 69 w 737"/>
                <a:gd name="T5" fmla="*/ 569 h 1174"/>
                <a:gd name="T6" fmla="*/ 161 w 737"/>
                <a:gd name="T7" fmla="*/ 264 h 1174"/>
                <a:gd name="T8" fmla="*/ 156 w 737"/>
                <a:gd name="T9" fmla="*/ 198 h 1174"/>
                <a:gd name="T10" fmla="*/ 123 w 737"/>
                <a:gd name="T11" fmla="*/ 144 h 1174"/>
                <a:gd name="T12" fmla="*/ 107 w 737"/>
                <a:gd name="T13" fmla="*/ 33 h 1174"/>
                <a:gd name="T14" fmla="*/ 452 w 737"/>
                <a:gd name="T15" fmla="*/ 137 h 1174"/>
                <a:gd name="T16" fmla="*/ 737 w 737"/>
                <a:gd name="T17" fmla="*/ 581 h 1174"/>
                <a:gd name="T18" fmla="*/ 666 w 737"/>
                <a:gd name="T19" fmla="*/ 588 h 1174"/>
                <a:gd name="T20" fmla="*/ 666 w 737"/>
                <a:gd name="T21" fmla="*/ 621 h 1174"/>
                <a:gd name="T22" fmla="*/ 645 w 737"/>
                <a:gd name="T23" fmla="*/ 654 h 1174"/>
                <a:gd name="T24" fmla="*/ 641 w 737"/>
                <a:gd name="T25" fmla="*/ 692 h 1174"/>
                <a:gd name="T26" fmla="*/ 607 w 737"/>
                <a:gd name="T27" fmla="*/ 720 h 1174"/>
                <a:gd name="T28" fmla="*/ 603 w 737"/>
                <a:gd name="T29" fmla="*/ 770 h 1174"/>
                <a:gd name="T30" fmla="*/ 603 w 737"/>
                <a:gd name="T31" fmla="*/ 803 h 1174"/>
                <a:gd name="T32" fmla="*/ 615 w 737"/>
                <a:gd name="T33" fmla="*/ 791 h 1174"/>
                <a:gd name="T34" fmla="*/ 631 w 737"/>
                <a:gd name="T35" fmla="*/ 819 h 1174"/>
                <a:gd name="T36" fmla="*/ 641 w 737"/>
                <a:gd name="T37" fmla="*/ 881 h 1174"/>
                <a:gd name="T38" fmla="*/ 662 w 737"/>
                <a:gd name="T39" fmla="*/ 885 h 1174"/>
                <a:gd name="T40" fmla="*/ 662 w 737"/>
                <a:gd name="T41" fmla="*/ 930 h 1174"/>
                <a:gd name="T42" fmla="*/ 577 w 737"/>
                <a:gd name="T43" fmla="*/ 952 h 1174"/>
                <a:gd name="T44" fmla="*/ 570 w 737"/>
                <a:gd name="T45" fmla="*/ 987 h 1174"/>
                <a:gd name="T46" fmla="*/ 548 w 737"/>
                <a:gd name="T47" fmla="*/ 996 h 1174"/>
                <a:gd name="T48" fmla="*/ 494 w 737"/>
                <a:gd name="T49" fmla="*/ 1046 h 1174"/>
                <a:gd name="T50" fmla="*/ 463 w 737"/>
                <a:gd name="T51" fmla="*/ 1053 h 1174"/>
                <a:gd name="T52" fmla="*/ 392 w 737"/>
                <a:gd name="T53" fmla="*/ 1070 h 1174"/>
                <a:gd name="T54" fmla="*/ 397 w 737"/>
                <a:gd name="T55" fmla="*/ 1098 h 1174"/>
                <a:gd name="T56" fmla="*/ 291 w 737"/>
                <a:gd name="T57" fmla="*/ 1141 h 1174"/>
                <a:gd name="T58" fmla="*/ 220 w 737"/>
                <a:gd name="T59" fmla="*/ 1157 h 1174"/>
                <a:gd name="T60" fmla="*/ 211 w 737"/>
                <a:gd name="T61" fmla="*/ 1164 h 1174"/>
                <a:gd name="T62" fmla="*/ 144 w 737"/>
                <a:gd name="T63" fmla="*/ 1174 h 1174"/>
                <a:gd name="T64" fmla="*/ 144 w 737"/>
                <a:gd name="T65" fmla="*/ 1152 h 1174"/>
                <a:gd name="T66" fmla="*/ 59 w 737"/>
                <a:gd name="T67" fmla="*/ 1053 h 1174"/>
                <a:gd name="T68" fmla="*/ 52 w 737"/>
                <a:gd name="T69" fmla="*/ 996 h 1174"/>
                <a:gd name="T70" fmla="*/ 161 w 737"/>
                <a:gd name="T71" fmla="*/ 996 h 1174"/>
                <a:gd name="T72" fmla="*/ 114 w 737"/>
                <a:gd name="T73" fmla="*/ 935 h 1174"/>
                <a:gd name="T74" fmla="*/ 114 w 737"/>
                <a:gd name="T75" fmla="*/ 885 h 1174"/>
                <a:gd name="T76" fmla="*/ 102 w 737"/>
                <a:gd name="T77" fmla="*/ 843 h 1174"/>
                <a:gd name="T78" fmla="*/ 76 w 737"/>
                <a:gd name="T79" fmla="*/ 791 h 1174"/>
                <a:gd name="T80" fmla="*/ 48 w 737"/>
                <a:gd name="T81" fmla="*/ 770 h 1174"/>
                <a:gd name="T82" fmla="*/ 48 w 737"/>
                <a:gd name="T83" fmla="*/ 770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37" h="1174">
                  <a:moveTo>
                    <a:pt x="48" y="770"/>
                  </a:moveTo>
                  <a:lnTo>
                    <a:pt x="17" y="720"/>
                  </a:lnTo>
                  <a:lnTo>
                    <a:pt x="0" y="663"/>
                  </a:lnTo>
                  <a:lnTo>
                    <a:pt x="17" y="659"/>
                  </a:lnTo>
                  <a:lnTo>
                    <a:pt x="31" y="626"/>
                  </a:lnTo>
                  <a:lnTo>
                    <a:pt x="69" y="569"/>
                  </a:lnTo>
                  <a:lnTo>
                    <a:pt x="144" y="486"/>
                  </a:lnTo>
                  <a:lnTo>
                    <a:pt x="161" y="264"/>
                  </a:lnTo>
                  <a:lnTo>
                    <a:pt x="178" y="231"/>
                  </a:lnTo>
                  <a:lnTo>
                    <a:pt x="156" y="198"/>
                  </a:lnTo>
                  <a:lnTo>
                    <a:pt x="156" y="182"/>
                  </a:lnTo>
                  <a:lnTo>
                    <a:pt x="123" y="144"/>
                  </a:lnTo>
                  <a:lnTo>
                    <a:pt x="123" y="104"/>
                  </a:lnTo>
                  <a:lnTo>
                    <a:pt x="107" y="33"/>
                  </a:lnTo>
                  <a:lnTo>
                    <a:pt x="178" y="0"/>
                  </a:lnTo>
                  <a:lnTo>
                    <a:pt x="452" y="137"/>
                  </a:lnTo>
                  <a:lnTo>
                    <a:pt x="737" y="293"/>
                  </a:lnTo>
                  <a:lnTo>
                    <a:pt x="737" y="581"/>
                  </a:lnTo>
                  <a:lnTo>
                    <a:pt x="678" y="581"/>
                  </a:lnTo>
                  <a:lnTo>
                    <a:pt x="666" y="588"/>
                  </a:lnTo>
                  <a:lnTo>
                    <a:pt x="666" y="604"/>
                  </a:lnTo>
                  <a:lnTo>
                    <a:pt x="666" y="621"/>
                  </a:lnTo>
                  <a:lnTo>
                    <a:pt x="645" y="642"/>
                  </a:lnTo>
                  <a:lnTo>
                    <a:pt x="645" y="654"/>
                  </a:lnTo>
                  <a:lnTo>
                    <a:pt x="631" y="659"/>
                  </a:lnTo>
                  <a:lnTo>
                    <a:pt x="641" y="692"/>
                  </a:lnTo>
                  <a:lnTo>
                    <a:pt x="615" y="708"/>
                  </a:lnTo>
                  <a:lnTo>
                    <a:pt x="607" y="720"/>
                  </a:lnTo>
                  <a:lnTo>
                    <a:pt x="624" y="748"/>
                  </a:lnTo>
                  <a:lnTo>
                    <a:pt x="603" y="770"/>
                  </a:lnTo>
                  <a:lnTo>
                    <a:pt x="586" y="791"/>
                  </a:lnTo>
                  <a:lnTo>
                    <a:pt x="603" y="803"/>
                  </a:lnTo>
                  <a:lnTo>
                    <a:pt x="607" y="803"/>
                  </a:lnTo>
                  <a:lnTo>
                    <a:pt x="615" y="791"/>
                  </a:lnTo>
                  <a:lnTo>
                    <a:pt x="631" y="803"/>
                  </a:lnTo>
                  <a:lnTo>
                    <a:pt x="631" y="819"/>
                  </a:lnTo>
                  <a:lnTo>
                    <a:pt x="645" y="848"/>
                  </a:lnTo>
                  <a:lnTo>
                    <a:pt x="641" y="881"/>
                  </a:lnTo>
                  <a:lnTo>
                    <a:pt x="657" y="885"/>
                  </a:lnTo>
                  <a:lnTo>
                    <a:pt x="662" y="885"/>
                  </a:lnTo>
                  <a:lnTo>
                    <a:pt x="666" y="902"/>
                  </a:lnTo>
                  <a:lnTo>
                    <a:pt x="662" y="930"/>
                  </a:lnTo>
                  <a:lnTo>
                    <a:pt x="631" y="919"/>
                  </a:lnTo>
                  <a:lnTo>
                    <a:pt x="577" y="952"/>
                  </a:lnTo>
                  <a:lnTo>
                    <a:pt x="577" y="975"/>
                  </a:lnTo>
                  <a:lnTo>
                    <a:pt x="570" y="987"/>
                  </a:lnTo>
                  <a:lnTo>
                    <a:pt x="555" y="996"/>
                  </a:lnTo>
                  <a:lnTo>
                    <a:pt x="548" y="996"/>
                  </a:lnTo>
                  <a:lnTo>
                    <a:pt x="518" y="1041"/>
                  </a:lnTo>
                  <a:lnTo>
                    <a:pt x="494" y="1046"/>
                  </a:lnTo>
                  <a:lnTo>
                    <a:pt x="485" y="1063"/>
                  </a:lnTo>
                  <a:lnTo>
                    <a:pt x="463" y="1053"/>
                  </a:lnTo>
                  <a:lnTo>
                    <a:pt x="452" y="1063"/>
                  </a:lnTo>
                  <a:lnTo>
                    <a:pt x="392" y="1070"/>
                  </a:lnTo>
                  <a:lnTo>
                    <a:pt x="383" y="1079"/>
                  </a:lnTo>
                  <a:lnTo>
                    <a:pt x="397" y="1098"/>
                  </a:lnTo>
                  <a:lnTo>
                    <a:pt x="359" y="1136"/>
                  </a:lnTo>
                  <a:lnTo>
                    <a:pt x="291" y="1141"/>
                  </a:lnTo>
                  <a:lnTo>
                    <a:pt x="237" y="1174"/>
                  </a:lnTo>
                  <a:lnTo>
                    <a:pt x="220" y="1157"/>
                  </a:lnTo>
                  <a:lnTo>
                    <a:pt x="220" y="1152"/>
                  </a:lnTo>
                  <a:lnTo>
                    <a:pt x="211" y="1164"/>
                  </a:lnTo>
                  <a:lnTo>
                    <a:pt x="178" y="1174"/>
                  </a:lnTo>
                  <a:lnTo>
                    <a:pt x="144" y="1174"/>
                  </a:lnTo>
                  <a:lnTo>
                    <a:pt x="156" y="1157"/>
                  </a:lnTo>
                  <a:lnTo>
                    <a:pt x="144" y="1152"/>
                  </a:lnTo>
                  <a:lnTo>
                    <a:pt x="123" y="1103"/>
                  </a:lnTo>
                  <a:lnTo>
                    <a:pt x="59" y="1053"/>
                  </a:lnTo>
                  <a:lnTo>
                    <a:pt x="38" y="1025"/>
                  </a:lnTo>
                  <a:lnTo>
                    <a:pt x="52" y="996"/>
                  </a:lnTo>
                  <a:lnTo>
                    <a:pt x="90" y="996"/>
                  </a:lnTo>
                  <a:lnTo>
                    <a:pt x="161" y="996"/>
                  </a:lnTo>
                  <a:lnTo>
                    <a:pt x="140" y="975"/>
                  </a:lnTo>
                  <a:lnTo>
                    <a:pt x="114" y="935"/>
                  </a:lnTo>
                  <a:lnTo>
                    <a:pt x="114" y="902"/>
                  </a:lnTo>
                  <a:lnTo>
                    <a:pt x="114" y="885"/>
                  </a:lnTo>
                  <a:lnTo>
                    <a:pt x="114" y="843"/>
                  </a:lnTo>
                  <a:lnTo>
                    <a:pt x="102" y="843"/>
                  </a:lnTo>
                  <a:lnTo>
                    <a:pt x="102" y="803"/>
                  </a:lnTo>
                  <a:lnTo>
                    <a:pt x="76" y="791"/>
                  </a:lnTo>
                  <a:lnTo>
                    <a:pt x="69" y="770"/>
                  </a:lnTo>
                  <a:lnTo>
                    <a:pt x="48" y="770"/>
                  </a:lnTo>
                  <a:lnTo>
                    <a:pt x="48" y="770"/>
                  </a:lnTo>
                  <a:lnTo>
                    <a:pt x="48" y="77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6" name="Freeform 411">
              <a:extLst>
                <a:ext uri="{FF2B5EF4-FFF2-40B4-BE49-F238E27FC236}">
                  <a16:creationId xmlns:a16="http://schemas.microsoft.com/office/drawing/2014/main" id="{5043666B-AB64-4EE2-84F9-0A5ABAEACAEF}"/>
                </a:ext>
              </a:extLst>
            </p:cNvPr>
            <p:cNvSpPr>
              <a:spLocks noEditPoints="1"/>
            </p:cNvSpPr>
            <p:nvPr/>
          </p:nvSpPr>
          <p:spPr bwMode="gray">
            <a:xfrm>
              <a:off x="9025001" y="3772743"/>
              <a:ext cx="64220" cy="115691"/>
            </a:xfrm>
            <a:custGeom>
              <a:avLst/>
              <a:gdLst>
                <a:gd name="T0" fmla="*/ 17 w 156"/>
                <a:gd name="T1" fmla="*/ 182 h 281"/>
                <a:gd name="T2" fmla="*/ 12 w 156"/>
                <a:gd name="T3" fmla="*/ 116 h 281"/>
                <a:gd name="T4" fmla="*/ 12 w 156"/>
                <a:gd name="T5" fmla="*/ 111 h 281"/>
                <a:gd name="T6" fmla="*/ 12 w 156"/>
                <a:gd name="T7" fmla="*/ 133 h 281"/>
                <a:gd name="T8" fmla="*/ 17 w 156"/>
                <a:gd name="T9" fmla="*/ 133 h 281"/>
                <a:gd name="T10" fmla="*/ 17 w 156"/>
                <a:gd name="T11" fmla="*/ 95 h 281"/>
                <a:gd name="T12" fmla="*/ 28 w 156"/>
                <a:gd name="T13" fmla="*/ 88 h 281"/>
                <a:gd name="T14" fmla="*/ 28 w 156"/>
                <a:gd name="T15" fmla="*/ 59 h 281"/>
                <a:gd name="T16" fmla="*/ 33 w 156"/>
                <a:gd name="T17" fmla="*/ 55 h 281"/>
                <a:gd name="T18" fmla="*/ 33 w 156"/>
                <a:gd name="T19" fmla="*/ 33 h 281"/>
                <a:gd name="T20" fmla="*/ 38 w 156"/>
                <a:gd name="T21" fmla="*/ 22 h 281"/>
                <a:gd name="T22" fmla="*/ 33 w 156"/>
                <a:gd name="T23" fmla="*/ 17 h 281"/>
                <a:gd name="T24" fmla="*/ 71 w 156"/>
                <a:gd name="T25" fmla="*/ 33 h 281"/>
                <a:gd name="T26" fmla="*/ 28 w 156"/>
                <a:gd name="T27" fmla="*/ 5 h 281"/>
                <a:gd name="T28" fmla="*/ 28 w 156"/>
                <a:gd name="T29" fmla="*/ 0 h 281"/>
                <a:gd name="T30" fmla="*/ 33 w 156"/>
                <a:gd name="T31" fmla="*/ 0 h 281"/>
                <a:gd name="T32" fmla="*/ 54 w 156"/>
                <a:gd name="T33" fmla="*/ 17 h 281"/>
                <a:gd name="T34" fmla="*/ 38 w 156"/>
                <a:gd name="T35" fmla="*/ 0 h 281"/>
                <a:gd name="T36" fmla="*/ 50 w 156"/>
                <a:gd name="T37" fmla="*/ 0 h 281"/>
                <a:gd name="T38" fmla="*/ 85 w 156"/>
                <a:gd name="T39" fmla="*/ 38 h 281"/>
                <a:gd name="T40" fmla="*/ 92 w 156"/>
                <a:gd name="T41" fmla="*/ 59 h 281"/>
                <a:gd name="T42" fmla="*/ 102 w 156"/>
                <a:gd name="T43" fmla="*/ 59 h 281"/>
                <a:gd name="T44" fmla="*/ 106 w 156"/>
                <a:gd name="T45" fmla="*/ 88 h 281"/>
                <a:gd name="T46" fmla="*/ 118 w 156"/>
                <a:gd name="T47" fmla="*/ 95 h 281"/>
                <a:gd name="T48" fmla="*/ 106 w 156"/>
                <a:gd name="T49" fmla="*/ 95 h 281"/>
                <a:gd name="T50" fmla="*/ 123 w 156"/>
                <a:gd name="T51" fmla="*/ 95 h 281"/>
                <a:gd name="T52" fmla="*/ 123 w 156"/>
                <a:gd name="T53" fmla="*/ 116 h 281"/>
                <a:gd name="T54" fmla="*/ 156 w 156"/>
                <a:gd name="T55" fmla="*/ 170 h 281"/>
                <a:gd name="T56" fmla="*/ 156 w 156"/>
                <a:gd name="T57" fmla="*/ 206 h 281"/>
                <a:gd name="T58" fmla="*/ 139 w 156"/>
                <a:gd name="T59" fmla="*/ 244 h 281"/>
                <a:gd name="T60" fmla="*/ 118 w 156"/>
                <a:gd name="T61" fmla="*/ 260 h 281"/>
                <a:gd name="T62" fmla="*/ 71 w 156"/>
                <a:gd name="T63" fmla="*/ 281 h 281"/>
                <a:gd name="T64" fmla="*/ 38 w 156"/>
                <a:gd name="T65" fmla="*/ 277 h 281"/>
                <a:gd name="T66" fmla="*/ 33 w 156"/>
                <a:gd name="T67" fmla="*/ 260 h 281"/>
                <a:gd name="T68" fmla="*/ 17 w 156"/>
                <a:gd name="T69" fmla="*/ 222 h 281"/>
                <a:gd name="T70" fmla="*/ 17 w 156"/>
                <a:gd name="T71" fmla="*/ 182 h 281"/>
                <a:gd name="T72" fmla="*/ 17 w 156"/>
                <a:gd name="T73" fmla="*/ 182 h 281"/>
                <a:gd name="T74" fmla="*/ 17 w 156"/>
                <a:gd name="T75" fmla="*/ 182 h 281"/>
                <a:gd name="T76" fmla="*/ 17 w 156"/>
                <a:gd name="T77" fmla="*/ 5 h 281"/>
                <a:gd name="T78" fmla="*/ 28 w 156"/>
                <a:gd name="T79" fmla="*/ 17 h 281"/>
                <a:gd name="T80" fmla="*/ 17 w 156"/>
                <a:gd name="T81" fmla="*/ 5 h 281"/>
                <a:gd name="T82" fmla="*/ 17 w 156"/>
                <a:gd name="T83" fmla="*/ 5 h 281"/>
                <a:gd name="T84" fmla="*/ 17 w 156"/>
                <a:gd name="T85" fmla="*/ 5 h 281"/>
                <a:gd name="T86" fmla="*/ 17 w 156"/>
                <a:gd name="T87" fmla="*/ 5 h 281"/>
                <a:gd name="T88" fmla="*/ 12 w 156"/>
                <a:gd name="T89" fmla="*/ 55 h 281"/>
                <a:gd name="T90" fmla="*/ 17 w 156"/>
                <a:gd name="T91" fmla="*/ 59 h 281"/>
                <a:gd name="T92" fmla="*/ 0 w 156"/>
                <a:gd name="T93" fmla="*/ 55 h 281"/>
                <a:gd name="T94" fmla="*/ 12 w 156"/>
                <a:gd name="T95" fmla="*/ 55 h 281"/>
                <a:gd name="T96" fmla="*/ 12 w 156"/>
                <a:gd name="T97" fmla="*/ 55 h 281"/>
                <a:gd name="T98" fmla="*/ 12 w 156"/>
                <a:gd name="T99" fmla="*/ 55 h 281"/>
                <a:gd name="T100" fmla="*/ 144 w 156"/>
                <a:gd name="T101" fmla="*/ 154 h 281"/>
                <a:gd name="T102" fmla="*/ 156 w 156"/>
                <a:gd name="T103" fmla="*/ 170 h 281"/>
                <a:gd name="T104" fmla="*/ 144 w 156"/>
                <a:gd name="T105" fmla="*/ 149 h 281"/>
                <a:gd name="T106" fmla="*/ 144 w 156"/>
                <a:gd name="T107" fmla="*/ 154 h 281"/>
                <a:gd name="T108" fmla="*/ 144 w 156"/>
                <a:gd name="T109" fmla="*/ 154 h 281"/>
                <a:gd name="T110" fmla="*/ 144 w 156"/>
                <a:gd name="T111" fmla="*/ 15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6" h="281">
                  <a:moveTo>
                    <a:pt x="17" y="182"/>
                  </a:moveTo>
                  <a:lnTo>
                    <a:pt x="12" y="116"/>
                  </a:lnTo>
                  <a:lnTo>
                    <a:pt x="12" y="111"/>
                  </a:lnTo>
                  <a:lnTo>
                    <a:pt x="12" y="133"/>
                  </a:lnTo>
                  <a:lnTo>
                    <a:pt x="17" y="133"/>
                  </a:lnTo>
                  <a:lnTo>
                    <a:pt x="17" y="95"/>
                  </a:lnTo>
                  <a:lnTo>
                    <a:pt x="28" y="88"/>
                  </a:lnTo>
                  <a:lnTo>
                    <a:pt x="28" y="59"/>
                  </a:lnTo>
                  <a:lnTo>
                    <a:pt x="33" y="55"/>
                  </a:lnTo>
                  <a:lnTo>
                    <a:pt x="33" y="33"/>
                  </a:lnTo>
                  <a:lnTo>
                    <a:pt x="38" y="22"/>
                  </a:lnTo>
                  <a:lnTo>
                    <a:pt x="33" y="17"/>
                  </a:lnTo>
                  <a:lnTo>
                    <a:pt x="71" y="33"/>
                  </a:lnTo>
                  <a:lnTo>
                    <a:pt x="28" y="5"/>
                  </a:lnTo>
                  <a:lnTo>
                    <a:pt x="28" y="0"/>
                  </a:lnTo>
                  <a:lnTo>
                    <a:pt x="33" y="0"/>
                  </a:lnTo>
                  <a:lnTo>
                    <a:pt x="54" y="17"/>
                  </a:lnTo>
                  <a:lnTo>
                    <a:pt x="38" y="0"/>
                  </a:lnTo>
                  <a:lnTo>
                    <a:pt x="50" y="0"/>
                  </a:lnTo>
                  <a:lnTo>
                    <a:pt x="85" y="38"/>
                  </a:lnTo>
                  <a:lnTo>
                    <a:pt x="92" y="59"/>
                  </a:lnTo>
                  <a:lnTo>
                    <a:pt x="102" y="59"/>
                  </a:lnTo>
                  <a:lnTo>
                    <a:pt x="106" y="88"/>
                  </a:lnTo>
                  <a:lnTo>
                    <a:pt x="118" y="95"/>
                  </a:lnTo>
                  <a:lnTo>
                    <a:pt x="106" y="95"/>
                  </a:lnTo>
                  <a:lnTo>
                    <a:pt x="123" y="95"/>
                  </a:lnTo>
                  <a:lnTo>
                    <a:pt x="123" y="116"/>
                  </a:lnTo>
                  <a:lnTo>
                    <a:pt x="156" y="170"/>
                  </a:lnTo>
                  <a:lnTo>
                    <a:pt x="156" y="206"/>
                  </a:lnTo>
                  <a:lnTo>
                    <a:pt x="139" y="244"/>
                  </a:lnTo>
                  <a:lnTo>
                    <a:pt x="118" y="260"/>
                  </a:lnTo>
                  <a:lnTo>
                    <a:pt x="71" y="281"/>
                  </a:lnTo>
                  <a:lnTo>
                    <a:pt x="38" y="277"/>
                  </a:lnTo>
                  <a:lnTo>
                    <a:pt x="33" y="260"/>
                  </a:lnTo>
                  <a:lnTo>
                    <a:pt x="17" y="222"/>
                  </a:lnTo>
                  <a:lnTo>
                    <a:pt x="17" y="182"/>
                  </a:lnTo>
                  <a:lnTo>
                    <a:pt x="17" y="182"/>
                  </a:lnTo>
                  <a:lnTo>
                    <a:pt x="17" y="182"/>
                  </a:lnTo>
                  <a:close/>
                  <a:moveTo>
                    <a:pt x="17" y="5"/>
                  </a:moveTo>
                  <a:lnTo>
                    <a:pt x="28" y="17"/>
                  </a:lnTo>
                  <a:lnTo>
                    <a:pt x="17" y="5"/>
                  </a:lnTo>
                  <a:lnTo>
                    <a:pt x="17" y="5"/>
                  </a:lnTo>
                  <a:lnTo>
                    <a:pt x="17" y="5"/>
                  </a:lnTo>
                  <a:lnTo>
                    <a:pt x="17" y="5"/>
                  </a:lnTo>
                  <a:close/>
                  <a:moveTo>
                    <a:pt x="12" y="55"/>
                  </a:moveTo>
                  <a:lnTo>
                    <a:pt x="17" y="59"/>
                  </a:lnTo>
                  <a:lnTo>
                    <a:pt x="0" y="55"/>
                  </a:lnTo>
                  <a:lnTo>
                    <a:pt x="12" y="55"/>
                  </a:lnTo>
                  <a:lnTo>
                    <a:pt x="12" y="55"/>
                  </a:lnTo>
                  <a:lnTo>
                    <a:pt x="12" y="55"/>
                  </a:lnTo>
                  <a:close/>
                  <a:moveTo>
                    <a:pt x="144" y="154"/>
                  </a:moveTo>
                  <a:lnTo>
                    <a:pt x="156" y="170"/>
                  </a:lnTo>
                  <a:lnTo>
                    <a:pt x="144" y="149"/>
                  </a:lnTo>
                  <a:lnTo>
                    <a:pt x="144" y="154"/>
                  </a:lnTo>
                  <a:lnTo>
                    <a:pt x="144" y="154"/>
                  </a:lnTo>
                  <a:lnTo>
                    <a:pt x="144" y="15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7" name="Freeform 412">
              <a:extLst>
                <a:ext uri="{FF2B5EF4-FFF2-40B4-BE49-F238E27FC236}">
                  <a16:creationId xmlns:a16="http://schemas.microsoft.com/office/drawing/2014/main" id="{35041167-5DB9-443C-8159-45B2E6CC48A3}"/>
                </a:ext>
              </a:extLst>
            </p:cNvPr>
            <p:cNvSpPr>
              <a:spLocks/>
            </p:cNvSpPr>
            <p:nvPr/>
          </p:nvSpPr>
          <p:spPr bwMode="gray">
            <a:xfrm>
              <a:off x="7046927" y="3955546"/>
              <a:ext cx="214892" cy="258970"/>
            </a:xfrm>
            <a:custGeom>
              <a:avLst/>
              <a:gdLst>
                <a:gd name="T0" fmla="*/ 123 w 522"/>
                <a:gd name="T1" fmla="*/ 589 h 629"/>
                <a:gd name="T2" fmla="*/ 107 w 522"/>
                <a:gd name="T3" fmla="*/ 596 h 629"/>
                <a:gd name="T4" fmla="*/ 85 w 522"/>
                <a:gd name="T5" fmla="*/ 612 h 629"/>
                <a:gd name="T6" fmla="*/ 59 w 522"/>
                <a:gd name="T7" fmla="*/ 629 h 629"/>
                <a:gd name="T8" fmla="*/ 48 w 522"/>
                <a:gd name="T9" fmla="*/ 596 h 629"/>
                <a:gd name="T10" fmla="*/ 5 w 522"/>
                <a:gd name="T11" fmla="*/ 534 h 629"/>
                <a:gd name="T12" fmla="*/ 48 w 522"/>
                <a:gd name="T13" fmla="*/ 534 h 629"/>
                <a:gd name="T14" fmla="*/ 52 w 522"/>
                <a:gd name="T15" fmla="*/ 522 h 629"/>
                <a:gd name="T16" fmla="*/ 38 w 522"/>
                <a:gd name="T17" fmla="*/ 501 h 629"/>
                <a:gd name="T18" fmla="*/ 38 w 522"/>
                <a:gd name="T19" fmla="*/ 468 h 629"/>
                <a:gd name="T20" fmla="*/ 38 w 522"/>
                <a:gd name="T21" fmla="*/ 452 h 629"/>
                <a:gd name="T22" fmla="*/ 48 w 522"/>
                <a:gd name="T23" fmla="*/ 444 h 629"/>
                <a:gd name="T24" fmla="*/ 69 w 522"/>
                <a:gd name="T25" fmla="*/ 444 h 629"/>
                <a:gd name="T26" fmla="*/ 90 w 522"/>
                <a:gd name="T27" fmla="*/ 407 h 629"/>
                <a:gd name="T28" fmla="*/ 107 w 522"/>
                <a:gd name="T29" fmla="*/ 395 h 629"/>
                <a:gd name="T30" fmla="*/ 128 w 522"/>
                <a:gd name="T31" fmla="*/ 440 h 629"/>
                <a:gd name="T32" fmla="*/ 182 w 522"/>
                <a:gd name="T33" fmla="*/ 423 h 629"/>
                <a:gd name="T34" fmla="*/ 211 w 522"/>
                <a:gd name="T35" fmla="*/ 444 h 629"/>
                <a:gd name="T36" fmla="*/ 232 w 522"/>
                <a:gd name="T37" fmla="*/ 407 h 629"/>
                <a:gd name="T38" fmla="*/ 232 w 522"/>
                <a:gd name="T39" fmla="*/ 340 h 629"/>
                <a:gd name="T40" fmla="*/ 232 w 522"/>
                <a:gd name="T41" fmla="*/ 300 h 629"/>
                <a:gd name="T42" fmla="*/ 211 w 522"/>
                <a:gd name="T43" fmla="*/ 284 h 629"/>
                <a:gd name="T44" fmla="*/ 194 w 522"/>
                <a:gd name="T45" fmla="*/ 279 h 629"/>
                <a:gd name="T46" fmla="*/ 211 w 522"/>
                <a:gd name="T47" fmla="*/ 229 h 629"/>
                <a:gd name="T48" fmla="*/ 237 w 522"/>
                <a:gd name="T49" fmla="*/ 201 h 629"/>
                <a:gd name="T50" fmla="*/ 182 w 522"/>
                <a:gd name="T51" fmla="*/ 168 h 629"/>
                <a:gd name="T52" fmla="*/ 144 w 522"/>
                <a:gd name="T53" fmla="*/ 168 h 629"/>
                <a:gd name="T54" fmla="*/ 156 w 522"/>
                <a:gd name="T55" fmla="*/ 111 h 629"/>
                <a:gd name="T56" fmla="*/ 265 w 522"/>
                <a:gd name="T57" fmla="*/ 118 h 629"/>
                <a:gd name="T58" fmla="*/ 345 w 522"/>
                <a:gd name="T59" fmla="*/ 152 h 629"/>
                <a:gd name="T60" fmla="*/ 345 w 522"/>
                <a:gd name="T61" fmla="*/ 111 h 629"/>
                <a:gd name="T62" fmla="*/ 378 w 522"/>
                <a:gd name="T63" fmla="*/ 62 h 629"/>
                <a:gd name="T64" fmla="*/ 383 w 522"/>
                <a:gd name="T65" fmla="*/ 7 h 629"/>
                <a:gd name="T66" fmla="*/ 447 w 522"/>
                <a:gd name="T67" fmla="*/ 0 h 629"/>
                <a:gd name="T68" fmla="*/ 468 w 522"/>
                <a:gd name="T69" fmla="*/ 7 h 629"/>
                <a:gd name="T70" fmla="*/ 492 w 522"/>
                <a:gd name="T71" fmla="*/ 19 h 629"/>
                <a:gd name="T72" fmla="*/ 522 w 522"/>
                <a:gd name="T73" fmla="*/ 19 h 629"/>
                <a:gd name="T74" fmla="*/ 485 w 522"/>
                <a:gd name="T75" fmla="*/ 102 h 629"/>
                <a:gd name="T76" fmla="*/ 480 w 522"/>
                <a:gd name="T77" fmla="*/ 201 h 629"/>
                <a:gd name="T78" fmla="*/ 463 w 522"/>
                <a:gd name="T79" fmla="*/ 279 h 629"/>
                <a:gd name="T80" fmla="*/ 437 w 522"/>
                <a:gd name="T81" fmla="*/ 340 h 629"/>
                <a:gd name="T82" fmla="*/ 378 w 522"/>
                <a:gd name="T83" fmla="*/ 407 h 629"/>
                <a:gd name="T84" fmla="*/ 362 w 522"/>
                <a:gd name="T85" fmla="*/ 506 h 629"/>
                <a:gd name="T86" fmla="*/ 307 w 522"/>
                <a:gd name="T87" fmla="*/ 555 h 629"/>
                <a:gd name="T88" fmla="*/ 286 w 522"/>
                <a:gd name="T89" fmla="*/ 579 h 629"/>
                <a:gd name="T90" fmla="*/ 248 w 522"/>
                <a:gd name="T91" fmla="*/ 617 h 629"/>
                <a:gd name="T92" fmla="*/ 232 w 522"/>
                <a:gd name="T93" fmla="*/ 596 h 629"/>
                <a:gd name="T94" fmla="*/ 232 w 522"/>
                <a:gd name="T95" fmla="*/ 579 h 629"/>
                <a:gd name="T96" fmla="*/ 182 w 522"/>
                <a:gd name="T97" fmla="*/ 589 h 629"/>
                <a:gd name="T98" fmla="*/ 166 w 522"/>
                <a:gd name="T99" fmla="*/ 612 h 629"/>
                <a:gd name="T100" fmla="*/ 140 w 522"/>
                <a:gd name="T101" fmla="*/ 596 h 629"/>
                <a:gd name="T102" fmla="*/ 140 w 522"/>
                <a:gd name="T103" fmla="*/ 605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2" h="629">
                  <a:moveTo>
                    <a:pt x="140" y="605"/>
                  </a:moveTo>
                  <a:lnTo>
                    <a:pt x="123" y="589"/>
                  </a:lnTo>
                  <a:lnTo>
                    <a:pt x="114" y="589"/>
                  </a:lnTo>
                  <a:lnTo>
                    <a:pt x="107" y="596"/>
                  </a:lnTo>
                  <a:lnTo>
                    <a:pt x="90" y="605"/>
                  </a:lnTo>
                  <a:lnTo>
                    <a:pt x="85" y="612"/>
                  </a:lnTo>
                  <a:lnTo>
                    <a:pt x="76" y="612"/>
                  </a:lnTo>
                  <a:lnTo>
                    <a:pt x="59" y="629"/>
                  </a:lnTo>
                  <a:lnTo>
                    <a:pt x="48" y="612"/>
                  </a:lnTo>
                  <a:lnTo>
                    <a:pt x="48" y="596"/>
                  </a:lnTo>
                  <a:lnTo>
                    <a:pt x="0" y="551"/>
                  </a:lnTo>
                  <a:lnTo>
                    <a:pt x="5" y="534"/>
                  </a:lnTo>
                  <a:lnTo>
                    <a:pt x="31" y="522"/>
                  </a:lnTo>
                  <a:lnTo>
                    <a:pt x="48" y="534"/>
                  </a:lnTo>
                  <a:lnTo>
                    <a:pt x="52" y="534"/>
                  </a:lnTo>
                  <a:lnTo>
                    <a:pt x="52" y="522"/>
                  </a:lnTo>
                  <a:lnTo>
                    <a:pt x="59" y="506"/>
                  </a:lnTo>
                  <a:lnTo>
                    <a:pt x="38" y="501"/>
                  </a:lnTo>
                  <a:lnTo>
                    <a:pt x="48" y="485"/>
                  </a:lnTo>
                  <a:lnTo>
                    <a:pt x="38" y="468"/>
                  </a:lnTo>
                  <a:lnTo>
                    <a:pt x="31" y="478"/>
                  </a:lnTo>
                  <a:lnTo>
                    <a:pt x="38" y="452"/>
                  </a:lnTo>
                  <a:lnTo>
                    <a:pt x="31" y="440"/>
                  </a:lnTo>
                  <a:lnTo>
                    <a:pt x="48" y="444"/>
                  </a:lnTo>
                  <a:lnTo>
                    <a:pt x="59" y="440"/>
                  </a:lnTo>
                  <a:lnTo>
                    <a:pt x="69" y="444"/>
                  </a:lnTo>
                  <a:lnTo>
                    <a:pt x="90" y="440"/>
                  </a:lnTo>
                  <a:lnTo>
                    <a:pt x="90" y="407"/>
                  </a:lnTo>
                  <a:lnTo>
                    <a:pt x="102" y="407"/>
                  </a:lnTo>
                  <a:lnTo>
                    <a:pt x="107" y="395"/>
                  </a:lnTo>
                  <a:lnTo>
                    <a:pt x="123" y="407"/>
                  </a:lnTo>
                  <a:lnTo>
                    <a:pt x="128" y="440"/>
                  </a:lnTo>
                  <a:lnTo>
                    <a:pt x="166" y="444"/>
                  </a:lnTo>
                  <a:lnTo>
                    <a:pt x="182" y="423"/>
                  </a:lnTo>
                  <a:lnTo>
                    <a:pt x="194" y="444"/>
                  </a:lnTo>
                  <a:lnTo>
                    <a:pt x="211" y="444"/>
                  </a:lnTo>
                  <a:lnTo>
                    <a:pt x="220" y="411"/>
                  </a:lnTo>
                  <a:lnTo>
                    <a:pt x="232" y="407"/>
                  </a:lnTo>
                  <a:lnTo>
                    <a:pt x="237" y="357"/>
                  </a:lnTo>
                  <a:lnTo>
                    <a:pt x="232" y="340"/>
                  </a:lnTo>
                  <a:lnTo>
                    <a:pt x="237" y="312"/>
                  </a:lnTo>
                  <a:lnTo>
                    <a:pt x="232" y="300"/>
                  </a:lnTo>
                  <a:lnTo>
                    <a:pt x="215" y="300"/>
                  </a:lnTo>
                  <a:lnTo>
                    <a:pt x="211" y="284"/>
                  </a:lnTo>
                  <a:lnTo>
                    <a:pt x="194" y="284"/>
                  </a:lnTo>
                  <a:lnTo>
                    <a:pt x="194" y="279"/>
                  </a:lnTo>
                  <a:lnTo>
                    <a:pt x="199" y="246"/>
                  </a:lnTo>
                  <a:lnTo>
                    <a:pt x="211" y="229"/>
                  </a:lnTo>
                  <a:lnTo>
                    <a:pt x="220" y="222"/>
                  </a:lnTo>
                  <a:lnTo>
                    <a:pt x="237" y="201"/>
                  </a:lnTo>
                  <a:lnTo>
                    <a:pt x="215" y="168"/>
                  </a:lnTo>
                  <a:lnTo>
                    <a:pt x="182" y="168"/>
                  </a:lnTo>
                  <a:lnTo>
                    <a:pt x="144" y="185"/>
                  </a:lnTo>
                  <a:lnTo>
                    <a:pt x="144" y="168"/>
                  </a:lnTo>
                  <a:lnTo>
                    <a:pt x="140" y="147"/>
                  </a:lnTo>
                  <a:lnTo>
                    <a:pt x="156" y="111"/>
                  </a:lnTo>
                  <a:lnTo>
                    <a:pt x="237" y="111"/>
                  </a:lnTo>
                  <a:lnTo>
                    <a:pt x="265" y="118"/>
                  </a:lnTo>
                  <a:lnTo>
                    <a:pt x="324" y="128"/>
                  </a:lnTo>
                  <a:lnTo>
                    <a:pt x="345" y="152"/>
                  </a:lnTo>
                  <a:lnTo>
                    <a:pt x="355" y="147"/>
                  </a:lnTo>
                  <a:lnTo>
                    <a:pt x="345" y="111"/>
                  </a:lnTo>
                  <a:lnTo>
                    <a:pt x="355" y="102"/>
                  </a:lnTo>
                  <a:lnTo>
                    <a:pt x="378" y="62"/>
                  </a:lnTo>
                  <a:lnTo>
                    <a:pt x="378" y="41"/>
                  </a:lnTo>
                  <a:lnTo>
                    <a:pt x="383" y="7"/>
                  </a:lnTo>
                  <a:lnTo>
                    <a:pt x="437" y="7"/>
                  </a:lnTo>
                  <a:lnTo>
                    <a:pt x="447" y="0"/>
                  </a:lnTo>
                  <a:lnTo>
                    <a:pt x="468" y="7"/>
                  </a:lnTo>
                  <a:lnTo>
                    <a:pt x="468" y="7"/>
                  </a:lnTo>
                  <a:lnTo>
                    <a:pt x="492" y="7"/>
                  </a:lnTo>
                  <a:lnTo>
                    <a:pt x="492" y="19"/>
                  </a:lnTo>
                  <a:lnTo>
                    <a:pt x="518" y="0"/>
                  </a:lnTo>
                  <a:lnTo>
                    <a:pt x="522" y="19"/>
                  </a:lnTo>
                  <a:lnTo>
                    <a:pt x="522" y="41"/>
                  </a:lnTo>
                  <a:lnTo>
                    <a:pt x="485" y="102"/>
                  </a:lnTo>
                  <a:lnTo>
                    <a:pt x="485" y="156"/>
                  </a:lnTo>
                  <a:lnTo>
                    <a:pt x="480" y="201"/>
                  </a:lnTo>
                  <a:lnTo>
                    <a:pt x="480" y="239"/>
                  </a:lnTo>
                  <a:lnTo>
                    <a:pt x="463" y="279"/>
                  </a:lnTo>
                  <a:lnTo>
                    <a:pt x="463" y="312"/>
                  </a:lnTo>
                  <a:lnTo>
                    <a:pt x="437" y="340"/>
                  </a:lnTo>
                  <a:lnTo>
                    <a:pt x="400" y="357"/>
                  </a:lnTo>
                  <a:lnTo>
                    <a:pt x="378" y="407"/>
                  </a:lnTo>
                  <a:lnTo>
                    <a:pt x="355" y="423"/>
                  </a:lnTo>
                  <a:lnTo>
                    <a:pt x="362" y="506"/>
                  </a:lnTo>
                  <a:lnTo>
                    <a:pt x="329" y="551"/>
                  </a:lnTo>
                  <a:lnTo>
                    <a:pt x="307" y="555"/>
                  </a:lnTo>
                  <a:lnTo>
                    <a:pt x="307" y="572"/>
                  </a:lnTo>
                  <a:lnTo>
                    <a:pt x="286" y="579"/>
                  </a:lnTo>
                  <a:lnTo>
                    <a:pt x="265" y="612"/>
                  </a:lnTo>
                  <a:lnTo>
                    <a:pt x="248" y="617"/>
                  </a:lnTo>
                  <a:lnTo>
                    <a:pt x="232" y="617"/>
                  </a:lnTo>
                  <a:lnTo>
                    <a:pt x="232" y="596"/>
                  </a:lnTo>
                  <a:lnTo>
                    <a:pt x="237" y="589"/>
                  </a:lnTo>
                  <a:lnTo>
                    <a:pt x="232" y="579"/>
                  </a:lnTo>
                  <a:lnTo>
                    <a:pt x="199" y="589"/>
                  </a:lnTo>
                  <a:lnTo>
                    <a:pt x="182" y="589"/>
                  </a:lnTo>
                  <a:lnTo>
                    <a:pt x="182" y="612"/>
                  </a:lnTo>
                  <a:lnTo>
                    <a:pt x="166" y="612"/>
                  </a:lnTo>
                  <a:lnTo>
                    <a:pt x="161" y="617"/>
                  </a:lnTo>
                  <a:lnTo>
                    <a:pt x="140" y="596"/>
                  </a:lnTo>
                  <a:lnTo>
                    <a:pt x="140" y="605"/>
                  </a:lnTo>
                  <a:lnTo>
                    <a:pt x="140" y="605"/>
                  </a:lnTo>
                  <a:lnTo>
                    <a:pt x="140" y="60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8" name="Freeform 413">
              <a:extLst>
                <a:ext uri="{FF2B5EF4-FFF2-40B4-BE49-F238E27FC236}">
                  <a16:creationId xmlns:a16="http://schemas.microsoft.com/office/drawing/2014/main" id="{D1F6C52C-CA30-41EC-9873-241ECF0B7EAD}"/>
                </a:ext>
              </a:extLst>
            </p:cNvPr>
            <p:cNvSpPr>
              <a:spLocks noEditPoints="1"/>
            </p:cNvSpPr>
            <p:nvPr/>
          </p:nvSpPr>
          <p:spPr bwMode="gray">
            <a:xfrm>
              <a:off x="7078214" y="3905316"/>
              <a:ext cx="553285" cy="561993"/>
            </a:xfrm>
            <a:custGeom>
              <a:avLst/>
              <a:gdLst>
                <a:gd name="T0" fmla="*/ 38 w 1344"/>
                <a:gd name="T1" fmla="*/ 819 h 1365"/>
                <a:gd name="T2" fmla="*/ 28 w 1344"/>
                <a:gd name="T3" fmla="*/ 748 h 1365"/>
                <a:gd name="T4" fmla="*/ 87 w 1344"/>
                <a:gd name="T5" fmla="*/ 737 h 1365"/>
                <a:gd name="T6" fmla="*/ 125 w 1344"/>
                <a:gd name="T7" fmla="*/ 708 h 1365"/>
                <a:gd name="T8" fmla="*/ 158 w 1344"/>
                <a:gd name="T9" fmla="*/ 737 h 1365"/>
                <a:gd name="T10" fmla="*/ 234 w 1344"/>
                <a:gd name="T11" fmla="*/ 692 h 1365"/>
                <a:gd name="T12" fmla="*/ 281 w 1344"/>
                <a:gd name="T13" fmla="*/ 543 h 1365"/>
                <a:gd name="T14" fmla="*/ 390 w 1344"/>
                <a:gd name="T15" fmla="*/ 432 h 1365"/>
                <a:gd name="T16" fmla="*/ 411 w 1344"/>
                <a:gd name="T17" fmla="*/ 276 h 1365"/>
                <a:gd name="T18" fmla="*/ 458 w 1344"/>
                <a:gd name="T19" fmla="*/ 99 h 1365"/>
                <a:gd name="T20" fmla="*/ 503 w 1344"/>
                <a:gd name="T21" fmla="*/ 16 h 1365"/>
                <a:gd name="T22" fmla="*/ 588 w 1344"/>
                <a:gd name="T23" fmla="*/ 70 h 1365"/>
                <a:gd name="T24" fmla="*/ 713 w 1344"/>
                <a:gd name="T25" fmla="*/ 87 h 1365"/>
                <a:gd name="T26" fmla="*/ 751 w 1344"/>
                <a:gd name="T27" fmla="*/ 44 h 1365"/>
                <a:gd name="T28" fmla="*/ 857 w 1344"/>
                <a:gd name="T29" fmla="*/ 16 h 1365"/>
                <a:gd name="T30" fmla="*/ 933 w 1344"/>
                <a:gd name="T31" fmla="*/ 0 h 1365"/>
                <a:gd name="T32" fmla="*/ 1020 w 1344"/>
                <a:gd name="T33" fmla="*/ 16 h 1365"/>
                <a:gd name="T34" fmla="*/ 1091 w 1344"/>
                <a:gd name="T35" fmla="*/ 44 h 1365"/>
                <a:gd name="T36" fmla="*/ 1198 w 1344"/>
                <a:gd name="T37" fmla="*/ 70 h 1365"/>
                <a:gd name="T38" fmla="*/ 1235 w 1344"/>
                <a:gd name="T39" fmla="*/ 70 h 1365"/>
                <a:gd name="T40" fmla="*/ 1290 w 1344"/>
                <a:gd name="T41" fmla="*/ 127 h 1365"/>
                <a:gd name="T42" fmla="*/ 1311 w 1344"/>
                <a:gd name="T43" fmla="*/ 144 h 1365"/>
                <a:gd name="T44" fmla="*/ 1311 w 1344"/>
                <a:gd name="T45" fmla="*/ 214 h 1365"/>
                <a:gd name="T46" fmla="*/ 1268 w 1344"/>
                <a:gd name="T47" fmla="*/ 304 h 1365"/>
                <a:gd name="T48" fmla="*/ 1231 w 1344"/>
                <a:gd name="T49" fmla="*/ 382 h 1365"/>
                <a:gd name="T50" fmla="*/ 1188 w 1344"/>
                <a:gd name="T51" fmla="*/ 526 h 1365"/>
                <a:gd name="T52" fmla="*/ 1181 w 1344"/>
                <a:gd name="T53" fmla="*/ 588 h 1365"/>
                <a:gd name="T54" fmla="*/ 1205 w 1344"/>
                <a:gd name="T55" fmla="*/ 682 h 1365"/>
                <a:gd name="T56" fmla="*/ 1214 w 1344"/>
                <a:gd name="T57" fmla="*/ 819 h 1365"/>
                <a:gd name="T58" fmla="*/ 1273 w 1344"/>
                <a:gd name="T59" fmla="*/ 904 h 1365"/>
                <a:gd name="T60" fmla="*/ 1167 w 1344"/>
                <a:gd name="T61" fmla="*/ 1025 h 1365"/>
                <a:gd name="T62" fmla="*/ 1150 w 1344"/>
                <a:gd name="T63" fmla="*/ 1126 h 1365"/>
                <a:gd name="T64" fmla="*/ 1143 w 1344"/>
                <a:gd name="T65" fmla="*/ 1247 h 1365"/>
                <a:gd name="T66" fmla="*/ 1214 w 1344"/>
                <a:gd name="T67" fmla="*/ 1287 h 1365"/>
                <a:gd name="T68" fmla="*/ 1219 w 1344"/>
                <a:gd name="T69" fmla="*/ 1358 h 1365"/>
                <a:gd name="T70" fmla="*/ 1181 w 1344"/>
                <a:gd name="T71" fmla="*/ 1358 h 1365"/>
                <a:gd name="T72" fmla="*/ 1096 w 1344"/>
                <a:gd name="T73" fmla="*/ 1280 h 1365"/>
                <a:gd name="T74" fmla="*/ 1053 w 1344"/>
                <a:gd name="T75" fmla="*/ 1225 h 1365"/>
                <a:gd name="T76" fmla="*/ 966 w 1344"/>
                <a:gd name="T77" fmla="*/ 1247 h 1365"/>
                <a:gd name="T78" fmla="*/ 881 w 1344"/>
                <a:gd name="T79" fmla="*/ 1209 h 1365"/>
                <a:gd name="T80" fmla="*/ 827 w 1344"/>
                <a:gd name="T81" fmla="*/ 1176 h 1365"/>
                <a:gd name="T82" fmla="*/ 730 w 1344"/>
                <a:gd name="T83" fmla="*/ 1181 h 1365"/>
                <a:gd name="T84" fmla="*/ 713 w 1344"/>
                <a:gd name="T85" fmla="*/ 1136 h 1365"/>
                <a:gd name="T86" fmla="*/ 680 w 1344"/>
                <a:gd name="T87" fmla="*/ 1003 h 1365"/>
                <a:gd name="T88" fmla="*/ 588 w 1344"/>
                <a:gd name="T89" fmla="*/ 914 h 1365"/>
                <a:gd name="T90" fmla="*/ 520 w 1344"/>
                <a:gd name="T91" fmla="*/ 892 h 1365"/>
                <a:gd name="T92" fmla="*/ 444 w 1344"/>
                <a:gd name="T93" fmla="*/ 959 h 1365"/>
                <a:gd name="T94" fmla="*/ 406 w 1344"/>
                <a:gd name="T95" fmla="*/ 970 h 1365"/>
                <a:gd name="T96" fmla="*/ 319 w 1344"/>
                <a:gd name="T97" fmla="*/ 848 h 1365"/>
                <a:gd name="T98" fmla="*/ 272 w 1344"/>
                <a:gd name="T99" fmla="*/ 810 h 1365"/>
                <a:gd name="T100" fmla="*/ 54 w 1344"/>
                <a:gd name="T101" fmla="*/ 810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4" h="1365">
                  <a:moveTo>
                    <a:pt x="272" y="810"/>
                  </a:moveTo>
                  <a:lnTo>
                    <a:pt x="71" y="810"/>
                  </a:lnTo>
                  <a:lnTo>
                    <a:pt x="50" y="810"/>
                  </a:lnTo>
                  <a:lnTo>
                    <a:pt x="38" y="819"/>
                  </a:lnTo>
                  <a:lnTo>
                    <a:pt x="16" y="819"/>
                  </a:lnTo>
                  <a:lnTo>
                    <a:pt x="0" y="803"/>
                  </a:lnTo>
                  <a:lnTo>
                    <a:pt x="28" y="803"/>
                  </a:lnTo>
                  <a:lnTo>
                    <a:pt x="28" y="748"/>
                  </a:lnTo>
                  <a:lnTo>
                    <a:pt x="50" y="732"/>
                  </a:lnTo>
                  <a:lnTo>
                    <a:pt x="66" y="725"/>
                  </a:lnTo>
                  <a:lnTo>
                    <a:pt x="66" y="715"/>
                  </a:lnTo>
                  <a:lnTo>
                    <a:pt x="87" y="737"/>
                  </a:lnTo>
                  <a:lnTo>
                    <a:pt x="92" y="732"/>
                  </a:lnTo>
                  <a:lnTo>
                    <a:pt x="109" y="732"/>
                  </a:lnTo>
                  <a:lnTo>
                    <a:pt x="109" y="708"/>
                  </a:lnTo>
                  <a:lnTo>
                    <a:pt x="125" y="708"/>
                  </a:lnTo>
                  <a:lnTo>
                    <a:pt x="158" y="699"/>
                  </a:lnTo>
                  <a:lnTo>
                    <a:pt x="163" y="708"/>
                  </a:lnTo>
                  <a:lnTo>
                    <a:pt x="158" y="715"/>
                  </a:lnTo>
                  <a:lnTo>
                    <a:pt x="158" y="737"/>
                  </a:lnTo>
                  <a:lnTo>
                    <a:pt x="172" y="737"/>
                  </a:lnTo>
                  <a:lnTo>
                    <a:pt x="189" y="732"/>
                  </a:lnTo>
                  <a:lnTo>
                    <a:pt x="210" y="699"/>
                  </a:lnTo>
                  <a:lnTo>
                    <a:pt x="234" y="692"/>
                  </a:lnTo>
                  <a:lnTo>
                    <a:pt x="234" y="675"/>
                  </a:lnTo>
                  <a:lnTo>
                    <a:pt x="255" y="670"/>
                  </a:lnTo>
                  <a:lnTo>
                    <a:pt x="286" y="625"/>
                  </a:lnTo>
                  <a:lnTo>
                    <a:pt x="281" y="543"/>
                  </a:lnTo>
                  <a:lnTo>
                    <a:pt x="302" y="526"/>
                  </a:lnTo>
                  <a:lnTo>
                    <a:pt x="324" y="477"/>
                  </a:lnTo>
                  <a:lnTo>
                    <a:pt x="361" y="460"/>
                  </a:lnTo>
                  <a:lnTo>
                    <a:pt x="390" y="432"/>
                  </a:lnTo>
                  <a:lnTo>
                    <a:pt x="390" y="399"/>
                  </a:lnTo>
                  <a:lnTo>
                    <a:pt x="406" y="359"/>
                  </a:lnTo>
                  <a:lnTo>
                    <a:pt x="406" y="321"/>
                  </a:lnTo>
                  <a:lnTo>
                    <a:pt x="411" y="276"/>
                  </a:lnTo>
                  <a:lnTo>
                    <a:pt x="411" y="222"/>
                  </a:lnTo>
                  <a:lnTo>
                    <a:pt x="449" y="160"/>
                  </a:lnTo>
                  <a:lnTo>
                    <a:pt x="449" y="139"/>
                  </a:lnTo>
                  <a:lnTo>
                    <a:pt x="458" y="99"/>
                  </a:lnTo>
                  <a:lnTo>
                    <a:pt x="449" y="70"/>
                  </a:lnTo>
                  <a:lnTo>
                    <a:pt x="458" y="70"/>
                  </a:lnTo>
                  <a:lnTo>
                    <a:pt x="482" y="33"/>
                  </a:lnTo>
                  <a:lnTo>
                    <a:pt x="503" y="16"/>
                  </a:lnTo>
                  <a:lnTo>
                    <a:pt x="534" y="16"/>
                  </a:lnTo>
                  <a:lnTo>
                    <a:pt x="572" y="44"/>
                  </a:lnTo>
                  <a:lnTo>
                    <a:pt x="583" y="54"/>
                  </a:lnTo>
                  <a:lnTo>
                    <a:pt x="588" y="70"/>
                  </a:lnTo>
                  <a:lnTo>
                    <a:pt x="621" y="66"/>
                  </a:lnTo>
                  <a:lnTo>
                    <a:pt x="638" y="82"/>
                  </a:lnTo>
                  <a:lnTo>
                    <a:pt x="676" y="82"/>
                  </a:lnTo>
                  <a:lnTo>
                    <a:pt x="713" y="87"/>
                  </a:lnTo>
                  <a:lnTo>
                    <a:pt x="730" y="82"/>
                  </a:lnTo>
                  <a:lnTo>
                    <a:pt x="730" y="66"/>
                  </a:lnTo>
                  <a:lnTo>
                    <a:pt x="735" y="66"/>
                  </a:lnTo>
                  <a:lnTo>
                    <a:pt x="751" y="44"/>
                  </a:lnTo>
                  <a:lnTo>
                    <a:pt x="789" y="54"/>
                  </a:lnTo>
                  <a:lnTo>
                    <a:pt x="798" y="49"/>
                  </a:lnTo>
                  <a:lnTo>
                    <a:pt x="857" y="28"/>
                  </a:lnTo>
                  <a:lnTo>
                    <a:pt x="857" y="16"/>
                  </a:lnTo>
                  <a:lnTo>
                    <a:pt x="881" y="33"/>
                  </a:lnTo>
                  <a:lnTo>
                    <a:pt x="919" y="28"/>
                  </a:lnTo>
                  <a:lnTo>
                    <a:pt x="928" y="0"/>
                  </a:lnTo>
                  <a:lnTo>
                    <a:pt x="933" y="0"/>
                  </a:lnTo>
                  <a:lnTo>
                    <a:pt x="966" y="11"/>
                  </a:lnTo>
                  <a:lnTo>
                    <a:pt x="983" y="11"/>
                  </a:lnTo>
                  <a:lnTo>
                    <a:pt x="1004" y="28"/>
                  </a:lnTo>
                  <a:lnTo>
                    <a:pt x="1020" y="16"/>
                  </a:lnTo>
                  <a:lnTo>
                    <a:pt x="1025" y="28"/>
                  </a:lnTo>
                  <a:lnTo>
                    <a:pt x="1042" y="11"/>
                  </a:lnTo>
                  <a:lnTo>
                    <a:pt x="1075" y="28"/>
                  </a:lnTo>
                  <a:lnTo>
                    <a:pt x="1091" y="44"/>
                  </a:lnTo>
                  <a:lnTo>
                    <a:pt x="1096" y="54"/>
                  </a:lnTo>
                  <a:lnTo>
                    <a:pt x="1134" y="82"/>
                  </a:lnTo>
                  <a:lnTo>
                    <a:pt x="1167" y="54"/>
                  </a:lnTo>
                  <a:lnTo>
                    <a:pt x="1198" y="70"/>
                  </a:lnTo>
                  <a:lnTo>
                    <a:pt x="1214" y="49"/>
                  </a:lnTo>
                  <a:lnTo>
                    <a:pt x="1219" y="49"/>
                  </a:lnTo>
                  <a:lnTo>
                    <a:pt x="1235" y="54"/>
                  </a:lnTo>
                  <a:lnTo>
                    <a:pt x="1235" y="70"/>
                  </a:lnTo>
                  <a:lnTo>
                    <a:pt x="1257" y="87"/>
                  </a:lnTo>
                  <a:lnTo>
                    <a:pt x="1268" y="103"/>
                  </a:lnTo>
                  <a:lnTo>
                    <a:pt x="1290" y="103"/>
                  </a:lnTo>
                  <a:lnTo>
                    <a:pt x="1290" y="127"/>
                  </a:lnTo>
                  <a:lnTo>
                    <a:pt x="1306" y="120"/>
                  </a:lnTo>
                  <a:lnTo>
                    <a:pt x="1311" y="139"/>
                  </a:lnTo>
                  <a:lnTo>
                    <a:pt x="1311" y="139"/>
                  </a:lnTo>
                  <a:lnTo>
                    <a:pt x="1311" y="144"/>
                  </a:lnTo>
                  <a:lnTo>
                    <a:pt x="1306" y="165"/>
                  </a:lnTo>
                  <a:lnTo>
                    <a:pt x="1311" y="181"/>
                  </a:lnTo>
                  <a:lnTo>
                    <a:pt x="1294" y="210"/>
                  </a:lnTo>
                  <a:lnTo>
                    <a:pt x="1311" y="214"/>
                  </a:lnTo>
                  <a:lnTo>
                    <a:pt x="1323" y="214"/>
                  </a:lnTo>
                  <a:lnTo>
                    <a:pt x="1344" y="231"/>
                  </a:lnTo>
                  <a:lnTo>
                    <a:pt x="1285" y="304"/>
                  </a:lnTo>
                  <a:lnTo>
                    <a:pt x="1268" y="304"/>
                  </a:lnTo>
                  <a:lnTo>
                    <a:pt x="1257" y="321"/>
                  </a:lnTo>
                  <a:lnTo>
                    <a:pt x="1242" y="325"/>
                  </a:lnTo>
                  <a:lnTo>
                    <a:pt x="1242" y="349"/>
                  </a:lnTo>
                  <a:lnTo>
                    <a:pt x="1231" y="382"/>
                  </a:lnTo>
                  <a:lnTo>
                    <a:pt x="1219" y="453"/>
                  </a:lnTo>
                  <a:lnTo>
                    <a:pt x="1219" y="486"/>
                  </a:lnTo>
                  <a:lnTo>
                    <a:pt x="1198" y="505"/>
                  </a:lnTo>
                  <a:lnTo>
                    <a:pt x="1188" y="526"/>
                  </a:lnTo>
                  <a:lnTo>
                    <a:pt x="1188" y="548"/>
                  </a:lnTo>
                  <a:lnTo>
                    <a:pt x="1167" y="559"/>
                  </a:lnTo>
                  <a:lnTo>
                    <a:pt x="1176" y="581"/>
                  </a:lnTo>
                  <a:lnTo>
                    <a:pt x="1181" y="588"/>
                  </a:lnTo>
                  <a:lnTo>
                    <a:pt x="1181" y="588"/>
                  </a:lnTo>
                  <a:lnTo>
                    <a:pt x="1198" y="604"/>
                  </a:lnTo>
                  <a:lnTo>
                    <a:pt x="1198" y="670"/>
                  </a:lnTo>
                  <a:lnTo>
                    <a:pt x="1205" y="682"/>
                  </a:lnTo>
                  <a:lnTo>
                    <a:pt x="1205" y="708"/>
                  </a:lnTo>
                  <a:lnTo>
                    <a:pt x="1205" y="748"/>
                  </a:lnTo>
                  <a:lnTo>
                    <a:pt x="1219" y="803"/>
                  </a:lnTo>
                  <a:lnTo>
                    <a:pt x="1214" y="819"/>
                  </a:lnTo>
                  <a:lnTo>
                    <a:pt x="1219" y="843"/>
                  </a:lnTo>
                  <a:lnTo>
                    <a:pt x="1231" y="864"/>
                  </a:lnTo>
                  <a:lnTo>
                    <a:pt x="1252" y="881"/>
                  </a:lnTo>
                  <a:lnTo>
                    <a:pt x="1273" y="904"/>
                  </a:lnTo>
                  <a:lnTo>
                    <a:pt x="1306" y="975"/>
                  </a:lnTo>
                  <a:lnTo>
                    <a:pt x="1176" y="1003"/>
                  </a:lnTo>
                  <a:lnTo>
                    <a:pt x="1176" y="1015"/>
                  </a:lnTo>
                  <a:lnTo>
                    <a:pt x="1167" y="1025"/>
                  </a:lnTo>
                  <a:lnTo>
                    <a:pt x="1134" y="1058"/>
                  </a:lnTo>
                  <a:lnTo>
                    <a:pt x="1143" y="1065"/>
                  </a:lnTo>
                  <a:lnTo>
                    <a:pt x="1160" y="1098"/>
                  </a:lnTo>
                  <a:lnTo>
                    <a:pt x="1150" y="1126"/>
                  </a:lnTo>
                  <a:lnTo>
                    <a:pt x="1160" y="1159"/>
                  </a:lnTo>
                  <a:lnTo>
                    <a:pt x="1150" y="1176"/>
                  </a:lnTo>
                  <a:lnTo>
                    <a:pt x="1134" y="1225"/>
                  </a:lnTo>
                  <a:lnTo>
                    <a:pt x="1143" y="1247"/>
                  </a:lnTo>
                  <a:lnTo>
                    <a:pt x="1167" y="1263"/>
                  </a:lnTo>
                  <a:lnTo>
                    <a:pt x="1181" y="1287"/>
                  </a:lnTo>
                  <a:lnTo>
                    <a:pt x="1198" y="1287"/>
                  </a:lnTo>
                  <a:lnTo>
                    <a:pt x="1214" y="1287"/>
                  </a:lnTo>
                  <a:lnTo>
                    <a:pt x="1214" y="1270"/>
                  </a:lnTo>
                  <a:lnTo>
                    <a:pt x="1235" y="1270"/>
                  </a:lnTo>
                  <a:lnTo>
                    <a:pt x="1235" y="1365"/>
                  </a:lnTo>
                  <a:lnTo>
                    <a:pt x="1219" y="1358"/>
                  </a:lnTo>
                  <a:lnTo>
                    <a:pt x="1231" y="1346"/>
                  </a:lnTo>
                  <a:lnTo>
                    <a:pt x="1219" y="1346"/>
                  </a:lnTo>
                  <a:lnTo>
                    <a:pt x="1188" y="1358"/>
                  </a:lnTo>
                  <a:lnTo>
                    <a:pt x="1181" y="1358"/>
                  </a:lnTo>
                  <a:lnTo>
                    <a:pt x="1160" y="1325"/>
                  </a:lnTo>
                  <a:lnTo>
                    <a:pt x="1150" y="1320"/>
                  </a:lnTo>
                  <a:lnTo>
                    <a:pt x="1143" y="1292"/>
                  </a:lnTo>
                  <a:lnTo>
                    <a:pt x="1096" y="1280"/>
                  </a:lnTo>
                  <a:lnTo>
                    <a:pt x="1079" y="1280"/>
                  </a:lnTo>
                  <a:lnTo>
                    <a:pt x="1075" y="1254"/>
                  </a:lnTo>
                  <a:lnTo>
                    <a:pt x="1058" y="1237"/>
                  </a:lnTo>
                  <a:lnTo>
                    <a:pt x="1053" y="1225"/>
                  </a:lnTo>
                  <a:lnTo>
                    <a:pt x="1042" y="1230"/>
                  </a:lnTo>
                  <a:lnTo>
                    <a:pt x="1037" y="1247"/>
                  </a:lnTo>
                  <a:lnTo>
                    <a:pt x="1025" y="1254"/>
                  </a:lnTo>
                  <a:lnTo>
                    <a:pt x="966" y="1247"/>
                  </a:lnTo>
                  <a:lnTo>
                    <a:pt x="928" y="1230"/>
                  </a:lnTo>
                  <a:lnTo>
                    <a:pt x="919" y="1209"/>
                  </a:lnTo>
                  <a:lnTo>
                    <a:pt x="919" y="1197"/>
                  </a:lnTo>
                  <a:lnTo>
                    <a:pt x="881" y="1209"/>
                  </a:lnTo>
                  <a:lnTo>
                    <a:pt x="857" y="1214"/>
                  </a:lnTo>
                  <a:lnTo>
                    <a:pt x="853" y="1209"/>
                  </a:lnTo>
                  <a:lnTo>
                    <a:pt x="857" y="1192"/>
                  </a:lnTo>
                  <a:lnTo>
                    <a:pt x="827" y="1176"/>
                  </a:lnTo>
                  <a:lnTo>
                    <a:pt x="820" y="1181"/>
                  </a:lnTo>
                  <a:lnTo>
                    <a:pt x="789" y="1181"/>
                  </a:lnTo>
                  <a:lnTo>
                    <a:pt x="768" y="1192"/>
                  </a:lnTo>
                  <a:lnTo>
                    <a:pt x="730" y="1181"/>
                  </a:lnTo>
                  <a:lnTo>
                    <a:pt x="702" y="1197"/>
                  </a:lnTo>
                  <a:lnTo>
                    <a:pt x="702" y="1176"/>
                  </a:lnTo>
                  <a:lnTo>
                    <a:pt x="713" y="1169"/>
                  </a:lnTo>
                  <a:lnTo>
                    <a:pt x="713" y="1136"/>
                  </a:lnTo>
                  <a:lnTo>
                    <a:pt x="697" y="1103"/>
                  </a:lnTo>
                  <a:lnTo>
                    <a:pt x="680" y="1086"/>
                  </a:lnTo>
                  <a:lnTo>
                    <a:pt x="676" y="1065"/>
                  </a:lnTo>
                  <a:lnTo>
                    <a:pt x="680" y="1003"/>
                  </a:lnTo>
                  <a:lnTo>
                    <a:pt x="676" y="959"/>
                  </a:lnTo>
                  <a:lnTo>
                    <a:pt x="680" y="930"/>
                  </a:lnTo>
                  <a:lnTo>
                    <a:pt x="676" y="914"/>
                  </a:lnTo>
                  <a:lnTo>
                    <a:pt x="588" y="914"/>
                  </a:lnTo>
                  <a:lnTo>
                    <a:pt x="595" y="892"/>
                  </a:lnTo>
                  <a:lnTo>
                    <a:pt x="572" y="892"/>
                  </a:lnTo>
                  <a:lnTo>
                    <a:pt x="572" y="892"/>
                  </a:lnTo>
                  <a:lnTo>
                    <a:pt x="520" y="892"/>
                  </a:lnTo>
                  <a:lnTo>
                    <a:pt x="520" y="930"/>
                  </a:lnTo>
                  <a:lnTo>
                    <a:pt x="503" y="937"/>
                  </a:lnTo>
                  <a:lnTo>
                    <a:pt x="503" y="959"/>
                  </a:lnTo>
                  <a:lnTo>
                    <a:pt x="444" y="959"/>
                  </a:lnTo>
                  <a:lnTo>
                    <a:pt x="444" y="959"/>
                  </a:lnTo>
                  <a:lnTo>
                    <a:pt x="416" y="970"/>
                  </a:lnTo>
                  <a:lnTo>
                    <a:pt x="416" y="970"/>
                  </a:lnTo>
                  <a:lnTo>
                    <a:pt x="406" y="970"/>
                  </a:lnTo>
                  <a:lnTo>
                    <a:pt x="378" y="970"/>
                  </a:lnTo>
                  <a:lnTo>
                    <a:pt x="335" y="904"/>
                  </a:lnTo>
                  <a:lnTo>
                    <a:pt x="335" y="892"/>
                  </a:lnTo>
                  <a:lnTo>
                    <a:pt x="319" y="848"/>
                  </a:lnTo>
                  <a:lnTo>
                    <a:pt x="319" y="836"/>
                  </a:lnTo>
                  <a:lnTo>
                    <a:pt x="307" y="819"/>
                  </a:lnTo>
                  <a:lnTo>
                    <a:pt x="272" y="810"/>
                  </a:lnTo>
                  <a:lnTo>
                    <a:pt x="272" y="810"/>
                  </a:lnTo>
                  <a:lnTo>
                    <a:pt x="272" y="810"/>
                  </a:lnTo>
                  <a:close/>
                  <a:moveTo>
                    <a:pt x="38" y="819"/>
                  </a:moveTo>
                  <a:lnTo>
                    <a:pt x="50" y="810"/>
                  </a:lnTo>
                  <a:lnTo>
                    <a:pt x="54" y="810"/>
                  </a:lnTo>
                  <a:lnTo>
                    <a:pt x="38" y="819"/>
                  </a:lnTo>
                  <a:lnTo>
                    <a:pt x="38" y="819"/>
                  </a:lnTo>
                  <a:lnTo>
                    <a:pt x="38" y="81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9" name="Freeform 416">
              <a:extLst>
                <a:ext uri="{FF2B5EF4-FFF2-40B4-BE49-F238E27FC236}">
                  <a16:creationId xmlns:a16="http://schemas.microsoft.com/office/drawing/2014/main" id="{2452B0BA-8C0B-4A0C-B4E2-934D47D56266}"/>
                </a:ext>
              </a:extLst>
            </p:cNvPr>
            <p:cNvSpPr>
              <a:spLocks/>
            </p:cNvSpPr>
            <p:nvPr/>
          </p:nvSpPr>
          <p:spPr bwMode="gray">
            <a:xfrm>
              <a:off x="6971179" y="3675578"/>
              <a:ext cx="221890" cy="342548"/>
            </a:xfrm>
            <a:custGeom>
              <a:avLst/>
              <a:gdLst>
                <a:gd name="T0" fmla="*/ 21 w 539"/>
                <a:gd name="T1" fmla="*/ 572 h 832"/>
                <a:gd name="T2" fmla="*/ 26 w 539"/>
                <a:gd name="T3" fmla="*/ 522 h 832"/>
                <a:gd name="T4" fmla="*/ 80 w 539"/>
                <a:gd name="T5" fmla="*/ 477 h 832"/>
                <a:gd name="T6" fmla="*/ 97 w 539"/>
                <a:gd name="T7" fmla="*/ 461 h 832"/>
                <a:gd name="T8" fmla="*/ 123 w 539"/>
                <a:gd name="T9" fmla="*/ 449 h 832"/>
                <a:gd name="T10" fmla="*/ 144 w 539"/>
                <a:gd name="T11" fmla="*/ 437 h 832"/>
                <a:gd name="T12" fmla="*/ 182 w 539"/>
                <a:gd name="T13" fmla="*/ 482 h 832"/>
                <a:gd name="T14" fmla="*/ 215 w 539"/>
                <a:gd name="T15" fmla="*/ 465 h 832"/>
                <a:gd name="T16" fmla="*/ 236 w 539"/>
                <a:gd name="T17" fmla="*/ 437 h 832"/>
                <a:gd name="T18" fmla="*/ 232 w 539"/>
                <a:gd name="T19" fmla="*/ 421 h 832"/>
                <a:gd name="T20" fmla="*/ 243 w 539"/>
                <a:gd name="T21" fmla="*/ 387 h 832"/>
                <a:gd name="T22" fmla="*/ 258 w 539"/>
                <a:gd name="T23" fmla="*/ 338 h 832"/>
                <a:gd name="T24" fmla="*/ 274 w 539"/>
                <a:gd name="T25" fmla="*/ 326 h 832"/>
                <a:gd name="T26" fmla="*/ 295 w 539"/>
                <a:gd name="T27" fmla="*/ 317 h 832"/>
                <a:gd name="T28" fmla="*/ 328 w 539"/>
                <a:gd name="T29" fmla="*/ 255 h 832"/>
                <a:gd name="T30" fmla="*/ 345 w 539"/>
                <a:gd name="T31" fmla="*/ 215 h 832"/>
                <a:gd name="T32" fmla="*/ 366 w 539"/>
                <a:gd name="T33" fmla="*/ 149 h 832"/>
                <a:gd name="T34" fmla="*/ 399 w 539"/>
                <a:gd name="T35" fmla="*/ 132 h 832"/>
                <a:gd name="T36" fmla="*/ 432 w 539"/>
                <a:gd name="T37" fmla="*/ 95 h 832"/>
                <a:gd name="T38" fmla="*/ 421 w 539"/>
                <a:gd name="T39" fmla="*/ 54 h 832"/>
                <a:gd name="T40" fmla="*/ 395 w 539"/>
                <a:gd name="T41" fmla="*/ 0 h 832"/>
                <a:gd name="T42" fmla="*/ 421 w 539"/>
                <a:gd name="T43" fmla="*/ 21 h 832"/>
                <a:gd name="T44" fmla="*/ 449 w 539"/>
                <a:gd name="T45" fmla="*/ 71 h 832"/>
                <a:gd name="T46" fmla="*/ 458 w 539"/>
                <a:gd name="T47" fmla="*/ 116 h 832"/>
                <a:gd name="T48" fmla="*/ 458 w 539"/>
                <a:gd name="T49" fmla="*/ 165 h 832"/>
                <a:gd name="T50" fmla="*/ 508 w 539"/>
                <a:gd name="T51" fmla="*/ 227 h 832"/>
                <a:gd name="T52" fmla="*/ 399 w 539"/>
                <a:gd name="T53" fmla="*/ 227 h 832"/>
                <a:gd name="T54" fmla="*/ 404 w 539"/>
                <a:gd name="T55" fmla="*/ 281 h 832"/>
                <a:gd name="T56" fmla="*/ 491 w 539"/>
                <a:gd name="T57" fmla="*/ 383 h 832"/>
                <a:gd name="T58" fmla="*/ 491 w 539"/>
                <a:gd name="T59" fmla="*/ 404 h 832"/>
                <a:gd name="T60" fmla="*/ 449 w 539"/>
                <a:gd name="T61" fmla="*/ 494 h 832"/>
                <a:gd name="T62" fmla="*/ 421 w 539"/>
                <a:gd name="T63" fmla="*/ 522 h 832"/>
                <a:gd name="T64" fmla="*/ 432 w 539"/>
                <a:gd name="T65" fmla="*/ 548 h 832"/>
                <a:gd name="T66" fmla="*/ 432 w 539"/>
                <a:gd name="T67" fmla="*/ 572 h 832"/>
                <a:gd name="T68" fmla="*/ 458 w 539"/>
                <a:gd name="T69" fmla="*/ 631 h 832"/>
                <a:gd name="T70" fmla="*/ 458 w 539"/>
                <a:gd name="T71" fmla="*/ 659 h 832"/>
                <a:gd name="T72" fmla="*/ 529 w 539"/>
                <a:gd name="T73" fmla="*/ 737 h 832"/>
                <a:gd name="T74" fmla="*/ 539 w 539"/>
                <a:gd name="T75" fmla="*/ 782 h 832"/>
                <a:gd name="T76" fmla="*/ 539 w 539"/>
                <a:gd name="T77" fmla="*/ 827 h 832"/>
                <a:gd name="T78" fmla="*/ 508 w 539"/>
                <a:gd name="T79" fmla="*/ 810 h 832"/>
                <a:gd name="T80" fmla="*/ 421 w 539"/>
                <a:gd name="T81" fmla="*/ 794 h 832"/>
                <a:gd name="T82" fmla="*/ 328 w 539"/>
                <a:gd name="T83" fmla="*/ 782 h 832"/>
                <a:gd name="T84" fmla="*/ 269 w 539"/>
                <a:gd name="T85" fmla="*/ 782 h 832"/>
                <a:gd name="T86" fmla="*/ 199 w 539"/>
                <a:gd name="T87" fmla="*/ 794 h 832"/>
                <a:gd name="T88" fmla="*/ 90 w 539"/>
                <a:gd name="T89" fmla="*/ 777 h 832"/>
                <a:gd name="T90" fmla="*/ 97 w 539"/>
                <a:gd name="T91" fmla="*/ 716 h 832"/>
                <a:gd name="T92" fmla="*/ 90 w 539"/>
                <a:gd name="T93" fmla="*/ 687 h 832"/>
                <a:gd name="T94" fmla="*/ 76 w 539"/>
                <a:gd name="T95" fmla="*/ 671 h 832"/>
                <a:gd name="T96" fmla="*/ 69 w 539"/>
                <a:gd name="T97" fmla="*/ 650 h 832"/>
                <a:gd name="T98" fmla="*/ 69 w 539"/>
                <a:gd name="T99" fmla="*/ 666 h 832"/>
                <a:gd name="T100" fmla="*/ 26 w 539"/>
                <a:gd name="T101" fmla="*/ 614 h 832"/>
                <a:gd name="T102" fmla="*/ 26 w 539"/>
                <a:gd name="T103" fmla="*/ 614 h 832"/>
                <a:gd name="T104" fmla="*/ 14 w 539"/>
                <a:gd name="T105" fmla="*/ 626 h 832"/>
                <a:gd name="T106" fmla="*/ 5 w 539"/>
                <a:gd name="T107" fmla="*/ 605 h 832"/>
                <a:gd name="T108" fmla="*/ 5 w 539"/>
                <a:gd name="T109" fmla="*/ 605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9" h="832">
                  <a:moveTo>
                    <a:pt x="5" y="605"/>
                  </a:moveTo>
                  <a:lnTo>
                    <a:pt x="21" y="572"/>
                  </a:lnTo>
                  <a:lnTo>
                    <a:pt x="26" y="548"/>
                  </a:lnTo>
                  <a:lnTo>
                    <a:pt x="26" y="522"/>
                  </a:lnTo>
                  <a:lnTo>
                    <a:pt x="59" y="494"/>
                  </a:lnTo>
                  <a:lnTo>
                    <a:pt x="80" y="477"/>
                  </a:lnTo>
                  <a:lnTo>
                    <a:pt x="90" y="461"/>
                  </a:lnTo>
                  <a:lnTo>
                    <a:pt x="97" y="461"/>
                  </a:lnTo>
                  <a:lnTo>
                    <a:pt x="113" y="444"/>
                  </a:lnTo>
                  <a:lnTo>
                    <a:pt x="123" y="449"/>
                  </a:lnTo>
                  <a:lnTo>
                    <a:pt x="144" y="449"/>
                  </a:lnTo>
                  <a:lnTo>
                    <a:pt x="144" y="437"/>
                  </a:lnTo>
                  <a:lnTo>
                    <a:pt x="182" y="461"/>
                  </a:lnTo>
                  <a:lnTo>
                    <a:pt x="182" y="482"/>
                  </a:lnTo>
                  <a:lnTo>
                    <a:pt x="199" y="482"/>
                  </a:lnTo>
                  <a:lnTo>
                    <a:pt x="215" y="465"/>
                  </a:lnTo>
                  <a:lnTo>
                    <a:pt x="215" y="449"/>
                  </a:lnTo>
                  <a:lnTo>
                    <a:pt x="236" y="437"/>
                  </a:lnTo>
                  <a:lnTo>
                    <a:pt x="232" y="421"/>
                  </a:lnTo>
                  <a:lnTo>
                    <a:pt x="232" y="421"/>
                  </a:lnTo>
                  <a:lnTo>
                    <a:pt x="243" y="404"/>
                  </a:lnTo>
                  <a:lnTo>
                    <a:pt x="243" y="387"/>
                  </a:lnTo>
                  <a:lnTo>
                    <a:pt x="258" y="371"/>
                  </a:lnTo>
                  <a:lnTo>
                    <a:pt x="258" y="338"/>
                  </a:lnTo>
                  <a:lnTo>
                    <a:pt x="274" y="333"/>
                  </a:lnTo>
                  <a:lnTo>
                    <a:pt x="274" y="326"/>
                  </a:lnTo>
                  <a:lnTo>
                    <a:pt x="291" y="326"/>
                  </a:lnTo>
                  <a:lnTo>
                    <a:pt x="295" y="317"/>
                  </a:lnTo>
                  <a:lnTo>
                    <a:pt x="307" y="272"/>
                  </a:lnTo>
                  <a:lnTo>
                    <a:pt x="328" y="255"/>
                  </a:lnTo>
                  <a:lnTo>
                    <a:pt x="340" y="222"/>
                  </a:lnTo>
                  <a:lnTo>
                    <a:pt x="345" y="215"/>
                  </a:lnTo>
                  <a:lnTo>
                    <a:pt x="350" y="182"/>
                  </a:lnTo>
                  <a:lnTo>
                    <a:pt x="366" y="149"/>
                  </a:lnTo>
                  <a:lnTo>
                    <a:pt x="383" y="132"/>
                  </a:lnTo>
                  <a:lnTo>
                    <a:pt x="399" y="132"/>
                  </a:lnTo>
                  <a:lnTo>
                    <a:pt x="432" y="111"/>
                  </a:lnTo>
                  <a:lnTo>
                    <a:pt x="432" y="95"/>
                  </a:lnTo>
                  <a:lnTo>
                    <a:pt x="432" y="59"/>
                  </a:lnTo>
                  <a:lnTo>
                    <a:pt x="421" y="54"/>
                  </a:lnTo>
                  <a:lnTo>
                    <a:pt x="399" y="50"/>
                  </a:lnTo>
                  <a:lnTo>
                    <a:pt x="395" y="0"/>
                  </a:lnTo>
                  <a:lnTo>
                    <a:pt x="416" y="0"/>
                  </a:lnTo>
                  <a:lnTo>
                    <a:pt x="421" y="21"/>
                  </a:lnTo>
                  <a:lnTo>
                    <a:pt x="449" y="33"/>
                  </a:lnTo>
                  <a:lnTo>
                    <a:pt x="449" y="71"/>
                  </a:lnTo>
                  <a:lnTo>
                    <a:pt x="458" y="71"/>
                  </a:lnTo>
                  <a:lnTo>
                    <a:pt x="458" y="116"/>
                  </a:lnTo>
                  <a:lnTo>
                    <a:pt x="458" y="132"/>
                  </a:lnTo>
                  <a:lnTo>
                    <a:pt x="458" y="165"/>
                  </a:lnTo>
                  <a:lnTo>
                    <a:pt x="487" y="206"/>
                  </a:lnTo>
                  <a:lnTo>
                    <a:pt x="508" y="227"/>
                  </a:lnTo>
                  <a:lnTo>
                    <a:pt x="437" y="227"/>
                  </a:lnTo>
                  <a:lnTo>
                    <a:pt x="399" y="227"/>
                  </a:lnTo>
                  <a:lnTo>
                    <a:pt x="383" y="255"/>
                  </a:lnTo>
                  <a:lnTo>
                    <a:pt x="404" y="281"/>
                  </a:lnTo>
                  <a:lnTo>
                    <a:pt x="470" y="333"/>
                  </a:lnTo>
                  <a:lnTo>
                    <a:pt x="491" y="383"/>
                  </a:lnTo>
                  <a:lnTo>
                    <a:pt x="501" y="387"/>
                  </a:lnTo>
                  <a:lnTo>
                    <a:pt x="491" y="404"/>
                  </a:lnTo>
                  <a:lnTo>
                    <a:pt x="470" y="428"/>
                  </a:lnTo>
                  <a:lnTo>
                    <a:pt x="449" y="494"/>
                  </a:lnTo>
                  <a:lnTo>
                    <a:pt x="416" y="515"/>
                  </a:lnTo>
                  <a:lnTo>
                    <a:pt x="421" y="522"/>
                  </a:lnTo>
                  <a:lnTo>
                    <a:pt x="432" y="522"/>
                  </a:lnTo>
                  <a:lnTo>
                    <a:pt x="432" y="548"/>
                  </a:lnTo>
                  <a:lnTo>
                    <a:pt x="421" y="560"/>
                  </a:lnTo>
                  <a:lnTo>
                    <a:pt x="432" y="572"/>
                  </a:lnTo>
                  <a:lnTo>
                    <a:pt x="437" y="614"/>
                  </a:lnTo>
                  <a:lnTo>
                    <a:pt x="458" y="631"/>
                  </a:lnTo>
                  <a:lnTo>
                    <a:pt x="470" y="659"/>
                  </a:lnTo>
                  <a:lnTo>
                    <a:pt x="458" y="659"/>
                  </a:lnTo>
                  <a:lnTo>
                    <a:pt x="475" y="683"/>
                  </a:lnTo>
                  <a:lnTo>
                    <a:pt x="529" y="737"/>
                  </a:lnTo>
                  <a:lnTo>
                    <a:pt x="529" y="770"/>
                  </a:lnTo>
                  <a:lnTo>
                    <a:pt x="539" y="782"/>
                  </a:lnTo>
                  <a:lnTo>
                    <a:pt x="529" y="794"/>
                  </a:lnTo>
                  <a:lnTo>
                    <a:pt x="539" y="827"/>
                  </a:lnTo>
                  <a:lnTo>
                    <a:pt x="529" y="832"/>
                  </a:lnTo>
                  <a:lnTo>
                    <a:pt x="508" y="810"/>
                  </a:lnTo>
                  <a:lnTo>
                    <a:pt x="449" y="798"/>
                  </a:lnTo>
                  <a:lnTo>
                    <a:pt x="421" y="794"/>
                  </a:lnTo>
                  <a:lnTo>
                    <a:pt x="340" y="794"/>
                  </a:lnTo>
                  <a:lnTo>
                    <a:pt x="328" y="782"/>
                  </a:lnTo>
                  <a:lnTo>
                    <a:pt x="295" y="782"/>
                  </a:lnTo>
                  <a:lnTo>
                    <a:pt x="269" y="782"/>
                  </a:lnTo>
                  <a:lnTo>
                    <a:pt x="199" y="782"/>
                  </a:lnTo>
                  <a:lnTo>
                    <a:pt x="199" y="794"/>
                  </a:lnTo>
                  <a:lnTo>
                    <a:pt x="106" y="794"/>
                  </a:lnTo>
                  <a:lnTo>
                    <a:pt x="90" y="777"/>
                  </a:lnTo>
                  <a:lnTo>
                    <a:pt x="106" y="725"/>
                  </a:lnTo>
                  <a:lnTo>
                    <a:pt x="97" y="716"/>
                  </a:lnTo>
                  <a:lnTo>
                    <a:pt x="80" y="687"/>
                  </a:lnTo>
                  <a:lnTo>
                    <a:pt x="90" y="687"/>
                  </a:lnTo>
                  <a:lnTo>
                    <a:pt x="80" y="687"/>
                  </a:lnTo>
                  <a:lnTo>
                    <a:pt x="76" y="671"/>
                  </a:lnTo>
                  <a:lnTo>
                    <a:pt x="80" y="666"/>
                  </a:lnTo>
                  <a:lnTo>
                    <a:pt x="69" y="650"/>
                  </a:lnTo>
                  <a:lnTo>
                    <a:pt x="76" y="659"/>
                  </a:lnTo>
                  <a:lnTo>
                    <a:pt x="69" y="666"/>
                  </a:lnTo>
                  <a:lnTo>
                    <a:pt x="38" y="650"/>
                  </a:lnTo>
                  <a:lnTo>
                    <a:pt x="26" y="614"/>
                  </a:lnTo>
                  <a:lnTo>
                    <a:pt x="21" y="609"/>
                  </a:lnTo>
                  <a:lnTo>
                    <a:pt x="26" y="614"/>
                  </a:lnTo>
                  <a:lnTo>
                    <a:pt x="14" y="609"/>
                  </a:lnTo>
                  <a:lnTo>
                    <a:pt x="14" y="626"/>
                  </a:lnTo>
                  <a:lnTo>
                    <a:pt x="0" y="614"/>
                  </a:lnTo>
                  <a:lnTo>
                    <a:pt x="5" y="605"/>
                  </a:lnTo>
                  <a:lnTo>
                    <a:pt x="5" y="605"/>
                  </a:lnTo>
                  <a:lnTo>
                    <a:pt x="5" y="60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40" name="Freeform 417">
              <a:extLst>
                <a:ext uri="{FF2B5EF4-FFF2-40B4-BE49-F238E27FC236}">
                  <a16:creationId xmlns:a16="http://schemas.microsoft.com/office/drawing/2014/main" id="{079880BC-5602-4AA9-9AB0-7799EF274FD1}"/>
                </a:ext>
              </a:extLst>
            </p:cNvPr>
            <p:cNvSpPr>
              <a:spLocks noEditPoints="1"/>
            </p:cNvSpPr>
            <p:nvPr/>
          </p:nvSpPr>
          <p:spPr bwMode="gray">
            <a:xfrm>
              <a:off x="7974008" y="4405140"/>
              <a:ext cx="37873" cy="30056"/>
            </a:xfrm>
            <a:custGeom>
              <a:avLst/>
              <a:gdLst>
                <a:gd name="T0" fmla="*/ 16 w 92"/>
                <a:gd name="T1" fmla="*/ 40 h 73"/>
                <a:gd name="T2" fmla="*/ 0 w 92"/>
                <a:gd name="T3" fmla="*/ 21 h 73"/>
                <a:gd name="T4" fmla="*/ 0 w 92"/>
                <a:gd name="T5" fmla="*/ 0 h 73"/>
                <a:gd name="T6" fmla="*/ 16 w 92"/>
                <a:gd name="T7" fmla="*/ 0 h 73"/>
                <a:gd name="T8" fmla="*/ 16 w 92"/>
                <a:gd name="T9" fmla="*/ 40 h 73"/>
                <a:gd name="T10" fmla="*/ 16 w 92"/>
                <a:gd name="T11" fmla="*/ 40 h 73"/>
                <a:gd name="T12" fmla="*/ 16 w 92"/>
                <a:gd name="T13" fmla="*/ 40 h 73"/>
                <a:gd name="T14" fmla="*/ 92 w 92"/>
                <a:gd name="T15" fmla="*/ 73 h 73"/>
                <a:gd name="T16" fmla="*/ 70 w 92"/>
                <a:gd name="T17" fmla="*/ 56 h 73"/>
                <a:gd name="T18" fmla="*/ 80 w 92"/>
                <a:gd name="T19" fmla="*/ 56 h 73"/>
                <a:gd name="T20" fmla="*/ 85 w 92"/>
                <a:gd name="T21" fmla="*/ 49 h 73"/>
                <a:gd name="T22" fmla="*/ 92 w 92"/>
                <a:gd name="T23" fmla="*/ 73 h 73"/>
                <a:gd name="T24" fmla="*/ 92 w 92"/>
                <a:gd name="T25" fmla="*/ 73 h 73"/>
                <a:gd name="T26" fmla="*/ 92 w 92"/>
                <a:gd name="T27" fmla="*/ 73 h 73"/>
                <a:gd name="T28" fmla="*/ 49 w 92"/>
                <a:gd name="T29" fmla="*/ 73 h 73"/>
                <a:gd name="T30" fmla="*/ 33 w 92"/>
                <a:gd name="T31" fmla="*/ 73 h 73"/>
                <a:gd name="T32" fmla="*/ 33 w 92"/>
                <a:gd name="T33" fmla="*/ 66 h 73"/>
                <a:gd name="T34" fmla="*/ 49 w 92"/>
                <a:gd name="T35" fmla="*/ 73 h 73"/>
                <a:gd name="T36" fmla="*/ 49 w 92"/>
                <a:gd name="T37" fmla="*/ 73 h 73"/>
                <a:gd name="T38" fmla="*/ 49 w 92"/>
                <a:gd name="T3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 h="73">
                  <a:moveTo>
                    <a:pt x="16" y="40"/>
                  </a:moveTo>
                  <a:lnTo>
                    <a:pt x="0" y="21"/>
                  </a:lnTo>
                  <a:lnTo>
                    <a:pt x="0" y="0"/>
                  </a:lnTo>
                  <a:lnTo>
                    <a:pt x="16" y="0"/>
                  </a:lnTo>
                  <a:lnTo>
                    <a:pt x="16" y="40"/>
                  </a:lnTo>
                  <a:lnTo>
                    <a:pt x="16" y="40"/>
                  </a:lnTo>
                  <a:lnTo>
                    <a:pt x="16" y="40"/>
                  </a:lnTo>
                  <a:close/>
                  <a:moveTo>
                    <a:pt x="92" y="73"/>
                  </a:moveTo>
                  <a:lnTo>
                    <a:pt x="70" y="56"/>
                  </a:lnTo>
                  <a:lnTo>
                    <a:pt x="80" y="56"/>
                  </a:lnTo>
                  <a:lnTo>
                    <a:pt x="85" y="49"/>
                  </a:lnTo>
                  <a:lnTo>
                    <a:pt x="92" y="73"/>
                  </a:lnTo>
                  <a:lnTo>
                    <a:pt x="92" y="73"/>
                  </a:lnTo>
                  <a:lnTo>
                    <a:pt x="92" y="73"/>
                  </a:lnTo>
                  <a:close/>
                  <a:moveTo>
                    <a:pt x="49" y="73"/>
                  </a:moveTo>
                  <a:lnTo>
                    <a:pt x="33" y="73"/>
                  </a:lnTo>
                  <a:lnTo>
                    <a:pt x="33" y="66"/>
                  </a:lnTo>
                  <a:lnTo>
                    <a:pt x="49" y="73"/>
                  </a:lnTo>
                  <a:lnTo>
                    <a:pt x="49" y="73"/>
                  </a:lnTo>
                  <a:lnTo>
                    <a:pt x="49" y="7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41" name="Freeform 421">
              <a:extLst>
                <a:ext uri="{FF2B5EF4-FFF2-40B4-BE49-F238E27FC236}">
                  <a16:creationId xmlns:a16="http://schemas.microsoft.com/office/drawing/2014/main" id="{DDB8CED7-0BAA-497D-A65F-45ACDA5CC903}"/>
                </a:ext>
              </a:extLst>
            </p:cNvPr>
            <p:cNvSpPr>
              <a:spLocks/>
            </p:cNvSpPr>
            <p:nvPr/>
          </p:nvSpPr>
          <p:spPr bwMode="gray">
            <a:xfrm>
              <a:off x="7142434" y="3736924"/>
              <a:ext cx="377090" cy="259793"/>
            </a:xfrm>
            <a:custGeom>
              <a:avLst/>
              <a:gdLst>
                <a:gd name="T0" fmla="*/ 416 w 916"/>
                <a:gd name="T1" fmla="*/ 453 h 631"/>
                <a:gd name="T2" fmla="*/ 345 w 916"/>
                <a:gd name="T3" fmla="*/ 427 h 631"/>
                <a:gd name="T4" fmla="*/ 302 w 916"/>
                <a:gd name="T5" fmla="*/ 482 h 631"/>
                <a:gd name="T6" fmla="*/ 302 w 916"/>
                <a:gd name="T7" fmla="*/ 510 h 631"/>
                <a:gd name="T8" fmla="*/ 286 w 916"/>
                <a:gd name="T9" fmla="*/ 531 h 631"/>
                <a:gd name="T10" fmla="*/ 260 w 916"/>
                <a:gd name="T11" fmla="*/ 536 h 631"/>
                <a:gd name="T12" fmla="*/ 236 w 916"/>
                <a:gd name="T13" fmla="*/ 536 h 631"/>
                <a:gd name="T14" fmla="*/ 205 w 916"/>
                <a:gd name="T15" fmla="*/ 536 h 631"/>
                <a:gd name="T16" fmla="*/ 144 w 916"/>
                <a:gd name="T17" fmla="*/ 572 h 631"/>
                <a:gd name="T18" fmla="*/ 123 w 916"/>
                <a:gd name="T19" fmla="*/ 631 h 631"/>
                <a:gd name="T20" fmla="*/ 113 w 916"/>
                <a:gd name="T21" fmla="*/ 588 h 631"/>
                <a:gd name="T22" fmla="*/ 42 w 916"/>
                <a:gd name="T23" fmla="*/ 510 h 631"/>
                <a:gd name="T24" fmla="*/ 42 w 916"/>
                <a:gd name="T25" fmla="*/ 482 h 631"/>
                <a:gd name="T26" fmla="*/ 16 w 916"/>
                <a:gd name="T27" fmla="*/ 420 h 631"/>
                <a:gd name="T28" fmla="*/ 16 w 916"/>
                <a:gd name="T29" fmla="*/ 399 h 631"/>
                <a:gd name="T30" fmla="*/ 5 w 916"/>
                <a:gd name="T31" fmla="*/ 371 h 631"/>
                <a:gd name="T32" fmla="*/ 31 w 916"/>
                <a:gd name="T33" fmla="*/ 342 h 631"/>
                <a:gd name="T34" fmla="*/ 75 w 916"/>
                <a:gd name="T35" fmla="*/ 255 h 631"/>
                <a:gd name="T36" fmla="*/ 139 w 916"/>
                <a:gd name="T37" fmla="*/ 243 h 631"/>
                <a:gd name="T38" fmla="*/ 151 w 916"/>
                <a:gd name="T39" fmla="*/ 238 h 631"/>
                <a:gd name="T40" fmla="*/ 220 w 916"/>
                <a:gd name="T41" fmla="*/ 222 h 631"/>
                <a:gd name="T42" fmla="*/ 328 w 916"/>
                <a:gd name="T43" fmla="*/ 177 h 631"/>
                <a:gd name="T44" fmla="*/ 323 w 916"/>
                <a:gd name="T45" fmla="*/ 149 h 631"/>
                <a:gd name="T46" fmla="*/ 394 w 916"/>
                <a:gd name="T47" fmla="*/ 132 h 631"/>
                <a:gd name="T48" fmla="*/ 425 w 916"/>
                <a:gd name="T49" fmla="*/ 127 h 631"/>
                <a:gd name="T50" fmla="*/ 479 w 916"/>
                <a:gd name="T51" fmla="*/ 78 h 631"/>
                <a:gd name="T52" fmla="*/ 501 w 916"/>
                <a:gd name="T53" fmla="*/ 66 h 631"/>
                <a:gd name="T54" fmla="*/ 508 w 916"/>
                <a:gd name="T55" fmla="*/ 33 h 631"/>
                <a:gd name="T56" fmla="*/ 593 w 916"/>
                <a:gd name="T57" fmla="*/ 12 h 631"/>
                <a:gd name="T58" fmla="*/ 647 w 916"/>
                <a:gd name="T59" fmla="*/ 90 h 631"/>
                <a:gd name="T60" fmla="*/ 642 w 916"/>
                <a:gd name="T61" fmla="*/ 132 h 631"/>
                <a:gd name="T62" fmla="*/ 642 w 916"/>
                <a:gd name="T63" fmla="*/ 149 h 631"/>
                <a:gd name="T64" fmla="*/ 685 w 916"/>
                <a:gd name="T65" fmla="*/ 168 h 631"/>
                <a:gd name="T66" fmla="*/ 685 w 916"/>
                <a:gd name="T67" fmla="*/ 184 h 631"/>
                <a:gd name="T68" fmla="*/ 723 w 916"/>
                <a:gd name="T69" fmla="*/ 205 h 631"/>
                <a:gd name="T70" fmla="*/ 760 w 916"/>
                <a:gd name="T71" fmla="*/ 234 h 631"/>
                <a:gd name="T72" fmla="*/ 756 w 916"/>
                <a:gd name="T73" fmla="*/ 255 h 631"/>
                <a:gd name="T74" fmla="*/ 810 w 916"/>
                <a:gd name="T75" fmla="*/ 293 h 631"/>
                <a:gd name="T76" fmla="*/ 841 w 916"/>
                <a:gd name="T77" fmla="*/ 316 h 631"/>
                <a:gd name="T78" fmla="*/ 848 w 916"/>
                <a:gd name="T79" fmla="*/ 349 h 631"/>
                <a:gd name="T80" fmla="*/ 869 w 916"/>
                <a:gd name="T81" fmla="*/ 366 h 631"/>
                <a:gd name="T82" fmla="*/ 902 w 916"/>
                <a:gd name="T83" fmla="*/ 399 h 631"/>
                <a:gd name="T84" fmla="*/ 916 w 916"/>
                <a:gd name="T85" fmla="*/ 437 h 631"/>
                <a:gd name="T86" fmla="*/ 869 w 916"/>
                <a:gd name="T87" fmla="*/ 437 h 631"/>
                <a:gd name="T88" fmla="*/ 848 w 916"/>
                <a:gd name="T89" fmla="*/ 437 h 631"/>
                <a:gd name="T90" fmla="*/ 810 w 916"/>
                <a:gd name="T91" fmla="*/ 420 h 631"/>
                <a:gd name="T92" fmla="*/ 772 w 916"/>
                <a:gd name="T93" fmla="*/ 411 h 631"/>
                <a:gd name="T94" fmla="*/ 723 w 916"/>
                <a:gd name="T95" fmla="*/ 444 h 631"/>
                <a:gd name="T96" fmla="*/ 701 w 916"/>
                <a:gd name="T97" fmla="*/ 437 h 631"/>
                <a:gd name="T98" fmla="*/ 631 w 916"/>
                <a:gd name="T99" fmla="*/ 465 h 631"/>
                <a:gd name="T100" fmla="*/ 576 w 916"/>
                <a:gd name="T101" fmla="*/ 477 h 631"/>
                <a:gd name="T102" fmla="*/ 572 w 916"/>
                <a:gd name="T103" fmla="*/ 494 h 631"/>
                <a:gd name="T104" fmla="*/ 517 w 916"/>
                <a:gd name="T105" fmla="*/ 494 h 631"/>
                <a:gd name="T106" fmla="*/ 463 w 916"/>
                <a:gd name="T107" fmla="*/ 477 h 631"/>
                <a:gd name="T108" fmla="*/ 425 w 916"/>
                <a:gd name="T109" fmla="*/ 465 h 631"/>
                <a:gd name="T110" fmla="*/ 425 w 916"/>
                <a:gd name="T111" fmla="*/ 465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16" h="631">
                  <a:moveTo>
                    <a:pt x="425" y="465"/>
                  </a:moveTo>
                  <a:lnTo>
                    <a:pt x="416" y="453"/>
                  </a:lnTo>
                  <a:lnTo>
                    <a:pt x="378" y="427"/>
                  </a:lnTo>
                  <a:lnTo>
                    <a:pt x="345" y="427"/>
                  </a:lnTo>
                  <a:lnTo>
                    <a:pt x="323" y="444"/>
                  </a:lnTo>
                  <a:lnTo>
                    <a:pt x="302" y="482"/>
                  </a:lnTo>
                  <a:lnTo>
                    <a:pt x="290" y="482"/>
                  </a:lnTo>
                  <a:lnTo>
                    <a:pt x="302" y="510"/>
                  </a:lnTo>
                  <a:lnTo>
                    <a:pt x="290" y="548"/>
                  </a:lnTo>
                  <a:lnTo>
                    <a:pt x="286" y="531"/>
                  </a:lnTo>
                  <a:lnTo>
                    <a:pt x="260" y="548"/>
                  </a:lnTo>
                  <a:lnTo>
                    <a:pt x="260" y="536"/>
                  </a:lnTo>
                  <a:lnTo>
                    <a:pt x="236" y="536"/>
                  </a:lnTo>
                  <a:lnTo>
                    <a:pt x="236" y="536"/>
                  </a:lnTo>
                  <a:lnTo>
                    <a:pt x="215" y="531"/>
                  </a:lnTo>
                  <a:lnTo>
                    <a:pt x="205" y="536"/>
                  </a:lnTo>
                  <a:lnTo>
                    <a:pt x="151" y="536"/>
                  </a:lnTo>
                  <a:lnTo>
                    <a:pt x="144" y="572"/>
                  </a:lnTo>
                  <a:lnTo>
                    <a:pt x="144" y="593"/>
                  </a:lnTo>
                  <a:lnTo>
                    <a:pt x="123" y="631"/>
                  </a:lnTo>
                  <a:lnTo>
                    <a:pt x="113" y="621"/>
                  </a:lnTo>
                  <a:lnTo>
                    <a:pt x="113" y="588"/>
                  </a:lnTo>
                  <a:lnTo>
                    <a:pt x="59" y="531"/>
                  </a:lnTo>
                  <a:lnTo>
                    <a:pt x="42" y="510"/>
                  </a:lnTo>
                  <a:lnTo>
                    <a:pt x="54" y="510"/>
                  </a:lnTo>
                  <a:lnTo>
                    <a:pt x="42" y="482"/>
                  </a:lnTo>
                  <a:lnTo>
                    <a:pt x="21" y="465"/>
                  </a:lnTo>
                  <a:lnTo>
                    <a:pt x="16" y="420"/>
                  </a:lnTo>
                  <a:lnTo>
                    <a:pt x="5" y="411"/>
                  </a:lnTo>
                  <a:lnTo>
                    <a:pt x="16" y="399"/>
                  </a:lnTo>
                  <a:lnTo>
                    <a:pt x="16" y="371"/>
                  </a:lnTo>
                  <a:lnTo>
                    <a:pt x="5" y="371"/>
                  </a:lnTo>
                  <a:lnTo>
                    <a:pt x="0" y="366"/>
                  </a:lnTo>
                  <a:lnTo>
                    <a:pt x="31" y="342"/>
                  </a:lnTo>
                  <a:lnTo>
                    <a:pt x="54" y="276"/>
                  </a:lnTo>
                  <a:lnTo>
                    <a:pt x="75" y="255"/>
                  </a:lnTo>
                  <a:lnTo>
                    <a:pt x="106" y="255"/>
                  </a:lnTo>
                  <a:lnTo>
                    <a:pt x="139" y="243"/>
                  </a:lnTo>
                  <a:lnTo>
                    <a:pt x="151" y="234"/>
                  </a:lnTo>
                  <a:lnTo>
                    <a:pt x="151" y="238"/>
                  </a:lnTo>
                  <a:lnTo>
                    <a:pt x="168" y="255"/>
                  </a:lnTo>
                  <a:lnTo>
                    <a:pt x="220" y="222"/>
                  </a:lnTo>
                  <a:lnTo>
                    <a:pt x="290" y="217"/>
                  </a:lnTo>
                  <a:lnTo>
                    <a:pt x="328" y="177"/>
                  </a:lnTo>
                  <a:lnTo>
                    <a:pt x="312" y="160"/>
                  </a:lnTo>
                  <a:lnTo>
                    <a:pt x="323" y="149"/>
                  </a:lnTo>
                  <a:lnTo>
                    <a:pt x="383" y="144"/>
                  </a:lnTo>
                  <a:lnTo>
                    <a:pt x="394" y="132"/>
                  </a:lnTo>
                  <a:lnTo>
                    <a:pt x="416" y="144"/>
                  </a:lnTo>
                  <a:lnTo>
                    <a:pt x="425" y="127"/>
                  </a:lnTo>
                  <a:lnTo>
                    <a:pt x="449" y="123"/>
                  </a:lnTo>
                  <a:lnTo>
                    <a:pt x="479" y="78"/>
                  </a:lnTo>
                  <a:lnTo>
                    <a:pt x="486" y="78"/>
                  </a:lnTo>
                  <a:lnTo>
                    <a:pt x="501" y="66"/>
                  </a:lnTo>
                  <a:lnTo>
                    <a:pt x="508" y="57"/>
                  </a:lnTo>
                  <a:lnTo>
                    <a:pt x="508" y="33"/>
                  </a:lnTo>
                  <a:lnTo>
                    <a:pt x="562" y="0"/>
                  </a:lnTo>
                  <a:lnTo>
                    <a:pt x="593" y="12"/>
                  </a:lnTo>
                  <a:lnTo>
                    <a:pt x="626" y="40"/>
                  </a:lnTo>
                  <a:lnTo>
                    <a:pt x="647" y="90"/>
                  </a:lnTo>
                  <a:lnTo>
                    <a:pt x="647" y="127"/>
                  </a:lnTo>
                  <a:lnTo>
                    <a:pt x="642" y="132"/>
                  </a:lnTo>
                  <a:lnTo>
                    <a:pt x="631" y="144"/>
                  </a:lnTo>
                  <a:lnTo>
                    <a:pt x="642" y="149"/>
                  </a:lnTo>
                  <a:lnTo>
                    <a:pt x="642" y="168"/>
                  </a:lnTo>
                  <a:lnTo>
                    <a:pt x="685" y="168"/>
                  </a:lnTo>
                  <a:lnTo>
                    <a:pt x="697" y="177"/>
                  </a:lnTo>
                  <a:lnTo>
                    <a:pt x="685" y="184"/>
                  </a:lnTo>
                  <a:lnTo>
                    <a:pt x="685" y="201"/>
                  </a:lnTo>
                  <a:lnTo>
                    <a:pt x="723" y="205"/>
                  </a:lnTo>
                  <a:lnTo>
                    <a:pt x="751" y="234"/>
                  </a:lnTo>
                  <a:lnTo>
                    <a:pt x="760" y="234"/>
                  </a:lnTo>
                  <a:lnTo>
                    <a:pt x="760" y="243"/>
                  </a:lnTo>
                  <a:lnTo>
                    <a:pt x="756" y="255"/>
                  </a:lnTo>
                  <a:lnTo>
                    <a:pt x="756" y="255"/>
                  </a:lnTo>
                  <a:lnTo>
                    <a:pt x="810" y="293"/>
                  </a:lnTo>
                  <a:lnTo>
                    <a:pt x="815" y="300"/>
                  </a:lnTo>
                  <a:lnTo>
                    <a:pt x="841" y="316"/>
                  </a:lnTo>
                  <a:lnTo>
                    <a:pt x="831" y="333"/>
                  </a:lnTo>
                  <a:lnTo>
                    <a:pt x="848" y="349"/>
                  </a:lnTo>
                  <a:lnTo>
                    <a:pt x="841" y="354"/>
                  </a:lnTo>
                  <a:lnTo>
                    <a:pt x="869" y="366"/>
                  </a:lnTo>
                  <a:lnTo>
                    <a:pt x="895" y="383"/>
                  </a:lnTo>
                  <a:lnTo>
                    <a:pt x="902" y="399"/>
                  </a:lnTo>
                  <a:lnTo>
                    <a:pt x="902" y="411"/>
                  </a:lnTo>
                  <a:lnTo>
                    <a:pt x="916" y="437"/>
                  </a:lnTo>
                  <a:lnTo>
                    <a:pt x="886" y="420"/>
                  </a:lnTo>
                  <a:lnTo>
                    <a:pt x="869" y="437"/>
                  </a:lnTo>
                  <a:lnTo>
                    <a:pt x="864" y="427"/>
                  </a:lnTo>
                  <a:lnTo>
                    <a:pt x="848" y="437"/>
                  </a:lnTo>
                  <a:lnTo>
                    <a:pt x="827" y="420"/>
                  </a:lnTo>
                  <a:lnTo>
                    <a:pt x="810" y="420"/>
                  </a:lnTo>
                  <a:lnTo>
                    <a:pt x="777" y="411"/>
                  </a:lnTo>
                  <a:lnTo>
                    <a:pt x="772" y="411"/>
                  </a:lnTo>
                  <a:lnTo>
                    <a:pt x="760" y="437"/>
                  </a:lnTo>
                  <a:lnTo>
                    <a:pt x="723" y="444"/>
                  </a:lnTo>
                  <a:lnTo>
                    <a:pt x="701" y="427"/>
                  </a:lnTo>
                  <a:lnTo>
                    <a:pt x="701" y="437"/>
                  </a:lnTo>
                  <a:lnTo>
                    <a:pt x="642" y="460"/>
                  </a:lnTo>
                  <a:lnTo>
                    <a:pt x="631" y="465"/>
                  </a:lnTo>
                  <a:lnTo>
                    <a:pt x="593" y="453"/>
                  </a:lnTo>
                  <a:lnTo>
                    <a:pt x="576" y="477"/>
                  </a:lnTo>
                  <a:lnTo>
                    <a:pt x="572" y="477"/>
                  </a:lnTo>
                  <a:lnTo>
                    <a:pt x="572" y="494"/>
                  </a:lnTo>
                  <a:lnTo>
                    <a:pt x="555" y="498"/>
                  </a:lnTo>
                  <a:lnTo>
                    <a:pt x="517" y="494"/>
                  </a:lnTo>
                  <a:lnTo>
                    <a:pt x="479" y="494"/>
                  </a:lnTo>
                  <a:lnTo>
                    <a:pt x="463" y="477"/>
                  </a:lnTo>
                  <a:lnTo>
                    <a:pt x="432" y="482"/>
                  </a:lnTo>
                  <a:lnTo>
                    <a:pt x="425" y="465"/>
                  </a:lnTo>
                  <a:lnTo>
                    <a:pt x="425" y="465"/>
                  </a:lnTo>
                  <a:lnTo>
                    <a:pt x="425" y="46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42" name="Freeform 423">
              <a:extLst>
                <a:ext uri="{FF2B5EF4-FFF2-40B4-BE49-F238E27FC236}">
                  <a16:creationId xmlns:a16="http://schemas.microsoft.com/office/drawing/2014/main" id="{3C305B3D-1F82-4033-9455-F529F17383CA}"/>
                </a:ext>
              </a:extLst>
            </p:cNvPr>
            <p:cNvSpPr>
              <a:spLocks noEditPoints="1"/>
            </p:cNvSpPr>
            <p:nvPr/>
          </p:nvSpPr>
          <p:spPr bwMode="gray">
            <a:xfrm>
              <a:off x="5995933" y="3551240"/>
              <a:ext cx="75748" cy="70815"/>
            </a:xfrm>
            <a:custGeom>
              <a:avLst/>
              <a:gdLst>
                <a:gd name="T0" fmla="*/ 0 w 184"/>
                <a:gd name="T1" fmla="*/ 19 h 172"/>
                <a:gd name="T2" fmla="*/ 0 w 184"/>
                <a:gd name="T3" fmla="*/ 7 h 172"/>
                <a:gd name="T4" fmla="*/ 16 w 184"/>
                <a:gd name="T5" fmla="*/ 0 h 172"/>
                <a:gd name="T6" fmla="*/ 21 w 184"/>
                <a:gd name="T7" fmla="*/ 7 h 172"/>
                <a:gd name="T8" fmla="*/ 0 w 184"/>
                <a:gd name="T9" fmla="*/ 19 h 172"/>
                <a:gd name="T10" fmla="*/ 0 w 184"/>
                <a:gd name="T11" fmla="*/ 19 h 172"/>
                <a:gd name="T12" fmla="*/ 0 w 184"/>
                <a:gd name="T13" fmla="*/ 19 h 172"/>
                <a:gd name="T14" fmla="*/ 21 w 184"/>
                <a:gd name="T15" fmla="*/ 28 h 172"/>
                <a:gd name="T16" fmla="*/ 16 w 184"/>
                <a:gd name="T17" fmla="*/ 23 h 172"/>
                <a:gd name="T18" fmla="*/ 21 w 184"/>
                <a:gd name="T19" fmla="*/ 19 h 172"/>
                <a:gd name="T20" fmla="*/ 33 w 184"/>
                <a:gd name="T21" fmla="*/ 23 h 172"/>
                <a:gd name="T22" fmla="*/ 21 w 184"/>
                <a:gd name="T23" fmla="*/ 28 h 172"/>
                <a:gd name="T24" fmla="*/ 21 w 184"/>
                <a:gd name="T25" fmla="*/ 28 h 172"/>
                <a:gd name="T26" fmla="*/ 21 w 184"/>
                <a:gd name="T27" fmla="*/ 28 h 172"/>
                <a:gd name="T28" fmla="*/ 71 w 184"/>
                <a:gd name="T29" fmla="*/ 45 h 172"/>
                <a:gd name="T30" fmla="*/ 59 w 184"/>
                <a:gd name="T31" fmla="*/ 40 h 172"/>
                <a:gd name="T32" fmla="*/ 92 w 184"/>
                <a:gd name="T33" fmla="*/ 45 h 172"/>
                <a:gd name="T34" fmla="*/ 71 w 184"/>
                <a:gd name="T35" fmla="*/ 40 h 172"/>
                <a:gd name="T36" fmla="*/ 71 w 184"/>
                <a:gd name="T37" fmla="*/ 45 h 172"/>
                <a:gd name="T38" fmla="*/ 71 w 184"/>
                <a:gd name="T39" fmla="*/ 45 h 172"/>
                <a:gd name="T40" fmla="*/ 71 w 184"/>
                <a:gd name="T41" fmla="*/ 45 h 172"/>
                <a:gd name="T42" fmla="*/ 179 w 184"/>
                <a:gd name="T43" fmla="*/ 85 h 172"/>
                <a:gd name="T44" fmla="*/ 163 w 184"/>
                <a:gd name="T45" fmla="*/ 85 h 172"/>
                <a:gd name="T46" fmla="*/ 179 w 184"/>
                <a:gd name="T47" fmla="*/ 73 h 172"/>
                <a:gd name="T48" fmla="*/ 184 w 184"/>
                <a:gd name="T49" fmla="*/ 78 h 172"/>
                <a:gd name="T50" fmla="*/ 179 w 184"/>
                <a:gd name="T51" fmla="*/ 85 h 172"/>
                <a:gd name="T52" fmla="*/ 179 w 184"/>
                <a:gd name="T53" fmla="*/ 85 h 172"/>
                <a:gd name="T54" fmla="*/ 179 w 184"/>
                <a:gd name="T55" fmla="*/ 85 h 172"/>
                <a:gd name="T56" fmla="*/ 125 w 184"/>
                <a:gd name="T57" fmla="*/ 167 h 172"/>
                <a:gd name="T58" fmla="*/ 109 w 184"/>
                <a:gd name="T59" fmla="*/ 156 h 172"/>
                <a:gd name="T60" fmla="*/ 118 w 184"/>
                <a:gd name="T61" fmla="*/ 139 h 172"/>
                <a:gd name="T62" fmla="*/ 130 w 184"/>
                <a:gd name="T63" fmla="*/ 156 h 172"/>
                <a:gd name="T64" fmla="*/ 125 w 184"/>
                <a:gd name="T65" fmla="*/ 167 h 172"/>
                <a:gd name="T66" fmla="*/ 125 w 184"/>
                <a:gd name="T67" fmla="*/ 167 h 172"/>
                <a:gd name="T68" fmla="*/ 125 w 184"/>
                <a:gd name="T69" fmla="*/ 167 h 172"/>
                <a:gd name="T70" fmla="*/ 59 w 184"/>
                <a:gd name="T71" fmla="*/ 172 h 172"/>
                <a:gd name="T72" fmla="*/ 54 w 184"/>
                <a:gd name="T73" fmla="*/ 167 h 172"/>
                <a:gd name="T74" fmla="*/ 59 w 184"/>
                <a:gd name="T75" fmla="*/ 156 h 172"/>
                <a:gd name="T76" fmla="*/ 71 w 184"/>
                <a:gd name="T77" fmla="*/ 167 h 172"/>
                <a:gd name="T78" fmla="*/ 59 w 184"/>
                <a:gd name="T79" fmla="*/ 172 h 172"/>
                <a:gd name="T80" fmla="*/ 59 w 184"/>
                <a:gd name="T81" fmla="*/ 172 h 172"/>
                <a:gd name="T82" fmla="*/ 59 w 184"/>
                <a:gd name="T8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4" h="172">
                  <a:moveTo>
                    <a:pt x="0" y="19"/>
                  </a:moveTo>
                  <a:lnTo>
                    <a:pt x="0" y="7"/>
                  </a:lnTo>
                  <a:lnTo>
                    <a:pt x="16" y="0"/>
                  </a:lnTo>
                  <a:lnTo>
                    <a:pt x="21" y="7"/>
                  </a:lnTo>
                  <a:lnTo>
                    <a:pt x="0" y="19"/>
                  </a:lnTo>
                  <a:lnTo>
                    <a:pt x="0" y="19"/>
                  </a:lnTo>
                  <a:lnTo>
                    <a:pt x="0" y="19"/>
                  </a:lnTo>
                  <a:close/>
                  <a:moveTo>
                    <a:pt x="21" y="28"/>
                  </a:moveTo>
                  <a:lnTo>
                    <a:pt x="16" y="23"/>
                  </a:lnTo>
                  <a:lnTo>
                    <a:pt x="21" y="19"/>
                  </a:lnTo>
                  <a:lnTo>
                    <a:pt x="33" y="23"/>
                  </a:lnTo>
                  <a:lnTo>
                    <a:pt x="21" y="28"/>
                  </a:lnTo>
                  <a:lnTo>
                    <a:pt x="21" y="28"/>
                  </a:lnTo>
                  <a:lnTo>
                    <a:pt x="21" y="28"/>
                  </a:lnTo>
                  <a:close/>
                  <a:moveTo>
                    <a:pt x="71" y="45"/>
                  </a:moveTo>
                  <a:lnTo>
                    <a:pt x="59" y="40"/>
                  </a:lnTo>
                  <a:lnTo>
                    <a:pt x="92" y="45"/>
                  </a:lnTo>
                  <a:lnTo>
                    <a:pt x="71" y="40"/>
                  </a:lnTo>
                  <a:lnTo>
                    <a:pt x="71" y="45"/>
                  </a:lnTo>
                  <a:lnTo>
                    <a:pt x="71" y="45"/>
                  </a:lnTo>
                  <a:lnTo>
                    <a:pt x="71" y="45"/>
                  </a:lnTo>
                  <a:close/>
                  <a:moveTo>
                    <a:pt x="179" y="85"/>
                  </a:moveTo>
                  <a:lnTo>
                    <a:pt x="163" y="85"/>
                  </a:lnTo>
                  <a:lnTo>
                    <a:pt x="179" y="73"/>
                  </a:lnTo>
                  <a:lnTo>
                    <a:pt x="184" y="78"/>
                  </a:lnTo>
                  <a:lnTo>
                    <a:pt x="179" y="85"/>
                  </a:lnTo>
                  <a:lnTo>
                    <a:pt x="179" y="85"/>
                  </a:lnTo>
                  <a:lnTo>
                    <a:pt x="179" y="85"/>
                  </a:lnTo>
                  <a:close/>
                  <a:moveTo>
                    <a:pt x="125" y="167"/>
                  </a:moveTo>
                  <a:lnTo>
                    <a:pt x="109" y="156"/>
                  </a:lnTo>
                  <a:lnTo>
                    <a:pt x="118" y="139"/>
                  </a:lnTo>
                  <a:lnTo>
                    <a:pt x="130" y="156"/>
                  </a:lnTo>
                  <a:lnTo>
                    <a:pt x="125" y="167"/>
                  </a:lnTo>
                  <a:lnTo>
                    <a:pt x="125" y="167"/>
                  </a:lnTo>
                  <a:lnTo>
                    <a:pt x="125" y="167"/>
                  </a:lnTo>
                  <a:close/>
                  <a:moveTo>
                    <a:pt x="59" y="172"/>
                  </a:moveTo>
                  <a:lnTo>
                    <a:pt x="54" y="167"/>
                  </a:lnTo>
                  <a:lnTo>
                    <a:pt x="59" y="156"/>
                  </a:lnTo>
                  <a:lnTo>
                    <a:pt x="71" y="167"/>
                  </a:lnTo>
                  <a:lnTo>
                    <a:pt x="59" y="172"/>
                  </a:lnTo>
                  <a:lnTo>
                    <a:pt x="59" y="172"/>
                  </a:lnTo>
                  <a:lnTo>
                    <a:pt x="59" y="17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43" name="Freeform 424">
              <a:extLst>
                <a:ext uri="{FF2B5EF4-FFF2-40B4-BE49-F238E27FC236}">
                  <a16:creationId xmlns:a16="http://schemas.microsoft.com/office/drawing/2014/main" id="{6F30A9BC-2594-47F5-A49A-93493F8C76EE}"/>
                </a:ext>
              </a:extLst>
            </p:cNvPr>
            <p:cNvSpPr>
              <a:spLocks/>
            </p:cNvSpPr>
            <p:nvPr/>
          </p:nvSpPr>
          <p:spPr bwMode="gray">
            <a:xfrm>
              <a:off x="7655787" y="2960016"/>
              <a:ext cx="66280" cy="36644"/>
            </a:xfrm>
            <a:custGeom>
              <a:avLst/>
              <a:gdLst>
                <a:gd name="T0" fmla="*/ 71 w 161"/>
                <a:gd name="T1" fmla="*/ 77 h 89"/>
                <a:gd name="T2" fmla="*/ 64 w 161"/>
                <a:gd name="T3" fmla="*/ 77 h 89"/>
                <a:gd name="T4" fmla="*/ 54 w 161"/>
                <a:gd name="T5" fmla="*/ 89 h 89"/>
                <a:gd name="T6" fmla="*/ 50 w 161"/>
                <a:gd name="T7" fmla="*/ 77 h 89"/>
                <a:gd name="T8" fmla="*/ 17 w 161"/>
                <a:gd name="T9" fmla="*/ 77 h 89"/>
                <a:gd name="T10" fmla="*/ 0 w 161"/>
                <a:gd name="T11" fmla="*/ 49 h 89"/>
                <a:gd name="T12" fmla="*/ 17 w 161"/>
                <a:gd name="T13" fmla="*/ 56 h 89"/>
                <a:gd name="T14" fmla="*/ 33 w 161"/>
                <a:gd name="T15" fmla="*/ 40 h 89"/>
                <a:gd name="T16" fmla="*/ 50 w 161"/>
                <a:gd name="T17" fmla="*/ 40 h 89"/>
                <a:gd name="T18" fmla="*/ 50 w 161"/>
                <a:gd name="T19" fmla="*/ 21 h 89"/>
                <a:gd name="T20" fmla="*/ 102 w 161"/>
                <a:gd name="T21" fmla="*/ 21 h 89"/>
                <a:gd name="T22" fmla="*/ 161 w 161"/>
                <a:gd name="T23" fmla="*/ 0 h 89"/>
                <a:gd name="T24" fmla="*/ 118 w 161"/>
                <a:gd name="T25" fmla="*/ 33 h 89"/>
                <a:gd name="T26" fmla="*/ 118 w 161"/>
                <a:gd name="T27" fmla="*/ 40 h 89"/>
                <a:gd name="T28" fmla="*/ 132 w 161"/>
                <a:gd name="T29" fmla="*/ 56 h 89"/>
                <a:gd name="T30" fmla="*/ 102 w 161"/>
                <a:gd name="T31" fmla="*/ 56 h 89"/>
                <a:gd name="T32" fmla="*/ 102 w 161"/>
                <a:gd name="T33" fmla="*/ 73 h 89"/>
                <a:gd name="T34" fmla="*/ 71 w 161"/>
                <a:gd name="T35" fmla="*/ 77 h 89"/>
                <a:gd name="T36" fmla="*/ 71 w 161"/>
                <a:gd name="T37" fmla="*/ 77 h 89"/>
                <a:gd name="T38" fmla="*/ 71 w 161"/>
                <a:gd name="T39" fmla="*/ 7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1" h="89">
                  <a:moveTo>
                    <a:pt x="71" y="77"/>
                  </a:moveTo>
                  <a:lnTo>
                    <a:pt x="64" y="77"/>
                  </a:lnTo>
                  <a:lnTo>
                    <a:pt x="54" y="89"/>
                  </a:lnTo>
                  <a:lnTo>
                    <a:pt x="50" y="77"/>
                  </a:lnTo>
                  <a:lnTo>
                    <a:pt x="17" y="77"/>
                  </a:lnTo>
                  <a:lnTo>
                    <a:pt x="0" y="49"/>
                  </a:lnTo>
                  <a:lnTo>
                    <a:pt x="17" y="56"/>
                  </a:lnTo>
                  <a:lnTo>
                    <a:pt x="33" y="40"/>
                  </a:lnTo>
                  <a:lnTo>
                    <a:pt x="50" y="40"/>
                  </a:lnTo>
                  <a:lnTo>
                    <a:pt x="50" y="21"/>
                  </a:lnTo>
                  <a:lnTo>
                    <a:pt x="102" y="21"/>
                  </a:lnTo>
                  <a:lnTo>
                    <a:pt x="161" y="0"/>
                  </a:lnTo>
                  <a:lnTo>
                    <a:pt x="118" y="33"/>
                  </a:lnTo>
                  <a:lnTo>
                    <a:pt x="118" y="40"/>
                  </a:lnTo>
                  <a:lnTo>
                    <a:pt x="132" y="56"/>
                  </a:lnTo>
                  <a:lnTo>
                    <a:pt x="102" y="56"/>
                  </a:lnTo>
                  <a:lnTo>
                    <a:pt x="102" y="73"/>
                  </a:lnTo>
                  <a:lnTo>
                    <a:pt x="71" y="77"/>
                  </a:lnTo>
                  <a:lnTo>
                    <a:pt x="71" y="77"/>
                  </a:lnTo>
                  <a:lnTo>
                    <a:pt x="71" y="7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44" name="Freeform 426">
              <a:extLst>
                <a:ext uri="{FF2B5EF4-FFF2-40B4-BE49-F238E27FC236}">
                  <a16:creationId xmlns:a16="http://schemas.microsoft.com/office/drawing/2014/main" id="{D2D84B8A-C1B1-40B3-9C76-76179B161AE6}"/>
                </a:ext>
              </a:extLst>
            </p:cNvPr>
            <p:cNvSpPr>
              <a:spLocks/>
            </p:cNvSpPr>
            <p:nvPr/>
          </p:nvSpPr>
          <p:spPr bwMode="gray">
            <a:xfrm>
              <a:off x="7934076" y="3684225"/>
              <a:ext cx="45695" cy="56405"/>
            </a:xfrm>
            <a:custGeom>
              <a:avLst/>
              <a:gdLst>
                <a:gd name="T0" fmla="*/ 73 w 111"/>
                <a:gd name="T1" fmla="*/ 126 h 137"/>
                <a:gd name="T2" fmla="*/ 56 w 111"/>
                <a:gd name="T3" fmla="*/ 121 h 137"/>
                <a:gd name="T4" fmla="*/ 14 w 111"/>
                <a:gd name="T5" fmla="*/ 137 h 137"/>
                <a:gd name="T6" fmla="*/ 0 w 111"/>
                <a:gd name="T7" fmla="*/ 126 h 137"/>
                <a:gd name="T8" fmla="*/ 0 w 111"/>
                <a:gd name="T9" fmla="*/ 92 h 137"/>
                <a:gd name="T10" fmla="*/ 0 w 111"/>
                <a:gd name="T11" fmla="*/ 71 h 137"/>
                <a:gd name="T12" fmla="*/ 35 w 111"/>
                <a:gd name="T13" fmla="*/ 26 h 137"/>
                <a:gd name="T14" fmla="*/ 42 w 111"/>
                <a:gd name="T15" fmla="*/ 17 h 137"/>
                <a:gd name="T16" fmla="*/ 56 w 111"/>
                <a:gd name="T17" fmla="*/ 33 h 137"/>
                <a:gd name="T18" fmla="*/ 68 w 111"/>
                <a:gd name="T19" fmla="*/ 26 h 137"/>
                <a:gd name="T20" fmla="*/ 68 w 111"/>
                <a:gd name="T21" fmla="*/ 17 h 137"/>
                <a:gd name="T22" fmla="*/ 89 w 111"/>
                <a:gd name="T23" fmla="*/ 0 h 137"/>
                <a:gd name="T24" fmla="*/ 106 w 111"/>
                <a:gd name="T25" fmla="*/ 26 h 137"/>
                <a:gd name="T26" fmla="*/ 111 w 111"/>
                <a:gd name="T27" fmla="*/ 55 h 137"/>
                <a:gd name="T28" fmla="*/ 78 w 111"/>
                <a:gd name="T29" fmla="*/ 71 h 137"/>
                <a:gd name="T30" fmla="*/ 68 w 111"/>
                <a:gd name="T31" fmla="*/ 71 h 137"/>
                <a:gd name="T32" fmla="*/ 56 w 111"/>
                <a:gd name="T33" fmla="*/ 88 h 137"/>
                <a:gd name="T34" fmla="*/ 42 w 111"/>
                <a:gd name="T35" fmla="*/ 88 h 137"/>
                <a:gd name="T36" fmla="*/ 52 w 111"/>
                <a:gd name="T37" fmla="*/ 92 h 137"/>
                <a:gd name="T38" fmla="*/ 73 w 111"/>
                <a:gd name="T39" fmla="*/ 88 h 137"/>
                <a:gd name="T40" fmla="*/ 89 w 111"/>
                <a:gd name="T41" fmla="*/ 88 h 137"/>
                <a:gd name="T42" fmla="*/ 94 w 111"/>
                <a:gd name="T43" fmla="*/ 92 h 137"/>
                <a:gd name="T44" fmla="*/ 73 w 111"/>
                <a:gd name="T45" fmla="*/ 126 h 137"/>
                <a:gd name="T46" fmla="*/ 73 w 111"/>
                <a:gd name="T47" fmla="*/ 126 h 137"/>
                <a:gd name="T48" fmla="*/ 73 w 111"/>
                <a:gd name="T49" fmla="*/ 12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1" h="137">
                  <a:moveTo>
                    <a:pt x="73" y="126"/>
                  </a:moveTo>
                  <a:lnTo>
                    <a:pt x="56" y="121"/>
                  </a:lnTo>
                  <a:lnTo>
                    <a:pt x="14" y="137"/>
                  </a:lnTo>
                  <a:lnTo>
                    <a:pt x="0" y="126"/>
                  </a:lnTo>
                  <a:lnTo>
                    <a:pt x="0" y="92"/>
                  </a:lnTo>
                  <a:lnTo>
                    <a:pt x="0" y="71"/>
                  </a:lnTo>
                  <a:lnTo>
                    <a:pt x="35" y="26"/>
                  </a:lnTo>
                  <a:lnTo>
                    <a:pt x="42" y="17"/>
                  </a:lnTo>
                  <a:lnTo>
                    <a:pt x="56" y="33"/>
                  </a:lnTo>
                  <a:lnTo>
                    <a:pt x="68" y="26"/>
                  </a:lnTo>
                  <a:lnTo>
                    <a:pt x="68" y="17"/>
                  </a:lnTo>
                  <a:lnTo>
                    <a:pt x="89" y="0"/>
                  </a:lnTo>
                  <a:lnTo>
                    <a:pt x="106" y="26"/>
                  </a:lnTo>
                  <a:lnTo>
                    <a:pt x="111" y="55"/>
                  </a:lnTo>
                  <a:lnTo>
                    <a:pt x="78" y="71"/>
                  </a:lnTo>
                  <a:lnTo>
                    <a:pt x="68" y="71"/>
                  </a:lnTo>
                  <a:lnTo>
                    <a:pt x="56" y="88"/>
                  </a:lnTo>
                  <a:lnTo>
                    <a:pt x="42" y="88"/>
                  </a:lnTo>
                  <a:lnTo>
                    <a:pt x="52" y="92"/>
                  </a:lnTo>
                  <a:lnTo>
                    <a:pt x="73" y="88"/>
                  </a:lnTo>
                  <a:lnTo>
                    <a:pt x="89" y="88"/>
                  </a:lnTo>
                  <a:lnTo>
                    <a:pt x="94" y="92"/>
                  </a:lnTo>
                  <a:lnTo>
                    <a:pt x="73" y="126"/>
                  </a:lnTo>
                  <a:lnTo>
                    <a:pt x="73" y="126"/>
                  </a:lnTo>
                  <a:lnTo>
                    <a:pt x="73" y="1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45" name="Freeform 430">
              <a:extLst>
                <a:ext uri="{FF2B5EF4-FFF2-40B4-BE49-F238E27FC236}">
                  <a16:creationId xmlns:a16="http://schemas.microsoft.com/office/drawing/2014/main" id="{38EB3000-1897-4F75-AA14-BBCC5F703C1C}"/>
                </a:ext>
              </a:extLst>
            </p:cNvPr>
            <p:cNvSpPr>
              <a:spLocks/>
            </p:cNvSpPr>
            <p:nvPr/>
          </p:nvSpPr>
          <p:spPr bwMode="gray">
            <a:xfrm>
              <a:off x="7440895" y="3095882"/>
              <a:ext cx="348273" cy="305494"/>
            </a:xfrm>
            <a:custGeom>
              <a:avLst/>
              <a:gdLst>
                <a:gd name="T0" fmla="*/ 468 w 846"/>
                <a:gd name="T1" fmla="*/ 742 h 742"/>
                <a:gd name="T2" fmla="*/ 468 w 846"/>
                <a:gd name="T3" fmla="*/ 725 h 742"/>
                <a:gd name="T4" fmla="*/ 17 w 846"/>
                <a:gd name="T5" fmla="*/ 742 h 742"/>
                <a:gd name="T6" fmla="*/ 17 w 846"/>
                <a:gd name="T7" fmla="*/ 189 h 742"/>
                <a:gd name="T8" fmla="*/ 17 w 846"/>
                <a:gd name="T9" fmla="*/ 66 h 742"/>
                <a:gd name="T10" fmla="*/ 31 w 846"/>
                <a:gd name="T11" fmla="*/ 0 h 742"/>
                <a:gd name="T12" fmla="*/ 38 w 846"/>
                <a:gd name="T13" fmla="*/ 10 h 742"/>
                <a:gd name="T14" fmla="*/ 177 w 846"/>
                <a:gd name="T15" fmla="*/ 21 h 742"/>
                <a:gd name="T16" fmla="*/ 198 w 846"/>
                <a:gd name="T17" fmla="*/ 38 h 742"/>
                <a:gd name="T18" fmla="*/ 224 w 846"/>
                <a:gd name="T19" fmla="*/ 45 h 742"/>
                <a:gd name="T20" fmla="*/ 300 w 846"/>
                <a:gd name="T21" fmla="*/ 62 h 742"/>
                <a:gd name="T22" fmla="*/ 371 w 846"/>
                <a:gd name="T23" fmla="*/ 21 h 742"/>
                <a:gd name="T24" fmla="*/ 387 w 846"/>
                <a:gd name="T25" fmla="*/ 29 h 742"/>
                <a:gd name="T26" fmla="*/ 404 w 846"/>
                <a:gd name="T27" fmla="*/ 10 h 742"/>
                <a:gd name="T28" fmla="*/ 409 w 846"/>
                <a:gd name="T29" fmla="*/ 21 h 742"/>
                <a:gd name="T30" fmla="*/ 446 w 846"/>
                <a:gd name="T31" fmla="*/ 10 h 742"/>
                <a:gd name="T32" fmla="*/ 480 w 846"/>
                <a:gd name="T33" fmla="*/ 10 h 742"/>
                <a:gd name="T34" fmla="*/ 522 w 846"/>
                <a:gd name="T35" fmla="*/ 29 h 742"/>
                <a:gd name="T36" fmla="*/ 494 w 846"/>
                <a:gd name="T37" fmla="*/ 29 h 742"/>
                <a:gd name="T38" fmla="*/ 510 w 846"/>
                <a:gd name="T39" fmla="*/ 29 h 742"/>
                <a:gd name="T40" fmla="*/ 532 w 846"/>
                <a:gd name="T41" fmla="*/ 38 h 742"/>
                <a:gd name="T42" fmla="*/ 555 w 846"/>
                <a:gd name="T43" fmla="*/ 45 h 742"/>
                <a:gd name="T44" fmla="*/ 586 w 846"/>
                <a:gd name="T45" fmla="*/ 45 h 742"/>
                <a:gd name="T46" fmla="*/ 628 w 846"/>
                <a:gd name="T47" fmla="*/ 38 h 742"/>
                <a:gd name="T48" fmla="*/ 673 w 846"/>
                <a:gd name="T49" fmla="*/ 29 h 742"/>
                <a:gd name="T50" fmla="*/ 699 w 846"/>
                <a:gd name="T51" fmla="*/ 177 h 742"/>
                <a:gd name="T52" fmla="*/ 678 w 846"/>
                <a:gd name="T53" fmla="*/ 260 h 742"/>
                <a:gd name="T54" fmla="*/ 661 w 846"/>
                <a:gd name="T55" fmla="*/ 305 h 742"/>
                <a:gd name="T56" fmla="*/ 591 w 846"/>
                <a:gd name="T57" fmla="*/ 244 h 742"/>
                <a:gd name="T58" fmla="*/ 565 w 846"/>
                <a:gd name="T59" fmla="*/ 170 h 742"/>
                <a:gd name="T60" fmla="*/ 532 w 846"/>
                <a:gd name="T61" fmla="*/ 166 h 742"/>
                <a:gd name="T62" fmla="*/ 555 w 846"/>
                <a:gd name="T63" fmla="*/ 222 h 742"/>
                <a:gd name="T64" fmla="*/ 619 w 846"/>
                <a:gd name="T65" fmla="*/ 288 h 742"/>
                <a:gd name="T66" fmla="*/ 607 w 846"/>
                <a:gd name="T67" fmla="*/ 298 h 742"/>
                <a:gd name="T68" fmla="*/ 640 w 846"/>
                <a:gd name="T69" fmla="*/ 343 h 742"/>
                <a:gd name="T70" fmla="*/ 645 w 846"/>
                <a:gd name="T71" fmla="*/ 388 h 742"/>
                <a:gd name="T72" fmla="*/ 725 w 846"/>
                <a:gd name="T73" fmla="*/ 553 h 742"/>
                <a:gd name="T74" fmla="*/ 754 w 846"/>
                <a:gd name="T75" fmla="*/ 598 h 742"/>
                <a:gd name="T76" fmla="*/ 763 w 846"/>
                <a:gd name="T77" fmla="*/ 671 h 742"/>
                <a:gd name="T78" fmla="*/ 801 w 846"/>
                <a:gd name="T79" fmla="*/ 692 h 742"/>
                <a:gd name="T80" fmla="*/ 846 w 846"/>
                <a:gd name="T81" fmla="*/ 742 h 742"/>
                <a:gd name="T82" fmla="*/ 846 w 846"/>
                <a:gd name="T83" fmla="*/ 74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6" h="742">
                  <a:moveTo>
                    <a:pt x="846" y="742"/>
                  </a:moveTo>
                  <a:lnTo>
                    <a:pt x="468" y="742"/>
                  </a:lnTo>
                  <a:lnTo>
                    <a:pt x="480" y="737"/>
                  </a:lnTo>
                  <a:lnTo>
                    <a:pt x="468" y="725"/>
                  </a:lnTo>
                  <a:lnTo>
                    <a:pt x="458" y="742"/>
                  </a:lnTo>
                  <a:lnTo>
                    <a:pt x="17" y="742"/>
                  </a:lnTo>
                  <a:lnTo>
                    <a:pt x="17" y="314"/>
                  </a:lnTo>
                  <a:lnTo>
                    <a:pt x="17" y="189"/>
                  </a:lnTo>
                  <a:lnTo>
                    <a:pt x="0" y="116"/>
                  </a:lnTo>
                  <a:lnTo>
                    <a:pt x="17" y="66"/>
                  </a:lnTo>
                  <a:lnTo>
                    <a:pt x="9" y="21"/>
                  </a:lnTo>
                  <a:lnTo>
                    <a:pt x="31" y="0"/>
                  </a:lnTo>
                  <a:lnTo>
                    <a:pt x="31" y="5"/>
                  </a:lnTo>
                  <a:lnTo>
                    <a:pt x="38" y="10"/>
                  </a:lnTo>
                  <a:lnTo>
                    <a:pt x="85" y="0"/>
                  </a:lnTo>
                  <a:lnTo>
                    <a:pt x="177" y="21"/>
                  </a:lnTo>
                  <a:lnTo>
                    <a:pt x="189" y="29"/>
                  </a:lnTo>
                  <a:lnTo>
                    <a:pt x="198" y="38"/>
                  </a:lnTo>
                  <a:lnTo>
                    <a:pt x="215" y="29"/>
                  </a:lnTo>
                  <a:lnTo>
                    <a:pt x="224" y="45"/>
                  </a:lnTo>
                  <a:lnTo>
                    <a:pt x="253" y="45"/>
                  </a:lnTo>
                  <a:lnTo>
                    <a:pt x="300" y="62"/>
                  </a:lnTo>
                  <a:lnTo>
                    <a:pt x="333" y="55"/>
                  </a:lnTo>
                  <a:lnTo>
                    <a:pt x="371" y="21"/>
                  </a:lnTo>
                  <a:lnTo>
                    <a:pt x="376" y="29"/>
                  </a:lnTo>
                  <a:lnTo>
                    <a:pt x="387" y="29"/>
                  </a:lnTo>
                  <a:lnTo>
                    <a:pt x="392" y="5"/>
                  </a:lnTo>
                  <a:lnTo>
                    <a:pt x="404" y="10"/>
                  </a:lnTo>
                  <a:lnTo>
                    <a:pt x="442" y="5"/>
                  </a:lnTo>
                  <a:lnTo>
                    <a:pt x="409" y="21"/>
                  </a:lnTo>
                  <a:lnTo>
                    <a:pt x="430" y="10"/>
                  </a:lnTo>
                  <a:lnTo>
                    <a:pt x="446" y="10"/>
                  </a:lnTo>
                  <a:lnTo>
                    <a:pt x="442" y="5"/>
                  </a:lnTo>
                  <a:lnTo>
                    <a:pt x="480" y="10"/>
                  </a:lnTo>
                  <a:lnTo>
                    <a:pt x="501" y="5"/>
                  </a:lnTo>
                  <a:lnTo>
                    <a:pt x="522" y="29"/>
                  </a:lnTo>
                  <a:lnTo>
                    <a:pt x="501" y="5"/>
                  </a:lnTo>
                  <a:lnTo>
                    <a:pt x="494" y="29"/>
                  </a:lnTo>
                  <a:lnTo>
                    <a:pt x="501" y="38"/>
                  </a:lnTo>
                  <a:lnTo>
                    <a:pt x="510" y="29"/>
                  </a:lnTo>
                  <a:lnTo>
                    <a:pt x="517" y="45"/>
                  </a:lnTo>
                  <a:lnTo>
                    <a:pt x="532" y="38"/>
                  </a:lnTo>
                  <a:lnTo>
                    <a:pt x="522" y="29"/>
                  </a:lnTo>
                  <a:lnTo>
                    <a:pt x="555" y="45"/>
                  </a:lnTo>
                  <a:lnTo>
                    <a:pt x="586" y="38"/>
                  </a:lnTo>
                  <a:lnTo>
                    <a:pt x="586" y="45"/>
                  </a:lnTo>
                  <a:lnTo>
                    <a:pt x="607" y="38"/>
                  </a:lnTo>
                  <a:lnTo>
                    <a:pt x="628" y="38"/>
                  </a:lnTo>
                  <a:lnTo>
                    <a:pt x="661" y="21"/>
                  </a:lnTo>
                  <a:lnTo>
                    <a:pt x="673" y="29"/>
                  </a:lnTo>
                  <a:lnTo>
                    <a:pt x="711" y="170"/>
                  </a:lnTo>
                  <a:lnTo>
                    <a:pt x="699" y="177"/>
                  </a:lnTo>
                  <a:lnTo>
                    <a:pt x="695" y="227"/>
                  </a:lnTo>
                  <a:lnTo>
                    <a:pt x="678" y="260"/>
                  </a:lnTo>
                  <a:lnTo>
                    <a:pt x="678" y="281"/>
                  </a:lnTo>
                  <a:lnTo>
                    <a:pt x="661" y="305"/>
                  </a:lnTo>
                  <a:lnTo>
                    <a:pt x="628" y="281"/>
                  </a:lnTo>
                  <a:lnTo>
                    <a:pt x="591" y="244"/>
                  </a:lnTo>
                  <a:lnTo>
                    <a:pt x="591" y="206"/>
                  </a:lnTo>
                  <a:lnTo>
                    <a:pt x="565" y="170"/>
                  </a:lnTo>
                  <a:lnTo>
                    <a:pt x="548" y="121"/>
                  </a:lnTo>
                  <a:lnTo>
                    <a:pt x="532" y="166"/>
                  </a:lnTo>
                  <a:lnTo>
                    <a:pt x="548" y="177"/>
                  </a:lnTo>
                  <a:lnTo>
                    <a:pt x="555" y="222"/>
                  </a:lnTo>
                  <a:lnTo>
                    <a:pt x="586" y="265"/>
                  </a:lnTo>
                  <a:lnTo>
                    <a:pt x="619" y="288"/>
                  </a:lnTo>
                  <a:lnTo>
                    <a:pt x="619" y="298"/>
                  </a:lnTo>
                  <a:lnTo>
                    <a:pt x="607" y="298"/>
                  </a:lnTo>
                  <a:lnTo>
                    <a:pt x="607" y="314"/>
                  </a:lnTo>
                  <a:lnTo>
                    <a:pt x="640" y="343"/>
                  </a:lnTo>
                  <a:lnTo>
                    <a:pt x="645" y="371"/>
                  </a:lnTo>
                  <a:lnTo>
                    <a:pt x="645" y="388"/>
                  </a:lnTo>
                  <a:lnTo>
                    <a:pt x="683" y="466"/>
                  </a:lnTo>
                  <a:lnTo>
                    <a:pt x="725" y="553"/>
                  </a:lnTo>
                  <a:lnTo>
                    <a:pt x="780" y="598"/>
                  </a:lnTo>
                  <a:lnTo>
                    <a:pt x="754" y="598"/>
                  </a:lnTo>
                  <a:lnTo>
                    <a:pt x="754" y="631"/>
                  </a:lnTo>
                  <a:lnTo>
                    <a:pt x="763" y="671"/>
                  </a:lnTo>
                  <a:lnTo>
                    <a:pt x="780" y="688"/>
                  </a:lnTo>
                  <a:lnTo>
                    <a:pt x="801" y="692"/>
                  </a:lnTo>
                  <a:lnTo>
                    <a:pt x="824" y="721"/>
                  </a:lnTo>
                  <a:lnTo>
                    <a:pt x="846" y="742"/>
                  </a:lnTo>
                  <a:lnTo>
                    <a:pt x="846" y="742"/>
                  </a:lnTo>
                  <a:lnTo>
                    <a:pt x="846" y="74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46" name="Freeform 432">
              <a:extLst>
                <a:ext uri="{FF2B5EF4-FFF2-40B4-BE49-F238E27FC236}">
                  <a16:creationId xmlns:a16="http://schemas.microsoft.com/office/drawing/2014/main" id="{7B155528-D372-41EC-ABC2-5B192FE892A0}"/>
                </a:ext>
              </a:extLst>
            </p:cNvPr>
            <p:cNvSpPr>
              <a:spLocks noEditPoints="1"/>
            </p:cNvSpPr>
            <p:nvPr/>
          </p:nvSpPr>
          <p:spPr bwMode="gray">
            <a:xfrm>
              <a:off x="6971179" y="3955546"/>
              <a:ext cx="82746" cy="81931"/>
            </a:xfrm>
            <a:custGeom>
              <a:avLst/>
              <a:gdLst>
                <a:gd name="T0" fmla="*/ 26 w 201"/>
                <a:gd name="T1" fmla="*/ 17 h 199"/>
                <a:gd name="T2" fmla="*/ 14 w 201"/>
                <a:gd name="T3" fmla="*/ 41 h 199"/>
                <a:gd name="T4" fmla="*/ 0 w 201"/>
                <a:gd name="T5" fmla="*/ 33 h 199"/>
                <a:gd name="T6" fmla="*/ 0 w 201"/>
                <a:gd name="T7" fmla="*/ 17 h 199"/>
                <a:gd name="T8" fmla="*/ 5 w 201"/>
                <a:gd name="T9" fmla="*/ 17 h 199"/>
                <a:gd name="T10" fmla="*/ 14 w 201"/>
                <a:gd name="T11" fmla="*/ 0 h 199"/>
                <a:gd name="T12" fmla="*/ 26 w 201"/>
                <a:gd name="T13" fmla="*/ 0 h 199"/>
                <a:gd name="T14" fmla="*/ 26 w 201"/>
                <a:gd name="T15" fmla="*/ 17 h 199"/>
                <a:gd name="T16" fmla="*/ 26 w 201"/>
                <a:gd name="T17" fmla="*/ 17 h 199"/>
                <a:gd name="T18" fmla="*/ 26 w 201"/>
                <a:gd name="T19" fmla="*/ 17 h 199"/>
                <a:gd name="T20" fmla="*/ 92 w 201"/>
                <a:gd name="T21" fmla="*/ 95 h 199"/>
                <a:gd name="T22" fmla="*/ 109 w 201"/>
                <a:gd name="T23" fmla="*/ 111 h 199"/>
                <a:gd name="T24" fmla="*/ 201 w 201"/>
                <a:gd name="T25" fmla="*/ 111 h 199"/>
                <a:gd name="T26" fmla="*/ 201 w 201"/>
                <a:gd name="T27" fmla="*/ 199 h 199"/>
                <a:gd name="T28" fmla="*/ 109 w 201"/>
                <a:gd name="T29" fmla="*/ 199 h 199"/>
                <a:gd name="T30" fmla="*/ 97 w 201"/>
                <a:gd name="T31" fmla="*/ 199 h 199"/>
                <a:gd name="T32" fmla="*/ 92 w 201"/>
                <a:gd name="T33" fmla="*/ 199 h 199"/>
                <a:gd name="T34" fmla="*/ 92 w 201"/>
                <a:gd name="T35" fmla="*/ 187 h 199"/>
                <a:gd name="T36" fmla="*/ 76 w 201"/>
                <a:gd name="T37" fmla="*/ 187 h 199"/>
                <a:gd name="T38" fmla="*/ 59 w 201"/>
                <a:gd name="T39" fmla="*/ 182 h 199"/>
                <a:gd name="T40" fmla="*/ 92 w 201"/>
                <a:gd name="T41" fmla="*/ 128 h 199"/>
                <a:gd name="T42" fmla="*/ 92 w 201"/>
                <a:gd name="T43" fmla="*/ 95 h 199"/>
                <a:gd name="T44" fmla="*/ 92 w 201"/>
                <a:gd name="T45" fmla="*/ 95 h 199"/>
                <a:gd name="T46" fmla="*/ 92 w 201"/>
                <a:gd name="T47" fmla="*/ 9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1" h="199">
                  <a:moveTo>
                    <a:pt x="26" y="17"/>
                  </a:moveTo>
                  <a:lnTo>
                    <a:pt x="14" y="41"/>
                  </a:lnTo>
                  <a:lnTo>
                    <a:pt x="0" y="33"/>
                  </a:lnTo>
                  <a:lnTo>
                    <a:pt x="0" y="17"/>
                  </a:lnTo>
                  <a:lnTo>
                    <a:pt x="5" y="17"/>
                  </a:lnTo>
                  <a:lnTo>
                    <a:pt x="14" y="0"/>
                  </a:lnTo>
                  <a:lnTo>
                    <a:pt x="26" y="0"/>
                  </a:lnTo>
                  <a:lnTo>
                    <a:pt x="26" y="17"/>
                  </a:lnTo>
                  <a:lnTo>
                    <a:pt x="26" y="17"/>
                  </a:lnTo>
                  <a:lnTo>
                    <a:pt x="26" y="17"/>
                  </a:lnTo>
                  <a:close/>
                  <a:moveTo>
                    <a:pt x="92" y="95"/>
                  </a:moveTo>
                  <a:lnTo>
                    <a:pt x="109" y="111"/>
                  </a:lnTo>
                  <a:lnTo>
                    <a:pt x="201" y="111"/>
                  </a:lnTo>
                  <a:lnTo>
                    <a:pt x="201" y="199"/>
                  </a:lnTo>
                  <a:lnTo>
                    <a:pt x="109" y="199"/>
                  </a:lnTo>
                  <a:lnTo>
                    <a:pt x="97" y="199"/>
                  </a:lnTo>
                  <a:lnTo>
                    <a:pt x="92" y="199"/>
                  </a:lnTo>
                  <a:lnTo>
                    <a:pt x="92" y="187"/>
                  </a:lnTo>
                  <a:lnTo>
                    <a:pt x="76" y="187"/>
                  </a:lnTo>
                  <a:lnTo>
                    <a:pt x="59" y="182"/>
                  </a:lnTo>
                  <a:lnTo>
                    <a:pt x="92" y="128"/>
                  </a:lnTo>
                  <a:lnTo>
                    <a:pt x="92" y="95"/>
                  </a:lnTo>
                  <a:lnTo>
                    <a:pt x="92" y="95"/>
                  </a:lnTo>
                  <a:lnTo>
                    <a:pt x="92" y="9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47" name="Freeform 434">
              <a:extLst>
                <a:ext uri="{FF2B5EF4-FFF2-40B4-BE49-F238E27FC236}">
                  <a16:creationId xmlns:a16="http://schemas.microsoft.com/office/drawing/2014/main" id="{8CEAE99F-7ED9-4694-91B4-19FE845172A9}"/>
                </a:ext>
              </a:extLst>
            </p:cNvPr>
            <p:cNvSpPr>
              <a:spLocks noEditPoints="1"/>
            </p:cNvSpPr>
            <p:nvPr/>
          </p:nvSpPr>
          <p:spPr bwMode="gray">
            <a:xfrm>
              <a:off x="7778465" y="3524890"/>
              <a:ext cx="192250" cy="172921"/>
            </a:xfrm>
            <a:custGeom>
              <a:avLst/>
              <a:gdLst>
                <a:gd name="T0" fmla="*/ 446 w 467"/>
                <a:gd name="T1" fmla="*/ 404 h 420"/>
                <a:gd name="T2" fmla="*/ 434 w 467"/>
                <a:gd name="T3" fmla="*/ 420 h 420"/>
                <a:gd name="T4" fmla="*/ 413 w 467"/>
                <a:gd name="T5" fmla="*/ 416 h 420"/>
                <a:gd name="T6" fmla="*/ 380 w 467"/>
                <a:gd name="T7" fmla="*/ 383 h 420"/>
                <a:gd name="T8" fmla="*/ 338 w 467"/>
                <a:gd name="T9" fmla="*/ 326 h 420"/>
                <a:gd name="T10" fmla="*/ 269 w 467"/>
                <a:gd name="T11" fmla="*/ 260 h 420"/>
                <a:gd name="T12" fmla="*/ 215 w 467"/>
                <a:gd name="T13" fmla="*/ 255 h 420"/>
                <a:gd name="T14" fmla="*/ 182 w 467"/>
                <a:gd name="T15" fmla="*/ 250 h 420"/>
                <a:gd name="T16" fmla="*/ 144 w 467"/>
                <a:gd name="T17" fmla="*/ 272 h 420"/>
                <a:gd name="T18" fmla="*/ 113 w 467"/>
                <a:gd name="T19" fmla="*/ 250 h 420"/>
                <a:gd name="T20" fmla="*/ 80 w 467"/>
                <a:gd name="T21" fmla="*/ 293 h 420"/>
                <a:gd name="T22" fmla="*/ 52 w 467"/>
                <a:gd name="T23" fmla="*/ 272 h 420"/>
                <a:gd name="T24" fmla="*/ 26 w 467"/>
                <a:gd name="T25" fmla="*/ 272 h 420"/>
                <a:gd name="T26" fmla="*/ 0 w 467"/>
                <a:gd name="T27" fmla="*/ 217 h 420"/>
                <a:gd name="T28" fmla="*/ 26 w 467"/>
                <a:gd name="T29" fmla="*/ 111 h 420"/>
                <a:gd name="T30" fmla="*/ 38 w 467"/>
                <a:gd name="T31" fmla="*/ 73 h 420"/>
                <a:gd name="T32" fmla="*/ 75 w 467"/>
                <a:gd name="T33" fmla="*/ 57 h 420"/>
                <a:gd name="T34" fmla="*/ 127 w 467"/>
                <a:gd name="T35" fmla="*/ 40 h 420"/>
                <a:gd name="T36" fmla="*/ 182 w 467"/>
                <a:gd name="T37" fmla="*/ 66 h 420"/>
                <a:gd name="T38" fmla="*/ 203 w 467"/>
                <a:gd name="T39" fmla="*/ 168 h 420"/>
                <a:gd name="T40" fmla="*/ 219 w 467"/>
                <a:gd name="T41" fmla="*/ 194 h 420"/>
                <a:gd name="T42" fmla="*/ 236 w 467"/>
                <a:gd name="T43" fmla="*/ 222 h 420"/>
                <a:gd name="T44" fmla="*/ 236 w 467"/>
                <a:gd name="T45" fmla="*/ 201 h 420"/>
                <a:gd name="T46" fmla="*/ 257 w 467"/>
                <a:gd name="T47" fmla="*/ 222 h 420"/>
                <a:gd name="T48" fmla="*/ 283 w 467"/>
                <a:gd name="T49" fmla="*/ 222 h 420"/>
                <a:gd name="T50" fmla="*/ 304 w 467"/>
                <a:gd name="T51" fmla="*/ 250 h 420"/>
                <a:gd name="T52" fmla="*/ 366 w 467"/>
                <a:gd name="T53" fmla="*/ 305 h 420"/>
                <a:gd name="T54" fmla="*/ 397 w 467"/>
                <a:gd name="T55" fmla="*/ 326 h 420"/>
                <a:gd name="T56" fmla="*/ 401 w 467"/>
                <a:gd name="T57" fmla="*/ 326 h 420"/>
                <a:gd name="T58" fmla="*/ 434 w 467"/>
                <a:gd name="T59" fmla="*/ 366 h 420"/>
                <a:gd name="T60" fmla="*/ 451 w 467"/>
                <a:gd name="T61" fmla="*/ 387 h 420"/>
                <a:gd name="T62" fmla="*/ 467 w 467"/>
                <a:gd name="T63" fmla="*/ 387 h 420"/>
                <a:gd name="T64" fmla="*/ 467 w 467"/>
                <a:gd name="T65" fmla="*/ 387 h 420"/>
                <a:gd name="T66" fmla="*/ 252 w 467"/>
                <a:gd name="T67" fmla="*/ 144 h 420"/>
                <a:gd name="T68" fmla="*/ 257 w 467"/>
                <a:gd name="T69" fmla="*/ 149 h 420"/>
                <a:gd name="T70" fmla="*/ 252 w 467"/>
                <a:gd name="T71" fmla="*/ 149 h 420"/>
                <a:gd name="T72" fmla="*/ 252 w 467"/>
                <a:gd name="T73" fmla="*/ 161 h 420"/>
                <a:gd name="T74" fmla="*/ 257 w 467"/>
                <a:gd name="T75" fmla="*/ 177 h 420"/>
                <a:gd name="T76" fmla="*/ 274 w 467"/>
                <a:gd name="T77" fmla="*/ 184 h 420"/>
                <a:gd name="T78" fmla="*/ 241 w 467"/>
                <a:gd name="T79" fmla="*/ 177 h 420"/>
                <a:gd name="T80" fmla="*/ 241 w 467"/>
                <a:gd name="T81" fmla="*/ 168 h 420"/>
                <a:gd name="T82" fmla="*/ 252 w 467"/>
                <a:gd name="T83" fmla="*/ 161 h 420"/>
                <a:gd name="T84" fmla="*/ 252 w 467"/>
                <a:gd name="T85" fmla="*/ 161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7" h="420">
                  <a:moveTo>
                    <a:pt x="467" y="387"/>
                  </a:moveTo>
                  <a:lnTo>
                    <a:pt x="446" y="404"/>
                  </a:lnTo>
                  <a:lnTo>
                    <a:pt x="446" y="416"/>
                  </a:lnTo>
                  <a:lnTo>
                    <a:pt x="434" y="420"/>
                  </a:lnTo>
                  <a:lnTo>
                    <a:pt x="418" y="404"/>
                  </a:lnTo>
                  <a:lnTo>
                    <a:pt x="413" y="416"/>
                  </a:lnTo>
                  <a:lnTo>
                    <a:pt x="401" y="387"/>
                  </a:lnTo>
                  <a:lnTo>
                    <a:pt x="380" y="383"/>
                  </a:lnTo>
                  <a:lnTo>
                    <a:pt x="375" y="359"/>
                  </a:lnTo>
                  <a:lnTo>
                    <a:pt x="338" y="326"/>
                  </a:lnTo>
                  <a:lnTo>
                    <a:pt x="304" y="288"/>
                  </a:lnTo>
                  <a:lnTo>
                    <a:pt x="269" y="260"/>
                  </a:lnTo>
                  <a:lnTo>
                    <a:pt x="241" y="272"/>
                  </a:lnTo>
                  <a:lnTo>
                    <a:pt x="215" y="255"/>
                  </a:lnTo>
                  <a:lnTo>
                    <a:pt x="198" y="260"/>
                  </a:lnTo>
                  <a:lnTo>
                    <a:pt x="182" y="250"/>
                  </a:lnTo>
                  <a:lnTo>
                    <a:pt x="177" y="260"/>
                  </a:lnTo>
                  <a:lnTo>
                    <a:pt x="144" y="272"/>
                  </a:lnTo>
                  <a:lnTo>
                    <a:pt x="127" y="250"/>
                  </a:lnTo>
                  <a:lnTo>
                    <a:pt x="113" y="250"/>
                  </a:lnTo>
                  <a:lnTo>
                    <a:pt x="106" y="234"/>
                  </a:lnTo>
                  <a:lnTo>
                    <a:pt x="80" y="293"/>
                  </a:lnTo>
                  <a:lnTo>
                    <a:pt x="59" y="260"/>
                  </a:lnTo>
                  <a:lnTo>
                    <a:pt x="52" y="272"/>
                  </a:lnTo>
                  <a:lnTo>
                    <a:pt x="38" y="276"/>
                  </a:lnTo>
                  <a:lnTo>
                    <a:pt x="26" y="272"/>
                  </a:lnTo>
                  <a:lnTo>
                    <a:pt x="4" y="276"/>
                  </a:lnTo>
                  <a:lnTo>
                    <a:pt x="0" y="217"/>
                  </a:lnTo>
                  <a:lnTo>
                    <a:pt x="38" y="127"/>
                  </a:lnTo>
                  <a:lnTo>
                    <a:pt x="26" y="111"/>
                  </a:lnTo>
                  <a:lnTo>
                    <a:pt x="38" y="94"/>
                  </a:lnTo>
                  <a:lnTo>
                    <a:pt x="38" y="73"/>
                  </a:lnTo>
                  <a:lnTo>
                    <a:pt x="68" y="73"/>
                  </a:lnTo>
                  <a:lnTo>
                    <a:pt x="75" y="57"/>
                  </a:lnTo>
                  <a:lnTo>
                    <a:pt x="113" y="33"/>
                  </a:lnTo>
                  <a:lnTo>
                    <a:pt x="127" y="40"/>
                  </a:lnTo>
                  <a:lnTo>
                    <a:pt x="149" y="0"/>
                  </a:lnTo>
                  <a:lnTo>
                    <a:pt x="182" y="66"/>
                  </a:lnTo>
                  <a:lnTo>
                    <a:pt x="198" y="149"/>
                  </a:lnTo>
                  <a:lnTo>
                    <a:pt x="203" y="168"/>
                  </a:lnTo>
                  <a:lnTo>
                    <a:pt x="215" y="184"/>
                  </a:lnTo>
                  <a:lnTo>
                    <a:pt x="219" y="194"/>
                  </a:lnTo>
                  <a:lnTo>
                    <a:pt x="231" y="217"/>
                  </a:lnTo>
                  <a:lnTo>
                    <a:pt x="236" y="222"/>
                  </a:lnTo>
                  <a:lnTo>
                    <a:pt x="236" y="217"/>
                  </a:lnTo>
                  <a:lnTo>
                    <a:pt x="236" y="201"/>
                  </a:lnTo>
                  <a:lnTo>
                    <a:pt x="241" y="194"/>
                  </a:lnTo>
                  <a:lnTo>
                    <a:pt x="257" y="222"/>
                  </a:lnTo>
                  <a:lnTo>
                    <a:pt x="269" y="234"/>
                  </a:lnTo>
                  <a:lnTo>
                    <a:pt x="283" y="222"/>
                  </a:lnTo>
                  <a:lnTo>
                    <a:pt x="295" y="234"/>
                  </a:lnTo>
                  <a:lnTo>
                    <a:pt x="304" y="250"/>
                  </a:lnTo>
                  <a:lnTo>
                    <a:pt x="328" y="255"/>
                  </a:lnTo>
                  <a:lnTo>
                    <a:pt x="366" y="305"/>
                  </a:lnTo>
                  <a:lnTo>
                    <a:pt x="380" y="309"/>
                  </a:lnTo>
                  <a:lnTo>
                    <a:pt x="397" y="326"/>
                  </a:lnTo>
                  <a:lnTo>
                    <a:pt x="397" y="326"/>
                  </a:lnTo>
                  <a:lnTo>
                    <a:pt x="401" y="326"/>
                  </a:lnTo>
                  <a:lnTo>
                    <a:pt x="413" y="359"/>
                  </a:lnTo>
                  <a:lnTo>
                    <a:pt x="434" y="366"/>
                  </a:lnTo>
                  <a:lnTo>
                    <a:pt x="446" y="383"/>
                  </a:lnTo>
                  <a:lnTo>
                    <a:pt x="451" y="387"/>
                  </a:lnTo>
                  <a:lnTo>
                    <a:pt x="456" y="383"/>
                  </a:lnTo>
                  <a:lnTo>
                    <a:pt x="467" y="387"/>
                  </a:lnTo>
                  <a:lnTo>
                    <a:pt x="467" y="387"/>
                  </a:lnTo>
                  <a:lnTo>
                    <a:pt x="467" y="387"/>
                  </a:lnTo>
                  <a:close/>
                  <a:moveTo>
                    <a:pt x="252" y="149"/>
                  </a:moveTo>
                  <a:lnTo>
                    <a:pt x="252" y="144"/>
                  </a:lnTo>
                  <a:lnTo>
                    <a:pt x="257" y="144"/>
                  </a:lnTo>
                  <a:lnTo>
                    <a:pt x="257" y="149"/>
                  </a:lnTo>
                  <a:lnTo>
                    <a:pt x="252" y="149"/>
                  </a:lnTo>
                  <a:lnTo>
                    <a:pt x="252" y="149"/>
                  </a:lnTo>
                  <a:lnTo>
                    <a:pt x="252" y="149"/>
                  </a:lnTo>
                  <a:close/>
                  <a:moveTo>
                    <a:pt x="252" y="161"/>
                  </a:moveTo>
                  <a:lnTo>
                    <a:pt x="257" y="168"/>
                  </a:lnTo>
                  <a:lnTo>
                    <a:pt x="257" y="177"/>
                  </a:lnTo>
                  <a:lnTo>
                    <a:pt x="269" y="177"/>
                  </a:lnTo>
                  <a:lnTo>
                    <a:pt x="274" y="184"/>
                  </a:lnTo>
                  <a:lnTo>
                    <a:pt x="241" y="184"/>
                  </a:lnTo>
                  <a:lnTo>
                    <a:pt x="241" y="177"/>
                  </a:lnTo>
                  <a:lnTo>
                    <a:pt x="252" y="177"/>
                  </a:lnTo>
                  <a:lnTo>
                    <a:pt x="241" y="168"/>
                  </a:lnTo>
                  <a:lnTo>
                    <a:pt x="252" y="168"/>
                  </a:lnTo>
                  <a:lnTo>
                    <a:pt x="252" y="161"/>
                  </a:lnTo>
                  <a:lnTo>
                    <a:pt x="252" y="161"/>
                  </a:lnTo>
                  <a:lnTo>
                    <a:pt x="252" y="16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48" name="Freeform 436">
              <a:extLst>
                <a:ext uri="{FF2B5EF4-FFF2-40B4-BE49-F238E27FC236}">
                  <a16:creationId xmlns:a16="http://schemas.microsoft.com/office/drawing/2014/main" id="{4FD25ACB-2F55-4354-A9AB-263337CF3AA1}"/>
                </a:ext>
              </a:extLst>
            </p:cNvPr>
            <p:cNvSpPr>
              <a:spLocks/>
            </p:cNvSpPr>
            <p:nvPr/>
          </p:nvSpPr>
          <p:spPr bwMode="gray">
            <a:xfrm>
              <a:off x="7677194" y="3619997"/>
              <a:ext cx="434724" cy="345430"/>
            </a:xfrm>
            <a:custGeom>
              <a:avLst/>
              <a:gdLst>
                <a:gd name="T0" fmla="*/ 628 w 1056"/>
                <a:gd name="T1" fmla="*/ 794 h 839"/>
                <a:gd name="T2" fmla="*/ 553 w 1056"/>
                <a:gd name="T3" fmla="*/ 778 h 839"/>
                <a:gd name="T4" fmla="*/ 461 w 1056"/>
                <a:gd name="T5" fmla="*/ 839 h 839"/>
                <a:gd name="T6" fmla="*/ 369 w 1056"/>
                <a:gd name="T7" fmla="*/ 822 h 839"/>
                <a:gd name="T8" fmla="*/ 217 w 1056"/>
                <a:gd name="T9" fmla="*/ 761 h 839"/>
                <a:gd name="T10" fmla="*/ 196 w 1056"/>
                <a:gd name="T11" fmla="*/ 737 h 839"/>
                <a:gd name="T12" fmla="*/ 180 w 1056"/>
                <a:gd name="T13" fmla="*/ 688 h 839"/>
                <a:gd name="T14" fmla="*/ 163 w 1056"/>
                <a:gd name="T15" fmla="*/ 688 h 839"/>
                <a:gd name="T16" fmla="*/ 142 w 1056"/>
                <a:gd name="T17" fmla="*/ 650 h 839"/>
                <a:gd name="T18" fmla="*/ 109 w 1056"/>
                <a:gd name="T19" fmla="*/ 593 h 839"/>
                <a:gd name="T20" fmla="*/ 87 w 1056"/>
                <a:gd name="T21" fmla="*/ 577 h 839"/>
                <a:gd name="T22" fmla="*/ 33 w 1056"/>
                <a:gd name="T23" fmla="*/ 522 h 839"/>
                <a:gd name="T24" fmla="*/ 0 w 1056"/>
                <a:gd name="T25" fmla="*/ 506 h 839"/>
                <a:gd name="T26" fmla="*/ 17 w 1056"/>
                <a:gd name="T27" fmla="*/ 473 h 839"/>
                <a:gd name="T28" fmla="*/ 50 w 1056"/>
                <a:gd name="T29" fmla="*/ 466 h 839"/>
                <a:gd name="T30" fmla="*/ 83 w 1056"/>
                <a:gd name="T31" fmla="*/ 461 h 839"/>
                <a:gd name="T32" fmla="*/ 97 w 1056"/>
                <a:gd name="T33" fmla="*/ 338 h 839"/>
                <a:gd name="T34" fmla="*/ 121 w 1056"/>
                <a:gd name="T35" fmla="*/ 296 h 839"/>
                <a:gd name="T36" fmla="*/ 142 w 1056"/>
                <a:gd name="T37" fmla="*/ 296 h 839"/>
                <a:gd name="T38" fmla="*/ 151 w 1056"/>
                <a:gd name="T39" fmla="*/ 246 h 839"/>
                <a:gd name="T40" fmla="*/ 163 w 1056"/>
                <a:gd name="T41" fmla="*/ 222 h 839"/>
                <a:gd name="T42" fmla="*/ 227 w 1056"/>
                <a:gd name="T43" fmla="*/ 156 h 839"/>
                <a:gd name="T44" fmla="*/ 250 w 1056"/>
                <a:gd name="T45" fmla="*/ 78 h 839"/>
                <a:gd name="T46" fmla="*/ 250 w 1056"/>
                <a:gd name="T47" fmla="*/ 45 h 839"/>
                <a:gd name="T48" fmla="*/ 281 w 1056"/>
                <a:gd name="T49" fmla="*/ 45 h 839"/>
                <a:gd name="T50" fmla="*/ 305 w 1056"/>
                <a:gd name="T51" fmla="*/ 29 h 839"/>
                <a:gd name="T52" fmla="*/ 352 w 1056"/>
                <a:gd name="T53" fmla="*/ 0 h 839"/>
                <a:gd name="T54" fmla="*/ 373 w 1056"/>
                <a:gd name="T55" fmla="*/ 17 h 839"/>
                <a:gd name="T56" fmla="*/ 423 w 1056"/>
                <a:gd name="T57" fmla="*/ 29 h 839"/>
                <a:gd name="T58" fmla="*/ 444 w 1056"/>
                <a:gd name="T59" fmla="*/ 29 h 839"/>
                <a:gd name="T60" fmla="*/ 487 w 1056"/>
                <a:gd name="T61" fmla="*/ 41 h 839"/>
                <a:gd name="T62" fmla="*/ 553 w 1056"/>
                <a:gd name="T63" fmla="*/ 57 h 839"/>
                <a:gd name="T64" fmla="*/ 624 w 1056"/>
                <a:gd name="T65" fmla="*/ 128 h 839"/>
                <a:gd name="T66" fmla="*/ 650 w 1056"/>
                <a:gd name="T67" fmla="*/ 156 h 839"/>
                <a:gd name="T68" fmla="*/ 624 w 1056"/>
                <a:gd name="T69" fmla="*/ 230 h 839"/>
                <a:gd name="T70" fmla="*/ 624 w 1056"/>
                <a:gd name="T71" fmla="*/ 284 h 839"/>
                <a:gd name="T72" fmla="*/ 683 w 1056"/>
                <a:gd name="T73" fmla="*/ 279 h 839"/>
                <a:gd name="T74" fmla="*/ 683 w 1056"/>
                <a:gd name="T75" fmla="*/ 317 h 839"/>
                <a:gd name="T76" fmla="*/ 716 w 1056"/>
                <a:gd name="T77" fmla="*/ 362 h 839"/>
                <a:gd name="T78" fmla="*/ 737 w 1056"/>
                <a:gd name="T79" fmla="*/ 407 h 839"/>
                <a:gd name="T80" fmla="*/ 775 w 1056"/>
                <a:gd name="T81" fmla="*/ 433 h 839"/>
                <a:gd name="T82" fmla="*/ 1056 w 1056"/>
                <a:gd name="T83" fmla="*/ 506 h 839"/>
                <a:gd name="T84" fmla="*/ 775 w 1056"/>
                <a:gd name="T85" fmla="*/ 721 h 839"/>
                <a:gd name="T86" fmla="*/ 716 w 1056"/>
                <a:gd name="T87" fmla="*/ 744 h 839"/>
                <a:gd name="T88" fmla="*/ 640 w 1056"/>
                <a:gd name="T89" fmla="*/ 782 h 839"/>
                <a:gd name="T90" fmla="*/ 640 w 1056"/>
                <a:gd name="T91" fmla="*/ 782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56" h="839">
                  <a:moveTo>
                    <a:pt x="640" y="782"/>
                  </a:moveTo>
                  <a:lnTo>
                    <a:pt x="628" y="794"/>
                  </a:lnTo>
                  <a:lnTo>
                    <a:pt x="574" y="799"/>
                  </a:lnTo>
                  <a:lnTo>
                    <a:pt x="553" y="778"/>
                  </a:lnTo>
                  <a:lnTo>
                    <a:pt x="482" y="799"/>
                  </a:lnTo>
                  <a:lnTo>
                    <a:pt x="461" y="839"/>
                  </a:lnTo>
                  <a:lnTo>
                    <a:pt x="390" y="822"/>
                  </a:lnTo>
                  <a:lnTo>
                    <a:pt x="369" y="822"/>
                  </a:lnTo>
                  <a:lnTo>
                    <a:pt x="288" y="766"/>
                  </a:lnTo>
                  <a:lnTo>
                    <a:pt x="217" y="761"/>
                  </a:lnTo>
                  <a:lnTo>
                    <a:pt x="213" y="749"/>
                  </a:lnTo>
                  <a:lnTo>
                    <a:pt x="196" y="737"/>
                  </a:lnTo>
                  <a:lnTo>
                    <a:pt x="206" y="695"/>
                  </a:lnTo>
                  <a:lnTo>
                    <a:pt x="180" y="688"/>
                  </a:lnTo>
                  <a:lnTo>
                    <a:pt x="163" y="695"/>
                  </a:lnTo>
                  <a:lnTo>
                    <a:pt x="163" y="688"/>
                  </a:lnTo>
                  <a:lnTo>
                    <a:pt x="151" y="671"/>
                  </a:lnTo>
                  <a:lnTo>
                    <a:pt x="142" y="650"/>
                  </a:lnTo>
                  <a:lnTo>
                    <a:pt x="125" y="600"/>
                  </a:lnTo>
                  <a:lnTo>
                    <a:pt x="109" y="593"/>
                  </a:lnTo>
                  <a:lnTo>
                    <a:pt x="104" y="584"/>
                  </a:lnTo>
                  <a:lnTo>
                    <a:pt x="87" y="577"/>
                  </a:lnTo>
                  <a:lnTo>
                    <a:pt x="66" y="539"/>
                  </a:lnTo>
                  <a:lnTo>
                    <a:pt x="33" y="522"/>
                  </a:lnTo>
                  <a:lnTo>
                    <a:pt x="0" y="522"/>
                  </a:lnTo>
                  <a:lnTo>
                    <a:pt x="0" y="506"/>
                  </a:lnTo>
                  <a:lnTo>
                    <a:pt x="17" y="489"/>
                  </a:lnTo>
                  <a:lnTo>
                    <a:pt x="17" y="473"/>
                  </a:lnTo>
                  <a:lnTo>
                    <a:pt x="17" y="473"/>
                  </a:lnTo>
                  <a:lnTo>
                    <a:pt x="50" y="466"/>
                  </a:lnTo>
                  <a:lnTo>
                    <a:pt x="54" y="473"/>
                  </a:lnTo>
                  <a:lnTo>
                    <a:pt x="83" y="461"/>
                  </a:lnTo>
                  <a:lnTo>
                    <a:pt x="83" y="395"/>
                  </a:lnTo>
                  <a:lnTo>
                    <a:pt x="97" y="338"/>
                  </a:lnTo>
                  <a:lnTo>
                    <a:pt x="97" y="317"/>
                  </a:lnTo>
                  <a:lnTo>
                    <a:pt x="121" y="296"/>
                  </a:lnTo>
                  <a:lnTo>
                    <a:pt x="135" y="305"/>
                  </a:lnTo>
                  <a:lnTo>
                    <a:pt x="142" y="296"/>
                  </a:lnTo>
                  <a:lnTo>
                    <a:pt x="142" y="267"/>
                  </a:lnTo>
                  <a:lnTo>
                    <a:pt x="151" y="246"/>
                  </a:lnTo>
                  <a:lnTo>
                    <a:pt x="151" y="230"/>
                  </a:lnTo>
                  <a:lnTo>
                    <a:pt x="163" y="222"/>
                  </a:lnTo>
                  <a:lnTo>
                    <a:pt x="196" y="168"/>
                  </a:lnTo>
                  <a:lnTo>
                    <a:pt x="227" y="156"/>
                  </a:lnTo>
                  <a:lnTo>
                    <a:pt x="227" y="135"/>
                  </a:lnTo>
                  <a:lnTo>
                    <a:pt x="250" y="78"/>
                  </a:lnTo>
                  <a:lnTo>
                    <a:pt x="243" y="74"/>
                  </a:lnTo>
                  <a:lnTo>
                    <a:pt x="250" y="45"/>
                  </a:lnTo>
                  <a:lnTo>
                    <a:pt x="272" y="41"/>
                  </a:lnTo>
                  <a:lnTo>
                    <a:pt x="281" y="45"/>
                  </a:lnTo>
                  <a:lnTo>
                    <a:pt x="298" y="41"/>
                  </a:lnTo>
                  <a:lnTo>
                    <a:pt x="305" y="29"/>
                  </a:lnTo>
                  <a:lnTo>
                    <a:pt x="326" y="62"/>
                  </a:lnTo>
                  <a:lnTo>
                    <a:pt x="352" y="0"/>
                  </a:lnTo>
                  <a:lnTo>
                    <a:pt x="357" y="17"/>
                  </a:lnTo>
                  <a:lnTo>
                    <a:pt x="373" y="17"/>
                  </a:lnTo>
                  <a:lnTo>
                    <a:pt x="390" y="41"/>
                  </a:lnTo>
                  <a:lnTo>
                    <a:pt x="423" y="29"/>
                  </a:lnTo>
                  <a:lnTo>
                    <a:pt x="428" y="17"/>
                  </a:lnTo>
                  <a:lnTo>
                    <a:pt x="444" y="29"/>
                  </a:lnTo>
                  <a:lnTo>
                    <a:pt x="461" y="24"/>
                  </a:lnTo>
                  <a:lnTo>
                    <a:pt x="487" y="41"/>
                  </a:lnTo>
                  <a:lnTo>
                    <a:pt x="515" y="29"/>
                  </a:lnTo>
                  <a:lnTo>
                    <a:pt x="553" y="57"/>
                  </a:lnTo>
                  <a:lnTo>
                    <a:pt x="586" y="95"/>
                  </a:lnTo>
                  <a:lnTo>
                    <a:pt x="624" y="128"/>
                  </a:lnTo>
                  <a:lnTo>
                    <a:pt x="628" y="152"/>
                  </a:lnTo>
                  <a:lnTo>
                    <a:pt x="650" y="156"/>
                  </a:lnTo>
                  <a:lnTo>
                    <a:pt x="661" y="185"/>
                  </a:lnTo>
                  <a:lnTo>
                    <a:pt x="624" y="230"/>
                  </a:lnTo>
                  <a:lnTo>
                    <a:pt x="624" y="251"/>
                  </a:lnTo>
                  <a:lnTo>
                    <a:pt x="624" y="284"/>
                  </a:lnTo>
                  <a:lnTo>
                    <a:pt x="640" y="296"/>
                  </a:lnTo>
                  <a:lnTo>
                    <a:pt x="683" y="279"/>
                  </a:lnTo>
                  <a:lnTo>
                    <a:pt x="699" y="284"/>
                  </a:lnTo>
                  <a:lnTo>
                    <a:pt x="683" y="317"/>
                  </a:lnTo>
                  <a:lnTo>
                    <a:pt x="699" y="338"/>
                  </a:lnTo>
                  <a:lnTo>
                    <a:pt x="716" y="362"/>
                  </a:lnTo>
                  <a:lnTo>
                    <a:pt x="721" y="362"/>
                  </a:lnTo>
                  <a:lnTo>
                    <a:pt x="737" y="407"/>
                  </a:lnTo>
                  <a:lnTo>
                    <a:pt x="754" y="407"/>
                  </a:lnTo>
                  <a:lnTo>
                    <a:pt x="775" y="433"/>
                  </a:lnTo>
                  <a:lnTo>
                    <a:pt x="985" y="506"/>
                  </a:lnTo>
                  <a:lnTo>
                    <a:pt x="1056" y="506"/>
                  </a:lnTo>
                  <a:lnTo>
                    <a:pt x="846" y="728"/>
                  </a:lnTo>
                  <a:lnTo>
                    <a:pt x="775" y="721"/>
                  </a:lnTo>
                  <a:lnTo>
                    <a:pt x="754" y="728"/>
                  </a:lnTo>
                  <a:lnTo>
                    <a:pt x="716" y="744"/>
                  </a:lnTo>
                  <a:lnTo>
                    <a:pt x="699" y="766"/>
                  </a:lnTo>
                  <a:lnTo>
                    <a:pt x="640" y="782"/>
                  </a:lnTo>
                  <a:lnTo>
                    <a:pt x="640" y="782"/>
                  </a:lnTo>
                  <a:lnTo>
                    <a:pt x="640" y="78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49" name="Freeform 446">
              <a:extLst>
                <a:ext uri="{FF2B5EF4-FFF2-40B4-BE49-F238E27FC236}">
                  <a16:creationId xmlns:a16="http://schemas.microsoft.com/office/drawing/2014/main" id="{9CFC8C1C-E903-464F-AB18-FFD6DC53193D}"/>
                </a:ext>
              </a:extLst>
            </p:cNvPr>
            <p:cNvSpPr>
              <a:spLocks noEditPoints="1"/>
            </p:cNvSpPr>
            <p:nvPr/>
          </p:nvSpPr>
          <p:spPr bwMode="gray">
            <a:xfrm>
              <a:off x="8174080" y="5244217"/>
              <a:ext cx="791641" cy="431068"/>
            </a:xfrm>
            <a:custGeom>
              <a:avLst/>
              <a:gdLst>
                <a:gd name="T0" fmla="*/ 1916 w 1923"/>
                <a:gd name="T1" fmla="*/ 0 h 1047"/>
                <a:gd name="T2" fmla="*/ 1923 w 1923"/>
                <a:gd name="T3" fmla="*/ 12 h 1047"/>
                <a:gd name="T4" fmla="*/ 1923 w 1923"/>
                <a:gd name="T5" fmla="*/ 12 h 1047"/>
                <a:gd name="T6" fmla="*/ 0 w 1923"/>
                <a:gd name="T7" fmla="*/ 714 h 1047"/>
                <a:gd name="T8" fmla="*/ 10 w 1923"/>
                <a:gd name="T9" fmla="*/ 714 h 1047"/>
                <a:gd name="T10" fmla="*/ 10 w 1923"/>
                <a:gd name="T11" fmla="*/ 714 h 1047"/>
                <a:gd name="T12" fmla="*/ 106 w 1923"/>
                <a:gd name="T13" fmla="*/ 737 h 1047"/>
                <a:gd name="T14" fmla="*/ 118 w 1923"/>
                <a:gd name="T15" fmla="*/ 747 h 1047"/>
                <a:gd name="T16" fmla="*/ 118 w 1923"/>
                <a:gd name="T17" fmla="*/ 747 h 1047"/>
                <a:gd name="T18" fmla="*/ 139 w 1923"/>
                <a:gd name="T19" fmla="*/ 747 h 1047"/>
                <a:gd name="T20" fmla="*/ 156 w 1923"/>
                <a:gd name="T21" fmla="*/ 747 h 1047"/>
                <a:gd name="T22" fmla="*/ 139 w 1923"/>
                <a:gd name="T23" fmla="*/ 747 h 1047"/>
                <a:gd name="T24" fmla="*/ 1339 w 1923"/>
                <a:gd name="T25" fmla="*/ 992 h 1047"/>
                <a:gd name="T26" fmla="*/ 1365 w 1923"/>
                <a:gd name="T27" fmla="*/ 992 h 1047"/>
                <a:gd name="T28" fmla="*/ 1361 w 1923"/>
                <a:gd name="T29" fmla="*/ 992 h 1047"/>
                <a:gd name="T30" fmla="*/ 1377 w 1923"/>
                <a:gd name="T31" fmla="*/ 1009 h 1047"/>
                <a:gd name="T32" fmla="*/ 1429 w 1923"/>
                <a:gd name="T33" fmla="*/ 992 h 1047"/>
                <a:gd name="T34" fmla="*/ 1420 w 1923"/>
                <a:gd name="T35" fmla="*/ 1014 h 1047"/>
                <a:gd name="T36" fmla="*/ 1429 w 1923"/>
                <a:gd name="T37" fmla="*/ 1025 h 1047"/>
                <a:gd name="T38" fmla="*/ 1382 w 1923"/>
                <a:gd name="T39" fmla="*/ 1014 h 1047"/>
                <a:gd name="T40" fmla="*/ 1377 w 1923"/>
                <a:gd name="T41" fmla="*/ 1014 h 1047"/>
                <a:gd name="T42" fmla="*/ 1415 w 1923"/>
                <a:gd name="T43" fmla="*/ 1030 h 1047"/>
                <a:gd name="T44" fmla="*/ 1382 w 1923"/>
                <a:gd name="T45" fmla="*/ 1047 h 1047"/>
                <a:gd name="T46" fmla="*/ 1377 w 1923"/>
                <a:gd name="T47" fmla="*/ 1042 h 1047"/>
                <a:gd name="T48" fmla="*/ 1328 w 1923"/>
                <a:gd name="T49" fmla="*/ 1030 h 1047"/>
                <a:gd name="T50" fmla="*/ 1306 w 1923"/>
                <a:gd name="T51" fmla="*/ 1047 h 1047"/>
                <a:gd name="T52" fmla="*/ 1306 w 1923"/>
                <a:gd name="T53" fmla="*/ 985 h 1047"/>
                <a:gd name="T54" fmla="*/ 1328 w 1923"/>
                <a:gd name="T55" fmla="*/ 952 h 1047"/>
                <a:gd name="T56" fmla="*/ 1339 w 1923"/>
                <a:gd name="T57" fmla="*/ 959 h 1047"/>
                <a:gd name="T58" fmla="*/ 1328 w 1923"/>
                <a:gd name="T59" fmla="*/ 992 h 1047"/>
                <a:gd name="T60" fmla="*/ 1339 w 1923"/>
                <a:gd name="T61" fmla="*/ 992 h 1047"/>
                <a:gd name="T62" fmla="*/ 1339 w 1923"/>
                <a:gd name="T63" fmla="*/ 992 h 1047"/>
                <a:gd name="T64" fmla="*/ 1339 w 1923"/>
                <a:gd name="T65" fmla="*/ 976 h 1047"/>
                <a:gd name="T66" fmla="*/ 1349 w 1923"/>
                <a:gd name="T67" fmla="*/ 976 h 1047"/>
                <a:gd name="T68" fmla="*/ 1339 w 1923"/>
                <a:gd name="T69" fmla="*/ 992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3" h="1047">
                  <a:moveTo>
                    <a:pt x="1923" y="12"/>
                  </a:moveTo>
                  <a:lnTo>
                    <a:pt x="1916" y="0"/>
                  </a:lnTo>
                  <a:lnTo>
                    <a:pt x="1923" y="0"/>
                  </a:lnTo>
                  <a:lnTo>
                    <a:pt x="1923" y="12"/>
                  </a:lnTo>
                  <a:lnTo>
                    <a:pt x="1923" y="12"/>
                  </a:lnTo>
                  <a:lnTo>
                    <a:pt x="1923" y="12"/>
                  </a:lnTo>
                  <a:close/>
                  <a:moveTo>
                    <a:pt x="10" y="714"/>
                  </a:moveTo>
                  <a:lnTo>
                    <a:pt x="0" y="714"/>
                  </a:lnTo>
                  <a:lnTo>
                    <a:pt x="10" y="714"/>
                  </a:lnTo>
                  <a:lnTo>
                    <a:pt x="10" y="714"/>
                  </a:lnTo>
                  <a:lnTo>
                    <a:pt x="10" y="714"/>
                  </a:lnTo>
                  <a:lnTo>
                    <a:pt x="10" y="714"/>
                  </a:lnTo>
                  <a:close/>
                  <a:moveTo>
                    <a:pt x="118" y="747"/>
                  </a:moveTo>
                  <a:lnTo>
                    <a:pt x="106" y="737"/>
                  </a:lnTo>
                  <a:lnTo>
                    <a:pt x="118" y="737"/>
                  </a:lnTo>
                  <a:lnTo>
                    <a:pt x="118" y="747"/>
                  </a:lnTo>
                  <a:lnTo>
                    <a:pt x="118" y="747"/>
                  </a:lnTo>
                  <a:lnTo>
                    <a:pt x="118" y="747"/>
                  </a:lnTo>
                  <a:lnTo>
                    <a:pt x="118" y="747"/>
                  </a:lnTo>
                  <a:close/>
                  <a:moveTo>
                    <a:pt x="139" y="747"/>
                  </a:moveTo>
                  <a:lnTo>
                    <a:pt x="139" y="747"/>
                  </a:lnTo>
                  <a:lnTo>
                    <a:pt x="156" y="747"/>
                  </a:lnTo>
                  <a:lnTo>
                    <a:pt x="139" y="747"/>
                  </a:lnTo>
                  <a:lnTo>
                    <a:pt x="139" y="747"/>
                  </a:lnTo>
                  <a:lnTo>
                    <a:pt x="139" y="747"/>
                  </a:lnTo>
                  <a:close/>
                  <a:moveTo>
                    <a:pt x="1339" y="992"/>
                  </a:moveTo>
                  <a:lnTo>
                    <a:pt x="1365" y="976"/>
                  </a:lnTo>
                  <a:lnTo>
                    <a:pt x="1365" y="992"/>
                  </a:lnTo>
                  <a:lnTo>
                    <a:pt x="1344" y="1002"/>
                  </a:lnTo>
                  <a:lnTo>
                    <a:pt x="1361" y="992"/>
                  </a:lnTo>
                  <a:lnTo>
                    <a:pt x="1361" y="1009"/>
                  </a:lnTo>
                  <a:lnTo>
                    <a:pt x="1377" y="1009"/>
                  </a:lnTo>
                  <a:lnTo>
                    <a:pt x="1415" y="985"/>
                  </a:lnTo>
                  <a:lnTo>
                    <a:pt x="1429" y="992"/>
                  </a:lnTo>
                  <a:lnTo>
                    <a:pt x="1436" y="1002"/>
                  </a:lnTo>
                  <a:lnTo>
                    <a:pt x="1420" y="1014"/>
                  </a:lnTo>
                  <a:lnTo>
                    <a:pt x="1415" y="1014"/>
                  </a:lnTo>
                  <a:lnTo>
                    <a:pt x="1429" y="1025"/>
                  </a:lnTo>
                  <a:lnTo>
                    <a:pt x="1403" y="1014"/>
                  </a:lnTo>
                  <a:lnTo>
                    <a:pt x="1382" y="1014"/>
                  </a:lnTo>
                  <a:lnTo>
                    <a:pt x="1391" y="1025"/>
                  </a:lnTo>
                  <a:lnTo>
                    <a:pt x="1377" y="1014"/>
                  </a:lnTo>
                  <a:lnTo>
                    <a:pt x="1382" y="1030"/>
                  </a:lnTo>
                  <a:lnTo>
                    <a:pt x="1415" y="1030"/>
                  </a:lnTo>
                  <a:lnTo>
                    <a:pt x="1415" y="1047"/>
                  </a:lnTo>
                  <a:lnTo>
                    <a:pt x="1382" y="1047"/>
                  </a:lnTo>
                  <a:lnTo>
                    <a:pt x="1365" y="1025"/>
                  </a:lnTo>
                  <a:lnTo>
                    <a:pt x="1377" y="1042"/>
                  </a:lnTo>
                  <a:lnTo>
                    <a:pt x="1344" y="1030"/>
                  </a:lnTo>
                  <a:lnTo>
                    <a:pt x="1328" y="1030"/>
                  </a:lnTo>
                  <a:lnTo>
                    <a:pt x="1328" y="1047"/>
                  </a:lnTo>
                  <a:lnTo>
                    <a:pt x="1306" y="1047"/>
                  </a:lnTo>
                  <a:lnTo>
                    <a:pt x="1311" y="1014"/>
                  </a:lnTo>
                  <a:lnTo>
                    <a:pt x="1306" y="985"/>
                  </a:lnTo>
                  <a:lnTo>
                    <a:pt x="1323" y="952"/>
                  </a:lnTo>
                  <a:lnTo>
                    <a:pt x="1328" y="952"/>
                  </a:lnTo>
                  <a:lnTo>
                    <a:pt x="1323" y="969"/>
                  </a:lnTo>
                  <a:lnTo>
                    <a:pt x="1339" y="959"/>
                  </a:lnTo>
                  <a:lnTo>
                    <a:pt x="1323" y="992"/>
                  </a:lnTo>
                  <a:lnTo>
                    <a:pt x="1328" y="992"/>
                  </a:lnTo>
                  <a:lnTo>
                    <a:pt x="1328" y="976"/>
                  </a:lnTo>
                  <a:lnTo>
                    <a:pt x="1339" y="992"/>
                  </a:lnTo>
                  <a:lnTo>
                    <a:pt x="1339" y="992"/>
                  </a:lnTo>
                  <a:lnTo>
                    <a:pt x="1339" y="992"/>
                  </a:lnTo>
                  <a:close/>
                  <a:moveTo>
                    <a:pt x="1339" y="992"/>
                  </a:moveTo>
                  <a:lnTo>
                    <a:pt x="1339" y="976"/>
                  </a:lnTo>
                  <a:lnTo>
                    <a:pt x="1349" y="969"/>
                  </a:lnTo>
                  <a:lnTo>
                    <a:pt x="1349" y="976"/>
                  </a:lnTo>
                  <a:lnTo>
                    <a:pt x="1339" y="992"/>
                  </a:lnTo>
                  <a:lnTo>
                    <a:pt x="1339" y="992"/>
                  </a:lnTo>
                  <a:lnTo>
                    <a:pt x="1339" y="99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50" name="Freeform 447">
              <a:extLst>
                <a:ext uri="{FF2B5EF4-FFF2-40B4-BE49-F238E27FC236}">
                  <a16:creationId xmlns:a16="http://schemas.microsoft.com/office/drawing/2014/main" id="{F4CB84A8-66A5-4EBD-83E2-325B7125B58A}"/>
                </a:ext>
              </a:extLst>
            </p:cNvPr>
            <p:cNvSpPr>
              <a:spLocks/>
            </p:cNvSpPr>
            <p:nvPr/>
          </p:nvSpPr>
          <p:spPr bwMode="gray">
            <a:xfrm>
              <a:off x="6238819" y="3652111"/>
              <a:ext cx="90567" cy="23468"/>
            </a:xfrm>
            <a:custGeom>
              <a:avLst/>
              <a:gdLst>
                <a:gd name="T0" fmla="*/ 17 w 220"/>
                <a:gd name="T1" fmla="*/ 17 h 57"/>
                <a:gd name="T2" fmla="*/ 95 w 220"/>
                <a:gd name="T3" fmla="*/ 17 h 57"/>
                <a:gd name="T4" fmla="*/ 104 w 220"/>
                <a:gd name="T5" fmla="*/ 5 h 57"/>
                <a:gd name="T6" fmla="*/ 128 w 220"/>
                <a:gd name="T7" fmla="*/ 0 h 57"/>
                <a:gd name="T8" fmla="*/ 144 w 220"/>
                <a:gd name="T9" fmla="*/ 5 h 57"/>
                <a:gd name="T10" fmla="*/ 149 w 220"/>
                <a:gd name="T11" fmla="*/ 17 h 57"/>
                <a:gd name="T12" fmla="*/ 166 w 220"/>
                <a:gd name="T13" fmla="*/ 17 h 57"/>
                <a:gd name="T14" fmla="*/ 182 w 220"/>
                <a:gd name="T15" fmla="*/ 33 h 57"/>
                <a:gd name="T16" fmla="*/ 204 w 220"/>
                <a:gd name="T17" fmla="*/ 17 h 57"/>
                <a:gd name="T18" fmla="*/ 220 w 220"/>
                <a:gd name="T19" fmla="*/ 33 h 57"/>
                <a:gd name="T20" fmla="*/ 215 w 220"/>
                <a:gd name="T21" fmla="*/ 41 h 57"/>
                <a:gd name="T22" fmla="*/ 182 w 220"/>
                <a:gd name="T23" fmla="*/ 50 h 57"/>
                <a:gd name="T24" fmla="*/ 128 w 220"/>
                <a:gd name="T25" fmla="*/ 17 h 57"/>
                <a:gd name="T26" fmla="*/ 111 w 220"/>
                <a:gd name="T27" fmla="*/ 33 h 57"/>
                <a:gd name="T28" fmla="*/ 74 w 220"/>
                <a:gd name="T29" fmla="*/ 41 h 57"/>
                <a:gd name="T30" fmla="*/ 74 w 220"/>
                <a:gd name="T31" fmla="*/ 50 h 57"/>
                <a:gd name="T32" fmla="*/ 12 w 220"/>
                <a:gd name="T33" fmla="*/ 50 h 57"/>
                <a:gd name="T34" fmla="*/ 12 w 220"/>
                <a:gd name="T35" fmla="*/ 57 h 57"/>
                <a:gd name="T36" fmla="*/ 0 w 220"/>
                <a:gd name="T37" fmla="*/ 33 h 57"/>
                <a:gd name="T38" fmla="*/ 12 w 220"/>
                <a:gd name="T39" fmla="*/ 22 h 57"/>
                <a:gd name="T40" fmla="*/ 17 w 220"/>
                <a:gd name="T41" fmla="*/ 33 h 57"/>
                <a:gd name="T42" fmla="*/ 24 w 220"/>
                <a:gd name="T43" fmla="*/ 41 h 57"/>
                <a:gd name="T44" fmla="*/ 41 w 220"/>
                <a:gd name="T45" fmla="*/ 41 h 57"/>
                <a:gd name="T46" fmla="*/ 50 w 220"/>
                <a:gd name="T47" fmla="*/ 41 h 57"/>
                <a:gd name="T48" fmla="*/ 50 w 220"/>
                <a:gd name="T49" fmla="*/ 41 h 57"/>
                <a:gd name="T50" fmla="*/ 41 w 220"/>
                <a:gd name="T51" fmla="*/ 41 h 57"/>
                <a:gd name="T52" fmla="*/ 50 w 220"/>
                <a:gd name="T53" fmla="*/ 33 h 57"/>
                <a:gd name="T54" fmla="*/ 111 w 220"/>
                <a:gd name="T55" fmla="*/ 22 h 57"/>
                <a:gd name="T56" fmla="*/ 95 w 220"/>
                <a:gd name="T57" fmla="*/ 22 h 57"/>
                <a:gd name="T58" fmla="*/ 50 w 220"/>
                <a:gd name="T59" fmla="*/ 33 h 57"/>
                <a:gd name="T60" fmla="*/ 33 w 220"/>
                <a:gd name="T61" fmla="*/ 41 h 57"/>
                <a:gd name="T62" fmla="*/ 24 w 220"/>
                <a:gd name="T63" fmla="*/ 33 h 57"/>
                <a:gd name="T64" fmla="*/ 17 w 220"/>
                <a:gd name="T65" fmla="*/ 17 h 57"/>
                <a:gd name="T66" fmla="*/ 17 w 220"/>
                <a:gd name="T67" fmla="*/ 17 h 57"/>
                <a:gd name="T68" fmla="*/ 17 w 220"/>
                <a:gd name="T69" fmla="*/ 1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0" h="57">
                  <a:moveTo>
                    <a:pt x="17" y="17"/>
                  </a:moveTo>
                  <a:lnTo>
                    <a:pt x="95" y="17"/>
                  </a:lnTo>
                  <a:lnTo>
                    <a:pt x="104" y="5"/>
                  </a:lnTo>
                  <a:lnTo>
                    <a:pt x="128" y="0"/>
                  </a:lnTo>
                  <a:lnTo>
                    <a:pt x="144" y="5"/>
                  </a:lnTo>
                  <a:lnTo>
                    <a:pt x="149" y="17"/>
                  </a:lnTo>
                  <a:lnTo>
                    <a:pt x="166" y="17"/>
                  </a:lnTo>
                  <a:lnTo>
                    <a:pt x="182" y="33"/>
                  </a:lnTo>
                  <a:lnTo>
                    <a:pt x="204" y="17"/>
                  </a:lnTo>
                  <a:lnTo>
                    <a:pt x="220" y="33"/>
                  </a:lnTo>
                  <a:lnTo>
                    <a:pt x="215" y="41"/>
                  </a:lnTo>
                  <a:lnTo>
                    <a:pt x="182" y="50"/>
                  </a:lnTo>
                  <a:lnTo>
                    <a:pt x="128" y="17"/>
                  </a:lnTo>
                  <a:lnTo>
                    <a:pt x="111" y="33"/>
                  </a:lnTo>
                  <a:lnTo>
                    <a:pt x="74" y="41"/>
                  </a:lnTo>
                  <a:lnTo>
                    <a:pt x="74" y="50"/>
                  </a:lnTo>
                  <a:lnTo>
                    <a:pt x="12" y="50"/>
                  </a:lnTo>
                  <a:lnTo>
                    <a:pt x="12" y="57"/>
                  </a:lnTo>
                  <a:lnTo>
                    <a:pt x="0" y="33"/>
                  </a:lnTo>
                  <a:lnTo>
                    <a:pt x="12" y="22"/>
                  </a:lnTo>
                  <a:lnTo>
                    <a:pt x="17" y="33"/>
                  </a:lnTo>
                  <a:lnTo>
                    <a:pt x="24" y="41"/>
                  </a:lnTo>
                  <a:lnTo>
                    <a:pt x="41" y="41"/>
                  </a:lnTo>
                  <a:lnTo>
                    <a:pt x="50" y="41"/>
                  </a:lnTo>
                  <a:lnTo>
                    <a:pt x="50" y="41"/>
                  </a:lnTo>
                  <a:lnTo>
                    <a:pt x="41" y="41"/>
                  </a:lnTo>
                  <a:lnTo>
                    <a:pt x="50" y="33"/>
                  </a:lnTo>
                  <a:lnTo>
                    <a:pt x="111" y="22"/>
                  </a:lnTo>
                  <a:lnTo>
                    <a:pt x="95" y="22"/>
                  </a:lnTo>
                  <a:lnTo>
                    <a:pt x="50" y="33"/>
                  </a:lnTo>
                  <a:lnTo>
                    <a:pt x="33" y="41"/>
                  </a:lnTo>
                  <a:lnTo>
                    <a:pt x="24" y="33"/>
                  </a:lnTo>
                  <a:lnTo>
                    <a:pt x="17" y="17"/>
                  </a:lnTo>
                  <a:lnTo>
                    <a:pt x="17" y="17"/>
                  </a:lnTo>
                  <a:lnTo>
                    <a:pt x="17"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51" name="Freeform 448">
              <a:extLst>
                <a:ext uri="{FF2B5EF4-FFF2-40B4-BE49-F238E27FC236}">
                  <a16:creationId xmlns:a16="http://schemas.microsoft.com/office/drawing/2014/main" id="{C4DE4037-1E14-4AF7-AE91-75127C44FD9E}"/>
                </a:ext>
              </a:extLst>
            </p:cNvPr>
            <p:cNvSpPr>
              <a:spLocks noEditPoints="1"/>
            </p:cNvSpPr>
            <p:nvPr/>
          </p:nvSpPr>
          <p:spPr bwMode="gray">
            <a:xfrm>
              <a:off x="6978178" y="3996717"/>
              <a:ext cx="166315" cy="185684"/>
            </a:xfrm>
            <a:custGeom>
              <a:avLst/>
              <a:gdLst>
                <a:gd name="T0" fmla="*/ 359 w 404"/>
                <a:gd name="T1" fmla="*/ 184 h 451"/>
                <a:gd name="T2" fmla="*/ 380 w 404"/>
                <a:gd name="T3" fmla="*/ 200 h 451"/>
                <a:gd name="T4" fmla="*/ 404 w 404"/>
                <a:gd name="T5" fmla="*/ 212 h 451"/>
                <a:gd name="T6" fmla="*/ 404 w 404"/>
                <a:gd name="T7" fmla="*/ 257 h 451"/>
                <a:gd name="T8" fmla="*/ 387 w 404"/>
                <a:gd name="T9" fmla="*/ 311 h 451"/>
                <a:gd name="T10" fmla="*/ 359 w 404"/>
                <a:gd name="T11" fmla="*/ 344 h 451"/>
                <a:gd name="T12" fmla="*/ 333 w 404"/>
                <a:gd name="T13" fmla="*/ 344 h 451"/>
                <a:gd name="T14" fmla="*/ 290 w 404"/>
                <a:gd name="T15" fmla="*/ 307 h 451"/>
                <a:gd name="T16" fmla="*/ 269 w 404"/>
                <a:gd name="T17" fmla="*/ 307 h 451"/>
                <a:gd name="T18" fmla="*/ 257 w 404"/>
                <a:gd name="T19" fmla="*/ 340 h 451"/>
                <a:gd name="T20" fmla="*/ 224 w 404"/>
                <a:gd name="T21" fmla="*/ 340 h 451"/>
                <a:gd name="T22" fmla="*/ 198 w 404"/>
                <a:gd name="T23" fmla="*/ 340 h 451"/>
                <a:gd name="T24" fmla="*/ 198 w 404"/>
                <a:gd name="T25" fmla="*/ 378 h 451"/>
                <a:gd name="T26" fmla="*/ 215 w 404"/>
                <a:gd name="T27" fmla="*/ 385 h 451"/>
                <a:gd name="T28" fmla="*/ 224 w 404"/>
                <a:gd name="T29" fmla="*/ 406 h 451"/>
                <a:gd name="T30" fmla="*/ 219 w 404"/>
                <a:gd name="T31" fmla="*/ 434 h 451"/>
                <a:gd name="T32" fmla="*/ 198 w 404"/>
                <a:gd name="T33" fmla="*/ 422 h 451"/>
                <a:gd name="T34" fmla="*/ 165 w 404"/>
                <a:gd name="T35" fmla="*/ 451 h 451"/>
                <a:gd name="T36" fmla="*/ 63 w 404"/>
                <a:gd name="T37" fmla="*/ 344 h 451"/>
                <a:gd name="T38" fmla="*/ 96 w 404"/>
                <a:gd name="T39" fmla="*/ 352 h 451"/>
                <a:gd name="T40" fmla="*/ 89 w 404"/>
                <a:gd name="T41" fmla="*/ 352 h 451"/>
                <a:gd name="T42" fmla="*/ 75 w 404"/>
                <a:gd name="T43" fmla="*/ 344 h 451"/>
                <a:gd name="T44" fmla="*/ 42 w 404"/>
                <a:gd name="T45" fmla="*/ 307 h 451"/>
                <a:gd name="T46" fmla="*/ 59 w 404"/>
                <a:gd name="T47" fmla="*/ 311 h 451"/>
                <a:gd name="T48" fmla="*/ 37 w 404"/>
                <a:gd name="T49" fmla="*/ 295 h 451"/>
                <a:gd name="T50" fmla="*/ 21 w 404"/>
                <a:gd name="T51" fmla="*/ 257 h 451"/>
                <a:gd name="T52" fmla="*/ 54 w 404"/>
                <a:gd name="T53" fmla="*/ 290 h 451"/>
                <a:gd name="T54" fmla="*/ 54 w 404"/>
                <a:gd name="T55" fmla="*/ 274 h 451"/>
                <a:gd name="T56" fmla="*/ 42 w 404"/>
                <a:gd name="T57" fmla="*/ 257 h 451"/>
                <a:gd name="T58" fmla="*/ 21 w 404"/>
                <a:gd name="T59" fmla="*/ 257 h 451"/>
                <a:gd name="T60" fmla="*/ 0 w 404"/>
                <a:gd name="T61" fmla="*/ 212 h 451"/>
                <a:gd name="T62" fmla="*/ 42 w 404"/>
                <a:gd name="T63" fmla="*/ 196 h 451"/>
                <a:gd name="T64" fmla="*/ 54 w 404"/>
                <a:gd name="T65" fmla="*/ 155 h 451"/>
                <a:gd name="T66" fmla="*/ 80 w 404"/>
                <a:gd name="T67" fmla="*/ 155 h 451"/>
                <a:gd name="T68" fmla="*/ 42 w 404"/>
                <a:gd name="T69" fmla="*/ 127 h 451"/>
                <a:gd name="T70" fmla="*/ 59 w 404"/>
                <a:gd name="T71" fmla="*/ 118 h 451"/>
                <a:gd name="T72" fmla="*/ 59 w 404"/>
                <a:gd name="T73" fmla="*/ 101 h 451"/>
                <a:gd name="T74" fmla="*/ 75 w 404"/>
                <a:gd name="T75" fmla="*/ 101 h 451"/>
                <a:gd name="T76" fmla="*/ 89 w 404"/>
                <a:gd name="T77" fmla="*/ 101 h 451"/>
                <a:gd name="T78" fmla="*/ 182 w 404"/>
                <a:gd name="T79" fmla="*/ 11 h 451"/>
                <a:gd name="T80" fmla="*/ 252 w 404"/>
                <a:gd name="T81" fmla="*/ 0 h 451"/>
                <a:gd name="T82" fmla="*/ 311 w 404"/>
                <a:gd name="T83" fmla="*/ 0 h 451"/>
                <a:gd name="T84" fmla="*/ 307 w 404"/>
                <a:gd name="T85" fmla="*/ 44 h 451"/>
                <a:gd name="T86" fmla="*/ 311 w 404"/>
                <a:gd name="T87" fmla="*/ 85 h 451"/>
                <a:gd name="T88" fmla="*/ 380 w 404"/>
                <a:gd name="T89" fmla="*/ 68 h 451"/>
                <a:gd name="T90" fmla="*/ 387 w 404"/>
                <a:gd name="T91" fmla="*/ 122 h 451"/>
                <a:gd name="T92" fmla="*/ 366 w 404"/>
                <a:gd name="T93" fmla="*/ 146 h 451"/>
                <a:gd name="T94" fmla="*/ 359 w 404"/>
                <a:gd name="T95" fmla="*/ 179 h 451"/>
                <a:gd name="T96" fmla="*/ 21 w 404"/>
                <a:gd name="T97" fmla="*/ 229 h 451"/>
                <a:gd name="T98" fmla="*/ 21 w 404"/>
                <a:gd name="T99" fmla="*/ 212 h 451"/>
                <a:gd name="T100" fmla="*/ 21 w 404"/>
                <a:gd name="T101" fmla="*/ 229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4" h="451">
                  <a:moveTo>
                    <a:pt x="359" y="179"/>
                  </a:moveTo>
                  <a:lnTo>
                    <a:pt x="359" y="184"/>
                  </a:lnTo>
                  <a:lnTo>
                    <a:pt x="375" y="184"/>
                  </a:lnTo>
                  <a:lnTo>
                    <a:pt x="380" y="200"/>
                  </a:lnTo>
                  <a:lnTo>
                    <a:pt x="396" y="200"/>
                  </a:lnTo>
                  <a:lnTo>
                    <a:pt x="404" y="212"/>
                  </a:lnTo>
                  <a:lnTo>
                    <a:pt x="396" y="240"/>
                  </a:lnTo>
                  <a:lnTo>
                    <a:pt x="404" y="257"/>
                  </a:lnTo>
                  <a:lnTo>
                    <a:pt x="396" y="307"/>
                  </a:lnTo>
                  <a:lnTo>
                    <a:pt x="387" y="311"/>
                  </a:lnTo>
                  <a:lnTo>
                    <a:pt x="375" y="344"/>
                  </a:lnTo>
                  <a:lnTo>
                    <a:pt x="359" y="344"/>
                  </a:lnTo>
                  <a:lnTo>
                    <a:pt x="349" y="323"/>
                  </a:lnTo>
                  <a:lnTo>
                    <a:pt x="333" y="344"/>
                  </a:lnTo>
                  <a:lnTo>
                    <a:pt x="295" y="340"/>
                  </a:lnTo>
                  <a:lnTo>
                    <a:pt x="290" y="307"/>
                  </a:lnTo>
                  <a:lnTo>
                    <a:pt x="274" y="295"/>
                  </a:lnTo>
                  <a:lnTo>
                    <a:pt x="269" y="307"/>
                  </a:lnTo>
                  <a:lnTo>
                    <a:pt x="257" y="307"/>
                  </a:lnTo>
                  <a:lnTo>
                    <a:pt x="257" y="340"/>
                  </a:lnTo>
                  <a:lnTo>
                    <a:pt x="236" y="344"/>
                  </a:lnTo>
                  <a:lnTo>
                    <a:pt x="224" y="340"/>
                  </a:lnTo>
                  <a:lnTo>
                    <a:pt x="215" y="344"/>
                  </a:lnTo>
                  <a:lnTo>
                    <a:pt x="198" y="340"/>
                  </a:lnTo>
                  <a:lnTo>
                    <a:pt x="203" y="352"/>
                  </a:lnTo>
                  <a:lnTo>
                    <a:pt x="198" y="378"/>
                  </a:lnTo>
                  <a:lnTo>
                    <a:pt x="203" y="368"/>
                  </a:lnTo>
                  <a:lnTo>
                    <a:pt x="215" y="385"/>
                  </a:lnTo>
                  <a:lnTo>
                    <a:pt x="203" y="401"/>
                  </a:lnTo>
                  <a:lnTo>
                    <a:pt x="224" y="406"/>
                  </a:lnTo>
                  <a:lnTo>
                    <a:pt x="219" y="422"/>
                  </a:lnTo>
                  <a:lnTo>
                    <a:pt x="219" y="434"/>
                  </a:lnTo>
                  <a:lnTo>
                    <a:pt x="215" y="434"/>
                  </a:lnTo>
                  <a:lnTo>
                    <a:pt x="198" y="422"/>
                  </a:lnTo>
                  <a:lnTo>
                    <a:pt x="172" y="434"/>
                  </a:lnTo>
                  <a:lnTo>
                    <a:pt x="165" y="451"/>
                  </a:lnTo>
                  <a:lnTo>
                    <a:pt x="118" y="394"/>
                  </a:lnTo>
                  <a:lnTo>
                    <a:pt x="63" y="344"/>
                  </a:lnTo>
                  <a:lnTo>
                    <a:pt x="89" y="361"/>
                  </a:lnTo>
                  <a:lnTo>
                    <a:pt x="96" y="352"/>
                  </a:lnTo>
                  <a:lnTo>
                    <a:pt x="96" y="352"/>
                  </a:lnTo>
                  <a:lnTo>
                    <a:pt x="89" y="352"/>
                  </a:lnTo>
                  <a:lnTo>
                    <a:pt x="80" y="344"/>
                  </a:lnTo>
                  <a:lnTo>
                    <a:pt x="75" y="344"/>
                  </a:lnTo>
                  <a:lnTo>
                    <a:pt x="59" y="340"/>
                  </a:lnTo>
                  <a:lnTo>
                    <a:pt x="42" y="307"/>
                  </a:lnTo>
                  <a:lnTo>
                    <a:pt x="54" y="307"/>
                  </a:lnTo>
                  <a:lnTo>
                    <a:pt x="59" y="311"/>
                  </a:lnTo>
                  <a:lnTo>
                    <a:pt x="54" y="307"/>
                  </a:lnTo>
                  <a:lnTo>
                    <a:pt x="37" y="295"/>
                  </a:lnTo>
                  <a:lnTo>
                    <a:pt x="37" y="283"/>
                  </a:lnTo>
                  <a:lnTo>
                    <a:pt x="21" y="257"/>
                  </a:lnTo>
                  <a:lnTo>
                    <a:pt x="37" y="290"/>
                  </a:lnTo>
                  <a:lnTo>
                    <a:pt x="54" y="290"/>
                  </a:lnTo>
                  <a:lnTo>
                    <a:pt x="54" y="283"/>
                  </a:lnTo>
                  <a:lnTo>
                    <a:pt x="54" y="274"/>
                  </a:lnTo>
                  <a:lnTo>
                    <a:pt x="37" y="283"/>
                  </a:lnTo>
                  <a:lnTo>
                    <a:pt x="42" y="257"/>
                  </a:lnTo>
                  <a:lnTo>
                    <a:pt x="37" y="266"/>
                  </a:lnTo>
                  <a:lnTo>
                    <a:pt x="21" y="257"/>
                  </a:lnTo>
                  <a:lnTo>
                    <a:pt x="0" y="212"/>
                  </a:lnTo>
                  <a:lnTo>
                    <a:pt x="0" y="212"/>
                  </a:lnTo>
                  <a:lnTo>
                    <a:pt x="21" y="229"/>
                  </a:lnTo>
                  <a:lnTo>
                    <a:pt x="42" y="196"/>
                  </a:lnTo>
                  <a:lnTo>
                    <a:pt x="42" y="139"/>
                  </a:lnTo>
                  <a:lnTo>
                    <a:pt x="54" y="155"/>
                  </a:lnTo>
                  <a:lnTo>
                    <a:pt x="75" y="163"/>
                  </a:lnTo>
                  <a:lnTo>
                    <a:pt x="80" y="155"/>
                  </a:lnTo>
                  <a:lnTo>
                    <a:pt x="54" y="146"/>
                  </a:lnTo>
                  <a:lnTo>
                    <a:pt x="42" y="127"/>
                  </a:lnTo>
                  <a:lnTo>
                    <a:pt x="42" y="122"/>
                  </a:lnTo>
                  <a:lnTo>
                    <a:pt x="59" y="118"/>
                  </a:lnTo>
                  <a:lnTo>
                    <a:pt x="59" y="127"/>
                  </a:lnTo>
                  <a:lnTo>
                    <a:pt x="59" y="101"/>
                  </a:lnTo>
                  <a:lnTo>
                    <a:pt x="63" y="89"/>
                  </a:lnTo>
                  <a:lnTo>
                    <a:pt x="75" y="101"/>
                  </a:lnTo>
                  <a:lnTo>
                    <a:pt x="80" y="101"/>
                  </a:lnTo>
                  <a:lnTo>
                    <a:pt x="89" y="101"/>
                  </a:lnTo>
                  <a:lnTo>
                    <a:pt x="182" y="101"/>
                  </a:lnTo>
                  <a:lnTo>
                    <a:pt x="182" y="11"/>
                  </a:lnTo>
                  <a:lnTo>
                    <a:pt x="182" y="0"/>
                  </a:lnTo>
                  <a:lnTo>
                    <a:pt x="252" y="0"/>
                  </a:lnTo>
                  <a:lnTo>
                    <a:pt x="278" y="0"/>
                  </a:lnTo>
                  <a:lnTo>
                    <a:pt x="311" y="0"/>
                  </a:lnTo>
                  <a:lnTo>
                    <a:pt x="321" y="11"/>
                  </a:lnTo>
                  <a:lnTo>
                    <a:pt x="307" y="44"/>
                  </a:lnTo>
                  <a:lnTo>
                    <a:pt x="311" y="68"/>
                  </a:lnTo>
                  <a:lnTo>
                    <a:pt x="311" y="85"/>
                  </a:lnTo>
                  <a:lnTo>
                    <a:pt x="349" y="68"/>
                  </a:lnTo>
                  <a:lnTo>
                    <a:pt x="380" y="68"/>
                  </a:lnTo>
                  <a:lnTo>
                    <a:pt x="404" y="101"/>
                  </a:lnTo>
                  <a:lnTo>
                    <a:pt x="387" y="122"/>
                  </a:lnTo>
                  <a:lnTo>
                    <a:pt x="375" y="127"/>
                  </a:lnTo>
                  <a:lnTo>
                    <a:pt x="366" y="146"/>
                  </a:lnTo>
                  <a:lnTo>
                    <a:pt x="359" y="179"/>
                  </a:lnTo>
                  <a:lnTo>
                    <a:pt x="359" y="179"/>
                  </a:lnTo>
                  <a:lnTo>
                    <a:pt x="359" y="179"/>
                  </a:lnTo>
                  <a:close/>
                  <a:moveTo>
                    <a:pt x="21" y="229"/>
                  </a:moveTo>
                  <a:lnTo>
                    <a:pt x="9" y="217"/>
                  </a:lnTo>
                  <a:lnTo>
                    <a:pt x="21" y="212"/>
                  </a:lnTo>
                  <a:lnTo>
                    <a:pt x="21" y="229"/>
                  </a:lnTo>
                  <a:lnTo>
                    <a:pt x="21" y="229"/>
                  </a:lnTo>
                  <a:lnTo>
                    <a:pt x="21" y="22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52" name="Freeform 450">
              <a:extLst>
                <a:ext uri="{FF2B5EF4-FFF2-40B4-BE49-F238E27FC236}">
                  <a16:creationId xmlns:a16="http://schemas.microsoft.com/office/drawing/2014/main" id="{4E8E0A35-0F98-483C-9FEF-D87B6C91545D}"/>
                </a:ext>
              </a:extLst>
            </p:cNvPr>
            <p:cNvSpPr>
              <a:spLocks/>
            </p:cNvSpPr>
            <p:nvPr/>
          </p:nvSpPr>
          <p:spPr bwMode="gray">
            <a:xfrm>
              <a:off x="6631964" y="3734043"/>
              <a:ext cx="128441" cy="192272"/>
            </a:xfrm>
            <a:custGeom>
              <a:avLst/>
              <a:gdLst>
                <a:gd name="T0" fmla="*/ 16 w 312"/>
                <a:gd name="T1" fmla="*/ 432 h 467"/>
                <a:gd name="T2" fmla="*/ 16 w 312"/>
                <a:gd name="T3" fmla="*/ 432 h 467"/>
                <a:gd name="T4" fmla="*/ 21 w 312"/>
                <a:gd name="T5" fmla="*/ 432 h 467"/>
                <a:gd name="T6" fmla="*/ 38 w 312"/>
                <a:gd name="T7" fmla="*/ 432 h 467"/>
                <a:gd name="T8" fmla="*/ 38 w 312"/>
                <a:gd name="T9" fmla="*/ 406 h 467"/>
                <a:gd name="T10" fmla="*/ 21 w 312"/>
                <a:gd name="T11" fmla="*/ 394 h 467"/>
                <a:gd name="T12" fmla="*/ 0 w 312"/>
                <a:gd name="T13" fmla="*/ 321 h 467"/>
                <a:gd name="T14" fmla="*/ 4 w 312"/>
                <a:gd name="T15" fmla="*/ 316 h 467"/>
                <a:gd name="T16" fmla="*/ 21 w 312"/>
                <a:gd name="T17" fmla="*/ 295 h 467"/>
                <a:gd name="T18" fmla="*/ 38 w 312"/>
                <a:gd name="T19" fmla="*/ 227 h 467"/>
                <a:gd name="T20" fmla="*/ 54 w 312"/>
                <a:gd name="T21" fmla="*/ 210 h 467"/>
                <a:gd name="T22" fmla="*/ 42 w 312"/>
                <a:gd name="T23" fmla="*/ 156 h 467"/>
                <a:gd name="T24" fmla="*/ 38 w 312"/>
                <a:gd name="T25" fmla="*/ 149 h 467"/>
                <a:gd name="T26" fmla="*/ 42 w 312"/>
                <a:gd name="T27" fmla="*/ 116 h 467"/>
                <a:gd name="T28" fmla="*/ 38 w 312"/>
                <a:gd name="T29" fmla="*/ 111 h 467"/>
                <a:gd name="T30" fmla="*/ 38 w 312"/>
                <a:gd name="T31" fmla="*/ 61 h 467"/>
                <a:gd name="T32" fmla="*/ 21 w 312"/>
                <a:gd name="T33" fmla="*/ 26 h 467"/>
                <a:gd name="T34" fmla="*/ 30 w 312"/>
                <a:gd name="T35" fmla="*/ 5 h 467"/>
                <a:gd name="T36" fmla="*/ 160 w 312"/>
                <a:gd name="T37" fmla="*/ 5 h 467"/>
                <a:gd name="T38" fmla="*/ 182 w 312"/>
                <a:gd name="T39" fmla="*/ 5 h 467"/>
                <a:gd name="T40" fmla="*/ 182 w 312"/>
                <a:gd name="T41" fmla="*/ 16 h 467"/>
                <a:gd name="T42" fmla="*/ 205 w 312"/>
                <a:gd name="T43" fmla="*/ 0 h 467"/>
                <a:gd name="T44" fmla="*/ 219 w 312"/>
                <a:gd name="T45" fmla="*/ 0 h 467"/>
                <a:gd name="T46" fmla="*/ 231 w 312"/>
                <a:gd name="T47" fmla="*/ 5 h 467"/>
                <a:gd name="T48" fmla="*/ 219 w 312"/>
                <a:gd name="T49" fmla="*/ 26 h 467"/>
                <a:gd name="T50" fmla="*/ 252 w 312"/>
                <a:gd name="T51" fmla="*/ 54 h 467"/>
                <a:gd name="T52" fmla="*/ 252 w 312"/>
                <a:gd name="T53" fmla="*/ 61 h 467"/>
                <a:gd name="T54" fmla="*/ 257 w 312"/>
                <a:gd name="T55" fmla="*/ 78 h 467"/>
                <a:gd name="T56" fmla="*/ 248 w 312"/>
                <a:gd name="T57" fmla="*/ 116 h 467"/>
                <a:gd name="T58" fmla="*/ 257 w 312"/>
                <a:gd name="T59" fmla="*/ 116 h 467"/>
                <a:gd name="T60" fmla="*/ 269 w 312"/>
                <a:gd name="T61" fmla="*/ 127 h 467"/>
                <a:gd name="T62" fmla="*/ 257 w 312"/>
                <a:gd name="T63" fmla="*/ 149 h 467"/>
                <a:gd name="T64" fmla="*/ 269 w 312"/>
                <a:gd name="T65" fmla="*/ 165 h 467"/>
                <a:gd name="T66" fmla="*/ 252 w 312"/>
                <a:gd name="T67" fmla="*/ 172 h 467"/>
                <a:gd name="T68" fmla="*/ 286 w 312"/>
                <a:gd name="T69" fmla="*/ 205 h 467"/>
                <a:gd name="T70" fmla="*/ 274 w 312"/>
                <a:gd name="T71" fmla="*/ 210 h 467"/>
                <a:gd name="T72" fmla="*/ 269 w 312"/>
                <a:gd name="T73" fmla="*/ 243 h 467"/>
                <a:gd name="T74" fmla="*/ 269 w 312"/>
                <a:gd name="T75" fmla="*/ 260 h 467"/>
                <a:gd name="T76" fmla="*/ 269 w 312"/>
                <a:gd name="T77" fmla="*/ 267 h 467"/>
                <a:gd name="T78" fmla="*/ 274 w 312"/>
                <a:gd name="T79" fmla="*/ 276 h 467"/>
                <a:gd name="T80" fmla="*/ 274 w 312"/>
                <a:gd name="T81" fmla="*/ 300 h 467"/>
                <a:gd name="T82" fmla="*/ 269 w 312"/>
                <a:gd name="T83" fmla="*/ 300 h 467"/>
                <a:gd name="T84" fmla="*/ 286 w 312"/>
                <a:gd name="T85" fmla="*/ 338 h 467"/>
                <a:gd name="T86" fmla="*/ 302 w 312"/>
                <a:gd name="T87" fmla="*/ 349 h 467"/>
                <a:gd name="T88" fmla="*/ 312 w 312"/>
                <a:gd name="T89" fmla="*/ 361 h 467"/>
                <a:gd name="T90" fmla="*/ 302 w 312"/>
                <a:gd name="T91" fmla="*/ 390 h 467"/>
                <a:gd name="T92" fmla="*/ 274 w 312"/>
                <a:gd name="T93" fmla="*/ 390 h 467"/>
                <a:gd name="T94" fmla="*/ 269 w 312"/>
                <a:gd name="T95" fmla="*/ 373 h 467"/>
                <a:gd name="T96" fmla="*/ 248 w 312"/>
                <a:gd name="T97" fmla="*/ 361 h 467"/>
                <a:gd name="T98" fmla="*/ 269 w 312"/>
                <a:gd name="T99" fmla="*/ 373 h 467"/>
                <a:gd name="T100" fmla="*/ 274 w 312"/>
                <a:gd name="T101" fmla="*/ 390 h 467"/>
                <a:gd name="T102" fmla="*/ 248 w 312"/>
                <a:gd name="T103" fmla="*/ 390 h 467"/>
                <a:gd name="T104" fmla="*/ 177 w 312"/>
                <a:gd name="T105" fmla="*/ 427 h 467"/>
                <a:gd name="T106" fmla="*/ 113 w 312"/>
                <a:gd name="T107" fmla="*/ 444 h 467"/>
                <a:gd name="T108" fmla="*/ 85 w 312"/>
                <a:gd name="T109" fmla="*/ 467 h 467"/>
                <a:gd name="T110" fmla="*/ 68 w 312"/>
                <a:gd name="T111" fmla="*/ 451 h 467"/>
                <a:gd name="T112" fmla="*/ 16 w 312"/>
                <a:gd name="T113" fmla="*/ 432 h 467"/>
                <a:gd name="T114" fmla="*/ 16 w 312"/>
                <a:gd name="T115" fmla="*/ 432 h 467"/>
                <a:gd name="T116" fmla="*/ 16 w 312"/>
                <a:gd name="T117" fmla="*/ 432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2" h="467">
                  <a:moveTo>
                    <a:pt x="16" y="432"/>
                  </a:moveTo>
                  <a:lnTo>
                    <a:pt x="16" y="432"/>
                  </a:lnTo>
                  <a:lnTo>
                    <a:pt x="21" y="432"/>
                  </a:lnTo>
                  <a:lnTo>
                    <a:pt x="38" y="432"/>
                  </a:lnTo>
                  <a:lnTo>
                    <a:pt x="38" y="406"/>
                  </a:lnTo>
                  <a:lnTo>
                    <a:pt x="21" y="394"/>
                  </a:lnTo>
                  <a:lnTo>
                    <a:pt x="0" y="321"/>
                  </a:lnTo>
                  <a:lnTo>
                    <a:pt x="4" y="316"/>
                  </a:lnTo>
                  <a:lnTo>
                    <a:pt x="21" y="295"/>
                  </a:lnTo>
                  <a:lnTo>
                    <a:pt x="38" y="227"/>
                  </a:lnTo>
                  <a:lnTo>
                    <a:pt x="54" y="210"/>
                  </a:lnTo>
                  <a:lnTo>
                    <a:pt x="42" y="156"/>
                  </a:lnTo>
                  <a:lnTo>
                    <a:pt x="38" y="149"/>
                  </a:lnTo>
                  <a:lnTo>
                    <a:pt x="42" y="116"/>
                  </a:lnTo>
                  <a:lnTo>
                    <a:pt x="38" y="111"/>
                  </a:lnTo>
                  <a:lnTo>
                    <a:pt x="38" y="61"/>
                  </a:lnTo>
                  <a:lnTo>
                    <a:pt x="21" y="26"/>
                  </a:lnTo>
                  <a:lnTo>
                    <a:pt x="30" y="5"/>
                  </a:lnTo>
                  <a:lnTo>
                    <a:pt x="160" y="5"/>
                  </a:lnTo>
                  <a:lnTo>
                    <a:pt x="182" y="5"/>
                  </a:lnTo>
                  <a:lnTo>
                    <a:pt x="182" y="16"/>
                  </a:lnTo>
                  <a:lnTo>
                    <a:pt x="205" y="0"/>
                  </a:lnTo>
                  <a:lnTo>
                    <a:pt x="219" y="0"/>
                  </a:lnTo>
                  <a:lnTo>
                    <a:pt x="231" y="5"/>
                  </a:lnTo>
                  <a:lnTo>
                    <a:pt x="219" y="26"/>
                  </a:lnTo>
                  <a:lnTo>
                    <a:pt x="252" y="54"/>
                  </a:lnTo>
                  <a:lnTo>
                    <a:pt x="252" y="61"/>
                  </a:lnTo>
                  <a:lnTo>
                    <a:pt x="257" y="78"/>
                  </a:lnTo>
                  <a:lnTo>
                    <a:pt x="248" y="116"/>
                  </a:lnTo>
                  <a:lnTo>
                    <a:pt x="257" y="116"/>
                  </a:lnTo>
                  <a:lnTo>
                    <a:pt x="269" y="127"/>
                  </a:lnTo>
                  <a:lnTo>
                    <a:pt x="257" y="149"/>
                  </a:lnTo>
                  <a:lnTo>
                    <a:pt x="269" y="165"/>
                  </a:lnTo>
                  <a:lnTo>
                    <a:pt x="252" y="172"/>
                  </a:lnTo>
                  <a:lnTo>
                    <a:pt x="286" y="205"/>
                  </a:lnTo>
                  <a:lnTo>
                    <a:pt x="274" y="210"/>
                  </a:lnTo>
                  <a:lnTo>
                    <a:pt x="269" y="243"/>
                  </a:lnTo>
                  <a:lnTo>
                    <a:pt x="269" y="260"/>
                  </a:lnTo>
                  <a:lnTo>
                    <a:pt x="269" y="267"/>
                  </a:lnTo>
                  <a:lnTo>
                    <a:pt x="274" y="276"/>
                  </a:lnTo>
                  <a:lnTo>
                    <a:pt x="274" y="300"/>
                  </a:lnTo>
                  <a:lnTo>
                    <a:pt x="269" y="300"/>
                  </a:lnTo>
                  <a:lnTo>
                    <a:pt x="286" y="338"/>
                  </a:lnTo>
                  <a:lnTo>
                    <a:pt x="302" y="349"/>
                  </a:lnTo>
                  <a:lnTo>
                    <a:pt x="312" y="361"/>
                  </a:lnTo>
                  <a:lnTo>
                    <a:pt x="302" y="390"/>
                  </a:lnTo>
                  <a:lnTo>
                    <a:pt x="274" y="390"/>
                  </a:lnTo>
                  <a:lnTo>
                    <a:pt x="269" y="373"/>
                  </a:lnTo>
                  <a:lnTo>
                    <a:pt x="248" y="361"/>
                  </a:lnTo>
                  <a:lnTo>
                    <a:pt x="269" y="373"/>
                  </a:lnTo>
                  <a:lnTo>
                    <a:pt x="274" y="390"/>
                  </a:lnTo>
                  <a:lnTo>
                    <a:pt x="248" y="390"/>
                  </a:lnTo>
                  <a:lnTo>
                    <a:pt x="177" y="427"/>
                  </a:lnTo>
                  <a:lnTo>
                    <a:pt x="113" y="444"/>
                  </a:lnTo>
                  <a:lnTo>
                    <a:pt x="85" y="467"/>
                  </a:lnTo>
                  <a:lnTo>
                    <a:pt x="68" y="451"/>
                  </a:lnTo>
                  <a:lnTo>
                    <a:pt x="16" y="432"/>
                  </a:lnTo>
                  <a:lnTo>
                    <a:pt x="16" y="432"/>
                  </a:lnTo>
                  <a:lnTo>
                    <a:pt x="16" y="43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53" name="Freeform 458">
              <a:extLst>
                <a:ext uri="{FF2B5EF4-FFF2-40B4-BE49-F238E27FC236}">
                  <a16:creationId xmlns:a16="http://schemas.microsoft.com/office/drawing/2014/main" id="{F5FA8F52-0459-4F3A-88EF-141647F5C3D0}"/>
                </a:ext>
              </a:extLst>
            </p:cNvPr>
            <p:cNvSpPr>
              <a:spLocks/>
            </p:cNvSpPr>
            <p:nvPr/>
          </p:nvSpPr>
          <p:spPr bwMode="gray">
            <a:xfrm>
              <a:off x="6290689" y="3689166"/>
              <a:ext cx="213657" cy="160570"/>
            </a:xfrm>
            <a:custGeom>
              <a:avLst/>
              <a:gdLst>
                <a:gd name="T0" fmla="*/ 21 w 519"/>
                <a:gd name="T1" fmla="*/ 83 h 390"/>
                <a:gd name="T2" fmla="*/ 54 w 519"/>
                <a:gd name="T3" fmla="*/ 71 h 390"/>
                <a:gd name="T4" fmla="*/ 92 w 519"/>
                <a:gd name="T5" fmla="*/ 71 h 390"/>
                <a:gd name="T6" fmla="*/ 75 w 519"/>
                <a:gd name="T7" fmla="*/ 38 h 390"/>
                <a:gd name="T8" fmla="*/ 92 w 519"/>
                <a:gd name="T9" fmla="*/ 0 h 390"/>
                <a:gd name="T10" fmla="*/ 141 w 519"/>
                <a:gd name="T11" fmla="*/ 17 h 390"/>
                <a:gd name="T12" fmla="*/ 196 w 519"/>
                <a:gd name="T13" fmla="*/ 21 h 390"/>
                <a:gd name="T14" fmla="*/ 264 w 519"/>
                <a:gd name="T15" fmla="*/ 17 h 390"/>
                <a:gd name="T16" fmla="*/ 271 w 519"/>
                <a:gd name="T17" fmla="*/ 45 h 390"/>
                <a:gd name="T18" fmla="*/ 309 w 519"/>
                <a:gd name="T19" fmla="*/ 54 h 390"/>
                <a:gd name="T20" fmla="*/ 363 w 519"/>
                <a:gd name="T21" fmla="*/ 45 h 390"/>
                <a:gd name="T22" fmla="*/ 378 w 519"/>
                <a:gd name="T23" fmla="*/ 38 h 390"/>
                <a:gd name="T24" fmla="*/ 401 w 519"/>
                <a:gd name="T25" fmla="*/ 17 h 390"/>
                <a:gd name="T26" fmla="*/ 427 w 519"/>
                <a:gd name="T27" fmla="*/ 28 h 390"/>
                <a:gd name="T28" fmla="*/ 439 w 519"/>
                <a:gd name="T29" fmla="*/ 71 h 390"/>
                <a:gd name="T30" fmla="*/ 448 w 519"/>
                <a:gd name="T31" fmla="*/ 83 h 390"/>
                <a:gd name="T32" fmla="*/ 448 w 519"/>
                <a:gd name="T33" fmla="*/ 128 h 390"/>
                <a:gd name="T34" fmla="*/ 481 w 519"/>
                <a:gd name="T35" fmla="*/ 116 h 390"/>
                <a:gd name="T36" fmla="*/ 491 w 519"/>
                <a:gd name="T37" fmla="*/ 165 h 390"/>
                <a:gd name="T38" fmla="*/ 486 w 519"/>
                <a:gd name="T39" fmla="*/ 194 h 390"/>
                <a:gd name="T40" fmla="*/ 491 w 519"/>
                <a:gd name="T41" fmla="*/ 236 h 390"/>
                <a:gd name="T42" fmla="*/ 503 w 519"/>
                <a:gd name="T43" fmla="*/ 248 h 390"/>
                <a:gd name="T44" fmla="*/ 503 w 519"/>
                <a:gd name="T45" fmla="*/ 260 h 390"/>
                <a:gd name="T46" fmla="*/ 519 w 519"/>
                <a:gd name="T47" fmla="*/ 293 h 390"/>
                <a:gd name="T48" fmla="*/ 519 w 519"/>
                <a:gd name="T49" fmla="*/ 302 h 390"/>
                <a:gd name="T50" fmla="*/ 481 w 519"/>
                <a:gd name="T51" fmla="*/ 298 h 390"/>
                <a:gd name="T52" fmla="*/ 491 w 519"/>
                <a:gd name="T53" fmla="*/ 319 h 390"/>
                <a:gd name="T54" fmla="*/ 491 w 519"/>
                <a:gd name="T55" fmla="*/ 331 h 390"/>
                <a:gd name="T56" fmla="*/ 470 w 519"/>
                <a:gd name="T57" fmla="*/ 359 h 390"/>
                <a:gd name="T58" fmla="*/ 453 w 519"/>
                <a:gd name="T59" fmla="*/ 359 h 390"/>
                <a:gd name="T60" fmla="*/ 439 w 519"/>
                <a:gd name="T61" fmla="*/ 385 h 390"/>
                <a:gd name="T62" fmla="*/ 401 w 519"/>
                <a:gd name="T63" fmla="*/ 376 h 390"/>
                <a:gd name="T64" fmla="*/ 401 w 519"/>
                <a:gd name="T65" fmla="*/ 352 h 390"/>
                <a:gd name="T66" fmla="*/ 373 w 519"/>
                <a:gd name="T67" fmla="*/ 298 h 390"/>
                <a:gd name="T68" fmla="*/ 309 w 519"/>
                <a:gd name="T69" fmla="*/ 314 h 390"/>
                <a:gd name="T70" fmla="*/ 318 w 519"/>
                <a:gd name="T71" fmla="*/ 276 h 390"/>
                <a:gd name="T72" fmla="*/ 302 w 519"/>
                <a:gd name="T73" fmla="*/ 260 h 390"/>
                <a:gd name="T74" fmla="*/ 271 w 519"/>
                <a:gd name="T75" fmla="*/ 187 h 390"/>
                <a:gd name="T76" fmla="*/ 222 w 519"/>
                <a:gd name="T77" fmla="*/ 194 h 390"/>
                <a:gd name="T78" fmla="*/ 200 w 519"/>
                <a:gd name="T79" fmla="*/ 194 h 390"/>
                <a:gd name="T80" fmla="*/ 167 w 519"/>
                <a:gd name="T81" fmla="*/ 236 h 390"/>
                <a:gd name="T82" fmla="*/ 141 w 519"/>
                <a:gd name="T83" fmla="*/ 260 h 390"/>
                <a:gd name="T84" fmla="*/ 125 w 519"/>
                <a:gd name="T85" fmla="*/ 248 h 390"/>
                <a:gd name="T86" fmla="*/ 108 w 519"/>
                <a:gd name="T87" fmla="*/ 220 h 390"/>
                <a:gd name="T88" fmla="*/ 104 w 519"/>
                <a:gd name="T89" fmla="*/ 220 h 390"/>
                <a:gd name="T90" fmla="*/ 104 w 519"/>
                <a:gd name="T91" fmla="*/ 203 h 390"/>
                <a:gd name="T92" fmla="*/ 92 w 519"/>
                <a:gd name="T93" fmla="*/ 210 h 390"/>
                <a:gd name="T94" fmla="*/ 87 w 519"/>
                <a:gd name="T95" fmla="*/ 203 h 390"/>
                <a:gd name="T96" fmla="*/ 37 w 519"/>
                <a:gd name="T97" fmla="*/ 154 h 390"/>
                <a:gd name="T98" fmla="*/ 37 w 519"/>
                <a:gd name="T99" fmla="*/ 132 h 390"/>
                <a:gd name="T100" fmla="*/ 16 w 519"/>
                <a:gd name="T101" fmla="*/ 128 h 390"/>
                <a:gd name="T102" fmla="*/ 16 w 519"/>
                <a:gd name="T103" fmla="*/ 116 h 390"/>
                <a:gd name="T104" fmla="*/ 0 w 519"/>
                <a:gd name="T105" fmla="*/ 132 h 390"/>
                <a:gd name="T106" fmla="*/ 0 w 519"/>
                <a:gd name="T107" fmla="*/ 128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9" h="390">
                  <a:moveTo>
                    <a:pt x="0" y="128"/>
                  </a:moveTo>
                  <a:lnTo>
                    <a:pt x="21" y="83"/>
                  </a:lnTo>
                  <a:lnTo>
                    <a:pt x="37" y="78"/>
                  </a:lnTo>
                  <a:lnTo>
                    <a:pt x="54" y="71"/>
                  </a:lnTo>
                  <a:lnTo>
                    <a:pt x="75" y="71"/>
                  </a:lnTo>
                  <a:lnTo>
                    <a:pt x="92" y="71"/>
                  </a:lnTo>
                  <a:lnTo>
                    <a:pt x="92" y="45"/>
                  </a:lnTo>
                  <a:lnTo>
                    <a:pt x="75" y="38"/>
                  </a:lnTo>
                  <a:lnTo>
                    <a:pt x="104" y="21"/>
                  </a:lnTo>
                  <a:lnTo>
                    <a:pt x="92" y="0"/>
                  </a:lnTo>
                  <a:lnTo>
                    <a:pt x="141" y="0"/>
                  </a:lnTo>
                  <a:lnTo>
                    <a:pt x="141" y="17"/>
                  </a:lnTo>
                  <a:lnTo>
                    <a:pt x="158" y="7"/>
                  </a:lnTo>
                  <a:lnTo>
                    <a:pt x="196" y="21"/>
                  </a:lnTo>
                  <a:lnTo>
                    <a:pt x="217" y="17"/>
                  </a:lnTo>
                  <a:lnTo>
                    <a:pt x="264" y="17"/>
                  </a:lnTo>
                  <a:lnTo>
                    <a:pt x="255" y="28"/>
                  </a:lnTo>
                  <a:lnTo>
                    <a:pt x="271" y="45"/>
                  </a:lnTo>
                  <a:lnTo>
                    <a:pt x="285" y="28"/>
                  </a:lnTo>
                  <a:lnTo>
                    <a:pt x="309" y="54"/>
                  </a:lnTo>
                  <a:lnTo>
                    <a:pt x="330" y="28"/>
                  </a:lnTo>
                  <a:lnTo>
                    <a:pt x="363" y="45"/>
                  </a:lnTo>
                  <a:lnTo>
                    <a:pt x="378" y="45"/>
                  </a:lnTo>
                  <a:lnTo>
                    <a:pt x="378" y="38"/>
                  </a:lnTo>
                  <a:lnTo>
                    <a:pt x="401" y="28"/>
                  </a:lnTo>
                  <a:lnTo>
                    <a:pt x="401" y="17"/>
                  </a:lnTo>
                  <a:lnTo>
                    <a:pt x="427" y="17"/>
                  </a:lnTo>
                  <a:lnTo>
                    <a:pt x="427" y="28"/>
                  </a:lnTo>
                  <a:lnTo>
                    <a:pt x="439" y="54"/>
                  </a:lnTo>
                  <a:lnTo>
                    <a:pt x="439" y="71"/>
                  </a:lnTo>
                  <a:lnTo>
                    <a:pt x="448" y="71"/>
                  </a:lnTo>
                  <a:lnTo>
                    <a:pt x="448" y="83"/>
                  </a:lnTo>
                  <a:lnTo>
                    <a:pt x="470" y="95"/>
                  </a:lnTo>
                  <a:lnTo>
                    <a:pt x="448" y="128"/>
                  </a:lnTo>
                  <a:lnTo>
                    <a:pt x="465" y="116"/>
                  </a:lnTo>
                  <a:lnTo>
                    <a:pt x="481" y="116"/>
                  </a:lnTo>
                  <a:lnTo>
                    <a:pt x="481" y="154"/>
                  </a:lnTo>
                  <a:lnTo>
                    <a:pt x="491" y="165"/>
                  </a:lnTo>
                  <a:lnTo>
                    <a:pt x="491" y="182"/>
                  </a:lnTo>
                  <a:lnTo>
                    <a:pt x="486" y="194"/>
                  </a:lnTo>
                  <a:lnTo>
                    <a:pt x="486" y="227"/>
                  </a:lnTo>
                  <a:lnTo>
                    <a:pt x="491" y="236"/>
                  </a:lnTo>
                  <a:lnTo>
                    <a:pt x="503" y="236"/>
                  </a:lnTo>
                  <a:lnTo>
                    <a:pt x="503" y="248"/>
                  </a:lnTo>
                  <a:lnTo>
                    <a:pt x="519" y="260"/>
                  </a:lnTo>
                  <a:lnTo>
                    <a:pt x="503" y="260"/>
                  </a:lnTo>
                  <a:lnTo>
                    <a:pt x="503" y="276"/>
                  </a:lnTo>
                  <a:lnTo>
                    <a:pt x="519" y="293"/>
                  </a:lnTo>
                  <a:lnTo>
                    <a:pt x="519" y="302"/>
                  </a:lnTo>
                  <a:lnTo>
                    <a:pt x="519" y="302"/>
                  </a:lnTo>
                  <a:lnTo>
                    <a:pt x="507" y="298"/>
                  </a:lnTo>
                  <a:lnTo>
                    <a:pt x="481" y="298"/>
                  </a:lnTo>
                  <a:lnTo>
                    <a:pt x="481" y="319"/>
                  </a:lnTo>
                  <a:lnTo>
                    <a:pt x="491" y="319"/>
                  </a:lnTo>
                  <a:lnTo>
                    <a:pt x="503" y="336"/>
                  </a:lnTo>
                  <a:lnTo>
                    <a:pt x="491" y="331"/>
                  </a:lnTo>
                  <a:lnTo>
                    <a:pt x="481" y="369"/>
                  </a:lnTo>
                  <a:lnTo>
                    <a:pt x="470" y="359"/>
                  </a:lnTo>
                  <a:lnTo>
                    <a:pt x="465" y="369"/>
                  </a:lnTo>
                  <a:lnTo>
                    <a:pt x="453" y="359"/>
                  </a:lnTo>
                  <a:lnTo>
                    <a:pt x="448" y="359"/>
                  </a:lnTo>
                  <a:lnTo>
                    <a:pt x="439" y="385"/>
                  </a:lnTo>
                  <a:lnTo>
                    <a:pt x="415" y="390"/>
                  </a:lnTo>
                  <a:lnTo>
                    <a:pt x="401" y="376"/>
                  </a:lnTo>
                  <a:lnTo>
                    <a:pt x="394" y="385"/>
                  </a:lnTo>
                  <a:lnTo>
                    <a:pt x="401" y="352"/>
                  </a:lnTo>
                  <a:lnTo>
                    <a:pt x="394" y="314"/>
                  </a:lnTo>
                  <a:lnTo>
                    <a:pt x="373" y="298"/>
                  </a:lnTo>
                  <a:lnTo>
                    <a:pt x="340" y="298"/>
                  </a:lnTo>
                  <a:lnTo>
                    <a:pt x="309" y="314"/>
                  </a:lnTo>
                  <a:lnTo>
                    <a:pt x="323" y="281"/>
                  </a:lnTo>
                  <a:lnTo>
                    <a:pt x="318" y="276"/>
                  </a:lnTo>
                  <a:lnTo>
                    <a:pt x="318" y="260"/>
                  </a:lnTo>
                  <a:lnTo>
                    <a:pt x="302" y="260"/>
                  </a:lnTo>
                  <a:lnTo>
                    <a:pt x="309" y="243"/>
                  </a:lnTo>
                  <a:lnTo>
                    <a:pt x="271" y="187"/>
                  </a:lnTo>
                  <a:lnTo>
                    <a:pt x="222" y="187"/>
                  </a:lnTo>
                  <a:lnTo>
                    <a:pt x="222" y="194"/>
                  </a:lnTo>
                  <a:lnTo>
                    <a:pt x="210" y="203"/>
                  </a:lnTo>
                  <a:lnTo>
                    <a:pt x="200" y="194"/>
                  </a:lnTo>
                  <a:lnTo>
                    <a:pt x="184" y="194"/>
                  </a:lnTo>
                  <a:lnTo>
                    <a:pt x="167" y="236"/>
                  </a:lnTo>
                  <a:lnTo>
                    <a:pt x="146" y="243"/>
                  </a:lnTo>
                  <a:lnTo>
                    <a:pt x="141" y="260"/>
                  </a:lnTo>
                  <a:lnTo>
                    <a:pt x="125" y="260"/>
                  </a:lnTo>
                  <a:lnTo>
                    <a:pt x="125" y="248"/>
                  </a:lnTo>
                  <a:lnTo>
                    <a:pt x="108" y="227"/>
                  </a:lnTo>
                  <a:lnTo>
                    <a:pt x="108" y="220"/>
                  </a:lnTo>
                  <a:lnTo>
                    <a:pt x="108" y="227"/>
                  </a:lnTo>
                  <a:lnTo>
                    <a:pt x="104" y="220"/>
                  </a:lnTo>
                  <a:lnTo>
                    <a:pt x="104" y="210"/>
                  </a:lnTo>
                  <a:lnTo>
                    <a:pt x="104" y="203"/>
                  </a:lnTo>
                  <a:lnTo>
                    <a:pt x="104" y="210"/>
                  </a:lnTo>
                  <a:lnTo>
                    <a:pt x="92" y="210"/>
                  </a:lnTo>
                  <a:lnTo>
                    <a:pt x="104" y="194"/>
                  </a:lnTo>
                  <a:lnTo>
                    <a:pt x="87" y="203"/>
                  </a:lnTo>
                  <a:lnTo>
                    <a:pt x="49" y="170"/>
                  </a:lnTo>
                  <a:lnTo>
                    <a:pt x="37" y="154"/>
                  </a:lnTo>
                  <a:lnTo>
                    <a:pt x="33" y="154"/>
                  </a:lnTo>
                  <a:lnTo>
                    <a:pt x="37" y="132"/>
                  </a:lnTo>
                  <a:lnTo>
                    <a:pt x="21" y="149"/>
                  </a:lnTo>
                  <a:lnTo>
                    <a:pt x="16" y="128"/>
                  </a:lnTo>
                  <a:lnTo>
                    <a:pt x="21" y="116"/>
                  </a:lnTo>
                  <a:lnTo>
                    <a:pt x="16" y="116"/>
                  </a:lnTo>
                  <a:lnTo>
                    <a:pt x="4" y="132"/>
                  </a:lnTo>
                  <a:lnTo>
                    <a:pt x="0" y="132"/>
                  </a:lnTo>
                  <a:lnTo>
                    <a:pt x="0" y="128"/>
                  </a:lnTo>
                  <a:lnTo>
                    <a:pt x="0" y="128"/>
                  </a:lnTo>
                  <a:lnTo>
                    <a:pt x="0" y="12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54" name="Freeform 460">
              <a:extLst>
                <a:ext uri="{FF2B5EF4-FFF2-40B4-BE49-F238E27FC236}">
                  <a16:creationId xmlns:a16="http://schemas.microsoft.com/office/drawing/2014/main" id="{85B45E30-EB23-4C55-B0E9-360B74FF63AB}"/>
                </a:ext>
              </a:extLst>
            </p:cNvPr>
            <p:cNvSpPr>
              <a:spLocks/>
            </p:cNvSpPr>
            <p:nvPr/>
          </p:nvSpPr>
          <p:spPr bwMode="gray">
            <a:xfrm>
              <a:off x="7713009" y="3097941"/>
              <a:ext cx="9057" cy="8646"/>
            </a:xfrm>
            <a:custGeom>
              <a:avLst/>
              <a:gdLst>
                <a:gd name="T0" fmla="*/ 22 w 22"/>
                <a:gd name="T1" fmla="*/ 0 h 21"/>
                <a:gd name="T2" fmla="*/ 22 w 22"/>
                <a:gd name="T3" fmla="*/ 0 h 21"/>
                <a:gd name="T4" fmla="*/ 10 w 22"/>
                <a:gd name="T5" fmla="*/ 21 h 21"/>
                <a:gd name="T6" fmla="*/ 0 w 22"/>
                <a:gd name="T7" fmla="*/ 14 h 21"/>
                <a:gd name="T8" fmla="*/ 22 w 22"/>
                <a:gd name="T9" fmla="*/ 0 h 21"/>
                <a:gd name="T10" fmla="*/ 22 w 22"/>
                <a:gd name="T11" fmla="*/ 0 h 21"/>
                <a:gd name="T12" fmla="*/ 22 w 2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22" y="0"/>
                  </a:moveTo>
                  <a:lnTo>
                    <a:pt x="22" y="0"/>
                  </a:lnTo>
                  <a:lnTo>
                    <a:pt x="10" y="21"/>
                  </a:lnTo>
                  <a:lnTo>
                    <a:pt x="0" y="14"/>
                  </a:lnTo>
                  <a:lnTo>
                    <a:pt x="22" y="0"/>
                  </a:lnTo>
                  <a:lnTo>
                    <a:pt x="22" y="0"/>
                  </a:lnTo>
                  <a:lnTo>
                    <a:pt x="22"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55" name="Freeform 462">
              <a:extLst>
                <a:ext uri="{FF2B5EF4-FFF2-40B4-BE49-F238E27FC236}">
                  <a16:creationId xmlns:a16="http://schemas.microsoft.com/office/drawing/2014/main" id="{89644CDE-619C-476F-B9CF-B52DCECC506B}"/>
                </a:ext>
              </a:extLst>
            </p:cNvPr>
            <p:cNvSpPr>
              <a:spLocks/>
            </p:cNvSpPr>
            <p:nvPr/>
          </p:nvSpPr>
          <p:spPr bwMode="gray">
            <a:xfrm>
              <a:off x="8840161" y="5802503"/>
              <a:ext cx="17702" cy="8646"/>
            </a:xfrm>
            <a:custGeom>
              <a:avLst/>
              <a:gdLst>
                <a:gd name="T0" fmla="*/ 43 w 43"/>
                <a:gd name="T1" fmla="*/ 17 h 21"/>
                <a:gd name="T2" fmla="*/ 14 w 43"/>
                <a:gd name="T3" fmla="*/ 21 h 21"/>
                <a:gd name="T4" fmla="*/ 0 w 43"/>
                <a:gd name="T5" fmla="*/ 0 h 21"/>
                <a:gd name="T6" fmla="*/ 43 w 43"/>
                <a:gd name="T7" fmla="*/ 17 h 21"/>
                <a:gd name="T8" fmla="*/ 43 w 43"/>
                <a:gd name="T9" fmla="*/ 17 h 21"/>
                <a:gd name="T10" fmla="*/ 43 w 43"/>
                <a:gd name="T11" fmla="*/ 17 h 21"/>
              </a:gdLst>
              <a:ahLst/>
              <a:cxnLst>
                <a:cxn ang="0">
                  <a:pos x="T0" y="T1"/>
                </a:cxn>
                <a:cxn ang="0">
                  <a:pos x="T2" y="T3"/>
                </a:cxn>
                <a:cxn ang="0">
                  <a:pos x="T4" y="T5"/>
                </a:cxn>
                <a:cxn ang="0">
                  <a:pos x="T6" y="T7"/>
                </a:cxn>
                <a:cxn ang="0">
                  <a:pos x="T8" y="T9"/>
                </a:cxn>
                <a:cxn ang="0">
                  <a:pos x="T10" y="T11"/>
                </a:cxn>
              </a:cxnLst>
              <a:rect l="0" t="0" r="r" b="b"/>
              <a:pathLst>
                <a:path w="43" h="21">
                  <a:moveTo>
                    <a:pt x="43" y="17"/>
                  </a:moveTo>
                  <a:lnTo>
                    <a:pt x="14" y="21"/>
                  </a:lnTo>
                  <a:lnTo>
                    <a:pt x="0" y="0"/>
                  </a:lnTo>
                  <a:lnTo>
                    <a:pt x="43" y="17"/>
                  </a:lnTo>
                  <a:lnTo>
                    <a:pt x="43" y="17"/>
                  </a:lnTo>
                  <a:lnTo>
                    <a:pt x="43"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56" name="Freeform 470">
              <a:extLst>
                <a:ext uri="{FF2B5EF4-FFF2-40B4-BE49-F238E27FC236}">
                  <a16:creationId xmlns:a16="http://schemas.microsoft.com/office/drawing/2014/main" id="{D6BE30FB-0574-4754-A0B2-90F3EBD29B79}"/>
                </a:ext>
              </a:extLst>
            </p:cNvPr>
            <p:cNvSpPr>
              <a:spLocks/>
            </p:cNvSpPr>
            <p:nvPr/>
          </p:nvSpPr>
          <p:spPr bwMode="gray">
            <a:xfrm>
              <a:off x="8815050" y="4277508"/>
              <a:ext cx="3705" cy="6999"/>
            </a:xfrm>
            <a:custGeom>
              <a:avLst/>
              <a:gdLst>
                <a:gd name="T0" fmla="*/ 9 w 9"/>
                <a:gd name="T1" fmla="*/ 17 h 17"/>
                <a:gd name="T2" fmla="*/ 0 w 9"/>
                <a:gd name="T3" fmla="*/ 12 h 17"/>
                <a:gd name="T4" fmla="*/ 9 w 9"/>
                <a:gd name="T5" fmla="*/ 17 h 17"/>
                <a:gd name="T6" fmla="*/ 9 w 9"/>
                <a:gd name="T7" fmla="*/ 0 h 17"/>
                <a:gd name="T8" fmla="*/ 9 w 9"/>
                <a:gd name="T9" fmla="*/ 12 h 17"/>
                <a:gd name="T10" fmla="*/ 9 w 9"/>
                <a:gd name="T11" fmla="*/ 17 h 17"/>
                <a:gd name="T12" fmla="*/ 9 w 9"/>
                <a:gd name="T13" fmla="*/ 17 h 17"/>
                <a:gd name="T14" fmla="*/ 9 w 9"/>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7">
                  <a:moveTo>
                    <a:pt x="9" y="17"/>
                  </a:moveTo>
                  <a:lnTo>
                    <a:pt x="0" y="12"/>
                  </a:lnTo>
                  <a:lnTo>
                    <a:pt x="9" y="17"/>
                  </a:lnTo>
                  <a:lnTo>
                    <a:pt x="9" y="0"/>
                  </a:lnTo>
                  <a:lnTo>
                    <a:pt x="9" y="12"/>
                  </a:lnTo>
                  <a:lnTo>
                    <a:pt x="9" y="17"/>
                  </a:lnTo>
                  <a:lnTo>
                    <a:pt x="9" y="17"/>
                  </a:lnTo>
                  <a:lnTo>
                    <a:pt x="9"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57" name="Freeform 471">
              <a:extLst>
                <a:ext uri="{FF2B5EF4-FFF2-40B4-BE49-F238E27FC236}">
                  <a16:creationId xmlns:a16="http://schemas.microsoft.com/office/drawing/2014/main" id="{B88E3E0C-1484-4A42-928F-BB1E6B6EF56E}"/>
                </a:ext>
              </a:extLst>
            </p:cNvPr>
            <p:cNvSpPr>
              <a:spLocks noEditPoints="1"/>
            </p:cNvSpPr>
            <p:nvPr/>
          </p:nvSpPr>
          <p:spPr bwMode="gray">
            <a:xfrm>
              <a:off x="7995003" y="2821679"/>
              <a:ext cx="560283" cy="484178"/>
            </a:xfrm>
            <a:custGeom>
              <a:avLst/>
              <a:gdLst>
                <a:gd name="T0" fmla="*/ 1252 w 1361"/>
                <a:gd name="T1" fmla="*/ 711 h 1176"/>
                <a:gd name="T2" fmla="*/ 1238 w 1361"/>
                <a:gd name="T3" fmla="*/ 893 h 1176"/>
                <a:gd name="T4" fmla="*/ 1323 w 1361"/>
                <a:gd name="T5" fmla="*/ 933 h 1176"/>
                <a:gd name="T6" fmla="*/ 1361 w 1361"/>
                <a:gd name="T7" fmla="*/ 1021 h 1176"/>
                <a:gd name="T8" fmla="*/ 1297 w 1361"/>
                <a:gd name="T9" fmla="*/ 1061 h 1176"/>
                <a:gd name="T10" fmla="*/ 1252 w 1361"/>
                <a:gd name="T11" fmla="*/ 1094 h 1176"/>
                <a:gd name="T12" fmla="*/ 1222 w 1361"/>
                <a:gd name="T13" fmla="*/ 1176 h 1176"/>
                <a:gd name="T14" fmla="*/ 1163 w 1361"/>
                <a:gd name="T15" fmla="*/ 1165 h 1176"/>
                <a:gd name="T16" fmla="*/ 1059 w 1361"/>
                <a:gd name="T17" fmla="*/ 1155 h 1176"/>
                <a:gd name="T18" fmla="*/ 983 w 1361"/>
                <a:gd name="T19" fmla="*/ 1132 h 1176"/>
                <a:gd name="T20" fmla="*/ 898 w 1361"/>
                <a:gd name="T21" fmla="*/ 1021 h 1176"/>
                <a:gd name="T22" fmla="*/ 823 w 1361"/>
                <a:gd name="T23" fmla="*/ 1028 h 1176"/>
                <a:gd name="T24" fmla="*/ 730 w 1361"/>
                <a:gd name="T25" fmla="*/ 1054 h 1176"/>
                <a:gd name="T26" fmla="*/ 605 w 1361"/>
                <a:gd name="T27" fmla="*/ 999 h 1176"/>
                <a:gd name="T28" fmla="*/ 525 w 1361"/>
                <a:gd name="T29" fmla="*/ 954 h 1176"/>
                <a:gd name="T30" fmla="*/ 482 w 1361"/>
                <a:gd name="T31" fmla="*/ 876 h 1176"/>
                <a:gd name="T32" fmla="*/ 466 w 1361"/>
                <a:gd name="T33" fmla="*/ 839 h 1176"/>
                <a:gd name="T34" fmla="*/ 390 w 1361"/>
                <a:gd name="T35" fmla="*/ 782 h 1176"/>
                <a:gd name="T36" fmla="*/ 374 w 1361"/>
                <a:gd name="T37" fmla="*/ 761 h 1176"/>
                <a:gd name="T38" fmla="*/ 319 w 1361"/>
                <a:gd name="T39" fmla="*/ 798 h 1176"/>
                <a:gd name="T40" fmla="*/ 286 w 1361"/>
                <a:gd name="T41" fmla="*/ 721 h 1176"/>
                <a:gd name="T42" fmla="*/ 244 w 1361"/>
                <a:gd name="T43" fmla="*/ 610 h 1176"/>
                <a:gd name="T44" fmla="*/ 147 w 1361"/>
                <a:gd name="T45" fmla="*/ 560 h 1176"/>
                <a:gd name="T46" fmla="*/ 142 w 1361"/>
                <a:gd name="T47" fmla="*/ 510 h 1176"/>
                <a:gd name="T48" fmla="*/ 104 w 1361"/>
                <a:gd name="T49" fmla="*/ 473 h 1176"/>
                <a:gd name="T50" fmla="*/ 109 w 1361"/>
                <a:gd name="T51" fmla="*/ 428 h 1176"/>
                <a:gd name="T52" fmla="*/ 142 w 1361"/>
                <a:gd name="T53" fmla="*/ 390 h 1176"/>
                <a:gd name="T54" fmla="*/ 142 w 1361"/>
                <a:gd name="T55" fmla="*/ 338 h 1176"/>
                <a:gd name="T56" fmla="*/ 119 w 1361"/>
                <a:gd name="T57" fmla="*/ 317 h 1176"/>
                <a:gd name="T58" fmla="*/ 71 w 1361"/>
                <a:gd name="T59" fmla="*/ 267 h 1176"/>
                <a:gd name="T60" fmla="*/ 55 w 1361"/>
                <a:gd name="T61" fmla="*/ 222 h 1176"/>
                <a:gd name="T62" fmla="*/ 17 w 1361"/>
                <a:gd name="T63" fmla="*/ 156 h 1176"/>
                <a:gd name="T64" fmla="*/ 17 w 1361"/>
                <a:gd name="T65" fmla="*/ 66 h 1176"/>
                <a:gd name="T66" fmla="*/ 34 w 1361"/>
                <a:gd name="T67" fmla="*/ 7 h 1176"/>
                <a:gd name="T68" fmla="*/ 93 w 1361"/>
                <a:gd name="T69" fmla="*/ 45 h 1176"/>
                <a:gd name="T70" fmla="*/ 201 w 1361"/>
                <a:gd name="T71" fmla="*/ 45 h 1176"/>
                <a:gd name="T72" fmla="*/ 303 w 1361"/>
                <a:gd name="T73" fmla="*/ 62 h 1176"/>
                <a:gd name="T74" fmla="*/ 308 w 1361"/>
                <a:gd name="T75" fmla="*/ 95 h 1176"/>
                <a:gd name="T76" fmla="*/ 357 w 1361"/>
                <a:gd name="T77" fmla="*/ 173 h 1176"/>
                <a:gd name="T78" fmla="*/ 504 w 1361"/>
                <a:gd name="T79" fmla="*/ 250 h 1176"/>
                <a:gd name="T80" fmla="*/ 697 w 1361"/>
                <a:gd name="T81" fmla="*/ 246 h 1176"/>
                <a:gd name="T82" fmla="*/ 719 w 1361"/>
                <a:gd name="T83" fmla="*/ 206 h 1176"/>
                <a:gd name="T84" fmla="*/ 806 w 1361"/>
                <a:gd name="T85" fmla="*/ 139 h 1176"/>
                <a:gd name="T86" fmla="*/ 874 w 1361"/>
                <a:gd name="T87" fmla="*/ 123 h 1176"/>
                <a:gd name="T88" fmla="*/ 945 w 1361"/>
                <a:gd name="T89" fmla="*/ 151 h 1176"/>
                <a:gd name="T90" fmla="*/ 1075 w 1361"/>
                <a:gd name="T91" fmla="*/ 189 h 1176"/>
                <a:gd name="T92" fmla="*/ 1205 w 1361"/>
                <a:gd name="T93" fmla="*/ 262 h 1176"/>
                <a:gd name="T94" fmla="*/ 1189 w 1361"/>
                <a:gd name="T95" fmla="*/ 428 h 1176"/>
                <a:gd name="T96" fmla="*/ 1163 w 1361"/>
                <a:gd name="T97" fmla="*/ 465 h 1176"/>
                <a:gd name="T98" fmla="*/ 1184 w 1361"/>
                <a:gd name="T99" fmla="*/ 617 h 1176"/>
                <a:gd name="T100" fmla="*/ 865 w 1361"/>
                <a:gd name="T101" fmla="*/ 1037 h 1176"/>
                <a:gd name="T102" fmla="*/ 827 w 1361"/>
                <a:gd name="T103" fmla="*/ 1044 h 1176"/>
                <a:gd name="T104" fmla="*/ 865 w 1361"/>
                <a:gd name="T105" fmla="*/ 1037 h 1176"/>
                <a:gd name="T106" fmla="*/ 823 w 1361"/>
                <a:gd name="T107" fmla="*/ 1044 h 1176"/>
                <a:gd name="T108" fmla="*/ 697 w 1361"/>
                <a:gd name="T109" fmla="*/ 1065 h 1176"/>
                <a:gd name="T110" fmla="*/ 702 w 1361"/>
                <a:gd name="T111" fmla="*/ 1065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61" h="1176">
                  <a:moveTo>
                    <a:pt x="1184" y="638"/>
                  </a:moveTo>
                  <a:lnTo>
                    <a:pt x="1184" y="678"/>
                  </a:lnTo>
                  <a:lnTo>
                    <a:pt x="1243" y="687"/>
                  </a:lnTo>
                  <a:lnTo>
                    <a:pt x="1252" y="711"/>
                  </a:lnTo>
                  <a:lnTo>
                    <a:pt x="1243" y="732"/>
                  </a:lnTo>
                  <a:lnTo>
                    <a:pt x="1184" y="806"/>
                  </a:lnTo>
                  <a:lnTo>
                    <a:pt x="1215" y="843"/>
                  </a:lnTo>
                  <a:lnTo>
                    <a:pt x="1238" y="893"/>
                  </a:lnTo>
                  <a:lnTo>
                    <a:pt x="1260" y="910"/>
                  </a:lnTo>
                  <a:lnTo>
                    <a:pt x="1290" y="917"/>
                  </a:lnTo>
                  <a:lnTo>
                    <a:pt x="1307" y="933"/>
                  </a:lnTo>
                  <a:lnTo>
                    <a:pt x="1323" y="933"/>
                  </a:lnTo>
                  <a:lnTo>
                    <a:pt x="1323" y="999"/>
                  </a:lnTo>
                  <a:lnTo>
                    <a:pt x="1323" y="1011"/>
                  </a:lnTo>
                  <a:lnTo>
                    <a:pt x="1349" y="1004"/>
                  </a:lnTo>
                  <a:lnTo>
                    <a:pt x="1361" y="1021"/>
                  </a:lnTo>
                  <a:lnTo>
                    <a:pt x="1349" y="1021"/>
                  </a:lnTo>
                  <a:lnTo>
                    <a:pt x="1345" y="1061"/>
                  </a:lnTo>
                  <a:lnTo>
                    <a:pt x="1323" y="1061"/>
                  </a:lnTo>
                  <a:lnTo>
                    <a:pt x="1297" y="1061"/>
                  </a:lnTo>
                  <a:lnTo>
                    <a:pt x="1281" y="1065"/>
                  </a:lnTo>
                  <a:lnTo>
                    <a:pt x="1281" y="1077"/>
                  </a:lnTo>
                  <a:lnTo>
                    <a:pt x="1276" y="1077"/>
                  </a:lnTo>
                  <a:lnTo>
                    <a:pt x="1252" y="1094"/>
                  </a:lnTo>
                  <a:lnTo>
                    <a:pt x="1252" y="1120"/>
                  </a:lnTo>
                  <a:lnTo>
                    <a:pt x="1243" y="1120"/>
                  </a:lnTo>
                  <a:lnTo>
                    <a:pt x="1238" y="1172"/>
                  </a:lnTo>
                  <a:lnTo>
                    <a:pt x="1222" y="1176"/>
                  </a:lnTo>
                  <a:lnTo>
                    <a:pt x="1167" y="1165"/>
                  </a:lnTo>
                  <a:lnTo>
                    <a:pt x="1163" y="1148"/>
                  </a:lnTo>
                  <a:lnTo>
                    <a:pt x="1151" y="1155"/>
                  </a:lnTo>
                  <a:lnTo>
                    <a:pt x="1163" y="1165"/>
                  </a:lnTo>
                  <a:lnTo>
                    <a:pt x="1146" y="1155"/>
                  </a:lnTo>
                  <a:lnTo>
                    <a:pt x="1097" y="1155"/>
                  </a:lnTo>
                  <a:lnTo>
                    <a:pt x="1092" y="1148"/>
                  </a:lnTo>
                  <a:lnTo>
                    <a:pt x="1059" y="1155"/>
                  </a:lnTo>
                  <a:lnTo>
                    <a:pt x="1042" y="1139"/>
                  </a:lnTo>
                  <a:lnTo>
                    <a:pt x="1011" y="1139"/>
                  </a:lnTo>
                  <a:lnTo>
                    <a:pt x="1000" y="1139"/>
                  </a:lnTo>
                  <a:lnTo>
                    <a:pt x="983" y="1132"/>
                  </a:lnTo>
                  <a:lnTo>
                    <a:pt x="936" y="1120"/>
                  </a:lnTo>
                  <a:lnTo>
                    <a:pt x="929" y="1098"/>
                  </a:lnTo>
                  <a:lnTo>
                    <a:pt x="912" y="1044"/>
                  </a:lnTo>
                  <a:lnTo>
                    <a:pt x="898" y="1021"/>
                  </a:lnTo>
                  <a:lnTo>
                    <a:pt x="891" y="1021"/>
                  </a:lnTo>
                  <a:lnTo>
                    <a:pt x="849" y="1021"/>
                  </a:lnTo>
                  <a:lnTo>
                    <a:pt x="844" y="1028"/>
                  </a:lnTo>
                  <a:lnTo>
                    <a:pt x="823" y="1028"/>
                  </a:lnTo>
                  <a:lnTo>
                    <a:pt x="811" y="1044"/>
                  </a:lnTo>
                  <a:lnTo>
                    <a:pt x="789" y="1044"/>
                  </a:lnTo>
                  <a:lnTo>
                    <a:pt x="756" y="1065"/>
                  </a:lnTo>
                  <a:lnTo>
                    <a:pt x="730" y="1054"/>
                  </a:lnTo>
                  <a:lnTo>
                    <a:pt x="686" y="1054"/>
                  </a:lnTo>
                  <a:lnTo>
                    <a:pt x="660" y="1028"/>
                  </a:lnTo>
                  <a:lnTo>
                    <a:pt x="605" y="1004"/>
                  </a:lnTo>
                  <a:lnTo>
                    <a:pt x="605" y="999"/>
                  </a:lnTo>
                  <a:lnTo>
                    <a:pt x="596" y="983"/>
                  </a:lnTo>
                  <a:lnTo>
                    <a:pt x="567" y="966"/>
                  </a:lnTo>
                  <a:lnTo>
                    <a:pt x="534" y="966"/>
                  </a:lnTo>
                  <a:lnTo>
                    <a:pt x="525" y="954"/>
                  </a:lnTo>
                  <a:lnTo>
                    <a:pt x="497" y="910"/>
                  </a:lnTo>
                  <a:lnTo>
                    <a:pt x="497" y="893"/>
                  </a:lnTo>
                  <a:lnTo>
                    <a:pt x="482" y="876"/>
                  </a:lnTo>
                  <a:lnTo>
                    <a:pt x="482" y="876"/>
                  </a:lnTo>
                  <a:lnTo>
                    <a:pt x="487" y="876"/>
                  </a:lnTo>
                  <a:lnTo>
                    <a:pt x="487" y="872"/>
                  </a:lnTo>
                  <a:lnTo>
                    <a:pt x="466" y="860"/>
                  </a:lnTo>
                  <a:lnTo>
                    <a:pt x="466" y="839"/>
                  </a:lnTo>
                  <a:lnTo>
                    <a:pt x="433" y="798"/>
                  </a:lnTo>
                  <a:lnTo>
                    <a:pt x="428" y="777"/>
                  </a:lnTo>
                  <a:lnTo>
                    <a:pt x="390" y="789"/>
                  </a:lnTo>
                  <a:lnTo>
                    <a:pt x="390" y="782"/>
                  </a:lnTo>
                  <a:lnTo>
                    <a:pt x="357" y="777"/>
                  </a:lnTo>
                  <a:lnTo>
                    <a:pt x="352" y="765"/>
                  </a:lnTo>
                  <a:lnTo>
                    <a:pt x="362" y="765"/>
                  </a:lnTo>
                  <a:lnTo>
                    <a:pt x="374" y="761"/>
                  </a:lnTo>
                  <a:lnTo>
                    <a:pt x="352" y="749"/>
                  </a:lnTo>
                  <a:lnTo>
                    <a:pt x="341" y="765"/>
                  </a:lnTo>
                  <a:lnTo>
                    <a:pt x="352" y="789"/>
                  </a:lnTo>
                  <a:lnTo>
                    <a:pt x="319" y="798"/>
                  </a:lnTo>
                  <a:lnTo>
                    <a:pt x="308" y="798"/>
                  </a:lnTo>
                  <a:lnTo>
                    <a:pt x="308" y="777"/>
                  </a:lnTo>
                  <a:lnTo>
                    <a:pt x="286" y="761"/>
                  </a:lnTo>
                  <a:lnTo>
                    <a:pt x="286" y="721"/>
                  </a:lnTo>
                  <a:lnTo>
                    <a:pt x="265" y="721"/>
                  </a:lnTo>
                  <a:lnTo>
                    <a:pt x="265" y="678"/>
                  </a:lnTo>
                  <a:lnTo>
                    <a:pt x="270" y="654"/>
                  </a:lnTo>
                  <a:lnTo>
                    <a:pt x="244" y="610"/>
                  </a:lnTo>
                  <a:lnTo>
                    <a:pt x="244" y="600"/>
                  </a:lnTo>
                  <a:lnTo>
                    <a:pt x="227" y="600"/>
                  </a:lnTo>
                  <a:lnTo>
                    <a:pt x="173" y="560"/>
                  </a:lnTo>
                  <a:lnTo>
                    <a:pt x="147" y="560"/>
                  </a:lnTo>
                  <a:lnTo>
                    <a:pt x="156" y="539"/>
                  </a:lnTo>
                  <a:lnTo>
                    <a:pt x="142" y="510"/>
                  </a:lnTo>
                  <a:lnTo>
                    <a:pt x="135" y="510"/>
                  </a:lnTo>
                  <a:lnTo>
                    <a:pt x="142" y="510"/>
                  </a:lnTo>
                  <a:lnTo>
                    <a:pt x="135" y="506"/>
                  </a:lnTo>
                  <a:lnTo>
                    <a:pt x="126" y="506"/>
                  </a:lnTo>
                  <a:lnTo>
                    <a:pt x="109" y="482"/>
                  </a:lnTo>
                  <a:lnTo>
                    <a:pt x="104" y="473"/>
                  </a:lnTo>
                  <a:lnTo>
                    <a:pt x="109" y="465"/>
                  </a:lnTo>
                  <a:lnTo>
                    <a:pt x="109" y="449"/>
                  </a:lnTo>
                  <a:lnTo>
                    <a:pt x="104" y="432"/>
                  </a:lnTo>
                  <a:lnTo>
                    <a:pt x="109" y="428"/>
                  </a:lnTo>
                  <a:lnTo>
                    <a:pt x="126" y="432"/>
                  </a:lnTo>
                  <a:lnTo>
                    <a:pt x="119" y="416"/>
                  </a:lnTo>
                  <a:lnTo>
                    <a:pt x="135" y="399"/>
                  </a:lnTo>
                  <a:lnTo>
                    <a:pt x="142" y="390"/>
                  </a:lnTo>
                  <a:lnTo>
                    <a:pt x="156" y="390"/>
                  </a:lnTo>
                  <a:lnTo>
                    <a:pt x="156" y="378"/>
                  </a:lnTo>
                  <a:lnTo>
                    <a:pt x="142" y="354"/>
                  </a:lnTo>
                  <a:lnTo>
                    <a:pt x="142" y="338"/>
                  </a:lnTo>
                  <a:lnTo>
                    <a:pt x="163" y="333"/>
                  </a:lnTo>
                  <a:lnTo>
                    <a:pt x="147" y="321"/>
                  </a:lnTo>
                  <a:lnTo>
                    <a:pt x="126" y="333"/>
                  </a:lnTo>
                  <a:lnTo>
                    <a:pt x="119" y="317"/>
                  </a:lnTo>
                  <a:lnTo>
                    <a:pt x="104" y="317"/>
                  </a:lnTo>
                  <a:lnTo>
                    <a:pt x="93" y="284"/>
                  </a:lnTo>
                  <a:lnTo>
                    <a:pt x="81" y="279"/>
                  </a:lnTo>
                  <a:lnTo>
                    <a:pt x="71" y="267"/>
                  </a:lnTo>
                  <a:lnTo>
                    <a:pt x="81" y="250"/>
                  </a:lnTo>
                  <a:lnTo>
                    <a:pt x="67" y="246"/>
                  </a:lnTo>
                  <a:lnTo>
                    <a:pt x="67" y="227"/>
                  </a:lnTo>
                  <a:lnTo>
                    <a:pt x="55" y="222"/>
                  </a:lnTo>
                  <a:lnTo>
                    <a:pt x="55" y="206"/>
                  </a:lnTo>
                  <a:lnTo>
                    <a:pt x="38" y="194"/>
                  </a:lnTo>
                  <a:lnTo>
                    <a:pt x="50" y="173"/>
                  </a:lnTo>
                  <a:lnTo>
                    <a:pt x="17" y="156"/>
                  </a:lnTo>
                  <a:lnTo>
                    <a:pt x="34" y="118"/>
                  </a:lnTo>
                  <a:lnTo>
                    <a:pt x="29" y="118"/>
                  </a:lnTo>
                  <a:lnTo>
                    <a:pt x="29" y="78"/>
                  </a:lnTo>
                  <a:lnTo>
                    <a:pt x="17" y="66"/>
                  </a:lnTo>
                  <a:lnTo>
                    <a:pt x="17" y="57"/>
                  </a:lnTo>
                  <a:lnTo>
                    <a:pt x="0" y="28"/>
                  </a:lnTo>
                  <a:lnTo>
                    <a:pt x="34" y="28"/>
                  </a:lnTo>
                  <a:lnTo>
                    <a:pt x="34" y="7"/>
                  </a:lnTo>
                  <a:lnTo>
                    <a:pt x="50" y="0"/>
                  </a:lnTo>
                  <a:lnTo>
                    <a:pt x="55" y="7"/>
                  </a:lnTo>
                  <a:lnTo>
                    <a:pt x="81" y="45"/>
                  </a:lnTo>
                  <a:lnTo>
                    <a:pt x="93" y="45"/>
                  </a:lnTo>
                  <a:lnTo>
                    <a:pt x="104" y="62"/>
                  </a:lnTo>
                  <a:lnTo>
                    <a:pt x="156" y="78"/>
                  </a:lnTo>
                  <a:lnTo>
                    <a:pt x="180" y="66"/>
                  </a:lnTo>
                  <a:lnTo>
                    <a:pt x="201" y="45"/>
                  </a:lnTo>
                  <a:lnTo>
                    <a:pt x="282" y="0"/>
                  </a:lnTo>
                  <a:lnTo>
                    <a:pt x="308" y="28"/>
                  </a:lnTo>
                  <a:lnTo>
                    <a:pt x="286" y="40"/>
                  </a:lnTo>
                  <a:lnTo>
                    <a:pt x="303" y="62"/>
                  </a:lnTo>
                  <a:lnTo>
                    <a:pt x="286" y="66"/>
                  </a:lnTo>
                  <a:lnTo>
                    <a:pt x="286" y="78"/>
                  </a:lnTo>
                  <a:lnTo>
                    <a:pt x="303" y="95"/>
                  </a:lnTo>
                  <a:lnTo>
                    <a:pt x="308" y="95"/>
                  </a:lnTo>
                  <a:lnTo>
                    <a:pt x="324" y="118"/>
                  </a:lnTo>
                  <a:lnTo>
                    <a:pt x="341" y="111"/>
                  </a:lnTo>
                  <a:lnTo>
                    <a:pt x="352" y="156"/>
                  </a:lnTo>
                  <a:lnTo>
                    <a:pt x="357" y="173"/>
                  </a:lnTo>
                  <a:lnTo>
                    <a:pt x="378" y="189"/>
                  </a:lnTo>
                  <a:lnTo>
                    <a:pt x="433" y="194"/>
                  </a:lnTo>
                  <a:lnTo>
                    <a:pt x="449" y="222"/>
                  </a:lnTo>
                  <a:lnTo>
                    <a:pt x="504" y="250"/>
                  </a:lnTo>
                  <a:lnTo>
                    <a:pt x="558" y="267"/>
                  </a:lnTo>
                  <a:lnTo>
                    <a:pt x="702" y="234"/>
                  </a:lnTo>
                  <a:lnTo>
                    <a:pt x="676" y="246"/>
                  </a:lnTo>
                  <a:lnTo>
                    <a:pt x="697" y="246"/>
                  </a:lnTo>
                  <a:lnTo>
                    <a:pt x="702" y="246"/>
                  </a:lnTo>
                  <a:lnTo>
                    <a:pt x="702" y="234"/>
                  </a:lnTo>
                  <a:lnTo>
                    <a:pt x="697" y="206"/>
                  </a:lnTo>
                  <a:lnTo>
                    <a:pt x="719" y="206"/>
                  </a:lnTo>
                  <a:lnTo>
                    <a:pt x="752" y="194"/>
                  </a:lnTo>
                  <a:lnTo>
                    <a:pt x="756" y="189"/>
                  </a:lnTo>
                  <a:lnTo>
                    <a:pt x="768" y="168"/>
                  </a:lnTo>
                  <a:lnTo>
                    <a:pt x="806" y="139"/>
                  </a:lnTo>
                  <a:lnTo>
                    <a:pt x="860" y="139"/>
                  </a:lnTo>
                  <a:lnTo>
                    <a:pt x="865" y="139"/>
                  </a:lnTo>
                  <a:lnTo>
                    <a:pt x="865" y="135"/>
                  </a:lnTo>
                  <a:lnTo>
                    <a:pt x="874" y="123"/>
                  </a:lnTo>
                  <a:lnTo>
                    <a:pt x="898" y="123"/>
                  </a:lnTo>
                  <a:lnTo>
                    <a:pt x="919" y="135"/>
                  </a:lnTo>
                  <a:lnTo>
                    <a:pt x="929" y="123"/>
                  </a:lnTo>
                  <a:lnTo>
                    <a:pt x="945" y="151"/>
                  </a:lnTo>
                  <a:lnTo>
                    <a:pt x="1000" y="168"/>
                  </a:lnTo>
                  <a:lnTo>
                    <a:pt x="1004" y="173"/>
                  </a:lnTo>
                  <a:lnTo>
                    <a:pt x="1054" y="173"/>
                  </a:lnTo>
                  <a:lnTo>
                    <a:pt x="1075" y="189"/>
                  </a:lnTo>
                  <a:lnTo>
                    <a:pt x="1092" y="210"/>
                  </a:lnTo>
                  <a:lnTo>
                    <a:pt x="1130" y="227"/>
                  </a:lnTo>
                  <a:lnTo>
                    <a:pt x="1146" y="262"/>
                  </a:lnTo>
                  <a:lnTo>
                    <a:pt x="1205" y="262"/>
                  </a:lnTo>
                  <a:lnTo>
                    <a:pt x="1215" y="345"/>
                  </a:lnTo>
                  <a:lnTo>
                    <a:pt x="1200" y="373"/>
                  </a:lnTo>
                  <a:lnTo>
                    <a:pt x="1200" y="411"/>
                  </a:lnTo>
                  <a:lnTo>
                    <a:pt x="1189" y="428"/>
                  </a:lnTo>
                  <a:lnTo>
                    <a:pt x="1172" y="432"/>
                  </a:lnTo>
                  <a:lnTo>
                    <a:pt x="1184" y="449"/>
                  </a:lnTo>
                  <a:lnTo>
                    <a:pt x="1167" y="449"/>
                  </a:lnTo>
                  <a:lnTo>
                    <a:pt x="1163" y="465"/>
                  </a:lnTo>
                  <a:lnTo>
                    <a:pt x="1163" y="506"/>
                  </a:lnTo>
                  <a:lnTo>
                    <a:pt x="1189" y="510"/>
                  </a:lnTo>
                  <a:lnTo>
                    <a:pt x="1167" y="543"/>
                  </a:lnTo>
                  <a:lnTo>
                    <a:pt x="1184" y="617"/>
                  </a:lnTo>
                  <a:lnTo>
                    <a:pt x="1184" y="638"/>
                  </a:lnTo>
                  <a:lnTo>
                    <a:pt x="1184" y="638"/>
                  </a:lnTo>
                  <a:lnTo>
                    <a:pt x="1184" y="638"/>
                  </a:lnTo>
                  <a:close/>
                  <a:moveTo>
                    <a:pt x="865" y="1037"/>
                  </a:moveTo>
                  <a:lnTo>
                    <a:pt x="844" y="1054"/>
                  </a:lnTo>
                  <a:lnTo>
                    <a:pt x="794" y="1061"/>
                  </a:lnTo>
                  <a:lnTo>
                    <a:pt x="794" y="1054"/>
                  </a:lnTo>
                  <a:lnTo>
                    <a:pt x="827" y="1044"/>
                  </a:lnTo>
                  <a:lnTo>
                    <a:pt x="827" y="1037"/>
                  </a:lnTo>
                  <a:lnTo>
                    <a:pt x="865" y="1037"/>
                  </a:lnTo>
                  <a:lnTo>
                    <a:pt x="865" y="1037"/>
                  </a:lnTo>
                  <a:lnTo>
                    <a:pt x="865" y="1037"/>
                  </a:lnTo>
                  <a:close/>
                  <a:moveTo>
                    <a:pt x="823" y="1044"/>
                  </a:moveTo>
                  <a:lnTo>
                    <a:pt x="823" y="1044"/>
                  </a:lnTo>
                  <a:lnTo>
                    <a:pt x="823" y="1037"/>
                  </a:lnTo>
                  <a:lnTo>
                    <a:pt x="823" y="1044"/>
                  </a:lnTo>
                  <a:lnTo>
                    <a:pt x="823" y="1044"/>
                  </a:lnTo>
                  <a:lnTo>
                    <a:pt x="823" y="1044"/>
                  </a:lnTo>
                  <a:close/>
                  <a:moveTo>
                    <a:pt x="702" y="1065"/>
                  </a:moveTo>
                  <a:lnTo>
                    <a:pt x="697" y="1065"/>
                  </a:lnTo>
                  <a:lnTo>
                    <a:pt x="702" y="1061"/>
                  </a:lnTo>
                  <a:lnTo>
                    <a:pt x="702" y="1065"/>
                  </a:lnTo>
                  <a:lnTo>
                    <a:pt x="702" y="1065"/>
                  </a:lnTo>
                  <a:lnTo>
                    <a:pt x="702" y="106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58" name="Freeform 472">
              <a:extLst>
                <a:ext uri="{FF2B5EF4-FFF2-40B4-BE49-F238E27FC236}">
                  <a16:creationId xmlns:a16="http://schemas.microsoft.com/office/drawing/2014/main" id="{717539B4-7568-484F-9202-51C739F994E1}"/>
                </a:ext>
              </a:extLst>
            </p:cNvPr>
            <p:cNvSpPr>
              <a:spLocks/>
            </p:cNvSpPr>
            <p:nvPr/>
          </p:nvSpPr>
          <p:spPr bwMode="gray">
            <a:xfrm>
              <a:off x="7717948" y="3042360"/>
              <a:ext cx="37050" cy="123515"/>
            </a:xfrm>
            <a:custGeom>
              <a:avLst/>
              <a:gdLst>
                <a:gd name="T0" fmla="*/ 52 w 90"/>
                <a:gd name="T1" fmla="*/ 7 h 300"/>
                <a:gd name="T2" fmla="*/ 73 w 90"/>
                <a:gd name="T3" fmla="*/ 17 h 300"/>
                <a:gd name="T4" fmla="*/ 90 w 90"/>
                <a:gd name="T5" fmla="*/ 0 h 300"/>
                <a:gd name="T6" fmla="*/ 90 w 90"/>
                <a:gd name="T7" fmla="*/ 0 h 300"/>
                <a:gd name="T8" fmla="*/ 90 w 90"/>
                <a:gd name="T9" fmla="*/ 45 h 300"/>
                <a:gd name="T10" fmla="*/ 81 w 90"/>
                <a:gd name="T11" fmla="*/ 45 h 300"/>
                <a:gd name="T12" fmla="*/ 81 w 90"/>
                <a:gd name="T13" fmla="*/ 74 h 300"/>
                <a:gd name="T14" fmla="*/ 59 w 90"/>
                <a:gd name="T15" fmla="*/ 57 h 300"/>
                <a:gd name="T16" fmla="*/ 52 w 90"/>
                <a:gd name="T17" fmla="*/ 62 h 300"/>
                <a:gd name="T18" fmla="*/ 43 w 90"/>
                <a:gd name="T19" fmla="*/ 111 h 300"/>
                <a:gd name="T20" fmla="*/ 59 w 90"/>
                <a:gd name="T21" fmla="*/ 118 h 300"/>
                <a:gd name="T22" fmla="*/ 43 w 90"/>
                <a:gd name="T23" fmla="*/ 128 h 300"/>
                <a:gd name="T24" fmla="*/ 38 w 90"/>
                <a:gd name="T25" fmla="*/ 151 h 300"/>
                <a:gd name="T26" fmla="*/ 52 w 90"/>
                <a:gd name="T27" fmla="*/ 151 h 300"/>
                <a:gd name="T28" fmla="*/ 81 w 90"/>
                <a:gd name="T29" fmla="*/ 140 h 300"/>
                <a:gd name="T30" fmla="*/ 73 w 90"/>
                <a:gd name="T31" fmla="*/ 156 h 300"/>
                <a:gd name="T32" fmla="*/ 73 w 90"/>
                <a:gd name="T33" fmla="*/ 168 h 300"/>
                <a:gd name="T34" fmla="*/ 59 w 90"/>
                <a:gd name="T35" fmla="*/ 222 h 300"/>
                <a:gd name="T36" fmla="*/ 59 w 90"/>
                <a:gd name="T37" fmla="*/ 246 h 300"/>
                <a:gd name="T38" fmla="*/ 43 w 90"/>
                <a:gd name="T39" fmla="*/ 296 h 300"/>
                <a:gd name="T40" fmla="*/ 38 w 90"/>
                <a:gd name="T41" fmla="*/ 300 h 300"/>
                <a:gd name="T42" fmla="*/ 0 w 90"/>
                <a:gd name="T43" fmla="*/ 156 h 300"/>
                <a:gd name="T44" fmla="*/ 10 w 90"/>
                <a:gd name="T45" fmla="*/ 135 h 300"/>
                <a:gd name="T46" fmla="*/ 10 w 90"/>
                <a:gd name="T47" fmla="*/ 135 h 300"/>
                <a:gd name="T48" fmla="*/ 26 w 90"/>
                <a:gd name="T49" fmla="*/ 102 h 300"/>
                <a:gd name="T50" fmla="*/ 43 w 90"/>
                <a:gd name="T51" fmla="*/ 29 h 300"/>
                <a:gd name="T52" fmla="*/ 52 w 90"/>
                <a:gd name="T53" fmla="*/ 29 h 300"/>
                <a:gd name="T54" fmla="*/ 52 w 90"/>
                <a:gd name="T55" fmla="*/ 7 h 300"/>
                <a:gd name="T56" fmla="*/ 52 w 90"/>
                <a:gd name="T57" fmla="*/ 7 h 300"/>
                <a:gd name="T58" fmla="*/ 52 w 90"/>
                <a:gd name="T59" fmla="*/ 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 h="300">
                  <a:moveTo>
                    <a:pt x="52" y="7"/>
                  </a:moveTo>
                  <a:lnTo>
                    <a:pt x="73" y="17"/>
                  </a:lnTo>
                  <a:lnTo>
                    <a:pt x="90" y="0"/>
                  </a:lnTo>
                  <a:lnTo>
                    <a:pt x="90" y="0"/>
                  </a:lnTo>
                  <a:lnTo>
                    <a:pt x="90" y="45"/>
                  </a:lnTo>
                  <a:lnTo>
                    <a:pt x="81" y="45"/>
                  </a:lnTo>
                  <a:lnTo>
                    <a:pt x="81" y="74"/>
                  </a:lnTo>
                  <a:lnTo>
                    <a:pt x="59" y="57"/>
                  </a:lnTo>
                  <a:lnTo>
                    <a:pt x="52" y="62"/>
                  </a:lnTo>
                  <a:lnTo>
                    <a:pt x="43" y="111"/>
                  </a:lnTo>
                  <a:lnTo>
                    <a:pt x="59" y="118"/>
                  </a:lnTo>
                  <a:lnTo>
                    <a:pt x="43" y="128"/>
                  </a:lnTo>
                  <a:lnTo>
                    <a:pt x="38" y="151"/>
                  </a:lnTo>
                  <a:lnTo>
                    <a:pt x="52" y="151"/>
                  </a:lnTo>
                  <a:lnTo>
                    <a:pt x="81" y="140"/>
                  </a:lnTo>
                  <a:lnTo>
                    <a:pt x="73" y="156"/>
                  </a:lnTo>
                  <a:lnTo>
                    <a:pt x="73" y="168"/>
                  </a:lnTo>
                  <a:lnTo>
                    <a:pt x="59" y="222"/>
                  </a:lnTo>
                  <a:lnTo>
                    <a:pt x="59" y="246"/>
                  </a:lnTo>
                  <a:lnTo>
                    <a:pt x="43" y="296"/>
                  </a:lnTo>
                  <a:lnTo>
                    <a:pt x="38" y="300"/>
                  </a:lnTo>
                  <a:lnTo>
                    <a:pt x="0" y="156"/>
                  </a:lnTo>
                  <a:lnTo>
                    <a:pt x="10" y="135"/>
                  </a:lnTo>
                  <a:lnTo>
                    <a:pt x="10" y="135"/>
                  </a:lnTo>
                  <a:lnTo>
                    <a:pt x="26" y="102"/>
                  </a:lnTo>
                  <a:lnTo>
                    <a:pt x="43" y="29"/>
                  </a:lnTo>
                  <a:lnTo>
                    <a:pt x="52" y="29"/>
                  </a:lnTo>
                  <a:lnTo>
                    <a:pt x="52" y="7"/>
                  </a:lnTo>
                  <a:lnTo>
                    <a:pt x="52" y="7"/>
                  </a:lnTo>
                  <a:lnTo>
                    <a:pt x="52" y="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59" name="Freeform 474">
              <a:extLst>
                <a:ext uri="{FF2B5EF4-FFF2-40B4-BE49-F238E27FC236}">
                  <a16:creationId xmlns:a16="http://schemas.microsoft.com/office/drawing/2014/main" id="{12CB89D1-8848-400A-B726-8E93741DB512}"/>
                </a:ext>
              </a:extLst>
            </p:cNvPr>
            <p:cNvSpPr>
              <a:spLocks noEditPoints="1"/>
            </p:cNvSpPr>
            <p:nvPr/>
          </p:nvSpPr>
          <p:spPr bwMode="gray">
            <a:xfrm>
              <a:off x="6477999" y="3745570"/>
              <a:ext cx="175371" cy="189801"/>
            </a:xfrm>
            <a:custGeom>
              <a:avLst/>
              <a:gdLst>
                <a:gd name="T0" fmla="*/ 69 w 426"/>
                <a:gd name="T1" fmla="*/ 421 h 461"/>
                <a:gd name="T2" fmla="*/ 81 w 426"/>
                <a:gd name="T3" fmla="*/ 383 h 461"/>
                <a:gd name="T4" fmla="*/ 86 w 426"/>
                <a:gd name="T5" fmla="*/ 350 h 461"/>
                <a:gd name="T6" fmla="*/ 48 w 426"/>
                <a:gd name="T7" fmla="*/ 326 h 461"/>
                <a:gd name="T8" fmla="*/ 0 w 426"/>
                <a:gd name="T9" fmla="*/ 305 h 461"/>
                <a:gd name="T10" fmla="*/ 26 w 426"/>
                <a:gd name="T11" fmla="*/ 255 h 461"/>
                <a:gd name="T12" fmla="*/ 15 w 426"/>
                <a:gd name="T13" fmla="*/ 222 h 461"/>
                <a:gd name="T14" fmla="*/ 38 w 426"/>
                <a:gd name="T15" fmla="*/ 194 h 461"/>
                <a:gd name="T16" fmla="*/ 38 w 426"/>
                <a:gd name="T17" fmla="*/ 184 h 461"/>
                <a:gd name="T18" fmla="*/ 26 w 426"/>
                <a:gd name="T19" fmla="*/ 161 h 461"/>
                <a:gd name="T20" fmla="*/ 64 w 426"/>
                <a:gd name="T21" fmla="*/ 168 h 461"/>
                <a:gd name="T22" fmla="*/ 64 w 426"/>
                <a:gd name="T23" fmla="*/ 156 h 461"/>
                <a:gd name="T24" fmla="*/ 48 w 426"/>
                <a:gd name="T25" fmla="*/ 123 h 461"/>
                <a:gd name="T26" fmla="*/ 48 w 426"/>
                <a:gd name="T27" fmla="*/ 111 h 461"/>
                <a:gd name="T28" fmla="*/ 38 w 426"/>
                <a:gd name="T29" fmla="*/ 99 h 461"/>
                <a:gd name="T30" fmla="*/ 31 w 426"/>
                <a:gd name="T31" fmla="*/ 57 h 461"/>
                <a:gd name="T32" fmla="*/ 52 w 426"/>
                <a:gd name="T33" fmla="*/ 45 h 461"/>
                <a:gd name="T34" fmla="*/ 107 w 426"/>
                <a:gd name="T35" fmla="*/ 45 h 461"/>
                <a:gd name="T36" fmla="*/ 140 w 426"/>
                <a:gd name="T37" fmla="*/ 28 h 461"/>
                <a:gd name="T38" fmla="*/ 156 w 426"/>
                <a:gd name="T39" fmla="*/ 12 h 461"/>
                <a:gd name="T40" fmla="*/ 161 w 426"/>
                <a:gd name="T41" fmla="*/ 0 h 461"/>
                <a:gd name="T42" fmla="*/ 173 w 426"/>
                <a:gd name="T43" fmla="*/ 45 h 461"/>
                <a:gd name="T44" fmla="*/ 194 w 426"/>
                <a:gd name="T45" fmla="*/ 28 h 461"/>
                <a:gd name="T46" fmla="*/ 225 w 426"/>
                <a:gd name="T47" fmla="*/ 33 h 461"/>
                <a:gd name="T48" fmla="*/ 253 w 426"/>
                <a:gd name="T49" fmla="*/ 57 h 461"/>
                <a:gd name="T50" fmla="*/ 300 w 426"/>
                <a:gd name="T51" fmla="*/ 83 h 461"/>
                <a:gd name="T52" fmla="*/ 350 w 426"/>
                <a:gd name="T53" fmla="*/ 57 h 461"/>
                <a:gd name="T54" fmla="*/ 409 w 426"/>
                <a:gd name="T55" fmla="*/ 99 h 461"/>
                <a:gd name="T56" fmla="*/ 409 w 426"/>
                <a:gd name="T57" fmla="*/ 123 h 461"/>
                <a:gd name="T58" fmla="*/ 426 w 426"/>
                <a:gd name="T59" fmla="*/ 184 h 461"/>
                <a:gd name="T60" fmla="*/ 393 w 426"/>
                <a:gd name="T61" fmla="*/ 267 h 461"/>
                <a:gd name="T62" fmla="*/ 371 w 426"/>
                <a:gd name="T63" fmla="*/ 293 h 461"/>
                <a:gd name="T64" fmla="*/ 409 w 426"/>
                <a:gd name="T65" fmla="*/ 378 h 461"/>
                <a:gd name="T66" fmla="*/ 393 w 426"/>
                <a:gd name="T67" fmla="*/ 404 h 461"/>
                <a:gd name="T68" fmla="*/ 393 w 426"/>
                <a:gd name="T69" fmla="*/ 404 h 461"/>
                <a:gd name="T70" fmla="*/ 376 w 426"/>
                <a:gd name="T71" fmla="*/ 388 h 461"/>
                <a:gd name="T72" fmla="*/ 371 w 426"/>
                <a:gd name="T73" fmla="*/ 404 h 461"/>
                <a:gd name="T74" fmla="*/ 338 w 426"/>
                <a:gd name="T75" fmla="*/ 399 h 461"/>
                <a:gd name="T76" fmla="*/ 338 w 426"/>
                <a:gd name="T77" fmla="*/ 399 h 461"/>
                <a:gd name="T78" fmla="*/ 263 w 426"/>
                <a:gd name="T79" fmla="*/ 404 h 461"/>
                <a:gd name="T80" fmla="*/ 232 w 426"/>
                <a:gd name="T81" fmla="*/ 399 h 461"/>
                <a:gd name="T82" fmla="*/ 232 w 426"/>
                <a:gd name="T83" fmla="*/ 404 h 461"/>
                <a:gd name="T84" fmla="*/ 253 w 426"/>
                <a:gd name="T85" fmla="*/ 404 h 461"/>
                <a:gd name="T86" fmla="*/ 81 w 426"/>
                <a:gd name="T87" fmla="*/ 461 h 461"/>
                <a:gd name="T88" fmla="*/ 81 w 426"/>
                <a:gd name="T89" fmla="*/ 461 h 461"/>
                <a:gd name="T90" fmla="*/ 305 w 426"/>
                <a:gd name="T91" fmla="*/ 399 h 461"/>
                <a:gd name="T92" fmla="*/ 263 w 426"/>
                <a:gd name="T93" fmla="*/ 404 h 461"/>
                <a:gd name="T94" fmla="*/ 263 w 426"/>
                <a:gd name="T95" fmla="*/ 404 h 461"/>
                <a:gd name="T96" fmla="*/ 388 w 426"/>
                <a:gd name="T97" fmla="*/ 404 h 461"/>
                <a:gd name="T98" fmla="*/ 388 w 426"/>
                <a:gd name="T99" fmla="*/ 404 h 461"/>
                <a:gd name="T100" fmla="*/ 388 w 426"/>
                <a:gd name="T101" fmla="*/ 404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6" h="461">
                  <a:moveTo>
                    <a:pt x="81" y="461"/>
                  </a:moveTo>
                  <a:lnTo>
                    <a:pt x="69" y="421"/>
                  </a:lnTo>
                  <a:lnTo>
                    <a:pt x="86" y="388"/>
                  </a:lnTo>
                  <a:lnTo>
                    <a:pt x="81" y="383"/>
                  </a:lnTo>
                  <a:lnTo>
                    <a:pt x="86" y="378"/>
                  </a:lnTo>
                  <a:lnTo>
                    <a:pt x="86" y="350"/>
                  </a:lnTo>
                  <a:lnTo>
                    <a:pt x="52" y="350"/>
                  </a:lnTo>
                  <a:lnTo>
                    <a:pt x="48" y="326"/>
                  </a:lnTo>
                  <a:lnTo>
                    <a:pt x="31" y="326"/>
                  </a:lnTo>
                  <a:lnTo>
                    <a:pt x="0" y="305"/>
                  </a:lnTo>
                  <a:lnTo>
                    <a:pt x="15" y="276"/>
                  </a:lnTo>
                  <a:lnTo>
                    <a:pt x="26" y="255"/>
                  </a:lnTo>
                  <a:lnTo>
                    <a:pt x="10" y="234"/>
                  </a:lnTo>
                  <a:lnTo>
                    <a:pt x="15" y="222"/>
                  </a:lnTo>
                  <a:lnTo>
                    <a:pt x="26" y="234"/>
                  </a:lnTo>
                  <a:lnTo>
                    <a:pt x="38" y="194"/>
                  </a:lnTo>
                  <a:lnTo>
                    <a:pt x="48" y="201"/>
                  </a:lnTo>
                  <a:lnTo>
                    <a:pt x="38" y="184"/>
                  </a:lnTo>
                  <a:lnTo>
                    <a:pt x="26" y="184"/>
                  </a:lnTo>
                  <a:lnTo>
                    <a:pt x="26" y="161"/>
                  </a:lnTo>
                  <a:lnTo>
                    <a:pt x="52" y="161"/>
                  </a:lnTo>
                  <a:lnTo>
                    <a:pt x="64" y="168"/>
                  </a:lnTo>
                  <a:lnTo>
                    <a:pt x="64" y="168"/>
                  </a:lnTo>
                  <a:lnTo>
                    <a:pt x="64" y="156"/>
                  </a:lnTo>
                  <a:lnTo>
                    <a:pt x="48" y="139"/>
                  </a:lnTo>
                  <a:lnTo>
                    <a:pt x="48" y="123"/>
                  </a:lnTo>
                  <a:lnTo>
                    <a:pt x="64" y="123"/>
                  </a:lnTo>
                  <a:lnTo>
                    <a:pt x="48" y="111"/>
                  </a:lnTo>
                  <a:lnTo>
                    <a:pt x="48" y="99"/>
                  </a:lnTo>
                  <a:lnTo>
                    <a:pt x="38" y="99"/>
                  </a:lnTo>
                  <a:lnTo>
                    <a:pt x="31" y="90"/>
                  </a:lnTo>
                  <a:lnTo>
                    <a:pt x="31" y="57"/>
                  </a:lnTo>
                  <a:lnTo>
                    <a:pt x="38" y="45"/>
                  </a:lnTo>
                  <a:lnTo>
                    <a:pt x="52" y="45"/>
                  </a:lnTo>
                  <a:lnTo>
                    <a:pt x="69" y="17"/>
                  </a:lnTo>
                  <a:lnTo>
                    <a:pt x="107" y="45"/>
                  </a:lnTo>
                  <a:lnTo>
                    <a:pt x="119" y="28"/>
                  </a:lnTo>
                  <a:lnTo>
                    <a:pt x="140" y="28"/>
                  </a:lnTo>
                  <a:lnTo>
                    <a:pt x="140" y="0"/>
                  </a:lnTo>
                  <a:lnTo>
                    <a:pt x="156" y="12"/>
                  </a:lnTo>
                  <a:lnTo>
                    <a:pt x="156" y="0"/>
                  </a:lnTo>
                  <a:lnTo>
                    <a:pt x="161" y="0"/>
                  </a:lnTo>
                  <a:lnTo>
                    <a:pt x="173" y="33"/>
                  </a:lnTo>
                  <a:lnTo>
                    <a:pt x="173" y="45"/>
                  </a:lnTo>
                  <a:lnTo>
                    <a:pt x="178" y="45"/>
                  </a:lnTo>
                  <a:lnTo>
                    <a:pt x="194" y="28"/>
                  </a:lnTo>
                  <a:lnTo>
                    <a:pt x="215" y="17"/>
                  </a:lnTo>
                  <a:lnTo>
                    <a:pt x="225" y="33"/>
                  </a:lnTo>
                  <a:lnTo>
                    <a:pt x="241" y="33"/>
                  </a:lnTo>
                  <a:lnTo>
                    <a:pt x="253" y="57"/>
                  </a:lnTo>
                  <a:lnTo>
                    <a:pt x="267" y="73"/>
                  </a:lnTo>
                  <a:lnTo>
                    <a:pt x="300" y="83"/>
                  </a:lnTo>
                  <a:lnTo>
                    <a:pt x="305" y="66"/>
                  </a:lnTo>
                  <a:lnTo>
                    <a:pt x="350" y="57"/>
                  </a:lnTo>
                  <a:lnTo>
                    <a:pt x="376" y="57"/>
                  </a:lnTo>
                  <a:lnTo>
                    <a:pt x="409" y="99"/>
                  </a:lnTo>
                  <a:lnTo>
                    <a:pt x="414" y="90"/>
                  </a:lnTo>
                  <a:lnTo>
                    <a:pt x="409" y="123"/>
                  </a:lnTo>
                  <a:lnTo>
                    <a:pt x="414" y="128"/>
                  </a:lnTo>
                  <a:lnTo>
                    <a:pt x="426" y="184"/>
                  </a:lnTo>
                  <a:lnTo>
                    <a:pt x="409" y="201"/>
                  </a:lnTo>
                  <a:lnTo>
                    <a:pt x="393" y="267"/>
                  </a:lnTo>
                  <a:lnTo>
                    <a:pt x="376" y="288"/>
                  </a:lnTo>
                  <a:lnTo>
                    <a:pt x="371" y="293"/>
                  </a:lnTo>
                  <a:lnTo>
                    <a:pt x="393" y="366"/>
                  </a:lnTo>
                  <a:lnTo>
                    <a:pt x="409" y="378"/>
                  </a:lnTo>
                  <a:lnTo>
                    <a:pt x="409" y="404"/>
                  </a:lnTo>
                  <a:lnTo>
                    <a:pt x="393" y="404"/>
                  </a:lnTo>
                  <a:lnTo>
                    <a:pt x="402" y="399"/>
                  </a:lnTo>
                  <a:lnTo>
                    <a:pt x="393" y="404"/>
                  </a:lnTo>
                  <a:lnTo>
                    <a:pt x="376" y="399"/>
                  </a:lnTo>
                  <a:lnTo>
                    <a:pt x="376" y="388"/>
                  </a:lnTo>
                  <a:lnTo>
                    <a:pt x="371" y="388"/>
                  </a:lnTo>
                  <a:lnTo>
                    <a:pt x="371" y="404"/>
                  </a:lnTo>
                  <a:lnTo>
                    <a:pt x="322" y="399"/>
                  </a:lnTo>
                  <a:lnTo>
                    <a:pt x="338" y="399"/>
                  </a:lnTo>
                  <a:lnTo>
                    <a:pt x="334" y="388"/>
                  </a:lnTo>
                  <a:lnTo>
                    <a:pt x="338" y="399"/>
                  </a:lnTo>
                  <a:lnTo>
                    <a:pt x="284" y="388"/>
                  </a:lnTo>
                  <a:lnTo>
                    <a:pt x="263" y="404"/>
                  </a:lnTo>
                  <a:lnTo>
                    <a:pt x="253" y="399"/>
                  </a:lnTo>
                  <a:lnTo>
                    <a:pt x="232" y="399"/>
                  </a:lnTo>
                  <a:lnTo>
                    <a:pt x="225" y="404"/>
                  </a:lnTo>
                  <a:lnTo>
                    <a:pt x="232" y="404"/>
                  </a:lnTo>
                  <a:lnTo>
                    <a:pt x="232" y="399"/>
                  </a:lnTo>
                  <a:lnTo>
                    <a:pt x="253" y="404"/>
                  </a:lnTo>
                  <a:lnTo>
                    <a:pt x="187" y="416"/>
                  </a:lnTo>
                  <a:lnTo>
                    <a:pt x="81" y="461"/>
                  </a:lnTo>
                  <a:lnTo>
                    <a:pt x="81" y="461"/>
                  </a:lnTo>
                  <a:lnTo>
                    <a:pt x="81" y="461"/>
                  </a:lnTo>
                  <a:close/>
                  <a:moveTo>
                    <a:pt x="263" y="404"/>
                  </a:moveTo>
                  <a:lnTo>
                    <a:pt x="305" y="399"/>
                  </a:lnTo>
                  <a:lnTo>
                    <a:pt x="322" y="399"/>
                  </a:lnTo>
                  <a:lnTo>
                    <a:pt x="263" y="404"/>
                  </a:lnTo>
                  <a:lnTo>
                    <a:pt x="263" y="404"/>
                  </a:lnTo>
                  <a:lnTo>
                    <a:pt x="263" y="404"/>
                  </a:lnTo>
                  <a:close/>
                  <a:moveTo>
                    <a:pt x="388" y="404"/>
                  </a:moveTo>
                  <a:lnTo>
                    <a:pt x="388" y="404"/>
                  </a:lnTo>
                  <a:lnTo>
                    <a:pt x="376" y="404"/>
                  </a:lnTo>
                  <a:lnTo>
                    <a:pt x="388" y="404"/>
                  </a:lnTo>
                  <a:lnTo>
                    <a:pt x="388" y="404"/>
                  </a:lnTo>
                  <a:lnTo>
                    <a:pt x="388" y="40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60" name="Freeform 475">
              <a:extLst>
                <a:ext uri="{FF2B5EF4-FFF2-40B4-BE49-F238E27FC236}">
                  <a16:creationId xmlns:a16="http://schemas.microsoft.com/office/drawing/2014/main" id="{8A4E318C-7119-49E5-B180-D056C980DEA1}"/>
                </a:ext>
              </a:extLst>
            </p:cNvPr>
            <p:cNvSpPr>
              <a:spLocks/>
            </p:cNvSpPr>
            <p:nvPr/>
          </p:nvSpPr>
          <p:spPr bwMode="gray">
            <a:xfrm>
              <a:off x="7847213" y="2901552"/>
              <a:ext cx="279112" cy="274203"/>
            </a:xfrm>
            <a:custGeom>
              <a:avLst/>
              <a:gdLst>
                <a:gd name="T0" fmla="*/ 31 w 678"/>
                <a:gd name="T1" fmla="*/ 420 h 666"/>
                <a:gd name="T2" fmla="*/ 15 w 678"/>
                <a:gd name="T3" fmla="*/ 416 h 666"/>
                <a:gd name="T4" fmla="*/ 15 w 678"/>
                <a:gd name="T5" fmla="*/ 399 h 666"/>
                <a:gd name="T6" fmla="*/ 156 w 678"/>
                <a:gd name="T7" fmla="*/ 250 h 666"/>
                <a:gd name="T8" fmla="*/ 171 w 678"/>
                <a:gd name="T9" fmla="*/ 182 h 666"/>
                <a:gd name="T10" fmla="*/ 178 w 678"/>
                <a:gd name="T11" fmla="*/ 127 h 666"/>
                <a:gd name="T12" fmla="*/ 171 w 678"/>
                <a:gd name="T13" fmla="*/ 87 h 666"/>
                <a:gd name="T14" fmla="*/ 208 w 678"/>
                <a:gd name="T15" fmla="*/ 66 h 666"/>
                <a:gd name="T16" fmla="*/ 263 w 678"/>
                <a:gd name="T17" fmla="*/ 28 h 666"/>
                <a:gd name="T18" fmla="*/ 291 w 678"/>
                <a:gd name="T19" fmla="*/ 12 h 666"/>
                <a:gd name="T20" fmla="*/ 338 w 678"/>
                <a:gd name="T21" fmla="*/ 16 h 666"/>
                <a:gd name="T22" fmla="*/ 371 w 678"/>
                <a:gd name="T23" fmla="*/ 12 h 666"/>
                <a:gd name="T24" fmla="*/ 376 w 678"/>
                <a:gd name="T25" fmla="*/ 28 h 666"/>
                <a:gd name="T26" fmla="*/ 409 w 678"/>
                <a:gd name="T27" fmla="*/ 16 h 666"/>
                <a:gd name="T28" fmla="*/ 426 w 678"/>
                <a:gd name="T29" fmla="*/ 33 h 666"/>
                <a:gd name="T30" fmla="*/ 440 w 678"/>
                <a:gd name="T31" fmla="*/ 54 h 666"/>
                <a:gd name="T32" fmla="*/ 440 w 678"/>
                <a:gd name="T33" fmla="*/ 82 h 666"/>
                <a:gd name="T34" fmla="*/ 461 w 678"/>
                <a:gd name="T35" fmla="*/ 123 h 666"/>
                <a:gd name="T36" fmla="*/ 485 w 678"/>
                <a:gd name="T37" fmla="*/ 139 h 666"/>
                <a:gd name="T38" fmla="*/ 522 w 678"/>
                <a:gd name="T39" fmla="*/ 139 h 666"/>
                <a:gd name="T40" fmla="*/ 499 w 678"/>
                <a:gd name="T41" fmla="*/ 160 h 666"/>
                <a:gd name="T42" fmla="*/ 515 w 678"/>
                <a:gd name="T43" fmla="*/ 193 h 666"/>
                <a:gd name="T44" fmla="*/ 494 w 678"/>
                <a:gd name="T45" fmla="*/ 205 h 666"/>
                <a:gd name="T46" fmla="*/ 485 w 678"/>
                <a:gd name="T47" fmla="*/ 238 h 666"/>
                <a:gd name="T48" fmla="*/ 461 w 678"/>
                <a:gd name="T49" fmla="*/ 238 h 666"/>
                <a:gd name="T50" fmla="*/ 468 w 678"/>
                <a:gd name="T51" fmla="*/ 271 h 666"/>
                <a:gd name="T52" fmla="*/ 468 w 678"/>
                <a:gd name="T53" fmla="*/ 288 h 666"/>
                <a:gd name="T54" fmla="*/ 494 w 678"/>
                <a:gd name="T55" fmla="*/ 309 h 666"/>
                <a:gd name="T56" fmla="*/ 494 w 678"/>
                <a:gd name="T57" fmla="*/ 316 h 666"/>
                <a:gd name="T58" fmla="*/ 515 w 678"/>
                <a:gd name="T59" fmla="*/ 342 h 666"/>
                <a:gd name="T60" fmla="*/ 532 w 678"/>
                <a:gd name="T61" fmla="*/ 366 h 666"/>
                <a:gd name="T62" fmla="*/ 603 w 678"/>
                <a:gd name="T63" fmla="*/ 404 h 666"/>
                <a:gd name="T64" fmla="*/ 629 w 678"/>
                <a:gd name="T65" fmla="*/ 460 h 666"/>
                <a:gd name="T66" fmla="*/ 624 w 678"/>
                <a:gd name="T67" fmla="*/ 527 h 666"/>
                <a:gd name="T68" fmla="*/ 645 w 678"/>
                <a:gd name="T69" fmla="*/ 564 h 666"/>
                <a:gd name="T70" fmla="*/ 667 w 678"/>
                <a:gd name="T71" fmla="*/ 604 h 666"/>
                <a:gd name="T72" fmla="*/ 641 w 678"/>
                <a:gd name="T73" fmla="*/ 593 h 666"/>
                <a:gd name="T74" fmla="*/ 586 w 678"/>
                <a:gd name="T75" fmla="*/ 593 h 666"/>
                <a:gd name="T76" fmla="*/ 537 w 678"/>
                <a:gd name="T77" fmla="*/ 666 h 666"/>
                <a:gd name="T78" fmla="*/ 414 w 678"/>
                <a:gd name="T79" fmla="*/ 666 h 666"/>
                <a:gd name="T80" fmla="*/ 182 w 678"/>
                <a:gd name="T81" fmla="*/ 493 h 666"/>
                <a:gd name="T82" fmla="*/ 22 w 678"/>
                <a:gd name="T83" fmla="*/ 427 h 666"/>
                <a:gd name="T84" fmla="*/ 22 w 678"/>
                <a:gd name="T85" fmla="*/ 427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8" h="666">
                  <a:moveTo>
                    <a:pt x="22" y="427"/>
                  </a:moveTo>
                  <a:lnTo>
                    <a:pt x="31" y="420"/>
                  </a:lnTo>
                  <a:lnTo>
                    <a:pt x="31" y="416"/>
                  </a:lnTo>
                  <a:lnTo>
                    <a:pt x="15" y="416"/>
                  </a:lnTo>
                  <a:lnTo>
                    <a:pt x="10" y="404"/>
                  </a:lnTo>
                  <a:lnTo>
                    <a:pt x="15" y="399"/>
                  </a:lnTo>
                  <a:lnTo>
                    <a:pt x="0" y="333"/>
                  </a:lnTo>
                  <a:lnTo>
                    <a:pt x="156" y="250"/>
                  </a:lnTo>
                  <a:lnTo>
                    <a:pt x="171" y="215"/>
                  </a:lnTo>
                  <a:lnTo>
                    <a:pt x="171" y="182"/>
                  </a:lnTo>
                  <a:lnTo>
                    <a:pt x="178" y="149"/>
                  </a:lnTo>
                  <a:lnTo>
                    <a:pt x="178" y="127"/>
                  </a:lnTo>
                  <a:lnTo>
                    <a:pt x="171" y="111"/>
                  </a:lnTo>
                  <a:lnTo>
                    <a:pt x="171" y="87"/>
                  </a:lnTo>
                  <a:lnTo>
                    <a:pt x="178" y="71"/>
                  </a:lnTo>
                  <a:lnTo>
                    <a:pt x="208" y="66"/>
                  </a:lnTo>
                  <a:lnTo>
                    <a:pt x="246" y="28"/>
                  </a:lnTo>
                  <a:lnTo>
                    <a:pt x="263" y="28"/>
                  </a:lnTo>
                  <a:lnTo>
                    <a:pt x="279" y="0"/>
                  </a:lnTo>
                  <a:lnTo>
                    <a:pt x="291" y="12"/>
                  </a:lnTo>
                  <a:lnTo>
                    <a:pt x="300" y="0"/>
                  </a:lnTo>
                  <a:lnTo>
                    <a:pt x="338" y="16"/>
                  </a:lnTo>
                  <a:lnTo>
                    <a:pt x="355" y="16"/>
                  </a:lnTo>
                  <a:lnTo>
                    <a:pt x="371" y="12"/>
                  </a:lnTo>
                  <a:lnTo>
                    <a:pt x="376" y="16"/>
                  </a:lnTo>
                  <a:lnTo>
                    <a:pt x="376" y="28"/>
                  </a:lnTo>
                  <a:lnTo>
                    <a:pt x="388" y="38"/>
                  </a:lnTo>
                  <a:lnTo>
                    <a:pt x="409" y="16"/>
                  </a:lnTo>
                  <a:lnTo>
                    <a:pt x="414" y="28"/>
                  </a:lnTo>
                  <a:lnTo>
                    <a:pt x="426" y="33"/>
                  </a:lnTo>
                  <a:lnTo>
                    <a:pt x="426" y="49"/>
                  </a:lnTo>
                  <a:lnTo>
                    <a:pt x="440" y="54"/>
                  </a:lnTo>
                  <a:lnTo>
                    <a:pt x="430" y="71"/>
                  </a:lnTo>
                  <a:lnTo>
                    <a:pt x="440" y="82"/>
                  </a:lnTo>
                  <a:lnTo>
                    <a:pt x="452" y="87"/>
                  </a:lnTo>
                  <a:lnTo>
                    <a:pt x="461" y="123"/>
                  </a:lnTo>
                  <a:lnTo>
                    <a:pt x="478" y="123"/>
                  </a:lnTo>
                  <a:lnTo>
                    <a:pt x="485" y="139"/>
                  </a:lnTo>
                  <a:lnTo>
                    <a:pt x="506" y="127"/>
                  </a:lnTo>
                  <a:lnTo>
                    <a:pt x="522" y="139"/>
                  </a:lnTo>
                  <a:lnTo>
                    <a:pt x="499" y="144"/>
                  </a:lnTo>
                  <a:lnTo>
                    <a:pt x="499" y="160"/>
                  </a:lnTo>
                  <a:lnTo>
                    <a:pt x="515" y="182"/>
                  </a:lnTo>
                  <a:lnTo>
                    <a:pt x="515" y="193"/>
                  </a:lnTo>
                  <a:lnTo>
                    <a:pt x="499" y="193"/>
                  </a:lnTo>
                  <a:lnTo>
                    <a:pt x="494" y="205"/>
                  </a:lnTo>
                  <a:lnTo>
                    <a:pt x="478" y="222"/>
                  </a:lnTo>
                  <a:lnTo>
                    <a:pt x="485" y="238"/>
                  </a:lnTo>
                  <a:lnTo>
                    <a:pt x="468" y="234"/>
                  </a:lnTo>
                  <a:lnTo>
                    <a:pt x="461" y="238"/>
                  </a:lnTo>
                  <a:lnTo>
                    <a:pt x="468" y="255"/>
                  </a:lnTo>
                  <a:lnTo>
                    <a:pt x="468" y="271"/>
                  </a:lnTo>
                  <a:lnTo>
                    <a:pt x="461" y="276"/>
                  </a:lnTo>
                  <a:lnTo>
                    <a:pt x="468" y="288"/>
                  </a:lnTo>
                  <a:lnTo>
                    <a:pt x="485" y="309"/>
                  </a:lnTo>
                  <a:lnTo>
                    <a:pt x="494" y="309"/>
                  </a:lnTo>
                  <a:lnTo>
                    <a:pt x="499" y="316"/>
                  </a:lnTo>
                  <a:lnTo>
                    <a:pt x="494" y="316"/>
                  </a:lnTo>
                  <a:lnTo>
                    <a:pt x="499" y="316"/>
                  </a:lnTo>
                  <a:lnTo>
                    <a:pt x="515" y="342"/>
                  </a:lnTo>
                  <a:lnTo>
                    <a:pt x="506" y="366"/>
                  </a:lnTo>
                  <a:lnTo>
                    <a:pt x="532" y="366"/>
                  </a:lnTo>
                  <a:lnTo>
                    <a:pt x="586" y="404"/>
                  </a:lnTo>
                  <a:lnTo>
                    <a:pt x="603" y="404"/>
                  </a:lnTo>
                  <a:lnTo>
                    <a:pt x="603" y="416"/>
                  </a:lnTo>
                  <a:lnTo>
                    <a:pt x="629" y="460"/>
                  </a:lnTo>
                  <a:lnTo>
                    <a:pt x="624" y="482"/>
                  </a:lnTo>
                  <a:lnTo>
                    <a:pt x="624" y="527"/>
                  </a:lnTo>
                  <a:lnTo>
                    <a:pt x="645" y="527"/>
                  </a:lnTo>
                  <a:lnTo>
                    <a:pt x="645" y="564"/>
                  </a:lnTo>
                  <a:lnTo>
                    <a:pt x="667" y="581"/>
                  </a:lnTo>
                  <a:lnTo>
                    <a:pt x="667" y="604"/>
                  </a:lnTo>
                  <a:lnTo>
                    <a:pt x="678" y="604"/>
                  </a:lnTo>
                  <a:lnTo>
                    <a:pt x="641" y="593"/>
                  </a:lnTo>
                  <a:lnTo>
                    <a:pt x="624" y="593"/>
                  </a:lnTo>
                  <a:lnTo>
                    <a:pt x="586" y="593"/>
                  </a:lnTo>
                  <a:lnTo>
                    <a:pt x="570" y="638"/>
                  </a:lnTo>
                  <a:lnTo>
                    <a:pt x="537" y="666"/>
                  </a:lnTo>
                  <a:lnTo>
                    <a:pt x="537" y="666"/>
                  </a:lnTo>
                  <a:lnTo>
                    <a:pt x="414" y="666"/>
                  </a:lnTo>
                  <a:lnTo>
                    <a:pt x="232" y="510"/>
                  </a:lnTo>
                  <a:lnTo>
                    <a:pt x="182" y="493"/>
                  </a:lnTo>
                  <a:lnTo>
                    <a:pt x="107" y="444"/>
                  </a:lnTo>
                  <a:lnTo>
                    <a:pt x="22" y="427"/>
                  </a:lnTo>
                  <a:lnTo>
                    <a:pt x="22" y="427"/>
                  </a:lnTo>
                  <a:lnTo>
                    <a:pt x="22" y="42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61" name="Freeform 480">
              <a:extLst>
                <a:ext uri="{FF2B5EF4-FFF2-40B4-BE49-F238E27FC236}">
                  <a16:creationId xmlns:a16="http://schemas.microsoft.com/office/drawing/2014/main" id="{4CEEF985-1F88-49AE-8A17-F4AE302A2A3E}"/>
                </a:ext>
              </a:extLst>
            </p:cNvPr>
            <p:cNvSpPr>
              <a:spLocks/>
            </p:cNvSpPr>
            <p:nvPr/>
          </p:nvSpPr>
          <p:spPr bwMode="gray">
            <a:xfrm>
              <a:off x="7735650" y="3037418"/>
              <a:ext cx="123501" cy="138337"/>
            </a:xfrm>
            <a:custGeom>
              <a:avLst/>
              <a:gdLst>
                <a:gd name="T0" fmla="*/ 38 w 300"/>
                <a:gd name="T1" fmla="*/ 152 h 336"/>
                <a:gd name="T2" fmla="*/ 38 w 300"/>
                <a:gd name="T3" fmla="*/ 90 h 336"/>
                <a:gd name="T4" fmla="*/ 38 w 300"/>
                <a:gd name="T5" fmla="*/ 83 h 336"/>
                <a:gd name="T6" fmla="*/ 38 w 300"/>
                <a:gd name="T7" fmla="*/ 55 h 336"/>
                <a:gd name="T8" fmla="*/ 49 w 300"/>
                <a:gd name="T9" fmla="*/ 55 h 336"/>
                <a:gd name="T10" fmla="*/ 71 w 300"/>
                <a:gd name="T11" fmla="*/ 50 h 336"/>
                <a:gd name="T12" fmla="*/ 75 w 300"/>
                <a:gd name="T13" fmla="*/ 67 h 336"/>
                <a:gd name="T14" fmla="*/ 101 w 300"/>
                <a:gd name="T15" fmla="*/ 83 h 336"/>
                <a:gd name="T16" fmla="*/ 130 w 300"/>
                <a:gd name="T17" fmla="*/ 83 h 336"/>
                <a:gd name="T18" fmla="*/ 269 w 300"/>
                <a:gd name="T19" fmla="*/ 0 h 336"/>
                <a:gd name="T20" fmla="*/ 283 w 300"/>
                <a:gd name="T21" fmla="*/ 67 h 336"/>
                <a:gd name="T22" fmla="*/ 279 w 300"/>
                <a:gd name="T23" fmla="*/ 74 h 336"/>
                <a:gd name="T24" fmla="*/ 283 w 300"/>
                <a:gd name="T25" fmla="*/ 83 h 336"/>
                <a:gd name="T26" fmla="*/ 300 w 300"/>
                <a:gd name="T27" fmla="*/ 83 h 336"/>
                <a:gd name="T28" fmla="*/ 300 w 300"/>
                <a:gd name="T29" fmla="*/ 90 h 336"/>
                <a:gd name="T30" fmla="*/ 290 w 300"/>
                <a:gd name="T31" fmla="*/ 95 h 336"/>
                <a:gd name="T32" fmla="*/ 283 w 300"/>
                <a:gd name="T33" fmla="*/ 107 h 336"/>
                <a:gd name="T34" fmla="*/ 139 w 300"/>
                <a:gd name="T35" fmla="*/ 145 h 336"/>
                <a:gd name="T36" fmla="*/ 210 w 300"/>
                <a:gd name="T37" fmla="*/ 234 h 336"/>
                <a:gd name="T38" fmla="*/ 182 w 300"/>
                <a:gd name="T39" fmla="*/ 239 h 336"/>
                <a:gd name="T40" fmla="*/ 177 w 300"/>
                <a:gd name="T41" fmla="*/ 274 h 336"/>
                <a:gd name="T42" fmla="*/ 123 w 300"/>
                <a:gd name="T43" fmla="*/ 279 h 336"/>
                <a:gd name="T44" fmla="*/ 108 w 300"/>
                <a:gd name="T45" fmla="*/ 312 h 336"/>
                <a:gd name="T46" fmla="*/ 75 w 300"/>
                <a:gd name="T47" fmla="*/ 336 h 336"/>
                <a:gd name="T48" fmla="*/ 0 w 300"/>
                <a:gd name="T49" fmla="*/ 317 h 336"/>
                <a:gd name="T50" fmla="*/ 0 w 300"/>
                <a:gd name="T51" fmla="*/ 308 h 336"/>
                <a:gd name="T52" fmla="*/ 16 w 300"/>
                <a:gd name="T53" fmla="*/ 256 h 336"/>
                <a:gd name="T54" fmla="*/ 16 w 300"/>
                <a:gd name="T55" fmla="*/ 234 h 336"/>
                <a:gd name="T56" fmla="*/ 33 w 300"/>
                <a:gd name="T57" fmla="*/ 178 h 336"/>
                <a:gd name="T58" fmla="*/ 33 w 300"/>
                <a:gd name="T59" fmla="*/ 168 h 336"/>
                <a:gd name="T60" fmla="*/ 38 w 300"/>
                <a:gd name="T61" fmla="*/ 152 h 336"/>
                <a:gd name="T62" fmla="*/ 38 w 300"/>
                <a:gd name="T63" fmla="*/ 152 h 336"/>
                <a:gd name="T64" fmla="*/ 38 w 300"/>
                <a:gd name="T65" fmla="*/ 15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336">
                  <a:moveTo>
                    <a:pt x="38" y="152"/>
                  </a:moveTo>
                  <a:lnTo>
                    <a:pt x="38" y="90"/>
                  </a:lnTo>
                  <a:lnTo>
                    <a:pt x="38" y="83"/>
                  </a:lnTo>
                  <a:lnTo>
                    <a:pt x="38" y="55"/>
                  </a:lnTo>
                  <a:lnTo>
                    <a:pt x="49" y="55"/>
                  </a:lnTo>
                  <a:lnTo>
                    <a:pt x="71" y="50"/>
                  </a:lnTo>
                  <a:lnTo>
                    <a:pt x="75" y="67"/>
                  </a:lnTo>
                  <a:lnTo>
                    <a:pt x="101" y="83"/>
                  </a:lnTo>
                  <a:lnTo>
                    <a:pt x="130" y="83"/>
                  </a:lnTo>
                  <a:lnTo>
                    <a:pt x="269" y="0"/>
                  </a:lnTo>
                  <a:lnTo>
                    <a:pt x="283" y="67"/>
                  </a:lnTo>
                  <a:lnTo>
                    <a:pt x="279" y="74"/>
                  </a:lnTo>
                  <a:lnTo>
                    <a:pt x="283" y="83"/>
                  </a:lnTo>
                  <a:lnTo>
                    <a:pt x="300" y="83"/>
                  </a:lnTo>
                  <a:lnTo>
                    <a:pt x="300" y="90"/>
                  </a:lnTo>
                  <a:lnTo>
                    <a:pt x="290" y="95"/>
                  </a:lnTo>
                  <a:lnTo>
                    <a:pt x="283" y="107"/>
                  </a:lnTo>
                  <a:lnTo>
                    <a:pt x="139" y="145"/>
                  </a:lnTo>
                  <a:lnTo>
                    <a:pt x="210" y="234"/>
                  </a:lnTo>
                  <a:lnTo>
                    <a:pt x="182" y="239"/>
                  </a:lnTo>
                  <a:lnTo>
                    <a:pt x="177" y="274"/>
                  </a:lnTo>
                  <a:lnTo>
                    <a:pt x="123" y="279"/>
                  </a:lnTo>
                  <a:lnTo>
                    <a:pt x="108" y="312"/>
                  </a:lnTo>
                  <a:lnTo>
                    <a:pt x="75" y="336"/>
                  </a:lnTo>
                  <a:lnTo>
                    <a:pt x="0" y="317"/>
                  </a:lnTo>
                  <a:lnTo>
                    <a:pt x="0" y="308"/>
                  </a:lnTo>
                  <a:lnTo>
                    <a:pt x="16" y="256"/>
                  </a:lnTo>
                  <a:lnTo>
                    <a:pt x="16" y="234"/>
                  </a:lnTo>
                  <a:lnTo>
                    <a:pt x="33" y="178"/>
                  </a:lnTo>
                  <a:lnTo>
                    <a:pt x="33" y="168"/>
                  </a:lnTo>
                  <a:lnTo>
                    <a:pt x="38" y="152"/>
                  </a:lnTo>
                  <a:lnTo>
                    <a:pt x="38" y="152"/>
                  </a:lnTo>
                  <a:lnTo>
                    <a:pt x="38" y="15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62" name="Freeform 481">
              <a:extLst>
                <a:ext uri="{FF2B5EF4-FFF2-40B4-BE49-F238E27FC236}">
                  <a16:creationId xmlns:a16="http://schemas.microsoft.com/office/drawing/2014/main" id="{BB71970C-8BD3-42A3-B6CE-E9AD4978894A}"/>
                </a:ext>
              </a:extLst>
            </p:cNvPr>
            <p:cNvSpPr>
              <a:spLocks noEditPoints="1"/>
            </p:cNvSpPr>
            <p:nvPr/>
          </p:nvSpPr>
          <p:spPr bwMode="gray">
            <a:xfrm>
              <a:off x="7703540" y="3927548"/>
              <a:ext cx="231359" cy="277908"/>
            </a:xfrm>
            <a:custGeom>
              <a:avLst/>
              <a:gdLst>
                <a:gd name="T0" fmla="*/ 0 w 562"/>
                <a:gd name="T1" fmla="*/ 408 h 675"/>
                <a:gd name="T2" fmla="*/ 7 w 562"/>
                <a:gd name="T3" fmla="*/ 347 h 675"/>
                <a:gd name="T4" fmla="*/ 0 w 562"/>
                <a:gd name="T5" fmla="*/ 331 h 675"/>
                <a:gd name="T6" fmla="*/ 23 w 562"/>
                <a:gd name="T7" fmla="*/ 290 h 675"/>
                <a:gd name="T8" fmla="*/ 38 w 562"/>
                <a:gd name="T9" fmla="*/ 274 h 675"/>
                <a:gd name="T10" fmla="*/ 45 w 562"/>
                <a:gd name="T11" fmla="*/ 253 h 675"/>
                <a:gd name="T12" fmla="*/ 71 w 562"/>
                <a:gd name="T13" fmla="*/ 241 h 675"/>
                <a:gd name="T14" fmla="*/ 61 w 562"/>
                <a:gd name="T15" fmla="*/ 234 h 675"/>
                <a:gd name="T16" fmla="*/ 75 w 562"/>
                <a:gd name="T17" fmla="*/ 212 h 675"/>
                <a:gd name="T18" fmla="*/ 75 w 562"/>
                <a:gd name="T19" fmla="*/ 196 h 675"/>
                <a:gd name="T20" fmla="*/ 71 w 562"/>
                <a:gd name="T21" fmla="*/ 156 h 675"/>
                <a:gd name="T22" fmla="*/ 61 w 562"/>
                <a:gd name="T23" fmla="*/ 130 h 675"/>
                <a:gd name="T24" fmla="*/ 45 w 562"/>
                <a:gd name="T25" fmla="*/ 123 h 675"/>
                <a:gd name="T26" fmla="*/ 38 w 562"/>
                <a:gd name="T27" fmla="*/ 90 h 675"/>
                <a:gd name="T28" fmla="*/ 38 w 562"/>
                <a:gd name="T29" fmla="*/ 68 h 675"/>
                <a:gd name="T30" fmla="*/ 23 w 562"/>
                <a:gd name="T31" fmla="*/ 57 h 675"/>
                <a:gd name="T32" fmla="*/ 7 w 562"/>
                <a:gd name="T33" fmla="*/ 28 h 675"/>
                <a:gd name="T34" fmla="*/ 38 w 562"/>
                <a:gd name="T35" fmla="*/ 0 h 675"/>
                <a:gd name="T36" fmla="*/ 146 w 562"/>
                <a:gd name="T37" fmla="*/ 0 h 675"/>
                <a:gd name="T38" fmla="*/ 153 w 562"/>
                <a:gd name="T39" fmla="*/ 12 h 675"/>
                <a:gd name="T40" fmla="*/ 222 w 562"/>
                <a:gd name="T41" fmla="*/ 19 h 675"/>
                <a:gd name="T42" fmla="*/ 305 w 562"/>
                <a:gd name="T43" fmla="*/ 73 h 675"/>
                <a:gd name="T44" fmla="*/ 326 w 562"/>
                <a:gd name="T45" fmla="*/ 73 h 675"/>
                <a:gd name="T46" fmla="*/ 394 w 562"/>
                <a:gd name="T47" fmla="*/ 90 h 675"/>
                <a:gd name="T48" fmla="*/ 418 w 562"/>
                <a:gd name="T49" fmla="*/ 52 h 675"/>
                <a:gd name="T50" fmla="*/ 486 w 562"/>
                <a:gd name="T51" fmla="*/ 28 h 675"/>
                <a:gd name="T52" fmla="*/ 510 w 562"/>
                <a:gd name="T53" fmla="*/ 52 h 675"/>
                <a:gd name="T54" fmla="*/ 562 w 562"/>
                <a:gd name="T55" fmla="*/ 45 h 675"/>
                <a:gd name="T56" fmla="*/ 524 w 562"/>
                <a:gd name="T57" fmla="*/ 106 h 675"/>
                <a:gd name="T58" fmla="*/ 503 w 562"/>
                <a:gd name="T59" fmla="*/ 130 h 675"/>
                <a:gd name="T60" fmla="*/ 503 w 562"/>
                <a:gd name="T61" fmla="*/ 401 h 675"/>
                <a:gd name="T62" fmla="*/ 541 w 562"/>
                <a:gd name="T63" fmla="*/ 458 h 675"/>
                <a:gd name="T64" fmla="*/ 524 w 562"/>
                <a:gd name="T65" fmla="*/ 475 h 675"/>
                <a:gd name="T66" fmla="*/ 494 w 562"/>
                <a:gd name="T67" fmla="*/ 479 h 675"/>
                <a:gd name="T68" fmla="*/ 494 w 562"/>
                <a:gd name="T69" fmla="*/ 508 h 675"/>
                <a:gd name="T70" fmla="*/ 486 w 562"/>
                <a:gd name="T71" fmla="*/ 496 h 675"/>
                <a:gd name="T72" fmla="*/ 486 w 562"/>
                <a:gd name="T73" fmla="*/ 508 h 675"/>
                <a:gd name="T74" fmla="*/ 472 w 562"/>
                <a:gd name="T75" fmla="*/ 520 h 675"/>
                <a:gd name="T76" fmla="*/ 465 w 562"/>
                <a:gd name="T77" fmla="*/ 520 h 675"/>
                <a:gd name="T78" fmla="*/ 449 w 562"/>
                <a:gd name="T79" fmla="*/ 529 h 675"/>
                <a:gd name="T80" fmla="*/ 439 w 562"/>
                <a:gd name="T81" fmla="*/ 569 h 675"/>
                <a:gd name="T82" fmla="*/ 423 w 562"/>
                <a:gd name="T83" fmla="*/ 574 h 675"/>
                <a:gd name="T84" fmla="*/ 385 w 562"/>
                <a:gd name="T85" fmla="*/ 675 h 675"/>
                <a:gd name="T86" fmla="*/ 368 w 562"/>
                <a:gd name="T87" fmla="*/ 675 h 675"/>
                <a:gd name="T88" fmla="*/ 260 w 562"/>
                <a:gd name="T89" fmla="*/ 586 h 675"/>
                <a:gd name="T90" fmla="*/ 271 w 562"/>
                <a:gd name="T91" fmla="*/ 574 h 675"/>
                <a:gd name="T92" fmla="*/ 260 w 562"/>
                <a:gd name="T93" fmla="*/ 553 h 675"/>
                <a:gd name="T94" fmla="*/ 0 w 562"/>
                <a:gd name="T95" fmla="*/ 408 h 675"/>
                <a:gd name="T96" fmla="*/ 0 w 562"/>
                <a:gd name="T97" fmla="*/ 408 h 675"/>
                <a:gd name="T98" fmla="*/ 0 w 562"/>
                <a:gd name="T99" fmla="*/ 408 h 675"/>
                <a:gd name="T100" fmla="*/ 503 w 562"/>
                <a:gd name="T101" fmla="*/ 496 h 675"/>
                <a:gd name="T102" fmla="*/ 503 w 562"/>
                <a:gd name="T103" fmla="*/ 491 h 675"/>
                <a:gd name="T104" fmla="*/ 510 w 562"/>
                <a:gd name="T105" fmla="*/ 491 h 675"/>
                <a:gd name="T106" fmla="*/ 503 w 562"/>
                <a:gd name="T107" fmla="*/ 496 h 675"/>
                <a:gd name="T108" fmla="*/ 503 w 562"/>
                <a:gd name="T109" fmla="*/ 496 h 675"/>
                <a:gd name="T110" fmla="*/ 503 w 562"/>
                <a:gd name="T111" fmla="*/ 496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2" h="675">
                  <a:moveTo>
                    <a:pt x="0" y="408"/>
                  </a:moveTo>
                  <a:lnTo>
                    <a:pt x="7" y="347"/>
                  </a:lnTo>
                  <a:lnTo>
                    <a:pt x="0" y="331"/>
                  </a:lnTo>
                  <a:lnTo>
                    <a:pt x="23" y="290"/>
                  </a:lnTo>
                  <a:lnTo>
                    <a:pt x="38" y="274"/>
                  </a:lnTo>
                  <a:lnTo>
                    <a:pt x="45" y="253"/>
                  </a:lnTo>
                  <a:lnTo>
                    <a:pt x="71" y="241"/>
                  </a:lnTo>
                  <a:lnTo>
                    <a:pt x="61" y="234"/>
                  </a:lnTo>
                  <a:lnTo>
                    <a:pt x="75" y="212"/>
                  </a:lnTo>
                  <a:lnTo>
                    <a:pt x="75" y="196"/>
                  </a:lnTo>
                  <a:lnTo>
                    <a:pt x="71" y="156"/>
                  </a:lnTo>
                  <a:lnTo>
                    <a:pt x="61" y="130"/>
                  </a:lnTo>
                  <a:lnTo>
                    <a:pt x="45" y="123"/>
                  </a:lnTo>
                  <a:lnTo>
                    <a:pt x="38" y="90"/>
                  </a:lnTo>
                  <a:lnTo>
                    <a:pt x="38" y="68"/>
                  </a:lnTo>
                  <a:lnTo>
                    <a:pt x="23" y="57"/>
                  </a:lnTo>
                  <a:lnTo>
                    <a:pt x="7" y="28"/>
                  </a:lnTo>
                  <a:lnTo>
                    <a:pt x="38" y="0"/>
                  </a:lnTo>
                  <a:lnTo>
                    <a:pt x="146" y="0"/>
                  </a:lnTo>
                  <a:lnTo>
                    <a:pt x="153" y="12"/>
                  </a:lnTo>
                  <a:lnTo>
                    <a:pt x="222" y="19"/>
                  </a:lnTo>
                  <a:lnTo>
                    <a:pt x="305" y="73"/>
                  </a:lnTo>
                  <a:lnTo>
                    <a:pt x="326" y="73"/>
                  </a:lnTo>
                  <a:lnTo>
                    <a:pt x="394" y="90"/>
                  </a:lnTo>
                  <a:lnTo>
                    <a:pt x="418" y="52"/>
                  </a:lnTo>
                  <a:lnTo>
                    <a:pt x="486" y="28"/>
                  </a:lnTo>
                  <a:lnTo>
                    <a:pt x="510" y="52"/>
                  </a:lnTo>
                  <a:lnTo>
                    <a:pt x="562" y="45"/>
                  </a:lnTo>
                  <a:lnTo>
                    <a:pt x="524" y="106"/>
                  </a:lnTo>
                  <a:lnTo>
                    <a:pt x="503" y="130"/>
                  </a:lnTo>
                  <a:lnTo>
                    <a:pt x="503" y="401"/>
                  </a:lnTo>
                  <a:lnTo>
                    <a:pt x="541" y="458"/>
                  </a:lnTo>
                  <a:lnTo>
                    <a:pt x="524" y="475"/>
                  </a:lnTo>
                  <a:lnTo>
                    <a:pt x="494" y="479"/>
                  </a:lnTo>
                  <a:lnTo>
                    <a:pt x="494" y="508"/>
                  </a:lnTo>
                  <a:lnTo>
                    <a:pt x="486" y="496"/>
                  </a:lnTo>
                  <a:lnTo>
                    <a:pt x="486" y="508"/>
                  </a:lnTo>
                  <a:lnTo>
                    <a:pt x="472" y="520"/>
                  </a:lnTo>
                  <a:lnTo>
                    <a:pt x="465" y="520"/>
                  </a:lnTo>
                  <a:lnTo>
                    <a:pt x="449" y="529"/>
                  </a:lnTo>
                  <a:lnTo>
                    <a:pt x="439" y="569"/>
                  </a:lnTo>
                  <a:lnTo>
                    <a:pt x="423" y="574"/>
                  </a:lnTo>
                  <a:lnTo>
                    <a:pt x="385" y="675"/>
                  </a:lnTo>
                  <a:lnTo>
                    <a:pt x="368" y="675"/>
                  </a:lnTo>
                  <a:lnTo>
                    <a:pt x="260" y="586"/>
                  </a:lnTo>
                  <a:lnTo>
                    <a:pt x="271" y="574"/>
                  </a:lnTo>
                  <a:lnTo>
                    <a:pt x="260" y="553"/>
                  </a:lnTo>
                  <a:lnTo>
                    <a:pt x="0" y="408"/>
                  </a:lnTo>
                  <a:lnTo>
                    <a:pt x="0" y="408"/>
                  </a:lnTo>
                  <a:lnTo>
                    <a:pt x="0" y="408"/>
                  </a:lnTo>
                  <a:close/>
                  <a:moveTo>
                    <a:pt x="503" y="496"/>
                  </a:moveTo>
                  <a:lnTo>
                    <a:pt x="503" y="491"/>
                  </a:lnTo>
                  <a:lnTo>
                    <a:pt x="510" y="491"/>
                  </a:lnTo>
                  <a:lnTo>
                    <a:pt x="503" y="496"/>
                  </a:lnTo>
                  <a:lnTo>
                    <a:pt x="503" y="496"/>
                  </a:lnTo>
                  <a:lnTo>
                    <a:pt x="503" y="49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63" name="Freeform 487">
              <a:extLst>
                <a:ext uri="{FF2B5EF4-FFF2-40B4-BE49-F238E27FC236}">
                  <a16:creationId xmlns:a16="http://schemas.microsoft.com/office/drawing/2014/main" id="{230E2F6C-756C-4EA0-AE47-BE1E95733822}"/>
                </a:ext>
              </a:extLst>
            </p:cNvPr>
            <p:cNvSpPr>
              <a:spLocks noEditPoints="1"/>
            </p:cNvSpPr>
            <p:nvPr/>
          </p:nvSpPr>
          <p:spPr bwMode="gray">
            <a:xfrm>
              <a:off x="8069103" y="3145700"/>
              <a:ext cx="53518" cy="50641"/>
            </a:xfrm>
            <a:custGeom>
              <a:avLst/>
              <a:gdLst>
                <a:gd name="T0" fmla="*/ 0 w 130"/>
                <a:gd name="T1" fmla="*/ 73 h 123"/>
                <a:gd name="T2" fmla="*/ 33 w 130"/>
                <a:gd name="T3" fmla="*/ 45 h 123"/>
                <a:gd name="T4" fmla="*/ 50 w 130"/>
                <a:gd name="T5" fmla="*/ 0 h 123"/>
                <a:gd name="T6" fmla="*/ 87 w 130"/>
                <a:gd name="T7" fmla="*/ 0 h 123"/>
                <a:gd name="T8" fmla="*/ 104 w 130"/>
                <a:gd name="T9" fmla="*/ 0 h 123"/>
                <a:gd name="T10" fmla="*/ 118 w 130"/>
                <a:gd name="T11" fmla="*/ 45 h 123"/>
                <a:gd name="T12" fmla="*/ 104 w 130"/>
                <a:gd name="T13" fmla="*/ 33 h 123"/>
                <a:gd name="T14" fmla="*/ 87 w 130"/>
                <a:gd name="T15" fmla="*/ 56 h 123"/>
                <a:gd name="T16" fmla="*/ 109 w 130"/>
                <a:gd name="T17" fmla="*/ 56 h 123"/>
                <a:gd name="T18" fmla="*/ 130 w 130"/>
                <a:gd name="T19" fmla="*/ 123 h 123"/>
                <a:gd name="T20" fmla="*/ 87 w 130"/>
                <a:gd name="T21" fmla="*/ 123 h 123"/>
                <a:gd name="T22" fmla="*/ 66 w 130"/>
                <a:gd name="T23" fmla="*/ 85 h 123"/>
                <a:gd name="T24" fmla="*/ 0 w 130"/>
                <a:gd name="T25" fmla="*/ 73 h 123"/>
                <a:gd name="T26" fmla="*/ 0 w 130"/>
                <a:gd name="T27" fmla="*/ 73 h 123"/>
                <a:gd name="T28" fmla="*/ 0 w 130"/>
                <a:gd name="T29" fmla="*/ 73 h 123"/>
                <a:gd name="T30" fmla="*/ 0 w 130"/>
                <a:gd name="T31" fmla="*/ 73 h 123"/>
                <a:gd name="T32" fmla="*/ 118 w 130"/>
                <a:gd name="T33" fmla="*/ 9 h 123"/>
                <a:gd name="T34" fmla="*/ 130 w 130"/>
                <a:gd name="T35" fmla="*/ 28 h 123"/>
                <a:gd name="T36" fmla="*/ 118 w 130"/>
                <a:gd name="T37" fmla="*/ 45 h 123"/>
                <a:gd name="T38" fmla="*/ 109 w 130"/>
                <a:gd name="T39" fmla="*/ 28 h 123"/>
                <a:gd name="T40" fmla="*/ 109 w 130"/>
                <a:gd name="T41" fmla="*/ 9 h 123"/>
                <a:gd name="T42" fmla="*/ 118 w 130"/>
                <a:gd name="T43" fmla="*/ 9 h 123"/>
                <a:gd name="T44" fmla="*/ 118 w 130"/>
                <a:gd name="T45" fmla="*/ 9 h 123"/>
                <a:gd name="T46" fmla="*/ 118 w 130"/>
                <a:gd name="T47" fmla="*/ 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123">
                  <a:moveTo>
                    <a:pt x="0" y="73"/>
                  </a:moveTo>
                  <a:lnTo>
                    <a:pt x="33" y="45"/>
                  </a:lnTo>
                  <a:lnTo>
                    <a:pt x="50" y="0"/>
                  </a:lnTo>
                  <a:lnTo>
                    <a:pt x="87" y="0"/>
                  </a:lnTo>
                  <a:lnTo>
                    <a:pt x="104" y="0"/>
                  </a:lnTo>
                  <a:lnTo>
                    <a:pt x="118" y="45"/>
                  </a:lnTo>
                  <a:lnTo>
                    <a:pt x="104" y="33"/>
                  </a:lnTo>
                  <a:lnTo>
                    <a:pt x="87" y="56"/>
                  </a:lnTo>
                  <a:lnTo>
                    <a:pt x="109" y="56"/>
                  </a:lnTo>
                  <a:lnTo>
                    <a:pt x="130" y="123"/>
                  </a:lnTo>
                  <a:lnTo>
                    <a:pt x="87" y="123"/>
                  </a:lnTo>
                  <a:lnTo>
                    <a:pt x="66" y="85"/>
                  </a:lnTo>
                  <a:lnTo>
                    <a:pt x="0" y="73"/>
                  </a:lnTo>
                  <a:lnTo>
                    <a:pt x="0" y="73"/>
                  </a:lnTo>
                  <a:lnTo>
                    <a:pt x="0" y="73"/>
                  </a:lnTo>
                  <a:lnTo>
                    <a:pt x="0" y="73"/>
                  </a:lnTo>
                  <a:close/>
                  <a:moveTo>
                    <a:pt x="118" y="9"/>
                  </a:moveTo>
                  <a:lnTo>
                    <a:pt x="130" y="28"/>
                  </a:lnTo>
                  <a:lnTo>
                    <a:pt x="118" y="45"/>
                  </a:lnTo>
                  <a:lnTo>
                    <a:pt x="109" y="28"/>
                  </a:lnTo>
                  <a:lnTo>
                    <a:pt x="109" y="9"/>
                  </a:lnTo>
                  <a:lnTo>
                    <a:pt x="118" y="9"/>
                  </a:lnTo>
                  <a:lnTo>
                    <a:pt x="118" y="9"/>
                  </a:lnTo>
                  <a:lnTo>
                    <a:pt x="118" y="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64" name="Freeform 490">
              <a:extLst>
                <a:ext uri="{FF2B5EF4-FFF2-40B4-BE49-F238E27FC236}">
                  <a16:creationId xmlns:a16="http://schemas.microsoft.com/office/drawing/2014/main" id="{4D8CFC02-526B-4D1C-8EF4-420240E18E7E}"/>
                </a:ext>
              </a:extLst>
            </p:cNvPr>
            <p:cNvSpPr>
              <a:spLocks/>
            </p:cNvSpPr>
            <p:nvPr/>
          </p:nvSpPr>
          <p:spPr bwMode="gray">
            <a:xfrm>
              <a:off x="7739356" y="2996659"/>
              <a:ext cx="45695" cy="53524"/>
            </a:xfrm>
            <a:custGeom>
              <a:avLst/>
              <a:gdLst>
                <a:gd name="T0" fmla="*/ 38 w 111"/>
                <a:gd name="T1" fmla="*/ 111 h 130"/>
                <a:gd name="T2" fmla="*/ 21 w 111"/>
                <a:gd name="T3" fmla="*/ 130 h 130"/>
                <a:gd name="T4" fmla="*/ 0 w 111"/>
                <a:gd name="T5" fmla="*/ 118 h 130"/>
                <a:gd name="T6" fmla="*/ 21 w 111"/>
                <a:gd name="T7" fmla="*/ 57 h 130"/>
                <a:gd name="T8" fmla="*/ 38 w 111"/>
                <a:gd name="T9" fmla="*/ 45 h 130"/>
                <a:gd name="T10" fmla="*/ 38 w 111"/>
                <a:gd name="T11" fmla="*/ 24 h 130"/>
                <a:gd name="T12" fmla="*/ 62 w 111"/>
                <a:gd name="T13" fmla="*/ 5 h 130"/>
                <a:gd name="T14" fmla="*/ 62 w 111"/>
                <a:gd name="T15" fmla="*/ 0 h 130"/>
                <a:gd name="T16" fmla="*/ 95 w 111"/>
                <a:gd name="T17" fmla="*/ 0 h 130"/>
                <a:gd name="T18" fmla="*/ 83 w 111"/>
                <a:gd name="T19" fmla="*/ 5 h 130"/>
                <a:gd name="T20" fmla="*/ 99 w 111"/>
                <a:gd name="T21" fmla="*/ 17 h 130"/>
                <a:gd name="T22" fmla="*/ 111 w 111"/>
                <a:gd name="T23" fmla="*/ 29 h 130"/>
                <a:gd name="T24" fmla="*/ 83 w 111"/>
                <a:gd name="T25" fmla="*/ 57 h 130"/>
                <a:gd name="T26" fmla="*/ 95 w 111"/>
                <a:gd name="T27" fmla="*/ 62 h 130"/>
                <a:gd name="T28" fmla="*/ 66 w 111"/>
                <a:gd name="T29" fmla="*/ 62 h 130"/>
                <a:gd name="T30" fmla="*/ 62 w 111"/>
                <a:gd name="T31" fmla="*/ 78 h 130"/>
                <a:gd name="T32" fmla="*/ 66 w 111"/>
                <a:gd name="T33" fmla="*/ 78 h 130"/>
                <a:gd name="T34" fmla="*/ 38 w 111"/>
                <a:gd name="T35" fmla="*/ 111 h 130"/>
                <a:gd name="T36" fmla="*/ 38 w 111"/>
                <a:gd name="T37" fmla="*/ 111 h 130"/>
                <a:gd name="T38" fmla="*/ 38 w 111"/>
                <a:gd name="T39" fmla="*/ 111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30">
                  <a:moveTo>
                    <a:pt x="38" y="111"/>
                  </a:moveTo>
                  <a:lnTo>
                    <a:pt x="21" y="130"/>
                  </a:lnTo>
                  <a:lnTo>
                    <a:pt x="0" y="118"/>
                  </a:lnTo>
                  <a:lnTo>
                    <a:pt x="21" y="57"/>
                  </a:lnTo>
                  <a:lnTo>
                    <a:pt x="38" y="45"/>
                  </a:lnTo>
                  <a:lnTo>
                    <a:pt x="38" y="24"/>
                  </a:lnTo>
                  <a:lnTo>
                    <a:pt x="62" y="5"/>
                  </a:lnTo>
                  <a:lnTo>
                    <a:pt x="62" y="0"/>
                  </a:lnTo>
                  <a:lnTo>
                    <a:pt x="95" y="0"/>
                  </a:lnTo>
                  <a:lnTo>
                    <a:pt x="83" y="5"/>
                  </a:lnTo>
                  <a:lnTo>
                    <a:pt x="99" y="17"/>
                  </a:lnTo>
                  <a:lnTo>
                    <a:pt x="111" y="29"/>
                  </a:lnTo>
                  <a:lnTo>
                    <a:pt x="83" y="57"/>
                  </a:lnTo>
                  <a:lnTo>
                    <a:pt x="95" y="62"/>
                  </a:lnTo>
                  <a:lnTo>
                    <a:pt x="66" y="62"/>
                  </a:lnTo>
                  <a:lnTo>
                    <a:pt x="62" y="78"/>
                  </a:lnTo>
                  <a:lnTo>
                    <a:pt x="66" y="78"/>
                  </a:lnTo>
                  <a:lnTo>
                    <a:pt x="38" y="111"/>
                  </a:lnTo>
                  <a:lnTo>
                    <a:pt x="38" y="111"/>
                  </a:lnTo>
                  <a:lnTo>
                    <a:pt x="38" y="11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65" name="Freeform 493">
              <a:extLst>
                <a:ext uri="{FF2B5EF4-FFF2-40B4-BE49-F238E27FC236}">
                  <a16:creationId xmlns:a16="http://schemas.microsoft.com/office/drawing/2014/main" id="{D5F49056-ADE8-4B43-8D41-115EB4293C3C}"/>
                </a:ext>
              </a:extLst>
            </p:cNvPr>
            <p:cNvSpPr>
              <a:spLocks/>
            </p:cNvSpPr>
            <p:nvPr/>
          </p:nvSpPr>
          <p:spPr bwMode="gray">
            <a:xfrm>
              <a:off x="6394430" y="3811857"/>
              <a:ext cx="118973" cy="123515"/>
            </a:xfrm>
            <a:custGeom>
              <a:avLst/>
              <a:gdLst>
                <a:gd name="T0" fmla="*/ 0 w 289"/>
                <a:gd name="T1" fmla="*/ 115 h 300"/>
                <a:gd name="T2" fmla="*/ 12 w 289"/>
                <a:gd name="T3" fmla="*/ 94 h 300"/>
                <a:gd name="T4" fmla="*/ 38 w 289"/>
                <a:gd name="T5" fmla="*/ 71 h 300"/>
                <a:gd name="T6" fmla="*/ 66 w 289"/>
                <a:gd name="T7" fmla="*/ 54 h 300"/>
                <a:gd name="T8" fmla="*/ 66 w 289"/>
                <a:gd name="T9" fmla="*/ 33 h 300"/>
                <a:gd name="T10" fmla="*/ 76 w 289"/>
                <a:gd name="T11" fmla="*/ 21 h 300"/>
                <a:gd name="T12" fmla="*/ 88 w 289"/>
                <a:gd name="T13" fmla="*/ 0 h 300"/>
                <a:gd name="T14" fmla="*/ 121 w 289"/>
                <a:gd name="T15" fmla="*/ 0 h 300"/>
                <a:gd name="T16" fmla="*/ 142 w 289"/>
                <a:gd name="T17" fmla="*/ 16 h 300"/>
                <a:gd name="T18" fmla="*/ 147 w 289"/>
                <a:gd name="T19" fmla="*/ 54 h 300"/>
                <a:gd name="T20" fmla="*/ 142 w 289"/>
                <a:gd name="T21" fmla="*/ 87 h 300"/>
                <a:gd name="T22" fmla="*/ 147 w 289"/>
                <a:gd name="T23" fmla="*/ 75 h 300"/>
                <a:gd name="T24" fmla="*/ 163 w 289"/>
                <a:gd name="T25" fmla="*/ 94 h 300"/>
                <a:gd name="T26" fmla="*/ 185 w 289"/>
                <a:gd name="T27" fmla="*/ 87 h 300"/>
                <a:gd name="T28" fmla="*/ 196 w 289"/>
                <a:gd name="T29" fmla="*/ 59 h 300"/>
                <a:gd name="T30" fmla="*/ 201 w 289"/>
                <a:gd name="T31" fmla="*/ 59 h 300"/>
                <a:gd name="T32" fmla="*/ 213 w 289"/>
                <a:gd name="T33" fmla="*/ 71 h 300"/>
                <a:gd name="T34" fmla="*/ 229 w 289"/>
                <a:gd name="T35" fmla="*/ 94 h 300"/>
                <a:gd name="T36" fmla="*/ 218 w 289"/>
                <a:gd name="T37" fmla="*/ 115 h 300"/>
                <a:gd name="T38" fmla="*/ 201 w 289"/>
                <a:gd name="T39" fmla="*/ 144 h 300"/>
                <a:gd name="T40" fmla="*/ 234 w 289"/>
                <a:gd name="T41" fmla="*/ 165 h 300"/>
                <a:gd name="T42" fmla="*/ 251 w 289"/>
                <a:gd name="T43" fmla="*/ 165 h 300"/>
                <a:gd name="T44" fmla="*/ 255 w 289"/>
                <a:gd name="T45" fmla="*/ 189 h 300"/>
                <a:gd name="T46" fmla="*/ 289 w 289"/>
                <a:gd name="T47" fmla="*/ 189 h 300"/>
                <a:gd name="T48" fmla="*/ 289 w 289"/>
                <a:gd name="T49" fmla="*/ 215 h 300"/>
                <a:gd name="T50" fmla="*/ 284 w 289"/>
                <a:gd name="T51" fmla="*/ 222 h 300"/>
                <a:gd name="T52" fmla="*/ 289 w 289"/>
                <a:gd name="T53" fmla="*/ 227 h 300"/>
                <a:gd name="T54" fmla="*/ 272 w 289"/>
                <a:gd name="T55" fmla="*/ 260 h 300"/>
                <a:gd name="T56" fmla="*/ 284 w 289"/>
                <a:gd name="T57" fmla="*/ 300 h 300"/>
                <a:gd name="T58" fmla="*/ 229 w 289"/>
                <a:gd name="T59" fmla="*/ 283 h 300"/>
                <a:gd name="T60" fmla="*/ 163 w 289"/>
                <a:gd name="T61" fmla="*/ 255 h 300"/>
                <a:gd name="T62" fmla="*/ 76 w 289"/>
                <a:gd name="T63" fmla="*/ 165 h 300"/>
                <a:gd name="T64" fmla="*/ 50 w 289"/>
                <a:gd name="T65" fmla="*/ 165 h 300"/>
                <a:gd name="T66" fmla="*/ 38 w 289"/>
                <a:gd name="T67" fmla="*/ 149 h 300"/>
                <a:gd name="T68" fmla="*/ 12 w 289"/>
                <a:gd name="T69" fmla="*/ 132 h 300"/>
                <a:gd name="T70" fmla="*/ 0 w 289"/>
                <a:gd name="T71" fmla="*/ 115 h 300"/>
                <a:gd name="T72" fmla="*/ 0 w 289"/>
                <a:gd name="T73" fmla="*/ 115 h 300"/>
                <a:gd name="T74" fmla="*/ 0 w 289"/>
                <a:gd name="T75" fmla="*/ 11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9" h="300">
                  <a:moveTo>
                    <a:pt x="0" y="115"/>
                  </a:moveTo>
                  <a:lnTo>
                    <a:pt x="12" y="94"/>
                  </a:lnTo>
                  <a:lnTo>
                    <a:pt x="38" y="71"/>
                  </a:lnTo>
                  <a:lnTo>
                    <a:pt x="66" y="54"/>
                  </a:lnTo>
                  <a:lnTo>
                    <a:pt x="66" y="33"/>
                  </a:lnTo>
                  <a:lnTo>
                    <a:pt x="76" y="21"/>
                  </a:lnTo>
                  <a:lnTo>
                    <a:pt x="88" y="0"/>
                  </a:lnTo>
                  <a:lnTo>
                    <a:pt x="121" y="0"/>
                  </a:lnTo>
                  <a:lnTo>
                    <a:pt x="142" y="16"/>
                  </a:lnTo>
                  <a:lnTo>
                    <a:pt x="147" y="54"/>
                  </a:lnTo>
                  <a:lnTo>
                    <a:pt x="142" y="87"/>
                  </a:lnTo>
                  <a:lnTo>
                    <a:pt x="147" y="75"/>
                  </a:lnTo>
                  <a:lnTo>
                    <a:pt x="163" y="94"/>
                  </a:lnTo>
                  <a:lnTo>
                    <a:pt x="185" y="87"/>
                  </a:lnTo>
                  <a:lnTo>
                    <a:pt x="196" y="59"/>
                  </a:lnTo>
                  <a:lnTo>
                    <a:pt x="201" y="59"/>
                  </a:lnTo>
                  <a:lnTo>
                    <a:pt x="213" y="71"/>
                  </a:lnTo>
                  <a:lnTo>
                    <a:pt x="229" y="94"/>
                  </a:lnTo>
                  <a:lnTo>
                    <a:pt x="218" y="115"/>
                  </a:lnTo>
                  <a:lnTo>
                    <a:pt x="201" y="144"/>
                  </a:lnTo>
                  <a:lnTo>
                    <a:pt x="234" y="165"/>
                  </a:lnTo>
                  <a:lnTo>
                    <a:pt x="251" y="165"/>
                  </a:lnTo>
                  <a:lnTo>
                    <a:pt x="255" y="189"/>
                  </a:lnTo>
                  <a:lnTo>
                    <a:pt x="289" y="189"/>
                  </a:lnTo>
                  <a:lnTo>
                    <a:pt x="289" y="215"/>
                  </a:lnTo>
                  <a:lnTo>
                    <a:pt x="284" y="222"/>
                  </a:lnTo>
                  <a:lnTo>
                    <a:pt x="289" y="227"/>
                  </a:lnTo>
                  <a:lnTo>
                    <a:pt x="272" y="260"/>
                  </a:lnTo>
                  <a:lnTo>
                    <a:pt x="284" y="300"/>
                  </a:lnTo>
                  <a:lnTo>
                    <a:pt x="229" y="283"/>
                  </a:lnTo>
                  <a:lnTo>
                    <a:pt x="163" y="255"/>
                  </a:lnTo>
                  <a:lnTo>
                    <a:pt x="76" y="165"/>
                  </a:lnTo>
                  <a:lnTo>
                    <a:pt x="50" y="165"/>
                  </a:lnTo>
                  <a:lnTo>
                    <a:pt x="38" y="149"/>
                  </a:lnTo>
                  <a:lnTo>
                    <a:pt x="12" y="132"/>
                  </a:lnTo>
                  <a:lnTo>
                    <a:pt x="0" y="115"/>
                  </a:lnTo>
                  <a:lnTo>
                    <a:pt x="0" y="115"/>
                  </a:lnTo>
                  <a:lnTo>
                    <a:pt x="0" y="11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66" name="Freeform 496">
              <a:extLst>
                <a:ext uri="{FF2B5EF4-FFF2-40B4-BE49-F238E27FC236}">
                  <a16:creationId xmlns:a16="http://schemas.microsoft.com/office/drawing/2014/main" id="{608E6E2A-F6E5-46E6-9E50-6F29AE84FAF6}"/>
                </a:ext>
              </a:extLst>
            </p:cNvPr>
            <p:cNvSpPr>
              <a:spLocks/>
            </p:cNvSpPr>
            <p:nvPr/>
          </p:nvSpPr>
          <p:spPr bwMode="gray">
            <a:xfrm>
              <a:off x="7505939" y="4937077"/>
              <a:ext cx="72043" cy="67109"/>
            </a:xfrm>
            <a:custGeom>
              <a:avLst/>
              <a:gdLst>
                <a:gd name="T0" fmla="*/ 128 w 175"/>
                <a:gd name="T1" fmla="*/ 12 h 163"/>
                <a:gd name="T2" fmla="*/ 166 w 175"/>
                <a:gd name="T3" fmla="*/ 38 h 163"/>
                <a:gd name="T4" fmla="*/ 175 w 175"/>
                <a:gd name="T5" fmla="*/ 56 h 163"/>
                <a:gd name="T6" fmla="*/ 159 w 175"/>
                <a:gd name="T7" fmla="*/ 73 h 163"/>
                <a:gd name="T8" fmla="*/ 159 w 175"/>
                <a:gd name="T9" fmla="*/ 78 h 163"/>
                <a:gd name="T10" fmla="*/ 149 w 175"/>
                <a:gd name="T11" fmla="*/ 78 h 163"/>
                <a:gd name="T12" fmla="*/ 149 w 175"/>
                <a:gd name="T13" fmla="*/ 106 h 163"/>
                <a:gd name="T14" fmla="*/ 128 w 175"/>
                <a:gd name="T15" fmla="*/ 123 h 163"/>
                <a:gd name="T16" fmla="*/ 95 w 175"/>
                <a:gd name="T17" fmla="*/ 123 h 163"/>
                <a:gd name="T18" fmla="*/ 71 w 175"/>
                <a:gd name="T19" fmla="*/ 163 h 163"/>
                <a:gd name="T20" fmla="*/ 50 w 175"/>
                <a:gd name="T21" fmla="*/ 163 h 163"/>
                <a:gd name="T22" fmla="*/ 29 w 175"/>
                <a:gd name="T23" fmla="*/ 134 h 163"/>
                <a:gd name="T24" fmla="*/ 17 w 175"/>
                <a:gd name="T25" fmla="*/ 111 h 163"/>
                <a:gd name="T26" fmla="*/ 0 w 175"/>
                <a:gd name="T27" fmla="*/ 78 h 163"/>
                <a:gd name="T28" fmla="*/ 17 w 175"/>
                <a:gd name="T29" fmla="*/ 73 h 163"/>
                <a:gd name="T30" fmla="*/ 38 w 175"/>
                <a:gd name="T31" fmla="*/ 33 h 163"/>
                <a:gd name="T32" fmla="*/ 83 w 175"/>
                <a:gd name="T33" fmla="*/ 12 h 163"/>
                <a:gd name="T34" fmla="*/ 111 w 175"/>
                <a:gd name="T35" fmla="*/ 0 h 163"/>
                <a:gd name="T36" fmla="*/ 128 w 175"/>
                <a:gd name="T37" fmla="*/ 12 h 163"/>
                <a:gd name="T38" fmla="*/ 128 w 175"/>
                <a:gd name="T39" fmla="*/ 12 h 163"/>
                <a:gd name="T40" fmla="*/ 128 w 175"/>
                <a:gd name="T41" fmla="*/ 1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63">
                  <a:moveTo>
                    <a:pt x="128" y="12"/>
                  </a:moveTo>
                  <a:lnTo>
                    <a:pt x="166" y="38"/>
                  </a:lnTo>
                  <a:lnTo>
                    <a:pt x="175" y="56"/>
                  </a:lnTo>
                  <a:lnTo>
                    <a:pt x="159" y="73"/>
                  </a:lnTo>
                  <a:lnTo>
                    <a:pt x="159" y="78"/>
                  </a:lnTo>
                  <a:lnTo>
                    <a:pt x="149" y="78"/>
                  </a:lnTo>
                  <a:lnTo>
                    <a:pt x="149" y="106"/>
                  </a:lnTo>
                  <a:lnTo>
                    <a:pt x="128" y="123"/>
                  </a:lnTo>
                  <a:lnTo>
                    <a:pt x="95" y="123"/>
                  </a:lnTo>
                  <a:lnTo>
                    <a:pt x="71" y="163"/>
                  </a:lnTo>
                  <a:lnTo>
                    <a:pt x="50" y="163"/>
                  </a:lnTo>
                  <a:lnTo>
                    <a:pt x="29" y="134"/>
                  </a:lnTo>
                  <a:lnTo>
                    <a:pt x="17" y="111"/>
                  </a:lnTo>
                  <a:lnTo>
                    <a:pt x="0" y="78"/>
                  </a:lnTo>
                  <a:lnTo>
                    <a:pt x="17" y="73"/>
                  </a:lnTo>
                  <a:lnTo>
                    <a:pt x="38" y="33"/>
                  </a:lnTo>
                  <a:lnTo>
                    <a:pt x="83" y="12"/>
                  </a:lnTo>
                  <a:lnTo>
                    <a:pt x="111" y="0"/>
                  </a:lnTo>
                  <a:lnTo>
                    <a:pt x="128" y="12"/>
                  </a:lnTo>
                  <a:lnTo>
                    <a:pt x="128" y="12"/>
                  </a:lnTo>
                  <a:lnTo>
                    <a:pt x="128" y="1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67" name="Freeform 498">
              <a:extLst>
                <a:ext uri="{FF2B5EF4-FFF2-40B4-BE49-F238E27FC236}">
                  <a16:creationId xmlns:a16="http://schemas.microsoft.com/office/drawing/2014/main" id="{CFDB2161-0EAA-4F95-96EA-C87B013D146D}"/>
                </a:ext>
              </a:extLst>
            </p:cNvPr>
            <p:cNvSpPr>
              <a:spLocks/>
            </p:cNvSpPr>
            <p:nvPr/>
          </p:nvSpPr>
          <p:spPr bwMode="gray">
            <a:xfrm>
              <a:off x="6995468" y="3044418"/>
              <a:ext cx="456953" cy="434772"/>
            </a:xfrm>
            <a:custGeom>
              <a:avLst/>
              <a:gdLst>
                <a:gd name="T0" fmla="*/ 1096 w 1110"/>
                <a:gd name="T1" fmla="*/ 867 h 1056"/>
                <a:gd name="T2" fmla="*/ 1025 w 1110"/>
                <a:gd name="T3" fmla="*/ 1018 h 1056"/>
                <a:gd name="T4" fmla="*/ 740 w 1110"/>
                <a:gd name="T5" fmla="*/ 900 h 1056"/>
                <a:gd name="T6" fmla="*/ 395 w 1110"/>
                <a:gd name="T7" fmla="*/ 794 h 1056"/>
                <a:gd name="T8" fmla="*/ 291 w 1110"/>
                <a:gd name="T9" fmla="*/ 777 h 1056"/>
                <a:gd name="T10" fmla="*/ 156 w 1110"/>
                <a:gd name="T11" fmla="*/ 690 h 1056"/>
                <a:gd name="T12" fmla="*/ 76 w 1110"/>
                <a:gd name="T13" fmla="*/ 683 h 1056"/>
                <a:gd name="T14" fmla="*/ 64 w 1110"/>
                <a:gd name="T15" fmla="*/ 661 h 1056"/>
                <a:gd name="T16" fmla="*/ 50 w 1110"/>
                <a:gd name="T17" fmla="*/ 612 h 1056"/>
                <a:gd name="T18" fmla="*/ 12 w 1110"/>
                <a:gd name="T19" fmla="*/ 534 h 1056"/>
                <a:gd name="T20" fmla="*/ 38 w 1110"/>
                <a:gd name="T21" fmla="*/ 501 h 1056"/>
                <a:gd name="T22" fmla="*/ 21 w 1110"/>
                <a:gd name="T23" fmla="*/ 461 h 1056"/>
                <a:gd name="T24" fmla="*/ 33 w 1110"/>
                <a:gd name="T25" fmla="*/ 390 h 1056"/>
                <a:gd name="T26" fmla="*/ 21 w 1110"/>
                <a:gd name="T27" fmla="*/ 279 h 1056"/>
                <a:gd name="T28" fmla="*/ 17 w 1110"/>
                <a:gd name="T29" fmla="*/ 234 h 1056"/>
                <a:gd name="T30" fmla="*/ 64 w 1110"/>
                <a:gd name="T31" fmla="*/ 189 h 1056"/>
                <a:gd name="T32" fmla="*/ 54 w 1110"/>
                <a:gd name="T33" fmla="*/ 135 h 1056"/>
                <a:gd name="T34" fmla="*/ 76 w 1110"/>
                <a:gd name="T35" fmla="*/ 111 h 1056"/>
                <a:gd name="T36" fmla="*/ 156 w 1110"/>
                <a:gd name="T37" fmla="*/ 57 h 1056"/>
                <a:gd name="T38" fmla="*/ 156 w 1110"/>
                <a:gd name="T39" fmla="*/ 0 h 1056"/>
                <a:gd name="T40" fmla="*/ 248 w 1110"/>
                <a:gd name="T41" fmla="*/ 24 h 1056"/>
                <a:gd name="T42" fmla="*/ 340 w 1110"/>
                <a:gd name="T43" fmla="*/ 33 h 1056"/>
                <a:gd name="T44" fmla="*/ 411 w 1110"/>
                <a:gd name="T45" fmla="*/ 57 h 1056"/>
                <a:gd name="T46" fmla="*/ 432 w 1110"/>
                <a:gd name="T47" fmla="*/ 123 h 1056"/>
                <a:gd name="T48" fmla="*/ 480 w 1110"/>
                <a:gd name="T49" fmla="*/ 151 h 1056"/>
                <a:gd name="T50" fmla="*/ 560 w 1110"/>
                <a:gd name="T51" fmla="*/ 168 h 1056"/>
                <a:gd name="T52" fmla="*/ 680 w 1110"/>
                <a:gd name="T53" fmla="*/ 234 h 1056"/>
                <a:gd name="T54" fmla="*/ 718 w 1110"/>
                <a:gd name="T55" fmla="*/ 217 h 1056"/>
                <a:gd name="T56" fmla="*/ 756 w 1110"/>
                <a:gd name="T57" fmla="*/ 161 h 1056"/>
                <a:gd name="T58" fmla="*/ 756 w 1110"/>
                <a:gd name="T59" fmla="*/ 78 h 1056"/>
                <a:gd name="T60" fmla="*/ 820 w 1110"/>
                <a:gd name="T61" fmla="*/ 33 h 1056"/>
                <a:gd name="T62" fmla="*/ 862 w 1110"/>
                <a:gd name="T63" fmla="*/ 17 h 1056"/>
                <a:gd name="T64" fmla="*/ 966 w 1110"/>
                <a:gd name="T65" fmla="*/ 40 h 1056"/>
                <a:gd name="T66" fmla="*/ 971 w 1110"/>
                <a:gd name="T67" fmla="*/ 73 h 1056"/>
                <a:gd name="T68" fmla="*/ 1035 w 1110"/>
                <a:gd name="T69" fmla="*/ 95 h 1056"/>
                <a:gd name="T70" fmla="*/ 1110 w 1110"/>
                <a:gd name="T71" fmla="*/ 123 h 1056"/>
                <a:gd name="T72" fmla="*/ 1096 w 1110"/>
                <a:gd name="T73" fmla="*/ 189 h 1056"/>
                <a:gd name="T74" fmla="*/ 1096 w 1110"/>
                <a:gd name="T75" fmla="*/ 312 h 1056"/>
                <a:gd name="T76" fmla="*/ 1096 w 1110"/>
                <a:gd name="T77" fmla="*/ 43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10" h="1056">
                  <a:moveTo>
                    <a:pt x="1096" y="439"/>
                  </a:moveTo>
                  <a:lnTo>
                    <a:pt x="1096" y="867"/>
                  </a:lnTo>
                  <a:lnTo>
                    <a:pt x="1096" y="1018"/>
                  </a:lnTo>
                  <a:lnTo>
                    <a:pt x="1025" y="1018"/>
                  </a:lnTo>
                  <a:lnTo>
                    <a:pt x="1025" y="1056"/>
                  </a:lnTo>
                  <a:lnTo>
                    <a:pt x="740" y="900"/>
                  </a:lnTo>
                  <a:lnTo>
                    <a:pt x="463" y="761"/>
                  </a:lnTo>
                  <a:lnTo>
                    <a:pt x="395" y="794"/>
                  </a:lnTo>
                  <a:lnTo>
                    <a:pt x="340" y="829"/>
                  </a:lnTo>
                  <a:lnTo>
                    <a:pt x="291" y="777"/>
                  </a:lnTo>
                  <a:lnTo>
                    <a:pt x="184" y="756"/>
                  </a:lnTo>
                  <a:lnTo>
                    <a:pt x="156" y="690"/>
                  </a:lnTo>
                  <a:lnTo>
                    <a:pt x="92" y="678"/>
                  </a:lnTo>
                  <a:lnTo>
                    <a:pt x="76" y="683"/>
                  </a:lnTo>
                  <a:lnTo>
                    <a:pt x="64" y="666"/>
                  </a:lnTo>
                  <a:lnTo>
                    <a:pt x="64" y="661"/>
                  </a:lnTo>
                  <a:lnTo>
                    <a:pt x="50" y="650"/>
                  </a:lnTo>
                  <a:lnTo>
                    <a:pt x="50" y="612"/>
                  </a:lnTo>
                  <a:lnTo>
                    <a:pt x="0" y="550"/>
                  </a:lnTo>
                  <a:lnTo>
                    <a:pt x="12" y="534"/>
                  </a:lnTo>
                  <a:lnTo>
                    <a:pt x="38" y="522"/>
                  </a:lnTo>
                  <a:lnTo>
                    <a:pt x="38" y="501"/>
                  </a:lnTo>
                  <a:lnTo>
                    <a:pt x="38" y="494"/>
                  </a:lnTo>
                  <a:lnTo>
                    <a:pt x="21" y="461"/>
                  </a:lnTo>
                  <a:lnTo>
                    <a:pt x="50" y="423"/>
                  </a:lnTo>
                  <a:lnTo>
                    <a:pt x="33" y="390"/>
                  </a:lnTo>
                  <a:lnTo>
                    <a:pt x="33" y="317"/>
                  </a:lnTo>
                  <a:lnTo>
                    <a:pt x="21" y="279"/>
                  </a:lnTo>
                  <a:lnTo>
                    <a:pt x="0" y="239"/>
                  </a:lnTo>
                  <a:lnTo>
                    <a:pt x="17" y="234"/>
                  </a:lnTo>
                  <a:lnTo>
                    <a:pt x="38" y="222"/>
                  </a:lnTo>
                  <a:lnTo>
                    <a:pt x="64" y="189"/>
                  </a:lnTo>
                  <a:lnTo>
                    <a:pt x="71" y="177"/>
                  </a:lnTo>
                  <a:lnTo>
                    <a:pt x="54" y="135"/>
                  </a:lnTo>
                  <a:lnTo>
                    <a:pt x="71" y="123"/>
                  </a:lnTo>
                  <a:lnTo>
                    <a:pt x="76" y="111"/>
                  </a:lnTo>
                  <a:lnTo>
                    <a:pt x="109" y="78"/>
                  </a:lnTo>
                  <a:lnTo>
                    <a:pt x="156" y="57"/>
                  </a:lnTo>
                  <a:lnTo>
                    <a:pt x="147" y="40"/>
                  </a:lnTo>
                  <a:lnTo>
                    <a:pt x="156" y="0"/>
                  </a:lnTo>
                  <a:lnTo>
                    <a:pt x="210" y="24"/>
                  </a:lnTo>
                  <a:lnTo>
                    <a:pt x="248" y="24"/>
                  </a:lnTo>
                  <a:lnTo>
                    <a:pt x="281" y="17"/>
                  </a:lnTo>
                  <a:lnTo>
                    <a:pt x="340" y="33"/>
                  </a:lnTo>
                  <a:lnTo>
                    <a:pt x="362" y="50"/>
                  </a:lnTo>
                  <a:lnTo>
                    <a:pt x="411" y="57"/>
                  </a:lnTo>
                  <a:lnTo>
                    <a:pt x="425" y="78"/>
                  </a:lnTo>
                  <a:lnTo>
                    <a:pt x="432" y="123"/>
                  </a:lnTo>
                  <a:lnTo>
                    <a:pt x="449" y="144"/>
                  </a:lnTo>
                  <a:lnTo>
                    <a:pt x="480" y="151"/>
                  </a:lnTo>
                  <a:lnTo>
                    <a:pt x="517" y="151"/>
                  </a:lnTo>
                  <a:lnTo>
                    <a:pt x="560" y="168"/>
                  </a:lnTo>
                  <a:lnTo>
                    <a:pt x="614" y="189"/>
                  </a:lnTo>
                  <a:lnTo>
                    <a:pt x="680" y="234"/>
                  </a:lnTo>
                  <a:lnTo>
                    <a:pt x="702" y="234"/>
                  </a:lnTo>
                  <a:lnTo>
                    <a:pt x="718" y="217"/>
                  </a:lnTo>
                  <a:lnTo>
                    <a:pt x="749" y="184"/>
                  </a:lnTo>
                  <a:lnTo>
                    <a:pt x="756" y="161"/>
                  </a:lnTo>
                  <a:lnTo>
                    <a:pt x="740" y="111"/>
                  </a:lnTo>
                  <a:lnTo>
                    <a:pt x="756" y="78"/>
                  </a:lnTo>
                  <a:lnTo>
                    <a:pt x="787" y="50"/>
                  </a:lnTo>
                  <a:lnTo>
                    <a:pt x="820" y="33"/>
                  </a:lnTo>
                  <a:lnTo>
                    <a:pt x="848" y="24"/>
                  </a:lnTo>
                  <a:lnTo>
                    <a:pt x="862" y="17"/>
                  </a:lnTo>
                  <a:lnTo>
                    <a:pt x="912" y="24"/>
                  </a:lnTo>
                  <a:lnTo>
                    <a:pt x="966" y="40"/>
                  </a:lnTo>
                  <a:lnTo>
                    <a:pt x="966" y="66"/>
                  </a:lnTo>
                  <a:lnTo>
                    <a:pt x="971" y="73"/>
                  </a:lnTo>
                  <a:lnTo>
                    <a:pt x="1009" y="78"/>
                  </a:lnTo>
                  <a:lnTo>
                    <a:pt x="1035" y="95"/>
                  </a:lnTo>
                  <a:lnTo>
                    <a:pt x="1096" y="95"/>
                  </a:lnTo>
                  <a:lnTo>
                    <a:pt x="1110" y="123"/>
                  </a:lnTo>
                  <a:lnTo>
                    <a:pt x="1089" y="144"/>
                  </a:lnTo>
                  <a:lnTo>
                    <a:pt x="1096" y="189"/>
                  </a:lnTo>
                  <a:lnTo>
                    <a:pt x="1080" y="239"/>
                  </a:lnTo>
                  <a:lnTo>
                    <a:pt x="1096" y="312"/>
                  </a:lnTo>
                  <a:lnTo>
                    <a:pt x="1096" y="439"/>
                  </a:lnTo>
                  <a:lnTo>
                    <a:pt x="1096" y="439"/>
                  </a:lnTo>
                  <a:lnTo>
                    <a:pt x="1096" y="43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68" name="Freeform 499">
              <a:extLst>
                <a:ext uri="{FF2B5EF4-FFF2-40B4-BE49-F238E27FC236}">
                  <a16:creationId xmlns:a16="http://schemas.microsoft.com/office/drawing/2014/main" id="{06F2A955-A241-4AB9-A202-5317276AA186}"/>
                </a:ext>
              </a:extLst>
            </p:cNvPr>
            <p:cNvSpPr>
              <a:spLocks noEditPoints="1"/>
            </p:cNvSpPr>
            <p:nvPr/>
          </p:nvSpPr>
          <p:spPr bwMode="gray">
            <a:xfrm>
              <a:off x="7974008" y="4420373"/>
              <a:ext cx="210775" cy="419538"/>
            </a:xfrm>
            <a:custGeom>
              <a:avLst/>
              <a:gdLst>
                <a:gd name="T0" fmla="*/ 349 w 512"/>
                <a:gd name="T1" fmla="*/ 723 h 1019"/>
                <a:gd name="T2" fmla="*/ 307 w 512"/>
                <a:gd name="T3" fmla="*/ 884 h 1019"/>
                <a:gd name="T4" fmla="*/ 243 w 512"/>
                <a:gd name="T5" fmla="*/ 995 h 1019"/>
                <a:gd name="T6" fmla="*/ 163 w 512"/>
                <a:gd name="T7" fmla="*/ 1019 h 1019"/>
                <a:gd name="T8" fmla="*/ 108 w 512"/>
                <a:gd name="T9" fmla="*/ 1002 h 1019"/>
                <a:gd name="T10" fmla="*/ 82 w 512"/>
                <a:gd name="T11" fmla="*/ 990 h 1019"/>
                <a:gd name="T12" fmla="*/ 54 w 512"/>
                <a:gd name="T13" fmla="*/ 978 h 1019"/>
                <a:gd name="T14" fmla="*/ 33 w 512"/>
                <a:gd name="T15" fmla="*/ 924 h 1019"/>
                <a:gd name="T16" fmla="*/ 37 w 512"/>
                <a:gd name="T17" fmla="*/ 863 h 1019"/>
                <a:gd name="T18" fmla="*/ 28 w 512"/>
                <a:gd name="T19" fmla="*/ 830 h 1019"/>
                <a:gd name="T20" fmla="*/ 0 w 512"/>
                <a:gd name="T21" fmla="*/ 756 h 1019"/>
                <a:gd name="T22" fmla="*/ 16 w 512"/>
                <a:gd name="T23" fmla="*/ 723 h 1019"/>
                <a:gd name="T24" fmla="*/ 37 w 512"/>
                <a:gd name="T25" fmla="*/ 685 h 1019"/>
                <a:gd name="T26" fmla="*/ 87 w 512"/>
                <a:gd name="T27" fmla="*/ 596 h 1019"/>
                <a:gd name="T28" fmla="*/ 87 w 512"/>
                <a:gd name="T29" fmla="*/ 558 h 1019"/>
                <a:gd name="T30" fmla="*/ 70 w 512"/>
                <a:gd name="T31" fmla="*/ 513 h 1019"/>
                <a:gd name="T32" fmla="*/ 54 w 512"/>
                <a:gd name="T33" fmla="*/ 428 h 1019"/>
                <a:gd name="T34" fmla="*/ 87 w 512"/>
                <a:gd name="T35" fmla="*/ 350 h 1019"/>
                <a:gd name="T36" fmla="*/ 118 w 512"/>
                <a:gd name="T37" fmla="*/ 312 h 1019"/>
                <a:gd name="T38" fmla="*/ 146 w 512"/>
                <a:gd name="T39" fmla="*/ 308 h 1019"/>
                <a:gd name="T40" fmla="*/ 155 w 512"/>
                <a:gd name="T41" fmla="*/ 296 h 1019"/>
                <a:gd name="T42" fmla="*/ 172 w 512"/>
                <a:gd name="T43" fmla="*/ 308 h 1019"/>
                <a:gd name="T44" fmla="*/ 188 w 512"/>
                <a:gd name="T45" fmla="*/ 279 h 1019"/>
                <a:gd name="T46" fmla="*/ 200 w 512"/>
                <a:gd name="T47" fmla="*/ 279 h 1019"/>
                <a:gd name="T48" fmla="*/ 210 w 512"/>
                <a:gd name="T49" fmla="*/ 279 h 1019"/>
                <a:gd name="T50" fmla="*/ 214 w 512"/>
                <a:gd name="T51" fmla="*/ 296 h 1019"/>
                <a:gd name="T52" fmla="*/ 214 w 512"/>
                <a:gd name="T53" fmla="*/ 279 h 1019"/>
                <a:gd name="T54" fmla="*/ 264 w 512"/>
                <a:gd name="T55" fmla="*/ 239 h 1019"/>
                <a:gd name="T56" fmla="*/ 264 w 512"/>
                <a:gd name="T57" fmla="*/ 263 h 1019"/>
                <a:gd name="T58" fmla="*/ 269 w 512"/>
                <a:gd name="T59" fmla="*/ 239 h 1019"/>
                <a:gd name="T60" fmla="*/ 302 w 512"/>
                <a:gd name="T61" fmla="*/ 206 h 1019"/>
                <a:gd name="T62" fmla="*/ 323 w 512"/>
                <a:gd name="T63" fmla="*/ 197 h 1019"/>
                <a:gd name="T64" fmla="*/ 333 w 512"/>
                <a:gd name="T65" fmla="*/ 206 h 1019"/>
                <a:gd name="T66" fmla="*/ 318 w 512"/>
                <a:gd name="T67" fmla="*/ 197 h 1019"/>
                <a:gd name="T68" fmla="*/ 318 w 512"/>
                <a:gd name="T69" fmla="*/ 168 h 1019"/>
                <a:gd name="T70" fmla="*/ 323 w 512"/>
                <a:gd name="T71" fmla="*/ 163 h 1019"/>
                <a:gd name="T72" fmla="*/ 333 w 512"/>
                <a:gd name="T73" fmla="*/ 180 h 1019"/>
                <a:gd name="T74" fmla="*/ 333 w 512"/>
                <a:gd name="T75" fmla="*/ 152 h 1019"/>
                <a:gd name="T76" fmla="*/ 323 w 512"/>
                <a:gd name="T77" fmla="*/ 140 h 1019"/>
                <a:gd name="T78" fmla="*/ 340 w 512"/>
                <a:gd name="T79" fmla="*/ 111 h 1019"/>
                <a:gd name="T80" fmla="*/ 356 w 512"/>
                <a:gd name="T81" fmla="*/ 123 h 1019"/>
                <a:gd name="T82" fmla="*/ 403 w 512"/>
                <a:gd name="T83" fmla="*/ 69 h 1019"/>
                <a:gd name="T84" fmla="*/ 387 w 512"/>
                <a:gd name="T85" fmla="*/ 34 h 1019"/>
                <a:gd name="T86" fmla="*/ 403 w 512"/>
                <a:gd name="T87" fmla="*/ 29 h 1019"/>
                <a:gd name="T88" fmla="*/ 415 w 512"/>
                <a:gd name="T89" fmla="*/ 12 h 1019"/>
                <a:gd name="T90" fmla="*/ 429 w 512"/>
                <a:gd name="T91" fmla="*/ 17 h 1019"/>
                <a:gd name="T92" fmla="*/ 425 w 512"/>
                <a:gd name="T93" fmla="*/ 17 h 1019"/>
                <a:gd name="T94" fmla="*/ 446 w 512"/>
                <a:gd name="T95" fmla="*/ 50 h 1019"/>
                <a:gd name="T96" fmla="*/ 484 w 512"/>
                <a:gd name="T97" fmla="*/ 140 h 1019"/>
                <a:gd name="T98" fmla="*/ 512 w 512"/>
                <a:gd name="T99" fmla="*/ 251 h 1019"/>
                <a:gd name="T100" fmla="*/ 479 w 512"/>
                <a:gd name="T101" fmla="*/ 291 h 1019"/>
                <a:gd name="T102" fmla="*/ 458 w 512"/>
                <a:gd name="T103" fmla="*/ 258 h 1019"/>
                <a:gd name="T104" fmla="*/ 458 w 512"/>
                <a:gd name="T105" fmla="*/ 291 h 1019"/>
                <a:gd name="T106" fmla="*/ 462 w 512"/>
                <a:gd name="T107" fmla="*/ 312 h 1019"/>
                <a:gd name="T108" fmla="*/ 458 w 512"/>
                <a:gd name="T109" fmla="*/ 350 h 1019"/>
                <a:gd name="T110" fmla="*/ 446 w 512"/>
                <a:gd name="T111" fmla="*/ 369 h 1019"/>
                <a:gd name="T112" fmla="*/ 441 w 512"/>
                <a:gd name="T113" fmla="*/ 423 h 1019"/>
                <a:gd name="T114" fmla="*/ 377 w 512"/>
                <a:gd name="T115" fmla="*/ 629 h 1019"/>
                <a:gd name="T116" fmla="*/ 377 w 512"/>
                <a:gd name="T117" fmla="*/ 629 h 1019"/>
                <a:gd name="T118" fmla="*/ 349 w 512"/>
                <a:gd name="T119" fmla="*/ 107 h 1019"/>
                <a:gd name="T120" fmla="*/ 356 w 512"/>
                <a:gd name="T121" fmla="*/ 107 h 1019"/>
                <a:gd name="T122" fmla="*/ 356 w 512"/>
                <a:gd name="T123" fmla="*/ 107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1019">
                  <a:moveTo>
                    <a:pt x="377" y="629"/>
                  </a:moveTo>
                  <a:lnTo>
                    <a:pt x="349" y="723"/>
                  </a:lnTo>
                  <a:lnTo>
                    <a:pt x="323" y="780"/>
                  </a:lnTo>
                  <a:lnTo>
                    <a:pt x="307" y="884"/>
                  </a:lnTo>
                  <a:lnTo>
                    <a:pt x="269" y="974"/>
                  </a:lnTo>
                  <a:lnTo>
                    <a:pt x="243" y="995"/>
                  </a:lnTo>
                  <a:lnTo>
                    <a:pt x="210" y="995"/>
                  </a:lnTo>
                  <a:lnTo>
                    <a:pt x="163" y="1019"/>
                  </a:lnTo>
                  <a:lnTo>
                    <a:pt x="141" y="1019"/>
                  </a:lnTo>
                  <a:lnTo>
                    <a:pt x="108" y="1002"/>
                  </a:lnTo>
                  <a:lnTo>
                    <a:pt x="82" y="995"/>
                  </a:lnTo>
                  <a:lnTo>
                    <a:pt x="82" y="990"/>
                  </a:lnTo>
                  <a:lnTo>
                    <a:pt x="87" y="995"/>
                  </a:lnTo>
                  <a:lnTo>
                    <a:pt x="54" y="978"/>
                  </a:lnTo>
                  <a:lnTo>
                    <a:pt x="49" y="945"/>
                  </a:lnTo>
                  <a:lnTo>
                    <a:pt x="33" y="924"/>
                  </a:lnTo>
                  <a:lnTo>
                    <a:pt x="33" y="879"/>
                  </a:lnTo>
                  <a:lnTo>
                    <a:pt x="37" y="863"/>
                  </a:lnTo>
                  <a:lnTo>
                    <a:pt x="33" y="851"/>
                  </a:lnTo>
                  <a:lnTo>
                    <a:pt x="28" y="830"/>
                  </a:lnTo>
                  <a:lnTo>
                    <a:pt x="11" y="813"/>
                  </a:lnTo>
                  <a:lnTo>
                    <a:pt x="0" y="756"/>
                  </a:lnTo>
                  <a:lnTo>
                    <a:pt x="11" y="735"/>
                  </a:lnTo>
                  <a:lnTo>
                    <a:pt x="16" y="723"/>
                  </a:lnTo>
                  <a:lnTo>
                    <a:pt x="16" y="702"/>
                  </a:lnTo>
                  <a:lnTo>
                    <a:pt x="37" y="685"/>
                  </a:lnTo>
                  <a:lnTo>
                    <a:pt x="49" y="662"/>
                  </a:lnTo>
                  <a:lnTo>
                    <a:pt x="87" y="596"/>
                  </a:lnTo>
                  <a:lnTo>
                    <a:pt x="82" y="584"/>
                  </a:lnTo>
                  <a:lnTo>
                    <a:pt x="87" y="558"/>
                  </a:lnTo>
                  <a:lnTo>
                    <a:pt x="70" y="530"/>
                  </a:lnTo>
                  <a:lnTo>
                    <a:pt x="70" y="513"/>
                  </a:lnTo>
                  <a:lnTo>
                    <a:pt x="54" y="480"/>
                  </a:lnTo>
                  <a:lnTo>
                    <a:pt x="54" y="428"/>
                  </a:lnTo>
                  <a:lnTo>
                    <a:pt x="49" y="419"/>
                  </a:lnTo>
                  <a:lnTo>
                    <a:pt x="87" y="350"/>
                  </a:lnTo>
                  <a:lnTo>
                    <a:pt x="87" y="312"/>
                  </a:lnTo>
                  <a:lnTo>
                    <a:pt x="118" y="312"/>
                  </a:lnTo>
                  <a:lnTo>
                    <a:pt x="146" y="296"/>
                  </a:lnTo>
                  <a:lnTo>
                    <a:pt x="146" y="308"/>
                  </a:lnTo>
                  <a:lnTo>
                    <a:pt x="155" y="308"/>
                  </a:lnTo>
                  <a:lnTo>
                    <a:pt x="155" y="296"/>
                  </a:lnTo>
                  <a:lnTo>
                    <a:pt x="163" y="296"/>
                  </a:lnTo>
                  <a:lnTo>
                    <a:pt x="172" y="308"/>
                  </a:lnTo>
                  <a:lnTo>
                    <a:pt x="177" y="279"/>
                  </a:lnTo>
                  <a:lnTo>
                    <a:pt x="188" y="279"/>
                  </a:lnTo>
                  <a:lnTo>
                    <a:pt x="200" y="291"/>
                  </a:lnTo>
                  <a:lnTo>
                    <a:pt x="200" y="279"/>
                  </a:lnTo>
                  <a:lnTo>
                    <a:pt x="193" y="279"/>
                  </a:lnTo>
                  <a:lnTo>
                    <a:pt x="210" y="279"/>
                  </a:lnTo>
                  <a:lnTo>
                    <a:pt x="210" y="279"/>
                  </a:lnTo>
                  <a:lnTo>
                    <a:pt x="214" y="296"/>
                  </a:lnTo>
                  <a:lnTo>
                    <a:pt x="231" y="296"/>
                  </a:lnTo>
                  <a:lnTo>
                    <a:pt x="214" y="279"/>
                  </a:lnTo>
                  <a:lnTo>
                    <a:pt x="214" y="274"/>
                  </a:lnTo>
                  <a:lnTo>
                    <a:pt x="264" y="239"/>
                  </a:lnTo>
                  <a:lnTo>
                    <a:pt x="269" y="251"/>
                  </a:lnTo>
                  <a:lnTo>
                    <a:pt x="264" y="263"/>
                  </a:lnTo>
                  <a:lnTo>
                    <a:pt x="281" y="258"/>
                  </a:lnTo>
                  <a:lnTo>
                    <a:pt x="269" y="239"/>
                  </a:lnTo>
                  <a:lnTo>
                    <a:pt x="297" y="201"/>
                  </a:lnTo>
                  <a:lnTo>
                    <a:pt x="302" y="206"/>
                  </a:lnTo>
                  <a:lnTo>
                    <a:pt x="297" y="234"/>
                  </a:lnTo>
                  <a:lnTo>
                    <a:pt x="323" y="197"/>
                  </a:lnTo>
                  <a:lnTo>
                    <a:pt x="333" y="201"/>
                  </a:lnTo>
                  <a:lnTo>
                    <a:pt x="333" y="206"/>
                  </a:lnTo>
                  <a:lnTo>
                    <a:pt x="333" y="197"/>
                  </a:lnTo>
                  <a:lnTo>
                    <a:pt x="318" y="197"/>
                  </a:lnTo>
                  <a:lnTo>
                    <a:pt x="318" y="185"/>
                  </a:lnTo>
                  <a:lnTo>
                    <a:pt x="318" y="168"/>
                  </a:lnTo>
                  <a:lnTo>
                    <a:pt x="333" y="168"/>
                  </a:lnTo>
                  <a:lnTo>
                    <a:pt x="323" y="163"/>
                  </a:lnTo>
                  <a:lnTo>
                    <a:pt x="340" y="163"/>
                  </a:lnTo>
                  <a:lnTo>
                    <a:pt x="333" y="180"/>
                  </a:lnTo>
                  <a:lnTo>
                    <a:pt x="340" y="163"/>
                  </a:lnTo>
                  <a:lnTo>
                    <a:pt x="333" y="152"/>
                  </a:lnTo>
                  <a:lnTo>
                    <a:pt x="340" y="145"/>
                  </a:lnTo>
                  <a:lnTo>
                    <a:pt x="323" y="140"/>
                  </a:lnTo>
                  <a:lnTo>
                    <a:pt x="333" y="123"/>
                  </a:lnTo>
                  <a:lnTo>
                    <a:pt x="340" y="111"/>
                  </a:lnTo>
                  <a:lnTo>
                    <a:pt x="356" y="140"/>
                  </a:lnTo>
                  <a:lnTo>
                    <a:pt x="356" y="123"/>
                  </a:lnTo>
                  <a:lnTo>
                    <a:pt x="394" y="107"/>
                  </a:lnTo>
                  <a:lnTo>
                    <a:pt x="403" y="69"/>
                  </a:lnTo>
                  <a:lnTo>
                    <a:pt x="394" y="50"/>
                  </a:lnTo>
                  <a:lnTo>
                    <a:pt x="387" y="34"/>
                  </a:lnTo>
                  <a:lnTo>
                    <a:pt x="403" y="41"/>
                  </a:lnTo>
                  <a:lnTo>
                    <a:pt x="403" y="29"/>
                  </a:lnTo>
                  <a:lnTo>
                    <a:pt x="415" y="17"/>
                  </a:lnTo>
                  <a:lnTo>
                    <a:pt x="415" y="12"/>
                  </a:lnTo>
                  <a:lnTo>
                    <a:pt x="425" y="0"/>
                  </a:lnTo>
                  <a:lnTo>
                    <a:pt x="429" y="17"/>
                  </a:lnTo>
                  <a:lnTo>
                    <a:pt x="425" y="17"/>
                  </a:lnTo>
                  <a:lnTo>
                    <a:pt x="425" y="17"/>
                  </a:lnTo>
                  <a:lnTo>
                    <a:pt x="441" y="29"/>
                  </a:lnTo>
                  <a:lnTo>
                    <a:pt x="446" y="50"/>
                  </a:lnTo>
                  <a:lnTo>
                    <a:pt x="467" y="85"/>
                  </a:lnTo>
                  <a:lnTo>
                    <a:pt x="484" y="140"/>
                  </a:lnTo>
                  <a:lnTo>
                    <a:pt x="484" y="197"/>
                  </a:lnTo>
                  <a:lnTo>
                    <a:pt x="512" y="251"/>
                  </a:lnTo>
                  <a:lnTo>
                    <a:pt x="496" y="296"/>
                  </a:lnTo>
                  <a:lnTo>
                    <a:pt x="479" y="291"/>
                  </a:lnTo>
                  <a:lnTo>
                    <a:pt x="462" y="258"/>
                  </a:lnTo>
                  <a:lnTo>
                    <a:pt x="458" y="258"/>
                  </a:lnTo>
                  <a:lnTo>
                    <a:pt x="446" y="263"/>
                  </a:lnTo>
                  <a:lnTo>
                    <a:pt x="458" y="291"/>
                  </a:lnTo>
                  <a:lnTo>
                    <a:pt x="458" y="308"/>
                  </a:lnTo>
                  <a:lnTo>
                    <a:pt x="462" y="312"/>
                  </a:lnTo>
                  <a:lnTo>
                    <a:pt x="462" y="334"/>
                  </a:lnTo>
                  <a:lnTo>
                    <a:pt x="458" y="350"/>
                  </a:lnTo>
                  <a:lnTo>
                    <a:pt x="462" y="362"/>
                  </a:lnTo>
                  <a:lnTo>
                    <a:pt x="446" y="369"/>
                  </a:lnTo>
                  <a:lnTo>
                    <a:pt x="429" y="402"/>
                  </a:lnTo>
                  <a:lnTo>
                    <a:pt x="441" y="423"/>
                  </a:lnTo>
                  <a:lnTo>
                    <a:pt x="429" y="473"/>
                  </a:lnTo>
                  <a:lnTo>
                    <a:pt x="377" y="629"/>
                  </a:lnTo>
                  <a:lnTo>
                    <a:pt x="377" y="629"/>
                  </a:lnTo>
                  <a:lnTo>
                    <a:pt x="377" y="629"/>
                  </a:lnTo>
                  <a:close/>
                  <a:moveTo>
                    <a:pt x="356" y="107"/>
                  </a:moveTo>
                  <a:lnTo>
                    <a:pt x="349" y="107"/>
                  </a:lnTo>
                  <a:lnTo>
                    <a:pt x="356" y="90"/>
                  </a:lnTo>
                  <a:lnTo>
                    <a:pt x="356" y="107"/>
                  </a:lnTo>
                  <a:lnTo>
                    <a:pt x="356" y="107"/>
                  </a:lnTo>
                  <a:lnTo>
                    <a:pt x="356" y="10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69" name="Freeform 502">
              <a:extLst>
                <a:ext uri="{FF2B5EF4-FFF2-40B4-BE49-F238E27FC236}">
                  <a16:creationId xmlns:a16="http://schemas.microsoft.com/office/drawing/2014/main" id="{300A65BA-E161-4639-8E9D-8C7161C4ADB7}"/>
                </a:ext>
              </a:extLst>
            </p:cNvPr>
            <p:cNvSpPr>
              <a:spLocks/>
            </p:cNvSpPr>
            <p:nvPr/>
          </p:nvSpPr>
          <p:spPr bwMode="gray">
            <a:xfrm>
              <a:off x="8029172" y="4441782"/>
              <a:ext cx="2058" cy="9058"/>
            </a:xfrm>
            <a:custGeom>
              <a:avLst/>
              <a:gdLst>
                <a:gd name="T0" fmla="*/ 0 w 5"/>
                <a:gd name="T1" fmla="*/ 22 h 22"/>
                <a:gd name="T2" fmla="*/ 0 w 5"/>
                <a:gd name="T3" fmla="*/ 22 h 22"/>
                <a:gd name="T4" fmla="*/ 0 w 5"/>
                <a:gd name="T5" fmla="*/ 0 h 22"/>
                <a:gd name="T6" fmla="*/ 5 w 5"/>
                <a:gd name="T7" fmla="*/ 5 h 22"/>
                <a:gd name="T8" fmla="*/ 0 w 5"/>
                <a:gd name="T9" fmla="*/ 22 h 22"/>
                <a:gd name="T10" fmla="*/ 0 w 5"/>
                <a:gd name="T11" fmla="*/ 22 h 22"/>
                <a:gd name="T12" fmla="*/ 0 w 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5" h="22">
                  <a:moveTo>
                    <a:pt x="0" y="22"/>
                  </a:moveTo>
                  <a:lnTo>
                    <a:pt x="0" y="22"/>
                  </a:lnTo>
                  <a:lnTo>
                    <a:pt x="0" y="0"/>
                  </a:lnTo>
                  <a:lnTo>
                    <a:pt x="5" y="5"/>
                  </a:lnTo>
                  <a:lnTo>
                    <a:pt x="0" y="22"/>
                  </a:lnTo>
                  <a:lnTo>
                    <a:pt x="0" y="22"/>
                  </a:lnTo>
                  <a:lnTo>
                    <a:pt x="0" y="2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70" name="Freeform 505">
              <a:extLst>
                <a:ext uri="{FF2B5EF4-FFF2-40B4-BE49-F238E27FC236}">
                  <a16:creationId xmlns:a16="http://schemas.microsoft.com/office/drawing/2014/main" id="{B115D9F2-A6AA-47DB-90AA-F8D5DE4E9BF4}"/>
                </a:ext>
              </a:extLst>
            </p:cNvPr>
            <p:cNvSpPr>
              <a:spLocks/>
            </p:cNvSpPr>
            <p:nvPr/>
          </p:nvSpPr>
          <p:spPr bwMode="gray">
            <a:xfrm>
              <a:off x="7668549" y="4342558"/>
              <a:ext cx="95095" cy="237560"/>
            </a:xfrm>
            <a:custGeom>
              <a:avLst/>
              <a:gdLst>
                <a:gd name="T0" fmla="*/ 33 w 231"/>
                <a:gd name="T1" fmla="*/ 336 h 577"/>
                <a:gd name="T2" fmla="*/ 21 w 231"/>
                <a:gd name="T3" fmla="*/ 336 h 577"/>
                <a:gd name="T4" fmla="*/ 16 w 231"/>
                <a:gd name="T5" fmla="*/ 298 h 577"/>
                <a:gd name="T6" fmla="*/ 21 w 231"/>
                <a:gd name="T7" fmla="*/ 246 h 577"/>
                <a:gd name="T8" fmla="*/ 49 w 231"/>
                <a:gd name="T9" fmla="*/ 230 h 577"/>
                <a:gd name="T10" fmla="*/ 49 w 231"/>
                <a:gd name="T11" fmla="*/ 220 h 577"/>
                <a:gd name="T12" fmla="*/ 49 w 231"/>
                <a:gd name="T13" fmla="*/ 175 h 577"/>
                <a:gd name="T14" fmla="*/ 54 w 231"/>
                <a:gd name="T15" fmla="*/ 130 h 577"/>
                <a:gd name="T16" fmla="*/ 64 w 231"/>
                <a:gd name="T17" fmla="*/ 107 h 577"/>
                <a:gd name="T18" fmla="*/ 64 w 231"/>
                <a:gd name="T19" fmla="*/ 74 h 577"/>
                <a:gd name="T20" fmla="*/ 49 w 231"/>
                <a:gd name="T21" fmla="*/ 52 h 577"/>
                <a:gd name="T22" fmla="*/ 38 w 231"/>
                <a:gd name="T23" fmla="*/ 17 h 577"/>
                <a:gd name="T24" fmla="*/ 16 w 231"/>
                <a:gd name="T25" fmla="*/ 0 h 577"/>
                <a:gd name="T26" fmla="*/ 54 w 231"/>
                <a:gd name="T27" fmla="*/ 17 h 577"/>
                <a:gd name="T28" fmla="*/ 87 w 231"/>
                <a:gd name="T29" fmla="*/ 24 h 577"/>
                <a:gd name="T30" fmla="*/ 118 w 231"/>
                <a:gd name="T31" fmla="*/ 24 h 577"/>
                <a:gd name="T32" fmla="*/ 139 w 231"/>
                <a:gd name="T33" fmla="*/ 107 h 577"/>
                <a:gd name="T34" fmla="*/ 163 w 231"/>
                <a:gd name="T35" fmla="*/ 163 h 577"/>
                <a:gd name="T36" fmla="*/ 139 w 231"/>
                <a:gd name="T37" fmla="*/ 175 h 577"/>
                <a:gd name="T38" fmla="*/ 130 w 231"/>
                <a:gd name="T39" fmla="*/ 246 h 577"/>
                <a:gd name="T40" fmla="*/ 139 w 231"/>
                <a:gd name="T41" fmla="*/ 303 h 577"/>
                <a:gd name="T42" fmla="*/ 172 w 231"/>
                <a:gd name="T43" fmla="*/ 319 h 577"/>
                <a:gd name="T44" fmla="*/ 231 w 231"/>
                <a:gd name="T45" fmla="*/ 409 h 577"/>
                <a:gd name="T46" fmla="*/ 227 w 231"/>
                <a:gd name="T47" fmla="*/ 447 h 577"/>
                <a:gd name="T48" fmla="*/ 201 w 231"/>
                <a:gd name="T49" fmla="*/ 504 h 577"/>
                <a:gd name="T50" fmla="*/ 172 w 231"/>
                <a:gd name="T51" fmla="*/ 527 h 577"/>
                <a:gd name="T52" fmla="*/ 184 w 231"/>
                <a:gd name="T53" fmla="*/ 577 h 577"/>
                <a:gd name="T54" fmla="*/ 177 w 231"/>
                <a:gd name="T55" fmla="*/ 553 h 577"/>
                <a:gd name="T56" fmla="*/ 130 w 231"/>
                <a:gd name="T57" fmla="*/ 508 h 577"/>
                <a:gd name="T58" fmla="*/ 125 w 231"/>
                <a:gd name="T59" fmla="*/ 499 h 577"/>
                <a:gd name="T60" fmla="*/ 130 w 231"/>
                <a:gd name="T61" fmla="*/ 442 h 577"/>
                <a:gd name="T62" fmla="*/ 118 w 231"/>
                <a:gd name="T63" fmla="*/ 369 h 577"/>
                <a:gd name="T64" fmla="*/ 38 w 231"/>
                <a:gd name="T65" fmla="*/ 343 h 577"/>
                <a:gd name="T66" fmla="*/ 38 w 231"/>
                <a:gd name="T67" fmla="*/ 343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 h="577">
                  <a:moveTo>
                    <a:pt x="38" y="343"/>
                  </a:moveTo>
                  <a:lnTo>
                    <a:pt x="33" y="336"/>
                  </a:lnTo>
                  <a:lnTo>
                    <a:pt x="33" y="343"/>
                  </a:lnTo>
                  <a:lnTo>
                    <a:pt x="21" y="336"/>
                  </a:lnTo>
                  <a:lnTo>
                    <a:pt x="0" y="315"/>
                  </a:lnTo>
                  <a:lnTo>
                    <a:pt x="16" y="298"/>
                  </a:lnTo>
                  <a:lnTo>
                    <a:pt x="21" y="263"/>
                  </a:lnTo>
                  <a:lnTo>
                    <a:pt x="21" y="246"/>
                  </a:lnTo>
                  <a:lnTo>
                    <a:pt x="21" y="241"/>
                  </a:lnTo>
                  <a:lnTo>
                    <a:pt x="49" y="230"/>
                  </a:lnTo>
                  <a:lnTo>
                    <a:pt x="64" y="225"/>
                  </a:lnTo>
                  <a:lnTo>
                    <a:pt x="49" y="220"/>
                  </a:lnTo>
                  <a:lnTo>
                    <a:pt x="38" y="208"/>
                  </a:lnTo>
                  <a:lnTo>
                    <a:pt x="49" y="175"/>
                  </a:lnTo>
                  <a:lnTo>
                    <a:pt x="38" y="152"/>
                  </a:lnTo>
                  <a:lnTo>
                    <a:pt x="54" y="130"/>
                  </a:lnTo>
                  <a:lnTo>
                    <a:pt x="38" y="114"/>
                  </a:lnTo>
                  <a:lnTo>
                    <a:pt x="64" y="107"/>
                  </a:lnTo>
                  <a:lnTo>
                    <a:pt x="71" y="90"/>
                  </a:lnTo>
                  <a:lnTo>
                    <a:pt x="64" y="74"/>
                  </a:lnTo>
                  <a:lnTo>
                    <a:pt x="64" y="62"/>
                  </a:lnTo>
                  <a:lnTo>
                    <a:pt x="49" y="52"/>
                  </a:lnTo>
                  <a:lnTo>
                    <a:pt x="49" y="41"/>
                  </a:lnTo>
                  <a:lnTo>
                    <a:pt x="38" y="17"/>
                  </a:lnTo>
                  <a:lnTo>
                    <a:pt x="21" y="17"/>
                  </a:lnTo>
                  <a:lnTo>
                    <a:pt x="16" y="0"/>
                  </a:lnTo>
                  <a:lnTo>
                    <a:pt x="49" y="8"/>
                  </a:lnTo>
                  <a:lnTo>
                    <a:pt x="54" y="17"/>
                  </a:lnTo>
                  <a:lnTo>
                    <a:pt x="75" y="17"/>
                  </a:lnTo>
                  <a:lnTo>
                    <a:pt x="87" y="24"/>
                  </a:lnTo>
                  <a:lnTo>
                    <a:pt x="92" y="8"/>
                  </a:lnTo>
                  <a:lnTo>
                    <a:pt x="118" y="24"/>
                  </a:lnTo>
                  <a:lnTo>
                    <a:pt x="130" y="52"/>
                  </a:lnTo>
                  <a:lnTo>
                    <a:pt x="139" y="107"/>
                  </a:lnTo>
                  <a:lnTo>
                    <a:pt x="139" y="130"/>
                  </a:lnTo>
                  <a:lnTo>
                    <a:pt x="163" y="163"/>
                  </a:lnTo>
                  <a:lnTo>
                    <a:pt x="139" y="163"/>
                  </a:lnTo>
                  <a:lnTo>
                    <a:pt x="139" y="175"/>
                  </a:lnTo>
                  <a:lnTo>
                    <a:pt x="125" y="208"/>
                  </a:lnTo>
                  <a:lnTo>
                    <a:pt x="130" y="246"/>
                  </a:lnTo>
                  <a:lnTo>
                    <a:pt x="130" y="298"/>
                  </a:lnTo>
                  <a:lnTo>
                    <a:pt x="139" y="303"/>
                  </a:lnTo>
                  <a:lnTo>
                    <a:pt x="156" y="303"/>
                  </a:lnTo>
                  <a:lnTo>
                    <a:pt x="172" y="319"/>
                  </a:lnTo>
                  <a:lnTo>
                    <a:pt x="227" y="393"/>
                  </a:lnTo>
                  <a:lnTo>
                    <a:pt x="231" y="409"/>
                  </a:lnTo>
                  <a:lnTo>
                    <a:pt x="215" y="430"/>
                  </a:lnTo>
                  <a:lnTo>
                    <a:pt x="227" y="447"/>
                  </a:lnTo>
                  <a:lnTo>
                    <a:pt x="227" y="487"/>
                  </a:lnTo>
                  <a:lnTo>
                    <a:pt x="201" y="504"/>
                  </a:lnTo>
                  <a:lnTo>
                    <a:pt x="193" y="499"/>
                  </a:lnTo>
                  <a:lnTo>
                    <a:pt x="172" y="527"/>
                  </a:lnTo>
                  <a:lnTo>
                    <a:pt x="184" y="544"/>
                  </a:lnTo>
                  <a:lnTo>
                    <a:pt x="184" y="577"/>
                  </a:lnTo>
                  <a:lnTo>
                    <a:pt x="172" y="577"/>
                  </a:lnTo>
                  <a:lnTo>
                    <a:pt x="177" y="553"/>
                  </a:lnTo>
                  <a:lnTo>
                    <a:pt x="163" y="553"/>
                  </a:lnTo>
                  <a:lnTo>
                    <a:pt x="130" y="508"/>
                  </a:lnTo>
                  <a:lnTo>
                    <a:pt x="125" y="508"/>
                  </a:lnTo>
                  <a:lnTo>
                    <a:pt x="125" y="499"/>
                  </a:lnTo>
                  <a:lnTo>
                    <a:pt x="108" y="482"/>
                  </a:lnTo>
                  <a:lnTo>
                    <a:pt x="130" y="442"/>
                  </a:lnTo>
                  <a:lnTo>
                    <a:pt x="130" y="386"/>
                  </a:lnTo>
                  <a:lnTo>
                    <a:pt x="118" y="369"/>
                  </a:lnTo>
                  <a:lnTo>
                    <a:pt x="71" y="386"/>
                  </a:lnTo>
                  <a:lnTo>
                    <a:pt x="38" y="343"/>
                  </a:lnTo>
                  <a:lnTo>
                    <a:pt x="38" y="343"/>
                  </a:lnTo>
                  <a:lnTo>
                    <a:pt x="38" y="34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71" name="Freeform 507">
              <a:extLst>
                <a:ext uri="{FF2B5EF4-FFF2-40B4-BE49-F238E27FC236}">
                  <a16:creationId xmlns:a16="http://schemas.microsoft.com/office/drawing/2014/main" id="{554F9860-7F6A-4989-BEB0-77E344687C76}"/>
                </a:ext>
              </a:extLst>
            </p:cNvPr>
            <p:cNvSpPr>
              <a:spLocks/>
            </p:cNvSpPr>
            <p:nvPr/>
          </p:nvSpPr>
          <p:spPr bwMode="gray">
            <a:xfrm>
              <a:off x="6373023" y="3309975"/>
              <a:ext cx="475479" cy="453300"/>
            </a:xfrm>
            <a:custGeom>
              <a:avLst/>
              <a:gdLst>
                <a:gd name="T0" fmla="*/ 130 w 1155"/>
                <a:gd name="T1" fmla="*/ 947 h 1101"/>
                <a:gd name="T2" fmla="*/ 88 w 1155"/>
                <a:gd name="T3" fmla="*/ 947 h 1101"/>
                <a:gd name="T4" fmla="*/ 55 w 1155"/>
                <a:gd name="T5" fmla="*/ 947 h 1101"/>
                <a:gd name="T6" fmla="*/ 67 w 1155"/>
                <a:gd name="T7" fmla="*/ 890 h 1101"/>
                <a:gd name="T8" fmla="*/ 33 w 1155"/>
                <a:gd name="T9" fmla="*/ 864 h 1101"/>
                <a:gd name="T10" fmla="*/ 12 w 1155"/>
                <a:gd name="T11" fmla="*/ 848 h 1101"/>
                <a:gd name="T12" fmla="*/ 17 w 1155"/>
                <a:gd name="T13" fmla="*/ 808 h 1101"/>
                <a:gd name="T14" fmla="*/ 0 w 1155"/>
                <a:gd name="T15" fmla="*/ 758 h 1101"/>
                <a:gd name="T16" fmla="*/ 24 w 1155"/>
                <a:gd name="T17" fmla="*/ 758 h 1101"/>
                <a:gd name="T18" fmla="*/ 55 w 1155"/>
                <a:gd name="T19" fmla="*/ 697 h 1101"/>
                <a:gd name="T20" fmla="*/ 109 w 1155"/>
                <a:gd name="T21" fmla="*/ 713 h 1101"/>
                <a:gd name="T22" fmla="*/ 196 w 1155"/>
                <a:gd name="T23" fmla="*/ 713 h 1101"/>
                <a:gd name="T24" fmla="*/ 201 w 1155"/>
                <a:gd name="T25" fmla="*/ 697 h 1101"/>
                <a:gd name="T26" fmla="*/ 470 w 1155"/>
                <a:gd name="T27" fmla="*/ 713 h 1101"/>
                <a:gd name="T28" fmla="*/ 466 w 1155"/>
                <a:gd name="T29" fmla="*/ 631 h 1101"/>
                <a:gd name="T30" fmla="*/ 395 w 1155"/>
                <a:gd name="T31" fmla="*/ 0 h 1101"/>
                <a:gd name="T32" fmla="*/ 941 w 1155"/>
                <a:gd name="T33" fmla="*/ 293 h 1101"/>
                <a:gd name="T34" fmla="*/ 974 w 1155"/>
                <a:gd name="T35" fmla="*/ 331 h 1101"/>
                <a:gd name="T36" fmla="*/ 1004 w 1155"/>
                <a:gd name="T37" fmla="*/ 354 h 1101"/>
                <a:gd name="T38" fmla="*/ 1026 w 1155"/>
                <a:gd name="T39" fmla="*/ 371 h 1101"/>
                <a:gd name="T40" fmla="*/ 1092 w 1155"/>
                <a:gd name="T41" fmla="*/ 420 h 1101"/>
                <a:gd name="T42" fmla="*/ 1092 w 1155"/>
                <a:gd name="T43" fmla="*/ 449 h 1101"/>
                <a:gd name="T44" fmla="*/ 1151 w 1155"/>
                <a:gd name="T45" fmla="*/ 642 h 1101"/>
                <a:gd name="T46" fmla="*/ 1129 w 1155"/>
                <a:gd name="T47" fmla="*/ 697 h 1101"/>
                <a:gd name="T48" fmla="*/ 1101 w 1155"/>
                <a:gd name="T49" fmla="*/ 720 h 1101"/>
                <a:gd name="T50" fmla="*/ 1063 w 1155"/>
                <a:gd name="T51" fmla="*/ 720 h 1101"/>
                <a:gd name="T52" fmla="*/ 929 w 1155"/>
                <a:gd name="T53" fmla="*/ 742 h 1101"/>
                <a:gd name="T54" fmla="*/ 874 w 1155"/>
                <a:gd name="T55" fmla="*/ 753 h 1101"/>
                <a:gd name="T56" fmla="*/ 832 w 1155"/>
                <a:gd name="T57" fmla="*/ 742 h 1101"/>
                <a:gd name="T58" fmla="*/ 806 w 1155"/>
                <a:gd name="T59" fmla="*/ 742 h 1101"/>
                <a:gd name="T60" fmla="*/ 768 w 1155"/>
                <a:gd name="T61" fmla="*/ 770 h 1101"/>
                <a:gd name="T62" fmla="*/ 718 w 1155"/>
                <a:gd name="T63" fmla="*/ 779 h 1101"/>
                <a:gd name="T64" fmla="*/ 714 w 1155"/>
                <a:gd name="T65" fmla="*/ 808 h 1101"/>
                <a:gd name="T66" fmla="*/ 659 w 1155"/>
                <a:gd name="T67" fmla="*/ 812 h 1101"/>
                <a:gd name="T68" fmla="*/ 626 w 1155"/>
                <a:gd name="T69" fmla="*/ 836 h 1101"/>
                <a:gd name="T70" fmla="*/ 617 w 1155"/>
                <a:gd name="T71" fmla="*/ 869 h 1101"/>
                <a:gd name="T72" fmla="*/ 579 w 1155"/>
                <a:gd name="T73" fmla="*/ 853 h 1101"/>
                <a:gd name="T74" fmla="*/ 563 w 1155"/>
                <a:gd name="T75" fmla="*/ 902 h 1101"/>
                <a:gd name="T76" fmla="*/ 541 w 1155"/>
                <a:gd name="T77" fmla="*/ 907 h 1101"/>
                <a:gd name="T78" fmla="*/ 551 w 1155"/>
                <a:gd name="T79" fmla="*/ 940 h 1101"/>
                <a:gd name="T80" fmla="*/ 499 w 1155"/>
                <a:gd name="T81" fmla="*/ 964 h 1101"/>
                <a:gd name="T82" fmla="*/ 499 w 1155"/>
                <a:gd name="T83" fmla="*/ 1001 h 1101"/>
                <a:gd name="T84" fmla="*/ 470 w 1155"/>
                <a:gd name="T85" fmla="*/ 1035 h 1101"/>
                <a:gd name="T86" fmla="*/ 470 w 1155"/>
                <a:gd name="T87" fmla="*/ 1075 h 1101"/>
                <a:gd name="T88" fmla="*/ 433 w 1155"/>
                <a:gd name="T89" fmla="*/ 1101 h 1101"/>
                <a:gd name="T90" fmla="*/ 428 w 1155"/>
                <a:gd name="T91" fmla="*/ 1091 h 1101"/>
                <a:gd name="T92" fmla="*/ 411 w 1155"/>
                <a:gd name="T93" fmla="*/ 1058 h 1101"/>
                <a:gd name="T94" fmla="*/ 395 w 1155"/>
                <a:gd name="T95" fmla="*/ 1058 h 1101"/>
                <a:gd name="T96" fmla="*/ 374 w 1155"/>
                <a:gd name="T97" fmla="*/ 1084 h 1101"/>
                <a:gd name="T98" fmla="*/ 324 w 1155"/>
                <a:gd name="T99" fmla="*/ 1075 h 1101"/>
                <a:gd name="T100" fmla="*/ 293 w 1155"/>
                <a:gd name="T101" fmla="*/ 1101 h 1101"/>
                <a:gd name="T102" fmla="*/ 281 w 1155"/>
                <a:gd name="T103" fmla="*/ 1075 h 1101"/>
                <a:gd name="T104" fmla="*/ 265 w 1155"/>
                <a:gd name="T105" fmla="*/ 1035 h 1101"/>
                <a:gd name="T106" fmla="*/ 272 w 1155"/>
                <a:gd name="T107" fmla="*/ 1013 h 1101"/>
                <a:gd name="T108" fmla="*/ 251 w 1155"/>
                <a:gd name="T109" fmla="*/ 992 h 1101"/>
                <a:gd name="T110" fmla="*/ 239 w 1155"/>
                <a:gd name="T111" fmla="*/ 975 h 1101"/>
                <a:gd name="T112" fmla="*/ 227 w 1155"/>
                <a:gd name="T113" fmla="*/ 935 h 1101"/>
                <a:gd name="T114" fmla="*/ 201 w 1155"/>
                <a:gd name="T115" fmla="*/ 947 h 1101"/>
                <a:gd name="T116" fmla="*/ 180 w 1155"/>
                <a:gd name="T117" fmla="*/ 964 h 1101"/>
                <a:gd name="T118" fmla="*/ 163 w 1155"/>
                <a:gd name="T119" fmla="*/ 964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55" h="1101">
                  <a:moveTo>
                    <a:pt x="163" y="964"/>
                  </a:moveTo>
                  <a:lnTo>
                    <a:pt x="130" y="947"/>
                  </a:lnTo>
                  <a:lnTo>
                    <a:pt x="109" y="975"/>
                  </a:lnTo>
                  <a:lnTo>
                    <a:pt x="88" y="947"/>
                  </a:lnTo>
                  <a:lnTo>
                    <a:pt x="71" y="964"/>
                  </a:lnTo>
                  <a:lnTo>
                    <a:pt x="55" y="947"/>
                  </a:lnTo>
                  <a:lnTo>
                    <a:pt x="67" y="935"/>
                  </a:lnTo>
                  <a:lnTo>
                    <a:pt x="67" y="890"/>
                  </a:lnTo>
                  <a:lnTo>
                    <a:pt x="38" y="864"/>
                  </a:lnTo>
                  <a:lnTo>
                    <a:pt x="33" y="864"/>
                  </a:lnTo>
                  <a:lnTo>
                    <a:pt x="33" y="869"/>
                  </a:lnTo>
                  <a:lnTo>
                    <a:pt x="12" y="848"/>
                  </a:lnTo>
                  <a:lnTo>
                    <a:pt x="17" y="831"/>
                  </a:lnTo>
                  <a:lnTo>
                    <a:pt x="17" y="808"/>
                  </a:lnTo>
                  <a:lnTo>
                    <a:pt x="0" y="791"/>
                  </a:lnTo>
                  <a:lnTo>
                    <a:pt x="0" y="758"/>
                  </a:lnTo>
                  <a:lnTo>
                    <a:pt x="12" y="770"/>
                  </a:lnTo>
                  <a:lnTo>
                    <a:pt x="24" y="758"/>
                  </a:lnTo>
                  <a:lnTo>
                    <a:pt x="38" y="704"/>
                  </a:lnTo>
                  <a:lnTo>
                    <a:pt x="55" y="697"/>
                  </a:lnTo>
                  <a:lnTo>
                    <a:pt x="93" y="737"/>
                  </a:lnTo>
                  <a:lnTo>
                    <a:pt x="109" y="713"/>
                  </a:lnTo>
                  <a:lnTo>
                    <a:pt x="159" y="720"/>
                  </a:lnTo>
                  <a:lnTo>
                    <a:pt x="196" y="713"/>
                  </a:lnTo>
                  <a:lnTo>
                    <a:pt x="196" y="704"/>
                  </a:lnTo>
                  <a:lnTo>
                    <a:pt x="201" y="697"/>
                  </a:lnTo>
                  <a:lnTo>
                    <a:pt x="201" y="713"/>
                  </a:lnTo>
                  <a:lnTo>
                    <a:pt x="470" y="713"/>
                  </a:lnTo>
                  <a:lnTo>
                    <a:pt x="487" y="647"/>
                  </a:lnTo>
                  <a:lnTo>
                    <a:pt x="466" y="631"/>
                  </a:lnTo>
                  <a:lnTo>
                    <a:pt x="411" y="149"/>
                  </a:lnTo>
                  <a:lnTo>
                    <a:pt x="395" y="0"/>
                  </a:lnTo>
                  <a:lnTo>
                    <a:pt x="520" y="0"/>
                  </a:lnTo>
                  <a:lnTo>
                    <a:pt x="941" y="293"/>
                  </a:lnTo>
                  <a:lnTo>
                    <a:pt x="941" y="314"/>
                  </a:lnTo>
                  <a:lnTo>
                    <a:pt x="974" y="331"/>
                  </a:lnTo>
                  <a:lnTo>
                    <a:pt x="983" y="347"/>
                  </a:lnTo>
                  <a:lnTo>
                    <a:pt x="1004" y="354"/>
                  </a:lnTo>
                  <a:lnTo>
                    <a:pt x="1011" y="354"/>
                  </a:lnTo>
                  <a:lnTo>
                    <a:pt x="1026" y="371"/>
                  </a:lnTo>
                  <a:lnTo>
                    <a:pt x="1080" y="387"/>
                  </a:lnTo>
                  <a:lnTo>
                    <a:pt x="1092" y="420"/>
                  </a:lnTo>
                  <a:lnTo>
                    <a:pt x="1075" y="437"/>
                  </a:lnTo>
                  <a:lnTo>
                    <a:pt x="1092" y="449"/>
                  </a:lnTo>
                  <a:lnTo>
                    <a:pt x="1155" y="437"/>
                  </a:lnTo>
                  <a:lnTo>
                    <a:pt x="1151" y="642"/>
                  </a:lnTo>
                  <a:lnTo>
                    <a:pt x="1146" y="647"/>
                  </a:lnTo>
                  <a:lnTo>
                    <a:pt x="1129" y="697"/>
                  </a:lnTo>
                  <a:lnTo>
                    <a:pt x="1101" y="704"/>
                  </a:lnTo>
                  <a:lnTo>
                    <a:pt x="1101" y="720"/>
                  </a:lnTo>
                  <a:lnTo>
                    <a:pt x="1075" y="713"/>
                  </a:lnTo>
                  <a:lnTo>
                    <a:pt x="1063" y="720"/>
                  </a:lnTo>
                  <a:lnTo>
                    <a:pt x="950" y="725"/>
                  </a:lnTo>
                  <a:lnTo>
                    <a:pt x="929" y="742"/>
                  </a:lnTo>
                  <a:lnTo>
                    <a:pt x="874" y="742"/>
                  </a:lnTo>
                  <a:lnTo>
                    <a:pt x="874" y="753"/>
                  </a:lnTo>
                  <a:lnTo>
                    <a:pt x="844" y="742"/>
                  </a:lnTo>
                  <a:lnTo>
                    <a:pt x="832" y="742"/>
                  </a:lnTo>
                  <a:lnTo>
                    <a:pt x="827" y="742"/>
                  </a:lnTo>
                  <a:lnTo>
                    <a:pt x="806" y="742"/>
                  </a:lnTo>
                  <a:lnTo>
                    <a:pt x="778" y="758"/>
                  </a:lnTo>
                  <a:lnTo>
                    <a:pt x="768" y="770"/>
                  </a:lnTo>
                  <a:lnTo>
                    <a:pt x="740" y="779"/>
                  </a:lnTo>
                  <a:lnTo>
                    <a:pt x="718" y="779"/>
                  </a:lnTo>
                  <a:lnTo>
                    <a:pt x="718" y="808"/>
                  </a:lnTo>
                  <a:lnTo>
                    <a:pt x="714" y="808"/>
                  </a:lnTo>
                  <a:lnTo>
                    <a:pt x="685" y="796"/>
                  </a:lnTo>
                  <a:lnTo>
                    <a:pt x="659" y="812"/>
                  </a:lnTo>
                  <a:lnTo>
                    <a:pt x="659" y="848"/>
                  </a:lnTo>
                  <a:lnTo>
                    <a:pt x="626" y="836"/>
                  </a:lnTo>
                  <a:lnTo>
                    <a:pt x="633" y="869"/>
                  </a:lnTo>
                  <a:lnTo>
                    <a:pt x="617" y="869"/>
                  </a:lnTo>
                  <a:lnTo>
                    <a:pt x="617" y="881"/>
                  </a:lnTo>
                  <a:lnTo>
                    <a:pt x="579" y="853"/>
                  </a:lnTo>
                  <a:lnTo>
                    <a:pt x="558" y="886"/>
                  </a:lnTo>
                  <a:lnTo>
                    <a:pt x="563" y="902"/>
                  </a:lnTo>
                  <a:lnTo>
                    <a:pt x="558" y="907"/>
                  </a:lnTo>
                  <a:lnTo>
                    <a:pt x="541" y="907"/>
                  </a:lnTo>
                  <a:lnTo>
                    <a:pt x="551" y="923"/>
                  </a:lnTo>
                  <a:lnTo>
                    <a:pt x="551" y="940"/>
                  </a:lnTo>
                  <a:lnTo>
                    <a:pt x="537" y="957"/>
                  </a:lnTo>
                  <a:lnTo>
                    <a:pt x="499" y="964"/>
                  </a:lnTo>
                  <a:lnTo>
                    <a:pt x="487" y="975"/>
                  </a:lnTo>
                  <a:lnTo>
                    <a:pt x="499" y="1001"/>
                  </a:lnTo>
                  <a:lnTo>
                    <a:pt x="487" y="1030"/>
                  </a:lnTo>
                  <a:lnTo>
                    <a:pt x="470" y="1035"/>
                  </a:lnTo>
                  <a:lnTo>
                    <a:pt x="482" y="1051"/>
                  </a:lnTo>
                  <a:lnTo>
                    <a:pt x="470" y="1075"/>
                  </a:lnTo>
                  <a:lnTo>
                    <a:pt x="449" y="1084"/>
                  </a:lnTo>
                  <a:lnTo>
                    <a:pt x="433" y="1101"/>
                  </a:lnTo>
                  <a:lnTo>
                    <a:pt x="428" y="1101"/>
                  </a:lnTo>
                  <a:lnTo>
                    <a:pt x="428" y="1091"/>
                  </a:lnTo>
                  <a:lnTo>
                    <a:pt x="416" y="1058"/>
                  </a:lnTo>
                  <a:lnTo>
                    <a:pt x="411" y="1058"/>
                  </a:lnTo>
                  <a:lnTo>
                    <a:pt x="411" y="1068"/>
                  </a:lnTo>
                  <a:lnTo>
                    <a:pt x="395" y="1058"/>
                  </a:lnTo>
                  <a:lnTo>
                    <a:pt x="395" y="1084"/>
                  </a:lnTo>
                  <a:lnTo>
                    <a:pt x="374" y="1084"/>
                  </a:lnTo>
                  <a:lnTo>
                    <a:pt x="362" y="1101"/>
                  </a:lnTo>
                  <a:lnTo>
                    <a:pt x="324" y="1075"/>
                  </a:lnTo>
                  <a:lnTo>
                    <a:pt x="310" y="1101"/>
                  </a:lnTo>
                  <a:lnTo>
                    <a:pt x="293" y="1101"/>
                  </a:lnTo>
                  <a:lnTo>
                    <a:pt x="293" y="1084"/>
                  </a:lnTo>
                  <a:lnTo>
                    <a:pt x="281" y="1075"/>
                  </a:lnTo>
                  <a:lnTo>
                    <a:pt x="281" y="1035"/>
                  </a:lnTo>
                  <a:lnTo>
                    <a:pt x="265" y="1035"/>
                  </a:lnTo>
                  <a:lnTo>
                    <a:pt x="251" y="1046"/>
                  </a:lnTo>
                  <a:lnTo>
                    <a:pt x="272" y="1013"/>
                  </a:lnTo>
                  <a:lnTo>
                    <a:pt x="251" y="1001"/>
                  </a:lnTo>
                  <a:lnTo>
                    <a:pt x="251" y="992"/>
                  </a:lnTo>
                  <a:lnTo>
                    <a:pt x="239" y="992"/>
                  </a:lnTo>
                  <a:lnTo>
                    <a:pt x="239" y="975"/>
                  </a:lnTo>
                  <a:lnTo>
                    <a:pt x="227" y="947"/>
                  </a:lnTo>
                  <a:lnTo>
                    <a:pt x="227" y="935"/>
                  </a:lnTo>
                  <a:lnTo>
                    <a:pt x="201" y="935"/>
                  </a:lnTo>
                  <a:lnTo>
                    <a:pt x="201" y="947"/>
                  </a:lnTo>
                  <a:lnTo>
                    <a:pt x="180" y="957"/>
                  </a:lnTo>
                  <a:lnTo>
                    <a:pt x="180" y="964"/>
                  </a:lnTo>
                  <a:lnTo>
                    <a:pt x="163" y="964"/>
                  </a:lnTo>
                  <a:lnTo>
                    <a:pt x="163" y="964"/>
                  </a:lnTo>
                  <a:lnTo>
                    <a:pt x="163" y="96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72" name="Freeform 508">
              <a:extLst>
                <a:ext uri="{FF2B5EF4-FFF2-40B4-BE49-F238E27FC236}">
                  <a16:creationId xmlns:a16="http://schemas.microsoft.com/office/drawing/2014/main" id="{52518C08-E3E4-4717-83BB-14C48F4FDBDA}"/>
                </a:ext>
              </a:extLst>
            </p:cNvPr>
            <p:cNvSpPr>
              <a:spLocks/>
            </p:cNvSpPr>
            <p:nvPr/>
          </p:nvSpPr>
          <p:spPr bwMode="gray">
            <a:xfrm>
              <a:off x="6344206" y="2950959"/>
              <a:ext cx="352801" cy="273379"/>
            </a:xfrm>
            <a:custGeom>
              <a:avLst/>
              <a:gdLst>
                <a:gd name="T0" fmla="*/ 656 w 857"/>
                <a:gd name="T1" fmla="*/ 350 h 664"/>
                <a:gd name="T2" fmla="*/ 673 w 857"/>
                <a:gd name="T3" fmla="*/ 392 h 664"/>
                <a:gd name="T4" fmla="*/ 642 w 857"/>
                <a:gd name="T5" fmla="*/ 404 h 664"/>
                <a:gd name="T6" fmla="*/ 576 w 857"/>
                <a:gd name="T7" fmla="*/ 444 h 664"/>
                <a:gd name="T8" fmla="*/ 538 w 857"/>
                <a:gd name="T9" fmla="*/ 487 h 664"/>
                <a:gd name="T10" fmla="*/ 462 w 857"/>
                <a:gd name="T11" fmla="*/ 515 h 664"/>
                <a:gd name="T12" fmla="*/ 316 w 857"/>
                <a:gd name="T13" fmla="*/ 577 h 664"/>
                <a:gd name="T14" fmla="*/ 0 w 857"/>
                <a:gd name="T15" fmla="*/ 664 h 664"/>
                <a:gd name="T16" fmla="*/ 80 w 857"/>
                <a:gd name="T17" fmla="*/ 631 h 664"/>
                <a:gd name="T18" fmla="*/ 144 w 857"/>
                <a:gd name="T19" fmla="*/ 577 h 664"/>
                <a:gd name="T20" fmla="*/ 210 w 857"/>
                <a:gd name="T21" fmla="*/ 527 h 664"/>
                <a:gd name="T22" fmla="*/ 252 w 857"/>
                <a:gd name="T23" fmla="*/ 444 h 664"/>
                <a:gd name="T24" fmla="*/ 240 w 857"/>
                <a:gd name="T25" fmla="*/ 371 h 664"/>
                <a:gd name="T26" fmla="*/ 278 w 857"/>
                <a:gd name="T27" fmla="*/ 305 h 664"/>
                <a:gd name="T28" fmla="*/ 323 w 857"/>
                <a:gd name="T29" fmla="*/ 222 h 664"/>
                <a:gd name="T30" fmla="*/ 446 w 857"/>
                <a:gd name="T31" fmla="*/ 156 h 664"/>
                <a:gd name="T32" fmla="*/ 512 w 857"/>
                <a:gd name="T33" fmla="*/ 17 h 664"/>
                <a:gd name="T34" fmla="*/ 550 w 857"/>
                <a:gd name="T35" fmla="*/ 5 h 664"/>
                <a:gd name="T36" fmla="*/ 592 w 857"/>
                <a:gd name="T37" fmla="*/ 62 h 664"/>
                <a:gd name="T38" fmla="*/ 673 w 857"/>
                <a:gd name="T39" fmla="*/ 55 h 664"/>
                <a:gd name="T40" fmla="*/ 711 w 857"/>
                <a:gd name="T41" fmla="*/ 55 h 664"/>
                <a:gd name="T42" fmla="*/ 718 w 857"/>
                <a:gd name="T43" fmla="*/ 55 h 664"/>
                <a:gd name="T44" fmla="*/ 727 w 857"/>
                <a:gd name="T45" fmla="*/ 71 h 664"/>
                <a:gd name="T46" fmla="*/ 727 w 857"/>
                <a:gd name="T47" fmla="*/ 55 h 664"/>
                <a:gd name="T48" fmla="*/ 770 w 857"/>
                <a:gd name="T49" fmla="*/ 71 h 664"/>
                <a:gd name="T50" fmla="*/ 793 w 857"/>
                <a:gd name="T51" fmla="*/ 111 h 664"/>
                <a:gd name="T52" fmla="*/ 803 w 857"/>
                <a:gd name="T53" fmla="*/ 128 h 664"/>
                <a:gd name="T54" fmla="*/ 803 w 857"/>
                <a:gd name="T55" fmla="*/ 182 h 664"/>
                <a:gd name="T56" fmla="*/ 807 w 857"/>
                <a:gd name="T57" fmla="*/ 222 h 664"/>
                <a:gd name="T58" fmla="*/ 819 w 857"/>
                <a:gd name="T59" fmla="*/ 244 h 664"/>
                <a:gd name="T60" fmla="*/ 857 w 857"/>
                <a:gd name="T61" fmla="*/ 277 h 664"/>
                <a:gd name="T62" fmla="*/ 836 w 857"/>
                <a:gd name="T63" fmla="*/ 305 h 664"/>
                <a:gd name="T64" fmla="*/ 840 w 857"/>
                <a:gd name="T65" fmla="*/ 317 h 664"/>
                <a:gd name="T66" fmla="*/ 727 w 857"/>
                <a:gd name="T67" fmla="*/ 317 h 664"/>
                <a:gd name="T68" fmla="*/ 685 w 857"/>
                <a:gd name="T69" fmla="*/ 338 h 664"/>
                <a:gd name="T70" fmla="*/ 685 w 857"/>
                <a:gd name="T71" fmla="*/ 338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7" h="664">
                  <a:moveTo>
                    <a:pt x="685" y="338"/>
                  </a:moveTo>
                  <a:lnTo>
                    <a:pt x="656" y="350"/>
                  </a:lnTo>
                  <a:lnTo>
                    <a:pt x="656" y="388"/>
                  </a:lnTo>
                  <a:lnTo>
                    <a:pt x="673" y="392"/>
                  </a:lnTo>
                  <a:lnTo>
                    <a:pt x="673" y="404"/>
                  </a:lnTo>
                  <a:lnTo>
                    <a:pt x="642" y="404"/>
                  </a:lnTo>
                  <a:lnTo>
                    <a:pt x="618" y="428"/>
                  </a:lnTo>
                  <a:lnTo>
                    <a:pt x="576" y="444"/>
                  </a:lnTo>
                  <a:lnTo>
                    <a:pt x="555" y="470"/>
                  </a:lnTo>
                  <a:lnTo>
                    <a:pt x="538" y="487"/>
                  </a:lnTo>
                  <a:lnTo>
                    <a:pt x="479" y="499"/>
                  </a:lnTo>
                  <a:lnTo>
                    <a:pt x="462" y="515"/>
                  </a:lnTo>
                  <a:lnTo>
                    <a:pt x="425" y="503"/>
                  </a:lnTo>
                  <a:lnTo>
                    <a:pt x="316" y="577"/>
                  </a:lnTo>
                  <a:lnTo>
                    <a:pt x="316" y="664"/>
                  </a:lnTo>
                  <a:lnTo>
                    <a:pt x="0" y="664"/>
                  </a:lnTo>
                  <a:lnTo>
                    <a:pt x="25" y="638"/>
                  </a:lnTo>
                  <a:lnTo>
                    <a:pt x="80" y="631"/>
                  </a:lnTo>
                  <a:lnTo>
                    <a:pt x="118" y="610"/>
                  </a:lnTo>
                  <a:lnTo>
                    <a:pt x="144" y="577"/>
                  </a:lnTo>
                  <a:lnTo>
                    <a:pt x="188" y="560"/>
                  </a:lnTo>
                  <a:lnTo>
                    <a:pt x="210" y="527"/>
                  </a:lnTo>
                  <a:lnTo>
                    <a:pt x="248" y="466"/>
                  </a:lnTo>
                  <a:lnTo>
                    <a:pt x="252" y="444"/>
                  </a:lnTo>
                  <a:lnTo>
                    <a:pt x="240" y="428"/>
                  </a:lnTo>
                  <a:lnTo>
                    <a:pt x="240" y="371"/>
                  </a:lnTo>
                  <a:lnTo>
                    <a:pt x="248" y="338"/>
                  </a:lnTo>
                  <a:lnTo>
                    <a:pt x="278" y="305"/>
                  </a:lnTo>
                  <a:lnTo>
                    <a:pt x="278" y="277"/>
                  </a:lnTo>
                  <a:lnTo>
                    <a:pt x="323" y="222"/>
                  </a:lnTo>
                  <a:lnTo>
                    <a:pt x="403" y="189"/>
                  </a:lnTo>
                  <a:lnTo>
                    <a:pt x="446" y="156"/>
                  </a:lnTo>
                  <a:lnTo>
                    <a:pt x="484" y="95"/>
                  </a:lnTo>
                  <a:lnTo>
                    <a:pt x="512" y="17"/>
                  </a:lnTo>
                  <a:lnTo>
                    <a:pt x="550" y="0"/>
                  </a:lnTo>
                  <a:lnTo>
                    <a:pt x="550" y="5"/>
                  </a:lnTo>
                  <a:lnTo>
                    <a:pt x="555" y="29"/>
                  </a:lnTo>
                  <a:lnTo>
                    <a:pt x="592" y="62"/>
                  </a:lnTo>
                  <a:lnTo>
                    <a:pt x="618" y="62"/>
                  </a:lnTo>
                  <a:lnTo>
                    <a:pt x="673" y="55"/>
                  </a:lnTo>
                  <a:lnTo>
                    <a:pt x="694" y="62"/>
                  </a:lnTo>
                  <a:lnTo>
                    <a:pt x="711" y="55"/>
                  </a:lnTo>
                  <a:lnTo>
                    <a:pt x="718" y="45"/>
                  </a:lnTo>
                  <a:lnTo>
                    <a:pt x="718" y="55"/>
                  </a:lnTo>
                  <a:lnTo>
                    <a:pt x="718" y="55"/>
                  </a:lnTo>
                  <a:lnTo>
                    <a:pt x="727" y="71"/>
                  </a:lnTo>
                  <a:lnTo>
                    <a:pt x="732" y="71"/>
                  </a:lnTo>
                  <a:lnTo>
                    <a:pt x="727" y="55"/>
                  </a:lnTo>
                  <a:lnTo>
                    <a:pt x="739" y="71"/>
                  </a:lnTo>
                  <a:lnTo>
                    <a:pt x="770" y="71"/>
                  </a:lnTo>
                  <a:lnTo>
                    <a:pt x="803" y="99"/>
                  </a:lnTo>
                  <a:lnTo>
                    <a:pt x="793" y="111"/>
                  </a:lnTo>
                  <a:lnTo>
                    <a:pt x="807" y="116"/>
                  </a:lnTo>
                  <a:lnTo>
                    <a:pt x="803" y="128"/>
                  </a:lnTo>
                  <a:lnTo>
                    <a:pt x="807" y="149"/>
                  </a:lnTo>
                  <a:lnTo>
                    <a:pt x="803" y="182"/>
                  </a:lnTo>
                  <a:lnTo>
                    <a:pt x="807" y="189"/>
                  </a:lnTo>
                  <a:lnTo>
                    <a:pt x="807" y="222"/>
                  </a:lnTo>
                  <a:lnTo>
                    <a:pt x="824" y="239"/>
                  </a:lnTo>
                  <a:lnTo>
                    <a:pt x="819" y="244"/>
                  </a:lnTo>
                  <a:lnTo>
                    <a:pt x="824" y="260"/>
                  </a:lnTo>
                  <a:lnTo>
                    <a:pt x="857" y="277"/>
                  </a:lnTo>
                  <a:lnTo>
                    <a:pt x="840" y="293"/>
                  </a:lnTo>
                  <a:lnTo>
                    <a:pt x="836" y="305"/>
                  </a:lnTo>
                  <a:lnTo>
                    <a:pt x="840" y="305"/>
                  </a:lnTo>
                  <a:lnTo>
                    <a:pt x="840" y="317"/>
                  </a:lnTo>
                  <a:lnTo>
                    <a:pt x="765" y="305"/>
                  </a:lnTo>
                  <a:lnTo>
                    <a:pt x="727" y="317"/>
                  </a:lnTo>
                  <a:lnTo>
                    <a:pt x="718" y="333"/>
                  </a:lnTo>
                  <a:lnTo>
                    <a:pt x="685" y="338"/>
                  </a:lnTo>
                  <a:lnTo>
                    <a:pt x="685" y="338"/>
                  </a:lnTo>
                  <a:lnTo>
                    <a:pt x="685" y="33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73" name="Freeform 509">
              <a:extLst>
                <a:ext uri="{FF2B5EF4-FFF2-40B4-BE49-F238E27FC236}">
                  <a16:creationId xmlns:a16="http://schemas.microsoft.com/office/drawing/2014/main" id="{5A5F5600-5B8C-4EE4-9D94-35FA292688FF}"/>
                </a:ext>
              </a:extLst>
            </p:cNvPr>
            <p:cNvSpPr>
              <a:spLocks/>
            </p:cNvSpPr>
            <p:nvPr/>
          </p:nvSpPr>
          <p:spPr bwMode="gray">
            <a:xfrm>
              <a:off x="8380326" y="4666579"/>
              <a:ext cx="12762" cy="17704"/>
            </a:xfrm>
            <a:custGeom>
              <a:avLst/>
              <a:gdLst>
                <a:gd name="T0" fmla="*/ 16 w 31"/>
                <a:gd name="T1" fmla="*/ 43 h 43"/>
                <a:gd name="T2" fmla="*/ 0 w 31"/>
                <a:gd name="T3" fmla="*/ 31 h 43"/>
                <a:gd name="T4" fmla="*/ 9 w 31"/>
                <a:gd name="T5" fmla="*/ 17 h 43"/>
                <a:gd name="T6" fmla="*/ 21 w 31"/>
                <a:gd name="T7" fmla="*/ 0 h 43"/>
                <a:gd name="T8" fmla="*/ 31 w 31"/>
                <a:gd name="T9" fmla="*/ 26 h 43"/>
                <a:gd name="T10" fmla="*/ 21 w 31"/>
                <a:gd name="T11" fmla="*/ 31 h 43"/>
                <a:gd name="T12" fmla="*/ 16 w 31"/>
                <a:gd name="T13" fmla="*/ 43 h 43"/>
                <a:gd name="T14" fmla="*/ 16 w 31"/>
                <a:gd name="T15" fmla="*/ 43 h 43"/>
                <a:gd name="T16" fmla="*/ 16 w 31"/>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43">
                  <a:moveTo>
                    <a:pt x="16" y="43"/>
                  </a:moveTo>
                  <a:lnTo>
                    <a:pt x="0" y="31"/>
                  </a:lnTo>
                  <a:lnTo>
                    <a:pt x="9" y="17"/>
                  </a:lnTo>
                  <a:lnTo>
                    <a:pt x="21" y="0"/>
                  </a:lnTo>
                  <a:lnTo>
                    <a:pt x="31" y="26"/>
                  </a:lnTo>
                  <a:lnTo>
                    <a:pt x="21" y="31"/>
                  </a:lnTo>
                  <a:lnTo>
                    <a:pt x="16" y="43"/>
                  </a:lnTo>
                  <a:lnTo>
                    <a:pt x="16" y="43"/>
                  </a:lnTo>
                  <a:lnTo>
                    <a:pt x="16" y="4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74" name="Freeform 510">
              <a:extLst>
                <a:ext uri="{FF2B5EF4-FFF2-40B4-BE49-F238E27FC236}">
                  <a16:creationId xmlns:a16="http://schemas.microsoft.com/office/drawing/2014/main" id="{6B9C59F1-A218-4C54-BF8F-46A321E262B3}"/>
                </a:ext>
              </a:extLst>
            </p:cNvPr>
            <p:cNvSpPr>
              <a:spLocks noEditPoints="1"/>
            </p:cNvSpPr>
            <p:nvPr/>
          </p:nvSpPr>
          <p:spPr bwMode="gray">
            <a:xfrm>
              <a:off x="6232232" y="3235043"/>
              <a:ext cx="352801" cy="392777"/>
            </a:xfrm>
            <a:custGeom>
              <a:avLst/>
              <a:gdLst>
                <a:gd name="T0" fmla="*/ 805 w 857"/>
                <a:gd name="T1" fmla="*/ 815 h 954"/>
                <a:gd name="T2" fmla="*/ 810 w 857"/>
                <a:gd name="T3" fmla="*/ 898 h 954"/>
                <a:gd name="T4" fmla="*/ 541 w 857"/>
                <a:gd name="T5" fmla="*/ 881 h 954"/>
                <a:gd name="T6" fmla="*/ 534 w 857"/>
                <a:gd name="T7" fmla="*/ 898 h 954"/>
                <a:gd name="T8" fmla="*/ 449 w 857"/>
                <a:gd name="T9" fmla="*/ 898 h 954"/>
                <a:gd name="T10" fmla="*/ 394 w 857"/>
                <a:gd name="T11" fmla="*/ 881 h 954"/>
                <a:gd name="T12" fmla="*/ 361 w 857"/>
                <a:gd name="T13" fmla="*/ 942 h 954"/>
                <a:gd name="T14" fmla="*/ 340 w 857"/>
                <a:gd name="T15" fmla="*/ 942 h 954"/>
                <a:gd name="T16" fmla="*/ 297 w 857"/>
                <a:gd name="T17" fmla="*/ 909 h 954"/>
                <a:gd name="T18" fmla="*/ 286 w 857"/>
                <a:gd name="T19" fmla="*/ 898 h 954"/>
                <a:gd name="T20" fmla="*/ 269 w 857"/>
                <a:gd name="T21" fmla="*/ 881 h 954"/>
                <a:gd name="T22" fmla="*/ 248 w 857"/>
                <a:gd name="T23" fmla="*/ 848 h 954"/>
                <a:gd name="T24" fmla="*/ 231 w 857"/>
                <a:gd name="T25" fmla="*/ 843 h 954"/>
                <a:gd name="T26" fmla="*/ 194 w 857"/>
                <a:gd name="T27" fmla="*/ 810 h 954"/>
                <a:gd name="T28" fmla="*/ 104 w 857"/>
                <a:gd name="T29" fmla="*/ 815 h 954"/>
                <a:gd name="T30" fmla="*/ 38 w 857"/>
                <a:gd name="T31" fmla="*/ 848 h 954"/>
                <a:gd name="T32" fmla="*/ 71 w 857"/>
                <a:gd name="T33" fmla="*/ 732 h 954"/>
                <a:gd name="T34" fmla="*/ 66 w 857"/>
                <a:gd name="T35" fmla="*/ 643 h 954"/>
                <a:gd name="T36" fmla="*/ 54 w 857"/>
                <a:gd name="T37" fmla="*/ 593 h 954"/>
                <a:gd name="T38" fmla="*/ 54 w 857"/>
                <a:gd name="T39" fmla="*/ 572 h 954"/>
                <a:gd name="T40" fmla="*/ 38 w 857"/>
                <a:gd name="T41" fmla="*/ 510 h 954"/>
                <a:gd name="T42" fmla="*/ 33 w 857"/>
                <a:gd name="T43" fmla="*/ 510 h 954"/>
                <a:gd name="T44" fmla="*/ 0 w 857"/>
                <a:gd name="T45" fmla="*/ 498 h 954"/>
                <a:gd name="T46" fmla="*/ 194 w 857"/>
                <a:gd name="T47" fmla="*/ 461 h 954"/>
                <a:gd name="T48" fmla="*/ 281 w 857"/>
                <a:gd name="T49" fmla="*/ 338 h 954"/>
                <a:gd name="T50" fmla="*/ 357 w 857"/>
                <a:gd name="T51" fmla="*/ 300 h 954"/>
                <a:gd name="T52" fmla="*/ 588 w 857"/>
                <a:gd name="T53" fmla="*/ 106 h 954"/>
                <a:gd name="T54" fmla="*/ 857 w 857"/>
                <a:gd name="T55" fmla="*/ 184 h 954"/>
                <a:gd name="T56" fmla="*/ 751 w 857"/>
                <a:gd name="T57" fmla="*/ 333 h 954"/>
                <a:gd name="T58" fmla="*/ 751 w 857"/>
                <a:gd name="T59" fmla="*/ 333 h 954"/>
                <a:gd name="T60" fmla="*/ 38 w 857"/>
                <a:gd name="T61" fmla="*/ 576 h 954"/>
                <a:gd name="T62" fmla="*/ 49 w 857"/>
                <a:gd name="T63" fmla="*/ 588 h 954"/>
                <a:gd name="T64" fmla="*/ 49 w 857"/>
                <a:gd name="T65" fmla="*/ 58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7" h="954">
                  <a:moveTo>
                    <a:pt x="751" y="333"/>
                  </a:moveTo>
                  <a:lnTo>
                    <a:pt x="805" y="815"/>
                  </a:lnTo>
                  <a:lnTo>
                    <a:pt x="827" y="831"/>
                  </a:lnTo>
                  <a:lnTo>
                    <a:pt x="810" y="898"/>
                  </a:lnTo>
                  <a:lnTo>
                    <a:pt x="541" y="898"/>
                  </a:lnTo>
                  <a:lnTo>
                    <a:pt x="541" y="881"/>
                  </a:lnTo>
                  <a:lnTo>
                    <a:pt x="534" y="886"/>
                  </a:lnTo>
                  <a:lnTo>
                    <a:pt x="534" y="898"/>
                  </a:lnTo>
                  <a:lnTo>
                    <a:pt x="496" y="902"/>
                  </a:lnTo>
                  <a:lnTo>
                    <a:pt x="449" y="898"/>
                  </a:lnTo>
                  <a:lnTo>
                    <a:pt x="432" y="921"/>
                  </a:lnTo>
                  <a:lnTo>
                    <a:pt x="394" y="881"/>
                  </a:lnTo>
                  <a:lnTo>
                    <a:pt x="378" y="886"/>
                  </a:lnTo>
                  <a:lnTo>
                    <a:pt x="361" y="942"/>
                  </a:lnTo>
                  <a:lnTo>
                    <a:pt x="352" y="954"/>
                  </a:lnTo>
                  <a:lnTo>
                    <a:pt x="340" y="942"/>
                  </a:lnTo>
                  <a:lnTo>
                    <a:pt x="319" y="926"/>
                  </a:lnTo>
                  <a:lnTo>
                    <a:pt x="297" y="909"/>
                  </a:lnTo>
                  <a:lnTo>
                    <a:pt x="297" y="902"/>
                  </a:lnTo>
                  <a:lnTo>
                    <a:pt x="286" y="898"/>
                  </a:lnTo>
                  <a:lnTo>
                    <a:pt x="281" y="898"/>
                  </a:lnTo>
                  <a:lnTo>
                    <a:pt x="269" y="881"/>
                  </a:lnTo>
                  <a:lnTo>
                    <a:pt x="255" y="848"/>
                  </a:lnTo>
                  <a:lnTo>
                    <a:pt x="248" y="848"/>
                  </a:lnTo>
                  <a:lnTo>
                    <a:pt x="243" y="848"/>
                  </a:lnTo>
                  <a:lnTo>
                    <a:pt x="231" y="843"/>
                  </a:lnTo>
                  <a:lnTo>
                    <a:pt x="227" y="848"/>
                  </a:lnTo>
                  <a:lnTo>
                    <a:pt x="194" y="810"/>
                  </a:lnTo>
                  <a:lnTo>
                    <a:pt x="146" y="798"/>
                  </a:lnTo>
                  <a:lnTo>
                    <a:pt x="104" y="815"/>
                  </a:lnTo>
                  <a:lnTo>
                    <a:pt x="54" y="815"/>
                  </a:lnTo>
                  <a:lnTo>
                    <a:pt x="38" y="848"/>
                  </a:lnTo>
                  <a:lnTo>
                    <a:pt x="38" y="810"/>
                  </a:lnTo>
                  <a:lnTo>
                    <a:pt x="71" y="732"/>
                  </a:lnTo>
                  <a:lnTo>
                    <a:pt x="71" y="676"/>
                  </a:lnTo>
                  <a:lnTo>
                    <a:pt x="66" y="643"/>
                  </a:lnTo>
                  <a:lnTo>
                    <a:pt x="38" y="605"/>
                  </a:lnTo>
                  <a:lnTo>
                    <a:pt x="54" y="593"/>
                  </a:lnTo>
                  <a:lnTo>
                    <a:pt x="38" y="605"/>
                  </a:lnTo>
                  <a:lnTo>
                    <a:pt x="54" y="572"/>
                  </a:lnTo>
                  <a:lnTo>
                    <a:pt x="66" y="539"/>
                  </a:lnTo>
                  <a:lnTo>
                    <a:pt x="38" y="510"/>
                  </a:lnTo>
                  <a:lnTo>
                    <a:pt x="38" y="515"/>
                  </a:lnTo>
                  <a:lnTo>
                    <a:pt x="33" y="510"/>
                  </a:lnTo>
                  <a:lnTo>
                    <a:pt x="12" y="465"/>
                  </a:lnTo>
                  <a:lnTo>
                    <a:pt x="0" y="498"/>
                  </a:lnTo>
                  <a:lnTo>
                    <a:pt x="12" y="461"/>
                  </a:lnTo>
                  <a:lnTo>
                    <a:pt x="194" y="461"/>
                  </a:lnTo>
                  <a:lnTo>
                    <a:pt x="286" y="461"/>
                  </a:lnTo>
                  <a:lnTo>
                    <a:pt x="281" y="338"/>
                  </a:lnTo>
                  <a:lnTo>
                    <a:pt x="319" y="312"/>
                  </a:lnTo>
                  <a:lnTo>
                    <a:pt x="357" y="300"/>
                  </a:lnTo>
                  <a:lnTo>
                    <a:pt x="357" y="106"/>
                  </a:lnTo>
                  <a:lnTo>
                    <a:pt x="588" y="106"/>
                  </a:lnTo>
                  <a:lnTo>
                    <a:pt x="588" y="0"/>
                  </a:lnTo>
                  <a:lnTo>
                    <a:pt x="857" y="184"/>
                  </a:lnTo>
                  <a:lnTo>
                    <a:pt x="734" y="184"/>
                  </a:lnTo>
                  <a:lnTo>
                    <a:pt x="751" y="333"/>
                  </a:lnTo>
                  <a:lnTo>
                    <a:pt x="751" y="333"/>
                  </a:lnTo>
                  <a:lnTo>
                    <a:pt x="751" y="333"/>
                  </a:lnTo>
                  <a:close/>
                  <a:moveTo>
                    <a:pt x="49" y="588"/>
                  </a:moveTo>
                  <a:lnTo>
                    <a:pt x="38" y="576"/>
                  </a:lnTo>
                  <a:lnTo>
                    <a:pt x="49" y="572"/>
                  </a:lnTo>
                  <a:lnTo>
                    <a:pt x="49" y="588"/>
                  </a:lnTo>
                  <a:lnTo>
                    <a:pt x="49" y="588"/>
                  </a:lnTo>
                  <a:lnTo>
                    <a:pt x="49" y="58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75" name="Freeform 512">
              <a:extLst>
                <a:ext uri="{FF2B5EF4-FFF2-40B4-BE49-F238E27FC236}">
                  <a16:creationId xmlns:a16="http://schemas.microsoft.com/office/drawing/2014/main" id="{76B86144-430B-4760-BE3F-EAFCB207A5E4}"/>
                </a:ext>
              </a:extLst>
            </p:cNvPr>
            <p:cNvSpPr>
              <a:spLocks noEditPoints="1"/>
            </p:cNvSpPr>
            <p:nvPr/>
          </p:nvSpPr>
          <p:spPr bwMode="gray">
            <a:xfrm>
              <a:off x="8228420" y="3263451"/>
              <a:ext cx="224772" cy="304258"/>
            </a:xfrm>
            <a:custGeom>
              <a:avLst/>
              <a:gdLst>
                <a:gd name="T0" fmla="*/ 282 w 546"/>
                <a:gd name="T1" fmla="*/ 56 h 739"/>
                <a:gd name="T2" fmla="*/ 282 w 546"/>
                <a:gd name="T3" fmla="*/ 23 h 739"/>
                <a:gd name="T4" fmla="*/ 307 w 546"/>
                <a:gd name="T5" fmla="*/ 16 h 739"/>
                <a:gd name="T6" fmla="*/ 298 w 546"/>
                <a:gd name="T7" fmla="*/ 0 h 739"/>
                <a:gd name="T8" fmla="*/ 307 w 546"/>
                <a:gd name="T9" fmla="*/ 7 h 739"/>
                <a:gd name="T10" fmla="*/ 298 w 546"/>
                <a:gd name="T11" fmla="*/ 16 h 739"/>
                <a:gd name="T12" fmla="*/ 298 w 546"/>
                <a:gd name="T13" fmla="*/ 56 h 739"/>
                <a:gd name="T14" fmla="*/ 298 w 546"/>
                <a:gd name="T15" fmla="*/ 56 h 739"/>
                <a:gd name="T16" fmla="*/ 0 w 546"/>
                <a:gd name="T17" fmla="*/ 562 h 739"/>
                <a:gd name="T18" fmla="*/ 253 w 546"/>
                <a:gd name="T19" fmla="*/ 333 h 739"/>
                <a:gd name="T20" fmla="*/ 222 w 546"/>
                <a:gd name="T21" fmla="*/ 255 h 739"/>
                <a:gd name="T22" fmla="*/ 244 w 546"/>
                <a:gd name="T23" fmla="*/ 184 h 739"/>
                <a:gd name="T24" fmla="*/ 274 w 546"/>
                <a:gd name="T25" fmla="*/ 167 h 739"/>
                <a:gd name="T26" fmla="*/ 260 w 546"/>
                <a:gd name="T27" fmla="*/ 118 h 739"/>
                <a:gd name="T28" fmla="*/ 282 w 546"/>
                <a:gd name="T29" fmla="*/ 118 h 739"/>
                <a:gd name="T30" fmla="*/ 282 w 546"/>
                <a:gd name="T31" fmla="*/ 127 h 739"/>
                <a:gd name="T32" fmla="*/ 298 w 546"/>
                <a:gd name="T33" fmla="*/ 111 h 739"/>
                <a:gd name="T34" fmla="*/ 362 w 546"/>
                <a:gd name="T35" fmla="*/ 188 h 739"/>
                <a:gd name="T36" fmla="*/ 459 w 546"/>
                <a:gd name="T37" fmla="*/ 212 h 739"/>
                <a:gd name="T38" fmla="*/ 546 w 546"/>
                <a:gd name="T39" fmla="*/ 295 h 739"/>
                <a:gd name="T40" fmla="*/ 513 w 546"/>
                <a:gd name="T41" fmla="*/ 382 h 739"/>
                <a:gd name="T42" fmla="*/ 454 w 546"/>
                <a:gd name="T43" fmla="*/ 451 h 739"/>
                <a:gd name="T44" fmla="*/ 437 w 546"/>
                <a:gd name="T45" fmla="*/ 444 h 739"/>
                <a:gd name="T46" fmla="*/ 404 w 546"/>
                <a:gd name="T47" fmla="*/ 467 h 739"/>
                <a:gd name="T48" fmla="*/ 404 w 546"/>
                <a:gd name="T49" fmla="*/ 562 h 739"/>
                <a:gd name="T50" fmla="*/ 329 w 546"/>
                <a:gd name="T51" fmla="*/ 578 h 739"/>
                <a:gd name="T52" fmla="*/ 312 w 546"/>
                <a:gd name="T53" fmla="*/ 628 h 739"/>
                <a:gd name="T54" fmla="*/ 237 w 546"/>
                <a:gd name="T55" fmla="*/ 649 h 739"/>
                <a:gd name="T56" fmla="*/ 227 w 546"/>
                <a:gd name="T57" fmla="*/ 682 h 739"/>
                <a:gd name="T58" fmla="*/ 189 w 546"/>
                <a:gd name="T59" fmla="*/ 715 h 739"/>
                <a:gd name="T60" fmla="*/ 147 w 546"/>
                <a:gd name="T61" fmla="*/ 706 h 739"/>
                <a:gd name="T62" fmla="*/ 76 w 546"/>
                <a:gd name="T63" fmla="*/ 739 h 739"/>
                <a:gd name="T64" fmla="*/ 76 w 546"/>
                <a:gd name="T65" fmla="*/ 739 h 739"/>
                <a:gd name="T66" fmla="*/ 459 w 546"/>
                <a:gd name="T67" fmla="*/ 460 h 739"/>
                <a:gd name="T68" fmla="*/ 487 w 546"/>
                <a:gd name="T69" fmla="*/ 451 h 739"/>
                <a:gd name="T70" fmla="*/ 459 w 546"/>
                <a:gd name="T71" fmla="*/ 477 h 739"/>
                <a:gd name="T72" fmla="*/ 274 w 546"/>
                <a:gd name="T73" fmla="*/ 673 h 739"/>
                <a:gd name="T74" fmla="*/ 282 w 546"/>
                <a:gd name="T75" fmla="*/ 673 h 739"/>
                <a:gd name="T76" fmla="*/ 274 w 546"/>
                <a:gd name="T77" fmla="*/ 673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6" h="739">
                  <a:moveTo>
                    <a:pt x="298" y="56"/>
                  </a:moveTo>
                  <a:lnTo>
                    <a:pt x="282" y="56"/>
                  </a:lnTo>
                  <a:lnTo>
                    <a:pt x="291" y="33"/>
                  </a:lnTo>
                  <a:lnTo>
                    <a:pt x="282" y="23"/>
                  </a:lnTo>
                  <a:lnTo>
                    <a:pt x="291" y="7"/>
                  </a:lnTo>
                  <a:lnTo>
                    <a:pt x="307" y="16"/>
                  </a:lnTo>
                  <a:lnTo>
                    <a:pt x="298" y="16"/>
                  </a:lnTo>
                  <a:lnTo>
                    <a:pt x="298" y="0"/>
                  </a:lnTo>
                  <a:lnTo>
                    <a:pt x="312" y="0"/>
                  </a:lnTo>
                  <a:lnTo>
                    <a:pt x="307" y="7"/>
                  </a:lnTo>
                  <a:lnTo>
                    <a:pt x="307" y="16"/>
                  </a:lnTo>
                  <a:lnTo>
                    <a:pt x="298" y="16"/>
                  </a:lnTo>
                  <a:lnTo>
                    <a:pt x="307" y="23"/>
                  </a:lnTo>
                  <a:lnTo>
                    <a:pt x="298" y="56"/>
                  </a:lnTo>
                  <a:lnTo>
                    <a:pt x="298" y="56"/>
                  </a:lnTo>
                  <a:lnTo>
                    <a:pt x="298" y="56"/>
                  </a:lnTo>
                  <a:close/>
                  <a:moveTo>
                    <a:pt x="76" y="739"/>
                  </a:moveTo>
                  <a:lnTo>
                    <a:pt x="0" y="562"/>
                  </a:lnTo>
                  <a:lnTo>
                    <a:pt x="206" y="484"/>
                  </a:lnTo>
                  <a:lnTo>
                    <a:pt x="253" y="333"/>
                  </a:lnTo>
                  <a:lnTo>
                    <a:pt x="222" y="283"/>
                  </a:lnTo>
                  <a:lnTo>
                    <a:pt x="222" y="255"/>
                  </a:lnTo>
                  <a:lnTo>
                    <a:pt x="244" y="200"/>
                  </a:lnTo>
                  <a:lnTo>
                    <a:pt x="244" y="184"/>
                  </a:lnTo>
                  <a:lnTo>
                    <a:pt x="274" y="172"/>
                  </a:lnTo>
                  <a:lnTo>
                    <a:pt x="274" y="167"/>
                  </a:lnTo>
                  <a:lnTo>
                    <a:pt x="260" y="167"/>
                  </a:lnTo>
                  <a:lnTo>
                    <a:pt x="260" y="118"/>
                  </a:lnTo>
                  <a:lnTo>
                    <a:pt x="274" y="111"/>
                  </a:lnTo>
                  <a:lnTo>
                    <a:pt x="282" y="118"/>
                  </a:lnTo>
                  <a:lnTo>
                    <a:pt x="274" y="118"/>
                  </a:lnTo>
                  <a:lnTo>
                    <a:pt x="282" y="127"/>
                  </a:lnTo>
                  <a:lnTo>
                    <a:pt x="298" y="118"/>
                  </a:lnTo>
                  <a:lnTo>
                    <a:pt x="298" y="111"/>
                  </a:lnTo>
                  <a:lnTo>
                    <a:pt x="324" y="151"/>
                  </a:lnTo>
                  <a:lnTo>
                    <a:pt x="362" y="188"/>
                  </a:lnTo>
                  <a:lnTo>
                    <a:pt x="437" y="212"/>
                  </a:lnTo>
                  <a:lnTo>
                    <a:pt x="459" y="212"/>
                  </a:lnTo>
                  <a:lnTo>
                    <a:pt x="513" y="283"/>
                  </a:lnTo>
                  <a:lnTo>
                    <a:pt x="546" y="295"/>
                  </a:lnTo>
                  <a:lnTo>
                    <a:pt x="546" y="316"/>
                  </a:lnTo>
                  <a:lnTo>
                    <a:pt x="513" y="382"/>
                  </a:lnTo>
                  <a:lnTo>
                    <a:pt x="475" y="411"/>
                  </a:lnTo>
                  <a:lnTo>
                    <a:pt x="454" y="451"/>
                  </a:lnTo>
                  <a:lnTo>
                    <a:pt x="433" y="460"/>
                  </a:lnTo>
                  <a:lnTo>
                    <a:pt x="437" y="444"/>
                  </a:lnTo>
                  <a:lnTo>
                    <a:pt x="433" y="444"/>
                  </a:lnTo>
                  <a:lnTo>
                    <a:pt x="404" y="467"/>
                  </a:lnTo>
                  <a:lnTo>
                    <a:pt x="388" y="505"/>
                  </a:lnTo>
                  <a:lnTo>
                    <a:pt x="404" y="562"/>
                  </a:lnTo>
                  <a:lnTo>
                    <a:pt x="362" y="571"/>
                  </a:lnTo>
                  <a:lnTo>
                    <a:pt x="329" y="578"/>
                  </a:lnTo>
                  <a:lnTo>
                    <a:pt x="324" y="595"/>
                  </a:lnTo>
                  <a:lnTo>
                    <a:pt x="312" y="628"/>
                  </a:lnTo>
                  <a:lnTo>
                    <a:pt x="298" y="644"/>
                  </a:lnTo>
                  <a:lnTo>
                    <a:pt x="237" y="649"/>
                  </a:lnTo>
                  <a:lnTo>
                    <a:pt x="222" y="673"/>
                  </a:lnTo>
                  <a:lnTo>
                    <a:pt x="227" y="682"/>
                  </a:lnTo>
                  <a:lnTo>
                    <a:pt x="206" y="706"/>
                  </a:lnTo>
                  <a:lnTo>
                    <a:pt x="189" y="715"/>
                  </a:lnTo>
                  <a:lnTo>
                    <a:pt x="173" y="706"/>
                  </a:lnTo>
                  <a:lnTo>
                    <a:pt x="147" y="706"/>
                  </a:lnTo>
                  <a:lnTo>
                    <a:pt x="109" y="727"/>
                  </a:lnTo>
                  <a:lnTo>
                    <a:pt x="76" y="739"/>
                  </a:lnTo>
                  <a:lnTo>
                    <a:pt x="76" y="739"/>
                  </a:lnTo>
                  <a:lnTo>
                    <a:pt x="76" y="739"/>
                  </a:lnTo>
                  <a:close/>
                  <a:moveTo>
                    <a:pt x="459" y="477"/>
                  </a:moveTo>
                  <a:lnTo>
                    <a:pt x="459" y="460"/>
                  </a:lnTo>
                  <a:lnTo>
                    <a:pt x="487" y="439"/>
                  </a:lnTo>
                  <a:lnTo>
                    <a:pt x="487" y="451"/>
                  </a:lnTo>
                  <a:lnTo>
                    <a:pt x="459" y="477"/>
                  </a:lnTo>
                  <a:lnTo>
                    <a:pt x="459" y="477"/>
                  </a:lnTo>
                  <a:lnTo>
                    <a:pt x="459" y="477"/>
                  </a:lnTo>
                  <a:close/>
                  <a:moveTo>
                    <a:pt x="274" y="673"/>
                  </a:moveTo>
                  <a:lnTo>
                    <a:pt x="274" y="673"/>
                  </a:lnTo>
                  <a:lnTo>
                    <a:pt x="282" y="673"/>
                  </a:lnTo>
                  <a:lnTo>
                    <a:pt x="274" y="673"/>
                  </a:lnTo>
                  <a:lnTo>
                    <a:pt x="274" y="673"/>
                  </a:lnTo>
                  <a:lnTo>
                    <a:pt x="274" y="67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76" name="Freeform 516">
              <a:extLst>
                <a:ext uri="{FF2B5EF4-FFF2-40B4-BE49-F238E27FC236}">
                  <a16:creationId xmlns:a16="http://schemas.microsoft.com/office/drawing/2014/main" id="{FAB41F97-B183-4EF0-9D8E-42F08E4A7AC7}"/>
                </a:ext>
              </a:extLst>
            </p:cNvPr>
            <p:cNvSpPr>
              <a:spLocks noEditPoints="1"/>
            </p:cNvSpPr>
            <p:nvPr/>
          </p:nvSpPr>
          <p:spPr bwMode="gray">
            <a:xfrm>
              <a:off x="7599388" y="4376731"/>
              <a:ext cx="306283" cy="504764"/>
            </a:xfrm>
            <a:custGeom>
              <a:avLst/>
              <a:gdLst>
                <a:gd name="T0" fmla="*/ 206 w 744"/>
                <a:gd name="T1" fmla="*/ 260 h 1226"/>
                <a:gd name="T2" fmla="*/ 298 w 744"/>
                <a:gd name="T3" fmla="*/ 305 h 1226"/>
                <a:gd name="T4" fmla="*/ 293 w 744"/>
                <a:gd name="T5" fmla="*/ 414 h 1226"/>
                <a:gd name="T6" fmla="*/ 331 w 744"/>
                <a:gd name="T7" fmla="*/ 470 h 1226"/>
                <a:gd name="T8" fmla="*/ 352 w 744"/>
                <a:gd name="T9" fmla="*/ 491 h 1226"/>
                <a:gd name="T10" fmla="*/ 364 w 744"/>
                <a:gd name="T11" fmla="*/ 414 h 1226"/>
                <a:gd name="T12" fmla="*/ 397 w 744"/>
                <a:gd name="T13" fmla="*/ 364 h 1226"/>
                <a:gd name="T14" fmla="*/ 397 w 744"/>
                <a:gd name="T15" fmla="*/ 310 h 1226"/>
                <a:gd name="T16" fmla="*/ 310 w 744"/>
                <a:gd name="T17" fmla="*/ 220 h 1226"/>
                <a:gd name="T18" fmla="*/ 293 w 744"/>
                <a:gd name="T19" fmla="*/ 128 h 1226"/>
                <a:gd name="T20" fmla="*/ 331 w 744"/>
                <a:gd name="T21" fmla="*/ 83 h 1226"/>
                <a:gd name="T22" fmla="*/ 418 w 744"/>
                <a:gd name="T23" fmla="*/ 83 h 1226"/>
                <a:gd name="T24" fmla="*/ 461 w 744"/>
                <a:gd name="T25" fmla="*/ 83 h 1226"/>
                <a:gd name="T26" fmla="*/ 543 w 744"/>
                <a:gd name="T27" fmla="*/ 66 h 1226"/>
                <a:gd name="T28" fmla="*/ 612 w 744"/>
                <a:gd name="T29" fmla="*/ 54 h 1226"/>
                <a:gd name="T30" fmla="*/ 721 w 744"/>
                <a:gd name="T31" fmla="*/ 0 h 1226"/>
                <a:gd name="T32" fmla="*/ 728 w 744"/>
                <a:gd name="T33" fmla="*/ 33 h 1226"/>
                <a:gd name="T34" fmla="*/ 728 w 744"/>
                <a:gd name="T35" fmla="*/ 38 h 1226"/>
                <a:gd name="T36" fmla="*/ 721 w 744"/>
                <a:gd name="T37" fmla="*/ 88 h 1226"/>
                <a:gd name="T38" fmla="*/ 732 w 744"/>
                <a:gd name="T39" fmla="*/ 166 h 1226"/>
                <a:gd name="T40" fmla="*/ 728 w 744"/>
                <a:gd name="T41" fmla="*/ 182 h 1226"/>
                <a:gd name="T42" fmla="*/ 721 w 744"/>
                <a:gd name="T43" fmla="*/ 272 h 1226"/>
                <a:gd name="T44" fmla="*/ 728 w 744"/>
                <a:gd name="T45" fmla="*/ 293 h 1226"/>
                <a:gd name="T46" fmla="*/ 732 w 744"/>
                <a:gd name="T47" fmla="*/ 343 h 1226"/>
                <a:gd name="T48" fmla="*/ 728 w 744"/>
                <a:gd name="T49" fmla="*/ 364 h 1226"/>
                <a:gd name="T50" fmla="*/ 673 w 744"/>
                <a:gd name="T51" fmla="*/ 425 h 1226"/>
                <a:gd name="T52" fmla="*/ 624 w 744"/>
                <a:gd name="T53" fmla="*/ 470 h 1226"/>
                <a:gd name="T54" fmla="*/ 489 w 744"/>
                <a:gd name="T55" fmla="*/ 536 h 1226"/>
                <a:gd name="T56" fmla="*/ 473 w 744"/>
                <a:gd name="T57" fmla="*/ 565 h 1226"/>
                <a:gd name="T58" fmla="*/ 406 w 744"/>
                <a:gd name="T59" fmla="*/ 619 h 1226"/>
                <a:gd name="T60" fmla="*/ 314 w 744"/>
                <a:gd name="T61" fmla="*/ 690 h 1226"/>
                <a:gd name="T62" fmla="*/ 343 w 744"/>
                <a:gd name="T63" fmla="*/ 775 h 1226"/>
                <a:gd name="T64" fmla="*/ 352 w 744"/>
                <a:gd name="T65" fmla="*/ 884 h 1226"/>
                <a:gd name="T66" fmla="*/ 369 w 744"/>
                <a:gd name="T67" fmla="*/ 874 h 1226"/>
                <a:gd name="T68" fmla="*/ 380 w 744"/>
                <a:gd name="T69" fmla="*/ 928 h 1226"/>
                <a:gd name="T70" fmla="*/ 352 w 744"/>
                <a:gd name="T71" fmla="*/ 1006 h 1226"/>
                <a:gd name="T72" fmla="*/ 331 w 744"/>
                <a:gd name="T73" fmla="*/ 1051 h 1226"/>
                <a:gd name="T74" fmla="*/ 163 w 744"/>
                <a:gd name="T75" fmla="*/ 1155 h 1226"/>
                <a:gd name="T76" fmla="*/ 184 w 744"/>
                <a:gd name="T77" fmla="*/ 1226 h 1226"/>
                <a:gd name="T78" fmla="*/ 125 w 744"/>
                <a:gd name="T79" fmla="*/ 1155 h 1226"/>
                <a:gd name="T80" fmla="*/ 92 w 744"/>
                <a:gd name="T81" fmla="*/ 966 h 1226"/>
                <a:gd name="T82" fmla="*/ 151 w 744"/>
                <a:gd name="T83" fmla="*/ 801 h 1226"/>
                <a:gd name="T84" fmla="*/ 163 w 744"/>
                <a:gd name="T85" fmla="*/ 768 h 1226"/>
                <a:gd name="T86" fmla="*/ 184 w 744"/>
                <a:gd name="T87" fmla="*/ 730 h 1226"/>
                <a:gd name="T88" fmla="*/ 184 w 744"/>
                <a:gd name="T89" fmla="*/ 636 h 1226"/>
                <a:gd name="T90" fmla="*/ 184 w 744"/>
                <a:gd name="T91" fmla="*/ 607 h 1226"/>
                <a:gd name="T92" fmla="*/ 191 w 744"/>
                <a:gd name="T93" fmla="*/ 569 h 1226"/>
                <a:gd name="T94" fmla="*/ 191 w 744"/>
                <a:gd name="T95" fmla="*/ 515 h 1226"/>
                <a:gd name="T96" fmla="*/ 191 w 744"/>
                <a:gd name="T97" fmla="*/ 458 h 1226"/>
                <a:gd name="T98" fmla="*/ 147 w 744"/>
                <a:gd name="T99" fmla="*/ 442 h 1226"/>
                <a:gd name="T100" fmla="*/ 83 w 744"/>
                <a:gd name="T101" fmla="*/ 421 h 1226"/>
                <a:gd name="T102" fmla="*/ 17 w 744"/>
                <a:gd name="T103" fmla="*/ 380 h 1226"/>
                <a:gd name="T104" fmla="*/ 678 w 744"/>
                <a:gd name="T105" fmla="*/ 437 h 1226"/>
                <a:gd name="T106" fmla="*/ 678 w 744"/>
                <a:gd name="T107" fmla="*/ 437 h 1226"/>
                <a:gd name="T108" fmla="*/ 191 w 744"/>
                <a:gd name="T109" fmla="*/ 1160 h 1226"/>
                <a:gd name="T110" fmla="*/ 191 w 744"/>
                <a:gd name="T111" fmla="*/ 116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44" h="1226">
                  <a:moveTo>
                    <a:pt x="17" y="380"/>
                  </a:moveTo>
                  <a:lnTo>
                    <a:pt x="0" y="331"/>
                  </a:lnTo>
                  <a:lnTo>
                    <a:pt x="206" y="260"/>
                  </a:lnTo>
                  <a:lnTo>
                    <a:pt x="239" y="305"/>
                  </a:lnTo>
                  <a:lnTo>
                    <a:pt x="288" y="288"/>
                  </a:lnTo>
                  <a:lnTo>
                    <a:pt x="298" y="305"/>
                  </a:lnTo>
                  <a:lnTo>
                    <a:pt x="298" y="359"/>
                  </a:lnTo>
                  <a:lnTo>
                    <a:pt x="276" y="397"/>
                  </a:lnTo>
                  <a:lnTo>
                    <a:pt x="293" y="414"/>
                  </a:lnTo>
                  <a:lnTo>
                    <a:pt x="293" y="425"/>
                  </a:lnTo>
                  <a:lnTo>
                    <a:pt x="298" y="425"/>
                  </a:lnTo>
                  <a:lnTo>
                    <a:pt x="331" y="470"/>
                  </a:lnTo>
                  <a:lnTo>
                    <a:pt x="347" y="470"/>
                  </a:lnTo>
                  <a:lnTo>
                    <a:pt x="343" y="491"/>
                  </a:lnTo>
                  <a:lnTo>
                    <a:pt x="352" y="491"/>
                  </a:lnTo>
                  <a:lnTo>
                    <a:pt x="352" y="458"/>
                  </a:lnTo>
                  <a:lnTo>
                    <a:pt x="343" y="442"/>
                  </a:lnTo>
                  <a:lnTo>
                    <a:pt x="364" y="414"/>
                  </a:lnTo>
                  <a:lnTo>
                    <a:pt x="369" y="421"/>
                  </a:lnTo>
                  <a:lnTo>
                    <a:pt x="397" y="404"/>
                  </a:lnTo>
                  <a:lnTo>
                    <a:pt x="397" y="364"/>
                  </a:lnTo>
                  <a:lnTo>
                    <a:pt x="385" y="347"/>
                  </a:lnTo>
                  <a:lnTo>
                    <a:pt x="402" y="326"/>
                  </a:lnTo>
                  <a:lnTo>
                    <a:pt x="397" y="310"/>
                  </a:lnTo>
                  <a:lnTo>
                    <a:pt x="343" y="236"/>
                  </a:lnTo>
                  <a:lnTo>
                    <a:pt x="326" y="220"/>
                  </a:lnTo>
                  <a:lnTo>
                    <a:pt x="310" y="220"/>
                  </a:lnTo>
                  <a:lnTo>
                    <a:pt x="298" y="215"/>
                  </a:lnTo>
                  <a:lnTo>
                    <a:pt x="298" y="166"/>
                  </a:lnTo>
                  <a:lnTo>
                    <a:pt x="293" y="128"/>
                  </a:lnTo>
                  <a:lnTo>
                    <a:pt x="310" y="95"/>
                  </a:lnTo>
                  <a:lnTo>
                    <a:pt x="310" y="83"/>
                  </a:lnTo>
                  <a:lnTo>
                    <a:pt x="331" y="83"/>
                  </a:lnTo>
                  <a:lnTo>
                    <a:pt x="369" y="88"/>
                  </a:lnTo>
                  <a:lnTo>
                    <a:pt x="397" y="71"/>
                  </a:lnTo>
                  <a:lnTo>
                    <a:pt x="418" y="83"/>
                  </a:lnTo>
                  <a:lnTo>
                    <a:pt x="418" y="95"/>
                  </a:lnTo>
                  <a:lnTo>
                    <a:pt x="439" y="95"/>
                  </a:lnTo>
                  <a:lnTo>
                    <a:pt x="461" y="83"/>
                  </a:lnTo>
                  <a:lnTo>
                    <a:pt x="510" y="95"/>
                  </a:lnTo>
                  <a:lnTo>
                    <a:pt x="532" y="83"/>
                  </a:lnTo>
                  <a:lnTo>
                    <a:pt x="543" y="66"/>
                  </a:lnTo>
                  <a:lnTo>
                    <a:pt x="548" y="54"/>
                  </a:lnTo>
                  <a:lnTo>
                    <a:pt x="581" y="71"/>
                  </a:lnTo>
                  <a:lnTo>
                    <a:pt x="612" y="54"/>
                  </a:lnTo>
                  <a:lnTo>
                    <a:pt x="636" y="54"/>
                  </a:lnTo>
                  <a:lnTo>
                    <a:pt x="721" y="0"/>
                  </a:lnTo>
                  <a:lnTo>
                    <a:pt x="721" y="0"/>
                  </a:lnTo>
                  <a:lnTo>
                    <a:pt x="728" y="17"/>
                  </a:lnTo>
                  <a:lnTo>
                    <a:pt x="721" y="29"/>
                  </a:lnTo>
                  <a:lnTo>
                    <a:pt x="728" y="33"/>
                  </a:lnTo>
                  <a:lnTo>
                    <a:pt x="721" y="33"/>
                  </a:lnTo>
                  <a:lnTo>
                    <a:pt x="721" y="38"/>
                  </a:lnTo>
                  <a:lnTo>
                    <a:pt x="728" y="38"/>
                  </a:lnTo>
                  <a:lnTo>
                    <a:pt x="711" y="66"/>
                  </a:lnTo>
                  <a:lnTo>
                    <a:pt x="721" y="71"/>
                  </a:lnTo>
                  <a:lnTo>
                    <a:pt x="721" y="88"/>
                  </a:lnTo>
                  <a:lnTo>
                    <a:pt x="721" y="111"/>
                  </a:lnTo>
                  <a:lnTo>
                    <a:pt x="721" y="149"/>
                  </a:lnTo>
                  <a:lnTo>
                    <a:pt x="732" y="166"/>
                  </a:lnTo>
                  <a:lnTo>
                    <a:pt x="711" y="182"/>
                  </a:lnTo>
                  <a:lnTo>
                    <a:pt x="721" y="194"/>
                  </a:lnTo>
                  <a:lnTo>
                    <a:pt x="728" y="182"/>
                  </a:lnTo>
                  <a:lnTo>
                    <a:pt x="721" y="220"/>
                  </a:lnTo>
                  <a:lnTo>
                    <a:pt x="732" y="260"/>
                  </a:lnTo>
                  <a:lnTo>
                    <a:pt x="721" y="272"/>
                  </a:lnTo>
                  <a:lnTo>
                    <a:pt x="728" y="277"/>
                  </a:lnTo>
                  <a:lnTo>
                    <a:pt x="732" y="277"/>
                  </a:lnTo>
                  <a:lnTo>
                    <a:pt x="728" y="293"/>
                  </a:lnTo>
                  <a:lnTo>
                    <a:pt x="744" y="288"/>
                  </a:lnTo>
                  <a:lnTo>
                    <a:pt x="744" y="310"/>
                  </a:lnTo>
                  <a:lnTo>
                    <a:pt x="732" y="343"/>
                  </a:lnTo>
                  <a:lnTo>
                    <a:pt x="721" y="343"/>
                  </a:lnTo>
                  <a:lnTo>
                    <a:pt x="732" y="347"/>
                  </a:lnTo>
                  <a:lnTo>
                    <a:pt x="728" y="364"/>
                  </a:lnTo>
                  <a:lnTo>
                    <a:pt x="695" y="404"/>
                  </a:lnTo>
                  <a:lnTo>
                    <a:pt x="690" y="421"/>
                  </a:lnTo>
                  <a:lnTo>
                    <a:pt x="673" y="425"/>
                  </a:lnTo>
                  <a:lnTo>
                    <a:pt x="673" y="437"/>
                  </a:lnTo>
                  <a:lnTo>
                    <a:pt x="666" y="442"/>
                  </a:lnTo>
                  <a:lnTo>
                    <a:pt x="624" y="470"/>
                  </a:lnTo>
                  <a:lnTo>
                    <a:pt x="619" y="475"/>
                  </a:lnTo>
                  <a:lnTo>
                    <a:pt x="532" y="508"/>
                  </a:lnTo>
                  <a:lnTo>
                    <a:pt x="489" y="536"/>
                  </a:lnTo>
                  <a:lnTo>
                    <a:pt x="473" y="553"/>
                  </a:lnTo>
                  <a:lnTo>
                    <a:pt x="461" y="548"/>
                  </a:lnTo>
                  <a:lnTo>
                    <a:pt x="473" y="565"/>
                  </a:lnTo>
                  <a:lnTo>
                    <a:pt x="423" y="619"/>
                  </a:lnTo>
                  <a:lnTo>
                    <a:pt x="406" y="619"/>
                  </a:lnTo>
                  <a:lnTo>
                    <a:pt x="406" y="619"/>
                  </a:lnTo>
                  <a:lnTo>
                    <a:pt x="326" y="697"/>
                  </a:lnTo>
                  <a:lnTo>
                    <a:pt x="310" y="673"/>
                  </a:lnTo>
                  <a:lnTo>
                    <a:pt x="314" y="690"/>
                  </a:lnTo>
                  <a:lnTo>
                    <a:pt x="314" y="718"/>
                  </a:lnTo>
                  <a:lnTo>
                    <a:pt x="310" y="735"/>
                  </a:lnTo>
                  <a:lnTo>
                    <a:pt x="343" y="775"/>
                  </a:lnTo>
                  <a:lnTo>
                    <a:pt x="343" y="801"/>
                  </a:lnTo>
                  <a:lnTo>
                    <a:pt x="352" y="825"/>
                  </a:lnTo>
                  <a:lnTo>
                    <a:pt x="352" y="884"/>
                  </a:lnTo>
                  <a:lnTo>
                    <a:pt x="364" y="884"/>
                  </a:lnTo>
                  <a:lnTo>
                    <a:pt x="369" y="862"/>
                  </a:lnTo>
                  <a:lnTo>
                    <a:pt x="369" y="874"/>
                  </a:lnTo>
                  <a:lnTo>
                    <a:pt x="369" y="917"/>
                  </a:lnTo>
                  <a:lnTo>
                    <a:pt x="369" y="928"/>
                  </a:lnTo>
                  <a:lnTo>
                    <a:pt x="380" y="928"/>
                  </a:lnTo>
                  <a:lnTo>
                    <a:pt x="369" y="940"/>
                  </a:lnTo>
                  <a:lnTo>
                    <a:pt x="352" y="995"/>
                  </a:lnTo>
                  <a:lnTo>
                    <a:pt x="352" y="1006"/>
                  </a:lnTo>
                  <a:lnTo>
                    <a:pt x="369" y="990"/>
                  </a:lnTo>
                  <a:lnTo>
                    <a:pt x="369" y="1011"/>
                  </a:lnTo>
                  <a:lnTo>
                    <a:pt x="331" y="1051"/>
                  </a:lnTo>
                  <a:lnTo>
                    <a:pt x="239" y="1094"/>
                  </a:lnTo>
                  <a:lnTo>
                    <a:pt x="180" y="1134"/>
                  </a:lnTo>
                  <a:lnTo>
                    <a:pt x="163" y="1155"/>
                  </a:lnTo>
                  <a:lnTo>
                    <a:pt x="184" y="1177"/>
                  </a:lnTo>
                  <a:lnTo>
                    <a:pt x="191" y="1160"/>
                  </a:lnTo>
                  <a:lnTo>
                    <a:pt x="184" y="1226"/>
                  </a:lnTo>
                  <a:lnTo>
                    <a:pt x="130" y="1226"/>
                  </a:lnTo>
                  <a:lnTo>
                    <a:pt x="130" y="1172"/>
                  </a:lnTo>
                  <a:lnTo>
                    <a:pt x="125" y="1155"/>
                  </a:lnTo>
                  <a:lnTo>
                    <a:pt x="125" y="1040"/>
                  </a:lnTo>
                  <a:lnTo>
                    <a:pt x="113" y="1006"/>
                  </a:lnTo>
                  <a:lnTo>
                    <a:pt x="92" y="966"/>
                  </a:lnTo>
                  <a:lnTo>
                    <a:pt x="92" y="940"/>
                  </a:lnTo>
                  <a:lnTo>
                    <a:pt x="76" y="884"/>
                  </a:lnTo>
                  <a:lnTo>
                    <a:pt x="151" y="801"/>
                  </a:lnTo>
                  <a:lnTo>
                    <a:pt x="151" y="808"/>
                  </a:lnTo>
                  <a:lnTo>
                    <a:pt x="147" y="791"/>
                  </a:lnTo>
                  <a:lnTo>
                    <a:pt x="163" y="768"/>
                  </a:lnTo>
                  <a:lnTo>
                    <a:pt x="151" y="751"/>
                  </a:lnTo>
                  <a:lnTo>
                    <a:pt x="168" y="747"/>
                  </a:lnTo>
                  <a:lnTo>
                    <a:pt x="184" y="730"/>
                  </a:lnTo>
                  <a:lnTo>
                    <a:pt x="201" y="690"/>
                  </a:lnTo>
                  <a:lnTo>
                    <a:pt x="180" y="664"/>
                  </a:lnTo>
                  <a:lnTo>
                    <a:pt x="184" y="636"/>
                  </a:lnTo>
                  <a:lnTo>
                    <a:pt x="168" y="624"/>
                  </a:lnTo>
                  <a:lnTo>
                    <a:pt x="168" y="619"/>
                  </a:lnTo>
                  <a:lnTo>
                    <a:pt x="184" y="607"/>
                  </a:lnTo>
                  <a:lnTo>
                    <a:pt x="184" y="591"/>
                  </a:lnTo>
                  <a:lnTo>
                    <a:pt x="201" y="581"/>
                  </a:lnTo>
                  <a:lnTo>
                    <a:pt x="191" y="569"/>
                  </a:lnTo>
                  <a:lnTo>
                    <a:pt x="184" y="553"/>
                  </a:lnTo>
                  <a:lnTo>
                    <a:pt x="191" y="525"/>
                  </a:lnTo>
                  <a:lnTo>
                    <a:pt x="191" y="515"/>
                  </a:lnTo>
                  <a:lnTo>
                    <a:pt x="191" y="508"/>
                  </a:lnTo>
                  <a:lnTo>
                    <a:pt x="184" y="475"/>
                  </a:lnTo>
                  <a:lnTo>
                    <a:pt x="191" y="458"/>
                  </a:lnTo>
                  <a:lnTo>
                    <a:pt x="180" y="458"/>
                  </a:lnTo>
                  <a:lnTo>
                    <a:pt x="168" y="454"/>
                  </a:lnTo>
                  <a:lnTo>
                    <a:pt x="147" y="442"/>
                  </a:lnTo>
                  <a:lnTo>
                    <a:pt x="113" y="437"/>
                  </a:lnTo>
                  <a:lnTo>
                    <a:pt x="99" y="421"/>
                  </a:lnTo>
                  <a:lnTo>
                    <a:pt x="83" y="421"/>
                  </a:lnTo>
                  <a:lnTo>
                    <a:pt x="71" y="404"/>
                  </a:lnTo>
                  <a:lnTo>
                    <a:pt x="17" y="404"/>
                  </a:lnTo>
                  <a:lnTo>
                    <a:pt x="17" y="380"/>
                  </a:lnTo>
                  <a:lnTo>
                    <a:pt x="17" y="380"/>
                  </a:lnTo>
                  <a:lnTo>
                    <a:pt x="17" y="380"/>
                  </a:lnTo>
                  <a:close/>
                  <a:moveTo>
                    <a:pt x="678" y="437"/>
                  </a:moveTo>
                  <a:lnTo>
                    <a:pt x="673" y="425"/>
                  </a:lnTo>
                  <a:lnTo>
                    <a:pt x="678" y="425"/>
                  </a:lnTo>
                  <a:lnTo>
                    <a:pt x="678" y="437"/>
                  </a:lnTo>
                  <a:lnTo>
                    <a:pt x="678" y="437"/>
                  </a:lnTo>
                  <a:lnTo>
                    <a:pt x="678" y="437"/>
                  </a:lnTo>
                  <a:close/>
                  <a:moveTo>
                    <a:pt x="191" y="1160"/>
                  </a:moveTo>
                  <a:lnTo>
                    <a:pt x="184" y="1155"/>
                  </a:lnTo>
                  <a:lnTo>
                    <a:pt x="191" y="1155"/>
                  </a:lnTo>
                  <a:lnTo>
                    <a:pt x="191" y="1160"/>
                  </a:lnTo>
                  <a:lnTo>
                    <a:pt x="191" y="1160"/>
                  </a:lnTo>
                  <a:lnTo>
                    <a:pt x="191" y="116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77" name="Freeform 519">
              <a:extLst>
                <a:ext uri="{FF2B5EF4-FFF2-40B4-BE49-F238E27FC236}">
                  <a16:creationId xmlns:a16="http://schemas.microsoft.com/office/drawing/2014/main" id="{39D6F775-B042-4E3B-A55E-2622133A1DC5}"/>
                </a:ext>
              </a:extLst>
            </p:cNvPr>
            <p:cNvSpPr>
              <a:spLocks/>
            </p:cNvSpPr>
            <p:nvPr/>
          </p:nvSpPr>
          <p:spPr bwMode="gray">
            <a:xfrm>
              <a:off x="6729118" y="3355676"/>
              <a:ext cx="456953" cy="361899"/>
            </a:xfrm>
            <a:custGeom>
              <a:avLst/>
              <a:gdLst>
                <a:gd name="T0" fmla="*/ 194 w 1110"/>
                <a:gd name="T1" fmla="*/ 824 h 879"/>
                <a:gd name="T2" fmla="*/ 161 w 1110"/>
                <a:gd name="T3" fmla="*/ 862 h 879"/>
                <a:gd name="T4" fmla="*/ 144 w 1110"/>
                <a:gd name="T5" fmla="*/ 824 h 879"/>
                <a:gd name="T6" fmla="*/ 102 w 1110"/>
                <a:gd name="T7" fmla="*/ 808 h 879"/>
                <a:gd name="T8" fmla="*/ 64 w 1110"/>
                <a:gd name="T9" fmla="*/ 751 h 879"/>
                <a:gd name="T10" fmla="*/ 64 w 1110"/>
                <a:gd name="T11" fmla="*/ 742 h 879"/>
                <a:gd name="T12" fmla="*/ 31 w 1110"/>
                <a:gd name="T13" fmla="*/ 725 h 879"/>
                <a:gd name="T14" fmla="*/ 21 w 1110"/>
                <a:gd name="T15" fmla="*/ 685 h 879"/>
                <a:gd name="T16" fmla="*/ 9 w 1110"/>
                <a:gd name="T17" fmla="*/ 642 h 879"/>
                <a:gd name="T18" fmla="*/ 64 w 1110"/>
                <a:gd name="T19" fmla="*/ 631 h 879"/>
                <a:gd name="T20" fmla="*/ 198 w 1110"/>
                <a:gd name="T21" fmla="*/ 607 h 879"/>
                <a:gd name="T22" fmla="*/ 236 w 1110"/>
                <a:gd name="T23" fmla="*/ 607 h 879"/>
                <a:gd name="T24" fmla="*/ 264 w 1110"/>
                <a:gd name="T25" fmla="*/ 586 h 879"/>
                <a:gd name="T26" fmla="*/ 286 w 1110"/>
                <a:gd name="T27" fmla="*/ 531 h 879"/>
                <a:gd name="T28" fmla="*/ 399 w 1110"/>
                <a:gd name="T29" fmla="*/ 309 h 879"/>
                <a:gd name="T30" fmla="*/ 829 w 1110"/>
                <a:gd name="T31" fmla="*/ 0 h 879"/>
                <a:gd name="T32" fmla="*/ 987 w 1110"/>
                <a:gd name="T33" fmla="*/ 71 h 879"/>
                <a:gd name="T34" fmla="*/ 1056 w 1110"/>
                <a:gd name="T35" fmla="*/ 111 h 879"/>
                <a:gd name="T36" fmla="*/ 1089 w 1110"/>
                <a:gd name="T37" fmla="*/ 187 h 879"/>
                <a:gd name="T38" fmla="*/ 1110 w 1110"/>
                <a:gd name="T39" fmla="*/ 238 h 879"/>
                <a:gd name="T40" fmla="*/ 1077 w 1110"/>
                <a:gd name="T41" fmla="*/ 491 h 879"/>
                <a:gd name="T42" fmla="*/ 964 w 1110"/>
                <a:gd name="T43" fmla="*/ 631 h 879"/>
                <a:gd name="T44" fmla="*/ 933 w 1110"/>
                <a:gd name="T45" fmla="*/ 668 h 879"/>
                <a:gd name="T46" fmla="*/ 926 w 1110"/>
                <a:gd name="T47" fmla="*/ 725 h 879"/>
                <a:gd name="T48" fmla="*/ 895 w 1110"/>
                <a:gd name="T49" fmla="*/ 742 h 879"/>
                <a:gd name="T50" fmla="*/ 791 w 1110"/>
                <a:gd name="T51" fmla="*/ 751 h 879"/>
                <a:gd name="T52" fmla="*/ 701 w 1110"/>
                <a:gd name="T53" fmla="*/ 758 h 879"/>
                <a:gd name="T54" fmla="*/ 602 w 1110"/>
                <a:gd name="T55" fmla="*/ 779 h 879"/>
                <a:gd name="T56" fmla="*/ 539 w 1110"/>
                <a:gd name="T57" fmla="*/ 751 h 879"/>
                <a:gd name="T58" fmla="*/ 501 w 1110"/>
                <a:gd name="T59" fmla="*/ 775 h 879"/>
                <a:gd name="T60" fmla="*/ 479 w 1110"/>
                <a:gd name="T61" fmla="*/ 779 h 879"/>
                <a:gd name="T62" fmla="*/ 425 w 1110"/>
                <a:gd name="T63" fmla="*/ 735 h 879"/>
                <a:gd name="T64" fmla="*/ 361 w 1110"/>
                <a:gd name="T65" fmla="*/ 725 h 879"/>
                <a:gd name="T66" fmla="*/ 307 w 1110"/>
                <a:gd name="T67" fmla="*/ 725 h 879"/>
                <a:gd name="T68" fmla="*/ 279 w 1110"/>
                <a:gd name="T69" fmla="*/ 779 h 879"/>
                <a:gd name="T70" fmla="*/ 248 w 1110"/>
                <a:gd name="T71" fmla="*/ 812 h 879"/>
                <a:gd name="T72" fmla="*/ 253 w 1110"/>
                <a:gd name="T73" fmla="*/ 869 h 879"/>
                <a:gd name="T74" fmla="*/ 248 w 1110"/>
                <a:gd name="T75"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0" h="879">
                  <a:moveTo>
                    <a:pt x="248" y="879"/>
                  </a:moveTo>
                  <a:lnTo>
                    <a:pt x="194" y="824"/>
                  </a:lnTo>
                  <a:lnTo>
                    <a:pt x="161" y="836"/>
                  </a:lnTo>
                  <a:lnTo>
                    <a:pt x="161" y="862"/>
                  </a:lnTo>
                  <a:lnTo>
                    <a:pt x="139" y="829"/>
                  </a:lnTo>
                  <a:lnTo>
                    <a:pt x="144" y="824"/>
                  </a:lnTo>
                  <a:lnTo>
                    <a:pt x="139" y="808"/>
                  </a:lnTo>
                  <a:lnTo>
                    <a:pt x="102" y="808"/>
                  </a:lnTo>
                  <a:lnTo>
                    <a:pt x="64" y="775"/>
                  </a:lnTo>
                  <a:lnTo>
                    <a:pt x="64" y="751"/>
                  </a:lnTo>
                  <a:lnTo>
                    <a:pt x="85" y="758"/>
                  </a:lnTo>
                  <a:lnTo>
                    <a:pt x="64" y="742"/>
                  </a:lnTo>
                  <a:lnTo>
                    <a:pt x="64" y="742"/>
                  </a:lnTo>
                  <a:lnTo>
                    <a:pt x="31" y="725"/>
                  </a:lnTo>
                  <a:lnTo>
                    <a:pt x="14" y="697"/>
                  </a:lnTo>
                  <a:lnTo>
                    <a:pt x="21" y="685"/>
                  </a:lnTo>
                  <a:lnTo>
                    <a:pt x="0" y="668"/>
                  </a:lnTo>
                  <a:lnTo>
                    <a:pt x="9" y="642"/>
                  </a:lnTo>
                  <a:lnTo>
                    <a:pt x="9" y="631"/>
                  </a:lnTo>
                  <a:lnTo>
                    <a:pt x="64" y="631"/>
                  </a:lnTo>
                  <a:lnTo>
                    <a:pt x="85" y="614"/>
                  </a:lnTo>
                  <a:lnTo>
                    <a:pt x="198" y="607"/>
                  </a:lnTo>
                  <a:lnTo>
                    <a:pt x="210" y="602"/>
                  </a:lnTo>
                  <a:lnTo>
                    <a:pt x="236" y="607"/>
                  </a:lnTo>
                  <a:lnTo>
                    <a:pt x="236" y="590"/>
                  </a:lnTo>
                  <a:lnTo>
                    <a:pt x="264" y="586"/>
                  </a:lnTo>
                  <a:lnTo>
                    <a:pt x="279" y="536"/>
                  </a:lnTo>
                  <a:lnTo>
                    <a:pt x="286" y="531"/>
                  </a:lnTo>
                  <a:lnTo>
                    <a:pt x="290" y="326"/>
                  </a:lnTo>
                  <a:lnTo>
                    <a:pt x="399" y="309"/>
                  </a:lnTo>
                  <a:lnTo>
                    <a:pt x="517" y="198"/>
                  </a:lnTo>
                  <a:lnTo>
                    <a:pt x="829" y="0"/>
                  </a:lnTo>
                  <a:lnTo>
                    <a:pt x="938" y="21"/>
                  </a:lnTo>
                  <a:lnTo>
                    <a:pt x="987" y="71"/>
                  </a:lnTo>
                  <a:lnTo>
                    <a:pt x="1039" y="38"/>
                  </a:lnTo>
                  <a:lnTo>
                    <a:pt x="1056" y="111"/>
                  </a:lnTo>
                  <a:lnTo>
                    <a:pt x="1056" y="149"/>
                  </a:lnTo>
                  <a:lnTo>
                    <a:pt x="1089" y="187"/>
                  </a:lnTo>
                  <a:lnTo>
                    <a:pt x="1089" y="203"/>
                  </a:lnTo>
                  <a:lnTo>
                    <a:pt x="1110" y="238"/>
                  </a:lnTo>
                  <a:lnTo>
                    <a:pt x="1094" y="272"/>
                  </a:lnTo>
                  <a:lnTo>
                    <a:pt x="1077" y="491"/>
                  </a:lnTo>
                  <a:lnTo>
                    <a:pt x="1001" y="574"/>
                  </a:lnTo>
                  <a:lnTo>
                    <a:pt x="964" y="631"/>
                  </a:lnTo>
                  <a:lnTo>
                    <a:pt x="950" y="664"/>
                  </a:lnTo>
                  <a:lnTo>
                    <a:pt x="933" y="668"/>
                  </a:lnTo>
                  <a:lnTo>
                    <a:pt x="950" y="725"/>
                  </a:lnTo>
                  <a:lnTo>
                    <a:pt x="926" y="725"/>
                  </a:lnTo>
                  <a:lnTo>
                    <a:pt x="916" y="742"/>
                  </a:lnTo>
                  <a:lnTo>
                    <a:pt x="895" y="742"/>
                  </a:lnTo>
                  <a:lnTo>
                    <a:pt x="862" y="775"/>
                  </a:lnTo>
                  <a:lnTo>
                    <a:pt x="791" y="751"/>
                  </a:lnTo>
                  <a:lnTo>
                    <a:pt x="739" y="751"/>
                  </a:lnTo>
                  <a:lnTo>
                    <a:pt x="701" y="758"/>
                  </a:lnTo>
                  <a:lnTo>
                    <a:pt x="668" y="796"/>
                  </a:lnTo>
                  <a:lnTo>
                    <a:pt x="602" y="779"/>
                  </a:lnTo>
                  <a:lnTo>
                    <a:pt x="560" y="758"/>
                  </a:lnTo>
                  <a:lnTo>
                    <a:pt x="539" y="751"/>
                  </a:lnTo>
                  <a:lnTo>
                    <a:pt x="505" y="775"/>
                  </a:lnTo>
                  <a:lnTo>
                    <a:pt x="501" y="775"/>
                  </a:lnTo>
                  <a:lnTo>
                    <a:pt x="484" y="779"/>
                  </a:lnTo>
                  <a:lnTo>
                    <a:pt x="479" y="779"/>
                  </a:lnTo>
                  <a:lnTo>
                    <a:pt x="430" y="725"/>
                  </a:lnTo>
                  <a:lnTo>
                    <a:pt x="425" y="735"/>
                  </a:lnTo>
                  <a:lnTo>
                    <a:pt x="378" y="718"/>
                  </a:lnTo>
                  <a:lnTo>
                    <a:pt x="361" y="725"/>
                  </a:lnTo>
                  <a:lnTo>
                    <a:pt x="333" y="725"/>
                  </a:lnTo>
                  <a:lnTo>
                    <a:pt x="307" y="725"/>
                  </a:lnTo>
                  <a:lnTo>
                    <a:pt x="286" y="742"/>
                  </a:lnTo>
                  <a:lnTo>
                    <a:pt x="279" y="779"/>
                  </a:lnTo>
                  <a:lnTo>
                    <a:pt x="269" y="796"/>
                  </a:lnTo>
                  <a:lnTo>
                    <a:pt x="248" y="812"/>
                  </a:lnTo>
                  <a:lnTo>
                    <a:pt x="248" y="862"/>
                  </a:lnTo>
                  <a:lnTo>
                    <a:pt x="253" y="869"/>
                  </a:lnTo>
                  <a:lnTo>
                    <a:pt x="248" y="879"/>
                  </a:lnTo>
                  <a:lnTo>
                    <a:pt x="248" y="879"/>
                  </a:lnTo>
                  <a:lnTo>
                    <a:pt x="248" y="87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78" name="Freeform 521">
              <a:extLst>
                <a:ext uri="{FF2B5EF4-FFF2-40B4-BE49-F238E27FC236}">
                  <a16:creationId xmlns:a16="http://schemas.microsoft.com/office/drawing/2014/main" id="{806E958B-A94E-4E9B-9B32-6CA58C0DEAFB}"/>
                </a:ext>
              </a:extLst>
            </p:cNvPr>
            <p:cNvSpPr>
              <a:spLocks noEditPoints="1"/>
            </p:cNvSpPr>
            <p:nvPr/>
          </p:nvSpPr>
          <p:spPr bwMode="gray">
            <a:xfrm>
              <a:off x="6802807" y="3652111"/>
              <a:ext cx="346214" cy="288202"/>
            </a:xfrm>
            <a:custGeom>
              <a:avLst/>
              <a:gdLst>
                <a:gd name="T0" fmla="*/ 648 w 841"/>
                <a:gd name="T1" fmla="*/ 494 h 700"/>
                <a:gd name="T2" fmla="*/ 610 w 841"/>
                <a:gd name="T3" fmla="*/ 539 h 700"/>
                <a:gd name="T4" fmla="*/ 556 w 841"/>
                <a:gd name="T5" fmla="*/ 494 h 700"/>
                <a:gd name="T6" fmla="*/ 522 w 841"/>
                <a:gd name="T7" fmla="*/ 501 h 700"/>
                <a:gd name="T8" fmla="*/ 492 w 841"/>
                <a:gd name="T9" fmla="*/ 534 h 700"/>
                <a:gd name="T10" fmla="*/ 437 w 841"/>
                <a:gd name="T11" fmla="*/ 605 h 700"/>
                <a:gd name="T12" fmla="*/ 409 w 841"/>
                <a:gd name="T13" fmla="*/ 666 h 700"/>
                <a:gd name="T14" fmla="*/ 395 w 841"/>
                <a:gd name="T15" fmla="*/ 671 h 700"/>
                <a:gd name="T16" fmla="*/ 345 w 841"/>
                <a:gd name="T17" fmla="*/ 666 h 700"/>
                <a:gd name="T18" fmla="*/ 308 w 841"/>
                <a:gd name="T19" fmla="*/ 662 h 700"/>
                <a:gd name="T20" fmla="*/ 303 w 841"/>
                <a:gd name="T21" fmla="*/ 666 h 700"/>
                <a:gd name="T22" fmla="*/ 291 w 841"/>
                <a:gd name="T23" fmla="*/ 688 h 700"/>
                <a:gd name="T24" fmla="*/ 286 w 841"/>
                <a:gd name="T25" fmla="*/ 688 h 700"/>
                <a:gd name="T26" fmla="*/ 286 w 841"/>
                <a:gd name="T27" fmla="*/ 688 h 700"/>
                <a:gd name="T28" fmla="*/ 253 w 841"/>
                <a:gd name="T29" fmla="*/ 683 h 700"/>
                <a:gd name="T30" fmla="*/ 215 w 841"/>
                <a:gd name="T31" fmla="*/ 683 h 700"/>
                <a:gd name="T32" fmla="*/ 199 w 841"/>
                <a:gd name="T33" fmla="*/ 633 h 700"/>
                <a:gd name="T34" fmla="*/ 211 w 841"/>
                <a:gd name="T35" fmla="*/ 605 h 700"/>
                <a:gd name="T36" fmla="*/ 178 w 841"/>
                <a:gd name="T37" fmla="*/ 605 h 700"/>
                <a:gd name="T38" fmla="*/ 156 w 841"/>
                <a:gd name="T39" fmla="*/ 572 h 700"/>
                <a:gd name="T40" fmla="*/ 85 w 841"/>
                <a:gd name="T41" fmla="*/ 522 h 700"/>
                <a:gd name="T42" fmla="*/ 48 w 841"/>
                <a:gd name="T43" fmla="*/ 551 h 700"/>
                <a:gd name="T44" fmla="*/ 0 w 841"/>
                <a:gd name="T45" fmla="*/ 440 h 700"/>
                <a:gd name="T46" fmla="*/ 38 w 841"/>
                <a:gd name="T47" fmla="*/ 329 h 700"/>
                <a:gd name="T48" fmla="*/ 71 w 841"/>
                <a:gd name="T49" fmla="*/ 284 h 700"/>
                <a:gd name="T50" fmla="*/ 76 w 841"/>
                <a:gd name="T51" fmla="*/ 244 h 700"/>
                <a:gd name="T52" fmla="*/ 76 w 841"/>
                <a:gd name="T53" fmla="*/ 222 h 700"/>
                <a:gd name="T54" fmla="*/ 71 w 841"/>
                <a:gd name="T55" fmla="*/ 161 h 700"/>
                <a:gd name="T56" fmla="*/ 71 w 841"/>
                <a:gd name="T57" fmla="*/ 95 h 700"/>
                <a:gd name="T58" fmla="*/ 109 w 841"/>
                <a:gd name="T59" fmla="*/ 22 h 700"/>
                <a:gd name="T60" fmla="*/ 185 w 841"/>
                <a:gd name="T61" fmla="*/ 5 h 700"/>
                <a:gd name="T62" fmla="*/ 253 w 841"/>
                <a:gd name="T63" fmla="*/ 5 h 700"/>
                <a:gd name="T64" fmla="*/ 324 w 841"/>
                <a:gd name="T65" fmla="*/ 57 h 700"/>
                <a:gd name="T66" fmla="*/ 383 w 841"/>
                <a:gd name="T67" fmla="*/ 38 h 700"/>
                <a:gd name="T68" fmla="*/ 522 w 841"/>
                <a:gd name="T69" fmla="*/ 38 h 700"/>
                <a:gd name="T70" fmla="*/ 685 w 841"/>
                <a:gd name="T71" fmla="*/ 57 h 700"/>
                <a:gd name="T72" fmla="*/ 749 w 841"/>
                <a:gd name="T73" fmla="*/ 5 h 700"/>
                <a:gd name="T74" fmla="*/ 808 w 841"/>
                <a:gd name="T75" fmla="*/ 107 h 700"/>
                <a:gd name="T76" fmla="*/ 841 w 841"/>
                <a:gd name="T77" fmla="*/ 149 h 700"/>
                <a:gd name="T78" fmla="*/ 792 w 841"/>
                <a:gd name="T79" fmla="*/ 189 h 700"/>
                <a:gd name="T80" fmla="*/ 754 w 841"/>
                <a:gd name="T81" fmla="*/ 272 h 700"/>
                <a:gd name="T82" fmla="*/ 719 w 841"/>
                <a:gd name="T83" fmla="*/ 329 h 700"/>
                <a:gd name="T84" fmla="*/ 685 w 841"/>
                <a:gd name="T85" fmla="*/ 383 h 700"/>
                <a:gd name="T86" fmla="*/ 669 w 841"/>
                <a:gd name="T87" fmla="*/ 428 h 700"/>
                <a:gd name="T88" fmla="*/ 643 w 841"/>
                <a:gd name="T89" fmla="*/ 478 h 700"/>
                <a:gd name="T90" fmla="*/ 319 w 841"/>
                <a:gd name="T91" fmla="*/ 688 h 700"/>
                <a:gd name="T92" fmla="*/ 319 w 841"/>
                <a:gd name="T93" fmla="*/ 688 h 700"/>
                <a:gd name="T94" fmla="*/ 341 w 841"/>
                <a:gd name="T95" fmla="*/ 683 h 700"/>
                <a:gd name="T96" fmla="*/ 341 w 841"/>
                <a:gd name="T97" fmla="*/ 683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1" h="700">
                  <a:moveTo>
                    <a:pt x="643" y="478"/>
                  </a:moveTo>
                  <a:lnTo>
                    <a:pt x="643" y="478"/>
                  </a:lnTo>
                  <a:lnTo>
                    <a:pt x="648" y="494"/>
                  </a:lnTo>
                  <a:lnTo>
                    <a:pt x="626" y="506"/>
                  </a:lnTo>
                  <a:lnTo>
                    <a:pt x="626" y="522"/>
                  </a:lnTo>
                  <a:lnTo>
                    <a:pt x="610" y="539"/>
                  </a:lnTo>
                  <a:lnTo>
                    <a:pt x="593" y="539"/>
                  </a:lnTo>
                  <a:lnTo>
                    <a:pt x="593" y="518"/>
                  </a:lnTo>
                  <a:lnTo>
                    <a:pt x="556" y="494"/>
                  </a:lnTo>
                  <a:lnTo>
                    <a:pt x="556" y="506"/>
                  </a:lnTo>
                  <a:lnTo>
                    <a:pt x="534" y="506"/>
                  </a:lnTo>
                  <a:lnTo>
                    <a:pt x="522" y="501"/>
                  </a:lnTo>
                  <a:lnTo>
                    <a:pt x="506" y="518"/>
                  </a:lnTo>
                  <a:lnTo>
                    <a:pt x="501" y="518"/>
                  </a:lnTo>
                  <a:lnTo>
                    <a:pt x="492" y="534"/>
                  </a:lnTo>
                  <a:lnTo>
                    <a:pt x="471" y="551"/>
                  </a:lnTo>
                  <a:lnTo>
                    <a:pt x="437" y="577"/>
                  </a:lnTo>
                  <a:lnTo>
                    <a:pt x="437" y="605"/>
                  </a:lnTo>
                  <a:lnTo>
                    <a:pt x="433" y="629"/>
                  </a:lnTo>
                  <a:lnTo>
                    <a:pt x="416" y="662"/>
                  </a:lnTo>
                  <a:lnTo>
                    <a:pt x="409" y="666"/>
                  </a:lnTo>
                  <a:lnTo>
                    <a:pt x="395" y="650"/>
                  </a:lnTo>
                  <a:lnTo>
                    <a:pt x="400" y="666"/>
                  </a:lnTo>
                  <a:lnTo>
                    <a:pt x="395" y="671"/>
                  </a:lnTo>
                  <a:lnTo>
                    <a:pt x="357" y="683"/>
                  </a:lnTo>
                  <a:lnTo>
                    <a:pt x="345" y="671"/>
                  </a:lnTo>
                  <a:lnTo>
                    <a:pt x="345" y="666"/>
                  </a:lnTo>
                  <a:lnTo>
                    <a:pt x="341" y="671"/>
                  </a:lnTo>
                  <a:lnTo>
                    <a:pt x="324" y="671"/>
                  </a:lnTo>
                  <a:lnTo>
                    <a:pt x="308" y="662"/>
                  </a:lnTo>
                  <a:lnTo>
                    <a:pt x="319" y="683"/>
                  </a:lnTo>
                  <a:lnTo>
                    <a:pt x="308" y="683"/>
                  </a:lnTo>
                  <a:lnTo>
                    <a:pt x="303" y="666"/>
                  </a:lnTo>
                  <a:lnTo>
                    <a:pt x="303" y="666"/>
                  </a:lnTo>
                  <a:lnTo>
                    <a:pt x="308" y="688"/>
                  </a:lnTo>
                  <a:lnTo>
                    <a:pt x="291" y="688"/>
                  </a:lnTo>
                  <a:lnTo>
                    <a:pt x="291" y="662"/>
                  </a:lnTo>
                  <a:lnTo>
                    <a:pt x="291" y="688"/>
                  </a:lnTo>
                  <a:lnTo>
                    <a:pt x="286" y="688"/>
                  </a:lnTo>
                  <a:lnTo>
                    <a:pt x="286" y="671"/>
                  </a:lnTo>
                  <a:lnTo>
                    <a:pt x="286" y="683"/>
                  </a:lnTo>
                  <a:lnTo>
                    <a:pt x="286" y="688"/>
                  </a:lnTo>
                  <a:lnTo>
                    <a:pt x="253" y="700"/>
                  </a:lnTo>
                  <a:lnTo>
                    <a:pt x="265" y="683"/>
                  </a:lnTo>
                  <a:lnTo>
                    <a:pt x="253" y="683"/>
                  </a:lnTo>
                  <a:lnTo>
                    <a:pt x="248" y="688"/>
                  </a:lnTo>
                  <a:lnTo>
                    <a:pt x="237" y="700"/>
                  </a:lnTo>
                  <a:lnTo>
                    <a:pt x="215" y="683"/>
                  </a:lnTo>
                  <a:lnTo>
                    <a:pt x="199" y="650"/>
                  </a:lnTo>
                  <a:lnTo>
                    <a:pt x="194" y="633"/>
                  </a:lnTo>
                  <a:lnTo>
                    <a:pt x="199" y="633"/>
                  </a:lnTo>
                  <a:lnTo>
                    <a:pt x="194" y="633"/>
                  </a:lnTo>
                  <a:lnTo>
                    <a:pt x="194" y="617"/>
                  </a:lnTo>
                  <a:lnTo>
                    <a:pt x="211" y="605"/>
                  </a:lnTo>
                  <a:lnTo>
                    <a:pt x="199" y="612"/>
                  </a:lnTo>
                  <a:lnTo>
                    <a:pt x="185" y="612"/>
                  </a:lnTo>
                  <a:lnTo>
                    <a:pt x="178" y="605"/>
                  </a:lnTo>
                  <a:lnTo>
                    <a:pt x="199" y="593"/>
                  </a:lnTo>
                  <a:lnTo>
                    <a:pt x="178" y="605"/>
                  </a:lnTo>
                  <a:lnTo>
                    <a:pt x="156" y="572"/>
                  </a:lnTo>
                  <a:lnTo>
                    <a:pt x="130" y="551"/>
                  </a:lnTo>
                  <a:lnTo>
                    <a:pt x="55" y="539"/>
                  </a:lnTo>
                  <a:lnTo>
                    <a:pt x="85" y="522"/>
                  </a:lnTo>
                  <a:lnTo>
                    <a:pt x="60" y="534"/>
                  </a:lnTo>
                  <a:lnTo>
                    <a:pt x="60" y="534"/>
                  </a:lnTo>
                  <a:lnTo>
                    <a:pt x="48" y="551"/>
                  </a:lnTo>
                  <a:lnTo>
                    <a:pt x="5" y="551"/>
                  </a:lnTo>
                  <a:lnTo>
                    <a:pt x="5" y="494"/>
                  </a:lnTo>
                  <a:lnTo>
                    <a:pt x="0" y="440"/>
                  </a:lnTo>
                  <a:lnTo>
                    <a:pt x="5" y="350"/>
                  </a:lnTo>
                  <a:lnTo>
                    <a:pt x="34" y="350"/>
                  </a:lnTo>
                  <a:lnTo>
                    <a:pt x="38" y="329"/>
                  </a:lnTo>
                  <a:lnTo>
                    <a:pt x="55" y="300"/>
                  </a:lnTo>
                  <a:lnTo>
                    <a:pt x="48" y="296"/>
                  </a:lnTo>
                  <a:lnTo>
                    <a:pt x="71" y="284"/>
                  </a:lnTo>
                  <a:lnTo>
                    <a:pt x="76" y="272"/>
                  </a:lnTo>
                  <a:lnTo>
                    <a:pt x="71" y="260"/>
                  </a:lnTo>
                  <a:lnTo>
                    <a:pt x="76" y="244"/>
                  </a:lnTo>
                  <a:lnTo>
                    <a:pt x="85" y="255"/>
                  </a:lnTo>
                  <a:lnTo>
                    <a:pt x="85" y="239"/>
                  </a:lnTo>
                  <a:lnTo>
                    <a:pt x="76" y="222"/>
                  </a:lnTo>
                  <a:lnTo>
                    <a:pt x="76" y="201"/>
                  </a:lnTo>
                  <a:lnTo>
                    <a:pt x="60" y="173"/>
                  </a:lnTo>
                  <a:lnTo>
                    <a:pt x="71" y="161"/>
                  </a:lnTo>
                  <a:lnTo>
                    <a:pt x="76" y="149"/>
                  </a:lnTo>
                  <a:lnTo>
                    <a:pt x="71" y="144"/>
                  </a:lnTo>
                  <a:lnTo>
                    <a:pt x="71" y="95"/>
                  </a:lnTo>
                  <a:lnTo>
                    <a:pt x="93" y="78"/>
                  </a:lnTo>
                  <a:lnTo>
                    <a:pt x="102" y="62"/>
                  </a:lnTo>
                  <a:lnTo>
                    <a:pt x="109" y="22"/>
                  </a:lnTo>
                  <a:lnTo>
                    <a:pt x="130" y="5"/>
                  </a:lnTo>
                  <a:lnTo>
                    <a:pt x="156" y="5"/>
                  </a:lnTo>
                  <a:lnTo>
                    <a:pt x="185" y="5"/>
                  </a:lnTo>
                  <a:lnTo>
                    <a:pt x="199" y="0"/>
                  </a:lnTo>
                  <a:lnTo>
                    <a:pt x="248" y="17"/>
                  </a:lnTo>
                  <a:lnTo>
                    <a:pt x="253" y="5"/>
                  </a:lnTo>
                  <a:lnTo>
                    <a:pt x="303" y="62"/>
                  </a:lnTo>
                  <a:lnTo>
                    <a:pt x="308" y="62"/>
                  </a:lnTo>
                  <a:lnTo>
                    <a:pt x="324" y="57"/>
                  </a:lnTo>
                  <a:lnTo>
                    <a:pt x="329" y="57"/>
                  </a:lnTo>
                  <a:lnTo>
                    <a:pt x="362" y="33"/>
                  </a:lnTo>
                  <a:lnTo>
                    <a:pt x="383" y="38"/>
                  </a:lnTo>
                  <a:lnTo>
                    <a:pt x="426" y="62"/>
                  </a:lnTo>
                  <a:lnTo>
                    <a:pt x="492" y="78"/>
                  </a:lnTo>
                  <a:lnTo>
                    <a:pt x="522" y="38"/>
                  </a:lnTo>
                  <a:lnTo>
                    <a:pt x="560" y="33"/>
                  </a:lnTo>
                  <a:lnTo>
                    <a:pt x="615" y="33"/>
                  </a:lnTo>
                  <a:lnTo>
                    <a:pt x="685" y="57"/>
                  </a:lnTo>
                  <a:lnTo>
                    <a:pt x="719" y="22"/>
                  </a:lnTo>
                  <a:lnTo>
                    <a:pt x="740" y="22"/>
                  </a:lnTo>
                  <a:lnTo>
                    <a:pt x="749" y="5"/>
                  </a:lnTo>
                  <a:lnTo>
                    <a:pt x="771" y="5"/>
                  </a:lnTo>
                  <a:lnTo>
                    <a:pt x="804" y="57"/>
                  </a:lnTo>
                  <a:lnTo>
                    <a:pt x="808" y="107"/>
                  </a:lnTo>
                  <a:lnTo>
                    <a:pt x="830" y="111"/>
                  </a:lnTo>
                  <a:lnTo>
                    <a:pt x="841" y="116"/>
                  </a:lnTo>
                  <a:lnTo>
                    <a:pt x="841" y="149"/>
                  </a:lnTo>
                  <a:lnTo>
                    <a:pt x="841" y="168"/>
                  </a:lnTo>
                  <a:lnTo>
                    <a:pt x="808" y="189"/>
                  </a:lnTo>
                  <a:lnTo>
                    <a:pt x="792" y="189"/>
                  </a:lnTo>
                  <a:lnTo>
                    <a:pt x="778" y="206"/>
                  </a:lnTo>
                  <a:lnTo>
                    <a:pt x="761" y="239"/>
                  </a:lnTo>
                  <a:lnTo>
                    <a:pt x="754" y="272"/>
                  </a:lnTo>
                  <a:lnTo>
                    <a:pt x="749" y="279"/>
                  </a:lnTo>
                  <a:lnTo>
                    <a:pt x="740" y="312"/>
                  </a:lnTo>
                  <a:lnTo>
                    <a:pt x="719" y="329"/>
                  </a:lnTo>
                  <a:lnTo>
                    <a:pt x="707" y="371"/>
                  </a:lnTo>
                  <a:lnTo>
                    <a:pt x="702" y="383"/>
                  </a:lnTo>
                  <a:lnTo>
                    <a:pt x="685" y="383"/>
                  </a:lnTo>
                  <a:lnTo>
                    <a:pt x="685" y="390"/>
                  </a:lnTo>
                  <a:lnTo>
                    <a:pt x="669" y="395"/>
                  </a:lnTo>
                  <a:lnTo>
                    <a:pt x="669" y="428"/>
                  </a:lnTo>
                  <a:lnTo>
                    <a:pt x="652" y="444"/>
                  </a:lnTo>
                  <a:lnTo>
                    <a:pt x="652" y="461"/>
                  </a:lnTo>
                  <a:lnTo>
                    <a:pt x="643" y="478"/>
                  </a:lnTo>
                  <a:lnTo>
                    <a:pt x="643" y="478"/>
                  </a:lnTo>
                  <a:lnTo>
                    <a:pt x="643" y="478"/>
                  </a:lnTo>
                  <a:close/>
                  <a:moveTo>
                    <a:pt x="319" y="688"/>
                  </a:moveTo>
                  <a:lnTo>
                    <a:pt x="324" y="671"/>
                  </a:lnTo>
                  <a:lnTo>
                    <a:pt x="329" y="683"/>
                  </a:lnTo>
                  <a:lnTo>
                    <a:pt x="319" y="688"/>
                  </a:lnTo>
                  <a:lnTo>
                    <a:pt x="319" y="688"/>
                  </a:lnTo>
                  <a:lnTo>
                    <a:pt x="319" y="688"/>
                  </a:lnTo>
                  <a:close/>
                  <a:moveTo>
                    <a:pt x="341" y="683"/>
                  </a:moveTo>
                  <a:lnTo>
                    <a:pt x="329" y="683"/>
                  </a:lnTo>
                  <a:lnTo>
                    <a:pt x="341" y="683"/>
                  </a:lnTo>
                  <a:lnTo>
                    <a:pt x="341" y="683"/>
                  </a:lnTo>
                  <a:lnTo>
                    <a:pt x="341" y="683"/>
                  </a:lnTo>
                  <a:lnTo>
                    <a:pt x="341" y="68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79" name="Freeform 537">
              <a:extLst>
                <a:ext uri="{FF2B5EF4-FFF2-40B4-BE49-F238E27FC236}">
                  <a16:creationId xmlns:a16="http://schemas.microsoft.com/office/drawing/2014/main" id="{7A194296-B0B4-4DDF-B08F-572AA529F701}"/>
                </a:ext>
              </a:extLst>
            </p:cNvPr>
            <p:cNvSpPr>
              <a:spLocks noEditPoints="1"/>
            </p:cNvSpPr>
            <p:nvPr/>
          </p:nvSpPr>
          <p:spPr bwMode="gray">
            <a:xfrm>
              <a:off x="6244993" y="3689166"/>
              <a:ext cx="88509" cy="51464"/>
            </a:xfrm>
            <a:custGeom>
              <a:avLst/>
              <a:gdLst>
                <a:gd name="T0" fmla="*/ 37 w 215"/>
                <a:gd name="T1" fmla="*/ 17 h 125"/>
                <a:gd name="T2" fmla="*/ 106 w 215"/>
                <a:gd name="T3" fmla="*/ 0 h 125"/>
                <a:gd name="T4" fmla="*/ 203 w 215"/>
                <a:gd name="T5" fmla="*/ 0 h 125"/>
                <a:gd name="T6" fmla="*/ 186 w 215"/>
                <a:gd name="T7" fmla="*/ 38 h 125"/>
                <a:gd name="T8" fmla="*/ 203 w 215"/>
                <a:gd name="T9" fmla="*/ 71 h 125"/>
                <a:gd name="T10" fmla="*/ 165 w 215"/>
                <a:gd name="T11" fmla="*/ 71 h 125"/>
                <a:gd name="T12" fmla="*/ 134 w 215"/>
                <a:gd name="T13" fmla="*/ 83 h 125"/>
                <a:gd name="T14" fmla="*/ 113 w 215"/>
                <a:gd name="T15" fmla="*/ 114 h 125"/>
                <a:gd name="T16" fmla="*/ 106 w 215"/>
                <a:gd name="T17" fmla="*/ 114 h 125"/>
                <a:gd name="T18" fmla="*/ 96 w 215"/>
                <a:gd name="T19" fmla="*/ 109 h 125"/>
                <a:gd name="T20" fmla="*/ 89 w 215"/>
                <a:gd name="T21" fmla="*/ 92 h 125"/>
                <a:gd name="T22" fmla="*/ 80 w 215"/>
                <a:gd name="T23" fmla="*/ 92 h 125"/>
                <a:gd name="T24" fmla="*/ 113 w 215"/>
                <a:gd name="T25" fmla="*/ 76 h 125"/>
                <a:gd name="T26" fmla="*/ 89 w 215"/>
                <a:gd name="T27" fmla="*/ 76 h 125"/>
                <a:gd name="T28" fmla="*/ 80 w 215"/>
                <a:gd name="T29" fmla="*/ 71 h 125"/>
                <a:gd name="T30" fmla="*/ 106 w 215"/>
                <a:gd name="T31" fmla="*/ 54 h 125"/>
                <a:gd name="T32" fmla="*/ 113 w 215"/>
                <a:gd name="T33" fmla="*/ 54 h 125"/>
                <a:gd name="T34" fmla="*/ 106 w 215"/>
                <a:gd name="T35" fmla="*/ 54 h 125"/>
                <a:gd name="T36" fmla="*/ 75 w 215"/>
                <a:gd name="T37" fmla="*/ 59 h 125"/>
                <a:gd name="T38" fmla="*/ 59 w 215"/>
                <a:gd name="T39" fmla="*/ 45 h 125"/>
                <a:gd name="T40" fmla="*/ 37 w 215"/>
                <a:gd name="T41" fmla="*/ 54 h 125"/>
                <a:gd name="T42" fmla="*/ 21 w 215"/>
                <a:gd name="T43" fmla="*/ 38 h 125"/>
                <a:gd name="T44" fmla="*/ 9 w 215"/>
                <a:gd name="T45" fmla="*/ 28 h 125"/>
                <a:gd name="T46" fmla="*/ 0 w 215"/>
                <a:gd name="T47" fmla="*/ 21 h 125"/>
                <a:gd name="T48" fmla="*/ 26 w 215"/>
                <a:gd name="T49" fmla="*/ 59 h 125"/>
                <a:gd name="T50" fmla="*/ 37 w 215"/>
                <a:gd name="T51" fmla="*/ 54 h 125"/>
                <a:gd name="T52" fmla="*/ 26 w 215"/>
                <a:gd name="T53" fmla="*/ 59 h 125"/>
                <a:gd name="T54" fmla="*/ 42 w 215"/>
                <a:gd name="T55" fmla="*/ 59 h 125"/>
                <a:gd name="T56" fmla="*/ 54 w 215"/>
                <a:gd name="T57" fmla="*/ 54 h 125"/>
                <a:gd name="T58" fmla="*/ 42 w 215"/>
                <a:gd name="T59" fmla="*/ 59 h 125"/>
                <a:gd name="T60" fmla="*/ 42 w 215"/>
                <a:gd name="T61" fmla="*/ 83 h 125"/>
                <a:gd name="T62" fmla="*/ 54 w 215"/>
                <a:gd name="T63" fmla="*/ 76 h 125"/>
                <a:gd name="T64" fmla="*/ 42 w 215"/>
                <a:gd name="T65" fmla="*/ 83 h 125"/>
                <a:gd name="T66" fmla="*/ 42 w 215"/>
                <a:gd name="T67" fmla="*/ 83 h 125"/>
                <a:gd name="T68" fmla="*/ 21 w 215"/>
                <a:gd name="T69" fmla="*/ 76 h 125"/>
                <a:gd name="T70" fmla="*/ 26 w 215"/>
                <a:gd name="T71" fmla="*/ 83 h 125"/>
                <a:gd name="T72" fmla="*/ 26 w 215"/>
                <a:gd name="T73" fmla="*/ 83 h 125"/>
                <a:gd name="T74" fmla="*/ 26 w 215"/>
                <a:gd name="T75" fmla="*/ 83 h 125"/>
                <a:gd name="T76" fmla="*/ 26 w 215"/>
                <a:gd name="T77" fmla="*/ 83 h 125"/>
                <a:gd name="T78" fmla="*/ 26 w 215"/>
                <a:gd name="T79" fmla="*/ 83 h 125"/>
                <a:gd name="T80" fmla="*/ 26 w 215"/>
                <a:gd name="T81" fmla="*/ 97 h 125"/>
                <a:gd name="T82" fmla="*/ 26 w 215"/>
                <a:gd name="T83" fmla="*/ 97 h 125"/>
                <a:gd name="T84" fmla="*/ 26 w 215"/>
                <a:gd name="T85" fmla="*/ 97 h 125"/>
                <a:gd name="T86" fmla="*/ 26 w 215"/>
                <a:gd name="T87" fmla="*/ 109 h 125"/>
                <a:gd name="T88" fmla="*/ 42 w 215"/>
                <a:gd name="T89" fmla="*/ 114 h 125"/>
                <a:gd name="T90" fmla="*/ 37 w 215"/>
                <a:gd name="T91" fmla="*/ 114 h 125"/>
                <a:gd name="T92" fmla="*/ 42 w 215"/>
                <a:gd name="T93" fmla="*/ 114 h 125"/>
                <a:gd name="T94" fmla="*/ 54 w 215"/>
                <a:gd name="T95" fmla="*/ 97 h 125"/>
                <a:gd name="T96" fmla="*/ 42 w 215"/>
                <a:gd name="T97" fmla="*/ 11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5" h="125">
                  <a:moveTo>
                    <a:pt x="0" y="21"/>
                  </a:moveTo>
                  <a:lnTo>
                    <a:pt x="37" y="17"/>
                  </a:lnTo>
                  <a:lnTo>
                    <a:pt x="63" y="17"/>
                  </a:lnTo>
                  <a:lnTo>
                    <a:pt x="106" y="0"/>
                  </a:lnTo>
                  <a:lnTo>
                    <a:pt x="165" y="0"/>
                  </a:lnTo>
                  <a:lnTo>
                    <a:pt x="203" y="0"/>
                  </a:lnTo>
                  <a:lnTo>
                    <a:pt x="215" y="21"/>
                  </a:lnTo>
                  <a:lnTo>
                    <a:pt x="186" y="38"/>
                  </a:lnTo>
                  <a:lnTo>
                    <a:pt x="203" y="45"/>
                  </a:lnTo>
                  <a:lnTo>
                    <a:pt x="203" y="71"/>
                  </a:lnTo>
                  <a:lnTo>
                    <a:pt x="186" y="71"/>
                  </a:lnTo>
                  <a:lnTo>
                    <a:pt x="165" y="71"/>
                  </a:lnTo>
                  <a:lnTo>
                    <a:pt x="148" y="76"/>
                  </a:lnTo>
                  <a:lnTo>
                    <a:pt x="134" y="83"/>
                  </a:lnTo>
                  <a:lnTo>
                    <a:pt x="113" y="125"/>
                  </a:lnTo>
                  <a:lnTo>
                    <a:pt x="113" y="114"/>
                  </a:lnTo>
                  <a:lnTo>
                    <a:pt x="113" y="97"/>
                  </a:lnTo>
                  <a:lnTo>
                    <a:pt x="106" y="114"/>
                  </a:lnTo>
                  <a:lnTo>
                    <a:pt x="106" y="97"/>
                  </a:lnTo>
                  <a:lnTo>
                    <a:pt x="96" y="109"/>
                  </a:lnTo>
                  <a:lnTo>
                    <a:pt x="89" y="109"/>
                  </a:lnTo>
                  <a:lnTo>
                    <a:pt x="89" y="92"/>
                  </a:lnTo>
                  <a:lnTo>
                    <a:pt x="96" y="83"/>
                  </a:lnTo>
                  <a:lnTo>
                    <a:pt x="80" y="92"/>
                  </a:lnTo>
                  <a:lnTo>
                    <a:pt x="96" y="76"/>
                  </a:lnTo>
                  <a:lnTo>
                    <a:pt x="113" y="76"/>
                  </a:lnTo>
                  <a:lnTo>
                    <a:pt x="96" y="71"/>
                  </a:lnTo>
                  <a:lnTo>
                    <a:pt x="89" y="76"/>
                  </a:lnTo>
                  <a:lnTo>
                    <a:pt x="89" y="71"/>
                  </a:lnTo>
                  <a:lnTo>
                    <a:pt x="80" y="71"/>
                  </a:lnTo>
                  <a:lnTo>
                    <a:pt x="89" y="54"/>
                  </a:lnTo>
                  <a:lnTo>
                    <a:pt x="106" y="54"/>
                  </a:lnTo>
                  <a:lnTo>
                    <a:pt x="118" y="59"/>
                  </a:lnTo>
                  <a:lnTo>
                    <a:pt x="113" y="54"/>
                  </a:lnTo>
                  <a:lnTo>
                    <a:pt x="118" y="45"/>
                  </a:lnTo>
                  <a:lnTo>
                    <a:pt x="106" y="54"/>
                  </a:lnTo>
                  <a:lnTo>
                    <a:pt x="89" y="45"/>
                  </a:lnTo>
                  <a:lnTo>
                    <a:pt x="75" y="59"/>
                  </a:lnTo>
                  <a:lnTo>
                    <a:pt x="54" y="59"/>
                  </a:lnTo>
                  <a:lnTo>
                    <a:pt x="59" y="45"/>
                  </a:lnTo>
                  <a:lnTo>
                    <a:pt x="63" y="45"/>
                  </a:lnTo>
                  <a:lnTo>
                    <a:pt x="37" y="54"/>
                  </a:lnTo>
                  <a:lnTo>
                    <a:pt x="26" y="54"/>
                  </a:lnTo>
                  <a:lnTo>
                    <a:pt x="21" y="38"/>
                  </a:lnTo>
                  <a:lnTo>
                    <a:pt x="42" y="21"/>
                  </a:lnTo>
                  <a:lnTo>
                    <a:pt x="9" y="28"/>
                  </a:lnTo>
                  <a:lnTo>
                    <a:pt x="0" y="21"/>
                  </a:lnTo>
                  <a:lnTo>
                    <a:pt x="0" y="21"/>
                  </a:lnTo>
                  <a:lnTo>
                    <a:pt x="0" y="21"/>
                  </a:lnTo>
                  <a:close/>
                  <a:moveTo>
                    <a:pt x="26" y="59"/>
                  </a:moveTo>
                  <a:lnTo>
                    <a:pt x="26" y="45"/>
                  </a:lnTo>
                  <a:lnTo>
                    <a:pt x="37" y="54"/>
                  </a:lnTo>
                  <a:lnTo>
                    <a:pt x="26" y="59"/>
                  </a:lnTo>
                  <a:lnTo>
                    <a:pt x="26" y="59"/>
                  </a:lnTo>
                  <a:lnTo>
                    <a:pt x="26" y="59"/>
                  </a:lnTo>
                  <a:close/>
                  <a:moveTo>
                    <a:pt x="42" y="59"/>
                  </a:moveTo>
                  <a:lnTo>
                    <a:pt x="37" y="54"/>
                  </a:lnTo>
                  <a:lnTo>
                    <a:pt x="54" y="54"/>
                  </a:lnTo>
                  <a:lnTo>
                    <a:pt x="42" y="59"/>
                  </a:lnTo>
                  <a:lnTo>
                    <a:pt x="42" y="59"/>
                  </a:lnTo>
                  <a:lnTo>
                    <a:pt x="42" y="59"/>
                  </a:lnTo>
                  <a:close/>
                  <a:moveTo>
                    <a:pt x="42" y="83"/>
                  </a:moveTo>
                  <a:lnTo>
                    <a:pt x="42" y="76"/>
                  </a:lnTo>
                  <a:lnTo>
                    <a:pt x="54" y="76"/>
                  </a:lnTo>
                  <a:lnTo>
                    <a:pt x="54" y="83"/>
                  </a:lnTo>
                  <a:lnTo>
                    <a:pt x="42" y="83"/>
                  </a:lnTo>
                  <a:lnTo>
                    <a:pt x="42" y="83"/>
                  </a:lnTo>
                  <a:lnTo>
                    <a:pt x="42" y="83"/>
                  </a:lnTo>
                  <a:close/>
                  <a:moveTo>
                    <a:pt x="26" y="83"/>
                  </a:moveTo>
                  <a:lnTo>
                    <a:pt x="21" y="76"/>
                  </a:lnTo>
                  <a:lnTo>
                    <a:pt x="26" y="76"/>
                  </a:lnTo>
                  <a:lnTo>
                    <a:pt x="26" y="83"/>
                  </a:lnTo>
                  <a:lnTo>
                    <a:pt x="26" y="83"/>
                  </a:lnTo>
                  <a:lnTo>
                    <a:pt x="26" y="83"/>
                  </a:lnTo>
                  <a:close/>
                  <a:moveTo>
                    <a:pt x="26" y="83"/>
                  </a:moveTo>
                  <a:lnTo>
                    <a:pt x="26" y="83"/>
                  </a:lnTo>
                  <a:lnTo>
                    <a:pt x="37" y="76"/>
                  </a:lnTo>
                  <a:lnTo>
                    <a:pt x="26" y="83"/>
                  </a:lnTo>
                  <a:lnTo>
                    <a:pt x="26" y="83"/>
                  </a:lnTo>
                  <a:lnTo>
                    <a:pt x="26" y="83"/>
                  </a:lnTo>
                  <a:close/>
                  <a:moveTo>
                    <a:pt x="26" y="97"/>
                  </a:moveTo>
                  <a:lnTo>
                    <a:pt x="26" y="97"/>
                  </a:lnTo>
                  <a:lnTo>
                    <a:pt x="37" y="97"/>
                  </a:lnTo>
                  <a:lnTo>
                    <a:pt x="26" y="97"/>
                  </a:lnTo>
                  <a:lnTo>
                    <a:pt x="26" y="97"/>
                  </a:lnTo>
                  <a:lnTo>
                    <a:pt x="26" y="97"/>
                  </a:lnTo>
                  <a:close/>
                  <a:moveTo>
                    <a:pt x="37" y="114"/>
                  </a:moveTo>
                  <a:lnTo>
                    <a:pt x="26" y="109"/>
                  </a:lnTo>
                  <a:lnTo>
                    <a:pt x="42" y="97"/>
                  </a:lnTo>
                  <a:lnTo>
                    <a:pt x="42" y="114"/>
                  </a:lnTo>
                  <a:lnTo>
                    <a:pt x="37" y="114"/>
                  </a:lnTo>
                  <a:lnTo>
                    <a:pt x="37" y="114"/>
                  </a:lnTo>
                  <a:lnTo>
                    <a:pt x="37" y="114"/>
                  </a:lnTo>
                  <a:close/>
                  <a:moveTo>
                    <a:pt x="42" y="114"/>
                  </a:moveTo>
                  <a:lnTo>
                    <a:pt x="42" y="109"/>
                  </a:lnTo>
                  <a:lnTo>
                    <a:pt x="54" y="97"/>
                  </a:lnTo>
                  <a:lnTo>
                    <a:pt x="42" y="114"/>
                  </a:lnTo>
                  <a:lnTo>
                    <a:pt x="42" y="114"/>
                  </a:lnTo>
                  <a:lnTo>
                    <a:pt x="42" y="11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80" name="Freeform 538">
              <a:extLst>
                <a:ext uri="{FF2B5EF4-FFF2-40B4-BE49-F238E27FC236}">
                  <a16:creationId xmlns:a16="http://schemas.microsoft.com/office/drawing/2014/main" id="{25BEE7AD-EF4E-43B0-A10F-37AAA36C170F}"/>
                </a:ext>
              </a:extLst>
            </p:cNvPr>
            <p:cNvSpPr>
              <a:spLocks/>
            </p:cNvSpPr>
            <p:nvPr/>
          </p:nvSpPr>
          <p:spPr bwMode="gray">
            <a:xfrm>
              <a:off x="8189722" y="3270861"/>
              <a:ext cx="26347" cy="52699"/>
            </a:xfrm>
            <a:custGeom>
              <a:avLst/>
              <a:gdLst>
                <a:gd name="T0" fmla="*/ 42 w 64"/>
                <a:gd name="T1" fmla="*/ 116 h 128"/>
                <a:gd name="T2" fmla="*/ 16 w 64"/>
                <a:gd name="T3" fmla="*/ 128 h 128"/>
                <a:gd name="T4" fmla="*/ 12 w 64"/>
                <a:gd name="T5" fmla="*/ 111 h 128"/>
                <a:gd name="T6" fmla="*/ 0 w 64"/>
                <a:gd name="T7" fmla="*/ 55 h 128"/>
                <a:gd name="T8" fmla="*/ 12 w 64"/>
                <a:gd name="T9" fmla="*/ 55 h 128"/>
                <a:gd name="T10" fmla="*/ 12 w 64"/>
                <a:gd name="T11" fmla="*/ 45 h 128"/>
                <a:gd name="T12" fmla="*/ 16 w 64"/>
                <a:gd name="T13" fmla="*/ 38 h 128"/>
                <a:gd name="T14" fmla="*/ 16 w 64"/>
                <a:gd name="T15" fmla="*/ 38 h 128"/>
                <a:gd name="T16" fmla="*/ 26 w 64"/>
                <a:gd name="T17" fmla="*/ 5 h 128"/>
                <a:gd name="T18" fmla="*/ 42 w 64"/>
                <a:gd name="T19" fmla="*/ 0 h 128"/>
                <a:gd name="T20" fmla="*/ 47 w 64"/>
                <a:gd name="T21" fmla="*/ 17 h 128"/>
                <a:gd name="T22" fmla="*/ 64 w 64"/>
                <a:gd name="T23" fmla="*/ 22 h 128"/>
                <a:gd name="T24" fmla="*/ 64 w 64"/>
                <a:gd name="T25" fmla="*/ 38 h 128"/>
                <a:gd name="T26" fmla="*/ 54 w 64"/>
                <a:gd name="T27" fmla="*/ 55 h 128"/>
                <a:gd name="T28" fmla="*/ 54 w 64"/>
                <a:gd name="T29" fmla="*/ 71 h 128"/>
                <a:gd name="T30" fmla="*/ 64 w 64"/>
                <a:gd name="T31" fmla="*/ 71 h 128"/>
                <a:gd name="T32" fmla="*/ 64 w 64"/>
                <a:gd name="T33" fmla="*/ 83 h 128"/>
                <a:gd name="T34" fmla="*/ 47 w 64"/>
                <a:gd name="T35" fmla="*/ 128 h 128"/>
                <a:gd name="T36" fmla="*/ 42 w 64"/>
                <a:gd name="T37" fmla="*/ 116 h 128"/>
                <a:gd name="T38" fmla="*/ 42 w 64"/>
                <a:gd name="T39" fmla="*/ 116 h 128"/>
                <a:gd name="T40" fmla="*/ 42 w 64"/>
                <a:gd name="T41" fmla="*/ 1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128">
                  <a:moveTo>
                    <a:pt x="42" y="116"/>
                  </a:moveTo>
                  <a:lnTo>
                    <a:pt x="16" y="128"/>
                  </a:lnTo>
                  <a:lnTo>
                    <a:pt x="12" y="111"/>
                  </a:lnTo>
                  <a:lnTo>
                    <a:pt x="0" y="55"/>
                  </a:lnTo>
                  <a:lnTo>
                    <a:pt x="12" y="55"/>
                  </a:lnTo>
                  <a:lnTo>
                    <a:pt x="12" y="45"/>
                  </a:lnTo>
                  <a:lnTo>
                    <a:pt x="16" y="38"/>
                  </a:lnTo>
                  <a:lnTo>
                    <a:pt x="16" y="38"/>
                  </a:lnTo>
                  <a:lnTo>
                    <a:pt x="26" y="5"/>
                  </a:lnTo>
                  <a:lnTo>
                    <a:pt x="42" y="0"/>
                  </a:lnTo>
                  <a:lnTo>
                    <a:pt x="47" y="17"/>
                  </a:lnTo>
                  <a:lnTo>
                    <a:pt x="64" y="22"/>
                  </a:lnTo>
                  <a:lnTo>
                    <a:pt x="64" y="38"/>
                  </a:lnTo>
                  <a:lnTo>
                    <a:pt x="54" y="55"/>
                  </a:lnTo>
                  <a:lnTo>
                    <a:pt x="54" y="71"/>
                  </a:lnTo>
                  <a:lnTo>
                    <a:pt x="64" y="71"/>
                  </a:lnTo>
                  <a:lnTo>
                    <a:pt x="64" y="83"/>
                  </a:lnTo>
                  <a:lnTo>
                    <a:pt x="47" y="128"/>
                  </a:lnTo>
                  <a:lnTo>
                    <a:pt x="42" y="116"/>
                  </a:lnTo>
                  <a:lnTo>
                    <a:pt x="42" y="116"/>
                  </a:lnTo>
                  <a:lnTo>
                    <a:pt x="42" y="11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81" name="Freeform 539">
              <a:extLst>
                <a:ext uri="{FF2B5EF4-FFF2-40B4-BE49-F238E27FC236}">
                  <a16:creationId xmlns:a16="http://schemas.microsoft.com/office/drawing/2014/main" id="{82175813-E874-4B1D-AEA0-6A8DA8846170}"/>
                </a:ext>
              </a:extLst>
            </p:cNvPr>
            <p:cNvSpPr>
              <a:spLocks/>
            </p:cNvSpPr>
            <p:nvPr/>
          </p:nvSpPr>
          <p:spPr bwMode="gray">
            <a:xfrm>
              <a:off x="8319811" y="4692929"/>
              <a:ext cx="19760" cy="15645"/>
            </a:xfrm>
            <a:custGeom>
              <a:avLst/>
              <a:gdLst>
                <a:gd name="T0" fmla="*/ 34 w 48"/>
                <a:gd name="T1" fmla="*/ 5 h 38"/>
                <a:gd name="T2" fmla="*/ 48 w 48"/>
                <a:gd name="T3" fmla="*/ 21 h 38"/>
                <a:gd name="T4" fmla="*/ 38 w 48"/>
                <a:gd name="T5" fmla="*/ 33 h 38"/>
                <a:gd name="T6" fmla="*/ 34 w 48"/>
                <a:gd name="T7" fmla="*/ 38 h 38"/>
                <a:gd name="T8" fmla="*/ 8 w 48"/>
                <a:gd name="T9" fmla="*/ 33 h 38"/>
                <a:gd name="T10" fmla="*/ 0 w 48"/>
                <a:gd name="T11" fmla="*/ 16 h 38"/>
                <a:gd name="T12" fmla="*/ 17 w 48"/>
                <a:gd name="T13" fmla="*/ 0 h 38"/>
                <a:gd name="T14" fmla="*/ 34 w 48"/>
                <a:gd name="T15" fmla="*/ 0 h 38"/>
                <a:gd name="T16" fmla="*/ 34 w 48"/>
                <a:gd name="T17" fmla="*/ 5 h 38"/>
                <a:gd name="T18" fmla="*/ 34 w 48"/>
                <a:gd name="T19" fmla="*/ 5 h 38"/>
                <a:gd name="T20" fmla="*/ 34 w 48"/>
                <a:gd name="T21"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38">
                  <a:moveTo>
                    <a:pt x="34" y="5"/>
                  </a:moveTo>
                  <a:lnTo>
                    <a:pt x="48" y="21"/>
                  </a:lnTo>
                  <a:lnTo>
                    <a:pt x="38" y="33"/>
                  </a:lnTo>
                  <a:lnTo>
                    <a:pt x="34" y="38"/>
                  </a:lnTo>
                  <a:lnTo>
                    <a:pt x="8" y="33"/>
                  </a:lnTo>
                  <a:lnTo>
                    <a:pt x="0" y="16"/>
                  </a:lnTo>
                  <a:lnTo>
                    <a:pt x="17" y="0"/>
                  </a:lnTo>
                  <a:lnTo>
                    <a:pt x="34" y="0"/>
                  </a:lnTo>
                  <a:lnTo>
                    <a:pt x="34" y="5"/>
                  </a:lnTo>
                  <a:lnTo>
                    <a:pt x="34" y="5"/>
                  </a:lnTo>
                  <a:lnTo>
                    <a:pt x="34" y="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82" name="Freeform 544">
              <a:extLst>
                <a:ext uri="{FF2B5EF4-FFF2-40B4-BE49-F238E27FC236}">
                  <a16:creationId xmlns:a16="http://schemas.microsoft.com/office/drawing/2014/main" id="{782C6918-6637-4A0F-8BA3-502E013ECDB1}"/>
                </a:ext>
              </a:extLst>
            </p:cNvPr>
            <p:cNvSpPr>
              <a:spLocks/>
            </p:cNvSpPr>
            <p:nvPr/>
          </p:nvSpPr>
          <p:spPr bwMode="gray">
            <a:xfrm>
              <a:off x="7557810" y="4095528"/>
              <a:ext cx="59281" cy="51876"/>
            </a:xfrm>
            <a:custGeom>
              <a:avLst/>
              <a:gdLst>
                <a:gd name="T0" fmla="*/ 16 w 144"/>
                <a:gd name="T1" fmla="*/ 126 h 126"/>
                <a:gd name="T2" fmla="*/ 9 w 144"/>
                <a:gd name="T3" fmla="*/ 119 h 126"/>
                <a:gd name="T4" fmla="*/ 0 w 144"/>
                <a:gd name="T5" fmla="*/ 97 h 126"/>
                <a:gd name="T6" fmla="*/ 21 w 144"/>
                <a:gd name="T7" fmla="*/ 88 h 126"/>
                <a:gd name="T8" fmla="*/ 21 w 144"/>
                <a:gd name="T9" fmla="*/ 64 h 126"/>
                <a:gd name="T10" fmla="*/ 30 w 144"/>
                <a:gd name="T11" fmla="*/ 43 h 126"/>
                <a:gd name="T12" fmla="*/ 54 w 144"/>
                <a:gd name="T13" fmla="*/ 26 h 126"/>
                <a:gd name="T14" fmla="*/ 68 w 144"/>
                <a:gd name="T15" fmla="*/ 26 h 126"/>
                <a:gd name="T16" fmla="*/ 85 w 144"/>
                <a:gd name="T17" fmla="*/ 34 h 126"/>
                <a:gd name="T18" fmla="*/ 106 w 144"/>
                <a:gd name="T19" fmla="*/ 0 h 126"/>
                <a:gd name="T20" fmla="*/ 118 w 144"/>
                <a:gd name="T21" fmla="*/ 0 h 126"/>
                <a:gd name="T22" fmla="*/ 122 w 144"/>
                <a:gd name="T23" fmla="*/ 26 h 126"/>
                <a:gd name="T24" fmla="*/ 129 w 144"/>
                <a:gd name="T25" fmla="*/ 34 h 126"/>
                <a:gd name="T26" fmla="*/ 139 w 144"/>
                <a:gd name="T27" fmla="*/ 50 h 126"/>
                <a:gd name="T28" fmla="*/ 139 w 144"/>
                <a:gd name="T29" fmla="*/ 64 h 126"/>
                <a:gd name="T30" fmla="*/ 144 w 144"/>
                <a:gd name="T31" fmla="*/ 71 h 126"/>
                <a:gd name="T32" fmla="*/ 139 w 144"/>
                <a:gd name="T33" fmla="*/ 97 h 126"/>
                <a:gd name="T34" fmla="*/ 122 w 144"/>
                <a:gd name="T35" fmla="*/ 97 h 126"/>
                <a:gd name="T36" fmla="*/ 106 w 144"/>
                <a:gd name="T37" fmla="*/ 97 h 126"/>
                <a:gd name="T38" fmla="*/ 92 w 144"/>
                <a:gd name="T39" fmla="*/ 104 h 126"/>
                <a:gd name="T40" fmla="*/ 75 w 144"/>
                <a:gd name="T41" fmla="*/ 97 h 126"/>
                <a:gd name="T42" fmla="*/ 68 w 144"/>
                <a:gd name="T43" fmla="*/ 126 h 126"/>
                <a:gd name="T44" fmla="*/ 37 w 144"/>
                <a:gd name="T45" fmla="*/ 126 h 126"/>
                <a:gd name="T46" fmla="*/ 37 w 144"/>
                <a:gd name="T47" fmla="*/ 119 h 126"/>
                <a:gd name="T48" fmla="*/ 21 w 144"/>
                <a:gd name="T49" fmla="*/ 109 h 126"/>
                <a:gd name="T50" fmla="*/ 16 w 144"/>
                <a:gd name="T51" fmla="*/ 109 h 126"/>
                <a:gd name="T52" fmla="*/ 16 w 144"/>
                <a:gd name="T53" fmla="*/ 126 h 126"/>
                <a:gd name="T54" fmla="*/ 16 w 144"/>
                <a:gd name="T55" fmla="*/ 126 h 126"/>
                <a:gd name="T56" fmla="*/ 16 w 144"/>
                <a:gd name="T5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26">
                  <a:moveTo>
                    <a:pt x="16" y="126"/>
                  </a:moveTo>
                  <a:lnTo>
                    <a:pt x="9" y="119"/>
                  </a:lnTo>
                  <a:lnTo>
                    <a:pt x="0" y="97"/>
                  </a:lnTo>
                  <a:lnTo>
                    <a:pt x="21" y="88"/>
                  </a:lnTo>
                  <a:lnTo>
                    <a:pt x="21" y="64"/>
                  </a:lnTo>
                  <a:lnTo>
                    <a:pt x="30" y="43"/>
                  </a:lnTo>
                  <a:lnTo>
                    <a:pt x="54" y="26"/>
                  </a:lnTo>
                  <a:lnTo>
                    <a:pt x="68" y="26"/>
                  </a:lnTo>
                  <a:lnTo>
                    <a:pt x="85" y="34"/>
                  </a:lnTo>
                  <a:lnTo>
                    <a:pt x="106" y="0"/>
                  </a:lnTo>
                  <a:lnTo>
                    <a:pt x="118" y="0"/>
                  </a:lnTo>
                  <a:lnTo>
                    <a:pt x="122" y="26"/>
                  </a:lnTo>
                  <a:lnTo>
                    <a:pt x="129" y="34"/>
                  </a:lnTo>
                  <a:lnTo>
                    <a:pt x="139" y="50"/>
                  </a:lnTo>
                  <a:lnTo>
                    <a:pt x="139" y="64"/>
                  </a:lnTo>
                  <a:lnTo>
                    <a:pt x="144" y="71"/>
                  </a:lnTo>
                  <a:lnTo>
                    <a:pt x="139" y="97"/>
                  </a:lnTo>
                  <a:lnTo>
                    <a:pt x="122" y="97"/>
                  </a:lnTo>
                  <a:lnTo>
                    <a:pt x="106" y="97"/>
                  </a:lnTo>
                  <a:lnTo>
                    <a:pt x="92" y="104"/>
                  </a:lnTo>
                  <a:lnTo>
                    <a:pt x="75" y="97"/>
                  </a:lnTo>
                  <a:lnTo>
                    <a:pt x="68" y="126"/>
                  </a:lnTo>
                  <a:lnTo>
                    <a:pt x="37" y="126"/>
                  </a:lnTo>
                  <a:lnTo>
                    <a:pt x="37" y="119"/>
                  </a:lnTo>
                  <a:lnTo>
                    <a:pt x="21" y="109"/>
                  </a:lnTo>
                  <a:lnTo>
                    <a:pt x="16" y="109"/>
                  </a:lnTo>
                  <a:lnTo>
                    <a:pt x="16" y="126"/>
                  </a:lnTo>
                  <a:lnTo>
                    <a:pt x="16" y="126"/>
                  </a:lnTo>
                  <a:lnTo>
                    <a:pt x="16" y="1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83" name="Freeform 545">
              <a:extLst>
                <a:ext uri="{FF2B5EF4-FFF2-40B4-BE49-F238E27FC236}">
                  <a16:creationId xmlns:a16="http://schemas.microsoft.com/office/drawing/2014/main" id="{E850E075-F7F3-4CED-89F4-63A35BABEB08}"/>
                </a:ext>
              </a:extLst>
            </p:cNvPr>
            <p:cNvSpPr>
              <a:spLocks noEditPoints="1"/>
            </p:cNvSpPr>
            <p:nvPr/>
          </p:nvSpPr>
          <p:spPr bwMode="gray">
            <a:xfrm>
              <a:off x="7722065" y="3076532"/>
              <a:ext cx="610507" cy="521233"/>
            </a:xfrm>
            <a:custGeom>
              <a:avLst/>
              <a:gdLst>
                <a:gd name="T0" fmla="*/ 997 w 1483"/>
                <a:gd name="T1" fmla="*/ 1070 h 1266"/>
                <a:gd name="T2" fmla="*/ 694 w 1483"/>
                <a:gd name="T3" fmla="*/ 1139 h 1266"/>
                <a:gd name="T4" fmla="*/ 619 w 1483"/>
                <a:gd name="T5" fmla="*/ 1127 h 1266"/>
                <a:gd name="T6" fmla="*/ 609 w 1483"/>
                <a:gd name="T7" fmla="*/ 1193 h 1266"/>
                <a:gd name="T8" fmla="*/ 581 w 1483"/>
                <a:gd name="T9" fmla="*/ 1209 h 1266"/>
                <a:gd name="T10" fmla="*/ 567 w 1483"/>
                <a:gd name="T11" fmla="*/ 1172 h 1266"/>
                <a:gd name="T12" fmla="*/ 550 w 1483"/>
                <a:gd name="T13" fmla="*/ 1127 h 1266"/>
                <a:gd name="T14" fmla="*/ 475 w 1483"/>
                <a:gd name="T15" fmla="*/ 1044 h 1266"/>
                <a:gd name="T16" fmla="*/ 463 w 1483"/>
                <a:gd name="T17" fmla="*/ 1011 h 1266"/>
                <a:gd name="T18" fmla="*/ 441 w 1483"/>
                <a:gd name="T19" fmla="*/ 971 h 1266"/>
                <a:gd name="T20" fmla="*/ 378 w 1483"/>
                <a:gd name="T21" fmla="*/ 921 h 1266"/>
                <a:gd name="T22" fmla="*/ 323 w 1483"/>
                <a:gd name="T23" fmla="*/ 860 h 1266"/>
                <a:gd name="T24" fmla="*/ 312 w 1483"/>
                <a:gd name="T25" fmla="*/ 805 h 1266"/>
                <a:gd name="T26" fmla="*/ 278 w 1483"/>
                <a:gd name="T27" fmla="*/ 654 h 1266"/>
                <a:gd name="T28" fmla="*/ 189 w 1483"/>
                <a:gd name="T29" fmla="*/ 572 h 1266"/>
                <a:gd name="T30" fmla="*/ 172 w 1483"/>
                <a:gd name="T31" fmla="*/ 510 h 1266"/>
                <a:gd name="T32" fmla="*/ 156 w 1483"/>
                <a:gd name="T33" fmla="*/ 489 h 1266"/>
                <a:gd name="T34" fmla="*/ 47 w 1483"/>
                <a:gd name="T35" fmla="*/ 326 h 1266"/>
                <a:gd name="T36" fmla="*/ 0 w 1483"/>
                <a:gd name="T37" fmla="*/ 321 h 1266"/>
                <a:gd name="T38" fmla="*/ 106 w 1483"/>
                <a:gd name="T39" fmla="*/ 239 h 1266"/>
                <a:gd name="T40" fmla="*/ 210 w 1483"/>
                <a:gd name="T41" fmla="*/ 177 h 1266"/>
                <a:gd name="T42" fmla="*/ 172 w 1483"/>
                <a:gd name="T43" fmla="*/ 50 h 1266"/>
                <a:gd name="T44" fmla="*/ 408 w 1483"/>
                <a:gd name="T45" fmla="*/ 17 h 1266"/>
                <a:gd name="T46" fmla="*/ 718 w 1483"/>
                <a:gd name="T47" fmla="*/ 239 h 1266"/>
                <a:gd name="T48" fmla="*/ 928 w 1483"/>
                <a:gd name="T49" fmla="*/ 288 h 1266"/>
                <a:gd name="T50" fmla="*/ 987 w 1483"/>
                <a:gd name="T51" fmla="*/ 326 h 1266"/>
                <a:gd name="T52" fmla="*/ 1004 w 1483"/>
                <a:gd name="T53" fmla="*/ 345 h 1266"/>
                <a:gd name="T54" fmla="*/ 1034 w 1483"/>
                <a:gd name="T55" fmla="*/ 378 h 1266"/>
                <a:gd name="T56" fmla="*/ 1051 w 1483"/>
                <a:gd name="T57" fmla="*/ 387 h 1266"/>
                <a:gd name="T58" fmla="*/ 1089 w 1483"/>
                <a:gd name="T59" fmla="*/ 432 h 1266"/>
                <a:gd name="T60" fmla="*/ 1105 w 1483"/>
                <a:gd name="T61" fmla="*/ 461 h 1266"/>
                <a:gd name="T62" fmla="*/ 1089 w 1483"/>
                <a:gd name="T63" fmla="*/ 489 h 1266"/>
                <a:gd name="T64" fmla="*/ 1122 w 1483"/>
                <a:gd name="T65" fmla="*/ 531 h 1266"/>
                <a:gd name="T66" fmla="*/ 1143 w 1483"/>
                <a:gd name="T67" fmla="*/ 583 h 1266"/>
                <a:gd name="T68" fmla="*/ 1176 w 1483"/>
                <a:gd name="T69" fmla="*/ 588 h 1266"/>
                <a:gd name="T70" fmla="*/ 1186 w 1483"/>
                <a:gd name="T71" fmla="*/ 600 h 1266"/>
                <a:gd name="T72" fmla="*/ 1197 w 1483"/>
                <a:gd name="T73" fmla="*/ 626 h 1266"/>
                <a:gd name="T74" fmla="*/ 1450 w 1483"/>
                <a:gd name="T75" fmla="*/ 737 h 1266"/>
                <a:gd name="T76" fmla="*/ 1436 w 1483"/>
                <a:gd name="T77" fmla="*/ 938 h 1266"/>
                <a:gd name="T78" fmla="*/ 9 w 1483"/>
                <a:gd name="T79" fmla="*/ 333 h 1266"/>
                <a:gd name="T80" fmla="*/ 0 w 1483"/>
                <a:gd name="T81" fmla="*/ 326 h 1266"/>
                <a:gd name="T82" fmla="*/ 1051 w 1483"/>
                <a:gd name="T83" fmla="*/ 383 h 1266"/>
                <a:gd name="T84" fmla="*/ 1051 w 1483"/>
                <a:gd name="T85" fmla="*/ 383 h 1266"/>
                <a:gd name="T86" fmla="*/ 517 w 1483"/>
                <a:gd name="T87" fmla="*/ 1172 h 1266"/>
                <a:gd name="T88" fmla="*/ 517 w 1483"/>
                <a:gd name="T89" fmla="*/ 1172 h 1266"/>
                <a:gd name="T90" fmla="*/ 517 w 1483"/>
                <a:gd name="T91" fmla="*/ 1172 h 1266"/>
                <a:gd name="T92" fmla="*/ 512 w 1483"/>
                <a:gd name="T93" fmla="*/ 1181 h 1266"/>
                <a:gd name="T94" fmla="*/ 529 w 1483"/>
                <a:gd name="T95" fmla="*/ 1181 h 1266"/>
                <a:gd name="T96" fmla="*/ 534 w 1483"/>
                <a:gd name="T97" fmla="*/ 1200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3" h="1266">
                  <a:moveTo>
                    <a:pt x="1436" y="938"/>
                  </a:moveTo>
                  <a:lnTo>
                    <a:pt x="1230" y="1016"/>
                  </a:lnTo>
                  <a:lnTo>
                    <a:pt x="997" y="1070"/>
                  </a:lnTo>
                  <a:lnTo>
                    <a:pt x="824" y="1266"/>
                  </a:lnTo>
                  <a:lnTo>
                    <a:pt x="824" y="1193"/>
                  </a:lnTo>
                  <a:lnTo>
                    <a:pt x="694" y="1139"/>
                  </a:lnTo>
                  <a:lnTo>
                    <a:pt x="656" y="1143"/>
                  </a:lnTo>
                  <a:lnTo>
                    <a:pt x="635" y="1127"/>
                  </a:lnTo>
                  <a:lnTo>
                    <a:pt x="619" y="1127"/>
                  </a:lnTo>
                  <a:lnTo>
                    <a:pt x="609" y="1139"/>
                  </a:lnTo>
                  <a:lnTo>
                    <a:pt x="604" y="1172"/>
                  </a:lnTo>
                  <a:lnTo>
                    <a:pt x="609" y="1193"/>
                  </a:lnTo>
                  <a:lnTo>
                    <a:pt x="604" y="1193"/>
                  </a:lnTo>
                  <a:lnTo>
                    <a:pt x="593" y="1200"/>
                  </a:lnTo>
                  <a:lnTo>
                    <a:pt x="581" y="1209"/>
                  </a:lnTo>
                  <a:lnTo>
                    <a:pt x="581" y="1193"/>
                  </a:lnTo>
                  <a:lnTo>
                    <a:pt x="567" y="1176"/>
                  </a:lnTo>
                  <a:lnTo>
                    <a:pt x="567" y="1172"/>
                  </a:lnTo>
                  <a:lnTo>
                    <a:pt x="555" y="1155"/>
                  </a:lnTo>
                  <a:lnTo>
                    <a:pt x="550" y="1160"/>
                  </a:lnTo>
                  <a:lnTo>
                    <a:pt x="550" y="1127"/>
                  </a:lnTo>
                  <a:lnTo>
                    <a:pt x="500" y="1098"/>
                  </a:lnTo>
                  <a:lnTo>
                    <a:pt x="484" y="1061"/>
                  </a:lnTo>
                  <a:lnTo>
                    <a:pt x="475" y="1044"/>
                  </a:lnTo>
                  <a:lnTo>
                    <a:pt x="475" y="1028"/>
                  </a:lnTo>
                  <a:lnTo>
                    <a:pt x="463" y="1016"/>
                  </a:lnTo>
                  <a:lnTo>
                    <a:pt x="463" y="1011"/>
                  </a:lnTo>
                  <a:lnTo>
                    <a:pt x="458" y="1004"/>
                  </a:lnTo>
                  <a:lnTo>
                    <a:pt x="446" y="987"/>
                  </a:lnTo>
                  <a:lnTo>
                    <a:pt x="441" y="971"/>
                  </a:lnTo>
                  <a:lnTo>
                    <a:pt x="441" y="959"/>
                  </a:lnTo>
                  <a:lnTo>
                    <a:pt x="392" y="921"/>
                  </a:lnTo>
                  <a:lnTo>
                    <a:pt x="378" y="921"/>
                  </a:lnTo>
                  <a:lnTo>
                    <a:pt x="366" y="905"/>
                  </a:lnTo>
                  <a:lnTo>
                    <a:pt x="349" y="883"/>
                  </a:lnTo>
                  <a:lnTo>
                    <a:pt x="323" y="860"/>
                  </a:lnTo>
                  <a:lnTo>
                    <a:pt x="323" y="843"/>
                  </a:lnTo>
                  <a:lnTo>
                    <a:pt x="323" y="827"/>
                  </a:lnTo>
                  <a:lnTo>
                    <a:pt x="312" y="805"/>
                  </a:lnTo>
                  <a:lnTo>
                    <a:pt x="323" y="765"/>
                  </a:lnTo>
                  <a:lnTo>
                    <a:pt x="316" y="749"/>
                  </a:lnTo>
                  <a:lnTo>
                    <a:pt x="278" y="654"/>
                  </a:lnTo>
                  <a:lnTo>
                    <a:pt x="257" y="638"/>
                  </a:lnTo>
                  <a:lnTo>
                    <a:pt x="203" y="609"/>
                  </a:lnTo>
                  <a:lnTo>
                    <a:pt x="189" y="572"/>
                  </a:lnTo>
                  <a:lnTo>
                    <a:pt x="193" y="572"/>
                  </a:lnTo>
                  <a:lnTo>
                    <a:pt x="189" y="548"/>
                  </a:lnTo>
                  <a:lnTo>
                    <a:pt x="172" y="510"/>
                  </a:lnTo>
                  <a:lnTo>
                    <a:pt x="156" y="498"/>
                  </a:lnTo>
                  <a:lnTo>
                    <a:pt x="151" y="494"/>
                  </a:lnTo>
                  <a:lnTo>
                    <a:pt x="156" y="489"/>
                  </a:lnTo>
                  <a:lnTo>
                    <a:pt x="139" y="477"/>
                  </a:lnTo>
                  <a:lnTo>
                    <a:pt x="118" y="437"/>
                  </a:lnTo>
                  <a:lnTo>
                    <a:pt x="47" y="326"/>
                  </a:lnTo>
                  <a:lnTo>
                    <a:pt x="14" y="321"/>
                  </a:lnTo>
                  <a:lnTo>
                    <a:pt x="9" y="326"/>
                  </a:lnTo>
                  <a:lnTo>
                    <a:pt x="0" y="321"/>
                  </a:lnTo>
                  <a:lnTo>
                    <a:pt x="14" y="288"/>
                  </a:lnTo>
                  <a:lnTo>
                    <a:pt x="30" y="222"/>
                  </a:lnTo>
                  <a:lnTo>
                    <a:pt x="106" y="239"/>
                  </a:lnTo>
                  <a:lnTo>
                    <a:pt x="139" y="215"/>
                  </a:lnTo>
                  <a:lnTo>
                    <a:pt x="156" y="182"/>
                  </a:lnTo>
                  <a:lnTo>
                    <a:pt x="210" y="177"/>
                  </a:lnTo>
                  <a:lnTo>
                    <a:pt x="215" y="144"/>
                  </a:lnTo>
                  <a:lnTo>
                    <a:pt x="241" y="139"/>
                  </a:lnTo>
                  <a:lnTo>
                    <a:pt x="172" y="50"/>
                  </a:lnTo>
                  <a:lnTo>
                    <a:pt x="316" y="9"/>
                  </a:lnTo>
                  <a:lnTo>
                    <a:pt x="323" y="0"/>
                  </a:lnTo>
                  <a:lnTo>
                    <a:pt x="408" y="17"/>
                  </a:lnTo>
                  <a:lnTo>
                    <a:pt x="484" y="66"/>
                  </a:lnTo>
                  <a:lnTo>
                    <a:pt x="534" y="83"/>
                  </a:lnTo>
                  <a:lnTo>
                    <a:pt x="718" y="239"/>
                  </a:lnTo>
                  <a:lnTo>
                    <a:pt x="841" y="239"/>
                  </a:lnTo>
                  <a:lnTo>
                    <a:pt x="907" y="250"/>
                  </a:lnTo>
                  <a:lnTo>
                    <a:pt x="928" y="288"/>
                  </a:lnTo>
                  <a:lnTo>
                    <a:pt x="971" y="288"/>
                  </a:lnTo>
                  <a:lnTo>
                    <a:pt x="982" y="288"/>
                  </a:lnTo>
                  <a:lnTo>
                    <a:pt x="987" y="326"/>
                  </a:lnTo>
                  <a:lnTo>
                    <a:pt x="1004" y="345"/>
                  </a:lnTo>
                  <a:lnTo>
                    <a:pt x="1004" y="350"/>
                  </a:lnTo>
                  <a:lnTo>
                    <a:pt x="1004" y="345"/>
                  </a:lnTo>
                  <a:lnTo>
                    <a:pt x="1004" y="361"/>
                  </a:lnTo>
                  <a:lnTo>
                    <a:pt x="1034" y="366"/>
                  </a:lnTo>
                  <a:lnTo>
                    <a:pt x="1034" y="378"/>
                  </a:lnTo>
                  <a:lnTo>
                    <a:pt x="1025" y="378"/>
                  </a:lnTo>
                  <a:lnTo>
                    <a:pt x="1041" y="399"/>
                  </a:lnTo>
                  <a:lnTo>
                    <a:pt x="1051" y="387"/>
                  </a:lnTo>
                  <a:lnTo>
                    <a:pt x="1067" y="404"/>
                  </a:lnTo>
                  <a:lnTo>
                    <a:pt x="1096" y="437"/>
                  </a:lnTo>
                  <a:lnTo>
                    <a:pt x="1089" y="432"/>
                  </a:lnTo>
                  <a:lnTo>
                    <a:pt x="1089" y="444"/>
                  </a:lnTo>
                  <a:lnTo>
                    <a:pt x="1096" y="456"/>
                  </a:lnTo>
                  <a:lnTo>
                    <a:pt x="1105" y="461"/>
                  </a:lnTo>
                  <a:lnTo>
                    <a:pt x="1096" y="477"/>
                  </a:lnTo>
                  <a:lnTo>
                    <a:pt x="1089" y="472"/>
                  </a:lnTo>
                  <a:lnTo>
                    <a:pt x="1089" y="489"/>
                  </a:lnTo>
                  <a:lnTo>
                    <a:pt x="1105" y="515"/>
                  </a:lnTo>
                  <a:lnTo>
                    <a:pt x="1096" y="510"/>
                  </a:lnTo>
                  <a:lnTo>
                    <a:pt x="1122" y="531"/>
                  </a:lnTo>
                  <a:lnTo>
                    <a:pt x="1126" y="555"/>
                  </a:lnTo>
                  <a:lnTo>
                    <a:pt x="1143" y="583"/>
                  </a:lnTo>
                  <a:lnTo>
                    <a:pt x="1143" y="583"/>
                  </a:lnTo>
                  <a:lnTo>
                    <a:pt x="1148" y="600"/>
                  </a:lnTo>
                  <a:lnTo>
                    <a:pt x="1176" y="588"/>
                  </a:lnTo>
                  <a:lnTo>
                    <a:pt x="1176" y="588"/>
                  </a:lnTo>
                  <a:lnTo>
                    <a:pt x="1176" y="600"/>
                  </a:lnTo>
                  <a:lnTo>
                    <a:pt x="1181" y="588"/>
                  </a:lnTo>
                  <a:lnTo>
                    <a:pt x="1186" y="600"/>
                  </a:lnTo>
                  <a:lnTo>
                    <a:pt x="1176" y="609"/>
                  </a:lnTo>
                  <a:lnTo>
                    <a:pt x="1197" y="621"/>
                  </a:lnTo>
                  <a:lnTo>
                    <a:pt x="1197" y="626"/>
                  </a:lnTo>
                  <a:lnTo>
                    <a:pt x="1268" y="716"/>
                  </a:lnTo>
                  <a:lnTo>
                    <a:pt x="1445" y="737"/>
                  </a:lnTo>
                  <a:lnTo>
                    <a:pt x="1450" y="737"/>
                  </a:lnTo>
                  <a:lnTo>
                    <a:pt x="1483" y="789"/>
                  </a:lnTo>
                  <a:lnTo>
                    <a:pt x="1436" y="938"/>
                  </a:lnTo>
                  <a:lnTo>
                    <a:pt x="1436" y="938"/>
                  </a:lnTo>
                  <a:lnTo>
                    <a:pt x="1436" y="938"/>
                  </a:lnTo>
                  <a:close/>
                  <a:moveTo>
                    <a:pt x="0" y="326"/>
                  </a:moveTo>
                  <a:lnTo>
                    <a:pt x="9" y="333"/>
                  </a:lnTo>
                  <a:lnTo>
                    <a:pt x="0" y="333"/>
                  </a:lnTo>
                  <a:lnTo>
                    <a:pt x="0" y="326"/>
                  </a:lnTo>
                  <a:lnTo>
                    <a:pt x="0" y="326"/>
                  </a:lnTo>
                  <a:lnTo>
                    <a:pt x="0" y="326"/>
                  </a:lnTo>
                  <a:close/>
                  <a:moveTo>
                    <a:pt x="1051" y="383"/>
                  </a:moveTo>
                  <a:lnTo>
                    <a:pt x="1051" y="383"/>
                  </a:lnTo>
                  <a:lnTo>
                    <a:pt x="1058" y="383"/>
                  </a:lnTo>
                  <a:lnTo>
                    <a:pt x="1051" y="383"/>
                  </a:lnTo>
                  <a:lnTo>
                    <a:pt x="1051" y="383"/>
                  </a:lnTo>
                  <a:lnTo>
                    <a:pt x="1051" y="383"/>
                  </a:lnTo>
                  <a:close/>
                  <a:moveTo>
                    <a:pt x="517" y="1172"/>
                  </a:moveTo>
                  <a:lnTo>
                    <a:pt x="517" y="1172"/>
                  </a:lnTo>
                  <a:lnTo>
                    <a:pt x="529" y="1181"/>
                  </a:lnTo>
                  <a:lnTo>
                    <a:pt x="512" y="1176"/>
                  </a:lnTo>
                  <a:lnTo>
                    <a:pt x="517" y="1172"/>
                  </a:lnTo>
                  <a:lnTo>
                    <a:pt x="517" y="1172"/>
                  </a:lnTo>
                  <a:lnTo>
                    <a:pt x="517" y="1172"/>
                  </a:lnTo>
                  <a:lnTo>
                    <a:pt x="517" y="1172"/>
                  </a:lnTo>
                  <a:close/>
                  <a:moveTo>
                    <a:pt x="534" y="1200"/>
                  </a:moveTo>
                  <a:lnTo>
                    <a:pt x="534" y="1193"/>
                  </a:lnTo>
                  <a:lnTo>
                    <a:pt x="512" y="1181"/>
                  </a:lnTo>
                  <a:lnTo>
                    <a:pt x="512" y="1176"/>
                  </a:lnTo>
                  <a:lnTo>
                    <a:pt x="517" y="1181"/>
                  </a:lnTo>
                  <a:lnTo>
                    <a:pt x="529" y="1181"/>
                  </a:lnTo>
                  <a:lnTo>
                    <a:pt x="529" y="1181"/>
                  </a:lnTo>
                  <a:lnTo>
                    <a:pt x="534" y="1176"/>
                  </a:lnTo>
                  <a:lnTo>
                    <a:pt x="534" y="1200"/>
                  </a:lnTo>
                  <a:lnTo>
                    <a:pt x="534" y="1200"/>
                  </a:lnTo>
                  <a:lnTo>
                    <a:pt x="534" y="120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84" name="Freeform 548">
              <a:extLst>
                <a:ext uri="{FF2B5EF4-FFF2-40B4-BE49-F238E27FC236}">
                  <a16:creationId xmlns:a16="http://schemas.microsoft.com/office/drawing/2014/main" id="{D9F494F5-471A-49BE-8CF5-242B94AB286F}"/>
                </a:ext>
              </a:extLst>
            </p:cNvPr>
            <p:cNvSpPr>
              <a:spLocks noEditPoints="1"/>
            </p:cNvSpPr>
            <p:nvPr/>
          </p:nvSpPr>
          <p:spPr bwMode="gray">
            <a:xfrm>
              <a:off x="8060458" y="4199694"/>
              <a:ext cx="269233" cy="146983"/>
            </a:xfrm>
            <a:custGeom>
              <a:avLst/>
              <a:gdLst>
                <a:gd name="T0" fmla="*/ 654 w 654"/>
                <a:gd name="T1" fmla="*/ 17 h 357"/>
                <a:gd name="T2" fmla="*/ 638 w 654"/>
                <a:gd name="T3" fmla="*/ 12 h 357"/>
                <a:gd name="T4" fmla="*/ 647 w 654"/>
                <a:gd name="T5" fmla="*/ 0 h 357"/>
                <a:gd name="T6" fmla="*/ 654 w 654"/>
                <a:gd name="T7" fmla="*/ 17 h 357"/>
                <a:gd name="T8" fmla="*/ 654 w 654"/>
                <a:gd name="T9" fmla="*/ 17 h 357"/>
                <a:gd name="T10" fmla="*/ 654 w 654"/>
                <a:gd name="T11" fmla="*/ 17 h 357"/>
                <a:gd name="T12" fmla="*/ 7 w 654"/>
                <a:gd name="T13" fmla="*/ 357 h 357"/>
                <a:gd name="T14" fmla="*/ 0 w 654"/>
                <a:gd name="T15" fmla="*/ 352 h 357"/>
                <a:gd name="T16" fmla="*/ 23 w 654"/>
                <a:gd name="T17" fmla="*/ 352 h 357"/>
                <a:gd name="T18" fmla="*/ 7 w 654"/>
                <a:gd name="T19" fmla="*/ 357 h 357"/>
                <a:gd name="T20" fmla="*/ 7 w 654"/>
                <a:gd name="T21" fmla="*/ 357 h 357"/>
                <a:gd name="T22" fmla="*/ 7 w 654"/>
                <a:gd name="T23"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4" h="357">
                  <a:moveTo>
                    <a:pt x="654" y="17"/>
                  </a:moveTo>
                  <a:lnTo>
                    <a:pt x="638" y="12"/>
                  </a:lnTo>
                  <a:lnTo>
                    <a:pt x="647" y="0"/>
                  </a:lnTo>
                  <a:lnTo>
                    <a:pt x="654" y="17"/>
                  </a:lnTo>
                  <a:lnTo>
                    <a:pt x="654" y="17"/>
                  </a:lnTo>
                  <a:lnTo>
                    <a:pt x="654" y="17"/>
                  </a:lnTo>
                  <a:close/>
                  <a:moveTo>
                    <a:pt x="7" y="357"/>
                  </a:moveTo>
                  <a:lnTo>
                    <a:pt x="0" y="352"/>
                  </a:lnTo>
                  <a:lnTo>
                    <a:pt x="23" y="352"/>
                  </a:lnTo>
                  <a:lnTo>
                    <a:pt x="7" y="357"/>
                  </a:lnTo>
                  <a:lnTo>
                    <a:pt x="7" y="357"/>
                  </a:lnTo>
                  <a:lnTo>
                    <a:pt x="7" y="35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85" name="Freeform 549">
              <a:extLst>
                <a:ext uri="{FF2B5EF4-FFF2-40B4-BE49-F238E27FC236}">
                  <a16:creationId xmlns:a16="http://schemas.microsoft.com/office/drawing/2014/main" id="{221A9C53-D312-426B-8D65-7B411042D2FF}"/>
                </a:ext>
              </a:extLst>
            </p:cNvPr>
            <p:cNvSpPr>
              <a:spLocks noEditPoints="1"/>
            </p:cNvSpPr>
            <p:nvPr/>
          </p:nvSpPr>
          <p:spPr bwMode="gray">
            <a:xfrm>
              <a:off x="7142434" y="4731631"/>
              <a:ext cx="676786" cy="837430"/>
            </a:xfrm>
            <a:custGeom>
              <a:avLst/>
              <a:gdLst>
                <a:gd name="T0" fmla="*/ 449 w 1644"/>
                <a:gd name="T1" fmla="*/ 289 h 2034"/>
                <a:gd name="T2" fmla="*/ 437 w 1644"/>
                <a:gd name="T3" fmla="*/ 355 h 2034"/>
                <a:gd name="T4" fmla="*/ 534 w 1644"/>
                <a:gd name="T5" fmla="*/ 350 h 2034"/>
                <a:gd name="T6" fmla="*/ 588 w 1644"/>
                <a:gd name="T7" fmla="*/ 260 h 2034"/>
                <a:gd name="T8" fmla="*/ 664 w 1644"/>
                <a:gd name="T9" fmla="*/ 272 h 2034"/>
                <a:gd name="T10" fmla="*/ 718 w 1644"/>
                <a:gd name="T11" fmla="*/ 289 h 2034"/>
                <a:gd name="T12" fmla="*/ 805 w 1644"/>
                <a:gd name="T13" fmla="*/ 199 h 2034"/>
                <a:gd name="T14" fmla="*/ 881 w 1644"/>
                <a:gd name="T15" fmla="*/ 123 h 2034"/>
                <a:gd name="T16" fmla="*/ 923 w 1644"/>
                <a:gd name="T17" fmla="*/ 90 h 2034"/>
                <a:gd name="T18" fmla="*/ 1020 w 1644"/>
                <a:gd name="T19" fmla="*/ 22 h 2034"/>
                <a:gd name="T20" fmla="*/ 1075 w 1644"/>
                <a:gd name="T21" fmla="*/ 0 h 2034"/>
                <a:gd name="T22" fmla="*/ 1188 w 1644"/>
                <a:gd name="T23" fmla="*/ 22 h 2034"/>
                <a:gd name="T24" fmla="*/ 1226 w 1644"/>
                <a:gd name="T25" fmla="*/ 144 h 2034"/>
                <a:gd name="T26" fmla="*/ 1226 w 1644"/>
                <a:gd name="T27" fmla="*/ 293 h 2034"/>
                <a:gd name="T28" fmla="*/ 1171 w 1644"/>
                <a:gd name="T29" fmla="*/ 293 h 2034"/>
                <a:gd name="T30" fmla="*/ 1157 w 1644"/>
                <a:gd name="T31" fmla="*/ 355 h 2034"/>
                <a:gd name="T32" fmla="*/ 1238 w 1644"/>
                <a:gd name="T33" fmla="*/ 400 h 2034"/>
                <a:gd name="T34" fmla="*/ 1297 w 1644"/>
                <a:gd name="T35" fmla="*/ 366 h 2034"/>
                <a:gd name="T36" fmla="*/ 1221 w 1644"/>
                <a:gd name="T37" fmla="*/ 522 h 2034"/>
                <a:gd name="T38" fmla="*/ 1167 w 1644"/>
                <a:gd name="T39" fmla="*/ 605 h 2034"/>
                <a:gd name="T40" fmla="*/ 990 w 1644"/>
                <a:gd name="T41" fmla="*/ 815 h 2034"/>
                <a:gd name="T42" fmla="*/ 848 w 1644"/>
                <a:gd name="T43" fmla="*/ 910 h 2034"/>
                <a:gd name="T44" fmla="*/ 794 w 1644"/>
                <a:gd name="T45" fmla="*/ 926 h 2034"/>
                <a:gd name="T46" fmla="*/ 734 w 1644"/>
                <a:gd name="T47" fmla="*/ 943 h 2034"/>
                <a:gd name="T48" fmla="*/ 626 w 1644"/>
                <a:gd name="T49" fmla="*/ 938 h 2034"/>
                <a:gd name="T50" fmla="*/ 517 w 1644"/>
                <a:gd name="T51" fmla="*/ 959 h 2034"/>
                <a:gd name="T52" fmla="*/ 453 w 1644"/>
                <a:gd name="T53" fmla="*/ 959 h 2034"/>
                <a:gd name="T54" fmla="*/ 394 w 1644"/>
                <a:gd name="T55" fmla="*/ 992 h 2034"/>
                <a:gd name="T56" fmla="*/ 345 w 1644"/>
                <a:gd name="T57" fmla="*/ 964 h 2034"/>
                <a:gd name="T58" fmla="*/ 307 w 1644"/>
                <a:gd name="T59" fmla="*/ 943 h 2034"/>
                <a:gd name="T60" fmla="*/ 286 w 1644"/>
                <a:gd name="T61" fmla="*/ 959 h 2034"/>
                <a:gd name="T62" fmla="*/ 286 w 1644"/>
                <a:gd name="T63" fmla="*/ 922 h 2034"/>
                <a:gd name="T64" fmla="*/ 248 w 1644"/>
                <a:gd name="T65" fmla="*/ 848 h 2034"/>
                <a:gd name="T66" fmla="*/ 260 w 1644"/>
                <a:gd name="T67" fmla="*/ 832 h 2034"/>
                <a:gd name="T68" fmla="*/ 269 w 1644"/>
                <a:gd name="T69" fmla="*/ 759 h 2034"/>
                <a:gd name="T70" fmla="*/ 151 w 1644"/>
                <a:gd name="T71" fmla="*/ 522 h 2034"/>
                <a:gd name="T72" fmla="*/ 168 w 1644"/>
                <a:gd name="T73" fmla="*/ 461 h 2034"/>
                <a:gd name="T74" fmla="*/ 205 w 1644"/>
                <a:gd name="T75" fmla="*/ 466 h 2034"/>
                <a:gd name="T76" fmla="*/ 222 w 1644"/>
                <a:gd name="T77" fmla="*/ 515 h 2034"/>
                <a:gd name="T78" fmla="*/ 302 w 1644"/>
                <a:gd name="T79" fmla="*/ 515 h 2034"/>
                <a:gd name="T80" fmla="*/ 340 w 1644"/>
                <a:gd name="T81" fmla="*/ 511 h 2034"/>
                <a:gd name="T82" fmla="*/ 394 w 1644"/>
                <a:gd name="T83" fmla="*/ 482 h 2034"/>
                <a:gd name="T84" fmla="*/ 394 w 1644"/>
                <a:gd name="T85" fmla="*/ 199 h 2034"/>
                <a:gd name="T86" fmla="*/ 966 w 1644"/>
                <a:gd name="T87" fmla="*/ 511 h 2034"/>
                <a:gd name="T88" fmla="*/ 886 w 1644"/>
                <a:gd name="T89" fmla="*/ 577 h 2034"/>
                <a:gd name="T90" fmla="*/ 935 w 1644"/>
                <a:gd name="T91" fmla="*/ 659 h 2034"/>
                <a:gd name="T92" fmla="*/ 1011 w 1644"/>
                <a:gd name="T93" fmla="*/ 622 h 2034"/>
                <a:gd name="T94" fmla="*/ 1042 w 1644"/>
                <a:gd name="T95" fmla="*/ 577 h 2034"/>
                <a:gd name="T96" fmla="*/ 1049 w 1644"/>
                <a:gd name="T97" fmla="*/ 539 h 2034"/>
                <a:gd name="T98" fmla="*/ 1011 w 1644"/>
                <a:gd name="T99" fmla="*/ 511 h 2034"/>
                <a:gd name="T100" fmla="*/ 21 w 1644"/>
                <a:gd name="T101" fmla="*/ 78 h 2034"/>
                <a:gd name="T102" fmla="*/ 0 w 1644"/>
                <a:gd name="T103" fmla="*/ 55 h 2034"/>
                <a:gd name="T104" fmla="*/ 5 w 1644"/>
                <a:gd name="T105" fmla="*/ 38 h 2034"/>
                <a:gd name="T106" fmla="*/ 1644 w 1644"/>
                <a:gd name="T107" fmla="*/ 2034 h 2034"/>
                <a:gd name="T108" fmla="*/ 1644 w 1644"/>
                <a:gd name="T109" fmla="*/ 2029 h 2034"/>
                <a:gd name="T110" fmla="*/ 1644 w 1644"/>
                <a:gd name="T111" fmla="*/ 2034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44" h="2034">
                  <a:moveTo>
                    <a:pt x="394" y="199"/>
                  </a:moveTo>
                  <a:lnTo>
                    <a:pt x="416" y="222"/>
                  </a:lnTo>
                  <a:lnTo>
                    <a:pt x="449" y="289"/>
                  </a:lnTo>
                  <a:lnTo>
                    <a:pt x="453" y="310"/>
                  </a:lnTo>
                  <a:lnTo>
                    <a:pt x="432" y="333"/>
                  </a:lnTo>
                  <a:lnTo>
                    <a:pt x="437" y="355"/>
                  </a:lnTo>
                  <a:lnTo>
                    <a:pt x="508" y="366"/>
                  </a:lnTo>
                  <a:lnTo>
                    <a:pt x="517" y="350"/>
                  </a:lnTo>
                  <a:lnTo>
                    <a:pt x="534" y="350"/>
                  </a:lnTo>
                  <a:lnTo>
                    <a:pt x="546" y="326"/>
                  </a:lnTo>
                  <a:lnTo>
                    <a:pt x="579" y="300"/>
                  </a:lnTo>
                  <a:lnTo>
                    <a:pt x="588" y="260"/>
                  </a:lnTo>
                  <a:lnTo>
                    <a:pt x="600" y="244"/>
                  </a:lnTo>
                  <a:lnTo>
                    <a:pt x="633" y="239"/>
                  </a:lnTo>
                  <a:lnTo>
                    <a:pt x="664" y="272"/>
                  </a:lnTo>
                  <a:lnTo>
                    <a:pt x="685" y="272"/>
                  </a:lnTo>
                  <a:lnTo>
                    <a:pt x="697" y="277"/>
                  </a:lnTo>
                  <a:lnTo>
                    <a:pt x="718" y="289"/>
                  </a:lnTo>
                  <a:lnTo>
                    <a:pt x="777" y="272"/>
                  </a:lnTo>
                  <a:lnTo>
                    <a:pt x="789" y="255"/>
                  </a:lnTo>
                  <a:lnTo>
                    <a:pt x="805" y="199"/>
                  </a:lnTo>
                  <a:lnTo>
                    <a:pt x="843" y="189"/>
                  </a:lnTo>
                  <a:lnTo>
                    <a:pt x="869" y="166"/>
                  </a:lnTo>
                  <a:lnTo>
                    <a:pt x="881" y="123"/>
                  </a:lnTo>
                  <a:lnTo>
                    <a:pt x="914" y="95"/>
                  </a:lnTo>
                  <a:lnTo>
                    <a:pt x="919" y="95"/>
                  </a:lnTo>
                  <a:lnTo>
                    <a:pt x="923" y="90"/>
                  </a:lnTo>
                  <a:lnTo>
                    <a:pt x="952" y="74"/>
                  </a:lnTo>
                  <a:lnTo>
                    <a:pt x="973" y="38"/>
                  </a:lnTo>
                  <a:lnTo>
                    <a:pt x="1020" y="22"/>
                  </a:lnTo>
                  <a:lnTo>
                    <a:pt x="1027" y="12"/>
                  </a:lnTo>
                  <a:lnTo>
                    <a:pt x="1049" y="12"/>
                  </a:lnTo>
                  <a:lnTo>
                    <a:pt x="1075" y="0"/>
                  </a:lnTo>
                  <a:lnTo>
                    <a:pt x="1120" y="17"/>
                  </a:lnTo>
                  <a:lnTo>
                    <a:pt x="1157" y="17"/>
                  </a:lnTo>
                  <a:lnTo>
                    <a:pt x="1188" y="22"/>
                  </a:lnTo>
                  <a:lnTo>
                    <a:pt x="1205" y="78"/>
                  </a:lnTo>
                  <a:lnTo>
                    <a:pt x="1205" y="107"/>
                  </a:lnTo>
                  <a:lnTo>
                    <a:pt x="1226" y="144"/>
                  </a:lnTo>
                  <a:lnTo>
                    <a:pt x="1238" y="178"/>
                  </a:lnTo>
                  <a:lnTo>
                    <a:pt x="1238" y="293"/>
                  </a:lnTo>
                  <a:lnTo>
                    <a:pt x="1226" y="293"/>
                  </a:lnTo>
                  <a:lnTo>
                    <a:pt x="1195" y="277"/>
                  </a:lnTo>
                  <a:lnTo>
                    <a:pt x="1188" y="277"/>
                  </a:lnTo>
                  <a:lnTo>
                    <a:pt x="1171" y="293"/>
                  </a:lnTo>
                  <a:lnTo>
                    <a:pt x="1150" y="326"/>
                  </a:lnTo>
                  <a:lnTo>
                    <a:pt x="1150" y="355"/>
                  </a:lnTo>
                  <a:lnTo>
                    <a:pt x="1157" y="355"/>
                  </a:lnTo>
                  <a:lnTo>
                    <a:pt x="1171" y="388"/>
                  </a:lnTo>
                  <a:lnTo>
                    <a:pt x="1205" y="400"/>
                  </a:lnTo>
                  <a:lnTo>
                    <a:pt x="1238" y="400"/>
                  </a:lnTo>
                  <a:lnTo>
                    <a:pt x="1238" y="355"/>
                  </a:lnTo>
                  <a:lnTo>
                    <a:pt x="1242" y="366"/>
                  </a:lnTo>
                  <a:lnTo>
                    <a:pt x="1297" y="366"/>
                  </a:lnTo>
                  <a:lnTo>
                    <a:pt x="1259" y="494"/>
                  </a:lnTo>
                  <a:lnTo>
                    <a:pt x="1238" y="522"/>
                  </a:lnTo>
                  <a:lnTo>
                    <a:pt x="1221" y="522"/>
                  </a:lnTo>
                  <a:lnTo>
                    <a:pt x="1188" y="565"/>
                  </a:lnTo>
                  <a:lnTo>
                    <a:pt x="1167" y="605"/>
                  </a:lnTo>
                  <a:lnTo>
                    <a:pt x="1167" y="605"/>
                  </a:lnTo>
                  <a:lnTo>
                    <a:pt x="1096" y="716"/>
                  </a:lnTo>
                  <a:lnTo>
                    <a:pt x="1049" y="742"/>
                  </a:lnTo>
                  <a:lnTo>
                    <a:pt x="990" y="815"/>
                  </a:lnTo>
                  <a:lnTo>
                    <a:pt x="952" y="848"/>
                  </a:lnTo>
                  <a:lnTo>
                    <a:pt x="886" y="886"/>
                  </a:lnTo>
                  <a:lnTo>
                    <a:pt x="848" y="910"/>
                  </a:lnTo>
                  <a:lnTo>
                    <a:pt x="794" y="910"/>
                  </a:lnTo>
                  <a:lnTo>
                    <a:pt x="789" y="922"/>
                  </a:lnTo>
                  <a:lnTo>
                    <a:pt x="794" y="926"/>
                  </a:lnTo>
                  <a:lnTo>
                    <a:pt x="739" y="926"/>
                  </a:lnTo>
                  <a:lnTo>
                    <a:pt x="739" y="926"/>
                  </a:lnTo>
                  <a:lnTo>
                    <a:pt x="734" y="943"/>
                  </a:lnTo>
                  <a:lnTo>
                    <a:pt x="647" y="926"/>
                  </a:lnTo>
                  <a:lnTo>
                    <a:pt x="633" y="926"/>
                  </a:lnTo>
                  <a:lnTo>
                    <a:pt x="626" y="938"/>
                  </a:lnTo>
                  <a:lnTo>
                    <a:pt x="572" y="926"/>
                  </a:lnTo>
                  <a:lnTo>
                    <a:pt x="541" y="938"/>
                  </a:lnTo>
                  <a:lnTo>
                    <a:pt x="517" y="959"/>
                  </a:lnTo>
                  <a:lnTo>
                    <a:pt x="503" y="959"/>
                  </a:lnTo>
                  <a:lnTo>
                    <a:pt x="486" y="959"/>
                  </a:lnTo>
                  <a:lnTo>
                    <a:pt x="453" y="959"/>
                  </a:lnTo>
                  <a:lnTo>
                    <a:pt x="449" y="964"/>
                  </a:lnTo>
                  <a:lnTo>
                    <a:pt x="427" y="964"/>
                  </a:lnTo>
                  <a:lnTo>
                    <a:pt x="394" y="992"/>
                  </a:lnTo>
                  <a:lnTo>
                    <a:pt x="373" y="992"/>
                  </a:lnTo>
                  <a:lnTo>
                    <a:pt x="345" y="976"/>
                  </a:lnTo>
                  <a:lnTo>
                    <a:pt x="345" y="964"/>
                  </a:lnTo>
                  <a:lnTo>
                    <a:pt x="340" y="959"/>
                  </a:lnTo>
                  <a:lnTo>
                    <a:pt x="307" y="959"/>
                  </a:lnTo>
                  <a:lnTo>
                    <a:pt x="307" y="943"/>
                  </a:lnTo>
                  <a:lnTo>
                    <a:pt x="307" y="938"/>
                  </a:lnTo>
                  <a:lnTo>
                    <a:pt x="286" y="938"/>
                  </a:lnTo>
                  <a:lnTo>
                    <a:pt x="286" y="959"/>
                  </a:lnTo>
                  <a:lnTo>
                    <a:pt x="274" y="955"/>
                  </a:lnTo>
                  <a:lnTo>
                    <a:pt x="269" y="926"/>
                  </a:lnTo>
                  <a:lnTo>
                    <a:pt x="286" y="922"/>
                  </a:lnTo>
                  <a:lnTo>
                    <a:pt x="286" y="903"/>
                  </a:lnTo>
                  <a:lnTo>
                    <a:pt x="253" y="848"/>
                  </a:lnTo>
                  <a:lnTo>
                    <a:pt x="248" y="848"/>
                  </a:lnTo>
                  <a:lnTo>
                    <a:pt x="236" y="832"/>
                  </a:lnTo>
                  <a:lnTo>
                    <a:pt x="253" y="827"/>
                  </a:lnTo>
                  <a:lnTo>
                    <a:pt x="260" y="832"/>
                  </a:lnTo>
                  <a:lnTo>
                    <a:pt x="269" y="815"/>
                  </a:lnTo>
                  <a:lnTo>
                    <a:pt x="274" y="794"/>
                  </a:lnTo>
                  <a:lnTo>
                    <a:pt x="269" y="759"/>
                  </a:lnTo>
                  <a:lnTo>
                    <a:pt x="198" y="631"/>
                  </a:lnTo>
                  <a:lnTo>
                    <a:pt x="168" y="539"/>
                  </a:lnTo>
                  <a:lnTo>
                    <a:pt x="151" y="522"/>
                  </a:lnTo>
                  <a:lnTo>
                    <a:pt x="146" y="499"/>
                  </a:lnTo>
                  <a:lnTo>
                    <a:pt x="160" y="494"/>
                  </a:lnTo>
                  <a:lnTo>
                    <a:pt x="168" y="461"/>
                  </a:lnTo>
                  <a:lnTo>
                    <a:pt x="184" y="454"/>
                  </a:lnTo>
                  <a:lnTo>
                    <a:pt x="198" y="466"/>
                  </a:lnTo>
                  <a:lnTo>
                    <a:pt x="205" y="466"/>
                  </a:lnTo>
                  <a:lnTo>
                    <a:pt x="205" y="511"/>
                  </a:lnTo>
                  <a:lnTo>
                    <a:pt x="222" y="511"/>
                  </a:lnTo>
                  <a:lnTo>
                    <a:pt x="222" y="515"/>
                  </a:lnTo>
                  <a:lnTo>
                    <a:pt x="248" y="515"/>
                  </a:lnTo>
                  <a:lnTo>
                    <a:pt x="260" y="522"/>
                  </a:lnTo>
                  <a:lnTo>
                    <a:pt x="302" y="515"/>
                  </a:lnTo>
                  <a:lnTo>
                    <a:pt x="328" y="522"/>
                  </a:lnTo>
                  <a:lnTo>
                    <a:pt x="340" y="522"/>
                  </a:lnTo>
                  <a:lnTo>
                    <a:pt x="340" y="511"/>
                  </a:lnTo>
                  <a:lnTo>
                    <a:pt x="357" y="511"/>
                  </a:lnTo>
                  <a:lnTo>
                    <a:pt x="361" y="494"/>
                  </a:lnTo>
                  <a:lnTo>
                    <a:pt x="394" y="482"/>
                  </a:lnTo>
                  <a:lnTo>
                    <a:pt x="394" y="199"/>
                  </a:lnTo>
                  <a:lnTo>
                    <a:pt x="394" y="199"/>
                  </a:lnTo>
                  <a:lnTo>
                    <a:pt x="394" y="199"/>
                  </a:lnTo>
                  <a:close/>
                  <a:moveTo>
                    <a:pt x="1011" y="511"/>
                  </a:moveTo>
                  <a:lnTo>
                    <a:pt x="994" y="499"/>
                  </a:lnTo>
                  <a:lnTo>
                    <a:pt x="966" y="511"/>
                  </a:lnTo>
                  <a:lnTo>
                    <a:pt x="923" y="532"/>
                  </a:lnTo>
                  <a:lnTo>
                    <a:pt x="902" y="572"/>
                  </a:lnTo>
                  <a:lnTo>
                    <a:pt x="886" y="577"/>
                  </a:lnTo>
                  <a:lnTo>
                    <a:pt x="902" y="610"/>
                  </a:lnTo>
                  <a:lnTo>
                    <a:pt x="914" y="631"/>
                  </a:lnTo>
                  <a:lnTo>
                    <a:pt x="935" y="659"/>
                  </a:lnTo>
                  <a:lnTo>
                    <a:pt x="957" y="659"/>
                  </a:lnTo>
                  <a:lnTo>
                    <a:pt x="978" y="622"/>
                  </a:lnTo>
                  <a:lnTo>
                    <a:pt x="1011" y="622"/>
                  </a:lnTo>
                  <a:lnTo>
                    <a:pt x="1032" y="605"/>
                  </a:lnTo>
                  <a:lnTo>
                    <a:pt x="1032" y="577"/>
                  </a:lnTo>
                  <a:lnTo>
                    <a:pt x="1042" y="577"/>
                  </a:lnTo>
                  <a:lnTo>
                    <a:pt x="1042" y="572"/>
                  </a:lnTo>
                  <a:lnTo>
                    <a:pt x="1058" y="555"/>
                  </a:lnTo>
                  <a:lnTo>
                    <a:pt x="1049" y="539"/>
                  </a:lnTo>
                  <a:lnTo>
                    <a:pt x="1011" y="511"/>
                  </a:lnTo>
                  <a:lnTo>
                    <a:pt x="1011" y="511"/>
                  </a:lnTo>
                  <a:lnTo>
                    <a:pt x="1011" y="511"/>
                  </a:lnTo>
                  <a:close/>
                  <a:moveTo>
                    <a:pt x="5" y="38"/>
                  </a:moveTo>
                  <a:lnTo>
                    <a:pt x="16" y="38"/>
                  </a:lnTo>
                  <a:lnTo>
                    <a:pt x="21" y="78"/>
                  </a:lnTo>
                  <a:lnTo>
                    <a:pt x="0" y="78"/>
                  </a:lnTo>
                  <a:lnTo>
                    <a:pt x="0" y="66"/>
                  </a:lnTo>
                  <a:lnTo>
                    <a:pt x="0" y="55"/>
                  </a:lnTo>
                  <a:lnTo>
                    <a:pt x="0" y="66"/>
                  </a:lnTo>
                  <a:lnTo>
                    <a:pt x="5" y="66"/>
                  </a:lnTo>
                  <a:lnTo>
                    <a:pt x="5" y="38"/>
                  </a:lnTo>
                  <a:lnTo>
                    <a:pt x="5" y="38"/>
                  </a:lnTo>
                  <a:lnTo>
                    <a:pt x="5" y="38"/>
                  </a:lnTo>
                  <a:close/>
                  <a:moveTo>
                    <a:pt x="1644" y="2034"/>
                  </a:moveTo>
                  <a:lnTo>
                    <a:pt x="1627" y="2029"/>
                  </a:lnTo>
                  <a:lnTo>
                    <a:pt x="1637" y="2022"/>
                  </a:lnTo>
                  <a:lnTo>
                    <a:pt x="1644" y="2029"/>
                  </a:lnTo>
                  <a:lnTo>
                    <a:pt x="1644" y="2034"/>
                  </a:lnTo>
                  <a:lnTo>
                    <a:pt x="1644" y="2034"/>
                  </a:lnTo>
                  <a:lnTo>
                    <a:pt x="1644" y="203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86" name="Freeform 550">
              <a:extLst>
                <a:ext uri="{FF2B5EF4-FFF2-40B4-BE49-F238E27FC236}">
                  <a16:creationId xmlns:a16="http://schemas.microsoft.com/office/drawing/2014/main" id="{BFF4E8E0-4913-4277-8C6D-6B22EEA97390}"/>
                </a:ext>
              </a:extLst>
            </p:cNvPr>
            <p:cNvSpPr>
              <a:spLocks/>
            </p:cNvSpPr>
            <p:nvPr/>
          </p:nvSpPr>
          <p:spPr bwMode="gray">
            <a:xfrm>
              <a:off x="6221528" y="3563591"/>
              <a:ext cx="179076" cy="134220"/>
            </a:xfrm>
            <a:custGeom>
              <a:avLst/>
              <a:gdLst>
                <a:gd name="T0" fmla="*/ 163 w 435"/>
                <a:gd name="T1" fmla="*/ 305 h 326"/>
                <a:gd name="T2" fmla="*/ 92 w 435"/>
                <a:gd name="T3" fmla="*/ 322 h 326"/>
                <a:gd name="T4" fmla="*/ 45 w 435"/>
                <a:gd name="T5" fmla="*/ 322 h 326"/>
                <a:gd name="T6" fmla="*/ 75 w 435"/>
                <a:gd name="T7" fmla="*/ 310 h 326"/>
                <a:gd name="T8" fmla="*/ 130 w 435"/>
                <a:gd name="T9" fmla="*/ 310 h 326"/>
                <a:gd name="T10" fmla="*/ 137 w 435"/>
                <a:gd name="T11" fmla="*/ 293 h 326"/>
                <a:gd name="T12" fmla="*/ 137 w 435"/>
                <a:gd name="T13" fmla="*/ 293 h 326"/>
                <a:gd name="T14" fmla="*/ 130 w 435"/>
                <a:gd name="T15" fmla="*/ 310 h 326"/>
                <a:gd name="T16" fmla="*/ 99 w 435"/>
                <a:gd name="T17" fmla="*/ 293 h 326"/>
                <a:gd name="T18" fmla="*/ 75 w 435"/>
                <a:gd name="T19" fmla="*/ 310 h 326"/>
                <a:gd name="T20" fmla="*/ 59 w 435"/>
                <a:gd name="T21" fmla="*/ 293 h 326"/>
                <a:gd name="T22" fmla="*/ 54 w 435"/>
                <a:gd name="T23" fmla="*/ 272 h 326"/>
                <a:gd name="T24" fmla="*/ 113 w 435"/>
                <a:gd name="T25" fmla="*/ 267 h 326"/>
                <a:gd name="T26" fmla="*/ 151 w 435"/>
                <a:gd name="T27" fmla="*/ 251 h 326"/>
                <a:gd name="T28" fmla="*/ 222 w 435"/>
                <a:gd name="T29" fmla="*/ 267 h 326"/>
                <a:gd name="T30" fmla="*/ 260 w 435"/>
                <a:gd name="T31" fmla="*/ 251 h 326"/>
                <a:gd name="T32" fmla="*/ 222 w 435"/>
                <a:gd name="T33" fmla="*/ 251 h 326"/>
                <a:gd name="T34" fmla="*/ 191 w 435"/>
                <a:gd name="T35" fmla="*/ 232 h 326"/>
                <a:gd name="T36" fmla="*/ 168 w 435"/>
                <a:gd name="T37" fmla="*/ 215 h 326"/>
                <a:gd name="T38" fmla="*/ 137 w 435"/>
                <a:gd name="T39" fmla="*/ 232 h 326"/>
                <a:gd name="T40" fmla="*/ 59 w 435"/>
                <a:gd name="T41" fmla="*/ 222 h 326"/>
                <a:gd name="T42" fmla="*/ 54 w 435"/>
                <a:gd name="T43" fmla="*/ 222 h 326"/>
                <a:gd name="T44" fmla="*/ 75 w 435"/>
                <a:gd name="T45" fmla="*/ 194 h 326"/>
                <a:gd name="T46" fmla="*/ 59 w 435"/>
                <a:gd name="T47" fmla="*/ 199 h 326"/>
                <a:gd name="T48" fmla="*/ 21 w 435"/>
                <a:gd name="T49" fmla="*/ 156 h 326"/>
                <a:gd name="T50" fmla="*/ 0 w 435"/>
                <a:gd name="T51" fmla="*/ 156 h 326"/>
                <a:gd name="T52" fmla="*/ 21 w 435"/>
                <a:gd name="T53" fmla="*/ 140 h 326"/>
                <a:gd name="T54" fmla="*/ 66 w 435"/>
                <a:gd name="T55" fmla="*/ 74 h 326"/>
                <a:gd name="T56" fmla="*/ 83 w 435"/>
                <a:gd name="T57" fmla="*/ 17 h 326"/>
                <a:gd name="T58" fmla="*/ 175 w 435"/>
                <a:gd name="T59" fmla="*/ 0 h 326"/>
                <a:gd name="T60" fmla="*/ 255 w 435"/>
                <a:gd name="T61" fmla="*/ 50 h 326"/>
                <a:gd name="T62" fmla="*/ 272 w 435"/>
                <a:gd name="T63" fmla="*/ 50 h 326"/>
                <a:gd name="T64" fmla="*/ 283 w 435"/>
                <a:gd name="T65" fmla="*/ 50 h 326"/>
                <a:gd name="T66" fmla="*/ 309 w 435"/>
                <a:gd name="T67" fmla="*/ 100 h 326"/>
                <a:gd name="T68" fmla="*/ 326 w 435"/>
                <a:gd name="T69" fmla="*/ 107 h 326"/>
                <a:gd name="T70" fmla="*/ 347 w 435"/>
                <a:gd name="T71" fmla="*/ 128 h 326"/>
                <a:gd name="T72" fmla="*/ 368 w 435"/>
                <a:gd name="T73" fmla="*/ 178 h 326"/>
                <a:gd name="T74" fmla="*/ 385 w 435"/>
                <a:gd name="T75" fmla="*/ 215 h 326"/>
                <a:gd name="T76" fmla="*/ 401 w 435"/>
                <a:gd name="T77" fmla="*/ 256 h 326"/>
                <a:gd name="T78" fmla="*/ 406 w 435"/>
                <a:gd name="T79" fmla="*/ 251 h 326"/>
                <a:gd name="T80" fmla="*/ 435 w 435"/>
                <a:gd name="T81" fmla="*/ 322 h 326"/>
                <a:gd name="T82" fmla="*/ 364 w 435"/>
                <a:gd name="T83" fmla="*/ 326 h 326"/>
                <a:gd name="T84" fmla="*/ 309 w 435"/>
                <a:gd name="T85" fmla="*/ 322 h 326"/>
                <a:gd name="T86" fmla="*/ 260 w 435"/>
                <a:gd name="T87" fmla="*/ 305 h 326"/>
                <a:gd name="T88" fmla="*/ 222 w 435"/>
                <a:gd name="T89" fmla="*/ 30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5" h="326">
                  <a:moveTo>
                    <a:pt x="222" y="305"/>
                  </a:moveTo>
                  <a:lnTo>
                    <a:pt x="163" y="305"/>
                  </a:lnTo>
                  <a:lnTo>
                    <a:pt x="120" y="322"/>
                  </a:lnTo>
                  <a:lnTo>
                    <a:pt x="92" y="322"/>
                  </a:lnTo>
                  <a:lnTo>
                    <a:pt x="54" y="326"/>
                  </a:lnTo>
                  <a:lnTo>
                    <a:pt x="45" y="322"/>
                  </a:lnTo>
                  <a:lnTo>
                    <a:pt x="59" y="305"/>
                  </a:lnTo>
                  <a:lnTo>
                    <a:pt x="75" y="310"/>
                  </a:lnTo>
                  <a:lnTo>
                    <a:pt x="99" y="305"/>
                  </a:lnTo>
                  <a:lnTo>
                    <a:pt x="130" y="310"/>
                  </a:lnTo>
                  <a:lnTo>
                    <a:pt x="137" y="305"/>
                  </a:lnTo>
                  <a:lnTo>
                    <a:pt x="137" y="293"/>
                  </a:lnTo>
                  <a:lnTo>
                    <a:pt x="146" y="289"/>
                  </a:lnTo>
                  <a:lnTo>
                    <a:pt x="137" y="293"/>
                  </a:lnTo>
                  <a:lnTo>
                    <a:pt x="137" y="305"/>
                  </a:lnTo>
                  <a:lnTo>
                    <a:pt x="130" y="310"/>
                  </a:lnTo>
                  <a:lnTo>
                    <a:pt x="109" y="310"/>
                  </a:lnTo>
                  <a:lnTo>
                    <a:pt x="99" y="293"/>
                  </a:lnTo>
                  <a:lnTo>
                    <a:pt x="99" y="305"/>
                  </a:lnTo>
                  <a:lnTo>
                    <a:pt x="75" y="310"/>
                  </a:lnTo>
                  <a:lnTo>
                    <a:pt x="59" y="305"/>
                  </a:lnTo>
                  <a:lnTo>
                    <a:pt x="59" y="293"/>
                  </a:lnTo>
                  <a:lnTo>
                    <a:pt x="54" y="310"/>
                  </a:lnTo>
                  <a:lnTo>
                    <a:pt x="54" y="272"/>
                  </a:lnTo>
                  <a:lnTo>
                    <a:pt x="54" y="267"/>
                  </a:lnTo>
                  <a:lnTo>
                    <a:pt x="113" y="267"/>
                  </a:lnTo>
                  <a:lnTo>
                    <a:pt x="113" y="256"/>
                  </a:lnTo>
                  <a:lnTo>
                    <a:pt x="151" y="251"/>
                  </a:lnTo>
                  <a:lnTo>
                    <a:pt x="168" y="232"/>
                  </a:lnTo>
                  <a:lnTo>
                    <a:pt x="222" y="267"/>
                  </a:lnTo>
                  <a:lnTo>
                    <a:pt x="255" y="256"/>
                  </a:lnTo>
                  <a:lnTo>
                    <a:pt x="260" y="251"/>
                  </a:lnTo>
                  <a:lnTo>
                    <a:pt x="243" y="232"/>
                  </a:lnTo>
                  <a:lnTo>
                    <a:pt x="222" y="251"/>
                  </a:lnTo>
                  <a:lnTo>
                    <a:pt x="205" y="232"/>
                  </a:lnTo>
                  <a:lnTo>
                    <a:pt x="191" y="232"/>
                  </a:lnTo>
                  <a:lnTo>
                    <a:pt x="184" y="222"/>
                  </a:lnTo>
                  <a:lnTo>
                    <a:pt x="168" y="215"/>
                  </a:lnTo>
                  <a:lnTo>
                    <a:pt x="146" y="222"/>
                  </a:lnTo>
                  <a:lnTo>
                    <a:pt x="137" y="232"/>
                  </a:lnTo>
                  <a:lnTo>
                    <a:pt x="59" y="232"/>
                  </a:lnTo>
                  <a:lnTo>
                    <a:pt x="59" y="222"/>
                  </a:lnTo>
                  <a:lnTo>
                    <a:pt x="66" y="211"/>
                  </a:lnTo>
                  <a:lnTo>
                    <a:pt x="54" y="222"/>
                  </a:lnTo>
                  <a:lnTo>
                    <a:pt x="54" y="211"/>
                  </a:lnTo>
                  <a:lnTo>
                    <a:pt x="75" y="194"/>
                  </a:lnTo>
                  <a:lnTo>
                    <a:pt x="66" y="194"/>
                  </a:lnTo>
                  <a:lnTo>
                    <a:pt x="59" y="199"/>
                  </a:lnTo>
                  <a:lnTo>
                    <a:pt x="45" y="199"/>
                  </a:lnTo>
                  <a:lnTo>
                    <a:pt x="21" y="156"/>
                  </a:lnTo>
                  <a:lnTo>
                    <a:pt x="7" y="156"/>
                  </a:lnTo>
                  <a:lnTo>
                    <a:pt x="0" y="156"/>
                  </a:lnTo>
                  <a:lnTo>
                    <a:pt x="0" y="156"/>
                  </a:lnTo>
                  <a:lnTo>
                    <a:pt x="21" y="140"/>
                  </a:lnTo>
                  <a:lnTo>
                    <a:pt x="45" y="111"/>
                  </a:lnTo>
                  <a:lnTo>
                    <a:pt x="66" y="74"/>
                  </a:lnTo>
                  <a:lnTo>
                    <a:pt x="66" y="50"/>
                  </a:lnTo>
                  <a:lnTo>
                    <a:pt x="83" y="17"/>
                  </a:lnTo>
                  <a:lnTo>
                    <a:pt x="130" y="17"/>
                  </a:lnTo>
                  <a:lnTo>
                    <a:pt x="175" y="0"/>
                  </a:lnTo>
                  <a:lnTo>
                    <a:pt x="222" y="12"/>
                  </a:lnTo>
                  <a:lnTo>
                    <a:pt x="255" y="50"/>
                  </a:lnTo>
                  <a:lnTo>
                    <a:pt x="260" y="45"/>
                  </a:lnTo>
                  <a:lnTo>
                    <a:pt x="272" y="50"/>
                  </a:lnTo>
                  <a:lnTo>
                    <a:pt x="276" y="50"/>
                  </a:lnTo>
                  <a:lnTo>
                    <a:pt x="283" y="50"/>
                  </a:lnTo>
                  <a:lnTo>
                    <a:pt x="298" y="83"/>
                  </a:lnTo>
                  <a:lnTo>
                    <a:pt x="309" y="100"/>
                  </a:lnTo>
                  <a:lnTo>
                    <a:pt x="314" y="100"/>
                  </a:lnTo>
                  <a:lnTo>
                    <a:pt x="326" y="107"/>
                  </a:lnTo>
                  <a:lnTo>
                    <a:pt x="326" y="111"/>
                  </a:lnTo>
                  <a:lnTo>
                    <a:pt x="347" y="128"/>
                  </a:lnTo>
                  <a:lnTo>
                    <a:pt x="368" y="144"/>
                  </a:lnTo>
                  <a:lnTo>
                    <a:pt x="368" y="178"/>
                  </a:lnTo>
                  <a:lnTo>
                    <a:pt x="385" y="194"/>
                  </a:lnTo>
                  <a:lnTo>
                    <a:pt x="385" y="215"/>
                  </a:lnTo>
                  <a:lnTo>
                    <a:pt x="380" y="232"/>
                  </a:lnTo>
                  <a:lnTo>
                    <a:pt x="401" y="256"/>
                  </a:lnTo>
                  <a:lnTo>
                    <a:pt x="401" y="251"/>
                  </a:lnTo>
                  <a:lnTo>
                    <a:pt x="406" y="251"/>
                  </a:lnTo>
                  <a:lnTo>
                    <a:pt x="435" y="277"/>
                  </a:lnTo>
                  <a:lnTo>
                    <a:pt x="435" y="322"/>
                  </a:lnTo>
                  <a:lnTo>
                    <a:pt x="385" y="322"/>
                  </a:lnTo>
                  <a:lnTo>
                    <a:pt x="364" y="326"/>
                  </a:lnTo>
                  <a:lnTo>
                    <a:pt x="326" y="310"/>
                  </a:lnTo>
                  <a:lnTo>
                    <a:pt x="309" y="322"/>
                  </a:lnTo>
                  <a:lnTo>
                    <a:pt x="309" y="305"/>
                  </a:lnTo>
                  <a:lnTo>
                    <a:pt x="260" y="305"/>
                  </a:lnTo>
                  <a:lnTo>
                    <a:pt x="222" y="305"/>
                  </a:lnTo>
                  <a:lnTo>
                    <a:pt x="222" y="305"/>
                  </a:lnTo>
                  <a:lnTo>
                    <a:pt x="222" y="30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87" name="Freeform 551">
              <a:extLst>
                <a:ext uri="{FF2B5EF4-FFF2-40B4-BE49-F238E27FC236}">
                  <a16:creationId xmlns:a16="http://schemas.microsoft.com/office/drawing/2014/main" id="{4B930B92-D75E-4AAB-8929-891C61E9CF7B}"/>
                </a:ext>
              </a:extLst>
            </p:cNvPr>
            <p:cNvSpPr>
              <a:spLocks noEditPoints="1"/>
            </p:cNvSpPr>
            <p:nvPr/>
          </p:nvSpPr>
          <p:spPr bwMode="gray">
            <a:xfrm>
              <a:off x="6310037" y="4298917"/>
              <a:ext cx="249060" cy="921832"/>
            </a:xfrm>
            <a:custGeom>
              <a:avLst/>
              <a:gdLst>
                <a:gd name="T0" fmla="*/ 0 w 605"/>
                <a:gd name="T1" fmla="*/ 5 h 2239"/>
                <a:gd name="T2" fmla="*/ 0 w 605"/>
                <a:gd name="T3" fmla="*/ 0 h 2239"/>
                <a:gd name="T4" fmla="*/ 5 w 605"/>
                <a:gd name="T5" fmla="*/ 5 h 2239"/>
                <a:gd name="T6" fmla="*/ 0 w 605"/>
                <a:gd name="T7" fmla="*/ 5 h 2239"/>
                <a:gd name="T8" fmla="*/ 0 w 605"/>
                <a:gd name="T9" fmla="*/ 5 h 2239"/>
                <a:gd name="T10" fmla="*/ 0 w 605"/>
                <a:gd name="T11" fmla="*/ 5 h 2239"/>
                <a:gd name="T12" fmla="*/ 605 w 605"/>
                <a:gd name="T13" fmla="*/ 593 h 2239"/>
                <a:gd name="T14" fmla="*/ 600 w 605"/>
                <a:gd name="T15" fmla="*/ 593 h 2239"/>
                <a:gd name="T16" fmla="*/ 605 w 605"/>
                <a:gd name="T17" fmla="*/ 588 h 2239"/>
                <a:gd name="T18" fmla="*/ 605 w 605"/>
                <a:gd name="T19" fmla="*/ 593 h 2239"/>
                <a:gd name="T20" fmla="*/ 605 w 605"/>
                <a:gd name="T21" fmla="*/ 593 h 2239"/>
                <a:gd name="T22" fmla="*/ 605 w 605"/>
                <a:gd name="T23" fmla="*/ 593 h 2239"/>
                <a:gd name="T24" fmla="*/ 146 w 605"/>
                <a:gd name="T25" fmla="*/ 2239 h 2239"/>
                <a:gd name="T26" fmla="*/ 146 w 605"/>
                <a:gd name="T27" fmla="*/ 2235 h 2239"/>
                <a:gd name="T28" fmla="*/ 151 w 605"/>
                <a:gd name="T29" fmla="*/ 2235 h 2239"/>
                <a:gd name="T30" fmla="*/ 146 w 605"/>
                <a:gd name="T31" fmla="*/ 2239 h 2239"/>
                <a:gd name="T32" fmla="*/ 146 w 605"/>
                <a:gd name="T33" fmla="*/ 2239 h 2239"/>
                <a:gd name="T34" fmla="*/ 146 w 605"/>
                <a:gd name="T35" fmla="*/ 2239 h 2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5" h="2239">
                  <a:moveTo>
                    <a:pt x="0" y="5"/>
                  </a:moveTo>
                  <a:lnTo>
                    <a:pt x="0" y="0"/>
                  </a:lnTo>
                  <a:lnTo>
                    <a:pt x="5" y="5"/>
                  </a:lnTo>
                  <a:lnTo>
                    <a:pt x="0" y="5"/>
                  </a:lnTo>
                  <a:lnTo>
                    <a:pt x="0" y="5"/>
                  </a:lnTo>
                  <a:lnTo>
                    <a:pt x="0" y="5"/>
                  </a:lnTo>
                  <a:close/>
                  <a:moveTo>
                    <a:pt x="605" y="593"/>
                  </a:moveTo>
                  <a:lnTo>
                    <a:pt x="600" y="593"/>
                  </a:lnTo>
                  <a:lnTo>
                    <a:pt x="605" y="588"/>
                  </a:lnTo>
                  <a:lnTo>
                    <a:pt x="605" y="593"/>
                  </a:lnTo>
                  <a:lnTo>
                    <a:pt x="605" y="593"/>
                  </a:lnTo>
                  <a:lnTo>
                    <a:pt x="605" y="593"/>
                  </a:lnTo>
                  <a:close/>
                  <a:moveTo>
                    <a:pt x="146" y="2239"/>
                  </a:moveTo>
                  <a:lnTo>
                    <a:pt x="146" y="2235"/>
                  </a:lnTo>
                  <a:lnTo>
                    <a:pt x="151" y="2235"/>
                  </a:lnTo>
                  <a:lnTo>
                    <a:pt x="146" y="2239"/>
                  </a:lnTo>
                  <a:lnTo>
                    <a:pt x="146" y="2239"/>
                  </a:lnTo>
                  <a:lnTo>
                    <a:pt x="146" y="223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88" name="Freeform 553">
              <a:extLst>
                <a:ext uri="{FF2B5EF4-FFF2-40B4-BE49-F238E27FC236}">
                  <a16:creationId xmlns:a16="http://schemas.microsoft.com/office/drawing/2014/main" id="{658BA039-7673-4918-BC9B-9E5515B26AFF}"/>
                </a:ext>
              </a:extLst>
            </p:cNvPr>
            <p:cNvSpPr>
              <a:spLocks noEditPoints="1"/>
            </p:cNvSpPr>
            <p:nvPr/>
          </p:nvSpPr>
          <p:spPr bwMode="gray">
            <a:xfrm>
              <a:off x="6342147" y="3766980"/>
              <a:ext cx="88509" cy="93459"/>
            </a:xfrm>
            <a:custGeom>
              <a:avLst/>
              <a:gdLst>
                <a:gd name="T0" fmla="*/ 165 w 215"/>
                <a:gd name="T1" fmla="*/ 184 h 227"/>
                <a:gd name="T2" fmla="*/ 139 w 215"/>
                <a:gd name="T3" fmla="*/ 206 h 227"/>
                <a:gd name="T4" fmla="*/ 127 w 215"/>
                <a:gd name="T5" fmla="*/ 227 h 227"/>
                <a:gd name="T6" fmla="*/ 97 w 215"/>
                <a:gd name="T7" fmla="*/ 217 h 227"/>
                <a:gd name="T8" fmla="*/ 52 w 215"/>
                <a:gd name="T9" fmla="*/ 189 h 227"/>
                <a:gd name="T10" fmla="*/ 59 w 215"/>
                <a:gd name="T11" fmla="*/ 184 h 227"/>
                <a:gd name="T12" fmla="*/ 75 w 215"/>
                <a:gd name="T13" fmla="*/ 173 h 227"/>
                <a:gd name="T14" fmla="*/ 59 w 215"/>
                <a:gd name="T15" fmla="*/ 184 h 227"/>
                <a:gd name="T16" fmla="*/ 21 w 215"/>
                <a:gd name="T17" fmla="*/ 161 h 227"/>
                <a:gd name="T18" fmla="*/ 30 w 215"/>
                <a:gd name="T19" fmla="*/ 151 h 227"/>
                <a:gd name="T20" fmla="*/ 21 w 215"/>
                <a:gd name="T21" fmla="*/ 128 h 227"/>
                <a:gd name="T22" fmla="*/ 16 w 215"/>
                <a:gd name="T23" fmla="*/ 132 h 227"/>
                <a:gd name="T24" fmla="*/ 0 w 215"/>
                <a:gd name="T25" fmla="*/ 111 h 227"/>
                <a:gd name="T26" fmla="*/ 16 w 215"/>
                <a:gd name="T27" fmla="*/ 116 h 227"/>
                <a:gd name="T28" fmla="*/ 16 w 215"/>
                <a:gd name="T29" fmla="*/ 116 h 227"/>
                <a:gd name="T30" fmla="*/ 30 w 215"/>
                <a:gd name="T31" fmla="*/ 111 h 227"/>
                <a:gd name="T32" fmla="*/ 5 w 215"/>
                <a:gd name="T33" fmla="*/ 111 h 227"/>
                <a:gd name="T34" fmla="*/ 5 w 215"/>
                <a:gd name="T35" fmla="*/ 90 h 227"/>
                <a:gd name="T36" fmla="*/ 16 w 215"/>
                <a:gd name="T37" fmla="*/ 90 h 227"/>
                <a:gd name="T38" fmla="*/ 0 w 215"/>
                <a:gd name="T39" fmla="*/ 73 h 227"/>
                <a:gd name="T40" fmla="*/ 16 w 215"/>
                <a:gd name="T41" fmla="*/ 73 h 227"/>
                <a:gd name="T42" fmla="*/ 21 w 215"/>
                <a:gd name="T43" fmla="*/ 57 h 227"/>
                <a:gd name="T44" fmla="*/ 42 w 215"/>
                <a:gd name="T45" fmla="*/ 50 h 227"/>
                <a:gd name="T46" fmla="*/ 59 w 215"/>
                <a:gd name="T47" fmla="*/ 5 h 227"/>
                <a:gd name="T48" fmla="*/ 75 w 215"/>
                <a:gd name="T49" fmla="*/ 5 h 227"/>
                <a:gd name="T50" fmla="*/ 85 w 215"/>
                <a:gd name="T51" fmla="*/ 17 h 227"/>
                <a:gd name="T52" fmla="*/ 97 w 215"/>
                <a:gd name="T53" fmla="*/ 5 h 227"/>
                <a:gd name="T54" fmla="*/ 97 w 215"/>
                <a:gd name="T55" fmla="*/ 0 h 227"/>
                <a:gd name="T56" fmla="*/ 144 w 215"/>
                <a:gd name="T57" fmla="*/ 0 h 227"/>
                <a:gd name="T58" fmla="*/ 182 w 215"/>
                <a:gd name="T59" fmla="*/ 57 h 227"/>
                <a:gd name="T60" fmla="*/ 177 w 215"/>
                <a:gd name="T61" fmla="*/ 73 h 227"/>
                <a:gd name="T62" fmla="*/ 193 w 215"/>
                <a:gd name="T63" fmla="*/ 73 h 227"/>
                <a:gd name="T64" fmla="*/ 193 w 215"/>
                <a:gd name="T65" fmla="*/ 90 h 227"/>
                <a:gd name="T66" fmla="*/ 198 w 215"/>
                <a:gd name="T67" fmla="*/ 95 h 227"/>
                <a:gd name="T68" fmla="*/ 182 w 215"/>
                <a:gd name="T69" fmla="*/ 128 h 227"/>
                <a:gd name="T70" fmla="*/ 215 w 215"/>
                <a:gd name="T71" fmla="*/ 111 h 227"/>
                <a:gd name="T72" fmla="*/ 203 w 215"/>
                <a:gd name="T73" fmla="*/ 132 h 227"/>
                <a:gd name="T74" fmla="*/ 193 w 215"/>
                <a:gd name="T75" fmla="*/ 144 h 227"/>
                <a:gd name="T76" fmla="*/ 193 w 215"/>
                <a:gd name="T77" fmla="*/ 168 h 227"/>
                <a:gd name="T78" fmla="*/ 165 w 215"/>
                <a:gd name="T79" fmla="*/ 184 h 227"/>
                <a:gd name="T80" fmla="*/ 165 w 215"/>
                <a:gd name="T81" fmla="*/ 184 h 227"/>
                <a:gd name="T82" fmla="*/ 165 w 215"/>
                <a:gd name="T83" fmla="*/ 184 h 227"/>
                <a:gd name="T84" fmla="*/ 30 w 215"/>
                <a:gd name="T85" fmla="*/ 173 h 227"/>
                <a:gd name="T86" fmla="*/ 52 w 215"/>
                <a:gd name="T87" fmla="*/ 173 h 227"/>
                <a:gd name="T88" fmla="*/ 52 w 215"/>
                <a:gd name="T89" fmla="*/ 184 h 227"/>
                <a:gd name="T90" fmla="*/ 52 w 215"/>
                <a:gd name="T91" fmla="*/ 189 h 227"/>
                <a:gd name="T92" fmla="*/ 21 w 215"/>
                <a:gd name="T93" fmla="*/ 184 h 227"/>
                <a:gd name="T94" fmla="*/ 30 w 215"/>
                <a:gd name="T95" fmla="*/ 173 h 227"/>
                <a:gd name="T96" fmla="*/ 30 w 215"/>
                <a:gd name="T97" fmla="*/ 173 h 227"/>
                <a:gd name="T98" fmla="*/ 30 w 215"/>
                <a:gd name="T99" fmla="*/ 17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5" h="227">
                  <a:moveTo>
                    <a:pt x="165" y="184"/>
                  </a:moveTo>
                  <a:lnTo>
                    <a:pt x="139" y="206"/>
                  </a:lnTo>
                  <a:lnTo>
                    <a:pt x="127" y="227"/>
                  </a:lnTo>
                  <a:lnTo>
                    <a:pt x="97" y="217"/>
                  </a:lnTo>
                  <a:lnTo>
                    <a:pt x="52" y="189"/>
                  </a:lnTo>
                  <a:lnTo>
                    <a:pt x="59" y="184"/>
                  </a:lnTo>
                  <a:lnTo>
                    <a:pt x="75" y="173"/>
                  </a:lnTo>
                  <a:lnTo>
                    <a:pt x="59" y="184"/>
                  </a:lnTo>
                  <a:lnTo>
                    <a:pt x="21" y="161"/>
                  </a:lnTo>
                  <a:lnTo>
                    <a:pt x="30" y="151"/>
                  </a:lnTo>
                  <a:lnTo>
                    <a:pt x="21" y="128"/>
                  </a:lnTo>
                  <a:lnTo>
                    <a:pt x="16" y="132"/>
                  </a:lnTo>
                  <a:lnTo>
                    <a:pt x="0" y="111"/>
                  </a:lnTo>
                  <a:lnTo>
                    <a:pt x="16" y="116"/>
                  </a:lnTo>
                  <a:lnTo>
                    <a:pt x="16" y="116"/>
                  </a:lnTo>
                  <a:lnTo>
                    <a:pt x="30" y="111"/>
                  </a:lnTo>
                  <a:lnTo>
                    <a:pt x="5" y="111"/>
                  </a:lnTo>
                  <a:lnTo>
                    <a:pt x="5" y="90"/>
                  </a:lnTo>
                  <a:lnTo>
                    <a:pt x="16" y="90"/>
                  </a:lnTo>
                  <a:lnTo>
                    <a:pt x="0" y="73"/>
                  </a:lnTo>
                  <a:lnTo>
                    <a:pt x="16" y="73"/>
                  </a:lnTo>
                  <a:lnTo>
                    <a:pt x="21" y="57"/>
                  </a:lnTo>
                  <a:lnTo>
                    <a:pt x="42" y="50"/>
                  </a:lnTo>
                  <a:lnTo>
                    <a:pt x="59" y="5"/>
                  </a:lnTo>
                  <a:lnTo>
                    <a:pt x="75" y="5"/>
                  </a:lnTo>
                  <a:lnTo>
                    <a:pt x="85" y="17"/>
                  </a:lnTo>
                  <a:lnTo>
                    <a:pt x="97" y="5"/>
                  </a:lnTo>
                  <a:lnTo>
                    <a:pt x="97" y="0"/>
                  </a:lnTo>
                  <a:lnTo>
                    <a:pt x="144" y="0"/>
                  </a:lnTo>
                  <a:lnTo>
                    <a:pt x="182" y="57"/>
                  </a:lnTo>
                  <a:lnTo>
                    <a:pt x="177" y="73"/>
                  </a:lnTo>
                  <a:lnTo>
                    <a:pt x="193" y="73"/>
                  </a:lnTo>
                  <a:lnTo>
                    <a:pt x="193" y="90"/>
                  </a:lnTo>
                  <a:lnTo>
                    <a:pt x="198" y="95"/>
                  </a:lnTo>
                  <a:lnTo>
                    <a:pt x="182" y="128"/>
                  </a:lnTo>
                  <a:lnTo>
                    <a:pt x="215" y="111"/>
                  </a:lnTo>
                  <a:lnTo>
                    <a:pt x="203" y="132"/>
                  </a:lnTo>
                  <a:lnTo>
                    <a:pt x="193" y="144"/>
                  </a:lnTo>
                  <a:lnTo>
                    <a:pt x="193" y="168"/>
                  </a:lnTo>
                  <a:lnTo>
                    <a:pt x="165" y="184"/>
                  </a:lnTo>
                  <a:lnTo>
                    <a:pt x="165" y="184"/>
                  </a:lnTo>
                  <a:lnTo>
                    <a:pt x="165" y="184"/>
                  </a:lnTo>
                  <a:close/>
                  <a:moveTo>
                    <a:pt x="30" y="173"/>
                  </a:moveTo>
                  <a:lnTo>
                    <a:pt x="52" y="173"/>
                  </a:lnTo>
                  <a:lnTo>
                    <a:pt x="52" y="184"/>
                  </a:lnTo>
                  <a:lnTo>
                    <a:pt x="52" y="189"/>
                  </a:lnTo>
                  <a:lnTo>
                    <a:pt x="21" y="184"/>
                  </a:lnTo>
                  <a:lnTo>
                    <a:pt x="30" y="173"/>
                  </a:lnTo>
                  <a:lnTo>
                    <a:pt x="30" y="173"/>
                  </a:lnTo>
                  <a:lnTo>
                    <a:pt x="30" y="17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89" name="Freeform 556">
              <a:extLst>
                <a:ext uri="{FF2B5EF4-FFF2-40B4-BE49-F238E27FC236}">
                  <a16:creationId xmlns:a16="http://schemas.microsoft.com/office/drawing/2014/main" id="{045AE801-C5ED-46D7-AAF7-8E9CD1B8683A}"/>
                </a:ext>
              </a:extLst>
            </p:cNvPr>
            <p:cNvSpPr>
              <a:spLocks/>
            </p:cNvSpPr>
            <p:nvPr/>
          </p:nvSpPr>
          <p:spPr bwMode="gray">
            <a:xfrm>
              <a:off x="7910610" y="3706868"/>
              <a:ext cx="298461" cy="408422"/>
            </a:xfrm>
            <a:custGeom>
              <a:avLst/>
              <a:gdLst>
                <a:gd name="T0" fmla="*/ 130 w 725"/>
                <a:gd name="T1" fmla="*/ 555 h 992"/>
                <a:gd name="T2" fmla="*/ 184 w 725"/>
                <a:gd name="T3" fmla="*/ 515 h 992"/>
                <a:gd name="T4" fmla="*/ 276 w 725"/>
                <a:gd name="T5" fmla="*/ 515 h 992"/>
                <a:gd name="T6" fmla="*/ 416 w 725"/>
                <a:gd name="T7" fmla="*/ 295 h 992"/>
                <a:gd name="T8" fmla="*/ 184 w 725"/>
                <a:gd name="T9" fmla="*/ 193 h 992"/>
                <a:gd name="T10" fmla="*/ 151 w 725"/>
                <a:gd name="T11" fmla="*/ 151 h 992"/>
                <a:gd name="T12" fmla="*/ 130 w 725"/>
                <a:gd name="T13" fmla="*/ 127 h 992"/>
                <a:gd name="T14" fmla="*/ 130 w 725"/>
                <a:gd name="T15" fmla="*/ 73 h 992"/>
                <a:gd name="T16" fmla="*/ 168 w 725"/>
                <a:gd name="T17" fmla="*/ 49 h 992"/>
                <a:gd name="T18" fmla="*/ 234 w 725"/>
                <a:gd name="T19" fmla="*/ 111 h 992"/>
                <a:gd name="T20" fmla="*/ 331 w 725"/>
                <a:gd name="T21" fmla="*/ 85 h 992"/>
                <a:gd name="T22" fmla="*/ 449 w 725"/>
                <a:gd name="T23" fmla="*/ 66 h 992"/>
                <a:gd name="T24" fmla="*/ 503 w 725"/>
                <a:gd name="T25" fmla="*/ 66 h 992"/>
                <a:gd name="T26" fmla="*/ 557 w 725"/>
                <a:gd name="T27" fmla="*/ 56 h 992"/>
                <a:gd name="T28" fmla="*/ 600 w 725"/>
                <a:gd name="T29" fmla="*/ 40 h 992"/>
                <a:gd name="T30" fmla="*/ 654 w 725"/>
                <a:gd name="T31" fmla="*/ 28 h 992"/>
                <a:gd name="T32" fmla="*/ 687 w 725"/>
                <a:gd name="T33" fmla="*/ 0 h 992"/>
                <a:gd name="T34" fmla="*/ 704 w 725"/>
                <a:gd name="T35" fmla="*/ 49 h 992"/>
                <a:gd name="T36" fmla="*/ 709 w 725"/>
                <a:gd name="T37" fmla="*/ 66 h 992"/>
                <a:gd name="T38" fmla="*/ 704 w 725"/>
                <a:gd name="T39" fmla="*/ 111 h 992"/>
                <a:gd name="T40" fmla="*/ 709 w 725"/>
                <a:gd name="T41" fmla="*/ 106 h 992"/>
                <a:gd name="T42" fmla="*/ 725 w 725"/>
                <a:gd name="T43" fmla="*/ 122 h 992"/>
                <a:gd name="T44" fmla="*/ 692 w 725"/>
                <a:gd name="T45" fmla="*/ 122 h 992"/>
                <a:gd name="T46" fmla="*/ 654 w 725"/>
                <a:gd name="T47" fmla="*/ 233 h 992"/>
                <a:gd name="T48" fmla="*/ 616 w 725"/>
                <a:gd name="T49" fmla="*/ 295 h 992"/>
                <a:gd name="T50" fmla="*/ 569 w 725"/>
                <a:gd name="T51" fmla="*/ 382 h 992"/>
                <a:gd name="T52" fmla="*/ 487 w 725"/>
                <a:gd name="T53" fmla="*/ 548 h 992"/>
                <a:gd name="T54" fmla="*/ 243 w 725"/>
                <a:gd name="T55" fmla="*/ 753 h 992"/>
                <a:gd name="T56" fmla="*/ 71 w 725"/>
                <a:gd name="T57" fmla="*/ 937 h 992"/>
                <a:gd name="T58" fmla="*/ 0 w 725"/>
                <a:gd name="T59" fmla="*/ 937 h 992"/>
                <a:gd name="T60" fmla="*/ 21 w 725"/>
                <a:gd name="T61" fmla="*/ 642 h 992"/>
                <a:gd name="T62" fmla="*/ 71 w 725"/>
                <a:gd name="T63" fmla="*/ 571 h 992"/>
                <a:gd name="T64" fmla="*/ 71 w 725"/>
                <a:gd name="T65" fmla="*/ 571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5" h="992">
                  <a:moveTo>
                    <a:pt x="71" y="571"/>
                  </a:moveTo>
                  <a:lnTo>
                    <a:pt x="130" y="555"/>
                  </a:lnTo>
                  <a:lnTo>
                    <a:pt x="146" y="531"/>
                  </a:lnTo>
                  <a:lnTo>
                    <a:pt x="184" y="515"/>
                  </a:lnTo>
                  <a:lnTo>
                    <a:pt x="205" y="510"/>
                  </a:lnTo>
                  <a:lnTo>
                    <a:pt x="276" y="515"/>
                  </a:lnTo>
                  <a:lnTo>
                    <a:pt x="487" y="295"/>
                  </a:lnTo>
                  <a:lnTo>
                    <a:pt x="416" y="295"/>
                  </a:lnTo>
                  <a:lnTo>
                    <a:pt x="205" y="222"/>
                  </a:lnTo>
                  <a:lnTo>
                    <a:pt x="184" y="193"/>
                  </a:lnTo>
                  <a:lnTo>
                    <a:pt x="168" y="193"/>
                  </a:lnTo>
                  <a:lnTo>
                    <a:pt x="151" y="151"/>
                  </a:lnTo>
                  <a:lnTo>
                    <a:pt x="146" y="151"/>
                  </a:lnTo>
                  <a:lnTo>
                    <a:pt x="130" y="127"/>
                  </a:lnTo>
                  <a:lnTo>
                    <a:pt x="113" y="106"/>
                  </a:lnTo>
                  <a:lnTo>
                    <a:pt x="130" y="73"/>
                  </a:lnTo>
                  <a:lnTo>
                    <a:pt x="151" y="40"/>
                  </a:lnTo>
                  <a:lnTo>
                    <a:pt x="168" y="49"/>
                  </a:lnTo>
                  <a:lnTo>
                    <a:pt x="189" y="89"/>
                  </a:lnTo>
                  <a:lnTo>
                    <a:pt x="234" y="111"/>
                  </a:lnTo>
                  <a:lnTo>
                    <a:pt x="272" y="122"/>
                  </a:lnTo>
                  <a:lnTo>
                    <a:pt x="331" y="85"/>
                  </a:lnTo>
                  <a:lnTo>
                    <a:pt x="378" y="94"/>
                  </a:lnTo>
                  <a:lnTo>
                    <a:pt x="449" y="66"/>
                  </a:lnTo>
                  <a:lnTo>
                    <a:pt x="470" y="66"/>
                  </a:lnTo>
                  <a:lnTo>
                    <a:pt x="503" y="66"/>
                  </a:lnTo>
                  <a:lnTo>
                    <a:pt x="524" y="49"/>
                  </a:lnTo>
                  <a:lnTo>
                    <a:pt x="557" y="56"/>
                  </a:lnTo>
                  <a:lnTo>
                    <a:pt x="583" y="49"/>
                  </a:lnTo>
                  <a:lnTo>
                    <a:pt x="600" y="40"/>
                  </a:lnTo>
                  <a:lnTo>
                    <a:pt x="633" y="40"/>
                  </a:lnTo>
                  <a:lnTo>
                    <a:pt x="654" y="28"/>
                  </a:lnTo>
                  <a:lnTo>
                    <a:pt x="671" y="11"/>
                  </a:lnTo>
                  <a:lnTo>
                    <a:pt x="687" y="0"/>
                  </a:lnTo>
                  <a:lnTo>
                    <a:pt x="720" y="11"/>
                  </a:lnTo>
                  <a:lnTo>
                    <a:pt x="704" y="49"/>
                  </a:lnTo>
                  <a:lnTo>
                    <a:pt x="704" y="56"/>
                  </a:lnTo>
                  <a:lnTo>
                    <a:pt x="709" y="66"/>
                  </a:lnTo>
                  <a:lnTo>
                    <a:pt x="709" y="106"/>
                  </a:lnTo>
                  <a:lnTo>
                    <a:pt x="704" y="111"/>
                  </a:lnTo>
                  <a:lnTo>
                    <a:pt x="709" y="111"/>
                  </a:lnTo>
                  <a:lnTo>
                    <a:pt x="709" y="106"/>
                  </a:lnTo>
                  <a:lnTo>
                    <a:pt x="725" y="111"/>
                  </a:lnTo>
                  <a:lnTo>
                    <a:pt x="725" y="122"/>
                  </a:lnTo>
                  <a:lnTo>
                    <a:pt x="720" y="111"/>
                  </a:lnTo>
                  <a:lnTo>
                    <a:pt x="692" y="122"/>
                  </a:lnTo>
                  <a:lnTo>
                    <a:pt x="687" y="193"/>
                  </a:lnTo>
                  <a:lnTo>
                    <a:pt x="654" y="233"/>
                  </a:lnTo>
                  <a:lnTo>
                    <a:pt x="638" y="278"/>
                  </a:lnTo>
                  <a:lnTo>
                    <a:pt x="616" y="295"/>
                  </a:lnTo>
                  <a:lnTo>
                    <a:pt x="612" y="328"/>
                  </a:lnTo>
                  <a:lnTo>
                    <a:pt x="569" y="382"/>
                  </a:lnTo>
                  <a:lnTo>
                    <a:pt x="562" y="427"/>
                  </a:lnTo>
                  <a:lnTo>
                    <a:pt x="487" y="548"/>
                  </a:lnTo>
                  <a:lnTo>
                    <a:pt x="347" y="699"/>
                  </a:lnTo>
                  <a:lnTo>
                    <a:pt x="243" y="753"/>
                  </a:lnTo>
                  <a:lnTo>
                    <a:pt x="168" y="826"/>
                  </a:lnTo>
                  <a:lnTo>
                    <a:pt x="71" y="937"/>
                  </a:lnTo>
                  <a:lnTo>
                    <a:pt x="38" y="992"/>
                  </a:lnTo>
                  <a:lnTo>
                    <a:pt x="0" y="937"/>
                  </a:lnTo>
                  <a:lnTo>
                    <a:pt x="0" y="666"/>
                  </a:lnTo>
                  <a:lnTo>
                    <a:pt x="21" y="642"/>
                  </a:lnTo>
                  <a:lnTo>
                    <a:pt x="59" y="583"/>
                  </a:lnTo>
                  <a:lnTo>
                    <a:pt x="71" y="571"/>
                  </a:lnTo>
                  <a:lnTo>
                    <a:pt x="71" y="571"/>
                  </a:lnTo>
                  <a:lnTo>
                    <a:pt x="71" y="57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90" name="Freeform 563">
              <a:extLst>
                <a:ext uri="{FF2B5EF4-FFF2-40B4-BE49-F238E27FC236}">
                  <a16:creationId xmlns:a16="http://schemas.microsoft.com/office/drawing/2014/main" id="{4F40C027-10AF-4741-8AF7-EC6739262D62}"/>
                </a:ext>
              </a:extLst>
            </p:cNvPr>
            <p:cNvSpPr>
              <a:spLocks/>
            </p:cNvSpPr>
            <p:nvPr/>
          </p:nvSpPr>
          <p:spPr bwMode="gray">
            <a:xfrm>
              <a:off x="7754999" y="2905258"/>
              <a:ext cx="194308" cy="167569"/>
            </a:xfrm>
            <a:custGeom>
              <a:avLst/>
              <a:gdLst>
                <a:gd name="T0" fmla="*/ 0 w 472"/>
                <a:gd name="T1" fmla="*/ 333 h 407"/>
                <a:gd name="T2" fmla="*/ 0 w 472"/>
                <a:gd name="T3" fmla="*/ 333 h 407"/>
                <a:gd name="T4" fmla="*/ 28 w 472"/>
                <a:gd name="T5" fmla="*/ 300 h 407"/>
                <a:gd name="T6" fmla="*/ 21 w 472"/>
                <a:gd name="T7" fmla="*/ 300 h 407"/>
                <a:gd name="T8" fmla="*/ 28 w 472"/>
                <a:gd name="T9" fmla="*/ 284 h 407"/>
                <a:gd name="T10" fmla="*/ 54 w 472"/>
                <a:gd name="T11" fmla="*/ 284 h 407"/>
                <a:gd name="T12" fmla="*/ 43 w 472"/>
                <a:gd name="T13" fmla="*/ 279 h 407"/>
                <a:gd name="T14" fmla="*/ 71 w 472"/>
                <a:gd name="T15" fmla="*/ 251 h 407"/>
                <a:gd name="T16" fmla="*/ 59 w 472"/>
                <a:gd name="T17" fmla="*/ 239 h 407"/>
                <a:gd name="T18" fmla="*/ 43 w 472"/>
                <a:gd name="T19" fmla="*/ 229 h 407"/>
                <a:gd name="T20" fmla="*/ 54 w 472"/>
                <a:gd name="T21" fmla="*/ 222 h 407"/>
                <a:gd name="T22" fmla="*/ 21 w 472"/>
                <a:gd name="T23" fmla="*/ 222 h 407"/>
                <a:gd name="T24" fmla="*/ 17 w 472"/>
                <a:gd name="T25" fmla="*/ 194 h 407"/>
                <a:gd name="T26" fmla="*/ 21 w 472"/>
                <a:gd name="T27" fmla="*/ 173 h 407"/>
                <a:gd name="T28" fmla="*/ 21 w 472"/>
                <a:gd name="T29" fmla="*/ 156 h 407"/>
                <a:gd name="T30" fmla="*/ 5 w 472"/>
                <a:gd name="T31" fmla="*/ 140 h 407"/>
                <a:gd name="T32" fmla="*/ 21 w 472"/>
                <a:gd name="T33" fmla="*/ 111 h 407"/>
                <a:gd name="T34" fmla="*/ 38 w 472"/>
                <a:gd name="T35" fmla="*/ 128 h 407"/>
                <a:gd name="T36" fmla="*/ 38 w 472"/>
                <a:gd name="T37" fmla="*/ 111 h 407"/>
                <a:gd name="T38" fmla="*/ 54 w 472"/>
                <a:gd name="T39" fmla="*/ 111 h 407"/>
                <a:gd name="T40" fmla="*/ 54 w 472"/>
                <a:gd name="T41" fmla="*/ 83 h 407"/>
                <a:gd name="T42" fmla="*/ 76 w 472"/>
                <a:gd name="T43" fmla="*/ 83 h 407"/>
                <a:gd name="T44" fmla="*/ 59 w 472"/>
                <a:gd name="T45" fmla="*/ 71 h 407"/>
                <a:gd name="T46" fmla="*/ 71 w 472"/>
                <a:gd name="T47" fmla="*/ 38 h 407"/>
                <a:gd name="T48" fmla="*/ 109 w 472"/>
                <a:gd name="T49" fmla="*/ 55 h 407"/>
                <a:gd name="T50" fmla="*/ 125 w 472"/>
                <a:gd name="T51" fmla="*/ 55 h 407"/>
                <a:gd name="T52" fmla="*/ 184 w 472"/>
                <a:gd name="T53" fmla="*/ 26 h 407"/>
                <a:gd name="T54" fmla="*/ 201 w 472"/>
                <a:gd name="T55" fmla="*/ 38 h 407"/>
                <a:gd name="T56" fmla="*/ 217 w 472"/>
                <a:gd name="T57" fmla="*/ 43 h 407"/>
                <a:gd name="T58" fmla="*/ 255 w 472"/>
                <a:gd name="T59" fmla="*/ 55 h 407"/>
                <a:gd name="T60" fmla="*/ 293 w 472"/>
                <a:gd name="T61" fmla="*/ 43 h 407"/>
                <a:gd name="T62" fmla="*/ 364 w 472"/>
                <a:gd name="T63" fmla="*/ 17 h 407"/>
                <a:gd name="T64" fmla="*/ 418 w 472"/>
                <a:gd name="T65" fmla="*/ 17 h 407"/>
                <a:gd name="T66" fmla="*/ 451 w 472"/>
                <a:gd name="T67" fmla="*/ 5 h 407"/>
                <a:gd name="T68" fmla="*/ 456 w 472"/>
                <a:gd name="T69" fmla="*/ 0 h 407"/>
                <a:gd name="T70" fmla="*/ 472 w 472"/>
                <a:gd name="T71" fmla="*/ 5 h 407"/>
                <a:gd name="T72" fmla="*/ 472 w 472"/>
                <a:gd name="T73" fmla="*/ 17 h 407"/>
                <a:gd name="T74" fmla="*/ 435 w 472"/>
                <a:gd name="T75" fmla="*/ 55 h 407"/>
                <a:gd name="T76" fmla="*/ 402 w 472"/>
                <a:gd name="T77" fmla="*/ 62 h 407"/>
                <a:gd name="T78" fmla="*/ 397 w 472"/>
                <a:gd name="T79" fmla="*/ 78 h 407"/>
                <a:gd name="T80" fmla="*/ 397 w 472"/>
                <a:gd name="T81" fmla="*/ 99 h 407"/>
                <a:gd name="T82" fmla="*/ 402 w 472"/>
                <a:gd name="T83" fmla="*/ 116 h 407"/>
                <a:gd name="T84" fmla="*/ 402 w 472"/>
                <a:gd name="T85" fmla="*/ 140 h 407"/>
                <a:gd name="T86" fmla="*/ 397 w 472"/>
                <a:gd name="T87" fmla="*/ 173 h 407"/>
                <a:gd name="T88" fmla="*/ 397 w 472"/>
                <a:gd name="T89" fmla="*/ 206 h 407"/>
                <a:gd name="T90" fmla="*/ 380 w 472"/>
                <a:gd name="T91" fmla="*/ 239 h 407"/>
                <a:gd name="T92" fmla="*/ 222 w 472"/>
                <a:gd name="T93" fmla="*/ 324 h 407"/>
                <a:gd name="T94" fmla="*/ 83 w 472"/>
                <a:gd name="T95" fmla="*/ 407 h 407"/>
                <a:gd name="T96" fmla="*/ 54 w 472"/>
                <a:gd name="T97" fmla="*/ 407 h 407"/>
                <a:gd name="T98" fmla="*/ 28 w 472"/>
                <a:gd name="T99" fmla="*/ 390 h 407"/>
                <a:gd name="T100" fmla="*/ 21 w 472"/>
                <a:gd name="T101" fmla="*/ 373 h 407"/>
                <a:gd name="T102" fmla="*/ 0 w 472"/>
                <a:gd name="T103" fmla="*/ 378 h 407"/>
                <a:gd name="T104" fmla="*/ 0 w 472"/>
                <a:gd name="T105" fmla="*/ 333 h 407"/>
                <a:gd name="T106" fmla="*/ 0 w 472"/>
                <a:gd name="T107" fmla="*/ 333 h 407"/>
                <a:gd name="T108" fmla="*/ 0 w 472"/>
                <a:gd name="T109" fmla="*/ 333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2" h="407">
                  <a:moveTo>
                    <a:pt x="0" y="333"/>
                  </a:moveTo>
                  <a:lnTo>
                    <a:pt x="0" y="333"/>
                  </a:lnTo>
                  <a:lnTo>
                    <a:pt x="28" y="300"/>
                  </a:lnTo>
                  <a:lnTo>
                    <a:pt x="21" y="300"/>
                  </a:lnTo>
                  <a:lnTo>
                    <a:pt x="28" y="284"/>
                  </a:lnTo>
                  <a:lnTo>
                    <a:pt x="54" y="284"/>
                  </a:lnTo>
                  <a:lnTo>
                    <a:pt x="43" y="279"/>
                  </a:lnTo>
                  <a:lnTo>
                    <a:pt x="71" y="251"/>
                  </a:lnTo>
                  <a:lnTo>
                    <a:pt x="59" y="239"/>
                  </a:lnTo>
                  <a:lnTo>
                    <a:pt x="43" y="229"/>
                  </a:lnTo>
                  <a:lnTo>
                    <a:pt x="54" y="222"/>
                  </a:lnTo>
                  <a:lnTo>
                    <a:pt x="21" y="222"/>
                  </a:lnTo>
                  <a:lnTo>
                    <a:pt x="17" y="194"/>
                  </a:lnTo>
                  <a:lnTo>
                    <a:pt x="21" y="173"/>
                  </a:lnTo>
                  <a:lnTo>
                    <a:pt x="21" y="156"/>
                  </a:lnTo>
                  <a:lnTo>
                    <a:pt x="5" y="140"/>
                  </a:lnTo>
                  <a:lnTo>
                    <a:pt x="21" y="111"/>
                  </a:lnTo>
                  <a:lnTo>
                    <a:pt x="38" y="128"/>
                  </a:lnTo>
                  <a:lnTo>
                    <a:pt x="38" y="111"/>
                  </a:lnTo>
                  <a:lnTo>
                    <a:pt x="54" y="111"/>
                  </a:lnTo>
                  <a:lnTo>
                    <a:pt x="54" y="83"/>
                  </a:lnTo>
                  <a:lnTo>
                    <a:pt x="76" y="83"/>
                  </a:lnTo>
                  <a:lnTo>
                    <a:pt x="59" y="71"/>
                  </a:lnTo>
                  <a:lnTo>
                    <a:pt x="71" y="38"/>
                  </a:lnTo>
                  <a:lnTo>
                    <a:pt x="109" y="55"/>
                  </a:lnTo>
                  <a:lnTo>
                    <a:pt x="125" y="55"/>
                  </a:lnTo>
                  <a:lnTo>
                    <a:pt x="184" y="26"/>
                  </a:lnTo>
                  <a:lnTo>
                    <a:pt x="201" y="38"/>
                  </a:lnTo>
                  <a:lnTo>
                    <a:pt x="217" y="43"/>
                  </a:lnTo>
                  <a:lnTo>
                    <a:pt x="255" y="55"/>
                  </a:lnTo>
                  <a:lnTo>
                    <a:pt x="293" y="43"/>
                  </a:lnTo>
                  <a:lnTo>
                    <a:pt x="364" y="17"/>
                  </a:lnTo>
                  <a:lnTo>
                    <a:pt x="418" y="17"/>
                  </a:lnTo>
                  <a:lnTo>
                    <a:pt x="451" y="5"/>
                  </a:lnTo>
                  <a:lnTo>
                    <a:pt x="456" y="0"/>
                  </a:lnTo>
                  <a:lnTo>
                    <a:pt x="472" y="5"/>
                  </a:lnTo>
                  <a:lnTo>
                    <a:pt x="472" y="17"/>
                  </a:lnTo>
                  <a:lnTo>
                    <a:pt x="435" y="55"/>
                  </a:lnTo>
                  <a:lnTo>
                    <a:pt x="402" y="62"/>
                  </a:lnTo>
                  <a:lnTo>
                    <a:pt x="397" y="78"/>
                  </a:lnTo>
                  <a:lnTo>
                    <a:pt x="397" y="99"/>
                  </a:lnTo>
                  <a:lnTo>
                    <a:pt x="402" y="116"/>
                  </a:lnTo>
                  <a:lnTo>
                    <a:pt x="402" y="140"/>
                  </a:lnTo>
                  <a:lnTo>
                    <a:pt x="397" y="173"/>
                  </a:lnTo>
                  <a:lnTo>
                    <a:pt x="397" y="206"/>
                  </a:lnTo>
                  <a:lnTo>
                    <a:pt x="380" y="239"/>
                  </a:lnTo>
                  <a:lnTo>
                    <a:pt x="222" y="324"/>
                  </a:lnTo>
                  <a:lnTo>
                    <a:pt x="83" y="407"/>
                  </a:lnTo>
                  <a:lnTo>
                    <a:pt x="54" y="407"/>
                  </a:lnTo>
                  <a:lnTo>
                    <a:pt x="28" y="390"/>
                  </a:lnTo>
                  <a:lnTo>
                    <a:pt x="21" y="373"/>
                  </a:lnTo>
                  <a:lnTo>
                    <a:pt x="0" y="378"/>
                  </a:lnTo>
                  <a:lnTo>
                    <a:pt x="0" y="333"/>
                  </a:lnTo>
                  <a:lnTo>
                    <a:pt x="0" y="333"/>
                  </a:lnTo>
                  <a:lnTo>
                    <a:pt x="0" y="33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91" name="Freeform 565">
              <a:extLst>
                <a:ext uri="{FF2B5EF4-FFF2-40B4-BE49-F238E27FC236}">
                  <a16:creationId xmlns:a16="http://schemas.microsoft.com/office/drawing/2014/main" id="{F0EB0015-AAA3-459E-8861-BBABF40D3CAD}"/>
                </a:ext>
              </a:extLst>
            </p:cNvPr>
            <p:cNvSpPr>
              <a:spLocks noEditPoints="1"/>
            </p:cNvSpPr>
            <p:nvPr/>
          </p:nvSpPr>
          <p:spPr bwMode="gray">
            <a:xfrm>
              <a:off x="8216070" y="3272096"/>
              <a:ext cx="134205" cy="107870"/>
            </a:xfrm>
            <a:custGeom>
              <a:avLst/>
              <a:gdLst>
                <a:gd name="T0" fmla="*/ 326 w 326"/>
                <a:gd name="T1" fmla="*/ 97 h 262"/>
                <a:gd name="T2" fmla="*/ 312 w 326"/>
                <a:gd name="T3" fmla="*/ 106 h 262"/>
                <a:gd name="T4" fmla="*/ 304 w 326"/>
                <a:gd name="T5" fmla="*/ 97 h 262"/>
                <a:gd name="T6" fmla="*/ 312 w 326"/>
                <a:gd name="T7" fmla="*/ 97 h 262"/>
                <a:gd name="T8" fmla="*/ 304 w 326"/>
                <a:gd name="T9" fmla="*/ 90 h 262"/>
                <a:gd name="T10" fmla="*/ 288 w 326"/>
                <a:gd name="T11" fmla="*/ 97 h 262"/>
                <a:gd name="T12" fmla="*/ 288 w 326"/>
                <a:gd name="T13" fmla="*/ 146 h 262"/>
                <a:gd name="T14" fmla="*/ 304 w 326"/>
                <a:gd name="T15" fmla="*/ 146 h 262"/>
                <a:gd name="T16" fmla="*/ 304 w 326"/>
                <a:gd name="T17" fmla="*/ 151 h 262"/>
                <a:gd name="T18" fmla="*/ 274 w 326"/>
                <a:gd name="T19" fmla="*/ 163 h 262"/>
                <a:gd name="T20" fmla="*/ 274 w 326"/>
                <a:gd name="T21" fmla="*/ 179 h 262"/>
                <a:gd name="T22" fmla="*/ 252 w 326"/>
                <a:gd name="T23" fmla="*/ 234 h 262"/>
                <a:gd name="T24" fmla="*/ 252 w 326"/>
                <a:gd name="T25" fmla="*/ 262 h 262"/>
                <a:gd name="T26" fmla="*/ 245 w 326"/>
                <a:gd name="T27" fmla="*/ 262 h 262"/>
                <a:gd name="T28" fmla="*/ 71 w 326"/>
                <a:gd name="T29" fmla="*/ 241 h 262"/>
                <a:gd name="T30" fmla="*/ 0 w 326"/>
                <a:gd name="T31" fmla="*/ 151 h 262"/>
                <a:gd name="T32" fmla="*/ 0 w 326"/>
                <a:gd name="T33" fmla="*/ 146 h 262"/>
                <a:gd name="T34" fmla="*/ 7 w 326"/>
                <a:gd name="T35" fmla="*/ 146 h 262"/>
                <a:gd name="T36" fmla="*/ 16 w 326"/>
                <a:gd name="T37" fmla="*/ 163 h 262"/>
                <a:gd name="T38" fmla="*/ 33 w 326"/>
                <a:gd name="T39" fmla="*/ 167 h 262"/>
                <a:gd name="T40" fmla="*/ 54 w 326"/>
                <a:gd name="T41" fmla="*/ 163 h 262"/>
                <a:gd name="T42" fmla="*/ 71 w 326"/>
                <a:gd name="T43" fmla="*/ 146 h 262"/>
                <a:gd name="T44" fmla="*/ 139 w 326"/>
                <a:gd name="T45" fmla="*/ 163 h 262"/>
                <a:gd name="T46" fmla="*/ 177 w 326"/>
                <a:gd name="T47" fmla="*/ 151 h 262"/>
                <a:gd name="T48" fmla="*/ 198 w 326"/>
                <a:gd name="T49" fmla="*/ 146 h 262"/>
                <a:gd name="T50" fmla="*/ 198 w 326"/>
                <a:gd name="T51" fmla="*/ 130 h 262"/>
                <a:gd name="T52" fmla="*/ 203 w 326"/>
                <a:gd name="T53" fmla="*/ 130 h 262"/>
                <a:gd name="T54" fmla="*/ 215 w 326"/>
                <a:gd name="T55" fmla="*/ 106 h 262"/>
                <a:gd name="T56" fmla="*/ 245 w 326"/>
                <a:gd name="T57" fmla="*/ 78 h 262"/>
                <a:gd name="T58" fmla="*/ 274 w 326"/>
                <a:gd name="T59" fmla="*/ 40 h 262"/>
                <a:gd name="T60" fmla="*/ 283 w 326"/>
                <a:gd name="T61" fmla="*/ 40 h 262"/>
                <a:gd name="T62" fmla="*/ 300 w 326"/>
                <a:gd name="T63" fmla="*/ 35 h 262"/>
                <a:gd name="T64" fmla="*/ 312 w 326"/>
                <a:gd name="T65" fmla="*/ 0 h 262"/>
                <a:gd name="T66" fmla="*/ 321 w 326"/>
                <a:gd name="T67" fmla="*/ 12 h 262"/>
                <a:gd name="T68" fmla="*/ 312 w 326"/>
                <a:gd name="T69" fmla="*/ 35 h 262"/>
                <a:gd name="T70" fmla="*/ 326 w 326"/>
                <a:gd name="T71" fmla="*/ 35 h 262"/>
                <a:gd name="T72" fmla="*/ 326 w 326"/>
                <a:gd name="T73" fmla="*/ 40 h 262"/>
                <a:gd name="T74" fmla="*/ 326 w 326"/>
                <a:gd name="T75" fmla="*/ 90 h 262"/>
                <a:gd name="T76" fmla="*/ 326 w 326"/>
                <a:gd name="T77" fmla="*/ 97 h 262"/>
                <a:gd name="T78" fmla="*/ 326 w 326"/>
                <a:gd name="T79" fmla="*/ 97 h 262"/>
                <a:gd name="T80" fmla="*/ 326 w 326"/>
                <a:gd name="T81" fmla="*/ 97 h 262"/>
                <a:gd name="T82" fmla="*/ 198 w 326"/>
                <a:gd name="T83" fmla="*/ 130 h 262"/>
                <a:gd name="T84" fmla="*/ 193 w 326"/>
                <a:gd name="T85" fmla="*/ 130 h 262"/>
                <a:gd name="T86" fmla="*/ 193 w 326"/>
                <a:gd name="T87" fmla="*/ 123 h 262"/>
                <a:gd name="T88" fmla="*/ 198 w 326"/>
                <a:gd name="T89" fmla="*/ 130 h 262"/>
                <a:gd name="T90" fmla="*/ 198 w 326"/>
                <a:gd name="T91" fmla="*/ 130 h 262"/>
                <a:gd name="T92" fmla="*/ 198 w 326"/>
                <a:gd name="T93" fmla="*/ 130 h 262"/>
                <a:gd name="T94" fmla="*/ 71 w 326"/>
                <a:gd name="T95" fmla="*/ 146 h 262"/>
                <a:gd name="T96" fmla="*/ 71 w 326"/>
                <a:gd name="T97" fmla="*/ 134 h 262"/>
                <a:gd name="T98" fmla="*/ 75 w 326"/>
                <a:gd name="T99" fmla="*/ 134 h 262"/>
                <a:gd name="T100" fmla="*/ 71 w 326"/>
                <a:gd name="T101" fmla="*/ 146 h 262"/>
                <a:gd name="T102" fmla="*/ 71 w 326"/>
                <a:gd name="T103" fmla="*/ 146 h 262"/>
                <a:gd name="T104" fmla="*/ 71 w 326"/>
                <a:gd name="T105" fmla="*/ 146 h 262"/>
                <a:gd name="T106" fmla="*/ 151 w 326"/>
                <a:gd name="T107" fmla="*/ 151 h 262"/>
                <a:gd name="T108" fmla="*/ 144 w 326"/>
                <a:gd name="T109" fmla="*/ 151 h 262"/>
                <a:gd name="T110" fmla="*/ 160 w 326"/>
                <a:gd name="T111" fmla="*/ 146 h 262"/>
                <a:gd name="T112" fmla="*/ 165 w 326"/>
                <a:gd name="T113" fmla="*/ 146 h 262"/>
                <a:gd name="T114" fmla="*/ 151 w 326"/>
                <a:gd name="T115" fmla="*/ 151 h 262"/>
                <a:gd name="T116" fmla="*/ 151 w 326"/>
                <a:gd name="T117" fmla="*/ 151 h 262"/>
                <a:gd name="T118" fmla="*/ 151 w 326"/>
                <a:gd name="T119" fmla="*/ 15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6" h="262">
                  <a:moveTo>
                    <a:pt x="326" y="97"/>
                  </a:moveTo>
                  <a:lnTo>
                    <a:pt x="312" y="106"/>
                  </a:lnTo>
                  <a:lnTo>
                    <a:pt x="304" y="97"/>
                  </a:lnTo>
                  <a:lnTo>
                    <a:pt x="312" y="97"/>
                  </a:lnTo>
                  <a:lnTo>
                    <a:pt x="304" y="90"/>
                  </a:lnTo>
                  <a:lnTo>
                    <a:pt x="288" y="97"/>
                  </a:lnTo>
                  <a:lnTo>
                    <a:pt x="288" y="146"/>
                  </a:lnTo>
                  <a:lnTo>
                    <a:pt x="304" y="146"/>
                  </a:lnTo>
                  <a:lnTo>
                    <a:pt x="304" y="151"/>
                  </a:lnTo>
                  <a:lnTo>
                    <a:pt x="274" y="163"/>
                  </a:lnTo>
                  <a:lnTo>
                    <a:pt x="274" y="179"/>
                  </a:lnTo>
                  <a:lnTo>
                    <a:pt x="252" y="234"/>
                  </a:lnTo>
                  <a:lnTo>
                    <a:pt x="252" y="262"/>
                  </a:lnTo>
                  <a:lnTo>
                    <a:pt x="245" y="262"/>
                  </a:lnTo>
                  <a:lnTo>
                    <a:pt x="71" y="241"/>
                  </a:lnTo>
                  <a:lnTo>
                    <a:pt x="0" y="151"/>
                  </a:lnTo>
                  <a:lnTo>
                    <a:pt x="0" y="146"/>
                  </a:lnTo>
                  <a:lnTo>
                    <a:pt x="7" y="146"/>
                  </a:lnTo>
                  <a:lnTo>
                    <a:pt x="16" y="163"/>
                  </a:lnTo>
                  <a:lnTo>
                    <a:pt x="33" y="167"/>
                  </a:lnTo>
                  <a:lnTo>
                    <a:pt x="54" y="163"/>
                  </a:lnTo>
                  <a:lnTo>
                    <a:pt x="71" y="146"/>
                  </a:lnTo>
                  <a:lnTo>
                    <a:pt x="139" y="163"/>
                  </a:lnTo>
                  <a:lnTo>
                    <a:pt x="177" y="151"/>
                  </a:lnTo>
                  <a:lnTo>
                    <a:pt x="198" y="146"/>
                  </a:lnTo>
                  <a:lnTo>
                    <a:pt x="198" y="130"/>
                  </a:lnTo>
                  <a:lnTo>
                    <a:pt x="203" y="130"/>
                  </a:lnTo>
                  <a:lnTo>
                    <a:pt x="215" y="106"/>
                  </a:lnTo>
                  <a:lnTo>
                    <a:pt x="245" y="78"/>
                  </a:lnTo>
                  <a:lnTo>
                    <a:pt x="274" y="40"/>
                  </a:lnTo>
                  <a:lnTo>
                    <a:pt x="283" y="40"/>
                  </a:lnTo>
                  <a:lnTo>
                    <a:pt x="300" y="35"/>
                  </a:lnTo>
                  <a:lnTo>
                    <a:pt x="312" y="0"/>
                  </a:lnTo>
                  <a:lnTo>
                    <a:pt x="321" y="12"/>
                  </a:lnTo>
                  <a:lnTo>
                    <a:pt x="312" y="35"/>
                  </a:lnTo>
                  <a:lnTo>
                    <a:pt x="326" y="35"/>
                  </a:lnTo>
                  <a:lnTo>
                    <a:pt x="326" y="40"/>
                  </a:lnTo>
                  <a:lnTo>
                    <a:pt x="326" y="90"/>
                  </a:lnTo>
                  <a:lnTo>
                    <a:pt x="326" y="97"/>
                  </a:lnTo>
                  <a:lnTo>
                    <a:pt x="326" y="97"/>
                  </a:lnTo>
                  <a:lnTo>
                    <a:pt x="326" y="97"/>
                  </a:lnTo>
                  <a:close/>
                  <a:moveTo>
                    <a:pt x="198" y="130"/>
                  </a:moveTo>
                  <a:lnTo>
                    <a:pt x="193" y="130"/>
                  </a:lnTo>
                  <a:lnTo>
                    <a:pt x="193" y="123"/>
                  </a:lnTo>
                  <a:lnTo>
                    <a:pt x="198" y="130"/>
                  </a:lnTo>
                  <a:lnTo>
                    <a:pt x="198" y="130"/>
                  </a:lnTo>
                  <a:lnTo>
                    <a:pt x="198" y="130"/>
                  </a:lnTo>
                  <a:close/>
                  <a:moveTo>
                    <a:pt x="71" y="146"/>
                  </a:moveTo>
                  <a:lnTo>
                    <a:pt x="71" y="134"/>
                  </a:lnTo>
                  <a:lnTo>
                    <a:pt x="75" y="134"/>
                  </a:lnTo>
                  <a:lnTo>
                    <a:pt x="71" y="146"/>
                  </a:lnTo>
                  <a:lnTo>
                    <a:pt x="71" y="146"/>
                  </a:lnTo>
                  <a:lnTo>
                    <a:pt x="71" y="146"/>
                  </a:lnTo>
                  <a:close/>
                  <a:moveTo>
                    <a:pt x="151" y="151"/>
                  </a:moveTo>
                  <a:lnTo>
                    <a:pt x="144" y="151"/>
                  </a:lnTo>
                  <a:lnTo>
                    <a:pt x="160" y="146"/>
                  </a:lnTo>
                  <a:lnTo>
                    <a:pt x="165" y="146"/>
                  </a:lnTo>
                  <a:lnTo>
                    <a:pt x="151" y="151"/>
                  </a:lnTo>
                  <a:lnTo>
                    <a:pt x="151" y="151"/>
                  </a:lnTo>
                  <a:lnTo>
                    <a:pt x="151" y="15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92" name="Freeform 571">
              <a:extLst>
                <a:ext uri="{FF2B5EF4-FFF2-40B4-BE49-F238E27FC236}">
                  <a16:creationId xmlns:a16="http://schemas.microsoft.com/office/drawing/2014/main" id="{320759FA-3715-440F-BA22-EFFE5ACAC855}"/>
                </a:ext>
              </a:extLst>
            </p:cNvPr>
            <p:cNvSpPr>
              <a:spLocks/>
            </p:cNvSpPr>
            <p:nvPr/>
          </p:nvSpPr>
          <p:spPr bwMode="gray">
            <a:xfrm>
              <a:off x="6721296" y="3734043"/>
              <a:ext cx="57222" cy="147806"/>
            </a:xfrm>
            <a:custGeom>
              <a:avLst/>
              <a:gdLst>
                <a:gd name="T0" fmla="*/ 128 w 139"/>
                <a:gd name="T1" fmla="*/ 260 h 359"/>
                <a:gd name="T2" fmla="*/ 128 w 139"/>
                <a:gd name="T3" fmla="*/ 297 h 359"/>
                <a:gd name="T4" fmla="*/ 123 w 139"/>
                <a:gd name="T5" fmla="*/ 297 h 359"/>
                <a:gd name="T6" fmla="*/ 123 w 139"/>
                <a:gd name="T7" fmla="*/ 321 h 359"/>
                <a:gd name="T8" fmla="*/ 139 w 139"/>
                <a:gd name="T9" fmla="*/ 349 h 359"/>
                <a:gd name="T10" fmla="*/ 128 w 139"/>
                <a:gd name="T11" fmla="*/ 354 h 359"/>
                <a:gd name="T12" fmla="*/ 95 w 139"/>
                <a:gd name="T13" fmla="*/ 359 h 359"/>
                <a:gd name="T14" fmla="*/ 83 w 139"/>
                <a:gd name="T15" fmla="*/ 349 h 359"/>
                <a:gd name="T16" fmla="*/ 66 w 139"/>
                <a:gd name="T17" fmla="*/ 338 h 359"/>
                <a:gd name="T18" fmla="*/ 50 w 139"/>
                <a:gd name="T19" fmla="*/ 297 h 359"/>
                <a:gd name="T20" fmla="*/ 57 w 139"/>
                <a:gd name="T21" fmla="*/ 297 h 359"/>
                <a:gd name="T22" fmla="*/ 57 w 139"/>
                <a:gd name="T23" fmla="*/ 276 h 359"/>
                <a:gd name="T24" fmla="*/ 50 w 139"/>
                <a:gd name="T25" fmla="*/ 264 h 359"/>
                <a:gd name="T26" fmla="*/ 50 w 139"/>
                <a:gd name="T27" fmla="*/ 260 h 359"/>
                <a:gd name="T28" fmla="*/ 50 w 139"/>
                <a:gd name="T29" fmla="*/ 243 h 359"/>
                <a:gd name="T30" fmla="*/ 57 w 139"/>
                <a:gd name="T31" fmla="*/ 210 h 359"/>
                <a:gd name="T32" fmla="*/ 66 w 139"/>
                <a:gd name="T33" fmla="*/ 203 h 359"/>
                <a:gd name="T34" fmla="*/ 33 w 139"/>
                <a:gd name="T35" fmla="*/ 170 h 359"/>
                <a:gd name="T36" fmla="*/ 50 w 139"/>
                <a:gd name="T37" fmla="*/ 165 h 359"/>
                <a:gd name="T38" fmla="*/ 40 w 139"/>
                <a:gd name="T39" fmla="*/ 149 h 359"/>
                <a:gd name="T40" fmla="*/ 50 w 139"/>
                <a:gd name="T41" fmla="*/ 127 h 359"/>
                <a:gd name="T42" fmla="*/ 40 w 139"/>
                <a:gd name="T43" fmla="*/ 116 h 359"/>
                <a:gd name="T44" fmla="*/ 28 w 139"/>
                <a:gd name="T45" fmla="*/ 116 h 359"/>
                <a:gd name="T46" fmla="*/ 40 w 139"/>
                <a:gd name="T47" fmla="*/ 75 h 359"/>
                <a:gd name="T48" fmla="*/ 33 w 139"/>
                <a:gd name="T49" fmla="*/ 59 h 359"/>
                <a:gd name="T50" fmla="*/ 33 w 139"/>
                <a:gd name="T51" fmla="*/ 54 h 359"/>
                <a:gd name="T52" fmla="*/ 0 w 139"/>
                <a:gd name="T53" fmla="*/ 26 h 359"/>
                <a:gd name="T54" fmla="*/ 12 w 139"/>
                <a:gd name="T55" fmla="*/ 5 h 359"/>
                <a:gd name="T56" fmla="*/ 0 w 139"/>
                <a:gd name="T57" fmla="*/ 0 h 359"/>
                <a:gd name="T58" fmla="*/ 50 w 139"/>
                <a:gd name="T59" fmla="*/ 5 h 359"/>
                <a:gd name="T60" fmla="*/ 50 w 139"/>
                <a:gd name="T61" fmla="*/ 16 h 359"/>
                <a:gd name="T62" fmla="*/ 73 w 139"/>
                <a:gd name="T63" fmla="*/ 5 h 359"/>
                <a:gd name="T64" fmla="*/ 66 w 139"/>
                <a:gd name="T65" fmla="*/ 54 h 359"/>
                <a:gd name="T66" fmla="*/ 106 w 139"/>
                <a:gd name="T67" fmla="*/ 75 h 359"/>
                <a:gd name="T68" fmla="*/ 106 w 139"/>
                <a:gd name="T69" fmla="*/ 116 h 359"/>
                <a:gd name="T70" fmla="*/ 128 w 139"/>
                <a:gd name="T71" fmla="*/ 149 h 359"/>
                <a:gd name="T72" fmla="*/ 128 w 139"/>
                <a:gd name="T73" fmla="*/ 260 h 359"/>
                <a:gd name="T74" fmla="*/ 128 w 139"/>
                <a:gd name="T75" fmla="*/ 260 h 359"/>
                <a:gd name="T76" fmla="*/ 128 w 139"/>
                <a:gd name="T77" fmla="*/ 26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359">
                  <a:moveTo>
                    <a:pt x="128" y="260"/>
                  </a:moveTo>
                  <a:lnTo>
                    <a:pt x="128" y="297"/>
                  </a:lnTo>
                  <a:lnTo>
                    <a:pt x="123" y="297"/>
                  </a:lnTo>
                  <a:lnTo>
                    <a:pt x="123" y="321"/>
                  </a:lnTo>
                  <a:lnTo>
                    <a:pt x="139" y="349"/>
                  </a:lnTo>
                  <a:lnTo>
                    <a:pt x="128" y="354"/>
                  </a:lnTo>
                  <a:lnTo>
                    <a:pt x="95" y="359"/>
                  </a:lnTo>
                  <a:lnTo>
                    <a:pt x="83" y="349"/>
                  </a:lnTo>
                  <a:lnTo>
                    <a:pt x="66" y="338"/>
                  </a:lnTo>
                  <a:lnTo>
                    <a:pt x="50" y="297"/>
                  </a:lnTo>
                  <a:lnTo>
                    <a:pt x="57" y="297"/>
                  </a:lnTo>
                  <a:lnTo>
                    <a:pt x="57" y="276"/>
                  </a:lnTo>
                  <a:lnTo>
                    <a:pt x="50" y="264"/>
                  </a:lnTo>
                  <a:lnTo>
                    <a:pt x="50" y="260"/>
                  </a:lnTo>
                  <a:lnTo>
                    <a:pt x="50" y="243"/>
                  </a:lnTo>
                  <a:lnTo>
                    <a:pt x="57" y="210"/>
                  </a:lnTo>
                  <a:lnTo>
                    <a:pt x="66" y="203"/>
                  </a:lnTo>
                  <a:lnTo>
                    <a:pt x="33" y="170"/>
                  </a:lnTo>
                  <a:lnTo>
                    <a:pt x="50" y="165"/>
                  </a:lnTo>
                  <a:lnTo>
                    <a:pt x="40" y="149"/>
                  </a:lnTo>
                  <a:lnTo>
                    <a:pt x="50" y="127"/>
                  </a:lnTo>
                  <a:lnTo>
                    <a:pt x="40" y="116"/>
                  </a:lnTo>
                  <a:lnTo>
                    <a:pt x="28" y="116"/>
                  </a:lnTo>
                  <a:lnTo>
                    <a:pt x="40" y="75"/>
                  </a:lnTo>
                  <a:lnTo>
                    <a:pt x="33" y="59"/>
                  </a:lnTo>
                  <a:lnTo>
                    <a:pt x="33" y="54"/>
                  </a:lnTo>
                  <a:lnTo>
                    <a:pt x="0" y="26"/>
                  </a:lnTo>
                  <a:lnTo>
                    <a:pt x="12" y="5"/>
                  </a:lnTo>
                  <a:lnTo>
                    <a:pt x="0" y="0"/>
                  </a:lnTo>
                  <a:lnTo>
                    <a:pt x="50" y="5"/>
                  </a:lnTo>
                  <a:lnTo>
                    <a:pt x="50" y="16"/>
                  </a:lnTo>
                  <a:lnTo>
                    <a:pt x="73" y="5"/>
                  </a:lnTo>
                  <a:lnTo>
                    <a:pt x="66" y="54"/>
                  </a:lnTo>
                  <a:lnTo>
                    <a:pt x="106" y="75"/>
                  </a:lnTo>
                  <a:lnTo>
                    <a:pt x="106" y="116"/>
                  </a:lnTo>
                  <a:lnTo>
                    <a:pt x="128" y="149"/>
                  </a:lnTo>
                  <a:lnTo>
                    <a:pt x="128" y="260"/>
                  </a:lnTo>
                  <a:lnTo>
                    <a:pt x="128" y="260"/>
                  </a:lnTo>
                  <a:lnTo>
                    <a:pt x="128" y="26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93" name="Freeform 572">
              <a:extLst>
                <a:ext uri="{FF2B5EF4-FFF2-40B4-BE49-F238E27FC236}">
                  <a16:creationId xmlns:a16="http://schemas.microsoft.com/office/drawing/2014/main" id="{5DED9349-3D25-4549-B82F-3C82BE4643B3}"/>
                </a:ext>
              </a:extLst>
            </p:cNvPr>
            <p:cNvSpPr>
              <a:spLocks noEditPoints="1"/>
            </p:cNvSpPr>
            <p:nvPr/>
          </p:nvSpPr>
          <p:spPr bwMode="gray">
            <a:xfrm>
              <a:off x="6912722" y="4014010"/>
              <a:ext cx="29228" cy="49818"/>
            </a:xfrm>
            <a:custGeom>
              <a:avLst/>
              <a:gdLst>
                <a:gd name="T0" fmla="*/ 62 w 71"/>
                <a:gd name="T1" fmla="*/ 12 h 121"/>
                <a:gd name="T2" fmla="*/ 62 w 71"/>
                <a:gd name="T3" fmla="*/ 7 h 121"/>
                <a:gd name="T4" fmla="*/ 62 w 71"/>
                <a:gd name="T5" fmla="*/ 0 h 121"/>
                <a:gd name="T6" fmla="*/ 71 w 71"/>
                <a:gd name="T7" fmla="*/ 7 h 121"/>
                <a:gd name="T8" fmla="*/ 62 w 71"/>
                <a:gd name="T9" fmla="*/ 12 h 121"/>
                <a:gd name="T10" fmla="*/ 62 w 71"/>
                <a:gd name="T11" fmla="*/ 12 h 121"/>
                <a:gd name="T12" fmla="*/ 62 w 71"/>
                <a:gd name="T13" fmla="*/ 12 h 121"/>
                <a:gd name="T14" fmla="*/ 0 w 71"/>
                <a:gd name="T15" fmla="*/ 121 h 121"/>
                <a:gd name="T16" fmla="*/ 0 w 71"/>
                <a:gd name="T17" fmla="*/ 104 h 121"/>
                <a:gd name="T18" fmla="*/ 17 w 71"/>
                <a:gd name="T19" fmla="*/ 99 h 121"/>
                <a:gd name="T20" fmla="*/ 17 w 71"/>
                <a:gd name="T21" fmla="*/ 116 h 121"/>
                <a:gd name="T22" fmla="*/ 0 w 71"/>
                <a:gd name="T23" fmla="*/ 121 h 121"/>
                <a:gd name="T24" fmla="*/ 0 w 71"/>
                <a:gd name="T25" fmla="*/ 121 h 121"/>
                <a:gd name="T26" fmla="*/ 0 w 71"/>
                <a:gd name="T2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121">
                  <a:moveTo>
                    <a:pt x="62" y="12"/>
                  </a:moveTo>
                  <a:lnTo>
                    <a:pt x="62" y="7"/>
                  </a:lnTo>
                  <a:lnTo>
                    <a:pt x="62" y="0"/>
                  </a:lnTo>
                  <a:lnTo>
                    <a:pt x="71" y="7"/>
                  </a:lnTo>
                  <a:lnTo>
                    <a:pt x="62" y="12"/>
                  </a:lnTo>
                  <a:lnTo>
                    <a:pt x="62" y="12"/>
                  </a:lnTo>
                  <a:lnTo>
                    <a:pt x="62" y="12"/>
                  </a:lnTo>
                  <a:close/>
                  <a:moveTo>
                    <a:pt x="0" y="121"/>
                  </a:moveTo>
                  <a:lnTo>
                    <a:pt x="0" y="104"/>
                  </a:lnTo>
                  <a:lnTo>
                    <a:pt x="17" y="99"/>
                  </a:lnTo>
                  <a:lnTo>
                    <a:pt x="17" y="116"/>
                  </a:lnTo>
                  <a:lnTo>
                    <a:pt x="0" y="121"/>
                  </a:lnTo>
                  <a:lnTo>
                    <a:pt x="0" y="121"/>
                  </a:lnTo>
                  <a:lnTo>
                    <a:pt x="0" y="1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94" name="Freeform 573">
              <a:extLst>
                <a:ext uri="{FF2B5EF4-FFF2-40B4-BE49-F238E27FC236}">
                  <a16:creationId xmlns:a16="http://schemas.microsoft.com/office/drawing/2014/main" id="{AC51E838-36AB-4177-8C4D-F23479E755E6}"/>
                </a:ext>
              </a:extLst>
            </p:cNvPr>
            <p:cNvSpPr>
              <a:spLocks noEditPoints="1"/>
            </p:cNvSpPr>
            <p:nvPr/>
          </p:nvSpPr>
          <p:spPr bwMode="gray">
            <a:xfrm>
              <a:off x="6941951" y="2905258"/>
              <a:ext cx="116914" cy="236325"/>
            </a:xfrm>
            <a:custGeom>
              <a:avLst/>
              <a:gdLst>
                <a:gd name="T0" fmla="*/ 24 w 284"/>
                <a:gd name="T1" fmla="*/ 251 h 574"/>
                <a:gd name="T2" fmla="*/ 55 w 284"/>
                <a:gd name="T3" fmla="*/ 222 h 574"/>
                <a:gd name="T4" fmla="*/ 59 w 284"/>
                <a:gd name="T5" fmla="*/ 156 h 574"/>
                <a:gd name="T6" fmla="*/ 55 w 284"/>
                <a:gd name="T7" fmla="*/ 116 h 574"/>
                <a:gd name="T8" fmla="*/ 45 w 284"/>
                <a:gd name="T9" fmla="*/ 62 h 574"/>
                <a:gd name="T10" fmla="*/ 76 w 284"/>
                <a:gd name="T11" fmla="*/ 26 h 574"/>
                <a:gd name="T12" fmla="*/ 168 w 284"/>
                <a:gd name="T13" fmla="*/ 0 h 574"/>
                <a:gd name="T14" fmla="*/ 161 w 284"/>
                <a:gd name="T15" fmla="*/ 17 h 574"/>
                <a:gd name="T16" fmla="*/ 168 w 284"/>
                <a:gd name="T17" fmla="*/ 5 h 574"/>
                <a:gd name="T18" fmla="*/ 194 w 284"/>
                <a:gd name="T19" fmla="*/ 5 h 574"/>
                <a:gd name="T20" fmla="*/ 194 w 284"/>
                <a:gd name="T21" fmla="*/ 17 h 574"/>
                <a:gd name="T22" fmla="*/ 199 w 284"/>
                <a:gd name="T23" fmla="*/ 38 h 574"/>
                <a:gd name="T24" fmla="*/ 199 w 284"/>
                <a:gd name="T25" fmla="*/ 43 h 574"/>
                <a:gd name="T26" fmla="*/ 253 w 284"/>
                <a:gd name="T27" fmla="*/ 26 h 574"/>
                <a:gd name="T28" fmla="*/ 215 w 284"/>
                <a:gd name="T29" fmla="*/ 78 h 574"/>
                <a:gd name="T30" fmla="*/ 220 w 284"/>
                <a:gd name="T31" fmla="*/ 128 h 574"/>
                <a:gd name="T32" fmla="*/ 248 w 284"/>
                <a:gd name="T33" fmla="*/ 156 h 574"/>
                <a:gd name="T34" fmla="*/ 232 w 284"/>
                <a:gd name="T35" fmla="*/ 210 h 574"/>
                <a:gd name="T36" fmla="*/ 177 w 284"/>
                <a:gd name="T37" fmla="*/ 251 h 574"/>
                <a:gd name="T38" fmla="*/ 199 w 284"/>
                <a:gd name="T39" fmla="*/ 296 h 574"/>
                <a:gd name="T40" fmla="*/ 220 w 284"/>
                <a:gd name="T41" fmla="*/ 296 h 574"/>
                <a:gd name="T42" fmla="*/ 232 w 284"/>
                <a:gd name="T43" fmla="*/ 317 h 574"/>
                <a:gd name="T44" fmla="*/ 236 w 284"/>
                <a:gd name="T45" fmla="*/ 300 h 574"/>
                <a:gd name="T46" fmla="*/ 258 w 284"/>
                <a:gd name="T47" fmla="*/ 333 h 574"/>
                <a:gd name="T48" fmla="*/ 274 w 284"/>
                <a:gd name="T49" fmla="*/ 378 h 574"/>
                <a:gd name="T50" fmla="*/ 236 w 284"/>
                <a:gd name="T51" fmla="*/ 418 h 574"/>
                <a:gd name="T52" fmla="*/ 199 w 284"/>
                <a:gd name="T53" fmla="*/ 463 h 574"/>
                <a:gd name="T54" fmla="*/ 199 w 284"/>
                <a:gd name="T55" fmla="*/ 518 h 574"/>
                <a:gd name="T56" fmla="*/ 168 w 284"/>
                <a:gd name="T57" fmla="*/ 562 h 574"/>
                <a:gd name="T58" fmla="*/ 109 w 284"/>
                <a:gd name="T59" fmla="*/ 430 h 574"/>
                <a:gd name="T60" fmla="*/ 59 w 284"/>
                <a:gd name="T61" fmla="*/ 362 h 574"/>
                <a:gd name="T62" fmla="*/ 17 w 284"/>
                <a:gd name="T63" fmla="*/ 333 h 574"/>
                <a:gd name="T64" fmla="*/ 0 w 284"/>
                <a:gd name="T65" fmla="*/ 262 h 574"/>
                <a:gd name="T66" fmla="*/ 0 w 284"/>
                <a:gd name="T67" fmla="*/ 262 h 574"/>
                <a:gd name="T68" fmla="*/ 258 w 284"/>
                <a:gd name="T69" fmla="*/ 206 h 574"/>
                <a:gd name="T70" fmla="*/ 253 w 284"/>
                <a:gd name="T71" fmla="*/ 210 h 574"/>
                <a:gd name="T72" fmla="*/ 253 w 284"/>
                <a:gd name="T73" fmla="*/ 210 h 574"/>
                <a:gd name="T74" fmla="*/ 232 w 284"/>
                <a:gd name="T75" fmla="*/ 296 h 574"/>
                <a:gd name="T76" fmla="*/ 232 w 284"/>
                <a:gd name="T77" fmla="*/ 279 h 574"/>
                <a:gd name="T78" fmla="*/ 236 w 284"/>
                <a:gd name="T79" fmla="*/ 300 h 574"/>
                <a:gd name="T80" fmla="*/ 236 w 284"/>
                <a:gd name="T81" fmla="*/ 30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4" h="574">
                  <a:moveTo>
                    <a:pt x="0" y="262"/>
                  </a:moveTo>
                  <a:lnTo>
                    <a:pt x="24" y="251"/>
                  </a:lnTo>
                  <a:lnTo>
                    <a:pt x="24" y="239"/>
                  </a:lnTo>
                  <a:lnTo>
                    <a:pt x="55" y="222"/>
                  </a:lnTo>
                  <a:lnTo>
                    <a:pt x="59" y="173"/>
                  </a:lnTo>
                  <a:lnTo>
                    <a:pt x="59" y="156"/>
                  </a:lnTo>
                  <a:lnTo>
                    <a:pt x="59" y="133"/>
                  </a:lnTo>
                  <a:lnTo>
                    <a:pt x="55" y="116"/>
                  </a:lnTo>
                  <a:lnTo>
                    <a:pt x="59" y="71"/>
                  </a:lnTo>
                  <a:lnTo>
                    <a:pt x="45" y="62"/>
                  </a:lnTo>
                  <a:lnTo>
                    <a:pt x="88" y="38"/>
                  </a:lnTo>
                  <a:lnTo>
                    <a:pt x="76" y="26"/>
                  </a:lnTo>
                  <a:lnTo>
                    <a:pt x="151" y="0"/>
                  </a:lnTo>
                  <a:lnTo>
                    <a:pt x="168" y="0"/>
                  </a:lnTo>
                  <a:lnTo>
                    <a:pt x="161" y="5"/>
                  </a:lnTo>
                  <a:lnTo>
                    <a:pt x="161" y="17"/>
                  </a:lnTo>
                  <a:lnTo>
                    <a:pt x="168" y="5"/>
                  </a:lnTo>
                  <a:lnTo>
                    <a:pt x="168" y="5"/>
                  </a:lnTo>
                  <a:lnTo>
                    <a:pt x="177" y="0"/>
                  </a:lnTo>
                  <a:lnTo>
                    <a:pt x="194" y="5"/>
                  </a:lnTo>
                  <a:lnTo>
                    <a:pt x="182" y="17"/>
                  </a:lnTo>
                  <a:lnTo>
                    <a:pt x="194" y="17"/>
                  </a:lnTo>
                  <a:lnTo>
                    <a:pt x="194" y="21"/>
                  </a:lnTo>
                  <a:lnTo>
                    <a:pt x="199" y="38"/>
                  </a:lnTo>
                  <a:lnTo>
                    <a:pt x="194" y="38"/>
                  </a:lnTo>
                  <a:lnTo>
                    <a:pt x="199" y="43"/>
                  </a:lnTo>
                  <a:lnTo>
                    <a:pt x="248" y="17"/>
                  </a:lnTo>
                  <a:lnTo>
                    <a:pt x="253" y="26"/>
                  </a:lnTo>
                  <a:lnTo>
                    <a:pt x="232" y="71"/>
                  </a:lnTo>
                  <a:lnTo>
                    <a:pt x="215" y="78"/>
                  </a:lnTo>
                  <a:lnTo>
                    <a:pt x="203" y="95"/>
                  </a:lnTo>
                  <a:lnTo>
                    <a:pt x="220" y="128"/>
                  </a:lnTo>
                  <a:lnTo>
                    <a:pt x="248" y="133"/>
                  </a:lnTo>
                  <a:lnTo>
                    <a:pt x="248" y="156"/>
                  </a:lnTo>
                  <a:lnTo>
                    <a:pt x="253" y="173"/>
                  </a:lnTo>
                  <a:lnTo>
                    <a:pt x="232" y="210"/>
                  </a:lnTo>
                  <a:lnTo>
                    <a:pt x="182" y="246"/>
                  </a:lnTo>
                  <a:lnTo>
                    <a:pt x="177" y="251"/>
                  </a:lnTo>
                  <a:lnTo>
                    <a:pt x="182" y="279"/>
                  </a:lnTo>
                  <a:lnTo>
                    <a:pt x="199" y="296"/>
                  </a:lnTo>
                  <a:lnTo>
                    <a:pt x="203" y="300"/>
                  </a:lnTo>
                  <a:lnTo>
                    <a:pt x="220" y="296"/>
                  </a:lnTo>
                  <a:lnTo>
                    <a:pt x="220" y="307"/>
                  </a:lnTo>
                  <a:lnTo>
                    <a:pt x="232" y="317"/>
                  </a:lnTo>
                  <a:lnTo>
                    <a:pt x="236" y="307"/>
                  </a:lnTo>
                  <a:lnTo>
                    <a:pt x="236" y="300"/>
                  </a:lnTo>
                  <a:lnTo>
                    <a:pt x="248" y="300"/>
                  </a:lnTo>
                  <a:lnTo>
                    <a:pt x="258" y="333"/>
                  </a:lnTo>
                  <a:lnTo>
                    <a:pt x="284" y="340"/>
                  </a:lnTo>
                  <a:lnTo>
                    <a:pt x="274" y="378"/>
                  </a:lnTo>
                  <a:lnTo>
                    <a:pt x="284" y="395"/>
                  </a:lnTo>
                  <a:lnTo>
                    <a:pt x="236" y="418"/>
                  </a:lnTo>
                  <a:lnTo>
                    <a:pt x="203" y="451"/>
                  </a:lnTo>
                  <a:lnTo>
                    <a:pt x="199" y="463"/>
                  </a:lnTo>
                  <a:lnTo>
                    <a:pt x="182" y="473"/>
                  </a:lnTo>
                  <a:lnTo>
                    <a:pt x="199" y="518"/>
                  </a:lnTo>
                  <a:lnTo>
                    <a:pt x="194" y="529"/>
                  </a:lnTo>
                  <a:lnTo>
                    <a:pt x="168" y="562"/>
                  </a:lnTo>
                  <a:lnTo>
                    <a:pt x="147" y="574"/>
                  </a:lnTo>
                  <a:lnTo>
                    <a:pt x="109" y="430"/>
                  </a:lnTo>
                  <a:lnTo>
                    <a:pt x="59" y="390"/>
                  </a:lnTo>
                  <a:lnTo>
                    <a:pt x="59" y="362"/>
                  </a:lnTo>
                  <a:lnTo>
                    <a:pt x="45" y="340"/>
                  </a:lnTo>
                  <a:lnTo>
                    <a:pt x="17" y="333"/>
                  </a:lnTo>
                  <a:lnTo>
                    <a:pt x="0" y="279"/>
                  </a:lnTo>
                  <a:lnTo>
                    <a:pt x="0" y="262"/>
                  </a:lnTo>
                  <a:lnTo>
                    <a:pt x="0" y="262"/>
                  </a:lnTo>
                  <a:lnTo>
                    <a:pt x="0" y="262"/>
                  </a:lnTo>
                  <a:close/>
                  <a:moveTo>
                    <a:pt x="253" y="210"/>
                  </a:moveTo>
                  <a:lnTo>
                    <a:pt x="258" y="206"/>
                  </a:lnTo>
                  <a:lnTo>
                    <a:pt x="270" y="206"/>
                  </a:lnTo>
                  <a:lnTo>
                    <a:pt x="253" y="210"/>
                  </a:lnTo>
                  <a:lnTo>
                    <a:pt x="253" y="210"/>
                  </a:lnTo>
                  <a:lnTo>
                    <a:pt x="253" y="210"/>
                  </a:lnTo>
                  <a:close/>
                  <a:moveTo>
                    <a:pt x="236" y="300"/>
                  </a:moveTo>
                  <a:lnTo>
                    <a:pt x="232" y="296"/>
                  </a:lnTo>
                  <a:lnTo>
                    <a:pt x="232" y="296"/>
                  </a:lnTo>
                  <a:lnTo>
                    <a:pt x="232" y="279"/>
                  </a:lnTo>
                  <a:lnTo>
                    <a:pt x="248" y="284"/>
                  </a:lnTo>
                  <a:lnTo>
                    <a:pt x="236" y="300"/>
                  </a:lnTo>
                  <a:lnTo>
                    <a:pt x="236" y="300"/>
                  </a:lnTo>
                  <a:lnTo>
                    <a:pt x="236" y="30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95" name="Freeform 578">
              <a:extLst>
                <a:ext uri="{FF2B5EF4-FFF2-40B4-BE49-F238E27FC236}">
                  <a16:creationId xmlns:a16="http://schemas.microsoft.com/office/drawing/2014/main" id="{10A2DD18-46A4-44E4-AC5B-2D716B6DF335}"/>
                </a:ext>
              </a:extLst>
            </p:cNvPr>
            <p:cNvSpPr>
              <a:spLocks noEditPoints="1"/>
            </p:cNvSpPr>
            <p:nvPr/>
          </p:nvSpPr>
          <p:spPr bwMode="gray">
            <a:xfrm>
              <a:off x="7573041" y="4095528"/>
              <a:ext cx="323162" cy="320316"/>
            </a:xfrm>
            <a:custGeom>
              <a:avLst/>
              <a:gdLst>
                <a:gd name="T0" fmla="*/ 612 w 785"/>
                <a:gd name="T1" fmla="*/ 737 h 778"/>
                <a:gd name="T2" fmla="*/ 596 w 785"/>
                <a:gd name="T3" fmla="*/ 766 h 778"/>
                <a:gd name="T4" fmla="*/ 525 w 785"/>
                <a:gd name="T5" fmla="*/ 766 h 778"/>
                <a:gd name="T6" fmla="*/ 482 w 785"/>
                <a:gd name="T7" fmla="*/ 778 h 778"/>
                <a:gd name="T8" fmla="*/ 461 w 785"/>
                <a:gd name="T9" fmla="*/ 754 h 778"/>
                <a:gd name="T10" fmla="*/ 395 w 785"/>
                <a:gd name="T11" fmla="*/ 766 h 778"/>
                <a:gd name="T12" fmla="*/ 374 w 785"/>
                <a:gd name="T13" fmla="*/ 712 h 778"/>
                <a:gd name="T14" fmla="*/ 352 w 785"/>
                <a:gd name="T15" fmla="*/ 626 h 778"/>
                <a:gd name="T16" fmla="*/ 319 w 785"/>
                <a:gd name="T17" fmla="*/ 626 h 778"/>
                <a:gd name="T18" fmla="*/ 288 w 785"/>
                <a:gd name="T19" fmla="*/ 622 h 778"/>
                <a:gd name="T20" fmla="*/ 248 w 785"/>
                <a:gd name="T21" fmla="*/ 605 h 778"/>
                <a:gd name="T22" fmla="*/ 218 w 785"/>
                <a:gd name="T23" fmla="*/ 589 h 778"/>
                <a:gd name="T24" fmla="*/ 189 w 785"/>
                <a:gd name="T25" fmla="*/ 572 h 778"/>
                <a:gd name="T26" fmla="*/ 147 w 785"/>
                <a:gd name="T27" fmla="*/ 551 h 778"/>
                <a:gd name="T28" fmla="*/ 104 w 785"/>
                <a:gd name="T29" fmla="*/ 515 h 778"/>
                <a:gd name="T30" fmla="*/ 50 w 785"/>
                <a:gd name="T31" fmla="*/ 423 h 778"/>
                <a:gd name="T32" fmla="*/ 17 w 785"/>
                <a:gd name="T33" fmla="*/ 383 h 778"/>
                <a:gd name="T34" fmla="*/ 17 w 785"/>
                <a:gd name="T35" fmla="*/ 345 h 778"/>
                <a:gd name="T36" fmla="*/ 0 w 785"/>
                <a:gd name="T37" fmla="*/ 251 h 778"/>
                <a:gd name="T38" fmla="*/ 50 w 785"/>
                <a:gd name="T39" fmla="*/ 234 h 778"/>
                <a:gd name="T40" fmla="*/ 71 w 785"/>
                <a:gd name="T41" fmla="*/ 201 h 778"/>
                <a:gd name="T42" fmla="*/ 104 w 785"/>
                <a:gd name="T43" fmla="*/ 161 h 778"/>
                <a:gd name="T44" fmla="*/ 88 w 785"/>
                <a:gd name="T45" fmla="*/ 140 h 778"/>
                <a:gd name="T46" fmla="*/ 81 w 785"/>
                <a:gd name="T47" fmla="*/ 140 h 778"/>
                <a:gd name="T48" fmla="*/ 104 w 785"/>
                <a:gd name="T49" fmla="*/ 100 h 778"/>
                <a:gd name="T50" fmla="*/ 104 w 785"/>
                <a:gd name="T51" fmla="*/ 67 h 778"/>
                <a:gd name="T52" fmla="*/ 92 w 785"/>
                <a:gd name="T53" fmla="*/ 34 h 778"/>
                <a:gd name="T54" fmla="*/ 81 w 785"/>
                <a:gd name="T55" fmla="*/ 0 h 778"/>
                <a:gd name="T56" fmla="*/ 248 w 785"/>
                <a:gd name="T57" fmla="*/ 0 h 778"/>
                <a:gd name="T58" fmla="*/ 579 w 785"/>
                <a:gd name="T59" fmla="*/ 145 h 778"/>
                <a:gd name="T60" fmla="*/ 579 w 785"/>
                <a:gd name="T61" fmla="*/ 178 h 778"/>
                <a:gd name="T62" fmla="*/ 700 w 785"/>
                <a:gd name="T63" fmla="*/ 277 h 778"/>
                <a:gd name="T64" fmla="*/ 688 w 785"/>
                <a:gd name="T65" fmla="*/ 277 h 778"/>
                <a:gd name="T66" fmla="*/ 678 w 785"/>
                <a:gd name="T67" fmla="*/ 388 h 778"/>
                <a:gd name="T68" fmla="*/ 721 w 785"/>
                <a:gd name="T69" fmla="*/ 433 h 778"/>
                <a:gd name="T70" fmla="*/ 700 w 785"/>
                <a:gd name="T71" fmla="*/ 489 h 778"/>
                <a:gd name="T72" fmla="*/ 716 w 785"/>
                <a:gd name="T73" fmla="*/ 499 h 778"/>
                <a:gd name="T74" fmla="*/ 704 w 785"/>
                <a:gd name="T75" fmla="*/ 556 h 778"/>
                <a:gd name="T76" fmla="*/ 704 w 785"/>
                <a:gd name="T77" fmla="*/ 572 h 778"/>
                <a:gd name="T78" fmla="*/ 737 w 785"/>
                <a:gd name="T79" fmla="*/ 655 h 778"/>
                <a:gd name="T80" fmla="*/ 754 w 785"/>
                <a:gd name="T81" fmla="*/ 662 h 778"/>
                <a:gd name="T82" fmla="*/ 770 w 785"/>
                <a:gd name="T83" fmla="*/ 667 h 778"/>
                <a:gd name="T84" fmla="*/ 700 w 785"/>
                <a:gd name="T85" fmla="*/ 737 h 778"/>
                <a:gd name="T86" fmla="*/ 645 w 785"/>
                <a:gd name="T87" fmla="*/ 754 h 778"/>
                <a:gd name="T88" fmla="*/ 645 w 785"/>
                <a:gd name="T89" fmla="*/ 754 h 778"/>
                <a:gd name="T90" fmla="*/ 733 w 785"/>
                <a:gd name="T91" fmla="*/ 277 h 778"/>
                <a:gd name="T92" fmla="*/ 737 w 785"/>
                <a:gd name="T93" fmla="*/ 305 h 778"/>
                <a:gd name="T94" fmla="*/ 721 w 785"/>
                <a:gd name="T95" fmla="*/ 322 h 778"/>
                <a:gd name="T96" fmla="*/ 733 w 785"/>
                <a:gd name="T97" fmla="*/ 305 h 778"/>
                <a:gd name="T98" fmla="*/ 704 w 785"/>
                <a:gd name="T99" fmla="*/ 362 h 778"/>
                <a:gd name="T100" fmla="*/ 716 w 785"/>
                <a:gd name="T101" fmla="*/ 367 h 778"/>
                <a:gd name="T102" fmla="*/ 721 w 785"/>
                <a:gd name="T103" fmla="*/ 388 h 778"/>
                <a:gd name="T104" fmla="*/ 688 w 785"/>
                <a:gd name="T105" fmla="*/ 378 h 778"/>
                <a:gd name="T106" fmla="*/ 700 w 785"/>
                <a:gd name="T107" fmla="*/ 345 h 778"/>
                <a:gd name="T108" fmla="*/ 704 w 785"/>
                <a:gd name="T109" fmla="*/ 362 h 778"/>
                <a:gd name="T110" fmla="*/ 721 w 785"/>
                <a:gd name="T111" fmla="*/ 499 h 778"/>
                <a:gd name="T112" fmla="*/ 742 w 785"/>
                <a:gd name="T113" fmla="*/ 478 h 778"/>
                <a:gd name="T114" fmla="*/ 721 w 785"/>
                <a:gd name="T115" fmla="*/ 499 h 778"/>
                <a:gd name="T116" fmla="*/ 721 w 785"/>
                <a:gd name="T117" fmla="*/ 499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5" h="778">
                  <a:moveTo>
                    <a:pt x="645" y="754"/>
                  </a:moveTo>
                  <a:lnTo>
                    <a:pt x="612" y="737"/>
                  </a:lnTo>
                  <a:lnTo>
                    <a:pt x="607" y="749"/>
                  </a:lnTo>
                  <a:lnTo>
                    <a:pt x="596" y="766"/>
                  </a:lnTo>
                  <a:lnTo>
                    <a:pt x="574" y="778"/>
                  </a:lnTo>
                  <a:lnTo>
                    <a:pt x="525" y="766"/>
                  </a:lnTo>
                  <a:lnTo>
                    <a:pt x="503" y="778"/>
                  </a:lnTo>
                  <a:lnTo>
                    <a:pt x="482" y="778"/>
                  </a:lnTo>
                  <a:lnTo>
                    <a:pt x="482" y="766"/>
                  </a:lnTo>
                  <a:lnTo>
                    <a:pt x="461" y="754"/>
                  </a:lnTo>
                  <a:lnTo>
                    <a:pt x="433" y="771"/>
                  </a:lnTo>
                  <a:lnTo>
                    <a:pt x="395" y="766"/>
                  </a:lnTo>
                  <a:lnTo>
                    <a:pt x="374" y="733"/>
                  </a:lnTo>
                  <a:lnTo>
                    <a:pt x="374" y="712"/>
                  </a:lnTo>
                  <a:lnTo>
                    <a:pt x="364" y="655"/>
                  </a:lnTo>
                  <a:lnTo>
                    <a:pt x="352" y="626"/>
                  </a:lnTo>
                  <a:lnTo>
                    <a:pt x="326" y="610"/>
                  </a:lnTo>
                  <a:lnTo>
                    <a:pt x="319" y="626"/>
                  </a:lnTo>
                  <a:lnTo>
                    <a:pt x="310" y="622"/>
                  </a:lnTo>
                  <a:lnTo>
                    <a:pt x="288" y="622"/>
                  </a:lnTo>
                  <a:lnTo>
                    <a:pt x="281" y="610"/>
                  </a:lnTo>
                  <a:lnTo>
                    <a:pt x="248" y="605"/>
                  </a:lnTo>
                  <a:lnTo>
                    <a:pt x="227" y="600"/>
                  </a:lnTo>
                  <a:lnTo>
                    <a:pt x="218" y="589"/>
                  </a:lnTo>
                  <a:lnTo>
                    <a:pt x="189" y="584"/>
                  </a:lnTo>
                  <a:lnTo>
                    <a:pt x="189" y="572"/>
                  </a:lnTo>
                  <a:lnTo>
                    <a:pt x="163" y="572"/>
                  </a:lnTo>
                  <a:lnTo>
                    <a:pt x="147" y="551"/>
                  </a:lnTo>
                  <a:lnTo>
                    <a:pt x="118" y="551"/>
                  </a:lnTo>
                  <a:lnTo>
                    <a:pt x="104" y="515"/>
                  </a:lnTo>
                  <a:lnTo>
                    <a:pt x="71" y="445"/>
                  </a:lnTo>
                  <a:lnTo>
                    <a:pt x="50" y="423"/>
                  </a:lnTo>
                  <a:lnTo>
                    <a:pt x="26" y="404"/>
                  </a:lnTo>
                  <a:lnTo>
                    <a:pt x="17" y="383"/>
                  </a:lnTo>
                  <a:lnTo>
                    <a:pt x="12" y="362"/>
                  </a:lnTo>
                  <a:lnTo>
                    <a:pt x="17" y="345"/>
                  </a:lnTo>
                  <a:lnTo>
                    <a:pt x="0" y="289"/>
                  </a:lnTo>
                  <a:lnTo>
                    <a:pt x="0" y="251"/>
                  </a:lnTo>
                  <a:lnTo>
                    <a:pt x="33" y="251"/>
                  </a:lnTo>
                  <a:lnTo>
                    <a:pt x="50" y="234"/>
                  </a:lnTo>
                  <a:lnTo>
                    <a:pt x="71" y="201"/>
                  </a:lnTo>
                  <a:lnTo>
                    <a:pt x="71" y="201"/>
                  </a:lnTo>
                  <a:lnTo>
                    <a:pt x="81" y="185"/>
                  </a:lnTo>
                  <a:lnTo>
                    <a:pt x="104" y="161"/>
                  </a:lnTo>
                  <a:lnTo>
                    <a:pt x="104" y="145"/>
                  </a:lnTo>
                  <a:lnTo>
                    <a:pt x="88" y="140"/>
                  </a:lnTo>
                  <a:lnTo>
                    <a:pt x="81" y="140"/>
                  </a:lnTo>
                  <a:lnTo>
                    <a:pt x="81" y="140"/>
                  </a:lnTo>
                  <a:lnTo>
                    <a:pt x="88" y="100"/>
                  </a:lnTo>
                  <a:lnTo>
                    <a:pt x="104" y="100"/>
                  </a:lnTo>
                  <a:lnTo>
                    <a:pt x="109" y="74"/>
                  </a:lnTo>
                  <a:lnTo>
                    <a:pt x="104" y="67"/>
                  </a:lnTo>
                  <a:lnTo>
                    <a:pt x="104" y="50"/>
                  </a:lnTo>
                  <a:lnTo>
                    <a:pt x="92" y="34"/>
                  </a:lnTo>
                  <a:lnTo>
                    <a:pt x="88" y="29"/>
                  </a:lnTo>
                  <a:lnTo>
                    <a:pt x="81" y="0"/>
                  </a:lnTo>
                  <a:lnTo>
                    <a:pt x="104" y="0"/>
                  </a:lnTo>
                  <a:lnTo>
                    <a:pt x="248" y="0"/>
                  </a:lnTo>
                  <a:lnTo>
                    <a:pt x="319" y="0"/>
                  </a:lnTo>
                  <a:lnTo>
                    <a:pt x="579" y="145"/>
                  </a:lnTo>
                  <a:lnTo>
                    <a:pt x="591" y="166"/>
                  </a:lnTo>
                  <a:lnTo>
                    <a:pt x="579" y="178"/>
                  </a:lnTo>
                  <a:lnTo>
                    <a:pt x="688" y="267"/>
                  </a:lnTo>
                  <a:lnTo>
                    <a:pt x="700" y="277"/>
                  </a:lnTo>
                  <a:lnTo>
                    <a:pt x="688" y="289"/>
                  </a:lnTo>
                  <a:lnTo>
                    <a:pt x="688" y="277"/>
                  </a:lnTo>
                  <a:lnTo>
                    <a:pt x="666" y="367"/>
                  </a:lnTo>
                  <a:lnTo>
                    <a:pt x="678" y="388"/>
                  </a:lnTo>
                  <a:lnTo>
                    <a:pt x="683" y="400"/>
                  </a:lnTo>
                  <a:lnTo>
                    <a:pt x="721" y="433"/>
                  </a:lnTo>
                  <a:lnTo>
                    <a:pt x="700" y="478"/>
                  </a:lnTo>
                  <a:lnTo>
                    <a:pt x="700" y="489"/>
                  </a:lnTo>
                  <a:lnTo>
                    <a:pt x="716" y="494"/>
                  </a:lnTo>
                  <a:lnTo>
                    <a:pt x="716" y="499"/>
                  </a:lnTo>
                  <a:lnTo>
                    <a:pt x="700" y="527"/>
                  </a:lnTo>
                  <a:lnTo>
                    <a:pt x="704" y="556"/>
                  </a:lnTo>
                  <a:lnTo>
                    <a:pt x="716" y="572"/>
                  </a:lnTo>
                  <a:lnTo>
                    <a:pt x="704" y="572"/>
                  </a:lnTo>
                  <a:lnTo>
                    <a:pt x="721" y="589"/>
                  </a:lnTo>
                  <a:lnTo>
                    <a:pt x="737" y="655"/>
                  </a:lnTo>
                  <a:lnTo>
                    <a:pt x="754" y="667"/>
                  </a:lnTo>
                  <a:lnTo>
                    <a:pt x="754" y="662"/>
                  </a:lnTo>
                  <a:lnTo>
                    <a:pt x="770" y="678"/>
                  </a:lnTo>
                  <a:lnTo>
                    <a:pt x="770" y="667"/>
                  </a:lnTo>
                  <a:lnTo>
                    <a:pt x="785" y="683"/>
                  </a:lnTo>
                  <a:lnTo>
                    <a:pt x="700" y="737"/>
                  </a:lnTo>
                  <a:lnTo>
                    <a:pt x="678" y="737"/>
                  </a:lnTo>
                  <a:lnTo>
                    <a:pt x="645" y="754"/>
                  </a:lnTo>
                  <a:lnTo>
                    <a:pt x="645" y="754"/>
                  </a:lnTo>
                  <a:lnTo>
                    <a:pt x="645" y="754"/>
                  </a:lnTo>
                  <a:close/>
                  <a:moveTo>
                    <a:pt x="733" y="305"/>
                  </a:moveTo>
                  <a:lnTo>
                    <a:pt x="733" y="277"/>
                  </a:lnTo>
                  <a:lnTo>
                    <a:pt x="737" y="277"/>
                  </a:lnTo>
                  <a:lnTo>
                    <a:pt x="737" y="305"/>
                  </a:lnTo>
                  <a:lnTo>
                    <a:pt x="733" y="322"/>
                  </a:lnTo>
                  <a:lnTo>
                    <a:pt x="721" y="322"/>
                  </a:lnTo>
                  <a:lnTo>
                    <a:pt x="733" y="305"/>
                  </a:lnTo>
                  <a:lnTo>
                    <a:pt x="733" y="305"/>
                  </a:lnTo>
                  <a:lnTo>
                    <a:pt x="733" y="305"/>
                  </a:lnTo>
                  <a:close/>
                  <a:moveTo>
                    <a:pt x="704" y="362"/>
                  </a:moveTo>
                  <a:lnTo>
                    <a:pt x="716" y="378"/>
                  </a:lnTo>
                  <a:lnTo>
                    <a:pt x="716" y="367"/>
                  </a:lnTo>
                  <a:lnTo>
                    <a:pt x="716" y="378"/>
                  </a:lnTo>
                  <a:lnTo>
                    <a:pt x="721" y="388"/>
                  </a:lnTo>
                  <a:lnTo>
                    <a:pt x="716" y="400"/>
                  </a:lnTo>
                  <a:lnTo>
                    <a:pt x="688" y="378"/>
                  </a:lnTo>
                  <a:lnTo>
                    <a:pt x="688" y="362"/>
                  </a:lnTo>
                  <a:lnTo>
                    <a:pt x="700" y="345"/>
                  </a:lnTo>
                  <a:lnTo>
                    <a:pt x="704" y="362"/>
                  </a:lnTo>
                  <a:lnTo>
                    <a:pt x="704" y="362"/>
                  </a:lnTo>
                  <a:lnTo>
                    <a:pt x="704" y="362"/>
                  </a:lnTo>
                  <a:close/>
                  <a:moveTo>
                    <a:pt x="721" y="499"/>
                  </a:moveTo>
                  <a:lnTo>
                    <a:pt x="721" y="499"/>
                  </a:lnTo>
                  <a:lnTo>
                    <a:pt x="742" y="478"/>
                  </a:lnTo>
                  <a:lnTo>
                    <a:pt x="737" y="499"/>
                  </a:lnTo>
                  <a:lnTo>
                    <a:pt x="721" y="499"/>
                  </a:lnTo>
                  <a:lnTo>
                    <a:pt x="721" y="499"/>
                  </a:lnTo>
                  <a:lnTo>
                    <a:pt x="721" y="49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96" name="Freeform 579">
              <a:extLst>
                <a:ext uri="{FF2B5EF4-FFF2-40B4-BE49-F238E27FC236}">
                  <a16:creationId xmlns:a16="http://schemas.microsoft.com/office/drawing/2014/main" id="{9E23A79D-00F3-434F-AD9E-17F17C8FD709}"/>
                </a:ext>
              </a:extLst>
            </p:cNvPr>
            <p:cNvSpPr>
              <a:spLocks/>
            </p:cNvSpPr>
            <p:nvPr/>
          </p:nvSpPr>
          <p:spPr bwMode="gray">
            <a:xfrm>
              <a:off x="7580039" y="3940312"/>
              <a:ext cx="155611" cy="167980"/>
            </a:xfrm>
            <a:custGeom>
              <a:avLst/>
              <a:gdLst>
                <a:gd name="T0" fmla="*/ 231 w 378"/>
                <a:gd name="T1" fmla="*/ 375 h 408"/>
                <a:gd name="T2" fmla="*/ 87 w 378"/>
                <a:gd name="T3" fmla="*/ 375 h 408"/>
                <a:gd name="T4" fmla="*/ 66 w 378"/>
                <a:gd name="T5" fmla="*/ 375 h 408"/>
                <a:gd name="T6" fmla="*/ 54 w 378"/>
                <a:gd name="T7" fmla="*/ 375 h 408"/>
                <a:gd name="T8" fmla="*/ 33 w 378"/>
                <a:gd name="T9" fmla="*/ 408 h 408"/>
                <a:gd name="T10" fmla="*/ 16 w 378"/>
                <a:gd name="T11" fmla="*/ 401 h 408"/>
                <a:gd name="T12" fmla="*/ 0 w 378"/>
                <a:gd name="T13" fmla="*/ 401 h 408"/>
                <a:gd name="T14" fmla="*/ 0 w 378"/>
                <a:gd name="T15" fmla="*/ 368 h 408"/>
                <a:gd name="T16" fmla="*/ 12 w 378"/>
                <a:gd name="T17" fmla="*/ 297 h 408"/>
                <a:gd name="T18" fmla="*/ 21 w 378"/>
                <a:gd name="T19" fmla="*/ 264 h 408"/>
                <a:gd name="T20" fmla="*/ 21 w 378"/>
                <a:gd name="T21" fmla="*/ 243 h 408"/>
                <a:gd name="T22" fmla="*/ 38 w 378"/>
                <a:gd name="T23" fmla="*/ 236 h 408"/>
                <a:gd name="T24" fmla="*/ 49 w 378"/>
                <a:gd name="T25" fmla="*/ 219 h 408"/>
                <a:gd name="T26" fmla="*/ 66 w 378"/>
                <a:gd name="T27" fmla="*/ 219 h 408"/>
                <a:gd name="T28" fmla="*/ 125 w 378"/>
                <a:gd name="T29" fmla="*/ 148 h 408"/>
                <a:gd name="T30" fmla="*/ 104 w 378"/>
                <a:gd name="T31" fmla="*/ 132 h 408"/>
                <a:gd name="T32" fmla="*/ 92 w 378"/>
                <a:gd name="T33" fmla="*/ 132 h 408"/>
                <a:gd name="T34" fmla="*/ 75 w 378"/>
                <a:gd name="T35" fmla="*/ 127 h 408"/>
                <a:gd name="T36" fmla="*/ 92 w 378"/>
                <a:gd name="T37" fmla="*/ 99 h 408"/>
                <a:gd name="T38" fmla="*/ 87 w 378"/>
                <a:gd name="T39" fmla="*/ 82 h 408"/>
                <a:gd name="T40" fmla="*/ 92 w 378"/>
                <a:gd name="T41" fmla="*/ 61 h 408"/>
                <a:gd name="T42" fmla="*/ 92 w 378"/>
                <a:gd name="T43" fmla="*/ 54 h 408"/>
                <a:gd name="T44" fmla="*/ 92 w 378"/>
                <a:gd name="T45" fmla="*/ 54 h 408"/>
                <a:gd name="T46" fmla="*/ 104 w 378"/>
                <a:gd name="T47" fmla="*/ 37 h 408"/>
                <a:gd name="T48" fmla="*/ 108 w 378"/>
                <a:gd name="T49" fmla="*/ 28 h 408"/>
                <a:gd name="T50" fmla="*/ 142 w 378"/>
                <a:gd name="T51" fmla="*/ 37 h 408"/>
                <a:gd name="T52" fmla="*/ 156 w 378"/>
                <a:gd name="T53" fmla="*/ 28 h 408"/>
                <a:gd name="T54" fmla="*/ 163 w 378"/>
                <a:gd name="T55" fmla="*/ 44 h 408"/>
                <a:gd name="T56" fmla="*/ 184 w 378"/>
                <a:gd name="T57" fmla="*/ 54 h 408"/>
                <a:gd name="T58" fmla="*/ 184 w 378"/>
                <a:gd name="T59" fmla="*/ 44 h 408"/>
                <a:gd name="T60" fmla="*/ 201 w 378"/>
                <a:gd name="T61" fmla="*/ 37 h 408"/>
                <a:gd name="T62" fmla="*/ 217 w 378"/>
                <a:gd name="T63" fmla="*/ 28 h 408"/>
                <a:gd name="T64" fmla="*/ 238 w 378"/>
                <a:gd name="T65" fmla="*/ 21 h 408"/>
                <a:gd name="T66" fmla="*/ 255 w 378"/>
                <a:gd name="T67" fmla="*/ 28 h 408"/>
                <a:gd name="T68" fmla="*/ 281 w 378"/>
                <a:gd name="T69" fmla="*/ 28 h 408"/>
                <a:gd name="T70" fmla="*/ 307 w 378"/>
                <a:gd name="T71" fmla="*/ 0 h 408"/>
                <a:gd name="T72" fmla="*/ 323 w 378"/>
                <a:gd name="T73" fmla="*/ 28 h 408"/>
                <a:gd name="T74" fmla="*/ 340 w 378"/>
                <a:gd name="T75" fmla="*/ 37 h 408"/>
                <a:gd name="T76" fmla="*/ 340 w 378"/>
                <a:gd name="T77" fmla="*/ 61 h 408"/>
                <a:gd name="T78" fmla="*/ 345 w 378"/>
                <a:gd name="T79" fmla="*/ 94 h 408"/>
                <a:gd name="T80" fmla="*/ 361 w 378"/>
                <a:gd name="T81" fmla="*/ 99 h 408"/>
                <a:gd name="T82" fmla="*/ 373 w 378"/>
                <a:gd name="T83" fmla="*/ 127 h 408"/>
                <a:gd name="T84" fmla="*/ 378 w 378"/>
                <a:gd name="T85" fmla="*/ 165 h 408"/>
                <a:gd name="T86" fmla="*/ 378 w 378"/>
                <a:gd name="T87" fmla="*/ 181 h 408"/>
                <a:gd name="T88" fmla="*/ 361 w 378"/>
                <a:gd name="T89" fmla="*/ 203 h 408"/>
                <a:gd name="T90" fmla="*/ 373 w 378"/>
                <a:gd name="T91" fmla="*/ 210 h 408"/>
                <a:gd name="T92" fmla="*/ 345 w 378"/>
                <a:gd name="T93" fmla="*/ 219 h 408"/>
                <a:gd name="T94" fmla="*/ 340 w 378"/>
                <a:gd name="T95" fmla="*/ 243 h 408"/>
                <a:gd name="T96" fmla="*/ 323 w 378"/>
                <a:gd name="T97" fmla="*/ 259 h 408"/>
                <a:gd name="T98" fmla="*/ 302 w 378"/>
                <a:gd name="T99" fmla="*/ 297 h 408"/>
                <a:gd name="T100" fmla="*/ 307 w 378"/>
                <a:gd name="T101" fmla="*/ 314 h 408"/>
                <a:gd name="T102" fmla="*/ 302 w 378"/>
                <a:gd name="T103" fmla="*/ 375 h 408"/>
                <a:gd name="T104" fmla="*/ 231 w 378"/>
                <a:gd name="T105" fmla="*/ 375 h 408"/>
                <a:gd name="T106" fmla="*/ 231 w 378"/>
                <a:gd name="T107" fmla="*/ 375 h 408"/>
                <a:gd name="T108" fmla="*/ 231 w 378"/>
                <a:gd name="T109" fmla="*/ 375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8" h="408">
                  <a:moveTo>
                    <a:pt x="231" y="375"/>
                  </a:moveTo>
                  <a:lnTo>
                    <a:pt x="87" y="375"/>
                  </a:lnTo>
                  <a:lnTo>
                    <a:pt x="66" y="375"/>
                  </a:lnTo>
                  <a:lnTo>
                    <a:pt x="54" y="375"/>
                  </a:lnTo>
                  <a:lnTo>
                    <a:pt x="33" y="408"/>
                  </a:lnTo>
                  <a:lnTo>
                    <a:pt x="16" y="401"/>
                  </a:lnTo>
                  <a:lnTo>
                    <a:pt x="0" y="401"/>
                  </a:lnTo>
                  <a:lnTo>
                    <a:pt x="0" y="368"/>
                  </a:lnTo>
                  <a:lnTo>
                    <a:pt x="12" y="297"/>
                  </a:lnTo>
                  <a:lnTo>
                    <a:pt x="21" y="264"/>
                  </a:lnTo>
                  <a:lnTo>
                    <a:pt x="21" y="243"/>
                  </a:lnTo>
                  <a:lnTo>
                    <a:pt x="38" y="236"/>
                  </a:lnTo>
                  <a:lnTo>
                    <a:pt x="49" y="219"/>
                  </a:lnTo>
                  <a:lnTo>
                    <a:pt x="66" y="219"/>
                  </a:lnTo>
                  <a:lnTo>
                    <a:pt x="125" y="148"/>
                  </a:lnTo>
                  <a:lnTo>
                    <a:pt x="104" y="132"/>
                  </a:lnTo>
                  <a:lnTo>
                    <a:pt x="92" y="132"/>
                  </a:lnTo>
                  <a:lnTo>
                    <a:pt x="75" y="127"/>
                  </a:lnTo>
                  <a:lnTo>
                    <a:pt x="92" y="99"/>
                  </a:lnTo>
                  <a:lnTo>
                    <a:pt x="87" y="82"/>
                  </a:lnTo>
                  <a:lnTo>
                    <a:pt x="92" y="61"/>
                  </a:lnTo>
                  <a:lnTo>
                    <a:pt x="92" y="54"/>
                  </a:lnTo>
                  <a:lnTo>
                    <a:pt x="92" y="54"/>
                  </a:lnTo>
                  <a:lnTo>
                    <a:pt x="104" y="37"/>
                  </a:lnTo>
                  <a:lnTo>
                    <a:pt x="108" y="28"/>
                  </a:lnTo>
                  <a:lnTo>
                    <a:pt x="142" y="37"/>
                  </a:lnTo>
                  <a:lnTo>
                    <a:pt x="156" y="28"/>
                  </a:lnTo>
                  <a:lnTo>
                    <a:pt x="163" y="44"/>
                  </a:lnTo>
                  <a:lnTo>
                    <a:pt x="184" y="54"/>
                  </a:lnTo>
                  <a:lnTo>
                    <a:pt x="184" y="44"/>
                  </a:lnTo>
                  <a:lnTo>
                    <a:pt x="201" y="37"/>
                  </a:lnTo>
                  <a:lnTo>
                    <a:pt x="217" y="28"/>
                  </a:lnTo>
                  <a:lnTo>
                    <a:pt x="238" y="21"/>
                  </a:lnTo>
                  <a:lnTo>
                    <a:pt x="255" y="28"/>
                  </a:lnTo>
                  <a:lnTo>
                    <a:pt x="281" y="28"/>
                  </a:lnTo>
                  <a:lnTo>
                    <a:pt x="307" y="0"/>
                  </a:lnTo>
                  <a:lnTo>
                    <a:pt x="323" y="28"/>
                  </a:lnTo>
                  <a:lnTo>
                    <a:pt x="340" y="37"/>
                  </a:lnTo>
                  <a:lnTo>
                    <a:pt x="340" y="61"/>
                  </a:lnTo>
                  <a:lnTo>
                    <a:pt x="345" y="94"/>
                  </a:lnTo>
                  <a:lnTo>
                    <a:pt x="361" y="99"/>
                  </a:lnTo>
                  <a:lnTo>
                    <a:pt x="373" y="127"/>
                  </a:lnTo>
                  <a:lnTo>
                    <a:pt x="378" y="165"/>
                  </a:lnTo>
                  <a:lnTo>
                    <a:pt x="378" y="181"/>
                  </a:lnTo>
                  <a:lnTo>
                    <a:pt x="361" y="203"/>
                  </a:lnTo>
                  <a:lnTo>
                    <a:pt x="373" y="210"/>
                  </a:lnTo>
                  <a:lnTo>
                    <a:pt x="345" y="219"/>
                  </a:lnTo>
                  <a:lnTo>
                    <a:pt x="340" y="243"/>
                  </a:lnTo>
                  <a:lnTo>
                    <a:pt x="323" y="259"/>
                  </a:lnTo>
                  <a:lnTo>
                    <a:pt x="302" y="297"/>
                  </a:lnTo>
                  <a:lnTo>
                    <a:pt x="307" y="314"/>
                  </a:lnTo>
                  <a:lnTo>
                    <a:pt x="302" y="375"/>
                  </a:lnTo>
                  <a:lnTo>
                    <a:pt x="231" y="375"/>
                  </a:lnTo>
                  <a:lnTo>
                    <a:pt x="231" y="375"/>
                  </a:lnTo>
                  <a:lnTo>
                    <a:pt x="231" y="37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97" name="Freeform 583">
              <a:extLst>
                <a:ext uri="{FF2B5EF4-FFF2-40B4-BE49-F238E27FC236}">
                  <a16:creationId xmlns:a16="http://schemas.microsoft.com/office/drawing/2014/main" id="{ABF9155C-A123-4121-8B45-A3ED8D16939C}"/>
                </a:ext>
              </a:extLst>
            </p:cNvPr>
            <p:cNvSpPr>
              <a:spLocks/>
            </p:cNvSpPr>
            <p:nvPr/>
          </p:nvSpPr>
          <p:spPr bwMode="gray">
            <a:xfrm>
              <a:off x="6566508" y="3615469"/>
              <a:ext cx="229712" cy="170862"/>
            </a:xfrm>
            <a:custGeom>
              <a:avLst/>
              <a:gdLst>
                <a:gd name="T0" fmla="*/ 428 w 558"/>
                <a:gd name="T1" fmla="*/ 304 h 415"/>
                <a:gd name="T2" fmla="*/ 378 w 558"/>
                <a:gd name="T3" fmla="*/ 288 h 415"/>
                <a:gd name="T4" fmla="*/ 341 w 558"/>
                <a:gd name="T5" fmla="*/ 304 h 415"/>
                <a:gd name="T6" fmla="*/ 319 w 558"/>
                <a:gd name="T7" fmla="*/ 293 h 415"/>
                <a:gd name="T8" fmla="*/ 178 w 558"/>
                <a:gd name="T9" fmla="*/ 316 h 415"/>
                <a:gd name="T10" fmla="*/ 194 w 558"/>
                <a:gd name="T11" fmla="*/ 399 h 415"/>
                <a:gd name="T12" fmla="*/ 194 w 558"/>
                <a:gd name="T13" fmla="*/ 415 h 415"/>
                <a:gd name="T14" fmla="*/ 135 w 558"/>
                <a:gd name="T15" fmla="*/ 370 h 415"/>
                <a:gd name="T16" fmla="*/ 85 w 558"/>
                <a:gd name="T17" fmla="*/ 399 h 415"/>
                <a:gd name="T18" fmla="*/ 38 w 558"/>
                <a:gd name="T19" fmla="*/ 370 h 415"/>
                <a:gd name="T20" fmla="*/ 10 w 558"/>
                <a:gd name="T21" fmla="*/ 349 h 415"/>
                <a:gd name="T22" fmla="*/ 10 w 558"/>
                <a:gd name="T23" fmla="*/ 309 h 415"/>
                <a:gd name="T24" fmla="*/ 15 w 558"/>
                <a:gd name="T25" fmla="*/ 288 h 415"/>
                <a:gd name="T26" fmla="*/ 15 w 558"/>
                <a:gd name="T27" fmla="*/ 233 h 415"/>
                <a:gd name="T28" fmla="*/ 64 w 558"/>
                <a:gd name="T29" fmla="*/ 217 h 415"/>
                <a:gd name="T30" fmla="*/ 81 w 558"/>
                <a:gd name="T31" fmla="*/ 181 h 415"/>
                <a:gd name="T32" fmla="*/ 85 w 558"/>
                <a:gd name="T33" fmla="*/ 165 h 415"/>
                <a:gd name="T34" fmla="*/ 85 w 558"/>
                <a:gd name="T35" fmla="*/ 144 h 415"/>
                <a:gd name="T36" fmla="*/ 145 w 558"/>
                <a:gd name="T37" fmla="*/ 139 h 415"/>
                <a:gd name="T38" fmla="*/ 161 w 558"/>
                <a:gd name="T39" fmla="*/ 127 h 415"/>
                <a:gd name="T40" fmla="*/ 189 w 558"/>
                <a:gd name="T41" fmla="*/ 106 h 415"/>
                <a:gd name="T42" fmla="*/ 215 w 558"/>
                <a:gd name="T43" fmla="*/ 54 h 415"/>
                <a:gd name="T44" fmla="*/ 248 w 558"/>
                <a:gd name="T45" fmla="*/ 66 h 415"/>
                <a:gd name="T46" fmla="*/ 270 w 558"/>
                <a:gd name="T47" fmla="*/ 37 h 415"/>
                <a:gd name="T48" fmla="*/ 308 w 558"/>
                <a:gd name="T49" fmla="*/ 16 h 415"/>
                <a:gd name="T50" fmla="*/ 357 w 558"/>
                <a:gd name="T51" fmla="*/ 0 h 415"/>
                <a:gd name="T52" fmla="*/ 374 w 558"/>
                <a:gd name="T53" fmla="*/ 0 h 415"/>
                <a:gd name="T54" fmla="*/ 395 w 558"/>
                <a:gd name="T55" fmla="*/ 37 h 415"/>
                <a:gd name="T56" fmla="*/ 411 w 558"/>
                <a:gd name="T57" fmla="*/ 66 h 415"/>
                <a:gd name="T58" fmla="*/ 459 w 558"/>
                <a:gd name="T59" fmla="*/ 111 h 415"/>
                <a:gd name="T60" fmla="*/ 482 w 558"/>
                <a:gd name="T61" fmla="*/ 127 h 415"/>
                <a:gd name="T62" fmla="*/ 459 w 558"/>
                <a:gd name="T63" fmla="*/ 144 h 415"/>
                <a:gd name="T64" fmla="*/ 534 w 558"/>
                <a:gd name="T65" fmla="*/ 177 h 415"/>
                <a:gd name="T66" fmla="*/ 534 w 558"/>
                <a:gd name="T67" fmla="*/ 198 h 415"/>
                <a:gd name="T68" fmla="*/ 551 w 558"/>
                <a:gd name="T69" fmla="*/ 250 h 415"/>
                <a:gd name="T70" fmla="*/ 504 w 558"/>
                <a:gd name="T71" fmla="*/ 271 h 415"/>
                <a:gd name="T72" fmla="*/ 482 w 558"/>
                <a:gd name="T73" fmla="*/ 271 h 415"/>
                <a:gd name="T74" fmla="*/ 449 w 558"/>
                <a:gd name="T75" fmla="*/ 293 h 415"/>
                <a:gd name="T76" fmla="*/ 449 w 558"/>
                <a:gd name="T77" fmla="*/ 293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8" h="415">
                  <a:moveTo>
                    <a:pt x="449" y="293"/>
                  </a:moveTo>
                  <a:lnTo>
                    <a:pt x="428" y="304"/>
                  </a:lnTo>
                  <a:lnTo>
                    <a:pt x="428" y="293"/>
                  </a:lnTo>
                  <a:lnTo>
                    <a:pt x="378" y="288"/>
                  </a:lnTo>
                  <a:lnTo>
                    <a:pt x="362" y="288"/>
                  </a:lnTo>
                  <a:lnTo>
                    <a:pt x="341" y="304"/>
                  </a:lnTo>
                  <a:lnTo>
                    <a:pt x="341" y="293"/>
                  </a:lnTo>
                  <a:lnTo>
                    <a:pt x="319" y="293"/>
                  </a:lnTo>
                  <a:lnTo>
                    <a:pt x="189" y="293"/>
                  </a:lnTo>
                  <a:lnTo>
                    <a:pt x="178" y="316"/>
                  </a:lnTo>
                  <a:lnTo>
                    <a:pt x="194" y="349"/>
                  </a:lnTo>
                  <a:lnTo>
                    <a:pt x="194" y="399"/>
                  </a:lnTo>
                  <a:lnTo>
                    <a:pt x="199" y="404"/>
                  </a:lnTo>
                  <a:lnTo>
                    <a:pt x="194" y="415"/>
                  </a:lnTo>
                  <a:lnTo>
                    <a:pt x="161" y="370"/>
                  </a:lnTo>
                  <a:lnTo>
                    <a:pt x="135" y="370"/>
                  </a:lnTo>
                  <a:lnTo>
                    <a:pt x="90" y="382"/>
                  </a:lnTo>
                  <a:lnTo>
                    <a:pt x="85" y="399"/>
                  </a:lnTo>
                  <a:lnTo>
                    <a:pt x="52" y="387"/>
                  </a:lnTo>
                  <a:lnTo>
                    <a:pt x="38" y="370"/>
                  </a:lnTo>
                  <a:lnTo>
                    <a:pt x="26" y="349"/>
                  </a:lnTo>
                  <a:lnTo>
                    <a:pt x="10" y="349"/>
                  </a:lnTo>
                  <a:lnTo>
                    <a:pt x="0" y="333"/>
                  </a:lnTo>
                  <a:lnTo>
                    <a:pt x="10" y="309"/>
                  </a:lnTo>
                  <a:lnTo>
                    <a:pt x="0" y="293"/>
                  </a:lnTo>
                  <a:lnTo>
                    <a:pt x="15" y="288"/>
                  </a:lnTo>
                  <a:lnTo>
                    <a:pt x="26" y="259"/>
                  </a:lnTo>
                  <a:lnTo>
                    <a:pt x="15" y="233"/>
                  </a:lnTo>
                  <a:lnTo>
                    <a:pt x="26" y="222"/>
                  </a:lnTo>
                  <a:lnTo>
                    <a:pt x="64" y="217"/>
                  </a:lnTo>
                  <a:lnTo>
                    <a:pt x="81" y="198"/>
                  </a:lnTo>
                  <a:lnTo>
                    <a:pt x="81" y="181"/>
                  </a:lnTo>
                  <a:lnTo>
                    <a:pt x="69" y="165"/>
                  </a:lnTo>
                  <a:lnTo>
                    <a:pt x="85" y="165"/>
                  </a:lnTo>
                  <a:lnTo>
                    <a:pt x="90" y="160"/>
                  </a:lnTo>
                  <a:lnTo>
                    <a:pt x="85" y="144"/>
                  </a:lnTo>
                  <a:lnTo>
                    <a:pt x="107" y="111"/>
                  </a:lnTo>
                  <a:lnTo>
                    <a:pt x="145" y="139"/>
                  </a:lnTo>
                  <a:lnTo>
                    <a:pt x="145" y="127"/>
                  </a:lnTo>
                  <a:lnTo>
                    <a:pt x="161" y="127"/>
                  </a:lnTo>
                  <a:lnTo>
                    <a:pt x="156" y="94"/>
                  </a:lnTo>
                  <a:lnTo>
                    <a:pt x="189" y="106"/>
                  </a:lnTo>
                  <a:lnTo>
                    <a:pt x="189" y="70"/>
                  </a:lnTo>
                  <a:lnTo>
                    <a:pt x="215" y="54"/>
                  </a:lnTo>
                  <a:lnTo>
                    <a:pt x="244" y="66"/>
                  </a:lnTo>
                  <a:lnTo>
                    <a:pt x="248" y="66"/>
                  </a:lnTo>
                  <a:lnTo>
                    <a:pt x="248" y="37"/>
                  </a:lnTo>
                  <a:lnTo>
                    <a:pt x="270" y="37"/>
                  </a:lnTo>
                  <a:lnTo>
                    <a:pt x="298" y="28"/>
                  </a:lnTo>
                  <a:lnTo>
                    <a:pt x="308" y="16"/>
                  </a:lnTo>
                  <a:lnTo>
                    <a:pt x="336" y="0"/>
                  </a:lnTo>
                  <a:lnTo>
                    <a:pt x="357" y="0"/>
                  </a:lnTo>
                  <a:lnTo>
                    <a:pt x="362" y="0"/>
                  </a:lnTo>
                  <a:lnTo>
                    <a:pt x="374" y="0"/>
                  </a:lnTo>
                  <a:lnTo>
                    <a:pt x="404" y="11"/>
                  </a:lnTo>
                  <a:lnTo>
                    <a:pt x="395" y="37"/>
                  </a:lnTo>
                  <a:lnTo>
                    <a:pt x="416" y="54"/>
                  </a:lnTo>
                  <a:lnTo>
                    <a:pt x="411" y="66"/>
                  </a:lnTo>
                  <a:lnTo>
                    <a:pt x="428" y="94"/>
                  </a:lnTo>
                  <a:lnTo>
                    <a:pt x="459" y="111"/>
                  </a:lnTo>
                  <a:lnTo>
                    <a:pt x="459" y="111"/>
                  </a:lnTo>
                  <a:lnTo>
                    <a:pt x="482" y="127"/>
                  </a:lnTo>
                  <a:lnTo>
                    <a:pt x="459" y="122"/>
                  </a:lnTo>
                  <a:lnTo>
                    <a:pt x="459" y="144"/>
                  </a:lnTo>
                  <a:lnTo>
                    <a:pt x="497" y="177"/>
                  </a:lnTo>
                  <a:lnTo>
                    <a:pt x="534" y="177"/>
                  </a:lnTo>
                  <a:lnTo>
                    <a:pt x="541" y="193"/>
                  </a:lnTo>
                  <a:lnTo>
                    <a:pt x="534" y="198"/>
                  </a:lnTo>
                  <a:lnTo>
                    <a:pt x="558" y="233"/>
                  </a:lnTo>
                  <a:lnTo>
                    <a:pt x="551" y="250"/>
                  </a:lnTo>
                  <a:lnTo>
                    <a:pt x="525" y="259"/>
                  </a:lnTo>
                  <a:lnTo>
                    <a:pt x="504" y="271"/>
                  </a:lnTo>
                  <a:lnTo>
                    <a:pt x="487" y="259"/>
                  </a:lnTo>
                  <a:lnTo>
                    <a:pt x="482" y="271"/>
                  </a:lnTo>
                  <a:lnTo>
                    <a:pt x="471" y="276"/>
                  </a:lnTo>
                  <a:lnTo>
                    <a:pt x="449" y="293"/>
                  </a:lnTo>
                  <a:lnTo>
                    <a:pt x="449" y="293"/>
                  </a:lnTo>
                  <a:lnTo>
                    <a:pt x="449" y="29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98" name="Freeform 590">
              <a:extLst>
                <a:ext uri="{FF2B5EF4-FFF2-40B4-BE49-F238E27FC236}">
                  <a16:creationId xmlns:a16="http://schemas.microsoft.com/office/drawing/2014/main" id="{E008B7D1-10E5-4195-8F0F-033E3823EA93}"/>
                </a:ext>
              </a:extLst>
            </p:cNvPr>
            <p:cNvSpPr>
              <a:spLocks/>
            </p:cNvSpPr>
            <p:nvPr/>
          </p:nvSpPr>
          <p:spPr bwMode="gray">
            <a:xfrm>
              <a:off x="7066686" y="4573120"/>
              <a:ext cx="387792" cy="374661"/>
            </a:xfrm>
            <a:custGeom>
              <a:avLst/>
              <a:gdLst>
                <a:gd name="T0" fmla="*/ 21 w 942"/>
                <a:gd name="T1" fmla="*/ 17 h 910"/>
                <a:gd name="T2" fmla="*/ 96 w 942"/>
                <a:gd name="T3" fmla="*/ 0 h 910"/>
                <a:gd name="T4" fmla="*/ 151 w 942"/>
                <a:gd name="T5" fmla="*/ 38 h 910"/>
                <a:gd name="T6" fmla="*/ 474 w 942"/>
                <a:gd name="T7" fmla="*/ 55 h 910"/>
                <a:gd name="T8" fmla="*/ 597 w 942"/>
                <a:gd name="T9" fmla="*/ 71 h 910"/>
                <a:gd name="T10" fmla="*/ 635 w 942"/>
                <a:gd name="T11" fmla="*/ 76 h 910"/>
                <a:gd name="T12" fmla="*/ 668 w 942"/>
                <a:gd name="T13" fmla="*/ 76 h 910"/>
                <a:gd name="T14" fmla="*/ 867 w 942"/>
                <a:gd name="T15" fmla="*/ 38 h 910"/>
                <a:gd name="T16" fmla="*/ 921 w 942"/>
                <a:gd name="T17" fmla="*/ 50 h 910"/>
                <a:gd name="T18" fmla="*/ 916 w 942"/>
                <a:gd name="T19" fmla="*/ 59 h 910"/>
                <a:gd name="T20" fmla="*/ 878 w 942"/>
                <a:gd name="T21" fmla="*/ 76 h 910"/>
                <a:gd name="T22" fmla="*/ 807 w 942"/>
                <a:gd name="T23" fmla="*/ 76 h 910"/>
                <a:gd name="T24" fmla="*/ 647 w 942"/>
                <a:gd name="T25" fmla="*/ 383 h 910"/>
                <a:gd name="T26" fmla="*/ 576 w 942"/>
                <a:gd name="T27" fmla="*/ 586 h 910"/>
                <a:gd name="T28" fmla="*/ 543 w 942"/>
                <a:gd name="T29" fmla="*/ 881 h 910"/>
                <a:gd name="T30" fmla="*/ 522 w 942"/>
                <a:gd name="T31" fmla="*/ 898 h 910"/>
                <a:gd name="T32" fmla="*/ 512 w 942"/>
                <a:gd name="T33" fmla="*/ 910 h 910"/>
                <a:gd name="T34" fmla="*/ 441 w 942"/>
                <a:gd name="T35" fmla="*/ 910 h 910"/>
                <a:gd name="T36" fmla="*/ 404 w 942"/>
                <a:gd name="T37" fmla="*/ 903 h 910"/>
                <a:gd name="T38" fmla="*/ 387 w 942"/>
                <a:gd name="T39" fmla="*/ 898 h 910"/>
                <a:gd name="T40" fmla="*/ 382 w 942"/>
                <a:gd name="T41" fmla="*/ 853 h 910"/>
                <a:gd name="T42" fmla="*/ 349 w 942"/>
                <a:gd name="T43" fmla="*/ 848 h 910"/>
                <a:gd name="T44" fmla="*/ 328 w 942"/>
                <a:gd name="T45" fmla="*/ 886 h 910"/>
                <a:gd name="T46" fmla="*/ 274 w 942"/>
                <a:gd name="T47" fmla="*/ 841 h 910"/>
                <a:gd name="T48" fmla="*/ 236 w 942"/>
                <a:gd name="T49" fmla="*/ 759 h 910"/>
                <a:gd name="T50" fmla="*/ 236 w 942"/>
                <a:gd name="T51" fmla="*/ 730 h 910"/>
                <a:gd name="T52" fmla="*/ 219 w 942"/>
                <a:gd name="T53" fmla="*/ 714 h 910"/>
                <a:gd name="T54" fmla="*/ 215 w 942"/>
                <a:gd name="T55" fmla="*/ 664 h 910"/>
                <a:gd name="T56" fmla="*/ 181 w 942"/>
                <a:gd name="T57" fmla="*/ 537 h 910"/>
                <a:gd name="T58" fmla="*/ 203 w 942"/>
                <a:gd name="T59" fmla="*/ 466 h 910"/>
                <a:gd name="T60" fmla="*/ 189 w 942"/>
                <a:gd name="T61" fmla="*/ 425 h 910"/>
                <a:gd name="T62" fmla="*/ 151 w 942"/>
                <a:gd name="T63" fmla="*/ 366 h 910"/>
                <a:gd name="T64" fmla="*/ 113 w 942"/>
                <a:gd name="T65" fmla="*/ 293 h 910"/>
                <a:gd name="T66" fmla="*/ 42 w 942"/>
                <a:gd name="T67" fmla="*/ 149 h 910"/>
                <a:gd name="T68" fmla="*/ 0 w 942"/>
                <a:gd name="T69" fmla="*/ 88 h 910"/>
                <a:gd name="T70" fmla="*/ 0 w 942"/>
                <a:gd name="T71" fmla="*/ 22 h 910"/>
                <a:gd name="T72" fmla="*/ 0 w 942"/>
                <a:gd name="T73" fmla="*/ 22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2" h="910">
                  <a:moveTo>
                    <a:pt x="0" y="22"/>
                  </a:moveTo>
                  <a:lnTo>
                    <a:pt x="21" y="17"/>
                  </a:lnTo>
                  <a:lnTo>
                    <a:pt x="52" y="22"/>
                  </a:lnTo>
                  <a:lnTo>
                    <a:pt x="96" y="0"/>
                  </a:lnTo>
                  <a:lnTo>
                    <a:pt x="118" y="5"/>
                  </a:lnTo>
                  <a:lnTo>
                    <a:pt x="151" y="38"/>
                  </a:lnTo>
                  <a:lnTo>
                    <a:pt x="467" y="33"/>
                  </a:lnTo>
                  <a:lnTo>
                    <a:pt x="474" y="55"/>
                  </a:lnTo>
                  <a:lnTo>
                    <a:pt x="496" y="59"/>
                  </a:lnTo>
                  <a:lnTo>
                    <a:pt x="597" y="71"/>
                  </a:lnTo>
                  <a:lnTo>
                    <a:pt x="614" y="76"/>
                  </a:lnTo>
                  <a:lnTo>
                    <a:pt x="635" y="76"/>
                  </a:lnTo>
                  <a:lnTo>
                    <a:pt x="652" y="71"/>
                  </a:lnTo>
                  <a:lnTo>
                    <a:pt x="668" y="76"/>
                  </a:lnTo>
                  <a:lnTo>
                    <a:pt x="812" y="55"/>
                  </a:lnTo>
                  <a:lnTo>
                    <a:pt x="867" y="38"/>
                  </a:lnTo>
                  <a:lnTo>
                    <a:pt x="900" y="38"/>
                  </a:lnTo>
                  <a:lnTo>
                    <a:pt x="921" y="50"/>
                  </a:lnTo>
                  <a:lnTo>
                    <a:pt x="942" y="59"/>
                  </a:lnTo>
                  <a:lnTo>
                    <a:pt x="916" y="59"/>
                  </a:lnTo>
                  <a:lnTo>
                    <a:pt x="888" y="88"/>
                  </a:lnTo>
                  <a:lnTo>
                    <a:pt x="878" y="76"/>
                  </a:lnTo>
                  <a:lnTo>
                    <a:pt x="829" y="116"/>
                  </a:lnTo>
                  <a:lnTo>
                    <a:pt x="807" y="76"/>
                  </a:lnTo>
                  <a:lnTo>
                    <a:pt x="647" y="104"/>
                  </a:lnTo>
                  <a:lnTo>
                    <a:pt x="647" y="383"/>
                  </a:lnTo>
                  <a:lnTo>
                    <a:pt x="576" y="383"/>
                  </a:lnTo>
                  <a:lnTo>
                    <a:pt x="576" y="586"/>
                  </a:lnTo>
                  <a:lnTo>
                    <a:pt x="576" y="870"/>
                  </a:lnTo>
                  <a:lnTo>
                    <a:pt x="543" y="881"/>
                  </a:lnTo>
                  <a:lnTo>
                    <a:pt x="538" y="898"/>
                  </a:lnTo>
                  <a:lnTo>
                    <a:pt x="522" y="898"/>
                  </a:lnTo>
                  <a:lnTo>
                    <a:pt x="522" y="910"/>
                  </a:lnTo>
                  <a:lnTo>
                    <a:pt x="512" y="910"/>
                  </a:lnTo>
                  <a:lnTo>
                    <a:pt x="484" y="903"/>
                  </a:lnTo>
                  <a:lnTo>
                    <a:pt x="441" y="910"/>
                  </a:lnTo>
                  <a:lnTo>
                    <a:pt x="430" y="903"/>
                  </a:lnTo>
                  <a:lnTo>
                    <a:pt x="404" y="903"/>
                  </a:lnTo>
                  <a:lnTo>
                    <a:pt x="404" y="898"/>
                  </a:lnTo>
                  <a:lnTo>
                    <a:pt x="387" y="898"/>
                  </a:lnTo>
                  <a:lnTo>
                    <a:pt x="387" y="853"/>
                  </a:lnTo>
                  <a:lnTo>
                    <a:pt x="382" y="853"/>
                  </a:lnTo>
                  <a:lnTo>
                    <a:pt x="366" y="841"/>
                  </a:lnTo>
                  <a:lnTo>
                    <a:pt x="349" y="848"/>
                  </a:lnTo>
                  <a:lnTo>
                    <a:pt x="344" y="881"/>
                  </a:lnTo>
                  <a:lnTo>
                    <a:pt x="328" y="886"/>
                  </a:lnTo>
                  <a:lnTo>
                    <a:pt x="323" y="881"/>
                  </a:lnTo>
                  <a:lnTo>
                    <a:pt x="274" y="841"/>
                  </a:lnTo>
                  <a:lnTo>
                    <a:pt x="241" y="787"/>
                  </a:lnTo>
                  <a:lnTo>
                    <a:pt x="236" y="759"/>
                  </a:lnTo>
                  <a:lnTo>
                    <a:pt x="226" y="737"/>
                  </a:lnTo>
                  <a:lnTo>
                    <a:pt x="236" y="730"/>
                  </a:lnTo>
                  <a:lnTo>
                    <a:pt x="226" y="714"/>
                  </a:lnTo>
                  <a:lnTo>
                    <a:pt x="219" y="714"/>
                  </a:lnTo>
                  <a:lnTo>
                    <a:pt x="219" y="688"/>
                  </a:lnTo>
                  <a:lnTo>
                    <a:pt x="215" y="664"/>
                  </a:lnTo>
                  <a:lnTo>
                    <a:pt x="215" y="610"/>
                  </a:lnTo>
                  <a:lnTo>
                    <a:pt x="181" y="537"/>
                  </a:lnTo>
                  <a:lnTo>
                    <a:pt x="181" y="466"/>
                  </a:lnTo>
                  <a:lnTo>
                    <a:pt x="203" y="466"/>
                  </a:lnTo>
                  <a:lnTo>
                    <a:pt x="198" y="425"/>
                  </a:lnTo>
                  <a:lnTo>
                    <a:pt x="189" y="425"/>
                  </a:lnTo>
                  <a:lnTo>
                    <a:pt x="181" y="404"/>
                  </a:lnTo>
                  <a:lnTo>
                    <a:pt x="151" y="366"/>
                  </a:lnTo>
                  <a:lnTo>
                    <a:pt x="144" y="343"/>
                  </a:lnTo>
                  <a:lnTo>
                    <a:pt x="113" y="293"/>
                  </a:lnTo>
                  <a:lnTo>
                    <a:pt x="96" y="244"/>
                  </a:lnTo>
                  <a:lnTo>
                    <a:pt x="42" y="149"/>
                  </a:lnTo>
                  <a:lnTo>
                    <a:pt x="9" y="109"/>
                  </a:lnTo>
                  <a:lnTo>
                    <a:pt x="0" y="88"/>
                  </a:lnTo>
                  <a:lnTo>
                    <a:pt x="0" y="50"/>
                  </a:lnTo>
                  <a:lnTo>
                    <a:pt x="0" y="22"/>
                  </a:lnTo>
                  <a:lnTo>
                    <a:pt x="0" y="22"/>
                  </a:lnTo>
                  <a:lnTo>
                    <a:pt x="0" y="2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99" name="Freeform 591">
              <a:extLst>
                <a:ext uri="{FF2B5EF4-FFF2-40B4-BE49-F238E27FC236}">
                  <a16:creationId xmlns:a16="http://schemas.microsoft.com/office/drawing/2014/main" id="{BEDF7324-0C3F-4B41-B92D-0147FB4D00D3}"/>
                </a:ext>
              </a:extLst>
            </p:cNvPr>
            <p:cNvSpPr>
              <a:spLocks/>
            </p:cNvSpPr>
            <p:nvPr/>
          </p:nvSpPr>
          <p:spPr bwMode="gray">
            <a:xfrm>
              <a:off x="7733593" y="3065827"/>
              <a:ext cx="17702" cy="38702"/>
            </a:xfrm>
            <a:custGeom>
              <a:avLst/>
              <a:gdLst>
                <a:gd name="T0" fmla="*/ 43 w 43"/>
                <a:gd name="T1" fmla="*/ 21 h 94"/>
                <a:gd name="T2" fmla="*/ 43 w 43"/>
                <a:gd name="T3" fmla="*/ 83 h 94"/>
                <a:gd name="T4" fmla="*/ 17 w 43"/>
                <a:gd name="T5" fmla="*/ 94 h 94"/>
                <a:gd name="T6" fmla="*/ 0 w 43"/>
                <a:gd name="T7" fmla="*/ 94 h 94"/>
                <a:gd name="T8" fmla="*/ 7 w 43"/>
                <a:gd name="T9" fmla="*/ 71 h 94"/>
                <a:gd name="T10" fmla="*/ 21 w 43"/>
                <a:gd name="T11" fmla="*/ 61 h 94"/>
                <a:gd name="T12" fmla="*/ 7 w 43"/>
                <a:gd name="T13" fmla="*/ 54 h 94"/>
                <a:gd name="T14" fmla="*/ 17 w 43"/>
                <a:gd name="T15" fmla="*/ 5 h 94"/>
                <a:gd name="T16" fmla="*/ 21 w 43"/>
                <a:gd name="T17" fmla="*/ 0 h 94"/>
                <a:gd name="T18" fmla="*/ 43 w 43"/>
                <a:gd name="T19" fmla="*/ 17 h 94"/>
                <a:gd name="T20" fmla="*/ 43 w 43"/>
                <a:gd name="T21" fmla="*/ 21 h 94"/>
                <a:gd name="T22" fmla="*/ 43 w 43"/>
                <a:gd name="T23" fmla="*/ 21 h 94"/>
                <a:gd name="T24" fmla="*/ 43 w 43"/>
                <a:gd name="T25" fmla="*/ 2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94">
                  <a:moveTo>
                    <a:pt x="43" y="21"/>
                  </a:moveTo>
                  <a:lnTo>
                    <a:pt x="43" y="83"/>
                  </a:lnTo>
                  <a:lnTo>
                    <a:pt x="17" y="94"/>
                  </a:lnTo>
                  <a:lnTo>
                    <a:pt x="0" y="94"/>
                  </a:lnTo>
                  <a:lnTo>
                    <a:pt x="7" y="71"/>
                  </a:lnTo>
                  <a:lnTo>
                    <a:pt x="21" y="61"/>
                  </a:lnTo>
                  <a:lnTo>
                    <a:pt x="7" y="54"/>
                  </a:lnTo>
                  <a:lnTo>
                    <a:pt x="17" y="5"/>
                  </a:lnTo>
                  <a:lnTo>
                    <a:pt x="21" y="0"/>
                  </a:lnTo>
                  <a:lnTo>
                    <a:pt x="43" y="17"/>
                  </a:lnTo>
                  <a:lnTo>
                    <a:pt x="43" y="21"/>
                  </a:lnTo>
                  <a:lnTo>
                    <a:pt x="43" y="21"/>
                  </a:lnTo>
                  <a:lnTo>
                    <a:pt x="43" y="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00" name="Freeform 592">
              <a:extLst>
                <a:ext uri="{FF2B5EF4-FFF2-40B4-BE49-F238E27FC236}">
                  <a16:creationId xmlns:a16="http://schemas.microsoft.com/office/drawing/2014/main" id="{02E1FCAA-E7BA-4418-9F69-C7561605A01B}"/>
                </a:ext>
              </a:extLst>
            </p:cNvPr>
            <p:cNvSpPr>
              <a:spLocks/>
            </p:cNvSpPr>
            <p:nvPr/>
          </p:nvSpPr>
          <p:spPr bwMode="gray">
            <a:xfrm>
              <a:off x="6232232" y="3224338"/>
              <a:ext cx="244120" cy="215739"/>
            </a:xfrm>
            <a:custGeom>
              <a:avLst/>
              <a:gdLst>
                <a:gd name="T0" fmla="*/ 196 w 593"/>
                <a:gd name="T1" fmla="*/ 487 h 524"/>
                <a:gd name="T2" fmla="*/ 12 w 593"/>
                <a:gd name="T3" fmla="*/ 487 h 524"/>
                <a:gd name="T4" fmla="*/ 0 w 593"/>
                <a:gd name="T5" fmla="*/ 524 h 524"/>
                <a:gd name="T6" fmla="*/ 0 w 593"/>
                <a:gd name="T7" fmla="*/ 508 h 524"/>
                <a:gd name="T8" fmla="*/ 12 w 593"/>
                <a:gd name="T9" fmla="*/ 435 h 524"/>
                <a:gd name="T10" fmla="*/ 28 w 593"/>
                <a:gd name="T11" fmla="*/ 413 h 524"/>
                <a:gd name="T12" fmla="*/ 38 w 593"/>
                <a:gd name="T13" fmla="*/ 409 h 524"/>
                <a:gd name="T14" fmla="*/ 71 w 593"/>
                <a:gd name="T15" fmla="*/ 335 h 524"/>
                <a:gd name="T16" fmla="*/ 92 w 593"/>
                <a:gd name="T17" fmla="*/ 295 h 524"/>
                <a:gd name="T18" fmla="*/ 92 w 593"/>
                <a:gd name="T19" fmla="*/ 286 h 524"/>
                <a:gd name="T20" fmla="*/ 71 w 593"/>
                <a:gd name="T21" fmla="*/ 302 h 524"/>
                <a:gd name="T22" fmla="*/ 158 w 593"/>
                <a:gd name="T23" fmla="*/ 229 h 524"/>
                <a:gd name="T24" fmla="*/ 163 w 593"/>
                <a:gd name="T25" fmla="*/ 168 h 524"/>
                <a:gd name="T26" fmla="*/ 179 w 593"/>
                <a:gd name="T27" fmla="*/ 135 h 524"/>
                <a:gd name="T28" fmla="*/ 179 w 593"/>
                <a:gd name="T29" fmla="*/ 113 h 524"/>
                <a:gd name="T30" fmla="*/ 250 w 593"/>
                <a:gd name="T31" fmla="*/ 73 h 524"/>
                <a:gd name="T32" fmla="*/ 272 w 593"/>
                <a:gd name="T33" fmla="*/ 0 h 524"/>
                <a:gd name="T34" fmla="*/ 593 w 593"/>
                <a:gd name="T35" fmla="*/ 0 h 524"/>
                <a:gd name="T36" fmla="*/ 593 w 593"/>
                <a:gd name="T37" fmla="*/ 24 h 524"/>
                <a:gd name="T38" fmla="*/ 593 w 593"/>
                <a:gd name="T39" fmla="*/ 130 h 524"/>
                <a:gd name="T40" fmla="*/ 359 w 593"/>
                <a:gd name="T41" fmla="*/ 130 h 524"/>
                <a:gd name="T42" fmla="*/ 359 w 593"/>
                <a:gd name="T43" fmla="*/ 324 h 524"/>
                <a:gd name="T44" fmla="*/ 321 w 593"/>
                <a:gd name="T45" fmla="*/ 335 h 524"/>
                <a:gd name="T46" fmla="*/ 283 w 593"/>
                <a:gd name="T47" fmla="*/ 364 h 524"/>
                <a:gd name="T48" fmla="*/ 288 w 593"/>
                <a:gd name="T49" fmla="*/ 487 h 524"/>
                <a:gd name="T50" fmla="*/ 196 w 593"/>
                <a:gd name="T51" fmla="*/ 487 h 524"/>
                <a:gd name="T52" fmla="*/ 196 w 593"/>
                <a:gd name="T53" fmla="*/ 487 h 524"/>
                <a:gd name="T54" fmla="*/ 196 w 593"/>
                <a:gd name="T55" fmla="*/ 48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93" h="524">
                  <a:moveTo>
                    <a:pt x="196" y="487"/>
                  </a:moveTo>
                  <a:lnTo>
                    <a:pt x="12" y="487"/>
                  </a:lnTo>
                  <a:lnTo>
                    <a:pt x="0" y="524"/>
                  </a:lnTo>
                  <a:lnTo>
                    <a:pt x="0" y="508"/>
                  </a:lnTo>
                  <a:lnTo>
                    <a:pt x="12" y="435"/>
                  </a:lnTo>
                  <a:lnTo>
                    <a:pt x="28" y="413"/>
                  </a:lnTo>
                  <a:lnTo>
                    <a:pt x="38" y="409"/>
                  </a:lnTo>
                  <a:lnTo>
                    <a:pt x="71" y="335"/>
                  </a:lnTo>
                  <a:lnTo>
                    <a:pt x="92" y="295"/>
                  </a:lnTo>
                  <a:lnTo>
                    <a:pt x="92" y="286"/>
                  </a:lnTo>
                  <a:lnTo>
                    <a:pt x="71" y="302"/>
                  </a:lnTo>
                  <a:lnTo>
                    <a:pt x="158" y="229"/>
                  </a:lnTo>
                  <a:lnTo>
                    <a:pt x="163" y="168"/>
                  </a:lnTo>
                  <a:lnTo>
                    <a:pt x="179" y="135"/>
                  </a:lnTo>
                  <a:lnTo>
                    <a:pt x="179" y="113"/>
                  </a:lnTo>
                  <a:lnTo>
                    <a:pt x="250" y="73"/>
                  </a:lnTo>
                  <a:lnTo>
                    <a:pt x="272" y="0"/>
                  </a:lnTo>
                  <a:lnTo>
                    <a:pt x="593" y="0"/>
                  </a:lnTo>
                  <a:lnTo>
                    <a:pt x="593" y="24"/>
                  </a:lnTo>
                  <a:lnTo>
                    <a:pt x="593" y="130"/>
                  </a:lnTo>
                  <a:lnTo>
                    <a:pt x="359" y="130"/>
                  </a:lnTo>
                  <a:lnTo>
                    <a:pt x="359" y="324"/>
                  </a:lnTo>
                  <a:lnTo>
                    <a:pt x="321" y="335"/>
                  </a:lnTo>
                  <a:lnTo>
                    <a:pt x="283" y="364"/>
                  </a:lnTo>
                  <a:lnTo>
                    <a:pt x="288" y="487"/>
                  </a:lnTo>
                  <a:lnTo>
                    <a:pt x="196" y="487"/>
                  </a:lnTo>
                  <a:lnTo>
                    <a:pt x="196" y="487"/>
                  </a:lnTo>
                  <a:lnTo>
                    <a:pt x="196" y="48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01" name="Freeform 594">
              <a:extLst>
                <a:ext uri="{FF2B5EF4-FFF2-40B4-BE49-F238E27FC236}">
                  <a16:creationId xmlns:a16="http://schemas.microsoft.com/office/drawing/2014/main" id="{E951DE17-F880-4CC9-9BC2-B15177A4BE17}"/>
                </a:ext>
              </a:extLst>
            </p:cNvPr>
            <p:cNvSpPr>
              <a:spLocks/>
            </p:cNvSpPr>
            <p:nvPr/>
          </p:nvSpPr>
          <p:spPr bwMode="gray">
            <a:xfrm>
              <a:off x="7615855" y="4846500"/>
              <a:ext cx="37050" cy="49818"/>
            </a:xfrm>
            <a:custGeom>
              <a:avLst/>
              <a:gdLst>
                <a:gd name="T0" fmla="*/ 5 w 90"/>
                <a:gd name="T1" fmla="*/ 76 h 121"/>
                <a:gd name="T2" fmla="*/ 0 w 90"/>
                <a:gd name="T3" fmla="*/ 76 h 121"/>
                <a:gd name="T4" fmla="*/ 0 w 90"/>
                <a:gd name="T5" fmla="*/ 50 h 121"/>
                <a:gd name="T6" fmla="*/ 21 w 90"/>
                <a:gd name="T7" fmla="*/ 17 h 121"/>
                <a:gd name="T8" fmla="*/ 36 w 90"/>
                <a:gd name="T9" fmla="*/ 0 h 121"/>
                <a:gd name="T10" fmla="*/ 43 w 90"/>
                <a:gd name="T11" fmla="*/ 0 h 121"/>
                <a:gd name="T12" fmla="*/ 73 w 90"/>
                <a:gd name="T13" fmla="*/ 17 h 121"/>
                <a:gd name="T14" fmla="*/ 85 w 90"/>
                <a:gd name="T15" fmla="*/ 17 h 121"/>
                <a:gd name="T16" fmla="*/ 90 w 90"/>
                <a:gd name="T17" fmla="*/ 33 h 121"/>
                <a:gd name="T18" fmla="*/ 90 w 90"/>
                <a:gd name="T19" fmla="*/ 87 h 121"/>
                <a:gd name="T20" fmla="*/ 85 w 90"/>
                <a:gd name="T21" fmla="*/ 76 h 121"/>
                <a:gd name="T22" fmla="*/ 85 w 90"/>
                <a:gd name="T23" fmla="*/ 121 h 121"/>
                <a:gd name="T24" fmla="*/ 52 w 90"/>
                <a:gd name="T25" fmla="*/ 121 h 121"/>
                <a:gd name="T26" fmla="*/ 21 w 90"/>
                <a:gd name="T27" fmla="*/ 109 h 121"/>
                <a:gd name="T28" fmla="*/ 5 w 90"/>
                <a:gd name="T29" fmla="*/ 76 h 121"/>
                <a:gd name="T30" fmla="*/ 5 w 90"/>
                <a:gd name="T31" fmla="*/ 76 h 121"/>
                <a:gd name="T32" fmla="*/ 5 w 90"/>
                <a:gd name="T33" fmla="*/ 7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21">
                  <a:moveTo>
                    <a:pt x="5" y="76"/>
                  </a:moveTo>
                  <a:lnTo>
                    <a:pt x="0" y="76"/>
                  </a:lnTo>
                  <a:lnTo>
                    <a:pt x="0" y="50"/>
                  </a:lnTo>
                  <a:lnTo>
                    <a:pt x="21" y="17"/>
                  </a:lnTo>
                  <a:lnTo>
                    <a:pt x="36" y="0"/>
                  </a:lnTo>
                  <a:lnTo>
                    <a:pt x="43" y="0"/>
                  </a:lnTo>
                  <a:lnTo>
                    <a:pt x="73" y="17"/>
                  </a:lnTo>
                  <a:lnTo>
                    <a:pt x="85" y="17"/>
                  </a:lnTo>
                  <a:lnTo>
                    <a:pt x="90" y="33"/>
                  </a:lnTo>
                  <a:lnTo>
                    <a:pt x="90" y="87"/>
                  </a:lnTo>
                  <a:lnTo>
                    <a:pt x="85" y="76"/>
                  </a:lnTo>
                  <a:lnTo>
                    <a:pt x="85" y="121"/>
                  </a:lnTo>
                  <a:lnTo>
                    <a:pt x="52" y="121"/>
                  </a:lnTo>
                  <a:lnTo>
                    <a:pt x="21" y="109"/>
                  </a:lnTo>
                  <a:lnTo>
                    <a:pt x="5" y="76"/>
                  </a:lnTo>
                  <a:lnTo>
                    <a:pt x="5" y="76"/>
                  </a:lnTo>
                  <a:lnTo>
                    <a:pt x="5" y="7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02" name="Freeform 595">
              <a:extLst>
                <a:ext uri="{FF2B5EF4-FFF2-40B4-BE49-F238E27FC236}">
                  <a16:creationId xmlns:a16="http://schemas.microsoft.com/office/drawing/2014/main" id="{ACAD24D6-BC36-40A1-8C8C-79361BD7051A}"/>
                </a:ext>
              </a:extLst>
            </p:cNvPr>
            <p:cNvSpPr>
              <a:spLocks noEditPoints="1"/>
            </p:cNvSpPr>
            <p:nvPr/>
          </p:nvSpPr>
          <p:spPr bwMode="gray">
            <a:xfrm>
              <a:off x="7958365" y="3494836"/>
              <a:ext cx="339216" cy="210798"/>
            </a:xfrm>
            <a:custGeom>
              <a:avLst/>
              <a:gdLst>
                <a:gd name="T0" fmla="*/ 21 w 824"/>
                <a:gd name="T1" fmla="*/ 184 h 512"/>
                <a:gd name="T2" fmla="*/ 38 w 824"/>
                <a:gd name="T3" fmla="*/ 179 h 512"/>
                <a:gd name="T4" fmla="*/ 38 w 824"/>
                <a:gd name="T5" fmla="*/ 123 h 512"/>
                <a:gd name="T6" fmla="*/ 63 w 824"/>
                <a:gd name="T7" fmla="*/ 111 h 512"/>
                <a:gd name="T8" fmla="*/ 123 w 824"/>
                <a:gd name="T9" fmla="*/ 123 h 512"/>
                <a:gd name="T10" fmla="*/ 252 w 824"/>
                <a:gd name="T11" fmla="*/ 250 h 512"/>
                <a:gd name="T12" fmla="*/ 656 w 824"/>
                <a:gd name="T13" fmla="*/ 0 h 512"/>
                <a:gd name="T14" fmla="*/ 694 w 824"/>
                <a:gd name="T15" fmla="*/ 196 h 512"/>
                <a:gd name="T16" fmla="*/ 661 w 824"/>
                <a:gd name="T17" fmla="*/ 222 h 512"/>
                <a:gd name="T18" fmla="*/ 602 w 824"/>
                <a:gd name="T19" fmla="*/ 278 h 512"/>
                <a:gd name="T20" fmla="*/ 522 w 824"/>
                <a:gd name="T21" fmla="*/ 311 h 512"/>
                <a:gd name="T22" fmla="*/ 446 w 824"/>
                <a:gd name="T23" fmla="*/ 333 h 512"/>
                <a:gd name="T24" fmla="*/ 425 w 824"/>
                <a:gd name="T25" fmla="*/ 366 h 512"/>
                <a:gd name="T26" fmla="*/ 371 w 824"/>
                <a:gd name="T27" fmla="*/ 366 h 512"/>
                <a:gd name="T28" fmla="*/ 281 w 824"/>
                <a:gd name="T29" fmla="*/ 418 h 512"/>
                <a:gd name="T30" fmla="*/ 193 w 824"/>
                <a:gd name="T31" fmla="*/ 439 h 512"/>
                <a:gd name="T32" fmla="*/ 172 w 824"/>
                <a:gd name="T33" fmla="*/ 460 h 512"/>
                <a:gd name="T34" fmla="*/ 160 w 824"/>
                <a:gd name="T35" fmla="*/ 456 h 512"/>
                <a:gd name="T36" fmla="*/ 156 w 824"/>
                <a:gd name="T37" fmla="*/ 460 h 512"/>
                <a:gd name="T38" fmla="*/ 118 w 824"/>
                <a:gd name="T39" fmla="*/ 472 h 512"/>
                <a:gd name="T40" fmla="*/ 63 w 824"/>
                <a:gd name="T41" fmla="*/ 460 h 512"/>
                <a:gd name="T42" fmla="*/ 54 w 824"/>
                <a:gd name="T43" fmla="*/ 456 h 512"/>
                <a:gd name="T44" fmla="*/ 38 w 824"/>
                <a:gd name="T45" fmla="*/ 389 h 512"/>
                <a:gd name="T46" fmla="*/ 16 w 824"/>
                <a:gd name="T47" fmla="*/ 307 h 512"/>
                <a:gd name="T48" fmla="*/ 0 w 824"/>
                <a:gd name="T49" fmla="*/ 278 h 512"/>
                <a:gd name="T50" fmla="*/ 12 w 824"/>
                <a:gd name="T51" fmla="*/ 278 h 512"/>
                <a:gd name="T52" fmla="*/ 12 w 824"/>
                <a:gd name="T53" fmla="*/ 234 h 512"/>
                <a:gd name="T54" fmla="*/ 12 w 824"/>
                <a:gd name="T55" fmla="*/ 196 h 512"/>
                <a:gd name="T56" fmla="*/ 12 w 824"/>
                <a:gd name="T57" fmla="*/ 378 h 512"/>
                <a:gd name="T58" fmla="*/ 12 w 824"/>
                <a:gd name="T59" fmla="*/ 366 h 512"/>
                <a:gd name="T60" fmla="*/ 12 w 824"/>
                <a:gd name="T61" fmla="*/ 378 h 512"/>
                <a:gd name="T62" fmla="*/ 808 w 824"/>
                <a:gd name="T63" fmla="*/ 472 h 512"/>
                <a:gd name="T64" fmla="*/ 803 w 824"/>
                <a:gd name="T65" fmla="*/ 493 h 512"/>
                <a:gd name="T66" fmla="*/ 749 w 824"/>
                <a:gd name="T67" fmla="*/ 477 h 512"/>
                <a:gd name="T68" fmla="*/ 775 w 824"/>
                <a:gd name="T69" fmla="*/ 472 h 512"/>
                <a:gd name="T70" fmla="*/ 808 w 824"/>
                <a:gd name="T71" fmla="*/ 472 h 512"/>
                <a:gd name="T72" fmla="*/ 808 w 824"/>
                <a:gd name="T73" fmla="*/ 472 h 512"/>
                <a:gd name="T74" fmla="*/ 656 w 824"/>
                <a:gd name="T75" fmla="*/ 500 h 512"/>
                <a:gd name="T76" fmla="*/ 678 w 824"/>
                <a:gd name="T77" fmla="*/ 512 h 512"/>
                <a:gd name="T78" fmla="*/ 678 w 824"/>
                <a:gd name="T79" fmla="*/ 5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24" h="512">
                  <a:moveTo>
                    <a:pt x="12" y="196"/>
                  </a:moveTo>
                  <a:lnTo>
                    <a:pt x="21" y="184"/>
                  </a:lnTo>
                  <a:lnTo>
                    <a:pt x="33" y="179"/>
                  </a:lnTo>
                  <a:lnTo>
                    <a:pt x="38" y="179"/>
                  </a:lnTo>
                  <a:lnTo>
                    <a:pt x="33" y="156"/>
                  </a:lnTo>
                  <a:lnTo>
                    <a:pt x="38" y="123"/>
                  </a:lnTo>
                  <a:lnTo>
                    <a:pt x="49" y="111"/>
                  </a:lnTo>
                  <a:lnTo>
                    <a:pt x="63" y="111"/>
                  </a:lnTo>
                  <a:lnTo>
                    <a:pt x="87" y="127"/>
                  </a:lnTo>
                  <a:lnTo>
                    <a:pt x="123" y="123"/>
                  </a:lnTo>
                  <a:lnTo>
                    <a:pt x="252" y="179"/>
                  </a:lnTo>
                  <a:lnTo>
                    <a:pt x="252" y="250"/>
                  </a:lnTo>
                  <a:lnTo>
                    <a:pt x="425" y="56"/>
                  </a:lnTo>
                  <a:lnTo>
                    <a:pt x="656" y="0"/>
                  </a:lnTo>
                  <a:lnTo>
                    <a:pt x="732" y="179"/>
                  </a:lnTo>
                  <a:lnTo>
                    <a:pt x="694" y="196"/>
                  </a:lnTo>
                  <a:lnTo>
                    <a:pt x="668" y="200"/>
                  </a:lnTo>
                  <a:lnTo>
                    <a:pt x="661" y="222"/>
                  </a:lnTo>
                  <a:lnTo>
                    <a:pt x="661" y="255"/>
                  </a:lnTo>
                  <a:lnTo>
                    <a:pt x="602" y="278"/>
                  </a:lnTo>
                  <a:lnTo>
                    <a:pt x="550" y="295"/>
                  </a:lnTo>
                  <a:lnTo>
                    <a:pt x="522" y="311"/>
                  </a:lnTo>
                  <a:lnTo>
                    <a:pt x="505" y="311"/>
                  </a:lnTo>
                  <a:lnTo>
                    <a:pt x="446" y="333"/>
                  </a:lnTo>
                  <a:lnTo>
                    <a:pt x="441" y="349"/>
                  </a:lnTo>
                  <a:lnTo>
                    <a:pt x="425" y="366"/>
                  </a:lnTo>
                  <a:lnTo>
                    <a:pt x="392" y="378"/>
                  </a:lnTo>
                  <a:lnTo>
                    <a:pt x="371" y="366"/>
                  </a:lnTo>
                  <a:lnTo>
                    <a:pt x="333" y="401"/>
                  </a:lnTo>
                  <a:lnTo>
                    <a:pt x="281" y="418"/>
                  </a:lnTo>
                  <a:lnTo>
                    <a:pt x="210" y="423"/>
                  </a:lnTo>
                  <a:lnTo>
                    <a:pt x="193" y="439"/>
                  </a:lnTo>
                  <a:lnTo>
                    <a:pt x="172" y="444"/>
                  </a:lnTo>
                  <a:lnTo>
                    <a:pt x="172" y="460"/>
                  </a:lnTo>
                  <a:lnTo>
                    <a:pt x="160" y="460"/>
                  </a:lnTo>
                  <a:lnTo>
                    <a:pt x="160" y="456"/>
                  </a:lnTo>
                  <a:lnTo>
                    <a:pt x="156" y="460"/>
                  </a:lnTo>
                  <a:lnTo>
                    <a:pt x="156" y="460"/>
                  </a:lnTo>
                  <a:lnTo>
                    <a:pt x="130" y="456"/>
                  </a:lnTo>
                  <a:lnTo>
                    <a:pt x="118" y="472"/>
                  </a:lnTo>
                  <a:lnTo>
                    <a:pt x="92" y="477"/>
                  </a:lnTo>
                  <a:lnTo>
                    <a:pt x="63" y="460"/>
                  </a:lnTo>
                  <a:lnTo>
                    <a:pt x="54" y="472"/>
                  </a:lnTo>
                  <a:lnTo>
                    <a:pt x="54" y="456"/>
                  </a:lnTo>
                  <a:lnTo>
                    <a:pt x="38" y="434"/>
                  </a:lnTo>
                  <a:lnTo>
                    <a:pt x="38" y="389"/>
                  </a:lnTo>
                  <a:lnTo>
                    <a:pt x="33" y="378"/>
                  </a:lnTo>
                  <a:lnTo>
                    <a:pt x="16" y="307"/>
                  </a:lnTo>
                  <a:lnTo>
                    <a:pt x="16" y="290"/>
                  </a:lnTo>
                  <a:lnTo>
                    <a:pt x="0" y="278"/>
                  </a:lnTo>
                  <a:lnTo>
                    <a:pt x="0" y="271"/>
                  </a:lnTo>
                  <a:lnTo>
                    <a:pt x="12" y="278"/>
                  </a:lnTo>
                  <a:lnTo>
                    <a:pt x="0" y="250"/>
                  </a:lnTo>
                  <a:lnTo>
                    <a:pt x="12" y="234"/>
                  </a:lnTo>
                  <a:lnTo>
                    <a:pt x="12" y="196"/>
                  </a:lnTo>
                  <a:lnTo>
                    <a:pt x="12" y="196"/>
                  </a:lnTo>
                  <a:lnTo>
                    <a:pt x="12" y="196"/>
                  </a:lnTo>
                  <a:close/>
                  <a:moveTo>
                    <a:pt x="12" y="378"/>
                  </a:moveTo>
                  <a:lnTo>
                    <a:pt x="0" y="366"/>
                  </a:lnTo>
                  <a:lnTo>
                    <a:pt x="12" y="366"/>
                  </a:lnTo>
                  <a:lnTo>
                    <a:pt x="12" y="378"/>
                  </a:lnTo>
                  <a:lnTo>
                    <a:pt x="12" y="378"/>
                  </a:lnTo>
                  <a:lnTo>
                    <a:pt x="12" y="378"/>
                  </a:lnTo>
                  <a:close/>
                  <a:moveTo>
                    <a:pt x="808" y="472"/>
                  </a:moveTo>
                  <a:lnTo>
                    <a:pt x="824" y="477"/>
                  </a:lnTo>
                  <a:lnTo>
                    <a:pt x="803" y="493"/>
                  </a:lnTo>
                  <a:lnTo>
                    <a:pt x="770" y="493"/>
                  </a:lnTo>
                  <a:lnTo>
                    <a:pt x="749" y="477"/>
                  </a:lnTo>
                  <a:lnTo>
                    <a:pt x="753" y="460"/>
                  </a:lnTo>
                  <a:lnTo>
                    <a:pt x="775" y="472"/>
                  </a:lnTo>
                  <a:lnTo>
                    <a:pt x="803" y="472"/>
                  </a:lnTo>
                  <a:lnTo>
                    <a:pt x="808" y="472"/>
                  </a:lnTo>
                  <a:lnTo>
                    <a:pt x="808" y="472"/>
                  </a:lnTo>
                  <a:lnTo>
                    <a:pt x="808" y="472"/>
                  </a:lnTo>
                  <a:close/>
                  <a:moveTo>
                    <a:pt x="678" y="512"/>
                  </a:moveTo>
                  <a:lnTo>
                    <a:pt x="656" y="500"/>
                  </a:lnTo>
                  <a:lnTo>
                    <a:pt x="678" y="500"/>
                  </a:lnTo>
                  <a:lnTo>
                    <a:pt x="678" y="512"/>
                  </a:lnTo>
                  <a:lnTo>
                    <a:pt x="678" y="512"/>
                  </a:lnTo>
                  <a:lnTo>
                    <a:pt x="678" y="51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03" name="Freeform 596">
              <a:extLst>
                <a:ext uri="{FF2B5EF4-FFF2-40B4-BE49-F238E27FC236}">
                  <a16:creationId xmlns:a16="http://schemas.microsoft.com/office/drawing/2014/main" id="{E4B35120-AA63-423B-9CB7-C9B3F1E8FA41}"/>
                </a:ext>
              </a:extLst>
            </p:cNvPr>
            <p:cNvSpPr>
              <a:spLocks/>
            </p:cNvSpPr>
            <p:nvPr/>
          </p:nvSpPr>
          <p:spPr bwMode="gray">
            <a:xfrm>
              <a:off x="7363090" y="4307563"/>
              <a:ext cx="335511" cy="300553"/>
            </a:xfrm>
            <a:custGeom>
              <a:avLst/>
              <a:gdLst>
                <a:gd name="T0" fmla="*/ 593 w 815"/>
                <a:gd name="T1" fmla="*/ 548 h 730"/>
                <a:gd name="T2" fmla="*/ 487 w 815"/>
                <a:gd name="T3" fmla="*/ 570 h 730"/>
                <a:gd name="T4" fmla="*/ 404 w 815"/>
                <a:gd name="T5" fmla="*/ 641 h 730"/>
                <a:gd name="T6" fmla="*/ 350 w 815"/>
                <a:gd name="T7" fmla="*/ 719 h 730"/>
                <a:gd name="T8" fmla="*/ 291 w 815"/>
                <a:gd name="T9" fmla="*/ 714 h 730"/>
                <a:gd name="T10" fmla="*/ 260 w 815"/>
                <a:gd name="T11" fmla="*/ 702 h 730"/>
                <a:gd name="T12" fmla="*/ 227 w 815"/>
                <a:gd name="T13" fmla="*/ 702 h 730"/>
                <a:gd name="T14" fmla="*/ 184 w 815"/>
                <a:gd name="T15" fmla="*/ 681 h 730"/>
                <a:gd name="T16" fmla="*/ 97 w 815"/>
                <a:gd name="T17" fmla="*/ 697 h 730"/>
                <a:gd name="T18" fmla="*/ 5 w 815"/>
                <a:gd name="T19" fmla="*/ 608 h 730"/>
                <a:gd name="T20" fmla="*/ 0 w 815"/>
                <a:gd name="T21" fmla="*/ 348 h 730"/>
                <a:gd name="T22" fmla="*/ 130 w 815"/>
                <a:gd name="T23" fmla="*/ 331 h 730"/>
                <a:gd name="T24" fmla="*/ 135 w 815"/>
                <a:gd name="T25" fmla="*/ 293 h 730"/>
                <a:gd name="T26" fmla="*/ 147 w 815"/>
                <a:gd name="T27" fmla="*/ 239 h 730"/>
                <a:gd name="T28" fmla="*/ 168 w 815"/>
                <a:gd name="T29" fmla="*/ 215 h 730"/>
                <a:gd name="T30" fmla="*/ 168 w 815"/>
                <a:gd name="T31" fmla="*/ 239 h 730"/>
                <a:gd name="T32" fmla="*/ 227 w 815"/>
                <a:gd name="T33" fmla="*/ 222 h 730"/>
                <a:gd name="T34" fmla="*/ 236 w 815"/>
                <a:gd name="T35" fmla="*/ 256 h 730"/>
                <a:gd name="T36" fmla="*/ 335 w 815"/>
                <a:gd name="T37" fmla="*/ 277 h 730"/>
                <a:gd name="T38" fmla="*/ 350 w 815"/>
                <a:gd name="T39" fmla="*/ 256 h 730"/>
                <a:gd name="T40" fmla="*/ 366 w 815"/>
                <a:gd name="T41" fmla="*/ 260 h 730"/>
                <a:gd name="T42" fmla="*/ 387 w 815"/>
                <a:gd name="T43" fmla="*/ 305 h 730"/>
                <a:gd name="T44" fmla="*/ 454 w 815"/>
                <a:gd name="T45" fmla="*/ 315 h 730"/>
                <a:gd name="T46" fmla="*/ 470 w 815"/>
                <a:gd name="T47" fmla="*/ 348 h 730"/>
                <a:gd name="T48" fmla="*/ 496 w 815"/>
                <a:gd name="T49" fmla="*/ 381 h 730"/>
                <a:gd name="T50" fmla="*/ 539 w 815"/>
                <a:gd name="T51" fmla="*/ 371 h 730"/>
                <a:gd name="T52" fmla="*/ 546 w 815"/>
                <a:gd name="T53" fmla="*/ 388 h 730"/>
                <a:gd name="T54" fmla="*/ 524 w 815"/>
                <a:gd name="T55" fmla="*/ 293 h 730"/>
                <a:gd name="T56" fmla="*/ 508 w 815"/>
                <a:gd name="T57" fmla="*/ 310 h 730"/>
                <a:gd name="T58" fmla="*/ 475 w 815"/>
                <a:gd name="T59" fmla="*/ 289 h 730"/>
                <a:gd name="T60" fmla="*/ 442 w 815"/>
                <a:gd name="T61" fmla="*/ 248 h 730"/>
                <a:gd name="T62" fmla="*/ 470 w 815"/>
                <a:gd name="T63" fmla="*/ 182 h 730"/>
                <a:gd name="T64" fmla="*/ 470 w 815"/>
                <a:gd name="T65" fmla="*/ 121 h 730"/>
                <a:gd name="T66" fmla="*/ 442 w 815"/>
                <a:gd name="T67" fmla="*/ 83 h 730"/>
                <a:gd name="T68" fmla="*/ 487 w 815"/>
                <a:gd name="T69" fmla="*/ 38 h 730"/>
                <a:gd name="T70" fmla="*/ 614 w 815"/>
                <a:gd name="T71" fmla="*/ 0 h 730"/>
                <a:gd name="T72" fmla="*/ 659 w 815"/>
                <a:gd name="T73" fmla="*/ 34 h 730"/>
                <a:gd name="T74" fmla="*/ 702 w 815"/>
                <a:gd name="T75" fmla="*/ 55 h 730"/>
                <a:gd name="T76" fmla="*/ 728 w 815"/>
                <a:gd name="T77" fmla="*/ 71 h 730"/>
                <a:gd name="T78" fmla="*/ 761 w 815"/>
                <a:gd name="T79" fmla="*/ 88 h 730"/>
                <a:gd name="T80" fmla="*/ 782 w 815"/>
                <a:gd name="T81" fmla="*/ 104 h 730"/>
                <a:gd name="T82" fmla="*/ 794 w 815"/>
                <a:gd name="T83" fmla="*/ 140 h 730"/>
                <a:gd name="T84" fmla="*/ 810 w 815"/>
                <a:gd name="T85" fmla="*/ 161 h 730"/>
                <a:gd name="T86" fmla="*/ 810 w 815"/>
                <a:gd name="T87" fmla="*/ 194 h 730"/>
                <a:gd name="T88" fmla="*/ 798 w 815"/>
                <a:gd name="T89" fmla="*/ 215 h 730"/>
                <a:gd name="T90" fmla="*/ 794 w 815"/>
                <a:gd name="T91" fmla="*/ 260 h 730"/>
                <a:gd name="T92" fmla="*/ 794 w 815"/>
                <a:gd name="T93" fmla="*/ 305 h 730"/>
                <a:gd name="T94" fmla="*/ 794 w 815"/>
                <a:gd name="T95" fmla="*/ 315 h 730"/>
                <a:gd name="T96" fmla="*/ 765 w 815"/>
                <a:gd name="T97" fmla="*/ 331 h 730"/>
                <a:gd name="T98" fmla="*/ 761 w 815"/>
                <a:gd name="T99" fmla="*/ 381 h 730"/>
                <a:gd name="T100" fmla="*/ 765 w 815"/>
                <a:gd name="T101" fmla="*/ 421 h 730"/>
                <a:gd name="T102" fmla="*/ 777 w 815"/>
                <a:gd name="T103" fmla="*/ 421 h 730"/>
                <a:gd name="T104" fmla="*/ 576 w 815"/>
                <a:gd name="T105" fmla="*/ 499 h 730"/>
                <a:gd name="T106" fmla="*/ 576 w 815"/>
                <a:gd name="T107" fmla="*/ 499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5" h="730">
                  <a:moveTo>
                    <a:pt x="576" y="499"/>
                  </a:moveTo>
                  <a:lnTo>
                    <a:pt x="593" y="548"/>
                  </a:lnTo>
                  <a:lnTo>
                    <a:pt x="529" y="548"/>
                  </a:lnTo>
                  <a:lnTo>
                    <a:pt x="487" y="570"/>
                  </a:lnTo>
                  <a:lnTo>
                    <a:pt x="470" y="608"/>
                  </a:lnTo>
                  <a:lnTo>
                    <a:pt x="404" y="641"/>
                  </a:lnTo>
                  <a:lnTo>
                    <a:pt x="387" y="674"/>
                  </a:lnTo>
                  <a:lnTo>
                    <a:pt x="350" y="719"/>
                  </a:lnTo>
                  <a:lnTo>
                    <a:pt x="328" y="730"/>
                  </a:lnTo>
                  <a:lnTo>
                    <a:pt x="291" y="714"/>
                  </a:lnTo>
                  <a:lnTo>
                    <a:pt x="274" y="719"/>
                  </a:lnTo>
                  <a:lnTo>
                    <a:pt x="260" y="702"/>
                  </a:lnTo>
                  <a:lnTo>
                    <a:pt x="243" y="714"/>
                  </a:lnTo>
                  <a:lnTo>
                    <a:pt x="227" y="702"/>
                  </a:lnTo>
                  <a:lnTo>
                    <a:pt x="206" y="690"/>
                  </a:lnTo>
                  <a:lnTo>
                    <a:pt x="184" y="681"/>
                  </a:lnTo>
                  <a:lnTo>
                    <a:pt x="151" y="681"/>
                  </a:lnTo>
                  <a:lnTo>
                    <a:pt x="97" y="697"/>
                  </a:lnTo>
                  <a:lnTo>
                    <a:pt x="80" y="681"/>
                  </a:lnTo>
                  <a:lnTo>
                    <a:pt x="5" y="608"/>
                  </a:lnTo>
                  <a:lnTo>
                    <a:pt x="0" y="586"/>
                  </a:lnTo>
                  <a:lnTo>
                    <a:pt x="0" y="348"/>
                  </a:lnTo>
                  <a:lnTo>
                    <a:pt x="135" y="359"/>
                  </a:lnTo>
                  <a:lnTo>
                    <a:pt x="130" y="331"/>
                  </a:lnTo>
                  <a:lnTo>
                    <a:pt x="147" y="310"/>
                  </a:lnTo>
                  <a:lnTo>
                    <a:pt x="135" y="293"/>
                  </a:lnTo>
                  <a:lnTo>
                    <a:pt x="135" y="256"/>
                  </a:lnTo>
                  <a:lnTo>
                    <a:pt x="147" y="239"/>
                  </a:lnTo>
                  <a:lnTo>
                    <a:pt x="135" y="199"/>
                  </a:lnTo>
                  <a:lnTo>
                    <a:pt x="168" y="215"/>
                  </a:lnTo>
                  <a:lnTo>
                    <a:pt x="161" y="232"/>
                  </a:lnTo>
                  <a:lnTo>
                    <a:pt x="168" y="239"/>
                  </a:lnTo>
                  <a:lnTo>
                    <a:pt x="189" y="232"/>
                  </a:lnTo>
                  <a:lnTo>
                    <a:pt x="227" y="222"/>
                  </a:lnTo>
                  <a:lnTo>
                    <a:pt x="227" y="232"/>
                  </a:lnTo>
                  <a:lnTo>
                    <a:pt x="236" y="256"/>
                  </a:lnTo>
                  <a:lnTo>
                    <a:pt x="274" y="272"/>
                  </a:lnTo>
                  <a:lnTo>
                    <a:pt x="335" y="277"/>
                  </a:lnTo>
                  <a:lnTo>
                    <a:pt x="345" y="272"/>
                  </a:lnTo>
                  <a:lnTo>
                    <a:pt x="350" y="256"/>
                  </a:lnTo>
                  <a:lnTo>
                    <a:pt x="361" y="248"/>
                  </a:lnTo>
                  <a:lnTo>
                    <a:pt x="366" y="260"/>
                  </a:lnTo>
                  <a:lnTo>
                    <a:pt x="383" y="277"/>
                  </a:lnTo>
                  <a:lnTo>
                    <a:pt x="387" y="305"/>
                  </a:lnTo>
                  <a:lnTo>
                    <a:pt x="404" y="305"/>
                  </a:lnTo>
                  <a:lnTo>
                    <a:pt x="454" y="315"/>
                  </a:lnTo>
                  <a:lnTo>
                    <a:pt x="458" y="343"/>
                  </a:lnTo>
                  <a:lnTo>
                    <a:pt x="470" y="348"/>
                  </a:lnTo>
                  <a:lnTo>
                    <a:pt x="491" y="381"/>
                  </a:lnTo>
                  <a:lnTo>
                    <a:pt x="496" y="381"/>
                  </a:lnTo>
                  <a:lnTo>
                    <a:pt x="529" y="371"/>
                  </a:lnTo>
                  <a:lnTo>
                    <a:pt x="539" y="371"/>
                  </a:lnTo>
                  <a:lnTo>
                    <a:pt x="529" y="381"/>
                  </a:lnTo>
                  <a:lnTo>
                    <a:pt x="546" y="388"/>
                  </a:lnTo>
                  <a:lnTo>
                    <a:pt x="546" y="293"/>
                  </a:lnTo>
                  <a:lnTo>
                    <a:pt x="524" y="293"/>
                  </a:lnTo>
                  <a:lnTo>
                    <a:pt x="524" y="310"/>
                  </a:lnTo>
                  <a:lnTo>
                    <a:pt x="508" y="310"/>
                  </a:lnTo>
                  <a:lnTo>
                    <a:pt x="491" y="310"/>
                  </a:lnTo>
                  <a:lnTo>
                    <a:pt x="475" y="289"/>
                  </a:lnTo>
                  <a:lnTo>
                    <a:pt x="454" y="272"/>
                  </a:lnTo>
                  <a:lnTo>
                    <a:pt x="442" y="248"/>
                  </a:lnTo>
                  <a:lnTo>
                    <a:pt x="458" y="199"/>
                  </a:lnTo>
                  <a:lnTo>
                    <a:pt x="470" y="182"/>
                  </a:lnTo>
                  <a:lnTo>
                    <a:pt x="458" y="149"/>
                  </a:lnTo>
                  <a:lnTo>
                    <a:pt x="470" y="121"/>
                  </a:lnTo>
                  <a:lnTo>
                    <a:pt x="454" y="88"/>
                  </a:lnTo>
                  <a:lnTo>
                    <a:pt x="442" y="83"/>
                  </a:lnTo>
                  <a:lnTo>
                    <a:pt x="475" y="50"/>
                  </a:lnTo>
                  <a:lnTo>
                    <a:pt x="487" y="38"/>
                  </a:lnTo>
                  <a:lnTo>
                    <a:pt x="487" y="29"/>
                  </a:lnTo>
                  <a:lnTo>
                    <a:pt x="614" y="0"/>
                  </a:lnTo>
                  <a:lnTo>
                    <a:pt x="631" y="34"/>
                  </a:lnTo>
                  <a:lnTo>
                    <a:pt x="659" y="34"/>
                  </a:lnTo>
                  <a:lnTo>
                    <a:pt x="676" y="55"/>
                  </a:lnTo>
                  <a:lnTo>
                    <a:pt x="702" y="55"/>
                  </a:lnTo>
                  <a:lnTo>
                    <a:pt x="702" y="67"/>
                  </a:lnTo>
                  <a:lnTo>
                    <a:pt x="728" y="71"/>
                  </a:lnTo>
                  <a:lnTo>
                    <a:pt x="739" y="83"/>
                  </a:lnTo>
                  <a:lnTo>
                    <a:pt x="761" y="88"/>
                  </a:lnTo>
                  <a:lnTo>
                    <a:pt x="765" y="104"/>
                  </a:lnTo>
                  <a:lnTo>
                    <a:pt x="782" y="104"/>
                  </a:lnTo>
                  <a:lnTo>
                    <a:pt x="794" y="128"/>
                  </a:lnTo>
                  <a:lnTo>
                    <a:pt x="794" y="140"/>
                  </a:lnTo>
                  <a:lnTo>
                    <a:pt x="810" y="149"/>
                  </a:lnTo>
                  <a:lnTo>
                    <a:pt x="810" y="161"/>
                  </a:lnTo>
                  <a:lnTo>
                    <a:pt x="815" y="178"/>
                  </a:lnTo>
                  <a:lnTo>
                    <a:pt x="810" y="194"/>
                  </a:lnTo>
                  <a:lnTo>
                    <a:pt x="782" y="199"/>
                  </a:lnTo>
                  <a:lnTo>
                    <a:pt x="798" y="215"/>
                  </a:lnTo>
                  <a:lnTo>
                    <a:pt x="782" y="239"/>
                  </a:lnTo>
                  <a:lnTo>
                    <a:pt x="794" y="260"/>
                  </a:lnTo>
                  <a:lnTo>
                    <a:pt x="782" y="293"/>
                  </a:lnTo>
                  <a:lnTo>
                    <a:pt x="794" y="305"/>
                  </a:lnTo>
                  <a:lnTo>
                    <a:pt x="810" y="310"/>
                  </a:lnTo>
                  <a:lnTo>
                    <a:pt x="794" y="315"/>
                  </a:lnTo>
                  <a:lnTo>
                    <a:pt x="765" y="326"/>
                  </a:lnTo>
                  <a:lnTo>
                    <a:pt x="765" y="331"/>
                  </a:lnTo>
                  <a:lnTo>
                    <a:pt x="765" y="348"/>
                  </a:lnTo>
                  <a:lnTo>
                    <a:pt x="761" y="381"/>
                  </a:lnTo>
                  <a:lnTo>
                    <a:pt x="744" y="397"/>
                  </a:lnTo>
                  <a:lnTo>
                    <a:pt x="765" y="421"/>
                  </a:lnTo>
                  <a:lnTo>
                    <a:pt x="777" y="426"/>
                  </a:lnTo>
                  <a:lnTo>
                    <a:pt x="777" y="421"/>
                  </a:lnTo>
                  <a:lnTo>
                    <a:pt x="782" y="426"/>
                  </a:lnTo>
                  <a:lnTo>
                    <a:pt x="576" y="499"/>
                  </a:lnTo>
                  <a:lnTo>
                    <a:pt x="576" y="499"/>
                  </a:lnTo>
                  <a:lnTo>
                    <a:pt x="576" y="49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04" name="Freeform 597">
              <a:extLst>
                <a:ext uri="{FF2B5EF4-FFF2-40B4-BE49-F238E27FC236}">
                  <a16:creationId xmlns:a16="http://schemas.microsoft.com/office/drawing/2014/main" id="{B5B68765-3F9D-4B0F-AC28-BBEC21758CA9}"/>
                </a:ext>
              </a:extLst>
            </p:cNvPr>
            <p:cNvSpPr>
              <a:spLocks/>
            </p:cNvSpPr>
            <p:nvPr/>
          </p:nvSpPr>
          <p:spPr bwMode="gray">
            <a:xfrm>
              <a:off x="7454480" y="4534418"/>
              <a:ext cx="228477" cy="206271"/>
            </a:xfrm>
            <a:custGeom>
              <a:avLst/>
              <a:gdLst>
                <a:gd name="T0" fmla="*/ 506 w 555"/>
                <a:gd name="T1" fmla="*/ 418 h 501"/>
                <a:gd name="T2" fmla="*/ 397 w 555"/>
                <a:gd name="T3" fmla="*/ 496 h 501"/>
                <a:gd name="T4" fmla="*/ 317 w 555"/>
                <a:gd name="T5" fmla="*/ 479 h 501"/>
                <a:gd name="T6" fmla="*/ 284 w 555"/>
                <a:gd name="T7" fmla="*/ 472 h 501"/>
                <a:gd name="T8" fmla="*/ 267 w 555"/>
                <a:gd name="T9" fmla="*/ 456 h 501"/>
                <a:gd name="T10" fmla="*/ 196 w 555"/>
                <a:gd name="T11" fmla="*/ 439 h 501"/>
                <a:gd name="T12" fmla="*/ 175 w 555"/>
                <a:gd name="T13" fmla="*/ 364 h 501"/>
                <a:gd name="T14" fmla="*/ 137 w 555"/>
                <a:gd name="T15" fmla="*/ 331 h 501"/>
                <a:gd name="T16" fmla="*/ 66 w 555"/>
                <a:gd name="T17" fmla="*/ 281 h 501"/>
                <a:gd name="T18" fmla="*/ 50 w 555"/>
                <a:gd name="T19" fmla="*/ 241 h 501"/>
                <a:gd name="T20" fmla="*/ 0 w 555"/>
                <a:gd name="T21" fmla="*/ 153 h 501"/>
                <a:gd name="T22" fmla="*/ 33 w 555"/>
                <a:gd name="T23" fmla="*/ 153 h 501"/>
                <a:gd name="T24" fmla="*/ 66 w 555"/>
                <a:gd name="T25" fmla="*/ 165 h 501"/>
                <a:gd name="T26" fmla="*/ 125 w 555"/>
                <a:gd name="T27" fmla="*/ 170 h 501"/>
                <a:gd name="T28" fmla="*/ 180 w 555"/>
                <a:gd name="T29" fmla="*/ 92 h 501"/>
                <a:gd name="T30" fmla="*/ 262 w 555"/>
                <a:gd name="T31" fmla="*/ 21 h 501"/>
                <a:gd name="T32" fmla="*/ 371 w 555"/>
                <a:gd name="T33" fmla="*/ 0 h 501"/>
                <a:gd name="T34" fmla="*/ 423 w 555"/>
                <a:gd name="T35" fmla="*/ 21 h 501"/>
                <a:gd name="T36" fmla="*/ 451 w 555"/>
                <a:gd name="T37" fmla="*/ 38 h 501"/>
                <a:gd name="T38" fmla="*/ 501 w 555"/>
                <a:gd name="T39" fmla="*/ 59 h 501"/>
                <a:gd name="T40" fmla="*/ 532 w 555"/>
                <a:gd name="T41" fmla="*/ 75 h 501"/>
                <a:gd name="T42" fmla="*/ 539 w 555"/>
                <a:gd name="T43" fmla="*/ 92 h 501"/>
                <a:gd name="T44" fmla="*/ 543 w 555"/>
                <a:gd name="T45" fmla="*/ 132 h 501"/>
                <a:gd name="T46" fmla="*/ 539 w 555"/>
                <a:gd name="T47" fmla="*/ 170 h 501"/>
                <a:gd name="T48" fmla="*/ 555 w 555"/>
                <a:gd name="T49" fmla="*/ 198 h 501"/>
                <a:gd name="T50" fmla="*/ 539 w 555"/>
                <a:gd name="T51" fmla="*/ 224 h 501"/>
                <a:gd name="T52" fmla="*/ 522 w 555"/>
                <a:gd name="T53" fmla="*/ 241 h 501"/>
                <a:gd name="T54" fmla="*/ 532 w 555"/>
                <a:gd name="T55" fmla="*/ 281 h 501"/>
                <a:gd name="T56" fmla="*/ 539 w 555"/>
                <a:gd name="T57" fmla="*/ 347 h 501"/>
                <a:gd name="T58" fmla="*/ 506 w 555"/>
                <a:gd name="T59" fmla="*/ 368 h 501"/>
                <a:gd name="T60" fmla="*/ 501 w 555"/>
                <a:gd name="T61" fmla="*/ 406 h 501"/>
                <a:gd name="T62" fmla="*/ 506 w 555"/>
                <a:gd name="T63" fmla="*/ 423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5" h="501">
                  <a:moveTo>
                    <a:pt x="506" y="423"/>
                  </a:moveTo>
                  <a:lnTo>
                    <a:pt x="506" y="418"/>
                  </a:lnTo>
                  <a:lnTo>
                    <a:pt x="430" y="501"/>
                  </a:lnTo>
                  <a:lnTo>
                    <a:pt x="397" y="496"/>
                  </a:lnTo>
                  <a:lnTo>
                    <a:pt x="359" y="496"/>
                  </a:lnTo>
                  <a:lnTo>
                    <a:pt x="317" y="479"/>
                  </a:lnTo>
                  <a:lnTo>
                    <a:pt x="288" y="489"/>
                  </a:lnTo>
                  <a:lnTo>
                    <a:pt x="284" y="472"/>
                  </a:lnTo>
                  <a:lnTo>
                    <a:pt x="267" y="472"/>
                  </a:lnTo>
                  <a:lnTo>
                    <a:pt x="267" y="456"/>
                  </a:lnTo>
                  <a:lnTo>
                    <a:pt x="234" y="439"/>
                  </a:lnTo>
                  <a:lnTo>
                    <a:pt x="196" y="439"/>
                  </a:lnTo>
                  <a:lnTo>
                    <a:pt x="175" y="401"/>
                  </a:lnTo>
                  <a:lnTo>
                    <a:pt x="175" y="364"/>
                  </a:lnTo>
                  <a:lnTo>
                    <a:pt x="142" y="364"/>
                  </a:lnTo>
                  <a:lnTo>
                    <a:pt x="137" y="331"/>
                  </a:lnTo>
                  <a:lnTo>
                    <a:pt x="104" y="314"/>
                  </a:lnTo>
                  <a:lnTo>
                    <a:pt x="66" y="281"/>
                  </a:lnTo>
                  <a:lnTo>
                    <a:pt x="50" y="253"/>
                  </a:lnTo>
                  <a:lnTo>
                    <a:pt x="50" y="241"/>
                  </a:lnTo>
                  <a:lnTo>
                    <a:pt x="0" y="182"/>
                  </a:lnTo>
                  <a:lnTo>
                    <a:pt x="0" y="153"/>
                  </a:lnTo>
                  <a:lnTo>
                    <a:pt x="17" y="165"/>
                  </a:lnTo>
                  <a:lnTo>
                    <a:pt x="33" y="153"/>
                  </a:lnTo>
                  <a:lnTo>
                    <a:pt x="50" y="170"/>
                  </a:lnTo>
                  <a:lnTo>
                    <a:pt x="66" y="165"/>
                  </a:lnTo>
                  <a:lnTo>
                    <a:pt x="104" y="182"/>
                  </a:lnTo>
                  <a:lnTo>
                    <a:pt x="125" y="170"/>
                  </a:lnTo>
                  <a:lnTo>
                    <a:pt x="163" y="125"/>
                  </a:lnTo>
                  <a:lnTo>
                    <a:pt x="180" y="92"/>
                  </a:lnTo>
                  <a:lnTo>
                    <a:pt x="246" y="59"/>
                  </a:lnTo>
                  <a:lnTo>
                    <a:pt x="262" y="21"/>
                  </a:lnTo>
                  <a:lnTo>
                    <a:pt x="305" y="0"/>
                  </a:lnTo>
                  <a:lnTo>
                    <a:pt x="371" y="0"/>
                  </a:lnTo>
                  <a:lnTo>
                    <a:pt x="371" y="21"/>
                  </a:lnTo>
                  <a:lnTo>
                    <a:pt x="423" y="21"/>
                  </a:lnTo>
                  <a:lnTo>
                    <a:pt x="435" y="38"/>
                  </a:lnTo>
                  <a:lnTo>
                    <a:pt x="451" y="38"/>
                  </a:lnTo>
                  <a:lnTo>
                    <a:pt x="468" y="54"/>
                  </a:lnTo>
                  <a:lnTo>
                    <a:pt x="501" y="59"/>
                  </a:lnTo>
                  <a:lnTo>
                    <a:pt x="522" y="71"/>
                  </a:lnTo>
                  <a:lnTo>
                    <a:pt x="532" y="75"/>
                  </a:lnTo>
                  <a:lnTo>
                    <a:pt x="543" y="75"/>
                  </a:lnTo>
                  <a:lnTo>
                    <a:pt x="539" y="92"/>
                  </a:lnTo>
                  <a:lnTo>
                    <a:pt x="543" y="125"/>
                  </a:lnTo>
                  <a:lnTo>
                    <a:pt x="543" y="132"/>
                  </a:lnTo>
                  <a:lnTo>
                    <a:pt x="543" y="142"/>
                  </a:lnTo>
                  <a:lnTo>
                    <a:pt x="539" y="170"/>
                  </a:lnTo>
                  <a:lnTo>
                    <a:pt x="543" y="186"/>
                  </a:lnTo>
                  <a:lnTo>
                    <a:pt x="555" y="198"/>
                  </a:lnTo>
                  <a:lnTo>
                    <a:pt x="539" y="208"/>
                  </a:lnTo>
                  <a:lnTo>
                    <a:pt x="539" y="224"/>
                  </a:lnTo>
                  <a:lnTo>
                    <a:pt x="522" y="236"/>
                  </a:lnTo>
                  <a:lnTo>
                    <a:pt x="522" y="241"/>
                  </a:lnTo>
                  <a:lnTo>
                    <a:pt x="539" y="253"/>
                  </a:lnTo>
                  <a:lnTo>
                    <a:pt x="532" y="281"/>
                  </a:lnTo>
                  <a:lnTo>
                    <a:pt x="555" y="307"/>
                  </a:lnTo>
                  <a:lnTo>
                    <a:pt x="539" y="347"/>
                  </a:lnTo>
                  <a:lnTo>
                    <a:pt x="522" y="364"/>
                  </a:lnTo>
                  <a:lnTo>
                    <a:pt x="506" y="368"/>
                  </a:lnTo>
                  <a:lnTo>
                    <a:pt x="517" y="385"/>
                  </a:lnTo>
                  <a:lnTo>
                    <a:pt x="501" y="406"/>
                  </a:lnTo>
                  <a:lnTo>
                    <a:pt x="506" y="423"/>
                  </a:lnTo>
                  <a:lnTo>
                    <a:pt x="506" y="423"/>
                  </a:lnTo>
                  <a:lnTo>
                    <a:pt x="506" y="42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05" name="Freeform 598">
              <a:extLst>
                <a:ext uri="{FF2B5EF4-FFF2-40B4-BE49-F238E27FC236}">
                  <a16:creationId xmlns:a16="http://schemas.microsoft.com/office/drawing/2014/main" id="{B70503A5-ECB9-44D8-BC93-DA6BDC80337B}"/>
                </a:ext>
              </a:extLst>
            </p:cNvPr>
            <p:cNvSpPr>
              <a:spLocks/>
            </p:cNvSpPr>
            <p:nvPr/>
          </p:nvSpPr>
          <p:spPr bwMode="gray">
            <a:xfrm>
              <a:off x="7356503" y="3394376"/>
              <a:ext cx="483300" cy="411717"/>
            </a:xfrm>
            <a:custGeom>
              <a:avLst/>
              <a:gdLst>
                <a:gd name="T0" fmla="*/ 67 w 497"/>
                <a:gd name="T1" fmla="*/ 423 h 423"/>
                <a:gd name="T2" fmla="*/ 119 w 497"/>
                <a:gd name="T3" fmla="*/ 370 h 423"/>
                <a:gd name="T4" fmla="*/ 186 w 497"/>
                <a:gd name="T5" fmla="*/ 384 h 423"/>
                <a:gd name="T6" fmla="*/ 210 w 497"/>
                <a:gd name="T7" fmla="*/ 395 h 423"/>
                <a:gd name="T8" fmla="*/ 238 w 497"/>
                <a:gd name="T9" fmla="*/ 384 h 423"/>
                <a:gd name="T10" fmla="*/ 257 w 497"/>
                <a:gd name="T11" fmla="*/ 363 h 423"/>
                <a:gd name="T12" fmla="*/ 289 w 497"/>
                <a:gd name="T13" fmla="*/ 384 h 423"/>
                <a:gd name="T14" fmla="*/ 325 w 497"/>
                <a:gd name="T15" fmla="*/ 314 h 423"/>
                <a:gd name="T16" fmla="*/ 337 w 497"/>
                <a:gd name="T17" fmla="*/ 311 h 423"/>
                <a:gd name="T18" fmla="*/ 352 w 497"/>
                <a:gd name="T19" fmla="*/ 297 h 423"/>
                <a:gd name="T20" fmla="*/ 372 w 497"/>
                <a:gd name="T21" fmla="*/ 363 h 423"/>
                <a:gd name="T22" fmla="*/ 375 w 497"/>
                <a:gd name="T23" fmla="*/ 363 h 423"/>
                <a:gd name="T24" fmla="*/ 388 w 497"/>
                <a:gd name="T25" fmla="*/ 362 h 423"/>
                <a:gd name="T26" fmla="*/ 390 w 497"/>
                <a:gd name="T27" fmla="*/ 345 h 423"/>
                <a:gd name="T28" fmla="*/ 395 w 497"/>
                <a:gd name="T29" fmla="*/ 329 h 423"/>
                <a:gd name="T30" fmla="*/ 413 w 497"/>
                <a:gd name="T31" fmla="*/ 303 h 423"/>
                <a:gd name="T32" fmla="*/ 427 w 497"/>
                <a:gd name="T33" fmla="*/ 289 h 423"/>
                <a:gd name="T34" fmla="*/ 433 w 497"/>
                <a:gd name="T35" fmla="*/ 263 h 423"/>
                <a:gd name="T36" fmla="*/ 433 w 497"/>
                <a:gd name="T37" fmla="*/ 225 h 423"/>
                <a:gd name="T38" fmla="*/ 445 w 497"/>
                <a:gd name="T39" fmla="*/ 181 h 423"/>
                <a:gd name="T40" fmla="*/ 449 w 497"/>
                <a:gd name="T41" fmla="*/ 164 h 423"/>
                <a:gd name="T42" fmla="*/ 465 w 497"/>
                <a:gd name="T43" fmla="*/ 157 h 423"/>
                <a:gd name="T44" fmla="*/ 488 w 497"/>
                <a:gd name="T45" fmla="*/ 150 h 423"/>
                <a:gd name="T46" fmla="*/ 495 w 497"/>
                <a:gd name="T47" fmla="*/ 131 h 423"/>
                <a:gd name="T48" fmla="*/ 472 w 497"/>
                <a:gd name="T49" fmla="*/ 115 h 423"/>
                <a:gd name="T50" fmla="*/ 463 w 497"/>
                <a:gd name="T51" fmla="*/ 108 h 423"/>
                <a:gd name="T52" fmla="*/ 456 w 497"/>
                <a:gd name="T53" fmla="*/ 63 h 423"/>
                <a:gd name="T54" fmla="*/ 452 w 497"/>
                <a:gd name="T55" fmla="*/ 33 h 423"/>
                <a:gd name="T56" fmla="*/ 458 w 497"/>
                <a:gd name="T57" fmla="*/ 40 h 423"/>
                <a:gd name="T58" fmla="*/ 449 w 497"/>
                <a:gd name="T59" fmla="*/ 21 h 423"/>
                <a:gd name="T60" fmla="*/ 285 w 497"/>
                <a:gd name="T61" fmla="*/ 7 h 423"/>
                <a:gd name="T62" fmla="*/ 285 w 497"/>
                <a:gd name="T63" fmla="*/ 0 h 423"/>
                <a:gd name="T64" fmla="*/ 93 w 497"/>
                <a:gd name="T65" fmla="*/ 7 h 423"/>
                <a:gd name="T66" fmla="*/ 63 w 497"/>
                <a:gd name="T67" fmla="*/ 70 h 423"/>
                <a:gd name="T68" fmla="*/ 63 w 497"/>
                <a:gd name="T69" fmla="*/ 209 h 423"/>
                <a:gd name="T70" fmla="*/ 34 w 497"/>
                <a:gd name="T71" fmla="*/ 211 h 423"/>
                <a:gd name="T72" fmla="*/ 34 w 497"/>
                <a:gd name="T73" fmla="*/ 225 h 423"/>
                <a:gd name="T74" fmla="*/ 25 w 497"/>
                <a:gd name="T75" fmla="*/ 239 h 423"/>
                <a:gd name="T76" fmla="*/ 22 w 497"/>
                <a:gd name="T77" fmla="*/ 256 h 423"/>
                <a:gd name="T78" fmla="*/ 9 w 497"/>
                <a:gd name="T79" fmla="*/ 268 h 423"/>
                <a:gd name="T80" fmla="*/ 6 w 497"/>
                <a:gd name="T81" fmla="*/ 289 h 423"/>
                <a:gd name="T82" fmla="*/ 6 w 497"/>
                <a:gd name="T83" fmla="*/ 303 h 423"/>
                <a:gd name="T84" fmla="*/ 11 w 497"/>
                <a:gd name="T85" fmla="*/ 298 h 423"/>
                <a:gd name="T86" fmla="*/ 18 w 497"/>
                <a:gd name="T87" fmla="*/ 310 h 423"/>
                <a:gd name="T88" fmla="*/ 22 w 497"/>
                <a:gd name="T89" fmla="*/ 336 h 423"/>
                <a:gd name="T90" fmla="*/ 32 w 497"/>
                <a:gd name="T91" fmla="*/ 338 h 423"/>
                <a:gd name="T92" fmla="*/ 32 w 497"/>
                <a:gd name="T93" fmla="*/ 357 h 423"/>
                <a:gd name="T94" fmla="*/ 54 w 497"/>
                <a:gd name="T95" fmla="*/ 390 h 423"/>
                <a:gd name="T96" fmla="*/ 52 w 497"/>
                <a:gd name="T97" fmla="*/ 409 h 423"/>
                <a:gd name="T98" fmla="*/ 52 w 497"/>
                <a:gd name="T99" fmla="*/ 416 h 423"/>
                <a:gd name="T100" fmla="*/ 67 w 497"/>
                <a:gd name="T101"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7" h="423">
                  <a:moveTo>
                    <a:pt x="67" y="423"/>
                  </a:moveTo>
                  <a:cubicBezTo>
                    <a:pt x="67" y="423"/>
                    <a:pt x="67" y="423"/>
                    <a:pt x="67" y="423"/>
                  </a:cubicBezTo>
                  <a:cubicBezTo>
                    <a:pt x="67" y="423"/>
                    <a:pt x="67" y="423"/>
                    <a:pt x="95" y="367"/>
                  </a:cubicBezTo>
                  <a:cubicBezTo>
                    <a:pt x="95" y="367"/>
                    <a:pt x="95" y="367"/>
                    <a:pt x="119" y="370"/>
                  </a:cubicBezTo>
                  <a:cubicBezTo>
                    <a:pt x="119" y="370"/>
                    <a:pt x="119" y="370"/>
                    <a:pt x="135" y="391"/>
                  </a:cubicBezTo>
                  <a:cubicBezTo>
                    <a:pt x="135" y="391"/>
                    <a:pt x="135" y="391"/>
                    <a:pt x="186" y="384"/>
                  </a:cubicBezTo>
                  <a:cubicBezTo>
                    <a:pt x="186" y="384"/>
                    <a:pt x="186" y="384"/>
                    <a:pt x="186" y="395"/>
                  </a:cubicBezTo>
                  <a:cubicBezTo>
                    <a:pt x="186" y="395"/>
                    <a:pt x="186" y="395"/>
                    <a:pt x="210" y="395"/>
                  </a:cubicBezTo>
                  <a:cubicBezTo>
                    <a:pt x="210" y="395"/>
                    <a:pt x="210" y="395"/>
                    <a:pt x="222" y="384"/>
                  </a:cubicBezTo>
                  <a:cubicBezTo>
                    <a:pt x="222" y="384"/>
                    <a:pt x="222" y="384"/>
                    <a:pt x="238" y="384"/>
                  </a:cubicBezTo>
                  <a:cubicBezTo>
                    <a:pt x="238" y="384"/>
                    <a:pt x="238" y="384"/>
                    <a:pt x="238" y="370"/>
                  </a:cubicBezTo>
                  <a:cubicBezTo>
                    <a:pt x="238" y="370"/>
                    <a:pt x="238" y="370"/>
                    <a:pt x="257" y="363"/>
                  </a:cubicBezTo>
                  <a:cubicBezTo>
                    <a:pt x="257" y="363"/>
                    <a:pt x="257" y="363"/>
                    <a:pt x="281" y="384"/>
                  </a:cubicBezTo>
                  <a:cubicBezTo>
                    <a:pt x="281" y="384"/>
                    <a:pt x="281" y="384"/>
                    <a:pt x="289" y="384"/>
                  </a:cubicBezTo>
                  <a:cubicBezTo>
                    <a:pt x="289" y="384"/>
                    <a:pt x="289" y="384"/>
                    <a:pt x="325" y="342"/>
                  </a:cubicBezTo>
                  <a:cubicBezTo>
                    <a:pt x="325" y="342"/>
                    <a:pt x="325" y="342"/>
                    <a:pt x="325" y="314"/>
                  </a:cubicBezTo>
                  <a:cubicBezTo>
                    <a:pt x="325" y="314"/>
                    <a:pt x="325" y="314"/>
                    <a:pt x="321" y="314"/>
                  </a:cubicBezTo>
                  <a:cubicBezTo>
                    <a:pt x="321" y="314"/>
                    <a:pt x="321" y="314"/>
                    <a:pt x="337" y="311"/>
                  </a:cubicBezTo>
                  <a:cubicBezTo>
                    <a:pt x="337" y="311"/>
                    <a:pt x="337" y="311"/>
                    <a:pt x="337" y="297"/>
                  </a:cubicBezTo>
                  <a:cubicBezTo>
                    <a:pt x="337" y="297"/>
                    <a:pt x="337" y="297"/>
                    <a:pt x="352" y="297"/>
                  </a:cubicBezTo>
                  <a:cubicBezTo>
                    <a:pt x="352" y="297"/>
                    <a:pt x="352" y="297"/>
                    <a:pt x="352" y="360"/>
                  </a:cubicBezTo>
                  <a:cubicBezTo>
                    <a:pt x="372" y="363"/>
                    <a:pt x="372" y="363"/>
                    <a:pt x="372" y="363"/>
                  </a:cubicBezTo>
                  <a:cubicBezTo>
                    <a:pt x="372" y="363"/>
                    <a:pt x="372" y="363"/>
                    <a:pt x="372" y="364"/>
                  </a:cubicBezTo>
                  <a:cubicBezTo>
                    <a:pt x="375" y="363"/>
                    <a:pt x="375" y="363"/>
                    <a:pt x="375" y="363"/>
                  </a:cubicBezTo>
                  <a:cubicBezTo>
                    <a:pt x="381" y="357"/>
                    <a:pt x="381" y="357"/>
                    <a:pt x="381" y="357"/>
                  </a:cubicBezTo>
                  <a:cubicBezTo>
                    <a:pt x="388" y="362"/>
                    <a:pt x="388" y="362"/>
                    <a:pt x="388" y="362"/>
                  </a:cubicBezTo>
                  <a:cubicBezTo>
                    <a:pt x="390" y="357"/>
                    <a:pt x="390" y="357"/>
                    <a:pt x="390" y="357"/>
                  </a:cubicBezTo>
                  <a:cubicBezTo>
                    <a:pt x="390" y="345"/>
                    <a:pt x="390" y="345"/>
                    <a:pt x="390" y="345"/>
                  </a:cubicBezTo>
                  <a:cubicBezTo>
                    <a:pt x="395" y="336"/>
                    <a:pt x="395" y="336"/>
                    <a:pt x="395" y="336"/>
                  </a:cubicBezTo>
                  <a:cubicBezTo>
                    <a:pt x="395" y="329"/>
                    <a:pt x="395" y="329"/>
                    <a:pt x="395" y="329"/>
                  </a:cubicBezTo>
                  <a:cubicBezTo>
                    <a:pt x="399" y="326"/>
                    <a:pt x="399" y="326"/>
                    <a:pt x="399" y="326"/>
                  </a:cubicBezTo>
                  <a:cubicBezTo>
                    <a:pt x="413" y="303"/>
                    <a:pt x="413" y="303"/>
                    <a:pt x="413" y="303"/>
                  </a:cubicBezTo>
                  <a:cubicBezTo>
                    <a:pt x="427" y="298"/>
                    <a:pt x="427" y="298"/>
                    <a:pt x="427" y="298"/>
                  </a:cubicBezTo>
                  <a:cubicBezTo>
                    <a:pt x="427" y="289"/>
                    <a:pt x="427" y="289"/>
                    <a:pt x="427" y="289"/>
                  </a:cubicBezTo>
                  <a:cubicBezTo>
                    <a:pt x="436" y="265"/>
                    <a:pt x="436" y="265"/>
                    <a:pt x="436" y="265"/>
                  </a:cubicBezTo>
                  <a:cubicBezTo>
                    <a:pt x="433" y="263"/>
                    <a:pt x="433" y="263"/>
                    <a:pt x="433" y="263"/>
                  </a:cubicBezTo>
                  <a:cubicBezTo>
                    <a:pt x="436" y="251"/>
                    <a:pt x="436" y="251"/>
                    <a:pt x="436" y="251"/>
                  </a:cubicBezTo>
                  <a:cubicBezTo>
                    <a:pt x="433" y="225"/>
                    <a:pt x="433" y="225"/>
                    <a:pt x="433" y="225"/>
                  </a:cubicBezTo>
                  <a:cubicBezTo>
                    <a:pt x="449" y="188"/>
                    <a:pt x="449" y="188"/>
                    <a:pt x="449" y="188"/>
                  </a:cubicBezTo>
                  <a:cubicBezTo>
                    <a:pt x="445" y="181"/>
                    <a:pt x="445" y="181"/>
                    <a:pt x="445" y="181"/>
                  </a:cubicBezTo>
                  <a:cubicBezTo>
                    <a:pt x="449" y="174"/>
                    <a:pt x="449" y="174"/>
                    <a:pt x="449" y="174"/>
                  </a:cubicBezTo>
                  <a:cubicBezTo>
                    <a:pt x="449" y="164"/>
                    <a:pt x="449" y="164"/>
                    <a:pt x="449" y="164"/>
                  </a:cubicBezTo>
                  <a:cubicBezTo>
                    <a:pt x="463" y="164"/>
                    <a:pt x="463" y="164"/>
                    <a:pt x="463" y="164"/>
                  </a:cubicBezTo>
                  <a:cubicBezTo>
                    <a:pt x="465" y="157"/>
                    <a:pt x="465" y="157"/>
                    <a:pt x="465" y="157"/>
                  </a:cubicBezTo>
                  <a:cubicBezTo>
                    <a:pt x="481" y="148"/>
                    <a:pt x="481" y="148"/>
                    <a:pt x="481" y="148"/>
                  </a:cubicBezTo>
                  <a:cubicBezTo>
                    <a:pt x="488" y="150"/>
                    <a:pt x="488" y="150"/>
                    <a:pt x="488" y="150"/>
                  </a:cubicBezTo>
                  <a:cubicBezTo>
                    <a:pt x="497" y="134"/>
                    <a:pt x="497" y="134"/>
                    <a:pt x="497" y="134"/>
                  </a:cubicBezTo>
                  <a:cubicBezTo>
                    <a:pt x="495" y="131"/>
                    <a:pt x="495" y="131"/>
                    <a:pt x="495" y="131"/>
                  </a:cubicBezTo>
                  <a:cubicBezTo>
                    <a:pt x="481" y="124"/>
                    <a:pt x="481" y="124"/>
                    <a:pt x="481" y="124"/>
                  </a:cubicBezTo>
                  <a:cubicBezTo>
                    <a:pt x="472" y="115"/>
                    <a:pt x="472" y="115"/>
                    <a:pt x="472" y="115"/>
                  </a:cubicBezTo>
                  <a:cubicBezTo>
                    <a:pt x="465" y="110"/>
                    <a:pt x="465" y="110"/>
                    <a:pt x="465" y="110"/>
                  </a:cubicBezTo>
                  <a:cubicBezTo>
                    <a:pt x="463" y="108"/>
                    <a:pt x="463" y="108"/>
                    <a:pt x="463" y="108"/>
                  </a:cubicBezTo>
                  <a:cubicBezTo>
                    <a:pt x="458" y="84"/>
                    <a:pt x="458" y="84"/>
                    <a:pt x="458" y="84"/>
                  </a:cubicBezTo>
                  <a:cubicBezTo>
                    <a:pt x="456" y="63"/>
                    <a:pt x="456" y="63"/>
                    <a:pt x="456" y="63"/>
                  </a:cubicBezTo>
                  <a:cubicBezTo>
                    <a:pt x="456" y="54"/>
                    <a:pt x="456" y="54"/>
                    <a:pt x="456" y="54"/>
                  </a:cubicBezTo>
                  <a:cubicBezTo>
                    <a:pt x="452" y="33"/>
                    <a:pt x="452" y="33"/>
                    <a:pt x="452" y="33"/>
                  </a:cubicBezTo>
                  <a:cubicBezTo>
                    <a:pt x="456" y="37"/>
                    <a:pt x="456" y="37"/>
                    <a:pt x="456" y="37"/>
                  </a:cubicBezTo>
                  <a:cubicBezTo>
                    <a:pt x="458" y="40"/>
                    <a:pt x="458" y="40"/>
                    <a:pt x="458" y="40"/>
                  </a:cubicBezTo>
                  <a:cubicBezTo>
                    <a:pt x="458" y="37"/>
                    <a:pt x="458" y="37"/>
                    <a:pt x="458" y="37"/>
                  </a:cubicBezTo>
                  <a:cubicBezTo>
                    <a:pt x="449" y="21"/>
                    <a:pt x="449" y="21"/>
                    <a:pt x="449" y="21"/>
                  </a:cubicBezTo>
                  <a:cubicBezTo>
                    <a:pt x="445" y="7"/>
                    <a:pt x="445" y="7"/>
                    <a:pt x="445" y="7"/>
                  </a:cubicBezTo>
                  <a:cubicBezTo>
                    <a:pt x="285" y="7"/>
                    <a:pt x="285" y="7"/>
                    <a:pt x="285" y="7"/>
                  </a:cubicBezTo>
                  <a:cubicBezTo>
                    <a:pt x="290" y="4"/>
                    <a:pt x="290" y="4"/>
                    <a:pt x="290" y="4"/>
                  </a:cubicBezTo>
                  <a:cubicBezTo>
                    <a:pt x="285" y="0"/>
                    <a:pt x="285" y="0"/>
                    <a:pt x="285" y="0"/>
                  </a:cubicBezTo>
                  <a:cubicBezTo>
                    <a:pt x="280" y="7"/>
                    <a:pt x="280" y="7"/>
                    <a:pt x="280" y="7"/>
                  </a:cubicBezTo>
                  <a:cubicBezTo>
                    <a:pt x="93" y="7"/>
                    <a:pt x="93" y="7"/>
                    <a:pt x="93" y="7"/>
                  </a:cubicBezTo>
                  <a:cubicBezTo>
                    <a:pt x="93" y="70"/>
                    <a:pt x="93" y="70"/>
                    <a:pt x="93" y="70"/>
                  </a:cubicBezTo>
                  <a:cubicBezTo>
                    <a:pt x="63" y="70"/>
                    <a:pt x="63" y="70"/>
                    <a:pt x="63" y="70"/>
                  </a:cubicBezTo>
                  <a:cubicBezTo>
                    <a:pt x="63" y="87"/>
                    <a:pt x="63" y="87"/>
                    <a:pt x="63" y="87"/>
                  </a:cubicBezTo>
                  <a:cubicBezTo>
                    <a:pt x="63" y="209"/>
                    <a:pt x="63" y="209"/>
                    <a:pt x="63" y="209"/>
                  </a:cubicBezTo>
                  <a:cubicBezTo>
                    <a:pt x="38" y="209"/>
                    <a:pt x="38" y="209"/>
                    <a:pt x="38" y="209"/>
                  </a:cubicBezTo>
                  <a:cubicBezTo>
                    <a:pt x="34" y="211"/>
                    <a:pt x="34" y="211"/>
                    <a:pt x="34" y="211"/>
                  </a:cubicBezTo>
                  <a:cubicBezTo>
                    <a:pt x="34" y="218"/>
                    <a:pt x="34" y="218"/>
                    <a:pt x="34" y="218"/>
                  </a:cubicBezTo>
                  <a:cubicBezTo>
                    <a:pt x="34" y="225"/>
                    <a:pt x="34" y="225"/>
                    <a:pt x="34" y="225"/>
                  </a:cubicBezTo>
                  <a:cubicBezTo>
                    <a:pt x="25" y="235"/>
                    <a:pt x="25" y="235"/>
                    <a:pt x="25" y="235"/>
                  </a:cubicBezTo>
                  <a:cubicBezTo>
                    <a:pt x="25" y="239"/>
                    <a:pt x="25" y="239"/>
                    <a:pt x="25" y="239"/>
                  </a:cubicBezTo>
                  <a:cubicBezTo>
                    <a:pt x="18" y="242"/>
                    <a:pt x="18" y="242"/>
                    <a:pt x="18" y="242"/>
                  </a:cubicBezTo>
                  <a:cubicBezTo>
                    <a:pt x="22" y="256"/>
                    <a:pt x="22" y="256"/>
                    <a:pt x="22" y="256"/>
                  </a:cubicBezTo>
                  <a:cubicBezTo>
                    <a:pt x="11" y="263"/>
                    <a:pt x="11" y="263"/>
                    <a:pt x="11" y="263"/>
                  </a:cubicBezTo>
                  <a:cubicBezTo>
                    <a:pt x="9" y="268"/>
                    <a:pt x="9" y="268"/>
                    <a:pt x="9" y="268"/>
                  </a:cubicBezTo>
                  <a:cubicBezTo>
                    <a:pt x="16" y="279"/>
                    <a:pt x="16" y="279"/>
                    <a:pt x="16" y="279"/>
                  </a:cubicBezTo>
                  <a:cubicBezTo>
                    <a:pt x="6" y="289"/>
                    <a:pt x="6" y="289"/>
                    <a:pt x="6" y="289"/>
                  </a:cubicBezTo>
                  <a:cubicBezTo>
                    <a:pt x="0" y="298"/>
                    <a:pt x="0" y="298"/>
                    <a:pt x="0" y="298"/>
                  </a:cubicBezTo>
                  <a:cubicBezTo>
                    <a:pt x="6" y="303"/>
                    <a:pt x="6" y="303"/>
                    <a:pt x="6" y="303"/>
                  </a:cubicBezTo>
                  <a:cubicBezTo>
                    <a:pt x="9" y="303"/>
                    <a:pt x="9" y="303"/>
                    <a:pt x="9" y="303"/>
                  </a:cubicBezTo>
                  <a:cubicBezTo>
                    <a:pt x="11" y="298"/>
                    <a:pt x="11" y="298"/>
                    <a:pt x="11" y="298"/>
                  </a:cubicBezTo>
                  <a:cubicBezTo>
                    <a:pt x="18" y="303"/>
                    <a:pt x="18" y="303"/>
                    <a:pt x="18" y="303"/>
                  </a:cubicBezTo>
                  <a:cubicBezTo>
                    <a:pt x="18" y="310"/>
                    <a:pt x="18" y="310"/>
                    <a:pt x="18" y="310"/>
                  </a:cubicBezTo>
                  <a:cubicBezTo>
                    <a:pt x="25" y="322"/>
                    <a:pt x="25" y="322"/>
                    <a:pt x="25" y="322"/>
                  </a:cubicBezTo>
                  <a:cubicBezTo>
                    <a:pt x="22" y="336"/>
                    <a:pt x="22" y="336"/>
                    <a:pt x="22" y="336"/>
                  </a:cubicBezTo>
                  <a:cubicBezTo>
                    <a:pt x="29" y="338"/>
                    <a:pt x="29" y="338"/>
                    <a:pt x="29" y="338"/>
                  </a:cubicBezTo>
                  <a:cubicBezTo>
                    <a:pt x="32" y="338"/>
                    <a:pt x="32" y="338"/>
                    <a:pt x="32" y="338"/>
                  </a:cubicBezTo>
                  <a:cubicBezTo>
                    <a:pt x="34" y="345"/>
                    <a:pt x="34" y="345"/>
                    <a:pt x="34" y="345"/>
                  </a:cubicBezTo>
                  <a:cubicBezTo>
                    <a:pt x="32" y="357"/>
                    <a:pt x="32" y="357"/>
                    <a:pt x="32" y="357"/>
                  </a:cubicBezTo>
                  <a:cubicBezTo>
                    <a:pt x="45" y="369"/>
                    <a:pt x="45" y="369"/>
                    <a:pt x="45" y="369"/>
                  </a:cubicBezTo>
                  <a:cubicBezTo>
                    <a:pt x="54" y="390"/>
                    <a:pt x="54" y="390"/>
                    <a:pt x="54" y="390"/>
                  </a:cubicBezTo>
                  <a:cubicBezTo>
                    <a:pt x="54" y="406"/>
                    <a:pt x="54" y="406"/>
                    <a:pt x="54" y="406"/>
                  </a:cubicBezTo>
                  <a:cubicBezTo>
                    <a:pt x="52" y="409"/>
                    <a:pt x="52" y="409"/>
                    <a:pt x="52" y="409"/>
                  </a:cubicBezTo>
                  <a:cubicBezTo>
                    <a:pt x="47" y="413"/>
                    <a:pt x="47" y="413"/>
                    <a:pt x="47" y="413"/>
                  </a:cubicBezTo>
                  <a:cubicBezTo>
                    <a:pt x="52" y="416"/>
                    <a:pt x="52" y="416"/>
                    <a:pt x="52" y="416"/>
                  </a:cubicBezTo>
                  <a:cubicBezTo>
                    <a:pt x="52" y="423"/>
                    <a:pt x="52" y="423"/>
                    <a:pt x="52" y="423"/>
                  </a:cubicBezTo>
                  <a:lnTo>
                    <a:pt x="67" y="42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06" name="Freeform 599">
              <a:extLst>
                <a:ext uri="{FF2B5EF4-FFF2-40B4-BE49-F238E27FC236}">
                  <a16:creationId xmlns:a16="http://schemas.microsoft.com/office/drawing/2014/main" id="{1EFF644E-AF65-489A-A3B9-C12247D290DF}"/>
                </a:ext>
              </a:extLst>
            </p:cNvPr>
            <p:cNvSpPr>
              <a:spLocks/>
            </p:cNvSpPr>
            <p:nvPr/>
          </p:nvSpPr>
          <p:spPr bwMode="gray">
            <a:xfrm>
              <a:off x="7421547" y="3683402"/>
              <a:ext cx="343333" cy="279967"/>
            </a:xfrm>
            <a:custGeom>
              <a:avLst/>
              <a:gdLst>
                <a:gd name="T0" fmla="*/ 339 w 353"/>
                <a:gd name="T1" fmla="*/ 227 h 288"/>
                <a:gd name="T2" fmla="*/ 332 w 353"/>
                <a:gd name="T3" fmla="*/ 227 h 288"/>
                <a:gd name="T4" fmla="*/ 323 w 353"/>
                <a:gd name="T5" fmla="*/ 210 h 288"/>
                <a:gd name="T6" fmla="*/ 309 w 353"/>
                <a:gd name="T7" fmla="*/ 187 h 288"/>
                <a:gd name="T8" fmla="*/ 300 w 353"/>
                <a:gd name="T9" fmla="*/ 180 h 288"/>
                <a:gd name="T10" fmla="*/ 277 w 353"/>
                <a:gd name="T11" fmla="*/ 156 h 288"/>
                <a:gd name="T12" fmla="*/ 264 w 353"/>
                <a:gd name="T13" fmla="*/ 149 h 288"/>
                <a:gd name="T14" fmla="*/ 270 w 353"/>
                <a:gd name="T15" fmla="*/ 135 h 288"/>
                <a:gd name="T16" fmla="*/ 286 w 353"/>
                <a:gd name="T17" fmla="*/ 135 h 288"/>
                <a:gd name="T18" fmla="*/ 298 w 353"/>
                <a:gd name="T19" fmla="*/ 102 h 288"/>
                <a:gd name="T20" fmla="*/ 305 w 353"/>
                <a:gd name="T21" fmla="*/ 69 h 288"/>
                <a:gd name="T22" fmla="*/ 305 w 353"/>
                <a:gd name="T23" fmla="*/ 67 h 288"/>
                <a:gd name="T24" fmla="*/ 285 w 353"/>
                <a:gd name="T25" fmla="*/ 63 h 288"/>
                <a:gd name="T26" fmla="*/ 270 w 353"/>
                <a:gd name="T27" fmla="*/ 0 h 288"/>
                <a:gd name="T28" fmla="*/ 254 w 353"/>
                <a:gd name="T29" fmla="*/ 17 h 288"/>
                <a:gd name="T30" fmla="*/ 258 w 353"/>
                <a:gd name="T31" fmla="*/ 45 h 288"/>
                <a:gd name="T32" fmla="*/ 214 w 353"/>
                <a:gd name="T33" fmla="*/ 87 h 288"/>
                <a:gd name="T34" fmla="*/ 171 w 353"/>
                <a:gd name="T35" fmla="*/ 73 h 288"/>
                <a:gd name="T36" fmla="*/ 155 w 353"/>
                <a:gd name="T37" fmla="*/ 87 h 288"/>
                <a:gd name="T38" fmla="*/ 119 w 353"/>
                <a:gd name="T39" fmla="*/ 98 h 288"/>
                <a:gd name="T40" fmla="*/ 68 w 353"/>
                <a:gd name="T41" fmla="*/ 94 h 288"/>
                <a:gd name="T42" fmla="*/ 28 w 353"/>
                <a:gd name="T43" fmla="*/ 70 h 288"/>
                <a:gd name="T44" fmla="*/ 0 w 353"/>
                <a:gd name="T45" fmla="*/ 126 h 288"/>
                <a:gd name="T46" fmla="*/ 8 w 353"/>
                <a:gd name="T47" fmla="*/ 130 h 288"/>
                <a:gd name="T48" fmla="*/ 3 w 353"/>
                <a:gd name="T49" fmla="*/ 140 h 288"/>
                <a:gd name="T50" fmla="*/ 31 w 353"/>
                <a:gd name="T51" fmla="*/ 154 h 288"/>
                <a:gd name="T52" fmla="*/ 35 w 353"/>
                <a:gd name="T53" fmla="*/ 159 h 288"/>
                <a:gd name="T54" fmla="*/ 56 w 353"/>
                <a:gd name="T55" fmla="*/ 180 h 288"/>
                <a:gd name="T56" fmla="*/ 70 w 353"/>
                <a:gd name="T57" fmla="*/ 189 h 288"/>
                <a:gd name="T58" fmla="*/ 72 w 353"/>
                <a:gd name="T59" fmla="*/ 203 h 288"/>
                <a:gd name="T60" fmla="*/ 81 w 353"/>
                <a:gd name="T61" fmla="*/ 210 h 288"/>
                <a:gd name="T62" fmla="*/ 95 w 353"/>
                <a:gd name="T63" fmla="*/ 224 h 288"/>
                <a:gd name="T64" fmla="*/ 102 w 353"/>
                <a:gd name="T65" fmla="*/ 241 h 288"/>
                <a:gd name="T66" fmla="*/ 111 w 353"/>
                <a:gd name="T67" fmla="*/ 253 h 288"/>
                <a:gd name="T68" fmla="*/ 140 w 353"/>
                <a:gd name="T69" fmla="*/ 253 h 288"/>
                <a:gd name="T70" fmla="*/ 161 w 353"/>
                <a:gd name="T71" fmla="*/ 250 h 288"/>
                <a:gd name="T72" fmla="*/ 170 w 353"/>
                <a:gd name="T73" fmla="*/ 253 h 288"/>
                <a:gd name="T74" fmla="*/ 179 w 353"/>
                <a:gd name="T75" fmla="*/ 267 h 288"/>
                <a:gd name="T76" fmla="*/ 193 w 353"/>
                <a:gd name="T77" fmla="*/ 274 h 288"/>
                <a:gd name="T78" fmla="*/ 200 w 353"/>
                <a:gd name="T79" fmla="*/ 281 h 288"/>
                <a:gd name="T80" fmla="*/ 207 w 353"/>
                <a:gd name="T81" fmla="*/ 281 h 288"/>
                <a:gd name="T82" fmla="*/ 223 w 353"/>
                <a:gd name="T83" fmla="*/ 281 h 288"/>
                <a:gd name="T84" fmla="*/ 232 w 353"/>
                <a:gd name="T85" fmla="*/ 283 h 288"/>
                <a:gd name="T86" fmla="*/ 241 w 353"/>
                <a:gd name="T87" fmla="*/ 283 h 288"/>
                <a:gd name="T88" fmla="*/ 254 w 353"/>
                <a:gd name="T89" fmla="*/ 276 h 288"/>
                <a:gd name="T90" fmla="*/ 270 w 353"/>
                <a:gd name="T91" fmla="*/ 276 h 288"/>
                <a:gd name="T92" fmla="*/ 293 w 353"/>
                <a:gd name="T93" fmla="*/ 264 h 288"/>
                <a:gd name="T94" fmla="*/ 353 w 353"/>
                <a:gd name="T95" fmla="*/ 253 h 288"/>
                <a:gd name="T96" fmla="*/ 350 w 353"/>
                <a:gd name="T97" fmla="*/ 22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3" h="288">
                  <a:moveTo>
                    <a:pt x="350" y="229"/>
                  </a:moveTo>
                  <a:cubicBezTo>
                    <a:pt x="339" y="227"/>
                    <a:pt x="339" y="227"/>
                    <a:pt x="339" y="227"/>
                  </a:cubicBezTo>
                  <a:cubicBezTo>
                    <a:pt x="332" y="229"/>
                    <a:pt x="332" y="229"/>
                    <a:pt x="332" y="229"/>
                  </a:cubicBezTo>
                  <a:cubicBezTo>
                    <a:pt x="332" y="227"/>
                    <a:pt x="332" y="227"/>
                    <a:pt x="332" y="227"/>
                  </a:cubicBezTo>
                  <a:cubicBezTo>
                    <a:pt x="328" y="220"/>
                    <a:pt x="328" y="220"/>
                    <a:pt x="328" y="220"/>
                  </a:cubicBezTo>
                  <a:cubicBezTo>
                    <a:pt x="323" y="210"/>
                    <a:pt x="323" y="210"/>
                    <a:pt x="323" y="210"/>
                  </a:cubicBezTo>
                  <a:cubicBezTo>
                    <a:pt x="316" y="189"/>
                    <a:pt x="316" y="189"/>
                    <a:pt x="316" y="189"/>
                  </a:cubicBezTo>
                  <a:cubicBezTo>
                    <a:pt x="309" y="187"/>
                    <a:pt x="309" y="187"/>
                    <a:pt x="309" y="187"/>
                  </a:cubicBezTo>
                  <a:cubicBezTo>
                    <a:pt x="307" y="182"/>
                    <a:pt x="307" y="182"/>
                    <a:pt x="307" y="182"/>
                  </a:cubicBezTo>
                  <a:cubicBezTo>
                    <a:pt x="300" y="180"/>
                    <a:pt x="300" y="180"/>
                    <a:pt x="300" y="180"/>
                  </a:cubicBezTo>
                  <a:cubicBezTo>
                    <a:pt x="291" y="163"/>
                    <a:pt x="291" y="163"/>
                    <a:pt x="291" y="163"/>
                  </a:cubicBezTo>
                  <a:cubicBezTo>
                    <a:pt x="277" y="156"/>
                    <a:pt x="277" y="156"/>
                    <a:pt x="277" y="156"/>
                  </a:cubicBezTo>
                  <a:cubicBezTo>
                    <a:pt x="264" y="156"/>
                    <a:pt x="264" y="156"/>
                    <a:pt x="264" y="156"/>
                  </a:cubicBezTo>
                  <a:cubicBezTo>
                    <a:pt x="264" y="149"/>
                    <a:pt x="264" y="149"/>
                    <a:pt x="264" y="149"/>
                  </a:cubicBezTo>
                  <a:cubicBezTo>
                    <a:pt x="270" y="142"/>
                    <a:pt x="270" y="142"/>
                    <a:pt x="270" y="142"/>
                  </a:cubicBezTo>
                  <a:cubicBezTo>
                    <a:pt x="270" y="135"/>
                    <a:pt x="270" y="135"/>
                    <a:pt x="270" y="135"/>
                  </a:cubicBezTo>
                  <a:cubicBezTo>
                    <a:pt x="284" y="133"/>
                    <a:pt x="284" y="133"/>
                    <a:pt x="284" y="133"/>
                  </a:cubicBezTo>
                  <a:cubicBezTo>
                    <a:pt x="286" y="135"/>
                    <a:pt x="286" y="135"/>
                    <a:pt x="286" y="135"/>
                  </a:cubicBezTo>
                  <a:cubicBezTo>
                    <a:pt x="298" y="130"/>
                    <a:pt x="298" y="130"/>
                    <a:pt x="298" y="130"/>
                  </a:cubicBezTo>
                  <a:cubicBezTo>
                    <a:pt x="298" y="102"/>
                    <a:pt x="298" y="102"/>
                    <a:pt x="298" y="102"/>
                  </a:cubicBezTo>
                  <a:cubicBezTo>
                    <a:pt x="305" y="79"/>
                    <a:pt x="305" y="79"/>
                    <a:pt x="305" y="79"/>
                  </a:cubicBezTo>
                  <a:cubicBezTo>
                    <a:pt x="305" y="69"/>
                    <a:pt x="305" y="69"/>
                    <a:pt x="305" y="69"/>
                  </a:cubicBezTo>
                  <a:cubicBezTo>
                    <a:pt x="308" y="66"/>
                    <a:pt x="308" y="66"/>
                    <a:pt x="308" y="66"/>
                  </a:cubicBezTo>
                  <a:cubicBezTo>
                    <a:pt x="305" y="67"/>
                    <a:pt x="305" y="67"/>
                    <a:pt x="305" y="67"/>
                  </a:cubicBezTo>
                  <a:cubicBezTo>
                    <a:pt x="305" y="66"/>
                    <a:pt x="305" y="66"/>
                    <a:pt x="305" y="66"/>
                  </a:cubicBezTo>
                  <a:cubicBezTo>
                    <a:pt x="285" y="63"/>
                    <a:pt x="285" y="63"/>
                    <a:pt x="285" y="63"/>
                  </a:cubicBezTo>
                  <a:cubicBezTo>
                    <a:pt x="285" y="0"/>
                    <a:pt x="285" y="0"/>
                    <a:pt x="285" y="0"/>
                  </a:cubicBezTo>
                  <a:cubicBezTo>
                    <a:pt x="270" y="0"/>
                    <a:pt x="270" y="0"/>
                    <a:pt x="270" y="0"/>
                  </a:cubicBezTo>
                  <a:cubicBezTo>
                    <a:pt x="270" y="14"/>
                    <a:pt x="270" y="14"/>
                    <a:pt x="270" y="14"/>
                  </a:cubicBezTo>
                  <a:cubicBezTo>
                    <a:pt x="254" y="17"/>
                    <a:pt x="254" y="17"/>
                    <a:pt x="254" y="17"/>
                  </a:cubicBezTo>
                  <a:cubicBezTo>
                    <a:pt x="258" y="17"/>
                    <a:pt x="258" y="17"/>
                    <a:pt x="258" y="17"/>
                  </a:cubicBezTo>
                  <a:cubicBezTo>
                    <a:pt x="258" y="45"/>
                    <a:pt x="258" y="45"/>
                    <a:pt x="258" y="45"/>
                  </a:cubicBezTo>
                  <a:cubicBezTo>
                    <a:pt x="222" y="87"/>
                    <a:pt x="222" y="87"/>
                    <a:pt x="222" y="87"/>
                  </a:cubicBezTo>
                  <a:cubicBezTo>
                    <a:pt x="214" y="87"/>
                    <a:pt x="214" y="87"/>
                    <a:pt x="214" y="87"/>
                  </a:cubicBezTo>
                  <a:cubicBezTo>
                    <a:pt x="190" y="66"/>
                    <a:pt x="190" y="66"/>
                    <a:pt x="190" y="66"/>
                  </a:cubicBezTo>
                  <a:cubicBezTo>
                    <a:pt x="171" y="73"/>
                    <a:pt x="171" y="73"/>
                    <a:pt x="171" y="73"/>
                  </a:cubicBezTo>
                  <a:cubicBezTo>
                    <a:pt x="171" y="87"/>
                    <a:pt x="171" y="87"/>
                    <a:pt x="171" y="87"/>
                  </a:cubicBezTo>
                  <a:cubicBezTo>
                    <a:pt x="155" y="87"/>
                    <a:pt x="155" y="87"/>
                    <a:pt x="155" y="87"/>
                  </a:cubicBezTo>
                  <a:cubicBezTo>
                    <a:pt x="143" y="98"/>
                    <a:pt x="143" y="98"/>
                    <a:pt x="143" y="98"/>
                  </a:cubicBezTo>
                  <a:cubicBezTo>
                    <a:pt x="119" y="98"/>
                    <a:pt x="119" y="98"/>
                    <a:pt x="119" y="98"/>
                  </a:cubicBezTo>
                  <a:cubicBezTo>
                    <a:pt x="119" y="87"/>
                    <a:pt x="119" y="87"/>
                    <a:pt x="119" y="87"/>
                  </a:cubicBezTo>
                  <a:cubicBezTo>
                    <a:pt x="68" y="94"/>
                    <a:pt x="68" y="94"/>
                    <a:pt x="68" y="94"/>
                  </a:cubicBezTo>
                  <a:cubicBezTo>
                    <a:pt x="52" y="73"/>
                    <a:pt x="52" y="73"/>
                    <a:pt x="52" y="73"/>
                  </a:cubicBezTo>
                  <a:cubicBezTo>
                    <a:pt x="28" y="70"/>
                    <a:pt x="28" y="70"/>
                    <a:pt x="28" y="70"/>
                  </a:cubicBezTo>
                  <a:cubicBezTo>
                    <a:pt x="0" y="126"/>
                    <a:pt x="0" y="126"/>
                    <a:pt x="0" y="126"/>
                  </a:cubicBezTo>
                  <a:cubicBezTo>
                    <a:pt x="0" y="126"/>
                    <a:pt x="0" y="126"/>
                    <a:pt x="0" y="126"/>
                  </a:cubicBezTo>
                  <a:cubicBezTo>
                    <a:pt x="3" y="126"/>
                    <a:pt x="3" y="126"/>
                    <a:pt x="3" y="126"/>
                  </a:cubicBezTo>
                  <a:cubicBezTo>
                    <a:pt x="8" y="130"/>
                    <a:pt x="8" y="130"/>
                    <a:pt x="8" y="130"/>
                  </a:cubicBezTo>
                  <a:cubicBezTo>
                    <a:pt x="3" y="133"/>
                    <a:pt x="3" y="133"/>
                    <a:pt x="3" y="133"/>
                  </a:cubicBezTo>
                  <a:cubicBezTo>
                    <a:pt x="3" y="140"/>
                    <a:pt x="3" y="140"/>
                    <a:pt x="3" y="140"/>
                  </a:cubicBezTo>
                  <a:cubicBezTo>
                    <a:pt x="19" y="142"/>
                    <a:pt x="19" y="142"/>
                    <a:pt x="19" y="142"/>
                  </a:cubicBezTo>
                  <a:cubicBezTo>
                    <a:pt x="31" y="154"/>
                    <a:pt x="31" y="154"/>
                    <a:pt x="31" y="154"/>
                  </a:cubicBezTo>
                  <a:cubicBezTo>
                    <a:pt x="35" y="154"/>
                    <a:pt x="35" y="154"/>
                    <a:pt x="35" y="154"/>
                  </a:cubicBezTo>
                  <a:cubicBezTo>
                    <a:pt x="35" y="159"/>
                    <a:pt x="35" y="159"/>
                    <a:pt x="35" y="159"/>
                  </a:cubicBezTo>
                  <a:cubicBezTo>
                    <a:pt x="33" y="163"/>
                    <a:pt x="33" y="163"/>
                    <a:pt x="33" y="163"/>
                  </a:cubicBezTo>
                  <a:cubicBezTo>
                    <a:pt x="56" y="180"/>
                    <a:pt x="56" y="180"/>
                    <a:pt x="56" y="180"/>
                  </a:cubicBezTo>
                  <a:cubicBezTo>
                    <a:pt x="58" y="182"/>
                    <a:pt x="58" y="182"/>
                    <a:pt x="58" y="182"/>
                  </a:cubicBezTo>
                  <a:cubicBezTo>
                    <a:pt x="70" y="189"/>
                    <a:pt x="70" y="189"/>
                    <a:pt x="70" y="189"/>
                  </a:cubicBezTo>
                  <a:cubicBezTo>
                    <a:pt x="65" y="196"/>
                    <a:pt x="65" y="196"/>
                    <a:pt x="65" y="196"/>
                  </a:cubicBezTo>
                  <a:cubicBezTo>
                    <a:pt x="72" y="203"/>
                    <a:pt x="72" y="203"/>
                    <a:pt x="72" y="203"/>
                  </a:cubicBezTo>
                  <a:cubicBezTo>
                    <a:pt x="70" y="206"/>
                    <a:pt x="70" y="206"/>
                    <a:pt x="70" y="206"/>
                  </a:cubicBezTo>
                  <a:cubicBezTo>
                    <a:pt x="81" y="210"/>
                    <a:pt x="81" y="210"/>
                    <a:pt x="81" y="210"/>
                  </a:cubicBezTo>
                  <a:cubicBezTo>
                    <a:pt x="92" y="217"/>
                    <a:pt x="92" y="217"/>
                    <a:pt x="92" y="217"/>
                  </a:cubicBezTo>
                  <a:cubicBezTo>
                    <a:pt x="95" y="224"/>
                    <a:pt x="95" y="224"/>
                    <a:pt x="95" y="224"/>
                  </a:cubicBezTo>
                  <a:cubicBezTo>
                    <a:pt x="95" y="229"/>
                    <a:pt x="95" y="229"/>
                    <a:pt x="95" y="229"/>
                  </a:cubicBezTo>
                  <a:cubicBezTo>
                    <a:pt x="102" y="241"/>
                    <a:pt x="102" y="241"/>
                    <a:pt x="102" y="241"/>
                  </a:cubicBezTo>
                  <a:cubicBezTo>
                    <a:pt x="108" y="248"/>
                    <a:pt x="108" y="248"/>
                    <a:pt x="108" y="248"/>
                  </a:cubicBezTo>
                  <a:cubicBezTo>
                    <a:pt x="111" y="253"/>
                    <a:pt x="111" y="253"/>
                    <a:pt x="111" y="253"/>
                  </a:cubicBezTo>
                  <a:cubicBezTo>
                    <a:pt x="127" y="264"/>
                    <a:pt x="127" y="264"/>
                    <a:pt x="127" y="264"/>
                  </a:cubicBezTo>
                  <a:cubicBezTo>
                    <a:pt x="140" y="253"/>
                    <a:pt x="140" y="253"/>
                    <a:pt x="140" y="253"/>
                  </a:cubicBezTo>
                  <a:cubicBezTo>
                    <a:pt x="154" y="260"/>
                    <a:pt x="154" y="260"/>
                    <a:pt x="154" y="260"/>
                  </a:cubicBezTo>
                  <a:cubicBezTo>
                    <a:pt x="161" y="250"/>
                    <a:pt x="161" y="250"/>
                    <a:pt x="161" y="250"/>
                  </a:cubicBezTo>
                  <a:cubicBezTo>
                    <a:pt x="163" y="250"/>
                    <a:pt x="163" y="250"/>
                    <a:pt x="163" y="250"/>
                  </a:cubicBezTo>
                  <a:cubicBezTo>
                    <a:pt x="170" y="253"/>
                    <a:pt x="170" y="253"/>
                    <a:pt x="170" y="253"/>
                  </a:cubicBezTo>
                  <a:cubicBezTo>
                    <a:pt x="170" y="260"/>
                    <a:pt x="170" y="260"/>
                    <a:pt x="170" y="260"/>
                  </a:cubicBezTo>
                  <a:cubicBezTo>
                    <a:pt x="179" y="267"/>
                    <a:pt x="179" y="267"/>
                    <a:pt x="179" y="267"/>
                  </a:cubicBezTo>
                  <a:cubicBezTo>
                    <a:pt x="184" y="274"/>
                    <a:pt x="184" y="274"/>
                    <a:pt x="184" y="274"/>
                  </a:cubicBezTo>
                  <a:cubicBezTo>
                    <a:pt x="193" y="274"/>
                    <a:pt x="193" y="274"/>
                    <a:pt x="193" y="274"/>
                  </a:cubicBezTo>
                  <a:cubicBezTo>
                    <a:pt x="193" y="283"/>
                    <a:pt x="193" y="283"/>
                    <a:pt x="193" y="283"/>
                  </a:cubicBezTo>
                  <a:cubicBezTo>
                    <a:pt x="200" y="281"/>
                    <a:pt x="200" y="281"/>
                    <a:pt x="200" y="281"/>
                  </a:cubicBezTo>
                  <a:cubicBezTo>
                    <a:pt x="202" y="288"/>
                    <a:pt x="202" y="288"/>
                    <a:pt x="202" y="288"/>
                  </a:cubicBezTo>
                  <a:cubicBezTo>
                    <a:pt x="207" y="281"/>
                    <a:pt x="207" y="281"/>
                    <a:pt x="207" y="281"/>
                  </a:cubicBezTo>
                  <a:cubicBezTo>
                    <a:pt x="209" y="276"/>
                    <a:pt x="209" y="276"/>
                    <a:pt x="209" y="276"/>
                  </a:cubicBezTo>
                  <a:cubicBezTo>
                    <a:pt x="223" y="281"/>
                    <a:pt x="223" y="281"/>
                    <a:pt x="223" y="281"/>
                  </a:cubicBezTo>
                  <a:cubicBezTo>
                    <a:pt x="229" y="276"/>
                    <a:pt x="229" y="276"/>
                    <a:pt x="229" y="276"/>
                  </a:cubicBezTo>
                  <a:cubicBezTo>
                    <a:pt x="232" y="283"/>
                    <a:pt x="232" y="283"/>
                    <a:pt x="232" y="283"/>
                  </a:cubicBezTo>
                  <a:cubicBezTo>
                    <a:pt x="241" y="288"/>
                    <a:pt x="241" y="288"/>
                    <a:pt x="241" y="288"/>
                  </a:cubicBezTo>
                  <a:cubicBezTo>
                    <a:pt x="241" y="283"/>
                    <a:pt x="241" y="283"/>
                    <a:pt x="241" y="283"/>
                  </a:cubicBezTo>
                  <a:cubicBezTo>
                    <a:pt x="248" y="281"/>
                    <a:pt x="248" y="281"/>
                    <a:pt x="248" y="281"/>
                  </a:cubicBezTo>
                  <a:cubicBezTo>
                    <a:pt x="254" y="276"/>
                    <a:pt x="254" y="276"/>
                    <a:pt x="254" y="276"/>
                  </a:cubicBezTo>
                  <a:cubicBezTo>
                    <a:pt x="264" y="274"/>
                    <a:pt x="264" y="274"/>
                    <a:pt x="264" y="274"/>
                  </a:cubicBezTo>
                  <a:cubicBezTo>
                    <a:pt x="270" y="276"/>
                    <a:pt x="270" y="276"/>
                    <a:pt x="270" y="276"/>
                  </a:cubicBezTo>
                  <a:cubicBezTo>
                    <a:pt x="282" y="276"/>
                    <a:pt x="282" y="276"/>
                    <a:pt x="282" y="276"/>
                  </a:cubicBezTo>
                  <a:cubicBezTo>
                    <a:pt x="293" y="264"/>
                    <a:pt x="293" y="264"/>
                    <a:pt x="293" y="264"/>
                  </a:cubicBezTo>
                  <a:cubicBezTo>
                    <a:pt x="307" y="253"/>
                    <a:pt x="307" y="253"/>
                    <a:pt x="307" y="253"/>
                  </a:cubicBezTo>
                  <a:cubicBezTo>
                    <a:pt x="353" y="253"/>
                    <a:pt x="353" y="253"/>
                    <a:pt x="353" y="253"/>
                  </a:cubicBezTo>
                  <a:cubicBezTo>
                    <a:pt x="346" y="248"/>
                    <a:pt x="346" y="248"/>
                    <a:pt x="346" y="248"/>
                  </a:cubicBezTo>
                  <a:lnTo>
                    <a:pt x="350" y="22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979" name="Gruppieren 7978">
            <a:extLst>
              <a:ext uri="{FF2B5EF4-FFF2-40B4-BE49-F238E27FC236}">
                <a16:creationId xmlns:a16="http://schemas.microsoft.com/office/drawing/2014/main" id="{3EA66B8D-3804-4C8E-94C2-9637590EDCF5}"/>
              </a:ext>
            </a:extLst>
          </p:cNvPr>
          <p:cNvGrpSpPr/>
          <p:nvPr/>
        </p:nvGrpSpPr>
        <p:grpSpPr bwMode="gray">
          <a:xfrm>
            <a:off x="5220721" y="1196976"/>
            <a:ext cx="1944000" cy="1548112"/>
            <a:chOff x="4007768" y="1016792"/>
            <a:chExt cx="1944000" cy="1548112"/>
          </a:xfrm>
        </p:grpSpPr>
        <p:sp>
          <p:nvSpPr>
            <p:cNvPr id="7980" name="Textplatzhalter 4">
              <a:extLst>
                <a:ext uri="{FF2B5EF4-FFF2-40B4-BE49-F238E27FC236}">
                  <a16:creationId xmlns:a16="http://schemas.microsoft.com/office/drawing/2014/main" id="{858B133E-0C9A-4F64-A9BB-8F28361CA9FB}"/>
                </a:ext>
              </a:extLst>
            </p:cNvPr>
            <p:cNvSpPr txBox="1">
              <a:spLocks/>
            </p:cNvSpPr>
            <p:nvPr/>
          </p:nvSpPr>
          <p:spPr bwMode="gray">
            <a:xfrm>
              <a:off x="4007768" y="1736835"/>
              <a:ext cx="1944000" cy="828069"/>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Lorem ipsum dolor sit amet, consectetuer adipiscing elit</a:t>
              </a:r>
            </a:p>
          </p:txBody>
        </p:sp>
        <p:sp>
          <p:nvSpPr>
            <p:cNvPr id="7981" name="Textplatzhalter 3">
              <a:extLst>
                <a:ext uri="{FF2B5EF4-FFF2-40B4-BE49-F238E27FC236}">
                  <a16:creationId xmlns:a16="http://schemas.microsoft.com/office/drawing/2014/main" id="{8E7A533A-9EBD-4E6E-8BF8-4D862576B7F9}"/>
                </a:ext>
              </a:extLst>
            </p:cNvPr>
            <p:cNvSpPr txBox="1">
              <a:spLocks/>
            </p:cNvSpPr>
            <p:nvPr/>
          </p:nvSpPr>
          <p:spPr bwMode="gray">
            <a:xfrm>
              <a:off x="4007768" y="1016792"/>
              <a:ext cx="194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dirty="0">
                  <a:solidFill>
                    <a:schemeClr val="accent5"/>
                  </a:solidFill>
                </a:rPr>
                <a:t>25%</a:t>
              </a:r>
            </a:p>
          </p:txBody>
        </p:sp>
        <p:cxnSp>
          <p:nvCxnSpPr>
            <p:cNvPr id="7982" name="Gerader Verbinder 7981">
              <a:extLst>
                <a:ext uri="{FF2B5EF4-FFF2-40B4-BE49-F238E27FC236}">
                  <a16:creationId xmlns:a16="http://schemas.microsoft.com/office/drawing/2014/main" id="{2E75F34C-A377-46B6-917E-21AF5BFF0B4D}"/>
                </a:ext>
              </a:extLst>
            </p:cNvPr>
            <p:cNvCxnSpPr/>
            <p:nvPr/>
          </p:nvCxnSpPr>
          <p:spPr bwMode="gray">
            <a:xfrm>
              <a:off x="5519936" y="1556792"/>
              <a:ext cx="4316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983" name="Gruppieren 7982">
            <a:extLst>
              <a:ext uri="{FF2B5EF4-FFF2-40B4-BE49-F238E27FC236}">
                <a16:creationId xmlns:a16="http://schemas.microsoft.com/office/drawing/2014/main" id="{6E969D3F-E7AE-44F4-B445-C75D62EE48B5}"/>
              </a:ext>
            </a:extLst>
          </p:cNvPr>
          <p:cNvGrpSpPr/>
          <p:nvPr/>
        </p:nvGrpSpPr>
        <p:grpSpPr bwMode="gray">
          <a:xfrm>
            <a:off x="3935760" y="4221088"/>
            <a:ext cx="3240360" cy="3240360"/>
            <a:chOff x="4295800" y="4005064"/>
            <a:chExt cx="3240360" cy="3240360"/>
          </a:xfrm>
        </p:grpSpPr>
        <p:sp>
          <p:nvSpPr>
            <p:cNvPr id="7984" name="Ellipse 7983">
              <a:extLst>
                <a:ext uri="{FF2B5EF4-FFF2-40B4-BE49-F238E27FC236}">
                  <a16:creationId xmlns:a16="http://schemas.microsoft.com/office/drawing/2014/main" id="{DD848EA0-A7BD-45F4-A0D6-E2311EE58A91}"/>
                </a:ext>
              </a:extLst>
            </p:cNvPr>
            <p:cNvSpPr/>
            <p:nvPr/>
          </p:nvSpPr>
          <p:spPr bwMode="gray">
            <a:xfrm>
              <a:off x="4295800" y="4005064"/>
              <a:ext cx="3240360" cy="3240360"/>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85" name="Textplatzhalter 4">
              <a:extLst>
                <a:ext uri="{FF2B5EF4-FFF2-40B4-BE49-F238E27FC236}">
                  <a16:creationId xmlns:a16="http://schemas.microsoft.com/office/drawing/2014/main" id="{67C23E80-67F3-48CC-8032-5FC4144D5134}"/>
                </a:ext>
              </a:extLst>
            </p:cNvPr>
            <p:cNvSpPr txBox="1">
              <a:spLocks/>
            </p:cNvSpPr>
            <p:nvPr/>
          </p:nvSpPr>
          <p:spPr bwMode="gray">
            <a:xfrm>
              <a:off x="5015880" y="5491063"/>
              <a:ext cx="1944000" cy="828069"/>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solidFill>
                    <a:schemeClr val="bg1"/>
                  </a:solidFill>
                </a:rPr>
                <a:t>Lorem ipsum dolor sit amet, consectetuer adipiscing elit</a:t>
              </a:r>
            </a:p>
          </p:txBody>
        </p:sp>
        <p:sp>
          <p:nvSpPr>
            <p:cNvPr id="7986" name="Textplatzhalter 3">
              <a:extLst>
                <a:ext uri="{FF2B5EF4-FFF2-40B4-BE49-F238E27FC236}">
                  <a16:creationId xmlns:a16="http://schemas.microsoft.com/office/drawing/2014/main" id="{F44A321D-737E-4553-AC73-2582B4FAB867}"/>
                </a:ext>
              </a:extLst>
            </p:cNvPr>
            <p:cNvSpPr txBox="1">
              <a:spLocks/>
            </p:cNvSpPr>
            <p:nvPr/>
          </p:nvSpPr>
          <p:spPr bwMode="gray">
            <a:xfrm>
              <a:off x="5015880" y="4771020"/>
              <a:ext cx="194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dirty="0">
                  <a:solidFill>
                    <a:schemeClr val="bg1"/>
                  </a:solidFill>
                </a:rPr>
                <a:t>25%</a:t>
              </a:r>
            </a:p>
          </p:txBody>
        </p:sp>
      </p:grpSp>
      <p:grpSp>
        <p:nvGrpSpPr>
          <p:cNvPr id="7987" name="Gruppieren 7986">
            <a:extLst>
              <a:ext uri="{FF2B5EF4-FFF2-40B4-BE49-F238E27FC236}">
                <a16:creationId xmlns:a16="http://schemas.microsoft.com/office/drawing/2014/main" id="{8E2B4E3E-D546-4563-B034-7597EE4F2E68}"/>
              </a:ext>
            </a:extLst>
          </p:cNvPr>
          <p:cNvGrpSpPr/>
          <p:nvPr/>
        </p:nvGrpSpPr>
        <p:grpSpPr bwMode="gray">
          <a:xfrm>
            <a:off x="7491716" y="3212976"/>
            <a:ext cx="1944000" cy="1548112"/>
            <a:chOff x="4007768" y="1016792"/>
            <a:chExt cx="1944000" cy="1548112"/>
          </a:xfrm>
        </p:grpSpPr>
        <p:sp>
          <p:nvSpPr>
            <p:cNvPr id="7988" name="Textplatzhalter 4">
              <a:extLst>
                <a:ext uri="{FF2B5EF4-FFF2-40B4-BE49-F238E27FC236}">
                  <a16:creationId xmlns:a16="http://schemas.microsoft.com/office/drawing/2014/main" id="{F3A9AA35-8C73-4DED-978C-1254C87532A2}"/>
                </a:ext>
              </a:extLst>
            </p:cNvPr>
            <p:cNvSpPr txBox="1">
              <a:spLocks/>
            </p:cNvSpPr>
            <p:nvPr/>
          </p:nvSpPr>
          <p:spPr bwMode="gray">
            <a:xfrm>
              <a:off x="4007768" y="1736835"/>
              <a:ext cx="1944000" cy="828069"/>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Lorem ipsum dolor sit amet, consectetuer adipiscing elit</a:t>
              </a:r>
            </a:p>
          </p:txBody>
        </p:sp>
        <p:sp>
          <p:nvSpPr>
            <p:cNvPr id="7989" name="Textplatzhalter 3">
              <a:extLst>
                <a:ext uri="{FF2B5EF4-FFF2-40B4-BE49-F238E27FC236}">
                  <a16:creationId xmlns:a16="http://schemas.microsoft.com/office/drawing/2014/main" id="{85B601FC-63BD-4829-A283-12E9C3AC5631}"/>
                </a:ext>
              </a:extLst>
            </p:cNvPr>
            <p:cNvSpPr txBox="1">
              <a:spLocks/>
            </p:cNvSpPr>
            <p:nvPr/>
          </p:nvSpPr>
          <p:spPr bwMode="gray">
            <a:xfrm>
              <a:off x="4007768" y="1016792"/>
              <a:ext cx="194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dirty="0">
                  <a:solidFill>
                    <a:schemeClr val="accent5"/>
                  </a:solidFill>
                </a:rPr>
                <a:t>25%</a:t>
              </a:r>
            </a:p>
          </p:txBody>
        </p:sp>
        <p:cxnSp>
          <p:nvCxnSpPr>
            <p:cNvPr id="7990" name="Gerader Verbinder 7989">
              <a:extLst>
                <a:ext uri="{FF2B5EF4-FFF2-40B4-BE49-F238E27FC236}">
                  <a16:creationId xmlns:a16="http://schemas.microsoft.com/office/drawing/2014/main" id="{2661F586-71B3-406F-B0F5-CFB8A9DB1456}"/>
                </a:ext>
              </a:extLst>
            </p:cNvPr>
            <p:cNvCxnSpPr/>
            <p:nvPr/>
          </p:nvCxnSpPr>
          <p:spPr bwMode="gray">
            <a:xfrm>
              <a:off x="5519936" y="1556792"/>
              <a:ext cx="4316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4" name="Titel 3">
            <a:extLst>
              <a:ext uri="{FF2B5EF4-FFF2-40B4-BE49-F238E27FC236}">
                <a16:creationId xmlns:a16="http://schemas.microsoft.com/office/drawing/2014/main" id="{60EC8D8A-C876-4EC5-A94B-31EA320D0A60}"/>
              </a:ext>
            </a:extLst>
          </p:cNvPr>
          <p:cNvSpPr>
            <a:spLocks noGrp="1"/>
          </p:cNvSpPr>
          <p:nvPr>
            <p:ph type="title"/>
          </p:nvPr>
        </p:nvSpPr>
        <p:spPr bwMode="gray"/>
        <p:txBody>
          <a:bodyPr/>
          <a:lstStyle/>
          <a:p>
            <a:r>
              <a:rPr lang="en-US" dirty="0"/>
              <a:t>AAA – Africa,</a:t>
            </a:r>
            <a:br>
              <a:rPr lang="en-US" dirty="0"/>
            </a:br>
            <a:r>
              <a:rPr lang="en-US" dirty="0"/>
              <a:t>Asia &amp; Australia </a:t>
            </a:r>
          </a:p>
        </p:txBody>
      </p:sp>
      <p:sp>
        <p:nvSpPr>
          <p:cNvPr id="6" name="Textplatzhalter 5">
            <a:extLst>
              <a:ext uri="{FF2B5EF4-FFF2-40B4-BE49-F238E27FC236}">
                <a16:creationId xmlns:a16="http://schemas.microsoft.com/office/drawing/2014/main" id="{7F7AE1B9-C0DD-4C83-B513-C7D60B1F96A8}"/>
              </a:ext>
            </a:extLst>
          </p:cNvPr>
          <p:cNvSpPr>
            <a:spLocks noGrp="1"/>
          </p:cNvSpPr>
          <p:nvPr>
            <p:ph type="body" sz="quarter" idx="15"/>
          </p:nvPr>
        </p:nvSpPr>
        <p:spPr bwMode="gray"/>
        <p:txBody>
          <a:bodyPr/>
          <a:lstStyle/>
          <a:p>
            <a:r>
              <a:rPr lang="en-US" dirty="0"/>
              <a:t>Lorem ipsum dolor sit amet, consectetuer adipiscing elit.</a:t>
            </a:r>
          </a:p>
          <a:p>
            <a:pPr lvl="1"/>
            <a:r>
              <a:rPr lang="en-US" dirty="0"/>
              <a:t>Maecenas porttitor congue massa. Fusce posuere, magna sed pulvinar ultricies, purus lectus malesuada libero, sit amet commodo magna eros quis urna.</a:t>
            </a:r>
          </a:p>
          <a:p>
            <a:pPr lvl="1"/>
            <a:endParaRPr lang="en-US" dirty="0"/>
          </a:p>
          <a:p>
            <a:pPr lvl="1"/>
            <a:r>
              <a:rPr lang="en-US" dirty="0"/>
              <a:t>Nunc viverra imperdiet enim. Fusce est. Vivamus a tellus.</a:t>
            </a:r>
          </a:p>
        </p:txBody>
      </p:sp>
      <p:sp>
        <p:nvSpPr>
          <p:cNvPr id="2" name="Fußzeilenplatzhalter 1">
            <a:extLst>
              <a:ext uri="{FF2B5EF4-FFF2-40B4-BE49-F238E27FC236}">
                <a16:creationId xmlns:a16="http://schemas.microsoft.com/office/drawing/2014/main" id="{134C7CFA-2B38-4419-B907-B462257850F8}"/>
              </a:ext>
            </a:extLst>
          </p:cNvPr>
          <p:cNvSpPr>
            <a:spLocks noGrp="1"/>
          </p:cNvSpPr>
          <p:nvPr>
            <p:ph type="ftr" sz="quarter" idx="16"/>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A2C08044-5B10-45D8-A5A0-FAE3B1F21217}"/>
              </a:ext>
            </a:extLst>
          </p:cNvPr>
          <p:cNvSpPr>
            <a:spLocks noGrp="1"/>
          </p:cNvSpPr>
          <p:nvPr>
            <p:ph type="sldNum" sz="quarter" idx="12"/>
          </p:nvPr>
        </p:nvSpPr>
        <p:spPr/>
        <p:txBody>
          <a:bodyPr/>
          <a:lstStyle/>
          <a:p>
            <a:fld id="{CE82B8A1-0CCE-4815-9668-383D7DE7D8B4}" type="slidenum">
              <a:rPr lang="en-US" noProof="0" smtClean="0"/>
              <a:pPr/>
              <a:t>72</a:t>
            </a:fld>
            <a:endParaRPr lang="en-US" noProof="0" dirty="0"/>
          </a:p>
        </p:txBody>
      </p:sp>
    </p:spTree>
    <p:extLst>
      <p:ext uri="{BB962C8B-B14F-4D97-AF65-F5344CB8AC3E}">
        <p14:creationId xmlns:p14="http://schemas.microsoft.com/office/powerpoint/2010/main" val="284844798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01" name="Gruppieren 3400">
            <a:extLst>
              <a:ext uri="{FF2B5EF4-FFF2-40B4-BE49-F238E27FC236}">
                <a16:creationId xmlns:a16="http://schemas.microsoft.com/office/drawing/2014/main" id="{D121CACF-BB0E-461B-8EB0-0B27F07B330D}"/>
              </a:ext>
            </a:extLst>
          </p:cNvPr>
          <p:cNvGrpSpPr/>
          <p:nvPr/>
        </p:nvGrpSpPr>
        <p:grpSpPr bwMode="gray">
          <a:xfrm>
            <a:off x="-1608856" y="-2303115"/>
            <a:ext cx="17068813" cy="4123987"/>
            <a:chOff x="1738441" y="692696"/>
            <a:chExt cx="10478239" cy="2531642"/>
          </a:xfrm>
          <a:pattFill prst="ltUpDiag">
            <a:fgClr>
              <a:schemeClr val="bg2">
                <a:lumMod val="90000"/>
              </a:schemeClr>
            </a:fgClr>
            <a:bgClr>
              <a:schemeClr val="bg1"/>
            </a:bgClr>
          </a:pattFill>
        </p:grpSpPr>
        <p:sp>
          <p:nvSpPr>
            <p:cNvPr id="3402" name="Freeform 534">
              <a:extLst>
                <a:ext uri="{FF2B5EF4-FFF2-40B4-BE49-F238E27FC236}">
                  <a16:creationId xmlns:a16="http://schemas.microsoft.com/office/drawing/2014/main" id="{6AD10B05-0846-4A47-A5EE-DA30E9AF3893}"/>
                </a:ext>
              </a:extLst>
            </p:cNvPr>
            <p:cNvSpPr>
              <a:spLocks noEditPoints="1"/>
            </p:cNvSpPr>
            <p:nvPr/>
          </p:nvSpPr>
          <p:spPr bwMode="gray">
            <a:xfrm>
              <a:off x="5824678" y="2735219"/>
              <a:ext cx="723716" cy="324844"/>
            </a:xfrm>
            <a:custGeom>
              <a:avLst/>
              <a:gdLst>
                <a:gd name="T0" fmla="*/ 1613 w 1758"/>
                <a:gd name="T1" fmla="*/ 0 h 789"/>
                <a:gd name="T2" fmla="*/ 1613 w 1758"/>
                <a:gd name="T3" fmla="*/ 28 h 789"/>
                <a:gd name="T4" fmla="*/ 1651 w 1758"/>
                <a:gd name="T5" fmla="*/ 28 h 789"/>
                <a:gd name="T6" fmla="*/ 1689 w 1758"/>
                <a:gd name="T7" fmla="*/ 28 h 789"/>
                <a:gd name="T8" fmla="*/ 1727 w 1758"/>
                <a:gd name="T9" fmla="*/ 16 h 789"/>
                <a:gd name="T10" fmla="*/ 1758 w 1758"/>
                <a:gd name="T11" fmla="*/ 49 h 789"/>
                <a:gd name="T12" fmla="*/ 1703 w 1758"/>
                <a:gd name="T13" fmla="*/ 99 h 789"/>
                <a:gd name="T14" fmla="*/ 1710 w 1758"/>
                <a:gd name="T15" fmla="*/ 144 h 789"/>
                <a:gd name="T16" fmla="*/ 1703 w 1758"/>
                <a:gd name="T17" fmla="*/ 165 h 789"/>
                <a:gd name="T18" fmla="*/ 1710 w 1758"/>
                <a:gd name="T19" fmla="*/ 182 h 789"/>
                <a:gd name="T20" fmla="*/ 1665 w 1758"/>
                <a:gd name="T21" fmla="*/ 215 h 789"/>
                <a:gd name="T22" fmla="*/ 1703 w 1758"/>
                <a:gd name="T23" fmla="*/ 272 h 789"/>
                <a:gd name="T24" fmla="*/ 1673 w 1758"/>
                <a:gd name="T25" fmla="*/ 321 h 789"/>
                <a:gd name="T26" fmla="*/ 1703 w 1758"/>
                <a:gd name="T27" fmla="*/ 342 h 789"/>
                <a:gd name="T28" fmla="*/ 1677 w 1758"/>
                <a:gd name="T29" fmla="*/ 359 h 789"/>
                <a:gd name="T30" fmla="*/ 1665 w 1758"/>
                <a:gd name="T31" fmla="*/ 387 h 789"/>
                <a:gd name="T32" fmla="*/ 1673 w 1758"/>
                <a:gd name="T33" fmla="*/ 420 h 789"/>
                <a:gd name="T34" fmla="*/ 1580 w 1758"/>
                <a:gd name="T35" fmla="*/ 432 h 789"/>
                <a:gd name="T36" fmla="*/ 1569 w 1758"/>
                <a:gd name="T37" fmla="*/ 404 h 789"/>
                <a:gd name="T38" fmla="*/ 1580 w 1758"/>
                <a:gd name="T39" fmla="*/ 321 h 789"/>
                <a:gd name="T40" fmla="*/ 1547 w 1758"/>
                <a:gd name="T41" fmla="*/ 321 h 789"/>
                <a:gd name="T42" fmla="*/ 1547 w 1758"/>
                <a:gd name="T43" fmla="*/ 305 h 789"/>
                <a:gd name="T44" fmla="*/ 1559 w 1758"/>
                <a:gd name="T45" fmla="*/ 276 h 789"/>
                <a:gd name="T46" fmla="*/ 1526 w 1758"/>
                <a:gd name="T47" fmla="*/ 293 h 789"/>
                <a:gd name="T48" fmla="*/ 1547 w 1758"/>
                <a:gd name="T49" fmla="*/ 222 h 789"/>
                <a:gd name="T50" fmla="*/ 1580 w 1758"/>
                <a:gd name="T51" fmla="*/ 127 h 789"/>
                <a:gd name="T52" fmla="*/ 1580 w 1758"/>
                <a:gd name="T53" fmla="*/ 127 h 789"/>
                <a:gd name="T54" fmla="*/ 1564 w 1758"/>
                <a:gd name="T55" fmla="*/ 33 h 789"/>
                <a:gd name="T56" fmla="*/ 1569 w 1758"/>
                <a:gd name="T57" fmla="*/ 16 h 789"/>
                <a:gd name="T58" fmla="*/ 0 w 1758"/>
                <a:gd name="T59" fmla="*/ 238 h 789"/>
                <a:gd name="T60" fmla="*/ 0 w 1758"/>
                <a:gd name="T61" fmla="*/ 231 h 789"/>
                <a:gd name="T62" fmla="*/ 0 w 1758"/>
                <a:gd name="T63" fmla="*/ 238 h 789"/>
                <a:gd name="T64" fmla="*/ 0 w 1758"/>
                <a:gd name="T65" fmla="*/ 238 h 789"/>
                <a:gd name="T66" fmla="*/ 269 w 1758"/>
                <a:gd name="T67" fmla="*/ 305 h 789"/>
                <a:gd name="T68" fmla="*/ 291 w 1758"/>
                <a:gd name="T69" fmla="*/ 293 h 789"/>
                <a:gd name="T70" fmla="*/ 286 w 1758"/>
                <a:gd name="T71" fmla="*/ 305 h 789"/>
                <a:gd name="T72" fmla="*/ 286 w 1758"/>
                <a:gd name="T73" fmla="*/ 305 h 789"/>
                <a:gd name="T74" fmla="*/ 194 w 1758"/>
                <a:gd name="T75" fmla="*/ 321 h 789"/>
                <a:gd name="T76" fmla="*/ 199 w 1758"/>
                <a:gd name="T77" fmla="*/ 309 h 789"/>
                <a:gd name="T78" fmla="*/ 203 w 1758"/>
                <a:gd name="T79" fmla="*/ 326 h 789"/>
                <a:gd name="T80" fmla="*/ 203 w 1758"/>
                <a:gd name="T81" fmla="*/ 326 h 789"/>
                <a:gd name="T82" fmla="*/ 383 w 1758"/>
                <a:gd name="T83" fmla="*/ 375 h 789"/>
                <a:gd name="T84" fmla="*/ 421 w 1758"/>
                <a:gd name="T85" fmla="*/ 364 h 789"/>
                <a:gd name="T86" fmla="*/ 409 w 1758"/>
                <a:gd name="T87" fmla="*/ 380 h 789"/>
                <a:gd name="T88" fmla="*/ 409 w 1758"/>
                <a:gd name="T89" fmla="*/ 380 h 789"/>
                <a:gd name="T90" fmla="*/ 421 w 1758"/>
                <a:gd name="T91" fmla="*/ 437 h 789"/>
                <a:gd name="T92" fmla="*/ 437 w 1758"/>
                <a:gd name="T93" fmla="*/ 442 h 789"/>
                <a:gd name="T94" fmla="*/ 437 w 1758"/>
                <a:gd name="T95" fmla="*/ 442 h 789"/>
                <a:gd name="T96" fmla="*/ 976 w 1758"/>
                <a:gd name="T97" fmla="*/ 772 h 789"/>
                <a:gd name="T98" fmla="*/ 1018 w 1758"/>
                <a:gd name="T99" fmla="*/ 784 h 789"/>
                <a:gd name="T100" fmla="*/ 1002 w 1758"/>
                <a:gd name="T101" fmla="*/ 789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58" h="789">
                  <a:moveTo>
                    <a:pt x="1569" y="16"/>
                  </a:moveTo>
                  <a:lnTo>
                    <a:pt x="1613" y="0"/>
                  </a:lnTo>
                  <a:lnTo>
                    <a:pt x="1623" y="12"/>
                  </a:lnTo>
                  <a:lnTo>
                    <a:pt x="1613" y="28"/>
                  </a:lnTo>
                  <a:lnTo>
                    <a:pt x="1618" y="33"/>
                  </a:lnTo>
                  <a:lnTo>
                    <a:pt x="1651" y="28"/>
                  </a:lnTo>
                  <a:lnTo>
                    <a:pt x="1673" y="33"/>
                  </a:lnTo>
                  <a:lnTo>
                    <a:pt x="1689" y="28"/>
                  </a:lnTo>
                  <a:lnTo>
                    <a:pt x="1689" y="16"/>
                  </a:lnTo>
                  <a:lnTo>
                    <a:pt x="1727" y="16"/>
                  </a:lnTo>
                  <a:lnTo>
                    <a:pt x="1732" y="45"/>
                  </a:lnTo>
                  <a:lnTo>
                    <a:pt x="1758" y="49"/>
                  </a:lnTo>
                  <a:lnTo>
                    <a:pt x="1741" y="73"/>
                  </a:lnTo>
                  <a:lnTo>
                    <a:pt x="1703" y="99"/>
                  </a:lnTo>
                  <a:lnTo>
                    <a:pt x="1710" y="111"/>
                  </a:lnTo>
                  <a:lnTo>
                    <a:pt x="1710" y="144"/>
                  </a:lnTo>
                  <a:lnTo>
                    <a:pt x="1710" y="160"/>
                  </a:lnTo>
                  <a:lnTo>
                    <a:pt x="1703" y="165"/>
                  </a:lnTo>
                  <a:lnTo>
                    <a:pt x="1694" y="177"/>
                  </a:lnTo>
                  <a:lnTo>
                    <a:pt x="1710" y="182"/>
                  </a:lnTo>
                  <a:lnTo>
                    <a:pt x="1694" y="215"/>
                  </a:lnTo>
                  <a:lnTo>
                    <a:pt x="1665" y="215"/>
                  </a:lnTo>
                  <a:lnTo>
                    <a:pt x="1677" y="255"/>
                  </a:lnTo>
                  <a:lnTo>
                    <a:pt x="1703" y="272"/>
                  </a:lnTo>
                  <a:lnTo>
                    <a:pt x="1677" y="293"/>
                  </a:lnTo>
                  <a:lnTo>
                    <a:pt x="1673" y="321"/>
                  </a:lnTo>
                  <a:lnTo>
                    <a:pt x="1694" y="342"/>
                  </a:lnTo>
                  <a:lnTo>
                    <a:pt x="1703" y="342"/>
                  </a:lnTo>
                  <a:lnTo>
                    <a:pt x="1694" y="347"/>
                  </a:lnTo>
                  <a:lnTo>
                    <a:pt x="1677" y="359"/>
                  </a:lnTo>
                  <a:lnTo>
                    <a:pt x="1665" y="380"/>
                  </a:lnTo>
                  <a:lnTo>
                    <a:pt x="1665" y="387"/>
                  </a:lnTo>
                  <a:lnTo>
                    <a:pt x="1665" y="420"/>
                  </a:lnTo>
                  <a:lnTo>
                    <a:pt x="1673" y="420"/>
                  </a:lnTo>
                  <a:lnTo>
                    <a:pt x="1635" y="437"/>
                  </a:lnTo>
                  <a:lnTo>
                    <a:pt x="1580" y="432"/>
                  </a:lnTo>
                  <a:lnTo>
                    <a:pt x="1559" y="437"/>
                  </a:lnTo>
                  <a:lnTo>
                    <a:pt x="1569" y="404"/>
                  </a:lnTo>
                  <a:lnTo>
                    <a:pt x="1569" y="326"/>
                  </a:lnTo>
                  <a:lnTo>
                    <a:pt x="1580" y="321"/>
                  </a:lnTo>
                  <a:lnTo>
                    <a:pt x="1569" y="309"/>
                  </a:lnTo>
                  <a:lnTo>
                    <a:pt x="1547" y="321"/>
                  </a:lnTo>
                  <a:lnTo>
                    <a:pt x="1543" y="305"/>
                  </a:lnTo>
                  <a:lnTo>
                    <a:pt x="1547" y="305"/>
                  </a:lnTo>
                  <a:lnTo>
                    <a:pt x="1564" y="293"/>
                  </a:lnTo>
                  <a:lnTo>
                    <a:pt x="1559" y="276"/>
                  </a:lnTo>
                  <a:lnTo>
                    <a:pt x="1547" y="293"/>
                  </a:lnTo>
                  <a:lnTo>
                    <a:pt x="1526" y="293"/>
                  </a:lnTo>
                  <a:lnTo>
                    <a:pt x="1531" y="238"/>
                  </a:lnTo>
                  <a:lnTo>
                    <a:pt x="1547" y="222"/>
                  </a:lnTo>
                  <a:lnTo>
                    <a:pt x="1569" y="139"/>
                  </a:lnTo>
                  <a:lnTo>
                    <a:pt x="1580" y="127"/>
                  </a:lnTo>
                  <a:lnTo>
                    <a:pt x="1580" y="123"/>
                  </a:lnTo>
                  <a:lnTo>
                    <a:pt x="1580" y="127"/>
                  </a:lnTo>
                  <a:lnTo>
                    <a:pt x="1580" y="99"/>
                  </a:lnTo>
                  <a:lnTo>
                    <a:pt x="1564" y="33"/>
                  </a:lnTo>
                  <a:lnTo>
                    <a:pt x="1569" y="16"/>
                  </a:lnTo>
                  <a:lnTo>
                    <a:pt x="1569" y="16"/>
                  </a:lnTo>
                  <a:lnTo>
                    <a:pt x="1569" y="16"/>
                  </a:lnTo>
                  <a:close/>
                  <a:moveTo>
                    <a:pt x="0" y="238"/>
                  </a:moveTo>
                  <a:lnTo>
                    <a:pt x="0" y="238"/>
                  </a:lnTo>
                  <a:lnTo>
                    <a:pt x="0" y="231"/>
                  </a:lnTo>
                  <a:lnTo>
                    <a:pt x="5" y="231"/>
                  </a:lnTo>
                  <a:lnTo>
                    <a:pt x="0" y="238"/>
                  </a:lnTo>
                  <a:lnTo>
                    <a:pt x="0" y="238"/>
                  </a:lnTo>
                  <a:lnTo>
                    <a:pt x="0" y="238"/>
                  </a:lnTo>
                  <a:close/>
                  <a:moveTo>
                    <a:pt x="286" y="305"/>
                  </a:moveTo>
                  <a:lnTo>
                    <a:pt x="269" y="305"/>
                  </a:lnTo>
                  <a:lnTo>
                    <a:pt x="269" y="293"/>
                  </a:lnTo>
                  <a:lnTo>
                    <a:pt x="291" y="293"/>
                  </a:lnTo>
                  <a:lnTo>
                    <a:pt x="291" y="293"/>
                  </a:lnTo>
                  <a:lnTo>
                    <a:pt x="286" y="305"/>
                  </a:lnTo>
                  <a:lnTo>
                    <a:pt x="286" y="305"/>
                  </a:lnTo>
                  <a:lnTo>
                    <a:pt x="286" y="305"/>
                  </a:lnTo>
                  <a:close/>
                  <a:moveTo>
                    <a:pt x="203" y="326"/>
                  </a:moveTo>
                  <a:lnTo>
                    <a:pt x="194" y="321"/>
                  </a:lnTo>
                  <a:lnTo>
                    <a:pt x="182" y="309"/>
                  </a:lnTo>
                  <a:lnTo>
                    <a:pt x="199" y="309"/>
                  </a:lnTo>
                  <a:lnTo>
                    <a:pt x="220" y="321"/>
                  </a:lnTo>
                  <a:lnTo>
                    <a:pt x="203" y="326"/>
                  </a:lnTo>
                  <a:lnTo>
                    <a:pt x="203" y="326"/>
                  </a:lnTo>
                  <a:lnTo>
                    <a:pt x="203" y="326"/>
                  </a:lnTo>
                  <a:close/>
                  <a:moveTo>
                    <a:pt x="409" y="380"/>
                  </a:moveTo>
                  <a:lnTo>
                    <a:pt x="383" y="375"/>
                  </a:lnTo>
                  <a:lnTo>
                    <a:pt x="376" y="364"/>
                  </a:lnTo>
                  <a:lnTo>
                    <a:pt x="421" y="364"/>
                  </a:lnTo>
                  <a:lnTo>
                    <a:pt x="421" y="375"/>
                  </a:lnTo>
                  <a:lnTo>
                    <a:pt x="409" y="380"/>
                  </a:lnTo>
                  <a:lnTo>
                    <a:pt x="409" y="380"/>
                  </a:lnTo>
                  <a:lnTo>
                    <a:pt x="409" y="380"/>
                  </a:lnTo>
                  <a:close/>
                  <a:moveTo>
                    <a:pt x="437" y="442"/>
                  </a:moveTo>
                  <a:lnTo>
                    <a:pt x="421" y="437"/>
                  </a:lnTo>
                  <a:lnTo>
                    <a:pt x="430" y="437"/>
                  </a:lnTo>
                  <a:lnTo>
                    <a:pt x="437" y="442"/>
                  </a:lnTo>
                  <a:lnTo>
                    <a:pt x="437" y="442"/>
                  </a:lnTo>
                  <a:lnTo>
                    <a:pt x="437" y="442"/>
                  </a:lnTo>
                  <a:close/>
                  <a:moveTo>
                    <a:pt x="1002" y="789"/>
                  </a:moveTo>
                  <a:lnTo>
                    <a:pt x="976" y="772"/>
                  </a:lnTo>
                  <a:lnTo>
                    <a:pt x="987" y="772"/>
                  </a:lnTo>
                  <a:lnTo>
                    <a:pt x="1018" y="784"/>
                  </a:lnTo>
                  <a:lnTo>
                    <a:pt x="1002" y="789"/>
                  </a:lnTo>
                  <a:lnTo>
                    <a:pt x="1002" y="789"/>
                  </a:lnTo>
                  <a:lnTo>
                    <a:pt x="1002" y="78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3403" name="Gruppieren 3402">
              <a:extLst>
                <a:ext uri="{FF2B5EF4-FFF2-40B4-BE49-F238E27FC236}">
                  <a16:creationId xmlns:a16="http://schemas.microsoft.com/office/drawing/2014/main" id="{8405FC21-B95F-4C0B-AB10-AE2C7C9BD40A}"/>
                </a:ext>
              </a:extLst>
            </p:cNvPr>
            <p:cNvGrpSpPr/>
            <p:nvPr/>
          </p:nvGrpSpPr>
          <p:grpSpPr bwMode="gray">
            <a:xfrm>
              <a:off x="1738441" y="692696"/>
              <a:ext cx="10478239" cy="2531642"/>
              <a:chOff x="1738441" y="692696"/>
              <a:chExt cx="10478239" cy="2531642"/>
            </a:xfrm>
            <a:grpFill/>
          </p:grpSpPr>
          <p:sp>
            <p:nvSpPr>
              <p:cNvPr id="3404" name="Freeform 557">
                <a:extLst>
                  <a:ext uri="{FF2B5EF4-FFF2-40B4-BE49-F238E27FC236}">
                    <a16:creationId xmlns:a16="http://schemas.microsoft.com/office/drawing/2014/main" id="{2DCD6412-EC41-4885-8059-8A91EBABA6B6}"/>
                  </a:ext>
                </a:extLst>
              </p:cNvPr>
              <p:cNvSpPr>
                <a:spLocks noEditPoints="1"/>
              </p:cNvSpPr>
              <p:nvPr/>
            </p:nvSpPr>
            <p:spPr bwMode="gray">
              <a:xfrm>
                <a:off x="6202180" y="2676755"/>
                <a:ext cx="646322" cy="547583"/>
              </a:xfrm>
              <a:custGeom>
                <a:avLst/>
                <a:gdLst>
                  <a:gd name="T0" fmla="*/ 793 w 1570"/>
                  <a:gd name="T1" fmla="*/ 251 h 1330"/>
                  <a:gd name="T2" fmla="*/ 815 w 1570"/>
                  <a:gd name="T3" fmla="*/ 184 h 1330"/>
                  <a:gd name="T4" fmla="*/ 756 w 1570"/>
                  <a:gd name="T5" fmla="*/ 173 h 1330"/>
                  <a:gd name="T6" fmla="*/ 708 w 1570"/>
                  <a:gd name="T7" fmla="*/ 151 h 1330"/>
                  <a:gd name="T8" fmla="*/ 647 w 1570"/>
                  <a:gd name="T9" fmla="*/ 151 h 1330"/>
                  <a:gd name="T10" fmla="*/ 654 w 1570"/>
                  <a:gd name="T11" fmla="*/ 123 h 1330"/>
                  <a:gd name="T12" fmla="*/ 642 w 1570"/>
                  <a:gd name="T13" fmla="*/ 111 h 1330"/>
                  <a:gd name="T14" fmla="*/ 633 w 1570"/>
                  <a:gd name="T15" fmla="*/ 66 h 1330"/>
                  <a:gd name="T16" fmla="*/ 663 w 1570"/>
                  <a:gd name="T17" fmla="*/ 45 h 1330"/>
                  <a:gd name="T18" fmla="*/ 722 w 1570"/>
                  <a:gd name="T19" fmla="*/ 7 h 1330"/>
                  <a:gd name="T20" fmla="*/ 777 w 1570"/>
                  <a:gd name="T21" fmla="*/ 24 h 1330"/>
                  <a:gd name="T22" fmla="*/ 869 w 1570"/>
                  <a:gd name="T23" fmla="*/ 24 h 1330"/>
                  <a:gd name="T24" fmla="*/ 1063 w 1570"/>
                  <a:gd name="T25" fmla="*/ 28 h 1330"/>
                  <a:gd name="T26" fmla="*/ 1171 w 1570"/>
                  <a:gd name="T27" fmla="*/ 62 h 1330"/>
                  <a:gd name="T28" fmla="*/ 1273 w 1570"/>
                  <a:gd name="T29" fmla="*/ 95 h 1330"/>
                  <a:gd name="T30" fmla="*/ 1372 w 1570"/>
                  <a:gd name="T31" fmla="*/ 99 h 1330"/>
                  <a:gd name="T32" fmla="*/ 1436 w 1570"/>
                  <a:gd name="T33" fmla="*/ 118 h 1330"/>
                  <a:gd name="T34" fmla="*/ 1495 w 1570"/>
                  <a:gd name="T35" fmla="*/ 123 h 1330"/>
                  <a:gd name="T36" fmla="*/ 1495 w 1570"/>
                  <a:gd name="T37" fmla="*/ 168 h 1330"/>
                  <a:gd name="T38" fmla="*/ 1318 w 1570"/>
                  <a:gd name="T39" fmla="*/ 262 h 1330"/>
                  <a:gd name="T40" fmla="*/ 1327 w 1570"/>
                  <a:gd name="T41" fmla="*/ 279 h 1330"/>
                  <a:gd name="T42" fmla="*/ 1263 w 1570"/>
                  <a:gd name="T43" fmla="*/ 411 h 1330"/>
                  <a:gd name="T44" fmla="*/ 1226 w 1570"/>
                  <a:gd name="T45" fmla="*/ 527 h 1330"/>
                  <a:gd name="T46" fmla="*/ 1112 w 1570"/>
                  <a:gd name="T47" fmla="*/ 593 h 1330"/>
                  <a:gd name="T48" fmla="*/ 949 w 1570"/>
                  <a:gd name="T49" fmla="*/ 617 h 1330"/>
                  <a:gd name="T50" fmla="*/ 881 w 1570"/>
                  <a:gd name="T51" fmla="*/ 666 h 1330"/>
                  <a:gd name="T52" fmla="*/ 826 w 1570"/>
                  <a:gd name="T53" fmla="*/ 600 h 1330"/>
                  <a:gd name="T54" fmla="*/ 751 w 1570"/>
                  <a:gd name="T55" fmla="*/ 560 h 1330"/>
                  <a:gd name="T56" fmla="*/ 777 w 1570"/>
                  <a:gd name="T57" fmla="*/ 489 h 1330"/>
                  <a:gd name="T58" fmla="*/ 760 w 1570"/>
                  <a:gd name="T59" fmla="*/ 432 h 1330"/>
                  <a:gd name="T60" fmla="*/ 777 w 1570"/>
                  <a:gd name="T61" fmla="*/ 354 h 1330"/>
                  <a:gd name="T62" fmla="*/ 789 w 1570"/>
                  <a:gd name="T63" fmla="*/ 305 h 1330"/>
                  <a:gd name="T64" fmla="*/ 1544 w 1570"/>
                  <a:gd name="T65" fmla="*/ 321 h 1330"/>
                  <a:gd name="T66" fmla="*/ 1570 w 1570"/>
                  <a:gd name="T67" fmla="*/ 350 h 1330"/>
                  <a:gd name="T68" fmla="*/ 1478 w 1570"/>
                  <a:gd name="T69" fmla="*/ 333 h 1330"/>
                  <a:gd name="T70" fmla="*/ 1495 w 1570"/>
                  <a:gd name="T71" fmla="*/ 378 h 1330"/>
                  <a:gd name="T72" fmla="*/ 1441 w 1570"/>
                  <a:gd name="T73" fmla="*/ 371 h 1330"/>
                  <a:gd name="T74" fmla="*/ 1356 w 1570"/>
                  <a:gd name="T75" fmla="*/ 416 h 1330"/>
                  <a:gd name="T76" fmla="*/ 1365 w 1570"/>
                  <a:gd name="T77" fmla="*/ 428 h 1330"/>
                  <a:gd name="T78" fmla="*/ 1372 w 1570"/>
                  <a:gd name="T79" fmla="*/ 432 h 1330"/>
                  <a:gd name="T80" fmla="*/ 1372 w 1570"/>
                  <a:gd name="T81" fmla="*/ 444 h 1330"/>
                  <a:gd name="T82" fmla="*/ 330 w 1570"/>
                  <a:gd name="T83" fmla="*/ 1202 h 1330"/>
                  <a:gd name="T84" fmla="*/ 309 w 1570"/>
                  <a:gd name="T85" fmla="*/ 1238 h 1330"/>
                  <a:gd name="T86" fmla="*/ 16 w 1570"/>
                  <a:gd name="T87" fmla="*/ 1238 h 1330"/>
                  <a:gd name="T88" fmla="*/ 21 w 1570"/>
                  <a:gd name="T89" fmla="*/ 1259 h 1330"/>
                  <a:gd name="T90" fmla="*/ 293 w 1570"/>
                  <a:gd name="T91" fmla="*/ 1243 h 1330"/>
                  <a:gd name="T92" fmla="*/ 271 w 1570"/>
                  <a:gd name="T93" fmla="*/ 1297 h 1330"/>
                  <a:gd name="T94" fmla="*/ 87 w 1570"/>
                  <a:gd name="T95" fmla="*/ 1276 h 1330"/>
                  <a:gd name="T96" fmla="*/ 125 w 1570"/>
                  <a:gd name="T97" fmla="*/ 1292 h 1330"/>
                  <a:gd name="T98" fmla="*/ 59 w 1570"/>
                  <a:gd name="T99" fmla="*/ 1297 h 1330"/>
                  <a:gd name="T100" fmla="*/ 59 w 1570"/>
                  <a:gd name="T101" fmla="*/ 1297 h 1330"/>
                  <a:gd name="T102" fmla="*/ 163 w 1570"/>
                  <a:gd name="T103" fmla="*/ 1304 h 1330"/>
                  <a:gd name="T104" fmla="*/ 196 w 1570"/>
                  <a:gd name="T105" fmla="*/ 1313 h 1330"/>
                  <a:gd name="T106" fmla="*/ 7 w 1570"/>
                  <a:gd name="T107" fmla="*/ 1330 h 1330"/>
                  <a:gd name="T108" fmla="*/ 7 w 1570"/>
                  <a:gd name="T109" fmla="*/ 133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70" h="1330">
                    <a:moveTo>
                      <a:pt x="789" y="305"/>
                    </a:moveTo>
                    <a:lnTo>
                      <a:pt x="793" y="300"/>
                    </a:lnTo>
                    <a:lnTo>
                      <a:pt x="793" y="284"/>
                    </a:lnTo>
                    <a:lnTo>
                      <a:pt x="793" y="251"/>
                    </a:lnTo>
                    <a:lnTo>
                      <a:pt x="789" y="239"/>
                    </a:lnTo>
                    <a:lnTo>
                      <a:pt x="826" y="210"/>
                    </a:lnTo>
                    <a:lnTo>
                      <a:pt x="843" y="189"/>
                    </a:lnTo>
                    <a:lnTo>
                      <a:pt x="815" y="184"/>
                    </a:lnTo>
                    <a:lnTo>
                      <a:pt x="810" y="156"/>
                    </a:lnTo>
                    <a:lnTo>
                      <a:pt x="772" y="156"/>
                    </a:lnTo>
                    <a:lnTo>
                      <a:pt x="772" y="168"/>
                    </a:lnTo>
                    <a:lnTo>
                      <a:pt x="756" y="173"/>
                    </a:lnTo>
                    <a:lnTo>
                      <a:pt x="734" y="168"/>
                    </a:lnTo>
                    <a:lnTo>
                      <a:pt x="701" y="173"/>
                    </a:lnTo>
                    <a:lnTo>
                      <a:pt x="696" y="168"/>
                    </a:lnTo>
                    <a:lnTo>
                      <a:pt x="708" y="151"/>
                    </a:lnTo>
                    <a:lnTo>
                      <a:pt x="696" y="139"/>
                    </a:lnTo>
                    <a:lnTo>
                      <a:pt x="654" y="156"/>
                    </a:lnTo>
                    <a:lnTo>
                      <a:pt x="647" y="168"/>
                    </a:lnTo>
                    <a:lnTo>
                      <a:pt x="647" y="151"/>
                    </a:lnTo>
                    <a:lnTo>
                      <a:pt x="670" y="123"/>
                    </a:lnTo>
                    <a:lnTo>
                      <a:pt x="647" y="135"/>
                    </a:lnTo>
                    <a:lnTo>
                      <a:pt x="663" y="118"/>
                    </a:lnTo>
                    <a:lnTo>
                      <a:pt x="654" y="123"/>
                    </a:lnTo>
                    <a:lnTo>
                      <a:pt x="647" y="118"/>
                    </a:lnTo>
                    <a:lnTo>
                      <a:pt x="654" y="118"/>
                    </a:lnTo>
                    <a:lnTo>
                      <a:pt x="663" y="95"/>
                    </a:lnTo>
                    <a:lnTo>
                      <a:pt x="642" y="111"/>
                    </a:lnTo>
                    <a:lnTo>
                      <a:pt x="642" y="95"/>
                    </a:lnTo>
                    <a:lnTo>
                      <a:pt x="647" y="83"/>
                    </a:lnTo>
                    <a:lnTo>
                      <a:pt x="633" y="95"/>
                    </a:lnTo>
                    <a:lnTo>
                      <a:pt x="633" y="66"/>
                    </a:lnTo>
                    <a:lnTo>
                      <a:pt x="626" y="78"/>
                    </a:lnTo>
                    <a:lnTo>
                      <a:pt x="626" y="57"/>
                    </a:lnTo>
                    <a:lnTo>
                      <a:pt x="647" y="40"/>
                    </a:lnTo>
                    <a:lnTo>
                      <a:pt x="663" y="45"/>
                    </a:lnTo>
                    <a:lnTo>
                      <a:pt x="685" y="28"/>
                    </a:lnTo>
                    <a:lnTo>
                      <a:pt x="696" y="24"/>
                    </a:lnTo>
                    <a:lnTo>
                      <a:pt x="718" y="0"/>
                    </a:lnTo>
                    <a:lnTo>
                      <a:pt x="722" y="7"/>
                    </a:lnTo>
                    <a:lnTo>
                      <a:pt x="751" y="7"/>
                    </a:lnTo>
                    <a:lnTo>
                      <a:pt x="760" y="24"/>
                    </a:lnTo>
                    <a:lnTo>
                      <a:pt x="777" y="24"/>
                    </a:lnTo>
                    <a:lnTo>
                      <a:pt x="777" y="24"/>
                    </a:lnTo>
                    <a:lnTo>
                      <a:pt x="789" y="12"/>
                    </a:lnTo>
                    <a:lnTo>
                      <a:pt x="848" y="24"/>
                    </a:lnTo>
                    <a:lnTo>
                      <a:pt x="864" y="12"/>
                    </a:lnTo>
                    <a:lnTo>
                      <a:pt x="869" y="24"/>
                    </a:lnTo>
                    <a:lnTo>
                      <a:pt x="956" y="28"/>
                    </a:lnTo>
                    <a:lnTo>
                      <a:pt x="1020" y="24"/>
                    </a:lnTo>
                    <a:lnTo>
                      <a:pt x="1048" y="40"/>
                    </a:lnTo>
                    <a:lnTo>
                      <a:pt x="1063" y="28"/>
                    </a:lnTo>
                    <a:lnTo>
                      <a:pt x="1112" y="45"/>
                    </a:lnTo>
                    <a:lnTo>
                      <a:pt x="1150" y="40"/>
                    </a:lnTo>
                    <a:lnTo>
                      <a:pt x="1171" y="45"/>
                    </a:lnTo>
                    <a:lnTo>
                      <a:pt x="1171" y="62"/>
                    </a:lnTo>
                    <a:lnTo>
                      <a:pt x="1221" y="66"/>
                    </a:lnTo>
                    <a:lnTo>
                      <a:pt x="1237" y="83"/>
                    </a:lnTo>
                    <a:lnTo>
                      <a:pt x="1247" y="83"/>
                    </a:lnTo>
                    <a:lnTo>
                      <a:pt x="1273" y="95"/>
                    </a:lnTo>
                    <a:lnTo>
                      <a:pt x="1318" y="95"/>
                    </a:lnTo>
                    <a:lnTo>
                      <a:pt x="1327" y="78"/>
                    </a:lnTo>
                    <a:lnTo>
                      <a:pt x="1365" y="95"/>
                    </a:lnTo>
                    <a:lnTo>
                      <a:pt x="1372" y="99"/>
                    </a:lnTo>
                    <a:lnTo>
                      <a:pt x="1372" y="118"/>
                    </a:lnTo>
                    <a:lnTo>
                      <a:pt x="1398" y="111"/>
                    </a:lnTo>
                    <a:lnTo>
                      <a:pt x="1410" y="123"/>
                    </a:lnTo>
                    <a:lnTo>
                      <a:pt x="1436" y="118"/>
                    </a:lnTo>
                    <a:lnTo>
                      <a:pt x="1452" y="123"/>
                    </a:lnTo>
                    <a:lnTo>
                      <a:pt x="1478" y="118"/>
                    </a:lnTo>
                    <a:lnTo>
                      <a:pt x="1495" y="118"/>
                    </a:lnTo>
                    <a:lnTo>
                      <a:pt x="1495" y="123"/>
                    </a:lnTo>
                    <a:lnTo>
                      <a:pt x="1507" y="123"/>
                    </a:lnTo>
                    <a:lnTo>
                      <a:pt x="1490" y="135"/>
                    </a:lnTo>
                    <a:lnTo>
                      <a:pt x="1495" y="151"/>
                    </a:lnTo>
                    <a:lnTo>
                      <a:pt x="1495" y="168"/>
                    </a:lnTo>
                    <a:lnTo>
                      <a:pt x="1436" y="206"/>
                    </a:lnTo>
                    <a:lnTo>
                      <a:pt x="1419" y="222"/>
                    </a:lnTo>
                    <a:lnTo>
                      <a:pt x="1344" y="239"/>
                    </a:lnTo>
                    <a:lnTo>
                      <a:pt x="1318" y="262"/>
                    </a:lnTo>
                    <a:lnTo>
                      <a:pt x="1334" y="267"/>
                    </a:lnTo>
                    <a:lnTo>
                      <a:pt x="1318" y="279"/>
                    </a:lnTo>
                    <a:lnTo>
                      <a:pt x="1318" y="279"/>
                    </a:lnTo>
                    <a:lnTo>
                      <a:pt x="1327" y="279"/>
                    </a:lnTo>
                    <a:lnTo>
                      <a:pt x="1311" y="279"/>
                    </a:lnTo>
                    <a:lnTo>
                      <a:pt x="1273" y="321"/>
                    </a:lnTo>
                    <a:lnTo>
                      <a:pt x="1247" y="371"/>
                    </a:lnTo>
                    <a:lnTo>
                      <a:pt x="1263" y="411"/>
                    </a:lnTo>
                    <a:lnTo>
                      <a:pt x="1289" y="432"/>
                    </a:lnTo>
                    <a:lnTo>
                      <a:pt x="1237" y="465"/>
                    </a:lnTo>
                    <a:lnTo>
                      <a:pt x="1209" y="522"/>
                    </a:lnTo>
                    <a:lnTo>
                      <a:pt x="1226" y="527"/>
                    </a:lnTo>
                    <a:lnTo>
                      <a:pt x="1183" y="527"/>
                    </a:lnTo>
                    <a:lnTo>
                      <a:pt x="1155" y="543"/>
                    </a:lnTo>
                    <a:lnTo>
                      <a:pt x="1129" y="600"/>
                    </a:lnTo>
                    <a:lnTo>
                      <a:pt x="1112" y="593"/>
                    </a:lnTo>
                    <a:lnTo>
                      <a:pt x="1079" y="610"/>
                    </a:lnTo>
                    <a:lnTo>
                      <a:pt x="1063" y="600"/>
                    </a:lnTo>
                    <a:lnTo>
                      <a:pt x="966" y="600"/>
                    </a:lnTo>
                    <a:lnTo>
                      <a:pt x="949" y="617"/>
                    </a:lnTo>
                    <a:lnTo>
                      <a:pt x="911" y="626"/>
                    </a:lnTo>
                    <a:lnTo>
                      <a:pt x="902" y="650"/>
                    </a:lnTo>
                    <a:lnTo>
                      <a:pt x="897" y="650"/>
                    </a:lnTo>
                    <a:lnTo>
                      <a:pt x="881" y="666"/>
                    </a:lnTo>
                    <a:lnTo>
                      <a:pt x="848" y="650"/>
                    </a:lnTo>
                    <a:lnTo>
                      <a:pt x="831" y="626"/>
                    </a:lnTo>
                    <a:lnTo>
                      <a:pt x="843" y="617"/>
                    </a:lnTo>
                    <a:lnTo>
                      <a:pt x="826" y="600"/>
                    </a:lnTo>
                    <a:lnTo>
                      <a:pt x="826" y="593"/>
                    </a:lnTo>
                    <a:lnTo>
                      <a:pt x="789" y="560"/>
                    </a:lnTo>
                    <a:lnTo>
                      <a:pt x="756" y="560"/>
                    </a:lnTo>
                    <a:lnTo>
                      <a:pt x="751" y="560"/>
                    </a:lnTo>
                    <a:lnTo>
                      <a:pt x="751" y="527"/>
                    </a:lnTo>
                    <a:lnTo>
                      <a:pt x="751" y="522"/>
                    </a:lnTo>
                    <a:lnTo>
                      <a:pt x="760" y="499"/>
                    </a:lnTo>
                    <a:lnTo>
                      <a:pt x="777" y="489"/>
                    </a:lnTo>
                    <a:lnTo>
                      <a:pt x="789" y="482"/>
                    </a:lnTo>
                    <a:lnTo>
                      <a:pt x="777" y="482"/>
                    </a:lnTo>
                    <a:lnTo>
                      <a:pt x="756" y="461"/>
                    </a:lnTo>
                    <a:lnTo>
                      <a:pt x="760" y="432"/>
                    </a:lnTo>
                    <a:lnTo>
                      <a:pt x="789" y="411"/>
                    </a:lnTo>
                    <a:lnTo>
                      <a:pt x="760" y="395"/>
                    </a:lnTo>
                    <a:lnTo>
                      <a:pt x="751" y="354"/>
                    </a:lnTo>
                    <a:lnTo>
                      <a:pt x="777" y="354"/>
                    </a:lnTo>
                    <a:lnTo>
                      <a:pt x="793" y="321"/>
                    </a:lnTo>
                    <a:lnTo>
                      <a:pt x="777" y="317"/>
                    </a:lnTo>
                    <a:lnTo>
                      <a:pt x="789" y="305"/>
                    </a:lnTo>
                    <a:lnTo>
                      <a:pt x="789" y="305"/>
                    </a:lnTo>
                    <a:lnTo>
                      <a:pt x="789" y="305"/>
                    </a:lnTo>
                    <a:close/>
                    <a:moveTo>
                      <a:pt x="1570" y="350"/>
                    </a:moveTo>
                    <a:lnTo>
                      <a:pt x="1544" y="333"/>
                    </a:lnTo>
                    <a:lnTo>
                      <a:pt x="1544" y="321"/>
                    </a:lnTo>
                    <a:lnTo>
                      <a:pt x="1566" y="321"/>
                    </a:lnTo>
                    <a:lnTo>
                      <a:pt x="1570" y="338"/>
                    </a:lnTo>
                    <a:lnTo>
                      <a:pt x="1570" y="350"/>
                    </a:lnTo>
                    <a:lnTo>
                      <a:pt x="1570" y="350"/>
                    </a:lnTo>
                    <a:lnTo>
                      <a:pt x="1570" y="350"/>
                    </a:lnTo>
                    <a:close/>
                    <a:moveTo>
                      <a:pt x="1441" y="371"/>
                    </a:moveTo>
                    <a:lnTo>
                      <a:pt x="1441" y="362"/>
                    </a:lnTo>
                    <a:lnTo>
                      <a:pt x="1478" y="333"/>
                    </a:lnTo>
                    <a:lnTo>
                      <a:pt x="1490" y="333"/>
                    </a:lnTo>
                    <a:lnTo>
                      <a:pt x="1495" y="350"/>
                    </a:lnTo>
                    <a:lnTo>
                      <a:pt x="1516" y="350"/>
                    </a:lnTo>
                    <a:lnTo>
                      <a:pt x="1495" y="378"/>
                    </a:lnTo>
                    <a:lnTo>
                      <a:pt x="1490" y="388"/>
                    </a:lnTo>
                    <a:lnTo>
                      <a:pt x="1462" y="378"/>
                    </a:lnTo>
                    <a:lnTo>
                      <a:pt x="1457" y="362"/>
                    </a:lnTo>
                    <a:lnTo>
                      <a:pt x="1441" y="371"/>
                    </a:lnTo>
                    <a:lnTo>
                      <a:pt x="1441" y="371"/>
                    </a:lnTo>
                    <a:lnTo>
                      <a:pt x="1441" y="371"/>
                    </a:lnTo>
                    <a:close/>
                    <a:moveTo>
                      <a:pt x="1365" y="428"/>
                    </a:moveTo>
                    <a:lnTo>
                      <a:pt x="1356" y="416"/>
                    </a:lnTo>
                    <a:lnTo>
                      <a:pt x="1365" y="411"/>
                    </a:lnTo>
                    <a:lnTo>
                      <a:pt x="1386" y="406"/>
                    </a:lnTo>
                    <a:lnTo>
                      <a:pt x="1386" y="411"/>
                    </a:lnTo>
                    <a:lnTo>
                      <a:pt x="1365" y="428"/>
                    </a:lnTo>
                    <a:lnTo>
                      <a:pt x="1365" y="428"/>
                    </a:lnTo>
                    <a:lnTo>
                      <a:pt x="1365" y="428"/>
                    </a:lnTo>
                    <a:close/>
                    <a:moveTo>
                      <a:pt x="1372" y="444"/>
                    </a:moveTo>
                    <a:lnTo>
                      <a:pt x="1372" y="432"/>
                    </a:lnTo>
                    <a:lnTo>
                      <a:pt x="1382" y="444"/>
                    </a:lnTo>
                    <a:lnTo>
                      <a:pt x="1372" y="444"/>
                    </a:lnTo>
                    <a:lnTo>
                      <a:pt x="1372" y="444"/>
                    </a:lnTo>
                    <a:lnTo>
                      <a:pt x="1372" y="444"/>
                    </a:lnTo>
                    <a:close/>
                    <a:moveTo>
                      <a:pt x="309" y="1238"/>
                    </a:moveTo>
                    <a:lnTo>
                      <a:pt x="302" y="1226"/>
                    </a:lnTo>
                    <a:lnTo>
                      <a:pt x="309" y="1219"/>
                    </a:lnTo>
                    <a:lnTo>
                      <a:pt x="330" y="1202"/>
                    </a:lnTo>
                    <a:lnTo>
                      <a:pt x="323" y="1226"/>
                    </a:lnTo>
                    <a:lnTo>
                      <a:pt x="309" y="1238"/>
                    </a:lnTo>
                    <a:lnTo>
                      <a:pt x="309" y="1238"/>
                    </a:lnTo>
                    <a:lnTo>
                      <a:pt x="309" y="1238"/>
                    </a:lnTo>
                    <a:close/>
                    <a:moveTo>
                      <a:pt x="21" y="1259"/>
                    </a:moveTo>
                    <a:lnTo>
                      <a:pt x="21" y="1264"/>
                    </a:lnTo>
                    <a:lnTo>
                      <a:pt x="7" y="1243"/>
                    </a:lnTo>
                    <a:lnTo>
                      <a:pt x="16" y="1238"/>
                    </a:lnTo>
                    <a:lnTo>
                      <a:pt x="33" y="1243"/>
                    </a:lnTo>
                    <a:lnTo>
                      <a:pt x="21" y="1259"/>
                    </a:lnTo>
                    <a:lnTo>
                      <a:pt x="21" y="1259"/>
                    </a:lnTo>
                    <a:lnTo>
                      <a:pt x="21" y="1259"/>
                    </a:lnTo>
                    <a:close/>
                    <a:moveTo>
                      <a:pt x="271" y="1297"/>
                    </a:moveTo>
                    <a:lnTo>
                      <a:pt x="264" y="1297"/>
                    </a:lnTo>
                    <a:lnTo>
                      <a:pt x="276" y="1280"/>
                    </a:lnTo>
                    <a:lnTo>
                      <a:pt x="293" y="1243"/>
                    </a:lnTo>
                    <a:lnTo>
                      <a:pt x="302" y="1243"/>
                    </a:lnTo>
                    <a:lnTo>
                      <a:pt x="302" y="1259"/>
                    </a:lnTo>
                    <a:lnTo>
                      <a:pt x="293" y="1280"/>
                    </a:lnTo>
                    <a:lnTo>
                      <a:pt x="271" y="1297"/>
                    </a:lnTo>
                    <a:lnTo>
                      <a:pt x="271" y="1297"/>
                    </a:lnTo>
                    <a:lnTo>
                      <a:pt x="271" y="1297"/>
                    </a:lnTo>
                    <a:close/>
                    <a:moveTo>
                      <a:pt x="104" y="1297"/>
                    </a:moveTo>
                    <a:lnTo>
                      <a:pt x="87" y="1276"/>
                    </a:lnTo>
                    <a:lnTo>
                      <a:pt x="108" y="1264"/>
                    </a:lnTo>
                    <a:lnTo>
                      <a:pt x="125" y="1259"/>
                    </a:lnTo>
                    <a:lnTo>
                      <a:pt x="141" y="1259"/>
                    </a:lnTo>
                    <a:lnTo>
                      <a:pt x="125" y="1292"/>
                    </a:lnTo>
                    <a:lnTo>
                      <a:pt x="104" y="1297"/>
                    </a:lnTo>
                    <a:lnTo>
                      <a:pt x="104" y="1297"/>
                    </a:lnTo>
                    <a:lnTo>
                      <a:pt x="104" y="1297"/>
                    </a:lnTo>
                    <a:close/>
                    <a:moveTo>
                      <a:pt x="59" y="1297"/>
                    </a:moveTo>
                    <a:lnTo>
                      <a:pt x="54" y="1292"/>
                    </a:lnTo>
                    <a:lnTo>
                      <a:pt x="59" y="1280"/>
                    </a:lnTo>
                    <a:lnTo>
                      <a:pt x="75" y="1292"/>
                    </a:lnTo>
                    <a:lnTo>
                      <a:pt x="59" y="1297"/>
                    </a:lnTo>
                    <a:lnTo>
                      <a:pt x="59" y="1297"/>
                    </a:lnTo>
                    <a:lnTo>
                      <a:pt x="59" y="1297"/>
                    </a:lnTo>
                    <a:close/>
                    <a:moveTo>
                      <a:pt x="179" y="1321"/>
                    </a:moveTo>
                    <a:lnTo>
                      <a:pt x="163" y="1304"/>
                    </a:lnTo>
                    <a:lnTo>
                      <a:pt x="167" y="1292"/>
                    </a:lnTo>
                    <a:lnTo>
                      <a:pt x="196" y="1292"/>
                    </a:lnTo>
                    <a:lnTo>
                      <a:pt x="196" y="1297"/>
                    </a:lnTo>
                    <a:lnTo>
                      <a:pt x="196" y="1313"/>
                    </a:lnTo>
                    <a:lnTo>
                      <a:pt x="179" y="1321"/>
                    </a:lnTo>
                    <a:lnTo>
                      <a:pt x="179" y="1321"/>
                    </a:lnTo>
                    <a:lnTo>
                      <a:pt x="179" y="1321"/>
                    </a:lnTo>
                    <a:close/>
                    <a:moveTo>
                      <a:pt x="7" y="1330"/>
                    </a:moveTo>
                    <a:lnTo>
                      <a:pt x="0" y="1321"/>
                    </a:lnTo>
                    <a:lnTo>
                      <a:pt x="16" y="1313"/>
                    </a:lnTo>
                    <a:lnTo>
                      <a:pt x="7" y="1330"/>
                    </a:lnTo>
                    <a:lnTo>
                      <a:pt x="7" y="1330"/>
                    </a:lnTo>
                    <a:lnTo>
                      <a:pt x="7" y="133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3405" name="Gruppieren 3404">
                <a:extLst>
                  <a:ext uri="{FF2B5EF4-FFF2-40B4-BE49-F238E27FC236}">
                    <a16:creationId xmlns:a16="http://schemas.microsoft.com/office/drawing/2014/main" id="{89C1611D-AAD6-4009-8CE6-543D9F94B82C}"/>
                  </a:ext>
                </a:extLst>
              </p:cNvPr>
              <p:cNvGrpSpPr/>
              <p:nvPr/>
            </p:nvGrpSpPr>
            <p:grpSpPr bwMode="gray">
              <a:xfrm>
                <a:off x="1738441" y="692696"/>
                <a:ext cx="10478239" cy="2293259"/>
                <a:chOff x="1738441" y="692696"/>
                <a:chExt cx="10478239" cy="2293259"/>
              </a:xfrm>
              <a:grpFill/>
            </p:grpSpPr>
            <p:sp>
              <p:nvSpPr>
                <p:cNvPr id="3406" name="Freeform 473">
                  <a:extLst>
                    <a:ext uri="{FF2B5EF4-FFF2-40B4-BE49-F238E27FC236}">
                      <a16:creationId xmlns:a16="http://schemas.microsoft.com/office/drawing/2014/main" id="{C1C9BC5E-F4D1-4A26-9923-824E3A30786A}"/>
                    </a:ext>
                  </a:extLst>
                </p:cNvPr>
                <p:cNvSpPr>
                  <a:spLocks noEditPoints="1"/>
                </p:cNvSpPr>
                <p:nvPr/>
              </p:nvSpPr>
              <p:spPr bwMode="gray">
                <a:xfrm>
                  <a:off x="6915603" y="2557357"/>
                  <a:ext cx="344568" cy="370544"/>
                </a:xfrm>
                <a:custGeom>
                  <a:avLst/>
                  <a:gdLst>
                    <a:gd name="T0" fmla="*/ 81 w 837"/>
                    <a:gd name="T1" fmla="*/ 259 h 900"/>
                    <a:gd name="T2" fmla="*/ 34 w 837"/>
                    <a:gd name="T3" fmla="*/ 193 h 900"/>
                    <a:gd name="T4" fmla="*/ 43 w 837"/>
                    <a:gd name="T5" fmla="*/ 148 h 900"/>
                    <a:gd name="T6" fmla="*/ 81 w 837"/>
                    <a:gd name="T7" fmla="*/ 99 h 900"/>
                    <a:gd name="T8" fmla="*/ 135 w 837"/>
                    <a:gd name="T9" fmla="*/ 54 h 900"/>
                    <a:gd name="T10" fmla="*/ 173 w 837"/>
                    <a:gd name="T11" fmla="*/ 111 h 900"/>
                    <a:gd name="T12" fmla="*/ 189 w 837"/>
                    <a:gd name="T13" fmla="*/ 54 h 900"/>
                    <a:gd name="T14" fmla="*/ 248 w 837"/>
                    <a:gd name="T15" fmla="*/ 75 h 900"/>
                    <a:gd name="T16" fmla="*/ 260 w 837"/>
                    <a:gd name="T17" fmla="*/ 37 h 900"/>
                    <a:gd name="T18" fmla="*/ 324 w 837"/>
                    <a:gd name="T19" fmla="*/ 4 h 900"/>
                    <a:gd name="T20" fmla="*/ 411 w 837"/>
                    <a:gd name="T21" fmla="*/ 26 h 900"/>
                    <a:gd name="T22" fmla="*/ 497 w 837"/>
                    <a:gd name="T23" fmla="*/ 75 h 900"/>
                    <a:gd name="T24" fmla="*/ 520 w 837"/>
                    <a:gd name="T25" fmla="*/ 127 h 900"/>
                    <a:gd name="T26" fmla="*/ 482 w 837"/>
                    <a:gd name="T27" fmla="*/ 127 h 900"/>
                    <a:gd name="T28" fmla="*/ 459 w 837"/>
                    <a:gd name="T29" fmla="*/ 127 h 900"/>
                    <a:gd name="T30" fmla="*/ 395 w 837"/>
                    <a:gd name="T31" fmla="*/ 165 h 900"/>
                    <a:gd name="T32" fmla="*/ 411 w 837"/>
                    <a:gd name="T33" fmla="*/ 203 h 900"/>
                    <a:gd name="T34" fmla="*/ 428 w 837"/>
                    <a:gd name="T35" fmla="*/ 276 h 900"/>
                    <a:gd name="T36" fmla="*/ 605 w 837"/>
                    <a:gd name="T37" fmla="*/ 458 h 900"/>
                    <a:gd name="T38" fmla="*/ 660 w 837"/>
                    <a:gd name="T39" fmla="*/ 496 h 900"/>
                    <a:gd name="T40" fmla="*/ 806 w 837"/>
                    <a:gd name="T41" fmla="*/ 623 h 900"/>
                    <a:gd name="T42" fmla="*/ 730 w 837"/>
                    <a:gd name="T43" fmla="*/ 585 h 900"/>
                    <a:gd name="T44" fmla="*/ 747 w 837"/>
                    <a:gd name="T45" fmla="*/ 668 h 900"/>
                    <a:gd name="T46" fmla="*/ 702 w 837"/>
                    <a:gd name="T47" fmla="*/ 751 h 900"/>
                    <a:gd name="T48" fmla="*/ 638 w 837"/>
                    <a:gd name="T49" fmla="*/ 789 h 900"/>
                    <a:gd name="T50" fmla="*/ 648 w 837"/>
                    <a:gd name="T51" fmla="*/ 734 h 900"/>
                    <a:gd name="T52" fmla="*/ 664 w 837"/>
                    <a:gd name="T53" fmla="*/ 668 h 900"/>
                    <a:gd name="T54" fmla="*/ 589 w 837"/>
                    <a:gd name="T55" fmla="*/ 595 h 900"/>
                    <a:gd name="T56" fmla="*/ 551 w 837"/>
                    <a:gd name="T57" fmla="*/ 552 h 900"/>
                    <a:gd name="T58" fmla="*/ 449 w 837"/>
                    <a:gd name="T59" fmla="*/ 512 h 900"/>
                    <a:gd name="T60" fmla="*/ 374 w 837"/>
                    <a:gd name="T61" fmla="*/ 441 h 900"/>
                    <a:gd name="T62" fmla="*/ 319 w 837"/>
                    <a:gd name="T63" fmla="*/ 404 h 900"/>
                    <a:gd name="T64" fmla="*/ 260 w 837"/>
                    <a:gd name="T65" fmla="*/ 292 h 900"/>
                    <a:gd name="T66" fmla="*/ 135 w 837"/>
                    <a:gd name="T67" fmla="*/ 248 h 900"/>
                    <a:gd name="T68" fmla="*/ 67 w 837"/>
                    <a:gd name="T69" fmla="*/ 292 h 900"/>
                    <a:gd name="T70" fmla="*/ 411 w 837"/>
                    <a:gd name="T71" fmla="*/ 276 h 900"/>
                    <a:gd name="T72" fmla="*/ 248 w 837"/>
                    <a:gd name="T73" fmla="*/ 375 h 900"/>
                    <a:gd name="T74" fmla="*/ 270 w 837"/>
                    <a:gd name="T75" fmla="*/ 387 h 900"/>
                    <a:gd name="T76" fmla="*/ 142 w 837"/>
                    <a:gd name="T77" fmla="*/ 541 h 900"/>
                    <a:gd name="T78" fmla="*/ 206 w 837"/>
                    <a:gd name="T79" fmla="*/ 541 h 900"/>
                    <a:gd name="T80" fmla="*/ 218 w 837"/>
                    <a:gd name="T81" fmla="*/ 611 h 900"/>
                    <a:gd name="T82" fmla="*/ 163 w 837"/>
                    <a:gd name="T83" fmla="*/ 706 h 900"/>
                    <a:gd name="T84" fmla="*/ 126 w 837"/>
                    <a:gd name="T85" fmla="*/ 696 h 900"/>
                    <a:gd name="T86" fmla="*/ 135 w 837"/>
                    <a:gd name="T87" fmla="*/ 640 h 900"/>
                    <a:gd name="T88" fmla="*/ 119 w 837"/>
                    <a:gd name="T89" fmla="*/ 569 h 900"/>
                    <a:gd name="T90" fmla="*/ 109 w 837"/>
                    <a:gd name="T91" fmla="*/ 569 h 900"/>
                    <a:gd name="T92" fmla="*/ 513 w 837"/>
                    <a:gd name="T93" fmla="*/ 557 h 900"/>
                    <a:gd name="T94" fmla="*/ 119 w 837"/>
                    <a:gd name="T95" fmla="*/ 685 h 900"/>
                    <a:gd name="T96" fmla="*/ 119 w 837"/>
                    <a:gd name="T97" fmla="*/ 696 h 900"/>
                    <a:gd name="T98" fmla="*/ 445 w 837"/>
                    <a:gd name="T99" fmla="*/ 779 h 900"/>
                    <a:gd name="T100" fmla="*/ 482 w 837"/>
                    <a:gd name="T101" fmla="*/ 779 h 900"/>
                    <a:gd name="T102" fmla="*/ 596 w 837"/>
                    <a:gd name="T103" fmla="*/ 772 h 900"/>
                    <a:gd name="T104" fmla="*/ 596 w 837"/>
                    <a:gd name="T105" fmla="*/ 829 h 900"/>
                    <a:gd name="T106" fmla="*/ 558 w 837"/>
                    <a:gd name="T107" fmla="*/ 890 h 900"/>
                    <a:gd name="T108" fmla="*/ 428 w 837"/>
                    <a:gd name="T109" fmla="*/ 817 h 900"/>
                    <a:gd name="T110" fmla="*/ 378 w 837"/>
                    <a:gd name="T111" fmla="*/ 890 h 900"/>
                    <a:gd name="T112" fmla="*/ 378 w 837"/>
                    <a:gd name="T113" fmla="*/ 89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7" h="900">
                      <a:moveTo>
                        <a:pt x="67" y="292"/>
                      </a:moveTo>
                      <a:lnTo>
                        <a:pt x="67" y="281"/>
                      </a:lnTo>
                      <a:lnTo>
                        <a:pt x="81" y="264"/>
                      </a:lnTo>
                      <a:lnTo>
                        <a:pt x="81" y="259"/>
                      </a:lnTo>
                      <a:lnTo>
                        <a:pt x="55" y="259"/>
                      </a:lnTo>
                      <a:lnTo>
                        <a:pt x="29" y="248"/>
                      </a:lnTo>
                      <a:lnTo>
                        <a:pt x="17" y="226"/>
                      </a:lnTo>
                      <a:lnTo>
                        <a:pt x="34" y="193"/>
                      </a:lnTo>
                      <a:lnTo>
                        <a:pt x="12" y="193"/>
                      </a:lnTo>
                      <a:lnTo>
                        <a:pt x="0" y="170"/>
                      </a:lnTo>
                      <a:lnTo>
                        <a:pt x="43" y="165"/>
                      </a:lnTo>
                      <a:lnTo>
                        <a:pt x="43" y="148"/>
                      </a:lnTo>
                      <a:lnTo>
                        <a:pt x="17" y="115"/>
                      </a:lnTo>
                      <a:lnTo>
                        <a:pt x="34" y="99"/>
                      </a:lnTo>
                      <a:lnTo>
                        <a:pt x="43" y="111"/>
                      </a:lnTo>
                      <a:lnTo>
                        <a:pt x="81" y="99"/>
                      </a:lnTo>
                      <a:lnTo>
                        <a:pt x="88" y="99"/>
                      </a:lnTo>
                      <a:lnTo>
                        <a:pt x="109" y="82"/>
                      </a:lnTo>
                      <a:lnTo>
                        <a:pt x="119" y="54"/>
                      </a:lnTo>
                      <a:lnTo>
                        <a:pt x="135" y="54"/>
                      </a:lnTo>
                      <a:lnTo>
                        <a:pt x="135" y="75"/>
                      </a:lnTo>
                      <a:lnTo>
                        <a:pt x="156" y="82"/>
                      </a:lnTo>
                      <a:lnTo>
                        <a:pt x="156" y="92"/>
                      </a:lnTo>
                      <a:lnTo>
                        <a:pt x="173" y="111"/>
                      </a:lnTo>
                      <a:lnTo>
                        <a:pt x="180" y="99"/>
                      </a:lnTo>
                      <a:lnTo>
                        <a:pt x="173" y="99"/>
                      </a:lnTo>
                      <a:lnTo>
                        <a:pt x="189" y="70"/>
                      </a:lnTo>
                      <a:lnTo>
                        <a:pt x="189" y="54"/>
                      </a:lnTo>
                      <a:lnTo>
                        <a:pt x="206" y="54"/>
                      </a:lnTo>
                      <a:lnTo>
                        <a:pt x="211" y="70"/>
                      </a:lnTo>
                      <a:lnTo>
                        <a:pt x="232" y="59"/>
                      </a:lnTo>
                      <a:lnTo>
                        <a:pt x="248" y="75"/>
                      </a:lnTo>
                      <a:lnTo>
                        <a:pt x="248" y="59"/>
                      </a:lnTo>
                      <a:lnTo>
                        <a:pt x="244" y="54"/>
                      </a:lnTo>
                      <a:lnTo>
                        <a:pt x="244" y="42"/>
                      </a:lnTo>
                      <a:lnTo>
                        <a:pt x="260" y="37"/>
                      </a:lnTo>
                      <a:lnTo>
                        <a:pt x="270" y="42"/>
                      </a:lnTo>
                      <a:lnTo>
                        <a:pt x="270" y="16"/>
                      </a:lnTo>
                      <a:lnTo>
                        <a:pt x="315" y="26"/>
                      </a:lnTo>
                      <a:lnTo>
                        <a:pt x="324" y="4"/>
                      </a:lnTo>
                      <a:lnTo>
                        <a:pt x="369" y="4"/>
                      </a:lnTo>
                      <a:lnTo>
                        <a:pt x="395" y="0"/>
                      </a:lnTo>
                      <a:lnTo>
                        <a:pt x="395" y="16"/>
                      </a:lnTo>
                      <a:lnTo>
                        <a:pt x="411" y="26"/>
                      </a:lnTo>
                      <a:lnTo>
                        <a:pt x="504" y="42"/>
                      </a:lnTo>
                      <a:lnTo>
                        <a:pt x="482" y="70"/>
                      </a:lnTo>
                      <a:lnTo>
                        <a:pt x="482" y="75"/>
                      </a:lnTo>
                      <a:lnTo>
                        <a:pt x="497" y="75"/>
                      </a:lnTo>
                      <a:lnTo>
                        <a:pt x="487" y="92"/>
                      </a:lnTo>
                      <a:lnTo>
                        <a:pt x="497" y="92"/>
                      </a:lnTo>
                      <a:lnTo>
                        <a:pt x="497" y="111"/>
                      </a:lnTo>
                      <a:lnTo>
                        <a:pt x="520" y="127"/>
                      </a:lnTo>
                      <a:lnTo>
                        <a:pt x="504" y="132"/>
                      </a:lnTo>
                      <a:lnTo>
                        <a:pt x="504" y="132"/>
                      </a:lnTo>
                      <a:lnTo>
                        <a:pt x="497" y="115"/>
                      </a:lnTo>
                      <a:lnTo>
                        <a:pt x="482" y="127"/>
                      </a:lnTo>
                      <a:lnTo>
                        <a:pt x="482" y="115"/>
                      </a:lnTo>
                      <a:lnTo>
                        <a:pt x="466" y="115"/>
                      </a:lnTo>
                      <a:lnTo>
                        <a:pt x="459" y="127"/>
                      </a:lnTo>
                      <a:lnTo>
                        <a:pt x="459" y="127"/>
                      </a:lnTo>
                      <a:lnTo>
                        <a:pt x="411" y="148"/>
                      </a:lnTo>
                      <a:lnTo>
                        <a:pt x="421" y="132"/>
                      </a:lnTo>
                      <a:lnTo>
                        <a:pt x="407" y="137"/>
                      </a:lnTo>
                      <a:lnTo>
                        <a:pt x="395" y="165"/>
                      </a:lnTo>
                      <a:lnTo>
                        <a:pt x="421" y="186"/>
                      </a:lnTo>
                      <a:lnTo>
                        <a:pt x="411" y="203"/>
                      </a:lnTo>
                      <a:lnTo>
                        <a:pt x="411" y="193"/>
                      </a:lnTo>
                      <a:lnTo>
                        <a:pt x="411" y="203"/>
                      </a:lnTo>
                      <a:lnTo>
                        <a:pt x="407" y="193"/>
                      </a:lnTo>
                      <a:lnTo>
                        <a:pt x="395" y="210"/>
                      </a:lnTo>
                      <a:lnTo>
                        <a:pt x="407" y="248"/>
                      </a:lnTo>
                      <a:lnTo>
                        <a:pt x="428" y="276"/>
                      </a:lnTo>
                      <a:lnTo>
                        <a:pt x="497" y="314"/>
                      </a:lnTo>
                      <a:lnTo>
                        <a:pt x="520" y="392"/>
                      </a:lnTo>
                      <a:lnTo>
                        <a:pt x="572" y="441"/>
                      </a:lnTo>
                      <a:lnTo>
                        <a:pt x="605" y="458"/>
                      </a:lnTo>
                      <a:lnTo>
                        <a:pt x="676" y="458"/>
                      </a:lnTo>
                      <a:lnTo>
                        <a:pt x="676" y="463"/>
                      </a:lnTo>
                      <a:lnTo>
                        <a:pt x="660" y="479"/>
                      </a:lnTo>
                      <a:lnTo>
                        <a:pt x="660" y="496"/>
                      </a:lnTo>
                      <a:lnTo>
                        <a:pt x="806" y="569"/>
                      </a:lnTo>
                      <a:lnTo>
                        <a:pt x="837" y="607"/>
                      </a:lnTo>
                      <a:lnTo>
                        <a:pt x="827" y="640"/>
                      </a:lnTo>
                      <a:lnTo>
                        <a:pt x="806" y="623"/>
                      </a:lnTo>
                      <a:lnTo>
                        <a:pt x="789" y="590"/>
                      </a:lnTo>
                      <a:lnTo>
                        <a:pt x="747" y="585"/>
                      </a:lnTo>
                      <a:lnTo>
                        <a:pt x="752" y="574"/>
                      </a:lnTo>
                      <a:lnTo>
                        <a:pt x="730" y="585"/>
                      </a:lnTo>
                      <a:lnTo>
                        <a:pt x="702" y="611"/>
                      </a:lnTo>
                      <a:lnTo>
                        <a:pt x="697" y="640"/>
                      </a:lnTo>
                      <a:lnTo>
                        <a:pt x="697" y="647"/>
                      </a:lnTo>
                      <a:lnTo>
                        <a:pt x="747" y="668"/>
                      </a:lnTo>
                      <a:lnTo>
                        <a:pt x="747" y="701"/>
                      </a:lnTo>
                      <a:lnTo>
                        <a:pt x="702" y="718"/>
                      </a:lnTo>
                      <a:lnTo>
                        <a:pt x="697" y="722"/>
                      </a:lnTo>
                      <a:lnTo>
                        <a:pt x="702" y="751"/>
                      </a:lnTo>
                      <a:lnTo>
                        <a:pt x="676" y="772"/>
                      </a:lnTo>
                      <a:lnTo>
                        <a:pt x="664" y="789"/>
                      </a:lnTo>
                      <a:lnTo>
                        <a:pt x="643" y="796"/>
                      </a:lnTo>
                      <a:lnTo>
                        <a:pt x="638" y="789"/>
                      </a:lnTo>
                      <a:lnTo>
                        <a:pt x="638" y="763"/>
                      </a:lnTo>
                      <a:lnTo>
                        <a:pt x="648" y="763"/>
                      </a:lnTo>
                      <a:lnTo>
                        <a:pt x="660" y="739"/>
                      </a:lnTo>
                      <a:lnTo>
                        <a:pt x="648" y="734"/>
                      </a:lnTo>
                      <a:lnTo>
                        <a:pt x="676" y="722"/>
                      </a:lnTo>
                      <a:lnTo>
                        <a:pt x="676" y="706"/>
                      </a:lnTo>
                      <a:lnTo>
                        <a:pt x="664" y="701"/>
                      </a:lnTo>
                      <a:lnTo>
                        <a:pt x="664" y="668"/>
                      </a:lnTo>
                      <a:lnTo>
                        <a:pt x="638" y="611"/>
                      </a:lnTo>
                      <a:lnTo>
                        <a:pt x="626" y="611"/>
                      </a:lnTo>
                      <a:lnTo>
                        <a:pt x="622" y="611"/>
                      </a:lnTo>
                      <a:lnTo>
                        <a:pt x="589" y="595"/>
                      </a:lnTo>
                      <a:lnTo>
                        <a:pt x="589" y="585"/>
                      </a:lnTo>
                      <a:lnTo>
                        <a:pt x="572" y="557"/>
                      </a:lnTo>
                      <a:lnTo>
                        <a:pt x="541" y="569"/>
                      </a:lnTo>
                      <a:lnTo>
                        <a:pt x="551" y="552"/>
                      </a:lnTo>
                      <a:lnTo>
                        <a:pt x="541" y="541"/>
                      </a:lnTo>
                      <a:lnTo>
                        <a:pt x="530" y="552"/>
                      </a:lnTo>
                      <a:lnTo>
                        <a:pt x="504" y="512"/>
                      </a:lnTo>
                      <a:lnTo>
                        <a:pt x="449" y="512"/>
                      </a:lnTo>
                      <a:lnTo>
                        <a:pt x="445" y="496"/>
                      </a:lnTo>
                      <a:lnTo>
                        <a:pt x="421" y="486"/>
                      </a:lnTo>
                      <a:lnTo>
                        <a:pt x="390" y="458"/>
                      </a:lnTo>
                      <a:lnTo>
                        <a:pt x="374" y="441"/>
                      </a:lnTo>
                      <a:lnTo>
                        <a:pt x="357" y="425"/>
                      </a:lnTo>
                      <a:lnTo>
                        <a:pt x="336" y="408"/>
                      </a:lnTo>
                      <a:lnTo>
                        <a:pt x="319" y="413"/>
                      </a:lnTo>
                      <a:lnTo>
                        <a:pt x="319" y="404"/>
                      </a:lnTo>
                      <a:lnTo>
                        <a:pt x="282" y="352"/>
                      </a:lnTo>
                      <a:lnTo>
                        <a:pt x="282" y="335"/>
                      </a:lnTo>
                      <a:lnTo>
                        <a:pt x="265" y="318"/>
                      </a:lnTo>
                      <a:lnTo>
                        <a:pt x="260" y="292"/>
                      </a:lnTo>
                      <a:lnTo>
                        <a:pt x="248" y="276"/>
                      </a:lnTo>
                      <a:lnTo>
                        <a:pt x="189" y="243"/>
                      </a:lnTo>
                      <a:lnTo>
                        <a:pt x="156" y="236"/>
                      </a:lnTo>
                      <a:lnTo>
                        <a:pt x="135" y="248"/>
                      </a:lnTo>
                      <a:lnTo>
                        <a:pt x="104" y="281"/>
                      </a:lnTo>
                      <a:lnTo>
                        <a:pt x="67" y="292"/>
                      </a:lnTo>
                      <a:lnTo>
                        <a:pt x="67" y="292"/>
                      </a:lnTo>
                      <a:lnTo>
                        <a:pt x="67" y="292"/>
                      </a:lnTo>
                      <a:close/>
                      <a:moveTo>
                        <a:pt x="411" y="276"/>
                      </a:moveTo>
                      <a:lnTo>
                        <a:pt x="411" y="281"/>
                      </a:lnTo>
                      <a:lnTo>
                        <a:pt x="421" y="276"/>
                      </a:lnTo>
                      <a:lnTo>
                        <a:pt x="411" y="276"/>
                      </a:lnTo>
                      <a:lnTo>
                        <a:pt x="411" y="276"/>
                      </a:lnTo>
                      <a:lnTo>
                        <a:pt x="411" y="276"/>
                      </a:lnTo>
                      <a:close/>
                      <a:moveTo>
                        <a:pt x="270" y="387"/>
                      </a:moveTo>
                      <a:lnTo>
                        <a:pt x="248" y="375"/>
                      </a:lnTo>
                      <a:lnTo>
                        <a:pt x="270" y="370"/>
                      </a:lnTo>
                      <a:lnTo>
                        <a:pt x="270" y="387"/>
                      </a:lnTo>
                      <a:lnTo>
                        <a:pt x="270" y="387"/>
                      </a:lnTo>
                      <a:lnTo>
                        <a:pt x="270" y="387"/>
                      </a:lnTo>
                      <a:close/>
                      <a:moveTo>
                        <a:pt x="109" y="569"/>
                      </a:moveTo>
                      <a:lnTo>
                        <a:pt x="119" y="536"/>
                      </a:lnTo>
                      <a:lnTo>
                        <a:pt x="126" y="541"/>
                      </a:lnTo>
                      <a:lnTo>
                        <a:pt x="142" y="541"/>
                      </a:lnTo>
                      <a:lnTo>
                        <a:pt x="189" y="512"/>
                      </a:lnTo>
                      <a:lnTo>
                        <a:pt x="211" y="519"/>
                      </a:lnTo>
                      <a:lnTo>
                        <a:pt x="218" y="536"/>
                      </a:lnTo>
                      <a:lnTo>
                        <a:pt x="206" y="541"/>
                      </a:lnTo>
                      <a:lnTo>
                        <a:pt x="211" y="541"/>
                      </a:lnTo>
                      <a:lnTo>
                        <a:pt x="227" y="574"/>
                      </a:lnTo>
                      <a:lnTo>
                        <a:pt x="211" y="595"/>
                      </a:lnTo>
                      <a:lnTo>
                        <a:pt x="218" y="611"/>
                      </a:lnTo>
                      <a:lnTo>
                        <a:pt x="211" y="696"/>
                      </a:lnTo>
                      <a:lnTo>
                        <a:pt x="173" y="680"/>
                      </a:lnTo>
                      <a:lnTo>
                        <a:pt x="173" y="701"/>
                      </a:lnTo>
                      <a:lnTo>
                        <a:pt x="163" y="706"/>
                      </a:lnTo>
                      <a:lnTo>
                        <a:pt x="152" y="706"/>
                      </a:lnTo>
                      <a:lnTo>
                        <a:pt x="135" y="696"/>
                      </a:lnTo>
                      <a:lnTo>
                        <a:pt x="126" y="706"/>
                      </a:lnTo>
                      <a:lnTo>
                        <a:pt x="126" y="696"/>
                      </a:lnTo>
                      <a:lnTo>
                        <a:pt x="135" y="696"/>
                      </a:lnTo>
                      <a:lnTo>
                        <a:pt x="126" y="668"/>
                      </a:lnTo>
                      <a:lnTo>
                        <a:pt x="135" y="640"/>
                      </a:lnTo>
                      <a:lnTo>
                        <a:pt x="135" y="640"/>
                      </a:lnTo>
                      <a:lnTo>
                        <a:pt x="142" y="630"/>
                      </a:lnTo>
                      <a:lnTo>
                        <a:pt x="126" y="630"/>
                      </a:lnTo>
                      <a:lnTo>
                        <a:pt x="135" y="590"/>
                      </a:lnTo>
                      <a:lnTo>
                        <a:pt x="119" y="569"/>
                      </a:lnTo>
                      <a:lnTo>
                        <a:pt x="109" y="569"/>
                      </a:lnTo>
                      <a:lnTo>
                        <a:pt x="109" y="569"/>
                      </a:lnTo>
                      <a:lnTo>
                        <a:pt x="109" y="569"/>
                      </a:lnTo>
                      <a:lnTo>
                        <a:pt x="109" y="569"/>
                      </a:lnTo>
                      <a:close/>
                      <a:moveTo>
                        <a:pt x="513" y="557"/>
                      </a:moveTo>
                      <a:lnTo>
                        <a:pt x="513" y="552"/>
                      </a:lnTo>
                      <a:lnTo>
                        <a:pt x="520" y="557"/>
                      </a:lnTo>
                      <a:lnTo>
                        <a:pt x="513" y="557"/>
                      </a:lnTo>
                      <a:lnTo>
                        <a:pt x="513" y="557"/>
                      </a:lnTo>
                      <a:lnTo>
                        <a:pt x="513" y="557"/>
                      </a:lnTo>
                      <a:close/>
                      <a:moveTo>
                        <a:pt x="119" y="696"/>
                      </a:moveTo>
                      <a:lnTo>
                        <a:pt x="119" y="685"/>
                      </a:lnTo>
                      <a:lnTo>
                        <a:pt x="119" y="685"/>
                      </a:lnTo>
                      <a:lnTo>
                        <a:pt x="119" y="696"/>
                      </a:lnTo>
                      <a:lnTo>
                        <a:pt x="119" y="696"/>
                      </a:lnTo>
                      <a:lnTo>
                        <a:pt x="119" y="696"/>
                      </a:lnTo>
                      <a:close/>
                      <a:moveTo>
                        <a:pt x="411" y="805"/>
                      </a:moveTo>
                      <a:lnTo>
                        <a:pt x="421" y="789"/>
                      </a:lnTo>
                      <a:lnTo>
                        <a:pt x="433" y="772"/>
                      </a:lnTo>
                      <a:lnTo>
                        <a:pt x="445" y="779"/>
                      </a:lnTo>
                      <a:lnTo>
                        <a:pt x="459" y="779"/>
                      </a:lnTo>
                      <a:lnTo>
                        <a:pt x="459" y="772"/>
                      </a:lnTo>
                      <a:lnTo>
                        <a:pt x="475" y="763"/>
                      </a:lnTo>
                      <a:lnTo>
                        <a:pt x="482" y="779"/>
                      </a:lnTo>
                      <a:lnTo>
                        <a:pt x="504" y="789"/>
                      </a:lnTo>
                      <a:lnTo>
                        <a:pt x="558" y="779"/>
                      </a:lnTo>
                      <a:lnTo>
                        <a:pt x="584" y="772"/>
                      </a:lnTo>
                      <a:lnTo>
                        <a:pt x="596" y="772"/>
                      </a:lnTo>
                      <a:lnTo>
                        <a:pt x="626" y="763"/>
                      </a:lnTo>
                      <a:lnTo>
                        <a:pt x="638" y="763"/>
                      </a:lnTo>
                      <a:lnTo>
                        <a:pt x="605" y="805"/>
                      </a:lnTo>
                      <a:lnTo>
                        <a:pt x="596" y="829"/>
                      </a:lnTo>
                      <a:lnTo>
                        <a:pt x="610" y="866"/>
                      </a:lnTo>
                      <a:lnTo>
                        <a:pt x="605" y="871"/>
                      </a:lnTo>
                      <a:lnTo>
                        <a:pt x="596" y="900"/>
                      </a:lnTo>
                      <a:lnTo>
                        <a:pt x="558" y="890"/>
                      </a:lnTo>
                      <a:lnTo>
                        <a:pt x="534" y="866"/>
                      </a:lnTo>
                      <a:lnTo>
                        <a:pt x="513" y="862"/>
                      </a:lnTo>
                      <a:lnTo>
                        <a:pt x="466" y="829"/>
                      </a:lnTo>
                      <a:lnTo>
                        <a:pt x="428" y="817"/>
                      </a:lnTo>
                      <a:lnTo>
                        <a:pt x="411" y="805"/>
                      </a:lnTo>
                      <a:lnTo>
                        <a:pt x="411" y="805"/>
                      </a:lnTo>
                      <a:lnTo>
                        <a:pt x="411" y="805"/>
                      </a:lnTo>
                      <a:close/>
                      <a:moveTo>
                        <a:pt x="378" y="890"/>
                      </a:moveTo>
                      <a:lnTo>
                        <a:pt x="378" y="883"/>
                      </a:lnTo>
                      <a:lnTo>
                        <a:pt x="390" y="883"/>
                      </a:lnTo>
                      <a:lnTo>
                        <a:pt x="378" y="890"/>
                      </a:lnTo>
                      <a:lnTo>
                        <a:pt x="378" y="890"/>
                      </a:lnTo>
                      <a:lnTo>
                        <a:pt x="378" y="89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07" name="Freeform 381">
                  <a:extLst>
                    <a:ext uri="{FF2B5EF4-FFF2-40B4-BE49-F238E27FC236}">
                      <a16:creationId xmlns:a16="http://schemas.microsoft.com/office/drawing/2014/main" id="{E3C9512C-B231-4E86-92EE-CDC1895BE3E9}"/>
                    </a:ext>
                  </a:extLst>
                </p:cNvPr>
                <p:cNvSpPr>
                  <a:spLocks noEditPoints="1"/>
                </p:cNvSpPr>
                <p:nvPr/>
              </p:nvSpPr>
              <p:spPr bwMode="gray">
                <a:xfrm>
                  <a:off x="8018468" y="2745923"/>
                  <a:ext cx="162609" cy="123515"/>
                </a:xfrm>
                <a:custGeom>
                  <a:avLst/>
                  <a:gdLst>
                    <a:gd name="T0" fmla="*/ 118 w 395"/>
                    <a:gd name="T1" fmla="*/ 229 h 300"/>
                    <a:gd name="T2" fmla="*/ 118 w 395"/>
                    <a:gd name="T3" fmla="*/ 212 h 300"/>
                    <a:gd name="T4" fmla="*/ 102 w 395"/>
                    <a:gd name="T5" fmla="*/ 196 h 300"/>
                    <a:gd name="T6" fmla="*/ 64 w 395"/>
                    <a:gd name="T7" fmla="*/ 168 h 300"/>
                    <a:gd name="T8" fmla="*/ 85 w 395"/>
                    <a:gd name="T9" fmla="*/ 139 h 300"/>
                    <a:gd name="T10" fmla="*/ 47 w 395"/>
                    <a:gd name="T11" fmla="*/ 99 h 300"/>
                    <a:gd name="T12" fmla="*/ 26 w 395"/>
                    <a:gd name="T13" fmla="*/ 73 h 300"/>
                    <a:gd name="T14" fmla="*/ 17 w 395"/>
                    <a:gd name="T15" fmla="*/ 45 h 300"/>
                    <a:gd name="T16" fmla="*/ 71 w 395"/>
                    <a:gd name="T17" fmla="*/ 45 h 300"/>
                    <a:gd name="T18" fmla="*/ 102 w 395"/>
                    <a:gd name="T19" fmla="*/ 57 h 300"/>
                    <a:gd name="T20" fmla="*/ 135 w 395"/>
                    <a:gd name="T21" fmla="*/ 61 h 300"/>
                    <a:gd name="T22" fmla="*/ 109 w 395"/>
                    <a:gd name="T23" fmla="*/ 28 h 300"/>
                    <a:gd name="T24" fmla="*/ 118 w 395"/>
                    <a:gd name="T25" fmla="*/ 0 h 300"/>
                    <a:gd name="T26" fmla="*/ 140 w 395"/>
                    <a:gd name="T27" fmla="*/ 0 h 300"/>
                    <a:gd name="T28" fmla="*/ 177 w 395"/>
                    <a:gd name="T29" fmla="*/ 45 h 300"/>
                    <a:gd name="T30" fmla="*/ 227 w 395"/>
                    <a:gd name="T31" fmla="*/ 57 h 300"/>
                    <a:gd name="T32" fmla="*/ 253 w 395"/>
                    <a:gd name="T33" fmla="*/ 23 h 300"/>
                    <a:gd name="T34" fmla="*/ 303 w 395"/>
                    <a:gd name="T35" fmla="*/ 40 h 300"/>
                    <a:gd name="T36" fmla="*/ 336 w 395"/>
                    <a:gd name="T37" fmla="*/ 94 h 300"/>
                    <a:gd name="T38" fmla="*/ 390 w 395"/>
                    <a:gd name="T39" fmla="*/ 118 h 300"/>
                    <a:gd name="T40" fmla="*/ 362 w 395"/>
                    <a:gd name="T41" fmla="*/ 134 h 300"/>
                    <a:gd name="T42" fmla="*/ 319 w 395"/>
                    <a:gd name="T43" fmla="*/ 205 h 300"/>
                    <a:gd name="T44" fmla="*/ 319 w 395"/>
                    <a:gd name="T45" fmla="*/ 222 h 300"/>
                    <a:gd name="T46" fmla="*/ 303 w 395"/>
                    <a:gd name="T47" fmla="*/ 246 h 300"/>
                    <a:gd name="T48" fmla="*/ 298 w 395"/>
                    <a:gd name="T49" fmla="*/ 229 h 300"/>
                    <a:gd name="T50" fmla="*/ 269 w 395"/>
                    <a:gd name="T51" fmla="*/ 300 h 300"/>
                    <a:gd name="T52" fmla="*/ 248 w 395"/>
                    <a:gd name="T53" fmla="*/ 279 h 300"/>
                    <a:gd name="T54" fmla="*/ 232 w 395"/>
                    <a:gd name="T55" fmla="*/ 250 h 300"/>
                    <a:gd name="T56" fmla="*/ 232 w 395"/>
                    <a:gd name="T57" fmla="*/ 222 h 300"/>
                    <a:gd name="T58" fmla="*/ 227 w 395"/>
                    <a:gd name="T59" fmla="*/ 184 h 300"/>
                    <a:gd name="T60" fmla="*/ 123 w 395"/>
                    <a:gd name="T61" fmla="*/ 250 h 300"/>
                    <a:gd name="T62" fmla="*/ 123 w 395"/>
                    <a:gd name="T63" fmla="*/ 250 h 300"/>
                    <a:gd name="T64" fmla="*/ 55 w 395"/>
                    <a:gd name="T65" fmla="*/ 99 h 300"/>
                    <a:gd name="T66" fmla="*/ 55 w 395"/>
                    <a:gd name="T67" fmla="*/ 111 h 300"/>
                    <a:gd name="T68" fmla="*/ 55 w 395"/>
                    <a:gd name="T69" fmla="*/ 111 h 300"/>
                    <a:gd name="T70" fmla="*/ 0 w 395"/>
                    <a:gd name="T71" fmla="*/ 189 h 300"/>
                    <a:gd name="T72" fmla="*/ 47 w 395"/>
                    <a:gd name="T73" fmla="*/ 205 h 300"/>
                    <a:gd name="T74" fmla="*/ 80 w 395"/>
                    <a:gd name="T75" fmla="*/ 212 h 300"/>
                    <a:gd name="T76" fmla="*/ 85 w 395"/>
                    <a:gd name="T77" fmla="*/ 229 h 300"/>
                    <a:gd name="T78" fmla="*/ 47 w 395"/>
                    <a:gd name="T79" fmla="*/ 246 h 300"/>
                    <a:gd name="T80" fmla="*/ 26 w 395"/>
                    <a:gd name="T81" fmla="*/ 229 h 300"/>
                    <a:gd name="T82" fmla="*/ 0 w 395"/>
                    <a:gd name="T83" fmla="*/ 18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5" h="300">
                      <a:moveTo>
                        <a:pt x="123" y="250"/>
                      </a:moveTo>
                      <a:lnTo>
                        <a:pt x="118" y="229"/>
                      </a:lnTo>
                      <a:lnTo>
                        <a:pt x="135" y="229"/>
                      </a:lnTo>
                      <a:lnTo>
                        <a:pt x="118" y="212"/>
                      </a:lnTo>
                      <a:lnTo>
                        <a:pt x="123" y="196"/>
                      </a:lnTo>
                      <a:lnTo>
                        <a:pt x="102" y="196"/>
                      </a:lnTo>
                      <a:lnTo>
                        <a:pt x="71" y="168"/>
                      </a:lnTo>
                      <a:lnTo>
                        <a:pt x="64" y="168"/>
                      </a:lnTo>
                      <a:lnTo>
                        <a:pt x="80" y="156"/>
                      </a:lnTo>
                      <a:lnTo>
                        <a:pt x="85" y="139"/>
                      </a:lnTo>
                      <a:lnTo>
                        <a:pt x="55" y="127"/>
                      </a:lnTo>
                      <a:lnTo>
                        <a:pt x="47" y="99"/>
                      </a:lnTo>
                      <a:lnTo>
                        <a:pt x="64" y="83"/>
                      </a:lnTo>
                      <a:lnTo>
                        <a:pt x="26" y="73"/>
                      </a:lnTo>
                      <a:lnTo>
                        <a:pt x="33" y="61"/>
                      </a:lnTo>
                      <a:lnTo>
                        <a:pt x="17" y="45"/>
                      </a:lnTo>
                      <a:lnTo>
                        <a:pt x="38" y="40"/>
                      </a:lnTo>
                      <a:lnTo>
                        <a:pt x="71" y="45"/>
                      </a:lnTo>
                      <a:lnTo>
                        <a:pt x="80" y="57"/>
                      </a:lnTo>
                      <a:lnTo>
                        <a:pt x="102" y="57"/>
                      </a:lnTo>
                      <a:lnTo>
                        <a:pt x="123" y="73"/>
                      </a:lnTo>
                      <a:lnTo>
                        <a:pt x="135" y="61"/>
                      </a:lnTo>
                      <a:lnTo>
                        <a:pt x="135" y="45"/>
                      </a:lnTo>
                      <a:lnTo>
                        <a:pt x="109" y="28"/>
                      </a:lnTo>
                      <a:lnTo>
                        <a:pt x="102" y="16"/>
                      </a:lnTo>
                      <a:lnTo>
                        <a:pt x="118" y="0"/>
                      </a:lnTo>
                      <a:lnTo>
                        <a:pt x="135" y="5"/>
                      </a:lnTo>
                      <a:lnTo>
                        <a:pt x="140" y="0"/>
                      </a:lnTo>
                      <a:lnTo>
                        <a:pt x="173" y="28"/>
                      </a:lnTo>
                      <a:lnTo>
                        <a:pt x="177" y="45"/>
                      </a:lnTo>
                      <a:lnTo>
                        <a:pt x="210" y="61"/>
                      </a:lnTo>
                      <a:lnTo>
                        <a:pt x="227" y="57"/>
                      </a:lnTo>
                      <a:lnTo>
                        <a:pt x="232" y="40"/>
                      </a:lnTo>
                      <a:lnTo>
                        <a:pt x="253" y="23"/>
                      </a:lnTo>
                      <a:lnTo>
                        <a:pt x="269" y="5"/>
                      </a:lnTo>
                      <a:lnTo>
                        <a:pt x="303" y="40"/>
                      </a:lnTo>
                      <a:lnTo>
                        <a:pt x="307" y="73"/>
                      </a:lnTo>
                      <a:lnTo>
                        <a:pt x="336" y="94"/>
                      </a:lnTo>
                      <a:lnTo>
                        <a:pt x="336" y="99"/>
                      </a:lnTo>
                      <a:lnTo>
                        <a:pt x="390" y="118"/>
                      </a:lnTo>
                      <a:lnTo>
                        <a:pt x="395" y="139"/>
                      </a:lnTo>
                      <a:lnTo>
                        <a:pt x="362" y="134"/>
                      </a:lnTo>
                      <a:lnTo>
                        <a:pt x="336" y="151"/>
                      </a:lnTo>
                      <a:lnTo>
                        <a:pt x="319" y="205"/>
                      </a:lnTo>
                      <a:lnTo>
                        <a:pt x="324" y="212"/>
                      </a:lnTo>
                      <a:lnTo>
                        <a:pt x="319" y="222"/>
                      </a:lnTo>
                      <a:lnTo>
                        <a:pt x="307" y="246"/>
                      </a:lnTo>
                      <a:lnTo>
                        <a:pt x="303" y="246"/>
                      </a:lnTo>
                      <a:lnTo>
                        <a:pt x="307" y="238"/>
                      </a:lnTo>
                      <a:lnTo>
                        <a:pt x="298" y="229"/>
                      </a:lnTo>
                      <a:lnTo>
                        <a:pt x="286" y="295"/>
                      </a:lnTo>
                      <a:lnTo>
                        <a:pt x="269" y="300"/>
                      </a:lnTo>
                      <a:lnTo>
                        <a:pt x="253" y="279"/>
                      </a:lnTo>
                      <a:lnTo>
                        <a:pt x="248" y="279"/>
                      </a:lnTo>
                      <a:lnTo>
                        <a:pt x="232" y="262"/>
                      </a:lnTo>
                      <a:lnTo>
                        <a:pt x="232" y="250"/>
                      </a:lnTo>
                      <a:lnTo>
                        <a:pt x="248" y="246"/>
                      </a:lnTo>
                      <a:lnTo>
                        <a:pt x="232" y="222"/>
                      </a:lnTo>
                      <a:lnTo>
                        <a:pt x="253" y="212"/>
                      </a:lnTo>
                      <a:lnTo>
                        <a:pt x="227" y="184"/>
                      </a:lnTo>
                      <a:lnTo>
                        <a:pt x="147" y="229"/>
                      </a:lnTo>
                      <a:lnTo>
                        <a:pt x="123" y="250"/>
                      </a:lnTo>
                      <a:lnTo>
                        <a:pt x="123" y="250"/>
                      </a:lnTo>
                      <a:lnTo>
                        <a:pt x="123" y="250"/>
                      </a:lnTo>
                      <a:close/>
                      <a:moveTo>
                        <a:pt x="55" y="111"/>
                      </a:moveTo>
                      <a:lnTo>
                        <a:pt x="55" y="99"/>
                      </a:lnTo>
                      <a:lnTo>
                        <a:pt x="55" y="99"/>
                      </a:lnTo>
                      <a:lnTo>
                        <a:pt x="55" y="111"/>
                      </a:lnTo>
                      <a:lnTo>
                        <a:pt x="55" y="111"/>
                      </a:lnTo>
                      <a:lnTo>
                        <a:pt x="55" y="111"/>
                      </a:lnTo>
                      <a:close/>
                      <a:moveTo>
                        <a:pt x="0" y="189"/>
                      </a:moveTo>
                      <a:lnTo>
                        <a:pt x="0" y="189"/>
                      </a:lnTo>
                      <a:lnTo>
                        <a:pt x="26" y="184"/>
                      </a:lnTo>
                      <a:lnTo>
                        <a:pt x="47" y="205"/>
                      </a:lnTo>
                      <a:lnTo>
                        <a:pt x="71" y="196"/>
                      </a:lnTo>
                      <a:lnTo>
                        <a:pt x="80" y="212"/>
                      </a:lnTo>
                      <a:lnTo>
                        <a:pt x="85" y="222"/>
                      </a:lnTo>
                      <a:lnTo>
                        <a:pt x="85" y="229"/>
                      </a:lnTo>
                      <a:lnTo>
                        <a:pt x="102" y="262"/>
                      </a:lnTo>
                      <a:lnTo>
                        <a:pt x="47" y="246"/>
                      </a:lnTo>
                      <a:lnTo>
                        <a:pt x="38" y="229"/>
                      </a:lnTo>
                      <a:lnTo>
                        <a:pt x="26" y="229"/>
                      </a:lnTo>
                      <a:lnTo>
                        <a:pt x="0" y="189"/>
                      </a:lnTo>
                      <a:lnTo>
                        <a:pt x="0" y="189"/>
                      </a:lnTo>
                      <a:lnTo>
                        <a:pt x="0" y="18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08" name="Freeform 382">
                  <a:extLst>
                    <a:ext uri="{FF2B5EF4-FFF2-40B4-BE49-F238E27FC236}">
                      <a16:creationId xmlns:a16="http://schemas.microsoft.com/office/drawing/2014/main" id="{CC32EE6E-F4D0-4CC9-A9CA-8ACC673787A6}"/>
                    </a:ext>
                  </a:extLst>
                </p:cNvPr>
                <p:cNvSpPr>
                  <a:spLocks/>
                </p:cNvSpPr>
                <p:nvPr/>
              </p:nvSpPr>
              <p:spPr bwMode="gray">
                <a:xfrm>
                  <a:off x="7281578" y="2717516"/>
                  <a:ext cx="51458" cy="106223"/>
                </a:xfrm>
                <a:custGeom>
                  <a:avLst/>
                  <a:gdLst>
                    <a:gd name="T0" fmla="*/ 7 w 125"/>
                    <a:gd name="T1" fmla="*/ 66 h 258"/>
                    <a:gd name="T2" fmla="*/ 7 w 125"/>
                    <a:gd name="T3" fmla="*/ 50 h 258"/>
                    <a:gd name="T4" fmla="*/ 0 w 125"/>
                    <a:gd name="T5" fmla="*/ 40 h 258"/>
                    <a:gd name="T6" fmla="*/ 33 w 125"/>
                    <a:gd name="T7" fmla="*/ 0 h 258"/>
                    <a:gd name="T8" fmla="*/ 37 w 125"/>
                    <a:gd name="T9" fmla="*/ 0 h 258"/>
                    <a:gd name="T10" fmla="*/ 37 w 125"/>
                    <a:gd name="T11" fmla="*/ 17 h 258"/>
                    <a:gd name="T12" fmla="*/ 54 w 125"/>
                    <a:gd name="T13" fmla="*/ 12 h 258"/>
                    <a:gd name="T14" fmla="*/ 71 w 125"/>
                    <a:gd name="T15" fmla="*/ 22 h 258"/>
                    <a:gd name="T16" fmla="*/ 92 w 125"/>
                    <a:gd name="T17" fmla="*/ 33 h 258"/>
                    <a:gd name="T18" fmla="*/ 92 w 125"/>
                    <a:gd name="T19" fmla="*/ 66 h 258"/>
                    <a:gd name="T20" fmla="*/ 87 w 125"/>
                    <a:gd name="T21" fmla="*/ 95 h 258"/>
                    <a:gd name="T22" fmla="*/ 92 w 125"/>
                    <a:gd name="T23" fmla="*/ 107 h 258"/>
                    <a:gd name="T24" fmla="*/ 87 w 125"/>
                    <a:gd name="T25" fmla="*/ 111 h 258"/>
                    <a:gd name="T26" fmla="*/ 96 w 125"/>
                    <a:gd name="T27" fmla="*/ 152 h 258"/>
                    <a:gd name="T28" fmla="*/ 108 w 125"/>
                    <a:gd name="T29" fmla="*/ 152 h 258"/>
                    <a:gd name="T30" fmla="*/ 125 w 125"/>
                    <a:gd name="T31" fmla="*/ 152 h 258"/>
                    <a:gd name="T32" fmla="*/ 125 w 125"/>
                    <a:gd name="T33" fmla="*/ 180 h 258"/>
                    <a:gd name="T34" fmla="*/ 108 w 125"/>
                    <a:gd name="T35" fmla="*/ 196 h 258"/>
                    <a:gd name="T36" fmla="*/ 96 w 125"/>
                    <a:gd name="T37" fmla="*/ 218 h 258"/>
                    <a:gd name="T38" fmla="*/ 75 w 125"/>
                    <a:gd name="T39" fmla="*/ 237 h 258"/>
                    <a:gd name="T40" fmla="*/ 87 w 125"/>
                    <a:gd name="T41" fmla="*/ 241 h 258"/>
                    <a:gd name="T42" fmla="*/ 71 w 125"/>
                    <a:gd name="T43" fmla="*/ 253 h 258"/>
                    <a:gd name="T44" fmla="*/ 75 w 125"/>
                    <a:gd name="T45" fmla="*/ 253 h 258"/>
                    <a:gd name="T46" fmla="*/ 71 w 125"/>
                    <a:gd name="T47" fmla="*/ 258 h 258"/>
                    <a:gd name="T48" fmla="*/ 54 w 125"/>
                    <a:gd name="T49" fmla="*/ 258 h 258"/>
                    <a:gd name="T50" fmla="*/ 45 w 125"/>
                    <a:gd name="T51" fmla="*/ 225 h 258"/>
                    <a:gd name="T52" fmla="*/ 16 w 125"/>
                    <a:gd name="T53" fmla="*/ 208 h 258"/>
                    <a:gd name="T54" fmla="*/ 0 w 125"/>
                    <a:gd name="T55" fmla="*/ 196 h 258"/>
                    <a:gd name="T56" fmla="*/ 16 w 125"/>
                    <a:gd name="T57" fmla="*/ 201 h 258"/>
                    <a:gd name="T58" fmla="*/ 16 w 125"/>
                    <a:gd name="T59" fmla="*/ 180 h 258"/>
                    <a:gd name="T60" fmla="*/ 7 w 125"/>
                    <a:gd name="T61" fmla="*/ 180 h 258"/>
                    <a:gd name="T62" fmla="*/ 7 w 125"/>
                    <a:gd name="T63" fmla="*/ 152 h 258"/>
                    <a:gd name="T64" fmla="*/ 16 w 125"/>
                    <a:gd name="T65" fmla="*/ 152 h 258"/>
                    <a:gd name="T66" fmla="*/ 16 w 125"/>
                    <a:gd name="T67" fmla="*/ 140 h 258"/>
                    <a:gd name="T68" fmla="*/ 16 w 125"/>
                    <a:gd name="T69" fmla="*/ 123 h 258"/>
                    <a:gd name="T70" fmla="*/ 16 w 125"/>
                    <a:gd name="T71" fmla="*/ 107 h 258"/>
                    <a:gd name="T72" fmla="*/ 21 w 125"/>
                    <a:gd name="T73" fmla="*/ 90 h 258"/>
                    <a:gd name="T74" fmla="*/ 21 w 125"/>
                    <a:gd name="T75" fmla="*/ 74 h 258"/>
                    <a:gd name="T76" fmla="*/ 7 w 125"/>
                    <a:gd name="T77" fmla="*/ 66 h 258"/>
                    <a:gd name="T78" fmla="*/ 7 w 125"/>
                    <a:gd name="T79" fmla="*/ 66 h 258"/>
                    <a:gd name="T80" fmla="*/ 7 w 125"/>
                    <a:gd name="T81" fmla="*/ 6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5" h="258">
                      <a:moveTo>
                        <a:pt x="7" y="66"/>
                      </a:moveTo>
                      <a:lnTo>
                        <a:pt x="7" y="50"/>
                      </a:lnTo>
                      <a:lnTo>
                        <a:pt x="0" y="40"/>
                      </a:lnTo>
                      <a:lnTo>
                        <a:pt x="33" y="0"/>
                      </a:lnTo>
                      <a:lnTo>
                        <a:pt x="37" y="0"/>
                      </a:lnTo>
                      <a:lnTo>
                        <a:pt x="37" y="17"/>
                      </a:lnTo>
                      <a:lnTo>
                        <a:pt x="54" y="12"/>
                      </a:lnTo>
                      <a:lnTo>
                        <a:pt x="71" y="22"/>
                      </a:lnTo>
                      <a:lnTo>
                        <a:pt x="92" y="33"/>
                      </a:lnTo>
                      <a:lnTo>
                        <a:pt x="92" y="66"/>
                      </a:lnTo>
                      <a:lnTo>
                        <a:pt x="87" y="95"/>
                      </a:lnTo>
                      <a:lnTo>
                        <a:pt x="92" y="107"/>
                      </a:lnTo>
                      <a:lnTo>
                        <a:pt x="87" y="111"/>
                      </a:lnTo>
                      <a:lnTo>
                        <a:pt x="96" y="152"/>
                      </a:lnTo>
                      <a:lnTo>
                        <a:pt x="108" y="152"/>
                      </a:lnTo>
                      <a:lnTo>
                        <a:pt x="125" y="152"/>
                      </a:lnTo>
                      <a:lnTo>
                        <a:pt x="125" y="180"/>
                      </a:lnTo>
                      <a:lnTo>
                        <a:pt x="108" y="196"/>
                      </a:lnTo>
                      <a:lnTo>
                        <a:pt x="96" y="218"/>
                      </a:lnTo>
                      <a:lnTo>
                        <a:pt x="75" y="237"/>
                      </a:lnTo>
                      <a:lnTo>
                        <a:pt x="87" y="241"/>
                      </a:lnTo>
                      <a:lnTo>
                        <a:pt x="71" y="253"/>
                      </a:lnTo>
                      <a:lnTo>
                        <a:pt x="75" y="253"/>
                      </a:lnTo>
                      <a:lnTo>
                        <a:pt x="71" y="258"/>
                      </a:lnTo>
                      <a:lnTo>
                        <a:pt x="54" y="258"/>
                      </a:lnTo>
                      <a:lnTo>
                        <a:pt x="45" y="225"/>
                      </a:lnTo>
                      <a:lnTo>
                        <a:pt x="16" y="208"/>
                      </a:lnTo>
                      <a:lnTo>
                        <a:pt x="0" y="196"/>
                      </a:lnTo>
                      <a:lnTo>
                        <a:pt x="16" y="201"/>
                      </a:lnTo>
                      <a:lnTo>
                        <a:pt x="16" y="180"/>
                      </a:lnTo>
                      <a:lnTo>
                        <a:pt x="7" y="180"/>
                      </a:lnTo>
                      <a:lnTo>
                        <a:pt x="7" y="152"/>
                      </a:lnTo>
                      <a:lnTo>
                        <a:pt x="16" y="152"/>
                      </a:lnTo>
                      <a:lnTo>
                        <a:pt x="16" y="140"/>
                      </a:lnTo>
                      <a:lnTo>
                        <a:pt x="16" y="123"/>
                      </a:lnTo>
                      <a:lnTo>
                        <a:pt x="16" y="107"/>
                      </a:lnTo>
                      <a:lnTo>
                        <a:pt x="21" y="90"/>
                      </a:lnTo>
                      <a:lnTo>
                        <a:pt x="21" y="74"/>
                      </a:lnTo>
                      <a:lnTo>
                        <a:pt x="7" y="66"/>
                      </a:lnTo>
                      <a:lnTo>
                        <a:pt x="7" y="66"/>
                      </a:lnTo>
                      <a:lnTo>
                        <a:pt x="7" y="6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09" name="Freeform 383">
                  <a:extLst>
                    <a:ext uri="{FF2B5EF4-FFF2-40B4-BE49-F238E27FC236}">
                      <a16:creationId xmlns:a16="http://schemas.microsoft.com/office/drawing/2014/main" id="{E5734FF0-DE4D-4521-B4D5-880A68DCB104}"/>
                    </a:ext>
                  </a:extLst>
                </p:cNvPr>
                <p:cNvSpPr>
                  <a:spLocks noEditPoints="1"/>
                </p:cNvSpPr>
                <p:nvPr/>
              </p:nvSpPr>
              <p:spPr bwMode="gray">
                <a:xfrm>
                  <a:off x="7979772" y="2763216"/>
                  <a:ext cx="93037" cy="90577"/>
                </a:xfrm>
                <a:custGeom>
                  <a:avLst/>
                  <a:gdLst>
                    <a:gd name="T0" fmla="*/ 217 w 226"/>
                    <a:gd name="T1" fmla="*/ 208 h 220"/>
                    <a:gd name="T2" fmla="*/ 193 w 226"/>
                    <a:gd name="T3" fmla="*/ 220 h 220"/>
                    <a:gd name="T4" fmla="*/ 177 w 226"/>
                    <a:gd name="T5" fmla="*/ 187 h 220"/>
                    <a:gd name="T6" fmla="*/ 177 w 226"/>
                    <a:gd name="T7" fmla="*/ 180 h 220"/>
                    <a:gd name="T8" fmla="*/ 172 w 226"/>
                    <a:gd name="T9" fmla="*/ 170 h 220"/>
                    <a:gd name="T10" fmla="*/ 163 w 226"/>
                    <a:gd name="T11" fmla="*/ 152 h 220"/>
                    <a:gd name="T12" fmla="*/ 139 w 226"/>
                    <a:gd name="T13" fmla="*/ 163 h 220"/>
                    <a:gd name="T14" fmla="*/ 118 w 226"/>
                    <a:gd name="T15" fmla="*/ 142 h 220"/>
                    <a:gd name="T16" fmla="*/ 92 w 226"/>
                    <a:gd name="T17" fmla="*/ 147 h 220"/>
                    <a:gd name="T18" fmla="*/ 63 w 226"/>
                    <a:gd name="T19" fmla="*/ 114 h 220"/>
                    <a:gd name="T20" fmla="*/ 33 w 226"/>
                    <a:gd name="T21" fmla="*/ 114 h 220"/>
                    <a:gd name="T22" fmla="*/ 16 w 226"/>
                    <a:gd name="T23" fmla="*/ 107 h 220"/>
                    <a:gd name="T24" fmla="*/ 16 w 226"/>
                    <a:gd name="T25" fmla="*/ 107 h 220"/>
                    <a:gd name="T26" fmla="*/ 9 w 226"/>
                    <a:gd name="T27" fmla="*/ 85 h 220"/>
                    <a:gd name="T28" fmla="*/ 21 w 226"/>
                    <a:gd name="T29" fmla="*/ 52 h 220"/>
                    <a:gd name="T30" fmla="*/ 0 w 226"/>
                    <a:gd name="T31" fmla="*/ 17 h 220"/>
                    <a:gd name="T32" fmla="*/ 101 w 226"/>
                    <a:gd name="T33" fmla="*/ 12 h 220"/>
                    <a:gd name="T34" fmla="*/ 108 w 226"/>
                    <a:gd name="T35" fmla="*/ 0 h 220"/>
                    <a:gd name="T36" fmla="*/ 125 w 226"/>
                    <a:gd name="T37" fmla="*/ 17 h 220"/>
                    <a:gd name="T38" fmla="*/ 118 w 226"/>
                    <a:gd name="T39" fmla="*/ 29 h 220"/>
                    <a:gd name="T40" fmla="*/ 156 w 226"/>
                    <a:gd name="T41" fmla="*/ 41 h 220"/>
                    <a:gd name="T42" fmla="*/ 139 w 226"/>
                    <a:gd name="T43" fmla="*/ 57 h 220"/>
                    <a:gd name="T44" fmla="*/ 146 w 226"/>
                    <a:gd name="T45" fmla="*/ 85 h 220"/>
                    <a:gd name="T46" fmla="*/ 177 w 226"/>
                    <a:gd name="T47" fmla="*/ 97 h 220"/>
                    <a:gd name="T48" fmla="*/ 172 w 226"/>
                    <a:gd name="T49" fmla="*/ 114 h 220"/>
                    <a:gd name="T50" fmla="*/ 156 w 226"/>
                    <a:gd name="T51" fmla="*/ 126 h 220"/>
                    <a:gd name="T52" fmla="*/ 163 w 226"/>
                    <a:gd name="T53" fmla="*/ 126 h 220"/>
                    <a:gd name="T54" fmla="*/ 193 w 226"/>
                    <a:gd name="T55" fmla="*/ 152 h 220"/>
                    <a:gd name="T56" fmla="*/ 217 w 226"/>
                    <a:gd name="T57" fmla="*/ 152 h 220"/>
                    <a:gd name="T58" fmla="*/ 210 w 226"/>
                    <a:gd name="T59" fmla="*/ 170 h 220"/>
                    <a:gd name="T60" fmla="*/ 226 w 226"/>
                    <a:gd name="T61" fmla="*/ 187 h 220"/>
                    <a:gd name="T62" fmla="*/ 210 w 226"/>
                    <a:gd name="T63" fmla="*/ 187 h 220"/>
                    <a:gd name="T64" fmla="*/ 217 w 226"/>
                    <a:gd name="T65" fmla="*/ 208 h 220"/>
                    <a:gd name="T66" fmla="*/ 217 w 226"/>
                    <a:gd name="T67" fmla="*/ 208 h 220"/>
                    <a:gd name="T68" fmla="*/ 217 w 226"/>
                    <a:gd name="T69" fmla="*/ 208 h 220"/>
                    <a:gd name="T70" fmla="*/ 146 w 226"/>
                    <a:gd name="T71" fmla="*/ 69 h 220"/>
                    <a:gd name="T72" fmla="*/ 146 w 226"/>
                    <a:gd name="T73" fmla="*/ 57 h 220"/>
                    <a:gd name="T74" fmla="*/ 146 w 226"/>
                    <a:gd name="T75" fmla="*/ 57 h 220"/>
                    <a:gd name="T76" fmla="*/ 146 w 226"/>
                    <a:gd name="T77" fmla="*/ 69 h 220"/>
                    <a:gd name="T78" fmla="*/ 146 w 226"/>
                    <a:gd name="T79" fmla="*/ 69 h 220"/>
                    <a:gd name="T80" fmla="*/ 146 w 226"/>
                    <a:gd name="T81" fmla="*/ 6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6" h="220">
                      <a:moveTo>
                        <a:pt x="217" y="208"/>
                      </a:moveTo>
                      <a:lnTo>
                        <a:pt x="193" y="220"/>
                      </a:lnTo>
                      <a:lnTo>
                        <a:pt x="177" y="187"/>
                      </a:lnTo>
                      <a:lnTo>
                        <a:pt x="177" y="180"/>
                      </a:lnTo>
                      <a:lnTo>
                        <a:pt x="172" y="170"/>
                      </a:lnTo>
                      <a:lnTo>
                        <a:pt x="163" y="152"/>
                      </a:lnTo>
                      <a:lnTo>
                        <a:pt x="139" y="163"/>
                      </a:lnTo>
                      <a:lnTo>
                        <a:pt x="118" y="142"/>
                      </a:lnTo>
                      <a:lnTo>
                        <a:pt x="92" y="147"/>
                      </a:lnTo>
                      <a:lnTo>
                        <a:pt x="63" y="114"/>
                      </a:lnTo>
                      <a:lnTo>
                        <a:pt x="33" y="114"/>
                      </a:lnTo>
                      <a:lnTo>
                        <a:pt x="16" y="107"/>
                      </a:lnTo>
                      <a:lnTo>
                        <a:pt x="16" y="107"/>
                      </a:lnTo>
                      <a:lnTo>
                        <a:pt x="9" y="85"/>
                      </a:lnTo>
                      <a:lnTo>
                        <a:pt x="21" y="52"/>
                      </a:lnTo>
                      <a:lnTo>
                        <a:pt x="0" y="17"/>
                      </a:lnTo>
                      <a:lnTo>
                        <a:pt x="101" y="12"/>
                      </a:lnTo>
                      <a:lnTo>
                        <a:pt x="108" y="0"/>
                      </a:lnTo>
                      <a:lnTo>
                        <a:pt x="125" y="17"/>
                      </a:lnTo>
                      <a:lnTo>
                        <a:pt x="118" y="29"/>
                      </a:lnTo>
                      <a:lnTo>
                        <a:pt x="156" y="41"/>
                      </a:lnTo>
                      <a:lnTo>
                        <a:pt x="139" y="57"/>
                      </a:lnTo>
                      <a:lnTo>
                        <a:pt x="146" y="85"/>
                      </a:lnTo>
                      <a:lnTo>
                        <a:pt x="177" y="97"/>
                      </a:lnTo>
                      <a:lnTo>
                        <a:pt x="172" y="114"/>
                      </a:lnTo>
                      <a:lnTo>
                        <a:pt x="156" y="126"/>
                      </a:lnTo>
                      <a:lnTo>
                        <a:pt x="163" y="126"/>
                      </a:lnTo>
                      <a:lnTo>
                        <a:pt x="193" y="152"/>
                      </a:lnTo>
                      <a:lnTo>
                        <a:pt x="217" y="152"/>
                      </a:lnTo>
                      <a:lnTo>
                        <a:pt x="210" y="170"/>
                      </a:lnTo>
                      <a:lnTo>
                        <a:pt x="226" y="187"/>
                      </a:lnTo>
                      <a:lnTo>
                        <a:pt x="210" y="187"/>
                      </a:lnTo>
                      <a:lnTo>
                        <a:pt x="217" y="208"/>
                      </a:lnTo>
                      <a:lnTo>
                        <a:pt x="217" y="208"/>
                      </a:lnTo>
                      <a:lnTo>
                        <a:pt x="217" y="208"/>
                      </a:lnTo>
                      <a:close/>
                      <a:moveTo>
                        <a:pt x="146" y="69"/>
                      </a:moveTo>
                      <a:lnTo>
                        <a:pt x="146" y="57"/>
                      </a:lnTo>
                      <a:lnTo>
                        <a:pt x="146" y="57"/>
                      </a:lnTo>
                      <a:lnTo>
                        <a:pt x="146" y="69"/>
                      </a:lnTo>
                      <a:lnTo>
                        <a:pt x="146" y="69"/>
                      </a:lnTo>
                      <a:lnTo>
                        <a:pt x="146" y="6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10" name="Freeform 384">
                  <a:extLst>
                    <a:ext uri="{FF2B5EF4-FFF2-40B4-BE49-F238E27FC236}">
                      <a16:creationId xmlns:a16="http://schemas.microsoft.com/office/drawing/2014/main" id="{1D4D755F-F025-4D62-A053-3043B8A9D89A}"/>
                    </a:ext>
                  </a:extLst>
                </p:cNvPr>
                <p:cNvSpPr>
                  <a:spLocks/>
                </p:cNvSpPr>
                <p:nvPr/>
              </p:nvSpPr>
              <p:spPr bwMode="gray">
                <a:xfrm>
                  <a:off x="6766167" y="2717516"/>
                  <a:ext cx="12350" cy="6999"/>
                </a:xfrm>
                <a:custGeom>
                  <a:avLst/>
                  <a:gdLst>
                    <a:gd name="T0" fmla="*/ 0 w 30"/>
                    <a:gd name="T1" fmla="*/ 0 h 17"/>
                    <a:gd name="T2" fmla="*/ 30 w 30"/>
                    <a:gd name="T3" fmla="*/ 0 h 17"/>
                    <a:gd name="T4" fmla="*/ 30 w 30"/>
                    <a:gd name="T5" fmla="*/ 12 h 17"/>
                    <a:gd name="T6" fmla="*/ 0 w 30"/>
                    <a:gd name="T7" fmla="*/ 17 h 17"/>
                    <a:gd name="T8" fmla="*/ 0 w 30"/>
                    <a:gd name="T9" fmla="*/ 0 h 17"/>
                    <a:gd name="T10" fmla="*/ 0 w 30"/>
                    <a:gd name="T11" fmla="*/ 0 h 17"/>
                    <a:gd name="T12" fmla="*/ 0 w 30"/>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30" h="17">
                      <a:moveTo>
                        <a:pt x="0" y="0"/>
                      </a:moveTo>
                      <a:lnTo>
                        <a:pt x="30" y="0"/>
                      </a:lnTo>
                      <a:lnTo>
                        <a:pt x="30" y="12"/>
                      </a:lnTo>
                      <a:lnTo>
                        <a:pt x="0" y="17"/>
                      </a:lnTo>
                      <a:lnTo>
                        <a:pt x="0" y="0"/>
                      </a:lnTo>
                      <a:lnTo>
                        <a:pt x="0" y="0"/>
                      </a:lnTo>
                      <a:lnTo>
                        <a:pt x="0"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11" name="Freeform 393">
                  <a:extLst>
                    <a:ext uri="{FF2B5EF4-FFF2-40B4-BE49-F238E27FC236}">
                      <a16:creationId xmlns:a16="http://schemas.microsoft.com/office/drawing/2014/main" id="{DF663454-504B-4518-AB86-A7C70ED69FC3}"/>
                    </a:ext>
                  </a:extLst>
                </p:cNvPr>
                <p:cNvSpPr>
                  <a:spLocks/>
                </p:cNvSpPr>
                <p:nvPr/>
              </p:nvSpPr>
              <p:spPr bwMode="gray">
                <a:xfrm>
                  <a:off x="6799101" y="2384849"/>
                  <a:ext cx="111975" cy="79874"/>
                </a:xfrm>
                <a:custGeom>
                  <a:avLst/>
                  <a:gdLst>
                    <a:gd name="T0" fmla="*/ 255 w 272"/>
                    <a:gd name="T1" fmla="*/ 128 h 194"/>
                    <a:gd name="T2" fmla="*/ 239 w 272"/>
                    <a:gd name="T3" fmla="*/ 128 h 194"/>
                    <a:gd name="T4" fmla="*/ 222 w 272"/>
                    <a:gd name="T5" fmla="*/ 145 h 194"/>
                    <a:gd name="T6" fmla="*/ 222 w 272"/>
                    <a:gd name="T7" fmla="*/ 161 h 194"/>
                    <a:gd name="T8" fmla="*/ 239 w 272"/>
                    <a:gd name="T9" fmla="*/ 178 h 194"/>
                    <a:gd name="T10" fmla="*/ 227 w 272"/>
                    <a:gd name="T11" fmla="*/ 185 h 194"/>
                    <a:gd name="T12" fmla="*/ 206 w 272"/>
                    <a:gd name="T13" fmla="*/ 194 h 194"/>
                    <a:gd name="T14" fmla="*/ 189 w 272"/>
                    <a:gd name="T15" fmla="*/ 178 h 194"/>
                    <a:gd name="T16" fmla="*/ 163 w 272"/>
                    <a:gd name="T17" fmla="*/ 161 h 194"/>
                    <a:gd name="T18" fmla="*/ 163 w 272"/>
                    <a:gd name="T19" fmla="*/ 145 h 194"/>
                    <a:gd name="T20" fmla="*/ 163 w 272"/>
                    <a:gd name="T21" fmla="*/ 128 h 194"/>
                    <a:gd name="T22" fmla="*/ 163 w 272"/>
                    <a:gd name="T23" fmla="*/ 128 h 194"/>
                    <a:gd name="T24" fmla="*/ 137 w 272"/>
                    <a:gd name="T25" fmla="*/ 156 h 194"/>
                    <a:gd name="T26" fmla="*/ 113 w 272"/>
                    <a:gd name="T27" fmla="*/ 145 h 194"/>
                    <a:gd name="T28" fmla="*/ 113 w 272"/>
                    <a:gd name="T29" fmla="*/ 123 h 194"/>
                    <a:gd name="T30" fmla="*/ 83 w 272"/>
                    <a:gd name="T31" fmla="*/ 112 h 194"/>
                    <a:gd name="T32" fmla="*/ 76 w 272"/>
                    <a:gd name="T33" fmla="*/ 102 h 194"/>
                    <a:gd name="T34" fmla="*/ 54 w 272"/>
                    <a:gd name="T35" fmla="*/ 102 h 194"/>
                    <a:gd name="T36" fmla="*/ 45 w 272"/>
                    <a:gd name="T37" fmla="*/ 69 h 194"/>
                    <a:gd name="T38" fmla="*/ 21 w 272"/>
                    <a:gd name="T39" fmla="*/ 74 h 194"/>
                    <a:gd name="T40" fmla="*/ 7 w 272"/>
                    <a:gd name="T41" fmla="*/ 69 h 194"/>
                    <a:gd name="T42" fmla="*/ 0 w 272"/>
                    <a:gd name="T43" fmla="*/ 45 h 194"/>
                    <a:gd name="T44" fmla="*/ 59 w 272"/>
                    <a:gd name="T45" fmla="*/ 12 h 194"/>
                    <a:gd name="T46" fmla="*/ 59 w 272"/>
                    <a:gd name="T47" fmla="*/ 29 h 194"/>
                    <a:gd name="T48" fmla="*/ 76 w 272"/>
                    <a:gd name="T49" fmla="*/ 17 h 194"/>
                    <a:gd name="T50" fmla="*/ 92 w 272"/>
                    <a:gd name="T51" fmla="*/ 29 h 194"/>
                    <a:gd name="T52" fmla="*/ 120 w 272"/>
                    <a:gd name="T53" fmla="*/ 17 h 194"/>
                    <a:gd name="T54" fmla="*/ 120 w 272"/>
                    <a:gd name="T55" fmla="*/ 29 h 194"/>
                    <a:gd name="T56" fmla="*/ 120 w 272"/>
                    <a:gd name="T57" fmla="*/ 12 h 194"/>
                    <a:gd name="T58" fmla="*/ 130 w 272"/>
                    <a:gd name="T59" fmla="*/ 17 h 194"/>
                    <a:gd name="T60" fmla="*/ 130 w 272"/>
                    <a:gd name="T61" fmla="*/ 12 h 194"/>
                    <a:gd name="T62" fmla="*/ 137 w 272"/>
                    <a:gd name="T63" fmla="*/ 0 h 194"/>
                    <a:gd name="T64" fmla="*/ 146 w 272"/>
                    <a:gd name="T65" fmla="*/ 12 h 194"/>
                    <a:gd name="T66" fmla="*/ 163 w 272"/>
                    <a:gd name="T67" fmla="*/ 0 h 194"/>
                    <a:gd name="T68" fmla="*/ 168 w 272"/>
                    <a:gd name="T69" fmla="*/ 12 h 194"/>
                    <a:gd name="T70" fmla="*/ 175 w 272"/>
                    <a:gd name="T71" fmla="*/ 0 h 194"/>
                    <a:gd name="T72" fmla="*/ 189 w 272"/>
                    <a:gd name="T73" fmla="*/ 29 h 194"/>
                    <a:gd name="T74" fmla="*/ 206 w 272"/>
                    <a:gd name="T75" fmla="*/ 17 h 194"/>
                    <a:gd name="T76" fmla="*/ 227 w 272"/>
                    <a:gd name="T77" fmla="*/ 34 h 194"/>
                    <a:gd name="T78" fmla="*/ 217 w 272"/>
                    <a:gd name="T79" fmla="*/ 69 h 194"/>
                    <a:gd name="T80" fmla="*/ 222 w 272"/>
                    <a:gd name="T81" fmla="*/ 74 h 194"/>
                    <a:gd name="T82" fmla="*/ 243 w 272"/>
                    <a:gd name="T83" fmla="*/ 74 h 194"/>
                    <a:gd name="T84" fmla="*/ 260 w 272"/>
                    <a:gd name="T85" fmla="*/ 86 h 194"/>
                    <a:gd name="T86" fmla="*/ 272 w 272"/>
                    <a:gd name="T87" fmla="*/ 112 h 194"/>
                    <a:gd name="T88" fmla="*/ 255 w 272"/>
                    <a:gd name="T89" fmla="*/ 123 h 194"/>
                    <a:gd name="T90" fmla="*/ 255 w 272"/>
                    <a:gd name="T91" fmla="*/ 128 h 194"/>
                    <a:gd name="T92" fmla="*/ 255 w 272"/>
                    <a:gd name="T93" fmla="*/ 128 h 194"/>
                    <a:gd name="T94" fmla="*/ 255 w 272"/>
                    <a:gd name="T95" fmla="*/ 12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194">
                      <a:moveTo>
                        <a:pt x="255" y="128"/>
                      </a:moveTo>
                      <a:lnTo>
                        <a:pt x="239" y="128"/>
                      </a:lnTo>
                      <a:lnTo>
                        <a:pt x="222" y="145"/>
                      </a:lnTo>
                      <a:lnTo>
                        <a:pt x="222" y="161"/>
                      </a:lnTo>
                      <a:lnTo>
                        <a:pt x="239" y="178"/>
                      </a:lnTo>
                      <a:lnTo>
                        <a:pt x="227" y="185"/>
                      </a:lnTo>
                      <a:lnTo>
                        <a:pt x="206" y="194"/>
                      </a:lnTo>
                      <a:lnTo>
                        <a:pt x="189" y="178"/>
                      </a:lnTo>
                      <a:lnTo>
                        <a:pt x="163" y="161"/>
                      </a:lnTo>
                      <a:lnTo>
                        <a:pt x="163" y="145"/>
                      </a:lnTo>
                      <a:lnTo>
                        <a:pt x="163" y="128"/>
                      </a:lnTo>
                      <a:lnTo>
                        <a:pt x="163" y="128"/>
                      </a:lnTo>
                      <a:lnTo>
                        <a:pt x="137" y="156"/>
                      </a:lnTo>
                      <a:lnTo>
                        <a:pt x="113" y="145"/>
                      </a:lnTo>
                      <a:lnTo>
                        <a:pt x="113" y="123"/>
                      </a:lnTo>
                      <a:lnTo>
                        <a:pt x="83" y="112"/>
                      </a:lnTo>
                      <a:lnTo>
                        <a:pt x="76" y="102"/>
                      </a:lnTo>
                      <a:lnTo>
                        <a:pt x="54" y="102"/>
                      </a:lnTo>
                      <a:lnTo>
                        <a:pt x="45" y="69"/>
                      </a:lnTo>
                      <a:lnTo>
                        <a:pt x="21" y="74"/>
                      </a:lnTo>
                      <a:lnTo>
                        <a:pt x="7" y="69"/>
                      </a:lnTo>
                      <a:lnTo>
                        <a:pt x="0" y="45"/>
                      </a:lnTo>
                      <a:lnTo>
                        <a:pt x="59" y="12"/>
                      </a:lnTo>
                      <a:lnTo>
                        <a:pt x="59" y="29"/>
                      </a:lnTo>
                      <a:lnTo>
                        <a:pt x="76" y="17"/>
                      </a:lnTo>
                      <a:lnTo>
                        <a:pt x="92" y="29"/>
                      </a:lnTo>
                      <a:lnTo>
                        <a:pt x="120" y="17"/>
                      </a:lnTo>
                      <a:lnTo>
                        <a:pt x="120" y="29"/>
                      </a:lnTo>
                      <a:lnTo>
                        <a:pt x="120" y="12"/>
                      </a:lnTo>
                      <a:lnTo>
                        <a:pt x="130" y="17"/>
                      </a:lnTo>
                      <a:lnTo>
                        <a:pt x="130" y="12"/>
                      </a:lnTo>
                      <a:lnTo>
                        <a:pt x="137" y="0"/>
                      </a:lnTo>
                      <a:lnTo>
                        <a:pt x="146" y="12"/>
                      </a:lnTo>
                      <a:lnTo>
                        <a:pt x="163" y="0"/>
                      </a:lnTo>
                      <a:lnTo>
                        <a:pt x="168" y="12"/>
                      </a:lnTo>
                      <a:lnTo>
                        <a:pt x="175" y="0"/>
                      </a:lnTo>
                      <a:lnTo>
                        <a:pt x="189" y="29"/>
                      </a:lnTo>
                      <a:lnTo>
                        <a:pt x="206" y="17"/>
                      </a:lnTo>
                      <a:lnTo>
                        <a:pt x="227" y="34"/>
                      </a:lnTo>
                      <a:lnTo>
                        <a:pt x="217" y="69"/>
                      </a:lnTo>
                      <a:lnTo>
                        <a:pt x="222" y="74"/>
                      </a:lnTo>
                      <a:lnTo>
                        <a:pt x="243" y="74"/>
                      </a:lnTo>
                      <a:lnTo>
                        <a:pt x="260" y="86"/>
                      </a:lnTo>
                      <a:lnTo>
                        <a:pt x="272" y="112"/>
                      </a:lnTo>
                      <a:lnTo>
                        <a:pt x="255" y="123"/>
                      </a:lnTo>
                      <a:lnTo>
                        <a:pt x="255" y="128"/>
                      </a:lnTo>
                      <a:lnTo>
                        <a:pt x="255" y="128"/>
                      </a:lnTo>
                      <a:lnTo>
                        <a:pt x="255" y="12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12" name="Freeform 397">
                  <a:extLst>
                    <a:ext uri="{FF2B5EF4-FFF2-40B4-BE49-F238E27FC236}">
                      <a16:creationId xmlns:a16="http://schemas.microsoft.com/office/drawing/2014/main" id="{E871A550-0B78-4AC9-A1BF-BF832631325F}"/>
                    </a:ext>
                  </a:extLst>
                </p:cNvPr>
                <p:cNvSpPr>
                  <a:spLocks/>
                </p:cNvSpPr>
                <p:nvPr/>
              </p:nvSpPr>
              <p:spPr bwMode="gray">
                <a:xfrm>
                  <a:off x="7179484" y="2626114"/>
                  <a:ext cx="110739" cy="96341"/>
                </a:xfrm>
                <a:custGeom>
                  <a:avLst/>
                  <a:gdLst>
                    <a:gd name="T0" fmla="*/ 130 w 269"/>
                    <a:gd name="T1" fmla="*/ 192 h 234"/>
                    <a:gd name="T2" fmla="*/ 139 w 269"/>
                    <a:gd name="T3" fmla="*/ 192 h 234"/>
                    <a:gd name="T4" fmla="*/ 130 w 269"/>
                    <a:gd name="T5" fmla="*/ 187 h 234"/>
                    <a:gd name="T6" fmla="*/ 108 w 269"/>
                    <a:gd name="T7" fmla="*/ 170 h 234"/>
                    <a:gd name="T8" fmla="*/ 108 w 269"/>
                    <a:gd name="T9" fmla="*/ 154 h 234"/>
                    <a:gd name="T10" fmla="*/ 87 w 269"/>
                    <a:gd name="T11" fmla="*/ 137 h 234"/>
                    <a:gd name="T12" fmla="*/ 54 w 269"/>
                    <a:gd name="T13" fmla="*/ 109 h 234"/>
                    <a:gd name="T14" fmla="*/ 33 w 269"/>
                    <a:gd name="T15" fmla="*/ 92 h 234"/>
                    <a:gd name="T16" fmla="*/ 33 w 269"/>
                    <a:gd name="T17" fmla="*/ 76 h 234"/>
                    <a:gd name="T18" fmla="*/ 33 w 269"/>
                    <a:gd name="T19" fmla="*/ 59 h 234"/>
                    <a:gd name="T20" fmla="*/ 0 w 269"/>
                    <a:gd name="T21" fmla="*/ 38 h 234"/>
                    <a:gd name="T22" fmla="*/ 4 w 269"/>
                    <a:gd name="T23" fmla="*/ 5 h 234"/>
                    <a:gd name="T24" fmla="*/ 21 w 269"/>
                    <a:gd name="T25" fmla="*/ 0 h 234"/>
                    <a:gd name="T26" fmla="*/ 37 w 269"/>
                    <a:gd name="T27" fmla="*/ 22 h 234"/>
                    <a:gd name="T28" fmla="*/ 54 w 269"/>
                    <a:gd name="T29" fmla="*/ 0 h 234"/>
                    <a:gd name="T30" fmla="*/ 75 w 269"/>
                    <a:gd name="T31" fmla="*/ 0 h 234"/>
                    <a:gd name="T32" fmla="*/ 87 w 269"/>
                    <a:gd name="T33" fmla="*/ 0 h 234"/>
                    <a:gd name="T34" fmla="*/ 101 w 269"/>
                    <a:gd name="T35" fmla="*/ 5 h 234"/>
                    <a:gd name="T36" fmla="*/ 146 w 269"/>
                    <a:gd name="T37" fmla="*/ 17 h 234"/>
                    <a:gd name="T38" fmla="*/ 177 w 269"/>
                    <a:gd name="T39" fmla="*/ 5 h 234"/>
                    <a:gd name="T40" fmla="*/ 200 w 269"/>
                    <a:gd name="T41" fmla="*/ 17 h 234"/>
                    <a:gd name="T42" fmla="*/ 215 w 269"/>
                    <a:gd name="T43" fmla="*/ 22 h 234"/>
                    <a:gd name="T44" fmla="*/ 215 w 269"/>
                    <a:gd name="T45" fmla="*/ 26 h 234"/>
                    <a:gd name="T46" fmla="*/ 231 w 269"/>
                    <a:gd name="T47" fmla="*/ 26 h 234"/>
                    <a:gd name="T48" fmla="*/ 252 w 269"/>
                    <a:gd name="T49" fmla="*/ 26 h 234"/>
                    <a:gd name="T50" fmla="*/ 238 w 269"/>
                    <a:gd name="T51" fmla="*/ 76 h 234"/>
                    <a:gd name="T52" fmla="*/ 269 w 269"/>
                    <a:gd name="T53" fmla="*/ 97 h 234"/>
                    <a:gd name="T54" fmla="*/ 264 w 269"/>
                    <a:gd name="T55" fmla="*/ 109 h 234"/>
                    <a:gd name="T56" fmla="*/ 248 w 269"/>
                    <a:gd name="T57" fmla="*/ 109 h 234"/>
                    <a:gd name="T58" fmla="*/ 264 w 269"/>
                    <a:gd name="T59" fmla="*/ 130 h 234"/>
                    <a:gd name="T60" fmla="*/ 264 w 269"/>
                    <a:gd name="T61" fmla="*/ 147 h 234"/>
                    <a:gd name="T62" fmla="*/ 248 w 269"/>
                    <a:gd name="T63" fmla="*/ 147 h 234"/>
                    <a:gd name="T64" fmla="*/ 222 w 269"/>
                    <a:gd name="T65" fmla="*/ 147 h 234"/>
                    <a:gd name="T66" fmla="*/ 238 w 269"/>
                    <a:gd name="T67" fmla="*/ 163 h 234"/>
                    <a:gd name="T68" fmla="*/ 231 w 269"/>
                    <a:gd name="T69" fmla="*/ 170 h 234"/>
                    <a:gd name="T70" fmla="*/ 222 w 269"/>
                    <a:gd name="T71" fmla="*/ 163 h 234"/>
                    <a:gd name="T72" fmla="*/ 210 w 269"/>
                    <a:gd name="T73" fmla="*/ 170 h 234"/>
                    <a:gd name="T74" fmla="*/ 210 w 269"/>
                    <a:gd name="T75" fmla="*/ 187 h 234"/>
                    <a:gd name="T76" fmla="*/ 193 w 269"/>
                    <a:gd name="T77" fmla="*/ 192 h 234"/>
                    <a:gd name="T78" fmla="*/ 193 w 269"/>
                    <a:gd name="T79" fmla="*/ 208 h 234"/>
                    <a:gd name="T80" fmla="*/ 200 w 269"/>
                    <a:gd name="T81" fmla="*/ 225 h 234"/>
                    <a:gd name="T82" fmla="*/ 193 w 269"/>
                    <a:gd name="T83" fmla="*/ 234 h 234"/>
                    <a:gd name="T84" fmla="*/ 146 w 269"/>
                    <a:gd name="T85" fmla="*/ 203 h 234"/>
                    <a:gd name="T86" fmla="*/ 130 w 269"/>
                    <a:gd name="T87" fmla="*/ 203 h 234"/>
                    <a:gd name="T88" fmla="*/ 130 w 269"/>
                    <a:gd name="T89" fmla="*/ 192 h 234"/>
                    <a:gd name="T90" fmla="*/ 130 w 269"/>
                    <a:gd name="T91" fmla="*/ 192 h 234"/>
                    <a:gd name="T92" fmla="*/ 130 w 269"/>
                    <a:gd name="T93" fmla="*/ 19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9" h="234">
                      <a:moveTo>
                        <a:pt x="130" y="192"/>
                      </a:moveTo>
                      <a:lnTo>
                        <a:pt x="139" y="192"/>
                      </a:lnTo>
                      <a:lnTo>
                        <a:pt x="130" y="187"/>
                      </a:lnTo>
                      <a:lnTo>
                        <a:pt x="108" y="170"/>
                      </a:lnTo>
                      <a:lnTo>
                        <a:pt x="108" y="154"/>
                      </a:lnTo>
                      <a:lnTo>
                        <a:pt x="87" y="137"/>
                      </a:lnTo>
                      <a:lnTo>
                        <a:pt x="54" y="109"/>
                      </a:lnTo>
                      <a:lnTo>
                        <a:pt x="33" y="92"/>
                      </a:lnTo>
                      <a:lnTo>
                        <a:pt x="33" y="76"/>
                      </a:lnTo>
                      <a:lnTo>
                        <a:pt x="33" y="59"/>
                      </a:lnTo>
                      <a:lnTo>
                        <a:pt x="0" y="38"/>
                      </a:lnTo>
                      <a:lnTo>
                        <a:pt x="4" y="5"/>
                      </a:lnTo>
                      <a:lnTo>
                        <a:pt x="21" y="0"/>
                      </a:lnTo>
                      <a:lnTo>
                        <a:pt x="37" y="22"/>
                      </a:lnTo>
                      <a:lnTo>
                        <a:pt x="54" y="0"/>
                      </a:lnTo>
                      <a:lnTo>
                        <a:pt x="75" y="0"/>
                      </a:lnTo>
                      <a:lnTo>
                        <a:pt x="87" y="0"/>
                      </a:lnTo>
                      <a:lnTo>
                        <a:pt x="101" y="5"/>
                      </a:lnTo>
                      <a:lnTo>
                        <a:pt x="146" y="17"/>
                      </a:lnTo>
                      <a:lnTo>
                        <a:pt x="177" y="5"/>
                      </a:lnTo>
                      <a:lnTo>
                        <a:pt x="200" y="17"/>
                      </a:lnTo>
                      <a:lnTo>
                        <a:pt x="215" y="22"/>
                      </a:lnTo>
                      <a:lnTo>
                        <a:pt x="215" y="26"/>
                      </a:lnTo>
                      <a:lnTo>
                        <a:pt x="231" y="26"/>
                      </a:lnTo>
                      <a:lnTo>
                        <a:pt x="252" y="26"/>
                      </a:lnTo>
                      <a:lnTo>
                        <a:pt x="238" y="76"/>
                      </a:lnTo>
                      <a:lnTo>
                        <a:pt x="269" y="97"/>
                      </a:lnTo>
                      <a:lnTo>
                        <a:pt x="264" y="109"/>
                      </a:lnTo>
                      <a:lnTo>
                        <a:pt x="248" y="109"/>
                      </a:lnTo>
                      <a:lnTo>
                        <a:pt x="264" y="130"/>
                      </a:lnTo>
                      <a:lnTo>
                        <a:pt x="264" y="147"/>
                      </a:lnTo>
                      <a:lnTo>
                        <a:pt x="248" y="147"/>
                      </a:lnTo>
                      <a:lnTo>
                        <a:pt x="222" y="147"/>
                      </a:lnTo>
                      <a:lnTo>
                        <a:pt x="238" y="163"/>
                      </a:lnTo>
                      <a:lnTo>
                        <a:pt x="231" y="170"/>
                      </a:lnTo>
                      <a:lnTo>
                        <a:pt x="222" y="163"/>
                      </a:lnTo>
                      <a:lnTo>
                        <a:pt x="210" y="170"/>
                      </a:lnTo>
                      <a:lnTo>
                        <a:pt x="210" y="187"/>
                      </a:lnTo>
                      <a:lnTo>
                        <a:pt x="193" y="192"/>
                      </a:lnTo>
                      <a:lnTo>
                        <a:pt x="193" y="208"/>
                      </a:lnTo>
                      <a:lnTo>
                        <a:pt x="200" y="225"/>
                      </a:lnTo>
                      <a:lnTo>
                        <a:pt x="193" y="234"/>
                      </a:lnTo>
                      <a:lnTo>
                        <a:pt x="146" y="203"/>
                      </a:lnTo>
                      <a:lnTo>
                        <a:pt x="130" y="203"/>
                      </a:lnTo>
                      <a:lnTo>
                        <a:pt x="130" y="192"/>
                      </a:lnTo>
                      <a:lnTo>
                        <a:pt x="130" y="192"/>
                      </a:lnTo>
                      <a:lnTo>
                        <a:pt x="130" y="19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13" name="Freeform 401">
                  <a:extLst>
                    <a:ext uri="{FF2B5EF4-FFF2-40B4-BE49-F238E27FC236}">
                      <a16:creationId xmlns:a16="http://schemas.microsoft.com/office/drawing/2014/main" id="{08ADCDEB-8EBC-4468-8A04-F436334C7A29}"/>
                    </a:ext>
                  </a:extLst>
                </p:cNvPr>
                <p:cNvSpPr>
                  <a:spLocks/>
                </p:cNvSpPr>
                <p:nvPr/>
              </p:nvSpPr>
              <p:spPr bwMode="gray">
                <a:xfrm>
                  <a:off x="7395200" y="2198342"/>
                  <a:ext cx="279112" cy="197212"/>
                </a:xfrm>
                <a:custGeom>
                  <a:avLst/>
                  <a:gdLst>
                    <a:gd name="T0" fmla="*/ 26 w 678"/>
                    <a:gd name="T1" fmla="*/ 442 h 479"/>
                    <a:gd name="T2" fmla="*/ 0 w 678"/>
                    <a:gd name="T3" fmla="*/ 376 h 479"/>
                    <a:gd name="T4" fmla="*/ 52 w 678"/>
                    <a:gd name="T5" fmla="*/ 338 h 479"/>
                    <a:gd name="T6" fmla="*/ 26 w 678"/>
                    <a:gd name="T7" fmla="*/ 220 h 479"/>
                    <a:gd name="T8" fmla="*/ 85 w 678"/>
                    <a:gd name="T9" fmla="*/ 227 h 479"/>
                    <a:gd name="T10" fmla="*/ 118 w 678"/>
                    <a:gd name="T11" fmla="*/ 220 h 479"/>
                    <a:gd name="T12" fmla="*/ 135 w 678"/>
                    <a:gd name="T13" fmla="*/ 203 h 479"/>
                    <a:gd name="T14" fmla="*/ 172 w 678"/>
                    <a:gd name="T15" fmla="*/ 187 h 479"/>
                    <a:gd name="T16" fmla="*/ 177 w 678"/>
                    <a:gd name="T17" fmla="*/ 194 h 479"/>
                    <a:gd name="T18" fmla="*/ 161 w 678"/>
                    <a:gd name="T19" fmla="*/ 177 h 479"/>
                    <a:gd name="T20" fmla="*/ 177 w 678"/>
                    <a:gd name="T21" fmla="*/ 120 h 479"/>
                    <a:gd name="T22" fmla="*/ 215 w 678"/>
                    <a:gd name="T23" fmla="*/ 99 h 479"/>
                    <a:gd name="T24" fmla="*/ 253 w 678"/>
                    <a:gd name="T25" fmla="*/ 83 h 479"/>
                    <a:gd name="T26" fmla="*/ 243 w 678"/>
                    <a:gd name="T27" fmla="*/ 45 h 479"/>
                    <a:gd name="T28" fmla="*/ 265 w 678"/>
                    <a:gd name="T29" fmla="*/ 28 h 479"/>
                    <a:gd name="T30" fmla="*/ 307 w 678"/>
                    <a:gd name="T31" fmla="*/ 21 h 479"/>
                    <a:gd name="T32" fmla="*/ 352 w 678"/>
                    <a:gd name="T33" fmla="*/ 0 h 479"/>
                    <a:gd name="T34" fmla="*/ 378 w 678"/>
                    <a:gd name="T35" fmla="*/ 5 h 479"/>
                    <a:gd name="T36" fmla="*/ 411 w 678"/>
                    <a:gd name="T37" fmla="*/ 12 h 479"/>
                    <a:gd name="T38" fmla="*/ 444 w 678"/>
                    <a:gd name="T39" fmla="*/ 21 h 479"/>
                    <a:gd name="T40" fmla="*/ 444 w 678"/>
                    <a:gd name="T41" fmla="*/ 45 h 479"/>
                    <a:gd name="T42" fmla="*/ 498 w 678"/>
                    <a:gd name="T43" fmla="*/ 28 h 479"/>
                    <a:gd name="T44" fmla="*/ 536 w 678"/>
                    <a:gd name="T45" fmla="*/ 54 h 479"/>
                    <a:gd name="T46" fmla="*/ 541 w 678"/>
                    <a:gd name="T47" fmla="*/ 78 h 479"/>
                    <a:gd name="T48" fmla="*/ 553 w 678"/>
                    <a:gd name="T49" fmla="*/ 111 h 479"/>
                    <a:gd name="T50" fmla="*/ 557 w 678"/>
                    <a:gd name="T51" fmla="*/ 149 h 479"/>
                    <a:gd name="T52" fmla="*/ 569 w 678"/>
                    <a:gd name="T53" fmla="*/ 170 h 479"/>
                    <a:gd name="T54" fmla="*/ 612 w 678"/>
                    <a:gd name="T55" fmla="*/ 203 h 479"/>
                    <a:gd name="T56" fmla="*/ 628 w 678"/>
                    <a:gd name="T57" fmla="*/ 231 h 479"/>
                    <a:gd name="T58" fmla="*/ 661 w 678"/>
                    <a:gd name="T59" fmla="*/ 243 h 479"/>
                    <a:gd name="T60" fmla="*/ 650 w 678"/>
                    <a:gd name="T61" fmla="*/ 260 h 479"/>
                    <a:gd name="T62" fmla="*/ 666 w 678"/>
                    <a:gd name="T63" fmla="*/ 276 h 479"/>
                    <a:gd name="T64" fmla="*/ 579 w 678"/>
                    <a:gd name="T65" fmla="*/ 288 h 479"/>
                    <a:gd name="T66" fmla="*/ 591 w 678"/>
                    <a:gd name="T67" fmla="*/ 331 h 479"/>
                    <a:gd name="T68" fmla="*/ 591 w 678"/>
                    <a:gd name="T69" fmla="*/ 354 h 479"/>
                    <a:gd name="T70" fmla="*/ 607 w 678"/>
                    <a:gd name="T71" fmla="*/ 397 h 479"/>
                    <a:gd name="T72" fmla="*/ 541 w 678"/>
                    <a:gd name="T73" fmla="*/ 409 h 479"/>
                    <a:gd name="T74" fmla="*/ 520 w 678"/>
                    <a:gd name="T75" fmla="*/ 442 h 479"/>
                    <a:gd name="T76" fmla="*/ 520 w 678"/>
                    <a:gd name="T77" fmla="*/ 479 h 479"/>
                    <a:gd name="T78" fmla="*/ 465 w 678"/>
                    <a:gd name="T79" fmla="*/ 463 h 479"/>
                    <a:gd name="T80" fmla="*/ 432 w 678"/>
                    <a:gd name="T81" fmla="*/ 463 h 479"/>
                    <a:gd name="T82" fmla="*/ 395 w 678"/>
                    <a:gd name="T83" fmla="*/ 446 h 479"/>
                    <a:gd name="T84" fmla="*/ 378 w 678"/>
                    <a:gd name="T85" fmla="*/ 446 h 479"/>
                    <a:gd name="T86" fmla="*/ 357 w 678"/>
                    <a:gd name="T87" fmla="*/ 442 h 479"/>
                    <a:gd name="T88" fmla="*/ 324 w 678"/>
                    <a:gd name="T89" fmla="*/ 442 h 479"/>
                    <a:gd name="T90" fmla="*/ 319 w 678"/>
                    <a:gd name="T91" fmla="*/ 453 h 479"/>
                    <a:gd name="T92" fmla="*/ 286 w 678"/>
                    <a:gd name="T93" fmla="*/ 446 h 479"/>
                    <a:gd name="T94" fmla="*/ 177 w 678"/>
                    <a:gd name="T95" fmla="*/ 413 h 479"/>
                    <a:gd name="T96" fmla="*/ 64 w 678"/>
                    <a:gd name="T97" fmla="*/ 446 h 479"/>
                    <a:gd name="T98" fmla="*/ 31 w 678"/>
                    <a:gd name="T99" fmla="*/ 453 h 479"/>
                    <a:gd name="T100" fmla="*/ 31 w 678"/>
                    <a:gd name="T101" fmla="*/ 45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8" h="479">
                      <a:moveTo>
                        <a:pt x="31" y="453"/>
                      </a:moveTo>
                      <a:lnTo>
                        <a:pt x="26" y="442"/>
                      </a:lnTo>
                      <a:lnTo>
                        <a:pt x="31" y="397"/>
                      </a:lnTo>
                      <a:lnTo>
                        <a:pt x="0" y="376"/>
                      </a:lnTo>
                      <a:lnTo>
                        <a:pt x="14" y="359"/>
                      </a:lnTo>
                      <a:lnTo>
                        <a:pt x="52" y="338"/>
                      </a:lnTo>
                      <a:lnTo>
                        <a:pt x="52" y="305"/>
                      </a:lnTo>
                      <a:lnTo>
                        <a:pt x="26" y="220"/>
                      </a:lnTo>
                      <a:lnTo>
                        <a:pt x="69" y="220"/>
                      </a:lnTo>
                      <a:lnTo>
                        <a:pt x="85" y="227"/>
                      </a:lnTo>
                      <a:lnTo>
                        <a:pt x="102" y="210"/>
                      </a:lnTo>
                      <a:lnTo>
                        <a:pt x="118" y="220"/>
                      </a:lnTo>
                      <a:lnTo>
                        <a:pt x="118" y="194"/>
                      </a:lnTo>
                      <a:lnTo>
                        <a:pt x="135" y="203"/>
                      </a:lnTo>
                      <a:lnTo>
                        <a:pt x="161" y="177"/>
                      </a:lnTo>
                      <a:lnTo>
                        <a:pt x="172" y="187"/>
                      </a:lnTo>
                      <a:lnTo>
                        <a:pt x="161" y="194"/>
                      </a:lnTo>
                      <a:lnTo>
                        <a:pt x="177" y="194"/>
                      </a:lnTo>
                      <a:lnTo>
                        <a:pt x="177" y="177"/>
                      </a:lnTo>
                      <a:lnTo>
                        <a:pt x="161" y="177"/>
                      </a:lnTo>
                      <a:lnTo>
                        <a:pt x="177" y="153"/>
                      </a:lnTo>
                      <a:lnTo>
                        <a:pt x="177" y="120"/>
                      </a:lnTo>
                      <a:lnTo>
                        <a:pt x="210" y="116"/>
                      </a:lnTo>
                      <a:lnTo>
                        <a:pt x="215" y="99"/>
                      </a:lnTo>
                      <a:lnTo>
                        <a:pt x="232" y="99"/>
                      </a:lnTo>
                      <a:lnTo>
                        <a:pt x="253" y="83"/>
                      </a:lnTo>
                      <a:lnTo>
                        <a:pt x="232" y="78"/>
                      </a:lnTo>
                      <a:lnTo>
                        <a:pt x="243" y="45"/>
                      </a:lnTo>
                      <a:lnTo>
                        <a:pt x="253" y="45"/>
                      </a:lnTo>
                      <a:lnTo>
                        <a:pt x="265" y="28"/>
                      </a:lnTo>
                      <a:lnTo>
                        <a:pt x="307" y="38"/>
                      </a:lnTo>
                      <a:lnTo>
                        <a:pt x="307" y="21"/>
                      </a:lnTo>
                      <a:lnTo>
                        <a:pt x="335" y="0"/>
                      </a:lnTo>
                      <a:lnTo>
                        <a:pt x="352" y="0"/>
                      </a:lnTo>
                      <a:lnTo>
                        <a:pt x="357" y="5"/>
                      </a:lnTo>
                      <a:lnTo>
                        <a:pt x="378" y="5"/>
                      </a:lnTo>
                      <a:lnTo>
                        <a:pt x="390" y="21"/>
                      </a:lnTo>
                      <a:lnTo>
                        <a:pt x="411" y="12"/>
                      </a:lnTo>
                      <a:lnTo>
                        <a:pt x="432" y="21"/>
                      </a:lnTo>
                      <a:lnTo>
                        <a:pt x="444" y="21"/>
                      </a:lnTo>
                      <a:lnTo>
                        <a:pt x="432" y="38"/>
                      </a:lnTo>
                      <a:lnTo>
                        <a:pt x="444" y="45"/>
                      </a:lnTo>
                      <a:lnTo>
                        <a:pt x="470" y="28"/>
                      </a:lnTo>
                      <a:lnTo>
                        <a:pt x="498" y="28"/>
                      </a:lnTo>
                      <a:lnTo>
                        <a:pt x="515" y="28"/>
                      </a:lnTo>
                      <a:lnTo>
                        <a:pt x="536" y="54"/>
                      </a:lnTo>
                      <a:lnTo>
                        <a:pt x="541" y="54"/>
                      </a:lnTo>
                      <a:lnTo>
                        <a:pt x="541" y="78"/>
                      </a:lnTo>
                      <a:lnTo>
                        <a:pt x="536" y="83"/>
                      </a:lnTo>
                      <a:lnTo>
                        <a:pt x="553" y="111"/>
                      </a:lnTo>
                      <a:lnTo>
                        <a:pt x="536" y="132"/>
                      </a:lnTo>
                      <a:lnTo>
                        <a:pt x="557" y="149"/>
                      </a:lnTo>
                      <a:lnTo>
                        <a:pt x="557" y="165"/>
                      </a:lnTo>
                      <a:lnTo>
                        <a:pt x="569" y="170"/>
                      </a:lnTo>
                      <a:lnTo>
                        <a:pt x="574" y="187"/>
                      </a:lnTo>
                      <a:lnTo>
                        <a:pt x="612" y="203"/>
                      </a:lnTo>
                      <a:lnTo>
                        <a:pt x="607" y="231"/>
                      </a:lnTo>
                      <a:lnTo>
                        <a:pt x="628" y="231"/>
                      </a:lnTo>
                      <a:lnTo>
                        <a:pt x="650" y="243"/>
                      </a:lnTo>
                      <a:lnTo>
                        <a:pt x="661" y="243"/>
                      </a:lnTo>
                      <a:lnTo>
                        <a:pt x="650" y="248"/>
                      </a:lnTo>
                      <a:lnTo>
                        <a:pt x="650" y="260"/>
                      </a:lnTo>
                      <a:lnTo>
                        <a:pt x="678" y="265"/>
                      </a:lnTo>
                      <a:lnTo>
                        <a:pt x="666" y="276"/>
                      </a:lnTo>
                      <a:lnTo>
                        <a:pt x="633" y="298"/>
                      </a:lnTo>
                      <a:lnTo>
                        <a:pt x="579" y="288"/>
                      </a:lnTo>
                      <a:lnTo>
                        <a:pt x="569" y="305"/>
                      </a:lnTo>
                      <a:lnTo>
                        <a:pt x="591" y="331"/>
                      </a:lnTo>
                      <a:lnTo>
                        <a:pt x="579" y="338"/>
                      </a:lnTo>
                      <a:lnTo>
                        <a:pt x="591" y="354"/>
                      </a:lnTo>
                      <a:lnTo>
                        <a:pt x="591" y="376"/>
                      </a:lnTo>
                      <a:lnTo>
                        <a:pt x="607" y="397"/>
                      </a:lnTo>
                      <a:lnTo>
                        <a:pt x="541" y="397"/>
                      </a:lnTo>
                      <a:lnTo>
                        <a:pt x="541" y="409"/>
                      </a:lnTo>
                      <a:lnTo>
                        <a:pt x="524" y="425"/>
                      </a:lnTo>
                      <a:lnTo>
                        <a:pt x="520" y="442"/>
                      </a:lnTo>
                      <a:lnTo>
                        <a:pt x="524" y="470"/>
                      </a:lnTo>
                      <a:lnTo>
                        <a:pt x="520" y="479"/>
                      </a:lnTo>
                      <a:lnTo>
                        <a:pt x="487" y="453"/>
                      </a:lnTo>
                      <a:lnTo>
                        <a:pt x="465" y="463"/>
                      </a:lnTo>
                      <a:lnTo>
                        <a:pt x="461" y="453"/>
                      </a:lnTo>
                      <a:lnTo>
                        <a:pt x="432" y="463"/>
                      </a:lnTo>
                      <a:lnTo>
                        <a:pt x="416" y="442"/>
                      </a:lnTo>
                      <a:lnTo>
                        <a:pt x="395" y="446"/>
                      </a:lnTo>
                      <a:lnTo>
                        <a:pt x="390" y="463"/>
                      </a:lnTo>
                      <a:lnTo>
                        <a:pt x="378" y="446"/>
                      </a:lnTo>
                      <a:lnTo>
                        <a:pt x="357" y="446"/>
                      </a:lnTo>
                      <a:lnTo>
                        <a:pt x="357" y="442"/>
                      </a:lnTo>
                      <a:lnTo>
                        <a:pt x="340" y="446"/>
                      </a:lnTo>
                      <a:lnTo>
                        <a:pt x="324" y="442"/>
                      </a:lnTo>
                      <a:lnTo>
                        <a:pt x="319" y="453"/>
                      </a:lnTo>
                      <a:lnTo>
                        <a:pt x="319" y="453"/>
                      </a:lnTo>
                      <a:lnTo>
                        <a:pt x="319" y="446"/>
                      </a:lnTo>
                      <a:lnTo>
                        <a:pt x="286" y="446"/>
                      </a:lnTo>
                      <a:lnTo>
                        <a:pt x="281" y="430"/>
                      </a:lnTo>
                      <a:lnTo>
                        <a:pt x="177" y="413"/>
                      </a:lnTo>
                      <a:lnTo>
                        <a:pt x="85" y="413"/>
                      </a:lnTo>
                      <a:lnTo>
                        <a:pt x="64" y="446"/>
                      </a:lnTo>
                      <a:lnTo>
                        <a:pt x="31" y="442"/>
                      </a:lnTo>
                      <a:lnTo>
                        <a:pt x="31" y="453"/>
                      </a:lnTo>
                      <a:lnTo>
                        <a:pt x="31" y="453"/>
                      </a:lnTo>
                      <a:lnTo>
                        <a:pt x="31" y="45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14" name="Freeform 405">
                  <a:extLst>
                    <a:ext uri="{FF2B5EF4-FFF2-40B4-BE49-F238E27FC236}">
                      <a16:creationId xmlns:a16="http://schemas.microsoft.com/office/drawing/2014/main" id="{B77D0622-B9B2-40C0-BA1F-FE8D1EDA46E8}"/>
                    </a:ext>
                  </a:extLst>
                </p:cNvPr>
                <p:cNvSpPr>
                  <a:spLocks/>
                </p:cNvSpPr>
                <p:nvPr/>
              </p:nvSpPr>
              <p:spPr bwMode="gray">
                <a:xfrm>
                  <a:off x="7371735" y="2659464"/>
                  <a:ext cx="179900" cy="109928"/>
                </a:xfrm>
                <a:custGeom>
                  <a:avLst/>
                  <a:gdLst>
                    <a:gd name="T0" fmla="*/ 400 w 437"/>
                    <a:gd name="T1" fmla="*/ 200 h 267"/>
                    <a:gd name="T2" fmla="*/ 366 w 437"/>
                    <a:gd name="T3" fmla="*/ 210 h 267"/>
                    <a:gd name="T4" fmla="*/ 345 w 437"/>
                    <a:gd name="T5" fmla="*/ 193 h 267"/>
                    <a:gd name="T6" fmla="*/ 329 w 437"/>
                    <a:gd name="T7" fmla="*/ 193 h 267"/>
                    <a:gd name="T8" fmla="*/ 324 w 437"/>
                    <a:gd name="T9" fmla="*/ 200 h 267"/>
                    <a:gd name="T10" fmla="*/ 303 w 437"/>
                    <a:gd name="T11" fmla="*/ 200 h 267"/>
                    <a:gd name="T12" fmla="*/ 291 w 437"/>
                    <a:gd name="T13" fmla="*/ 217 h 267"/>
                    <a:gd name="T14" fmla="*/ 286 w 437"/>
                    <a:gd name="T15" fmla="*/ 217 h 267"/>
                    <a:gd name="T16" fmla="*/ 286 w 437"/>
                    <a:gd name="T17" fmla="*/ 226 h 267"/>
                    <a:gd name="T18" fmla="*/ 260 w 437"/>
                    <a:gd name="T19" fmla="*/ 226 h 267"/>
                    <a:gd name="T20" fmla="*/ 270 w 437"/>
                    <a:gd name="T21" fmla="*/ 238 h 267"/>
                    <a:gd name="T22" fmla="*/ 270 w 437"/>
                    <a:gd name="T23" fmla="*/ 255 h 267"/>
                    <a:gd name="T24" fmla="*/ 206 w 437"/>
                    <a:gd name="T25" fmla="*/ 267 h 267"/>
                    <a:gd name="T26" fmla="*/ 140 w 437"/>
                    <a:gd name="T27" fmla="*/ 238 h 267"/>
                    <a:gd name="T28" fmla="*/ 92 w 437"/>
                    <a:gd name="T29" fmla="*/ 255 h 267"/>
                    <a:gd name="T30" fmla="*/ 43 w 437"/>
                    <a:gd name="T31" fmla="*/ 255 h 267"/>
                    <a:gd name="T32" fmla="*/ 43 w 437"/>
                    <a:gd name="T33" fmla="*/ 217 h 267"/>
                    <a:gd name="T34" fmla="*/ 38 w 437"/>
                    <a:gd name="T35" fmla="*/ 200 h 267"/>
                    <a:gd name="T36" fmla="*/ 17 w 437"/>
                    <a:gd name="T37" fmla="*/ 184 h 267"/>
                    <a:gd name="T38" fmla="*/ 0 w 437"/>
                    <a:gd name="T39" fmla="*/ 165 h 267"/>
                    <a:gd name="T40" fmla="*/ 17 w 437"/>
                    <a:gd name="T41" fmla="*/ 160 h 267"/>
                    <a:gd name="T42" fmla="*/ 5 w 437"/>
                    <a:gd name="T43" fmla="*/ 144 h 267"/>
                    <a:gd name="T44" fmla="*/ 5 w 437"/>
                    <a:gd name="T45" fmla="*/ 127 h 267"/>
                    <a:gd name="T46" fmla="*/ 33 w 437"/>
                    <a:gd name="T47" fmla="*/ 122 h 267"/>
                    <a:gd name="T48" fmla="*/ 43 w 437"/>
                    <a:gd name="T49" fmla="*/ 99 h 267"/>
                    <a:gd name="T50" fmla="*/ 17 w 437"/>
                    <a:gd name="T51" fmla="*/ 73 h 267"/>
                    <a:gd name="T52" fmla="*/ 0 w 437"/>
                    <a:gd name="T53" fmla="*/ 44 h 267"/>
                    <a:gd name="T54" fmla="*/ 5 w 437"/>
                    <a:gd name="T55" fmla="*/ 28 h 267"/>
                    <a:gd name="T56" fmla="*/ 22 w 437"/>
                    <a:gd name="T57" fmla="*/ 0 h 267"/>
                    <a:gd name="T58" fmla="*/ 43 w 437"/>
                    <a:gd name="T59" fmla="*/ 16 h 267"/>
                    <a:gd name="T60" fmla="*/ 38 w 437"/>
                    <a:gd name="T61" fmla="*/ 28 h 267"/>
                    <a:gd name="T62" fmla="*/ 38 w 437"/>
                    <a:gd name="T63" fmla="*/ 44 h 267"/>
                    <a:gd name="T64" fmla="*/ 76 w 437"/>
                    <a:gd name="T65" fmla="*/ 33 h 267"/>
                    <a:gd name="T66" fmla="*/ 130 w 437"/>
                    <a:gd name="T67" fmla="*/ 49 h 267"/>
                    <a:gd name="T68" fmla="*/ 152 w 437"/>
                    <a:gd name="T69" fmla="*/ 44 h 267"/>
                    <a:gd name="T70" fmla="*/ 215 w 437"/>
                    <a:gd name="T71" fmla="*/ 56 h 267"/>
                    <a:gd name="T72" fmla="*/ 239 w 437"/>
                    <a:gd name="T73" fmla="*/ 49 h 267"/>
                    <a:gd name="T74" fmla="*/ 270 w 437"/>
                    <a:gd name="T75" fmla="*/ 28 h 267"/>
                    <a:gd name="T76" fmla="*/ 329 w 437"/>
                    <a:gd name="T77" fmla="*/ 11 h 267"/>
                    <a:gd name="T78" fmla="*/ 345 w 437"/>
                    <a:gd name="T79" fmla="*/ 11 h 267"/>
                    <a:gd name="T80" fmla="*/ 357 w 437"/>
                    <a:gd name="T81" fmla="*/ 28 h 267"/>
                    <a:gd name="T82" fmla="*/ 366 w 437"/>
                    <a:gd name="T83" fmla="*/ 16 h 267"/>
                    <a:gd name="T84" fmla="*/ 378 w 437"/>
                    <a:gd name="T85" fmla="*/ 28 h 267"/>
                    <a:gd name="T86" fmla="*/ 395 w 437"/>
                    <a:gd name="T87" fmla="*/ 28 h 267"/>
                    <a:gd name="T88" fmla="*/ 400 w 437"/>
                    <a:gd name="T89" fmla="*/ 44 h 267"/>
                    <a:gd name="T90" fmla="*/ 437 w 437"/>
                    <a:gd name="T91" fmla="*/ 49 h 267"/>
                    <a:gd name="T92" fmla="*/ 437 w 437"/>
                    <a:gd name="T93" fmla="*/ 73 h 267"/>
                    <a:gd name="T94" fmla="*/ 411 w 437"/>
                    <a:gd name="T95" fmla="*/ 73 h 267"/>
                    <a:gd name="T96" fmla="*/ 395 w 437"/>
                    <a:gd name="T97" fmla="*/ 99 h 267"/>
                    <a:gd name="T98" fmla="*/ 395 w 437"/>
                    <a:gd name="T99" fmla="*/ 139 h 267"/>
                    <a:gd name="T100" fmla="*/ 378 w 437"/>
                    <a:gd name="T101" fmla="*/ 139 h 267"/>
                    <a:gd name="T102" fmla="*/ 362 w 437"/>
                    <a:gd name="T103" fmla="*/ 160 h 267"/>
                    <a:gd name="T104" fmla="*/ 378 w 437"/>
                    <a:gd name="T105" fmla="*/ 160 h 267"/>
                    <a:gd name="T106" fmla="*/ 400 w 437"/>
                    <a:gd name="T107" fmla="*/ 200 h 267"/>
                    <a:gd name="T108" fmla="*/ 400 w 437"/>
                    <a:gd name="T109" fmla="*/ 200 h 267"/>
                    <a:gd name="T110" fmla="*/ 400 w 437"/>
                    <a:gd name="T111" fmla="*/ 20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7" h="267">
                      <a:moveTo>
                        <a:pt x="400" y="200"/>
                      </a:moveTo>
                      <a:lnTo>
                        <a:pt x="366" y="210"/>
                      </a:lnTo>
                      <a:lnTo>
                        <a:pt x="345" y="193"/>
                      </a:lnTo>
                      <a:lnTo>
                        <a:pt x="329" y="193"/>
                      </a:lnTo>
                      <a:lnTo>
                        <a:pt x="324" y="200"/>
                      </a:lnTo>
                      <a:lnTo>
                        <a:pt x="303" y="200"/>
                      </a:lnTo>
                      <a:lnTo>
                        <a:pt x="291" y="217"/>
                      </a:lnTo>
                      <a:lnTo>
                        <a:pt x="286" y="217"/>
                      </a:lnTo>
                      <a:lnTo>
                        <a:pt x="286" y="226"/>
                      </a:lnTo>
                      <a:lnTo>
                        <a:pt x="260" y="226"/>
                      </a:lnTo>
                      <a:lnTo>
                        <a:pt x="270" y="238"/>
                      </a:lnTo>
                      <a:lnTo>
                        <a:pt x="270" y="255"/>
                      </a:lnTo>
                      <a:lnTo>
                        <a:pt x="206" y="267"/>
                      </a:lnTo>
                      <a:lnTo>
                        <a:pt x="140" y="238"/>
                      </a:lnTo>
                      <a:lnTo>
                        <a:pt x="92" y="255"/>
                      </a:lnTo>
                      <a:lnTo>
                        <a:pt x="43" y="255"/>
                      </a:lnTo>
                      <a:lnTo>
                        <a:pt x="43" y="217"/>
                      </a:lnTo>
                      <a:lnTo>
                        <a:pt x="38" y="200"/>
                      </a:lnTo>
                      <a:lnTo>
                        <a:pt x="17" y="184"/>
                      </a:lnTo>
                      <a:lnTo>
                        <a:pt x="0" y="165"/>
                      </a:lnTo>
                      <a:lnTo>
                        <a:pt x="17" y="160"/>
                      </a:lnTo>
                      <a:lnTo>
                        <a:pt x="5" y="144"/>
                      </a:lnTo>
                      <a:lnTo>
                        <a:pt x="5" y="127"/>
                      </a:lnTo>
                      <a:lnTo>
                        <a:pt x="33" y="122"/>
                      </a:lnTo>
                      <a:lnTo>
                        <a:pt x="43" y="99"/>
                      </a:lnTo>
                      <a:lnTo>
                        <a:pt x="17" y="73"/>
                      </a:lnTo>
                      <a:lnTo>
                        <a:pt x="0" y="44"/>
                      </a:lnTo>
                      <a:lnTo>
                        <a:pt x="5" y="28"/>
                      </a:lnTo>
                      <a:lnTo>
                        <a:pt x="22" y="0"/>
                      </a:lnTo>
                      <a:lnTo>
                        <a:pt x="43" y="16"/>
                      </a:lnTo>
                      <a:lnTo>
                        <a:pt x="38" y="28"/>
                      </a:lnTo>
                      <a:lnTo>
                        <a:pt x="38" y="44"/>
                      </a:lnTo>
                      <a:lnTo>
                        <a:pt x="76" y="33"/>
                      </a:lnTo>
                      <a:lnTo>
                        <a:pt x="130" y="49"/>
                      </a:lnTo>
                      <a:lnTo>
                        <a:pt x="152" y="44"/>
                      </a:lnTo>
                      <a:lnTo>
                        <a:pt x="215" y="56"/>
                      </a:lnTo>
                      <a:lnTo>
                        <a:pt x="239" y="49"/>
                      </a:lnTo>
                      <a:lnTo>
                        <a:pt x="270" y="28"/>
                      </a:lnTo>
                      <a:lnTo>
                        <a:pt x="329" y="11"/>
                      </a:lnTo>
                      <a:lnTo>
                        <a:pt x="345" y="11"/>
                      </a:lnTo>
                      <a:lnTo>
                        <a:pt x="357" y="28"/>
                      </a:lnTo>
                      <a:lnTo>
                        <a:pt x="366" y="16"/>
                      </a:lnTo>
                      <a:lnTo>
                        <a:pt x="378" y="28"/>
                      </a:lnTo>
                      <a:lnTo>
                        <a:pt x="395" y="28"/>
                      </a:lnTo>
                      <a:lnTo>
                        <a:pt x="400" y="44"/>
                      </a:lnTo>
                      <a:lnTo>
                        <a:pt x="437" y="49"/>
                      </a:lnTo>
                      <a:lnTo>
                        <a:pt x="437" y="73"/>
                      </a:lnTo>
                      <a:lnTo>
                        <a:pt x="411" y="73"/>
                      </a:lnTo>
                      <a:lnTo>
                        <a:pt x="395" y="99"/>
                      </a:lnTo>
                      <a:lnTo>
                        <a:pt x="395" y="139"/>
                      </a:lnTo>
                      <a:lnTo>
                        <a:pt x="378" y="139"/>
                      </a:lnTo>
                      <a:lnTo>
                        <a:pt x="362" y="160"/>
                      </a:lnTo>
                      <a:lnTo>
                        <a:pt x="378" y="160"/>
                      </a:lnTo>
                      <a:lnTo>
                        <a:pt x="400" y="200"/>
                      </a:lnTo>
                      <a:lnTo>
                        <a:pt x="400" y="200"/>
                      </a:lnTo>
                      <a:lnTo>
                        <a:pt x="400" y="20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15" name="Freeform 425">
                  <a:extLst>
                    <a:ext uri="{FF2B5EF4-FFF2-40B4-BE49-F238E27FC236}">
                      <a16:creationId xmlns:a16="http://schemas.microsoft.com/office/drawing/2014/main" id="{97A0C2FF-0EBC-4B71-924B-0AE4BDDD57A7}"/>
                    </a:ext>
                  </a:extLst>
                </p:cNvPr>
                <p:cNvSpPr>
                  <a:spLocks noEditPoints="1"/>
                </p:cNvSpPr>
                <p:nvPr/>
              </p:nvSpPr>
              <p:spPr bwMode="gray">
                <a:xfrm>
                  <a:off x="6960476" y="2129173"/>
                  <a:ext cx="204188" cy="132161"/>
                </a:xfrm>
                <a:custGeom>
                  <a:avLst/>
                  <a:gdLst>
                    <a:gd name="T0" fmla="*/ 10 w 496"/>
                    <a:gd name="T1" fmla="*/ 111 h 321"/>
                    <a:gd name="T2" fmla="*/ 123 w 496"/>
                    <a:gd name="T3" fmla="*/ 12 h 321"/>
                    <a:gd name="T4" fmla="*/ 156 w 496"/>
                    <a:gd name="T5" fmla="*/ 78 h 321"/>
                    <a:gd name="T6" fmla="*/ 43 w 496"/>
                    <a:gd name="T7" fmla="*/ 83 h 321"/>
                    <a:gd name="T8" fmla="*/ 206 w 496"/>
                    <a:gd name="T9" fmla="*/ 57 h 321"/>
                    <a:gd name="T10" fmla="*/ 206 w 496"/>
                    <a:gd name="T11" fmla="*/ 57 h 321"/>
                    <a:gd name="T12" fmla="*/ 43 w 496"/>
                    <a:gd name="T13" fmla="*/ 267 h 321"/>
                    <a:gd name="T14" fmla="*/ 43 w 496"/>
                    <a:gd name="T15" fmla="*/ 267 h 321"/>
                    <a:gd name="T16" fmla="*/ 0 w 496"/>
                    <a:gd name="T17" fmla="*/ 177 h 321"/>
                    <a:gd name="T18" fmla="*/ 0 w 496"/>
                    <a:gd name="T19" fmla="*/ 173 h 321"/>
                    <a:gd name="T20" fmla="*/ 47 w 496"/>
                    <a:gd name="T21" fmla="*/ 123 h 321"/>
                    <a:gd name="T22" fmla="*/ 64 w 496"/>
                    <a:gd name="T23" fmla="*/ 123 h 321"/>
                    <a:gd name="T24" fmla="*/ 85 w 496"/>
                    <a:gd name="T25" fmla="*/ 111 h 321"/>
                    <a:gd name="T26" fmla="*/ 135 w 496"/>
                    <a:gd name="T27" fmla="*/ 66 h 321"/>
                    <a:gd name="T28" fmla="*/ 156 w 496"/>
                    <a:gd name="T29" fmla="*/ 111 h 321"/>
                    <a:gd name="T30" fmla="*/ 206 w 496"/>
                    <a:gd name="T31" fmla="*/ 133 h 321"/>
                    <a:gd name="T32" fmla="*/ 156 w 496"/>
                    <a:gd name="T33" fmla="*/ 156 h 321"/>
                    <a:gd name="T34" fmla="*/ 151 w 496"/>
                    <a:gd name="T35" fmla="*/ 177 h 321"/>
                    <a:gd name="T36" fmla="*/ 135 w 496"/>
                    <a:gd name="T37" fmla="*/ 210 h 321"/>
                    <a:gd name="T38" fmla="*/ 106 w 496"/>
                    <a:gd name="T39" fmla="*/ 260 h 321"/>
                    <a:gd name="T40" fmla="*/ 102 w 496"/>
                    <a:gd name="T41" fmla="*/ 288 h 321"/>
                    <a:gd name="T42" fmla="*/ 43 w 496"/>
                    <a:gd name="T43" fmla="*/ 111 h 321"/>
                    <a:gd name="T44" fmla="*/ 47 w 496"/>
                    <a:gd name="T45" fmla="*/ 99 h 321"/>
                    <a:gd name="T46" fmla="*/ 243 w 496"/>
                    <a:gd name="T47" fmla="*/ 111 h 321"/>
                    <a:gd name="T48" fmla="*/ 243 w 496"/>
                    <a:gd name="T49" fmla="*/ 111 h 321"/>
                    <a:gd name="T50" fmla="*/ 210 w 496"/>
                    <a:gd name="T51" fmla="*/ 210 h 321"/>
                    <a:gd name="T52" fmla="*/ 215 w 496"/>
                    <a:gd name="T53" fmla="*/ 177 h 321"/>
                    <a:gd name="T54" fmla="*/ 265 w 496"/>
                    <a:gd name="T55" fmla="*/ 189 h 321"/>
                    <a:gd name="T56" fmla="*/ 269 w 496"/>
                    <a:gd name="T57" fmla="*/ 189 h 321"/>
                    <a:gd name="T58" fmla="*/ 312 w 496"/>
                    <a:gd name="T59" fmla="*/ 189 h 321"/>
                    <a:gd name="T60" fmla="*/ 269 w 496"/>
                    <a:gd name="T61" fmla="*/ 267 h 321"/>
                    <a:gd name="T62" fmla="*/ 260 w 496"/>
                    <a:gd name="T63" fmla="*/ 279 h 321"/>
                    <a:gd name="T64" fmla="*/ 243 w 496"/>
                    <a:gd name="T65" fmla="*/ 260 h 321"/>
                    <a:gd name="T66" fmla="*/ 173 w 496"/>
                    <a:gd name="T67" fmla="*/ 206 h 321"/>
                    <a:gd name="T68" fmla="*/ 177 w 496"/>
                    <a:gd name="T69" fmla="*/ 189 h 321"/>
                    <a:gd name="T70" fmla="*/ 319 w 496"/>
                    <a:gd name="T71" fmla="*/ 210 h 321"/>
                    <a:gd name="T72" fmla="*/ 173 w 496"/>
                    <a:gd name="T73" fmla="*/ 279 h 321"/>
                    <a:gd name="T74" fmla="*/ 161 w 496"/>
                    <a:gd name="T75" fmla="*/ 227 h 321"/>
                    <a:gd name="T76" fmla="*/ 177 w 496"/>
                    <a:gd name="T77" fmla="*/ 222 h 321"/>
                    <a:gd name="T78" fmla="*/ 173 w 496"/>
                    <a:gd name="T79" fmla="*/ 279 h 321"/>
                    <a:gd name="T80" fmla="*/ 26 w 496"/>
                    <a:gd name="T81" fmla="*/ 234 h 321"/>
                    <a:gd name="T82" fmla="*/ 487 w 496"/>
                    <a:gd name="T83" fmla="*/ 284 h 321"/>
                    <a:gd name="T84" fmla="*/ 487 w 496"/>
                    <a:gd name="T85" fmla="*/ 284 h 321"/>
                    <a:gd name="T86" fmla="*/ 177 w 496"/>
                    <a:gd name="T87" fmla="*/ 288 h 321"/>
                    <a:gd name="T88" fmla="*/ 177 w 496"/>
                    <a:gd name="T89" fmla="*/ 305 h 321"/>
                    <a:gd name="T90" fmla="*/ 118 w 496"/>
                    <a:gd name="T91" fmla="*/ 288 h 321"/>
                    <a:gd name="T92" fmla="*/ 106 w 496"/>
                    <a:gd name="T93" fmla="*/ 279 h 321"/>
                    <a:gd name="T94" fmla="*/ 173 w 496"/>
                    <a:gd name="T95" fmla="*/ 284 h 321"/>
                    <a:gd name="T96" fmla="*/ 173 w 496"/>
                    <a:gd name="T97" fmla="*/ 284 h 321"/>
                    <a:gd name="T98" fmla="*/ 298 w 496"/>
                    <a:gd name="T99" fmla="*/ 279 h 321"/>
                    <a:gd name="T100" fmla="*/ 286 w 496"/>
                    <a:gd name="T101" fmla="*/ 288 h 321"/>
                    <a:gd name="T102" fmla="*/ 269 w 496"/>
                    <a:gd name="T103" fmla="*/ 321 h 321"/>
                    <a:gd name="T104" fmla="*/ 265 w 496"/>
                    <a:gd name="T105" fmla="*/ 284 h 321"/>
                    <a:gd name="T106" fmla="*/ 243 w 496"/>
                    <a:gd name="T107" fmla="*/ 300 h 321"/>
                    <a:gd name="T108" fmla="*/ 206 w 496"/>
                    <a:gd name="T109" fmla="*/ 30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6" h="321">
                      <a:moveTo>
                        <a:pt x="26" y="111"/>
                      </a:moveTo>
                      <a:lnTo>
                        <a:pt x="31" y="116"/>
                      </a:lnTo>
                      <a:lnTo>
                        <a:pt x="31" y="116"/>
                      </a:lnTo>
                      <a:lnTo>
                        <a:pt x="10" y="111"/>
                      </a:lnTo>
                      <a:lnTo>
                        <a:pt x="10" y="99"/>
                      </a:lnTo>
                      <a:lnTo>
                        <a:pt x="31" y="62"/>
                      </a:lnTo>
                      <a:lnTo>
                        <a:pt x="85" y="62"/>
                      </a:lnTo>
                      <a:lnTo>
                        <a:pt x="123" y="12"/>
                      </a:lnTo>
                      <a:lnTo>
                        <a:pt x="177" y="0"/>
                      </a:lnTo>
                      <a:lnTo>
                        <a:pt x="161" y="12"/>
                      </a:lnTo>
                      <a:lnTo>
                        <a:pt x="173" y="57"/>
                      </a:lnTo>
                      <a:lnTo>
                        <a:pt x="156" y="78"/>
                      </a:lnTo>
                      <a:lnTo>
                        <a:pt x="135" y="66"/>
                      </a:lnTo>
                      <a:lnTo>
                        <a:pt x="80" y="78"/>
                      </a:lnTo>
                      <a:lnTo>
                        <a:pt x="69" y="66"/>
                      </a:lnTo>
                      <a:lnTo>
                        <a:pt x="43" y="83"/>
                      </a:lnTo>
                      <a:lnTo>
                        <a:pt x="26" y="111"/>
                      </a:lnTo>
                      <a:lnTo>
                        <a:pt x="26" y="111"/>
                      </a:lnTo>
                      <a:lnTo>
                        <a:pt x="26" y="111"/>
                      </a:lnTo>
                      <a:close/>
                      <a:moveTo>
                        <a:pt x="206" y="57"/>
                      </a:moveTo>
                      <a:lnTo>
                        <a:pt x="194" y="57"/>
                      </a:lnTo>
                      <a:lnTo>
                        <a:pt x="215" y="45"/>
                      </a:lnTo>
                      <a:lnTo>
                        <a:pt x="206" y="57"/>
                      </a:lnTo>
                      <a:lnTo>
                        <a:pt x="206" y="57"/>
                      </a:lnTo>
                      <a:lnTo>
                        <a:pt x="206" y="57"/>
                      </a:lnTo>
                      <a:close/>
                      <a:moveTo>
                        <a:pt x="97" y="300"/>
                      </a:moveTo>
                      <a:lnTo>
                        <a:pt x="43" y="288"/>
                      </a:lnTo>
                      <a:lnTo>
                        <a:pt x="43" y="267"/>
                      </a:lnTo>
                      <a:lnTo>
                        <a:pt x="26" y="279"/>
                      </a:lnTo>
                      <a:lnTo>
                        <a:pt x="26" y="267"/>
                      </a:lnTo>
                      <a:lnTo>
                        <a:pt x="26" y="260"/>
                      </a:lnTo>
                      <a:lnTo>
                        <a:pt x="43" y="267"/>
                      </a:lnTo>
                      <a:lnTo>
                        <a:pt x="31" y="234"/>
                      </a:lnTo>
                      <a:lnTo>
                        <a:pt x="0" y="227"/>
                      </a:lnTo>
                      <a:lnTo>
                        <a:pt x="0" y="206"/>
                      </a:lnTo>
                      <a:lnTo>
                        <a:pt x="0" y="177"/>
                      </a:lnTo>
                      <a:lnTo>
                        <a:pt x="0" y="194"/>
                      </a:lnTo>
                      <a:lnTo>
                        <a:pt x="14" y="189"/>
                      </a:lnTo>
                      <a:lnTo>
                        <a:pt x="10" y="173"/>
                      </a:lnTo>
                      <a:lnTo>
                        <a:pt x="0" y="173"/>
                      </a:lnTo>
                      <a:lnTo>
                        <a:pt x="0" y="177"/>
                      </a:lnTo>
                      <a:lnTo>
                        <a:pt x="0" y="111"/>
                      </a:lnTo>
                      <a:lnTo>
                        <a:pt x="43" y="133"/>
                      </a:lnTo>
                      <a:lnTo>
                        <a:pt x="47" y="123"/>
                      </a:lnTo>
                      <a:lnTo>
                        <a:pt x="43" y="116"/>
                      </a:lnTo>
                      <a:lnTo>
                        <a:pt x="69" y="99"/>
                      </a:lnTo>
                      <a:lnTo>
                        <a:pt x="69" y="111"/>
                      </a:lnTo>
                      <a:lnTo>
                        <a:pt x="64" y="123"/>
                      </a:lnTo>
                      <a:lnTo>
                        <a:pt x="80" y="116"/>
                      </a:lnTo>
                      <a:lnTo>
                        <a:pt x="85" y="123"/>
                      </a:lnTo>
                      <a:lnTo>
                        <a:pt x="85" y="123"/>
                      </a:lnTo>
                      <a:lnTo>
                        <a:pt x="85" y="111"/>
                      </a:lnTo>
                      <a:lnTo>
                        <a:pt x="69" y="111"/>
                      </a:lnTo>
                      <a:lnTo>
                        <a:pt x="69" y="83"/>
                      </a:lnTo>
                      <a:lnTo>
                        <a:pt x="80" y="78"/>
                      </a:lnTo>
                      <a:lnTo>
                        <a:pt x="135" y="66"/>
                      </a:lnTo>
                      <a:lnTo>
                        <a:pt x="156" y="78"/>
                      </a:lnTo>
                      <a:lnTo>
                        <a:pt x="156" y="99"/>
                      </a:lnTo>
                      <a:lnTo>
                        <a:pt x="123" y="116"/>
                      </a:lnTo>
                      <a:lnTo>
                        <a:pt x="156" y="111"/>
                      </a:lnTo>
                      <a:lnTo>
                        <a:pt x="151" y="133"/>
                      </a:lnTo>
                      <a:lnTo>
                        <a:pt x="156" y="123"/>
                      </a:lnTo>
                      <a:lnTo>
                        <a:pt x="194" y="123"/>
                      </a:lnTo>
                      <a:lnTo>
                        <a:pt x="206" y="133"/>
                      </a:lnTo>
                      <a:lnTo>
                        <a:pt x="189" y="168"/>
                      </a:lnTo>
                      <a:lnTo>
                        <a:pt x="177" y="156"/>
                      </a:lnTo>
                      <a:lnTo>
                        <a:pt x="173" y="173"/>
                      </a:lnTo>
                      <a:lnTo>
                        <a:pt x="156" y="156"/>
                      </a:lnTo>
                      <a:lnTo>
                        <a:pt x="161" y="156"/>
                      </a:lnTo>
                      <a:lnTo>
                        <a:pt x="161" y="149"/>
                      </a:lnTo>
                      <a:lnTo>
                        <a:pt x="151" y="168"/>
                      </a:lnTo>
                      <a:lnTo>
                        <a:pt x="151" y="177"/>
                      </a:lnTo>
                      <a:lnTo>
                        <a:pt x="151" y="194"/>
                      </a:lnTo>
                      <a:lnTo>
                        <a:pt x="123" y="194"/>
                      </a:lnTo>
                      <a:lnTo>
                        <a:pt x="135" y="194"/>
                      </a:lnTo>
                      <a:lnTo>
                        <a:pt x="135" y="210"/>
                      </a:lnTo>
                      <a:lnTo>
                        <a:pt x="102" y="210"/>
                      </a:lnTo>
                      <a:lnTo>
                        <a:pt x="118" y="222"/>
                      </a:lnTo>
                      <a:lnTo>
                        <a:pt x="102" y="234"/>
                      </a:lnTo>
                      <a:lnTo>
                        <a:pt x="106" y="260"/>
                      </a:lnTo>
                      <a:lnTo>
                        <a:pt x="97" y="267"/>
                      </a:lnTo>
                      <a:lnTo>
                        <a:pt x="118" y="288"/>
                      </a:lnTo>
                      <a:lnTo>
                        <a:pt x="106" y="300"/>
                      </a:lnTo>
                      <a:lnTo>
                        <a:pt x="102" y="288"/>
                      </a:lnTo>
                      <a:lnTo>
                        <a:pt x="97" y="300"/>
                      </a:lnTo>
                      <a:lnTo>
                        <a:pt x="97" y="300"/>
                      </a:lnTo>
                      <a:lnTo>
                        <a:pt x="97" y="300"/>
                      </a:lnTo>
                      <a:close/>
                      <a:moveTo>
                        <a:pt x="43" y="111"/>
                      </a:moveTo>
                      <a:lnTo>
                        <a:pt x="26" y="99"/>
                      </a:lnTo>
                      <a:lnTo>
                        <a:pt x="31" y="99"/>
                      </a:lnTo>
                      <a:lnTo>
                        <a:pt x="54" y="83"/>
                      </a:lnTo>
                      <a:lnTo>
                        <a:pt x="47" y="99"/>
                      </a:lnTo>
                      <a:lnTo>
                        <a:pt x="43" y="111"/>
                      </a:lnTo>
                      <a:lnTo>
                        <a:pt x="43" y="111"/>
                      </a:lnTo>
                      <a:lnTo>
                        <a:pt x="43" y="111"/>
                      </a:lnTo>
                      <a:close/>
                      <a:moveTo>
                        <a:pt x="243" y="111"/>
                      </a:moveTo>
                      <a:lnTo>
                        <a:pt x="243" y="111"/>
                      </a:lnTo>
                      <a:lnTo>
                        <a:pt x="248" y="111"/>
                      </a:lnTo>
                      <a:lnTo>
                        <a:pt x="243" y="111"/>
                      </a:lnTo>
                      <a:lnTo>
                        <a:pt x="243" y="111"/>
                      </a:lnTo>
                      <a:lnTo>
                        <a:pt x="243" y="111"/>
                      </a:lnTo>
                      <a:close/>
                      <a:moveTo>
                        <a:pt x="243" y="260"/>
                      </a:moveTo>
                      <a:lnTo>
                        <a:pt x="215" y="260"/>
                      </a:lnTo>
                      <a:lnTo>
                        <a:pt x="210" y="210"/>
                      </a:lnTo>
                      <a:lnTo>
                        <a:pt x="194" y="206"/>
                      </a:lnTo>
                      <a:lnTo>
                        <a:pt x="215" y="210"/>
                      </a:lnTo>
                      <a:lnTo>
                        <a:pt x="243" y="194"/>
                      </a:lnTo>
                      <a:lnTo>
                        <a:pt x="215" y="177"/>
                      </a:lnTo>
                      <a:lnTo>
                        <a:pt x="260" y="177"/>
                      </a:lnTo>
                      <a:lnTo>
                        <a:pt x="248" y="194"/>
                      </a:lnTo>
                      <a:lnTo>
                        <a:pt x="260" y="210"/>
                      </a:lnTo>
                      <a:lnTo>
                        <a:pt x="265" y="189"/>
                      </a:lnTo>
                      <a:lnTo>
                        <a:pt x="281" y="206"/>
                      </a:lnTo>
                      <a:lnTo>
                        <a:pt x="269" y="210"/>
                      </a:lnTo>
                      <a:lnTo>
                        <a:pt x="281" y="210"/>
                      </a:lnTo>
                      <a:lnTo>
                        <a:pt x="269" y="189"/>
                      </a:lnTo>
                      <a:lnTo>
                        <a:pt x="265" y="177"/>
                      </a:lnTo>
                      <a:lnTo>
                        <a:pt x="298" y="168"/>
                      </a:lnTo>
                      <a:lnTo>
                        <a:pt x="319" y="173"/>
                      </a:lnTo>
                      <a:lnTo>
                        <a:pt x="312" y="189"/>
                      </a:lnTo>
                      <a:lnTo>
                        <a:pt x="319" y="210"/>
                      </a:lnTo>
                      <a:lnTo>
                        <a:pt x="286" y="234"/>
                      </a:lnTo>
                      <a:lnTo>
                        <a:pt x="302" y="251"/>
                      </a:lnTo>
                      <a:lnTo>
                        <a:pt x="269" y="267"/>
                      </a:lnTo>
                      <a:lnTo>
                        <a:pt x="286" y="267"/>
                      </a:lnTo>
                      <a:lnTo>
                        <a:pt x="286" y="284"/>
                      </a:lnTo>
                      <a:lnTo>
                        <a:pt x="265" y="284"/>
                      </a:lnTo>
                      <a:lnTo>
                        <a:pt x="260" y="279"/>
                      </a:lnTo>
                      <a:lnTo>
                        <a:pt x="260" y="267"/>
                      </a:lnTo>
                      <a:lnTo>
                        <a:pt x="260" y="260"/>
                      </a:lnTo>
                      <a:lnTo>
                        <a:pt x="243" y="260"/>
                      </a:lnTo>
                      <a:lnTo>
                        <a:pt x="243" y="260"/>
                      </a:lnTo>
                      <a:lnTo>
                        <a:pt x="243" y="260"/>
                      </a:lnTo>
                      <a:close/>
                      <a:moveTo>
                        <a:pt x="177" y="189"/>
                      </a:moveTo>
                      <a:lnTo>
                        <a:pt x="173" y="206"/>
                      </a:lnTo>
                      <a:lnTo>
                        <a:pt x="173" y="206"/>
                      </a:lnTo>
                      <a:lnTo>
                        <a:pt x="173" y="177"/>
                      </a:lnTo>
                      <a:lnTo>
                        <a:pt x="177" y="189"/>
                      </a:lnTo>
                      <a:lnTo>
                        <a:pt x="177" y="189"/>
                      </a:lnTo>
                      <a:lnTo>
                        <a:pt x="177" y="189"/>
                      </a:lnTo>
                      <a:close/>
                      <a:moveTo>
                        <a:pt x="319" y="222"/>
                      </a:moveTo>
                      <a:lnTo>
                        <a:pt x="319" y="222"/>
                      </a:lnTo>
                      <a:lnTo>
                        <a:pt x="312" y="222"/>
                      </a:lnTo>
                      <a:lnTo>
                        <a:pt x="319" y="210"/>
                      </a:lnTo>
                      <a:lnTo>
                        <a:pt x="319" y="222"/>
                      </a:lnTo>
                      <a:lnTo>
                        <a:pt x="319" y="222"/>
                      </a:lnTo>
                      <a:lnTo>
                        <a:pt x="319" y="222"/>
                      </a:lnTo>
                      <a:close/>
                      <a:moveTo>
                        <a:pt x="173" y="279"/>
                      </a:moveTo>
                      <a:lnTo>
                        <a:pt x="139" y="279"/>
                      </a:lnTo>
                      <a:lnTo>
                        <a:pt x="106" y="227"/>
                      </a:lnTo>
                      <a:lnTo>
                        <a:pt x="156" y="222"/>
                      </a:lnTo>
                      <a:lnTo>
                        <a:pt x="161" y="227"/>
                      </a:lnTo>
                      <a:lnTo>
                        <a:pt x="161" y="234"/>
                      </a:lnTo>
                      <a:lnTo>
                        <a:pt x="161" y="234"/>
                      </a:lnTo>
                      <a:lnTo>
                        <a:pt x="173" y="227"/>
                      </a:lnTo>
                      <a:lnTo>
                        <a:pt x="177" y="222"/>
                      </a:lnTo>
                      <a:lnTo>
                        <a:pt x="189" y="251"/>
                      </a:lnTo>
                      <a:lnTo>
                        <a:pt x="189" y="279"/>
                      </a:lnTo>
                      <a:lnTo>
                        <a:pt x="173" y="279"/>
                      </a:lnTo>
                      <a:lnTo>
                        <a:pt x="173" y="279"/>
                      </a:lnTo>
                      <a:lnTo>
                        <a:pt x="173" y="279"/>
                      </a:lnTo>
                      <a:close/>
                      <a:moveTo>
                        <a:pt x="26" y="244"/>
                      </a:moveTo>
                      <a:lnTo>
                        <a:pt x="14" y="234"/>
                      </a:lnTo>
                      <a:lnTo>
                        <a:pt x="26" y="234"/>
                      </a:lnTo>
                      <a:lnTo>
                        <a:pt x="26" y="244"/>
                      </a:lnTo>
                      <a:lnTo>
                        <a:pt x="26" y="244"/>
                      </a:lnTo>
                      <a:lnTo>
                        <a:pt x="26" y="244"/>
                      </a:lnTo>
                      <a:close/>
                      <a:moveTo>
                        <a:pt x="487" y="284"/>
                      </a:moveTo>
                      <a:lnTo>
                        <a:pt x="458" y="267"/>
                      </a:lnTo>
                      <a:lnTo>
                        <a:pt x="465" y="251"/>
                      </a:lnTo>
                      <a:lnTo>
                        <a:pt x="496" y="267"/>
                      </a:lnTo>
                      <a:lnTo>
                        <a:pt x="487" y="284"/>
                      </a:lnTo>
                      <a:lnTo>
                        <a:pt x="487" y="284"/>
                      </a:lnTo>
                      <a:lnTo>
                        <a:pt x="487" y="284"/>
                      </a:lnTo>
                      <a:close/>
                      <a:moveTo>
                        <a:pt x="177" y="305"/>
                      </a:moveTo>
                      <a:lnTo>
                        <a:pt x="177" y="288"/>
                      </a:lnTo>
                      <a:lnTo>
                        <a:pt x="206" y="267"/>
                      </a:lnTo>
                      <a:lnTo>
                        <a:pt x="177" y="305"/>
                      </a:lnTo>
                      <a:lnTo>
                        <a:pt x="177" y="305"/>
                      </a:lnTo>
                      <a:lnTo>
                        <a:pt x="177" y="305"/>
                      </a:lnTo>
                      <a:close/>
                      <a:moveTo>
                        <a:pt x="135" y="284"/>
                      </a:moveTo>
                      <a:lnTo>
                        <a:pt x="139" y="288"/>
                      </a:lnTo>
                      <a:lnTo>
                        <a:pt x="123" y="288"/>
                      </a:lnTo>
                      <a:lnTo>
                        <a:pt x="118" y="288"/>
                      </a:lnTo>
                      <a:lnTo>
                        <a:pt x="118" y="284"/>
                      </a:lnTo>
                      <a:lnTo>
                        <a:pt x="118" y="284"/>
                      </a:lnTo>
                      <a:lnTo>
                        <a:pt x="118" y="279"/>
                      </a:lnTo>
                      <a:lnTo>
                        <a:pt x="106" y="279"/>
                      </a:lnTo>
                      <a:lnTo>
                        <a:pt x="135" y="284"/>
                      </a:lnTo>
                      <a:lnTo>
                        <a:pt x="135" y="284"/>
                      </a:lnTo>
                      <a:lnTo>
                        <a:pt x="135" y="284"/>
                      </a:lnTo>
                      <a:close/>
                      <a:moveTo>
                        <a:pt x="173" y="284"/>
                      </a:moveTo>
                      <a:lnTo>
                        <a:pt x="161" y="284"/>
                      </a:lnTo>
                      <a:lnTo>
                        <a:pt x="177" y="284"/>
                      </a:lnTo>
                      <a:lnTo>
                        <a:pt x="173" y="284"/>
                      </a:lnTo>
                      <a:lnTo>
                        <a:pt x="173" y="284"/>
                      </a:lnTo>
                      <a:lnTo>
                        <a:pt x="173" y="284"/>
                      </a:lnTo>
                      <a:close/>
                      <a:moveTo>
                        <a:pt x="286" y="288"/>
                      </a:moveTo>
                      <a:lnTo>
                        <a:pt x="281" y="284"/>
                      </a:lnTo>
                      <a:lnTo>
                        <a:pt x="298" y="279"/>
                      </a:lnTo>
                      <a:lnTo>
                        <a:pt x="312" y="284"/>
                      </a:lnTo>
                      <a:lnTo>
                        <a:pt x="286" y="288"/>
                      </a:lnTo>
                      <a:lnTo>
                        <a:pt x="286" y="288"/>
                      </a:lnTo>
                      <a:lnTo>
                        <a:pt x="286" y="288"/>
                      </a:lnTo>
                      <a:close/>
                      <a:moveTo>
                        <a:pt x="265" y="284"/>
                      </a:moveTo>
                      <a:lnTo>
                        <a:pt x="286" y="300"/>
                      </a:lnTo>
                      <a:lnTo>
                        <a:pt x="269" y="317"/>
                      </a:lnTo>
                      <a:lnTo>
                        <a:pt x="269" y="321"/>
                      </a:lnTo>
                      <a:lnTo>
                        <a:pt x="248" y="288"/>
                      </a:lnTo>
                      <a:lnTo>
                        <a:pt x="265" y="284"/>
                      </a:lnTo>
                      <a:lnTo>
                        <a:pt x="265" y="284"/>
                      </a:lnTo>
                      <a:lnTo>
                        <a:pt x="265" y="284"/>
                      </a:lnTo>
                      <a:close/>
                      <a:moveTo>
                        <a:pt x="206" y="300"/>
                      </a:moveTo>
                      <a:lnTo>
                        <a:pt x="210" y="288"/>
                      </a:lnTo>
                      <a:lnTo>
                        <a:pt x="215" y="284"/>
                      </a:lnTo>
                      <a:lnTo>
                        <a:pt x="243" y="300"/>
                      </a:lnTo>
                      <a:lnTo>
                        <a:pt x="248" y="288"/>
                      </a:lnTo>
                      <a:lnTo>
                        <a:pt x="265" y="317"/>
                      </a:lnTo>
                      <a:lnTo>
                        <a:pt x="232" y="317"/>
                      </a:lnTo>
                      <a:lnTo>
                        <a:pt x="206" y="300"/>
                      </a:lnTo>
                      <a:lnTo>
                        <a:pt x="206" y="300"/>
                      </a:lnTo>
                      <a:lnTo>
                        <a:pt x="206" y="30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16" name="Freeform 431">
                  <a:extLst>
                    <a:ext uri="{FF2B5EF4-FFF2-40B4-BE49-F238E27FC236}">
                      <a16:creationId xmlns:a16="http://schemas.microsoft.com/office/drawing/2014/main" id="{2574D95A-3B43-49E1-90C3-4DA48FCF5E24}"/>
                    </a:ext>
                  </a:extLst>
                </p:cNvPr>
                <p:cNvSpPr>
                  <a:spLocks noEditPoints="1"/>
                </p:cNvSpPr>
                <p:nvPr/>
              </p:nvSpPr>
              <p:spPr bwMode="gray">
                <a:xfrm>
                  <a:off x="6424894" y="2230456"/>
                  <a:ext cx="125147" cy="158511"/>
                </a:xfrm>
                <a:custGeom>
                  <a:avLst/>
                  <a:gdLst>
                    <a:gd name="T0" fmla="*/ 198 w 304"/>
                    <a:gd name="T1" fmla="*/ 59 h 385"/>
                    <a:gd name="T2" fmla="*/ 193 w 304"/>
                    <a:gd name="T3" fmla="*/ 75 h 385"/>
                    <a:gd name="T4" fmla="*/ 181 w 304"/>
                    <a:gd name="T5" fmla="*/ 116 h 385"/>
                    <a:gd name="T6" fmla="*/ 236 w 304"/>
                    <a:gd name="T7" fmla="*/ 92 h 385"/>
                    <a:gd name="T8" fmla="*/ 288 w 304"/>
                    <a:gd name="T9" fmla="*/ 125 h 385"/>
                    <a:gd name="T10" fmla="*/ 283 w 304"/>
                    <a:gd name="T11" fmla="*/ 132 h 385"/>
                    <a:gd name="T12" fmla="*/ 304 w 304"/>
                    <a:gd name="T13" fmla="*/ 182 h 385"/>
                    <a:gd name="T14" fmla="*/ 304 w 304"/>
                    <a:gd name="T15" fmla="*/ 220 h 385"/>
                    <a:gd name="T16" fmla="*/ 288 w 304"/>
                    <a:gd name="T17" fmla="*/ 264 h 385"/>
                    <a:gd name="T18" fmla="*/ 274 w 304"/>
                    <a:gd name="T19" fmla="*/ 298 h 385"/>
                    <a:gd name="T20" fmla="*/ 283 w 304"/>
                    <a:gd name="T21" fmla="*/ 314 h 385"/>
                    <a:gd name="T22" fmla="*/ 236 w 304"/>
                    <a:gd name="T23" fmla="*/ 298 h 385"/>
                    <a:gd name="T24" fmla="*/ 198 w 304"/>
                    <a:gd name="T25" fmla="*/ 319 h 385"/>
                    <a:gd name="T26" fmla="*/ 181 w 304"/>
                    <a:gd name="T27" fmla="*/ 331 h 385"/>
                    <a:gd name="T28" fmla="*/ 160 w 304"/>
                    <a:gd name="T29" fmla="*/ 347 h 385"/>
                    <a:gd name="T30" fmla="*/ 155 w 304"/>
                    <a:gd name="T31" fmla="*/ 335 h 385"/>
                    <a:gd name="T32" fmla="*/ 144 w 304"/>
                    <a:gd name="T33" fmla="*/ 335 h 385"/>
                    <a:gd name="T34" fmla="*/ 122 w 304"/>
                    <a:gd name="T35" fmla="*/ 368 h 385"/>
                    <a:gd name="T36" fmla="*/ 70 w 304"/>
                    <a:gd name="T37" fmla="*/ 373 h 385"/>
                    <a:gd name="T38" fmla="*/ 59 w 304"/>
                    <a:gd name="T39" fmla="*/ 368 h 385"/>
                    <a:gd name="T40" fmla="*/ 70 w 304"/>
                    <a:gd name="T41" fmla="*/ 364 h 385"/>
                    <a:gd name="T42" fmla="*/ 21 w 304"/>
                    <a:gd name="T43" fmla="*/ 368 h 385"/>
                    <a:gd name="T44" fmla="*/ 21 w 304"/>
                    <a:gd name="T45" fmla="*/ 352 h 385"/>
                    <a:gd name="T46" fmla="*/ 4 w 304"/>
                    <a:gd name="T47" fmla="*/ 352 h 385"/>
                    <a:gd name="T48" fmla="*/ 16 w 304"/>
                    <a:gd name="T49" fmla="*/ 331 h 385"/>
                    <a:gd name="T50" fmla="*/ 0 w 304"/>
                    <a:gd name="T51" fmla="*/ 319 h 385"/>
                    <a:gd name="T52" fmla="*/ 21 w 304"/>
                    <a:gd name="T53" fmla="*/ 298 h 385"/>
                    <a:gd name="T54" fmla="*/ 49 w 304"/>
                    <a:gd name="T55" fmla="*/ 290 h 385"/>
                    <a:gd name="T56" fmla="*/ 113 w 304"/>
                    <a:gd name="T57" fmla="*/ 264 h 385"/>
                    <a:gd name="T58" fmla="*/ 92 w 304"/>
                    <a:gd name="T59" fmla="*/ 264 h 385"/>
                    <a:gd name="T60" fmla="*/ 70 w 304"/>
                    <a:gd name="T61" fmla="*/ 253 h 385"/>
                    <a:gd name="T62" fmla="*/ 70 w 304"/>
                    <a:gd name="T63" fmla="*/ 236 h 385"/>
                    <a:gd name="T64" fmla="*/ 106 w 304"/>
                    <a:gd name="T65" fmla="*/ 220 h 385"/>
                    <a:gd name="T66" fmla="*/ 59 w 304"/>
                    <a:gd name="T67" fmla="*/ 208 h 385"/>
                    <a:gd name="T68" fmla="*/ 49 w 304"/>
                    <a:gd name="T69" fmla="*/ 203 h 385"/>
                    <a:gd name="T70" fmla="*/ 49 w 304"/>
                    <a:gd name="T71" fmla="*/ 187 h 385"/>
                    <a:gd name="T72" fmla="*/ 16 w 304"/>
                    <a:gd name="T73" fmla="*/ 182 h 385"/>
                    <a:gd name="T74" fmla="*/ 37 w 304"/>
                    <a:gd name="T75" fmla="*/ 170 h 385"/>
                    <a:gd name="T76" fmla="*/ 59 w 304"/>
                    <a:gd name="T77" fmla="*/ 153 h 385"/>
                    <a:gd name="T78" fmla="*/ 37 w 304"/>
                    <a:gd name="T79" fmla="*/ 149 h 385"/>
                    <a:gd name="T80" fmla="*/ 49 w 304"/>
                    <a:gd name="T81" fmla="*/ 142 h 385"/>
                    <a:gd name="T82" fmla="*/ 21 w 304"/>
                    <a:gd name="T83" fmla="*/ 125 h 385"/>
                    <a:gd name="T84" fmla="*/ 33 w 304"/>
                    <a:gd name="T85" fmla="*/ 99 h 385"/>
                    <a:gd name="T86" fmla="*/ 49 w 304"/>
                    <a:gd name="T87" fmla="*/ 99 h 385"/>
                    <a:gd name="T88" fmla="*/ 92 w 304"/>
                    <a:gd name="T89" fmla="*/ 116 h 385"/>
                    <a:gd name="T90" fmla="*/ 139 w 304"/>
                    <a:gd name="T91" fmla="*/ 109 h 385"/>
                    <a:gd name="T92" fmla="*/ 155 w 304"/>
                    <a:gd name="T93" fmla="*/ 87 h 385"/>
                    <a:gd name="T94" fmla="*/ 127 w 304"/>
                    <a:gd name="T95" fmla="*/ 75 h 385"/>
                    <a:gd name="T96" fmla="*/ 144 w 304"/>
                    <a:gd name="T97" fmla="*/ 42 h 385"/>
                    <a:gd name="T98" fmla="*/ 144 w 304"/>
                    <a:gd name="T99" fmla="*/ 38 h 385"/>
                    <a:gd name="T100" fmla="*/ 144 w 304"/>
                    <a:gd name="T101" fmla="*/ 21 h 385"/>
                    <a:gd name="T102" fmla="*/ 193 w 304"/>
                    <a:gd name="T103" fmla="*/ 33 h 385"/>
                    <a:gd name="T104" fmla="*/ 181 w 304"/>
                    <a:gd name="T105" fmla="*/ 16 h 385"/>
                    <a:gd name="T106" fmla="*/ 207 w 304"/>
                    <a:gd name="T107" fmla="*/ 21 h 385"/>
                    <a:gd name="T108" fmla="*/ 207 w 304"/>
                    <a:gd name="T109" fmla="*/ 33 h 385"/>
                    <a:gd name="T110" fmla="*/ 215 w 304"/>
                    <a:gd name="T111" fmla="*/ 5 h 385"/>
                    <a:gd name="T112" fmla="*/ 245 w 304"/>
                    <a:gd name="T113" fmla="*/ 16 h 385"/>
                    <a:gd name="T114" fmla="*/ 219 w 304"/>
                    <a:gd name="T115" fmla="*/ 33 h 385"/>
                    <a:gd name="T116" fmla="*/ 21 w 304"/>
                    <a:gd name="T117" fmla="*/ 132 h 385"/>
                    <a:gd name="T118" fmla="*/ 37 w 304"/>
                    <a:gd name="T119" fmla="*/ 149 h 385"/>
                    <a:gd name="T120" fmla="*/ 21 w 304"/>
                    <a:gd name="T121" fmla="*/ 132 h 385"/>
                    <a:gd name="T122" fmla="*/ 21 w 304"/>
                    <a:gd name="T123" fmla="*/ 132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4" h="385">
                      <a:moveTo>
                        <a:pt x="219" y="33"/>
                      </a:moveTo>
                      <a:lnTo>
                        <a:pt x="198" y="59"/>
                      </a:lnTo>
                      <a:lnTo>
                        <a:pt x="177" y="71"/>
                      </a:lnTo>
                      <a:lnTo>
                        <a:pt x="193" y="75"/>
                      </a:lnTo>
                      <a:lnTo>
                        <a:pt x="160" y="92"/>
                      </a:lnTo>
                      <a:lnTo>
                        <a:pt x="181" y="116"/>
                      </a:lnTo>
                      <a:lnTo>
                        <a:pt x="219" y="125"/>
                      </a:lnTo>
                      <a:lnTo>
                        <a:pt x="236" y="92"/>
                      </a:lnTo>
                      <a:lnTo>
                        <a:pt x="266" y="132"/>
                      </a:lnTo>
                      <a:lnTo>
                        <a:pt x="288" y="125"/>
                      </a:lnTo>
                      <a:lnTo>
                        <a:pt x="304" y="132"/>
                      </a:lnTo>
                      <a:lnTo>
                        <a:pt x="283" y="132"/>
                      </a:lnTo>
                      <a:lnTo>
                        <a:pt x="283" y="142"/>
                      </a:lnTo>
                      <a:lnTo>
                        <a:pt x="304" y="182"/>
                      </a:lnTo>
                      <a:lnTo>
                        <a:pt x="288" y="198"/>
                      </a:lnTo>
                      <a:lnTo>
                        <a:pt x="304" y="220"/>
                      </a:lnTo>
                      <a:lnTo>
                        <a:pt x="304" y="236"/>
                      </a:lnTo>
                      <a:lnTo>
                        <a:pt x="288" y="264"/>
                      </a:lnTo>
                      <a:lnTo>
                        <a:pt x="300" y="274"/>
                      </a:lnTo>
                      <a:lnTo>
                        <a:pt x="274" y="298"/>
                      </a:lnTo>
                      <a:lnTo>
                        <a:pt x="288" y="307"/>
                      </a:lnTo>
                      <a:lnTo>
                        <a:pt x="283" y="314"/>
                      </a:lnTo>
                      <a:lnTo>
                        <a:pt x="245" y="314"/>
                      </a:lnTo>
                      <a:lnTo>
                        <a:pt x="236" y="298"/>
                      </a:lnTo>
                      <a:lnTo>
                        <a:pt x="236" y="314"/>
                      </a:lnTo>
                      <a:lnTo>
                        <a:pt x="198" y="319"/>
                      </a:lnTo>
                      <a:lnTo>
                        <a:pt x="198" y="331"/>
                      </a:lnTo>
                      <a:lnTo>
                        <a:pt x="181" y="331"/>
                      </a:lnTo>
                      <a:lnTo>
                        <a:pt x="177" y="335"/>
                      </a:lnTo>
                      <a:lnTo>
                        <a:pt x="160" y="347"/>
                      </a:lnTo>
                      <a:lnTo>
                        <a:pt x="155" y="347"/>
                      </a:lnTo>
                      <a:lnTo>
                        <a:pt x="155" y="335"/>
                      </a:lnTo>
                      <a:lnTo>
                        <a:pt x="139" y="335"/>
                      </a:lnTo>
                      <a:lnTo>
                        <a:pt x="144" y="335"/>
                      </a:lnTo>
                      <a:lnTo>
                        <a:pt x="144" y="352"/>
                      </a:lnTo>
                      <a:lnTo>
                        <a:pt x="122" y="368"/>
                      </a:lnTo>
                      <a:lnTo>
                        <a:pt x="85" y="373"/>
                      </a:lnTo>
                      <a:lnTo>
                        <a:pt x="70" y="373"/>
                      </a:lnTo>
                      <a:lnTo>
                        <a:pt x="49" y="385"/>
                      </a:lnTo>
                      <a:lnTo>
                        <a:pt x="59" y="368"/>
                      </a:lnTo>
                      <a:lnTo>
                        <a:pt x="49" y="368"/>
                      </a:lnTo>
                      <a:lnTo>
                        <a:pt x="70" y="364"/>
                      </a:lnTo>
                      <a:lnTo>
                        <a:pt x="59" y="352"/>
                      </a:lnTo>
                      <a:lnTo>
                        <a:pt x="21" y="368"/>
                      </a:lnTo>
                      <a:lnTo>
                        <a:pt x="59" y="335"/>
                      </a:lnTo>
                      <a:lnTo>
                        <a:pt x="21" y="352"/>
                      </a:lnTo>
                      <a:lnTo>
                        <a:pt x="16" y="347"/>
                      </a:lnTo>
                      <a:lnTo>
                        <a:pt x="4" y="352"/>
                      </a:lnTo>
                      <a:lnTo>
                        <a:pt x="4" y="335"/>
                      </a:lnTo>
                      <a:lnTo>
                        <a:pt x="16" y="331"/>
                      </a:lnTo>
                      <a:lnTo>
                        <a:pt x="49" y="314"/>
                      </a:lnTo>
                      <a:lnTo>
                        <a:pt x="0" y="319"/>
                      </a:lnTo>
                      <a:lnTo>
                        <a:pt x="0" y="314"/>
                      </a:lnTo>
                      <a:lnTo>
                        <a:pt x="21" y="298"/>
                      </a:lnTo>
                      <a:lnTo>
                        <a:pt x="49" y="307"/>
                      </a:lnTo>
                      <a:lnTo>
                        <a:pt x="49" y="290"/>
                      </a:lnTo>
                      <a:lnTo>
                        <a:pt x="54" y="274"/>
                      </a:lnTo>
                      <a:lnTo>
                        <a:pt x="113" y="264"/>
                      </a:lnTo>
                      <a:lnTo>
                        <a:pt x="101" y="257"/>
                      </a:lnTo>
                      <a:lnTo>
                        <a:pt x="92" y="264"/>
                      </a:lnTo>
                      <a:lnTo>
                        <a:pt x="37" y="274"/>
                      </a:lnTo>
                      <a:lnTo>
                        <a:pt x="70" y="253"/>
                      </a:lnTo>
                      <a:lnTo>
                        <a:pt x="75" y="241"/>
                      </a:lnTo>
                      <a:lnTo>
                        <a:pt x="70" y="236"/>
                      </a:lnTo>
                      <a:lnTo>
                        <a:pt x="85" y="220"/>
                      </a:lnTo>
                      <a:lnTo>
                        <a:pt x="106" y="220"/>
                      </a:lnTo>
                      <a:lnTo>
                        <a:pt x="106" y="203"/>
                      </a:lnTo>
                      <a:lnTo>
                        <a:pt x="59" y="208"/>
                      </a:lnTo>
                      <a:lnTo>
                        <a:pt x="59" y="198"/>
                      </a:lnTo>
                      <a:lnTo>
                        <a:pt x="49" y="203"/>
                      </a:lnTo>
                      <a:lnTo>
                        <a:pt x="37" y="203"/>
                      </a:lnTo>
                      <a:lnTo>
                        <a:pt x="49" y="187"/>
                      </a:lnTo>
                      <a:lnTo>
                        <a:pt x="21" y="198"/>
                      </a:lnTo>
                      <a:lnTo>
                        <a:pt x="16" y="182"/>
                      </a:lnTo>
                      <a:lnTo>
                        <a:pt x="54" y="170"/>
                      </a:lnTo>
                      <a:lnTo>
                        <a:pt x="37" y="170"/>
                      </a:lnTo>
                      <a:lnTo>
                        <a:pt x="37" y="153"/>
                      </a:lnTo>
                      <a:lnTo>
                        <a:pt x="59" y="153"/>
                      </a:lnTo>
                      <a:lnTo>
                        <a:pt x="59" y="149"/>
                      </a:lnTo>
                      <a:lnTo>
                        <a:pt x="37" y="149"/>
                      </a:lnTo>
                      <a:lnTo>
                        <a:pt x="37" y="142"/>
                      </a:lnTo>
                      <a:lnTo>
                        <a:pt x="49" y="142"/>
                      </a:lnTo>
                      <a:lnTo>
                        <a:pt x="33" y="109"/>
                      </a:lnTo>
                      <a:lnTo>
                        <a:pt x="21" y="125"/>
                      </a:lnTo>
                      <a:lnTo>
                        <a:pt x="21" y="109"/>
                      </a:lnTo>
                      <a:lnTo>
                        <a:pt x="33" y="99"/>
                      </a:lnTo>
                      <a:lnTo>
                        <a:pt x="37" y="116"/>
                      </a:lnTo>
                      <a:lnTo>
                        <a:pt x="49" y="99"/>
                      </a:lnTo>
                      <a:lnTo>
                        <a:pt x="75" y="99"/>
                      </a:lnTo>
                      <a:lnTo>
                        <a:pt x="92" y="116"/>
                      </a:lnTo>
                      <a:lnTo>
                        <a:pt x="101" y="109"/>
                      </a:lnTo>
                      <a:lnTo>
                        <a:pt x="139" y="109"/>
                      </a:lnTo>
                      <a:lnTo>
                        <a:pt x="122" y="99"/>
                      </a:lnTo>
                      <a:lnTo>
                        <a:pt x="155" y="87"/>
                      </a:lnTo>
                      <a:lnTo>
                        <a:pt x="160" y="71"/>
                      </a:lnTo>
                      <a:lnTo>
                        <a:pt x="127" y="75"/>
                      </a:lnTo>
                      <a:lnTo>
                        <a:pt x="113" y="71"/>
                      </a:lnTo>
                      <a:lnTo>
                        <a:pt x="144" y="42"/>
                      </a:lnTo>
                      <a:lnTo>
                        <a:pt x="139" y="38"/>
                      </a:lnTo>
                      <a:lnTo>
                        <a:pt x="144" y="38"/>
                      </a:lnTo>
                      <a:lnTo>
                        <a:pt x="139" y="38"/>
                      </a:lnTo>
                      <a:lnTo>
                        <a:pt x="144" y="21"/>
                      </a:lnTo>
                      <a:lnTo>
                        <a:pt x="181" y="16"/>
                      </a:lnTo>
                      <a:lnTo>
                        <a:pt x="193" y="33"/>
                      </a:lnTo>
                      <a:lnTo>
                        <a:pt x="193" y="16"/>
                      </a:lnTo>
                      <a:lnTo>
                        <a:pt x="181" y="16"/>
                      </a:lnTo>
                      <a:lnTo>
                        <a:pt x="193" y="5"/>
                      </a:lnTo>
                      <a:lnTo>
                        <a:pt x="207" y="21"/>
                      </a:lnTo>
                      <a:lnTo>
                        <a:pt x="193" y="38"/>
                      </a:lnTo>
                      <a:lnTo>
                        <a:pt x="207" y="33"/>
                      </a:lnTo>
                      <a:lnTo>
                        <a:pt x="198" y="16"/>
                      </a:lnTo>
                      <a:lnTo>
                        <a:pt x="215" y="5"/>
                      </a:lnTo>
                      <a:lnTo>
                        <a:pt x="215" y="0"/>
                      </a:lnTo>
                      <a:lnTo>
                        <a:pt x="245" y="16"/>
                      </a:lnTo>
                      <a:lnTo>
                        <a:pt x="219" y="33"/>
                      </a:lnTo>
                      <a:lnTo>
                        <a:pt x="219" y="33"/>
                      </a:lnTo>
                      <a:lnTo>
                        <a:pt x="219" y="33"/>
                      </a:lnTo>
                      <a:close/>
                      <a:moveTo>
                        <a:pt x="21" y="132"/>
                      </a:moveTo>
                      <a:lnTo>
                        <a:pt x="33" y="132"/>
                      </a:lnTo>
                      <a:lnTo>
                        <a:pt x="37" y="149"/>
                      </a:lnTo>
                      <a:lnTo>
                        <a:pt x="16" y="142"/>
                      </a:lnTo>
                      <a:lnTo>
                        <a:pt x="21" y="132"/>
                      </a:lnTo>
                      <a:lnTo>
                        <a:pt x="21" y="132"/>
                      </a:lnTo>
                      <a:lnTo>
                        <a:pt x="21" y="13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17" name="Freeform 433">
                  <a:extLst>
                    <a:ext uri="{FF2B5EF4-FFF2-40B4-BE49-F238E27FC236}">
                      <a16:creationId xmlns:a16="http://schemas.microsoft.com/office/drawing/2014/main" id="{5211F539-5399-44AB-84FF-C61BAE28750D}"/>
                    </a:ext>
                  </a:extLst>
                </p:cNvPr>
                <p:cNvSpPr>
                  <a:spLocks noEditPoints="1"/>
                </p:cNvSpPr>
                <p:nvPr/>
              </p:nvSpPr>
              <p:spPr bwMode="gray">
                <a:xfrm>
                  <a:off x="7356503" y="2048477"/>
                  <a:ext cx="182782" cy="89755"/>
                </a:xfrm>
                <a:custGeom>
                  <a:avLst/>
                  <a:gdLst>
                    <a:gd name="T0" fmla="*/ 359 w 444"/>
                    <a:gd name="T1" fmla="*/ 208 h 218"/>
                    <a:gd name="T2" fmla="*/ 295 w 444"/>
                    <a:gd name="T3" fmla="*/ 184 h 218"/>
                    <a:gd name="T4" fmla="*/ 240 w 444"/>
                    <a:gd name="T5" fmla="*/ 168 h 218"/>
                    <a:gd name="T6" fmla="*/ 177 w 444"/>
                    <a:gd name="T7" fmla="*/ 184 h 218"/>
                    <a:gd name="T8" fmla="*/ 177 w 444"/>
                    <a:gd name="T9" fmla="*/ 130 h 218"/>
                    <a:gd name="T10" fmla="*/ 132 w 444"/>
                    <a:gd name="T11" fmla="*/ 130 h 218"/>
                    <a:gd name="T12" fmla="*/ 122 w 444"/>
                    <a:gd name="T13" fmla="*/ 97 h 218"/>
                    <a:gd name="T14" fmla="*/ 111 w 444"/>
                    <a:gd name="T15" fmla="*/ 88 h 218"/>
                    <a:gd name="T16" fmla="*/ 127 w 444"/>
                    <a:gd name="T17" fmla="*/ 71 h 218"/>
                    <a:gd name="T18" fmla="*/ 127 w 444"/>
                    <a:gd name="T19" fmla="*/ 71 h 218"/>
                    <a:gd name="T20" fmla="*/ 111 w 444"/>
                    <a:gd name="T21" fmla="*/ 43 h 218"/>
                    <a:gd name="T22" fmla="*/ 160 w 444"/>
                    <a:gd name="T23" fmla="*/ 21 h 218"/>
                    <a:gd name="T24" fmla="*/ 177 w 444"/>
                    <a:gd name="T25" fmla="*/ 14 h 218"/>
                    <a:gd name="T26" fmla="*/ 203 w 444"/>
                    <a:gd name="T27" fmla="*/ 5 h 218"/>
                    <a:gd name="T28" fmla="*/ 257 w 444"/>
                    <a:gd name="T29" fmla="*/ 0 h 218"/>
                    <a:gd name="T30" fmla="*/ 274 w 444"/>
                    <a:gd name="T31" fmla="*/ 0 h 218"/>
                    <a:gd name="T32" fmla="*/ 418 w 444"/>
                    <a:gd name="T33" fmla="*/ 21 h 218"/>
                    <a:gd name="T34" fmla="*/ 444 w 444"/>
                    <a:gd name="T35" fmla="*/ 26 h 218"/>
                    <a:gd name="T36" fmla="*/ 429 w 444"/>
                    <a:gd name="T37" fmla="*/ 38 h 218"/>
                    <a:gd name="T38" fmla="*/ 392 w 444"/>
                    <a:gd name="T39" fmla="*/ 88 h 218"/>
                    <a:gd name="T40" fmla="*/ 396 w 444"/>
                    <a:gd name="T41" fmla="*/ 147 h 218"/>
                    <a:gd name="T42" fmla="*/ 396 w 444"/>
                    <a:gd name="T43" fmla="*/ 184 h 218"/>
                    <a:gd name="T44" fmla="*/ 392 w 444"/>
                    <a:gd name="T45" fmla="*/ 218 h 218"/>
                    <a:gd name="T46" fmla="*/ 52 w 444"/>
                    <a:gd name="T47" fmla="*/ 97 h 218"/>
                    <a:gd name="T48" fmla="*/ 35 w 444"/>
                    <a:gd name="T49" fmla="*/ 76 h 218"/>
                    <a:gd name="T50" fmla="*/ 35 w 444"/>
                    <a:gd name="T51" fmla="*/ 71 h 218"/>
                    <a:gd name="T52" fmla="*/ 73 w 444"/>
                    <a:gd name="T53" fmla="*/ 71 h 218"/>
                    <a:gd name="T54" fmla="*/ 68 w 444"/>
                    <a:gd name="T55" fmla="*/ 88 h 218"/>
                    <a:gd name="T56" fmla="*/ 52 w 444"/>
                    <a:gd name="T57" fmla="*/ 97 h 218"/>
                    <a:gd name="T58" fmla="*/ 96 w 444"/>
                    <a:gd name="T59" fmla="*/ 59 h 218"/>
                    <a:gd name="T60" fmla="*/ 89 w 444"/>
                    <a:gd name="T61" fmla="*/ 71 h 218"/>
                    <a:gd name="T62" fmla="*/ 96 w 444"/>
                    <a:gd name="T63" fmla="*/ 59 h 218"/>
                    <a:gd name="T64" fmla="*/ 96 w 444"/>
                    <a:gd name="T65" fmla="*/ 59 h 218"/>
                    <a:gd name="T66" fmla="*/ 111 w 444"/>
                    <a:gd name="T67" fmla="*/ 114 h 218"/>
                    <a:gd name="T68" fmla="*/ 96 w 444"/>
                    <a:gd name="T69" fmla="*/ 97 h 218"/>
                    <a:gd name="T70" fmla="*/ 96 w 444"/>
                    <a:gd name="T71" fmla="*/ 97 h 218"/>
                    <a:gd name="T72" fmla="*/ 14 w 444"/>
                    <a:gd name="T73" fmla="*/ 168 h 218"/>
                    <a:gd name="T74" fmla="*/ 4 w 444"/>
                    <a:gd name="T75" fmla="*/ 142 h 218"/>
                    <a:gd name="T76" fmla="*/ 0 w 444"/>
                    <a:gd name="T77" fmla="*/ 114 h 218"/>
                    <a:gd name="T78" fmla="*/ 106 w 444"/>
                    <a:gd name="T79" fmla="*/ 125 h 218"/>
                    <a:gd name="T80" fmla="*/ 68 w 444"/>
                    <a:gd name="T81" fmla="*/ 147 h 218"/>
                    <a:gd name="T82" fmla="*/ 26 w 444"/>
                    <a:gd name="T83" fmla="*/ 168 h 218"/>
                    <a:gd name="T84" fmla="*/ 14 w 444"/>
                    <a:gd name="T85" fmla="*/ 18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4" h="218">
                      <a:moveTo>
                        <a:pt x="392" y="218"/>
                      </a:moveTo>
                      <a:lnTo>
                        <a:pt x="359" y="208"/>
                      </a:lnTo>
                      <a:lnTo>
                        <a:pt x="326" y="218"/>
                      </a:lnTo>
                      <a:lnTo>
                        <a:pt x="295" y="184"/>
                      </a:lnTo>
                      <a:lnTo>
                        <a:pt x="240" y="163"/>
                      </a:lnTo>
                      <a:lnTo>
                        <a:pt x="240" y="168"/>
                      </a:lnTo>
                      <a:lnTo>
                        <a:pt x="229" y="163"/>
                      </a:lnTo>
                      <a:lnTo>
                        <a:pt x="177" y="184"/>
                      </a:lnTo>
                      <a:lnTo>
                        <a:pt x="186" y="142"/>
                      </a:lnTo>
                      <a:lnTo>
                        <a:pt x="177" y="130"/>
                      </a:lnTo>
                      <a:lnTo>
                        <a:pt x="160" y="147"/>
                      </a:lnTo>
                      <a:lnTo>
                        <a:pt x="132" y="130"/>
                      </a:lnTo>
                      <a:lnTo>
                        <a:pt x="122" y="109"/>
                      </a:lnTo>
                      <a:lnTo>
                        <a:pt x="122" y="97"/>
                      </a:lnTo>
                      <a:lnTo>
                        <a:pt x="144" y="92"/>
                      </a:lnTo>
                      <a:lnTo>
                        <a:pt x="111" y="88"/>
                      </a:lnTo>
                      <a:lnTo>
                        <a:pt x="111" y="76"/>
                      </a:lnTo>
                      <a:lnTo>
                        <a:pt x="127" y="71"/>
                      </a:lnTo>
                      <a:lnTo>
                        <a:pt x="122" y="59"/>
                      </a:lnTo>
                      <a:lnTo>
                        <a:pt x="127" y="71"/>
                      </a:lnTo>
                      <a:lnTo>
                        <a:pt x="111" y="59"/>
                      </a:lnTo>
                      <a:lnTo>
                        <a:pt x="111" y="43"/>
                      </a:lnTo>
                      <a:lnTo>
                        <a:pt x="148" y="38"/>
                      </a:lnTo>
                      <a:lnTo>
                        <a:pt x="160" y="21"/>
                      </a:lnTo>
                      <a:lnTo>
                        <a:pt x="165" y="26"/>
                      </a:lnTo>
                      <a:lnTo>
                        <a:pt x="177" y="14"/>
                      </a:lnTo>
                      <a:lnTo>
                        <a:pt x="203" y="21"/>
                      </a:lnTo>
                      <a:lnTo>
                        <a:pt x="203" y="5"/>
                      </a:lnTo>
                      <a:lnTo>
                        <a:pt x="252" y="14"/>
                      </a:lnTo>
                      <a:lnTo>
                        <a:pt x="257" y="0"/>
                      </a:lnTo>
                      <a:lnTo>
                        <a:pt x="266" y="5"/>
                      </a:lnTo>
                      <a:lnTo>
                        <a:pt x="274" y="0"/>
                      </a:lnTo>
                      <a:lnTo>
                        <a:pt x="359" y="21"/>
                      </a:lnTo>
                      <a:lnTo>
                        <a:pt x="418" y="21"/>
                      </a:lnTo>
                      <a:lnTo>
                        <a:pt x="434" y="14"/>
                      </a:lnTo>
                      <a:lnTo>
                        <a:pt x="444" y="26"/>
                      </a:lnTo>
                      <a:lnTo>
                        <a:pt x="444" y="38"/>
                      </a:lnTo>
                      <a:lnTo>
                        <a:pt x="429" y="38"/>
                      </a:lnTo>
                      <a:lnTo>
                        <a:pt x="418" y="59"/>
                      </a:lnTo>
                      <a:lnTo>
                        <a:pt x="392" y="88"/>
                      </a:lnTo>
                      <a:lnTo>
                        <a:pt x="396" y="130"/>
                      </a:lnTo>
                      <a:lnTo>
                        <a:pt x="396" y="147"/>
                      </a:lnTo>
                      <a:lnTo>
                        <a:pt x="418" y="184"/>
                      </a:lnTo>
                      <a:lnTo>
                        <a:pt x="396" y="184"/>
                      </a:lnTo>
                      <a:lnTo>
                        <a:pt x="392" y="218"/>
                      </a:lnTo>
                      <a:lnTo>
                        <a:pt x="392" y="218"/>
                      </a:lnTo>
                      <a:lnTo>
                        <a:pt x="392" y="218"/>
                      </a:lnTo>
                      <a:close/>
                      <a:moveTo>
                        <a:pt x="52" y="97"/>
                      </a:moveTo>
                      <a:lnTo>
                        <a:pt x="42" y="97"/>
                      </a:lnTo>
                      <a:lnTo>
                        <a:pt x="35" y="76"/>
                      </a:lnTo>
                      <a:lnTo>
                        <a:pt x="14" y="76"/>
                      </a:lnTo>
                      <a:lnTo>
                        <a:pt x="35" y="71"/>
                      </a:lnTo>
                      <a:lnTo>
                        <a:pt x="52" y="59"/>
                      </a:lnTo>
                      <a:lnTo>
                        <a:pt x="73" y="71"/>
                      </a:lnTo>
                      <a:lnTo>
                        <a:pt x="89" y="88"/>
                      </a:lnTo>
                      <a:lnTo>
                        <a:pt x="68" y="88"/>
                      </a:lnTo>
                      <a:lnTo>
                        <a:pt x="52" y="97"/>
                      </a:lnTo>
                      <a:lnTo>
                        <a:pt x="52" y="97"/>
                      </a:lnTo>
                      <a:lnTo>
                        <a:pt x="52" y="97"/>
                      </a:lnTo>
                      <a:close/>
                      <a:moveTo>
                        <a:pt x="96" y="59"/>
                      </a:moveTo>
                      <a:lnTo>
                        <a:pt x="111" y="71"/>
                      </a:lnTo>
                      <a:lnTo>
                        <a:pt x="89" y="71"/>
                      </a:lnTo>
                      <a:lnTo>
                        <a:pt x="89" y="59"/>
                      </a:lnTo>
                      <a:lnTo>
                        <a:pt x="96" y="59"/>
                      </a:lnTo>
                      <a:lnTo>
                        <a:pt x="96" y="59"/>
                      </a:lnTo>
                      <a:lnTo>
                        <a:pt x="96" y="59"/>
                      </a:lnTo>
                      <a:close/>
                      <a:moveTo>
                        <a:pt x="96" y="97"/>
                      </a:moveTo>
                      <a:lnTo>
                        <a:pt x="111" y="114"/>
                      </a:lnTo>
                      <a:lnTo>
                        <a:pt x="89" y="109"/>
                      </a:lnTo>
                      <a:lnTo>
                        <a:pt x="96" y="97"/>
                      </a:lnTo>
                      <a:lnTo>
                        <a:pt x="96" y="97"/>
                      </a:lnTo>
                      <a:lnTo>
                        <a:pt x="96" y="97"/>
                      </a:lnTo>
                      <a:close/>
                      <a:moveTo>
                        <a:pt x="14" y="180"/>
                      </a:moveTo>
                      <a:lnTo>
                        <a:pt x="14" y="168"/>
                      </a:lnTo>
                      <a:lnTo>
                        <a:pt x="26" y="151"/>
                      </a:lnTo>
                      <a:lnTo>
                        <a:pt x="4" y="142"/>
                      </a:lnTo>
                      <a:lnTo>
                        <a:pt x="14" y="130"/>
                      </a:lnTo>
                      <a:lnTo>
                        <a:pt x="0" y="114"/>
                      </a:lnTo>
                      <a:lnTo>
                        <a:pt x="73" y="109"/>
                      </a:lnTo>
                      <a:lnTo>
                        <a:pt x="106" y="125"/>
                      </a:lnTo>
                      <a:lnTo>
                        <a:pt x="89" y="125"/>
                      </a:lnTo>
                      <a:lnTo>
                        <a:pt x="68" y="147"/>
                      </a:lnTo>
                      <a:lnTo>
                        <a:pt x="35" y="151"/>
                      </a:lnTo>
                      <a:lnTo>
                        <a:pt x="26" y="168"/>
                      </a:lnTo>
                      <a:lnTo>
                        <a:pt x="14" y="180"/>
                      </a:lnTo>
                      <a:lnTo>
                        <a:pt x="14" y="180"/>
                      </a:lnTo>
                      <a:lnTo>
                        <a:pt x="14" y="18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18" name="Freeform 437">
                  <a:extLst>
                    <a:ext uri="{FF2B5EF4-FFF2-40B4-BE49-F238E27FC236}">
                      <a16:creationId xmlns:a16="http://schemas.microsoft.com/office/drawing/2014/main" id="{456D692D-0E10-4A46-8C55-21DE80508F07}"/>
                    </a:ext>
                  </a:extLst>
                </p:cNvPr>
                <p:cNvSpPr>
                  <a:spLocks/>
                </p:cNvSpPr>
                <p:nvPr/>
              </p:nvSpPr>
              <p:spPr bwMode="gray">
                <a:xfrm>
                  <a:off x="7075332" y="2403375"/>
                  <a:ext cx="194308" cy="95519"/>
                </a:xfrm>
                <a:custGeom>
                  <a:avLst/>
                  <a:gdLst>
                    <a:gd name="T0" fmla="*/ 340 w 472"/>
                    <a:gd name="T1" fmla="*/ 225 h 232"/>
                    <a:gd name="T2" fmla="*/ 340 w 472"/>
                    <a:gd name="T3" fmla="*/ 220 h 232"/>
                    <a:gd name="T4" fmla="*/ 309 w 472"/>
                    <a:gd name="T5" fmla="*/ 208 h 232"/>
                    <a:gd name="T6" fmla="*/ 276 w 472"/>
                    <a:gd name="T7" fmla="*/ 220 h 232"/>
                    <a:gd name="T8" fmla="*/ 205 w 472"/>
                    <a:gd name="T9" fmla="*/ 187 h 232"/>
                    <a:gd name="T10" fmla="*/ 201 w 472"/>
                    <a:gd name="T11" fmla="*/ 208 h 232"/>
                    <a:gd name="T12" fmla="*/ 194 w 472"/>
                    <a:gd name="T13" fmla="*/ 208 h 232"/>
                    <a:gd name="T14" fmla="*/ 184 w 472"/>
                    <a:gd name="T15" fmla="*/ 232 h 232"/>
                    <a:gd name="T16" fmla="*/ 146 w 472"/>
                    <a:gd name="T17" fmla="*/ 225 h 232"/>
                    <a:gd name="T18" fmla="*/ 125 w 472"/>
                    <a:gd name="T19" fmla="*/ 208 h 232"/>
                    <a:gd name="T20" fmla="*/ 59 w 472"/>
                    <a:gd name="T21" fmla="*/ 166 h 232"/>
                    <a:gd name="T22" fmla="*/ 38 w 472"/>
                    <a:gd name="T23" fmla="*/ 154 h 232"/>
                    <a:gd name="T24" fmla="*/ 21 w 472"/>
                    <a:gd name="T25" fmla="*/ 133 h 232"/>
                    <a:gd name="T26" fmla="*/ 31 w 472"/>
                    <a:gd name="T27" fmla="*/ 109 h 232"/>
                    <a:gd name="T28" fmla="*/ 5 w 472"/>
                    <a:gd name="T29" fmla="*/ 92 h 232"/>
                    <a:gd name="T30" fmla="*/ 0 w 472"/>
                    <a:gd name="T31" fmla="*/ 67 h 232"/>
                    <a:gd name="T32" fmla="*/ 16 w 472"/>
                    <a:gd name="T33" fmla="*/ 76 h 232"/>
                    <a:gd name="T34" fmla="*/ 31 w 472"/>
                    <a:gd name="T35" fmla="*/ 59 h 232"/>
                    <a:gd name="T36" fmla="*/ 59 w 472"/>
                    <a:gd name="T37" fmla="*/ 59 h 232"/>
                    <a:gd name="T38" fmla="*/ 97 w 472"/>
                    <a:gd name="T39" fmla="*/ 26 h 232"/>
                    <a:gd name="T40" fmla="*/ 151 w 472"/>
                    <a:gd name="T41" fmla="*/ 10 h 232"/>
                    <a:gd name="T42" fmla="*/ 163 w 472"/>
                    <a:gd name="T43" fmla="*/ 10 h 232"/>
                    <a:gd name="T44" fmla="*/ 151 w 472"/>
                    <a:gd name="T45" fmla="*/ 5 h 232"/>
                    <a:gd name="T46" fmla="*/ 151 w 472"/>
                    <a:gd name="T47" fmla="*/ 0 h 232"/>
                    <a:gd name="T48" fmla="*/ 168 w 472"/>
                    <a:gd name="T49" fmla="*/ 5 h 232"/>
                    <a:gd name="T50" fmla="*/ 177 w 472"/>
                    <a:gd name="T51" fmla="*/ 22 h 232"/>
                    <a:gd name="T52" fmla="*/ 194 w 472"/>
                    <a:gd name="T53" fmla="*/ 22 h 232"/>
                    <a:gd name="T54" fmla="*/ 201 w 472"/>
                    <a:gd name="T55" fmla="*/ 22 h 232"/>
                    <a:gd name="T56" fmla="*/ 201 w 472"/>
                    <a:gd name="T57" fmla="*/ 5 h 232"/>
                    <a:gd name="T58" fmla="*/ 217 w 472"/>
                    <a:gd name="T59" fmla="*/ 5 h 232"/>
                    <a:gd name="T60" fmla="*/ 231 w 472"/>
                    <a:gd name="T61" fmla="*/ 26 h 232"/>
                    <a:gd name="T62" fmla="*/ 286 w 472"/>
                    <a:gd name="T63" fmla="*/ 38 h 232"/>
                    <a:gd name="T64" fmla="*/ 302 w 472"/>
                    <a:gd name="T65" fmla="*/ 43 h 232"/>
                    <a:gd name="T66" fmla="*/ 286 w 472"/>
                    <a:gd name="T67" fmla="*/ 59 h 232"/>
                    <a:gd name="T68" fmla="*/ 314 w 472"/>
                    <a:gd name="T69" fmla="*/ 92 h 232"/>
                    <a:gd name="T70" fmla="*/ 347 w 472"/>
                    <a:gd name="T71" fmla="*/ 76 h 232"/>
                    <a:gd name="T72" fmla="*/ 340 w 472"/>
                    <a:gd name="T73" fmla="*/ 59 h 232"/>
                    <a:gd name="T74" fmla="*/ 368 w 472"/>
                    <a:gd name="T75" fmla="*/ 76 h 232"/>
                    <a:gd name="T76" fmla="*/ 394 w 472"/>
                    <a:gd name="T77" fmla="*/ 67 h 232"/>
                    <a:gd name="T78" fmla="*/ 394 w 472"/>
                    <a:gd name="T79" fmla="*/ 76 h 232"/>
                    <a:gd name="T80" fmla="*/ 385 w 472"/>
                    <a:gd name="T81" fmla="*/ 83 h 232"/>
                    <a:gd name="T82" fmla="*/ 394 w 472"/>
                    <a:gd name="T83" fmla="*/ 92 h 232"/>
                    <a:gd name="T84" fmla="*/ 411 w 472"/>
                    <a:gd name="T85" fmla="*/ 100 h 232"/>
                    <a:gd name="T86" fmla="*/ 418 w 472"/>
                    <a:gd name="T87" fmla="*/ 92 h 232"/>
                    <a:gd name="T88" fmla="*/ 456 w 472"/>
                    <a:gd name="T89" fmla="*/ 109 h 232"/>
                    <a:gd name="T90" fmla="*/ 456 w 472"/>
                    <a:gd name="T91" fmla="*/ 121 h 232"/>
                    <a:gd name="T92" fmla="*/ 472 w 472"/>
                    <a:gd name="T93" fmla="*/ 133 h 232"/>
                    <a:gd name="T94" fmla="*/ 472 w 472"/>
                    <a:gd name="T95" fmla="*/ 149 h 232"/>
                    <a:gd name="T96" fmla="*/ 456 w 472"/>
                    <a:gd name="T97" fmla="*/ 149 h 232"/>
                    <a:gd name="T98" fmla="*/ 432 w 472"/>
                    <a:gd name="T99" fmla="*/ 166 h 232"/>
                    <a:gd name="T100" fmla="*/ 418 w 472"/>
                    <a:gd name="T101" fmla="*/ 187 h 232"/>
                    <a:gd name="T102" fmla="*/ 394 w 472"/>
                    <a:gd name="T103" fmla="*/ 204 h 232"/>
                    <a:gd name="T104" fmla="*/ 357 w 472"/>
                    <a:gd name="T105" fmla="*/ 204 h 232"/>
                    <a:gd name="T106" fmla="*/ 340 w 472"/>
                    <a:gd name="T107" fmla="*/ 225 h 232"/>
                    <a:gd name="T108" fmla="*/ 340 w 472"/>
                    <a:gd name="T109" fmla="*/ 225 h 232"/>
                    <a:gd name="T110" fmla="*/ 340 w 472"/>
                    <a:gd name="T111" fmla="*/ 22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2" h="232">
                      <a:moveTo>
                        <a:pt x="340" y="225"/>
                      </a:moveTo>
                      <a:lnTo>
                        <a:pt x="340" y="220"/>
                      </a:lnTo>
                      <a:lnTo>
                        <a:pt x="309" y="208"/>
                      </a:lnTo>
                      <a:lnTo>
                        <a:pt x="276" y="220"/>
                      </a:lnTo>
                      <a:lnTo>
                        <a:pt x="205" y="187"/>
                      </a:lnTo>
                      <a:lnTo>
                        <a:pt x="201" y="208"/>
                      </a:lnTo>
                      <a:lnTo>
                        <a:pt x="194" y="208"/>
                      </a:lnTo>
                      <a:lnTo>
                        <a:pt x="184" y="232"/>
                      </a:lnTo>
                      <a:lnTo>
                        <a:pt x="146" y="225"/>
                      </a:lnTo>
                      <a:lnTo>
                        <a:pt x="125" y="208"/>
                      </a:lnTo>
                      <a:lnTo>
                        <a:pt x="59" y="166"/>
                      </a:lnTo>
                      <a:lnTo>
                        <a:pt x="38" y="154"/>
                      </a:lnTo>
                      <a:lnTo>
                        <a:pt x="21" y="133"/>
                      </a:lnTo>
                      <a:lnTo>
                        <a:pt x="31" y="109"/>
                      </a:lnTo>
                      <a:lnTo>
                        <a:pt x="5" y="92"/>
                      </a:lnTo>
                      <a:lnTo>
                        <a:pt x="0" y="67"/>
                      </a:lnTo>
                      <a:lnTo>
                        <a:pt x="16" y="76"/>
                      </a:lnTo>
                      <a:lnTo>
                        <a:pt x="31" y="59"/>
                      </a:lnTo>
                      <a:lnTo>
                        <a:pt x="59" y="59"/>
                      </a:lnTo>
                      <a:lnTo>
                        <a:pt x="97" y="26"/>
                      </a:lnTo>
                      <a:lnTo>
                        <a:pt x="151" y="10"/>
                      </a:lnTo>
                      <a:lnTo>
                        <a:pt x="163" y="10"/>
                      </a:lnTo>
                      <a:lnTo>
                        <a:pt x="151" y="5"/>
                      </a:lnTo>
                      <a:lnTo>
                        <a:pt x="151" y="0"/>
                      </a:lnTo>
                      <a:lnTo>
                        <a:pt x="168" y="5"/>
                      </a:lnTo>
                      <a:lnTo>
                        <a:pt x="177" y="22"/>
                      </a:lnTo>
                      <a:lnTo>
                        <a:pt x="194" y="22"/>
                      </a:lnTo>
                      <a:lnTo>
                        <a:pt x="201" y="22"/>
                      </a:lnTo>
                      <a:lnTo>
                        <a:pt x="201" y="5"/>
                      </a:lnTo>
                      <a:lnTo>
                        <a:pt x="217" y="5"/>
                      </a:lnTo>
                      <a:lnTo>
                        <a:pt x="231" y="26"/>
                      </a:lnTo>
                      <a:lnTo>
                        <a:pt x="286" y="38"/>
                      </a:lnTo>
                      <a:lnTo>
                        <a:pt x="302" y="43"/>
                      </a:lnTo>
                      <a:lnTo>
                        <a:pt x="286" y="59"/>
                      </a:lnTo>
                      <a:lnTo>
                        <a:pt x="314" y="92"/>
                      </a:lnTo>
                      <a:lnTo>
                        <a:pt x="347" y="76"/>
                      </a:lnTo>
                      <a:lnTo>
                        <a:pt x="340" y="59"/>
                      </a:lnTo>
                      <a:lnTo>
                        <a:pt x="368" y="76"/>
                      </a:lnTo>
                      <a:lnTo>
                        <a:pt x="394" y="67"/>
                      </a:lnTo>
                      <a:lnTo>
                        <a:pt x="394" y="76"/>
                      </a:lnTo>
                      <a:lnTo>
                        <a:pt x="385" y="83"/>
                      </a:lnTo>
                      <a:lnTo>
                        <a:pt x="394" y="92"/>
                      </a:lnTo>
                      <a:lnTo>
                        <a:pt x="411" y="100"/>
                      </a:lnTo>
                      <a:lnTo>
                        <a:pt x="418" y="92"/>
                      </a:lnTo>
                      <a:lnTo>
                        <a:pt x="456" y="109"/>
                      </a:lnTo>
                      <a:lnTo>
                        <a:pt x="456" y="121"/>
                      </a:lnTo>
                      <a:lnTo>
                        <a:pt x="472" y="133"/>
                      </a:lnTo>
                      <a:lnTo>
                        <a:pt x="472" y="149"/>
                      </a:lnTo>
                      <a:lnTo>
                        <a:pt x="456" y="149"/>
                      </a:lnTo>
                      <a:lnTo>
                        <a:pt x="432" y="166"/>
                      </a:lnTo>
                      <a:lnTo>
                        <a:pt x="418" y="187"/>
                      </a:lnTo>
                      <a:lnTo>
                        <a:pt x="394" y="204"/>
                      </a:lnTo>
                      <a:lnTo>
                        <a:pt x="357" y="204"/>
                      </a:lnTo>
                      <a:lnTo>
                        <a:pt x="340" y="225"/>
                      </a:lnTo>
                      <a:lnTo>
                        <a:pt x="340" y="225"/>
                      </a:lnTo>
                      <a:lnTo>
                        <a:pt x="340" y="22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19" name="Freeform 439">
                  <a:extLst>
                    <a:ext uri="{FF2B5EF4-FFF2-40B4-BE49-F238E27FC236}">
                      <a16:creationId xmlns:a16="http://schemas.microsoft.com/office/drawing/2014/main" id="{DFA4D038-55C9-4D64-9A7C-74F85E2903D9}"/>
                    </a:ext>
                  </a:extLst>
                </p:cNvPr>
                <p:cNvSpPr>
                  <a:spLocks noEditPoints="1"/>
                </p:cNvSpPr>
                <p:nvPr/>
              </p:nvSpPr>
              <p:spPr bwMode="gray">
                <a:xfrm>
                  <a:off x="7289401" y="1544949"/>
                  <a:ext cx="349097" cy="495706"/>
                </a:xfrm>
                <a:custGeom>
                  <a:avLst/>
                  <a:gdLst>
                    <a:gd name="T0" fmla="*/ 290 w 848"/>
                    <a:gd name="T1" fmla="*/ 448 h 1204"/>
                    <a:gd name="T2" fmla="*/ 290 w 848"/>
                    <a:gd name="T3" fmla="*/ 349 h 1204"/>
                    <a:gd name="T4" fmla="*/ 290 w 848"/>
                    <a:gd name="T5" fmla="*/ 267 h 1204"/>
                    <a:gd name="T6" fmla="*/ 113 w 848"/>
                    <a:gd name="T7" fmla="*/ 115 h 1204"/>
                    <a:gd name="T8" fmla="*/ 205 w 848"/>
                    <a:gd name="T9" fmla="*/ 172 h 1204"/>
                    <a:gd name="T10" fmla="*/ 399 w 848"/>
                    <a:gd name="T11" fmla="*/ 155 h 1204"/>
                    <a:gd name="T12" fmla="*/ 491 w 848"/>
                    <a:gd name="T13" fmla="*/ 16 h 1204"/>
                    <a:gd name="T14" fmla="*/ 685 w 848"/>
                    <a:gd name="T15" fmla="*/ 70 h 1204"/>
                    <a:gd name="T16" fmla="*/ 654 w 848"/>
                    <a:gd name="T17" fmla="*/ 155 h 1204"/>
                    <a:gd name="T18" fmla="*/ 739 w 848"/>
                    <a:gd name="T19" fmla="*/ 300 h 1204"/>
                    <a:gd name="T20" fmla="*/ 746 w 848"/>
                    <a:gd name="T21" fmla="*/ 538 h 1204"/>
                    <a:gd name="T22" fmla="*/ 729 w 848"/>
                    <a:gd name="T23" fmla="*/ 611 h 1204"/>
                    <a:gd name="T24" fmla="*/ 755 w 848"/>
                    <a:gd name="T25" fmla="*/ 666 h 1204"/>
                    <a:gd name="T26" fmla="*/ 777 w 848"/>
                    <a:gd name="T27" fmla="*/ 727 h 1204"/>
                    <a:gd name="T28" fmla="*/ 685 w 848"/>
                    <a:gd name="T29" fmla="*/ 1044 h 1204"/>
                    <a:gd name="T30" fmla="*/ 491 w 848"/>
                    <a:gd name="T31" fmla="*/ 1133 h 1204"/>
                    <a:gd name="T32" fmla="*/ 458 w 848"/>
                    <a:gd name="T33" fmla="*/ 1133 h 1204"/>
                    <a:gd name="T34" fmla="*/ 437 w 848"/>
                    <a:gd name="T35" fmla="*/ 1150 h 1204"/>
                    <a:gd name="T36" fmla="*/ 361 w 848"/>
                    <a:gd name="T37" fmla="*/ 1171 h 1204"/>
                    <a:gd name="T38" fmla="*/ 257 w 848"/>
                    <a:gd name="T39" fmla="*/ 1195 h 1204"/>
                    <a:gd name="T40" fmla="*/ 252 w 848"/>
                    <a:gd name="T41" fmla="*/ 1183 h 1204"/>
                    <a:gd name="T42" fmla="*/ 215 w 848"/>
                    <a:gd name="T43" fmla="*/ 1155 h 1204"/>
                    <a:gd name="T44" fmla="*/ 144 w 848"/>
                    <a:gd name="T45" fmla="*/ 1126 h 1204"/>
                    <a:gd name="T46" fmla="*/ 151 w 848"/>
                    <a:gd name="T47" fmla="*/ 1015 h 1204"/>
                    <a:gd name="T48" fmla="*/ 113 w 848"/>
                    <a:gd name="T49" fmla="*/ 892 h 1204"/>
                    <a:gd name="T50" fmla="*/ 134 w 848"/>
                    <a:gd name="T51" fmla="*/ 822 h 1204"/>
                    <a:gd name="T52" fmla="*/ 189 w 848"/>
                    <a:gd name="T53" fmla="*/ 800 h 1204"/>
                    <a:gd name="T54" fmla="*/ 236 w 848"/>
                    <a:gd name="T55" fmla="*/ 760 h 1204"/>
                    <a:gd name="T56" fmla="*/ 340 w 848"/>
                    <a:gd name="T57" fmla="*/ 670 h 1204"/>
                    <a:gd name="T58" fmla="*/ 399 w 848"/>
                    <a:gd name="T59" fmla="*/ 628 h 1204"/>
                    <a:gd name="T60" fmla="*/ 361 w 848"/>
                    <a:gd name="T61" fmla="*/ 543 h 1204"/>
                    <a:gd name="T62" fmla="*/ 328 w 848"/>
                    <a:gd name="T63" fmla="*/ 522 h 1204"/>
                    <a:gd name="T64" fmla="*/ 382 w 848"/>
                    <a:gd name="T65" fmla="*/ 616 h 1204"/>
                    <a:gd name="T66" fmla="*/ 236 w 848"/>
                    <a:gd name="T67" fmla="*/ 748 h 1204"/>
                    <a:gd name="T68" fmla="*/ 122 w 848"/>
                    <a:gd name="T69" fmla="*/ 817 h 1204"/>
                    <a:gd name="T70" fmla="*/ 189 w 848"/>
                    <a:gd name="T71" fmla="*/ 822 h 1204"/>
                    <a:gd name="T72" fmla="*/ 189 w 848"/>
                    <a:gd name="T73" fmla="*/ 822 h 1204"/>
                    <a:gd name="T74" fmla="*/ 122 w 848"/>
                    <a:gd name="T75" fmla="*/ 833 h 1204"/>
                    <a:gd name="T76" fmla="*/ 129 w 848"/>
                    <a:gd name="T77" fmla="*/ 1081 h 1204"/>
                    <a:gd name="T78" fmla="*/ 134 w 848"/>
                    <a:gd name="T79" fmla="*/ 1126 h 1204"/>
                    <a:gd name="T80" fmla="*/ 160 w 848"/>
                    <a:gd name="T81" fmla="*/ 1138 h 1204"/>
                    <a:gd name="T82" fmla="*/ 26 w 848"/>
                    <a:gd name="T83" fmla="*/ 1183 h 1204"/>
                    <a:gd name="T84" fmla="*/ 26 w 848"/>
                    <a:gd name="T85" fmla="*/ 1150 h 1204"/>
                    <a:gd name="T86" fmla="*/ 42 w 848"/>
                    <a:gd name="T87" fmla="*/ 1155 h 1204"/>
                    <a:gd name="T88" fmla="*/ 26 w 848"/>
                    <a:gd name="T89" fmla="*/ 1183 h 1204"/>
                    <a:gd name="T90" fmla="*/ 198 w 848"/>
                    <a:gd name="T91" fmla="*/ 1150 h 1204"/>
                    <a:gd name="T92" fmla="*/ 198 w 848"/>
                    <a:gd name="T93" fmla="*/ 1150 h 1204"/>
                    <a:gd name="T94" fmla="*/ 432 w 848"/>
                    <a:gd name="T95" fmla="*/ 1150 h 1204"/>
                    <a:gd name="T96" fmla="*/ 59 w 848"/>
                    <a:gd name="T97" fmla="*/ 1166 h 1204"/>
                    <a:gd name="T98" fmla="*/ 59 w 848"/>
                    <a:gd name="T99" fmla="*/ 1166 h 1204"/>
                    <a:gd name="T100" fmla="*/ 4 w 848"/>
                    <a:gd name="T101" fmla="*/ 1171 h 1204"/>
                    <a:gd name="T102" fmla="*/ 205 w 848"/>
                    <a:gd name="T103" fmla="*/ 1155 h 1204"/>
                    <a:gd name="T104" fmla="*/ 215 w 848"/>
                    <a:gd name="T105" fmla="*/ 1183 h 1204"/>
                    <a:gd name="T106" fmla="*/ 177 w 848"/>
                    <a:gd name="T107" fmla="*/ 1166 h 1204"/>
                    <a:gd name="T108" fmla="*/ 160 w 848"/>
                    <a:gd name="T109" fmla="*/ 1171 h 1204"/>
                    <a:gd name="T110" fmla="*/ 59 w 848"/>
                    <a:gd name="T111" fmla="*/ 1171 h 1204"/>
                    <a:gd name="T112" fmla="*/ 52 w 848"/>
                    <a:gd name="T113" fmla="*/ 1171 h 1204"/>
                    <a:gd name="T114" fmla="*/ 42 w 848"/>
                    <a:gd name="T115" fmla="*/ 1171 h 1204"/>
                    <a:gd name="T116" fmla="*/ 205 w 848"/>
                    <a:gd name="T117" fmla="*/ 1171 h 1204"/>
                    <a:gd name="T118" fmla="*/ 243 w 848"/>
                    <a:gd name="T119" fmla="*/ 1195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8" h="1204">
                      <a:moveTo>
                        <a:pt x="328" y="522"/>
                      </a:moveTo>
                      <a:lnTo>
                        <a:pt x="311" y="489"/>
                      </a:lnTo>
                      <a:lnTo>
                        <a:pt x="297" y="481"/>
                      </a:lnTo>
                      <a:lnTo>
                        <a:pt x="290" y="465"/>
                      </a:lnTo>
                      <a:lnTo>
                        <a:pt x="290" y="448"/>
                      </a:lnTo>
                      <a:lnTo>
                        <a:pt x="307" y="432"/>
                      </a:lnTo>
                      <a:lnTo>
                        <a:pt x="307" y="411"/>
                      </a:lnTo>
                      <a:lnTo>
                        <a:pt x="311" y="404"/>
                      </a:lnTo>
                      <a:lnTo>
                        <a:pt x="285" y="361"/>
                      </a:lnTo>
                      <a:lnTo>
                        <a:pt x="290" y="349"/>
                      </a:lnTo>
                      <a:lnTo>
                        <a:pt x="297" y="349"/>
                      </a:lnTo>
                      <a:lnTo>
                        <a:pt x="297" y="333"/>
                      </a:lnTo>
                      <a:lnTo>
                        <a:pt x="274" y="321"/>
                      </a:lnTo>
                      <a:lnTo>
                        <a:pt x="274" y="276"/>
                      </a:lnTo>
                      <a:lnTo>
                        <a:pt x="290" y="267"/>
                      </a:lnTo>
                      <a:lnTo>
                        <a:pt x="236" y="210"/>
                      </a:lnTo>
                      <a:lnTo>
                        <a:pt x="177" y="193"/>
                      </a:lnTo>
                      <a:lnTo>
                        <a:pt x="75" y="127"/>
                      </a:lnTo>
                      <a:lnTo>
                        <a:pt x="106" y="132"/>
                      </a:lnTo>
                      <a:lnTo>
                        <a:pt x="113" y="115"/>
                      </a:lnTo>
                      <a:lnTo>
                        <a:pt x="106" y="111"/>
                      </a:lnTo>
                      <a:lnTo>
                        <a:pt x="129" y="94"/>
                      </a:lnTo>
                      <a:lnTo>
                        <a:pt x="151" y="99"/>
                      </a:lnTo>
                      <a:lnTo>
                        <a:pt x="198" y="155"/>
                      </a:lnTo>
                      <a:lnTo>
                        <a:pt x="205" y="172"/>
                      </a:lnTo>
                      <a:lnTo>
                        <a:pt x="257" y="181"/>
                      </a:lnTo>
                      <a:lnTo>
                        <a:pt x="311" y="155"/>
                      </a:lnTo>
                      <a:lnTo>
                        <a:pt x="382" y="189"/>
                      </a:lnTo>
                      <a:lnTo>
                        <a:pt x="394" y="181"/>
                      </a:lnTo>
                      <a:lnTo>
                        <a:pt x="399" y="155"/>
                      </a:lnTo>
                      <a:lnTo>
                        <a:pt x="432" y="148"/>
                      </a:lnTo>
                      <a:lnTo>
                        <a:pt x="437" y="132"/>
                      </a:lnTo>
                      <a:lnTo>
                        <a:pt x="437" y="99"/>
                      </a:lnTo>
                      <a:lnTo>
                        <a:pt x="453" y="44"/>
                      </a:lnTo>
                      <a:lnTo>
                        <a:pt x="491" y="16"/>
                      </a:lnTo>
                      <a:lnTo>
                        <a:pt x="529" y="21"/>
                      </a:lnTo>
                      <a:lnTo>
                        <a:pt x="595" y="0"/>
                      </a:lnTo>
                      <a:lnTo>
                        <a:pt x="621" y="28"/>
                      </a:lnTo>
                      <a:lnTo>
                        <a:pt x="675" y="44"/>
                      </a:lnTo>
                      <a:lnTo>
                        <a:pt x="685" y="70"/>
                      </a:lnTo>
                      <a:lnTo>
                        <a:pt x="654" y="99"/>
                      </a:lnTo>
                      <a:lnTo>
                        <a:pt x="654" y="115"/>
                      </a:lnTo>
                      <a:lnTo>
                        <a:pt x="663" y="127"/>
                      </a:lnTo>
                      <a:lnTo>
                        <a:pt x="621" y="148"/>
                      </a:lnTo>
                      <a:lnTo>
                        <a:pt x="654" y="155"/>
                      </a:lnTo>
                      <a:lnTo>
                        <a:pt x="633" y="193"/>
                      </a:lnTo>
                      <a:lnTo>
                        <a:pt x="647" y="238"/>
                      </a:lnTo>
                      <a:lnTo>
                        <a:pt x="692" y="250"/>
                      </a:lnTo>
                      <a:lnTo>
                        <a:pt x="718" y="283"/>
                      </a:lnTo>
                      <a:lnTo>
                        <a:pt x="739" y="300"/>
                      </a:lnTo>
                      <a:lnTo>
                        <a:pt x="729" y="316"/>
                      </a:lnTo>
                      <a:lnTo>
                        <a:pt x="675" y="378"/>
                      </a:lnTo>
                      <a:lnTo>
                        <a:pt x="670" y="394"/>
                      </a:lnTo>
                      <a:lnTo>
                        <a:pt x="729" y="489"/>
                      </a:lnTo>
                      <a:lnTo>
                        <a:pt x="746" y="538"/>
                      </a:lnTo>
                      <a:lnTo>
                        <a:pt x="725" y="543"/>
                      </a:lnTo>
                      <a:lnTo>
                        <a:pt x="718" y="576"/>
                      </a:lnTo>
                      <a:lnTo>
                        <a:pt x="708" y="592"/>
                      </a:lnTo>
                      <a:lnTo>
                        <a:pt x="725" y="592"/>
                      </a:lnTo>
                      <a:lnTo>
                        <a:pt x="729" y="611"/>
                      </a:lnTo>
                      <a:lnTo>
                        <a:pt x="708" y="611"/>
                      </a:lnTo>
                      <a:lnTo>
                        <a:pt x="708" y="633"/>
                      </a:lnTo>
                      <a:lnTo>
                        <a:pt x="725" y="637"/>
                      </a:lnTo>
                      <a:lnTo>
                        <a:pt x="746" y="649"/>
                      </a:lnTo>
                      <a:lnTo>
                        <a:pt x="755" y="666"/>
                      </a:lnTo>
                      <a:lnTo>
                        <a:pt x="739" y="670"/>
                      </a:lnTo>
                      <a:lnTo>
                        <a:pt x="746" y="682"/>
                      </a:lnTo>
                      <a:lnTo>
                        <a:pt x="739" y="687"/>
                      </a:lnTo>
                      <a:lnTo>
                        <a:pt x="777" y="711"/>
                      </a:lnTo>
                      <a:lnTo>
                        <a:pt x="777" y="727"/>
                      </a:lnTo>
                      <a:lnTo>
                        <a:pt x="739" y="765"/>
                      </a:lnTo>
                      <a:lnTo>
                        <a:pt x="826" y="822"/>
                      </a:lnTo>
                      <a:lnTo>
                        <a:pt x="848" y="859"/>
                      </a:lnTo>
                      <a:lnTo>
                        <a:pt x="826" y="904"/>
                      </a:lnTo>
                      <a:lnTo>
                        <a:pt x="685" y="1044"/>
                      </a:lnTo>
                      <a:lnTo>
                        <a:pt x="583" y="1126"/>
                      </a:lnTo>
                      <a:lnTo>
                        <a:pt x="562" y="1133"/>
                      </a:lnTo>
                      <a:lnTo>
                        <a:pt x="540" y="1117"/>
                      </a:lnTo>
                      <a:lnTo>
                        <a:pt x="524" y="1133"/>
                      </a:lnTo>
                      <a:lnTo>
                        <a:pt x="491" y="1133"/>
                      </a:lnTo>
                      <a:lnTo>
                        <a:pt x="503" y="1117"/>
                      </a:lnTo>
                      <a:lnTo>
                        <a:pt x="507" y="1117"/>
                      </a:lnTo>
                      <a:lnTo>
                        <a:pt x="503" y="1110"/>
                      </a:lnTo>
                      <a:lnTo>
                        <a:pt x="486" y="1138"/>
                      </a:lnTo>
                      <a:lnTo>
                        <a:pt x="458" y="1133"/>
                      </a:lnTo>
                      <a:lnTo>
                        <a:pt x="458" y="1150"/>
                      </a:lnTo>
                      <a:lnTo>
                        <a:pt x="458" y="1150"/>
                      </a:lnTo>
                      <a:lnTo>
                        <a:pt x="448" y="1138"/>
                      </a:lnTo>
                      <a:lnTo>
                        <a:pt x="453" y="1155"/>
                      </a:lnTo>
                      <a:lnTo>
                        <a:pt x="437" y="1150"/>
                      </a:lnTo>
                      <a:lnTo>
                        <a:pt x="448" y="1155"/>
                      </a:lnTo>
                      <a:lnTo>
                        <a:pt x="437" y="1155"/>
                      </a:lnTo>
                      <a:lnTo>
                        <a:pt x="432" y="1138"/>
                      </a:lnTo>
                      <a:lnTo>
                        <a:pt x="420" y="1155"/>
                      </a:lnTo>
                      <a:lnTo>
                        <a:pt x="361" y="1171"/>
                      </a:lnTo>
                      <a:lnTo>
                        <a:pt x="349" y="1183"/>
                      </a:lnTo>
                      <a:lnTo>
                        <a:pt x="340" y="1171"/>
                      </a:lnTo>
                      <a:lnTo>
                        <a:pt x="274" y="1188"/>
                      </a:lnTo>
                      <a:lnTo>
                        <a:pt x="285" y="1171"/>
                      </a:lnTo>
                      <a:lnTo>
                        <a:pt x="257" y="1195"/>
                      </a:lnTo>
                      <a:lnTo>
                        <a:pt x="236" y="1204"/>
                      </a:lnTo>
                      <a:lnTo>
                        <a:pt x="269" y="1183"/>
                      </a:lnTo>
                      <a:lnTo>
                        <a:pt x="252" y="1188"/>
                      </a:lnTo>
                      <a:lnTo>
                        <a:pt x="257" y="1183"/>
                      </a:lnTo>
                      <a:lnTo>
                        <a:pt x="252" y="1183"/>
                      </a:lnTo>
                      <a:lnTo>
                        <a:pt x="243" y="1171"/>
                      </a:lnTo>
                      <a:lnTo>
                        <a:pt x="243" y="1171"/>
                      </a:lnTo>
                      <a:lnTo>
                        <a:pt x="236" y="1166"/>
                      </a:lnTo>
                      <a:lnTo>
                        <a:pt x="252" y="1150"/>
                      </a:lnTo>
                      <a:lnTo>
                        <a:pt x="215" y="1155"/>
                      </a:lnTo>
                      <a:lnTo>
                        <a:pt x="205" y="1155"/>
                      </a:lnTo>
                      <a:lnTo>
                        <a:pt x="219" y="1138"/>
                      </a:lnTo>
                      <a:lnTo>
                        <a:pt x="160" y="1133"/>
                      </a:lnTo>
                      <a:lnTo>
                        <a:pt x="160" y="1117"/>
                      </a:lnTo>
                      <a:lnTo>
                        <a:pt x="144" y="1126"/>
                      </a:lnTo>
                      <a:lnTo>
                        <a:pt x="129" y="1110"/>
                      </a:lnTo>
                      <a:lnTo>
                        <a:pt x="129" y="1081"/>
                      </a:lnTo>
                      <a:lnTo>
                        <a:pt x="144" y="1039"/>
                      </a:lnTo>
                      <a:lnTo>
                        <a:pt x="134" y="1015"/>
                      </a:lnTo>
                      <a:lnTo>
                        <a:pt x="151" y="1015"/>
                      </a:lnTo>
                      <a:lnTo>
                        <a:pt x="122" y="966"/>
                      </a:lnTo>
                      <a:lnTo>
                        <a:pt x="129" y="944"/>
                      </a:lnTo>
                      <a:lnTo>
                        <a:pt x="129" y="928"/>
                      </a:lnTo>
                      <a:lnTo>
                        <a:pt x="113" y="911"/>
                      </a:lnTo>
                      <a:lnTo>
                        <a:pt x="113" y="892"/>
                      </a:lnTo>
                      <a:lnTo>
                        <a:pt x="113" y="876"/>
                      </a:lnTo>
                      <a:lnTo>
                        <a:pt x="129" y="859"/>
                      </a:lnTo>
                      <a:lnTo>
                        <a:pt x="134" y="850"/>
                      </a:lnTo>
                      <a:lnTo>
                        <a:pt x="151" y="850"/>
                      </a:lnTo>
                      <a:lnTo>
                        <a:pt x="134" y="822"/>
                      </a:lnTo>
                      <a:lnTo>
                        <a:pt x="167" y="822"/>
                      </a:lnTo>
                      <a:lnTo>
                        <a:pt x="177" y="833"/>
                      </a:lnTo>
                      <a:lnTo>
                        <a:pt x="198" y="822"/>
                      </a:lnTo>
                      <a:lnTo>
                        <a:pt x="198" y="817"/>
                      </a:lnTo>
                      <a:lnTo>
                        <a:pt x="189" y="800"/>
                      </a:lnTo>
                      <a:lnTo>
                        <a:pt x="198" y="793"/>
                      </a:lnTo>
                      <a:lnTo>
                        <a:pt x="205" y="800"/>
                      </a:lnTo>
                      <a:lnTo>
                        <a:pt x="215" y="765"/>
                      </a:lnTo>
                      <a:lnTo>
                        <a:pt x="231" y="781"/>
                      </a:lnTo>
                      <a:lnTo>
                        <a:pt x="236" y="760"/>
                      </a:lnTo>
                      <a:lnTo>
                        <a:pt x="269" y="748"/>
                      </a:lnTo>
                      <a:lnTo>
                        <a:pt x="274" y="727"/>
                      </a:lnTo>
                      <a:lnTo>
                        <a:pt x="290" y="727"/>
                      </a:lnTo>
                      <a:lnTo>
                        <a:pt x="311" y="687"/>
                      </a:lnTo>
                      <a:lnTo>
                        <a:pt x="340" y="670"/>
                      </a:lnTo>
                      <a:lnTo>
                        <a:pt x="349" y="637"/>
                      </a:lnTo>
                      <a:lnTo>
                        <a:pt x="394" y="633"/>
                      </a:lnTo>
                      <a:lnTo>
                        <a:pt x="403" y="637"/>
                      </a:lnTo>
                      <a:lnTo>
                        <a:pt x="415" y="633"/>
                      </a:lnTo>
                      <a:lnTo>
                        <a:pt x="399" y="628"/>
                      </a:lnTo>
                      <a:lnTo>
                        <a:pt x="415" y="628"/>
                      </a:lnTo>
                      <a:lnTo>
                        <a:pt x="403" y="600"/>
                      </a:lnTo>
                      <a:lnTo>
                        <a:pt x="415" y="571"/>
                      </a:lnTo>
                      <a:lnTo>
                        <a:pt x="403" y="559"/>
                      </a:lnTo>
                      <a:lnTo>
                        <a:pt x="361" y="543"/>
                      </a:lnTo>
                      <a:lnTo>
                        <a:pt x="349" y="526"/>
                      </a:lnTo>
                      <a:lnTo>
                        <a:pt x="361" y="517"/>
                      </a:lnTo>
                      <a:lnTo>
                        <a:pt x="344" y="526"/>
                      </a:lnTo>
                      <a:lnTo>
                        <a:pt x="328" y="522"/>
                      </a:lnTo>
                      <a:lnTo>
                        <a:pt x="328" y="522"/>
                      </a:lnTo>
                      <a:lnTo>
                        <a:pt x="328" y="522"/>
                      </a:lnTo>
                      <a:close/>
                      <a:moveTo>
                        <a:pt x="382" y="616"/>
                      </a:moveTo>
                      <a:lnTo>
                        <a:pt x="366" y="628"/>
                      </a:lnTo>
                      <a:lnTo>
                        <a:pt x="349" y="616"/>
                      </a:lnTo>
                      <a:lnTo>
                        <a:pt x="382" y="616"/>
                      </a:lnTo>
                      <a:lnTo>
                        <a:pt x="382" y="616"/>
                      </a:lnTo>
                      <a:lnTo>
                        <a:pt x="382" y="616"/>
                      </a:lnTo>
                      <a:close/>
                      <a:moveTo>
                        <a:pt x="236" y="760"/>
                      </a:moveTo>
                      <a:lnTo>
                        <a:pt x="219" y="760"/>
                      </a:lnTo>
                      <a:lnTo>
                        <a:pt x="236" y="748"/>
                      </a:lnTo>
                      <a:lnTo>
                        <a:pt x="236" y="760"/>
                      </a:lnTo>
                      <a:lnTo>
                        <a:pt x="236" y="760"/>
                      </a:lnTo>
                      <a:lnTo>
                        <a:pt x="236" y="760"/>
                      </a:lnTo>
                      <a:close/>
                      <a:moveTo>
                        <a:pt x="129" y="817"/>
                      </a:moveTo>
                      <a:lnTo>
                        <a:pt x="122" y="817"/>
                      </a:lnTo>
                      <a:lnTo>
                        <a:pt x="129" y="817"/>
                      </a:lnTo>
                      <a:lnTo>
                        <a:pt x="129" y="817"/>
                      </a:lnTo>
                      <a:lnTo>
                        <a:pt x="129" y="817"/>
                      </a:lnTo>
                      <a:lnTo>
                        <a:pt x="129" y="817"/>
                      </a:lnTo>
                      <a:close/>
                      <a:moveTo>
                        <a:pt x="189" y="822"/>
                      </a:moveTo>
                      <a:lnTo>
                        <a:pt x="177" y="817"/>
                      </a:lnTo>
                      <a:lnTo>
                        <a:pt x="189" y="817"/>
                      </a:lnTo>
                      <a:lnTo>
                        <a:pt x="189" y="822"/>
                      </a:lnTo>
                      <a:lnTo>
                        <a:pt x="189" y="822"/>
                      </a:lnTo>
                      <a:lnTo>
                        <a:pt x="189" y="822"/>
                      </a:lnTo>
                      <a:close/>
                      <a:moveTo>
                        <a:pt x="122" y="833"/>
                      </a:moveTo>
                      <a:lnTo>
                        <a:pt x="113" y="817"/>
                      </a:lnTo>
                      <a:lnTo>
                        <a:pt x="134" y="822"/>
                      </a:lnTo>
                      <a:lnTo>
                        <a:pt x="122" y="833"/>
                      </a:lnTo>
                      <a:lnTo>
                        <a:pt x="122" y="833"/>
                      </a:lnTo>
                      <a:lnTo>
                        <a:pt x="122" y="833"/>
                      </a:lnTo>
                      <a:close/>
                      <a:moveTo>
                        <a:pt x="129" y="1081"/>
                      </a:moveTo>
                      <a:lnTo>
                        <a:pt x="122" y="1077"/>
                      </a:lnTo>
                      <a:lnTo>
                        <a:pt x="129" y="1081"/>
                      </a:lnTo>
                      <a:lnTo>
                        <a:pt x="129" y="1081"/>
                      </a:lnTo>
                      <a:lnTo>
                        <a:pt x="129" y="1081"/>
                      </a:lnTo>
                      <a:lnTo>
                        <a:pt x="129" y="1081"/>
                      </a:lnTo>
                      <a:close/>
                      <a:moveTo>
                        <a:pt x="134" y="1133"/>
                      </a:moveTo>
                      <a:lnTo>
                        <a:pt x="129" y="1126"/>
                      </a:lnTo>
                      <a:lnTo>
                        <a:pt x="134" y="1126"/>
                      </a:lnTo>
                      <a:lnTo>
                        <a:pt x="134" y="1133"/>
                      </a:lnTo>
                      <a:lnTo>
                        <a:pt x="134" y="1133"/>
                      </a:lnTo>
                      <a:lnTo>
                        <a:pt x="134" y="1133"/>
                      </a:lnTo>
                      <a:close/>
                      <a:moveTo>
                        <a:pt x="177" y="1150"/>
                      </a:moveTo>
                      <a:lnTo>
                        <a:pt x="160" y="1138"/>
                      </a:lnTo>
                      <a:lnTo>
                        <a:pt x="160" y="1133"/>
                      </a:lnTo>
                      <a:lnTo>
                        <a:pt x="177" y="1150"/>
                      </a:lnTo>
                      <a:lnTo>
                        <a:pt x="177" y="1150"/>
                      </a:lnTo>
                      <a:lnTo>
                        <a:pt x="177" y="1150"/>
                      </a:lnTo>
                      <a:close/>
                      <a:moveTo>
                        <a:pt x="26" y="1183"/>
                      </a:moveTo>
                      <a:lnTo>
                        <a:pt x="21" y="1171"/>
                      </a:lnTo>
                      <a:lnTo>
                        <a:pt x="14" y="1155"/>
                      </a:lnTo>
                      <a:lnTo>
                        <a:pt x="21" y="1150"/>
                      </a:lnTo>
                      <a:lnTo>
                        <a:pt x="21" y="1166"/>
                      </a:lnTo>
                      <a:lnTo>
                        <a:pt x="26" y="1150"/>
                      </a:lnTo>
                      <a:lnTo>
                        <a:pt x="21" y="1138"/>
                      </a:lnTo>
                      <a:lnTo>
                        <a:pt x="26" y="1138"/>
                      </a:lnTo>
                      <a:lnTo>
                        <a:pt x="52" y="1150"/>
                      </a:lnTo>
                      <a:lnTo>
                        <a:pt x="42" y="1166"/>
                      </a:lnTo>
                      <a:lnTo>
                        <a:pt x="42" y="1155"/>
                      </a:lnTo>
                      <a:lnTo>
                        <a:pt x="37" y="1150"/>
                      </a:lnTo>
                      <a:lnTo>
                        <a:pt x="26" y="1155"/>
                      </a:lnTo>
                      <a:lnTo>
                        <a:pt x="37" y="1171"/>
                      </a:lnTo>
                      <a:lnTo>
                        <a:pt x="26" y="1183"/>
                      </a:lnTo>
                      <a:lnTo>
                        <a:pt x="26" y="1183"/>
                      </a:lnTo>
                      <a:lnTo>
                        <a:pt x="26" y="1183"/>
                      </a:lnTo>
                      <a:close/>
                      <a:moveTo>
                        <a:pt x="198" y="1150"/>
                      </a:moveTo>
                      <a:lnTo>
                        <a:pt x="198" y="1150"/>
                      </a:lnTo>
                      <a:lnTo>
                        <a:pt x="205" y="1150"/>
                      </a:lnTo>
                      <a:lnTo>
                        <a:pt x="198" y="1150"/>
                      </a:lnTo>
                      <a:lnTo>
                        <a:pt x="198" y="1150"/>
                      </a:lnTo>
                      <a:lnTo>
                        <a:pt x="198" y="1150"/>
                      </a:lnTo>
                      <a:close/>
                      <a:moveTo>
                        <a:pt x="189" y="1155"/>
                      </a:moveTo>
                      <a:lnTo>
                        <a:pt x="181" y="1150"/>
                      </a:lnTo>
                      <a:lnTo>
                        <a:pt x="198" y="1150"/>
                      </a:lnTo>
                      <a:lnTo>
                        <a:pt x="189" y="1155"/>
                      </a:lnTo>
                      <a:lnTo>
                        <a:pt x="189" y="1155"/>
                      </a:lnTo>
                      <a:lnTo>
                        <a:pt x="189" y="1155"/>
                      </a:lnTo>
                      <a:close/>
                      <a:moveTo>
                        <a:pt x="432" y="1166"/>
                      </a:moveTo>
                      <a:lnTo>
                        <a:pt x="432" y="1150"/>
                      </a:lnTo>
                      <a:lnTo>
                        <a:pt x="432" y="1155"/>
                      </a:lnTo>
                      <a:lnTo>
                        <a:pt x="432" y="1166"/>
                      </a:lnTo>
                      <a:lnTo>
                        <a:pt x="432" y="1166"/>
                      </a:lnTo>
                      <a:lnTo>
                        <a:pt x="432" y="1166"/>
                      </a:lnTo>
                      <a:close/>
                      <a:moveTo>
                        <a:pt x="59" y="1166"/>
                      </a:moveTo>
                      <a:lnTo>
                        <a:pt x="59" y="1155"/>
                      </a:lnTo>
                      <a:lnTo>
                        <a:pt x="68" y="1155"/>
                      </a:lnTo>
                      <a:lnTo>
                        <a:pt x="59" y="1166"/>
                      </a:lnTo>
                      <a:lnTo>
                        <a:pt x="59" y="1166"/>
                      </a:lnTo>
                      <a:lnTo>
                        <a:pt x="59" y="1166"/>
                      </a:lnTo>
                      <a:close/>
                      <a:moveTo>
                        <a:pt x="4" y="1171"/>
                      </a:moveTo>
                      <a:lnTo>
                        <a:pt x="0" y="1166"/>
                      </a:lnTo>
                      <a:lnTo>
                        <a:pt x="4" y="1155"/>
                      </a:lnTo>
                      <a:lnTo>
                        <a:pt x="14" y="1166"/>
                      </a:lnTo>
                      <a:lnTo>
                        <a:pt x="4" y="1171"/>
                      </a:lnTo>
                      <a:lnTo>
                        <a:pt x="4" y="1171"/>
                      </a:lnTo>
                      <a:lnTo>
                        <a:pt x="4" y="1171"/>
                      </a:lnTo>
                      <a:close/>
                      <a:moveTo>
                        <a:pt x="215" y="1183"/>
                      </a:moveTo>
                      <a:lnTo>
                        <a:pt x="205" y="1183"/>
                      </a:lnTo>
                      <a:lnTo>
                        <a:pt x="205" y="1155"/>
                      </a:lnTo>
                      <a:lnTo>
                        <a:pt x="236" y="1155"/>
                      </a:lnTo>
                      <a:lnTo>
                        <a:pt x="236" y="1171"/>
                      </a:lnTo>
                      <a:lnTo>
                        <a:pt x="215" y="1183"/>
                      </a:lnTo>
                      <a:lnTo>
                        <a:pt x="215" y="1183"/>
                      </a:lnTo>
                      <a:lnTo>
                        <a:pt x="215" y="1183"/>
                      </a:lnTo>
                      <a:close/>
                      <a:moveTo>
                        <a:pt x="177" y="1166"/>
                      </a:moveTo>
                      <a:lnTo>
                        <a:pt x="167" y="1166"/>
                      </a:lnTo>
                      <a:lnTo>
                        <a:pt x="181" y="1166"/>
                      </a:lnTo>
                      <a:lnTo>
                        <a:pt x="177" y="1166"/>
                      </a:lnTo>
                      <a:lnTo>
                        <a:pt x="177" y="1166"/>
                      </a:lnTo>
                      <a:lnTo>
                        <a:pt x="177" y="1166"/>
                      </a:lnTo>
                      <a:close/>
                      <a:moveTo>
                        <a:pt x="160" y="1171"/>
                      </a:moveTo>
                      <a:lnTo>
                        <a:pt x="151" y="1166"/>
                      </a:lnTo>
                      <a:lnTo>
                        <a:pt x="167" y="1166"/>
                      </a:lnTo>
                      <a:lnTo>
                        <a:pt x="160" y="1171"/>
                      </a:lnTo>
                      <a:lnTo>
                        <a:pt x="160" y="1171"/>
                      </a:lnTo>
                      <a:lnTo>
                        <a:pt x="160" y="1171"/>
                      </a:lnTo>
                      <a:close/>
                      <a:moveTo>
                        <a:pt x="52" y="1171"/>
                      </a:moveTo>
                      <a:lnTo>
                        <a:pt x="52" y="1166"/>
                      </a:lnTo>
                      <a:lnTo>
                        <a:pt x="59" y="1171"/>
                      </a:lnTo>
                      <a:lnTo>
                        <a:pt x="52" y="1171"/>
                      </a:lnTo>
                      <a:lnTo>
                        <a:pt x="52" y="1171"/>
                      </a:lnTo>
                      <a:lnTo>
                        <a:pt x="52" y="1171"/>
                      </a:lnTo>
                      <a:close/>
                      <a:moveTo>
                        <a:pt x="42" y="1171"/>
                      </a:moveTo>
                      <a:lnTo>
                        <a:pt x="52" y="1171"/>
                      </a:lnTo>
                      <a:lnTo>
                        <a:pt x="52" y="1183"/>
                      </a:lnTo>
                      <a:lnTo>
                        <a:pt x="37" y="1171"/>
                      </a:lnTo>
                      <a:lnTo>
                        <a:pt x="42" y="1171"/>
                      </a:lnTo>
                      <a:lnTo>
                        <a:pt x="42" y="1171"/>
                      </a:lnTo>
                      <a:lnTo>
                        <a:pt x="42" y="1171"/>
                      </a:lnTo>
                      <a:close/>
                      <a:moveTo>
                        <a:pt x="205" y="1171"/>
                      </a:moveTo>
                      <a:lnTo>
                        <a:pt x="198" y="1183"/>
                      </a:lnTo>
                      <a:lnTo>
                        <a:pt x="198" y="1171"/>
                      </a:lnTo>
                      <a:lnTo>
                        <a:pt x="205" y="1171"/>
                      </a:lnTo>
                      <a:lnTo>
                        <a:pt x="205" y="1171"/>
                      </a:lnTo>
                      <a:lnTo>
                        <a:pt x="205" y="1171"/>
                      </a:lnTo>
                      <a:close/>
                      <a:moveTo>
                        <a:pt x="243" y="1195"/>
                      </a:moveTo>
                      <a:lnTo>
                        <a:pt x="231" y="1188"/>
                      </a:lnTo>
                      <a:lnTo>
                        <a:pt x="252" y="1188"/>
                      </a:lnTo>
                      <a:lnTo>
                        <a:pt x="243" y="1195"/>
                      </a:lnTo>
                      <a:lnTo>
                        <a:pt x="243" y="1195"/>
                      </a:lnTo>
                      <a:lnTo>
                        <a:pt x="243" y="119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20" name="Freeform 443">
                  <a:extLst>
                    <a:ext uri="{FF2B5EF4-FFF2-40B4-BE49-F238E27FC236}">
                      <a16:creationId xmlns:a16="http://schemas.microsoft.com/office/drawing/2014/main" id="{102C1C6C-4B6B-4C2D-B69F-AA5EA1FC2CB7}"/>
                    </a:ext>
                  </a:extLst>
                </p:cNvPr>
                <p:cNvSpPr>
                  <a:spLocks noEditPoints="1"/>
                </p:cNvSpPr>
                <p:nvPr/>
              </p:nvSpPr>
              <p:spPr bwMode="gray">
                <a:xfrm>
                  <a:off x="6511344" y="1926197"/>
                  <a:ext cx="30053" cy="40760"/>
                </a:xfrm>
                <a:custGeom>
                  <a:avLst/>
                  <a:gdLst>
                    <a:gd name="T0" fmla="*/ 64 w 73"/>
                    <a:gd name="T1" fmla="*/ 16 h 99"/>
                    <a:gd name="T2" fmla="*/ 56 w 73"/>
                    <a:gd name="T3" fmla="*/ 4 h 99"/>
                    <a:gd name="T4" fmla="*/ 64 w 73"/>
                    <a:gd name="T5" fmla="*/ 0 h 99"/>
                    <a:gd name="T6" fmla="*/ 73 w 73"/>
                    <a:gd name="T7" fmla="*/ 4 h 99"/>
                    <a:gd name="T8" fmla="*/ 64 w 73"/>
                    <a:gd name="T9" fmla="*/ 16 h 99"/>
                    <a:gd name="T10" fmla="*/ 64 w 73"/>
                    <a:gd name="T11" fmla="*/ 16 h 99"/>
                    <a:gd name="T12" fmla="*/ 64 w 73"/>
                    <a:gd name="T13" fmla="*/ 16 h 99"/>
                    <a:gd name="T14" fmla="*/ 52 w 73"/>
                    <a:gd name="T15" fmla="*/ 33 h 99"/>
                    <a:gd name="T16" fmla="*/ 26 w 73"/>
                    <a:gd name="T17" fmla="*/ 0 h 99"/>
                    <a:gd name="T18" fmla="*/ 56 w 73"/>
                    <a:gd name="T19" fmla="*/ 16 h 99"/>
                    <a:gd name="T20" fmla="*/ 52 w 73"/>
                    <a:gd name="T21" fmla="*/ 33 h 99"/>
                    <a:gd name="T22" fmla="*/ 52 w 73"/>
                    <a:gd name="T23" fmla="*/ 33 h 99"/>
                    <a:gd name="T24" fmla="*/ 52 w 73"/>
                    <a:gd name="T25" fmla="*/ 33 h 99"/>
                    <a:gd name="T26" fmla="*/ 52 w 73"/>
                    <a:gd name="T27" fmla="*/ 44 h 99"/>
                    <a:gd name="T28" fmla="*/ 12 w 73"/>
                    <a:gd name="T29" fmla="*/ 16 h 99"/>
                    <a:gd name="T30" fmla="*/ 12 w 73"/>
                    <a:gd name="T31" fmla="*/ 4 h 99"/>
                    <a:gd name="T32" fmla="*/ 26 w 73"/>
                    <a:gd name="T33" fmla="*/ 4 h 99"/>
                    <a:gd name="T34" fmla="*/ 42 w 73"/>
                    <a:gd name="T35" fmla="*/ 21 h 99"/>
                    <a:gd name="T36" fmla="*/ 52 w 73"/>
                    <a:gd name="T37" fmla="*/ 44 h 99"/>
                    <a:gd name="T38" fmla="*/ 52 w 73"/>
                    <a:gd name="T39" fmla="*/ 44 h 99"/>
                    <a:gd name="T40" fmla="*/ 52 w 73"/>
                    <a:gd name="T41" fmla="*/ 44 h 99"/>
                    <a:gd name="T42" fmla="*/ 21 w 73"/>
                    <a:gd name="T43" fmla="*/ 33 h 99"/>
                    <a:gd name="T44" fmla="*/ 0 w 73"/>
                    <a:gd name="T45" fmla="*/ 21 h 99"/>
                    <a:gd name="T46" fmla="*/ 26 w 73"/>
                    <a:gd name="T47" fmla="*/ 21 h 99"/>
                    <a:gd name="T48" fmla="*/ 21 w 73"/>
                    <a:gd name="T49" fmla="*/ 33 h 99"/>
                    <a:gd name="T50" fmla="*/ 21 w 73"/>
                    <a:gd name="T51" fmla="*/ 33 h 99"/>
                    <a:gd name="T52" fmla="*/ 21 w 73"/>
                    <a:gd name="T53" fmla="*/ 33 h 99"/>
                    <a:gd name="T54" fmla="*/ 56 w 73"/>
                    <a:gd name="T55" fmla="*/ 61 h 99"/>
                    <a:gd name="T56" fmla="*/ 38 w 73"/>
                    <a:gd name="T57" fmla="*/ 44 h 99"/>
                    <a:gd name="T58" fmla="*/ 56 w 73"/>
                    <a:gd name="T59" fmla="*/ 54 h 99"/>
                    <a:gd name="T60" fmla="*/ 56 w 73"/>
                    <a:gd name="T61" fmla="*/ 61 h 99"/>
                    <a:gd name="T62" fmla="*/ 56 w 73"/>
                    <a:gd name="T63" fmla="*/ 61 h 99"/>
                    <a:gd name="T64" fmla="*/ 56 w 73"/>
                    <a:gd name="T65" fmla="*/ 61 h 99"/>
                    <a:gd name="T66" fmla="*/ 52 w 73"/>
                    <a:gd name="T67" fmla="*/ 99 h 99"/>
                    <a:gd name="T68" fmla="*/ 38 w 73"/>
                    <a:gd name="T69" fmla="*/ 78 h 99"/>
                    <a:gd name="T70" fmla="*/ 52 w 73"/>
                    <a:gd name="T71" fmla="*/ 87 h 99"/>
                    <a:gd name="T72" fmla="*/ 52 w 73"/>
                    <a:gd name="T73" fmla="*/ 99 h 99"/>
                    <a:gd name="T74" fmla="*/ 52 w 73"/>
                    <a:gd name="T75" fmla="*/ 99 h 99"/>
                    <a:gd name="T76" fmla="*/ 52 w 73"/>
                    <a:gd name="T77"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99">
                      <a:moveTo>
                        <a:pt x="64" y="16"/>
                      </a:moveTo>
                      <a:lnTo>
                        <a:pt x="56" y="4"/>
                      </a:lnTo>
                      <a:lnTo>
                        <a:pt x="64" y="0"/>
                      </a:lnTo>
                      <a:lnTo>
                        <a:pt x="73" y="4"/>
                      </a:lnTo>
                      <a:lnTo>
                        <a:pt x="64" y="16"/>
                      </a:lnTo>
                      <a:lnTo>
                        <a:pt x="64" y="16"/>
                      </a:lnTo>
                      <a:lnTo>
                        <a:pt x="64" y="16"/>
                      </a:lnTo>
                      <a:close/>
                      <a:moveTo>
                        <a:pt x="52" y="33"/>
                      </a:moveTo>
                      <a:lnTo>
                        <a:pt x="26" y="0"/>
                      </a:lnTo>
                      <a:lnTo>
                        <a:pt x="56" y="16"/>
                      </a:lnTo>
                      <a:lnTo>
                        <a:pt x="52" y="33"/>
                      </a:lnTo>
                      <a:lnTo>
                        <a:pt x="52" y="33"/>
                      </a:lnTo>
                      <a:lnTo>
                        <a:pt x="52" y="33"/>
                      </a:lnTo>
                      <a:close/>
                      <a:moveTo>
                        <a:pt x="52" y="44"/>
                      </a:moveTo>
                      <a:lnTo>
                        <a:pt x="12" y="16"/>
                      </a:lnTo>
                      <a:lnTo>
                        <a:pt x="12" y="4"/>
                      </a:lnTo>
                      <a:lnTo>
                        <a:pt x="26" y="4"/>
                      </a:lnTo>
                      <a:lnTo>
                        <a:pt x="42" y="21"/>
                      </a:lnTo>
                      <a:lnTo>
                        <a:pt x="52" y="44"/>
                      </a:lnTo>
                      <a:lnTo>
                        <a:pt x="52" y="44"/>
                      </a:lnTo>
                      <a:lnTo>
                        <a:pt x="52" y="44"/>
                      </a:lnTo>
                      <a:close/>
                      <a:moveTo>
                        <a:pt x="21" y="33"/>
                      </a:moveTo>
                      <a:lnTo>
                        <a:pt x="0" y="21"/>
                      </a:lnTo>
                      <a:lnTo>
                        <a:pt x="26" y="21"/>
                      </a:lnTo>
                      <a:lnTo>
                        <a:pt x="21" y="33"/>
                      </a:lnTo>
                      <a:lnTo>
                        <a:pt x="21" y="33"/>
                      </a:lnTo>
                      <a:lnTo>
                        <a:pt x="21" y="33"/>
                      </a:lnTo>
                      <a:close/>
                      <a:moveTo>
                        <a:pt x="56" y="61"/>
                      </a:moveTo>
                      <a:lnTo>
                        <a:pt x="38" y="44"/>
                      </a:lnTo>
                      <a:lnTo>
                        <a:pt x="56" y="54"/>
                      </a:lnTo>
                      <a:lnTo>
                        <a:pt x="56" y="61"/>
                      </a:lnTo>
                      <a:lnTo>
                        <a:pt x="56" y="61"/>
                      </a:lnTo>
                      <a:lnTo>
                        <a:pt x="56" y="61"/>
                      </a:lnTo>
                      <a:close/>
                      <a:moveTo>
                        <a:pt x="52" y="99"/>
                      </a:moveTo>
                      <a:lnTo>
                        <a:pt x="38" y="78"/>
                      </a:lnTo>
                      <a:lnTo>
                        <a:pt x="52" y="87"/>
                      </a:lnTo>
                      <a:lnTo>
                        <a:pt x="52" y="99"/>
                      </a:lnTo>
                      <a:lnTo>
                        <a:pt x="52" y="99"/>
                      </a:lnTo>
                      <a:lnTo>
                        <a:pt x="52" y="9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21" name="Freeform 445">
                  <a:extLst>
                    <a:ext uri="{FF2B5EF4-FFF2-40B4-BE49-F238E27FC236}">
                      <a16:creationId xmlns:a16="http://schemas.microsoft.com/office/drawing/2014/main" id="{EFC95D17-59EC-493D-AB22-4FA2B2DD01DA}"/>
                    </a:ext>
                  </a:extLst>
                </p:cNvPr>
                <p:cNvSpPr>
                  <a:spLocks noEditPoints="1"/>
                </p:cNvSpPr>
                <p:nvPr/>
              </p:nvSpPr>
              <p:spPr bwMode="gray">
                <a:xfrm>
                  <a:off x="6589149" y="2403375"/>
                  <a:ext cx="413317" cy="359839"/>
                </a:xfrm>
                <a:custGeom>
                  <a:avLst/>
                  <a:gdLst>
                    <a:gd name="T0" fmla="*/ 557 w 1004"/>
                    <a:gd name="T1" fmla="*/ 22 h 874"/>
                    <a:gd name="T2" fmla="*/ 626 w 1004"/>
                    <a:gd name="T3" fmla="*/ 76 h 874"/>
                    <a:gd name="T4" fmla="*/ 675 w 1004"/>
                    <a:gd name="T5" fmla="*/ 83 h 874"/>
                    <a:gd name="T6" fmla="*/ 718 w 1004"/>
                    <a:gd name="T7" fmla="*/ 149 h 874"/>
                    <a:gd name="T8" fmla="*/ 789 w 1004"/>
                    <a:gd name="T9" fmla="*/ 154 h 874"/>
                    <a:gd name="T10" fmla="*/ 848 w 1004"/>
                    <a:gd name="T11" fmla="*/ 178 h 874"/>
                    <a:gd name="T12" fmla="*/ 874 w 1004"/>
                    <a:gd name="T13" fmla="*/ 248 h 874"/>
                    <a:gd name="T14" fmla="*/ 864 w 1004"/>
                    <a:gd name="T15" fmla="*/ 322 h 874"/>
                    <a:gd name="T16" fmla="*/ 827 w 1004"/>
                    <a:gd name="T17" fmla="*/ 343 h 874"/>
                    <a:gd name="T18" fmla="*/ 767 w 1004"/>
                    <a:gd name="T19" fmla="*/ 416 h 874"/>
                    <a:gd name="T20" fmla="*/ 751 w 1004"/>
                    <a:gd name="T21" fmla="*/ 449 h 874"/>
                    <a:gd name="T22" fmla="*/ 805 w 1004"/>
                    <a:gd name="T23" fmla="*/ 426 h 874"/>
                    <a:gd name="T24" fmla="*/ 810 w 1004"/>
                    <a:gd name="T25" fmla="*/ 487 h 874"/>
                    <a:gd name="T26" fmla="*/ 805 w 1004"/>
                    <a:gd name="T27" fmla="*/ 565 h 874"/>
                    <a:gd name="T28" fmla="*/ 848 w 1004"/>
                    <a:gd name="T29" fmla="*/ 631 h 874"/>
                    <a:gd name="T30" fmla="*/ 860 w 1004"/>
                    <a:gd name="T31" fmla="*/ 664 h 874"/>
                    <a:gd name="T32" fmla="*/ 793 w 1004"/>
                    <a:gd name="T33" fmla="*/ 704 h 874"/>
                    <a:gd name="T34" fmla="*/ 767 w 1004"/>
                    <a:gd name="T35" fmla="*/ 726 h 874"/>
                    <a:gd name="T36" fmla="*/ 713 w 1004"/>
                    <a:gd name="T37" fmla="*/ 709 h 874"/>
                    <a:gd name="T38" fmla="*/ 685 w 1004"/>
                    <a:gd name="T39" fmla="*/ 685 h 874"/>
                    <a:gd name="T40" fmla="*/ 664 w 1004"/>
                    <a:gd name="T41" fmla="*/ 704 h 874"/>
                    <a:gd name="T42" fmla="*/ 567 w 1004"/>
                    <a:gd name="T43" fmla="*/ 709 h 874"/>
                    <a:gd name="T44" fmla="*/ 557 w 1004"/>
                    <a:gd name="T45" fmla="*/ 780 h 874"/>
                    <a:gd name="T46" fmla="*/ 470 w 1004"/>
                    <a:gd name="T47" fmla="*/ 787 h 874"/>
                    <a:gd name="T48" fmla="*/ 427 w 1004"/>
                    <a:gd name="T49" fmla="*/ 759 h 874"/>
                    <a:gd name="T50" fmla="*/ 307 w 1004"/>
                    <a:gd name="T51" fmla="*/ 747 h 874"/>
                    <a:gd name="T52" fmla="*/ 231 w 1004"/>
                    <a:gd name="T53" fmla="*/ 709 h 874"/>
                    <a:gd name="T54" fmla="*/ 248 w 1004"/>
                    <a:gd name="T55" fmla="*/ 593 h 874"/>
                    <a:gd name="T56" fmla="*/ 255 w 1004"/>
                    <a:gd name="T57" fmla="*/ 504 h 874"/>
                    <a:gd name="T58" fmla="*/ 248 w 1004"/>
                    <a:gd name="T59" fmla="*/ 499 h 874"/>
                    <a:gd name="T60" fmla="*/ 189 w 1004"/>
                    <a:gd name="T61" fmla="*/ 392 h 874"/>
                    <a:gd name="T62" fmla="*/ 210 w 1004"/>
                    <a:gd name="T63" fmla="*/ 355 h 874"/>
                    <a:gd name="T64" fmla="*/ 156 w 1004"/>
                    <a:gd name="T65" fmla="*/ 338 h 874"/>
                    <a:gd name="T66" fmla="*/ 134 w 1004"/>
                    <a:gd name="T67" fmla="*/ 331 h 874"/>
                    <a:gd name="T68" fmla="*/ 118 w 1004"/>
                    <a:gd name="T69" fmla="*/ 331 h 874"/>
                    <a:gd name="T70" fmla="*/ 28 w 1004"/>
                    <a:gd name="T71" fmla="*/ 289 h 874"/>
                    <a:gd name="T72" fmla="*/ 16 w 1004"/>
                    <a:gd name="T73" fmla="*/ 265 h 874"/>
                    <a:gd name="T74" fmla="*/ 0 w 1004"/>
                    <a:gd name="T75" fmla="*/ 248 h 874"/>
                    <a:gd name="T76" fmla="*/ 87 w 1004"/>
                    <a:gd name="T77" fmla="*/ 211 h 874"/>
                    <a:gd name="T78" fmla="*/ 193 w 1004"/>
                    <a:gd name="T79" fmla="*/ 232 h 874"/>
                    <a:gd name="T80" fmla="*/ 243 w 1004"/>
                    <a:gd name="T81" fmla="*/ 227 h 874"/>
                    <a:gd name="T82" fmla="*/ 201 w 1004"/>
                    <a:gd name="T83" fmla="*/ 133 h 874"/>
                    <a:gd name="T84" fmla="*/ 255 w 1004"/>
                    <a:gd name="T85" fmla="*/ 154 h 874"/>
                    <a:gd name="T86" fmla="*/ 340 w 1004"/>
                    <a:gd name="T87" fmla="*/ 137 h 874"/>
                    <a:gd name="T88" fmla="*/ 449 w 1004"/>
                    <a:gd name="T89" fmla="*/ 59 h 874"/>
                    <a:gd name="T90" fmla="*/ 512 w 1004"/>
                    <a:gd name="T91" fmla="*/ 0 h 874"/>
                    <a:gd name="T92" fmla="*/ 118 w 1004"/>
                    <a:gd name="T93" fmla="*/ 355 h 874"/>
                    <a:gd name="T94" fmla="*/ 231 w 1004"/>
                    <a:gd name="T95" fmla="*/ 466 h 874"/>
                    <a:gd name="T96" fmla="*/ 248 w 1004"/>
                    <a:gd name="T97" fmla="*/ 487 h 874"/>
                    <a:gd name="T98" fmla="*/ 945 w 1004"/>
                    <a:gd name="T99" fmla="*/ 796 h 874"/>
                    <a:gd name="T100" fmla="*/ 982 w 1004"/>
                    <a:gd name="T101" fmla="*/ 759 h 874"/>
                    <a:gd name="T102" fmla="*/ 999 w 1004"/>
                    <a:gd name="T103" fmla="*/ 820 h 874"/>
                    <a:gd name="T104" fmla="*/ 956 w 1004"/>
                    <a:gd name="T105" fmla="*/ 848 h 874"/>
                    <a:gd name="T106" fmla="*/ 945 w 1004"/>
                    <a:gd name="T107" fmla="*/ 820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4" h="874">
                      <a:moveTo>
                        <a:pt x="512" y="0"/>
                      </a:moveTo>
                      <a:lnTo>
                        <a:pt x="519" y="22"/>
                      </a:lnTo>
                      <a:lnTo>
                        <a:pt x="534" y="26"/>
                      </a:lnTo>
                      <a:lnTo>
                        <a:pt x="557" y="22"/>
                      </a:lnTo>
                      <a:lnTo>
                        <a:pt x="567" y="55"/>
                      </a:lnTo>
                      <a:lnTo>
                        <a:pt x="588" y="55"/>
                      </a:lnTo>
                      <a:lnTo>
                        <a:pt x="595" y="67"/>
                      </a:lnTo>
                      <a:lnTo>
                        <a:pt x="626" y="76"/>
                      </a:lnTo>
                      <a:lnTo>
                        <a:pt x="626" y="100"/>
                      </a:lnTo>
                      <a:lnTo>
                        <a:pt x="647" y="111"/>
                      </a:lnTo>
                      <a:lnTo>
                        <a:pt x="675" y="83"/>
                      </a:lnTo>
                      <a:lnTo>
                        <a:pt x="675" y="83"/>
                      </a:lnTo>
                      <a:lnTo>
                        <a:pt x="675" y="100"/>
                      </a:lnTo>
                      <a:lnTo>
                        <a:pt x="675" y="116"/>
                      </a:lnTo>
                      <a:lnTo>
                        <a:pt x="701" y="133"/>
                      </a:lnTo>
                      <a:lnTo>
                        <a:pt x="718" y="149"/>
                      </a:lnTo>
                      <a:lnTo>
                        <a:pt x="739" y="137"/>
                      </a:lnTo>
                      <a:lnTo>
                        <a:pt x="751" y="149"/>
                      </a:lnTo>
                      <a:lnTo>
                        <a:pt x="784" y="149"/>
                      </a:lnTo>
                      <a:lnTo>
                        <a:pt x="789" y="154"/>
                      </a:lnTo>
                      <a:lnTo>
                        <a:pt x="805" y="178"/>
                      </a:lnTo>
                      <a:lnTo>
                        <a:pt x="822" y="170"/>
                      </a:lnTo>
                      <a:lnTo>
                        <a:pt x="843" y="178"/>
                      </a:lnTo>
                      <a:lnTo>
                        <a:pt x="848" y="178"/>
                      </a:lnTo>
                      <a:lnTo>
                        <a:pt x="874" y="187"/>
                      </a:lnTo>
                      <a:lnTo>
                        <a:pt x="912" y="194"/>
                      </a:lnTo>
                      <a:lnTo>
                        <a:pt x="881" y="232"/>
                      </a:lnTo>
                      <a:lnTo>
                        <a:pt x="874" y="248"/>
                      </a:lnTo>
                      <a:lnTo>
                        <a:pt x="864" y="277"/>
                      </a:lnTo>
                      <a:lnTo>
                        <a:pt x="864" y="289"/>
                      </a:lnTo>
                      <a:lnTo>
                        <a:pt x="860" y="315"/>
                      </a:lnTo>
                      <a:lnTo>
                        <a:pt x="864" y="322"/>
                      </a:lnTo>
                      <a:lnTo>
                        <a:pt x="848" y="338"/>
                      </a:lnTo>
                      <a:lnTo>
                        <a:pt x="827" y="331"/>
                      </a:lnTo>
                      <a:lnTo>
                        <a:pt x="822" y="343"/>
                      </a:lnTo>
                      <a:lnTo>
                        <a:pt x="827" y="343"/>
                      </a:lnTo>
                      <a:lnTo>
                        <a:pt x="822" y="355"/>
                      </a:lnTo>
                      <a:lnTo>
                        <a:pt x="789" y="392"/>
                      </a:lnTo>
                      <a:lnTo>
                        <a:pt x="784" y="400"/>
                      </a:lnTo>
                      <a:lnTo>
                        <a:pt x="767" y="416"/>
                      </a:lnTo>
                      <a:lnTo>
                        <a:pt x="756" y="426"/>
                      </a:lnTo>
                      <a:lnTo>
                        <a:pt x="767" y="433"/>
                      </a:lnTo>
                      <a:lnTo>
                        <a:pt x="767" y="442"/>
                      </a:lnTo>
                      <a:lnTo>
                        <a:pt x="751" y="449"/>
                      </a:lnTo>
                      <a:lnTo>
                        <a:pt x="756" y="454"/>
                      </a:lnTo>
                      <a:lnTo>
                        <a:pt x="772" y="449"/>
                      </a:lnTo>
                      <a:lnTo>
                        <a:pt x="772" y="433"/>
                      </a:lnTo>
                      <a:lnTo>
                        <a:pt x="805" y="426"/>
                      </a:lnTo>
                      <a:lnTo>
                        <a:pt x="810" y="433"/>
                      </a:lnTo>
                      <a:lnTo>
                        <a:pt x="810" y="454"/>
                      </a:lnTo>
                      <a:lnTo>
                        <a:pt x="827" y="470"/>
                      </a:lnTo>
                      <a:lnTo>
                        <a:pt x="810" y="487"/>
                      </a:lnTo>
                      <a:lnTo>
                        <a:pt x="836" y="520"/>
                      </a:lnTo>
                      <a:lnTo>
                        <a:pt x="836" y="537"/>
                      </a:lnTo>
                      <a:lnTo>
                        <a:pt x="793" y="544"/>
                      </a:lnTo>
                      <a:lnTo>
                        <a:pt x="805" y="565"/>
                      </a:lnTo>
                      <a:lnTo>
                        <a:pt x="827" y="565"/>
                      </a:lnTo>
                      <a:lnTo>
                        <a:pt x="810" y="598"/>
                      </a:lnTo>
                      <a:lnTo>
                        <a:pt x="822" y="619"/>
                      </a:lnTo>
                      <a:lnTo>
                        <a:pt x="848" y="631"/>
                      </a:lnTo>
                      <a:lnTo>
                        <a:pt x="874" y="631"/>
                      </a:lnTo>
                      <a:lnTo>
                        <a:pt x="874" y="636"/>
                      </a:lnTo>
                      <a:lnTo>
                        <a:pt x="860" y="652"/>
                      </a:lnTo>
                      <a:lnTo>
                        <a:pt x="860" y="664"/>
                      </a:lnTo>
                      <a:lnTo>
                        <a:pt x="860" y="669"/>
                      </a:lnTo>
                      <a:lnTo>
                        <a:pt x="848" y="669"/>
                      </a:lnTo>
                      <a:lnTo>
                        <a:pt x="836" y="676"/>
                      </a:lnTo>
                      <a:lnTo>
                        <a:pt x="793" y="704"/>
                      </a:lnTo>
                      <a:lnTo>
                        <a:pt x="805" y="709"/>
                      </a:lnTo>
                      <a:lnTo>
                        <a:pt x="793" y="721"/>
                      </a:lnTo>
                      <a:lnTo>
                        <a:pt x="767" y="721"/>
                      </a:lnTo>
                      <a:lnTo>
                        <a:pt x="767" y="726"/>
                      </a:lnTo>
                      <a:lnTo>
                        <a:pt x="751" y="726"/>
                      </a:lnTo>
                      <a:lnTo>
                        <a:pt x="739" y="726"/>
                      </a:lnTo>
                      <a:lnTo>
                        <a:pt x="734" y="721"/>
                      </a:lnTo>
                      <a:lnTo>
                        <a:pt x="713" y="709"/>
                      </a:lnTo>
                      <a:lnTo>
                        <a:pt x="701" y="704"/>
                      </a:lnTo>
                      <a:lnTo>
                        <a:pt x="685" y="704"/>
                      </a:lnTo>
                      <a:lnTo>
                        <a:pt x="701" y="692"/>
                      </a:lnTo>
                      <a:lnTo>
                        <a:pt x="685" y="685"/>
                      </a:lnTo>
                      <a:lnTo>
                        <a:pt x="685" y="692"/>
                      </a:lnTo>
                      <a:lnTo>
                        <a:pt x="675" y="704"/>
                      </a:lnTo>
                      <a:lnTo>
                        <a:pt x="664" y="676"/>
                      </a:lnTo>
                      <a:lnTo>
                        <a:pt x="664" y="704"/>
                      </a:lnTo>
                      <a:lnTo>
                        <a:pt x="659" y="704"/>
                      </a:lnTo>
                      <a:lnTo>
                        <a:pt x="647" y="692"/>
                      </a:lnTo>
                      <a:lnTo>
                        <a:pt x="609" y="685"/>
                      </a:lnTo>
                      <a:lnTo>
                        <a:pt x="567" y="709"/>
                      </a:lnTo>
                      <a:lnTo>
                        <a:pt x="550" y="726"/>
                      </a:lnTo>
                      <a:lnTo>
                        <a:pt x="541" y="747"/>
                      </a:lnTo>
                      <a:lnTo>
                        <a:pt x="550" y="775"/>
                      </a:lnTo>
                      <a:lnTo>
                        <a:pt x="557" y="780"/>
                      </a:lnTo>
                      <a:lnTo>
                        <a:pt x="541" y="780"/>
                      </a:lnTo>
                      <a:lnTo>
                        <a:pt x="512" y="787"/>
                      </a:lnTo>
                      <a:lnTo>
                        <a:pt x="496" y="780"/>
                      </a:lnTo>
                      <a:lnTo>
                        <a:pt x="470" y="787"/>
                      </a:lnTo>
                      <a:lnTo>
                        <a:pt x="458" y="775"/>
                      </a:lnTo>
                      <a:lnTo>
                        <a:pt x="458" y="763"/>
                      </a:lnTo>
                      <a:lnTo>
                        <a:pt x="432" y="763"/>
                      </a:lnTo>
                      <a:lnTo>
                        <a:pt x="427" y="759"/>
                      </a:lnTo>
                      <a:lnTo>
                        <a:pt x="390" y="742"/>
                      </a:lnTo>
                      <a:lnTo>
                        <a:pt x="378" y="759"/>
                      </a:lnTo>
                      <a:lnTo>
                        <a:pt x="335" y="759"/>
                      </a:lnTo>
                      <a:lnTo>
                        <a:pt x="307" y="747"/>
                      </a:lnTo>
                      <a:lnTo>
                        <a:pt x="297" y="747"/>
                      </a:lnTo>
                      <a:lnTo>
                        <a:pt x="281" y="730"/>
                      </a:lnTo>
                      <a:lnTo>
                        <a:pt x="231" y="726"/>
                      </a:lnTo>
                      <a:lnTo>
                        <a:pt x="231" y="709"/>
                      </a:lnTo>
                      <a:lnTo>
                        <a:pt x="210" y="704"/>
                      </a:lnTo>
                      <a:lnTo>
                        <a:pt x="227" y="692"/>
                      </a:lnTo>
                      <a:lnTo>
                        <a:pt x="231" y="676"/>
                      </a:lnTo>
                      <a:lnTo>
                        <a:pt x="248" y="593"/>
                      </a:lnTo>
                      <a:lnTo>
                        <a:pt x="264" y="581"/>
                      </a:lnTo>
                      <a:lnTo>
                        <a:pt x="248" y="577"/>
                      </a:lnTo>
                      <a:lnTo>
                        <a:pt x="248" y="581"/>
                      </a:lnTo>
                      <a:lnTo>
                        <a:pt x="255" y="504"/>
                      </a:lnTo>
                      <a:lnTo>
                        <a:pt x="281" y="525"/>
                      </a:lnTo>
                      <a:lnTo>
                        <a:pt x="297" y="565"/>
                      </a:lnTo>
                      <a:lnTo>
                        <a:pt x="281" y="508"/>
                      </a:lnTo>
                      <a:lnTo>
                        <a:pt x="248" y="499"/>
                      </a:lnTo>
                      <a:lnTo>
                        <a:pt x="255" y="470"/>
                      </a:lnTo>
                      <a:lnTo>
                        <a:pt x="255" y="442"/>
                      </a:lnTo>
                      <a:lnTo>
                        <a:pt x="210" y="426"/>
                      </a:lnTo>
                      <a:lnTo>
                        <a:pt x="189" y="392"/>
                      </a:lnTo>
                      <a:lnTo>
                        <a:pt x="193" y="371"/>
                      </a:lnTo>
                      <a:lnTo>
                        <a:pt x="179" y="359"/>
                      </a:lnTo>
                      <a:lnTo>
                        <a:pt x="189" y="355"/>
                      </a:lnTo>
                      <a:lnTo>
                        <a:pt x="210" y="355"/>
                      </a:lnTo>
                      <a:lnTo>
                        <a:pt x="193" y="343"/>
                      </a:lnTo>
                      <a:lnTo>
                        <a:pt x="172" y="355"/>
                      </a:lnTo>
                      <a:lnTo>
                        <a:pt x="156" y="343"/>
                      </a:lnTo>
                      <a:lnTo>
                        <a:pt x="156" y="338"/>
                      </a:lnTo>
                      <a:lnTo>
                        <a:pt x="163" y="338"/>
                      </a:lnTo>
                      <a:lnTo>
                        <a:pt x="156" y="331"/>
                      </a:lnTo>
                      <a:lnTo>
                        <a:pt x="172" y="331"/>
                      </a:lnTo>
                      <a:lnTo>
                        <a:pt x="134" y="331"/>
                      </a:lnTo>
                      <a:lnTo>
                        <a:pt x="142" y="331"/>
                      </a:lnTo>
                      <a:lnTo>
                        <a:pt x="142" y="322"/>
                      </a:lnTo>
                      <a:lnTo>
                        <a:pt x="118" y="322"/>
                      </a:lnTo>
                      <a:lnTo>
                        <a:pt x="118" y="331"/>
                      </a:lnTo>
                      <a:lnTo>
                        <a:pt x="108" y="315"/>
                      </a:lnTo>
                      <a:lnTo>
                        <a:pt x="54" y="298"/>
                      </a:lnTo>
                      <a:lnTo>
                        <a:pt x="28" y="305"/>
                      </a:lnTo>
                      <a:lnTo>
                        <a:pt x="28" y="289"/>
                      </a:lnTo>
                      <a:lnTo>
                        <a:pt x="0" y="281"/>
                      </a:lnTo>
                      <a:lnTo>
                        <a:pt x="33" y="277"/>
                      </a:lnTo>
                      <a:lnTo>
                        <a:pt x="28" y="265"/>
                      </a:lnTo>
                      <a:lnTo>
                        <a:pt x="16" y="265"/>
                      </a:lnTo>
                      <a:lnTo>
                        <a:pt x="12" y="260"/>
                      </a:lnTo>
                      <a:lnTo>
                        <a:pt x="16" y="248"/>
                      </a:lnTo>
                      <a:lnTo>
                        <a:pt x="38" y="260"/>
                      </a:lnTo>
                      <a:lnTo>
                        <a:pt x="0" y="248"/>
                      </a:lnTo>
                      <a:lnTo>
                        <a:pt x="0" y="232"/>
                      </a:lnTo>
                      <a:lnTo>
                        <a:pt x="28" y="227"/>
                      </a:lnTo>
                      <a:lnTo>
                        <a:pt x="80" y="220"/>
                      </a:lnTo>
                      <a:lnTo>
                        <a:pt x="87" y="211"/>
                      </a:lnTo>
                      <a:lnTo>
                        <a:pt x="108" y="204"/>
                      </a:lnTo>
                      <a:lnTo>
                        <a:pt x="146" y="244"/>
                      </a:lnTo>
                      <a:lnTo>
                        <a:pt x="172" y="220"/>
                      </a:lnTo>
                      <a:lnTo>
                        <a:pt x="193" y="232"/>
                      </a:lnTo>
                      <a:lnTo>
                        <a:pt x="193" y="220"/>
                      </a:lnTo>
                      <a:lnTo>
                        <a:pt x="201" y="220"/>
                      </a:lnTo>
                      <a:lnTo>
                        <a:pt x="201" y="227"/>
                      </a:lnTo>
                      <a:lnTo>
                        <a:pt x="243" y="227"/>
                      </a:lnTo>
                      <a:lnTo>
                        <a:pt x="227" y="220"/>
                      </a:lnTo>
                      <a:lnTo>
                        <a:pt x="217" y="170"/>
                      </a:lnTo>
                      <a:lnTo>
                        <a:pt x="210" y="154"/>
                      </a:lnTo>
                      <a:lnTo>
                        <a:pt x="201" y="133"/>
                      </a:lnTo>
                      <a:lnTo>
                        <a:pt x="193" y="121"/>
                      </a:lnTo>
                      <a:lnTo>
                        <a:pt x="248" y="133"/>
                      </a:lnTo>
                      <a:lnTo>
                        <a:pt x="243" y="137"/>
                      </a:lnTo>
                      <a:lnTo>
                        <a:pt x="255" y="154"/>
                      </a:lnTo>
                      <a:lnTo>
                        <a:pt x="319" y="166"/>
                      </a:lnTo>
                      <a:lnTo>
                        <a:pt x="361" y="149"/>
                      </a:lnTo>
                      <a:lnTo>
                        <a:pt x="361" y="149"/>
                      </a:lnTo>
                      <a:lnTo>
                        <a:pt x="340" y="137"/>
                      </a:lnTo>
                      <a:lnTo>
                        <a:pt x="352" y="121"/>
                      </a:lnTo>
                      <a:lnTo>
                        <a:pt x="411" y="111"/>
                      </a:lnTo>
                      <a:lnTo>
                        <a:pt x="432" y="83"/>
                      </a:lnTo>
                      <a:lnTo>
                        <a:pt x="449" y="59"/>
                      </a:lnTo>
                      <a:lnTo>
                        <a:pt x="449" y="10"/>
                      </a:lnTo>
                      <a:lnTo>
                        <a:pt x="512" y="0"/>
                      </a:lnTo>
                      <a:lnTo>
                        <a:pt x="512" y="0"/>
                      </a:lnTo>
                      <a:lnTo>
                        <a:pt x="512" y="0"/>
                      </a:lnTo>
                      <a:close/>
                      <a:moveTo>
                        <a:pt x="118" y="355"/>
                      </a:moveTo>
                      <a:lnTo>
                        <a:pt x="108" y="343"/>
                      </a:lnTo>
                      <a:lnTo>
                        <a:pt x="104" y="338"/>
                      </a:lnTo>
                      <a:lnTo>
                        <a:pt x="118" y="355"/>
                      </a:lnTo>
                      <a:lnTo>
                        <a:pt x="118" y="355"/>
                      </a:lnTo>
                      <a:lnTo>
                        <a:pt x="118" y="355"/>
                      </a:lnTo>
                      <a:close/>
                      <a:moveTo>
                        <a:pt x="248" y="487"/>
                      </a:moveTo>
                      <a:lnTo>
                        <a:pt x="231" y="466"/>
                      </a:lnTo>
                      <a:lnTo>
                        <a:pt x="248" y="470"/>
                      </a:lnTo>
                      <a:lnTo>
                        <a:pt x="248" y="487"/>
                      </a:lnTo>
                      <a:lnTo>
                        <a:pt x="248" y="487"/>
                      </a:lnTo>
                      <a:lnTo>
                        <a:pt x="248" y="487"/>
                      </a:lnTo>
                      <a:close/>
                      <a:moveTo>
                        <a:pt x="945" y="820"/>
                      </a:moveTo>
                      <a:lnTo>
                        <a:pt x="945" y="813"/>
                      </a:lnTo>
                      <a:lnTo>
                        <a:pt x="935" y="796"/>
                      </a:lnTo>
                      <a:lnTo>
                        <a:pt x="945" y="796"/>
                      </a:lnTo>
                      <a:lnTo>
                        <a:pt x="935" y="787"/>
                      </a:lnTo>
                      <a:lnTo>
                        <a:pt x="945" y="775"/>
                      </a:lnTo>
                      <a:lnTo>
                        <a:pt x="973" y="759"/>
                      </a:lnTo>
                      <a:lnTo>
                        <a:pt x="982" y="759"/>
                      </a:lnTo>
                      <a:lnTo>
                        <a:pt x="987" y="730"/>
                      </a:lnTo>
                      <a:lnTo>
                        <a:pt x="999" y="730"/>
                      </a:lnTo>
                      <a:lnTo>
                        <a:pt x="1004" y="803"/>
                      </a:lnTo>
                      <a:lnTo>
                        <a:pt x="999" y="820"/>
                      </a:lnTo>
                      <a:lnTo>
                        <a:pt x="987" y="848"/>
                      </a:lnTo>
                      <a:lnTo>
                        <a:pt x="982" y="874"/>
                      </a:lnTo>
                      <a:lnTo>
                        <a:pt x="949" y="858"/>
                      </a:lnTo>
                      <a:lnTo>
                        <a:pt x="956" y="848"/>
                      </a:lnTo>
                      <a:lnTo>
                        <a:pt x="945" y="848"/>
                      </a:lnTo>
                      <a:lnTo>
                        <a:pt x="949" y="829"/>
                      </a:lnTo>
                      <a:lnTo>
                        <a:pt x="935" y="829"/>
                      </a:lnTo>
                      <a:lnTo>
                        <a:pt x="945" y="820"/>
                      </a:lnTo>
                      <a:lnTo>
                        <a:pt x="945" y="820"/>
                      </a:lnTo>
                      <a:lnTo>
                        <a:pt x="945" y="82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22" name="Freeform 449">
                  <a:extLst>
                    <a:ext uri="{FF2B5EF4-FFF2-40B4-BE49-F238E27FC236}">
                      <a16:creationId xmlns:a16="http://schemas.microsoft.com/office/drawing/2014/main" id="{BBDCB231-01C5-4BD1-9804-46981B1AC9DE}"/>
                    </a:ext>
                  </a:extLst>
                </p:cNvPr>
                <p:cNvSpPr>
                  <a:spLocks/>
                </p:cNvSpPr>
                <p:nvPr/>
              </p:nvSpPr>
              <p:spPr bwMode="gray">
                <a:xfrm>
                  <a:off x="7882206" y="2682519"/>
                  <a:ext cx="190603" cy="93459"/>
                </a:xfrm>
                <a:custGeom>
                  <a:avLst/>
                  <a:gdLst>
                    <a:gd name="T0" fmla="*/ 0 w 463"/>
                    <a:gd name="T1" fmla="*/ 26 h 227"/>
                    <a:gd name="T2" fmla="*/ 0 w 463"/>
                    <a:gd name="T3" fmla="*/ 10 h 227"/>
                    <a:gd name="T4" fmla="*/ 17 w 463"/>
                    <a:gd name="T5" fmla="*/ 0 h 227"/>
                    <a:gd name="T6" fmla="*/ 43 w 463"/>
                    <a:gd name="T7" fmla="*/ 10 h 227"/>
                    <a:gd name="T8" fmla="*/ 109 w 463"/>
                    <a:gd name="T9" fmla="*/ 33 h 227"/>
                    <a:gd name="T10" fmla="*/ 199 w 463"/>
                    <a:gd name="T11" fmla="*/ 43 h 227"/>
                    <a:gd name="T12" fmla="*/ 220 w 463"/>
                    <a:gd name="T13" fmla="*/ 66 h 227"/>
                    <a:gd name="T14" fmla="*/ 258 w 463"/>
                    <a:gd name="T15" fmla="*/ 83 h 227"/>
                    <a:gd name="T16" fmla="*/ 258 w 463"/>
                    <a:gd name="T17" fmla="*/ 88 h 227"/>
                    <a:gd name="T18" fmla="*/ 270 w 463"/>
                    <a:gd name="T19" fmla="*/ 88 h 227"/>
                    <a:gd name="T20" fmla="*/ 312 w 463"/>
                    <a:gd name="T21" fmla="*/ 71 h 227"/>
                    <a:gd name="T22" fmla="*/ 329 w 463"/>
                    <a:gd name="T23" fmla="*/ 88 h 227"/>
                    <a:gd name="T24" fmla="*/ 345 w 463"/>
                    <a:gd name="T25" fmla="*/ 71 h 227"/>
                    <a:gd name="T26" fmla="*/ 362 w 463"/>
                    <a:gd name="T27" fmla="*/ 83 h 227"/>
                    <a:gd name="T28" fmla="*/ 367 w 463"/>
                    <a:gd name="T29" fmla="*/ 100 h 227"/>
                    <a:gd name="T30" fmla="*/ 400 w 463"/>
                    <a:gd name="T31" fmla="*/ 100 h 227"/>
                    <a:gd name="T32" fmla="*/ 393 w 463"/>
                    <a:gd name="T33" fmla="*/ 128 h 227"/>
                    <a:gd name="T34" fmla="*/ 447 w 463"/>
                    <a:gd name="T35" fmla="*/ 154 h 227"/>
                    <a:gd name="T36" fmla="*/ 430 w 463"/>
                    <a:gd name="T37" fmla="*/ 170 h 227"/>
                    <a:gd name="T38" fmla="*/ 437 w 463"/>
                    <a:gd name="T39" fmla="*/ 182 h 227"/>
                    <a:gd name="T40" fmla="*/ 463 w 463"/>
                    <a:gd name="T41" fmla="*/ 199 h 227"/>
                    <a:gd name="T42" fmla="*/ 463 w 463"/>
                    <a:gd name="T43" fmla="*/ 215 h 227"/>
                    <a:gd name="T44" fmla="*/ 454 w 463"/>
                    <a:gd name="T45" fmla="*/ 227 h 227"/>
                    <a:gd name="T46" fmla="*/ 430 w 463"/>
                    <a:gd name="T47" fmla="*/ 211 h 227"/>
                    <a:gd name="T48" fmla="*/ 409 w 463"/>
                    <a:gd name="T49" fmla="*/ 211 h 227"/>
                    <a:gd name="T50" fmla="*/ 400 w 463"/>
                    <a:gd name="T51" fmla="*/ 199 h 227"/>
                    <a:gd name="T52" fmla="*/ 367 w 463"/>
                    <a:gd name="T53" fmla="*/ 194 h 227"/>
                    <a:gd name="T54" fmla="*/ 345 w 463"/>
                    <a:gd name="T55" fmla="*/ 199 h 227"/>
                    <a:gd name="T56" fmla="*/ 341 w 463"/>
                    <a:gd name="T57" fmla="*/ 211 h 227"/>
                    <a:gd name="T58" fmla="*/ 237 w 463"/>
                    <a:gd name="T59" fmla="*/ 215 h 227"/>
                    <a:gd name="T60" fmla="*/ 232 w 463"/>
                    <a:gd name="T61" fmla="*/ 215 h 227"/>
                    <a:gd name="T62" fmla="*/ 220 w 463"/>
                    <a:gd name="T63" fmla="*/ 215 h 227"/>
                    <a:gd name="T64" fmla="*/ 194 w 463"/>
                    <a:gd name="T65" fmla="*/ 177 h 227"/>
                    <a:gd name="T66" fmla="*/ 178 w 463"/>
                    <a:gd name="T67" fmla="*/ 177 h 227"/>
                    <a:gd name="T68" fmla="*/ 168 w 463"/>
                    <a:gd name="T69" fmla="*/ 194 h 227"/>
                    <a:gd name="T70" fmla="*/ 140 w 463"/>
                    <a:gd name="T71" fmla="*/ 182 h 227"/>
                    <a:gd name="T72" fmla="*/ 123 w 463"/>
                    <a:gd name="T73" fmla="*/ 194 h 227"/>
                    <a:gd name="T74" fmla="*/ 109 w 463"/>
                    <a:gd name="T75" fmla="*/ 182 h 227"/>
                    <a:gd name="T76" fmla="*/ 123 w 463"/>
                    <a:gd name="T77" fmla="*/ 154 h 227"/>
                    <a:gd name="T78" fmla="*/ 97 w 463"/>
                    <a:gd name="T79" fmla="*/ 83 h 227"/>
                    <a:gd name="T80" fmla="*/ 76 w 463"/>
                    <a:gd name="T81" fmla="*/ 71 h 227"/>
                    <a:gd name="T82" fmla="*/ 71 w 463"/>
                    <a:gd name="T83" fmla="*/ 55 h 227"/>
                    <a:gd name="T84" fmla="*/ 55 w 463"/>
                    <a:gd name="T85" fmla="*/ 50 h 227"/>
                    <a:gd name="T86" fmla="*/ 22 w 463"/>
                    <a:gd name="T87" fmla="*/ 43 h 227"/>
                    <a:gd name="T88" fmla="*/ 17 w 463"/>
                    <a:gd name="T89" fmla="*/ 26 h 227"/>
                    <a:gd name="T90" fmla="*/ 0 w 463"/>
                    <a:gd name="T91" fmla="*/ 26 h 227"/>
                    <a:gd name="T92" fmla="*/ 0 w 463"/>
                    <a:gd name="T93" fmla="*/ 26 h 227"/>
                    <a:gd name="T94" fmla="*/ 0 w 463"/>
                    <a:gd name="T95" fmla="*/ 2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63" h="227">
                      <a:moveTo>
                        <a:pt x="0" y="26"/>
                      </a:moveTo>
                      <a:lnTo>
                        <a:pt x="0" y="10"/>
                      </a:lnTo>
                      <a:lnTo>
                        <a:pt x="17" y="0"/>
                      </a:lnTo>
                      <a:lnTo>
                        <a:pt x="43" y="10"/>
                      </a:lnTo>
                      <a:lnTo>
                        <a:pt x="109" y="33"/>
                      </a:lnTo>
                      <a:lnTo>
                        <a:pt x="199" y="43"/>
                      </a:lnTo>
                      <a:lnTo>
                        <a:pt x="220" y="66"/>
                      </a:lnTo>
                      <a:lnTo>
                        <a:pt x="258" y="83"/>
                      </a:lnTo>
                      <a:lnTo>
                        <a:pt x="258" y="88"/>
                      </a:lnTo>
                      <a:lnTo>
                        <a:pt x="270" y="88"/>
                      </a:lnTo>
                      <a:lnTo>
                        <a:pt x="312" y="71"/>
                      </a:lnTo>
                      <a:lnTo>
                        <a:pt x="329" y="88"/>
                      </a:lnTo>
                      <a:lnTo>
                        <a:pt x="345" y="71"/>
                      </a:lnTo>
                      <a:lnTo>
                        <a:pt x="362" y="83"/>
                      </a:lnTo>
                      <a:lnTo>
                        <a:pt x="367" y="100"/>
                      </a:lnTo>
                      <a:lnTo>
                        <a:pt x="400" y="100"/>
                      </a:lnTo>
                      <a:lnTo>
                        <a:pt x="393" y="128"/>
                      </a:lnTo>
                      <a:lnTo>
                        <a:pt x="447" y="154"/>
                      </a:lnTo>
                      <a:lnTo>
                        <a:pt x="430" y="170"/>
                      </a:lnTo>
                      <a:lnTo>
                        <a:pt x="437" y="182"/>
                      </a:lnTo>
                      <a:lnTo>
                        <a:pt x="463" y="199"/>
                      </a:lnTo>
                      <a:lnTo>
                        <a:pt x="463" y="215"/>
                      </a:lnTo>
                      <a:lnTo>
                        <a:pt x="454" y="227"/>
                      </a:lnTo>
                      <a:lnTo>
                        <a:pt x="430" y="211"/>
                      </a:lnTo>
                      <a:lnTo>
                        <a:pt x="409" y="211"/>
                      </a:lnTo>
                      <a:lnTo>
                        <a:pt x="400" y="199"/>
                      </a:lnTo>
                      <a:lnTo>
                        <a:pt x="367" y="194"/>
                      </a:lnTo>
                      <a:lnTo>
                        <a:pt x="345" y="199"/>
                      </a:lnTo>
                      <a:lnTo>
                        <a:pt x="341" y="211"/>
                      </a:lnTo>
                      <a:lnTo>
                        <a:pt x="237" y="215"/>
                      </a:lnTo>
                      <a:lnTo>
                        <a:pt x="232" y="215"/>
                      </a:lnTo>
                      <a:lnTo>
                        <a:pt x="220" y="215"/>
                      </a:lnTo>
                      <a:lnTo>
                        <a:pt x="194" y="177"/>
                      </a:lnTo>
                      <a:lnTo>
                        <a:pt x="178" y="177"/>
                      </a:lnTo>
                      <a:lnTo>
                        <a:pt x="168" y="194"/>
                      </a:lnTo>
                      <a:lnTo>
                        <a:pt x="140" y="182"/>
                      </a:lnTo>
                      <a:lnTo>
                        <a:pt x="123" y="194"/>
                      </a:lnTo>
                      <a:lnTo>
                        <a:pt x="109" y="182"/>
                      </a:lnTo>
                      <a:lnTo>
                        <a:pt x="123" y="154"/>
                      </a:lnTo>
                      <a:lnTo>
                        <a:pt x="97" y="83"/>
                      </a:lnTo>
                      <a:lnTo>
                        <a:pt x="76" y="71"/>
                      </a:lnTo>
                      <a:lnTo>
                        <a:pt x="71" y="55"/>
                      </a:lnTo>
                      <a:lnTo>
                        <a:pt x="55" y="50"/>
                      </a:lnTo>
                      <a:lnTo>
                        <a:pt x="22" y="43"/>
                      </a:lnTo>
                      <a:lnTo>
                        <a:pt x="17" y="26"/>
                      </a:lnTo>
                      <a:lnTo>
                        <a:pt x="0" y="26"/>
                      </a:lnTo>
                      <a:lnTo>
                        <a:pt x="0" y="26"/>
                      </a:lnTo>
                      <a:lnTo>
                        <a:pt x="0" y="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23" name="Freeform 452">
                  <a:extLst>
                    <a:ext uri="{FF2B5EF4-FFF2-40B4-BE49-F238E27FC236}">
                      <a16:creationId xmlns:a16="http://schemas.microsoft.com/office/drawing/2014/main" id="{9E16FADC-6757-4CCA-82A3-5655DF4498B4}"/>
                    </a:ext>
                  </a:extLst>
                </p:cNvPr>
                <p:cNvSpPr>
                  <a:spLocks noEditPoints="1"/>
                </p:cNvSpPr>
                <p:nvPr/>
              </p:nvSpPr>
              <p:spPr bwMode="gray">
                <a:xfrm>
                  <a:off x="4618073" y="692696"/>
                  <a:ext cx="1754949" cy="1347958"/>
                </a:xfrm>
                <a:custGeom>
                  <a:avLst/>
                  <a:gdLst>
                    <a:gd name="T0" fmla="*/ 1604 w 4263"/>
                    <a:gd name="T1" fmla="*/ 2143 h 3274"/>
                    <a:gd name="T2" fmla="*/ 1549 w 4263"/>
                    <a:gd name="T3" fmla="*/ 1949 h 3274"/>
                    <a:gd name="T4" fmla="*/ 1240 w 4263"/>
                    <a:gd name="T5" fmla="*/ 1892 h 3274"/>
                    <a:gd name="T6" fmla="*/ 1219 w 4263"/>
                    <a:gd name="T7" fmla="*/ 1555 h 3274"/>
                    <a:gd name="T8" fmla="*/ 756 w 4263"/>
                    <a:gd name="T9" fmla="*/ 1205 h 3274"/>
                    <a:gd name="T10" fmla="*/ 236 w 4263"/>
                    <a:gd name="T11" fmla="*/ 1099 h 3274"/>
                    <a:gd name="T12" fmla="*/ 16 w 4263"/>
                    <a:gd name="T13" fmla="*/ 893 h 3274"/>
                    <a:gd name="T14" fmla="*/ 718 w 4263"/>
                    <a:gd name="T15" fmla="*/ 501 h 3274"/>
                    <a:gd name="T16" fmla="*/ 1516 w 4263"/>
                    <a:gd name="T17" fmla="*/ 305 h 3274"/>
                    <a:gd name="T18" fmla="*/ 2315 w 4263"/>
                    <a:gd name="T19" fmla="*/ 189 h 3274"/>
                    <a:gd name="T20" fmla="*/ 2482 w 4263"/>
                    <a:gd name="T21" fmla="*/ 24 h 3274"/>
                    <a:gd name="T22" fmla="*/ 3439 w 4263"/>
                    <a:gd name="T23" fmla="*/ 123 h 3274"/>
                    <a:gd name="T24" fmla="*/ 3439 w 4263"/>
                    <a:gd name="T25" fmla="*/ 506 h 3274"/>
                    <a:gd name="T26" fmla="*/ 3633 w 4263"/>
                    <a:gd name="T27" fmla="*/ 527 h 3274"/>
                    <a:gd name="T28" fmla="*/ 3746 w 4263"/>
                    <a:gd name="T29" fmla="*/ 749 h 3274"/>
                    <a:gd name="T30" fmla="*/ 3789 w 4263"/>
                    <a:gd name="T31" fmla="*/ 1054 h 3274"/>
                    <a:gd name="T32" fmla="*/ 3734 w 4263"/>
                    <a:gd name="T33" fmla="*/ 1259 h 3274"/>
                    <a:gd name="T34" fmla="*/ 3578 w 4263"/>
                    <a:gd name="T35" fmla="*/ 1489 h 3274"/>
                    <a:gd name="T36" fmla="*/ 3297 w 4263"/>
                    <a:gd name="T37" fmla="*/ 1637 h 3274"/>
                    <a:gd name="T38" fmla="*/ 3493 w 4263"/>
                    <a:gd name="T39" fmla="*/ 1814 h 3274"/>
                    <a:gd name="T40" fmla="*/ 3531 w 4263"/>
                    <a:gd name="T41" fmla="*/ 1982 h 3274"/>
                    <a:gd name="T42" fmla="*/ 3137 w 4263"/>
                    <a:gd name="T43" fmla="*/ 2015 h 3274"/>
                    <a:gd name="T44" fmla="*/ 3326 w 4263"/>
                    <a:gd name="T45" fmla="*/ 2197 h 3274"/>
                    <a:gd name="T46" fmla="*/ 2839 w 4263"/>
                    <a:gd name="T47" fmla="*/ 2275 h 3274"/>
                    <a:gd name="T48" fmla="*/ 2532 w 4263"/>
                    <a:gd name="T49" fmla="*/ 2592 h 3274"/>
                    <a:gd name="T50" fmla="*/ 2272 w 4263"/>
                    <a:gd name="T51" fmla="*/ 2670 h 3274"/>
                    <a:gd name="T52" fmla="*/ 2154 w 4263"/>
                    <a:gd name="T53" fmla="*/ 2941 h 3274"/>
                    <a:gd name="T54" fmla="*/ 2067 w 4263"/>
                    <a:gd name="T55" fmla="*/ 3163 h 3274"/>
                    <a:gd name="T56" fmla="*/ 1927 w 4263"/>
                    <a:gd name="T57" fmla="*/ 3203 h 3274"/>
                    <a:gd name="T58" fmla="*/ 1743 w 4263"/>
                    <a:gd name="T59" fmla="*/ 3163 h 3274"/>
                    <a:gd name="T60" fmla="*/ 1672 w 4263"/>
                    <a:gd name="T61" fmla="*/ 3031 h 3274"/>
                    <a:gd name="T62" fmla="*/ 1511 w 4263"/>
                    <a:gd name="T63" fmla="*/ 2821 h 3274"/>
                    <a:gd name="T64" fmla="*/ 1533 w 4263"/>
                    <a:gd name="T65" fmla="*/ 2736 h 3274"/>
                    <a:gd name="T66" fmla="*/ 1424 w 4263"/>
                    <a:gd name="T67" fmla="*/ 2632 h 3274"/>
                    <a:gd name="T68" fmla="*/ 1353 w 4263"/>
                    <a:gd name="T69" fmla="*/ 2514 h 3274"/>
                    <a:gd name="T70" fmla="*/ 1566 w 4263"/>
                    <a:gd name="T71" fmla="*/ 2393 h 3274"/>
                    <a:gd name="T72" fmla="*/ 1386 w 4263"/>
                    <a:gd name="T73" fmla="*/ 2320 h 3274"/>
                    <a:gd name="T74" fmla="*/ 2272 w 4263"/>
                    <a:gd name="T75" fmla="*/ 67 h 3274"/>
                    <a:gd name="T76" fmla="*/ 2298 w 4263"/>
                    <a:gd name="T77" fmla="*/ 173 h 3274"/>
                    <a:gd name="T78" fmla="*/ 3666 w 4263"/>
                    <a:gd name="T79" fmla="*/ 267 h 3274"/>
                    <a:gd name="T80" fmla="*/ 3881 w 4263"/>
                    <a:gd name="T81" fmla="*/ 749 h 3274"/>
                    <a:gd name="T82" fmla="*/ 3649 w 4263"/>
                    <a:gd name="T83" fmla="*/ 917 h 3274"/>
                    <a:gd name="T84" fmla="*/ 3881 w 4263"/>
                    <a:gd name="T85" fmla="*/ 962 h 3274"/>
                    <a:gd name="T86" fmla="*/ 3741 w 4263"/>
                    <a:gd name="T87" fmla="*/ 1127 h 3274"/>
                    <a:gd name="T88" fmla="*/ 215 w 4263"/>
                    <a:gd name="T89" fmla="*/ 1184 h 3274"/>
                    <a:gd name="T90" fmla="*/ 3864 w 4263"/>
                    <a:gd name="T91" fmla="*/ 1337 h 3274"/>
                    <a:gd name="T92" fmla="*/ 1133 w 4263"/>
                    <a:gd name="T93" fmla="*/ 1460 h 3274"/>
                    <a:gd name="T94" fmla="*/ 1164 w 4263"/>
                    <a:gd name="T95" fmla="*/ 1600 h 3274"/>
                    <a:gd name="T96" fmla="*/ 1202 w 4263"/>
                    <a:gd name="T97" fmla="*/ 1633 h 3274"/>
                    <a:gd name="T98" fmla="*/ 1240 w 4263"/>
                    <a:gd name="T99" fmla="*/ 1687 h 3274"/>
                    <a:gd name="T100" fmla="*/ 1209 w 4263"/>
                    <a:gd name="T101" fmla="*/ 1703 h 3274"/>
                    <a:gd name="T102" fmla="*/ 1226 w 4263"/>
                    <a:gd name="T103" fmla="*/ 1838 h 3274"/>
                    <a:gd name="T104" fmla="*/ 3342 w 4263"/>
                    <a:gd name="T105" fmla="*/ 1933 h 3274"/>
                    <a:gd name="T106" fmla="*/ 1353 w 4263"/>
                    <a:gd name="T107" fmla="*/ 2143 h 3274"/>
                    <a:gd name="T108" fmla="*/ 3486 w 4263"/>
                    <a:gd name="T109" fmla="*/ 2126 h 3274"/>
                    <a:gd name="T110" fmla="*/ 1457 w 4263"/>
                    <a:gd name="T111" fmla="*/ 2308 h 3274"/>
                    <a:gd name="T112" fmla="*/ 1370 w 4263"/>
                    <a:gd name="T113" fmla="*/ 2476 h 3274"/>
                    <a:gd name="T114" fmla="*/ 2504 w 4263"/>
                    <a:gd name="T115" fmla="*/ 2599 h 3274"/>
                    <a:gd name="T116" fmla="*/ 1408 w 4263"/>
                    <a:gd name="T117" fmla="*/ 2641 h 3274"/>
                    <a:gd name="T118" fmla="*/ 1511 w 4263"/>
                    <a:gd name="T119" fmla="*/ 2764 h 3274"/>
                    <a:gd name="T120" fmla="*/ 1566 w 4263"/>
                    <a:gd name="T121" fmla="*/ 2903 h 3274"/>
                    <a:gd name="T122" fmla="*/ 1776 w 4263"/>
                    <a:gd name="T123" fmla="*/ 3163 h 3274"/>
                    <a:gd name="T124" fmla="*/ 2071 w 4263"/>
                    <a:gd name="T125" fmla="*/ 3258 h 3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63" h="3274">
                      <a:moveTo>
                        <a:pt x="1441" y="2308"/>
                      </a:moveTo>
                      <a:lnTo>
                        <a:pt x="1436" y="2299"/>
                      </a:lnTo>
                      <a:lnTo>
                        <a:pt x="1408" y="2299"/>
                      </a:lnTo>
                      <a:lnTo>
                        <a:pt x="1424" y="2292"/>
                      </a:lnTo>
                      <a:lnTo>
                        <a:pt x="1382" y="2299"/>
                      </a:lnTo>
                      <a:lnTo>
                        <a:pt x="1382" y="2292"/>
                      </a:lnTo>
                      <a:lnTo>
                        <a:pt x="1398" y="2292"/>
                      </a:lnTo>
                      <a:lnTo>
                        <a:pt x="1441" y="2259"/>
                      </a:lnTo>
                      <a:lnTo>
                        <a:pt x="1478" y="2259"/>
                      </a:lnTo>
                      <a:lnTo>
                        <a:pt x="1490" y="2259"/>
                      </a:lnTo>
                      <a:lnTo>
                        <a:pt x="1478" y="2259"/>
                      </a:lnTo>
                      <a:lnTo>
                        <a:pt x="1504" y="2266"/>
                      </a:lnTo>
                      <a:lnTo>
                        <a:pt x="1559" y="2254"/>
                      </a:lnTo>
                      <a:lnTo>
                        <a:pt x="1559" y="2242"/>
                      </a:lnTo>
                      <a:lnTo>
                        <a:pt x="1542" y="2237"/>
                      </a:lnTo>
                      <a:lnTo>
                        <a:pt x="1570" y="2225"/>
                      </a:lnTo>
                      <a:lnTo>
                        <a:pt x="1528" y="2237"/>
                      </a:lnTo>
                      <a:lnTo>
                        <a:pt x="1549" y="2209"/>
                      </a:lnTo>
                      <a:lnTo>
                        <a:pt x="1533" y="2209"/>
                      </a:lnTo>
                      <a:lnTo>
                        <a:pt x="1542" y="2188"/>
                      </a:lnTo>
                      <a:lnTo>
                        <a:pt x="1559" y="2188"/>
                      </a:lnTo>
                      <a:lnTo>
                        <a:pt x="1542" y="2204"/>
                      </a:lnTo>
                      <a:lnTo>
                        <a:pt x="1566" y="2197"/>
                      </a:lnTo>
                      <a:lnTo>
                        <a:pt x="1587" y="2221"/>
                      </a:lnTo>
                      <a:lnTo>
                        <a:pt x="1596" y="2209"/>
                      </a:lnTo>
                      <a:lnTo>
                        <a:pt x="1580" y="2204"/>
                      </a:lnTo>
                      <a:lnTo>
                        <a:pt x="1596" y="2197"/>
                      </a:lnTo>
                      <a:lnTo>
                        <a:pt x="1596" y="2204"/>
                      </a:lnTo>
                      <a:lnTo>
                        <a:pt x="1604" y="2209"/>
                      </a:lnTo>
                      <a:lnTo>
                        <a:pt x="1596" y="2197"/>
                      </a:lnTo>
                      <a:lnTo>
                        <a:pt x="1566" y="2188"/>
                      </a:lnTo>
                      <a:lnTo>
                        <a:pt x="1604" y="2181"/>
                      </a:lnTo>
                      <a:lnTo>
                        <a:pt x="1580" y="2181"/>
                      </a:lnTo>
                      <a:lnTo>
                        <a:pt x="1580" y="2164"/>
                      </a:lnTo>
                      <a:lnTo>
                        <a:pt x="1587" y="2164"/>
                      </a:lnTo>
                      <a:lnTo>
                        <a:pt x="1549" y="2181"/>
                      </a:lnTo>
                      <a:lnTo>
                        <a:pt x="1533" y="2181"/>
                      </a:lnTo>
                      <a:lnTo>
                        <a:pt x="1559" y="2148"/>
                      </a:lnTo>
                      <a:lnTo>
                        <a:pt x="1604" y="2143"/>
                      </a:lnTo>
                      <a:lnTo>
                        <a:pt x="1549" y="2143"/>
                      </a:lnTo>
                      <a:lnTo>
                        <a:pt x="1559" y="2126"/>
                      </a:lnTo>
                      <a:lnTo>
                        <a:pt x="1587" y="2131"/>
                      </a:lnTo>
                      <a:lnTo>
                        <a:pt x="1559" y="2114"/>
                      </a:lnTo>
                      <a:lnTo>
                        <a:pt x="1570" y="2110"/>
                      </a:lnTo>
                      <a:lnTo>
                        <a:pt x="1604" y="2110"/>
                      </a:lnTo>
                      <a:lnTo>
                        <a:pt x="1596" y="2093"/>
                      </a:lnTo>
                      <a:lnTo>
                        <a:pt x="1570" y="2086"/>
                      </a:lnTo>
                      <a:lnTo>
                        <a:pt x="1596" y="2077"/>
                      </a:lnTo>
                      <a:lnTo>
                        <a:pt x="1528" y="2086"/>
                      </a:lnTo>
                      <a:lnTo>
                        <a:pt x="1559" y="2077"/>
                      </a:lnTo>
                      <a:lnTo>
                        <a:pt x="1528" y="2070"/>
                      </a:lnTo>
                      <a:lnTo>
                        <a:pt x="1511" y="2086"/>
                      </a:lnTo>
                      <a:lnTo>
                        <a:pt x="1452" y="2070"/>
                      </a:lnTo>
                      <a:lnTo>
                        <a:pt x="1424" y="2044"/>
                      </a:lnTo>
                      <a:lnTo>
                        <a:pt x="1344" y="2032"/>
                      </a:lnTo>
                      <a:lnTo>
                        <a:pt x="1289" y="1987"/>
                      </a:lnTo>
                      <a:lnTo>
                        <a:pt x="1327" y="1966"/>
                      </a:lnTo>
                      <a:lnTo>
                        <a:pt x="1424" y="1982"/>
                      </a:lnTo>
                      <a:lnTo>
                        <a:pt x="1504" y="2020"/>
                      </a:lnTo>
                      <a:lnTo>
                        <a:pt x="1570" y="2037"/>
                      </a:lnTo>
                      <a:lnTo>
                        <a:pt x="1580" y="2032"/>
                      </a:lnTo>
                      <a:lnTo>
                        <a:pt x="1566" y="2020"/>
                      </a:lnTo>
                      <a:lnTo>
                        <a:pt x="1580" y="2015"/>
                      </a:lnTo>
                      <a:lnTo>
                        <a:pt x="1549" y="2020"/>
                      </a:lnTo>
                      <a:lnTo>
                        <a:pt x="1516" y="2003"/>
                      </a:lnTo>
                      <a:lnTo>
                        <a:pt x="1528" y="1999"/>
                      </a:lnTo>
                      <a:lnTo>
                        <a:pt x="1549" y="2015"/>
                      </a:lnTo>
                      <a:lnTo>
                        <a:pt x="1566" y="2003"/>
                      </a:lnTo>
                      <a:lnTo>
                        <a:pt x="1542" y="1999"/>
                      </a:lnTo>
                      <a:lnTo>
                        <a:pt x="1570" y="1999"/>
                      </a:lnTo>
                      <a:lnTo>
                        <a:pt x="1511" y="1982"/>
                      </a:lnTo>
                      <a:lnTo>
                        <a:pt x="1528" y="1975"/>
                      </a:lnTo>
                      <a:lnTo>
                        <a:pt x="1570" y="1982"/>
                      </a:lnTo>
                      <a:lnTo>
                        <a:pt x="1549" y="1975"/>
                      </a:lnTo>
                      <a:lnTo>
                        <a:pt x="1559" y="1966"/>
                      </a:lnTo>
                      <a:lnTo>
                        <a:pt x="1533" y="1966"/>
                      </a:lnTo>
                      <a:lnTo>
                        <a:pt x="1478" y="1942"/>
                      </a:lnTo>
                      <a:lnTo>
                        <a:pt x="1549" y="1949"/>
                      </a:lnTo>
                      <a:lnTo>
                        <a:pt x="1511" y="1942"/>
                      </a:lnTo>
                      <a:lnTo>
                        <a:pt x="1528" y="1926"/>
                      </a:lnTo>
                      <a:lnTo>
                        <a:pt x="1457" y="1933"/>
                      </a:lnTo>
                      <a:lnTo>
                        <a:pt x="1511" y="1909"/>
                      </a:lnTo>
                      <a:lnTo>
                        <a:pt x="1504" y="1904"/>
                      </a:lnTo>
                      <a:lnTo>
                        <a:pt x="1436" y="1926"/>
                      </a:lnTo>
                      <a:lnTo>
                        <a:pt x="1457" y="1909"/>
                      </a:lnTo>
                      <a:lnTo>
                        <a:pt x="1457" y="1904"/>
                      </a:lnTo>
                      <a:lnTo>
                        <a:pt x="1516" y="1888"/>
                      </a:lnTo>
                      <a:lnTo>
                        <a:pt x="1495" y="1876"/>
                      </a:lnTo>
                      <a:lnTo>
                        <a:pt x="1441" y="1892"/>
                      </a:lnTo>
                      <a:lnTo>
                        <a:pt x="1403" y="1892"/>
                      </a:lnTo>
                      <a:lnTo>
                        <a:pt x="1441" y="1871"/>
                      </a:lnTo>
                      <a:lnTo>
                        <a:pt x="1490" y="1871"/>
                      </a:lnTo>
                      <a:lnTo>
                        <a:pt x="1504" y="1855"/>
                      </a:lnTo>
                      <a:lnTo>
                        <a:pt x="1462" y="1864"/>
                      </a:lnTo>
                      <a:lnTo>
                        <a:pt x="1386" y="1855"/>
                      </a:lnTo>
                      <a:lnTo>
                        <a:pt x="1424" y="1814"/>
                      </a:lnTo>
                      <a:lnTo>
                        <a:pt x="1408" y="1822"/>
                      </a:lnTo>
                      <a:lnTo>
                        <a:pt x="1403" y="1831"/>
                      </a:lnTo>
                      <a:lnTo>
                        <a:pt x="1382" y="1838"/>
                      </a:lnTo>
                      <a:lnTo>
                        <a:pt x="1382" y="1810"/>
                      </a:lnTo>
                      <a:lnTo>
                        <a:pt x="1353" y="1798"/>
                      </a:lnTo>
                      <a:lnTo>
                        <a:pt x="1344" y="1765"/>
                      </a:lnTo>
                      <a:lnTo>
                        <a:pt x="1365" y="1765"/>
                      </a:lnTo>
                      <a:lnTo>
                        <a:pt x="1332" y="1765"/>
                      </a:lnTo>
                      <a:lnTo>
                        <a:pt x="1382" y="1831"/>
                      </a:lnTo>
                      <a:lnTo>
                        <a:pt x="1353" y="1848"/>
                      </a:lnTo>
                      <a:lnTo>
                        <a:pt x="1344" y="1848"/>
                      </a:lnTo>
                      <a:lnTo>
                        <a:pt x="1348" y="1855"/>
                      </a:lnTo>
                      <a:lnTo>
                        <a:pt x="1348" y="1864"/>
                      </a:lnTo>
                      <a:lnTo>
                        <a:pt x="1327" y="1855"/>
                      </a:lnTo>
                      <a:lnTo>
                        <a:pt x="1327" y="1864"/>
                      </a:lnTo>
                      <a:lnTo>
                        <a:pt x="1344" y="1871"/>
                      </a:lnTo>
                      <a:lnTo>
                        <a:pt x="1344" y="1888"/>
                      </a:lnTo>
                      <a:lnTo>
                        <a:pt x="1278" y="1904"/>
                      </a:lnTo>
                      <a:lnTo>
                        <a:pt x="1247" y="1876"/>
                      </a:lnTo>
                      <a:lnTo>
                        <a:pt x="1256" y="1892"/>
                      </a:lnTo>
                      <a:lnTo>
                        <a:pt x="1240" y="1892"/>
                      </a:lnTo>
                      <a:lnTo>
                        <a:pt x="1219" y="1864"/>
                      </a:lnTo>
                      <a:lnTo>
                        <a:pt x="1226" y="1864"/>
                      </a:lnTo>
                      <a:lnTo>
                        <a:pt x="1202" y="1855"/>
                      </a:lnTo>
                      <a:lnTo>
                        <a:pt x="1240" y="1831"/>
                      </a:lnTo>
                      <a:lnTo>
                        <a:pt x="1278" y="1822"/>
                      </a:lnTo>
                      <a:lnTo>
                        <a:pt x="1294" y="1810"/>
                      </a:lnTo>
                      <a:lnTo>
                        <a:pt x="1311" y="1781"/>
                      </a:lnTo>
                      <a:lnTo>
                        <a:pt x="1273" y="1822"/>
                      </a:lnTo>
                      <a:lnTo>
                        <a:pt x="1240" y="1822"/>
                      </a:lnTo>
                      <a:lnTo>
                        <a:pt x="1226" y="1814"/>
                      </a:lnTo>
                      <a:lnTo>
                        <a:pt x="1273" y="1781"/>
                      </a:lnTo>
                      <a:lnTo>
                        <a:pt x="1263" y="1765"/>
                      </a:lnTo>
                      <a:lnTo>
                        <a:pt x="1289" y="1765"/>
                      </a:lnTo>
                      <a:lnTo>
                        <a:pt x="1263" y="1760"/>
                      </a:lnTo>
                      <a:lnTo>
                        <a:pt x="1273" y="1760"/>
                      </a:lnTo>
                      <a:lnTo>
                        <a:pt x="1247" y="1765"/>
                      </a:lnTo>
                      <a:lnTo>
                        <a:pt x="1219" y="1748"/>
                      </a:lnTo>
                      <a:lnTo>
                        <a:pt x="1235" y="1744"/>
                      </a:lnTo>
                      <a:lnTo>
                        <a:pt x="1311" y="1748"/>
                      </a:lnTo>
                      <a:lnTo>
                        <a:pt x="1263" y="1744"/>
                      </a:lnTo>
                      <a:lnTo>
                        <a:pt x="1273" y="1727"/>
                      </a:lnTo>
                      <a:lnTo>
                        <a:pt x="1289" y="1727"/>
                      </a:lnTo>
                      <a:lnTo>
                        <a:pt x="1273" y="1727"/>
                      </a:lnTo>
                      <a:lnTo>
                        <a:pt x="1289" y="1711"/>
                      </a:lnTo>
                      <a:lnTo>
                        <a:pt x="1273" y="1711"/>
                      </a:lnTo>
                      <a:lnTo>
                        <a:pt x="1294" y="1703"/>
                      </a:lnTo>
                      <a:lnTo>
                        <a:pt x="1273" y="1670"/>
                      </a:lnTo>
                      <a:lnTo>
                        <a:pt x="1219" y="1666"/>
                      </a:lnTo>
                      <a:lnTo>
                        <a:pt x="1256" y="1649"/>
                      </a:lnTo>
                      <a:lnTo>
                        <a:pt x="1235" y="1637"/>
                      </a:lnTo>
                      <a:lnTo>
                        <a:pt x="1247" y="1626"/>
                      </a:lnTo>
                      <a:lnTo>
                        <a:pt x="1256" y="1626"/>
                      </a:lnTo>
                      <a:lnTo>
                        <a:pt x="1188" y="1583"/>
                      </a:lnTo>
                      <a:lnTo>
                        <a:pt x="1202" y="1583"/>
                      </a:lnTo>
                      <a:lnTo>
                        <a:pt x="1193" y="1583"/>
                      </a:lnTo>
                      <a:lnTo>
                        <a:pt x="1193" y="1571"/>
                      </a:lnTo>
                      <a:lnTo>
                        <a:pt x="1219" y="1576"/>
                      </a:lnTo>
                      <a:lnTo>
                        <a:pt x="1193" y="1559"/>
                      </a:lnTo>
                      <a:lnTo>
                        <a:pt x="1219" y="1555"/>
                      </a:lnTo>
                      <a:lnTo>
                        <a:pt x="1188" y="1538"/>
                      </a:lnTo>
                      <a:lnTo>
                        <a:pt x="1193" y="1538"/>
                      </a:lnTo>
                      <a:lnTo>
                        <a:pt x="1164" y="1526"/>
                      </a:lnTo>
                      <a:lnTo>
                        <a:pt x="1188" y="1498"/>
                      </a:lnTo>
                      <a:lnTo>
                        <a:pt x="1100" y="1522"/>
                      </a:lnTo>
                      <a:lnTo>
                        <a:pt x="1171" y="1498"/>
                      </a:lnTo>
                      <a:lnTo>
                        <a:pt x="1138" y="1489"/>
                      </a:lnTo>
                      <a:lnTo>
                        <a:pt x="1188" y="1481"/>
                      </a:lnTo>
                      <a:lnTo>
                        <a:pt x="1138" y="1472"/>
                      </a:lnTo>
                      <a:lnTo>
                        <a:pt x="1181" y="1472"/>
                      </a:lnTo>
                      <a:lnTo>
                        <a:pt x="1181" y="1460"/>
                      </a:lnTo>
                      <a:lnTo>
                        <a:pt x="1155" y="1460"/>
                      </a:lnTo>
                      <a:lnTo>
                        <a:pt x="1133" y="1444"/>
                      </a:lnTo>
                      <a:lnTo>
                        <a:pt x="1126" y="1444"/>
                      </a:lnTo>
                      <a:lnTo>
                        <a:pt x="1112" y="1427"/>
                      </a:lnTo>
                      <a:lnTo>
                        <a:pt x="1133" y="1427"/>
                      </a:lnTo>
                      <a:lnTo>
                        <a:pt x="1126" y="1411"/>
                      </a:lnTo>
                      <a:lnTo>
                        <a:pt x="1041" y="1387"/>
                      </a:lnTo>
                      <a:lnTo>
                        <a:pt x="1058" y="1370"/>
                      </a:lnTo>
                      <a:lnTo>
                        <a:pt x="1030" y="1354"/>
                      </a:lnTo>
                      <a:lnTo>
                        <a:pt x="1030" y="1337"/>
                      </a:lnTo>
                      <a:lnTo>
                        <a:pt x="1004" y="1349"/>
                      </a:lnTo>
                      <a:lnTo>
                        <a:pt x="1041" y="1333"/>
                      </a:lnTo>
                      <a:lnTo>
                        <a:pt x="1041" y="1321"/>
                      </a:lnTo>
                      <a:lnTo>
                        <a:pt x="1025" y="1316"/>
                      </a:lnTo>
                      <a:lnTo>
                        <a:pt x="1030" y="1300"/>
                      </a:lnTo>
                      <a:lnTo>
                        <a:pt x="1008" y="1300"/>
                      </a:lnTo>
                      <a:lnTo>
                        <a:pt x="1025" y="1295"/>
                      </a:lnTo>
                      <a:lnTo>
                        <a:pt x="975" y="1295"/>
                      </a:lnTo>
                      <a:lnTo>
                        <a:pt x="971" y="1283"/>
                      </a:lnTo>
                      <a:lnTo>
                        <a:pt x="971" y="1276"/>
                      </a:lnTo>
                      <a:lnTo>
                        <a:pt x="971" y="1266"/>
                      </a:lnTo>
                      <a:lnTo>
                        <a:pt x="933" y="1283"/>
                      </a:lnTo>
                      <a:lnTo>
                        <a:pt x="937" y="1259"/>
                      </a:lnTo>
                      <a:lnTo>
                        <a:pt x="878" y="1238"/>
                      </a:lnTo>
                      <a:lnTo>
                        <a:pt x="862" y="1250"/>
                      </a:lnTo>
                      <a:lnTo>
                        <a:pt x="857" y="1226"/>
                      </a:lnTo>
                      <a:lnTo>
                        <a:pt x="760" y="1222"/>
                      </a:lnTo>
                      <a:lnTo>
                        <a:pt x="756" y="1205"/>
                      </a:lnTo>
                      <a:lnTo>
                        <a:pt x="722" y="1210"/>
                      </a:lnTo>
                      <a:lnTo>
                        <a:pt x="718" y="1222"/>
                      </a:lnTo>
                      <a:lnTo>
                        <a:pt x="706" y="1205"/>
                      </a:lnTo>
                      <a:lnTo>
                        <a:pt x="680" y="1193"/>
                      </a:lnTo>
                      <a:lnTo>
                        <a:pt x="652" y="1222"/>
                      </a:lnTo>
                      <a:lnTo>
                        <a:pt x="630" y="1226"/>
                      </a:lnTo>
                      <a:lnTo>
                        <a:pt x="614" y="1222"/>
                      </a:lnTo>
                      <a:lnTo>
                        <a:pt x="626" y="1205"/>
                      </a:lnTo>
                      <a:lnTo>
                        <a:pt x="597" y="1193"/>
                      </a:lnTo>
                      <a:lnTo>
                        <a:pt x="609" y="1205"/>
                      </a:lnTo>
                      <a:lnTo>
                        <a:pt x="597" y="1222"/>
                      </a:lnTo>
                      <a:lnTo>
                        <a:pt x="588" y="1210"/>
                      </a:lnTo>
                      <a:lnTo>
                        <a:pt x="588" y="1226"/>
                      </a:lnTo>
                      <a:lnTo>
                        <a:pt x="593" y="1226"/>
                      </a:lnTo>
                      <a:lnTo>
                        <a:pt x="538" y="1226"/>
                      </a:lnTo>
                      <a:lnTo>
                        <a:pt x="538" y="1238"/>
                      </a:lnTo>
                      <a:lnTo>
                        <a:pt x="534" y="1243"/>
                      </a:lnTo>
                      <a:lnTo>
                        <a:pt x="500" y="1238"/>
                      </a:lnTo>
                      <a:lnTo>
                        <a:pt x="517" y="1222"/>
                      </a:lnTo>
                      <a:lnTo>
                        <a:pt x="508" y="1222"/>
                      </a:lnTo>
                      <a:lnTo>
                        <a:pt x="522" y="1210"/>
                      </a:lnTo>
                      <a:lnTo>
                        <a:pt x="508" y="1210"/>
                      </a:lnTo>
                      <a:lnTo>
                        <a:pt x="479" y="1205"/>
                      </a:lnTo>
                      <a:lnTo>
                        <a:pt x="463" y="1238"/>
                      </a:lnTo>
                      <a:lnTo>
                        <a:pt x="425" y="1210"/>
                      </a:lnTo>
                      <a:lnTo>
                        <a:pt x="399" y="1226"/>
                      </a:lnTo>
                      <a:lnTo>
                        <a:pt x="463" y="1259"/>
                      </a:lnTo>
                      <a:lnTo>
                        <a:pt x="311" y="1238"/>
                      </a:lnTo>
                      <a:lnTo>
                        <a:pt x="323" y="1226"/>
                      </a:lnTo>
                      <a:lnTo>
                        <a:pt x="290" y="1226"/>
                      </a:lnTo>
                      <a:lnTo>
                        <a:pt x="302" y="1222"/>
                      </a:lnTo>
                      <a:lnTo>
                        <a:pt x="236" y="1193"/>
                      </a:lnTo>
                      <a:lnTo>
                        <a:pt x="302" y="1165"/>
                      </a:lnTo>
                      <a:lnTo>
                        <a:pt x="356" y="1165"/>
                      </a:lnTo>
                      <a:lnTo>
                        <a:pt x="356" y="1148"/>
                      </a:lnTo>
                      <a:lnTo>
                        <a:pt x="269" y="1148"/>
                      </a:lnTo>
                      <a:lnTo>
                        <a:pt x="205" y="1132"/>
                      </a:lnTo>
                      <a:lnTo>
                        <a:pt x="248" y="1099"/>
                      </a:lnTo>
                      <a:lnTo>
                        <a:pt x="236" y="1099"/>
                      </a:lnTo>
                      <a:lnTo>
                        <a:pt x="177" y="1132"/>
                      </a:lnTo>
                      <a:lnTo>
                        <a:pt x="144" y="1115"/>
                      </a:lnTo>
                      <a:lnTo>
                        <a:pt x="160" y="1111"/>
                      </a:lnTo>
                      <a:lnTo>
                        <a:pt x="130" y="1111"/>
                      </a:lnTo>
                      <a:lnTo>
                        <a:pt x="113" y="1094"/>
                      </a:lnTo>
                      <a:lnTo>
                        <a:pt x="151" y="1077"/>
                      </a:lnTo>
                      <a:lnTo>
                        <a:pt x="144" y="1073"/>
                      </a:lnTo>
                      <a:lnTo>
                        <a:pt x="198" y="1061"/>
                      </a:lnTo>
                      <a:lnTo>
                        <a:pt x="463" y="1077"/>
                      </a:lnTo>
                      <a:lnTo>
                        <a:pt x="479" y="1073"/>
                      </a:lnTo>
                      <a:lnTo>
                        <a:pt x="432" y="1077"/>
                      </a:lnTo>
                      <a:lnTo>
                        <a:pt x="274" y="1061"/>
                      </a:lnTo>
                      <a:lnTo>
                        <a:pt x="378" y="1037"/>
                      </a:lnTo>
                      <a:lnTo>
                        <a:pt x="479" y="1061"/>
                      </a:lnTo>
                      <a:lnTo>
                        <a:pt x="446" y="1037"/>
                      </a:lnTo>
                      <a:lnTo>
                        <a:pt x="484" y="1021"/>
                      </a:lnTo>
                      <a:lnTo>
                        <a:pt x="470" y="1004"/>
                      </a:lnTo>
                      <a:lnTo>
                        <a:pt x="437" y="1000"/>
                      </a:lnTo>
                      <a:lnTo>
                        <a:pt x="415" y="1000"/>
                      </a:lnTo>
                      <a:lnTo>
                        <a:pt x="382" y="1021"/>
                      </a:lnTo>
                      <a:lnTo>
                        <a:pt x="328" y="1021"/>
                      </a:lnTo>
                      <a:lnTo>
                        <a:pt x="302" y="1000"/>
                      </a:lnTo>
                      <a:lnTo>
                        <a:pt x="290" y="1000"/>
                      </a:lnTo>
                      <a:lnTo>
                        <a:pt x="307" y="1021"/>
                      </a:lnTo>
                      <a:lnTo>
                        <a:pt x="257" y="1028"/>
                      </a:lnTo>
                      <a:lnTo>
                        <a:pt x="193" y="1016"/>
                      </a:lnTo>
                      <a:lnTo>
                        <a:pt x="248" y="1000"/>
                      </a:lnTo>
                      <a:lnTo>
                        <a:pt x="248" y="983"/>
                      </a:lnTo>
                      <a:lnTo>
                        <a:pt x="167" y="1000"/>
                      </a:lnTo>
                      <a:lnTo>
                        <a:pt x="215" y="971"/>
                      </a:lnTo>
                      <a:lnTo>
                        <a:pt x="122" y="983"/>
                      </a:lnTo>
                      <a:lnTo>
                        <a:pt x="113" y="983"/>
                      </a:lnTo>
                      <a:lnTo>
                        <a:pt x="130" y="966"/>
                      </a:lnTo>
                      <a:lnTo>
                        <a:pt x="75" y="966"/>
                      </a:lnTo>
                      <a:lnTo>
                        <a:pt x="42" y="945"/>
                      </a:lnTo>
                      <a:lnTo>
                        <a:pt x="54" y="945"/>
                      </a:lnTo>
                      <a:lnTo>
                        <a:pt x="0" y="917"/>
                      </a:lnTo>
                      <a:lnTo>
                        <a:pt x="37" y="905"/>
                      </a:lnTo>
                      <a:lnTo>
                        <a:pt x="16" y="893"/>
                      </a:lnTo>
                      <a:lnTo>
                        <a:pt x="30" y="877"/>
                      </a:lnTo>
                      <a:lnTo>
                        <a:pt x="30" y="872"/>
                      </a:lnTo>
                      <a:lnTo>
                        <a:pt x="30" y="860"/>
                      </a:lnTo>
                      <a:lnTo>
                        <a:pt x="97" y="851"/>
                      </a:lnTo>
                      <a:lnTo>
                        <a:pt x="151" y="851"/>
                      </a:lnTo>
                      <a:lnTo>
                        <a:pt x="160" y="839"/>
                      </a:lnTo>
                      <a:lnTo>
                        <a:pt x="269" y="806"/>
                      </a:lnTo>
                      <a:lnTo>
                        <a:pt x="302" y="815"/>
                      </a:lnTo>
                      <a:lnTo>
                        <a:pt x="269" y="799"/>
                      </a:lnTo>
                      <a:lnTo>
                        <a:pt x="328" y="778"/>
                      </a:lnTo>
                      <a:lnTo>
                        <a:pt x="371" y="782"/>
                      </a:lnTo>
                      <a:lnTo>
                        <a:pt x="382" y="766"/>
                      </a:lnTo>
                      <a:lnTo>
                        <a:pt x="491" y="778"/>
                      </a:lnTo>
                      <a:lnTo>
                        <a:pt x="576" y="704"/>
                      </a:lnTo>
                      <a:lnTo>
                        <a:pt x="555" y="655"/>
                      </a:lnTo>
                      <a:lnTo>
                        <a:pt x="559" y="638"/>
                      </a:lnTo>
                      <a:lnTo>
                        <a:pt x="555" y="629"/>
                      </a:lnTo>
                      <a:lnTo>
                        <a:pt x="647" y="600"/>
                      </a:lnTo>
                      <a:lnTo>
                        <a:pt x="626" y="600"/>
                      </a:lnTo>
                      <a:lnTo>
                        <a:pt x="614" y="584"/>
                      </a:lnTo>
                      <a:lnTo>
                        <a:pt x="609" y="600"/>
                      </a:lnTo>
                      <a:lnTo>
                        <a:pt x="571" y="617"/>
                      </a:lnTo>
                      <a:lnTo>
                        <a:pt x="415" y="617"/>
                      </a:lnTo>
                      <a:lnTo>
                        <a:pt x="408" y="600"/>
                      </a:lnTo>
                      <a:lnTo>
                        <a:pt x="382" y="596"/>
                      </a:lnTo>
                      <a:lnTo>
                        <a:pt x="394" y="572"/>
                      </a:lnTo>
                      <a:lnTo>
                        <a:pt x="437" y="555"/>
                      </a:lnTo>
                      <a:lnTo>
                        <a:pt x="437" y="539"/>
                      </a:lnTo>
                      <a:lnTo>
                        <a:pt x="522" y="518"/>
                      </a:lnTo>
                      <a:lnTo>
                        <a:pt x="517" y="506"/>
                      </a:lnTo>
                      <a:lnTo>
                        <a:pt x="555" y="501"/>
                      </a:lnTo>
                      <a:lnTo>
                        <a:pt x="559" y="489"/>
                      </a:lnTo>
                      <a:lnTo>
                        <a:pt x="559" y="485"/>
                      </a:lnTo>
                      <a:lnTo>
                        <a:pt x="588" y="473"/>
                      </a:lnTo>
                      <a:lnTo>
                        <a:pt x="576" y="461"/>
                      </a:lnTo>
                      <a:lnTo>
                        <a:pt x="652" y="433"/>
                      </a:lnTo>
                      <a:lnTo>
                        <a:pt x="668" y="444"/>
                      </a:lnTo>
                      <a:lnTo>
                        <a:pt x="680" y="466"/>
                      </a:lnTo>
                      <a:lnTo>
                        <a:pt x="718" y="501"/>
                      </a:lnTo>
                      <a:lnTo>
                        <a:pt x="722" y="501"/>
                      </a:lnTo>
                      <a:lnTo>
                        <a:pt x="685" y="466"/>
                      </a:lnTo>
                      <a:lnTo>
                        <a:pt x="680" y="433"/>
                      </a:lnTo>
                      <a:lnTo>
                        <a:pt x="718" y="416"/>
                      </a:lnTo>
                      <a:lnTo>
                        <a:pt x="803" y="449"/>
                      </a:lnTo>
                      <a:lnTo>
                        <a:pt x="841" y="444"/>
                      </a:lnTo>
                      <a:lnTo>
                        <a:pt x="848" y="433"/>
                      </a:lnTo>
                      <a:lnTo>
                        <a:pt x="824" y="395"/>
                      </a:lnTo>
                      <a:lnTo>
                        <a:pt x="862" y="374"/>
                      </a:lnTo>
                      <a:lnTo>
                        <a:pt x="810" y="333"/>
                      </a:lnTo>
                      <a:lnTo>
                        <a:pt x="857" y="305"/>
                      </a:lnTo>
                      <a:lnTo>
                        <a:pt x="911" y="300"/>
                      </a:lnTo>
                      <a:lnTo>
                        <a:pt x="992" y="305"/>
                      </a:lnTo>
                      <a:lnTo>
                        <a:pt x="1008" y="350"/>
                      </a:lnTo>
                      <a:lnTo>
                        <a:pt x="1079" y="355"/>
                      </a:lnTo>
                      <a:lnTo>
                        <a:pt x="1112" y="390"/>
                      </a:lnTo>
                      <a:lnTo>
                        <a:pt x="1155" y="407"/>
                      </a:lnTo>
                      <a:lnTo>
                        <a:pt x="1164" y="407"/>
                      </a:lnTo>
                      <a:lnTo>
                        <a:pt x="1046" y="350"/>
                      </a:lnTo>
                      <a:lnTo>
                        <a:pt x="1020" y="305"/>
                      </a:lnTo>
                      <a:lnTo>
                        <a:pt x="949" y="296"/>
                      </a:lnTo>
                      <a:lnTo>
                        <a:pt x="1155" y="244"/>
                      </a:lnTo>
                      <a:lnTo>
                        <a:pt x="1171" y="263"/>
                      </a:lnTo>
                      <a:lnTo>
                        <a:pt x="1202" y="244"/>
                      </a:lnTo>
                      <a:lnTo>
                        <a:pt x="1247" y="244"/>
                      </a:lnTo>
                      <a:lnTo>
                        <a:pt x="1240" y="251"/>
                      </a:lnTo>
                      <a:lnTo>
                        <a:pt x="1256" y="263"/>
                      </a:lnTo>
                      <a:lnTo>
                        <a:pt x="1247" y="239"/>
                      </a:lnTo>
                      <a:lnTo>
                        <a:pt x="1226" y="239"/>
                      </a:lnTo>
                      <a:lnTo>
                        <a:pt x="1301" y="222"/>
                      </a:lnTo>
                      <a:lnTo>
                        <a:pt x="1365" y="267"/>
                      </a:lnTo>
                      <a:lnTo>
                        <a:pt x="1370" y="305"/>
                      </a:lnTo>
                      <a:lnTo>
                        <a:pt x="1348" y="338"/>
                      </a:lnTo>
                      <a:lnTo>
                        <a:pt x="1348" y="362"/>
                      </a:lnTo>
                      <a:lnTo>
                        <a:pt x="1370" y="374"/>
                      </a:lnTo>
                      <a:lnTo>
                        <a:pt x="1365" y="350"/>
                      </a:lnTo>
                      <a:lnTo>
                        <a:pt x="1408" y="317"/>
                      </a:lnTo>
                      <a:lnTo>
                        <a:pt x="1403" y="284"/>
                      </a:lnTo>
                      <a:lnTo>
                        <a:pt x="1516" y="305"/>
                      </a:lnTo>
                      <a:lnTo>
                        <a:pt x="1618" y="355"/>
                      </a:lnTo>
                      <a:lnTo>
                        <a:pt x="1641" y="350"/>
                      </a:lnTo>
                      <a:lnTo>
                        <a:pt x="1542" y="300"/>
                      </a:lnTo>
                      <a:lnTo>
                        <a:pt x="1625" y="305"/>
                      </a:lnTo>
                      <a:lnTo>
                        <a:pt x="1656" y="300"/>
                      </a:lnTo>
                      <a:lnTo>
                        <a:pt x="1566" y="251"/>
                      </a:lnTo>
                      <a:lnTo>
                        <a:pt x="1533" y="194"/>
                      </a:lnTo>
                      <a:lnTo>
                        <a:pt x="1672" y="206"/>
                      </a:lnTo>
                      <a:lnTo>
                        <a:pt x="1785" y="263"/>
                      </a:lnTo>
                      <a:lnTo>
                        <a:pt x="1873" y="279"/>
                      </a:lnTo>
                      <a:lnTo>
                        <a:pt x="1894" y="284"/>
                      </a:lnTo>
                      <a:lnTo>
                        <a:pt x="1889" y="300"/>
                      </a:lnTo>
                      <a:lnTo>
                        <a:pt x="1991" y="333"/>
                      </a:lnTo>
                      <a:lnTo>
                        <a:pt x="2019" y="317"/>
                      </a:lnTo>
                      <a:lnTo>
                        <a:pt x="1982" y="300"/>
                      </a:lnTo>
                      <a:lnTo>
                        <a:pt x="2003" y="296"/>
                      </a:lnTo>
                      <a:lnTo>
                        <a:pt x="1974" y="296"/>
                      </a:lnTo>
                      <a:lnTo>
                        <a:pt x="1996" y="279"/>
                      </a:lnTo>
                      <a:lnTo>
                        <a:pt x="1982" y="251"/>
                      </a:lnTo>
                      <a:lnTo>
                        <a:pt x="1991" y="239"/>
                      </a:lnTo>
                      <a:lnTo>
                        <a:pt x="2154" y="251"/>
                      </a:lnTo>
                      <a:lnTo>
                        <a:pt x="2050" y="227"/>
                      </a:lnTo>
                      <a:lnTo>
                        <a:pt x="2045" y="222"/>
                      </a:lnTo>
                      <a:lnTo>
                        <a:pt x="2050" y="222"/>
                      </a:lnTo>
                      <a:lnTo>
                        <a:pt x="1911" y="152"/>
                      </a:lnTo>
                      <a:lnTo>
                        <a:pt x="2163" y="152"/>
                      </a:lnTo>
                      <a:lnTo>
                        <a:pt x="2175" y="156"/>
                      </a:lnTo>
                      <a:lnTo>
                        <a:pt x="2163" y="168"/>
                      </a:lnTo>
                      <a:lnTo>
                        <a:pt x="2192" y="173"/>
                      </a:lnTo>
                      <a:lnTo>
                        <a:pt x="2192" y="194"/>
                      </a:lnTo>
                      <a:lnTo>
                        <a:pt x="2196" y="206"/>
                      </a:lnTo>
                      <a:lnTo>
                        <a:pt x="2208" y="194"/>
                      </a:lnTo>
                      <a:lnTo>
                        <a:pt x="2208" y="173"/>
                      </a:lnTo>
                      <a:lnTo>
                        <a:pt x="2180" y="156"/>
                      </a:lnTo>
                      <a:lnTo>
                        <a:pt x="2208" y="156"/>
                      </a:lnTo>
                      <a:lnTo>
                        <a:pt x="2298" y="189"/>
                      </a:lnTo>
                      <a:lnTo>
                        <a:pt x="2322" y="222"/>
                      </a:lnTo>
                      <a:lnTo>
                        <a:pt x="2336" y="222"/>
                      </a:lnTo>
                      <a:lnTo>
                        <a:pt x="2315" y="189"/>
                      </a:lnTo>
                      <a:lnTo>
                        <a:pt x="2326" y="178"/>
                      </a:lnTo>
                      <a:lnTo>
                        <a:pt x="2322" y="173"/>
                      </a:lnTo>
                      <a:lnTo>
                        <a:pt x="2305" y="168"/>
                      </a:lnTo>
                      <a:lnTo>
                        <a:pt x="2159" y="135"/>
                      </a:lnTo>
                      <a:lnTo>
                        <a:pt x="1958" y="123"/>
                      </a:lnTo>
                      <a:lnTo>
                        <a:pt x="1974" y="135"/>
                      </a:lnTo>
                      <a:lnTo>
                        <a:pt x="1894" y="140"/>
                      </a:lnTo>
                      <a:lnTo>
                        <a:pt x="1835" y="116"/>
                      </a:lnTo>
                      <a:lnTo>
                        <a:pt x="1894" y="123"/>
                      </a:lnTo>
                      <a:lnTo>
                        <a:pt x="1840" y="111"/>
                      </a:lnTo>
                      <a:lnTo>
                        <a:pt x="1894" y="95"/>
                      </a:lnTo>
                      <a:lnTo>
                        <a:pt x="1958" y="123"/>
                      </a:lnTo>
                      <a:lnTo>
                        <a:pt x="2083" y="123"/>
                      </a:lnTo>
                      <a:lnTo>
                        <a:pt x="1974" y="111"/>
                      </a:lnTo>
                      <a:lnTo>
                        <a:pt x="1927" y="83"/>
                      </a:lnTo>
                      <a:lnTo>
                        <a:pt x="1937" y="83"/>
                      </a:lnTo>
                      <a:lnTo>
                        <a:pt x="2109" y="95"/>
                      </a:lnTo>
                      <a:lnTo>
                        <a:pt x="2033" y="67"/>
                      </a:lnTo>
                      <a:lnTo>
                        <a:pt x="2109" y="67"/>
                      </a:lnTo>
                      <a:lnTo>
                        <a:pt x="2083" y="67"/>
                      </a:lnTo>
                      <a:lnTo>
                        <a:pt x="2126" y="62"/>
                      </a:lnTo>
                      <a:lnTo>
                        <a:pt x="2196" y="78"/>
                      </a:lnTo>
                      <a:lnTo>
                        <a:pt x="2180" y="95"/>
                      </a:lnTo>
                      <a:lnTo>
                        <a:pt x="2208" y="83"/>
                      </a:lnTo>
                      <a:lnTo>
                        <a:pt x="2272" y="116"/>
                      </a:lnTo>
                      <a:lnTo>
                        <a:pt x="2352" y="116"/>
                      </a:lnTo>
                      <a:lnTo>
                        <a:pt x="2411" y="156"/>
                      </a:lnTo>
                      <a:lnTo>
                        <a:pt x="2423" y="140"/>
                      </a:lnTo>
                      <a:lnTo>
                        <a:pt x="2374" y="116"/>
                      </a:lnTo>
                      <a:lnTo>
                        <a:pt x="2504" y="111"/>
                      </a:lnTo>
                      <a:lnTo>
                        <a:pt x="2397" y="100"/>
                      </a:lnTo>
                      <a:lnTo>
                        <a:pt x="2537" y="83"/>
                      </a:lnTo>
                      <a:lnTo>
                        <a:pt x="2407" y="67"/>
                      </a:lnTo>
                      <a:lnTo>
                        <a:pt x="2397" y="62"/>
                      </a:lnTo>
                      <a:lnTo>
                        <a:pt x="2397" y="29"/>
                      </a:lnTo>
                      <a:lnTo>
                        <a:pt x="2466" y="45"/>
                      </a:lnTo>
                      <a:lnTo>
                        <a:pt x="2478" y="45"/>
                      </a:lnTo>
                      <a:lnTo>
                        <a:pt x="2449" y="29"/>
                      </a:lnTo>
                      <a:lnTo>
                        <a:pt x="2482" y="24"/>
                      </a:lnTo>
                      <a:lnTo>
                        <a:pt x="2570" y="45"/>
                      </a:lnTo>
                      <a:lnTo>
                        <a:pt x="2537" y="24"/>
                      </a:lnTo>
                      <a:lnTo>
                        <a:pt x="2714" y="0"/>
                      </a:lnTo>
                      <a:lnTo>
                        <a:pt x="2747" y="29"/>
                      </a:lnTo>
                      <a:lnTo>
                        <a:pt x="2752" y="24"/>
                      </a:lnTo>
                      <a:lnTo>
                        <a:pt x="2730" y="5"/>
                      </a:lnTo>
                      <a:lnTo>
                        <a:pt x="2990" y="0"/>
                      </a:lnTo>
                      <a:lnTo>
                        <a:pt x="3125" y="24"/>
                      </a:lnTo>
                      <a:lnTo>
                        <a:pt x="3092" y="24"/>
                      </a:lnTo>
                      <a:lnTo>
                        <a:pt x="3115" y="41"/>
                      </a:lnTo>
                      <a:lnTo>
                        <a:pt x="3200" y="24"/>
                      </a:lnTo>
                      <a:lnTo>
                        <a:pt x="3326" y="57"/>
                      </a:lnTo>
                      <a:lnTo>
                        <a:pt x="3233" y="83"/>
                      </a:lnTo>
                      <a:lnTo>
                        <a:pt x="3016" y="78"/>
                      </a:lnTo>
                      <a:lnTo>
                        <a:pt x="2882" y="100"/>
                      </a:lnTo>
                      <a:lnTo>
                        <a:pt x="2775" y="83"/>
                      </a:lnTo>
                      <a:lnTo>
                        <a:pt x="2844" y="100"/>
                      </a:lnTo>
                      <a:lnTo>
                        <a:pt x="2624" y="123"/>
                      </a:lnTo>
                      <a:lnTo>
                        <a:pt x="2645" y="135"/>
                      </a:lnTo>
                      <a:lnTo>
                        <a:pt x="2629" y="152"/>
                      </a:lnTo>
                      <a:lnTo>
                        <a:pt x="2638" y="156"/>
                      </a:lnTo>
                      <a:lnTo>
                        <a:pt x="2645" y="140"/>
                      </a:lnTo>
                      <a:lnTo>
                        <a:pt x="2676" y="123"/>
                      </a:lnTo>
                      <a:lnTo>
                        <a:pt x="2747" y="123"/>
                      </a:lnTo>
                      <a:lnTo>
                        <a:pt x="2752" y="140"/>
                      </a:lnTo>
                      <a:lnTo>
                        <a:pt x="2737" y="152"/>
                      </a:lnTo>
                      <a:lnTo>
                        <a:pt x="2747" y="152"/>
                      </a:lnTo>
                      <a:lnTo>
                        <a:pt x="2768" y="116"/>
                      </a:lnTo>
                      <a:lnTo>
                        <a:pt x="2877" y="111"/>
                      </a:lnTo>
                      <a:lnTo>
                        <a:pt x="2898" y="123"/>
                      </a:lnTo>
                      <a:lnTo>
                        <a:pt x="3016" y="83"/>
                      </a:lnTo>
                      <a:lnTo>
                        <a:pt x="3146" y="100"/>
                      </a:lnTo>
                      <a:lnTo>
                        <a:pt x="3352" y="78"/>
                      </a:lnTo>
                      <a:lnTo>
                        <a:pt x="3380" y="95"/>
                      </a:lnTo>
                      <a:lnTo>
                        <a:pt x="3368" y="95"/>
                      </a:lnTo>
                      <a:lnTo>
                        <a:pt x="3385" y="111"/>
                      </a:lnTo>
                      <a:lnTo>
                        <a:pt x="3352" y="140"/>
                      </a:lnTo>
                      <a:lnTo>
                        <a:pt x="3309" y="152"/>
                      </a:lnTo>
                      <a:lnTo>
                        <a:pt x="3439" y="123"/>
                      </a:lnTo>
                      <a:lnTo>
                        <a:pt x="3448" y="135"/>
                      </a:lnTo>
                      <a:lnTo>
                        <a:pt x="3439" y="135"/>
                      </a:lnTo>
                      <a:lnTo>
                        <a:pt x="3439" y="156"/>
                      </a:lnTo>
                      <a:lnTo>
                        <a:pt x="3477" y="135"/>
                      </a:lnTo>
                      <a:lnTo>
                        <a:pt x="3628" y="178"/>
                      </a:lnTo>
                      <a:lnTo>
                        <a:pt x="3545" y="227"/>
                      </a:lnTo>
                      <a:lnTo>
                        <a:pt x="3363" y="263"/>
                      </a:lnTo>
                      <a:lnTo>
                        <a:pt x="3028" y="267"/>
                      </a:lnTo>
                      <a:lnTo>
                        <a:pt x="2910" y="251"/>
                      </a:lnTo>
                      <a:lnTo>
                        <a:pt x="3023" y="267"/>
                      </a:lnTo>
                      <a:lnTo>
                        <a:pt x="2801" y="322"/>
                      </a:lnTo>
                      <a:lnTo>
                        <a:pt x="2806" y="350"/>
                      </a:lnTo>
                      <a:lnTo>
                        <a:pt x="2898" y="317"/>
                      </a:lnTo>
                      <a:lnTo>
                        <a:pt x="3040" y="300"/>
                      </a:lnTo>
                      <a:lnTo>
                        <a:pt x="3028" y="305"/>
                      </a:lnTo>
                      <a:lnTo>
                        <a:pt x="3044" y="305"/>
                      </a:lnTo>
                      <a:lnTo>
                        <a:pt x="3082" y="296"/>
                      </a:lnTo>
                      <a:lnTo>
                        <a:pt x="3352" y="296"/>
                      </a:lnTo>
                      <a:lnTo>
                        <a:pt x="3347" y="317"/>
                      </a:lnTo>
                      <a:lnTo>
                        <a:pt x="3342" y="333"/>
                      </a:lnTo>
                      <a:lnTo>
                        <a:pt x="3184" y="378"/>
                      </a:lnTo>
                      <a:lnTo>
                        <a:pt x="3217" y="390"/>
                      </a:lnTo>
                      <a:lnTo>
                        <a:pt x="3184" y="395"/>
                      </a:lnTo>
                      <a:lnTo>
                        <a:pt x="3205" y="395"/>
                      </a:lnTo>
                      <a:lnTo>
                        <a:pt x="3368" y="338"/>
                      </a:lnTo>
                      <a:lnTo>
                        <a:pt x="3422" y="338"/>
                      </a:lnTo>
                      <a:lnTo>
                        <a:pt x="3432" y="333"/>
                      </a:lnTo>
                      <a:lnTo>
                        <a:pt x="3432" y="300"/>
                      </a:lnTo>
                      <a:lnTo>
                        <a:pt x="3439" y="284"/>
                      </a:lnTo>
                      <a:lnTo>
                        <a:pt x="3557" y="279"/>
                      </a:lnTo>
                      <a:lnTo>
                        <a:pt x="3578" y="300"/>
                      </a:lnTo>
                      <a:lnTo>
                        <a:pt x="3578" y="333"/>
                      </a:lnTo>
                      <a:lnTo>
                        <a:pt x="3562" y="378"/>
                      </a:lnTo>
                      <a:lnTo>
                        <a:pt x="3541" y="407"/>
                      </a:lnTo>
                      <a:lnTo>
                        <a:pt x="3507" y="411"/>
                      </a:lnTo>
                      <a:lnTo>
                        <a:pt x="3524" y="411"/>
                      </a:lnTo>
                      <a:lnTo>
                        <a:pt x="3448" y="473"/>
                      </a:lnTo>
                      <a:lnTo>
                        <a:pt x="3456" y="489"/>
                      </a:lnTo>
                      <a:lnTo>
                        <a:pt x="3439" y="506"/>
                      </a:lnTo>
                      <a:lnTo>
                        <a:pt x="3406" y="518"/>
                      </a:lnTo>
                      <a:lnTo>
                        <a:pt x="3432" y="518"/>
                      </a:lnTo>
                      <a:lnTo>
                        <a:pt x="3401" y="539"/>
                      </a:lnTo>
                      <a:lnTo>
                        <a:pt x="3465" y="506"/>
                      </a:lnTo>
                      <a:lnTo>
                        <a:pt x="3470" y="489"/>
                      </a:lnTo>
                      <a:lnTo>
                        <a:pt x="3470" y="473"/>
                      </a:lnTo>
                      <a:lnTo>
                        <a:pt x="3524" y="461"/>
                      </a:lnTo>
                      <a:lnTo>
                        <a:pt x="3666" y="362"/>
                      </a:lnTo>
                      <a:lnTo>
                        <a:pt x="3725" y="338"/>
                      </a:lnTo>
                      <a:lnTo>
                        <a:pt x="3704" y="355"/>
                      </a:lnTo>
                      <a:lnTo>
                        <a:pt x="3692" y="378"/>
                      </a:lnTo>
                      <a:lnTo>
                        <a:pt x="3772" y="362"/>
                      </a:lnTo>
                      <a:lnTo>
                        <a:pt x="3796" y="378"/>
                      </a:lnTo>
                      <a:lnTo>
                        <a:pt x="3810" y="374"/>
                      </a:lnTo>
                      <a:lnTo>
                        <a:pt x="3855" y="378"/>
                      </a:lnTo>
                      <a:lnTo>
                        <a:pt x="3855" y="362"/>
                      </a:lnTo>
                      <a:lnTo>
                        <a:pt x="3885" y="355"/>
                      </a:lnTo>
                      <a:lnTo>
                        <a:pt x="3864" y="350"/>
                      </a:lnTo>
                      <a:lnTo>
                        <a:pt x="3871" y="333"/>
                      </a:lnTo>
                      <a:lnTo>
                        <a:pt x="3902" y="338"/>
                      </a:lnTo>
                      <a:lnTo>
                        <a:pt x="3897" y="333"/>
                      </a:lnTo>
                      <a:lnTo>
                        <a:pt x="3897" y="317"/>
                      </a:lnTo>
                      <a:lnTo>
                        <a:pt x="3935" y="317"/>
                      </a:lnTo>
                      <a:lnTo>
                        <a:pt x="3952" y="300"/>
                      </a:lnTo>
                      <a:lnTo>
                        <a:pt x="4086" y="300"/>
                      </a:lnTo>
                      <a:lnTo>
                        <a:pt x="4195" y="322"/>
                      </a:lnTo>
                      <a:lnTo>
                        <a:pt x="4263" y="355"/>
                      </a:lnTo>
                      <a:lnTo>
                        <a:pt x="4136" y="433"/>
                      </a:lnTo>
                      <a:lnTo>
                        <a:pt x="4070" y="433"/>
                      </a:lnTo>
                      <a:lnTo>
                        <a:pt x="4060" y="444"/>
                      </a:lnTo>
                      <a:lnTo>
                        <a:pt x="4098" y="466"/>
                      </a:lnTo>
                      <a:lnTo>
                        <a:pt x="4011" y="489"/>
                      </a:lnTo>
                      <a:lnTo>
                        <a:pt x="3994" y="506"/>
                      </a:lnTo>
                      <a:lnTo>
                        <a:pt x="3864" y="489"/>
                      </a:lnTo>
                      <a:lnTo>
                        <a:pt x="3855" y="506"/>
                      </a:lnTo>
                      <a:lnTo>
                        <a:pt x="3817" y="522"/>
                      </a:lnTo>
                      <a:lnTo>
                        <a:pt x="3708" y="518"/>
                      </a:lnTo>
                      <a:lnTo>
                        <a:pt x="3682" y="527"/>
                      </a:lnTo>
                      <a:lnTo>
                        <a:pt x="3633" y="527"/>
                      </a:lnTo>
                      <a:lnTo>
                        <a:pt x="3666" y="544"/>
                      </a:lnTo>
                      <a:lnTo>
                        <a:pt x="3720" y="522"/>
                      </a:lnTo>
                      <a:lnTo>
                        <a:pt x="3826" y="539"/>
                      </a:lnTo>
                      <a:lnTo>
                        <a:pt x="3897" y="522"/>
                      </a:lnTo>
                      <a:lnTo>
                        <a:pt x="3994" y="544"/>
                      </a:lnTo>
                      <a:lnTo>
                        <a:pt x="3961" y="560"/>
                      </a:lnTo>
                      <a:lnTo>
                        <a:pt x="3952" y="560"/>
                      </a:lnTo>
                      <a:lnTo>
                        <a:pt x="3956" y="572"/>
                      </a:lnTo>
                      <a:lnTo>
                        <a:pt x="3918" y="584"/>
                      </a:lnTo>
                      <a:lnTo>
                        <a:pt x="3741" y="577"/>
                      </a:lnTo>
                      <a:lnTo>
                        <a:pt x="3682" y="612"/>
                      </a:lnTo>
                      <a:lnTo>
                        <a:pt x="3692" y="612"/>
                      </a:lnTo>
                      <a:lnTo>
                        <a:pt x="3682" y="629"/>
                      </a:lnTo>
                      <a:lnTo>
                        <a:pt x="3687" y="629"/>
                      </a:lnTo>
                      <a:lnTo>
                        <a:pt x="3666" y="650"/>
                      </a:lnTo>
                      <a:lnTo>
                        <a:pt x="3687" y="650"/>
                      </a:lnTo>
                      <a:lnTo>
                        <a:pt x="3692" y="666"/>
                      </a:lnTo>
                      <a:lnTo>
                        <a:pt x="3725" y="650"/>
                      </a:lnTo>
                      <a:lnTo>
                        <a:pt x="3704" y="655"/>
                      </a:lnTo>
                      <a:lnTo>
                        <a:pt x="3704" y="650"/>
                      </a:lnTo>
                      <a:lnTo>
                        <a:pt x="3720" y="633"/>
                      </a:lnTo>
                      <a:lnTo>
                        <a:pt x="3772" y="612"/>
                      </a:lnTo>
                      <a:lnTo>
                        <a:pt x="3864" y="600"/>
                      </a:lnTo>
                      <a:lnTo>
                        <a:pt x="3897" y="617"/>
                      </a:lnTo>
                      <a:lnTo>
                        <a:pt x="3843" y="666"/>
                      </a:lnTo>
                      <a:lnTo>
                        <a:pt x="3772" y="655"/>
                      </a:lnTo>
                      <a:lnTo>
                        <a:pt x="3746" y="683"/>
                      </a:lnTo>
                      <a:lnTo>
                        <a:pt x="3746" y="695"/>
                      </a:lnTo>
                      <a:lnTo>
                        <a:pt x="3734" y="711"/>
                      </a:lnTo>
                      <a:lnTo>
                        <a:pt x="3741" y="728"/>
                      </a:lnTo>
                      <a:lnTo>
                        <a:pt x="3725" y="761"/>
                      </a:lnTo>
                      <a:lnTo>
                        <a:pt x="3746" y="740"/>
                      </a:lnTo>
                      <a:lnTo>
                        <a:pt x="3779" y="740"/>
                      </a:lnTo>
                      <a:lnTo>
                        <a:pt x="3772" y="749"/>
                      </a:lnTo>
                      <a:lnTo>
                        <a:pt x="3789" y="761"/>
                      </a:lnTo>
                      <a:lnTo>
                        <a:pt x="3763" y="761"/>
                      </a:lnTo>
                      <a:lnTo>
                        <a:pt x="3772" y="744"/>
                      </a:lnTo>
                      <a:lnTo>
                        <a:pt x="3763" y="744"/>
                      </a:lnTo>
                      <a:lnTo>
                        <a:pt x="3746" y="749"/>
                      </a:lnTo>
                      <a:lnTo>
                        <a:pt x="3746" y="766"/>
                      </a:lnTo>
                      <a:lnTo>
                        <a:pt x="3708" y="778"/>
                      </a:lnTo>
                      <a:lnTo>
                        <a:pt x="3725" y="794"/>
                      </a:lnTo>
                      <a:lnTo>
                        <a:pt x="3720" y="806"/>
                      </a:lnTo>
                      <a:lnTo>
                        <a:pt x="3633" y="815"/>
                      </a:lnTo>
                      <a:lnTo>
                        <a:pt x="3654" y="839"/>
                      </a:lnTo>
                      <a:lnTo>
                        <a:pt x="3616" y="851"/>
                      </a:lnTo>
                      <a:lnTo>
                        <a:pt x="3654" y="851"/>
                      </a:lnTo>
                      <a:lnTo>
                        <a:pt x="3628" y="905"/>
                      </a:lnTo>
                      <a:lnTo>
                        <a:pt x="3628" y="910"/>
                      </a:lnTo>
                      <a:lnTo>
                        <a:pt x="3595" y="926"/>
                      </a:lnTo>
                      <a:lnTo>
                        <a:pt x="3616" y="926"/>
                      </a:lnTo>
                      <a:lnTo>
                        <a:pt x="3595" y="945"/>
                      </a:lnTo>
                      <a:lnTo>
                        <a:pt x="3583" y="962"/>
                      </a:lnTo>
                      <a:lnTo>
                        <a:pt x="3611" y="950"/>
                      </a:lnTo>
                      <a:lnTo>
                        <a:pt x="3578" y="1000"/>
                      </a:lnTo>
                      <a:lnTo>
                        <a:pt x="3616" y="1000"/>
                      </a:lnTo>
                      <a:lnTo>
                        <a:pt x="3595" y="1016"/>
                      </a:lnTo>
                      <a:lnTo>
                        <a:pt x="3611" y="1016"/>
                      </a:lnTo>
                      <a:lnTo>
                        <a:pt x="3616" y="1004"/>
                      </a:lnTo>
                      <a:lnTo>
                        <a:pt x="3628" y="971"/>
                      </a:lnTo>
                      <a:lnTo>
                        <a:pt x="3654" y="945"/>
                      </a:lnTo>
                      <a:lnTo>
                        <a:pt x="3692" y="966"/>
                      </a:lnTo>
                      <a:lnTo>
                        <a:pt x="3772" y="983"/>
                      </a:lnTo>
                      <a:lnTo>
                        <a:pt x="3796" y="1004"/>
                      </a:lnTo>
                      <a:lnTo>
                        <a:pt x="3763" y="1016"/>
                      </a:lnTo>
                      <a:lnTo>
                        <a:pt x="3704" y="988"/>
                      </a:lnTo>
                      <a:lnTo>
                        <a:pt x="3654" y="1000"/>
                      </a:lnTo>
                      <a:lnTo>
                        <a:pt x="3704" y="1016"/>
                      </a:lnTo>
                      <a:lnTo>
                        <a:pt x="3670" y="1016"/>
                      </a:lnTo>
                      <a:lnTo>
                        <a:pt x="3692" y="1021"/>
                      </a:lnTo>
                      <a:lnTo>
                        <a:pt x="3649" y="1016"/>
                      </a:lnTo>
                      <a:lnTo>
                        <a:pt x="3720" y="1028"/>
                      </a:lnTo>
                      <a:lnTo>
                        <a:pt x="3666" y="1037"/>
                      </a:lnTo>
                      <a:lnTo>
                        <a:pt x="3741" y="1037"/>
                      </a:lnTo>
                      <a:lnTo>
                        <a:pt x="3763" y="1054"/>
                      </a:lnTo>
                      <a:lnTo>
                        <a:pt x="3758" y="1061"/>
                      </a:lnTo>
                      <a:lnTo>
                        <a:pt x="3789" y="1073"/>
                      </a:lnTo>
                      <a:lnTo>
                        <a:pt x="3789" y="1054"/>
                      </a:lnTo>
                      <a:lnTo>
                        <a:pt x="3796" y="1044"/>
                      </a:lnTo>
                      <a:lnTo>
                        <a:pt x="3833" y="1044"/>
                      </a:lnTo>
                      <a:lnTo>
                        <a:pt x="3843" y="1061"/>
                      </a:lnTo>
                      <a:lnTo>
                        <a:pt x="3848" y="1111"/>
                      </a:lnTo>
                      <a:lnTo>
                        <a:pt x="3843" y="1132"/>
                      </a:lnTo>
                      <a:lnTo>
                        <a:pt x="3826" y="1132"/>
                      </a:lnTo>
                      <a:lnTo>
                        <a:pt x="3826" y="1139"/>
                      </a:lnTo>
                      <a:lnTo>
                        <a:pt x="3796" y="1127"/>
                      </a:lnTo>
                      <a:lnTo>
                        <a:pt x="3670" y="1099"/>
                      </a:lnTo>
                      <a:lnTo>
                        <a:pt x="3649" y="1111"/>
                      </a:lnTo>
                      <a:lnTo>
                        <a:pt x="3682" y="1111"/>
                      </a:lnTo>
                      <a:lnTo>
                        <a:pt x="3595" y="1115"/>
                      </a:lnTo>
                      <a:lnTo>
                        <a:pt x="3654" y="1127"/>
                      </a:lnTo>
                      <a:lnTo>
                        <a:pt x="3628" y="1132"/>
                      </a:lnTo>
                      <a:lnTo>
                        <a:pt x="3611" y="1155"/>
                      </a:lnTo>
                      <a:lnTo>
                        <a:pt x="3562" y="1127"/>
                      </a:lnTo>
                      <a:lnTo>
                        <a:pt x="3545" y="1127"/>
                      </a:lnTo>
                      <a:lnTo>
                        <a:pt x="3545" y="1139"/>
                      </a:lnTo>
                      <a:lnTo>
                        <a:pt x="3524" y="1148"/>
                      </a:lnTo>
                      <a:lnTo>
                        <a:pt x="3557" y="1172"/>
                      </a:lnTo>
                      <a:lnTo>
                        <a:pt x="3557" y="1165"/>
                      </a:lnTo>
                      <a:lnTo>
                        <a:pt x="3562" y="1155"/>
                      </a:lnTo>
                      <a:lnTo>
                        <a:pt x="3595" y="1165"/>
                      </a:lnTo>
                      <a:lnTo>
                        <a:pt x="3600" y="1172"/>
                      </a:lnTo>
                      <a:lnTo>
                        <a:pt x="3578" y="1184"/>
                      </a:lnTo>
                      <a:lnTo>
                        <a:pt x="3600" y="1184"/>
                      </a:lnTo>
                      <a:lnTo>
                        <a:pt x="3541" y="1184"/>
                      </a:lnTo>
                      <a:lnTo>
                        <a:pt x="3611" y="1189"/>
                      </a:lnTo>
                      <a:lnTo>
                        <a:pt x="3600" y="1210"/>
                      </a:lnTo>
                      <a:lnTo>
                        <a:pt x="3637" y="1205"/>
                      </a:lnTo>
                      <a:lnTo>
                        <a:pt x="3682" y="1226"/>
                      </a:lnTo>
                      <a:lnTo>
                        <a:pt x="3687" y="1226"/>
                      </a:lnTo>
                      <a:lnTo>
                        <a:pt x="3637" y="1205"/>
                      </a:lnTo>
                      <a:lnTo>
                        <a:pt x="3734" y="1222"/>
                      </a:lnTo>
                      <a:lnTo>
                        <a:pt x="3741" y="1226"/>
                      </a:lnTo>
                      <a:lnTo>
                        <a:pt x="3741" y="1243"/>
                      </a:lnTo>
                      <a:lnTo>
                        <a:pt x="3692" y="1250"/>
                      </a:lnTo>
                      <a:lnTo>
                        <a:pt x="3578" y="1250"/>
                      </a:lnTo>
                      <a:lnTo>
                        <a:pt x="3734" y="1259"/>
                      </a:lnTo>
                      <a:lnTo>
                        <a:pt x="3746" y="1283"/>
                      </a:lnTo>
                      <a:lnTo>
                        <a:pt x="3746" y="1300"/>
                      </a:lnTo>
                      <a:lnTo>
                        <a:pt x="3763" y="1316"/>
                      </a:lnTo>
                      <a:lnTo>
                        <a:pt x="3763" y="1337"/>
                      </a:lnTo>
                      <a:lnTo>
                        <a:pt x="3758" y="1370"/>
                      </a:lnTo>
                      <a:lnTo>
                        <a:pt x="3725" y="1377"/>
                      </a:lnTo>
                      <a:lnTo>
                        <a:pt x="3720" y="1370"/>
                      </a:lnTo>
                      <a:lnTo>
                        <a:pt x="3725" y="1354"/>
                      </a:lnTo>
                      <a:lnTo>
                        <a:pt x="3708" y="1349"/>
                      </a:lnTo>
                      <a:lnTo>
                        <a:pt x="3670" y="1354"/>
                      </a:lnTo>
                      <a:lnTo>
                        <a:pt x="3616" y="1316"/>
                      </a:lnTo>
                      <a:lnTo>
                        <a:pt x="3562" y="1300"/>
                      </a:lnTo>
                      <a:lnTo>
                        <a:pt x="3616" y="1333"/>
                      </a:lnTo>
                      <a:lnTo>
                        <a:pt x="3541" y="1316"/>
                      </a:lnTo>
                      <a:lnTo>
                        <a:pt x="3616" y="1333"/>
                      </a:lnTo>
                      <a:lnTo>
                        <a:pt x="3682" y="1377"/>
                      </a:lnTo>
                      <a:lnTo>
                        <a:pt x="3633" y="1377"/>
                      </a:lnTo>
                      <a:lnTo>
                        <a:pt x="3595" y="1406"/>
                      </a:lnTo>
                      <a:lnTo>
                        <a:pt x="3545" y="1370"/>
                      </a:lnTo>
                      <a:lnTo>
                        <a:pt x="3595" y="1406"/>
                      </a:lnTo>
                      <a:lnTo>
                        <a:pt x="3637" y="1387"/>
                      </a:lnTo>
                      <a:lnTo>
                        <a:pt x="3670" y="1387"/>
                      </a:lnTo>
                      <a:lnTo>
                        <a:pt x="3666" y="1415"/>
                      </a:lnTo>
                      <a:lnTo>
                        <a:pt x="3682" y="1432"/>
                      </a:lnTo>
                      <a:lnTo>
                        <a:pt x="3637" y="1444"/>
                      </a:lnTo>
                      <a:lnTo>
                        <a:pt x="3704" y="1444"/>
                      </a:lnTo>
                      <a:lnTo>
                        <a:pt x="3734" y="1460"/>
                      </a:lnTo>
                      <a:lnTo>
                        <a:pt x="3763" y="1444"/>
                      </a:lnTo>
                      <a:lnTo>
                        <a:pt x="3772" y="1448"/>
                      </a:lnTo>
                      <a:lnTo>
                        <a:pt x="3772" y="1465"/>
                      </a:lnTo>
                      <a:lnTo>
                        <a:pt x="3789" y="1472"/>
                      </a:lnTo>
                      <a:lnTo>
                        <a:pt x="3763" y="1498"/>
                      </a:lnTo>
                      <a:lnTo>
                        <a:pt x="3741" y="1505"/>
                      </a:lnTo>
                      <a:lnTo>
                        <a:pt x="3708" y="1498"/>
                      </a:lnTo>
                      <a:lnTo>
                        <a:pt x="3692" y="1472"/>
                      </a:lnTo>
                      <a:lnTo>
                        <a:pt x="3600" y="1472"/>
                      </a:lnTo>
                      <a:lnTo>
                        <a:pt x="3574" y="1448"/>
                      </a:lnTo>
                      <a:lnTo>
                        <a:pt x="3595" y="1481"/>
                      </a:lnTo>
                      <a:lnTo>
                        <a:pt x="3578" y="1489"/>
                      </a:lnTo>
                      <a:lnTo>
                        <a:pt x="3545" y="1498"/>
                      </a:lnTo>
                      <a:lnTo>
                        <a:pt x="3574" y="1498"/>
                      </a:lnTo>
                      <a:lnTo>
                        <a:pt x="3562" y="1514"/>
                      </a:lnTo>
                      <a:lnTo>
                        <a:pt x="3562" y="1522"/>
                      </a:lnTo>
                      <a:lnTo>
                        <a:pt x="3541" y="1526"/>
                      </a:lnTo>
                      <a:lnTo>
                        <a:pt x="3578" y="1538"/>
                      </a:lnTo>
                      <a:lnTo>
                        <a:pt x="3595" y="1559"/>
                      </a:lnTo>
                      <a:lnTo>
                        <a:pt x="3595" y="1583"/>
                      </a:lnTo>
                      <a:lnTo>
                        <a:pt x="3600" y="1576"/>
                      </a:lnTo>
                      <a:lnTo>
                        <a:pt x="3583" y="1538"/>
                      </a:lnTo>
                      <a:lnTo>
                        <a:pt x="3595" y="1526"/>
                      </a:lnTo>
                      <a:lnTo>
                        <a:pt x="3704" y="1555"/>
                      </a:lnTo>
                      <a:lnTo>
                        <a:pt x="3704" y="1571"/>
                      </a:lnTo>
                      <a:lnTo>
                        <a:pt x="3682" y="1576"/>
                      </a:lnTo>
                      <a:lnTo>
                        <a:pt x="3687" y="1583"/>
                      </a:lnTo>
                      <a:lnTo>
                        <a:pt x="3682" y="1600"/>
                      </a:lnTo>
                      <a:lnTo>
                        <a:pt x="3692" y="1600"/>
                      </a:lnTo>
                      <a:lnTo>
                        <a:pt x="3687" y="1616"/>
                      </a:lnTo>
                      <a:lnTo>
                        <a:pt x="3611" y="1609"/>
                      </a:lnTo>
                      <a:lnTo>
                        <a:pt x="3600" y="1626"/>
                      </a:lnTo>
                      <a:lnTo>
                        <a:pt x="3557" y="1637"/>
                      </a:lnTo>
                      <a:lnTo>
                        <a:pt x="3470" y="1616"/>
                      </a:lnTo>
                      <a:lnTo>
                        <a:pt x="3439" y="1592"/>
                      </a:lnTo>
                      <a:lnTo>
                        <a:pt x="3439" y="1576"/>
                      </a:lnTo>
                      <a:lnTo>
                        <a:pt x="3470" y="1576"/>
                      </a:lnTo>
                      <a:lnTo>
                        <a:pt x="3531" y="1600"/>
                      </a:lnTo>
                      <a:lnTo>
                        <a:pt x="3562" y="1592"/>
                      </a:lnTo>
                      <a:lnTo>
                        <a:pt x="3524" y="1600"/>
                      </a:lnTo>
                      <a:lnTo>
                        <a:pt x="3432" y="1559"/>
                      </a:lnTo>
                      <a:lnTo>
                        <a:pt x="3406" y="1576"/>
                      </a:lnTo>
                      <a:lnTo>
                        <a:pt x="3406" y="1600"/>
                      </a:lnTo>
                      <a:lnTo>
                        <a:pt x="3368" y="1592"/>
                      </a:lnTo>
                      <a:lnTo>
                        <a:pt x="3368" y="1576"/>
                      </a:lnTo>
                      <a:lnTo>
                        <a:pt x="3314" y="1543"/>
                      </a:lnTo>
                      <a:lnTo>
                        <a:pt x="3330" y="1571"/>
                      </a:lnTo>
                      <a:lnTo>
                        <a:pt x="3394" y="1609"/>
                      </a:lnTo>
                      <a:lnTo>
                        <a:pt x="3347" y="1616"/>
                      </a:lnTo>
                      <a:lnTo>
                        <a:pt x="3314" y="1637"/>
                      </a:lnTo>
                      <a:lnTo>
                        <a:pt x="3297" y="1637"/>
                      </a:lnTo>
                      <a:lnTo>
                        <a:pt x="3238" y="1633"/>
                      </a:lnTo>
                      <a:lnTo>
                        <a:pt x="3200" y="1609"/>
                      </a:lnTo>
                      <a:lnTo>
                        <a:pt x="3191" y="1616"/>
                      </a:lnTo>
                      <a:lnTo>
                        <a:pt x="3271" y="1637"/>
                      </a:lnTo>
                      <a:lnTo>
                        <a:pt x="3243" y="1654"/>
                      </a:lnTo>
                      <a:lnTo>
                        <a:pt x="3222" y="1649"/>
                      </a:lnTo>
                      <a:lnTo>
                        <a:pt x="3179" y="1654"/>
                      </a:lnTo>
                      <a:lnTo>
                        <a:pt x="3200" y="1666"/>
                      </a:lnTo>
                      <a:lnTo>
                        <a:pt x="3200" y="1682"/>
                      </a:lnTo>
                      <a:lnTo>
                        <a:pt x="3191" y="1687"/>
                      </a:lnTo>
                      <a:lnTo>
                        <a:pt x="3205" y="1682"/>
                      </a:lnTo>
                      <a:lnTo>
                        <a:pt x="3205" y="1666"/>
                      </a:lnTo>
                      <a:lnTo>
                        <a:pt x="3255" y="1666"/>
                      </a:lnTo>
                      <a:lnTo>
                        <a:pt x="3271" y="1649"/>
                      </a:lnTo>
                      <a:lnTo>
                        <a:pt x="3363" y="1666"/>
                      </a:lnTo>
                      <a:lnTo>
                        <a:pt x="3368" y="1682"/>
                      </a:lnTo>
                      <a:lnTo>
                        <a:pt x="3352" y="1687"/>
                      </a:lnTo>
                      <a:lnTo>
                        <a:pt x="3314" y="1687"/>
                      </a:lnTo>
                      <a:lnTo>
                        <a:pt x="3293" y="1703"/>
                      </a:lnTo>
                      <a:lnTo>
                        <a:pt x="3243" y="1694"/>
                      </a:lnTo>
                      <a:lnTo>
                        <a:pt x="3200" y="1694"/>
                      </a:lnTo>
                      <a:lnTo>
                        <a:pt x="3271" y="1711"/>
                      </a:lnTo>
                      <a:lnTo>
                        <a:pt x="3243" y="1720"/>
                      </a:lnTo>
                      <a:lnTo>
                        <a:pt x="3276" y="1711"/>
                      </a:lnTo>
                      <a:lnTo>
                        <a:pt x="3259" y="1737"/>
                      </a:lnTo>
                      <a:lnTo>
                        <a:pt x="3330" y="1703"/>
                      </a:lnTo>
                      <a:lnTo>
                        <a:pt x="3380" y="1711"/>
                      </a:lnTo>
                      <a:lnTo>
                        <a:pt x="3385" y="1720"/>
                      </a:lnTo>
                      <a:lnTo>
                        <a:pt x="3385" y="1737"/>
                      </a:lnTo>
                      <a:lnTo>
                        <a:pt x="3394" y="1744"/>
                      </a:lnTo>
                      <a:lnTo>
                        <a:pt x="3297" y="1760"/>
                      </a:lnTo>
                      <a:lnTo>
                        <a:pt x="3347" y="1760"/>
                      </a:lnTo>
                      <a:lnTo>
                        <a:pt x="3330" y="1798"/>
                      </a:lnTo>
                      <a:lnTo>
                        <a:pt x="3342" y="1793"/>
                      </a:lnTo>
                      <a:lnTo>
                        <a:pt x="3342" y="1777"/>
                      </a:lnTo>
                      <a:lnTo>
                        <a:pt x="3352" y="1765"/>
                      </a:lnTo>
                      <a:lnTo>
                        <a:pt x="3394" y="1760"/>
                      </a:lnTo>
                      <a:lnTo>
                        <a:pt x="3503" y="1810"/>
                      </a:lnTo>
                      <a:lnTo>
                        <a:pt x="3493" y="1814"/>
                      </a:lnTo>
                      <a:lnTo>
                        <a:pt x="3541" y="1831"/>
                      </a:lnTo>
                      <a:lnTo>
                        <a:pt x="3503" y="1864"/>
                      </a:lnTo>
                      <a:lnTo>
                        <a:pt x="3545" y="1838"/>
                      </a:lnTo>
                      <a:lnTo>
                        <a:pt x="3531" y="1864"/>
                      </a:lnTo>
                      <a:lnTo>
                        <a:pt x="3531" y="1871"/>
                      </a:lnTo>
                      <a:lnTo>
                        <a:pt x="3562" y="1848"/>
                      </a:lnTo>
                      <a:lnTo>
                        <a:pt x="3583" y="1848"/>
                      </a:lnTo>
                      <a:lnTo>
                        <a:pt x="3562" y="1864"/>
                      </a:lnTo>
                      <a:lnTo>
                        <a:pt x="3574" y="1871"/>
                      </a:lnTo>
                      <a:lnTo>
                        <a:pt x="3541" y="1871"/>
                      </a:lnTo>
                      <a:lnTo>
                        <a:pt x="3545" y="1909"/>
                      </a:lnTo>
                      <a:lnTo>
                        <a:pt x="3557" y="1909"/>
                      </a:lnTo>
                      <a:lnTo>
                        <a:pt x="3557" y="1888"/>
                      </a:lnTo>
                      <a:lnTo>
                        <a:pt x="3595" y="1876"/>
                      </a:lnTo>
                      <a:lnTo>
                        <a:pt x="3600" y="1892"/>
                      </a:lnTo>
                      <a:lnTo>
                        <a:pt x="3595" y="1904"/>
                      </a:lnTo>
                      <a:lnTo>
                        <a:pt x="3611" y="1904"/>
                      </a:lnTo>
                      <a:lnTo>
                        <a:pt x="3578" y="1909"/>
                      </a:lnTo>
                      <a:lnTo>
                        <a:pt x="3595" y="1909"/>
                      </a:lnTo>
                      <a:lnTo>
                        <a:pt x="3600" y="1926"/>
                      </a:lnTo>
                      <a:lnTo>
                        <a:pt x="3557" y="1942"/>
                      </a:lnTo>
                      <a:lnTo>
                        <a:pt x="3600" y="1933"/>
                      </a:lnTo>
                      <a:lnTo>
                        <a:pt x="3611" y="1949"/>
                      </a:lnTo>
                      <a:lnTo>
                        <a:pt x="3600" y="1975"/>
                      </a:lnTo>
                      <a:lnTo>
                        <a:pt x="3583" y="1975"/>
                      </a:lnTo>
                      <a:lnTo>
                        <a:pt x="3600" y="1975"/>
                      </a:lnTo>
                      <a:lnTo>
                        <a:pt x="3611" y="1982"/>
                      </a:lnTo>
                      <a:lnTo>
                        <a:pt x="3595" y="1982"/>
                      </a:lnTo>
                      <a:lnTo>
                        <a:pt x="3600" y="1987"/>
                      </a:lnTo>
                      <a:lnTo>
                        <a:pt x="3595" y="2003"/>
                      </a:lnTo>
                      <a:lnTo>
                        <a:pt x="3616" y="2003"/>
                      </a:lnTo>
                      <a:lnTo>
                        <a:pt x="3578" y="2032"/>
                      </a:lnTo>
                      <a:lnTo>
                        <a:pt x="3583" y="2015"/>
                      </a:lnTo>
                      <a:lnTo>
                        <a:pt x="3578" y="2015"/>
                      </a:lnTo>
                      <a:lnTo>
                        <a:pt x="3557" y="2020"/>
                      </a:lnTo>
                      <a:lnTo>
                        <a:pt x="3545" y="1987"/>
                      </a:lnTo>
                      <a:lnTo>
                        <a:pt x="3545" y="1966"/>
                      </a:lnTo>
                      <a:lnTo>
                        <a:pt x="3541" y="1966"/>
                      </a:lnTo>
                      <a:lnTo>
                        <a:pt x="3531" y="1982"/>
                      </a:lnTo>
                      <a:lnTo>
                        <a:pt x="3541" y="2003"/>
                      </a:lnTo>
                      <a:lnTo>
                        <a:pt x="3531" y="2020"/>
                      </a:lnTo>
                      <a:lnTo>
                        <a:pt x="3486" y="2020"/>
                      </a:lnTo>
                      <a:lnTo>
                        <a:pt x="3439" y="1987"/>
                      </a:lnTo>
                      <a:lnTo>
                        <a:pt x="3422" y="1975"/>
                      </a:lnTo>
                      <a:lnTo>
                        <a:pt x="3422" y="1942"/>
                      </a:lnTo>
                      <a:lnTo>
                        <a:pt x="3385" y="1904"/>
                      </a:lnTo>
                      <a:lnTo>
                        <a:pt x="3363" y="1909"/>
                      </a:lnTo>
                      <a:lnTo>
                        <a:pt x="3326" y="1876"/>
                      </a:lnTo>
                      <a:lnTo>
                        <a:pt x="3233" y="1871"/>
                      </a:lnTo>
                      <a:lnTo>
                        <a:pt x="3179" y="1822"/>
                      </a:lnTo>
                      <a:lnTo>
                        <a:pt x="3115" y="1798"/>
                      </a:lnTo>
                      <a:lnTo>
                        <a:pt x="3108" y="1798"/>
                      </a:lnTo>
                      <a:lnTo>
                        <a:pt x="3130" y="1814"/>
                      </a:lnTo>
                      <a:lnTo>
                        <a:pt x="3125" y="1822"/>
                      </a:lnTo>
                      <a:lnTo>
                        <a:pt x="3167" y="1831"/>
                      </a:lnTo>
                      <a:lnTo>
                        <a:pt x="3205" y="1855"/>
                      </a:lnTo>
                      <a:lnTo>
                        <a:pt x="3200" y="1864"/>
                      </a:lnTo>
                      <a:lnTo>
                        <a:pt x="3125" y="1871"/>
                      </a:lnTo>
                      <a:lnTo>
                        <a:pt x="3200" y="1871"/>
                      </a:lnTo>
                      <a:lnTo>
                        <a:pt x="3217" y="1871"/>
                      </a:lnTo>
                      <a:lnTo>
                        <a:pt x="3205" y="1876"/>
                      </a:lnTo>
                      <a:lnTo>
                        <a:pt x="3205" y="1888"/>
                      </a:lnTo>
                      <a:lnTo>
                        <a:pt x="3309" y="1876"/>
                      </a:lnTo>
                      <a:lnTo>
                        <a:pt x="3342" y="1904"/>
                      </a:lnTo>
                      <a:lnTo>
                        <a:pt x="3330" y="1921"/>
                      </a:lnTo>
                      <a:lnTo>
                        <a:pt x="3314" y="1909"/>
                      </a:lnTo>
                      <a:lnTo>
                        <a:pt x="3326" y="1926"/>
                      </a:lnTo>
                      <a:lnTo>
                        <a:pt x="3259" y="1949"/>
                      </a:lnTo>
                      <a:lnTo>
                        <a:pt x="3191" y="1959"/>
                      </a:lnTo>
                      <a:lnTo>
                        <a:pt x="3167" y="1926"/>
                      </a:lnTo>
                      <a:lnTo>
                        <a:pt x="3163" y="1926"/>
                      </a:lnTo>
                      <a:lnTo>
                        <a:pt x="3184" y="1949"/>
                      </a:lnTo>
                      <a:lnTo>
                        <a:pt x="3130" y="1949"/>
                      </a:lnTo>
                      <a:lnTo>
                        <a:pt x="3163" y="1966"/>
                      </a:lnTo>
                      <a:lnTo>
                        <a:pt x="3137" y="2003"/>
                      </a:lnTo>
                      <a:lnTo>
                        <a:pt x="3070" y="2015"/>
                      </a:lnTo>
                      <a:lnTo>
                        <a:pt x="3070" y="2032"/>
                      </a:lnTo>
                      <a:lnTo>
                        <a:pt x="3137" y="2015"/>
                      </a:lnTo>
                      <a:lnTo>
                        <a:pt x="3130" y="2020"/>
                      </a:lnTo>
                      <a:lnTo>
                        <a:pt x="3137" y="2032"/>
                      </a:lnTo>
                      <a:lnTo>
                        <a:pt x="3243" y="2015"/>
                      </a:lnTo>
                      <a:lnTo>
                        <a:pt x="3276" y="2032"/>
                      </a:lnTo>
                      <a:lnTo>
                        <a:pt x="3243" y="2037"/>
                      </a:lnTo>
                      <a:lnTo>
                        <a:pt x="3233" y="2037"/>
                      </a:lnTo>
                      <a:lnTo>
                        <a:pt x="3167" y="2070"/>
                      </a:lnTo>
                      <a:lnTo>
                        <a:pt x="3115" y="2060"/>
                      </a:lnTo>
                      <a:lnTo>
                        <a:pt x="3125" y="2070"/>
                      </a:lnTo>
                      <a:lnTo>
                        <a:pt x="3191" y="2070"/>
                      </a:lnTo>
                      <a:lnTo>
                        <a:pt x="3191" y="2086"/>
                      </a:lnTo>
                      <a:lnTo>
                        <a:pt x="3200" y="2086"/>
                      </a:lnTo>
                      <a:lnTo>
                        <a:pt x="3217" y="2053"/>
                      </a:lnTo>
                      <a:lnTo>
                        <a:pt x="3233" y="2044"/>
                      </a:lnTo>
                      <a:lnTo>
                        <a:pt x="3276" y="2053"/>
                      </a:lnTo>
                      <a:lnTo>
                        <a:pt x="3352" y="2020"/>
                      </a:lnTo>
                      <a:lnTo>
                        <a:pt x="3347" y="2037"/>
                      </a:lnTo>
                      <a:lnTo>
                        <a:pt x="3363" y="2032"/>
                      </a:lnTo>
                      <a:lnTo>
                        <a:pt x="3470" y="2060"/>
                      </a:lnTo>
                      <a:lnTo>
                        <a:pt x="3574" y="2060"/>
                      </a:lnTo>
                      <a:lnTo>
                        <a:pt x="3557" y="2077"/>
                      </a:lnTo>
                      <a:lnTo>
                        <a:pt x="3486" y="2093"/>
                      </a:lnTo>
                      <a:lnTo>
                        <a:pt x="3519" y="2098"/>
                      </a:lnTo>
                      <a:lnTo>
                        <a:pt x="3507" y="2110"/>
                      </a:lnTo>
                      <a:lnTo>
                        <a:pt x="3486" y="2093"/>
                      </a:lnTo>
                      <a:lnTo>
                        <a:pt x="3493" y="2110"/>
                      </a:lnTo>
                      <a:lnTo>
                        <a:pt x="3439" y="2110"/>
                      </a:lnTo>
                      <a:lnTo>
                        <a:pt x="3470" y="2126"/>
                      </a:lnTo>
                      <a:lnTo>
                        <a:pt x="3448" y="2143"/>
                      </a:lnTo>
                      <a:lnTo>
                        <a:pt x="3418" y="2126"/>
                      </a:lnTo>
                      <a:lnTo>
                        <a:pt x="3432" y="2143"/>
                      </a:lnTo>
                      <a:lnTo>
                        <a:pt x="3406" y="2155"/>
                      </a:lnTo>
                      <a:lnTo>
                        <a:pt x="3394" y="2155"/>
                      </a:lnTo>
                      <a:lnTo>
                        <a:pt x="3394" y="2171"/>
                      </a:lnTo>
                      <a:lnTo>
                        <a:pt x="3352" y="2171"/>
                      </a:lnTo>
                      <a:lnTo>
                        <a:pt x="3347" y="2171"/>
                      </a:lnTo>
                      <a:lnTo>
                        <a:pt x="3368" y="2188"/>
                      </a:lnTo>
                      <a:lnTo>
                        <a:pt x="3347" y="2204"/>
                      </a:lnTo>
                      <a:lnTo>
                        <a:pt x="3326" y="2197"/>
                      </a:lnTo>
                      <a:lnTo>
                        <a:pt x="3342" y="2209"/>
                      </a:lnTo>
                      <a:lnTo>
                        <a:pt x="3314" y="2209"/>
                      </a:lnTo>
                      <a:lnTo>
                        <a:pt x="3326" y="2221"/>
                      </a:lnTo>
                      <a:lnTo>
                        <a:pt x="3271" y="2242"/>
                      </a:lnTo>
                      <a:lnTo>
                        <a:pt x="3200" y="2259"/>
                      </a:lnTo>
                      <a:lnTo>
                        <a:pt x="3205" y="2259"/>
                      </a:lnTo>
                      <a:lnTo>
                        <a:pt x="3184" y="2259"/>
                      </a:lnTo>
                      <a:lnTo>
                        <a:pt x="3179" y="2266"/>
                      </a:lnTo>
                      <a:lnTo>
                        <a:pt x="3184" y="2266"/>
                      </a:lnTo>
                      <a:lnTo>
                        <a:pt x="3153" y="2259"/>
                      </a:lnTo>
                      <a:lnTo>
                        <a:pt x="3153" y="2275"/>
                      </a:lnTo>
                      <a:lnTo>
                        <a:pt x="3125" y="2275"/>
                      </a:lnTo>
                      <a:lnTo>
                        <a:pt x="3099" y="2292"/>
                      </a:lnTo>
                      <a:lnTo>
                        <a:pt x="3078" y="2282"/>
                      </a:lnTo>
                      <a:lnTo>
                        <a:pt x="3078" y="2292"/>
                      </a:lnTo>
                      <a:lnTo>
                        <a:pt x="3061" y="2292"/>
                      </a:lnTo>
                      <a:lnTo>
                        <a:pt x="3061" y="2308"/>
                      </a:lnTo>
                      <a:lnTo>
                        <a:pt x="3028" y="2292"/>
                      </a:lnTo>
                      <a:lnTo>
                        <a:pt x="3028" y="2275"/>
                      </a:lnTo>
                      <a:lnTo>
                        <a:pt x="3002" y="2299"/>
                      </a:lnTo>
                      <a:lnTo>
                        <a:pt x="3016" y="2315"/>
                      </a:lnTo>
                      <a:lnTo>
                        <a:pt x="2990" y="2315"/>
                      </a:lnTo>
                      <a:lnTo>
                        <a:pt x="2990" y="2308"/>
                      </a:lnTo>
                      <a:lnTo>
                        <a:pt x="2969" y="2299"/>
                      </a:lnTo>
                      <a:lnTo>
                        <a:pt x="2964" y="2299"/>
                      </a:lnTo>
                      <a:lnTo>
                        <a:pt x="2985" y="2308"/>
                      </a:lnTo>
                      <a:lnTo>
                        <a:pt x="2985" y="2320"/>
                      </a:lnTo>
                      <a:lnTo>
                        <a:pt x="2948" y="2320"/>
                      </a:lnTo>
                      <a:lnTo>
                        <a:pt x="2915" y="2315"/>
                      </a:lnTo>
                      <a:lnTo>
                        <a:pt x="2919" y="2308"/>
                      </a:lnTo>
                      <a:lnTo>
                        <a:pt x="2910" y="2320"/>
                      </a:lnTo>
                      <a:lnTo>
                        <a:pt x="2898" y="2315"/>
                      </a:lnTo>
                      <a:lnTo>
                        <a:pt x="2893" y="2308"/>
                      </a:lnTo>
                      <a:lnTo>
                        <a:pt x="2910" y="2299"/>
                      </a:lnTo>
                      <a:lnTo>
                        <a:pt x="2877" y="2299"/>
                      </a:lnTo>
                      <a:lnTo>
                        <a:pt x="2844" y="2254"/>
                      </a:lnTo>
                      <a:lnTo>
                        <a:pt x="2844" y="2266"/>
                      </a:lnTo>
                      <a:lnTo>
                        <a:pt x="2839" y="2266"/>
                      </a:lnTo>
                      <a:lnTo>
                        <a:pt x="2839" y="2275"/>
                      </a:lnTo>
                      <a:lnTo>
                        <a:pt x="2860" y="2292"/>
                      </a:lnTo>
                      <a:lnTo>
                        <a:pt x="2865" y="2308"/>
                      </a:lnTo>
                      <a:lnTo>
                        <a:pt x="2844" y="2308"/>
                      </a:lnTo>
                      <a:lnTo>
                        <a:pt x="2877" y="2315"/>
                      </a:lnTo>
                      <a:lnTo>
                        <a:pt x="2865" y="2348"/>
                      </a:lnTo>
                      <a:lnTo>
                        <a:pt x="2839" y="2348"/>
                      </a:lnTo>
                      <a:lnTo>
                        <a:pt x="2822" y="2365"/>
                      </a:lnTo>
                      <a:lnTo>
                        <a:pt x="2789" y="2370"/>
                      </a:lnTo>
                      <a:lnTo>
                        <a:pt x="2806" y="2377"/>
                      </a:lnTo>
                      <a:lnTo>
                        <a:pt x="2789" y="2386"/>
                      </a:lnTo>
                      <a:lnTo>
                        <a:pt x="2789" y="2403"/>
                      </a:lnTo>
                      <a:lnTo>
                        <a:pt x="2768" y="2410"/>
                      </a:lnTo>
                      <a:lnTo>
                        <a:pt x="2785" y="2426"/>
                      </a:lnTo>
                      <a:lnTo>
                        <a:pt x="2752" y="2459"/>
                      </a:lnTo>
                      <a:lnTo>
                        <a:pt x="2737" y="2448"/>
                      </a:lnTo>
                      <a:lnTo>
                        <a:pt x="2730" y="2481"/>
                      </a:lnTo>
                      <a:lnTo>
                        <a:pt x="2714" y="2504"/>
                      </a:lnTo>
                      <a:lnTo>
                        <a:pt x="2704" y="2497"/>
                      </a:lnTo>
                      <a:lnTo>
                        <a:pt x="2704" y="2481"/>
                      </a:lnTo>
                      <a:lnTo>
                        <a:pt x="2704" y="2497"/>
                      </a:lnTo>
                      <a:lnTo>
                        <a:pt x="2704" y="2504"/>
                      </a:lnTo>
                      <a:lnTo>
                        <a:pt x="2683" y="2530"/>
                      </a:lnTo>
                      <a:lnTo>
                        <a:pt x="2667" y="2537"/>
                      </a:lnTo>
                      <a:lnTo>
                        <a:pt x="2662" y="2530"/>
                      </a:lnTo>
                      <a:lnTo>
                        <a:pt x="2662" y="2521"/>
                      </a:lnTo>
                      <a:lnTo>
                        <a:pt x="2650" y="2537"/>
                      </a:lnTo>
                      <a:lnTo>
                        <a:pt x="2662" y="2542"/>
                      </a:lnTo>
                      <a:lnTo>
                        <a:pt x="2650" y="2542"/>
                      </a:lnTo>
                      <a:lnTo>
                        <a:pt x="2607" y="2521"/>
                      </a:lnTo>
                      <a:lnTo>
                        <a:pt x="2629" y="2542"/>
                      </a:lnTo>
                      <a:lnTo>
                        <a:pt x="2624" y="2542"/>
                      </a:lnTo>
                      <a:lnTo>
                        <a:pt x="2624" y="2559"/>
                      </a:lnTo>
                      <a:lnTo>
                        <a:pt x="2574" y="2587"/>
                      </a:lnTo>
                      <a:lnTo>
                        <a:pt x="2570" y="2575"/>
                      </a:lnTo>
                      <a:lnTo>
                        <a:pt x="2574" y="2559"/>
                      </a:lnTo>
                      <a:lnTo>
                        <a:pt x="2558" y="2559"/>
                      </a:lnTo>
                      <a:lnTo>
                        <a:pt x="2558" y="2570"/>
                      </a:lnTo>
                      <a:lnTo>
                        <a:pt x="2558" y="2575"/>
                      </a:lnTo>
                      <a:lnTo>
                        <a:pt x="2532" y="2592"/>
                      </a:lnTo>
                      <a:lnTo>
                        <a:pt x="2520" y="2575"/>
                      </a:lnTo>
                      <a:lnTo>
                        <a:pt x="2520" y="2570"/>
                      </a:lnTo>
                      <a:lnTo>
                        <a:pt x="2515" y="2570"/>
                      </a:lnTo>
                      <a:lnTo>
                        <a:pt x="2520" y="2592"/>
                      </a:lnTo>
                      <a:lnTo>
                        <a:pt x="2515" y="2599"/>
                      </a:lnTo>
                      <a:lnTo>
                        <a:pt x="2478" y="2587"/>
                      </a:lnTo>
                      <a:lnTo>
                        <a:pt x="2466" y="2570"/>
                      </a:lnTo>
                      <a:lnTo>
                        <a:pt x="2515" y="2530"/>
                      </a:lnTo>
                      <a:lnTo>
                        <a:pt x="2449" y="2530"/>
                      </a:lnTo>
                      <a:lnTo>
                        <a:pt x="2445" y="2530"/>
                      </a:lnTo>
                      <a:lnTo>
                        <a:pt x="2478" y="2542"/>
                      </a:lnTo>
                      <a:lnTo>
                        <a:pt x="2461" y="2542"/>
                      </a:lnTo>
                      <a:lnTo>
                        <a:pt x="2466" y="2554"/>
                      </a:lnTo>
                      <a:lnTo>
                        <a:pt x="2449" y="2559"/>
                      </a:lnTo>
                      <a:lnTo>
                        <a:pt x="2461" y="2575"/>
                      </a:lnTo>
                      <a:lnTo>
                        <a:pt x="2449" y="2587"/>
                      </a:lnTo>
                      <a:lnTo>
                        <a:pt x="2445" y="2575"/>
                      </a:lnTo>
                      <a:lnTo>
                        <a:pt x="2445" y="2587"/>
                      </a:lnTo>
                      <a:lnTo>
                        <a:pt x="2435" y="2587"/>
                      </a:lnTo>
                      <a:lnTo>
                        <a:pt x="2423" y="2570"/>
                      </a:lnTo>
                      <a:lnTo>
                        <a:pt x="2423" y="2587"/>
                      </a:lnTo>
                      <a:lnTo>
                        <a:pt x="2449" y="2592"/>
                      </a:lnTo>
                      <a:lnTo>
                        <a:pt x="2435" y="2615"/>
                      </a:lnTo>
                      <a:lnTo>
                        <a:pt x="2407" y="2608"/>
                      </a:lnTo>
                      <a:lnTo>
                        <a:pt x="2411" y="2625"/>
                      </a:lnTo>
                      <a:lnTo>
                        <a:pt x="2381" y="2625"/>
                      </a:lnTo>
                      <a:lnTo>
                        <a:pt x="2359" y="2608"/>
                      </a:lnTo>
                      <a:lnTo>
                        <a:pt x="2374" y="2625"/>
                      </a:lnTo>
                      <a:lnTo>
                        <a:pt x="2359" y="2632"/>
                      </a:lnTo>
                      <a:lnTo>
                        <a:pt x="2336" y="2608"/>
                      </a:lnTo>
                      <a:lnTo>
                        <a:pt x="2326" y="2625"/>
                      </a:lnTo>
                      <a:lnTo>
                        <a:pt x="2326" y="2632"/>
                      </a:lnTo>
                      <a:lnTo>
                        <a:pt x="2305" y="2625"/>
                      </a:lnTo>
                      <a:lnTo>
                        <a:pt x="2298" y="2632"/>
                      </a:lnTo>
                      <a:lnTo>
                        <a:pt x="2326" y="2641"/>
                      </a:lnTo>
                      <a:lnTo>
                        <a:pt x="2322" y="2648"/>
                      </a:lnTo>
                      <a:lnTo>
                        <a:pt x="2336" y="2665"/>
                      </a:lnTo>
                      <a:lnTo>
                        <a:pt x="2298" y="2686"/>
                      </a:lnTo>
                      <a:lnTo>
                        <a:pt x="2272" y="2670"/>
                      </a:lnTo>
                      <a:lnTo>
                        <a:pt x="2267" y="2686"/>
                      </a:lnTo>
                      <a:lnTo>
                        <a:pt x="2246" y="2681"/>
                      </a:lnTo>
                      <a:lnTo>
                        <a:pt x="2234" y="2698"/>
                      </a:lnTo>
                      <a:lnTo>
                        <a:pt x="2272" y="2726"/>
                      </a:lnTo>
                      <a:lnTo>
                        <a:pt x="2272" y="2752"/>
                      </a:lnTo>
                      <a:lnTo>
                        <a:pt x="2289" y="2764"/>
                      </a:lnTo>
                      <a:lnTo>
                        <a:pt x="2260" y="2764"/>
                      </a:lnTo>
                      <a:lnTo>
                        <a:pt x="2208" y="2776"/>
                      </a:lnTo>
                      <a:lnTo>
                        <a:pt x="2218" y="2792"/>
                      </a:lnTo>
                      <a:lnTo>
                        <a:pt x="2272" y="2797"/>
                      </a:lnTo>
                      <a:lnTo>
                        <a:pt x="2260" y="2814"/>
                      </a:lnTo>
                      <a:lnTo>
                        <a:pt x="2272" y="2814"/>
                      </a:lnTo>
                      <a:lnTo>
                        <a:pt x="2284" y="2837"/>
                      </a:lnTo>
                      <a:lnTo>
                        <a:pt x="2251" y="2837"/>
                      </a:lnTo>
                      <a:lnTo>
                        <a:pt x="2213" y="2821"/>
                      </a:lnTo>
                      <a:lnTo>
                        <a:pt x="2208" y="2830"/>
                      </a:lnTo>
                      <a:lnTo>
                        <a:pt x="2251" y="2847"/>
                      </a:lnTo>
                      <a:lnTo>
                        <a:pt x="2267" y="2863"/>
                      </a:lnTo>
                      <a:lnTo>
                        <a:pt x="2246" y="2863"/>
                      </a:lnTo>
                      <a:lnTo>
                        <a:pt x="2246" y="2870"/>
                      </a:lnTo>
                      <a:lnTo>
                        <a:pt x="2234" y="2863"/>
                      </a:lnTo>
                      <a:lnTo>
                        <a:pt x="2246" y="2875"/>
                      </a:lnTo>
                      <a:lnTo>
                        <a:pt x="2234" y="2875"/>
                      </a:lnTo>
                      <a:lnTo>
                        <a:pt x="2218" y="2863"/>
                      </a:lnTo>
                      <a:lnTo>
                        <a:pt x="2230" y="2875"/>
                      </a:lnTo>
                      <a:lnTo>
                        <a:pt x="2208" y="2863"/>
                      </a:lnTo>
                      <a:lnTo>
                        <a:pt x="2234" y="2887"/>
                      </a:lnTo>
                      <a:lnTo>
                        <a:pt x="2196" y="2863"/>
                      </a:lnTo>
                      <a:lnTo>
                        <a:pt x="2180" y="2870"/>
                      </a:lnTo>
                      <a:lnTo>
                        <a:pt x="2213" y="2908"/>
                      </a:lnTo>
                      <a:lnTo>
                        <a:pt x="2208" y="2908"/>
                      </a:lnTo>
                      <a:lnTo>
                        <a:pt x="2175" y="2892"/>
                      </a:lnTo>
                      <a:lnTo>
                        <a:pt x="2208" y="2920"/>
                      </a:lnTo>
                      <a:lnTo>
                        <a:pt x="2196" y="2920"/>
                      </a:lnTo>
                      <a:lnTo>
                        <a:pt x="2163" y="2903"/>
                      </a:lnTo>
                      <a:lnTo>
                        <a:pt x="2175" y="2920"/>
                      </a:lnTo>
                      <a:lnTo>
                        <a:pt x="2208" y="2925"/>
                      </a:lnTo>
                      <a:lnTo>
                        <a:pt x="2192" y="2941"/>
                      </a:lnTo>
                      <a:lnTo>
                        <a:pt x="2154" y="2941"/>
                      </a:lnTo>
                      <a:lnTo>
                        <a:pt x="2154" y="2925"/>
                      </a:lnTo>
                      <a:lnTo>
                        <a:pt x="2142" y="2932"/>
                      </a:lnTo>
                      <a:lnTo>
                        <a:pt x="2142" y="2941"/>
                      </a:lnTo>
                      <a:lnTo>
                        <a:pt x="2137" y="2948"/>
                      </a:lnTo>
                      <a:lnTo>
                        <a:pt x="2100" y="2948"/>
                      </a:lnTo>
                      <a:lnTo>
                        <a:pt x="2100" y="2958"/>
                      </a:lnTo>
                      <a:lnTo>
                        <a:pt x="2154" y="2974"/>
                      </a:lnTo>
                      <a:lnTo>
                        <a:pt x="2154" y="2981"/>
                      </a:lnTo>
                      <a:lnTo>
                        <a:pt x="2137" y="2981"/>
                      </a:lnTo>
                      <a:lnTo>
                        <a:pt x="2163" y="2986"/>
                      </a:lnTo>
                      <a:lnTo>
                        <a:pt x="2104" y="2974"/>
                      </a:lnTo>
                      <a:lnTo>
                        <a:pt x="2159" y="3003"/>
                      </a:lnTo>
                      <a:lnTo>
                        <a:pt x="2154" y="3019"/>
                      </a:lnTo>
                      <a:lnTo>
                        <a:pt x="2137" y="3036"/>
                      </a:lnTo>
                      <a:lnTo>
                        <a:pt x="2163" y="3036"/>
                      </a:lnTo>
                      <a:lnTo>
                        <a:pt x="2159" y="3043"/>
                      </a:lnTo>
                      <a:lnTo>
                        <a:pt x="2142" y="3043"/>
                      </a:lnTo>
                      <a:lnTo>
                        <a:pt x="2159" y="3052"/>
                      </a:lnTo>
                      <a:lnTo>
                        <a:pt x="2154" y="3059"/>
                      </a:lnTo>
                      <a:lnTo>
                        <a:pt x="2109" y="3059"/>
                      </a:lnTo>
                      <a:lnTo>
                        <a:pt x="2154" y="3076"/>
                      </a:lnTo>
                      <a:lnTo>
                        <a:pt x="2142" y="3085"/>
                      </a:lnTo>
                      <a:lnTo>
                        <a:pt x="2100" y="3076"/>
                      </a:lnTo>
                      <a:lnTo>
                        <a:pt x="2137" y="3085"/>
                      </a:lnTo>
                      <a:lnTo>
                        <a:pt x="2142" y="3097"/>
                      </a:lnTo>
                      <a:lnTo>
                        <a:pt x="2142" y="3109"/>
                      </a:lnTo>
                      <a:lnTo>
                        <a:pt x="2126" y="3114"/>
                      </a:lnTo>
                      <a:lnTo>
                        <a:pt x="2088" y="3109"/>
                      </a:lnTo>
                      <a:lnTo>
                        <a:pt x="2126" y="3114"/>
                      </a:lnTo>
                      <a:lnTo>
                        <a:pt x="2137" y="3125"/>
                      </a:lnTo>
                      <a:lnTo>
                        <a:pt x="2100" y="3125"/>
                      </a:lnTo>
                      <a:lnTo>
                        <a:pt x="2126" y="3130"/>
                      </a:lnTo>
                      <a:lnTo>
                        <a:pt x="2067" y="3130"/>
                      </a:lnTo>
                      <a:lnTo>
                        <a:pt x="2126" y="3142"/>
                      </a:lnTo>
                      <a:lnTo>
                        <a:pt x="2126" y="3147"/>
                      </a:lnTo>
                      <a:lnTo>
                        <a:pt x="2104" y="3154"/>
                      </a:lnTo>
                      <a:lnTo>
                        <a:pt x="2071" y="3147"/>
                      </a:lnTo>
                      <a:lnTo>
                        <a:pt x="2121" y="3163"/>
                      </a:lnTo>
                      <a:lnTo>
                        <a:pt x="2067" y="3163"/>
                      </a:lnTo>
                      <a:lnTo>
                        <a:pt x="2121" y="3170"/>
                      </a:lnTo>
                      <a:lnTo>
                        <a:pt x="2100" y="3180"/>
                      </a:lnTo>
                      <a:lnTo>
                        <a:pt x="2121" y="3180"/>
                      </a:lnTo>
                      <a:lnTo>
                        <a:pt x="2109" y="3187"/>
                      </a:lnTo>
                      <a:lnTo>
                        <a:pt x="2121" y="3187"/>
                      </a:lnTo>
                      <a:lnTo>
                        <a:pt x="2100" y="3196"/>
                      </a:lnTo>
                      <a:lnTo>
                        <a:pt x="2083" y="3196"/>
                      </a:lnTo>
                      <a:lnTo>
                        <a:pt x="2100" y="3203"/>
                      </a:lnTo>
                      <a:lnTo>
                        <a:pt x="2088" y="3203"/>
                      </a:lnTo>
                      <a:lnTo>
                        <a:pt x="2067" y="3196"/>
                      </a:lnTo>
                      <a:lnTo>
                        <a:pt x="2057" y="3170"/>
                      </a:lnTo>
                      <a:lnTo>
                        <a:pt x="2057" y="3196"/>
                      </a:lnTo>
                      <a:lnTo>
                        <a:pt x="2019" y="3187"/>
                      </a:lnTo>
                      <a:lnTo>
                        <a:pt x="2083" y="3203"/>
                      </a:lnTo>
                      <a:lnTo>
                        <a:pt x="2067" y="3220"/>
                      </a:lnTo>
                      <a:lnTo>
                        <a:pt x="2100" y="3208"/>
                      </a:lnTo>
                      <a:lnTo>
                        <a:pt x="2100" y="3225"/>
                      </a:lnTo>
                      <a:lnTo>
                        <a:pt x="2083" y="3225"/>
                      </a:lnTo>
                      <a:lnTo>
                        <a:pt x="2100" y="3225"/>
                      </a:lnTo>
                      <a:lnTo>
                        <a:pt x="2100" y="3241"/>
                      </a:lnTo>
                      <a:lnTo>
                        <a:pt x="2029" y="3236"/>
                      </a:lnTo>
                      <a:lnTo>
                        <a:pt x="2033" y="3220"/>
                      </a:lnTo>
                      <a:lnTo>
                        <a:pt x="2029" y="3208"/>
                      </a:lnTo>
                      <a:lnTo>
                        <a:pt x="2029" y="3220"/>
                      </a:lnTo>
                      <a:lnTo>
                        <a:pt x="2003" y="3236"/>
                      </a:lnTo>
                      <a:lnTo>
                        <a:pt x="1991" y="3253"/>
                      </a:lnTo>
                      <a:lnTo>
                        <a:pt x="1948" y="3241"/>
                      </a:lnTo>
                      <a:lnTo>
                        <a:pt x="1958" y="3236"/>
                      </a:lnTo>
                      <a:lnTo>
                        <a:pt x="1974" y="3236"/>
                      </a:lnTo>
                      <a:lnTo>
                        <a:pt x="2003" y="3196"/>
                      </a:lnTo>
                      <a:lnTo>
                        <a:pt x="1974" y="3225"/>
                      </a:lnTo>
                      <a:lnTo>
                        <a:pt x="1948" y="3236"/>
                      </a:lnTo>
                      <a:lnTo>
                        <a:pt x="1991" y="3170"/>
                      </a:lnTo>
                      <a:lnTo>
                        <a:pt x="1948" y="3203"/>
                      </a:lnTo>
                      <a:lnTo>
                        <a:pt x="1944" y="3196"/>
                      </a:lnTo>
                      <a:lnTo>
                        <a:pt x="1958" y="3180"/>
                      </a:lnTo>
                      <a:lnTo>
                        <a:pt x="1927" y="3203"/>
                      </a:lnTo>
                      <a:lnTo>
                        <a:pt x="1944" y="3180"/>
                      </a:lnTo>
                      <a:lnTo>
                        <a:pt x="1927" y="3203"/>
                      </a:lnTo>
                      <a:lnTo>
                        <a:pt x="1911" y="3187"/>
                      </a:lnTo>
                      <a:lnTo>
                        <a:pt x="1920" y="3187"/>
                      </a:lnTo>
                      <a:lnTo>
                        <a:pt x="1894" y="3187"/>
                      </a:lnTo>
                      <a:lnTo>
                        <a:pt x="1920" y="3180"/>
                      </a:lnTo>
                      <a:lnTo>
                        <a:pt x="1906" y="3180"/>
                      </a:lnTo>
                      <a:lnTo>
                        <a:pt x="1948" y="3154"/>
                      </a:lnTo>
                      <a:lnTo>
                        <a:pt x="1937" y="3142"/>
                      </a:lnTo>
                      <a:lnTo>
                        <a:pt x="1920" y="3170"/>
                      </a:lnTo>
                      <a:lnTo>
                        <a:pt x="1906" y="3170"/>
                      </a:lnTo>
                      <a:lnTo>
                        <a:pt x="1911" y="3163"/>
                      </a:lnTo>
                      <a:lnTo>
                        <a:pt x="1906" y="3163"/>
                      </a:lnTo>
                      <a:lnTo>
                        <a:pt x="1889" y="3170"/>
                      </a:lnTo>
                      <a:lnTo>
                        <a:pt x="1882" y="3170"/>
                      </a:lnTo>
                      <a:lnTo>
                        <a:pt x="1894" y="3154"/>
                      </a:lnTo>
                      <a:lnTo>
                        <a:pt x="1927" y="3147"/>
                      </a:lnTo>
                      <a:lnTo>
                        <a:pt x="1948" y="3125"/>
                      </a:lnTo>
                      <a:lnTo>
                        <a:pt x="1937" y="3130"/>
                      </a:lnTo>
                      <a:lnTo>
                        <a:pt x="1927" y="3114"/>
                      </a:lnTo>
                      <a:lnTo>
                        <a:pt x="1927" y="3130"/>
                      </a:lnTo>
                      <a:lnTo>
                        <a:pt x="1920" y="3142"/>
                      </a:lnTo>
                      <a:lnTo>
                        <a:pt x="1889" y="3154"/>
                      </a:lnTo>
                      <a:lnTo>
                        <a:pt x="1889" y="3147"/>
                      </a:lnTo>
                      <a:lnTo>
                        <a:pt x="1920" y="3130"/>
                      </a:lnTo>
                      <a:lnTo>
                        <a:pt x="1906" y="3114"/>
                      </a:lnTo>
                      <a:lnTo>
                        <a:pt x="1911" y="3109"/>
                      </a:lnTo>
                      <a:lnTo>
                        <a:pt x="1894" y="3114"/>
                      </a:lnTo>
                      <a:lnTo>
                        <a:pt x="1906" y="3125"/>
                      </a:lnTo>
                      <a:lnTo>
                        <a:pt x="1906" y="3130"/>
                      </a:lnTo>
                      <a:lnTo>
                        <a:pt x="1882" y="3147"/>
                      </a:lnTo>
                      <a:lnTo>
                        <a:pt x="1868" y="3130"/>
                      </a:lnTo>
                      <a:lnTo>
                        <a:pt x="1856" y="3154"/>
                      </a:lnTo>
                      <a:lnTo>
                        <a:pt x="1835" y="3147"/>
                      </a:lnTo>
                      <a:lnTo>
                        <a:pt x="1840" y="3154"/>
                      </a:lnTo>
                      <a:lnTo>
                        <a:pt x="1835" y="3163"/>
                      </a:lnTo>
                      <a:lnTo>
                        <a:pt x="1830" y="3147"/>
                      </a:lnTo>
                      <a:lnTo>
                        <a:pt x="1764" y="3154"/>
                      </a:lnTo>
                      <a:lnTo>
                        <a:pt x="1802" y="3154"/>
                      </a:lnTo>
                      <a:lnTo>
                        <a:pt x="1797" y="3163"/>
                      </a:lnTo>
                      <a:lnTo>
                        <a:pt x="1743" y="3163"/>
                      </a:lnTo>
                      <a:lnTo>
                        <a:pt x="1731" y="3163"/>
                      </a:lnTo>
                      <a:lnTo>
                        <a:pt x="1776" y="3142"/>
                      </a:lnTo>
                      <a:lnTo>
                        <a:pt x="1726" y="3147"/>
                      </a:lnTo>
                      <a:lnTo>
                        <a:pt x="1764" y="3142"/>
                      </a:lnTo>
                      <a:lnTo>
                        <a:pt x="1764" y="3130"/>
                      </a:lnTo>
                      <a:lnTo>
                        <a:pt x="1748" y="3130"/>
                      </a:lnTo>
                      <a:lnTo>
                        <a:pt x="1743" y="3125"/>
                      </a:lnTo>
                      <a:lnTo>
                        <a:pt x="1759" y="3109"/>
                      </a:lnTo>
                      <a:lnTo>
                        <a:pt x="1748" y="3109"/>
                      </a:lnTo>
                      <a:lnTo>
                        <a:pt x="1731" y="3114"/>
                      </a:lnTo>
                      <a:lnTo>
                        <a:pt x="1743" y="3130"/>
                      </a:lnTo>
                      <a:lnTo>
                        <a:pt x="1726" y="3130"/>
                      </a:lnTo>
                      <a:lnTo>
                        <a:pt x="1726" y="3125"/>
                      </a:lnTo>
                      <a:lnTo>
                        <a:pt x="1731" y="3125"/>
                      </a:lnTo>
                      <a:lnTo>
                        <a:pt x="1710" y="3125"/>
                      </a:lnTo>
                      <a:lnTo>
                        <a:pt x="1726" y="3109"/>
                      </a:lnTo>
                      <a:lnTo>
                        <a:pt x="1679" y="3097"/>
                      </a:lnTo>
                      <a:lnTo>
                        <a:pt x="1743" y="3085"/>
                      </a:lnTo>
                      <a:lnTo>
                        <a:pt x="1726" y="3076"/>
                      </a:lnTo>
                      <a:lnTo>
                        <a:pt x="1689" y="3092"/>
                      </a:lnTo>
                      <a:lnTo>
                        <a:pt x="1667" y="3085"/>
                      </a:lnTo>
                      <a:lnTo>
                        <a:pt x="1710" y="3076"/>
                      </a:lnTo>
                      <a:lnTo>
                        <a:pt x="1689" y="3076"/>
                      </a:lnTo>
                      <a:lnTo>
                        <a:pt x="1679" y="3076"/>
                      </a:lnTo>
                      <a:lnTo>
                        <a:pt x="1679" y="3059"/>
                      </a:lnTo>
                      <a:lnTo>
                        <a:pt x="1672" y="3069"/>
                      </a:lnTo>
                      <a:lnTo>
                        <a:pt x="1679" y="3052"/>
                      </a:lnTo>
                      <a:lnTo>
                        <a:pt x="1705" y="3036"/>
                      </a:lnTo>
                      <a:lnTo>
                        <a:pt x="1689" y="3036"/>
                      </a:lnTo>
                      <a:lnTo>
                        <a:pt x="1672" y="3052"/>
                      </a:lnTo>
                      <a:lnTo>
                        <a:pt x="1667" y="3069"/>
                      </a:lnTo>
                      <a:lnTo>
                        <a:pt x="1656" y="3059"/>
                      </a:lnTo>
                      <a:lnTo>
                        <a:pt x="1672" y="3043"/>
                      </a:lnTo>
                      <a:lnTo>
                        <a:pt x="1656" y="3052"/>
                      </a:lnTo>
                      <a:lnTo>
                        <a:pt x="1656" y="3036"/>
                      </a:lnTo>
                      <a:lnTo>
                        <a:pt x="1693" y="3031"/>
                      </a:lnTo>
                      <a:lnTo>
                        <a:pt x="1679" y="3019"/>
                      </a:lnTo>
                      <a:lnTo>
                        <a:pt x="1679" y="3014"/>
                      </a:lnTo>
                      <a:lnTo>
                        <a:pt x="1672" y="3031"/>
                      </a:lnTo>
                      <a:lnTo>
                        <a:pt x="1634" y="3036"/>
                      </a:lnTo>
                      <a:lnTo>
                        <a:pt x="1634" y="3019"/>
                      </a:lnTo>
                      <a:lnTo>
                        <a:pt x="1656" y="3019"/>
                      </a:lnTo>
                      <a:lnTo>
                        <a:pt x="1667" y="3014"/>
                      </a:lnTo>
                      <a:lnTo>
                        <a:pt x="1641" y="3014"/>
                      </a:lnTo>
                      <a:lnTo>
                        <a:pt x="1656" y="3003"/>
                      </a:lnTo>
                      <a:lnTo>
                        <a:pt x="1625" y="3003"/>
                      </a:lnTo>
                      <a:lnTo>
                        <a:pt x="1596" y="2981"/>
                      </a:lnTo>
                      <a:lnTo>
                        <a:pt x="1596" y="2958"/>
                      </a:lnTo>
                      <a:lnTo>
                        <a:pt x="1618" y="2941"/>
                      </a:lnTo>
                      <a:lnTo>
                        <a:pt x="1596" y="2958"/>
                      </a:lnTo>
                      <a:lnTo>
                        <a:pt x="1604" y="2925"/>
                      </a:lnTo>
                      <a:lnTo>
                        <a:pt x="1634" y="2920"/>
                      </a:lnTo>
                      <a:lnTo>
                        <a:pt x="1604" y="2925"/>
                      </a:lnTo>
                      <a:lnTo>
                        <a:pt x="1587" y="2948"/>
                      </a:lnTo>
                      <a:lnTo>
                        <a:pt x="1587" y="2925"/>
                      </a:lnTo>
                      <a:lnTo>
                        <a:pt x="1604" y="2920"/>
                      </a:lnTo>
                      <a:lnTo>
                        <a:pt x="1570" y="2925"/>
                      </a:lnTo>
                      <a:lnTo>
                        <a:pt x="1570" y="2908"/>
                      </a:lnTo>
                      <a:lnTo>
                        <a:pt x="1613" y="2892"/>
                      </a:lnTo>
                      <a:lnTo>
                        <a:pt x="1549" y="2908"/>
                      </a:lnTo>
                      <a:lnTo>
                        <a:pt x="1559" y="2892"/>
                      </a:lnTo>
                      <a:lnTo>
                        <a:pt x="1542" y="2903"/>
                      </a:lnTo>
                      <a:lnTo>
                        <a:pt x="1533" y="2887"/>
                      </a:lnTo>
                      <a:lnTo>
                        <a:pt x="1596" y="2875"/>
                      </a:lnTo>
                      <a:lnTo>
                        <a:pt x="1542" y="2875"/>
                      </a:lnTo>
                      <a:lnTo>
                        <a:pt x="1528" y="2870"/>
                      </a:lnTo>
                      <a:lnTo>
                        <a:pt x="1566" y="2863"/>
                      </a:lnTo>
                      <a:lnTo>
                        <a:pt x="1542" y="2863"/>
                      </a:lnTo>
                      <a:lnTo>
                        <a:pt x="1533" y="2854"/>
                      </a:lnTo>
                      <a:lnTo>
                        <a:pt x="1570" y="2854"/>
                      </a:lnTo>
                      <a:lnTo>
                        <a:pt x="1580" y="2847"/>
                      </a:lnTo>
                      <a:lnTo>
                        <a:pt x="1542" y="2847"/>
                      </a:lnTo>
                      <a:lnTo>
                        <a:pt x="1533" y="2854"/>
                      </a:lnTo>
                      <a:lnTo>
                        <a:pt x="1533" y="2863"/>
                      </a:lnTo>
                      <a:lnTo>
                        <a:pt x="1504" y="2837"/>
                      </a:lnTo>
                      <a:lnTo>
                        <a:pt x="1549" y="2814"/>
                      </a:lnTo>
                      <a:lnTo>
                        <a:pt x="1511" y="2830"/>
                      </a:lnTo>
                      <a:lnTo>
                        <a:pt x="1511" y="2821"/>
                      </a:lnTo>
                      <a:lnTo>
                        <a:pt x="1516" y="2821"/>
                      </a:lnTo>
                      <a:lnTo>
                        <a:pt x="1516" y="2814"/>
                      </a:lnTo>
                      <a:lnTo>
                        <a:pt x="1495" y="2809"/>
                      </a:lnTo>
                      <a:lnTo>
                        <a:pt x="1613" y="2781"/>
                      </a:lnTo>
                      <a:lnTo>
                        <a:pt x="1570" y="2781"/>
                      </a:lnTo>
                      <a:lnTo>
                        <a:pt x="1580" y="2776"/>
                      </a:lnTo>
                      <a:lnTo>
                        <a:pt x="1511" y="2797"/>
                      </a:lnTo>
                      <a:lnTo>
                        <a:pt x="1495" y="2792"/>
                      </a:lnTo>
                      <a:lnTo>
                        <a:pt x="1516" y="2792"/>
                      </a:lnTo>
                      <a:lnTo>
                        <a:pt x="1490" y="2781"/>
                      </a:lnTo>
                      <a:lnTo>
                        <a:pt x="1549" y="2781"/>
                      </a:lnTo>
                      <a:lnTo>
                        <a:pt x="1559" y="2776"/>
                      </a:lnTo>
                      <a:lnTo>
                        <a:pt x="1542" y="2776"/>
                      </a:lnTo>
                      <a:lnTo>
                        <a:pt x="1559" y="2759"/>
                      </a:lnTo>
                      <a:lnTo>
                        <a:pt x="1587" y="2764"/>
                      </a:lnTo>
                      <a:lnTo>
                        <a:pt x="1604" y="2759"/>
                      </a:lnTo>
                      <a:lnTo>
                        <a:pt x="1570" y="2759"/>
                      </a:lnTo>
                      <a:lnTo>
                        <a:pt x="1570" y="2752"/>
                      </a:lnTo>
                      <a:lnTo>
                        <a:pt x="1580" y="2743"/>
                      </a:lnTo>
                      <a:lnTo>
                        <a:pt x="1549" y="2736"/>
                      </a:lnTo>
                      <a:lnTo>
                        <a:pt x="1580" y="2726"/>
                      </a:lnTo>
                      <a:lnTo>
                        <a:pt x="1566" y="2726"/>
                      </a:lnTo>
                      <a:lnTo>
                        <a:pt x="1580" y="2726"/>
                      </a:lnTo>
                      <a:lnTo>
                        <a:pt x="1596" y="2726"/>
                      </a:lnTo>
                      <a:lnTo>
                        <a:pt x="1604" y="2752"/>
                      </a:lnTo>
                      <a:lnTo>
                        <a:pt x="1641" y="2764"/>
                      </a:lnTo>
                      <a:lnTo>
                        <a:pt x="1613" y="2743"/>
                      </a:lnTo>
                      <a:lnTo>
                        <a:pt x="1604" y="2736"/>
                      </a:lnTo>
                      <a:lnTo>
                        <a:pt x="1618" y="2726"/>
                      </a:lnTo>
                      <a:lnTo>
                        <a:pt x="1596" y="2726"/>
                      </a:lnTo>
                      <a:lnTo>
                        <a:pt x="1613" y="2703"/>
                      </a:lnTo>
                      <a:lnTo>
                        <a:pt x="1596" y="2719"/>
                      </a:lnTo>
                      <a:lnTo>
                        <a:pt x="1570" y="2719"/>
                      </a:lnTo>
                      <a:lnTo>
                        <a:pt x="1566" y="2698"/>
                      </a:lnTo>
                      <a:lnTo>
                        <a:pt x="1549" y="2665"/>
                      </a:lnTo>
                      <a:lnTo>
                        <a:pt x="1549" y="2698"/>
                      </a:lnTo>
                      <a:lnTo>
                        <a:pt x="1566" y="2698"/>
                      </a:lnTo>
                      <a:lnTo>
                        <a:pt x="1570" y="2719"/>
                      </a:lnTo>
                      <a:lnTo>
                        <a:pt x="1533" y="2736"/>
                      </a:lnTo>
                      <a:lnTo>
                        <a:pt x="1528" y="2736"/>
                      </a:lnTo>
                      <a:lnTo>
                        <a:pt x="1542" y="2719"/>
                      </a:lnTo>
                      <a:lnTo>
                        <a:pt x="1528" y="2719"/>
                      </a:lnTo>
                      <a:lnTo>
                        <a:pt x="1495" y="2776"/>
                      </a:lnTo>
                      <a:lnTo>
                        <a:pt x="1474" y="2781"/>
                      </a:lnTo>
                      <a:lnTo>
                        <a:pt x="1474" y="2759"/>
                      </a:lnTo>
                      <a:lnTo>
                        <a:pt x="1462" y="2759"/>
                      </a:lnTo>
                      <a:lnTo>
                        <a:pt x="1474" y="2736"/>
                      </a:lnTo>
                      <a:lnTo>
                        <a:pt x="1462" y="2726"/>
                      </a:lnTo>
                      <a:lnTo>
                        <a:pt x="1504" y="2710"/>
                      </a:lnTo>
                      <a:lnTo>
                        <a:pt x="1528" y="2686"/>
                      </a:lnTo>
                      <a:lnTo>
                        <a:pt x="1495" y="2703"/>
                      </a:lnTo>
                      <a:lnTo>
                        <a:pt x="1504" y="2698"/>
                      </a:lnTo>
                      <a:lnTo>
                        <a:pt x="1495" y="2686"/>
                      </a:lnTo>
                      <a:lnTo>
                        <a:pt x="1478" y="2710"/>
                      </a:lnTo>
                      <a:lnTo>
                        <a:pt x="1462" y="2710"/>
                      </a:lnTo>
                      <a:lnTo>
                        <a:pt x="1478" y="2703"/>
                      </a:lnTo>
                      <a:lnTo>
                        <a:pt x="1474" y="2703"/>
                      </a:lnTo>
                      <a:lnTo>
                        <a:pt x="1457" y="2710"/>
                      </a:lnTo>
                      <a:lnTo>
                        <a:pt x="1457" y="2703"/>
                      </a:lnTo>
                      <a:lnTo>
                        <a:pt x="1474" y="2698"/>
                      </a:lnTo>
                      <a:lnTo>
                        <a:pt x="1457" y="2681"/>
                      </a:lnTo>
                      <a:lnTo>
                        <a:pt x="1462" y="2665"/>
                      </a:lnTo>
                      <a:lnTo>
                        <a:pt x="1452" y="2665"/>
                      </a:lnTo>
                      <a:lnTo>
                        <a:pt x="1457" y="2653"/>
                      </a:lnTo>
                      <a:lnTo>
                        <a:pt x="1441" y="2670"/>
                      </a:lnTo>
                      <a:lnTo>
                        <a:pt x="1436" y="2653"/>
                      </a:lnTo>
                      <a:lnTo>
                        <a:pt x="1495" y="2625"/>
                      </a:lnTo>
                      <a:lnTo>
                        <a:pt x="1478" y="2615"/>
                      </a:lnTo>
                      <a:lnTo>
                        <a:pt x="1495" y="2608"/>
                      </a:lnTo>
                      <a:lnTo>
                        <a:pt x="1528" y="2599"/>
                      </a:lnTo>
                      <a:lnTo>
                        <a:pt x="1580" y="2608"/>
                      </a:lnTo>
                      <a:lnTo>
                        <a:pt x="1511" y="2599"/>
                      </a:lnTo>
                      <a:lnTo>
                        <a:pt x="1478" y="2615"/>
                      </a:lnTo>
                      <a:lnTo>
                        <a:pt x="1478" y="2625"/>
                      </a:lnTo>
                      <a:lnTo>
                        <a:pt x="1441" y="2648"/>
                      </a:lnTo>
                      <a:lnTo>
                        <a:pt x="1436" y="2632"/>
                      </a:lnTo>
                      <a:lnTo>
                        <a:pt x="1441" y="2615"/>
                      </a:lnTo>
                      <a:lnTo>
                        <a:pt x="1424" y="2632"/>
                      </a:lnTo>
                      <a:lnTo>
                        <a:pt x="1419" y="2625"/>
                      </a:lnTo>
                      <a:lnTo>
                        <a:pt x="1436" y="2615"/>
                      </a:lnTo>
                      <a:lnTo>
                        <a:pt x="1419" y="2615"/>
                      </a:lnTo>
                      <a:lnTo>
                        <a:pt x="1424" y="2592"/>
                      </a:lnTo>
                      <a:lnTo>
                        <a:pt x="1419" y="2608"/>
                      </a:lnTo>
                      <a:lnTo>
                        <a:pt x="1386" y="2608"/>
                      </a:lnTo>
                      <a:lnTo>
                        <a:pt x="1408" y="2592"/>
                      </a:lnTo>
                      <a:lnTo>
                        <a:pt x="1386" y="2599"/>
                      </a:lnTo>
                      <a:lnTo>
                        <a:pt x="1424" y="2575"/>
                      </a:lnTo>
                      <a:lnTo>
                        <a:pt x="1452" y="2587"/>
                      </a:lnTo>
                      <a:lnTo>
                        <a:pt x="1478" y="2570"/>
                      </a:lnTo>
                      <a:lnTo>
                        <a:pt x="1490" y="2575"/>
                      </a:lnTo>
                      <a:lnTo>
                        <a:pt x="1490" y="2570"/>
                      </a:lnTo>
                      <a:lnTo>
                        <a:pt x="1452" y="2587"/>
                      </a:lnTo>
                      <a:lnTo>
                        <a:pt x="1436" y="2575"/>
                      </a:lnTo>
                      <a:lnTo>
                        <a:pt x="1398" y="2592"/>
                      </a:lnTo>
                      <a:lnTo>
                        <a:pt x="1386" y="2587"/>
                      </a:lnTo>
                      <a:lnTo>
                        <a:pt x="1408" y="2570"/>
                      </a:lnTo>
                      <a:lnTo>
                        <a:pt x="1386" y="2575"/>
                      </a:lnTo>
                      <a:lnTo>
                        <a:pt x="1370" y="2575"/>
                      </a:lnTo>
                      <a:lnTo>
                        <a:pt x="1398" y="2570"/>
                      </a:lnTo>
                      <a:lnTo>
                        <a:pt x="1370" y="2570"/>
                      </a:lnTo>
                      <a:lnTo>
                        <a:pt x="1474" y="2514"/>
                      </a:lnTo>
                      <a:lnTo>
                        <a:pt x="1478" y="2497"/>
                      </a:lnTo>
                      <a:lnTo>
                        <a:pt x="1528" y="2476"/>
                      </a:lnTo>
                      <a:lnTo>
                        <a:pt x="1587" y="2476"/>
                      </a:lnTo>
                      <a:lnTo>
                        <a:pt x="1542" y="2464"/>
                      </a:lnTo>
                      <a:lnTo>
                        <a:pt x="1566" y="2448"/>
                      </a:lnTo>
                      <a:lnTo>
                        <a:pt x="1613" y="2459"/>
                      </a:lnTo>
                      <a:lnTo>
                        <a:pt x="1570" y="2448"/>
                      </a:lnTo>
                      <a:lnTo>
                        <a:pt x="1587" y="2443"/>
                      </a:lnTo>
                      <a:lnTo>
                        <a:pt x="1533" y="2464"/>
                      </a:lnTo>
                      <a:lnTo>
                        <a:pt x="1403" y="2554"/>
                      </a:lnTo>
                      <a:lnTo>
                        <a:pt x="1370" y="2559"/>
                      </a:lnTo>
                      <a:lnTo>
                        <a:pt x="1353" y="2554"/>
                      </a:lnTo>
                      <a:lnTo>
                        <a:pt x="1398" y="2537"/>
                      </a:lnTo>
                      <a:lnTo>
                        <a:pt x="1365" y="2542"/>
                      </a:lnTo>
                      <a:lnTo>
                        <a:pt x="1353" y="2537"/>
                      </a:lnTo>
                      <a:lnTo>
                        <a:pt x="1353" y="2514"/>
                      </a:lnTo>
                      <a:lnTo>
                        <a:pt x="1441" y="2504"/>
                      </a:lnTo>
                      <a:lnTo>
                        <a:pt x="1386" y="2504"/>
                      </a:lnTo>
                      <a:lnTo>
                        <a:pt x="1370" y="2497"/>
                      </a:lnTo>
                      <a:lnTo>
                        <a:pt x="1436" y="2488"/>
                      </a:lnTo>
                      <a:lnTo>
                        <a:pt x="1386" y="2481"/>
                      </a:lnTo>
                      <a:lnTo>
                        <a:pt x="1419" y="2481"/>
                      </a:lnTo>
                      <a:lnTo>
                        <a:pt x="1398" y="2481"/>
                      </a:lnTo>
                      <a:lnTo>
                        <a:pt x="1403" y="2476"/>
                      </a:lnTo>
                      <a:lnTo>
                        <a:pt x="1457" y="2476"/>
                      </a:lnTo>
                      <a:lnTo>
                        <a:pt x="1441" y="2464"/>
                      </a:lnTo>
                      <a:lnTo>
                        <a:pt x="1353" y="2464"/>
                      </a:lnTo>
                      <a:lnTo>
                        <a:pt x="1348" y="2459"/>
                      </a:lnTo>
                      <a:lnTo>
                        <a:pt x="1386" y="2448"/>
                      </a:lnTo>
                      <a:lnTo>
                        <a:pt x="1348" y="2443"/>
                      </a:lnTo>
                      <a:lnTo>
                        <a:pt x="1382" y="2443"/>
                      </a:lnTo>
                      <a:lnTo>
                        <a:pt x="1332" y="2443"/>
                      </a:lnTo>
                      <a:lnTo>
                        <a:pt x="1348" y="2431"/>
                      </a:lnTo>
                      <a:lnTo>
                        <a:pt x="1382" y="2426"/>
                      </a:lnTo>
                      <a:lnTo>
                        <a:pt x="1365" y="2426"/>
                      </a:lnTo>
                      <a:lnTo>
                        <a:pt x="1462" y="2410"/>
                      </a:lnTo>
                      <a:lnTo>
                        <a:pt x="1511" y="2410"/>
                      </a:lnTo>
                      <a:lnTo>
                        <a:pt x="1533" y="2431"/>
                      </a:lnTo>
                      <a:lnTo>
                        <a:pt x="1587" y="2431"/>
                      </a:lnTo>
                      <a:lnTo>
                        <a:pt x="1533" y="2431"/>
                      </a:lnTo>
                      <a:lnTo>
                        <a:pt x="1511" y="2410"/>
                      </a:lnTo>
                      <a:lnTo>
                        <a:pt x="1533" y="2403"/>
                      </a:lnTo>
                      <a:lnTo>
                        <a:pt x="1386" y="2410"/>
                      </a:lnTo>
                      <a:lnTo>
                        <a:pt x="1348" y="2426"/>
                      </a:lnTo>
                      <a:lnTo>
                        <a:pt x="1344" y="2419"/>
                      </a:lnTo>
                      <a:lnTo>
                        <a:pt x="1353" y="2393"/>
                      </a:lnTo>
                      <a:lnTo>
                        <a:pt x="1408" y="2370"/>
                      </a:lnTo>
                      <a:lnTo>
                        <a:pt x="1398" y="2370"/>
                      </a:lnTo>
                      <a:lnTo>
                        <a:pt x="1403" y="2370"/>
                      </a:lnTo>
                      <a:lnTo>
                        <a:pt x="1436" y="2365"/>
                      </a:lnTo>
                      <a:lnTo>
                        <a:pt x="1419" y="2365"/>
                      </a:lnTo>
                      <a:lnTo>
                        <a:pt x="1441" y="2365"/>
                      </a:lnTo>
                      <a:lnTo>
                        <a:pt x="1490" y="2377"/>
                      </a:lnTo>
                      <a:lnTo>
                        <a:pt x="1516" y="2370"/>
                      </a:lnTo>
                      <a:lnTo>
                        <a:pt x="1566" y="2393"/>
                      </a:lnTo>
                      <a:lnTo>
                        <a:pt x="1604" y="2393"/>
                      </a:lnTo>
                      <a:lnTo>
                        <a:pt x="1613" y="2386"/>
                      </a:lnTo>
                      <a:lnTo>
                        <a:pt x="1570" y="2393"/>
                      </a:lnTo>
                      <a:lnTo>
                        <a:pt x="1559" y="2377"/>
                      </a:lnTo>
                      <a:lnTo>
                        <a:pt x="1596" y="2365"/>
                      </a:lnTo>
                      <a:lnTo>
                        <a:pt x="1618" y="2370"/>
                      </a:lnTo>
                      <a:lnTo>
                        <a:pt x="1596" y="2365"/>
                      </a:lnTo>
                      <a:lnTo>
                        <a:pt x="1542" y="2377"/>
                      </a:lnTo>
                      <a:lnTo>
                        <a:pt x="1528" y="2365"/>
                      </a:lnTo>
                      <a:lnTo>
                        <a:pt x="1587" y="2348"/>
                      </a:lnTo>
                      <a:lnTo>
                        <a:pt x="1559" y="2337"/>
                      </a:lnTo>
                      <a:lnTo>
                        <a:pt x="1559" y="2348"/>
                      </a:lnTo>
                      <a:lnTo>
                        <a:pt x="1566" y="2348"/>
                      </a:lnTo>
                      <a:lnTo>
                        <a:pt x="1533" y="2365"/>
                      </a:lnTo>
                      <a:lnTo>
                        <a:pt x="1516" y="2348"/>
                      </a:lnTo>
                      <a:lnTo>
                        <a:pt x="1549" y="2348"/>
                      </a:lnTo>
                      <a:lnTo>
                        <a:pt x="1542" y="2332"/>
                      </a:lnTo>
                      <a:lnTo>
                        <a:pt x="1504" y="2337"/>
                      </a:lnTo>
                      <a:lnTo>
                        <a:pt x="1516" y="2353"/>
                      </a:lnTo>
                      <a:lnTo>
                        <a:pt x="1495" y="2370"/>
                      </a:lnTo>
                      <a:lnTo>
                        <a:pt x="1490" y="2365"/>
                      </a:lnTo>
                      <a:lnTo>
                        <a:pt x="1504" y="2353"/>
                      </a:lnTo>
                      <a:lnTo>
                        <a:pt x="1452" y="2353"/>
                      </a:lnTo>
                      <a:lnTo>
                        <a:pt x="1504" y="2332"/>
                      </a:lnTo>
                      <a:lnTo>
                        <a:pt x="1403" y="2365"/>
                      </a:lnTo>
                      <a:lnTo>
                        <a:pt x="1365" y="2386"/>
                      </a:lnTo>
                      <a:lnTo>
                        <a:pt x="1353" y="2386"/>
                      </a:lnTo>
                      <a:lnTo>
                        <a:pt x="1348" y="2377"/>
                      </a:lnTo>
                      <a:lnTo>
                        <a:pt x="1365" y="2370"/>
                      </a:lnTo>
                      <a:lnTo>
                        <a:pt x="1353" y="2353"/>
                      </a:lnTo>
                      <a:lnTo>
                        <a:pt x="1382" y="2353"/>
                      </a:lnTo>
                      <a:lnTo>
                        <a:pt x="1370" y="2348"/>
                      </a:lnTo>
                      <a:lnTo>
                        <a:pt x="1386" y="2353"/>
                      </a:lnTo>
                      <a:lnTo>
                        <a:pt x="1403" y="2348"/>
                      </a:lnTo>
                      <a:lnTo>
                        <a:pt x="1386" y="2348"/>
                      </a:lnTo>
                      <a:lnTo>
                        <a:pt x="1386" y="2337"/>
                      </a:lnTo>
                      <a:lnTo>
                        <a:pt x="1408" y="2332"/>
                      </a:lnTo>
                      <a:lnTo>
                        <a:pt x="1386" y="2332"/>
                      </a:lnTo>
                      <a:lnTo>
                        <a:pt x="1386" y="2320"/>
                      </a:lnTo>
                      <a:lnTo>
                        <a:pt x="1457" y="2337"/>
                      </a:lnTo>
                      <a:lnTo>
                        <a:pt x="1474" y="2332"/>
                      </a:lnTo>
                      <a:lnTo>
                        <a:pt x="1424" y="2332"/>
                      </a:lnTo>
                      <a:lnTo>
                        <a:pt x="1398" y="2315"/>
                      </a:lnTo>
                      <a:lnTo>
                        <a:pt x="1370" y="2315"/>
                      </a:lnTo>
                      <a:lnTo>
                        <a:pt x="1382" y="2308"/>
                      </a:lnTo>
                      <a:lnTo>
                        <a:pt x="1452" y="2320"/>
                      </a:lnTo>
                      <a:lnTo>
                        <a:pt x="1419" y="2308"/>
                      </a:lnTo>
                      <a:lnTo>
                        <a:pt x="1490" y="2320"/>
                      </a:lnTo>
                      <a:lnTo>
                        <a:pt x="1533" y="2320"/>
                      </a:lnTo>
                      <a:lnTo>
                        <a:pt x="1570" y="2337"/>
                      </a:lnTo>
                      <a:lnTo>
                        <a:pt x="1604" y="2337"/>
                      </a:lnTo>
                      <a:lnTo>
                        <a:pt x="1511" y="2308"/>
                      </a:lnTo>
                      <a:lnTo>
                        <a:pt x="1549" y="2308"/>
                      </a:lnTo>
                      <a:lnTo>
                        <a:pt x="1528" y="2299"/>
                      </a:lnTo>
                      <a:lnTo>
                        <a:pt x="1533" y="2292"/>
                      </a:lnTo>
                      <a:lnTo>
                        <a:pt x="1533" y="2282"/>
                      </a:lnTo>
                      <a:lnTo>
                        <a:pt x="1559" y="2266"/>
                      </a:lnTo>
                      <a:lnTo>
                        <a:pt x="1504" y="2275"/>
                      </a:lnTo>
                      <a:lnTo>
                        <a:pt x="1528" y="2292"/>
                      </a:lnTo>
                      <a:lnTo>
                        <a:pt x="1441" y="2308"/>
                      </a:lnTo>
                      <a:lnTo>
                        <a:pt x="1441" y="2308"/>
                      </a:lnTo>
                      <a:lnTo>
                        <a:pt x="1441" y="2308"/>
                      </a:lnTo>
                      <a:close/>
                      <a:moveTo>
                        <a:pt x="2343" y="45"/>
                      </a:moveTo>
                      <a:lnTo>
                        <a:pt x="2374" y="41"/>
                      </a:lnTo>
                      <a:lnTo>
                        <a:pt x="2390" y="57"/>
                      </a:lnTo>
                      <a:lnTo>
                        <a:pt x="2343" y="45"/>
                      </a:lnTo>
                      <a:lnTo>
                        <a:pt x="2343" y="45"/>
                      </a:lnTo>
                      <a:lnTo>
                        <a:pt x="2343" y="45"/>
                      </a:lnTo>
                      <a:close/>
                      <a:moveTo>
                        <a:pt x="2390" y="83"/>
                      </a:moveTo>
                      <a:lnTo>
                        <a:pt x="2267" y="62"/>
                      </a:lnTo>
                      <a:lnTo>
                        <a:pt x="2298" y="45"/>
                      </a:lnTo>
                      <a:lnTo>
                        <a:pt x="2411" y="83"/>
                      </a:lnTo>
                      <a:lnTo>
                        <a:pt x="2390" y="83"/>
                      </a:lnTo>
                      <a:lnTo>
                        <a:pt x="2390" y="83"/>
                      </a:lnTo>
                      <a:lnTo>
                        <a:pt x="2390" y="83"/>
                      </a:lnTo>
                      <a:close/>
                      <a:moveTo>
                        <a:pt x="2284" y="67"/>
                      </a:moveTo>
                      <a:lnTo>
                        <a:pt x="2315" y="67"/>
                      </a:lnTo>
                      <a:lnTo>
                        <a:pt x="2272" y="67"/>
                      </a:lnTo>
                      <a:lnTo>
                        <a:pt x="2284" y="67"/>
                      </a:lnTo>
                      <a:lnTo>
                        <a:pt x="2284" y="67"/>
                      </a:lnTo>
                      <a:lnTo>
                        <a:pt x="2284" y="67"/>
                      </a:lnTo>
                      <a:close/>
                      <a:moveTo>
                        <a:pt x="2411" y="83"/>
                      </a:moveTo>
                      <a:lnTo>
                        <a:pt x="2411" y="78"/>
                      </a:lnTo>
                      <a:lnTo>
                        <a:pt x="2449" y="83"/>
                      </a:lnTo>
                      <a:lnTo>
                        <a:pt x="2411" y="83"/>
                      </a:lnTo>
                      <a:lnTo>
                        <a:pt x="2411" y="83"/>
                      </a:lnTo>
                      <a:lnTo>
                        <a:pt x="2411" y="83"/>
                      </a:lnTo>
                      <a:close/>
                      <a:moveTo>
                        <a:pt x="2322" y="116"/>
                      </a:moveTo>
                      <a:lnTo>
                        <a:pt x="2213" y="78"/>
                      </a:lnTo>
                      <a:lnTo>
                        <a:pt x="2260" y="78"/>
                      </a:lnTo>
                      <a:lnTo>
                        <a:pt x="2322" y="116"/>
                      </a:lnTo>
                      <a:lnTo>
                        <a:pt x="2322" y="116"/>
                      </a:lnTo>
                      <a:lnTo>
                        <a:pt x="2322" y="116"/>
                      </a:lnTo>
                      <a:close/>
                      <a:moveTo>
                        <a:pt x="2343" y="111"/>
                      </a:moveTo>
                      <a:lnTo>
                        <a:pt x="2272" y="83"/>
                      </a:lnTo>
                      <a:lnTo>
                        <a:pt x="2369" y="95"/>
                      </a:lnTo>
                      <a:lnTo>
                        <a:pt x="2343" y="111"/>
                      </a:lnTo>
                      <a:lnTo>
                        <a:pt x="2343" y="111"/>
                      </a:lnTo>
                      <a:lnTo>
                        <a:pt x="2343" y="111"/>
                      </a:lnTo>
                      <a:close/>
                      <a:moveTo>
                        <a:pt x="1840" y="140"/>
                      </a:moveTo>
                      <a:lnTo>
                        <a:pt x="1802" y="123"/>
                      </a:lnTo>
                      <a:lnTo>
                        <a:pt x="1868" y="140"/>
                      </a:lnTo>
                      <a:lnTo>
                        <a:pt x="1840" y="140"/>
                      </a:lnTo>
                      <a:lnTo>
                        <a:pt x="1840" y="140"/>
                      </a:lnTo>
                      <a:lnTo>
                        <a:pt x="1840" y="140"/>
                      </a:lnTo>
                      <a:close/>
                      <a:moveTo>
                        <a:pt x="1731" y="152"/>
                      </a:moveTo>
                      <a:lnTo>
                        <a:pt x="1726" y="135"/>
                      </a:lnTo>
                      <a:lnTo>
                        <a:pt x="1797" y="152"/>
                      </a:lnTo>
                      <a:lnTo>
                        <a:pt x="1731" y="152"/>
                      </a:lnTo>
                      <a:lnTo>
                        <a:pt x="1731" y="152"/>
                      </a:lnTo>
                      <a:lnTo>
                        <a:pt x="1731" y="152"/>
                      </a:lnTo>
                      <a:close/>
                      <a:moveTo>
                        <a:pt x="2298" y="173"/>
                      </a:moveTo>
                      <a:lnTo>
                        <a:pt x="2284" y="168"/>
                      </a:lnTo>
                      <a:lnTo>
                        <a:pt x="2305" y="173"/>
                      </a:lnTo>
                      <a:lnTo>
                        <a:pt x="2298" y="173"/>
                      </a:lnTo>
                      <a:lnTo>
                        <a:pt x="2298" y="173"/>
                      </a:lnTo>
                      <a:lnTo>
                        <a:pt x="2298" y="173"/>
                      </a:lnTo>
                      <a:close/>
                      <a:moveTo>
                        <a:pt x="1965" y="279"/>
                      </a:moveTo>
                      <a:lnTo>
                        <a:pt x="1937" y="251"/>
                      </a:lnTo>
                      <a:lnTo>
                        <a:pt x="1830" y="222"/>
                      </a:lnTo>
                      <a:lnTo>
                        <a:pt x="1776" y="178"/>
                      </a:lnTo>
                      <a:lnTo>
                        <a:pt x="1882" y="173"/>
                      </a:lnTo>
                      <a:lnTo>
                        <a:pt x="2003" y="222"/>
                      </a:lnTo>
                      <a:lnTo>
                        <a:pt x="1958" y="251"/>
                      </a:lnTo>
                      <a:lnTo>
                        <a:pt x="1982" y="267"/>
                      </a:lnTo>
                      <a:lnTo>
                        <a:pt x="1965" y="279"/>
                      </a:lnTo>
                      <a:lnTo>
                        <a:pt x="1965" y="279"/>
                      </a:lnTo>
                      <a:lnTo>
                        <a:pt x="1965" y="279"/>
                      </a:lnTo>
                      <a:close/>
                      <a:moveTo>
                        <a:pt x="1731" y="211"/>
                      </a:moveTo>
                      <a:lnTo>
                        <a:pt x="1693" y="194"/>
                      </a:lnTo>
                      <a:lnTo>
                        <a:pt x="1748" y="206"/>
                      </a:lnTo>
                      <a:lnTo>
                        <a:pt x="1731" y="211"/>
                      </a:lnTo>
                      <a:lnTo>
                        <a:pt x="1731" y="211"/>
                      </a:lnTo>
                      <a:lnTo>
                        <a:pt x="1731" y="211"/>
                      </a:lnTo>
                      <a:close/>
                      <a:moveTo>
                        <a:pt x="1528" y="296"/>
                      </a:moveTo>
                      <a:lnTo>
                        <a:pt x="1403" y="267"/>
                      </a:lnTo>
                      <a:lnTo>
                        <a:pt x="1382" y="244"/>
                      </a:lnTo>
                      <a:lnTo>
                        <a:pt x="1398" y="227"/>
                      </a:lnTo>
                      <a:lnTo>
                        <a:pt x="1419" y="239"/>
                      </a:lnTo>
                      <a:lnTo>
                        <a:pt x="1528" y="296"/>
                      </a:lnTo>
                      <a:lnTo>
                        <a:pt x="1528" y="296"/>
                      </a:lnTo>
                      <a:lnTo>
                        <a:pt x="1528" y="296"/>
                      </a:lnTo>
                      <a:close/>
                      <a:moveTo>
                        <a:pt x="1462" y="251"/>
                      </a:moveTo>
                      <a:lnTo>
                        <a:pt x="1457" y="239"/>
                      </a:lnTo>
                      <a:lnTo>
                        <a:pt x="1490" y="251"/>
                      </a:lnTo>
                      <a:lnTo>
                        <a:pt x="1462" y="251"/>
                      </a:lnTo>
                      <a:lnTo>
                        <a:pt x="1462" y="251"/>
                      </a:lnTo>
                      <a:lnTo>
                        <a:pt x="1462" y="251"/>
                      </a:lnTo>
                      <a:close/>
                      <a:moveTo>
                        <a:pt x="3789" y="284"/>
                      </a:moveTo>
                      <a:lnTo>
                        <a:pt x="3763" y="251"/>
                      </a:lnTo>
                      <a:lnTo>
                        <a:pt x="3800" y="296"/>
                      </a:lnTo>
                      <a:lnTo>
                        <a:pt x="3789" y="284"/>
                      </a:lnTo>
                      <a:lnTo>
                        <a:pt x="3789" y="284"/>
                      </a:lnTo>
                      <a:lnTo>
                        <a:pt x="3789" y="284"/>
                      </a:lnTo>
                      <a:close/>
                      <a:moveTo>
                        <a:pt x="3704" y="305"/>
                      </a:moveTo>
                      <a:lnTo>
                        <a:pt x="3666" y="267"/>
                      </a:lnTo>
                      <a:lnTo>
                        <a:pt x="3692" y="267"/>
                      </a:lnTo>
                      <a:lnTo>
                        <a:pt x="3741" y="305"/>
                      </a:lnTo>
                      <a:lnTo>
                        <a:pt x="3704" y="305"/>
                      </a:lnTo>
                      <a:lnTo>
                        <a:pt x="3704" y="305"/>
                      </a:lnTo>
                      <a:lnTo>
                        <a:pt x="3704" y="305"/>
                      </a:lnTo>
                      <a:close/>
                      <a:moveTo>
                        <a:pt x="3817" y="350"/>
                      </a:moveTo>
                      <a:lnTo>
                        <a:pt x="3772" y="322"/>
                      </a:lnTo>
                      <a:lnTo>
                        <a:pt x="3810" y="322"/>
                      </a:lnTo>
                      <a:lnTo>
                        <a:pt x="3843" y="350"/>
                      </a:lnTo>
                      <a:lnTo>
                        <a:pt x="3817" y="350"/>
                      </a:lnTo>
                      <a:lnTo>
                        <a:pt x="3817" y="350"/>
                      </a:lnTo>
                      <a:lnTo>
                        <a:pt x="3817" y="350"/>
                      </a:lnTo>
                      <a:close/>
                      <a:moveTo>
                        <a:pt x="3654" y="355"/>
                      </a:moveTo>
                      <a:lnTo>
                        <a:pt x="3666" y="350"/>
                      </a:lnTo>
                      <a:lnTo>
                        <a:pt x="3649" y="338"/>
                      </a:lnTo>
                      <a:lnTo>
                        <a:pt x="3654" y="333"/>
                      </a:lnTo>
                      <a:lnTo>
                        <a:pt x="3708" y="338"/>
                      </a:lnTo>
                      <a:lnTo>
                        <a:pt x="3654" y="355"/>
                      </a:lnTo>
                      <a:lnTo>
                        <a:pt x="3654" y="355"/>
                      </a:lnTo>
                      <a:lnTo>
                        <a:pt x="3654" y="355"/>
                      </a:lnTo>
                      <a:close/>
                      <a:moveTo>
                        <a:pt x="3789" y="600"/>
                      </a:moveTo>
                      <a:lnTo>
                        <a:pt x="3720" y="612"/>
                      </a:lnTo>
                      <a:lnTo>
                        <a:pt x="3741" y="584"/>
                      </a:lnTo>
                      <a:lnTo>
                        <a:pt x="3789" y="600"/>
                      </a:lnTo>
                      <a:lnTo>
                        <a:pt x="3789" y="600"/>
                      </a:lnTo>
                      <a:lnTo>
                        <a:pt x="3789" y="600"/>
                      </a:lnTo>
                      <a:close/>
                      <a:moveTo>
                        <a:pt x="3763" y="749"/>
                      </a:moveTo>
                      <a:lnTo>
                        <a:pt x="3763" y="766"/>
                      </a:lnTo>
                      <a:lnTo>
                        <a:pt x="3758" y="761"/>
                      </a:lnTo>
                      <a:lnTo>
                        <a:pt x="3763" y="749"/>
                      </a:lnTo>
                      <a:lnTo>
                        <a:pt x="3763" y="749"/>
                      </a:lnTo>
                      <a:lnTo>
                        <a:pt x="3763" y="749"/>
                      </a:lnTo>
                      <a:close/>
                      <a:moveTo>
                        <a:pt x="3881" y="749"/>
                      </a:moveTo>
                      <a:lnTo>
                        <a:pt x="3885" y="761"/>
                      </a:lnTo>
                      <a:lnTo>
                        <a:pt x="3848" y="794"/>
                      </a:lnTo>
                      <a:lnTo>
                        <a:pt x="3855" y="778"/>
                      </a:lnTo>
                      <a:lnTo>
                        <a:pt x="3881" y="749"/>
                      </a:lnTo>
                      <a:lnTo>
                        <a:pt x="3881" y="749"/>
                      </a:lnTo>
                      <a:lnTo>
                        <a:pt x="3881" y="749"/>
                      </a:lnTo>
                      <a:close/>
                      <a:moveTo>
                        <a:pt x="3763" y="834"/>
                      </a:moveTo>
                      <a:lnTo>
                        <a:pt x="3734" y="822"/>
                      </a:lnTo>
                      <a:lnTo>
                        <a:pt x="3779" y="799"/>
                      </a:lnTo>
                      <a:lnTo>
                        <a:pt x="3763" y="815"/>
                      </a:lnTo>
                      <a:lnTo>
                        <a:pt x="3779" y="822"/>
                      </a:lnTo>
                      <a:lnTo>
                        <a:pt x="3758" y="822"/>
                      </a:lnTo>
                      <a:lnTo>
                        <a:pt x="3779" y="822"/>
                      </a:lnTo>
                      <a:lnTo>
                        <a:pt x="3763" y="834"/>
                      </a:lnTo>
                      <a:lnTo>
                        <a:pt x="3763" y="834"/>
                      </a:lnTo>
                      <a:lnTo>
                        <a:pt x="3763" y="834"/>
                      </a:lnTo>
                      <a:close/>
                      <a:moveTo>
                        <a:pt x="3843" y="834"/>
                      </a:moveTo>
                      <a:lnTo>
                        <a:pt x="3843" y="806"/>
                      </a:lnTo>
                      <a:lnTo>
                        <a:pt x="3855" y="815"/>
                      </a:lnTo>
                      <a:lnTo>
                        <a:pt x="3843" y="834"/>
                      </a:lnTo>
                      <a:lnTo>
                        <a:pt x="3843" y="834"/>
                      </a:lnTo>
                      <a:lnTo>
                        <a:pt x="3843" y="834"/>
                      </a:lnTo>
                      <a:close/>
                      <a:moveTo>
                        <a:pt x="3772" y="877"/>
                      </a:moveTo>
                      <a:lnTo>
                        <a:pt x="3789" y="889"/>
                      </a:lnTo>
                      <a:lnTo>
                        <a:pt x="3763" y="893"/>
                      </a:lnTo>
                      <a:lnTo>
                        <a:pt x="3763" y="889"/>
                      </a:lnTo>
                      <a:lnTo>
                        <a:pt x="3772" y="877"/>
                      </a:lnTo>
                      <a:lnTo>
                        <a:pt x="3772" y="877"/>
                      </a:lnTo>
                      <a:lnTo>
                        <a:pt x="3772" y="877"/>
                      </a:lnTo>
                      <a:close/>
                      <a:moveTo>
                        <a:pt x="3746" y="889"/>
                      </a:moveTo>
                      <a:lnTo>
                        <a:pt x="3758" y="893"/>
                      </a:lnTo>
                      <a:lnTo>
                        <a:pt x="3741" y="905"/>
                      </a:lnTo>
                      <a:lnTo>
                        <a:pt x="3741" y="889"/>
                      </a:lnTo>
                      <a:lnTo>
                        <a:pt x="3746" y="889"/>
                      </a:lnTo>
                      <a:lnTo>
                        <a:pt x="3746" y="889"/>
                      </a:lnTo>
                      <a:lnTo>
                        <a:pt x="3746" y="889"/>
                      </a:lnTo>
                      <a:close/>
                      <a:moveTo>
                        <a:pt x="3772" y="910"/>
                      </a:moveTo>
                      <a:lnTo>
                        <a:pt x="3763" y="905"/>
                      </a:lnTo>
                      <a:lnTo>
                        <a:pt x="3796" y="905"/>
                      </a:lnTo>
                      <a:lnTo>
                        <a:pt x="3772" y="910"/>
                      </a:lnTo>
                      <a:lnTo>
                        <a:pt x="3772" y="910"/>
                      </a:lnTo>
                      <a:lnTo>
                        <a:pt x="3772" y="910"/>
                      </a:lnTo>
                      <a:close/>
                      <a:moveTo>
                        <a:pt x="3649" y="917"/>
                      </a:moveTo>
                      <a:lnTo>
                        <a:pt x="3654" y="917"/>
                      </a:lnTo>
                      <a:lnTo>
                        <a:pt x="3649" y="917"/>
                      </a:lnTo>
                      <a:lnTo>
                        <a:pt x="3649" y="917"/>
                      </a:lnTo>
                      <a:lnTo>
                        <a:pt x="3649" y="917"/>
                      </a:lnTo>
                      <a:close/>
                      <a:moveTo>
                        <a:pt x="3796" y="917"/>
                      </a:moveTo>
                      <a:lnTo>
                        <a:pt x="3789" y="933"/>
                      </a:lnTo>
                      <a:lnTo>
                        <a:pt x="3779" y="926"/>
                      </a:lnTo>
                      <a:lnTo>
                        <a:pt x="3796" y="917"/>
                      </a:lnTo>
                      <a:lnTo>
                        <a:pt x="3796" y="917"/>
                      </a:lnTo>
                      <a:lnTo>
                        <a:pt x="3796" y="917"/>
                      </a:lnTo>
                      <a:close/>
                      <a:moveTo>
                        <a:pt x="3772" y="926"/>
                      </a:moveTo>
                      <a:lnTo>
                        <a:pt x="3763" y="926"/>
                      </a:lnTo>
                      <a:lnTo>
                        <a:pt x="3772" y="917"/>
                      </a:lnTo>
                      <a:lnTo>
                        <a:pt x="3772" y="926"/>
                      </a:lnTo>
                      <a:lnTo>
                        <a:pt x="3772" y="926"/>
                      </a:lnTo>
                      <a:lnTo>
                        <a:pt x="3772" y="926"/>
                      </a:lnTo>
                      <a:close/>
                      <a:moveTo>
                        <a:pt x="3637" y="945"/>
                      </a:moveTo>
                      <a:lnTo>
                        <a:pt x="3628" y="966"/>
                      </a:lnTo>
                      <a:lnTo>
                        <a:pt x="3616" y="962"/>
                      </a:lnTo>
                      <a:lnTo>
                        <a:pt x="3637" y="945"/>
                      </a:lnTo>
                      <a:lnTo>
                        <a:pt x="3637" y="945"/>
                      </a:lnTo>
                      <a:lnTo>
                        <a:pt x="3637" y="945"/>
                      </a:lnTo>
                      <a:close/>
                      <a:moveTo>
                        <a:pt x="3734" y="966"/>
                      </a:moveTo>
                      <a:lnTo>
                        <a:pt x="3772" y="971"/>
                      </a:lnTo>
                      <a:lnTo>
                        <a:pt x="3687" y="950"/>
                      </a:lnTo>
                      <a:lnTo>
                        <a:pt x="3725" y="950"/>
                      </a:lnTo>
                      <a:lnTo>
                        <a:pt x="3720" y="950"/>
                      </a:lnTo>
                      <a:lnTo>
                        <a:pt x="3734" y="966"/>
                      </a:lnTo>
                      <a:lnTo>
                        <a:pt x="3734" y="966"/>
                      </a:lnTo>
                      <a:lnTo>
                        <a:pt x="3734" y="966"/>
                      </a:lnTo>
                      <a:close/>
                      <a:moveTo>
                        <a:pt x="3746" y="962"/>
                      </a:moveTo>
                      <a:lnTo>
                        <a:pt x="3741" y="950"/>
                      </a:lnTo>
                      <a:lnTo>
                        <a:pt x="3746" y="962"/>
                      </a:lnTo>
                      <a:lnTo>
                        <a:pt x="3746" y="962"/>
                      </a:lnTo>
                      <a:lnTo>
                        <a:pt x="3746" y="962"/>
                      </a:lnTo>
                      <a:close/>
                      <a:moveTo>
                        <a:pt x="3881" y="962"/>
                      </a:moveTo>
                      <a:lnTo>
                        <a:pt x="3885" y="971"/>
                      </a:lnTo>
                      <a:lnTo>
                        <a:pt x="3881" y="988"/>
                      </a:lnTo>
                      <a:lnTo>
                        <a:pt x="3843" y="1000"/>
                      </a:lnTo>
                      <a:lnTo>
                        <a:pt x="3864" y="966"/>
                      </a:lnTo>
                      <a:lnTo>
                        <a:pt x="3881" y="962"/>
                      </a:lnTo>
                      <a:lnTo>
                        <a:pt x="3881" y="962"/>
                      </a:lnTo>
                      <a:lnTo>
                        <a:pt x="3881" y="962"/>
                      </a:lnTo>
                      <a:close/>
                      <a:moveTo>
                        <a:pt x="3708" y="1000"/>
                      </a:moveTo>
                      <a:lnTo>
                        <a:pt x="3720" y="1004"/>
                      </a:lnTo>
                      <a:lnTo>
                        <a:pt x="3687" y="1004"/>
                      </a:lnTo>
                      <a:lnTo>
                        <a:pt x="3708" y="1000"/>
                      </a:lnTo>
                      <a:lnTo>
                        <a:pt x="3708" y="1000"/>
                      </a:lnTo>
                      <a:lnTo>
                        <a:pt x="3708" y="1000"/>
                      </a:lnTo>
                      <a:close/>
                      <a:moveTo>
                        <a:pt x="432" y="1004"/>
                      </a:moveTo>
                      <a:lnTo>
                        <a:pt x="425" y="1004"/>
                      </a:lnTo>
                      <a:lnTo>
                        <a:pt x="446" y="1004"/>
                      </a:lnTo>
                      <a:lnTo>
                        <a:pt x="432" y="1004"/>
                      </a:lnTo>
                      <a:lnTo>
                        <a:pt x="432" y="1004"/>
                      </a:lnTo>
                      <a:lnTo>
                        <a:pt x="432" y="1004"/>
                      </a:lnTo>
                      <a:close/>
                      <a:moveTo>
                        <a:pt x="479" y="1028"/>
                      </a:moveTo>
                      <a:lnTo>
                        <a:pt x="437" y="1021"/>
                      </a:lnTo>
                      <a:lnTo>
                        <a:pt x="479" y="1021"/>
                      </a:lnTo>
                      <a:lnTo>
                        <a:pt x="479" y="1028"/>
                      </a:lnTo>
                      <a:lnTo>
                        <a:pt x="479" y="1028"/>
                      </a:lnTo>
                      <a:lnTo>
                        <a:pt x="479" y="1028"/>
                      </a:lnTo>
                      <a:close/>
                      <a:moveTo>
                        <a:pt x="122" y="1028"/>
                      </a:moveTo>
                      <a:lnTo>
                        <a:pt x="205" y="1037"/>
                      </a:lnTo>
                      <a:lnTo>
                        <a:pt x="139" y="1044"/>
                      </a:lnTo>
                      <a:lnTo>
                        <a:pt x="122" y="1028"/>
                      </a:lnTo>
                      <a:lnTo>
                        <a:pt x="122" y="1028"/>
                      </a:lnTo>
                      <a:lnTo>
                        <a:pt x="122" y="1028"/>
                      </a:lnTo>
                      <a:close/>
                      <a:moveTo>
                        <a:pt x="54" y="1028"/>
                      </a:moveTo>
                      <a:lnTo>
                        <a:pt x="113" y="1044"/>
                      </a:lnTo>
                      <a:lnTo>
                        <a:pt x="68" y="1054"/>
                      </a:lnTo>
                      <a:lnTo>
                        <a:pt x="30" y="1037"/>
                      </a:lnTo>
                      <a:lnTo>
                        <a:pt x="54" y="1028"/>
                      </a:lnTo>
                      <a:lnTo>
                        <a:pt x="54" y="1028"/>
                      </a:lnTo>
                      <a:lnTo>
                        <a:pt x="54" y="1028"/>
                      </a:lnTo>
                      <a:close/>
                      <a:moveTo>
                        <a:pt x="3741" y="1127"/>
                      </a:moveTo>
                      <a:lnTo>
                        <a:pt x="3746" y="1127"/>
                      </a:lnTo>
                      <a:lnTo>
                        <a:pt x="3734" y="1132"/>
                      </a:lnTo>
                      <a:lnTo>
                        <a:pt x="3741" y="1127"/>
                      </a:lnTo>
                      <a:lnTo>
                        <a:pt x="3741" y="1127"/>
                      </a:lnTo>
                      <a:lnTo>
                        <a:pt x="3741" y="1127"/>
                      </a:lnTo>
                      <a:close/>
                      <a:moveTo>
                        <a:pt x="3810" y="1226"/>
                      </a:moveTo>
                      <a:lnTo>
                        <a:pt x="3817" y="1243"/>
                      </a:lnTo>
                      <a:lnTo>
                        <a:pt x="3817" y="1266"/>
                      </a:lnTo>
                      <a:lnTo>
                        <a:pt x="3817" y="1250"/>
                      </a:lnTo>
                      <a:lnTo>
                        <a:pt x="3779" y="1172"/>
                      </a:lnTo>
                      <a:lnTo>
                        <a:pt x="3800" y="1165"/>
                      </a:lnTo>
                      <a:lnTo>
                        <a:pt x="3789" y="1155"/>
                      </a:lnTo>
                      <a:lnTo>
                        <a:pt x="3789" y="1139"/>
                      </a:lnTo>
                      <a:lnTo>
                        <a:pt x="3810" y="1155"/>
                      </a:lnTo>
                      <a:lnTo>
                        <a:pt x="3810" y="1172"/>
                      </a:lnTo>
                      <a:lnTo>
                        <a:pt x="3817" y="1222"/>
                      </a:lnTo>
                      <a:lnTo>
                        <a:pt x="3810" y="1226"/>
                      </a:lnTo>
                      <a:lnTo>
                        <a:pt x="3810" y="1226"/>
                      </a:lnTo>
                      <a:lnTo>
                        <a:pt x="3810" y="1226"/>
                      </a:lnTo>
                      <a:close/>
                      <a:moveTo>
                        <a:pt x="3741" y="1139"/>
                      </a:moveTo>
                      <a:lnTo>
                        <a:pt x="3746" y="1139"/>
                      </a:lnTo>
                      <a:lnTo>
                        <a:pt x="3725" y="1139"/>
                      </a:lnTo>
                      <a:lnTo>
                        <a:pt x="3741" y="1139"/>
                      </a:lnTo>
                      <a:lnTo>
                        <a:pt x="3741" y="1139"/>
                      </a:lnTo>
                      <a:lnTo>
                        <a:pt x="3741" y="1139"/>
                      </a:lnTo>
                      <a:close/>
                      <a:moveTo>
                        <a:pt x="3633" y="1165"/>
                      </a:moveTo>
                      <a:lnTo>
                        <a:pt x="3611" y="1155"/>
                      </a:lnTo>
                      <a:lnTo>
                        <a:pt x="3649" y="1155"/>
                      </a:lnTo>
                      <a:lnTo>
                        <a:pt x="3633" y="1165"/>
                      </a:lnTo>
                      <a:lnTo>
                        <a:pt x="3633" y="1165"/>
                      </a:lnTo>
                      <a:lnTo>
                        <a:pt x="3633" y="1165"/>
                      </a:lnTo>
                      <a:close/>
                      <a:moveTo>
                        <a:pt x="236" y="1155"/>
                      </a:moveTo>
                      <a:lnTo>
                        <a:pt x="252" y="1165"/>
                      </a:lnTo>
                      <a:lnTo>
                        <a:pt x="205" y="1165"/>
                      </a:lnTo>
                      <a:lnTo>
                        <a:pt x="236" y="1155"/>
                      </a:lnTo>
                      <a:lnTo>
                        <a:pt x="236" y="1155"/>
                      </a:lnTo>
                      <a:lnTo>
                        <a:pt x="236" y="1155"/>
                      </a:lnTo>
                      <a:close/>
                      <a:moveTo>
                        <a:pt x="3670" y="1172"/>
                      </a:moveTo>
                      <a:lnTo>
                        <a:pt x="3666" y="1189"/>
                      </a:lnTo>
                      <a:lnTo>
                        <a:pt x="3637" y="1184"/>
                      </a:lnTo>
                      <a:lnTo>
                        <a:pt x="3670" y="1172"/>
                      </a:lnTo>
                      <a:lnTo>
                        <a:pt x="3670" y="1172"/>
                      </a:lnTo>
                      <a:lnTo>
                        <a:pt x="3670" y="1172"/>
                      </a:lnTo>
                      <a:close/>
                      <a:moveTo>
                        <a:pt x="215" y="1184"/>
                      </a:moveTo>
                      <a:lnTo>
                        <a:pt x="219" y="1189"/>
                      </a:lnTo>
                      <a:lnTo>
                        <a:pt x="198" y="1184"/>
                      </a:lnTo>
                      <a:lnTo>
                        <a:pt x="215" y="1184"/>
                      </a:lnTo>
                      <a:lnTo>
                        <a:pt x="215" y="1184"/>
                      </a:lnTo>
                      <a:lnTo>
                        <a:pt x="215" y="1184"/>
                      </a:lnTo>
                      <a:close/>
                      <a:moveTo>
                        <a:pt x="3708" y="1193"/>
                      </a:moveTo>
                      <a:lnTo>
                        <a:pt x="3692" y="1210"/>
                      </a:lnTo>
                      <a:lnTo>
                        <a:pt x="3670" y="1193"/>
                      </a:lnTo>
                      <a:lnTo>
                        <a:pt x="3708" y="1193"/>
                      </a:lnTo>
                      <a:lnTo>
                        <a:pt x="3708" y="1193"/>
                      </a:lnTo>
                      <a:lnTo>
                        <a:pt x="3708" y="1193"/>
                      </a:lnTo>
                      <a:close/>
                      <a:moveTo>
                        <a:pt x="630" y="1226"/>
                      </a:moveTo>
                      <a:lnTo>
                        <a:pt x="630" y="1243"/>
                      </a:lnTo>
                      <a:lnTo>
                        <a:pt x="626" y="1238"/>
                      </a:lnTo>
                      <a:lnTo>
                        <a:pt x="630" y="1226"/>
                      </a:lnTo>
                      <a:lnTo>
                        <a:pt x="630" y="1226"/>
                      </a:lnTo>
                      <a:lnTo>
                        <a:pt x="630" y="1226"/>
                      </a:lnTo>
                      <a:close/>
                      <a:moveTo>
                        <a:pt x="559" y="1238"/>
                      </a:moveTo>
                      <a:lnTo>
                        <a:pt x="559" y="1243"/>
                      </a:lnTo>
                      <a:lnTo>
                        <a:pt x="545" y="1243"/>
                      </a:lnTo>
                      <a:lnTo>
                        <a:pt x="559" y="1238"/>
                      </a:lnTo>
                      <a:lnTo>
                        <a:pt x="559" y="1238"/>
                      </a:lnTo>
                      <a:lnTo>
                        <a:pt x="559" y="1238"/>
                      </a:lnTo>
                      <a:close/>
                      <a:moveTo>
                        <a:pt x="3864" y="1337"/>
                      </a:moveTo>
                      <a:lnTo>
                        <a:pt x="3871" y="1354"/>
                      </a:lnTo>
                      <a:lnTo>
                        <a:pt x="3843" y="1361"/>
                      </a:lnTo>
                      <a:lnTo>
                        <a:pt x="3881" y="1387"/>
                      </a:lnTo>
                      <a:lnTo>
                        <a:pt x="3909" y="1377"/>
                      </a:lnTo>
                      <a:lnTo>
                        <a:pt x="3902" y="1394"/>
                      </a:lnTo>
                      <a:lnTo>
                        <a:pt x="3885" y="1406"/>
                      </a:lnTo>
                      <a:lnTo>
                        <a:pt x="3885" y="1394"/>
                      </a:lnTo>
                      <a:lnTo>
                        <a:pt x="3871" y="1394"/>
                      </a:lnTo>
                      <a:lnTo>
                        <a:pt x="3796" y="1394"/>
                      </a:lnTo>
                      <a:lnTo>
                        <a:pt x="3800" y="1349"/>
                      </a:lnTo>
                      <a:lnTo>
                        <a:pt x="3817" y="1337"/>
                      </a:lnTo>
                      <a:lnTo>
                        <a:pt x="3843" y="1354"/>
                      </a:lnTo>
                      <a:lnTo>
                        <a:pt x="3848" y="1333"/>
                      </a:lnTo>
                      <a:lnTo>
                        <a:pt x="3864" y="1337"/>
                      </a:lnTo>
                      <a:lnTo>
                        <a:pt x="3864" y="1337"/>
                      </a:lnTo>
                      <a:lnTo>
                        <a:pt x="3864" y="1337"/>
                      </a:lnTo>
                      <a:close/>
                      <a:moveTo>
                        <a:pt x="3704" y="1387"/>
                      </a:moveTo>
                      <a:lnTo>
                        <a:pt x="3725" y="1394"/>
                      </a:lnTo>
                      <a:lnTo>
                        <a:pt x="3708" y="1411"/>
                      </a:lnTo>
                      <a:lnTo>
                        <a:pt x="3741" y="1415"/>
                      </a:lnTo>
                      <a:lnTo>
                        <a:pt x="3708" y="1444"/>
                      </a:lnTo>
                      <a:lnTo>
                        <a:pt x="3670" y="1427"/>
                      </a:lnTo>
                      <a:lnTo>
                        <a:pt x="3682" y="1411"/>
                      </a:lnTo>
                      <a:lnTo>
                        <a:pt x="3682" y="1394"/>
                      </a:lnTo>
                      <a:lnTo>
                        <a:pt x="3704" y="1387"/>
                      </a:lnTo>
                      <a:lnTo>
                        <a:pt x="3704" y="1387"/>
                      </a:lnTo>
                      <a:lnTo>
                        <a:pt x="3704" y="1387"/>
                      </a:lnTo>
                      <a:close/>
                      <a:moveTo>
                        <a:pt x="1084" y="1432"/>
                      </a:moveTo>
                      <a:lnTo>
                        <a:pt x="1096" y="1432"/>
                      </a:lnTo>
                      <a:lnTo>
                        <a:pt x="1074" y="1432"/>
                      </a:lnTo>
                      <a:lnTo>
                        <a:pt x="1084" y="1432"/>
                      </a:lnTo>
                      <a:lnTo>
                        <a:pt x="1084" y="1432"/>
                      </a:lnTo>
                      <a:lnTo>
                        <a:pt x="1084" y="1432"/>
                      </a:lnTo>
                      <a:close/>
                      <a:moveTo>
                        <a:pt x="3833" y="1444"/>
                      </a:moveTo>
                      <a:lnTo>
                        <a:pt x="3833" y="1448"/>
                      </a:lnTo>
                      <a:lnTo>
                        <a:pt x="3826" y="1448"/>
                      </a:lnTo>
                      <a:lnTo>
                        <a:pt x="3817" y="1432"/>
                      </a:lnTo>
                      <a:lnTo>
                        <a:pt x="3833" y="1444"/>
                      </a:lnTo>
                      <a:lnTo>
                        <a:pt x="3833" y="1444"/>
                      </a:lnTo>
                      <a:lnTo>
                        <a:pt x="3833" y="1444"/>
                      </a:lnTo>
                      <a:close/>
                      <a:moveTo>
                        <a:pt x="3810" y="1448"/>
                      </a:moveTo>
                      <a:lnTo>
                        <a:pt x="3800" y="1460"/>
                      </a:lnTo>
                      <a:lnTo>
                        <a:pt x="3772" y="1460"/>
                      </a:lnTo>
                      <a:lnTo>
                        <a:pt x="3800" y="1444"/>
                      </a:lnTo>
                      <a:lnTo>
                        <a:pt x="3810" y="1448"/>
                      </a:lnTo>
                      <a:lnTo>
                        <a:pt x="3810" y="1448"/>
                      </a:lnTo>
                      <a:lnTo>
                        <a:pt x="3810" y="1448"/>
                      </a:lnTo>
                      <a:close/>
                      <a:moveTo>
                        <a:pt x="1117" y="1448"/>
                      </a:moveTo>
                      <a:lnTo>
                        <a:pt x="1100" y="1460"/>
                      </a:lnTo>
                      <a:lnTo>
                        <a:pt x="1117" y="1448"/>
                      </a:lnTo>
                      <a:lnTo>
                        <a:pt x="1117" y="1448"/>
                      </a:lnTo>
                      <a:lnTo>
                        <a:pt x="1117" y="1448"/>
                      </a:lnTo>
                      <a:close/>
                      <a:moveTo>
                        <a:pt x="1126" y="1448"/>
                      </a:moveTo>
                      <a:lnTo>
                        <a:pt x="1133" y="1460"/>
                      </a:lnTo>
                      <a:lnTo>
                        <a:pt x="1117" y="1460"/>
                      </a:lnTo>
                      <a:lnTo>
                        <a:pt x="1126" y="1448"/>
                      </a:lnTo>
                      <a:lnTo>
                        <a:pt x="1126" y="1448"/>
                      </a:lnTo>
                      <a:lnTo>
                        <a:pt x="1126" y="1448"/>
                      </a:lnTo>
                      <a:close/>
                      <a:moveTo>
                        <a:pt x="1100" y="1465"/>
                      </a:moveTo>
                      <a:lnTo>
                        <a:pt x="1164" y="1465"/>
                      </a:lnTo>
                      <a:lnTo>
                        <a:pt x="1084" y="1465"/>
                      </a:lnTo>
                      <a:lnTo>
                        <a:pt x="1100" y="1465"/>
                      </a:lnTo>
                      <a:lnTo>
                        <a:pt x="1100" y="1465"/>
                      </a:lnTo>
                      <a:lnTo>
                        <a:pt x="1100" y="1465"/>
                      </a:lnTo>
                      <a:close/>
                      <a:moveTo>
                        <a:pt x="3649" y="1472"/>
                      </a:moveTo>
                      <a:lnTo>
                        <a:pt x="3682" y="1481"/>
                      </a:lnTo>
                      <a:lnTo>
                        <a:pt x="3687" y="1498"/>
                      </a:lnTo>
                      <a:lnTo>
                        <a:pt x="3708" y="1514"/>
                      </a:lnTo>
                      <a:lnTo>
                        <a:pt x="3633" y="1526"/>
                      </a:lnTo>
                      <a:lnTo>
                        <a:pt x="3578" y="1505"/>
                      </a:lnTo>
                      <a:lnTo>
                        <a:pt x="3611" y="1481"/>
                      </a:lnTo>
                      <a:lnTo>
                        <a:pt x="3649" y="1472"/>
                      </a:lnTo>
                      <a:lnTo>
                        <a:pt x="3649" y="1472"/>
                      </a:lnTo>
                      <a:lnTo>
                        <a:pt x="3649" y="1472"/>
                      </a:lnTo>
                      <a:close/>
                      <a:moveTo>
                        <a:pt x="3708" y="1543"/>
                      </a:moveTo>
                      <a:lnTo>
                        <a:pt x="3720" y="1555"/>
                      </a:lnTo>
                      <a:lnTo>
                        <a:pt x="3704" y="1555"/>
                      </a:lnTo>
                      <a:lnTo>
                        <a:pt x="3708" y="1543"/>
                      </a:lnTo>
                      <a:lnTo>
                        <a:pt x="3708" y="1543"/>
                      </a:lnTo>
                      <a:lnTo>
                        <a:pt x="3708" y="1543"/>
                      </a:lnTo>
                      <a:close/>
                      <a:moveTo>
                        <a:pt x="1171" y="1571"/>
                      </a:moveTo>
                      <a:lnTo>
                        <a:pt x="1138" y="1555"/>
                      </a:lnTo>
                      <a:lnTo>
                        <a:pt x="1193" y="1559"/>
                      </a:lnTo>
                      <a:lnTo>
                        <a:pt x="1171" y="1571"/>
                      </a:lnTo>
                      <a:lnTo>
                        <a:pt x="1171" y="1571"/>
                      </a:lnTo>
                      <a:lnTo>
                        <a:pt x="1171" y="1571"/>
                      </a:lnTo>
                      <a:close/>
                      <a:moveTo>
                        <a:pt x="1155" y="1583"/>
                      </a:moveTo>
                      <a:lnTo>
                        <a:pt x="1171" y="1583"/>
                      </a:lnTo>
                      <a:lnTo>
                        <a:pt x="1126" y="1583"/>
                      </a:lnTo>
                      <a:lnTo>
                        <a:pt x="1155" y="1583"/>
                      </a:lnTo>
                      <a:lnTo>
                        <a:pt x="1155" y="1583"/>
                      </a:lnTo>
                      <a:lnTo>
                        <a:pt x="1155" y="1583"/>
                      </a:lnTo>
                      <a:close/>
                      <a:moveTo>
                        <a:pt x="1164" y="1600"/>
                      </a:moveTo>
                      <a:lnTo>
                        <a:pt x="1155" y="1600"/>
                      </a:lnTo>
                      <a:lnTo>
                        <a:pt x="1171" y="1583"/>
                      </a:lnTo>
                      <a:lnTo>
                        <a:pt x="1181" y="1592"/>
                      </a:lnTo>
                      <a:lnTo>
                        <a:pt x="1164" y="1600"/>
                      </a:lnTo>
                      <a:lnTo>
                        <a:pt x="1164" y="1600"/>
                      </a:lnTo>
                      <a:lnTo>
                        <a:pt x="1164" y="1600"/>
                      </a:lnTo>
                      <a:close/>
                      <a:moveTo>
                        <a:pt x="1193" y="1600"/>
                      </a:moveTo>
                      <a:lnTo>
                        <a:pt x="1235" y="1616"/>
                      </a:lnTo>
                      <a:lnTo>
                        <a:pt x="1209" y="1626"/>
                      </a:lnTo>
                      <a:lnTo>
                        <a:pt x="1219" y="1609"/>
                      </a:lnTo>
                      <a:lnTo>
                        <a:pt x="1188" y="1600"/>
                      </a:lnTo>
                      <a:lnTo>
                        <a:pt x="1193" y="1600"/>
                      </a:lnTo>
                      <a:lnTo>
                        <a:pt x="1193" y="1600"/>
                      </a:lnTo>
                      <a:lnTo>
                        <a:pt x="1193" y="1600"/>
                      </a:lnTo>
                      <a:close/>
                      <a:moveTo>
                        <a:pt x="1193" y="1609"/>
                      </a:moveTo>
                      <a:lnTo>
                        <a:pt x="1209" y="1616"/>
                      </a:lnTo>
                      <a:lnTo>
                        <a:pt x="1188" y="1616"/>
                      </a:lnTo>
                      <a:lnTo>
                        <a:pt x="1193" y="1609"/>
                      </a:lnTo>
                      <a:lnTo>
                        <a:pt x="1193" y="1609"/>
                      </a:lnTo>
                      <a:lnTo>
                        <a:pt x="1193" y="1609"/>
                      </a:lnTo>
                      <a:close/>
                      <a:moveTo>
                        <a:pt x="3406" y="1616"/>
                      </a:moveTo>
                      <a:lnTo>
                        <a:pt x="3493" y="1649"/>
                      </a:lnTo>
                      <a:lnTo>
                        <a:pt x="3368" y="1633"/>
                      </a:lnTo>
                      <a:lnTo>
                        <a:pt x="3507" y="1654"/>
                      </a:lnTo>
                      <a:lnTo>
                        <a:pt x="3406" y="1670"/>
                      </a:lnTo>
                      <a:lnTo>
                        <a:pt x="3314" y="1649"/>
                      </a:lnTo>
                      <a:lnTo>
                        <a:pt x="3352" y="1626"/>
                      </a:lnTo>
                      <a:lnTo>
                        <a:pt x="3406" y="1616"/>
                      </a:lnTo>
                      <a:lnTo>
                        <a:pt x="3406" y="1616"/>
                      </a:lnTo>
                      <a:lnTo>
                        <a:pt x="3406" y="1616"/>
                      </a:lnTo>
                      <a:close/>
                      <a:moveTo>
                        <a:pt x="1193" y="1626"/>
                      </a:moveTo>
                      <a:lnTo>
                        <a:pt x="1202" y="1626"/>
                      </a:lnTo>
                      <a:lnTo>
                        <a:pt x="1188" y="1633"/>
                      </a:lnTo>
                      <a:lnTo>
                        <a:pt x="1193" y="1626"/>
                      </a:lnTo>
                      <a:lnTo>
                        <a:pt x="1193" y="1626"/>
                      </a:lnTo>
                      <a:lnTo>
                        <a:pt x="1193" y="1626"/>
                      </a:lnTo>
                      <a:close/>
                      <a:moveTo>
                        <a:pt x="1209" y="1626"/>
                      </a:moveTo>
                      <a:lnTo>
                        <a:pt x="1219" y="1633"/>
                      </a:lnTo>
                      <a:lnTo>
                        <a:pt x="1202" y="1633"/>
                      </a:lnTo>
                      <a:lnTo>
                        <a:pt x="1209" y="1626"/>
                      </a:lnTo>
                      <a:lnTo>
                        <a:pt x="1209" y="1626"/>
                      </a:lnTo>
                      <a:lnTo>
                        <a:pt x="1209" y="1626"/>
                      </a:lnTo>
                      <a:close/>
                      <a:moveTo>
                        <a:pt x="1202" y="1637"/>
                      </a:moveTo>
                      <a:lnTo>
                        <a:pt x="1188" y="1666"/>
                      </a:lnTo>
                      <a:lnTo>
                        <a:pt x="1193" y="1649"/>
                      </a:lnTo>
                      <a:lnTo>
                        <a:pt x="1202" y="1637"/>
                      </a:lnTo>
                      <a:lnTo>
                        <a:pt x="1202" y="1637"/>
                      </a:lnTo>
                      <a:lnTo>
                        <a:pt x="1202" y="1637"/>
                      </a:lnTo>
                      <a:close/>
                      <a:moveTo>
                        <a:pt x="1181" y="1649"/>
                      </a:moveTo>
                      <a:lnTo>
                        <a:pt x="1181" y="1654"/>
                      </a:lnTo>
                      <a:lnTo>
                        <a:pt x="1171" y="1654"/>
                      </a:lnTo>
                      <a:lnTo>
                        <a:pt x="1181" y="1649"/>
                      </a:lnTo>
                      <a:lnTo>
                        <a:pt x="1181" y="1649"/>
                      </a:lnTo>
                      <a:lnTo>
                        <a:pt x="1181" y="1649"/>
                      </a:lnTo>
                      <a:close/>
                      <a:moveTo>
                        <a:pt x="3583" y="1720"/>
                      </a:moveTo>
                      <a:lnTo>
                        <a:pt x="3541" y="1720"/>
                      </a:lnTo>
                      <a:lnTo>
                        <a:pt x="3503" y="1694"/>
                      </a:lnTo>
                      <a:lnTo>
                        <a:pt x="3401" y="1687"/>
                      </a:lnTo>
                      <a:lnTo>
                        <a:pt x="3394" y="1682"/>
                      </a:lnTo>
                      <a:lnTo>
                        <a:pt x="3493" y="1670"/>
                      </a:lnTo>
                      <a:lnTo>
                        <a:pt x="3545" y="1682"/>
                      </a:lnTo>
                      <a:lnTo>
                        <a:pt x="3583" y="1687"/>
                      </a:lnTo>
                      <a:lnTo>
                        <a:pt x="3562" y="1703"/>
                      </a:lnTo>
                      <a:lnTo>
                        <a:pt x="3578" y="1711"/>
                      </a:lnTo>
                      <a:lnTo>
                        <a:pt x="3583" y="1720"/>
                      </a:lnTo>
                      <a:lnTo>
                        <a:pt x="3583" y="1720"/>
                      </a:lnTo>
                      <a:lnTo>
                        <a:pt x="3583" y="1720"/>
                      </a:lnTo>
                      <a:close/>
                      <a:moveTo>
                        <a:pt x="1209" y="1670"/>
                      </a:moveTo>
                      <a:lnTo>
                        <a:pt x="1219" y="1670"/>
                      </a:lnTo>
                      <a:lnTo>
                        <a:pt x="1202" y="1670"/>
                      </a:lnTo>
                      <a:lnTo>
                        <a:pt x="1209" y="1670"/>
                      </a:lnTo>
                      <a:lnTo>
                        <a:pt x="1209" y="1670"/>
                      </a:lnTo>
                      <a:lnTo>
                        <a:pt x="1209" y="1670"/>
                      </a:lnTo>
                      <a:close/>
                      <a:moveTo>
                        <a:pt x="1240" y="1687"/>
                      </a:moveTo>
                      <a:lnTo>
                        <a:pt x="1219" y="1682"/>
                      </a:lnTo>
                      <a:lnTo>
                        <a:pt x="1226" y="1670"/>
                      </a:lnTo>
                      <a:lnTo>
                        <a:pt x="1256" y="1682"/>
                      </a:lnTo>
                      <a:lnTo>
                        <a:pt x="1240" y="1687"/>
                      </a:lnTo>
                      <a:lnTo>
                        <a:pt x="1240" y="1687"/>
                      </a:lnTo>
                      <a:lnTo>
                        <a:pt x="1240" y="1687"/>
                      </a:lnTo>
                      <a:close/>
                      <a:moveTo>
                        <a:pt x="3385" y="1687"/>
                      </a:moveTo>
                      <a:lnTo>
                        <a:pt x="3380" y="1711"/>
                      </a:lnTo>
                      <a:lnTo>
                        <a:pt x="3352" y="1703"/>
                      </a:lnTo>
                      <a:lnTo>
                        <a:pt x="3385" y="1687"/>
                      </a:lnTo>
                      <a:lnTo>
                        <a:pt x="3385" y="1687"/>
                      </a:lnTo>
                      <a:lnTo>
                        <a:pt x="3385" y="1687"/>
                      </a:lnTo>
                      <a:close/>
                      <a:moveTo>
                        <a:pt x="1226" y="1694"/>
                      </a:moveTo>
                      <a:lnTo>
                        <a:pt x="1240" y="1694"/>
                      </a:lnTo>
                      <a:lnTo>
                        <a:pt x="1226" y="1703"/>
                      </a:lnTo>
                      <a:lnTo>
                        <a:pt x="1226" y="1694"/>
                      </a:lnTo>
                      <a:lnTo>
                        <a:pt x="1226" y="1694"/>
                      </a:lnTo>
                      <a:lnTo>
                        <a:pt x="1226" y="1694"/>
                      </a:lnTo>
                      <a:close/>
                      <a:moveTo>
                        <a:pt x="3557" y="1798"/>
                      </a:moveTo>
                      <a:lnTo>
                        <a:pt x="3439" y="1748"/>
                      </a:lnTo>
                      <a:lnTo>
                        <a:pt x="3406" y="1737"/>
                      </a:lnTo>
                      <a:lnTo>
                        <a:pt x="3401" y="1703"/>
                      </a:lnTo>
                      <a:lnTo>
                        <a:pt x="3503" y="1694"/>
                      </a:lnTo>
                      <a:lnTo>
                        <a:pt x="3531" y="1727"/>
                      </a:lnTo>
                      <a:lnTo>
                        <a:pt x="3583" y="1748"/>
                      </a:lnTo>
                      <a:lnTo>
                        <a:pt x="3578" y="1760"/>
                      </a:lnTo>
                      <a:lnTo>
                        <a:pt x="3524" y="1748"/>
                      </a:lnTo>
                      <a:lnTo>
                        <a:pt x="3574" y="1777"/>
                      </a:lnTo>
                      <a:lnTo>
                        <a:pt x="3574" y="1793"/>
                      </a:lnTo>
                      <a:lnTo>
                        <a:pt x="3557" y="1798"/>
                      </a:lnTo>
                      <a:lnTo>
                        <a:pt x="3557" y="1798"/>
                      </a:lnTo>
                      <a:lnTo>
                        <a:pt x="3557" y="1798"/>
                      </a:lnTo>
                      <a:close/>
                      <a:moveTo>
                        <a:pt x="1247" y="1694"/>
                      </a:moveTo>
                      <a:lnTo>
                        <a:pt x="1263" y="1703"/>
                      </a:lnTo>
                      <a:lnTo>
                        <a:pt x="1226" y="1737"/>
                      </a:lnTo>
                      <a:lnTo>
                        <a:pt x="1235" y="1727"/>
                      </a:lnTo>
                      <a:lnTo>
                        <a:pt x="1202" y="1727"/>
                      </a:lnTo>
                      <a:lnTo>
                        <a:pt x="1219" y="1711"/>
                      </a:lnTo>
                      <a:lnTo>
                        <a:pt x="1247" y="1694"/>
                      </a:lnTo>
                      <a:lnTo>
                        <a:pt x="1247" y="1694"/>
                      </a:lnTo>
                      <a:lnTo>
                        <a:pt x="1247" y="1694"/>
                      </a:lnTo>
                      <a:close/>
                      <a:moveTo>
                        <a:pt x="1202" y="1703"/>
                      </a:moveTo>
                      <a:lnTo>
                        <a:pt x="1209" y="1703"/>
                      </a:lnTo>
                      <a:lnTo>
                        <a:pt x="1193" y="1703"/>
                      </a:lnTo>
                      <a:lnTo>
                        <a:pt x="1202" y="1703"/>
                      </a:lnTo>
                      <a:lnTo>
                        <a:pt x="1202" y="1703"/>
                      </a:lnTo>
                      <a:lnTo>
                        <a:pt x="1202" y="1703"/>
                      </a:lnTo>
                      <a:close/>
                      <a:moveTo>
                        <a:pt x="1219" y="1711"/>
                      </a:moveTo>
                      <a:lnTo>
                        <a:pt x="1193" y="1727"/>
                      </a:lnTo>
                      <a:lnTo>
                        <a:pt x="1181" y="1720"/>
                      </a:lnTo>
                      <a:lnTo>
                        <a:pt x="1219" y="1711"/>
                      </a:lnTo>
                      <a:lnTo>
                        <a:pt x="1219" y="1711"/>
                      </a:lnTo>
                      <a:lnTo>
                        <a:pt x="1219" y="1711"/>
                      </a:lnTo>
                      <a:close/>
                      <a:moveTo>
                        <a:pt x="1263" y="1711"/>
                      </a:moveTo>
                      <a:lnTo>
                        <a:pt x="1278" y="1720"/>
                      </a:lnTo>
                      <a:lnTo>
                        <a:pt x="1256" y="1720"/>
                      </a:lnTo>
                      <a:lnTo>
                        <a:pt x="1263" y="1711"/>
                      </a:lnTo>
                      <a:lnTo>
                        <a:pt x="1263" y="1711"/>
                      </a:lnTo>
                      <a:lnTo>
                        <a:pt x="1263" y="1711"/>
                      </a:lnTo>
                      <a:close/>
                      <a:moveTo>
                        <a:pt x="1263" y="1720"/>
                      </a:moveTo>
                      <a:lnTo>
                        <a:pt x="1263" y="1727"/>
                      </a:lnTo>
                      <a:lnTo>
                        <a:pt x="1247" y="1737"/>
                      </a:lnTo>
                      <a:lnTo>
                        <a:pt x="1247" y="1720"/>
                      </a:lnTo>
                      <a:lnTo>
                        <a:pt x="1263" y="1720"/>
                      </a:lnTo>
                      <a:lnTo>
                        <a:pt x="1263" y="1720"/>
                      </a:lnTo>
                      <a:lnTo>
                        <a:pt x="1263" y="1720"/>
                      </a:lnTo>
                      <a:close/>
                      <a:moveTo>
                        <a:pt x="1202" y="1737"/>
                      </a:moveTo>
                      <a:lnTo>
                        <a:pt x="1193" y="1737"/>
                      </a:lnTo>
                      <a:lnTo>
                        <a:pt x="1219" y="1737"/>
                      </a:lnTo>
                      <a:lnTo>
                        <a:pt x="1202" y="1737"/>
                      </a:lnTo>
                      <a:lnTo>
                        <a:pt x="1202" y="1737"/>
                      </a:lnTo>
                      <a:lnTo>
                        <a:pt x="1202" y="1737"/>
                      </a:lnTo>
                      <a:close/>
                      <a:moveTo>
                        <a:pt x="1263" y="1760"/>
                      </a:moveTo>
                      <a:lnTo>
                        <a:pt x="1263" y="1777"/>
                      </a:lnTo>
                      <a:lnTo>
                        <a:pt x="1240" y="1793"/>
                      </a:lnTo>
                      <a:lnTo>
                        <a:pt x="1219" y="1793"/>
                      </a:lnTo>
                      <a:lnTo>
                        <a:pt x="1263" y="1760"/>
                      </a:lnTo>
                      <a:lnTo>
                        <a:pt x="1263" y="1760"/>
                      </a:lnTo>
                      <a:lnTo>
                        <a:pt x="1263" y="1760"/>
                      </a:lnTo>
                      <a:close/>
                      <a:moveTo>
                        <a:pt x="1226" y="1822"/>
                      </a:moveTo>
                      <a:lnTo>
                        <a:pt x="1235" y="1831"/>
                      </a:lnTo>
                      <a:lnTo>
                        <a:pt x="1226" y="1838"/>
                      </a:lnTo>
                      <a:lnTo>
                        <a:pt x="1209" y="1831"/>
                      </a:lnTo>
                      <a:lnTo>
                        <a:pt x="1226" y="1822"/>
                      </a:lnTo>
                      <a:lnTo>
                        <a:pt x="1226" y="1822"/>
                      </a:lnTo>
                      <a:lnTo>
                        <a:pt x="1226" y="1822"/>
                      </a:lnTo>
                      <a:close/>
                      <a:moveTo>
                        <a:pt x="1386" y="1876"/>
                      </a:moveTo>
                      <a:lnTo>
                        <a:pt x="1370" y="1871"/>
                      </a:lnTo>
                      <a:lnTo>
                        <a:pt x="1370" y="1864"/>
                      </a:lnTo>
                      <a:lnTo>
                        <a:pt x="1419" y="1864"/>
                      </a:lnTo>
                      <a:lnTo>
                        <a:pt x="1386" y="1876"/>
                      </a:lnTo>
                      <a:lnTo>
                        <a:pt x="1386" y="1876"/>
                      </a:lnTo>
                      <a:lnTo>
                        <a:pt x="1386" y="1876"/>
                      </a:lnTo>
                      <a:close/>
                      <a:moveTo>
                        <a:pt x="1398" y="1904"/>
                      </a:moveTo>
                      <a:lnTo>
                        <a:pt x="1441" y="1904"/>
                      </a:lnTo>
                      <a:lnTo>
                        <a:pt x="1452" y="1909"/>
                      </a:lnTo>
                      <a:lnTo>
                        <a:pt x="1408" y="1926"/>
                      </a:lnTo>
                      <a:lnTo>
                        <a:pt x="1398" y="1921"/>
                      </a:lnTo>
                      <a:lnTo>
                        <a:pt x="1398" y="1904"/>
                      </a:lnTo>
                      <a:lnTo>
                        <a:pt x="1398" y="1904"/>
                      </a:lnTo>
                      <a:lnTo>
                        <a:pt x="1398" y="1904"/>
                      </a:lnTo>
                      <a:close/>
                      <a:moveTo>
                        <a:pt x="1365" y="1909"/>
                      </a:moveTo>
                      <a:lnTo>
                        <a:pt x="1382" y="1926"/>
                      </a:lnTo>
                      <a:lnTo>
                        <a:pt x="1370" y="1942"/>
                      </a:lnTo>
                      <a:lnTo>
                        <a:pt x="1353" y="1942"/>
                      </a:lnTo>
                      <a:lnTo>
                        <a:pt x="1332" y="1933"/>
                      </a:lnTo>
                      <a:lnTo>
                        <a:pt x="1365" y="1909"/>
                      </a:lnTo>
                      <a:lnTo>
                        <a:pt x="1365" y="1909"/>
                      </a:lnTo>
                      <a:lnTo>
                        <a:pt x="1365" y="1909"/>
                      </a:lnTo>
                      <a:close/>
                      <a:moveTo>
                        <a:pt x="3347" y="1921"/>
                      </a:moveTo>
                      <a:lnTo>
                        <a:pt x="3347" y="1926"/>
                      </a:lnTo>
                      <a:lnTo>
                        <a:pt x="3330" y="1926"/>
                      </a:lnTo>
                      <a:lnTo>
                        <a:pt x="3347" y="1921"/>
                      </a:lnTo>
                      <a:lnTo>
                        <a:pt x="3347" y="1921"/>
                      </a:lnTo>
                      <a:lnTo>
                        <a:pt x="3347" y="1921"/>
                      </a:lnTo>
                      <a:close/>
                      <a:moveTo>
                        <a:pt x="3342" y="1933"/>
                      </a:moveTo>
                      <a:lnTo>
                        <a:pt x="3347" y="1942"/>
                      </a:lnTo>
                      <a:lnTo>
                        <a:pt x="3326" y="1933"/>
                      </a:lnTo>
                      <a:lnTo>
                        <a:pt x="3342" y="1933"/>
                      </a:lnTo>
                      <a:lnTo>
                        <a:pt x="3342" y="1933"/>
                      </a:lnTo>
                      <a:lnTo>
                        <a:pt x="3342" y="1933"/>
                      </a:lnTo>
                      <a:close/>
                      <a:moveTo>
                        <a:pt x="3288" y="2003"/>
                      </a:moveTo>
                      <a:lnTo>
                        <a:pt x="3146" y="2020"/>
                      </a:lnTo>
                      <a:lnTo>
                        <a:pt x="3153" y="1999"/>
                      </a:lnTo>
                      <a:lnTo>
                        <a:pt x="3179" y="1987"/>
                      </a:lnTo>
                      <a:lnTo>
                        <a:pt x="3217" y="1966"/>
                      </a:lnTo>
                      <a:lnTo>
                        <a:pt x="3276" y="1959"/>
                      </a:lnTo>
                      <a:lnTo>
                        <a:pt x="3314" y="1933"/>
                      </a:lnTo>
                      <a:lnTo>
                        <a:pt x="3314" y="1949"/>
                      </a:lnTo>
                      <a:lnTo>
                        <a:pt x="3342" y="1959"/>
                      </a:lnTo>
                      <a:lnTo>
                        <a:pt x="3347" y="1987"/>
                      </a:lnTo>
                      <a:lnTo>
                        <a:pt x="3288" y="2003"/>
                      </a:lnTo>
                      <a:lnTo>
                        <a:pt x="3288" y="2003"/>
                      </a:lnTo>
                      <a:lnTo>
                        <a:pt x="3288" y="2003"/>
                      </a:lnTo>
                      <a:close/>
                      <a:moveTo>
                        <a:pt x="1478" y="1949"/>
                      </a:moveTo>
                      <a:lnTo>
                        <a:pt x="1504" y="1966"/>
                      </a:lnTo>
                      <a:lnTo>
                        <a:pt x="1462" y="1959"/>
                      </a:lnTo>
                      <a:lnTo>
                        <a:pt x="1478" y="1949"/>
                      </a:lnTo>
                      <a:lnTo>
                        <a:pt x="1478" y="1949"/>
                      </a:lnTo>
                      <a:lnTo>
                        <a:pt x="1478" y="1949"/>
                      </a:lnTo>
                      <a:close/>
                      <a:moveTo>
                        <a:pt x="3205" y="1966"/>
                      </a:moveTo>
                      <a:lnTo>
                        <a:pt x="3179" y="1982"/>
                      </a:lnTo>
                      <a:lnTo>
                        <a:pt x="3179" y="1966"/>
                      </a:lnTo>
                      <a:lnTo>
                        <a:pt x="3205" y="1966"/>
                      </a:lnTo>
                      <a:lnTo>
                        <a:pt x="3205" y="1966"/>
                      </a:lnTo>
                      <a:lnTo>
                        <a:pt x="3205" y="1966"/>
                      </a:lnTo>
                      <a:close/>
                      <a:moveTo>
                        <a:pt x="1263" y="2015"/>
                      </a:moveTo>
                      <a:lnTo>
                        <a:pt x="1289" y="2032"/>
                      </a:lnTo>
                      <a:lnTo>
                        <a:pt x="1273" y="2032"/>
                      </a:lnTo>
                      <a:lnTo>
                        <a:pt x="1263" y="2020"/>
                      </a:lnTo>
                      <a:lnTo>
                        <a:pt x="1263" y="2015"/>
                      </a:lnTo>
                      <a:lnTo>
                        <a:pt x="1263" y="2015"/>
                      </a:lnTo>
                      <a:lnTo>
                        <a:pt x="1263" y="2015"/>
                      </a:lnTo>
                      <a:close/>
                      <a:moveTo>
                        <a:pt x="1315" y="2155"/>
                      </a:moveTo>
                      <a:lnTo>
                        <a:pt x="1382" y="2148"/>
                      </a:lnTo>
                      <a:lnTo>
                        <a:pt x="1365" y="2148"/>
                      </a:lnTo>
                      <a:lnTo>
                        <a:pt x="1382" y="2131"/>
                      </a:lnTo>
                      <a:lnTo>
                        <a:pt x="1348" y="2148"/>
                      </a:lnTo>
                      <a:lnTo>
                        <a:pt x="1344" y="2148"/>
                      </a:lnTo>
                      <a:lnTo>
                        <a:pt x="1353" y="2143"/>
                      </a:lnTo>
                      <a:lnTo>
                        <a:pt x="1332" y="2143"/>
                      </a:lnTo>
                      <a:lnTo>
                        <a:pt x="1344" y="2131"/>
                      </a:lnTo>
                      <a:lnTo>
                        <a:pt x="1344" y="2126"/>
                      </a:lnTo>
                      <a:lnTo>
                        <a:pt x="1327" y="2131"/>
                      </a:lnTo>
                      <a:lnTo>
                        <a:pt x="1278" y="2126"/>
                      </a:lnTo>
                      <a:lnTo>
                        <a:pt x="1263" y="2114"/>
                      </a:lnTo>
                      <a:lnTo>
                        <a:pt x="1289" y="2110"/>
                      </a:lnTo>
                      <a:lnTo>
                        <a:pt x="1311" y="2114"/>
                      </a:lnTo>
                      <a:lnTo>
                        <a:pt x="1273" y="2098"/>
                      </a:lnTo>
                      <a:lnTo>
                        <a:pt x="1273" y="2086"/>
                      </a:lnTo>
                      <a:lnTo>
                        <a:pt x="1315" y="2086"/>
                      </a:lnTo>
                      <a:lnTo>
                        <a:pt x="1278" y="2070"/>
                      </a:lnTo>
                      <a:lnTo>
                        <a:pt x="1278" y="2053"/>
                      </a:lnTo>
                      <a:lnTo>
                        <a:pt x="1311" y="2037"/>
                      </a:lnTo>
                      <a:lnTo>
                        <a:pt x="1370" y="2044"/>
                      </a:lnTo>
                      <a:lnTo>
                        <a:pt x="1424" y="2086"/>
                      </a:lnTo>
                      <a:lnTo>
                        <a:pt x="1478" y="2098"/>
                      </a:lnTo>
                      <a:lnTo>
                        <a:pt x="1478" y="2110"/>
                      </a:lnTo>
                      <a:lnTo>
                        <a:pt x="1474" y="2114"/>
                      </a:lnTo>
                      <a:lnTo>
                        <a:pt x="1490" y="2126"/>
                      </a:lnTo>
                      <a:lnTo>
                        <a:pt x="1457" y="2148"/>
                      </a:lnTo>
                      <a:lnTo>
                        <a:pt x="1365" y="2171"/>
                      </a:lnTo>
                      <a:lnTo>
                        <a:pt x="1315" y="2155"/>
                      </a:lnTo>
                      <a:lnTo>
                        <a:pt x="1315" y="2155"/>
                      </a:lnTo>
                      <a:lnTo>
                        <a:pt x="1315" y="2155"/>
                      </a:lnTo>
                      <a:close/>
                      <a:moveTo>
                        <a:pt x="1542" y="2086"/>
                      </a:moveTo>
                      <a:lnTo>
                        <a:pt x="1570" y="2098"/>
                      </a:lnTo>
                      <a:lnTo>
                        <a:pt x="1549" y="2114"/>
                      </a:lnTo>
                      <a:lnTo>
                        <a:pt x="1549" y="2131"/>
                      </a:lnTo>
                      <a:lnTo>
                        <a:pt x="1528" y="2143"/>
                      </a:lnTo>
                      <a:lnTo>
                        <a:pt x="1516" y="2114"/>
                      </a:lnTo>
                      <a:lnTo>
                        <a:pt x="1542" y="2093"/>
                      </a:lnTo>
                      <a:lnTo>
                        <a:pt x="1516" y="2093"/>
                      </a:lnTo>
                      <a:lnTo>
                        <a:pt x="1542" y="2086"/>
                      </a:lnTo>
                      <a:lnTo>
                        <a:pt x="1542" y="2086"/>
                      </a:lnTo>
                      <a:lnTo>
                        <a:pt x="1542" y="2086"/>
                      </a:lnTo>
                      <a:close/>
                      <a:moveTo>
                        <a:pt x="3493" y="2110"/>
                      </a:moveTo>
                      <a:lnTo>
                        <a:pt x="3493" y="2114"/>
                      </a:lnTo>
                      <a:lnTo>
                        <a:pt x="3486" y="2126"/>
                      </a:lnTo>
                      <a:lnTo>
                        <a:pt x="3470" y="2114"/>
                      </a:lnTo>
                      <a:lnTo>
                        <a:pt x="3493" y="2110"/>
                      </a:lnTo>
                      <a:lnTo>
                        <a:pt x="3493" y="2110"/>
                      </a:lnTo>
                      <a:lnTo>
                        <a:pt x="3493" y="2110"/>
                      </a:lnTo>
                      <a:close/>
                      <a:moveTo>
                        <a:pt x="1462" y="2242"/>
                      </a:moveTo>
                      <a:lnTo>
                        <a:pt x="1398" y="2259"/>
                      </a:lnTo>
                      <a:lnTo>
                        <a:pt x="1436" y="2242"/>
                      </a:lnTo>
                      <a:lnTo>
                        <a:pt x="1462" y="2242"/>
                      </a:lnTo>
                      <a:lnTo>
                        <a:pt x="1462" y="2242"/>
                      </a:lnTo>
                      <a:lnTo>
                        <a:pt x="1462" y="2242"/>
                      </a:lnTo>
                      <a:close/>
                      <a:moveTo>
                        <a:pt x="1533" y="2242"/>
                      </a:moveTo>
                      <a:lnTo>
                        <a:pt x="1542" y="2254"/>
                      </a:lnTo>
                      <a:lnTo>
                        <a:pt x="1528" y="2254"/>
                      </a:lnTo>
                      <a:lnTo>
                        <a:pt x="1533" y="2242"/>
                      </a:lnTo>
                      <a:lnTo>
                        <a:pt x="1533" y="2242"/>
                      </a:lnTo>
                      <a:lnTo>
                        <a:pt x="1533" y="2242"/>
                      </a:lnTo>
                      <a:close/>
                      <a:moveTo>
                        <a:pt x="1436" y="2259"/>
                      </a:moveTo>
                      <a:lnTo>
                        <a:pt x="1441" y="2259"/>
                      </a:lnTo>
                      <a:lnTo>
                        <a:pt x="1424" y="2259"/>
                      </a:lnTo>
                      <a:lnTo>
                        <a:pt x="1436" y="2259"/>
                      </a:lnTo>
                      <a:lnTo>
                        <a:pt x="1436" y="2259"/>
                      </a:lnTo>
                      <a:lnTo>
                        <a:pt x="1436" y="2259"/>
                      </a:lnTo>
                      <a:close/>
                      <a:moveTo>
                        <a:pt x="1419" y="2259"/>
                      </a:moveTo>
                      <a:lnTo>
                        <a:pt x="1419" y="2266"/>
                      </a:lnTo>
                      <a:lnTo>
                        <a:pt x="1408" y="2259"/>
                      </a:lnTo>
                      <a:lnTo>
                        <a:pt x="1419" y="2259"/>
                      </a:lnTo>
                      <a:lnTo>
                        <a:pt x="1419" y="2259"/>
                      </a:lnTo>
                      <a:lnTo>
                        <a:pt x="1419" y="2259"/>
                      </a:lnTo>
                      <a:close/>
                      <a:moveTo>
                        <a:pt x="1403" y="2266"/>
                      </a:moveTo>
                      <a:lnTo>
                        <a:pt x="1408" y="2275"/>
                      </a:lnTo>
                      <a:lnTo>
                        <a:pt x="1386" y="2282"/>
                      </a:lnTo>
                      <a:lnTo>
                        <a:pt x="1403" y="2266"/>
                      </a:lnTo>
                      <a:lnTo>
                        <a:pt x="1403" y="2266"/>
                      </a:lnTo>
                      <a:lnTo>
                        <a:pt x="1403" y="2266"/>
                      </a:lnTo>
                      <a:close/>
                      <a:moveTo>
                        <a:pt x="1457" y="2308"/>
                      </a:moveTo>
                      <a:lnTo>
                        <a:pt x="1511" y="2299"/>
                      </a:lnTo>
                      <a:lnTo>
                        <a:pt x="1474" y="2315"/>
                      </a:lnTo>
                      <a:lnTo>
                        <a:pt x="1457" y="2308"/>
                      </a:lnTo>
                      <a:lnTo>
                        <a:pt x="1457" y="2308"/>
                      </a:lnTo>
                      <a:lnTo>
                        <a:pt x="1457" y="2308"/>
                      </a:lnTo>
                      <a:close/>
                      <a:moveTo>
                        <a:pt x="3040" y="2299"/>
                      </a:moveTo>
                      <a:lnTo>
                        <a:pt x="3028" y="2315"/>
                      </a:lnTo>
                      <a:lnTo>
                        <a:pt x="3016" y="2308"/>
                      </a:lnTo>
                      <a:lnTo>
                        <a:pt x="3040" y="2299"/>
                      </a:lnTo>
                      <a:lnTo>
                        <a:pt x="3040" y="2299"/>
                      </a:lnTo>
                      <a:lnTo>
                        <a:pt x="3040" y="2299"/>
                      </a:lnTo>
                      <a:close/>
                      <a:moveTo>
                        <a:pt x="2893" y="2308"/>
                      </a:moveTo>
                      <a:lnTo>
                        <a:pt x="2898" y="2308"/>
                      </a:lnTo>
                      <a:lnTo>
                        <a:pt x="2877" y="2308"/>
                      </a:lnTo>
                      <a:lnTo>
                        <a:pt x="2893" y="2308"/>
                      </a:lnTo>
                      <a:lnTo>
                        <a:pt x="2893" y="2308"/>
                      </a:lnTo>
                      <a:lnTo>
                        <a:pt x="2893" y="2308"/>
                      </a:lnTo>
                      <a:close/>
                      <a:moveTo>
                        <a:pt x="1478" y="2315"/>
                      </a:moveTo>
                      <a:lnTo>
                        <a:pt x="1533" y="2315"/>
                      </a:lnTo>
                      <a:lnTo>
                        <a:pt x="1474" y="2320"/>
                      </a:lnTo>
                      <a:lnTo>
                        <a:pt x="1478" y="2315"/>
                      </a:lnTo>
                      <a:lnTo>
                        <a:pt x="1478" y="2315"/>
                      </a:lnTo>
                      <a:lnTo>
                        <a:pt x="1478" y="2315"/>
                      </a:lnTo>
                      <a:close/>
                      <a:moveTo>
                        <a:pt x="1370" y="2320"/>
                      </a:moveTo>
                      <a:lnTo>
                        <a:pt x="1386" y="2320"/>
                      </a:lnTo>
                      <a:lnTo>
                        <a:pt x="1382" y="2332"/>
                      </a:lnTo>
                      <a:lnTo>
                        <a:pt x="1370" y="2320"/>
                      </a:lnTo>
                      <a:lnTo>
                        <a:pt x="1370" y="2320"/>
                      </a:lnTo>
                      <a:lnTo>
                        <a:pt x="1370" y="2320"/>
                      </a:lnTo>
                      <a:close/>
                      <a:moveTo>
                        <a:pt x="1353" y="2370"/>
                      </a:moveTo>
                      <a:lnTo>
                        <a:pt x="1348" y="2353"/>
                      </a:lnTo>
                      <a:lnTo>
                        <a:pt x="1365" y="2365"/>
                      </a:lnTo>
                      <a:lnTo>
                        <a:pt x="1353" y="2370"/>
                      </a:lnTo>
                      <a:lnTo>
                        <a:pt x="1353" y="2370"/>
                      </a:lnTo>
                      <a:lnTo>
                        <a:pt x="1353" y="2370"/>
                      </a:lnTo>
                      <a:close/>
                      <a:moveTo>
                        <a:pt x="2789" y="2410"/>
                      </a:moveTo>
                      <a:lnTo>
                        <a:pt x="2789" y="2419"/>
                      </a:lnTo>
                      <a:lnTo>
                        <a:pt x="2785" y="2410"/>
                      </a:lnTo>
                      <a:lnTo>
                        <a:pt x="2789" y="2410"/>
                      </a:lnTo>
                      <a:lnTo>
                        <a:pt x="2789" y="2410"/>
                      </a:lnTo>
                      <a:lnTo>
                        <a:pt x="2789" y="2410"/>
                      </a:lnTo>
                      <a:close/>
                      <a:moveTo>
                        <a:pt x="1408" y="2464"/>
                      </a:moveTo>
                      <a:lnTo>
                        <a:pt x="1370" y="2476"/>
                      </a:lnTo>
                      <a:lnTo>
                        <a:pt x="1382" y="2464"/>
                      </a:lnTo>
                      <a:lnTo>
                        <a:pt x="1408" y="2464"/>
                      </a:lnTo>
                      <a:lnTo>
                        <a:pt x="1408" y="2464"/>
                      </a:lnTo>
                      <a:lnTo>
                        <a:pt x="1408" y="2464"/>
                      </a:lnTo>
                      <a:close/>
                      <a:moveTo>
                        <a:pt x="2747" y="2464"/>
                      </a:moveTo>
                      <a:lnTo>
                        <a:pt x="2747" y="2476"/>
                      </a:lnTo>
                      <a:lnTo>
                        <a:pt x="2737" y="2481"/>
                      </a:lnTo>
                      <a:lnTo>
                        <a:pt x="2747" y="2464"/>
                      </a:lnTo>
                      <a:lnTo>
                        <a:pt x="2747" y="2464"/>
                      </a:lnTo>
                      <a:lnTo>
                        <a:pt x="2747" y="2464"/>
                      </a:lnTo>
                      <a:close/>
                      <a:moveTo>
                        <a:pt x="2629" y="2554"/>
                      </a:moveTo>
                      <a:lnTo>
                        <a:pt x="2629" y="2542"/>
                      </a:lnTo>
                      <a:lnTo>
                        <a:pt x="2638" y="2542"/>
                      </a:lnTo>
                      <a:lnTo>
                        <a:pt x="2629" y="2554"/>
                      </a:lnTo>
                      <a:lnTo>
                        <a:pt x="2629" y="2554"/>
                      </a:lnTo>
                      <a:lnTo>
                        <a:pt x="2629" y="2554"/>
                      </a:lnTo>
                      <a:close/>
                      <a:moveTo>
                        <a:pt x="1353" y="2570"/>
                      </a:moveTo>
                      <a:lnTo>
                        <a:pt x="1353" y="2559"/>
                      </a:lnTo>
                      <a:lnTo>
                        <a:pt x="1370" y="2559"/>
                      </a:lnTo>
                      <a:lnTo>
                        <a:pt x="1353" y="2570"/>
                      </a:lnTo>
                      <a:lnTo>
                        <a:pt x="1353" y="2570"/>
                      </a:lnTo>
                      <a:lnTo>
                        <a:pt x="1353" y="2570"/>
                      </a:lnTo>
                      <a:close/>
                      <a:moveTo>
                        <a:pt x="2541" y="2599"/>
                      </a:moveTo>
                      <a:lnTo>
                        <a:pt x="2541" y="2587"/>
                      </a:lnTo>
                      <a:lnTo>
                        <a:pt x="2558" y="2575"/>
                      </a:lnTo>
                      <a:lnTo>
                        <a:pt x="2541" y="2599"/>
                      </a:lnTo>
                      <a:lnTo>
                        <a:pt x="2541" y="2599"/>
                      </a:lnTo>
                      <a:lnTo>
                        <a:pt x="2541" y="2599"/>
                      </a:lnTo>
                      <a:close/>
                      <a:moveTo>
                        <a:pt x="2570" y="2592"/>
                      </a:moveTo>
                      <a:lnTo>
                        <a:pt x="2574" y="2587"/>
                      </a:lnTo>
                      <a:lnTo>
                        <a:pt x="2586" y="2587"/>
                      </a:lnTo>
                      <a:lnTo>
                        <a:pt x="2570" y="2592"/>
                      </a:lnTo>
                      <a:lnTo>
                        <a:pt x="2570" y="2592"/>
                      </a:lnTo>
                      <a:lnTo>
                        <a:pt x="2570" y="2592"/>
                      </a:lnTo>
                      <a:close/>
                      <a:moveTo>
                        <a:pt x="2478" y="2625"/>
                      </a:moveTo>
                      <a:lnTo>
                        <a:pt x="2461" y="2625"/>
                      </a:lnTo>
                      <a:lnTo>
                        <a:pt x="2461" y="2599"/>
                      </a:lnTo>
                      <a:lnTo>
                        <a:pt x="2482" y="2587"/>
                      </a:lnTo>
                      <a:lnTo>
                        <a:pt x="2504" y="2599"/>
                      </a:lnTo>
                      <a:lnTo>
                        <a:pt x="2487" y="2592"/>
                      </a:lnTo>
                      <a:lnTo>
                        <a:pt x="2504" y="2608"/>
                      </a:lnTo>
                      <a:lnTo>
                        <a:pt x="2482" y="2625"/>
                      </a:lnTo>
                      <a:lnTo>
                        <a:pt x="2478" y="2615"/>
                      </a:lnTo>
                      <a:lnTo>
                        <a:pt x="2482" y="2625"/>
                      </a:lnTo>
                      <a:lnTo>
                        <a:pt x="2478" y="2625"/>
                      </a:lnTo>
                      <a:lnTo>
                        <a:pt x="2478" y="2625"/>
                      </a:lnTo>
                      <a:lnTo>
                        <a:pt x="2478" y="2625"/>
                      </a:lnTo>
                      <a:close/>
                      <a:moveTo>
                        <a:pt x="2537" y="2608"/>
                      </a:moveTo>
                      <a:lnTo>
                        <a:pt x="2532" y="2592"/>
                      </a:lnTo>
                      <a:lnTo>
                        <a:pt x="2541" y="2592"/>
                      </a:lnTo>
                      <a:lnTo>
                        <a:pt x="2537" y="2608"/>
                      </a:lnTo>
                      <a:lnTo>
                        <a:pt x="2537" y="2608"/>
                      </a:lnTo>
                      <a:lnTo>
                        <a:pt x="2537" y="2608"/>
                      </a:lnTo>
                      <a:close/>
                      <a:moveTo>
                        <a:pt x="2520" y="2625"/>
                      </a:moveTo>
                      <a:lnTo>
                        <a:pt x="2515" y="2608"/>
                      </a:lnTo>
                      <a:lnTo>
                        <a:pt x="2520" y="2608"/>
                      </a:lnTo>
                      <a:lnTo>
                        <a:pt x="2532" y="2615"/>
                      </a:lnTo>
                      <a:lnTo>
                        <a:pt x="2520" y="2625"/>
                      </a:lnTo>
                      <a:lnTo>
                        <a:pt x="2520" y="2625"/>
                      </a:lnTo>
                      <a:lnTo>
                        <a:pt x="2520" y="2625"/>
                      </a:lnTo>
                      <a:close/>
                      <a:moveTo>
                        <a:pt x="1386" y="2625"/>
                      </a:moveTo>
                      <a:lnTo>
                        <a:pt x="1419" y="2615"/>
                      </a:lnTo>
                      <a:lnTo>
                        <a:pt x="1403" y="2625"/>
                      </a:lnTo>
                      <a:lnTo>
                        <a:pt x="1386" y="2625"/>
                      </a:lnTo>
                      <a:lnTo>
                        <a:pt x="1386" y="2625"/>
                      </a:lnTo>
                      <a:lnTo>
                        <a:pt x="1386" y="2625"/>
                      </a:lnTo>
                      <a:close/>
                      <a:moveTo>
                        <a:pt x="2390" y="2632"/>
                      </a:moveTo>
                      <a:lnTo>
                        <a:pt x="2397" y="2625"/>
                      </a:lnTo>
                      <a:lnTo>
                        <a:pt x="2407" y="2625"/>
                      </a:lnTo>
                      <a:lnTo>
                        <a:pt x="2390" y="2632"/>
                      </a:lnTo>
                      <a:lnTo>
                        <a:pt x="2390" y="2632"/>
                      </a:lnTo>
                      <a:lnTo>
                        <a:pt x="2390" y="2632"/>
                      </a:lnTo>
                      <a:close/>
                      <a:moveTo>
                        <a:pt x="1408" y="2641"/>
                      </a:moveTo>
                      <a:lnTo>
                        <a:pt x="1398" y="2632"/>
                      </a:lnTo>
                      <a:lnTo>
                        <a:pt x="1408" y="2632"/>
                      </a:lnTo>
                      <a:lnTo>
                        <a:pt x="1408" y="2641"/>
                      </a:lnTo>
                      <a:lnTo>
                        <a:pt x="1408" y="2641"/>
                      </a:lnTo>
                      <a:lnTo>
                        <a:pt x="1408" y="2641"/>
                      </a:lnTo>
                      <a:close/>
                      <a:moveTo>
                        <a:pt x="2369" y="2641"/>
                      </a:moveTo>
                      <a:lnTo>
                        <a:pt x="2359" y="2632"/>
                      </a:lnTo>
                      <a:lnTo>
                        <a:pt x="2369" y="2632"/>
                      </a:lnTo>
                      <a:lnTo>
                        <a:pt x="2369" y="2641"/>
                      </a:lnTo>
                      <a:lnTo>
                        <a:pt x="2369" y="2641"/>
                      </a:lnTo>
                      <a:lnTo>
                        <a:pt x="2369" y="2641"/>
                      </a:lnTo>
                      <a:close/>
                      <a:moveTo>
                        <a:pt x="2343" y="2653"/>
                      </a:moveTo>
                      <a:lnTo>
                        <a:pt x="2326" y="2648"/>
                      </a:lnTo>
                      <a:lnTo>
                        <a:pt x="2352" y="2653"/>
                      </a:lnTo>
                      <a:lnTo>
                        <a:pt x="2343" y="2653"/>
                      </a:lnTo>
                      <a:lnTo>
                        <a:pt x="2343" y="2653"/>
                      </a:lnTo>
                      <a:lnTo>
                        <a:pt x="2343" y="2653"/>
                      </a:lnTo>
                      <a:close/>
                      <a:moveTo>
                        <a:pt x="2305" y="2759"/>
                      </a:moveTo>
                      <a:lnTo>
                        <a:pt x="2284" y="2752"/>
                      </a:lnTo>
                      <a:lnTo>
                        <a:pt x="2272" y="2726"/>
                      </a:lnTo>
                      <a:lnTo>
                        <a:pt x="2251" y="2703"/>
                      </a:lnTo>
                      <a:lnTo>
                        <a:pt x="2272" y="2710"/>
                      </a:lnTo>
                      <a:lnTo>
                        <a:pt x="2289" y="2743"/>
                      </a:lnTo>
                      <a:lnTo>
                        <a:pt x="2305" y="2752"/>
                      </a:lnTo>
                      <a:lnTo>
                        <a:pt x="2305" y="2759"/>
                      </a:lnTo>
                      <a:lnTo>
                        <a:pt x="2305" y="2759"/>
                      </a:lnTo>
                      <a:lnTo>
                        <a:pt x="2305" y="2759"/>
                      </a:lnTo>
                      <a:close/>
                      <a:moveTo>
                        <a:pt x="1533" y="2743"/>
                      </a:moveTo>
                      <a:lnTo>
                        <a:pt x="1528" y="2759"/>
                      </a:lnTo>
                      <a:lnTo>
                        <a:pt x="1516" y="2759"/>
                      </a:lnTo>
                      <a:lnTo>
                        <a:pt x="1528" y="2743"/>
                      </a:lnTo>
                      <a:lnTo>
                        <a:pt x="1533" y="2743"/>
                      </a:lnTo>
                      <a:lnTo>
                        <a:pt x="1533" y="2743"/>
                      </a:lnTo>
                      <a:lnTo>
                        <a:pt x="1533" y="2743"/>
                      </a:lnTo>
                      <a:close/>
                      <a:moveTo>
                        <a:pt x="1559" y="2752"/>
                      </a:moveTo>
                      <a:lnTo>
                        <a:pt x="1533" y="2776"/>
                      </a:lnTo>
                      <a:lnTo>
                        <a:pt x="1516" y="2781"/>
                      </a:lnTo>
                      <a:lnTo>
                        <a:pt x="1542" y="2743"/>
                      </a:lnTo>
                      <a:lnTo>
                        <a:pt x="1559" y="2752"/>
                      </a:lnTo>
                      <a:lnTo>
                        <a:pt x="1559" y="2752"/>
                      </a:lnTo>
                      <a:lnTo>
                        <a:pt x="1559" y="2752"/>
                      </a:lnTo>
                      <a:close/>
                      <a:moveTo>
                        <a:pt x="1516" y="2764"/>
                      </a:moveTo>
                      <a:lnTo>
                        <a:pt x="1504" y="2776"/>
                      </a:lnTo>
                      <a:lnTo>
                        <a:pt x="1511" y="2764"/>
                      </a:lnTo>
                      <a:lnTo>
                        <a:pt x="1516" y="2764"/>
                      </a:lnTo>
                      <a:lnTo>
                        <a:pt x="1516" y="2764"/>
                      </a:lnTo>
                      <a:lnTo>
                        <a:pt x="1516" y="2764"/>
                      </a:lnTo>
                      <a:close/>
                      <a:moveTo>
                        <a:pt x="2234" y="2776"/>
                      </a:moveTo>
                      <a:lnTo>
                        <a:pt x="2218" y="2776"/>
                      </a:lnTo>
                      <a:lnTo>
                        <a:pt x="2234" y="2776"/>
                      </a:lnTo>
                      <a:lnTo>
                        <a:pt x="2234" y="2776"/>
                      </a:lnTo>
                      <a:lnTo>
                        <a:pt x="2234" y="2776"/>
                      </a:lnTo>
                      <a:close/>
                      <a:moveTo>
                        <a:pt x="2246" y="2781"/>
                      </a:moveTo>
                      <a:lnTo>
                        <a:pt x="2251" y="2776"/>
                      </a:lnTo>
                      <a:lnTo>
                        <a:pt x="2267" y="2776"/>
                      </a:lnTo>
                      <a:lnTo>
                        <a:pt x="2267" y="2781"/>
                      </a:lnTo>
                      <a:lnTo>
                        <a:pt x="2246" y="2781"/>
                      </a:lnTo>
                      <a:lnTo>
                        <a:pt x="2246" y="2781"/>
                      </a:lnTo>
                      <a:lnTo>
                        <a:pt x="2246" y="2781"/>
                      </a:lnTo>
                      <a:close/>
                      <a:moveTo>
                        <a:pt x="2234" y="2903"/>
                      </a:moveTo>
                      <a:lnTo>
                        <a:pt x="2213" y="2892"/>
                      </a:lnTo>
                      <a:lnTo>
                        <a:pt x="2180" y="2870"/>
                      </a:lnTo>
                      <a:lnTo>
                        <a:pt x="2196" y="2863"/>
                      </a:lnTo>
                      <a:lnTo>
                        <a:pt x="2230" y="2887"/>
                      </a:lnTo>
                      <a:lnTo>
                        <a:pt x="2234" y="2903"/>
                      </a:lnTo>
                      <a:lnTo>
                        <a:pt x="2234" y="2903"/>
                      </a:lnTo>
                      <a:lnTo>
                        <a:pt x="2234" y="2903"/>
                      </a:lnTo>
                      <a:close/>
                      <a:moveTo>
                        <a:pt x="2230" y="2908"/>
                      </a:moveTo>
                      <a:lnTo>
                        <a:pt x="2213" y="2903"/>
                      </a:lnTo>
                      <a:lnTo>
                        <a:pt x="2230" y="2903"/>
                      </a:lnTo>
                      <a:lnTo>
                        <a:pt x="2230" y="2908"/>
                      </a:lnTo>
                      <a:lnTo>
                        <a:pt x="2230" y="2908"/>
                      </a:lnTo>
                      <a:lnTo>
                        <a:pt x="2230" y="2908"/>
                      </a:lnTo>
                      <a:close/>
                      <a:moveTo>
                        <a:pt x="1580" y="2903"/>
                      </a:moveTo>
                      <a:lnTo>
                        <a:pt x="1566" y="2908"/>
                      </a:lnTo>
                      <a:lnTo>
                        <a:pt x="1580" y="2903"/>
                      </a:lnTo>
                      <a:lnTo>
                        <a:pt x="1580" y="2903"/>
                      </a:lnTo>
                      <a:lnTo>
                        <a:pt x="1580" y="2903"/>
                      </a:lnTo>
                      <a:close/>
                      <a:moveTo>
                        <a:pt x="1566" y="2903"/>
                      </a:moveTo>
                      <a:lnTo>
                        <a:pt x="1566" y="2908"/>
                      </a:lnTo>
                      <a:lnTo>
                        <a:pt x="1549" y="2908"/>
                      </a:lnTo>
                      <a:lnTo>
                        <a:pt x="1566" y="2903"/>
                      </a:lnTo>
                      <a:lnTo>
                        <a:pt x="1566" y="2903"/>
                      </a:lnTo>
                      <a:lnTo>
                        <a:pt x="1566" y="2903"/>
                      </a:lnTo>
                      <a:close/>
                      <a:moveTo>
                        <a:pt x="2208" y="2932"/>
                      </a:moveTo>
                      <a:lnTo>
                        <a:pt x="2208" y="2920"/>
                      </a:lnTo>
                      <a:lnTo>
                        <a:pt x="2213" y="2920"/>
                      </a:lnTo>
                      <a:lnTo>
                        <a:pt x="2208" y="2932"/>
                      </a:lnTo>
                      <a:lnTo>
                        <a:pt x="2208" y="2932"/>
                      </a:lnTo>
                      <a:lnTo>
                        <a:pt x="2208" y="2932"/>
                      </a:lnTo>
                      <a:close/>
                      <a:moveTo>
                        <a:pt x="2154" y="2958"/>
                      </a:moveTo>
                      <a:lnTo>
                        <a:pt x="2142" y="2948"/>
                      </a:lnTo>
                      <a:lnTo>
                        <a:pt x="2154" y="2941"/>
                      </a:lnTo>
                      <a:lnTo>
                        <a:pt x="2180" y="2948"/>
                      </a:lnTo>
                      <a:lnTo>
                        <a:pt x="2154" y="2958"/>
                      </a:lnTo>
                      <a:lnTo>
                        <a:pt x="2154" y="2958"/>
                      </a:lnTo>
                      <a:lnTo>
                        <a:pt x="2154" y="2958"/>
                      </a:lnTo>
                      <a:close/>
                      <a:moveTo>
                        <a:pt x="2163" y="2981"/>
                      </a:moveTo>
                      <a:lnTo>
                        <a:pt x="2154" y="2965"/>
                      </a:lnTo>
                      <a:lnTo>
                        <a:pt x="2163" y="2974"/>
                      </a:lnTo>
                      <a:lnTo>
                        <a:pt x="2163" y="2981"/>
                      </a:lnTo>
                      <a:lnTo>
                        <a:pt x="2163" y="2981"/>
                      </a:lnTo>
                      <a:lnTo>
                        <a:pt x="2163" y="2981"/>
                      </a:lnTo>
                      <a:close/>
                      <a:moveTo>
                        <a:pt x="2159" y="3059"/>
                      </a:moveTo>
                      <a:lnTo>
                        <a:pt x="2163" y="3043"/>
                      </a:lnTo>
                      <a:lnTo>
                        <a:pt x="2163" y="3059"/>
                      </a:lnTo>
                      <a:lnTo>
                        <a:pt x="2159" y="3059"/>
                      </a:lnTo>
                      <a:lnTo>
                        <a:pt x="2159" y="3059"/>
                      </a:lnTo>
                      <a:lnTo>
                        <a:pt x="2159" y="3059"/>
                      </a:lnTo>
                      <a:close/>
                      <a:moveTo>
                        <a:pt x="1743" y="3130"/>
                      </a:moveTo>
                      <a:lnTo>
                        <a:pt x="1748" y="3142"/>
                      </a:lnTo>
                      <a:lnTo>
                        <a:pt x="1726" y="3130"/>
                      </a:lnTo>
                      <a:lnTo>
                        <a:pt x="1743" y="3130"/>
                      </a:lnTo>
                      <a:lnTo>
                        <a:pt x="1743" y="3130"/>
                      </a:lnTo>
                      <a:lnTo>
                        <a:pt x="1743" y="3130"/>
                      </a:lnTo>
                      <a:close/>
                      <a:moveTo>
                        <a:pt x="1882" y="3154"/>
                      </a:moveTo>
                      <a:lnTo>
                        <a:pt x="1835" y="3170"/>
                      </a:lnTo>
                      <a:lnTo>
                        <a:pt x="1882" y="3147"/>
                      </a:lnTo>
                      <a:lnTo>
                        <a:pt x="1882" y="3154"/>
                      </a:lnTo>
                      <a:lnTo>
                        <a:pt x="1882" y="3154"/>
                      </a:lnTo>
                      <a:lnTo>
                        <a:pt x="1882" y="3154"/>
                      </a:lnTo>
                      <a:close/>
                      <a:moveTo>
                        <a:pt x="1776" y="3163"/>
                      </a:moveTo>
                      <a:lnTo>
                        <a:pt x="1764" y="3170"/>
                      </a:lnTo>
                      <a:lnTo>
                        <a:pt x="1781" y="3170"/>
                      </a:lnTo>
                      <a:lnTo>
                        <a:pt x="1764" y="3180"/>
                      </a:lnTo>
                      <a:lnTo>
                        <a:pt x="1731" y="3163"/>
                      </a:lnTo>
                      <a:lnTo>
                        <a:pt x="1776" y="3163"/>
                      </a:lnTo>
                      <a:lnTo>
                        <a:pt x="1776" y="3163"/>
                      </a:lnTo>
                      <a:lnTo>
                        <a:pt x="1776" y="3163"/>
                      </a:lnTo>
                      <a:close/>
                      <a:moveTo>
                        <a:pt x="1873" y="3170"/>
                      </a:moveTo>
                      <a:lnTo>
                        <a:pt x="1873" y="3180"/>
                      </a:lnTo>
                      <a:lnTo>
                        <a:pt x="1856" y="3180"/>
                      </a:lnTo>
                      <a:lnTo>
                        <a:pt x="1873" y="3170"/>
                      </a:lnTo>
                      <a:lnTo>
                        <a:pt x="1873" y="3170"/>
                      </a:lnTo>
                      <a:lnTo>
                        <a:pt x="1873" y="3170"/>
                      </a:lnTo>
                      <a:close/>
                      <a:moveTo>
                        <a:pt x="1958" y="3208"/>
                      </a:moveTo>
                      <a:lnTo>
                        <a:pt x="1948" y="3225"/>
                      </a:lnTo>
                      <a:lnTo>
                        <a:pt x="1937" y="3236"/>
                      </a:lnTo>
                      <a:lnTo>
                        <a:pt x="1944" y="3208"/>
                      </a:lnTo>
                      <a:lnTo>
                        <a:pt x="1958" y="3208"/>
                      </a:lnTo>
                      <a:lnTo>
                        <a:pt x="1958" y="3208"/>
                      </a:lnTo>
                      <a:lnTo>
                        <a:pt x="1958" y="3208"/>
                      </a:lnTo>
                      <a:close/>
                      <a:moveTo>
                        <a:pt x="2067" y="3258"/>
                      </a:moveTo>
                      <a:lnTo>
                        <a:pt x="2045" y="3253"/>
                      </a:lnTo>
                      <a:lnTo>
                        <a:pt x="2029" y="3236"/>
                      </a:lnTo>
                      <a:lnTo>
                        <a:pt x="2100" y="3241"/>
                      </a:lnTo>
                      <a:lnTo>
                        <a:pt x="2088" y="3253"/>
                      </a:lnTo>
                      <a:lnTo>
                        <a:pt x="2067" y="3241"/>
                      </a:lnTo>
                      <a:lnTo>
                        <a:pt x="2071" y="3253"/>
                      </a:lnTo>
                      <a:lnTo>
                        <a:pt x="2067" y="3258"/>
                      </a:lnTo>
                      <a:lnTo>
                        <a:pt x="2067" y="3258"/>
                      </a:lnTo>
                      <a:lnTo>
                        <a:pt x="2067" y="3258"/>
                      </a:lnTo>
                      <a:close/>
                      <a:moveTo>
                        <a:pt x="2019" y="3241"/>
                      </a:moveTo>
                      <a:lnTo>
                        <a:pt x="2019" y="3253"/>
                      </a:lnTo>
                      <a:lnTo>
                        <a:pt x="2012" y="3258"/>
                      </a:lnTo>
                      <a:lnTo>
                        <a:pt x="1996" y="3253"/>
                      </a:lnTo>
                      <a:lnTo>
                        <a:pt x="2003" y="3236"/>
                      </a:lnTo>
                      <a:lnTo>
                        <a:pt x="2019" y="3241"/>
                      </a:lnTo>
                      <a:lnTo>
                        <a:pt x="2019" y="3241"/>
                      </a:lnTo>
                      <a:lnTo>
                        <a:pt x="2019" y="3241"/>
                      </a:lnTo>
                      <a:close/>
                      <a:moveTo>
                        <a:pt x="2071" y="3258"/>
                      </a:moveTo>
                      <a:lnTo>
                        <a:pt x="2071" y="3253"/>
                      </a:lnTo>
                      <a:lnTo>
                        <a:pt x="2083" y="3253"/>
                      </a:lnTo>
                      <a:lnTo>
                        <a:pt x="2071" y="3258"/>
                      </a:lnTo>
                      <a:lnTo>
                        <a:pt x="2071" y="3258"/>
                      </a:lnTo>
                      <a:lnTo>
                        <a:pt x="2071" y="3258"/>
                      </a:lnTo>
                      <a:close/>
                      <a:moveTo>
                        <a:pt x="2029" y="3265"/>
                      </a:moveTo>
                      <a:lnTo>
                        <a:pt x="2012" y="3258"/>
                      </a:lnTo>
                      <a:lnTo>
                        <a:pt x="2019" y="3253"/>
                      </a:lnTo>
                      <a:lnTo>
                        <a:pt x="2033" y="3253"/>
                      </a:lnTo>
                      <a:lnTo>
                        <a:pt x="2029" y="3265"/>
                      </a:lnTo>
                      <a:lnTo>
                        <a:pt x="2029" y="3265"/>
                      </a:lnTo>
                      <a:lnTo>
                        <a:pt x="2029" y="3265"/>
                      </a:lnTo>
                      <a:close/>
                      <a:moveTo>
                        <a:pt x="2083" y="3258"/>
                      </a:moveTo>
                      <a:lnTo>
                        <a:pt x="2083" y="3253"/>
                      </a:lnTo>
                      <a:lnTo>
                        <a:pt x="2088" y="3258"/>
                      </a:lnTo>
                      <a:lnTo>
                        <a:pt x="2083" y="3258"/>
                      </a:lnTo>
                      <a:lnTo>
                        <a:pt x="2083" y="3258"/>
                      </a:lnTo>
                      <a:lnTo>
                        <a:pt x="2083" y="3258"/>
                      </a:lnTo>
                      <a:close/>
                      <a:moveTo>
                        <a:pt x="2045" y="3274"/>
                      </a:moveTo>
                      <a:lnTo>
                        <a:pt x="2029" y="3265"/>
                      </a:lnTo>
                      <a:lnTo>
                        <a:pt x="2033" y="3258"/>
                      </a:lnTo>
                      <a:lnTo>
                        <a:pt x="2057" y="3265"/>
                      </a:lnTo>
                      <a:lnTo>
                        <a:pt x="2045" y="3274"/>
                      </a:lnTo>
                      <a:lnTo>
                        <a:pt x="2045" y="3274"/>
                      </a:lnTo>
                      <a:lnTo>
                        <a:pt x="2045" y="327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24" name="Freeform 456">
                  <a:extLst>
                    <a:ext uri="{FF2B5EF4-FFF2-40B4-BE49-F238E27FC236}">
                      <a16:creationId xmlns:a16="http://schemas.microsoft.com/office/drawing/2014/main" id="{2965237E-D755-4358-B6BB-61AD70DE2B04}"/>
                    </a:ext>
                  </a:extLst>
                </p:cNvPr>
                <p:cNvSpPr>
                  <a:spLocks noEditPoints="1"/>
                </p:cNvSpPr>
                <p:nvPr/>
              </p:nvSpPr>
              <p:spPr bwMode="gray">
                <a:xfrm>
                  <a:off x="7295987" y="2752512"/>
                  <a:ext cx="243297" cy="233443"/>
                </a:xfrm>
                <a:custGeom>
                  <a:avLst/>
                  <a:gdLst>
                    <a:gd name="T0" fmla="*/ 76 w 591"/>
                    <a:gd name="T1" fmla="*/ 111 h 567"/>
                    <a:gd name="T2" fmla="*/ 227 w 591"/>
                    <a:gd name="T3" fmla="*/ 29 h 567"/>
                    <a:gd name="T4" fmla="*/ 484 w 591"/>
                    <a:gd name="T5" fmla="*/ 7 h 567"/>
                    <a:gd name="T6" fmla="*/ 350 w 591"/>
                    <a:gd name="T7" fmla="*/ 69 h 567"/>
                    <a:gd name="T8" fmla="*/ 324 w 591"/>
                    <a:gd name="T9" fmla="*/ 135 h 567"/>
                    <a:gd name="T10" fmla="*/ 274 w 591"/>
                    <a:gd name="T11" fmla="*/ 123 h 567"/>
                    <a:gd name="T12" fmla="*/ 227 w 591"/>
                    <a:gd name="T13" fmla="*/ 102 h 567"/>
                    <a:gd name="T14" fmla="*/ 220 w 591"/>
                    <a:gd name="T15" fmla="*/ 213 h 567"/>
                    <a:gd name="T16" fmla="*/ 307 w 591"/>
                    <a:gd name="T17" fmla="*/ 300 h 567"/>
                    <a:gd name="T18" fmla="*/ 253 w 591"/>
                    <a:gd name="T19" fmla="*/ 357 h 567"/>
                    <a:gd name="T20" fmla="*/ 215 w 591"/>
                    <a:gd name="T21" fmla="*/ 345 h 567"/>
                    <a:gd name="T22" fmla="*/ 189 w 591"/>
                    <a:gd name="T23" fmla="*/ 452 h 567"/>
                    <a:gd name="T24" fmla="*/ 135 w 591"/>
                    <a:gd name="T25" fmla="*/ 374 h 567"/>
                    <a:gd name="T26" fmla="*/ 227 w 591"/>
                    <a:gd name="T27" fmla="*/ 317 h 567"/>
                    <a:gd name="T28" fmla="*/ 128 w 591"/>
                    <a:gd name="T29" fmla="*/ 284 h 567"/>
                    <a:gd name="T30" fmla="*/ 76 w 591"/>
                    <a:gd name="T31" fmla="*/ 222 h 567"/>
                    <a:gd name="T32" fmla="*/ 21 w 591"/>
                    <a:gd name="T33" fmla="*/ 173 h 567"/>
                    <a:gd name="T34" fmla="*/ 345 w 591"/>
                    <a:gd name="T35" fmla="*/ 95 h 567"/>
                    <a:gd name="T36" fmla="*/ 413 w 591"/>
                    <a:gd name="T37" fmla="*/ 102 h 567"/>
                    <a:gd name="T38" fmla="*/ 397 w 591"/>
                    <a:gd name="T39" fmla="*/ 140 h 567"/>
                    <a:gd name="T40" fmla="*/ 26 w 591"/>
                    <a:gd name="T41" fmla="*/ 196 h 567"/>
                    <a:gd name="T42" fmla="*/ 468 w 591"/>
                    <a:gd name="T43" fmla="*/ 206 h 567"/>
                    <a:gd name="T44" fmla="*/ 468 w 591"/>
                    <a:gd name="T45" fmla="*/ 206 h 567"/>
                    <a:gd name="T46" fmla="*/ 258 w 591"/>
                    <a:gd name="T47" fmla="*/ 222 h 567"/>
                    <a:gd name="T48" fmla="*/ 274 w 591"/>
                    <a:gd name="T49" fmla="*/ 279 h 567"/>
                    <a:gd name="T50" fmla="*/ 333 w 591"/>
                    <a:gd name="T51" fmla="*/ 300 h 567"/>
                    <a:gd name="T52" fmla="*/ 333 w 591"/>
                    <a:gd name="T53" fmla="*/ 230 h 567"/>
                    <a:gd name="T54" fmla="*/ 59 w 591"/>
                    <a:gd name="T55" fmla="*/ 246 h 567"/>
                    <a:gd name="T56" fmla="*/ 404 w 591"/>
                    <a:gd name="T57" fmla="*/ 267 h 567"/>
                    <a:gd name="T58" fmla="*/ 442 w 591"/>
                    <a:gd name="T59" fmla="*/ 300 h 567"/>
                    <a:gd name="T60" fmla="*/ 59 w 591"/>
                    <a:gd name="T61" fmla="*/ 279 h 567"/>
                    <a:gd name="T62" fmla="*/ 350 w 591"/>
                    <a:gd name="T63" fmla="*/ 317 h 567"/>
                    <a:gd name="T64" fmla="*/ 64 w 591"/>
                    <a:gd name="T65" fmla="*/ 324 h 567"/>
                    <a:gd name="T66" fmla="*/ 489 w 591"/>
                    <a:gd name="T67" fmla="*/ 333 h 567"/>
                    <a:gd name="T68" fmla="*/ 258 w 591"/>
                    <a:gd name="T69" fmla="*/ 341 h 567"/>
                    <a:gd name="T70" fmla="*/ 435 w 591"/>
                    <a:gd name="T71" fmla="*/ 357 h 567"/>
                    <a:gd name="T72" fmla="*/ 383 w 591"/>
                    <a:gd name="T73" fmla="*/ 345 h 567"/>
                    <a:gd name="T74" fmla="*/ 366 w 591"/>
                    <a:gd name="T75" fmla="*/ 362 h 567"/>
                    <a:gd name="T76" fmla="*/ 397 w 591"/>
                    <a:gd name="T77" fmla="*/ 362 h 567"/>
                    <a:gd name="T78" fmla="*/ 333 w 591"/>
                    <a:gd name="T79" fmla="*/ 390 h 567"/>
                    <a:gd name="T80" fmla="*/ 387 w 591"/>
                    <a:gd name="T81" fmla="*/ 390 h 567"/>
                    <a:gd name="T82" fmla="*/ 387 w 591"/>
                    <a:gd name="T83" fmla="*/ 390 h 567"/>
                    <a:gd name="T84" fmla="*/ 506 w 591"/>
                    <a:gd name="T85" fmla="*/ 402 h 567"/>
                    <a:gd name="T86" fmla="*/ 376 w 591"/>
                    <a:gd name="T87" fmla="*/ 402 h 567"/>
                    <a:gd name="T88" fmla="*/ 510 w 591"/>
                    <a:gd name="T89" fmla="*/ 411 h 567"/>
                    <a:gd name="T90" fmla="*/ 435 w 591"/>
                    <a:gd name="T91" fmla="*/ 411 h 567"/>
                    <a:gd name="T92" fmla="*/ 397 w 591"/>
                    <a:gd name="T93" fmla="*/ 428 h 567"/>
                    <a:gd name="T94" fmla="*/ 324 w 591"/>
                    <a:gd name="T95" fmla="*/ 428 h 567"/>
                    <a:gd name="T96" fmla="*/ 458 w 591"/>
                    <a:gd name="T97" fmla="*/ 435 h 567"/>
                    <a:gd name="T98" fmla="*/ 404 w 591"/>
                    <a:gd name="T99" fmla="*/ 444 h 567"/>
                    <a:gd name="T100" fmla="*/ 539 w 591"/>
                    <a:gd name="T101" fmla="*/ 452 h 567"/>
                    <a:gd name="T102" fmla="*/ 591 w 591"/>
                    <a:gd name="T103" fmla="*/ 444 h 567"/>
                    <a:gd name="T104" fmla="*/ 421 w 591"/>
                    <a:gd name="T105" fmla="*/ 452 h 567"/>
                    <a:gd name="T106" fmla="*/ 522 w 591"/>
                    <a:gd name="T107" fmla="*/ 529 h 567"/>
                    <a:gd name="T108" fmla="*/ 269 w 591"/>
                    <a:gd name="T109" fmla="*/ 513 h 567"/>
                    <a:gd name="T110" fmla="*/ 397 w 591"/>
                    <a:gd name="T111" fmla="*/ 539 h 567"/>
                    <a:gd name="T112" fmla="*/ 350 w 591"/>
                    <a:gd name="T113" fmla="*/ 567 h 567"/>
                    <a:gd name="T114" fmla="*/ 510 w 591"/>
                    <a:gd name="T115" fmla="*/ 522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91" h="567">
                      <a:moveTo>
                        <a:pt x="21" y="173"/>
                      </a:moveTo>
                      <a:lnTo>
                        <a:pt x="38" y="173"/>
                      </a:lnTo>
                      <a:lnTo>
                        <a:pt x="43" y="168"/>
                      </a:lnTo>
                      <a:lnTo>
                        <a:pt x="38" y="168"/>
                      </a:lnTo>
                      <a:lnTo>
                        <a:pt x="54" y="156"/>
                      </a:lnTo>
                      <a:lnTo>
                        <a:pt x="43" y="152"/>
                      </a:lnTo>
                      <a:lnTo>
                        <a:pt x="64" y="135"/>
                      </a:lnTo>
                      <a:lnTo>
                        <a:pt x="76" y="111"/>
                      </a:lnTo>
                      <a:lnTo>
                        <a:pt x="92" y="95"/>
                      </a:lnTo>
                      <a:lnTo>
                        <a:pt x="92" y="69"/>
                      </a:lnTo>
                      <a:lnTo>
                        <a:pt x="128" y="69"/>
                      </a:lnTo>
                      <a:lnTo>
                        <a:pt x="144" y="62"/>
                      </a:lnTo>
                      <a:lnTo>
                        <a:pt x="161" y="45"/>
                      </a:lnTo>
                      <a:lnTo>
                        <a:pt x="215" y="45"/>
                      </a:lnTo>
                      <a:lnTo>
                        <a:pt x="215" y="29"/>
                      </a:lnTo>
                      <a:lnTo>
                        <a:pt x="227" y="29"/>
                      </a:lnTo>
                      <a:lnTo>
                        <a:pt x="274" y="29"/>
                      </a:lnTo>
                      <a:lnTo>
                        <a:pt x="324" y="12"/>
                      </a:lnTo>
                      <a:lnTo>
                        <a:pt x="387" y="41"/>
                      </a:lnTo>
                      <a:lnTo>
                        <a:pt x="451" y="29"/>
                      </a:lnTo>
                      <a:lnTo>
                        <a:pt x="451" y="12"/>
                      </a:lnTo>
                      <a:lnTo>
                        <a:pt x="442" y="0"/>
                      </a:lnTo>
                      <a:lnTo>
                        <a:pt x="468" y="0"/>
                      </a:lnTo>
                      <a:lnTo>
                        <a:pt x="484" y="7"/>
                      </a:lnTo>
                      <a:lnTo>
                        <a:pt x="484" y="29"/>
                      </a:lnTo>
                      <a:lnTo>
                        <a:pt x="458" y="41"/>
                      </a:lnTo>
                      <a:lnTo>
                        <a:pt x="468" y="62"/>
                      </a:lnTo>
                      <a:lnTo>
                        <a:pt x="442" y="85"/>
                      </a:lnTo>
                      <a:lnTo>
                        <a:pt x="442" y="78"/>
                      </a:lnTo>
                      <a:lnTo>
                        <a:pt x="383" y="62"/>
                      </a:lnTo>
                      <a:lnTo>
                        <a:pt x="383" y="62"/>
                      </a:lnTo>
                      <a:lnTo>
                        <a:pt x="350" y="69"/>
                      </a:lnTo>
                      <a:lnTo>
                        <a:pt x="328" y="62"/>
                      </a:lnTo>
                      <a:lnTo>
                        <a:pt x="307" y="85"/>
                      </a:lnTo>
                      <a:lnTo>
                        <a:pt x="279" y="78"/>
                      </a:lnTo>
                      <a:lnTo>
                        <a:pt x="274" y="85"/>
                      </a:lnTo>
                      <a:lnTo>
                        <a:pt x="291" y="111"/>
                      </a:lnTo>
                      <a:lnTo>
                        <a:pt x="312" y="118"/>
                      </a:lnTo>
                      <a:lnTo>
                        <a:pt x="328" y="135"/>
                      </a:lnTo>
                      <a:lnTo>
                        <a:pt x="324" y="135"/>
                      </a:lnTo>
                      <a:lnTo>
                        <a:pt x="312" y="118"/>
                      </a:lnTo>
                      <a:lnTo>
                        <a:pt x="291" y="118"/>
                      </a:lnTo>
                      <a:lnTo>
                        <a:pt x="279" y="118"/>
                      </a:lnTo>
                      <a:lnTo>
                        <a:pt x="279" y="123"/>
                      </a:lnTo>
                      <a:lnTo>
                        <a:pt x="295" y="135"/>
                      </a:lnTo>
                      <a:lnTo>
                        <a:pt x="295" y="140"/>
                      </a:lnTo>
                      <a:lnTo>
                        <a:pt x="295" y="152"/>
                      </a:lnTo>
                      <a:lnTo>
                        <a:pt x="274" y="123"/>
                      </a:lnTo>
                      <a:lnTo>
                        <a:pt x="253" y="123"/>
                      </a:lnTo>
                      <a:lnTo>
                        <a:pt x="253" y="135"/>
                      </a:lnTo>
                      <a:lnTo>
                        <a:pt x="279" y="152"/>
                      </a:lnTo>
                      <a:lnTo>
                        <a:pt x="258" y="152"/>
                      </a:lnTo>
                      <a:lnTo>
                        <a:pt x="253" y="123"/>
                      </a:lnTo>
                      <a:lnTo>
                        <a:pt x="220" y="111"/>
                      </a:lnTo>
                      <a:lnTo>
                        <a:pt x="220" y="102"/>
                      </a:lnTo>
                      <a:lnTo>
                        <a:pt x="227" y="102"/>
                      </a:lnTo>
                      <a:lnTo>
                        <a:pt x="227" y="95"/>
                      </a:lnTo>
                      <a:lnTo>
                        <a:pt x="199" y="102"/>
                      </a:lnTo>
                      <a:lnTo>
                        <a:pt x="199" y="140"/>
                      </a:lnTo>
                      <a:lnTo>
                        <a:pt x="253" y="213"/>
                      </a:lnTo>
                      <a:lnTo>
                        <a:pt x="236" y="222"/>
                      </a:lnTo>
                      <a:lnTo>
                        <a:pt x="241" y="213"/>
                      </a:lnTo>
                      <a:lnTo>
                        <a:pt x="227" y="196"/>
                      </a:lnTo>
                      <a:lnTo>
                        <a:pt x="220" y="213"/>
                      </a:lnTo>
                      <a:lnTo>
                        <a:pt x="236" y="230"/>
                      </a:lnTo>
                      <a:lnTo>
                        <a:pt x="220" y="234"/>
                      </a:lnTo>
                      <a:lnTo>
                        <a:pt x="199" y="246"/>
                      </a:lnTo>
                      <a:lnTo>
                        <a:pt x="227" y="251"/>
                      </a:lnTo>
                      <a:lnTo>
                        <a:pt x="236" y="263"/>
                      </a:lnTo>
                      <a:lnTo>
                        <a:pt x="253" y="263"/>
                      </a:lnTo>
                      <a:lnTo>
                        <a:pt x="253" y="267"/>
                      </a:lnTo>
                      <a:lnTo>
                        <a:pt x="307" y="300"/>
                      </a:lnTo>
                      <a:lnTo>
                        <a:pt x="295" y="307"/>
                      </a:lnTo>
                      <a:lnTo>
                        <a:pt x="307" y="333"/>
                      </a:lnTo>
                      <a:lnTo>
                        <a:pt x="295" y="341"/>
                      </a:lnTo>
                      <a:lnTo>
                        <a:pt x="269" y="307"/>
                      </a:lnTo>
                      <a:lnTo>
                        <a:pt x="227" y="324"/>
                      </a:lnTo>
                      <a:lnTo>
                        <a:pt x="236" y="324"/>
                      </a:lnTo>
                      <a:lnTo>
                        <a:pt x="241" y="345"/>
                      </a:lnTo>
                      <a:lnTo>
                        <a:pt x="253" y="357"/>
                      </a:lnTo>
                      <a:lnTo>
                        <a:pt x="253" y="345"/>
                      </a:lnTo>
                      <a:lnTo>
                        <a:pt x="258" y="345"/>
                      </a:lnTo>
                      <a:lnTo>
                        <a:pt x="269" y="362"/>
                      </a:lnTo>
                      <a:lnTo>
                        <a:pt x="253" y="362"/>
                      </a:lnTo>
                      <a:lnTo>
                        <a:pt x="241" y="374"/>
                      </a:lnTo>
                      <a:lnTo>
                        <a:pt x="236" y="362"/>
                      </a:lnTo>
                      <a:lnTo>
                        <a:pt x="236" y="362"/>
                      </a:lnTo>
                      <a:lnTo>
                        <a:pt x="215" y="345"/>
                      </a:lnTo>
                      <a:lnTo>
                        <a:pt x="236" y="418"/>
                      </a:lnTo>
                      <a:lnTo>
                        <a:pt x="227" y="428"/>
                      </a:lnTo>
                      <a:lnTo>
                        <a:pt x="241" y="444"/>
                      </a:lnTo>
                      <a:lnTo>
                        <a:pt x="227" y="435"/>
                      </a:lnTo>
                      <a:lnTo>
                        <a:pt x="215" y="411"/>
                      </a:lnTo>
                      <a:lnTo>
                        <a:pt x="203" y="411"/>
                      </a:lnTo>
                      <a:lnTo>
                        <a:pt x="189" y="428"/>
                      </a:lnTo>
                      <a:lnTo>
                        <a:pt x="189" y="452"/>
                      </a:lnTo>
                      <a:lnTo>
                        <a:pt x="165" y="395"/>
                      </a:lnTo>
                      <a:lnTo>
                        <a:pt x="151" y="395"/>
                      </a:lnTo>
                      <a:lnTo>
                        <a:pt x="161" y="411"/>
                      </a:lnTo>
                      <a:lnTo>
                        <a:pt x="151" y="418"/>
                      </a:lnTo>
                      <a:lnTo>
                        <a:pt x="135" y="411"/>
                      </a:lnTo>
                      <a:lnTo>
                        <a:pt x="135" y="402"/>
                      </a:lnTo>
                      <a:lnTo>
                        <a:pt x="128" y="390"/>
                      </a:lnTo>
                      <a:lnTo>
                        <a:pt x="135" y="374"/>
                      </a:lnTo>
                      <a:lnTo>
                        <a:pt x="135" y="362"/>
                      </a:lnTo>
                      <a:lnTo>
                        <a:pt x="97" y="324"/>
                      </a:lnTo>
                      <a:lnTo>
                        <a:pt x="113" y="307"/>
                      </a:lnTo>
                      <a:lnTo>
                        <a:pt x="113" y="291"/>
                      </a:lnTo>
                      <a:lnTo>
                        <a:pt x="135" y="300"/>
                      </a:lnTo>
                      <a:lnTo>
                        <a:pt x="151" y="284"/>
                      </a:lnTo>
                      <a:lnTo>
                        <a:pt x="220" y="317"/>
                      </a:lnTo>
                      <a:lnTo>
                        <a:pt x="227" y="317"/>
                      </a:lnTo>
                      <a:lnTo>
                        <a:pt x="220" y="307"/>
                      </a:lnTo>
                      <a:lnTo>
                        <a:pt x="241" y="307"/>
                      </a:lnTo>
                      <a:lnTo>
                        <a:pt x="241" y="300"/>
                      </a:lnTo>
                      <a:lnTo>
                        <a:pt x="215" y="291"/>
                      </a:lnTo>
                      <a:lnTo>
                        <a:pt x="189" y="279"/>
                      </a:lnTo>
                      <a:lnTo>
                        <a:pt x="182" y="284"/>
                      </a:lnTo>
                      <a:lnTo>
                        <a:pt x="161" y="279"/>
                      </a:lnTo>
                      <a:lnTo>
                        <a:pt x="128" y="284"/>
                      </a:lnTo>
                      <a:lnTo>
                        <a:pt x="113" y="279"/>
                      </a:lnTo>
                      <a:lnTo>
                        <a:pt x="97" y="284"/>
                      </a:lnTo>
                      <a:lnTo>
                        <a:pt x="92" y="263"/>
                      </a:lnTo>
                      <a:lnTo>
                        <a:pt x="64" y="246"/>
                      </a:lnTo>
                      <a:lnTo>
                        <a:pt x="76" y="234"/>
                      </a:lnTo>
                      <a:lnTo>
                        <a:pt x="97" y="246"/>
                      </a:lnTo>
                      <a:lnTo>
                        <a:pt x="97" y="230"/>
                      </a:lnTo>
                      <a:lnTo>
                        <a:pt x="76" y="222"/>
                      </a:lnTo>
                      <a:lnTo>
                        <a:pt x="76" y="230"/>
                      </a:lnTo>
                      <a:lnTo>
                        <a:pt x="76" y="234"/>
                      </a:lnTo>
                      <a:lnTo>
                        <a:pt x="64" y="234"/>
                      </a:lnTo>
                      <a:lnTo>
                        <a:pt x="54" y="206"/>
                      </a:lnTo>
                      <a:lnTo>
                        <a:pt x="38" y="206"/>
                      </a:lnTo>
                      <a:lnTo>
                        <a:pt x="38" y="180"/>
                      </a:lnTo>
                      <a:lnTo>
                        <a:pt x="21" y="173"/>
                      </a:lnTo>
                      <a:lnTo>
                        <a:pt x="21" y="173"/>
                      </a:lnTo>
                      <a:lnTo>
                        <a:pt x="21" y="173"/>
                      </a:lnTo>
                      <a:close/>
                      <a:moveTo>
                        <a:pt x="345" y="95"/>
                      </a:moveTo>
                      <a:lnTo>
                        <a:pt x="333" y="85"/>
                      </a:lnTo>
                      <a:lnTo>
                        <a:pt x="345" y="78"/>
                      </a:lnTo>
                      <a:lnTo>
                        <a:pt x="350" y="78"/>
                      </a:lnTo>
                      <a:lnTo>
                        <a:pt x="350" y="95"/>
                      </a:lnTo>
                      <a:lnTo>
                        <a:pt x="345" y="95"/>
                      </a:lnTo>
                      <a:lnTo>
                        <a:pt x="345" y="95"/>
                      </a:lnTo>
                      <a:lnTo>
                        <a:pt x="345" y="95"/>
                      </a:lnTo>
                      <a:close/>
                      <a:moveTo>
                        <a:pt x="413" y="102"/>
                      </a:moveTo>
                      <a:lnTo>
                        <a:pt x="421" y="111"/>
                      </a:lnTo>
                      <a:lnTo>
                        <a:pt x="413" y="111"/>
                      </a:lnTo>
                      <a:lnTo>
                        <a:pt x="397" y="102"/>
                      </a:lnTo>
                      <a:lnTo>
                        <a:pt x="413" y="102"/>
                      </a:lnTo>
                      <a:lnTo>
                        <a:pt x="413" y="102"/>
                      </a:lnTo>
                      <a:lnTo>
                        <a:pt x="413" y="102"/>
                      </a:lnTo>
                      <a:close/>
                      <a:moveTo>
                        <a:pt x="397" y="140"/>
                      </a:moveTo>
                      <a:lnTo>
                        <a:pt x="397" y="168"/>
                      </a:lnTo>
                      <a:lnTo>
                        <a:pt x="387" y="152"/>
                      </a:lnTo>
                      <a:lnTo>
                        <a:pt x="383" y="156"/>
                      </a:lnTo>
                      <a:lnTo>
                        <a:pt x="383" y="168"/>
                      </a:lnTo>
                      <a:lnTo>
                        <a:pt x="376" y="156"/>
                      </a:lnTo>
                      <a:lnTo>
                        <a:pt x="376" y="152"/>
                      </a:lnTo>
                      <a:lnTo>
                        <a:pt x="397" y="140"/>
                      </a:lnTo>
                      <a:lnTo>
                        <a:pt x="397" y="140"/>
                      </a:lnTo>
                      <a:lnTo>
                        <a:pt x="397" y="140"/>
                      </a:lnTo>
                      <a:close/>
                      <a:moveTo>
                        <a:pt x="5" y="156"/>
                      </a:moveTo>
                      <a:lnTo>
                        <a:pt x="10" y="168"/>
                      </a:lnTo>
                      <a:lnTo>
                        <a:pt x="5" y="173"/>
                      </a:lnTo>
                      <a:lnTo>
                        <a:pt x="10" y="189"/>
                      </a:lnTo>
                      <a:lnTo>
                        <a:pt x="21" y="189"/>
                      </a:lnTo>
                      <a:lnTo>
                        <a:pt x="26" y="196"/>
                      </a:lnTo>
                      <a:lnTo>
                        <a:pt x="10" y="189"/>
                      </a:lnTo>
                      <a:lnTo>
                        <a:pt x="0" y="173"/>
                      </a:lnTo>
                      <a:lnTo>
                        <a:pt x="0" y="168"/>
                      </a:lnTo>
                      <a:lnTo>
                        <a:pt x="5" y="156"/>
                      </a:lnTo>
                      <a:lnTo>
                        <a:pt x="5" y="156"/>
                      </a:lnTo>
                      <a:lnTo>
                        <a:pt x="5" y="156"/>
                      </a:lnTo>
                      <a:close/>
                      <a:moveTo>
                        <a:pt x="468" y="206"/>
                      </a:moveTo>
                      <a:lnTo>
                        <a:pt x="468" y="206"/>
                      </a:lnTo>
                      <a:lnTo>
                        <a:pt x="484" y="230"/>
                      </a:lnTo>
                      <a:lnTo>
                        <a:pt x="458" y="230"/>
                      </a:lnTo>
                      <a:lnTo>
                        <a:pt x="442" y="222"/>
                      </a:lnTo>
                      <a:lnTo>
                        <a:pt x="458" y="213"/>
                      </a:lnTo>
                      <a:lnTo>
                        <a:pt x="442" y="222"/>
                      </a:lnTo>
                      <a:lnTo>
                        <a:pt x="430" y="213"/>
                      </a:lnTo>
                      <a:lnTo>
                        <a:pt x="451" y="196"/>
                      </a:lnTo>
                      <a:lnTo>
                        <a:pt x="468" y="206"/>
                      </a:lnTo>
                      <a:lnTo>
                        <a:pt x="468" y="206"/>
                      </a:lnTo>
                      <a:lnTo>
                        <a:pt x="468" y="206"/>
                      </a:lnTo>
                      <a:close/>
                      <a:moveTo>
                        <a:pt x="258" y="222"/>
                      </a:moveTo>
                      <a:lnTo>
                        <a:pt x="258" y="213"/>
                      </a:lnTo>
                      <a:lnTo>
                        <a:pt x="269" y="213"/>
                      </a:lnTo>
                      <a:lnTo>
                        <a:pt x="258" y="222"/>
                      </a:lnTo>
                      <a:lnTo>
                        <a:pt x="258" y="222"/>
                      </a:lnTo>
                      <a:lnTo>
                        <a:pt x="258" y="222"/>
                      </a:lnTo>
                      <a:close/>
                      <a:moveTo>
                        <a:pt x="279" y="222"/>
                      </a:moveTo>
                      <a:lnTo>
                        <a:pt x="269" y="213"/>
                      </a:lnTo>
                      <a:lnTo>
                        <a:pt x="279" y="222"/>
                      </a:lnTo>
                      <a:lnTo>
                        <a:pt x="279" y="222"/>
                      </a:lnTo>
                      <a:lnTo>
                        <a:pt x="279" y="222"/>
                      </a:lnTo>
                      <a:lnTo>
                        <a:pt x="279" y="222"/>
                      </a:lnTo>
                      <a:close/>
                      <a:moveTo>
                        <a:pt x="307" y="284"/>
                      </a:moveTo>
                      <a:lnTo>
                        <a:pt x="274" y="279"/>
                      </a:lnTo>
                      <a:lnTo>
                        <a:pt x="274" y="267"/>
                      </a:lnTo>
                      <a:lnTo>
                        <a:pt x="241" y="246"/>
                      </a:lnTo>
                      <a:lnTo>
                        <a:pt x="220" y="246"/>
                      </a:lnTo>
                      <a:lnTo>
                        <a:pt x="253" y="230"/>
                      </a:lnTo>
                      <a:lnTo>
                        <a:pt x="269" y="251"/>
                      </a:lnTo>
                      <a:lnTo>
                        <a:pt x="312" y="263"/>
                      </a:lnTo>
                      <a:lnTo>
                        <a:pt x="312" y="291"/>
                      </a:lnTo>
                      <a:lnTo>
                        <a:pt x="333" y="300"/>
                      </a:lnTo>
                      <a:lnTo>
                        <a:pt x="333" y="317"/>
                      </a:lnTo>
                      <a:lnTo>
                        <a:pt x="328" y="317"/>
                      </a:lnTo>
                      <a:lnTo>
                        <a:pt x="307" y="284"/>
                      </a:lnTo>
                      <a:lnTo>
                        <a:pt x="307" y="284"/>
                      </a:lnTo>
                      <a:lnTo>
                        <a:pt x="307" y="284"/>
                      </a:lnTo>
                      <a:close/>
                      <a:moveTo>
                        <a:pt x="333" y="251"/>
                      </a:moveTo>
                      <a:lnTo>
                        <a:pt x="328" y="234"/>
                      </a:lnTo>
                      <a:lnTo>
                        <a:pt x="333" y="230"/>
                      </a:lnTo>
                      <a:lnTo>
                        <a:pt x="345" y="246"/>
                      </a:lnTo>
                      <a:lnTo>
                        <a:pt x="333" y="251"/>
                      </a:lnTo>
                      <a:lnTo>
                        <a:pt x="333" y="251"/>
                      </a:lnTo>
                      <a:lnTo>
                        <a:pt x="333" y="251"/>
                      </a:lnTo>
                      <a:close/>
                      <a:moveTo>
                        <a:pt x="64" y="246"/>
                      </a:moveTo>
                      <a:lnTo>
                        <a:pt x="64" y="263"/>
                      </a:lnTo>
                      <a:lnTo>
                        <a:pt x="59" y="267"/>
                      </a:lnTo>
                      <a:lnTo>
                        <a:pt x="59" y="246"/>
                      </a:lnTo>
                      <a:lnTo>
                        <a:pt x="64" y="246"/>
                      </a:lnTo>
                      <a:lnTo>
                        <a:pt x="64" y="246"/>
                      </a:lnTo>
                      <a:lnTo>
                        <a:pt x="64" y="246"/>
                      </a:lnTo>
                      <a:close/>
                      <a:moveTo>
                        <a:pt x="404" y="267"/>
                      </a:moveTo>
                      <a:lnTo>
                        <a:pt x="404" y="263"/>
                      </a:lnTo>
                      <a:lnTo>
                        <a:pt x="413" y="263"/>
                      </a:lnTo>
                      <a:lnTo>
                        <a:pt x="404" y="267"/>
                      </a:lnTo>
                      <a:lnTo>
                        <a:pt x="404" y="267"/>
                      </a:lnTo>
                      <a:lnTo>
                        <a:pt x="404" y="267"/>
                      </a:lnTo>
                      <a:close/>
                      <a:moveTo>
                        <a:pt x="442" y="300"/>
                      </a:moveTo>
                      <a:lnTo>
                        <a:pt x="430" y="291"/>
                      </a:lnTo>
                      <a:lnTo>
                        <a:pt x="435" y="284"/>
                      </a:lnTo>
                      <a:lnTo>
                        <a:pt x="430" y="267"/>
                      </a:lnTo>
                      <a:lnTo>
                        <a:pt x="451" y="267"/>
                      </a:lnTo>
                      <a:lnTo>
                        <a:pt x="451" y="291"/>
                      </a:lnTo>
                      <a:lnTo>
                        <a:pt x="442" y="300"/>
                      </a:lnTo>
                      <a:lnTo>
                        <a:pt x="442" y="300"/>
                      </a:lnTo>
                      <a:lnTo>
                        <a:pt x="442" y="300"/>
                      </a:lnTo>
                      <a:close/>
                      <a:moveTo>
                        <a:pt x="59" y="279"/>
                      </a:moveTo>
                      <a:lnTo>
                        <a:pt x="76" y="307"/>
                      </a:lnTo>
                      <a:lnTo>
                        <a:pt x="43" y="300"/>
                      </a:lnTo>
                      <a:lnTo>
                        <a:pt x="59" y="279"/>
                      </a:lnTo>
                      <a:lnTo>
                        <a:pt x="59" y="279"/>
                      </a:lnTo>
                      <a:lnTo>
                        <a:pt x="59" y="279"/>
                      </a:lnTo>
                      <a:close/>
                      <a:moveTo>
                        <a:pt x="269" y="317"/>
                      </a:moveTo>
                      <a:lnTo>
                        <a:pt x="269" y="324"/>
                      </a:lnTo>
                      <a:lnTo>
                        <a:pt x="258" y="324"/>
                      </a:lnTo>
                      <a:lnTo>
                        <a:pt x="269" y="317"/>
                      </a:lnTo>
                      <a:lnTo>
                        <a:pt x="269" y="317"/>
                      </a:lnTo>
                      <a:lnTo>
                        <a:pt x="269" y="317"/>
                      </a:lnTo>
                      <a:close/>
                      <a:moveTo>
                        <a:pt x="366" y="341"/>
                      </a:moveTo>
                      <a:lnTo>
                        <a:pt x="350" y="317"/>
                      </a:lnTo>
                      <a:lnTo>
                        <a:pt x="350" y="317"/>
                      </a:lnTo>
                      <a:lnTo>
                        <a:pt x="366" y="324"/>
                      </a:lnTo>
                      <a:lnTo>
                        <a:pt x="366" y="341"/>
                      </a:lnTo>
                      <a:lnTo>
                        <a:pt x="366" y="341"/>
                      </a:lnTo>
                      <a:lnTo>
                        <a:pt x="366" y="341"/>
                      </a:lnTo>
                      <a:close/>
                      <a:moveTo>
                        <a:pt x="76" y="341"/>
                      </a:moveTo>
                      <a:lnTo>
                        <a:pt x="64" y="333"/>
                      </a:lnTo>
                      <a:lnTo>
                        <a:pt x="64" y="324"/>
                      </a:lnTo>
                      <a:lnTo>
                        <a:pt x="92" y="341"/>
                      </a:lnTo>
                      <a:lnTo>
                        <a:pt x="80" y="341"/>
                      </a:lnTo>
                      <a:lnTo>
                        <a:pt x="76" y="341"/>
                      </a:lnTo>
                      <a:lnTo>
                        <a:pt x="76" y="341"/>
                      </a:lnTo>
                      <a:lnTo>
                        <a:pt x="76" y="341"/>
                      </a:lnTo>
                      <a:close/>
                      <a:moveTo>
                        <a:pt x="494" y="345"/>
                      </a:moveTo>
                      <a:lnTo>
                        <a:pt x="484" y="341"/>
                      </a:lnTo>
                      <a:lnTo>
                        <a:pt x="489" y="333"/>
                      </a:lnTo>
                      <a:lnTo>
                        <a:pt x="510" y="341"/>
                      </a:lnTo>
                      <a:lnTo>
                        <a:pt x="494" y="345"/>
                      </a:lnTo>
                      <a:lnTo>
                        <a:pt x="494" y="345"/>
                      </a:lnTo>
                      <a:lnTo>
                        <a:pt x="494" y="345"/>
                      </a:lnTo>
                      <a:close/>
                      <a:moveTo>
                        <a:pt x="258" y="341"/>
                      </a:moveTo>
                      <a:lnTo>
                        <a:pt x="258" y="333"/>
                      </a:lnTo>
                      <a:lnTo>
                        <a:pt x="269" y="333"/>
                      </a:lnTo>
                      <a:lnTo>
                        <a:pt x="258" y="341"/>
                      </a:lnTo>
                      <a:lnTo>
                        <a:pt x="258" y="341"/>
                      </a:lnTo>
                      <a:lnTo>
                        <a:pt x="258" y="341"/>
                      </a:lnTo>
                      <a:close/>
                      <a:moveTo>
                        <a:pt x="435" y="357"/>
                      </a:moveTo>
                      <a:lnTo>
                        <a:pt x="442" y="345"/>
                      </a:lnTo>
                      <a:lnTo>
                        <a:pt x="468" y="341"/>
                      </a:lnTo>
                      <a:lnTo>
                        <a:pt x="435" y="357"/>
                      </a:lnTo>
                      <a:lnTo>
                        <a:pt x="435" y="357"/>
                      </a:lnTo>
                      <a:lnTo>
                        <a:pt x="435" y="357"/>
                      </a:lnTo>
                      <a:close/>
                      <a:moveTo>
                        <a:pt x="324" y="357"/>
                      </a:moveTo>
                      <a:lnTo>
                        <a:pt x="324" y="341"/>
                      </a:lnTo>
                      <a:lnTo>
                        <a:pt x="328" y="341"/>
                      </a:lnTo>
                      <a:lnTo>
                        <a:pt x="324" y="357"/>
                      </a:lnTo>
                      <a:lnTo>
                        <a:pt x="324" y="357"/>
                      </a:lnTo>
                      <a:lnTo>
                        <a:pt x="324" y="357"/>
                      </a:lnTo>
                      <a:close/>
                      <a:moveTo>
                        <a:pt x="376" y="341"/>
                      </a:moveTo>
                      <a:lnTo>
                        <a:pt x="383" y="345"/>
                      </a:lnTo>
                      <a:lnTo>
                        <a:pt x="383" y="357"/>
                      </a:lnTo>
                      <a:lnTo>
                        <a:pt x="366" y="341"/>
                      </a:lnTo>
                      <a:lnTo>
                        <a:pt x="376" y="341"/>
                      </a:lnTo>
                      <a:lnTo>
                        <a:pt x="376" y="341"/>
                      </a:lnTo>
                      <a:lnTo>
                        <a:pt x="376" y="341"/>
                      </a:lnTo>
                      <a:close/>
                      <a:moveTo>
                        <a:pt x="359" y="362"/>
                      </a:moveTo>
                      <a:lnTo>
                        <a:pt x="359" y="357"/>
                      </a:lnTo>
                      <a:lnTo>
                        <a:pt x="366" y="362"/>
                      </a:lnTo>
                      <a:lnTo>
                        <a:pt x="359" y="362"/>
                      </a:lnTo>
                      <a:lnTo>
                        <a:pt x="359" y="362"/>
                      </a:lnTo>
                      <a:lnTo>
                        <a:pt x="359" y="362"/>
                      </a:lnTo>
                      <a:close/>
                      <a:moveTo>
                        <a:pt x="397" y="362"/>
                      </a:moveTo>
                      <a:lnTo>
                        <a:pt x="387" y="357"/>
                      </a:lnTo>
                      <a:lnTo>
                        <a:pt x="397" y="357"/>
                      </a:lnTo>
                      <a:lnTo>
                        <a:pt x="397" y="362"/>
                      </a:lnTo>
                      <a:lnTo>
                        <a:pt x="397" y="362"/>
                      </a:lnTo>
                      <a:lnTo>
                        <a:pt x="397" y="362"/>
                      </a:lnTo>
                      <a:close/>
                      <a:moveTo>
                        <a:pt x="328" y="357"/>
                      </a:moveTo>
                      <a:lnTo>
                        <a:pt x="333" y="362"/>
                      </a:lnTo>
                      <a:lnTo>
                        <a:pt x="328" y="374"/>
                      </a:lnTo>
                      <a:lnTo>
                        <a:pt x="328" y="357"/>
                      </a:lnTo>
                      <a:lnTo>
                        <a:pt x="328" y="357"/>
                      </a:lnTo>
                      <a:lnTo>
                        <a:pt x="328" y="357"/>
                      </a:lnTo>
                      <a:close/>
                      <a:moveTo>
                        <a:pt x="333" y="390"/>
                      </a:moveTo>
                      <a:lnTo>
                        <a:pt x="328" y="390"/>
                      </a:lnTo>
                      <a:lnTo>
                        <a:pt x="328" y="378"/>
                      </a:lnTo>
                      <a:lnTo>
                        <a:pt x="333" y="378"/>
                      </a:lnTo>
                      <a:lnTo>
                        <a:pt x="333" y="390"/>
                      </a:lnTo>
                      <a:lnTo>
                        <a:pt x="333" y="390"/>
                      </a:lnTo>
                      <a:lnTo>
                        <a:pt x="333" y="390"/>
                      </a:lnTo>
                      <a:close/>
                      <a:moveTo>
                        <a:pt x="397" y="402"/>
                      </a:moveTo>
                      <a:lnTo>
                        <a:pt x="387" y="390"/>
                      </a:lnTo>
                      <a:lnTo>
                        <a:pt x="404" y="378"/>
                      </a:lnTo>
                      <a:lnTo>
                        <a:pt x="413" y="395"/>
                      </a:lnTo>
                      <a:lnTo>
                        <a:pt x="397" y="402"/>
                      </a:lnTo>
                      <a:lnTo>
                        <a:pt x="397" y="402"/>
                      </a:lnTo>
                      <a:lnTo>
                        <a:pt x="397" y="402"/>
                      </a:lnTo>
                      <a:close/>
                      <a:moveTo>
                        <a:pt x="383" y="395"/>
                      </a:moveTo>
                      <a:lnTo>
                        <a:pt x="376" y="395"/>
                      </a:lnTo>
                      <a:lnTo>
                        <a:pt x="387" y="390"/>
                      </a:lnTo>
                      <a:lnTo>
                        <a:pt x="383" y="395"/>
                      </a:lnTo>
                      <a:lnTo>
                        <a:pt x="383" y="395"/>
                      </a:lnTo>
                      <a:lnTo>
                        <a:pt x="383" y="395"/>
                      </a:lnTo>
                      <a:close/>
                      <a:moveTo>
                        <a:pt x="506" y="402"/>
                      </a:moveTo>
                      <a:lnTo>
                        <a:pt x="494" y="390"/>
                      </a:lnTo>
                      <a:lnTo>
                        <a:pt x="510" y="395"/>
                      </a:lnTo>
                      <a:lnTo>
                        <a:pt x="506" y="402"/>
                      </a:lnTo>
                      <a:lnTo>
                        <a:pt x="506" y="402"/>
                      </a:lnTo>
                      <a:lnTo>
                        <a:pt x="506" y="402"/>
                      </a:lnTo>
                      <a:close/>
                      <a:moveTo>
                        <a:pt x="350" y="402"/>
                      </a:moveTo>
                      <a:lnTo>
                        <a:pt x="345" y="395"/>
                      </a:lnTo>
                      <a:lnTo>
                        <a:pt x="350" y="402"/>
                      </a:lnTo>
                      <a:lnTo>
                        <a:pt x="350" y="402"/>
                      </a:lnTo>
                      <a:lnTo>
                        <a:pt x="350" y="402"/>
                      </a:lnTo>
                      <a:lnTo>
                        <a:pt x="350" y="402"/>
                      </a:lnTo>
                      <a:close/>
                      <a:moveTo>
                        <a:pt x="376" y="402"/>
                      </a:moveTo>
                      <a:lnTo>
                        <a:pt x="366" y="395"/>
                      </a:lnTo>
                      <a:lnTo>
                        <a:pt x="376" y="395"/>
                      </a:lnTo>
                      <a:lnTo>
                        <a:pt x="376" y="402"/>
                      </a:lnTo>
                      <a:lnTo>
                        <a:pt x="376" y="402"/>
                      </a:lnTo>
                      <a:lnTo>
                        <a:pt x="376" y="402"/>
                      </a:lnTo>
                      <a:close/>
                      <a:moveTo>
                        <a:pt x="506" y="428"/>
                      </a:moveTo>
                      <a:lnTo>
                        <a:pt x="506" y="418"/>
                      </a:lnTo>
                      <a:lnTo>
                        <a:pt x="510" y="411"/>
                      </a:lnTo>
                      <a:lnTo>
                        <a:pt x="539" y="411"/>
                      </a:lnTo>
                      <a:lnTo>
                        <a:pt x="506" y="418"/>
                      </a:lnTo>
                      <a:lnTo>
                        <a:pt x="506" y="428"/>
                      </a:lnTo>
                      <a:lnTo>
                        <a:pt x="506" y="428"/>
                      </a:lnTo>
                      <a:lnTo>
                        <a:pt x="506" y="428"/>
                      </a:lnTo>
                      <a:close/>
                      <a:moveTo>
                        <a:pt x="430" y="418"/>
                      </a:moveTo>
                      <a:lnTo>
                        <a:pt x="421" y="411"/>
                      </a:lnTo>
                      <a:lnTo>
                        <a:pt x="435" y="411"/>
                      </a:lnTo>
                      <a:lnTo>
                        <a:pt x="430" y="418"/>
                      </a:lnTo>
                      <a:lnTo>
                        <a:pt x="430" y="418"/>
                      </a:lnTo>
                      <a:lnTo>
                        <a:pt x="430" y="418"/>
                      </a:lnTo>
                      <a:close/>
                      <a:moveTo>
                        <a:pt x="397" y="428"/>
                      </a:moveTo>
                      <a:lnTo>
                        <a:pt x="387" y="411"/>
                      </a:lnTo>
                      <a:lnTo>
                        <a:pt x="397" y="418"/>
                      </a:lnTo>
                      <a:lnTo>
                        <a:pt x="397" y="428"/>
                      </a:lnTo>
                      <a:lnTo>
                        <a:pt x="397" y="428"/>
                      </a:lnTo>
                      <a:lnTo>
                        <a:pt x="397" y="428"/>
                      </a:lnTo>
                      <a:close/>
                      <a:moveTo>
                        <a:pt x="324" y="428"/>
                      </a:moveTo>
                      <a:lnTo>
                        <a:pt x="324" y="418"/>
                      </a:lnTo>
                      <a:lnTo>
                        <a:pt x="333" y="418"/>
                      </a:lnTo>
                      <a:lnTo>
                        <a:pt x="333" y="428"/>
                      </a:lnTo>
                      <a:lnTo>
                        <a:pt x="324" y="428"/>
                      </a:lnTo>
                      <a:lnTo>
                        <a:pt x="324" y="428"/>
                      </a:lnTo>
                      <a:lnTo>
                        <a:pt x="324" y="428"/>
                      </a:lnTo>
                      <a:close/>
                      <a:moveTo>
                        <a:pt x="565" y="435"/>
                      </a:moveTo>
                      <a:lnTo>
                        <a:pt x="560" y="435"/>
                      </a:lnTo>
                      <a:lnTo>
                        <a:pt x="565" y="428"/>
                      </a:lnTo>
                      <a:lnTo>
                        <a:pt x="565" y="435"/>
                      </a:lnTo>
                      <a:lnTo>
                        <a:pt x="565" y="435"/>
                      </a:lnTo>
                      <a:lnTo>
                        <a:pt x="565" y="435"/>
                      </a:lnTo>
                      <a:close/>
                      <a:moveTo>
                        <a:pt x="473" y="435"/>
                      </a:moveTo>
                      <a:lnTo>
                        <a:pt x="458" y="435"/>
                      </a:lnTo>
                      <a:lnTo>
                        <a:pt x="458" y="435"/>
                      </a:lnTo>
                      <a:lnTo>
                        <a:pt x="468" y="428"/>
                      </a:lnTo>
                      <a:lnTo>
                        <a:pt x="473" y="435"/>
                      </a:lnTo>
                      <a:lnTo>
                        <a:pt x="473" y="435"/>
                      </a:lnTo>
                      <a:lnTo>
                        <a:pt x="473" y="435"/>
                      </a:lnTo>
                      <a:close/>
                      <a:moveTo>
                        <a:pt x="397" y="452"/>
                      </a:moveTo>
                      <a:lnTo>
                        <a:pt x="397" y="444"/>
                      </a:lnTo>
                      <a:lnTo>
                        <a:pt x="404" y="444"/>
                      </a:lnTo>
                      <a:lnTo>
                        <a:pt x="397" y="452"/>
                      </a:lnTo>
                      <a:lnTo>
                        <a:pt x="397" y="452"/>
                      </a:lnTo>
                      <a:lnTo>
                        <a:pt x="397" y="452"/>
                      </a:lnTo>
                      <a:close/>
                      <a:moveTo>
                        <a:pt x="539" y="452"/>
                      </a:moveTo>
                      <a:lnTo>
                        <a:pt x="527" y="444"/>
                      </a:lnTo>
                      <a:lnTo>
                        <a:pt x="543" y="444"/>
                      </a:lnTo>
                      <a:lnTo>
                        <a:pt x="539" y="452"/>
                      </a:lnTo>
                      <a:lnTo>
                        <a:pt x="539" y="452"/>
                      </a:lnTo>
                      <a:lnTo>
                        <a:pt x="539" y="452"/>
                      </a:lnTo>
                      <a:close/>
                      <a:moveTo>
                        <a:pt x="591" y="444"/>
                      </a:moveTo>
                      <a:lnTo>
                        <a:pt x="581" y="468"/>
                      </a:lnTo>
                      <a:lnTo>
                        <a:pt x="565" y="485"/>
                      </a:lnTo>
                      <a:lnTo>
                        <a:pt x="560" y="489"/>
                      </a:lnTo>
                      <a:lnTo>
                        <a:pt x="560" y="468"/>
                      </a:lnTo>
                      <a:lnTo>
                        <a:pt x="565" y="456"/>
                      </a:lnTo>
                      <a:lnTo>
                        <a:pt x="591" y="444"/>
                      </a:lnTo>
                      <a:lnTo>
                        <a:pt x="591" y="444"/>
                      </a:lnTo>
                      <a:lnTo>
                        <a:pt x="591" y="444"/>
                      </a:lnTo>
                      <a:close/>
                      <a:moveTo>
                        <a:pt x="421" y="452"/>
                      </a:moveTo>
                      <a:lnTo>
                        <a:pt x="421" y="444"/>
                      </a:lnTo>
                      <a:lnTo>
                        <a:pt x="430" y="452"/>
                      </a:lnTo>
                      <a:lnTo>
                        <a:pt x="421" y="452"/>
                      </a:lnTo>
                      <a:lnTo>
                        <a:pt x="421" y="452"/>
                      </a:lnTo>
                      <a:lnTo>
                        <a:pt x="421" y="452"/>
                      </a:lnTo>
                      <a:close/>
                      <a:moveTo>
                        <a:pt x="227" y="452"/>
                      </a:moveTo>
                      <a:lnTo>
                        <a:pt x="236" y="456"/>
                      </a:lnTo>
                      <a:lnTo>
                        <a:pt x="236" y="468"/>
                      </a:lnTo>
                      <a:lnTo>
                        <a:pt x="220" y="468"/>
                      </a:lnTo>
                      <a:lnTo>
                        <a:pt x="227" y="452"/>
                      </a:lnTo>
                      <a:lnTo>
                        <a:pt x="227" y="452"/>
                      </a:lnTo>
                      <a:lnTo>
                        <a:pt x="227" y="452"/>
                      </a:lnTo>
                      <a:close/>
                      <a:moveTo>
                        <a:pt x="522" y="529"/>
                      </a:moveTo>
                      <a:lnTo>
                        <a:pt x="510" y="513"/>
                      </a:lnTo>
                      <a:lnTo>
                        <a:pt x="527" y="489"/>
                      </a:lnTo>
                      <a:lnTo>
                        <a:pt x="522" y="529"/>
                      </a:lnTo>
                      <a:lnTo>
                        <a:pt x="522" y="529"/>
                      </a:lnTo>
                      <a:lnTo>
                        <a:pt x="522" y="529"/>
                      </a:lnTo>
                      <a:close/>
                      <a:moveTo>
                        <a:pt x="274" y="546"/>
                      </a:moveTo>
                      <a:lnTo>
                        <a:pt x="269" y="539"/>
                      </a:lnTo>
                      <a:lnTo>
                        <a:pt x="269" y="513"/>
                      </a:lnTo>
                      <a:lnTo>
                        <a:pt x="279" y="522"/>
                      </a:lnTo>
                      <a:lnTo>
                        <a:pt x="279" y="506"/>
                      </a:lnTo>
                      <a:lnTo>
                        <a:pt x="291" y="522"/>
                      </a:lnTo>
                      <a:lnTo>
                        <a:pt x="312" y="513"/>
                      </a:lnTo>
                      <a:lnTo>
                        <a:pt x="307" y="522"/>
                      </a:lnTo>
                      <a:lnTo>
                        <a:pt x="324" y="529"/>
                      </a:lnTo>
                      <a:lnTo>
                        <a:pt x="350" y="529"/>
                      </a:lnTo>
                      <a:lnTo>
                        <a:pt x="397" y="539"/>
                      </a:lnTo>
                      <a:lnTo>
                        <a:pt x="421" y="539"/>
                      </a:lnTo>
                      <a:lnTo>
                        <a:pt x="421" y="546"/>
                      </a:lnTo>
                      <a:lnTo>
                        <a:pt x="430" y="555"/>
                      </a:lnTo>
                      <a:lnTo>
                        <a:pt x="458" y="539"/>
                      </a:lnTo>
                      <a:lnTo>
                        <a:pt x="458" y="555"/>
                      </a:lnTo>
                      <a:lnTo>
                        <a:pt x="442" y="563"/>
                      </a:lnTo>
                      <a:lnTo>
                        <a:pt x="366" y="567"/>
                      </a:lnTo>
                      <a:lnTo>
                        <a:pt x="350" y="567"/>
                      </a:lnTo>
                      <a:lnTo>
                        <a:pt x="350" y="555"/>
                      </a:lnTo>
                      <a:lnTo>
                        <a:pt x="328" y="546"/>
                      </a:lnTo>
                      <a:lnTo>
                        <a:pt x="274" y="546"/>
                      </a:lnTo>
                      <a:lnTo>
                        <a:pt x="274" y="546"/>
                      </a:lnTo>
                      <a:lnTo>
                        <a:pt x="274" y="546"/>
                      </a:lnTo>
                      <a:close/>
                      <a:moveTo>
                        <a:pt x="494" y="529"/>
                      </a:moveTo>
                      <a:lnTo>
                        <a:pt x="506" y="529"/>
                      </a:lnTo>
                      <a:lnTo>
                        <a:pt x="510" y="522"/>
                      </a:lnTo>
                      <a:lnTo>
                        <a:pt x="494" y="529"/>
                      </a:lnTo>
                      <a:lnTo>
                        <a:pt x="494" y="529"/>
                      </a:lnTo>
                      <a:lnTo>
                        <a:pt x="494" y="52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25" name="Freeform 464">
                  <a:extLst>
                    <a:ext uri="{FF2B5EF4-FFF2-40B4-BE49-F238E27FC236}">
                      <a16:creationId xmlns:a16="http://schemas.microsoft.com/office/drawing/2014/main" id="{FC8EBB5F-06D1-4E2B-BE3E-E89EE7888540}"/>
                    </a:ext>
                  </a:extLst>
                </p:cNvPr>
                <p:cNvSpPr>
                  <a:spLocks noEditPoints="1"/>
                </p:cNvSpPr>
                <p:nvPr/>
              </p:nvSpPr>
              <p:spPr bwMode="gray">
                <a:xfrm>
                  <a:off x="7115264" y="2574650"/>
                  <a:ext cx="174136" cy="149864"/>
                </a:xfrm>
                <a:custGeom>
                  <a:avLst/>
                  <a:gdLst>
                    <a:gd name="T0" fmla="*/ 82 w 423"/>
                    <a:gd name="T1" fmla="*/ 83 h 364"/>
                    <a:gd name="T2" fmla="*/ 125 w 423"/>
                    <a:gd name="T3" fmla="*/ 95 h 364"/>
                    <a:gd name="T4" fmla="*/ 125 w 423"/>
                    <a:gd name="T5" fmla="*/ 71 h 364"/>
                    <a:gd name="T6" fmla="*/ 151 w 423"/>
                    <a:gd name="T7" fmla="*/ 38 h 364"/>
                    <a:gd name="T8" fmla="*/ 196 w 423"/>
                    <a:gd name="T9" fmla="*/ 0 h 364"/>
                    <a:gd name="T10" fmla="*/ 264 w 423"/>
                    <a:gd name="T11" fmla="*/ 54 h 364"/>
                    <a:gd name="T12" fmla="*/ 340 w 423"/>
                    <a:gd name="T13" fmla="*/ 71 h 364"/>
                    <a:gd name="T14" fmla="*/ 378 w 423"/>
                    <a:gd name="T15" fmla="*/ 88 h 364"/>
                    <a:gd name="T16" fmla="*/ 389 w 423"/>
                    <a:gd name="T17" fmla="*/ 104 h 364"/>
                    <a:gd name="T18" fmla="*/ 389 w 423"/>
                    <a:gd name="T19" fmla="*/ 149 h 364"/>
                    <a:gd name="T20" fmla="*/ 356 w 423"/>
                    <a:gd name="T21" fmla="*/ 137 h 364"/>
                    <a:gd name="T22" fmla="*/ 260 w 423"/>
                    <a:gd name="T23" fmla="*/ 128 h 364"/>
                    <a:gd name="T24" fmla="*/ 212 w 423"/>
                    <a:gd name="T25" fmla="*/ 121 h 364"/>
                    <a:gd name="T26" fmla="*/ 163 w 423"/>
                    <a:gd name="T27" fmla="*/ 128 h 364"/>
                    <a:gd name="T28" fmla="*/ 189 w 423"/>
                    <a:gd name="T29" fmla="*/ 199 h 364"/>
                    <a:gd name="T30" fmla="*/ 243 w 423"/>
                    <a:gd name="T31" fmla="*/ 260 h 364"/>
                    <a:gd name="T32" fmla="*/ 286 w 423"/>
                    <a:gd name="T33" fmla="*/ 310 h 364"/>
                    <a:gd name="T34" fmla="*/ 243 w 423"/>
                    <a:gd name="T35" fmla="*/ 276 h 364"/>
                    <a:gd name="T36" fmla="*/ 175 w 423"/>
                    <a:gd name="T37" fmla="*/ 253 h 364"/>
                    <a:gd name="T38" fmla="*/ 108 w 423"/>
                    <a:gd name="T39" fmla="*/ 203 h 364"/>
                    <a:gd name="T40" fmla="*/ 141 w 423"/>
                    <a:gd name="T41" fmla="*/ 203 h 364"/>
                    <a:gd name="T42" fmla="*/ 104 w 423"/>
                    <a:gd name="T43" fmla="*/ 144 h 364"/>
                    <a:gd name="T44" fmla="*/ 54 w 423"/>
                    <a:gd name="T45" fmla="*/ 111 h 364"/>
                    <a:gd name="T46" fmla="*/ 12 w 423"/>
                    <a:gd name="T47" fmla="*/ 128 h 364"/>
                    <a:gd name="T48" fmla="*/ 12 w 423"/>
                    <a:gd name="T49" fmla="*/ 95 h 364"/>
                    <a:gd name="T50" fmla="*/ 66 w 423"/>
                    <a:gd name="T51" fmla="*/ 137 h 364"/>
                    <a:gd name="T52" fmla="*/ 87 w 423"/>
                    <a:gd name="T53" fmla="*/ 144 h 364"/>
                    <a:gd name="T54" fmla="*/ 71 w 423"/>
                    <a:gd name="T55" fmla="*/ 177 h 364"/>
                    <a:gd name="T56" fmla="*/ 54 w 423"/>
                    <a:gd name="T57" fmla="*/ 128 h 364"/>
                    <a:gd name="T58" fmla="*/ 71 w 423"/>
                    <a:gd name="T59" fmla="*/ 177 h 364"/>
                    <a:gd name="T60" fmla="*/ 87 w 423"/>
                    <a:gd name="T61" fmla="*/ 165 h 364"/>
                    <a:gd name="T62" fmla="*/ 87 w 423"/>
                    <a:gd name="T63" fmla="*/ 165 h 364"/>
                    <a:gd name="T64" fmla="*/ 120 w 423"/>
                    <a:gd name="T65" fmla="*/ 236 h 364"/>
                    <a:gd name="T66" fmla="*/ 120 w 423"/>
                    <a:gd name="T67" fmla="*/ 236 h 364"/>
                    <a:gd name="T68" fmla="*/ 226 w 423"/>
                    <a:gd name="T69" fmla="*/ 293 h 364"/>
                    <a:gd name="T70" fmla="*/ 243 w 423"/>
                    <a:gd name="T71" fmla="*/ 288 h 364"/>
                    <a:gd name="T72" fmla="*/ 226 w 423"/>
                    <a:gd name="T73" fmla="*/ 293 h 364"/>
                    <a:gd name="T74" fmla="*/ 260 w 423"/>
                    <a:gd name="T75" fmla="*/ 305 h 364"/>
                    <a:gd name="T76" fmla="*/ 248 w 423"/>
                    <a:gd name="T77" fmla="*/ 310 h 364"/>
                    <a:gd name="T78" fmla="*/ 196 w 423"/>
                    <a:gd name="T79" fmla="*/ 310 h 364"/>
                    <a:gd name="T80" fmla="*/ 179 w 423"/>
                    <a:gd name="T81" fmla="*/ 314 h 364"/>
                    <a:gd name="T82" fmla="*/ 352 w 423"/>
                    <a:gd name="T83" fmla="*/ 359 h 364"/>
                    <a:gd name="T84" fmla="*/ 314 w 423"/>
                    <a:gd name="T85" fmla="*/ 331 h 364"/>
                    <a:gd name="T86" fmla="*/ 286 w 423"/>
                    <a:gd name="T87" fmla="*/ 326 h 364"/>
                    <a:gd name="T88" fmla="*/ 217 w 423"/>
                    <a:gd name="T89" fmla="*/ 314 h 364"/>
                    <a:gd name="T90" fmla="*/ 234 w 423"/>
                    <a:gd name="T91" fmla="*/ 326 h 364"/>
                    <a:gd name="T92" fmla="*/ 234 w 423"/>
                    <a:gd name="T93" fmla="*/ 331 h 364"/>
                    <a:gd name="T94" fmla="*/ 243 w 423"/>
                    <a:gd name="T95" fmla="*/ 343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3" h="364">
                      <a:moveTo>
                        <a:pt x="12" y="95"/>
                      </a:moveTo>
                      <a:lnTo>
                        <a:pt x="66" y="95"/>
                      </a:lnTo>
                      <a:lnTo>
                        <a:pt x="82" y="83"/>
                      </a:lnTo>
                      <a:lnTo>
                        <a:pt x="99" y="95"/>
                      </a:lnTo>
                      <a:lnTo>
                        <a:pt x="120" y="104"/>
                      </a:lnTo>
                      <a:lnTo>
                        <a:pt x="125" y="95"/>
                      </a:lnTo>
                      <a:lnTo>
                        <a:pt x="137" y="83"/>
                      </a:lnTo>
                      <a:lnTo>
                        <a:pt x="125" y="83"/>
                      </a:lnTo>
                      <a:lnTo>
                        <a:pt x="125" y="71"/>
                      </a:lnTo>
                      <a:lnTo>
                        <a:pt x="158" y="66"/>
                      </a:lnTo>
                      <a:lnTo>
                        <a:pt x="158" y="50"/>
                      </a:lnTo>
                      <a:lnTo>
                        <a:pt x="151" y="38"/>
                      </a:lnTo>
                      <a:lnTo>
                        <a:pt x="151" y="33"/>
                      </a:lnTo>
                      <a:lnTo>
                        <a:pt x="196" y="17"/>
                      </a:lnTo>
                      <a:lnTo>
                        <a:pt x="196" y="0"/>
                      </a:lnTo>
                      <a:lnTo>
                        <a:pt x="217" y="12"/>
                      </a:lnTo>
                      <a:lnTo>
                        <a:pt x="260" y="33"/>
                      </a:lnTo>
                      <a:lnTo>
                        <a:pt x="264" y="54"/>
                      </a:lnTo>
                      <a:lnTo>
                        <a:pt x="286" y="54"/>
                      </a:lnTo>
                      <a:lnTo>
                        <a:pt x="297" y="66"/>
                      </a:lnTo>
                      <a:lnTo>
                        <a:pt x="340" y="71"/>
                      </a:lnTo>
                      <a:lnTo>
                        <a:pt x="373" y="54"/>
                      </a:lnTo>
                      <a:lnTo>
                        <a:pt x="378" y="71"/>
                      </a:lnTo>
                      <a:lnTo>
                        <a:pt x="378" y="88"/>
                      </a:lnTo>
                      <a:lnTo>
                        <a:pt x="394" y="95"/>
                      </a:lnTo>
                      <a:lnTo>
                        <a:pt x="389" y="95"/>
                      </a:lnTo>
                      <a:lnTo>
                        <a:pt x="389" y="104"/>
                      </a:lnTo>
                      <a:lnTo>
                        <a:pt x="423" y="121"/>
                      </a:lnTo>
                      <a:lnTo>
                        <a:pt x="394" y="121"/>
                      </a:lnTo>
                      <a:lnTo>
                        <a:pt x="389" y="149"/>
                      </a:lnTo>
                      <a:lnTo>
                        <a:pt x="373" y="149"/>
                      </a:lnTo>
                      <a:lnTo>
                        <a:pt x="373" y="144"/>
                      </a:lnTo>
                      <a:lnTo>
                        <a:pt x="356" y="137"/>
                      </a:lnTo>
                      <a:lnTo>
                        <a:pt x="335" y="128"/>
                      </a:lnTo>
                      <a:lnTo>
                        <a:pt x="302" y="137"/>
                      </a:lnTo>
                      <a:lnTo>
                        <a:pt x="260" y="128"/>
                      </a:lnTo>
                      <a:lnTo>
                        <a:pt x="243" y="121"/>
                      </a:lnTo>
                      <a:lnTo>
                        <a:pt x="234" y="121"/>
                      </a:lnTo>
                      <a:lnTo>
                        <a:pt x="212" y="121"/>
                      </a:lnTo>
                      <a:lnTo>
                        <a:pt x="196" y="144"/>
                      </a:lnTo>
                      <a:lnTo>
                        <a:pt x="179" y="121"/>
                      </a:lnTo>
                      <a:lnTo>
                        <a:pt x="163" y="128"/>
                      </a:lnTo>
                      <a:lnTo>
                        <a:pt x="158" y="161"/>
                      </a:lnTo>
                      <a:lnTo>
                        <a:pt x="189" y="182"/>
                      </a:lnTo>
                      <a:lnTo>
                        <a:pt x="189" y="199"/>
                      </a:lnTo>
                      <a:lnTo>
                        <a:pt x="189" y="215"/>
                      </a:lnTo>
                      <a:lnTo>
                        <a:pt x="212" y="232"/>
                      </a:lnTo>
                      <a:lnTo>
                        <a:pt x="243" y="260"/>
                      </a:lnTo>
                      <a:lnTo>
                        <a:pt x="264" y="276"/>
                      </a:lnTo>
                      <a:lnTo>
                        <a:pt x="264" y="293"/>
                      </a:lnTo>
                      <a:lnTo>
                        <a:pt x="286" y="310"/>
                      </a:lnTo>
                      <a:lnTo>
                        <a:pt x="297" y="314"/>
                      </a:lnTo>
                      <a:lnTo>
                        <a:pt x="286" y="314"/>
                      </a:lnTo>
                      <a:lnTo>
                        <a:pt x="243" y="276"/>
                      </a:lnTo>
                      <a:lnTo>
                        <a:pt x="205" y="272"/>
                      </a:lnTo>
                      <a:lnTo>
                        <a:pt x="175" y="272"/>
                      </a:lnTo>
                      <a:lnTo>
                        <a:pt x="175" y="253"/>
                      </a:lnTo>
                      <a:lnTo>
                        <a:pt x="137" y="236"/>
                      </a:lnTo>
                      <a:lnTo>
                        <a:pt x="120" y="215"/>
                      </a:lnTo>
                      <a:lnTo>
                        <a:pt x="108" y="203"/>
                      </a:lnTo>
                      <a:lnTo>
                        <a:pt x="125" y="203"/>
                      </a:lnTo>
                      <a:lnTo>
                        <a:pt x="125" y="199"/>
                      </a:lnTo>
                      <a:lnTo>
                        <a:pt x="141" y="203"/>
                      </a:lnTo>
                      <a:lnTo>
                        <a:pt x="104" y="177"/>
                      </a:lnTo>
                      <a:lnTo>
                        <a:pt x="99" y="165"/>
                      </a:lnTo>
                      <a:lnTo>
                        <a:pt x="104" y="144"/>
                      </a:lnTo>
                      <a:lnTo>
                        <a:pt x="99" y="128"/>
                      </a:lnTo>
                      <a:lnTo>
                        <a:pt x="71" y="111"/>
                      </a:lnTo>
                      <a:lnTo>
                        <a:pt x="54" y="111"/>
                      </a:lnTo>
                      <a:lnTo>
                        <a:pt x="49" y="144"/>
                      </a:lnTo>
                      <a:lnTo>
                        <a:pt x="28" y="161"/>
                      </a:lnTo>
                      <a:lnTo>
                        <a:pt x="12" y="128"/>
                      </a:lnTo>
                      <a:lnTo>
                        <a:pt x="0" y="95"/>
                      </a:lnTo>
                      <a:lnTo>
                        <a:pt x="12" y="95"/>
                      </a:lnTo>
                      <a:lnTo>
                        <a:pt x="12" y="95"/>
                      </a:lnTo>
                      <a:lnTo>
                        <a:pt x="12" y="95"/>
                      </a:lnTo>
                      <a:close/>
                      <a:moveTo>
                        <a:pt x="87" y="144"/>
                      </a:moveTo>
                      <a:lnTo>
                        <a:pt x="66" y="137"/>
                      </a:lnTo>
                      <a:lnTo>
                        <a:pt x="71" y="121"/>
                      </a:lnTo>
                      <a:lnTo>
                        <a:pt x="99" y="144"/>
                      </a:lnTo>
                      <a:lnTo>
                        <a:pt x="87" y="144"/>
                      </a:lnTo>
                      <a:lnTo>
                        <a:pt x="87" y="144"/>
                      </a:lnTo>
                      <a:lnTo>
                        <a:pt x="87" y="144"/>
                      </a:lnTo>
                      <a:close/>
                      <a:moveTo>
                        <a:pt x="71" y="177"/>
                      </a:moveTo>
                      <a:lnTo>
                        <a:pt x="54" y="149"/>
                      </a:lnTo>
                      <a:lnTo>
                        <a:pt x="66" y="149"/>
                      </a:lnTo>
                      <a:lnTo>
                        <a:pt x="54" y="128"/>
                      </a:lnTo>
                      <a:lnTo>
                        <a:pt x="54" y="128"/>
                      </a:lnTo>
                      <a:lnTo>
                        <a:pt x="71" y="144"/>
                      </a:lnTo>
                      <a:lnTo>
                        <a:pt x="71" y="177"/>
                      </a:lnTo>
                      <a:lnTo>
                        <a:pt x="71" y="177"/>
                      </a:lnTo>
                      <a:lnTo>
                        <a:pt x="71" y="177"/>
                      </a:lnTo>
                      <a:close/>
                      <a:moveTo>
                        <a:pt x="87" y="165"/>
                      </a:moveTo>
                      <a:lnTo>
                        <a:pt x="125" y="199"/>
                      </a:lnTo>
                      <a:lnTo>
                        <a:pt x="108" y="199"/>
                      </a:lnTo>
                      <a:lnTo>
                        <a:pt x="87" y="165"/>
                      </a:lnTo>
                      <a:lnTo>
                        <a:pt x="87" y="165"/>
                      </a:lnTo>
                      <a:lnTo>
                        <a:pt x="87" y="165"/>
                      </a:lnTo>
                      <a:close/>
                      <a:moveTo>
                        <a:pt x="120" y="236"/>
                      </a:moveTo>
                      <a:lnTo>
                        <a:pt x="99" y="215"/>
                      </a:lnTo>
                      <a:lnTo>
                        <a:pt x="108" y="220"/>
                      </a:lnTo>
                      <a:lnTo>
                        <a:pt x="120" y="236"/>
                      </a:lnTo>
                      <a:lnTo>
                        <a:pt x="120" y="236"/>
                      </a:lnTo>
                      <a:lnTo>
                        <a:pt x="120" y="236"/>
                      </a:lnTo>
                      <a:close/>
                      <a:moveTo>
                        <a:pt x="226" y="293"/>
                      </a:moveTo>
                      <a:lnTo>
                        <a:pt x="205" y="288"/>
                      </a:lnTo>
                      <a:lnTo>
                        <a:pt x="205" y="288"/>
                      </a:lnTo>
                      <a:lnTo>
                        <a:pt x="243" y="288"/>
                      </a:lnTo>
                      <a:lnTo>
                        <a:pt x="226" y="293"/>
                      </a:lnTo>
                      <a:lnTo>
                        <a:pt x="226" y="293"/>
                      </a:lnTo>
                      <a:lnTo>
                        <a:pt x="226" y="293"/>
                      </a:lnTo>
                      <a:close/>
                      <a:moveTo>
                        <a:pt x="248" y="310"/>
                      </a:moveTo>
                      <a:lnTo>
                        <a:pt x="205" y="305"/>
                      </a:lnTo>
                      <a:lnTo>
                        <a:pt x="260" y="305"/>
                      </a:lnTo>
                      <a:lnTo>
                        <a:pt x="248" y="310"/>
                      </a:lnTo>
                      <a:lnTo>
                        <a:pt x="248" y="310"/>
                      </a:lnTo>
                      <a:lnTo>
                        <a:pt x="248" y="310"/>
                      </a:lnTo>
                      <a:close/>
                      <a:moveTo>
                        <a:pt x="179" y="314"/>
                      </a:moveTo>
                      <a:lnTo>
                        <a:pt x="179" y="310"/>
                      </a:lnTo>
                      <a:lnTo>
                        <a:pt x="196" y="310"/>
                      </a:lnTo>
                      <a:lnTo>
                        <a:pt x="179" y="314"/>
                      </a:lnTo>
                      <a:lnTo>
                        <a:pt x="179" y="314"/>
                      </a:lnTo>
                      <a:lnTo>
                        <a:pt x="179" y="314"/>
                      </a:lnTo>
                      <a:close/>
                      <a:moveTo>
                        <a:pt x="286" y="326"/>
                      </a:moveTo>
                      <a:lnTo>
                        <a:pt x="302" y="326"/>
                      </a:lnTo>
                      <a:lnTo>
                        <a:pt x="352" y="359"/>
                      </a:lnTo>
                      <a:lnTo>
                        <a:pt x="352" y="364"/>
                      </a:lnTo>
                      <a:lnTo>
                        <a:pt x="352" y="364"/>
                      </a:lnTo>
                      <a:lnTo>
                        <a:pt x="314" y="331"/>
                      </a:lnTo>
                      <a:lnTo>
                        <a:pt x="248" y="310"/>
                      </a:lnTo>
                      <a:lnTo>
                        <a:pt x="286" y="326"/>
                      </a:lnTo>
                      <a:lnTo>
                        <a:pt x="286" y="326"/>
                      </a:lnTo>
                      <a:lnTo>
                        <a:pt x="286" y="326"/>
                      </a:lnTo>
                      <a:close/>
                      <a:moveTo>
                        <a:pt x="234" y="326"/>
                      </a:moveTo>
                      <a:lnTo>
                        <a:pt x="217" y="314"/>
                      </a:lnTo>
                      <a:lnTo>
                        <a:pt x="260" y="326"/>
                      </a:lnTo>
                      <a:lnTo>
                        <a:pt x="234" y="326"/>
                      </a:lnTo>
                      <a:lnTo>
                        <a:pt x="234" y="326"/>
                      </a:lnTo>
                      <a:lnTo>
                        <a:pt x="234" y="326"/>
                      </a:lnTo>
                      <a:close/>
                      <a:moveTo>
                        <a:pt x="243" y="343"/>
                      </a:moveTo>
                      <a:lnTo>
                        <a:pt x="234" y="331"/>
                      </a:lnTo>
                      <a:lnTo>
                        <a:pt x="243" y="331"/>
                      </a:lnTo>
                      <a:lnTo>
                        <a:pt x="243" y="343"/>
                      </a:lnTo>
                      <a:lnTo>
                        <a:pt x="243" y="343"/>
                      </a:lnTo>
                      <a:lnTo>
                        <a:pt x="243" y="34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26" name="Freeform 465">
                  <a:extLst>
                    <a:ext uri="{FF2B5EF4-FFF2-40B4-BE49-F238E27FC236}">
                      <a16:creationId xmlns:a16="http://schemas.microsoft.com/office/drawing/2014/main" id="{EE8D2F2A-8704-4926-884A-653328B25D94}"/>
                    </a:ext>
                  </a:extLst>
                </p:cNvPr>
                <p:cNvSpPr>
                  <a:spLocks/>
                </p:cNvSpPr>
                <p:nvPr/>
              </p:nvSpPr>
              <p:spPr bwMode="gray">
                <a:xfrm>
                  <a:off x="7188130" y="2498894"/>
                  <a:ext cx="197190" cy="105811"/>
                </a:xfrm>
                <a:custGeom>
                  <a:avLst/>
                  <a:gdLst>
                    <a:gd name="T0" fmla="*/ 298 w 479"/>
                    <a:gd name="T1" fmla="*/ 224 h 257"/>
                    <a:gd name="T2" fmla="*/ 248 w 479"/>
                    <a:gd name="T3" fmla="*/ 217 h 257"/>
                    <a:gd name="T4" fmla="*/ 227 w 479"/>
                    <a:gd name="T5" fmla="*/ 234 h 257"/>
                    <a:gd name="T6" fmla="*/ 215 w 479"/>
                    <a:gd name="T7" fmla="*/ 234 h 257"/>
                    <a:gd name="T8" fmla="*/ 194 w 479"/>
                    <a:gd name="T9" fmla="*/ 241 h 257"/>
                    <a:gd name="T10" fmla="*/ 163 w 479"/>
                    <a:gd name="T11" fmla="*/ 257 h 257"/>
                    <a:gd name="T12" fmla="*/ 118 w 479"/>
                    <a:gd name="T13" fmla="*/ 250 h 257"/>
                    <a:gd name="T14" fmla="*/ 109 w 479"/>
                    <a:gd name="T15" fmla="*/ 241 h 257"/>
                    <a:gd name="T16" fmla="*/ 87 w 479"/>
                    <a:gd name="T17" fmla="*/ 241 h 257"/>
                    <a:gd name="T18" fmla="*/ 80 w 479"/>
                    <a:gd name="T19" fmla="*/ 217 h 257"/>
                    <a:gd name="T20" fmla="*/ 38 w 479"/>
                    <a:gd name="T21" fmla="*/ 196 h 257"/>
                    <a:gd name="T22" fmla="*/ 16 w 479"/>
                    <a:gd name="T23" fmla="*/ 168 h 257"/>
                    <a:gd name="T24" fmla="*/ 26 w 479"/>
                    <a:gd name="T25" fmla="*/ 160 h 257"/>
                    <a:gd name="T26" fmla="*/ 0 w 479"/>
                    <a:gd name="T27" fmla="*/ 156 h 257"/>
                    <a:gd name="T28" fmla="*/ 16 w 479"/>
                    <a:gd name="T29" fmla="*/ 144 h 257"/>
                    <a:gd name="T30" fmla="*/ 33 w 479"/>
                    <a:gd name="T31" fmla="*/ 144 h 257"/>
                    <a:gd name="T32" fmla="*/ 26 w 479"/>
                    <a:gd name="T33" fmla="*/ 123 h 257"/>
                    <a:gd name="T34" fmla="*/ 33 w 479"/>
                    <a:gd name="T35" fmla="*/ 123 h 257"/>
                    <a:gd name="T36" fmla="*/ 33 w 479"/>
                    <a:gd name="T37" fmla="*/ 106 h 257"/>
                    <a:gd name="T38" fmla="*/ 49 w 479"/>
                    <a:gd name="T39" fmla="*/ 99 h 257"/>
                    <a:gd name="T40" fmla="*/ 33 w 479"/>
                    <a:gd name="T41" fmla="*/ 83 h 257"/>
                    <a:gd name="T42" fmla="*/ 38 w 479"/>
                    <a:gd name="T43" fmla="*/ 73 h 257"/>
                    <a:gd name="T44" fmla="*/ 49 w 479"/>
                    <a:gd name="T45" fmla="*/ 83 h 257"/>
                    <a:gd name="T46" fmla="*/ 71 w 479"/>
                    <a:gd name="T47" fmla="*/ 83 h 257"/>
                    <a:gd name="T48" fmla="*/ 80 w 479"/>
                    <a:gd name="T49" fmla="*/ 49 h 257"/>
                    <a:gd name="T50" fmla="*/ 92 w 479"/>
                    <a:gd name="T51" fmla="*/ 49 h 257"/>
                    <a:gd name="T52" fmla="*/ 125 w 479"/>
                    <a:gd name="T53" fmla="*/ 73 h 257"/>
                    <a:gd name="T54" fmla="*/ 156 w 479"/>
                    <a:gd name="T55" fmla="*/ 73 h 257"/>
                    <a:gd name="T56" fmla="*/ 194 w 479"/>
                    <a:gd name="T57" fmla="*/ 66 h 257"/>
                    <a:gd name="T58" fmla="*/ 194 w 479"/>
                    <a:gd name="T59" fmla="*/ 54 h 257"/>
                    <a:gd name="T60" fmla="*/ 210 w 479"/>
                    <a:gd name="T61" fmla="*/ 49 h 257"/>
                    <a:gd name="T62" fmla="*/ 243 w 479"/>
                    <a:gd name="T63" fmla="*/ 45 h 257"/>
                    <a:gd name="T64" fmla="*/ 248 w 479"/>
                    <a:gd name="T65" fmla="*/ 33 h 257"/>
                    <a:gd name="T66" fmla="*/ 269 w 479"/>
                    <a:gd name="T67" fmla="*/ 45 h 257"/>
                    <a:gd name="T68" fmla="*/ 302 w 479"/>
                    <a:gd name="T69" fmla="*/ 28 h 257"/>
                    <a:gd name="T70" fmla="*/ 319 w 479"/>
                    <a:gd name="T71" fmla="*/ 0 h 257"/>
                    <a:gd name="T72" fmla="*/ 323 w 479"/>
                    <a:gd name="T73" fmla="*/ 0 h 257"/>
                    <a:gd name="T74" fmla="*/ 357 w 479"/>
                    <a:gd name="T75" fmla="*/ 0 h 257"/>
                    <a:gd name="T76" fmla="*/ 378 w 479"/>
                    <a:gd name="T77" fmla="*/ 0 h 257"/>
                    <a:gd name="T78" fmla="*/ 404 w 479"/>
                    <a:gd name="T79" fmla="*/ 16 h 257"/>
                    <a:gd name="T80" fmla="*/ 427 w 479"/>
                    <a:gd name="T81" fmla="*/ 16 h 257"/>
                    <a:gd name="T82" fmla="*/ 432 w 479"/>
                    <a:gd name="T83" fmla="*/ 16 h 257"/>
                    <a:gd name="T84" fmla="*/ 465 w 479"/>
                    <a:gd name="T85" fmla="*/ 45 h 257"/>
                    <a:gd name="T86" fmla="*/ 475 w 479"/>
                    <a:gd name="T87" fmla="*/ 45 h 257"/>
                    <a:gd name="T88" fmla="*/ 479 w 479"/>
                    <a:gd name="T89" fmla="*/ 54 h 257"/>
                    <a:gd name="T90" fmla="*/ 465 w 479"/>
                    <a:gd name="T91" fmla="*/ 73 h 257"/>
                    <a:gd name="T92" fmla="*/ 442 w 479"/>
                    <a:gd name="T93" fmla="*/ 83 h 257"/>
                    <a:gd name="T94" fmla="*/ 420 w 479"/>
                    <a:gd name="T95" fmla="*/ 99 h 257"/>
                    <a:gd name="T96" fmla="*/ 420 w 479"/>
                    <a:gd name="T97" fmla="*/ 111 h 257"/>
                    <a:gd name="T98" fmla="*/ 394 w 479"/>
                    <a:gd name="T99" fmla="*/ 144 h 257"/>
                    <a:gd name="T100" fmla="*/ 390 w 479"/>
                    <a:gd name="T101" fmla="*/ 168 h 257"/>
                    <a:gd name="T102" fmla="*/ 373 w 479"/>
                    <a:gd name="T103" fmla="*/ 179 h 257"/>
                    <a:gd name="T104" fmla="*/ 366 w 479"/>
                    <a:gd name="T105" fmla="*/ 212 h 257"/>
                    <a:gd name="T106" fmla="*/ 335 w 479"/>
                    <a:gd name="T107" fmla="*/ 212 h 257"/>
                    <a:gd name="T108" fmla="*/ 323 w 479"/>
                    <a:gd name="T109" fmla="*/ 224 h 257"/>
                    <a:gd name="T110" fmla="*/ 314 w 479"/>
                    <a:gd name="T111" fmla="*/ 217 h 257"/>
                    <a:gd name="T112" fmla="*/ 298 w 479"/>
                    <a:gd name="T113" fmla="*/ 224 h 257"/>
                    <a:gd name="T114" fmla="*/ 298 w 479"/>
                    <a:gd name="T115" fmla="*/ 224 h 257"/>
                    <a:gd name="T116" fmla="*/ 298 w 479"/>
                    <a:gd name="T117" fmla="*/ 224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9" h="257">
                      <a:moveTo>
                        <a:pt x="298" y="224"/>
                      </a:moveTo>
                      <a:lnTo>
                        <a:pt x="248" y="217"/>
                      </a:lnTo>
                      <a:lnTo>
                        <a:pt x="227" y="234"/>
                      </a:lnTo>
                      <a:lnTo>
                        <a:pt x="215" y="234"/>
                      </a:lnTo>
                      <a:lnTo>
                        <a:pt x="194" y="241"/>
                      </a:lnTo>
                      <a:lnTo>
                        <a:pt x="163" y="257"/>
                      </a:lnTo>
                      <a:lnTo>
                        <a:pt x="118" y="250"/>
                      </a:lnTo>
                      <a:lnTo>
                        <a:pt x="109" y="241"/>
                      </a:lnTo>
                      <a:lnTo>
                        <a:pt x="87" y="241"/>
                      </a:lnTo>
                      <a:lnTo>
                        <a:pt x="80" y="217"/>
                      </a:lnTo>
                      <a:lnTo>
                        <a:pt x="38" y="196"/>
                      </a:lnTo>
                      <a:lnTo>
                        <a:pt x="16" y="168"/>
                      </a:lnTo>
                      <a:lnTo>
                        <a:pt x="26" y="160"/>
                      </a:lnTo>
                      <a:lnTo>
                        <a:pt x="0" y="156"/>
                      </a:lnTo>
                      <a:lnTo>
                        <a:pt x="16" y="144"/>
                      </a:lnTo>
                      <a:lnTo>
                        <a:pt x="33" y="144"/>
                      </a:lnTo>
                      <a:lnTo>
                        <a:pt x="26" y="123"/>
                      </a:lnTo>
                      <a:lnTo>
                        <a:pt x="33" y="123"/>
                      </a:lnTo>
                      <a:lnTo>
                        <a:pt x="33" y="106"/>
                      </a:lnTo>
                      <a:lnTo>
                        <a:pt x="49" y="99"/>
                      </a:lnTo>
                      <a:lnTo>
                        <a:pt x="33" y="83"/>
                      </a:lnTo>
                      <a:lnTo>
                        <a:pt x="38" y="73"/>
                      </a:lnTo>
                      <a:lnTo>
                        <a:pt x="49" y="83"/>
                      </a:lnTo>
                      <a:lnTo>
                        <a:pt x="71" y="83"/>
                      </a:lnTo>
                      <a:lnTo>
                        <a:pt x="80" y="49"/>
                      </a:lnTo>
                      <a:lnTo>
                        <a:pt x="92" y="49"/>
                      </a:lnTo>
                      <a:lnTo>
                        <a:pt x="125" y="73"/>
                      </a:lnTo>
                      <a:lnTo>
                        <a:pt x="156" y="73"/>
                      </a:lnTo>
                      <a:lnTo>
                        <a:pt x="194" y="66"/>
                      </a:lnTo>
                      <a:lnTo>
                        <a:pt x="194" y="54"/>
                      </a:lnTo>
                      <a:lnTo>
                        <a:pt x="210" y="49"/>
                      </a:lnTo>
                      <a:lnTo>
                        <a:pt x="243" y="45"/>
                      </a:lnTo>
                      <a:lnTo>
                        <a:pt x="248" y="33"/>
                      </a:lnTo>
                      <a:lnTo>
                        <a:pt x="269" y="45"/>
                      </a:lnTo>
                      <a:lnTo>
                        <a:pt x="302" y="28"/>
                      </a:lnTo>
                      <a:lnTo>
                        <a:pt x="319" y="0"/>
                      </a:lnTo>
                      <a:lnTo>
                        <a:pt x="323" y="0"/>
                      </a:lnTo>
                      <a:lnTo>
                        <a:pt x="357" y="0"/>
                      </a:lnTo>
                      <a:lnTo>
                        <a:pt x="378" y="0"/>
                      </a:lnTo>
                      <a:lnTo>
                        <a:pt x="404" y="16"/>
                      </a:lnTo>
                      <a:lnTo>
                        <a:pt x="427" y="16"/>
                      </a:lnTo>
                      <a:lnTo>
                        <a:pt x="432" y="16"/>
                      </a:lnTo>
                      <a:lnTo>
                        <a:pt x="465" y="45"/>
                      </a:lnTo>
                      <a:lnTo>
                        <a:pt x="475" y="45"/>
                      </a:lnTo>
                      <a:lnTo>
                        <a:pt x="479" y="54"/>
                      </a:lnTo>
                      <a:lnTo>
                        <a:pt x="465" y="73"/>
                      </a:lnTo>
                      <a:lnTo>
                        <a:pt x="442" y="83"/>
                      </a:lnTo>
                      <a:lnTo>
                        <a:pt x="420" y="99"/>
                      </a:lnTo>
                      <a:lnTo>
                        <a:pt x="420" y="111"/>
                      </a:lnTo>
                      <a:lnTo>
                        <a:pt x="394" y="144"/>
                      </a:lnTo>
                      <a:lnTo>
                        <a:pt x="390" y="168"/>
                      </a:lnTo>
                      <a:lnTo>
                        <a:pt x="373" y="179"/>
                      </a:lnTo>
                      <a:lnTo>
                        <a:pt x="366" y="212"/>
                      </a:lnTo>
                      <a:lnTo>
                        <a:pt x="335" y="212"/>
                      </a:lnTo>
                      <a:lnTo>
                        <a:pt x="323" y="224"/>
                      </a:lnTo>
                      <a:lnTo>
                        <a:pt x="314" y="217"/>
                      </a:lnTo>
                      <a:lnTo>
                        <a:pt x="298" y="224"/>
                      </a:lnTo>
                      <a:lnTo>
                        <a:pt x="298" y="224"/>
                      </a:lnTo>
                      <a:lnTo>
                        <a:pt x="298" y="22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27" name="Freeform 466">
                  <a:extLst>
                    <a:ext uri="{FF2B5EF4-FFF2-40B4-BE49-F238E27FC236}">
                      <a16:creationId xmlns:a16="http://schemas.microsoft.com/office/drawing/2014/main" id="{E814DD93-68FE-4571-A232-64223AD2860C}"/>
                    </a:ext>
                  </a:extLst>
                </p:cNvPr>
                <p:cNvSpPr>
                  <a:spLocks/>
                </p:cNvSpPr>
                <p:nvPr/>
              </p:nvSpPr>
              <p:spPr bwMode="gray">
                <a:xfrm>
                  <a:off x="6017340" y="1722809"/>
                  <a:ext cx="317809" cy="153570"/>
                </a:xfrm>
                <a:custGeom>
                  <a:avLst/>
                  <a:gdLst>
                    <a:gd name="T0" fmla="*/ 215 w 772"/>
                    <a:gd name="T1" fmla="*/ 241 h 373"/>
                    <a:gd name="T2" fmla="*/ 160 w 772"/>
                    <a:gd name="T3" fmla="*/ 250 h 373"/>
                    <a:gd name="T4" fmla="*/ 156 w 772"/>
                    <a:gd name="T5" fmla="*/ 224 h 373"/>
                    <a:gd name="T6" fmla="*/ 47 w 772"/>
                    <a:gd name="T7" fmla="*/ 224 h 373"/>
                    <a:gd name="T8" fmla="*/ 90 w 772"/>
                    <a:gd name="T9" fmla="*/ 184 h 373"/>
                    <a:gd name="T10" fmla="*/ 172 w 772"/>
                    <a:gd name="T11" fmla="*/ 179 h 373"/>
                    <a:gd name="T12" fmla="*/ 156 w 772"/>
                    <a:gd name="T13" fmla="*/ 127 h 373"/>
                    <a:gd name="T14" fmla="*/ 101 w 772"/>
                    <a:gd name="T15" fmla="*/ 123 h 373"/>
                    <a:gd name="T16" fmla="*/ 14 w 772"/>
                    <a:gd name="T17" fmla="*/ 111 h 373"/>
                    <a:gd name="T18" fmla="*/ 52 w 772"/>
                    <a:gd name="T19" fmla="*/ 111 h 373"/>
                    <a:gd name="T20" fmla="*/ 68 w 772"/>
                    <a:gd name="T21" fmla="*/ 111 h 373"/>
                    <a:gd name="T22" fmla="*/ 90 w 772"/>
                    <a:gd name="T23" fmla="*/ 94 h 373"/>
                    <a:gd name="T24" fmla="*/ 52 w 772"/>
                    <a:gd name="T25" fmla="*/ 85 h 373"/>
                    <a:gd name="T26" fmla="*/ 52 w 772"/>
                    <a:gd name="T27" fmla="*/ 68 h 373"/>
                    <a:gd name="T28" fmla="*/ 75 w 772"/>
                    <a:gd name="T29" fmla="*/ 49 h 373"/>
                    <a:gd name="T30" fmla="*/ 139 w 772"/>
                    <a:gd name="T31" fmla="*/ 73 h 373"/>
                    <a:gd name="T32" fmla="*/ 144 w 772"/>
                    <a:gd name="T33" fmla="*/ 90 h 373"/>
                    <a:gd name="T34" fmla="*/ 106 w 772"/>
                    <a:gd name="T35" fmla="*/ 40 h 373"/>
                    <a:gd name="T36" fmla="*/ 106 w 772"/>
                    <a:gd name="T37" fmla="*/ 16 h 373"/>
                    <a:gd name="T38" fmla="*/ 194 w 772"/>
                    <a:gd name="T39" fmla="*/ 49 h 373"/>
                    <a:gd name="T40" fmla="*/ 210 w 772"/>
                    <a:gd name="T41" fmla="*/ 73 h 373"/>
                    <a:gd name="T42" fmla="*/ 210 w 772"/>
                    <a:gd name="T43" fmla="*/ 106 h 373"/>
                    <a:gd name="T44" fmla="*/ 227 w 772"/>
                    <a:gd name="T45" fmla="*/ 123 h 373"/>
                    <a:gd name="T46" fmla="*/ 248 w 772"/>
                    <a:gd name="T47" fmla="*/ 139 h 373"/>
                    <a:gd name="T48" fmla="*/ 269 w 772"/>
                    <a:gd name="T49" fmla="*/ 123 h 373"/>
                    <a:gd name="T50" fmla="*/ 302 w 772"/>
                    <a:gd name="T51" fmla="*/ 94 h 373"/>
                    <a:gd name="T52" fmla="*/ 345 w 772"/>
                    <a:gd name="T53" fmla="*/ 94 h 373"/>
                    <a:gd name="T54" fmla="*/ 354 w 772"/>
                    <a:gd name="T55" fmla="*/ 73 h 373"/>
                    <a:gd name="T56" fmla="*/ 387 w 772"/>
                    <a:gd name="T57" fmla="*/ 49 h 373"/>
                    <a:gd name="T58" fmla="*/ 425 w 772"/>
                    <a:gd name="T59" fmla="*/ 73 h 373"/>
                    <a:gd name="T60" fmla="*/ 453 w 772"/>
                    <a:gd name="T61" fmla="*/ 90 h 373"/>
                    <a:gd name="T62" fmla="*/ 463 w 772"/>
                    <a:gd name="T63" fmla="*/ 49 h 373"/>
                    <a:gd name="T64" fmla="*/ 517 w 772"/>
                    <a:gd name="T65" fmla="*/ 40 h 373"/>
                    <a:gd name="T66" fmla="*/ 571 w 772"/>
                    <a:gd name="T67" fmla="*/ 33 h 373"/>
                    <a:gd name="T68" fmla="*/ 614 w 772"/>
                    <a:gd name="T69" fmla="*/ 28 h 373"/>
                    <a:gd name="T70" fmla="*/ 668 w 772"/>
                    <a:gd name="T71" fmla="*/ 28 h 373"/>
                    <a:gd name="T72" fmla="*/ 668 w 772"/>
                    <a:gd name="T73" fmla="*/ 49 h 373"/>
                    <a:gd name="T74" fmla="*/ 680 w 772"/>
                    <a:gd name="T75" fmla="*/ 106 h 373"/>
                    <a:gd name="T76" fmla="*/ 701 w 772"/>
                    <a:gd name="T77" fmla="*/ 127 h 373"/>
                    <a:gd name="T78" fmla="*/ 765 w 772"/>
                    <a:gd name="T79" fmla="*/ 127 h 373"/>
                    <a:gd name="T80" fmla="*/ 734 w 772"/>
                    <a:gd name="T81" fmla="*/ 168 h 373"/>
                    <a:gd name="T82" fmla="*/ 765 w 772"/>
                    <a:gd name="T83" fmla="*/ 196 h 373"/>
                    <a:gd name="T84" fmla="*/ 734 w 772"/>
                    <a:gd name="T85" fmla="*/ 196 h 373"/>
                    <a:gd name="T86" fmla="*/ 739 w 772"/>
                    <a:gd name="T87" fmla="*/ 224 h 373"/>
                    <a:gd name="T88" fmla="*/ 711 w 772"/>
                    <a:gd name="T89" fmla="*/ 224 h 373"/>
                    <a:gd name="T90" fmla="*/ 701 w 772"/>
                    <a:gd name="T91" fmla="*/ 257 h 373"/>
                    <a:gd name="T92" fmla="*/ 642 w 772"/>
                    <a:gd name="T93" fmla="*/ 262 h 373"/>
                    <a:gd name="T94" fmla="*/ 560 w 772"/>
                    <a:gd name="T95" fmla="*/ 319 h 373"/>
                    <a:gd name="T96" fmla="*/ 522 w 772"/>
                    <a:gd name="T97" fmla="*/ 328 h 373"/>
                    <a:gd name="T98" fmla="*/ 468 w 772"/>
                    <a:gd name="T99" fmla="*/ 352 h 373"/>
                    <a:gd name="T100" fmla="*/ 302 w 772"/>
                    <a:gd name="T101" fmla="*/ 364 h 373"/>
                    <a:gd name="T102" fmla="*/ 290 w 772"/>
                    <a:gd name="T103" fmla="*/ 335 h 373"/>
                    <a:gd name="T104" fmla="*/ 279 w 772"/>
                    <a:gd name="T105" fmla="*/ 328 h 373"/>
                    <a:gd name="T106" fmla="*/ 231 w 772"/>
                    <a:gd name="T107" fmla="*/ 319 h 373"/>
                    <a:gd name="T108" fmla="*/ 123 w 772"/>
                    <a:gd name="T109" fmla="*/ 328 h 373"/>
                    <a:gd name="T110" fmla="*/ 177 w 772"/>
                    <a:gd name="T111" fmla="*/ 295 h 373"/>
                    <a:gd name="T112" fmla="*/ 198 w 772"/>
                    <a:gd name="T113" fmla="*/ 279 h 373"/>
                    <a:gd name="T114" fmla="*/ 227 w 772"/>
                    <a:gd name="T115" fmla="*/ 262 h 373"/>
                    <a:gd name="T116" fmla="*/ 177 w 772"/>
                    <a:gd name="T117" fmla="*/ 257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72" h="373">
                      <a:moveTo>
                        <a:pt x="177" y="257"/>
                      </a:moveTo>
                      <a:lnTo>
                        <a:pt x="198" y="234"/>
                      </a:lnTo>
                      <a:lnTo>
                        <a:pt x="215" y="241"/>
                      </a:lnTo>
                      <a:lnTo>
                        <a:pt x="198" y="234"/>
                      </a:lnTo>
                      <a:lnTo>
                        <a:pt x="210" y="234"/>
                      </a:lnTo>
                      <a:lnTo>
                        <a:pt x="160" y="250"/>
                      </a:lnTo>
                      <a:lnTo>
                        <a:pt x="156" y="241"/>
                      </a:lnTo>
                      <a:lnTo>
                        <a:pt x="144" y="234"/>
                      </a:lnTo>
                      <a:lnTo>
                        <a:pt x="156" y="224"/>
                      </a:lnTo>
                      <a:lnTo>
                        <a:pt x="144" y="208"/>
                      </a:lnTo>
                      <a:lnTo>
                        <a:pt x="75" y="208"/>
                      </a:lnTo>
                      <a:lnTo>
                        <a:pt x="47" y="224"/>
                      </a:lnTo>
                      <a:lnTo>
                        <a:pt x="31" y="201"/>
                      </a:lnTo>
                      <a:lnTo>
                        <a:pt x="64" y="201"/>
                      </a:lnTo>
                      <a:lnTo>
                        <a:pt x="90" y="184"/>
                      </a:lnTo>
                      <a:lnTo>
                        <a:pt x="182" y="184"/>
                      </a:lnTo>
                      <a:lnTo>
                        <a:pt x="194" y="163"/>
                      </a:lnTo>
                      <a:lnTo>
                        <a:pt x="172" y="179"/>
                      </a:lnTo>
                      <a:lnTo>
                        <a:pt x="139" y="168"/>
                      </a:lnTo>
                      <a:lnTo>
                        <a:pt x="198" y="139"/>
                      </a:lnTo>
                      <a:lnTo>
                        <a:pt x="156" y="127"/>
                      </a:lnTo>
                      <a:lnTo>
                        <a:pt x="172" y="123"/>
                      </a:lnTo>
                      <a:lnTo>
                        <a:pt x="144" y="127"/>
                      </a:lnTo>
                      <a:lnTo>
                        <a:pt x="101" y="123"/>
                      </a:lnTo>
                      <a:lnTo>
                        <a:pt x="47" y="139"/>
                      </a:lnTo>
                      <a:lnTo>
                        <a:pt x="0" y="127"/>
                      </a:lnTo>
                      <a:lnTo>
                        <a:pt x="14" y="111"/>
                      </a:lnTo>
                      <a:lnTo>
                        <a:pt x="52" y="127"/>
                      </a:lnTo>
                      <a:lnTo>
                        <a:pt x="31" y="111"/>
                      </a:lnTo>
                      <a:lnTo>
                        <a:pt x="52" y="111"/>
                      </a:lnTo>
                      <a:lnTo>
                        <a:pt x="31" y="106"/>
                      </a:lnTo>
                      <a:lnTo>
                        <a:pt x="31" y="90"/>
                      </a:lnTo>
                      <a:lnTo>
                        <a:pt x="68" y="111"/>
                      </a:lnTo>
                      <a:lnTo>
                        <a:pt x="85" y="111"/>
                      </a:lnTo>
                      <a:lnTo>
                        <a:pt x="68" y="106"/>
                      </a:lnTo>
                      <a:lnTo>
                        <a:pt x="90" y="94"/>
                      </a:lnTo>
                      <a:lnTo>
                        <a:pt x="52" y="94"/>
                      </a:lnTo>
                      <a:lnTo>
                        <a:pt x="47" y="90"/>
                      </a:lnTo>
                      <a:lnTo>
                        <a:pt x="52" y="85"/>
                      </a:lnTo>
                      <a:lnTo>
                        <a:pt x="90" y="90"/>
                      </a:lnTo>
                      <a:lnTo>
                        <a:pt x="47" y="68"/>
                      </a:lnTo>
                      <a:lnTo>
                        <a:pt x="52" y="68"/>
                      </a:lnTo>
                      <a:lnTo>
                        <a:pt x="85" y="73"/>
                      </a:lnTo>
                      <a:lnTo>
                        <a:pt x="64" y="57"/>
                      </a:lnTo>
                      <a:lnTo>
                        <a:pt x="75" y="49"/>
                      </a:lnTo>
                      <a:lnTo>
                        <a:pt x="123" y="73"/>
                      </a:lnTo>
                      <a:lnTo>
                        <a:pt x="127" y="68"/>
                      </a:lnTo>
                      <a:lnTo>
                        <a:pt x="139" y="73"/>
                      </a:lnTo>
                      <a:lnTo>
                        <a:pt x="127" y="90"/>
                      </a:lnTo>
                      <a:lnTo>
                        <a:pt x="139" y="73"/>
                      </a:lnTo>
                      <a:lnTo>
                        <a:pt x="144" y="90"/>
                      </a:lnTo>
                      <a:lnTo>
                        <a:pt x="144" y="73"/>
                      </a:lnTo>
                      <a:lnTo>
                        <a:pt x="139" y="57"/>
                      </a:lnTo>
                      <a:lnTo>
                        <a:pt x="106" y="40"/>
                      </a:lnTo>
                      <a:lnTo>
                        <a:pt x="144" y="40"/>
                      </a:lnTo>
                      <a:lnTo>
                        <a:pt x="90" y="28"/>
                      </a:lnTo>
                      <a:lnTo>
                        <a:pt x="106" y="16"/>
                      </a:lnTo>
                      <a:lnTo>
                        <a:pt x="144" y="16"/>
                      </a:lnTo>
                      <a:lnTo>
                        <a:pt x="160" y="33"/>
                      </a:lnTo>
                      <a:lnTo>
                        <a:pt x="194" y="49"/>
                      </a:lnTo>
                      <a:lnTo>
                        <a:pt x="198" y="68"/>
                      </a:lnTo>
                      <a:lnTo>
                        <a:pt x="215" y="68"/>
                      </a:lnTo>
                      <a:lnTo>
                        <a:pt x="210" y="73"/>
                      </a:lnTo>
                      <a:lnTo>
                        <a:pt x="227" y="85"/>
                      </a:lnTo>
                      <a:lnTo>
                        <a:pt x="227" y="106"/>
                      </a:lnTo>
                      <a:lnTo>
                        <a:pt x="210" y="106"/>
                      </a:lnTo>
                      <a:lnTo>
                        <a:pt x="194" y="94"/>
                      </a:lnTo>
                      <a:lnTo>
                        <a:pt x="198" y="111"/>
                      </a:lnTo>
                      <a:lnTo>
                        <a:pt x="227" y="123"/>
                      </a:lnTo>
                      <a:lnTo>
                        <a:pt x="236" y="168"/>
                      </a:lnTo>
                      <a:lnTo>
                        <a:pt x="236" y="139"/>
                      </a:lnTo>
                      <a:lnTo>
                        <a:pt x="248" y="139"/>
                      </a:lnTo>
                      <a:lnTo>
                        <a:pt x="253" y="123"/>
                      </a:lnTo>
                      <a:lnTo>
                        <a:pt x="269" y="106"/>
                      </a:lnTo>
                      <a:lnTo>
                        <a:pt x="269" y="123"/>
                      </a:lnTo>
                      <a:lnTo>
                        <a:pt x="286" y="127"/>
                      </a:lnTo>
                      <a:lnTo>
                        <a:pt x="290" y="111"/>
                      </a:lnTo>
                      <a:lnTo>
                        <a:pt x="302" y="94"/>
                      </a:lnTo>
                      <a:lnTo>
                        <a:pt x="286" y="57"/>
                      </a:lnTo>
                      <a:lnTo>
                        <a:pt x="307" y="57"/>
                      </a:lnTo>
                      <a:lnTo>
                        <a:pt x="345" y="94"/>
                      </a:lnTo>
                      <a:lnTo>
                        <a:pt x="354" y="106"/>
                      </a:lnTo>
                      <a:lnTo>
                        <a:pt x="361" y="90"/>
                      </a:lnTo>
                      <a:lnTo>
                        <a:pt x="354" y="73"/>
                      </a:lnTo>
                      <a:lnTo>
                        <a:pt x="354" y="68"/>
                      </a:lnTo>
                      <a:lnTo>
                        <a:pt x="387" y="57"/>
                      </a:lnTo>
                      <a:lnTo>
                        <a:pt x="387" y="49"/>
                      </a:lnTo>
                      <a:lnTo>
                        <a:pt x="399" y="49"/>
                      </a:lnTo>
                      <a:lnTo>
                        <a:pt x="416" y="57"/>
                      </a:lnTo>
                      <a:lnTo>
                        <a:pt x="425" y="73"/>
                      </a:lnTo>
                      <a:lnTo>
                        <a:pt x="442" y="85"/>
                      </a:lnTo>
                      <a:lnTo>
                        <a:pt x="453" y="111"/>
                      </a:lnTo>
                      <a:lnTo>
                        <a:pt x="453" y="90"/>
                      </a:lnTo>
                      <a:lnTo>
                        <a:pt x="442" y="68"/>
                      </a:lnTo>
                      <a:lnTo>
                        <a:pt x="442" y="49"/>
                      </a:lnTo>
                      <a:lnTo>
                        <a:pt x="463" y="49"/>
                      </a:lnTo>
                      <a:lnTo>
                        <a:pt x="484" y="73"/>
                      </a:lnTo>
                      <a:lnTo>
                        <a:pt x="501" y="73"/>
                      </a:lnTo>
                      <a:lnTo>
                        <a:pt x="517" y="40"/>
                      </a:lnTo>
                      <a:lnTo>
                        <a:pt x="555" y="57"/>
                      </a:lnTo>
                      <a:lnTo>
                        <a:pt x="550" y="49"/>
                      </a:lnTo>
                      <a:lnTo>
                        <a:pt x="571" y="33"/>
                      </a:lnTo>
                      <a:lnTo>
                        <a:pt x="555" y="12"/>
                      </a:lnTo>
                      <a:lnTo>
                        <a:pt x="593" y="0"/>
                      </a:lnTo>
                      <a:lnTo>
                        <a:pt x="614" y="28"/>
                      </a:lnTo>
                      <a:lnTo>
                        <a:pt x="614" y="40"/>
                      </a:lnTo>
                      <a:lnTo>
                        <a:pt x="642" y="49"/>
                      </a:lnTo>
                      <a:lnTo>
                        <a:pt x="668" y="28"/>
                      </a:lnTo>
                      <a:lnTo>
                        <a:pt x="685" y="28"/>
                      </a:lnTo>
                      <a:lnTo>
                        <a:pt x="668" y="33"/>
                      </a:lnTo>
                      <a:lnTo>
                        <a:pt x="668" y="49"/>
                      </a:lnTo>
                      <a:lnTo>
                        <a:pt x="657" y="57"/>
                      </a:lnTo>
                      <a:lnTo>
                        <a:pt x="697" y="73"/>
                      </a:lnTo>
                      <a:lnTo>
                        <a:pt x="680" y="106"/>
                      </a:lnTo>
                      <a:lnTo>
                        <a:pt x="718" y="94"/>
                      </a:lnTo>
                      <a:lnTo>
                        <a:pt x="718" y="111"/>
                      </a:lnTo>
                      <a:lnTo>
                        <a:pt x="701" y="127"/>
                      </a:lnTo>
                      <a:lnTo>
                        <a:pt x="718" y="111"/>
                      </a:lnTo>
                      <a:lnTo>
                        <a:pt x="765" y="123"/>
                      </a:lnTo>
                      <a:lnTo>
                        <a:pt x="765" y="127"/>
                      </a:lnTo>
                      <a:lnTo>
                        <a:pt x="756" y="151"/>
                      </a:lnTo>
                      <a:lnTo>
                        <a:pt x="772" y="163"/>
                      </a:lnTo>
                      <a:lnTo>
                        <a:pt x="734" y="168"/>
                      </a:lnTo>
                      <a:lnTo>
                        <a:pt x="765" y="168"/>
                      </a:lnTo>
                      <a:lnTo>
                        <a:pt x="772" y="179"/>
                      </a:lnTo>
                      <a:lnTo>
                        <a:pt x="765" y="196"/>
                      </a:lnTo>
                      <a:lnTo>
                        <a:pt x="739" y="179"/>
                      </a:lnTo>
                      <a:lnTo>
                        <a:pt x="756" y="201"/>
                      </a:lnTo>
                      <a:lnTo>
                        <a:pt x="734" y="196"/>
                      </a:lnTo>
                      <a:lnTo>
                        <a:pt x="756" y="201"/>
                      </a:lnTo>
                      <a:lnTo>
                        <a:pt x="734" y="217"/>
                      </a:lnTo>
                      <a:lnTo>
                        <a:pt x="739" y="224"/>
                      </a:lnTo>
                      <a:lnTo>
                        <a:pt x="718" y="224"/>
                      </a:lnTo>
                      <a:lnTo>
                        <a:pt x="701" y="208"/>
                      </a:lnTo>
                      <a:lnTo>
                        <a:pt x="711" y="224"/>
                      </a:lnTo>
                      <a:lnTo>
                        <a:pt x="697" y="241"/>
                      </a:lnTo>
                      <a:lnTo>
                        <a:pt x="711" y="241"/>
                      </a:lnTo>
                      <a:lnTo>
                        <a:pt x="701" y="257"/>
                      </a:lnTo>
                      <a:lnTo>
                        <a:pt x="685" y="257"/>
                      </a:lnTo>
                      <a:lnTo>
                        <a:pt x="668" y="274"/>
                      </a:lnTo>
                      <a:lnTo>
                        <a:pt x="642" y="262"/>
                      </a:lnTo>
                      <a:lnTo>
                        <a:pt x="642" y="274"/>
                      </a:lnTo>
                      <a:lnTo>
                        <a:pt x="593" y="290"/>
                      </a:lnTo>
                      <a:lnTo>
                        <a:pt x="560" y="319"/>
                      </a:lnTo>
                      <a:lnTo>
                        <a:pt x="538" y="328"/>
                      </a:lnTo>
                      <a:lnTo>
                        <a:pt x="534" y="312"/>
                      </a:lnTo>
                      <a:lnTo>
                        <a:pt x="522" y="328"/>
                      </a:lnTo>
                      <a:lnTo>
                        <a:pt x="468" y="335"/>
                      </a:lnTo>
                      <a:lnTo>
                        <a:pt x="463" y="345"/>
                      </a:lnTo>
                      <a:lnTo>
                        <a:pt x="468" y="352"/>
                      </a:lnTo>
                      <a:lnTo>
                        <a:pt x="463" y="364"/>
                      </a:lnTo>
                      <a:lnTo>
                        <a:pt x="408" y="373"/>
                      </a:lnTo>
                      <a:lnTo>
                        <a:pt x="302" y="364"/>
                      </a:lnTo>
                      <a:lnTo>
                        <a:pt x="279" y="335"/>
                      </a:lnTo>
                      <a:lnTo>
                        <a:pt x="290" y="335"/>
                      </a:lnTo>
                      <a:lnTo>
                        <a:pt x="290" y="335"/>
                      </a:lnTo>
                      <a:lnTo>
                        <a:pt x="279" y="335"/>
                      </a:lnTo>
                      <a:lnTo>
                        <a:pt x="269" y="335"/>
                      </a:lnTo>
                      <a:lnTo>
                        <a:pt x="279" y="328"/>
                      </a:lnTo>
                      <a:lnTo>
                        <a:pt x="269" y="319"/>
                      </a:lnTo>
                      <a:lnTo>
                        <a:pt x="253" y="328"/>
                      </a:lnTo>
                      <a:lnTo>
                        <a:pt x="231" y="319"/>
                      </a:lnTo>
                      <a:lnTo>
                        <a:pt x="248" y="312"/>
                      </a:lnTo>
                      <a:lnTo>
                        <a:pt x="198" y="328"/>
                      </a:lnTo>
                      <a:lnTo>
                        <a:pt x="123" y="328"/>
                      </a:lnTo>
                      <a:lnTo>
                        <a:pt x="127" y="295"/>
                      </a:lnTo>
                      <a:lnTo>
                        <a:pt x="139" y="307"/>
                      </a:lnTo>
                      <a:lnTo>
                        <a:pt x="177" y="295"/>
                      </a:lnTo>
                      <a:lnTo>
                        <a:pt x="182" y="295"/>
                      </a:lnTo>
                      <a:lnTo>
                        <a:pt x="177" y="290"/>
                      </a:lnTo>
                      <a:lnTo>
                        <a:pt x="198" y="279"/>
                      </a:lnTo>
                      <a:lnTo>
                        <a:pt x="182" y="279"/>
                      </a:lnTo>
                      <a:lnTo>
                        <a:pt x="194" y="262"/>
                      </a:lnTo>
                      <a:lnTo>
                        <a:pt x="227" y="262"/>
                      </a:lnTo>
                      <a:lnTo>
                        <a:pt x="172" y="274"/>
                      </a:lnTo>
                      <a:lnTo>
                        <a:pt x="177" y="257"/>
                      </a:lnTo>
                      <a:lnTo>
                        <a:pt x="177" y="257"/>
                      </a:lnTo>
                      <a:lnTo>
                        <a:pt x="177" y="25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28" name="Freeform 468">
                  <a:extLst>
                    <a:ext uri="{FF2B5EF4-FFF2-40B4-BE49-F238E27FC236}">
                      <a16:creationId xmlns:a16="http://schemas.microsoft.com/office/drawing/2014/main" id="{352DE901-6320-4EC9-8006-CBAFEFE83CBD}"/>
                    </a:ext>
                  </a:extLst>
                </p:cNvPr>
                <p:cNvSpPr>
                  <a:spLocks/>
                </p:cNvSpPr>
                <p:nvPr/>
              </p:nvSpPr>
              <p:spPr bwMode="gray">
                <a:xfrm>
                  <a:off x="6589149" y="2269157"/>
                  <a:ext cx="12350" cy="15645"/>
                </a:xfrm>
                <a:custGeom>
                  <a:avLst/>
                  <a:gdLst>
                    <a:gd name="T0" fmla="*/ 0 w 30"/>
                    <a:gd name="T1" fmla="*/ 38 h 38"/>
                    <a:gd name="T2" fmla="*/ 0 w 30"/>
                    <a:gd name="T3" fmla="*/ 22 h 38"/>
                    <a:gd name="T4" fmla="*/ 26 w 30"/>
                    <a:gd name="T5" fmla="*/ 0 h 38"/>
                    <a:gd name="T6" fmla="*/ 30 w 30"/>
                    <a:gd name="T7" fmla="*/ 17 h 38"/>
                    <a:gd name="T8" fmla="*/ 26 w 30"/>
                    <a:gd name="T9" fmla="*/ 22 h 38"/>
                    <a:gd name="T10" fmla="*/ 0 w 30"/>
                    <a:gd name="T11" fmla="*/ 38 h 38"/>
                    <a:gd name="T12" fmla="*/ 0 w 30"/>
                    <a:gd name="T13" fmla="*/ 38 h 38"/>
                    <a:gd name="T14" fmla="*/ 0 w 30"/>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8">
                      <a:moveTo>
                        <a:pt x="0" y="38"/>
                      </a:moveTo>
                      <a:lnTo>
                        <a:pt x="0" y="22"/>
                      </a:lnTo>
                      <a:lnTo>
                        <a:pt x="26" y="0"/>
                      </a:lnTo>
                      <a:lnTo>
                        <a:pt x="30" y="17"/>
                      </a:lnTo>
                      <a:lnTo>
                        <a:pt x="26" y="22"/>
                      </a:lnTo>
                      <a:lnTo>
                        <a:pt x="0" y="38"/>
                      </a:lnTo>
                      <a:lnTo>
                        <a:pt x="0" y="38"/>
                      </a:lnTo>
                      <a:lnTo>
                        <a:pt x="0" y="3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29" name="Freeform 477">
                  <a:extLst>
                    <a:ext uri="{FF2B5EF4-FFF2-40B4-BE49-F238E27FC236}">
                      <a16:creationId xmlns:a16="http://schemas.microsoft.com/office/drawing/2014/main" id="{5CACF090-4D8E-4D2C-B2D3-C20F9D27F875}"/>
                    </a:ext>
                  </a:extLst>
                </p:cNvPr>
                <p:cNvSpPr>
                  <a:spLocks/>
                </p:cNvSpPr>
                <p:nvPr/>
              </p:nvSpPr>
              <p:spPr bwMode="gray">
                <a:xfrm>
                  <a:off x="6662016" y="2473368"/>
                  <a:ext cx="6587" cy="4117"/>
                </a:xfrm>
                <a:custGeom>
                  <a:avLst/>
                  <a:gdLst>
                    <a:gd name="T0" fmla="*/ 9 w 16"/>
                    <a:gd name="T1" fmla="*/ 10 h 10"/>
                    <a:gd name="T2" fmla="*/ 0 w 16"/>
                    <a:gd name="T3" fmla="*/ 0 h 10"/>
                    <a:gd name="T4" fmla="*/ 16 w 16"/>
                    <a:gd name="T5" fmla="*/ 0 h 10"/>
                    <a:gd name="T6" fmla="*/ 9 w 16"/>
                    <a:gd name="T7" fmla="*/ 10 h 10"/>
                    <a:gd name="T8" fmla="*/ 9 w 16"/>
                    <a:gd name="T9" fmla="*/ 10 h 10"/>
                    <a:gd name="T10" fmla="*/ 9 w 16"/>
                    <a:gd name="T11" fmla="*/ 10 h 10"/>
                  </a:gdLst>
                  <a:ahLst/>
                  <a:cxnLst>
                    <a:cxn ang="0">
                      <a:pos x="T0" y="T1"/>
                    </a:cxn>
                    <a:cxn ang="0">
                      <a:pos x="T2" y="T3"/>
                    </a:cxn>
                    <a:cxn ang="0">
                      <a:pos x="T4" y="T5"/>
                    </a:cxn>
                    <a:cxn ang="0">
                      <a:pos x="T6" y="T7"/>
                    </a:cxn>
                    <a:cxn ang="0">
                      <a:pos x="T8" y="T9"/>
                    </a:cxn>
                    <a:cxn ang="0">
                      <a:pos x="T10" y="T11"/>
                    </a:cxn>
                  </a:cxnLst>
                  <a:rect l="0" t="0" r="r" b="b"/>
                  <a:pathLst>
                    <a:path w="16" h="10">
                      <a:moveTo>
                        <a:pt x="9" y="10"/>
                      </a:moveTo>
                      <a:lnTo>
                        <a:pt x="0" y="0"/>
                      </a:lnTo>
                      <a:lnTo>
                        <a:pt x="16" y="0"/>
                      </a:lnTo>
                      <a:lnTo>
                        <a:pt x="9" y="10"/>
                      </a:lnTo>
                      <a:lnTo>
                        <a:pt x="9" y="10"/>
                      </a:lnTo>
                      <a:lnTo>
                        <a:pt x="9" y="1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0" name="Freeform 479">
                  <a:extLst>
                    <a:ext uri="{FF2B5EF4-FFF2-40B4-BE49-F238E27FC236}">
                      <a16:creationId xmlns:a16="http://schemas.microsoft.com/office/drawing/2014/main" id="{D333B4E7-37A8-4077-A676-3628D3DF8080}"/>
                    </a:ext>
                  </a:extLst>
                </p:cNvPr>
                <p:cNvSpPr>
                  <a:spLocks/>
                </p:cNvSpPr>
                <p:nvPr/>
              </p:nvSpPr>
              <p:spPr bwMode="gray">
                <a:xfrm>
                  <a:off x="6461531" y="1486484"/>
                  <a:ext cx="36227" cy="19351"/>
                </a:xfrm>
                <a:custGeom>
                  <a:avLst/>
                  <a:gdLst>
                    <a:gd name="T0" fmla="*/ 12 w 88"/>
                    <a:gd name="T1" fmla="*/ 47 h 47"/>
                    <a:gd name="T2" fmla="*/ 0 w 88"/>
                    <a:gd name="T3" fmla="*/ 35 h 47"/>
                    <a:gd name="T4" fmla="*/ 50 w 88"/>
                    <a:gd name="T5" fmla="*/ 14 h 47"/>
                    <a:gd name="T6" fmla="*/ 55 w 88"/>
                    <a:gd name="T7" fmla="*/ 0 h 47"/>
                    <a:gd name="T8" fmla="*/ 88 w 88"/>
                    <a:gd name="T9" fmla="*/ 0 h 47"/>
                    <a:gd name="T10" fmla="*/ 76 w 88"/>
                    <a:gd name="T11" fmla="*/ 14 h 47"/>
                    <a:gd name="T12" fmla="*/ 38 w 88"/>
                    <a:gd name="T13" fmla="*/ 21 h 47"/>
                    <a:gd name="T14" fmla="*/ 12 w 88"/>
                    <a:gd name="T15" fmla="*/ 47 h 47"/>
                    <a:gd name="T16" fmla="*/ 12 w 88"/>
                    <a:gd name="T17" fmla="*/ 47 h 47"/>
                    <a:gd name="T18" fmla="*/ 12 w 88"/>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47">
                      <a:moveTo>
                        <a:pt x="12" y="47"/>
                      </a:moveTo>
                      <a:lnTo>
                        <a:pt x="0" y="35"/>
                      </a:lnTo>
                      <a:lnTo>
                        <a:pt x="50" y="14"/>
                      </a:lnTo>
                      <a:lnTo>
                        <a:pt x="55" y="0"/>
                      </a:lnTo>
                      <a:lnTo>
                        <a:pt x="88" y="0"/>
                      </a:lnTo>
                      <a:lnTo>
                        <a:pt x="76" y="14"/>
                      </a:lnTo>
                      <a:lnTo>
                        <a:pt x="38" y="21"/>
                      </a:lnTo>
                      <a:lnTo>
                        <a:pt x="12" y="47"/>
                      </a:lnTo>
                      <a:lnTo>
                        <a:pt x="12" y="47"/>
                      </a:lnTo>
                      <a:lnTo>
                        <a:pt x="12" y="4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1" name="Freeform 482">
                  <a:extLst>
                    <a:ext uri="{FF2B5EF4-FFF2-40B4-BE49-F238E27FC236}">
                      <a16:creationId xmlns:a16="http://schemas.microsoft.com/office/drawing/2014/main" id="{D31A0773-53EE-4F05-8EA6-B7B827E90D66}"/>
                    </a:ext>
                  </a:extLst>
                </p:cNvPr>
                <p:cNvSpPr>
                  <a:spLocks/>
                </p:cNvSpPr>
                <p:nvPr/>
              </p:nvSpPr>
              <p:spPr bwMode="gray">
                <a:xfrm>
                  <a:off x="8726540" y="2696106"/>
                  <a:ext cx="314928" cy="143277"/>
                </a:xfrm>
                <a:custGeom>
                  <a:avLst/>
                  <a:gdLst>
                    <a:gd name="T0" fmla="*/ 397 w 765"/>
                    <a:gd name="T1" fmla="*/ 255 h 348"/>
                    <a:gd name="T2" fmla="*/ 359 w 765"/>
                    <a:gd name="T3" fmla="*/ 272 h 348"/>
                    <a:gd name="T4" fmla="*/ 321 w 765"/>
                    <a:gd name="T5" fmla="*/ 305 h 348"/>
                    <a:gd name="T6" fmla="*/ 321 w 765"/>
                    <a:gd name="T7" fmla="*/ 326 h 348"/>
                    <a:gd name="T8" fmla="*/ 271 w 765"/>
                    <a:gd name="T9" fmla="*/ 331 h 348"/>
                    <a:gd name="T10" fmla="*/ 212 w 765"/>
                    <a:gd name="T11" fmla="*/ 348 h 348"/>
                    <a:gd name="T12" fmla="*/ 168 w 765"/>
                    <a:gd name="T13" fmla="*/ 343 h 348"/>
                    <a:gd name="T14" fmla="*/ 158 w 765"/>
                    <a:gd name="T15" fmla="*/ 326 h 348"/>
                    <a:gd name="T16" fmla="*/ 125 w 765"/>
                    <a:gd name="T17" fmla="*/ 326 h 348"/>
                    <a:gd name="T18" fmla="*/ 104 w 765"/>
                    <a:gd name="T19" fmla="*/ 331 h 348"/>
                    <a:gd name="T20" fmla="*/ 87 w 765"/>
                    <a:gd name="T21" fmla="*/ 315 h 348"/>
                    <a:gd name="T22" fmla="*/ 0 w 765"/>
                    <a:gd name="T23" fmla="*/ 293 h 348"/>
                    <a:gd name="T24" fmla="*/ 7 w 765"/>
                    <a:gd name="T25" fmla="*/ 289 h 348"/>
                    <a:gd name="T26" fmla="*/ 16 w 765"/>
                    <a:gd name="T27" fmla="*/ 272 h 348"/>
                    <a:gd name="T28" fmla="*/ 87 w 765"/>
                    <a:gd name="T29" fmla="*/ 277 h 348"/>
                    <a:gd name="T30" fmla="*/ 92 w 765"/>
                    <a:gd name="T31" fmla="*/ 289 h 348"/>
                    <a:gd name="T32" fmla="*/ 113 w 765"/>
                    <a:gd name="T33" fmla="*/ 272 h 348"/>
                    <a:gd name="T34" fmla="*/ 146 w 765"/>
                    <a:gd name="T35" fmla="*/ 255 h 348"/>
                    <a:gd name="T36" fmla="*/ 196 w 765"/>
                    <a:gd name="T37" fmla="*/ 260 h 348"/>
                    <a:gd name="T38" fmla="*/ 201 w 765"/>
                    <a:gd name="T39" fmla="*/ 248 h 348"/>
                    <a:gd name="T40" fmla="*/ 217 w 765"/>
                    <a:gd name="T41" fmla="*/ 232 h 348"/>
                    <a:gd name="T42" fmla="*/ 250 w 765"/>
                    <a:gd name="T43" fmla="*/ 222 h 348"/>
                    <a:gd name="T44" fmla="*/ 234 w 765"/>
                    <a:gd name="T45" fmla="*/ 206 h 348"/>
                    <a:gd name="T46" fmla="*/ 201 w 765"/>
                    <a:gd name="T47" fmla="*/ 199 h 348"/>
                    <a:gd name="T48" fmla="*/ 184 w 765"/>
                    <a:gd name="T49" fmla="*/ 182 h 348"/>
                    <a:gd name="T50" fmla="*/ 168 w 765"/>
                    <a:gd name="T51" fmla="*/ 149 h 348"/>
                    <a:gd name="T52" fmla="*/ 146 w 765"/>
                    <a:gd name="T53" fmla="*/ 166 h 348"/>
                    <a:gd name="T54" fmla="*/ 108 w 765"/>
                    <a:gd name="T55" fmla="*/ 178 h 348"/>
                    <a:gd name="T56" fmla="*/ 87 w 765"/>
                    <a:gd name="T57" fmla="*/ 161 h 348"/>
                    <a:gd name="T58" fmla="*/ 104 w 765"/>
                    <a:gd name="T59" fmla="*/ 123 h 348"/>
                    <a:gd name="T60" fmla="*/ 108 w 765"/>
                    <a:gd name="T61" fmla="*/ 107 h 348"/>
                    <a:gd name="T62" fmla="*/ 125 w 765"/>
                    <a:gd name="T63" fmla="*/ 78 h 348"/>
                    <a:gd name="T64" fmla="*/ 108 w 765"/>
                    <a:gd name="T65" fmla="*/ 78 h 348"/>
                    <a:gd name="T66" fmla="*/ 168 w 765"/>
                    <a:gd name="T67" fmla="*/ 41 h 348"/>
                    <a:gd name="T68" fmla="*/ 293 w 765"/>
                    <a:gd name="T69" fmla="*/ 74 h 348"/>
                    <a:gd name="T70" fmla="*/ 305 w 765"/>
                    <a:gd name="T71" fmla="*/ 17 h 348"/>
                    <a:gd name="T72" fmla="*/ 385 w 765"/>
                    <a:gd name="T73" fmla="*/ 24 h 348"/>
                    <a:gd name="T74" fmla="*/ 456 w 765"/>
                    <a:gd name="T75" fmla="*/ 24 h 348"/>
                    <a:gd name="T76" fmla="*/ 543 w 765"/>
                    <a:gd name="T77" fmla="*/ 24 h 348"/>
                    <a:gd name="T78" fmla="*/ 699 w 765"/>
                    <a:gd name="T79" fmla="*/ 41 h 348"/>
                    <a:gd name="T80" fmla="*/ 711 w 765"/>
                    <a:gd name="T81" fmla="*/ 74 h 348"/>
                    <a:gd name="T82" fmla="*/ 765 w 765"/>
                    <a:gd name="T83" fmla="*/ 95 h 348"/>
                    <a:gd name="T84" fmla="*/ 742 w 765"/>
                    <a:gd name="T85" fmla="*/ 111 h 348"/>
                    <a:gd name="T86" fmla="*/ 704 w 765"/>
                    <a:gd name="T87" fmla="*/ 128 h 348"/>
                    <a:gd name="T88" fmla="*/ 635 w 765"/>
                    <a:gd name="T89" fmla="*/ 178 h 348"/>
                    <a:gd name="T90" fmla="*/ 536 w 765"/>
                    <a:gd name="T91" fmla="*/ 199 h 348"/>
                    <a:gd name="T92" fmla="*/ 520 w 765"/>
                    <a:gd name="T93" fmla="*/ 232 h 348"/>
                    <a:gd name="T94" fmla="*/ 482 w 765"/>
                    <a:gd name="T95" fmla="*/ 248 h 348"/>
                    <a:gd name="T96" fmla="*/ 439 w 765"/>
                    <a:gd name="T97" fmla="*/ 232 h 348"/>
                    <a:gd name="T98" fmla="*/ 385 w 765"/>
                    <a:gd name="T99" fmla="*/ 239 h 348"/>
                    <a:gd name="T100" fmla="*/ 385 w 765"/>
                    <a:gd name="T101" fmla="*/ 23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5" h="348">
                      <a:moveTo>
                        <a:pt x="385" y="239"/>
                      </a:moveTo>
                      <a:lnTo>
                        <a:pt x="397" y="255"/>
                      </a:lnTo>
                      <a:lnTo>
                        <a:pt x="380" y="255"/>
                      </a:lnTo>
                      <a:lnTo>
                        <a:pt x="359" y="272"/>
                      </a:lnTo>
                      <a:lnTo>
                        <a:pt x="331" y="277"/>
                      </a:lnTo>
                      <a:lnTo>
                        <a:pt x="321" y="305"/>
                      </a:lnTo>
                      <a:lnTo>
                        <a:pt x="326" y="315"/>
                      </a:lnTo>
                      <a:lnTo>
                        <a:pt x="321" y="326"/>
                      </a:lnTo>
                      <a:lnTo>
                        <a:pt x="309" y="326"/>
                      </a:lnTo>
                      <a:lnTo>
                        <a:pt x="271" y="331"/>
                      </a:lnTo>
                      <a:lnTo>
                        <a:pt x="217" y="331"/>
                      </a:lnTo>
                      <a:lnTo>
                        <a:pt x="212" y="348"/>
                      </a:lnTo>
                      <a:lnTo>
                        <a:pt x="196" y="331"/>
                      </a:lnTo>
                      <a:lnTo>
                        <a:pt x="168" y="343"/>
                      </a:lnTo>
                      <a:lnTo>
                        <a:pt x="168" y="326"/>
                      </a:lnTo>
                      <a:lnTo>
                        <a:pt x="158" y="326"/>
                      </a:lnTo>
                      <a:lnTo>
                        <a:pt x="158" y="315"/>
                      </a:lnTo>
                      <a:lnTo>
                        <a:pt x="125" y="326"/>
                      </a:lnTo>
                      <a:lnTo>
                        <a:pt x="113" y="331"/>
                      </a:lnTo>
                      <a:lnTo>
                        <a:pt x="104" y="331"/>
                      </a:lnTo>
                      <a:lnTo>
                        <a:pt x="92" y="315"/>
                      </a:lnTo>
                      <a:lnTo>
                        <a:pt x="87" y="315"/>
                      </a:lnTo>
                      <a:lnTo>
                        <a:pt x="0" y="315"/>
                      </a:lnTo>
                      <a:lnTo>
                        <a:pt x="0" y="293"/>
                      </a:lnTo>
                      <a:lnTo>
                        <a:pt x="0" y="277"/>
                      </a:lnTo>
                      <a:lnTo>
                        <a:pt x="7" y="289"/>
                      </a:lnTo>
                      <a:lnTo>
                        <a:pt x="16" y="289"/>
                      </a:lnTo>
                      <a:lnTo>
                        <a:pt x="16" y="272"/>
                      </a:lnTo>
                      <a:lnTo>
                        <a:pt x="54" y="260"/>
                      </a:lnTo>
                      <a:lnTo>
                        <a:pt x="87" y="277"/>
                      </a:lnTo>
                      <a:lnTo>
                        <a:pt x="87" y="289"/>
                      </a:lnTo>
                      <a:lnTo>
                        <a:pt x="92" y="289"/>
                      </a:lnTo>
                      <a:lnTo>
                        <a:pt x="92" y="272"/>
                      </a:lnTo>
                      <a:lnTo>
                        <a:pt x="113" y="272"/>
                      </a:lnTo>
                      <a:lnTo>
                        <a:pt x="113" y="260"/>
                      </a:lnTo>
                      <a:lnTo>
                        <a:pt x="146" y="255"/>
                      </a:lnTo>
                      <a:lnTo>
                        <a:pt x="168" y="272"/>
                      </a:lnTo>
                      <a:lnTo>
                        <a:pt x="196" y="260"/>
                      </a:lnTo>
                      <a:lnTo>
                        <a:pt x="196" y="255"/>
                      </a:lnTo>
                      <a:lnTo>
                        <a:pt x="201" y="248"/>
                      </a:lnTo>
                      <a:lnTo>
                        <a:pt x="217" y="248"/>
                      </a:lnTo>
                      <a:lnTo>
                        <a:pt x="217" y="232"/>
                      </a:lnTo>
                      <a:lnTo>
                        <a:pt x="234" y="239"/>
                      </a:lnTo>
                      <a:lnTo>
                        <a:pt x="250" y="222"/>
                      </a:lnTo>
                      <a:lnTo>
                        <a:pt x="271" y="215"/>
                      </a:lnTo>
                      <a:lnTo>
                        <a:pt x="234" y="206"/>
                      </a:lnTo>
                      <a:lnTo>
                        <a:pt x="217" y="194"/>
                      </a:lnTo>
                      <a:lnTo>
                        <a:pt x="201" y="199"/>
                      </a:lnTo>
                      <a:lnTo>
                        <a:pt x="201" y="182"/>
                      </a:lnTo>
                      <a:lnTo>
                        <a:pt x="184" y="182"/>
                      </a:lnTo>
                      <a:lnTo>
                        <a:pt x="184" y="166"/>
                      </a:lnTo>
                      <a:lnTo>
                        <a:pt x="168" y="149"/>
                      </a:lnTo>
                      <a:lnTo>
                        <a:pt x="163" y="166"/>
                      </a:lnTo>
                      <a:lnTo>
                        <a:pt x="146" y="166"/>
                      </a:lnTo>
                      <a:lnTo>
                        <a:pt x="146" y="182"/>
                      </a:lnTo>
                      <a:lnTo>
                        <a:pt x="108" y="178"/>
                      </a:lnTo>
                      <a:lnTo>
                        <a:pt x="104" y="161"/>
                      </a:lnTo>
                      <a:lnTo>
                        <a:pt x="87" y="161"/>
                      </a:lnTo>
                      <a:lnTo>
                        <a:pt x="61" y="149"/>
                      </a:lnTo>
                      <a:lnTo>
                        <a:pt x="104" y="123"/>
                      </a:lnTo>
                      <a:lnTo>
                        <a:pt x="108" y="123"/>
                      </a:lnTo>
                      <a:lnTo>
                        <a:pt x="108" y="107"/>
                      </a:lnTo>
                      <a:lnTo>
                        <a:pt x="142" y="95"/>
                      </a:lnTo>
                      <a:lnTo>
                        <a:pt x="125" y="78"/>
                      </a:lnTo>
                      <a:lnTo>
                        <a:pt x="113" y="90"/>
                      </a:lnTo>
                      <a:lnTo>
                        <a:pt x="108" y="78"/>
                      </a:lnTo>
                      <a:lnTo>
                        <a:pt x="130" y="50"/>
                      </a:lnTo>
                      <a:lnTo>
                        <a:pt x="168" y="41"/>
                      </a:lnTo>
                      <a:lnTo>
                        <a:pt x="212" y="41"/>
                      </a:lnTo>
                      <a:lnTo>
                        <a:pt x="293" y="74"/>
                      </a:lnTo>
                      <a:lnTo>
                        <a:pt x="293" y="57"/>
                      </a:lnTo>
                      <a:lnTo>
                        <a:pt x="305" y="17"/>
                      </a:lnTo>
                      <a:lnTo>
                        <a:pt x="347" y="0"/>
                      </a:lnTo>
                      <a:lnTo>
                        <a:pt x="385" y="24"/>
                      </a:lnTo>
                      <a:lnTo>
                        <a:pt x="451" y="41"/>
                      </a:lnTo>
                      <a:lnTo>
                        <a:pt x="456" y="24"/>
                      </a:lnTo>
                      <a:lnTo>
                        <a:pt x="520" y="33"/>
                      </a:lnTo>
                      <a:lnTo>
                        <a:pt x="543" y="24"/>
                      </a:lnTo>
                      <a:lnTo>
                        <a:pt x="557" y="33"/>
                      </a:lnTo>
                      <a:lnTo>
                        <a:pt x="699" y="41"/>
                      </a:lnTo>
                      <a:lnTo>
                        <a:pt x="699" y="50"/>
                      </a:lnTo>
                      <a:lnTo>
                        <a:pt x="711" y="74"/>
                      </a:lnTo>
                      <a:lnTo>
                        <a:pt x="753" y="74"/>
                      </a:lnTo>
                      <a:lnTo>
                        <a:pt x="765" y="95"/>
                      </a:lnTo>
                      <a:lnTo>
                        <a:pt x="765" y="107"/>
                      </a:lnTo>
                      <a:lnTo>
                        <a:pt x="742" y="111"/>
                      </a:lnTo>
                      <a:lnTo>
                        <a:pt x="737" y="123"/>
                      </a:lnTo>
                      <a:lnTo>
                        <a:pt x="704" y="128"/>
                      </a:lnTo>
                      <a:lnTo>
                        <a:pt x="645" y="161"/>
                      </a:lnTo>
                      <a:lnTo>
                        <a:pt x="635" y="178"/>
                      </a:lnTo>
                      <a:lnTo>
                        <a:pt x="619" y="194"/>
                      </a:lnTo>
                      <a:lnTo>
                        <a:pt x="536" y="199"/>
                      </a:lnTo>
                      <a:lnTo>
                        <a:pt x="520" y="215"/>
                      </a:lnTo>
                      <a:lnTo>
                        <a:pt x="520" y="232"/>
                      </a:lnTo>
                      <a:lnTo>
                        <a:pt x="494" y="255"/>
                      </a:lnTo>
                      <a:lnTo>
                        <a:pt x="482" y="248"/>
                      </a:lnTo>
                      <a:lnTo>
                        <a:pt x="451" y="255"/>
                      </a:lnTo>
                      <a:lnTo>
                        <a:pt x="439" y="232"/>
                      </a:lnTo>
                      <a:lnTo>
                        <a:pt x="418" y="248"/>
                      </a:lnTo>
                      <a:lnTo>
                        <a:pt x="385" y="239"/>
                      </a:lnTo>
                      <a:lnTo>
                        <a:pt x="385" y="239"/>
                      </a:lnTo>
                      <a:lnTo>
                        <a:pt x="385" y="23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2" name="Freeform 483">
                  <a:extLst>
                    <a:ext uri="{FF2B5EF4-FFF2-40B4-BE49-F238E27FC236}">
                      <a16:creationId xmlns:a16="http://schemas.microsoft.com/office/drawing/2014/main" id="{9A1D9C91-71D2-4DF0-B902-4302399B1099}"/>
                    </a:ext>
                  </a:extLst>
                </p:cNvPr>
                <p:cNvSpPr>
                  <a:spLocks/>
                </p:cNvSpPr>
                <p:nvPr/>
              </p:nvSpPr>
              <p:spPr bwMode="gray">
                <a:xfrm>
                  <a:off x="10314352" y="2705165"/>
                  <a:ext cx="184016" cy="187742"/>
                </a:xfrm>
                <a:custGeom>
                  <a:avLst/>
                  <a:gdLst>
                    <a:gd name="T0" fmla="*/ 45 w 447"/>
                    <a:gd name="T1" fmla="*/ 217 h 456"/>
                    <a:gd name="T2" fmla="*/ 55 w 447"/>
                    <a:gd name="T3" fmla="*/ 217 h 456"/>
                    <a:gd name="T4" fmla="*/ 104 w 447"/>
                    <a:gd name="T5" fmla="*/ 184 h 456"/>
                    <a:gd name="T6" fmla="*/ 156 w 447"/>
                    <a:gd name="T7" fmla="*/ 144 h 456"/>
                    <a:gd name="T8" fmla="*/ 189 w 447"/>
                    <a:gd name="T9" fmla="*/ 106 h 456"/>
                    <a:gd name="T10" fmla="*/ 270 w 447"/>
                    <a:gd name="T11" fmla="*/ 144 h 456"/>
                    <a:gd name="T12" fmla="*/ 270 w 447"/>
                    <a:gd name="T13" fmla="*/ 106 h 456"/>
                    <a:gd name="T14" fmla="*/ 324 w 447"/>
                    <a:gd name="T15" fmla="*/ 89 h 456"/>
                    <a:gd name="T16" fmla="*/ 357 w 447"/>
                    <a:gd name="T17" fmla="*/ 49 h 456"/>
                    <a:gd name="T18" fmla="*/ 378 w 447"/>
                    <a:gd name="T19" fmla="*/ 49 h 456"/>
                    <a:gd name="T20" fmla="*/ 421 w 447"/>
                    <a:gd name="T21" fmla="*/ 11 h 456"/>
                    <a:gd name="T22" fmla="*/ 442 w 447"/>
                    <a:gd name="T23" fmla="*/ 45 h 456"/>
                    <a:gd name="T24" fmla="*/ 447 w 447"/>
                    <a:gd name="T25" fmla="*/ 66 h 456"/>
                    <a:gd name="T26" fmla="*/ 378 w 447"/>
                    <a:gd name="T27" fmla="*/ 122 h 456"/>
                    <a:gd name="T28" fmla="*/ 388 w 447"/>
                    <a:gd name="T29" fmla="*/ 144 h 456"/>
                    <a:gd name="T30" fmla="*/ 350 w 447"/>
                    <a:gd name="T31" fmla="*/ 200 h 456"/>
                    <a:gd name="T32" fmla="*/ 303 w 447"/>
                    <a:gd name="T33" fmla="*/ 238 h 456"/>
                    <a:gd name="T34" fmla="*/ 286 w 447"/>
                    <a:gd name="T35" fmla="*/ 255 h 456"/>
                    <a:gd name="T36" fmla="*/ 260 w 447"/>
                    <a:gd name="T37" fmla="*/ 271 h 456"/>
                    <a:gd name="T38" fmla="*/ 232 w 447"/>
                    <a:gd name="T39" fmla="*/ 323 h 456"/>
                    <a:gd name="T40" fmla="*/ 218 w 447"/>
                    <a:gd name="T41" fmla="*/ 311 h 456"/>
                    <a:gd name="T42" fmla="*/ 248 w 447"/>
                    <a:gd name="T43" fmla="*/ 340 h 456"/>
                    <a:gd name="T44" fmla="*/ 281 w 447"/>
                    <a:gd name="T45" fmla="*/ 394 h 456"/>
                    <a:gd name="T46" fmla="*/ 206 w 447"/>
                    <a:gd name="T47" fmla="*/ 406 h 456"/>
                    <a:gd name="T48" fmla="*/ 163 w 447"/>
                    <a:gd name="T49" fmla="*/ 451 h 456"/>
                    <a:gd name="T50" fmla="*/ 135 w 447"/>
                    <a:gd name="T51" fmla="*/ 451 h 456"/>
                    <a:gd name="T52" fmla="*/ 121 w 447"/>
                    <a:gd name="T53" fmla="*/ 439 h 456"/>
                    <a:gd name="T54" fmla="*/ 109 w 447"/>
                    <a:gd name="T55" fmla="*/ 432 h 456"/>
                    <a:gd name="T56" fmla="*/ 104 w 447"/>
                    <a:gd name="T57" fmla="*/ 439 h 456"/>
                    <a:gd name="T58" fmla="*/ 88 w 447"/>
                    <a:gd name="T59" fmla="*/ 439 h 456"/>
                    <a:gd name="T60" fmla="*/ 71 w 447"/>
                    <a:gd name="T61" fmla="*/ 422 h 456"/>
                    <a:gd name="T62" fmla="*/ 45 w 447"/>
                    <a:gd name="T63" fmla="*/ 406 h 456"/>
                    <a:gd name="T64" fmla="*/ 83 w 447"/>
                    <a:gd name="T65" fmla="*/ 366 h 456"/>
                    <a:gd name="T66" fmla="*/ 66 w 447"/>
                    <a:gd name="T67" fmla="*/ 361 h 456"/>
                    <a:gd name="T68" fmla="*/ 71 w 447"/>
                    <a:gd name="T69" fmla="*/ 304 h 456"/>
                    <a:gd name="T70" fmla="*/ 55 w 447"/>
                    <a:gd name="T71" fmla="*/ 295 h 456"/>
                    <a:gd name="T72" fmla="*/ 33 w 447"/>
                    <a:gd name="T73" fmla="*/ 288 h 456"/>
                    <a:gd name="T74" fmla="*/ 17 w 447"/>
                    <a:gd name="T75" fmla="*/ 283 h 456"/>
                    <a:gd name="T76" fmla="*/ 12 w 447"/>
                    <a:gd name="T77" fmla="*/ 250 h 456"/>
                    <a:gd name="T78" fmla="*/ 12 w 447"/>
                    <a:gd name="T79" fmla="*/ 25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47" h="456">
                      <a:moveTo>
                        <a:pt x="12" y="250"/>
                      </a:moveTo>
                      <a:lnTo>
                        <a:pt x="45" y="217"/>
                      </a:lnTo>
                      <a:lnTo>
                        <a:pt x="55" y="229"/>
                      </a:lnTo>
                      <a:lnTo>
                        <a:pt x="55" y="217"/>
                      </a:lnTo>
                      <a:lnTo>
                        <a:pt x="83" y="200"/>
                      </a:lnTo>
                      <a:lnTo>
                        <a:pt x="104" y="184"/>
                      </a:lnTo>
                      <a:lnTo>
                        <a:pt x="125" y="184"/>
                      </a:lnTo>
                      <a:lnTo>
                        <a:pt x="156" y="144"/>
                      </a:lnTo>
                      <a:lnTo>
                        <a:pt x="163" y="122"/>
                      </a:lnTo>
                      <a:lnTo>
                        <a:pt x="189" y="106"/>
                      </a:lnTo>
                      <a:lnTo>
                        <a:pt x="210" y="139"/>
                      </a:lnTo>
                      <a:lnTo>
                        <a:pt x="270" y="144"/>
                      </a:lnTo>
                      <a:lnTo>
                        <a:pt x="281" y="122"/>
                      </a:lnTo>
                      <a:lnTo>
                        <a:pt x="270" y="106"/>
                      </a:lnTo>
                      <a:lnTo>
                        <a:pt x="265" y="89"/>
                      </a:lnTo>
                      <a:lnTo>
                        <a:pt x="324" y="89"/>
                      </a:lnTo>
                      <a:lnTo>
                        <a:pt x="350" y="66"/>
                      </a:lnTo>
                      <a:lnTo>
                        <a:pt x="357" y="49"/>
                      </a:lnTo>
                      <a:lnTo>
                        <a:pt x="366" y="56"/>
                      </a:lnTo>
                      <a:lnTo>
                        <a:pt x="378" y="49"/>
                      </a:lnTo>
                      <a:lnTo>
                        <a:pt x="395" y="0"/>
                      </a:lnTo>
                      <a:lnTo>
                        <a:pt x="421" y="11"/>
                      </a:lnTo>
                      <a:lnTo>
                        <a:pt x="421" y="28"/>
                      </a:lnTo>
                      <a:lnTo>
                        <a:pt x="442" y="45"/>
                      </a:lnTo>
                      <a:lnTo>
                        <a:pt x="442" y="49"/>
                      </a:lnTo>
                      <a:lnTo>
                        <a:pt x="447" y="66"/>
                      </a:lnTo>
                      <a:lnTo>
                        <a:pt x="433" y="56"/>
                      </a:lnTo>
                      <a:lnTo>
                        <a:pt x="378" y="122"/>
                      </a:lnTo>
                      <a:lnTo>
                        <a:pt x="378" y="139"/>
                      </a:lnTo>
                      <a:lnTo>
                        <a:pt x="388" y="144"/>
                      </a:lnTo>
                      <a:lnTo>
                        <a:pt x="378" y="193"/>
                      </a:lnTo>
                      <a:lnTo>
                        <a:pt x="350" y="200"/>
                      </a:lnTo>
                      <a:lnTo>
                        <a:pt x="340" y="217"/>
                      </a:lnTo>
                      <a:lnTo>
                        <a:pt x="303" y="238"/>
                      </a:lnTo>
                      <a:lnTo>
                        <a:pt x="303" y="250"/>
                      </a:lnTo>
                      <a:lnTo>
                        <a:pt x="286" y="255"/>
                      </a:lnTo>
                      <a:lnTo>
                        <a:pt x="265" y="255"/>
                      </a:lnTo>
                      <a:lnTo>
                        <a:pt x="260" y="271"/>
                      </a:lnTo>
                      <a:lnTo>
                        <a:pt x="227" y="283"/>
                      </a:lnTo>
                      <a:lnTo>
                        <a:pt x="232" y="323"/>
                      </a:lnTo>
                      <a:lnTo>
                        <a:pt x="227" y="311"/>
                      </a:lnTo>
                      <a:lnTo>
                        <a:pt x="218" y="311"/>
                      </a:lnTo>
                      <a:lnTo>
                        <a:pt x="218" y="328"/>
                      </a:lnTo>
                      <a:lnTo>
                        <a:pt x="248" y="340"/>
                      </a:lnTo>
                      <a:lnTo>
                        <a:pt x="286" y="378"/>
                      </a:lnTo>
                      <a:lnTo>
                        <a:pt x="281" y="394"/>
                      </a:lnTo>
                      <a:lnTo>
                        <a:pt x="265" y="399"/>
                      </a:lnTo>
                      <a:lnTo>
                        <a:pt x="206" y="406"/>
                      </a:lnTo>
                      <a:lnTo>
                        <a:pt x="173" y="439"/>
                      </a:lnTo>
                      <a:lnTo>
                        <a:pt x="163" y="451"/>
                      </a:lnTo>
                      <a:lnTo>
                        <a:pt x="151" y="439"/>
                      </a:lnTo>
                      <a:lnTo>
                        <a:pt x="135" y="451"/>
                      </a:lnTo>
                      <a:lnTo>
                        <a:pt x="135" y="456"/>
                      </a:lnTo>
                      <a:lnTo>
                        <a:pt x="121" y="439"/>
                      </a:lnTo>
                      <a:lnTo>
                        <a:pt x="121" y="451"/>
                      </a:lnTo>
                      <a:lnTo>
                        <a:pt x="109" y="432"/>
                      </a:lnTo>
                      <a:lnTo>
                        <a:pt x="97" y="422"/>
                      </a:lnTo>
                      <a:lnTo>
                        <a:pt x="104" y="439"/>
                      </a:lnTo>
                      <a:lnTo>
                        <a:pt x="71" y="456"/>
                      </a:lnTo>
                      <a:lnTo>
                        <a:pt x="88" y="439"/>
                      </a:lnTo>
                      <a:lnTo>
                        <a:pt x="50" y="432"/>
                      </a:lnTo>
                      <a:lnTo>
                        <a:pt x="71" y="422"/>
                      </a:lnTo>
                      <a:lnTo>
                        <a:pt x="29" y="415"/>
                      </a:lnTo>
                      <a:lnTo>
                        <a:pt x="45" y="406"/>
                      </a:lnTo>
                      <a:lnTo>
                        <a:pt x="50" y="382"/>
                      </a:lnTo>
                      <a:lnTo>
                        <a:pt x="83" y="366"/>
                      </a:lnTo>
                      <a:lnTo>
                        <a:pt x="97" y="378"/>
                      </a:lnTo>
                      <a:lnTo>
                        <a:pt x="66" y="361"/>
                      </a:lnTo>
                      <a:lnTo>
                        <a:pt x="83" y="323"/>
                      </a:lnTo>
                      <a:lnTo>
                        <a:pt x="71" y="304"/>
                      </a:lnTo>
                      <a:lnTo>
                        <a:pt x="83" y="295"/>
                      </a:lnTo>
                      <a:lnTo>
                        <a:pt x="55" y="295"/>
                      </a:lnTo>
                      <a:lnTo>
                        <a:pt x="33" y="283"/>
                      </a:lnTo>
                      <a:lnTo>
                        <a:pt x="33" y="288"/>
                      </a:lnTo>
                      <a:lnTo>
                        <a:pt x="29" y="295"/>
                      </a:lnTo>
                      <a:lnTo>
                        <a:pt x="17" y="283"/>
                      </a:lnTo>
                      <a:lnTo>
                        <a:pt x="0" y="267"/>
                      </a:lnTo>
                      <a:lnTo>
                        <a:pt x="12" y="250"/>
                      </a:lnTo>
                      <a:lnTo>
                        <a:pt x="12" y="250"/>
                      </a:lnTo>
                      <a:lnTo>
                        <a:pt x="12" y="25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3" name="Freeform 488">
                  <a:extLst>
                    <a:ext uri="{FF2B5EF4-FFF2-40B4-BE49-F238E27FC236}">
                      <a16:creationId xmlns:a16="http://schemas.microsoft.com/office/drawing/2014/main" id="{561AB539-F18B-4817-A763-EC5C2D0FE791}"/>
                    </a:ext>
                  </a:extLst>
                </p:cNvPr>
                <p:cNvSpPr>
                  <a:spLocks noEditPoints="1"/>
                </p:cNvSpPr>
                <p:nvPr/>
              </p:nvSpPr>
              <p:spPr bwMode="gray">
                <a:xfrm>
                  <a:off x="8069103" y="2224692"/>
                  <a:ext cx="1178611" cy="566933"/>
                </a:xfrm>
                <a:custGeom>
                  <a:avLst/>
                  <a:gdLst>
                    <a:gd name="T0" fmla="*/ 456 w 2863"/>
                    <a:gd name="T1" fmla="*/ 1240 h 1377"/>
                    <a:gd name="T2" fmla="*/ 364 w 2863"/>
                    <a:gd name="T3" fmla="*/ 1155 h 1377"/>
                    <a:gd name="T4" fmla="*/ 267 w 2863"/>
                    <a:gd name="T5" fmla="*/ 1015 h 1377"/>
                    <a:gd name="T6" fmla="*/ 309 w 2863"/>
                    <a:gd name="T7" fmla="*/ 994 h 1377"/>
                    <a:gd name="T8" fmla="*/ 465 w 2863"/>
                    <a:gd name="T9" fmla="*/ 878 h 1377"/>
                    <a:gd name="T10" fmla="*/ 394 w 2863"/>
                    <a:gd name="T11" fmla="*/ 829 h 1377"/>
                    <a:gd name="T12" fmla="*/ 196 w 2863"/>
                    <a:gd name="T13" fmla="*/ 850 h 1377"/>
                    <a:gd name="T14" fmla="*/ 158 w 2863"/>
                    <a:gd name="T15" fmla="*/ 834 h 1377"/>
                    <a:gd name="T16" fmla="*/ 0 w 2863"/>
                    <a:gd name="T17" fmla="*/ 678 h 1377"/>
                    <a:gd name="T18" fmla="*/ 71 w 2863"/>
                    <a:gd name="T19" fmla="*/ 493 h 1377"/>
                    <a:gd name="T20" fmla="*/ 158 w 2863"/>
                    <a:gd name="T21" fmla="*/ 510 h 1377"/>
                    <a:gd name="T22" fmla="*/ 272 w 2863"/>
                    <a:gd name="T23" fmla="*/ 399 h 1377"/>
                    <a:gd name="T24" fmla="*/ 335 w 2863"/>
                    <a:gd name="T25" fmla="*/ 382 h 1377"/>
                    <a:gd name="T26" fmla="*/ 411 w 2863"/>
                    <a:gd name="T27" fmla="*/ 366 h 1377"/>
                    <a:gd name="T28" fmla="*/ 562 w 2863"/>
                    <a:gd name="T29" fmla="*/ 456 h 1377"/>
                    <a:gd name="T30" fmla="*/ 574 w 2863"/>
                    <a:gd name="T31" fmla="*/ 434 h 1377"/>
                    <a:gd name="T32" fmla="*/ 713 w 2863"/>
                    <a:gd name="T33" fmla="*/ 434 h 1377"/>
                    <a:gd name="T34" fmla="*/ 827 w 2863"/>
                    <a:gd name="T35" fmla="*/ 423 h 1377"/>
                    <a:gd name="T36" fmla="*/ 914 w 2863"/>
                    <a:gd name="T37" fmla="*/ 489 h 1377"/>
                    <a:gd name="T38" fmla="*/ 1061 w 2863"/>
                    <a:gd name="T39" fmla="*/ 418 h 1377"/>
                    <a:gd name="T40" fmla="*/ 952 w 2863"/>
                    <a:gd name="T41" fmla="*/ 349 h 1377"/>
                    <a:gd name="T42" fmla="*/ 1006 w 2863"/>
                    <a:gd name="T43" fmla="*/ 278 h 1377"/>
                    <a:gd name="T44" fmla="*/ 1028 w 2863"/>
                    <a:gd name="T45" fmla="*/ 217 h 1377"/>
                    <a:gd name="T46" fmla="*/ 1037 w 2863"/>
                    <a:gd name="T47" fmla="*/ 167 h 1377"/>
                    <a:gd name="T48" fmla="*/ 1129 w 2863"/>
                    <a:gd name="T49" fmla="*/ 160 h 1377"/>
                    <a:gd name="T50" fmla="*/ 1226 w 2863"/>
                    <a:gd name="T51" fmla="*/ 111 h 1377"/>
                    <a:gd name="T52" fmla="*/ 1368 w 2863"/>
                    <a:gd name="T53" fmla="*/ 89 h 1377"/>
                    <a:gd name="T54" fmla="*/ 1561 w 2863"/>
                    <a:gd name="T55" fmla="*/ 12 h 1377"/>
                    <a:gd name="T56" fmla="*/ 1687 w 2863"/>
                    <a:gd name="T57" fmla="*/ 16 h 1377"/>
                    <a:gd name="T58" fmla="*/ 1729 w 2863"/>
                    <a:gd name="T59" fmla="*/ 111 h 1377"/>
                    <a:gd name="T60" fmla="*/ 1795 w 2863"/>
                    <a:gd name="T61" fmla="*/ 106 h 1377"/>
                    <a:gd name="T62" fmla="*/ 1838 w 2863"/>
                    <a:gd name="T63" fmla="*/ 156 h 1377"/>
                    <a:gd name="T64" fmla="*/ 1918 w 2863"/>
                    <a:gd name="T65" fmla="*/ 139 h 1377"/>
                    <a:gd name="T66" fmla="*/ 1946 w 2863"/>
                    <a:gd name="T67" fmla="*/ 184 h 1377"/>
                    <a:gd name="T68" fmla="*/ 2027 w 2863"/>
                    <a:gd name="T69" fmla="*/ 139 h 1377"/>
                    <a:gd name="T70" fmla="*/ 2119 w 2863"/>
                    <a:gd name="T71" fmla="*/ 127 h 1377"/>
                    <a:gd name="T72" fmla="*/ 2376 w 2863"/>
                    <a:gd name="T73" fmla="*/ 423 h 1377"/>
                    <a:gd name="T74" fmla="*/ 2523 w 2863"/>
                    <a:gd name="T75" fmla="*/ 460 h 1377"/>
                    <a:gd name="T76" fmla="*/ 2702 w 2863"/>
                    <a:gd name="T77" fmla="*/ 534 h 1377"/>
                    <a:gd name="T78" fmla="*/ 2825 w 2863"/>
                    <a:gd name="T79" fmla="*/ 550 h 1377"/>
                    <a:gd name="T80" fmla="*/ 2837 w 2863"/>
                    <a:gd name="T81" fmla="*/ 612 h 1377"/>
                    <a:gd name="T82" fmla="*/ 2750 w 2863"/>
                    <a:gd name="T83" fmla="*/ 777 h 1377"/>
                    <a:gd name="T84" fmla="*/ 2627 w 2863"/>
                    <a:gd name="T85" fmla="*/ 810 h 1377"/>
                    <a:gd name="T86" fmla="*/ 2485 w 2863"/>
                    <a:gd name="T87" fmla="*/ 978 h 1377"/>
                    <a:gd name="T88" fmla="*/ 2376 w 2863"/>
                    <a:gd name="T89" fmla="*/ 1027 h 1377"/>
                    <a:gd name="T90" fmla="*/ 2362 w 2863"/>
                    <a:gd name="T91" fmla="*/ 1200 h 1377"/>
                    <a:gd name="T92" fmla="*/ 2157 w 2863"/>
                    <a:gd name="T93" fmla="*/ 1178 h 1377"/>
                    <a:gd name="T94" fmla="*/ 1902 w 2863"/>
                    <a:gd name="T95" fmla="*/ 1162 h 1377"/>
                    <a:gd name="T96" fmla="*/ 1713 w 2863"/>
                    <a:gd name="T97" fmla="*/ 1233 h 1377"/>
                    <a:gd name="T98" fmla="*/ 1583 w 2863"/>
                    <a:gd name="T99" fmla="*/ 1323 h 1377"/>
                    <a:gd name="T100" fmla="*/ 1422 w 2863"/>
                    <a:gd name="T101" fmla="*/ 1327 h 1377"/>
                    <a:gd name="T102" fmla="*/ 1292 w 2863"/>
                    <a:gd name="T103" fmla="*/ 1105 h 1377"/>
                    <a:gd name="T104" fmla="*/ 666 w 2863"/>
                    <a:gd name="T105" fmla="*/ 1311 h 1377"/>
                    <a:gd name="T106" fmla="*/ 456 w 2863"/>
                    <a:gd name="T107" fmla="*/ 883 h 1377"/>
                    <a:gd name="T108" fmla="*/ 267 w 2863"/>
                    <a:gd name="T109" fmla="*/ 994 h 1377"/>
                    <a:gd name="T110" fmla="*/ 255 w 2863"/>
                    <a:gd name="T111" fmla="*/ 999 h 1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63" h="1377">
                      <a:moveTo>
                        <a:pt x="666" y="1311"/>
                      </a:moveTo>
                      <a:lnTo>
                        <a:pt x="628" y="1323"/>
                      </a:lnTo>
                      <a:lnTo>
                        <a:pt x="595" y="1273"/>
                      </a:lnTo>
                      <a:lnTo>
                        <a:pt x="595" y="1266"/>
                      </a:lnTo>
                      <a:lnTo>
                        <a:pt x="541" y="1221"/>
                      </a:lnTo>
                      <a:lnTo>
                        <a:pt x="487" y="1233"/>
                      </a:lnTo>
                      <a:lnTo>
                        <a:pt x="456" y="1240"/>
                      </a:lnTo>
                      <a:lnTo>
                        <a:pt x="418" y="1282"/>
                      </a:lnTo>
                      <a:lnTo>
                        <a:pt x="418" y="1266"/>
                      </a:lnTo>
                      <a:lnTo>
                        <a:pt x="411" y="1249"/>
                      </a:lnTo>
                      <a:lnTo>
                        <a:pt x="432" y="1195"/>
                      </a:lnTo>
                      <a:lnTo>
                        <a:pt x="394" y="1178"/>
                      </a:lnTo>
                      <a:lnTo>
                        <a:pt x="380" y="1183"/>
                      </a:lnTo>
                      <a:lnTo>
                        <a:pt x="364" y="1155"/>
                      </a:lnTo>
                      <a:lnTo>
                        <a:pt x="335" y="1155"/>
                      </a:lnTo>
                      <a:lnTo>
                        <a:pt x="335" y="1129"/>
                      </a:lnTo>
                      <a:lnTo>
                        <a:pt x="319" y="1100"/>
                      </a:lnTo>
                      <a:lnTo>
                        <a:pt x="305" y="1067"/>
                      </a:lnTo>
                      <a:lnTo>
                        <a:pt x="267" y="1051"/>
                      </a:lnTo>
                      <a:lnTo>
                        <a:pt x="267" y="1027"/>
                      </a:lnTo>
                      <a:lnTo>
                        <a:pt x="267" y="1015"/>
                      </a:lnTo>
                      <a:lnTo>
                        <a:pt x="305" y="1027"/>
                      </a:lnTo>
                      <a:lnTo>
                        <a:pt x="326" y="1034"/>
                      </a:lnTo>
                      <a:lnTo>
                        <a:pt x="357" y="1034"/>
                      </a:lnTo>
                      <a:lnTo>
                        <a:pt x="335" y="1027"/>
                      </a:lnTo>
                      <a:lnTo>
                        <a:pt x="335" y="1015"/>
                      </a:lnTo>
                      <a:lnTo>
                        <a:pt x="309" y="999"/>
                      </a:lnTo>
                      <a:lnTo>
                        <a:pt x="309" y="994"/>
                      </a:lnTo>
                      <a:lnTo>
                        <a:pt x="335" y="978"/>
                      </a:lnTo>
                      <a:lnTo>
                        <a:pt x="343" y="956"/>
                      </a:lnTo>
                      <a:lnTo>
                        <a:pt x="418" y="956"/>
                      </a:lnTo>
                      <a:lnTo>
                        <a:pt x="470" y="961"/>
                      </a:lnTo>
                      <a:lnTo>
                        <a:pt x="432" y="940"/>
                      </a:lnTo>
                      <a:lnTo>
                        <a:pt x="465" y="900"/>
                      </a:lnTo>
                      <a:lnTo>
                        <a:pt x="465" y="878"/>
                      </a:lnTo>
                      <a:lnTo>
                        <a:pt x="456" y="862"/>
                      </a:lnTo>
                      <a:lnTo>
                        <a:pt x="470" y="845"/>
                      </a:lnTo>
                      <a:lnTo>
                        <a:pt x="470" y="834"/>
                      </a:lnTo>
                      <a:lnTo>
                        <a:pt x="456" y="822"/>
                      </a:lnTo>
                      <a:lnTo>
                        <a:pt x="449" y="810"/>
                      </a:lnTo>
                      <a:lnTo>
                        <a:pt x="418" y="810"/>
                      </a:lnTo>
                      <a:lnTo>
                        <a:pt x="394" y="829"/>
                      </a:lnTo>
                      <a:lnTo>
                        <a:pt x="373" y="822"/>
                      </a:lnTo>
                      <a:lnTo>
                        <a:pt x="357" y="805"/>
                      </a:lnTo>
                      <a:lnTo>
                        <a:pt x="326" y="805"/>
                      </a:lnTo>
                      <a:lnTo>
                        <a:pt x="305" y="822"/>
                      </a:lnTo>
                      <a:lnTo>
                        <a:pt x="272" y="822"/>
                      </a:lnTo>
                      <a:lnTo>
                        <a:pt x="234" y="850"/>
                      </a:lnTo>
                      <a:lnTo>
                        <a:pt x="196" y="850"/>
                      </a:lnTo>
                      <a:lnTo>
                        <a:pt x="201" y="867"/>
                      </a:lnTo>
                      <a:lnTo>
                        <a:pt x="196" y="862"/>
                      </a:lnTo>
                      <a:lnTo>
                        <a:pt x="184" y="867"/>
                      </a:lnTo>
                      <a:lnTo>
                        <a:pt x="142" y="850"/>
                      </a:lnTo>
                      <a:lnTo>
                        <a:pt x="142" y="834"/>
                      </a:lnTo>
                      <a:lnTo>
                        <a:pt x="158" y="834"/>
                      </a:lnTo>
                      <a:lnTo>
                        <a:pt x="158" y="834"/>
                      </a:lnTo>
                      <a:lnTo>
                        <a:pt x="180" y="829"/>
                      </a:lnTo>
                      <a:lnTo>
                        <a:pt x="120" y="751"/>
                      </a:lnTo>
                      <a:lnTo>
                        <a:pt x="66" y="734"/>
                      </a:lnTo>
                      <a:lnTo>
                        <a:pt x="66" y="751"/>
                      </a:lnTo>
                      <a:lnTo>
                        <a:pt x="50" y="734"/>
                      </a:lnTo>
                      <a:lnTo>
                        <a:pt x="38" y="694"/>
                      </a:lnTo>
                      <a:lnTo>
                        <a:pt x="0" y="678"/>
                      </a:lnTo>
                      <a:lnTo>
                        <a:pt x="17" y="628"/>
                      </a:lnTo>
                      <a:lnTo>
                        <a:pt x="38" y="612"/>
                      </a:lnTo>
                      <a:lnTo>
                        <a:pt x="17" y="600"/>
                      </a:lnTo>
                      <a:lnTo>
                        <a:pt x="33" y="550"/>
                      </a:lnTo>
                      <a:lnTo>
                        <a:pt x="54" y="529"/>
                      </a:lnTo>
                      <a:lnTo>
                        <a:pt x="54" y="501"/>
                      </a:lnTo>
                      <a:lnTo>
                        <a:pt x="71" y="493"/>
                      </a:lnTo>
                      <a:lnTo>
                        <a:pt x="76" y="489"/>
                      </a:lnTo>
                      <a:lnTo>
                        <a:pt x="104" y="510"/>
                      </a:lnTo>
                      <a:lnTo>
                        <a:pt x="125" y="545"/>
                      </a:lnTo>
                      <a:lnTo>
                        <a:pt x="130" y="550"/>
                      </a:lnTo>
                      <a:lnTo>
                        <a:pt x="163" y="545"/>
                      </a:lnTo>
                      <a:lnTo>
                        <a:pt x="175" y="529"/>
                      </a:lnTo>
                      <a:lnTo>
                        <a:pt x="158" y="510"/>
                      </a:lnTo>
                      <a:lnTo>
                        <a:pt x="158" y="477"/>
                      </a:lnTo>
                      <a:lnTo>
                        <a:pt x="201" y="456"/>
                      </a:lnTo>
                      <a:lnTo>
                        <a:pt x="201" y="439"/>
                      </a:lnTo>
                      <a:lnTo>
                        <a:pt x="213" y="423"/>
                      </a:lnTo>
                      <a:lnTo>
                        <a:pt x="234" y="434"/>
                      </a:lnTo>
                      <a:lnTo>
                        <a:pt x="272" y="406"/>
                      </a:lnTo>
                      <a:lnTo>
                        <a:pt x="272" y="399"/>
                      </a:lnTo>
                      <a:lnTo>
                        <a:pt x="288" y="389"/>
                      </a:lnTo>
                      <a:lnTo>
                        <a:pt x="288" y="378"/>
                      </a:lnTo>
                      <a:lnTo>
                        <a:pt x="305" y="382"/>
                      </a:lnTo>
                      <a:lnTo>
                        <a:pt x="305" y="366"/>
                      </a:lnTo>
                      <a:lnTo>
                        <a:pt x="343" y="378"/>
                      </a:lnTo>
                      <a:lnTo>
                        <a:pt x="343" y="382"/>
                      </a:lnTo>
                      <a:lnTo>
                        <a:pt x="335" y="382"/>
                      </a:lnTo>
                      <a:lnTo>
                        <a:pt x="335" y="389"/>
                      </a:lnTo>
                      <a:lnTo>
                        <a:pt x="364" y="389"/>
                      </a:lnTo>
                      <a:lnTo>
                        <a:pt x="373" y="389"/>
                      </a:lnTo>
                      <a:lnTo>
                        <a:pt x="373" y="382"/>
                      </a:lnTo>
                      <a:lnTo>
                        <a:pt x="380" y="378"/>
                      </a:lnTo>
                      <a:lnTo>
                        <a:pt x="394" y="378"/>
                      </a:lnTo>
                      <a:lnTo>
                        <a:pt x="411" y="366"/>
                      </a:lnTo>
                      <a:lnTo>
                        <a:pt x="428" y="389"/>
                      </a:lnTo>
                      <a:lnTo>
                        <a:pt x="487" y="389"/>
                      </a:lnTo>
                      <a:lnTo>
                        <a:pt x="503" y="399"/>
                      </a:lnTo>
                      <a:lnTo>
                        <a:pt x="503" y="418"/>
                      </a:lnTo>
                      <a:lnTo>
                        <a:pt x="524" y="423"/>
                      </a:lnTo>
                      <a:lnTo>
                        <a:pt x="553" y="444"/>
                      </a:lnTo>
                      <a:lnTo>
                        <a:pt x="562" y="456"/>
                      </a:lnTo>
                      <a:lnTo>
                        <a:pt x="557" y="472"/>
                      </a:lnTo>
                      <a:lnTo>
                        <a:pt x="562" y="489"/>
                      </a:lnTo>
                      <a:lnTo>
                        <a:pt x="574" y="477"/>
                      </a:lnTo>
                      <a:lnTo>
                        <a:pt x="574" y="444"/>
                      </a:lnTo>
                      <a:lnTo>
                        <a:pt x="562" y="444"/>
                      </a:lnTo>
                      <a:lnTo>
                        <a:pt x="562" y="439"/>
                      </a:lnTo>
                      <a:lnTo>
                        <a:pt x="574" y="434"/>
                      </a:lnTo>
                      <a:lnTo>
                        <a:pt x="645" y="489"/>
                      </a:lnTo>
                      <a:lnTo>
                        <a:pt x="671" y="460"/>
                      </a:lnTo>
                      <a:lnTo>
                        <a:pt x="683" y="444"/>
                      </a:lnTo>
                      <a:lnTo>
                        <a:pt x="687" y="444"/>
                      </a:lnTo>
                      <a:lnTo>
                        <a:pt x="704" y="434"/>
                      </a:lnTo>
                      <a:lnTo>
                        <a:pt x="720" y="439"/>
                      </a:lnTo>
                      <a:lnTo>
                        <a:pt x="713" y="434"/>
                      </a:lnTo>
                      <a:lnTo>
                        <a:pt x="720" y="434"/>
                      </a:lnTo>
                      <a:lnTo>
                        <a:pt x="742" y="434"/>
                      </a:lnTo>
                      <a:lnTo>
                        <a:pt x="772" y="456"/>
                      </a:lnTo>
                      <a:lnTo>
                        <a:pt x="789" y="444"/>
                      </a:lnTo>
                      <a:lnTo>
                        <a:pt x="789" y="434"/>
                      </a:lnTo>
                      <a:lnTo>
                        <a:pt x="822" y="434"/>
                      </a:lnTo>
                      <a:lnTo>
                        <a:pt x="827" y="423"/>
                      </a:lnTo>
                      <a:lnTo>
                        <a:pt x="848" y="434"/>
                      </a:lnTo>
                      <a:lnTo>
                        <a:pt x="843" y="444"/>
                      </a:lnTo>
                      <a:lnTo>
                        <a:pt x="848" y="456"/>
                      </a:lnTo>
                      <a:lnTo>
                        <a:pt x="876" y="472"/>
                      </a:lnTo>
                      <a:lnTo>
                        <a:pt x="914" y="472"/>
                      </a:lnTo>
                      <a:lnTo>
                        <a:pt x="919" y="477"/>
                      </a:lnTo>
                      <a:lnTo>
                        <a:pt x="914" y="489"/>
                      </a:lnTo>
                      <a:lnTo>
                        <a:pt x="914" y="489"/>
                      </a:lnTo>
                      <a:lnTo>
                        <a:pt x="935" y="477"/>
                      </a:lnTo>
                      <a:lnTo>
                        <a:pt x="952" y="456"/>
                      </a:lnTo>
                      <a:lnTo>
                        <a:pt x="968" y="472"/>
                      </a:lnTo>
                      <a:lnTo>
                        <a:pt x="994" y="472"/>
                      </a:lnTo>
                      <a:lnTo>
                        <a:pt x="1044" y="460"/>
                      </a:lnTo>
                      <a:lnTo>
                        <a:pt x="1061" y="418"/>
                      </a:lnTo>
                      <a:lnTo>
                        <a:pt x="1065" y="418"/>
                      </a:lnTo>
                      <a:lnTo>
                        <a:pt x="1049" y="399"/>
                      </a:lnTo>
                      <a:lnTo>
                        <a:pt x="1011" y="389"/>
                      </a:lnTo>
                      <a:lnTo>
                        <a:pt x="1011" y="382"/>
                      </a:lnTo>
                      <a:lnTo>
                        <a:pt x="973" y="378"/>
                      </a:lnTo>
                      <a:lnTo>
                        <a:pt x="985" y="361"/>
                      </a:lnTo>
                      <a:lnTo>
                        <a:pt x="952" y="349"/>
                      </a:lnTo>
                      <a:lnTo>
                        <a:pt x="940" y="345"/>
                      </a:lnTo>
                      <a:lnTo>
                        <a:pt x="985" y="328"/>
                      </a:lnTo>
                      <a:lnTo>
                        <a:pt x="994" y="328"/>
                      </a:lnTo>
                      <a:lnTo>
                        <a:pt x="1023" y="312"/>
                      </a:lnTo>
                      <a:lnTo>
                        <a:pt x="1011" y="295"/>
                      </a:lnTo>
                      <a:lnTo>
                        <a:pt x="1006" y="288"/>
                      </a:lnTo>
                      <a:lnTo>
                        <a:pt x="1006" y="278"/>
                      </a:lnTo>
                      <a:lnTo>
                        <a:pt x="994" y="278"/>
                      </a:lnTo>
                      <a:lnTo>
                        <a:pt x="1023" y="250"/>
                      </a:lnTo>
                      <a:lnTo>
                        <a:pt x="1049" y="238"/>
                      </a:lnTo>
                      <a:lnTo>
                        <a:pt x="1082" y="250"/>
                      </a:lnTo>
                      <a:lnTo>
                        <a:pt x="1098" y="250"/>
                      </a:lnTo>
                      <a:lnTo>
                        <a:pt x="1098" y="234"/>
                      </a:lnTo>
                      <a:lnTo>
                        <a:pt x="1028" y="217"/>
                      </a:lnTo>
                      <a:lnTo>
                        <a:pt x="1037" y="193"/>
                      </a:lnTo>
                      <a:lnTo>
                        <a:pt x="1044" y="201"/>
                      </a:lnTo>
                      <a:lnTo>
                        <a:pt x="1061" y="193"/>
                      </a:lnTo>
                      <a:lnTo>
                        <a:pt x="1049" y="184"/>
                      </a:lnTo>
                      <a:lnTo>
                        <a:pt x="1011" y="184"/>
                      </a:lnTo>
                      <a:lnTo>
                        <a:pt x="1023" y="184"/>
                      </a:lnTo>
                      <a:lnTo>
                        <a:pt x="1037" y="167"/>
                      </a:lnTo>
                      <a:lnTo>
                        <a:pt x="1023" y="160"/>
                      </a:lnTo>
                      <a:lnTo>
                        <a:pt x="1023" y="156"/>
                      </a:lnTo>
                      <a:lnTo>
                        <a:pt x="1044" y="139"/>
                      </a:lnTo>
                      <a:lnTo>
                        <a:pt x="1091" y="156"/>
                      </a:lnTo>
                      <a:lnTo>
                        <a:pt x="1091" y="144"/>
                      </a:lnTo>
                      <a:lnTo>
                        <a:pt x="1113" y="144"/>
                      </a:lnTo>
                      <a:lnTo>
                        <a:pt x="1129" y="160"/>
                      </a:lnTo>
                      <a:lnTo>
                        <a:pt x="1129" y="144"/>
                      </a:lnTo>
                      <a:lnTo>
                        <a:pt x="1167" y="139"/>
                      </a:lnTo>
                      <a:lnTo>
                        <a:pt x="1167" y="127"/>
                      </a:lnTo>
                      <a:lnTo>
                        <a:pt x="1205" y="123"/>
                      </a:lnTo>
                      <a:lnTo>
                        <a:pt x="1221" y="127"/>
                      </a:lnTo>
                      <a:lnTo>
                        <a:pt x="1226" y="123"/>
                      </a:lnTo>
                      <a:lnTo>
                        <a:pt x="1226" y="111"/>
                      </a:lnTo>
                      <a:lnTo>
                        <a:pt x="1292" y="106"/>
                      </a:lnTo>
                      <a:lnTo>
                        <a:pt x="1313" y="111"/>
                      </a:lnTo>
                      <a:lnTo>
                        <a:pt x="1313" y="99"/>
                      </a:lnTo>
                      <a:lnTo>
                        <a:pt x="1330" y="82"/>
                      </a:lnTo>
                      <a:lnTo>
                        <a:pt x="1351" y="89"/>
                      </a:lnTo>
                      <a:lnTo>
                        <a:pt x="1368" y="73"/>
                      </a:lnTo>
                      <a:lnTo>
                        <a:pt x="1368" y="89"/>
                      </a:lnTo>
                      <a:lnTo>
                        <a:pt x="1476" y="66"/>
                      </a:lnTo>
                      <a:lnTo>
                        <a:pt x="1507" y="49"/>
                      </a:lnTo>
                      <a:lnTo>
                        <a:pt x="1524" y="49"/>
                      </a:lnTo>
                      <a:lnTo>
                        <a:pt x="1528" y="45"/>
                      </a:lnTo>
                      <a:lnTo>
                        <a:pt x="1524" y="28"/>
                      </a:lnTo>
                      <a:lnTo>
                        <a:pt x="1552" y="28"/>
                      </a:lnTo>
                      <a:lnTo>
                        <a:pt x="1561" y="12"/>
                      </a:lnTo>
                      <a:lnTo>
                        <a:pt x="1578" y="16"/>
                      </a:lnTo>
                      <a:lnTo>
                        <a:pt x="1578" y="0"/>
                      </a:lnTo>
                      <a:lnTo>
                        <a:pt x="1594" y="16"/>
                      </a:lnTo>
                      <a:lnTo>
                        <a:pt x="1599" y="12"/>
                      </a:lnTo>
                      <a:lnTo>
                        <a:pt x="1620" y="12"/>
                      </a:lnTo>
                      <a:lnTo>
                        <a:pt x="1670" y="33"/>
                      </a:lnTo>
                      <a:lnTo>
                        <a:pt x="1687" y="16"/>
                      </a:lnTo>
                      <a:lnTo>
                        <a:pt x="1708" y="16"/>
                      </a:lnTo>
                      <a:lnTo>
                        <a:pt x="1708" y="16"/>
                      </a:lnTo>
                      <a:lnTo>
                        <a:pt x="1713" y="45"/>
                      </a:lnTo>
                      <a:lnTo>
                        <a:pt x="1724" y="66"/>
                      </a:lnTo>
                      <a:lnTo>
                        <a:pt x="1741" y="82"/>
                      </a:lnTo>
                      <a:lnTo>
                        <a:pt x="1729" y="89"/>
                      </a:lnTo>
                      <a:lnTo>
                        <a:pt x="1729" y="111"/>
                      </a:lnTo>
                      <a:lnTo>
                        <a:pt x="1713" y="111"/>
                      </a:lnTo>
                      <a:lnTo>
                        <a:pt x="1729" y="139"/>
                      </a:lnTo>
                      <a:lnTo>
                        <a:pt x="1746" y="127"/>
                      </a:lnTo>
                      <a:lnTo>
                        <a:pt x="1762" y="139"/>
                      </a:lnTo>
                      <a:lnTo>
                        <a:pt x="1767" y="123"/>
                      </a:lnTo>
                      <a:lnTo>
                        <a:pt x="1800" y="139"/>
                      </a:lnTo>
                      <a:lnTo>
                        <a:pt x="1795" y="106"/>
                      </a:lnTo>
                      <a:lnTo>
                        <a:pt x="1800" y="111"/>
                      </a:lnTo>
                      <a:lnTo>
                        <a:pt x="1817" y="123"/>
                      </a:lnTo>
                      <a:lnTo>
                        <a:pt x="1809" y="127"/>
                      </a:lnTo>
                      <a:lnTo>
                        <a:pt x="1821" y="127"/>
                      </a:lnTo>
                      <a:lnTo>
                        <a:pt x="1817" y="156"/>
                      </a:lnTo>
                      <a:lnTo>
                        <a:pt x="1821" y="156"/>
                      </a:lnTo>
                      <a:lnTo>
                        <a:pt x="1838" y="156"/>
                      </a:lnTo>
                      <a:lnTo>
                        <a:pt x="1838" y="139"/>
                      </a:lnTo>
                      <a:lnTo>
                        <a:pt x="1821" y="144"/>
                      </a:lnTo>
                      <a:lnTo>
                        <a:pt x="1833" y="127"/>
                      </a:lnTo>
                      <a:lnTo>
                        <a:pt x="1854" y="139"/>
                      </a:lnTo>
                      <a:lnTo>
                        <a:pt x="1864" y="144"/>
                      </a:lnTo>
                      <a:lnTo>
                        <a:pt x="1876" y="156"/>
                      </a:lnTo>
                      <a:lnTo>
                        <a:pt x="1918" y="139"/>
                      </a:lnTo>
                      <a:lnTo>
                        <a:pt x="1909" y="160"/>
                      </a:lnTo>
                      <a:lnTo>
                        <a:pt x="1892" y="160"/>
                      </a:lnTo>
                      <a:lnTo>
                        <a:pt x="1876" y="184"/>
                      </a:lnTo>
                      <a:lnTo>
                        <a:pt x="1892" y="201"/>
                      </a:lnTo>
                      <a:lnTo>
                        <a:pt x="1909" y="184"/>
                      </a:lnTo>
                      <a:lnTo>
                        <a:pt x="1923" y="184"/>
                      </a:lnTo>
                      <a:lnTo>
                        <a:pt x="1946" y="184"/>
                      </a:lnTo>
                      <a:lnTo>
                        <a:pt x="1961" y="201"/>
                      </a:lnTo>
                      <a:lnTo>
                        <a:pt x="1961" y="177"/>
                      </a:lnTo>
                      <a:lnTo>
                        <a:pt x="1977" y="177"/>
                      </a:lnTo>
                      <a:lnTo>
                        <a:pt x="1984" y="160"/>
                      </a:lnTo>
                      <a:lnTo>
                        <a:pt x="1998" y="167"/>
                      </a:lnTo>
                      <a:lnTo>
                        <a:pt x="2031" y="144"/>
                      </a:lnTo>
                      <a:lnTo>
                        <a:pt x="2027" y="139"/>
                      </a:lnTo>
                      <a:lnTo>
                        <a:pt x="2031" y="139"/>
                      </a:lnTo>
                      <a:lnTo>
                        <a:pt x="2086" y="123"/>
                      </a:lnTo>
                      <a:lnTo>
                        <a:pt x="2086" y="111"/>
                      </a:lnTo>
                      <a:lnTo>
                        <a:pt x="2102" y="111"/>
                      </a:lnTo>
                      <a:lnTo>
                        <a:pt x="2124" y="106"/>
                      </a:lnTo>
                      <a:lnTo>
                        <a:pt x="2135" y="123"/>
                      </a:lnTo>
                      <a:lnTo>
                        <a:pt x="2119" y="127"/>
                      </a:lnTo>
                      <a:lnTo>
                        <a:pt x="2102" y="127"/>
                      </a:lnTo>
                      <a:lnTo>
                        <a:pt x="2107" y="144"/>
                      </a:lnTo>
                      <a:lnTo>
                        <a:pt x="2199" y="217"/>
                      </a:lnTo>
                      <a:lnTo>
                        <a:pt x="2355" y="460"/>
                      </a:lnTo>
                      <a:lnTo>
                        <a:pt x="2355" y="456"/>
                      </a:lnTo>
                      <a:lnTo>
                        <a:pt x="2388" y="439"/>
                      </a:lnTo>
                      <a:lnTo>
                        <a:pt x="2376" y="423"/>
                      </a:lnTo>
                      <a:lnTo>
                        <a:pt x="2393" y="418"/>
                      </a:lnTo>
                      <a:lnTo>
                        <a:pt x="2405" y="406"/>
                      </a:lnTo>
                      <a:lnTo>
                        <a:pt x="2431" y="423"/>
                      </a:lnTo>
                      <a:lnTo>
                        <a:pt x="2426" y="444"/>
                      </a:lnTo>
                      <a:lnTo>
                        <a:pt x="2447" y="439"/>
                      </a:lnTo>
                      <a:lnTo>
                        <a:pt x="2459" y="460"/>
                      </a:lnTo>
                      <a:lnTo>
                        <a:pt x="2523" y="460"/>
                      </a:lnTo>
                      <a:lnTo>
                        <a:pt x="2539" y="456"/>
                      </a:lnTo>
                      <a:lnTo>
                        <a:pt x="2539" y="444"/>
                      </a:lnTo>
                      <a:lnTo>
                        <a:pt x="2594" y="439"/>
                      </a:lnTo>
                      <a:lnTo>
                        <a:pt x="2627" y="456"/>
                      </a:lnTo>
                      <a:lnTo>
                        <a:pt x="2657" y="510"/>
                      </a:lnTo>
                      <a:lnTo>
                        <a:pt x="2702" y="529"/>
                      </a:lnTo>
                      <a:lnTo>
                        <a:pt x="2702" y="534"/>
                      </a:lnTo>
                      <a:lnTo>
                        <a:pt x="2702" y="545"/>
                      </a:lnTo>
                      <a:lnTo>
                        <a:pt x="2712" y="545"/>
                      </a:lnTo>
                      <a:lnTo>
                        <a:pt x="2717" y="571"/>
                      </a:lnTo>
                      <a:lnTo>
                        <a:pt x="2750" y="571"/>
                      </a:lnTo>
                      <a:lnTo>
                        <a:pt x="2787" y="583"/>
                      </a:lnTo>
                      <a:lnTo>
                        <a:pt x="2809" y="550"/>
                      </a:lnTo>
                      <a:lnTo>
                        <a:pt x="2825" y="550"/>
                      </a:lnTo>
                      <a:lnTo>
                        <a:pt x="2825" y="555"/>
                      </a:lnTo>
                      <a:lnTo>
                        <a:pt x="2809" y="571"/>
                      </a:lnTo>
                      <a:lnTo>
                        <a:pt x="2837" y="583"/>
                      </a:lnTo>
                      <a:lnTo>
                        <a:pt x="2837" y="600"/>
                      </a:lnTo>
                      <a:lnTo>
                        <a:pt x="2863" y="604"/>
                      </a:lnTo>
                      <a:lnTo>
                        <a:pt x="2863" y="623"/>
                      </a:lnTo>
                      <a:lnTo>
                        <a:pt x="2837" y="612"/>
                      </a:lnTo>
                      <a:lnTo>
                        <a:pt x="2820" y="628"/>
                      </a:lnTo>
                      <a:lnTo>
                        <a:pt x="2825" y="656"/>
                      </a:lnTo>
                      <a:lnTo>
                        <a:pt x="2809" y="666"/>
                      </a:lnTo>
                      <a:lnTo>
                        <a:pt x="2754" y="682"/>
                      </a:lnTo>
                      <a:lnTo>
                        <a:pt x="2740" y="723"/>
                      </a:lnTo>
                      <a:lnTo>
                        <a:pt x="2740" y="767"/>
                      </a:lnTo>
                      <a:lnTo>
                        <a:pt x="2750" y="777"/>
                      </a:lnTo>
                      <a:lnTo>
                        <a:pt x="2750" y="789"/>
                      </a:lnTo>
                      <a:lnTo>
                        <a:pt x="2740" y="805"/>
                      </a:lnTo>
                      <a:lnTo>
                        <a:pt x="2717" y="805"/>
                      </a:lnTo>
                      <a:lnTo>
                        <a:pt x="2686" y="829"/>
                      </a:lnTo>
                      <a:lnTo>
                        <a:pt x="2686" y="822"/>
                      </a:lnTo>
                      <a:lnTo>
                        <a:pt x="2679" y="810"/>
                      </a:lnTo>
                      <a:lnTo>
                        <a:pt x="2627" y="810"/>
                      </a:lnTo>
                      <a:lnTo>
                        <a:pt x="2565" y="789"/>
                      </a:lnTo>
                      <a:lnTo>
                        <a:pt x="2565" y="810"/>
                      </a:lnTo>
                      <a:lnTo>
                        <a:pt x="2513" y="940"/>
                      </a:lnTo>
                      <a:lnTo>
                        <a:pt x="2535" y="956"/>
                      </a:lnTo>
                      <a:lnTo>
                        <a:pt x="2535" y="978"/>
                      </a:lnTo>
                      <a:lnTo>
                        <a:pt x="2513" y="973"/>
                      </a:lnTo>
                      <a:lnTo>
                        <a:pt x="2485" y="978"/>
                      </a:lnTo>
                      <a:lnTo>
                        <a:pt x="2468" y="961"/>
                      </a:lnTo>
                      <a:lnTo>
                        <a:pt x="2355" y="989"/>
                      </a:lnTo>
                      <a:lnTo>
                        <a:pt x="2339" y="999"/>
                      </a:lnTo>
                      <a:lnTo>
                        <a:pt x="2350" y="1011"/>
                      </a:lnTo>
                      <a:lnTo>
                        <a:pt x="2372" y="1011"/>
                      </a:lnTo>
                      <a:lnTo>
                        <a:pt x="2388" y="1015"/>
                      </a:lnTo>
                      <a:lnTo>
                        <a:pt x="2376" y="1027"/>
                      </a:lnTo>
                      <a:lnTo>
                        <a:pt x="2376" y="1067"/>
                      </a:lnTo>
                      <a:lnTo>
                        <a:pt x="2405" y="1129"/>
                      </a:lnTo>
                      <a:lnTo>
                        <a:pt x="2409" y="1155"/>
                      </a:lnTo>
                      <a:lnTo>
                        <a:pt x="2376" y="1167"/>
                      </a:lnTo>
                      <a:lnTo>
                        <a:pt x="2393" y="1178"/>
                      </a:lnTo>
                      <a:lnTo>
                        <a:pt x="2372" y="1183"/>
                      </a:lnTo>
                      <a:lnTo>
                        <a:pt x="2362" y="1200"/>
                      </a:lnTo>
                      <a:lnTo>
                        <a:pt x="2372" y="1233"/>
                      </a:lnTo>
                      <a:lnTo>
                        <a:pt x="2362" y="1240"/>
                      </a:lnTo>
                      <a:lnTo>
                        <a:pt x="2350" y="1216"/>
                      </a:lnTo>
                      <a:lnTo>
                        <a:pt x="2308" y="1216"/>
                      </a:lnTo>
                      <a:lnTo>
                        <a:pt x="2296" y="1195"/>
                      </a:lnTo>
                      <a:lnTo>
                        <a:pt x="2296" y="1183"/>
                      </a:lnTo>
                      <a:lnTo>
                        <a:pt x="2157" y="1178"/>
                      </a:lnTo>
                      <a:lnTo>
                        <a:pt x="2140" y="1167"/>
                      </a:lnTo>
                      <a:lnTo>
                        <a:pt x="2119" y="1178"/>
                      </a:lnTo>
                      <a:lnTo>
                        <a:pt x="2053" y="1167"/>
                      </a:lnTo>
                      <a:lnTo>
                        <a:pt x="2048" y="1183"/>
                      </a:lnTo>
                      <a:lnTo>
                        <a:pt x="1984" y="1167"/>
                      </a:lnTo>
                      <a:lnTo>
                        <a:pt x="1946" y="1145"/>
                      </a:lnTo>
                      <a:lnTo>
                        <a:pt x="1902" y="1162"/>
                      </a:lnTo>
                      <a:lnTo>
                        <a:pt x="1892" y="1200"/>
                      </a:lnTo>
                      <a:lnTo>
                        <a:pt x="1892" y="1216"/>
                      </a:lnTo>
                      <a:lnTo>
                        <a:pt x="1809" y="1183"/>
                      </a:lnTo>
                      <a:lnTo>
                        <a:pt x="1767" y="1183"/>
                      </a:lnTo>
                      <a:lnTo>
                        <a:pt x="1729" y="1195"/>
                      </a:lnTo>
                      <a:lnTo>
                        <a:pt x="1708" y="1221"/>
                      </a:lnTo>
                      <a:lnTo>
                        <a:pt x="1713" y="1233"/>
                      </a:lnTo>
                      <a:lnTo>
                        <a:pt x="1703" y="1240"/>
                      </a:lnTo>
                      <a:lnTo>
                        <a:pt x="1691" y="1256"/>
                      </a:lnTo>
                      <a:lnTo>
                        <a:pt x="1675" y="1249"/>
                      </a:lnTo>
                      <a:lnTo>
                        <a:pt x="1649" y="1282"/>
                      </a:lnTo>
                      <a:lnTo>
                        <a:pt x="1620" y="1282"/>
                      </a:lnTo>
                      <a:lnTo>
                        <a:pt x="1583" y="1311"/>
                      </a:lnTo>
                      <a:lnTo>
                        <a:pt x="1583" y="1323"/>
                      </a:lnTo>
                      <a:lnTo>
                        <a:pt x="1552" y="1351"/>
                      </a:lnTo>
                      <a:lnTo>
                        <a:pt x="1552" y="1377"/>
                      </a:lnTo>
                      <a:lnTo>
                        <a:pt x="1540" y="1377"/>
                      </a:lnTo>
                      <a:lnTo>
                        <a:pt x="1514" y="1360"/>
                      </a:lnTo>
                      <a:lnTo>
                        <a:pt x="1524" y="1339"/>
                      </a:lnTo>
                      <a:lnTo>
                        <a:pt x="1507" y="1327"/>
                      </a:lnTo>
                      <a:lnTo>
                        <a:pt x="1422" y="1327"/>
                      </a:lnTo>
                      <a:lnTo>
                        <a:pt x="1405" y="1256"/>
                      </a:lnTo>
                      <a:lnTo>
                        <a:pt x="1368" y="1256"/>
                      </a:lnTo>
                      <a:lnTo>
                        <a:pt x="1377" y="1167"/>
                      </a:lnTo>
                      <a:lnTo>
                        <a:pt x="1351" y="1178"/>
                      </a:lnTo>
                      <a:lnTo>
                        <a:pt x="1335" y="1138"/>
                      </a:lnTo>
                      <a:lnTo>
                        <a:pt x="1313" y="1129"/>
                      </a:lnTo>
                      <a:lnTo>
                        <a:pt x="1292" y="1105"/>
                      </a:lnTo>
                      <a:lnTo>
                        <a:pt x="1259" y="1122"/>
                      </a:lnTo>
                      <a:lnTo>
                        <a:pt x="1174" y="1110"/>
                      </a:lnTo>
                      <a:lnTo>
                        <a:pt x="1091" y="1122"/>
                      </a:lnTo>
                      <a:lnTo>
                        <a:pt x="1028" y="1056"/>
                      </a:lnTo>
                      <a:lnTo>
                        <a:pt x="843" y="940"/>
                      </a:lnTo>
                      <a:lnTo>
                        <a:pt x="666" y="994"/>
                      </a:lnTo>
                      <a:lnTo>
                        <a:pt x="666" y="1311"/>
                      </a:lnTo>
                      <a:lnTo>
                        <a:pt x="666" y="1311"/>
                      </a:lnTo>
                      <a:lnTo>
                        <a:pt x="666" y="1311"/>
                      </a:lnTo>
                      <a:close/>
                      <a:moveTo>
                        <a:pt x="456" y="883"/>
                      </a:moveTo>
                      <a:lnTo>
                        <a:pt x="449" y="878"/>
                      </a:lnTo>
                      <a:lnTo>
                        <a:pt x="456" y="867"/>
                      </a:lnTo>
                      <a:lnTo>
                        <a:pt x="465" y="878"/>
                      </a:lnTo>
                      <a:lnTo>
                        <a:pt x="456" y="883"/>
                      </a:lnTo>
                      <a:lnTo>
                        <a:pt x="456" y="883"/>
                      </a:lnTo>
                      <a:lnTo>
                        <a:pt x="456" y="883"/>
                      </a:lnTo>
                      <a:close/>
                      <a:moveTo>
                        <a:pt x="267" y="994"/>
                      </a:moveTo>
                      <a:lnTo>
                        <a:pt x="267" y="989"/>
                      </a:lnTo>
                      <a:lnTo>
                        <a:pt x="272" y="989"/>
                      </a:lnTo>
                      <a:lnTo>
                        <a:pt x="267" y="994"/>
                      </a:lnTo>
                      <a:lnTo>
                        <a:pt x="267" y="994"/>
                      </a:lnTo>
                      <a:lnTo>
                        <a:pt x="267" y="994"/>
                      </a:lnTo>
                      <a:close/>
                      <a:moveTo>
                        <a:pt x="255" y="1011"/>
                      </a:moveTo>
                      <a:lnTo>
                        <a:pt x="239" y="994"/>
                      </a:lnTo>
                      <a:lnTo>
                        <a:pt x="250" y="989"/>
                      </a:lnTo>
                      <a:lnTo>
                        <a:pt x="255" y="989"/>
                      </a:lnTo>
                      <a:lnTo>
                        <a:pt x="250" y="994"/>
                      </a:lnTo>
                      <a:lnTo>
                        <a:pt x="255" y="999"/>
                      </a:lnTo>
                      <a:lnTo>
                        <a:pt x="255" y="1011"/>
                      </a:lnTo>
                      <a:lnTo>
                        <a:pt x="255" y="1011"/>
                      </a:lnTo>
                      <a:lnTo>
                        <a:pt x="255" y="101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4" name="Freeform 491">
                  <a:extLst>
                    <a:ext uri="{FF2B5EF4-FFF2-40B4-BE49-F238E27FC236}">
                      <a16:creationId xmlns:a16="http://schemas.microsoft.com/office/drawing/2014/main" id="{9EEDDE56-0E61-4CD0-B4B8-B61D6342B25B}"/>
                    </a:ext>
                  </a:extLst>
                </p:cNvPr>
                <p:cNvSpPr>
                  <a:spLocks/>
                </p:cNvSpPr>
                <p:nvPr/>
              </p:nvSpPr>
              <p:spPr bwMode="gray">
                <a:xfrm>
                  <a:off x="7333037" y="2115586"/>
                  <a:ext cx="209952" cy="100047"/>
                </a:xfrm>
                <a:custGeom>
                  <a:avLst/>
                  <a:gdLst>
                    <a:gd name="T0" fmla="*/ 234 w 510"/>
                    <a:gd name="T1" fmla="*/ 21 h 243"/>
                    <a:gd name="T2" fmla="*/ 288 w 510"/>
                    <a:gd name="T3" fmla="*/ 0 h 243"/>
                    <a:gd name="T4" fmla="*/ 297 w 510"/>
                    <a:gd name="T5" fmla="*/ 5 h 243"/>
                    <a:gd name="T6" fmla="*/ 297 w 510"/>
                    <a:gd name="T7" fmla="*/ 0 h 243"/>
                    <a:gd name="T8" fmla="*/ 352 w 510"/>
                    <a:gd name="T9" fmla="*/ 21 h 243"/>
                    <a:gd name="T10" fmla="*/ 385 w 510"/>
                    <a:gd name="T11" fmla="*/ 55 h 243"/>
                    <a:gd name="T12" fmla="*/ 418 w 510"/>
                    <a:gd name="T13" fmla="*/ 43 h 243"/>
                    <a:gd name="T14" fmla="*/ 451 w 510"/>
                    <a:gd name="T15" fmla="*/ 55 h 243"/>
                    <a:gd name="T16" fmla="*/ 456 w 510"/>
                    <a:gd name="T17" fmla="*/ 55 h 243"/>
                    <a:gd name="T18" fmla="*/ 456 w 510"/>
                    <a:gd name="T19" fmla="*/ 59 h 243"/>
                    <a:gd name="T20" fmla="*/ 477 w 510"/>
                    <a:gd name="T21" fmla="*/ 76 h 243"/>
                    <a:gd name="T22" fmla="*/ 472 w 510"/>
                    <a:gd name="T23" fmla="*/ 116 h 243"/>
                    <a:gd name="T24" fmla="*/ 489 w 510"/>
                    <a:gd name="T25" fmla="*/ 128 h 243"/>
                    <a:gd name="T26" fmla="*/ 510 w 510"/>
                    <a:gd name="T27" fmla="*/ 182 h 243"/>
                    <a:gd name="T28" fmla="*/ 505 w 510"/>
                    <a:gd name="T29" fmla="*/ 199 h 243"/>
                    <a:gd name="T30" fmla="*/ 489 w 510"/>
                    <a:gd name="T31" fmla="*/ 199 h 243"/>
                    <a:gd name="T32" fmla="*/ 460 w 510"/>
                    <a:gd name="T33" fmla="*/ 222 h 243"/>
                    <a:gd name="T34" fmla="*/ 460 w 510"/>
                    <a:gd name="T35" fmla="*/ 239 h 243"/>
                    <a:gd name="T36" fmla="*/ 418 w 510"/>
                    <a:gd name="T37" fmla="*/ 227 h 243"/>
                    <a:gd name="T38" fmla="*/ 406 w 510"/>
                    <a:gd name="T39" fmla="*/ 243 h 243"/>
                    <a:gd name="T40" fmla="*/ 397 w 510"/>
                    <a:gd name="T41" fmla="*/ 243 h 243"/>
                    <a:gd name="T42" fmla="*/ 368 w 510"/>
                    <a:gd name="T43" fmla="*/ 239 h 243"/>
                    <a:gd name="T44" fmla="*/ 331 w 510"/>
                    <a:gd name="T45" fmla="*/ 199 h 243"/>
                    <a:gd name="T46" fmla="*/ 288 w 510"/>
                    <a:gd name="T47" fmla="*/ 189 h 243"/>
                    <a:gd name="T48" fmla="*/ 271 w 510"/>
                    <a:gd name="T49" fmla="*/ 166 h 243"/>
                    <a:gd name="T50" fmla="*/ 243 w 510"/>
                    <a:gd name="T51" fmla="*/ 182 h 243"/>
                    <a:gd name="T52" fmla="*/ 222 w 510"/>
                    <a:gd name="T53" fmla="*/ 189 h 243"/>
                    <a:gd name="T54" fmla="*/ 163 w 510"/>
                    <a:gd name="T55" fmla="*/ 170 h 243"/>
                    <a:gd name="T56" fmla="*/ 146 w 510"/>
                    <a:gd name="T57" fmla="*/ 182 h 243"/>
                    <a:gd name="T58" fmla="*/ 134 w 510"/>
                    <a:gd name="T59" fmla="*/ 170 h 243"/>
                    <a:gd name="T60" fmla="*/ 113 w 510"/>
                    <a:gd name="T61" fmla="*/ 170 h 243"/>
                    <a:gd name="T62" fmla="*/ 75 w 510"/>
                    <a:gd name="T63" fmla="*/ 170 h 243"/>
                    <a:gd name="T64" fmla="*/ 21 w 510"/>
                    <a:gd name="T65" fmla="*/ 189 h 243"/>
                    <a:gd name="T66" fmla="*/ 16 w 510"/>
                    <a:gd name="T67" fmla="*/ 206 h 243"/>
                    <a:gd name="T68" fmla="*/ 0 w 510"/>
                    <a:gd name="T69" fmla="*/ 206 h 243"/>
                    <a:gd name="T70" fmla="*/ 0 w 510"/>
                    <a:gd name="T71" fmla="*/ 170 h 243"/>
                    <a:gd name="T72" fmla="*/ 0 w 510"/>
                    <a:gd name="T73" fmla="*/ 154 h 243"/>
                    <a:gd name="T74" fmla="*/ 5 w 510"/>
                    <a:gd name="T75" fmla="*/ 166 h 243"/>
                    <a:gd name="T76" fmla="*/ 0 w 510"/>
                    <a:gd name="T77" fmla="*/ 128 h 243"/>
                    <a:gd name="T78" fmla="*/ 21 w 510"/>
                    <a:gd name="T79" fmla="*/ 111 h 243"/>
                    <a:gd name="T80" fmla="*/ 26 w 510"/>
                    <a:gd name="T81" fmla="*/ 76 h 243"/>
                    <a:gd name="T82" fmla="*/ 54 w 510"/>
                    <a:gd name="T83" fmla="*/ 55 h 243"/>
                    <a:gd name="T84" fmla="*/ 113 w 510"/>
                    <a:gd name="T85" fmla="*/ 33 h 243"/>
                    <a:gd name="T86" fmla="*/ 113 w 510"/>
                    <a:gd name="T87" fmla="*/ 43 h 243"/>
                    <a:gd name="T88" fmla="*/ 146 w 510"/>
                    <a:gd name="T89" fmla="*/ 71 h 243"/>
                    <a:gd name="T90" fmla="*/ 151 w 510"/>
                    <a:gd name="T91" fmla="*/ 99 h 243"/>
                    <a:gd name="T92" fmla="*/ 189 w 510"/>
                    <a:gd name="T93" fmla="*/ 111 h 243"/>
                    <a:gd name="T94" fmla="*/ 238 w 510"/>
                    <a:gd name="T95" fmla="*/ 88 h 243"/>
                    <a:gd name="T96" fmla="*/ 234 w 510"/>
                    <a:gd name="T97" fmla="*/ 21 h 243"/>
                    <a:gd name="T98" fmla="*/ 234 w 510"/>
                    <a:gd name="T99" fmla="*/ 21 h 243"/>
                    <a:gd name="T100" fmla="*/ 234 w 510"/>
                    <a:gd name="T101" fmla="*/ 21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0" h="243">
                      <a:moveTo>
                        <a:pt x="234" y="21"/>
                      </a:moveTo>
                      <a:lnTo>
                        <a:pt x="288" y="0"/>
                      </a:lnTo>
                      <a:lnTo>
                        <a:pt x="297" y="5"/>
                      </a:lnTo>
                      <a:lnTo>
                        <a:pt x="297" y="0"/>
                      </a:lnTo>
                      <a:lnTo>
                        <a:pt x="352" y="21"/>
                      </a:lnTo>
                      <a:lnTo>
                        <a:pt x="385" y="55"/>
                      </a:lnTo>
                      <a:lnTo>
                        <a:pt x="418" y="43"/>
                      </a:lnTo>
                      <a:lnTo>
                        <a:pt x="451" y="55"/>
                      </a:lnTo>
                      <a:lnTo>
                        <a:pt x="456" y="55"/>
                      </a:lnTo>
                      <a:lnTo>
                        <a:pt x="456" y="59"/>
                      </a:lnTo>
                      <a:lnTo>
                        <a:pt x="477" y="76"/>
                      </a:lnTo>
                      <a:lnTo>
                        <a:pt x="472" y="116"/>
                      </a:lnTo>
                      <a:lnTo>
                        <a:pt x="489" y="128"/>
                      </a:lnTo>
                      <a:lnTo>
                        <a:pt x="510" y="182"/>
                      </a:lnTo>
                      <a:lnTo>
                        <a:pt x="505" y="199"/>
                      </a:lnTo>
                      <a:lnTo>
                        <a:pt x="489" y="199"/>
                      </a:lnTo>
                      <a:lnTo>
                        <a:pt x="460" y="222"/>
                      </a:lnTo>
                      <a:lnTo>
                        <a:pt x="460" y="239"/>
                      </a:lnTo>
                      <a:lnTo>
                        <a:pt x="418" y="227"/>
                      </a:lnTo>
                      <a:lnTo>
                        <a:pt x="406" y="243"/>
                      </a:lnTo>
                      <a:lnTo>
                        <a:pt x="397" y="243"/>
                      </a:lnTo>
                      <a:lnTo>
                        <a:pt x="368" y="239"/>
                      </a:lnTo>
                      <a:lnTo>
                        <a:pt x="331" y="199"/>
                      </a:lnTo>
                      <a:lnTo>
                        <a:pt x="288" y="189"/>
                      </a:lnTo>
                      <a:lnTo>
                        <a:pt x="271" y="166"/>
                      </a:lnTo>
                      <a:lnTo>
                        <a:pt x="243" y="182"/>
                      </a:lnTo>
                      <a:lnTo>
                        <a:pt x="222" y="189"/>
                      </a:lnTo>
                      <a:lnTo>
                        <a:pt x="163" y="170"/>
                      </a:lnTo>
                      <a:lnTo>
                        <a:pt x="146" y="182"/>
                      </a:lnTo>
                      <a:lnTo>
                        <a:pt x="134" y="170"/>
                      </a:lnTo>
                      <a:lnTo>
                        <a:pt x="113" y="170"/>
                      </a:lnTo>
                      <a:lnTo>
                        <a:pt x="75" y="170"/>
                      </a:lnTo>
                      <a:lnTo>
                        <a:pt x="21" y="189"/>
                      </a:lnTo>
                      <a:lnTo>
                        <a:pt x="16" y="206"/>
                      </a:lnTo>
                      <a:lnTo>
                        <a:pt x="0" y="206"/>
                      </a:lnTo>
                      <a:lnTo>
                        <a:pt x="0" y="170"/>
                      </a:lnTo>
                      <a:lnTo>
                        <a:pt x="0" y="154"/>
                      </a:lnTo>
                      <a:lnTo>
                        <a:pt x="5" y="166"/>
                      </a:lnTo>
                      <a:lnTo>
                        <a:pt x="0" y="128"/>
                      </a:lnTo>
                      <a:lnTo>
                        <a:pt x="21" y="111"/>
                      </a:lnTo>
                      <a:lnTo>
                        <a:pt x="26" y="76"/>
                      </a:lnTo>
                      <a:lnTo>
                        <a:pt x="54" y="55"/>
                      </a:lnTo>
                      <a:lnTo>
                        <a:pt x="113" y="33"/>
                      </a:lnTo>
                      <a:lnTo>
                        <a:pt x="113" y="43"/>
                      </a:lnTo>
                      <a:lnTo>
                        <a:pt x="146" y="71"/>
                      </a:lnTo>
                      <a:lnTo>
                        <a:pt x="151" y="99"/>
                      </a:lnTo>
                      <a:lnTo>
                        <a:pt x="189" y="111"/>
                      </a:lnTo>
                      <a:lnTo>
                        <a:pt x="238" y="88"/>
                      </a:lnTo>
                      <a:lnTo>
                        <a:pt x="234" y="21"/>
                      </a:lnTo>
                      <a:lnTo>
                        <a:pt x="234" y="21"/>
                      </a:lnTo>
                      <a:lnTo>
                        <a:pt x="234" y="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5" name="Freeform 492">
                  <a:extLst>
                    <a:ext uri="{FF2B5EF4-FFF2-40B4-BE49-F238E27FC236}">
                      <a16:creationId xmlns:a16="http://schemas.microsoft.com/office/drawing/2014/main" id="{89FF77B7-2410-498D-B1B4-622FE93B9E7D}"/>
                    </a:ext>
                  </a:extLst>
                </p:cNvPr>
                <p:cNvSpPr>
                  <a:spLocks noEditPoints="1"/>
                </p:cNvSpPr>
                <p:nvPr/>
              </p:nvSpPr>
              <p:spPr bwMode="gray">
                <a:xfrm>
                  <a:off x="7328921" y="2183931"/>
                  <a:ext cx="172078" cy="107870"/>
                </a:xfrm>
                <a:custGeom>
                  <a:avLst/>
                  <a:gdLst>
                    <a:gd name="T0" fmla="*/ 137 w 418"/>
                    <a:gd name="T1" fmla="*/ 212 h 262"/>
                    <a:gd name="T2" fmla="*/ 126 w 418"/>
                    <a:gd name="T3" fmla="*/ 200 h 262"/>
                    <a:gd name="T4" fmla="*/ 137 w 418"/>
                    <a:gd name="T5" fmla="*/ 184 h 262"/>
                    <a:gd name="T6" fmla="*/ 142 w 418"/>
                    <a:gd name="T7" fmla="*/ 167 h 262"/>
                    <a:gd name="T8" fmla="*/ 121 w 418"/>
                    <a:gd name="T9" fmla="*/ 146 h 262"/>
                    <a:gd name="T10" fmla="*/ 88 w 418"/>
                    <a:gd name="T11" fmla="*/ 146 h 262"/>
                    <a:gd name="T12" fmla="*/ 33 w 418"/>
                    <a:gd name="T13" fmla="*/ 118 h 262"/>
                    <a:gd name="T14" fmla="*/ 29 w 418"/>
                    <a:gd name="T15" fmla="*/ 129 h 262"/>
                    <a:gd name="T16" fmla="*/ 29 w 418"/>
                    <a:gd name="T17" fmla="*/ 113 h 262"/>
                    <a:gd name="T18" fmla="*/ 29 w 418"/>
                    <a:gd name="T19" fmla="*/ 113 h 262"/>
                    <a:gd name="T20" fmla="*/ 29 w 418"/>
                    <a:gd name="T21" fmla="*/ 101 h 262"/>
                    <a:gd name="T22" fmla="*/ 12 w 418"/>
                    <a:gd name="T23" fmla="*/ 73 h 262"/>
                    <a:gd name="T24" fmla="*/ 12 w 418"/>
                    <a:gd name="T25" fmla="*/ 40 h 262"/>
                    <a:gd name="T26" fmla="*/ 29 w 418"/>
                    <a:gd name="T27" fmla="*/ 40 h 262"/>
                    <a:gd name="T28" fmla="*/ 33 w 418"/>
                    <a:gd name="T29" fmla="*/ 23 h 262"/>
                    <a:gd name="T30" fmla="*/ 88 w 418"/>
                    <a:gd name="T31" fmla="*/ 7 h 262"/>
                    <a:gd name="T32" fmla="*/ 126 w 418"/>
                    <a:gd name="T33" fmla="*/ 7 h 262"/>
                    <a:gd name="T34" fmla="*/ 147 w 418"/>
                    <a:gd name="T35" fmla="*/ 7 h 262"/>
                    <a:gd name="T36" fmla="*/ 159 w 418"/>
                    <a:gd name="T37" fmla="*/ 16 h 262"/>
                    <a:gd name="T38" fmla="*/ 175 w 418"/>
                    <a:gd name="T39" fmla="*/ 7 h 262"/>
                    <a:gd name="T40" fmla="*/ 234 w 418"/>
                    <a:gd name="T41" fmla="*/ 23 h 262"/>
                    <a:gd name="T42" fmla="*/ 256 w 418"/>
                    <a:gd name="T43" fmla="*/ 16 h 262"/>
                    <a:gd name="T44" fmla="*/ 281 w 418"/>
                    <a:gd name="T45" fmla="*/ 0 h 262"/>
                    <a:gd name="T46" fmla="*/ 298 w 418"/>
                    <a:gd name="T47" fmla="*/ 23 h 262"/>
                    <a:gd name="T48" fmla="*/ 341 w 418"/>
                    <a:gd name="T49" fmla="*/ 35 h 262"/>
                    <a:gd name="T50" fmla="*/ 378 w 418"/>
                    <a:gd name="T51" fmla="*/ 73 h 262"/>
                    <a:gd name="T52" fmla="*/ 407 w 418"/>
                    <a:gd name="T53" fmla="*/ 77 h 262"/>
                    <a:gd name="T54" fmla="*/ 395 w 418"/>
                    <a:gd name="T55" fmla="*/ 113 h 262"/>
                    <a:gd name="T56" fmla="*/ 418 w 418"/>
                    <a:gd name="T57" fmla="*/ 118 h 262"/>
                    <a:gd name="T58" fmla="*/ 395 w 418"/>
                    <a:gd name="T59" fmla="*/ 134 h 262"/>
                    <a:gd name="T60" fmla="*/ 378 w 418"/>
                    <a:gd name="T61" fmla="*/ 134 h 262"/>
                    <a:gd name="T62" fmla="*/ 374 w 418"/>
                    <a:gd name="T63" fmla="*/ 151 h 262"/>
                    <a:gd name="T64" fmla="*/ 341 w 418"/>
                    <a:gd name="T65" fmla="*/ 155 h 262"/>
                    <a:gd name="T66" fmla="*/ 341 w 418"/>
                    <a:gd name="T67" fmla="*/ 191 h 262"/>
                    <a:gd name="T68" fmla="*/ 326 w 418"/>
                    <a:gd name="T69" fmla="*/ 212 h 262"/>
                    <a:gd name="T70" fmla="*/ 341 w 418"/>
                    <a:gd name="T71" fmla="*/ 212 h 262"/>
                    <a:gd name="T72" fmla="*/ 341 w 418"/>
                    <a:gd name="T73" fmla="*/ 229 h 262"/>
                    <a:gd name="T74" fmla="*/ 326 w 418"/>
                    <a:gd name="T75" fmla="*/ 229 h 262"/>
                    <a:gd name="T76" fmla="*/ 336 w 418"/>
                    <a:gd name="T77" fmla="*/ 224 h 262"/>
                    <a:gd name="T78" fmla="*/ 326 w 418"/>
                    <a:gd name="T79" fmla="*/ 212 h 262"/>
                    <a:gd name="T80" fmla="*/ 298 w 418"/>
                    <a:gd name="T81" fmla="*/ 240 h 262"/>
                    <a:gd name="T82" fmla="*/ 281 w 418"/>
                    <a:gd name="T83" fmla="*/ 229 h 262"/>
                    <a:gd name="T84" fmla="*/ 281 w 418"/>
                    <a:gd name="T85" fmla="*/ 257 h 262"/>
                    <a:gd name="T86" fmla="*/ 265 w 418"/>
                    <a:gd name="T87" fmla="*/ 245 h 262"/>
                    <a:gd name="T88" fmla="*/ 251 w 418"/>
                    <a:gd name="T89" fmla="*/ 262 h 262"/>
                    <a:gd name="T90" fmla="*/ 234 w 418"/>
                    <a:gd name="T91" fmla="*/ 257 h 262"/>
                    <a:gd name="T92" fmla="*/ 189 w 418"/>
                    <a:gd name="T93" fmla="*/ 257 h 262"/>
                    <a:gd name="T94" fmla="*/ 180 w 418"/>
                    <a:gd name="T95" fmla="*/ 240 h 262"/>
                    <a:gd name="T96" fmla="*/ 175 w 418"/>
                    <a:gd name="T97" fmla="*/ 224 h 262"/>
                    <a:gd name="T98" fmla="*/ 147 w 418"/>
                    <a:gd name="T99" fmla="*/ 207 h 262"/>
                    <a:gd name="T100" fmla="*/ 137 w 418"/>
                    <a:gd name="T101" fmla="*/ 212 h 262"/>
                    <a:gd name="T102" fmla="*/ 137 w 418"/>
                    <a:gd name="T103" fmla="*/ 212 h 262"/>
                    <a:gd name="T104" fmla="*/ 137 w 418"/>
                    <a:gd name="T105" fmla="*/ 212 h 262"/>
                    <a:gd name="T106" fmla="*/ 12 w 418"/>
                    <a:gd name="T107" fmla="*/ 118 h 262"/>
                    <a:gd name="T108" fmla="*/ 0 w 418"/>
                    <a:gd name="T109" fmla="*/ 118 h 262"/>
                    <a:gd name="T110" fmla="*/ 17 w 418"/>
                    <a:gd name="T111" fmla="*/ 94 h 262"/>
                    <a:gd name="T112" fmla="*/ 17 w 418"/>
                    <a:gd name="T113" fmla="*/ 77 h 262"/>
                    <a:gd name="T114" fmla="*/ 17 w 418"/>
                    <a:gd name="T115" fmla="*/ 101 h 262"/>
                    <a:gd name="T116" fmla="*/ 12 w 418"/>
                    <a:gd name="T117" fmla="*/ 118 h 262"/>
                    <a:gd name="T118" fmla="*/ 12 w 418"/>
                    <a:gd name="T119" fmla="*/ 118 h 262"/>
                    <a:gd name="T120" fmla="*/ 12 w 418"/>
                    <a:gd name="T121" fmla="*/ 11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8" h="262">
                      <a:moveTo>
                        <a:pt x="137" y="212"/>
                      </a:moveTo>
                      <a:lnTo>
                        <a:pt x="126" y="200"/>
                      </a:lnTo>
                      <a:lnTo>
                        <a:pt x="137" y="184"/>
                      </a:lnTo>
                      <a:lnTo>
                        <a:pt x="142" y="167"/>
                      </a:lnTo>
                      <a:lnTo>
                        <a:pt x="121" y="146"/>
                      </a:lnTo>
                      <a:lnTo>
                        <a:pt x="88" y="146"/>
                      </a:lnTo>
                      <a:lnTo>
                        <a:pt x="33" y="118"/>
                      </a:lnTo>
                      <a:lnTo>
                        <a:pt x="29" y="129"/>
                      </a:lnTo>
                      <a:lnTo>
                        <a:pt x="29" y="113"/>
                      </a:lnTo>
                      <a:lnTo>
                        <a:pt x="29" y="113"/>
                      </a:lnTo>
                      <a:lnTo>
                        <a:pt x="29" y="101"/>
                      </a:lnTo>
                      <a:lnTo>
                        <a:pt x="12" y="73"/>
                      </a:lnTo>
                      <a:lnTo>
                        <a:pt x="12" y="40"/>
                      </a:lnTo>
                      <a:lnTo>
                        <a:pt x="29" y="40"/>
                      </a:lnTo>
                      <a:lnTo>
                        <a:pt x="33" y="23"/>
                      </a:lnTo>
                      <a:lnTo>
                        <a:pt x="88" y="7"/>
                      </a:lnTo>
                      <a:lnTo>
                        <a:pt x="126" y="7"/>
                      </a:lnTo>
                      <a:lnTo>
                        <a:pt x="147" y="7"/>
                      </a:lnTo>
                      <a:lnTo>
                        <a:pt x="159" y="16"/>
                      </a:lnTo>
                      <a:lnTo>
                        <a:pt x="175" y="7"/>
                      </a:lnTo>
                      <a:lnTo>
                        <a:pt x="234" y="23"/>
                      </a:lnTo>
                      <a:lnTo>
                        <a:pt x="256" y="16"/>
                      </a:lnTo>
                      <a:lnTo>
                        <a:pt x="281" y="0"/>
                      </a:lnTo>
                      <a:lnTo>
                        <a:pt x="298" y="23"/>
                      </a:lnTo>
                      <a:lnTo>
                        <a:pt x="341" y="35"/>
                      </a:lnTo>
                      <a:lnTo>
                        <a:pt x="378" y="73"/>
                      </a:lnTo>
                      <a:lnTo>
                        <a:pt x="407" y="77"/>
                      </a:lnTo>
                      <a:lnTo>
                        <a:pt x="395" y="113"/>
                      </a:lnTo>
                      <a:lnTo>
                        <a:pt x="418" y="118"/>
                      </a:lnTo>
                      <a:lnTo>
                        <a:pt x="395" y="134"/>
                      </a:lnTo>
                      <a:lnTo>
                        <a:pt x="378" y="134"/>
                      </a:lnTo>
                      <a:lnTo>
                        <a:pt x="374" y="151"/>
                      </a:lnTo>
                      <a:lnTo>
                        <a:pt x="341" y="155"/>
                      </a:lnTo>
                      <a:lnTo>
                        <a:pt x="341" y="191"/>
                      </a:lnTo>
                      <a:lnTo>
                        <a:pt x="326" y="212"/>
                      </a:lnTo>
                      <a:lnTo>
                        <a:pt x="341" y="212"/>
                      </a:lnTo>
                      <a:lnTo>
                        <a:pt x="341" y="229"/>
                      </a:lnTo>
                      <a:lnTo>
                        <a:pt x="326" y="229"/>
                      </a:lnTo>
                      <a:lnTo>
                        <a:pt x="336" y="224"/>
                      </a:lnTo>
                      <a:lnTo>
                        <a:pt x="326" y="212"/>
                      </a:lnTo>
                      <a:lnTo>
                        <a:pt x="298" y="240"/>
                      </a:lnTo>
                      <a:lnTo>
                        <a:pt x="281" y="229"/>
                      </a:lnTo>
                      <a:lnTo>
                        <a:pt x="281" y="257"/>
                      </a:lnTo>
                      <a:lnTo>
                        <a:pt x="265" y="245"/>
                      </a:lnTo>
                      <a:lnTo>
                        <a:pt x="251" y="262"/>
                      </a:lnTo>
                      <a:lnTo>
                        <a:pt x="234" y="257"/>
                      </a:lnTo>
                      <a:lnTo>
                        <a:pt x="189" y="257"/>
                      </a:lnTo>
                      <a:lnTo>
                        <a:pt x="180" y="240"/>
                      </a:lnTo>
                      <a:lnTo>
                        <a:pt x="175" y="224"/>
                      </a:lnTo>
                      <a:lnTo>
                        <a:pt x="147" y="207"/>
                      </a:lnTo>
                      <a:lnTo>
                        <a:pt x="137" y="212"/>
                      </a:lnTo>
                      <a:lnTo>
                        <a:pt x="137" y="212"/>
                      </a:lnTo>
                      <a:lnTo>
                        <a:pt x="137" y="212"/>
                      </a:lnTo>
                      <a:close/>
                      <a:moveTo>
                        <a:pt x="12" y="118"/>
                      </a:moveTo>
                      <a:lnTo>
                        <a:pt x="0" y="118"/>
                      </a:lnTo>
                      <a:lnTo>
                        <a:pt x="17" y="94"/>
                      </a:lnTo>
                      <a:lnTo>
                        <a:pt x="17" y="77"/>
                      </a:lnTo>
                      <a:lnTo>
                        <a:pt x="17" y="101"/>
                      </a:lnTo>
                      <a:lnTo>
                        <a:pt x="12" y="118"/>
                      </a:lnTo>
                      <a:lnTo>
                        <a:pt x="12" y="118"/>
                      </a:lnTo>
                      <a:lnTo>
                        <a:pt x="12" y="11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6" name="Freeform 494">
                  <a:extLst>
                    <a:ext uri="{FF2B5EF4-FFF2-40B4-BE49-F238E27FC236}">
                      <a16:creationId xmlns:a16="http://schemas.microsoft.com/office/drawing/2014/main" id="{68061C22-AD8A-4EFA-86F4-A512CC8C7618}"/>
                    </a:ext>
                  </a:extLst>
                </p:cNvPr>
                <p:cNvSpPr>
                  <a:spLocks/>
                </p:cNvSpPr>
                <p:nvPr/>
              </p:nvSpPr>
              <p:spPr bwMode="gray">
                <a:xfrm>
                  <a:off x="7211595" y="2459781"/>
                  <a:ext cx="165080" cy="69169"/>
                </a:xfrm>
                <a:custGeom>
                  <a:avLst/>
                  <a:gdLst>
                    <a:gd name="T0" fmla="*/ 155 w 401"/>
                    <a:gd name="T1" fmla="*/ 144 h 168"/>
                    <a:gd name="T2" fmla="*/ 139 w 401"/>
                    <a:gd name="T3" fmla="*/ 152 h 168"/>
                    <a:gd name="T4" fmla="*/ 139 w 401"/>
                    <a:gd name="T5" fmla="*/ 161 h 168"/>
                    <a:gd name="T6" fmla="*/ 101 w 401"/>
                    <a:gd name="T7" fmla="*/ 168 h 168"/>
                    <a:gd name="T8" fmla="*/ 68 w 401"/>
                    <a:gd name="T9" fmla="*/ 168 h 168"/>
                    <a:gd name="T10" fmla="*/ 37 w 401"/>
                    <a:gd name="T11" fmla="*/ 144 h 168"/>
                    <a:gd name="T12" fmla="*/ 26 w 401"/>
                    <a:gd name="T13" fmla="*/ 144 h 168"/>
                    <a:gd name="T14" fmla="*/ 0 w 401"/>
                    <a:gd name="T15" fmla="*/ 111 h 168"/>
                    <a:gd name="T16" fmla="*/ 9 w 401"/>
                    <a:gd name="T17" fmla="*/ 90 h 168"/>
                    <a:gd name="T18" fmla="*/ 26 w 401"/>
                    <a:gd name="T19" fmla="*/ 67 h 168"/>
                    <a:gd name="T20" fmla="*/ 63 w 401"/>
                    <a:gd name="T21" fmla="*/ 67 h 168"/>
                    <a:gd name="T22" fmla="*/ 85 w 401"/>
                    <a:gd name="T23" fmla="*/ 50 h 168"/>
                    <a:gd name="T24" fmla="*/ 101 w 401"/>
                    <a:gd name="T25" fmla="*/ 29 h 168"/>
                    <a:gd name="T26" fmla="*/ 122 w 401"/>
                    <a:gd name="T27" fmla="*/ 12 h 168"/>
                    <a:gd name="T28" fmla="*/ 139 w 401"/>
                    <a:gd name="T29" fmla="*/ 12 h 168"/>
                    <a:gd name="T30" fmla="*/ 144 w 401"/>
                    <a:gd name="T31" fmla="*/ 12 h 168"/>
                    <a:gd name="T32" fmla="*/ 155 w 401"/>
                    <a:gd name="T33" fmla="*/ 17 h 168"/>
                    <a:gd name="T34" fmla="*/ 160 w 401"/>
                    <a:gd name="T35" fmla="*/ 17 h 168"/>
                    <a:gd name="T36" fmla="*/ 186 w 401"/>
                    <a:gd name="T37" fmla="*/ 0 h 168"/>
                    <a:gd name="T38" fmla="*/ 203 w 401"/>
                    <a:gd name="T39" fmla="*/ 17 h 168"/>
                    <a:gd name="T40" fmla="*/ 207 w 401"/>
                    <a:gd name="T41" fmla="*/ 17 h 168"/>
                    <a:gd name="T42" fmla="*/ 207 w 401"/>
                    <a:gd name="T43" fmla="*/ 33 h 168"/>
                    <a:gd name="T44" fmla="*/ 224 w 401"/>
                    <a:gd name="T45" fmla="*/ 38 h 168"/>
                    <a:gd name="T46" fmla="*/ 229 w 401"/>
                    <a:gd name="T47" fmla="*/ 29 h 168"/>
                    <a:gd name="T48" fmla="*/ 245 w 401"/>
                    <a:gd name="T49" fmla="*/ 17 h 168"/>
                    <a:gd name="T50" fmla="*/ 278 w 401"/>
                    <a:gd name="T51" fmla="*/ 17 h 168"/>
                    <a:gd name="T52" fmla="*/ 283 w 401"/>
                    <a:gd name="T53" fmla="*/ 29 h 168"/>
                    <a:gd name="T54" fmla="*/ 300 w 401"/>
                    <a:gd name="T55" fmla="*/ 17 h 168"/>
                    <a:gd name="T56" fmla="*/ 337 w 401"/>
                    <a:gd name="T57" fmla="*/ 17 h 168"/>
                    <a:gd name="T58" fmla="*/ 363 w 401"/>
                    <a:gd name="T59" fmla="*/ 29 h 168"/>
                    <a:gd name="T60" fmla="*/ 363 w 401"/>
                    <a:gd name="T61" fmla="*/ 33 h 168"/>
                    <a:gd name="T62" fmla="*/ 401 w 401"/>
                    <a:gd name="T63" fmla="*/ 50 h 168"/>
                    <a:gd name="T64" fmla="*/ 387 w 401"/>
                    <a:gd name="T65" fmla="*/ 83 h 168"/>
                    <a:gd name="T66" fmla="*/ 370 w 401"/>
                    <a:gd name="T67" fmla="*/ 95 h 168"/>
                    <a:gd name="T68" fmla="*/ 370 w 401"/>
                    <a:gd name="T69" fmla="*/ 111 h 168"/>
                    <a:gd name="T70" fmla="*/ 349 w 401"/>
                    <a:gd name="T71" fmla="*/ 111 h 168"/>
                    <a:gd name="T72" fmla="*/ 321 w 401"/>
                    <a:gd name="T73" fmla="*/ 95 h 168"/>
                    <a:gd name="T74" fmla="*/ 300 w 401"/>
                    <a:gd name="T75" fmla="*/ 95 h 168"/>
                    <a:gd name="T76" fmla="*/ 266 w 401"/>
                    <a:gd name="T77" fmla="*/ 95 h 168"/>
                    <a:gd name="T78" fmla="*/ 262 w 401"/>
                    <a:gd name="T79" fmla="*/ 95 h 168"/>
                    <a:gd name="T80" fmla="*/ 245 w 401"/>
                    <a:gd name="T81" fmla="*/ 123 h 168"/>
                    <a:gd name="T82" fmla="*/ 215 w 401"/>
                    <a:gd name="T83" fmla="*/ 140 h 168"/>
                    <a:gd name="T84" fmla="*/ 193 w 401"/>
                    <a:gd name="T85" fmla="*/ 128 h 168"/>
                    <a:gd name="T86" fmla="*/ 186 w 401"/>
                    <a:gd name="T87" fmla="*/ 140 h 168"/>
                    <a:gd name="T88" fmla="*/ 155 w 401"/>
                    <a:gd name="T89" fmla="*/ 144 h 168"/>
                    <a:gd name="T90" fmla="*/ 155 w 401"/>
                    <a:gd name="T91" fmla="*/ 144 h 168"/>
                    <a:gd name="T92" fmla="*/ 155 w 401"/>
                    <a:gd name="T93" fmla="*/ 14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1" h="168">
                      <a:moveTo>
                        <a:pt x="155" y="144"/>
                      </a:moveTo>
                      <a:lnTo>
                        <a:pt x="139" y="152"/>
                      </a:lnTo>
                      <a:lnTo>
                        <a:pt x="139" y="161"/>
                      </a:lnTo>
                      <a:lnTo>
                        <a:pt x="101" y="168"/>
                      </a:lnTo>
                      <a:lnTo>
                        <a:pt x="68" y="168"/>
                      </a:lnTo>
                      <a:lnTo>
                        <a:pt x="37" y="144"/>
                      </a:lnTo>
                      <a:lnTo>
                        <a:pt x="26" y="144"/>
                      </a:lnTo>
                      <a:lnTo>
                        <a:pt x="0" y="111"/>
                      </a:lnTo>
                      <a:lnTo>
                        <a:pt x="9" y="90"/>
                      </a:lnTo>
                      <a:lnTo>
                        <a:pt x="26" y="67"/>
                      </a:lnTo>
                      <a:lnTo>
                        <a:pt x="63" y="67"/>
                      </a:lnTo>
                      <a:lnTo>
                        <a:pt x="85" y="50"/>
                      </a:lnTo>
                      <a:lnTo>
                        <a:pt x="101" y="29"/>
                      </a:lnTo>
                      <a:lnTo>
                        <a:pt x="122" y="12"/>
                      </a:lnTo>
                      <a:lnTo>
                        <a:pt x="139" y="12"/>
                      </a:lnTo>
                      <a:lnTo>
                        <a:pt x="144" y="12"/>
                      </a:lnTo>
                      <a:lnTo>
                        <a:pt x="155" y="17"/>
                      </a:lnTo>
                      <a:lnTo>
                        <a:pt x="160" y="17"/>
                      </a:lnTo>
                      <a:lnTo>
                        <a:pt x="186" y="0"/>
                      </a:lnTo>
                      <a:lnTo>
                        <a:pt x="203" y="17"/>
                      </a:lnTo>
                      <a:lnTo>
                        <a:pt x="207" y="17"/>
                      </a:lnTo>
                      <a:lnTo>
                        <a:pt x="207" y="33"/>
                      </a:lnTo>
                      <a:lnTo>
                        <a:pt x="224" y="38"/>
                      </a:lnTo>
                      <a:lnTo>
                        <a:pt x="229" y="29"/>
                      </a:lnTo>
                      <a:lnTo>
                        <a:pt x="245" y="17"/>
                      </a:lnTo>
                      <a:lnTo>
                        <a:pt x="278" y="17"/>
                      </a:lnTo>
                      <a:lnTo>
                        <a:pt x="283" y="29"/>
                      </a:lnTo>
                      <a:lnTo>
                        <a:pt x="300" y="17"/>
                      </a:lnTo>
                      <a:lnTo>
                        <a:pt x="337" y="17"/>
                      </a:lnTo>
                      <a:lnTo>
                        <a:pt x="363" y="29"/>
                      </a:lnTo>
                      <a:lnTo>
                        <a:pt x="363" y="33"/>
                      </a:lnTo>
                      <a:lnTo>
                        <a:pt x="401" y="50"/>
                      </a:lnTo>
                      <a:lnTo>
                        <a:pt x="387" y="83"/>
                      </a:lnTo>
                      <a:lnTo>
                        <a:pt x="370" y="95"/>
                      </a:lnTo>
                      <a:lnTo>
                        <a:pt x="370" y="111"/>
                      </a:lnTo>
                      <a:lnTo>
                        <a:pt x="349" y="111"/>
                      </a:lnTo>
                      <a:lnTo>
                        <a:pt x="321" y="95"/>
                      </a:lnTo>
                      <a:lnTo>
                        <a:pt x="300" y="95"/>
                      </a:lnTo>
                      <a:lnTo>
                        <a:pt x="266" y="95"/>
                      </a:lnTo>
                      <a:lnTo>
                        <a:pt x="262" y="95"/>
                      </a:lnTo>
                      <a:lnTo>
                        <a:pt x="245" y="123"/>
                      </a:lnTo>
                      <a:lnTo>
                        <a:pt x="215" y="140"/>
                      </a:lnTo>
                      <a:lnTo>
                        <a:pt x="193" y="128"/>
                      </a:lnTo>
                      <a:lnTo>
                        <a:pt x="186" y="140"/>
                      </a:lnTo>
                      <a:lnTo>
                        <a:pt x="155" y="144"/>
                      </a:lnTo>
                      <a:lnTo>
                        <a:pt x="155" y="144"/>
                      </a:lnTo>
                      <a:lnTo>
                        <a:pt x="155" y="14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7" name="Freeform 495">
                  <a:extLst>
                    <a:ext uri="{FF2B5EF4-FFF2-40B4-BE49-F238E27FC236}">
                      <a16:creationId xmlns:a16="http://schemas.microsoft.com/office/drawing/2014/main" id="{D1F59D4A-0879-4F4B-B3AE-1F2923A60E08}"/>
                    </a:ext>
                  </a:extLst>
                </p:cNvPr>
                <p:cNvSpPr>
                  <a:spLocks/>
                </p:cNvSpPr>
                <p:nvPr/>
              </p:nvSpPr>
              <p:spPr bwMode="gray">
                <a:xfrm>
                  <a:off x="6999585" y="2549535"/>
                  <a:ext cx="2882" cy="7823"/>
                </a:xfrm>
                <a:custGeom>
                  <a:avLst/>
                  <a:gdLst>
                    <a:gd name="T0" fmla="*/ 7 w 7"/>
                    <a:gd name="T1" fmla="*/ 0 h 19"/>
                    <a:gd name="T2" fmla="*/ 7 w 7"/>
                    <a:gd name="T3" fmla="*/ 19 h 19"/>
                    <a:gd name="T4" fmla="*/ 0 w 7"/>
                    <a:gd name="T5" fmla="*/ 19 h 19"/>
                    <a:gd name="T6" fmla="*/ 7 w 7"/>
                    <a:gd name="T7" fmla="*/ 0 h 19"/>
                    <a:gd name="T8" fmla="*/ 7 w 7"/>
                    <a:gd name="T9" fmla="*/ 0 h 19"/>
                    <a:gd name="T10" fmla="*/ 7 w 7"/>
                    <a:gd name="T11" fmla="*/ 0 h 19"/>
                  </a:gdLst>
                  <a:ahLst/>
                  <a:cxnLst>
                    <a:cxn ang="0">
                      <a:pos x="T0" y="T1"/>
                    </a:cxn>
                    <a:cxn ang="0">
                      <a:pos x="T2" y="T3"/>
                    </a:cxn>
                    <a:cxn ang="0">
                      <a:pos x="T4" y="T5"/>
                    </a:cxn>
                    <a:cxn ang="0">
                      <a:pos x="T6" y="T7"/>
                    </a:cxn>
                    <a:cxn ang="0">
                      <a:pos x="T8" y="T9"/>
                    </a:cxn>
                    <a:cxn ang="0">
                      <a:pos x="T10" y="T11"/>
                    </a:cxn>
                  </a:cxnLst>
                  <a:rect l="0" t="0" r="r" b="b"/>
                  <a:pathLst>
                    <a:path w="7" h="19">
                      <a:moveTo>
                        <a:pt x="7" y="0"/>
                      </a:moveTo>
                      <a:lnTo>
                        <a:pt x="7" y="19"/>
                      </a:lnTo>
                      <a:lnTo>
                        <a:pt x="0" y="19"/>
                      </a:lnTo>
                      <a:lnTo>
                        <a:pt x="7" y="0"/>
                      </a:lnTo>
                      <a:lnTo>
                        <a:pt x="7" y="0"/>
                      </a:lnTo>
                      <a:lnTo>
                        <a:pt x="7"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8" name="Freeform 497">
                  <a:extLst>
                    <a:ext uri="{FF2B5EF4-FFF2-40B4-BE49-F238E27FC236}">
                      <a16:creationId xmlns:a16="http://schemas.microsoft.com/office/drawing/2014/main" id="{EE91CFCC-AA64-485A-A2BC-B29C479DF7ED}"/>
                    </a:ext>
                  </a:extLst>
                </p:cNvPr>
                <p:cNvSpPr>
                  <a:spLocks/>
                </p:cNvSpPr>
                <p:nvPr/>
              </p:nvSpPr>
              <p:spPr bwMode="gray">
                <a:xfrm>
                  <a:off x="6891315" y="2438373"/>
                  <a:ext cx="21406" cy="26350"/>
                </a:xfrm>
                <a:custGeom>
                  <a:avLst/>
                  <a:gdLst>
                    <a:gd name="T0" fmla="*/ 45 w 52"/>
                    <a:gd name="T1" fmla="*/ 64 h 64"/>
                    <a:gd name="T2" fmla="*/ 45 w 52"/>
                    <a:gd name="T3" fmla="*/ 64 h 64"/>
                    <a:gd name="T4" fmla="*/ 15 w 52"/>
                    <a:gd name="T5" fmla="*/ 64 h 64"/>
                    <a:gd name="T6" fmla="*/ 5 w 52"/>
                    <a:gd name="T7" fmla="*/ 55 h 64"/>
                    <a:gd name="T8" fmla="*/ 15 w 52"/>
                    <a:gd name="T9" fmla="*/ 48 h 64"/>
                    <a:gd name="T10" fmla="*/ 0 w 52"/>
                    <a:gd name="T11" fmla="*/ 33 h 64"/>
                    <a:gd name="T12" fmla="*/ 0 w 52"/>
                    <a:gd name="T13" fmla="*/ 17 h 64"/>
                    <a:gd name="T14" fmla="*/ 15 w 52"/>
                    <a:gd name="T15" fmla="*/ 0 h 64"/>
                    <a:gd name="T16" fmla="*/ 31 w 52"/>
                    <a:gd name="T17" fmla="*/ 0 h 64"/>
                    <a:gd name="T18" fmla="*/ 36 w 52"/>
                    <a:gd name="T19" fmla="*/ 26 h 64"/>
                    <a:gd name="T20" fmla="*/ 52 w 52"/>
                    <a:gd name="T21" fmla="*/ 33 h 64"/>
                    <a:gd name="T22" fmla="*/ 45 w 52"/>
                    <a:gd name="T23" fmla="*/ 64 h 64"/>
                    <a:gd name="T24" fmla="*/ 45 w 52"/>
                    <a:gd name="T25" fmla="*/ 64 h 64"/>
                    <a:gd name="T26" fmla="*/ 45 w 52"/>
                    <a:gd name="T2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64">
                      <a:moveTo>
                        <a:pt x="45" y="64"/>
                      </a:moveTo>
                      <a:lnTo>
                        <a:pt x="45" y="64"/>
                      </a:lnTo>
                      <a:lnTo>
                        <a:pt x="15" y="64"/>
                      </a:lnTo>
                      <a:lnTo>
                        <a:pt x="5" y="55"/>
                      </a:lnTo>
                      <a:lnTo>
                        <a:pt x="15" y="48"/>
                      </a:lnTo>
                      <a:lnTo>
                        <a:pt x="0" y="33"/>
                      </a:lnTo>
                      <a:lnTo>
                        <a:pt x="0" y="17"/>
                      </a:lnTo>
                      <a:lnTo>
                        <a:pt x="15" y="0"/>
                      </a:lnTo>
                      <a:lnTo>
                        <a:pt x="31" y="0"/>
                      </a:lnTo>
                      <a:lnTo>
                        <a:pt x="36" y="26"/>
                      </a:lnTo>
                      <a:lnTo>
                        <a:pt x="52" y="33"/>
                      </a:lnTo>
                      <a:lnTo>
                        <a:pt x="45" y="64"/>
                      </a:lnTo>
                      <a:lnTo>
                        <a:pt x="45" y="64"/>
                      </a:lnTo>
                      <a:lnTo>
                        <a:pt x="45" y="6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9" name="Freeform 501">
                  <a:extLst>
                    <a:ext uri="{FF2B5EF4-FFF2-40B4-BE49-F238E27FC236}">
                      <a16:creationId xmlns:a16="http://schemas.microsoft.com/office/drawing/2014/main" id="{3206F559-5A7A-4B25-B239-DCC2526E9786}"/>
                    </a:ext>
                  </a:extLst>
                </p:cNvPr>
                <p:cNvSpPr>
                  <a:spLocks/>
                </p:cNvSpPr>
                <p:nvPr/>
              </p:nvSpPr>
              <p:spPr bwMode="gray">
                <a:xfrm>
                  <a:off x="7495236" y="2503835"/>
                  <a:ext cx="101271" cy="114456"/>
                </a:xfrm>
                <a:custGeom>
                  <a:avLst/>
                  <a:gdLst>
                    <a:gd name="T0" fmla="*/ 0 w 246"/>
                    <a:gd name="T1" fmla="*/ 16 h 278"/>
                    <a:gd name="T2" fmla="*/ 5 w 246"/>
                    <a:gd name="T3" fmla="*/ 7 h 278"/>
                    <a:gd name="T4" fmla="*/ 76 w 246"/>
                    <a:gd name="T5" fmla="*/ 0 h 278"/>
                    <a:gd name="T6" fmla="*/ 97 w 246"/>
                    <a:gd name="T7" fmla="*/ 16 h 278"/>
                    <a:gd name="T8" fmla="*/ 97 w 246"/>
                    <a:gd name="T9" fmla="*/ 23 h 278"/>
                    <a:gd name="T10" fmla="*/ 152 w 246"/>
                    <a:gd name="T11" fmla="*/ 33 h 278"/>
                    <a:gd name="T12" fmla="*/ 168 w 246"/>
                    <a:gd name="T13" fmla="*/ 45 h 278"/>
                    <a:gd name="T14" fmla="*/ 175 w 246"/>
                    <a:gd name="T15" fmla="*/ 45 h 278"/>
                    <a:gd name="T16" fmla="*/ 185 w 246"/>
                    <a:gd name="T17" fmla="*/ 61 h 278"/>
                    <a:gd name="T18" fmla="*/ 175 w 246"/>
                    <a:gd name="T19" fmla="*/ 89 h 278"/>
                    <a:gd name="T20" fmla="*/ 175 w 246"/>
                    <a:gd name="T21" fmla="*/ 94 h 278"/>
                    <a:gd name="T22" fmla="*/ 192 w 246"/>
                    <a:gd name="T23" fmla="*/ 111 h 278"/>
                    <a:gd name="T24" fmla="*/ 208 w 246"/>
                    <a:gd name="T25" fmla="*/ 101 h 278"/>
                    <a:gd name="T26" fmla="*/ 208 w 246"/>
                    <a:gd name="T27" fmla="*/ 146 h 278"/>
                    <a:gd name="T28" fmla="*/ 229 w 246"/>
                    <a:gd name="T29" fmla="*/ 151 h 278"/>
                    <a:gd name="T30" fmla="*/ 229 w 246"/>
                    <a:gd name="T31" fmla="*/ 172 h 278"/>
                    <a:gd name="T32" fmla="*/ 229 w 246"/>
                    <a:gd name="T33" fmla="*/ 172 h 278"/>
                    <a:gd name="T34" fmla="*/ 246 w 246"/>
                    <a:gd name="T35" fmla="*/ 189 h 278"/>
                    <a:gd name="T36" fmla="*/ 229 w 246"/>
                    <a:gd name="T37" fmla="*/ 189 h 278"/>
                    <a:gd name="T38" fmla="*/ 218 w 246"/>
                    <a:gd name="T39" fmla="*/ 184 h 278"/>
                    <a:gd name="T40" fmla="*/ 208 w 246"/>
                    <a:gd name="T41" fmla="*/ 189 h 278"/>
                    <a:gd name="T42" fmla="*/ 201 w 246"/>
                    <a:gd name="T43" fmla="*/ 184 h 278"/>
                    <a:gd name="T44" fmla="*/ 185 w 246"/>
                    <a:gd name="T45" fmla="*/ 189 h 278"/>
                    <a:gd name="T46" fmla="*/ 175 w 246"/>
                    <a:gd name="T47" fmla="*/ 172 h 278"/>
                    <a:gd name="T48" fmla="*/ 168 w 246"/>
                    <a:gd name="T49" fmla="*/ 184 h 278"/>
                    <a:gd name="T50" fmla="*/ 163 w 246"/>
                    <a:gd name="T51" fmla="*/ 200 h 278"/>
                    <a:gd name="T52" fmla="*/ 168 w 246"/>
                    <a:gd name="T53" fmla="*/ 208 h 278"/>
                    <a:gd name="T54" fmla="*/ 163 w 246"/>
                    <a:gd name="T55" fmla="*/ 224 h 278"/>
                    <a:gd name="T56" fmla="*/ 147 w 246"/>
                    <a:gd name="T57" fmla="*/ 229 h 278"/>
                    <a:gd name="T58" fmla="*/ 147 w 246"/>
                    <a:gd name="T59" fmla="*/ 241 h 278"/>
                    <a:gd name="T60" fmla="*/ 130 w 246"/>
                    <a:gd name="T61" fmla="*/ 257 h 278"/>
                    <a:gd name="T62" fmla="*/ 130 w 246"/>
                    <a:gd name="T63" fmla="*/ 269 h 278"/>
                    <a:gd name="T64" fmla="*/ 114 w 246"/>
                    <a:gd name="T65" fmla="*/ 269 h 278"/>
                    <a:gd name="T66" fmla="*/ 109 w 246"/>
                    <a:gd name="T67" fmla="*/ 278 h 278"/>
                    <a:gd name="T68" fmla="*/ 97 w 246"/>
                    <a:gd name="T69" fmla="*/ 262 h 278"/>
                    <a:gd name="T70" fmla="*/ 109 w 246"/>
                    <a:gd name="T71" fmla="*/ 257 h 278"/>
                    <a:gd name="T72" fmla="*/ 97 w 246"/>
                    <a:gd name="T73" fmla="*/ 212 h 278"/>
                    <a:gd name="T74" fmla="*/ 114 w 246"/>
                    <a:gd name="T75" fmla="*/ 184 h 278"/>
                    <a:gd name="T76" fmla="*/ 97 w 246"/>
                    <a:gd name="T77" fmla="*/ 134 h 278"/>
                    <a:gd name="T78" fmla="*/ 83 w 246"/>
                    <a:gd name="T79" fmla="*/ 118 h 278"/>
                    <a:gd name="T80" fmla="*/ 43 w 246"/>
                    <a:gd name="T81" fmla="*/ 73 h 278"/>
                    <a:gd name="T82" fmla="*/ 22 w 246"/>
                    <a:gd name="T83" fmla="*/ 33 h 278"/>
                    <a:gd name="T84" fmla="*/ 0 w 246"/>
                    <a:gd name="T85" fmla="*/ 16 h 278"/>
                    <a:gd name="T86" fmla="*/ 0 w 246"/>
                    <a:gd name="T87" fmla="*/ 16 h 278"/>
                    <a:gd name="T88" fmla="*/ 0 w 246"/>
                    <a:gd name="T89" fmla="*/ 1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6" h="278">
                      <a:moveTo>
                        <a:pt x="0" y="16"/>
                      </a:moveTo>
                      <a:lnTo>
                        <a:pt x="5" y="7"/>
                      </a:lnTo>
                      <a:lnTo>
                        <a:pt x="76" y="0"/>
                      </a:lnTo>
                      <a:lnTo>
                        <a:pt x="97" y="16"/>
                      </a:lnTo>
                      <a:lnTo>
                        <a:pt x="97" y="23"/>
                      </a:lnTo>
                      <a:lnTo>
                        <a:pt x="152" y="33"/>
                      </a:lnTo>
                      <a:lnTo>
                        <a:pt x="168" y="45"/>
                      </a:lnTo>
                      <a:lnTo>
                        <a:pt x="175" y="45"/>
                      </a:lnTo>
                      <a:lnTo>
                        <a:pt x="185" y="61"/>
                      </a:lnTo>
                      <a:lnTo>
                        <a:pt x="175" y="89"/>
                      </a:lnTo>
                      <a:lnTo>
                        <a:pt x="175" y="94"/>
                      </a:lnTo>
                      <a:lnTo>
                        <a:pt x="192" y="111"/>
                      </a:lnTo>
                      <a:lnTo>
                        <a:pt x="208" y="101"/>
                      </a:lnTo>
                      <a:lnTo>
                        <a:pt x="208" y="146"/>
                      </a:lnTo>
                      <a:lnTo>
                        <a:pt x="229" y="151"/>
                      </a:lnTo>
                      <a:lnTo>
                        <a:pt x="229" y="172"/>
                      </a:lnTo>
                      <a:lnTo>
                        <a:pt x="229" y="172"/>
                      </a:lnTo>
                      <a:lnTo>
                        <a:pt x="246" y="189"/>
                      </a:lnTo>
                      <a:lnTo>
                        <a:pt x="229" y="189"/>
                      </a:lnTo>
                      <a:lnTo>
                        <a:pt x="218" y="184"/>
                      </a:lnTo>
                      <a:lnTo>
                        <a:pt x="208" y="189"/>
                      </a:lnTo>
                      <a:lnTo>
                        <a:pt x="201" y="184"/>
                      </a:lnTo>
                      <a:lnTo>
                        <a:pt x="185" y="189"/>
                      </a:lnTo>
                      <a:lnTo>
                        <a:pt x="175" y="172"/>
                      </a:lnTo>
                      <a:lnTo>
                        <a:pt x="168" y="184"/>
                      </a:lnTo>
                      <a:lnTo>
                        <a:pt x="163" y="200"/>
                      </a:lnTo>
                      <a:lnTo>
                        <a:pt x="168" y="208"/>
                      </a:lnTo>
                      <a:lnTo>
                        <a:pt x="163" y="224"/>
                      </a:lnTo>
                      <a:lnTo>
                        <a:pt x="147" y="229"/>
                      </a:lnTo>
                      <a:lnTo>
                        <a:pt x="147" y="241"/>
                      </a:lnTo>
                      <a:lnTo>
                        <a:pt x="130" y="257"/>
                      </a:lnTo>
                      <a:lnTo>
                        <a:pt x="130" y="269"/>
                      </a:lnTo>
                      <a:lnTo>
                        <a:pt x="114" y="269"/>
                      </a:lnTo>
                      <a:lnTo>
                        <a:pt x="109" y="278"/>
                      </a:lnTo>
                      <a:lnTo>
                        <a:pt x="97" y="262"/>
                      </a:lnTo>
                      <a:lnTo>
                        <a:pt x="109" y="257"/>
                      </a:lnTo>
                      <a:lnTo>
                        <a:pt x="97" y="212"/>
                      </a:lnTo>
                      <a:lnTo>
                        <a:pt x="114" y="184"/>
                      </a:lnTo>
                      <a:lnTo>
                        <a:pt x="97" y="134"/>
                      </a:lnTo>
                      <a:lnTo>
                        <a:pt x="83" y="118"/>
                      </a:lnTo>
                      <a:lnTo>
                        <a:pt x="43" y="73"/>
                      </a:lnTo>
                      <a:lnTo>
                        <a:pt x="22" y="33"/>
                      </a:lnTo>
                      <a:lnTo>
                        <a:pt x="0" y="16"/>
                      </a:lnTo>
                      <a:lnTo>
                        <a:pt x="0" y="16"/>
                      </a:lnTo>
                      <a:lnTo>
                        <a:pt x="0" y="1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0" name="Freeform 503">
                  <a:extLst>
                    <a:ext uri="{FF2B5EF4-FFF2-40B4-BE49-F238E27FC236}">
                      <a16:creationId xmlns:a16="http://schemas.microsoft.com/office/drawing/2014/main" id="{6AC474F9-621D-44B8-8EFD-4CEC0FAD5793}"/>
                    </a:ext>
                  </a:extLst>
                </p:cNvPr>
                <p:cNvSpPr>
                  <a:spLocks/>
                </p:cNvSpPr>
                <p:nvPr/>
              </p:nvSpPr>
              <p:spPr bwMode="gray">
                <a:xfrm>
                  <a:off x="9260477" y="2360558"/>
                  <a:ext cx="927492" cy="394012"/>
                </a:xfrm>
                <a:custGeom>
                  <a:avLst/>
                  <a:gdLst>
                    <a:gd name="T0" fmla="*/ 1993 w 2253"/>
                    <a:gd name="T1" fmla="*/ 603 h 957"/>
                    <a:gd name="T2" fmla="*/ 1875 w 2253"/>
                    <a:gd name="T3" fmla="*/ 643 h 957"/>
                    <a:gd name="T4" fmla="*/ 1729 w 2253"/>
                    <a:gd name="T5" fmla="*/ 659 h 957"/>
                    <a:gd name="T6" fmla="*/ 1658 w 2253"/>
                    <a:gd name="T7" fmla="*/ 719 h 957"/>
                    <a:gd name="T8" fmla="*/ 1632 w 2253"/>
                    <a:gd name="T9" fmla="*/ 808 h 957"/>
                    <a:gd name="T10" fmla="*/ 1382 w 2253"/>
                    <a:gd name="T11" fmla="*/ 886 h 957"/>
                    <a:gd name="T12" fmla="*/ 1209 w 2253"/>
                    <a:gd name="T13" fmla="*/ 957 h 957"/>
                    <a:gd name="T14" fmla="*/ 1171 w 2253"/>
                    <a:gd name="T15" fmla="*/ 936 h 957"/>
                    <a:gd name="T16" fmla="*/ 1048 w 2253"/>
                    <a:gd name="T17" fmla="*/ 907 h 957"/>
                    <a:gd name="T18" fmla="*/ 919 w 2253"/>
                    <a:gd name="T19" fmla="*/ 863 h 957"/>
                    <a:gd name="T20" fmla="*/ 654 w 2253"/>
                    <a:gd name="T21" fmla="*/ 853 h 957"/>
                    <a:gd name="T22" fmla="*/ 571 w 2253"/>
                    <a:gd name="T23" fmla="*/ 813 h 957"/>
                    <a:gd name="T24" fmla="*/ 534 w 2253"/>
                    <a:gd name="T25" fmla="*/ 726 h 957"/>
                    <a:gd name="T26" fmla="*/ 411 w 2253"/>
                    <a:gd name="T27" fmla="*/ 664 h 957"/>
                    <a:gd name="T28" fmla="*/ 200 w 2253"/>
                    <a:gd name="T29" fmla="*/ 615 h 957"/>
                    <a:gd name="T30" fmla="*/ 222 w 2253"/>
                    <a:gd name="T31" fmla="*/ 548 h 957"/>
                    <a:gd name="T32" fmla="*/ 210 w 2253"/>
                    <a:gd name="T33" fmla="*/ 475 h 957"/>
                    <a:gd name="T34" fmla="*/ 163 w 2253"/>
                    <a:gd name="T35" fmla="*/ 409 h 957"/>
                    <a:gd name="T36" fmla="*/ 125 w 2253"/>
                    <a:gd name="T37" fmla="*/ 388 h 957"/>
                    <a:gd name="T38" fmla="*/ 54 w 2253"/>
                    <a:gd name="T39" fmla="*/ 355 h 957"/>
                    <a:gd name="T40" fmla="*/ 0 w 2253"/>
                    <a:gd name="T41" fmla="*/ 310 h 957"/>
                    <a:gd name="T42" fmla="*/ 21 w 2253"/>
                    <a:gd name="T43" fmla="*/ 277 h 957"/>
                    <a:gd name="T44" fmla="*/ 75 w 2253"/>
                    <a:gd name="T45" fmla="*/ 260 h 957"/>
                    <a:gd name="T46" fmla="*/ 101 w 2253"/>
                    <a:gd name="T47" fmla="*/ 256 h 957"/>
                    <a:gd name="T48" fmla="*/ 139 w 2253"/>
                    <a:gd name="T49" fmla="*/ 227 h 957"/>
                    <a:gd name="T50" fmla="*/ 163 w 2253"/>
                    <a:gd name="T51" fmla="*/ 199 h 957"/>
                    <a:gd name="T52" fmla="*/ 252 w 2253"/>
                    <a:gd name="T53" fmla="*/ 161 h 957"/>
                    <a:gd name="T54" fmla="*/ 319 w 2253"/>
                    <a:gd name="T55" fmla="*/ 128 h 957"/>
                    <a:gd name="T56" fmla="*/ 361 w 2253"/>
                    <a:gd name="T57" fmla="*/ 128 h 957"/>
                    <a:gd name="T58" fmla="*/ 453 w 2253"/>
                    <a:gd name="T59" fmla="*/ 149 h 957"/>
                    <a:gd name="T60" fmla="*/ 503 w 2253"/>
                    <a:gd name="T61" fmla="*/ 199 h 957"/>
                    <a:gd name="T62" fmla="*/ 562 w 2253"/>
                    <a:gd name="T63" fmla="*/ 206 h 957"/>
                    <a:gd name="T64" fmla="*/ 616 w 2253"/>
                    <a:gd name="T65" fmla="*/ 222 h 957"/>
                    <a:gd name="T66" fmla="*/ 697 w 2253"/>
                    <a:gd name="T67" fmla="*/ 206 h 957"/>
                    <a:gd name="T68" fmla="*/ 739 w 2253"/>
                    <a:gd name="T69" fmla="*/ 161 h 957"/>
                    <a:gd name="T70" fmla="*/ 718 w 2253"/>
                    <a:gd name="T71" fmla="*/ 128 h 957"/>
                    <a:gd name="T72" fmla="*/ 734 w 2253"/>
                    <a:gd name="T73" fmla="*/ 62 h 957"/>
                    <a:gd name="T74" fmla="*/ 777 w 2253"/>
                    <a:gd name="T75" fmla="*/ 0 h 957"/>
                    <a:gd name="T76" fmla="*/ 956 w 2253"/>
                    <a:gd name="T77" fmla="*/ 71 h 957"/>
                    <a:gd name="T78" fmla="*/ 1011 w 2253"/>
                    <a:gd name="T79" fmla="*/ 95 h 957"/>
                    <a:gd name="T80" fmla="*/ 1025 w 2253"/>
                    <a:gd name="T81" fmla="*/ 133 h 957"/>
                    <a:gd name="T82" fmla="*/ 1079 w 2253"/>
                    <a:gd name="T83" fmla="*/ 173 h 957"/>
                    <a:gd name="T84" fmla="*/ 1129 w 2253"/>
                    <a:gd name="T85" fmla="*/ 189 h 957"/>
                    <a:gd name="T86" fmla="*/ 1237 w 2253"/>
                    <a:gd name="T87" fmla="*/ 161 h 957"/>
                    <a:gd name="T88" fmla="*/ 1330 w 2253"/>
                    <a:gd name="T89" fmla="*/ 173 h 957"/>
                    <a:gd name="T90" fmla="*/ 1419 w 2253"/>
                    <a:gd name="T91" fmla="*/ 215 h 957"/>
                    <a:gd name="T92" fmla="*/ 1507 w 2253"/>
                    <a:gd name="T93" fmla="*/ 260 h 957"/>
                    <a:gd name="T94" fmla="*/ 1653 w 2253"/>
                    <a:gd name="T95" fmla="*/ 272 h 957"/>
                    <a:gd name="T96" fmla="*/ 1859 w 2253"/>
                    <a:gd name="T97" fmla="*/ 173 h 957"/>
                    <a:gd name="T98" fmla="*/ 1960 w 2253"/>
                    <a:gd name="T99" fmla="*/ 215 h 957"/>
                    <a:gd name="T100" fmla="*/ 2031 w 2253"/>
                    <a:gd name="T101" fmla="*/ 222 h 957"/>
                    <a:gd name="T102" fmla="*/ 1965 w 2253"/>
                    <a:gd name="T103" fmla="*/ 367 h 957"/>
                    <a:gd name="T104" fmla="*/ 1977 w 2253"/>
                    <a:gd name="T105" fmla="*/ 421 h 957"/>
                    <a:gd name="T106" fmla="*/ 2074 w 2253"/>
                    <a:gd name="T107" fmla="*/ 421 h 957"/>
                    <a:gd name="T108" fmla="*/ 2178 w 2253"/>
                    <a:gd name="T109" fmla="*/ 409 h 957"/>
                    <a:gd name="T110" fmla="*/ 2237 w 2253"/>
                    <a:gd name="T111" fmla="*/ 466 h 957"/>
                    <a:gd name="T112" fmla="*/ 2237 w 2253"/>
                    <a:gd name="T113" fmla="*/ 520 h 957"/>
                    <a:gd name="T114" fmla="*/ 2178 w 2253"/>
                    <a:gd name="T115" fmla="*/ 515 h 957"/>
                    <a:gd name="T116" fmla="*/ 2074 w 2253"/>
                    <a:gd name="T117" fmla="*/ 520 h 957"/>
                    <a:gd name="T118" fmla="*/ 2031 w 2253"/>
                    <a:gd name="T119" fmla="*/ 548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3" h="957">
                      <a:moveTo>
                        <a:pt x="2031" y="548"/>
                      </a:moveTo>
                      <a:lnTo>
                        <a:pt x="2010" y="560"/>
                      </a:lnTo>
                      <a:lnTo>
                        <a:pt x="1993" y="603"/>
                      </a:lnTo>
                      <a:lnTo>
                        <a:pt x="1944" y="626"/>
                      </a:lnTo>
                      <a:lnTo>
                        <a:pt x="1875" y="626"/>
                      </a:lnTo>
                      <a:lnTo>
                        <a:pt x="1875" y="643"/>
                      </a:lnTo>
                      <a:lnTo>
                        <a:pt x="1814" y="681"/>
                      </a:lnTo>
                      <a:lnTo>
                        <a:pt x="1762" y="669"/>
                      </a:lnTo>
                      <a:lnTo>
                        <a:pt x="1729" y="659"/>
                      </a:lnTo>
                      <a:lnTo>
                        <a:pt x="1708" y="648"/>
                      </a:lnTo>
                      <a:lnTo>
                        <a:pt x="1686" y="664"/>
                      </a:lnTo>
                      <a:lnTo>
                        <a:pt x="1658" y="719"/>
                      </a:lnTo>
                      <a:lnTo>
                        <a:pt x="1691" y="754"/>
                      </a:lnTo>
                      <a:lnTo>
                        <a:pt x="1696" y="775"/>
                      </a:lnTo>
                      <a:lnTo>
                        <a:pt x="1632" y="808"/>
                      </a:lnTo>
                      <a:lnTo>
                        <a:pt x="1587" y="853"/>
                      </a:lnTo>
                      <a:lnTo>
                        <a:pt x="1511" y="886"/>
                      </a:lnTo>
                      <a:lnTo>
                        <a:pt x="1382" y="886"/>
                      </a:lnTo>
                      <a:lnTo>
                        <a:pt x="1263" y="924"/>
                      </a:lnTo>
                      <a:lnTo>
                        <a:pt x="1226" y="952"/>
                      </a:lnTo>
                      <a:lnTo>
                        <a:pt x="1209" y="957"/>
                      </a:lnTo>
                      <a:lnTo>
                        <a:pt x="1204" y="957"/>
                      </a:lnTo>
                      <a:lnTo>
                        <a:pt x="1171" y="952"/>
                      </a:lnTo>
                      <a:lnTo>
                        <a:pt x="1171" y="936"/>
                      </a:lnTo>
                      <a:lnTo>
                        <a:pt x="1129" y="941"/>
                      </a:lnTo>
                      <a:lnTo>
                        <a:pt x="1096" y="936"/>
                      </a:lnTo>
                      <a:lnTo>
                        <a:pt x="1048" y="907"/>
                      </a:lnTo>
                      <a:lnTo>
                        <a:pt x="1004" y="903"/>
                      </a:lnTo>
                      <a:lnTo>
                        <a:pt x="987" y="879"/>
                      </a:lnTo>
                      <a:lnTo>
                        <a:pt x="919" y="863"/>
                      </a:lnTo>
                      <a:lnTo>
                        <a:pt x="881" y="863"/>
                      </a:lnTo>
                      <a:lnTo>
                        <a:pt x="826" y="879"/>
                      </a:lnTo>
                      <a:lnTo>
                        <a:pt x="654" y="853"/>
                      </a:lnTo>
                      <a:lnTo>
                        <a:pt x="600" y="863"/>
                      </a:lnTo>
                      <a:lnTo>
                        <a:pt x="600" y="846"/>
                      </a:lnTo>
                      <a:lnTo>
                        <a:pt x="571" y="813"/>
                      </a:lnTo>
                      <a:lnTo>
                        <a:pt x="545" y="754"/>
                      </a:lnTo>
                      <a:lnTo>
                        <a:pt x="534" y="754"/>
                      </a:lnTo>
                      <a:lnTo>
                        <a:pt x="534" y="726"/>
                      </a:lnTo>
                      <a:lnTo>
                        <a:pt x="508" y="726"/>
                      </a:lnTo>
                      <a:lnTo>
                        <a:pt x="486" y="719"/>
                      </a:lnTo>
                      <a:lnTo>
                        <a:pt x="411" y="664"/>
                      </a:lnTo>
                      <a:lnTo>
                        <a:pt x="264" y="659"/>
                      </a:lnTo>
                      <a:lnTo>
                        <a:pt x="215" y="643"/>
                      </a:lnTo>
                      <a:lnTo>
                        <a:pt x="200" y="615"/>
                      </a:lnTo>
                      <a:lnTo>
                        <a:pt x="210" y="593"/>
                      </a:lnTo>
                      <a:lnTo>
                        <a:pt x="231" y="570"/>
                      </a:lnTo>
                      <a:lnTo>
                        <a:pt x="222" y="548"/>
                      </a:lnTo>
                      <a:lnTo>
                        <a:pt x="231" y="520"/>
                      </a:lnTo>
                      <a:lnTo>
                        <a:pt x="222" y="492"/>
                      </a:lnTo>
                      <a:lnTo>
                        <a:pt x="210" y="475"/>
                      </a:lnTo>
                      <a:lnTo>
                        <a:pt x="193" y="449"/>
                      </a:lnTo>
                      <a:lnTo>
                        <a:pt x="184" y="437"/>
                      </a:lnTo>
                      <a:lnTo>
                        <a:pt x="163" y="409"/>
                      </a:lnTo>
                      <a:lnTo>
                        <a:pt x="163" y="404"/>
                      </a:lnTo>
                      <a:lnTo>
                        <a:pt x="139" y="404"/>
                      </a:lnTo>
                      <a:lnTo>
                        <a:pt x="125" y="388"/>
                      </a:lnTo>
                      <a:lnTo>
                        <a:pt x="92" y="388"/>
                      </a:lnTo>
                      <a:lnTo>
                        <a:pt x="59" y="371"/>
                      </a:lnTo>
                      <a:lnTo>
                        <a:pt x="54" y="355"/>
                      </a:lnTo>
                      <a:lnTo>
                        <a:pt x="16" y="338"/>
                      </a:lnTo>
                      <a:lnTo>
                        <a:pt x="21" y="326"/>
                      </a:lnTo>
                      <a:lnTo>
                        <a:pt x="0" y="310"/>
                      </a:lnTo>
                      <a:lnTo>
                        <a:pt x="4" y="300"/>
                      </a:lnTo>
                      <a:lnTo>
                        <a:pt x="4" y="282"/>
                      </a:lnTo>
                      <a:lnTo>
                        <a:pt x="21" y="277"/>
                      </a:lnTo>
                      <a:lnTo>
                        <a:pt x="21" y="260"/>
                      </a:lnTo>
                      <a:lnTo>
                        <a:pt x="33" y="256"/>
                      </a:lnTo>
                      <a:lnTo>
                        <a:pt x="75" y="260"/>
                      </a:lnTo>
                      <a:lnTo>
                        <a:pt x="75" y="244"/>
                      </a:lnTo>
                      <a:lnTo>
                        <a:pt x="87" y="256"/>
                      </a:lnTo>
                      <a:lnTo>
                        <a:pt x="101" y="256"/>
                      </a:lnTo>
                      <a:lnTo>
                        <a:pt x="101" y="239"/>
                      </a:lnTo>
                      <a:lnTo>
                        <a:pt x="108" y="244"/>
                      </a:lnTo>
                      <a:lnTo>
                        <a:pt x="139" y="227"/>
                      </a:lnTo>
                      <a:lnTo>
                        <a:pt x="130" y="215"/>
                      </a:lnTo>
                      <a:lnTo>
                        <a:pt x="156" y="206"/>
                      </a:lnTo>
                      <a:lnTo>
                        <a:pt x="163" y="199"/>
                      </a:lnTo>
                      <a:lnTo>
                        <a:pt x="210" y="182"/>
                      </a:lnTo>
                      <a:lnTo>
                        <a:pt x="222" y="166"/>
                      </a:lnTo>
                      <a:lnTo>
                        <a:pt x="252" y="161"/>
                      </a:lnTo>
                      <a:lnTo>
                        <a:pt x="276" y="145"/>
                      </a:lnTo>
                      <a:lnTo>
                        <a:pt x="307" y="133"/>
                      </a:lnTo>
                      <a:lnTo>
                        <a:pt x="319" y="128"/>
                      </a:lnTo>
                      <a:lnTo>
                        <a:pt x="340" y="145"/>
                      </a:lnTo>
                      <a:lnTo>
                        <a:pt x="356" y="128"/>
                      </a:lnTo>
                      <a:lnTo>
                        <a:pt x="361" y="128"/>
                      </a:lnTo>
                      <a:lnTo>
                        <a:pt x="361" y="145"/>
                      </a:lnTo>
                      <a:lnTo>
                        <a:pt x="373" y="149"/>
                      </a:lnTo>
                      <a:lnTo>
                        <a:pt x="453" y="149"/>
                      </a:lnTo>
                      <a:lnTo>
                        <a:pt x="465" y="182"/>
                      </a:lnTo>
                      <a:lnTo>
                        <a:pt x="479" y="206"/>
                      </a:lnTo>
                      <a:lnTo>
                        <a:pt x="503" y="199"/>
                      </a:lnTo>
                      <a:lnTo>
                        <a:pt x="508" y="206"/>
                      </a:lnTo>
                      <a:lnTo>
                        <a:pt x="541" y="215"/>
                      </a:lnTo>
                      <a:lnTo>
                        <a:pt x="562" y="206"/>
                      </a:lnTo>
                      <a:lnTo>
                        <a:pt x="571" y="215"/>
                      </a:lnTo>
                      <a:lnTo>
                        <a:pt x="578" y="206"/>
                      </a:lnTo>
                      <a:lnTo>
                        <a:pt x="616" y="222"/>
                      </a:lnTo>
                      <a:lnTo>
                        <a:pt x="647" y="215"/>
                      </a:lnTo>
                      <a:lnTo>
                        <a:pt x="671" y="227"/>
                      </a:lnTo>
                      <a:lnTo>
                        <a:pt x="697" y="206"/>
                      </a:lnTo>
                      <a:lnTo>
                        <a:pt x="722" y="199"/>
                      </a:lnTo>
                      <a:lnTo>
                        <a:pt x="739" y="173"/>
                      </a:lnTo>
                      <a:lnTo>
                        <a:pt x="739" y="161"/>
                      </a:lnTo>
                      <a:lnTo>
                        <a:pt x="718" y="145"/>
                      </a:lnTo>
                      <a:lnTo>
                        <a:pt x="718" y="133"/>
                      </a:lnTo>
                      <a:lnTo>
                        <a:pt x="718" y="128"/>
                      </a:lnTo>
                      <a:lnTo>
                        <a:pt x="701" y="111"/>
                      </a:lnTo>
                      <a:lnTo>
                        <a:pt x="718" y="62"/>
                      </a:lnTo>
                      <a:lnTo>
                        <a:pt x="734" y="62"/>
                      </a:lnTo>
                      <a:lnTo>
                        <a:pt x="739" y="38"/>
                      </a:lnTo>
                      <a:lnTo>
                        <a:pt x="760" y="34"/>
                      </a:lnTo>
                      <a:lnTo>
                        <a:pt x="777" y="0"/>
                      </a:lnTo>
                      <a:lnTo>
                        <a:pt x="859" y="38"/>
                      </a:lnTo>
                      <a:lnTo>
                        <a:pt x="897" y="38"/>
                      </a:lnTo>
                      <a:lnTo>
                        <a:pt x="956" y="71"/>
                      </a:lnTo>
                      <a:lnTo>
                        <a:pt x="973" y="62"/>
                      </a:lnTo>
                      <a:lnTo>
                        <a:pt x="1011" y="78"/>
                      </a:lnTo>
                      <a:lnTo>
                        <a:pt x="1011" y="95"/>
                      </a:lnTo>
                      <a:lnTo>
                        <a:pt x="1020" y="111"/>
                      </a:lnTo>
                      <a:lnTo>
                        <a:pt x="1011" y="128"/>
                      </a:lnTo>
                      <a:lnTo>
                        <a:pt x="1025" y="133"/>
                      </a:lnTo>
                      <a:lnTo>
                        <a:pt x="1020" y="149"/>
                      </a:lnTo>
                      <a:lnTo>
                        <a:pt x="1063" y="173"/>
                      </a:lnTo>
                      <a:lnTo>
                        <a:pt x="1079" y="173"/>
                      </a:lnTo>
                      <a:lnTo>
                        <a:pt x="1086" y="189"/>
                      </a:lnTo>
                      <a:lnTo>
                        <a:pt x="1117" y="189"/>
                      </a:lnTo>
                      <a:lnTo>
                        <a:pt x="1129" y="189"/>
                      </a:lnTo>
                      <a:lnTo>
                        <a:pt x="1141" y="189"/>
                      </a:lnTo>
                      <a:lnTo>
                        <a:pt x="1167" y="173"/>
                      </a:lnTo>
                      <a:lnTo>
                        <a:pt x="1237" y="161"/>
                      </a:lnTo>
                      <a:lnTo>
                        <a:pt x="1280" y="166"/>
                      </a:lnTo>
                      <a:lnTo>
                        <a:pt x="1297" y="173"/>
                      </a:lnTo>
                      <a:lnTo>
                        <a:pt x="1330" y="173"/>
                      </a:lnTo>
                      <a:lnTo>
                        <a:pt x="1351" y="189"/>
                      </a:lnTo>
                      <a:lnTo>
                        <a:pt x="1356" y="206"/>
                      </a:lnTo>
                      <a:lnTo>
                        <a:pt x="1419" y="215"/>
                      </a:lnTo>
                      <a:lnTo>
                        <a:pt x="1415" y="239"/>
                      </a:lnTo>
                      <a:lnTo>
                        <a:pt x="1457" y="272"/>
                      </a:lnTo>
                      <a:lnTo>
                        <a:pt x="1507" y="260"/>
                      </a:lnTo>
                      <a:lnTo>
                        <a:pt x="1528" y="277"/>
                      </a:lnTo>
                      <a:lnTo>
                        <a:pt x="1615" y="282"/>
                      </a:lnTo>
                      <a:lnTo>
                        <a:pt x="1653" y="272"/>
                      </a:lnTo>
                      <a:lnTo>
                        <a:pt x="1776" y="244"/>
                      </a:lnTo>
                      <a:lnTo>
                        <a:pt x="1783" y="222"/>
                      </a:lnTo>
                      <a:lnTo>
                        <a:pt x="1859" y="173"/>
                      </a:lnTo>
                      <a:lnTo>
                        <a:pt x="1901" y="182"/>
                      </a:lnTo>
                      <a:lnTo>
                        <a:pt x="1939" y="215"/>
                      </a:lnTo>
                      <a:lnTo>
                        <a:pt x="1960" y="215"/>
                      </a:lnTo>
                      <a:lnTo>
                        <a:pt x="1998" y="206"/>
                      </a:lnTo>
                      <a:lnTo>
                        <a:pt x="2019" y="215"/>
                      </a:lnTo>
                      <a:lnTo>
                        <a:pt x="2031" y="222"/>
                      </a:lnTo>
                      <a:lnTo>
                        <a:pt x="1982" y="317"/>
                      </a:lnTo>
                      <a:lnTo>
                        <a:pt x="1965" y="338"/>
                      </a:lnTo>
                      <a:lnTo>
                        <a:pt x="1965" y="367"/>
                      </a:lnTo>
                      <a:lnTo>
                        <a:pt x="1944" y="383"/>
                      </a:lnTo>
                      <a:lnTo>
                        <a:pt x="1956" y="393"/>
                      </a:lnTo>
                      <a:lnTo>
                        <a:pt x="1977" y="421"/>
                      </a:lnTo>
                      <a:lnTo>
                        <a:pt x="1998" y="404"/>
                      </a:lnTo>
                      <a:lnTo>
                        <a:pt x="2048" y="404"/>
                      </a:lnTo>
                      <a:lnTo>
                        <a:pt x="2074" y="421"/>
                      </a:lnTo>
                      <a:lnTo>
                        <a:pt x="2107" y="388"/>
                      </a:lnTo>
                      <a:lnTo>
                        <a:pt x="2161" y="388"/>
                      </a:lnTo>
                      <a:lnTo>
                        <a:pt x="2178" y="409"/>
                      </a:lnTo>
                      <a:lnTo>
                        <a:pt x="2199" y="421"/>
                      </a:lnTo>
                      <a:lnTo>
                        <a:pt x="2199" y="437"/>
                      </a:lnTo>
                      <a:lnTo>
                        <a:pt x="2237" y="466"/>
                      </a:lnTo>
                      <a:lnTo>
                        <a:pt x="2253" y="492"/>
                      </a:lnTo>
                      <a:lnTo>
                        <a:pt x="2253" y="504"/>
                      </a:lnTo>
                      <a:lnTo>
                        <a:pt x="2237" y="520"/>
                      </a:lnTo>
                      <a:lnTo>
                        <a:pt x="2215" y="515"/>
                      </a:lnTo>
                      <a:lnTo>
                        <a:pt x="2182" y="504"/>
                      </a:lnTo>
                      <a:lnTo>
                        <a:pt x="2178" y="515"/>
                      </a:lnTo>
                      <a:lnTo>
                        <a:pt x="2145" y="504"/>
                      </a:lnTo>
                      <a:lnTo>
                        <a:pt x="2107" y="520"/>
                      </a:lnTo>
                      <a:lnTo>
                        <a:pt x="2074" y="520"/>
                      </a:lnTo>
                      <a:lnTo>
                        <a:pt x="2074" y="537"/>
                      </a:lnTo>
                      <a:lnTo>
                        <a:pt x="2036" y="537"/>
                      </a:lnTo>
                      <a:lnTo>
                        <a:pt x="2031" y="548"/>
                      </a:lnTo>
                      <a:lnTo>
                        <a:pt x="2031" y="548"/>
                      </a:lnTo>
                      <a:lnTo>
                        <a:pt x="2031" y="54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1" name="Freeform 506">
                  <a:extLst>
                    <a:ext uri="{FF2B5EF4-FFF2-40B4-BE49-F238E27FC236}">
                      <a16:creationId xmlns:a16="http://schemas.microsoft.com/office/drawing/2014/main" id="{B143151C-E527-4E4E-96A8-C5ED26FCCEB4}"/>
                    </a:ext>
                  </a:extLst>
                </p:cNvPr>
                <p:cNvSpPr>
                  <a:spLocks/>
                </p:cNvSpPr>
                <p:nvPr/>
              </p:nvSpPr>
              <p:spPr bwMode="gray">
                <a:xfrm>
                  <a:off x="7317394" y="2728220"/>
                  <a:ext cx="72043" cy="51876"/>
                </a:xfrm>
                <a:custGeom>
                  <a:avLst/>
                  <a:gdLst>
                    <a:gd name="T0" fmla="*/ 21 w 175"/>
                    <a:gd name="T1" fmla="*/ 126 h 126"/>
                    <a:gd name="T2" fmla="*/ 9 w 175"/>
                    <a:gd name="T3" fmla="*/ 126 h 126"/>
                    <a:gd name="T4" fmla="*/ 0 w 175"/>
                    <a:gd name="T5" fmla="*/ 88 h 126"/>
                    <a:gd name="T6" fmla="*/ 5 w 175"/>
                    <a:gd name="T7" fmla="*/ 81 h 126"/>
                    <a:gd name="T8" fmla="*/ 0 w 175"/>
                    <a:gd name="T9" fmla="*/ 71 h 126"/>
                    <a:gd name="T10" fmla="*/ 5 w 175"/>
                    <a:gd name="T11" fmla="*/ 43 h 126"/>
                    <a:gd name="T12" fmla="*/ 9 w 175"/>
                    <a:gd name="T13" fmla="*/ 43 h 126"/>
                    <a:gd name="T14" fmla="*/ 21 w 175"/>
                    <a:gd name="T15" fmla="*/ 26 h 126"/>
                    <a:gd name="T16" fmla="*/ 43 w 175"/>
                    <a:gd name="T17" fmla="*/ 17 h 126"/>
                    <a:gd name="T18" fmla="*/ 59 w 175"/>
                    <a:gd name="T19" fmla="*/ 17 h 126"/>
                    <a:gd name="T20" fmla="*/ 66 w 175"/>
                    <a:gd name="T21" fmla="*/ 10 h 126"/>
                    <a:gd name="T22" fmla="*/ 80 w 175"/>
                    <a:gd name="T23" fmla="*/ 10 h 126"/>
                    <a:gd name="T24" fmla="*/ 97 w 175"/>
                    <a:gd name="T25" fmla="*/ 0 h 126"/>
                    <a:gd name="T26" fmla="*/ 130 w 175"/>
                    <a:gd name="T27" fmla="*/ 0 h 126"/>
                    <a:gd name="T28" fmla="*/ 147 w 175"/>
                    <a:gd name="T29" fmla="*/ 17 h 126"/>
                    <a:gd name="T30" fmla="*/ 170 w 175"/>
                    <a:gd name="T31" fmla="*/ 33 h 126"/>
                    <a:gd name="T32" fmla="*/ 175 w 175"/>
                    <a:gd name="T33" fmla="*/ 50 h 126"/>
                    <a:gd name="T34" fmla="*/ 175 w 175"/>
                    <a:gd name="T35" fmla="*/ 88 h 126"/>
                    <a:gd name="T36" fmla="*/ 163 w 175"/>
                    <a:gd name="T37" fmla="*/ 88 h 126"/>
                    <a:gd name="T38" fmla="*/ 163 w 175"/>
                    <a:gd name="T39" fmla="*/ 102 h 126"/>
                    <a:gd name="T40" fmla="*/ 109 w 175"/>
                    <a:gd name="T41" fmla="*/ 102 h 126"/>
                    <a:gd name="T42" fmla="*/ 92 w 175"/>
                    <a:gd name="T43" fmla="*/ 118 h 126"/>
                    <a:gd name="T44" fmla="*/ 76 w 175"/>
                    <a:gd name="T45" fmla="*/ 126 h 126"/>
                    <a:gd name="T46" fmla="*/ 38 w 175"/>
                    <a:gd name="T47" fmla="*/ 126 h 126"/>
                    <a:gd name="T48" fmla="*/ 21 w 175"/>
                    <a:gd name="T49" fmla="*/ 126 h 126"/>
                    <a:gd name="T50" fmla="*/ 21 w 175"/>
                    <a:gd name="T51" fmla="*/ 126 h 126"/>
                    <a:gd name="T52" fmla="*/ 21 w 175"/>
                    <a:gd name="T53"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26">
                      <a:moveTo>
                        <a:pt x="21" y="126"/>
                      </a:moveTo>
                      <a:lnTo>
                        <a:pt x="9" y="126"/>
                      </a:lnTo>
                      <a:lnTo>
                        <a:pt x="0" y="88"/>
                      </a:lnTo>
                      <a:lnTo>
                        <a:pt x="5" y="81"/>
                      </a:lnTo>
                      <a:lnTo>
                        <a:pt x="0" y="71"/>
                      </a:lnTo>
                      <a:lnTo>
                        <a:pt x="5" y="43"/>
                      </a:lnTo>
                      <a:lnTo>
                        <a:pt x="9" y="43"/>
                      </a:lnTo>
                      <a:lnTo>
                        <a:pt x="21" y="26"/>
                      </a:lnTo>
                      <a:lnTo>
                        <a:pt x="43" y="17"/>
                      </a:lnTo>
                      <a:lnTo>
                        <a:pt x="59" y="17"/>
                      </a:lnTo>
                      <a:lnTo>
                        <a:pt x="66" y="10"/>
                      </a:lnTo>
                      <a:lnTo>
                        <a:pt x="80" y="10"/>
                      </a:lnTo>
                      <a:lnTo>
                        <a:pt x="97" y="0"/>
                      </a:lnTo>
                      <a:lnTo>
                        <a:pt x="130" y="0"/>
                      </a:lnTo>
                      <a:lnTo>
                        <a:pt x="147" y="17"/>
                      </a:lnTo>
                      <a:lnTo>
                        <a:pt x="170" y="33"/>
                      </a:lnTo>
                      <a:lnTo>
                        <a:pt x="175" y="50"/>
                      </a:lnTo>
                      <a:lnTo>
                        <a:pt x="175" y="88"/>
                      </a:lnTo>
                      <a:lnTo>
                        <a:pt x="163" y="88"/>
                      </a:lnTo>
                      <a:lnTo>
                        <a:pt x="163" y="102"/>
                      </a:lnTo>
                      <a:lnTo>
                        <a:pt x="109" y="102"/>
                      </a:lnTo>
                      <a:lnTo>
                        <a:pt x="92" y="118"/>
                      </a:lnTo>
                      <a:lnTo>
                        <a:pt x="76" y="126"/>
                      </a:lnTo>
                      <a:lnTo>
                        <a:pt x="38" y="126"/>
                      </a:lnTo>
                      <a:lnTo>
                        <a:pt x="21" y="126"/>
                      </a:lnTo>
                      <a:lnTo>
                        <a:pt x="21" y="126"/>
                      </a:lnTo>
                      <a:lnTo>
                        <a:pt x="21" y="1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2" name="Freeform 511">
                  <a:extLst>
                    <a:ext uri="{FF2B5EF4-FFF2-40B4-BE49-F238E27FC236}">
                      <a16:creationId xmlns:a16="http://schemas.microsoft.com/office/drawing/2014/main" id="{55F05FD1-0C36-434E-9642-4668F13BEA02}"/>
                    </a:ext>
                  </a:extLst>
                </p:cNvPr>
                <p:cNvSpPr>
                  <a:spLocks noEditPoints="1"/>
                </p:cNvSpPr>
                <p:nvPr/>
              </p:nvSpPr>
              <p:spPr bwMode="gray">
                <a:xfrm>
                  <a:off x="7134612" y="2947253"/>
                  <a:ext cx="9880" cy="10705"/>
                </a:xfrm>
                <a:custGeom>
                  <a:avLst/>
                  <a:gdLst>
                    <a:gd name="T0" fmla="*/ 7 w 24"/>
                    <a:gd name="T1" fmla="*/ 12 h 26"/>
                    <a:gd name="T2" fmla="*/ 0 w 24"/>
                    <a:gd name="T3" fmla="*/ 0 h 26"/>
                    <a:gd name="T4" fmla="*/ 7 w 24"/>
                    <a:gd name="T5" fmla="*/ 0 h 26"/>
                    <a:gd name="T6" fmla="*/ 7 w 24"/>
                    <a:gd name="T7" fmla="*/ 12 h 26"/>
                    <a:gd name="T8" fmla="*/ 7 w 24"/>
                    <a:gd name="T9" fmla="*/ 12 h 26"/>
                    <a:gd name="T10" fmla="*/ 7 w 24"/>
                    <a:gd name="T11" fmla="*/ 12 h 26"/>
                    <a:gd name="T12" fmla="*/ 24 w 24"/>
                    <a:gd name="T13" fmla="*/ 26 h 26"/>
                    <a:gd name="T14" fmla="*/ 7 w 24"/>
                    <a:gd name="T15" fmla="*/ 16 h 26"/>
                    <a:gd name="T16" fmla="*/ 7 w 24"/>
                    <a:gd name="T17" fmla="*/ 12 h 26"/>
                    <a:gd name="T18" fmla="*/ 24 w 24"/>
                    <a:gd name="T19" fmla="*/ 16 h 26"/>
                    <a:gd name="T20" fmla="*/ 24 w 24"/>
                    <a:gd name="T21" fmla="*/ 26 h 26"/>
                    <a:gd name="T22" fmla="*/ 24 w 24"/>
                    <a:gd name="T23" fmla="*/ 26 h 26"/>
                    <a:gd name="T24" fmla="*/ 24 w 24"/>
                    <a:gd name="T2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6">
                      <a:moveTo>
                        <a:pt x="7" y="12"/>
                      </a:moveTo>
                      <a:lnTo>
                        <a:pt x="0" y="0"/>
                      </a:lnTo>
                      <a:lnTo>
                        <a:pt x="7" y="0"/>
                      </a:lnTo>
                      <a:lnTo>
                        <a:pt x="7" y="12"/>
                      </a:lnTo>
                      <a:lnTo>
                        <a:pt x="7" y="12"/>
                      </a:lnTo>
                      <a:lnTo>
                        <a:pt x="7" y="12"/>
                      </a:lnTo>
                      <a:close/>
                      <a:moveTo>
                        <a:pt x="24" y="26"/>
                      </a:moveTo>
                      <a:lnTo>
                        <a:pt x="7" y="16"/>
                      </a:lnTo>
                      <a:lnTo>
                        <a:pt x="7" y="12"/>
                      </a:lnTo>
                      <a:lnTo>
                        <a:pt x="24" y="16"/>
                      </a:lnTo>
                      <a:lnTo>
                        <a:pt x="24" y="26"/>
                      </a:lnTo>
                      <a:lnTo>
                        <a:pt x="24" y="26"/>
                      </a:lnTo>
                      <a:lnTo>
                        <a:pt x="24" y="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3" name="Freeform 513">
                  <a:extLst>
                    <a:ext uri="{FF2B5EF4-FFF2-40B4-BE49-F238E27FC236}">
                      <a16:creationId xmlns:a16="http://schemas.microsoft.com/office/drawing/2014/main" id="{6033DEFB-22F7-4441-9BE5-D1C4F9E3531E}"/>
                    </a:ext>
                  </a:extLst>
                </p:cNvPr>
                <p:cNvSpPr>
                  <a:spLocks/>
                </p:cNvSpPr>
                <p:nvPr/>
              </p:nvSpPr>
              <p:spPr bwMode="gray">
                <a:xfrm>
                  <a:off x="7260171" y="2685402"/>
                  <a:ext cx="53518" cy="60523"/>
                </a:xfrm>
                <a:custGeom>
                  <a:avLst/>
                  <a:gdLst>
                    <a:gd name="T0" fmla="*/ 0 w 130"/>
                    <a:gd name="T1" fmla="*/ 90 h 147"/>
                    <a:gd name="T2" fmla="*/ 7 w 130"/>
                    <a:gd name="T3" fmla="*/ 81 h 147"/>
                    <a:gd name="T4" fmla="*/ 0 w 130"/>
                    <a:gd name="T5" fmla="*/ 62 h 147"/>
                    <a:gd name="T6" fmla="*/ 0 w 130"/>
                    <a:gd name="T7" fmla="*/ 45 h 147"/>
                    <a:gd name="T8" fmla="*/ 16 w 130"/>
                    <a:gd name="T9" fmla="*/ 41 h 147"/>
                    <a:gd name="T10" fmla="*/ 16 w 130"/>
                    <a:gd name="T11" fmla="*/ 24 h 147"/>
                    <a:gd name="T12" fmla="*/ 28 w 130"/>
                    <a:gd name="T13" fmla="*/ 17 h 147"/>
                    <a:gd name="T14" fmla="*/ 37 w 130"/>
                    <a:gd name="T15" fmla="*/ 24 h 147"/>
                    <a:gd name="T16" fmla="*/ 45 w 130"/>
                    <a:gd name="T17" fmla="*/ 17 h 147"/>
                    <a:gd name="T18" fmla="*/ 28 w 130"/>
                    <a:gd name="T19" fmla="*/ 0 h 147"/>
                    <a:gd name="T20" fmla="*/ 54 w 130"/>
                    <a:gd name="T21" fmla="*/ 0 h 147"/>
                    <a:gd name="T22" fmla="*/ 87 w 130"/>
                    <a:gd name="T23" fmla="*/ 36 h 147"/>
                    <a:gd name="T24" fmla="*/ 130 w 130"/>
                    <a:gd name="T25" fmla="*/ 57 h 147"/>
                    <a:gd name="T26" fmla="*/ 130 w 130"/>
                    <a:gd name="T27" fmla="*/ 62 h 147"/>
                    <a:gd name="T28" fmla="*/ 125 w 130"/>
                    <a:gd name="T29" fmla="*/ 62 h 147"/>
                    <a:gd name="T30" fmla="*/ 108 w 130"/>
                    <a:gd name="T31" fmla="*/ 74 h 147"/>
                    <a:gd name="T32" fmla="*/ 113 w 130"/>
                    <a:gd name="T33" fmla="*/ 81 h 147"/>
                    <a:gd name="T34" fmla="*/ 108 w 130"/>
                    <a:gd name="T35" fmla="*/ 90 h 147"/>
                    <a:gd name="T36" fmla="*/ 92 w 130"/>
                    <a:gd name="T37" fmla="*/ 97 h 147"/>
                    <a:gd name="T38" fmla="*/ 92 w 130"/>
                    <a:gd name="T39" fmla="*/ 81 h 147"/>
                    <a:gd name="T40" fmla="*/ 87 w 130"/>
                    <a:gd name="T41" fmla="*/ 81 h 147"/>
                    <a:gd name="T42" fmla="*/ 54 w 130"/>
                    <a:gd name="T43" fmla="*/ 118 h 147"/>
                    <a:gd name="T44" fmla="*/ 59 w 130"/>
                    <a:gd name="T45" fmla="*/ 130 h 147"/>
                    <a:gd name="T46" fmla="*/ 59 w 130"/>
                    <a:gd name="T47" fmla="*/ 147 h 147"/>
                    <a:gd name="T48" fmla="*/ 45 w 130"/>
                    <a:gd name="T49" fmla="*/ 135 h 147"/>
                    <a:gd name="T50" fmla="*/ 28 w 130"/>
                    <a:gd name="T51" fmla="*/ 114 h 147"/>
                    <a:gd name="T52" fmla="*/ 7 w 130"/>
                    <a:gd name="T53" fmla="*/ 97 h 147"/>
                    <a:gd name="T54" fmla="*/ 16 w 130"/>
                    <a:gd name="T55" fmla="*/ 102 h 147"/>
                    <a:gd name="T56" fmla="*/ 16 w 130"/>
                    <a:gd name="T57" fmla="*/ 97 h 147"/>
                    <a:gd name="T58" fmla="*/ 0 w 130"/>
                    <a:gd name="T59" fmla="*/ 97 h 147"/>
                    <a:gd name="T60" fmla="*/ 0 w 130"/>
                    <a:gd name="T61" fmla="*/ 90 h 147"/>
                    <a:gd name="T62" fmla="*/ 0 w 130"/>
                    <a:gd name="T63" fmla="*/ 90 h 147"/>
                    <a:gd name="T64" fmla="*/ 0 w 130"/>
                    <a:gd name="T65" fmla="*/ 9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0" h="147">
                      <a:moveTo>
                        <a:pt x="0" y="90"/>
                      </a:moveTo>
                      <a:lnTo>
                        <a:pt x="7" y="81"/>
                      </a:lnTo>
                      <a:lnTo>
                        <a:pt x="0" y="62"/>
                      </a:lnTo>
                      <a:lnTo>
                        <a:pt x="0" y="45"/>
                      </a:lnTo>
                      <a:lnTo>
                        <a:pt x="16" y="41"/>
                      </a:lnTo>
                      <a:lnTo>
                        <a:pt x="16" y="24"/>
                      </a:lnTo>
                      <a:lnTo>
                        <a:pt x="28" y="17"/>
                      </a:lnTo>
                      <a:lnTo>
                        <a:pt x="37" y="24"/>
                      </a:lnTo>
                      <a:lnTo>
                        <a:pt x="45" y="17"/>
                      </a:lnTo>
                      <a:lnTo>
                        <a:pt x="28" y="0"/>
                      </a:lnTo>
                      <a:lnTo>
                        <a:pt x="54" y="0"/>
                      </a:lnTo>
                      <a:lnTo>
                        <a:pt x="87" y="36"/>
                      </a:lnTo>
                      <a:lnTo>
                        <a:pt x="130" y="57"/>
                      </a:lnTo>
                      <a:lnTo>
                        <a:pt x="130" y="62"/>
                      </a:lnTo>
                      <a:lnTo>
                        <a:pt x="125" y="62"/>
                      </a:lnTo>
                      <a:lnTo>
                        <a:pt x="108" y="74"/>
                      </a:lnTo>
                      <a:lnTo>
                        <a:pt x="113" y="81"/>
                      </a:lnTo>
                      <a:lnTo>
                        <a:pt x="108" y="90"/>
                      </a:lnTo>
                      <a:lnTo>
                        <a:pt x="92" y="97"/>
                      </a:lnTo>
                      <a:lnTo>
                        <a:pt x="92" y="81"/>
                      </a:lnTo>
                      <a:lnTo>
                        <a:pt x="87" y="81"/>
                      </a:lnTo>
                      <a:lnTo>
                        <a:pt x="54" y="118"/>
                      </a:lnTo>
                      <a:lnTo>
                        <a:pt x="59" y="130"/>
                      </a:lnTo>
                      <a:lnTo>
                        <a:pt x="59" y="147"/>
                      </a:lnTo>
                      <a:lnTo>
                        <a:pt x="45" y="135"/>
                      </a:lnTo>
                      <a:lnTo>
                        <a:pt x="28" y="114"/>
                      </a:lnTo>
                      <a:lnTo>
                        <a:pt x="7" y="97"/>
                      </a:lnTo>
                      <a:lnTo>
                        <a:pt x="16" y="102"/>
                      </a:lnTo>
                      <a:lnTo>
                        <a:pt x="16" y="97"/>
                      </a:lnTo>
                      <a:lnTo>
                        <a:pt x="0" y="97"/>
                      </a:lnTo>
                      <a:lnTo>
                        <a:pt x="0" y="90"/>
                      </a:lnTo>
                      <a:lnTo>
                        <a:pt x="0" y="90"/>
                      </a:lnTo>
                      <a:lnTo>
                        <a:pt x="0" y="9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4" name="Freeform 522">
                  <a:extLst>
                    <a:ext uri="{FF2B5EF4-FFF2-40B4-BE49-F238E27FC236}">
                      <a16:creationId xmlns:a16="http://schemas.microsoft.com/office/drawing/2014/main" id="{54019DB0-E373-4CAE-8BD0-183C932D1A48}"/>
                    </a:ext>
                  </a:extLst>
                </p:cNvPr>
                <p:cNvSpPr>
                  <a:spLocks noEditPoints="1"/>
                </p:cNvSpPr>
                <p:nvPr/>
              </p:nvSpPr>
              <p:spPr bwMode="gray">
                <a:xfrm>
                  <a:off x="6824213" y="2308270"/>
                  <a:ext cx="111151" cy="107046"/>
                </a:xfrm>
                <a:custGeom>
                  <a:avLst/>
                  <a:gdLst>
                    <a:gd name="T0" fmla="*/ 156 w 270"/>
                    <a:gd name="T1" fmla="*/ 0 h 260"/>
                    <a:gd name="T2" fmla="*/ 161 w 270"/>
                    <a:gd name="T3" fmla="*/ 0 h 260"/>
                    <a:gd name="T4" fmla="*/ 161 w 270"/>
                    <a:gd name="T5" fmla="*/ 0 h 260"/>
                    <a:gd name="T6" fmla="*/ 270 w 270"/>
                    <a:gd name="T7" fmla="*/ 49 h 260"/>
                    <a:gd name="T8" fmla="*/ 237 w 270"/>
                    <a:gd name="T9" fmla="*/ 78 h 260"/>
                    <a:gd name="T10" fmla="*/ 253 w 270"/>
                    <a:gd name="T11" fmla="*/ 104 h 260"/>
                    <a:gd name="T12" fmla="*/ 232 w 270"/>
                    <a:gd name="T13" fmla="*/ 132 h 260"/>
                    <a:gd name="T14" fmla="*/ 178 w 270"/>
                    <a:gd name="T15" fmla="*/ 161 h 260"/>
                    <a:gd name="T16" fmla="*/ 199 w 270"/>
                    <a:gd name="T17" fmla="*/ 205 h 260"/>
                    <a:gd name="T18" fmla="*/ 185 w 270"/>
                    <a:gd name="T19" fmla="*/ 222 h 260"/>
                    <a:gd name="T20" fmla="*/ 185 w 270"/>
                    <a:gd name="T21" fmla="*/ 243 h 260"/>
                    <a:gd name="T22" fmla="*/ 161 w 270"/>
                    <a:gd name="T23" fmla="*/ 260 h 260"/>
                    <a:gd name="T24" fmla="*/ 168 w 270"/>
                    <a:gd name="T25" fmla="*/ 222 h 260"/>
                    <a:gd name="T26" fmla="*/ 130 w 270"/>
                    <a:gd name="T27" fmla="*/ 217 h 260"/>
                    <a:gd name="T28" fmla="*/ 109 w 270"/>
                    <a:gd name="T29" fmla="*/ 198 h 260"/>
                    <a:gd name="T30" fmla="*/ 85 w 270"/>
                    <a:gd name="T31" fmla="*/ 198 h 260"/>
                    <a:gd name="T32" fmla="*/ 69 w 270"/>
                    <a:gd name="T33" fmla="*/ 198 h 260"/>
                    <a:gd name="T34" fmla="*/ 59 w 270"/>
                    <a:gd name="T35" fmla="*/ 198 h 260"/>
                    <a:gd name="T36" fmla="*/ 0 w 270"/>
                    <a:gd name="T37" fmla="*/ 189 h 260"/>
                    <a:gd name="T38" fmla="*/ 31 w 270"/>
                    <a:gd name="T39" fmla="*/ 182 h 260"/>
                    <a:gd name="T40" fmla="*/ 55 w 270"/>
                    <a:gd name="T41" fmla="*/ 198 h 260"/>
                    <a:gd name="T42" fmla="*/ 38 w 270"/>
                    <a:gd name="T43" fmla="*/ 182 h 260"/>
                    <a:gd name="T44" fmla="*/ 22 w 270"/>
                    <a:gd name="T45" fmla="*/ 165 h 260"/>
                    <a:gd name="T46" fmla="*/ 31 w 270"/>
                    <a:gd name="T47" fmla="*/ 161 h 260"/>
                    <a:gd name="T48" fmla="*/ 38 w 270"/>
                    <a:gd name="T49" fmla="*/ 144 h 260"/>
                    <a:gd name="T50" fmla="*/ 85 w 270"/>
                    <a:gd name="T51" fmla="*/ 94 h 260"/>
                    <a:gd name="T52" fmla="*/ 168 w 270"/>
                    <a:gd name="T53" fmla="*/ 94 h 260"/>
                    <a:gd name="T54" fmla="*/ 156 w 270"/>
                    <a:gd name="T55" fmla="*/ 78 h 260"/>
                    <a:gd name="T56" fmla="*/ 161 w 270"/>
                    <a:gd name="T57" fmla="*/ 66 h 260"/>
                    <a:gd name="T58" fmla="*/ 140 w 270"/>
                    <a:gd name="T59" fmla="*/ 38 h 260"/>
                    <a:gd name="T60" fmla="*/ 123 w 270"/>
                    <a:gd name="T61" fmla="*/ 66 h 260"/>
                    <a:gd name="T62" fmla="*/ 114 w 270"/>
                    <a:gd name="T63" fmla="*/ 78 h 260"/>
                    <a:gd name="T64" fmla="*/ 114 w 270"/>
                    <a:gd name="T65" fmla="*/ 104 h 260"/>
                    <a:gd name="T66" fmla="*/ 93 w 270"/>
                    <a:gd name="T67" fmla="*/ 49 h 260"/>
                    <a:gd name="T68" fmla="*/ 114 w 270"/>
                    <a:gd name="T69" fmla="*/ 49 h 260"/>
                    <a:gd name="T70" fmla="*/ 178 w 270"/>
                    <a:gd name="T71" fmla="*/ 9 h 260"/>
                    <a:gd name="T72" fmla="*/ 270 w 270"/>
                    <a:gd name="T73" fmla="*/ 21 h 260"/>
                    <a:gd name="T74" fmla="*/ 270 w 270"/>
                    <a:gd name="T75" fmla="*/ 21 h 260"/>
                    <a:gd name="T76" fmla="*/ 93 w 270"/>
                    <a:gd name="T77" fmla="*/ 38 h 260"/>
                    <a:gd name="T78" fmla="*/ 109 w 270"/>
                    <a:gd name="T79" fmla="*/ 38 h 260"/>
                    <a:gd name="T80" fmla="*/ 93 w 270"/>
                    <a:gd name="T81" fmla="*/ 49 h 260"/>
                    <a:gd name="T82" fmla="*/ 114 w 270"/>
                    <a:gd name="T83" fmla="*/ 104 h 260"/>
                    <a:gd name="T84" fmla="*/ 130 w 270"/>
                    <a:gd name="T85" fmla="*/ 71 h 260"/>
                    <a:gd name="T86" fmla="*/ 123 w 270"/>
                    <a:gd name="T87" fmla="*/ 104 h 260"/>
                    <a:gd name="T88" fmla="*/ 114 w 270"/>
                    <a:gd name="T89" fmla="*/ 104 h 260"/>
                    <a:gd name="T90" fmla="*/ 114 w 270"/>
                    <a:gd name="T91" fmla="*/ 104 h 260"/>
                    <a:gd name="T92" fmla="*/ 140 w 270"/>
                    <a:gd name="T93" fmla="*/ 120 h 260"/>
                    <a:gd name="T94" fmla="*/ 156 w 270"/>
                    <a:gd name="T95" fmla="*/ 87 h 260"/>
                    <a:gd name="T96" fmla="*/ 168 w 270"/>
                    <a:gd name="T97" fmla="*/ 104 h 260"/>
                    <a:gd name="T98" fmla="*/ 156 w 270"/>
                    <a:gd name="T99" fmla="*/ 104 h 260"/>
                    <a:gd name="T100" fmla="*/ 59 w 270"/>
                    <a:gd name="T101" fmla="*/ 205 h 260"/>
                    <a:gd name="T102" fmla="*/ 17 w 270"/>
                    <a:gd name="T103" fmla="*/ 205 h 260"/>
                    <a:gd name="T104" fmla="*/ 0 w 270"/>
                    <a:gd name="T105" fmla="*/ 198 h 260"/>
                    <a:gd name="T106" fmla="*/ 59 w 270"/>
                    <a:gd name="T107" fmla="*/ 20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0" h="260">
                      <a:moveTo>
                        <a:pt x="161" y="0"/>
                      </a:moveTo>
                      <a:lnTo>
                        <a:pt x="156" y="0"/>
                      </a:lnTo>
                      <a:lnTo>
                        <a:pt x="178" y="0"/>
                      </a:lnTo>
                      <a:lnTo>
                        <a:pt x="161" y="0"/>
                      </a:lnTo>
                      <a:lnTo>
                        <a:pt x="161" y="0"/>
                      </a:lnTo>
                      <a:lnTo>
                        <a:pt x="161" y="0"/>
                      </a:lnTo>
                      <a:close/>
                      <a:moveTo>
                        <a:pt x="270" y="21"/>
                      </a:moveTo>
                      <a:lnTo>
                        <a:pt x="270" y="49"/>
                      </a:lnTo>
                      <a:lnTo>
                        <a:pt x="253" y="78"/>
                      </a:lnTo>
                      <a:lnTo>
                        <a:pt x="237" y="78"/>
                      </a:lnTo>
                      <a:lnTo>
                        <a:pt x="232" y="87"/>
                      </a:lnTo>
                      <a:lnTo>
                        <a:pt x="253" y="104"/>
                      </a:lnTo>
                      <a:lnTo>
                        <a:pt x="253" y="120"/>
                      </a:lnTo>
                      <a:lnTo>
                        <a:pt x="232" y="132"/>
                      </a:lnTo>
                      <a:lnTo>
                        <a:pt x="237" y="144"/>
                      </a:lnTo>
                      <a:lnTo>
                        <a:pt x="178" y="161"/>
                      </a:lnTo>
                      <a:lnTo>
                        <a:pt x="199" y="189"/>
                      </a:lnTo>
                      <a:lnTo>
                        <a:pt x="199" y="205"/>
                      </a:lnTo>
                      <a:lnTo>
                        <a:pt x="185" y="217"/>
                      </a:lnTo>
                      <a:lnTo>
                        <a:pt x="185" y="222"/>
                      </a:lnTo>
                      <a:lnTo>
                        <a:pt x="168" y="234"/>
                      </a:lnTo>
                      <a:lnTo>
                        <a:pt x="185" y="243"/>
                      </a:lnTo>
                      <a:lnTo>
                        <a:pt x="185" y="260"/>
                      </a:lnTo>
                      <a:lnTo>
                        <a:pt x="161" y="260"/>
                      </a:lnTo>
                      <a:lnTo>
                        <a:pt x="156" y="255"/>
                      </a:lnTo>
                      <a:lnTo>
                        <a:pt x="168" y="222"/>
                      </a:lnTo>
                      <a:lnTo>
                        <a:pt x="147" y="205"/>
                      </a:lnTo>
                      <a:lnTo>
                        <a:pt x="130" y="217"/>
                      </a:lnTo>
                      <a:lnTo>
                        <a:pt x="114" y="189"/>
                      </a:lnTo>
                      <a:lnTo>
                        <a:pt x="109" y="198"/>
                      </a:lnTo>
                      <a:lnTo>
                        <a:pt x="102" y="189"/>
                      </a:lnTo>
                      <a:lnTo>
                        <a:pt x="85" y="198"/>
                      </a:lnTo>
                      <a:lnTo>
                        <a:pt x="76" y="189"/>
                      </a:lnTo>
                      <a:lnTo>
                        <a:pt x="69" y="198"/>
                      </a:lnTo>
                      <a:lnTo>
                        <a:pt x="69" y="205"/>
                      </a:lnTo>
                      <a:lnTo>
                        <a:pt x="59" y="198"/>
                      </a:lnTo>
                      <a:lnTo>
                        <a:pt x="31" y="198"/>
                      </a:lnTo>
                      <a:lnTo>
                        <a:pt x="0" y="189"/>
                      </a:lnTo>
                      <a:lnTo>
                        <a:pt x="31" y="182"/>
                      </a:lnTo>
                      <a:lnTo>
                        <a:pt x="31" y="182"/>
                      </a:lnTo>
                      <a:lnTo>
                        <a:pt x="31" y="182"/>
                      </a:lnTo>
                      <a:lnTo>
                        <a:pt x="55" y="198"/>
                      </a:lnTo>
                      <a:lnTo>
                        <a:pt x="59" y="198"/>
                      </a:lnTo>
                      <a:lnTo>
                        <a:pt x="38" y="182"/>
                      </a:lnTo>
                      <a:lnTo>
                        <a:pt x="55" y="182"/>
                      </a:lnTo>
                      <a:lnTo>
                        <a:pt x="22" y="165"/>
                      </a:lnTo>
                      <a:lnTo>
                        <a:pt x="55" y="177"/>
                      </a:lnTo>
                      <a:lnTo>
                        <a:pt x="31" y="161"/>
                      </a:lnTo>
                      <a:lnTo>
                        <a:pt x="48" y="161"/>
                      </a:lnTo>
                      <a:lnTo>
                        <a:pt x="38" y="144"/>
                      </a:lnTo>
                      <a:lnTo>
                        <a:pt x="69" y="127"/>
                      </a:lnTo>
                      <a:lnTo>
                        <a:pt x="85" y="94"/>
                      </a:lnTo>
                      <a:lnTo>
                        <a:pt x="140" y="120"/>
                      </a:lnTo>
                      <a:lnTo>
                        <a:pt x="168" y="94"/>
                      </a:lnTo>
                      <a:lnTo>
                        <a:pt x="168" y="78"/>
                      </a:lnTo>
                      <a:lnTo>
                        <a:pt x="156" y="78"/>
                      </a:lnTo>
                      <a:lnTo>
                        <a:pt x="156" y="71"/>
                      </a:lnTo>
                      <a:lnTo>
                        <a:pt x="161" y="66"/>
                      </a:lnTo>
                      <a:lnTo>
                        <a:pt x="140" y="54"/>
                      </a:lnTo>
                      <a:lnTo>
                        <a:pt x="140" y="38"/>
                      </a:lnTo>
                      <a:lnTo>
                        <a:pt x="114" y="49"/>
                      </a:lnTo>
                      <a:lnTo>
                        <a:pt x="123" y="66"/>
                      </a:lnTo>
                      <a:lnTo>
                        <a:pt x="130" y="71"/>
                      </a:lnTo>
                      <a:lnTo>
                        <a:pt x="114" y="78"/>
                      </a:lnTo>
                      <a:lnTo>
                        <a:pt x="114" y="94"/>
                      </a:lnTo>
                      <a:lnTo>
                        <a:pt x="114" y="104"/>
                      </a:lnTo>
                      <a:lnTo>
                        <a:pt x="85" y="94"/>
                      </a:lnTo>
                      <a:lnTo>
                        <a:pt x="93" y="49"/>
                      </a:lnTo>
                      <a:lnTo>
                        <a:pt x="102" y="54"/>
                      </a:lnTo>
                      <a:lnTo>
                        <a:pt x="114" y="49"/>
                      </a:lnTo>
                      <a:lnTo>
                        <a:pt x="156" y="16"/>
                      </a:lnTo>
                      <a:lnTo>
                        <a:pt x="178" y="9"/>
                      </a:lnTo>
                      <a:lnTo>
                        <a:pt x="232" y="0"/>
                      </a:lnTo>
                      <a:lnTo>
                        <a:pt x="270" y="21"/>
                      </a:lnTo>
                      <a:lnTo>
                        <a:pt x="270" y="21"/>
                      </a:lnTo>
                      <a:lnTo>
                        <a:pt x="270" y="21"/>
                      </a:lnTo>
                      <a:close/>
                      <a:moveTo>
                        <a:pt x="93" y="49"/>
                      </a:moveTo>
                      <a:lnTo>
                        <a:pt x="93" y="38"/>
                      </a:lnTo>
                      <a:lnTo>
                        <a:pt x="102" y="21"/>
                      </a:lnTo>
                      <a:lnTo>
                        <a:pt x="109" y="38"/>
                      </a:lnTo>
                      <a:lnTo>
                        <a:pt x="93" y="49"/>
                      </a:lnTo>
                      <a:lnTo>
                        <a:pt x="93" y="49"/>
                      </a:lnTo>
                      <a:lnTo>
                        <a:pt x="93" y="49"/>
                      </a:lnTo>
                      <a:close/>
                      <a:moveTo>
                        <a:pt x="114" y="104"/>
                      </a:moveTo>
                      <a:lnTo>
                        <a:pt x="114" y="78"/>
                      </a:lnTo>
                      <a:lnTo>
                        <a:pt x="130" y="71"/>
                      </a:lnTo>
                      <a:lnTo>
                        <a:pt x="147" y="87"/>
                      </a:lnTo>
                      <a:lnTo>
                        <a:pt x="123" y="104"/>
                      </a:lnTo>
                      <a:lnTo>
                        <a:pt x="114" y="104"/>
                      </a:lnTo>
                      <a:lnTo>
                        <a:pt x="114" y="104"/>
                      </a:lnTo>
                      <a:lnTo>
                        <a:pt x="114" y="104"/>
                      </a:lnTo>
                      <a:lnTo>
                        <a:pt x="114" y="104"/>
                      </a:lnTo>
                      <a:close/>
                      <a:moveTo>
                        <a:pt x="156" y="104"/>
                      </a:moveTo>
                      <a:lnTo>
                        <a:pt x="140" y="120"/>
                      </a:lnTo>
                      <a:lnTo>
                        <a:pt x="123" y="104"/>
                      </a:lnTo>
                      <a:lnTo>
                        <a:pt x="156" y="87"/>
                      </a:lnTo>
                      <a:lnTo>
                        <a:pt x="168" y="87"/>
                      </a:lnTo>
                      <a:lnTo>
                        <a:pt x="168" y="104"/>
                      </a:lnTo>
                      <a:lnTo>
                        <a:pt x="156" y="104"/>
                      </a:lnTo>
                      <a:lnTo>
                        <a:pt x="156" y="104"/>
                      </a:lnTo>
                      <a:lnTo>
                        <a:pt x="156" y="104"/>
                      </a:lnTo>
                      <a:close/>
                      <a:moveTo>
                        <a:pt x="59" y="205"/>
                      </a:moveTo>
                      <a:lnTo>
                        <a:pt x="31" y="217"/>
                      </a:lnTo>
                      <a:lnTo>
                        <a:pt x="17" y="205"/>
                      </a:lnTo>
                      <a:lnTo>
                        <a:pt x="0" y="217"/>
                      </a:lnTo>
                      <a:lnTo>
                        <a:pt x="0" y="198"/>
                      </a:lnTo>
                      <a:lnTo>
                        <a:pt x="59" y="205"/>
                      </a:lnTo>
                      <a:lnTo>
                        <a:pt x="59" y="205"/>
                      </a:lnTo>
                      <a:lnTo>
                        <a:pt x="59" y="20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5" name="Freeform 523">
                  <a:extLst>
                    <a:ext uri="{FF2B5EF4-FFF2-40B4-BE49-F238E27FC236}">
                      <a16:creationId xmlns:a16="http://schemas.microsoft.com/office/drawing/2014/main" id="{CFC48F2F-4580-40B9-A5BB-70314BEE0D12}"/>
                    </a:ext>
                  </a:extLst>
                </p:cNvPr>
                <p:cNvSpPr>
                  <a:spLocks noEditPoints="1"/>
                </p:cNvSpPr>
                <p:nvPr/>
              </p:nvSpPr>
              <p:spPr bwMode="gray">
                <a:xfrm>
                  <a:off x="6866204" y="1486484"/>
                  <a:ext cx="758296" cy="631983"/>
                </a:xfrm>
                <a:custGeom>
                  <a:avLst/>
                  <a:gdLst>
                    <a:gd name="T0" fmla="*/ 1713 w 1842"/>
                    <a:gd name="T1" fmla="*/ 238 h 1535"/>
                    <a:gd name="T2" fmla="*/ 1285 w 1842"/>
                    <a:gd name="T3" fmla="*/ 326 h 1535"/>
                    <a:gd name="T4" fmla="*/ 919 w 1842"/>
                    <a:gd name="T5" fmla="*/ 411 h 1535"/>
                    <a:gd name="T6" fmla="*/ 546 w 1842"/>
                    <a:gd name="T7" fmla="*/ 886 h 1535"/>
                    <a:gd name="T8" fmla="*/ 470 w 1842"/>
                    <a:gd name="T9" fmla="*/ 1441 h 1535"/>
                    <a:gd name="T10" fmla="*/ 399 w 1842"/>
                    <a:gd name="T11" fmla="*/ 1403 h 1535"/>
                    <a:gd name="T12" fmla="*/ 92 w 1842"/>
                    <a:gd name="T13" fmla="*/ 1453 h 1535"/>
                    <a:gd name="T14" fmla="*/ 54 w 1842"/>
                    <a:gd name="T15" fmla="*/ 1386 h 1535"/>
                    <a:gd name="T16" fmla="*/ 163 w 1842"/>
                    <a:gd name="T17" fmla="*/ 1268 h 1535"/>
                    <a:gd name="T18" fmla="*/ 54 w 1842"/>
                    <a:gd name="T19" fmla="*/ 1242 h 1535"/>
                    <a:gd name="T20" fmla="*/ 189 w 1842"/>
                    <a:gd name="T21" fmla="*/ 1164 h 1535"/>
                    <a:gd name="T22" fmla="*/ 21 w 1842"/>
                    <a:gd name="T23" fmla="*/ 1148 h 1535"/>
                    <a:gd name="T24" fmla="*/ 97 w 1842"/>
                    <a:gd name="T25" fmla="*/ 1058 h 1535"/>
                    <a:gd name="T26" fmla="*/ 206 w 1842"/>
                    <a:gd name="T27" fmla="*/ 1049 h 1535"/>
                    <a:gd name="T28" fmla="*/ 227 w 1842"/>
                    <a:gd name="T29" fmla="*/ 980 h 1535"/>
                    <a:gd name="T30" fmla="*/ 361 w 1842"/>
                    <a:gd name="T31" fmla="*/ 947 h 1535"/>
                    <a:gd name="T32" fmla="*/ 352 w 1842"/>
                    <a:gd name="T33" fmla="*/ 938 h 1535"/>
                    <a:gd name="T34" fmla="*/ 470 w 1842"/>
                    <a:gd name="T35" fmla="*/ 815 h 1535"/>
                    <a:gd name="T36" fmla="*/ 541 w 1842"/>
                    <a:gd name="T37" fmla="*/ 720 h 1535"/>
                    <a:gd name="T38" fmla="*/ 567 w 1842"/>
                    <a:gd name="T39" fmla="*/ 626 h 1535"/>
                    <a:gd name="T40" fmla="*/ 659 w 1842"/>
                    <a:gd name="T41" fmla="*/ 503 h 1535"/>
                    <a:gd name="T42" fmla="*/ 692 w 1842"/>
                    <a:gd name="T43" fmla="*/ 465 h 1535"/>
                    <a:gd name="T44" fmla="*/ 702 w 1842"/>
                    <a:gd name="T45" fmla="*/ 420 h 1535"/>
                    <a:gd name="T46" fmla="*/ 801 w 1842"/>
                    <a:gd name="T47" fmla="*/ 387 h 1535"/>
                    <a:gd name="T48" fmla="*/ 848 w 1842"/>
                    <a:gd name="T49" fmla="*/ 338 h 1535"/>
                    <a:gd name="T50" fmla="*/ 994 w 1842"/>
                    <a:gd name="T51" fmla="*/ 243 h 1535"/>
                    <a:gd name="T52" fmla="*/ 1049 w 1842"/>
                    <a:gd name="T53" fmla="*/ 189 h 1535"/>
                    <a:gd name="T54" fmla="*/ 1172 w 1842"/>
                    <a:gd name="T55" fmla="*/ 111 h 1535"/>
                    <a:gd name="T56" fmla="*/ 1318 w 1842"/>
                    <a:gd name="T57" fmla="*/ 94 h 1535"/>
                    <a:gd name="T58" fmla="*/ 1431 w 1842"/>
                    <a:gd name="T59" fmla="*/ 104 h 1535"/>
                    <a:gd name="T60" fmla="*/ 1557 w 1842"/>
                    <a:gd name="T61" fmla="*/ 71 h 1535"/>
                    <a:gd name="T62" fmla="*/ 1625 w 1842"/>
                    <a:gd name="T63" fmla="*/ 94 h 1535"/>
                    <a:gd name="T64" fmla="*/ 1826 w 1842"/>
                    <a:gd name="T65" fmla="*/ 94 h 1535"/>
                    <a:gd name="T66" fmla="*/ 1798 w 1842"/>
                    <a:gd name="T67" fmla="*/ 189 h 1535"/>
                    <a:gd name="T68" fmla="*/ 1205 w 1842"/>
                    <a:gd name="T69" fmla="*/ 61 h 1535"/>
                    <a:gd name="T70" fmla="*/ 1351 w 1842"/>
                    <a:gd name="T71" fmla="*/ 71 h 1535"/>
                    <a:gd name="T72" fmla="*/ 1188 w 1842"/>
                    <a:gd name="T73" fmla="*/ 116 h 1535"/>
                    <a:gd name="T74" fmla="*/ 999 w 1842"/>
                    <a:gd name="T75" fmla="*/ 132 h 1535"/>
                    <a:gd name="T76" fmla="*/ 1124 w 1842"/>
                    <a:gd name="T77" fmla="*/ 132 h 1535"/>
                    <a:gd name="T78" fmla="*/ 1124 w 1842"/>
                    <a:gd name="T79" fmla="*/ 160 h 1535"/>
                    <a:gd name="T80" fmla="*/ 1750 w 1842"/>
                    <a:gd name="T81" fmla="*/ 182 h 1535"/>
                    <a:gd name="T82" fmla="*/ 940 w 1842"/>
                    <a:gd name="T83" fmla="*/ 198 h 1535"/>
                    <a:gd name="T84" fmla="*/ 919 w 1842"/>
                    <a:gd name="T85" fmla="*/ 238 h 1535"/>
                    <a:gd name="T86" fmla="*/ 876 w 1842"/>
                    <a:gd name="T87" fmla="*/ 276 h 1535"/>
                    <a:gd name="T88" fmla="*/ 676 w 1842"/>
                    <a:gd name="T89" fmla="*/ 326 h 1535"/>
                    <a:gd name="T90" fmla="*/ 768 w 1842"/>
                    <a:gd name="T91" fmla="*/ 349 h 1535"/>
                    <a:gd name="T92" fmla="*/ 709 w 1842"/>
                    <a:gd name="T93" fmla="*/ 293 h 1535"/>
                    <a:gd name="T94" fmla="*/ 794 w 1842"/>
                    <a:gd name="T95" fmla="*/ 354 h 1535"/>
                    <a:gd name="T96" fmla="*/ 654 w 1842"/>
                    <a:gd name="T97" fmla="*/ 371 h 1535"/>
                    <a:gd name="T98" fmla="*/ 583 w 1842"/>
                    <a:gd name="T99" fmla="*/ 404 h 1535"/>
                    <a:gd name="T100" fmla="*/ 725 w 1842"/>
                    <a:gd name="T101" fmla="*/ 411 h 1535"/>
                    <a:gd name="T102" fmla="*/ 529 w 1842"/>
                    <a:gd name="T103" fmla="*/ 666 h 1535"/>
                    <a:gd name="T104" fmla="*/ 498 w 1842"/>
                    <a:gd name="T105" fmla="*/ 753 h 1535"/>
                    <a:gd name="T106" fmla="*/ 454 w 1842"/>
                    <a:gd name="T107" fmla="*/ 810 h 1535"/>
                    <a:gd name="T108" fmla="*/ 255 w 1842"/>
                    <a:gd name="T109" fmla="*/ 942 h 1535"/>
                    <a:gd name="T110" fmla="*/ 260 w 1842"/>
                    <a:gd name="T111" fmla="*/ 959 h 1535"/>
                    <a:gd name="T112" fmla="*/ 239 w 1842"/>
                    <a:gd name="T113" fmla="*/ 975 h 1535"/>
                    <a:gd name="T114" fmla="*/ 135 w 1842"/>
                    <a:gd name="T115" fmla="*/ 1020 h 1535"/>
                    <a:gd name="T116" fmla="*/ 66 w 1842"/>
                    <a:gd name="T117" fmla="*/ 1075 h 1535"/>
                    <a:gd name="T118" fmla="*/ 7 w 1842"/>
                    <a:gd name="T119" fmla="*/ 1131 h 1535"/>
                    <a:gd name="T120" fmla="*/ 21 w 1842"/>
                    <a:gd name="T121" fmla="*/ 1280 h 1535"/>
                    <a:gd name="T122" fmla="*/ 28 w 1842"/>
                    <a:gd name="T123" fmla="*/ 1325 h 1535"/>
                    <a:gd name="T124" fmla="*/ 38 w 1842"/>
                    <a:gd name="T125" fmla="*/ 1353 h 1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42" h="1535">
                      <a:moveTo>
                        <a:pt x="1457" y="33"/>
                      </a:moveTo>
                      <a:lnTo>
                        <a:pt x="1443" y="21"/>
                      </a:lnTo>
                      <a:lnTo>
                        <a:pt x="1448" y="16"/>
                      </a:lnTo>
                      <a:lnTo>
                        <a:pt x="1431" y="16"/>
                      </a:lnTo>
                      <a:lnTo>
                        <a:pt x="1465" y="0"/>
                      </a:lnTo>
                      <a:lnTo>
                        <a:pt x="1486" y="5"/>
                      </a:lnTo>
                      <a:lnTo>
                        <a:pt x="1481" y="21"/>
                      </a:lnTo>
                      <a:lnTo>
                        <a:pt x="1495" y="16"/>
                      </a:lnTo>
                      <a:lnTo>
                        <a:pt x="1457" y="33"/>
                      </a:lnTo>
                      <a:lnTo>
                        <a:pt x="1457" y="33"/>
                      </a:lnTo>
                      <a:lnTo>
                        <a:pt x="1457" y="33"/>
                      </a:lnTo>
                      <a:close/>
                      <a:moveTo>
                        <a:pt x="1826" y="172"/>
                      </a:moveTo>
                      <a:lnTo>
                        <a:pt x="1826" y="189"/>
                      </a:lnTo>
                      <a:lnTo>
                        <a:pt x="1826" y="205"/>
                      </a:lnTo>
                      <a:lnTo>
                        <a:pt x="1805" y="205"/>
                      </a:lnTo>
                      <a:lnTo>
                        <a:pt x="1772" y="198"/>
                      </a:lnTo>
                      <a:lnTo>
                        <a:pt x="1772" y="205"/>
                      </a:lnTo>
                      <a:lnTo>
                        <a:pt x="1772" y="215"/>
                      </a:lnTo>
                      <a:lnTo>
                        <a:pt x="1713" y="238"/>
                      </a:lnTo>
                      <a:lnTo>
                        <a:pt x="1713" y="260"/>
                      </a:lnTo>
                      <a:lnTo>
                        <a:pt x="1691" y="272"/>
                      </a:lnTo>
                      <a:lnTo>
                        <a:pt x="1680" y="260"/>
                      </a:lnTo>
                      <a:lnTo>
                        <a:pt x="1680" y="243"/>
                      </a:lnTo>
                      <a:lnTo>
                        <a:pt x="1713" y="215"/>
                      </a:lnTo>
                      <a:lnTo>
                        <a:pt x="1701" y="189"/>
                      </a:lnTo>
                      <a:lnTo>
                        <a:pt x="1646" y="172"/>
                      </a:lnTo>
                      <a:lnTo>
                        <a:pt x="1620" y="144"/>
                      </a:lnTo>
                      <a:lnTo>
                        <a:pt x="1557" y="165"/>
                      </a:lnTo>
                      <a:lnTo>
                        <a:pt x="1519" y="160"/>
                      </a:lnTo>
                      <a:lnTo>
                        <a:pt x="1481" y="189"/>
                      </a:lnTo>
                      <a:lnTo>
                        <a:pt x="1465" y="243"/>
                      </a:lnTo>
                      <a:lnTo>
                        <a:pt x="1465" y="276"/>
                      </a:lnTo>
                      <a:lnTo>
                        <a:pt x="1457" y="293"/>
                      </a:lnTo>
                      <a:lnTo>
                        <a:pt x="1427" y="300"/>
                      </a:lnTo>
                      <a:lnTo>
                        <a:pt x="1420" y="326"/>
                      </a:lnTo>
                      <a:lnTo>
                        <a:pt x="1410" y="333"/>
                      </a:lnTo>
                      <a:lnTo>
                        <a:pt x="1339" y="300"/>
                      </a:lnTo>
                      <a:lnTo>
                        <a:pt x="1285" y="326"/>
                      </a:lnTo>
                      <a:lnTo>
                        <a:pt x="1231" y="316"/>
                      </a:lnTo>
                      <a:lnTo>
                        <a:pt x="1226" y="300"/>
                      </a:lnTo>
                      <a:lnTo>
                        <a:pt x="1179" y="243"/>
                      </a:lnTo>
                      <a:lnTo>
                        <a:pt x="1155" y="238"/>
                      </a:lnTo>
                      <a:lnTo>
                        <a:pt x="1134" y="255"/>
                      </a:lnTo>
                      <a:lnTo>
                        <a:pt x="1141" y="260"/>
                      </a:lnTo>
                      <a:lnTo>
                        <a:pt x="1134" y="276"/>
                      </a:lnTo>
                      <a:lnTo>
                        <a:pt x="1103" y="272"/>
                      </a:lnTo>
                      <a:lnTo>
                        <a:pt x="1070" y="272"/>
                      </a:lnTo>
                      <a:lnTo>
                        <a:pt x="1087" y="283"/>
                      </a:lnTo>
                      <a:lnTo>
                        <a:pt x="1087" y="300"/>
                      </a:lnTo>
                      <a:lnTo>
                        <a:pt x="1054" y="333"/>
                      </a:lnTo>
                      <a:lnTo>
                        <a:pt x="1080" y="338"/>
                      </a:lnTo>
                      <a:lnTo>
                        <a:pt x="1054" y="366"/>
                      </a:lnTo>
                      <a:lnTo>
                        <a:pt x="983" y="338"/>
                      </a:lnTo>
                      <a:lnTo>
                        <a:pt x="924" y="338"/>
                      </a:lnTo>
                      <a:lnTo>
                        <a:pt x="924" y="349"/>
                      </a:lnTo>
                      <a:lnTo>
                        <a:pt x="928" y="383"/>
                      </a:lnTo>
                      <a:lnTo>
                        <a:pt x="919" y="411"/>
                      </a:lnTo>
                      <a:lnTo>
                        <a:pt x="869" y="387"/>
                      </a:lnTo>
                      <a:lnTo>
                        <a:pt x="831" y="411"/>
                      </a:lnTo>
                      <a:lnTo>
                        <a:pt x="815" y="449"/>
                      </a:lnTo>
                      <a:lnTo>
                        <a:pt x="784" y="477"/>
                      </a:lnTo>
                      <a:lnTo>
                        <a:pt x="810" y="498"/>
                      </a:lnTo>
                      <a:lnTo>
                        <a:pt x="810" y="522"/>
                      </a:lnTo>
                      <a:lnTo>
                        <a:pt x="739" y="588"/>
                      </a:lnTo>
                      <a:lnTo>
                        <a:pt x="746" y="609"/>
                      </a:lnTo>
                      <a:lnTo>
                        <a:pt x="713" y="626"/>
                      </a:lnTo>
                      <a:lnTo>
                        <a:pt x="676" y="631"/>
                      </a:lnTo>
                      <a:lnTo>
                        <a:pt x="687" y="666"/>
                      </a:lnTo>
                      <a:lnTo>
                        <a:pt x="676" y="699"/>
                      </a:lnTo>
                      <a:lnTo>
                        <a:pt x="676" y="725"/>
                      </a:lnTo>
                      <a:lnTo>
                        <a:pt x="617" y="815"/>
                      </a:lnTo>
                      <a:lnTo>
                        <a:pt x="650" y="827"/>
                      </a:lnTo>
                      <a:lnTo>
                        <a:pt x="654" y="853"/>
                      </a:lnTo>
                      <a:lnTo>
                        <a:pt x="638" y="881"/>
                      </a:lnTo>
                      <a:lnTo>
                        <a:pt x="567" y="869"/>
                      </a:lnTo>
                      <a:lnTo>
                        <a:pt x="546" y="886"/>
                      </a:lnTo>
                      <a:lnTo>
                        <a:pt x="508" y="926"/>
                      </a:lnTo>
                      <a:lnTo>
                        <a:pt x="513" y="938"/>
                      </a:lnTo>
                      <a:lnTo>
                        <a:pt x="498" y="964"/>
                      </a:lnTo>
                      <a:lnTo>
                        <a:pt x="513" y="992"/>
                      </a:lnTo>
                      <a:lnTo>
                        <a:pt x="498" y="1004"/>
                      </a:lnTo>
                      <a:lnTo>
                        <a:pt x="508" y="1037"/>
                      </a:lnTo>
                      <a:lnTo>
                        <a:pt x="524" y="1075"/>
                      </a:lnTo>
                      <a:lnTo>
                        <a:pt x="508" y="1131"/>
                      </a:lnTo>
                      <a:lnTo>
                        <a:pt x="562" y="1181"/>
                      </a:lnTo>
                      <a:lnTo>
                        <a:pt x="546" y="1214"/>
                      </a:lnTo>
                      <a:lnTo>
                        <a:pt x="513" y="1214"/>
                      </a:lnTo>
                      <a:lnTo>
                        <a:pt x="546" y="1275"/>
                      </a:lnTo>
                      <a:lnTo>
                        <a:pt x="529" y="1313"/>
                      </a:lnTo>
                      <a:lnTo>
                        <a:pt x="508" y="1337"/>
                      </a:lnTo>
                      <a:lnTo>
                        <a:pt x="487" y="1337"/>
                      </a:lnTo>
                      <a:lnTo>
                        <a:pt x="491" y="1353"/>
                      </a:lnTo>
                      <a:lnTo>
                        <a:pt x="475" y="1370"/>
                      </a:lnTo>
                      <a:lnTo>
                        <a:pt x="487" y="1403"/>
                      </a:lnTo>
                      <a:lnTo>
                        <a:pt x="470" y="1441"/>
                      </a:lnTo>
                      <a:lnTo>
                        <a:pt x="461" y="1441"/>
                      </a:lnTo>
                      <a:lnTo>
                        <a:pt x="461" y="1436"/>
                      </a:lnTo>
                      <a:lnTo>
                        <a:pt x="454" y="1420"/>
                      </a:lnTo>
                      <a:lnTo>
                        <a:pt x="416" y="1408"/>
                      </a:lnTo>
                      <a:lnTo>
                        <a:pt x="399" y="1353"/>
                      </a:lnTo>
                      <a:lnTo>
                        <a:pt x="406" y="1337"/>
                      </a:lnTo>
                      <a:lnTo>
                        <a:pt x="416" y="1346"/>
                      </a:lnTo>
                      <a:lnTo>
                        <a:pt x="406" y="1330"/>
                      </a:lnTo>
                      <a:lnTo>
                        <a:pt x="390" y="1337"/>
                      </a:lnTo>
                      <a:lnTo>
                        <a:pt x="399" y="1370"/>
                      </a:lnTo>
                      <a:lnTo>
                        <a:pt x="399" y="1379"/>
                      </a:lnTo>
                      <a:lnTo>
                        <a:pt x="390" y="1379"/>
                      </a:lnTo>
                      <a:lnTo>
                        <a:pt x="385" y="1353"/>
                      </a:lnTo>
                      <a:lnTo>
                        <a:pt x="378" y="1353"/>
                      </a:lnTo>
                      <a:lnTo>
                        <a:pt x="390" y="1370"/>
                      </a:lnTo>
                      <a:lnTo>
                        <a:pt x="385" y="1379"/>
                      </a:lnTo>
                      <a:lnTo>
                        <a:pt x="378" y="1370"/>
                      </a:lnTo>
                      <a:lnTo>
                        <a:pt x="390" y="1386"/>
                      </a:lnTo>
                      <a:lnTo>
                        <a:pt x="399" y="1403"/>
                      </a:lnTo>
                      <a:lnTo>
                        <a:pt x="385" y="1403"/>
                      </a:lnTo>
                      <a:lnTo>
                        <a:pt x="378" y="1424"/>
                      </a:lnTo>
                      <a:lnTo>
                        <a:pt x="352" y="1436"/>
                      </a:lnTo>
                      <a:lnTo>
                        <a:pt x="331" y="1420"/>
                      </a:lnTo>
                      <a:lnTo>
                        <a:pt x="335" y="1436"/>
                      </a:lnTo>
                      <a:lnTo>
                        <a:pt x="255" y="1507"/>
                      </a:lnTo>
                      <a:lnTo>
                        <a:pt x="239" y="1514"/>
                      </a:lnTo>
                      <a:lnTo>
                        <a:pt x="239" y="1519"/>
                      </a:lnTo>
                      <a:lnTo>
                        <a:pt x="151" y="1535"/>
                      </a:lnTo>
                      <a:lnTo>
                        <a:pt x="135" y="1531"/>
                      </a:lnTo>
                      <a:lnTo>
                        <a:pt x="120" y="1531"/>
                      </a:lnTo>
                      <a:lnTo>
                        <a:pt x="130" y="1514"/>
                      </a:lnTo>
                      <a:lnTo>
                        <a:pt x="109" y="1507"/>
                      </a:lnTo>
                      <a:lnTo>
                        <a:pt x="83" y="1497"/>
                      </a:lnTo>
                      <a:lnTo>
                        <a:pt x="76" y="1490"/>
                      </a:lnTo>
                      <a:lnTo>
                        <a:pt x="59" y="1490"/>
                      </a:lnTo>
                      <a:lnTo>
                        <a:pt x="45" y="1457"/>
                      </a:lnTo>
                      <a:lnTo>
                        <a:pt x="45" y="1424"/>
                      </a:lnTo>
                      <a:lnTo>
                        <a:pt x="92" y="1453"/>
                      </a:lnTo>
                      <a:lnTo>
                        <a:pt x="97" y="1453"/>
                      </a:lnTo>
                      <a:lnTo>
                        <a:pt x="83" y="1441"/>
                      </a:lnTo>
                      <a:lnTo>
                        <a:pt x="92" y="1436"/>
                      </a:lnTo>
                      <a:lnTo>
                        <a:pt x="120" y="1424"/>
                      </a:lnTo>
                      <a:lnTo>
                        <a:pt x="92" y="1436"/>
                      </a:lnTo>
                      <a:lnTo>
                        <a:pt x="83" y="1441"/>
                      </a:lnTo>
                      <a:lnTo>
                        <a:pt x="66" y="1424"/>
                      </a:lnTo>
                      <a:lnTo>
                        <a:pt x="92" y="1403"/>
                      </a:lnTo>
                      <a:lnTo>
                        <a:pt x="113" y="1391"/>
                      </a:lnTo>
                      <a:lnTo>
                        <a:pt x="92" y="1403"/>
                      </a:lnTo>
                      <a:lnTo>
                        <a:pt x="76" y="1391"/>
                      </a:lnTo>
                      <a:lnTo>
                        <a:pt x="97" y="1379"/>
                      </a:lnTo>
                      <a:lnTo>
                        <a:pt x="113" y="1370"/>
                      </a:lnTo>
                      <a:lnTo>
                        <a:pt x="97" y="1370"/>
                      </a:lnTo>
                      <a:lnTo>
                        <a:pt x="76" y="1391"/>
                      </a:lnTo>
                      <a:lnTo>
                        <a:pt x="76" y="1386"/>
                      </a:lnTo>
                      <a:lnTo>
                        <a:pt x="92" y="1379"/>
                      </a:lnTo>
                      <a:lnTo>
                        <a:pt x="66" y="1379"/>
                      </a:lnTo>
                      <a:lnTo>
                        <a:pt x="54" y="1386"/>
                      </a:lnTo>
                      <a:lnTo>
                        <a:pt x="66" y="1386"/>
                      </a:lnTo>
                      <a:lnTo>
                        <a:pt x="66" y="1391"/>
                      </a:lnTo>
                      <a:lnTo>
                        <a:pt x="59" y="1403"/>
                      </a:lnTo>
                      <a:lnTo>
                        <a:pt x="54" y="1391"/>
                      </a:lnTo>
                      <a:lnTo>
                        <a:pt x="45" y="1403"/>
                      </a:lnTo>
                      <a:lnTo>
                        <a:pt x="28" y="1391"/>
                      </a:lnTo>
                      <a:lnTo>
                        <a:pt x="21" y="1379"/>
                      </a:lnTo>
                      <a:lnTo>
                        <a:pt x="45" y="1353"/>
                      </a:lnTo>
                      <a:lnTo>
                        <a:pt x="45" y="1379"/>
                      </a:lnTo>
                      <a:lnTo>
                        <a:pt x="54" y="1363"/>
                      </a:lnTo>
                      <a:lnTo>
                        <a:pt x="97" y="1337"/>
                      </a:lnTo>
                      <a:lnTo>
                        <a:pt x="76" y="1353"/>
                      </a:lnTo>
                      <a:lnTo>
                        <a:pt x="59" y="1337"/>
                      </a:lnTo>
                      <a:lnTo>
                        <a:pt x="76" y="1330"/>
                      </a:lnTo>
                      <a:lnTo>
                        <a:pt x="92" y="1292"/>
                      </a:lnTo>
                      <a:lnTo>
                        <a:pt x="120" y="1280"/>
                      </a:lnTo>
                      <a:lnTo>
                        <a:pt x="113" y="1313"/>
                      </a:lnTo>
                      <a:lnTo>
                        <a:pt x="120" y="1280"/>
                      </a:lnTo>
                      <a:lnTo>
                        <a:pt x="163" y="1268"/>
                      </a:lnTo>
                      <a:lnTo>
                        <a:pt x="146" y="1268"/>
                      </a:lnTo>
                      <a:lnTo>
                        <a:pt x="151" y="1259"/>
                      </a:lnTo>
                      <a:lnTo>
                        <a:pt x="130" y="1275"/>
                      </a:lnTo>
                      <a:lnTo>
                        <a:pt x="97" y="1280"/>
                      </a:lnTo>
                      <a:lnTo>
                        <a:pt x="92" y="1297"/>
                      </a:lnTo>
                      <a:lnTo>
                        <a:pt x="76" y="1297"/>
                      </a:lnTo>
                      <a:lnTo>
                        <a:pt x="66" y="1325"/>
                      </a:lnTo>
                      <a:lnTo>
                        <a:pt x="59" y="1325"/>
                      </a:lnTo>
                      <a:lnTo>
                        <a:pt x="54" y="1308"/>
                      </a:lnTo>
                      <a:lnTo>
                        <a:pt x="45" y="1308"/>
                      </a:lnTo>
                      <a:lnTo>
                        <a:pt x="59" y="1280"/>
                      </a:lnTo>
                      <a:lnTo>
                        <a:pt x="38" y="1308"/>
                      </a:lnTo>
                      <a:lnTo>
                        <a:pt x="21" y="1297"/>
                      </a:lnTo>
                      <a:lnTo>
                        <a:pt x="28" y="1297"/>
                      </a:lnTo>
                      <a:lnTo>
                        <a:pt x="21" y="1292"/>
                      </a:lnTo>
                      <a:lnTo>
                        <a:pt x="28" y="1268"/>
                      </a:lnTo>
                      <a:lnTo>
                        <a:pt x="54" y="1280"/>
                      </a:lnTo>
                      <a:lnTo>
                        <a:pt x="59" y="1252"/>
                      </a:lnTo>
                      <a:lnTo>
                        <a:pt x="54" y="1242"/>
                      </a:lnTo>
                      <a:lnTo>
                        <a:pt x="28" y="1268"/>
                      </a:lnTo>
                      <a:lnTo>
                        <a:pt x="12" y="1252"/>
                      </a:lnTo>
                      <a:lnTo>
                        <a:pt x="28" y="1259"/>
                      </a:lnTo>
                      <a:lnTo>
                        <a:pt x="21" y="1242"/>
                      </a:lnTo>
                      <a:lnTo>
                        <a:pt x="7" y="1235"/>
                      </a:lnTo>
                      <a:lnTo>
                        <a:pt x="38" y="1259"/>
                      </a:lnTo>
                      <a:lnTo>
                        <a:pt x="28" y="1242"/>
                      </a:lnTo>
                      <a:lnTo>
                        <a:pt x="45" y="1226"/>
                      </a:lnTo>
                      <a:lnTo>
                        <a:pt x="12" y="1235"/>
                      </a:lnTo>
                      <a:lnTo>
                        <a:pt x="12" y="1214"/>
                      </a:lnTo>
                      <a:lnTo>
                        <a:pt x="76" y="1202"/>
                      </a:lnTo>
                      <a:lnTo>
                        <a:pt x="109" y="1214"/>
                      </a:lnTo>
                      <a:lnTo>
                        <a:pt x="135" y="1202"/>
                      </a:lnTo>
                      <a:lnTo>
                        <a:pt x="163" y="1226"/>
                      </a:lnTo>
                      <a:lnTo>
                        <a:pt x="163" y="1219"/>
                      </a:lnTo>
                      <a:lnTo>
                        <a:pt x="151" y="1202"/>
                      </a:lnTo>
                      <a:lnTo>
                        <a:pt x="184" y="1197"/>
                      </a:lnTo>
                      <a:lnTo>
                        <a:pt x="168" y="1181"/>
                      </a:lnTo>
                      <a:lnTo>
                        <a:pt x="189" y="1164"/>
                      </a:lnTo>
                      <a:lnTo>
                        <a:pt x="168" y="1181"/>
                      </a:lnTo>
                      <a:lnTo>
                        <a:pt x="172" y="1197"/>
                      </a:lnTo>
                      <a:lnTo>
                        <a:pt x="146" y="1202"/>
                      </a:lnTo>
                      <a:lnTo>
                        <a:pt x="120" y="1186"/>
                      </a:lnTo>
                      <a:lnTo>
                        <a:pt x="130" y="1169"/>
                      </a:lnTo>
                      <a:lnTo>
                        <a:pt x="109" y="1202"/>
                      </a:lnTo>
                      <a:lnTo>
                        <a:pt x="59" y="1197"/>
                      </a:lnTo>
                      <a:lnTo>
                        <a:pt x="38" y="1214"/>
                      </a:lnTo>
                      <a:lnTo>
                        <a:pt x="12" y="1197"/>
                      </a:lnTo>
                      <a:lnTo>
                        <a:pt x="28" y="1197"/>
                      </a:lnTo>
                      <a:lnTo>
                        <a:pt x="7" y="1186"/>
                      </a:lnTo>
                      <a:lnTo>
                        <a:pt x="54" y="1181"/>
                      </a:lnTo>
                      <a:lnTo>
                        <a:pt x="12" y="1181"/>
                      </a:lnTo>
                      <a:lnTo>
                        <a:pt x="7" y="1169"/>
                      </a:lnTo>
                      <a:lnTo>
                        <a:pt x="66" y="1164"/>
                      </a:lnTo>
                      <a:lnTo>
                        <a:pt x="21" y="1164"/>
                      </a:lnTo>
                      <a:lnTo>
                        <a:pt x="21" y="1160"/>
                      </a:lnTo>
                      <a:lnTo>
                        <a:pt x="28" y="1160"/>
                      </a:lnTo>
                      <a:lnTo>
                        <a:pt x="21" y="1148"/>
                      </a:lnTo>
                      <a:lnTo>
                        <a:pt x="38" y="1148"/>
                      </a:lnTo>
                      <a:lnTo>
                        <a:pt x="7" y="1141"/>
                      </a:lnTo>
                      <a:lnTo>
                        <a:pt x="38" y="1115"/>
                      </a:lnTo>
                      <a:lnTo>
                        <a:pt x="113" y="1124"/>
                      </a:lnTo>
                      <a:lnTo>
                        <a:pt x="130" y="1115"/>
                      </a:lnTo>
                      <a:lnTo>
                        <a:pt x="21" y="1115"/>
                      </a:lnTo>
                      <a:lnTo>
                        <a:pt x="21" y="1108"/>
                      </a:lnTo>
                      <a:lnTo>
                        <a:pt x="38" y="1103"/>
                      </a:lnTo>
                      <a:lnTo>
                        <a:pt x="12" y="1086"/>
                      </a:lnTo>
                      <a:lnTo>
                        <a:pt x="21" y="1086"/>
                      </a:lnTo>
                      <a:lnTo>
                        <a:pt x="45" y="1108"/>
                      </a:lnTo>
                      <a:lnTo>
                        <a:pt x="45" y="1091"/>
                      </a:lnTo>
                      <a:lnTo>
                        <a:pt x="38" y="1091"/>
                      </a:lnTo>
                      <a:lnTo>
                        <a:pt x="38" y="1086"/>
                      </a:lnTo>
                      <a:lnTo>
                        <a:pt x="66" y="1086"/>
                      </a:lnTo>
                      <a:lnTo>
                        <a:pt x="76" y="1091"/>
                      </a:lnTo>
                      <a:lnTo>
                        <a:pt x="109" y="1103"/>
                      </a:lnTo>
                      <a:lnTo>
                        <a:pt x="76" y="1086"/>
                      </a:lnTo>
                      <a:lnTo>
                        <a:pt x="97" y="1058"/>
                      </a:lnTo>
                      <a:lnTo>
                        <a:pt x="113" y="1091"/>
                      </a:lnTo>
                      <a:lnTo>
                        <a:pt x="120" y="1091"/>
                      </a:lnTo>
                      <a:lnTo>
                        <a:pt x="109" y="1058"/>
                      </a:lnTo>
                      <a:lnTo>
                        <a:pt x="130" y="1053"/>
                      </a:lnTo>
                      <a:lnTo>
                        <a:pt x="146" y="1058"/>
                      </a:lnTo>
                      <a:lnTo>
                        <a:pt x="151" y="1075"/>
                      </a:lnTo>
                      <a:lnTo>
                        <a:pt x="146" y="1091"/>
                      </a:lnTo>
                      <a:lnTo>
                        <a:pt x="151" y="1091"/>
                      </a:lnTo>
                      <a:lnTo>
                        <a:pt x="146" y="1091"/>
                      </a:lnTo>
                      <a:lnTo>
                        <a:pt x="151" y="1075"/>
                      </a:lnTo>
                      <a:lnTo>
                        <a:pt x="172" y="1075"/>
                      </a:lnTo>
                      <a:lnTo>
                        <a:pt x="146" y="1070"/>
                      </a:lnTo>
                      <a:lnTo>
                        <a:pt x="135" y="1053"/>
                      </a:lnTo>
                      <a:lnTo>
                        <a:pt x="97" y="1053"/>
                      </a:lnTo>
                      <a:lnTo>
                        <a:pt x="120" y="1053"/>
                      </a:lnTo>
                      <a:lnTo>
                        <a:pt x="97" y="1037"/>
                      </a:lnTo>
                      <a:lnTo>
                        <a:pt x="151" y="1032"/>
                      </a:lnTo>
                      <a:lnTo>
                        <a:pt x="189" y="1053"/>
                      </a:lnTo>
                      <a:lnTo>
                        <a:pt x="206" y="1049"/>
                      </a:lnTo>
                      <a:lnTo>
                        <a:pt x="172" y="1037"/>
                      </a:lnTo>
                      <a:lnTo>
                        <a:pt x="206" y="1020"/>
                      </a:lnTo>
                      <a:lnTo>
                        <a:pt x="227" y="1032"/>
                      </a:lnTo>
                      <a:lnTo>
                        <a:pt x="222" y="1020"/>
                      </a:lnTo>
                      <a:lnTo>
                        <a:pt x="172" y="1020"/>
                      </a:lnTo>
                      <a:lnTo>
                        <a:pt x="201" y="1013"/>
                      </a:lnTo>
                      <a:lnTo>
                        <a:pt x="189" y="1013"/>
                      </a:lnTo>
                      <a:lnTo>
                        <a:pt x="146" y="1020"/>
                      </a:lnTo>
                      <a:lnTo>
                        <a:pt x="146" y="997"/>
                      </a:lnTo>
                      <a:lnTo>
                        <a:pt x="168" y="992"/>
                      </a:lnTo>
                      <a:lnTo>
                        <a:pt x="184" y="1004"/>
                      </a:lnTo>
                      <a:lnTo>
                        <a:pt x="222" y="997"/>
                      </a:lnTo>
                      <a:lnTo>
                        <a:pt x="227" y="1013"/>
                      </a:lnTo>
                      <a:lnTo>
                        <a:pt x="260" y="1032"/>
                      </a:lnTo>
                      <a:lnTo>
                        <a:pt x="260" y="1020"/>
                      </a:lnTo>
                      <a:lnTo>
                        <a:pt x="227" y="1013"/>
                      </a:lnTo>
                      <a:lnTo>
                        <a:pt x="227" y="997"/>
                      </a:lnTo>
                      <a:lnTo>
                        <a:pt x="217" y="992"/>
                      </a:lnTo>
                      <a:lnTo>
                        <a:pt x="227" y="980"/>
                      </a:lnTo>
                      <a:lnTo>
                        <a:pt x="243" y="1004"/>
                      </a:lnTo>
                      <a:lnTo>
                        <a:pt x="260" y="1013"/>
                      </a:lnTo>
                      <a:lnTo>
                        <a:pt x="255" y="997"/>
                      </a:lnTo>
                      <a:lnTo>
                        <a:pt x="272" y="997"/>
                      </a:lnTo>
                      <a:lnTo>
                        <a:pt x="243" y="997"/>
                      </a:lnTo>
                      <a:lnTo>
                        <a:pt x="227" y="980"/>
                      </a:lnTo>
                      <a:lnTo>
                        <a:pt x="281" y="975"/>
                      </a:lnTo>
                      <a:lnTo>
                        <a:pt x="260" y="975"/>
                      </a:lnTo>
                      <a:lnTo>
                        <a:pt x="255" y="959"/>
                      </a:lnTo>
                      <a:lnTo>
                        <a:pt x="276" y="959"/>
                      </a:lnTo>
                      <a:lnTo>
                        <a:pt x="272" y="947"/>
                      </a:lnTo>
                      <a:lnTo>
                        <a:pt x="293" y="942"/>
                      </a:lnTo>
                      <a:lnTo>
                        <a:pt x="309" y="947"/>
                      </a:lnTo>
                      <a:lnTo>
                        <a:pt x="324" y="947"/>
                      </a:lnTo>
                      <a:lnTo>
                        <a:pt x="309" y="947"/>
                      </a:lnTo>
                      <a:lnTo>
                        <a:pt x="298" y="942"/>
                      </a:lnTo>
                      <a:lnTo>
                        <a:pt x="331" y="926"/>
                      </a:lnTo>
                      <a:lnTo>
                        <a:pt x="335" y="921"/>
                      </a:lnTo>
                      <a:lnTo>
                        <a:pt x="361" y="947"/>
                      </a:lnTo>
                      <a:lnTo>
                        <a:pt x="378" y="964"/>
                      </a:lnTo>
                      <a:lnTo>
                        <a:pt x="378" y="959"/>
                      </a:lnTo>
                      <a:lnTo>
                        <a:pt x="361" y="947"/>
                      </a:lnTo>
                      <a:lnTo>
                        <a:pt x="423" y="942"/>
                      </a:lnTo>
                      <a:lnTo>
                        <a:pt x="416" y="938"/>
                      </a:lnTo>
                      <a:lnTo>
                        <a:pt x="423" y="926"/>
                      </a:lnTo>
                      <a:lnTo>
                        <a:pt x="406" y="938"/>
                      </a:lnTo>
                      <a:lnTo>
                        <a:pt x="432" y="909"/>
                      </a:lnTo>
                      <a:lnTo>
                        <a:pt x="461" y="905"/>
                      </a:lnTo>
                      <a:lnTo>
                        <a:pt x="437" y="893"/>
                      </a:lnTo>
                      <a:lnTo>
                        <a:pt x="461" y="881"/>
                      </a:lnTo>
                      <a:lnTo>
                        <a:pt x="454" y="881"/>
                      </a:lnTo>
                      <a:lnTo>
                        <a:pt x="454" y="864"/>
                      </a:lnTo>
                      <a:lnTo>
                        <a:pt x="399" y="905"/>
                      </a:lnTo>
                      <a:lnTo>
                        <a:pt x="423" y="893"/>
                      </a:lnTo>
                      <a:lnTo>
                        <a:pt x="437" y="893"/>
                      </a:lnTo>
                      <a:lnTo>
                        <a:pt x="423" y="909"/>
                      </a:lnTo>
                      <a:lnTo>
                        <a:pt x="361" y="938"/>
                      </a:lnTo>
                      <a:lnTo>
                        <a:pt x="352" y="938"/>
                      </a:lnTo>
                      <a:lnTo>
                        <a:pt x="347" y="921"/>
                      </a:lnTo>
                      <a:lnTo>
                        <a:pt x="368" y="909"/>
                      </a:lnTo>
                      <a:lnTo>
                        <a:pt x="331" y="921"/>
                      </a:lnTo>
                      <a:lnTo>
                        <a:pt x="331" y="909"/>
                      </a:lnTo>
                      <a:lnTo>
                        <a:pt x="378" y="886"/>
                      </a:lnTo>
                      <a:lnTo>
                        <a:pt x="361" y="881"/>
                      </a:lnTo>
                      <a:lnTo>
                        <a:pt x="368" y="853"/>
                      </a:lnTo>
                      <a:lnTo>
                        <a:pt x="390" y="836"/>
                      </a:lnTo>
                      <a:lnTo>
                        <a:pt x="406" y="836"/>
                      </a:lnTo>
                      <a:lnTo>
                        <a:pt x="390" y="831"/>
                      </a:lnTo>
                      <a:lnTo>
                        <a:pt x="423" y="836"/>
                      </a:lnTo>
                      <a:lnTo>
                        <a:pt x="406" y="831"/>
                      </a:lnTo>
                      <a:lnTo>
                        <a:pt x="423" y="827"/>
                      </a:lnTo>
                      <a:lnTo>
                        <a:pt x="432" y="810"/>
                      </a:lnTo>
                      <a:lnTo>
                        <a:pt x="444" y="827"/>
                      </a:lnTo>
                      <a:lnTo>
                        <a:pt x="444" y="836"/>
                      </a:lnTo>
                      <a:lnTo>
                        <a:pt x="470" y="815"/>
                      </a:lnTo>
                      <a:lnTo>
                        <a:pt x="487" y="815"/>
                      </a:lnTo>
                      <a:lnTo>
                        <a:pt x="470" y="815"/>
                      </a:lnTo>
                      <a:lnTo>
                        <a:pt x="461" y="798"/>
                      </a:lnTo>
                      <a:lnTo>
                        <a:pt x="491" y="782"/>
                      </a:lnTo>
                      <a:lnTo>
                        <a:pt x="475" y="782"/>
                      </a:lnTo>
                      <a:lnTo>
                        <a:pt x="487" y="777"/>
                      </a:lnTo>
                      <a:lnTo>
                        <a:pt x="513" y="770"/>
                      </a:lnTo>
                      <a:lnTo>
                        <a:pt x="498" y="770"/>
                      </a:lnTo>
                      <a:lnTo>
                        <a:pt x="444" y="794"/>
                      </a:lnTo>
                      <a:lnTo>
                        <a:pt x="454" y="782"/>
                      </a:lnTo>
                      <a:lnTo>
                        <a:pt x="444" y="782"/>
                      </a:lnTo>
                      <a:lnTo>
                        <a:pt x="475" y="777"/>
                      </a:lnTo>
                      <a:lnTo>
                        <a:pt x="444" y="782"/>
                      </a:lnTo>
                      <a:lnTo>
                        <a:pt x="454" y="777"/>
                      </a:lnTo>
                      <a:lnTo>
                        <a:pt x="546" y="742"/>
                      </a:lnTo>
                      <a:lnTo>
                        <a:pt x="567" y="725"/>
                      </a:lnTo>
                      <a:lnTo>
                        <a:pt x="529" y="742"/>
                      </a:lnTo>
                      <a:lnTo>
                        <a:pt x="524" y="742"/>
                      </a:lnTo>
                      <a:lnTo>
                        <a:pt x="546" y="737"/>
                      </a:lnTo>
                      <a:lnTo>
                        <a:pt x="513" y="737"/>
                      </a:lnTo>
                      <a:lnTo>
                        <a:pt x="541" y="720"/>
                      </a:lnTo>
                      <a:lnTo>
                        <a:pt x="529" y="716"/>
                      </a:lnTo>
                      <a:lnTo>
                        <a:pt x="546" y="716"/>
                      </a:lnTo>
                      <a:lnTo>
                        <a:pt x="529" y="699"/>
                      </a:lnTo>
                      <a:lnTo>
                        <a:pt x="524" y="687"/>
                      </a:lnTo>
                      <a:lnTo>
                        <a:pt x="541" y="683"/>
                      </a:lnTo>
                      <a:lnTo>
                        <a:pt x="550" y="687"/>
                      </a:lnTo>
                      <a:lnTo>
                        <a:pt x="541" y="671"/>
                      </a:lnTo>
                      <a:lnTo>
                        <a:pt x="546" y="659"/>
                      </a:lnTo>
                      <a:lnTo>
                        <a:pt x="562" y="649"/>
                      </a:lnTo>
                      <a:lnTo>
                        <a:pt x="583" y="666"/>
                      </a:lnTo>
                      <a:lnTo>
                        <a:pt x="579" y="649"/>
                      </a:lnTo>
                      <a:lnTo>
                        <a:pt x="567" y="649"/>
                      </a:lnTo>
                      <a:lnTo>
                        <a:pt x="567" y="642"/>
                      </a:lnTo>
                      <a:lnTo>
                        <a:pt x="546" y="642"/>
                      </a:lnTo>
                      <a:lnTo>
                        <a:pt x="605" y="614"/>
                      </a:lnTo>
                      <a:lnTo>
                        <a:pt x="605" y="631"/>
                      </a:lnTo>
                      <a:lnTo>
                        <a:pt x="617" y="614"/>
                      </a:lnTo>
                      <a:lnTo>
                        <a:pt x="654" y="609"/>
                      </a:lnTo>
                      <a:lnTo>
                        <a:pt x="567" y="626"/>
                      </a:lnTo>
                      <a:lnTo>
                        <a:pt x="605" y="609"/>
                      </a:lnTo>
                      <a:lnTo>
                        <a:pt x="567" y="609"/>
                      </a:lnTo>
                      <a:lnTo>
                        <a:pt x="583" y="593"/>
                      </a:lnTo>
                      <a:lnTo>
                        <a:pt x="567" y="588"/>
                      </a:lnTo>
                      <a:lnTo>
                        <a:pt x="621" y="572"/>
                      </a:lnTo>
                      <a:lnTo>
                        <a:pt x="583" y="576"/>
                      </a:lnTo>
                      <a:lnTo>
                        <a:pt x="583" y="572"/>
                      </a:lnTo>
                      <a:lnTo>
                        <a:pt x="605" y="572"/>
                      </a:lnTo>
                      <a:lnTo>
                        <a:pt x="583" y="560"/>
                      </a:lnTo>
                      <a:lnTo>
                        <a:pt x="621" y="560"/>
                      </a:lnTo>
                      <a:lnTo>
                        <a:pt x="633" y="560"/>
                      </a:lnTo>
                      <a:lnTo>
                        <a:pt x="605" y="560"/>
                      </a:lnTo>
                      <a:lnTo>
                        <a:pt x="621" y="555"/>
                      </a:lnTo>
                      <a:lnTo>
                        <a:pt x="605" y="555"/>
                      </a:lnTo>
                      <a:lnTo>
                        <a:pt x="638" y="555"/>
                      </a:lnTo>
                      <a:lnTo>
                        <a:pt x="605" y="531"/>
                      </a:lnTo>
                      <a:lnTo>
                        <a:pt x="687" y="522"/>
                      </a:lnTo>
                      <a:lnTo>
                        <a:pt x="659" y="515"/>
                      </a:lnTo>
                      <a:lnTo>
                        <a:pt x="659" y="503"/>
                      </a:lnTo>
                      <a:lnTo>
                        <a:pt x="692" y="503"/>
                      </a:lnTo>
                      <a:lnTo>
                        <a:pt x="676" y="503"/>
                      </a:lnTo>
                      <a:lnTo>
                        <a:pt x="676" y="498"/>
                      </a:lnTo>
                      <a:lnTo>
                        <a:pt x="709" y="498"/>
                      </a:lnTo>
                      <a:lnTo>
                        <a:pt x="702" y="503"/>
                      </a:lnTo>
                      <a:lnTo>
                        <a:pt x="709" y="515"/>
                      </a:lnTo>
                      <a:lnTo>
                        <a:pt x="709" y="503"/>
                      </a:lnTo>
                      <a:lnTo>
                        <a:pt x="709" y="498"/>
                      </a:lnTo>
                      <a:lnTo>
                        <a:pt x="730" y="503"/>
                      </a:lnTo>
                      <a:lnTo>
                        <a:pt x="746" y="515"/>
                      </a:lnTo>
                      <a:lnTo>
                        <a:pt x="739" y="498"/>
                      </a:lnTo>
                      <a:lnTo>
                        <a:pt x="763" y="503"/>
                      </a:lnTo>
                      <a:lnTo>
                        <a:pt x="713" y="498"/>
                      </a:lnTo>
                      <a:lnTo>
                        <a:pt x="725" y="494"/>
                      </a:lnTo>
                      <a:lnTo>
                        <a:pt x="687" y="498"/>
                      </a:lnTo>
                      <a:lnTo>
                        <a:pt x="671" y="498"/>
                      </a:lnTo>
                      <a:lnTo>
                        <a:pt x="687" y="477"/>
                      </a:lnTo>
                      <a:lnTo>
                        <a:pt x="709" y="477"/>
                      </a:lnTo>
                      <a:lnTo>
                        <a:pt x="692" y="465"/>
                      </a:lnTo>
                      <a:lnTo>
                        <a:pt x="713" y="460"/>
                      </a:lnTo>
                      <a:lnTo>
                        <a:pt x="725" y="460"/>
                      </a:lnTo>
                      <a:lnTo>
                        <a:pt x="709" y="465"/>
                      </a:lnTo>
                      <a:lnTo>
                        <a:pt x="739" y="465"/>
                      </a:lnTo>
                      <a:lnTo>
                        <a:pt x="756" y="494"/>
                      </a:lnTo>
                      <a:lnTo>
                        <a:pt x="763" y="494"/>
                      </a:lnTo>
                      <a:lnTo>
                        <a:pt x="746" y="465"/>
                      </a:lnTo>
                      <a:lnTo>
                        <a:pt x="777" y="460"/>
                      </a:lnTo>
                      <a:lnTo>
                        <a:pt x="730" y="460"/>
                      </a:lnTo>
                      <a:lnTo>
                        <a:pt x="725" y="449"/>
                      </a:lnTo>
                      <a:lnTo>
                        <a:pt x="730" y="437"/>
                      </a:lnTo>
                      <a:lnTo>
                        <a:pt x="768" y="444"/>
                      </a:lnTo>
                      <a:lnTo>
                        <a:pt x="739" y="427"/>
                      </a:lnTo>
                      <a:lnTo>
                        <a:pt x="692" y="444"/>
                      </a:lnTo>
                      <a:lnTo>
                        <a:pt x="692" y="437"/>
                      </a:lnTo>
                      <a:lnTo>
                        <a:pt x="713" y="437"/>
                      </a:lnTo>
                      <a:lnTo>
                        <a:pt x="692" y="427"/>
                      </a:lnTo>
                      <a:lnTo>
                        <a:pt x="713" y="420"/>
                      </a:lnTo>
                      <a:lnTo>
                        <a:pt x="702" y="420"/>
                      </a:lnTo>
                      <a:lnTo>
                        <a:pt x="709" y="420"/>
                      </a:lnTo>
                      <a:lnTo>
                        <a:pt x="768" y="411"/>
                      </a:lnTo>
                      <a:lnTo>
                        <a:pt x="777" y="404"/>
                      </a:lnTo>
                      <a:lnTo>
                        <a:pt x="730" y="394"/>
                      </a:lnTo>
                      <a:lnTo>
                        <a:pt x="746" y="387"/>
                      </a:lnTo>
                      <a:lnTo>
                        <a:pt x="763" y="387"/>
                      </a:lnTo>
                      <a:lnTo>
                        <a:pt x="756" y="394"/>
                      </a:lnTo>
                      <a:lnTo>
                        <a:pt x="768" y="387"/>
                      </a:lnTo>
                      <a:lnTo>
                        <a:pt x="777" y="371"/>
                      </a:lnTo>
                      <a:lnTo>
                        <a:pt x="784" y="383"/>
                      </a:lnTo>
                      <a:lnTo>
                        <a:pt x="794" y="420"/>
                      </a:lnTo>
                      <a:lnTo>
                        <a:pt x="815" y="427"/>
                      </a:lnTo>
                      <a:lnTo>
                        <a:pt x="801" y="420"/>
                      </a:lnTo>
                      <a:lnTo>
                        <a:pt x="794" y="404"/>
                      </a:lnTo>
                      <a:lnTo>
                        <a:pt x="815" y="411"/>
                      </a:lnTo>
                      <a:lnTo>
                        <a:pt x="810" y="394"/>
                      </a:lnTo>
                      <a:lnTo>
                        <a:pt x="831" y="394"/>
                      </a:lnTo>
                      <a:lnTo>
                        <a:pt x="810" y="394"/>
                      </a:lnTo>
                      <a:lnTo>
                        <a:pt x="801" y="387"/>
                      </a:lnTo>
                      <a:lnTo>
                        <a:pt x="815" y="383"/>
                      </a:lnTo>
                      <a:lnTo>
                        <a:pt x="794" y="383"/>
                      </a:lnTo>
                      <a:lnTo>
                        <a:pt x="801" y="371"/>
                      </a:lnTo>
                      <a:lnTo>
                        <a:pt x="784" y="371"/>
                      </a:lnTo>
                      <a:lnTo>
                        <a:pt x="815" y="371"/>
                      </a:lnTo>
                      <a:lnTo>
                        <a:pt x="839" y="387"/>
                      </a:lnTo>
                      <a:lnTo>
                        <a:pt x="794" y="366"/>
                      </a:lnTo>
                      <a:lnTo>
                        <a:pt x="801" y="354"/>
                      </a:lnTo>
                      <a:lnTo>
                        <a:pt x="865" y="354"/>
                      </a:lnTo>
                      <a:lnTo>
                        <a:pt x="876" y="383"/>
                      </a:lnTo>
                      <a:lnTo>
                        <a:pt x="876" y="371"/>
                      </a:lnTo>
                      <a:lnTo>
                        <a:pt x="865" y="354"/>
                      </a:lnTo>
                      <a:lnTo>
                        <a:pt x="891" y="354"/>
                      </a:lnTo>
                      <a:lnTo>
                        <a:pt x="876" y="349"/>
                      </a:lnTo>
                      <a:lnTo>
                        <a:pt x="891" y="349"/>
                      </a:lnTo>
                      <a:lnTo>
                        <a:pt x="891" y="338"/>
                      </a:lnTo>
                      <a:lnTo>
                        <a:pt x="853" y="349"/>
                      </a:lnTo>
                      <a:lnTo>
                        <a:pt x="853" y="338"/>
                      </a:lnTo>
                      <a:lnTo>
                        <a:pt x="848" y="338"/>
                      </a:lnTo>
                      <a:lnTo>
                        <a:pt x="815" y="349"/>
                      </a:lnTo>
                      <a:lnTo>
                        <a:pt x="815" y="338"/>
                      </a:lnTo>
                      <a:lnTo>
                        <a:pt x="822" y="333"/>
                      </a:lnTo>
                      <a:lnTo>
                        <a:pt x="822" y="326"/>
                      </a:lnTo>
                      <a:lnTo>
                        <a:pt x="848" y="316"/>
                      </a:lnTo>
                      <a:lnTo>
                        <a:pt x="902" y="326"/>
                      </a:lnTo>
                      <a:lnTo>
                        <a:pt x="869" y="309"/>
                      </a:lnTo>
                      <a:lnTo>
                        <a:pt x="886" y="300"/>
                      </a:lnTo>
                      <a:lnTo>
                        <a:pt x="907" y="309"/>
                      </a:lnTo>
                      <a:lnTo>
                        <a:pt x="886" y="300"/>
                      </a:lnTo>
                      <a:lnTo>
                        <a:pt x="907" y="293"/>
                      </a:lnTo>
                      <a:lnTo>
                        <a:pt x="876" y="293"/>
                      </a:lnTo>
                      <a:lnTo>
                        <a:pt x="891" y="260"/>
                      </a:lnTo>
                      <a:lnTo>
                        <a:pt x="928" y="260"/>
                      </a:lnTo>
                      <a:lnTo>
                        <a:pt x="924" y="243"/>
                      </a:lnTo>
                      <a:lnTo>
                        <a:pt x="940" y="215"/>
                      </a:lnTo>
                      <a:lnTo>
                        <a:pt x="973" y="243"/>
                      </a:lnTo>
                      <a:lnTo>
                        <a:pt x="978" y="238"/>
                      </a:lnTo>
                      <a:lnTo>
                        <a:pt x="994" y="243"/>
                      </a:lnTo>
                      <a:lnTo>
                        <a:pt x="957" y="222"/>
                      </a:lnTo>
                      <a:lnTo>
                        <a:pt x="957" y="215"/>
                      </a:lnTo>
                      <a:lnTo>
                        <a:pt x="978" y="205"/>
                      </a:lnTo>
                      <a:lnTo>
                        <a:pt x="994" y="227"/>
                      </a:lnTo>
                      <a:lnTo>
                        <a:pt x="1016" y="238"/>
                      </a:lnTo>
                      <a:lnTo>
                        <a:pt x="999" y="243"/>
                      </a:lnTo>
                      <a:lnTo>
                        <a:pt x="1028" y="243"/>
                      </a:lnTo>
                      <a:lnTo>
                        <a:pt x="1028" y="238"/>
                      </a:lnTo>
                      <a:lnTo>
                        <a:pt x="994" y="222"/>
                      </a:lnTo>
                      <a:lnTo>
                        <a:pt x="1011" y="215"/>
                      </a:lnTo>
                      <a:lnTo>
                        <a:pt x="1011" y="205"/>
                      </a:lnTo>
                      <a:lnTo>
                        <a:pt x="994" y="215"/>
                      </a:lnTo>
                      <a:lnTo>
                        <a:pt x="983" y="198"/>
                      </a:lnTo>
                      <a:lnTo>
                        <a:pt x="1011" y="182"/>
                      </a:lnTo>
                      <a:lnTo>
                        <a:pt x="1049" y="172"/>
                      </a:lnTo>
                      <a:lnTo>
                        <a:pt x="1042" y="198"/>
                      </a:lnTo>
                      <a:lnTo>
                        <a:pt x="1032" y="227"/>
                      </a:lnTo>
                      <a:lnTo>
                        <a:pt x="1042" y="222"/>
                      </a:lnTo>
                      <a:lnTo>
                        <a:pt x="1049" y="189"/>
                      </a:lnTo>
                      <a:lnTo>
                        <a:pt x="1087" y="160"/>
                      </a:lnTo>
                      <a:lnTo>
                        <a:pt x="1096" y="165"/>
                      </a:lnTo>
                      <a:lnTo>
                        <a:pt x="1080" y="222"/>
                      </a:lnTo>
                      <a:lnTo>
                        <a:pt x="1054" y="243"/>
                      </a:lnTo>
                      <a:lnTo>
                        <a:pt x="1096" y="205"/>
                      </a:lnTo>
                      <a:lnTo>
                        <a:pt x="1124" y="215"/>
                      </a:lnTo>
                      <a:lnTo>
                        <a:pt x="1096" y="198"/>
                      </a:lnTo>
                      <a:lnTo>
                        <a:pt x="1103" y="182"/>
                      </a:lnTo>
                      <a:lnTo>
                        <a:pt x="1141" y="160"/>
                      </a:lnTo>
                      <a:lnTo>
                        <a:pt x="1124" y="165"/>
                      </a:lnTo>
                      <a:lnTo>
                        <a:pt x="1134" y="172"/>
                      </a:lnTo>
                      <a:lnTo>
                        <a:pt x="1155" y="149"/>
                      </a:lnTo>
                      <a:lnTo>
                        <a:pt x="1209" y="182"/>
                      </a:lnTo>
                      <a:lnTo>
                        <a:pt x="1188" y="144"/>
                      </a:lnTo>
                      <a:lnTo>
                        <a:pt x="1209" y="132"/>
                      </a:lnTo>
                      <a:lnTo>
                        <a:pt x="1162" y="132"/>
                      </a:lnTo>
                      <a:lnTo>
                        <a:pt x="1150" y="127"/>
                      </a:lnTo>
                      <a:lnTo>
                        <a:pt x="1155" y="116"/>
                      </a:lnTo>
                      <a:lnTo>
                        <a:pt x="1172" y="111"/>
                      </a:lnTo>
                      <a:lnTo>
                        <a:pt x="1188" y="116"/>
                      </a:lnTo>
                      <a:lnTo>
                        <a:pt x="1205" y="111"/>
                      </a:lnTo>
                      <a:lnTo>
                        <a:pt x="1226" y="111"/>
                      </a:lnTo>
                      <a:lnTo>
                        <a:pt x="1226" y="127"/>
                      </a:lnTo>
                      <a:lnTo>
                        <a:pt x="1243" y="132"/>
                      </a:lnTo>
                      <a:lnTo>
                        <a:pt x="1226" y="127"/>
                      </a:lnTo>
                      <a:lnTo>
                        <a:pt x="1231" y="116"/>
                      </a:lnTo>
                      <a:lnTo>
                        <a:pt x="1268" y="127"/>
                      </a:lnTo>
                      <a:lnTo>
                        <a:pt x="1259" y="132"/>
                      </a:lnTo>
                      <a:lnTo>
                        <a:pt x="1226" y="144"/>
                      </a:lnTo>
                      <a:lnTo>
                        <a:pt x="1264" y="132"/>
                      </a:lnTo>
                      <a:lnTo>
                        <a:pt x="1297" y="160"/>
                      </a:lnTo>
                      <a:lnTo>
                        <a:pt x="1313" y="149"/>
                      </a:lnTo>
                      <a:lnTo>
                        <a:pt x="1285" y="144"/>
                      </a:lnTo>
                      <a:lnTo>
                        <a:pt x="1297" y="132"/>
                      </a:lnTo>
                      <a:lnTo>
                        <a:pt x="1297" y="116"/>
                      </a:lnTo>
                      <a:lnTo>
                        <a:pt x="1313" y="116"/>
                      </a:lnTo>
                      <a:lnTo>
                        <a:pt x="1302" y="116"/>
                      </a:lnTo>
                      <a:lnTo>
                        <a:pt x="1318" y="94"/>
                      </a:lnTo>
                      <a:lnTo>
                        <a:pt x="1339" y="87"/>
                      </a:lnTo>
                      <a:lnTo>
                        <a:pt x="1368" y="94"/>
                      </a:lnTo>
                      <a:lnTo>
                        <a:pt x="1356" y="78"/>
                      </a:lnTo>
                      <a:lnTo>
                        <a:pt x="1368" y="61"/>
                      </a:lnTo>
                      <a:lnTo>
                        <a:pt x="1394" y="71"/>
                      </a:lnTo>
                      <a:lnTo>
                        <a:pt x="1377" y="54"/>
                      </a:lnTo>
                      <a:lnTo>
                        <a:pt x="1356" y="49"/>
                      </a:lnTo>
                      <a:lnTo>
                        <a:pt x="1372" y="38"/>
                      </a:lnTo>
                      <a:lnTo>
                        <a:pt x="1389" y="49"/>
                      </a:lnTo>
                      <a:lnTo>
                        <a:pt x="1389" y="21"/>
                      </a:lnTo>
                      <a:lnTo>
                        <a:pt x="1405" y="33"/>
                      </a:lnTo>
                      <a:lnTo>
                        <a:pt x="1410" y="21"/>
                      </a:lnTo>
                      <a:lnTo>
                        <a:pt x="1431" y="49"/>
                      </a:lnTo>
                      <a:lnTo>
                        <a:pt x="1443" y="38"/>
                      </a:lnTo>
                      <a:lnTo>
                        <a:pt x="1443" y="21"/>
                      </a:lnTo>
                      <a:lnTo>
                        <a:pt x="1481" y="33"/>
                      </a:lnTo>
                      <a:lnTo>
                        <a:pt x="1420" y="87"/>
                      </a:lnTo>
                      <a:lnTo>
                        <a:pt x="1431" y="87"/>
                      </a:lnTo>
                      <a:lnTo>
                        <a:pt x="1431" y="104"/>
                      </a:lnTo>
                      <a:lnTo>
                        <a:pt x="1420" y="104"/>
                      </a:lnTo>
                      <a:lnTo>
                        <a:pt x="1420" y="116"/>
                      </a:lnTo>
                      <a:lnTo>
                        <a:pt x="1410" y="116"/>
                      </a:lnTo>
                      <a:lnTo>
                        <a:pt x="1410" y="144"/>
                      </a:lnTo>
                      <a:lnTo>
                        <a:pt x="1420" y="144"/>
                      </a:lnTo>
                      <a:lnTo>
                        <a:pt x="1420" y="132"/>
                      </a:lnTo>
                      <a:lnTo>
                        <a:pt x="1420" y="144"/>
                      </a:lnTo>
                      <a:lnTo>
                        <a:pt x="1427" y="144"/>
                      </a:lnTo>
                      <a:lnTo>
                        <a:pt x="1448" y="116"/>
                      </a:lnTo>
                      <a:lnTo>
                        <a:pt x="1443" y="104"/>
                      </a:lnTo>
                      <a:lnTo>
                        <a:pt x="1528" y="33"/>
                      </a:lnTo>
                      <a:lnTo>
                        <a:pt x="1533" y="33"/>
                      </a:lnTo>
                      <a:lnTo>
                        <a:pt x="1533" y="54"/>
                      </a:lnTo>
                      <a:lnTo>
                        <a:pt x="1502" y="71"/>
                      </a:lnTo>
                      <a:lnTo>
                        <a:pt x="1528" y="71"/>
                      </a:lnTo>
                      <a:lnTo>
                        <a:pt x="1519" y="104"/>
                      </a:lnTo>
                      <a:lnTo>
                        <a:pt x="1557" y="87"/>
                      </a:lnTo>
                      <a:lnTo>
                        <a:pt x="1550" y="78"/>
                      </a:lnTo>
                      <a:lnTo>
                        <a:pt x="1557" y="71"/>
                      </a:lnTo>
                      <a:lnTo>
                        <a:pt x="1571" y="78"/>
                      </a:lnTo>
                      <a:lnTo>
                        <a:pt x="1566" y="71"/>
                      </a:lnTo>
                      <a:lnTo>
                        <a:pt x="1566" y="54"/>
                      </a:lnTo>
                      <a:lnTo>
                        <a:pt x="1571" y="38"/>
                      </a:lnTo>
                      <a:lnTo>
                        <a:pt x="1594" y="49"/>
                      </a:lnTo>
                      <a:lnTo>
                        <a:pt x="1566" y="21"/>
                      </a:lnTo>
                      <a:lnTo>
                        <a:pt x="1594" y="5"/>
                      </a:lnTo>
                      <a:lnTo>
                        <a:pt x="1609" y="16"/>
                      </a:lnTo>
                      <a:lnTo>
                        <a:pt x="1637" y="5"/>
                      </a:lnTo>
                      <a:lnTo>
                        <a:pt x="1663" y="21"/>
                      </a:lnTo>
                      <a:lnTo>
                        <a:pt x="1642" y="49"/>
                      </a:lnTo>
                      <a:lnTo>
                        <a:pt x="1604" y="49"/>
                      </a:lnTo>
                      <a:lnTo>
                        <a:pt x="1637" y="54"/>
                      </a:lnTo>
                      <a:lnTo>
                        <a:pt x="1594" y="71"/>
                      </a:lnTo>
                      <a:lnTo>
                        <a:pt x="1642" y="54"/>
                      </a:lnTo>
                      <a:lnTo>
                        <a:pt x="1642" y="71"/>
                      </a:lnTo>
                      <a:lnTo>
                        <a:pt x="1609" y="87"/>
                      </a:lnTo>
                      <a:lnTo>
                        <a:pt x="1637" y="87"/>
                      </a:lnTo>
                      <a:lnTo>
                        <a:pt x="1625" y="94"/>
                      </a:lnTo>
                      <a:lnTo>
                        <a:pt x="1637" y="94"/>
                      </a:lnTo>
                      <a:lnTo>
                        <a:pt x="1646" y="87"/>
                      </a:lnTo>
                      <a:lnTo>
                        <a:pt x="1637" y="104"/>
                      </a:lnTo>
                      <a:lnTo>
                        <a:pt x="1637" y="127"/>
                      </a:lnTo>
                      <a:lnTo>
                        <a:pt x="1625" y="144"/>
                      </a:lnTo>
                      <a:lnTo>
                        <a:pt x="1642" y="127"/>
                      </a:lnTo>
                      <a:lnTo>
                        <a:pt x="1642" y="104"/>
                      </a:lnTo>
                      <a:lnTo>
                        <a:pt x="1658" y="54"/>
                      </a:lnTo>
                      <a:lnTo>
                        <a:pt x="1675" y="38"/>
                      </a:lnTo>
                      <a:lnTo>
                        <a:pt x="1696" y="38"/>
                      </a:lnTo>
                      <a:lnTo>
                        <a:pt x="1713" y="38"/>
                      </a:lnTo>
                      <a:lnTo>
                        <a:pt x="1717" y="61"/>
                      </a:lnTo>
                      <a:lnTo>
                        <a:pt x="1750" y="54"/>
                      </a:lnTo>
                      <a:lnTo>
                        <a:pt x="1746" y="71"/>
                      </a:lnTo>
                      <a:lnTo>
                        <a:pt x="1772" y="54"/>
                      </a:lnTo>
                      <a:lnTo>
                        <a:pt x="1788" y="71"/>
                      </a:lnTo>
                      <a:lnTo>
                        <a:pt x="1767" y="78"/>
                      </a:lnTo>
                      <a:lnTo>
                        <a:pt x="1805" y="78"/>
                      </a:lnTo>
                      <a:lnTo>
                        <a:pt x="1826" y="94"/>
                      </a:lnTo>
                      <a:lnTo>
                        <a:pt x="1842" y="111"/>
                      </a:lnTo>
                      <a:lnTo>
                        <a:pt x="1798" y="116"/>
                      </a:lnTo>
                      <a:lnTo>
                        <a:pt x="1772" y="144"/>
                      </a:lnTo>
                      <a:lnTo>
                        <a:pt x="1675" y="127"/>
                      </a:lnTo>
                      <a:lnTo>
                        <a:pt x="1663" y="127"/>
                      </a:lnTo>
                      <a:lnTo>
                        <a:pt x="1675" y="127"/>
                      </a:lnTo>
                      <a:lnTo>
                        <a:pt x="1663" y="132"/>
                      </a:lnTo>
                      <a:lnTo>
                        <a:pt x="1746" y="160"/>
                      </a:lnTo>
                      <a:lnTo>
                        <a:pt x="1717" y="165"/>
                      </a:lnTo>
                      <a:lnTo>
                        <a:pt x="1746" y="165"/>
                      </a:lnTo>
                      <a:lnTo>
                        <a:pt x="1750" y="172"/>
                      </a:lnTo>
                      <a:lnTo>
                        <a:pt x="1729" y="198"/>
                      </a:lnTo>
                      <a:lnTo>
                        <a:pt x="1755" y="182"/>
                      </a:lnTo>
                      <a:lnTo>
                        <a:pt x="1772" y="189"/>
                      </a:lnTo>
                      <a:lnTo>
                        <a:pt x="1772" y="182"/>
                      </a:lnTo>
                      <a:lnTo>
                        <a:pt x="1772" y="165"/>
                      </a:lnTo>
                      <a:lnTo>
                        <a:pt x="1788" y="172"/>
                      </a:lnTo>
                      <a:lnTo>
                        <a:pt x="1788" y="189"/>
                      </a:lnTo>
                      <a:lnTo>
                        <a:pt x="1798" y="189"/>
                      </a:lnTo>
                      <a:lnTo>
                        <a:pt x="1798" y="172"/>
                      </a:lnTo>
                      <a:lnTo>
                        <a:pt x="1826" y="172"/>
                      </a:lnTo>
                      <a:lnTo>
                        <a:pt x="1826" y="172"/>
                      </a:lnTo>
                      <a:lnTo>
                        <a:pt x="1826" y="172"/>
                      </a:lnTo>
                      <a:close/>
                      <a:moveTo>
                        <a:pt x="1394" y="16"/>
                      </a:moveTo>
                      <a:lnTo>
                        <a:pt x="1389" y="5"/>
                      </a:lnTo>
                      <a:lnTo>
                        <a:pt x="1405" y="5"/>
                      </a:lnTo>
                      <a:lnTo>
                        <a:pt x="1394" y="16"/>
                      </a:lnTo>
                      <a:lnTo>
                        <a:pt x="1394" y="16"/>
                      </a:lnTo>
                      <a:lnTo>
                        <a:pt x="1394" y="16"/>
                      </a:lnTo>
                      <a:close/>
                      <a:moveTo>
                        <a:pt x="1351" y="33"/>
                      </a:moveTo>
                      <a:lnTo>
                        <a:pt x="1335" y="21"/>
                      </a:lnTo>
                      <a:lnTo>
                        <a:pt x="1356" y="21"/>
                      </a:lnTo>
                      <a:lnTo>
                        <a:pt x="1351" y="33"/>
                      </a:lnTo>
                      <a:lnTo>
                        <a:pt x="1351" y="33"/>
                      </a:lnTo>
                      <a:lnTo>
                        <a:pt x="1351" y="33"/>
                      </a:lnTo>
                      <a:close/>
                      <a:moveTo>
                        <a:pt x="1217" y="87"/>
                      </a:moveTo>
                      <a:lnTo>
                        <a:pt x="1217" y="71"/>
                      </a:lnTo>
                      <a:lnTo>
                        <a:pt x="1205" y="61"/>
                      </a:lnTo>
                      <a:lnTo>
                        <a:pt x="1243" y="54"/>
                      </a:lnTo>
                      <a:lnTo>
                        <a:pt x="1247" y="61"/>
                      </a:lnTo>
                      <a:lnTo>
                        <a:pt x="1247" y="71"/>
                      </a:lnTo>
                      <a:lnTo>
                        <a:pt x="1259" y="71"/>
                      </a:lnTo>
                      <a:lnTo>
                        <a:pt x="1259" y="54"/>
                      </a:lnTo>
                      <a:lnTo>
                        <a:pt x="1268" y="61"/>
                      </a:lnTo>
                      <a:lnTo>
                        <a:pt x="1285" y="49"/>
                      </a:lnTo>
                      <a:lnTo>
                        <a:pt x="1297" y="49"/>
                      </a:lnTo>
                      <a:lnTo>
                        <a:pt x="1297" y="38"/>
                      </a:lnTo>
                      <a:lnTo>
                        <a:pt x="1302" y="49"/>
                      </a:lnTo>
                      <a:lnTo>
                        <a:pt x="1280" y="78"/>
                      </a:lnTo>
                      <a:lnTo>
                        <a:pt x="1217" y="87"/>
                      </a:lnTo>
                      <a:lnTo>
                        <a:pt x="1217" y="87"/>
                      </a:lnTo>
                      <a:lnTo>
                        <a:pt x="1217" y="87"/>
                      </a:lnTo>
                      <a:close/>
                      <a:moveTo>
                        <a:pt x="1335" y="87"/>
                      </a:moveTo>
                      <a:lnTo>
                        <a:pt x="1323" y="78"/>
                      </a:lnTo>
                      <a:lnTo>
                        <a:pt x="1318" y="61"/>
                      </a:lnTo>
                      <a:lnTo>
                        <a:pt x="1335" y="54"/>
                      </a:lnTo>
                      <a:lnTo>
                        <a:pt x="1351" y="71"/>
                      </a:lnTo>
                      <a:lnTo>
                        <a:pt x="1335" y="87"/>
                      </a:lnTo>
                      <a:lnTo>
                        <a:pt x="1335" y="87"/>
                      </a:lnTo>
                      <a:lnTo>
                        <a:pt x="1335" y="87"/>
                      </a:lnTo>
                      <a:close/>
                      <a:moveTo>
                        <a:pt x="1280" y="116"/>
                      </a:moveTo>
                      <a:lnTo>
                        <a:pt x="1264" y="94"/>
                      </a:lnTo>
                      <a:lnTo>
                        <a:pt x="1302" y="78"/>
                      </a:lnTo>
                      <a:lnTo>
                        <a:pt x="1302" y="71"/>
                      </a:lnTo>
                      <a:lnTo>
                        <a:pt x="1318" y="87"/>
                      </a:lnTo>
                      <a:lnTo>
                        <a:pt x="1313" y="104"/>
                      </a:lnTo>
                      <a:lnTo>
                        <a:pt x="1280" y="116"/>
                      </a:lnTo>
                      <a:lnTo>
                        <a:pt x="1280" y="116"/>
                      </a:lnTo>
                      <a:lnTo>
                        <a:pt x="1280" y="116"/>
                      </a:lnTo>
                      <a:close/>
                      <a:moveTo>
                        <a:pt x="1268" y="116"/>
                      </a:moveTo>
                      <a:lnTo>
                        <a:pt x="1226" y="111"/>
                      </a:lnTo>
                      <a:lnTo>
                        <a:pt x="1247" y="104"/>
                      </a:lnTo>
                      <a:lnTo>
                        <a:pt x="1268" y="116"/>
                      </a:lnTo>
                      <a:lnTo>
                        <a:pt x="1268" y="116"/>
                      </a:lnTo>
                      <a:lnTo>
                        <a:pt x="1268" y="116"/>
                      </a:lnTo>
                      <a:close/>
                      <a:moveTo>
                        <a:pt x="1188" y="116"/>
                      </a:moveTo>
                      <a:lnTo>
                        <a:pt x="1179" y="104"/>
                      </a:lnTo>
                      <a:lnTo>
                        <a:pt x="1193" y="104"/>
                      </a:lnTo>
                      <a:lnTo>
                        <a:pt x="1188" y="116"/>
                      </a:lnTo>
                      <a:lnTo>
                        <a:pt x="1188" y="116"/>
                      </a:lnTo>
                      <a:lnTo>
                        <a:pt x="1188" y="116"/>
                      </a:lnTo>
                      <a:close/>
                      <a:moveTo>
                        <a:pt x="1054" y="144"/>
                      </a:moveTo>
                      <a:lnTo>
                        <a:pt x="1049" y="144"/>
                      </a:lnTo>
                      <a:lnTo>
                        <a:pt x="1032" y="116"/>
                      </a:lnTo>
                      <a:lnTo>
                        <a:pt x="1042" y="111"/>
                      </a:lnTo>
                      <a:lnTo>
                        <a:pt x="1070" y="132"/>
                      </a:lnTo>
                      <a:lnTo>
                        <a:pt x="1054" y="144"/>
                      </a:lnTo>
                      <a:lnTo>
                        <a:pt x="1054" y="144"/>
                      </a:lnTo>
                      <a:lnTo>
                        <a:pt x="1054" y="144"/>
                      </a:lnTo>
                      <a:close/>
                      <a:moveTo>
                        <a:pt x="999" y="132"/>
                      </a:moveTo>
                      <a:lnTo>
                        <a:pt x="994" y="127"/>
                      </a:lnTo>
                      <a:lnTo>
                        <a:pt x="1011" y="116"/>
                      </a:lnTo>
                      <a:lnTo>
                        <a:pt x="1011" y="132"/>
                      </a:lnTo>
                      <a:lnTo>
                        <a:pt x="999" y="132"/>
                      </a:lnTo>
                      <a:lnTo>
                        <a:pt x="999" y="132"/>
                      </a:lnTo>
                      <a:lnTo>
                        <a:pt x="999" y="132"/>
                      </a:lnTo>
                      <a:close/>
                      <a:moveTo>
                        <a:pt x="1103" y="144"/>
                      </a:moveTo>
                      <a:lnTo>
                        <a:pt x="1087" y="144"/>
                      </a:lnTo>
                      <a:lnTo>
                        <a:pt x="1096" y="127"/>
                      </a:lnTo>
                      <a:lnTo>
                        <a:pt x="1103" y="116"/>
                      </a:lnTo>
                      <a:lnTo>
                        <a:pt x="1117" y="127"/>
                      </a:lnTo>
                      <a:lnTo>
                        <a:pt x="1117" y="144"/>
                      </a:lnTo>
                      <a:lnTo>
                        <a:pt x="1103" y="144"/>
                      </a:lnTo>
                      <a:lnTo>
                        <a:pt x="1103" y="144"/>
                      </a:lnTo>
                      <a:lnTo>
                        <a:pt x="1103" y="144"/>
                      </a:lnTo>
                      <a:close/>
                      <a:moveTo>
                        <a:pt x="1032" y="132"/>
                      </a:moveTo>
                      <a:lnTo>
                        <a:pt x="1016" y="132"/>
                      </a:lnTo>
                      <a:lnTo>
                        <a:pt x="1028" y="127"/>
                      </a:lnTo>
                      <a:lnTo>
                        <a:pt x="1032" y="132"/>
                      </a:lnTo>
                      <a:lnTo>
                        <a:pt x="1032" y="132"/>
                      </a:lnTo>
                      <a:lnTo>
                        <a:pt x="1032" y="132"/>
                      </a:lnTo>
                      <a:close/>
                      <a:moveTo>
                        <a:pt x="1124" y="144"/>
                      </a:moveTo>
                      <a:lnTo>
                        <a:pt x="1117" y="132"/>
                      </a:lnTo>
                      <a:lnTo>
                        <a:pt x="1124" y="132"/>
                      </a:lnTo>
                      <a:lnTo>
                        <a:pt x="1124" y="144"/>
                      </a:lnTo>
                      <a:lnTo>
                        <a:pt x="1124" y="144"/>
                      </a:lnTo>
                      <a:lnTo>
                        <a:pt x="1124" y="144"/>
                      </a:lnTo>
                      <a:close/>
                      <a:moveTo>
                        <a:pt x="973" y="149"/>
                      </a:moveTo>
                      <a:lnTo>
                        <a:pt x="973" y="132"/>
                      </a:lnTo>
                      <a:lnTo>
                        <a:pt x="994" y="144"/>
                      </a:lnTo>
                      <a:lnTo>
                        <a:pt x="973" y="149"/>
                      </a:lnTo>
                      <a:lnTo>
                        <a:pt x="973" y="149"/>
                      </a:lnTo>
                      <a:lnTo>
                        <a:pt x="973" y="149"/>
                      </a:lnTo>
                      <a:close/>
                      <a:moveTo>
                        <a:pt x="999" y="172"/>
                      </a:moveTo>
                      <a:lnTo>
                        <a:pt x="973" y="160"/>
                      </a:lnTo>
                      <a:lnTo>
                        <a:pt x="1011" y="132"/>
                      </a:lnTo>
                      <a:lnTo>
                        <a:pt x="1016" y="149"/>
                      </a:lnTo>
                      <a:lnTo>
                        <a:pt x="1032" y="144"/>
                      </a:lnTo>
                      <a:lnTo>
                        <a:pt x="1042" y="149"/>
                      </a:lnTo>
                      <a:lnTo>
                        <a:pt x="999" y="172"/>
                      </a:lnTo>
                      <a:lnTo>
                        <a:pt x="999" y="172"/>
                      </a:lnTo>
                      <a:lnTo>
                        <a:pt x="999" y="172"/>
                      </a:lnTo>
                      <a:close/>
                      <a:moveTo>
                        <a:pt x="1124" y="160"/>
                      </a:moveTo>
                      <a:lnTo>
                        <a:pt x="1117" y="149"/>
                      </a:lnTo>
                      <a:lnTo>
                        <a:pt x="1141" y="149"/>
                      </a:lnTo>
                      <a:lnTo>
                        <a:pt x="1124" y="160"/>
                      </a:lnTo>
                      <a:lnTo>
                        <a:pt x="1124" y="160"/>
                      </a:lnTo>
                      <a:lnTo>
                        <a:pt x="1124" y="160"/>
                      </a:lnTo>
                      <a:close/>
                      <a:moveTo>
                        <a:pt x="1028" y="172"/>
                      </a:moveTo>
                      <a:lnTo>
                        <a:pt x="1049" y="149"/>
                      </a:lnTo>
                      <a:lnTo>
                        <a:pt x="1054" y="160"/>
                      </a:lnTo>
                      <a:lnTo>
                        <a:pt x="1049" y="165"/>
                      </a:lnTo>
                      <a:lnTo>
                        <a:pt x="1028" y="172"/>
                      </a:lnTo>
                      <a:lnTo>
                        <a:pt x="1028" y="172"/>
                      </a:lnTo>
                      <a:lnTo>
                        <a:pt x="1028" y="172"/>
                      </a:lnTo>
                      <a:close/>
                      <a:moveTo>
                        <a:pt x="1750" y="182"/>
                      </a:moveTo>
                      <a:lnTo>
                        <a:pt x="1746" y="182"/>
                      </a:lnTo>
                      <a:lnTo>
                        <a:pt x="1750" y="165"/>
                      </a:lnTo>
                      <a:lnTo>
                        <a:pt x="1767" y="172"/>
                      </a:lnTo>
                      <a:lnTo>
                        <a:pt x="1750" y="182"/>
                      </a:lnTo>
                      <a:lnTo>
                        <a:pt x="1750" y="182"/>
                      </a:lnTo>
                      <a:lnTo>
                        <a:pt x="1750" y="182"/>
                      </a:lnTo>
                      <a:close/>
                      <a:moveTo>
                        <a:pt x="1103" y="172"/>
                      </a:moveTo>
                      <a:lnTo>
                        <a:pt x="1103" y="165"/>
                      </a:lnTo>
                      <a:lnTo>
                        <a:pt x="1117" y="165"/>
                      </a:lnTo>
                      <a:lnTo>
                        <a:pt x="1117" y="172"/>
                      </a:lnTo>
                      <a:lnTo>
                        <a:pt x="1103" y="172"/>
                      </a:lnTo>
                      <a:lnTo>
                        <a:pt x="1103" y="172"/>
                      </a:lnTo>
                      <a:lnTo>
                        <a:pt x="1103" y="172"/>
                      </a:lnTo>
                      <a:close/>
                      <a:moveTo>
                        <a:pt x="945" y="189"/>
                      </a:moveTo>
                      <a:lnTo>
                        <a:pt x="961" y="189"/>
                      </a:lnTo>
                      <a:lnTo>
                        <a:pt x="945" y="189"/>
                      </a:lnTo>
                      <a:lnTo>
                        <a:pt x="945" y="172"/>
                      </a:lnTo>
                      <a:lnTo>
                        <a:pt x="978" y="189"/>
                      </a:lnTo>
                      <a:lnTo>
                        <a:pt x="973" y="165"/>
                      </a:lnTo>
                      <a:lnTo>
                        <a:pt x="994" y="182"/>
                      </a:lnTo>
                      <a:lnTo>
                        <a:pt x="978" y="189"/>
                      </a:lnTo>
                      <a:lnTo>
                        <a:pt x="978" y="205"/>
                      </a:lnTo>
                      <a:lnTo>
                        <a:pt x="973" y="205"/>
                      </a:lnTo>
                      <a:lnTo>
                        <a:pt x="924" y="205"/>
                      </a:lnTo>
                      <a:lnTo>
                        <a:pt x="940" y="198"/>
                      </a:lnTo>
                      <a:lnTo>
                        <a:pt x="928" y="189"/>
                      </a:lnTo>
                      <a:lnTo>
                        <a:pt x="945" y="189"/>
                      </a:lnTo>
                      <a:lnTo>
                        <a:pt x="945" y="189"/>
                      </a:lnTo>
                      <a:lnTo>
                        <a:pt x="945" y="189"/>
                      </a:lnTo>
                      <a:close/>
                      <a:moveTo>
                        <a:pt x="839" y="255"/>
                      </a:moveTo>
                      <a:lnTo>
                        <a:pt x="865" y="243"/>
                      </a:lnTo>
                      <a:lnTo>
                        <a:pt x="848" y="238"/>
                      </a:lnTo>
                      <a:lnTo>
                        <a:pt x="853" y="238"/>
                      </a:lnTo>
                      <a:lnTo>
                        <a:pt x="839" y="227"/>
                      </a:lnTo>
                      <a:lnTo>
                        <a:pt x="848" y="227"/>
                      </a:lnTo>
                      <a:lnTo>
                        <a:pt x="886" y="222"/>
                      </a:lnTo>
                      <a:lnTo>
                        <a:pt x="865" y="215"/>
                      </a:lnTo>
                      <a:lnTo>
                        <a:pt x="891" y="222"/>
                      </a:lnTo>
                      <a:lnTo>
                        <a:pt x="886" y="205"/>
                      </a:lnTo>
                      <a:lnTo>
                        <a:pt x="902" y="215"/>
                      </a:lnTo>
                      <a:lnTo>
                        <a:pt x="891" y="205"/>
                      </a:lnTo>
                      <a:lnTo>
                        <a:pt x="907" y="205"/>
                      </a:lnTo>
                      <a:lnTo>
                        <a:pt x="928" y="227"/>
                      </a:lnTo>
                      <a:lnTo>
                        <a:pt x="919" y="238"/>
                      </a:lnTo>
                      <a:lnTo>
                        <a:pt x="919" y="243"/>
                      </a:lnTo>
                      <a:lnTo>
                        <a:pt x="924" y="255"/>
                      </a:lnTo>
                      <a:lnTo>
                        <a:pt x="886" y="255"/>
                      </a:lnTo>
                      <a:lnTo>
                        <a:pt x="853" y="276"/>
                      </a:lnTo>
                      <a:lnTo>
                        <a:pt x="865" y="272"/>
                      </a:lnTo>
                      <a:lnTo>
                        <a:pt x="831" y="272"/>
                      </a:lnTo>
                      <a:lnTo>
                        <a:pt x="865" y="255"/>
                      </a:lnTo>
                      <a:lnTo>
                        <a:pt x="839" y="255"/>
                      </a:lnTo>
                      <a:lnTo>
                        <a:pt x="839" y="255"/>
                      </a:lnTo>
                      <a:lnTo>
                        <a:pt x="839" y="255"/>
                      </a:lnTo>
                      <a:close/>
                      <a:moveTo>
                        <a:pt x="746" y="293"/>
                      </a:moveTo>
                      <a:lnTo>
                        <a:pt x="739" y="276"/>
                      </a:lnTo>
                      <a:lnTo>
                        <a:pt x="746" y="272"/>
                      </a:lnTo>
                      <a:lnTo>
                        <a:pt x="794" y="243"/>
                      </a:lnTo>
                      <a:lnTo>
                        <a:pt x="784" y="260"/>
                      </a:lnTo>
                      <a:lnTo>
                        <a:pt x="746" y="293"/>
                      </a:lnTo>
                      <a:lnTo>
                        <a:pt x="746" y="293"/>
                      </a:lnTo>
                      <a:lnTo>
                        <a:pt x="746" y="293"/>
                      </a:lnTo>
                      <a:close/>
                      <a:moveTo>
                        <a:pt x="876" y="276"/>
                      </a:moveTo>
                      <a:lnTo>
                        <a:pt x="876" y="272"/>
                      </a:lnTo>
                      <a:lnTo>
                        <a:pt x="891" y="272"/>
                      </a:lnTo>
                      <a:lnTo>
                        <a:pt x="876" y="276"/>
                      </a:lnTo>
                      <a:lnTo>
                        <a:pt x="876" y="276"/>
                      </a:lnTo>
                      <a:lnTo>
                        <a:pt x="876" y="276"/>
                      </a:lnTo>
                      <a:close/>
                      <a:moveTo>
                        <a:pt x="676" y="326"/>
                      </a:moveTo>
                      <a:lnTo>
                        <a:pt x="671" y="316"/>
                      </a:lnTo>
                      <a:lnTo>
                        <a:pt x="676" y="300"/>
                      </a:lnTo>
                      <a:lnTo>
                        <a:pt x="702" y="309"/>
                      </a:lnTo>
                      <a:lnTo>
                        <a:pt x="709" y="293"/>
                      </a:lnTo>
                      <a:lnTo>
                        <a:pt x="725" y="300"/>
                      </a:lnTo>
                      <a:lnTo>
                        <a:pt x="709" y="283"/>
                      </a:lnTo>
                      <a:lnTo>
                        <a:pt x="713" y="276"/>
                      </a:lnTo>
                      <a:lnTo>
                        <a:pt x="739" y="300"/>
                      </a:lnTo>
                      <a:lnTo>
                        <a:pt x="739" y="316"/>
                      </a:lnTo>
                      <a:lnTo>
                        <a:pt x="713" y="333"/>
                      </a:lnTo>
                      <a:lnTo>
                        <a:pt x="702" y="326"/>
                      </a:lnTo>
                      <a:lnTo>
                        <a:pt x="725" y="309"/>
                      </a:lnTo>
                      <a:lnTo>
                        <a:pt x="676" y="326"/>
                      </a:lnTo>
                      <a:lnTo>
                        <a:pt x="676" y="326"/>
                      </a:lnTo>
                      <a:lnTo>
                        <a:pt x="676" y="326"/>
                      </a:lnTo>
                      <a:close/>
                      <a:moveTo>
                        <a:pt x="815" y="293"/>
                      </a:moveTo>
                      <a:lnTo>
                        <a:pt x="801" y="283"/>
                      </a:lnTo>
                      <a:lnTo>
                        <a:pt x="822" y="283"/>
                      </a:lnTo>
                      <a:lnTo>
                        <a:pt x="815" y="293"/>
                      </a:lnTo>
                      <a:lnTo>
                        <a:pt x="815" y="293"/>
                      </a:lnTo>
                      <a:lnTo>
                        <a:pt x="815" y="293"/>
                      </a:lnTo>
                      <a:close/>
                      <a:moveTo>
                        <a:pt x="777" y="283"/>
                      </a:moveTo>
                      <a:lnTo>
                        <a:pt x="768" y="300"/>
                      </a:lnTo>
                      <a:lnTo>
                        <a:pt x="777" y="309"/>
                      </a:lnTo>
                      <a:lnTo>
                        <a:pt x="763" y="338"/>
                      </a:lnTo>
                      <a:lnTo>
                        <a:pt x="794" y="293"/>
                      </a:lnTo>
                      <a:lnTo>
                        <a:pt x="815" y="300"/>
                      </a:lnTo>
                      <a:lnTo>
                        <a:pt x="822" y="326"/>
                      </a:lnTo>
                      <a:lnTo>
                        <a:pt x="815" y="333"/>
                      </a:lnTo>
                      <a:lnTo>
                        <a:pt x="794" y="333"/>
                      </a:lnTo>
                      <a:lnTo>
                        <a:pt x="777" y="354"/>
                      </a:lnTo>
                      <a:lnTo>
                        <a:pt x="768" y="349"/>
                      </a:lnTo>
                      <a:lnTo>
                        <a:pt x="756" y="366"/>
                      </a:lnTo>
                      <a:lnTo>
                        <a:pt x="730" y="366"/>
                      </a:lnTo>
                      <a:lnTo>
                        <a:pt x="756" y="338"/>
                      </a:lnTo>
                      <a:lnTo>
                        <a:pt x="746" y="338"/>
                      </a:lnTo>
                      <a:lnTo>
                        <a:pt x="709" y="371"/>
                      </a:lnTo>
                      <a:lnTo>
                        <a:pt x="730" y="338"/>
                      </a:lnTo>
                      <a:lnTo>
                        <a:pt x="725" y="338"/>
                      </a:lnTo>
                      <a:lnTo>
                        <a:pt x="746" y="326"/>
                      </a:lnTo>
                      <a:lnTo>
                        <a:pt x="739" y="309"/>
                      </a:lnTo>
                      <a:lnTo>
                        <a:pt x="763" y="316"/>
                      </a:lnTo>
                      <a:lnTo>
                        <a:pt x="739" y="309"/>
                      </a:lnTo>
                      <a:lnTo>
                        <a:pt x="756" y="283"/>
                      </a:lnTo>
                      <a:lnTo>
                        <a:pt x="777" y="283"/>
                      </a:lnTo>
                      <a:lnTo>
                        <a:pt x="777" y="283"/>
                      </a:lnTo>
                      <a:lnTo>
                        <a:pt x="777" y="283"/>
                      </a:lnTo>
                      <a:close/>
                      <a:moveTo>
                        <a:pt x="709" y="293"/>
                      </a:moveTo>
                      <a:lnTo>
                        <a:pt x="702" y="283"/>
                      </a:lnTo>
                      <a:lnTo>
                        <a:pt x="709" y="283"/>
                      </a:lnTo>
                      <a:lnTo>
                        <a:pt x="709" y="293"/>
                      </a:lnTo>
                      <a:lnTo>
                        <a:pt x="709" y="293"/>
                      </a:lnTo>
                      <a:lnTo>
                        <a:pt x="709" y="293"/>
                      </a:lnTo>
                      <a:close/>
                      <a:moveTo>
                        <a:pt x="869" y="300"/>
                      </a:moveTo>
                      <a:lnTo>
                        <a:pt x="853" y="293"/>
                      </a:lnTo>
                      <a:lnTo>
                        <a:pt x="886" y="293"/>
                      </a:lnTo>
                      <a:lnTo>
                        <a:pt x="869" y="300"/>
                      </a:lnTo>
                      <a:lnTo>
                        <a:pt x="869" y="300"/>
                      </a:lnTo>
                      <a:lnTo>
                        <a:pt x="869" y="300"/>
                      </a:lnTo>
                      <a:close/>
                      <a:moveTo>
                        <a:pt x="839" y="316"/>
                      </a:moveTo>
                      <a:lnTo>
                        <a:pt x="848" y="293"/>
                      </a:lnTo>
                      <a:lnTo>
                        <a:pt x="865" y="309"/>
                      </a:lnTo>
                      <a:lnTo>
                        <a:pt x="839" y="316"/>
                      </a:lnTo>
                      <a:lnTo>
                        <a:pt x="839" y="316"/>
                      </a:lnTo>
                      <a:lnTo>
                        <a:pt x="839" y="316"/>
                      </a:lnTo>
                      <a:close/>
                      <a:moveTo>
                        <a:pt x="794" y="354"/>
                      </a:moveTo>
                      <a:lnTo>
                        <a:pt x="801" y="338"/>
                      </a:lnTo>
                      <a:lnTo>
                        <a:pt x="815" y="349"/>
                      </a:lnTo>
                      <a:lnTo>
                        <a:pt x="794" y="354"/>
                      </a:lnTo>
                      <a:lnTo>
                        <a:pt x="794" y="354"/>
                      </a:lnTo>
                      <a:lnTo>
                        <a:pt x="794" y="354"/>
                      </a:lnTo>
                      <a:close/>
                      <a:moveTo>
                        <a:pt x="654" y="387"/>
                      </a:moveTo>
                      <a:lnTo>
                        <a:pt x="659" y="366"/>
                      </a:lnTo>
                      <a:lnTo>
                        <a:pt x="676" y="366"/>
                      </a:lnTo>
                      <a:lnTo>
                        <a:pt x="671" y="354"/>
                      </a:lnTo>
                      <a:lnTo>
                        <a:pt x="676" y="354"/>
                      </a:lnTo>
                      <a:lnTo>
                        <a:pt x="702" y="349"/>
                      </a:lnTo>
                      <a:lnTo>
                        <a:pt x="692" y="366"/>
                      </a:lnTo>
                      <a:lnTo>
                        <a:pt x="725" y="349"/>
                      </a:lnTo>
                      <a:lnTo>
                        <a:pt x="702" y="371"/>
                      </a:lnTo>
                      <a:lnTo>
                        <a:pt x="654" y="387"/>
                      </a:lnTo>
                      <a:lnTo>
                        <a:pt x="654" y="387"/>
                      </a:lnTo>
                      <a:lnTo>
                        <a:pt x="654" y="387"/>
                      </a:lnTo>
                      <a:close/>
                      <a:moveTo>
                        <a:pt x="654" y="371"/>
                      </a:moveTo>
                      <a:lnTo>
                        <a:pt x="650" y="366"/>
                      </a:lnTo>
                      <a:lnTo>
                        <a:pt x="654" y="366"/>
                      </a:lnTo>
                      <a:lnTo>
                        <a:pt x="654" y="371"/>
                      </a:lnTo>
                      <a:lnTo>
                        <a:pt x="654" y="371"/>
                      </a:lnTo>
                      <a:lnTo>
                        <a:pt x="654" y="371"/>
                      </a:lnTo>
                      <a:close/>
                      <a:moveTo>
                        <a:pt x="638" y="371"/>
                      </a:moveTo>
                      <a:lnTo>
                        <a:pt x="633" y="366"/>
                      </a:lnTo>
                      <a:lnTo>
                        <a:pt x="638" y="366"/>
                      </a:lnTo>
                      <a:lnTo>
                        <a:pt x="638" y="371"/>
                      </a:lnTo>
                      <a:lnTo>
                        <a:pt x="638" y="371"/>
                      </a:lnTo>
                      <a:lnTo>
                        <a:pt x="638" y="371"/>
                      </a:lnTo>
                      <a:close/>
                      <a:moveTo>
                        <a:pt x="605" y="394"/>
                      </a:moveTo>
                      <a:lnTo>
                        <a:pt x="600" y="394"/>
                      </a:lnTo>
                      <a:lnTo>
                        <a:pt x="605" y="371"/>
                      </a:lnTo>
                      <a:lnTo>
                        <a:pt x="650" y="371"/>
                      </a:lnTo>
                      <a:lnTo>
                        <a:pt x="605" y="394"/>
                      </a:lnTo>
                      <a:lnTo>
                        <a:pt x="605" y="394"/>
                      </a:lnTo>
                      <a:lnTo>
                        <a:pt x="605" y="394"/>
                      </a:lnTo>
                      <a:close/>
                      <a:moveTo>
                        <a:pt x="583" y="404"/>
                      </a:moveTo>
                      <a:lnTo>
                        <a:pt x="583" y="394"/>
                      </a:lnTo>
                      <a:lnTo>
                        <a:pt x="595" y="387"/>
                      </a:lnTo>
                      <a:lnTo>
                        <a:pt x="600" y="387"/>
                      </a:lnTo>
                      <a:lnTo>
                        <a:pt x="583" y="404"/>
                      </a:lnTo>
                      <a:lnTo>
                        <a:pt x="583" y="404"/>
                      </a:lnTo>
                      <a:lnTo>
                        <a:pt x="583" y="404"/>
                      </a:lnTo>
                      <a:close/>
                      <a:moveTo>
                        <a:pt x="550" y="427"/>
                      </a:moveTo>
                      <a:lnTo>
                        <a:pt x="579" y="387"/>
                      </a:lnTo>
                      <a:lnTo>
                        <a:pt x="583" y="394"/>
                      </a:lnTo>
                      <a:lnTo>
                        <a:pt x="579" y="411"/>
                      </a:lnTo>
                      <a:lnTo>
                        <a:pt x="550" y="427"/>
                      </a:lnTo>
                      <a:lnTo>
                        <a:pt x="550" y="427"/>
                      </a:lnTo>
                      <a:lnTo>
                        <a:pt x="550" y="427"/>
                      </a:lnTo>
                      <a:close/>
                      <a:moveTo>
                        <a:pt x="756" y="404"/>
                      </a:moveTo>
                      <a:lnTo>
                        <a:pt x="746" y="404"/>
                      </a:lnTo>
                      <a:lnTo>
                        <a:pt x="777" y="404"/>
                      </a:lnTo>
                      <a:lnTo>
                        <a:pt x="756" y="404"/>
                      </a:lnTo>
                      <a:lnTo>
                        <a:pt x="756" y="404"/>
                      </a:lnTo>
                      <a:lnTo>
                        <a:pt x="756" y="404"/>
                      </a:lnTo>
                      <a:close/>
                      <a:moveTo>
                        <a:pt x="725" y="411"/>
                      </a:moveTo>
                      <a:lnTo>
                        <a:pt x="709" y="411"/>
                      </a:lnTo>
                      <a:lnTo>
                        <a:pt x="730" y="411"/>
                      </a:lnTo>
                      <a:lnTo>
                        <a:pt x="725" y="411"/>
                      </a:lnTo>
                      <a:lnTo>
                        <a:pt x="725" y="411"/>
                      </a:lnTo>
                      <a:lnTo>
                        <a:pt x="725" y="411"/>
                      </a:lnTo>
                      <a:close/>
                      <a:moveTo>
                        <a:pt x="654" y="522"/>
                      </a:moveTo>
                      <a:lnTo>
                        <a:pt x="638" y="515"/>
                      </a:lnTo>
                      <a:lnTo>
                        <a:pt x="659" y="503"/>
                      </a:lnTo>
                      <a:lnTo>
                        <a:pt x="654" y="522"/>
                      </a:lnTo>
                      <a:lnTo>
                        <a:pt x="654" y="522"/>
                      </a:lnTo>
                      <a:lnTo>
                        <a:pt x="654" y="522"/>
                      </a:lnTo>
                      <a:close/>
                      <a:moveTo>
                        <a:pt x="550" y="614"/>
                      </a:moveTo>
                      <a:lnTo>
                        <a:pt x="562" y="609"/>
                      </a:lnTo>
                      <a:lnTo>
                        <a:pt x="550" y="614"/>
                      </a:lnTo>
                      <a:lnTo>
                        <a:pt x="550" y="614"/>
                      </a:lnTo>
                      <a:lnTo>
                        <a:pt x="550" y="614"/>
                      </a:lnTo>
                      <a:close/>
                      <a:moveTo>
                        <a:pt x="524" y="642"/>
                      </a:moveTo>
                      <a:lnTo>
                        <a:pt x="541" y="614"/>
                      </a:lnTo>
                      <a:lnTo>
                        <a:pt x="546" y="631"/>
                      </a:lnTo>
                      <a:lnTo>
                        <a:pt x="524" y="642"/>
                      </a:lnTo>
                      <a:lnTo>
                        <a:pt x="524" y="642"/>
                      </a:lnTo>
                      <a:lnTo>
                        <a:pt x="524" y="642"/>
                      </a:lnTo>
                      <a:close/>
                      <a:moveTo>
                        <a:pt x="529" y="666"/>
                      </a:moveTo>
                      <a:lnTo>
                        <a:pt x="541" y="649"/>
                      </a:lnTo>
                      <a:lnTo>
                        <a:pt x="562" y="642"/>
                      </a:lnTo>
                      <a:lnTo>
                        <a:pt x="529" y="666"/>
                      </a:lnTo>
                      <a:lnTo>
                        <a:pt x="529" y="666"/>
                      </a:lnTo>
                      <a:lnTo>
                        <a:pt x="529" y="666"/>
                      </a:lnTo>
                      <a:close/>
                      <a:moveTo>
                        <a:pt x="491" y="699"/>
                      </a:moveTo>
                      <a:lnTo>
                        <a:pt x="487" y="687"/>
                      </a:lnTo>
                      <a:lnTo>
                        <a:pt x="498" y="683"/>
                      </a:lnTo>
                      <a:lnTo>
                        <a:pt x="491" y="699"/>
                      </a:lnTo>
                      <a:lnTo>
                        <a:pt x="491" y="699"/>
                      </a:lnTo>
                      <a:lnTo>
                        <a:pt x="491" y="699"/>
                      </a:lnTo>
                      <a:close/>
                      <a:moveTo>
                        <a:pt x="508" y="737"/>
                      </a:moveTo>
                      <a:lnTo>
                        <a:pt x="513" y="699"/>
                      </a:lnTo>
                      <a:lnTo>
                        <a:pt x="541" y="720"/>
                      </a:lnTo>
                      <a:lnTo>
                        <a:pt x="508" y="737"/>
                      </a:lnTo>
                      <a:lnTo>
                        <a:pt x="508" y="737"/>
                      </a:lnTo>
                      <a:lnTo>
                        <a:pt x="508" y="737"/>
                      </a:lnTo>
                      <a:close/>
                      <a:moveTo>
                        <a:pt x="508" y="758"/>
                      </a:moveTo>
                      <a:lnTo>
                        <a:pt x="498" y="753"/>
                      </a:lnTo>
                      <a:lnTo>
                        <a:pt x="513" y="737"/>
                      </a:lnTo>
                      <a:lnTo>
                        <a:pt x="524" y="753"/>
                      </a:lnTo>
                      <a:lnTo>
                        <a:pt x="508" y="758"/>
                      </a:lnTo>
                      <a:lnTo>
                        <a:pt x="508" y="758"/>
                      </a:lnTo>
                      <a:lnTo>
                        <a:pt x="508" y="758"/>
                      </a:lnTo>
                      <a:close/>
                      <a:moveTo>
                        <a:pt x="470" y="758"/>
                      </a:moveTo>
                      <a:lnTo>
                        <a:pt x="470" y="753"/>
                      </a:lnTo>
                      <a:lnTo>
                        <a:pt x="487" y="753"/>
                      </a:lnTo>
                      <a:lnTo>
                        <a:pt x="470" y="758"/>
                      </a:lnTo>
                      <a:lnTo>
                        <a:pt x="470" y="758"/>
                      </a:lnTo>
                      <a:lnTo>
                        <a:pt x="470" y="758"/>
                      </a:lnTo>
                      <a:close/>
                      <a:moveTo>
                        <a:pt x="437" y="782"/>
                      </a:moveTo>
                      <a:lnTo>
                        <a:pt x="416" y="782"/>
                      </a:lnTo>
                      <a:lnTo>
                        <a:pt x="437" y="770"/>
                      </a:lnTo>
                      <a:lnTo>
                        <a:pt x="444" y="777"/>
                      </a:lnTo>
                      <a:lnTo>
                        <a:pt x="437" y="782"/>
                      </a:lnTo>
                      <a:lnTo>
                        <a:pt x="437" y="782"/>
                      </a:lnTo>
                      <a:lnTo>
                        <a:pt x="437" y="782"/>
                      </a:lnTo>
                      <a:close/>
                      <a:moveTo>
                        <a:pt x="454" y="810"/>
                      </a:moveTo>
                      <a:lnTo>
                        <a:pt x="444" y="810"/>
                      </a:lnTo>
                      <a:lnTo>
                        <a:pt x="454" y="798"/>
                      </a:lnTo>
                      <a:lnTo>
                        <a:pt x="454" y="810"/>
                      </a:lnTo>
                      <a:lnTo>
                        <a:pt x="454" y="810"/>
                      </a:lnTo>
                      <a:lnTo>
                        <a:pt x="454" y="810"/>
                      </a:lnTo>
                      <a:close/>
                      <a:moveTo>
                        <a:pt x="461" y="827"/>
                      </a:moveTo>
                      <a:lnTo>
                        <a:pt x="444" y="827"/>
                      </a:lnTo>
                      <a:lnTo>
                        <a:pt x="432" y="810"/>
                      </a:lnTo>
                      <a:lnTo>
                        <a:pt x="461" y="815"/>
                      </a:lnTo>
                      <a:lnTo>
                        <a:pt x="461" y="827"/>
                      </a:lnTo>
                      <a:lnTo>
                        <a:pt x="461" y="827"/>
                      </a:lnTo>
                      <a:lnTo>
                        <a:pt x="461" y="827"/>
                      </a:lnTo>
                      <a:close/>
                      <a:moveTo>
                        <a:pt x="243" y="921"/>
                      </a:moveTo>
                      <a:lnTo>
                        <a:pt x="276" y="905"/>
                      </a:lnTo>
                      <a:lnTo>
                        <a:pt x="276" y="909"/>
                      </a:lnTo>
                      <a:lnTo>
                        <a:pt x="243" y="921"/>
                      </a:lnTo>
                      <a:lnTo>
                        <a:pt x="243" y="921"/>
                      </a:lnTo>
                      <a:lnTo>
                        <a:pt x="243" y="921"/>
                      </a:lnTo>
                      <a:close/>
                      <a:moveTo>
                        <a:pt x="255" y="942"/>
                      </a:moveTo>
                      <a:lnTo>
                        <a:pt x="239" y="942"/>
                      </a:lnTo>
                      <a:lnTo>
                        <a:pt x="281" y="921"/>
                      </a:lnTo>
                      <a:lnTo>
                        <a:pt x="298" y="926"/>
                      </a:lnTo>
                      <a:lnTo>
                        <a:pt x="255" y="942"/>
                      </a:lnTo>
                      <a:lnTo>
                        <a:pt x="255" y="942"/>
                      </a:lnTo>
                      <a:lnTo>
                        <a:pt x="255" y="942"/>
                      </a:lnTo>
                      <a:close/>
                      <a:moveTo>
                        <a:pt x="222" y="959"/>
                      </a:moveTo>
                      <a:lnTo>
                        <a:pt x="206" y="947"/>
                      </a:lnTo>
                      <a:lnTo>
                        <a:pt x="222" y="942"/>
                      </a:lnTo>
                      <a:lnTo>
                        <a:pt x="227" y="947"/>
                      </a:lnTo>
                      <a:lnTo>
                        <a:pt x="222" y="959"/>
                      </a:lnTo>
                      <a:lnTo>
                        <a:pt x="222" y="959"/>
                      </a:lnTo>
                      <a:lnTo>
                        <a:pt x="222" y="959"/>
                      </a:lnTo>
                      <a:close/>
                      <a:moveTo>
                        <a:pt x="260" y="959"/>
                      </a:moveTo>
                      <a:lnTo>
                        <a:pt x="255" y="959"/>
                      </a:lnTo>
                      <a:lnTo>
                        <a:pt x="272" y="959"/>
                      </a:lnTo>
                      <a:lnTo>
                        <a:pt x="260" y="959"/>
                      </a:lnTo>
                      <a:lnTo>
                        <a:pt x="260" y="959"/>
                      </a:lnTo>
                      <a:lnTo>
                        <a:pt x="260" y="959"/>
                      </a:lnTo>
                      <a:close/>
                      <a:moveTo>
                        <a:pt x="243" y="975"/>
                      </a:moveTo>
                      <a:lnTo>
                        <a:pt x="239" y="964"/>
                      </a:lnTo>
                      <a:lnTo>
                        <a:pt x="255" y="959"/>
                      </a:lnTo>
                      <a:lnTo>
                        <a:pt x="260" y="975"/>
                      </a:lnTo>
                      <a:lnTo>
                        <a:pt x="243" y="975"/>
                      </a:lnTo>
                      <a:lnTo>
                        <a:pt x="243" y="975"/>
                      </a:lnTo>
                      <a:lnTo>
                        <a:pt x="243" y="975"/>
                      </a:lnTo>
                      <a:close/>
                      <a:moveTo>
                        <a:pt x="222" y="975"/>
                      </a:moveTo>
                      <a:lnTo>
                        <a:pt x="217" y="975"/>
                      </a:lnTo>
                      <a:lnTo>
                        <a:pt x="222" y="964"/>
                      </a:lnTo>
                      <a:lnTo>
                        <a:pt x="227" y="975"/>
                      </a:lnTo>
                      <a:lnTo>
                        <a:pt x="222" y="975"/>
                      </a:lnTo>
                      <a:lnTo>
                        <a:pt x="222" y="975"/>
                      </a:lnTo>
                      <a:lnTo>
                        <a:pt x="222" y="975"/>
                      </a:lnTo>
                      <a:close/>
                      <a:moveTo>
                        <a:pt x="239" y="975"/>
                      </a:moveTo>
                      <a:lnTo>
                        <a:pt x="227" y="964"/>
                      </a:lnTo>
                      <a:lnTo>
                        <a:pt x="243" y="975"/>
                      </a:lnTo>
                      <a:lnTo>
                        <a:pt x="239" y="975"/>
                      </a:lnTo>
                      <a:lnTo>
                        <a:pt x="239" y="975"/>
                      </a:lnTo>
                      <a:lnTo>
                        <a:pt x="239" y="975"/>
                      </a:lnTo>
                      <a:close/>
                      <a:moveTo>
                        <a:pt x="206" y="992"/>
                      </a:moveTo>
                      <a:lnTo>
                        <a:pt x="201" y="992"/>
                      </a:lnTo>
                      <a:lnTo>
                        <a:pt x="217" y="980"/>
                      </a:lnTo>
                      <a:lnTo>
                        <a:pt x="206" y="992"/>
                      </a:lnTo>
                      <a:lnTo>
                        <a:pt x="206" y="992"/>
                      </a:lnTo>
                      <a:lnTo>
                        <a:pt x="206" y="992"/>
                      </a:lnTo>
                      <a:close/>
                      <a:moveTo>
                        <a:pt x="184" y="997"/>
                      </a:moveTo>
                      <a:lnTo>
                        <a:pt x="172" y="997"/>
                      </a:lnTo>
                      <a:lnTo>
                        <a:pt x="172" y="992"/>
                      </a:lnTo>
                      <a:lnTo>
                        <a:pt x="189" y="980"/>
                      </a:lnTo>
                      <a:lnTo>
                        <a:pt x="201" y="992"/>
                      </a:lnTo>
                      <a:lnTo>
                        <a:pt x="184" y="997"/>
                      </a:lnTo>
                      <a:lnTo>
                        <a:pt x="184" y="997"/>
                      </a:lnTo>
                      <a:lnTo>
                        <a:pt x="184" y="997"/>
                      </a:lnTo>
                      <a:close/>
                      <a:moveTo>
                        <a:pt x="135" y="1020"/>
                      </a:moveTo>
                      <a:lnTo>
                        <a:pt x="135" y="1013"/>
                      </a:lnTo>
                      <a:lnTo>
                        <a:pt x="146" y="1013"/>
                      </a:lnTo>
                      <a:lnTo>
                        <a:pt x="135" y="1020"/>
                      </a:lnTo>
                      <a:lnTo>
                        <a:pt x="135" y="1020"/>
                      </a:lnTo>
                      <a:lnTo>
                        <a:pt x="135" y="1020"/>
                      </a:lnTo>
                      <a:close/>
                      <a:moveTo>
                        <a:pt x="130" y="1032"/>
                      </a:moveTo>
                      <a:lnTo>
                        <a:pt x="130" y="1020"/>
                      </a:lnTo>
                      <a:lnTo>
                        <a:pt x="146" y="1032"/>
                      </a:lnTo>
                      <a:lnTo>
                        <a:pt x="130" y="1032"/>
                      </a:lnTo>
                      <a:lnTo>
                        <a:pt x="130" y="1032"/>
                      </a:lnTo>
                      <a:lnTo>
                        <a:pt x="130" y="1032"/>
                      </a:lnTo>
                      <a:close/>
                      <a:moveTo>
                        <a:pt x="97" y="1058"/>
                      </a:moveTo>
                      <a:lnTo>
                        <a:pt x="83" y="1053"/>
                      </a:lnTo>
                      <a:lnTo>
                        <a:pt x="109" y="1058"/>
                      </a:lnTo>
                      <a:lnTo>
                        <a:pt x="97" y="1058"/>
                      </a:lnTo>
                      <a:lnTo>
                        <a:pt x="97" y="1058"/>
                      </a:lnTo>
                      <a:lnTo>
                        <a:pt x="97" y="1058"/>
                      </a:lnTo>
                      <a:close/>
                      <a:moveTo>
                        <a:pt x="66" y="1075"/>
                      </a:moveTo>
                      <a:lnTo>
                        <a:pt x="66" y="1058"/>
                      </a:lnTo>
                      <a:lnTo>
                        <a:pt x="83" y="1070"/>
                      </a:lnTo>
                      <a:lnTo>
                        <a:pt x="66" y="1075"/>
                      </a:lnTo>
                      <a:lnTo>
                        <a:pt x="66" y="1075"/>
                      </a:lnTo>
                      <a:lnTo>
                        <a:pt x="66" y="1075"/>
                      </a:lnTo>
                      <a:close/>
                      <a:moveTo>
                        <a:pt x="54" y="1086"/>
                      </a:moveTo>
                      <a:lnTo>
                        <a:pt x="45" y="1086"/>
                      </a:lnTo>
                      <a:lnTo>
                        <a:pt x="45" y="1075"/>
                      </a:lnTo>
                      <a:lnTo>
                        <a:pt x="66" y="1075"/>
                      </a:lnTo>
                      <a:lnTo>
                        <a:pt x="54" y="1086"/>
                      </a:lnTo>
                      <a:lnTo>
                        <a:pt x="54" y="1086"/>
                      </a:lnTo>
                      <a:lnTo>
                        <a:pt x="54" y="1086"/>
                      </a:lnTo>
                      <a:close/>
                      <a:moveTo>
                        <a:pt x="12" y="1115"/>
                      </a:moveTo>
                      <a:lnTo>
                        <a:pt x="12" y="1103"/>
                      </a:lnTo>
                      <a:lnTo>
                        <a:pt x="12" y="1115"/>
                      </a:lnTo>
                      <a:lnTo>
                        <a:pt x="12" y="1115"/>
                      </a:lnTo>
                      <a:lnTo>
                        <a:pt x="12" y="1115"/>
                      </a:lnTo>
                      <a:close/>
                      <a:moveTo>
                        <a:pt x="7" y="1131"/>
                      </a:moveTo>
                      <a:lnTo>
                        <a:pt x="0" y="1124"/>
                      </a:lnTo>
                      <a:lnTo>
                        <a:pt x="7" y="1115"/>
                      </a:lnTo>
                      <a:lnTo>
                        <a:pt x="21" y="1124"/>
                      </a:lnTo>
                      <a:lnTo>
                        <a:pt x="7" y="1131"/>
                      </a:lnTo>
                      <a:lnTo>
                        <a:pt x="7" y="1131"/>
                      </a:lnTo>
                      <a:lnTo>
                        <a:pt x="7" y="1131"/>
                      </a:lnTo>
                      <a:close/>
                      <a:moveTo>
                        <a:pt x="0" y="1214"/>
                      </a:moveTo>
                      <a:lnTo>
                        <a:pt x="0" y="1197"/>
                      </a:lnTo>
                      <a:lnTo>
                        <a:pt x="7" y="1197"/>
                      </a:lnTo>
                      <a:lnTo>
                        <a:pt x="7" y="1202"/>
                      </a:lnTo>
                      <a:lnTo>
                        <a:pt x="0" y="1214"/>
                      </a:lnTo>
                      <a:lnTo>
                        <a:pt x="0" y="1214"/>
                      </a:lnTo>
                      <a:lnTo>
                        <a:pt x="0" y="1214"/>
                      </a:lnTo>
                      <a:close/>
                      <a:moveTo>
                        <a:pt x="45" y="1275"/>
                      </a:moveTo>
                      <a:lnTo>
                        <a:pt x="38" y="1268"/>
                      </a:lnTo>
                      <a:lnTo>
                        <a:pt x="59" y="1252"/>
                      </a:lnTo>
                      <a:lnTo>
                        <a:pt x="59" y="1275"/>
                      </a:lnTo>
                      <a:lnTo>
                        <a:pt x="45" y="1275"/>
                      </a:lnTo>
                      <a:lnTo>
                        <a:pt x="45" y="1275"/>
                      </a:lnTo>
                      <a:lnTo>
                        <a:pt x="45" y="1275"/>
                      </a:lnTo>
                      <a:close/>
                      <a:moveTo>
                        <a:pt x="21" y="1280"/>
                      </a:moveTo>
                      <a:lnTo>
                        <a:pt x="7" y="1268"/>
                      </a:lnTo>
                      <a:lnTo>
                        <a:pt x="21" y="1275"/>
                      </a:lnTo>
                      <a:lnTo>
                        <a:pt x="21" y="1280"/>
                      </a:lnTo>
                      <a:lnTo>
                        <a:pt x="21" y="1280"/>
                      </a:lnTo>
                      <a:lnTo>
                        <a:pt x="21" y="1280"/>
                      </a:lnTo>
                      <a:close/>
                      <a:moveTo>
                        <a:pt x="12" y="1308"/>
                      </a:moveTo>
                      <a:lnTo>
                        <a:pt x="7" y="1297"/>
                      </a:lnTo>
                      <a:lnTo>
                        <a:pt x="7" y="1275"/>
                      </a:lnTo>
                      <a:lnTo>
                        <a:pt x="12" y="1292"/>
                      </a:lnTo>
                      <a:lnTo>
                        <a:pt x="12" y="1308"/>
                      </a:lnTo>
                      <a:lnTo>
                        <a:pt x="12" y="1308"/>
                      </a:lnTo>
                      <a:lnTo>
                        <a:pt x="12" y="1308"/>
                      </a:lnTo>
                      <a:close/>
                      <a:moveTo>
                        <a:pt x="76" y="1313"/>
                      </a:moveTo>
                      <a:lnTo>
                        <a:pt x="76" y="1308"/>
                      </a:lnTo>
                      <a:lnTo>
                        <a:pt x="83" y="1308"/>
                      </a:lnTo>
                      <a:lnTo>
                        <a:pt x="76" y="1313"/>
                      </a:lnTo>
                      <a:lnTo>
                        <a:pt x="76" y="1313"/>
                      </a:lnTo>
                      <a:lnTo>
                        <a:pt x="76" y="1313"/>
                      </a:lnTo>
                      <a:close/>
                      <a:moveTo>
                        <a:pt x="28" y="1325"/>
                      </a:moveTo>
                      <a:lnTo>
                        <a:pt x="21" y="1325"/>
                      </a:lnTo>
                      <a:lnTo>
                        <a:pt x="21" y="1313"/>
                      </a:lnTo>
                      <a:lnTo>
                        <a:pt x="28" y="1325"/>
                      </a:lnTo>
                      <a:lnTo>
                        <a:pt x="28" y="1325"/>
                      </a:lnTo>
                      <a:lnTo>
                        <a:pt x="28" y="1325"/>
                      </a:lnTo>
                      <a:close/>
                      <a:moveTo>
                        <a:pt x="45" y="1337"/>
                      </a:moveTo>
                      <a:lnTo>
                        <a:pt x="38" y="1325"/>
                      </a:lnTo>
                      <a:lnTo>
                        <a:pt x="54" y="1313"/>
                      </a:lnTo>
                      <a:lnTo>
                        <a:pt x="45" y="1337"/>
                      </a:lnTo>
                      <a:lnTo>
                        <a:pt x="45" y="1337"/>
                      </a:lnTo>
                      <a:lnTo>
                        <a:pt x="45" y="1337"/>
                      </a:lnTo>
                      <a:close/>
                      <a:moveTo>
                        <a:pt x="38" y="1353"/>
                      </a:moveTo>
                      <a:lnTo>
                        <a:pt x="28" y="1346"/>
                      </a:lnTo>
                      <a:lnTo>
                        <a:pt x="28" y="1330"/>
                      </a:lnTo>
                      <a:lnTo>
                        <a:pt x="45" y="1337"/>
                      </a:lnTo>
                      <a:lnTo>
                        <a:pt x="38" y="1353"/>
                      </a:lnTo>
                      <a:lnTo>
                        <a:pt x="38" y="1353"/>
                      </a:lnTo>
                      <a:lnTo>
                        <a:pt x="38" y="1353"/>
                      </a:lnTo>
                      <a:close/>
                      <a:moveTo>
                        <a:pt x="21" y="1370"/>
                      </a:moveTo>
                      <a:lnTo>
                        <a:pt x="12" y="1346"/>
                      </a:lnTo>
                      <a:lnTo>
                        <a:pt x="21" y="1337"/>
                      </a:lnTo>
                      <a:lnTo>
                        <a:pt x="38" y="1353"/>
                      </a:lnTo>
                      <a:lnTo>
                        <a:pt x="21" y="1353"/>
                      </a:lnTo>
                      <a:lnTo>
                        <a:pt x="21" y="1370"/>
                      </a:lnTo>
                      <a:lnTo>
                        <a:pt x="21" y="1370"/>
                      </a:lnTo>
                      <a:lnTo>
                        <a:pt x="21" y="1370"/>
                      </a:lnTo>
                      <a:close/>
                      <a:moveTo>
                        <a:pt x="21" y="1420"/>
                      </a:moveTo>
                      <a:lnTo>
                        <a:pt x="21" y="1386"/>
                      </a:lnTo>
                      <a:lnTo>
                        <a:pt x="28" y="1408"/>
                      </a:lnTo>
                      <a:lnTo>
                        <a:pt x="21" y="1420"/>
                      </a:lnTo>
                      <a:lnTo>
                        <a:pt x="21" y="1420"/>
                      </a:lnTo>
                      <a:lnTo>
                        <a:pt x="21" y="142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6" name="Freeform 532">
                  <a:extLst>
                    <a:ext uri="{FF2B5EF4-FFF2-40B4-BE49-F238E27FC236}">
                      <a16:creationId xmlns:a16="http://schemas.microsoft.com/office/drawing/2014/main" id="{E098D607-84D4-4CDF-A8B2-403637216545}"/>
                    </a:ext>
                  </a:extLst>
                </p:cNvPr>
                <p:cNvSpPr>
                  <a:spLocks/>
                </p:cNvSpPr>
                <p:nvPr/>
              </p:nvSpPr>
              <p:spPr bwMode="gray">
                <a:xfrm>
                  <a:off x="7134612" y="2252688"/>
                  <a:ext cx="288992" cy="229738"/>
                </a:xfrm>
                <a:custGeom>
                  <a:avLst/>
                  <a:gdLst>
                    <a:gd name="T0" fmla="*/ 87 w 702"/>
                    <a:gd name="T1" fmla="*/ 392 h 558"/>
                    <a:gd name="T2" fmla="*/ 54 w 702"/>
                    <a:gd name="T3" fmla="*/ 371 h 558"/>
                    <a:gd name="T4" fmla="*/ 50 w 702"/>
                    <a:gd name="T5" fmla="*/ 388 h 558"/>
                    <a:gd name="T6" fmla="*/ 54 w 702"/>
                    <a:gd name="T7" fmla="*/ 321 h 558"/>
                    <a:gd name="T8" fmla="*/ 40 w 702"/>
                    <a:gd name="T9" fmla="*/ 310 h 558"/>
                    <a:gd name="T10" fmla="*/ 40 w 702"/>
                    <a:gd name="T11" fmla="*/ 265 h 558"/>
                    <a:gd name="T12" fmla="*/ 24 w 702"/>
                    <a:gd name="T13" fmla="*/ 239 h 558"/>
                    <a:gd name="T14" fmla="*/ 0 w 702"/>
                    <a:gd name="T15" fmla="*/ 189 h 558"/>
                    <a:gd name="T16" fmla="*/ 16 w 702"/>
                    <a:gd name="T17" fmla="*/ 166 h 558"/>
                    <a:gd name="T18" fmla="*/ 7 w 702"/>
                    <a:gd name="T19" fmla="*/ 111 h 558"/>
                    <a:gd name="T20" fmla="*/ 33 w 702"/>
                    <a:gd name="T21" fmla="*/ 99 h 558"/>
                    <a:gd name="T22" fmla="*/ 0 w 702"/>
                    <a:gd name="T23" fmla="*/ 90 h 558"/>
                    <a:gd name="T24" fmla="*/ 163 w 702"/>
                    <a:gd name="T25" fmla="*/ 24 h 558"/>
                    <a:gd name="T26" fmla="*/ 293 w 702"/>
                    <a:gd name="T27" fmla="*/ 0 h 558"/>
                    <a:gd name="T28" fmla="*/ 326 w 702"/>
                    <a:gd name="T29" fmla="*/ 24 h 558"/>
                    <a:gd name="T30" fmla="*/ 309 w 702"/>
                    <a:gd name="T31" fmla="*/ 40 h 558"/>
                    <a:gd name="T32" fmla="*/ 380 w 702"/>
                    <a:gd name="T33" fmla="*/ 33 h 558"/>
                    <a:gd name="T34" fmla="*/ 359 w 702"/>
                    <a:gd name="T35" fmla="*/ 45 h 558"/>
                    <a:gd name="T36" fmla="*/ 397 w 702"/>
                    <a:gd name="T37" fmla="*/ 40 h 558"/>
                    <a:gd name="T38" fmla="*/ 609 w 702"/>
                    <a:gd name="T39" fmla="*/ 45 h 558"/>
                    <a:gd name="T40" fmla="*/ 647 w 702"/>
                    <a:gd name="T41" fmla="*/ 57 h 558"/>
                    <a:gd name="T42" fmla="*/ 664 w 702"/>
                    <a:gd name="T43" fmla="*/ 90 h 558"/>
                    <a:gd name="T44" fmla="*/ 690 w 702"/>
                    <a:gd name="T45" fmla="*/ 206 h 558"/>
                    <a:gd name="T46" fmla="*/ 635 w 702"/>
                    <a:gd name="T47" fmla="*/ 244 h 558"/>
                    <a:gd name="T48" fmla="*/ 664 w 702"/>
                    <a:gd name="T49" fmla="*/ 310 h 558"/>
                    <a:gd name="T50" fmla="*/ 673 w 702"/>
                    <a:gd name="T51" fmla="*/ 350 h 558"/>
                    <a:gd name="T52" fmla="*/ 690 w 702"/>
                    <a:gd name="T53" fmla="*/ 388 h 558"/>
                    <a:gd name="T54" fmla="*/ 690 w 702"/>
                    <a:gd name="T55" fmla="*/ 425 h 558"/>
                    <a:gd name="T56" fmla="*/ 647 w 702"/>
                    <a:gd name="T57" fmla="*/ 458 h 558"/>
                    <a:gd name="T58" fmla="*/ 609 w 702"/>
                    <a:gd name="T59" fmla="*/ 532 h 558"/>
                    <a:gd name="T60" fmla="*/ 614 w 702"/>
                    <a:gd name="T61" fmla="*/ 553 h 558"/>
                    <a:gd name="T62" fmla="*/ 593 w 702"/>
                    <a:gd name="T63" fmla="*/ 553 h 558"/>
                    <a:gd name="T64" fmla="*/ 555 w 702"/>
                    <a:gd name="T65" fmla="*/ 532 h 558"/>
                    <a:gd name="T66" fmla="*/ 489 w 702"/>
                    <a:gd name="T67" fmla="*/ 520 h 558"/>
                    <a:gd name="T68" fmla="*/ 468 w 702"/>
                    <a:gd name="T69" fmla="*/ 520 h 558"/>
                    <a:gd name="T70" fmla="*/ 418 w 702"/>
                    <a:gd name="T71" fmla="*/ 532 h 558"/>
                    <a:gd name="T72" fmla="*/ 397 w 702"/>
                    <a:gd name="T73" fmla="*/ 536 h 558"/>
                    <a:gd name="T74" fmla="*/ 392 w 702"/>
                    <a:gd name="T75" fmla="*/ 520 h 558"/>
                    <a:gd name="T76" fmla="*/ 347 w 702"/>
                    <a:gd name="T77" fmla="*/ 520 h 558"/>
                    <a:gd name="T78" fmla="*/ 331 w 702"/>
                    <a:gd name="T79" fmla="*/ 515 h 558"/>
                    <a:gd name="T80" fmla="*/ 326 w 702"/>
                    <a:gd name="T81" fmla="*/ 499 h 558"/>
                    <a:gd name="T82" fmla="*/ 309 w 702"/>
                    <a:gd name="T83" fmla="*/ 475 h 558"/>
                    <a:gd name="T84" fmla="*/ 267 w 702"/>
                    <a:gd name="T85" fmla="*/ 466 h 558"/>
                    <a:gd name="T86" fmla="*/ 239 w 702"/>
                    <a:gd name="T87" fmla="*/ 449 h 558"/>
                    <a:gd name="T88" fmla="*/ 250 w 702"/>
                    <a:gd name="T89" fmla="*/ 433 h 558"/>
                    <a:gd name="T90" fmla="*/ 196 w 702"/>
                    <a:gd name="T91" fmla="*/ 425 h 558"/>
                    <a:gd name="T92" fmla="*/ 170 w 702"/>
                    <a:gd name="T93" fmla="*/ 458 h 558"/>
                    <a:gd name="T94" fmla="*/ 158 w 702"/>
                    <a:gd name="T95" fmla="*/ 409 h 558"/>
                    <a:gd name="T96" fmla="*/ 142 w 702"/>
                    <a:gd name="T97" fmla="*/ 40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2" h="558">
                      <a:moveTo>
                        <a:pt x="142" y="404"/>
                      </a:moveTo>
                      <a:lnTo>
                        <a:pt x="87" y="392"/>
                      </a:lnTo>
                      <a:lnTo>
                        <a:pt x="71" y="371"/>
                      </a:lnTo>
                      <a:lnTo>
                        <a:pt x="54" y="371"/>
                      </a:lnTo>
                      <a:lnTo>
                        <a:pt x="54" y="388"/>
                      </a:lnTo>
                      <a:lnTo>
                        <a:pt x="50" y="388"/>
                      </a:lnTo>
                      <a:lnTo>
                        <a:pt x="61" y="350"/>
                      </a:lnTo>
                      <a:lnTo>
                        <a:pt x="54" y="321"/>
                      </a:lnTo>
                      <a:lnTo>
                        <a:pt x="40" y="321"/>
                      </a:lnTo>
                      <a:lnTo>
                        <a:pt x="40" y="310"/>
                      </a:lnTo>
                      <a:lnTo>
                        <a:pt x="33" y="293"/>
                      </a:lnTo>
                      <a:lnTo>
                        <a:pt x="40" y="265"/>
                      </a:lnTo>
                      <a:lnTo>
                        <a:pt x="40" y="255"/>
                      </a:lnTo>
                      <a:lnTo>
                        <a:pt x="24" y="239"/>
                      </a:lnTo>
                      <a:lnTo>
                        <a:pt x="33" y="222"/>
                      </a:lnTo>
                      <a:lnTo>
                        <a:pt x="0" y="189"/>
                      </a:lnTo>
                      <a:lnTo>
                        <a:pt x="0" y="182"/>
                      </a:lnTo>
                      <a:lnTo>
                        <a:pt x="16" y="166"/>
                      </a:lnTo>
                      <a:lnTo>
                        <a:pt x="16" y="144"/>
                      </a:lnTo>
                      <a:lnTo>
                        <a:pt x="7" y="111"/>
                      </a:lnTo>
                      <a:lnTo>
                        <a:pt x="24" y="111"/>
                      </a:lnTo>
                      <a:lnTo>
                        <a:pt x="33" y="99"/>
                      </a:lnTo>
                      <a:lnTo>
                        <a:pt x="0" y="95"/>
                      </a:lnTo>
                      <a:lnTo>
                        <a:pt x="0" y="90"/>
                      </a:lnTo>
                      <a:lnTo>
                        <a:pt x="142" y="57"/>
                      </a:lnTo>
                      <a:lnTo>
                        <a:pt x="163" y="24"/>
                      </a:lnTo>
                      <a:lnTo>
                        <a:pt x="267" y="0"/>
                      </a:lnTo>
                      <a:lnTo>
                        <a:pt x="293" y="0"/>
                      </a:lnTo>
                      <a:lnTo>
                        <a:pt x="321" y="17"/>
                      </a:lnTo>
                      <a:lnTo>
                        <a:pt x="326" y="24"/>
                      </a:lnTo>
                      <a:lnTo>
                        <a:pt x="293" y="7"/>
                      </a:lnTo>
                      <a:lnTo>
                        <a:pt x="309" y="40"/>
                      </a:lnTo>
                      <a:lnTo>
                        <a:pt x="326" y="45"/>
                      </a:lnTo>
                      <a:lnTo>
                        <a:pt x="380" y="33"/>
                      </a:lnTo>
                      <a:lnTo>
                        <a:pt x="392" y="40"/>
                      </a:lnTo>
                      <a:lnTo>
                        <a:pt x="359" y="45"/>
                      </a:lnTo>
                      <a:lnTo>
                        <a:pt x="364" y="57"/>
                      </a:lnTo>
                      <a:lnTo>
                        <a:pt x="397" y="40"/>
                      </a:lnTo>
                      <a:lnTo>
                        <a:pt x="510" y="45"/>
                      </a:lnTo>
                      <a:lnTo>
                        <a:pt x="609" y="45"/>
                      </a:lnTo>
                      <a:lnTo>
                        <a:pt x="619" y="40"/>
                      </a:lnTo>
                      <a:lnTo>
                        <a:pt x="647" y="57"/>
                      </a:lnTo>
                      <a:lnTo>
                        <a:pt x="652" y="73"/>
                      </a:lnTo>
                      <a:lnTo>
                        <a:pt x="664" y="90"/>
                      </a:lnTo>
                      <a:lnTo>
                        <a:pt x="690" y="173"/>
                      </a:lnTo>
                      <a:lnTo>
                        <a:pt x="690" y="206"/>
                      </a:lnTo>
                      <a:lnTo>
                        <a:pt x="652" y="227"/>
                      </a:lnTo>
                      <a:lnTo>
                        <a:pt x="635" y="244"/>
                      </a:lnTo>
                      <a:lnTo>
                        <a:pt x="668" y="265"/>
                      </a:lnTo>
                      <a:lnTo>
                        <a:pt x="664" y="310"/>
                      </a:lnTo>
                      <a:lnTo>
                        <a:pt x="668" y="321"/>
                      </a:lnTo>
                      <a:lnTo>
                        <a:pt x="673" y="350"/>
                      </a:lnTo>
                      <a:lnTo>
                        <a:pt x="702" y="388"/>
                      </a:lnTo>
                      <a:lnTo>
                        <a:pt x="690" y="388"/>
                      </a:lnTo>
                      <a:lnTo>
                        <a:pt x="702" y="409"/>
                      </a:lnTo>
                      <a:lnTo>
                        <a:pt x="690" y="425"/>
                      </a:lnTo>
                      <a:lnTo>
                        <a:pt x="673" y="425"/>
                      </a:lnTo>
                      <a:lnTo>
                        <a:pt x="647" y="458"/>
                      </a:lnTo>
                      <a:lnTo>
                        <a:pt x="598" y="503"/>
                      </a:lnTo>
                      <a:lnTo>
                        <a:pt x="609" y="532"/>
                      </a:lnTo>
                      <a:lnTo>
                        <a:pt x="598" y="541"/>
                      </a:lnTo>
                      <a:lnTo>
                        <a:pt x="614" y="553"/>
                      </a:lnTo>
                      <a:lnTo>
                        <a:pt x="614" y="558"/>
                      </a:lnTo>
                      <a:lnTo>
                        <a:pt x="593" y="553"/>
                      </a:lnTo>
                      <a:lnTo>
                        <a:pt x="555" y="536"/>
                      </a:lnTo>
                      <a:lnTo>
                        <a:pt x="555" y="532"/>
                      </a:lnTo>
                      <a:lnTo>
                        <a:pt x="527" y="520"/>
                      </a:lnTo>
                      <a:lnTo>
                        <a:pt x="489" y="520"/>
                      </a:lnTo>
                      <a:lnTo>
                        <a:pt x="472" y="532"/>
                      </a:lnTo>
                      <a:lnTo>
                        <a:pt x="468" y="520"/>
                      </a:lnTo>
                      <a:lnTo>
                        <a:pt x="435" y="520"/>
                      </a:lnTo>
                      <a:lnTo>
                        <a:pt x="418" y="532"/>
                      </a:lnTo>
                      <a:lnTo>
                        <a:pt x="413" y="541"/>
                      </a:lnTo>
                      <a:lnTo>
                        <a:pt x="397" y="536"/>
                      </a:lnTo>
                      <a:lnTo>
                        <a:pt x="397" y="520"/>
                      </a:lnTo>
                      <a:lnTo>
                        <a:pt x="392" y="520"/>
                      </a:lnTo>
                      <a:lnTo>
                        <a:pt x="376" y="503"/>
                      </a:lnTo>
                      <a:lnTo>
                        <a:pt x="347" y="520"/>
                      </a:lnTo>
                      <a:lnTo>
                        <a:pt x="342" y="520"/>
                      </a:lnTo>
                      <a:lnTo>
                        <a:pt x="331" y="515"/>
                      </a:lnTo>
                      <a:lnTo>
                        <a:pt x="326" y="515"/>
                      </a:lnTo>
                      <a:lnTo>
                        <a:pt x="326" y="499"/>
                      </a:lnTo>
                      <a:lnTo>
                        <a:pt x="309" y="487"/>
                      </a:lnTo>
                      <a:lnTo>
                        <a:pt x="309" y="475"/>
                      </a:lnTo>
                      <a:lnTo>
                        <a:pt x="272" y="458"/>
                      </a:lnTo>
                      <a:lnTo>
                        <a:pt x="267" y="466"/>
                      </a:lnTo>
                      <a:lnTo>
                        <a:pt x="250" y="458"/>
                      </a:lnTo>
                      <a:lnTo>
                        <a:pt x="239" y="449"/>
                      </a:lnTo>
                      <a:lnTo>
                        <a:pt x="250" y="442"/>
                      </a:lnTo>
                      <a:lnTo>
                        <a:pt x="250" y="433"/>
                      </a:lnTo>
                      <a:lnTo>
                        <a:pt x="224" y="442"/>
                      </a:lnTo>
                      <a:lnTo>
                        <a:pt x="196" y="425"/>
                      </a:lnTo>
                      <a:lnTo>
                        <a:pt x="201" y="442"/>
                      </a:lnTo>
                      <a:lnTo>
                        <a:pt x="170" y="458"/>
                      </a:lnTo>
                      <a:lnTo>
                        <a:pt x="142" y="425"/>
                      </a:lnTo>
                      <a:lnTo>
                        <a:pt x="158" y="409"/>
                      </a:lnTo>
                      <a:lnTo>
                        <a:pt x="142" y="404"/>
                      </a:lnTo>
                      <a:lnTo>
                        <a:pt x="142" y="404"/>
                      </a:lnTo>
                      <a:lnTo>
                        <a:pt x="142" y="40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7" name="Freeform 540">
                  <a:extLst>
                    <a:ext uri="{FF2B5EF4-FFF2-40B4-BE49-F238E27FC236}">
                      <a16:creationId xmlns:a16="http://schemas.microsoft.com/office/drawing/2014/main" id="{ED35C4C0-3233-4B39-86EE-B0994C8C0507}"/>
                    </a:ext>
                  </a:extLst>
                </p:cNvPr>
                <p:cNvSpPr>
                  <a:spLocks/>
                </p:cNvSpPr>
                <p:nvPr/>
              </p:nvSpPr>
              <p:spPr bwMode="gray">
                <a:xfrm>
                  <a:off x="7311631" y="2510422"/>
                  <a:ext cx="272114" cy="172098"/>
                </a:xfrm>
                <a:custGeom>
                  <a:avLst/>
                  <a:gdLst>
                    <a:gd name="T0" fmla="*/ 151 w 661"/>
                    <a:gd name="T1" fmla="*/ 340 h 418"/>
                    <a:gd name="T2" fmla="*/ 151 w 661"/>
                    <a:gd name="T3" fmla="*/ 324 h 418"/>
                    <a:gd name="T4" fmla="*/ 130 w 661"/>
                    <a:gd name="T5" fmla="*/ 340 h 418"/>
                    <a:gd name="T6" fmla="*/ 97 w 661"/>
                    <a:gd name="T7" fmla="*/ 324 h 418"/>
                    <a:gd name="T8" fmla="*/ 80 w 661"/>
                    <a:gd name="T9" fmla="*/ 317 h 418"/>
                    <a:gd name="T10" fmla="*/ 92 w 661"/>
                    <a:gd name="T11" fmla="*/ 307 h 418"/>
                    <a:gd name="T12" fmla="*/ 92 w 661"/>
                    <a:gd name="T13" fmla="*/ 284 h 418"/>
                    <a:gd name="T14" fmla="*/ 38 w 661"/>
                    <a:gd name="T15" fmla="*/ 229 h 418"/>
                    <a:gd name="T16" fmla="*/ 0 w 661"/>
                    <a:gd name="T17" fmla="*/ 196 h 418"/>
                    <a:gd name="T18" fmla="*/ 28 w 661"/>
                    <a:gd name="T19" fmla="*/ 196 h 418"/>
                    <a:gd name="T20" fmla="*/ 71 w 661"/>
                    <a:gd name="T21" fmla="*/ 184 h 418"/>
                    <a:gd name="T22" fmla="*/ 92 w 661"/>
                    <a:gd name="T23" fmla="*/ 140 h 418"/>
                    <a:gd name="T24" fmla="*/ 123 w 661"/>
                    <a:gd name="T25" fmla="*/ 85 h 418"/>
                    <a:gd name="T26" fmla="*/ 146 w 661"/>
                    <a:gd name="T27" fmla="*/ 57 h 418"/>
                    <a:gd name="T28" fmla="*/ 182 w 661"/>
                    <a:gd name="T29" fmla="*/ 29 h 418"/>
                    <a:gd name="T30" fmla="*/ 220 w 661"/>
                    <a:gd name="T31" fmla="*/ 29 h 418"/>
                    <a:gd name="T32" fmla="*/ 295 w 661"/>
                    <a:gd name="T33" fmla="*/ 29 h 418"/>
                    <a:gd name="T34" fmla="*/ 349 w 661"/>
                    <a:gd name="T35" fmla="*/ 29 h 418"/>
                    <a:gd name="T36" fmla="*/ 420 w 661"/>
                    <a:gd name="T37" fmla="*/ 7 h 418"/>
                    <a:gd name="T38" fmla="*/ 468 w 661"/>
                    <a:gd name="T39" fmla="*/ 19 h 418"/>
                    <a:gd name="T40" fmla="*/ 527 w 661"/>
                    <a:gd name="T41" fmla="*/ 102 h 418"/>
                    <a:gd name="T42" fmla="*/ 560 w 661"/>
                    <a:gd name="T43" fmla="*/ 168 h 418"/>
                    <a:gd name="T44" fmla="*/ 553 w 661"/>
                    <a:gd name="T45" fmla="*/ 239 h 418"/>
                    <a:gd name="T46" fmla="*/ 553 w 661"/>
                    <a:gd name="T47" fmla="*/ 262 h 418"/>
                    <a:gd name="T48" fmla="*/ 590 w 661"/>
                    <a:gd name="T49" fmla="*/ 279 h 418"/>
                    <a:gd name="T50" fmla="*/ 649 w 661"/>
                    <a:gd name="T51" fmla="*/ 267 h 418"/>
                    <a:gd name="T52" fmla="*/ 649 w 661"/>
                    <a:gd name="T53" fmla="*/ 317 h 418"/>
                    <a:gd name="T54" fmla="*/ 612 w 661"/>
                    <a:gd name="T55" fmla="*/ 307 h 418"/>
                    <a:gd name="T56" fmla="*/ 612 w 661"/>
                    <a:gd name="T57" fmla="*/ 300 h 418"/>
                    <a:gd name="T58" fmla="*/ 607 w 661"/>
                    <a:gd name="T59" fmla="*/ 317 h 418"/>
                    <a:gd name="T60" fmla="*/ 612 w 661"/>
                    <a:gd name="T61" fmla="*/ 324 h 418"/>
                    <a:gd name="T62" fmla="*/ 590 w 661"/>
                    <a:gd name="T63" fmla="*/ 340 h 418"/>
                    <a:gd name="T64" fmla="*/ 581 w 661"/>
                    <a:gd name="T65" fmla="*/ 357 h 418"/>
                    <a:gd name="T66" fmla="*/ 581 w 661"/>
                    <a:gd name="T67" fmla="*/ 411 h 418"/>
                    <a:gd name="T68" fmla="*/ 538 w 661"/>
                    <a:gd name="T69" fmla="*/ 390 h 418"/>
                    <a:gd name="T70" fmla="*/ 510 w 661"/>
                    <a:gd name="T71" fmla="*/ 378 h 418"/>
                    <a:gd name="T72" fmla="*/ 489 w 661"/>
                    <a:gd name="T73" fmla="*/ 373 h 418"/>
                    <a:gd name="T74" fmla="*/ 413 w 661"/>
                    <a:gd name="T75" fmla="*/ 390 h 418"/>
                    <a:gd name="T76" fmla="*/ 361 w 661"/>
                    <a:gd name="T77" fmla="*/ 418 h 418"/>
                    <a:gd name="T78" fmla="*/ 274 w 661"/>
                    <a:gd name="T79" fmla="*/ 411 h 418"/>
                    <a:gd name="T80" fmla="*/ 182 w 661"/>
                    <a:gd name="T81" fmla="*/ 406 h 418"/>
                    <a:gd name="T82" fmla="*/ 189 w 661"/>
                    <a:gd name="T83" fmla="*/ 378 h 418"/>
                    <a:gd name="T84" fmla="*/ 168 w 661"/>
                    <a:gd name="T85" fmla="*/ 36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1" h="418">
                      <a:moveTo>
                        <a:pt x="168" y="362"/>
                      </a:moveTo>
                      <a:lnTo>
                        <a:pt x="151" y="340"/>
                      </a:lnTo>
                      <a:lnTo>
                        <a:pt x="177" y="340"/>
                      </a:lnTo>
                      <a:lnTo>
                        <a:pt x="151" y="324"/>
                      </a:lnTo>
                      <a:lnTo>
                        <a:pt x="146" y="324"/>
                      </a:lnTo>
                      <a:lnTo>
                        <a:pt x="130" y="340"/>
                      </a:lnTo>
                      <a:lnTo>
                        <a:pt x="123" y="333"/>
                      </a:lnTo>
                      <a:lnTo>
                        <a:pt x="97" y="324"/>
                      </a:lnTo>
                      <a:lnTo>
                        <a:pt x="92" y="317"/>
                      </a:lnTo>
                      <a:lnTo>
                        <a:pt x="80" y="317"/>
                      </a:lnTo>
                      <a:lnTo>
                        <a:pt x="75" y="307"/>
                      </a:lnTo>
                      <a:lnTo>
                        <a:pt x="92" y="307"/>
                      </a:lnTo>
                      <a:lnTo>
                        <a:pt x="75" y="300"/>
                      </a:lnTo>
                      <a:lnTo>
                        <a:pt x="92" y="284"/>
                      </a:lnTo>
                      <a:lnTo>
                        <a:pt x="38" y="251"/>
                      </a:lnTo>
                      <a:lnTo>
                        <a:pt x="38" y="229"/>
                      </a:lnTo>
                      <a:lnTo>
                        <a:pt x="28" y="229"/>
                      </a:lnTo>
                      <a:lnTo>
                        <a:pt x="0" y="196"/>
                      </a:lnTo>
                      <a:lnTo>
                        <a:pt x="16" y="189"/>
                      </a:lnTo>
                      <a:lnTo>
                        <a:pt x="28" y="196"/>
                      </a:lnTo>
                      <a:lnTo>
                        <a:pt x="38" y="184"/>
                      </a:lnTo>
                      <a:lnTo>
                        <a:pt x="71" y="184"/>
                      </a:lnTo>
                      <a:lnTo>
                        <a:pt x="75" y="151"/>
                      </a:lnTo>
                      <a:lnTo>
                        <a:pt x="92" y="140"/>
                      </a:lnTo>
                      <a:lnTo>
                        <a:pt x="97" y="118"/>
                      </a:lnTo>
                      <a:lnTo>
                        <a:pt x="123" y="85"/>
                      </a:lnTo>
                      <a:lnTo>
                        <a:pt x="123" y="73"/>
                      </a:lnTo>
                      <a:lnTo>
                        <a:pt x="146" y="57"/>
                      </a:lnTo>
                      <a:lnTo>
                        <a:pt x="168" y="45"/>
                      </a:lnTo>
                      <a:lnTo>
                        <a:pt x="182" y="29"/>
                      </a:lnTo>
                      <a:lnTo>
                        <a:pt x="205" y="19"/>
                      </a:lnTo>
                      <a:lnTo>
                        <a:pt x="220" y="29"/>
                      </a:lnTo>
                      <a:lnTo>
                        <a:pt x="274" y="29"/>
                      </a:lnTo>
                      <a:lnTo>
                        <a:pt x="295" y="29"/>
                      </a:lnTo>
                      <a:lnTo>
                        <a:pt x="328" y="57"/>
                      </a:lnTo>
                      <a:lnTo>
                        <a:pt x="349" y="29"/>
                      </a:lnTo>
                      <a:lnTo>
                        <a:pt x="413" y="29"/>
                      </a:lnTo>
                      <a:lnTo>
                        <a:pt x="420" y="7"/>
                      </a:lnTo>
                      <a:lnTo>
                        <a:pt x="446" y="0"/>
                      </a:lnTo>
                      <a:lnTo>
                        <a:pt x="468" y="19"/>
                      </a:lnTo>
                      <a:lnTo>
                        <a:pt x="489" y="57"/>
                      </a:lnTo>
                      <a:lnTo>
                        <a:pt x="527" y="102"/>
                      </a:lnTo>
                      <a:lnTo>
                        <a:pt x="543" y="118"/>
                      </a:lnTo>
                      <a:lnTo>
                        <a:pt x="560" y="168"/>
                      </a:lnTo>
                      <a:lnTo>
                        <a:pt x="543" y="196"/>
                      </a:lnTo>
                      <a:lnTo>
                        <a:pt x="553" y="239"/>
                      </a:lnTo>
                      <a:lnTo>
                        <a:pt x="543" y="246"/>
                      </a:lnTo>
                      <a:lnTo>
                        <a:pt x="553" y="262"/>
                      </a:lnTo>
                      <a:lnTo>
                        <a:pt x="564" y="267"/>
                      </a:lnTo>
                      <a:lnTo>
                        <a:pt x="590" y="279"/>
                      </a:lnTo>
                      <a:lnTo>
                        <a:pt x="635" y="262"/>
                      </a:lnTo>
                      <a:lnTo>
                        <a:pt x="649" y="267"/>
                      </a:lnTo>
                      <a:lnTo>
                        <a:pt x="661" y="279"/>
                      </a:lnTo>
                      <a:lnTo>
                        <a:pt x="649" y="317"/>
                      </a:lnTo>
                      <a:lnTo>
                        <a:pt x="612" y="317"/>
                      </a:lnTo>
                      <a:lnTo>
                        <a:pt x="612" y="307"/>
                      </a:lnTo>
                      <a:lnTo>
                        <a:pt x="619" y="300"/>
                      </a:lnTo>
                      <a:lnTo>
                        <a:pt x="612" y="300"/>
                      </a:lnTo>
                      <a:lnTo>
                        <a:pt x="598" y="300"/>
                      </a:lnTo>
                      <a:lnTo>
                        <a:pt x="607" y="317"/>
                      </a:lnTo>
                      <a:lnTo>
                        <a:pt x="598" y="333"/>
                      </a:lnTo>
                      <a:lnTo>
                        <a:pt x="612" y="324"/>
                      </a:lnTo>
                      <a:lnTo>
                        <a:pt x="590" y="333"/>
                      </a:lnTo>
                      <a:lnTo>
                        <a:pt x="590" y="340"/>
                      </a:lnTo>
                      <a:lnTo>
                        <a:pt x="607" y="333"/>
                      </a:lnTo>
                      <a:lnTo>
                        <a:pt x="581" y="357"/>
                      </a:lnTo>
                      <a:lnTo>
                        <a:pt x="590" y="390"/>
                      </a:lnTo>
                      <a:lnTo>
                        <a:pt x="581" y="411"/>
                      </a:lnTo>
                      <a:lnTo>
                        <a:pt x="543" y="406"/>
                      </a:lnTo>
                      <a:lnTo>
                        <a:pt x="538" y="390"/>
                      </a:lnTo>
                      <a:lnTo>
                        <a:pt x="522" y="390"/>
                      </a:lnTo>
                      <a:lnTo>
                        <a:pt x="510" y="378"/>
                      </a:lnTo>
                      <a:lnTo>
                        <a:pt x="501" y="390"/>
                      </a:lnTo>
                      <a:lnTo>
                        <a:pt x="489" y="373"/>
                      </a:lnTo>
                      <a:lnTo>
                        <a:pt x="472" y="373"/>
                      </a:lnTo>
                      <a:lnTo>
                        <a:pt x="413" y="390"/>
                      </a:lnTo>
                      <a:lnTo>
                        <a:pt x="383" y="411"/>
                      </a:lnTo>
                      <a:lnTo>
                        <a:pt x="361" y="418"/>
                      </a:lnTo>
                      <a:lnTo>
                        <a:pt x="295" y="406"/>
                      </a:lnTo>
                      <a:lnTo>
                        <a:pt x="274" y="411"/>
                      </a:lnTo>
                      <a:lnTo>
                        <a:pt x="220" y="395"/>
                      </a:lnTo>
                      <a:lnTo>
                        <a:pt x="182" y="406"/>
                      </a:lnTo>
                      <a:lnTo>
                        <a:pt x="182" y="390"/>
                      </a:lnTo>
                      <a:lnTo>
                        <a:pt x="189" y="378"/>
                      </a:lnTo>
                      <a:lnTo>
                        <a:pt x="168" y="362"/>
                      </a:lnTo>
                      <a:lnTo>
                        <a:pt x="168" y="362"/>
                      </a:lnTo>
                      <a:lnTo>
                        <a:pt x="168" y="36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8" name="Freeform 543">
                  <a:extLst>
                    <a:ext uri="{FF2B5EF4-FFF2-40B4-BE49-F238E27FC236}">
                      <a16:creationId xmlns:a16="http://schemas.microsoft.com/office/drawing/2014/main" id="{E98A212E-0EE1-4DB2-BA77-1D1687B59B12}"/>
                    </a:ext>
                  </a:extLst>
                </p:cNvPr>
                <p:cNvSpPr>
                  <a:spLocks noEditPoints="1"/>
                </p:cNvSpPr>
                <p:nvPr/>
              </p:nvSpPr>
              <p:spPr bwMode="gray">
                <a:xfrm>
                  <a:off x="1738441" y="824034"/>
                  <a:ext cx="10478239" cy="1947006"/>
                </a:xfrm>
                <a:custGeom>
                  <a:avLst/>
                  <a:gdLst>
                    <a:gd name="T0" fmla="*/ 24366 w 25453"/>
                    <a:gd name="T1" fmla="*/ 2721 h 4729"/>
                    <a:gd name="T2" fmla="*/ 23563 w 25453"/>
                    <a:gd name="T3" fmla="*/ 3031 h 4729"/>
                    <a:gd name="T4" fmla="*/ 23076 w 25453"/>
                    <a:gd name="T5" fmla="*/ 3692 h 4729"/>
                    <a:gd name="T6" fmla="*/ 23331 w 25453"/>
                    <a:gd name="T7" fmla="*/ 2809 h 4729"/>
                    <a:gd name="T8" fmla="*/ 22391 w 25453"/>
                    <a:gd name="T9" fmla="*/ 2993 h 4729"/>
                    <a:gd name="T10" fmla="*/ 22018 w 25453"/>
                    <a:gd name="T11" fmla="*/ 3643 h 4729"/>
                    <a:gd name="T12" fmla="*/ 21312 w 25453"/>
                    <a:gd name="T13" fmla="*/ 4578 h 4729"/>
                    <a:gd name="T14" fmla="*/ 20955 w 25453"/>
                    <a:gd name="T15" fmla="*/ 3676 h 4729"/>
                    <a:gd name="T16" fmla="*/ 19167 w 25453"/>
                    <a:gd name="T17" fmla="*/ 3768 h 4729"/>
                    <a:gd name="T18" fmla="*/ 18078 w 25453"/>
                    <a:gd name="T19" fmla="*/ 3936 h 4729"/>
                    <a:gd name="T20" fmla="*/ 17117 w 25453"/>
                    <a:gd name="T21" fmla="*/ 3487 h 4729"/>
                    <a:gd name="T22" fmla="*/ 16424 w 25453"/>
                    <a:gd name="T23" fmla="*/ 3803 h 4729"/>
                    <a:gd name="T24" fmla="*/ 15550 w 25453"/>
                    <a:gd name="T25" fmla="*/ 3931 h 4729"/>
                    <a:gd name="T26" fmla="*/ 15425 w 25453"/>
                    <a:gd name="T27" fmla="*/ 4694 h 4729"/>
                    <a:gd name="T28" fmla="*/ 14821 w 25453"/>
                    <a:gd name="T29" fmla="*/ 4191 h 4729"/>
                    <a:gd name="T30" fmla="*/ 14388 w 25453"/>
                    <a:gd name="T31" fmla="*/ 3581 h 4729"/>
                    <a:gd name="T32" fmla="*/ 14169 w 25453"/>
                    <a:gd name="T33" fmla="*/ 2792 h 4729"/>
                    <a:gd name="T34" fmla="*/ 14471 w 25453"/>
                    <a:gd name="T35" fmla="*/ 1862 h 4729"/>
                    <a:gd name="T36" fmla="*/ 14660 w 25453"/>
                    <a:gd name="T37" fmla="*/ 2488 h 4729"/>
                    <a:gd name="T38" fmla="*/ 15395 w 25453"/>
                    <a:gd name="T39" fmla="*/ 2018 h 4729"/>
                    <a:gd name="T40" fmla="*/ 16278 w 25453"/>
                    <a:gd name="T41" fmla="*/ 1918 h 4729"/>
                    <a:gd name="T42" fmla="*/ 16991 w 25453"/>
                    <a:gd name="T43" fmla="*/ 1368 h 4729"/>
                    <a:gd name="T44" fmla="*/ 17298 w 25453"/>
                    <a:gd name="T45" fmla="*/ 2105 h 4729"/>
                    <a:gd name="T46" fmla="*/ 17407 w 25453"/>
                    <a:gd name="T47" fmla="*/ 1545 h 4729"/>
                    <a:gd name="T48" fmla="*/ 17969 w 25453"/>
                    <a:gd name="T49" fmla="*/ 1718 h 4729"/>
                    <a:gd name="T50" fmla="*/ 18272 w 25453"/>
                    <a:gd name="T51" fmla="*/ 1075 h 4729"/>
                    <a:gd name="T52" fmla="*/ 19103 w 25453"/>
                    <a:gd name="T53" fmla="*/ 891 h 4729"/>
                    <a:gd name="T54" fmla="*/ 20065 w 25453"/>
                    <a:gd name="T55" fmla="*/ 981 h 4729"/>
                    <a:gd name="T56" fmla="*/ 20074 w 25453"/>
                    <a:gd name="T57" fmla="*/ 1290 h 4729"/>
                    <a:gd name="T58" fmla="*/ 21782 w 25453"/>
                    <a:gd name="T59" fmla="*/ 1573 h 4729"/>
                    <a:gd name="T60" fmla="*/ 22644 w 25453"/>
                    <a:gd name="T61" fmla="*/ 1552 h 4729"/>
                    <a:gd name="T62" fmla="*/ 24227 w 25453"/>
                    <a:gd name="T63" fmla="*/ 1767 h 4729"/>
                    <a:gd name="T64" fmla="*/ 25053 w 25453"/>
                    <a:gd name="T65" fmla="*/ 2046 h 4729"/>
                    <a:gd name="T66" fmla="*/ 25205 w 25453"/>
                    <a:gd name="T67" fmla="*/ 2400 h 4729"/>
                    <a:gd name="T68" fmla="*/ 16188 w 25453"/>
                    <a:gd name="T69" fmla="*/ 5 h 4729"/>
                    <a:gd name="T70" fmla="*/ 18557 w 25453"/>
                    <a:gd name="T71" fmla="*/ 236 h 4729"/>
                    <a:gd name="T72" fmla="*/ 16198 w 25453"/>
                    <a:gd name="T73" fmla="*/ 116 h 4729"/>
                    <a:gd name="T74" fmla="*/ 15593 w 25453"/>
                    <a:gd name="T75" fmla="*/ 203 h 4729"/>
                    <a:gd name="T76" fmla="*/ 15345 w 25453"/>
                    <a:gd name="T77" fmla="*/ 236 h 4729"/>
                    <a:gd name="T78" fmla="*/ 15933 w 25453"/>
                    <a:gd name="T79" fmla="*/ 236 h 4729"/>
                    <a:gd name="T80" fmla="*/ 18650 w 25453"/>
                    <a:gd name="T81" fmla="*/ 404 h 4729"/>
                    <a:gd name="T82" fmla="*/ 16252 w 25453"/>
                    <a:gd name="T83" fmla="*/ 322 h 4729"/>
                    <a:gd name="T84" fmla="*/ 19221 w 25453"/>
                    <a:gd name="T85" fmla="*/ 598 h 4729"/>
                    <a:gd name="T86" fmla="*/ 23093 w 25453"/>
                    <a:gd name="T87" fmla="*/ 758 h 4729"/>
                    <a:gd name="T88" fmla="*/ 16727 w 25453"/>
                    <a:gd name="T89" fmla="*/ 832 h 4729"/>
                    <a:gd name="T90" fmla="*/ 18978 w 25453"/>
                    <a:gd name="T91" fmla="*/ 815 h 4729"/>
                    <a:gd name="T92" fmla="*/ 18898 w 25453"/>
                    <a:gd name="T93" fmla="*/ 886 h 4729"/>
                    <a:gd name="T94" fmla="*/ 22046 w 25453"/>
                    <a:gd name="T95" fmla="*/ 931 h 4729"/>
                    <a:gd name="T96" fmla="*/ 16257 w 25453"/>
                    <a:gd name="T97" fmla="*/ 947 h 4729"/>
                    <a:gd name="T98" fmla="*/ 17700 w 25453"/>
                    <a:gd name="T99" fmla="*/ 1129 h 4729"/>
                    <a:gd name="T100" fmla="*/ 18125 w 25453"/>
                    <a:gd name="T101" fmla="*/ 1195 h 4729"/>
                    <a:gd name="T102" fmla="*/ 20700 w 25453"/>
                    <a:gd name="T103" fmla="*/ 1363 h 4729"/>
                    <a:gd name="T104" fmla="*/ 17133 w 25453"/>
                    <a:gd name="T105" fmla="*/ 1314 h 4729"/>
                    <a:gd name="T106" fmla="*/ 15858 w 25453"/>
                    <a:gd name="T107" fmla="*/ 1363 h 4729"/>
                    <a:gd name="T108" fmla="*/ 17693 w 25453"/>
                    <a:gd name="T109" fmla="*/ 1392 h 4729"/>
                    <a:gd name="T110" fmla="*/ 21775 w 25453"/>
                    <a:gd name="T111" fmla="*/ 1552 h 4729"/>
                    <a:gd name="T112" fmla="*/ 16257 w 25453"/>
                    <a:gd name="T113" fmla="*/ 1696 h 4729"/>
                    <a:gd name="T114" fmla="*/ 15534 w 25453"/>
                    <a:gd name="T115" fmla="*/ 1923 h 4729"/>
                    <a:gd name="T116" fmla="*/ 0 w 25453"/>
                    <a:gd name="T117" fmla="*/ 2400 h 4729"/>
                    <a:gd name="T118" fmla="*/ 13590 w 25453"/>
                    <a:gd name="T119" fmla="*/ 3421 h 4729"/>
                    <a:gd name="T120" fmla="*/ 22169 w 25453"/>
                    <a:gd name="T121" fmla="*/ 3659 h 4729"/>
                    <a:gd name="T122" fmla="*/ 23001 w 25453"/>
                    <a:gd name="T123" fmla="*/ 3903 h 4729"/>
                    <a:gd name="T124" fmla="*/ 22483 w 25453"/>
                    <a:gd name="T125" fmla="*/ 4373 h 4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453" h="4729">
                      <a:moveTo>
                        <a:pt x="24735" y="2360"/>
                      </a:moveTo>
                      <a:lnTo>
                        <a:pt x="24706" y="2388"/>
                      </a:lnTo>
                      <a:lnTo>
                        <a:pt x="24638" y="2421"/>
                      </a:lnTo>
                      <a:lnTo>
                        <a:pt x="24654" y="2405"/>
                      </a:lnTo>
                      <a:lnTo>
                        <a:pt x="24572" y="2405"/>
                      </a:lnTo>
                      <a:lnTo>
                        <a:pt x="24562" y="2384"/>
                      </a:lnTo>
                      <a:lnTo>
                        <a:pt x="24517" y="2360"/>
                      </a:lnTo>
                      <a:lnTo>
                        <a:pt x="24479" y="2367"/>
                      </a:lnTo>
                      <a:lnTo>
                        <a:pt x="24529" y="2367"/>
                      </a:lnTo>
                      <a:lnTo>
                        <a:pt x="24550" y="2388"/>
                      </a:lnTo>
                      <a:lnTo>
                        <a:pt x="24529" y="2400"/>
                      </a:lnTo>
                      <a:lnTo>
                        <a:pt x="24508" y="2384"/>
                      </a:lnTo>
                      <a:lnTo>
                        <a:pt x="24491" y="2388"/>
                      </a:lnTo>
                      <a:lnTo>
                        <a:pt x="24465" y="2377"/>
                      </a:lnTo>
                      <a:lnTo>
                        <a:pt x="24442" y="2400"/>
                      </a:lnTo>
                      <a:lnTo>
                        <a:pt x="24352" y="2405"/>
                      </a:lnTo>
                      <a:lnTo>
                        <a:pt x="24437" y="2400"/>
                      </a:lnTo>
                      <a:lnTo>
                        <a:pt x="24465" y="2384"/>
                      </a:lnTo>
                      <a:lnTo>
                        <a:pt x="24491" y="2405"/>
                      </a:lnTo>
                      <a:lnTo>
                        <a:pt x="24465" y="2417"/>
                      </a:lnTo>
                      <a:lnTo>
                        <a:pt x="24465" y="2421"/>
                      </a:lnTo>
                      <a:lnTo>
                        <a:pt x="24491" y="2405"/>
                      </a:lnTo>
                      <a:lnTo>
                        <a:pt x="24513" y="2421"/>
                      </a:lnTo>
                      <a:lnTo>
                        <a:pt x="24529" y="2405"/>
                      </a:lnTo>
                      <a:lnTo>
                        <a:pt x="24567" y="2400"/>
                      </a:lnTo>
                      <a:lnTo>
                        <a:pt x="24550" y="2421"/>
                      </a:lnTo>
                      <a:lnTo>
                        <a:pt x="24572" y="2445"/>
                      </a:lnTo>
                      <a:lnTo>
                        <a:pt x="24605" y="2462"/>
                      </a:lnTo>
                      <a:lnTo>
                        <a:pt x="24621" y="2445"/>
                      </a:lnTo>
                      <a:lnTo>
                        <a:pt x="24626" y="2455"/>
                      </a:lnTo>
                      <a:lnTo>
                        <a:pt x="24638" y="2478"/>
                      </a:lnTo>
                      <a:lnTo>
                        <a:pt x="24626" y="2495"/>
                      </a:lnTo>
                      <a:lnTo>
                        <a:pt x="24642" y="2495"/>
                      </a:lnTo>
                      <a:lnTo>
                        <a:pt x="24654" y="2528"/>
                      </a:lnTo>
                      <a:lnTo>
                        <a:pt x="24642" y="2528"/>
                      </a:lnTo>
                      <a:lnTo>
                        <a:pt x="24621" y="2532"/>
                      </a:lnTo>
                      <a:lnTo>
                        <a:pt x="24654" y="2532"/>
                      </a:lnTo>
                      <a:lnTo>
                        <a:pt x="24654" y="2549"/>
                      </a:lnTo>
                      <a:lnTo>
                        <a:pt x="24642" y="2556"/>
                      </a:lnTo>
                      <a:lnTo>
                        <a:pt x="24659" y="2549"/>
                      </a:lnTo>
                      <a:lnTo>
                        <a:pt x="24654" y="2532"/>
                      </a:lnTo>
                      <a:lnTo>
                        <a:pt x="24668" y="2566"/>
                      </a:lnTo>
                      <a:lnTo>
                        <a:pt x="24659" y="2556"/>
                      </a:lnTo>
                      <a:lnTo>
                        <a:pt x="24659" y="2566"/>
                      </a:lnTo>
                      <a:lnTo>
                        <a:pt x="24697" y="2582"/>
                      </a:lnTo>
                      <a:lnTo>
                        <a:pt x="24697" y="2599"/>
                      </a:lnTo>
                      <a:lnTo>
                        <a:pt x="24680" y="2606"/>
                      </a:lnTo>
                      <a:lnTo>
                        <a:pt x="24706" y="2622"/>
                      </a:lnTo>
                      <a:lnTo>
                        <a:pt x="24706" y="2643"/>
                      </a:lnTo>
                      <a:lnTo>
                        <a:pt x="24676" y="2660"/>
                      </a:lnTo>
                      <a:lnTo>
                        <a:pt x="24680" y="2677"/>
                      </a:lnTo>
                      <a:lnTo>
                        <a:pt x="24676" y="2681"/>
                      </a:lnTo>
                      <a:lnTo>
                        <a:pt x="24600" y="2655"/>
                      </a:lnTo>
                      <a:lnTo>
                        <a:pt x="24550" y="2643"/>
                      </a:lnTo>
                      <a:lnTo>
                        <a:pt x="24550" y="2627"/>
                      </a:lnTo>
                      <a:lnTo>
                        <a:pt x="24562" y="2622"/>
                      </a:lnTo>
                      <a:lnTo>
                        <a:pt x="24546" y="2639"/>
                      </a:lnTo>
                      <a:lnTo>
                        <a:pt x="24529" y="2610"/>
                      </a:lnTo>
                      <a:lnTo>
                        <a:pt x="24529" y="2639"/>
                      </a:lnTo>
                      <a:lnTo>
                        <a:pt x="24550" y="2643"/>
                      </a:lnTo>
                      <a:lnTo>
                        <a:pt x="24508" y="2655"/>
                      </a:lnTo>
                      <a:lnTo>
                        <a:pt x="24479" y="2677"/>
                      </a:lnTo>
                      <a:lnTo>
                        <a:pt x="24373" y="2721"/>
                      </a:lnTo>
                      <a:lnTo>
                        <a:pt x="24357" y="2717"/>
                      </a:lnTo>
                      <a:lnTo>
                        <a:pt x="24366" y="2721"/>
                      </a:lnTo>
                      <a:lnTo>
                        <a:pt x="24357" y="2733"/>
                      </a:lnTo>
                      <a:lnTo>
                        <a:pt x="24328" y="2733"/>
                      </a:lnTo>
                      <a:lnTo>
                        <a:pt x="24319" y="2738"/>
                      </a:lnTo>
                      <a:lnTo>
                        <a:pt x="24302" y="2750"/>
                      </a:lnTo>
                      <a:lnTo>
                        <a:pt x="24290" y="2738"/>
                      </a:lnTo>
                      <a:lnTo>
                        <a:pt x="24281" y="2766"/>
                      </a:lnTo>
                      <a:lnTo>
                        <a:pt x="24276" y="2766"/>
                      </a:lnTo>
                      <a:lnTo>
                        <a:pt x="24260" y="2776"/>
                      </a:lnTo>
                      <a:lnTo>
                        <a:pt x="24243" y="2771"/>
                      </a:lnTo>
                      <a:lnTo>
                        <a:pt x="24227" y="2776"/>
                      </a:lnTo>
                      <a:lnTo>
                        <a:pt x="24243" y="2788"/>
                      </a:lnTo>
                      <a:lnTo>
                        <a:pt x="24227" y="2788"/>
                      </a:lnTo>
                      <a:lnTo>
                        <a:pt x="24239" y="2792"/>
                      </a:lnTo>
                      <a:lnTo>
                        <a:pt x="24222" y="2804"/>
                      </a:lnTo>
                      <a:lnTo>
                        <a:pt x="24205" y="2792"/>
                      </a:lnTo>
                      <a:lnTo>
                        <a:pt x="24205" y="2809"/>
                      </a:lnTo>
                      <a:lnTo>
                        <a:pt x="24210" y="2821"/>
                      </a:lnTo>
                      <a:lnTo>
                        <a:pt x="24194" y="2821"/>
                      </a:lnTo>
                      <a:lnTo>
                        <a:pt x="24184" y="2809"/>
                      </a:lnTo>
                      <a:lnTo>
                        <a:pt x="24189" y="2828"/>
                      </a:lnTo>
                      <a:lnTo>
                        <a:pt x="24184" y="2844"/>
                      </a:lnTo>
                      <a:lnTo>
                        <a:pt x="24172" y="2828"/>
                      </a:lnTo>
                      <a:lnTo>
                        <a:pt x="24172" y="2844"/>
                      </a:lnTo>
                      <a:lnTo>
                        <a:pt x="24151" y="2844"/>
                      </a:lnTo>
                      <a:lnTo>
                        <a:pt x="24151" y="2849"/>
                      </a:lnTo>
                      <a:lnTo>
                        <a:pt x="24135" y="2849"/>
                      </a:lnTo>
                      <a:lnTo>
                        <a:pt x="24135" y="2866"/>
                      </a:lnTo>
                      <a:lnTo>
                        <a:pt x="24080" y="2887"/>
                      </a:lnTo>
                      <a:lnTo>
                        <a:pt x="24080" y="2899"/>
                      </a:lnTo>
                      <a:lnTo>
                        <a:pt x="24076" y="2903"/>
                      </a:lnTo>
                      <a:lnTo>
                        <a:pt x="24064" y="2936"/>
                      </a:lnTo>
                      <a:lnTo>
                        <a:pt x="24059" y="2936"/>
                      </a:lnTo>
                      <a:lnTo>
                        <a:pt x="24033" y="2920"/>
                      </a:lnTo>
                      <a:lnTo>
                        <a:pt x="24021" y="2887"/>
                      </a:lnTo>
                      <a:lnTo>
                        <a:pt x="23979" y="2866"/>
                      </a:lnTo>
                      <a:lnTo>
                        <a:pt x="23979" y="2877"/>
                      </a:lnTo>
                      <a:lnTo>
                        <a:pt x="23913" y="2866"/>
                      </a:lnTo>
                      <a:lnTo>
                        <a:pt x="23832" y="2899"/>
                      </a:lnTo>
                      <a:lnTo>
                        <a:pt x="23761" y="2953"/>
                      </a:lnTo>
                      <a:lnTo>
                        <a:pt x="23773" y="2887"/>
                      </a:lnTo>
                      <a:lnTo>
                        <a:pt x="23778" y="2882"/>
                      </a:lnTo>
                      <a:lnTo>
                        <a:pt x="23757" y="2882"/>
                      </a:lnTo>
                      <a:lnTo>
                        <a:pt x="23702" y="2920"/>
                      </a:lnTo>
                      <a:lnTo>
                        <a:pt x="23686" y="2915"/>
                      </a:lnTo>
                      <a:lnTo>
                        <a:pt x="23702" y="2932"/>
                      </a:lnTo>
                      <a:lnTo>
                        <a:pt x="23681" y="2953"/>
                      </a:lnTo>
                      <a:lnTo>
                        <a:pt x="23665" y="2936"/>
                      </a:lnTo>
                      <a:lnTo>
                        <a:pt x="23648" y="2920"/>
                      </a:lnTo>
                      <a:lnTo>
                        <a:pt x="23643" y="2920"/>
                      </a:lnTo>
                      <a:lnTo>
                        <a:pt x="23643" y="2932"/>
                      </a:lnTo>
                      <a:lnTo>
                        <a:pt x="23627" y="2936"/>
                      </a:lnTo>
                      <a:lnTo>
                        <a:pt x="23627" y="2943"/>
                      </a:lnTo>
                      <a:lnTo>
                        <a:pt x="23617" y="2943"/>
                      </a:lnTo>
                      <a:lnTo>
                        <a:pt x="23627" y="2936"/>
                      </a:lnTo>
                      <a:lnTo>
                        <a:pt x="23617" y="2932"/>
                      </a:lnTo>
                      <a:lnTo>
                        <a:pt x="23596" y="2932"/>
                      </a:lnTo>
                      <a:lnTo>
                        <a:pt x="23601" y="2936"/>
                      </a:lnTo>
                      <a:lnTo>
                        <a:pt x="23596" y="2943"/>
                      </a:lnTo>
                      <a:lnTo>
                        <a:pt x="23572" y="2953"/>
                      </a:lnTo>
                      <a:lnTo>
                        <a:pt x="23572" y="2972"/>
                      </a:lnTo>
                      <a:lnTo>
                        <a:pt x="23558" y="2977"/>
                      </a:lnTo>
                      <a:lnTo>
                        <a:pt x="23572" y="2998"/>
                      </a:lnTo>
                      <a:lnTo>
                        <a:pt x="23563" y="3010"/>
                      </a:lnTo>
                      <a:lnTo>
                        <a:pt x="23546" y="3010"/>
                      </a:lnTo>
                      <a:lnTo>
                        <a:pt x="23563" y="3031"/>
                      </a:lnTo>
                      <a:lnTo>
                        <a:pt x="23546" y="3026"/>
                      </a:lnTo>
                      <a:lnTo>
                        <a:pt x="23542" y="3026"/>
                      </a:lnTo>
                      <a:lnTo>
                        <a:pt x="23546" y="3043"/>
                      </a:lnTo>
                      <a:lnTo>
                        <a:pt x="23504" y="3071"/>
                      </a:lnTo>
                      <a:lnTo>
                        <a:pt x="23487" y="3099"/>
                      </a:lnTo>
                      <a:lnTo>
                        <a:pt x="23471" y="3137"/>
                      </a:lnTo>
                      <a:lnTo>
                        <a:pt x="23487" y="3158"/>
                      </a:lnTo>
                      <a:lnTo>
                        <a:pt x="23504" y="3170"/>
                      </a:lnTo>
                      <a:lnTo>
                        <a:pt x="23504" y="3175"/>
                      </a:lnTo>
                      <a:lnTo>
                        <a:pt x="23520" y="3154"/>
                      </a:lnTo>
                      <a:lnTo>
                        <a:pt x="23563" y="3158"/>
                      </a:lnTo>
                      <a:lnTo>
                        <a:pt x="23563" y="3170"/>
                      </a:lnTo>
                      <a:lnTo>
                        <a:pt x="23558" y="3192"/>
                      </a:lnTo>
                      <a:lnTo>
                        <a:pt x="23525" y="3208"/>
                      </a:lnTo>
                      <a:lnTo>
                        <a:pt x="23535" y="3236"/>
                      </a:lnTo>
                      <a:lnTo>
                        <a:pt x="23535" y="3269"/>
                      </a:lnTo>
                      <a:lnTo>
                        <a:pt x="23542" y="3281"/>
                      </a:lnTo>
                      <a:lnTo>
                        <a:pt x="23563" y="3269"/>
                      </a:lnTo>
                      <a:lnTo>
                        <a:pt x="23572" y="3326"/>
                      </a:lnTo>
                      <a:lnTo>
                        <a:pt x="23546" y="3347"/>
                      </a:lnTo>
                      <a:lnTo>
                        <a:pt x="23525" y="3336"/>
                      </a:lnTo>
                      <a:lnTo>
                        <a:pt x="23525" y="3319"/>
                      </a:lnTo>
                      <a:lnTo>
                        <a:pt x="23558" y="3293"/>
                      </a:lnTo>
                      <a:lnTo>
                        <a:pt x="23546" y="3293"/>
                      </a:lnTo>
                      <a:lnTo>
                        <a:pt x="23542" y="3303"/>
                      </a:lnTo>
                      <a:lnTo>
                        <a:pt x="23525" y="3303"/>
                      </a:lnTo>
                      <a:lnTo>
                        <a:pt x="23504" y="3310"/>
                      </a:lnTo>
                      <a:lnTo>
                        <a:pt x="23520" y="3326"/>
                      </a:lnTo>
                      <a:lnTo>
                        <a:pt x="23483" y="3343"/>
                      </a:lnTo>
                      <a:lnTo>
                        <a:pt x="23454" y="3397"/>
                      </a:lnTo>
                      <a:lnTo>
                        <a:pt x="23466" y="3437"/>
                      </a:lnTo>
                      <a:lnTo>
                        <a:pt x="23487" y="3458"/>
                      </a:lnTo>
                      <a:lnTo>
                        <a:pt x="23487" y="3475"/>
                      </a:lnTo>
                      <a:lnTo>
                        <a:pt x="23454" y="3503"/>
                      </a:lnTo>
                      <a:lnTo>
                        <a:pt x="23428" y="3503"/>
                      </a:lnTo>
                      <a:lnTo>
                        <a:pt x="23416" y="3491"/>
                      </a:lnTo>
                      <a:lnTo>
                        <a:pt x="23383" y="3503"/>
                      </a:lnTo>
                      <a:lnTo>
                        <a:pt x="23341" y="3541"/>
                      </a:lnTo>
                      <a:lnTo>
                        <a:pt x="23324" y="3581"/>
                      </a:lnTo>
                      <a:lnTo>
                        <a:pt x="23331" y="3586"/>
                      </a:lnTo>
                      <a:lnTo>
                        <a:pt x="23331" y="3603"/>
                      </a:lnTo>
                      <a:lnTo>
                        <a:pt x="23324" y="3598"/>
                      </a:lnTo>
                      <a:lnTo>
                        <a:pt x="23341" y="3619"/>
                      </a:lnTo>
                      <a:lnTo>
                        <a:pt x="23341" y="3636"/>
                      </a:lnTo>
                      <a:lnTo>
                        <a:pt x="23308" y="3619"/>
                      </a:lnTo>
                      <a:lnTo>
                        <a:pt x="23270" y="3643"/>
                      </a:lnTo>
                      <a:lnTo>
                        <a:pt x="23249" y="3659"/>
                      </a:lnTo>
                      <a:lnTo>
                        <a:pt x="23239" y="3643"/>
                      </a:lnTo>
                      <a:lnTo>
                        <a:pt x="23223" y="3643"/>
                      </a:lnTo>
                      <a:lnTo>
                        <a:pt x="23223" y="3659"/>
                      </a:lnTo>
                      <a:lnTo>
                        <a:pt x="23239" y="3659"/>
                      </a:lnTo>
                      <a:lnTo>
                        <a:pt x="23232" y="3680"/>
                      </a:lnTo>
                      <a:lnTo>
                        <a:pt x="23223" y="3680"/>
                      </a:lnTo>
                      <a:lnTo>
                        <a:pt x="23232" y="3692"/>
                      </a:lnTo>
                      <a:lnTo>
                        <a:pt x="23232" y="3714"/>
                      </a:lnTo>
                      <a:lnTo>
                        <a:pt x="23218" y="3730"/>
                      </a:lnTo>
                      <a:lnTo>
                        <a:pt x="23218" y="3751"/>
                      </a:lnTo>
                      <a:lnTo>
                        <a:pt x="23105" y="3846"/>
                      </a:lnTo>
                      <a:lnTo>
                        <a:pt x="23109" y="3836"/>
                      </a:lnTo>
                      <a:lnTo>
                        <a:pt x="23093" y="3808"/>
                      </a:lnTo>
                      <a:lnTo>
                        <a:pt x="23093" y="3751"/>
                      </a:lnTo>
                      <a:lnTo>
                        <a:pt x="23076" y="3692"/>
                      </a:lnTo>
                      <a:lnTo>
                        <a:pt x="23088" y="3697"/>
                      </a:lnTo>
                      <a:lnTo>
                        <a:pt x="23088" y="3692"/>
                      </a:lnTo>
                      <a:lnTo>
                        <a:pt x="23076" y="3692"/>
                      </a:lnTo>
                      <a:lnTo>
                        <a:pt x="23060" y="3669"/>
                      </a:lnTo>
                      <a:lnTo>
                        <a:pt x="23022" y="3421"/>
                      </a:lnTo>
                      <a:lnTo>
                        <a:pt x="23034" y="3359"/>
                      </a:lnTo>
                      <a:lnTo>
                        <a:pt x="23055" y="3281"/>
                      </a:lnTo>
                      <a:lnTo>
                        <a:pt x="23088" y="3253"/>
                      </a:lnTo>
                      <a:lnTo>
                        <a:pt x="23093" y="3236"/>
                      </a:lnTo>
                      <a:lnTo>
                        <a:pt x="23105" y="3236"/>
                      </a:lnTo>
                      <a:lnTo>
                        <a:pt x="23126" y="3208"/>
                      </a:lnTo>
                      <a:lnTo>
                        <a:pt x="23126" y="3182"/>
                      </a:lnTo>
                      <a:lnTo>
                        <a:pt x="23109" y="3175"/>
                      </a:lnTo>
                      <a:lnTo>
                        <a:pt x="23126" y="3158"/>
                      </a:lnTo>
                      <a:lnTo>
                        <a:pt x="23142" y="3170"/>
                      </a:lnTo>
                      <a:lnTo>
                        <a:pt x="23157" y="3170"/>
                      </a:lnTo>
                      <a:lnTo>
                        <a:pt x="23168" y="3142"/>
                      </a:lnTo>
                      <a:lnTo>
                        <a:pt x="23218" y="3142"/>
                      </a:lnTo>
                      <a:lnTo>
                        <a:pt x="23320" y="3059"/>
                      </a:lnTo>
                      <a:lnTo>
                        <a:pt x="23324" y="3031"/>
                      </a:lnTo>
                      <a:lnTo>
                        <a:pt x="23362" y="2998"/>
                      </a:lnTo>
                      <a:lnTo>
                        <a:pt x="23374" y="2977"/>
                      </a:lnTo>
                      <a:lnTo>
                        <a:pt x="23395" y="2972"/>
                      </a:lnTo>
                      <a:lnTo>
                        <a:pt x="23438" y="2920"/>
                      </a:lnTo>
                      <a:lnTo>
                        <a:pt x="23466" y="2915"/>
                      </a:lnTo>
                      <a:lnTo>
                        <a:pt x="23471" y="2903"/>
                      </a:lnTo>
                      <a:lnTo>
                        <a:pt x="23471" y="2882"/>
                      </a:lnTo>
                      <a:lnTo>
                        <a:pt x="23535" y="2861"/>
                      </a:lnTo>
                      <a:lnTo>
                        <a:pt x="23542" y="2849"/>
                      </a:lnTo>
                      <a:lnTo>
                        <a:pt x="23596" y="2832"/>
                      </a:lnTo>
                      <a:lnTo>
                        <a:pt x="23596" y="2828"/>
                      </a:lnTo>
                      <a:lnTo>
                        <a:pt x="23579" y="2821"/>
                      </a:lnTo>
                      <a:lnTo>
                        <a:pt x="23617" y="2788"/>
                      </a:lnTo>
                      <a:lnTo>
                        <a:pt x="23617" y="2776"/>
                      </a:lnTo>
                      <a:lnTo>
                        <a:pt x="23601" y="2771"/>
                      </a:lnTo>
                      <a:lnTo>
                        <a:pt x="23610" y="2755"/>
                      </a:lnTo>
                      <a:lnTo>
                        <a:pt x="23617" y="2750"/>
                      </a:lnTo>
                      <a:lnTo>
                        <a:pt x="23627" y="2681"/>
                      </a:lnTo>
                      <a:lnTo>
                        <a:pt x="23655" y="2660"/>
                      </a:lnTo>
                      <a:lnTo>
                        <a:pt x="23698" y="2665"/>
                      </a:lnTo>
                      <a:lnTo>
                        <a:pt x="23709" y="2677"/>
                      </a:lnTo>
                      <a:lnTo>
                        <a:pt x="23698" y="2660"/>
                      </a:lnTo>
                      <a:lnTo>
                        <a:pt x="23735" y="2660"/>
                      </a:lnTo>
                      <a:lnTo>
                        <a:pt x="23686" y="2655"/>
                      </a:lnTo>
                      <a:lnTo>
                        <a:pt x="23643" y="2639"/>
                      </a:lnTo>
                      <a:lnTo>
                        <a:pt x="23563" y="2655"/>
                      </a:lnTo>
                      <a:lnTo>
                        <a:pt x="23558" y="2660"/>
                      </a:lnTo>
                      <a:lnTo>
                        <a:pt x="23572" y="2677"/>
                      </a:lnTo>
                      <a:lnTo>
                        <a:pt x="23558" y="2681"/>
                      </a:lnTo>
                      <a:lnTo>
                        <a:pt x="23558" y="2710"/>
                      </a:lnTo>
                      <a:lnTo>
                        <a:pt x="23542" y="2733"/>
                      </a:lnTo>
                      <a:lnTo>
                        <a:pt x="23572" y="2738"/>
                      </a:lnTo>
                      <a:lnTo>
                        <a:pt x="23563" y="2750"/>
                      </a:lnTo>
                      <a:lnTo>
                        <a:pt x="23546" y="2766"/>
                      </a:lnTo>
                      <a:lnTo>
                        <a:pt x="23535" y="2750"/>
                      </a:lnTo>
                      <a:lnTo>
                        <a:pt x="23525" y="2750"/>
                      </a:lnTo>
                      <a:lnTo>
                        <a:pt x="23535" y="2755"/>
                      </a:lnTo>
                      <a:lnTo>
                        <a:pt x="23504" y="2750"/>
                      </a:lnTo>
                      <a:lnTo>
                        <a:pt x="23400" y="2832"/>
                      </a:lnTo>
                      <a:lnTo>
                        <a:pt x="23395" y="2849"/>
                      </a:lnTo>
                      <a:lnTo>
                        <a:pt x="23362" y="2849"/>
                      </a:lnTo>
                      <a:lnTo>
                        <a:pt x="23346" y="2866"/>
                      </a:lnTo>
                      <a:lnTo>
                        <a:pt x="23357" y="2849"/>
                      </a:lnTo>
                      <a:lnTo>
                        <a:pt x="23346" y="2844"/>
                      </a:lnTo>
                      <a:lnTo>
                        <a:pt x="23362" y="2821"/>
                      </a:lnTo>
                      <a:lnTo>
                        <a:pt x="23346" y="2821"/>
                      </a:lnTo>
                      <a:lnTo>
                        <a:pt x="23324" y="2828"/>
                      </a:lnTo>
                      <a:lnTo>
                        <a:pt x="23331" y="2809"/>
                      </a:lnTo>
                      <a:lnTo>
                        <a:pt x="23331" y="2792"/>
                      </a:lnTo>
                      <a:lnTo>
                        <a:pt x="23324" y="2792"/>
                      </a:lnTo>
                      <a:lnTo>
                        <a:pt x="23362" y="2738"/>
                      </a:lnTo>
                      <a:lnTo>
                        <a:pt x="23362" y="2717"/>
                      </a:lnTo>
                      <a:lnTo>
                        <a:pt x="23303" y="2750"/>
                      </a:lnTo>
                      <a:lnTo>
                        <a:pt x="23294" y="2721"/>
                      </a:lnTo>
                      <a:lnTo>
                        <a:pt x="23287" y="2721"/>
                      </a:lnTo>
                      <a:lnTo>
                        <a:pt x="23202" y="2738"/>
                      </a:lnTo>
                      <a:lnTo>
                        <a:pt x="23164" y="2733"/>
                      </a:lnTo>
                      <a:lnTo>
                        <a:pt x="23109" y="2766"/>
                      </a:lnTo>
                      <a:lnTo>
                        <a:pt x="23105" y="2804"/>
                      </a:lnTo>
                      <a:lnTo>
                        <a:pt x="23060" y="2821"/>
                      </a:lnTo>
                      <a:lnTo>
                        <a:pt x="23055" y="2832"/>
                      </a:lnTo>
                      <a:lnTo>
                        <a:pt x="23050" y="2849"/>
                      </a:lnTo>
                      <a:lnTo>
                        <a:pt x="22984" y="2887"/>
                      </a:lnTo>
                      <a:lnTo>
                        <a:pt x="22963" y="2915"/>
                      </a:lnTo>
                      <a:lnTo>
                        <a:pt x="22946" y="2936"/>
                      </a:lnTo>
                      <a:lnTo>
                        <a:pt x="22930" y="2943"/>
                      </a:lnTo>
                      <a:lnTo>
                        <a:pt x="22942" y="2972"/>
                      </a:lnTo>
                      <a:lnTo>
                        <a:pt x="22925" y="2988"/>
                      </a:lnTo>
                      <a:lnTo>
                        <a:pt x="22925" y="2993"/>
                      </a:lnTo>
                      <a:lnTo>
                        <a:pt x="22953" y="2993"/>
                      </a:lnTo>
                      <a:lnTo>
                        <a:pt x="22946" y="2977"/>
                      </a:lnTo>
                      <a:lnTo>
                        <a:pt x="22984" y="2988"/>
                      </a:lnTo>
                      <a:lnTo>
                        <a:pt x="23001" y="2998"/>
                      </a:lnTo>
                      <a:lnTo>
                        <a:pt x="22996" y="3014"/>
                      </a:lnTo>
                      <a:lnTo>
                        <a:pt x="22968" y="3026"/>
                      </a:lnTo>
                      <a:lnTo>
                        <a:pt x="22946" y="3014"/>
                      </a:lnTo>
                      <a:lnTo>
                        <a:pt x="22942" y="3014"/>
                      </a:lnTo>
                      <a:lnTo>
                        <a:pt x="22930" y="3031"/>
                      </a:lnTo>
                      <a:lnTo>
                        <a:pt x="22916" y="3031"/>
                      </a:lnTo>
                      <a:lnTo>
                        <a:pt x="22899" y="3014"/>
                      </a:lnTo>
                      <a:lnTo>
                        <a:pt x="22871" y="3010"/>
                      </a:lnTo>
                      <a:lnTo>
                        <a:pt x="22861" y="3026"/>
                      </a:lnTo>
                      <a:lnTo>
                        <a:pt x="22845" y="3031"/>
                      </a:lnTo>
                      <a:lnTo>
                        <a:pt x="22840" y="3047"/>
                      </a:lnTo>
                      <a:lnTo>
                        <a:pt x="22802" y="3031"/>
                      </a:lnTo>
                      <a:lnTo>
                        <a:pt x="22786" y="3043"/>
                      </a:lnTo>
                      <a:lnTo>
                        <a:pt x="22779" y="3047"/>
                      </a:lnTo>
                      <a:lnTo>
                        <a:pt x="22731" y="3059"/>
                      </a:lnTo>
                      <a:lnTo>
                        <a:pt x="22710" y="3026"/>
                      </a:lnTo>
                      <a:lnTo>
                        <a:pt x="22791" y="3014"/>
                      </a:lnTo>
                      <a:lnTo>
                        <a:pt x="22765" y="3010"/>
                      </a:lnTo>
                      <a:lnTo>
                        <a:pt x="22748" y="2988"/>
                      </a:lnTo>
                      <a:lnTo>
                        <a:pt x="22731" y="2977"/>
                      </a:lnTo>
                      <a:lnTo>
                        <a:pt x="22698" y="2977"/>
                      </a:lnTo>
                      <a:lnTo>
                        <a:pt x="22698" y="2988"/>
                      </a:lnTo>
                      <a:lnTo>
                        <a:pt x="22682" y="2993"/>
                      </a:lnTo>
                      <a:lnTo>
                        <a:pt x="22682" y="2988"/>
                      </a:lnTo>
                      <a:lnTo>
                        <a:pt x="22665" y="2988"/>
                      </a:lnTo>
                      <a:lnTo>
                        <a:pt x="22682" y="2977"/>
                      </a:lnTo>
                      <a:lnTo>
                        <a:pt x="22606" y="2953"/>
                      </a:lnTo>
                      <a:lnTo>
                        <a:pt x="22568" y="2972"/>
                      </a:lnTo>
                      <a:lnTo>
                        <a:pt x="22576" y="2993"/>
                      </a:lnTo>
                      <a:lnTo>
                        <a:pt x="22559" y="2993"/>
                      </a:lnTo>
                      <a:lnTo>
                        <a:pt x="22552" y="2977"/>
                      </a:lnTo>
                      <a:lnTo>
                        <a:pt x="22547" y="2988"/>
                      </a:lnTo>
                      <a:lnTo>
                        <a:pt x="22547" y="2998"/>
                      </a:lnTo>
                      <a:lnTo>
                        <a:pt x="22559" y="2998"/>
                      </a:lnTo>
                      <a:lnTo>
                        <a:pt x="22559" y="3010"/>
                      </a:lnTo>
                      <a:lnTo>
                        <a:pt x="22521" y="3010"/>
                      </a:lnTo>
                      <a:lnTo>
                        <a:pt x="22521" y="2993"/>
                      </a:lnTo>
                      <a:lnTo>
                        <a:pt x="22505" y="2993"/>
                      </a:lnTo>
                      <a:lnTo>
                        <a:pt x="22462" y="3010"/>
                      </a:lnTo>
                      <a:lnTo>
                        <a:pt x="22391" y="2993"/>
                      </a:lnTo>
                      <a:lnTo>
                        <a:pt x="22375" y="2993"/>
                      </a:lnTo>
                      <a:lnTo>
                        <a:pt x="22375" y="3014"/>
                      </a:lnTo>
                      <a:lnTo>
                        <a:pt x="22354" y="3026"/>
                      </a:lnTo>
                      <a:lnTo>
                        <a:pt x="22337" y="3010"/>
                      </a:lnTo>
                      <a:lnTo>
                        <a:pt x="22342" y="2993"/>
                      </a:lnTo>
                      <a:lnTo>
                        <a:pt x="22207" y="2993"/>
                      </a:lnTo>
                      <a:lnTo>
                        <a:pt x="22160" y="2998"/>
                      </a:lnTo>
                      <a:lnTo>
                        <a:pt x="22084" y="3031"/>
                      </a:lnTo>
                      <a:lnTo>
                        <a:pt x="22051" y="3071"/>
                      </a:lnTo>
                      <a:lnTo>
                        <a:pt x="21980" y="3121"/>
                      </a:lnTo>
                      <a:lnTo>
                        <a:pt x="21964" y="3158"/>
                      </a:lnTo>
                      <a:lnTo>
                        <a:pt x="21938" y="3175"/>
                      </a:lnTo>
                      <a:lnTo>
                        <a:pt x="21900" y="3215"/>
                      </a:lnTo>
                      <a:lnTo>
                        <a:pt x="21872" y="3225"/>
                      </a:lnTo>
                      <a:lnTo>
                        <a:pt x="21857" y="3248"/>
                      </a:lnTo>
                      <a:lnTo>
                        <a:pt x="21834" y="3248"/>
                      </a:lnTo>
                      <a:lnTo>
                        <a:pt x="21803" y="3293"/>
                      </a:lnTo>
                      <a:lnTo>
                        <a:pt x="21803" y="3303"/>
                      </a:lnTo>
                      <a:lnTo>
                        <a:pt x="21775" y="3336"/>
                      </a:lnTo>
                      <a:lnTo>
                        <a:pt x="21683" y="3397"/>
                      </a:lnTo>
                      <a:lnTo>
                        <a:pt x="21668" y="3421"/>
                      </a:lnTo>
                      <a:lnTo>
                        <a:pt x="21619" y="3437"/>
                      </a:lnTo>
                      <a:lnTo>
                        <a:pt x="21598" y="3458"/>
                      </a:lnTo>
                      <a:lnTo>
                        <a:pt x="21602" y="3475"/>
                      </a:lnTo>
                      <a:lnTo>
                        <a:pt x="21635" y="3491"/>
                      </a:lnTo>
                      <a:lnTo>
                        <a:pt x="21711" y="3487"/>
                      </a:lnTo>
                      <a:lnTo>
                        <a:pt x="21711" y="3491"/>
                      </a:lnTo>
                      <a:lnTo>
                        <a:pt x="21706" y="3508"/>
                      </a:lnTo>
                      <a:lnTo>
                        <a:pt x="21711" y="3532"/>
                      </a:lnTo>
                      <a:lnTo>
                        <a:pt x="21694" y="3558"/>
                      </a:lnTo>
                      <a:lnTo>
                        <a:pt x="21706" y="3569"/>
                      </a:lnTo>
                      <a:lnTo>
                        <a:pt x="21737" y="3565"/>
                      </a:lnTo>
                      <a:lnTo>
                        <a:pt x="21744" y="3548"/>
                      </a:lnTo>
                      <a:lnTo>
                        <a:pt x="21728" y="3532"/>
                      </a:lnTo>
                      <a:lnTo>
                        <a:pt x="21737" y="3532"/>
                      </a:lnTo>
                      <a:lnTo>
                        <a:pt x="21775" y="3515"/>
                      </a:lnTo>
                      <a:lnTo>
                        <a:pt x="21744" y="3541"/>
                      </a:lnTo>
                      <a:lnTo>
                        <a:pt x="21744" y="3548"/>
                      </a:lnTo>
                      <a:lnTo>
                        <a:pt x="21765" y="3558"/>
                      </a:lnTo>
                      <a:lnTo>
                        <a:pt x="21782" y="3558"/>
                      </a:lnTo>
                      <a:lnTo>
                        <a:pt x="21765" y="3565"/>
                      </a:lnTo>
                      <a:lnTo>
                        <a:pt x="21758" y="3581"/>
                      </a:lnTo>
                      <a:lnTo>
                        <a:pt x="21737" y="3586"/>
                      </a:lnTo>
                      <a:lnTo>
                        <a:pt x="21744" y="3598"/>
                      </a:lnTo>
                      <a:lnTo>
                        <a:pt x="21791" y="3598"/>
                      </a:lnTo>
                      <a:lnTo>
                        <a:pt x="21813" y="3581"/>
                      </a:lnTo>
                      <a:lnTo>
                        <a:pt x="21820" y="3565"/>
                      </a:lnTo>
                      <a:lnTo>
                        <a:pt x="21834" y="3548"/>
                      </a:lnTo>
                      <a:lnTo>
                        <a:pt x="21834" y="3569"/>
                      </a:lnTo>
                      <a:lnTo>
                        <a:pt x="21813" y="3598"/>
                      </a:lnTo>
                      <a:lnTo>
                        <a:pt x="21829" y="3598"/>
                      </a:lnTo>
                      <a:lnTo>
                        <a:pt x="21834" y="3581"/>
                      </a:lnTo>
                      <a:lnTo>
                        <a:pt x="21850" y="3548"/>
                      </a:lnTo>
                      <a:lnTo>
                        <a:pt x="21846" y="3525"/>
                      </a:lnTo>
                      <a:lnTo>
                        <a:pt x="21834" y="3525"/>
                      </a:lnTo>
                      <a:lnTo>
                        <a:pt x="21888" y="3532"/>
                      </a:lnTo>
                      <a:lnTo>
                        <a:pt x="21909" y="3515"/>
                      </a:lnTo>
                      <a:lnTo>
                        <a:pt x="21954" y="3548"/>
                      </a:lnTo>
                      <a:lnTo>
                        <a:pt x="21954" y="3565"/>
                      </a:lnTo>
                      <a:lnTo>
                        <a:pt x="21976" y="3586"/>
                      </a:lnTo>
                      <a:lnTo>
                        <a:pt x="22009" y="3598"/>
                      </a:lnTo>
                      <a:lnTo>
                        <a:pt x="21997" y="3603"/>
                      </a:lnTo>
                      <a:lnTo>
                        <a:pt x="22035" y="3619"/>
                      </a:lnTo>
                      <a:lnTo>
                        <a:pt x="22035" y="3636"/>
                      </a:lnTo>
                      <a:lnTo>
                        <a:pt x="22018" y="3643"/>
                      </a:lnTo>
                      <a:lnTo>
                        <a:pt x="22018" y="3652"/>
                      </a:lnTo>
                      <a:lnTo>
                        <a:pt x="21980" y="3636"/>
                      </a:lnTo>
                      <a:lnTo>
                        <a:pt x="22018" y="3669"/>
                      </a:lnTo>
                      <a:lnTo>
                        <a:pt x="22030" y="3680"/>
                      </a:lnTo>
                      <a:lnTo>
                        <a:pt x="22013" y="3709"/>
                      </a:lnTo>
                      <a:lnTo>
                        <a:pt x="22046" y="3725"/>
                      </a:lnTo>
                      <a:lnTo>
                        <a:pt x="22030" y="3747"/>
                      </a:lnTo>
                      <a:lnTo>
                        <a:pt x="22035" y="3751"/>
                      </a:lnTo>
                      <a:lnTo>
                        <a:pt x="21997" y="3780"/>
                      </a:lnTo>
                      <a:lnTo>
                        <a:pt x="21997" y="3791"/>
                      </a:lnTo>
                      <a:lnTo>
                        <a:pt x="21992" y="3803"/>
                      </a:lnTo>
                      <a:lnTo>
                        <a:pt x="21997" y="3803"/>
                      </a:lnTo>
                      <a:lnTo>
                        <a:pt x="21997" y="3808"/>
                      </a:lnTo>
                      <a:lnTo>
                        <a:pt x="21980" y="3808"/>
                      </a:lnTo>
                      <a:lnTo>
                        <a:pt x="21980" y="3846"/>
                      </a:lnTo>
                      <a:lnTo>
                        <a:pt x="21976" y="3858"/>
                      </a:lnTo>
                      <a:lnTo>
                        <a:pt x="21964" y="3862"/>
                      </a:lnTo>
                      <a:lnTo>
                        <a:pt x="21964" y="3919"/>
                      </a:lnTo>
                      <a:lnTo>
                        <a:pt x="21976" y="3931"/>
                      </a:lnTo>
                      <a:lnTo>
                        <a:pt x="21980" y="3931"/>
                      </a:lnTo>
                      <a:lnTo>
                        <a:pt x="21959" y="3947"/>
                      </a:lnTo>
                      <a:lnTo>
                        <a:pt x="21976" y="3973"/>
                      </a:lnTo>
                      <a:lnTo>
                        <a:pt x="21959" y="4006"/>
                      </a:lnTo>
                      <a:lnTo>
                        <a:pt x="21959" y="4030"/>
                      </a:lnTo>
                      <a:lnTo>
                        <a:pt x="21954" y="4047"/>
                      </a:lnTo>
                      <a:lnTo>
                        <a:pt x="21942" y="4080"/>
                      </a:lnTo>
                      <a:lnTo>
                        <a:pt x="21883" y="4141"/>
                      </a:lnTo>
                      <a:lnTo>
                        <a:pt x="21867" y="4174"/>
                      </a:lnTo>
                      <a:lnTo>
                        <a:pt x="21834" y="4207"/>
                      </a:lnTo>
                      <a:lnTo>
                        <a:pt x="21820" y="4252"/>
                      </a:lnTo>
                      <a:lnTo>
                        <a:pt x="21796" y="4285"/>
                      </a:lnTo>
                      <a:lnTo>
                        <a:pt x="21683" y="4413"/>
                      </a:lnTo>
                      <a:lnTo>
                        <a:pt x="21668" y="4434"/>
                      </a:lnTo>
                      <a:lnTo>
                        <a:pt x="21640" y="4451"/>
                      </a:lnTo>
                      <a:lnTo>
                        <a:pt x="21631" y="4474"/>
                      </a:lnTo>
                      <a:lnTo>
                        <a:pt x="21614" y="4484"/>
                      </a:lnTo>
                      <a:lnTo>
                        <a:pt x="21619" y="4491"/>
                      </a:lnTo>
                      <a:lnTo>
                        <a:pt x="21619" y="4500"/>
                      </a:lnTo>
                      <a:lnTo>
                        <a:pt x="21586" y="4524"/>
                      </a:lnTo>
                      <a:lnTo>
                        <a:pt x="21527" y="4562"/>
                      </a:lnTo>
                      <a:lnTo>
                        <a:pt x="21505" y="4578"/>
                      </a:lnTo>
                      <a:lnTo>
                        <a:pt x="21456" y="4595"/>
                      </a:lnTo>
                      <a:lnTo>
                        <a:pt x="21442" y="4595"/>
                      </a:lnTo>
                      <a:lnTo>
                        <a:pt x="21442" y="4583"/>
                      </a:lnTo>
                      <a:lnTo>
                        <a:pt x="21435" y="4595"/>
                      </a:lnTo>
                      <a:lnTo>
                        <a:pt x="21425" y="4578"/>
                      </a:lnTo>
                      <a:lnTo>
                        <a:pt x="21413" y="4583"/>
                      </a:lnTo>
                      <a:lnTo>
                        <a:pt x="21404" y="4578"/>
                      </a:lnTo>
                      <a:lnTo>
                        <a:pt x="21397" y="4583"/>
                      </a:lnTo>
                      <a:lnTo>
                        <a:pt x="21397" y="4545"/>
                      </a:lnTo>
                      <a:lnTo>
                        <a:pt x="21371" y="4562"/>
                      </a:lnTo>
                      <a:lnTo>
                        <a:pt x="21366" y="4562"/>
                      </a:lnTo>
                      <a:lnTo>
                        <a:pt x="21380" y="4540"/>
                      </a:lnTo>
                      <a:lnTo>
                        <a:pt x="21359" y="4540"/>
                      </a:lnTo>
                      <a:lnTo>
                        <a:pt x="21333" y="4578"/>
                      </a:lnTo>
                      <a:lnTo>
                        <a:pt x="21317" y="4583"/>
                      </a:lnTo>
                      <a:lnTo>
                        <a:pt x="21317" y="4611"/>
                      </a:lnTo>
                      <a:lnTo>
                        <a:pt x="21312" y="4602"/>
                      </a:lnTo>
                      <a:lnTo>
                        <a:pt x="21279" y="4595"/>
                      </a:lnTo>
                      <a:lnTo>
                        <a:pt x="21295" y="4611"/>
                      </a:lnTo>
                      <a:lnTo>
                        <a:pt x="21279" y="4635"/>
                      </a:lnTo>
                      <a:lnTo>
                        <a:pt x="21274" y="4618"/>
                      </a:lnTo>
                      <a:lnTo>
                        <a:pt x="21274" y="4602"/>
                      </a:lnTo>
                      <a:lnTo>
                        <a:pt x="21262" y="4595"/>
                      </a:lnTo>
                      <a:lnTo>
                        <a:pt x="21312" y="4578"/>
                      </a:lnTo>
                      <a:lnTo>
                        <a:pt x="21312" y="4562"/>
                      </a:lnTo>
                      <a:lnTo>
                        <a:pt x="21328" y="4540"/>
                      </a:lnTo>
                      <a:lnTo>
                        <a:pt x="21317" y="4524"/>
                      </a:lnTo>
                      <a:lnTo>
                        <a:pt x="21328" y="4474"/>
                      </a:lnTo>
                      <a:lnTo>
                        <a:pt x="21312" y="4417"/>
                      </a:lnTo>
                      <a:lnTo>
                        <a:pt x="21295" y="4401"/>
                      </a:lnTo>
                      <a:lnTo>
                        <a:pt x="21333" y="4396"/>
                      </a:lnTo>
                      <a:lnTo>
                        <a:pt x="21366" y="4363"/>
                      </a:lnTo>
                      <a:lnTo>
                        <a:pt x="21371" y="4373"/>
                      </a:lnTo>
                      <a:lnTo>
                        <a:pt x="21435" y="4389"/>
                      </a:lnTo>
                      <a:lnTo>
                        <a:pt x="21451" y="4380"/>
                      </a:lnTo>
                      <a:lnTo>
                        <a:pt x="21451" y="4356"/>
                      </a:lnTo>
                      <a:lnTo>
                        <a:pt x="21472" y="4340"/>
                      </a:lnTo>
                      <a:lnTo>
                        <a:pt x="21472" y="4318"/>
                      </a:lnTo>
                      <a:lnTo>
                        <a:pt x="21505" y="4278"/>
                      </a:lnTo>
                      <a:lnTo>
                        <a:pt x="21510" y="4269"/>
                      </a:lnTo>
                      <a:lnTo>
                        <a:pt x="21505" y="4262"/>
                      </a:lnTo>
                      <a:lnTo>
                        <a:pt x="21510" y="4245"/>
                      </a:lnTo>
                      <a:lnTo>
                        <a:pt x="21522" y="4207"/>
                      </a:lnTo>
                      <a:lnTo>
                        <a:pt x="21527" y="4207"/>
                      </a:lnTo>
                      <a:lnTo>
                        <a:pt x="21527" y="4179"/>
                      </a:lnTo>
                      <a:lnTo>
                        <a:pt x="21548" y="4167"/>
                      </a:lnTo>
                      <a:lnTo>
                        <a:pt x="21565" y="4151"/>
                      </a:lnTo>
                      <a:lnTo>
                        <a:pt x="21548" y="4117"/>
                      </a:lnTo>
                      <a:lnTo>
                        <a:pt x="21565" y="4096"/>
                      </a:lnTo>
                      <a:lnTo>
                        <a:pt x="21543" y="4084"/>
                      </a:lnTo>
                      <a:lnTo>
                        <a:pt x="21494" y="4096"/>
                      </a:lnTo>
                      <a:lnTo>
                        <a:pt x="21479" y="4117"/>
                      </a:lnTo>
                      <a:lnTo>
                        <a:pt x="21451" y="4113"/>
                      </a:lnTo>
                      <a:lnTo>
                        <a:pt x="21418" y="4134"/>
                      </a:lnTo>
                      <a:lnTo>
                        <a:pt x="21413" y="4151"/>
                      </a:lnTo>
                      <a:lnTo>
                        <a:pt x="21305" y="4151"/>
                      </a:lnTo>
                      <a:lnTo>
                        <a:pt x="21295" y="4125"/>
                      </a:lnTo>
                      <a:lnTo>
                        <a:pt x="21279" y="4113"/>
                      </a:lnTo>
                      <a:lnTo>
                        <a:pt x="21291" y="4096"/>
                      </a:lnTo>
                      <a:lnTo>
                        <a:pt x="21274" y="4063"/>
                      </a:lnTo>
                      <a:lnTo>
                        <a:pt x="21279" y="4040"/>
                      </a:lnTo>
                      <a:lnTo>
                        <a:pt x="21253" y="4040"/>
                      </a:lnTo>
                      <a:lnTo>
                        <a:pt x="21224" y="4023"/>
                      </a:lnTo>
                      <a:lnTo>
                        <a:pt x="21208" y="4006"/>
                      </a:lnTo>
                      <a:lnTo>
                        <a:pt x="21203" y="4002"/>
                      </a:lnTo>
                      <a:lnTo>
                        <a:pt x="21198" y="3990"/>
                      </a:lnTo>
                      <a:lnTo>
                        <a:pt x="21170" y="4002"/>
                      </a:lnTo>
                      <a:lnTo>
                        <a:pt x="21149" y="3973"/>
                      </a:lnTo>
                      <a:lnTo>
                        <a:pt x="21078" y="3973"/>
                      </a:lnTo>
                      <a:lnTo>
                        <a:pt x="21057" y="3952"/>
                      </a:lnTo>
                      <a:lnTo>
                        <a:pt x="21057" y="3931"/>
                      </a:lnTo>
                      <a:lnTo>
                        <a:pt x="21064" y="3914"/>
                      </a:lnTo>
                      <a:lnTo>
                        <a:pt x="21047" y="3903"/>
                      </a:lnTo>
                      <a:lnTo>
                        <a:pt x="21040" y="3891"/>
                      </a:lnTo>
                      <a:lnTo>
                        <a:pt x="21047" y="3879"/>
                      </a:lnTo>
                      <a:lnTo>
                        <a:pt x="21040" y="3862"/>
                      </a:lnTo>
                      <a:lnTo>
                        <a:pt x="21019" y="3836"/>
                      </a:lnTo>
                      <a:lnTo>
                        <a:pt x="21019" y="3808"/>
                      </a:lnTo>
                      <a:lnTo>
                        <a:pt x="21009" y="3820"/>
                      </a:lnTo>
                      <a:lnTo>
                        <a:pt x="21019" y="3803"/>
                      </a:lnTo>
                      <a:lnTo>
                        <a:pt x="21009" y="3803"/>
                      </a:lnTo>
                      <a:lnTo>
                        <a:pt x="21002" y="3768"/>
                      </a:lnTo>
                      <a:lnTo>
                        <a:pt x="20981" y="3747"/>
                      </a:lnTo>
                      <a:lnTo>
                        <a:pt x="20993" y="3730"/>
                      </a:lnTo>
                      <a:lnTo>
                        <a:pt x="20972" y="3730"/>
                      </a:lnTo>
                      <a:lnTo>
                        <a:pt x="20981" y="3709"/>
                      </a:lnTo>
                      <a:lnTo>
                        <a:pt x="20965" y="3692"/>
                      </a:lnTo>
                      <a:lnTo>
                        <a:pt x="20950" y="3692"/>
                      </a:lnTo>
                      <a:lnTo>
                        <a:pt x="20955" y="3676"/>
                      </a:lnTo>
                      <a:lnTo>
                        <a:pt x="20927" y="3659"/>
                      </a:lnTo>
                      <a:lnTo>
                        <a:pt x="20934" y="3652"/>
                      </a:lnTo>
                      <a:lnTo>
                        <a:pt x="20927" y="3643"/>
                      </a:lnTo>
                      <a:lnTo>
                        <a:pt x="20896" y="3624"/>
                      </a:lnTo>
                      <a:lnTo>
                        <a:pt x="20875" y="3636"/>
                      </a:lnTo>
                      <a:lnTo>
                        <a:pt x="20846" y="3624"/>
                      </a:lnTo>
                      <a:lnTo>
                        <a:pt x="20830" y="3614"/>
                      </a:lnTo>
                      <a:lnTo>
                        <a:pt x="20820" y="3614"/>
                      </a:lnTo>
                      <a:lnTo>
                        <a:pt x="20787" y="3598"/>
                      </a:lnTo>
                      <a:lnTo>
                        <a:pt x="20587" y="3619"/>
                      </a:lnTo>
                      <a:lnTo>
                        <a:pt x="20535" y="3669"/>
                      </a:lnTo>
                      <a:lnTo>
                        <a:pt x="20539" y="3692"/>
                      </a:lnTo>
                      <a:lnTo>
                        <a:pt x="20561" y="3680"/>
                      </a:lnTo>
                      <a:lnTo>
                        <a:pt x="20577" y="3692"/>
                      </a:lnTo>
                      <a:lnTo>
                        <a:pt x="20577" y="3714"/>
                      </a:lnTo>
                      <a:lnTo>
                        <a:pt x="20587" y="3730"/>
                      </a:lnTo>
                      <a:lnTo>
                        <a:pt x="20577" y="3751"/>
                      </a:lnTo>
                      <a:lnTo>
                        <a:pt x="20539" y="3780"/>
                      </a:lnTo>
                      <a:lnTo>
                        <a:pt x="20518" y="3836"/>
                      </a:lnTo>
                      <a:lnTo>
                        <a:pt x="20502" y="3846"/>
                      </a:lnTo>
                      <a:lnTo>
                        <a:pt x="20497" y="3862"/>
                      </a:lnTo>
                      <a:lnTo>
                        <a:pt x="20468" y="3895"/>
                      </a:lnTo>
                      <a:lnTo>
                        <a:pt x="20485" y="3903"/>
                      </a:lnTo>
                      <a:lnTo>
                        <a:pt x="20485" y="3931"/>
                      </a:lnTo>
                      <a:lnTo>
                        <a:pt x="20468" y="3936"/>
                      </a:lnTo>
                      <a:lnTo>
                        <a:pt x="20431" y="3947"/>
                      </a:lnTo>
                      <a:lnTo>
                        <a:pt x="20388" y="3985"/>
                      </a:lnTo>
                      <a:lnTo>
                        <a:pt x="20301" y="3952"/>
                      </a:lnTo>
                      <a:lnTo>
                        <a:pt x="20291" y="3947"/>
                      </a:lnTo>
                      <a:lnTo>
                        <a:pt x="20270" y="3936"/>
                      </a:lnTo>
                      <a:lnTo>
                        <a:pt x="20232" y="3947"/>
                      </a:lnTo>
                      <a:lnTo>
                        <a:pt x="20209" y="3947"/>
                      </a:lnTo>
                      <a:lnTo>
                        <a:pt x="20171" y="3914"/>
                      </a:lnTo>
                      <a:lnTo>
                        <a:pt x="20128" y="3903"/>
                      </a:lnTo>
                      <a:lnTo>
                        <a:pt x="20053" y="3952"/>
                      </a:lnTo>
                      <a:lnTo>
                        <a:pt x="20048" y="3973"/>
                      </a:lnTo>
                      <a:lnTo>
                        <a:pt x="19923" y="4002"/>
                      </a:lnTo>
                      <a:lnTo>
                        <a:pt x="19885" y="4014"/>
                      </a:lnTo>
                      <a:lnTo>
                        <a:pt x="19800" y="4006"/>
                      </a:lnTo>
                      <a:lnTo>
                        <a:pt x="19779" y="3990"/>
                      </a:lnTo>
                      <a:lnTo>
                        <a:pt x="19729" y="4002"/>
                      </a:lnTo>
                      <a:lnTo>
                        <a:pt x="19687" y="3969"/>
                      </a:lnTo>
                      <a:lnTo>
                        <a:pt x="19691" y="3947"/>
                      </a:lnTo>
                      <a:lnTo>
                        <a:pt x="19628" y="3936"/>
                      </a:lnTo>
                      <a:lnTo>
                        <a:pt x="19620" y="3919"/>
                      </a:lnTo>
                      <a:lnTo>
                        <a:pt x="19599" y="3903"/>
                      </a:lnTo>
                      <a:lnTo>
                        <a:pt x="19566" y="3903"/>
                      </a:lnTo>
                      <a:lnTo>
                        <a:pt x="19552" y="3895"/>
                      </a:lnTo>
                      <a:lnTo>
                        <a:pt x="19507" y="3891"/>
                      </a:lnTo>
                      <a:lnTo>
                        <a:pt x="19439" y="3903"/>
                      </a:lnTo>
                      <a:lnTo>
                        <a:pt x="19410" y="3919"/>
                      </a:lnTo>
                      <a:lnTo>
                        <a:pt x="19401" y="3919"/>
                      </a:lnTo>
                      <a:lnTo>
                        <a:pt x="19389" y="3919"/>
                      </a:lnTo>
                      <a:lnTo>
                        <a:pt x="19356" y="3919"/>
                      </a:lnTo>
                      <a:lnTo>
                        <a:pt x="19351" y="3903"/>
                      </a:lnTo>
                      <a:lnTo>
                        <a:pt x="19335" y="3903"/>
                      </a:lnTo>
                      <a:lnTo>
                        <a:pt x="19292" y="3879"/>
                      </a:lnTo>
                      <a:lnTo>
                        <a:pt x="19297" y="3862"/>
                      </a:lnTo>
                      <a:lnTo>
                        <a:pt x="19280" y="3858"/>
                      </a:lnTo>
                      <a:lnTo>
                        <a:pt x="19292" y="3841"/>
                      </a:lnTo>
                      <a:lnTo>
                        <a:pt x="19280" y="3825"/>
                      </a:lnTo>
                      <a:lnTo>
                        <a:pt x="19280" y="3808"/>
                      </a:lnTo>
                      <a:lnTo>
                        <a:pt x="19243" y="3791"/>
                      </a:lnTo>
                      <a:lnTo>
                        <a:pt x="19226" y="3803"/>
                      </a:lnTo>
                      <a:lnTo>
                        <a:pt x="19167" y="3768"/>
                      </a:lnTo>
                      <a:lnTo>
                        <a:pt x="19129" y="3768"/>
                      </a:lnTo>
                      <a:lnTo>
                        <a:pt x="19049" y="3730"/>
                      </a:lnTo>
                      <a:lnTo>
                        <a:pt x="19032" y="3763"/>
                      </a:lnTo>
                      <a:lnTo>
                        <a:pt x="19011" y="3768"/>
                      </a:lnTo>
                      <a:lnTo>
                        <a:pt x="19006" y="3791"/>
                      </a:lnTo>
                      <a:lnTo>
                        <a:pt x="18990" y="3791"/>
                      </a:lnTo>
                      <a:lnTo>
                        <a:pt x="18973" y="3841"/>
                      </a:lnTo>
                      <a:lnTo>
                        <a:pt x="18990" y="3858"/>
                      </a:lnTo>
                      <a:lnTo>
                        <a:pt x="18990" y="3862"/>
                      </a:lnTo>
                      <a:lnTo>
                        <a:pt x="18990" y="3874"/>
                      </a:lnTo>
                      <a:lnTo>
                        <a:pt x="19011" y="3891"/>
                      </a:lnTo>
                      <a:lnTo>
                        <a:pt x="19011" y="3903"/>
                      </a:lnTo>
                      <a:lnTo>
                        <a:pt x="18994" y="3931"/>
                      </a:lnTo>
                      <a:lnTo>
                        <a:pt x="18969" y="3936"/>
                      </a:lnTo>
                      <a:lnTo>
                        <a:pt x="18940" y="3957"/>
                      </a:lnTo>
                      <a:lnTo>
                        <a:pt x="18919" y="3947"/>
                      </a:lnTo>
                      <a:lnTo>
                        <a:pt x="18886" y="3952"/>
                      </a:lnTo>
                      <a:lnTo>
                        <a:pt x="18848" y="3936"/>
                      </a:lnTo>
                      <a:lnTo>
                        <a:pt x="18843" y="3947"/>
                      </a:lnTo>
                      <a:lnTo>
                        <a:pt x="18834" y="3936"/>
                      </a:lnTo>
                      <a:lnTo>
                        <a:pt x="18810" y="3947"/>
                      </a:lnTo>
                      <a:lnTo>
                        <a:pt x="18780" y="3936"/>
                      </a:lnTo>
                      <a:lnTo>
                        <a:pt x="18772" y="3931"/>
                      </a:lnTo>
                      <a:lnTo>
                        <a:pt x="18751" y="3936"/>
                      </a:lnTo>
                      <a:lnTo>
                        <a:pt x="18735" y="3914"/>
                      </a:lnTo>
                      <a:lnTo>
                        <a:pt x="18725" y="3879"/>
                      </a:lnTo>
                      <a:lnTo>
                        <a:pt x="18645" y="3879"/>
                      </a:lnTo>
                      <a:lnTo>
                        <a:pt x="18633" y="3874"/>
                      </a:lnTo>
                      <a:lnTo>
                        <a:pt x="18633" y="3858"/>
                      </a:lnTo>
                      <a:lnTo>
                        <a:pt x="18628" y="3858"/>
                      </a:lnTo>
                      <a:lnTo>
                        <a:pt x="18612" y="3874"/>
                      </a:lnTo>
                      <a:lnTo>
                        <a:pt x="18591" y="3858"/>
                      </a:lnTo>
                      <a:lnTo>
                        <a:pt x="18579" y="3862"/>
                      </a:lnTo>
                      <a:lnTo>
                        <a:pt x="18546" y="3874"/>
                      </a:lnTo>
                      <a:lnTo>
                        <a:pt x="18524" y="3891"/>
                      </a:lnTo>
                      <a:lnTo>
                        <a:pt x="18494" y="3895"/>
                      </a:lnTo>
                      <a:lnTo>
                        <a:pt x="18482" y="3914"/>
                      </a:lnTo>
                      <a:lnTo>
                        <a:pt x="18432" y="3931"/>
                      </a:lnTo>
                      <a:lnTo>
                        <a:pt x="18428" y="3936"/>
                      </a:lnTo>
                      <a:lnTo>
                        <a:pt x="18402" y="3947"/>
                      </a:lnTo>
                      <a:lnTo>
                        <a:pt x="18411" y="3957"/>
                      </a:lnTo>
                      <a:lnTo>
                        <a:pt x="18380" y="3973"/>
                      </a:lnTo>
                      <a:lnTo>
                        <a:pt x="18373" y="3969"/>
                      </a:lnTo>
                      <a:lnTo>
                        <a:pt x="18373" y="3985"/>
                      </a:lnTo>
                      <a:lnTo>
                        <a:pt x="18357" y="3985"/>
                      </a:lnTo>
                      <a:lnTo>
                        <a:pt x="18347" y="3973"/>
                      </a:lnTo>
                      <a:lnTo>
                        <a:pt x="18347" y="3990"/>
                      </a:lnTo>
                      <a:lnTo>
                        <a:pt x="18305" y="3985"/>
                      </a:lnTo>
                      <a:lnTo>
                        <a:pt x="18293" y="3990"/>
                      </a:lnTo>
                      <a:lnTo>
                        <a:pt x="18293" y="4006"/>
                      </a:lnTo>
                      <a:lnTo>
                        <a:pt x="18276" y="4014"/>
                      </a:lnTo>
                      <a:lnTo>
                        <a:pt x="18239" y="4023"/>
                      </a:lnTo>
                      <a:lnTo>
                        <a:pt x="18239" y="4006"/>
                      </a:lnTo>
                      <a:lnTo>
                        <a:pt x="18213" y="4002"/>
                      </a:lnTo>
                      <a:lnTo>
                        <a:pt x="18213" y="3985"/>
                      </a:lnTo>
                      <a:lnTo>
                        <a:pt x="18184" y="3973"/>
                      </a:lnTo>
                      <a:lnTo>
                        <a:pt x="18201" y="3957"/>
                      </a:lnTo>
                      <a:lnTo>
                        <a:pt x="18201" y="3952"/>
                      </a:lnTo>
                      <a:lnTo>
                        <a:pt x="18184" y="3952"/>
                      </a:lnTo>
                      <a:lnTo>
                        <a:pt x="18163" y="3985"/>
                      </a:lnTo>
                      <a:lnTo>
                        <a:pt x="18125" y="3973"/>
                      </a:lnTo>
                      <a:lnTo>
                        <a:pt x="18092" y="3973"/>
                      </a:lnTo>
                      <a:lnTo>
                        <a:pt x="18087" y="3947"/>
                      </a:lnTo>
                      <a:lnTo>
                        <a:pt x="18078" y="3947"/>
                      </a:lnTo>
                      <a:lnTo>
                        <a:pt x="18078" y="3936"/>
                      </a:lnTo>
                      <a:lnTo>
                        <a:pt x="18078" y="3931"/>
                      </a:lnTo>
                      <a:lnTo>
                        <a:pt x="18033" y="3914"/>
                      </a:lnTo>
                      <a:lnTo>
                        <a:pt x="18002" y="3858"/>
                      </a:lnTo>
                      <a:lnTo>
                        <a:pt x="17969" y="3841"/>
                      </a:lnTo>
                      <a:lnTo>
                        <a:pt x="17915" y="3846"/>
                      </a:lnTo>
                      <a:lnTo>
                        <a:pt x="17915" y="3858"/>
                      </a:lnTo>
                      <a:lnTo>
                        <a:pt x="17898" y="3862"/>
                      </a:lnTo>
                      <a:lnTo>
                        <a:pt x="17835" y="3862"/>
                      </a:lnTo>
                      <a:lnTo>
                        <a:pt x="17823" y="3841"/>
                      </a:lnTo>
                      <a:lnTo>
                        <a:pt x="17802" y="3846"/>
                      </a:lnTo>
                      <a:lnTo>
                        <a:pt x="17806" y="3825"/>
                      </a:lnTo>
                      <a:lnTo>
                        <a:pt x="17780" y="3808"/>
                      </a:lnTo>
                      <a:lnTo>
                        <a:pt x="17769" y="3820"/>
                      </a:lnTo>
                      <a:lnTo>
                        <a:pt x="17752" y="3825"/>
                      </a:lnTo>
                      <a:lnTo>
                        <a:pt x="17764" y="3841"/>
                      </a:lnTo>
                      <a:lnTo>
                        <a:pt x="17731" y="3858"/>
                      </a:lnTo>
                      <a:lnTo>
                        <a:pt x="17731" y="3862"/>
                      </a:lnTo>
                      <a:lnTo>
                        <a:pt x="17575" y="3619"/>
                      </a:lnTo>
                      <a:lnTo>
                        <a:pt x="17483" y="3548"/>
                      </a:lnTo>
                      <a:lnTo>
                        <a:pt x="17478" y="3532"/>
                      </a:lnTo>
                      <a:lnTo>
                        <a:pt x="17495" y="3532"/>
                      </a:lnTo>
                      <a:lnTo>
                        <a:pt x="17511" y="3525"/>
                      </a:lnTo>
                      <a:lnTo>
                        <a:pt x="17499" y="3508"/>
                      </a:lnTo>
                      <a:lnTo>
                        <a:pt x="17478" y="3515"/>
                      </a:lnTo>
                      <a:lnTo>
                        <a:pt x="17461" y="3515"/>
                      </a:lnTo>
                      <a:lnTo>
                        <a:pt x="17461" y="3525"/>
                      </a:lnTo>
                      <a:lnTo>
                        <a:pt x="17407" y="3541"/>
                      </a:lnTo>
                      <a:lnTo>
                        <a:pt x="17402" y="3541"/>
                      </a:lnTo>
                      <a:lnTo>
                        <a:pt x="17407" y="3548"/>
                      </a:lnTo>
                      <a:lnTo>
                        <a:pt x="17374" y="3569"/>
                      </a:lnTo>
                      <a:lnTo>
                        <a:pt x="17360" y="3565"/>
                      </a:lnTo>
                      <a:lnTo>
                        <a:pt x="17353" y="3581"/>
                      </a:lnTo>
                      <a:lnTo>
                        <a:pt x="17336" y="3581"/>
                      </a:lnTo>
                      <a:lnTo>
                        <a:pt x="17336" y="3603"/>
                      </a:lnTo>
                      <a:lnTo>
                        <a:pt x="17322" y="3586"/>
                      </a:lnTo>
                      <a:lnTo>
                        <a:pt x="17298" y="3586"/>
                      </a:lnTo>
                      <a:lnTo>
                        <a:pt x="17284" y="3586"/>
                      </a:lnTo>
                      <a:lnTo>
                        <a:pt x="17268" y="3603"/>
                      </a:lnTo>
                      <a:lnTo>
                        <a:pt x="17251" y="3586"/>
                      </a:lnTo>
                      <a:lnTo>
                        <a:pt x="17268" y="3565"/>
                      </a:lnTo>
                      <a:lnTo>
                        <a:pt x="17284" y="3565"/>
                      </a:lnTo>
                      <a:lnTo>
                        <a:pt x="17294" y="3541"/>
                      </a:lnTo>
                      <a:lnTo>
                        <a:pt x="17251" y="3558"/>
                      </a:lnTo>
                      <a:lnTo>
                        <a:pt x="17239" y="3548"/>
                      </a:lnTo>
                      <a:lnTo>
                        <a:pt x="17230" y="3541"/>
                      </a:lnTo>
                      <a:lnTo>
                        <a:pt x="17209" y="3532"/>
                      </a:lnTo>
                      <a:lnTo>
                        <a:pt x="17197" y="3548"/>
                      </a:lnTo>
                      <a:lnTo>
                        <a:pt x="17213" y="3541"/>
                      </a:lnTo>
                      <a:lnTo>
                        <a:pt x="17213" y="3558"/>
                      </a:lnTo>
                      <a:lnTo>
                        <a:pt x="17197" y="3558"/>
                      </a:lnTo>
                      <a:lnTo>
                        <a:pt x="17192" y="3558"/>
                      </a:lnTo>
                      <a:lnTo>
                        <a:pt x="17197" y="3532"/>
                      </a:lnTo>
                      <a:lnTo>
                        <a:pt x="17185" y="3532"/>
                      </a:lnTo>
                      <a:lnTo>
                        <a:pt x="17192" y="3525"/>
                      </a:lnTo>
                      <a:lnTo>
                        <a:pt x="17176" y="3515"/>
                      </a:lnTo>
                      <a:lnTo>
                        <a:pt x="17171" y="3508"/>
                      </a:lnTo>
                      <a:lnTo>
                        <a:pt x="17176" y="3541"/>
                      </a:lnTo>
                      <a:lnTo>
                        <a:pt x="17143" y="3525"/>
                      </a:lnTo>
                      <a:lnTo>
                        <a:pt x="17138" y="3541"/>
                      </a:lnTo>
                      <a:lnTo>
                        <a:pt x="17121" y="3532"/>
                      </a:lnTo>
                      <a:lnTo>
                        <a:pt x="17105" y="3541"/>
                      </a:lnTo>
                      <a:lnTo>
                        <a:pt x="17088" y="3515"/>
                      </a:lnTo>
                      <a:lnTo>
                        <a:pt x="17105" y="3515"/>
                      </a:lnTo>
                      <a:lnTo>
                        <a:pt x="17105" y="3491"/>
                      </a:lnTo>
                      <a:lnTo>
                        <a:pt x="17117" y="3487"/>
                      </a:lnTo>
                      <a:lnTo>
                        <a:pt x="17100" y="3470"/>
                      </a:lnTo>
                      <a:lnTo>
                        <a:pt x="17088" y="3447"/>
                      </a:lnTo>
                      <a:lnTo>
                        <a:pt x="17083" y="3421"/>
                      </a:lnTo>
                      <a:lnTo>
                        <a:pt x="17062" y="3421"/>
                      </a:lnTo>
                      <a:lnTo>
                        <a:pt x="17046" y="3437"/>
                      </a:lnTo>
                      <a:lnTo>
                        <a:pt x="16996" y="3414"/>
                      </a:lnTo>
                      <a:lnTo>
                        <a:pt x="16975" y="3414"/>
                      </a:lnTo>
                      <a:lnTo>
                        <a:pt x="16970" y="3421"/>
                      </a:lnTo>
                      <a:lnTo>
                        <a:pt x="16954" y="3404"/>
                      </a:lnTo>
                      <a:lnTo>
                        <a:pt x="16954" y="3421"/>
                      </a:lnTo>
                      <a:lnTo>
                        <a:pt x="16937" y="3414"/>
                      </a:lnTo>
                      <a:lnTo>
                        <a:pt x="16928" y="3430"/>
                      </a:lnTo>
                      <a:lnTo>
                        <a:pt x="16899" y="3430"/>
                      </a:lnTo>
                      <a:lnTo>
                        <a:pt x="16906" y="3447"/>
                      </a:lnTo>
                      <a:lnTo>
                        <a:pt x="16899" y="3454"/>
                      </a:lnTo>
                      <a:lnTo>
                        <a:pt x="16883" y="3454"/>
                      </a:lnTo>
                      <a:lnTo>
                        <a:pt x="16852" y="3470"/>
                      </a:lnTo>
                      <a:lnTo>
                        <a:pt x="16743" y="3491"/>
                      </a:lnTo>
                      <a:lnTo>
                        <a:pt x="16743" y="3475"/>
                      </a:lnTo>
                      <a:lnTo>
                        <a:pt x="16727" y="3491"/>
                      </a:lnTo>
                      <a:lnTo>
                        <a:pt x="16706" y="3487"/>
                      </a:lnTo>
                      <a:lnTo>
                        <a:pt x="16689" y="3503"/>
                      </a:lnTo>
                      <a:lnTo>
                        <a:pt x="16689" y="3515"/>
                      </a:lnTo>
                      <a:lnTo>
                        <a:pt x="16668" y="3508"/>
                      </a:lnTo>
                      <a:lnTo>
                        <a:pt x="16604" y="3515"/>
                      </a:lnTo>
                      <a:lnTo>
                        <a:pt x="16604" y="3525"/>
                      </a:lnTo>
                      <a:lnTo>
                        <a:pt x="16597" y="3532"/>
                      </a:lnTo>
                      <a:lnTo>
                        <a:pt x="16580" y="3525"/>
                      </a:lnTo>
                      <a:lnTo>
                        <a:pt x="16543" y="3532"/>
                      </a:lnTo>
                      <a:lnTo>
                        <a:pt x="16543" y="3541"/>
                      </a:lnTo>
                      <a:lnTo>
                        <a:pt x="16505" y="3548"/>
                      </a:lnTo>
                      <a:lnTo>
                        <a:pt x="16505" y="3565"/>
                      </a:lnTo>
                      <a:lnTo>
                        <a:pt x="16491" y="3548"/>
                      </a:lnTo>
                      <a:lnTo>
                        <a:pt x="16467" y="3548"/>
                      </a:lnTo>
                      <a:lnTo>
                        <a:pt x="16467" y="3558"/>
                      </a:lnTo>
                      <a:lnTo>
                        <a:pt x="16420" y="3541"/>
                      </a:lnTo>
                      <a:lnTo>
                        <a:pt x="16398" y="3558"/>
                      </a:lnTo>
                      <a:lnTo>
                        <a:pt x="16398" y="3565"/>
                      </a:lnTo>
                      <a:lnTo>
                        <a:pt x="16415" y="3569"/>
                      </a:lnTo>
                      <a:lnTo>
                        <a:pt x="16398" y="3586"/>
                      </a:lnTo>
                      <a:lnTo>
                        <a:pt x="16387" y="3586"/>
                      </a:lnTo>
                      <a:lnTo>
                        <a:pt x="16424" y="3586"/>
                      </a:lnTo>
                      <a:lnTo>
                        <a:pt x="16436" y="3598"/>
                      </a:lnTo>
                      <a:lnTo>
                        <a:pt x="16420" y="3603"/>
                      </a:lnTo>
                      <a:lnTo>
                        <a:pt x="16415" y="3598"/>
                      </a:lnTo>
                      <a:lnTo>
                        <a:pt x="16403" y="3619"/>
                      </a:lnTo>
                      <a:lnTo>
                        <a:pt x="16474" y="3636"/>
                      </a:lnTo>
                      <a:lnTo>
                        <a:pt x="16474" y="3652"/>
                      </a:lnTo>
                      <a:lnTo>
                        <a:pt x="16458" y="3652"/>
                      </a:lnTo>
                      <a:lnTo>
                        <a:pt x="16424" y="3643"/>
                      </a:lnTo>
                      <a:lnTo>
                        <a:pt x="16398" y="3652"/>
                      </a:lnTo>
                      <a:lnTo>
                        <a:pt x="16370" y="3680"/>
                      </a:lnTo>
                      <a:lnTo>
                        <a:pt x="16382" y="3680"/>
                      </a:lnTo>
                      <a:lnTo>
                        <a:pt x="16382" y="3692"/>
                      </a:lnTo>
                      <a:lnTo>
                        <a:pt x="16387" y="3697"/>
                      </a:lnTo>
                      <a:lnTo>
                        <a:pt x="16398" y="3714"/>
                      </a:lnTo>
                      <a:lnTo>
                        <a:pt x="16370" y="3730"/>
                      </a:lnTo>
                      <a:lnTo>
                        <a:pt x="16361" y="3730"/>
                      </a:lnTo>
                      <a:lnTo>
                        <a:pt x="16316" y="3747"/>
                      </a:lnTo>
                      <a:lnTo>
                        <a:pt x="16328" y="3751"/>
                      </a:lnTo>
                      <a:lnTo>
                        <a:pt x="16361" y="3763"/>
                      </a:lnTo>
                      <a:lnTo>
                        <a:pt x="16349" y="3780"/>
                      </a:lnTo>
                      <a:lnTo>
                        <a:pt x="16387" y="3787"/>
                      </a:lnTo>
                      <a:lnTo>
                        <a:pt x="16387" y="3791"/>
                      </a:lnTo>
                      <a:lnTo>
                        <a:pt x="16424" y="3803"/>
                      </a:lnTo>
                      <a:lnTo>
                        <a:pt x="16441" y="3820"/>
                      </a:lnTo>
                      <a:lnTo>
                        <a:pt x="16436" y="3820"/>
                      </a:lnTo>
                      <a:lnTo>
                        <a:pt x="16420" y="3862"/>
                      </a:lnTo>
                      <a:lnTo>
                        <a:pt x="16370" y="3874"/>
                      </a:lnTo>
                      <a:lnTo>
                        <a:pt x="16344" y="3874"/>
                      </a:lnTo>
                      <a:lnTo>
                        <a:pt x="16328" y="3858"/>
                      </a:lnTo>
                      <a:lnTo>
                        <a:pt x="16311" y="3879"/>
                      </a:lnTo>
                      <a:lnTo>
                        <a:pt x="16290" y="3891"/>
                      </a:lnTo>
                      <a:lnTo>
                        <a:pt x="16295" y="3879"/>
                      </a:lnTo>
                      <a:lnTo>
                        <a:pt x="16290" y="3874"/>
                      </a:lnTo>
                      <a:lnTo>
                        <a:pt x="16252" y="3874"/>
                      </a:lnTo>
                      <a:lnTo>
                        <a:pt x="16226" y="3858"/>
                      </a:lnTo>
                      <a:lnTo>
                        <a:pt x="16219" y="3846"/>
                      </a:lnTo>
                      <a:lnTo>
                        <a:pt x="16226" y="3836"/>
                      </a:lnTo>
                      <a:lnTo>
                        <a:pt x="16202" y="3825"/>
                      </a:lnTo>
                      <a:lnTo>
                        <a:pt x="16198" y="3836"/>
                      </a:lnTo>
                      <a:lnTo>
                        <a:pt x="16165" y="3836"/>
                      </a:lnTo>
                      <a:lnTo>
                        <a:pt x="16165" y="3846"/>
                      </a:lnTo>
                      <a:lnTo>
                        <a:pt x="16150" y="3858"/>
                      </a:lnTo>
                      <a:lnTo>
                        <a:pt x="16117" y="3836"/>
                      </a:lnTo>
                      <a:lnTo>
                        <a:pt x="16096" y="3836"/>
                      </a:lnTo>
                      <a:lnTo>
                        <a:pt x="16089" y="3836"/>
                      </a:lnTo>
                      <a:lnTo>
                        <a:pt x="16096" y="3841"/>
                      </a:lnTo>
                      <a:lnTo>
                        <a:pt x="16080" y="3836"/>
                      </a:lnTo>
                      <a:lnTo>
                        <a:pt x="16063" y="3846"/>
                      </a:lnTo>
                      <a:lnTo>
                        <a:pt x="16058" y="3846"/>
                      </a:lnTo>
                      <a:lnTo>
                        <a:pt x="16047" y="3862"/>
                      </a:lnTo>
                      <a:lnTo>
                        <a:pt x="16021" y="3891"/>
                      </a:lnTo>
                      <a:lnTo>
                        <a:pt x="15950" y="3836"/>
                      </a:lnTo>
                      <a:lnTo>
                        <a:pt x="15938" y="3841"/>
                      </a:lnTo>
                      <a:lnTo>
                        <a:pt x="15938" y="3846"/>
                      </a:lnTo>
                      <a:lnTo>
                        <a:pt x="15950" y="3846"/>
                      </a:lnTo>
                      <a:lnTo>
                        <a:pt x="15950" y="3879"/>
                      </a:lnTo>
                      <a:lnTo>
                        <a:pt x="15938" y="3891"/>
                      </a:lnTo>
                      <a:lnTo>
                        <a:pt x="15933" y="3874"/>
                      </a:lnTo>
                      <a:lnTo>
                        <a:pt x="15938" y="3858"/>
                      </a:lnTo>
                      <a:lnTo>
                        <a:pt x="15928" y="3846"/>
                      </a:lnTo>
                      <a:lnTo>
                        <a:pt x="15900" y="3825"/>
                      </a:lnTo>
                      <a:lnTo>
                        <a:pt x="15879" y="3820"/>
                      </a:lnTo>
                      <a:lnTo>
                        <a:pt x="15879" y="3803"/>
                      </a:lnTo>
                      <a:lnTo>
                        <a:pt x="15862" y="3791"/>
                      </a:lnTo>
                      <a:lnTo>
                        <a:pt x="15803" y="3791"/>
                      </a:lnTo>
                      <a:lnTo>
                        <a:pt x="15787" y="3768"/>
                      </a:lnTo>
                      <a:lnTo>
                        <a:pt x="15772" y="3780"/>
                      </a:lnTo>
                      <a:lnTo>
                        <a:pt x="15756" y="3780"/>
                      </a:lnTo>
                      <a:lnTo>
                        <a:pt x="15749" y="3787"/>
                      </a:lnTo>
                      <a:lnTo>
                        <a:pt x="15749" y="3791"/>
                      </a:lnTo>
                      <a:lnTo>
                        <a:pt x="15739" y="3791"/>
                      </a:lnTo>
                      <a:lnTo>
                        <a:pt x="15711" y="3791"/>
                      </a:lnTo>
                      <a:lnTo>
                        <a:pt x="15711" y="3787"/>
                      </a:lnTo>
                      <a:lnTo>
                        <a:pt x="15718" y="3787"/>
                      </a:lnTo>
                      <a:lnTo>
                        <a:pt x="15718" y="3780"/>
                      </a:lnTo>
                      <a:lnTo>
                        <a:pt x="15680" y="3768"/>
                      </a:lnTo>
                      <a:lnTo>
                        <a:pt x="15680" y="3787"/>
                      </a:lnTo>
                      <a:lnTo>
                        <a:pt x="15664" y="3780"/>
                      </a:lnTo>
                      <a:lnTo>
                        <a:pt x="15664" y="3791"/>
                      </a:lnTo>
                      <a:lnTo>
                        <a:pt x="15647" y="3803"/>
                      </a:lnTo>
                      <a:lnTo>
                        <a:pt x="15647" y="3808"/>
                      </a:lnTo>
                      <a:lnTo>
                        <a:pt x="15609" y="3836"/>
                      </a:lnTo>
                      <a:lnTo>
                        <a:pt x="15588" y="3825"/>
                      </a:lnTo>
                      <a:lnTo>
                        <a:pt x="15576" y="3841"/>
                      </a:lnTo>
                      <a:lnTo>
                        <a:pt x="15576" y="3858"/>
                      </a:lnTo>
                      <a:lnTo>
                        <a:pt x="15534" y="3879"/>
                      </a:lnTo>
                      <a:lnTo>
                        <a:pt x="15534" y="3914"/>
                      </a:lnTo>
                      <a:lnTo>
                        <a:pt x="15550" y="3931"/>
                      </a:lnTo>
                      <a:lnTo>
                        <a:pt x="15539" y="3947"/>
                      </a:lnTo>
                      <a:lnTo>
                        <a:pt x="15508" y="3952"/>
                      </a:lnTo>
                      <a:lnTo>
                        <a:pt x="15501" y="3947"/>
                      </a:lnTo>
                      <a:lnTo>
                        <a:pt x="15480" y="3914"/>
                      </a:lnTo>
                      <a:lnTo>
                        <a:pt x="15454" y="3891"/>
                      </a:lnTo>
                      <a:lnTo>
                        <a:pt x="15447" y="3895"/>
                      </a:lnTo>
                      <a:lnTo>
                        <a:pt x="15432" y="3903"/>
                      </a:lnTo>
                      <a:lnTo>
                        <a:pt x="15432" y="3931"/>
                      </a:lnTo>
                      <a:lnTo>
                        <a:pt x="15409" y="3952"/>
                      </a:lnTo>
                      <a:lnTo>
                        <a:pt x="15395" y="4002"/>
                      </a:lnTo>
                      <a:lnTo>
                        <a:pt x="15416" y="4014"/>
                      </a:lnTo>
                      <a:lnTo>
                        <a:pt x="15395" y="4030"/>
                      </a:lnTo>
                      <a:lnTo>
                        <a:pt x="15378" y="4080"/>
                      </a:lnTo>
                      <a:lnTo>
                        <a:pt x="15416" y="4096"/>
                      </a:lnTo>
                      <a:lnTo>
                        <a:pt x="15425" y="4134"/>
                      </a:lnTo>
                      <a:lnTo>
                        <a:pt x="15442" y="4151"/>
                      </a:lnTo>
                      <a:lnTo>
                        <a:pt x="15442" y="4134"/>
                      </a:lnTo>
                      <a:lnTo>
                        <a:pt x="15496" y="4151"/>
                      </a:lnTo>
                      <a:lnTo>
                        <a:pt x="15555" y="4228"/>
                      </a:lnTo>
                      <a:lnTo>
                        <a:pt x="15534" y="4236"/>
                      </a:lnTo>
                      <a:lnTo>
                        <a:pt x="15517" y="4236"/>
                      </a:lnTo>
                      <a:lnTo>
                        <a:pt x="15517" y="4252"/>
                      </a:lnTo>
                      <a:lnTo>
                        <a:pt x="15560" y="4269"/>
                      </a:lnTo>
                      <a:lnTo>
                        <a:pt x="15572" y="4278"/>
                      </a:lnTo>
                      <a:lnTo>
                        <a:pt x="15560" y="4278"/>
                      </a:lnTo>
                      <a:lnTo>
                        <a:pt x="15550" y="4290"/>
                      </a:lnTo>
                      <a:lnTo>
                        <a:pt x="15522" y="4290"/>
                      </a:lnTo>
                      <a:lnTo>
                        <a:pt x="15534" y="4302"/>
                      </a:lnTo>
                      <a:lnTo>
                        <a:pt x="15534" y="4318"/>
                      </a:lnTo>
                      <a:lnTo>
                        <a:pt x="15522" y="4306"/>
                      </a:lnTo>
                      <a:lnTo>
                        <a:pt x="15496" y="4323"/>
                      </a:lnTo>
                      <a:lnTo>
                        <a:pt x="15470" y="4335"/>
                      </a:lnTo>
                      <a:lnTo>
                        <a:pt x="15447" y="4323"/>
                      </a:lnTo>
                      <a:lnTo>
                        <a:pt x="15454" y="4340"/>
                      </a:lnTo>
                      <a:lnTo>
                        <a:pt x="15442" y="4323"/>
                      </a:lnTo>
                      <a:lnTo>
                        <a:pt x="15447" y="4340"/>
                      </a:lnTo>
                      <a:lnTo>
                        <a:pt x="15447" y="4356"/>
                      </a:lnTo>
                      <a:lnTo>
                        <a:pt x="15416" y="4413"/>
                      </a:lnTo>
                      <a:lnTo>
                        <a:pt x="15416" y="4401"/>
                      </a:lnTo>
                      <a:lnTo>
                        <a:pt x="15395" y="4417"/>
                      </a:lnTo>
                      <a:lnTo>
                        <a:pt x="15387" y="4434"/>
                      </a:lnTo>
                      <a:lnTo>
                        <a:pt x="15395" y="4446"/>
                      </a:lnTo>
                      <a:lnTo>
                        <a:pt x="15416" y="4451"/>
                      </a:lnTo>
                      <a:lnTo>
                        <a:pt x="15432" y="4484"/>
                      </a:lnTo>
                      <a:lnTo>
                        <a:pt x="15447" y="4500"/>
                      </a:lnTo>
                      <a:lnTo>
                        <a:pt x="15442" y="4512"/>
                      </a:lnTo>
                      <a:lnTo>
                        <a:pt x="15442" y="4524"/>
                      </a:lnTo>
                      <a:lnTo>
                        <a:pt x="15447" y="4491"/>
                      </a:lnTo>
                      <a:lnTo>
                        <a:pt x="15463" y="4491"/>
                      </a:lnTo>
                      <a:lnTo>
                        <a:pt x="15447" y="4528"/>
                      </a:lnTo>
                      <a:lnTo>
                        <a:pt x="15447" y="4540"/>
                      </a:lnTo>
                      <a:lnTo>
                        <a:pt x="15454" y="4545"/>
                      </a:lnTo>
                      <a:lnTo>
                        <a:pt x="15447" y="4557"/>
                      </a:lnTo>
                      <a:lnTo>
                        <a:pt x="15442" y="4566"/>
                      </a:lnTo>
                      <a:lnTo>
                        <a:pt x="15463" y="4578"/>
                      </a:lnTo>
                      <a:lnTo>
                        <a:pt x="15463" y="4602"/>
                      </a:lnTo>
                      <a:lnTo>
                        <a:pt x="15484" y="4623"/>
                      </a:lnTo>
                      <a:lnTo>
                        <a:pt x="15508" y="4668"/>
                      </a:lnTo>
                      <a:lnTo>
                        <a:pt x="15522" y="4673"/>
                      </a:lnTo>
                      <a:lnTo>
                        <a:pt x="15508" y="4689"/>
                      </a:lnTo>
                      <a:lnTo>
                        <a:pt x="15484" y="4706"/>
                      </a:lnTo>
                      <a:lnTo>
                        <a:pt x="15480" y="4722"/>
                      </a:lnTo>
                      <a:lnTo>
                        <a:pt x="15463" y="4729"/>
                      </a:lnTo>
                      <a:lnTo>
                        <a:pt x="15432" y="4710"/>
                      </a:lnTo>
                      <a:lnTo>
                        <a:pt x="15425" y="4694"/>
                      </a:lnTo>
                      <a:lnTo>
                        <a:pt x="15395" y="4668"/>
                      </a:lnTo>
                      <a:lnTo>
                        <a:pt x="15387" y="4673"/>
                      </a:lnTo>
                      <a:lnTo>
                        <a:pt x="15371" y="4668"/>
                      </a:lnTo>
                      <a:lnTo>
                        <a:pt x="15319" y="4639"/>
                      </a:lnTo>
                      <a:lnTo>
                        <a:pt x="15324" y="4611"/>
                      </a:lnTo>
                      <a:lnTo>
                        <a:pt x="15291" y="4611"/>
                      </a:lnTo>
                      <a:lnTo>
                        <a:pt x="15286" y="4595"/>
                      </a:lnTo>
                      <a:lnTo>
                        <a:pt x="15269" y="4583"/>
                      </a:lnTo>
                      <a:lnTo>
                        <a:pt x="15253" y="4602"/>
                      </a:lnTo>
                      <a:lnTo>
                        <a:pt x="15236" y="4583"/>
                      </a:lnTo>
                      <a:lnTo>
                        <a:pt x="15194" y="4602"/>
                      </a:lnTo>
                      <a:lnTo>
                        <a:pt x="15182" y="4602"/>
                      </a:lnTo>
                      <a:lnTo>
                        <a:pt x="15182" y="4595"/>
                      </a:lnTo>
                      <a:lnTo>
                        <a:pt x="15144" y="4578"/>
                      </a:lnTo>
                      <a:lnTo>
                        <a:pt x="15123" y="4557"/>
                      </a:lnTo>
                      <a:lnTo>
                        <a:pt x="15031" y="4545"/>
                      </a:lnTo>
                      <a:lnTo>
                        <a:pt x="14967" y="4524"/>
                      </a:lnTo>
                      <a:lnTo>
                        <a:pt x="14941" y="4512"/>
                      </a:lnTo>
                      <a:lnTo>
                        <a:pt x="14924" y="4524"/>
                      </a:lnTo>
                      <a:lnTo>
                        <a:pt x="14924" y="4540"/>
                      </a:lnTo>
                      <a:lnTo>
                        <a:pt x="14832" y="4458"/>
                      </a:lnTo>
                      <a:lnTo>
                        <a:pt x="14795" y="4446"/>
                      </a:lnTo>
                      <a:lnTo>
                        <a:pt x="14766" y="4417"/>
                      </a:lnTo>
                      <a:lnTo>
                        <a:pt x="14766" y="4429"/>
                      </a:lnTo>
                      <a:lnTo>
                        <a:pt x="14745" y="4417"/>
                      </a:lnTo>
                      <a:lnTo>
                        <a:pt x="14724" y="4396"/>
                      </a:lnTo>
                      <a:lnTo>
                        <a:pt x="14686" y="4380"/>
                      </a:lnTo>
                      <a:lnTo>
                        <a:pt x="14707" y="4363"/>
                      </a:lnTo>
                      <a:lnTo>
                        <a:pt x="14691" y="4356"/>
                      </a:lnTo>
                      <a:lnTo>
                        <a:pt x="14686" y="4363"/>
                      </a:lnTo>
                      <a:lnTo>
                        <a:pt x="14698" y="4356"/>
                      </a:lnTo>
                      <a:lnTo>
                        <a:pt x="14714" y="4363"/>
                      </a:lnTo>
                      <a:lnTo>
                        <a:pt x="14714" y="4373"/>
                      </a:lnTo>
                      <a:lnTo>
                        <a:pt x="14745" y="4356"/>
                      </a:lnTo>
                      <a:lnTo>
                        <a:pt x="14761" y="4363"/>
                      </a:lnTo>
                      <a:lnTo>
                        <a:pt x="14761" y="4340"/>
                      </a:lnTo>
                      <a:lnTo>
                        <a:pt x="14752" y="4340"/>
                      </a:lnTo>
                      <a:lnTo>
                        <a:pt x="14752" y="4356"/>
                      </a:lnTo>
                      <a:lnTo>
                        <a:pt x="14752" y="4340"/>
                      </a:lnTo>
                      <a:lnTo>
                        <a:pt x="14761" y="4340"/>
                      </a:lnTo>
                      <a:lnTo>
                        <a:pt x="14752" y="4335"/>
                      </a:lnTo>
                      <a:lnTo>
                        <a:pt x="14766" y="4323"/>
                      </a:lnTo>
                      <a:lnTo>
                        <a:pt x="14778" y="4302"/>
                      </a:lnTo>
                      <a:lnTo>
                        <a:pt x="14783" y="4302"/>
                      </a:lnTo>
                      <a:lnTo>
                        <a:pt x="14783" y="4306"/>
                      </a:lnTo>
                      <a:lnTo>
                        <a:pt x="14795" y="4290"/>
                      </a:lnTo>
                      <a:lnTo>
                        <a:pt x="14816" y="4302"/>
                      </a:lnTo>
                      <a:lnTo>
                        <a:pt x="14821" y="4290"/>
                      </a:lnTo>
                      <a:lnTo>
                        <a:pt x="14783" y="4269"/>
                      </a:lnTo>
                      <a:lnTo>
                        <a:pt x="14778" y="4269"/>
                      </a:lnTo>
                      <a:lnTo>
                        <a:pt x="14761" y="4245"/>
                      </a:lnTo>
                      <a:lnTo>
                        <a:pt x="14783" y="4245"/>
                      </a:lnTo>
                      <a:lnTo>
                        <a:pt x="14799" y="4236"/>
                      </a:lnTo>
                      <a:lnTo>
                        <a:pt x="14821" y="4245"/>
                      </a:lnTo>
                      <a:lnTo>
                        <a:pt x="14816" y="4236"/>
                      </a:lnTo>
                      <a:lnTo>
                        <a:pt x="14804" y="4236"/>
                      </a:lnTo>
                      <a:lnTo>
                        <a:pt x="14804" y="4228"/>
                      </a:lnTo>
                      <a:lnTo>
                        <a:pt x="14854" y="4212"/>
                      </a:lnTo>
                      <a:lnTo>
                        <a:pt x="14870" y="4212"/>
                      </a:lnTo>
                      <a:lnTo>
                        <a:pt x="14870" y="4207"/>
                      </a:lnTo>
                      <a:lnTo>
                        <a:pt x="14870" y="4191"/>
                      </a:lnTo>
                      <a:lnTo>
                        <a:pt x="14854" y="4191"/>
                      </a:lnTo>
                      <a:lnTo>
                        <a:pt x="14821" y="4207"/>
                      </a:lnTo>
                      <a:lnTo>
                        <a:pt x="14816" y="4195"/>
                      </a:lnTo>
                      <a:lnTo>
                        <a:pt x="14821" y="4191"/>
                      </a:lnTo>
                      <a:lnTo>
                        <a:pt x="14832" y="4191"/>
                      </a:lnTo>
                      <a:lnTo>
                        <a:pt x="14799" y="4207"/>
                      </a:lnTo>
                      <a:lnTo>
                        <a:pt x="14799" y="4158"/>
                      </a:lnTo>
                      <a:lnTo>
                        <a:pt x="14832" y="4151"/>
                      </a:lnTo>
                      <a:lnTo>
                        <a:pt x="14837" y="4134"/>
                      </a:lnTo>
                      <a:lnTo>
                        <a:pt x="14908" y="4134"/>
                      </a:lnTo>
                      <a:lnTo>
                        <a:pt x="14908" y="4117"/>
                      </a:lnTo>
                      <a:lnTo>
                        <a:pt x="14924" y="4096"/>
                      </a:lnTo>
                      <a:lnTo>
                        <a:pt x="14908" y="4068"/>
                      </a:lnTo>
                      <a:lnTo>
                        <a:pt x="14903" y="4063"/>
                      </a:lnTo>
                      <a:lnTo>
                        <a:pt x="14908" y="4047"/>
                      </a:lnTo>
                      <a:lnTo>
                        <a:pt x="14924" y="4047"/>
                      </a:lnTo>
                      <a:lnTo>
                        <a:pt x="14924" y="4040"/>
                      </a:lnTo>
                      <a:lnTo>
                        <a:pt x="14908" y="4040"/>
                      </a:lnTo>
                      <a:lnTo>
                        <a:pt x="14903" y="4030"/>
                      </a:lnTo>
                      <a:lnTo>
                        <a:pt x="14913" y="4023"/>
                      </a:lnTo>
                      <a:lnTo>
                        <a:pt x="14929" y="4006"/>
                      </a:lnTo>
                      <a:lnTo>
                        <a:pt x="14924" y="3985"/>
                      </a:lnTo>
                      <a:lnTo>
                        <a:pt x="14929" y="3973"/>
                      </a:lnTo>
                      <a:lnTo>
                        <a:pt x="14908" y="3973"/>
                      </a:lnTo>
                      <a:lnTo>
                        <a:pt x="14891" y="3957"/>
                      </a:lnTo>
                      <a:lnTo>
                        <a:pt x="14870" y="3957"/>
                      </a:lnTo>
                      <a:lnTo>
                        <a:pt x="14858" y="3947"/>
                      </a:lnTo>
                      <a:lnTo>
                        <a:pt x="14849" y="3952"/>
                      </a:lnTo>
                      <a:lnTo>
                        <a:pt x="14799" y="3931"/>
                      </a:lnTo>
                      <a:lnTo>
                        <a:pt x="14795" y="3931"/>
                      </a:lnTo>
                      <a:lnTo>
                        <a:pt x="14783" y="3947"/>
                      </a:lnTo>
                      <a:lnTo>
                        <a:pt x="14761" y="3931"/>
                      </a:lnTo>
                      <a:lnTo>
                        <a:pt x="14745" y="3895"/>
                      </a:lnTo>
                      <a:lnTo>
                        <a:pt x="14686" y="3914"/>
                      </a:lnTo>
                      <a:lnTo>
                        <a:pt x="14660" y="3903"/>
                      </a:lnTo>
                      <a:lnTo>
                        <a:pt x="14653" y="3895"/>
                      </a:lnTo>
                      <a:lnTo>
                        <a:pt x="14615" y="3895"/>
                      </a:lnTo>
                      <a:lnTo>
                        <a:pt x="14601" y="3874"/>
                      </a:lnTo>
                      <a:lnTo>
                        <a:pt x="14606" y="3874"/>
                      </a:lnTo>
                      <a:lnTo>
                        <a:pt x="14589" y="3841"/>
                      </a:lnTo>
                      <a:lnTo>
                        <a:pt x="14601" y="3836"/>
                      </a:lnTo>
                      <a:lnTo>
                        <a:pt x="14584" y="3836"/>
                      </a:lnTo>
                      <a:lnTo>
                        <a:pt x="14577" y="3820"/>
                      </a:lnTo>
                      <a:lnTo>
                        <a:pt x="14551" y="3825"/>
                      </a:lnTo>
                      <a:lnTo>
                        <a:pt x="14530" y="3820"/>
                      </a:lnTo>
                      <a:lnTo>
                        <a:pt x="14509" y="3780"/>
                      </a:lnTo>
                      <a:lnTo>
                        <a:pt x="14530" y="3768"/>
                      </a:lnTo>
                      <a:lnTo>
                        <a:pt x="14530" y="3763"/>
                      </a:lnTo>
                      <a:lnTo>
                        <a:pt x="14509" y="3747"/>
                      </a:lnTo>
                      <a:lnTo>
                        <a:pt x="14509" y="3730"/>
                      </a:lnTo>
                      <a:lnTo>
                        <a:pt x="14492" y="3709"/>
                      </a:lnTo>
                      <a:lnTo>
                        <a:pt x="14443" y="3709"/>
                      </a:lnTo>
                      <a:lnTo>
                        <a:pt x="14421" y="3725"/>
                      </a:lnTo>
                      <a:lnTo>
                        <a:pt x="14384" y="3714"/>
                      </a:lnTo>
                      <a:lnTo>
                        <a:pt x="14374" y="3735"/>
                      </a:lnTo>
                      <a:lnTo>
                        <a:pt x="14346" y="3735"/>
                      </a:lnTo>
                      <a:lnTo>
                        <a:pt x="14329" y="3714"/>
                      </a:lnTo>
                      <a:lnTo>
                        <a:pt x="14329" y="3692"/>
                      </a:lnTo>
                      <a:lnTo>
                        <a:pt x="14320" y="3676"/>
                      </a:lnTo>
                      <a:lnTo>
                        <a:pt x="14329" y="3669"/>
                      </a:lnTo>
                      <a:lnTo>
                        <a:pt x="14308" y="3643"/>
                      </a:lnTo>
                      <a:lnTo>
                        <a:pt x="14320" y="3624"/>
                      </a:lnTo>
                      <a:lnTo>
                        <a:pt x="14374" y="3636"/>
                      </a:lnTo>
                      <a:lnTo>
                        <a:pt x="14405" y="3614"/>
                      </a:lnTo>
                      <a:lnTo>
                        <a:pt x="14417" y="3603"/>
                      </a:lnTo>
                      <a:lnTo>
                        <a:pt x="14388" y="3598"/>
                      </a:lnTo>
                      <a:lnTo>
                        <a:pt x="14388" y="3586"/>
                      </a:lnTo>
                      <a:lnTo>
                        <a:pt x="14400" y="3581"/>
                      </a:lnTo>
                      <a:lnTo>
                        <a:pt x="14388" y="3581"/>
                      </a:lnTo>
                      <a:lnTo>
                        <a:pt x="14367" y="3569"/>
                      </a:lnTo>
                      <a:lnTo>
                        <a:pt x="14346" y="3569"/>
                      </a:lnTo>
                      <a:lnTo>
                        <a:pt x="14350" y="3541"/>
                      </a:lnTo>
                      <a:lnTo>
                        <a:pt x="14313" y="3525"/>
                      </a:lnTo>
                      <a:lnTo>
                        <a:pt x="14308" y="3508"/>
                      </a:lnTo>
                      <a:lnTo>
                        <a:pt x="14298" y="3503"/>
                      </a:lnTo>
                      <a:lnTo>
                        <a:pt x="14298" y="3487"/>
                      </a:lnTo>
                      <a:lnTo>
                        <a:pt x="14275" y="3470"/>
                      </a:lnTo>
                      <a:lnTo>
                        <a:pt x="14291" y="3447"/>
                      </a:lnTo>
                      <a:lnTo>
                        <a:pt x="14275" y="3421"/>
                      </a:lnTo>
                      <a:lnTo>
                        <a:pt x="14282" y="3414"/>
                      </a:lnTo>
                      <a:lnTo>
                        <a:pt x="14282" y="3392"/>
                      </a:lnTo>
                      <a:lnTo>
                        <a:pt x="14275" y="3392"/>
                      </a:lnTo>
                      <a:lnTo>
                        <a:pt x="14254" y="3364"/>
                      </a:lnTo>
                      <a:lnTo>
                        <a:pt x="14237" y="3364"/>
                      </a:lnTo>
                      <a:lnTo>
                        <a:pt x="14211" y="3364"/>
                      </a:lnTo>
                      <a:lnTo>
                        <a:pt x="14185" y="3380"/>
                      </a:lnTo>
                      <a:lnTo>
                        <a:pt x="14173" y="3376"/>
                      </a:lnTo>
                      <a:lnTo>
                        <a:pt x="14185" y="3359"/>
                      </a:lnTo>
                      <a:lnTo>
                        <a:pt x="14173" y="3359"/>
                      </a:lnTo>
                      <a:lnTo>
                        <a:pt x="14152" y="3347"/>
                      </a:lnTo>
                      <a:lnTo>
                        <a:pt x="14131" y="3359"/>
                      </a:lnTo>
                      <a:lnTo>
                        <a:pt x="14119" y="3343"/>
                      </a:lnTo>
                      <a:lnTo>
                        <a:pt x="14098" y="3343"/>
                      </a:lnTo>
                      <a:lnTo>
                        <a:pt x="14093" y="3336"/>
                      </a:lnTo>
                      <a:lnTo>
                        <a:pt x="14098" y="3319"/>
                      </a:lnTo>
                      <a:lnTo>
                        <a:pt x="14076" y="3265"/>
                      </a:lnTo>
                      <a:lnTo>
                        <a:pt x="14060" y="3253"/>
                      </a:lnTo>
                      <a:lnTo>
                        <a:pt x="14065" y="3215"/>
                      </a:lnTo>
                      <a:lnTo>
                        <a:pt x="14043" y="3199"/>
                      </a:lnTo>
                      <a:lnTo>
                        <a:pt x="14043" y="3192"/>
                      </a:lnTo>
                      <a:lnTo>
                        <a:pt x="14039" y="3192"/>
                      </a:lnTo>
                      <a:lnTo>
                        <a:pt x="14043" y="3158"/>
                      </a:lnTo>
                      <a:lnTo>
                        <a:pt x="14065" y="3158"/>
                      </a:lnTo>
                      <a:lnTo>
                        <a:pt x="14043" y="3121"/>
                      </a:lnTo>
                      <a:lnTo>
                        <a:pt x="14043" y="3104"/>
                      </a:lnTo>
                      <a:lnTo>
                        <a:pt x="14039" y="3059"/>
                      </a:lnTo>
                      <a:lnTo>
                        <a:pt x="14065" y="3031"/>
                      </a:lnTo>
                      <a:lnTo>
                        <a:pt x="14076" y="3010"/>
                      </a:lnTo>
                      <a:lnTo>
                        <a:pt x="14093" y="3010"/>
                      </a:lnTo>
                      <a:lnTo>
                        <a:pt x="14093" y="2998"/>
                      </a:lnTo>
                      <a:lnTo>
                        <a:pt x="14081" y="2988"/>
                      </a:lnTo>
                      <a:lnTo>
                        <a:pt x="14081" y="2977"/>
                      </a:lnTo>
                      <a:lnTo>
                        <a:pt x="14076" y="2960"/>
                      </a:lnTo>
                      <a:lnTo>
                        <a:pt x="14081" y="2953"/>
                      </a:lnTo>
                      <a:lnTo>
                        <a:pt x="14102" y="2972"/>
                      </a:lnTo>
                      <a:lnTo>
                        <a:pt x="14114" y="2943"/>
                      </a:lnTo>
                      <a:lnTo>
                        <a:pt x="14136" y="2953"/>
                      </a:lnTo>
                      <a:lnTo>
                        <a:pt x="14157" y="2932"/>
                      </a:lnTo>
                      <a:lnTo>
                        <a:pt x="14228" y="2943"/>
                      </a:lnTo>
                      <a:lnTo>
                        <a:pt x="14237" y="2936"/>
                      </a:lnTo>
                      <a:lnTo>
                        <a:pt x="14211" y="2932"/>
                      </a:lnTo>
                      <a:lnTo>
                        <a:pt x="14211" y="2915"/>
                      </a:lnTo>
                      <a:lnTo>
                        <a:pt x="14199" y="2915"/>
                      </a:lnTo>
                      <a:lnTo>
                        <a:pt x="14152" y="2915"/>
                      </a:lnTo>
                      <a:lnTo>
                        <a:pt x="14119" y="2887"/>
                      </a:lnTo>
                      <a:lnTo>
                        <a:pt x="14114" y="2877"/>
                      </a:lnTo>
                      <a:lnTo>
                        <a:pt x="14131" y="2882"/>
                      </a:lnTo>
                      <a:lnTo>
                        <a:pt x="14131" y="2866"/>
                      </a:lnTo>
                      <a:lnTo>
                        <a:pt x="14119" y="2866"/>
                      </a:lnTo>
                      <a:lnTo>
                        <a:pt x="14131" y="2866"/>
                      </a:lnTo>
                      <a:lnTo>
                        <a:pt x="14131" y="2849"/>
                      </a:lnTo>
                      <a:lnTo>
                        <a:pt x="14093" y="2877"/>
                      </a:lnTo>
                      <a:lnTo>
                        <a:pt x="14065" y="2877"/>
                      </a:lnTo>
                      <a:lnTo>
                        <a:pt x="14169" y="2792"/>
                      </a:lnTo>
                      <a:lnTo>
                        <a:pt x="14308" y="2655"/>
                      </a:lnTo>
                      <a:lnTo>
                        <a:pt x="14329" y="2610"/>
                      </a:lnTo>
                      <a:lnTo>
                        <a:pt x="14308" y="2573"/>
                      </a:lnTo>
                      <a:lnTo>
                        <a:pt x="14223" y="2516"/>
                      </a:lnTo>
                      <a:lnTo>
                        <a:pt x="14261" y="2478"/>
                      </a:lnTo>
                      <a:lnTo>
                        <a:pt x="14261" y="2462"/>
                      </a:lnTo>
                      <a:lnTo>
                        <a:pt x="14223" y="2438"/>
                      </a:lnTo>
                      <a:lnTo>
                        <a:pt x="14228" y="2433"/>
                      </a:lnTo>
                      <a:lnTo>
                        <a:pt x="14223" y="2421"/>
                      </a:lnTo>
                      <a:lnTo>
                        <a:pt x="14237" y="2417"/>
                      </a:lnTo>
                      <a:lnTo>
                        <a:pt x="14228" y="2400"/>
                      </a:lnTo>
                      <a:lnTo>
                        <a:pt x="14206" y="2388"/>
                      </a:lnTo>
                      <a:lnTo>
                        <a:pt x="14190" y="2384"/>
                      </a:lnTo>
                      <a:lnTo>
                        <a:pt x="14190" y="2360"/>
                      </a:lnTo>
                      <a:lnTo>
                        <a:pt x="14211" y="2360"/>
                      </a:lnTo>
                      <a:lnTo>
                        <a:pt x="14206" y="2343"/>
                      </a:lnTo>
                      <a:lnTo>
                        <a:pt x="14190" y="2343"/>
                      </a:lnTo>
                      <a:lnTo>
                        <a:pt x="14199" y="2327"/>
                      </a:lnTo>
                      <a:lnTo>
                        <a:pt x="14206" y="2294"/>
                      </a:lnTo>
                      <a:lnTo>
                        <a:pt x="14228" y="2289"/>
                      </a:lnTo>
                      <a:lnTo>
                        <a:pt x="14211" y="2240"/>
                      </a:lnTo>
                      <a:lnTo>
                        <a:pt x="14152" y="2145"/>
                      </a:lnTo>
                      <a:lnTo>
                        <a:pt x="14157" y="2129"/>
                      </a:lnTo>
                      <a:lnTo>
                        <a:pt x="14211" y="2067"/>
                      </a:lnTo>
                      <a:lnTo>
                        <a:pt x="14223" y="2051"/>
                      </a:lnTo>
                      <a:lnTo>
                        <a:pt x="14199" y="2034"/>
                      </a:lnTo>
                      <a:lnTo>
                        <a:pt x="14173" y="2001"/>
                      </a:lnTo>
                      <a:lnTo>
                        <a:pt x="14131" y="1989"/>
                      </a:lnTo>
                      <a:lnTo>
                        <a:pt x="14114" y="1944"/>
                      </a:lnTo>
                      <a:lnTo>
                        <a:pt x="14136" y="1906"/>
                      </a:lnTo>
                      <a:lnTo>
                        <a:pt x="14102" y="1902"/>
                      </a:lnTo>
                      <a:lnTo>
                        <a:pt x="14147" y="1878"/>
                      </a:lnTo>
                      <a:lnTo>
                        <a:pt x="14169" y="1866"/>
                      </a:lnTo>
                      <a:lnTo>
                        <a:pt x="14169" y="1845"/>
                      </a:lnTo>
                      <a:lnTo>
                        <a:pt x="14228" y="1824"/>
                      </a:lnTo>
                      <a:lnTo>
                        <a:pt x="14228" y="1812"/>
                      </a:lnTo>
                      <a:lnTo>
                        <a:pt x="14228" y="1807"/>
                      </a:lnTo>
                      <a:lnTo>
                        <a:pt x="14261" y="1812"/>
                      </a:lnTo>
                      <a:lnTo>
                        <a:pt x="14282" y="1812"/>
                      </a:lnTo>
                      <a:lnTo>
                        <a:pt x="14282" y="1795"/>
                      </a:lnTo>
                      <a:lnTo>
                        <a:pt x="14282" y="1779"/>
                      </a:lnTo>
                      <a:lnTo>
                        <a:pt x="14346" y="1795"/>
                      </a:lnTo>
                      <a:lnTo>
                        <a:pt x="14336" y="1791"/>
                      </a:lnTo>
                      <a:lnTo>
                        <a:pt x="14336" y="1779"/>
                      </a:lnTo>
                      <a:lnTo>
                        <a:pt x="14367" y="1779"/>
                      </a:lnTo>
                      <a:lnTo>
                        <a:pt x="14350" y="1767"/>
                      </a:lnTo>
                      <a:lnTo>
                        <a:pt x="14400" y="1791"/>
                      </a:lnTo>
                      <a:lnTo>
                        <a:pt x="14438" y="1791"/>
                      </a:lnTo>
                      <a:lnTo>
                        <a:pt x="14438" y="1807"/>
                      </a:lnTo>
                      <a:lnTo>
                        <a:pt x="14421" y="1812"/>
                      </a:lnTo>
                      <a:lnTo>
                        <a:pt x="14362" y="1807"/>
                      </a:lnTo>
                      <a:lnTo>
                        <a:pt x="14388" y="1824"/>
                      </a:lnTo>
                      <a:lnTo>
                        <a:pt x="14374" y="1829"/>
                      </a:lnTo>
                      <a:lnTo>
                        <a:pt x="14426" y="1829"/>
                      </a:lnTo>
                      <a:lnTo>
                        <a:pt x="14417" y="1845"/>
                      </a:lnTo>
                      <a:lnTo>
                        <a:pt x="14426" y="1833"/>
                      </a:lnTo>
                      <a:lnTo>
                        <a:pt x="14471" y="1829"/>
                      </a:lnTo>
                      <a:lnTo>
                        <a:pt x="14443" y="1850"/>
                      </a:lnTo>
                      <a:lnTo>
                        <a:pt x="14459" y="1850"/>
                      </a:lnTo>
                      <a:lnTo>
                        <a:pt x="14471" y="1862"/>
                      </a:lnTo>
                      <a:lnTo>
                        <a:pt x="14426" y="1878"/>
                      </a:lnTo>
                      <a:lnTo>
                        <a:pt x="14426" y="1890"/>
                      </a:lnTo>
                      <a:lnTo>
                        <a:pt x="14426" y="1878"/>
                      </a:lnTo>
                      <a:lnTo>
                        <a:pt x="14459" y="1878"/>
                      </a:lnTo>
                      <a:lnTo>
                        <a:pt x="14471" y="1862"/>
                      </a:lnTo>
                      <a:lnTo>
                        <a:pt x="14471" y="1845"/>
                      </a:lnTo>
                      <a:lnTo>
                        <a:pt x="14480" y="1845"/>
                      </a:lnTo>
                      <a:lnTo>
                        <a:pt x="14639" y="1862"/>
                      </a:lnTo>
                      <a:lnTo>
                        <a:pt x="14761" y="1923"/>
                      </a:lnTo>
                      <a:lnTo>
                        <a:pt x="14804" y="1973"/>
                      </a:lnTo>
                      <a:lnTo>
                        <a:pt x="14821" y="1961"/>
                      </a:lnTo>
                      <a:lnTo>
                        <a:pt x="14887" y="2001"/>
                      </a:lnTo>
                      <a:lnTo>
                        <a:pt x="14908" y="2001"/>
                      </a:lnTo>
                      <a:lnTo>
                        <a:pt x="14903" y="1989"/>
                      </a:lnTo>
                      <a:lnTo>
                        <a:pt x="14908" y="1989"/>
                      </a:lnTo>
                      <a:lnTo>
                        <a:pt x="14946" y="2018"/>
                      </a:lnTo>
                      <a:lnTo>
                        <a:pt x="14946" y="2029"/>
                      </a:lnTo>
                      <a:lnTo>
                        <a:pt x="14955" y="2046"/>
                      </a:lnTo>
                      <a:lnTo>
                        <a:pt x="14993" y="2046"/>
                      </a:lnTo>
                      <a:lnTo>
                        <a:pt x="14993" y="2072"/>
                      </a:lnTo>
                      <a:lnTo>
                        <a:pt x="15000" y="2084"/>
                      </a:lnTo>
                      <a:lnTo>
                        <a:pt x="15000" y="2105"/>
                      </a:lnTo>
                      <a:lnTo>
                        <a:pt x="15017" y="2105"/>
                      </a:lnTo>
                      <a:lnTo>
                        <a:pt x="15017" y="2112"/>
                      </a:lnTo>
                      <a:lnTo>
                        <a:pt x="15010" y="2157"/>
                      </a:lnTo>
                      <a:lnTo>
                        <a:pt x="14962" y="2199"/>
                      </a:lnTo>
                      <a:lnTo>
                        <a:pt x="14924" y="2216"/>
                      </a:lnTo>
                      <a:lnTo>
                        <a:pt x="14821" y="2249"/>
                      </a:lnTo>
                      <a:lnTo>
                        <a:pt x="14606" y="2211"/>
                      </a:lnTo>
                      <a:lnTo>
                        <a:pt x="14563" y="2178"/>
                      </a:lnTo>
                      <a:lnTo>
                        <a:pt x="14530" y="2183"/>
                      </a:lnTo>
                      <a:lnTo>
                        <a:pt x="14525" y="2178"/>
                      </a:lnTo>
                      <a:lnTo>
                        <a:pt x="14530" y="2178"/>
                      </a:lnTo>
                      <a:lnTo>
                        <a:pt x="14492" y="2166"/>
                      </a:lnTo>
                      <a:lnTo>
                        <a:pt x="14471" y="2157"/>
                      </a:lnTo>
                      <a:lnTo>
                        <a:pt x="14476" y="2162"/>
                      </a:lnTo>
                      <a:lnTo>
                        <a:pt x="14471" y="2166"/>
                      </a:lnTo>
                      <a:lnTo>
                        <a:pt x="14443" y="2157"/>
                      </a:lnTo>
                      <a:lnTo>
                        <a:pt x="14405" y="2121"/>
                      </a:lnTo>
                      <a:lnTo>
                        <a:pt x="14350" y="2112"/>
                      </a:lnTo>
                      <a:lnTo>
                        <a:pt x="14374" y="2112"/>
                      </a:lnTo>
                      <a:lnTo>
                        <a:pt x="14400" y="2129"/>
                      </a:lnTo>
                      <a:lnTo>
                        <a:pt x="14400" y="2145"/>
                      </a:lnTo>
                      <a:lnTo>
                        <a:pt x="14421" y="2162"/>
                      </a:lnTo>
                      <a:lnTo>
                        <a:pt x="14417" y="2166"/>
                      </a:lnTo>
                      <a:lnTo>
                        <a:pt x="14454" y="2178"/>
                      </a:lnTo>
                      <a:lnTo>
                        <a:pt x="14421" y="2183"/>
                      </a:lnTo>
                      <a:lnTo>
                        <a:pt x="14443" y="2178"/>
                      </a:lnTo>
                      <a:lnTo>
                        <a:pt x="14471" y="2195"/>
                      </a:lnTo>
                      <a:lnTo>
                        <a:pt x="14421" y="2195"/>
                      </a:lnTo>
                      <a:lnTo>
                        <a:pt x="14480" y="2199"/>
                      </a:lnTo>
                      <a:lnTo>
                        <a:pt x="14454" y="2216"/>
                      </a:lnTo>
                      <a:lnTo>
                        <a:pt x="14509" y="2223"/>
                      </a:lnTo>
                      <a:lnTo>
                        <a:pt x="14563" y="2266"/>
                      </a:lnTo>
                      <a:lnTo>
                        <a:pt x="14568" y="2289"/>
                      </a:lnTo>
                      <a:lnTo>
                        <a:pt x="14547" y="2273"/>
                      </a:lnTo>
                      <a:lnTo>
                        <a:pt x="14551" y="2306"/>
                      </a:lnTo>
                      <a:lnTo>
                        <a:pt x="14547" y="2322"/>
                      </a:lnTo>
                      <a:lnTo>
                        <a:pt x="14530" y="2327"/>
                      </a:lnTo>
                      <a:lnTo>
                        <a:pt x="14547" y="2343"/>
                      </a:lnTo>
                      <a:lnTo>
                        <a:pt x="14568" y="2388"/>
                      </a:lnTo>
                      <a:lnTo>
                        <a:pt x="14568" y="2417"/>
                      </a:lnTo>
                      <a:lnTo>
                        <a:pt x="14551" y="2421"/>
                      </a:lnTo>
                      <a:lnTo>
                        <a:pt x="14589" y="2445"/>
                      </a:lnTo>
                      <a:lnTo>
                        <a:pt x="14606" y="2438"/>
                      </a:lnTo>
                      <a:lnTo>
                        <a:pt x="14622" y="2445"/>
                      </a:lnTo>
                      <a:lnTo>
                        <a:pt x="14639" y="2462"/>
                      </a:lnTo>
                      <a:lnTo>
                        <a:pt x="14643" y="2462"/>
                      </a:lnTo>
                      <a:lnTo>
                        <a:pt x="14660" y="2471"/>
                      </a:lnTo>
                      <a:lnTo>
                        <a:pt x="14660" y="2488"/>
                      </a:lnTo>
                      <a:lnTo>
                        <a:pt x="14740" y="2511"/>
                      </a:lnTo>
                      <a:lnTo>
                        <a:pt x="14783" y="2488"/>
                      </a:lnTo>
                      <a:lnTo>
                        <a:pt x="14783" y="2471"/>
                      </a:lnTo>
                      <a:lnTo>
                        <a:pt x="14778" y="2462"/>
                      </a:lnTo>
                      <a:lnTo>
                        <a:pt x="14778" y="2445"/>
                      </a:lnTo>
                      <a:lnTo>
                        <a:pt x="14766" y="2438"/>
                      </a:lnTo>
                      <a:lnTo>
                        <a:pt x="14728" y="2445"/>
                      </a:lnTo>
                      <a:lnTo>
                        <a:pt x="14724" y="2438"/>
                      </a:lnTo>
                      <a:lnTo>
                        <a:pt x="14691" y="2405"/>
                      </a:lnTo>
                      <a:lnTo>
                        <a:pt x="14676" y="2400"/>
                      </a:lnTo>
                      <a:lnTo>
                        <a:pt x="14669" y="2377"/>
                      </a:lnTo>
                      <a:lnTo>
                        <a:pt x="14698" y="2377"/>
                      </a:lnTo>
                      <a:lnTo>
                        <a:pt x="14698" y="2351"/>
                      </a:lnTo>
                      <a:lnTo>
                        <a:pt x="14714" y="2343"/>
                      </a:lnTo>
                      <a:lnTo>
                        <a:pt x="14761" y="2367"/>
                      </a:lnTo>
                      <a:lnTo>
                        <a:pt x="14778" y="2384"/>
                      </a:lnTo>
                      <a:lnTo>
                        <a:pt x="14804" y="2384"/>
                      </a:lnTo>
                      <a:lnTo>
                        <a:pt x="14783" y="2400"/>
                      </a:lnTo>
                      <a:lnTo>
                        <a:pt x="14783" y="2417"/>
                      </a:lnTo>
                      <a:lnTo>
                        <a:pt x="14816" y="2388"/>
                      </a:lnTo>
                      <a:lnTo>
                        <a:pt x="14891" y="2421"/>
                      </a:lnTo>
                      <a:lnTo>
                        <a:pt x="14913" y="2417"/>
                      </a:lnTo>
                      <a:lnTo>
                        <a:pt x="14908" y="2417"/>
                      </a:lnTo>
                      <a:lnTo>
                        <a:pt x="14908" y="2405"/>
                      </a:lnTo>
                      <a:lnTo>
                        <a:pt x="14955" y="2421"/>
                      </a:lnTo>
                      <a:lnTo>
                        <a:pt x="14946" y="2377"/>
                      </a:lnTo>
                      <a:lnTo>
                        <a:pt x="14903" y="2327"/>
                      </a:lnTo>
                      <a:lnTo>
                        <a:pt x="14903" y="2306"/>
                      </a:lnTo>
                      <a:lnTo>
                        <a:pt x="14946" y="2277"/>
                      </a:lnTo>
                      <a:lnTo>
                        <a:pt x="14967" y="2256"/>
                      </a:lnTo>
                      <a:lnTo>
                        <a:pt x="15021" y="2240"/>
                      </a:lnTo>
                      <a:lnTo>
                        <a:pt x="15069" y="2195"/>
                      </a:lnTo>
                      <a:lnTo>
                        <a:pt x="15106" y="2211"/>
                      </a:lnTo>
                      <a:lnTo>
                        <a:pt x="15156" y="2199"/>
                      </a:lnTo>
                      <a:lnTo>
                        <a:pt x="15177" y="2223"/>
                      </a:lnTo>
                      <a:lnTo>
                        <a:pt x="15156" y="2240"/>
                      </a:lnTo>
                      <a:lnTo>
                        <a:pt x="15156" y="2249"/>
                      </a:lnTo>
                      <a:lnTo>
                        <a:pt x="15172" y="2256"/>
                      </a:lnTo>
                      <a:lnTo>
                        <a:pt x="15172" y="2249"/>
                      </a:lnTo>
                      <a:lnTo>
                        <a:pt x="15156" y="2240"/>
                      </a:lnTo>
                      <a:lnTo>
                        <a:pt x="15194" y="2232"/>
                      </a:lnTo>
                      <a:lnTo>
                        <a:pt x="15198" y="2240"/>
                      </a:lnTo>
                      <a:lnTo>
                        <a:pt x="15198" y="2249"/>
                      </a:lnTo>
                      <a:lnTo>
                        <a:pt x="15215" y="2266"/>
                      </a:lnTo>
                      <a:lnTo>
                        <a:pt x="15210" y="2232"/>
                      </a:lnTo>
                      <a:lnTo>
                        <a:pt x="15232" y="2166"/>
                      </a:lnTo>
                      <a:lnTo>
                        <a:pt x="15227" y="2162"/>
                      </a:lnTo>
                      <a:lnTo>
                        <a:pt x="15236" y="2145"/>
                      </a:lnTo>
                      <a:lnTo>
                        <a:pt x="15210" y="2112"/>
                      </a:lnTo>
                      <a:lnTo>
                        <a:pt x="15182" y="2105"/>
                      </a:lnTo>
                      <a:lnTo>
                        <a:pt x="15182" y="2100"/>
                      </a:lnTo>
                      <a:lnTo>
                        <a:pt x="15210" y="2051"/>
                      </a:lnTo>
                      <a:lnTo>
                        <a:pt x="15210" y="2029"/>
                      </a:lnTo>
                      <a:lnTo>
                        <a:pt x="15215" y="2018"/>
                      </a:lnTo>
                      <a:lnTo>
                        <a:pt x="15210" y="2018"/>
                      </a:lnTo>
                      <a:lnTo>
                        <a:pt x="15215" y="1977"/>
                      </a:lnTo>
                      <a:lnTo>
                        <a:pt x="15156" y="1940"/>
                      </a:lnTo>
                      <a:lnTo>
                        <a:pt x="15156" y="1923"/>
                      </a:lnTo>
                      <a:lnTo>
                        <a:pt x="15210" y="1940"/>
                      </a:lnTo>
                      <a:lnTo>
                        <a:pt x="15291" y="1940"/>
                      </a:lnTo>
                      <a:lnTo>
                        <a:pt x="15333" y="1944"/>
                      </a:lnTo>
                      <a:lnTo>
                        <a:pt x="15340" y="1973"/>
                      </a:lnTo>
                      <a:lnTo>
                        <a:pt x="15378" y="1994"/>
                      </a:lnTo>
                      <a:lnTo>
                        <a:pt x="15378" y="2013"/>
                      </a:lnTo>
                      <a:lnTo>
                        <a:pt x="15395" y="2018"/>
                      </a:lnTo>
                      <a:lnTo>
                        <a:pt x="15395" y="2034"/>
                      </a:lnTo>
                      <a:lnTo>
                        <a:pt x="15302" y="2046"/>
                      </a:lnTo>
                      <a:lnTo>
                        <a:pt x="15291" y="2051"/>
                      </a:lnTo>
                      <a:lnTo>
                        <a:pt x="15291" y="2055"/>
                      </a:lnTo>
                      <a:lnTo>
                        <a:pt x="15269" y="2067"/>
                      </a:lnTo>
                      <a:lnTo>
                        <a:pt x="15265" y="2088"/>
                      </a:lnTo>
                      <a:lnTo>
                        <a:pt x="15319" y="2112"/>
                      </a:lnTo>
                      <a:lnTo>
                        <a:pt x="15324" y="2145"/>
                      </a:lnTo>
                      <a:lnTo>
                        <a:pt x="15340" y="2157"/>
                      </a:lnTo>
                      <a:lnTo>
                        <a:pt x="15387" y="2157"/>
                      </a:lnTo>
                      <a:lnTo>
                        <a:pt x="15371" y="2162"/>
                      </a:lnTo>
                      <a:lnTo>
                        <a:pt x="15463" y="2138"/>
                      </a:lnTo>
                      <a:lnTo>
                        <a:pt x="15463" y="2121"/>
                      </a:lnTo>
                      <a:lnTo>
                        <a:pt x="15454" y="2105"/>
                      </a:lnTo>
                      <a:lnTo>
                        <a:pt x="15480" y="2072"/>
                      </a:lnTo>
                      <a:lnTo>
                        <a:pt x="15470" y="2055"/>
                      </a:lnTo>
                      <a:lnTo>
                        <a:pt x="15480" y="2051"/>
                      </a:lnTo>
                      <a:lnTo>
                        <a:pt x="15534" y="2046"/>
                      </a:lnTo>
                      <a:lnTo>
                        <a:pt x="15555" y="2055"/>
                      </a:lnTo>
                      <a:lnTo>
                        <a:pt x="15522" y="2018"/>
                      </a:lnTo>
                      <a:lnTo>
                        <a:pt x="15572" y="2029"/>
                      </a:lnTo>
                      <a:lnTo>
                        <a:pt x="15626" y="1994"/>
                      </a:lnTo>
                      <a:lnTo>
                        <a:pt x="15609" y="2013"/>
                      </a:lnTo>
                      <a:lnTo>
                        <a:pt x="15614" y="2001"/>
                      </a:lnTo>
                      <a:lnTo>
                        <a:pt x="15680" y="1961"/>
                      </a:lnTo>
                      <a:lnTo>
                        <a:pt x="15697" y="1961"/>
                      </a:lnTo>
                      <a:lnTo>
                        <a:pt x="15765" y="1940"/>
                      </a:lnTo>
                      <a:lnTo>
                        <a:pt x="15787" y="1944"/>
                      </a:lnTo>
                      <a:lnTo>
                        <a:pt x="15772" y="1961"/>
                      </a:lnTo>
                      <a:lnTo>
                        <a:pt x="15777" y="1973"/>
                      </a:lnTo>
                      <a:lnTo>
                        <a:pt x="15810" y="1956"/>
                      </a:lnTo>
                      <a:lnTo>
                        <a:pt x="15794" y="1940"/>
                      </a:lnTo>
                      <a:lnTo>
                        <a:pt x="15810" y="1935"/>
                      </a:lnTo>
                      <a:lnTo>
                        <a:pt x="15777" y="1935"/>
                      </a:lnTo>
                      <a:lnTo>
                        <a:pt x="15886" y="1890"/>
                      </a:lnTo>
                      <a:lnTo>
                        <a:pt x="15938" y="1885"/>
                      </a:lnTo>
                      <a:lnTo>
                        <a:pt x="15874" y="1902"/>
                      </a:lnTo>
                      <a:lnTo>
                        <a:pt x="15900" y="1902"/>
                      </a:lnTo>
                      <a:lnTo>
                        <a:pt x="15879" y="1935"/>
                      </a:lnTo>
                      <a:lnTo>
                        <a:pt x="15895" y="1961"/>
                      </a:lnTo>
                      <a:lnTo>
                        <a:pt x="15886" y="1973"/>
                      </a:lnTo>
                      <a:lnTo>
                        <a:pt x="15874" y="1956"/>
                      </a:lnTo>
                      <a:lnTo>
                        <a:pt x="15879" y="1973"/>
                      </a:lnTo>
                      <a:lnTo>
                        <a:pt x="15862" y="1961"/>
                      </a:lnTo>
                      <a:lnTo>
                        <a:pt x="15848" y="1977"/>
                      </a:lnTo>
                      <a:lnTo>
                        <a:pt x="15917" y="1989"/>
                      </a:lnTo>
                      <a:lnTo>
                        <a:pt x="15933" y="1973"/>
                      </a:lnTo>
                      <a:lnTo>
                        <a:pt x="15954" y="1989"/>
                      </a:lnTo>
                      <a:lnTo>
                        <a:pt x="15966" y="1977"/>
                      </a:lnTo>
                      <a:lnTo>
                        <a:pt x="15966" y="1973"/>
                      </a:lnTo>
                      <a:lnTo>
                        <a:pt x="15966" y="1961"/>
                      </a:lnTo>
                      <a:lnTo>
                        <a:pt x="15992" y="1940"/>
                      </a:lnTo>
                      <a:lnTo>
                        <a:pt x="16042" y="1923"/>
                      </a:lnTo>
                      <a:lnTo>
                        <a:pt x="16134" y="1940"/>
                      </a:lnTo>
                      <a:lnTo>
                        <a:pt x="16155" y="1918"/>
                      </a:lnTo>
                      <a:lnTo>
                        <a:pt x="16181" y="1918"/>
                      </a:lnTo>
                      <a:lnTo>
                        <a:pt x="16181" y="1906"/>
                      </a:lnTo>
                      <a:lnTo>
                        <a:pt x="16198" y="1902"/>
                      </a:lnTo>
                      <a:lnTo>
                        <a:pt x="16209" y="1918"/>
                      </a:lnTo>
                      <a:lnTo>
                        <a:pt x="16202" y="1906"/>
                      </a:lnTo>
                      <a:lnTo>
                        <a:pt x="16202" y="1902"/>
                      </a:lnTo>
                      <a:lnTo>
                        <a:pt x="16240" y="1885"/>
                      </a:lnTo>
                      <a:lnTo>
                        <a:pt x="16273" y="1885"/>
                      </a:lnTo>
                      <a:lnTo>
                        <a:pt x="16240" y="1890"/>
                      </a:lnTo>
                      <a:lnTo>
                        <a:pt x="16278" y="1918"/>
                      </a:lnTo>
                      <a:lnTo>
                        <a:pt x="16257" y="1935"/>
                      </a:lnTo>
                      <a:lnTo>
                        <a:pt x="16257" y="1956"/>
                      </a:lnTo>
                      <a:lnTo>
                        <a:pt x="16311" y="1961"/>
                      </a:lnTo>
                      <a:lnTo>
                        <a:pt x="16316" y="1956"/>
                      </a:lnTo>
                      <a:lnTo>
                        <a:pt x="16306" y="1935"/>
                      </a:lnTo>
                      <a:lnTo>
                        <a:pt x="16311" y="1923"/>
                      </a:lnTo>
                      <a:lnTo>
                        <a:pt x="16361" y="1923"/>
                      </a:lnTo>
                      <a:lnTo>
                        <a:pt x="16387" y="1902"/>
                      </a:lnTo>
                      <a:lnTo>
                        <a:pt x="16387" y="1866"/>
                      </a:lnTo>
                      <a:lnTo>
                        <a:pt x="16365" y="1866"/>
                      </a:lnTo>
                      <a:lnTo>
                        <a:pt x="16361" y="1845"/>
                      </a:lnTo>
                      <a:lnTo>
                        <a:pt x="16332" y="1812"/>
                      </a:lnTo>
                      <a:lnTo>
                        <a:pt x="16344" y="1795"/>
                      </a:lnTo>
                      <a:lnTo>
                        <a:pt x="16365" y="1795"/>
                      </a:lnTo>
                      <a:lnTo>
                        <a:pt x="16370" y="1779"/>
                      </a:lnTo>
                      <a:lnTo>
                        <a:pt x="16382" y="1774"/>
                      </a:lnTo>
                      <a:lnTo>
                        <a:pt x="16543" y="1795"/>
                      </a:lnTo>
                      <a:lnTo>
                        <a:pt x="16613" y="1812"/>
                      </a:lnTo>
                      <a:lnTo>
                        <a:pt x="16672" y="1845"/>
                      </a:lnTo>
                      <a:lnTo>
                        <a:pt x="16656" y="1850"/>
                      </a:lnTo>
                      <a:lnTo>
                        <a:pt x="16656" y="1866"/>
                      </a:lnTo>
                      <a:lnTo>
                        <a:pt x="16684" y="1850"/>
                      </a:lnTo>
                      <a:lnTo>
                        <a:pt x="16739" y="1866"/>
                      </a:lnTo>
                      <a:lnTo>
                        <a:pt x="16722" y="1878"/>
                      </a:lnTo>
                      <a:lnTo>
                        <a:pt x="16819" y="1906"/>
                      </a:lnTo>
                      <a:lnTo>
                        <a:pt x="16814" y="1906"/>
                      </a:lnTo>
                      <a:lnTo>
                        <a:pt x="16831" y="1923"/>
                      </a:lnTo>
                      <a:lnTo>
                        <a:pt x="16899" y="1956"/>
                      </a:lnTo>
                      <a:lnTo>
                        <a:pt x="16906" y="1973"/>
                      </a:lnTo>
                      <a:lnTo>
                        <a:pt x="16899" y="1977"/>
                      </a:lnTo>
                      <a:lnTo>
                        <a:pt x="16906" y="1989"/>
                      </a:lnTo>
                      <a:lnTo>
                        <a:pt x="16916" y="1977"/>
                      </a:lnTo>
                      <a:lnTo>
                        <a:pt x="16958" y="1902"/>
                      </a:lnTo>
                      <a:lnTo>
                        <a:pt x="16954" y="1902"/>
                      </a:lnTo>
                      <a:lnTo>
                        <a:pt x="16970" y="1890"/>
                      </a:lnTo>
                      <a:lnTo>
                        <a:pt x="16937" y="1902"/>
                      </a:lnTo>
                      <a:lnTo>
                        <a:pt x="16916" y="1885"/>
                      </a:lnTo>
                      <a:lnTo>
                        <a:pt x="16890" y="1850"/>
                      </a:lnTo>
                      <a:lnTo>
                        <a:pt x="16890" y="1812"/>
                      </a:lnTo>
                      <a:lnTo>
                        <a:pt x="16883" y="1824"/>
                      </a:lnTo>
                      <a:lnTo>
                        <a:pt x="16814" y="1795"/>
                      </a:lnTo>
                      <a:lnTo>
                        <a:pt x="16814" y="1824"/>
                      </a:lnTo>
                      <a:lnTo>
                        <a:pt x="16798" y="1812"/>
                      </a:lnTo>
                      <a:lnTo>
                        <a:pt x="16798" y="1791"/>
                      </a:lnTo>
                      <a:lnTo>
                        <a:pt x="16807" y="1758"/>
                      </a:lnTo>
                      <a:lnTo>
                        <a:pt x="16814" y="1751"/>
                      </a:lnTo>
                      <a:lnTo>
                        <a:pt x="16814" y="1767"/>
                      </a:lnTo>
                      <a:lnTo>
                        <a:pt x="16831" y="1758"/>
                      </a:lnTo>
                      <a:lnTo>
                        <a:pt x="16835" y="1739"/>
                      </a:lnTo>
                      <a:lnTo>
                        <a:pt x="16819" y="1734"/>
                      </a:lnTo>
                      <a:lnTo>
                        <a:pt x="16835" y="1663"/>
                      </a:lnTo>
                      <a:lnTo>
                        <a:pt x="16819" y="1647"/>
                      </a:lnTo>
                      <a:lnTo>
                        <a:pt x="16793" y="1663"/>
                      </a:lnTo>
                      <a:lnTo>
                        <a:pt x="16793" y="1640"/>
                      </a:lnTo>
                      <a:lnTo>
                        <a:pt x="16807" y="1614"/>
                      </a:lnTo>
                      <a:lnTo>
                        <a:pt x="16798" y="1630"/>
                      </a:lnTo>
                      <a:lnTo>
                        <a:pt x="16793" y="1623"/>
                      </a:lnTo>
                      <a:lnTo>
                        <a:pt x="16807" y="1590"/>
                      </a:lnTo>
                      <a:lnTo>
                        <a:pt x="16883" y="1557"/>
                      </a:lnTo>
                      <a:lnTo>
                        <a:pt x="16916" y="1519"/>
                      </a:lnTo>
                      <a:lnTo>
                        <a:pt x="16954" y="1401"/>
                      </a:lnTo>
                      <a:lnTo>
                        <a:pt x="16970" y="1384"/>
                      </a:lnTo>
                      <a:lnTo>
                        <a:pt x="16975" y="1368"/>
                      </a:lnTo>
                      <a:lnTo>
                        <a:pt x="17013" y="1363"/>
                      </a:lnTo>
                      <a:lnTo>
                        <a:pt x="16991" y="1368"/>
                      </a:lnTo>
                      <a:lnTo>
                        <a:pt x="16996" y="1375"/>
                      </a:lnTo>
                      <a:lnTo>
                        <a:pt x="17138" y="1368"/>
                      </a:lnTo>
                      <a:lnTo>
                        <a:pt x="17171" y="1384"/>
                      </a:lnTo>
                      <a:lnTo>
                        <a:pt x="17154" y="1384"/>
                      </a:lnTo>
                      <a:lnTo>
                        <a:pt x="17223" y="1401"/>
                      </a:lnTo>
                      <a:lnTo>
                        <a:pt x="17213" y="1418"/>
                      </a:lnTo>
                      <a:lnTo>
                        <a:pt x="17230" y="1458"/>
                      </a:lnTo>
                      <a:lnTo>
                        <a:pt x="17197" y="1503"/>
                      </a:lnTo>
                      <a:lnTo>
                        <a:pt x="17192" y="1512"/>
                      </a:lnTo>
                      <a:lnTo>
                        <a:pt x="17192" y="1536"/>
                      </a:lnTo>
                      <a:lnTo>
                        <a:pt x="17154" y="1569"/>
                      </a:lnTo>
                      <a:lnTo>
                        <a:pt x="17171" y="1590"/>
                      </a:lnTo>
                      <a:lnTo>
                        <a:pt x="17209" y="1614"/>
                      </a:lnTo>
                      <a:lnTo>
                        <a:pt x="17209" y="1623"/>
                      </a:lnTo>
                      <a:lnTo>
                        <a:pt x="17223" y="1647"/>
                      </a:lnTo>
                      <a:lnTo>
                        <a:pt x="17213" y="1680"/>
                      </a:lnTo>
                      <a:lnTo>
                        <a:pt x="17223" y="1701"/>
                      </a:lnTo>
                      <a:lnTo>
                        <a:pt x="17192" y="1722"/>
                      </a:lnTo>
                      <a:lnTo>
                        <a:pt x="17209" y="1734"/>
                      </a:lnTo>
                      <a:lnTo>
                        <a:pt x="17197" y="1751"/>
                      </a:lnTo>
                      <a:lnTo>
                        <a:pt x="17213" y="1774"/>
                      </a:lnTo>
                      <a:lnTo>
                        <a:pt x="17197" y="1807"/>
                      </a:lnTo>
                      <a:lnTo>
                        <a:pt x="17209" y="1829"/>
                      </a:lnTo>
                      <a:lnTo>
                        <a:pt x="17197" y="1866"/>
                      </a:lnTo>
                      <a:lnTo>
                        <a:pt x="17209" y="1890"/>
                      </a:lnTo>
                      <a:lnTo>
                        <a:pt x="17213" y="1906"/>
                      </a:lnTo>
                      <a:lnTo>
                        <a:pt x="17268" y="1940"/>
                      </a:lnTo>
                      <a:lnTo>
                        <a:pt x="17284" y="1956"/>
                      </a:lnTo>
                      <a:lnTo>
                        <a:pt x="17268" y="1944"/>
                      </a:lnTo>
                      <a:lnTo>
                        <a:pt x="17246" y="1989"/>
                      </a:lnTo>
                      <a:lnTo>
                        <a:pt x="17239" y="1994"/>
                      </a:lnTo>
                      <a:lnTo>
                        <a:pt x="17251" y="2029"/>
                      </a:lnTo>
                      <a:lnTo>
                        <a:pt x="17239" y="2046"/>
                      </a:lnTo>
                      <a:lnTo>
                        <a:pt x="17209" y="2055"/>
                      </a:lnTo>
                      <a:lnTo>
                        <a:pt x="17209" y="2067"/>
                      </a:lnTo>
                      <a:lnTo>
                        <a:pt x="17192" y="2072"/>
                      </a:lnTo>
                      <a:lnTo>
                        <a:pt x="17197" y="2084"/>
                      </a:lnTo>
                      <a:lnTo>
                        <a:pt x="17192" y="2088"/>
                      </a:lnTo>
                      <a:lnTo>
                        <a:pt x="17171" y="2100"/>
                      </a:lnTo>
                      <a:lnTo>
                        <a:pt x="17185" y="2112"/>
                      </a:lnTo>
                      <a:lnTo>
                        <a:pt x="17176" y="2105"/>
                      </a:lnTo>
                      <a:lnTo>
                        <a:pt x="17154" y="2138"/>
                      </a:lnTo>
                      <a:lnTo>
                        <a:pt x="17121" y="2138"/>
                      </a:lnTo>
                      <a:lnTo>
                        <a:pt x="17138" y="2166"/>
                      </a:lnTo>
                      <a:lnTo>
                        <a:pt x="17138" y="2178"/>
                      </a:lnTo>
                      <a:lnTo>
                        <a:pt x="17100" y="2178"/>
                      </a:lnTo>
                      <a:lnTo>
                        <a:pt x="17088" y="2183"/>
                      </a:lnTo>
                      <a:lnTo>
                        <a:pt x="17079" y="2195"/>
                      </a:lnTo>
                      <a:lnTo>
                        <a:pt x="17046" y="2178"/>
                      </a:lnTo>
                      <a:lnTo>
                        <a:pt x="17079" y="2162"/>
                      </a:lnTo>
                      <a:lnTo>
                        <a:pt x="17046" y="2166"/>
                      </a:lnTo>
                      <a:lnTo>
                        <a:pt x="17013" y="2157"/>
                      </a:lnTo>
                      <a:lnTo>
                        <a:pt x="16954" y="2157"/>
                      </a:lnTo>
                      <a:lnTo>
                        <a:pt x="16958" y="2162"/>
                      </a:lnTo>
                      <a:lnTo>
                        <a:pt x="16958" y="2178"/>
                      </a:lnTo>
                      <a:lnTo>
                        <a:pt x="16982" y="2195"/>
                      </a:lnTo>
                      <a:lnTo>
                        <a:pt x="17050" y="2216"/>
                      </a:lnTo>
                      <a:lnTo>
                        <a:pt x="17133" y="2211"/>
                      </a:lnTo>
                      <a:lnTo>
                        <a:pt x="17171" y="2223"/>
                      </a:lnTo>
                      <a:lnTo>
                        <a:pt x="17192" y="2216"/>
                      </a:lnTo>
                      <a:lnTo>
                        <a:pt x="17192" y="2195"/>
                      </a:lnTo>
                      <a:lnTo>
                        <a:pt x="17197" y="2178"/>
                      </a:lnTo>
                      <a:lnTo>
                        <a:pt x="17230" y="2178"/>
                      </a:lnTo>
                      <a:lnTo>
                        <a:pt x="17294" y="2138"/>
                      </a:lnTo>
                      <a:lnTo>
                        <a:pt x="17298" y="2105"/>
                      </a:lnTo>
                      <a:lnTo>
                        <a:pt x="17298" y="2100"/>
                      </a:lnTo>
                      <a:lnTo>
                        <a:pt x="17353" y="2051"/>
                      </a:lnTo>
                      <a:lnTo>
                        <a:pt x="17360" y="2018"/>
                      </a:lnTo>
                      <a:lnTo>
                        <a:pt x="17353" y="1994"/>
                      </a:lnTo>
                      <a:lnTo>
                        <a:pt x="17332" y="1961"/>
                      </a:lnTo>
                      <a:lnTo>
                        <a:pt x="17336" y="1944"/>
                      </a:lnTo>
                      <a:lnTo>
                        <a:pt x="17336" y="1923"/>
                      </a:lnTo>
                      <a:lnTo>
                        <a:pt x="17353" y="1918"/>
                      </a:lnTo>
                      <a:lnTo>
                        <a:pt x="17483" y="1890"/>
                      </a:lnTo>
                      <a:lnTo>
                        <a:pt x="17495" y="1902"/>
                      </a:lnTo>
                      <a:lnTo>
                        <a:pt x="17495" y="1918"/>
                      </a:lnTo>
                      <a:lnTo>
                        <a:pt x="17537" y="1944"/>
                      </a:lnTo>
                      <a:lnTo>
                        <a:pt x="17537" y="1961"/>
                      </a:lnTo>
                      <a:lnTo>
                        <a:pt x="17532" y="1973"/>
                      </a:lnTo>
                      <a:lnTo>
                        <a:pt x="17537" y="1977"/>
                      </a:lnTo>
                      <a:lnTo>
                        <a:pt x="17532" y="2013"/>
                      </a:lnTo>
                      <a:lnTo>
                        <a:pt x="17537" y="2018"/>
                      </a:lnTo>
                      <a:lnTo>
                        <a:pt x="17520" y="2034"/>
                      </a:lnTo>
                      <a:lnTo>
                        <a:pt x="17570" y="2067"/>
                      </a:lnTo>
                      <a:lnTo>
                        <a:pt x="17662" y="2067"/>
                      </a:lnTo>
                      <a:lnTo>
                        <a:pt x="17646" y="2051"/>
                      </a:lnTo>
                      <a:lnTo>
                        <a:pt x="17624" y="2055"/>
                      </a:lnTo>
                      <a:lnTo>
                        <a:pt x="17617" y="2055"/>
                      </a:lnTo>
                      <a:lnTo>
                        <a:pt x="17629" y="2051"/>
                      </a:lnTo>
                      <a:lnTo>
                        <a:pt x="17549" y="2046"/>
                      </a:lnTo>
                      <a:lnTo>
                        <a:pt x="17554" y="1994"/>
                      </a:lnTo>
                      <a:lnTo>
                        <a:pt x="17601" y="1977"/>
                      </a:lnTo>
                      <a:lnTo>
                        <a:pt x="17587" y="1961"/>
                      </a:lnTo>
                      <a:lnTo>
                        <a:pt x="17587" y="1944"/>
                      </a:lnTo>
                      <a:lnTo>
                        <a:pt x="17570" y="1944"/>
                      </a:lnTo>
                      <a:lnTo>
                        <a:pt x="17563" y="1902"/>
                      </a:lnTo>
                      <a:lnTo>
                        <a:pt x="17445" y="1850"/>
                      </a:lnTo>
                      <a:lnTo>
                        <a:pt x="17407" y="1850"/>
                      </a:lnTo>
                      <a:lnTo>
                        <a:pt x="17360" y="1878"/>
                      </a:lnTo>
                      <a:lnTo>
                        <a:pt x="17332" y="1866"/>
                      </a:lnTo>
                      <a:lnTo>
                        <a:pt x="17298" y="1878"/>
                      </a:lnTo>
                      <a:lnTo>
                        <a:pt x="17284" y="1862"/>
                      </a:lnTo>
                      <a:lnTo>
                        <a:pt x="17298" y="1829"/>
                      </a:lnTo>
                      <a:lnTo>
                        <a:pt x="17268" y="1791"/>
                      </a:lnTo>
                      <a:lnTo>
                        <a:pt x="17294" y="1751"/>
                      </a:lnTo>
                      <a:lnTo>
                        <a:pt x="17284" y="1739"/>
                      </a:lnTo>
                      <a:lnTo>
                        <a:pt x="17332" y="1696"/>
                      </a:lnTo>
                      <a:lnTo>
                        <a:pt x="17332" y="1668"/>
                      </a:lnTo>
                      <a:lnTo>
                        <a:pt x="17298" y="1647"/>
                      </a:lnTo>
                      <a:lnTo>
                        <a:pt x="17298" y="1630"/>
                      </a:lnTo>
                      <a:lnTo>
                        <a:pt x="17268" y="1590"/>
                      </a:lnTo>
                      <a:lnTo>
                        <a:pt x="17239" y="1573"/>
                      </a:lnTo>
                      <a:lnTo>
                        <a:pt x="17268" y="1545"/>
                      </a:lnTo>
                      <a:lnTo>
                        <a:pt x="17268" y="1529"/>
                      </a:lnTo>
                      <a:lnTo>
                        <a:pt x="17268" y="1519"/>
                      </a:lnTo>
                      <a:lnTo>
                        <a:pt x="17369" y="1479"/>
                      </a:lnTo>
                      <a:lnTo>
                        <a:pt x="17386" y="1462"/>
                      </a:lnTo>
                      <a:lnTo>
                        <a:pt x="17386" y="1441"/>
                      </a:lnTo>
                      <a:lnTo>
                        <a:pt x="17374" y="1408"/>
                      </a:lnTo>
                      <a:lnTo>
                        <a:pt x="17360" y="1384"/>
                      </a:lnTo>
                      <a:lnTo>
                        <a:pt x="17374" y="1375"/>
                      </a:lnTo>
                      <a:lnTo>
                        <a:pt x="17402" y="1384"/>
                      </a:lnTo>
                      <a:lnTo>
                        <a:pt x="17412" y="1392"/>
                      </a:lnTo>
                      <a:lnTo>
                        <a:pt x="17402" y="1401"/>
                      </a:lnTo>
                      <a:lnTo>
                        <a:pt x="17424" y="1418"/>
                      </a:lnTo>
                      <a:lnTo>
                        <a:pt x="17412" y="1425"/>
                      </a:lnTo>
                      <a:lnTo>
                        <a:pt x="17428" y="1458"/>
                      </a:lnTo>
                      <a:lnTo>
                        <a:pt x="17391" y="1512"/>
                      </a:lnTo>
                      <a:lnTo>
                        <a:pt x="17391" y="1529"/>
                      </a:lnTo>
                      <a:lnTo>
                        <a:pt x="17407" y="1545"/>
                      </a:lnTo>
                      <a:lnTo>
                        <a:pt x="17407" y="1557"/>
                      </a:lnTo>
                      <a:lnTo>
                        <a:pt x="17391" y="1569"/>
                      </a:lnTo>
                      <a:lnTo>
                        <a:pt x="17391" y="1573"/>
                      </a:lnTo>
                      <a:lnTo>
                        <a:pt x="17428" y="1590"/>
                      </a:lnTo>
                      <a:lnTo>
                        <a:pt x="17511" y="1602"/>
                      </a:lnTo>
                      <a:lnTo>
                        <a:pt x="17511" y="1614"/>
                      </a:lnTo>
                      <a:lnTo>
                        <a:pt x="17516" y="1607"/>
                      </a:lnTo>
                      <a:lnTo>
                        <a:pt x="17563" y="1607"/>
                      </a:lnTo>
                      <a:lnTo>
                        <a:pt x="17575" y="1614"/>
                      </a:lnTo>
                      <a:lnTo>
                        <a:pt x="17587" y="1630"/>
                      </a:lnTo>
                      <a:lnTo>
                        <a:pt x="17617" y="1640"/>
                      </a:lnTo>
                      <a:lnTo>
                        <a:pt x="17662" y="1630"/>
                      </a:lnTo>
                      <a:lnTo>
                        <a:pt x="17624" y="1630"/>
                      </a:lnTo>
                      <a:lnTo>
                        <a:pt x="17617" y="1630"/>
                      </a:lnTo>
                      <a:lnTo>
                        <a:pt x="17624" y="1614"/>
                      </a:lnTo>
                      <a:lnTo>
                        <a:pt x="17608" y="1614"/>
                      </a:lnTo>
                      <a:lnTo>
                        <a:pt x="17624" y="1623"/>
                      </a:lnTo>
                      <a:lnTo>
                        <a:pt x="17617" y="1623"/>
                      </a:lnTo>
                      <a:lnTo>
                        <a:pt x="17601" y="1614"/>
                      </a:lnTo>
                      <a:lnTo>
                        <a:pt x="17608" y="1590"/>
                      </a:lnTo>
                      <a:lnTo>
                        <a:pt x="17575" y="1590"/>
                      </a:lnTo>
                      <a:lnTo>
                        <a:pt x="17587" y="1573"/>
                      </a:lnTo>
                      <a:lnTo>
                        <a:pt x="17570" y="1590"/>
                      </a:lnTo>
                      <a:lnTo>
                        <a:pt x="17549" y="1585"/>
                      </a:lnTo>
                      <a:lnTo>
                        <a:pt x="17554" y="1590"/>
                      </a:lnTo>
                      <a:lnTo>
                        <a:pt x="17461" y="1552"/>
                      </a:lnTo>
                      <a:lnTo>
                        <a:pt x="17445" y="1512"/>
                      </a:lnTo>
                      <a:lnTo>
                        <a:pt x="17457" y="1503"/>
                      </a:lnTo>
                      <a:lnTo>
                        <a:pt x="17511" y="1491"/>
                      </a:lnTo>
                      <a:lnTo>
                        <a:pt x="17554" y="1519"/>
                      </a:lnTo>
                      <a:lnTo>
                        <a:pt x="17591" y="1512"/>
                      </a:lnTo>
                      <a:lnTo>
                        <a:pt x="17601" y="1495"/>
                      </a:lnTo>
                      <a:lnTo>
                        <a:pt x="17587" y="1479"/>
                      </a:lnTo>
                      <a:lnTo>
                        <a:pt x="17537" y="1479"/>
                      </a:lnTo>
                      <a:lnTo>
                        <a:pt x="17549" y="1462"/>
                      </a:lnTo>
                      <a:lnTo>
                        <a:pt x="17563" y="1474"/>
                      </a:lnTo>
                      <a:lnTo>
                        <a:pt x="17575" y="1446"/>
                      </a:lnTo>
                      <a:lnTo>
                        <a:pt x="17624" y="1441"/>
                      </a:lnTo>
                      <a:lnTo>
                        <a:pt x="17693" y="1446"/>
                      </a:lnTo>
                      <a:lnTo>
                        <a:pt x="17785" y="1479"/>
                      </a:lnTo>
                      <a:lnTo>
                        <a:pt x="17785" y="1491"/>
                      </a:lnTo>
                      <a:lnTo>
                        <a:pt x="17769" y="1491"/>
                      </a:lnTo>
                      <a:lnTo>
                        <a:pt x="17839" y="1536"/>
                      </a:lnTo>
                      <a:lnTo>
                        <a:pt x="17927" y="1529"/>
                      </a:lnTo>
                      <a:lnTo>
                        <a:pt x="17953" y="1536"/>
                      </a:lnTo>
                      <a:lnTo>
                        <a:pt x="17941" y="1552"/>
                      </a:lnTo>
                      <a:lnTo>
                        <a:pt x="17932" y="1569"/>
                      </a:lnTo>
                      <a:lnTo>
                        <a:pt x="17889" y="1590"/>
                      </a:lnTo>
                      <a:lnTo>
                        <a:pt x="17894" y="1614"/>
                      </a:lnTo>
                      <a:lnTo>
                        <a:pt x="17877" y="1630"/>
                      </a:lnTo>
                      <a:lnTo>
                        <a:pt x="17894" y="1656"/>
                      </a:lnTo>
                      <a:lnTo>
                        <a:pt x="17872" y="1684"/>
                      </a:lnTo>
                      <a:lnTo>
                        <a:pt x="17894" y="1734"/>
                      </a:lnTo>
                      <a:lnTo>
                        <a:pt x="17877" y="1684"/>
                      </a:lnTo>
                      <a:lnTo>
                        <a:pt x="17898" y="1680"/>
                      </a:lnTo>
                      <a:lnTo>
                        <a:pt x="17898" y="1656"/>
                      </a:lnTo>
                      <a:lnTo>
                        <a:pt x="17910" y="1630"/>
                      </a:lnTo>
                      <a:lnTo>
                        <a:pt x="17948" y="1640"/>
                      </a:lnTo>
                      <a:lnTo>
                        <a:pt x="17941" y="1701"/>
                      </a:lnTo>
                      <a:lnTo>
                        <a:pt x="17910" y="1722"/>
                      </a:lnTo>
                      <a:lnTo>
                        <a:pt x="17910" y="1734"/>
                      </a:lnTo>
                      <a:lnTo>
                        <a:pt x="17948" y="1751"/>
                      </a:lnTo>
                      <a:lnTo>
                        <a:pt x="17948" y="1739"/>
                      </a:lnTo>
                      <a:lnTo>
                        <a:pt x="17932" y="1718"/>
                      </a:lnTo>
                      <a:lnTo>
                        <a:pt x="17969" y="1718"/>
                      </a:lnTo>
                      <a:lnTo>
                        <a:pt x="17986" y="1701"/>
                      </a:lnTo>
                      <a:lnTo>
                        <a:pt x="17969" y="1640"/>
                      </a:lnTo>
                      <a:lnTo>
                        <a:pt x="17948" y="1602"/>
                      </a:lnTo>
                      <a:lnTo>
                        <a:pt x="17979" y="1545"/>
                      </a:lnTo>
                      <a:lnTo>
                        <a:pt x="17965" y="1519"/>
                      </a:lnTo>
                      <a:lnTo>
                        <a:pt x="17915" y="1512"/>
                      </a:lnTo>
                      <a:lnTo>
                        <a:pt x="17877" y="1479"/>
                      </a:lnTo>
                      <a:lnTo>
                        <a:pt x="17889" y="1474"/>
                      </a:lnTo>
                      <a:lnTo>
                        <a:pt x="17877" y="1458"/>
                      </a:lnTo>
                      <a:lnTo>
                        <a:pt x="17806" y="1446"/>
                      </a:lnTo>
                      <a:lnTo>
                        <a:pt x="17780" y="1425"/>
                      </a:lnTo>
                      <a:lnTo>
                        <a:pt x="17785" y="1408"/>
                      </a:lnTo>
                      <a:lnTo>
                        <a:pt x="17769" y="1392"/>
                      </a:lnTo>
                      <a:lnTo>
                        <a:pt x="17785" y="1375"/>
                      </a:lnTo>
                      <a:lnTo>
                        <a:pt x="17785" y="1363"/>
                      </a:lnTo>
                      <a:lnTo>
                        <a:pt x="17752" y="1347"/>
                      </a:lnTo>
                      <a:lnTo>
                        <a:pt x="17764" y="1335"/>
                      </a:lnTo>
                      <a:lnTo>
                        <a:pt x="17738" y="1335"/>
                      </a:lnTo>
                      <a:lnTo>
                        <a:pt x="17764" y="1330"/>
                      </a:lnTo>
                      <a:lnTo>
                        <a:pt x="17747" y="1314"/>
                      </a:lnTo>
                      <a:lnTo>
                        <a:pt x="17769" y="1290"/>
                      </a:lnTo>
                      <a:lnTo>
                        <a:pt x="17764" y="1290"/>
                      </a:lnTo>
                      <a:lnTo>
                        <a:pt x="17764" y="1281"/>
                      </a:lnTo>
                      <a:lnTo>
                        <a:pt x="18054" y="1252"/>
                      </a:lnTo>
                      <a:lnTo>
                        <a:pt x="18092" y="1257"/>
                      </a:lnTo>
                      <a:lnTo>
                        <a:pt x="18146" y="1240"/>
                      </a:lnTo>
                      <a:lnTo>
                        <a:pt x="18222" y="1240"/>
                      </a:lnTo>
                      <a:lnTo>
                        <a:pt x="18217" y="1252"/>
                      </a:lnTo>
                      <a:lnTo>
                        <a:pt x="18130" y="1297"/>
                      </a:lnTo>
                      <a:lnTo>
                        <a:pt x="18130" y="1314"/>
                      </a:lnTo>
                      <a:lnTo>
                        <a:pt x="18196" y="1347"/>
                      </a:lnTo>
                      <a:lnTo>
                        <a:pt x="18201" y="1363"/>
                      </a:lnTo>
                      <a:lnTo>
                        <a:pt x="18196" y="1335"/>
                      </a:lnTo>
                      <a:lnTo>
                        <a:pt x="18142" y="1314"/>
                      </a:lnTo>
                      <a:lnTo>
                        <a:pt x="18130" y="1290"/>
                      </a:lnTo>
                      <a:lnTo>
                        <a:pt x="18234" y="1273"/>
                      </a:lnTo>
                      <a:lnTo>
                        <a:pt x="18267" y="1236"/>
                      </a:lnTo>
                      <a:lnTo>
                        <a:pt x="18239" y="1240"/>
                      </a:lnTo>
                      <a:lnTo>
                        <a:pt x="18217" y="1219"/>
                      </a:lnTo>
                      <a:lnTo>
                        <a:pt x="18250" y="1219"/>
                      </a:lnTo>
                      <a:lnTo>
                        <a:pt x="18239" y="1207"/>
                      </a:lnTo>
                      <a:lnTo>
                        <a:pt x="18213" y="1207"/>
                      </a:lnTo>
                      <a:lnTo>
                        <a:pt x="18201" y="1186"/>
                      </a:lnTo>
                      <a:lnTo>
                        <a:pt x="18184" y="1186"/>
                      </a:lnTo>
                      <a:lnTo>
                        <a:pt x="18142" y="1179"/>
                      </a:lnTo>
                      <a:lnTo>
                        <a:pt x="18142" y="1170"/>
                      </a:lnTo>
                      <a:lnTo>
                        <a:pt x="18168" y="1179"/>
                      </a:lnTo>
                      <a:lnTo>
                        <a:pt x="18146" y="1162"/>
                      </a:lnTo>
                      <a:lnTo>
                        <a:pt x="18180" y="1153"/>
                      </a:lnTo>
                      <a:lnTo>
                        <a:pt x="18213" y="1162"/>
                      </a:lnTo>
                      <a:lnTo>
                        <a:pt x="18196" y="1179"/>
                      </a:lnTo>
                      <a:lnTo>
                        <a:pt x="18222" y="1170"/>
                      </a:lnTo>
                      <a:lnTo>
                        <a:pt x="18184" y="1146"/>
                      </a:lnTo>
                      <a:lnTo>
                        <a:pt x="18196" y="1141"/>
                      </a:lnTo>
                      <a:lnTo>
                        <a:pt x="18184" y="1141"/>
                      </a:lnTo>
                      <a:lnTo>
                        <a:pt x="18130" y="1129"/>
                      </a:lnTo>
                      <a:lnTo>
                        <a:pt x="18158" y="1113"/>
                      </a:lnTo>
                      <a:lnTo>
                        <a:pt x="18146" y="1108"/>
                      </a:lnTo>
                      <a:lnTo>
                        <a:pt x="18213" y="1129"/>
                      </a:lnTo>
                      <a:lnTo>
                        <a:pt x="18213" y="1125"/>
                      </a:lnTo>
                      <a:lnTo>
                        <a:pt x="18201" y="1125"/>
                      </a:lnTo>
                      <a:lnTo>
                        <a:pt x="18239" y="1087"/>
                      </a:lnTo>
                      <a:lnTo>
                        <a:pt x="18234" y="1075"/>
                      </a:lnTo>
                      <a:lnTo>
                        <a:pt x="18255" y="1087"/>
                      </a:lnTo>
                      <a:lnTo>
                        <a:pt x="18272" y="1075"/>
                      </a:lnTo>
                      <a:lnTo>
                        <a:pt x="18213" y="1070"/>
                      </a:lnTo>
                      <a:lnTo>
                        <a:pt x="18217" y="1051"/>
                      </a:lnTo>
                      <a:lnTo>
                        <a:pt x="18288" y="1058"/>
                      </a:lnTo>
                      <a:lnTo>
                        <a:pt x="18373" y="1002"/>
                      </a:lnTo>
                      <a:lnTo>
                        <a:pt x="18395" y="1014"/>
                      </a:lnTo>
                      <a:lnTo>
                        <a:pt x="18428" y="997"/>
                      </a:lnTo>
                      <a:lnTo>
                        <a:pt x="18487" y="981"/>
                      </a:lnTo>
                      <a:lnTo>
                        <a:pt x="18541" y="981"/>
                      </a:lnTo>
                      <a:lnTo>
                        <a:pt x="18546" y="976"/>
                      </a:lnTo>
                      <a:lnTo>
                        <a:pt x="18720" y="943"/>
                      </a:lnTo>
                      <a:lnTo>
                        <a:pt x="18671" y="943"/>
                      </a:lnTo>
                      <a:lnTo>
                        <a:pt x="18666" y="947"/>
                      </a:lnTo>
                      <a:lnTo>
                        <a:pt x="18654" y="931"/>
                      </a:lnTo>
                      <a:lnTo>
                        <a:pt x="18645" y="943"/>
                      </a:lnTo>
                      <a:lnTo>
                        <a:pt x="18645" y="947"/>
                      </a:lnTo>
                      <a:lnTo>
                        <a:pt x="18628" y="943"/>
                      </a:lnTo>
                      <a:lnTo>
                        <a:pt x="18633" y="924"/>
                      </a:lnTo>
                      <a:lnTo>
                        <a:pt x="18654" y="924"/>
                      </a:lnTo>
                      <a:lnTo>
                        <a:pt x="18650" y="919"/>
                      </a:lnTo>
                      <a:lnTo>
                        <a:pt x="18666" y="919"/>
                      </a:lnTo>
                      <a:lnTo>
                        <a:pt x="18654" y="924"/>
                      </a:lnTo>
                      <a:lnTo>
                        <a:pt x="18666" y="931"/>
                      </a:lnTo>
                      <a:lnTo>
                        <a:pt x="18709" y="924"/>
                      </a:lnTo>
                      <a:lnTo>
                        <a:pt x="18683" y="907"/>
                      </a:lnTo>
                      <a:lnTo>
                        <a:pt x="18735" y="907"/>
                      </a:lnTo>
                      <a:lnTo>
                        <a:pt x="18742" y="924"/>
                      </a:lnTo>
                      <a:lnTo>
                        <a:pt x="18758" y="919"/>
                      </a:lnTo>
                      <a:lnTo>
                        <a:pt x="18742" y="907"/>
                      </a:lnTo>
                      <a:lnTo>
                        <a:pt x="18751" y="907"/>
                      </a:lnTo>
                      <a:lnTo>
                        <a:pt x="18865" y="919"/>
                      </a:lnTo>
                      <a:lnTo>
                        <a:pt x="18817" y="947"/>
                      </a:lnTo>
                      <a:lnTo>
                        <a:pt x="18827" y="947"/>
                      </a:lnTo>
                      <a:lnTo>
                        <a:pt x="18843" y="943"/>
                      </a:lnTo>
                      <a:lnTo>
                        <a:pt x="18881" y="931"/>
                      </a:lnTo>
                      <a:lnTo>
                        <a:pt x="18886" y="943"/>
                      </a:lnTo>
                      <a:lnTo>
                        <a:pt x="18881" y="947"/>
                      </a:lnTo>
                      <a:lnTo>
                        <a:pt x="18935" y="924"/>
                      </a:lnTo>
                      <a:lnTo>
                        <a:pt x="18940" y="924"/>
                      </a:lnTo>
                      <a:lnTo>
                        <a:pt x="18924" y="943"/>
                      </a:lnTo>
                      <a:lnTo>
                        <a:pt x="18973" y="931"/>
                      </a:lnTo>
                      <a:lnTo>
                        <a:pt x="18957" y="924"/>
                      </a:lnTo>
                      <a:lnTo>
                        <a:pt x="18994" y="919"/>
                      </a:lnTo>
                      <a:lnTo>
                        <a:pt x="19006" y="919"/>
                      </a:lnTo>
                      <a:lnTo>
                        <a:pt x="18978" y="907"/>
                      </a:lnTo>
                      <a:lnTo>
                        <a:pt x="19044" y="891"/>
                      </a:lnTo>
                      <a:lnTo>
                        <a:pt x="19032" y="903"/>
                      </a:lnTo>
                      <a:lnTo>
                        <a:pt x="19082" y="903"/>
                      </a:lnTo>
                      <a:lnTo>
                        <a:pt x="19065" y="907"/>
                      </a:lnTo>
                      <a:lnTo>
                        <a:pt x="19098" y="907"/>
                      </a:lnTo>
                      <a:lnTo>
                        <a:pt x="19087" y="919"/>
                      </a:lnTo>
                      <a:lnTo>
                        <a:pt x="19113" y="924"/>
                      </a:lnTo>
                      <a:lnTo>
                        <a:pt x="19103" y="959"/>
                      </a:lnTo>
                      <a:lnTo>
                        <a:pt x="19075" y="964"/>
                      </a:lnTo>
                      <a:lnTo>
                        <a:pt x="19065" y="997"/>
                      </a:lnTo>
                      <a:lnTo>
                        <a:pt x="19103" y="1014"/>
                      </a:lnTo>
                      <a:lnTo>
                        <a:pt x="19141" y="1051"/>
                      </a:lnTo>
                      <a:lnTo>
                        <a:pt x="19136" y="1035"/>
                      </a:lnTo>
                      <a:lnTo>
                        <a:pt x="19113" y="1018"/>
                      </a:lnTo>
                      <a:lnTo>
                        <a:pt x="19120" y="1014"/>
                      </a:lnTo>
                      <a:lnTo>
                        <a:pt x="19075" y="997"/>
                      </a:lnTo>
                      <a:lnTo>
                        <a:pt x="19082" y="964"/>
                      </a:lnTo>
                      <a:lnTo>
                        <a:pt x="19103" y="964"/>
                      </a:lnTo>
                      <a:lnTo>
                        <a:pt x="19120" y="947"/>
                      </a:lnTo>
                      <a:lnTo>
                        <a:pt x="19120" y="919"/>
                      </a:lnTo>
                      <a:lnTo>
                        <a:pt x="19103" y="891"/>
                      </a:lnTo>
                      <a:lnTo>
                        <a:pt x="19061" y="874"/>
                      </a:lnTo>
                      <a:lnTo>
                        <a:pt x="19044" y="865"/>
                      </a:lnTo>
                      <a:lnTo>
                        <a:pt x="19188" y="853"/>
                      </a:lnTo>
                      <a:lnTo>
                        <a:pt x="19280" y="874"/>
                      </a:lnTo>
                      <a:lnTo>
                        <a:pt x="19188" y="848"/>
                      </a:lnTo>
                      <a:lnTo>
                        <a:pt x="19205" y="848"/>
                      </a:lnTo>
                      <a:lnTo>
                        <a:pt x="19212" y="820"/>
                      </a:lnTo>
                      <a:lnTo>
                        <a:pt x="19188" y="799"/>
                      </a:lnTo>
                      <a:lnTo>
                        <a:pt x="19195" y="780"/>
                      </a:lnTo>
                      <a:lnTo>
                        <a:pt x="19212" y="780"/>
                      </a:lnTo>
                      <a:lnTo>
                        <a:pt x="19212" y="763"/>
                      </a:lnTo>
                      <a:lnTo>
                        <a:pt x="19276" y="721"/>
                      </a:lnTo>
                      <a:lnTo>
                        <a:pt x="19292" y="725"/>
                      </a:lnTo>
                      <a:lnTo>
                        <a:pt x="19351" y="681"/>
                      </a:lnTo>
                      <a:lnTo>
                        <a:pt x="19427" y="671"/>
                      </a:lnTo>
                      <a:lnTo>
                        <a:pt x="19439" y="671"/>
                      </a:lnTo>
                      <a:lnTo>
                        <a:pt x="19427" y="681"/>
                      </a:lnTo>
                      <a:lnTo>
                        <a:pt x="19460" y="671"/>
                      </a:lnTo>
                      <a:lnTo>
                        <a:pt x="19476" y="697"/>
                      </a:lnTo>
                      <a:lnTo>
                        <a:pt x="19507" y="697"/>
                      </a:lnTo>
                      <a:lnTo>
                        <a:pt x="19535" y="697"/>
                      </a:lnTo>
                      <a:lnTo>
                        <a:pt x="19552" y="721"/>
                      </a:lnTo>
                      <a:lnTo>
                        <a:pt x="19566" y="725"/>
                      </a:lnTo>
                      <a:lnTo>
                        <a:pt x="19528" y="725"/>
                      </a:lnTo>
                      <a:lnTo>
                        <a:pt x="19514" y="742"/>
                      </a:lnTo>
                      <a:lnTo>
                        <a:pt x="19422" y="763"/>
                      </a:lnTo>
                      <a:lnTo>
                        <a:pt x="19545" y="758"/>
                      </a:lnTo>
                      <a:lnTo>
                        <a:pt x="19535" y="775"/>
                      </a:lnTo>
                      <a:lnTo>
                        <a:pt x="19514" y="780"/>
                      </a:lnTo>
                      <a:lnTo>
                        <a:pt x="19604" y="775"/>
                      </a:lnTo>
                      <a:lnTo>
                        <a:pt x="19654" y="792"/>
                      </a:lnTo>
                      <a:lnTo>
                        <a:pt x="19637" y="799"/>
                      </a:lnTo>
                      <a:lnTo>
                        <a:pt x="19642" y="799"/>
                      </a:lnTo>
                      <a:lnTo>
                        <a:pt x="19590" y="848"/>
                      </a:lnTo>
                      <a:lnTo>
                        <a:pt x="19573" y="848"/>
                      </a:lnTo>
                      <a:lnTo>
                        <a:pt x="19573" y="853"/>
                      </a:lnTo>
                      <a:lnTo>
                        <a:pt x="19687" y="853"/>
                      </a:lnTo>
                      <a:lnTo>
                        <a:pt x="19691" y="836"/>
                      </a:lnTo>
                      <a:lnTo>
                        <a:pt x="19687" y="832"/>
                      </a:lnTo>
                      <a:lnTo>
                        <a:pt x="19687" y="820"/>
                      </a:lnTo>
                      <a:lnTo>
                        <a:pt x="19831" y="832"/>
                      </a:lnTo>
                      <a:lnTo>
                        <a:pt x="19906" y="820"/>
                      </a:lnTo>
                      <a:lnTo>
                        <a:pt x="19982" y="865"/>
                      </a:lnTo>
                      <a:lnTo>
                        <a:pt x="19961" y="874"/>
                      </a:lnTo>
                      <a:lnTo>
                        <a:pt x="19994" y="865"/>
                      </a:lnTo>
                      <a:lnTo>
                        <a:pt x="20020" y="886"/>
                      </a:lnTo>
                      <a:lnTo>
                        <a:pt x="20015" y="903"/>
                      </a:lnTo>
                      <a:lnTo>
                        <a:pt x="20010" y="891"/>
                      </a:lnTo>
                      <a:lnTo>
                        <a:pt x="20031" y="907"/>
                      </a:lnTo>
                      <a:lnTo>
                        <a:pt x="20010" y="924"/>
                      </a:lnTo>
                      <a:lnTo>
                        <a:pt x="20065" y="907"/>
                      </a:lnTo>
                      <a:lnTo>
                        <a:pt x="20036" y="891"/>
                      </a:lnTo>
                      <a:lnTo>
                        <a:pt x="20065" y="891"/>
                      </a:lnTo>
                      <a:lnTo>
                        <a:pt x="20074" y="907"/>
                      </a:lnTo>
                      <a:lnTo>
                        <a:pt x="20074" y="947"/>
                      </a:lnTo>
                      <a:lnTo>
                        <a:pt x="20091" y="943"/>
                      </a:lnTo>
                      <a:lnTo>
                        <a:pt x="20102" y="959"/>
                      </a:lnTo>
                      <a:lnTo>
                        <a:pt x="20091" y="985"/>
                      </a:lnTo>
                      <a:lnTo>
                        <a:pt x="20074" y="997"/>
                      </a:lnTo>
                      <a:lnTo>
                        <a:pt x="20069" y="997"/>
                      </a:lnTo>
                      <a:lnTo>
                        <a:pt x="20086" y="981"/>
                      </a:lnTo>
                      <a:lnTo>
                        <a:pt x="19994" y="959"/>
                      </a:lnTo>
                      <a:lnTo>
                        <a:pt x="20031" y="976"/>
                      </a:lnTo>
                      <a:lnTo>
                        <a:pt x="20031" y="997"/>
                      </a:lnTo>
                      <a:lnTo>
                        <a:pt x="20065" y="981"/>
                      </a:lnTo>
                      <a:lnTo>
                        <a:pt x="20065" y="997"/>
                      </a:lnTo>
                      <a:lnTo>
                        <a:pt x="20086" y="1002"/>
                      </a:lnTo>
                      <a:lnTo>
                        <a:pt x="20091" y="1018"/>
                      </a:lnTo>
                      <a:lnTo>
                        <a:pt x="20074" y="1018"/>
                      </a:lnTo>
                      <a:lnTo>
                        <a:pt x="20086" y="1030"/>
                      </a:lnTo>
                      <a:lnTo>
                        <a:pt x="20031" y="1075"/>
                      </a:lnTo>
                      <a:lnTo>
                        <a:pt x="19977" y="1092"/>
                      </a:lnTo>
                      <a:lnTo>
                        <a:pt x="19956" y="1125"/>
                      </a:lnTo>
                      <a:lnTo>
                        <a:pt x="19930" y="1125"/>
                      </a:lnTo>
                      <a:lnTo>
                        <a:pt x="19902" y="1141"/>
                      </a:lnTo>
                      <a:lnTo>
                        <a:pt x="19854" y="1153"/>
                      </a:lnTo>
                      <a:lnTo>
                        <a:pt x="19859" y="1153"/>
                      </a:lnTo>
                      <a:lnTo>
                        <a:pt x="19847" y="1170"/>
                      </a:lnTo>
                      <a:lnTo>
                        <a:pt x="19800" y="1170"/>
                      </a:lnTo>
                      <a:lnTo>
                        <a:pt x="19831" y="1179"/>
                      </a:lnTo>
                      <a:lnTo>
                        <a:pt x="19821" y="1195"/>
                      </a:lnTo>
                      <a:lnTo>
                        <a:pt x="19767" y="1219"/>
                      </a:lnTo>
                      <a:lnTo>
                        <a:pt x="19708" y="1264"/>
                      </a:lnTo>
                      <a:lnTo>
                        <a:pt x="19628" y="1273"/>
                      </a:lnTo>
                      <a:lnTo>
                        <a:pt x="19628" y="1281"/>
                      </a:lnTo>
                      <a:lnTo>
                        <a:pt x="19604" y="1314"/>
                      </a:lnTo>
                      <a:lnTo>
                        <a:pt x="19552" y="1318"/>
                      </a:lnTo>
                      <a:lnTo>
                        <a:pt x="19535" y="1363"/>
                      </a:lnTo>
                      <a:lnTo>
                        <a:pt x="19498" y="1392"/>
                      </a:lnTo>
                      <a:lnTo>
                        <a:pt x="19566" y="1363"/>
                      </a:lnTo>
                      <a:lnTo>
                        <a:pt x="19561" y="1347"/>
                      </a:lnTo>
                      <a:lnTo>
                        <a:pt x="19573" y="1330"/>
                      </a:lnTo>
                      <a:lnTo>
                        <a:pt x="19604" y="1335"/>
                      </a:lnTo>
                      <a:lnTo>
                        <a:pt x="19713" y="1330"/>
                      </a:lnTo>
                      <a:lnTo>
                        <a:pt x="19708" y="1318"/>
                      </a:lnTo>
                      <a:lnTo>
                        <a:pt x="19779" y="1307"/>
                      </a:lnTo>
                      <a:lnTo>
                        <a:pt x="19779" y="1290"/>
                      </a:lnTo>
                      <a:lnTo>
                        <a:pt x="19793" y="1297"/>
                      </a:lnTo>
                      <a:lnTo>
                        <a:pt x="19779" y="1281"/>
                      </a:lnTo>
                      <a:lnTo>
                        <a:pt x="19817" y="1297"/>
                      </a:lnTo>
                      <a:lnTo>
                        <a:pt x="19892" y="1264"/>
                      </a:lnTo>
                      <a:lnTo>
                        <a:pt x="19892" y="1252"/>
                      </a:lnTo>
                      <a:lnTo>
                        <a:pt x="19876" y="1252"/>
                      </a:lnTo>
                      <a:lnTo>
                        <a:pt x="19817" y="1264"/>
                      </a:lnTo>
                      <a:lnTo>
                        <a:pt x="19800" y="1252"/>
                      </a:lnTo>
                      <a:lnTo>
                        <a:pt x="19821" y="1224"/>
                      </a:lnTo>
                      <a:lnTo>
                        <a:pt x="19847" y="1219"/>
                      </a:lnTo>
                      <a:lnTo>
                        <a:pt x="19902" y="1236"/>
                      </a:lnTo>
                      <a:lnTo>
                        <a:pt x="19906" y="1219"/>
                      </a:lnTo>
                      <a:lnTo>
                        <a:pt x="19939" y="1207"/>
                      </a:lnTo>
                      <a:lnTo>
                        <a:pt x="19913" y="1224"/>
                      </a:lnTo>
                      <a:lnTo>
                        <a:pt x="19930" y="1240"/>
                      </a:lnTo>
                      <a:lnTo>
                        <a:pt x="19982" y="1257"/>
                      </a:lnTo>
                      <a:lnTo>
                        <a:pt x="20031" y="1252"/>
                      </a:lnTo>
                      <a:lnTo>
                        <a:pt x="20036" y="1240"/>
                      </a:lnTo>
                      <a:lnTo>
                        <a:pt x="20031" y="1224"/>
                      </a:lnTo>
                      <a:lnTo>
                        <a:pt x="20069" y="1264"/>
                      </a:lnTo>
                      <a:lnTo>
                        <a:pt x="20053" y="1297"/>
                      </a:lnTo>
                      <a:lnTo>
                        <a:pt x="20074" y="1314"/>
                      </a:lnTo>
                      <a:lnTo>
                        <a:pt x="20074" y="1363"/>
                      </a:lnTo>
                      <a:lnTo>
                        <a:pt x="20048" y="1375"/>
                      </a:lnTo>
                      <a:lnTo>
                        <a:pt x="20053" y="1392"/>
                      </a:lnTo>
                      <a:lnTo>
                        <a:pt x="20119" y="1418"/>
                      </a:lnTo>
                      <a:lnTo>
                        <a:pt x="20069" y="1401"/>
                      </a:lnTo>
                      <a:lnTo>
                        <a:pt x="20053" y="1384"/>
                      </a:lnTo>
                      <a:lnTo>
                        <a:pt x="20074" y="1363"/>
                      </a:lnTo>
                      <a:lnTo>
                        <a:pt x="20074" y="1318"/>
                      </a:lnTo>
                      <a:lnTo>
                        <a:pt x="20119" y="1314"/>
                      </a:lnTo>
                      <a:lnTo>
                        <a:pt x="20091" y="1314"/>
                      </a:lnTo>
                      <a:lnTo>
                        <a:pt x="20074" y="1290"/>
                      </a:lnTo>
                      <a:lnTo>
                        <a:pt x="20216" y="1257"/>
                      </a:lnTo>
                      <a:lnTo>
                        <a:pt x="20443" y="1281"/>
                      </a:lnTo>
                      <a:lnTo>
                        <a:pt x="20464" y="1290"/>
                      </a:lnTo>
                      <a:lnTo>
                        <a:pt x="20426" y="1290"/>
                      </a:lnTo>
                      <a:lnTo>
                        <a:pt x="20414" y="1297"/>
                      </a:lnTo>
                      <a:lnTo>
                        <a:pt x="20414" y="1330"/>
                      </a:lnTo>
                      <a:lnTo>
                        <a:pt x="20502" y="1351"/>
                      </a:lnTo>
                      <a:lnTo>
                        <a:pt x="20518" y="1368"/>
                      </a:lnTo>
                      <a:lnTo>
                        <a:pt x="20572" y="1375"/>
                      </a:lnTo>
                      <a:lnTo>
                        <a:pt x="20518" y="1363"/>
                      </a:lnTo>
                      <a:lnTo>
                        <a:pt x="20662" y="1363"/>
                      </a:lnTo>
                      <a:lnTo>
                        <a:pt x="20766" y="1392"/>
                      </a:lnTo>
                      <a:lnTo>
                        <a:pt x="20792" y="1392"/>
                      </a:lnTo>
                      <a:lnTo>
                        <a:pt x="20863" y="1408"/>
                      </a:lnTo>
                      <a:lnTo>
                        <a:pt x="20965" y="1458"/>
                      </a:lnTo>
                      <a:lnTo>
                        <a:pt x="20981" y="1446"/>
                      </a:lnTo>
                      <a:lnTo>
                        <a:pt x="21035" y="1512"/>
                      </a:lnTo>
                      <a:lnTo>
                        <a:pt x="21026" y="1529"/>
                      </a:lnTo>
                      <a:lnTo>
                        <a:pt x="21040" y="1573"/>
                      </a:lnTo>
                      <a:lnTo>
                        <a:pt x="21040" y="1569"/>
                      </a:lnTo>
                      <a:lnTo>
                        <a:pt x="21035" y="1529"/>
                      </a:lnTo>
                      <a:lnTo>
                        <a:pt x="21047" y="1512"/>
                      </a:lnTo>
                      <a:lnTo>
                        <a:pt x="21019" y="1491"/>
                      </a:lnTo>
                      <a:lnTo>
                        <a:pt x="21019" y="1458"/>
                      </a:lnTo>
                      <a:lnTo>
                        <a:pt x="21002" y="1441"/>
                      </a:lnTo>
                      <a:lnTo>
                        <a:pt x="21073" y="1446"/>
                      </a:lnTo>
                      <a:lnTo>
                        <a:pt x="21111" y="1479"/>
                      </a:lnTo>
                      <a:lnTo>
                        <a:pt x="21144" y="1529"/>
                      </a:lnTo>
                      <a:lnTo>
                        <a:pt x="21170" y="1519"/>
                      </a:lnTo>
                      <a:lnTo>
                        <a:pt x="21165" y="1495"/>
                      </a:lnTo>
                      <a:lnTo>
                        <a:pt x="21203" y="1536"/>
                      </a:lnTo>
                      <a:lnTo>
                        <a:pt x="21154" y="1536"/>
                      </a:lnTo>
                      <a:lnTo>
                        <a:pt x="21149" y="1545"/>
                      </a:lnTo>
                      <a:lnTo>
                        <a:pt x="21149" y="1552"/>
                      </a:lnTo>
                      <a:lnTo>
                        <a:pt x="21170" y="1552"/>
                      </a:lnTo>
                      <a:lnTo>
                        <a:pt x="21187" y="1585"/>
                      </a:lnTo>
                      <a:lnTo>
                        <a:pt x="21208" y="1590"/>
                      </a:lnTo>
                      <a:lnTo>
                        <a:pt x="21208" y="1614"/>
                      </a:lnTo>
                      <a:lnTo>
                        <a:pt x="21236" y="1614"/>
                      </a:lnTo>
                      <a:lnTo>
                        <a:pt x="21253" y="1630"/>
                      </a:lnTo>
                      <a:lnTo>
                        <a:pt x="21241" y="1630"/>
                      </a:lnTo>
                      <a:lnTo>
                        <a:pt x="21274" y="1647"/>
                      </a:lnTo>
                      <a:lnTo>
                        <a:pt x="21291" y="1630"/>
                      </a:lnTo>
                      <a:lnTo>
                        <a:pt x="21295" y="1663"/>
                      </a:lnTo>
                      <a:lnTo>
                        <a:pt x="21312" y="1663"/>
                      </a:lnTo>
                      <a:lnTo>
                        <a:pt x="21342" y="1647"/>
                      </a:lnTo>
                      <a:lnTo>
                        <a:pt x="21366" y="1602"/>
                      </a:lnTo>
                      <a:lnTo>
                        <a:pt x="21387" y="1602"/>
                      </a:lnTo>
                      <a:lnTo>
                        <a:pt x="21371" y="1590"/>
                      </a:lnTo>
                      <a:lnTo>
                        <a:pt x="21387" y="1536"/>
                      </a:lnTo>
                      <a:lnTo>
                        <a:pt x="21425" y="1503"/>
                      </a:lnTo>
                      <a:lnTo>
                        <a:pt x="21425" y="1529"/>
                      </a:lnTo>
                      <a:lnTo>
                        <a:pt x="21489" y="1569"/>
                      </a:lnTo>
                      <a:lnTo>
                        <a:pt x="21543" y="1585"/>
                      </a:lnTo>
                      <a:lnTo>
                        <a:pt x="21640" y="1545"/>
                      </a:lnTo>
                      <a:lnTo>
                        <a:pt x="21758" y="1585"/>
                      </a:lnTo>
                      <a:lnTo>
                        <a:pt x="21749" y="1590"/>
                      </a:lnTo>
                      <a:lnTo>
                        <a:pt x="21765" y="1590"/>
                      </a:lnTo>
                      <a:lnTo>
                        <a:pt x="21782" y="1614"/>
                      </a:lnTo>
                      <a:lnTo>
                        <a:pt x="21796" y="1607"/>
                      </a:lnTo>
                      <a:lnTo>
                        <a:pt x="21775" y="1602"/>
                      </a:lnTo>
                      <a:lnTo>
                        <a:pt x="21813" y="1590"/>
                      </a:lnTo>
                      <a:lnTo>
                        <a:pt x="21791" y="1590"/>
                      </a:lnTo>
                      <a:lnTo>
                        <a:pt x="21813" y="1585"/>
                      </a:lnTo>
                      <a:lnTo>
                        <a:pt x="21782" y="1573"/>
                      </a:lnTo>
                      <a:lnTo>
                        <a:pt x="21796" y="1552"/>
                      </a:lnTo>
                      <a:lnTo>
                        <a:pt x="21829" y="1545"/>
                      </a:lnTo>
                      <a:lnTo>
                        <a:pt x="21820" y="1552"/>
                      </a:lnTo>
                      <a:lnTo>
                        <a:pt x="21829" y="1557"/>
                      </a:lnTo>
                      <a:lnTo>
                        <a:pt x="21846" y="1545"/>
                      </a:lnTo>
                      <a:lnTo>
                        <a:pt x="21867" y="1552"/>
                      </a:lnTo>
                      <a:lnTo>
                        <a:pt x="21872" y="1573"/>
                      </a:lnTo>
                      <a:lnTo>
                        <a:pt x="21883" y="1573"/>
                      </a:lnTo>
                      <a:lnTo>
                        <a:pt x="21900" y="1557"/>
                      </a:lnTo>
                      <a:lnTo>
                        <a:pt x="21926" y="1569"/>
                      </a:lnTo>
                      <a:lnTo>
                        <a:pt x="21909" y="1536"/>
                      </a:lnTo>
                      <a:lnTo>
                        <a:pt x="21909" y="1512"/>
                      </a:lnTo>
                      <a:lnTo>
                        <a:pt x="21888" y="1503"/>
                      </a:lnTo>
                      <a:lnTo>
                        <a:pt x="21905" y="1503"/>
                      </a:lnTo>
                      <a:lnTo>
                        <a:pt x="21926" y="1474"/>
                      </a:lnTo>
                      <a:lnTo>
                        <a:pt x="21938" y="1479"/>
                      </a:lnTo>
                      <a:lnTo>
                        <a:pt x="21954" y="1462"/>
                      </a:lnTo>
                      <a:lnTo>
                        <a:pt x="21905" y="1462"/>
                      </a:lnTo>
                      <a:lnTo>
                        <a:pt x="21888" y="1479"/>
                      </a:lnTo>
                      <a:lnTo>
                        <a:pt x="21867" y="1462"/>
                      </a:lnTo>
                      <a:lnTo>
                        <a:pt x="21905" y="1425"/>
                      </a:lnTo>
                      <a:lnTo>
                        <a:pt x="21976" y="1425"/>
                      </a:lnTo>
                      <a:lnTo>
                        <a:pt x="22009" y="1418"/>
                      </a:lnTo>
                      <a:lnTo>
                        <a:pt x="22009" y="1401"/>
                      </a:lnTo>
                      <a:lnTo>
                        <a:pt x="21976" y="1375"/>
                      </a:lnTo>
                      <a:lnTo>
                        <a:pt x="21992" y="1375"/>
                      </a:lnTo>
                      <a:lnTo>
                        <a:pt x="22072" y="1392"/>
                      </a:lnTo>
                      <a:lnTo>
                        <a:pt x="22316" y="1425"/>
                      </a:lnTo>
                      <a:lnTo>
                        <a:pt x="22413" y="1446"/>
                      </a:lnTo>
                      <a:lnTo>
                        <a:pt x="22316" y="1446"/>
                      </a:lnTo>
                      <a:lnTo>
                        <a:pt x="22283" y="1429"/>
                      </a:lnTo>
                      <a:lnTo>
                        <a:pt x="22266" y="1441"/>
                      </a:lnTo>
                      <a:lnTo>
                        <a:pt x="22250" y="1462"/>
                      </a:lnTo>
                      <a:lnTo>
                        <a:pt x="22224" y="1458"/>
                      </a:lnTo>
                      <a:lnTo>
                        <a:pt x="22245" y="1474"/>
                      </a:lnTo>
                      <a:lnTo>
                        <a:pt x="22424" y="1458"/>
                      </a:lnTo>
                      <a:lnTo>
                        <a:pt x="22354" y="1512"/>
                      </a:lnTo>
                      <a:lnTo>
                        <a:pt x="22354" y="1491"/>
                      </a:lnTo>
                      <a:lnTo>
                        <a:pt x="22375" y="1479"/>
                      </a:lnTo>
                      <a:lnTo>
                        <a:pt x="22358" y="1474"/>
                      </a:lnTo>
                      <a:lnTo>
                        <a:pt x="22354" y="1491"/>
                      </a:lnTo>
                      <a:lnTo>
                        <a:pt x="22342" y="1462"/>
                      </a:lnTo>
                      <a:lnTo>
                        <a:pt x="22332" y="1462"/>
                      </a:lnTo>
                      <a:lnTo>
                        <a:pt x="22337" y="1462"/>
                      </a:lnTo>
                      <a:lnTo>
                        <a:pt x="22332" y="1491"/>
                      </a:lnTo>
                      <a:lnTo>
                        <a:pt x="22337" y="1491"/>
                      </a:lnTo>
                      <a:lnTo>
                        <a:pt x="22342" y="1503"/>
                      </a:lnTo>
                      <a:lnTo>
                        <a:pt x="22304" y="1512"/>
                      </a:lnTo>
                      <a:lnTo>
                        <a:pt x="22283" y="1503"/>
                      </a:lnTo>
                      <a:lnTo>
                        <a:pt x="22299" y="1519"/>
                      </a:lnTo>
                      <a:lnTo>
                        <a:pt x="22278" y="1529"/>
                      </a:lnTo>
                      <a:lnTo>
                        <a:pt x="22278" y="1536"/>
                      </a:lnTo>
                      <a:lnTo>
                        <a:pt x="22304" y="1545"/>
                      </a:lnTo>
                      <a:lnTo>
                        <a:pt x="22358" y="1519"/>
                      </a:lnTo>
                      <a:lnTo>
                        <a:pt x="22439" y="1446"/>
                      </a:lnTo>
                      <a:lnTo>
                        <a:pt x="22576" y="1462"/>
                      </a:lnTo>
                      <a:lnTo>
                        <a:pt x="22613" y="1479"/>
                      </a:lnTo>
                      <a:lnTo>
                        <a:pt x="22639" y="1512"/>
                      </a:lnTo>
                      <a:lnTo>
                        <a:pt x="22613" y="1529"/>
                      </a:lnTo>
                      <a:lnTo>
                        <a:pt x="22590" y="1503"/>
                      </a:lnTo>
                      <a:lnTo>
                        <a:pt x="22576" y="1529"/>
                      </a:lnTo>
                      <a:lnTo>
                        <a:pt x="22552" y="1519"/>
                      </a:lnTo>
                      <a:lnTo>
                        <a:pt x="22568" y="1529"/>
                      </a:lnTo>
                      <a:lnTo>
                        <a:pt x="22552" y="1536"/>
                      </a:lnTo>
                      <a:lnTo>
                        <a:pt x="22644" y="1552"/>
                      </a:lnTo>
                      <a:lnTo>
                        <a:pt x="22628" y="1552"/>
                      </a:lnTo>
                      <a:lnTo>
                        <a:pt x="22623" y="1569"/>
                      </a:lnTo>
                      <a:lnTo>
                        <a:pt x="22682" y="1557"/>
                      </a:lnTo>
                      <a:lnTo>
                        <a:pt x="22665" y="1585"/>
                      </a:lnTo>
                      <a:lnTo>
                        <a:pt x="22639" y="1602"/>
                      </a:lnTo>
                      <a:lnTo>
                        <a:pt x="22682" y="1573"/>
                      </a:lnTo>
                      <a:lnTo>
                        <a:pt x="22677" y="1590"/>
                      </a:lnTo>
                      <a:lnTo>
                        <a:pt x="22710" y="1573"/>
                      </a:lnTo>
                      <a:lnTo>
                        <a:pt x="22736" y="1585"/>
                      </a:lnTo>
                      <a:lnTo>
                        <a:pt x="22786" y="1630"/>
                      </a:lnTo>
                      <a:lnTo>
                        <a:pt x="22753" y="1630"/>
                      </a:lnTo>
                      <a:lnTo>
                        <a:pt x="22816" y="1647"/>
                      </a:lnTo>
                      <a:lnTo>
                        <a:pt x="22892" y="1647"/>
                      </a:lnTo>
                      <a:lnTo>
                        <a:pt x="23055" y="1614"/>
                      </a:lnTo>
                      <a:lnTo>
                        <a:pt x="23194" y="1623"/>
                      </a:lnTo>
                      <a:lnTo>
                        <a:pt x="23270" y="1647"/>
                      </a:lnTo>
                      <a:lnTo>
                        <a:pt x="23320" y="1668"/>
                      </a:lnTo>
                      <a:lnTo>
                        <a:pt x="23341" y="1701"/>
                      </a:lnTo>
                      <a:lnTo>
                        <a:pt x="23341" y="1722"/>
                      </a:lnTo>
                      <a:lnTo>
                        <a:pt x="23331" y="1739"/>
                      </a:lnTo>
                      <a:lnTo>
                        <a:pt x="23324" y="1739"/>
                      </a:lnTo>
                      <a:lnTo>
                        <a:pt x="23324" y="1751"/>
                      </a:lnTo>
                      <a:lnTo>
                        <a:pt x="23320" y="1774"/>
                      </a:lnTo>
                      <a:lnTo>
                        <a:pt x="23320" y="1779"/>
                      </a:lnTo>
                      <a:lnTo>
                        <a:pt x="23412" y="1812"/>
                      </a:lnTo>
                      <a:lnTo>
                        <a:pt x="23400" y="1829"/>
                      </a:lnTo>
                      <a:lnTo>
                        <a:pt x="23412" y="1862"/>
                      </a:lnTo>
                      <a:lnTo>
                        <a:pt x="23400" y="1878"/>
                      </a:lnTo>
                      <a:lnTo>
                        <a:pt x="23433" y="1885"/>
                      </a:lnTo>
                      <a:lnTo>
                        <a:pt x="23412" y="1940"/>
                      </a:lnTo>
                      <a:lnTo>
                        <a:pt x="23383" y="1940"/>
                      </a:lnTo>
                      <a:lnTo>
                        <a:pt x="23395" y="1944"/>
                      </a:lnTo>
                      <a:lnTo>
                        <a:pt x="23416" y="1940"/>
                      </a:lnTo>
                      <a:lnTo>
                        <a:pt x="23433" y="1906"/>
                      </a:lnTo>
                      <a:lnTo>
                        <a:pt x="23450" y="1890"/>
                      </a:lnTo>
                      <a:lnTo>
                        <a:pt x="23438" y="1862"/>
                      </a:lnTo>
                      <a:lnTo>
                        <a:pt x="23438" y="1833"/>
                      </a:lnTo>
                      <a:lnTo>
                        <a:pt x="23504" y="1807"/>
                      </a:lnTo>
                      <a:lnTo>
                        <a:pt x="23589" y="1795"/>
                      </a:lnTo>
                      <a:lnTo>
                        <a:pt x="23617" y="1791"/>
                      </a:lnTo>
                      <a:lnTo>
                        <a:pt x="23655" y="1807"/>
                      </a:lnTo>
                      <a:lnTo>
                        <a:pt x="23816" y="1824"/>
                      </a:lnTo>
                      <a:lnTo>
                        <a:pt x="23882" y="1791"/>
                      </a:lnTo>
                      <a:lnTo>
                        <a:pt x="23920" y="1812"/>
                      </a:lnTo>
                      <a:lnTo>
                        <a:pt x="23913" y="1833"/>
                      </a:lnTo>
                      <a:lnTo>
                        <a:pt x="23920" y="1850"/>
                      </a:lnTo>
                      <a:lnTo>
                        <a:pt x="23995" y="1878"/>
                      </a:lnTo>
                      <a:lnTo>
                        <a:pt x="24005" y="1906"/>
                      </a:lnTo>
                      <a:lnTo>
                        <a:pt x="24012" y="1918"/>
                      </a:lnTo>
                      <a:lnTo>
                        <a:pt x="24064" y="1906"/>
                      </a:lnTo>
                      <a:lnTo>
                        <a:pt x="24080" y="1918"/>
                      </a:lnTo>
                      <a:lnTo>
                        <a:pt x="24064" y="1906"/>
                      </a:lnTo>
                      <a:lnTo>
                        <a:pt x="24080" y="1902"/>
                      </a:lnTo>
                      <a:lnTo>
                        <a:pt x="24087" y="1906"/>
                      </a:lnTo>
                      <a:lnTo>
                        <a:pt x="24087" y="1890"/>
                      </a:lnTo>
                      <a:lnTo>
                        <a:pt x="24113" y="1878"/>
                      </a:lnTo>
                      <a:lnTo>
                        <a:pt x="24102" y="1845"/>
                      </a:lnTo>
                      <a:lnTo>
                        <a:pt x="24080" y="1812"/>
                      </a:lnTo>
                      <a:lnTo>
                        <a:pt x="24050" y="1807"/>
                      </a:lnTo>
                      <a:lnTo>
                        <a:pt x="24059" y="1791"/>
                      </a:lnTo>
                      <a:lnTo>
                        <a:pt x="24080" y="1791"/>
                      </a:lnTo>
                      <a:lnTo>
                        <a:pt x="24080" y="1751"/>
                      </a:lnTo>
                      <a:lnTo>
                        <a:pt x="24064" y="1739"/>
                      </a:lnTo>
                      <a:lnTo>
                        <a:pt x="24076" y="1739"/>
                      </a:lnTo>
                      <a:lnTo>
                        <a:pt x="24227" y="1767"/>
                      </a:lnTo>
                      <a:lnTo>
                        <a:pt x="24260" y="1774"/>
                      </a:lnTo>
                      <a:lnTo>
                        <a:pt x="24264" y="1791"/>
                      </a:lnTo>
                      <a:lnTo>
                        <a:pt x="24281" y="1779"/>
                      </a:lnTo>
                      <a:lnTo>
                        <a:pt x="24260" y="1767"/>
                      </a:lnTo>
                      <a:lnTo>
                        <a:pt x="24281" y="1767"/>
                      </a:lnTo>
                      <a:lnTo>
                        <a:pt x="24314" y="1779"/>
                      </a:lnTo>
                      <a:lnTo>
                        <a:pt x="24465" y="1774"/>
                      </a:lnTo>
                      <a:lnTo>
                        <a:pt x="24513" y="1795"/>
                      </a:lnTo>
                      <a:lnTo>
                        <a:pt x="24654" y="1833"/>
                      </a:lnTo>
                      <a:lnTo>
                        <a:pt x="24676" y="1845"/>
                      </a:lnTo>
                      <a:lnTo>
                        <a:pt x="24654" y="1833"/>
                      </a:lnTo>
                      <a:lnTo>
                        <a:pt x="24642" y="1845"/>
                      </a:lnTo>
                      <a:lnTo>
                        <a:pt x="24692" y="1850"/>
                      </a:lnTo>
                      <a:lnTo>
                        <a:pt x="24735" y="1885"/>
                      </a:lnTo>
                      <a:lnTo>
                        <a:pt x="24706" y="1866"/>
                      </a:lnTo>
                      <a:lnTo>
                        <a:pt x="24723" y="1885"/>
                      </a:lnTo>
                      <a:lnTo>
                        <a:pt x="24735" y="1885"/>
                      </a:lnTo>
                      <a:lnTo>
                        <a:pt x="24735" y="1944"/>
                      </a:lnTo>
                      <a:lnTo>
                        <a:pt x="24735" y="2013"/>
                      </a:lnTo>
                      <a:lnTo>
                        <a:pt x="24735" y="2067"/>
                      </a:lnTo>
                      <a:lnTo>
                        <a:pt x="24735" y="2129"/>
                      </a:lnTo>
                      <a:lnTo>
                        <a:pt x="24735" y="2183"/>
                      </a:lnTo>
                      <a:lnTo>
                        <a:pt x="24735" y="2249"/>
                      </a:lnTo>
                      <a:lnTo>
                        <a:pt x="24735" y="2306"/>
                      </a:lnTo>
                      <a:lnTo>
                        <a:pt x="24735" y="2360"/>
                      </a:lnTo>
                      <a:lnTo>
                        <a:pt x="24735" y="2360"/>
                      </a:lnTo>
                      <a:lnTo>
                        <a:pt x="24735" y="2360"/>
                      </a:lnTo>
                      <a:close/>
                      <a:moveTo>
                        <a:pt x="24735" y="1557"/>
                      </a:moveTo>
                      <a:lnTo>
                        <a:pt x="24739" y="1552"/>
                      </a:lnTo>
                      <a:lnTo>
                        <a:pt x="24836" y="1552"/>
                      </a:lnTo>
                      <a:lnTo>
                        <a:pt x="24912" y="1602"/>
                      </a:lnTo>
                      <a:lnTo>
                        <a:pt x="24874" y="1623"/>
                      </a:lnTo>
                      <a:lnTo>
                        <a:pt x="24782" y="1640"/>
                      </a:lnTo>
                      <a:lnTo>
                        <a:pt x="24735" y="1630"/>
                      </a:lnTo>
                      <a:lnTo>
                        <a:pt x="24735" y="1590"/>
                      </a:lnTo>
                      <a:lnTo>
                        <a:pt x="24735" y="1557"/>
                      </a:lnTo>
                      <a:lnTo>
                        <a:pt x="24735" y="1557"/>
                      </a:lnTo>
                      <a:lnTo>
                        <a:pt x="24735" y="1557"/>
                      </a:lnTo>
                      <a:close/>
                      <a:moveTo>
                        <a:pt x="24735" y="1630"/>
                      </a:moveTo>
                      <a:lnTo>
                        <a:pt x="24654" y="1656"/>
                      </a:lnTo>
                      <a:lnTo>
                        <a:pt x="24642" y="1623"/>
                      </a:lnTo>
                      <a:lnTo>
                        <a:pt x="24659" y="1602"/>
                      </a:lnTo>
                      <a:lnTo>
                        <a:pt x="24735" y="1557"/>
                      </a:lnTo>
                      <a:lnTo>
                        <a:pt x="24735" y="1590"/>
                      </a:lnTo>
                      <a:lnTo>
                        <a:pt x="24735" y="1630"/>
                      </a:lnTo>
                      <a:lnTo>
                        <a:pt x="24735" y="1630"/>
                      </a:lnTo>
                      <a:lnTo>
                        <a:pt x="24735" y="1630"/>
                      </a:lnTo>
                      <a:close/>
                      <a:moveTo>
                        <a:pt x="24735" y="1885"/>
                      </a:moveTo>
                      <a:lnTo>
                        <a:pt x="24756" y="1902"/>
                      </a:lnTo>
                      <a:lnTo>
                        <a:pt x="24768" y="1890"/>
                      </a:lnTo>
                      <a:lnTo>
                        <a:pt x="24772" y="1906"/>
                      </a:lnTo>
                      <a:lnTo>
                        <a:pt x="24805" y="1918"/>
                      </a:lnTo>
                      <a:lnTo>
                        <a:pt x="24836" y="1940"/>
                      </a:lnTo>
                      <a:lnTo>
                        <a:pt x="24820" y="1935"/>
                      </a:lnTo>
                      <a:lnTo>
                        <a:pt x="24820" y="1940"/>
                      </a:lnTo>
                      <a:lnTo>
                        <a:pt x="24864" y="1956"/>
                      </a:lnTo>
                      <a:lnTo>
                        <a:pt x="24874" y="1973"/>
                      </a:lnTo>
                      <a:lnTo>
                        <a:pt x="24890" y="1973"/>
                      </a:lnTo>
                      <a:lnTo>
                        <a:pt x="24843" y="1940"/>
                      </a:lnTo>
                      <a:lnTo>
                        <a:pt x="24895" y="1973"/>
                      </a:lnTo>
                      <a:lnTo>
                        <a:pt x="24890" y="1977"/>
                      </a:lnTo>
                      <a:lnTo>
                        <a:pt x="24895" y="1977"/>
                      </a:lnTo>
                      <a:lnTo>
                        <a:pt x="24919" y="1977"/>
                      </a:lnTo>
                      <a:lnTo>
                        <a:pt x="24928" y="1994"/>
                      </a:lnTo>
                      <a:lnTo>
                        <a:pt x="25053" y="2046"/>
                      </a:lnTo>
                      <a:lnTo>
                        <a:pt x="25063" y="2072"/>
                      </a:lnTo>
                      <a:lnTo>
                        <a:pt x="25058" y="2088"/>
                      </a:lnTo>
                      <a:lnTo>
                        <a:pt x="25075" y="2088"/>
                      </a:lnTo>
                      <a:lnTo>
                        <a:pt x="25079" y="2084"/>
                      </a:lnTo>
                      <a:lnTo>
                        <a:pt x="25096" y="2084"/>
                      </a:lnTo>
                      <a:lnTo>
                        <a:pt x="25096" y="2100"/>
                      </a:lnTo>
                      <a:lnTo>
                        <a:pt x="25091" y="2100"/>
                      </a:lnTo>
                      <a:lnTo>
                        <a:pt x="25079" y="2121"/>
                      </a:lnTo>
                      <a:lnTo>
                        <a:pt x="25096" y="2162"/>
                      </a:lnTo>
                      <a:lnTo>
                        <a:pt x="25079" y="2166"/>
                      </a:lnTo>
                      <a:lnTo>
                        <a:pt x="25117" y="2183"/>
                      </a:lnTo>
                      <a:lnTo>
                        <a:pt x="25117" y="2216"/>
                      </a:lnTo>
                      <a:lnTo>
                        <a:pt x="25150" y="2195"/>
                      </a:lnTo>
                      <a:lnTo>
                        <a:pt x="25146" y="2223"/>
                      </a:lnTo>
                      <a:lnTo>
                        <a:pt x="25150" y="2223"/>
                      </a:lnTo>
                      <a:lnTo>
                        <a:pt x="25167" y="2199"/>
                      </a:lnTo>
                      <a:lnTo>
                        <a:pt x="25129" y="2183"/>
                      </a:lnTo>
                      <a:lnTo>
                        <a:pt x="25150" y="2166"/>
                      </a:lnTo>
                      <a:lnTo>
                        <a:pt x="25146" y="2138"/>
                      </a:lnTo>
                      <a:lnTo>
                        <a:pt x="25108" y="2121"/>
                      </a:lnTo>
                      <a:lnTo>
                        <a:pt x="25172" y="2112"/>
                      </a:lnTo>
                      <a:lnTo>
                        <a:pt x="25214" y="2121"/>
                      </a:lnTo>
                      <a:lnTo>
                        <a:pt x="25198" y="2138"/>
                      </a:lnTo>
                      <a:lnTo>
                        <a:pt x="25198" y="2157"/>
                      </a:lnTo>
                      <a:lnTo>
                        <a:pt x="25214" y="2157"/>
                      </a:lnTo>
                      <a:lnTo>
                        <a:pt x="25205" y="2138"/>
                      </a:lnTo>
                      <a:lnTo>
                        <a:pt x="25214" y="2129"/>
                      </a:lnTo>
                      <a:lnTo>
                        <a:pt x="25235" y="2145"/>
                      </a:lnTo>
                      <a:lnTo>
                        <a:pt x="25259" y="2138"/>
                      </a:lnTo>
                      <a:lnTo>
                        <a:pt x="25221" y="2121"/>
                      </a:lnTo>
                      <a:lnTo>
                        <a:pt x="25311" y="2138"/>
                      </a:lnTo>
                      <a:lnTo>
                        <a:pt x="25311" y="2157"/>
                      </a:lnTo>
                      <a:lnTo>
                        <a:pt x="25335" y="2162"/>
                      </a:lnTo>
                      <a:lnTo>
                        <a:pt x="25335" y="2178"/>
                      </a:lnTo>
                      <a:lnTo>
                        <a:pt x="25398" y="2216"/>
                      </a:lnTo>
                      <a:lnTo>
                        <a:pt x="25387" y="2223"/>
                      </a:lnTo>
                      <a:lnTo>
                        <a:pt x="25403" y="2216"/>
                      </a:lnTo>
                      <a:lnTo>
                        <a:pt x="25420" y="2223"/>
                      </a:lnTo>
                      <a:lnTo>
                        <a:pt x="25415" y="2232"/>
                      </a:lnTo>
                      <a:lnTo>
                        <a:pt x="25441" y="2232"/>
                      </a:lnTo>
                      <a:lnTo>
                        <a:pt x="25453" y="2249"/>
                      </a:lnTo>
                      <a:lnTo>
                        <a:pt x="25453" y="2256"/>
                      </a:lnTo>
                      <a:lnTo>
                        <a:pt x="25420" y="2249"/>
                      </a:lnTo>
                      <a:lnTo>
                        <a:pt x="25387" y="2273"/>
                      </a:lnTo>
                      <a:lnTo>
                        <a:pt x="25398" y="2273"/>
                      </a:lnTo>
                      <a:lnTo>
                        <a:pt x="25398" y="2289"/>
                      </a:lnTo>
                      <a:lnTo>
                        <a:pt x="25387" y="2294"/>
                      </a:lnTo>
                      <a:lnTo>
                        <a:pt x="25323" y="2273"/>
                      </a:lnTo>
                      <a:lnTo>
                        <a:pt x="25361" y="2306"/>
                      </a:lnTo>
                      <a:lnTo>
                        <a:pt x="25349" y="2310"/>
                      </a:lnTo>
                      <a:lnTo>
                        <a:pt x="25335" y="2306"/>
                      </a:lnTo>
                      <a:lnTo>
                        <a:pt x="25290" y="2310"/>
                      </a:lnTo>
                      <a:lnTo>
                        <a:pt x="25306" y="2310"/>
                      </a:lnTo>
                      <a:lnTo>
                        <a:pt x="25273" y="2306"/>
                      </a:lnTo>
                      <a:lnTo>
                        <a:pt x="25268" y="2294"/>
                      </a:lnTo>
                      <a:lnTo>
                        <a:pt x="25235" y="2289"/>
                      </a:lnTo>
                      <a:lnTo>
                        <a:pt x="25259" y="2306"/>
                      </a:lnTo>
                      <a:lnTo>
                        <a:pt x="25268" y="2322"/>
                      </a:lnTo>
                      <a:lnTo>
                        <a:pt x="25280" y="2322"/>
                      </a:lnTo>
                      <a:lnTo>
                        <a:pt x="25273" y="2343"/>
                      </a:lnTo>
                      <a:lnTo>
                        <a:pt x="25242" y="2343"/>
                      </a:lnTo>
                      <a:lnTo>
                        <a:pt x="25273" y="2343"/>
                      </a:lnTo>
                      <a:lnTo>
                        <a:pt x="25280" y="2360"/>
                      </a:lnTo>
                      <a:lnTo>
                        <a:pt x="25259" y="2384"/>
                      </a:lnTo>
                      <a:lnTo>
                        <a:pt x="25205" y="2400"/>
                      </a:lnTo>
                      <a:lnTo>
                        <a:pt x="25226" y="2388"/>
                      </a:lnTo>
                      <a:lnTo>
                        <a:pt x="25235" y="2400"/>
                      </a:lnTo>
                      <a:lnTo>
                        <a:pt x="25214" y="2405"/>
                      </a:lnTo>
                      <a:lnTo>
                        <a:pt x="25259" y="2421"/>
                      </a:lnTo>
                      <a:lnTo>
                        <a:pt x="25268" y="2433"/>
                      </a:lnTo>
                      <a:lnTo>
                        <a:pt x="25252" y="2438"/>
                      </a:lnTo>
                      <a:lnTo>
                        <a:pt x="25235" y="2421"/>
                      </a:lnTo>
                      <a:lnTo>
                        <a:pt x="25221" y="2433"/>
                      </a:lnTo>
                      <a:lnTo>
                        <a:pt x="25226" y="2438"/>
                      </a:lnTo>
                      <a:lnTo>
                        <a:pt x="25226" y="2445"/>
                      </a:lnTo>
                      <a:lnTo>
                        <a:pt x="25205" y="2455"/>
                      </a:lnTo>
                      <a:lnTo>
                        <a:pt x="25188" y="2445"/>
                      </a:lnTo>
                      <a:lnTo>
                        <a:pt x="25205" y="2433"/>
                      </a:lnTo>
                      <a:lnTo>
                        <a:pt x="25188" y="2417"/>
                      </a:lnTo>
                      <a:lnTo>
                        <a:pt x="25198" y="2433"/>
                      </a:lnTo>
                      <a:lnTo>
                        <a:pt x="25172" y="2445"/>
                      </a:lnTo>
                      <a:lnTo>
                        <a:pt x="25150" y="2438"/>
                      </a:lnTo>
                      <a:lnTo>
                        <a:pt x="25146" y="2421"/>
                      </a:lnTo>
                      <a:lnTo>
                        <a:pt x="25091" y="2400"/>
                      </a:lnTo>
                      <a:lnTo>
                        <a:pt x="25053" y="2400"/>
                      </a:lnTo>
                      <a:lnTo>
                        <a:pt x="25053" y="2388"/>
                      </a:lnTo>
                      <a:lnTo>
                        <a:pt x="25020" y="2367"/>
                      </a:lnTo>
                      <a:lnTo>
                        <a:pt x="25025" y="2351"/>
                      </a:lnTo>
                      <a:lnTo>
                        <a:pt x="25020" y="2327"/>
                      </a:lnTo>
                      <a:lnTo>
                        <a:pt x="25004" y="2310"/>
                      </a:lnTo>
                      <a:lnTo>
                        <a:pt x="24933" y="2294"/>
                      </a:lnTo>
                      <a:lnTo>
                        <a:pt x="24902" y="2310"/>
                      </a:lnTo>
                      <a:lnTo>
                        <a:pt x="24836" y="2310"/>
                      </a:lnTo>
                      <a:lnTo>
                        <a:pt x="24843" y="2289"/>
                      </a:lnTo>
                      <a:lnTo>
                        <a:pt x="24827" y="2277"/>
                      </a:lnTo>
                      <a:lnTo>
                        <a:pt x="24810" y="2256"/>
                      </a:lnTo>
                      <a:lnTo>
                        <a:pt x="24820" y="2249"/>
                      </a:lnTo>
                      <a:lnTo>
                        <a:pt x="24836" y="2232"/>
                      </a:lnTo>
                      <a:lnTo>
                        <a:pt x="24836" y="2199"/>
                      </a:lnTo>
                      <a:lnTo>
                        <a:pt x="24810" y="2232"/>
                      </a:lnTo>
                      <a:lnTo>
                        <a:pt x="24794" y="2232"/>
                      </a:lnTo>
                      <a:lnTo>
                        <a:pt x="24789" y="2199"/>
                      </a:lnTo>
                      <a:lnTo>
                        <a:pt x="24789" y="2216"/>
                      </a:lnTo>
                      <a:lnTo>
                        <a:pt x="24772" y="2211"/>
                      </a:lnTo>
                      <a:lnTo>
                        <a:pt x="24789" y="2232"/>
                      </a:lnTo>
                      <a:lnTo>
                        <a:pt x="24782" y="2232"/>
                      </a:lnTo>
                      <a:lnTo>
                        <a:pt x="24756" y="2240"/>
                      </a:lnTo>
                      <a:lnTo>
                        <a:pt x="24751" y="2232"/>
                      </a:lnTo>
                      <a:lnTo>
                        <a:pt x="24756" y="2232"/>
                      </a:lnTo>
                      <a:lnTo>
                        <a:pt x="24751" y="2232"/>
                      </a:lnTo>
                      <a:lnTo>
                        <a:pt x="24739" y="2266"/>
                      </a:lnTo>
                      <a:lnTo>
                        <a:pt x="24782" y="2294"/>
                      </a:lnTo>
                      <a:lnTo>
                        <a:pt x="24782" y="2306"/>
                      </a:lnTo>
                      <a:lnTo>
                        <a:pt x="24768" y="2322"/>
                      </a:lnTo>
                      <a:lnTo>
                        <a:pt x="24768" y="2343"/>
                      </a:lnTo>
                      <a:lnTo>
                        <a:pt x="24751" y="2351"/>
                      </a:lnTo>
                      <a:lnTo>
                        <a:pt x="24735" y="2360"/>
                      </a:lnTo>
                      <a:lnTo>
                        <a:pt x="24735" y="2306"/>
                      </a:lnTo>
                      <a:lnTo>
                        <a:pt x="24735" y="2249"/>
                      </a:lnTo>
                      <a:lnTo>
                        <a:pt x="24735" y="2183"/>
                      </a:lnTo>
                      <a:lnTo>
                        <a:pt x="24735" y="2129"/>
                      </a:lnTo>
                      <a:lnTo>
                        <a:pt x="24735" y="2067"/>
                      </a:lnTo>
                      <a:lnTo>
                        <a:pt x="24735" y="2013"/>
                      </a:lnTo>
                      <a:lnTo>
                        <a:pt x="24735" y="1944"/>
                      </a:lnTo>
                      <a:lnTo>
                        <a:pt x="24735" y="1885"/>
                      </a:lnTo>
                      <a:lnTo>
                        <a:pt x="24735" y="1885"/>
                      </a:lnTo>
                      <a:lnTo>
                        <a:pt x="24735" y="1885"/>
                      </a:lnTo>
                      <a:close/>
                      <a:moveTo>
                        <a:pt x="16188" y="22"/>
                      </a:moveTo>
                      <a:lnTo>
                        <a:pt x="16172" y="22"/>
                      </a:lnTo>
                      <a:lnTo>
                        <a:pt x="16188" y="5"/>
                      </a:lnTo>
                      <a:lnTo>
                        <a:pt x="16278" y="0"/>
                      </a:lnTo>
                      <a:lnTo>
                        <a:pt x="16264" y="17"/>
                      </a:lnTo>
                      <a:lnTo>
                        <a:pt x="16188" y="22"/>
                      </a:lnTo>
                      <a:lnTo>
                        <a:pt x="16188" y="22"/>
                      </a:lnTo>
                      <a:lnTo>
                        <a:pt x="16188" y="22"/>
                      </a:lnTo>
                      <a:close/>
                      <a:moveTo>
                        <a:pt x="16474" y="22"/>
                      </a:moveTo>
                      <a:lnTo>
                        <a:pt x="16550" y="22"/>
                      </a:lnTo>
                      <a:lnTo>
                        <a:pt x="16592" y="33"/>
                      </a:lnTo>
                      <a:lnTo>
                        <a:pt x="16566" y="43"/>
                      </a:lnTo>
                      <a:lnTo>
                        <a:pt x="16474" y="33"/>
                      </a:lnTo>
                      <a:lnTo>
                        <a:pt x="16474" y="22"/>
                      </a:lnTo>
                      <a:lnTo>
                        <a:pt x="16474" y="22"/>
                      </a:lnTo>
                      <a:lnTo>
                        <a:pt x="16474" y="22"/>
                      </a:lnTo>
                      <a:close/>
                      <a:moveTo>
                        <a:pt x="16202" y="38"/>
                      </a:moveTo>
                      <a:lnTo>
                        <a:pt x="16235" y="38"/>
                      </a:lnTo>
                      <a:lnTo>
                        <a:pt x="16198" y="43"/>
                      </a:lnTo>
                      <a:lnTo>
                        <a:pt x="16202" y="38"/>
                      </a:lnTo>
                      <a:lnTo>
                        <a:pt x="16202" y="38"/>
                      </a:lnTo>
                      <a:lnTo>
                        <a:pt x="16202" y="38"/>
                      </a:lnTo>
                      <a:close/>
                      <a:moveTo>
                        <a:pt x="16453" y="38"/>
                      </a:moveTo>
                      <a:lnTo>
                        <a:pt x="16474" y="43"/>
                      </a:lnTo>
                      <a:lnTo>
                        <a:pt x="16441" y="38"/>
                      </a:lnTo>
                      <a:lnTo>
                        <a:pt x="16453" y="38"/>
                      </a:lnTo>
                      <a:lnTo>
                        <a:pt x="16453" y="38"/>
                      </a:lnTo>
                      <a:lnTo>
                        <a:pt x="16453" y="38"/>
                      </a:lnTo>
                      <a:close/>
                      <a:moveTo>
                        <a:pt x="16188" y="76"/>
                      </a:moveTo>
                      <a:lnTo>
                        <a:pt x="16096" y="59"/>
                      </a:lnTo>
                      <a:lnTo>
                        <a:pt x="16165" y="43"/>
                      </a:lnTo>
                      <a:lnTo>
                        <a:pt x="16219" y="71"/>
                      </a:lnTo>
                      <a:lnTo>
                        <a:pt x="16188" y="76"/>
                      </a:lnTo>
                      <a:lnTo>
                        <a:pt x="16188" y="76"/>
                      </a:lnTo>
                      <a:lnTo>
                        <a:pt x="16188" y="76"/>
                      </a:lnTo>
                      <a:close/>
                      <a:moveTo>
                        <a:pt x="16209" y="88"/>
                      </a:moveTo>
                      <a:lnTo>
                        <a:pt x="16252" y="71"/>
                      </a:lnTo>
                      <a:lnTo>
                        <a:pt x="16278" y="88"/>
                      </a:lnTo>
                      <a:lnTo>
                        <a:pt x="16209" y="88"/>
                      </a:lnTo>
                      <a:lnTo>
                        <a:pt x="16209" y="88"/>
                      </a:lnTo>
                      <a:lnTo>
                        <a:pt x="16209" y="88"/>
                      </a:lnTo>
                      <a:close/>
                      <a:moveTo>
                        <a:pt x="16009" y="99"/>
                      </a:moveTo>
                      <a:lnTo>
                        <a:pt x="16021" y="92"/>
                      </a:lnTo>
                      <a:lnTo>
                        <a:pt x="16004" y="92"/>
                      </a:lnTo>
                      <a:lnTo>
                        <a:pt x="16089" y="99"/>
                      </a:lnTo>
                      <a:lnTo>
                        <a:pt x="16063" y="76"/>
                      </a:lnTo>
                      <a:lnTo>
                        <a:pt x="16172" y="92"/>
                      </a:lnTo>
                      <a:lnTo>
                        <a:pt x="16075" y="116"/>
                      </a:lnTo>
                      <a:lnTo>
                        <a:pt x="16009" y="99"/>
                      </a:lnTo>
                      <a:lnTo>
                        <a:pt x="16009" y="99"/>
                      </a:lnTo>
                      <a:lnTo>
                        <a:pt x="16009" y="99"/>
                      </a:lnTo>
                      <a:close/>
                      <a:moveTo>
                        <a:pt x="15917" y="92"/>
                      </a:moveTo>
                      <a:lnTo>
                        <a:pt x="15912" y="88"/>
                      </a:lnTo>
                      <a:lnTo>
                        <a:pt x="15933" y="92"/>
                      </a:lnTo>
                      <a:lnTo>
                        <a:pt x="15917" y="92"/>
                      </a:lnTo>
                      <a:lnTo>
                        <a:pt x="15917" y="92"/>
                      </a:lnTo>
                      <a:lnTo>
                        <a:pt x="15917" y="92"/>
                      </a:lnTo>
                      <a:close/>
                      <a:moveTo>
                        <a:pt x="16311" y="92"/>
                      </a:moveTo>
                      <a:lnTo>
                        <a:pt x="16365" y="92"/>
                      </a:lnTo>
                      <a:lnTo>
                        <a:pt x="16306" y="92"/>
                      </a:lnTo>
                      <a:lnTo>
                        <a:pt x="16311" y="92"/>
                      </a:lnTo>
                      <a:lnTo>
                        <a:pt x="16311" y="92"/>
                      </a:lnTo>
                      <a:lnTo>
                        <a:pt x="16311" y="92"/>
                      </a:lnTo>
                      <a:close/>
                      <a:moveTo>
                        <a:pt x="18654" y="265"/>
                      </a:moveTo>
                      <a:lnTo>
                        <a:pt x="18524" y="260"/>
                      </a:lnTo>
                      <a:lnTo>
                        <a:pt x="18546" y="244"/>
                      </a:lnTo>
                      <a:lnTo>
                        <a:pt x="18612" y="244"/>
                      </a:lnTo>
                      <a:lnTo>
                        <a:pt x="18557" y="236"/>
                      </a:lnTo>
                      <a:lnTo>
                        <a:pt x="18617" y="220"/>
                      </a:lnTo>
                      <a:lnTo>
                        <a:pt x="18628" y="203"/>
                      </a:lnTo>
                      <a:lnTo>
                        <a:pt x="18654" y="170"/>
                      </a:lnTo>
                      <a:lnTo>
                        <a:pt x="18600" y="182"/>
                      </a:lnTo>
                      <a:lnTo>
                        <a:pt x="18617" y="166"/>
                      </a:lnTo>
                      <a:lnTo>
                        <a:pt x="18650" y="154"/>
                      </a:lnTo>
                      <a:lnTo>
                        <a:pt x="18645" y="144"/>
                      </a:lnTo>
                      <a:lnTo>
                        <a:pt x="18817" y="99"/>
                      </a:lnTo>
                      <a:lnTo>
                        <a:pt x="18780" y="99"/>
                      </a:lnTo>
                      <a:lnTo>
                        <a:pt x="18789" y="92"/>
                      </a:lnTo>
                      <a:lnTo>
                        <a:pt x="18834" y="92"/>
                      </a:lnTo>
                      <a:lnTo>
                        <a:pt x="18898" y="149"/>
                      </a:lnTo>
                      <a:lnTo>
                        <a:pt x="18990" y="187"/>
                      </a:lnTo>
                      <a:lnTo>
                        <a:pt x="18924" y="199"/>
                      </a:lnTo>
                      <a:lnTo>
                        <a:pt x="18919" y="220"/>
                      </a:lnTo>
                      <a:lnTo>
                        <a:pt x="18924" y="227"/>
                      </a:lnTo>
                      <a:lnTo>
                        <a:pt x="18935" y="255"/>
                      </a:lnTo>
                      <a:lnTo>
                        <a:pt x="18952" y="260"/>
                      </a:lnTo>
                      <a:lnTo>
                        <a:pt x="18924" y="265"/>
                      </a:lnTo>
                      <a:lnTo>
                        <a:pt x="18763" y="281"/>
                      </a:lnTo>
                      <a:lnTo>
                        <a:pt x="18687" y="310"/>
                      </a:lnTo>
                      <a:lnTo>
                        <a:pt x="18574" y="281"/>
                      </a:lnTo>
                      <a:lnTo>
                        <a:pt x="18628" y="281"/>
                      </a:lnTo>
                      <a:lnTo>
                        <a:pt x="18579" y="260"/>
                      </a:lnTo>
                      <a:lnTo>
                        <a:pt x="18654" y="265"/>
                      </a:lnTo>
                      <a:lnTo>
                        <a:pt x="18654" y="265"/>
                      </a:lnTo>
                      <a:lnTo>
                        <a:pt x="18654" y="265"/>
                      </a:lnTo>
                      <a:close/>
                      <a:moveTo>
                        <a:pt x="16117" y="109"/>
                      </a:moveTo>
                      <a:lnTo>
                        <a:pt x="16188" y="109"/>
                      </a:lnTo>
                      <a:lnTo>
                        <a:pt x="16150" y="128"/>
                      </a:lnTo>
                      <a:lnTo>
                        <a:pt x="16113" y="116"/>
                      </a:lnTo>
                      <a:lnTo>
                        <a:pt x="16117" y="109"/>
                      </a:lnTo>
                      <a:lnTo>
                        <a:pt x="16117" y="109"/>
                      </a:lnTo>
                      <a:lnTo>
                        <a:pt x="16117" y="109"/>
                      </a:lnTo>
                      <a:close/>
                      <a:moveTo>
                        <a:pt x="18503" y="133"/>
                      </a:moveTo>
                      <a:lnTo>
                        <a:pt x="18428" y="128"/>
                      </a:lnTo>
                      <a:lnTo>
                        <a:pt x="18418" y="109"/>
                      </a:lnTo>
                      <a:lnTo>
                        <a:pt x="18503" y="99"/>
                      </a:lnTo>
                      <a:lnTo>
                        <a:pt x="18541" y="116"/>
                      </a:lnTo>
                      <a:lnTo>
                        <a:pt x="18503" y="133"/>
                      </a:lnTo>
                      <a:lnTo>
                        <a:pt x="18503" y="133"/>
                      </a:lnTo>
                      <a:lnTo>
                        <a:pt x="18503" y="133"/>
                      </a:lnTo>
                      <a:close/>
                      <a:moveTo>
                        <a:pt x="16505" y="166"/>
                      </a:moveTo>
                      <a:lnTo>
                        <a:pt x="16543" y="149"/>
                      </a:lnTo>
                      <a:lnTo>
                        <a:pt x="16613" y="144"/>
                      </a:lnTo>
                      <a:lnTo>
                        <a:pt x="16618" y="116"/>
                      </a:lnTo>
                      <a:lnTo>
                        <a:pt x="16646" y="109"/>
                      </a:lnTo>
                      <a:lnTo>
                        <a:pt x="16689" y="116"/>
                      </a:lnTo>
                      <a:lnTo>
                        <a:pt x="16706" y="144"/>
                      </a:lnTo>
                      <a:lnTo>
                        <a:pt x="16706" y="154"/>
                      </a:lnTo>
                      <a:lnTo>
                        <a:pt x="16646" y="182"/>
                      </a:lnTo>
                      <a:lnTo>
                        <a:pt x="16550" y="199"/>
                      </a:lnTo>
                      <a:lnTo>
                        <a:pt x="16495" y="170"/>
                      </a:lnTo>
                      <a:lnTo>
                        <a:pt x="16505" y="166"/>
                      </a:lnTo>
                      <a:lnTo>
                        <a:pt x="16505" y="166"/>
                      </a:lnTo>
                      <a:lnTo>
                        <a:pt x="16505" y="166"/>
                      </a:lnTo>
                      <a:close/>
                      <a:moveTo>
                        <a:pt x="15647" y="133"/>
                      </a:moveTo>
                      <a:lnTo>
                        <a:pt x="15659" y="133"/>
                      </a:lnTo>
                      <a:lnTo>
                        <a:pt x="15647" y="128"/>
                      </a:lnTo>
                      <a:lnTo>
                        <a:pt x="15659" y="116"/>
                      </a:lnTo>
                      <a:lnTo>
                        <a:pt x="15685" y="128"/>
                      </a:lnTo>
                      <a:lnTo>
                        <a:pt x="15647" y="133"/>
                      </a:lnTo>
                      <a:lnTo>
                        <a:pt x="15647" y="133"/>
                      </a:lnTo>
                      <a:lnTo>
                        <a:pt x="15647" y="133"/>
                      </a:lnTo>
                      <a:close/>
                      <a:moveTo>
                        <a:pt x="16198" y="116"/>
                      </a:moveTo>
                      <a:lnTo>
                        <a:pt x="16226" y="116"/>
                      </a:lnTo>
                      <a:lnTo>
                        <a:pt x="16198" y="116"/>
                      </a:lnTo>
                      <a:lnTo>
                        <a:pt x="16198" y="116"/>
                      </a:lnTo>
                      <a:lnTo>
                        <a:pt x="16198" y="116"/>
                      </a:lnTo>
                      <a:close/>
                      <a:moveTo>
                        <a:pt x="16328" y="144"/>
                      </a:moveTo>
                      <a:lnTo>
                        <a:pt x="16370" y="128"/>
                      </a:lnTo>
                      <a:lnTo>
                        <a:pt x="16441" y="128"/>
                      </a:lnTo>
                      <a:lnTo>
                        <a:pt x="16398" y="154"/>
                      </a:lnTo>
                      <a:lnTo>
                        <a:pt x="16328" y="144"/>
                      </a:lnTo>
                      <a:lnTo>
                        <a:pt x="16328" y="144"/>
                      </a:lnTo>
                      <a:lnTo>
                        <a:pt x="16328" y="144"/>
                      </a:lnTo>
                      <a:close/>
                      <a:moveTo>
                        <a:pt x="15933" y="144"/>
                      </a:moveTo>
                      <a:lnTo>
                        <a:pt x="15950" y="128"/>
                      </a:lnTo>
                      <a:lnTo>
                        <a:pt x="16009" y="144"/>
                      </a:lnTo>
                      <a:lnTo>
                        <a:pt x="16047" y="133"/>
                      </a:lnTo>
                      <a:lnTo>
                        <a:pt x="16165" y="182"/>
                      </a:lnTo>
                      <a:lnTo>
                        <a:pt x="16113" y="199"/>
                      </a:lnTo>
                      <a:lnTo>
                        <a:pt x="16089" y="170"/>
                      </a:lnTo>
                      <a:lnTo>
                        <a:pt x="15933" y="144"/>
                      </a:lnTo>
                      <a:lnTo>
                        <a:pt x="15933" y="144"/>
                      </a:lnTo>
                      <a:lnTo>
                        <a:pt x="15933" y="144"/>
                      </a:lnTo>
                      <a:close/>
                      <a:moveTo>
                        <a:pt x="16047" y="128"/>
                      </a:moveTo>
                      <a:lnTo>
                        <a:pt x="16150" y="133"/>
                      </a:lnTo>
                      <a:lnTo>
                        <a:pt x="16202" y="154"/>
                      </a:lnTo>
                      <a:lnTo>
                        <a:pt x="16155" y="166"/>
                      </a:lnTo>
                      <a:lnTo>
                        <a:pt x="16047" y="128"/>
                      </a:lnTo>
                      <a:lnTo>
                        <a:pt x="16047" y="128"/>
                      </a:lnTo>
                      <a:lnTo>
                        <a:pt x="16047" y="128"/>
                      </a:lnTo>
                      <a:close/>
                      <a:moveTo>
                        <a:pt x="16172" y="133"/>
                      </a:moveTo>
                      <a:lnTo>
                        <a:pt x="16188" y="128"/>
                      </a:lnTo>
                      <a:lnTo>
                        <a:pt x="16235" y="144"/>
                      </a:lnTo>
                      <a:lnTo>
                        <a:pt x="16209" y="149"/>
                      </a:lnTo>
                      <a:lnTo>
                        <a:pt x="16172" y="133"/>
                      </a:lnTo>
                      <a:lnTo>
                        <a:pt x="16172" y="133"/>
                      </a:lnTo>
                      <a:lnTo>
                        <a:pt x="16172" y="133"/>
                      </a:lnTo>
                      <a:close/>
                      <a:moveTo>
                        <a:pt x="17672" y="149"/>
                      </a:moveTo>
                      <a:lnTo>
                        <a:pt x="17752" y="154"/>
                      </a:lnTo>
                      <a:lnTo>
                        <a:pt x="17714" y="170"/>
                      </a:lnTo>
                      <a:lnTo>
                        <a:pt x="17655" y="170"/>
                      </a:lnTo>
                      <a:lnTo>
                        <a:pt x="17672" y="149"/>
                      </a:lnTo>
                      <a:lnTo>
                        <a:pt x="17672" y="149"/>
                      </a:lnTo>
                      <a:lnTo>
                        <a:pt x="17672" y="149"/>
                      </a:lnTo>
                      <a:close/>
                      <a:moveTo>
                        <a:pt x="15534" y="260"/>
                      </a:moveTo>
                      <a:lnTo>
                        <a:pt x="15555" y="277"/>
                      </a:lnTo>
                      <a:lnTo>
                        <a:pt x="15517" y="277"/>
                      </a:lnTo>
                      <a:lnTo>
                        <a:pt x="15517" y="281"/>
                      </a:lnTo>
                      <a:lnTo>
                        <a:pt x="15508" y="293"/>
                      </a:lnTo>
                      <a:lnTo>
                        <a:pt x="15454" y="298"/>
                      </a:lnTo>
                      <a:lnTo>
                        <a:pt x="15454" y="293"/>
                      </a:lnTo>
                      <a:lnTo>
                        <a:pt x="15463" y="281"/>
                      </a:lnTo>
                      <a:lnTo>
                        <a:pt x="15484" y="277"/>
                      </a:lnTo>
                      <a:lnTo>
                        <a:pt x="15447" y="265"/>
                      </a:lnTo>
                      <a:lnTo>
                        <a:pt x="15416" y="281"/>
                      </a:lnTo>
                      <a:lnTo>
                        <a:pt x="15387" y="260"/>
                      </a:lnTo>
                      <a:lnTo>
                        <a:pt x="15416" y="244"/>
                      </a:lnTo>
                      <a:lnTo>
                        <a:pt x="15496" y="255"/>
                      </a:lnTo>
                      <a:lnTo>
                        <a:pt x="15454" y="244"/>
                      </a:lnTo>
                      <a:lnTo>
                        <a:pt x="15501" y="236"/>
                      </a:lnTo>
                      <a:lnTo>
                        <a:pt x="15484" y="227"/>
                      </a:lnTo>
                      <a:lnTo>
                        <a:pt x="15442" y="236"/>
                      </a:lnTo>
                      <a:lnTo>
                        <a:pt x="15508" y="210"/>
                      </a:lnTo>
                      <a:lnTo>
                        <a:pt x="15560" y="220"/>
                      </a:lnTo>
                      <a:lnTo>
                        <a:pt x="15576" y="210"/>
                      </a:lnTo>
                      <a:lnTo>
                        <a:pt x="15572" y="203"/>
                      </a:lnTo>
                      <a:lnTo>
                        <a:pt x="15593" y="203"/>
                      </a:lnTo>
                      <a:lnTo>
                        <a:pt x="15605" y="187"/>
                      </a:lnTo>
                      <a:lnTo>
                        <a:pt x="15550" y="187"/>
                      </a:lnTo>
                      <a:lnTo>
                        <a:pt x="15631" y="154"/>
                      </a:lnTo>
                      <a:lnTo>
                        <a:pt x="15659" y="154"/>
                      </a:lnTo>
                      <a:lnTo>
                        <a:pt x="15626" y="166"/>
                      </a:lnTo>
                      <a:lnTo>
                        <a:pt x="15680" y="154"/>
                      </a:lnTo>
                      <a:lnTo>
                        <a:pt x="15697" y="166"/>
                      </a:lnTo>
                      <a:lnTo>
                        <a:pt x="15643" y="187"/>
                      </a:lnTo>
                      <a:lnTo>
                        <a:pt x="15711" y="182"/>
                      </a:lnTo>
                      <a:lnTo>
                        <a:pt x="15739" y="187"/>
                      </a:lnTo>
                      <a:lnTo>
                        <a:pt x="15685" y="220"/>
                      </a:lnTo>
                      <a:lnTo>
                        <a:pt x="15605" y="227"/>
                      </a:lnTo>
                      <a:lnTo>
                        <a:pt x="15609" y="244"/>
                      </a:lnTo>
                      <a:lnTo>
                        <a:pt x="15539" y="244"/>
                      </a:lnTo>
                      <a:lnTo>
                        <a:pt x="15522" y="260"/>
                      </a:lnTo>
                      <a:lnTo>
                        <a:pt x="15534" y="260"/>
                      </a:lnTo>
                      <a:lnTo>
                        <a:pt x="15534" y="260"/>
                      </a:lnTo>
                      <a:lnTo>
                        <a:pt x="15534" y="260"/>
                      </a:lnTo>
                      <a:close/>
                      <a:moveTo>
                        <a:pt x="16181" y="170"/>
                      </a:moveTo>
                      <a:lnTo>
                        <a:pt x="16235" y="154"/>
                      </a:lnTo>
                      <a:lnTo>
                        <a:pt x="16257" y="170"/>
                      </a:lnTo>
                      <a:lnTo>
                        <a:pt x="16219" y="187"/>
                      </a:lnTo>
                      <a:lnTo>
                        <a:pt x="16172" y="170"/>
                      </a:lnTo>
                      <a:lnTo>
                        <a:pt x="16181" y="170"/>
                      </a:lnTo>
                      <a:lnTo>
                        <a:pt x="16181" y="170"/>
                      </a:lnTo>
                      <a:lnTo>
                        <a:pt x="16181" y="170"/>
                      </a:lnTo>
                      <a:close/>
                      <a:moveTo>
                        <a:pt x="15900" y="170"/>
                      </a:moveTo>
                      <a:lnTo>
                        <a:pt x="15983" y="154"/>
                      </a:lnTo>
                      <a:lnTo>
                        <a:pt x="16042" y="170"/>
                      </a:lnTo>
                      <a:lnTo>
                        <a:pt x="15966" y="187"/>
                      </a:lnTo>
                      <a:lnTo>
                        <a:pt x="15900" y="170"/>
                      </a:lnTo>
                      <a:lnTo>
                        <a:pt x="15900" y="170"/>
                      </a:lnTo>
                      <a:lnTo>
                        <a:pt x="15900" y="170"/>
                      </a:lnTo>
                      <a:close/>
                      <a:moveTo>
                        <a:pt x="16273" y="220"/>
                      </a:moveTo>
                      <a:lnTo>
                        <a:pt x="16278" y="210"/>
                      </a:lnTo>
                      <a:lnTo>
                        <a:pt x="16264" y="203"/>
                      </a:lnTo>
                      <a:lnTo>
                        <a:pt x="16273" y="199"/>
                      </a:lnTo>
                      <a:lnTo>
                        <a:pt x="16306" y="170"/>
                      </a:lnTo>
                      <a:lnTo>
                        <a:pt x="16453" y="166"/>
                      </a:lnTo>
                      <a:lnTo>
                        <a:pt x="16479" y="182"/>
                      </a:lnTo>
                      <a:lnTo>
                        <a:pt x="16467" y="199"/>
                      </a:lnTo>
                      <a:lnTo>
                        <a:pt x="16474" y="203"/>
                      </a:lnTo>
                      <a:lnTo>
                        <a:pt x="16441" y="210"/>
                      </a:lnTo>
                      <a:lnTo>
                        <a:pt x="16398" y="244"/>
                      </a:lnTo>
                      <a:lnTo>
                        <a:pt x="16344" y="227"/>
                      </a:lnTo>
                      <a:lnTo>
                        <a:pt x="16295" y="236"/>
                      </a:lnTo>
                      <a:lnTo>
                        <a:pt x="16273" y="220"/>
                      </a:lnTo>
                      <a:lnTo>
                        <a:pt x="16273" y="220"/>
                      </a:lnTo>
                      <a:lnTo>
                        <a:pt x="16273" y="220"/>
                      </a:lnTo>
                      <a:close/>
                      <a:moveTo>
                        <a:pt x="15345" y="236"/>
                      </a:moveTo>
                      <a:lnTo>
                        <a:pt x="15340" y="210"/>
                      </a:lnTo>
                      <a:lnTo>
                        <a:pt x="15307" y="220"/>
                      </a:lnTo>
                      <a:lnTo>
                        <a:pt x="15265" y="203"/>
                      </a:lnTo>
                      <a:lnTo>
                        <a:pt x="15409" y="182"/>
                      </a:lnTo>
                      <a:lnTo>
                        <a:pt x="15447" y="166"/>
                      </a:lnTo>
                      <a:lnTo>
                        <a:pt x="15517" y="182"/>
                      </a:lnTo>
                      <a:lnTo>
                        <a:pt x="15522" y="182"/>
                      </a:lnTo>
                      <a:lnTo>
                        <a:pt x="15508" y="187"/>
                      </a:lnTo>
                      <a:lnTo>
                        <a:pt x="15534" y="203"/>
                      </a:lnTo>
                      <a:lnTo>
                        <a:pt x="15484" y="199"/>
                      </a:lnTo>
                      <a:lnTo>
                        <a:pt x="15463" y="182"/>
                      </a:lnTo>
                      <a:lnTo>
                        <a:pt x="15432" y="199"/>
                      </a:lnTo>
                      <a:lnTo>
                        <a:pt x="15442" y="210"/>
                      </a:lnTo>
                      <a:lnTo>
                        <a:pt x="15425" y="203"/>
                      </a:lnTo>
                      <a:lnTo>
                        <a:pt x="15345" y="236"/>
                      </a:lnTo>
                      <a:lnTo>
                        <a:pt x="15345" y="236"/>
                      </a:lnTo>
                      <a:lnTo>
                        <a:pt x="15345" y="236"/>
                      </a:lnTo>
                      <a:close/>
                      <a:moveTo>
                        <a:pt x="16009" y="187"/>
                      </a:moveTo>
                      <a:lnTo>
                        <a:pt x="16080" y="182"/>
                      </a:lnTo>
                      <a:lnTo>
                        <a:pt x="16113" y="199"/>
                      </a:lnTo>
                      <a:lnTo>
                        <a:pt x="16037" y="203"/>
                      </a:lnTo>
                      <a:lnTo>
                        <a:pt x="16004" y="187"/>
                      </a:lnTo>
                      <a:lnTo>
                        <a:pt x="16009" y="187"/>
                      </a:lnTo>
                      <a:lnTo>
                        <a:pt x="16009" y="187"/>
                      </a:lnTo>
                      <a:lnTo>
                        <a:pt x="16009" y="187"/>
                      </a:lnTo>
                      <a:close/>
                      <a:moveTo>
                        <a:pt x="15848" y="220"/>
                      </a:moveTo>
                      <a:lnTo>
                        <a:pt x="15858" y="210"/>
                      </a:lnTo>
                      <a:lnTo>
                        <a:pt x="15841" y="203"/>
                      </a:lnTo>
                      <a:lnTo>
                        <a:pt x="15858" y="203"/>
                      </a:lnTo>
                      <a:lnTo>
                        <a:pt x="15874" y="220"/>
                      </a:lnTo>
                      <a:lnTo>
                        <a:pt x="15848" y="220"/>
                      </a:lnTo>
                      <a:lnTo>
                        <a:pt x="15848" y="220"/>
                      </a:lnTo>
                      <a:lnTo>
                        <a:pt x="15848" y="220"/>
                      </a:lnTo>
                      <a:close/>
                      <a:moveTo>
                        <a:pt x="16134" y="203"/>
                      </a:moveTo>
                      <a:lnTo>
                        <a:pt x="16188" y="203"/>
                      </a:lnTo>
                      <a:lnTo>
                        <a:pt x="16165" y="220"/>
                      </a:lnTo>
                      <a:lnTo>
                        <a:pt x="16127" y="210"/>
                      </a:lnTo>
                      <a:lnTo>
                        <a:pt x="16134" y="203"/>
                      </a:lnTo>
                      <a:lnTo>
                        <a:pt x="16134" y="203"/>
                      </a:lnTo>
                      <a:lnTo>
                        <a:pt x="16134" y="203"/>
                      </a:lnTo>
                      <a:close/>
                      <a:moveTo>
                        <a:pt x="15886" y="227"/>
                      </a:moveTo>
                      <a:lnTo>
                        <a:pt x="15900" y="220"/>
                      </a:lnTo>
                      <a:lnTo>
                        <a:pt x="15895" y="210"/>
                      </a:lnTo>
                      <a:lnTo>
                        <a:pt x="15900" y="203"/>
                      </a:lnTo>
                      <a:lnTo>
                        <a:pt x="15928" y="210"/>
                      </a:lnTo>
                      <a:lnTo>
                        <a:pt x="15912" y="220"/>
                      </a:lnTo>
                      <a:lnTo>
                        <a:pt x="15933" y="227"/>
                      </a:lnTo>
                      <a:lnTo>
                        <a:pt x="15917" y="236"/>
                      </a:lnTo>
                      <a:lnTo>
                        <a:pt x="15886" y="227"/>
                      </a:lnTo>
                      <a:lnTo>
                        <a:pt x="15886" y="227"/>
                      </a:lnTo>
                      <a:lnTo>
                        <a:pt x="15886" y="227"/>
                      </a:lnTo>
                      <a:close/>
                      <a:moveTo>
                        <a:pt x="15950" y="220"/>
                      </a:moveTo>
                      <a:lnTo>
                        <a:pt x="15971" y="210"/>
                      </a:lnTo>
                      <a:lnTo>
                        <a:pt x="15983" y="227"/>
                      </a:lnTo>
                      <a:lnTo>
                        <a:pt x="15950" y="220"/>
                      </a:lnTo>
                      <a:lnTo>
                        <a:pt x="15950" y="220"/>
                      </a:lnTo>
                      <a:lnTo>
                        <a:pt x="15950" y="220"/>
                      </a:lnTo>
                      <a:close/>
                      <a:moveTo>
                        <a:pt x="16155" y="293"/>
                      </a:moveTo>
                      <a:lnTo>
                        <a:pt x="16134" y="281"/>
                      </a:lnTo>
                      <a:lnTo>
                        <a:pt x="16134" y="244"/>
                      </a:lnTo>
                      <a:lnTo>
                        <a:pt x="16113" y="227"/>
                      </a:lnTo>
                      <a:lnTo>
                        <a:pt x="16209" y="227"/>
                      </a:lnTo>
                      <a:lnTo>
                        <a:pt x="16273" y="255"/>
                      </a:lnTo>
                      <a:lnTo>
                        <a:pt x="16209" y="260"/>
                      </a:lnTo>
                      <a:lnTo>
                        <a:pt x="16188" y="265"/>
                      </a:lnTo>
                      <a:lnTo>
                        <a:pt x="16219" y="265"/>
                      </a:lnTo>
                      <a:lnTo>
                        <a:pt x="16209" y="281"/>
                      </a:lnTo>
                      <a:lnTo>
                        <a:pt x="16181" y="277"/>
                      </a:lnTo>
                      <a:lnTo>
                        <a:pt x="16172" y="281"/>
                      </a:lnTo>
                      <a:lnTo>
                        <a:pt x="16181" y="293"/>
                      </a:lnTo>
                      <a:lnTo>
                        <a:pt x="16155" y="293"/>
                      </a:lnTo>
                      <a:lnTo>
                        <a:pt x="16155" y="293"/>
                      </a:lnTo>
                      <a:lnTo>
                        <a:pt x="16155" y="293"/>
                      </a:lnTo>
                      <a:close/>
                      <a:moveTo>
                        <a:pt x="15933" y="236"/>
                      </a:moveTo>
                      <a:lnTo>
                        <a:pt x="15950" y="227"/>
                      </a:lnTo>
                      <a:lnTo>
                        <a:pt x="15966" y="236"/>
                      </a:lnTo>
                      <a:lnTo>
                        <a:pt x="15928" y="244"/>
                      </a:lnTo>
                      <a:lnTo>
                        <a:pt x="15933" y="236"/>
                      </a:lnTo>
                      <a:lnTo>
                        <a:pt x="15933" y="236"/>
                      </a:lnTo>
                      <a:lnTo>
                        <a:pt x="15933" y="236"/>
                      </a:lnTo>
                      <a:close/>
                      <a:moveTo>
                        <a:pt x="15983" y="236"/>
                      </a:moveTo>
                      <a:lnTo>
                        <a:pt x="15992" y="236"/>
                      </a:lnTo>
                      <a:lnTo>
                        <a:pt x="15971" y="236"/>
                      </a:lnTo>
                      <a:lnTo>
                        <a:pt x="15983" y="236"/>
                      </a:lnTo>
                      <a:lnTo>
                        <a:pt x="15983" y="236"/>
                      </a:lnTo>
                      <a:lnTo>
                        <a:pt x="15983" y="236"/>
                      </a:lnTo>
                      <a:close/>
                      <a:moveTo>
                        <a:pt x="15787" y="277"/>
                      </a:moveTo>
                      <a:lnTo>
                        <a:pt x="15772" y="265"/>
                      </a:lnTo>
                      <a:lnTo>
                        <a:pt x="15824" y="244"/>
                      </a:lnTo>
                      <a:lnTo>
                        <a:pt x="15858" y="244"/>
                      </a:lnTo>
                      <a:lnTo>
                        <a:pt x="15895" y="265"/>
                      </a:lnTo>
                      <a:lnTo>
                        <a:pt x="15862" y="281"/>
                      </a:lnTo>
                      <a:lnTo>
                        <a:pt x="15787" y="277"/>
                      </a:lnTo>
                      <a:lnTo>
                        <a:pt x="15787" y="277"/>
                      </a:lnTo>
                      <a:lnTo>
                        <a:pt x="15787" y="277"/>
                      </a:lnTo>
                      <a:close/>
                      <a:moveTo>
                        <a:pt x="16025" y="293"/>
                      </a:moveTo>
                      <a:lnTo>
                        <a:pt x="16042" y="277"/>
                      </a:lnTo>
                      <a:lnTo>
                        <a:pt x="16042" y="265"/>
                      </a:lnTo>
                      <a:lnTo>
                        <a:pt x="16042" y="255"/>
                      </a:lnTo>
                      <a:lnTo>
                        <a:pt x="16117" y="260"/>
                      </a:lnTo>
                      <a:lnTo>
                        <a:pt x="16117" y="293"/>
                      </a:lnTo>
                      <a:lnTo>
                        <a:pt x="16113" y="298"/>
                      </a:lnTo>
                      <a:lnTo>
                        <a:pt x="16021" y="293"/>
                      </a:lnTo>
                      <a:lnTo>
                        <a:pt x="16025" y="293"/>
                      </a:lnTo>
                      <a:lnTo>
                        <a:pt x="16025" y="293"/>
                      </a:lnTo>
                      <a:lnTo>
                        <a:pt x="16025" y="293"/>
                      </a:lnTo>
                      <a:close/>
                      <a:moveTo>
                        <a:pt x="15966" y="265"/>
                      </a:moveTo>
                      <a:lnTo>
                        <a:pt x="15992" y="255"/>
                      </a:lnTo>
                      <a:lnTo>
                        <a:pt x="16009" y="260"/>
                      </a:lnTo>
                      <a:lnTo>
                        <a:pt x="15983" y="277"/>
                      </a:lnTo>
                      <a:lnTo>
                        <a:pt x="15966" y="265"/>
                      </a:lnTo>
                      <a:lnTo>
                        <a:pt x="15966" y="265"/>
                      </a:lnTo>
                      <a:lnTo>
                        <a:pt x="15966" y="265"/>
                      </a:lnTo>
                      <a:close/>
                      <a:moveTo>
                        <a:pt x="15917" y="277"/>
                      </a:moveTo>
                      <a:lnTo>
                        <a:pt x="15912" y="260"/>
                      </a:lnTo>
                      <a:lnTo>
                        <a:pt x="15917" y="255"/>
                      </a:lnTo>
                      <a:lnTo>
                        <a:pt x="15933" y="260"/>
                      </a:lnTo>
                      <a:lnTo>
                        <a:pt x="15917" y="277"/>
                      </a:lnTo>
                      <a:lnTo>
                        <a:pt x="15917" y="277"/>
                      </a:lnTo>
                      <a:lnTo>
                        <a:pt x="15917" y="277"/>
                      </a:lnTo>
                      <a:close/>
                      <a:moveTo>
                        <a:pt x="15609" y="298"/>
                      </a:moveTo>
                      <a:lnTo>
                        <a:pt x="15588" y="281"/>
                      </a:lnTo>
                      <a:lnTo>
                        <a:pt x="15614" y="265"/>
                      </a:lnTo>
                      <a:lnTo>
                        <a:pt x="15647" y="281"/>
                      </a:lnTo>
                      <a:lnTo>
                        <a:pt x="15609" y="298"/>
                      </a:lnTo>
                      <a:lnTo>
                        <a:pt x="15609" y="298"/>
                      </a:lnTo>
                      <a:lnTo>
                        <a:pt x="15609" y="298"/>
                      </a:lnTo>
                      <a:close/>
                      <a:moveTo>
                        <a:pt x="19098" y="425"/>
                      </a:moveTo>
                      <a:lnTo>
                        <a:pt x="19061" y="425"/>
                      </a:lnTo>
                      <a:lnTo>
                        <a:pt x="19120" y="459"/>
                      </a:lnTo>
                      <a:lnTo>
                        <a:pt x="19129" y="482"/>
                      </a:lnTo>
                      <a:lnTo>
                        <a:pt x="19087" y="499"/>
                      </a:lnTo>
                      <a:lnTo>
                        <a:pt x="19011" y="503"/>
                      </a:lnTo>
                      <a:lnTo>
                        <a:pt x="18935" y="499"/>
                      </a:lnTo>
                      <a:lnTo>
                        <a:pt x="18898" y="475"/>
                      </a:lnTo>
                      <a:lnTo>
                        <a:pt x="18827" y="475"/>
                      </a:lnTo>
                      <a:lnTo>
                        <a:pt x="18817" y="449"/>
                      </a:lnTo>
                      <a:lnTo>
                        <a:pt x="18780" y="466"/>
                      </a:lnTo>
                      <a:lnTo>
                        <a:pt x="18735" y="433"/>
                      </a:lnTo>
                      <a:lnTo>
                        <a:pt x="18735" y="392"/>
                      </a:lnTo>
                      <a:lnTo>
                        <a:pt x="18687" y="392"/>
                      </a:lnTo>
                      <a:lnTo>
                        <a:pt x="18704" y="392"/>
                      </a:lnTo>
                      <a:lnTo>
                        <a:pt x="18687" y="388"/>
                      </a:lnTo>
                      <a:lnTo>
                        <a:pt x="18697" y="371"/>
                      </a:lnTo>
                      <a:lnTo>
                        <a:pt x="18650" y="404"/>
                      </a:lnTo>
                      <a:lnTo>
                        <a:pt x="18650" y="392"/>
                      </a:lnTo>
                      <a:lnTo>
                        <a:pt x="18654" y="388"/>
                      </a:lnTo>
                      <a:lnTo>
                        <a:pt x="18628" y="376"/>
                      </a:lnTo>
                      <a:lnTo>
                        <a:pt x="18654" y="388"/>
                      </a:lnTo>
                      <a:lnTo>
                        <a:pt x="18709" y="347"/>
                      </a:lnTo>
                      <a:lnTo>
                        <a:pt x="18751" y="338"/>
                      </a:lnTo>
                      <a:lnTo>
                        <a:pt x="18725" y="322"/>
                      </a:lnTo>
                      <a:lnTo>
                        <a:pt x="18772" y="293"/>
                      </a:lnTo>
                      <a:lnTo>
                        <a:pt x="18796" y="310"/>
                      </a:lnTo>
                      <a:lnTo>
                        <a:pt x="18817" y="293"/>
                      </a:lnTo>
                      <a:lnTo>
                        <a:pt x="18957" y="281"/>
                      </a:lnTo>
                      <a:lnTo>
                        <a:pt x="18990" y="298"/>
                      </a:lnTo>
                      <a:lnTo>
                        <a:pt x="18957" y="347"/>
                      </a:lnTo>
                      <a:lnTo>
                        <a:pt x="18935" y="355"/>
                      </a:lnTo>
                      <a:lnTo>
                        <a:pt x="18969" y="347"/>
                      </a:lnTo>
                      <a:lnTo>
                        <a:pt x="18978" y="322"/>
                      </a:lnTo>
                      <a:lnTo>
                        <a:pt x="19011" y="331"/>
                      </a:lnTo>
                      <a:lnTo>
                        <a:pt x="19028" y="314"/>
                      </a:lnTo>
                      <a:lnTo>
                        <a:pt x="19023" y="310"/>
                      </a:lnTo>
                      <a:lnTo>
                        <a:pt x="19028" y="298"/>
                      </a:lnTo>
                      <a:lnTo>
                        <a:pt x="19075" y="298"/>
                      </a:lnTo>
                      <a:lnTo>
                        <a:pt x="19136" y="347"/>
                      </a:lnTo>
                      <a:lnTo>
                        <a:pt x="19113" y="371"/>
                      </a:lnTo>
                      <a:lnTo>
                        <a:pt x="19103" y="392"/>
                      </a:lnTo>
                      <a:lnTo>
                        <a:pt x="19113" y="409"/>
                      </a:lnTo>
                      <a:lnTo>
                        <a:pt x="19098" y="425"/>
                      </a:lnTo>
                      <a:lnTo>
                        <a:pt x="19098" y="425"/>
                      </a:lnTo>
                      <a:lnTo>
                        <a:pt x="19098" y="425"/>
                      </a:lnTo>
                      <a:close/>
                      <a:moveTo>
                        <a:pt x="16240" y="310"/>
                      </a:moveTo>
                      <a:lnTo>
                        <a:pt x="16278" y="293"/>
                      </a:lnTo>
                      <a:lnTo>
                        <a:pt x="16311" y="293"/>
                      </a:lnTo>
                      <a:lnTo>
                        <a:pt x="16311" y="310"/>
                      </a:lnTo>
                      <a:lnTo>
                        <a:pt x="16278" y="322"/>
                      </a:lnTo>
                      <a:lnTo>
                        <a:pt x="16240" y="310"/>
                      </a:lnTo>
                      <a:lnTo>
                        <a:pt x="16240" y="310"/>
                      </a:lnTo>
                      <a:lnTo>
                        <a:pt x="16240" y="310"/>
                      </a:lnTo>
                      <a:close/>
                      <a:moveTo>
                        <a:pt x="15626" y="314"/>
                      </a:moveTo>
                      <a:lnTo>
                        <a:pt x="15659" y="314"/>
                      </a:lnTo>
                      <a:lnTo>
                        <a:pt x="15697" y="293"/>
                      </a:lnTo>
                      <a:lnTo>
                        <a:pt x="15723" y="322"/>
                      </a:lnTo>
                      <a:lnTo>
                        <a:pt x="15626" y="314"/>
                      </a:lnTo>
                      <a:lnTo>
                        <a:pt x="15626" y="314"/>
                      </a:lnTo>
                      <a:lnTo>
                        <a:pt x="15626" y="314"/>
                      </a:lnTo>
                      <a:close/>
                      <a:moveTo>
                        <a:pt x="18503" y="298"/>
                      </a:moveTo>
                      <a:lnTo>
                        <a:pt x="18487" y="298"/>
                      </a:lnTo>
                      <a:lnTo>
                        <a:pt x="18633" y="310"/>
                      </a:lnTo>
                      <a:lnTo>
                        <a:pt x="18697" y="322"/>
                      </a:lnTo>
                      <a:lnTo>
                        <a:pt x="18645" y="355"/>
                      </a:lnTo>
                      <a:lnTo>
                        <a:pt x="18562" y="364"/>
                      </a:lnTo>
                      <a:lnTo>
                        <a:pt x="18595" y="355"/>
                      </a:lnTo>
                      <a:lnTo>
                        <a:pt x="18574" y="338"/>
                      </a:lnTo>
                      <a:lnTo>
                        <a:pt x="18503" y="331"/>
                      </a:lnTo>
                      <a:lnTo>
                        <a:pt x="18508" y="322"/>
                      </a:lnTo>
                      <a:lnTo>
                        <a:pt x="18503" y="298"/>
                      </a:lnTo>
                      <a:lnTo>
                        <a:pt x="18503" y="298"/>
                      </a:lnTo>
                      <a:lnTo>
                        <a:pt x="18503" y="298"/>
                      </a:lnTo>
                      <a:close/>
                      <a:moveTo>
                        <a:pt x="18704" y="310"/>
                      </a:moveTo>
                      <a:lnTo>
                        <a:pt x="18735" y="310"/>
                      </a:lnTo>
                      <a:lnTo>
                        <a:pt x="18704" y="314"/>
                      </a:lnTo>
                      <a:lnTo>
                        <a:pt x="18704" y="310"/>
                      </a:lnTo>
                      <a:lnTo>
                        <a:pt x="18704" y="310"/>
                      </a:lnTo>
                      <a:lnTo>
                        <a:pt x="18704" y="310"/>
                      </a:lnTo>
                      <a:close/>
                      <a:moveTo>
                        <a:pt x="16209" y="314"/>
                      </a:moveTo>
                      <a:lnTo>
                        <a:pt x="16226" y="314"/>
                      </a:lnTo>
                      <a:lnTo>
                        <a:pt x="16252" y="322"/>
                      </a:lnTo>
                      <a:lnTo>
                        <a:pt x="16202" y="322"/>
                      </a:lnTo>
                      <a:lnTo>
                        <a:pt x="16209" y="314"/>
                      </a:lnTo>
                      <a:lnTo>
                        <a:pt x="16209" y="314"/>
                      </a:lnTo>
                      <a:lnTo>
                        <a:pt x="16209" y="314"/>
                      </a:lnTo>
                      <a:close/>
                      <a:moveTo>
                        <a:pt x="18541" y="364"/>
                      </a:moveTo>
                      <a:lnTo>
                        <a:pt x="18503" y="355"/>
                      </a:lnTo>
                      <a:lnTo>
                        <a:pt x="18557" y="364"/>
                      </a:lnTo>
                      <a:lnTo>
                        <a:pt x="18541" y="364"/>
                      </a:lnTo>
                      <a:lnTo>
                        <a:pt x="18541" y="364"/>
                      </a:lnTo>
                      <a:lnTo>
                        <a:pt x="18541" y="364"/>
                      </a:lnTo>
                      <a:close/>
                      <a:moveTo>
                        <a:pt x="19129" y="376"/>
                      </a:moveTo>
                      <a:lnTo>
                        <a:pt x="19129" y="364"/>
                      </a:lnTo>
                      <a:lnTo>
                        <a:pt x="19150" y="364"/>
                      </a:lnTo>
                      <a:lnTo>
                        <a:pt x="19129" y="376"/>
                      </a:lnTo>
                      <a:lnTo>
                        <a:pt x="19129" y="376"/>
                      </a:lnTo>
                      <a:lnTo>
                        <a:pt x="19129" y="376"/>
                      </a:lnTo>
                      <a:close/>
                      <a:moveTo>
                        <a:pt x="17495" y="388"/>
                      </a:moveTo>
                      <a:lnTo>
                        <a:pt x="17445" y="371"/>
                      </a:lnTo>
                      <a:lnTo>
                        <a:pt x="17563" y="388"/>
                      </a:lnTo>
                      <a:lnTo>
                        <a:pt x="17499" y="392"/>
                      </a:lnTo>
                      <a:lnTo>
                        <a:pt x="17495" y="388"/>
                      </a:lnTo>
                      <a:lnTo>
                        <a:pt x="17495" y="388"/>
                      </a:lnTo>
                      <a:lnTo>
                        <a:pt x="17495" y="388"/>
                      </a:lnTo>
                      <a:close/>
                      <a:moveTo>
                        <a:pt x="18494" y="388"/>
                      </a:moveTo>
                      <a:lnTo>
                        <a:pt x="18536" y="392"/>
                      </a:lnTo>
                      <a:lnTo>
                        <a:pt x="18482" y="376"/>
                      </a:lnTo>
                      <a:lnTo>
                        <a:pt x="18494" y="388"/>
                      </a:lnTo>
                      <a:lnTo>
                        <a:pt x="18494" y="388"/>
                      </a:lnTo>
                      <a:lnTo>
                        <a:pt x="18494" y="388"/>
                      </a:lnTo>
                      <a:close/>
                      <a:moveTo>
                        <a:pt x="19129" y="392"/>
                      </a:moveTo>
                      <a:lnTo>
                        <a:pt x="19129" y="404"/>
                      </a:lnTo>
                      <a:lnTo>
                        <a:pt x="19120" y="404"/>
                      </a:lnTo>
                      <a:lnTo>
                        <a:pt x="19129" y="392"/>
                      </a:lnTo>
                      <a:lnTo>
                        <a:pt x="19129" y="392"/>
                      </a:lnTo>
                      <a:lnTo>
                        <a:pt x="19129" y="392"/>
                      </a:lnTo>
                      <a:close/>
                      <a:moveTo>
                        <a:pt x="19136" y="553"/>
                      </a:moveTo>
                      <a:lnTo>
                        <a:pt x="19157" y="503"/>
                      </a:lnTo>
                      <a:lnTo>
                        <a:pt x="19212" y="515"/>
                      </a:lnTo>
                      <a:lnTo>
                        <a:pt x="19183" y="487"/>
                      </a:lnTo>
                      <a:lnTo>
                        <a:pt x="19195" y="466"/>
                      </a:lnTo>
                      <a:lnTo>
                        <a:pt x="19243" y="475"/>
                      </a:lnTo>
                      <a:lnTo>
                        <a:pt x="19195" y="459"/>
                      </a:lnTo>
                      <a:lnTo>
                        <a:pt x="19212" y="433"/>
                      </a:lnTo>
                      <a:lnTo>
                        <a:pt x="19250" y="409"/>
                      </a:lnTo>
                      <a:lnTo>
                        <a:pt x="19264" y="425"/>
                      </a:lnTo>
                      <a:lnTo>
                        <a:pt x="19280" y="433"/>
                      </a:lnTo>
                      <a:lnTo>
                        <a:pt x="19280" y="409"/>
                      </a:lnTo>
                      <a:lnTo>
                        <a:pt x="19297" y="404"/>
                      </a:lnTo>
                      <a:lnTo>
                        <a:pt x="19351" y="421"/>
                      </a:lnTo>
                      <a:lnTo>
                        <a:pt x="19330" y="433"/>
                      </a:lnTo>
                      <a:lnTo>
                        <a:pt x="19297" y="499"/>
                      </a:lnTo>
                      <a:lnTo>
                        <a:pt x="19335" y="466"/>
                      </a:lnTo>
                      <a:lnTo>
                        <a:pt x="19406" y="449"/>
                      </a:lnTo>
                      <a:lnTo>
                        <a:pt x="19410" y="475"/>
                      </a:lnTo>
                      <a:lnTo>
                        <a:pt x="19439" y="475"/>
                      </a:lnTo>
                      <a:lnTo>
                        <a:pt x="19453" y="499"/>
                      </a:lnTo>
                      <a:lnTo>
                        <a:pt x="19453" y="503"/>
                      </a:lnTo>
                      <a:lnTo>
                        <a:pt x="19460" y="499"/>
                      </a:lnTo>
                      <a:lnTo>
                        <a:pt x="19491" y="499"/>
                      </a:lnTo>
                      <a:lnTo>
                        <a:pt x="19507" y="536"/>
                      </a:lnTo>
                      <a:lnTo>
                        <a:pt x="19460" y="577"/>
                      </a:lnTo>
                      <a:lnTo>
                        <a:pt x="19335" y="593"/>
                      </a:lnTo>
                      <a:lnTo>
                        <a:pt x="19318" y="598"/>
                      </a:lnTo>
                      <a:lnTo>
                        <a:pt x="19302" y="593"/>
                      </a:lnTo>
                      <a:lnTo>
                        <a:pt x="19221" y="598"/>
                      </a:lnTo>
                      <a:lnTo>
                        <a:pt x="19129" y="631"/>
                      </a:lnTo>
                      <a:lnTo>
                        <a:pt x="19087" y="643"/>
                      </a:lnTo>
                      <a:lnTo>
                        <a:pt x="19082" y="626"/>
                      </a:lnTo>
                      <a:lnTo>
                        <a:pt x="19136" y="553"/>
                      </a:lnTo>
                      <a:lnTo>
                        <a:pt x="19136" y="553"/>
                      </a:lnTo>
                      <a:lnTo>
                        <a:pt x="19136" y="553"/>
                      </a:lnTo>
                      <a:close/>
                      <a:moveTo>
                        <a:pt x="19561" y="598"/>
                      </a:moveTo>
                      <a:lnTo>
                        <a:pt x="19552" y="593"/>
                      </a:lnTo>
                      <a:lnTo>
                        <a:pt x="19583" y="577"/>
                      </a:lnTo>
                      <a:lnTo>
                        <a:pt x="19604" y="586"/>
                      </a:lnTo>
                      <a:lnTo>
                        <a:pt x="19561" y="598"/>
                      </a:lnTo>
                      <a:lnTo>
                        <a:pt x="19561" y="598"/>
                      </a:lnTo>
                      <a:lnTo>
                        <a:pt x="19561" y="598"/>
                      </a:lnTo>
                      <a:close/>
                      <a:moveTo>
                        <a:pt x="19654" y="626"/>
                      </a:moveTo>
                      <a:lnTo>
                        <a:pt x="19583" y="598"/>
                      </a:lnTo>
                      <a:lnTo>
                        <a:pt x="19670" y="610"/>
                      </a:lnTo>
                      <a:lnTo>
                        <a:pt x="19654" y="626"/>
                      </a:lnTo>
                      <a:lnTo>
                        <a:pt x="19654" y="626"/>
                      </a:lnTo>
                      <a:lnTo>
                        <a:pt x="19654" y="626"/>
                      </a:lnTo>
                      <a:close/>
                      <a:moveTo>
                        <a:pt x="18562" y="688"/>
                      </a:moveTo>
                      <a:lnTo>
                        <a:pt x="18546" y="681"/>
                      </a:lnTo>
                      <a:lnTo>
                        <a:pt x="18574" y="688"/>
                      </a:lnTo>
                      <a:lnTo>
                        <a:pt x="18562" y="688"/>
                      </a:lnTo>
                      <a:lnTo>
                        <a:pt x="18562" y="688"/>
                      </a:lnTo>
                      <a:lnTo>
                        <a:pt x="18562" y="688"/>
                      </a:lnTo>
                      <a:close/>
                      <a:moveTo>
                        <a:pt x="19642" y="754"/>
                      </a:moveTo>
                      <a:lnTo>
                        <a:pt x="19637" y="742"/>
                      </a:lnTo>
                      <a:lnTo>
                        <a:pt x="19654" y="725"/>
                      </a:lnTo>
                      <a:lnTo>
                        <a:pt x="19670" y="737"/>
                      </a:lnTo>
                      <a:lnTo>
                        <a:pt x="19670" y="742"/>
                      </a:lnTo>
                      <a:lnTo>
                        <a:pt x="19642" y="754"/>
                      </a:lnTo>
                      <a:lnTo>
                        <a:pt x="19642" y="754"/>
                      </a:lnTo>
                      <a:lnTo>
                        <a:pt x="19642" y="754"/>
                      </a:lnTo>
                      <a:close/>
                      <a:moveTo>
                        <a:pt x="18373" y="758"/>
                      </a:moveTo>
                      <a:lnTo>
                        <a:pt x="18364" y="742"/>
                      </a:lnTo>
                      <a:lnTo>
                        <a:pt x="18373" y="737"/>
                      </a:lnTo>
                      <a:lnTo>
                        <a:pt x="18402" y="742"/>
                      </a:lnTo>
                      <a:lnTo>
                        <a:pt x="18373" y="758"/>
                      </a:lnTo>
                      <a:lnTo>
                        <a:pt x="18373" y="758"/>
                      </a:lnTo>
                      <a:lnTo>
                        <a:pt x="18373" y="758"/>
                      </a:lnTo>
                      <a:close/>
                      <a:moveTo>
                        <a:pt x="19535" y="742"/>
                      </a:moveTo>
                      <a:lnTo>
                        <a:pt x="19552" y="737"/>
                      </a:lnTo>
                      <a:lnTo>
                        <a:pt x="19535" y="742"/>
                      </a:lnTo>
                      <a:lnTo>
                        <a:pt x="19535" y="742"/>
                      </a:lnTo>
                      <a:lnTo>
                        <a:pt x="19535" y="742"/>
                      </a:lnTo>
                      <a:close/>
                      <a:moveTo>
                        <a:pt x="18881" y="754"/>
                      </a:moveTo>
                      <a:lnTo>
                        <a:pt x="18886" y="758"/>
                      </a:lnTo>
                      <a:lnTo>
                        <a:pt x="18860" y="780"/>
                      </a:lnTo>
                      <a:lnTo>
                        <a:pt x="18796" y="780"/>
                      </a:lnTo>
                      <a:lnTo>
                        <a:pt x="18881" y="754"/>
                      </a:lnTo>
                      <a:lnTo>
                        <a:pt x="18881" y="754"/>
                      </a:lnTo>
                      <a:lnTo>
                        <a:pt x="18881" y="754"/>
                      </a:lnTo>
                      <a:close/>
                      <a:moveTo>
                        <a:pt x="18357" y="758"/>
                      </a:moveTo>
                      <a:lnTo>
                        <a:pt x="18331" y="763"/>
                      </a:lnTo>
                      <a:lnTo>
                        <a:pt x="18347" y="763"/>
                      </a:lnTo>
                      <a:lnTo>
                        <a:pt x="18343" y="780"/>
                      </a:lnTo>
                      <a:lnTo>
                        <a:pt x="18331" y="763"/>
                      </a:lnTo>
                      <a:lnTo>
                        <a:pt x="18357" y="758"/>
                      </a:lnTo>
                      <a:lnTo>
                        <a:pt x="18357" y="758"/>
                      </a:lnTo>
                      <a:lnTo>
                        <a:pt x="18357" y="758"/>
                      </a:lnTo>
                      <a:close/>
                      <a:moveTo>
                        <a:pt x="23093" y="758"/>
                      </a:moveTo>
                      <a:lnTo>
                        <a:pt x="23109" y="758"/>
                      </a:lnTo>
                      <a:lnTo>
                        <a:pt x="23088" y="758"/>
                      </a:lnTo>
                      <a:lnTo>
                        <a:pt x="23093" y="758"/>
                      </a:lnTo>
                      <a:lnTo>
                        <a:pt x="23093" y="758"/>
                      </a:lnTo>
                      <a:lnTo>
                        <a:pt x="23093" y="758"/>
                      </a:lnTo>
                      <a:close/>
                      <a:moveTo>
                        <a:pt x="16101" y="1314"/>
                      </a:moveTo>
                      <a:lnTo>
                        <a:pt x="16096" y="1307"/>
                      </a:lnTo>
                      <a:lnTo>
                        <a:pt x="16096" y="1318"/>
                      </a:lnTo>
                      <a:lnTo>
                        <a:pt x="16047" y="1318"/>
                      </a:lnTo>
                      <a:lnTo>
                        <a:pt x="16037" y="1297"/>
                      </a:lnTo>
                      <a:lnTo>
                        <a:pt x="16042" y="1314"/>
                      </a:lnTo>
                      <a:lnTo>
                        <a:pt x="15971" y="1297"/>
                      </a:lnTo>
                      <a:lnTo>
                        <a:pt x="15917" y="1314"/>
                      </a:lnTo>
                      <a:lnTo>
                        <a:pt x="15900" y="1307"/>
                      </a:lnTo>
                      <a:lnTo>
                        <a:pt x="15928" y="1297"/>
                      </a:lnTo>
                      <a:lnTo>
                        <a:pt x="15928" y="1290"/>
                      </a:lnTo>
                      <a:lnTo>
                        <a:pt x="15917" y="1290"/>
                      </a:lnTo>
                      <a:lnTo>
                        <a:pt x="15928" y="1281"/>
                      </a:lnTo>
                      <a:lnTo>
                        <a:pt x="15987" y="1257"/>
                      </a:lnTo>
                      <a:lnTo>
                        <a:pt x="15900" y="1273"/>
                      </a:lnTo>
                      <a:lnTo>
                        <a:pt x="15879" y="1252"/>
                      </a:lnTo>
                      <a:lnTo>
                        <a:pt x="15954" y="1224"/>
                      </a:lnTo>
                      <a:lnTo>
                        <a:pt x="15938" y="1219"/>
                      </a:lnTo>
                      <a:lnTo>
                        <a:pt x="15971" y="1195"/>
                      </a:lnTo>
                      <a:lnTo>
                        <a:pt x="16037" y="1203"/>
                      </a:lnTo>
                      <a:lnTo>
                        <a:pt x="15983" y="1179"/>
                      </a:lnTo>
                      <a:lnTo>
                        <a:pt x="16025" y="1179"/>
                      </a:lnTo>
                      <a:lnTo>
                        <a:pt x="15987" y="1170"/>
                      </a:lnTo>
                      <a:lnTo>
                        <a:pt x="15992" y="1153"/>
                      </a:lnTo>
                      <a:lnTo>
                        <a:pt x="16063" y="1146"/>
                      </a:lnTo>
                      <a:lnTo>
                        <a:pt x="16009" y="1141"/>
                      </a:lnTo>
                      <a:lnTo>
                        <a:pt x="16009" y="1125"/>
                      </a:lnTo>
                      <a:lnTo>
                        <a:pt x="16113" y="1125"/>
                      </a:lnTo>
                      <a:lnTo>
                        <a:pt x="16089" y="1125"/>
                      </a:lnTo>
                      <a:lnTo>
                        <a:pt x="16075" y="1108"/>
                      </a:lnTo>
                      <a:lnTo>
                        <a:pt x="16037" y="1108"/>
                      </a:lnTo>
                      <a:lnTo>
                        <a:pt x="16089" y="1087"/>
                      </a:lnTo>
                      <a:lnTo>
                        <a:pt x="16063" y="1087"/>
                      </a:lnTo>
                      <a:lnTo>
                        <a:pt x="16075" y="1075"/>
                      </a:lnTo>
                      <a:lnTo>
                        <a:pt x="16037" y="1075"/>
                      </a:lnTo>
                      <a:lnTo>
                        <a:pt x="16042" y="1070"/>
                      </a:lnTo>
                      <a:lnTo>
                        <a:pt x="16025" y="1070"/>
                      </a:lnTo>
                      <a:lnTo>
                        <a:pt x="16025" y="1058"/>
                      </a:lnTo>
                      <a:lnTo>
                        <a:pt x="16063" y="1051"/>
                      </a:lnTo>
                      <a:lnTo>
                        <a:pt x="16075" y="1070"/>
                      </a:lnTo>
                      <a:lnTo>
                        <a:pt x="16101" y="1042"/>
                      </a:lnTo>
                      <a:lnTo>
                        <a:pt x="16096" y="1035"/>
                      </a:lnTo>
                      <a:lnTo>
                        <a:pt x="16101" y="1030"/>
                      </a:lnTo>
                      <a:lnTo>
                        <a:pt x="16165" y="1030"/>
                      </a:lnTo>
                      <a:lnTo>
                        <a:pt x="16150" y="1002"/>
                      </a:lnTo>
                      <a:lnTo>
                        <a:pt x="16198" y="997"/>
                      </a:lnTo>
                      <a:lnTo>
                        <a:pt x="16181" y="985"/>
                      </a:lnTo>
                      <a:lnTo>
                        <a:pt x="16235" y="959"/>
                      </a:lnTo>
                      <a:lnTo>
                        <a:pt x="16349" y="931"/>
                      </a:lnTo>
                      <a:lnTo>
                        <a:pt x="16328" y="924"/>
                      </a:lnTo>
                      <a:lnTo>
                        <a:pt x="16344" y="919"/>
                      </a:lnTo>
                      <a:lnTo>
                        <a:pt x="16382" y="919"/>
                      </a:lnTo>
                      <a:lnTo>
                        <a:pt x="16361" y="931"/>
                      </a:lnTo>
                      <a:lnTo>
                        <a:pt x="16370" y="931"/>
                      </a:lnTo>
                      <a:lnTo>
                        <a:pt x="16403" y="907"/>
                      </a:lnTo>
                      <a:lnTo>
                        <a:pt x="16387" y="907"/>
                      </a:lnTo>
                      <a:lnTo>
                        <a:pt x="16398" y="891"/>
                      </a:lnTo>
                      <a:lnTo>
                        <a:pt x="16441" y="886"/>
                      </a:lnTo>
                      <a:lnTo>
                        <a:pt x="16495" y="903"/>
                      </a:lnTo>
                      <a:lnTo>
                        <a:pt x="16580" y="874"/>
                      </a:lnTo>
                      <a:lnTo>
                        <a:pt x="16613" y="886"/>
                      </a:lnTo>
                      <a:lnTo>
                        <a:pt x="16710" y="848"/>
                      </a:lnTo>
                      <a:lnTo>
                        <a:pt x="16743" y="853"/>
                      </a:lnTo>
                      <a:lnTo>
                        <a:pt x="16727" y="832"/>
                      </a:lnTo>
                      <a:lnTo>
                        <a:pt x="16852" y="780"/>
                      </a:lnTo>
                      <a:lnTo>
                        <a:pt x="16921" y="792"/>
                      </a:lnTo>
                      <a:lnTo>
                        <a:pt x="16954" y="815"/>
                      </a:lnTo>
                      <a:lnTo>
                        <a:pt x="16937" y="848"/>
                      </a:lnTo>
                      <a:lnTo>
                        <a:pt x="16944" y="853"/>
                      </a:lnTo>
                      <a:lnTo>
                        <a:pt x="16899" y="886"/>
                      </a:lnTo>
                      <a:lnTo>
                        <a:pt x="16906" y="886"/>
                      </a:lnTo>
                      <a:lnTo>
                        <a:pt x="16684" y="959"/>
                      </a:lnTo>
                      <a:lnTo>
                        <a:pt x="16592" y="981"/>
                      </a:lnTo>
                      <a:lnTo>
                        <a:pt x="16576" y="976"/>
                      </a:lnTo>
                      <a:lnTo>
                        <a:pt x="16559" y="985"/>
                      </a:lnTo>
                      <a:lnTo>
                        <a:pt x="16441" y="1018"/>
                      </a:lnTo>
                      <a:lnTo>
                        <a:pt x="16424" y="1042"/>
                      </a:lnTo>
                      <a:lnTo>
                        <a:pt x="16415" y="1030"/>
                      </a:lnTo>
                      <a:lnTo>
                        <a:pt x="16403" y="1042"/>
                      </a:lnTo>
                      <a:lnTo>
                        <a:pt x="16370" y="1058"/>
                      </a:lnTo>
                      <a:lnTo>
                        <a:pt x="16382" y="1070"/>
                      </a:lnTo>
                      <a:lnTo>
                        <a:pt x="16370" y="1075"/>
                      </a:lnTo>
                      <a:lnTo>
                        <a:pt x="16361" y="1058"/>
                      </a:lnTo>
                      <a:lnTo>
                        <a:pt x="16361" y="1075"/>
                      </a:lnTo>
                      <a:lnTo>
                        <a:pt x="16316" y="1075"/>
                      </a:lnTo>
                      <a:lnTo>
                        <a:pt x="16370" y="1087"/>
                      </a:lnTo>
                      <a:lnTo>
                        <a:pt x="16332" y="1096"/>
                      </a:lnTo>
                      <a:lnTo>
                        <a:pt x="16349" y="1108"/>
                      </a:lnTo>
                      <a:lnTo>
                        <a:pt x="16344" y="1113"/>
                      </a:lnTo>
                      <a:lnTo>
                        <a:pt x="16316" y="1113"/>
                      </a:lnTo>
                      <a:lnTo>
                        <a:pt x="16290" y="1108"/>
                      </a:lnTo>
                      <a:lnTo>
                        <a:pt x="16311" y="1125"/>
                      </a:lnTo>
                      <a:lnTo>
                        <a:pt x="16306" y="1141"/>
                      </a:lnTo>
                      <a:lnTo>
                        <a:pt x="16264" y="1113"/>
                      </a:lnTo>
                      <a:lnTo>
                        <a:pt x="16273" y="1129"/>
                      </a:lnTo>
                      <a:lnTo>
                        <a:pt x="16257" y="1141"/>
                      </a:lnTo>
                      <a:lnTo>
                        <a:pt x="16264" y="1153"/>
                      </a:lnTo>
                      <a:lnTo>
                        <a:pt x="16198" y="1141"/>
                      </a:lnTo>
                      <a:lnTo>
                        <a:pt x="16226" y="1153"/>
                      </a:lnTo>
                      <a:lnTo>
                        <a:pt x="16235" y="1179"/>
                      </a:lnTo>
                      <a:lnTo>
                        <a:pt x="16219" y="1195"/>
                      </a:lnTo>
                      <a:lnTo>
                        <a:pt x="16202" y="1186"/>
                      </a:lnTo>
                      <a:lnTo>
                        <a:pt x="16209" y="1203"/>
                      </a:lnTo>
                      <a:lnTo>
                        <a:pt x="16198" y="1203"/>
                      </a:lnTo>
                      <a:lnTo>
                        <a:pt x="16198" y="1219"/>
                      </a:lnTo>
                      <a:lnTo>
                        <a:pt x="16165" y="1207"/>
                      </a:lnTo>
                      <a:lnTo>
                        <a:pt x="16150" y="1195"/>
                      </a:lnTo>
                      <a:lnTo>
                        <a:pt x="16143" y="1195"/>
                      </a:lnTo>
                      <a:lnTo>
                        <a:pt x="16150" y="1207"/>
                      </a:lnTo>
                      <a:lnTo>
                        <a:pt x="16134" y="1207"/>
                      </a:lnTo>
                      <a:lnTo>
                        <a:pt x="16172" y="1236"/>
                      </a:lnTo>
                      <a:lnTo>
                        <a:pt x="16181" y="1252"/>
                      </a:lnTo>
                      <a:lnTo>
                        <a:pt x="16165" y="1257"/>
                      </a:lnTo>
                      <a:lnTo>
                        <a:pt x="16143" y="1240"/>
                      </a:lnTo>
                      <a:lnTo>
                        <a:pt x="16080" y="1236"/>
                      </a:lnTo>
                      <a:lnTo>
                        <a:pt x="16134" y="1240"/>
                      </a:lnTo>
                      <a:lnTo>
                        <a:pt x="16155" y="1264"/>
                      </a:lnTo>
                      <a:lnTo>
                        <a:pt x="16134" y="1281"/>
                      </a:lnTo>
                      <a:lnTo>
                        <a:pt x="16096" y="1264"/>
                      </a:lnTo>
                      <a:lnTo>
                        <a:pt x="16096" y="1273"/>
                      </a:lnTo>
                      <a:lnTo>
                        <a:pt x="16127" y="1290"/>
                      </a:lnTo>
                      <a:lnTo>
                        <a:pt x="16101" y="1314"/>
                      </a:lnTo>
                      <a:lnTo>
                        <a:pt x="16101" y="1314"/>
                      </a:lnTo>
                      <a:lnTo>
                        <a:pt x="16101" y="1314"/>
                      </a:lnTo>
                      <a:close/>
                      <a:moveTo>
                        <a:pt x="18978" y="815"/>
                      </a:moveTo>
                      <a:lnTo>
                        <a:pt x="18969" y="808"/>
                      </a:lnTo>
                      <a:lnTo>
                        <a:pt x="18978" y="808"/>
                      </a:lnTo>
                      <a:lnTo>
                        <a:pt x="18978" y="815"/>
                      </a:lnTo>
                      <a:lnTo>
                        <a:pt x="18978" y="815"/>
                      </a:lnTo>
                      <a:lnTo>
                        <a:pt x="18978" y="815"/>
                      </a:lnTo>
                      <a:close/>
                      <a:moveTo>
                        <a:pt x="22521" y="836"/>
                      </a:moveTo>
                      <a:lnTo>
                        <a:pt x="22547" y="820"/>
                      </a:lnTo>
                      <a:lnTo>
                        <a:pt x="22585" y="820"/>
                      </a:lnTo>
                      <a:lnTo>
                        <a:pt x="22576" y="836"/>
                      </a:lnTo>
                      <a:lnTo>
                        <a:pt x="22521" y="836"/>
                      </a:lnTo>
                      <a:lnTo>
                        <a:pt x="22521" y="836"/>
                      </a:lnTo>
                      <a:lnTo>
                        <a:pt x="22521" y="836"/>
                      </a:lnTo>
                      <a:close/>
                      <a:moveTo>
                        <a:pt x="18957" y="848"/>
                      </a:moveTo>
                      <a:lnTo>
                        <a:pt x="18940" y="836"/>
                      </a:lnTo>
                      <a:lnTo>
                        <a:pt x="18952" y="820"/>
                      </a:lnTo>
                      <a:lnTo>
                        <a:pt x="18957" y="836"/>
                      </a:lnTo>
                      <a:lnTo>
                        <a:pt x="18957" y="848"/>
                      </a:lnTo>
                      <a:lnTo>
                        <a:pt x="18957" y="848"/>
                      </a:lnTo>
                      <a:lnTo>
                        <a:pt x="18957" y="848"/>
                      </a:lnTo>
                      <a:close/>
                      <a:moveTo>
                        <a:pt x="18827" y="832"/>
                      </a:moveTo>
                      <a:lnTo>
                        <a:pt x="18834" y="832"/>
                      </a:lnTo>
                      <a:lnTo>
                        <a:pt x="18806" y="832"/>
                      </a:lnTo>
                      <a:lnTo>
                        <a:pt x="18827" y="832"/>
                      </a:lnTo>
                      <a:lnTo>
                        <a:pt x="18827" y="832"/>
                      </a:lnTo>
                      <a:lnTo>
                        <a:pt x="18827" y="832"/>
                      </a:lnTo>
                      <a:close/>
                      <a:moveTo>
                        <a:pt x="18789" y="820"/>
                      </a:moveTo>
                      <a:lnTo>
                        <a:pt x="18806" y="832"/>
                      </a:lnTo>
                      <a:lnTo>
                        <a:pt x="18763" y="836"/>
                      </a:lnTo>
                      <a:lnTo>
                        <a:pt x="18789" y="820"/>
                      </a:lnTo>
                      <a:lnTo>
                        <a:pt x="18789" y="820"/>
                      </a:lnTo>
                      <a:lnTo>
                        <a:pt x="18789" y="820"/>
                      </a:lnTo>
                      <a:close/>
                      <a:moveTo>
                        <a:pt x="18881" y="832"/>
                      </a:moveTo>
                      <a:lnTo>
                        <a:pt x="18865" y="836"/>
                      </a:lnTo>
                      <a:lnTo>
                        <a:pt x="18843" y="836"/>
                      </a:lnTo>
                      <a:lnTo>
                        <a:pt x="18881" y="832"/>
                      </a:lnTo>
                      <a:lnTo>
                        <a:pt x="18881" y="832"/>
                      </a:lnTo>
                      <a:lnTo>
                        <a:pt x="18881" y="832"/>
                      </a:lnTo>
                      <a:close/>
                      <a:moveTo>
                        <a:pt x="20010" y="865"/>
                      </a:moveTo>
                      <a:lnTo>
                        <a:pt x="19968" y="836"/>
                      </a:lnTo>
                      <a:lnTo>
                        <a:pt x="20010" y="836"/>
                      </a:lnTo>
                      <a:lnTo>
                        <a:pt x="20020" y="853"/>
                      </a:lnTo>
                      <a:lnTo>
                        <a:pt x="20010" y="865"/>
                      </a:lnTo>
                      <a:lnTo>
                        <a:pt x="20010" y="865"/>
                      </a:lnTo>
                      <a:lnTo>
                        <a:pt x="20010" y="865"/>
                      </a:lnTo>
                      <a:close/>
                      <a:moveTo>
                        <a:pt x="18704" y="836"/>
                      </a:moveTo>
                      <a:lnTo>
                        <a:pt x="18735" y="848"/>
                      </a:lnTo>
                      <a:lnTo>
                        <a:pt x="18697" y="848"/>
                      </a:lnTo>
                      <a:lnTo>
                        <a:pt x="18704" y="836"/>
                      </a:lnTo>
                      <a:lnTo>
                        <a:pt x="18704" y="836"/>
                      </a:lnTo>
                      <a:lnTo>
                        <a:pt x="18704" y="836"/>
                      </a:lnTo>
                      <a:close/>
                      <a:moveTo>
                        <a:pt x="20048" y="874"/>
                      </a:moveTo>
                      <a:lnTo>
                        <a:pt x="20065" y="870"/>
                      </a:lnTo>
                      <a:lnTo>
                        <a:pt x="20069" y="874"/>
                      </a:lnTo>
                      <a:lnTo>
                        <a:pt x="20048" y="874"/>
                      </a:lnTo>
                      <a:lnTo>
                        <a:pt x="20048" y="874"/>
                      </a:lnTo>
                      <a:lnTo>
                        <a:pt x="20048" y="874"/>
                      </a:lnTo>
                      <a:close/>
                      <a:moveTo>
                        <a:pt x="18902" y="907"/>
                      </a:moveTo>
                      <a:lnTo>
                        <a:pt x="18898" y="903"/>
                      </a:lnTo>
                      <a:lnTo>
                        <a:pt x="18902" y="874"/>
                      </a:lnTo>
                      <a:lnTo>
                        <a:pt x="18919" y="886"/>
                      </a:lnTo>
                      <a:lnTo>
                        <a:pt x="18902" y="907"/>
                      </a:lnTo>
                      <a:lnTo>
                        <a:pt x="18902" y="907"/>
                      </a:lnTo>
                      <a:lnTo>
                        <a:pt x="18902" y="907"/>
                      </a:lnTo>
                      <a:close/>
                      <a:moveTo>
                        <a:pt x="18898" y="886"/>
                      </a:moveTo>
                      <a:lnTo>
                        <a:pt x="18872" y="886"/>
                      </a:lnTo>
                      <a:lnTo>
                        <a:pt x="18902" y="886"/>
                      </a:lnTo>
                      <a:lnTo>
                        <a:pt x="18898" y="886"/>
                      </a:lnTo>
                      <a:lnTo>
                        <a:pt x="18898" y="886"/>
                      </a:lnTo>
                      <a:lnTo>
                        <a:pt x="18898" y="886"/>
                      </a:lnTo>
                      <a:close/>
                      <a:moveTo>
                        <a:pt x="18872" y="919"/>
                      </a:moveTo>
                      <a:lnTo>
                        <a:pt x="18796" y="903"/>
                      </a:lnTo>
                      <a:lnTo>
                        <a:pt x="18806" y="886"/>
                      </a:lnTo>
                      <a:lnTo>
                        <a:pt x="18898" y="891"/>
                      </a:lnTo>
                      <a:lnTo>
                        <a:pt x="18886" y="907"/>
                      </a:lnTo>
                      <a:lnTo>
                        <a:pt x="18886" y="891"/>
                      </a:lnTo>
                      <a:lnTo>
                        <a:pt x="18872" y="891"/>
                      </a:lnTo>
                      <a:lnTo>
                        <a:pt x="18872" y="903"/>
                      </a:lnTo>
                      <a:lnTo>
                        <a:pt x="18872" y="907"/>
                      </a:lnTo>
                      <a:lnTo>
                        <a:pt x="18872" y="919"/>
                      </a:lnTo>
                      <a:lnTo>
                        <a:pt x="18872" y="919"/>
                      </a:lnTo>
                      <a:lnTo>
                        <a:pt x="18872" y="919"/>
                      </a:lnTo>
                      <a:close/>
                      <a:moveTo>
                        <a:pt x="18758" y="891"/>
                      </a:moveTo>
                      <a:lnTo>
                        <a:pt x="18780" y="891"/>
                      </a:lnTo>
                      <a:lnTo>
                        <a:pt x="18763" y="903"/>
                      </a:lnTo>
                      <a:lnTo>
                        <a:pt x="18735" y="903"/>
                      </a:lnTo>
                      <a:lnTo>
                        <a:pt x="18763" y="903"/>
                      </a:lnTo>
                      <a:lnTo>
                        <a:pt x="18758" y="891"/>
                      </a:lnTo>
                      <a:lnTo>
                        <a:pt x="18758" y="891"/>
                      </a:lnTo>
                      <a:lnTo>
                        <a:pt x="18758" y="891"/>
                      </a:lnTo>
                      <a:close/>
                      <a:moveTo>
                        <a:pt x="18780" y="903"/>
                      </a:moveTo>
                      <a:lnTo>
                        <a:pt x="18789" y="907"/>
                      </a:lnTo>
                      <a:lnTo>
                        <a:pt x="18780" y="907"/>
                      </a:lnTo>
                      <a:lnTo>
                        <a:pt x="18780" y="903"/>
                      </a:lnTo>
                      <a:lnTo>
                        <a:pt x="18780" y="903"/>
                      </a:lnTo>
                      <a:lnTo>
                        <a:pt x="18780" y="903"/>
                      </a:lnTo>
                      <a:close/>
                      <a:moveTo>
                        <a:pt x="22105" y="1108"/>
                      </a:moveTo>
                      <a:lnTo>
                        <a:pt x="22072" y="1087"/>
                      </a:lnTo>
                      <a:lnTo>
                        <a:pt x="22098" y="1087"/>
                      </a:lnTo>
                      <a:lnTo>
                        <a:pt x="22089" y="1075"/>
                      </a:lnTo>
                      <a:lnTo>
                        <a:pt x="21938" y="1096"/>
                      </a:lnTo>
                      <a:lnTo>
                        <a:pt x="21909" y="1087"/>
                      </a:lnTo>
                      <a:lnTo>
                        <a:pt x="21900" y="1087"/>
                      </a:lnTo>
                      <a:lnTo>
                        <a:pt x="21905" y="1096"/>
                      </a:lnTo>
                      <a:lnTo>
                        <a:pt x="21900" y="1113"/>
                      </a:lnTo>
                      <a:lnTo>
                        <a:pt x="21867" y="1125"/>
                      </a:lnTo>
                      <a:lnTo>
                        <a:pt x="21791" y="1096"/>
                      </a:lnTo>
                      <a:lnTo>
                        <a:pt x="21782" y="1087"/>
                      </a:lnTo>
                      <a:lnTo>
                        <a:pt x="21737" y="1058"/>
                      </a:lnTo>
                      <a:lnTo>
                        <a:pt x="21711" y="1030"/>
                      </a:lnTo>
                      <a:lnTo>
                        <a:pt x="21749" y="1030"/>
                      </a:lnTo>
                      <a:lnTo>
                        <a:pt x="21749" y="1018"/>
                      </a:lnTo>
                      <a:lnTo>
                        <a:pt x="21737" y="1018"/>
                      </a:lnTo>
                      <a:lnTo>
                        <a:pt x="21744" y="985"/>
                      </a:lnTo>
                      <a:lnTo>
                        <a:pt x="21720" y="985"/>
                      </a:lnTo>
                      <a:lnTo>
                        <a:pt x="21737" y="981"/>
                      </a:lnTo>
                      <a:lnTo>
                        <a:pt x="21728" y="976"/>
                      </a:lnTo>
                      <a:lnTo>
                        <a:pt x="21737" y="964"/>
                      </a:lnTo>
                      <a:lnTo>
                        <a:pt x="21775" y="964"/>
                      </a:lnTo>
                      <a:lnTo>
                        <a:pt x="21749" y="943"/>
                      </a:lnTo>
                      <a:lnTo>
                        <a:pt x="21820" y="907"/>
                      </a:lnTo>
                      <a:lnTo>
                        <a:pt x="21829" y="924"/>
                      </a:lnTo>
                      <a:lnTo>
                        <a:pt x="21829" y="903"/>
                      </a:lnTo>
                      <a:lnTo>
                        <a:pt x="21850" y="903"/>
                      </a:lnTo>
                      <a:lnTo>
                        <a:pt x="21872" y="919"/>
                      </a:lnTo>
                      <a:lnTo>
                        <a:pt x="21921" y="931"/>
                      </a:lnTo>
                      <a:lnTo>
                        <a:pt x="21926" y="943"/>
                      </a:lnTo>
                      <a:lnTo>
                        <a:pt x="21921" y="947"/>
                      </a:lnTo>
                      <a:lnTo>
                        <a:pt x="21926" y="959"/>
                      </a:lnTo>
                      <a:lnTo>
                        <a:pt x="21964" y="964"/>
                      </a:lnTo>
                      <a:lnTo>
                        <a:pt x="21964" y="981"/>
                      </a:lnTo>
                      <a:lnTo>
                        <a:pt x="22009" y="981"/>
                      </a:lnTo>
                      <a:lnTo>
                        <a:pt x="21997" y="976"/>
                      </a:lnTo>
                      <a:lnTo>
                        <a:pt x="22009" y="924"/>
                      </a:lnTo>
                      <a:lnTo>
                        <a:pt x="22046" y="931"/>
                      </a:lnTo>
                      <a:lnTo>
                        <a:pt x="22030" y="903"/>
                      </a:lnTo>
                      <a:lnTo>
                        <a:pt x="22115" y="947"/>
                      </a:lnTo>
                      <a:lnTo>
                        <a:pt x="22207" y="959"/>
                      </a:lnTo>
                      <a:lnTo>
                        <a:pt x="22316" y="1002"/>
                      </a:lnTo>
                      <a:lnTo>
                        <a:pt x="22266" y="1014"/>
                      </a:lnTo>
                      <a:lnTo>
                        <a:pt x="22261" y="1030"/>
                      </a:lnTo>
                      <a:lnTo>
                        <a:pt x="22283" y="1035"/>
                      </a:lnTo>
                      <a:lnTo>
                        <a:pt x="22245" y="1070"/>
                      </a:lnTo>
                      <a:lnTo>
                        <a:pt x="22212" y="1075"/>
                      </a:lnTo>
                      <a:lnTo>
                        <a:pt x="22136" y="1058"/>
                      </a:lnTo>
                      <a:lnTo>
                        <a:pt x="22105" y="1030"/>
                      </a:lnTo>
                      <a:lnTo>
                        <a:pt x="22115" y="1014"/>
                      </a:lnTo>
                      <a:lnTo>
                        <a:pt x="22143" y="985"/>
                      </a:lnTo>
                      <a:lnTo>
                        <a:pt x="22143" y="981"/>
                      </a:lnTo>
                      <a:lnTo>
                        <a:pt x="22105" y="976"/>
                      </a:lnTo>
                      <a:lnTo>
                        <a:pt x="22084" y="985"/>
                      </a:lnTo>
                      <a:lnTo>
                        <a:pt x="22084" y="1018"/>
                      </a:lnTo>
                      <a:lnTo>
                        <a:pt x="22115" y="1058"/>
                      </a:lnTo>
                      <a:lnTo>
                        <a:pt x="22191" y="1087"/>
                      </a:lnTo>
                      <a:lnTo>
                        <a:pt x="22122" y="1092"/>
                      </a:lnTo>
                      <a:lnTo>
                        <a:pt x="22105" y="1108"/>
                      </a:lnTo>
                      <a:lnTo>
                        <a:pt x="22105" y="1108"/>
                      </a:lnTo>
                      <a:lnTo>
                        <a:pt x="22105" y="1108"/>
                      </a:lnTo>
                      <a:close/>
                      <a:moveTo>
                        <a:pt x="22816" y="907"/>
                      </a:moveTo>
                      <a:lnTo>
                        <a:pt x="22807" y="907"/>
                      </a:lnTo>
                      <a:lnTo>
                        <a:pt x="22833" y="907"/>
                      </a:lnTo>
                      <a:lnTo>
                        <a:pt x="22816" y="907"/>
                      </a:lnTo>
                      <a:lnTo>
                        <a:pt x="22816" y="907"/>
                      </a:lnTo>
                      <a:lnTo>
                        <a:pt x="22816" y="907"/>
                      </a:lnTo>
                      <a:close/>
                      <a:moveTo>
                        <a:pt x="16316" y="907"/>
                      </a:moveTo>
                      <a:lnTo>
                        <a:pt x="16361" y="903"/>
                      </a:lnTo>
                      <a:lnTo>
                        <a:pt x="16311" y="919"/>
                      </a:lnTo>
                      <a:lnTo>
                        <a:pt x="16316" y="907"/>
                      </a:lnTo>
                      <a:lnTo>
                        <a:pt x="16316" y="907"/>
                      </a:lnTo>
                      <a:lnTo>
                        <a:pt x="16316" y="907"/>
                      </a:lnTo>
                      <a:close/>
                      <a:moveTo>
                        <a:pt x="21997" y="924"/>
                      </a:moveTo>
                      <a:lnTo>
                        <a:pt x="21992" y="919"/>
                      </a:lnTo>
                      <a:lnTo>
                        <a:pt x="21997" y="907"/>
                      </a:lnTo>
                      <a:lnTo>
                        <a:pt x="22013" y="919"/>
                      </a:lnTo>
                      <a:lnTo>
                        <a:pt x="21997" y="924"/>
                      </a:lnTo>
                      <a:lnTo>
                        <a:pt x="21997" y="924"/>
                      </a:lnTo>
                      <a:lnTo>
                        <a:pt x="21997" y="924"/>
                      </a:lnTo>
                      <a:close/>
                      <a:moveTo>
                        <a:pt x="17932" y="943"/>
                      </a:moveTo>
                      <a:lnTo>
                        <a:pt x="17889" y="943"/>
                      </a:lnTo>
                      <a:lnTo>
                        <a:pt x="17953" y="943"/>
                      </a:lnTo>
                      <a:lnTo>
                        <a:pt x="17932" y="943"/>
                      </a:lnTo>
                      <a:lnTo>
                        <a:pt x="17932" y="943"/>
                      </a:lnTo>
                      <a:lnTo>
                        <a:pt x="17932" y="943"/>
                      </a:lnTo>
                      <a:close/>
                      <a:moveTo>
                        <a:pt x="16240" y="943"/>
                      </a:moveTo>
                      <a:lnTo>
                        <a:pt x="16273" y="931"/>
                      </a:lnTo>
                      <a:lnTo>
                        <a:pt x="16235" y="947"/>
                      </a:lnTo>
                      <a:lnTo>
                        <a:pt x="16240" y="943"/>
                      </a:lnTo>
                      <a:lnTo>
                        <a:pt x="16240" y="943"/>
                      </a:lnTo>
                      <a:lnTo>
                        <a:pt x="16240" y="943"/>
                      </a:lnTo>
                      <a:close/>
                      <a:moveTo>
                        <a:pt x="17839" y="943"/>
                      </a:moveTo>
                      <a:lnTo>
                        <a:pt x="17889" y="947"/>
                      </a:lnTo>
                      <a:lnTo>
                        <a:pt x="17835" y="943"/>
                      </a:lnTo>
                      <a:lnTo>
                        <a:pt x="17839" y="943"/>
                      </a:lnTo>
                      <a:lnTo>
                        <a:pt x="17839" y="943"/>
                      </a:lnTo>
                      <a:lnTo>
                        <a:pt x="17839" y="943"/>
                      </a:lnTo>
                      <a:close/>
                      <a:moveTo>
                        <a:pt x="16257" y="947"/>
                      </a:moveTo>
                      <a:lnTo>
                        <a:pt x="16273" y="943"/>
                      </a:lnTo>
                      <a:lnTo>
                        <a:pt x="16252" y="947"/>
                      </a:lnTo>
                      <a:lnTo>
                        <a:pt x="16257" y="947"/>
                      </a:lnTo>
                      <a:lnTo>
                        <a:pt x="16257" y="947"/>
                      </a:lnTo>
                      <a:lnTo>
                        <a:pt x="16257" y="947"/>
                      </a:lnTo>
                      <a:close/>
                      <a:moveTo>
                        <a:pt x="21614" y="1018"/>
                      </a:moveTo>
                      <a:lnTo>
                        <a:pt x="21631" y="997"/>
                      </a:lnTo>
                      <a:lnTo>
                        <a:pt x="21619" y="981"/>
                      </a:lnTo>
                      <a:lnTo>
                        <a:pt x="21635" y="959"/>
                      </a:lnTo>
                      <a:lnTo>
                        <a:pt x="21640" y="981"/>
                      </a:lnTo>
                      <a:lnTo>
                        <a:pt x="21668" y="985"/>
                      </a:lnTo>
                      <a:lnTo>
                        <a:pt x="21652" y="1002"/>
                      </a:lnTo>
                      <a:lnTo>
                        <a:pt x="21657" y="1014"/>
                      </a:lnTo>
                      <a:lnTo>
                        <a:pt x="21652" y="1018"/>
                      </a:lnTo>
                      <a:lnTo>
                        <a:pt x="21614" y="1018"/>
                      </a:lnTo>
                      <a:lnTo>
                        <a:pt x="21614" y="1018"/>
                      </a:lnTo>
                      <a:lnTo>
                        <a:pt x="21614" y="1018"/>
                      </a:lnTo>
                      <a:close/>
                      <a:moveTo>
                        <a:pt x="22391" y="985"/>
                      </a:moveTo>
                      <a:lnTo>
                        <a:pt x="22408" y="1002"/>
                      </a:lnTo>
                      <a:lnTo>
                        <a:pt x="22396" y="1014"/>
                      </a:lnTo>
                      <a:lnTo>
                        <a:pt x="22424" y="1030"/>
                      </a:lnTo>
                      <a:lnTo>
                        <a:pt x="22450" y="1030"/>
                      </a:lnTo>
                      <a:lnTo>
                        <a:pt x="22439" y="1030"/>
                      </a:lnTo>
                      <a:lnTo>
                        <a:pt x="22450" y="1014"/>
                      </a:lnTo>
                      <a:lnTo>
                        <a:pt x="22521" y="1018"/>
                      </a:lnTo>
                      <a:lnTo>
                        <a:pt x="22538" y="1018"/>
                      </a:lnTo>
                      <a:lnTo>
                        <a:pt x="22531" y="1035"/>
                      </a:lnTo>
                      <a:lnTo>
                        <a:pt x="22538" y="1042"/>
                      </a:lnTo>
                      <a:lnTo>
                        <a:pt x="22590" y="1035"/>
                      </a:lnTo>
                      <a:lnTo>
                        <a:pt x="22644" y="1042"/>
                      </a:lnTo>
                      <a:lnTo>
                        <a:pt x="22665" y="1070"/>
                      </a:lnTo>
                      <a:lnTo>
                        <a:pt x="22698" y="1058"/>
                      </a:lnTo>
                      <a:lnTo>
                        <a:pt x="22682" y="1075"/>
                      </a:lnTo>
                      <a:lnTo>
                        <a:pt x="22677" y="1092"/>
                      </a:lnTo>
                      <a:lnTo>
                        <a:pt x="22613" y="1113"/>
                      </a:lnTo>
                      <a:lnTo>
                        <a:pt x="22514" y="1108"/>
                      </a:lnTo>
                      <a:lnTo>
                        <a:pt x="22358" y="1042"/>
                      </a:lnTo>
                      <a:lnTo>
                        <a:pt x="22387" y="997"/>
                      </a:lnTo>
                      <a:lnTo>
                        <a:pt x="22391" y="985"/>
                      </a:lnTo>
                      <a:lnTo>
                        <a:pt x="22391" y="985"/>
                      </a:lnTo>
                      <a:lnTo>
                        <a:pt x="22391" y="985"/>
                      </a:lnTo>
                      <a:close/>
                      <a:moveTo>
                        <a:pt x="17877" y="1002"/>
                      </a:moveTo>
                      <a:lnTo>
                        <a:pt x="17872" y="1014"/>
                      </a:lnTo>
                      <a:lnTo>
                        <a:pt x="17889" y="1030"/>
                      </a:lnTo>
                      <a:lnTo>
                        <a:pt x="17872" y="1030"/>
                      </a:lnTo>
                      <a:lnTo>
                        <a:pt x="17872" y="1051"/>
                      </a:lnTo>
                      <a:lnTo>
                        <a:pt x="17856" y="1042"/>
                      </a:lnTo>
                      <a:lnTo>
                        <a:pt x="17856" y="1035"/>
                      </a:lnTo>
                      <a:lnTo>
                        <a:pt x="17844" y="1035"/>
                      </a:lnTo>
                      <a:lnTo>
                        <a:pt x="17835" y="1030"/>
                      </a:lnTo>
                      <a:lnTo>
                        <a:pt x="17877" y="1002"/>
                      </a:lnTo>
                      <a:lnTo>
                        <a:pt x="17877" y="1002"/>
                      </a:lnTo>
                      <a:lnTo>
                        <a:pt x="17877" y="1002"/>
                      </a:lnTo>
                      <a:close/>
                      <a:moveTo>
                        <a:pt x="18217" y="1075"/>
                      </a:moveTo>
                      <a:lnTo>
                        <a:pt x="18222" y="1087"/>
                      </a:lnTo>
                      <a:lnTo>
                        <a:pt x="18196" y="1092"/>
                      </a:lnTo>
                      <a:lnTo>
                        <a:pt x="18201" y="1096"/>
                      </a:lnTo>
                      <a:lnTo>
                        <a:pt x="18163" y="1092"/>
                      </a:lnTo>
                      <a:lnTo>
                        <a:pt x="18217" y="1075"/>
                      </a:lnTo>
                      <a:lnTo>
                        <a:pt x="18217" y="1075"/>
                      </a:lnTo>
                      <a:lnTo>
                        <a:pt x="18217" y="1075"/>
                      </a:lnTo>
                      <a:close/>
                      <a:moveTo>
                        <a:pt x="18109" y="1108"/>
                      </a:moveTo>
                      <a:lnTo>
                        <a:pt x="18125" y="1113"/>
                      </a:lnTo>
                      <a:lnTo>
                        <a:pt x="18087" y="1113"/>
                      </a:lnTo>
                      <a:lnTo>
                        <a:pt x="18109" y="1108"/>
                      </a:lnTo>
                      <a:lnTo>
                        <a:pt x="18109" y="1108"/>
                      </a:lnTo>
                      <a:lnTo>
                        <a:pt x="18109" y="1108"/>
                      </a:lnTo>
                      <a:close/>
                      <a:moveTo>
                        <a:pt x="17672" y="1129"/>
                      </a:moveTo>
                      <a:lnTo>
                        <a:pt x="17700" y="1129"/>
                      </a:lnTo>
                      <a:lnTo>
                        <a:pt x="17693" y="1146"/>
                      </a:lnTo>
                      <a:lnTo>
                        <a:pt x="17672" y="1129"/>
                      </a:lnTo>
                      <a:lnTo>
                        <a:pt x="17672" y="1129"/>
                      </a:lnTo>
                      <a:lnTo>
                        <a:pt x="17672" y="1129"/>
                      </a:lnTo>
                      <a:close/>
                      <a:moveTo>
                        <a:pt x="18125" y="1141"/>
                      </a:moveTo>
                      <a:lnTo>
                        <a:pt x="18104" y="1153"/>
                      </a:lnTo>
                      <a:lnTo>
                        <a:pt x="18087" y="1146"/>
                      </a:lnTo>
                      <a:lnTo>
                        <a:pt x="18125" y="1141"/>
                      </a:lnTo>
                      <a:lnTo>
                        <a:pt x="18125" y="1141"/>
                      </a:lnTo>
                      <a:lnTo>
                        <a:pt x="18125" y="1141"/>
                      </a:lnTo>
                      <a:close/>
                      <a:moveTo>
                        <a:pt x="18142" y="1153"/>
                      </a:moveTo>
                      <a:lnTo>
                        <a:pt x="18125" y="1153"/>
                      </a:lnTo>
                      <a:lnTo>
                        <a:pt x="18130" y="1141"/>
                      </a:lnTo>
                      <a:lnTo>
                        <a:pt x="18163" y="1146"/>
                      </a:lnTo>
                      <a:lnTo>
                        <a:pt x="18142" y="1153"/>
                      </a:lnTo>
                      <a:lnTo>
                        <a:pt x="18142" y="1153"/>
                      </a:lnTo>
                      <a:lnTo>
                        <a:pt x="18142" y="1153"/>
                      </a:lnTo>
                      <a:close/>
                      <a:moveTo>
                        <a:pt x="20020" y="1207"/>
                      </a:moveTo>
                      <a:lnTo>
                        <a:pt x="19982" y="1203"/>
                      </a:lnTo>
                      <a:lnTo>
                        <a:pt x="19930" y="1170"/>
                      </a:lnTo>
                      <a:lnTo>
                        <a:pt x="19961" y="1170"/>
                      </a:lnTo>
                      <a:lnTo>
                        <a:pt x="19977" y="1141"/>
                      </a:lnTo>
                      <a:lnTo>
                        <a:pt x="20069" y="1162"/>
                      </a:lnTo>
                      <a:lnTo>
                        <a:pt x="20053" y="1186"/>
                      </a:lnTo>
                      <a:lnTo>
                        <a:pt x="20020" y="1207"/>
                      </a:lnTo>
                      <a:lnTo>
                        <a:pt x="20020" y="1207"/>
                      </a:lnTo>
                      <a:lnTo>
                        <a:pt x="20020" y="1207"/>
                      </a:lnTo>
                      <a:close/>
                      <a:moveTo>
                        <a:pt x="18054" y="1146"/>
                      </a:moveTo>
                      <a:lnTo>
                        <a:pt x="18071" y="1153"/>
                      </a:lnTo>
                      <a:lnTo>
                        <a:pt x="18050" y="1153"/>
                      </a:lnTo>
                      <a:lnTo>
                        <a:pt x="18054" y="1162"/>
                      </a:lnTo>
                      <a:lnTo>
                        <a:pt x="18033" y="1153"/>
                      </a:lnTo>
                      <a:lnTo>
                        <a:pt x="18054" y="1146"/>
                      </a:lnTo>
                      <a:lnTo>
                        <a:pt x="18054" y="1146"/>
                      </a:lnTo>
                      <a:lnTo>
                        <a:pt x="18054" y="1146"/>
                      </a:lnTo>
                      <a:close/>
                      <a:moveTo>
                        <a:pt x="20246" y="1179"/>
                      </a:moveTo>
                      <a:lnTo>
                        <a:pt x="20246" y="1162"/>
                      </a:lnTo>
                      <a:lnTo>
                        <a:pt x="20263" y="1179"/>
                      </a:lnTo>
                      <a:lnTo>
                        <a:pt x="20246" y="1179"/>
                      </a:lnTo>
                      <a:lnTo>
                        <a:pt x="20246" y="1179"/>
                      </a:lnTo>
                      <a:lnTo>
                        <a:pt x="20246" y="1179"/>
                      </a:lnTo>
                      <a:close/>
                      <a:moveTo>
                        <a:pt x="21964" y="1236"/>
                      </a:moveTo>
                      <a:lnTo>
                        <a:pt x="21942" y="1219"/>
                      </a:lnTo>
                      <a:lnTo>
                        <a:pt x="21942" y="1195"/>
                      </a:lnTo>
                      <a:lnTo>
                        <a:pt x="21980" y="1179"/>
                      </a:lnTo>
                      <a:lnTo>
                        <a:pt x="22013" y="1195"/>
                      </a:lnTo>
                      <a:lnTo>
                        <a:pt x="22009" y="1219"/>
                      </a:lnTo>
                      <a:lnTo>
                        <a:pt x="21964" y="1236"/>
                      </a:lnTo>
                      <a:lnTo>
                        <a:pt x="21964" y="1236"/>
                      </a:lnTo>
                      <a:lnTo>
                        <a:pt x="21964" y="1236"/>
                      </a:lnTo>
                      <a:close/>
                      <a:moveTo>
                        <a:pt x="21614" y="1186"/>
                      </a:moveTo>
                      <a:lnTo>
                        <a:pt x="21657" y="1207"/>
                      </a:lnTo>
                      <a:lnTo>
                        <a:pt x="21673" y="1224"/>
                      </a:lnTo>
                      <a:lnTo>
                        <a:pt x="21657" y="1236"/>
                      </a:lnTo>
                      <a:lnTo>
                        <a:pt x="21614" y="1195"/>
                      </a:lnTo>
                      <a:lnTo>
                        <a:pt x="21614" y="1186"/>
                      </a:lnTo>
                      <a:lnTo>
                        <a:pt x="21614" y="1186"/>
                      </a:lnTo>
                      <a:lnTo>
                        <a:pt x="21614" y="1186"/>
                      </a:lnTo>
                      <a:close/>
                      <a:moveTo>
                        <a:pt x="18125" y="1195"/>
                      </a:moveTo>
                      <a:lnTo>
                        <a:pt x="18109" y="1203"/>
                      </a:lnTo>
                      <a:lnTo>
                        <a:pt x="18116" y="1195"/>
                      </a:lnTo>
                      <a:lnTo>
                        <a:pt x="18104" y="1195"/>
                      </a:lnTo>
                      <a:lnTo>
                        <a:pt x="18125" y="1195"/>
                      </a:lnTo>
                      <a:lnTo>
                        <a:pt x="18125" y="1195"/>
                      </a:lnTo>
                      <a:lnTo>
                        <a:pt x="18125" y="1195"/>
                      </a:lnTo>
                      <a:close/>
                      <a:moveTo>
                        <a:pt x="17910" y="1195"/>
                      </a:moveTo>
                      <a:lnTo>
                        <a:pt x="17915" y="1203"/>
                      </a:lnTo>
                      <a:lnTo>
                        <a:pt x="17889" y="1203"/>
                      </a:lnTo>
                      <a:lnTo>
                        <a:pt x="17910" y="1195"/>
                      </a:lnTo>
                      <a:lnTo>
                        <a:pt x="17910" y="1195"/>
                      </a:lnTo>
                      <a:lnTo>
                        <a:pt x="17910" y="1195"/>
                      </a:lnTo>
                      <a:close/>
                      <a:moveTo>
                        <a:pt x="17927" y="1207"/>
                      </a:moveTo>
                      <a:lnTo>
                        <a:pt x="17948" y="1195"/>
                      </a:lnTo>
                      <a:lnTo>
                        <a:pt x="17979" y="1207"/>
                      </a:lnTo>
                      <a:lnTo>
                        <a:pt x="17927" y="1207"/>
                      </a:lnTo>
                      <a:lnTo>
                        <a:pt x="17927" y="1207"/>
                      </a:lnTo>
                      <a:lnTo>
                        <a:pt x="17927" y="1207"/>
                      </a:lnTo>
                      <a:close/>
                      <a:moveTo>
                        <a:pt x="18002" y="1219"/>
                      </a:moveTo>
                      <a:lnTo>
                        <a:pt x="18033" y="1207"/>
                      </a:lnTo>
                      <a:lnTo>
                        <a:pt x="18033" y="1224"/>
                      </a:lnTo>
                      <a:lnTo>
                        <a:pt x="18002" y="1219"/>
                      </a:lnTo>
                      <a:lnTo>
                        <a:pt x="18002" y="1219"/>
                      </a:lnTo>
                      <a:lnTo>
                        <a:pt x="18002" y="1219"/>
                      </a:lnTo>
                      <a:close/>
                      <a:moveTo>
                        <a:pt x="20846" y="1240"/>
                      </a:moveTo>
                      <a:lnTo>
                        <a:pt x="20830" y="1236"/>
                      </a:lnTo>
                      <a:lnTo>
                        <a:pt x="20858" y="1236"/>
                      </a:lnTo>
                      <a:lnTo>
                        <a:pt x="20846" y="1240"/>
                      </a:lnTo>
                      <a:lnTo>
                        <a:pt x="20846" y="1240"/>
                      </a:lnTo>
                      <a:lnTo>
                        <a:pt x="20846" y="1240"/>
                      </a:lnTo>
                      <a:close/>
                      <a:moveTo>
                        <a:pt x="22013" y="1236"/>
                      </a:moveTo>
                      <a:lnTo>
                        <a:pt x="22072" y="1236"/>
                      </a:lnTo>
                      <a:lnTo>
                        <a:pt x="22115" y="1240"/>
                      </a:lnTo>
                      <a:lnTo>
                        <a:pt x="22174" y="1290"/>
                      </a:lnTo>
                      <a:lnTo>
                        <a:pt x="22181" y="1297"/>
                      </a:lnTo>
                      <a:lnTo>
                        <a:pt x="22174" y="1307"/>
                      </a:lnTo>
                      <a:lnTo>
                        <a:pt x="22181" y="1330"/>
                      </a:lnTo>
                      <a:lnTo>
                        <a:pt x="22098" y="1318"/>
                      </a:lnTo>
                      <a:lnTo>
                        <a:pt x="21992" y="1297"/>
                      </a:lnTo>
                      <a:lnTo>
                        <a:pt x="21926" y="1314"/>
                      </a:lnTo>
                      <a:lnTo>
                        <a:pt x="21909" y="1307"/>
                      </a:lnTo>
                      <a:lnTo>
                        <a:pt x="21964" y="1290"/>
                      </a:lnTo>
                      <a:lnTo>
                        <a:pt x="22013" y="1236"/>
                      </a:lnTo>
                      <a:lnTo>
                        <a:pt x="22013" y="1236"/>
                      </a:lnTo>
                      <a:lnTo>
                        <a:pt x="22013" y="1236"/>
                      </a:lnTo>
                      <a:close/>
                      <a:moveTo>
                        <a:pt x="20776" y="1330"/>
                      </a:moveTo>
                      <a:lnTo>
                        <a:pt x="20754" y="1307"/>
                      </a:lnTo>
                      <a:lnTo>
                        <a:pt x="20754" y="1281"/>
                      </a:lnTo>
                      <a:lnTo>
                        <a:pt x="20771" y="1264"/>
                      </a:lnTo>
                      <a:lnTo>
                        <a:pt x="20809" y="1273"/>
                      </a:lnTo>
                      <a:lnTo>
                        <a:pt x="20804" y="1252"/>
                      </a:lnTo>
                      <a:lnTo>
                        <a:pt x="20820" y="1264"/>
                      </a:lnTo>
                      <a:lnTo>
                        <a:pt x="20842" y="1252"/>
                      </a:lnTo>
                      <a:lnTo>
                        <a:pt x="20880" y="1273"/>
                      </a:lnTo>
                      <a:lnTo>
                        <a:pt x="20896" y="1264"/>
                      </a:lnTo>
                      <a:lnTo>
                        <a:pt x="20901" y="1281"/>
                      </a:lnTo>
                      <a:lnTo>
                        <a:pt x="20927" y="1281"/>
                      </a:lnTo>
                      <a:lnTo>
                        <a:pt x="20917" y="1297"/>
                      </a:lnTo>
                      <a:lnTo>
                        <a:pt x="20917" y="1307"/>
                      </a:lnTo>
                      <a:lnTo>
                        <a:pt x="20972" y="1281"/>
                      </a:lnTo>
                      <a:lnTo>
                        <a:pt x="20981" y="1290"/>
                      </a:lnTo>
                      <a:lnTo>
                        <a:pt x="20965" y="1307"/>
                      </a:lnTo>
                      <a:lnTo>
                        <a:pt x="20988" y="1307"/>
                      </a:lnTo>
                      <a:lnTo>
                        <a:pt x="21002" y="1347"/>
                      </a:lnTo>
                      <a:lnTo>
                        <a:pt x="20972" y="1375"/>
                      </a:lnTo>
                      <a:lnTo>
                        <a:pt x="20981" y="1384"/>
                      </a:lnTo>
                      <a:lnTo>
                        <a:pt x="20972" y="1425"/>
                      </a:lnTo>
                      <a:lnTo>
                        <a:pt x="20981" y="1441"/>
                      </a:lnTo>
                      <a:lnTo>
                        <a:pt x="20965" y="1458"/>
                      </a:lnTo>
                      <a:lnTo>
                        <a:pt x="20863" y="1401"/>
                      </a:lnTo>
                      <a:lnTo>
                        <a:pt x="20700" y="1363"/>
                      </a:lnTo>
                      <a:lnTo>
                        <a:pt x="20717" y="1351"/>
                      </a:lnTo>
                      <a:lnTo>
                        <a:pt x="20754" y="1368"/>
                      </a:lnTo>
                      <a:lnTo>
                        <a:pt x="20766" y="1363"/>
                      </a:lnTo>
                      <a:lnTo>
                        <a:pt x="20771" y="1335"/>
                      </a:lnTo>
                      <a:lnTo>
                        <a:pt x="20787" y="1330"/>
                      </a:lnTo>
                      <a:lnTo>
                        <a:pt x="20776" y="1330"/>
                      </a:lnTo>
                      <a:lnTo>
                        <a:pt x="20776" y="1330"/>
                      </a:lnTo>
                      <a:lnTo>
                        <a:pt x="20776" y="1330"/>
                      </a:lnTo>
                      <a:close/>
                      <a:moveTo>
                        <a:pt x="18213" y="1264"/>
                      </a:moveTo>
                      <a:lnTo>
                        <a:pt x="18201" y="1273"/>
                      </a:lnTo>
                      <a:lnTo>
                        <a:pt x="18168" y="1273"/>
                      </a:lnTo>
                      <a:lnTo>
                        <a:pt x="18213" y="1264"/>
                      </a:lnTo>
                      <a:lnTo>
                        <a:pt x="18213" y="1264"/>
                      </a:lnTo>
                      <a:lnTo>
                        <a:pt x="18213" y="1264"/>
                      </a:lnTo>
                      <a:close/>
                      <a:moveTo>
                        <a:pt x="17747" y="1290"/>
                      </a:moveTo>
                      <a:lnTo>
                        <a:pt x="17731" y="1281"/>
                      </a:lnTo>
                      <a:lnTo>
                        <a:pt x="17752" y="1281"/>
                      </a:lnTo>
                      <a:lnTo>
                        <a:pt x="17747" y="1290"/>
                      </a:lnTo>
                      <a:lnTo>
                        <a:pt x="17747" y="1290"/>
                      </a:lnTo>
                      <a:lnTo>
                        <a:pt x="17747" y="1290"/>
                      </a:lnTo>
                      <a:close/>
                      <a:moveTo>
                        <a:pt x="17402" y="1297"/>
                      </a:moveTo>
                      <a:lnTo>
                        <a:pt x="17412" y="1281"/>
                      </a:lnTo>
                      <a:lnTo>
                        <a:pt x="17457" y="1281"/>
                      </a:lnTo>
                      <a:lnTo>
                        <a:pt x="17440" y="1297"/>
                      </a:lnTo>
                      <a:lnTo>
                        <a:pt x="17407" y="1297"/>
                      </a:lnTo>
                      <a:lnTo>
                        <a:pt x="17412" y="1290"/>
                      </a:lnTo>
                      <a:lnTo>
                        <a:pt x="17402" y="1297"/>
                      </a:lnTo>
                      <a:lnTo>
                        <a:pt x="17402" y="1297"/>
                      </a:lnTo>
                      <a:lnTo>
                        <a:pt x="17402" y="1297"/>
                      </a:lnTo>
                      <a:close/>
                      <a:moveTo>
                        <a:pt x="21002" y="1347"/>
                      </a:moveTo>
                      <a:lnTo>
                        <a:pt x="21002" y="1335"/>
                      </a:lnTo>
                      <a:lnTo>
                        <a:pt x="20993" y="1318"/>
                      </a:lnTo>
                      <a:lnTo>
                        <a:pt x="20993" y="1307"/>
                      </a:lnTo>
                      <a:lnTo>
                        <a:pt x="21002" y="1297"/>
                      </a:lnTo>
                      <a:lnTo>
                        <a:pt x="21009" y="1307"/>
                      </a:lnTo>
                      <a:lnTo>
                        <a:pt x="21019" y="1290"/>
                      </a:lnTo>
                      <a:lnTo>
                        <a:pt x="21009" y="1290"/>
                      </a:lnTo>
                      <a:lnTo>
                        <a:pt x="21026" y="1281"/>
                      </a:lnTo>
                      <a:lnTo>
                        <a:pt x="21090" y="1290"/>
                      </a:lnTo>
                      <a:lnTo>
                        <a:pt x="21094" y="1307"/>
                      </a:lnTo>
                      <a:lnTo>
                        <a:pt x="21116" y="1314"/>
                      </a:lnTo>
                      <a:lnTo>
                        <a:pt x="21111" y="1318"/>
                      </a:lnTo>
                      <a:lnTo>
                        <a:pt x="21154" y="1335"/>
                      </a:lnTo>
                      <a:lnTo>
                        <a:pt x="21149" y="1351"/>
                      </a:lnTo>
                      <a:lnTo>
                        <a:pt x="21170" y="1347"/>
                      </a:lnTo>
                      <a:lnTo>
                        <a:pt x="21154" y="1363"/>
                      </a:lnTo>
                      <a:lnTo>
                        <a:pt x="21111" y="1368"/>
                      </a:lnTo>
                      <a:lnTo>
                        <a:pt x="21111" y="1384"/>
                      </a:lnTo>
                      <a:lnTo>
                        <a:pt x="20993" y="1425"/>
                      </a:lnTo>
                      <a:lnTo>
                        <a:pt x="20988" y="1429"/>
                      </a:lnTo>
                      <a:lnTo>
                        <a:pt x="20993" y="1441"/>
                      </a:lnTo>
                      <a:lnTo>
                        <a:pt x="20972" y="1425"/>
                      </a:lnTo>
                      <a:lnTo>
                        <a:pt x="20981" y="1401"/>
                      </a:lnTo>
                      <a:lnTo>
                        <a:pt x="20988" y="1384"/>
                      </a:lnTo>
                      <a:lnTo>
                        <a:pt x="20981" y="1368"/>
                      </a:lnTo>
                      <a:lnTo>
                        <a:pt x="21002" y="1347"/>
                      </a:lnTo>
                      <a:lnTo>
                        <a:pt x="21002" y="1347"/>
                      </a:lnTo>
                      <a:lnTo>
                        <a:pt x="21002" y="1347"/>
                      </a:lnTo>
                      <a:close/>
                      <a:moveTo>
                        <a:pt x="17013" y="1351"/>
                      </a:moveTo>
                      <a:lnTo>
                        <a:pt x="17029" y="1330"/>
                      </a:lnTo>
                      <a:lnTo>
                        <a:pt x="17024" y="1307"/>
                      </a:lnTo>
                      <a:lnTo>
                        <a:pt x="17062" y="1290"/>
                      </a:lnTo>
                      <a:lnTo>
                        <a:pt x="17117" y="1297"/>
                      </a:lnTo>
                      <a:lnTo>
                        <a:pt x="17088" y="1318"/>
                      </a:lnTo>
                      <a:lnTo>
                        <a:pt x="17133" y="1314"/>
                      </a:lnTo>
                      <a:lnTo>
                        <a:pt x="17143" y="1330"/>
                      </a:lnTo>
                      <a:lnTo>
                        <a:pt x="17050" y="1351"/>
                      </a:lnTo>
                      <a:lnTo>
                        <a:pt x="17013" y="1351"/>
                      </a:lnTo>
                      <a:lnTo>
                        <a:pt x="17013" y="1351"/>
                      </a:lnTo>
                      <a:lnTo>
                        <a:pt x="17013" y="1351"/>
                      </a:lnTo>
                      <a:close/>
                      <a:moveTo>
                        <a:pt x="16134" y="1684"/>
                      </a:moveTo>
                      <a:lnTo>
                        <a:pt x="16089" y="1680"/>
                      </a:lnTo>
                      <a:lnTo>
                        <a:pt x="16080" y="1668"/>
                      </a:lnTo>
                      <a:lnTo>
                        <a:pt x="16080" y="1663"/>
                      </a:lnTo>
                      <a:lnTo>
                        <a:pt x="16058" y="1668"/>
                      </a:lnTo>
                      <a:lnTo>
                        <a:pt x="16075" y="1668"/>
                      </a:lnTo>
                      <a:lnTo>
                        <a:pt x="16089" y="1684"/>
                      </a:lnTo>
                      <a:lnTo>
                        <a:pt x="16075" y="1684"/>
                      </a:lnTo>
                      <a:lnTo>
                        <a:pt x="16063" y="1684"/>
                      </a:lnTo>
                      <a:lnTo>
                        <a:pt x="16080" y="1684"/>
                      </a:lnTo>
                      <a:lnTo>
                        <a:pt x="16037" y="1668"/>
                      </a:lnTo>
                      <a:lnTo>
                        <a:pt x="16047" y="1684"/>
                      </a:lnTo>
                      <a:lnTo>
                        <a:pt x="16037" y="1684"/>
                      </a:lnTo>
                      <a:lnTo>
                        <a:pt x="16021" y="1680"/>
                      </a:lnTo>
                      <a:lnTo>
                        <a:pt x="16025" y="1668"/>
                      </a:lnTo>
                      <a:lnTo>
                        <a:pt x="16004" y="1663"/>
                      </a:lnTo>
                      <a:lnTo>
                        <a:pt x="15983" y="1684"/>
                      </a:lnTo>
                      <a:lnTo>
                        <a:pt x="15938" y="1656"/>
                      </a:lnTo>
                      <a:lnTo>
                        <a:pt x="15933" y="1663"/>
                      </a:lnTo>
                      <a:lnTo>
                        <a:pt x="15954" y="1668"/>
                      </a:lnTo>
                      <a:lnTo>
                        <a:pt x="15928" y="1656"/>
                      </a:lnTo>
                      <a:lnTo>
                        <a:pt x="15862" y="1656"/>
                      </a:lnTo>
                      <a:lnTo>
                        <a:pt x="15858" y="1647"/>
                      </a:lnTo>
                      <a:lnTo>
                        <a:pt x="15879" y="1647"/>
                      </a:lnTo>
                      <a:lnTo>
                        <a:pt x="15886" y="1640"/>
                      </a:lnTo>
                      <a:lnTo>
                        <a:pt x="15862" y="1614"/>
                      </a:lnTo>
                      <a:lnTo>
                        <a:pt x="15917" y="1607"/>
                      </a:lnTo>
                      <a:lnTo>
                        <a:pt x="15862" y="1602"/>
                      </a:lnTo>
                      <a:lnTo>
                        <a:pt x="15862" y="1590"/>
                      </a:lnTo>
                      <a:lnTo>
                        <a:pt x="15879" y="1573"/>
                      </a:lnTo>
                      <a:lnTo>
                        <a:pt x="15895" y="1569"/>
                      </a:lnTo>
                      <a:lnTo>
                        <a:pt x="15862" y="1590"/>
                      </a:lnTo>
                      <a:lnTo>
                        <a:pt x="15848" y="1569"/>
                      </a:lnTo>
                      <a:lnTo>
                        <a:pt x="15862" y="1557"/>
                      </a:lnTo>
                      <a:lnTo>
                        <a:pt x="15858" y="1552"/>
                      </a:lnTo>
                      <a:lnTo>
                        <a:pt x="15824" y="1573"/>
                      </a:lnTo>
                      <a:lnTo>
                        <a:pt x="15803" y="1557"/>
                      </a:lnTo>
                      <a:lnTo>
                        <a:pt x="15803" y="1552"/>
                      </a:lnTo>
                      <a:lnTo>
                        <a:pt x="15787" y="1569"/>
                      </a:lnTo>
                      <a:lnTo>
                        <a:pt x="15777" y="1552"/>
                      </a:lnTo>
                      <a:lnTo>
                        <a:pt x="15772" y="1557"/>
                      </a:lnTo>
                      <a:lnTo>
                        <a:pt x="15777" y="1557"/>
                      </a:lnTo>
                      <a:lnTo>
                        <a:pt x="15749" y="1569"/>
                      </a:lnTo>
                      <a:lnTo>
                        <a:pt x="15735" y="1552"/>
                      </a:lnTo>
                      <a:lnTo>
                        <a:pt x="15718" y="1512"/>
                      </a:lnTo>
                      <a:lnTo>
                        <a:pt x="15735" y="1491"/>
                      </a:lnTo>
                      <a:lnTo>
                        <a:pt x="15749" y="1474"/>
                      </a:lnTo>
                      <a:lnTo>
                        <a:pt x="15787" y="1491"/>
                      </a:lnTo>
                      <a:lnTo>
                        <a:pt x="15787" y="1462"/>
                      </a:lnTo>
                      <a:lnTo>
                        <a:pt x="15820" y="1446"/>
                      </a:lnTo>
                      <a:lnTo>
                        <a:pt x="15810" y="1429"/>
                      </a:lnTo>
                      <a:lnTo>
                        <a:pt x="15841" y="1418"/>
                      </a:lnTo>
                      <a:lnTo>
                        <a:pt x="15810" y="1418"/>
                      </a:lnTo>
                      <a:lnTo>
                        <a:pt x="15820" y="1408"/>
                      </a:lnTo>
                      <a:lnTo>
                        <a:pt x="15848" y="1408"/>
                      </a:lnTo>
                      <a:lnTo>
                        <a:pt x="15787" y="1392"/>
                      </a:lnTo>
                      <a:lnTo>
                        <a:pt x="15832" y="1368"/>
                      </a:lnTo>
                      <a:lnTo>
                        <a:pt x="15858" y="1375"/>
                      </a:lnTo>
                      <a:lnTo>
                        <a:pt x="15841" y="1363"/>
                      </a:lnTo>
                      <a:lnTo>
                        <a:pt x="15858" y="1363"/>
                      </a:lnTo>
                      <a:lnTo>
                        <a:pt x="15841" y="1347"/>
                      </a:lnTo>
                      <a:lnTo>
                        <a:pt x="15858" y="1330"/>
                      </a:lnTo>
                      <a:lnTo>
                        <a:pt x="15886" y="1314"/>
                      </a:lnTo>
                      <a:lnTo>
                        <a:pt x="15917" y="1318"/>
                      </a:lnTo>
                      <a:lnTo>
                        <a:pt x="15966" y="1297"/>
                      </a:lnTo>
                      <a:lnTo>
                        <a:pt x="16075" y="1330"/>
                      </a:lnTo>
                      <a:lnTo>
                        <a:pt x="16080" y="1335"/>
                      </a:lnTo>
                      <a:lnTo>
                        <a:pt x="16025" y="1351"/>
                      </a:lnTo>
                      <a:lnTo>
                        <a:pt x="16075" y="1351"/>
                      </a:lnTo>
                      <a:lnTo>
                        <a:pt x="16063" y="1363"/>
                      </a:lnTo>
                      <a:lnTo>
                        <a:pt x="16021" y="1363"/>
                      </a:lnTo>
                      <a:lnTo>
                        <a:pt x="16058" y="1363"/>
                      </a:lnTo>
                      <a:lnTo>
                        <a:pt x="16047" y="1384"/>
                      </a:lnTo>
                      <a:lnTo>
                        <a:pt x="16004" y="1384"/>
                      </a:lnTo>
                      <a:lnTo>
                        <a:pt x="16042" y="1401"/>
                      </a:lnTo>
                      <a:lnTo>
                        <a:pt x="16025" y="1408"/>
                      </a:lnTo>
                      <a:lnTo>
                        <a:pt x="16021" y="1425"/>
                      </a:lnTo>
                      <a:lnTo>
                        <a:pt x="15987" y="1418"/>
                      </a:lnTo>
                      <a:lnTo>
                        <a:pt x="16009" y="1425"/>
                      </a:lnTo>
                      <a:lnTo>
                        <a:pt x="15983" y="1429"/>
                      </a:lnTo>
                      <a:lnTo>
                        <a:pt x="16004" y="1429"/>
                      </a:lnTo>
                      <a:lnTo>
                        <a:pt x="16004" y="1458"/>
                      </a:lnTo>
                      <a:lnTo>
                        <a:pt x="16009" y="1474"/>
                      </a:lnTo>
                      <a:lnTo>
                        <a:pt x="15987" y="1503"/>
                      </a:lnTo>
                      <a:lnTo>
                        <a:pt x="16009" y="1512"/>
                      </a:lnTo>
                      <a:lnTo>
                        <a:pt x="16021" y="1545"/>
                      </a:lnTo>
                      <a:lnTo>
                        <a:pt x="16058" y="1602"/>
                      </a:lnTo>
                      <a:lnTo>
                        <a:pt x="16117" y="1647"/>
                      </a:lnTo>
                      <a:lnTo>
                        <a:pt x="16155" y="1663"/>
                      </a:lnTo>
                      <a:lnTo>
                        <a:pt x="16143" y="1680"/>
                      </a:lnTo>
                      <a:lnTo>
                        <a:pt x="16096" y="1668"/>
                      </a:lnTo>
                      <a:lnTo>
                        <a:pt x="16134" y="1684"/>
                      </a:lnTo>
                      <a:lnTo>
                        <a:pt x="16134" y="1684"/>
                      </a:lnTo>
                      <a:lnTo>
                        <a:pt x="16134" y="1684"/>
                      </a:lnTo>
                      <a:close/>
                      <a:moveTo>
                        <a:pt x="17105" y="1314"/>
                      </a:moveTo>
                      <a:lnTo>
                        <a:pt x="17121" y="1307"/>
                      </a:lnTo>
                      <a:lnTo>
                        <a:pt x="17105" y="1318"/>
                      </a:lnTo>
                      <a:lnTo>
                        <a:pt x="17105" y="1314"/>
                      </a:lnTo>
                      <a:lnTo>
                        <a:pt x="17105" y="1314"/>
                      </a:lnTo>
                      <a:lnTo>
                        <a:pt x="17105" y="1314"/>
                      </a:lnTo>
                      <a:close/>
                      <a:moveTo>
                        <a:pt x="17461" y="1335"/>
                      </a:moveTo>
                      <a:lnTo>
                        <a:pt x="17457" y="1330"/>
                      </a:lnTo>
                      <a:lnTo>
                        <a:pt x="17499" y="1335"/>
                      </a:lnTo>
                      <a:lnTo>
                        <a:pt x="17461" y="1335"/>
                      </a:lnTo>
                      <a:lnTo>
                        <a:pt x="17461" y="1335"/>
                      </a:lnTo>
                      <a:lnTo>
                        <a:pt x="17461" y="1335"/>
                      </a:lnTo>
                      <a:close/>
                      <a:moveTo>
                        <a:pt x="20535" y="1351"/>
                      </a:moveTo>
                      <a:lnTo>
                        <a:pt x="20506" y="1347"/>
                      </a:lnTo>
                      <a:lnTo>
                        <a:pt x="20523" y="1335"/>
                      </a:lnTo>
                      <a:lnTo>
                        <a:pt x="20549" y="1347"/>
                      </a:lnTo>
                      <a:lnTo>
                        <a:pt x="20535" y="1351"/>
                      </a:lnTo>
                      <a:lnTo>
                        <a:pt x="20535" y="1351"/>
                      </a:lnTo>
                      <a:lnTo>
                        <a:pt x="20535" y="1351"/>
                      </a:lnTo>
                      <a:close/>
                      <a:moveTo>
                        <a:pt x="17315" y="1351"/>
                      </a:moveTo>
                      <a:lnTo>
                        <a:pt x="17336" y="1335"/>
                      </a:lnTo>
                      <a:lnTo>
                        <a:pt x="17369" y="1351"/>
                      </a:lnTo>
                      <a:lnTo>
                        <a:pt x="17353" y="1347"/>
                      </a:lnTo>
                      <a:lnTo>
                        <a:pt x="17353" y="1375"/>
                      </a:lnTo>
                      <a:lnTo>
                        <a:pt x="17315" y="1351"/>
                      </a:lnTo>
                      <a:lnTo>
                        <a:pt x="17315" y="1351"/>
                      </a:lnTo>
                      <a:lnTo>
                        <a:pt x="17315" y="1351"/>
                      </a:lnTo>
                      <a:close/>
                      <a:moveTo>
                        <a:pt x="17629" y="1368"/>
                      </a:moveTo>
                      <a:lnTo>
                        <a:pt x="17672" y="1347"/>
                      </a:lnTo>
                      <a:lnTo>
                        <a:pt x="17693" y="1368"/>
                      </a:lnTo>
                      <a:lnTo>
                        <a:pt x="17693" y="1392"/>
                      </a:lnTo>
                      <a:lnTo>
                        <a:pt x="17683" y="1401"/>
                      </a:lnTo>
                      <a:lnTo>
                        <a:pt x="17629" y="1384"/>
                      </a:lnTo>
                      <a:lnTo>
                        <a:pt x="17629" y="1368"/>
                      </a:lnTo>
                      <a:lnTo>
                        <a:pt x="17629" y="1368"/>
                      </a:lnTo>
                      <a:lnTo>
                        <a:pt x="17629" y="1368"/>
                      </a:lnTo>
                      <a:close/>
                      <a:moveTo>
                        <a:pt x="20695" y="1368"/>
                      </a:moveTo>
                      <a:lnTo>
                        <a:pt x="20787" y="1392"/>
                      </a:lnTo>
                      <a:lnTo>
                        <a:pt x="20724" y="1384"/>
                      </a:lnTo>
                      <a:lnTo>
                        <a:pt x="20695" y="1368"/>
                      </a:lnTo>
                      <a:lnTo>
                        <a:pt x="20695" y="1368"/>
                      </a:lnTo>
                      <a:lnTo>
                        <a:pt x="20695" y="1368"/>
                      </a:lnTo>
                      <a:close/>
                      <a:moveTo>
                        <a:pt x="21170" y="1384"/>
                      </a:moveTo>
                      <a:lnTo>
                        <a:pt x="21111" y="1375"/>
                      </a:lnTo>
                      <a:lnTo>
                        <a:pt x="21149" y="1375"/>
                      </a:lnTo>
                      <a:lnTo>
                        <a:pt x="21182" y="1384"/>
                      </a:lnTo>
                      <a:lnTo>
                        <a:pt x="21170" y="1384"/>
                      </a:lnTo>
                      <a:lnTo>
                        <a:pt x="21170" y="1384"/>
                      </a:lnTo>
                      <a:lnTo>
                        <a:pt x="21170" y="1384"/>
                      </a:lnTo>
                      <a:close/>
                      <a:moveTo>
                        <a:pt x="21040" y="1408"/>
                      </a:moveTo>
                      <a:lnTo>
                        <a:pt x="21111" y="1384"/>
                      </a:lnTo>
                      <a:lnTo>
                        <a:pt x="21187" y="1401"/>
                      </a:lnTo>
                      <a:lnTo>
                        <a:pt x="21040" y="1408"/>
                      </a:lnTo>
                      <a:lnTo>
                        <a:pt x="21040" y="1408"/>
                      </a:lnTo>
                      <a:lnTo>
                        <a:pt x="21040" y="1408"/>
                      </a:lnTo>
                      <a:close/>
                      <a:moveTo>
                        <a:pt x="17223" y="1401"/>
                      </a:moveTo>
                      <a:lnTo>
                        <a:pt x="17239" y="1401"/>
                      </a:lnTo>
                      <a:lnTo>
                        <a:pt x="17239" y="1408"/>
                      </a:lnTo>
                      <a:lnTo>
                        <a:pt x="17223" y="1401"/>
                      </a:lnTo>
                      <a:lnTo>
                        <a:pt x="17223" y="1401"/>
                      </a:lnTo>
                      <a:lnTo>
                        <a:pt x="17223" y="1401"/>
                      </a:lnTo>
                      <a:close/>
                      <a:moveTo>
                        <a:pt x="21102" y="1408"/>
                      </a:moveTo>
                      <a:lnTo>
                        <a:pt x="21144" y="1401"/>
                      </a:lnTo>
                      <a:lnTo>
                        <a:pt x="21154" y="1418"/>
                      </a:lnTo>
                      <a:lnTo>
                        <a:pt x="21144" y="1425"/>
                      </a:lnTo>
                      <a:lnTo>
                        <a:pt x="21102" y="1408"/>
                      </a:lnTo>
                      <a:lnTo>
                        <a:pt x="21102" y="1408"/>
                      </a:lnTo>
                      <a:lnTo>
                        <a:pt x="21102" y="1408"/>
                      </a:lnTo>
                      <a:close/>
                      <a:moveTo>
                        <a:pt x="21002" y="1429"/>
                      </a:moveTo>
                      <a:lnTo>
                        <a:pt x="21002" y="1425"/>
                      </a:lnTo>
                      <a:lnTo>
                        <a:pt x="21078" y="1408"/>
                      </a:lnTo>
                      <a:lnTo>
                        <a:pt x="21144" y="1429"/>
                      </a:lnTo>
                      <a:lnTo>
                        <a:pt x="21182" y="1429"/>
                      </a:lnTo>
                      <a:lnTo>
                        <a:pt x="21198" y="1446"/>
                      </a:lnTo>
                      <a:lnTo>
                        <a:pt x="21187" y="1458"/>
                      </a:lnTo>
                      <a:lnTo>
                        <a:pt x="21203" y="1462"/>
                      </a:lnTo>
                      <a:lnTo>
                        <a:pt x="21182" y="1474"/>
                      </a:lnTo>
                      <a:lnTo>
                        <a:pt x="21198" y="1479"/>
                      </a:lnTo>
                      <a:lnTo>
                        <a:pt x="21187" y="1479"/>
                      </a:lnTo>
                      <a:lnTo>
                        <a:pt x="21149" y="1491"/>
                      </a:lnTo>
                      <a:lnTo>
                        <a:pt x="21064" y="1429"/>
                      </a:lnTo>
                      <a:lnTo>
                        <a:pt x="21002" y="1429"/>
                      </a:lnTo>
                      <a:lnTo>
                        <a:pt x="21002" y="1429"/>
                      </a:lnTo>
                      <a:lnTo>
                        <a:pt x="21002" y="1429"/>
                      </a:lnTo>
                      <a:close/>
                      <a:moveTo>
                        <a:pt x="17511" y="1446"/>
                      </a:moveTo>
                      <a:lnTo>
                        <a:pt x="17563" y="1408"/>
                      </a:lnTo>
                      <a:lnTo>
                        <a:pt x="17617" y="1425"/>
                      </a:lnTo>
                      <a:lnTo>
                        <a:pt x="17570" y="1458"/>
                      </a:lnTo>
                      <a:lnTo>
                        <a:pt x="17520" y="1458"/>
                      </a:lnTo>
                      <a:lnTo>
                        <a:pt x="17511" y="1446"/>
                      </a:lnTo>
                      <a:lnTo>
                        <a:pt x="17511" y="1446"/>
                      </a:lnTo>
                      <a:lnTo>
                        <a:pt x="17511" y="1446"/>
                      </a:lnTo>
                      <a:close/>
                      <a:moveTo>
                        <a:pt x="21791" y="1557"/>
                      </a:moveTo>
                      <a:lnTo>
                        <a:pt x="21775" y="1573"/>
                      </a:lnTo>
                      <a:lnTo>
                        <a:pt x="21720" y="1557"/>
                      </a:lnTo>
                      <a:lnTo>
                        <a:pt x="21775" y="1552"/>
                      </a:lnTo>
                      <a:lnTo>
                        <a:pt x="21791" y="1557"/>
                      </a:lnTo>
                      <a:lnTo>
                        <a:pt x="21791" y="1557"/>
                      </a:lnTo>
                      <a:lnTo>
                        <a:pt x="21791" y="1557"/>
                      </a:lnTo>
                      <a:close/>
                      <a:moveTo>
                        <a:pt x="15832" y="1630"/>
                      </a:moveTo>
                      <a:lnTo>
                        <a:pt x="15810" y="1602"/>
                      </a:lnTo>
                      <a:lnTo>
                        <a:pt x="15777" y="1585"/>
                      </a:lnTo>
                      <a:lnTo>
                        <a:pt x="15810" y="1573"/>
                      </a:lnTo>
                      <a:lnTo>
                        <a:pt x="15832" y="1590"/>
                      </a:lnTo>
                      <a:lnTo>
                        <a:pt x="15810" y="1573"/>
                      </a:lnTo>
                      <a:lnTo>
                        <a:pt x="15820" y="1590"/>
                      </a:lnTo>
                      <a:lnTo>
                        <a:pt x="15848" y="1590"/>
                      </a:lnTo>
                      <a:lnTo>
                        <a:pt x="15848" y="1607"/>
                      </a:lnTo>
                      <a:lnTo>
                        <a:pt x="15832" y="1614"/>
                      </a:lnTo>
                      <a:lnTo>
                        <a:pt x="15841" y="1630"/>
                      </a:lnTo>
                      <a:lnTo>
                        <a:pt x="15832" y="1630"/>
                      </a:lnTo>
                      <a:lnTo>
                        <a:pt x="15832" y="1630"/>
                      </a:lnTo>
                      <a:lnTo>
                        <a:pt x="15832" y="1630"/>
                      </a:lnTo>
                      <a:close/>
                      <a:moveTo>
                        <a:pt x="15848" y="1585"/>
                      </a:moveTo>
                      <a:lnTo>
                        <a:pt x="15841" y="1585"/>
                      </a:lnTo>
                      <a:lnTo>
                        <a:pt x="15858" y="1590"/>
                      </a:lnTo>
                      <a:lnTo>
                        <a:pt x="15848" y="1585"/>
                      </a:lnTo>
                      <a:lnTo>
                        <a:pt x="15848" y="1585"/>
                      </a:lnTo>
                      <a:lnTo>
                        <a:pt x="15848" y="1585"/>
                      </a:lnTo>
                      <a:close/>
                      <a:moveTo>
                        <a:pt x="23383" y="1656"/>
                      </a:moveTo>
                      <a:lnTo>
                        <a:pt x="23374" y="1647"/>
                      </a:lnTo>
                      <a:lnTo>
                        <a:pt x="23362" y="1640"/>
                      </a:lnTo>
                      <a:lnTo>
                        <a:pt x="23383" y="1656"/>
                      </a:lnTo>
                      <a:lnTo>
                        <a:pt x="23383" y="1656"/>
                      </a:lnTo>
                      <a:lnTo>
                        <a:pt x="23383" y="1656"/>
                      </a:lnTo>
                      <a:close/>
                      <a:moveTo>
                        <a:pt x="17941" y="1701"/>
                      </a:moveTo>
                      <a:lnTo>
                        <a:pt x="17948" y="1656"/>
                      </a:lnTo>
                      <a:lnTo>
                        <a:pt x="17953" y="1647"/>
                      </a:lnTo>
                      <a:lnTo>
                        <a:pt x="17969" y="1663"/>
                      </a:lnTo>
                      <a:lnTo>
                        <a:pt x="17953" y="1668"/>
                      </a:lnTo>
                      <a:lnTo>
                        <a:pt x="17953" y="1696"/>
                      </a:lnTo>
                      <a:lnTo>
                        <a:pt x="17941" y="1701"/>
                      </a:lnTo>
                      <a:lnTo>
                        <a:pt x="17941" y="1701"/>
                      </a:lnTo>
                      <a:lnTo>
                        <a:pt x="17941" y="1701"/>
                      </a:lnTo>
                      <a:close/>
                      <a:moveTo>
                        <a:pt x="16117" y="1696"/>
                      </a:moveTo>
                      <a:lnTo>
                        <a:pt x="16101" y="1680"/>
                      </a:lnTo>
                      <a:lnTo>
                        <a:pt x="16127" y="1684"/>
                      </a:lnTo>
                      <a:lnTo>
                        <a:pt x="16117" y="1696"/>
                      </a:lnTo>
                      <a:lnTo>
                        <a:pt x="16117" y="1696"/>
                      </a:lnTo>
                      <a:lnTo>
                        <a:pt x="16117" y="1696"/>
                      </a:lnTo>
                      <a:close/>
                      <a:moveTo>
                        <a:pt x="17979" y="1701"/>
                      </a:moveTo>
                      <a:lnTo>
                        <a:pt x="17965" y="1713"/>
                      </a:lnTo>
                      <a:lnTo>
                        <a:pt x="17979" y="1684"/>
                      </a:lnTo>
                      <a:lnTo>
                        <a:pt x="17979" y="1696"/>
                      </a:lnTo>
                      <a:lnTo>
                        <a:pt x="17979" y="1701"/>
                      </a:lnTo>
                      <a:lnTo>
                        <a:pt x="17979" y="1701"/>
                      </a:lnTo>
                      <a:lnTo>
                        <a:pt x="17979" y="1701"/>
                      </a:lnTo>
                      <a:close/>
                      <a:moveTo>
                        <a:pt x="16316" y="1795"/>
                      </a:moveTo>
                      <a:lnTo>
                        <a:pt x="16295" y="1795"/>
                      </a:lnTo>
                      <a:lnTo>
                        <a:pt x="16290" y="1791"/>
                      </a:lnTo>
                      <a:lnTo>
                        <a:pt x="16295" y="1779"/>
                      </a:lnTo>
                      <a:lnTo>
                        <a:pt x="16278" y="1774"/>
                      </a:lnTo>
                      <a:lnTo>
                        <a:pt x="16252" y="1767"/>
                      </a:lnTo>
                      <a:lnTo>
                        <a:pt x="16264" y="1774"/>
                      </a:lnTo>
                      <a:lnTo>
                        <a:pt x="16257" y="1774"/>
                      </a:lnTo>
                      <a:lnTo>
                        <a:pt x="16226" y="1751"/>
                      </a:lnTo>
                      <a:lnTo>
                        <a:pt x="16226" y="1734"/>
                      </a:lnTo>
                      <a:lnTo>
                        <a:pt x="16209" y="1722"/>
                      </a:lnTo>
                      <a:lnTo>
                        <a:pt x="16240" y="1734"/>
                      </a:lnTo>
                      <a:lnTo>
                        <a:pt x="16226" y="1718"/>
                      </a:lnTo>
                      <a:lnTo>
                        <a:pt x="16257" y="1696"/>
                      </a:lnTo>
                      <a:lnTo>
                        <a:pt x="16349" y="1767"/>
                      </a:lnTo>
                      <a:lnTo>
                        <a:pt x="16361" y="1779"/>
                      </a:lnTo>
                      <a:lnTo>
                        <a:pt x="16316" y="1795"/>
                      </a:lnTo>
                      <a:lnTo>
                        <a:pt x="16316" y="1795"/>
                      </a:lnTo>
                      <a:lnTo>
                        <a:pt x="16316" y="1795"/>
                      </a:lnTo>
                      <a:close/>
                      <a:moveTo>
                        <a:pt x="17927" y="1734"/>
                      </a:moveTo>
                      <a:lnTo>
                        <a:pt x="17932" y="1722"/>
                      </a:lnTo>
                      <a:lnTo>
                        <a:pt x="17948" y="1739"/>
                      </a:lnTo>
                      <a:lnTo>
                        <a:pt x="17927" y="1734"/>
                      </a:lnTo>
                      <a:lnTo>
                        <a:pt x="17927" y="1734"/>
                      </a:lnTo>
                      <a:lnTo>
                        <a:pt x="17927" y="1734"/>
                      </a:lnTo>
                      <a:close/>
                      <a:moveTo>
                        <a:pt x="23995" y="1791"/>
                      </a:moveTo>
                      <a:lnTo>
                        <a:pt x="23988" y="1791"/>
                      </a:lnTo>
                      <a:lnTo>
                        <a:pt x="23988" y="1807"/>
                      </a:lnTo>
                      <a:lnTo>
                        <a:pt x="23979" y="1812"/>
                      </a:lnTo>
                      <a:lnTo>
                        <a:pt x="23957" y="1812"/>
                      </a:lnTo>
                      <a:lnTo>
                        <a:pt x="23882" y="1779"/>
                      </a:lnTo>
                      <a:lnTo>
                        <a:pt x="23920" y="1758"/>
                      </a:lnTo>
                      <a:lnTo>
                        <a:pt x="23995" y="1774"/>
                      </a:lnTo>
                      <a:lnTo>
                        <a:pt x="23995" y="1791"/>
                      </a:lnTo>
                      <a:lnTo>
                        <a:pt x="23995" y="1791"/>
                      </a:lnTo>
                      <a:lnTo>
                        <a:pt x="23995" y="1791"/>
                      </a:lnTo>
                      <a:close/>
                      <a:moveTo>
                        <a:pt x="24050" y="1795"/>
                      </a:moveTo>
                      <a:lnTo>
                        <a:pt x="24033" y="1791"/>
                      </a:lnTo>
                      <a:lnTo>
                        <a:pt x="24050" y="1779"/>
                      </a:lnTo>
                      <a:lnTo>
                        <a:pt x="24050" y="1795"/>
                      </a:lnTo>
                      <a:lnTo>
                        <a:pt x="24050" y="1795"/>
                      </a:lnTo>
                      <a:lnTo>
                        <a:pt x="24050" y="1795"/>
                      </a:lnTo>
                      <a:close/>
                      <a:moveTo>
                        <a:pt x="23433" y="1833"/>
                      </a:moveTo>
                      <a:lnTo>
                        <a:pt x="23433" y="1812"/>
                      </a:lnTo>
                      <a:lnTo>
                        <a:pt x="23450" y="1812"/>
                      </a:lnTo>
                      <a:lnTo>
                        <a:pt x="23450" y="1829"/>
                      </a:lnTo>
                      <a:lnTo>
                        <a:pt x="23433" y="1833"/>
                      </a:lnTo>
                      <a:lnTo>
                        <a:pt x="23433" y="1833"/>
                      </a:lnTo>
                      <a:lnTo>
                        <a:pt x="23433" y="1833"/>
                      </a:lnTo>
                      <a:close/>
                      <a:moveTo>
                        <a:pt x="16814" y="1824"/>
                      </a:moveTo>
                      <a:lnTo>
                        <a:pt x="16835" y="1812"/>
                      </a:lnTo>
                      <a:lnTo>
                        <a:pt x="16831" y="1829"/>
                      </a:lnTo>
                      <a:lnTo>
                        <a:pt x="16814" y="1824"/>
                      </a:lnTo>
                      <a:lnTo>
                        <a:pt x="16814" y="1824"/>
                      </a:lnTo>
                      <a:lnTo>
                        <a:pt x="16814" y="1824"/>
                      </a:lnTo>
                      <a:close/>
                      <a:moveTo>
                        <a:pt x="23433" y="1902"/>
                      </a:moveTo>
                      <a:lnTo>
                        <a:pt x="23438" y="1885"/>
                      </a:lnTo>
                      <a:lnTo>
                        <a:pt x="23416" y="1878"/>
                      </a:lnTo>
                      <a:lnTo>
                        <a:pt x="23416" y="1845"/>
                      </a:lnTo>
                      <a:lnTo>
                        <a:pt x="23412" y="1833"/>
                      </a:lnTo>
                      <a:lnTo>
                        <a:pt x="23416" y="1829"/>
                      </a:lnTo>
                      <a:lnTo>
                        <a:pt x="23433" y="1824"/>
                      </a:lnTo>
                      <a:lnTo>
                        <a:pt x="23428" y="1829"/>
                      </a:lnTo>
                      <a:lnTo>
                        <a:pt x="23433" y="1833"/>
                      </a:lnTo>
                      <a:lnTo>
                        <a:pt x="23433" y="1850"/>
                      </a:lnTo>
                      <a:lnTo>
                        <a:pt x="23438" y="1890"/>
                      </a:lnTo>
                      <a:lnTo>
                        <a:pt x="23433" y="1902"/>
                      </a:lnTo>
                      <a:lnTo>
                        <a:pt x="23433" y="1902"/>
                      </a:lnTo>
                      <a:lnTo>
                        <a:pt x="23433" y="1902"/>
                      </a:lnTo>
                      <a:close/>
                      <a:moveTo>
                        <a:pt x="15496" y="1878"/>
                      </a:moveTo>
                      <a:lnTo>
                        <a:pt x="15508" y="1845"/>
                      </a:lnTo>
                      <a:lnTo>
                        <a:pt x="15555" y="1824"/>
                      </a:lnTo>
                      <a:lnTo>
                        <a:pt x="15631" y="1850"/>
                      </a:lnTo>
                      <a:lnTo>
                        <a:pt x="15647" y="1866"/>
                      </a:lnTo>
                      <a:lnTo>
                        <a:pt x="15631" y="1885"/>
                      </a:lnTo>
                      <a:lnTo>
                        <a:pt x="15643" y="1866"/>
                      </a:lnTo>
                      <a:lnTo>
                        <a:pt x="15631" y="1866"/>
                      </a:lnTo>
                      <a:lnTo>
                        <a:pt x="15588" y="1906"/>
                      </a:lnTo>
                      <a:lnTo>
                        <a:pt x="15534" y="1923"/>
                      </a:lnTo>
                      <a:lnTo>
                        <a:pt x="15496" y="1902"/>
                      </a:lnTo>
                      <a:lnTo>
                        <a:pt x="15496" y="1878"/>
                      </a:lnTo>
                      <a:lnTo>
                        <a:pt x="15496" y="1878"/>
                      </a:lnTo>
                      <a:lnTo>
                        <a:pt x="15496" y="1878"/>
                      </a:lnTo>
                      <a:close/>
                      <a:moveTo>
                        <a:pt x="16814" y="1833"/>
                      </a:moveTo>
                      <a:lnTo>
                        <a:pt x="16814" y="1829"/>
                      </a:lnTo>
                      <a:lnTo>
                        <a:pt x="16831" y="1833"/>
                      </a:lnTo>
                      <a:lnTo>
                        <a:pt x="16814" y="1833"/>
                      </a:lnTo>
                      <a:lnTo>
                        <a:pt x="16814" y="1833"/>
                      </a:lnTo>
                      <a:lnTo>
                        <a:pt x="16814" y="1833"/>
                      </a:lnTo>
                      <a:close/>
                      <a:moveTo>
                        <a:pt x="14513" y="1833"/>
                      </a:moveTo>
                      <a:lnTo>
                        <a:pt x="14530" y="1845"/>
                      </a:lnTo>
                      <a:lnTo>
                        <a:pt x="14497" y="1833"/>
                      </a:lnTo>
                      <a:lnTo>
                        <a:pt x="14513" y="1833"/>
                      </a:lnTo>
                      <a:lnTo>
                        <a:pt x="14513" y="1833"/>
                      </a:lnTo>
                      <a:lnTo>
                        <a:pt x="14513" y="1833"/>
                      </a:lnTo>
                      <a:close/>
                      <a:moveTo>
                        <a:pt x="16273" y="1866"/>
                      </a:moveTo>
                      <a:lnTo>
                        <a:pt x="16235" y="1845"/>
                      </a:lnTo>
                      <a:lnTo>
                        <a:pt x="16264" y="1850"/>
                      </a:lnTo>
                      <a:lnTo>
                        <a:pt x="16273" y="1866"/>
                      </a:lnTo>
                      <a:lnTo>
                        <a:pt x="16273" y="1866"/>
                      </a:lnTo>
                      <a:lnTo>
                        <a:pt x="16273" y="1866"/>
                      </a:lnTo>
                      <a:close/>
                      <a:moveTo>
                        <a:pt x="16134" y="1918"/>
                      </a:moveTo>
                      <a:lnTo>
                        <a:pt x="16181" y="1906"/>
                      </a:lnTo>
                      <a:lnTo>
                        <a:pt x="16127" y="1923"/>
                      </a:lnTo>
                      <a:lnTo>
                        <a:pt x="16134" y="1918"/>
                      </a:lnTo>
                      <a:lnTo>
                        <a:pt x="16134" y="1918"/>
                      </a:lnTo>
                      <a:lnTo>
                        <a:pt x="16134" y="1918"/>
                      </a:lnTo>
                      <a:close/>
                      <a:moveTo>
                        <a:pt x="17013" y="2195"/>
                      </a:moveTo>
                      <a:lnTo>
                        <a:pt x="16982" y="2162"/>
                      </a:lnTo>
                      <a:lnTo>
                        <a:pt x="16958" y="2162"/>
                      </a:lnTo>
                      <a:lnTo>
                        <a:pt x="17029" y="2166"/>
                      </a:lnTo>
                      <a:lnTo>
                        <a:pt x="17029" y="2195"/>
                      </a:lnTo>
                      <a:lnTo>
                        <a:pt x="17013" y="2195"/>
                      </a:lnTo>
                      <a:lnTo>
                        <a:pt x="17013" y="2195"/>
                      </a:lnTo>
                      <a:lnTo>
                        <a:pt x="17013" y="2195"/>
                      </a:lnTo>
                      <a:close/>
                      <a:moveTo>
                        <a:pt x="15102" y="2162"/>
                      </a:moveTo>
                      <a:lnTo>
                        <a:pt x="15106" y="2166"/>
                      </a:lnTo>
                      <a:lnTo>
                        <a:pt x="15092" y="2162"/>
                      </a:lnTo>
                      <a:lnTo>
                        <a:pt x="15102" y="2162"/>
                      </a:lnTo>
                      <a:lnTo>
                        <a:pt x="15102" y="2162"/>
                      </a:lnTo>
                      <a:lnTo>
                        <a:pt x="15102" y="2162"/>
                      </a:lnTo>
                      <a:close/>
                      <a:moveTo>
                        <a:pt x="16975" y="2166"/>
                      </a:moveTo>
                      <a:lnTo>
                        <a:pt x="16975" y="2178"/>
                      </a:lnTo>
                      <a:lnTo>
                        <a:pt x="16975" y="2166"/>
                      </a:lnTo>
                      <a:lnTo>
                        <a:pt x="16975" y="2166"/>
                      </a:lnTo>
                      <a:lnTo>
                        <a:pt x="16975" y="2166"/>
                      </a:lnTo>
                      <a:close/>
                      <a:moveTo>
                        <a:pt x="253" y="2277"/>
                      </a:moveTo>
                      <a:lnTo>
                        <a:pt x="253" y="2273"/>
                      </a:lnTo>
                      <a:lnTo>
                        <a:pt x="265" y="2273"/>
                      </a:lnTo>
                      <a:lnTo>
                        <a:pt x="253" y="2277"/>
                      </a:lnTo>
                      <a:lnTo>
                        <a:pt x="253" y="2277"/>
                      </a:lnTo>
                      <a:lnTo>
                        <a:pt x="253" y="2277"/>
                      </a:lnTo>
                      <a:close/>
                      <a:moveTo>
                        <a:pt x="14632" y="2351"/>
                      </a:moveTo>
                      <a:lnTo>
                        <a:pt x="14632" y="2367"/>
                      </a:lnTo>
                      <a:lnTo>
                        <a:pt x="14622" y="2377"/>
                      </a:lnTo>
                      <a:lnTo>
                        <a:pt x="14606" y="2351"/>
                      </a:lnTo>
                      <a:lnTo>
                        <a:pt x="14632" y="2351"/>
                      </a:lnTo>
                      <a:lnTo>
                        <a:pt x="14632" y="2351"/>
                      </a:lnTo>
                      <a:lnTo>
                        <a:pt x="14632" y="2351"/>
                      </a:lnTo>
                      <a:close/>
                      <a:moveTo>
                        <a:pt x="0" y="2400"/>
                      </a:moveTo>
                      <a:lnTo>
                        <a:pt x="17" y="2384"/>
                      </a:lnTo>
                      <a:lnTo>
                        <a:pt x="38" y="2400"/>
                      </a:lnTo>
                      <a:lnTo>
                        <a:pt x="0" y="2400"/>
                      </a:lnTo>
                      <a:lnTo>
                        <a:pt x="0" y="2400"/>
                      </a:lnTo>
                      <a:lnTo>
                        <a:pt x="0" y="2400"/>
                      </a:lnTo>
                      <a:close/>
                      <a:moveTo>
                        <a:pt x="14946" y="2400"/>
                      </a:moveTo>
                      <a:lnTo>
                        <a:pt x="14955" y="2421"/>
                      </a:lnTo>
                      <a:lnTo>
                        <a:pt x="14913" y="2405"/>
                      </a:lnTo>
                      <a:lnTo>
                        <a:pt x="14941" y="2417"/>
                      </a:lnTo>
                      <a:lnTo>
                        <a:pt x="14929" y="2400"/>
                      </a:lnTo>
                      <a:lnTo>
                        <a:pt x="14946" y="2400"/>
                      </a:lnTo>
                      <a:lnTo>
                        <a:pt x="14946" y="2400"/>
                      </a:lnTo>
                      <a:lnTo>
                        <a:pt x="14946" y="2400"/>
                      </a:lnTo>
                      <a:close/>
                      <a:moveTo>
                        <a:pt x="14639" y="2438"/>
                      </a:moveTo>
                      <a:lnTo>
                        <a:pt x="14643" y="2445"/>
                      </a:lnTo>
                      <a:lnTo>
                        <a:pt x="14632" y="2438"/>
                      </a:lnTo>
                      <a:lnTo>
                        <a:pt x="14639" y="2438"/>
                      </a:lnTo>
                      <a:lnTo>
                        <a:pt x="14639" y="2438"/>
                      </a:lnTo>
                      <a:lnTo>
                        <a:pt x="14639" y="2438"/>
                      </a:lnTo>
                      <a:close/>
                      <a:moveTo>
                        <a:pt x="14119" y="2899"/>
                      </a:moveTo>
                      <a:lnTo>
                        <a:pt x="14131" y="2899"/>
                      </a:lnTo>
                      <a:lnTo>
                        <a:pt x="14119" y="2887"/>
                      </a:lnTo>
                      <a:lnTo>
                        <a:pt x="14119" y="2899"/>
                      </a:lnTo>
                      <a:lnTo>
                        <a:pt x="14119" y="2899"/>
                      </a:lnTo>
                      <a:lnTo>
                        <a:pt x="14119" y="2899"/>
                      </a:lnTo>
                      <a:close/>
                      <a:moveTo>
                        <a:pt x="23572" y="3088"/>
                      </a:moveTo>
                      <a:lnTo>
                        <a:pt x="23596" y="3064"/>
                      </a:lnTo>
                      <a:lnTo>
                        <a:pt x="23610" y="3043"/>
                      </a:lnTo>
                      <a:lnTo>
                        <a:pt x="23596" y="3031"/>
                      </a:lnTo>
                      <a:lnTo>
                        <a:pt x="23655" y="3014"/>
                      </a:lnTo>
                      <a:lnTo>
                        <a:pt x="23665" y="3031"/>
                      </a:lnTo>
                      <a:lnTo>
                        <a:pt x="23665" y="3047"/>
                      </a:lnTo>
                      <a:lnTo>
                        <a:pt x="23627" y="3059"/>
                      </a:lnTo>
                      <a:lnTo>
                        <a:pt x="23579" y="3099"/>
                      </a:lnTo>
                      <a:lnTo>
                        <a:pt x="23572" y="3088"/>
                      </a:lnTo>
                      <a:lnTo>
                        <a:pt x="23572" y="3088"/>
                      </a:lnTo>
                      <a:lnTo>
                        <a:pt x="23572" y="3088"/>
                      </a:lnTo>
                      <a:close/>
                      <a:moveTo>
                        <a:pt x="22665" y="3031"/>
                      </a:moveTo>
                      <a:lnTo>
                        <a:pt x="22682" y="3026"/>
                      </a:lnTo>
                      <a:lnTo>
                        <a:pt x="22665" y="3031"/>
                      </a:lnTo>
                      <a:lnTo>
                        <a:pt x="22665" y="3031"/>
                      </a:lnTo>
                      <a:lnTo>
                        <a:pt x="22665" y="3031"/>
                      </a:lnTo>
                      <a:close/>
                      <a:moveTo>
                        <a:pt x="23773" y="3421"/>
                      </a:moveTo>
                      <a:lnTo>
                        <a:pt x="23773" y="3437"/>
                      </a:lnTo>
                      <a:lnTo>
                        <a:pt x="23806" y="3470"/>
                      </a:lnTo>
                      <a:lnTo>
                        <a:pt x="23806" y="3487"/>
                      </a:lnTo>
                      <a:lnTo>
                        <a:pt x="23778" y="3470"/>
                      </a:lnTo>
                      <a:lnTo>
                        <a:pt x="23752" y="3421"/>
                      </a:lnTo>
                      <a:lnTo>
                        <a:pt x="23773" y="3421"/>
                      </a:lnTo>
                      <a:lnTo>
                        <a:pt x="23773" y="3421"/>
                      </a:lnTo>
                      <a:lnTo>
                        <a:pt x="23773" y="3421"/>
                      </a:lnTo>
                      <a:close/>
                      <a:moveTo>
                        <a:pt x="13606" y="3430"/>
                      </a:moveTo>
                      <a:lnTo>
                        <a:pt x="13611" y="3421"/>
                      </a:lnTo>
                      <a:lnTo>
                        <a:pt x="13665" y="3447"/>
                      </a:lnTo>
                      <a:lnTo>
                        <a:pt x="13699" y="3447"/>
                      </a:lnTo>
                      <a:lnTo>
                        <a:pt x="13720" y="3470"/>
                      </a:lnTo>
                      <a:lnTo>
                        <a:pt x="13715" y="3487"/>
                      </a:lnTo>
                      <a:lnTo>
                        <a:pt x="13703" y="3503"/>
                      </a:lnTo>
                      <a:lnTo>
                        <a:pt x="13715" y="3515"/>
                      </a:lnTo>
                      <a:lnTo>
                        <a:pt x="13618" y="3515"/>
                      </a:lnTo>
                      <a:lnTo>
                        <a:pt x="13505" y="3508"/>
                      </a:lnTo>
                      <a:lnTo>
                        <a:pt x="13552" y="3487"/>
                      </a:lnTo>
                      <a:lnTo>
                        <a:pt x="13526" y="3487"/>
                      </a:lnTo>
                      <a:lnTo>
                        <a:pt x="13519" y="3475"/>
                      </a:lnTo>
                      <a:lnTo>
                        <a:pt x="13510" y="3487"/>
                      </a:lnTo>
                      <a:lnTo>
                        <a:pt x="13519" y="3454"/>
                      </a:lnTo>
                      <a:lnTo>
                        <a:pt x="13552" y="3454"/>
                      </a:lnTo>
                      <a:lnTo>
                        <a:pt x="13580" y="3421"/>
                      </a:lnTo>
                      <a:lnTo>
                        <a:pt x="13590" y="3421"/>
                      </a:lnTo>
                      <a:lnTo>
                        <a:pt x="13557" y="3454"/>
                      </a:lnTo>
                      <a:lnTo>
                        <a:pt x="13606" y="3458"/>
                      </a:lnTo>
                      <a:lnTo>
                        <a:pt x="13606" y="3437"/>
                      </a:lnTo>
                      <a:lnTo>
                        <a:pt x="13606" y="3430"/>
                      </a:lnTo>
                      <a:lnTo>
                        <a:pt x="13606" y="3430"/>
                      </a:lnTo>
                      <a:lnTo>
                        <a:pt x="13606" y="3430"/>
                      </a:lnTo>
                      <a:close/>
                      <a:moveTo>
                        <a:pt x="21744" y="3475"/>
                      </a:moveTo>
                      <a:lnTo>
                        <a:pt x="21765" y="3430"/>
                      </a:lnTo>
                      <a:lnTo>
                        <a:pt x="21803" y="3447"/>
                      </a:lnTo>
                      <a:lnTo>
                        <a:pt x="21775" y="3491"/>
                      </a:lnTo>
                      <a:lnTo>
                        <a:pt x="21758" y="3458"/>
                      </a:lnTo>
                      <a:lnTo>
                        <a:pt x="21744" y="3475"/>
                      </a:lnTo>
                      <a:lnTo>
                        <a:pt x="21744" y="3475"/>
                      </a:lnTo>
                      <a:lnTo>
                        <a:pt x="21744" y="3475"/>
                      </a:lnTo>
                      <a:close/>
                      <a:moveTo>
                        <a:pt x="21694" y="3458"/>
                      </a:moveTo>
                      <a:lnTo>
                        <a:pt x="21737" y="3437"/>
                      </a:lnTo>
                      <a:lnTo>
                        <a:pt x="21728" y="3458"/>
                      </a:lnTo>
                      <a:lnTo>
                        <a:pt x="21694" y="3458"/>
                      </a:lnTo>
                      <a:lnTo>
                        <a:pt x="21694" y="3458"/>
                      </a:lnTo>
                      <a:lnTo>
                        <a:pt x="21694" y="3458"/>
                      </a:lnTo>
                      <a:close/>
                      <a:moveTo>
                        <a:pt x="13498" y="3508"/>
                      </a:moveTo>
                      <a:lnTo>
                        <a:pt x="13488" y="3503"/>
                      </a:lnTo>
                      <a:lnTo>
                        <a:pt x="13510" y="3487"/>
                      </a:lnTo>
                      <a:lnTo>
                        <a:pt x="13498" y="3508"/>
                      </a:lnTo>
                      <a:lnTo>
                        <a:pt x="13498" y="3508"/>
                      </a:lnTo>
                      <a:lnTo>
                        <a:pt x="13498" y="3508"/>
                      </a:lnTo>
                      <a:close/>
                      <a:moveTo>
                        <a:pt x="21765" y="3508"/>
                      </a:moveTo>
                      <a:lnTo>
                        <a:pt x="21758" y="3503"/>
                      </a:lnTo>
                      <a:lnTo>
                        <a:pt x="21765" y="3491"/>
                      </a:lnTo>
                      <a:lnTo>
                        <a:pt x="21765" y="3508"/>
                      </a:lnTo>
                      <a:lnTo>
                        <a:pt x="21765" y="3508"/>
                      </a:lnTo>
                      <a:lnTo>
                        <a:pt x="21765" y="3508"/>
                      </a:lnTo>
                      <a:close/>
                      <a:moveTo>
                        <a:pt x="22072" y="4080"/>
                      </a:moveTo>
                      <a:lnTo>
                        <a:pt x="22068" y="4058"/>
                      </a:lnTo>
                      <a:lnTo>
                        <a:pt x="22072" y="4030"/>
                      </a:lnTo>
                      <a:lnTo>
                        <a:pt x="22084" y="3973"/>
                      </a:lnTo>
                      <a:lnTo>
                        <a:pt x="22084" y="3903"/>
                      </a:lnTo>
                      <a:lnTo>
                        <a:pt x="22072" y="3891"/>
                      </a:lnTo>
                      <a:lnTo>
                        <a:pt x="22089" y="3825"/>
                      </a:lnTo>
                      <a:lnTo>
                        <a:pt x="22084" y="3791"/>
                      </a:lnTo>
                      <a:lnTo>
                        <a:pt x="22051" y="3751"/>
                      </a:lnTo>
                      <a:lnTo>
                        <a:pt x="22051" y="3714"/>
                      </a:lnTo>
                      <a:lnTo>
                        <a:pt x="22061" y="3692"/>
                      </a:lnTo>
                      <a:lnTo>
                        <a:pt x="22068" y="3643"/>
                      </a:lnTo>
                      <a:lnTo>
                        <a:pt x="22061" y="3614"/>
                      </a:lnTo>
                      <a:lnTo>
                        <a:pt x="22089" y="3598"/>
                      </a:lnTo>
                      <a:lnTo>
                        <a:pt x="22089" y="3614"/>
                      </a:lnTo>
                      <a:lnTo>
                        <a:pt x="22105" y="3614"/>
                      </a:lnTo>
                      <a:lnTo>
                        <a:pt x="22122" y="3598"/>
                      </a:lnTo>
                      <a:lnTo>
                        <a:pt x="22115" y="3598"/>
                      </a:lnTo>
                      <a:lnTo>
                        <a:pt x="22105" y="3581"/>
                      </a:lnTo>
                      <a:lnTo>
                        <a:pt x="22122" y="3586"/>
                      </a:lnTo>
                      <a:lnTo>
                        <a:pt x="22127" y="3581"/>
                      </a:lnTo>
                      <a:lnTo>
                        <a:pt x="22127" y="3565"/>
                      </a:lnTo>
                      <a:lnTo>
                        <a:pt x="22115" y="3581"/>
                      </a:lnTo>
                      <a:lnTo>
                        <a:pt x="22122" y="3558"/>
                      </a:lnTo>
                      <a:lnTo>
                        <a:pt x="22098" y="3525"/>
                      </a:lnTo>
                      <a:lnTo>
                        <a:pt x="22122" y="3525"/>
                      </a:lnTo>
                      <a:lnTo>
                        <a:pt x="22122" y="3508"/>
                      </a:lnTo>
                      <a:lnTo>
                        <a:pt x="22143" y="3541"/>
                      </a:lnTo>
                      <a:lnTo>
                        <a:pt x="22136" y="3569"/>
                      </a:lnTo>
                      <a:lnTo>
                        <a:pt x="22153" y="3598"/>
                      </a:lnTo>
                      <a:lnTo>
                        <a:pt x="22153" y="3614"/>
                      </a:lnTo>
                      <a:lnTo>
                        <a:pt x="22160" y="3619"/>
                      </a:lnTo>
                      <a:lnTo>
                        <a:pt x="22169" y="3659"/>
                      </a:lnTo>
                      <a:lnTo>
                        <a:pt x="22169" y="3697"/>
                      </a:lnTo>
                      <a:lnTo>
                        <a:pt x="22160" y="3714"/>
                      </a:lnTo>
                      <a:lnTo>
                        <a:pt x="22160" y="3692"/>
                      </a:lnTo>
                      <a:lnTo>
                        <a:pt x="22153" y="3709"/>
                      </a:lnTo>
                      <a:lnTo>
                        <a:pt x="22153" y="3747"/>
                      </a:lnTo>
                      <a:lnTo>
                        <a:pt x="22169" y="3768"/>
                      </a:lnTo>
                      <a:lnTo>
                        <a:pt x="22160" y="3791"/>
                      </a:lnTo>
                      <a:lnTo>
                        <a:pt x="22169" y="3791"/>
                      </a:lnTo>
                      <a:lnTo>
                        <a:pt x="22169" y="3780"/>
                      </a:lnTo>
                      <a:lnTo>
                        <a:pt x="22174" y="3808"/>
                      </a:lnTo>
                      <a:lnTo>
                        <a:pt x="22169" y="3808"/>
                      </a:lnTo>
                      <a:lnTo>
                        <a:pt x="22181" y="3820"/>
                      </a:lnTo>
                      <a:lnTo>
                        <a:pt x="22198" y="3903"/>
                      </a:lnTo>
                      <a:lnTo>
                        <a:pt x="22212" y="3936"/>
                      </a:lnTo>
                      <a:lnTo>
                        <a:pt x="22245" y="4023"/>
                      </a:lnTo>
                      <a:lnTo>
                        <a:pt x="22261" y="4040"/>
                      </a:lnTo>
                      <a:lnTo>
                        <a:pt x="22266" y="4063"/>
                      </a:lnTo>
                      <a:lnTo>
                        <a:pt x="22245" y="4030"/>
                      </a:lnTo>
                      <a:lnTo>
                        <a:pt x="22212" y="4006"/>
                      </a:lnTo>
                      <a:lnTo>
                        <a:pt x="22169" y="3990"/>
                      </a:lnTo>
                      <a:lnTo>
                        <a:pt x="22169" y="4002"/>
                      </a:lnTo>
                      <a:lnTo>
                        <a:pt x="22191" y="4002"/>
                      </a:lnTo>
                      <a:lnTo>
                        <a:pt x="22160" y="4006"/>
                      </a:lnTo>
                      <a:lnTo>
                        <a:pt x="22143" y="4023"/>
                      </a:lnTo>
                      <a:lnTo>
                        <a:pt x="22143" y="4040"/>
                      </a:lnTo>
                      <a:lnTo>
                        <a:pt x="22115" y="4117"/>
                      </a:lnTo>
                      <a:lnTo>
                        <a:pt x="22115" y="4141"/>
                      </a:lnTo>
                      <a:lnTo>
                        <a:pt x="22122" y="4158"/>
                      </a:lnTo>
                      <a:lnTo>
                        <a:pt x="22143" y="4191"/>
                      </a:lnTo>
                      <a:lnTo>
                        <a:pt x="22160" y="4236"/>
                      </a:lnTo>
                      <a:lnTo>
                        <a:pt x="22169" y="4245"/>
                      </a:lnTo>
                      <a:lnTo>
                        <a:pt x="22169" y="4228"/>
                      </a:lnTo>
                      <a:lnTo>
                        <a:pt x="22174" y="4228"/>
                      </a:lnTo>
                      <a:lnTo>
                        <a:pt x="22181" y="4269"/>
                      </a:lnTo>
                      <a:lnTo>
                        <a:pt x="22174" y="4302"/>
                      </a:lnTo>
                      <a:lnTo>
                        <a:pt x="22169" y="4252"/>
                      </a:lnTo>
                      <a:lnTo>
                        <a:pt x="22127" y="4252"/>
                      </a:lnTo>
                      <a:lnTo>
                        <a:pt x="22122" y="4236"/>
                      </a:lnTo>
                      <a:lnTo>
                        <a:pt x="22105" y="4252"/>
                      </a:lnTo>
                      <a:lnTo>
                        <a:pt x="22084" y="4306"/>
                      </a:lnTo>
                      <a:lnTo>
                        <a:pt x="22068" y="4302"/>
                      </a:lnTo>
                      <a:lnTo>
                        <a:pt x="22061" y="4252"/>
                      </a:lnTo>
                      <a:lnTo>
                        <a:pt x="22072" y="4207"/>
                      </a:lnTo>
                      <a:lnTo>
                        <a:pt x="22072" y="4158"/>
                      </a:lnTo>
                      <a:lnTo>
                        <a:pt x="22089" y="4125"/>
                      </a:lnTo>
                      <a:lnTo>
                        <a:pt x="22084" y="4096"/>
                      </a:lnTo>
                      <a:lnTo>
                        <a:pt x="22072" y="4080"/>
                      </a:lnTo>
                      <a:lnTo>
                        <a:pt x="22072" y="4080"/>
                      </a:lnTo>
                      <a:lnTo>
                        <a:pt x="22072" y="4080"/>
                      </a:lnTo>
                      <a:close/>
                      <a:moveTo>
                        <a:pt x="23017" y="3846"/>
                      </a:moveTo>
                      <a:lnTo>
                        <a:pt x="23022" y="3846"/>
                      </a:lnTo>
                      <a:lnTo>
                        <a:pt x="23034" y="3858"/>
                      </a:lnTo>
                      <a:lnTo>
                        <a:pt x="23022" y="3858"/>
                      </a:lnTo>
                      <a:lnTo>
                        <a:pt x="23017" y="3846"/>
                      </a:lnTo>
                      <a:lnTo>
                        <a:pt x="23017" y="3846"/>
                      </a:lnTo>
                      <a:lnTo>
                        <a:pt x="23017" y="3846"/>
                      </a:lnTo>
                      <a:close/>
                      <a:moveTo>
                        <a:pt x="23088" y="3874"/>
                      </a:moveTo>
                      <a:lnTo>
                        <a:pt x="23072" y="3874"/>
                      </a:lnTo>
                      <a:lnTo>
                        <a:pt x="23072" y="3862"/>
                      </a:lnTo>
                      <a:lnTo>
                        <a:pt x="23088" y="3858"/>
                      </a:lnTo>
                      <a:lnTo>
                        <a:pt x="23088" y="3874"/>
                      </a:lnTo>
                      <a:lnTo>
                        <a:pt x="23088" y="3874"/>
                      </a:lnTo>
                      <a:lnTo>
                        <a:pt x="23088" y="3874"/>
                      </a:lnTo>
                      <a:close/>
                      <a:moveTo>
                        <a:pt x="23001" y="3931"/>
                      </a:moveTo>
                      <a:lnTo>
                        <a:pt x="23001" y="3903"/>
                      </a:lnTo>
                      <a:lnTo>
                        <a:pt x="23034" y="3895"/>
                      </a:lnTo>
                      <a:lnTo>
                        <a:pt x="23050" y="3874"/>
                      </a:lnTo>
                      <a:lnTo>
                        <a:pt x="23060" y="3862"/>
                      </a:lnTo>
                      <a:lnTo>
                        <a:pt x="23072" y="3891"/>
                      </a:lnTo>
                      <a:lnTo>
                        <a:pt x="23050" y="3914"/>
                      </a:lnTo>
                      <a:lnTo>
                        <a:pt x="23001" y="3931"/>
                      </a:lnTo>
                      <a:lnTo>
                        <a:pt x="23001" y="3931"/>
                      </a:lnTo>
                      <a:lnTo>
                        <a:pt x="23001" y="3931"/>
                      </a:lnTo>
                      <a:close/>
                      <a:moveTo>
                        <a:pt x="22946" y="3957"/>
                      </a:moveTo>
                      <a:lnTo>
                        <a:pt x="22946" y="3952"/>
                      </a:lnTo>
                      <a:lnTo>
                        <a:pt x="22946" y="3957"/>
                      </a:lnTo>
                      <a:lnTo>
                        <a:pt x="22946" y="3957"/>
                      </a:lnTo>
                      <a:lnTo>
                        <a:pt x="22946" y="3957"/>
                      </a:lnTo>
                      <a:close/>
                      <a:moveTo>
                        <a:pt x="22953" y="4002"/>
                      </a:moveTo>
                      <a:lnTo>
                        <a:pt x="22968" y="3973"/>
                      </a:lnTo>
                      <a:lnTo>
                        <a:pt x="22979" y="3969"/>
                      </a:lnTo>
                      <a:lnTo>
                        <a:pt x="22968" y="3990"/>
                      </a:lnTo>
                      <a:lnTo>
                        <a:pt x="22968" y="4002"/>
                      </a:lnTo>
                      <a:lnTo>
                        <a:pt x="22953" y="4002"/>
                      </a:lnTo>
                      <a:lnTo>
                        <a:pt x="22953" y="4002"/>
                      </a:lnTo>
                      <a:lnTo>
                        <a:pt x="22953" y="4002"/>
                      </a:lnTo>
                      <a:close/>
                      <a:moveTo>
                        <a:pt x="22946" y="4014"/>
                      </a:moveTo>
                      <a:lnTo>
                        <a:pt x="22953" y="4014"/>
                      </a:lnTo>
                      <a:lnTo>
                        <a:pt x="22953" y="4023"/>
                      </a:lnTo>
                      <a:lnTo>
                        <a:pt x="22946" y="4014"/>
                      </a:lnTo>
                      <a:lnTo>
                        <a:pt x="22946" y="4014"/>
                      </a:lnTo>
                      <a:lnTo>
                        <a:pt x="22946" y="4014"/>
                      </a:lnTo>
                      <a:close/>
                      <a:moveTo>
                        <a:pt x="22916" y="4058"/>
                      </a:moveTo>
                      <a:lnTo>
                        <a:pt x="22925" y="4040"/>
                      </a:lnTo>
                      <a:lnTo>
                        <a:pt x="22930" y="4040"/>
                      </a:lnTo>
                      <a:lnTo>
                        <a:pt x="22916" y="4058"/>
                      </a:lnTo>
                      <a:lnTo>
                        <a:pt x="22916" y="4058"/>
                      </a:lnTo>
                      <a:lnTo>
                        <a:pt x="22916" y="4058"/>
                      </a:lnTo>
                      <a:close/>
                      <a:moveTo>
                        <a:pt x="22861" y="4117"/>
                      </a:moveTo>
                      <a:lnTo>
                        <a:pt x="22854" y="4113"/>
                      </a:lnTo>
                      <a:lnTo>
                        <a:pt x="22861" y="4113"/>
                      </a:lnTo>
                      <a:lnTo>
                        <a:pt x="22861" y="4117"/>
                      </a:lnTo>
                      <a:lnTo>
                        <a:pt x="22861" y="4117"/>
                      </a:lnTo>
                      <a:lnTo>
                        <a:pt x="22861" y="4117"/>
                      </a:lnTo>
                      <a:close/>
                      <a:moveTo>
                        <a:pt x="22807" y="4179"/>
                      </a:moveTo>
                      <a:lnTo>
                        <a:pt x="22816" y="4179"/>
                      </a:lnTo>
                      <a:lnTo>
                        <a:pt x="22807" y="4179"/>
                      </a:lnTo>
                      <a:lnTo>
                        <a:pt x="22807" y="4179"/>
                      </a:lnTo>
                      <a:lnTo>
                        <a:pt x="22807" y="4179"/>
                      </a:lnTo>
                      <a:close/>
                      <a:moveTo>
                        <a:pt x="22791" y="4195"/>
                      </a:moveTo>
                      <a:lnTo>
                        <a:pt x="22779" y="4224"/>
                      </a:lnTo>
                      <a:lnTo>
                        <a:pt x="22753" y="4228"/>
                      </a:lnTo>
                      <a:lnTo>
                        <a:pt x="22791" y="4195"/>
                      </a:lnTo>
                      <a:lnTo>
                        <a:pt x="22791" y="4195"/>
                      </a:lnTo>
                      <a:lnTo>
                        <a:pt x="22791" y="4195"/>
                      </a:lnTo>
                      <a:close/>
                      <a:moveTo>
                        <a:pt x="22602" y="4340"/>
                      </a:moveTo>
                      <a:lnTo>
                        <a:pt x="22613" y="4318"/>
                      </a:lnTo>
                      <a:lnTo>
                        <a:pt x="22628" y="4302"/>
                      </a:lnTo>
                      <a:lnTo>
                        <a:pt x="22661" y="4285"/>
                      </a:lnTo>
                      <a:lnTo>
                        <a:pt x="22665" y="4285"/>
                      </a:lnTo>
                      <a:lnTo>
                        <a:pt x="22644" y="4306"/>
                      </a:lnTo>
                      <a:lnTo>
                        <a:pt x="22613" y="4335"/>
                      </a:lnTo>
                      <a:lnTo>
                        <a:pt x="22602" y="4340"/>
                      </a:lnTo>
                      <a:lnTo>
                        <a:pt x="22602" y="4340"/>
                      </a:lnTo>
                      <a:lnTo>
                        <a:pt x="22602" y="4340"/>
                      </a:lnTo>
                      <a:close/>
                      <a:moveTo>
                        <a:pt x="22413" y="4446"/>
                      </a:moveTo>
                      <a:lnTo>
                        <a:pt x="22413" y="4434"/>
                      </a:lnTo>
                      <a:lnTo>
                        <a:pt x="22439" y="4417"/>
                      </a:lnTo>
                      <a:lnTo>
                        <a:pt x="22429" y="4413"/>
                      </a:lnTo>
                      <a:lnTo>
                        <a:pt x="22483" y="4373"/>
                      </a:lnTo>
                      <a:lnTo>
                        <a:pt x="22483" y="4363"/>
                      </a:lnTo>
                      <a:lnTo>
                        <a:pt x="22493" y="4356"/>
                      </a:lnTo>
                      <a:lnTo>
                        <a:pt x="22500" y="4373"/>
                      </a:lnTo>
                      <a:lnTo>
                        <a:pt x="22514" y="4373"/>
                      </a:lnTo>
                      <a:lnTo>
                        <a:pt x="22547" y="4347"/>
                      </a:lnTo>
                      <a:lnTo>
                        <a:pt x="22552" y="4347"/>
                      </a:lnTo>
                      <a:lnTo>
                        <a:pt x="22552" y="4363"/>
                      </a:lnTo>
                      <a:lnTo>
                        <a:pt x="22514" y="4373"/>
                      </a:lnTo>
                      <a:lnTo>
                        <a:pt x="22476" y="4396"/>
                      </a:lnTo>
                      <a:lnTo>
                        <a:pt x="22467" y="4396"/>
                      </a:lnTo>
                      <a:lnTo>
                        <a:pt x="22462" y="4413"/>
                      </a:lnTo>
                      <a:lnTo>
                        <a:pt x="22413" y="4446"/>
                      </a:lnTo>
                      <a:lnTo>
                        <a:pt x="22413" y="4446"/>
                      </a:lnTo>
                      <a:lnTo>
                        <a:pt x="22413" y="4446"/>
                      </a:lnTo>
                      <a:close/>
                      <a:moveTo>
                        <a:pt x="22370" y="4434"/>
                      </a:moveTo>
                      <a:lnTo>
                        <a:pt x="22391" y="4446"/>
                      </a:lnTo>
                      <a:lnTo>
                        <a:pt x="22354" y="4467"/>
                      </a:lnTo>
                      <a:lnTo>
                        <a:pt x="22337" y="4491"/>
                      </a:lnTo>
                      <a:lnTo>
                        <a:pt x="22332" y="4491"/>
                      </a:lnTo>
                      <a:lnTo>
                        <a:pt x="22320" y="4512"/>
                      </a:lnTo>
                      <a:lnTo>
                        <a:pt x="22316" y="4507"/>
                      </a:lnTo>
                      <a:lnTo>
                        <a:pt x="22316" y="4500"/>
                      </a:lnTo>
                      <a:lnTo>
                        <a:pt x="22337" y="4474"/>
                      </a:lnTo>
                      <a:lnTo>
                        <a:pt x="22370" y="4434"/>
                      </a:lnTo>
                      <a:lnTo>
                        <a:pt x="22370" y="4434"/>
                      </a:lnTo>
                      <a:lnTo>
                        <a:pt x="22370" y="4434"/>
                      </a:lnTo>
                      <a:close/>
                      <a:moveTo>
                        <a:pt x="15463" y="4484"/>
                      </a:moveTo>
                      <a:lnTo>
                        <a:pt x="15454" y="4484"/>
                      </a:lnTo>
                      <a:lnTo>
                        <a:pt x="15463" y="4484"/>
                      </a:lnTo>
                      <a:lnTo>
                        <a:pt x="15463" y="4484"/>
                      </a:lnTo>
                      <a:lnTo>
                        <a:pt x="15463" y="4484"/>
                      </a:lnTo>
                      <a:close/>
                      <a:moveTo>
                        <a:pt x="22413" y="4491"/>
                      </a:moveTo>
                      <a:lnTo>
                        <a:pt x="22408" y="4507"/>
                      </a:lnTo>
                      <a:lnTo>
                        <a:pt x="22396" y="4507"/>
                      </a:lnTo>
                      <a:lnTo>
                        <a:pt x="22396" y="4500"/>
                      </a:lnTo>
                      <a:lnTo>
                        <a:pt x="22413" y="4491"/>
                      </a:lnTo>
                      <a:lnTo>
                        <a:pt x="22413" y="4491"/>
                      </a:lnTo>
                      <a:lnTo>
                        <a:pt x="22413" y="4491"/>
                      </a:lnTo>
                      <a:close/>
                      <a:moveTo>
                        <a:pt x="22370" y="4524"/>
                      </a:moveTo>
                      <a:lnTo>
                        <a:pt x="22370" y="4528"/>
                      </a:lnTo>
                      <a:lnTo>
                        <a:pt x="22358" y="4524"/>
                      </a:lnTo>
                      <a:lnTo>
                        <a:pt x="22370" y="4524"/>
                      </a:lnTo>
                      <a:lnTo>
                        <a:pt x="22370" y="4524"/>
                      </a:lnTo>
                      <a:lnTo>
                        <a:pt x="22370" y="4524"/>
                      </a:lnTo>
                      <a:close/>
                      <a:moveTo>
                        <a:pt x="21366" y="4566"/>
                      </a:moveTo>
                      <a:lnTo>
                        <a:pt x="21359" y="4566"/>
                      </a:lnTo>
                      <a:lnTo>
                        <a:pt x="21366" y="4562"/>
                      </a:lnTo>
                      <a:lnTo>
                        <a:pt x="21366" y="4566"/>
                      </a:lnTo>
                      <a:lnTo>
                        <a:pt x="21366" y="4566"/>
                      </a:lnTo>
                      <a:lnTo>
                        <a:pt x="21366" y="456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9" name="Freeform 546">
                  <a:extLst>
                    <a:ext uri="{FF2B5EF4-FFF2-40B4-BE49-F238E27FC236}">
                      <a16:creationId xmlns:a16="http://schemas.microsoft.com/office/drawing/2014/main" id="{325ECF8C-6ECD-4146-8A9E-B2030352A763}"/>
                    </a:ext>
                  </a:extLst>
                </p:cNvPr>
                <p:cNvSpPr>
                  <a:spLocks/>
                </p:cNvSpPr>
                <p:nvPr/>
              </p:nvSpPr>
              <p:spPr bwMode="gray">
                <a:xfrm>
                  <a:off x="5096433" y="2557357"/>
                  <a:ext cx="6587" cy="8646"/>
                </a:xfrm>
                <a:custGeom>
                  <a:avLst/>
                  <a:gdLst>
                    <a:gd name="T0" fmla="*/ 5 w 16"/>
                    <a:gd name="T1" fmla="*/ 0 h 21"/>
                    <a:gd name="T2" fmla="*/ 5 w 16"/>
                    <a:gd name="T3" fmla="*/ 4 h 21"/>
                    <a:gd name="T4" fmla="*/ 5 w 16"/>
                    <a:gd name="T5" fmla="*/ 4 h 21"/>
                    <a:gd name="T6" fmla="*/ 16 w 16"/>
                    <a:gd name="T7" fmla="*/ 21 h 21"/>
                    <a:gd name="T8" fmla="*/ 5 w 16"/>
                    <a:gd name="T9" fmla="*/ 21 h 21"/>
                    <a:gd name="T10" fmla="*/ 0 w 16"/>
                    <a:gd name="T11" fmla="*/ 0 h 21"/>
                    <a:gd name="T12" fmla="*/ 5 w 16"/>
                    <a:gd name="T13" fmla="*/ 0 h 21"/>
                    <a:gd name="T14" fmla="*/ 5 w 16"/>
                    <a:gd name="T15" fmla="*/ 0 h 21"/>
                    <a:gd name="T16" fmla="*/ 5 w 16"/>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1">
                      <a:moveTo>
                        <a:pt x="5" y="0"/>
                      </a:moveTo>
                      <a:lnTo>
                        <a:pt x="5" y="4"/>
                      </a:lnTo>
                      <a:lnTo>
                        <a:pt x="5" y="4"/>
                      </a:lnTo>
                      <a:lnTo>
                        <a:pt x="16" y="21"/>
                      </a:lnTo>
                      <a:lnTo>
                        <a:pt x="5" y="21"/>
                      </a:lnTo>
                      <a:lnTo>
                        <a:pt x="0" y="0"/>
                      </a:lnTo>
                      <a:lnTo>
                        <a:pt x="5" y="0"/>
                      </a:lnTo>
                      <a:lnTo>
                        <a:pt x="5" y="0"/>
                      </a:lnTo>
                      <a:lnTo>
                        <a:pt x="5"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0" name="Freeform 552">
                  <a:extLst>
                    <a:ext uri="{FF2B5EF4-FFF2-40B4-BE49-F238E27FC236}">
                      <a16:creationId xmlns:a16="http://schemas.microsoft.com/office/drawing/2014/main" id="{372C5B57-A46B-480D-9234-C6D2060663F4}"/>
                    </a:ext>
                  </a:extLst>
                </p:cNvPr>
                <p:cNvSpPr>
                  <a:spLocks/>
                </p:cNvSpPr>
                <p:nvPr/>
              </p:nvSpPr>
              <p:spPr bwMode="gray">
                <a:xfrm>
                  <a:off x="7114029" y="2563945"/>
                  <a:ext cx="89745" cy="54346"/>
                </a:xfrm>
                <a:custGeom>
                  <a:avLst/>
                  <a:gdLst>
                    <a:gd name="T0" fmla="*/ 22 w 218"/>
                    <a:gd name="T1" fmla="*/ 28 h 132"/>
                    <a:gd name="T2" fmla="*/ 74 w 218"/>
                    <a:gd name="T3" fmla="*/ 45 h 132"/>
                    <a:gd name="T4" fmla="*/ 102 w 218"/>
                    <a:gd name="T5" fmla="*/ 38 h 132"/>
                    <a:gd name="T6" fmla="*/ 102 w 218"/>
                    <a:gd name="T7" fmla="*/ 21 h 132"/>
                    <a:gd name="T8" fmla="*/ 166 w 218"/>
                    <a:gd name="T9" fmla="*/ 12 h 132"/>
                    <a:gd name="T10" fmla="*/ 180 w 218"/>
                    <a:gd name="T11" fmla="*/ 0 h 132"/>
                    <a:gd name="T12" fmla="*/ 208 w 218"/>
                    <a:gd name="T13" fmla="*/ 5 h 132"/>
                    <a:gd name="T14" fmla="*/ 196 w 218"/>
                    <a:gd name="T15" fmla="*/ 12 h 132"/>
                    <a:gd name="T16" fmla="*/ 218 w 218"/>
                    <a:gd name="T17" fmla="*/ 38 h 132"/>
                    <a:gd name="T18" fmla="*/ 196 w 218"/>
                    <a:gd name="T19" fmla="*/ 28 h 132"/>
                    <a:gd name="T20" fmla="*/ 196 w 218"/>
                    <a:gd name="T21" fmla="*/ 45 h 132"/>
                    <a:gd name="T22" fmla="*/ 154 w 218"/>
                    <a:gd name="T23" fmla="*/ 62 h 132"/>
                    <a:gd name="T24" fmla="*/ 154 w 218"/>
                    <a:gd name="T25" fmla="*/ 66 h 132"/>
                    <a:gd name="T26" fmla="*/ 159 w 218"/>
                    <a:gd name="T27" fmla="*/ 78 h 132"/>
                    <a:gd name="T28" fmla="*/ 159 w 218"/>
                    <a:gd name="T29" fmla="*/ 95 h 132"/>
                    <a:gd name="T30" fmla="*/ 128 w 218"/>
                    <a:gd name="T31" fmla="*/ 99 h 132"/>
                    <a:gd name="T32" fmla="*/ 128 w 218"/>
                    <a:gd name="T33" fmla="*/ 111 h 132"/>
                    <a:gd name="T34" fmla="*/ 137 w 218"/>
                    <a:gd name="T35" fmla="*/ 111 h 132"/>
                    <a:gd name="T36" fmla="*/ 128 w 218"/>
                    <a:gd name="T37" fmla="*/ 123 h 132"/>
                    <a:gd name="T38" fmla="*/ 123 w 218"/>
                    <a:gd name="T39" fmla="*/ 132 h 132"/>
                    <a:gd name="T40" fmla="*/ 102 w 218"/>
                    <a:gd name="T41" fmla="*/ 123 h 132"/>
                    <a:gd name="T42" fmla="*/ 85 w 218"/>
                    <a:gd name="T43" fmla="*/ 111 h 132"/>
                    <a:gd name="T44" fmla="*/ 69 w 218"/>
                    <a:gd name="T45" fmla="*/ 123 h 132"/>
                    <a:gd name="T46" fmla="*/ 15 w 218"/>
                    <a:gd name="T47" fmla="*/ 123 h 132"/>
                    <a:gd name="T48" fmla="*/ 22 w 218"/>
                    <a:gd name="T49" fmla="*/ 116 h 132"/>
                    <a:gd name="T50" fmla="*/ 22 w 218"/>
                    <a:gd name="T51" fmla="*/ 116 h 132"/>
                    <a:gd name="T52" fmla="*/ 36 w 218"/>
                    <a:gd name="T53" fmla="*/ 111 h 132"/>
                    <a:gd name="T54" fmla="*/ 15 w 218"/>
                    <a:gd name="T55" fmla="*/ 95 h 132"/>
                    <a:gd name="T56" fmla="*/ 15 w 218"/>
                    <a:gd name="T57" fmla="*/ 78 h 132"/>
                    <a:gd name="T58" fmla="*/ 5 w 218"/>
                    <a:gd name="T59" fmla="*/ 78 h 132"/>
                    <a:gd name="T60" fmla="*/ 15 w 218"/>
                    <a:gd name="T61" fmla="*/ 62 h 132"/>
                    <a:gd name="T62" fmla="*/ 0 w 218"/>
                    <a:gd name="T63" fmla="*/ 62 h 132"/>
                    <a:gd name="T64" fmla="*/ 0 w 218"/>
                    <a:gd name="T65" fmla="*/ 54 h 132"/>
                    <a:gd name="T66" fmla="*/ 22 w 218"/>
                    <a:gd name="T67" fmla="*/ 28 h 132"/>
                    <a:gd name="T68" fmla="*/ 22 w 218"/>
                    <a:gd name="T69" fmla="*/ 28 h 132"/>
                    <a:gd name="T70" fmla="*/ 22 w 218"/>
                    <a:gd name="T71" fmla="*/ 2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8" h="132">
                      <a:moveTo>
                        <a:pt x="22" y="28"/>
                      </a:moveTo>
                      <a:lnTo>
                        <a:pt x="74" y="45"/>
                      </a:lnTo>
                      <a:lnTo>
                        <a:pt x="102" y="38"/>
                      </a:lnTo>
                      <a:lnTo>
                        <a:pt x="102" y="21"/>
                      </a:lnTo>
                      <a:lnTo>
                        <a:pt x="166" y="12"/>
                      </a:lnTo>
                      <a:lnTo>
                        <a:pt x="180" y="0"/>
                      </a:lnTo>
                      <a:lnTo>
                        <a:pt x="208" y="5"/>
                      </a:lnTo>
                      <a:lnTo>
                        <a:pt x="196" y="12"/>
                      </a:lnTo>
                      <a:lnTo>
                        <a:pt x="218" y="38"/>
                      </a:lnTo>
                      <a:lnTo>
                        <a:pt x="196" y="28"/>
                      </a:lnTo>
                      <a:lnTo>
                        <a:pt x="196" y="45"/>
                      </a:lnTo>
                      <a:lnTo>
                        <a:pt x="154" y="62"/>
                      </a:lnTo>
                      <a:lnTo>
                        <a:pt x="154" y="66"/>
                      </a:lnTo>
                      <a:lnTo>
                        <a:pt x="159" y="78"/>
                      </a:lnTo>
                      <a:lnTo>
                        <a:pt x="159" y="95"/>
                      </a:lnTo>
                      <a:lnTo>
                        <a:pt x="128" y="99"/>
                      </a:lnTo>
                      <a:lnTo>
                        <a:pt x="128" y="111"/>
                      </a:lnTo>
                      <a:lnTo>
                        <a:pt x="137" y="111"/>
                      </a:lnTo>
                      <a:lnTo>
                        <a:pt x="128" y="123"/>
                      </a:lnTo>
                      <a:lnTo>
                        <a:pt x="123" y="132"/>
                      </a:lnTo>
                      <a:lnTo>
                        <a:pt x="102" y="123"/>
                      </a:lnTo>
                      <a:lnTo>
                        <a:pt x="85" y="111"/>
                      </a:lnTo>
                      <a:lnTo>
                        <a:pt x="69" y="123"/>
                      </a:lnTo>
                      <a:lnTo>
                        <a:pt x="15" y="123"/>
                      </a:lnTo>
                      <a:lnTo>
                        <a:pt x="22" y="116"/>
                      </a:lnTo>
                      <a:lnTo>
                        <a:pt x="22" y="116"/>
                      </a:lnTo>
                      <a:lnTo>
                        <a:pt x="36" y="111"/>
                      </a:lnTo>
                      <a:lnTo>
                        <a:pt x="15" y="95"/>
                      </a:lnTo>
                      <a:lnTo>
                        <a:pt x="15" y="78"/>
                      </a:lnTo>
                      <a:lnTo>
                        <a:pt x="5" y="78"/>
                      </a:lnTo>
                      <a:lnTo>
                        <a:pt x="15" y="62"/>
                      </a:lnTo>
                      <a:lnTo>
                        <a:pt x="0" y="62"/>
                      </a:lnTo>
                      <a:lnTo>
                        <a:pt x="0" y="54"/>
                      </a:lnTo>
                      <a:lnTo>
                        <a:pt x="22" y="28"/>
                      </a:lnTo>
                      <a:lnTo>
                        <a:pt x="22" y="28"/>
                      </a:lnTo>
                      <a:lnTo>
                        <a:pt x="22" y="2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1" name="Freeform 554">
                  <a:extLst>
                    <a:ext uri="{FF2B5EF4-FFF2-40B4-BE49-F238E27FC236}">
                      <a16:creationId xmlns:a16="http://schemas.microsoft.com/office/drawing/2014/main" id="{563AD7C7-F42F-48C8-9DBE-29539018353F}"/>
                    </a:ext>
                  </a:extLst>
                </p:cNvPr>
                <p:cNvSpPr>
                  <a:spLocks/>
                </p:cNvSpPr>
                <p:nvPr/>
              </p:nvSpPr>
              <p:spPr bwMode="gray">
                <a:xfrm>
                  <a:off x="7083977" y="2670169"/>
                  <a:ext cx="4940" cy="3706"/>
                </a:xfrm>
                <a:custGeom>
                  <a:avLst/>
                  <a:gdLst>
                    <a:gd name="T0" fmla="*/ 0 w 12"/>
                    <a:gd name="T1" fmla="*/ 0 h 9"/>
                    <a:gd name="T2" fmla="*/ 12 w 12"/>
                    <a:gd name="T3" fmla="*/ 0 h 9"/>
                    <a:gd name="T4" fmla="*/ 0 w 12"/>
                    <a:gd name="T5" fmla="*/ 9 h 9"/>
                    <a:gd name="T6" fmla="*/ 0 w 12"/>
                    <a:gd name="T7" fmla="*/ 0 h 9"/>
                    <a:gd name="T8" fmla="*/ 0 w 12"/>
                    <a:gd name="T9" fmla="*/ 0 h 9"/>
                    <a:gd name="T10" fmla="*/ 0 w 12"/>
                    <a:gd name="T11" fmla="*/ 0 h 9"/>
                  </a:gdLst>
                  <a:ahLst/>
                  <a:cxnLst>
                    <a:cxn ang="0">
                      <a:pos x="T0" y="T1"/>
                    </a:cxn>
                    <a:cxn ang="0">
                      <a:pos x="T2" y="T3"/>
                    </a:cxn>
                    <a:cxn ang="0">
                      <a:pos x="T4" y="T5"/>
                    </a:cxn>
                    <a:cxn ang="0">
                      <a:pos x="T6" y="T7"/>
                    </a:cxn>
                    <a:cxn ang="0">
                      <a:pos x="T8" y="T9"/>
                    </a:cxn>
                    <a:cxn ang="0">
                      <a:pos x="T10" y="T11"/>
                    </a:cxn>
                  </a:cxnLst>
                  <a:rect l="0" t="0" r="r" b="b"/>
                  <a:pathLst>
                    <a:path w="12" h="9">
                      <a:moveTo>
                        <a:pt x="0" y="0"/>
                      </a:moveTo>
                      <a:lnTo>
                        <a:pt x="12" y="0"/>
                      </a:lnTo>
                      <a:lnTo>
                        <a:pt x="0" y="9"/>
                      </a:lnTo>
                      <a:lnTo>
                        <a:pt x="0" y="0"/>
                      </a:lnTo>
                      <a:lnTo>
                        <a:pt x="0" y="0"/>
                      </a:lnTo>
                      <a:lnTo>
                        <a:pt x="0"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2" name="Freeform 558">
                  <a:extLst>
                    <a:ext uri="{FF2B5EF4-FFF2-40B4-BE49-F238E27FC236}">
                      <a16:creationId xmlns:a16="http://schemas.microsoft.com/office/drawing/2014/main" id="{4C0F9B1B-6A9D-4665-B2C4-FD5173B65482}"/>
                    </a:ext>
                  </a:extLst>
                </p:cNvPr>
                <p:cNvSpPr>
                  <a:spLocks/>
                </p:cNvSpPr>
                <p:nvPr/>
              </p:nvSpPr>
              <p:spPr bwMode="gray">
                <a:xfrm>
                  <a:off x="7269639" y="2588237"/>
                  <a:ext cx="119796" cy="157688"/>
                </a:xfrm>
                <a:custGeom>
                  <a:avLst/>
                  <a:gdLst>
                    <a:gd name="T0" fmla="*/ 90 w 291"/>
                    <a:gd name="T1" fmla="*/ 317 h 383"/>
                    <a:gd name="T2" fmla="*/ 102 w 291"/>
                    <a:gd name="T3" fmla="*/ 300 h 383"/>
                    <a:gd name="T4" fmla="*/ 107 w 291"/>
                    <a:gd name="T5" fmla="*/ 295 h 383"/>
                    <a:gd name="T6" fmla="*/ 31 w 291"/>
                    <a:gd name="T7" fmla="*/ 239 h 383"/>
                    <a:gd name="T8" fmla="*/ 48 w 291"/>
                    <a:gd name="T9" fmla="*/ 222 h 383"/>
                    <a:gd name="T10" fmla="*/ 48 w 291"/>
                    <a:gd name="T11" fmla="*/ 201 h 383"/>
                    <a:gd name="T12" fmla="*/ 22 w 291"/>
                    <a:gd name="T13" fmla="*/ 168 h 383"/>
                    <a:gd name="T14" fmla="*/ 14 w 291"/>
                    <a:gd name="T15" fmla="*/ 118 h 383"/>
                    <a:gd name="T16" fmla="*/ 48 w 291"/>
                    <a:gd name="T17" fmla="*/ 90 h 383"/>
                    <a:gd name="T18" fmla="*/ 14 w 291"/>
                    <a:gd name="T19" fmla="*/ 62 h 383"/>
                    <a:gd name="T20" fmla="*/ 5 w 291"/>
                    <a:gd name="T21" fmla="*/ 57 h 383"/>
                    <a:gd name="T22" fmla="*/ 0 w 291"/>
                    <a:gd name="T23" fmla="*/ 24 h 383"/>
                    <a:gd name="T24" fmla="*/ 31 w 291"/>
                    <a:gd name="T25" fmla="*/ 17 h 383"/>
                    <a:gd name="T26" fmla="*/ 102 w 291"/>
                    <a:gd name="T27" fmla="*/ 7 h 383"/>
                    <a:gd name="T28" fmla="*/ 140 w 291"/>
                    <a:gd name="T29" fmla="*/ 40 h 383"/>
                    <a:gd name="T30" fmla="*/ 194 w 291"/>
                    <a:gd name="T31" fmla="*/ 95 h 383"/>
                    <a:gd name="T32" fmla="*/ 194 w 291"/>
                    <a:gd name="T33" fmla="*/ 118 h 383"/>
                    <a:gd name="T34" fmla="*/ 182 w 291"/>
                    <a:gd name="T35" fmla="*/ 128 h 383"/>
                    <a:gd name="T36" fmla="*/ 199 w 291"/>
                    <a:gd name="T37" fmla="*/ 135 h 383"/>
                    <a:gd name="T38" fmla="*/ 232 w 291"/>
                    <a:gd name="T39" fmla="*/ 151 h 383"/>
                    <a:gd name="T40" fmla="*/ 253 w 291"/>
                    <a:gd name="T41" fmla="*/ 135 h 383"/>
                    <a:gd name="T42" fmla="*/ 253 w 291"/>
                    <a:gd name="T43" fmla="*/ 151 h 383"/>
                    <a:gd name="T44" fmla="*/ 253 w 291"/>
                    <a:gd name="T45" fmla="*/ 201 h 383"/>
                    <a:gd name="T46" fmla="*/ 265 w 291"/>
                    <a:gd name="T47" fmla="*/ 246 h 383"/>
                    <a:gd name="T48" fmla="*/ 279 w 291"/>
                    <a:gd name="T49" fmla="*/ 295 h 383"/>
                    <a:gd name="T50" fmla="*/ 253 w 291"/>
                    <a:gd name="T51" fmla="*/ 317 h 383"/>
                    <a:gd name="T52" fmla="*/ 248 w 291"/>
                    <a:gd name="T53" fmla="*/ 338 h 383"/>
                    <a:gd name="T54" fmla="*/ 199 w 291"/>
                    <a:gd name="T55" fmla="*/ 350 h 383"/>
                    <a:gd name="T56" fmla="*/ 177 w 291"/>
                    <a:gd name="T57" fmla="*/ 354 h 383"/>
                    <a:gd name="T58" fmla="*/ 140 w 291"/>
                    <a:gd name="T59" fmla="*/ 366 h 383"/>
                    <a:gd name="T60" fmla="*/ 123 w 291"/>
                    <a:gd name="T61" fmla="*/ 383 h 383"/>
                    <a:gd name="T62" fmla="*/ 102 w 291"/>
                    <a:gd name="T63" fmla="*/ 338 h 383"/>
                    <a:gd name="T64" fmla="*/ 85 w 291"/>
                    <a:gd name="T65" fmla="*/ 32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1" h="383">
                      <a:moveTo>
                        <a:pt x="85" y="329"/>
                      </a:moveTo>
                      <a:lnTo>
                        <a:pt x="90" y="317"/>
                      </a:lnTo>
                      <a:lnTo>
                        <a:pt x="85" y="312"/>
                      </a:lnTo>
                      <a:lnTo>
                        <a:pt x="102" y="300"/>
                      </a:lnTo>
                      <a:lnTo>
                        <a:pt x="107" y="300"/>
                      </a:lnTo>
                      <a:lnTo>
                        <a:pt x="107" y="295"/>
                      </a:lnTo>
                      <a:lnTo>
                        <a:pt x="64" y="272"/>
                      </a:lnTo>
                      <a:lnTo>
                        <a:pt x="31" y="239"/>
                      </a:lnTo>
                      <a:lnTo>
                        <a:pt x="48" y="239"/>
                      </a:lnTo>
                      <a:lnTo>
                        <a:pt x="48" y="222"/>
                      </a:lnTo>
                      <a:lnTo>
                        <a:pt x="31" y="201"/>
                      </a:lnTo>
                      <a:lnTo>
                        <a:pt x="48" y="201"/>
                      </a:lnTo>
                      <a:lnTo>
                        <a:pt x="52" y="189"/>
                      </a:lnTo>
                      <a:lnTo>
                        <a:pt x="22" y="168"/>
                      </a:lnTo>
                      <a:lnTo>
                        <a:pt x="38" y="118"/>
                      </a:lnTo>
                      <a:lnTo>
                        <a:pt x="14" y="118"/>
                      </a:lnTo>
                      <a:lnTo>
                        <a:pt x="22" y="90"/>
                      </a:lnTo>
                      <a:lnTo>
                        <a:pt x="48" y="90"/>
                      </a:lnTo>
                      <a:lnTo>
                        <a:pt x="14" y="73"/>
                      </a:lnTo>
                      <a:lnTo>
                        <a:pt x="14" y="62"/>
                      </a:lnTo>
                      <a:lnTo>
                        <a:pt x="22" y="62"/>
                      </a:lnTo>
                      <a:lnTo>
                        <a:pt x="5" y="57"/>
                      </a:lnTo>
                      <a:lnTo>
                        <a:pt x="5" y="40"/>
                      </a:lnTo>
                      <a:lnTo>
                        <a:pt x="0" y="24"/>
                      </a:lnTo>
                      <a:lnTo>
                        <a:pt x="22" y="17"/>
                      </a:lnTo>
                      <a:lnTo>
                        <a:pt x="31" y="17"/>
                      </a:lnTo>
                      <a:lnTo>
                        <a:pt x="52" y="0"/>
                      </a:lnTo>
                      <a:lnTo>
                        <a:pt x="102" y="7"/>
                      </a:lnTo>
                      <a:lnTo>
                        <a:pt x="128" y="40"/>
                      </a:lnTo>
                      <a:lnTo>
                        <a:pt x="140" y="40"/>
                      </a:lnTo>
                      <a:lnTo>
                        <a:pt x="140" y="62"/>
                      </a:lnTo>
                      <a:lnTo>
                        <a:pt x="194" y="95"/>
                      </a:lnTo>
                      <a:lnTo>
                        <a:pt x="177" y="111"/>
                      </a:lnTo>
                      <a:lnTo>
                        <a:pt x="194" y="118"/>
                      </a:lnTo>
                      <a:lnTo>
                        <a:pt x="177" y="118"/>
                      </a:lnTo>
                      <a:lnTo>
                        <a:pt x="182" y="128"/>
                      </a:lnTo>
                      <a:lnTo>
                        <a:pt x="194" y="128"/>
                      </a:lnTo>
                      <a:lnTo>
                        <a:pt x="199" y="135"/>
                      </a:lnTo>
                      <a:lnTo>
                        <a:pt x="227" y="144"/>
                      </a:lnTo>
                      <a:lnTo>
                        <a:pt x="232" y="151"/>
                      </a:lnTo>
                      <a:lnTo>
                        <a:pt x="248" y="135"/>
                      </a:lnTo>
                      <a:lnTo>
                        <a:pt x="253" y="135"/>
                      </a:lnTo>
                      <a:lnTo>
                        <a:pt x="279" y="151"/>
                      </a:lnTo>
                      <a:lnTo>
                        <a:pt x="253" y="151"/>
                      </a:lnTo>
                      <a:lnTo>
                        <a:pt x="270" y="173"/>
                      </a:lnTo>
                      <a:lnTo>
                        <a:pt x="253" y="201"/>
                      </a:lnTo>
                      <a:lnTo>
                        <a:pt x="248" y="217"/>
                      </a:lnTo>
                      <a:lnTo>
                        <a:pt x="265" y="246"/>
                      </a:lnTo>
                      <a:lnTo>
                        <a:pt x="291" y="272"/>
                      </a:lnTo>
                      <a:lnTo>
                        <a:pt x="279" y="295"/>
                      </a:lnTo>
                      <a:lnTo>
                        <a:pt x="253" y="300"/>
                      </a:lnTo>
                      <a:lnTo>
                        <a:pt x="253" y="317"/>
                      </a:lnTo>
                      <a:lnTo>
                        <a:pt x="265" y="333"/>
                      </a:lnTo>
                      <a:lnTo>
                        <a:pt x="248" y="338"/>
                      </a:lnTo>
                      <a:lnTo>
                        <a:pt x="215" y="338"/>
                      </a:lnTo>
                      <a:lnTo>
                        <a:pt x="199" y="350"/>
                      </a:lnTo>
                      <a:lnTo>
                        <a:pt x="182" y="350"/>
                      </a:lnTo>
                      <a:lnTo>
                        <a:pt x="177" y="354"/>
                      </a:lnTo>
                      <a:lnTo>
                        <a:pt x="161" y="354"/>
                      </a:lnTo>
                      <a:lnTo>
                        <a:pt x="140" y="366"/>
                      </a:lnTo>
                      <a:lnTo>
                        <a:pt x="128" y="383"/>
                      </a:lnTo>
                      <a:lnTo>
                        <a:pt x="123" y="383"/>
                      </a:lnTo>
                      <a:lnTo>
                        <a:pt x="123" y="350"/>
                      </a:lnTo>
                      <a:lnTo>
                        <a:pt x="102" y="338"/>
                      </a:lnTo>
                      <a:lnTo>
                        <a:pt x="85" y="329"/>
                      </a:lnTo>
                      <a:lnTo>
                        <a:pt x="85" y="329"/>
                      </a:lnTo>
                      <a:lnTo>
                        <a:pt x="85" y="32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3" name="Freeform 560">
                  <a:extLst>
                    <a:ext uri="{FF2B5EF4-FFF2-40B4-BE49-F238E27FC236}">
                      <a16:creationId xmlns:a16="http://schemas.microsoft.com/office/drawing/2014/main" id="{53E573C6-AE7D-42EE-B01A-A3F882D9D217}"/>
                    </a:ext>
                  </a:extLst>
                </p:cNvPr>
                <p:cNvSpPr>
                  <a:spLocks noEditPoints="1"/>
                </p:cNvSpPr>
                <p:nvPr/>
              </p:nvSpPr>
              <p:spPr bwMode="gray">
                <a:xfrm>
                  <a:off x="7027578" y="899789"/>
                  <a:ext cx="761590" cy="406775"/>
                </a:xfrm>
                <a:custGeom>
                  <a:avLst/>
                  <a:gdLst>
                    <a:gd name="T0" fmla="*/ 749 w 1850"/>
                    <a:gd name="T1" fmla="*/ 22 h 988"/>
                    <a:gd name="T2" fmla="*/ 706 w 1850"/>
                    <a:gd name="T3" fmla="*/ 17 h 988"/>
                    <a:gd name="T4" fmla="*/ 678 w 1850"/>
                    <a:gd name="T5" fmla="*/ 38 h 988"/>
                    <a:gd name="T6" fmla="*/ 959 w 1850"/>
                    <a:gd name="T7" fmla="*/ 43 h 988"/>
                    <a:gd name="T8" fmla="*/ 834 w 1850"/>
                    <a:gd name="T9" fmla="*/ 60 h 988"/>
                    <a:gd name="T10" fmla="*/ 905 w 1850"/>
                    <a:gd name="T11" fmla="*/ 71 h 988"/>
                    <a:gd name="T12" fmla="*/ 933 w 1850"/>
                    <a:gd name="T13" fmla="*/ 78 h 988"/>
                    <a:gd name="T14" fmla="*/ 1013 w 1850"/>
                    <a:gd name="T15" fmla="*/ 78 h 988"/>
                    <a:gd name="T16" fmla="*/ 1082 w 1850"/>
                    <a:gd name="T17" fmla="*/ 187 h 988"/>
                    <a:gd name="T18" fmla="*/ 921 w 1850"/>
                    <a:gd name="T19" fmla="*/ 260 h 988"/>
                    <a:gd name="T20" fmla="*/ 690 w 1850"/>
                    <a:gd name="T21" fmla="*/ 187 h 988"/>
                    <a:gd name="T22" fmla="*/ 586 w 1850"/>
                    <a:gd name="T23" fmla="*/ 128 h 988"/>
                    <a:gd name="T24" fmla="*/ 657 w 1850"/>
                    <a:gd name="T25" fmla="*/ 95 h 988"/>
                    <a:gd name="T26" fmla="*/ 728 w 1850"/>
                    <a:gd name="T27" fmla="*/ 78 h 988"/>
                    <a:gd name="T28" fmla="*/ 825 w 1850"/>
                    <a:gd name="T29" fmla="*/ 133 h 988"/>
                    <a:gd name="T30" fmla="*/ 980 w 1850"/>
                    <a:gd name="T31" fmla="*/ 60 h 988"/>
                    <a:gd name="T32" fmla="*/ 586 w 1850"/>
                    <a:gd name="T33" fmla="*/ 78 h 988"/>
                    <a:gd name="T34" fmla="*/ 1481 w 1850"/>
                    <a:gd name="T35" fmla="*/ 116 h 988"/>
                    <a:gd name="T36" fmla="*/ 1219 w 1850"/>
                    <a:gd name="T37" fmla="*/ 100 h 988"/>
                    <a:gd name="T38" fmla="*/ 1843 w 1850"/>
                    <a:gd name="T39" fmla="*/ 100 h 988"/>
                    <a:gd name="T40" fmla="*/ 85 w 1850"/>
                    <a:gd name="T41" fmla="*/ 334 h 988"/>
                    <a:gd name="T42" fmla="*/ 118 w 1850"/>
                    <a:gd name="T43" fmla="*/ 244 h 988"/>
                    <a:gd name="T44" fmla="*/ 31 w 1850"/>
                    <a:gd name="T45" fmla="*/ 227 h 988"/>
                    <a:gd name="T46" fmla="*/ 85 w 1850"/>
                    <a:gd name="T47" fmla="*/ 154 h 988"/>
                    <a:gd name="T48" fmla="*/ 139 w 1850"/>
                    <a:gd name="T49" fmla="*/ 194 h 988"/>
                    <a:gd name="T50" fmla="*/ 295 w 1850"/>
                    <a:gd name="T51" fmla="*/ 154 h 988"/>
                    <a:gd name="T52" fmla="*/ 388 w 1850"/>
                    <a:gd name="T53" fmla="*/ 239 h 988"/>
                    <a:gd name="T54" fmla="*/ 458 w 1850"/>
                    <a:gd name="T55" fmla="*/ 133 h 988"/>
                    <a:gd name="T56" fmla="*/ 555 w 1850"/>
                    <a:gd name="T57" fmla="*/ 187 h 988"/>
                    <a:gd name="T58" fmla="*/ 652 w 1850"/>
                    <a:gd name="T59" fmla="*/ 350 h 988"/>
                    <a:gd name="T60" fmla="*/ 555 w 1850"/>
                    <a:gd name="T61" fmla="*/ 442 h 988"/>
                    <a:gd name="T62" fmla="*/ 480 w 1850"/>
                    <a:gd name="T63" fmla="*/ 598 h 988"/>
                    <a:gd name="T64" fmla="*/ 350 w 1850"/>
                    <a:gd name="T65" fmla="*/ 598 h 988"/>
                    <a:gd name="T66" fmla="*/ 286 w 1850"/>
                    <a:gd name="T67" fmla="*/ 520 h 988"/>
                    <a:gd name="T68" fmla="*/ 248 w 1850"/>
                    <a:gd name="T69" fmla="*/ 487 h 988"/>
                    <a:gd name="T70" fmla="*/ 265 w 1850"/>
                    <a:gd name="T71" fmla="*/ 433 h 988"/>
                    <a:gd name="T72" fmla="*/ 480 w 1850"/>
                    <a:gd name="T73" fmla="*/ 376 h 988"/>
                    <a:gd name="T74" fmla="*/ 350 w 1850"/>
                    <a:gd name="T75" fmla="*/ 350 h 988"/>
                    <a:gd name="T76" fmla="*/ 286 w 1850"/>
                    <a:gd name="T77" fmla="*/ 355 h 988"/>
                    <a:gd name="T78" fmla="*/ 227 w 1850"/>
                    <a:gd name="T79" fmla="*/ 416 h 988"/>
                    <a:gd name="T80" fmla="*/ 662 w 1850"/>
                    <a:gd name="T81" fmla="*/ 249 h 988"/>
                    <a:gd name="T82" fmla="*/ 673 w 1850"/>
                    <a:gd name="T83" fmla="*/ 282 h 988"/>
                    <a:gd name="T84" fmla="*/ 732 w 1850"/>
                    <a:gd name="T85" fmla="*/ 282 h 988"/>
                    <a:gd name="T86" fmla="*/ 1396 w 1850"/>
                    <a:gd name="T87" fmla="*/ 293 h 988"/>
                    <a:gd name="T88" fmla="*/ 1354 w 1850"/>
                    <a:gd name="T89" fmla="*/ 305 h 988"/>
                    <a:gd name="T90" fmla="*/ 47 w 1850"/>
                    <a:gd name="T91" fmla="*/ 371 h 988"/>
                    <a:gd name="T92" fmla="*/ 97 w 1850"/>
                    <a:gd name="T93" fmla="*/ 376 h 988"/>
                    <a:gd name="T94" fmla="*/ 1136 w 1850"/>
                    <a:gd name="T95" fmla="*/ 315 h 988"/>
                    <a:gd name="T96" fmla="*/ 813 w 1850"/>
                    <a:gd name="T97" fmla="*/ 355 h 988"/>
                    <a:gd name="T98" fmla="*/ 678 w 1850"/>
                    <a:gd name="T99" fmla="*/ 371 h 988"/>
                    <a:gd name="T100" fmla="*/ 841 w 1850"/>
                    <a:gd name="T101" fmla="*/ 537 h 988"/>
                    <a:gd name="T102" fmla="*/ 732 w 1850"/>
                    <a:gd name="T103" fmla="*/ 433 h 988"/>
                    <a:gd name="T104" fmla="*/ 1013 w 1850"/>
                    <a:gd name="T105" fmla="*/ 482 h 988"/>
                    <a:gd name="T106" fmla="*/ 879 w 1850"/>
                    <a:gd name="T107" fmla="*/ 560 h 988"/>
                    <a:gd name="T108" fmla="*/ 1068 w 1850"/>
                    <a:gd name="T109" fmla="*/ 648 h 988"/>
                    <a:gd name="T110" fmla="*/ 602 w 1850"/>
                    <a:gd name="T111" fmla="*/ 988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50" h="988">
                      <a:moveTo>
                        <a:pt x="728" y="17"/>
                      </a:moveTo>
                      <a:lnTo>
                        <a:pt x="711" y="0"/>
                      </a:lnTo>
                      <a:lnTo>
                        <a:pt x="744" y="5"/>
                      </a:lnTo>
                      <a:lnTo>
                        <a:pt x="728" y="17"/>
                      </a:lnTo>
                      <a:lnTo>
                        <a:pt x="728" y="17"/>
                      </a:lnTo>
                      <a:lnTo>
                        <a:pt x="728" y="17"/>
                      </a:lnTo>
                      <a:close/>
                      <a:moveTo>
                        <a:pt x="749" y="22"/>
                      </a:moveTo>
                      <a:lnTo>
                        <a:pt x="744" y="17"/>
                      </a:lnTo>
                      <a:lnTo>
                        <a:pt x="765" y="17"/>
                      </a:lnTo>
                      <a:lnTo>
                        <a:pt x="749" y="22"/>
                      </a:lnTo>
                      <a:lnTo>
                        <a:pt x="749" y="22"/>
                      </a:lnTo>
                      <a:lnTo>
                        <a:pt x="749" y="22"/>
                      </a:lnTo>
                      <a:close/>
                      <a:moveTo>
                        <a:pt x="716" y="22"/>
                      </a:moveTo>
                      <a:lnTo>
                        <a:pt x="706" y="17"/>
                      </a:lnTo>
                      <a:lnTo>
                        <a:pt x="728" y="22"/>
                      </a:lnTo>
                      <a:lnTo>
                        <a:pt x="716" y="22"/>
                      </a:lnTo>
                      <a:lnTo>
                        <a:pt x="716" y="22"/>
                      </a:lnTo>
                      <a:lnTo>
                        <a:pt x="716" y="22"/>
                      </a:lnTo>
                      <a:close/>
                      <a:moveTo>
                        <a:pt x="673" y="43"/>
                      </a:moveTo>
                      <a:lnTo>
                        <a:pt x="657" y="43"/>
                      </a:lnTo>
                      <a:lnTo>
                        <a:pt x="678" y="38"/>
                      </a:lnTo>
                      <a:lnTo>
                        <a:pt x="673" y="43"/>
                      </a:lnTo>
                      <a:lnTo>
                        <a:pt x="673" y="43"/>
                      </a:lnTo>
                      <a:lnTo>
                        <a:pt x="673" y="43"/>
                      </a:lnTo>
                      <a:close/>
                      <a:moveTo>
                        <a:pt x="959" y="43"/>
                      </a:moveTo>
                      <a:lnTo>
                        <a:pt x="976" y="43"/>
                      </a:lnTo>
                      <a:lnTo>
                        <a:pt x="947" y="43"/>
                      </a:lnTo>
                      <a:lnTo>
                        <a:pt x="959" y="43"/>
                      </a:lnTo>
                      <a:lnTo>
                        <a:pt x="959" y="43"/>
                      </a:lnTo>
                      <a:lnTo>
                        <a:pt x="959" y="43"/>
                      </a:lnTo>
                      <a:close/>
                      <a:moveTo>
                        <a:pt x="834" y="128"/>
                      </a:moveTo>
                      <a:lnTo>
                        <a:pt x="841" y="83"/>
                      </a:lnTo>
                      <a:lnTo>
                        <a:pt x="851" y="78"/>
                      </a:lnTo>
                      <a:lnTo>
                        <a:pt x="834" y="71"/>
                      </a:lnTo>
                      <a:lnTo>
                        <a:pt x="834" y="60"/>
                      </a:lnTo>
                      <a:lnTo>
                        <a:pt x="858" y="55"/>
                      </a:lnTo>
                      <a:lnTo>
                        <a:pt x="858" y="71"/>
                      </a:lnTo>
                      <a:lnTo>
                        <a:pt x="867" y="71"/>
                      </a:lnTo>
                      <a:lnTo>
                        <a:pt x="872" y="43"/>
                      </a:lnTo>
                      <a:lnTo>
                        <a:pt x="905" y="55"/>
                      </a:lnTo>
                      <a:lnTo>
                        <a:pt x="888" y="60"/>
                      </a:lnTo>
                      <a:lnTo>
                        <a:pt x="905" y="71"/>
                      </a:lnTo>
                      <a:lnTo>
                        <a:pt x="888" y="83"/>
                      </a:lnTo>
                      <a:lnTo>
                        <a:pt x="879" y="100"/>
                      </a:lnTo>
                      <a:lnTo>
                        <a:pt x="888" y="112"/>
                      </a:lnTo>
                      <a:lnTo>
                        <a:pt x="910" y="95"/>
                      </a:lnTo>
                      <a:lnTo>
                        <a:pt x="926" y="100"/>
                      </a:lnTo>
                      <a:lnTo>
                        <a:pt x="933" y="95"/>
                      </a:lnTo>
                      <a:lnTo>
                        <a:pt x="933" y="78"/>
                      </a:lnTo>
                      <a:lnTo>
                        <a:pt x="980" y="78"/>
                      </a:lnTo>
                      <a:lnTo>
                        <a:pt x="964" y="71"/>
                      </a:lnTo>
                      <a:lnTo>
                        <a:pt x="997" y="78"/>
                      </a:lnTo>
                      <a:lnTo>
                        <a:pt x="980" y="83"/>
                      </a:lnTo>
                      <a:lnTo>
                        <a:pt x="985" y="83"/>
                      </a:lnTo>
                      <a:lnTo>
                        <a:pt x="1013" y="71"/>
                      </a:lnTo>
                      <a:lnTo>
                        <a:pt x="1013" y="78"/>
                      </a:lnTo>
                      <a:lnTo>
                        <a:pt x="1002" y="83"/>
                      </a:lnTo>
                      <a:lnTo>
                        <a:pt x="1039" y="78"/>
                      </a:lnTo>
                      <a:lnTo>
                        <a:pt x="1035" y="83"/>
                      </a:lnTo>
                      <a:lnTo>
                        <a:pt x="1174" y="112"/>
                      </a:lnTo>
                      <a:lnTo>
                        <a:pt x="1165" y="133"/>
                      </a:lnTo>
                      <a:lnTo>
                        <a:pt x="1181" y="138"/>
                      </a:lnTo>
                      <a:lnTo>
                        <a:pt x="1082" y="187"/>
                      </a:lnTo>
                      <a:lnTo>
                        <a:pt x="1089" y="206"/>
                      </a:lnTo>
                      <a:lnTo>
                        <a:pt x="1073" y="223"/>
                      </a:lnTo>
                      <a:lnTo>
                        <a:pt x="1035" y="239"/>
                      </a:lnTo>
                      <a:lnTo>
                        <a:pt x="1002" y="227"/>
                      </a:lnTo>
                      <a:lnTo>
                        <a:pt x="976" y="239"/>
                      </a:lnTo>
                      <a:lnTo>
                        <a:pt x="959" y="260"/>
                      </a:lnTo>
                      <a:lnTo>
                        <a:pt x="921" y="260"/>
                      </a:lnTo>
                      <a:lnTo>
                        <a:pt x="858" y="239"/>
                      </a:lnTo>
                      <a:lnTo>
                        <a:pt x="872" y="223"/>
                      </a:lnTo>
                      <a:lnTo>
                        <a:pt x="728" y="227"/>
                      </a:lnTo>
                      <a:lnTo>
                        <a:pt x="728" y="211"/>
                      </a:lnTo>
                      <a:lnTo>
                        <a:pt x="690" y="211"/>
                      </a:lnTo>
                      <a:lnTo>
                        <a:pt x="640" y="187"/>
                      </a:lnTo>
                      <a:lnTo>
                        <a:pt x="690" y="187"/>
                      </a:lnTo>
                      <a:lnTo>
                        <a:pt x="749" y="194"/>
                      </a:lnTo>
                      <a:lnTo>
                        <a:pt x="706" y="182"/>
                      </a:lnTo>
                      <a:lnTo>
                        <a:pt x="803" y="171"/>
                      </a:lnTo>
                      <a:lnTo>
                        <a:pt x="834" y="154"/>
                      </a:lnTo>
                      <a:lnTo>
                        <a:pt x="586" y="171"/>
                      </a:lnTo>
                      <a:lnTo>
                        <a:pt x="539" y="138"/>
                      </a:lnTo>
                      <a:lnTo>
                        <a:pt x="586" y="128"/>
                      </a:lnTo>
                      <a:lnTo>
                        <a:pt x="517" y="112"/>
                      </a:lnTo>
                      <a:lnTo>
                        <a:pt x="581" y="95"/>
                      </a:lnTo>
                      <a:lnTo>
                        <a:pt x="624" y="112"/>
                      </a:lnTo>
                      <a:lnTo>
                        <a:pt x="640" y="100"/>
                      </a:lnTo>
                      <a:lnTo>
                        <a:pt x="619" y="95"/>
                      </a:lnTo>
                      <a:lnTo>
                        <a:pt x="602" y="71"/>
                      </a:lnTo>
                      <a:lnTo>
                        <a:pt x="657" y="95"/>
                      </a:lnTo>
                      <a:lnTo>
                        <a:pt x="657" y="78"/>
                      </a:lnTo>
                      <a:lnTo>
                        <a:pt x="662" y="60"/>
                      </a:lnTo>
                      <a:lnTo>
                        <a:pt x="636" y="55"/>
                      </a:lnTo>
                      <a:lnTo>
                        <a:pt x="652" y="43"/>
                      </a:lnTo>
                      <a:lnTo>
                        <a:pt x="706" y="60"/>
                      </a:lnTo>
                      <a:lnTo>
                        <a:pt x="711" y="78"/>
                      </a:lnTo>
                      <a:lnTo>
                        <a:pt x="728" y="78"/>
                      </a:lnTo>
                      <a:lnTo>
                        <a:pt x="728" y="83"/>
                      </a:lnTo>
                      <a:lnTo>
                        <a:pt x="728" y="95"/>
                      </a:lnTo>
                      <a:lnTo>
                        <a:pt x="803" y="83"/>
                      </a:lnTo>
                      <a:lnTo>
                        <a:pt x="803" y="95"/>
                      </a:lnTo>
                      <a:lnTo>
                        <a:pt x="782" y="112"/>
                      </a:lnTo>
                      <a:lnTo>
                        <a:pt x="803" y="100"/>
                      </a:lnTo>
                      <a:lnTo>
                        <a:pt x="825" y="133"/>
                      </a:lnTo>
                      <a:lnTo>
                        <a:pt x="834" y="128"/>
                      </a:lnTo>
                      <a:lnTo>
                        <a:pt x="834" y="128"/>
                      </a:lnTo>
                      <a:lnTo>
                        <a:pt x="834" y="128"/>
                      </a:lnTo>
                      <a:close/>
                      <a:moveTo>
                        <a:pt x="976" y="60"/>
                      </a:moveTo>
                      <a:lnTo>
                        <a:pt x="959" y="60"/>
                      </a:lnTo>
                      <a:lnTo>
                        <a:pt x="964" y="55"/>
                      </a:lnTo>
                      <a:lnTo>
                        <a:pt x="980" y="60"/>
                      </a:lnTo>
                      <a:lnTo>
                        <a:pt x="976" y="60"/>
                      </a:lnTo>
                      <a:lnTo>
                        <a:pt x="976" y="60"/>
                      </a:lnTo>
                      <a:lnTo>
                        <a:pt x="976" y="60"/>
                      </a:lnTo>
                      <a:close/>
                      <a:moveTo>
                        <a:pt x="565" y="83"/>
                      </a:moveTo>
                      <a:lnTo>
                        <a:pt x="539" y="78"/>
                      </a:lnTo>
                      <a:lnTo>
                        <a:pt x="555" y="71"/>
                      </a:lnTo>
                      <a:lnTo>
                        <a:pt x="586" y="78"/>
                      </a:lnTo>
                      <a:lnTo>
                        <a:pt x="565" y="83"/>
                      </a:lnTo>
                      <a:lnTo>
                        <a:pt x="565" y="83"/>
                      </a:lnTo>
                      <a:lnTo>
                        <a:pt x="565" y="83"/>
                      </a:lnTo>
                      <a:close/>
                      <a:moveTo>
                        <a:pt x="1481" y="116"/>
                      </a:moveTo>
                      <a:lnTo>
                        <a:pt x="1472" y="112"/>
                      </a:lnTo>
                      <a:lnTo>
                        <a:pt x="1628" y="95"/>
                      </a:lnTo>
                      <a:lnTo>
                        <a:pt x="1481" y="116"/>
                      </a:lnTo>
                      <a:lnTo>
                        <a:pt x="1481" y="116"/>
                      </a:lnTo>
                      <a:lnTo>
                        <a:pt x="1481" y="116"/>
                      </a:lnTo>
                      <a:close/>
                      <a:moveTo>
                        <a:pt x="1219" y="100"/>
                      </a:moveTo>
                      <a:lnTo>
                        <a:pt x="1233" y="100"/>
                      </a:lnTo>
                      <a:lnTo>
                        <a:pt x="1212" y="112"/>
                      </a:lnTo>
                      <a:lnTo>
                        <a:pt x="1219" y="100"/>
                      </a:lnTo>
                      <a:lnTo>
                        <a:pt x="1219" y="100"/>
                      </a:lnTo>
                      <a:lnTo>
                        <a:pt x="1219" y="100"/>
                      </a:lnTo>
                      <a:close/>
                      <a:moveTo>
                        <a:pt x="1843" y="100"/>
                      </a:moveTo>
                      <a:lnTo>
                        <a:pt x="1838" y="100"/>
                      </a:lnTo>
                      <a:lnTo>
                        <a:pt x="1850" y="100"/>
                      </a:lnTo>
                      <a:lnTo>
                        <a:pt x="1843" y="100"/>
                      </a:lnTo>
                      <a:lnTo>
                        <a:pt x="1843" y="100"/>
                      </a:lnTo>
                      <a:lnTo>
                        <a:pt x="1843" y="100"/>
                      </a:lnTo>
                      <a:close/>
                      <a:moveTo>
                        <a:pt x="227" y="416"/>
                      </a:moveTo>
                      <a:lnTo>
                        <a:pt x="177" y="409"/>
                      </a:lnTo>
                      <a:lnTo>
                        <a:pt x="173" y="393"/>
                      </a:lnTo>
                      <a:lnTo>
                        <a:pt x="135" y="371"/>
                      </a:lnTo>
                      <a:lnTo>
                        <a:pt x="194" y="360"/>
                      </a:lnTo>
                      <a:lnTo>
                        <a:pt x="102" y="350"/>
                      </a:lnTo>
                      <a:lnTo>
                        <a:pt x="85" y="334"/>
                      </a:lnTo>
                      <a:lnTo>
                        <a:pt x="102" y="315"/>
                      </a:lnTo>
                      <a:lnTo>
                        <a:pt x="64" y="293"/>
                      </a:lnTo>
                      <a:lnTo>
                        <a:pt x="151" y="298"/>
                      </a:lnTo>
                      <a:lnTo>
                        <a:pt x="139" y="293"/>
                      </a:lnTo>
                      <a:lnTo>
                        <a:pt x="106" y="293"/>
                      </a:lnTo>
                      <a:lnTo>
                        <a:pt x="97" y="277"/>
                      </a:lnTo>
                      <a:lnTo>
                        <a:pt x="118" y="244"/>
                      </a:lnTo>
                      <a:lnTo>
                        <a:pt x="102" y="249"/>
                      </a:lnTo>
                      <a:lnTo>
                        <a:pt x="85" y="239"/>
                      </a:lnTo>
                      <a:lnTo>
                        <a:pt x="80" y="244"/>
                      </a:lnTo>
                      <a:lnTo>
                        <a:pt x="97" y="260"/>
                      </a:lnTo>
                      <a:lnTo>
                        <a:pt x="52" y="277"/>
                      </a:lnTo>
                      <a:lnTo>
                        <a:pt x="47" y="249"/>
                      </a:lnTo>
                      <a:lnTo>
                        <a:pt x="31" y="227"/>
                      </a:lnTo>
                      <a:lnTo>
                        <a:pt x="31" y="211"/>
                      </a:lnTo>
                      <a:lnTo>
                        <a:pt x="14" y="194"/>
                      </a:lnTo>
                      <a:lnTo>
                        <a:pt x="52" y="194"/>
                      </a:lnTo>
                      <a:lnTo>
                        <a:pt x="31" y="194"/>
                      </a:lnTo>
                      <a:lnTo>
                        <a:pt x="64" y="187"/>
                      </a:lnTo>
                      <a:lnTo>
                        <a:pt x="52" y="166"/>
                      </a:lnTo>
                      <a:lnTo>
                        <a:pt x="85" y="154"/>
                      </a:lnTo>
                      <a:lnTo>
                        <a:pt x="135" y="182"/>
                      </a:lnTo>
                      <a:lnTo>
                        <a:pt x="135" y="171"/>
                      </a:lnTo>
                      <a:lnTo>
                        <a:pt x="123" y="154"/>
                      </a:lnTo>
                      <a:lnTo>
                        <a:pt x="156" y="166"/>
                      </a:lnTo>
                      <a:lnTo>
                        <a:pt x="241" y="149"/>
                      </a:lnTo>
                      <a:lnTo>
                        <a:pt x="248" y="166"/>
                      </a:lnTo>
                      <a:lnTo>
                        <a:pt x="139" y="194"/>
                      </a:lnTo>
                      <a:lnTo>
                        <a:pt x="215" y="194"/>
                      </a:lnTo>
                      <a:lnTo>
                        <a:pt x="203" y="211"/>
                      </a:lnTo>
                      <a:lnTo>
                        <a:pt x="227" y="211"/>
                      </a:lnTo>
                      <a:lnTo>
                        <a:pt x="258" y="244"/>
                      </a:lnTo>
                      <a:lnTo>
                        <a:pt x="265" y="239"/>
                      </a:lnTo>
                      <a:lnTo>
                        <a:pt x="241" y="206"/>
                      </a:lnTo>
                      <a:lnTo>
                        <a:pt x="295" y="154"/>
                      </a:lnTo>
                      <a:lnTo>
                        <a:pt x="338" y="187"/>
                      </a:lnTo>
                      <a:lnTo>
                        <a:pt x="354" y="239"/>
                      </a:lnTo>
                      <a:lnTo>
                        <a:pt x="376" y="249"/>
                      </a:lnTo>
                      <a:lnTo>
                        <a:pt x="371" y="265"/>
                      </a:lnTo>
                      <a:lnTo>
                        <a:pt x="376" y="260"/>
                      </a:lnTo>
                      <a:lnTo>
                        <a:pt x="425" y="305"/>
                      </a:lnTo>
                      <a:lnTo>
                        <a:pt x="388" y="239"/>
                      </a:lnTo>
                      <a:lnTo>
                        <a:pt x="366" y="154"/>
                      </a:lnTo>
                      <a:lnTo>
                        <a:pt x="404" y="149"/>
                      </a:lnTo>
                      <a:lnTo>
                        <a:pt x="388" y="133"/>
                      </a:lnTo>
                      <a:lnTo>
                        <a:pt x="409" y="116"/>
                      </a:lnTo>
                      <a:lnTo>
                        <a:pt x="430" y="116"/>
                      </a:lnTo>
                      <a:lnTo>
                        <a:pt x="447" y="149"/>
                      </a:lnTo>
                      <a:lnTo>
                        <a:pt x="458" y="133"/>
                      </a:lnTo>
                      <a:lnTo>
                        <a:pt x="480" y="138"/>
                      </a:lnTo>
                      <a:lnTo>
                        <a:pt x="539" y="171"/>
                      </a:lnTo>
                      <a:lnTo>
                        <a:pt x="517" y="187"/>
                      </a:lnTo>
                      <a:lnTo>
                        <a:pt x="513" y="206"/>
                      </a:lnTo>
                      <a:lnTo>
                        <a:pt x="517" y="223"/>
                      </a:lnTo>
                      <a:lnTo>
                        <a:pt x="501" y="227"/>
                      </a:lnTo>
                      <a:lnTo>
                        <a:pt x="555" y="187"/>
                      </a:lnTo>
                      <a:lnTo>
                        <a:pt x="586" y="211"/>
                      </a:lnTo>
                      <a:lnTo>
                        <a:pt x="593" y="260"/>
                      </a:lnTo>
                      <a:lnTo>
                        <a:pt x="652" y="265"/>
                      </a:lnTo>
                      <a:lnTo>
                        <a:pt x="662" y="282"/>
                      </a:lnTo>
                      <a:lnTo>
                        <a:pt x="782" y="315"/>
                      </a:lnTo>
                      <a:lnTo>
                        <a:pt x="765" y="350"/>
                      </a:lnTo>
                      <a:lnTo>
                        <a:pt x="652" y="350"/>
                      </a:lnTo>
                      <a:lnTo>
                        <a:pt x="640" y="355"/>
                      </a:lnTo>
                      <a:lnTo>
                        <a:pt x="652" y="371"/>
                      </a:lnTo>
                      <a:lnTo>
                        <a:pt x="593" y="371"/>
                      </a:lnTo>
                      <a:lnTo>
                        <a:pt x="602" y="388"/>
                      </a:lnTo>
                      <a:lnTo>
                        <a:pt x="602" y="404"/>
                      </a:lnTo>
                      <a:lnTo>
                        <a:pt x="610" y="433"/>
                      </a:lnTo>
                      <a:lnTo>
                        <a:pt x="555" y="442"/>
                      </a:lnTo>
                      <a:lnTo>
                        <a:pt x="555" y="466"/>
                      </a:lnTo>
                      <a:lnTo>
                        <a:pt x="565" y="482"/>
                      </a:lnTo>
                      <a:lnTo>
                        <a:pt x="548" y="520"/>
                      </a:lnTo>
                      <a:lnTo>
                        <a:pt x="513" y="537"/>
                      </a:lnTo>
                      <a:lnTo>
                        <a:pt x="484" y="593"/>
                      </a:lnTo>
                      <a:lnTo>
                        <a:pt x="463" y="593"/>
                      </a:lnTo>
                      <a:lnTo>
                        <a:pt x="480" y="598"/>
                      </a:lnTo>
                      <a:lnTo>
                        <a:pt x="458" y="631"/>
                      </a:lnTo>
                      <a:lnTo>
                        <a:pt x="475" y="648"/>
                      </a:lnTo>
                      <a:lnTo>
                        <a:pt x="447" y="664"/>
                      </a:lnTo>
                      <a:lnTo>
                        <a:pt x="354" y="615"/>
                      </a:lnTo>
                      <a:lnTo>
                        <a:pt x="425" y="598"/>
                      </a:lnTo>
                      <a:lnTo>
                        <a:pt x="392" y="582"/>
                      </a:lnTo>
                      <a:lnTo>
                        <a:pt x="350" y="598"/>
                      </a:lnTo>
                      <a:lnTo>
                        <a:pt x="324" y="577"/>
                      </a:lnTo>
                      <a:lnTo>
                        <a:pt x="286" y="577"/>
                      </a:lnTo>
                      <a:lnTo>
                        <a:pt x="265" y="553"/>
                      </a:lnTo>
                      <a:lnTo>
                        <a:pt x="241" y="520"/>
                      </a:lnTo>
                      <a:lnTo>
                        <a:pt x="269" y="515"/>
                      </a:lnTo>
                      <a:lnTo>
                        <a:pt x="286" y="515"/>
                      </a:lnTo>
                      <a:lnTo>
                        <a:pt x="286" y="520"/>
                      </a:lnTo>
                      <a:lnTo>
                        <a:pt x="371" y="520"/>
                      </a:lnTo>
                      <a:lnTo>
                        <a:pt x="404" y="537"/>
                      </a:lnTo>
                      <a:lnTo>
                        <a:pt x="409" y="527"/>
                      </a:lnTo>
                      <a:lnTo>
                        <a:pt x="300" y="499"/>
                      </a:lnTo>
                      <a:lnTo>
                        <a:pt x="447" y="471"/>
                      </a:lnTo>
                      <a:lnTo>
                        <a:pt x="463" y="461"/>
                      </a:lnTo>
                      <a:lnTo>
                        <a:pt x="248" y="487"/>
                      </a:lnTo>
                      <a:lnTo>
                        <a:pt x="232" y="482"/>
                      </a:lnTo>
                      <a:lnTo>
                        <a:pt x="241" y="471"/>
                      </a:lnTo>
                      <a:lnTo>
                        <a:pt x="227" y="466"/>
                      </a:lnTo>
                      <a:lnTo>
                        <a:pt x="227" y="442"/>
                      </a:lnTo>
                      <a:lnTo>
                        <a:pt x="248" y="433"/>
                      </a:lnTo>
                      <a:lnTo>
                        <a:pt x="269" y="449"/>
                      </a:lnTo>
                      <a:lnTo>
                        <a:pt x="265" y="433"/>
                      </a:lnTo>
                      <a:lnTo>
                        <a:pt x="317" y="426"/>
                      </a:lnTo>
                      <a:lnTo>
                        <a:pt x="338" y="409"/>
                      </a:lnTo>
                      <a:lnTo>
                        <a:pt x="371" y="409"/>
                      </a:lnTo>
                      <a:lnTo>
                        <a:pt x="366" y="404"/>
                      </a:lnTo>
                      <a:lnTo>
                        <a:pt x="371" y="393"/>
                      </a:lnTo>
                      <a:lnTo>
                        <a:pt x="442" y="393"/>
                      </a:lnTo>
                      <a:lnTo>
                        <a:pt x="480" y="376"/>
                      </a:lnTo>
                      <a:lnTo>
                        <a:pt x="409" y="376"/>
                      </a:lnTo>
                      <a:lnTo>
                        <a:pt x="447" y="338"/>
                      </a:lnTo>
                      <a:lnTo>
                        <a:pt x="425" y="334"/>
                      </a:lnTo>
                      <a:lnTo>
                        <a:pt x="392" y="371"/>
                      </a:lnTo>
                      <a:lnTo>
                        <a:pt x="354" y="376"/>
                      </a:lnTo>
                      <a:lnTo>
                        <a:pt x="333" y="355"/>
                      </a:lnTo>
                      <a:lnTo>
                        <a:pt x="350" y="350"/>
                      </a:lnTo>
                      <a:lnTo>
                        <a:pt x="354" y="322"/>
                      </a:lnTo>
                      <a:lnTo>
                        <a:pt x="350" y="315"/>
                      </a:lnTo>
                      <a:lnTo>
                        <a:pt x="324" y="355"/>
                      </a:lnTo>
                      <a:lnTo>
                        <a:pt x="312" y="350"/>
                      </a:lnTo>
                      <a:lnTo>
                        <a:pt x="312" y="334"/>
                      </a:lnTo>
                      <a:lnTo>
                        <a:pt x="286" y="338"/>
                      </a:lnTo>
                      <a:lnTo>
                        <a:pt x="286" y="355"/>
                      </a:lnTo>
                      <a:lnTo>
                        <a:pt x="279" y="371"/>
                      </a:lnTo>
                      <a:lnTo>
                        <a:pt x="300" y="388"/>
                      </a:lnTo>
                      <a:lnTo>
                        <a:pt x="279" y="388"/>
                      </a:lnTo>
                      <a:lnTo>
                        <a:pt x="269" y="393"/>
                      </a:lnTo>
                      <a:lnTo>
                        <a:pt x="227" y="416"/>
                      </a:lnTo>
                      <a:lnTo>
                        <a:pt x="227" y="416"/>
                      </a:lnTo>
                      <a:lnTo>
                        <a:pt x="227" y="416"/>
                      </a:lnTo>
                      <a:close/>
                      <a:moveTo>
                        <a:pt x="26" y="182"/>
                      </a:moveTo>
                      <a:lnTo>
                        <a:pt x="14" y="171"/>
                      </a:lnTo>
                      <a:lnTo>
                        <a:pt x="47" y="182"/>
                      </a:lnTo>
                      <a:lnTo>
                        <a:pt x="26" y="182"/>
                      </a:lnTo>
                      <a:lnTo>
                        <a:pt x="26" y="182"/>
                      </a:lnTo>
                      <a:lnTo>
                        <a:pt x="26" y="182"/>
                      </a:lnTo>
                      <a:close/>
                      <a:moveTo>
                        <a:pt x="662" y="249"/>
                      </a:moveTo>
                      <a:lnTo>
                        <a:pt x="673" y="239"/>
                      </a:lnTo>
                      <a:lnTo>
                        <a:pt x="678" y="239"/>
                      </a:lnTo>
                      <a:lnTo>
                        <a:pt x="662" y="249"/>
                      </a:lnTo>
                      <a:lnTo>
                        <a:pt x="662" y="249"/>
                      </a:lnTo>
                      <a:lnTo>
                        <a:pt x="662" y="249"/>
                      </a:lnTo>
                      <a:close/>
                      <a:moveTo>
                        <a:pt x="695" y="293"/>
                      </a:moveTo>
                      <a:lnTo>
                        <a:pt x="673" y="282"/>
                      </a:lnTo>
                      <a:lnTo>
                        <a:pt x="690" y="265"/>
                      </a:lnTo>
                      <a:lnTo>
                        <a:pt x="728" y="277"/>
                      </a:lnTo>
                      <a:lnTo>
                        <a:pt x="695" y="293"/>
                      </a:lnTo>
                      <a:lnTo>
                        <a:pt x="695" y="293"/>
                      </a:lnTo>
                      <a:lnTo>
                        <a:pt x="695" y="293"/>
                      </a:lnTo>
                      <a:close/>
                      <a:moveTo>
                        <a:pt x="744" y="282"/>
                      </a:moveTo>
                      <a:lnTo>
                        <a:pt x="732" y="282"/>
                      </a:lnTo>
                      <a:lnTo>
                        <a:pt x="761" y="282"/>
                      </a:lnTo>
                      <a:lnTo>
                        <a:pt x="744" y="282"/>
                      </a:lnTo>
                      <a:lnTo>
                        <a:pt x="744" y="282"/>
                      </a:lnTo>
                      <a:lnTo>
                        <a:pt x="744" y="282"/>
                      </a:lnTo>
                      <a:close/>
                      <a:moveTo>
                        <a:pt x="1391" y="293"/>
                      </a:moveTo>
                      <a:lnTo>
                        <a:pt x="1375" y="293"/>
                      </a:lnTo>
                      <a:lnTo>
                        <a:pt x="1396" y="293"/>
                      </a:lnTo>
                      <a:lnTo>
                        <a:pt x="1391" y="293"/>
                      </a:lnTo>
                      <a:lnTo>
                        <a:pt x="1391" y="293"/>
                      </a:lnTo>
                      <a:lnTo>
                        <a:pt x="1391" y="293"/>
                      </a:lnTo>
                      <a:close/>
                      <a:moveTo>
                        <a:pt x="1233" y="315"/>
                      </a:moveTo>
                      <a:lnTo>
                        <a:pt x="1233" y="305"/>
                      </a:lnTo>
                      <a:lnTo>
                        <a:pt x="1257" y="298"/>
                      </a:lnTo>
                      <a:lnTo>
                        <a:pt x="1354" y="305"/>
                      </a:lnTo>
                      <a:lnTo>
                        <a:pt x="1321" y="315"/>
                      </a:lnTo>
                      <a:lnTo>
                        <a:pt x="1288" y="298"/>
                      </a:lnTo>
                      <a:lnTo>
                        <a:pt x="1233" y="315"/>
                      </a:lnTo>
                      <a:lnTo>
                        <a:pt x="1233" y="315"/>
                      </a:lnTo>
                      <a:lnTo>
                        <a:pt x="1233" y="315"/>
                      </a:lnTo>
                      <a:close/>
                      <a:moveTo>
                        <a:pt x="118" y="416"/>
                      </a:moveTo>
                      <a:lnTo>
                        <a:pt x="47" y="371"/>
                      </a:lnTo>
                      <a:lnTo>
                        <a:pt x="10" y="322"/>
                      </a:lnTo>
                      <a:lnTo>
                        <a:pt x="0" y="305"/>
                      </a:lnTo>
                      <a:lnTo>
                        <a:pt x="43" y="315"/>
                      </a:lnTo>
                      <a:lnTo>
                        <a:pt x="52" y="334"/>
                      </a:lnTo>
                      <a:lnTo>
                        <a:pt x="47" y="334"/>
                      </a:lnTo>
                      <a:lnTo>
                        <a:pt x="52" y="360"/>
                      </a:lnTo>
                      <a:lnTo>
                        <a:pt x="97" y="376"/>
                      </a:lnTo>
                      <a:lnTo>
                        <a:pt x="118" y="404"/>
                      </a:lnTo>
                      <a:lnTo>
                        <a:pt x="118" y="416"/>
                      </a:lnTo>
                      <a:lnTo>
                        <a:pt x="118" y="416"/>
                      </a:lnTo>
                      <a:lnTo>
                        <a:pt x="118" y="416"/>
                      </a:lnTo>
                      <a:close/>
                      <a:moveTo>
                        <a:pt x="1143" y="350"/>
                      </a:moveTo>
                      <a:lnTo>
                        <a:pt x="1120" y="322"/>
                      </a:lnTo>
                      <a:lnTo>
                        <a:pt x="1136" y="315"/>
                      </a:lnTo>
                      <a:lnTo>
                        <a:pt x="1165" y="338"/>
                      </a:lnTo>
                      <a:lnTo>
                        <a:pt x="1143" y="350"/>
                      </a:lnTo>
                      <a:lnTo>
                        <a:pt x="1143" y="350"/>
                      </a:lnTo>
                      <a:lnTo>
                        <a:pt x="1143" y="350"/>
                      </a:lnTo>
                      <a:close/>
                      <a:moveTo>
                        <a:pt x="678" y="371"/>
                      </a:moveTo>
                      <a:lnTo>
                        <a:pt x="761" y="350"/>
                      </a:lnTo>
                      <a:lnTo>
                        <a:pt x="813" y="355"/>
                      </a:lnTo>
                      <a:lnTo>
                        <a:pt x="825" y="371"/>
                      </a:lnTo>
                      <a:lnTo>
                        <a:pt x="825" y="404"/>
                      </a:lnTo>
                      <a:lnTo>
                        <a:pt x="716" y="416"/>
                      </a:lnTo>
                      <a:lnTo>
                        <a:pt x="728" y="404"/>
                      </a:lnTo>
                      <a:lnTo>
                        <a:pt x="706" y="393"/>
                      </a:lnTo>
                      <a:lnTo>
                        <a:pt x="716" y="388"/>
                      </a:lnTo>
                      <a:lnTo>
                        <a:pt x="678" y="371"/>
                      </a:lnTo>
                      <a:lnTo>
                        <a:pt x="678" y="371"/>
                      </a:lnTo>
                      <a:lnTo>
                        <a:pt x="678" y="371"/>
                      </a:lnTo>
                      <a:close/>
                      <a:moveTo>
                        <a:pt x="858" y="560"/>
                      </a:moveTo>
                      <a:lnTo>
                        <a:pt x="841" y="560"/>
                      </a:lnTo>
                      <a:lnTo>
                        <a:pt x="841" y="553"/>
                      </a:lnTo>
                      <a:lnTo>
                        <a:pt x="851" y="544"/>
                      </a:lnTo>
                      <a:lnTo>
                        <a:pt x="841" y="537"/>
                      </a:lnTo>
                      <a:lnTo>
                        <a:pt x="867" y="515"/>
                      </a:lnTo>
                      <a:lnTo>
                        <a:pt x="732" y="527"/>
                      </a:lnTo>
                      <a:lnTo>
                        <a:pt x="732" y="515"/>
                      </a:lnTo>
                      <a:lnTo>
                        <a:pt x="761" y="504"/>
                      </a:lnTo>
                      <a:lnTo>
                        <a:pt x="761" y="487"/>
                      </a:lnTo>
                      <a:lnTo>
                        <a:pt x="787" y="461"/>
                      </a:lnTo>
                      <a:lnTo>
                        <a:pt x="732" y="433"/>
                      </a:lnTo>
                      <a:lnTo>
                        <a:pt x="879" y="409"/>
                      </a:lnTo>
                      <a:lnTo>
                        <a:pt x="910" y="416"/>
                      </a:lnTo>
                      <a:lnTo>
                        <a:pt x="888" y="433"/>
                      </a:lnTo>
                      <a:lnTo>
                        <a:pt x="888" y="449"/>
                      </a:lnTo>
                      <a:lnTo>
                        <a:pt x="926" y="466"/>
                      </a:lnTo>
                      <a:lnTo>
                        <a:pt x="976" y="466"/>
                      </a:lnTo>
                      <a:lnTo>
                        <a:pt x="1013" y="482"/>
                      </a:lnTo>
                      <a:lnTo>
                        <a:pt x="964" y="499"/>
                      </a:lnTo>
                      <a:lnTo>
                        <a:pt x="933" y="527"/>
                      </a:lnTo>
                      <a:lnTo>
                        <a:pt x="858" y="560"/>
                      </a:lnTo>
                      <a:lnTo>
                        <a:pt x="858" y="560"/>
                      </a:lnTo>
                      <a:lnTo>
                        <a:pt x="858" y="560"/>
                      </a:lnTo>
                      <a:close/>
                      <a:moveTo>
                        <a:pt x="888" y="560"/>
                      </a:moveTo>
                      <a:lnTo>
                        <a:pt x="879" y="560"/>
                      </a:lnTo>
                      <a:lnTo>
                        <a:pt x="905" y="560"/>
                      </a:lnTo>
                      <a:lnTo>
                        <a:pt x="888" y="560"/>
                      </a:lnTo>
                      <a:lnTo>
                        <a:pt x="888" y="560"/>
                      </a:lnTo>
                      <a:lnTo>
                        <a:pt x="888" y="560"/>
                      </a:lnTo>
                      <a:close/>
                      <a:moveTo>
                        <a:pt x="1018" y="688"/>
                      </a:moveTo>
                      <a:lnTo>
                        <a:pt x="1018" y="681"/>
                      </a:lnTo>
                      <a:lnTo>
                        <a:pt x="1068" y="648"/>
                      </a:lnTo>
                      <a:lnTo>
                        <a:pt x="1018" y="688"/>
                      </a:lnTo>
                      <a:lnTo>
                        <a:pt x="1018" y="688"/>
                      </a:lnTo>
                      <a:lnTo>
                        <a:pt x="1018" y="688"/>
                      </a:lnTo>
                      <a:close/>
                      <a:moveTo>
                        <a:pt x="602" y="988"/>
                      </a:moveTo>
                      <a:lnTo>
                        <a:pt x="586" y="969"/>
                      </a:lnTo>
                      <a:lnTo>
                        <a:pt x="619" y="969"/>
                      </a:lnTo>
                      <a:lnTo>
                        <a:pt x="602" y="988"/>
                      </a:lnTo>
                      <a:lnTo>
                        <a:pt x="602" y="988"/>
                      </a:lnTo>
                      <a:lnTo>
                        <a:pt x="602" y="98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4" name="Freeform 561">
                  <a:extLst>
                    <a:ext uri="{FF2B5EF4-FFF2-40B4-BE49-F238E27FC236}">
                      <a16:creationId xmlns:a16="http://schemas.microsoft.com/office/drawing/2014/main" id="{6DF7EAC5-6A64-4F8E-97FD-E55FDE36E4CC}"/>
                    </a:ext>
                  </a:extLst>
                </p:cNvPr>
                <p:cNvSpPr>
                  <a:spLocks noEditPoints="1"/>
                </p:cNvSpPr>
                <p:nvPr/>
              </p:nvSpPr>
              <p:spPr bwMode="gray">
                <a:xfrm>
                  <a:off x="7046927" y="1597236"/>
                  <a:ext cx="377501" cy="633219"/>
                </a:xfrm>
                <a:custGeom>
                  <a:avLst/>
                  <a:gdLst>
                    <a:gd name="T0" fmla="*/ 69 w 917"/>
                    <a:gd name="T1" fmla="*/ 1065 h 1538"/>
                    <a:gd name="T2" fmla="*/ 69 w 917"/>
                    <a:gd name="T3" fmla="*/ 860 h 1538"/>
                    <a:gd name="T4" fmla="*/ 76 w 917"/>
                    <a:gd name="T5" fmla="*/ 666 h 1538"/>
                    <a:gd name="T6" fmla="*/ 211 w 917"/>
                    <a:gd name="T7" fmla="*/ 555 h 1538"/>
                    <a:gd name="T8" fmla="*/ 274 w 917"/>
                    <a:gd name="T9" fmla="*/ 357 h 1538"/>
                    <a:gd name="T10" fmla="*/ 378 w 917"/>
                    <a:gd name="T11" fmla="*/ 177 h 1538"/>
                    <a:gd name="T12" fmla="*/ 485 w 917"/>
                    <a:gd name="T13" fmla="*/ 66 h 1538"/>
                    <a:gd name="T14" fmla="*/ 648 w 917"/>
                    <a:gd name="T15" fmla="*/ 12 h 1538"/>
                    <a:gd name="T16" fmla="*/ 865 w 917"/>
                    <a:gd name="T17" fmla="*/ 151 h 1538"/>
                    <a:gd name="T18" fmla="*/ 903 w 917"/>
                    <a:gd name="T19" fmla="*/ 279 h 1538"/>
                    <a:gd name="T20" fmla="*/ 903 w 917"/>
                    <a:gd name="T21" fmla="*/ 362 h 1538"/>
                    <a:gd name="T22" fmla="*/ 794 w 917"/>
                    <a:gd name="T23" fmla="*/ 395 h 1538"/>
                    <a:gd name="T24" fmla="*/ 778 w 917"/>
                    <a:gd name="T25" fmla="*/ 428 h 1538"/>
                    <a:gd name="T26" fmla="*/ 740 w 917"/>
                    <a:gd name="T27" fmla="*/ 465 h 1538"/>
                    <a:gd name="T28" fmla="*/ 697 w 917"/>
                    <a:gd name="T29" fmla="*/ 510 h 1538"/>
                    <a:gd name="T30" fmla="*/ 697 w 917"/>
                    <a:gd name="T31" fmla="*/ 593 h 1538"/>
                    <a:gd name="T32" fmla="*/ 589 w 917"/>
                    <a:gd name="T33" fmla="*/ 666 h 1538"/>
                    <a:gd name="T34" fmla="*/ 546 w 917"/>
                    <a:gd name="T35" fmla="*/ 695 h 1538"/>
                    <a:gd name="T36" fmla="*/ 501 w 917"/>
                    <a:gd name="T37" fmla="*/ 749 h 1538"/>
                    <a:gd name="T38" fmla="*/ 480 w 917"/>
                    <a:gd name="T39" fmla="*/ 761 h 1538"/>
                    <a:gd name="T40" fmla="*/ 463 w 917"/>
                    <a:gd name="T41" fmla="*/ 806 h 1538"/>
                    <a:gd name="T42" fmla="*/ 447 w 917"/>
                    <a:gd name="T43" fmla="*/ 877 h 1538"/>
                    <a:gd name="T44" fmla="*/ 433 w 917"/>
                    <a:gd name="T45" fmla="*/ 910 h 1538"/>
                    <a:gd name="T46" fmla="*/ 480 w 917"/>
                    <a:gd name="T47" fmla="*/ 988 h 1538"/>
                    <a:gd name="T48" fmla="*/ 539 w 917"/>
                    <a:gd name="T49" fmla="*/ 1044 h 1538"/>
                    <a:gd name="T50" fmla="*/ 555 w 917"/>
                    <a:gd name="T51" fmla="*/ 1082 h 1538"/>
                    <a:gd name="T52" fmla="*/ 470 w 917"/>
                    <a:gd name="T53" fmla="*/ 1110 h 1538"/>
                    <a:gd name="T54" fmla="*/ 454 w 917"/>
                    <a:gd name="T55" fmla="*/ 1099 h 1538"/>
                    <a:gd name="T56" fmla="*/ 454 w 917"/>
                    <a:gd name="T57" fmla="*/ 1110 h 1538"/>
                    <a:gd name="T58" fmla="*/ 395 w 917"/>
                    <a:gd name="T59" fmla="*/ 1110 h 1538"/>
                    <a:gd name="T60" fmla="*/ 437 w 917"/>
                    <a:gd name="T61" fmla="*/ 1132 h 1538"/>
                    <a:gd name="T62" fmla="*/ 534 w 917"/>
                    <a:gd name="T63" fmla="*/ 1122 h 1538"/>
                    <a:gd name="T64" fmla="*/ 454 w 917"/>
                    <a:gd name="T65" fmla="*/ 1172 h 1538"/>
                    <a:gd name="T66" fmla="*/ 383 w 917"/>
                    <a:gd name="T67" fmla="*/ 1205 h 1538"/>
                    <a:gd name="T68" fmla="*/ 383 w 917"/>
                    <a:gd name="T69" fmla="*/ 1266 h 1538"/>
                    <a:gd name="T70" fmla="*/ 383 w 917"/>
                    <a:gd name="T71" fmla="*/ 1304 h 1538"/>
                    <a:gd name="T72" fmla="*/ 371 w 917"/>
                    <a:gd name="T73" fmla="*/ 1403 h 1538"/>
                    <a:gd name="T74" fmla="*/ 215 w 917"/>
                    <a:gd name="T75" fmla="*/ 1486 h 1538"/>
                    <a:gd name="T76" fmla="*/ 130 w 917"/>
                    <a:gd name="T77" fmla="*/ 1538 h 1538"/>
                    <a:gd name="T78" fmla="*/ 123 w 917"/>
                    <a:gd name="T79" fmla="*/ 1427 h 1538"/>
                    <a:gd name="T80" fmla="*/ 69 w 917"/>
                    <a:gd name="T81" fmla="*/ 1321 h 1538"/>
                    <a:gd name="T82" fmla="*/ 55 w 917"/>
                    <a:gd name="T83" fmla="*/ 1299 h 1538"/>
                    <a:gd name="T84" fmla="*/ 5 w 917"/>
                    <a:gd name="T85" fmla="*/ 1226 h 1538"/>
                    <a:gd name="T86" fmla="*/ 31 w 917"/>
                    <a:gd name="T87" fmla="*/ 1172 h 1538"/>
                    <a:gd name="T88" fmla="*/ 485 w 917"/>
                    <a:gd name="T89" fmla="*/ 761 h 1538"/>
                    <a:gd name="T90" fmla="*/ 447 w 917"/>
                    <a:gd name="T91" fmla="*/ 789 h 1538"/>
                    <a:gd name="T92" fmla="*/ 508 w 917"/>
                    <a:gd name="T93" fmla="*/ 999 h 1538"/>
                    <a:gd name="T94" fmla="*/ 534 w 917"/>
                    <a:gd name="T95" fmla="*/ 1099 h 1538"/>
                    <a:gd name="T96" fmla="*/ 433 w 917"/>
                    <a:gd name="T97" fmla="*/ 1115 h 1538"/>
                    <a:gd name="T98" fmla="*/ 447 w 917"/>
                    <a:gd name="T99" fmla="*/ 1115 h 1538"/>
                    <a:gd name="T100" fmla="*/ 522 w 917"/>
                    <a:gd name="T101" fmla="*/ 1132 h 1538"/>
                    <a:gd name="T102" fmla="*/ 577 w 917"/>
                    <a:gd name="T103" fmla="*/ 1226 h 1538"/>
                    <a:gd name="T104" fmla="*/ 38 w 917"/>
                    <a:gd name="T105" fmla="*/ 1238 h 1538"/>
                    <a:gd name="T106" fmla="*/ 48 w 917"/>
                    <a:gd name="T107" fmla="*/ 1259 h 1538"/>
                    <a:gd name="T108" fmla="*/ 560 w 917"/>
                    <a:gd name="T109" fmla="*/ 1283 h 1538"/>
                    <a:gd name="T110" fmla="*/ 560 w 917"/>
                    <a:gd name="T111" fmla="*/ 1283 h 1538"/>
                    <a:gd name="T112" fmla="*/ 508 w 917"/>
                    <a:gd name="T113" fmla="*/ 1354 h 1538"/>
                    <a:gd name="T114" fmla="*/ 555 w 917"/>
                    <a:gd name="T115" fmla="*/ 1276 h 1538"/>
                    <a:gd name="T116" fmla="*/ 426 w 917"/>
                    <a:gd name="T117" fmla="*/ 1337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7" h="1538">
                      <a:moveTo>
                        <a:pt x="31" y="1172"/>
                      </a:moveTo>
                      <a:lnTo>
                        <a:pt x="48" y="1132"/>
                      </a:lnTo>
                      <a:lnTo>
                        <a:pt x="38" y="1099"/>
                      </a:lnTo>
                      <a:lnTo>
                        <a:pt x="55" y="1082"/>
                      </a:lnTo>
                      <a:lnTo>
                        <a:pt x="48" y="1065"/>
                      </a:lnTo>
                      <a:lnTo>
                        <a:pt x="69" y="1065"/>
                      </a:lnTo>
                      <a:lnTo>
                        <a:pt x="92" y="1044"/>
                      </a:lnTo>
                      <a:lnTo>
                        <a:pt x="107" y="1004"/>
                      </a:lnTo>
                      <a:lnTo>
                        <a:pt x="76" y="943"/>
                      </a:lnTo>
                      <a:lnTo>
                        <a:pt x="107" y="943"/>
                      </a:lnTo>
                      <a:lnTo>
                        <a:pt x="123" y="910"/>
                      </a:lnTo>
                      <a:lnTo>
                        <a:pt x="69" y="860"/>
                      </a:lnTo>
                      <a:lnTo>
                        <a:pt x="85" y="806"/>
                      </a:lnTo>
                      <a:lnTo>
                        <a:pt x="69" y="765"/>
                      </a:lnTo>
                      <a:lnTo>
                        <a:pt x="59" y="732"/>
                      </a:lnTo>
                      <a:lnTo>
                        <a:pt x="76" y="721"/>
                      </a:lnTo>
                      <a:lnTo>
                        <a:pt x="59" y="695"/>
                      </a:lnTo>
                      <a:lnTo>
                        <a:pt x="76" y="666"/>
                      </a:lnTo>
                      <a:lnTo>
                        <a:pt x="69" y="654"/>
                      </a:lnTo>
                      <a:lnTo>
                        <a:pt x="107" y="617"/>
                      </a:lnTo>
                      <a:lnTo>
                        <a:pt x="130" y="600"/>
                      </a:lnTo>
                      <a:lnTo>
                        <a:pt x="199" y="612"/>
                      </a:lnTo>
                      <a:lnTo>
                        <a:pt x="215" y="584"/>
                      </a:lnTo>
                      <a:lnTo>
                        <a:pt x="211" y="555"/>
                      </a:lnTo>
                      <a:lnTo>
                        <a:pt x="178" y="543"/>
                      </a:lnTo>
                      <a:lnTo>
                        <a:pt x="237" y="456"/>
                      </a:lnTo>
                      <a:lnTo>
                        <a:pt x="237" y="428"/>
                      </a:lnTo>
                      <a:lnTo>
                        <a:pt x="248" y="395"/>
                      </a:lnTo>
                      <a:lnTo>
                        <a:pt x="237" y="362"/>
                      </a:lnTo>
                      <a:lnTo>
                        <a:pt x="274" y="357"/>
                      </a:lnTo>
                      <a:lnTo>
                        <a:pt x="307" y="338"/>
                      </a:lnTo>
                      <a:lnTo>
                        <a:pt x="303" y="317"/>
                      </a:lnTo>
                      <a:lnTo>
                        <a:pt x="371" y="251"/>
                      </a:lnTo>
                      <a:lnTo>
                        <a:pt x="371" y="229"/>
                      </a:lnTo>
                      <a:lnTo>
                        <a:pt x="345" y="206"/>
                      </a:lnTo>
                      <a:lnTo>
                        <a:pt x="378" y="177"/>
                      </a:lnTo>
                      <a:lnTo>
                        <a:pt x="395" y="140"/>
                      </a:lnTo>
                      <a:lnTo>
                        <a:pt x="433" y="118"/>
                      </a:lnTo>
                      <a:lnTo>
                        <a:pt x="480" y="140"/>
                      </a:lnTo>
                      <a:lnTo>
                        <a:pt x="492" y="111"/>
                      </a:lnTo>
                      <a:lnTo>
                        <a:pt x="485" y="78"/>
                      </a:lnTo>
                      <a:lnTo>
                        <a:pt x="485" y="66"/>
                      </a:lnTo>
                      <a:lnTo>
                        <a:pt x="546" y="66"/>
                      </a:lnTo>
                      <a:lnTo>
                        <a:pt x="615" y="95"/>
                      </a:lnTo>
                      <a:lnTo>
                        <a:pt x="643" y="66"/>
                      </a:lnTo>
                      <a:lnTo>
                        <a:pt x="615" y="62"/>
                      </a:lnTo>
                      <a:lnTo>
                        <a:pt x="648" y="28"/>
                      </a:lnTo>
                      <a:lnTo>
                        <a:pt x="648" y="12"/>
                      </a:lnTo>
                      <a:lnTo>
                        <a:pt x="631" y="0"/>
                      </a:lnTo>
                      <a:lnTo>
                        <a:pt x="664" y="0"/>
                      </a:lnTo>
                      <a:lnTo>
                        <a:pt x="766" y="66"/>
                      </a:lnTo>
                      <a:lnTo>
                        <a:pt x="827" y="83"/>
                      </a:lnTo>
                      <a:lnTo>
                        <a:pt x="879" y="140"/>
                      </a:lnTo>
                      <a:lnTo>
                        <a:pt x="865" y="151"/>
                      </a:lnTo>
                      <a:lnTo>
                        <a:pt x="865" y="194"/>
                      </a:lnTo>
                      <a:lnTo>
                        <a:pt x="886" y="206"/>
                      </a:lnTo>
                      <a:lnTo>
                        <a:pt x="886" y="222"/>
                      </a:lnTo>
                      <a:lnTo>
                        <a:pt x="879" y="222"/>
                      </a:lnTo>
                      <a:lnTo>
                        <a:pt x="874" y="234"/>
                      </a:lnTo>
                      <a:lnTo>
                        <a:pt x="903" y="279"/>
                      </a:lnTo>
                      <a:lnTo>
                        <a:pt x="896" y="284"/>
                      </a:lnTo>
                      <a:lnTo>
                        <a:pt x="896" y="305"/>
                      </a:lnTo>
                      <a:lnTo>
                        <a:pt x="879" y="321"/>
                      </a:lnTo>
                      <a:lnTo>
                        <a:pt x="879" y="338"/>
                      </a:lnTo>
                      <a:lnTo>
                        <a:pt x="886" y="357"/>
                      </a:lnTo>
                      <a:lnTo>
                        <a:pt x="903" y="362"/>
                      </a:lnTo>
                      <a:lnTo>
                        <a:pt x="917" y="395"/>
                      </a:lnTo>
                      <a:lnTo>
                        <a:pt x="848" y="399"/>
                      </a:lnTo>
                      <a:lnTo>
                        <a:pt x="841" y="411"/>
                      </a:lnTo>
                      <a:lnTo>
                        <a:pt x="811" y="390"/>
                      </a:lnTo>
                      <a:lnTo>
                        <a:pt x="811" y="399"/>
                      </a:lnTo>
                      <a:lnTo>
                        <a:pt x="794" y="395"/>
                      </a:lnTo>
                      <a:lnTo>
                        <a:pt x="789" y="395"/>
                      </a:lnTo>
                      <a:lnTo>
                        <a:pt x="778" y="416"/>
                      </a:lnTo>
                      <a:lnTo>
                        <a:pt x="794" y="416"/>
                      </a:lnTo>
                      <a:lnTo>
                        <a:pt x="794" y="428"/>
                      </a:lnTo>
                      <a:lnTo>
                        <a:pt x="752" y="411"/>
                      </a:lnTo>
                      <a:lnTo>
                        <a:pt x="778" y="428"/>
                      </a:lnTo>
                      <a:lnTo>
                        <a:pt x="756" y="432"/>
                      </a:lnTo>
                      <a:lnTo>
                        <a:pt x="766" y="444"/>
                      </a:lnTo>
                      <a:lnTo>
                        <a:pt x="756" y="449"/>
                      </a:lnTo>
                      <a:lnTo>
                        <a:pt x="723" y="449"/>
                      </a:lnTo>
                      <a:lnTo>
                        <a:pt x="740" y="456"/>
                      </a:lnTo>
                      <a:lnTo>
                        <a:pt x="740" y="465"/>
                      </a:lnTo>
                      <a:lnTo>
                        <a:pt x="711" y="449"/>
                      </a:lnTo>
                      <a:lnTo>
                        <a:pt x="740" y="473"/>
                      </a:lnTo>
                      <a:lnTo>
                        <a:pt x="735" y="489"/>
                      </a:lnTo>
                      <a:lnTo>
                        <a:pt x="711" y="501"/>
                      </a:lnTo>
                      <a:lnTo>
                        <a:pt x="711" y="510"/>
                      </a:lnTo>
                      <a:lnTo>
                        <a:pt x="697" y="510"/>
                      </a:lnTo>
                      <a:lnTo>
                        <a:pt x="718" y="522"/>
                      </a:lnTo>
                      <a:lnTo>
                        <a:pt x="718" y="527"/>
                      </a:lnTo>
                      <a:lnTo>
                        <a:pt x="702" y="527"/>
                      </a:lnTo>
                      <a:lnTo>
                        <a:pt x="735" y="543"/>
                      </a:lnTo>
                      <a:lnTo>
                        <a:pt x="735" y="560"/>
                      </a:lnTo>
                      <a:lnTo>
                        <a:pt x="697" y="593"/>
                      </a:lnTo>
                      <a:lnTo>
                        <a:pt x="681" y="621"/>
                      </a:lnTo>
                      <a:lnTo>
                        <a:pt x="659" y="633"/>
                      </a:lnTo>
                      <a:lnTo>
                        <a:pt x="648" y="650"/>
                      </a:lnTo>
                      <a:lnTo>
                        <a:pt x="615" y="654"/>
                      </a:lnTo>
                      <a:lnTo>
                        <a:pt x="605" y="671"/>
                      </a:lnTo>
                      <a:lnTo>
                        <a:pt x="589" y="666"/>
                      </a:lnTo>
                      <a:lnTo>
                        <a:pt x="589" y="671"/>
                      </a:lnTo>
                      <a:lnTo>
                        <a:pt x="572" y="671"/>
                      </a:lnTo>
                      <a:lnTo>
                        <a:pt x="572" y="688"/>
                      </a:lnTo>
                      <a:lnTo>
                        <a:pt x="555" y="695"/>
                      </a:lnTo>
                      <a:lnTo>
                        <a:pt x="555" y="704"/>
                      </a:lnTo>
                      <a:lnTo>
                        <a:pt x="546" y="695"/>
                      </a:lnTo>
                      <a:lnTo>
                        <a:pt x="539" y="695"/>
                      </a:lnTo>
                      <a:lnTo>
                        <a:pt x="546" y="704"/>
                      </a:lnTo>
                      <a:lnTo>
                        <a:pt x="534" y="704"/>
                      </a:lnTo>
                      <a:lnTo>
                        <a:pt x="501" y="721"/>
                      </a:lnTo>
                      <a:lnTo>
                        <a:pt x="522" y="728"/>
                      </a:lnTo>
                      <a:lnTo>
                        <a:pt x="501" y="749"/>
                      </a:lnTo>
                      <a:lnTo>
                        <a:pt x="480" y="744"/>
                      </a:lnTo>
                      <a:lnTo>
                        <a:pt x="470" y="728"/>
                      </a:lnTo>
                      <a:lnTo>
                        <a:pt x="463" y="728"/>
                      </a:lnTo>
                      <a:lnTo>
                        <a:pt x="485" y="749"/>
                      </a:lnTo>
                      <a:lnTo>
                        <a:pt x="485" y="761"/>
                      </a:lnTo>
                      <a:lnTo>
                        <a:pt x="480" y="761"/>
                      </a:lnTo>
                      <a:lnTo>
                        <a:pt x="485" y="765"/>
                      </a:lnTo>
                      <a:lnTo>
                        <a:pt x="463" y="782"/>
                      </a:lnTo>
                      <a:lnTo>
                        <a:pt x="437" y="777"/>
                      </a:lnTo>
                      <a:lnTo>
                        <a:pt x="437" y="782"/>
                      </a:lnTo>
                      <a:lnTo>
                        <a:pt x="437" y="799"/>
                      </a:lnTo>
                      <a:lnTo>
                        <a:pt x="463" y="806"/>
                      </a:lnTo>
                      <a:lnTo>
                        <a:pt x="447" y="806"/>
                      </a:lnTo>
                      <a:lnTo>
                        <a:pt x="447" y="839"/>
                      </a:lnTo>
                      <a:lnTo>
                        <a:pt x="437" y="839"/>
                      </a:lnTo>
                      <a:lnTo>
                        <a:pt x="437" y="855"/>
                      </a:lnTo>
                      <a:lnTo>
                        <a:pt x="447" y="872"/>
                      </a:lnTo>
                      <a:lnTo>
                        <a:pt x="447" y="877"/>
                      </a:lnTo>
                      <a:lnTo>
                        <a:pt x="426" y="872"/>
                      </a:lnTo>
                      <a:lnTo>
                        <a:pt x="433" y="872"/>
                      </a:lnTo>
                      <a:lnTo>
                        <a:pt x="416" y="877"/>
                      </a:lnTo>
                      <a:lnTo>
                        <a:pt x="433" y="893"/>
                      </a:lnTo>
                      <a:lnTo>
                        <a:pt x="416" y="900"/>
                      </a:lnTo>
                      <a:lnTo>
                        <a:pt x="433" y="910"/>
                      </a:lnTo>
                      <a:lnTo>
                        <a:pt x="426" y="950"/>
                      </a:lnTo>
                      <a:lnTo>
                        <a:pt x="433" y="966"/>
                      </a:lnTo>
                      <a:lnTo>
                        <a:pt x="433" y="983"/>
                      </a:lnTo>
                      <a:lnTo>
                        <a:pt x="454" y="988"/>
                      </a:lnTo>
                      <a:lnTo>
                        <a:pt x="463" y="999"/>
                      </a:lnTo>
                      <a:lnTo>
                        <a:pt x="480" y="988"/>
                      </a:lnTo>
                      <a:lnTo>
                        <a:pt x="501" y="1021"/>
                      </a:lnTo>
                      <a:lnTo>
                        <a:pt x="518" y="1021"/>
                      </a:lnTo>
                      <a:lnTo>
                        <a:pt x="522" y="1028"/>
                      </a:lnTo>
                      <a:lnTo>
                        <a:pt x="508" y="1021"/>
                      </a:lnTo>
                      <a:lnTo>
                        <a:pt x="508" y="1037"/>
                      </a:lnTo>
                      <a:lnTo>
                        <a:pt x="539" y="1044"/>
                      </a:lnTo>
                      <a:lnTo>
                        <a:pt x="546" y="1061"/>
                      </a:lnTo>
                      <a:lnTo>
                        <a:pt x="555" y="1065"/>
                      </a:lnTo>
                      <a:lnTo>
                        <a:pt x="555" y="1077"/>
                      </a:lnTo>
                      <a:lnTo>
                        <a:pt x="546" y="1065"/>
                      </a:lnTo>
                      <a:lnTo>
                        <a:pt x="539" y="1077"/>
                      </a:lnTo>
                      <a:lnTo>
                        <a:pt x="555" y="1082"/>
                      </a:lnTo>
                      <a:lnTo>
                        <a:pt x="501" y="1110"/>
                      </a:lnTo>
                      <a:lnTo>
                        <a:pt x="508" y="1115"/>
                      </a:lnTo>
                      <a:lnTo>
                        <a:pt x="492" y="1115"/>
                      </a:lnTo>
                      <a:lnTo>
                        <a:pt x="485" y="1122"/>
                      </a:lnTo>
                      <a:lnTo>
                        <a:pt x="470" y="1115"/>
                      </a:lnTo>
                      <a:lnTo>
                        <a:pt x="470" y="1110"/>
                      </a:lnTo>
                      <a:lnTo>
                        <a:pt x="463" y="1094"/>
                      </a:lnTo>
                      <a:lnTo>
                        <a:pt x="454" y="1094"/>
                      </a:lnTo>
                      <a:lnTo>
                        <a:pt x="463" y="1082"/>
                      </a:lnTo>
                      <a:lnTo>
                        <a:pt x="454" y="1077"/>
                      </a:lnTo>
                      <a:lnTo>
                        <a:pt x="447" y="1094"/>
                      </a:lnTo>
                      <a:lnTo>
                        <a:pt x="454" y="1099"/>
                      </a:lnTo>
                      <a:lnTo>
                        <a:pt x="447" y="1082"/>
                      </a:lnTo>
                      <a:lnTo>
                        <a:pt x="454" y="1082"/>
                      </a:lnTo>
                      <a:lnTo>
                        <a:pt x="454" y="1094"/>
                      </a:lnTo>
                      <a:lnTo>
                        <a:pt x="470" y="1099"/>
                      </a:lnTo>
                      <a:lnTo>
                        <a:pt x="463" y="1115"/>
                      </a:lnTo>
                      <a:lnTo>
                        <a:pt x="454" y="1110"/>
                      </a:lnTo>
                      <a:lnTo>
                        <a:pt x="437" y="1094"/>
                      </a:lnTo>
                      <a:lnTo>
                        <a:pt x="437" y="1110"/>
                      </a:lnTo>
                      <a:lnTo>
                        <a:pt x="378" y="1099"/>
                      </a:lnTo>
                      <a:lnTo>
                        <a:pt x="378" y="1110"/>
                      </a:lnTo>
                      <a:lnTo>
                        <a:pt x="345" y="1110"/>
                      </a:lnTo>
                      <a:lnTo>
                        <a:pt x="395" y="1110"/>
                      </a:lnTo>
                      <a:lnTo>
                        <a:pt x="409" y="1122"/>
                      </a:lnTo>
                      <a:lnTo>
                        <a:pt x="395" y="1110"/>
                      </a:lnTo>
                      <a:lnTo>
                        <a:pt x="400" y="1110"/>
                      </a:lnTo>
                      <a:lnTo>
                        <a:pt x="433" y="1122"/>
                      </a:lnTo>
                      <a:lnTo>
                        <a:pt x="433" y="1132"/>
                      </a:lnTo>
                      <a:lnTo>
                        <a:pt x="437" y="1132"/>
                      </a:lnTo>
                      <a:lnTo>
                        <a:pt x="437" y="1122"/>
                      </a:lnTo>
                      <a:lnTo>
                        <a:pt x="470" y="1132"/>
                      </a:lnTo>
                      <a:lnTo>
                        <a:pt x="501" y="1122"/>
                      </a:lnTo>
                      <a:lnTo>
                        <a:pt x="518" y="1122"/>
                      </a:lnTo>
                      <a:lnTo>
                        <a:pt x="518" y="1115"/>
                      </a:lnTo>
                      <a:lnTo>
                        <a:pt x="534" y="1122"/>
                      </a:lnTo>
                      <a:lnTo>
                        <a:pt x="501" y="1132"/>
                      </a:lnTo>
                      <a:lnTo>
                        <a:pt x="501" y="1148"/>
                      </a:lnTo>
                      <a:lnTo>
                        <a:pt x="485" y="1155"/>
                      </a:lnTo>
                      <a:lnTo>
                        <a:pt x="480" y="1181"/>
                      </a:lnTo>
                      <a:lnTo>
                        <a:pt x="463" y="1139"/>
                      </a:lnTo>
                      <a:lnTo>
                        <a:pt x="454" y="1172"/>
                      </a:lnTo>
                      <a:lnTo>
                        <a:pt x="437" y="1188"/>
                      </a:lnTo>
                      <a:lnTo>
                        <a:pt x="416" y="1188"/>
                      </a:lnTo>
                      <a:lnTo>
                        <a:pt x="426" y="1193"/>
                      </a:lnTo>
                      <a:lnTo>
                        <a:pt x="409" y="1205"/>
                      </a:lnTo>
                      <a:lnTo>
                        <a:pt x="357" y="1205"/>
                      </a:lnTo>
                      <a:lnTo>
                        <a:pt x="383" y="1205"/>
                      </a:lnTo>
                      <a:lnTo>
                        <a:pt x="409" y="1221"/>
                      </a:lnTo>
                      <a:lnTo>
                        <a:pt x="371" y="1221"/>
                      </a:lnTo>
                      <a:lnTo>
                        <a:pt x="395" y="1226"/>
                      </a:lnTo>
                      <a:lnTo>
                        <a:pt x="400" y="1243"/>
                      </a:lnTo>
                      <a:lnTo>
                        <a:pt x="395" y="1266"/>
                      </a:lnTo>
                      <a:lnTo>
                        <a:pt x="383" y="1266"/>
                      </a:lnTo>
                      <a:lnTo>
                        <a:pt x="395" y="1283"/>
                      </a:lnTo>
                      <a:lnTo>
                        <a:pt x="378" y="1266"/>
                      </a:lnTo>
                      <a:lnTo>
                        <a:pt x="395" y="1292"/>
                      </a:lnTo>
                      <a:lnTo>
                        <a:pt x="371" y="1276"/>
                      </a:lnTo>
                      <a:lnTo>
                        <a:pt x="395" y="1299"/>
                      </a:lnTo>
                      <a:lnTo>
                        <a:pt x="383" y="1304"/>
                      </a:lnTo>
                      <a:lnTo>
                        <a:pt x="395" y="1321"/>
                      </a:lnTo>
                      <a:lnTo>
                        <a:pt x="378" y="1337"/>
                      </a:lnTo>
                      <a:lnTo>
                        <a:pt x="378" y="1354"/>
                      </a:lnTo>
                      <a:lnTo>
                        <a:pt x="383" y="1358"/>
                      </a:lnTo>
                      <a:lnTo>
                        <a:pt x="378" y="1370"/>
                      </a:lnTo>
                      <a:lnTo>
                        <a:pt x="371" y="1403"/>
                      </a:lnTo>
                      <a:lnTo>
                        <a:pt x="329" y="1465"/>
                      </a:lnTo>
                      <a:lnTo>
                        <a:pt x="319" y="1460"/>
                      </a:lnTo>
                      <a:lnTo>
                        <a:pt x="253" y="1460"/>
                      </a:lnTo>
                      <a:lnTo>
                        <a:pt x="253" y="1469"/>
                      </a:lnTo>
                      <a:lnTo>
                        <a:pt x="237" y="1465"/>
                      </a:lnTo>
                      <a:lnTo>
                        <a:pt x="215" y="1486"/>
                      </a:lnTo>
                      <a:lnTo>
                        <a:pt x="215" y="1505"/>
                      </a:lnTo>
                      <a:lnTo>
                        <a:pt x="232" y="1521"/>
                      </a:lnTo>
                      <a:lnTo>
                        <a:pt x="215" y="1538"/>
                      </a:lnTo>
                      <a:lnTo>
                        <a:pt x="182" y="1526"/>
                      </a:lnTo>
                      <a:lnTo>
                        <a:pt x="156" y="1538"/>
                      </a:lnTo>
                      <a:lnTo>
                        <a:pt x="130" y="1538"/>
                      </a:lnTo>
                      <a:lnTo>
                        <a:pt x="123" y="1521"/>
                      </a:lnTo>
                      <a:lnTo>
                        <a:pt x="140" y="1505"/>
                      </a:lnTo>
                      <a:lnTo>
                        <a:pt x="92" y="1443"/>
                      </a:lnTo>
                      <a:lnTo>
                        <a:pt x="123" y="1448"/>
                      </a:lnTo>
                      <a:lnTo>
                        <a:pt x="107" y="1432"/>
                      </a:lnTo>
                      <a:lnTo>
                        <a:pt x="123" y="1427"/>
                      </a:lnTo>
                      <a:lnTo>
                        <a:pt x="123" y="1410"/>
                      </a:lnTo>
                      <a:lnTo>
                        <a:pt x="114" y="1410"/>
                      </a:lnTo>
                      <a:lnTo>
                        <a:pt x="102" y="1387"/>
                      </a:lnTo>
                      <a:lnTo>
                        <a:pt x="85" y="1377"/>
                      </a:lnTo>
                      <a:lnTo>
                        <a:pt x="69" y="1349"/>
                      </a:lnTo>
                      <a:lnTo>
                        <a:pt x="69" y="1321"/>
                      </a:lnTo>
                      <a:lnTo>
                        <a:pt x="59" y="1321"/>
                      </a:lnTo>
                      <a:lnTo>
                        <a:pt x="59" y="1337"/>
                      </a:lnTo>
                      <a:lnTo>
                        <a:pt x="55" y="1332"/>
                      </a:lnTo>
                      <a:lnTo>
                        <a:pt x="55" y="1304"/>
                      </a:lnTo>
                      <a:lnTo>
                        <a:pt x="55" y="1299"/>
                      </a:lnTo>
                      <a:lnTo>
                        <a:pt x="55" y="1299"/>
                      </a:lnTo>
                      <a:lnTo>
                        <a:pt x="38" y="1299"/>
                      </a:lnTo>
                      <a:lnTo>
                        <a:pt x="38" y="1283"/>
                      </a:lnTo>
                      <a:lnTo>
                        <a:pt x="55" y="1243"/>
                      </a:lnTo>
                      <a:lnTo>
                        <a:pt x="48" y="1238"/>
                      </a:lnTo>
                      <a:lnTo>
                        <a:pt x="31" y="1243"/>
                      </a:lnTo>
                      <a:lnTo>
                        <a:pt x="5" y="1226"/>
                      </a:lnTo>
                      <a:lnTo>
                        <a:pt x="5" y="1181"/>
                      </a:lnTo>
                      <a:lnTo>
                        <a:pt x="0" y="1165"/>
                      </a:lnTo>
                      <a:lnTo>
                        <a:pt x="15" y="1148"/>
                      </a:lnTo>
                      <a:lnTo>
                        <a:pt x="22" y="1165"/>
                      </a:lnTo>
                      <a:lnTo>
                        <a:pt x="22" y="1172"/>
                      </a:lnTo>
                      <a:lnTo>
                        <a:pt x="31" y="1172"/>
                      </a:lnTo>
                      <a:lnTo>
                        <a:pt x="31" y="1172"/>
                      </a:lnTo>
                      <a:lnTo>
                        <a:pt x="31" y="1172"/>
                      </a:lnTo>
                      <a:close/>
                      <a:moveTo>
                        <a:pt x="485" y="761"/>
                      </a:moveTo>
                      <a:lnTo>
                        <a:pt x="485" y="749"/>
                      </a:lnTo>
                      <a:lnTo>
                        <a:pt x="492" y="749"/>
                      </a:lnTo>
                      <a:lnTo>
                        <a:pt x="485" y="761"/>
                      </a:lnTo>
                      <a:lnTo>
                        <a:pt x="485" y="761"/>
                      </a:lnTo>
                      <a:lnTo>
                        <a:pt x="485" y="761"/>
                      </a:lnTo>
                      <a:close/>
                      <a:moveTo>
                        <a:pt x="447" y="799"/>
                      </a:moveTo>
                      <a:lnTo>
                        <a:pt x="437" y="782"/>
                      </a:lnTo>
                      <a:lnTo>
                        <a:pt x="447" y="782"/>
                      </a:lnTo>
                      <a:lnTo>
                        <a:pt x="447" y="789"/>
                      </a:lnTo>
                      <a:lnTo>
                        <a:pt x="447" y="799"/>
                      </a:lnTo>
                      <a:lnTo>
                        <a:pt x="447" y="799"/>
                      </a:lnTo>
                      <a:lnTo>
                        <a:pt x="447" y="799"/>
                      </a:lnTo>
                      <a:close/>
                      <a:moveTo>
                        <a:pt x="522" y="1021"/>
                      </a:moveTo>
                      <a:lnTo>
                        <a:pt x="508" y="1011"/>
                      </a:lnTo>
                      <a:lnTo>
                        <a:pt x="508" y="999"/>
                      </a:lnTo>
                      <a:lnTo>
                        <a:pt x="522" y="1021"/>
                      </a:lnTo>
                      <a:lnTo>
                        <a:pt x="522" y="1021"/>
                      </a:lnTo>
                      <a:lnTo>
                        <a:pt x="522" y="1021"/>
                      </a:lnTo>
                      <a:close/>
                      <a:moveTo>
                        <a:pt x="522" y="1115"/>
                      </a:moveTo>
                      <a:lnTo>
                        <a:pt x="522" y="1110"/>
                      </a:lnTo>
                      <a:lnTo>
                        <a:pt x="534" y="1099"/>
                      </a:lnTo>
                      <a:lnTo>
                        <a:pt x="522" y="1115"/>
                      </a:lnTo>
                      <a:lnTo>
                        <a:pt x="522" y="1115"/>
                      </a:lnTo>
                      <a:lnTo>
                        <a:pt x="522" y="1115"/>
                      </a:lnTo>
                      <a:close/>
                      <a:moveTo>
                        <a:pt x="433" y="1122"/>
                      </a:moveTo>
                      <a:lnTo>
                        <a:pt x="416" y="1115"/>
                      </a:lnTo>
                      <a:lnTo>
                        <a:pt x="433" y="1115"/>
                      </a:lnTo>
                      <a:lnTo>
                        <a:pt x="433" y="1122"/>
                      </a:lnTo>
                      <a:lnTo>
                        <a:pt x="433" y="1122"/>
                      </a:lnTo>
                      <a:lnTo>
                        <a:pt x="433" y="1122"/>
                      </a:lnTo>
                      <a:close/>
                      <a:moveTo>
                        <a:pt x="470" y="1132"/>
                      </a:moveTo>
                      <a:lnTo>
                        <a:pt x="454" y="1132"/>
                      </a:lnTo>
                      <a:lnTo>
                        <a:pt x="447" y="1115"/>
                      </a:lnTo>
                      <a:lnTo>
                        <a:pt x="470" y="1132"/>
                      </a:lnTo>
                      <a:lnTo>
                        <a:pt x="470" y="1132"/>
                      </a:lnTo>
                      <a:lnTo>
                        <a:pt x="470" y="1132"/>
                      </a:lnTo>
                      <a:close/>
                      <a:moveTo>
                        <a:pt x="518" y="1139"/>
                      </a:moveTo>
                      <a:lnTo>
                        <a:pt x="508" y="1132"/>
                      </a:lnTo>
                      <a:lnTo>
                        <a:pt x="522" y="1132"/>
                      </a:lnTo>
                      <a:lnTo>
                        <a:pt x="518" y="1139"/>
                      </a:lnTo>
                      <a:lnTo>
                        <a:pt x="518" y="1139"/>
                      </a:lnTo>
                      <a:lnTo>
                        <a:pt x="518" y="1139"/>
                      </a:lnTo>
                      <a:close/>
                      <a:moveTo>
                        <a:pt x="572" y="1238"/>
                      </a:moveTo>
                      <a:lnTo>
                        <a:pt x="560" y="1226"/>
                      </a:lnTo>
                      <a:lnTo>
                        <a:pt x="577" y="1226"/>
                      </a:lnTo>
                      <a:lnTo>
                        <a:pt x="572" y="1238"/>
                      </a:lnTo>
                      <a:lnTo>
                        <a:pt x="572" y="1238"/>
                      </a:lnTo>
                      <a:lnTo>
                        <a:pt x="572" y="1238"/>
                      </a:lnTo>
                      <a:close/>
                      <a:moveTo>
                        <a:pt x="22" y="1259"/>
                      </a:moveTo>
                      <a:lnTo>
                        <a:pt x="22" y="1250"/>
                      </a:lnTo>
                      <a:lnTo>
                        <a:pt x="38" y="1238"/>
                      </a:lnTo>
                      <a:lnTo>
                        <a:pt x="48" y="1243"/>
                      </a:lnTo>
                      <a:lnTo>
                        <a:pt x="48" y="1250"/>
                      </a:lnTo>
                      <a:lnTo>
                        <a:pt x="22" y="1259"/>
                      </a:lnTo>
                      <a:lnTo>
                        <a:pt x="22" y="1259"/>
                      </a:lnTo>
                      <a:lnTo>
                        <a:pt x="22" y="1259"/>
                      </a:lnTo>
                      <a:close/>
                      <a:moveTo>
                        <a:pt x="48" y="1259"/>
                      </a:moveTo>
                      <a:lnTo>
                        <a:pt x="31" y="1276"/>
                      </a:lnTo>
                      <a:lnTo>
                        <a:pt x="31" y="1266"/>
                      </a:lnTo>
                      <a:lnTo>
                        <a:pt x="48" y="1259"/>
                      </a:lnTo>
                      <a:lnTo>
                        <a:pt x="48" y="1259"/>
                      </a:lnTo>
                      <a:lnTo>
                        <a:pt x="48" y="1259"/>
                      </a:lnTo>
                      <a:close/>
                      <a:moveTo>
                        <a:pt x="560" y="1283"/>
                      </a:moveTo>
                      <a:lnTo>
                        <a:pt x="555" y="1276"/>
                      </a:lnTo>
                      <a:lnTo>
                        <a:pt x="560" y="1266"/>
                      </a:lnTo>
                      <a:lnTo>
                        <a:pt x="577" y="1266"/>
                      </a:lnTo>
                      <a:lnTo>
                        <a:pt x="560" y="1276"/>
                      </a:lnTo>
                      <a:lnTo>
                        <a:pt x="560" y="1283"/>
                      </a:lnTo>
                      <a:lnTo>
                        <a:pt x="560" y="1283"/>
                      </a:lnTo>
                      <a:lnTo>
                        <a:pt x="560" y="1283"/>
                      </a:lnTo>
                      <a:close/>
                      <a:moveTo>
                        <a:pt x="555" y="1276"/>
                      </a:moveTo>
                      <a:lnTo>
                        <a:pt x="555" y="1283"/>
                      </a:lnTo>
                      <a:lnTo>
                        <a:pt x="539" y="1299"/>
                      </a:lnTo>
                      <a:lnTo>
                        <a:pt x="534" y="1349"/>
                      </a:lnTo>
                      <a:lnTo>
                        <a:pt x="508" y="1354"/>
                      </a:lnTo>
                      <a:lnTo>
                        <a:pt x="501" y="1377"/>
                      </a:lnTo>
                      <a:lnTo>
                        <a:pt x="492" y="1377"/>
                      </a:lnTo>
                      <a:lnTo>
                        <a:pt x="501" y="1370"/>
                      </a:lnTo>
                      <a:lnTo>
                        <a:pt x="492" y="1316"/>
                      </a:lnTo>
                      <a:lnTo>
                        <a:pt x="534" y="1276"/>
                      </a:lnTo>
                      <a:lnTo>
                        <a:pt x="555" y="1276"/>
                      </a:lnTo>
                      <a:lnTo>
                        <a:pt x="555" y="1276"/>
                      </a:lnTo>
                      <a:lnTo>
                        <a:pt x="555" y="1276"/>
                      </a:lnTo>
                      <a:close/>
                      <a:moveTo>
                        <a:pt x="371" y="1448"/>
                      </a:moveTo>
                      <a:lnTo>
                        <a:pt x="371" y="1410"/>
                      </a:lnTo>
                      <a:lnTo>
                        <a:pt x="409" y="1337"/>
                      </a:lnTo>
                      <a:lnTo>
                        <a:pt x="426" y="1337"/>
                      </a:lnTo>
                      <a:lnTo>
                        <a:pt x="371" y="1448"/>
                      </a:lnTo>
                      <a:lnTo>
                        <a:pt x="371" y="1448"/>
                      </a:lnTo>
                      <a:lnTo>
                        <a:pt x="371" y="144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5" name="Freeform 568">
                  <a:extLst>
                    <a:ext uri="{FF2B5EF4-FFF2-40B4-BE49-F238E27FC236}">
                      <a16:creationId xmlns:a16="http://schemas.microsoft.com/office/drawing/2014/main" id="{25EF98DA-2A6F-4B7F-A7C7-2773A7A627B3}"/>
                    </a:ext>
                  </a:extLst>
                </p:cNvPr>
                <p:cNvSpPr>
                  <a:spLocks/>
                </p:cNvSpPr>
                <p:nvPr/>
              </p:nvSpPr>
              <p:spPr bwMode="gray">
                <a:xfrm>
                  <a:off x="8668084" y="2775979"/>
                  <a:ext cx="229712" cy="151924"/>
                </a:xfrm>
                <a:custGeom>
                  <a:avLst/>
                  <a:gdLst>
                    <a:gd name="T0" fmla="*/ 520 w 558"/>
                    <a:gd name="T1" fmla="*/ 302 h 369"/>
                    <a:gd name="T2" fmla="*/ 451 w 558"/>
                    <a:gd name="T3" fmla="*/ 319 h 369"/>
                    <a:gd name="T4" fmla="*/ 461 w 558"/>
                    <a:gd name="T5" fmla="*/ 314 h 369"/>
                    <a:gd name="T6" fmla="*/ 418 w 558"/>
                    <a:gd name="T7" fmla="*/ 298 h 369"/>
                    <a:gd name="T8" fmla="*/ 380 w 558"/>
                    <a:gd name="T9" fmla="*/ 335 h 369"/>
                    <a:gd name="T10" fmla="*/ 321 w 558"/>
                    <a:gd name="T11" fmla="*/ 359 h 369"/>
                    <a:gd name="T12" fmla="*/ 305 w 558"/>
                    <a:gd name="T13" fmla="*/ 359 h 369"/>
                    <a:gd name="T14" fmla="*/ 305 w 558"/>
                    <a:gd name="T15" fmla="*/ 265 h 369"/>
                    <a:gd name="T16" fmla="*/ 288 w 558"/>
                    <a:gd name="T17" fmla="*/ 232 h 369"/>
                    <a:gd name="T18" fmla="*/ 246 w 558"/>
                    <a:gd name="T19" fmla="*/ 220 h 369"/>
                    <a:gd name="T20" fmla="*/ 213 w 558"/>
                    <a:gd name="T21" fmla="*/ 281 h 369"/>
                    <a:gd name="T22" fmla="*/ 180 w 558"/>
                    <a:gd name="T23" fmla="*/ 286 h 369"/>
                    <a:gd name="T24" fmla="*/ 147 w 558"/>
                    <a:gd name="T25" fmla="*/ 302 h 369"/>
                    <a:gd name="T26" fmla="*/ 142 w 558"/>
                    <a:gd name="T27" fmla="*/ 331 h 369"/>
                    <a:gd name="T28" fmla="*/ 54 w 558"/>
                    <a:gd name="T29" fmla="*/ 343 h 369"/>
                    <a:gd name="T30" fmla="*/ 33 w 558"/>
                    <a:gd name="T31" fmla="*/ 319 h 369"/>
                    <a:gd name="T32" fmla="*/ 66 w 558"/>
                    <a:gd name="T33" fmla="*/ 260 h 369"/>
                    <a:gd name="T34" fmla="*/ 83 w 558"/>
                    <a:gd name="T35" fmla="*/ 243 h 369"/>
                    <a:gd name="T36" fmla="*/ 54 w 558"/>
                    <a:gd name="T37" fmla="*/ 187 h 369"/>
                    <a:gd name="T38" fmla="*/ 54 w 558"/>
                    <a:gd name="T39" fmla="*/ 170 h 369"/>
                    <a:gd name="T40" fmla="*/ 28 w 558"/>
                    <a:gd name="T41" fmla="*/ 165 h 369"/>
                    <a:gd name="T42" fmla="*/ 0 w 558"/>
                    <a:gd name="T43" fmla="*/ 149 h 369"/>
                    <a:gd name="T44" fmla="*/ 33 w 558"/>
                    <a:gd name="T45" fmla="*/ 116 h 369"/>
                    <a:gd name="T46" fmla="*/ 92 w 558"/>
                    <a:gd name="T47" fmla="*/ 99 h 369"/>
                    <a:gd name="T48" fmla="*/ 104 w 558"/>
                    <a:gd name="T49" fmla="*/ 83 h 369"/>
                    <a:gd name="T50" fmla="*/ 92 w 558"/>
                    <a:gd name="T51" fmla="*/ 78 h 369"/>
                    <a:gd name="T52" fmla="*/ 142 w 558"/>
                    <a:gd name="T53" fmla="*/ 45 h 369"/>
                    <a:gd name="T54" fmla="*/ 147 w 558"/>
                    <a:gd name="T55" fmla="*/ 21 h 369"/>
                    <a:gd name="T56" fmla="*/ 213 w 558"/>
                    <a:gd name="T57" fmla="*/ 12 h 369"/>
                    <a:gd name="T58" fmla="*/ 250 w 558"/>
                    <a:gd name="T59" fmla="*/ 28 h 369"/>
                    <a:gd name="T60" fmla="*/ 217 w 558"/>
                    <a:gd name="T61" fmla="*/ 54 h 369"/>
                    <a:gd name="T62" fmla="*/ 255 w 558"/>
                    <a:gd name="T63" fmla="*/ 66 h 369"/>
                    <a:gd name="T64" fmla="*/ 234 w 558"/>
                    <a:gd name="T65" fmla="*/ 78 h 369"/>
                    <a:gd name="T66" fmla="*/ 229 w 558"/>
                    <a:gd name="T67" fmla="*/ 95 h 369"/>
                    <a:gd name="T68" fmla="*/ 196 w 558"/>
                    <a:gd name="T69" fmla="*/ 66 h 369"/>
                    <a:gd name="T70" fmla="*/ 158 w 558"/>
                    <a:gd name="T71" fmla="*/ 95 h 369"/>
                    <a:gd name="T72" fmla="*/ 142 w 558"/>
                    <a:gd name="T73" fmla="*/ 83 h 369"/>
                    <a:gd name="T74" fmla="*/ 142 w 558"/>
                    <a:gd name="T75" fmla="*/ 121 h 369"/>
                    <a:gd name="T76" fmla="*/ 234 w 558"/>
                    <a:gd name="T77" fmla="*/ 121 h 369"/>
                    <a:gd name="T78" fmla="*/ 255 w 558"/>
                    <a:gd name="T79" fmla="*/ 137 h 369"/>
                    <a:gd name="T80" fmla="*/ 298 w 558"/>
                    <a:gd name="T81" fmla="*/ 121 h 369"/>
                    <a:gd name="T82" fmla="*/ 310 w 558"/>
                    <a:gd name="T83" fmla="*/ 132 h 369"/>
                    <a:gd name="T84" fmla="*/ 336 w 558"/>
                    <a:gd name="T85" fmla="*/ 137 h 369"/>
                    <a:gd name="T86" fmla="*/ 359 w 558"/>
                    <a:gd name="T87" fmla="*/ 137 h 369"/>
                    <a:gd name="T88" fmla="*/ 451 w 558"/>
                    <a:gd name="T89" fmla="*/ 132 h 369"/>
                    <a:gd name="T90" fmla="*/ 461 w 558"/>
                    <a:gd name="T91" fmla="*/ 170 h 369"/>
                    <a:gd name="T92" fmla="*/ 461 w 558"/>
                    <a:gd name="T93" fmla="*/ 203 h 369"/>
                    <a:gd name="T94" fmla="*/ 482 w 558"/>
                    <a:gd name="T95" fmla="*/ 203 h 369"/>
                    <a:gd name="T96" fmla="*/ 536 w 558"/>
                    <a:gd name="T97" fmla="*/ 220 h 369"/>
                    <a:gd name="T98" fmla="*/ 543 w 558"/>
                    <a:gd name="T99" fmla="*/ 276 h 369"/>
                    <a:gd name="T100" fmla="*/ 558 w 558"/>
                    <a:gd name="T101" fmla="*/ 302 h 369"/>
                    <a:gd name="T102" fmla="*/ 536 w 558"/>
                    <a:gd name="T103" fmla="*/ 31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58" h="369">
                      <a:moveTo>
                        <a:pt x="536" y="319"/>
                      </a:moveTo>
                      <a:lnTo>
                        <a:pt x="520" y="302"/>
                      </a:lnTo>
                      <a:lnTo>
                        <a:pt x="489" y="302"/>
                      </a:lnTo>
                      <a:lnTo>
                        <a:pt x="451" y="319"/>
                      </a:lnTo>
                      <a:lnTo>
                        <a:pt x="444" y="314"/>
                      </a:lnTo>
                      <a:lnTo>
                        <a:pt x="461" y="314"/>
                      </a:lnTo>
                      <a:lnTo>
                        <a:pt x="461" y="302"/>
                      </a:lnTo>
                      <a:lnTo>
                        <a:pt x="418" y="298"/>
                      </a:lnTo>
                      <a:lnTo>
                        <a:pt x="390" y="319"/>
                      </a:lnTo>
                      <a:lnTo>
                        <a:pt x="380" y="335"/>
                      </a:lnTo>
                      <a:lnTo>
                        <a:pt x="352" y="335"/>
                      </a:lnTo>
                      <a:lnTo>
                        <a:pt x="321" y="359"/>
                      </a:lnTo>
                      <a:lnTo>
                        <a:pt x="310" y="369"/>
                      </a:lnTo>
                      <a:lnTo>
                        <a:pt x="305" y="359"/>
                      </a:lnTo>
                      <a:lnTo>
                        <a:pt x="288" y="331"/>
                      </a:lnTo>
                      <a:lnTo>
                        <a:pt x="305" y="265"/>
                      </a:lnTo>
                      <a:lnTo>
                        <a:pt x="284" y="265"/>
                      </a:lnTo>
                      <a:lnTo>
                        <a:pt x="288" y="232"/>
                      </a:lnTo>
                      <a:lnTo>
                        <a:pt x="255" y="220"/>
                      </a:lnTo>
                      <a:lnTo>
                        <a:pt x="246" y="220"/>
                      </a:lnTo>
                      <a:lnTo>
                        <a:pt x="201" y="260"/>
                      </a:lnTo>
                      <a:lnTo>
                        <a:pt x="213" y="281"/>
                      </a:lnTo>
                      <a:lnTo>
                        <a:pt x="201" y="298"/>
                      </a:lnTo>
                      <a:lnTo>
                        <a:pt x="180" y="286"/>
                      </a:lnTo>
                      <a:lnTo>
                        <a:pt x="158" y="286"/>
                      </a:lnTo>
                      <a:lnTo>
                        <a:pt x="147" y="302"/>
                      </a:lnTo>
                      <a:lnTo>
                        <a:pt x="147" y="319"/>
                      </a:lnTo>
                      <a:lnTo>
                        <a:pt x="142" y="331"/>
                      </a:lnTo>
                      <a:lnTo>
                        <a:pt x="109" y="314"/>
                      </a:lnTo>
                      <a:lnTo>
                        <a:pt x="54" y="343"/>
                      </a:lnTo>
                      <a:lnTo>
                        <a:pt x="33" y="331"/>
                      </a:lnTo>
                      <a:lnTo>
                        <a:pt x="33" y="319"/>
                      </a:lnTo>
                      <a:lnTo>
                        <a:pt x="38" y="298"/>
                      </a:lnTo>
                      <a:lnTo>
                        <a:pt x="66" y="260"/>
                      </a:lnTo>
                      <a:lnTo>
                        <a:pt x="71" y="260"/>
                      </a:lnTo>
                      <a:lnTo>
                        <a:pt x="83" y="243"/>
                      </a:lnTo>
                      <a:lnTo>
                        <a:pt x="54" y="210"/>
                      </a:lnTo>
                      <a:lnTo>
                        <a:pt x="54" y="187"/>
                      </a:lnTo>
                      <a:lnTo>
                        <a:pt x="66" y="187"/>
                      </a:lnTo>
                      <a:lnTo>
                        <a:pt x="54" y="170"/>
                      </a:lnTo>
                      <a:lnTo>
                        <a:pt x="33" y="170"/>
                      </a:lnTo>
                      <a:lnTo>
                        <a:pt x="28" y="165"/>
                      </a:lnTo>
                      <a:lnTo>
                        <a:pt x="12" y="154"/>
                      </a:lnTo>
                      <a:lnTo>
                        <a:pt x="0" y="149"/>
                      </a:lnTo>
                      <a:lnTo>
                        <a:pt x="12" y="132"/>
                      </a:lnTo>
                      <a:lnTo>
                        <a:pt x="33" y="116"/>
                      </a:lnTo>
                      <a:lnTo>
                        <a:pt x="88" y="121"/>
                      </a:lnTo>
                      <a:lnTo>
                        <a:pt x="92" y="99"/>
                      </a:lnTo>
                      <a:lnTo>
                        <a:pt x="109" y="99"/>
                      </a:lnTo>
                      <a:lnTo>
                        <a:pt x="104" y="83"/>
                      </a:lnTo>
                      <a:lnTo>
                        <a:pt x="121" y="78"/>
                      </a:lnTo>
                      <a:lnTo>
                        <a:pt x="92" y="78"/>
                      </a:lnTo>
                      <a:lnTo>
                        <a:pt x="142" y="66"/>
                      </a:lnTo>
                      <a:lnTo>
                        <a:pt x="142" y="45"/>
                      </a:lnTo>
                      <a:lnTo>
                        <a:pt x="147" y="21"/>
                      </a:lnTo>
                      <a:lnTo>
                        <a:pt x="147" y="21"/>
                      </a:lnTo>
                      <a:lnTo>
                        <a:pt x="175" y="38"/>
                      </a:lnTo>
                      <a:lnTo>
                        <a:pt x="213" y="12"/>
                      </a:lnTo>
                      <a:lnTo>
                        <a:pt x="217" y="0"/>
                      </a:lnTo>
                      <a:lnTo>
                        <a:pt x="250" y="28"/>
                      </a:lnTo>
                      <a:lnTo>
                        <a:pt x="217" y="54"/>
                      </a:lnTo>
                      <a:lnTo>
                        <a:pt x="217" y="54"/>
                      </a:lnTo>
                      <a:lnTo>
                        <a:pt x="234" y="66"/>
                      </a:lnTo>
                      <a:lnTo>
                        <a:pt x="255" y="66"/>
                      </a:lnTo>
                      <a:lnTo>
                        <a:pt x="255" y="78"/>
                      </a:lnTo>
                      <a:lnTo>
                        <a:pt x="234" y="78"/>
                      </a:lnTo>
                      <a:lnTo>
                        <a:pt x="234" y="95"/>
                      </a:lnTo>
                      <a:lnTo>
                        <a:pt x="229" y="95"/>
                      </a:lnTo>
                      <a:lnTo>
                        <a:pt x="229" y="83"/>
                      </a:lnTo>
                      <a:lnTo>
                        <a:pt x="196" y="66"/>
                      </a:lnTo>
                      <a:lnTo>
                        <a:pt x="158" y="78"/>
                      </a:lnTo>
                      <a:lnTo>
                        <a:pt x="158" y="95"/>
                      </a:lnTo>
                      <a:lnTo>
                        <a:pt x="147" y="95"/>
                      </a:lnTo>
                      <a:lnTo>
                        <a:pt x="142" y="83"/>
                      </a:lnTo>
                      <a:lnTo>
                        <a:pt x="142" y="99"/>
                      </a:lnTo>
                      <a:lnTo>
                        <a:pt x="142" y="121"/>
                      </a:lnTo>
                      <a:lnTo>
                        <a:pt x="229" y="121"/>
                      </a:lnTo>
                      <a:lnTo>
                        <a:pt x="234" y="121"/>
                      </a:lnTo>
                      <a:lnTo>
                        <a:pt x="246" y="137"/>
                      </a:lnTo>
                      <a:lnTo>
                        <a:pt x="255" y="137"/>
                      </a:lnTo>
                      <a:lnTo>
                        <a:pt x="267" y="132"/>
                      </a:lnTo>
                      <a:lnTo>
                        <a:pt x="298" y="121"/>
                      </a:lnTo>
                      <a:lnTo>
                        <a:pt x="298" y="132"/>
                      </a:lnTo>
                      <a:lnTo>
                        <a:pt x="310" y="132"/>
                      </a:lnTo>
                      <a:lnTo>
                        <a:pt x="310" y="149"/>
                      </a:lnTo>
                      <a:lnTo>
                        <a:pt x="336" y="137"/>
                      </a:lnTo>
                      <a:lnTo>
                        <a:pt x="352" y="154"/>
                      </a:lnTo>
                      <a:lnTo>
                        <a:pt x="359" y="137"/>
                      </a:lnTo>
                      <a:lnTo>
                        <a:pt x="413" y="137"/>
                      </a:lnTo>
                      <a:lnTo>
                        <a:pt x="451" y="132"/>
                      </a:lnTo>
                      <a:lnTo>
                        <a:pt x="444" y="154"/>
                      </a:lnTo>
                      <a:lnTo>
                        <a:pt x="461" y="170"/>
                      </a:lnTo>
                      <a:lnTo>
                        <a:pt x="451" y="177"/>
                      </a:lnTo>
                      <a:lnTo>
                        <a:pt x="461" y="203"/>
                      </a:lnTo>
                      <a:lnTo>
                        <a:pt x="473" y="210"/>
                      </a:lnTo>
                      <a:lnTo>
                        <a:pt x="482" y="203"/>
                      </a:lnTo>
                      <a:lnTo>
                        <a:pt x="499" y="203"/>
                      </a:lnTo>
                      <a:lnTo>
                        <a:pt x="536" y="220"/>
                      </a:lnTo>
                      <a:lnTo>
                        <a:pt x="527" y="248"/>
                      </a:lnTo>
                      <a:lnTo>
                        <a:pt x="543" y="276"/>
                      </a:lnTo>
                      <a:lnTo>
                        <a:pt x="536" y="281"/>
                      </a:lnTo>
                      <a:lnTo>
                        <a:pt x="558" y="302"/>
                      </a:lnTo>
                      <a:lnTo>
                        <a:pt x="536" y="319"/>
                      </a:lnTo>
                      <a:lnTo>
                        <a:pt x="536" y="319"/>
                      </a:lnTo>
                      <a:lnTo>
                        <a:pt x="536" y="31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6" name="Freeform 574">
                  <a:extLst>
                    <a:ext uri="{FF2B5EF4-FFF2-40B4-BE49-F238E27FC236}">
                      <a16:creationId xmlns:a16="http://schemas.microsoft.com/office/drawing/2014/main" id="{40330A27-E18B-45C4-A533-178B35892A22}"/>
                    </a:ext>
                  </a:extLst>
                </p:cNvPr>
                <p:cNvSpPr>
                  <a:spLocks noEditPoints="1"/>
                </p:cNvSpPr>
                <p:nvPr/>
              </p:nvSpPr>
              <p:spPr bwMode="gray">
                <a:xfrm>
                  <a:off x="7467242" y="2738924"/>
                  <a:ext cx="551226" cy="219033"/>
                </a:xfrm>
                <a:custGeom>
                  <a:avLst/>
                  <a:gdLst>
                    <a:gd name="T0" fmla="*/ 71 w 1339"/>
                    <a:gd name="T1" fmla="*/ 62 h 532"/>
                    <a:gd name="T2" fmla="*/ 59 w 1339"/>
                    <a:gd name="T3" fmla="*/ 22 h 532"/>
                    <a:gd name="T4" fmla="*/ 113 w 1339"/>
                    <a:gd name="T5" fmla="*/ 0 h 532"/>
                    <a:gd name="T6" fmla="*/ 168 w 1339"/>
                    <a:gd name="T7" fmla="*/ 38 h 532"/>
                    <a:gd name="T8" fmla="*/ 222 w 1339"/>
                    <a:gd name="T9" fmla="*/ 95 h 532"/>
                    <a:gd name="T10" fmla="*/ 177 w 1339"/>
                    <a:gd name="T11" fmla="*/ 88 h 532"/>
                    <a:gd name="T12" fmla="*/ 75 w 1339"/>
                    <a:gd name="T13" fmla="*/ 144 h 532"/>
                    <a:gd name="T14" fmla="*/ 80 w 1339"/>
                    <a:gd name="T15" fmla="*/ 128 h 532"/>
                    <a:gd name="T16" fmla="*/ 26 w 1339"/>
                    <a:gd name="T17" fmla="*/ 116 h 532"/>
                    <a:gd name="T18" fmla="*/ 1264 w 1339"/>
                    <a:gd name="T19" fmla="*/ 409 h 532"/>
                    <a:gd name="T20" fmla="*/ 1188 w 1339"/>
                    <a:gd name="T21" fmla="*/ 421 h 532"/>
                    <a:gd name="T22" fmla="*/ 1150 w 1339"/>
                    <a:gd name="T23" fmla="*/ 409 h 532"/>
                    <a:gd name="T24" fmla="*/ 957 w 1339"/>
                    <a:gd name="T25" fmla="*/ 461 h 532"/>
                    <a:gd name="T26" fmla="*/ 827 w 1339"/>
                    <a:gd name="T27" fmla="*/ 461 h 532"/>
                    <a:gd name="T28" fmla="*/ 777 w 1339"/>
                    <a:gd name="T29" fmla="*/ 487 h 532"/>
                    <a:gd name="T30" fmla="*/ 739 w 1339"/>
                    <a:gd name="T31" fmla="*/ 532 h 532"/>
                    <a:gd name="T32" fmla="*/ 739 w 1339"/>
                    <a:gd name="T33" fmla="*/ 461 h 532"/>
                    <a:gd name="T34" fmla="*/ 701 w 1339"/>
                    <a:gd name="T35" fmla="*/ 461 h 532"/>
                    <a:gd name="T36" fmla="*/ 583 w 1339"/>
                    <a:gd name="T37" fmla="*/ 487 h 532"/>
                    <a:gd name="T38" fmla="*/ 470 w 1339"/>
                    <a:gd name="T39" fmla="*/ 499 h 532"/>
                    <a:gd name="T40" fmla="*/ 340 w 1339"/>
                    <a:gd name="T41" fmla="*/ 482 h 532"/>
                    <a:gd name="T42" fmla="*/ 243 w 1339"/>
                    <a:gd name="T43" fmla="*/ 482 h 532"/>
                    <a:gd name="T44" fmla="*/ 231 w 1339"/>
                    <a:gd name="T45" fmla="*/ 449 h 532"/>
                    <a:gd name="T46" fmla="*/ 189 w 1339"/>
                    <a:gd name="T47" fmla="*/ 444 h 532"/>
                    <a:gd name="T48" fmla="*/ 168 w 1339"/>
                    <a:gd name="T49" fmla="*/ 461 h 532"/>
                    <a:gd name="T50" fmla="*/ 125 w 1339"/>
                    <a:gd name="T51" fmla="*/ 461 h 532"/>
                    <a:gd name="T52" fmla="*/ 113 w 1339"/>
                    <a:gd name="T53" fmla="*/ 433 h 532"/>
                    <a:gd name="T54" fmla="*/ 134 w 1339"/>
                    <a:gd name="T55" fmla="*/ 409 h 532"/>
                    <a:gd name="T56" fmla="*/ 113 w 1339"/>
                    <a:gd name="T57" fmla="*/ 350 h 532"/>
                    <a:gd name="T58" fmla="*/ 42 w 1339"/>
                    <a:gd name="T59" fmla="*/ 322 h 532"/>
                    <a:gd name="T60" fmla="*/ 54 w 1339"/>
                    <a:gd name="T61" fmla="*/ 310 h 532"/>
                    <a:gd name="T62" fmla="*/ 108 w 1339"/>
                    <a:gd name="T63" fmla="*/ 310 h 532"/>
                    <a:gd name="T64" fmla="*/ 97 w 1339"/>
                    <a:gd name="T65" fmla="*/ 265 h 532"/>
                    <a:gd name="T66" fmla="*/ 92 w 1339"/>
                    <a:gd name="T67" fmla="*/ 222 h 532"/>
                    <a:gd name="T68" fmla="*/ 75 w 1339"/>
                    <a:gd name="T69" fmla="*/ 144 h 532"/>
                    <a:gd name="T70" fmla="*/ 146 w 1339"/>
                    <a:gd name="T71" fmla="*/ 133 h 532"/>
                    <a:gd name="T72" fmla="*/ 163 w 1339"/>
                    <a:gd name="T73" fmla="*/ 149 h 532"/>
                    <a:gd name="T74" fmla="*/ 269 w 1339"/>
                    <a:gd name="T75" fmla="*/ 116 h 532"/>
                    <a:gd name="T76" fmla="*/ 238 w 1339"/>
                    <a:gd name="T77" fmla="*/ 88 h 532"/>
                    <a:gd name="T78" fmla="*/ 361 w 1339"/>
                    <a:gd name="T79" fmla="*/ 88 h 532"/>
                    <a:gd name="T80" fmla="*/ 541 w 1339"/>
                    <a:gd name="T81" fmla="*/ 5 h 532"/>
                    <a:gd name="T82" fmla="*/ 692 w 1339"/>
                    <a:gd name="T83" fmla="*/ 38 h 532"/>
                    <a:gd name="T84" fmla="*/ 756 w 1339"/>
                    <a:gd name="T85" fmla="*/ 71 h 532"/>
                    <a:gd name="T86" fmla="*/ 831 w 1339"/>
                    <a:gd name="T87" fmla="*/ 88 h 532"/>
                    <a:gd name="T88" fmla="*/ 961 w 1339"/>
                    <a:gd name="T89" fmla="*/ 88 h 532"/>
                    <a:gd name="T90" fmla="*/ 1134 w 1339"/>
                    <a:gd name="T91" fmla="*/ 55 h 532"/>
                    <a:gd name="T92" fmla="*/ 1205 w 1339"/>
                    <a:gd name="T93" fmla="*/ 38 h 532"/>
                    <a:gd name="T94" fmla="*/ 1268 w 1339"/>
                    <a:gd name="T95" fmla="*/ 111 h 532"/>
                    <a:gd name="T96" fmla="*/ 1280 w 1339"/>
                    <a:gd name="T97" fmla="*/ 173 h 532"/>
                    <a:gd name="T98" fmla="*/ 1334 w 1339"/>
                    <a:gd name="T99" fmla="*/ 199 h 532"/>
                    <a:gd name="T100" fmla="*/ 1301 w 1339"/>
                    <a:gd name="T101" fmla="*/ 255 h 532"/>
                    <a:gd name="T102" fmla="*/ 1318 w 1339"/>
                    <a:gd name="T103" fmla="*/ 317 h 532"/>
                    <a:gd name="T104" fmla="*/ 1339 w 1339"/>
                    <a:gd name="T105" fmla="*/ 404 h 532"/>
                    <a:gd name="T106" fmla="*/ 1301 w 1339"/>
                    <a:gd name="T107" fmla="*/ 421 h 532"/>
                    <a:gd name="T108" fmla="*/ 1297 w 1339"/>
                    <a:gd name="T109" fmla="*/ 404 h 532"/>
                    <a:gd name="T110" fmla="*/ 134 w 1339"/>
                    <a:gd name="T111" fmla="*/ 128 h 532"/>
                    <a:gd name="T112" fmla="*/ 0 w 1339"/>
                    <a:gd name="T113" fmla="*/ 166 h 532"/>
                    <a:gd name="T114" fmla="*/ 5 w 1339"/>
                    <a:gd name="T115" fmla="*/ 166 h 532"/>
                    <a:gd name="T116" fmla="*/ 21 w 1339"/>
                    <a:gd name="T117" fmla="*/ 189 h 532"/>
                    <a:gd name="T118" fmla="*/ 26 w 1339"/>
                    <a:gd name="T119" fmla="*/ 199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39" h="532">
                      <a:moveTo>
                        <a:pt x="26" y="116"/>
                      </a:moveTo>
                      <a:lnTo>
                        <a:pt x="54" y="95"/>
                      </a:lnTo>
                      <a:lnTo>
                        <a:pt x="42" y="71"/>
                      </a:lnTo>
                      <a:lnTo>
                        <a:pt x="71" y="62"/>
                      </a:lnTo>
                      <a:lnTo>
                        <a:pt x="71" y="38"/>
                      </a:lnTo>
                      <a:lnTo>
                        <a:pt x="54" y="33"/>
                      </a:lnTo>
                      <a:lnTo>
                        <a:pt x="54" y="22"/>
                      </a:lnTo>
                      <a:lnTo>
                        <a:pt x="59" y="22"/>
                      </a:lnTo>
                      <a:lnTo>
                        <a:pt x="71" y="5"/>
                      </a:lnTo>
                      <a:lnTo>
                        <a:pt x="92" y="5"/>
                      </a:lnTo>
                      <a:lnTo>
                        <a:pt x="97" y="0"/>
                      </a:lnTo>
                      <a:lnTo>
                        <a:pt x="113" y="0"/>
                      </a:lnTo>
                      <a:lnTo>
                        <a:pt x="134" y="17"/>
                      </a:lnTo>
                      <a:lnTo>
                        <a:pt x="168" y="5"/>
                      </a:lnTo>
                      <a:lnTo>
                        <a:pt x="163" y="22"/>
                      </a:lnTo>
                      <a:lnTo>
                        <a:pt x="168" y="38"/>
                      </a:lnTo>
                      <a:lnTo>
                        <a:pt x="201" y="55"/>
                      </a:lnTo>
                      <a:lnTo>
                        <a:pt x="238" y="71"/>
                      </a:lnTo>
                      <a:lnTo>
                        <a:pt x="238" y="88"/>
                      </a:lnTo>
                      <a:lnTo>
                        <a:pt x="222" y="95"/>
                      </a:lnTo>
                      <a:lnTo>
                        <a:pt x="205" y="95"/>
                      </a:lnTo>
                      <a:lnTo>
                        <a:pt x="201" y="88"/>
                      </a:lnTo>
                      <a:lnTo>
                        <a:pt x="201" y="95"/>
                      </a:lnTo>
                      <a:lnTo>
                        <a:pt x="177" y="88"/>
                      </a:lnTo>
                      <a:lnTo>
                        <a:pt x="163" y="95"/>
                      </a:lnTo>
                      <a:lnTo>
                        <a:pt x="130" y="95"/>
                      </a:lnTo>
                      <a:lnTo>
                        <a:pt x="113" y="116"/>
                      </a:lnTo>
                      <a:lnTo>
                        <a:pt x="75" y="144"/>
                      </a:lnTo>
                      <a:lnTo>
                        <a:pt x="38" y="173"/>
                      </a:lnTo>
                      <a:lnTo>
                        <a:pt x="42" y="156"/>
                      </a:lnTo>
                      <a:lnTo>
                        <a:pt x="38" y="149"/>
                      </a:lnTo>
                      <a:lnTo>
                        <a:pt x="80" y="128"/>
                      </a:lnTo>
                      <a:lnTo>
                        <a:pt x="75" y="116"/>
                      </a:lnTo>
                      <a:lnTo>
                        <a:pt x="26" y="128"/>
                      </a:lnTo>
                      <a:lnTo>
                        <a:pt x="26" y="116"/>
                      </a:lnTo>
                      <a:lnTo>
                        <a:pt x="26" y="116"/>
                      </a:lnTo>
                      <a:lnTo>
                        <a:pt x="26" y="116"/>
                      </a:lnTo>
                      <a:close/>
                      <a:moveTo>
                        <a:pt x="1297" y="404"/>
                      </a:moveTo>
                      <a:lnTo>
                        <a:pt x="1280" y="409"/>
                      </a:lnTo>
                      <a:lnTo>
                        <a:pt x="1264" y="409"/>
                      </a:lnTo>
                      <a:lnTo>
                        <a:pt x="1226" y="392"/>
                      </a:lnTo>
                      <a:lnTo>
                        <a:pt x="1214" y="404"/>
                      </a:lnTo>
                      <a:lnTo>
                        <a:pt x="1205" y="392"/>
                      </a:lnTo>
                      <a:lnTo>
                        <a:pt x="1188" y="421"/>
                      </a:lnTo>
                      <a:lnTo>
                        <a:pt x="1171" y="421"/>
                      </a:lnTo>
                      <a:lnTo>
                        <a:pt x="1171" y="409"/>
                      </a:lnTo>
                      <a:lnTo>
                        <a:pt x="1155" y="404"/>
                      </a:lnTo>
                      <a:lnTo>
                        <a:pt x="1150" y="409"/>
                      </a:lnTo>
                      <a:lnTo>
                        <a:pt x="1117" y="421"/>
                      </a:lnTo>
                      <a:lnTo>
                        <a:pt x="1063" y="421"/>
                      </a:lnTo>
                      <a:lnTo>
                        <a:pt x="994" y="449"/>
                      </a:lnTo>
                      <a:lnTo>
                        <a:pt x="957" y="461"/>
                      </a:lnTo>
                      <a:lnTo>
                        <a:pt x="919" y="449"/>
                      </a:lnTo>
                      <a:lnTo>
                        <a:pt x="902" y="444"/>
                      </a:lnTo>
                      <a:lnTo>
                        <a:pt x="886" y="433"/>
                      </a:lnTo>
                      <a:lnTo>
                        <a:pt x="827" y="461"/>
                      </a:lnTo>
                      <a:lnTo>
                        <a:pt x="810" y="461"/>
                      </a:lnTo>
                      <a:lnTo>
                        <a:pt x="772" y="444"/>
                      </a:lnTo>
                      <a:lnTo>
                        <a:pt x="760" y="477"/>
                      </a:lnTo>
                      <a:lnTo>
                        <a:pt x="777" y="487"/>
                      </a:lnTo>
                      <a:lnTo>
                        <a:pt x="756" y="487"/>
                      </a:lnTo>
                      <a:lnTo>
                        <a:pt x="756" y="515"/>
                      </a:lnTo>
                      <a:lnTo>
                        <a:pt x="739" y="515"/>
                      </a:lnTo>
                      <a:lnTo>
                        <a:pt x="739" y="532"/>
                      </a:lnTo>
                      <a:lnTo>
                        <a:pt x="723" y="515"/>
                      </a:lnTo>
                      <a:lnTo>
                        <a:pt x="723" y="515"/>
                      </a:lnTo>
                      <a:lnTo>
                        <a:pt x="706" y="482"/>
                      </a:lnTo>
                      <a:lnTo>
                        <a:pt x="739" y="461"/>
                      </a:lnTo>
                      <a:lnTo>
                        <a:pt x="739" y="444"/>
                      </a:lnTo>
                      <a:lnTo>
                        <a:pt x="723" y="433"/>
                      </a:lnTo>
                      <a:lnTo>
                        <a:pt x="692" y="449"/>
                      </a:lnTo>
                      <a:lnTo>
                        <a:pt x="701" y="461"/>
                      </a:lnTo>
                      <a:lnTo>
                        <a:pt x="675" y="466"/>
                      </a:lnTo>
                      <a:lnTo>
                        <a:pt x="631" y="444"/>
                      </a:lnTo>
                      <a:lnTo>
                        <a:pt x="609" y="466"/>
                      </a:lnTo>
                      <a:lnTo>
                        <a:pt x="583" y="487"/>
                      </a:lnTo>
                      <a:lnTo>
                        <a:pt x="579" y="482"/>
                      </a:lnTo>
                      <a:lnTo>
                        <a:pt x="562" y="499"/>
                      </a:lnTo>
                      <a:lnTo>
                        <a:pt x="503" y="503"/>
                      </a:lnTo>
                      <a:lnTo>
                        <a:pt x="470" y="499"/>
                      </a:lnTo>
                      <a:lnTo>
                        <a:pt x="449" y="466"/>
                      </a:lnTo>
                      <a:lnTo>
                        <a:pt x="378" y="444"/>
                      </a:lnTo>
                      <a:lnTo>
                        <a:pt x="345" y="444"/>
                      </a:lnTo>
                      <a:lnTo>
                        <a:pt x="340" y="482"/>
                      </a:lnTo>
                      <a:lnTo>
                        <a:pt x="328" y="499"/>
                      </a:lnTo>
                      <a:lnTo>
                        <a:pt x="323" y="482"/>
                      </a:lnTo>
                      <a:lnTo>
                        <a:pt x="286" y="499"/>
                      </a:lnTo>
                      <a:lnTo>
                        <a:pt x="243" y="482"/>
                      </a:lnTo>
                      <a:lnTo>
                        <a:pt x="243" y="466"/>
                      </a:lnTo>
                      <a:lnTo>
                        <a:pt x="238" y="466"/>
                      </a:lnTo>
                      <a:lnTo>
                        <a:pt x="238" y="461"/>
                      </a:lnTo>
                      <a:lnTo>
                        <a:pt x="231" y="449"/>
                      </a:lnTo>
                      <a:lnTo>
                        <a:pt x="222" y="461"/>
                      </a:lnTo>
                      <a:lnTo>
                        <a:pt x="215" y="449"/>
                      </a:lnTo>
                      <a:lnTo>
                        <a:pt x="201" y="433"/>
                      </a:lnTo>
                      <a:lnTo>
                        <a:pt x="189" y="444"/>
                      </a:lnTo>
                      <a:lnTo>
                        <a:pt x="184" y="444"/>
                      </a:lnTo>
                      <a:lnTo>
                        <a:pt x="184" y="449"/>
                      </a:lnTo>
                      <a:lnTo>
                        <a:pt x="163" y="466"/>
                      </a:lnTo>
                      <a:lnTo>
                        <a:pt x="168" y="461"/>
                      </a:lnTo>
                      <a:lnTo>
                        <a:pt x="163" y="449"/>
                      </a:lnTo>
                      <a:lnTo>
                        <a:pt x="177" y="449"/>
                      </a:lnTo>
                      <a:lnTo>
                        <a:pt x="177" y="444"/>
                      </a:lnTo>
                      <a:lnTo>
                        <a:pt x="125" y="461"/>
                      </a:lnTo>
                      <a:lnTo>
                        <a:pt x="168" y="444"/>
                      </a:lnTo>
                      <a:lnTo>
                        <a:pt x="168" y="433"/>
                      </a:lnTo>
                      <a:lnTo>
                        <a:pt x="189" y="425"/>
                      </a:lnTo>
                      <a:lnTo>
                        <a:pt x="113" y="433"/>
                      </a:lnTo>
                      <a:lnTo>
                        <a:pt x="113" y="425"/>
                      </a:lnTo>
                      <a:lnTo>
                        <a:pt x="113" y="421"/>
                      </a:lnTo>
                      <a:lnTo>
                        <a:pt x="130" y="421"/>
                      </a:lnTo>
                      <a:lnTo>
                        <a:pt x="134" y="409"/>
                      </a:lnTo>
                      <a:lnTo>
                        <a:pt x="125" y="404"/>
                      </a:lnTo>
                      <a:lnTo>
                        <a:pt x="125" y="392"/>
                      </a:lnTo>
                      <a:lnTo>
                        <a:pt x="108" y="404"/>
                      </a:lnTo>
                      <a:lnTo>
                        <a:pt x="113" y="350"/>
                      </a:lnTo>
                      <a:lnTo>
                        <a:pt x="92" y="338"/>
                      </a:lnTo>
                      <a:lnTo>
                        <a:pt x="75" y="322"/>
                      </a:lnTo>
                      <a:lnTo>
                        <a:pt x="71" y="338"/>
                      </a:lnTo>
                      <a:lnTo>
                        <a:pt x="42" y="322"/>
                      </a:lnTo>
                      <a:lnTo>
                        <a:pt x="42" y="317"/>
                      </a:lnTo>
                      <a:lnTo>
                        <a:pt x="54" y="317"/>
                      </a:lnTo>
                      <a:lnTo>
                        <a:pt x="59" y="310"/>
                      </a:lnTo>
                      <a:lnTo>
                        <a:pt x="54" y="310"/>
                      </a:lnTo>
                      <a:lnTo>
                        <a:pt x="54" y="293"/>
                      </a:lnTo>
                      <a:lnTo>
                        <a:pt x="59" y="293"/>
                      </a:lnTo>
                      <a:lnTo>
                        <a:pt x="75" y="317"/>
                      </a:lnTo>
                      <a:lnTo>
                        <a:pt x="108" y="310"/>
                      </a:lnTo>
                      <a:lnTo>
                        <a:pt x="92" y="310"/>
                      </a:lnTo>
                      <a:lnTo>
                        <a:pt x="75" y="293"/>
                      </a:lnTo>
                      <a:lnTo>
                        <a:pt x="75" y="281"/>
                      </a:lnTo>
                      <a:lnTo>
                        <a:pt x="97" y="265"/>
                      </a:lnTo>
                      <a:lnTo>
                        <a:pt x="80" y="265"/>
                      </a:lnTo>
                      <a:lnTo>
                        <a:pt x="80" y="255"/>
                      </a:lnTo>
                      <a:lnTo>
                        <a:pt x="71" y="239"/>
                      </a:lnTo>
                      <a:lnTo>
                        <a:pt x="92" y="222"/>
                      </a:lnTo>
                      <a:lnTo>
                        <a:pt x="92" y="211"/>
                      </a:lnTo>
                      <a:lnTo>
                        <a:pt x="26" y="222"/>
                      </a:lnTo>
                      <a:lnTo>
                        <a:pt x="38" y="182"/>
                      </a:lnTo>
                      <a:lnTo>
                        <a:pt x="75" y="144"/>
                      </a:lnTo>
                      <a:lnTo>
                        <a:pt x="108" y="144"/>
                      </a:lnTo>
                      <a:lnTo>
                        <a:pt x="130" y="149"/>
                      </a:lnTo>
                      <a:lnTo>
                        <a:pt x="151" y="149"/>
                      </a:lnTo>
                      <a:lnTo>
                        <a:pt x="146" y="133"/>
                      </a:lnTo>
                      <a:lnTo>
                        <a:pt x="146" y="133"/>
                      </a:lnTo>
                      <a:lnTo>
                        <a:pt x="168" y="133"/>
                      </a:lnTo>
                      <a:lnTo>
                        <a:pt x="163" y="144"/>
                      </a:lnTo>
                      <a:lnTo>
                        <a:pt x="163" y="149"/>
                      </a:lnTo>
                      <a:lnTo>
                        <a:pt x="238" y="149"/>
                      </a:lnTo>
                      <a:lnTo>
                        <a:pt x="243" y="144"/>
                      </a:lnTo>
                      <a:lnTo>
                        <a:pt x="222" y="133"/>
                      </a:lnTo>
                      <a:lnTo>
                        <a:pt x="269" y="116"/>
                      </a:lnTo>
                      <a:lnTo>
                        <a:pt x="297" y="116"/>
                      </a:lnTo>
                      <a:lnTo>
                        <a:pt x="260" y="111"/>
                      </a:lnTo>
                      <a:lnTo>
                        <a:pt x="243" y="100"/>
                      </a:lnTo>
                      <a:lnTo>
                        <a:pt x="238" y="88"/>
                      </a:lnTo>
                      <a:lnTo>
                        <a:pt x="243" y="71"/>
                      </a:lnTo>
                      <a:lnTo>
                        <a:pt x="307" y="78"/>
                      </a:lnTo>
                      <a:lnTo>
                        <a:pt x="323" y="71"/>
                      </a:lnTo>
                      <a:lnTo>
                        <a:pt x="361" y="88"/>
                      </a:lnTo>
                      <a:lnTo>
                        <a:pt x="394" y="88"/>
                      </a:lnTo>
                      <a:lnTo>
                        <a:pt x="416" y="62"/>
                      </a:lnTo>
                      <a:lnTo>
                        <a:pt x="458" y="33"/>
                      </a:lnTo>
                      <a:lnTo>
                        <a:pt x="541" y="5"/>
                      </a:lnTo>
                      <a:lnTo>
                        <a:pt x="638" y="5"/>
                      </a:lnTo>
                      <a:lnTo>
                        <a:pt x="654" y="0"/>
                      </a:lnTo>
                      <a:lnTo>
                        <a:pt x="675" y="33"/>
                      </a:lnTo>
                      <a:lnTo>
                        <a:pt x="692" y="38"/>
                      </a:lnTo>
                      <a:lnTo>
                        <a:pt x="723" y="33"/>
                      </a:lnTo>
                      <a:lnTo>
                        <a:pt x="730" y="33"/>
                      </a:lnTo>
                      <a:lnTo>
                        <a:pt x="730" y="55"/>
                      </a:lnTo>
                      <a:lnTo>
                        <a:pt x="756" y="71"/>
                      </a:lnTo>
                      <a:lnTo>
                        <a:pt x="782" y="62"/>
                      </a:lnTo>
                      <a:lnTo>
                        <a:pt x="798" y="71"/>
                      </a:lnTo>
                      <a:lnTo>
                        <a:pt x="798" y="78"/>
                      </a:lnTo>
                      <a:lnTo>
                        <a:pt x="831" y="88"/>
                      </a:lnTo>
                      <a:lnTo>
                        <a:pt x="848" y="78"/>
                      </a:lnTo>
                      <a:lnTo>
                        <a:pt x="853" y="95"/>
                      </a:lnTo>
                      <a:lnTo>
                        <a:pt x="890" y="100"/>
                      </a:lnTo>
                      <a:lnTo>
                        <a:pt x="961" y="88"/>
                      </a:lnTo>
                      <a:lnTo>
                        <a:pt x="1016" y="100"/>
                      </a:lnTo>
                      <a:lnTo>
                        <a:pt x="1101" y="62"/>
                      </a:lnTo>
                      <a:lnTo>
                        <a:pt x="1117" y="45"/>
                      </a:lnTo>
                      <a:lnTo>
                        <a:pt x="1134" y="55"/>
                      </a:lnTo>
                      <a:lnTo>
                        <a:pt x="1150" y="45"/>
                      </a:lnTo>
                      <a:lnTo>
                        <a:pt x="1176" y="55"/>
                      </a:lnTo>
                      <a:lnTo>
                        <a:pt x="1188" y="38"/>
                      </a:lnTo>
                      <a:lnTo>
                        <a:pt x="1205" y="38"/>
                      </a:lnTo>
                      <a:lnTo>
                        <a:pt x="1231" y="78"/>
                      </a:lnTo>
                      <a:lnTo>
                        <a:pt x="1242" y="78"/>
                      </a:lnTo>
                      <a:lnTo>
                        <a:pt x="1247" y="78"/>
                      </a:lnTo>
                      <a:lnTo>
                        <a:pt x="1268" y="111"/>
                      </a:lnTo>
                      <a:lnTo>
                        <a:pt x="1259" y="144"/>
                      </a:lnTo>
                      <a:lnTo>
                        <a:pt x="1264" y="166"/>
                      </a:lnTo>
                      <a:lnTo>
                        <a:pt x="1264" y="166"/>
                      </a:lnTo>
                      <a:lnTo>
                        <a:pt x="1280" y="173"/>
                      </a:lnTo>
                      <a:lnTo>
                        <a:pt x="1311" y="173"/>
                      </a:lnTo>
                      <a:lnTo>
                        <a:pt x="1339" y="206"/>
                      </a:lnTo>
                      <a:lnTo>
                        <a:pt x="1339" y="206"/>
                      </a:lnTo>
                      <a:lnTo>
                        <a:pt x="1334" y="199"/>
                      </a:lnTo>
                      <a:lnTo>
                        <a:pt x="1318" y="206"/>
                      </a:lnTo>
                      <a:lnTo>
                        <a:pt x="1318" y="227"/>
                      </a:lnTo>
                      <a:lnTo>
                        <a:pt x="1285" y="227"/>
                      </a:lnTo>
                      <a:lnTo>
                        <a:pt x="1301" y="255"/>
                      </a:lnTo>
                      <a:lnTo>
                        <a:pt x="1301" y="265"/>
                      </a:lnTo>
                      <a:lnTo>
                        <a:pt x="1311" y="277"/>
                      </a:lnTo>
                      <a:lnTo>
                        <a:pt x="1311" y="317"/>
                      </a:lnTo>
                      <a:lnTo>
                        <a:pt x="1318" y="317"/>
                      </a:lnTo>
                      <a:lnTo>
                        <a:pt x="1301" y="355"/>
                      </a:lnTo>
                      <a:lnTo>
                        <a:pt x="1334" y="371"/>
                      </a:lnTo>
                      <a:lnTo>
                        <a:pt x="1323" y="392"/>
                      </a:lnTo>
                      <a:lnTo>
                        <a:pt x="1339" y="404"/>
                      </a:lnTo>
                      <a:lnTo>
                        <a:pt x="1339" y="421"/>
                      </a:lnTo>
                      <a:lnTo>
                        <a:pt x="1334" y="409"/>
                      </a:lnTo>
                      <a:lnTo>
                        <a:pt x="1311" y="433"/>
                      </a:lnTo>
                      <a:lnTo>
                        <a:pt x="1301" y="421"/>
                      </a:lnTo>
                      <a:lnTo>
                        <a:pt x="1301" y="409"/>
                      </a:lnTo>
                      <a:lnTo>
                        <a:pt x="1297" y="404"/>
                      </a:lnTo>
                      <a:lnTo>
                        <a:pt x="1297" y="404"/>
                      </a:lnTo>
                      <a:lnTo>
                        <a:pt x="1297" y="404"/>
                      </a:lnTo>
                      <a:close/>
                      <a:moveTo>
                        <a:pt x="134" y="128"/>
                      </a:moveTo>
                      <a:lnTo>
                        <a:pt x="130" y="128"/>
                      </a:lnTo>
                      <a:lnTo>
                        <a:pt x="146" y="128"/>
                      </a:lnTo>
                      <a:lnTo>
                        <a:pt x="134" y="128"/>
                      </a:lnTo>
                      <a:lnTo>
                        <a:pt x="134" y="128"/>
                      </a:lnTo>
                      <a:lnTo>
                        <a:pt x="134" y="128"/>
                      </a:lnTo>
                      <a:close/>
                      <a:moveTo>
                        <a:pt x="5" y="166"/>
                      </a:moveTo>
                      <a:lnTo>
                        <a:pt x="0" y="166"/>
                      </a:lnTo>
                      <a:lnTo>
                        <a:pt x="5" y="156"/>
                      </a:lnTo>
                      <a:lnTo>
                        <a:pt x="21" y="156"/>
                      </a:lnTo>
                      <a:lnTo>
                        <a:pt x="21" y="166"/>
                      </a:lnTo>
                      <a:lnTo>
                        <a:pt x="5" y="166"/>
                      </a:lnTo>
                      <a:lnTo>
                        <a:pt x="5" y="166"/>
                      </a:lnTo>
                      <a:lnTo>
                        <a:pt x="5" y="166"/>
                      </a:lnTo>
                      <a:close/>
                      <a:moveTo>
                        <a:pt x="26" y="199"/>
                      </a:moveTo>
                      <a:lnTo>
                        <a:pt x="21" y="189"/>
                      </a:lnTo>
                      <a:lnTo>
                        <a:pt x="26" y="189"/>
                      </a:lnTo>
                      <a:lnTo>
                        <a:pt x="26" y="199"/>
                      </a:lnTo>
                      <a:lnTo>
                        <a:pt x="26" y="199"/>
                      </a:lnTo>
                      <a:lnTo>
                        <a:pt x="26" y="19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7" name="Freeform 577">
                  <a:extLst>
                    <a:ext uri="{FF2B5EF4-FFF2-40B4-BE49-F238E27FC236}">
                      <a16:creationId xmlns:a16="http://schemas.microsoft.com/office/drawing/2014/main" id="{71438A43-7596-48D4-9C5D-091CCD0D9BB1}"/>
                    </a:ext>
                  </a:extLst>
                </p:cNvPr>
                <p:cNvSpPr>
                  <a:spLocks/>
                </p:cNvSpPr>
                <p:nvPr/>
              </p:nvSpPr>
              <p:spPr bwMode="gray">
                <a:xfrm>
                  <a:off x="8241181" y="2712986"/>
                  <a:ext cx="409611" cy="264321"/>
                </a:xfrm>
                <a:custGeom>
                  <a:avLst/>
                  <a:gdLst>
                    <a:gd name="T0" fmla="*/ 926 w 995"/>
                    <a:gd name="T1" fmla="*/ 453 h 642"/>
                    <a:gd name="T2" fmla="*/ 860 w 995"/>
                    <a:gd name="T3" fmla="*/ 486 h 642"/>
                    <a:gd name="T4" fmla="*/ 806 w 995"/>
                    <a:gd name="T5" fmla="*/ 571 h 642"/>
                    <a:gd name="T6" fmla="*/ 747 w 995"/>
                    <a:gd name="T7" fmla="*/ 609 h 642"/>
                    <a:gd name="T8" fmla="*/ 699 w 995"/>
                    <a:gd name="T9" fmla="*/ 637 h 642"/>
                    <a:gd name="T10" fmla="*/ 640 w 995"/>
                    <a:gd name="T11" fmla="*/ 621 h 642"/>
                    <a:gd name="T12" fmla="*/ 607 w 995"/>
                    <a:gd name="T13" fmla="*/ 526 h 642"/>
                    <a:gd name="T14" fmla="*/ 494 w 995"/>
                    <a:gd name="T15" fmla="*/ 477 h 642"/>
                    <a:gd name="T16" fmla="*/ 409 w 995"/>
                    <a:gd name="T17" fmla="*/ 437 h 642"/>
                    <a:gd name="T18" fmla="*/ 333 w 995"/>
                    <a:gd name="T19" fmla="*/ 387 h 642"/>
                    <a:gd name="T20" fmla="*/ 279 w 995"/>
                    <a:gd name="T21" fmla="*/ 387 h 642"/>
                    <a:gd name="T22" fmla="*/ 262 w 995"/>
                    <a:gd name="T23" fmla="*/ 403 h 642"/>
                    <a:gd name="T24" fmla="*/ 161 w 995"/>
                    <a:gd name="T25" fmla="*/ 453 h 642"/>
                    <a:gd name="T26" fmla="*/ 102 w 995"/>
                    <a:gd name="T27" fmla="*/ 470 h 642"/>
                    <a:gd name="T28" fmla="*/ 106 w 995"/>
                    <a:gd name="T29" fmla="*/ 333 h 642"/>
                    <a:gd name="T30" fmla="*/ 47 w 995"/>
                    <a:gd name="T31" fmla="*/ 292 h 642"/>
                    <a:gd name="T32" fmla="*/ 52 w 995"/>
                    <a:gd name="T33" fmla="*/ 271 h 642"/>
                    <a:gd name="T34" fmla="*/ 90 w 995"/>
                    <a:gd name="T35" fmla="*/ 288 h 642"/>
                    <a:gd name="T36" fmla="*/ 31 w 995"/>
                    <a:gd name="T37" fmla="*/ 248 h 642"/>
                    <a:gd name="T38" fmla="*/ 17 w 995"/>
                    <a:gd name="T39" fmla="*/ 210 h 642"/>
                    <a:gd name="T40" fmla="*/ 47 w 995"/>
                    <a:gd name="T41" fmla="*/ 177 h 642"/>
                    <a:gd name="T42" fmla="*/ 90 w 995"/>
                    <a:gd name="T43" fmla="*/ 193 h 642"/>
                    <a:gd name="T44" fmla="*/ 135 w 995"/>
                    <a:gd name="T45" fmla="*/ 160 h 642"/>
                    <a:gd name="T46" fmla="*/ 161 w 995"/>
                    <a:gd name="T47" fmla="*/ 153 h 642"/>
                    <a:gd name="T48" fmla="*/ 90 w 995"/>
                    <a:gd name="T49" fmla="*/ 54 h 642"/>
                    <a:gd name="T50" fmla="*/ 26 w 995"/>
                    <a:gd name="T51" fmla="*/ 99 h 642"/>
                    <a:gd name="T52" fmla="*/ 31 w 995"/>
                    <a:gd name="T53" fmla="*/ 153 h 642"/>
                    <a:gd name="T54" fmla="*/ 10 w 995"/>
                    <a:gd name="T55" fmla="*/ 103 h 642"/>
                    <a:gd name="T56" fmla="*/ 69 w 995"/>
                    <a:gd name="T57" fmla="*/ 49 h 642"/>
                    <a:gd name="T58" fmla="*/ 177 w 995"/>
                    <a:gd name="T59" fmla="*/ 87 h 642"/>
                    <a:gd name="T60" fmla="*/ 321 w 995"/>
                    <a:gd name="T61" fmla="*/ 137 h 642"/>
                    <a:gd name="T62" fmla="*/ 317 w 995"/>
                    <a:gd name="T63" fmla="*/ 82 h 642"/>
                    <a:gd name="T64" fmla="*/ 392 w 995"/>
                    <a:gd name="T65" fmla="*/ 26 h 642"/>
                    <a:gd name="T66" fmla="*/ 425 w 995"/>
                    <a:gd name="T67" fmla="*/ 49 h 642"/>
                    <a:gd name="T68" fmla="*/ 425 w 995"/>
                    <a:gd name="T69" fmla="*/ 16 h 642"/>
                    <a:gd name="T70" fmla="*/ 468 w 995"/>
                    <a:gd name="T71" fmla="*/ 26 h 642"/>
                    <a:gd name="T72" fmla="*/ 532 w 995"/>
                    <a:gd name="T73" fmla="*/ 49 h 642"/>
                    <a:gd name="T74" fmla="*/ 532 w 995"/>
                    <a:gd name="T75" fmla="*/ 87 h 642"/>
                    <a:gd name="T76" fmla="*/ 539 w 995"/>
                    <a:gd name="T77" fmla="*/ 127 h 642"/>
                    <a:gd name="T78" fmla="*/ 619 w 995"/>
                    <a:gd name="T79" fmla="*/ 144 h 642"/>
                    <a:gd name="T80" fmla="*/ 678 w 995"/>
                    <a:gd name="T81" fmla="*/ 193 h 642"/>
                    <a:gd name="T82" fmla="*/ 780 w 995"/>
                    <a:gd name="T83" fmla="*/ 292 h 642"/>
                    <a:gd name="T84" fmla="*/ 834 w 995"/>
                    <a:gd name="T85" fmla="*/ 326 h 642"/>
                    <a:gd name="T86" fmla="*/ 995 w 995"/>
                    <a:gd name="T87" fmla="*/ 415 h 642"/>
                    <a:gd name="T88" fmla="*/ 985 w 995"/>
                    <a:gd name="T89" fmla="*/ 460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5" h="642">
                      <a:moveTo>
                        <a:pt x="985" y="460"/>
                      </a:moveTo>
                      <a:lnTo>
                        <a:pt x="969" y="470"/>
                      </a:lnTo>
                      <a:lnTo>
                        <a:pt x="926" y="453"/>
                      </a:lnTo>
                      <a:lnTo>
                        <a:pt x="914" y="477"/>
                      </a:lnTo>
                      <a:lnTo>
                        <a:pt x="888" y="477"/>
                      </a:lnTo>
                      <a:lnTo>
                        <a:pt x="860" y="486"/>
                      </a:lnTo>
                      <a:lnTo>
                        <a:pt x="860" y="498"/>
                      </a:lnTo>
                      <a:lnTo>
                        <a:pt x="839" y="552"/>
                      </a:lnTo>
                      <a:lnTo>
                        <a:pt x="806" y="571"/>
                      </a:lnTo>
                      <a:lnTo>
                        <a:pt x="747" y="588"/>
                      </a:lnTo>
                      <a:lnTo>
                        <a:pt x="747" y="604"/>
                      </a:lnTo>
                      <a:lnTo>
                        <a:pt x="747" y="609"/>
                      </a:lnTo>
                      <a:lnTo>
                        <a:pt x="747" y="621"/>
                      </a:lnTo>
                      <a:lnTo>
                        <a:pt x="716" y="637"/>
                      </a:lnTo>
                      <a:lnTo>
                        <a:pt x="699" y="637"/>
                      </a:lnTo>
                      <a:lnTo>
                        <a:pt x="683" y="642"/>
                      </a:lnTo>
                      <a:lnTo>
                        <a:pt x="671" y="621"/>
                      </a:lnTo>
                      <a:lnTo>
                        <a:pt x="640" y="621"/>
                      </a:lnTo>
                      <a:lnTo>
                        <a:pt x="624" y="604"/>
                      </a:lnTo>
                      <a:lnTo>
                        <a:pt x="619" y="609"/>
                      </a:lnTo>
                      <a:lnTo>
                        <a:pt x="607" y="526"/>
                      </a:lnTo>
                      <a:lnTo>
                        <a:pt x="548" y="526"/>
                      </a:lnTo>
                      <a:lnTo>
                        <a:pt x="532" y="493"/>
                      </a:lnTo>
                      <a:lnTo>
                        <a:pt x="494" y="477"/>
                      </a:lnTo>
                      <a:lnTo>
                        <a:pt x="477" y="453"/>
                      </a:lnTo>
                      <a:lnTo>
                        <a:pt x="456" y="437"/>
                      </a:lnTo>
                      <a:lnTo>
                        <a:pt x="409" y="437"/>
                      </a:lnTo>
                      <a:lnTo>
                        <a:pt x="404" y="432"/>
                      </a:lnTo>
                      <a:lnTo>
                        <a:pt x="350" y="415"/>
                      </a:lnTo>
                      <a:lnTo>
                        <a:pt x="333" y="387"/>
                      </a:lnTo>
                      <a:lnTo>
                        <a:pt x="321" y="399"/>
                      </a:lnTo>
                      <a:lnTo>
                        <a:pt x="300" y="387"/>
                      </a:lnTo>
                      <a:lnTo>
                        <a:pt x="279" y="387"/>
                      </a:lnTo>
                      <a:lnTo>
                        <a:pt x="269" y="399"/>
                      </a:lnTo>
                      <a:lnTo>
                        <a:pt x="269" y="403"/>
                      </a:lnTo>
                      <a:lnTo>
                        <a:pt x="262" y="403"/>
                      </a:lnTo>
                      <a:lnTo>
                        <a:pt x="210" y="403"/>
                      </a:lnTo>
                      <a:lnTo>
                        <a:pt x="173" y="432"/>
                      </a:lnTo>
                      <a:lnTo>
                        <a:pt x="161" y="453"/>
                      </a:lnTo>
                      <a:lnTo>
                        <a:pt x="156" y="460"/>
                      </a:lnTo>
                      <a:lnTo>
                        <a:pt x="123" y="470"/>
                      </a:lnTo>
                      <a:lnTo>
                        <a:pt x="102" y="470"/>
                      </a:lnTo>
                      <a:lnTo>
                        <a:pt x="90" y="420"/>
                      </a:lnTo>
                      <a:lnTo>
                        <a:pt x="90" y="366"/>
                      </a:lnTo>
                      <a:lnTo>
                        <a:pt x="106" y="333"/>
                      </a:lnTo>
                      <a:lnTo>
                        <a:pt x="85" y="321"/>
                      </a:lnTo>
                      <a:lnTo>
                        <a:pt x="80" y="304"/>
                      </a:lnTo>
                      <a:lnTo>
                        <a:pt x="47" y="292"/>
                      </a:lnTo>
                      <a:lnTo>
                        <a:pt x="47" y="309"/>
                      </a:lnTo>
                      <a:lnTo>
                        <a:pt x="47" y="288"/>
                      </a:lnTo>
                      <a:lnTo>
                        <a:pt x="52" y="271"/>
                      </a:lnTo>
                      <a:lnTo>
                        <a:pt x="52" y="288"/>
                      </a:lnTo>
                      <a:lnTo>
                        <a:pt x="80" y="288"/>
                      </a:lnTo>
                      <a:lnTo>
                        <a:pt x="90" y="288"/>
                      </a:lnTo>
                      <a:lnTo>
                        <a:pt x="69" y="271"/>
                      </a:lnTo>
                      <a:lnTo>
                        <a:pt x="80" y="248"/>
                      </a:lnTo>
                      <a:lnTo>
                        <a:pt x="31" y="248"/>
                      </a:lnTo>
                      <a:lnTo>
                        <a:pt x="38" y="264"/>
                      </a:lnTo>
                      <a:lnTo>
                        <a:pt x="17" y="238"/>
                      </a:lnTo>
                      <a:lnTo>
                        <a:pt x="17" y="210"/>
                      </a:lnTo>
                      <a:lnTo>
                        <a:pt x="31" y="181"/>
                      </a:lnTo>
                      <a:lnTo>
                        <a:pt x="31" y="153"/>
                      </a:lnTo>
                      <a:lnTo>
                        <a:pt x="47" y="177"/>
                      </a:lnTo>
                      <a:lnTo>
                        <a:pt x="69" y="181"/>
                      </a:lnTo>
                      <a:lnTo>
                        <a:pt x="80" y="165"/>
                      </a:lnTo>
                      <a:lnTo>
                        <a:pt x="90" y="193"/>
                      </a:lnTo>
                      <a:lnTo>
                        <a:pt x="139" y="181"/>
                      </a:lnTo>
                      <a:lnTo>
                        <a:pt x="123" y="165"/>
                      </a:lnTo>
                      <a:lnTo>
                        <a:pt x="135" y="160"/>
                      </a:lnTo>
                      <a:lnTo>
                        <a:pt x="139" y="177"/>
                      </a:lnTo>
                      <a:lnTo>
                        <a:pt x="156" y="165"/>
                      </a:lnTo>
                      <a:lnTo>
                        <a:pt x="161" y="153"/>
                      </a:lnTo>
                      <a:lnTo>
                        <a:pt x="118" y="120"/>
                      </a:lnTo>
                      <a:lnTo>
                        <a:pt x="102" y="66"/>
                      </a:lnTo>
                      <a:lnTo>
                        <a:pt x="90" y="54"/>
                      </a:lnTo>
                      <a:lnTo>
                        <a:pt x="47" y="66"/>
                      </a:lnTo>
                      <a:lnTo>
                        <a:pt x="31" y="70"/>
                      </a:lnTo>
                      <a:lnTo>
                        <a:pt x="26" y="99"/>
                      </a:lnTo>
                      <a:lnTo>
                        <a:pt x="31" y="99"/>
                      </a:lnTo>
                      <a:lnTo>
                        <a:pt x="26" y="120"/>
                      </a:lnTo>
                      <a:lnTo>
                        <a:pt x="31" y="153"/>
                      </a:lnTo>
                      <a:lnTo>
                        <a:pt x="26" y="127"/>
                      </a:lnTo>
                      <a:lnTo>
                        <a:pt x="10" y="111"/>
                      </a:lnTo>
                      <a:lnTo>
                        <a:pt x="10" y="103"/>
                      </a:lnTo>
                      <a:lnTo>
                        <a:pt x="0" y="99"/>
                      </a:lnTo>
                      <a:lnTo>
                        <a:pt x="38" y="54"/>
                      </a:lnTo>
                      <a:lnTo>
                        <a:pt x="69" y="49"/>
                      </a:lnTo>
                      <a:lnTo>
                        <a:pt x="123" y="37"/>
                      </a:lnTo>
                      <a:lnTo>
                        <a:pt x="177" y="82"/>
                      </a:lnTo>
                      <a:lnTo>
                        <a:pt x="177" y="87"/>
                      </a:lnTo>
                      <a:lnTo>
                        <a:pt x="210" y="137"/>
                      </a:lnTo>
                      <a:lnTo>
                        <a:pt x="246" y="127"/>
                      </a:lnTo>
                      <a:lnTo>
                        <a:pt x="321" y="137"/>
                      </a:lnTo>
                      <a:lnTo>
                        <a:pt x="321" y="127"/>
                      </a:lnTo>
                      <a:lnTo>
                        <a:pt x="317" y="99"/>
                      </a:lnTo>
                      <a:lnTo>
                        <a:pt x="317" y="82"/>
                      </a:lnTo>
                      <a:lnTo>
                        <a:pt x="350" y="54"/>
                      </a:lnTo>
                      <a:lnTo>
                        <a:pt x="376" y="54"/>
                      </a:lnTo>
                      <a:lnTo>
                        <a:pt x="392" y="26"/>
                      </a:lnTo>
                      <a:lnTo>
                        <a:pt x="409" y="33"/>
                      </a:lnTo>
                      <a:lnTo>
                        <a:pt x="413" y="49"/>
                      </a:lnTo>
                      <a:lnTo>
                        <a:pt x="425" y="49"/>
                      </a:lnTo>
                      <a:lnTo>
                        <a:pt x="404" y="16"/>
                      </a:lnTo>
                      <a:lnTo>
                        <a:pt x="409" y="9"/>
                      </a:lnTo>
                      <a:lnTo>
                        <a:pt x="425" y="16"/>
                      </a:lnTo>
                      <a:lnTo>
                        <a:pt x="430" y="0"/>
                      </a:lnTo>
                      <a:lnTo>
                        <a:pt x="456" y="26"/>
                      </a:lnTo>
                      <a:lnTo>
                        <a:pt x="468" y="26"/>
                      </a:lnTo>
                      <a:lnTo>
                        <a:pt x="477" y="37"/>
                      </a:lnTo>
                      <a:lnTo>
                        <a:pt x="515" y="37"/>
                      </a:lnTo>
                      <a:lnTo>
                        <a:pt x="532" y="49"/>
                      </a:lnTo>
                      <a:lnTo>
                        <a:pt x="532" y="66"/>
                      </a:lnTo>
                      <a:lnTo>
                        <a:pt x="548" y="87"/>
                      </a:lnTo>
                      <a:lnTo>
                        <a:pt x="532" y="87"/>
                      </a:lnTo>
                      <a:lnTo>
                        <a:pt x="539" y="103"/>
                      </a:lnTo>
                      <a:lnTo>
                        <a:pt x="532" y="120"/>
                      </a:lnTo>
                      <a:lnTo>
                        <a:pt x="539" y="127"/>
                      </a:lnTo>
                      <a:lnTo>
                        <a:pt x="565" y="137"/>
                      </a:lnTo>
                      <a:lnTo>
                        <a:pt x="591" y="137"/>
                      </a:lnTo>
                      <a:lnTo>
                        <a:pt x="619" y="144"/>
                      </a:lnTo>
                      <a:lnTo>
                        <a:pt x="628" y="127"/>
                      </a:lnTo>
                      <a:lnTo>
                        <a:pt x="662" y="144"/>
                      </a:lnTo>
                      <a:lnTo>
                        <a:pt x="678" y="193"/>
                      </a:lnTo>
                      <a:lnTo>
                        <a:pt x="695" y="210"/>
                      </a:lnTo>
                      <a:lnTo>
                        <a:pt x="699" y="238"/>
                      </a:lnTo>
                      <a:lnTo>
                        <a:pt x="780" y="292"/>
                      </a:lnTo>
                      <a:lnTo>
                        <a:pt x="784" y="309"/>
                      </a:lnTo>
                      <a:lnTo>
                        <a:pt x="817" y="333"/>
                      </a:lnTo>
                      <a:lnTo>
                        <a:pt x="834" y="326"/>
                      </a:lnTo>
                      <a:lnTo>
                        <a:pt x="914" y="387"/>
                      </a:lnTo>
                      <a:lnTo>
                        <a:pt x="940" y="387"/>
                      </a:lnTo>
                      <a:lnTo>
                        <a:pt x="995" y="415"/>
                      </a:lnTo>
                      <a:lnTo>
                        <a:pt x="985" y="432"/>
                      </a:lnTo>
                      <a:lnTo>
                        <a:pt x="985" y="460"/>
                      </a:lnTo>
                      <a:lnTo>
                        <a:pt x="985" y="460"/>
                      </a:lnTo>
                      <a:lnTo>
                        <a:pt x="985" y="46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8" name="Freeform 580">
                  <a:extLst>
                    <a:ext uri="{FF2B5EF4-FFF2-40B4-BE49-F238E27FC236}">
                      <a16:creationId xmlns:a16="http://schemas.microsoft.com/office/drawing/2014/main" id="{CC847C2B-3C9A-4876-B64C-D4689657A3D4}"/>
                    </a:ext>
                  </a:extLst>
                </p:cNvPr>
                <p:cNvSpPr>
                  <a:spLocks noEditPoints="1"/>
                </p:cNvSpPr>
                <p:nvPr/>
              </p:nvSpPr>
              <p:spPr bwMode="gray">
                <a:xfrm>
                  <a:off x="6489938" y="1994953"/>
                  <a:ext cx="288581" cy="448359"/>
                </a:xfrm>
                <a:custGeom>
                  <a:avLst/>
                  <a:gdLst>
                    <a:gd name="T0" fmla="*/ 494 w 701"/>
                    <a:gd name="T1" fmla="*/ 38 h 1089"/>
                    <a:gd name="T2" fmla="*/ 494 w 701"/>
                    <a:gd name="T3" fmla="*/ 71 h 1089"/>
                    <a:gd name="T4" fmla="*/ 472 w 701"/>
                    <a:gd name="T5" fmla="*/ 71 h 1089"/>
                    <a:gd name="T6" fmla="*/ 489 w 701"/>
                    <a:gd name="T7" fmla="*/ 62 h 1089"/>
                    <a:gd name="T8" fmla="*/ 375 w 701"/>
                    <a:gd name="T9" fmla="*/ 206 h 1089"/>
                    <a:gd name="T10" fmla="*/ 347 w 701"/>
                    <a:gd name="T11" fmla="*/ 222 h 1089"/>
                    <a:gd name="T12" fmla="*/ 375 w 701"/>
                    <a:gd name="T13" fmla="*/ 215 h 1089"/>
                    <a:gd name="T14" fmla="*/ 201 w 701"/>
                    <a:gd name="T15" fmla="*/ 907 h 1089"/>
                    <a:gd name="T16" fmla="*/ 342 w 701"/>
                    <a:gd name="T17" fmla="*/ 770 h 1089"/>
                    <a:gd name="T18" fmla="*/ 375 w 701"/>
                    <a:gd name="T19" fmla="*/ 737 h 1089"/>
                    <a:gd name="T20" fmla="*/ 359 w 701"/>
                    <a:gd name="T21" fmla="*/ 610 h 1089"/>
                    <a:gd name="T22" fmla="*/ 234 w 701"/>
                    <a:gd name="T23" fmla="*/ 643 h 1089"/>
                    <a:gd name="T24" fmla="*/ 234 w 701"/>
                    <a:gd name="T25" fmla="*/ 503 h 1089"/>
                    <a:gd name="T26" fmla="*/ 217 w 701"/>
                    <a:gd name="T27" fmla="*/ 482 h 1089"/>
                    <a:gd name="T28" fmla="*/ 179 w 701"/>
                    <a:gd name="T29" fmla="*/ 499 h 1089"/>
                    <a:gd name="T30" fmla="*/ 196 w 701"/>
                    <a:gd name="T31" fmla="*/ 459 h 1089"/>
                    <a:gd name="T32" fmla="*/ 163 w 701"/>
                    <a:gd name="T33" fmla="*/ 425 h 1089"/>
                    <a:gd name="T34" fmla="*/ 170 w 701"/>
                    <a:gd name="T35" fmla="*/ 392 h 1089"/>
                    <a:gd name="T36" fmla="*/ 163 w 701"/>
                    <a:gd name="T37" fmla="*/ 350 h 1089"/>
                    <a:gd name="T38" fmla="*/ 184 w 701"/>
                    <a:gd name="T39" fmla="*/ 293 h 1089"/>
                    <a:gd name="T40" fmla="*/ 250 w 701"/>
                    <a:gd name="T41" fmla="*/ 239 h 1089"/>
                    <a:gd name="T42" fmla="*/ 288 w 701"/>
                    <a:gd name="T43" fmla="*/ 317 h 1089"/>
                    <a:gd name="T44" fmla="*/ 430 w 701"/>
                    <a:gd name="T45" fmla="*/ 333 h 1089"/>
                    <a:gd name="T46" fmla="*/ 375 w 701"/>
                    <a:gd name="T47" fmla="*/ 459 h 1089"/>
                    <a:gd name="T48" fmla="*/ 456 w 701"/>
                    <a:gd name="T49" fmla="*/ 548 h 1089"/>
                    <a:gd name="T50" fmla="*/ 581 w 701"/>
                    <a:gd name="T51" fmla="*/ 754 h 1089"/>
                    <a:gd name="T52" fmla="*/ 614 w 701"/>
                    <a:gd name="T53" fmla="*/ 808 h 1089"/>
                    <a:gd name="T54" fmla="*/ 668 w 701"/>
                    <a:gd name="T55" fmla="*/ 907 h 1089"/>
                    <a:gd name="T56" fmla="*/ 614 w 701"/>
                    <a:gd name="T57" fmla="*/ 957 h 1089"/>
                    <a:gd name="T58" fmla="*/ 522 w 701"/>
                    <a:gd name="T59" fmla="*/ 1018 h 1089"/>
                    <a:gd name="T60" fmla="*/ 364 w 701"/>
                    <a:gd name="T61" fmla="*/ 1018 h 1089"/>
                    <a:gd name="T62" fmla="*/ 212 w 701"/>
                    <a:gd name="T63" fmla="*/ 1089 h 1089"/>
                    <a:gd name="T64" fmla="*/ 255 w 701"/>
                    <a:gd name="T65" fmla="*/ 1018 h 1089"/>
                    <a:gd name="T66" fmla="*/ 342 w 701"/>
                    <a:gd name="T67" fmla="*/ 957 h 1089"/>
                    <a:gd name="T68" fmla="*/ 217 w 701"/>
                    <a:gd name="T69" fmla="*/ 936 h 1089"/>
                    <a:gd name="T70" fmla="*/ 104 w 701"/>
                    <a:gd name="T71" fmla="*/ 317 h 1089"/>
                    <a:gd name="T72" fmla="*/ 87 w 701"/>
                    <a:gd name="T73" fmla="*/ 277 h 1089"/>
                    <a:gd name="T74" fmla="*/ 142 w 701"/>
                    <a:gd name="T75" fmla="*/ 277 h 1089"/>
                    <a:gd name="T76" fmla="*/ 38 w 701"/>
                    <a:gd name="T77" fmla="*/ 338 h 1089"/>
                    <a:gd name="T78" fmla="*/ 146 w 701"/>
                    <a:gd name="T79" fmla="*/ 388 h 1089"/>
                    <a:gd name="T80" fmla="*/ 108 w 701"/>
                    <a:gd name="T81" fmla="*/ 338 h 1089"/>
                    <a:gd name="T82" fmla="*/ 163 w 701"/>
                    <a:gd name="T83" fmla="*/ 392 h 1089"/>
                    <a:gd name="T84" fmla="*/ 61 w 701"/>
                    <a:gd name="T85" fmla="*/ 392 h 1089"/>
                    <a:gd name="T86" fmla="*/ 49 w 701"/>
                    <a:gd name="T87" fmla="*/ 409 h 1089"/>
                    <a:gd name="T88" fmla="*/ 116 w 701"/>
                    <a:gd name="T89" fmla="*/ 404 h 1089"/>
                    <a:gd name="T90" fmla="*/ 142 w 701"/>
                    <a:gd name="T91" fmla="*/ 421 h 1089"/>
                    <a:gd name="T92" fmla="*/ 146 w 701"/>
                    <a:gd name="T93" fmla="*/ 466 h 1089"/>
                    <a:gd name="T94" fmla="*/ 78 w 701"/>
                    <a:gd name="T95" fmla="*/ 459 h 1089"/>
                    <a:gd name="T96" fmla="*/ 170 w 701"/>
                    <a:gd name="T97" fmla="*/ 492 h 1089"/>
                    <a:gd name="T98" fmla="*/ 142 w 701"/>
                    <a:gd name="T99" fmla="*/ 503 h 1089"/>
                    <a:gd name="T100" fmla="*/ 130 w 701"/>
                    <a:gd name="T101" fmla="*/ 548 h 1089"/>
                    <a:gd name="T102" fmla="*/ 217 w 701"/>
                    <a:gd name="T103" fmla="*/ 536 h 1089"/>
                    <a:gd name="T104" fmla="*/ 212 w 701"/>
                    <a:gd name="T105" fmla="*/ 560 h 1089"/>
                    <a:gd name="T106" fmla="*/ 38 w 701"/>
                    <a:gd name="T107" fmla="*/ 631 h 1089"/>
                    <a:gd name="T108" fmla="*/ 158 w 701"/>
                    <a:gd name="T109" fmla="*/ 647 h 1089"/>
                    <a:gd name="T110" fmla="*/ 158 w 701"/>
                    <a:gd name="T111" fmla="*/ 697 h 1089"/>
                    <a:gd name="T112" fmla="*/ 250 w 701"/>
                    <a:gd name="T113" fmla="*/ 770 h 1089"/>
                    <a:gd name="T114" fmla="*/ 635 w 701"/>
                    <a:gd name="T115" fmla="*/ 957 h 1089"/>
                    <a:gd name="T116" fmla="*/ 484 w 701"/>
                    <a:gd name="T117" fmla="*/ 1035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1" h="1089">
                      <a:moveTo>
                        <a:pt x="510" y="17"/>
                      </a:moveTo>
                      <a:lnTo>
                        <a:pt x="505" y="17"/>
                      </a:lnTo>
                      <a:lnTo>
                        <a:pt x="510" y="0"/>
                      </a:lnTo>
                      <a:lnTo>
                        <a:pt x="522" y="0"/>
                      </a:lnTo>
                      <a:lnTo>
                        <a:pt x="510" y="17"/>
                      </a:lnTo>
                      <a:lnTo>
                        <a:pt x="510" y="17"/>
                      </a:lnTo>
                      <a:lnTo>
                        <a:pt x="510" y="17"/>
                      </a:lnTo>
                      <a:close/>
                      <a:moveTo>
                        <a:pt x="494" y="38"/>
                      </a:moveTo>
                      <a:lnTo>
                        <a:pt x="489" y="22"/>
                      </a:lnTo>
                      <a:lnTo>
                        <a:pt x="505" y="5"/>
                      </a:lnTo>
                      <a:lnTo>
                        <a:pt x="505" y="33"/>
                      </a:lnTo>
                      <a:lnTo>
                        <a:pt x="494" y="38"/>
                      </a:lnTo>
                      <a:lnTo>
                        <a:pt x="494" y="38"/>
                      </a:lnTo>
                      <a:lnTo>
                        <a:pt x="494" y="38"/>
                      </a:lnTo>
                      <a:close/>
                      <a:moveTo>
                        <a:pt x="489" y="62"/>
                      </a:moveTo>
                      <a:lnTo>
                        <a:pt x="494" y="71"/>
                      </a:lnTo>
                      <a:lnTo>
                        <a:pt x="489" y="78"/>
                      </a:lnTo>
                      <a:lnTo>
                        <a:pt x="484" y="99"/>
                      </a:lnTo>
                      <a:lnTo>
                        <a:pt x="472" y="99"/>
                      </a:lnTo>
                      <a:lnTo>
                        <a:pt x="489" y="78"/>
                      </a:lnTo>
                      <a:lnTo>
                        <a:pt x="484" y="62"/>
                      </a:lnTo>
                      <a:lnTo>
                        <a:pt x="472" y="62"/>
                      </a:lnTo>
                      <a:lnTo>
                        <a:pt x="484" y="71"/>
                      </a:lnTo>
                      <a:lnTo>
                        <a:pt x="472" y="71"/>
                      </a:lnTo>
                      <a:lnTo>
                        <a:pt x="456" y="55"/>
                      </a:lnTo>
                      <a:lnTo>
                        <a:pt x="484" y="45"/>
                      </a:lnTo>
                      <a:lnTo>
                        <a:pt x="456" y="38"/>
                      </a:lnTo>
                      <a:lnTo>
                        <a:pt x="484" y="22"/>
                      </a:lnTo>
                      <a:lnTo>
                        <a:pt x="484" y="38"/>
                      </a:lnTo>
                      <a:lnTo>
                        <a:pt x="505" y="38"/>
                      </a:lnTo>
                      <a:lnTo>
                        <a:pt x="489" y="62"/>
                      </a:lnTo>
                      <a:lnTo>
                        <a:pt x="489" y="62"/>
                      </a:lnTo>
                      <a:lnTo>
                        <a:pt x="489" y="62"/>
                      </a:lnTo>
                      <a:close/>
                      <a:moveTo>
                        <a:pt x="385" y="173"/>
                      </a:moveTo>
                      <a:lnTo>
                        <a:pt x="385" y="166"/>
                      </a:lnTo>
                      <a:lnTo>
                        <a:pt x="401" y="166"/>
                      </a:lnTo>
                      <a:lnTo>
                        <a:pt x="385" y="173"/>
                      </a:lnTo>
                      <a:lnTo>
                        <a:pt x="385" y="173"/>
                      </a:lnTo>
                      <a:lnTo>
                        <a:pt x="385" y="173"/>
                      </a:lnTo>
                      <a:close/>
                      <a:moveTo>
                        <a:pt x="375" y="206"/>
                      </a:moveTo>
                      <a:lnTo>
                        <a:pt x="342" y="199"/>
                      </a:lnTo>
                      <a:lnTo>
                        <a:pt x="342" y="182"/>
                      </a:lnTo>
                      <a:lnTo>
                        <a:pt x="359" y="182"/>
                      </a:lnTo>
                      <a:lnTo>
                        <a:pt x="380" y="206"/>
                      </a:lnTo>
                      <a:lnTo>
                        <a:pt x="375" y="206"/>
                      </a:lnTo>
                      <a:lnTo>
                        <a:pt x="375" y="206"/>
                      </a:lnTo>
                      <a:lnTo>
                        <a:pt x="375" y="206"/>
                      </a:lnTo>
                      <a:close/>
                      <a:moveTo>
                        <a:pt x="347" y="222"/>
                      </a:moveTo>
                      <a:lnTo>
                        <a:pt x="331" y="206"/>
                      </a:lnTo>
                      <a:lnTo>
                        <a:pt x="347" y="215"/>
                      </a:lnTo>
                      <a:lnTo>
                        <a:pt x="347" y="222"/>
                      </a:lnTo>
                      <a:lnTo>
                        <a:pt x="347" y="222"/>
                      </a:lnTo>
                      <a:lnTo>
                        <a:pt x="347" y="222"/>
                      </a:lnTo>
                      <a:close/>
                      <a:moveTo>
                        <a:pt x="364" y="222"/>
                      </a:moveTo>
                      <a:lnTo>
                        <a:pt x="359" y="215"/>
                      </a:lnTo>
                      <a:lnTo>
                        <a:pt x="375" y="215"/>
                      </a:lnTo>
                      <a:lnTo>
                        <a:pt x="364" y="222"/>
                      </a:lnTo>
                      <a:lnTo>
                        <a:pt x="364" y="222"/>
                      </a:lnTo>
                      <a:lnTo>
                        <a:pt x="364" y="222"/>
                      </a:lnTo>
                      <a:close/>
                      <a:moveTo>
                        <a:pt x="217" y="936"/>
                      </a:moveTo>
                      <a:lnTo>
                        <a:pt x="234" y="924"/>
                      </a:lnTo>
                      <a:lnTo>
                        <a:pt x="201" y="924"/>
                      </a:lnTo>
                      <a:lnTo>
                        <a:pt x="217" y="924"/>
                      </a:lnTo>
                      <a:lnTo>
                        <a:pt x="201" y="907"/>
                      </a:lnTo>
                      <a:lnTo>
                        <a:pt x="276" y="879"/>
                      </a:lnTo>
                      <a:lnTo>
                        <a:pt x="288" y="853"/>
                      </a:lnTo>
                      <a:lnTo>
                        <a:pt x="276" y="813"/>
                      </a:lnTo>
                      <a:lnTo>
                        <a:pt x="255" y="825"/>
                      </a:lnTo>
                      <a:lnTo>
                        <a:pt x="238" y="825"/>
                      </a:lnTo>
                      <a:lnTo>
                        <a:pt x="238" y="825"/>
                      </a:lnTo>
                      <a:lnTo>
                        <a:pt x="276" y="780"/>
                      </a:lnTo>
                      <a:lnTo>
                        <a:pt x="342" y="770"/>
                      </a:lnTo>
                      <a:lnTo>
                        <a:pt x="359" y="780"/>
                      </a:lnTo>
                      <a:lnTo>
                        <a:pt x="347" y="770"/>
                      </a:lnTo>
                      <a:lnTo>
                        <a:pt x="359" y="770"/>
                      </a:lnTo>
                      <a:lnTo>
                        <a:pt x="375" y="775"/>
                      </a:lnTo>
                      <a:lnTo>
                        <a:pt x="380" y="770"/>
                      </a:lnTo>
                      <a:lnTo>
                        <a:pt x="364" y="770"/>
                      </a:lnTo>
                      <a:lnTo>
                        <a:pt x="359" y="754"/>
                      </a:lnTo>
                      <a:lnTo>
                        <a:pt x="375" y="737"/>
                      </a:lnTo>
                      <a:lnTo>
                        <a:pt x="359" y="725"/>
                      </a:lnTo>
                      <a:lnTo>
                        <a:pt x="359" y="714"/>
                      </a:lnTo>
                      <a:lnTo>
                        <a:pt x="364" y="714"/>
                      </a:lnTo>
                      <a:lnTo>
                        <a:pt x="375" y="681"/>
                      </a:lnTo>
                      <a:lnTo>
                        <a:pt x="347" y="697"/>
                      </a:lnTo>
                      <a:lnTo>
                        <a:pt x="321" y="659"/>
                      </a:lnTo>
                      <a:lnTo>
                        <a:pt x="331" y="614"/>
                      </a:lnTo>
                      <a:lnTo>
                        <a:pt x="359" y="610"/>
                      </a:lnTo>
                      <a:lnTo>
                        <a:pt x="326" y="610"/>
                      </a:lnTo>
                      <a:lnTo>
                        <a:pt x="321" y="614"/>
                      </a:lnTo>
                      <a:lnTo>
                        <a:pt x="293" y="631"/>
                      </a:lnTo>
                      <a:lnTo>
                        <a:pt x="267" y="614"/>
                      </a:lnTo>
                      <a:lnTo>
                        <a:pt x="267" y="643"/>
                      </a:lnTo>
                      <a:lnTo>
                        <a:pt x="234" y="614"/>
                      </a:lnTo>
                      <a:lnTo>
                        <a:pt x="222" y="626"/>
                      </a:lnTo>
                      <a:lnTo>
                        <a:pt x="234" y="643"/>
                      </a:lnTo>
                      <a:lnTo>
                        <a:pt x="222" y="643"/>
                      </a:lnTo>
                      <a:lnTo>
                        <a:pt x="212" y="614"/>
                      </a:lnTo>
                      <a:lnTo>
                        <a:pt x="212" y="610"/>
                      </a:lnTo>
                      <a:lnTo>
                        <a:pt x="250" y="553"/>
                      </a:lnTo>
                      <a:lnTo>
                        <a:pt x="222" y="536"/>
                      </a:lnTo>
                      <a:lnTo>
                        <a:pt x="234" y="515"/>
                      </a:lnTo>
                      <a:lnTo>
                        <a:pt x="255" y="515"/>
                      </a:lnTo>
                      <a:lnTo>
                        <a:pt x="234" y="503"/>
                      </a:lnTo>
                      <a:lnTo>
                        <a:pt x="234" y="492"/>
                      </a:lnTo>
                      <a:lnTo>
                        <a:pt x="222" y="520"/>
                      </a:lnTo>
                      <a:lnTo>
                        <a:pt x="212" y="515"/>
                      </a:lnTo>
                      <a:lnTo>
                        <a:pt x="212" y="520"/>
                      </a:lnTo>
                      <a:lnTo>
                        <a:pt x="201" y="520"/>
                      </a:lnTo>
                      <a:lnTo>
                        <a:pt x="201" y="503"/>
                      </a:lnTo>
                      <a:lnTo>
                        <a:pt x="222" y="482"/>
                      </a:lnTo>
                      <a:lnTo>
                        <a:pt x="217" y="482"/>
                      </a:lnTo>
                      <a:lnTo>
                        <a:pt x="196" y="503"/>
                      </a:lnTo>
                      <a:lnTo>
                        <a:pt x="196" y="532"/>
                      </a:lnTo>
                      <a:lnTo>
                        <a:pt x="184" y="548"/>
                      </a:lnTo>
                      <a:lnTo>
                        <a:pt x="184" y="570"/>
                      </a:lnTo>
                      <a:lnTo>
                        <a:pt x="163" y="577"/>
                      </a:lnTo>
                      <a:lnTo>
                        <a:pt x="179" y="532"/>
                      </a:lnTo>
                      <a:lnTo>
                        <a:pt x="170" y="515"/>
                      </a:lnTo>
                      <a:lnTo>
                        <a:pt x="179" y="499"/>
                      </a:lnTo>
                      <a:lnTo>
                        <a:pt x="170" y="503"/>
                      </a:lnTo>
                      <a:lnTo>
                        <a:pt x="184" y="492"/>
                      </a:lnTo>
                      <a:lnTo>
                        <a:pt x="179" y="492"/>
                      </a:lnTo>
                      <a:lnTo>
                        <a:pt x="179" y="475"/>
                      </a:lnTo>
                      <a:lnTo>
                        <a:pt x="217" y="449"/>
                      </a:lnTo>
                      <a:lnTo>
                        <a:pt x="217" y="449"/>
                      </a:lnTo>
                      <a:lnTo>
                        <a:pt x="212" y="459"/>
                      </a:lnTo>
                      <a:lnTo>
                        <a:pt x="196" y="459"/>
                      </a:lnTo>
                      <a:lnTo>
                        <a:pt x="201" y="449"/>
                      </a:lnTo>
                      <a:lnTo>
                        <a:pt x="196" y="442"/>
                      </a:lnTo>
                      <a:lnTo>
                        <a:pt x="212" y="421"/>
                      </a:lnTo>
                      <a:lnTo>
                        <a:pt x="170" y="459"/>
                      </a:lnTo>
                      <a:lnTo>
                        <a:pt x="146" y="442"/>
                      </a:lnTo>
                      <a:lnTo>
                        <a:pt x="184" y="437"/>
                      </a:lnTo>
                      <a:lnTo>
                        <a:pt x="130" y="437"/>
                      </a:lnTo>
                      <a:lnTo>
                        <a:pt x="163" y="425"/>
                      </a:lnTo>
                      <a:lnTo>
                        <a:pt x="163" y="425"/>
                      </a:lnTo>
                      <a:lnTo>
                        <a:pt x="163" y="421"/>
                      </a:lnTo>
                      <a:lnTo>
                        <a:pt x="179" y="421"/>
                      </a:lnTo>
                      <a:lnTo>
                        <a:pt x="158" y="409"/>
                      </a:lnTo>
                      <a:lnTo>
                        <a:pt x="163" y="404"/>
                      </a:lnTo>
                      <a:lnTo>
                        <a:pt x="184" y="404"/>
                      </a:lnTo>
                      <a:lnTo>
                        <a:pt x="163" y="392"/>
                      </a:lnTo>
                      <a:lnTo>
                        <a:pt x="170" y="392"/>
                      </a:lnTo>
                      <a:lnTo>
                        <a:pt x="196" y="392"/>
                      </a:lnTo>
                      <a:lnTo>
                        <a:pt x="179" y="388"/>
                      </a:lnTo>
                      <a:lnTo>
                        <a:pt x="179" y="383"/>
                      </a:lnTo>
                      <a:lnTo>
                        <a:pt x="196" y="383"/>
                      </a:lnTo>
                      <a:lnTo>
                        <a:pt x="179" y="371"/>
                      </a:lnTo>
                      <a:lnTo>
                        <a:pt x="184" y="366"/>
                      </a:lnTo>
                      <a:lnTo>
                        <a:pt x="163" y="366"/>
                      </a:lnTo>
                      <a:lnTo>
                        <a:pt x="163" y="350"/>
                      </a:lnTo>
                      <a:lnTo>
                        <a:pt x="184" y="350"/>
                      </a:lnTo>
                      <a:lnTo>
                        <a:pt x="163" y="338"/>
                      </a:lnTo>
                      <a:lnTo>
                        <a:pt x="163" y="317"/>
                      </a:lnTo>
                      <a:lnTo>
                        <a:pt x="170" y="317"/>
                      </a:lnTo>
                      <a:lnTo>
                        <a:pt x="179" y="326"/>
                      </a:lnTo>
                      <a:lnTo>
                        <a:pt x="179" y="310"/>
                      </a:lnTo>
                      <a:lnTo>
                        <a:pt x="217" y="317"/>
                      </a:lnTo>
                      <a:lnTo>
                        <a:pt x="184" y="293"/>
                      </a:lnTo>
                      <a:lnTo>
                        <a:pt x="201" y="293"/>
                      </a:lnTo>
                      <a:lnTo>
                        <a:pt x="196" y="277"/>
                      </a:lnTo>
                      <a:lnTo>
                        <a:pt x="217" y="277"/>
                      </a:lnTo>
                      <a:lnTo>
                        <a:pt x="212" y="260"/>
                      </a:lnTo>
                      <a:lnTo>
                        <a:pt x="222" y="239"/>
                      </a:lnTo>
                      <a:lnTo>
                        <a:pt x="238" y="244"/>
                      </a:lnTo>
                      <a:lnTo>
                        <a:pt x="238" y="255"/>
                      </a:lnTo>
                      <a:lnTo>
                        <a:pt x="250" y="239"/>
                      </a:lnTo>
                      <a:lnTo>
                        <a:pt x="271" y="244"/>
                      </a:lnTo>
                      <a:lnTo>
                        <a:pt x="359" y="227"/>
                      </a:lnTo>
                      <a:lnTo>
                        <a:pt x="359" y="255"/>
                      </a:lnTo>
                      <a:lnTo>
                        <a:pt x="347" y="272"/>
                      </a:lnTo>
                      <a:lnTo>
                        <a:pt x="293" y="310"/>
                      </a:lnTo>
                      <a:lnTo>
                        <a:pt x="288" y="317"/>
                      </a:lnTo>
                      <a:lnTo>
                        <a:pt x="267" y="310"/>
                      </a:lnTo>
                      <a:lnTo>
                        <a:pt x="288" y="317"/>
                      </a:lnTo>
                      <a:lnTo>
                        <a:pt x="309" y="317"/>
                      </a:lnTo>
                      <a:lnTo>
                        <a:pt x="293" y="333"/>
                      </a:lnTo>
                      <a:lnTo>
                        <a:pt x="271" y="333"/>
                      </a:lnTo>
                      <a:lnTo>
                        <a:pt x="267" y="350"/>
                      </a:lnTo>
                      <a:lnTo>
                        <a:pt x="288" y="338"/>
                      </a:lnTo>
                      <a:lnTo>
                        <a:pt x="276" y="355"/>
                      </a:lnTo>
                      <a:lnTo>
                        <a:pt x="326" y="333"/>
                      </a:lnTo>
                      <a:lnTo>
                        <a:pt x="430" y="333"/>
                      </a:lnTo>
                      <a:lnTo>
                        <a:pt x="439" y="333"/>
                      </a:lnTo>
                      <a:lnTo>
                        <a:pt x="451" y="355"/>
                      </a:lnTo>
                      <a:lnTo>
                        <a:pt x="434" y="371"/>
                      </a:lnTo>
                      <a:lnTo>
                        <a:pt x="418" y="421"/>
                      </a:lnTo>
                      <a:lnTo>
                        <a:pt x="397" y="437"/>
                      </a:lnTo>
                      <a:lnTo>
                        <a:pt x="397" y="449"/>
                      </a:lnTo>
                      <a:lnTo>
                        <a:pt x="342" y="466"/>
                      </a:lnTo>
                      <a:lnTo>
                        <a:pt x="375" y="459"/>
                      </a:lnTo>
                      <a:lnTo>
                        <a:pt x="397" y="482"/>
                      </a:lnTo>
                      <a:lnTo>
                        <a:pt x="331" y="503"/>
                      </a:lnTo>
                      <a:lnTo>
                        <a:pt x="309" y="503"/>
                      </a:lnTo>
                      <a:lnTo>
                        <a:pt x="359" y="515"/>
                      </a:lnTo>
                      <a:lnTo>
                        <a:pt x="385" y="499"/>
                      </a:lnTo>
                      <a:lnTo>
                        <a:pt x="430" y="520"/>
                      </a:lnTo>
                      <a:lnTo>
                        <a:pt x="439" y="548"/>
                      </a:lnTo>
                      <a:lnTo>
                        <a:pt x="456" y="548"/>
                      </a:lnTo>
                      <a:lnTo>
                        <a:pt x="484" y="631"/>
                      </a:lnTo>
                      <a:lnTo>
                        <a:pt x="489" y="643"/>
                      </a:lnTo>
                      <a:lnTo>
                        <a:pt x="538" y="659"/>
                      </a:lnTo>
                      <a:lnTo>
                        <a:pt x="548" y="681"/>
                      </a:lnTo>
                      <a:lnTo>
                        <a:pt x="564" y="697"/>
                      </a:lnTo>
                      <a:lnTo>
                        <a:pt x="560" y="702"/>
                      </a:lnTo>
                      <a:lnTo>
                        <a:pt x="581" y="742"/>
                      </a:lnTo>
                      <a:lnTo>
                        <a:pt x="581" y="754"/>
                      </a:lnTo>
                      <a:lnTo>
                        <a:pt x="560" y="737"/>
                      </a:lnTo>
                      <a:lnTo>
                        <a:pt x="522" y="737"/>
                      </a:lnTo>
                      <a:lnTo>
                        <a:pt x="548" y="737"/>
                      </a:lnTo>
                      <a:lnTo>
                        <a:pt x="593" y="770"/>
                      </a:lnTo>
                      <a:lnTo>
                        <a:pt x="597" y="792"/>
                      </a:lnTo>
                      <a:lnTo>
                        <a:pt x="576" y="813"/>
                      </a:lnTo>
                      <a:lnTo>
                        <a:pt x="597" y="825"/>
                      </a:lnTo>
                      <a:lnTo>
                        <a:pt x="614" y="808"/>
                      </a:lnTo>
                      <a:lnTo>
                        <a:pt x="635" y="808"/>
                      </a:lnTo>
                      <a:lnTo>
                        <a:pt x="668" y="813"/>
                      </a:lnTo>
                      <a:lnTo>
                        <a:pt x="690" y="829"/>
                      </a:lnTo>
                      <a:lnTo>
                        <a:pt x="701" y="853"/>
                      </a:lnTo>
                      <a:lnTo>
                        <a:pt x="685" y="891"/>
                      </a:lnTo>
                      <a:lnTo>
                        <a:pt x="668" y="907"/>
                      </a:lnTo>
                      <a:lnTo>
                        <a:pt x="657" y="903"/>
                      </a:lnTo>
                      <a:lnTo>
                        <a:pt x="668" y="907"/>
                      </a:lnTo>
                      <a:lnTo>
                        <a:pt x="657" y="919"/>
                      </a:lnTo>
                      <a:lnTo>
                        <a:pt x="647" y="919"/>
                      </a:lnTo>
                      <a:lnTo>
                        <a:pt x="619" y="924"/>
                      </a:lnTo>
                      <a:lnTo>
                        <a:pt x="635" y="924"/>
                      </a:lnTo>
                      <a:lnTo>
                        <a:pt x="647" y="940"/>
                      </a:lnTo>
                      <a:lnTo>
                        <a:pt x="597" y="957"/>
                      </a:lnTo>
                      <a:lnTo>
                        <a:pt x="619" y="947"/>
                      </a:lnTo>
                      <a:lnTo>
                        <a:pt x="614" y="957"/>
                      </a:lnTo>
                      <a:lnTo>
                        <a:pt x="635" y="964"/>
                      </a:lnTo>
                      <a:lnTo>
                        <a:pt x="673" y="957"/>
                      </a:lnTo>
                      <a:lnTo>
                        <a:pt x="673" y="981"/>
                      </a:lnTo>
                      <a:lnTo>
                        <a:pt x="647" y="990"/>
                      </a:lnTo>
                      <a:lnTo>
                        <a:pt x="647" y="1002"/>
                      </a:lnTo>
                      <a:lnTo>
                        <a:pt x="593" y="1018"/>
                      </a:lnTo>
                      <a:lnTo>
                        <a:pt x="560" y="1014"/>
                      </a:lnTo>
                      <a:lnTo>
                        <a:pt x="522" y="1018"/>
                      </a:lnTo>
                      <a:lnTo>
                        <a:pt x="510" y="1014"/>
                      </a:lnTo>
                      <a:lnTo>
                        <a:pt x="494" y="1014"/>
                      </a:lnTo>
                      <a:lnTo>
                        <a:pt x="494" y="1018"/>
                      </a:lnTo>
                      <a:lnTo>
                        <a:pt x="430" y="1018"/>
                      </a:lnTo>
                      <a:lnTo>
                        <a:pt x="434" y="1035"/>
                      </a:lnTo>
                      <a:lnTo>
                        <a:pt x="401" y="1030"/>
                      </a:lnTo>
                      <a:lnTo>
                        <a:pt x="401" y="1035"/>
                      </a:lnTo>
                      <a:lnTo>
                        <a:pt x="364" y="1018"/>
                      </a:lnTo>
                      <a:lnTo>
                        <a:pt x="331" y="1035"/>
                      </a:lnTo>
                      <a:lnTo>
                        <a:pt x="309" y="1068"/>
                      </a:lnTo>
                      <a:lnTo>
                        <a:pt x="276" y="1051"/>
                      </a:lnTo>
                      <a:lnTo>
                        <a:pt x="267" y="1056"/>
                      </a:lnTo>
                      <a:lnTo>
                        <a:pt x="238" y="1056"/>
                      </a:lnTo>
                      <a:lnTo>
                        <a:pt x="217" y="1073"/>
                      </a:lnTo>
                      <a:lnTo>
                        <a:pt x="217" y="1084"/>
                      </a:lnTo>
                      <a:lnTo>
                        <a:pt x="212" y="1089"/>
                      </a:lnTo>
                      <a:lnTo>
                        <a:pt x="184" y="1073"/>
                      </a:lnTo>
                      <a:lnTo>
                        <a:pt x="170" y="1084"/>
                      </a:lnTo>
                      <a:lnTo>
                        <a:pt x="170" y="1073"/>
                      </a:lnTo>
                      <a:lnTo>
                        <a:pt x="196" y="1073"/>
                      </a:lnTo>
                      <a:lnTo>
                        <a:pt x="217" y="1051"/>
                      </a:lnTo>
                      <a:lnTo>
                        <a:pt x="217" y="1035"/>
                      </a:lnTo>
                      <a:lnTo>
                        <a:pt x="238" y="1035"/>
                      </a:lnTo>
                      <a:lnTo>
                        <a:pt x="255" y="1018"/>
                      </a:lnTo>
                      <a:lnTo>
                        <a:pt x="255" y="997"/>
                      </a:lnTo>
                      <a:lnTo>
                        <a:pt x="271" y="997"/>
                      </a:lnTo>
                      <a:lnTo>
                        <a:pt x="276" y="990"/>
                      </a:lnTo>
                      <a:lnTo>
                        <a:pt x="276" y="981"/>
                      </a:lnTo>
                      <a:lnTo>
                        <a:pt x="359" y="973"/>
                      </a:lnTo>
                      <a:lnTo>
                        <a:pt x="364" y="957"/>
                      </a:lnTo>
                      <a:lnTo>
                        <a:pt x="401" y="924"/>
                      </a:lnTo>
                      <a:lnTo>
                        <a:pt x="342" y="957"/>
                      </a:lnTo>
                      <a:lnTo>
                        <a:pt x="326" y="957"/>
                      </a:lnTo>
                      <a:lnTo>
                        <a:pt x="305" y="936"/>
                      </a:lnTo>
                      <a:lnTo>
                        <a:pt x="276" y="947"/>
                      </a:lnTo>
                      <a:lnTo>
                        <a:pt x="271" y="940"/>
                      </a:lnTo>
                      <a:lnTo>
                        <a:pt x="288" y="936"/>
                      </a:lnTo>
                      <a:lnTo>
                        <a:pt x="267" y="924"/>
                      </a:lnTo>
                      <a:lnTo>
                        <a:pt x="217" y="936"/>
                      </a:lnTo>
                      <a:lnTo>
                        <a:pt x="217" y="936"/>
                      </a:lnTo>
                      <a:lnTo>
                        <a:pt x="217" y="936"/>
                      </a:lnTo>
                      <a:close/>
                      <a:moveTo>
                        <a:pt x="116" y="310"/>
                      </a:moveTo>
                      <a:lnTo>
                        <a:pt x="104" y="310"/>
                      </a:lnTo>
                      <a:lnTo>
                        <a:pt x="104" y="298"/>
                      </a:lnTo>
                      <a:lnTo>
                        <a:pt x="108" y="293"/>
                      </a:lnTo>
                      <a:lnTo>
                        <a:pt x="104" y="293"/>
                      </a:lnTo>
                      <a:lnTo>
                        <a:pt x="104" y="298"/>
                      </a:lnTo>
                      <a:lnTo>
                        <a:pt x="104" y="317"/>
                      </a:lnTo>
                      <a:lnTo>
                        <a:pt x="87" y="333"/>
                      </a:lnTo>
                      <a:lnTo>
                        <a:pt x="71" y="317"/>
                      </a:lnTo>
                      <a:lnTo>
                        <a:pt x="92" y="310"/>
                      </a:lnTo>
                      <a:lnTo>
                        <a:pt x="71" y="298"/>
                      </a:lnTo>
                      <a:lnTo>
                        <a:pt x="78" y="298"/>
                      </a:lnTo>
                      <a:lnTo>
                        <a:pt x="71" y="281"/>
                      </a:lnTo>
                      <a:lnTo>
                        <a:pt x="78" y="277"/>
                      </a:lnTo>
                      <a:lnTo>
                        <a:pt x="87" y="277"/>
                      </a:lnTo>
                      <a:lnTo>
                        <a:pt x="92" y="293"/>
                      </a:lnTo>
                      <a:lnTo>
                        <a:pt x="92" y="281"/>
                      </a:lnTo>
                      <a:lnTo>
                        <a:pt x="104" y="277"/>
                      </a:lnTo>
                      <a:lnTo>
                        <a:pt x="92" y="272"/>
                      </a:lnTo>
                      <a:lnTo>
                        <a:pt x="130" y="244"/>
                      </a:lnTo>
                      <a:lnTo>
                        <a:pt x="142" y="255"/>
                      </a:lnTo>
                      <a:lnTo>
                        <a:pt x="125" y="277"/>
                      </a:lnTo>
                      <a:lnTo>
                        <a:pt x="142" y="277"/>
                      </a:lnTo>
                      <a:lnTo>
                        <a:pt x="108" y="293"/>
                      </a:lnTo>
                      <a:lnTo>
                        <a:pt x="125" y="293"/>
                      </a:lnTo>
                      <a:lnTo>
                        <a:pt x="125" y="298"/>
                      </a:lnTo>
                      <a:lnTo>
                        <a:pt x="116" y="310"/>
                      </a:lnTo>
                      <a:lnTo>
                        <a:pt x="116" y="310"/>
                      </a:lnTo>
                      <a:lnTo>
                        <a:pt x="116" y="310"/>
                      </a:lnTo>
                      <a:close/>
                      <a:moveTo>
                        <a:pt x="61" y="350"/>
                      </a:moveTo>
                      <a:lnTo>
                        <a:pt x="38" y="338"/>
                      </a:lnTo>
                      <a:lnTo>
                        <a:pt x="71" y="333"/>
                      </a:lnTo>
                      <a:lnTo>
                        <a:pt x="78" y="338"/>
                      </a:lnTo>
                      <a:lnTo>
                        <a:pt x="61" y="350"/>
                      </a:lnTo>
                      <a:lnTo>
                        <a:pt x="61" y="350"/>
                      </a:lnTo>
                      <a:lnTo>
                        <a:pt x="61" y="350"/>
                      </a:lnTo>
                      <a:close/>
                      <a:moveTo>
                        <a:pt x="163" y="392"/>
                      </a:moveTo>
                      <a:lnTo>
                        <a:pt x="146" y="404"/>
                      </a:lnTo>
                      <a:lnTo>
                        <a:pt x="146" y="388"/>
                      </a:lnTo>
                      <a:lnTo>
                        <a:pt x="130" y="388"/>
                      </a:lnTo>
                      <a:lnTo>
                        <a:pt x="116" y="371"/>
                      </a:lnTo>
                      <a:lnTo>
                        <a:pt x="130" y="371"/>
                      </a:lnTo>
                      <a:lnTo>
                        <a:pt x="116" y="366"/>
                      </a:lnTo>
                      <a:lnTo>
                        <a:pt x="108" y="371"/>
                      </a:lnTo>
                      <a:lnTo>
                        <a:pt x="104" y="366"/>
                      </a:lnTo>
                      <a:lnTo>
                        <a:pt x="92" y="355"/>
                      </a:lnTo>
                      <a:lnTo>
                        <a:pt x="108" y="338"/>
                      </a:lnTo>
                      <a:lnTo>
                        <a:pt x="125" y="350"/>
                      </a:lnTo>
                      <a:lnTo>
                        <a:pt x="125" y="338"/>
                      </a:lnTo>
                      <a:lnTo>
                        <a:pt x="130" y="333"/>
                      </a:lnTo>
                      <a:lnTo>
                        <a:pt x="142" y="350"/>
                      </a:lnTo>
                      <a:lnTo>
                        <a:pt x="142" y="371"/>
                      </a:lnTo>
                      <a:lnTo>
                        <a:pt x="179" y="383"/>
                      </a:lnTo>
                      <a:lnTo>
                        <a:pt x="163" y="392"/>
                      </a:lnTo>
                      <a:lnTo>
                        <a:pt x="163" y="392"/>
                      </a:lnTo>
                      <a:lnTo>
                        <a:pt x="163" y="392"/>
                      </a:lnTo>
                      <a:close/>
                      <a:moveTo>
                        <a:pt x="61" y="366"/>
                      </a:moveTo>
                      <a:lnTo>
                        <a:pt x="54" y="355"/>
                      </a:lnTo>
                      <a:lnTo>
                        <a:pt x="61" y="355"/>
                      </a:lnTo>
                      <a:lnTo>
                        <a:pt x="61" y="366"/>
                      </a:lnTo>
                      <a:lnTo>
                        <a:pt x="61" y="366"/>
                      </a:lnTo>
                      <a:lnTo>
                        <a:pt x="61" y="366"/>
                      </a:lnTo>
                      <a:close/>
                      <a:moveTo>
                        <a:pt x="61" y="392"/>
                      </a:moveTo>
                      <a:lnTo>
                        <a:pt x="54" y="392"/>
                      </a:lnTo>
                      <a:lnTo>
                        <a:pt x="54" y="366"/>
                      </a:lnTo>
                      <a:lnTo>
                        <a:pt x="61" y="371"/>
                      </a:lnTo>
                      <a:lnTo>
                        <a:pt x="61" y="371"/>
                      </a:lnTo>
                      <a:lnTo>
                        <a:pt x="61" y="392"/>
                      </a:lnTo>
                      <a:lnTo>
                        <a:pt x="61" y="392"/>
                      </a:lnTo>
                      <a:lnTo>
                        <a:pt x="61" y="392"/>
                      </a:lnTo>
                      <a:close/>
                      <a:moveTo>
                        <a:pt x="49" y="409"/>
                      </a:moveTo>
                      <a:lnTo>
                        <a:pt x="38" y="409"/>
                      </a:lnTo>
                      <a:lnTo>
                        <a:pt x="49" y="392"/>
                      </a:lnTo>
                      <a:lnTo>
                        <a:pt x="54" y="404"/>
                      </a:lnTo>
                      <a:lnTo>
                        <a:pt x="49" y="409"/>
                      </a:lnTo>
                      <a:lnTo>
                        <a:pt x="49" y="409"/>
                      </a:lnTo>
                      <a:lnTo>
                        <a:pt x="49" y="409"/>
                      </a:lnTo>
                      <a:close/>
                      <a:moveTo>
                        <a:pt x="130" y="409"/>
                      </a:moveTo>
                      <a:lnTo>
                        <a:pt x="116" y="404"/>
                      </a:lnTo>
                      <a:lnTo>
                        <a:pt x="130" y="404"/>
                      </a:lnTo>
                      <a:lnTo>
                        <a:pt x="130" y="409"/>
                      </a:lnTo>
                      <a:lnTo>
                        <a:pt x="130" y="409"/>
                      </a:lnTo>
                      <a:lnTo>
                        <a:pt x="130" y="409"/>
                      </a:lnTo>
                      <a:close/>
                      <a:moveTo>
                        <a:pt x="142" y="421"/>
                      </a:moveTo>
                      <a:lnTo>
                        <a:pt x="142" y="409"/>
                      </a:lnTo>
                      <a:lnTo>
                        <a:pt x="142" y="409"/>
                      </a:lnTo>
                      <a:lnTo>
                        <a:pt x="142" y="421"/>
                      </a:lnTo>
                      <a:lnTo>
                        <a:pt x="142" y="421"/>
                      </a:lnTo>
                      <a:lnTo>
                        <a:pt x="142" y="421"/>
                      </a:lnTo>
                      <a:close/>
                      <a:moveTo>
                        <a:pt x="142" y="442"/>
                      </a:moveTo>
                      <a:lnTo>
                        <a:pt x="179" y="466"/>
                      </a:lnTo>
                      <a:lnTo>
                        <a:pt x="163" y="475"/>
                      </a:lnTo>
                      <a:lnTo>
                        <a:pt x="130" y="482"/>
                      </a:lnTo>
                      <a:lnTo>
                        <a:pt x="125" y="475"/>
                      </a:lnTo>
                      <a:lnTo>
                        <a:pt x="146" y="466"/>
                      </a:lnTo>
                      <a:lnTo>
                        <a:pt x="142" y="466"/>
                      </a:lnTo>
                      <a:lnTo>
                        <a:pt x="146" y="459"/>
                      </a:lnTo>
                      <a:lnTo>
                        <a:pt x="125" y="449"/>
                      </a:lnTo>
                      <a:lnTo>
                        <a:pt x="142" y="442"/>
                      </a:lnTo>
                      <a:lnTo>
                        <a:pt x="142" y="442"/>
                      </a:lnTo>
                      <a:lnTo>
                        <a:pt x="142" y="442"/>
                      </a:lnTo>
                      <a:close/>
                      <a:moveTo>
                        <a:pt x="87" y="459"/>
                      </a:moveTo>
                      <a:lnTo>
                        <a:pt x="78" y="459"/>
                      </a:lnTo>
                      <a:lnTo>
                        <a:pt x="104" y="449"/>
                      </a:lnTo>
                      <a:lnTo>
                        <a:pt x="87" y="459"/>
                      </a:lnTo>
                      <a:lnTo>
                        <a:pt x="87" y="459"/>
                      </a:lnTo>
                      <a:lnTo>
                        <a:pt x="87" y="459"/>
                      </a:lnTo>
                      <a:close/>
                      <a:moveTo>
                        <a:pt x="158" y="532"/>
                      </a:moveTo>
                      <a:lnTo>
                        <a:pt x="146" y="520"/>
                      </a:lnTo>
                      <a:lnTo>
                        <a:pt x="146" y="515"/>
                      </a:lnTo>
                      <a:lnTo>
                        <a:pt x="170" y="492"/>
                      </a:lnTo>
                      <a:lnTo>
                        <a:pt x="158" y="532"/>
                      </a:lnTo>
                      <a:lnTo>
                        <a:pt x="158" y="532"/>
                      </a:lnTo>
                      <a:lnTo>
                        <a:pt x="158" y="532"/>
                      </a:lnTo>
                      <a:close/>
                      <a:moveTo>
                        <a:pt x="142" y="503"/>
                      </a:moveTo>
                      <a:lnTo>
                        <a:pt x="130" y="499"/>
                      </a:lnTo>
                      <a:lnTo>
                        <a:pt x="142" y="492"/>
                      </a:lnTo>
                      <a:lnTo>
                        <a:pt x="142" y="503"/>
                      </a:lnTo>
                      <a:lnTo>
                        <a:pt x="142" y="503"/>
                      </a:lnTo>
                      <a:lnTo>
                        <a:pt x="142" y="503"/>
                      </a:lnTo>
                      <a:close/>
                      <a:moveTo>
                        <a:pt x="130" y="548"/>
                      </a:moveTo>
                      <a:lnTo>
                        <a:pt x="130" y="532"/>
                      </a:lnTo>
                      <a:lnTo>
                        <a:pt x="116" y="536"/>
                      </a:lnTo>
                      <a:lnTo>
                        <a:pt x="116" y="520"/>
                      </a:lnTo>
                      <a:lnTo>
                        <a:pt x="142" y="515"/>
                      </a:lnTo>
                      <a:lnTo>
                        <a:pt x="146" y="536"/>
                      </a:lnTo>
                      <a:lnTo>
                        <a:pt x="130" y="548"/>
                      </a:lnTo>
                      <a:lnTo>
                        <a:pt x="130" y="548"/>
                      </a:lnTo>
                      <a:lnTo>
                        <a:pt x="130" y="548"/>
                      </a:lnTo>
                      <a:close/>
                      <a:moveTo>
                        <a:pt x="217" y="536"/>
                      </a:moveTo>
                      <a:lnTo>
                        <a:pt x="212" y="515"/>
                      </a:lnTo>
                      <a:lnTo>
                        <a:pt x="217" y="520"/>
                      </a:lnTo>
                      <a:lnTo>
                        <a:pt x="217" y="536"/>
                      </a:lnTo>
                      <a:lnTo>
                        <a:pt x="217" y="536"/>
                      </a:lnTo>
                      <a:lnTo>
                        <a:pt x="217" y="536"/>
                      </a:lnTo>
                      <a:close/>
                      <a:moveTo>
                        <a:pt x="212" y="560"/>
                      </a:moveTo>
                      <a:lnTo>
                        <a:pt x="196" y="560"/>
                      </a:lnTo>
                      <a:lnTo>
                        <a:pt x="196" y="536"/>
                      </a:lnTo>
                      <a:lnTo>
                        <a:pt x="212" y="536"/>
                      </a:lnTo>
                      <a:lnTo>
                        <a:pt x="217" y="560"/>
                      </a:lnTo>
                      <a:lnTo>
                        <a:pt x="212" y="560"/>
                      </a:lnTo>
                      <a:lnTo>
                        <a:pt x="212" y="560"/>
                      </a:lnTo>
                      <a:lnTo>
                        <a:pt x="212" y="560"/>
                      </a:lnTo>
                      <a:close/>
                      <a:moveTo>
                        <a:pt x="108" y="702"/>
                      </a:moveTo>
                      <a:lnTo>
                        <a:pt x="78" y="664"/>
                      </a:lnTo>
                      <a:lnTo>
                        <a:pt x="61" y="697"/>
                      </a:lnTo>
                      <a:lnTo>
                        <a:pt x="23" y="685"/>
                      </a:lnTo>
                      <a:lnTo>
                        <a:pt x="0" y="664"/>
                      </a:lnTo>
                      <a:lnTo>
                        <a:pt x="33" y="647"/>
                      </a:lnTo>
                      <a:lnTo>
                        <a:pt x="16" y="643"/>
                      </a:lnTo>
                      <a:lnTo>
                        <a:pt x="38" y="631"/>
                      </a:lnTo>
                      <a:lnTo>
                        <a:pt x="61" y="603"/>
                      </a:lnTo>
                      <a:lnTo>
                        <a:pt x="78" y="603"/>
                      </a:lnTo>
                      <a:lnTo>
                        <a:pt x="87" y="593"/>
                      </a:lnTo>
                      <a:lnTo>
                        <a:pt x="116" y="586"/>
                      </a:lnTo>
                      <a:lnTo>
                        <a:pt x="146" y="586"/>
                      </a:lnTo>
                      <a:lnTo>
                        <a:pt x="146" y="603"/>
                      </a:lnTo>
                      <a:lnTo>
                        <a:pt x="170" y="626"/>
                      </a:lnTo>
                      <a:lnTo>
                        <a:pt x="158" y="647"/>
                      </a:lnTo>
                      <a:lnTo>
                        <a:pt x="179" y="643"/>
                      </a:lnTo>
                      <a:lnTo>
                        <a:pt x="196" y="659"/>
                      </a:lnTo>
                      <a:lnTo>
                        <a:pt x="184" y="669"/>
                      </a:lnTo>
                      <a:lnTo>
                        <a:pt x="179" y="659"/>
                      </a:lnTo>
                      <a:lnTo>
                        <a:pt x="170" y="647"/>
                      </a:lnTo>
                      <a:lnTo>
                        <a:pt x="179" y="681"/>
                      </a:lnTo>
                      <a:lnTo>
                        <a:pt x="163" y="681"/>
                      </a:lnTo>
                      <a:lnTo>
                        <a:pt x="158" y="697"/>
                      </a:lnTo>
                      <a:lnTo>
                        <a:pt x="146" y="702"/>
                      </a:lnTo>
                      <a:lnTo>
                        <a:pt x="130" y="697"/>
                      </a:lnTo>
                      <a:lnTo>
                        <a:pt x="108" y="702"/>
                      </a:lnTo>
                      <a:lnTo>
                        <a:pt x="108" y="702"/>
                      </a:lnTo>
                      <a:lnTo>
                        <a:pt x="108" y="702"/>
                      </a:lnTo>
                      <a:close/>
                      <a:moveTo>
                        <a:pt x="267" y="792"/>
                      </a:moveTo>
                      <a:lnTo>
                        <a:pt x="250" y="775"/>
                      </a:lnTo>
                      <a:lnTo>
                        <a:pt x="250" y="770"/>
                      </a:lnTo>
                      <a:lnTo>
                        <a:pt x="271" y="770"/>
                      </a:lnTo>
                      <a:lnTo>
                        <a:pt x="288" y="775"/>
                      </a:lnTo>
                      <a:lnTo>
                        <a:pt x="267" y="792"/>
                      </a:lnTo>
                      <a:lnTo>
                        <a:pt x="267" y="792"/>
                      </a:lnTo>
                      <a:lnTo>
                        <a:pt x="267" y="792"/>
                      </a:lnTo>
                      <a:close/>
                      <a:moveTo>
                        <a:pt x="635" y="964"/>
                      </a:moveTo>
                      <a:lnTo>
                        <a:pt x="631" y="957"/>
                      </a:lnTo>
                      <a:lnTo>
                        <a:pt x="635" y="957"/>
                      </a:lnTo>
                      <a:lnTo>
                        <a:pt x="635" y="964"/>
                      </a:lnTo>
                      <a:lnTo>
                        <a:pt x="635" y="964"/>
                      </a:lnTo>
                      <a:lnTo>
                        <a:pt x="635" y="964"/>
                      </a:lnTo>
                      <a:close/>
                      <a:moveTo>
                        <a:pt x="484" y="1035"/>
                      </a:moveTo>
                      <a:lnTo>
                        <a:pt x="468" y="1030"/>
                      </a:lnTo>
                      <a:lnTo>
                        <a:pt x="484" y="1018"/>
                      </a:lnTo>
                      <a:lnTo>
                        <a:pt x="494" y="1030"/>
                      </a:lnTo>
                      <a:lnTo>
                        <a:pt x="484" y="1035"/>
                      </a:lnTo>
                      <a:lnTo>
                        <a:pt x="484" y="1035"/>
                      </a:lnTo>
                      <a:lnTo>
                        <a:pt x="484" y="103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9" name="Freeform 581">
                  <a:extLst>
                    <a:ext uri="{FF2B5EF4-FFF2-40B4-BE49-F238E27FC236}">
                      <a16:creationId xmlns:a16="http://schemas.microsoft.com/office/drawing/2014/main" id="{EE506466-0158-43FF-BA4C-5531C3BCA128}"/>
                    </a:ext>
                  </a:extLst>
                </p:cNvPr>
                <p:cNvSpPr>
                  <a:spLocks noEditPoints="1"/>
                </p:cNvSpPr>
                <p:nvPr/>
              </p:nvSpPr>
              <p:spPr bwMode="gray">
                <a:xfrm>
                  <a:off x="7365147" y="2349853"/>
                  <a:ext cx="519116" cy="307552"/>
                </a:xfrm>
                <a:custGeom>
                  <a:avLst/>
                  <a:gdLst>
                    <a:gd name="T0" fmla="*/ 463 w 1261"/>
                    <a:gd name="T1" fmla="*/ 669 h 747"/>
                    <a:gd name="T2" fmla="*/ 446 w 1261"/>
                    <a:gd name="T3" fmla="*/ 641 h 747"/>
                    <a:gd name="T4" fmla="*/ 479 w 1261"/>
                    <a:gd name="T5" fmla="*/ 598 h 747"/>
                    <a:gd name="T6" fmla="*/ 489 w 1261"/>
                    <a:gd name="T7" fmla="*/ 546 h 747"/>
                    <a:gd name="T8" fmla="*/ 534 w 1261"/>
                    <a:gd name="T9" fmla="*/ 558 h 747"/>
                    <a:gd name="T10" fmla="*/ 543 w 1261"/>
                    <a:gd name="T11" fmla="*/ 546 h 747"/>
                    <a:gd name="T12" fmla="*/ 505 w 1261"/>
                    <a:gd name="T13" fmla="*/ 485 h 747"/>
                    <a:gd name="T14" fmla="*/ 489 w 1261"/>
                    <a:gd name="T15" fmla="*/ 419 h 747"/>
                    <a:gd name="T16" fmla="*/ 413 w 1261"/>
                    <a:gd name="T17" fmla="*/ 390 h 747"/>
                    <a:gd name="T18" fmla="*/ 290 w 1261"/>
                    <a:gd name="T19" fmla="*/ 397 h 747"/>
                    <a:gd name="T20" fmla="*/ 165 w 1261"/>
                    <a:gd name="T21" fmla="*/ 419 h 747"/>
                    <a:gd name="T22" fmla="*/ 52 w 1261"/>
                    <a:gd name="T23" fmla="*/ 419 h 747"/>
                    <a:gd name="T24" fmla="*/ 0 w 1261"/>
                    <a:gd name="T25" fmla="*/ 381 h 747"/>
                    <a:gd name="T26" fmla="*/ 52 w 1261"/>
                    <a:gd name="T27" fmla="*/ 324 h 747"/>
                    <a:gd name="T28" fmla="*/ 38 w 1261"/>
                    <a:gd name="T29" fmla="*/ 267 h 747"/>
                    <a:gd name="T30" fmla="*/ 139 w 1261"/>
                    <a:gd name="T31" fmla="*/ 173 h 747"/>
                    <a:gd name="T32" fmla="*/ 106 w 1261"/>
                    <a:gd name="T33" fmla="*/ 85 h 747"/>
                    <a:gd name="T34" fmla="*/ 253 w 1261"/>
                    <a:gd name="T35" fmla="*/ 45 h 747"/>
                    <a:gd name="T36" fmla="*/ 392 w 1261"/>
                    <a:gd name="T37" fmla="*/ 85 h 747"/>
                    <a:gd name="T38" fmla="*/ 430 w 1261"/>
                    <a:gd name="T39" fmla="*/ 74 h 747"/>
                    <a:gd name="T40" fmla="*/ 468 w 1261"/>
                    <a:gd name="T41" fmla="*/ 78 h 747"/>
                    <a:gd name="T42" fmla="*/ 538 w 1261"/>
                    <a:gd name="T43" fmla="*/ 95 h 747"/>
                    <a:gd name="T44" fmla="*/ 593 w 1261"/>
                    <a:gd name="T45" fmla="*/ 74 h 747"/>
                    <a:gd name="T46" fmla="*/ 678 w 1261"/>
                    <a:gd name="T47" fmla="*/ 29 h 747"/>
                    <a:gd name="T48" fmla="*/ 775 w 1261"/>
                    <a:gd name="T49" fmla="*/ 0 h 747"/>
                    <a:gd name="T50" fmla="*/ 862 w 1261"/>
                    <a:gd name="T51" fmla="*/ 57 h 747"/>
                    <a:gd name="T52" fmla="*/ 883 w 1261"/>
                    <a:gd name="T53" fmla="*/ 119 h 747"/>
                    <a:gd name="T54" fmla="*/ 921 w 1261"/>
                    <a:gd name="T55" fmla="*/ 135 h 747"/>
                    <a:gd name="T56" fmla="*/ 985 w 1261"/>
                    <a:gd name="T57" fmla="*/ 189 h 747"/>
                    <a:gd name="T58" fmla="*/ 1093 w 1261"/>
                    <a:gd name="T59" fmla="*/ 225 h 747"/>
                    <a:gd name="T60" fmla="*/ 1179 w 1261"/>
                    <a:gd name="T61" fmla="*/ 246 h 747"/>
                    <a:gd name="T62" fmla="*/ 1240 w 1261"/>
                    <a:gd name="T63" fmla="*/ 267 h 747"/>
                    <a:gd name="T64" fmla="*/ 1245 w 1261"/>
                    <a:gd name="T65" fmla="*/ 319 h 747"/>
                    <a:gd name="T66" fmla="*/ 1254 w 1261"/>
                    <a:gd name="T67" fmla="*/ 341 h 747"/>
                    <a:gd name="T68" fmla="*/ 1254 w 1261"/>
                    <a:gd name="T69" fmla="*/ 390 h 747"/>
                    <a:gd name="T70" fmla="*/ 1164 w 1261"/>
                    <a:gd name="T71" fmla="*/ 447 h 747"/>
                    <a:gd name="T72" fmla="*/ 1060 w 1261"/>
                    <a:gd name="T73" fmla="*/ 520 h 747"/>
                    <a:gd name="T74" fmla="*/ 900 w 1261"/>
                    <a:gd name="T75" fmla="*/ 586 h 747"/>
                    <a:gd name="T76" fmla="*/ 879 w 1261"/>
                    <a:gd name="T77" fmla="*/ 579 h 747"/>
                    <a:gd name="T78" fmla="*/ 867 w 1261"/>
                    <a:gd name="T79" fmla="*/ 579 h 747"/>
                    <a:gd name="T80" fmla="*/ 829 w 1261"/>
                    <a:gd name="T81" fmla="*/ 579 h 747"/>
                    <a:gd name="T82" fmla="*/ 824 w 1261"/>
                    <a:gd name="T83" fmla="*/ 598 h 747"/>
                    <a:gd name="T84" fmla="*/ 857 w 1261"/>
                    <a:gd name="T85" fmla="*/ 598 h 747"/>
                    <a:gd name="T86" fmla="*/ 862 w 1261"/>
                    <a:gd name="T87" fmla="*/ 619 h 747"/>
                    <a:gd name="T88" fmla="*/ 900 w 1261"/>
                    <a:gd name="T89" fmla="*/ 652 h 747"/>
                    <a:gd name="T90" fmla="*/ 895 w 1261"/>
                    <a:gd name="T91" fmla="*/ 598 h 747"/>
                    <a:gd name="T92" fmla="*/ 968 w 1261"/>
                    <a:gd name="T93" fmla="*/ 659 h 747"/>
                    <a:gd name="T94" fmla="*/ 1001 w 1261"/>
                    <a:gd name="T95" fmla="*/ 685 h 747"/>
                    <a:gd name="T96" fmla="*/ 900 w 1261"/>
                    <a:gd name="T97" fmla="*/ 697 h 747"/>
                    <a:gd name="T98" fmla="*/ 808 w 1261"/>
                    <a:gd name="T99" fmla="*/ 742 h 747"/>
                    <a:gd name="T100" fmla="*/ 808 w 1261"/>
                    <a:gd name="T101" fmla="*/ 697 h 747"/>
                    <a:gd name="T102" fmla="*/ 732 w 1261"/>
                    <a:gd name="T103" fmla="*/ 659 h 747"/>
                    <a:gd name="T104" fmla="*/ 808 w 1261"/>
                    <a:gd name="T105" fmla="*/ 598 h 747"/>
                    <a:gd name="T106" fmla="*/ 732 w 1261"/>
                    <a:gd name="T107" fmla="*/ 586 h 747"/>
                    <a:gd name="T108" fmla="*/ 652 w 1261"/>
                    <a:gd name="T109" fmla="*/ 546 h 747"/>
                    <a:gd name="T110" fmla="*/ 694 w 1261"/>
                    <a:gd name="T111" fmla="*/ 541 h 747"/>
                    <a:gd name="T112" fmla="*/ 685 w 1261"/>
                    <a:gd name="T113" fmla="*/ 501 h 747"/>
                    <a:gd name="T114" fmla="*/ 685 w 1261"/>
                    <a:gd name="T115" fmla="*/ 541 h 747"/>
                    <a:gd name="T116" fmla="*/ 609 w 1261"/>
                    <a:gd name="T117" fmla="*/ 546 h 747"/>
                    <a:gd name="T118" fmla="*/ 534 w 1261"/>
                    <a:gd name="T119" fmla="*/ 636 h 747"/>
                    <a:gd name="T120" fmla="*/ 534 w 1261"/>
                    <a:gd name="T121" fmla="*/ 669 h 747"/>
                    <a:gd name="T122" fmla="*/ 699 w 1261"/>
                    <a:gd name="T123" fmla="*/ 586 h 747"/>
                    <a:gd name="T124" fmla="*/ 699 w 1261"/>
                    <a:gd name="T125" fmla="*/ 586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1" h="747">
                      <a:moveTo>
                        <a:pt x="534" y="669"/>
                      </a:moveTo>
                      <a:lnTo>
                        <a:pt x="522" y="659"/>
                      </a:lnTo>
                      <a:lnTo>
                        <a:pt x="505" y="652"/>
                      </a:lnTo>
                      <a:lnTo>
                        <a:pt x="463" y="669"/>
                      </a:lnTo>
                      <a:lnTo>
                        <a:pt x="437" y="659"/>
                      </a:lnTo>
                      <a:lnTo>
                        <a:pt x="425" y="652"/>
                      </a:lnTo>
                      <a:lnTo>
                        <a:pt x="430" y="641"/>
                      </a:lnTo>
                      <a:lnTo>
                        <a:pt x="446" y="641"/>
                      </a:lnTo>
                      <a:lnTo>
                        <a:pt x="446" y="631"/>
                      </a:lnTo>
                      <a:lnTo>
                        <a:pt x="463" y="615"/>
                      </a:lnTo>
                      <a:lnTo>
                        <a:pt x="463" y="603"/>
                      </a:lnTo>
                      <a:lnTo>
                        <a:pt x="479" y="598"/>
                      </a:lnTo>
                      <a:lnTo>
                        <a:pt x="484" y="579"/>
                      </a:lnTo>
                      <a:lnTo>
                        <a:pt x="479" y="574"/>
                      </a:lnTo>
                      <a:lnTo>
                        <a:pt x="484" y="558"/>
                      </a:lnTo>
                      <a:lnTo>
                        <a:pt x="489" y="546"/>
                      </a:lnTo>
                      <a:lnTo>
                        <a:pt x="501" y="563"/>
                      </a:lnTo>
                      <a:lnTo>
                        <a:pt x="517" y="558"/>
                      </a:lnTo>
                      <a:lnTo>
                        <a:pt x="522" y="563"/>
                      </a:lnTo>
                      <a:lnTo>
                        <a:pt x="534" y="558"/>
                      </a:lnTo>
                      <a:lnTo>
                        <a:pt x="543" y="563"/>
                      </a:lnTo>
                      <a:lnTo>
                        <a:pt x="560" y="563"/>
                      </a:lnTo>
                      <a:lnTo>
                        <a:pt x="543" y="546"/>
                      </a:lnTo>
                      <a:lnTo>
                        <a:pt x="543" y="546"/>
                      </a:lnTo>
                      <a:lnTo>
                        <a:pt x="543" y="525"/>
                      </a:lnTo>
                      <a:lnTo>
                        <a:pt x="522" y="520"/>
                      </a:lnTo>
                      <a:lnTo>
                        <a:pt x="522" y="475"/>
                      </a:lnTo>
                      <a:lnTo>
                        <a:pt x="505" y="485"/>
                      </a:lnTo>
                      <a:lnTo>
                        <a:pt x="489" y="468"/>
                      </a:lnTo>
                      <a:lnTo>
                        <a:pt x="489" y="463"/>
                      </a:lnTo>
                      <a:lnTo>
                        <a:pt x="501" y="435"/>
                      </a:lnTo>
                      <a:lnTo>
                        <a:pt x="489" y="419"/>
                      </a:lnTo>
                      <a:lnTo>
                        <a:pt x="484" y="419"/>
                      </a:lnTo>
                      <a:lnTo>
                        <a:pt x="468" y="407"/>
                      </a:lnTo>
                      <a:lnTo>
                        <a:pt x="413" y="397"/>
                      </a:lnTo>
                      <a:lnTo>
                        <a:pt x="413" y="390"/>
                      </a:lnTo>
                      <a:lnTo>
                        <a:pt x="392" y="374"/>
                      </a:lnTo>
                      <a:lnTo>
                        <a:pt x="323" y="381"/>
                      </a:lnTo>
                      <a:lnTo>
                        <a:pt x="316" y="390"/>
                      </a:lnTo>
                      <a:lnTo>
                        <a:pt x="290" y="397"/>
                      </a:lnTo>
                      <a:lnTo>
                        <a:pt x="286" y="419"/>
                      </a:lnTo>
                      <a:lnTo>
                        <a:pt x="219" y="419"/>
                      </a:lnTo>
                      <a:lnTo>
                        <a:pt x="198" y="447"/>
                      </a:lnTo>
                      <a:lnTo>
                        <a:pt x="165" y="419"/>
                      </a:lnTo>
                      <a:lnTo>
                        <a:pt x="144" y="419"/>
                      </a:lnTo>
                      <a:lnTo>
                        <a:pt x="90" y="419"/>
                      </a:lnTo>
                      <a:lnTo>
                        <a:pt x="75" y="407"/>
                      </a:lnTo>
                      <a:lnTo>
                        <a:pt x="52" y="419"/>
                      </a:lnTo>
                      <a:lnTo>
                        <a:pt x="47" y="407"/>
                      </a:lnTo>
                      <a:lnTo>
                        <a:pt x="38" y="407"/>
                      </a:lnTo>
                      <a:lnTo>
                        <a:pt x="5" y="381"/>
                      </a:lnTo>
                      <a:lnTo>
                        <a:pt x="0" y="381"/>
                      </a:lnTo>
                      <a:lnTo>
                        <a:pt x="0" y="362"/>
                      </a:lnTo>
                      <a:lnTo>
                        <a:pt x="14" y="352"/>
                      </a:lnTo>
                      <a:lnTo>
                        <a:pt x="31" y="319"/>
                      </a:lnTo>
                      <a:lnTo>
                        <a:pt x="52" y="324"/>
                      </a:lnTo>
                      <a:lnTo>
                        <a:pt x="52" y="319"/>
                      </a:lnTo>
                      <a:lnTo>
                        <a:pt x="38" y="308"/>
                      </a:lnTo>
                      <a:lnTo>
                        <a:pt x="47" y="296"/>
                      </a:lnTo>
                      <a:lnTo>
                        <a:pt x="38" y="267"/>
                      </a:lnTo>
                      <a:lnTo>
                        <a:pt x="85" y="225"/>
                      </a:lnTo>
                      <a:lnTo>
                        <a:pt x="113" y="189"/>
                      </a:lnTo>
                      <a:lnTo>
                        <a:pt x="127" y="189"/>
                      </a:lnTo>
                      <a:lnTo>
                        <a:pt x="139" y="173"/>
                      </a:lnTo>
                      <a:lnTo>
                        <a:pt x="127" y="152"/>
                      </a:lnTo>
                      <a:lnTo>
                        <a:pt x="139" y="152"/>
                      </a:lnTo>
                      <a:lnTo>
                        <a:pt x="113" y="111"/>
                      </a:lnTo>
                      <a:lnTo>
                        <a:pt x="106" y="85"/>
                      </a:lnTo>
                      <a:lnTo>
                        <a:pt x="106" y="74"/>
                      </a:lnTo>
                      <a:lnTo>
                        <a:pt x="139" y="78"/>
                      </a:lnTo>
                      <a:lnTo>
                        <a:pt x="160" y="45"/>
                      </a:lnTo>
                      <a:lnTo>
                        <a:pt x="253" y="45"/>
                      </a:lnTo>
                      <a:lnTo>
                        <a:pt x="354" y="62"/>
                      </a:lnTo>
                      <a:lnTo>
                        <a:pt x="361" y="78"/>
                      </a:lnTo>
                      <a:lnTo>
                        <a:pt x="392" y="78"/>
                      </a:lnTo>
                      <a:lnTo>
                        <a:pt x="392" y="85"/>
                      </a:lnTo>
                      <a:lnTo>
                        <a:pt x="392" y="85"/>
                      </a:lnTo>
                      <a:lnTo>
                        <a:pt x="399" y="74"/>
                      </a:lnTo>
                      <a:lnTo>
                        <a:pt x="413" y="78"/>
                      </a:lnTo>
                      <a:lnTo>
                        <a:pt x="430" y="74"/>
                      </a:lnTo>
                      <a:lnTo>
                        <a:pt x="430" y="78"/>
                      </a:lnTo>
                      <a:lnTo>
                        <a:pt x="451" y="78"/>
                      </a:lnTo>
                      <a:lnTo>
                        <a:pt x="463" y="95"/>
                      </a:lnTo>
                      <a:lnTo>
                        <a:pt x="468" y="78"/>
                      </a:lnTo>
                      <a:lnTo>
                        <a:pt x="489" y="74"/>
                      </a:lnTo>
                      <a:lnTo>
                        <a:pt x="505" y="95"/>
                      </a:lnTo>
                      <a:lnTo>
                        <a:pt x="534" y="85"/>
                      </a:lnTo>
                      <a:lnTo>
                        <a:pt x="538" y="95"/>
                      </a:lnTo>
                      <a:lnTo>
                        <a:pt x="560" y="85"/>
                      </a:lnTo>
                      <a:lnTo>
                        <a:pt x="593" y="111"/>
                      </a:lnTo>
                      <a:lnTo>
                        <a:pt x="597" y="102"/>
                      </a:lnTo>
                      <a:lnTo>
                        <a:pt x="593" y="74"/>
                      </a:lnTo>
                      <a:lnTo>
                        <a:pt x="597" y="57"/>
                      </a:lnTo>
                      <a:lnTo>
                        <a:pt x="614" y="41"/>
                      </a:lnTo>
                      <a:lnTo>
                        <a:pt x="614" y="29"/>
                      </a:lnTo>
                      <a:lnTo>
                        <a:pt x="678" y="29"/>
                      </a:lnTo>
                      <a:lnTo>
                        <a:pt x="706" y="29"/>
                      </a:lnTo>
                      <a:lnTo>
                        <a:pt x="716" y="8"/>
                      </a:lnTo>
                      <a:lnTo>
                        <a:pt x="753" y="17"/>
                      </a:lnTo>
                      <a:lnTo>
                        <a:pt x="775" y="0"/>
                      </a:lnTo>
                      <a:lnTo>
                        <a:pt x="824" y="0"/>
                      </a:lnTo>
                      <a:lnTo>
                        <a:pt x="841" y="24"/>
                      </a:lnTo>
                      <a:lnTo>
                        <a:pt x="841" y="41"/>
                      </a:lnTo>
                      <a:lnTo>
                        <a:pt x="862" y="57"/>
                      </a:lnTo>
                      <a:lnTo>
                        <a:pt x="862" y="62"/>
                      </a:lnTo>
                      <a:lnTo>
                        <a:pt x="841" y="74"/>
                      </a:lnTo>
                      <a:lnTo>
                        <a:pt x="862" y="111"/>
                      </a:lnTo>
                      <a:lnTo>
                        <a:pt x="883" y="119"/>
                      </a:lnTo>
                      <a:lnTo>
                        <a:pt x="909" y="111"/>
                      </a:lnTo>
                      <a:lnTo>
                        <a:pt x="916" y="128"/>
                      </a:lnTo>
                      <a:lnTo>
                        <a:pt x="933" y="128"/>
                      </a:lnTo>
                      <a:lnTo>
                        <a:pt x="921" y="135"/>
                      </a:lnTo>
                      <a:lnTo>
                        <a:pt x="938" y="168"/>
                      </a:lnTo>
                      <a:lnTo>
                        <a:pt x="933" y="168"/>
                      </a:lnTo>
                      <a:lnTo>
                        <a:pt x="947" y="189"/>
                      </a:lnTo>
                      <a:lnTo>
                        <a:pt x="985" y="189"/>
                      </a:lnTo>
                      <a:lnTo>
                        <a:pt x="992" y="197"/>
                      </a:lnTo>
                      <a:lnTo>
                        <a:pt x="1018" y="206"/>
                      </a:lnTo>
                      <a:lnTo>
                        <a:pt x="1077" y="189"/>
                      </a:lnTo>
                      <a:lnTo>
                        <a:pt x="1093" y="225"/>
                      </a:lnTo>
                      <a:lnTo>
                        <a:pt x="1115" y="241"/>
                      </a:lnTo>
                      <a:lnTo>
                        <a:pt x="1127" y="225"/>
                      </a:lnTo>
                      <a:lnTo>
                        <a:pt x="1131" y="225"/>
                      </a:lnTo>
                      <a:lnTo>
                        <a:pt x="1179" y="246"/>
                      </a:lnTo>
                      <a:lnTo>
                        <a:pt x="1190" y="241"/>
                      </a:lnTo>
                      <a:lnTo>
                        <a:pt x="1202" y="251"/>
                      </a:lnTo>
                      <a:lnTo>
                        <a:pt x="1223" y="251"/>
                      </a:lnTo>
                      <a:lnTo>
                        <a:pt x="1240" y="267"/>
                      </a:lnTo>
                      <a:lnTo>
                        <a:pt x="1261" y="267"/>
                      </a:lnTo>
                      <a:lnTo>
                        <a:pt x="1254" y="279"/>
                      </a:lnTo>
                      <a:lnTo>
                        <a:pt x="1261" y="303"/>
                      </a:lnTo>
                      <a:lnTo>
                        <a:pt x="1245" y="319"/>
                      </a:lnTo>
                      <a:lnTo>
                        <a:pt x="1233" y="324"/>
                      </a:lnTo>
                      <a:lnTo>
                        <a:pt x="1240" y="336"/>
                      </a:lnTo>
                      <a:lnTo>
                        <a:pt x="1254" y="336"/>
                      </a:lnTo>
                      <a:lnTo>
                        <a:pt x="1254" y="341"/>
                      </a:lnTo>
                      <a:lnTo>
                        <a:pt x="1240" y="341"/>
                      </a:lnTo>
                      <a:lnTo>
                        <a:pt x="1233" y="357"/>
                      </a:lnTo>
                      <a:lnTo>
                        <a:pt x="1240" y="362"/>
                      </a:lnTo>
                      <a:lnTo>
                        <a:pt x="1254" y="390"/>
                      </a:lnTo>
                      <a:lnTo>
                        <a:pt x="1240" y="414"/>
                      </a:lnTo>
                      <a:lnTo>
                        <a:pt x="1240" y="430"/>
                      </a:lnTo>
                      <a:lnTo>
                        <a:pt x="1169" y="430"/>
                      </a:lnTo>
                      <a:lnTo>
                        <a:pt x="1164" y="447"/>
                      </a:lnTo>
                      <a:lnTo>
                        <a:pt x="1131" y="452"/>
                      </a:lnTo>
                      <a:lnTo>
                        <a:pt x="1131" y="501"/>
                      </a:lnTo>
                      <a:lnTo>
                        <a:pt x="1077" y="501"/>
                      </a:lnTo>
                      <a:lnTo>
                        <a:pt x="1060" y="520"/>
                      </a:lnTo>
                      <a:lnTo>
                        <a:pt x="1056" y="520"/>
                      </a:lnTo>
                      <a:lnTo>
                        <a:pt x="985" y="541"/>
                      </a:lnTo>
                      <a:lnTo>
                        <a:pt x="964" y="541"/>
                      </a:lnTo>
                      <a:lnTo>
                        <a:pt x="900" y="586"/>
                      </a:lnTo>
                      <a:lnTo>
                        <a:pt x="921" y="574"/>
                      </a:lnTo>
                      <a:lnTo>
                        <a:pt x="916" y="558"/>
                      </a:lnTo>
                      <a:lnTo>
                        <a:pt x="909" y="574"/>
                      </a:lnTo>
                      <a:lnTo>
                        <a:pt x="879" y="579"/>
                      </a:lnTo>
                      <a:lnTo>
                        <a:pt x="867" y="598"/>
                      </a:lnTo>
                      <a:lnTo>
                        <a:pt x="862" y="598"/>
                      </a:lnTo>
                      <a:lnTo>
                        <a:pt x="867" y="586"/>
                      </a:lnTo>
                      <a:lnTo>
                        <a:pt x="867" y="579"/>
                      </a:lnTo>
                      <a:lnTo>
                        <a:pt x="857" y="579"/>
                      </a:lnTo>
                      <a:lnTo>
                        <a:pt x="845" y="574"/>
                      </a:lnTo>
                      <a:lnTo>
                        <a:pt x="841" y="586"/>
                      </a:lnTo>
                      <a:lnTo>
                        <a:pt x="829" y="579"/>
                      </a:lnTo>
                      <a:lnTo>
                        <a:pt x="808" y="579"/>
                      </a:lnTo>
                      <a:lnTo>
                        <a:pt x="812" y="586"/>
                      </a:lnTo>
                      <a:lnTo>
                        <a:pt x="824" y="579"/>
                      </a:lnTo>
                      <a:lnTo>
                        <a:pt x="824" y="598"/>
                      </a:lnTo>
                      <a:lnTo>
                        <a:pt x="829" y="586"/>
                      </a:lnTo>
                      <a:lnTo>
                        <a:pt x="841" y="603"/>
                      </a:lnTo>
                      <a:lnTo>
                        <a:pt x="845" y="598"/>
                      </a:lnTo>
                      <a:lnTo>
                        <a:pt x="857" y="598"/>
                      </a:lnTo>
                      <a:lnTo>
                        <a:pt x="862" y="603"/>
                      </a:lnTo>
                      <a:lnTo>
                        <a:pt x="857" y="615"/>
                      </a:lnTo>
                      <a:lnTo>
                        <a:pt x="879" y="603"/>
                      </a:lnTo>
                      <a:lnTo>
                        <a:pt x="862" y="619"/>
                      </a:lnTo>
                      <a:lnTo>
                        <a:pt x="879" y="619"/>
                      </a:lnTo>
                      <a:lnTo>
                        <a:pt x="900" y="631"/>
                      </a:lnTo>
                      <a:lnTo>
                        <a:pt x="909" y="641"/>
                      </a:lnTo>
                      <a:lnTo>
                        <a:pt x="900" y="652"/>
                      </a:lnTo>
                      <a:lnTo>
                        <a:pt x="909" y="659"/>
                      </a:lnTo>
                      <a:lnTo>
                        <a:pt x="921" y="659"/>
                      </a:lnTo>
                      <a:lnTo>
                        <a:pt x="879" y="586"/>
                      </a:lnTo>
                      <a:lnTo>
                        <a:pt x="895" y="598"/>
                      </a:lnTo>
                      <a:lnTo>
                        <a:pt x="909" y="631"/>
                      </a:lnTo>
                      <a:lnTo>
                        <a:pt x="938" y="659"/>
                      </a:lnTo>
                      <a:lnTo>
                        <a:pt x="964" y="652"/>
                      </a:lnTo>
                      <a:lnTo>
                        <a:pt x="968" y="659"/>
                      </a:lnTo>
                      <a:lnTo>
                        <a:pt x="985" y="641"/>
                      </a:lnTo>
                      <a:lnTo>
                        <a:pt x="1018" y="652"/>
                      </a:lnTo>
                      <a:lnTo>
                        <a:pt x="1001" y="659"/>
                      </a:lnTo>
                      <a:lnTo>
                        <a:pt x="1001" y="685"/>
                      </a:lnTo>
                      <a:lnTo>
                        <a:pt x="964" y="693"/>
                      </a:lnTo>
                      <a:lnTo>
                        <a:pt x="938" y="676"/>
                      </a:lnTo>
                      <a:lnTo>
                        <a:pt x="909" y="709"/>
                      </a:lnTo>
                      <a:lnTo>
                        <a:pt x="900" y="697"/>
                      </a:lnTo>
                      <a:lnTo>
                        <a:pt x="867" y="709"/>
                      </a:lnTo>
                      <a:lnTo>
                        <a:pt x="857" y="730"/>
                      </a:lnTo>
                      <a:lnTo>
                        <a:pt x="829" y="747"/>
                      </a:lnTo>
                      <a:lnTo>
                        <a:pt x="808" y="742"/>
                      </a:lnTo>
                      <a:lnTo>
                        <a:pt x="786" y="726"/>
                      </a:lnTo>
                      <a:lnTo>
                        <a:pt x="803" y="726"/>
                      </a:lnTo>
                      <a:lnTo>
                        <a:pt x="803" y="709"/>
                      </a:lnTo>
                      <a:lnTo>
                        <a:pt x="808" y="697"/>
                      </a:lnTo>
                      <a:lnTo>
                        <a:pt x="803" y="676"/>
                      </a:lnTo>
                      <a:lnTo>
                        <a:pt x="775" y="676"/>
                      </a:lnTo>
                      <a:lnTo>
                        <a:pt x="753" y="659"/>
                      </a:lnTo>
                      <a:lnTo>
                        <a:pt x="732" y="659"/>
                      </a:lnTo>
                      <a:lnTo>
                        <a:pt x="720" y="652"/>
                      </a:lnTo>
                      <a:lnTo>
                        <a:pt x="753" y="631"/>
                      </a:lnTo>
                      <a:lnTo>
                        <a:pt x="812" y="603"/>
                      </a:lnTo>
                      <a:lnTo>
                        <a:pt x="808" y="598"/>
                      </a:lnTo>
                      <a:lnTo>
                        <a:pt x="808" y="586"/>
                      </a:lnTo>
                      <a:lnTo>
                        <a:pt x="791" y="598"/>
                      </a:lnTo>
                      <a:lnTo>
                        <a:pt x="775" y="579"/>
                      </a:lnTo>
                      <a:lnTo>
                        <a:pt x="732" y="586"/>
                      </a:lnTo>
                      <a:lnTo>
                        <a:pt x="678" y="574"/>
                      </a:lnTo>
                      <a:lnTo>
                        <a:pt x="694" y="563"/>
                      </a:lnTo>
                      <a:lnTo>
                        <a:pt x="668" y="558"/>
                      </a:lnTo>
                      <a:lnTo>
                        <a:pt x="652" y="546"/>
                      </a:lnTo>
                      <a:lnTo>
                        <a:pt x="716" y="558"/>
                      </a:lnTo>
                      <a:lnTo>
                        <a:pt x="737" y="541"/>
                      </a:lnTo>
                      <a:lnTo>
                        <a:pt x="716" y="546"/>
                      </a:lnTo>
                      <a:lnTo>
                        <a:pt x="694" y="541"/>
                      </a:lnTo>
                      <a:lnTo>
                        <a:pt x="685" y="530"/>
                      </a:lnTo>
                      <a:lnTo>
                        <a:pt x="694" y="508"/>
                      </a:lnTo>
                      <a:lnTo>
                        <a:pt x="678" y="485"/>
                      </a:lnTo>
                      <a:lnTo>
                        <a:pt x="685" y="501"/>
                      </a:lnTo>
                      <a:lnTo>
                        <a:pt x="685" y="508"/>
                      </a:lnTo>
                      <a:lnTo>
                        <a:pt x="694" y="520"/>
                      </a:lnTo>
                      <a:lnTo>
                        <a:pt x="685" y="525"/>
                      </a:lnTo>
                      <a:lnTo>
                        <a:pt x="685" y="541"/>
                      </a:lnTo>
                      <a:lnTo>
                        <a:pt x="652" y="541"/>
                      </a:lnTo>
                      <a:lnTo>
                        <a:pt x="661" y="525"/>
                      </a:lnTo>
                      <a:lnTo>
                        <a:pt x="652" y="541"/>
                      </a:lnTo>
                      <a:lnTo>
                        <a:pt x="609" y="546"/>
                      </a:lnTo>
                      <a:lnTo>
                        <a:pt x="609" y="563"/>
                      </a:lnTo>
                      <a:lnTo>
                        <a:pt x="571" y="615"/>
                      </a:lnTo>
                      <a:lnTo>
                        <a:pt x="543" y="615"/>
                      </a:lnTo>
                      <a:lnTo>
                        <a:pt x="534" y="636"/>
                      </a:lnTo>
                      <a:lnTo>
                        <a:pt x="522" y="615"/>
                      </a:lnTo>
                      <a:lnTo>
                        <a:pt x="522" y="636"/>
                      </a:lnTo>
                      <a:lnTo>
                        <a:pt x="538" y="652"/>
                      </a:lnTo>
                      <a:lnTo>
                        <a:pt x="534" y="669"/>
                      </a:lnTo>
                      <a:lnTo>
                        <a:pt x="534" y="669"/>
                      </a:lnTo>
                      <a:lnTo>
                        <a:pt x="534" y="669"/>
                      </a:lnTo>
                      <a:lnTo>
                        <a:pt x="534" y="669"/>
                      </a:lnTo>
                      <a:close/>
                      <a:moveTo>
                        <a:pt x="699" y="586"/>
                      </a:moveTo>
                      <a:lnTo>
                        <a:pt x="661" y="574"/>
                      </a:lnTo>
                      <a:lnTo>
                        <a:pt x="652" y="563"/>
                      </a:lnTo>
                      <a:lnTo>
                        <a:pt x="661" y="574"/>
                      </a:lnTo>
                      <a:lnTo>
                        <a:pt x="699" y="586"/>
                      </a:lnTo>
                      <a:lnTo>
                        <a:pt x="699" y="586"/>
                      </a:lnTo>
                      <a:lnTo>
                        <a:pt x="699" y="58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60" name="Freeform 585">
                  <a:extLst>
                    <a:ext uri="{FF2B5EF4-FFF2-40B4-BE49-F238E27FC236}">
                      <a16:creationId xmlns:a16="http://schemas.microsoft.com/office/drawing/2014/main" id="{5F76F3DF-4829-46EE-87AB-3F1A1270902D}"/>
                    </a:ext>
                  </a:extLst>
                </p:cNvPr>
                <p:cNvSpPr>
                  <a:spLocks/>
                </p:cNvSpPr>
                <p:nvPr/>
              </p:nvSpPr>
              <p:spPr bwMode="gray">
                <a:xfrm>
                  <a:off x="8341217" y="2611704"/>
                  <a:ext cx="496885" cy="296436"/>
                </a:xfrm>
                <a:custGeom>
                  <a:avLst/>
                  <a:gdLst>
                    <a:gd name="T0" fmla="*/ 827 w 1207"/>
                    <a:gd name="T1" fmla="*/ 515 h 720"/>
                    <a:gd name="T2" fmla="*/ 806 w 1207"/>
                    <a:gd name="T3" fmla="*/ 555 h 720"/>
                    <a:gd name="T4" fmla="*/ 851 w 1207"/>
                    <a:gd name="T5" fmla="*/ 572 h 720"/>
                    <a:gd name="T6" fmla="*/ 851 w 1207"/>
                    <a:gd name="T7" fmla="*/ 609 h 720"/>
                    <a:gd name="T8" fmla="*/ 860 w 1207"/>
                    <a:gd name="T9" fmla="*/ 659 h 720"/>
                    <a:gd name="T10" fmla="*/ 813 w 1207"/>
                    <a:gd name="T11" fmla="*/ 716 h 720"/>
                    <a:gd name="T12" fmla="*/ 742 w 1207"/>
                    <a:gd name="T13" fmla="*/ 704 h 720"/>
                    <a:gd name="T14" fmla="*/ 700 w 1207"/>
                    <a:gd name="T15" fmla="*/ 633 h 720"/>
                    <a:gd name="T16" fmla="*/ 574 w 1207"/>
                    <a:gd name="T17" fmla="*/ 576 h 720"/>
                    <a:gd name="T18" fmla="*/ 456 w 1207"/>
                    <a:gd name="T19" fmla="*/ 482 h 720"/>
                    <a:gd name="T20" fmla="*/ 419 w 1207"/>
                    <a:gd name="T21" fmla="*/ 387 h 720"/>
                    <a:gd name="T22" fmla="*/ 348 w 1207"/>
                    <a:gd name="T23" fmla="*/ 383 h 720"/>
                    <a:gd name="T24" fmla="*/ 289 w 1207"/>
                    <a:gd name="T25" fmla="*/ 366 h 720"/>
                    <a:gd name="T26" fmla="*/ 303 w 1207"/>
                    <a:gd name="T27" fmla="*/ 333 h 720"/>
                    <a:gd name="T28" fmla="*/ 272 w 1207"/>
                    <a:gd name="T29" fmla="*/ 283 h 720"/>
                    <a:gd name="T30" fmla="*/ 213 w 1207"/>
                    <a:gd name="T31" fmla="*/ 272 h 720"/>
                    <a:gd name="T32" fmla="*/ 163 w 1207"/>
                    <a:gd name="T33" fmla="*/ 255 h 720"/>
                    <a:gd name="T34" fmla="*/ 168 w 1207"/>
                    <a:gd name="T35" fmla="*/ 293 h 720"/>
                    <a:gd name="T36" fmla="*/ 130 w 1207"/>
                    <a:gd name="T37" fmla="*/ 300 h 720"/>
                    <a:gd name="T38" fmla="*/ 71 w 1207"/>
                    <a:gd name="T39" fmla="*/ 345 h 720"/>
                    <a:gd name="T40" fmla="*/ 0 w 1207"/>
                    <a:gd name="T41" fmla="*/ 371 h 720"/>
                    <a:gd name="T42" fmla="*/ 364 w 1207"/>
                    <a:gd name="T43" fmla="*/ 116 h 720"/>
                    <a:gd name="T44" fmla="*/ 596 w 1207"/>
                    <a:gd name="T45" fmla="*/ 182 h 720"/>
                    <a:gd name="T46" fmla="*/ 671 w 1207"/>
                    <a:gd name="T47" fmla="*/ 201 h 720"/>
                    <a:gd name="T48" fmla="*/ 704 w 1207"/>
                    <a:gd name="T49" fmla="*/ 316 h 720"/>
                    <a:gd name="T50" fmla="*/ 844 w 1207"/>
                    <a:gd name="T51" fmla="*/ 387 h 720"/>
                    <a:gd name="T52" fmla="*/ 877 w 1207"/>
                    <a:gd name="T53" fmla="*/ 437 h 720"/>
                    <a:gd name="T54" fmla="*/ 919 w 1207"/>
                    <a:gd name="T55" fmla="*/ 383 h 720"/>
                    <a:gd name="T56" fmla="*/ 985 w 1207"/>
                    <a:gd name="T57" fmla="*/ 345 h 720"/>
                    <a:gd name="T58" fmla="*/ 1040 w 1207"/>
                    <a:gd name="T59" fmla="*/ 300 h 720"/>
                    <a:gd name="T60" fmla="*/ 1078 w 1207"/>
                    <a:gd name="T61" fmla="*/ 300 h 720"/>
                    <a:gd name="T62" fmla="*/ 1040 w 1207"/>
                    <a:gd name="T63" fmla="*/ 328 h 720"/>
                    <a:gd name="T64" fmla="*/ 1040 w 1207"/>
                    <a:gd name="T65" fmla="*/ 366 h 720"/>
                    <a:gd name="T66" fmla="*/ 1082 w 1207"/>
                    <a:gd name="T67" fmla="*/ 371 h 720"/>
                    <a:gd name="T68" fmla="*/ 1120 w 1207"/>
                    <a:gd name="T69" fmla="*/ 371 h 720"/>
                    <a:gd name="T70" fmla="*/ 1137 w 1207"/>
                    <a:gd name="T71" fmla="*/ 404 h 720"/>
                    <a:gd name="T72" fmla="*/ 1207 w 1207"/>
                    <a:gd name="T73" fmla="*/ 420 h 720"/>
                    <a:gd name="T74" fmla="*/ 1153 w 1207"/>
                    <a:gd name="T75" fmla="*/ 437 h 720"/>
                    <a:gd name="T76" fmla="*/ 1132 w 1207"/>
                    <a:gd name="T77" fmla="*/ 460 h 720"/>
                    <a:gd name="T78" fmla="*/ 1082 w 1207"/>
                    <a:gd name="T79" fmla="*/ 460 h 720"/>
                    <a:gd name="T80" fmla="*/ 1011 w 1207"/>
                    <a:gd name="T81" fmla="*/ 456 h 720"/>
                    <a:gd name="T82" fmla="*/ 1011 w 1207"/>
                    <a:gd name="T83" fmla="*/ 399 h 720"/>
                    <a:gd name="T84" fmla="*/ 943 w 1207"/>
                    <a:gd name="T85" fmla="*/ 420 h 720"/>
                    <a:gd name="T86" fmla="*/ 936 w 1207"/>
                    <a:gd name="T87" fmla="*/ 465 h 720"/>
                    <a:gd name="T88" fmla="*/ 898 w 1207"/>
                    <a:gd name="T89" fmla="*/ 482 h 720"/>
                    <a:gd name="T90" fmla="*/ 889 w 1207"/>
                    <a:gd name="T91" fmla="*/ 49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07" h="720">
                      <a:moveTo>
                        <a:pt x="889" y="498"/>
                      </a:moveTo>
                      <a:lnTo>
                        <a:pt x="882" y="522"/>
                      </a:lnTo>
                      <a:lnTo>
                        <a:pt x="827" y="515"/>
                      </a:lnTo>
                      <a:lnTo>
                        <a:pt x="806" y="531"/>
                      </a:lnTo>
                      <a:lnTo>
                        <a:pt x="796" y="548"/>
                      </a:lnTo>
                      <a:lnTo>
                        <a:pt x="806" y="555"/>
                      </a:lnTo>
                      <a:lnTo>
                        <a:pt x="822" y="564"/>
                      </a:lnTo>
                      <a:lnTo>
                        <a:pt x="827" y="572"/>
                      </a:lnTo>
                      <a:lnTo>
                        <a:pt x="851" y="572"/>
                      </a:lnTo>
                      <a:lnTo>
                        <a:pt x="860" y="588"/>
                      </a:lnTo>
                      <a:lnTo>
                        <a:pt x="851" y="588"/>
                      </a:lnTo>
                      <a:lnTo>
                        <a:pt x="851" y="609"/>
                      </a:lnTo>
                      <a:lnTo>
                        <a:pt x="877" y="642"/>
                      </a:lnTo>
                      <a:lnTo>
                        <a:pt x="867" y="659"/>
                      </a:lnTo>
                      <a:lnTo>
                        <a:pt x="860" y="659"/>
                      </a:lnTo>
                      <a:lnTo>
                        <a:pt x="834" y="699"/>
                      </a:lnTo>
                      <a:lnTo>
                        <a:pt x="827" y="720"/>
                      </a:lnTo>
                      <a:lnTo>
                        <a:pt x="813" y="716"/>
                      </a:lnTo>
                      <a:lnTo>
                        <a:pt x="789" y="720"/>
                      </a:lnTo>
                      <a:lnTo>
                        <a:pt x="775" y="704"/>
                      </a:lnTo>
                      <a:lnTo>
                        <a:pt x="742" y="704"/>
                      </a:lnTo>
                      <a:lnTo>
                        <a:pt x="742" y="675"/>
                      </a:lnTo>
                      <a:lnTo>
                        <a:pt x="752" y="659"/>
                      </a:lnTo>
                      <a:lnTo>
                        <a:pt x="700" y="633"/>
                      </a:lnTo>
                      <a:lnTo>
                        <a:pt x="671" y="633"/>
                      </a:lnTo>
                      <a:lnTo>
                        <a:pt x="591" y="572"/>
                      </a:lnTo>
                      <a:lnTo>
                        <a:pt x="574" y="576"/>
                      </a:lnTo>
                      <a:lnTo>
                        <a:pt x="541" y="555"/>
                      </a:lnTo>
                      <a:lnTo>
                        <a:pt x="537" y="538"/>
                      </a:lnTo>
                      <a:lnTo>
                        <a:pt x="456" y="482"/>
                      </a:lnTo>
                      <a:lnTo>
                        <a:pt x="449" y="456"/>
                      </a:lnTo>
                      <a:lnTo>
                        <a:pt x="433" y="437"/>
                      </a:lnTo>
                      <a:lnTo>
                        <a:pt x="419" y="387"/>
                      </a:lnTo>
                      <a:lnTo>
                        <a:pt x="385" y="371"/>
                      </a:lnTo>
                      <a:lnTo>
                        <a:pt x="374" y="387"/>
                      </a:lnTo>
                      <a:lnTo>
                        <a:pt x="348" y="383"/>
                      </a:lnTo>
                      <a:lnTo>
                        <a:pt x="319" y="383"/>
                      </a:lnTo>
                      <a:lnTo>
                        <a:pt x="293" y="371"/>
                      </a:lnTo>
                      <a:lnTo>
                        <a:pt x="289" y="366"/>
                      </a:lnTo>
                      <a:lnTo>
                        <a:pt x="293" y="349"/>
                      </a:lnTo>
                      <a:lnTo>
                        <a:pt x="289" y="333"/>
                      </a:lnTo>
                      <a:lnTo>
                        <a:pt x="303" y="333"/>
                      </a:lnTo>
                      <a:lnTo>
                        <a:pt x="289" y="309"/>
                      </a:lnTo>
                      <a:lnTo>
                        <a:pt x="289" y="293"/>
                      </a:lnTo>
                      <a:lnTo>
                        <a:pt x="272" y="283"/>
                      </a:lnTo>
                      <a:lnTo>
                        <a:pt x="234" y="283"/>
                      </a:lnTo>
                      <a:lnTo>
                        <a:pt x="222" y="272"/>
                      </a:lnTo>
                      <a:lnTo>
                        <a:pt x="213" y="272"/>
                      </a:lnTo>
                      <a:lnTo>
                        <a:pt x="185" y="243"/>
                      </a:lnTo>
                      <a:lnTo>
                        <a:pt x="180" y="260"/>
                      </a:lnTo>
                      <a:lnTo>
                        <a:pt x="163" y="255"/>
                      </a:lnTo>
                      <a:lnTo>
                        <a:pt x="159" y="260"/>
                      </a:lnTo>
                      <a:lnTo>
                        <a:pt x="180" y="293"/>
                      </a:lnTo>
                      <a:lnTo>
                        <a:pt x="168" y="293"/>
                      </a:lnTo>
                      <a:lnTo>
                        <a:pt x="163" y="276"/>
                      </a:lnTo>
                      <a:lnTo>
                        <a:pt x="147" y="272"/>
                      </a:lnTo>
                      <a:lnTo>
                        <a:pt x="130" y="300"/>
                      </a:lnTo>
                      <a:lnTo>
                        <a:pt x="104" y="300"/>
                      </a:lnTo>
                      <a:lnTo>
                        <a:pt x="71" y="328"/>
                      </a:lnTo>
                      <a:lnTo>
                        <a:pt x="71" y="345"/>
                      </a:lnTo>
                      <a:lnTo>
                        <a:pt x="76" y="371"/>
                      </a:lnTo>
                      <a:lnTo>
                        <a:pt x="76" y="383"/>
                      </a:lnTo>
                      <a:lnTo>
                        <a:pt x="0" y="371"/>
                      </a:lnTo>
                      <a:lnTo>
                        <a:pt x="0" y="54"/>
                      </a:lnTo>
                      <a:lnTo>
                        <a:pt x="180" y="0"/>
                      </a:lnTo>
                      <a:lnTo>
                        <a:pt x="364" y="116"/>
                      </a:lnTo>
                      <a:lnTo>
                        <a:pt x="428" y="182"/>
                      </a:lnTo>
                      <a:lnTo>
                        <a:pt x="508" y="172"/>
                      </a:lnTo>
                      <a:lnTo>
                        <a:pt x="596" y="182"/>
                      </a:lnTo>
                      <a:lnTo>
                        <a:pt x="629" y="165"/>
                      </a:lnTo>
                      <a:lnTo>
                        <a:pt x="650" y="189"/>
                      </a:lnTo>
                      <a:lnTo>
                        <a:pt x="671" y="201"/>
                      </a:lnTo>
                      <a:lnTo>
                        <a:pt x="688" y="238"/>
                      </a:lnTo>
                      <a:lnTo>
                        <a:pt x="714" y="227"/>
                      </a:lnTo>
                      <a:lnTo>
                        <a:pt x="704" y="316"/>
                      </a:lnTo>
                      <a:lnTo>
                        <a:pt x="742" y="316"/>
                      </a:lnTo>
                      <a:lnTo>
                        <a:pt x="759" y="387"/>
                      </a:lnTo>
                      <a:lnTo>
                        <a:pt x="844" y="387"/>
                      </a:lnTo>
                      <a:lnTo>
                        <a:pt x="860" y="399"/>
                      </a:lnTo>
                      <a:lnTo>
                        <a:pt x="851" y="420"/>
                      </a:lnTo>
                      <a:lnTo>
                        <a:pt x="877" y="437"/>
                      </a:lnTo>
                      <a:lnTo>
                        <a:pt x="889" y="437"/>
                      </a:lnTo>
                      <a:lnTo>
                        <a:pt x="889" y="411"/>
                      </a:lnTo>
                      <a:lnTo>
                        <a:pt x="919" y="383"/>
                      </a:lnTo>
                      <a:lnTo>
                        <a:pt x="919" y="371"/>
                      </a:lnTo>
                      <a:lnTo>
                        <a:pt x="957" y="345"/>
                      </a:lnTo>
                      <a:lnTo>
                        <a:pt x="985" y="345"/>
                      </a:lnTo>
                      <a:lnTo>
                        <a:pt x="1011" y="309"/>
                      </a:lnTo>
                      <a:lnTo>
                        <a:pt x="1028" y="316"/>
                      </a:lnTo>
                      <a:lnTo>
                        <a:pt x="1040" y="300"/>
                      </a:lnTo>
                      <a:lnTo>
                        <a:pt x="1049" y="293"/>
                      </a:lnTo>
                      <a:lnTo>
                        <a:pt x="1061" y="283"/>
                      </a:lnTo>
                      <a:lnTo>
                        <a:pt x="1078" y="300"/>
                      </a:lnTo>
                      <a:lnTo>
                        <a:pt x="1044" y="309"/>
                      </a:lnTo>
                      <a:lnTo>
                        <a:pt x="1044" y="328"/>
                      </a:lnTo>
                      <a:lnTo>
                        <a:pt x="1040" y="328"/>
                      </a:lnTo>
                      <a:lnTo>
                        <a:pt x="995" y="354"/>
                      </a:lnTo>
                      <a:lnTo>
                        <a:pt x="1023" y="366"/>
                      </a:lnTo>
                      <a:lnTo>
                        <a:pt x="1040" y="366"/>
                      </a:lnTo>
                      <a:lnTo>
                        <a:pt x="1044" y="383"/>
                      </a:lnTo>
                      <a:lnTo>
                        <a:pt x="1082" y="387"/>
                      </a:lnTo>
                      <a:lnTo>
                        <a:pt x="1082" y="371"/>
                      </a:lnTo>
                      <a:lnTo>
                        <a:pt x="1099" y="371"/>
                      </a:lnTo>
                      <a:lnTo>
                        <a:pt x="1104" y="354"/>
                      </a:lnTo>
                      <a:lnTo>
                        <a:pt x="1120" y="371"/>
                      </a:lnTo>
                      <a:lnTo>
                        <a:pt x="1120" y="387"/>
                      </a:lnTo>
                      <a:lnTo>
                        <a:pt x="1137" y="387"/>
                      </a:lnTo>
                      <a:lnTo>
                        <a:pt x="1137" y="404"/>
                      </a:lnTo>
                      <a:lnTo>
                        <a:pt x="1153" y="399"/>
                      </a:lnTo>
                      <a:lnTo>
                        <a:pt x="1170" y="411"/>
                      </a:lnTo>
                      <a:lnTo>
                        <a:pt x="1207" y="420"/>
                      </a:lnTo>
                      <a:lnTo>
                        <a:pt x="1186" y="427"/>
                      </a:lnTo>
                      <a:lnTo>
                        <a:pt x="1170" y="444"/>
                      </a:lnTo>
                      <a:lnTo>
                        <a:pt x="1153" y="437"/>
                      </a:lnTo>
                      <a:lnTo>
                        <a:pt x="1153" y="456"/>
                      </a:lnTo>
                      <a:lnTo>
                        <a:pt x="1137" y="456"/>
                      </a:lnTo>
                      <a:lnTo>
                        <a:pt x="1132" y="460"/>
                      </a:lnTo>
                      <a:lnTo>
                        <a:pt x="1132" y="465"/>
                      </a:lnTo>
                      <a:lnTo>
                        <a:pt x="1104" y="477"/>
                      </a:lnTo>
                      <a:lnTo>
                        <a:pt x="1082" y="460"/>
                      </a:lnTo>
                      <a:lnTo>
                        <a:pt x="1049" y="465"/>
                      </a:lnTo>
                      <a:lnTo>
                        <a:pt x="1028" y="465"/>
                      </a:lnTo>
                      <a:lnTo>
                        <a:pt x="1011" y="456"/>
                      </a:lnTo>
                      <a:lnTo>
                        <a:pt x="1011" y="456"/>
                      </a:lnTo>
                      <a:lnTo>
                        <a:pt x="1044" y="427"/>
                      </a:lnTo>
                      <a:lnTo>
                        <a:pt x="1011" y="399"/>
                      </a:lnTo>
                      <a:lnTo>
                        <a:pt x="1007" y="411"/>
                      </a:lnTo>
                      <a:lnTo>
                        <a:pt x="969" y="437"/>
                      </a:lnTo>
                      <a:lnTo>
                        <a:pt x="943" y="420"/>
                      </a:lnTo>
                      <a:lnTo>
                        <a:pt x="943" y="420"/>
                      </a:lnTo>
                      <a:lnTo>
                        <a:pt x="936" y="444"/>
                      </a:lnTo>
                      <a:lnTo>
                        <a:pt x="936" y="465"/>
                      </a:lnTo>
                      <a:lnTo>
                        <a:pt x="889" y="477"/>
                      </a:lnTo>
                      <a:lnTo>
                        <a:pt x="915" y="477"/>
                      </a:lnTo>
                      <a:lnTo>
                        <a:pt x="898" y="482"/>
                      </a:lnTo>
                      <a:lnTo>
                        <a:pt x="905" y="498"/>
                      </a:lnTo>
                      <a:lnTo>
                        <a:pt x="889" y="498"/>
                      </a:lnTo>
                      <a:lnTo>
                        <a:pt x="889" y="498"/>
                      </a:lnTo>
                      <a:lnTo>
                        <a:pt x="889" y="49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3461" name="Gruppieren 3460">
            <a:extLst>
              <a:ext uri="{FF2B5EF4-FFF2-40B4-BE49-F238E27FC236}">
                <a16:creationId xmlns:a16="http://schemas.microsoft.com/office/drawing/2014/main" id="{C49C6E0C-1E96-4A5A-9FCB-3CF37BD842F5}"/>
              </a:ext>
            </a:extLst>
          </p:cNvPr>
          <p:cNvGrpSpPr/>
          <p:nvPr/>
        </p:nvGrpSpPr>
        <p:grpSpPr bwMode="gray">
          <a:xfrm>
            <a:off x="9362850" y="325263"/>
            <a:ext cx="4631844" cy="5810739"/>
            <a:chOff x="8473775" y="2306210"/>
            <a:chExt cx="2843406" cy="3567109"/>
          </a:xfrm>
          <a:pattFill prst="ltUpDiag">
            <a:fgClr>
              <a:schemeClr val="bg2">
                <a:lumMod val="90000"/>
              </a:schemeClr>
            </a:fgClr>
            <a:bgClr>
              <a:schemeClr val="bg1"/>
            </a:bgClr>
          </a:pattFill>
        </p:grpSpPr>
        <p:sp>
          <p:nvSpPr>
            <p:cNvPr id="3462" name="Freeform 379">
              <a:extLst>
                <a:ext uri="{FF2B5EF4-FFF2-40B4-BE49-F238E27FC236}">
                  <a16:creationId xmlns:a16="http://schemas.microsoft.com/office/drawing/2014/main" id="{645F86F2-82B5-47A1-9097-17DD6F7D5296}"/>
                </a:ext>
              </a:extLst>
            </p:cNvPr>
            <p:cNvSpPr>
              <a:spLocks/>
            </p:cNvSpPr>
            <p:nvPr/>
          </p:nvSpPr>
          <p:spPr bwMode="gray">
            <a:xfrm>
              <a:off x="8473775" y="2866557"/>
              <a:ext cx="414964" cy="299318"/>
            </a:xfrm>
            <a:custGeom>
              <a:avLst/>
              <a:gdLst>
                <a:gd name="T0" fmla="*/ 75 w 1008"/>
                <a:gd name="T1" fmla="*/ 243 h 727"/>
                <a:gd name="T2" fmla="*/ 137 w 1008"/>
                <a:gd name="T3" fmla="*/ 260 h 727"/>
                <a:gd name="T4" fmla="*/ 184 w 1008"/>
                <a:gd name="T5" fmla="*/ 234 h 727"/>
                <a:gd name="T6" fmla="*/ 243 w 1008"/>
                <a:gd name="T7" fmla="*/ 193 h 727"/>
                <a:gd name="T8" fmla="*/ 297 w 1008"/>
                <a:gd name="T9" fmla="*/ 111 h 727"/>
                <a:gd name="T10" fmla="*/ 361 w 1008"/>
                <a:gd name="T11" fmla="*/ 78 h 727"/>
                <a:gd name="T12" fmla="*/ 453 w 1008"/>
                <a:gd name="T13" fmla="*/ 82 h 727"/>
                <a:gd name="T14" fmla="*/ 508 w 1008"/>
                <a:gd name="T15" fmla="*/ 99 h 727"/>
                <a:gd name="T16" fmla="*/ 583 w 1008"/>
                <a:gd name="T17" fmla="*/ 94 h 727"/>
                <a:gd name="T18" fmla="*/ 621 w 1008"/>
                <a:gd name="T19" fmla="*/ 82 h 727"/>
                <a:gd name="T20" fmla="*/ 675 w 1008"/>
                <a:gd name="T21" fmla="*/ 78 h 727"/>
                <a:gd name="T22" fmla="*/ 718 w 1008"/>
                <a:gd name="T23" fmla="*/ 0 h 727"/>
                <a:gd name="T24" fmla="*/ 756 w 1008"/>
                <a:gd name="T25" fmla="*/ 42 h 727"/>
                <a:gd name="T26" fmla="*/ 777 w 1008"/>
                <a:gd name="T27" fmla="*/ 139 h 727"/>
                <a:gd name="T28" fmla="*/ 826 w 1008"/>
                <a:gd name="T29" fmla="*/ 115 h 727"/>
                <a:gd name="T30" fmla="*/ 890 w 1008"/>
                <a:gd name="T31" fmla="*/ 78 h 727"/>
                <a:gd name="T32" fmla="*/ 919 w 1008"/>
                <a:gd name="T33" fmla="*/ 94 h 727"/>
                <a:gd name="T34" fmla="*/ 994 w 1008"/>
                <a:gd name="T35" fmla="*/ 82 h 727"/>
                <a:gd name="T36" fmla="*/ 999 w 1008"/>
                <a:gd name="T37" fmla="*/ 94 h 727"/>
                <a:gd name="T38" fmla="*/ 987 w 1008"/>
                <a:gd name="T39" fmla="*/ 120 h 727"/>
                <a:gd name="T40" fmla="*/ 923 w 1008"/>
                <a:gd name="T41" fmla="*/ 120 h 727"/>
                <a:gd name="T42" fmla="*/ 784 w 1008"/>
                <a:gd name="T43" fmla="*/ 165 h 727"/>
                <a:gd name="T44" fmla="*/ 756 w 1008"/>
                <a:gd name="T45" fmla="*/ 189 h 727"/>
                <a:gd name="T46" fmla="*/ 777 w 1008"/>
                <a:gd name="T47" fmla="*/ 250 h 727"/>
                <a:gd name="T48" fmla="*/ 772 w 1008"/>
                <a:gd name="T49" fmla="*/ 283 h 727"/>
                <a:gd name="T50" fmla="*/ 730 w 1008"/>
                <a:gd name="T51" fmla="*/ 321 h 727"/>
                <a:gd name="T52" fmla="*/ 701 w 1008"/>
                <a:gd name="T53" fmla="*/ 373 h 727"/>
                <a:gd name="T54" fmla="*/ 663 w 1008"/>
                <a:gd name="T55" fmla="*/ 390 h 727"/>
                <a:gd name="T56" fmla="*/ 685 w 1008"/>
                <a:gd name="T57" fmla="*/ 415 h 727"/>
                <a:gd name="T58" fmla="*/ 633 w 1008"/>
                <a:gd name="T59" fmla="*/ 456 h 727"/>
                <a:gd name="T60" fmla="*/ 616 w 1008"/>
                <a:gd name="T61" fmla="*/ 489 h 727"/>
                <a:gd name="T62" fmla="*/ 583 w 1008"/>
                <a:gd name="T63" fmla="*/ 562 h 727"/>
                <a:gd name="T64" fmla="*/ 562 w 1008"/>
                <a:gd name="T65" fmla="*/ 545 h 727"/>
                <a:gd name="T66" fmla="*/ 491 w 1008"/>
                <a:gd name="T67" fmla="*/ 562 h 727"/>
                <a:gd name="T68" fmla="*/ 453 w 1008"/>
                <a:gd name="T69" fmla="*/ 578 h 727"/>
                <a:gd name="T70" fmla="*/ 415 w 1008"/>
                <a:gd name="T71" fmla="*/ 612 h 727"/>
                <a:gd name="T72" fmla="*/ 399 w 1008"/>
                <a:gd name="T73" fmla="*/ 678 h 727"/>
                <a:gd name="T74" fmla="*/ 314 w 1008"/>
                <a:gd name="T75" fmla="*/ 723 h 727"/>
                <a:gd name="T76" fmla="*/ 217 w 1008"/>
                <a:gd name="T77" fmla="*/ 723 h 727"/>
                <a:gd name="T78" fmla="*/ 23 w 1008"/>
                <a:gd name="T79" fmla="*/ 694 h 727"/>
                <a:gd name="T80" fmla="*/ 82 w 1008"/>
                <a:gd name="T81" fmla="*/ 578 h 727"/>
                <a:gd name="T82" fmla="*/ 23 w 1008"/>
                <a:gd name="T83" fmla="*/ 505 h 727"/>
                <a:gd name="T84" fmla="*/ 0 w 1008"/>
                <a:gd name="T85" fmla="*/ 394 h 727"/>
                <a:gd name="T86" fmla="*/ 23 w 1008"/>
                <a:gd name="T87" fmla="*/ 338 h 727"/>
                <a:gd name="T88" fmla="*/ 37 w 1008"/>
                <a:gd name="T89" fmla="*/ 300 h 727"/>
                <a:gd name="T90" fmla="*/ 54 w 1008"/>
                <a:gd name="T91" fmla="*/ 23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08" h="727">
                  <a:moveTo>
                    <a:pt x="54" y="234"/>
                  </a:moveTo>
                  <a:lnTo>
                    <a:pt x="61" y="227"/>
                  </a:lnTo>
                  <a:lnTo>
                    <a:pt x="75" y="243"/>
                  </a:lnTo>
                  <a:lnTo>
                    <a:pt x="108" y="243"/>
                  </a:lnTo>
                  <a:lnTo>
                    <a:pt x="120" y="267"/>
                  </a:lnTo>
                  <a:lnTo>
                    <a:pt x="137" y="260"/>
                  </a:lnTo>
                  <a:lnTo>
                    <a:pt x="151" y="260"/>
                  </a:lnTo>
                  <a:lnTo>
                    <a:pt x="184" y="243"/>
                  </a:lnTo>
                  <a:lnTo>
                    <a:pt x="184" y="234"/>
                  </a:lnTo>
                  <a:lnTo>
                    <a:pt x="184" y="227"/>
                  </a:lnTo>
                  <a:lnTo>
                    <a:pt x="184" y="210"/>
                  </a:lnTo>
                  <a:lnTo>
                    <a:pt x="243" y="193"/>
                  </a:lnTo>
                  <a:lnTo>
                    <a:pt x="276" y="177"/>
                  </a:lnTo>
                  <a:lnTo>
                    <a:pt x="297" y="120"/>
                  </a:lnTo>
                  <a:lnTo>
                    <a:pt x="297" y="111"/>
                  </a:lnTo>
                  <a:lnTo>
                    <a:pt x="323" y="99"/>
                  </a:lnTo>
                  <a:lnTo>
                    <a:pt x="352" y="99"/>
                  </a:lnTo>
                  <a:lnTo>
                    <a:pt x="361" y="78"/>
                  </a:lnTo>
                  <a:lnTo>
                    <a:pt x="406" y="94"/>
                  </a:lnTo>
                  <a:lnTo>
                    <a:pt x="422" y="82"/>
                  </a:lnTo>
                  <a:lnTo>
                    <a:pt x="453" y="82"/>
                  </a:lnTo>
                  <a:lnTo>
                    <a:pt x="470" y="99"/>
                  </a:lnTo>
                  <a:lnTo>
                    <a:pt x="491" y="94"/>
                  </a:lnTo>
                  <a:lnTo>
                    <a:pt x="508" y="99"/>
                  </a:lnTo>
                  <a:lnTo>
                    <a:pt x="508" y="111"/>
                  </a:lnTo>
                  <a:lnTo>
                    <a:pt x="529" y="120"/>
                  </a:lnTo>
                  <a:lnTo>
                    <a:pt x="583" y="94"/>
                  </a:lnTo>
                  <a:lnTo>
                    <a:pt x="616" y="111"/>
                  </a:lnTo>
                  <a:lnTo>
                    <a:pt x="621" y="99"/>
                  </a:lnTo>
                  <a:lnTo>
                    <a:pt x="621" y="82"/>
                  </a:lnTo>
                  <a:lnTo>
                    <a:pt x="633" y="66"/>
                  </a:lnTo>
                  <a:lnTo>
                    <a:pt x="654" y="66"/>
                  </a:lnTo>
                  <a:lnTo>
                    <a:pt x="675" y="78"/>
                  </a:lnTo>
                  <a:lnTo>
                    <a:pt x="685" y="61"/>
                  </a:lnTo>
                  <a:lnTo>
                    <a:pt x="675" y="38"/>
                  </a:lnTo>
                  <a:lnTo>
                    <a:pt x="718" y="0"/>
                  </a:lnTo>
                  <a:lnTo>
                    <a:pt x="730" y="0"/>
                  </a:lnTo>
                  <a:lnTo>
                    <a:pt x="760" y="9"/>
                  </a:lnTo>
                  <a:lnTo>
                    <a:pt x="756" y="42"/>
                  </a:lnTo>
                  <a:lnTo>
                    <a:pt x="777" y="42"/>
                  </a:lnTo>
                  <a:lnTo>
                    <a:pt x="760" y="111"/>
                  </a:lnTo>
                  <a:lnTo>
                    <a:pt x="777" y="139"/>
                  </a:lnTo>
                  <a:lnTo>
                    <a:pt x="784" y="149"/>
                  </a:lnTo>
                  <a:lnTo>
                    <a:pt x="793" y="139"/>
                  </a:lnTo>
                  <a:lnTo>
                    <a:pt x="826" y="115"/>
                  </a:lnTo>
                  <a:lnTo>
                    <a:pt x="852" y="115"/>
                  </a:lnTo>
                  <a:lnTo>
                    <a:pt x="864" y="99"/>
                  </a:lnTo>
                  <a:lnTo>
                    <a:pt x="890" y="78"/>
                  </a:lnTo>
                  <a:lnTo>
                    <a:pt x="933" y="82"/>
                  </a:lnTo>
                  <a:lnTo>
                    <a:pt x="933" y="94"/>
                  </a:lnTo>
                  <a:lnTo>
                    <a:pt x="919" y="94"/>
                  </a:lnTo>
                  <a:lnTo>
                    <a:pt x="923" y="99"/>
                  </a:lnTo>
                  <a:lnTo>
                    <a:pt x="961" y="82"/>
                  </a:lnTo>
                  <a:lnTo>
                    <a:pt x="994" y="82"/>
                  </a:lnTo>
                  <a:lnTo>
                    <a:pt x="1008" y="99"/>
                  </a:lnTo>
                  <a:lnTo>
                    <a:pt x="999" y="99"/>
                  </a:lnTo>
                  <a:lnTo>
                    <a:pt x="999" y="94"/>
                  </a:lnTo>
                  <a:lnTo>
                    <a:pt x="971" y="99"/>
                  </a:lnTo>
                  <a:lnTo>
                    <a:pt x="987" y="115"/>
                  </a:lnTo>
                  <a:lnTo>
                    <a:pt x="987" y="120"/>
                  </a:lnTo>
                  <a:lnTo>
                    <a:pt x="978" y="115"/>
                  </a:lnTo>
                  <a:lnTo>
                    <a:pt x="945" y="132"/>
                  </a:lnTo>
                  <a:lnTo>
                    <a:pt x="923" y="120"/>
                  </a:lnTo>
                  <a:lnTo>
                    <a:pt x="848" y="132"/>
                  </a:lnTo>
                  <a:lnTo>
                    <a:pt x="815" y="139"/>
                  </a:lnTo>
                  <a:lnTo>
                    <a:pt x="784" y="165"/>
                  </a:lnTo>
                  <a:lnTo>
                    <a:pt x="777" y="165"/>
                  </a:lnTo>
                  <a:lnTo>
                    <a:pt x="777" y="172"/>
                  </a:lnTo>
                  <a:lnTo>
                    <a:pt x="756" y="189"/>
                  </a:lnTo>
                  <a:lnTo>
                    <a:pt x="746" y="193"/>
                  </a:lnTo>
                  <a:lnTo>
                    <a:pt x="772" y="210"/>
                  </a:lnTo>
                  <a:lnTo>
                    <a:pt x="777" y="250"/>
                  </a:lnTo>
                  <a:lnTo>
                    <a:pt x="772" y="260"/>
                  </a:lnTo>
                  <a:lnTo>
                    <a:pt x="777" y="267"/>
                  </a:lnTo>
                  <a:lnTo>
                    <a:pt x="772" y="283"/>
                  </a:lnTo>
                  <a:lnTo>
                    <a:pt x="739" y="304"/>
                  </a:lnTo>
                  <a:lnTo>
                    <a:pt x="739" y="316"/>
                  </a:lnTo>
                  <a:lnTo>
                    <a:pt x="730" y="321"/>
                  </a:lnTo>
                  <a:lnTo>
                    <a:pt x="746" y="338"/>
                  </a:lnTo>
                  <a:lnTo>
                    <a:pt x="739" y="361"/>
                  </a:lnTo>
                  <a:lnTo>
                    <a:pt x="701" y="373"/>
                  </a:lnTo>
                  <a:lnTo>
                    <a:pt x="654" y="361"/>
                  </a:lnTo>
                  <a:lnTo>
                    <a:pt x="663" y="378"/>
                  </a:lnTo>
                  <a:lnTo>
                    <a:pt x="663" y="390"/>
                  </a:lnTo>
                  <a:lnTo>
                    <a:pt x="675" y="390"/>
                  </a:lnTo>
                  <a:lnTo>
                    <a:pt x="675" y="399"/>
                  </a:lnTo>
                  <a:lnTo>
                    <a:pt x="685" y="415"/>
                  </a:lnTo>
                  <a:lnTo>
                    <a:pt x="671" y="434"/>
                  </a:lnTo>
                  <a:lnTo>
                    <a:pt x="633" y="444"/>
                  </a:lnTo>
                  <a:lnTo>
                    <a:pt x="633" y="456"/>
                  </a:lnTo>
                  <a:lnTo>
                    <a:pt x="621" y="467"/>
                  </a:lnTo>
                  <a:lnTo>
                    <a:pt x="621" y="472"/>
                  </a:lnTo>
                  <a:lnTo>
                    <a:pt x="616" y="489"/>
                  </a:lnTo>
                  <a:lnTo>
                    <a:pt x="616" y="529"/>
                  </a:lnTo>
                  <a:lnTo>
                    <a:pt x="600" y="555"/>
                  </a:lnTo>
                  <a:lnTo>
                    <a:pt x="583" y="562"/>
                  </a:lnTo>
                  <a:lnTo>
                    <a:pt x="562" y="538"/>
                  </a:lnTo>
                  <a:lnTo>
                    <a:pt x="557" y="545"/>
                  </a:lnTo>
                  <a:lnTo>
                    <a:pt x="562" y="545"/>
                  </a:lnTo>
                  <a:lnTo>
                    <a:pt x="541" y="538"/>
                  </a:lnTo>
                  <a:lnTo>
                    <a:pt x="524" y="555"/>
                  </a:lnTo>
                  <a:lnTo>
                    <a:pt x="491" y="562"/>
                  </a:lnTo>
                  <a:lnTo>
                    <a:pt x="508" y="578"/>
                  </a:lnTo>
                  <a:lnTo>
                    <a:pt x="474" y="583"/>
                  </a:lnTo>
                  <a:lnTo>
                    <a:pt x="453" y="578"/>
                  </a:lnTo>
                  <a:lnTo>
                    <a:pt x="437" y="583"/>
                  </a:lnTo>
                  <a:lnTo>
                    <a:pt x="422" y="612"/>
                  </a:lnTo>
                  <a:lnTo>
                    <a:pt x="415" y="612"/>
                  </a:lnTo>
                  <a:lnTo>
                    <a:pt x="406" y="640"/>
                  </a:lnTo>
                  <a:lnTo>
                    <a:pt x="406" y="668"/>
                  </a:lnTo>
                  <a:lnTo>
                    <a:pt x="399" y="678"/>
                  </a:lnTo>
                  <a:lnTo>
                    <a:pt x="406" y="689"/>
                  </a:lnTo>
                  <a:lnTo>
                    <a:pt x="399" y="694"/>
                  </a:lnTo>
                  <a:lnTo>
                    <a:pt x="314" y="723"/>
                  </a:lnTo>
                  <a:lnTo>
                    <a:pt x="271" y="723"/>
                  </a:lnTo>
                  <a:lnTo>
                    <a:pt x="243" y="727"/>
                  </a:lnTo>
                  <a:lnTo>
                    <a:pt x="217" y="723"/>
                  </a:lnTo>
                  <a:lnTo>
                    <a:pt x="189" y="727"/>
                  </a:lnTo>
                  <a:lnTo>
                    <a:pt x="137" y="727"/>
                  </a:lnTo>
                  <a:lnTo>
                    <a:pt x="23" y="694"/>
                  </a:lnTo>
                  <a:lnTo>
                    <a:pt x="82" y="623"/>
                  </a:lnTo>
                  <a:lnTo>
                    <a:pt x="92" y="600"/>
                  </a:lnTo>
                  <a:lnTo>
                    <a:pt x="82" y="578"/>
                  </a:lnTo>
                  <a:lnTo>
                    <a:pt x="23" y="567"/>
                  </a:lnTo>
                  <a:lnTo>
                    <a:pt x="23" y="529"/>
                  </a:lnTo>
                  <a:lnTo>
                    <a:pt x="23" y="505"/>
                  </a:lnTo>
                  <a:lnTo>
                    <a:pt x="7" y="434"/>
                  </a:lnTo>
                  <a:lnTo>
                    <a:pt x="28" y="399"/>
                  </a:lnTo>
                  <a:lnTo>
                    <a:pt x="0" y="394"/>
                  </a:lnTo>
                  <a:lnTo>
                    <a:pt x="0" y="354"/>
                  </a:lnTo>
                  <a:lnTo>
                    <a:pt x="7" y="338"/>
                  </a:lnTo>
                  <a:lnTo>
                    <a:pt x="23" y="338"/>
                  </a:lnTo>
                  <a:lnTo>
                    <a:pt x="11" y="321"/>
                  </a:lnTo>
                  <a:lnTo>
                    <a:pt x="28" y="316"/>
                  </a:lnTo>
                  <a:lnTo>
                    <a:pt x="37" y="300"/>
                  </a:lnTo>
                  <a:lnTo>
                    <a:pt x="37" y="260"/>
                  </a:lnTo>
                  <a:lnTo>
                    <a:pt x="54" y="234"/>
                  </a:lnTo>
                  <a:lnTo>
                    <a:pt x="54" y="234"/>
                  </a:lnTo>
                  <a:lnTo>
                    <a:pt x="54" y="23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63" name="Freeform 388">
              <a:extLst>
                <a:ext uri="{FF2B5EF4-FFF2-40B4-BE49-F238E27FC236}">
                  <a16:creationId xmlns:a16="http://schemas.microsoft.com/office/drawing/2014/main" id="{8BD001E2-157B-46B3-9675-739F222C8135}"/>
                </a:ext>
              </a:extLst>
            </p:cNvPr>
            <p:cNvSpPr>
              <a:spLocks noEditPoints="1"/>
            </p:cNvSpPr>
            <p:nvPr/>
          </p:nvSpPr>
          <p:spPr bwMode="gray">
            <a:xfrm>
              <a:off x="9987898" y="4363968"/>
              <a:ext cx="1329283" cy="1509351"/>
            </a:xfrm>
            <a:custGeom>
              <a:avLst/>
              <a:gdLst>
                <a:gd name="T0" fmla="*/ 2050 w 3229"/>
                <a:gd name="T1" fmla="*/ 41 h 3666"/>
                <a:gd name="T2" fmla="*/ 2239 w 3229"/>
                <a:gd name="T3" fmla="*/ 2190 h 3666"/>
                <a:gd name="T4" fmla="*/ 1939 w 3229"/>
                <a:gd name="T5" fmla="*/ 2152 h 3666"/>
                <a:gd name="T6" fmla="*/ 1835 w 3229"/>
                <a:gd name="T7" fmla="*/ 1930 h 3666"/>
                <a:gd name="T8" fmla="*/ 1712 w 3229"/>
                <a:gd name="T9" fmla="*/ 1902 h 3666"/>
                <a:gd name="T10" fmla="*/ 1603 w 3229"/>
                <a:gd name="T11" fmla="*/ 1885 h 3666"/>
                <a:gd name="T12" fmla="*/ 1495 w 3229"/>
                <a:gd name="T13" fmla="*/ 1746 h 3666"/>
                <a:gd name="T14" fmla="*/ 1204 w 3229"/>
                <a:gd name="T15" fmla="*/ 1630 h 3666"/>
                <a:gd name="T16" fmla="*/ 621 w 3229"/>
                <a:gd name="T17" fmla="*/ 1815 h 3666"/>
                <a:gd name="T18" fmla="*/ 309 w 3229"/>
                <a:gd name="T19" fmla="*/ 1902 h 3666"/>
                <a:gd name="T20" fmla="*/ 196 w 3229"/>
                <a:gd name="T21" fmla="*/ 1647 h 3666"/>
                <a:gd name="T22" fmla="*/ 49 w 3229"/>
                <a:gd name="T23" fmla="*/ 1243 h 3666"/>
                <a:gd name="T24" fmla="*/ 33 w 3229"/>
                <a:gd name="T25" fmla="*/ 1071 h 3666"/>
                <a:gd name="T26" fmla="*/ 285 w 3229"/>
                <a:gd name="T27" fmla="*/ 782 h 3666"/>
                <a:gd name="T28" fmla="*/ 649 w 3229"/>
                <a:gd name="T29" fmla="*/ 527 h 3666"/>
                <a:gd name="T30" fmla="*/ 751 w 3229"/>
                <a:gd name="T31" fmla="*/ 482 h 3666"/>
                <a:gd name="T32" fmla="*/ 836 w 3229"/>
                <a:gd name="T33" fmla="*/ 466 h 3666"/>
                <a:gd name="T34" fmla="*/ 848 w 3229"/>
                <a:gd name="T35" fmla="*/ 388 h 3666"/>
                <a:gd name="T36" fmla="*/ 890 w 3229"/>
                <a:gd name="T37" fmla="*/ 305 h 3666"/>
                <a:gd name="T38" fmla="*/ 956 w 3229"/>
                <a:gd name="T39" fmla="*/ 305 h 3666"/>
                <a:gd name="T40" fmla="*/ 1091 w 3229"/>
                <a:gd name="T41" fmla="*/ 362 h 3666"/>
                <a:gd name="T42" fmla="*/ 1171 w 3229"/>
                <a:gd name="T43" fmla="*/ 345 h 3666"/>
                <a:gd name="T44" fmla="*/ 1226 w 3229"/>
                <a:gd name="T45" fmla="*/ 189 h 3666"/>
                <a:gd name="T46" fmla="*/ 1365 w 3229"/>
                <a:gd name="T47" fmla="*/ 156 h 3666"/>
                <a:gd name="T48" fmla="*/ 1419 w 3229"/>
                <a:gd name="T49" fmla="*/ 123 h 3666"/>
                <a:gd name="T50" fmla="*/ 1613 w 3229"/>
                <a:gd name="T51" fmla="*/ 123 h 3666"/>
                <a:gd name="T52" fmla="*/ 1674 w 3229"/>
                <a:gd name="T53" fmla="*/ 156 h 3666"/>
                <a:gd name="T54" fmla="*/ 1603 w 3229"/>
                <a:gd name="T55" fmla="*/ 305 h 3666"/>
                <a:gd name="T56" fmla="*/ 1953 w 3229"/>
                <a:gd name="T57" fmla="*/ 544 h 3666"/>
                <a:gd name="T58" fmla="*/ 2012 w 3229"/>
                <a:gd name="T59" fmla="*/ 178 h 3666"/>
                <a:gd name="T60" fmla="*/ 2121 w 3229"/>
                <a:gd name="T61" fmla="*/ 140 h 3666"/>
                <a:gd name="T62" fmla="*/ 2267 w 3229"/>
                <a:gd name="T63" fmla="*/ 355 h 3666"/>
                <a:gd name="T64" fmla="*/ 2414 w 3229"/>
                <a:gd name="T65" fmla="*/ 676 h 3666"/>
                <a:gd name="T66" fmla="*/ 2548 w 3229"/>
                <a:gd name="T67" fmla="*/ 832 h 3666"/>
                <a:gd name="T68" fmla="*/ 2671 w 3229"/>
                <a:gd name="T69" fmla="*/ 1004 h 3666"/>
                <a:gd name="T70" fmla="*/ 2822 w 3229"/>
                <a:gd name="T71" fmla="*/ 1304 h 3666"/>
                <a:gd name="T72" fmla="*/ 2700 w 3229"/>
                <a:gd name="T73" fmla="*/ 1774 h 3666"/>
                <a:gd name="T74" fmla="*/ 2603 w 3229"/>
                <a:gd name="T75" fmla="*/ 2079 h 3666"/>
                <a:gd name="T76" fmla="*/ 1667 w 3229"/>
                <a:gd name="T77" fmla="*/ 67 h 3666"/>
                <a:gd name="T78" fmla="*/ 1280 w 3229"/>
                <a:gd name="T79" fmla="*/ 100 h 3666"/>
                <a:gd name="T80" fmla="*/ 1226 w 3229"/>
                <a:gd name="T81" fmla="*/ 133 h 3666"/>
                <a:gd name="T82" fmla="*/ 1684 w 3229"/>
                <a:gd name="T83" fmla="*/ 300 h 3666"/>
                <a:gd name="T84" fmla="*/ 1629 w 3229"/>
                <a:gd name="T85" fmla="*/ 279 h 3666"/>
                <a:gd name="T86" fmla="*/ 810 w 3229"/>
                <a:gd name="T87" fmla="*/ 378 h 3666"/>
                <a:gd name="T88" fmla="*/ 1689 w 3229"/>
                <a:gd name="T89" fmla="*/ 428 h 3666"/>
                <a:gd name="T90" fmla="*/ 1835 w 3229"/>
                <a:gd name="T91" fmla="*/ 489 h 3666"/>
                <a:gd name="T92" fmla="*/ 2338 w 3229"/>
                <a:gd name="T93" fmla="*/ 622 h 3666"/>
                <a:gd name="T94" fmla="*/ 2520 w 3229"/>
                <a:gd name="T95" fmla="*/ 745 h 3666"/>
                <a:gd name="T96" fmla="*/ 2629 w 3229"/>
                <a:gd name="T97" fmla="*/ 910 h 3666"/>
                <a:gd name="T98" fmla="*/ 2834 w 3229"/>
                <a:gd name="T99" fmla="*/ 1115 h 3666"/>
                <a:gd name="T100" fmla="*/ 2839 w 3229"/>
                <a:gd name="T101" fmla="*/ 1297 h 3666"/>
                <a:gd name="T102" fmla="*/ 1651 w 3229"/>
                <a:gd name="T103" fmla="*/ 1980 h 3666"/>
                <a:gd name="T104" fmla="*/ 2267 w 3229"/>
                <a:gd name="T105" fmla="*/ 2202 h 3666"/>
                <a:gd name="T106" fmla="*/ 2187 w 3229"/>
                <a:gd name="T107" fmla="*/ 2313 h 3666"/>
                <a:gd name="T108" fmla="*/ 2461 w 3229"/>
                <a:gd name="T109" fmla="*/ 2363 h 3666"/>
                <a:gd name="T110" fmla="*/ 2466 w 3229"/>
                <a:gd name="T111" fmla="*/ 2363 h 3666"/>
                <a:gd name="T112" fmla="*/ 2305 w 3229"/>
                <a:gd name="T113" fmla="*/ 2606 h 3666"/>
                <a:gd name="T114" fmla="*/ 2385 w 3229"/>
                <a:gd name="T115" fmla="*/ 2417 h 3666"/>
                <a:gd name="T116" fmla="*/ 2456 w 3229"/>
                <a:gd name="T117" fmla="*/ 2596 h 3666"/>
                <a:gd name="T118" fmla="*/ 2390 w 3229"/>
                <a:gd name="T119" fmla="*/ 2606 h 3666"/>
                <a:gd name="T120" fmla="*/ 2414 w 3229"/>
                <a:gd name="T121" fmla="*/ 2596 h 3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29" h="3666">
                  <a:moveTo>
                    <a:pt x="2045" y="12"/>
                  </a:moveTo>
                  <a:lnTo>
                    <a:pt x="2045" y="5"/>
                  </a:lnTo>
                  <a:lnTo>
                    <a:pt x="2045" y="0"/>
                  </a:lnTo>
                  <a:lnTo>
                    <a:pt x="2045" y="12"/>
                  </a:lnTo>
                  <a:lnTo>
                    <a:pt x="2045" y="12"/>
                  </a:lnTo>
                  <a:lnTo>
                    <a:pt x="2045" y="12"/>
                  </a:lnTo>
                  <a:close/>
                  <a:moveTo>
                    <a:pt x="2050" y="12"/>
                  </a:moveTo>
                  <a:lnTo>
                    <a:pt x="2050" y="5"/>
                  </a:lnTo>
                  <a:lnTo>
                    <a:pt x="2062" y="12"/>
                  </a:lnTo>
                  <a:lnTo>
                    <a:pt x="2050" y="12"/>
                  </a:lnTo>
                  <a:lnTo>
                    <a:pt x="2050" y="12"/>
                  </a:lnTo>
                  <a:lnTo>
                    <a:pt x="2050" y="12"/>
                  </a:lnTo>
                  <a:close/>
                  <a:moveTo>
                    <a:pt x="2050" y="57"/>
                  </a:moveTo>
                  <a:lnTo>
                    <a:pt x="2045" y="45"/>
                  </a:lnTo>
                  <a:lnTo>
                    <a:pt x="2050" y="41"/>
                  </a:lnTo>
                  <a:lnTo>
                    <a:pt x="2050" y="45"/>
                  </a:lnTo>
                  <a:lnTo>
                    <a:pt x="2050" y="57"/>
                  </a:lnTo>
                  <a:lnTo>
                    <a:pt x="2050" y="57"/>
                  </a:lnTo>
                  <a:lnTo>
                    <a:pt x="2050" y="57"/>
                  </a:lnTo>
                  <a:close/>
                  <a:moveTo>
                    <a:pt x="2348" y="2247"/>
                  </a:moveTo>
                  <a:lnTo>
                    <a:pt x="2331" y="2219"/>
                  </a:lnTo>
                  <a:lnTo>
                    <a:pt x="2305" y="2223"/>
                  </a:lnTo>
                  <a:lnTo>
                    <a:pt x="2305" y="2202"/>
                  </a:lnTo>
                  <a:lnTo>
                    <a:pt x="2293" y="2207"/>
                  </a:lnTo>
                  <a:lnTo>
                    <a:pt x="2277" y="2190"/>
                  </a:lnTo>
                  <a:lnTo>
                    <a:pt x="2284" y="2181"/>
                  </a:lnTo>
                  <a:lnTo>
                    <a:pt x="2277" y="2169"/>
                  </a:lnTo>
                  <a:lnTo>
                    <a:pt x="2267" y="2169"/>
                  </a:lnTo>
                  <a:lnTo>
                    <a:pt x="2251" y="2190"/>
                  </a:lnTo>
                  <a:lnTo>
                    <a:pt x="2239" y="2190"/>
                  </a:lnTo>
                  <a:lnTo>
                    <a:pt x="2229" y="2181"/>
                  </a:lnTo>
                  <a:lnTo>
                    <a:pt x="2246" y="2181"/>
                  </a:lnTo>
                  <a:lnTo>
                    <a:pt x="2251" y="2164"/>
                  </a:lnTo>
                  <a:lnTo>
                    <a:pt x="2246" y="2136"/>
                  </a:lnTo>
                  <a:lnTo>
                    <a:pt x="2196" y="2164"/>
                  </a:lnTo>
                  <a:lnTo>
                    <a:pt x="2225" y="2164"/>
                  </a:lnTo>
                  <a:lnTo>
                    <a:pt x="2225" y="2181"/>
                  </a:lnTo>
                  <a:lnTo>
                    <a:pt x="2196" y="2181"/>
                  </a:lnTo>
                  <a:lnTo>
                    <a:pt x="2142" y="2223"/>
                  </a:lnTo>
                  <a:lnTo>
                    <a:pt x="2062" y="2181"/>
                  </a:lnTo>
                  <a:lnTo>
                    <a:pt x="2045" y="2185"/>
                  </a:lnTo>
                  <a:lnTo>
                    <a:pt x="2024" y="2169"/>
                  </a:lnTo>
                  <a:lnTo>
                    <a:pt x="2007" y="2185"/>
                  </a:lnTo>
                  <a:lnTo>
                    <a:pt x="1977" y="2164"/>
                  </a:lnTo>
                  <a:lnTo>
                    <a:pt x="1939" y="2152"/>
                  </a:lnTo>
                  <a:lnTo>
                    <a:pt x="1873" y="2079"/>
                  </a:lnTo>
                  <a:lnTo>
                    <a:pt x="1873" y="2058"/>
                  </a:lnTo>
                  <a:lnTo>
                    <a:pt x="1885" y="2053"/>
                  </a:lnTo>
                  <a:lnTo>
                    <a:pt x="1885" y="2025"/>
                  </a:lnTo>
                  <a:lnTo>
                    <a:pt x="1873" y="2001"/>
                  </a:lnTo>
                  <a:lnTo>
                    <a:pt x="1830" y="1959"/>
                  </a:lnTo>
                  <a:lnTo>
                    <a:pt x="1852" y="1968"/>
                  </a:lnTo>
                  <a:lnTo>
                    <a:pt x="1873" y="2001"/>
                  </a:lnTo>
                  <a:lnTo>
                    <a:pt x="1868" y="1985"/>
                  </a:lnTo>
                  <a:lnTo>
                    <a:pt x="1835" y="1959"/>
                  </a:lnTo>
                  <a:lnTo>
                    <a:pt x="1835" y="1942"/>
                  </a:lnTo>
                  <a:lnTo>
                    <a:pt x="1847" y="1959"/>
                  </a:lnTo>
                  <a:lnTo>
                    <a:pt x="1852" y="1959"/>
                  </a:lnTo>
                  <a:lnTo>
                    <a:pt x="1852" y="1930"/>
                  </a:lnTo>
                  <a:lnTo>
                    <a:pt x="1835" y="1930"/>
                  </a:lnTo>
                  <a:lnTo>
                    <a:pt x="1818" y="1942"/>
                  </a:lnTo>
                  <a:lnTo>
                    <a:pt x="1830" y="1947"/>
                  </a:lnTo>
                  <a:lnTo>
                    <a:pt x="1809" y="1947"/>
                  </a:lnTo>
                  <a:lnTo>
                    <a:pt x="1792" y="1959"/>
                  </a:lnTo>
                  <a:lnTo>
                    <a:pt x="1759" y="1959"/>
                  </a:lnTo>
                  <a:lnTo>
                    <a:pt x="1792" y="1930"/>
                  </a:lnTo>
                  <a:lnTo>
                    <a:pt x="1792" y="1909"/>
                  </a:lnTo>
                  <a:lnTo>
                    <a:pt x="1792" y="1874"/>
                  </a:lnTo>
                  <a:lnTo>
                    <a:pt x="1759" y="1831"/>
                  </a:lnTo>
                  <a:lnTo>
                    <a:pt x="1755" y="1857"/>
                  </a:lnTo>
                  <a:lnTo>
                    <a:pt x="1738" y="1914"/>
                  </a:lnTo>
                  <a:lnTo>
                    <a:pt x="1722" y="1909"/>
                  </a:lnTo>
                  <a:lnTo>
                    <a:pt x="1674" y="1926"/>
                  </a:lnTo>
                  <a:lnTo>
                    <a:pt x="1689" y="1893"/>
                  </a:lnTo>
                  <a:lnTo>
                    <a:pt x="1712" y="1902"/>
                  </a:lnTo>
                  <a:lnTo>
                    <a:pt x="1722" y="1874"/>
                  </a:lnTo>
                  <a:lnTo>
                    <a:pt x="1722" y="1836"/>
                  </a:lnTo>
                  <a:lnTo>
                    <a:pt x="1726" y="1815"/>
                  </a:lnTo>
                  <a:lnTo>
                    <a:pt x="1755" y="1791"/>
                  </a:lnTo>
                  <a:lnTo>
                    <a:pt x="1743" y="1765"/>
                  </a:lnTo>
                  <a:lnTo>
                    <a:pt x="1759" y="1746"/>
                  </a:lnTo>
                  <a:lnTo>
                    <a:pt x="1738" y="1704"/>
                  </a:lnTo>
                  <a:lnTo>
                    <a:pt x="1743" y="1741"/>
                  </a:lnTo>
                  <a:lnTo>
                    <a:pt x="1722" y="1746"/>
                  </a:lnTo>
                  <a:lnTo>
                    <a:pt x="1700" y="1798"/>
                  </a:lnTo>
                  <a:lnTo>
                    <a:pt x="1684" y="1798"/>
                  </a:lnTo>
                  <a:lnTo>
                    <a:pt x="1674" y="1803"/>
                  </a:lnTo>
                  <a:lnTo>
                    <a:pt x="1646" y="1819"/>
                  </a:lnTo>
                  <a:lnTo>
                    <a:pt x="1613" y="1869"/>
                  </a:lnTo>
                  <a:lnTo>
                    <a:pt x="1603" y="1885"/>
                  </a:lnTo>
                  <a:lnTo>
                    <a:pt x="1613" y="1885"/>
                  </a:lnTo>
                  <a:lnTo>
                    <a:pt x="1613" y="1902"/>
                  </a:lnTo>
                  <a:lnTo>
                    <a:pt x="1599" y="1893"/>
                  </a:lnTo>
                  <a:lnTo>
                    <a:pt x="1592" y="1902"/>
                  </a:lnTo>
                  <a:lnTo>
                    <a:pt x="1566" y="1869"/>
                  </a:lnTo>
                  <a:lnTo>
                    <a:pt x="1549" y="1869"/>
                  </a:lnTo>
                  <a:lnTo>
                    <a:pt x="1561" y="1852"/>
                  </a:lnTo>
                  <a:lnTo>
                    <a:pt x="1575" y="1874"/>
                  </a:lnTo>
                  <a:lnTo>
                    <a:pt x="1582" y="1869"/>
                  </a:lnTo>
                  <a:lnTo>
                    <a:pt x="1575" y="1869"/>
                  </a:lnTo>
                  <a:lnTo>
                    <a:pt x="1566" y="1819"/>
                  </a:lnTo>
                  <a:lnTo>
                    <a:pt x="1537" y="1791"/>
                  </a:lnTo>
                  <a:lnTo>
                    <a:pt x="1537" y="1782"/>
                  </a:lnTo>
                  <a:lnTo>
                    <a:pt x="1528" y="1758"/>
                  </a:lnTo>
                  <a:lnTo>
                    <a:pt x="1495" y="1746"/>
                  </a:lnTo>
                  <a:lnTo>
                    <a:pt x="1485" y="1720"/>
                  </a:lnTo>
                  <a:lnTo>
                    <a:pt x="1490" y="1725"/>
                  </a:lnTo>
                  <a:lnTo>
                    <a:pt x="1495" y="1720"/>
                  </a:lnTo>
                  <a:lnTo>
                    <a:pt x="1490" y="1704"/>
                  </a:lnTo>
                  <a:lnTo>
                    <a:pt x="1469" y="1704"/>
                  </a:lnTo>
                  <a:lnTo>
                    <a:pt x="1474" y="1692"/>
                  </a:lnTo>
                  <a:lnTo>
                    <a:pt x="1452" y="1670"/>
                  </a:lnTo>
                  <a:lnTo>
                    <a:pt x="1436" y="1680"/>
                  </a:lnTo>
                  <a:lnTo>
                    <a:pt x="1415" y="1680"/>
                  </a:lnTo>
                  <a:lnTo>
                    <a:pt x="1386" y="1654"/>
                  </a:lnTo>
                  <a:lnTo>
                    <a:pt x="1351" y="1663"/>
                  </a:lnTo>
                  <a:lnTo>
                    <a:pt x="1322" y="1637"/>
                  </a:lnTo>
                  <a:lnTo>
                    <a:pt x="1275" y="1614"/>
                  </a:lnTo>
                  <a:lnTo>
                    <a:pt x="1252" y="1630"/>
                  </a:lnTo>
                  <a:lnTo>
                    <a:pt x="1204" y="1630"/>
                  </a:lnTo>
                  <a:lnTo>
                    <a:pt x="1129" y="1637"/>
                  </a:lnTo>
                  <a:lnTo>
                    <a:pt x="1058" y="1670"/>
                  </a:lnTo>
                  <a:lnTo>
                    <a:pt x="1003" y="1687"/>
                  </a:lnTo>
                  <a:lnTo>
                    <a:pt x="911" y="1680"/>
                  </a:lnTo>
                  <a:lnTo>
                    <a:pt x="826" y="1737"/>
                  </a:lnTo>
                  <a:lnTo>
                    <a:pt x="793" y="1741"/>
                  </a:lnTo>
                  <a:lnTo>
                    <a:pt x="784" y="1746"/>
                  </a:lnTo>
                  <a:lnTo>
                    <a:pt x="772" y="1791"/>
                  </a:lnTo>
                  <a:lnTo>
                    <a:pt x="755" y="1803"/>
                  </a:lnTo>
                  <a:lnTo>
                    <a:pt x="718" y="1819"/>
                  </a:lnTo>
                  <a:lnTo>
                    <a:pt x="701" y="1815"/>
                  </a:lnTo>
                  <a:lnTo>
                    <a:pt x="659" y="1815"/>
                  </a:lnTo>
                  <a:lnTo>
                    <a:pt x="642" y="1819"/>
                  </a:lnTo>
                  <a:lnTo>
                    <a:pt x="633" y="1803"/>
                  </a:lnTo>
                  <a:lnTo>
                    <a:pt x="621" y="1815"/>
                  </a:lnTo>
                  <a:lnTo>
                    <a:pt x="595" y="1803"/>
                  </a:lnTo>
                  <a:lnTo>
                    <a:pt x="557" y="1815"/>
                  </a:lnTo>
                  <a:lnTo>
                    <a:pt x="524" y="1819"/>
                  </a:lnTo>
                  <a:lnTo>
                    <a:pt x="498" y="1815"/>
                  </a:lnTo>
                  <a:lnTo>
                    <a:pt x="465" y="1831"/>
                  </a:lnTo>
                  <a:lnTo>
                    <a:pt x="448" y="1857"/>
                  </a:lnTo>
                  <a:lnTo>
                    <a:pt x="444" y="1857"/>
                  </a:lnTo>
                  <a:lnTo>
                    <a:pt x="415" y="1857"/>
                  </a:lnTo>
                  <a:lnTo>
                    <a:pt x="373" y="1893"/>
                  </a:lnTo>
                  <a:lnTo>
                    <a:pt x="340" y="1909"/>
                  </a:lnTo>
                  <a:lnTo>
                    <a:pt x="356" y="1909"/>
                  </a:lnTo>
                  <a:lnTo>
                    <a:pt x="352" y="1914"/>
                  </a:lnTo>
                  <a:lnTo>
                    <a:pt x="335" y="1909"/>
                  </a:lnTo>
                  <a:lnTo>
                    <a:pt x="323" y="1914"/>
                  </a:lnTo>
                  <a:lnTo>
                    <a:pt x="309" y="1902"/>
                  </a:lnTo>
                  <a:lnTo>
                    <a:pt x="255" y="1909"/>
                  </a:lnTo>
                  <a:lnTo>
                    <a:pt x="210" y="1885"/>
                  </a:lnTo>
                  <a:lnTo>
                    <a:pt x="189" y="1857"/>
                  </a:lnTo>
                  <a:lnTo>
                    <a:pt x="163" y="1848"/>
                  </a:lnTo>
                  <a:lnTo>
                    <a:pt x="158" y="1852"/>
                  </a:lnTo>
                  <a:lnTo>
                    <a:pt x="146" y="1848"/>
                  </a:lnTo>
                  <a:lnTo>
                    <a:pt x="141" y="1782"/>
                  </a:lnTo>
                  <a:lnTo>
                    <a:pt x="158" y="1791"/>
                  </a:lnTo>
                  <a:lnTo>
                    <a:pt x="172" y="1791"/>
                  </a:lnTo>
                  <a:lnTo>
                    <a:pt x="196" y="1765"/>
                  </a:lnTo>
                  <a:lnTo>
                    <a:pt x="189" y="1720"/>
                  </a:lnTo>
                  <a:lnTo>
                    <a:pt x="196" y="1704"/>
                  </a:lnTo>
                  <a:lnTo>
                    <a:pt x="189" y="1708"/>
                  </a:lnTo>
                  <a:lnTo>
                    <a:pt x="196" y="1725"/>
                  </a:lnTo>
                  <a:lnTo>
                    <a:pt x="196" y="1647"/>
                  </a:lnTo>
                  <a:lnTo>
                    <a:pt x="146" y="1543"/>
                  </a:lnTo>
                  <a:lnTo>
                    <a:pt x="141" y="1503"/>
                  </a:lnTo>
                  <a:lnTo>
                    <a:pt x="141" y="1465"/>
                  </a:lnTo>
                  <a:lnTo>
                    <a:pt x="134" y="1441"/>
                  </a:lnTo>
                  <a:lnTo>
                    <a:pt x="120" y="1408"/>
                  </a:lnTo>
                  <a:lnTo>
                    <a:pt x="108" y="1387"/>
                  </a:lnTo>
                  <a:lnTo>
                    <a:pt x="87" y="1354"/>
                  </a:lnTo>
                  <a:lnTo>
                    <a:pt x="87" y="1314"/>
                  </a:lnTo>
                  <a:lnTo>
                    <a:pt x="70" y="1281"/>
                  </a:lnTo>
                  <a:lnTo>
                    <a:pt x="16" y="1210"/>
                  </a:lnTo>
                  <a:lnTo>
                    <a:pt x="28" y="1193"/>
                  </a:lnTo>
                  <a:lnTo>
                    <a:pt x="28" y="1210"/>
                  </a:lnTo>
                  <a:lnTo>
                    <a:pt x="33" y="1203"/>
                  </a:lnTo>
                  <a:lnTo>
                    <a:pt x="37" y="1210"/>
                  </a:lnTo>
                  <a:lnTo>
                    <a:pt x="49" y="1243"/>
                  </a:lnTo>
                  <a:lnTo>
                    <a:pt x="66" y="1226"/>
                  </a:lnTo>
                  <a:lnTo>
                    <a:pt x="66" y="1210"/>
                  </a:lnTo>
                  <a:lnTo>
                    <a:pt x="37" y="1193"/>
                  </a:lnTo>
                  <a:lnTo>
                    <a:pt x="33" y="1170"/>
                  </a:lnTo>
                  <a:lnTo>
                    <a:pt x="37" y="1153"/>
                  </a:lnTo>
                  <a:lnTo>
                    <a:pt x="54" y="1182"/>
                  </a:lnTo>
                  <a:lnTo>
                    <a:pt x="54" y="1203"/>
                  </a:lnTo>
                  <a:lnTo>
                    <a:pt x="66" y="1193"/>
                  </a:lnTo>
                  <a:lnTo>
                    <a:pt x="82" y="1226"/>
                  </a:lnTo>
                  <a:lnTo>
                    <a:pt x="87" y="1210"/>
                  </a:lnTo>
                  <a:lnTo>
                    <a:pt x="87" y="1203"/>
                  </a:lnTo>
                  <a:lnTo>
                    <a:pt x="92" y="1182"/>
                  </a:lnTo>
                  <a:lnTo>
                    <a:pt x="54" y="1127"/>
                  </a:lnTo>
                  <a:lnTo>
                    <a:pt x="49" y="1094"/>
                  </a:lnTo>
                  <a:lnTo>
                    <a:pt x="33" y="1071"/>
                  </a:lnTo>
                  <a:lnTo>
                    <a:pt x="37" y="1021"/>
                  </a:lnTo>
                  <a:lnTo>
                    <a:pt x="54" y="1000"/>
                  </a:lnTo>
                  <a:lnTo>
                    <a:pt x="66" y="959"/>
                  </a:lnTo>
                  <a:lnTo>
                    <a:pt x="49" y="931"/>
                  </a:lnTo>
                  <a:lnTo>
                    <a:pt x="70" y="889"/>
                  </a:lnTo>
                  <a:lnTo>
                    <a:pt x="87" y="872"/>
                  </a:lnTo>
                  <a:lnTo>
                    <a:pt x="82" y="893"/>
                  </a:lnTo>
                  <a:lnTo>
                    <a:pt x="87" y="926"/>
                  </a:lnTo>
                  <a:lnTo>
                    <a:pt x="104" y="915"/>
                  </a:lnTo>
                  <a:lnTo>
                    <a:pt x="120" y="872"/>
                  </a:lnTo>
                  <a:lnTo>
                    <a:pt x="179" y="848"/>
                  </a:lnTo>
                  <a:lnTo>
                    <a:pt x="210" y="815"/>
                  </a:lnTo>
                  <a:lnTo>
                    <a:pt x="264" y="782"/>
                  </a:lnTo>
                  <a:lnTo>
                    <a:pt x="271" y="794"/>
                  </a:lnTo>
                  <a:lnTo>
                    <a:pt x="285" y="782"/>
                  </a:lnTo>
                  <a:lnTo>
                    <a:pt x="309" y="794"/>
                  </a:lnTo>
                  <a:lnTo>
                    <a:pt x="335" y="782"/>
                  </a:lnTo>
                  <a:lnTo>
                    <a:pt x="361" y="761"/>
                  </a:lnTo>
                  <a:lnTo>
                    <a:pt x="411" y="761"/>
                  </a:lnTo>
                  <a:lnTo>
                    <a:pt x="432" y="733"/>
                  </a:lnTo>
                  <a:lnTo>
                    <a:pt x="465" y="745"/>
                  </a:lnTo>
                  <a:lnTo>
                    <a:pt x="519" y="728"/>
                  </a:lnTo>
                  <a:lnTo>
                    <a:pt x="566" y="704"/>
                  </a:lnTo>
                  <a:lnTo>
                    <a:pt x="595" y="671"/>
                  </a:lnTo>
                  <a:lnTo>
                    <a:pt x="621" y="617"/>
                  </a:lnTo>
                  <a:lnTo>
                    <a:pt x="633" y="617"/>
                  </a:lnTo>
                  <a:lnTo>
                    <a:pt x="659" y="593"/>
                  </a:lnTo>
                  <a:lnTo>
                    <a:pt x="659" y="584"/>
                  </a:lnTo>
                  <a:lnTo>
                    <a:pt x="649" y="577"/>
                  </a:lnTo>
                  <a:lnTo>
                    <a:pt x="649" y="527"/>
                  </a:lnTo>
                  <a:lnTo>
                    <a:pt x="663" y="511"/>
                  </a:lnTo>
                  <a:lnTo>
                    <a:pt x="675" y="506"/>
                  </a:lnTo>
                  <a:lnTo>
                    <a:pt x="675" y="499"/>
                  </a:lnTo>
                  <a:lnTo>
                    <a:pt x="687" y="489"/>
                  </a:lnTo>
                  <a:lnTo>
                    <a:pt x="687" y="482"/>
                  </a:lnTo>
                  <a:lnTo>
                    <a:pt x="696" y="466"/>
                  </a:lnTo>
                  <a:lnTo>
                    <a:pt x="713" y="466"/>
                  </a:lnTo>
                  <a:lnTo>
                    <a:pt x="701" y="482"/>
                  </a:lnTo>
                  <a:lnTo>
                    <a:pt x="739" y="556"/>
                  </a:lnTo>
                  <a:lnTo>
                    <a:pt x="751" y="511"/>
                  </a:lnTo>
                  <a:lnTo>
                    <a:pt x="772" y="527"/>
                  </a:lnTo>
                  <a:lnTo>
                    <a:pt x="755" y="511"/>
                  </a:lnTo>
                  <a:lnTo>
                    <a:pt x="767" y="506"/>
                  </a:lnTo>
                  <a:lnTo>
                    <a:pt x="755" y="506"/>
                  </a:lnTo>
                  <a:lnTo>
                    <a:pt x="751" y="482"/>
                  </a:lnTo>
                  <a:lnTo>
                    <a:pt x="734" y="473"/>
                  </a:lnTo>
                  <a:lnTo>
                    <a:pt x="751" y="473"/>
                  </a:lnTo>
                  <a:lnTo>
                    <a:pt x="755" y="466"/>
                  </a:lnTo>
                  <a:lnTo>
                    <a:pt x="755" y="456"/>
                  </a:lnTo>
                  <a:lnTo>
                    <a:pt x="739" y="456"/>
                  </a:lnTo>
                  <a:lnTo>
                    <a:pt x="739" y="449"/>
                  </a:lnTo>
                  <a:lnTo>
                    <a:pt x="755" y="449"/>
                  </a:lnTo>
                  <a:lnTo>
                    <a:pt x="767" y="449"/>
                  </a:lnTo>
                  <a:lnTo>
                    <a:pt x="755" y="456"/>
                  </a:lnTo>
                  <a:lnTo>
                    <a:pt x="767" y="466"/>
                  </a:lnTo>
                  <a:lnTo>
                    <a:pt x="772" y="456"/>
                  </a:lnTo>
                  <a:lnTo>
                    <a:pt x="789" y="456"/>
                  </a:lnTo>
                  <a:lnTo>
                    <a:pt x="789" y="466"/>
                  </a:lnTo>
                  <a:lnTo>
                    <a:pt x="805" y="466"/>
                  </a:lnTo>
                  <a:lnTo>
                    <a:pt x="836" y="466"/>
                  </a:lnTo>
                  <a:lnTo>
                    <a:pt x="805" y="456"/>
                  </a:lnTo>
                  <a:lnTo>
                    <a:pt x="805" y="445"/>
                  </a:lnTo>
                  <a:lnTo>
                    <a:pt x="810" y="449"/>
                  </a:lnTo>
                  <a:lnTo>
                    <a:pt x="822" y="445"/>
                  </a:lnTo>
                  <a:lnTo>
                    <a:pt x="822" y="433"/>
                  </a:lnTo>
                  <a:lnTo>
                    <a:pt x="826" y="428"/>
                  </a:lnTo>
                  <a:lnTo>
                    <a:pt x="822" y="416"/>
                  </a:lnTo>
                  <a:lnTo>
                    <a:pt x="810" y="433"/>
                  </a:lnTo>
                  <a:lnTo>
                    <a:pt x="805" y="428"/>
                  </a:lnTo>
                  <a:lnTo>
                    <a:pt x="805" y="400"/>
                  </a:lnTo>
                  <a:lnTo>
                    <a:pt x="822" y="395"/>
                  </a:lnTo>
                  <a:lnTo>
                    <a:pt x="826" y="378"/>
                  </a:lnTo>
                  <a:lnTo>
                    <a:pt x="859" y="400"/>
                  </a:lnTo>
                  <a:lnTo>
                    <a:pt x="848" y="395"/>
                  </a:lnTo>
                  <a:lnTo>
                    <a:pt x="848" y="388"/>
                  </a:lnTo>
                  <a:lnTo>
                    <a:pt x="836" y="388"/>
                  </a:lnTo>
                  <a:lnTo>
                    <a:pt x="848" y="371"/>
                  </a:lnTo>
                  <a:lnTo>
                    <a:pt x="836" y="378"/>
                  </a:lnTo>
                  <a:lnTo>
                    <a:pt x="836" y="371"/>
                  </a:lnTo>
                  <a:lnTo>
                    <a:pt x="848" y="362"/>
                  </a:lnTo>
                  <a:lnTo>
                    <a:pt x="859" y="378"/>
                  </a:lnTo>
                  <a:lnTo>
                    <a:pt x="859" y="362"/>
                  </a:lnTo>
                  <a:lnTo>
                    <a:pt x="864" y="371"/>
                  </a:lnTo>
                  <a:lnTo>
                    <a:pt x="874" y="371"/>
                  </a:lnTo>
                  <a:lnTo>
                    <a:pt x="859" y="362"/>
                  </a:lnTo>
                  <a:lnTo>
                    <a:pt x="864" y="355"/>
                  </a:lnTo>
                  <a:lnTo>
                    <a:pt x="859" y="345"/>
                  </a:lnTo>
                  <a:lnTo>
                    <a:pt x="864" y="334"/>
                  </a:lnTo>
                  <a:lnTo>
                    <a:pt x="890" y="334"/>
                  </a:lnTo>
                  <a:lnTo>
                    <a:pt x="890" y="305"/>
                  </a:lnTo>
                  <a:lnTo>
                    <a:pt x="897" y="305"/>
                  </a:lnTo>
                  <a:lnTo>
                    <a:pt x="890" y="338"/>
                  </a:lnTo>
                  <a:lnTo>
                    <a:pt x="897" y="317"/>
                  </a:lnTo>
                  <a:lnTo>
                    <a:pt x="902" y="322"/>
                  </a:lnTo>
                  <a:lnTo>
                    <a:pt x="911" y="338"/>
                  </a:lnTo>
                  <a:lnTo>
                    <a:pt x="918" y="334"/>
                  </a:lnTo>
                  <a:lnTo>
                    <a:pt x="928" y="300"/>
                  </a:lnTo>
                  <a:lnTo>
                    <a:pt x="918" y="284"/>
                  </a:lnTo>
                  <a:lnTo>
                    <a:pt x="928" y="284"/>
                  </a:lnTo>
                  <a:lnTo>
                    <a:pt x="928" y="289"/>
                  </a:lnTo>
                  <a:lnTo>
                    <a:pt x="935" y="305"/>
                  </a:lnTo>
                  <a:lnTo>
                    <a:pt x="944" y="289"/>
                  </a:lnTo>
                  <a:lnTo>
                    <a:pt x="949" y="284"/>
                  </a:lnTo>
                  <a:lnTo>
                    <a:pt x="949" y="289"/>
                  </a:lnTo>
                  <a:lnTo>
                    <a:pt x="956" y="305"/>
                  </a:lnTo>
                  <a:lnTo>
                    <a:pt x="973" y="284"/>
                  </a:lnTo>
                  <a:lnTo>
                    <a:pt x="966" y="279"/>
                  </a:lnTo>
                  <a:lnTo>
                    <a:pt x="973" y="267"/>
                  </a:lnTo>
                  <a:lnTo>
                    <a:pt x="987" y="279"/>
                  </a:lnTo>
                  <a:lnTo>
                    <a:pt x="999" y="284"/>
                  </a:lnTo>
                  <a:lnTo>
                    <a:pt x="1011" y="284"/>
                  </a:lnTo>
                  <a:lnTo>
                    <a:pt x="1053" y="334"/>
                  </a:lnTo>
                  <a:lnTo>
                    <a:pt x="1063" y="338"/>
                  </a:lnTo>
                  <a:lnTo>
                    <a:pt x="1058" y="400"/>
                  </a:lnTo>
                  <a:lnTo>
                    <a:pt x="1063" y="378"/>
                  </a:lnTo>
                  <a:lnTo>
                    <a:pt x="1074" y="395"/>
                  </a:lnTo>
                  <a:lnTo>
                    <a:pt x="1063" y="371"/>
                  </a:lnTo>
                  <a:lnTo>
                    <a:pt x="1079" y="355"/>
                  </a:lnTo>
                  <a:lnTo>
                    <a:pt x="1079" y="362"/>
                  </a:lnTo>
                  <a:lnTo>
                    <a:pt x="1091" y="362"/>
                  </a:lnTo>
                  <a:lnTo>
                    <a:pt x="1079" y="345"/>
                  </a:lnTo>
                  <a:lnTo>
                    <a:pt x="1096" y="345"/>
                  </a:lnTo>
                  <a:lnTo>
                    <a:pt x="1133" y="355"/>
                  </a:lnTo>
                  <a:lnTo>
                    <a:pt x="1133" y="362"/>
                  </a:lnTo>
                  <a:lnTo>
                    <a:pt x="1133" y="378"/>
                  </a:lnTo>
                  <a:lnTo>
                    <a:pt x="1145" y="371"/>
                  </a:lnTo>
                  <a:lnTo>
                    <a:pt x="1145" y="355"/>
                  </a:lnTo>
                  <a:lnTo>
                    <a:pt x="1150" y="355"/>
                  </a:lnTo>
                  <a:lnTo>
                    <a:pt x="1171" y="378"/>
                  </a:lnTo>
                  <a:lnTo>
                    <a:pt x="1166" y="362"/>
                  </a:lnTo>
                  <a:lnTo>
                    <a:pt x="1171" y="345"/>
                  </a:lnTo>
                  <a:lnTo>
                    <a:pt x="1183" y="355"/>
                  </a:lnTo>
                  <a:lnTo>
                    <a:pt x="1188" y="345"/>
                  </a:lnTo>
                  <a:lnTo>
                    <a:pt x="1183" y="345"/>
                  </a:lnTo>
                  <a:lnTo>
                    <a:pt x="1171" y="345"/>
                  </a:lnTo>
                  <a:lnTo>
                    <a:pt x="1166" y="334"/>
                  </a:lnTo>
                  <a:lnTo>
                    <a:pt x="1183" y="334"/>
                  </a:lnTo>
                  <a:lnTo>
                    <a:pt x="1166" y="334"/>
                  </a:lnTo>
                  <a:lnTo>
                    <a:pt x="1150" y="322"/>
                  </a:lnTo>
                  <a:lnTo>
                    <a:pt x="1150" y="317"/>
                  </a:lnTo>
                  <a:lnTo>
                    <a:pt x="1162" y="300"/>
                  </a:lnTo>
                  <a:lnTo>
                    <a:pt x="1171" y="289"/>
                  </a:lnTo>
                  <a:lnTo>
                    <a:pt x="1188" y="251"/>
                  </a:lnTo>
                  <a:lnTo>
                    <a:pt x="1200" y="251"/>
                  </a:lnTo>
                  <a:lnTo>
                    <a:pt x="1214" y="234"/>
                  </a:lnTo>
                  <a:lnTo>
                    <a:pt x="1204" y="227"/>
                  </a:lnTo>
                  <a:lnTo>
                    <a:pt x="1204" y="211"/>
                  </a:lnTo>
                  <a:lnTo>
                    <a:pt x="1221" y="211"/>
                  </a:lnTo>
                  <a:lnTo>
                    <a:pt x="1221" y="189"/>
                  </a:lnTo>
                  <a:lnTo>
                    <a:pt x="1226" y="189"/>
                  </a:lnTo>
                  <a:lnTo>
                    <a:pt x="1242" y="194"/>
                  </a:lnTo>
                  <a:lnTo>
                    <a:pt x="1237" y="189"/>
                  </a:lnTo>
                  <a:lnTo>
                    <a:pt x="1237" y="173"/>
                  </a:lnTo>
                  <a:lnTo>
                    <a:pt x="1252" y="173"/>
                  </a:lnTo>
                  <a:lnTo>
                    <a:pt x="1259" y="189"/>
                  </a:lnTo>
                  <a:lnTo>
                    <a:pt x="1268" y="178"/>
                  </a:lnTo>
                  <a:lnTo>
                    <a:pt x="1252" y="173"/>
                  </a:lnTo>
                  <a:lnTo>
                    <a:pt x="1259" y="168"/>
                  </a:lnTo>
                  <a:lnTo>
                    <a:pt x="1268" y="173"/>
                  </a:lnTo>
                  <a:lnTo>
                    <a:pt x="1268" y="156"/>
                  </a:lnTo>
                  <a:lnTo>
                    <a:pt x="1296" y="168"/>
                  </a:lnTo>
                  <a:lnTo>
                    <a:pt x="1344" y="168"/>
                  </a:lnTo>
                  <a:lnTo>
                    <a:pt x="1360" y="156"/>
                  </a:lnTo>
                  <a:lnTo>
                    <a:pt x="1365" y="173"/>
                  </a:lnTo>
                  <a:lnTo>
                    <a:pt x="1365" y="156"/>
                  </a:lnTo>
                  <a:lnTo>
                    <a:pt x="1386" y="152"/>
                  </a:lnTo>
                  <a:lnTo>
                    <a:pt x="1381" y="152"/>
                  </a:lnTo>
                  <a:lnTo>
                    <a:pt x="1381" y="116"/>
                  </a:lnTo>
                  <a:lnTo>
                    <a:pt x="1365" y="100"/>
                  </a:lnTo>
                  <a:lnTo>
                    <a:pt x="1344" y="111"/>
                  </a:lnTo>
                  <a:lnTo>
                    <a:pt x="1334" y="95"/>
                  </a:lnTo>
                  <a:lnTo>
                    <a:pt x="1322" y="95"/>
                  </a:lnTo>
                  <a:lnTo>
                    <a:pt x="1334" y="78"/>
                  </a:lnTo>
                  <a:lnTo>
                    <a:pt x="1351" y="100"/>
                  </a:lnTo>
                  <a:lnTo>
                    <a:pt x="1351" y="95"/>
                  </a:lnTo>
                  <a:lnTo>
                    <a:pt x="1344" y="78"/>
                  </a:lnTo>
                  <a:lnTo>
                    <a:pt x="1360" y="78"/>
                  </a:lnTo>
                  <a:lnTo>
                    <a:pt x="1381" y="111"/>
                  </a:lnTo>
                  <a:lnTo>
                    <a:pt x="1398" y="95"/>
                  </a:lnTo>
                  <a:lnTo>
                    <a:pt x="1419" y="123"/>
                  </a:lnTo>
                  <a:lnTo>
                    <a:pt x="1431" y="116"/>
                  </a:lnTo>
                  <a:lnTo>
                    <a:pt x="1452" y="133"/>
                  </a:lnTo>
                  <a:lnTo>
                    <a:pt x="1469" y="123"/>
                  </a:lnTo>
                  <a:lnTo>
                    <a:pt x="1469" y="133"/>
                  </a:lnTo>
                  <a:lnTo>
                    <a:pt x="1474" y="133"/>
                  </a:lnTo>
                  <a:lnTo>
                    <a:pt x="1485" y="133"/>
                  </a:lnTo>
                  <a:lnTo>
                    <a:pt x="1490" y="152"/>
                  </a:lnTo>
                  <a:lnTo>
                    <a:pt x="1528" y="140"/>
                  </a:lnTo>
                  <a:lnTo>
                    <a:pt x="1537" y="152"/>
                  </a:lnTo>
                  <a:lnTo>
                    <a:pt x="1561" y="168"/>
                  </a:lnTo>
                  <a:lnTo>
                    <a:pt x="1566" y="152"/>
                  </a:lnTo>
                  <a:lnTo>
                    <a:pt x="1592" y="152"/>
                  </a:lnTo>
                  <a:lnTo>
                    <a:pt x="1592" y="140"/>
                  </a:lnTo>
                  <a:lnTo>
                    <a:pt x="1599" y="140"/>
                  </a:lnTo>
                  <a:lnTo>
                    <a:pt x="1613" y="123"/>
                  </a:lnTo>
                  <a:lnTo>
                    <a:pt x="1599" y="140"/>
                  </a:lnTo>
                  <a:lnTo>
                    <a:pt x="1599" y="152"/>
                  </a:lnTo>
                  <a:lnTo>
                    <a:pt x="1592" y="156"/>
                  </a:lnTo>
                  <a:lnTo>
                    <a:pt x="1599" y="168"/>
                  </a:lnTo>
                  <a:lnTo>
                    <a:pt x="1620" y="152"/>
                  </a:lnTo>
                  <a:lnTo>
                    <a:pt x="1613" y="156"/>
                  </a:lnTo>
                  <a:lnTo>
                    <a:pt x="1620" y="156"/>
                  </a:lnTo>
                  <a:lnTo>
                    <a:pt x="1613" y="173"/>
                  </a:lnTo>
                  <a:lnTo>
                    <a:pt x="1620" y="178"/>
                  </a:lnTo>
                  <a:lnTo>
                    <a:pt x="1637" y="173"/>
                  </a:lnTo>
                  <a:lnTo>
                    <a:pt x="1646" y="156"/>
                  </a:lnTo>
                  <a:lnTo>
                    <a:pt x="1629" y="156"/>
                  </a:lnTo>
                  <a:lnTo>
                    <a:pt x="1658" y="140"/>
                  </a:lnTo>
                  <a:lnTo>
                    <a:pt x="1658" y="168"/>
                  </a:lnTo>
                  <a:lnTo>
                    <a:pt x="1674" y="156"/>
                  </a:lnTo>
                  <a:lnTo>
                    <a:pt x="1684" y="173"/>
                  </a:lnTo>
                  <a:lnTo>
                    <a:pt x="1667" y="178"/>
                  </a:lnTo>
                  <a:lnTo>
                    <a:pt x="1658" y="206"/>
                  </a:lnTo>
                  <a:lnTo>
                    <a:pt x="1651" y="194"/>
                  </a:lnTo>
                  <a:lnTo>
                    <a:pt x="1651" y="222"/>
                  </a:lnTo>
                  <a:lnTo>
                    <a:pt x="1651" y="234"/>
                  </a:lnTo>
                  <a:lnTo>
                    <a:pt x="1646" y="234"/>
                  </a:lnTo>
                  <a:lnTo>
                    <a:pt x="1646" y="222"/>
                  </a:lnTo>
                  <a:lnTo>
                    <a:pt x="1629" y="234"/>
                  </a:lnTo>
                  <a:lnTo>
                    <a:pt x="1620" y="227"/>
                  </a:lnTo>
                  <a:lnTo>
                    <a:pt x="1613" y="234"/>
                  </a:lnTo>
                  <a:lnTo>
                    <a:pt x="1603" y="260"/>
                  </a:lnTo>
                  <a:lnTo>
                    <a:pt x="1603" y="267"/>
                  </a:lnTo>
                  <a:lnTo>
                    <a:pt x="1620" y="267"/>
                  </a:lnTo>
                  <a:lnTo>
                    <a:pt x="1603" y="305"/>
                  </a:lnTo>
                  <a:lnTo>
                    <a:pt x="1592" y="322"/>
                  </a:lnTo>
                  <a:lnTo>
                    <a:pt x="1582" y="338"/>
                  </a:lnTo>
                  <a:lnTo>
                    <a:pt x="1575" y="338"/>
                  </a:lnTo>
                  <a:lnTo>
                    <a:pt x="1575" y="355"/>
                  </a:lnTo>
                  <a:lnTo>
                    <a:pt x="1629" y="395"/>
                  </a:lnTo>
                  <a:lnTo>
                    <a:pt x="1637" y="400"/>
                  </a:lnTo>
                  <a:lnTo>
                    <a:pt x="1667" y="428"/>
                  </a:lnTo>
                  <a:lnTo>
                    <a:pt x="1689" y="428"/>
                  </a:lnTo>
                  <a:lnTo>
                    <a:pt x="1738" y="456"/>
                  </a:lnTo>
                  <a:lnTo>
                    <a:pt x="1764" y="489"/>
                  </a:lnTo>
                  <a:lnTo>
                    <a:pt x="1830" y="506"/>
                  </a:lnTo>
                  <a:lnTo>
                    <a:pt x="1847" y="539"/>
                  </a:lnTo>
                  <a:lnTo>
                    <a:pt x="1901" y="560"/>
                  </a:lnTo>
                  <a:lnTo>
                    <a:pt x="1927" y="560"/>
                  </a:lnTo>
                  <a:lnTo>
                    <a:pt x="1953" y="544"/>
                  </a:lnTo>
                  <a:lnTo>
                    <a:pt x="1960" y="511"/>
                  </a:lnTo>
                  <a:lnTo>
                    <a:pt x="1981" y="482"/>
                  </a:lnTo>
                  <a:lnTo>
                    <a:pt x="1998" y="445"/>
                  </a:lnTo>
                  <a:lnTo>
                    <a:pt x="1998" y="400"/>
                  </a:lnTo>
                  <a:lnTo>
                    <a:pt x="2012" y="362"/>
                  </a:lnTo>
                  <a:lnTo>
                    <a:pt x="2007" y="322"/>
                  </a:lnTo>
                  <a:lnTo>
                    <a:pt x="2007" y="300"/>
                  </a:lnTo>
                  <a:lnTo>
                    <a:pt x="1998" y="279"/>
                  </a:lnTo>
                  <a:lnTo>
                    <a:pt x="2012" y="234"/>
                  </a:lnTo>
                  <a:lnTo>
                    <a:pt x="2007" y="211"/>
                  </a:lnTo>
                  <a:lnTo>
                    <a:pt x="2024" y="194"/>
                  </a:lnTo>
                  <a:lnTo>
                    <a:pt x="2029" y="206"/>
                  </a:lnTo>
                  <a:lnTo>
                    <a:pt x="2024" y="178"/>
                  </a:lnTo>
                  <a:lnTo>
                    <a:pt x="2012" y="173"/>
                  </a:lnTo>
                  <a:lnTo>
                    <a:pt x="2012" y="178"/>
                  </a:lnTo>
                  <a:lnTo>
                    <a:pt x="2007" y="178"/>
                  </a:lnTo>
                  <a:lnTo>
                    <a:pt x="2029" y="140"/>
                  </a:lnTo>
                  <a:lnTo>
                    <a:pt x="2029" y="152"/>
                  </a:lnTo>
                  <a:lnTo>
                    <a:pt x="2036" y="152"/>
                  </a:lnTo>
                  <a:lnTo>
                    <a:pt x="2029" y="140"/>
                  </a:lnTo>
                  <a:lnTo>
                    <a:pt x="2045" y="95"/>
                  </a:lnTo>
                  <a:lnTo>
                    <a:pt x="2045" y="67"/>
                  </a:lnTo>
                  <a:lnTo>
                    <a:pt x="2062" y="62"/>
                  </a:lnTo>
                  <a:lnTo>
                    <a:pt x="2066" y="45"/>
                  </a:lnTo>
                  <a:lnTo>
                    <a:pt x="2078" y="57"/>
                  </a:lnTo>
                  <a:lnTo>
                    <a:pt x="2066" y="67"/>
                  </a:lnTo>
                  <a:lnTo>
                    <a:pt x="2078" y="62"/>
                  </a:lnTo>
                  <a:lnTo>
                    <a:pt x="2088" y="78"/>
                  </a:lnTo>
                  <a:lnTo>
                    <a:pt x="2100" y="133"/>
                  </a:lnTo>
                  <a:lnTo>
                    <a:pt x="2121" y="140"/>
                  </a:lnTo>
                  <a:lnTo>
                    <a:pt x="2116" y="168"/>
                  </a:lnTo>
                  <a:lnTo>
                    <a:pt x="2133" y="173"/>
                  </a:lnTo>
                  <a:lnTo>
                    <a:pt x="2133" y="178"/>
                  </a:lnTo>
                  <a:lnTo>
                    <a:pt x="2137" y="189"/>
                  </a:lnTo>
                  <a:lnTo>
                    <a:pt x="2133" y="206"/>
                  </a:lnTo>
                  <a:lnTo>
                    <a:pt x="2142" y="206"/>
                  </a:lnTo>
                  <a:lnTo>
                    <a:pt x="2142" y="251"/>
                  </a:lnTo>
                  <a:lnTo>
                    <a:pt x="2142" y="267"/>
                  </a:lnTo>
                  <a:lnTo>
                    <a:pt x="2159" y="322"/>
                  </a:lnTo>
                  <a:lnTo>
                    <a:pt x="2175" y="322"/>
                  </a:lnTo>
                  <a:lnTo>
                    <a:pt x="2213" y="300"/>
                  </a:lnTo>
                  <a:lnTo>
                    <a:pt x="2225" y="334"/>
                  </a:lnTo>
                  <a:lnTo>
                    <a:pt x="2239" y="334"/>
                  </a:lnTo>
                  <a:lnTo>
                    <a:pt x="2246" y="345"/>
                  </a:lnTo>
                  <a:lnTo>
                    <a:pt x="2267" y="355"/>
                  </a:lnTo>
                  <a:lnTo>
                    <a:pt x="2263" y="371"/>
                  </a:lnTo>
                  <a:lnTo>
                    <a:pt x="2263" y="395"/>
                  </a:lnTo>
                  <a:lnTo>
                    <a:pt x="2277" y="445"/>
                  </a:lnTo>
                  <a:lnTo>
                    <a:pt x="2277" y="473"/>
                  </a:lnTo>
                  <a:lnTo>
                    <a:pt x="2305" y="506"/>
                  </a:lnTo>
                  <a:lnTo>
                    <a:pt x="2315" y="506"/>
                  </a:lnTo>
                  <a:lnTo>
                    <a:pt x="2305" y="511"/>
                  </a:lnTo>
                  <a:lnTo>
                    <a:pt x="2322" y="560"/>
                  </a:lnTo>
                  <a:lnTo>
                    <a:pt x="2315" y="600"/>
                  </a:lnTo>
                  <a:lnTo>
                    <a:pt x="2338" y="622"/>
                  </a:lnTo>
                  <a:lnTo>
                    <a:pt x="2338" y="650"/>
                  </a:lnTo>
                  <a:lnTo>
                    <a:pt x="2352" y="671"/>
                  </a:lnTo>
                  <a:lnTo>
                    <a:pt x="2402" y="688"/>
                  </a:lnTo>
                  <a:lnTo>
                    <a:pt x="2414" y="688"/>
                  </a:lnTo>
                  <a:lnTo>
                    <a:pt x="2414" y="676"/>
                  </a:lnTo>
                  <a:lnTo>
                    <a:pt x="2428" y="721"/>
                  </a:lnTo>
                  <a:lnTo>
                    <a:pt x="2440" y="721"/>
                  </a:lnTo>
                  <a:lnTo>
                    <a:pt x="2440" y="711"/>
                  </a:lnTo>
                  <a:lnTo>
                    <a:pt x="2444" y="711"/>
                  </a:lnTo>
                  <a:lnTo>
                    <a:pt x="2444" y="728"/>
                  </a:lnTo>
                  <a:lnTo>
                    <a:pt x="2466" y="728"/>
                  </a:lnTo>
                  <a:lnTo>
                    <a:pt x="2482" y="749"/>
                  </a:lnTo>
                  <a:lnTo>
                    <a:pt x="2494" y="733"/>
                  </a:lnTo>
                  <a:lnTo>
                    <a:pt x="2515" y="749"/>
                  </a:lnTo>
                  <a:lnTo>
                    <a:pt x="2520" y="778"/>
                  </a:lnTo>
                  <a:lnTo>
                    <a:pt x="2515" y="766"/>
                  </a:lnTo>
                  <a:lnTo>
                    <a:pt x="2511" y="782"/>
                  </a:lnTo>
                  <a:lnTo>
                    <a:pt x="2515" y="799"/>
                  </a:lnTo>
                  <a:lnTo>
                    <a:pt x="2548" y="815"/>
                  </a:lnTo>
                  <a:lnTo>
                    <a:pt x="2548" y="832"/>
                  </a:lnTo>
                  <a:lnTo>
                    <a:pt x="2565" y="856"/>
                  </a:lnTo>
                  <a:lnTo>
                    <a:pt x="2565" y="893"/>
                  </a:lnTo>
                  <a:lnTo>
                    <a:pt x="2574" y="910"/>
                  </a:lnTo>
                  <a:lnTo>
                    <a:pt x="2574" y="926"/>
                  </a:lnTo>
                  <a:lnTo>
                    <a:pt x="2586" y="910"/>
                  </a:lnTo>
                  <a:lnTo>
                    <a:pt x="2603" y="931"/>
                  </a:lnTo>
                  <a:lnTo>
                    <a:pt x="2591" y="910"/>
                  </a:lnTo>
                  <a:lnTo>
                    <a:pt x="2603" y="893"/>
                  </a:lnTo>
                  <a:lnTo>
                    <a:pt x="2607" y="915"/>
                  </a:lnTo>
                  <a:lnTo>
                    <a:pt x="2638" y="926"/>
                  </a:lnTo>
                  <a:lnTo>
                    <a:pt x="2638" y="910"/>
                  </a:lnTo>
                  <a:lnTo>
                    <a:pt x="2655" y="943"/>
                  </a:lnTo>
                  <a:lnTo>
                    <a:pt x="2655" y="971"/>
                  </a:lnTo>
                  <a:lnTo>
                    <a:pt x="2662" y="1000"/>
                  </a:lnTo>
                  <a:lnTo>
                    <a:pt x="2671" y="1004"/>
                  </a:lnTo>
                  <a:lnTo>
                    <a:pt x="2676" y="1021"/>
                  </a:lnTo>
                  <a:lnTo>
                    <a:pt x="2709" y="1042"/>
                  </a:lnTo>
                  <a:lnTo>
                    <a:pt x="2714" y="1037"/>
                  </a:lnTo>
                  <a:lnTo>
                    <a:pt x="2730" y="1054"/>
                  </a:lnTo>
                  <a:lnTo>
                    <a:pt x="2747" y="1082"/>
                  </a:lnTo>
                  <a:lnTo>
                    <a:pt x="2768" y="1099"/>
                  </a:lnTo>
                  <a:lnTo>
                    <a:pt x="2785" y="1132"/>
                  </a:lnTo>
                  <a:lnTo>
                    <a:pt x="2801" y="1137"/>
                  </a:lnTo>
                  <a:lnTo>
                    <a:pt x="2801" y="1170"/>
                  </a:lnTo>
                  <a:lnTo>
                    <a:pt x="2822" y="1186"/>
                  </a:lnTo>
                  <a:lnTo>
                    <a:pt x="2818" y="1210"/>
                  </a:lnTo>
                  <a:lnTo>
                    <a:pt x="2818" y="1276"/>
                  </a:lnTo>
                  <a:lnTo>
                    <a:pt x="2806" y="1281"/>
                  </a:lnTo>
                  <a:lnTo>
                    <a:pt x="2806" y="1293"/>
                  </a:lnTo>
                  <a:lnTo>
                    <a:pt x="2822" y="1304"/>
                  </a:lnTo>
                  <a:lnTo>
                    <a:pt x="2851" y="1370"/>
                  </a:lnTo>
                  <a:lnTo>
                    <a:pt x="2851" y="1408"/>
                  </a:lnTo>
                  <a:lnTo>
                    <a:pt x="2834" y="1448"/>
                  </a:lnTo>
                  <a:lnTo>
                    <a:pt x="2822" y="1498"/>
                  </a:lnTo>
                  <a:lnTo>
                    <a:pt x="2806" y="1543"/>
                  </a:lnTo>
                  <a:lnTo>
                    <a:pt x="2818" y="1576"/>
                  </a:lnTo>
                  <a:lnTo>
                    <a:pt x="2801" y="1630"/>
                  </a:lnTo>
                  <a:lnTo>
                    <a:pt x="2780" y="1670"/>
                  </a:lnTo>
                  <a:lnTo>
                    <a:pt x="2780" y="1692"/>
                  </a:lnTo>
                  <a:lnTo>
                    <a:pt x="2747" y="1720"/>
                  </a:lnTo>
                  <a:lnTo>
                    <a:pt x="2747" y="1725"/>
                  </a:lnTo>
                  <a:lnTo>
                    <a:pt x="2726" y="1737"/>
                  </a:lnTo>
                  <a:lnTo>
                    <a:pt x="2709" y="1765"/>
                  </a:lnTo>
                  <a:lnTo>
                    <a:pt x="2700" y="1765"/>
                  </a:lnTo>
                  <a:lnTo>
                    <a:pt x="2700" y="1774"/>
                  </a:lnTo>
                  <a:lnTo>
                    <a:pt x="2692" y="1791"/>
                  </a:lnTo>
                  <a:lnTo>
                    <a:pt x="2688" y="1819"/>
                  </a:lnTo>
                  <a:lnTo>
                    <a:pt x="2676" y="1819"/>
                  </a:lnTo>
                  <a:lnTo>
                    <a:pt x="2688" y="1831"/>
                  </a:lnTo>
                  <a:lnTo>
                    <a:pt x="2662" y="1848"/>
                  </a:lnTo>
                  <a:lnTo>
                    <a:pt x="2655" y="1885"/>
                  </a:lnTo>
                  <a:lnTo>
                    <a:pt x="2645" y="1893"/>
                  </a:lnTo>
                  <a:lnTo>
                    <a:pt x="2655" y="1909"/>
                  </a:lnTo>
                  <a:lnTo>
                    <a:pt x="2645" y="1909"/>
                  </a:lnTo>
                  <a:lnTo>
                    <a:pt x="2645" y="1914"/>
                  </a:lnTo>
                  <a:lnTo>
                    <a:pt x="2638" y="1926"/>
                  </a:lnTo>
                  <a:lnTo>
                    <a:pt x="2607" y="1980"/>
                  </a:lnTo>
                  <a:lnTo>
                    <a:pt x="2607" y="2013"/>
                  </a:lnTo>
                  <a:lnTo>
                    <a:pt x="2591" y="2058"/>
                  </a:lnTo>
                  <a:lnTo>
                    <a:pt x="2603" y="2079"/>
                  </a:lnTo>
                  <a:lnTo>
                    <a:pt x="2591" y="2091"/>
                  </a:lnTo>
                  <a:lnTo>
                    <a:pt x="2591" y="2107"/>
                  </a:lnTo>
                  <a:lnTo>
                    <a:pt x="2565" y="2129"/>
                  </a:lnTo>
                  <a:lnTo>
                    <a:pt x="2477" y="2136"/>
                  </a:lnTo>
                  <a:lnTo>
                    <a:pt x="2440" y="2145"/>
                  </a:lnTo>
                  <a:lnTo>
                    <a:pt x="2376" y="2202"/>
                  </a:lnTo>
                  <a:lnTo>
                    <a:pt x="2331" y="2207"/>
                  </a:lnTo>
                  <a:lnTo>
                    <a:pt x="2338" y="2223"/>
                  </a:lnTo>
                  <a:lnTo>
                    <a:pt x="2352" y="2219"/>
                  </a:lnTo>
                  <a:lnTo>
                    <a:pt x="2352" y="2240"/>
                  </a:lnTo>
                  <a:lnTo>
                    <a:pt x="2348" y="2247"/>
                  </a:lnTo>
                  <a:lnTo>
                    <a:pt x="2348" y="2247"/>
                  </a:lnTo>
                  <a:lnTo>
                    <a:pt x="2348" y="2247"/>
                  </a:lnTo>
                  <a:close/>
                  <a:moveTo>
                    <a:pt x="1651" y="100"/>
                  </a:moveTo>
                  <a:lnTo>
                    <a:pt x="1667" y="67"/>
                  </a:lnTo>
                  <a:lnTo>
                    <a:pt x="1667" y="83"/>
                  </a:lnTo>
                  <a:lnTo>
                    <a:pt x="1651" y="100"/>
                  </a:lnTo>
                  <a:lnTo>
                    <a:pt x="1651" y="100"/>
                  </a:lnTo>
                  <a:lnTo>
                    <a:pt x="1651" y="100"/>
                  </a:lnTo>
                  <a:close/>
                  <a:moveTo>
                    <a:pt x="1377" y="95"/>
                  </a:moveTo>
                  <a:lnTo>
                    <a:pt x="1377" y="67"/>
                  </a:lnTo>
                  <a:lnTo>
                    <a:pt x="1377" y="95"/>
                  </a:lnTo>
                  <a:lnTo>
                    <a:pt x="1377" y="95"/>
                  </a:lnTo>
                  <a:lnTo>
                    <a:pt x="1377" y="95"/>
                  </a:lnTo>
                  <a:close/>
                  <a:moveTo>
                    <a:pt x="1268" y="140"/>
                  </a:moveTo>
                  <a:lnTo>
                    <a:pt x="1226" y="116"/>
                  </a:lnTo>
                  <a:lnTo>
                    <a:pt x="1221" y="83"/>
                  </a:lnTo>
                  <a:lnTo>
                    <a:pt x="1242" y="100"/>
                  </a:lnTo>
                  <a:lnTo>
                    <a:pt x="1275" y="83"/>
                  </a:lnTo>
                  <a:lnTo>
                    <a:pt x="1280" y="100"/>
                  </a:lnTo>
                  <a:lnTo>
                    <a:pt x="1280" y="83"/>
                  </a:lnTo>
                  <a:lnTo>
                    <a:pt x="1306" y="100"/>
                  </a:lnTo>
                  <a:lnTo>
                    <a:pt x="1289" y="123"/>
                  </a:lnTo>
                  <a:lnTo>
                    <a:pt x="1268" y="140"/>
                  </a:lnTo>
                  <a:lnTo>
                    <a:pt x="1268" y="140"/>
                  </a:lnTo>
                  <a:lnTo>
                    <a:pt x="1268" y="140"/>
                  </a:lnTo>
                  <a:close/>
                  <a:moveTo>
                    <a:pt x="1226" y="133"/>
                  </a:moveTo>
                  <a:lnTo>
                    <a:pt x="1200" y="123"/>
                  </a:lnTo>
                  <a:lnTo>
                    <a:pt x="1204" y="116"/>
                  </a:lnTo>
                  <a:lnTo>
                    <a:pt x="1214" y="116"/>
                  </a:lnTo>
                  <a:lnTo>
                    <a:pt x="1214" y="95"/>
                  </a:lnTo>
                  <a:lnTo>
                    <a:pt x="1221" y="95"/>
                  </a:lnTo>
                  <a:lnTo>
                    <a:pt x="1226" y="116"/>
                  </a:lnTo>
                  <a:lnTo>
                    <a:pt x="1242" y="123"/>
                  </a:lnTo>
                  <a:lnTo>
                    <a:pt x="1226" y="133"/>
                  </a:lnTo>
                  <a:lnTo>
                    <a:pt x="1226" y="133"/>
                  </a:lnTo>
                  <a:lnTo>
                    <a:pt x="1226" y="133"/>
                  </a:lnTo>
                  <a:close/>
                  <a:moveTo>
                    <a:pt x="1377" y="123"/>
                  </a:moveTo>
                  <a:lnTo>
                    <a:pt x="1377" y="116"/>
                  </a:lnTo>
                  <a:lnTo>
                    <a:pt x="1381" y="116"/>
                  </a:lnTo>
                  <a:lnTo>
                    <a:pt x="1377" y="123"/>
                  </a:lnTo>
                  <a:lnTo>
                    <a:pt x="1377" y="123"/>
                  </a:lnTo>
                  <a:lnTo>
                    <a:pt x="1377" y="123"/>
                  </a:lnTo>
                  <a:close/>
                  <a:moveTo>
                    <a:pt x="1613" y="123"/>
                  </a:moveTo>
                  <a:lnTo>
                    <a:pt x="1613" y="116"/>
                  </a:lnTo>
                  <a:lnTo>
                    <a:pt x="1620" y="116"/>
                  </a:lnTo>
                  <a:lnTo>
                    <a:pt x="1613" y="123"/>
                  </a:lnTo>
                  <a:lnTo>
                    <a:pt x="1613" y="123"/>
                  </a:lnTo>
                  <a:lnTo>
                    <a:pt x="1613" y="123"/>
                  </a:lnTo>
                  <a:close/>
                  <a:moveTo>
                    <a:pt x="1684" y="300"/>
                  </a:moveTo>
                  <a:lnTo>
                    <a:pt x="1674" y="305"/>
                  </a:lnTo>
                  <a:lnTo>
                    <a:pt x="1646" y="305"/>
                  </a:lnTo>
                  <a:lnTo>
                    <a:pt x="1651" y="279"/>
                  </a:lnTo>
                  <a:lnTo>
                    <a:pt x="1658" y="279"/>
                  </a:lnTo>
                  <a:lnTo>
                    <a:pt x="1667" y="267"/>
                  </a:lnTo>
                  <a:lnTo>
                    <a:pt x="1667" y="279"/>
                  </a:lnTo>
                  <a:lnTo>
                    <a:pt x="1674" y="279"/>
                  </a:lnTo>
                  <a:lnTo>
                    <a:pt x="1674" y="267"/>
                  </a:lnTo>
                  <a:lnTo>
                    <a:pt x="1684" y="279"/>
                  </a:lnTo>
                  <a:lnTo>
                    <a:pt x="1667" y="284"/>
                  </a:lnTo>
                  <a:lnTo>
                    <a:pt x="1667" y="300"/>
                  </a:lnTo>
                  <a:lnTo>
                    <a:pt x="1684" y="300"/>
                  </a:lnTo>
                  <a:lnTo>
                    <a:pt x="1684" y="300"/>
                  </a:lnTo>
                  <a:lnTo>
                    <a:pt x="1684" y="300"/>
                  </a:lnTo>
                  <a:close/>
                  <a:moveTo>
                    <a:pt x="1629" y="279"/>
                  </a:moveTo>
                  <a:lnTo>
                    <a:pt x="1620" y="279"/>
                  </a:lnTo>
                  <a:lnTo>
                    <a:pt x="1629" y="267"/>
                  </a:lnTo>
                  <a:lnTo>
                    <a:pt x="1637" y="267"/>
                  </a:lnTo>
                  <a:lnTo>
                    <a:pt x="1629" y="279"/>
                  </a:lnTo>
                  <a:lnTo>
                    <a:pt x="1629" y="279"/>
                  </a:lnTo>
                  <a:lnTo>
                    <a:pt x="1629" y="279"/>
                  </a:lnTo>
                  <a:close/>
                  <a:moveTo>
                    <a:pt x="859" y="338"/>
                  </a:moveTo>
                  <a:lnTo>
                    <a:pt x="848" y="334"/>
                  </a:lnTo>
                  <a:lnTo>
                    <a:pt x="859" y="322"/>
                  </a:lnTo>
                  <a:lnTo>
                    <a:pt x="859" y="338"/>
                  </a:lnTo>
                  <a:lnTo>
                    <a:pt x="859" y="338"/>
                  </a:lnTo>
                  <a:lnTo>
                    <a:pt x="859" y="338"/>
                  </a:lnTo>
                  <a:close/>
                  <a:moveTo>
                    <a:pt x="810" y="395"/>
                  </a:moveTo>
                  <a:lnTo>
                    <a:pt x="805" y="388"/>
                  </a:lnTo>
                  <a:lnTo>
                    <a:pt x="810" y="378"/>
                  </a:lnTo>
                  <a:lnTo>
                    <a:pt x="822" y="395"/>
                  </a:lnTo>
                  <a:lnTo>
                    <a:pt x="810" y="395"/>
                  </a:lnTo>
                  <a:lnTo>
                    <a:pt x="810" y="395"/>
                  </a:lnTo>
                  <a:lnTo>
                    <a:pt x="810" y="395"/>
                  </a:lnTo>
                  <a:close/>
                  <a:moveTo>
                    <a:pt x="1651" y="411"/>
                  </a:moveTo>
                  <a:lnTo>
                    <a:pt x="1651" y="400"/>
                  </a:lnTo>
                  <a:lnTo>
                    <a:pt x="1658" y="400"/>
                  </a:lnTo>
                  <a:lnTo>
                    <a:pt x="1651" y="411"/>
                  </a:lnTo>
                  <a:lnTo>
                    <a:pt x="1651" y="411"/>
                  </a:lnTo>
                  <a:lnTo>
                    <a:pt x="1651" y="411"/>
                  </a:lnTo>
                  <a:close/>
                  <a:moveTo>
                    <a:pt x="1689" y="428"/>
                  </a:moveTo>
                  <a:lnTo>
                    <a:pt x="1684" y="411"/>
                  </a:lnTo>
                  <a:lnTo>
                    <a:pt x="1689" y="400"/>
                  </a:lnTo>
                  <a:lnTo>
                    <a:pt x="1689" y="428"/>
                  </a:lnTo>
                  <a:lnTo>
                    <a:pt x="1689" y="428"/>
                  </a:lnTo>
                  <a:lnTo>
                    <a:pt x="1689" y="428"/>
                  </a:lnTo>
                  <a:close/>
                  <a:moveTo>
                    <a:pt x="1667" y="416"/>
                  </a:moveTo>
                  <a:lnTo>
                    <a:pt x="1667" y="411"/>
                  </a:lnTo>
                  <a:lnTo>
                    <a:pt x="1674" y="411"/>
                  </a:lnTo>
                  <a:lnTo>
                    <a:pt x="1667" y="416"/>
                  </a:lnTo>
                  <a:lnTo>
                    <a:pt x="1667" y="416"/>
                  </a:lnTo>
                  <a:lnTo>
                    <a:pt x="1667" y="416"/>
                  </a:lnTo>
                  <a:close/>
                  <a:moveTo>
                    <a:pt x="1835" y="489"/>
                  </a:moveTo>
                  <a:lnTo>
                    <a:pt x="1835" y="482"/>
                  </a:lnTo>
                  <a:lnTo>
                    <a:pt x="1847" y="473"/>
                  </a:lnTo>
                  <a:lnTo>
                    <a:pt x="1873" y="466"/>
                  </a:lnTo>
                  <a:lnTo>
                    <a:pt x="1873" y="473"/>
                  </a:lnTo>
                  <a:lnTo>
                    <a:pt x="1863" y="473"/>
                  </a:lnTo>
                  <a:lnTo>
                    <a:pt x="1863" y="489"/>
                  </a:lnTo>
                  <a:lnTo>
                    <a:pt x="1835" y="489"/>
                  </a:lnTo>
                  <a:lnTo>
                    <a:pt x="1835" y="489"/>
                  </a:lnTo>
                  <a:lnTo>
                    <a:pt x="1835" y="489"/>
                  </a:lnTo>
                  <a:close/>
                  <a:moveTo>
                    <a:pt x="1863" y="522"/>
                  </a:moveTo>
                  <a:lnTo>
                    <a:pt x="1852" y="511"/>
                  </a:lnTo>
                  <a:lnTo>
                    <a:pt x="1868" y="511"/>
                  </a:lnTo>
                  <a:lnTo>
                    <a:pt x="1868" y="522"/>
                  </a:lnTo>
                  <a:lnTo>
                    <a:pt x="1863" y="522"/>
                  </a:lnTo>
                  <a:lnTo>
                    <a:pt x="1863" y="522"/>
                  </a:lnTo>
                  <a:lnTo>
                    <a:pt x="1863" y="522"/>
                  </a:lnTo>
                  <a:close/>
                  <a:moveTo>
                    <a:pt x="2338" y="622"/>
                  </a:moveTo>
                  <a:lnTo>
                    <a:pt x="2322" y="600"/>
                  </a:lnTo>
                  <a:lnTo>
                    <a:pt x="2338" y="610"/>
                  </a:lnTo>
                  <a:lnTo>
                    <a:pt x="2348" y="617"/>
                  </a:lnTo>
                  <a:lnTo>
                    <a:pt x="2338" y="622"/>
                  </a:lnTo>
                  <a:lnTo>
                    <a:pt x="2338" y="622"/>
                  </a:lnTo>
                  <a:lnTo>
                    <a:pt x="2338" y="622"/>
                  </a:lnTo>
                  <a:close/>
                  <a:moveTo>
                    <a:pt x="2376" y="671"/>
                  </a:moveTo>
                  <a:lnTo>
                    <a:pt x="2369" y="671"/>
                  </a:lnTo>
                  <a:lnTo>
                    <a:pt x="2376" y="667"/>
                  </a:lnTo>
                  <a:lnTo>
                    <a:pt x="2376" y="671"/>
                  </a:lnTo>
                  <a:lnTo>
                    <a:pt x="2376" y="671"/>
                  </a:lnTo>
                  <a:lnTo>
                    <a:pt x="2376" y="671"/>
                  </a:lnTo>
                  <a:close/>
                  <a:moveTo>
                    <a:pt x="2520" y="749"/>
                  </a:moveTo>
                  <a:lnTo>
                    <a:pt x="2515" y="745"/>
                  </a:lnTo>
                  <a:lnTo>
                    <a:pt x="2520" y="733"/>
                  </a:lnTo>
                  <a:lnTo>
                    <a:pt x="2520" y="749"/>
                  </a:lnTo>
                  <a:lnTo>
                    <a:pt x="2520" y="749"/>
                  </a:lnTo>
                  <a:lnTo>
                    <a:pt x="2520" y="749"/>
                  </a:lnTo>
                  <a:close/>
                  <a:moveTo>
                    <a:pt x="2520" y="761"/>
                  </a:moveTo>
                  <a:lnTo>
                    <a:pt x="2520" y="745"/>
                  </a:lnTo>
                  <a:lnTo>
                    <a:pt x="2532" y="749"/>
                  </a:lnTo>
                  <a:lnTo>
                    <a:pt x="2520" y="761"/>
                  </a:lnTo>
                  <a:lnTo>
                    <a:pt x="2520" y="761"/>
                  </a:lnTo>
                  <a:lnTo>
                    <a:pt x="2520" y="761"/>
                  </a:lnTo>
                  <a:close/>
                  <a:moveTo>
                    <a:pt x="172" y="799"/>
                  </a:moveTo>
                  <a:lnTo>
                    <a:pt x="163" y="799"/>
                  </a:lnTo>
                  <a:lnTo>
                    <a:pt x="179" y="782"/>
                  </a:lnTo>
                  <a:lnTo>
                    <a:pt x="172" y="799"/>
                  </a:lnTo>
                  <a:lnTo>
                    <a:pt x="172" y="799"/>
                  </a:lnTo>
                  <a:lnTo>
                    <a:pt x="172" y="799"/>
                  </a:lnTo>
                  <a:close/>
                  <a:moveTo>
                    <a:pt x="2629" y="910"/>
                  </a:moveTo>
                  <a:lnTo>
                    <a:pt x="2629" y="905"/>
                  </a:lnTo>
                  <a:lnTo>
                    <a:pt x="2638" y="910"/>
                  </a:lnTo>
                  <a:lnTo>
                    <a:pt x="2629" y="910"/>
                  </a:lnTo>
                  <a:lnTo>
                    <a:pt x="2629" y="910"/>
                  </a:lnTo>
                  <a:lnTo>
                    <a:pt x="2629" y="910"/>
                  </a:lnTo>
                  <a:close/>
                  <a:moveTo>
                    <a:pt x="2688" y="1021"/>
                  </a:moveTo>
                  <a:lnTo>
                    <a:pt x="2671" y="1000"/>
                  </a:lnTo>
                  <a:lnTo>
                    <a:pt x="2688" y="1004"/>
                  </a:lnTo>
                  <a:lnTo>
                    <a:pt x="2692" y="1021"/>
                  </a:lnTo>
                  <a:lnTo>
                    <a:pt x="2688" y="1021"/>
                  </a:lnTo>
                  <a:lnTo>
                    <a:pt x="2688" y="1021"/>
                  </a:lnTo>
                  <a:lnTo>
                    <a:pt x="2688" y="1021"/>
                  </a:lnTo>
                  <a:close/>
                  <a:moveTo>
                    <a:pt x="2818" y="1170"/>
                  </a:moveTo>
                  <a:lnTo>
                    <a:pt x="2801" y="1153"/>
                  </a:lnTo>
                  <a:lnTo>
                    <a:pt x="2806" y="1132"/>
                  </a:lnTo>
                  <a:lnTo>
                    <a:pt x="2822" y="1115"/>
                  </a:lnTo>
                  <a:lnTo>
                    <a:pt x="2818" y="1099"/>
                  </a:lnTo>
                  <a:lnTo>
                    <a:pt x="2822" y="1094"/>
                  </a:lnTo>
                  <a:lnTo>
                    <a:pt x="2834" y="1115"/>
                  </a:lnTo>
                  <a:lnTo>
                    <a:pt x="2818" y="1170"/>
                  </a:lnTo>
                  <a:lnTo>
                    <a:pt x="2818" y="1170"/>
                  </a:lnTo>
                  <a:lnTo>
                    <a:pt x="2818" y="1170"/>
                  </a:lnTo>
                  <a:close/>
                  <a:moveTo>
                    <a:pt x="16" y="1203"/>
                  </a:moveTo>
                  <a:lnTo>
                    <a:pt x="0" y="1170"/>
                  </a:lnTo>
                  <a:lnTo>
                    <a:pt x="0" y="1148"/>
                  </a:lnTo>
                  <a:lnTo>
                    <a:pt x="16" y="1203"/>
                  </a:lnTo>
                  <a:lnTo>
                    <a:pt x="16" y="1203"/>
                  </a:lnTo>
                  <a:lnTo>
                    <a:pt x="16" y="1203"/>
                  </a:lnTo>
                  <a:close/>
                  <a:moveTo>
                    <a:pt x="2839" y="1297"/>
                  </a:moveTo>
                  <a:lnTo>
                    <a:pt x="2834" y="1276"/>
                  </a:lnTo>
                  <a:lnTo>
                    <a:pt x="2839" y="1264"/>
                  </a:lnTo>
                  <a:lnTo>
                    <a:pt x="2839" y="1297"/>
                  </a:lnTo>
                  <a:lnTo>
                    <a:pt x="2839" y="1297"/>
                  </a:lnTo>
                  <a:lnTo>
                    <a:pt x="2839" y="1297"/>
                  </a:lnTo>
                  <a:close/>
                  <a:moveTo>
                    <a:pt x="2839" y="1321"/>
                  </a:moveTo>
                  <a:lnTo>
                    <a:pt x="2839" y="1297"/>
                  </a:lnTo>
                  <a:lnTo>
                    <a:pt x="2851" y="1297"/>
                  </a:lnTo>
                  <a:lnTo>
                    <a:pt x="2839" y="1321"/>
                  </a:lnTo>
                  <a:lnTo>
                    <a:pt x="2839" y="1321"/>
                  </a:lnTo>
                  <a:lnTo>
                    <a:pt x="2839" y="1321"/>
                  </a:lnTo>
                  <a:close/>
                  <a:moveTo>
                    <a:pt x="1755" y="1963"/>
                  </a:moveTo>
                  <a:lnTo>
                    <a:pt x="1759" y="1963"/>
                  </a:lnTo>
                  <a:lnTo>
                    <a:pt x="1764" y="1968"/>
                  </a:lnTo>
                  <a:lnTo>
                    <a:pt x="1759" y="1980"/>
                  </a:lnTo>
                  <a:lnTo>
                    <a:pt x="1738" y="1968"/>
                  </a:lnTo>
                  <a:lnTo>
                    <a:pt x="1722" y="1996"/>
                  </a:lnTo>
                  <a:lnTo>
                    <a:pt x="1705" y="1980"/>
                  </a:lnTo>
                  <a:lnTo>
                    <a:pt x="1667" y="1985"/>
                  </a:lnTo>
                  <a:lnTo>
                    <a:pt x="1651" y="1980"/>
                  </a:lnTo>
                  <a:lnTo>
                    <a:pt x="1658" y="1963"/>
                  </a:lnTo>
                  <a:lnTo>
                    <a:pt x="1705" y="1947"/>
                  </a:lnTo>
                  <a:lnTo>
                    <a:pt x="1722" y="1959"/>
                  </a:lnTo>
                  <a:lnTo>
                    <a:pt x="1726" y="1963"/>
                  </a:lnTo>
                  <a:lnTo>
                    <a:pt x="1743" y="1968"/>
                  </a:lnTo>
                  <a:lnTo>
                    <a:pt x="1755" y="1963"/>
                  </a:lnTo>
                  <a:lnTo>
                    <a:pt x="1755" y="1963"/>
                  </a:lnTo>
                  <a:lnTo>
                    <a:pt x="1755" y="1963"/>
                  </a:lnTo>
                  <a:close/>
                  <a:moveTo>
                    <a:pt x="2267" y="2185"/>
                  </a:moveTo>
                  <a:lnTo>
                    <a:pt x="2267" y="2181"/>
                  </a:lnTo>
                  <a:lnTo>
                    <a:pt x="2284" y="2181"/>
                  </a:lnTo>
                  <a:lnTo>
                    <a:pt x="2267" y="2185"/>
                  </a:lnTo>
                  <a:lnTo>
                    <a:pt x="2267" y="2185"/>
                  </a:lnTo>
                  <a:lnTo>
                    <a:pt x="2267" y="2185"/>
                  </a:lnTo>
                  <a:close/>
                  <a:moveTo>
                    <a:pt x="2267" y="2202"/>
                  </a:moveTo>
                  <a:lnTo>
                    <a:pt x="2251" y="2190"/>
                  </a:lnTo>
                  <a:lnTo>
                    <a:pt x="2267" y="2185"/>
                  </a:lnTo>
                  <a:lnTo>
                    <a:pt x="2267" y="2202"/>
                  </a:lnTo>
                  <a:lnTo>
                    <a:pt x="2267" y="2202"/>
                  </a:lnTo>
                  <a:lnTo>
                    <a:pt x="2267" y="2202"/>
                  </a:lnTo>
                  <a:close/>
                  <a:moveTo>
                    <a:pt x="2352" y="2219"/>
                  </a:moveTo>
                  <a:lnTo>
                    <a:pt x="2359" y="2219"/>
                  </a:lnTo>
                  <a:lnTo>
                    <a:pt x="2352" y="2219"/>
                  </a:lnTo>
                  <a:lnTo>
                    <a:pt x="2352" y="2219"/>
                  </a:lnTo>
                  <a:lnTo>
                    <a:pt x="2352" y="2219"/>
                  </a:lnTo>
                  <a:close/>
                  <a:moveTo>
                    <a:pt x="2170" y="2330"/>
                  </a:moveTo>
                  <a:lnTo>
                    <a:pt x="2170" y="2301"/>
                  </a:lnTo>
                  <a:lnTo>
                    <a:pt x="2175" y="2280"/>
                  </a:lnTo>
                  <a:lnTo>
                    <a:pt x="2187" y="2289"/>
                  </a:lnTo>
                  <a:lnTo>
                    <a:pt x="2187" y="2313"/>
                  </a:lnTo>
                  <a:lnTo>
                    <a:pt x="2170" y="2330"/>
                  </a:lnTo>
                  <a:lnTo>
                    <a:pt x="2170" y="2330"/>
                  </a:lnTo>
                  <a:lnTo>
                    <a:pt x="2170" y="2330"/>
                  </a:lnTo>
                  <a:close/>
                  <a:moveTo>
                    <a:pt x="2466" y="2346"/>
                  </a:moveTo>
                  <a:lnTo>
                    <a:pt x="2440" y="2313"/>
                  </a:lnTo>
                  <a:lnTo>
                    <a:pt x="2444" y="2296"/>
                  </a:lnTo>
                  <a:lnTo>
                    <a:pt x="2456" y="2296"/>
                  </a:lnTo>
                  <a:lnTo>
                    <a:pt x="2477" y="2313"/>
                  </a:lnTo>
                  <a:lnTo>
                    <a:pt x="2477" y="2334"/>
                  </a:lnTo>
                  <a:lnTo>
                    <a:pt x="2466" y="2346"/>
                  </a:lnTo>
                  <a:lnTo>
                    <a:pt x="2466" y="2346"/>
                  </a:lnTo>
                  <a:lnTo>
                    <a:pt x="2466" y="2346"/>
                  </a:lnTo>
                  <a:close/>
                  <a:moveTo>
                    <a:pt x="2482" y="2363"/>
                  </a:moveTo>
                  <a:lnTo>
                    <a:pt x="2477" y="2351"/>
                  </a:lnTo>
                  <a:lnTo>
                    <a:pt x="2461" y="2363"/>
                  </a:lnTo>
                  <a:lnTo>
                    <a:pt x="2456" y="2351"/>
                  </a:lnTo>
                  <a:lnTo>
                    <a:pt x="2482" y="2346"/>
                  </a:lnTo>
                  <a:lnTo>
                    <a:pt x="2494" y="2351"/>
                  </a:lnTo>
                  <a:lnTo>
                    <a:pt x="2482" y="2363"/>
                  </a:lnTo>
                  <a:lnTo>
                    <a:pt x="2482" y="2363"/>
                  </a:lnTo>
                  <a:lnTo>
                    <a:pt x="2482" y="2363"/>
                  </a:lnTo>
                  <a:close/>
                  <a:moveTo>
                    <a:pt x="2239" y="2363"/>
                  </a:moveTo>
                  <a:lnTo>
                    <a:pt x="2239" y="2351"/>
                  </a:lnTo>
                  <a:lnTo>
                    <a:pt x="2246" y="2351"/>
                  </a:lnTo>
                  <a:lnTo>
                    <a:pt x="2239" y="2363"/>
                  </a:lnTo>
                  <a:lnTo>
                    <a:pt x="2239" y="2363"/>
                  </a:lnTo>
                  <a:lnTo>
                    <a:pt x="2239" y="2363"/>
                  </a:lnTo>
                  <a:close/>
                  <a:moveTo>
                    <a:pt x="2466" y="2367"/>
                  </a:moveTo>
                  <a:lnTo>
                    <a:pt x="2461" y="2367"/>
                  </a:lnTo>
                  <a:lnTo>
                    <a:pt x="2466" y="2363"/>
                  </a:lnTo>
                  <a:lnTo>
                    <a:pt x="2466" y="2367"/>
                  </a:lnTo>
                  <a:lnTo>
                    <a:pt x="2466" y="2367"/>
                  </a:lnTo>
                  <a:lnTo>
                    <a:pt x="2466" y="2367"/>
                  </a:lnTo>
                  <a:close/>
                  <a:moveTo>
                    <a:pt x="2239" y="2384"/>
                  </a:moveTo>
                  <a:lnTo>
                    <a:pt x="2246" y="2367"/>
                  </a:lnTo>
                  <a:lnTo>
                    <a:pt x="2246" y="2374"/>
                  </a:lnTo>
                  <a:lnTo>
                    <a:pt x="2239" y="2384"/>
                  </a:lnTo>
                  <a:lnTo>
                    <a:pt x="2239" y="2384"/>
                  </a:lnTo>
                  <a:lnTo>
                    <a:pt x="2239" y="2384"/>
                  </a:lnTo>
                  <a:close/>
                  <a:moveTo>
                    <a:pt x="2385" y="2630"/>
                  </a:moveTo>
                  <a:lnTo>
                    <a:pt x="2322" y="2622"/>
                  </a:lnTo>
                  <a:lnTo>
                    <a:pt x="2315" y="2613"/>
                  </a:lnTo>
                  <a:lnTo>
                    <a:pt x="2331" y="2613"/>
                  </a:lnTo>
                  <a:lnTo>
                    <a:pt x="2331" y="2606"/>
                  </a:lnTo>
                  <a:lnTo>
                    <a:pt x="2305" y="2606"/>
                  </a:lnTo>
                  <a:lnTo>
                    <a:pt x="2284" y="2573"/>
                  </a:lnTo>
                  <a:lnTo>
                    <a:pt x="2267" y="2540"/>
                  </a:lnTo>
                  <a:lnTo>
                    <a:pt x="2263" y="2511"/>
                  </a:lnTo>
                  <a:lnTo>
                    <a:pt x="2277" y="2528"/>
                  </a:lnTo>
                  <a:lnTo>
                    <a:pt x="2277" y="2535"/>
                  </a:lnTo>
                  <a:lnTo>
                    <a:pt x="2284" y="2518"/>
                  </a:lnTo>
                  <a:lnTo>
                    <a:pt x="2267" y="2502"/>
                  </a:lnTo>
                  <a:lnTo>
                    <a:pt x="2225" y="2424"/>
                  </a:lnTo>
                  <a:lnTo>
                    <a:pt x="2225" y="2400"/>
                  </a:lnTo>
                  <a:lnTo>
                    <a:pt x="2225" y="2384"/>
                  </a:lnTo>
                  <a:lnTo>
                    <a:pt x="2267" y="2384"/>
                  </a:lnTo>
                  <a:lnTo>
                    <a:pt x="2331" y="2417"/>
                  </a:lnTo>
                  <a:lnTo>
                    <a:pt x="2359" y="2424"/>
                  </a:lnTo>
                  <a:lnTo>
                    <a:pt x="2369" y="2407"/>
                  </a:lnTo>
                  <a:lnTo>
                    <a:pt x="2385" y="2417"/>
                  </a:lnTo>
                  <a:lnTo>
                    <a:pt x="2376" y="2407"/>
                  </a:lnTo>
                  <a:lnTo>
                    <a:pt x="2385" y="2400"/>
                  </a:lnTo>
                  <a:lnTo>
                    <a:pt x="2414" y="2407"/>
                  </a:lnTo>
                  <a:lnTo>
                    <a:pt x="2428" y="2391"/>
                  </a:lnTo>
                  <a:lnTo>
                    <a:pt x="2444" y="2391"/>
                  </a:lnTo>
                  <a:lnTo>
                    <a:pt x="2456" y="2384"/>
                  </a:lnTo>
                  <a:lnTo>
                    <a:pt x="2477" y="2400"/>
                  </a:lnTo>
                  <a:lnTo>
                    <a:pt x="2477" y="2474"/>
                  </a:lnTo>
                  <a:lnTo>
                    <a:pt x="2482" y="2511"/>
                  </a:lnTo>
                  <a:lnTo>
                    <a:pt x="2477" y="2511"/>
                  </a:lnTo>
                  <a:lnTo>
                    <a:pt x="2477" y="2502"/>
                  </a:lnTo>
                  <a:lnTo>
                    <a:pt x="2466" y="2485"/>
                  </a:lnTo>
                  <a:lnTo>
                    <a:pt x="2444" y="2568"/>
                  </a:lnTo>
                  <a:lnTo>
                    <a:pt x="2456" y="2568"/>
                  </a:lnTo>
                  <a:lnTo>
                    <a:pt x="2456" y="2596"/>
                  </a:lnTo>
                  <a:lnTo>
                    <a:pt x="2444" y="2589"/>
                  </a:lnTo>
                  <a:lnTo>
                    <a:pt x="2444" y="2596"/>
                  </a:lnTo>
                  <a:lnTo>
                    <a:pt x="2428" y="2585"/>
                  </a:lnTo>
                  <a:lnTo>
                    <a:pt x="2440" y="2573"/>
                  </a:lnTo>
                  <a:lnTo>
                    <a:pt x="2440" y="2585"/>
                  </a:lnTo>
                  <a:lnTo>
                    <a:pt x="2456" y="2585"/>
                  </a:lnTo>
                  <a:lnTo>
                    <a:pt x="2444" y="2573"/>
                  </a:lnTo>
                  <a:lnTo>
                    <a:pt x="2423" y="2568"/>
                  </a:lnTo>
                  <a:lnTo>
                    <a:pt x="2423" y="2573"/>
                  </a:lnTo>
                  <a:lnTo>
                    <a:pt x="2414" y="2585"/>
                  </a:lnTo>
                  <a:lnTo>
                    <a:pt x="2414" y="2568"/>
                  </a:lnTo>
                  <a:lnTo>
                    <a:pt x="2407" y="2568"/>
                  </a:lnTo>
                  <a:lnTo>
                    <a:pt x="2407" y="2596"/>
                  </a:lnTo>
                  <a:lnTo>
                    <a:pt x="2385" y="2589"/>
                  </a:lnTo>
                  <a:lnTo>
                    <a:pt x="2390" y="2606"/>
                  </a:lnTo>
                  <a:lnTo>
                    <a:pt x="2385" y="2630"/>
                  </a:lnTo>
                  <a:lnTo>
                    <a:pt x="2385" y="2630"/>
                  </a:lnTo>
                  <a:lnTo>
                    <a:pt x="2385" y="2630"/>
                  </a:lnTo>
                  <a:close/>
                  <a:moveTo>
                    <a:pt x="2461" y="2556"/>
                  </a:moveTo>
                  <a:lnTo>
                    <a:pt x="2461" y="2540"/>
                  </a:lnTo>
                  <a:lnTo>
                    <a:pt x="2466" y="2540"/>
                  </a:lnTo>
                  <a:lnTo>
                    <a:pt x="2466" y="2552"/>
                  </a:lnTo>
                  <a:lnTo>
                    <a:pt x="2461" y="2556"/>
                  </a:lnTo>
                  <a:lnTo>
                    <a:pt x="2461" y="2556"/>
                  </a:lnTo>
                  <a:lnTo>
                    <a:pt x="2461" y="2556"/>
                  </a:lnTo>
                  <a:close/>
                  <a:moveTo>
                    <a:pt x="2414" y="2596"/>
                  </a:moveTo>
                  <a:lnTo>
                    <a:pt x="2407" y="2589"/>
                  </a:lnTo>
                  <a:lnTo>
                    <a:pt x="2414" y="2585"/>
                  </a:lnTo>
                  <a:lnTo>
                    <a:pt x="2414" y="2596"/>
                  </a:lnTo>
                  <a:lnTo>
                    <a:pt x="2414" y="2596"/>
                  </a:lnTo>
                  <a:lnTo>
                    <a:pt x="2414" y="2596"/>
                  </a:lnTo>
                  <a:close/>
                  <a:moveTo>
                    <a:pt x="2407" y="2622"/>
                  </a:moveTo>
                  <a:lnTo>
                    <a:pt x="2390" y="2613"/>
                  </a:lnTo>
                  <a:lnTo>
                    <a:pt x="2407" y="2596"/>
                  </a:lnTo>
                  <a:lnTo>
                    <a:pt x="2414" y="2613"/>
                  </a:lnTo>
                  <a:lnTo>
                    <a:pt x="2407" y="2622"/>
                  </a:lnTo>
                  <a:lnTo>
                    <a:pt x="2407" y="2622"/>
                  </a:lnTo>
                  <a:lnTo>
                    <a:pt x="2407" y="2622"/>
                  </a:lnTo>
                  <a:close/>
                  <a:moveTo>
                    <a:pt x="3217" y="3666"/>
                  </a:moveTo>
                  <a:lnTo>
                    <a:pt x="3217" y="3659"/>
                  </a:lnTo>
                  <a:lnTo>
                    <a:pt x="3229" y="3643"/>
                  </a:lnTo>
                  <a:lnTo>
                    <a:pt x="3217" y="3666"/>
                  </a:lnTo>
                  <a:lnTo>
                    <a:pt x="3217" y="3666"/>
                  </a:lnTo>
                  <a:lnTo>
                    <a:pt x="3217" y="366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64" name="Freeform 395">
              <a:extLst>
                <a:ext uri="{FF2B5EF4-FFF2-40B4-BE49-F238E27FC236}">
                  <a16:creationId xmlns:a16="http://schemas.microsoft.com/office/drawing/2014/main" id="{A17FBB1F-ABC3-4D1F-A747-A3177621DC01}"/>
                </a:ext>
              </a:extLst>
            </p:cNvPr>
            <p:cNvSpPr>
              <a:spLocks noEditPoints="1"/>
            </p:cNvSpPr>
            <p:nvPr/>
          </p:nvSpPr>
          <p:spPr bwMode="gray">
            <a:xfrm>
              <a:off x="9267064" y="3256451"/>
              <a:ext cx="132146" cy="183625"/>
            </a:xfrm>
            <a:custGeom>
              <a:avLst/>
              <a:gdLst>
                <a:gd name="T0" fmla="*/ 71 w 321"/>
                <a:gd name="T1" fmla="*/ 262 h 446"/>
                <a:gd name="T2" fmla="*/ 38 w 321"/>
                <a:gd name="T3" fmla="*/ 229 h 446"/>
                <a:gd name="T4" fmla="*/ 55 w 321"/>
                <a:gd name="T5" fmla="*/ 184 h 446"/>
                <a:gd name="T6" fmla="*/ 5 w 321"/>
                <a:gd name="T7" fmla="*/ 163 h 446"/>
                <a:gd name="T8" fmla="*/ 5 w 321"/>
                <a:gd name="T9" fmla="*/ 128 h 446"/>
                <a:gd name="T10" fmla="*/ 71 w 321"/>
                <a:gd name="T11" fmla="*/ 111 h 446"/>
                <a:gd name="T12" fmla="*/ 55 w 321"/>
                <a:gd name="T13" fmla="*/ 90 h 446"/>
                <a:gd name="T14" fmla="*/ 5 w 321"/>
                <a:gd name="T15" fmla="*/ 57 h 446"/>
                <a:gd name="T16" fmla="*/ 33 w 321"/>
                <a:gd name="T17" fmla="*/ 5 h 446"/>
                <a:gd name="T18" fmla="*/ 59 w 321"/>
                <a:gd name="T19" fmla="*/ 33 h 446"/>
                <a:gd name="T20" fmla="*/ 71 w 321"/>
                <a:gd name="T21" fmla="*/ 17 h 446"/>
                <a:gd name="T22" fmla="*/ 92 w 321"/>
                <a:gd name="T23" fmla="*/ 50 h 446"/>
                <a:gd name="T24" fmla="*/ 123 w 321"/>
                <a:gd name="T25" fmla="*/ 33 h 446"/>
                <a:gd name="T26" fmla="*/ 168 w 321"/>
                <a:gd name="T27" fmla="*/ 111 h 446"/>
                <a:gd name="T28" fmla="*/ 312 w 321"/>
                <a:gd name="T29" fmla="*/ 135 h 446"/>
                <a:gd name="T30" fmla="*/ 274 w 321"/>
                <a:gd name="T31" fmla="*/ 172 h 446"/>
                <a:gd name="T32" fmla="*/ 232 w 321"/>
                <a:gd name="T33" fmla="*/ 205 h 446"/>
                <a:gd name="T34" fmla="*/ 236 w 321"/>
                <a:gd name="T35" fmla="*/ 274 h 446"/>
                <a:gd name="T36" fmla="*/ 258 w 321"/>
                <a:gd name="T37" fmla="*/ 279 h 446"/>
                <a:gd name="T38" fmla="*/ 274 w 321"/>
                <a:gd name="T39" fmla="*/ 241 h 446"/>
                <a:gd name="T40" fmla="*/ 300 w 321"/>
                <a:gd name="T41" fmla="*/ 224 h 446"/>
                <a:gd name="T42" fmla="*/ 312 w 321"/>
                <a:gd name="T43" fmla="*/ 302 h 446"/>
                <a:gd name="T44" fmla="*/ 321 w 321"/>
                <a:gd name="T45" fmla="*/ 406 h 446"/>
                <a:gd name="T46" fmla="*/ 291 w 321"/>
                <a:gd name="T47" fmla="*/ 406 h 446"/>
                <a:gd name="T48" fmla="*/ 286 w 321"/>
                <a:gd name="T49" fmla="*/ 413 h 446"/>
                <a:gd name="T50" fmla="*/ 269 w 321"/>
                <a:gd name="T51" fmla="*/ 373 h 446"/>
                <a:gd name="T52" fmla="*/ 220 w 321"/>
                <a:gd name="T53" fmla="*/ 312 h 446"/>
                <a:gd name="T54" fmla="*/ 182 w 321"/>
                <a:gd name="T55" fmla="*/ 274 h 446"/>
                <a:gd name="T56" fmla="*/ 182 w 321"/>
                <a:gd name="T57" fmla="*/ 241 h 446"/>
                <a:gd name="T58" fmla="*/ 177 w 321"/>
                <a:gd name="T59" fmla="*/ 241 h 446"/>
                <a:gd name="T60" fmla="*/ 182 w 321"/>
                <a:gd name="T61" fmla="*/ 262 h 446"/>
                <a:gd name="T62" fmla="*/ 168 w 321"/>
                <a:gd name="T63" fmla="*/ 295 h 446"/>
                <a:gd name="T64" fmla="*/ 168 w 321"/>
                <a:gd name="T65" fmla="*/ 352 h 446"/>
                <a:gd name="T66" fmla="*/ 151 w 321"/>
                <a:gd name="T67" fmla="*/ 368 h 446"/>
                <a:gd name="T68" fmla="*/ 144 w 321"/>
                <a:gd name="T69" fmla="*/ 357 h 446"/>
                <a:gd name="T70" fmla="*/ 140 w 321"/>
                <a:gd name="T71" fmla="*/ 352 h 446"/>
                <a:gd name="T72" fmla="*/ 130 w 321"/>
                <a:gd name="T73" fmla="*/ 335 h 446"/>
                <a:gd name="T74" fmla="*/ 109 w 321"/>
                <a:gd name="T75" fmla="*/ 368 h 446"/>
                <a:gd name="T76" fmla="*/ 97 w 321"/>
                <a:gd name="T77" fmla="*/ 335 h 446"/>
                <a:gd name="T78" fmla="*/ 92 w 321"/>
                <a:gd name="T79" fmla="*/ 373 h 446"/>
                <a:gd name="T80" fmla="*/ 76 w 321"/>
                <a:gd name="T81" fmla="*/ 368 h 446"/>
                <a:gd name="T82" fmla="*/ 76 w 321"/>
                <a:gd name="T83" fmla="*/ 347 h 446"/>
                <a:gd name="T84" fmla="*/ 168 w 321"/>
                <a:gd name="T85" fmla="*/ 246 h 446"/>
                <a:gd name="T86" fmla="*/ 177 w 321"/>
                <a:gd name="T87" fmla="*/ 257 h 446"/>
                <a:gd name="T88" fmla="*/ 177 w 321"/>
                <a:gd name="T89" fmla="*/ 274 h 446"/>
                <a:gd name="T90" fmla="*/ 182 w 321"/>
                <a:gd name="T91" fmla="*/ 279 h 446"/>
                <a:gd name="T92" fmla="*/ 182 w 321"/>
                <a:gd name="T93" fmla="*/ 286 h 446"/>
                <a:gd name="T94" fmla="*/ 177 w 321"/>
                <a:gd name="T95" fmla="*/ 302 h 446"/>
                <a:gd name="T96" fmla="*/ 182 w 321"/>
                <a:gd name="T97" fmla="*/ 352 h 446"/>
                <a:gd name="T98" fmla="*/ 182 w 321"/>
                <a:gd name="T99" fmla="*/ 295 h 446"/>
                <a:gd name="T100" fmla="*/ 199 w 321"/>
                <a:gd name="T101" fmla="*/ 347 h 446"/>
                <a:gd name="T102" fmla="*/ 182 w 321"/>
                <a:gd name="T103" fmla="*/ 357 h 446"/>
                <a:gd name="T104" fmla="*/ 236 w 321"/>
                <a:gd name="T105" fmla="*/ 302 h 446"/>
                <a:gd name="T106" fmla="*/ 248 w 321"/>
                <a:gd name="T107" fmla="*/ 328 h 446"/>
                <a:gd name="T108" fmla="*/ 215 w 321"/>
                <a:gd name="T109" fmla="*/ 312 h 446"/>
                <a:gd name="T110" fmla="*/ 215 w 321"/>
                <a:gd name="T111" fmla="*/ 352 h 446"/>
                <a:gd name="T112" fmla="*/ 177 w 321"/>
                <a:gd name="T113" fmla="*/ 352 h 446"/>
                <a:gd name="T114" fmla="*/ 177 w 321"/>
                <a:gd name="T115" fmla="*/ 352 h 446"/>
                <a:gd name="T116" fmla="*/ 168 w 321"/>
                <a:gd name="T117" fmla="*/ 352 h 446"/>
                <a:gd name="T118" fmla="*/ 168 w 321"/>
                <a:gd name="T119" fmla="*/ 357 h 446"/>
                <a:gd name="T120" fmla="*/ 269 w 321"/>
                <a:gd name="T121" fmla="*/ 373 h 446"/>
                <a:gd name="T122" fmla="*/ 269 w 321"/>
                <a:gd name="T123" fmla="*/ 39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1" h="446">
                  <a:moveTo>
                    <a:pt x="76" y="347"/>
                  </a:moveTo>
                  <a:lnTo>
                    <a:pt x="59" y="279"/>
                  </a:lnTo>
                  <a:lnTo>
                    <a:pt x="71" y="262"/>
                  </a:lnTo>
                  <a:lnTo>
                    <a:pt x="55" y="257"/>
                  </a:lnTo>
                  <a:lnTo>
                    <a:pt x="55" y="241"/>
                  </a:lnTo>
                  <a:lnTo>
                    <a:pt x="38" y="229"/>
                  </a:lnTo>
                  <a:lnTo>
                    <a:pt x="38" y="217"/>
                  </a:lnTo>
                  <a:lnTo>
                    <a:pt x="55" y="205"/>
                  </a:lnTo>
                  <a:lnTo>
                    <a:pt x="55" y="184"/>
                  </a:lnTo>
                  <a:lnTo>
                    <a:pt x="43" y="172"/>
                  </a:lnTo>
                  <a:lnTo>
                    <a:pt x="38" y="172"/>
                  </a:lnTo>
                  <a:lnTo>
                    <a:pt x="5" y="163"/>
                  </a:lnTo>
                  <a:lnTo>
                    <a:pt x="0" y="151"/>
                  </a:lnTo>
                  <a:lnTo>
                    <a:pt x="17" y="135"/>
                  </a:lnTo>
                  <a:lnTo>
                    <a:pt x="5" y="128"/>
                  </a:lnTo>
                  <a:lnTo>
                    <a:pt x="21" y="135"/>
                  </a:lnTo>
                  <a:lnTo>
                    <a:pt x="33" y="111"/>
                  </a:lnTo>
                  <a:lnTo>
                    <a:pt x="71" y="111"/>
                  </a:lnTo>
                  <a:lnTo>
                    <a:pt x="71" y="106"/>
                  </a:lnTo>
                  <a:lnTo>
                    <a:pt x="59" y="94"/>
                  </a:lnTo>
                  <a:lnTo>
                    <a:pt x="55" y="90"/>
                  </a:lnTo>
                  <a:lnTo>
                    <a:pt x="38" y="90"/>
                  </a:lnTo>
                  <a:lnTo>
                    <a:pt x="21" y="61"/>
                  </a:lnTo>
                  <a:lnTo>
                    <a:pt x="5" y="57"/>
                  </a:lnTo>
                  <a:lnTo>
                    <a:pt x="17" y="33"/>
                  </a:lnTo>
                  <a:lnTo>
                    <a:pt x="38" y="17"/>
                  </a:lnTo>
                  <a:lnTo>
                    <a:pt x="33" y="5"/>
                  </a:lnTo>
                  <a:lnTo>
                    <a:pt x="21" y="5"/>
                  </a:lnTo>
                  <a:lnTo>
                    <a:pt x="33" y="0"/>
                  </a:lnTo>
                  <a:lnTo>
                    <a:pt x="59" y="33"/>
                  </a:lnTo>
                  <a:lnTo>
                    <a:pt x="76" y="24"/>
                  </a:lnTo>
                  <a:lnTo>
                    <a:pt x="59" y="17"/>
                  </a:lnTo>
                  <a:lnTo>
                    <a:pt x="71" y="17"/>
                  </a:lnTo>
                  <a:lnTo>
                    <a:pt x="76" y="17"/>
                  </a:lnTo>
                  <a:lnTo>
                    <a:pt x="76" y="33"/>
                  </a:lnTo>
                  <a:lnTo>
                    <a:pt x="92" y="50"/>
                  </a:lnTo>
                  <a:lnTo>
                    <a:pt x="109" y="50"/>
                  </a:lnTo>
                  <a:lnTo>
                    <a:pt x="114" y="33"/>
                  </a:lnTo>
                  <a:lnTo>
                    <a:pt x="123" y="33"/>
                  </a:lnTo>
                  <a:lnTo>
                    <a:pt x="130" y="57"/>
                  </a:lnTo>
                  <a:lnTo>
                    <a:pt x="130" y="106"/>
                  </a:lnTo>
                  <a:lnTo>
                    <a:pt x="168" y="111"/>
                  </a:lnTo>
                  <a:lnTo>
                    <a:pt x="286" y="111"/>
                  </a:lnTo>
                  <a:lnTo>
                    <a:pt x="307" y="118"/>
                  </a:lnTo>
                  <a:lnTo>
                    <a:pt x="312" y="135"/>
                  </a:lnTo>
                  <a:lnTo>
                    <a:pt x="300" y="135"/>
                  </a:lnTo>
                  <a:lnTo>
                    <a:pt x="291" y="168"/>
                  </a:lnTo>
                  <a:lnTo>
                    <a:pt x="274" y="172"/>
                  </a:lnTo>
                  <a:lnTo>
                    <a:pt x="269" y="189"/>
                  </a:lnTo>
                  <a:lnTo>
                    <a:pt x="236" y="189"/>
                  </a:lnTo>
                  <a:lnTo>
                    <a:pt x="232" y="205"/>
                  </a:lnTo>
                  <a:lnTo>
                    <a:pt x="220" y="229"/>
                  </a:lnTo>
                  <a:lnTo>
                    <a:pt x="232" y="274"/>
                  </a:lnTo>
                  <a:lnTo>
                    <a:pt x="236" y="274"/>
                  </a:lnTo>
                  <a:lnTo>
                    <a:pt x="236" y="257"/>
                  </a:lnTo>
                  <a:lnTo>
                    <a:pt x="248" y="279"/>
                  </a:lnTo>
                  <a:lnTo>
                    <a:pt x="258" y="279"/>
                  </a:lnTo>
                  <a:lnTo>
                    <a:pt x="269" y="274"/>
                  </a:lnTo>
                  <a:lnTo>
                    <a:pt x="258" y="257"/>
                  </a:lnTo>
                  <a:lnTo>
                    <a:pt x="274" y="241"/>
                  </a:lnTo>
                  <a:lnTo>
                    <a:pt x="274" y="224"/>
                  </a:lnTo>
                  <a:lnTo>
                    <a:pt x="286" y="229"/>
                  </a:lnTo>
                  <a:lnTo>
                    <a:pt x="300" y="224"/>
                  </a:lnTo>
                  <a:lnTo>
                    <a:pt x="307" y="257"/>
                  </a:lnTo>
                  <a:lnTo>
                    <a:pt x="307" y="279"/>
                  </a:lnTo>
                  <a:lnTo>
                    <a:pt x="312" y="302"/>
                  </a:lnTo>
                  <a:lnTo>
                    <a:pt x="321" y="357"/>
                  </a:lnTo>
                  <a:lnTo>
                    <a:pt x="321" y="406"/>
                  </a:lnTo>
                  <a:lnTo>
                    <a:pt x="321" y="406"/>
                  </a:lnTo>
                  <a:lnTo>
                    <a:pt x="307" y="390"/>
                  </a:lnTo>
                  <a:lnTo>
                    <a:pt x="300" y="402"/>
                  </a:lnTo>
                  <a:lnTo>
                    <a:pt x="291" y="406"/>
                  </a:lnTo>
                  <a:lnTo>
                    <a:pt x="300" y="425"/>
                  </a:lnTo>
                  <a:lnTo>
                    <a:pt x="300" y="446"/>
                  </a:lnTo>
                  <a:lnTo>
                    <a:pt x="286" y="413"/>
                  </a:lnTo>
                  <a:lnTo>
                    <a:pt x="274" y="402"/>
                  </a:lnTo>
                  <a:lnTo>
                    <a:pt x="286" y="385"/>
                  </a:lnTo>
                  <a:lnTo>
                    <a:pt x="269" y="373"/>
                  </a:lnTo>
                  <a:lnTo>
                    <a:pt x="258" y="319"/>
                  </a:lnTo>
                  <a:lnTo>
                    <a:pt x="236" y="295"/>
                  </a:lnTo>
                  <a:lnTo>
                    <a:pt x="220" y="312"/>
                  </a:lnTo>
                  <a:lnTo>
                    <a:pt x="203" y="312"/>
                  </a:lnTo>
                  <a:lnTo>
                    <a:pt x="199" y="302"/>
                  </a:lnTo>
                  <a:lnTo>
                    <a:pt x="182" y="274"/>
                  </a:lnTo>
                  <a:lnTo>
                    <a:pt x="182" y="241"/>
                  </a:lnTo>
                  <a:lnTo>
                    <a:pt x="194" y="241"/>
                  </a:lnTo>
                  <a:lnTo>
                    <a:pt x="182" y="241"/>
                  </a:lnTo>
                  <a:lnTo>
                    <a:pt x="182" y="229"/>
                  </a:lnTo>
                  <a:lnTo>
                    <a:pt x="177" y="229"/>
                  </a:lnTo>
                  <a:lnTo>
                    <a:pt x="177" y="241"/>
                  </a:lnTo>
                  <a:lnTo>
                    <a:pt x="177" y="246"/>
                  </a:lnTo>
                  <a:lnTo>
                    <a:pt x="161" y="246"/>
                  </a:lnTo>
                  <a:lnTo>
                    <a:pt x="182" y="262"/>
                  </a:lnTo>
                  <a:lnTo>
                    <a:pt x="177" y="274"/>
                  </a:lnTo>
                  <a:lnTo>
                    <a:pt x="168" y="274"/>
                  </a:lnTo>
                  <a:lnTo>
                    <a:pt x="168" y="295"/>
                  </a:lnTo>
                  <a:lnTo>
                    <a:pt x="177" y="312"/>
                  </a:lnTo>
                  <a:lnTo>
                    <a:pt x="182" y="328"/>
                  </a:lnTo>
                  <a:lnTo>
                    <a:pt x="168" y="352"/>
                  </a:lnTo>
                  <a:lnTo>
                    <a:pt x="168" y="335"/>
                  </a:lnTo>
                  <a:lnTo>
                    <a:pt x="161" y="368"/>
                  </a:lnTo>
                  <a:lnTo>
                    <a:pt x="151" y="368"/>
                  </a:lnTo>
                  <a:lnTo>
                    <a:pt x="140" y="368"/>
                  </a:lnTo>
                  <a:lnTo>
                    <a:pt x="151" y="347"/>
                  </a:lnTo>
                  <a:lnTo>
                    <a:pt x="144" y="357"/>
                  </a:lnTo>
                  <a:lnTo>
                    <a:pt x="140" y="352"/>
                  </a:lnTo>
                  <a:lnTo>
                    <a:pt x="144" y="347"/>
                  </a:lnTo>
                  <a:lnTo>
                    <a:pt x="140" y="352"/>
                  </a:lnTo>
                  <a:lnTo>
                    <a:pt x="130" y="335"/>
                  </a:lnTo>
                  <a:lnTo>
                    <a:pt x="140" y="319"/>
                  </a:lnTo>
                  <a:lnTo>
                    <a:pt x="130" y="335"/>
                  </a:lnTo>
                  <a:lnTo>
                    <a:pt x="130" y="357"/>
                  </a:lnTo>
                  <a:lnTo>
                    <a:pt x="109" y="373"/>
                  </a:lnTo>
                  <a:lnTo>
                    <a:pt x="109" y="368"/>
                  </a:lnTo>
                  <a:lnTo>
                    <a:pt x="114" y="328"/>
                  </a:lnTo>
                  <a:lnTo>
                    <a:pt x="109" y="357"/>
                  </a:lnTo>
                  <a:lnTo>
                    <a:pt x="97" y="335"/>
                  </a:lnTo>
                  <a:lnTo>
                    <a:pt x="109" y="357"/>
                  </a:lnTo>
                  <a:lnTo>
                    <a:pt x="97" y="373"/>
                  </a:lnTo>
                  <a:lnTo>
                    <a:pt x="92" y="373"/>
                  </a:lnTo>
                  <a:lnTo>
                    <a:pt x="92" y="357"/>
                  </a:lnTo>
                  <a:lnTo>
                    <a:pt x="88" y="385"/>
                  </a:lnTo>
                  <a:lnTo>
                    <a:pt x="76" y="368"/>
                  </a:lnTo>
                  <a:lnTo>
                    <a:pt x="76" y="347"/>
                  </a:lnTo>
                  <a:lnTo>
                    <a:pt x="76" y="347"/>
                  </a:lnTo>
                  <a:lnTo>
                    <a:pt x="76" y="347"/>
                  </a:lnTo>
                  <a:close/>
                  <a:moveTo>
                    <a:pt x="177" y="257"/>
                  </a:moveTo>
                  <a:lnTo>
                    <a:pt x="182" y="257"/>
                  </a:lnTo>
                  <a:lnTo>
                    <a:pt x="168" y="246"/>
                  </a:lnTo>
                  <a:lnTo>
                    <a:pt x="177" y="257"/>
                  </a:lnTo>
                  <a:lnTo>
                    <a:pt x="177" y="257"/>
                  </a:lnTo>
                  <a:lnTo>
                    <a:pt x="177" y="257"/>
                  </a:lnTo>
                  <a:close/>
                  <a:moveTo>
                    <a:pt x="182" y="279"/>
                  </a:moveTo>
                  <a:lnTo>
                    <a:pt x="177" y="279"/>
                  </a:lnTo>
                  <a:lnTo>
                    <a:pt x="177" y="274"/>
                  </a:lnTo>
                  <a:lnTo>
                    <a:pt x="182" y="279"/>
                  </a:lnTo>
                  <a:lnTo>
                    <a:pt x="182" y="279"/>
                  </a:lnTo>
                  <a:lnTo>
                    <a:pt x="182" y="279"/>
                  </a:lnTo>
                  <a:close/>
                  <a:moveTo>
                    <a:pt x="177" y="302"/>
                  </a:moveTo>
                  <a:lnTo>
                    <a:pt x="168" y="286"/>
                  </a:lnTo>
                  <a:lnTo>
                    <a:pt x="182" y="286"/>
                  </a:lnTo>
                  <a:lnTo>
                    <a:pt x="177" y="295"/>
                  </a:lnTo>
                  <a:lnTo>
                    <a:pt x="177" y="302"/>
                  </a:lnTo>
                  <a:lnTo>
                    <a:pt x="177" y="302"/>
                  </a:lnTo>
                  <a:lnTo>
                    <a:pt x="177" y="302"/>
                  </a:lnTo>
                  <a:close/>
                  <a:moveTo>
                    <a:pt x="182" y="357"/>
                  </a:moveTo>
                  <a:lnTo>
                    <a:pt x="182" y="352"/>
                  </a:lnTo>
                  <a:lnTo>
                    <a:pt x="182" y="319"/>
                  </a:lnTo>
                  <a:lnTo>
                    <a:pt x="177" y="302"/>
                  </a:lnTo>
                  <a:lnTo>
                    <a:pt x="182" y="295"/>
                  </a:lnTo>
                  <a:lnTo>
                    <a:pt x="182" y="295"/>
                  </a:lnTo>
                  <a:lnTo>
                    <a:pt x="199" y="319"/>
                  </a:lnTo>
                  <a:lnTo>
                    <a:pt x="199" y="347"/>
                  </a:lnTo>
                  <a:lnTo>
                    <a:pt x="182" y="357"/>
                  </a:lnTo>
                  <a:lnTo>
                    <a:pt x="182" y="357"/>
                  </a:lnTo>
                  <a:lnTo>
                    <a:pt x="182" y="357"/>
                  </a:lnTo>
                  <a:close/>
                  <a:moveTo>
                    <a:pt x="248" y="328"/>
                  </a:moveTo>
                  <a:lnTo>
                    <a:pt x="236" y="319"/>
                  </a:lnTo>
                  <a:lnTo>
                    <a:pt x="236" y="302"/>
                  </a:lnTo>
                  <a:lnTo>
                    <a:pt x="248" y="319"/>
                  </a:lnTo>
                  <a:lnTo>
                    <a:pt x="248" y="328"/>
                  </a:lnTo>
                  <a:lnTo>
                    <a:pt x="248" y="328"/>
                  </a:lnTo>
                  <a:lnTo>
                    <a:pt x="248" y="328"/>
                  </a:lnTo>
                  <a:close/>
                  <a:moveTo>
                    <a:pt x="215" y="352"/>
                  </a:moveTo>
                  <a:lnTo>
                    <a:pt x="215" y="312"/>
                  </a:lnTo>
                  <a:lnTo>
                    <a:pt x="220" y="335"/>
                  </a:lnTo>
                  <a:lnTo>
                    <a:pt x="215" y="352"/>
                  </a:lnTo>
                  <a:lnTo>
                    <a:pt x="215" y="352"/>
                  </a:lnTo>
                  <a:lnTo>
                    <a:pt x="215" y="352"/>
                  </a:lnTo>
                  <a:close/>
                  <a:moveTo>
                    <a:pt x="177" y="352"/>
                  </a:moveTo>
                  <a:lnTo>
                    <a:pt x="177" y="352"/>
                  </a:lnTo>
                  <a:lnTo>
                    <a:pt x="182" y="347"/>
                  </a:lnTo>
                  <a:lnTo>
                    <a:pt x="177" y="352"/>
                  </a:lnTo>
                  <a:lnTo>
                    <a:pt x="177" y="352"/>
                  </a:lnTo>
                  <a:lnTo>
                    <a:pt x="177" y="352"/>
                  </a:lnTo>
                  <a:close/>
                  <a:moveTo>
                    <a:pt x="168" y="357"/>
                  </a:moveTo>
                  <a:lnTo>
                    <a:pt x="168" y="352"/>
                  </a:lnTo>
                  <a:lnTo>
                    <a:pt x="177" y="357"/>
                  </a:lnTo>
                  <a:lnTo>
                    <a:pt x="168" y="357"/>
                  </a:lnTo>
                  <a:lnTo>
                    <a:pt x="168" y="357"/>
                  </a:lnTo>
                  <a:lnTo>
                    <a:pt x="168" y="357"/>
                  </a:lnTo>
                  <a:close/>
                  <a:moveTo>
                    <a:pt x="269" y="390"/>
                  </a:moveTo>
                  <a:lnTo>
                    <a:pt x="269" y="373"/>
                  </a:lnTo>
                  <a:lnTo>
                    <a:pt x="274" y="385"/>
                  </a:lnTo>
                  <a:lnTo>
                    <a:pt x="269" y="390"/>
                  </a:lnTo>
                  <a:lnTo>
                    <a:pt x="269" y="390"/>
                  </a:lnTo>
                  <a:lnTo>
                    <a:pt x="269" y="39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65" name="Freeform 399">
              <a:extLst>
                <a:ext uri="{FF2B5EF4-FFF2-40B4-BE49-F238E27FC236}">
                  <a16:creationId xmlns:a16="http://schemas.microsoft.com/office/drawing/2014/main" id="{87D94836-40BF-42CD-A7CE-4A013FA4824B}"/>
                </a:ext>
              </a:extLst>
            </p:cNvPr>
            <p:cNvSpPr>
              <a:spLocks noEditPoints="1"/>
            </p:cNvSpPr>
            <p:nvPr/>
          </p:nvSpPr>
          <p:spPr bwMode="gray">
            <a:xfrm>
              <a:off x="9387682" y="3196342"/>
              <a:ext cx="259764" cy="576402"/>
            </a:xfrm>
            <a:custGeom>
              <a:avLst/>
              <a:gdLst>
                <a:gd name="T0" fmla="*/ 31 w 631"/>
                <a:gd name="T1" fmla="*/ 552 h 1400"/>
                <a:gd name="T2" fmla="*/ 64 w 631"/>
                <a:gd name="T3" fmla="*/ 448 h 1400"/>
                <a:gd name="T4" fmla="*/ 92 w 631"/>
                <a:gd name="T5" fmla="*/ 354 h 1400"/>
                <a:gd name="T6" fmla="*/ 173 w 631"/>
                <a:gd name="T7" fmla="*/ 243 h 1400"/>
                <a:gd name="T8" fmla="*/ 286 w 631"/>
                <a:gd name="T9" fmla="*/ 94 h 1400"/>
                <a:gd name="T10" fmla="*/ 362 w 631"/>
                <a:gd name="T11" fmla="*/ 23 h 1400"/>
                <a:gd name="T12" fmla="*/ 442 w 631"/>
                <a:gd name="T13" fmla="*/ 73 h 1400"/>
                <a:gd name="T14" fmla="*/ 447 w 631"/>
                <a:gd name="T15" fmla="*/ 205 h 1400"/>
                <a:gd name="T16" fmla="*/ 392 w 631"/>
                <a:gd name="T17" fmla="*/ 276 h 1400"/>
                <a:gd name="T18" fmla="*/ 388 w 631"/>
                <a:gd name="T19" fmla="*/ 366 h 1400"/>
                <a:gd name="T20" fmla="*/ 463 w 631"/>
                <a:gd name="T21" fmla="*/ 387 h 1400"/>
                <a:gd name="T22" fmla="*/ 501 w 631"/>
                <a:gd name="T23" fmla="*/ 448 h 1400"/>
                <a:gd name="T24" fmla="*/ 555 w 631"/>
                <a:gd name="T25" fmla="*/ 536 h 1400"/>
                <a:gd name="T26" fmla="*/ 614 w 631"/>
                <a:gd name="T27" fmla="*/ 548 h 1400"/>
                <a:gd name="T28" fmla="*/ 555 w 631"/>
                <a:gd name="T29" fmla="*/ 625 h 1400"/>
                <a:gd name="T30" fmla="*/ 484 w 631"/>
                <a:gd name="T31" fmla="*/ 647 h 1400"/>
                <a:gd name="T32" fmla="*/ 399 w 631"/>
                <a:gd name="T33" fmla="*/ 680 h 1400"/>
                <a:gd name="T34" fmla="*/ 362 w 631"/>
                <a:gd name="T35" fmla="*/ 758 h 1400"/>
                <a:gd name="T36" fmla="*/ 451 w 631"/>
                <a:gd name="T37" fmla="*/ 923 h 1400"/>
                <a:gd name="T38" fmla="*/ 442 w 631"/>
                <a:gd name="T39" fmla="*/ 996 h 1400"/>
                <a:gd name="T40" fmla="*/ 496 w 631"/>
                <a:gd name="T41" fmla="*/ 1112 h 1400"/>
                <a:gd name="T42" fmla="*/ 506 w 631"/>
                <a:gd name="T43" fmla="*/ 1216 h 1400"/>
                <a:gd name="T44" fmla="*/ 447 w 631"/>
                <a:gd name="T45" fmla="*/ 1388 h 1400"/>
                <a:gd name="T46" fmla="*/ 463 w 631"/>
                <a:gd name="T47" fmla="*/ 1256 h 1400"/>
                <a:gd name="T48" fmla="*/ 447 w 631"/>
                <a:gd name="T49" fmla="*/ 1223 h 1400"/>
                <a:gd name="T50" fmla="*/ 425 w 631"/>
                <a:gd name="T51" fmla="*/ 1088 h 1400"/>
                <a:gd name="T52" fmla="*/ 388 w 631"/>
                <a:gd name="T53" fmla="*/ 907 h 1400"/>
                <a:gd name="T54" fmla="*/ 333 w 631"/>
                <a:gd name="T55" fmla="*/ 869 h 1400"/>
                <a:gd name="T56" fmla="*/ 286 w 631"/>
                <a:gd name="T57" fmla="*/ 918 h 1400"/>
                <a:gd name="T58" fmla="*/ 227 w 631"/>
                <a:gd name="T59" fmla="*/ 940 h 1400"/>
                <a:gd name="T60" fmla="*/ 199 w 631"/>
                <a:gd name="T61" fmla="*/ 963 h 1400"/>
                <a:gd name="T62" fmla="*/ 182 w 631"/>
                <a:gd name="T63" fmla="*/ 940 h 1400"/>
                <a:gd name="T64" fmla="*/ 144 w 631"/>
                <a:gd name="T65" fmla="*/ 947 h 1400"/>
                <a:gd name="T66" fmla="*/ 139 w 631"/>
                <a:gd name="T67" fmla="*/ 737 h 1400"/>
                <a:gd name="T68" fmla="*/ 102 w 631"/>
                <a:gd name="T69" fmla="*/ 670 h 1400"/>
                <a:gd name="T70" fmla="*/ 69 w 631"/>
                <a:gd name="T71" fmla="*/ 659 h 1400"/>
                <a:gd name="T72" fmla="*/ 47 w 631"/>
                <a:gd name="T73" fmla="*/ 642 h 1400"/>
                <a:gd name="T74" fmla="*/ 17 w 631"/>
                <a:gd name="T75" fmla="*/ 602 h 1400"/>
                <a:gd name="T76" fmla="*/ 102 w 631"/>
                <a:gd name="T77" fmla="*/ 687 h 1400"/>
                <a:gd name="T78" fmla="*/ 123 w 631"/>
                <a:gd name="T79" fmla="*/ 725 h 1400"/>
                <a:gd name="T80" fmla="*/ 118 w 631"/>
                <a:gd name="T81" fmla="*/ 703 h 1400"/>
                <a:gd name="T82" fmla="*/ 92 w 631"/>
                <a:gd name="T83" fmla="*/ 737 h 1400"/>
                <a:gd name="T84" fmla="*/ 376 w 631"/>
                <a:gd name="T85" fmla="*/ 935 h 1400"/>
                <a:gd name="T86" fmla="*/ 173 w 631"/>
                <a:gd name="T87" fmla="*/ 940 h 1400"/>
                <a:gd name="T88" fmla="*/ 430 w 631"/>
                <a:gd name="T89" fmla="*/ 1216 h 1400"/>
                <a:gd name="T90" fmla="*/ 430 w 631"/>
                <a:gd name="T91" fmla="*/ 1216 h 1400"/>
                <a:gd name="T92" fmla="*/ 409 w 631"/>
                <a:gd name="T93" fmla="*/ 1216 h 1400"/>
                <a:gd name="T94" fmla="*/ 413 w 631"/>
                <a:gd name="T95" fmla="*/ 1223 h 1400"/>
                <a:gd name="T96" fmla="*/ 442 w 631"/>
                <a:gd name="T97" fmla="*/ 1233 h 1400"/>
                <a:gd name="T98" fmla="*/ 447 w 631"/>
                <a:gd name="T99" fmla="*/ 1256 h 1400"/>
                <a:gd name="T100" fmla="*/ 430 w 631"/>
                <a:gd name="T101" fmla="*/ 1256 h 1400"/>
                <a:gd name="T102" fmla="*/ 447 w 631"/>
                <a:gd name="T103" fmla="*/ 1306 h 1400"/>
                <a:gd name="T104" fmla="*/ 425 w 631"/>
                <a:gd name="T105" fmla="*/ 1332 h 1400"/>
                <a:gd name="T106" fmla="*/ 425 w 631"/>
                <a:gd name="T107" fmla="*/ 1332 h 1400"/>
                <a:gd name="T108" fmla="*/ 399 w 631"/>
                <a:gd name="T109" fmla="*/ 1348 h 1400"/>
                <a:gd name="T110" fmla="*/ 425 w 631"/>
                <a:gd name="T111" fmla="*/ 1384 h 1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1400">
                  <a:moveTo>
                    <a:pt x="10" y="569"/>
                  </a:moveTo>
                  <a:lnTo>
                    <a:pt x="0" y="552"/>
                  </a:lnTo>
                  <a:lnTo>
                    <a:pt x="10" y="548"/>
                  </a:lnTo>
                  <a:lnTo>
                    <a:pt x="17" y="536"/>
                  </a:lnTo>
                  <a:lnTo>
                    <a:pt x="31" y="552"/>
                  </a:lnTo>
                  <a:lnTo>
                    <a:pt x="31" y="552"/>
                  </a:lnTo>
                  <a:lnTo>
                    <a:pt x="31" y="503"/>
                  </a:lnTo>
                  <a:lnTo>
                    <a:pt x="38" y="493"/>
                  </a:lnTo>
                  <a:lnTo>
                    <a:pt x="54" y="498"/>
                  </a:lnTo>
                  <a:lnTo>
                    <a:pt x="64" y="481"/>
                  </a:lnTo>
                  <a:lnTo>
                    <a:pt x="69" y="481"/>
                  </a:lnTo>
                  <a:lnTo>
                    <a:pt x="64" y="448"/>
                  </a:lnTo>
                  <a:lnTo>
                    <a:pt x="69" y="420"/>
                  </a:lnTo>
                  <a:lnTo>
                    <a:pt x="76" y="427"/>
                  </a:lnTo>
                  <a:lnTo>
                    <a:pt x="85" y="411"/>
                  </a:lnTo>
                  <a:lnTo>
                    <a:pt x="85" y="370"/>
                  </a:lnTo>
                  <a:lnTo>
                    <a:pt x="85" y="337"/>
                  </a:lnTo>
                  <a:lnTo>
                    <a:pt x="92" y="354"/>
                  </a:lnTo>
                  <a:lnTo>
                    <a:pt x="106" y="349"/>
                  </a:lnTo>
                  <a:lnTo>
                    <a:pt x="139" y="366"/>
                  </a:lnTo>
                  <a:lnTo>
                    <a:pt x="177" y="266"/>
                  </a:lnTo>
                  <a:lnTo>
                    <a:pt x="177" y="259"/>
                  </a:lnTo>
                  <a:lnTo>
                    <a:pt x="173" y="255"/>
                  </a:lnTo>
                  <a:lnTo>
                    <a:pt x="173" y="243"/>
                  </a:lnTo>
                  <a:lnTo>
                    <a:pt x="194" y="226"/>
                  </a:lnTo>
                  <a:lnTo>
                    <a:pt x="210" y="188"/>
                  </a:lnTo>
                  <a:lnTo>
                    <a:pt x="199" y="172"/>
                  </a:lnTo>
                  <a:lnTo>
                    <a:pt x="210" y="151"/>
                  </a:lnTo>
                  <a:lnTo>
                    <a:pt x="232" y="144"/>
                  </a:lnTo>
                  <a:lnTo>
                    <a:pt x="286" y="94"/>
                  </a:lnTo>
                  <a:lnTo>
                    <a:pt x="317" y="94"/>
                  </a:lnTo>
                  <a:lnTo>
                    <a:pt x="333" y="99"/>
                  </a:lnTo>
                  <a:lnTo>
                    <a:pt x="345" y="111"/>
                  </a:lnTo>
                  <a:lnTo>
                    <a:pt x="333" y="73"/>
                  </a:lnTo>
                  <a:lnTo>
                    <a:pt x="362" y="44"/>
                  </a:lnTo>
                  <a:lnTo>
                    <a:pt x="362" y="23"/>
                  </a:lnTo>
                  <a:lnTo>
                    <a:pt x="371" y="16"/>
                  </a:lnTo>
                  <a:lnTo>
                    <a:pt x="376" y="0"/>
                  </a:lnTo>
                  <a:lnTo>
                    <a:pt x="409" y="23"/>
                  </a:lnTo>
                  <a:lnTo>
                    <a:pt x="413" y="33"/>
                  </a:lnTo>
                  <a:lnTo>
                    <a:pt x="430" y="77"/>
                  </a:lnTo>
                  <a:lnTo>
                    <a:pt x="442" y="73"/>
                  </a:lnTo>
                  <a:lnTo>
                    <a:pt x="451" y="77"/>
                  </a:lnTo>
                  <a:lnTo>
                    <a:pt x="463" y="134"/>
                  </a:lnTo>
                  <a:lnTo>
                    <a:pt x="463" y="184"/>
                  </a:lnTo>
                  <a:lnTo>
                    <a:pt x="447" y="188"/>
                  </a:lnTo>
                  <a:lnTo>
                    <a:pt x="451" y="205"/>
                  </a:lnTo>
                  <a:lnTo>
                    <a:pt x="447" y="205"/>
                  </a:lnTo>
                  <a:lnTo>
                    <a:pt x="430" y="226"/>
                  </a:lnTo>
                  <a:lnTo>
                    <a:pt x="425" y="226"/>
                  </a:lnTo>
                  <a:lnTo>
                    <a:pt x="409" y="255"/>
                  </a:lnTo>
                  <a:lnTo>
                    <a:pt x="399" y="259"/>
                  </a:lnTo>
                  <a:lnTo>
                    <a:pt x="392" y="255"/>
                  </a:lnTo>
                  <a:lnTo>
                    <a:pt x="392" y="276"/>
                  </a:lnTo>
                  <a:lnTo>
                    <a:pt x="376" y="292"/>
                  </a:lnTo>
                  <a:lnTo>
                    <a:pt x="376" y="316"/>
                  </a:lnTo>
                  <a:lnTo>
                    <a:pt x="388" y="316"/>
                  </a:lnTo>
                  <a:lnTo>
                    <a:pt x="392" y="337"/>
                  </a:lnTo>
                  <a:lnTo>
                    <a:pt x="376" y="354"/>
                  </a:lnTo>
                  <a:lnTo>
                    <a:pt x="388" y="366"/>
                  </a:lnTo>
                  <a:lnTo>
                    <a:pt x="413" y="337"/>
                  </a:lnTo>
                  <a:lnTo>
                    <a:pt x="468" y="337"/>
                  </a:lnTo>
                  <a:lnTo>
                    <a:pt x="451" y="354"/>
                  </a:lnTo>
                  <a:lnTo>
                    <a:pt x="451" y="366"/>
                  </a:lnTo>
                  <a:lnTo>
                    <a:pt x="463" y="370"/>
                  </a:lnTo>
                  <a:lnTo>
                    <a:pt x="463" y="387"/>
                  </a:lnTo>
                  <a:lnTo>
                    <a:pt x="468" y="394"/>
                  </a:lnTo>
                  <a:lnTo>
                    <a:pt x="468" y="411"/>
                  </a:lnTo>
                  <a:lnTo>
                    <a:pt x="484" y="420"/>
                  </a:lnTo>
                  <a:lnTo>
                    <a:pt x="517" y="420"/>
                  </a:lnTo>
                  <a:lnTo>
                    <a:pt x="517" y="427"/>
                  </a:lnTo>
                  <a:lnTo>
                    <a:pt x="501" y="448"/>
                  </a:lnTo>
                  <a:lnTo>
                    <a:pt x="506" y="465"/>
                  </a:lnTo>
                  <a:lnTo>
                    <a:pt x="484" y="493"/>
                  </a:lnTo>
                  <a:lnTo>
                    <a:pt x="550" y="498"/>
                  </a:lnTo>
                  <a:lnTo>
                    <a:pt x="550" y="519"/>
                  </a:lnTo>
                  <a:lnTo>
                    <a:pt x="555" y="531"/>
                  </a:lnTo>
                  <a:lnTo>
                    <a:pt x="555" y="536"/>
                  </a:lnTo>
                  <a:lnTo>
                    <a:pt x="560" y="548"/>
                  </a:lnTo>
                  <a:lnTo>
                    <a:pt x="576" y="536"/>
                  </a:lnTo>
                  <a:lnTo>
                    <a:pt x="588" y="548"/>
                  </a:lnTo>
                  <a:lnTo>
                    <a:pt x="624" y="519"/>
                  </a:lnTo>
                  <a:lnTo>
                    <a:pt x="631" y="531"/>
                  </a:lnTo>
                  <a:lnTo>
                    <a:pt x="614" y="548"/>
                  </a:lnTo>
                  <a:lnTo>
                    <a:pt x="602" y="552"/>
                  </a:lnTo>
                  <a:lnTo>
                    <a:pt x="588" y="576"/>
                  </a:lnTo>
                  <a:lnTo>
                    <a:pt x="588" y="585"/>
                  </a:lnTo>
                  <a:lnTo>
                    <a:pt x="593" y="585"/>
                  </a:lnTo>
                  <a:lnTo>
                    <a:pt x="560" y="592"/>
                  </a:lnTo>
                  <a:lnTo>
                    <a:pt x="555" y="625"/>
                  </a:lnTo>
                  <a:lnTo>
                    <a:pt x="550" y="614"/>
                  </a:lnTo>
                  <a:lnTo>
                    <a:pt x="534" y="625"/>
                  </a:lnTo>
                  <a:lnTo>
                    <a:pt x="517" y="625"/>
                  </a:lnTo>
                  <a:lnTo>
                    <a:pt x="517" y="642"/>
                  </a:lnTo>
                  <a:lnTo>
                    <a:pt x="506" y="642"/>
                  </a:lnTo>
                  <a:lnTo>
                    <a:pt x="484" y="647"/>
                  </a:lnTo>
                  <a:lnTo>
                    <a:pt x="480" y="663"/>
                  </a:lnTo>
                  <a:lnTo>
                    <a:pt x="468" y="663"/>
                  </a:lnTo>
                  <a:lnTo>
                    <a:pt x="425" y="670"/>
                  </a:lnTo>
                  <a:lnTo>
                    <a:pt x="409" y="663"/>
                  </a:lnTo>
                  <a:lnTo>
                    <a:pt x="409" y="680"/>
                  </a:lnTo>
                  <a:lnTo>
                    <a:pt x="399" y="680"/>
                  </a:lnTo>
                  <a:lnTo>
                    <a:pt x="392" y="696"/>
                  </a:lnTo>
                  <a:lnTo>
                    <a:pt x="392" y="720"/>
                  </a:lnTo>
                  <a:lnTo>
                    <a:pt x="388" y="725"/>
                  </a:lnTo>
                  <a:lnTo>
                    <a:pt x="392" y="758"/>
                  </a:lnTo>
                  <a:lnTo>
                    <a:pt x="371" y="770"/>
                  </a:lnTo>
                  <a:lnTo>
                    <a:pt x="362" y="758"/>
                  </a:lnTo>
                  <a:lnTo>
                    <a:pt x="371" y="779"/>
                  </a:lnTo>
                  <a:lnTo>
                    <a:pt x="388" y="779"/>
                  </a:lnTo>
                  <a:lnTo>
                    <a:pt x="392" y="824"/>
                  </a:lnTo>
                  <a:lnTo>
                    <a:pt x="447" y="881"/>
                  </a:lnTo>
                  <a:lnTo>
                    <a:pt x="442" y="890"/>
                  </a:lnTo>
                  <a:lnTo>
                    <a:pt x="451" y="923"/>
                  </a:lnTo>
                  <a:lnTo>
                    <a:pt x="468" y="918"/>
                  </a:lnTo>
                  <a:lnTo>
                    <a:pt x="468" y="918"/>
                  </a:lnTo>
                  <a:lnTo>
                    <a:pt x="468" y="940"/>
                  </a:lnTo>
                  <a:lnTo>
                    <a:pt x="451" y="947"/>
                  </a:lnTo>
                  <a:lnTo>
                    <a:pt x="447" y="996"/>
                  </a:lnTo>
                  <a:lnTo>
                    <a:pt x="442" y="996"/>
                  </a:lnTo>
                  <a:lnTo>
                    <a:pt x="425" y="1001"/>
                  </a:lnTo>
                  <a:lnTo>
                    <a:pt x="425" y="1018"/>
                  </a:lnTo>
                  <a:lnTo>
                    <a:pt x="430" y="1046"/>
                  </a:lnTo>
                  <a:lnTo>
                    <a:pt x="451" y="1072"/>
                  </a:lnTo>
                  <a:lnTo>
                    <a:pt x="480" y="1088"/>
                  </a:lnTo>
                  <a:lnTo>
                    <a:pt x="496" y="1112"/>
                  </a:lnTo>
                  <a:lnTo>
                    <a:pt x="496" y="1157"/>
                  </a:lnTo>
                  <a:lnTo>
                    <a:pt x="484" y="1157"/>
                  </a:lnTo>
                  <a:lnTo>
                    <a:pt x="484" y="1162"/>
                  </a:lnTo>
                  <a:lnTo>
                    <a:pt x="496" y="1183"/>
                  </a:lnTo>
                  <a:lnTo>
                    <a:pt x="506" y="1199"/>
                  </a:lnTo>
                  <a:lnTo>
                    <a:pt x="506" y="1216"/>
                  </a:lnTo>
                  <a:lnTo>
                    <a:pt x="522" y="1256"/>
                  </a:lnTo>
                  <a:lnTo>
                    <a:pt x="496" y="1311"/>
                  </a:lnTo>
                  <a:lnTo>
                    <a:pt x="463" y="1332"/>
                  </a:lnTo>
                  <a:lnTo>
                    <a:pt x="463" y="1348"/>
                  </a:lnTo>
                  <a:lnTo>
                    <a:pt x="463" y="1360"/>
                  </a:lnTo>
                  <a:lnTo>
                    <a:pt x="447" y="1388"/>
                  </a:lnTo>
                  <a:lnTo>
                    <a:pt x="442" y="1332"/>
                  </a:lnTo>
                  <a:lnTo>
                    <a:pt x="447" y="1332"/>
                  </a:lnTo>
                  <a:lnTo>
                    <a:pt x="451" y="1322"/>
                  </a:lnTo>
                  <a:lnTo>
                    <a:pt x="463" y="1266"/>
                  </a:lnTo>
                  <a:lnTo>
                    <a:pt x="468" y="1266"/>
                  </a:lnTo>
                  <a:lnTo>
                    <a:pt x="463" y="1256"/>
                  </a:lnTo>
                  <a:lnTo>
                    <a:pt x="451" y="1266"/>
                  </a:lnTo>
                  <a:lnTo>
                    <a:pt x="447" y="1256"/>
                  </a:lnTo>
                  <a:lnTo>
                    <a:pt x="451" y="1240"/>
                  </a:lnTo>
                  <a:lnTo>
                    <a:pt x="451" y="1223"/>
                  </a:lnTo>
                  <a:lnTo>
                    <a:pt x="451" y="1223"/>
                  </a:lnTo>
                  <a:lnTo>
                    <a:pt x="447" y="1223"/>
                  </a:lnTo>
                  <a:lnTo>
                    <a:pt x="451" y="1216"/>
                  </a:lnTo>
                  <a:lnTo>
                    <a:pt x="447" y="1211"/>
                  </a:lnTo>
                  <a:lnTo>
                    <a:pt x="451" y="1195"/>
                  </a:lnTo>
                  <a:lnTo>
                    <a:pt x="447" y="1157"/>
                  </a:lnTo>
                  <a:lnTo>
                    <a:pt x="430" y="1112"/>
                  </a:lnTo>
                  <a:lnTo>
                    <a:pt x="425" y="1088"/>
                  </a:lnTo>
                  <a:lnTo>
                    <a:pt x="413" y="1129"/>
                  </a:lnTo>
                  <a:lnTo>
                    <a:pt x="413" y="1084"/>
                  </a:lnTo>
                  <a:lnTo>
                    <a:pt x="392" y="1029"/>
                  </a:lnTo>
                  <a:lnTo>
                    <a:pt x="388" y="956"/>
                  </a:lnTo>
                  <a:lnTo>
                    <a:pt x="376" y="940"/>
                  </a:lnTo>
                  <a:lnTo>
                    <a:pt x="388" y="907"/>
                  </a:lnTo>
                  <a:lnTo>
                    <a:pt x="392" y="907"/>
                  </a:lnTo>
                  <a:lnTo>
                    <a:pt x="362" y="907"/>
                  </a:lnTo>
                  <a:lnTo>
                    <a:pt x="345" y="864"/>
                  </a:lnTo>
                  <a:lnTo>
                    <a:pt x="333" y="836"/>
                  </a:lnTo>
                  <a:lnTo>
                    <a:pt x="324" y="864"/>
                  </a:lnTo>
                  <a:lnTo>
                    <a:pt x="333" y="869"/>
                  </a:lnTo>
                  <a:lnTo>
                    <a:pt x="324" y="890"/>
                  </a:lnTo>
                  <a:lnTo>
                    <a:pt x="307" y="907"/>
                  </a:lnTo>
                  <a:lnTo>
                    <a:pt x="291" y="907"/>
                  </a:lnTo>
                  <a:lnTo>
                    <a:pt x="286" y="902"/>
                  </a:lnTo>
                  <a:lnTo>
                    <a:pt x="286" y="885"/>
                  </a:lnTo>
                  <a:lnTo>
                    <a:pt x="286" y="918"/>
                  </a:lnTo>
                  <a:lnTo>
                    <a:pt x="269" y="918"/>
                  </a:lnTo>
                  <a:lnTo>
                    <a:pt x="269" y="923"/>
                  </a:lnTo>
                  <a:lnTo>
                    <a:pt x="253" y="940"/>
                  </a:lnTo>
                  <a:lnTo>
                    <a:pt x="232" y="963"/>
                  </a:lnTo>
                  <a:lnTo>
                    <a:pt x="215" y="963"/>
                  </a:lnTo>
                  <a:lnTo>
                    <a:pt x="227" y="940"/>
                  </a:lnTo>
                  <a:lnTo>
                    <a:pt x="215" y="963"/>
                  </a:lnTo>
                  <a:lnTo>
                    <a:pt x="210" y="963"/>
                  </a:lnTo>
                  <a:lnTo>
                    <a:pt x="210" y="940"/>
                  </a:lnTo>
                  <a:lnTo>
                    <a:pt x="215" y="940"/>
                  </a:lnTo>
                  <a:lnTo>
                    <a:pt x="210" y="940"/>
                  </a:lnTo>
                  <a:lnTo>
                    <a:pt x="199" y="963"/>
                  </a:lnTo>
                  <a:lnTo>
                    <a:pt x="182" y="963"/>
                  </a:lnTo>
                  <a:lnTo>
                    <a:pt x="182" y="940"/>
                  </a:lnTo>
                  <a:lnTo>
                    <a:pt x="199" y="935"/>
                  </a:lnTo>
                  <a:lnTo>
                    <a:pt x="173" y="956"/>
                  </a:lnTo>
                  <a:lnTo>
                    <a:pt x="173" y="956"/>
                  </a:lnTo>
                  <a:lnTo>
                    <a:pt x="182" y="940"/>
                  </a:lnTo>
                  <a:lnTo>
                    <a:pt x="173" y="947"/>
                  </a:lnTo>
                  <a:lnTo>
                    <a:pt x="177" y="940"/>
                  </a:lnTo>
                  <a:lnTo>
                    <a:pt x="173" y="923"/>
                  </a:lnTo>
                  <a:lnTo>
                    <a:pt x="161" y="923"/>
                  </a:lnTo>
                  <a:lnTo>
                    <a:pt x="161" y="940"/>
                  </a:lnTo>
                  <a:lnTo>
                    <a:pt x="144" y="947"/>
                  </a:lnTo>
                  <a:lnTo>
                    <a:pt x="144" y="923"/>
                  </a:lnTo>
                  <a:lnTo>
                    <a:pt x="173" y="829"/>
                  </a:lnTo>
                  <a:lnTo>
                    <a:pt x="156" y="774"/>
                  </a:lnTo>
                  <a:lnTo>
                    <a:pt x="144" y="758"/>
                  </a:lnTo>
                  <a:lnTo>
                    <a:pt x="144" y="741"/>
                  </a:lnTo>
                  <a:lnTo>
                    <a:pt x="139" y="737"/>
                  </a:lnTo>
                  <a:lnTo>
                    <a:pt x="128" y="737"/>
                  </a:lnTo>
                  <a:lnTo>
                    <a:pt x="128" y="713"/>
                  </a:lnTo>
                  <a:lnTo>
                    <a:pt x="123" y="713"/>
                  </a:lnTo>
                  <a:lnTo>
                    <a:pt x="118" y="703"/>
                  </a:lnTo>
                  <a:lnTo>
                    <a:pt x="123" y="696"/>
                  </a:lnTo>
                  <a:lnTo>
                    <a:pt x="102" y="670"/>
                  </a:lnTo>
                  <a:lnTo>
                    <a:pt x="106" y="659"/>
                  </a:lnTo>
                  <a:lnTo>
                    <a:pt x="102" y="663"/>
                  </a:lnTo>
                  <a:lnTo>
                    <a:pt x="85" y="647"/>
                  </a:lnTo>
                  <a:lnTo>
                    <a:pt x="69" y="647"/>
                  </a:lnTo>
                  <a:lnTo>
                    <a:pt x="76" y="663"/>
                  </a:lnTo>
                  <a:lnTo>
                    <a:pt x="69" y="659"/>
                  </a:lnTo>
                  <a:lnTo>
                    <a:pt x="69" y="663"/>
                  </a:lnTo>
                  <a:lnTo>
                    <a:pt x="54" y="642"/>
                  </a:lnTo>
                  <a:lnTo>
                    <a:pt x="69" y="642"/>
                  </a:lnTo>
                  <a:lnTo>
                    <a:pt x="54" y="642"/>
                  </a:lnTo>
                  <a:lnTo>
                    <a:pt x="64" y="609"/>
                  </a:lnTo>
                  <a:lnTo>
                    <a:pt x="47" y="642"/>
                  </a:lnTo>
                  <a:lnTo>
                    <a:pt x="38" y="630"/>
                  </a:lnTo>
                  <a:lnTo>
                    <a:pt x="47" y="625"/>
                  </a:lnTo>
                  <a:lnTo>
                    <a:pt x="47" y="614"/>
                  </a:lnTo>
                  <a:lnTo>
                    <a:pt x="31" y="602"/>
                  </a:lnTo>
                  <a:lnTo>
                    <a:pt x="38" y="630"/>
                  </a:lnTo>
                  <a:lnTo>
                    <a:pt x="17" y="602"/>
                  </a:lnTo>
                  <a:lnTo>
                    <a:pt x="10" y="569"/>
                  </a:lnTo>
                  <a:lnTo>
                    <a:pt x="10" y="569"/>
                  </a:lnTo>
                  <a:lnTo>
                    <a:pt x="10" y="569"/>
                  </a:lnTo>
                  <a:close/>
                  <a:moveTo>
                    <a:pt x="123" y="696"/>
                  </a:moveTo>
                  <a:lnTo>
                    <a:pt x="118" y="703"/>
                  </a:lnTo>
                  <a:lnTo>
                    <a:pt x="102" y="687"/>
                  </a:lnTo>
                  <a:lnTo>
                    <a:pt x="106" y="687"/>
                  </a:lnTo>
                  <a:lnTo>
                    <a:pt x="123" y="696"/>
                  </a:lnTo>
                  <a:lnTo>
                    <a:pt x="123" y="696"/>
                  </a:lnTo>
                  <a:lnTo>
                    <a:pt x="123" y="696"/>
                  </a:lnTo>
                  <a:close/>
                  <a:moveTo>
                    <a:pt x="118" y="703"/>
                  </a:moveTo>
                  <a:lnTo>
                    <a:pt x="123" y="725"/>
                  </a:lnTo>
                  <a:lnTo>
                    <a:pt x="123" y="737"/>
                  </a:lnTo>
                  <a:lnTo>
                    <a:pt x="106" y="725"/>
                  </a:lnTo>
                  <a:lnTo>
                    <a:pt x="92" y="696"/>
                  </a:lnTo>
                  <a:lnTo>
                    <a:pt x="92" y="696"/>
                  </a:lnTo>
                  <a:lnTo>
                    <a:pt x="106" y="703"/>
                  </a:lnTo>
                  <a:lnTo>
                    <a:pt x="118" y="703"/>
                  </a:lnTo>
                  <a:lnTo>
                    <a:pt x="118" y="703"/>
                  </a:lnTo>
                  <a:lnTo>
                    <a:pt x="118" y="703"/>
                  </a:lnTo>
                  <a:close/>
                  <a:moveTo>
                    <a:pt x="102" y="737"/>
                  </a:moveTo>
                  <a:lnTo>
                    <a:pt x="106" y="737"/>
                  </a:lnTo>
                  <a:lnTo>
                    <a:pt x="106" y="753"/>
                  </a:lnTo>
                  <a:lnTo>
                    <a:pt x="92" y="737"/>
                  </a:lnTo>
                  <a:lnTo>
                    <a:pt x="102" y="737"/>
                  </a:lnTo>
                  <a:lnTo>
                    <a:pt x="102" y="737"/>
                  </a:lnTo>
                  <a:lnTo>
                    <a:pt x="102" y="737"/>
                  </a:lnTo>
                  <a:close/>
                  <a:moveTo>
                    <a:pt x="376" y="907"/>
                  </a:moveTo>
                  <a:lnTo>
                    <a:pt x="376" y="918"/>
                  </a:lnTo>
                  <a:lnTo>
                    <a:pt x="376" y="935"/>
                  </a:lnTo>
                  <a:lnTo>
                    <a:pt x="371" y="923"/>
                  </a:lnTo>
                  <a:lnTo>
                    <a:pt x="376" y="907"/>
                  </a:lnTo>
                  <a:lnTo>
                    <a:pt x="376" y="907"/>
                  </a:lnTo>
                  <a:lnTo>
                    <a:pt x="376" y="907"/>
                  </a:lnTo>
                  <a:close/>
                  <a:moveTo>
                    <a:pt x="173" y="935"/>
                  </a:moveTo>
                  <a:lnTo>
                    <a:pt x="173" y="940"/>
                  </a:lnTo>
                  <a:lnTo>
                    <a:pt x="156" y="956"/>
                  </a:lnTo>
                  <a:lnTo>
                    <a:pt x="156" y="947"/>
                  </a:lnTo>
                  <a:lnTo>
                    <a:pt x="173" y="935"/>
                  </a:lnTo>
                  <a:lnTo>
                    <a:pt x="173" y="935"/>
                  </a:lnTo>
                  <a:lnTo>
                    <a:pt x="173" y="935"/>
                  </a:lnTo>
                  <a:close/>
                  <a:moveTo>
                    <a:pt x="430" y="1216"/>
                  </a:moveTo>
                  <a:lnTo>
                    <a:pt x="430" y="1195"/>
                  </a:lnTo>
                  <a:lnTo>
                    <a:pt x="442" y="1195"/>
                  </a:lnTo>
                  <a:lnTo>
                    <a:pt x="442" y="1211"/>
                  </a:lnTo>
                  <a:lnTo>
                    <a:pt x="430" y="1216"/>
                  </a:lnTo>
                  <a:lnTo>
                    <a:pt x="430" y="1216"/>
                  </a:lnTo>
                  <a:lnTo>
                    <a:pt x="430" y="1216"/>
                  </a:lnTo>
                  <a:lnTo>
                    <a:pt x="430" y="1216"/>
                  </a:lnTo>
                  <a:close/>
                  <a:moveTo>
                    <a:pt x="409" y="1216"/>
                  </a:moveTo>
                  <a:lnTo>
                    <a:pt x="399" y="1216"/>
                  </a:lnTo>
                  <a:lnTo>
                    <a:pt x="413" y="1211"/>
                  </a:lnTo>
                  <a:lnTo>
                    <a:pt x="409" y="1216"/>
                  </a:lnTo>
                  <a:lnTo>
                    <a:pt x="409" y="1216"/>
                  </a:lnTo>
                  <a:lnTo>
                    <a:pt x="409" y="1216"/>
                  </a:lnTo>
                  <a:close/>
                  <a:moveTo>
                    <a:pt x="413" y="1223"/>
                  </a:moveTo>
                  <a:lnTo>
                    <a:pt x="409" y="1216"/>
                  </a:lnTo>
                  <a:lnTo>
                    <a:pt x="413" y="1216"/>
                  </a:lnTo>
                  <a:lnTo>
                    <a:pt x="413" y="1233"/>
                  </a:lnTo>
                  <a:lnTo>
                    <a:pt x="413" y="1223"/>
                  </a:lnTo>
                  <a:lnTo>
                    <a:pt x="413" y="1223"/>
                  </a:lnTo>
                  <a:lnTo>
                    <a:pt x="413" y="1223"/>
                  </a:lnTo>
                  <a:close/>
                  <a:moveTo>
                    <a:pt x="447" y="1240"/>
                  </a:moveTo>
                  <a:lnTo>
                    <a:pt x="451" y="1249"/>
                  </a:lnTo>
                  <a:lnTo>
                    <a:pt x="442" y="1249"/>
                  </a:lnTo>
                  <a:lnTo>
                    <a:pt x="442" y="1233"/>
                  </a:lnTo>
                  <a:lnTo>
                    <a:pt x="447" y="1240"/>
                  </a:lnTo>
                  <a:lnTo>
                    <a:pt x="447" y="1240"/>
                  </a:lnTo>
                  <a:lnTo>
                    <a:pt x="447" y="1240"/>
                  </a:lnTo>
                  <a:close/>
                  <a:moveTo>
                    <a:pt x="442" y="1273"/>
                  </a:moveTo>
                  <a:lnTo>
                    <a:pt x="430" y="1256"/>
                  </a:lnTo>
                  <a:lnTo>
                    <a:pt x="447" y="1256"/>
                  </a:lnTo>
                  <a:lnTo>
                    <a:pt x="447" y="1273"/>
                  </a:lnTo>
                  <a:lnTo>
                    <a:pt x="442" y="1273"/>
                  </a:lnTo>
                  <a:lnTo>
                    <a:pt x="442" y="1273"/>
                  </a:lnTo>
                  <a:lnTo>
                    <a:pt x="442" y="1273"/>
                  </a:lnTo>
                  <a:close/>
                  <a:moveTo>
                    <a:pt x="413" y="1277"/>
                  </a:moveTo>
                  <a:lnTo>
                    <a:pt x="430" y="1256"/>
                  </a:lnTo>
                  <a:lnTo>
                    <a:pt x="425" y="1277"/>
                  </a:lnTo>
                  <a:lnTo>
                    <a:pt x="413" y="1277"/>
                  </a:lnTo>
                  <a:lnTo>
                    <a:pt x="413" y="1277"/>
                  </a:lnTo>
                  <a:lnTo>
                    <a:pt x="413" y="1277"/>
                  </a:lnTo>
                  <a:close/>
                  <a:moveTo>
                    <a:pt x="442" y="1311"/>
                  </a:moveTo>
                  <a:lnTo>
                    <a:pt x="447" y="1306"/>
                  </a:lnTo>
                  <a:lnTo>
                    <a:pt x="447" y="1322"/>
                  </a:lnTo>
                  <a:lnTo>
                    <a:pt x="442" y="1311"/>
                  </a:lnTo>
                  <a:lnTo>
                    <a:pt x="442" y="1311"/>
                  </a:lnTo>
                  <a:lnTo>
                    <a:pt x="442" y="1311"/>
                  </a:lnTo>
                  <a:close/>
                  <a:moveTo>
                    <a:pt x="425" y="1332"/>
                  </a:moveTo>
                  <a:lnTo>
                    <a:pt x="425" y="1332"/>
                  </a:lnTo>
                  <a:lnTo>
                    <a:pt x="413" y="1322"/>
                  </a:lnTo>
                  <a:lnTo>
                    <a:pt x="413" y="1322"/>
                  </a:lnTo>
                  <a:lnTo>
                    <a:pt x="413" y="1311"/>
                  </a:lnTo>
                  <a:lnTo>
                    <a:pt x="425" y="1332"/>
                  </a:lnTo>
                  <a:lnTo>
                    <a:pt x="425" y="1332"/>
                  </a:lnTo>
                  <a:lnTo>
                    <a:pt x="425" y="1332"/>
                  </a:lnTo>
                  <a:close/>
                  <a:moveTo>
                    <a:pt x="399" y="1348"/>
                  </a:moveTo>
                  <a:lnTo>
                    <a:pt x="399" y="1360"/>
                  </a:lnTo>
                  <a:lnTo>
                    <a:pt x="399" y="1348"/>
                  </a:lnTo>
                  <a:lnTo>
                    <a:pt x="399" y="1348"/>
                  </a:lnTo>
                  <a:lnTo>
                    <a:pt x="399" y="1348"/>
                  </a:lnTo>
                  <a:lnTo>
                    <a:pt x="399" y="1348"/>
                  </a:lnTo>
                  <a:close/>
                  <a:moveTo>
                    <a:pt x="425" y="1384"/>
                  </a:moveTo>
                  <a:lnTo>
                    <a:pt x="413" y="1400"/>
                  </a:lnTo>
                  <a:lnTo>
                    <a:pt x="425" y="1384"/>
                  </a:lnTo>
                  <a:lnTo>
                    <a:pt x="425" y="1384"/>
                  </a:lnTo>
                  <a:lnTo>
                    <a:pt x="425" y="1384"/>
                  </a:lnTo>
                  <a:lnTo>
                    <a:pt x="425" y="138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66" name="Freeform 404">
              <a:extLst>
                <a:ext uri="{FF2B5EF4-FFF2-40B4-BE49-F238E27FC236}">
                  <a16:creationId xmlns:a16="http://schemas.microsoft.com/office/drawing/2014/main" id="{E27C3717-E0B0-4B98-819F-6E146BCCB064}"/>
                </a:ext>
              </a:extLst>
            </p:cNvPr>
            <p:cNvSpPr>
              <a:spLocks/>
            </p:cNvSpPr>
            <p:nvPr/>
          </p:nvSpPr>
          <p:spPr bwMode="gray">
            <a:xfrm>
              <a:off x="9288470" y="3202106"/>
              <a:ext cx="97154" cy="52288"/>
            </a:xfrm>
            <a:custGeom>
              <a:avLst/>
              <a:gdLst>
                <a:gd name="T0" fmla="*/ 5 w 236"/>
                <a:gd name="T1" fmla="*/ 78 h 127"/>
                <a:gd name="T2" fmla="*/ 55 w 236"/>
                <a:gd name="T3" fmla="*/ 21 h 127"/>
                <a:gd name="T4" fmla="*/ 88 w 236"/>
                <a:gd name="T5" fmla="*/ 0 h 127"/>
                <a:gd name="T6" fmla="*/ 116 w 236"/>
                <a:gd name="T7" fmla="*/ 4 h 127"/>
                <a:gd name="T8" fmla="*/ 116 w 236"/>
                <a:gd name="T9" fmla="*/ 21 h 127"/>
                <a:gd name="T10" fmla="*/ 166 w 236"/>
                <a:gd name="T11" fmla="*/ 28 h 127"/>
                <a:gd name="T12" fmla="*/ 182 w 236"/>
                <a:gd name="T13" fmla="*/ 21 h 127"/>
                <a:gd name="T14" fmla="*/ 203 w 236"/>
                <a:gd name="T15" fmla="*/ 28 h 127"/>
                <a:gd name="T16" fmla="*/ 203 w 236"/>
                <a:gd name="T17" fmla="*/ 45 h 127"/>
                <a:gd name="T18" fmla="*/ 203 w 236"/>
                <a:gd name="T19" fmla="*/ 54 h 127"/>
                <a:gd name="T20" fmla="*/ 203 w 236"/>
                <a:gd name="T21" fmla="*/ 61 h 127"/>
                <a:gd name="T22" fmla="*/ 225 w 236"/>
                <a:gd name="T23" fmla="*/ 61 h 127"/>
                <a:gd name="T24" fmla="*/ 236 w 236"/>
                <a:gd name="T25" fmla="*/ 78 h 127"/>
                <a:gd name="T26" fmla="*/ 225 w 236"/>
                <a:gd name="T27" fmla="*/ 94 h 127"/>
                <a:gd name="T28" fmla="*/ 236 w 236"/>
                <a:gd name="T29" fmla="*/ 111 h 127"/>
                <a:gd name="T30" fmla="*/ 236 w 236"/>
                <a:gd name="T31" fmla="*/ 111 h 127"/>
                <a:gd name="T32" fmla="*/ 199 w 236"/>
                <a:gd name="T33" fmla="*/ 118 h 127"/>
                <a:gd name="T34" fmla="*/ 187 w 236"/>
                <a:gd name="T35" fmla="*/ 111 h 127"/>
                <a:gd name="T36" fmla="*/ 182 w 236"/>
                <a:gd name="T37" fmla="*/ 118 h 127"/>
                <a:gd name="T38" fmla="*/ 142 w 236"/>
                <a:gd name="T39" fmla="*/ 118 h 127"/>
                <a:gd name="T40" fmla="*/ 116 w 236"/>
                <a:gd name="T41" fmla="*/ 111 h 127"/>
                <a:gd name="T42" fmla="*/ 92 w 236"/>
                <a:gd name="T43" fmla="*/ 127 h 127"/>
                <a:gd name="T44" fmla="*/ 62 w 236"/>
                <a:gd name="T45" fmla="*/ 127 h 127"/>
                <a:gd name="T46" fmla="*/ 38 w 236"/>
                <a:gd name="T47" fmla="*/ 118 h 127"/>
                <a:gd name="T48" fmla="*/ 21 w 236"/>
                <a:gd name="T49" fmla="*/ 118 h 127"/>
                <a:gd name="T50" fmla="*/ 5 w 236"/>
                <a:gd name="T51" fmla="*/ 99 h 127"/>
                <a:gd name="T52" fmla="*/ 0 w 236"/>
                <a:gd name="T53" fmla="*/ 94 h 127"/>
                <a:gd name="T54" fmla="*/ 5 w 236"/>
                <a:gd name="T55" fmla="*/ 78 h 127"/>
                <a:gd name="T56" fmla="*/ 5 w 236"/>
                <a:gd name="T57" fmla="*/ 78 h 127"/>
                <a:gd name="T58" fmla="*/ 5 w 236"/>
                <a:gd name="T59" fmla="*/ 7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6" h="127">
                  <a:moveTo>
                    <a:pt x="5" y="78"/>
                  </a:moveTo>
                  <a:lnTo>
                    <a:pt x="55" y="21"/>
                  </a:lnTo>
                  <a:lnTo>
                    <a:pt x="88" y="0"/>
                  </a:lnTo>
                  <a:lnTo>
                    <a:pt x="116" y="4"/>
                  </a:lnTo>
                  <a:lnTo>
                    <a:pt x="116" y="21"/>
                  </a:lnTo>
                  <a:lnTo>
                    <a:pt x="166" y="28"/>
                  </a:lnTo>
                  <a:lnTo>
                    <a:pt x="182" y="21"/>
                  </a:lnTo>
                  <a:lnTo>
                    <a:pt x="203" y="28"/>
                  </a:lnTo>
                  <a:lnTo>
                    <a:pt x="203" y="45"/>
                  </a:lnTo>
                  <a:lnTo>
                    <a:pt x="203" y="54"/>
                  </a:lnTo>
                  <a:lnTo>
                    <a:pt x="203" y="61"/>
                  </a:lnTo>
                  <a:lnTo>
                    <a:pt x="225" y="61"/>
                  </a:lnTo>
                  <a:lnTo>
                    <a:pt x="236" y="78"/>
                  </a:lnTo>
                  <a:lnTo>
                    <a:pt x="225" y="94"/>
                  </a:lnTo>
                  <a:lnTo>
                    <a:pt x="236" y="111"/>
                  </a:lnTo>
                  <a:lnTo>
                    <a:pt x="236" y="111"/>
                  </a:lnTo>
                  <a:lnTo>
                    <a:pt x="199" y="118"/>
                  </a:lnTo>
                  <a:lnTo>
                    <a:pt x="187" y="111"/>
                  </a:lnTo>
                  <a:lnTo>
                    <a:pt x="182" y="118"/>
                  </a:lnTo>
                  <a:lnTo>
                    <a:pt x="142" y="118"/>
                  </a:lnTo>
                  <a:lnTo>
                    <a:pt x="116" y="111"/>
                  </a:lnTo>
                  <a:lnTo>
                    <a:pt x="92" y="127"/>
                  </a:lnTo>
                  <a:lnTo>
                    <a:pt x="62" y="127"/>
                  </a:lnTo>
                  <a:lnTo>
                    <a:pt x="38" y="118"/>
                  </a:lnTo>
                  <a:lnTo>
                    <a:pt x="21" y="118"/>
                  </a:lnTo>
                  <a:lnTo>
                    <a:pt x="5" y="99"/>
                  </a:lnTo>
                  <a:lnTo>
                    <a:pt x="0" y="94"/>
                  </a:lnTo>
                  <a:lnTo>
                    <a:pt x="5" y="78"/>
                  </a:lnTo>
                  <a:lnTo>
                    <a:pt x="5" y="78"/>
                  </a:lnTo>
                  <a:lnTo>
                    <a:pt x="5" y="7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67" name="Freeform 406">
              <a:extLst>
                <a:ext uri="{FF2B5EF4-FFF2-40B4-BE49-F238E27FC236}">
                  <a16:creationId xmlns:a16="http://schemas.microsoft.com/office/drawing/2014/main" id="{B72161E3-21DB-497A-8533-C43723F6C1E2}"/>
                </a:ext>
              </a:extLst>
            </p:cNvPr>
            <p:cNvSpPr>
              <a:spLocks noEditPoints="1"/>
            </p:cNvSpPr>
            <p:nvPr/>
          </p:nvSpPr>
          <p:spPr bwMode="gray">
            <a:xfrm>
              <a:off x="10020008" y="3917667"/>
              <a:ext cx="38697" cy="29232"/>
            </a:xfrm>
            <a:custGeom>
              <a:avLst/>
              <a:gdLst>
                <a:gd name="T0" fmla="*/ 66 w 94"/>
                <a:gd name="T1" fmla="*/ 5 h 71"/>
                <a:gd name="T2" fmla="*/ 56 w 94"/>
                <a:gd name="T3" fmla="*/ 21 h 71"/>
                <a:gd name="T4" fmla="*/ 56 w 94"/>
                <a:gd name="T5" fmla="*/ 45 h 71"/>
                <a:gd name="T6" fmla="*/ 56 w 94"/>
                <a:gd name="T7" fmla="*/ 62 h 71"/>
                <a:gd name="T8" fmla="*/ 40 w 94"/>
                <a:gd name="T9" fmla="*/ 71 h 71"/>
                <a:gd name="T10" fmla="*/ 11 w 94"/>
                <a:gd name="T11" fmla="*/ 26 h 71"/>
                <a:gd name="T12" fmla="*/ 0 w 94"/>
                <a:gd name="T13" fmla="*/ 26 h 71"/>
                <a:gd name="T14" fmla="*/ 28 w 94"/>
                <a:gd name="T15" fmla="*/ 21 h 71"/>
                <a:gd name="T16" fmla="*/ 61 w 94"/>
                <a:gd name="T17" fmla="*/ 0 h 71"/>
                <a:gd name="T18" fmla="*/ 66 w 94"/>
                <a:gd name="T19" fmla="*/ 0 h 71"/>
                <a:gd name="T20" fmla="*/ 66 w 94"/>
                <a:gd name="T21" fmla="*/ 5 h 71"/>
                <a:gd name="T22" fmla="*/ 66 w 94"/>
                <a:gd name="T23" fmla="*/ 5 h 71"/>
                <a:gd name="T24" fmla="*/ 66 w 94"/>
                <a:gd name="T25" fmla="*/ 5 h 71"/>
                <a:gd name="T26" fmla="*/ 77 w 94"/>
                <a:gd name="T27" fmla="*/ 5 h 71"/>
                <a:gd name="T28" fmla="*/ 94 w 94"/>
                <a:gd name="T29" fmla="*/ 45 h 71"/>
                <a:gd name="T30" fmla="*/ 66 w 94"/>
                <a:gd name="T31" fmla="*/ 45 h 71"/>
                <a:gd name="T32" fmla="*/ 66 w 94"/>
                <a:gd name="T33" fmla="*/ 17 h 71"/>
                <a:gd name="T34" fmla="*/ 77 w 94"/>
                <a:gd name="T35" fmla="*/ 5 h 71"/>
                <a:gd name="T36" fmla="*/ 77 w 94"/>
                <a:gd name="T37" fmla="*/ 5 h 71"/>
                <a:gd name="T38" fmla="*/ 77 w 94"/>
                <a:gd name="T39" fmla="*/ 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71">
                  <a:moveTo>
                    <a:pt x="66" y="5"/>
                  </a:moveTo>
                  <a:lnTo>
                    <a:pt x="56" y="21"/>
                  </a:lnTo>
                  <a:lnTo>
                    <a:pt x="56" y="45"/>
                  </a:lnTo>
                  <a:lnTo>
                    <a:pt x="56" y="62"/>
                  </a:lnTo>
                  <a:lnTo>
                    <a:pt x="40" y="71"/>
                  </a:lnTo>
                  <a:lnTo>
                    <a:pt x="11" y="26"/>
                  </a:lnTo>
                  <a:lnTo>
                    <a:pt x="0" y="26"/>
                  </a:lnTo>
                  <a:lnTo>
                    <a:pt x="28" y="21"/>
                  </a:lnTo>
                  <a:lnTo>
                    <a:pt x="61" y="0"/>
                  </a:lnTo>
                  <a:lnTo>
                    <a:pt x="66" y="0"/>
                  </a:lnTo>
                  <a:lnTo>
                    <a:pt x="66" y="5"/>
                  </a:lnTo>
                  <a:lnTo>
                    <a:pt x="66" y="5"/>
                  </a:lnTo>
                  <a:lnTo>
                    <a:pt x="66" y="5"/>
                  </a:lnTo>
                  <a:close/>
                  <a:moveTo>
                    <a:pt x="77" y="5"/>
                  </a:moveTo>
                  <a:lnTo>
                    <a:pt x="94" y="45"/>
                  </a:lnTo>
                  <a:lnTo>
                    <a:pt x="66" y="45"/>
                  </a:lnTo>
                  <a:lnTo>
                    <a:pt x="66" y="17"/>
                  </a:lnTo>
                  <a:lnTo>
                    <a:pt x="77" y="5"/>
                  </a:lnTo>
                  <a:lnTo>
                    <a:pt x="77" y="5"/>
                  </a:lnTo>
                  <a:lnTo>
                    <a:pt x="77" y="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68" name="Freeform 409">
              <a:extLst>
                <a:ext uri="{FF2B5EF4-FFF2-40B4-BE49-F238E27FC236}">
                  <a16:creationId xmlns:a16="http://schemas.microsoft.com/office/drawing/2014/main" id="{F78ABFFB-F646-478D-9251-075C66709D7D}"/>
                </a:ext>
              </a:extLst>
            </p:cNvPr>
            <p:cNvSpPr>
              <a:spLocks noEditPoints="1"/>
            </p:cNvSpPr>
            <p:nvPr/>
          </p:nvSpPr>
          <p:spPr bwMode="gray">
            <a:xfrm>
              <a:off x="9680380" y="3627820"/>
              <a:ext cx="150672" cy="128456"/>
            </a:xfrm>
            <a:custGeom>
              <a:avLst/>
              <a:gdLst>
                <a:gd name="T0" fmla="*/ 28 w 366"/>
                <a:gd name="T1" fmla="*/ 187 h 312"/>
                <a:gd name="T2" fmla="*/ 12 w 366"/>
                <a:gd name="T3" fmla="*/ 147 h 312"/>
                <a:gd name="T4" fmla="*/ 0 w 366"/>
                <a:gd name="T5" fmla="*/ 97 h 312"/>
                <a:gd name="T6" fmla="*/ 21 w 366"/>
                <a:gd name="T7" fmla="*/ 76 h 312"/>
                <a:gd name="T8" fmla="*/ 28 w 366"/>
                <a:gd name="T9" fmla="*/ 66 h 312"/>
                <a:gd name="T10" fmla="*/ 59 w 366"/>
                <a:gd name="T11" fmla="*/ 22 h 312"/>
                <a:gd name="T12" fmla="*/ 114 w 366"/>
                <a:gd name="T13" fmla="*/ 22 h 312"/>
                <a:gd name="T14" fmla="*/ 189 w 366"/>
                <a:gd name="T15" fmla="*/ 22 h 312"/>
                <a:gd name="T16" fmla="*/ 199 w 366"/>
                <a:gd name="T17" fmla="*/ 22 h 312"/>
                <a:gd name="T18" fmla="*/ 227 w 366"/>
                <a:gd name="T19" fmla="*/ 38 h 312"/>
                <a:gd name="T20" fmla="*/ 258 w 366"/>
                <a:gd name="T21" fmla="*/ 55 h 312"/>
                <a:gd name="T22" fmla="*/ 258 w 366"/>
                <a:gd name="T23" fmla="*/ 22 h 312"/>
                <a:gd name="T24" fmla="*/ 274 w 366"/>
                <a:gd name="T25" fmla="*/ 10 h 312"/>
                <a:gd name="T26" fmla="*/ 295 w 366"/>
                <a:gd name="T27" fmla="*/ 5 h 312"/>
                <a:gd name="T28" fmla="*/ 366 w 366"/>
                <a:gd name="T29" fmla="*/ 0 h 312"/>
                <a:gd name="T30" fmla="*/ 359 w 366"/>
                <a:gd name="T31" fmla="*/ 55 h 312"/>
                <a:gd name="T32" fmla="*/ 366 w 366"/>
                <a:gd name="T33" fmla="*/ 81 h 312"/>
                <a:gd name="T34" fmla="*/ 366 w 366"/>
                <a:gd name="T35" fmla="*/ 147 h 312"/>
                <a:gd name="T36" fmla="*/ 359 w 366"/>
                <a:gd name="T37" fmla="*/ 175 h 312"/>
                <a:gd name="T38" fmla="*/ 333 w 366"/>
                <a:gd name="T39" fmla="*/ 170 h 312"/>
                <a:gd name="T40" fmla="*/ 279 w 366"/>
                <a:gd name="T41" fmla="*/ 192 h 312"/>
                <a:gd name="T42" fmla="*/ 258 w 366"/>
                <a:gd name="T43" fmla="*/ 208 h 312"/>
                <a:gd name="T44" fmla="*/ 241 w 366"/>
                <a:gd name="T45" fmla="*/ 225 h 312"/>
                <a:gd name="T46" fmla="*/ 269 w 366"/>
                <a:gd name="T47" fmla="*/ 263 h 312"/>
                <a:gd name="T48" fmla="*/ 241 w 366"/>
                <a:gd name="T49" fmla="*/ 263 h 312"/>
                <a:gd name="T50" fmla="*/ 215 w 366"/>
                <a:gd name="T51" fmla="*/ 274 h 312"/>
                <a:gd name="T52" fmla="*/ 189 w 366"/>
                <a:gd name="T53" fmla="*/ 274 h 312"/>
                <a:gd name="T54" fmla="*/ 182 w 366"/>
                <a:gd name="T55" fmla="*/ 296 h 312"/>
                <a:gd name="T56" fmla="*/ 151 w 366"/>
                <a:gd name="T57" fmla="*/ 312 h 312"/>
                <a:gd name="T58" fmla="*/ 114 w 366"/>
                <a:gd name="T59" fmla="*/ 296 h 312"/>
                <a:gd name="T60" fmla="*/ 80 w 366"/>
                <a:gd name="T61" fmla="*/ 296 h 312"/>
                <a:gd name="T62" fmla="*/ 97 w 366"/>
                <a:gd name="T63" fmla="*/ 274 h 312"/>
                <a:gd name="T64" fmla="*/ 76 w 366"/>
                <a:gd name="T65" fmla="*/ 274 h 312"/>
                <a:gd name="T66" fmla="*/ 54 w 366"/>
                <a:gd name="T67" fmla="*/ 241 h 312"/>
                <a:gd name="T68" fmla="*/ 43 w 366"/>
                <a:gd name="T69" fmla="*/ 220 h 312"/>
                <a:gd name="T70" fmla="*/ 43 w 366"/>
                <a:gd name="T71" fmla="*/ 220 h 312"/>
                <a:gd name="T72" fmla="*/ 43 w 366"/>
                <a:gd name="T73" fmla="*/ 225 h 312"/>
                <a:gd name="T74" fmla="*/ 43 w 366"/>
                <a:gd name="T75" fmla="*/ 220 h 312"/>
                <a:gd name="T76" fmla="*/ 66 w 366"/>
                <a:gd name="T77" fmla="*/ 286 h 312"/>
                <a:gd name="T78" fmla="*/ 66 w 366"/>
                <a:gd name="T79" fmla="*/ 286 h 312"/>
                <a:gd name="T80" fmla="*/ 66 w 366"/>
                <a:gd name="T81" fmla="*/ 286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6" h="312">
                  <a:moveTo>
                    <a:pt x="43" y="220"/>
                  </a:moveTo>
                  <a:lnTo>
                    <a:pt x="28" y="187"/>
                  </a:lnTo>
                  <a:lnTo>
                    <a:pt x="28" y="163"/>
                  </a:lnTo>
                  <a:lnTo>
                    <a:pt x="12" y="147"/>
                  </a:lnTo>
                  <a:lnTo>
                    <a:pt x="12" y="121"/>
                  </a:lnTo>
                  <a:lnTo>
                    <a:pt x="0" y="97"/>
                  </a:lnTo>
                  <a:lnTo>
                    <a:pt x="7" y="76"/>
                  </a:lnTo>
                  <a:lnTo>
                    <a:pt x="21" y="76"/>
                  </a:lnTo>
                  <a:lnTo>
                    <a:pt x="12" y="66"/>
                  </a:lnTo>
                  <a:lnTo>
                    <a:pt x="28" y="66"/>
                  </a:lnTo>
                  <a:lnTo>
                    <a:pt x="43" y="38"/>
                  </a:lnTo>
                  <a:lnTo>
                    <a:pt x="59" y="22"/>
                  </a:lnTo>
                  <a:lnTo>
                    <a:pt x="92" y="10"/>
                  </a:lnTo>
                  <a:lnTo>
                    <a:pt x="114" y="22"/>
                  </a:lnTo>
                  <a:lnTo>
                    <a:pt x="173" y="10"/>
                  </a:lnTo>
                  <a:lnTo>
                    <a:pt x="189" y="22"/>
                  </a:lnTo>
                  <a:lnTo>
                    <a:pt x="189" y="38"/>
                  </a:lnTo>
                  <a:lnTo>
                    <a:pt x="199" y="22"/>
                  </a:lnTo>
                  <a:lnTo>
                    <a:pt x="215" y="43"/>
                  </a:lnTo>
                  <a:lnTo>
                    <a:pt x="227" y="38"/>
                  </a:lnTo>
                  <a:lnTo>
                    <a:pt x="253" y="55"/>
                  </a:lnTo>
                  <a:lnTo>
                    <a:pt x="258" y="55"/>
                  </a:lnTo>
                  <a:lnTo>
                    <a:pt x="269" y="43"/>
                  </a:lnTo>
                  <a:lnTo>
                    <a:pt x="258" y="22"/>
                  </a:lnTo>
                  <a:lnTo>
                    <a:pt x="274" y="22"/>
                  </a:lnTo>
                  <a:lnTo>
                    <a:pt x="274" y="10"/>
                  </a:lnTo>
                  <a:lnTo>
                    <a:pt x="279" y="10"/>
                  </a:lnTo>
                  <a:lnTo>
                    <a:pt x="295" y="5"/>
                  </a:lnTo>
                  <a:lnTo>
                    <a:pt x="312" y="26"/>
                  </a:lnTo>
                  <a:lnTo>
                    <a:pt x="366" y="0"/>
                  </a:lnTo>
                  <a:lnTo>
                    <a:pt x="350" y="38"/>
                  </a:lnTo>
                  <a:lnTo>
                    <a:pt x="359" y="55"/>
                  </a:lnTo>
                  <a:lnTo>
                    <a:pt x="359" y="59"/>
                  </a:lnTo>
                  <a:lnTo>
                    <a:pt x="366" y="81"/>
                  </a:lnTo>
                  <a:lnTo>
                    <a:pt x="359" y="121"/>
                  </a:lnTo>
                  <a:lnTo>
                    <a:pt x="366" y="147"/>
                  </a:lnTo>
                  <a:lnTo>
                    <a:pt x="366" y="170"/>
                  </a:lnTo>
                  <a:lnTo>
                    <a:pt x="359" y="175"/>
                  </a:lnTo>
                  <a:lnTo>
                    <a:pt x="350" y="170"/>
                  </a:lnTo>
                  <a:lnTo>
                    <a:pt x="333" y="170"/>
                  </a:lnTo>
                  <a:lnTo>
                    <a:pt x="307" y="192"/>
                  </a:lnTo>
                  <a:lnTo>
                    <a:pt x="279" y="192"/>
                  </a:lnTo>
                  <a:lnTo>
                    <a:pt x="291" y="220"/>
                  </a:lnTo>
                  <a:lnTo>
                    <a:pt x="258" y="208"/>
                  </a:lnTo>
                  <a:lnTo>
                    <a:pt x="253" y="220"/>
                  </a:lnTo>
                  <a:lnTo>
                    <a:pt x="241" y="225"/>
                  </a:lnTo>
                  <a:lnTo>
                    <a:pt x="241" y="246"/>
                  </a:lnTo>
                  <a:lnTo>
                    <a:pt x="269" y="263"/>
                  </a:lnTo>
                  <a:lnTo>
                    <a:pt x="269" y="279"/>
                  </a:lnTo>
                  <a:lnTo>
                    <a:pt x="241" y="263"/>
                  </a:lnTo>
                  <a:lnTo>
                    <a:pt x="220" y="274"/>
                  </a:lnTo>
                  <a:lnTo>
                    <a:pt x="215" y="274"/>
                  </a:lnTo>
                  <a:lnTo>
                    <a:pt x="199" y="274"/>
                  </a:lnTo>
                  <a:lnTo>
                    <a:pt x="189" y="274"/>
                  </a:lnTo>
                  <a:lnTo>
                    <a:pt x="189" y="286"/>
                  </a:lnTo>
                  <a:lnTo>
                    <a:pt x="182" y="296"/>
                  </a:lnTo>
                  <a:lnTo>
                    <a:pt x="161" y="303"/>
                  </a:lnTo>
                  <a:lnTo>
                    <a:pt x="151" y="312"/>
                  </a:lnTo>
                  <a:lnTo>
                    <a:pt x="135" y="296"/>
                  </a:lnTo>
                  <a:lnTo>
                    <a:pt x="114" y="296"/>
                  </a:lnTo>
                  <a:lnTo>
                    <a:pt x="92" y="303"/>
                  </a:lnTo>
                  <a:lnTo>
                    <a:pt x="80" y="296"/>
                  </a:lnTo>
                  <a:lnTo>
                    <a:pt x="97" y="286"/>
                  </a:lnTo>
                  <a:lnTo>
                    <a:pt x="97" y="274"/>
                  </a:lnTo>
                  <a:lnTo>
                    <a:pt x="80" y="258"/>
                  </a:lnTo>
                  <a:lnTo>
                    <a:pt x="76" y="274"/>
                  </a:lnTo>
                  <a:lnTo>
                    <a:pt x="59" y="274"/>
                  </a:lnTo>
                  <a:lnTo>
                    <a:pt x="54" y="241"/>
                  </a:lnTo>
                  <a:lnTo>
                    <a:pt x="43" y="225"/>
                  </a:lnTo>
                  <a:lnTo>
                    <a:pt x="43" y="220"/>
                  </a:lnTo>
                  <a:lnTo>
                    <a:pt x="54" y="220"/>
                  </a:lnTo>
                  <a:lnTo>
                    <a:pt x="43" y="220"/>
                  </a:lnTo>
                  <a:lnTo>
                    <a:pt x="38" y="208"/>
                  </a:lnTo>
                  <a:lnTo>
                    <a:pt x="43" y="225"/>
                  </a:lnTo>
                  <a:lnTo>
                    <a:pt x="43" y="220"/>
                  </a:lnTo>
                  <a:lnTo>
                    <a:pt x="43" y="220"/>
                  </a:lnTo>
                  <a:lnTo>
                    <a:pt x="43" y="220"/>
                  </a:lnTo>
                  <a:close/>
                  <a:moveTo>
                    <a:pt x="66" y="286"/>
                  </a:moveTo>
                  <a:lnTo>
                    <a:pt x="59" y="279"/>
                  </a:lnTo>
                  <a:lnTo>
                    <a:pt x="66" y="286"/>
                  </a:lnTo>
                  <a:lnTo>
                    <a:pt x="66" y="286"/>
                  </a:lnTo>
                  <a:lnTo>
                    <a:pt x="66" y="286"/>
                  </a:lnTo>
                  <a:lnTo>
                    <a:pt x="66" y="28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69" name="Freeform 414">
              <a:extLst>
                <a:ext uri="{FF2B5EF4-FFF2-40B4-BE49-F238E27FC236}">
                  <a16:creationId xmlns:a16="http://schemas.microsoft.com/office/drawing/2014/main" id="{E07E9CD4-352D-4EED-AE7F-1E18AB2B6955}"/>
                </a:ext>
              </a:extLst>
            </p:cNvPr>
            <p:cNvSpPr>
              <a:spLocks noEditPoints="1"/>
            </p:cNvSpPr>
            <p:nvPr/>
          </p:nvSpPr>
          <p:spPr bwMode="gray">
            <a:xfrm>
              <a:off x="8852100" y="2306210"/>
              <a:ext cx="1764830" cy="1215798"/>
            </a:xfrm>
            <a:custGeom>
              <a:avLst/>
              <a:gdLst>
                <a:gd name="T0" fmla="*/ 361 w 4287"/>
                <a:gd name="T1" fmla="*/ 1833 h 2953"/>
                <a:gd name="T2" fmla="*/ 314 w 4287"/>
                <a:gd name="T3" fmla="*/ 1606 h 2953"/>
                <a:gd name="T4" fmla="*/ 54 w 4287"/>
                <a:gd name="T5" fmla="*/ 1462 h 2953"/>
                <a:gd name="T6" fmla="*/ 7 w 4287"/>
                <a:gd name="T7" fmla="*/ 1273 h 2953"/>
                <a:gd name="T8" fmla="*/ 233 w 4287"/>
                <a:gd name="T9" fmla="*/ 1146 h 2953"/>
                <a:gd name="T10" fmla="*/ 474 w 4287"/>
                <a:gd name="T11" fmla="*/ 869 h 2953"/>
                <a:gd name="T12" fmla="*/ 777 w 4287"/>
                <a:gd name="T13" fmla="*/ 614 h 2953"/>
                <a:gd name="T14" fmla="*/ 999 w 4287"/>
                <a:gd name="T15" fmla="*/ 432 h 2953"/>
                <a:gd name="T16" fmla="*/ 1216 w 4287"/>
                <a:gd name="T17" fmla="*/ 680 h 2953"/>
                <a:gd name="T18" fmla="*/ 1821 w 4287"/>
                <a:gd name="T19" fmla="*/ 1014 h 2953"/>
                <a:gd name="T20" fmla="*/ 2581 w 4287"/>
                <a:gd name="T21" fmla="*/ 985 h 2953"/>
                <a:gd name="T22" fmla="*/ 3030 w 4287"/>
                <a:gd name="T23" fmla="*/ 669 h 2953"/>
                <a:gd name="T24" fmla="*/ 3099 w 4287"/>
                <a:gd name="T25" fmla="*/ 520 h 2953"/>
                <a:gd name="T26" fmla="*/ 3191 w 4287"/>
                <a:gd name="T27" fmla="*/ 298 h 2953"/>
                <a:gd name="T28" fmla="*/ 3569 w 4287"/>
                <a:gd name="T29" fmla="*/ 26 h 2953"/>
                <a:gd name="T30" fmla="*/ 3732 w 4287"/>
                <a:gd name="T31" fmla="*/ 222 h 2953"/>
                <a:gd name="T32" fmla="*/ 3947 w 4287"/>
                <a:gd name="T33" fmla="*/ 425 h 2953"/>
                <a:gd name="T34" fmla="*/ 4287 w 4287"/>
                <a:gd name="T35" fmla="*/ 553 h 2953"/>
                <a:gd name="T36" fmla="*/ 4055 w 4287"/>
                <a:gd name="T37" fmla="*/ 796 h 2953"/>
                <a:gd name="T38" fmla="*/ 3921 w 4287"/>
                <a:gd name="T39" fmla="*/ 1025 h 2953"/>
                <a:gd name="T40" fmla="*/ 3607 w 4287"/>
                <a:gd name="T41" fmla="*/ 1195 h 2953"/>
                <a:gd name="T42" fmla="*/ 3363 w 4287"/>
                <a:gd name="T43" fmla="*/ 1295 h 2953"/>
                <a:gd name="T44" fmla="*/ 3283 w 4287"/>
                <a:gd name="T45" fmla="*/ 1207 h 2953"/>
                <a:gd name="T46" fmla="*/ 3203 w 4287"/>
                <a:gd name="T47" fmla="*/ 1472 h 2953"/>
                <a:gd name="T48" fmla="*/ 3408 w 4287"/>
                <a:gd name="T49" fmla="*/ 1495 h 2953"/>
                <a:gd name="T50" fmla="*/ 3278 w 4287"/>
                <a:gd name="T51" fmla="*/ 1540 h 2953"/>
                <a:gd name="T52" fmla="*/ 3354 w 4287"/>
                <a:gd name="T53" fmla="*/ 1862 h 2953"/>
                <a:gd name="T54" fmla="*/ 3300 w 4287"/>
                <a:gd name="T55" fmla="*/ 1888 h 2953"/>
                <a:gd name="T56" fmla="*/ 3370 w 4287"/>
                <a:gd name="T57" fmla="*/ 2048 h 2953"/>
                <a:gd name="T58" fmla="*/ 3363 w 4287"/>
                <a:gd name="T59" fmla="*/ 2105 h 2953"/>
                <a:gd name="T60" fmla="*/ 3295 w 4287"/>
                <a:gd name="T61" fmla="*/ 2199 h 2953"/>
                <a:gd name="T62" fmla="*/ 3245 w 4287"/>
                <a:gd name="T63" fmla="*/ 2294 h 2953"/>
                <a:gd name="T64" fmla="*/ 3191 w 4287"/>
                <a:gd name="T65" fmla="*/ 2343 h 2953"/>
                <a:gd name="T66" fmla="*/ 3170 w 4287"/>
                <a:gd name="T67" fmla="*/ 2426 h 2953"/>
                <a:gd name="T68" fmla="*/ 3120 w 4287"/>
                <a:gd name="T69" fmla="*/ 2492 h 2953"/>
                <a:gd name="T70" fmla="*/ 2938 w 4287"/>
                <a:gd name="T71" fmla="*/ 2608 h 2953"/>
                <a:gd name="T72" fmla="*/ 2841 w 4287"/>
                <a:gd name="T73" fmla="*/ 2624 h 2953"/>
                <a:gd name="T74" fmla="*/ 2787 w 4287"/>
                <a:gd name="T75" fmla="*/ 2653 h 2953"/>
                <a:gd name="T76" fmla="*/ 2624 w 4287"/>
                <a:gd name="T77" fmla="*/ 2698 h 2953"/>
                <a:gd name="T78" fmla="*/ 2591 w 4287"/>
                <a:gd name="T79" fmla="*/ 2776 h 2953"/>
                <a:gd name="T80" fmla="*/ 2522 w 4287"/>
                <a:gd name="T81" fmla="*/ 2698 h 2953"/>
                <a:gd name="T82" fmla="*/ 2430 w 4287"/>
                <a:gd name="T83" fmla="*/ 2691 h 2953"/>
                <a:gd name="T84" fmla="*/ 2241 w 4287"/>
                <a:gd name="T85" fmla="*/ 2580 h 2953"/>
                <a:gd name="T86" fmla="*/ 1972 w 4287"/>
                <a:gd name="T87" fmla="*/ 2624 h 2953"/>
                <a:gd name="T88" fmla="*/ 1851 w 4287"/>
                <a:gd name="T89" fmla="*/ 2681 h 2953"/>
                <a:gd name="T90" fmla="*/ 1691 w 4287"/>
                <a:gd name="T91" fmla="*/ 2525 h 2953"/>
                <a:gd name="T92" fmla="*/ 1766 w 4287"/>
                <a:gd name="T93" fmla="*/ 2294 h 2953"/>
                <a:gd name="T94" fmla="*/ 1582 w 4287"/>
                <a:gd name="T95" fmla="*/ 2126 h 2953"/>
                <a:gd name="T96" fmla="*/ 1313 w 4287"/>
                <a:gd name="T97" fmla="*/ 2216 h 2953"/>
                <a:gd name="T98" fmla="*/ 1015 w 4287"/>
                <a:gd name="T99" fmla="*/ 2204 h 2953"/>
                <a:gd name="T100" fmla="*/ 810 w 4287"/>
                <a:gd name="T101" fmla="*/ 2150 h 2953"/>
                <a:gd name="T102" fmla="*/ 529 w 4287"/>
                <a:gd name="T103" fmla="*/ 2039 h 2953"/>
                <a:gd name="T104" fmla="*/ 3229 w 4287"/>
                <a:gd name="T105" fmla="*/ 1866 h 2953"/>
                <a:gd name="T106" fmla="*/ 3401 w 4287"/>
                <a:gd name="T107" fmla="*/ 2032 h 2953"/>
                <a:gd name="T108" fmla="*/ 3418 w 4287"/>
                <a:gd name="T109" fmla="*/ 2048 h 2953"/>
                <a:gd name="T110" fmla="*/ 3337 w 4287"/>
                <a:gd name="T111" fmla="*/ 2192 h 2953"/>
                <a:gd name="T112" fmla="*/ 3115 w 4287"/>
                <a:gd name="T113" fmla="*/ 2476 h 2953"/>
                <a:gd name="T114" fmla="*/ 2851 w 4287"/>
                <a:gd name="T115" fmla="*/ 2641 h 2953"/>
                <a:gd name="T116" fmla="*/ 2683 w 4287"/>
                <a:gd name="T117" fmla="*/ 2691 h 2953"/>
                <a:gd name="T118" fmla="*/ 2570 w 4287"/>
                <a:gd name="T119" fmla="*/ 2731 h 2953"/>
                <a:gd name="T120" fmla="*/ 2560 w 4287"/>
                <a:gd name="T121" fmla="*/ 2809 h 2953"/>
                <a:gd name="T122" fmla="*/ 2527 w 4287"/>
                <a:gd name="T123" fmla="*/ 2941 h 2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87" h="2953">
                  <a:moveTo>
                    <a:pt x="524" y="2032"/>
                  </a:moveTo>
                  <a:lnTo>
                    <a:pt x="491" y="2010"/>
                  </a:lnTo>
                  <a:lnTo>
                    <a:pt x="460" y="1999"/>
                  </a:lnTo>
                  <a:lnTo>
                    <a:pt x="470" y="1982"/>
                  </a:lnTo>
                  <a:lnTo>
                    <a:pt x="437" y="1973"/>
                  </a:lnTo>
                  <a:lnTo>
                    <a:pt x="415" y="1973"/>
                  </a:lnTo>
                  <a:lnTo>
                    <a:pt x="385" y="1928"/>
                  </a:lnTo>
                  <a:lnTo>
                    <a:pt x="368" y="1944"/>
                  </a:lnTo>
                  <a:lnTo>
                    <a:pt x="361" y="1937"/>
                  </a:lnTo>
                  <a:lnTo>
                    <a:pt x="361" y="1921"/>
                  </a:lnTo>
                  <a:lnTo>
                    <a:pt x="368" y="1916"/>
                  </a:lnTo>
                  <a:lnTo>
                    <a:pt x="352" y="1904"/>
                  </a:lnTo>
                  <a:lnTo>
                    <a:pt x="361" y="1888"/>
                  </a:lnTo>
                  <a:lnTo>
                    <a:pt x="340" y="1866"/>
                  </a:lnTo>
                  <a:lnTo>
                    <a:pt x="340" y="1845"/>
                  </a:lnTo>
                  <a:lnTo>
                    <a:pt x="361" y="1833"/>
                  </a:lnTo>
                  <a:lnTo>
                    <a:pt x="361" y="1850"/>
                  </a:lnTo>
                  <a:lnTo>
                    <a:pt x="378" y="1862"/>
                  </a:lnTo>
                  <a:lnTo>
                    <a:pt x="394" y="1850"/>
                  </a:lnTo>
                  <a:lnTo>
                    <a:pt x="399" y="1850"/>
                  </a:lnTo>
                  <a:lnTo>
                    <a:pt x="415" y="1828"/>
                  </a:lnTo>
                  <a:lnTo>
                    <a:pt x="399" y="1812"/>
                  </a:lnTo>
                  <a:lnTo>
                    <a:pt x="406" y="1795"/>
                  </a:lnTo>
                  <a:lnTo>
                    <a:pt x="378" y="1776"/>
                  </a:lnTo>
                  <a:lnTo>
                    <a:pt x="361" y="1760"/>
                  </a:lnTo>
                  <a:lnTo>
                    <a:pt x="361" y="1717"/>
                  </a:lnTo>
                  <a:lnTo>
                    <a:pt x="378" y="1706"/>
                  </a:lnTo>
                  <a:lnTo>
                    <a:pt x="378" y="1701"/>
                  </a:lnTo>
                  <a:lnTo>
                    <a:pt x="352" y="1684"/>
                  </a:lnTo>
                  <a:lnTo>
                    <a:pt x="330" y="1677"/>
                  </a:lnTo>
                  <a:lnTo>
                    <a:pt x="309" y="1623"/>
                  </a:lnTo>
                  <a:lnTo>
                    <a:pt x="314" y="1606"/>
                  </a:lnTo>
                  <a:lnTo>
                    <a:pt x="297" y="1606"/>
                  </a:lnTo>
                  <a:lnTo>
                    <a:pt x="271" y="1606"/>
                  </a:lnTo>
                  <a:lnTo>
                    <a:pt x="233" y="1595"/>
                  </a:lnTo>
                  <a:lnTo>
                    <a:pt x="205" y="1583"/>
                  </a:lnTo>
                  <a:lnTo>
                    <a:pt x="205" y="1573"/>
                  </a:lnTo>
                  <a:lnTo>
                    <a:pt x="184" y="1583"/>
                  </a:lnTo>
                  <a:lnTo>
                    <a:pt x="179" y="1566"/>
                  </a:lnTo>
                  <a:lnTo>
                    <a:pt x="163" y="1557"/>
                  </a:lnTo>
                  <a:lnTo>
                    <a:pt x="167" y="1540"/>
                  </a:lnTo>
                  <a:lnTo>
                    <a:pt x="163" y="1512"/>
                  </a:lnTo>
                  <a:lnTo>
                    <a:pt x="146" y="1500"/>
                  </a:lnTo>
                  <a:lnTo>
                    <a:pt x="129" y="1500"/>
                  </a:lnTo>
                  <a:lnTo>
                    <a:pt x="125" y="1484"/>
                  </a:lnTo>
                  <a:lnTo>
                    <a:pt x="108" y="1479"/>
                  </a:lnTo>
                  <a:lnTo>
                    <a:pt x="70" y="1479"/>
                  </a:lnTo>
                  <a:lnTo>
                    <a:pt x="54" y="1462"/>
                  </a:lnTo>
                  <a:lnTo>
                    <a:pt x="82" y="1455"/>
                  </a:lnTo>
                  <a:lnTo>
                    <a:pt x="82" y="1462"/>
                  </a:lnTo>
                  <a:lnTo>
                    <a:pt x="92" y="1462"/>
                  </a:lnTo>
                  <a:lnTo>
                    <a:pt x="113" y="1446"/>
                  </a:lnTo>
                  <a:lnTo>
                    <a:pt x="92" y="1422"/>
                  </a:lnTo>
                  <a:lnTo>
                    <a:pt x="96" y="1417"/>
                  </a:lnTo>
                  <a:lnTo>
                    <a:pt x="82" y="1389"/>
                  </a:lnTo>
                  <a:lnTo>
                    <a:pt x="92" y="1363"/>
                  </a:lnTo>
                  <a:lnTo>
                    <a:pt x="54" y="1347"/>
                  </a:lnTo>
                  <a:lnTo>
                    <a:pt x="37" y="1347"/>
                  </a:lnTo>
                  <a:lnTo>
                    <a:pt x="28" y="1351"/>
                  </a:lnTo>
                  <a:lnTo>
                    <a:pt x="16" y="1347"/>
                  </a:lnTo>
                  <a:lnTo>
                    <a:pt x="7" y="1318"/>
                  </a:lnTo>
                  <a:lnTo>
                    <a:pt x="16" y="1311"/>
                  </a:lnTo>
                  <a:lnTo>
                    <a:pt x="0" y="1295"/>
                  </a:lnTo>
                  <a:lnTo>
                    <a:pt x="7" y="1273"/>
                  </a:lnTo>
                  <a:lnTo>
                    <a:pt x="16" y="1273"/>
                  </a:lnTo>
                  <a:lnTo>
                    <a:pt x="21" y="1262"/>
                  </a:lnTo>
                  <a:lnTo>
                    <a:pt x="16" y="1252"/>
                  </a:lnTo>
                  <a:lnTo>
                    <a:pt x="28" y="1224"/>
                  </a:lnTo>
                  <a:lnTo>
                    <a:pt x="54" y="1219"/>
                  </a:lnTo>
                  <a:lnTo>
                    <a:pt x="75" y="1202"/>
                  </a:lnTo>
                  <a:lnTo>
                    <a:pt x="92" y="1202"/>
                  </a:lnTo>
                  <a:lnTo>
                    <a:pt x="82" y="1186"/>
                  </a:lnTo>
                  <a:lnTo>
                    <a:pt x="113" y="1195"/>
                  </a:lnTo>
                  <a:lnTo>
                    <a:pt x="134" y="1179"/>
                  </a:lnTo>
                  <a:lnTo>
                    <a:pt x="146" y="1202"/>
                  </a:lnTo>
                  <a:lnTo>
                    <a:pt x="179" y="1195"/>
                  </a:lnTo>
                  <a:lnTo>
                    <a:pt x="189" y="1202"/>
                  </a:lnTo>
                  <a:lnTo>
                    <a:pt x="217" y="1179"/>
                  </a:lnTo>
                  <a:lnTo>
                    <a:pt x="217" y="1162"/>
                  </a:lnTo>
                  <a:lnTo>
                    <a:pt x="233" y="1146"/>
                  </a:lnTo>
                  <a:lnTo>
                    <a:pt x="314" y="1141"/>
                  </a:lnTo>
                  <a:lnTo>
                    <a:pt x="330" y="1125"/>
                  </a:lnTo>
                  <a:lnTo>
                    <a:pt x="340" y="1108"/>
                  </a:lnTo>
                  <a:lnTo>
                    <a:pt x="399" y="1075"/>
                  </a:lnTo>
                  <a:lnTo>
                    <a:pt x="432" y="1068"/>
                  </a:lnTo>
                  <a:lnTo>
                    <a:pt x="437" y="1058"/>
                  </a:lnTo>
                  <a:lnTo>
                    <a:pt x="460" y="1051"/>
                  </a:lnTo>
                  <a:lnTo>
                    <a:pt x="460" y="1042"/>
                  </a:lnTo>
                  <a:lnTo>
                    <a:pt x="470" y="1035"/>
                  </a:lnTo>
                  <a:lnTo>
                    <a:pt x="460" y="1002"/>
                  </a:lnTo>
                  <a:lnTo>
                    <a:pt x="470" y="985"/>
                  </a:lnTo>
                  <a:lnTo>
                    <a:pt x="491" y="980"/>
                  </a:lnTo>
                  <a:lnTo>
                    <a:pt x="474" y="969"/>
                  </a:lnTo>
                  <a:lnTo>
                    <a:pt x="507" y="957"/>
                  </a:lnTo>
                  <a:lnTo>
                    <a:pt x="503" y="931"/>
                  </a:lnTo>
                  <a:lnTo>
                    <a:pt x="474" y="869"/>
                  </a:lnTo>
                  <a:lnTo>
                    <a:pt x="474" y="829"/>
                  </a:lnTo>
                  <a:lnTo>
                    <a:pt x="486" y="820"/>
                  </a:lnTo>
                  <a:lnTo>
                    <a:pt x="470" y="813"/>
                  </a:lnTo>
                  <a:lnTo>
                    <a:pt x="448" y="813"/>
                  </a:lnTo>
                  <a:lnTo>
                    <a:pt x="437" y="803"/>
                  </a:lnTo>
                  <a:lnTo>
                    <a:pt x="453" y="791"/>
                  </a:lnTo>
                  <a:lnTo>
                    <a:pt x="566" y="763"/>
                  </a:lnTo>
                  <a:lnTo>
                    <a:pt x="583" y="780"/>
                  </a:lnTo>
                  <a:lnTo>
                    <a:pt x="611" y="775"/>
                  </a:lnTo>
                  <a:lnTo>
                    <a:pt x="633" y="780"/>
                  </a:lnTo>
                  <a:lnTo>
                    <a:pt x="633" y="758"/>
                  </a:lnTo>
                  <a:lnTo>
                    <a:pt x="611" y="742"/>
                  </a:lnTo>
                  <a:lnTo>
                    <a:pt x="663" y="614"/>
                  </a:lnTo>
                  <a:lnTo>
                    <a:pt x="663" y="593"/>
                  </a:lnTo>
                  <a:lnTo>
                    <a:pt x="725" y="614"/>
                  </a:lnTo>
                  <a:lnTo>
                    <a:pt x="777" y="614"/>
                  </a:lnTo>
                  <a:lnTo>
                    <a:pt x="784" y="626"/>
                  </a:lnTo>
                  <a:lnTo>
                    <a:pt x="784" y="631"/>
                  </a:lnTo>
                  <a:lnTo>
                    <a:pt x="815" y="610"/>
                  </a:lnTo>
                  <a:lnTo>
                    <a:pt x="838" y="610"/>
                  </a:lnTo>
                  <a:lnTo>
                    <a:pt x="848" y="593"/>
                  </a:lnTo>
                  <a:lnTo>
                    <a:pt x="848" y="581"/>
                  </a:lnTo>
                  <a:lnTo>
                    <a:pt x="838" y="569"/>
                  </a:lnTo>
                  <a:lnTo>
                    <a:pt x="838" y="527"/>
                  </a:lnTo>
                  <a:lnTo>
                    <a:pt x="852" y="487"/>
                  </a:lnTo>
                  <a:lnTo>
                    <a:pt x="907" y="470"/>
                  </a:lnTo>
                  <a:lnTo>
                    <a:pt x="923" y="458"/>
                  </a:lnTo>
                  <a:lnTo>
                    <a:pt x="918" y="432"/>
                  </a:lnTo>
                  <a:lnTo>
                    <a:pt x="935" y="416"/>
                  </a:lnTo>
                  <a:lnTo>
                    <a:pt x="961" y="425"/>
                  </a:lnTo>
                  <a:lnTo>
                    <a:pt x="999" y="416"/>
                  </a:lnTo>
                  <a:lnTo>
                    <a:pt x="999" y="432"/>
                  </a:lnTo>
                  <a:lnTo>
                    <a:pt x="994" y="442"/>
                  </a:lnTo>
                  <a:lnTo>
                    <a:pt x="1015" y="458"/>
                  </a:lnTo>
                  <a:lnTo>
                    <a:pt x="1011" y="470"/>
                  </a:lnTo>
                  <a:lnTo>
                    <a:pt x="1048" y="487"/>
                  </a:lnTo>
                  <a:lnTo>
                    <a:pt x="1053" y="503"/>
                  </a:lnTo>
                  <a:lnTo>
                    <a:pt x="1086" y="520"/>
                  </a:lnTo>
                  <a:lnTo>
                    <a:pt x="1117" y="520"/>
                  </a:lnTo>
                  <a:lnTo>
                    <a:pt x="1133" y="536"/>
                  </a:lnTo>
                  <a:lnTo>
                    <a:pt x="1155" y="536"/>
                  </a:lnTo>
                  <a:lnTo>
                    <a:pt x="1155" y="543"/>
                  </a:lnTo>
                  <a:lnTo>
                    <a:pt x="1178" y="569"/>
                  </a:lnTo>
                  <a:lnTo>
                    <a:pt x="1188" y="581"/>
                  </a:lnTo>
                  <a:lnTo>
                    <a:pt x="1204" y="610"/>
                  </a:lnTo>
                  <a:lnTo>
                    <a:pt x="1216" y="626"/>
                  </a:lnTo>
                  <a:lnTo>
                    <a:pt x="1226" y="652"/>
                  </a:lnTo>
                  <a:lnTo>
                    <a:pt x="1216" y="680"/>
                  </a:lnTo>
                  <a:lnTo>
                    <a:pt x="1226" y="704"/>
                  </a:lnTo>
                  <a:lnTo>
                    <a:pt x="1204" y="725"/>
                  </a:lnTo>
                  <a:lnTo>
                    <a:pt x="1192" y="747"/>
                  </a:lnTo>
                  <a:lnTo>
                    <a:pt x="1209" y="775"/>
                  </a:lnTo>
                  <a:lnTo>
                    <a:pt x="1259" y="791"/>
                  </a:lnTo>
                  <a:lnTo>
                    <a:pt x="1405" y="796"/>
                  </a:lnTo>
                  <a:lnTo>
                    <a:pt x="1481" y="853"/>
                  </a:lnTo>
                  <a:lnTo>
                    <a:pt x="1502" y="858"/>
                  </a:lnTo>
                  <a:lnTo>
                    <a:pt x="1528" y="858"/>
                  </a:lnTo>
                  <a:lnTo>
                    <a:pt x="1528" y="886"/>
                  </a:lnTo>
                  <a:lnTo>
                    <a:pt x="1540" y="886"/>
                  </a:lnTo>
                  <a:lnTo>
                    <a:pt x="1566" y="947"/>
                  </a:lnTo>
                  <a:lnTo>
                    <a:pt x="1594" y="980"/>
                  </a:lnTo>
                  <a:lnTo>
                    <a:pt x="1594" y="997"/>
                  </a:lnTo>
                  <a:lnTo>
                    <a:pt x="1646" y="985"/>
                  </a:lnTo>
                  <a:lnTo>
                    <a:pt x="1821" y="1014"/>
                  </a:lnTo>
                  <a:lnTo>
                    <a:pt x="1873" y="997"/>
                  </a:lnTo>
                  <a:lnTo>
                    <a:pt x="1911" y="997"/>
                  </a:lnTo>
                  <a:lnTo>
                    <a:pt x="1981" y="1014"/>
                  </a:lnTo>
                  <a:lnTo>
                    <a:pt x="1998" y="1035"/>
                  </a:lnTo>
                  <a:lnTo>
                    <a:pt x="2040" y="1042"/>
                  </a:lnTo>
                  <a:lnTo>
                    <a:pt x="2090" y="1068"/>
                  </a:lnTo>
                  <a:lnTo>
                    <a:pt x="2123" y="1075"/>
                  </a:lnTo>
                  <a:lnTo>
                    <a:pt x="2166" y="1068"/>
                  </a:lnTo>
                  <a:lnTo>
                    <a:pt x="2166" y="1084"/>
                  </a:lnTo>
                  <a:lnTo>
                    <a:pt x="2199" y="1091"/>
                  </a:lnTo>
                  <a:lnTo>
                    <a:pt x="2203" y="1091"/>
                  </a:lnTo>
                  <a:lnTo>
                    <a:pt x="2220" y="1084"/>
                  </a:lnTo>
                  <a:lnTo>
                    <a:pt x="2258" y="1058"/>
                  </a:lnTo>
                  <a:lnTo>
                    <a:pt x="2376" y="1018"/>
                  </a:lnTo>
                  <a:lnTo>
                    <a:pt x="2506" y="1018"/>
                  </a:lnTo>
                  <a:lnTo>
                    <a:pt x="2581" y="985"/>
                  </a:lnTo>
                  <a:lnTo>
                    <a:pt x="2624" y="940"/>
                  </a:lnTo>
                  <a:lnTo>
                    <a:pt x="2690" y="907"/>
                  </a:lnTo>
                  <a:lnTo>
                    <a:pt x="2683" y="886"/>
                  </a:lnTo>
                  <a:lnTo>
                    <a:pt x="2652" y="853"/>
                  </a:lnTo>
                  <a:lnTo>
                    <a:pt x="2678" y="796"/>
                  </a:lnTo>
                  <a:lnTo>
                    <a:pt x="2700" y="780"/>
                  </a:lnTo>
                  <a:lnTo>
                    <a:pt x="2721" y="791"/>
                  </a:lnTo>
                  <a:lnTo>
                    <a:pt x="2754" y="803"/>
                  </a:lnTo>
                  <a:lnTo>
                    <a:pt x="2808" y="813"/>
                  </a:lnTo>
                  <a:lnTo>
                    <a:pt x="2867" y="775"/>
                  </a:lnTo>
                  <a:lnTo>
                    <a:pt x="2867" y="758"/>
                  </a:lnTo>
                  <a:lnTo>
                    <a:pt x="2938" y="758"/>
                  </a:lnTo>
                  <a:lnTo>
                    <a:pt x="2985" y="737"/>
                  </a:lnTo>
                  <a:lnTo>
                    <a:pt x="3002" y="692"/>
                  </a:lnTo>
                  <a:lnTo>
                    <a:pt x="3023" y="680"/>
                  </a:lnTo>
                  <a:lnTo>
                    <a:pt x="3030" y="669"/>
                  </a:lnTo>
                  <a:lnTo>
                    <a:pt x="3068" y="669"/>
                  </a:lnTo>
                  <a:lnTo>
                    <a:pt x="3068" y="652"/>
                  </a:lnTo>
                  <a:lnTo>
                    <a:pt x="3099" y="652"/>
                  </a:lnTo>
                  <a:lnTo>
                    <a:pt x="3137" y="636"/>
                  </a:lnTo>
                  <a:lnTo>
                    <a:pt x="3170" y="647"/>
                  </a:lnTo>
                  <a:lnTo>
                    <a:pt x="3174" y="636"/>
                  </a:lnTo>
                  <a:lnTo>
                    <a:pt x="3207" y="647"/>
                  </a:lnTo>
                  <a:lnTo>
                    <a:pt x="3229" y="652"/>
                  </a:lnTo>
                  <a:lnTo>
                    <a:pt x="3245" y="636"/>
                  </a:lnTo>
                  <a:lnTo>
                    <a:pt x="3245" y="626"/>
                  </a:lnTo>
                  <a:lnTo>
                    <a:pt x="3229" y="598"/>
                  </a:lnTo>
                  <a:lnTo>
                    <a:pt x="3191" y="569"/>
                  </a:lnTo>
                  <a:lnTo>
                    <a:pt x="3191" y="553"/>
                  </a:lnTo>
                  <a:lnTo>
                    <a:pt x="3170" y="543"/>
                  </a:lnTo>
                  <a:lnTo>
                    <a:pt x="3153" y="520"/>
                  </a:lnTo>
                  <a:lnTo>
                    <a:pt x="3099" y="520"/>
                  </a:lnTo>
                  <a:lnTo>
                    <a:pt x="3068" y="553"/>
                  </a:lnTo>
                  <a:lnTo>
                    <a:pt x="3040" y="536"/>
                  </a:lnTo>
                  <a:lnTo>
                    <a:pt x="2992" y="536"/>
                  </a:lnTo>
                  <a:lnTo>
                    <a:pt x="2969" y="553"/>
                  </a:lnTo>
                  <a:lnTo>
                    <a:pt x="2948" y="527"/>
                  </a:lnTo>
                  <a:lnTo>
                    <a:pt x="2938" y="515"/>
                  </a:lnTo>
                  <a:lnTo>
                    <a:pt x="2959" y="499"/>
                  </a:lnTo>
                  <a:lnTo>
                    <a:pt x="2959" y="470"/>
                  </a:lnTo>
                  <a:lnTo>
                    <a:pt x="2976" y="449"/>
                  </a:lnTo>
                  <a:lnTo>
                    <a:pt x="3023" y="354"/>
                  </a:lnTo>
                  <a:lnTo>
                    <a:pt x="3111" y="388"/>
                  </a:lnTo>
                  <a:lnTo>
                    <a:pt x="3153" y="347"/>
                  </a:lnTo>
                  <a:lnTo>
                    <a:pt x="3191" y="338"/>
                  </a:lnTo>
                  <a:lnTo>
                    <a:pt x="3207" y="331"/>
                  </a:lnTo>
                  <a:lnTo>
                    <a:pt x="3207" y="305"/>
                  </a:lnTo>
                  <a:lnTo>
                    <a:pt x="3191" y="298"/>
                  </a:lnTo>
                  <a:lnTo>
                    <a:pt x="3219" y="265"/>
                  </a:lnTo>
                  <a:lnTo>
                    <a:pt x="3224" y="248"/>
                  </a:lnTo>
                  <a:lnTo>
                    <a:pt x="3240" y="239"/>
                  </a:lnTo>
                  <a:lnTo>
                    <a:pt x="3262" y="182"/>
                  </a:lnTo>
                  <a:lnTo>
                    <a:pt x="3300" y="154"/>
                  </a:lnTo>
                  <a:lnTo>
                    <a:pt x="3309" y="132"/>
                  </a:lnTo>
                  <a:lnTo>
                    <a:pt x="3300" y="116"/>
                  </a:lnTo>
                  <a:lnTo>
                    <a:pt x="3300" y="95"/>
                  </a:lnTo>
                  <a:lnTo>
                    <a:pt x="3283" y="83"/>
                  </a:lnTo>
                  <a:lnTo>
                    <a:pt x="3262" y="95"/>
                  </a:lnTo>
                  <a:lnTo>
                    <a:pt x="3257" y="71"/>
                  </a:lnTo>
                  <a:lnTo>
                    <a:pt x="3309" y="21"/>
                  </a:lnTo>
                  <a:lnTo>
                    <a:pt x="3510" y="0"/>
                  </a:lnTo>
                  <a:lnTo>
                    <a:pt x="3543" y="17"/>
                  </a:lnTo>
                  <a:lnTo>
                    <a:pt x="3552" y="17"/>
                  </a:lnTo>
                  <a:lnTo>
                    <a:pt x="3569" y="26"/>
                  </a:lnTo>
                  <a:lnTo>
                    <a:pt x="3597" y="38"/>
                  </a:lnTo>
                  <a:lnTo>
                    <a:pt x="3618" y="26"/>
                  </a:lnTo>
                  <a:lnTo>
                    <a:pt x="3649" y="43"/>
                  </a:lnTo>
                  <a:lnTo>
                    <a:pt x="3656" y="54"/>
                  </a:lnTo>
                  <a:lnTo>
                    <a:pt x="3649" y="62"/>
                  </a:lnTo>
                  <a:lnTo>
                    <a:pt x="3677" y="78"/>
                  </a:lnTo>
                  <a:lnTo>
                    <a:pt x="3673" y="95"/>
                  </a:lnTo>
                  <a:lnTo>
                    <a:pt x="3687" y="95"/>
                  </a:lnTo>
                  <a:lnTo>
                    <a:pt x="3703" y="111"/>
                  </a:lnTo>
                  <a:lnTo>
                    <a:pt x="3694" y="132"/>
                  </a:lnTo>
                  <a:lnTo>
                    <a:pt x="3715" y="132"/>
                  </a:lnTo>
                  <a:lnTo>
                    <a:pt x="3703" y="149"/>
                  </a:lnTo>
                  <a:lnTo>
                    <a:pt x="3725" y="170"/>
                  </a:lnTo>
                  <a:lnTo>
                    <a:pt x="3732" y="203"/>
                  </a:lnTo>
                  <a:lnTo>
                    <a:pt x="3741" y="203"/>
                  </a:lnTo>
                  <a:lnTo>
                    <a:pt x="3732" y="222"/>
                  </a:lnTo>
                  <a:lnTo>
                    <a:pt x="3741" y="210"/>
                  </a:lnTo>
                  <a:lnTo>
                    <a:pt x="3741" y="239"/>
                  </a:lnTo>
                  <a:lnTo>
                    <a:pt x="3762" y="265"/>
                  </a:lnTo>
                  <a:lnTo>
                    <a:pt x="3770" y="281"/>
                  </a:lnTo>
                  <a:lnTo>
                    <a:pt x="3762" y="293"/>
                  </a:lnTo>
                  <a:lnTo>
                    <a:pt x="3770" y="305"/>
                  </a:lnTo>
                  <a:lnTo>
                    <a:pt x="3786" y="314"/>
                  </a:lnTo>
                  <a:lnTo>
                    <a:pt x="3779" y="331"/>
                  </a:lnTo>
                  <a:lnTo>
                    <a:pt x="3779" y="354"/>
                  </a:lnTo>
                  <a:lnTo>
                    <a:pt x="3800" y="376"/>
                  </a:lnTo>
                  <a:lnTo>
                    <a:pt x="3871" y="376"/>
                  </a:lnTo>
                  <a:lnTo>
                    <a:pt x="3892" y="404"/>
                  </a:lnTo>
                  <a:lnTo>
                    <a:pt x="3921" y="392"/>
                  </a:lnTo>
                  <a:lnTo>
                    <a:pt x="3925" y="404"/>
                  </a:lnTo>
                  <a:lnTo>
                    <a:pt x="3930" y="409"/>
                  </a:lnTo>
                  <a:lnTo>
                    <a:pt x="3947" y="425"/>
                  </a:lnTo>
                  <a:lnTo>
                    <a:pt x="3975" y="442"/>
                  </a:lnTo>
                  <a:lnTo>
                    <a:pt x="4001" y="442"/>
                  </a:lnTo>
                  <a:lnTo>
                    <a:pt x="3996" y="465"/>
                  </a:lnTo>
                  <a:lnTo>
                    <a:pt x="4013" y="499"/>
                  </a:lnTo>
                  <a:lnTo>
                    <a:pt x="4001" y="515"/>
                  </a:lnTo>
                  <a:lnTo>
                    <a:pt x="4018" y="527"/>
                  </a:lnTo>
                  <a:lnTo>
                    <a:pt x="4027" y="553"/>
                  </a:lnTo>
                  <a:lnTo>
                    <a:pt x="4136" y="553"/>
                  </a:lnTo>
                  <a:lnTo>
                    <a:pt x="4140" y="536"/>
                  </a:lnTo>
                  <a:lnTo>
                    <a:pt x="4174" y="515"/>
                  </a:lnTo>
                  <a:lnTo>
                    <a:pt x="4202" y="520"/>
                  </a:lnTo>
                  <a:lnTo>
                    <a:pt x="4216" y="499"/>
                  </a:lnTo>
                  <a:lnTo>
                    <a:pt x="4266" y="487"/>
                  </a:lnTo>
                  <a:lnTo>
                    <a:pt x="4287" y="499"/>
                  </a:lnTo>
                  <a:lnTo>
                    <a:pt x="4270" y="520"/>
                  </a:lnTo>
                  <a:lnTo>
                    <a:pt x="4287" y="553"/>
                  </a:lnTo>
                  <a:lnTo>
                    <a:pt x="4270" y="569"/>
                  </a:lnTo>
                  <a:lnTo>
                    <a:pt x="4249" y="581"/>
                  </a:lnTo>
                  <a:lnTo>
                    <a:pt x="4249" y="610"/>
                  </a:lnTo>
                  <a:lnTo>
                    <a:pt x="4244" y="610"/>
                  </a:lnTo>
                  <a:lnTo>
                    <a:pt x="4233" y="647"/>
                  </a:lnTo>
                  <a:lnTo>
                    <a:pt x="4228" y="664"/>
                  </a:lnTo>
                  <a:lnTo>
                    <a:pt x="4233" y="669"/>
                  </a:lnTo>
                  <a:lnTo>
                    <a:pt x="4228" y="680"/>
                  </a:lnTo>
                  <a:lnTo>
                    <a:pt x="4195" y="721"/>
                  </a:lnTo>
                  <a:lnTo>
                    <a:pt x="4195" y="742"/>
                  </a:lnTo>
                  <a:lnTo>
                    <a:pt x="4174" y="758"/>
                  </a:lnTo>
                  <a:lnTo>
                    <a:pt x="4174" y="780"/>
                  </a:lnTo>
                  <a:lnTo>
                    <a:pt x="4157" y="791"/>
                  </a:lnTo>
                  <a:lnTo>
                    <a:pt x="4093" y="775"/>
                  </a:lnTo>
                  <a:lnTo>
                    <a:pt x="4088" y="763"/>
                  </a:lnTo>
                  <a:lnTo>
                    <a:pt x="4055" y="796"/>
                  </a:lnTo>
                  <a:lnTo>
                    <a:pt x="4018" y="803"/>
                  </a:lnTo>
                  <a:lnTo>
                    <a:pt x="4034" y="820"/>
                  </a:lnTo>
                  <a:lnTo>
                    <a:pt x="4051" y="874"/>
                  </a:lnTo>
                  <a:lnTo>
                    <a:pt x="4039" y="924"/>
                  </a:lnTo>
                  <a:lnTo>
                    <a:pt x="4051" y="940"/>
                  </a:lnTo>
                  <a:lnTo>
                    <a:pt x="4034" y="964"/>
                  </a:lnTo>
                  <a:lnTo>
                    <a:pt x="4034" y="980"/>
                  </a:lnTo>
                  <a:lnTo>
                    <a:pt x="3985" y="997"/>
                  </a:lnTo>
                  <a:lnTo>
                    <a:pt x="3996" y="1002"/>
                  </a:lnTo>
                  <a:lnTo>
                    <a:pt x="3996" y="1018"/>
                  </a:lnTo>
                  <a:lnTo>
                    <a:pt x="3996" y="1014"/>
                  </a:lnTo>
                  <a:lnTo>
                    <a:pt x="3975" y="997"/>
                  </a:lnTo>
                  <a:lnTo>
                    <a:pt x="3975" y="980"/>
                  </a:lnTo>
                  <a:lnTo>
                    <a:pt x="3947" y="969"/>
                  </a:lnTo>
                  <a:lnTo>
                    <a:pt x="3930" y="1018"/>
                  </a:lnTo>
                  <a:lnTo>
                    <a:pt x="3921" y="1025"/>
                  </a:lnTo>
                  <a:lnTo>
                    <a:pt x="3909" y="1018"/>
                  </a:lnTo>
                  <a:lnTo>
                    <a:pt x="3904" y="1035"/>
                  </a:lnTo>
                  <a:lnTo>
                    <a:pt x="3876" y="1058"/>
                  </a:lnTo>
                  <a:lnTo>
                    <a:pt x="3817" y="1058"/>
                  </a:lnTo>
                  <a:lnTo>
                    <a:pt x="3824" y="1075"/>
                  </a:lnTo>
                  <a:lnTo>
                    <a:pt x="3833" y="1091"/>
                  </a:lnTo>
                  <a:lnTo>
                    <a:pt x="3824" y="1113"/>
                  </a:lnTo>
                  <a:lnTo>
                    <a:pt x="3762" y="1108"/>
                  </a:lnTo>
                  <a:lnTo>
                    <a:pt x="3741" y="1075"/>
                  </a:lnTo>
                  <a:lnTo>
                    <a:pt x="3715" y="1091"/>
                  </a:lnTo>
                  <a:lnTo>
                    <a:pt x="3711" y="1113"/>
                  </a:lnTo>
                  <a:lnTo>
                    <a:pt x="3677" y="1151"/>
                  </a:lnTo>
                  <a:lnTo>
                    <a:pt x="3656" y="1151"/>
                  </a:lnTo>
                  <a:lnTo>
                    <a:pt x="3635" y="1169"/>
                  </a:lnTo>
                  <a:lnTo>
                    <a:pt x="3607" y="1186"/>
                  </a:lnTo>
                  <a:lnTo>
                    <a:pt x="3607" y="1195"/>
                  </a:lnTo>
                  <a:lnTo>
                    <a:pt x="3597" y="1186"/>
                  </a:lnTo>
                  <a:lnTo>
                    <a:pt x="3564" y="1219"/>
                  </a:lnTo>
                  <a:lnTo>
                    <a:pt x="3552" y="1236"/>
                  </a:lnTo>
                  <a:lnTo>
                    <a:pt x="3543" y="1240"/>
                  </a:lnTo>
                  <a:lnTo>
                    <a:pt x="3514" y="1240"/>
                  </a:lnTo>
                  <a:lnTo>
                    <a:pt x="3493" y="1252"/>
                  </a:lnTo>
                  <a:lnTo>
                    <a:pt x="3477" y="1240"/>
                  </a:lnTo>
                  <a:lnTo>
                    <a:pt x="3488" y="1257"/>
                  </a:lnTo>
                  <a:lnTo>
                    <a:pt x="3422" y="1278"/>
                  </a:lnTo>
                  <a:lnTo>
                    <a:pt x="3392" y="1311"/>
                  </a:lnTo>
                  <a:lnTo>
                    <a:pt x="3370" y="1311"/>
                  </a:lnTo>
                  <a:lnTo>
                    <a:pt x="3370" y="1330"/>
                  </a:lnTo>
                  <a:lnTo>
                    <a:pt x="3333" y="1335"/>
                  </a:lnTo>
                  <a:lnTo>
                    <a:pt x="3333" y="1318"/>
                  </a:lnTo>
                  <a:lnTo>
                    <a:pt x="3370" y="1306"/>
                  </a:lnTo>
                  <a:lnTo>
                    <a:pt x="3363" y="1295"/>
                  </a:lnTo>
                  <a:lnTo>
                    <a:pt x="3380" y="1278"/>
                  </a:lnTo>
                  <a:lnTo>
                    <a:pt x="3363" y="1278"/>
                  </a:lnTo>
                  <a:lnTo>
                    <a:pt x="3354" y="1273"/>
                  </a:lnTo>
                  <a:lnTo>
                    <a:pt x="3337" y="1262"/>
                  </a:lnTo>
                  <a:lnTo>
                    <a:pt x="3363" y="1257"/>
                  </a:lnTo>
                  <a:lnTo>
                    <a:pt x="3354" y="1240"/>
                  </a:lnTo>
                  <a:lnTo>
                    <a:pt x="3385" y="1236"/>
                  </a:lnTo>
                  <a:lnTo>
                    <a:pt x="3418" y="1186"/>
                  </a:lnTo>
                  <a:lnTo>
                    <a:pt x="3401" y="1162"/>
                  </a:lnTo>
                  <a:lnTo>
                    <a:pt x="3337" y="1151"/>
                  </a:lnTo>
                  <a:lnTo>
                    <a:pt x="3325" y="1162"/>
                  </a:lnTo>
                  <a:lnTo>
                    <a:pt x="3316" y="1162"/>
                  </a:lnTo>
                  <a:lnTo>
                    <a:pt x="3325" y="1169"/>
                  </a:lnTo>
                  <a:lnTo>
                    <a:pt x="3309" y="1169"/>
                  </a:lnTo>
                  <a:lnTo>
                    <a:pt x="3295" y="1195"/>
                  </a:lnTo>
                  <a:lnTo>
                    <a:pt x="3283" y="1207"/>
                  </a:lnTo>
                  <a:lnTo>
                    <a:pt x="3224" y="1240"/>
                  </a:lnTo>
                  <a:lnTo>
                    <a:pt x="3207" y="1252"/>
                  </a:lnTo>
                  <a:lnTo>
                    <a:pt x="3203" y="1278"/>
                  </a:lnTo>
                  <a:lnTo>
                    <a:pt x="3174" y="1306"/>
                  </a:lnTo>
                  <a:lnTo>
                    <a:pt x="3186" y="1295"/>
                  </a:lnTo>
                  <a:lnTo>
                    <a:pt x="3153" y="1295"/>
                  </a:lnTo>
                  <a:lnTo>
                    <a:pt x="3137" y="1311"/>
                  </a:lnTo>
                  <a:lnTo>
                    <a:pt x="3115" y="1295"/>
                  </a:lnTo>
                  <a:lnTo>
                    <a:pt x="3094" y="1306"/>
                  </a:lnTo>
                  <a:lnTo>
                    <a:pt x="3082" y="1347"/>
                  </a:lnTo>
                  <a:lnTo>
                    <a:pt x="3094" y="1368"/>
                  </a:lnTo>
                  <a:lnTo>
                    <a:pt x="3120" y="1384"/>
                  </a:lnTo>
                  <a:lnTo>
                    <a:pt x="3170" y="1384"/>
                  </a:lnTo>
                  <a:lnTo>
                    <a:pt x="3186" y="1406"/>
                  </a:lnTo>
                  <a:lnTo>
                    <a:pt x="3174" y="1455"/>
                  </a:lnTo>
                  <a:lnTo>
                    <a:pt x="3203" y="1472"/>
                  </a:lnTo>
                  <a:lnTo>
                    <a:pt x="3240" y="1472"/>
                  </a:lnTo>
                  <a:lnTo>
                    <a:pt x="3245" y="1462"/>
                  </a:lnTo>
                  <a:lnTo>
                    <a:pt x="3245" y="1446"/>
                  </a:lnTo>
                  <a:lnTo>
                    <a:pt x="3309" y="1406"/>
                  </a:lnTo>
                  <a:lnTo>
                    <a:pt x="3316" y="1417"/>
                  </a:lnTo>
                  <a:lnTo>
                    <a:pt x="3333" y="1429"/>
                  </a:lnTo>
                  <a:lnTo>
                    <a:pt x="3363" y="1446"/>
                  </a:lnTo>
                  <a:lnTo>
                    <a:pt x="3401" y="1429"/>
                  </a:lnTo>
                  <a:lnTo>
                    <a:pt x="3408" y="1446"/>
                  </a:lnTo>
                  <a:lnTo>
                    <a:pt x="3434" y="1446"/>
                  </a:lnTo>
                  <a:lnTo>
                    <a:pt x="3439" y="1462"/>
                  </a:lnTo>
                  <a:lnTo>
                    <a:pt x="3422" y="1472"/>
                  </a:lnTo>
                  <a:lnTo>
                    <a:pt x="3422" y="1479"/>
                  </a:lnTo>
                  <a:lnTo>
                    <a:pt x="3434" y="1479"/>
                  </a:lnTo>
                  <a:lnTo>
                    <a:pt x="3434" y="1484"/>
                  </a:lnTo>
                  <a:lnTo>
                    <a:pt x="3408" y="1495"/>
                  </a:lnTo>
                  <a:lnTo>
                    <a:pt x="3408" y="1484"/>
                  </a:lnTo>
                  <a:lnTo>
                    <a:pt x="3392" y="1479"/>
                  </a:lnTo>
                  <a:lnTo>
                    <a:pt x="3363" y="1500"/>
                  </a:lnTo>
                  <a:lnTo>
                    <a:pt x="3363" y="1495"/>
                  </a:lnTo>
                  <a:lnTo>
                    <a:pt x="3325" y="1517"/>
                  </a:lnTo>
                  <a:lnTo>
                    <a:pt x="3309" y="1512"/>
                  </a:lnTo>
                  <a:lnTo>
                    <a:pt x="3309" y="1517"/>
                  </a:lnTo>
                  <a:lnTo>
                    <a:pt x="3316" y="1512"/>
                  </a:lnTo>
                  <a:lnTo>
                    <a:pt x="3325" y="1517"/>
                  </a:lnTo>
                  <a:lnTo>
                    <a:pt x="3316" y="1533"/>
                  </a:lnTo>
                  <a:lnTo>
                    <a:pt x="3309" y="1528"/>
                  </a:lnTo>
                  <a:lnTo>
                    <a:pt x="3300" y="1528"/>
                  </a:lnTo>
                  <a:lnTo>
                    <a:pt x="3300" y="1550"/>
                  </a:lnTo>
                  <a:lnTo>
                    <a:pt x="3278" y="1557"/>
                  </a:lnTo>
                  <a:lnTo>
                    <a:pt x="3278" y="1550"/>
                  </a:lnTo>
                  <a:lnTo>
                    <a:pt x="3278" y="1540"/>
                  </a:lnTo>
                  <a:lnTo>
                    <a:pt x="3262" y="1550"/>
                  </a:lnTo>
                  <a:lnTo>
                    <a:pt x="3271" y="1566"/>
                  </a:lnTo>
                  <a:lnTo>
                    <a:pt x="3245" y="1583"/>
                  </a:lnTo>
                  <a:lnTo>
                    <a:pt x="3245" y="1590"/>
                  </a:lnTo>
                  <a:lnTo>
                    <a:pt x="3229" y="1595"/>
                  </a:lnTo>
                  <a:lnTo>
                    <a:pt x="3207" y="1639"/>
                  </a:lnTo>
                  <a:lnTo>
                    <a:pt x="3203" y="1639"/>
                  </a:lnTo>
                  <a:lnTo>
                    <a:pt x="3191" y="1651"/>
                  </a:lnTo>
                  <a:lnTo>
                    <a:pt x="3203" y="1661"/>
                  </a:lnTo>
                  <a:lnTo>
                    <a:pt x="3219" y="1668"/>
                  </a:lnTo>
                  <a:lnTo>
                    <a:pt x="3229" y="1684"/>
                  </a:lnTo>
                  <a:lnTo>
                    <a:pt x="3271" y="1701"/>
                  </a:lnTo>
                  <a:lnTo>
                    <a:pt x="3283" y="1755"/>
                  </a:lnTo>
                  <a:lnTo>
                    <a:pt x="3316" y="1812"/>
                  </a:lnTo>
                  <a:lnTo>
                    <a:pt x="3316" y="1833"/>
                  </a:lnTo>
                  <a:lnTo>
                    <a:pt x="3354" y="1862"/>
                  </a:lnTo>
                  <a:lnTo>
                    <a:pt x="3354" y="1871"/>
                  </a:lnTo>
                  <a:lnTo>
                    <a:pt x="3380" y="1888"/>
                  </a:lnTo>
                  <a:lnTo>
                    <a:pt x="3385" y="1904"/>
                  </a:lnTo>
                  <a:lnTo>
                    <a:pt x="3385" y="1916"/>
                  </a:lnTo>
                  <a:lnTo>
                    <a:pt x="3347" y="1899"/>
                  </a:lnTo>
                  <a:lnTo>
                    <a:pt x="3325" y="1899"/>
                  </a:lnTo>
                  <a:lnTo>
                    <a:pt x="3295" y="1883"/>
                  </a:lnTo>
                  <a:lnTo>
                    <a:pt x="3262" y="1888"/>
                  </a:lnTo>
                  <a:lnTo>
                    <a:pt x="3240" y="1862"/>
                  </a:lnTo>
                  <a:lnTo>
                    <a:pt x="3229" y="1866"/>
                  </a:lnTo>
                  <a:lnTo>
                    <a:pt x="3224" y="1871"/>
                  </a:lnTo>
                  <a:lnTo>
                    <a:pt x="3240" y="1871"/>
                  </a:lnTo>
                  <a:lnTo>
                    <a:pt x="3245" y="1888"/>
                  </a:lnTo>
                  <a:lnTo>
                    <a:pt x="3262" y="1888"/>
                  </a:lnTo>
                  <a:lnTo>
                    <a:pt x="3283" y="1883"/>
                  </a:lnTo>
                  <a:lnTo>
                    <a:pt x="3300" y="1888"/>
                  </a:lnTo>
                  <a:lnTo>
                    <a:pt x="3309" y="1899"/>
                  </a:lnTo>
                  <a:lnTo>
                    <a:pt x="3300" y="1899"/>
                  </a:lnTo>
                  <a:lnTo>
                    <a:pt x="3333" y="1904"/>
                  </a:lnTo>
                  <a:lnTo>
                    <a:pt x="3370" y="1937"/>
                  </a:lnTo>
                  <a:lnTo>
                    <a:pt x="3385" y="1973"/>
                  </a:lnTo>
                  <a:lnTo>
                    <a:pt x="3385" y="1977"/>
                  </a:lnTo>
                  <a:lnTo>
                    <a:pt x="3354" y="1977"/>
                  </a:lnTo>
                  <a:lnTo>
                    <a:pt x="3325" y="1999"/>
                  </a:lnTo>
                  <a:lnTo>
                    <a:pt x="3309" y="2015"/>
                  </a:lnTo>
                  <a:lnTo>
                    <a:pt x="3283" y="2015"/>
                  </a:lnTo>
                  <a:lnTo>
                    <a:pt x="3262" y="2032"/>
                  </a:lnTo>
                  <a:lnTo>
                    <a:pt x="3295" y="2015"/>
                  </a:lnTo>
                  <a:lnTo>
                    <a:pt x="3295" y="2032"/>
                  </a:lnTo>
                  <a:lnTo>
                    <a:pt x="3309" y="2039"/>
                  </a:lnTo>
                  <a:lnTo>
                    <a:pt x="3347" y="2027"/>
                  </a:lnTo>
                  <a:lnTo>
                    <a:pt x="3370" y="2048"/>
                  </a:lnTo>
                  <a:lnTo>
                    <a:pt x="3401" y="2055"/>
                  </a:lnTo>
                  <a:lnTo>
                    <a:pt x="3370" y="2081"/>
                  </a:lnTo>
                  <a:lnTo>
                    <a:pt x="3363" y="2081"/>
                  </a:lnTo>
                  <a:lnTo>
                    <a:pt x="3354" y="2088"/>
                  </a:lnTo>
                  <a:lnTo>
                    <a:pt x="3380" y="2081"/>
                  </a:lnTo>
                  <a:lnTo>
                    <a:pt x="3380" y="2088"/>
                  </a:lnTo>
                  <a:lnTo>
                    <a:pt x="3385" y="2081"/>
                  </a:lnTo>
                  <a:lnTo>
                    <a:pt x="3380" y="2081"/>
                  </a:lnTo>
                  <a:lnTo>
                    <a:pt x="3385" y="2072"/>
                  </a:lnTo>
                  <a:lnTo>
                    <a:pt x="3392" y="2081"/>
                  </a:lnTo>
                  <a:lnTo>
                    <a:pt x="3385" y="2105"/>
                  </a:lnTo>
                  <a:lnTo>
                    <a:pt x="3392" y="2105"/>
                  </a:lnTo>
                  <a:lnTo>
                    <a:pt x="3385" y="2110"/>
                  </a:lnTo>
                  <a:lnTo>
                    <a:pt x="3380" y="2093"/>
                  </a:lnTo>
                  <a:lnTo>
                    <a:pt x="3380" y="2110"/>
                  </a:lnTo>
                  <a:lnTo>
                    <a:pt x="3363" y="2105"/>
                  </a:lnTo>
                  <a:lnTo>
                    <a:pt x="3354" y="2110"/>
                  </a:lnTo>
                  <a:lnTo>
                    <a:pt x="3370" y="2121"/>
                  </a:lnTo>
                  <a:lnTo>
                    <a:pt x="3370" y="2126"/>
                  </a:lnTo>
                  <a:lnTo>
                    <a:pt x="3354" y="2126"/>
                  </a:lnTo>
                  <a:lnTo>
                    <a:pt x="3370" y="2138"/>
                  </a:lnTo>
                  <a:lnTo>
                    <a:pt x="3363" y="2143"/>
                  </a:lnTo>
                  <a:lnTo>
                    <a:pt x="3347" y="2143"/>
                  </a:lnTo>
                  <a:lnTo>
                    <a:pt x="3333" y="2138"/>
                  </a:lnTo>
                  <a:lnTo>
                    <a:pt x="3354" y="2150"/>
                  </a:lnTo>
                  <a:lnTo>
                    <a:pt x="3370" y="2176"/>
                  </a:lnTo>
                  <a:lnTo>
                    <a:pt x="3363" y="2183"/>
                  </a:lnTo>
                  <a:lnTo>
                    <a:pt x="3354" y="2176"/>
                  </a:lnTo>
                  <a:lnTo>
                    <a:pt x="3347" y="2192"/>
                  </a:lnTo>
                  <a:lnTo>
                    <a:pt x="3337" y="2176"/>
                  </a:lnTo>
                  <a:lnTo>
                    <a:pt x="3316" y="2199"/>
                  </a:lnTo>
                  <a:lnTo>
                    <a:pt x="3295" y="2199"/>
                  </a:lnTo>
                  <a:lnTo>
                    <a:pt x="3316" y="2204"/>
                  </a:lnTo>
                  <a:lnTo>
                    <a:pt x="3316" y="2216"/>
                  </a:lnTo>
                  <a:lnTo>
                    <a:pt x="3295" y="2232"/>
                  </a:lnTo>
                  <a:lnTo>
                    <a:pt x="3300" y="2249"/>
                  </a:lnTo>
                  <a:lnTo>
                    <a:pt x="3283" y="2258"/>
                  </a:lnTo>
                  <a:lnTo>
                    <a:pt x="3278" y="2254"/>
                  </a:lnTo>
                  <a:lnTo>
                    <a:pt x="3271" y="2254"/>
                  </a:lnTo>
                  <a:lnTo>
                    <a:pt x="3271" y="2258"/>
                  </a:lnTo>
                  <a:lnTo>
                    <a:pt x="3283" y="2270"/>
                  </a:lnTo>
                  <a:lnTo>
                    <a:pt x="3271" y="2270"/>
                  </a:lnTo>
                  <a:lnTo>
                    <a:pt x="3271" y="2287"/>
                  </a:lnTo>
                  <a:lnTo>
                    <a:pt x="3257" y="2287"/>
                  </a:lnTo>
                  <a:lnTo>
                    <a:pt x="3262" y="2310"/>
                  </a:lnTo>
                  <a:lnTo>
                    <a:pt x="3245" y="2315"/>
                  </a:lnTo>
                  <a:lnTo>
                    <a:pt x="3262" y="2294"/>
                  </a:lnTo>
                  <a:lnTo>
                    <a:pt x="3245" y="2294"/>
                  </a:lnTo>
                  <a:lnTo>
                    <a:pt x="3245" y="2310"/>
                  </a:lnTo>
                  <a:lnTo>
                    <a:pt x="3240" y="2294"/>
                  </a:lnTo>
                  <a:lnTo>
                    <a:pt x="3229" y="2294"/>
                  </a:lnTo>
                  <a:lnTo>
                    <a:pt x="3229" y="2303"/>
                  </a:lnTo>
                  <a:lnTo>
                    <a:pt x="3224" y="2294"/>
                  </a:lnTo>
                  <a:lnTo>
                    <a:pt x="3224" y="2310"/>
                  </a:lnTo>
                  <a:lnTo>
                    <a:pt x="3229" y="2310"/>
                  </a:lnTo>
                  <a:lnTo>
                    <a:pt x="3240" y="2327"/>
                  </a:lnTo>
                  <a:lnTo>
                    <a:pt x="3229" y="2315"/>
                  </a:lnTo>
                  <a:lnTo>
                    <a:pt x="3224" y="2327"/>
                  </a:lnTo>
                  <a:lnTo>
                    <a:pt x="3229" y="2332"/>
                  </a:lnTo>
                  <a:lnTo>
                    <a:pt x="3240" y="2327"/>
                  </a:lnTo>
                  <a:lnTo>
                    <a:pt x="3245" y="2327"/>
                  </a:lnTo>
                  <a:lnTo>
                    <a:pt x="3229" y="2332"/>
                  </a:lnTo>
                  <a:lnTo>
                    <a:pt x="3219" y="2360"/>
                  </a:lnTo>
                  <a:lnTo>
                    <a:pt x="3191" y="2343"/>
                  </a:lnTo>
                  <a:lnTo>
                    <a:pt x="3207" y="2360"/>
                  </a:lnTo>
                  <a:lnTo>
                    <a:pt x="3224" y="2348"/>
                  </a:lnTo>
                  <a:lnTo>
                    <a:pt x="3229" y="2360"/>
                  </a:lnTo>
                  <a:lnTo>
                    <a:pt x="3224" y="2365"/>
                  </a:lnTo>
                  <a:lnTo>
                    <a:pt x="3224" y="2381"/>
                  </a:lnTo>
                  <a:lnTo>
                    <a:pt x="3219" y="2381"/>
                  </a:lnTo>
                  <a:lnTo>
                    <a:pt x="3229" y="2402"/>
                  </a:lnTo>
                  <a:lnTo>
                    <a:pt x="3207" y="2386"/>
                  </a:lnTo>
                  <a:lnTo>
                    <a:pt x="3191" y="2402"/>
                  </a:lnTo>
                  <a:lnTo>
                    <a:pt x="3207" y="2414"/>
                  </a:lnTo>
                  <a:lnTo>
                    <a:pt x="3191" y="2426"/>
                  </a:lnTo>
                  <a:lnTo>
                    <a:pt x="3186" y="2419"/>
                  </a:lnTo>
                  <a:lnTo>
                    <a:pt x="3186" y="2414"/>
                  </a:lnTo>
                  <a:lnTo>
                    <a:pt x="3174" y="2414"/>
                  </a:lnTo>
                  <a:lnTo>
                    <a:pt x="3186" y="2419"/>
                  </a:lnTo>
                  <a:lnTo>
                    <a:pt x="3170" y="2426"/>
                  </a:lnTo>
                  <a:lnTo>
                    <a:pt x="3186" y="2438"/>
                  </a:lnTo>
                  <a:lnTo>
                    <a:pt x="3165" y="2443"/>
                  </a:lnTo>
                  <a:lnTo>
                    <a:pt x="3165" y="2438"/>
                  </a:lnTo>
                  <a:lnTo>
                    <a:pt x="3153" y="2443"/>
                  </a:lnTo>
                  <a:lnTo>
                    <a:pt x="3153" y="2454"/>
                  </a:lnTo>
                  <a:lnTo>
                    <a:pt x="3170" y="2454"/>
                  </a:lnTo>
                  <a:lnTo>
                    <a:pt x="3153" y="2471"/>
                  </a:lnTo>
                  <a:lnTo>
                    <a:pt x="3148" y="2459"/>
                  </a:lnTo>
                  <a:lnTo>
                    <a:pt x="3132" y="2471"/>
                  </a:lnTo>
                  <a:lnTo>
                    <a:pt x="3120" y="2459"/>
                  </a:lnTo>
                  <a:lnTo>
                    <a:pt x="3111" y="2471"/>
                  </a:lnTo>
                  <a:lnTo>
                    <a:pt x="3115" y="2471"/>
                  </a:lnTo>
                  <a:lnTo>
                    <a:pt x="3115" y="2476"/>
                  </a:lnTo>
                  <a:lnTo>
                    <a:pt x="3099" y="2476"/>
                  </a:lnTo>
                  <a:lnTo>
                    <a:pt x="3115" y="2476"/>
                  </a:lnTo>
                  <a:lnTo>
                    <a:pt x="3120" y="2492"/>
                  </a:lnTo>
                  <a:lnTo>
                    <a:pt x="3094" y="2513"/>
                  </a:lnTo>
                  <a:lnTo>
                    <a:pt x="3099" y="2509"/>
                  </a:lnTo>
                  <a:lnTo>
                    <a:pt x="3082" y="2525"/>
                  </a:lnTo>
                  <a:lnTo>
                    <a:pt x="3061" y="2530"/>
                  </a:lnTo>
                  <a:lnTo>
                    <a:pt x="3056" y="2537"/>
                  </a:lnTo>
                  <a:lnTo>
                    <a:pt x="3040" y="2530"/>
                  </a:lnTo>
                  <a:lnTo>
                    <a:pt x="3023" y="2563"/>
                  </a:lnTo>
                  <a:lnTo>
                    <a:pt x="3007" y="2554"/>
                  </a:lnTo>
                  <a:lnTo>
                    <a:pt x="3030" y="2570"/>
                  </a:lnTo>
                  <a:lnTo>
                    <a:pt x="3007" y="2570"/>
                  </a:lnTo>
                  <a:lnTo>
                    <a:pt x="3007" y="2587"/>
                  </a:lnTo>
                  <a:lnTo>
                    <a:pt x="2992" y="2591"/>
                  </a:lnTo>
                  <a:lnTo>
                    <a:pt x="2959" y="2603"/>
                  </a:lnTo>
                  <a:lnTo>
                    <a:pt x="2948" y="2591"/>
                  </a:lnTo>
                  <a:lnTo>
                    <a:pt x="2938" y="2591"/>
                  </a:lnTo>
                  <a:lnTo>
                    <a:pt x="2938" y="2608"/>
                  </a:lnTo>
                  <a:lnTo>
                    <a:pt x="2917" y="2603"/>
                  </a:lnTo>
                  <a:lnTo>
                    <a:pt x="2893" y="2608"/>
                  </a:lnTo>
                  <a:lnTo>
                    <a:pt x="2893" y="2620"/>
                  </a:lnTo>
                  <a:lnTo>
                    <a:pt x="2884" y="2620"/>
                  </a:lnTo>
                  <a:lnTo>
                    <a:pt x="2884" y="2603"/>
                  </a:lnTo>
                  <a:lnTo>
                    <a:pt x="2867" y="2608"/>
                  </a:lnTo>
                  <a:lnTo>
                    <a:pt x="2879" y="2624"/>
                  </a:lnTo>
                  <a:lnTo>
                    <a:pt x="2867" y="2624"/>
                  </a:lnTo>
                  <a:lnTo>
                    <a:pt x="2863" y="2620"/>
                  </a:lnTo>
                  <a:lnTo>
                    <a:pt x="2846" y="2620"/>
                  </a:lnTo>
                  <a:lnTo>
                    <a:pt x="2851" y="2624"/>
                  </a:lnTo>
                  <a:lnTo>
                    <a:pt x="2863" y="2624"/>
                  </a:lnTo>
                  <a:lnTo>
                    <a:pt x="2851" y="2636"/>
                  </a:lnTo>
                  <a:lnTo>
                    <a:pt x="2851" y="2641"/>
                  </a:lnTo>
                  <a:lnTo>
                    <a:pt x="2829" y="2636"/>
                  </a:lnTo>
                  <a:lnTo>
                    <a:pt x="2841" y="2624"/>
                  </a:lnTo>
                  <a:lnTo>
                    <a:pt x="2825" y="2624"/>
                  </a:lnTo>
                  <a:lnTo>
                    <a:pt x="2813" y="2603"/>
                  </a:lnTo>
                  <a:lnTo>
                    <a:pt x="2808" y="2591"/>
                  </a:lnTo>
                  <a:lnTo>
                    <a:pt x="2796" y="2580"/>
                  </a:lnTo>
                  <a:lnTo>
                    <a:pt x="2825" y="2580"/>
                  </a:lnTo>
                  <a:lnTo>
                    <a:pt x="2813" y="2570"/>
                  </a:lnTo>
                  <a:lnTo>
                    <a:pt x="2796" y="2580"/>
                  </a:lnTo>
                  <a:lnTo>
                    <a:pt x="2796" y="2591"/>
                  </a:lnTo>
                  <a:lnTo>
                    <a:pt x="2792" y="2591"/>
                  </a:lnTo>
                  <a:lnTo>
                    <a:pt x="2796" y="2620"/>
                  </a:lnTo>
                  <a:lnTo>
                    <a:pt x="2796" y="2641"/>
                  </a:lnTo>
                  <a:lnTo>
                    <a:pt x="2796" y="2653"/>
                  </a:lnTo>
                  <a:lnTo>
                    <a:pt x="2792" y="2653"/>
                  </a:lnTo>
                  <a:lnTo>
                    <a:pt x="2775" y="2620"/>
                  </a:lnTo>
                  <a:lnTo>
                    <a:pt x="2792" y="2653"/>
                  </a:lnTo>
                  <a:lnTo>
                    <a:pt x="2787" y="2653"/>
                  </a:lnTo>
                  <a:lnTo>
                    <a:pt x="2775" y="2658"/>
                  </a:lnTo>
                  <a:lnTo>
                    <a:pt x="2770" y="2658"/>
                  </a:lnTo>
                  <a:lnTo>
                    <a:pt x="2770" y="2641"/>
                  </a:lnTo>
                  <a:lnTo>
                    <a:pt x="2759" y="2674"/>
                  </a:lnTo>
                  <a:lnTo>
                    <a:pt x="2754" y="2665"/>
                  </a:lnTo>
                  <a:lnTo>
                    <a:pt x="2737" y="2681"/>
                  </a:lnTo>
                  <a:lnTo>
                    <a:pt x="2733" y="2674"/>
                  </a:lnTo>
                  <a:lnTo>
                    <a:pt x="2716" y="2681"/>
                  </a:lnTo>
                  <a:lnTo>
                    <a:pt x="2683" y="2665"/>
                  </a:lnTo>
                  <a:lnTo>
                    <a:pt x="2690" y="2681"/>
                  </a:lnTo>
                  <a:lnTo>
                    <a:pt x="2683" y="2691"/>
                  </a:lnTo>
                  <a:lnTo>
                    <a:pt x="2666" y="2674"/>
                  </a:lnTo>
                  <a:lnTo>
                    <a:pt x="2678" y="2691"/>
                  </a:lnTo>
                  <a:lnTo>
                    <a:pt x="2666" y="2698"/>
                  </a:lnTo>
                  <a:lnTo>
                    <a:pt x="2629" y="2707"/>
                  </a:lnTo>
                  <a:lnTo>
                    <a:pt x="2624" y="2698"/>
                  </a:lnTo>
                  <a:lnTo>
                    <a:pt x="2624" y="2707"/>
                  </a:lnTo>
                  <a:lnTo>
                    <a:pt x="2629" y="2698"/>
                  </a:lnTo>
                  <a:lnTo>
                    <a:pt x="2607" y="2707"/>
                  </a:lnTo>
                  <a:lnTo>
                    <a:pt x="2598" y="2714"/>
                  </a:lnTo>
                  <a:lnTo>
                    <a:pt x="2607" y="2707"/>
                  </a:lnTo>
                  <a:lnTo>
                    <a:pt x="2598" y="2707"/>
                  </a:lnTo>
                  <a:lnTo>
                    <a:pt x="2598" y="2719"/>
                  </a:lnTo>
                  <a:lnTo>
                    <a:pt x="2591" y="2719"/>
                  </a:lnTo>
                  <a:lnTo>
                    <a:pt x="2581" y="2719"/>
                  </a:lnTo>
                  <a:lnTo>
                    <a:pt x="2581" y="2707"/>
                  </a:lnTo>
                  <a:lnTo>
                    <a:pt x="2581" y="2719"/>
                  </a:lnTo>
                  <a:lnTo>
                    <a:pt x="2560" y="2736"/>
                  </a:lnTo>
                  <a:lnTo>
                    <a:pt x="2560" y="2747"/>
                  </a:lnTo>
                  <a:lnTo>
                    <a:pt x="2577" y="2747"/>
                  </a:lnTo>
                  <a:lnTo>
                    <a:pt x="2577" y="2764"/>
                  </a:lnTo>
                  <a:lnTo>
                    <a:pt x="2591" y="2776"/>
                  </a:lnTo>
                  <a:lnTo>
                    <a:pt x="2577" y="2792"/>
                  </a:lnTo>
                  <a:lnTo>
                    <a:pt x="2553" y="2792"/>
                  </a:lnTo>
                  <a:lnTo>
                    <a:pt x="2544" y="2792"/>
                  </a:lnTo>
                  <a:lnTo>
                    <a:pt x="2544" y="2785"/>
                  </a:lnTo>
                  <a:lnTo>
                    <a:pt x="2553" y="2776"/>
                  </a:lnTo>
                  <a:lnTo>
                    <a:pt x="2539" y="2764"/>
                  </a:lnTo>
                  <a:lnTo>
                    <a:pt x="2527" y="2747"/>
                  </a:lnTo>
                  <a:lnTo>
                    <a:pt x="2539" y="2714"/>
                  </a:lnTo>
                  <a:lnTo>
                    <a:pt x="2553" y="2707"/>
                  </a:lnTo>
                  <a:lnTo>
                    <a:pt x="2539" y="2707"/>
                  </a:lnTo>
                  <a:lnTo>
                    <a:pt x="2539" y="2691"/>
                  </a:lnTo>
                  <a:lnTo>
                    <a:pt x="2539" y="2698"/>
                  </a:lnTo>
                  <a:lnTo>
                    <a:pt x="2527" y="2698"/>
                  </a:lnTo>
                  <a:lnTo>
                    <a:pt x="2522" y="2681"/>
                  </a:lnTo>
                  <a:lnTo>
                    <a:pt x="2522" y="2691"/>
                  </a:lnTo>
                  <a:lnTo>
                    <a:pt x="2522" y="2698"/>
                  </a:lnTo>
                  <a:lnTo>
                    <a:pt x="2489" y="2707"/>
                  </a:lnTo>
                  <a:lnTo>
                    <a:pt x="2489" y="2691"/>
                  </a:lnTo>
                  <a:lnTo>
                    <a:pt x="2473" y="2681"/>
                  </a:lnTo>
                  <a:lnTo>
                    <a:pt x="2468" y="2674"/>
                  </a:lnTo>
                  <a:lnTo>
                    <a:pt x="2473" y="2691"/>
                  </a:lnTo>
                  <a:lnTo>
                    <a:pt x="2468" y="2691"/>
                  </a:lnTo>
                  <a:lnTo>
                    <a:pt x="2463" y="2665"/>
                  </a:lnTo>
                  <a:lnTo>
                    <a:pt x="2447" y="2665"/>
                  </a:lnTo>
                  <a:lnTo>
                    <a:pt x="2447" y="2674"/>
                  </a:lnTo>
                  <a:lnTo>
                    <a:pt x="2451" y="2681"/>
                  </a:lnTo>
                  <a:lnTo>
                    <a:pt x="2447" y="2691"/>
                  </a:lnTo>
                  <a:lnTo>
                    <a:pt x="2435" y="2698"/>
                  </a:lnTo>
                  <a:lnTo>
                    <a:pt x="2447" y="2691"/>
                  </a:lnTo>
                  <a:lnTo>
                    <a:pt x="2435" y="2681"/>
                  </a:lnTo>
                  <a:lnTo>
                    <a:pt x="2430" y="2698"/>
                  </a:lnTo>
                  <a:lnTo>
                    <a:pt x="2430" y="2691"/>
                  </a:lnTo>
                  <a:lnTo>
                    <a:pt x="2414" y="2698"/>
                  </a:lnTo>
                  <a:lnTo>
                    <a:pt x="2397" y="2691"/>
                  </a:lnTo>
                  <a:lnTo>
                    <a:pt x="2364" y="2691"/>
                  </a:lnTo>
                  <a:lnTo>
                    <a:pt x="2359" y="2681"/>
                  </a:lnTo>
                  <a:lnTo>
                    <a:pt x="2343" y="2674"/>
                  </a:lnTo>
                  <a:lnTo>
                    <a:pt x="2343" y="2665"/>
                  </a:lnTo>
                  <a:lnTo>
                    <a:pt x="2322" y="2658"/>
                  </a:lnTo>
                  <a:lnTo>
                    <a:pt x="2322" y="2641"/>
                  </a:lnTo>
                  <a:lnTo>
                    <a:pt x="2312" y="2624"/>
                  </a:lnTo>
                  <a:lnTo>
                    <a:pt x="2326" y="2603"/>
                  </a:lnTo>
                  <a:lnTo>
                    <a:pt x="2322" y="2591"/>
                  </a:lnTo>
                  <a:lnTo>
                    <a:pt x="2305" y="2587"/>
                  </a:lnTo>
                  <a:lnTo>
                    <a:pt x="2289" y="2591"/>
                  </a:lnTo>
                  <a:lnTo>
                    <a:pt x="2284" y="2587"/>
                  </a:lnTo>
                  <a:lnTo>
                    <a:pt x="2258" y="2591"/>
                  </a:lnTo>
                  <a:lnTo>
                    <a:pt x="2241" y="2580"/>
                  </a:lnTo>
                  <a:lnTo>
                    <a:pt x="2229" y="2563"/>
                  </a:lnTo>
                  <a:lnTo>
                    <a:pt x="2199" y="2570"/>
                  </a:lnTo>
                  <a:lnTo>
                    <a:pt x="2182" y="2603"/>
                  </a:lnTo>
                  <a:lnTo>
                    <a:pt x="2175" y="2591"/>
                  </a:lnTo>
                  <a:lnTo>
                    <a:pt x="2161" y="2608"/>
                  </a:lnTo>
                  <a:lnTo>
                    <a:pt x="2149" y="2603"/>
                  </a:lnTo>
                  <a:lnTo>
                    <a:pt x="2149" y="2591"/>
                  </a:lnTo>
                  <a:lnTo>
                    <a:pt x="2133" y="2603"/>
                  </a:lnTo>
                  <a:lnTo>
                    <a:pt x="2128" y="2624"/>
                  </a:lnTo>
                  <a:lnTo>
                    <a:pt x="2107" y="2603"/>
                  </a:lnTo>
                  <a:lnTo>
                    <a:pt x="2095" y="2620"/>
                  </a:lnTo>
                  <a:lnTo>
                    <a:pt x="2078" y="2603"/>
                  </a:lnTo>
                  <a:lnTo>
                    <a:pt x="2069" y="2624"/>
                  </a:lnTo>
                  <a:lnTo>
                    <a:pt x="2024" y="2603"/>
                  </a:lnTo>
                  <a:lnTo>
                    <a:pt x="2003" y="2636"/>
                  </a:lnTo>
                  <a:lnTo>
                    <a:pt x="1972" y="2624"/>
                  </a:lnTo>
                  <a:lnTo>
                    <a:pt x="1960" y="2641"/>
                  </a:lnTo>
                  <a:lnTo>
                    <a:pt x="1965" y="2665"/>
                  </a:lnTo>
                  <a:lnTo>
                    <a:pt x="1972" y="2674"/>
                  </a:lnTo>
                  <a:lnTo>
                    <a:pt x="1972" y="2714"/>
                  </a:lnTo>
                  <a:lnTo>
                    <a:pt x="1981" y="2719"/>
                  </a:lnTo>
                  <a:lnTo>
                    <a:pt x="1972" y="2731"/>
                  </a:lnTo>
                  <a:lnTo>
                    <a:pt x="1960" y="2719"/>
                  </a:lnTo>
                  <a:lnTo>
                    <a:pt x="1944" y="2719"/>
                  </a:lnTo>
                  <a:lnTo>
                    <a:pt x="1934" y="2691"/>
                  </a:lnTo>
                  <a:lnTo>
                    <a:pt x="1927" y="2681"/>
                  </a:lnTo>
                  <a:lnTo>
                    <a:pt x="1889" y="2707"/>
                  </a:lnTo>
                  <a:lnTo>
                    <a:pt x="1880" y="2698"/>
                  </a:lnTo>
                  <a:lnTo>
                    <a:pt x="1863" y="2707"/>
                  </a:lnTo>
                  <a:lnTo>
                    <a:pt x="1859" y="2698"/>
                  </a:lnTo>
                  <a:lnTo>
                    <a:pt x="1859" y="2691"/>
                  </a:lnTo>
                  <a:lnTo>
                    <a:pt x="1851" y="2681"/>
                  </a:lnTo>
                  <a:lnTo>
                    <a:pt x="1851" y="2658"/>
                  </a:lnTo>
                  <a:lnTo>
                    <a:pt x="1788" y="2653"/>
                  </a:lnTo>
                  <a:lnTo>
                    <a:pt x="1809" y="2624"/>
                  </a:lnTo>
                  <a:lnTo>
                    <a:pt x="1804" y="2608"/>
                  </a:lnTo>
                  <a:lnTo>
                    <a:pt x="1821" y="2587"/>
                  </a:lnTo>
                  <a:lnTo>
                    <a:pt x="1821" y="2580"/>
                  </a:lnTo>
                  <a:lnTo>
                    <a:pt x="1788" y="2580"/>
                  </a:lnTo>
                  <a:lnTo>
                    <a:pt x="1771" y="2570"/>
                  </a:lnTo>
                  <a:lnTo>
                    <a:pt x="1771" y="2554"/>
                  </a:lnTo>
                  <a:lnTo>
                    <a:pt x="1766" y="2547"/>
                  </a:lnTo>
                  <a:lnTo>
                    <a:pt x="1766" y="2530"/>
                  </a:lnTo>
                  <a:lnTo>
                    <a:pt x="1755" y="2525"/>
                  </a:lnTo>
                  <a:lnTo>
                    <a:pt x="1755" y="2513"/>
                  </a:lnTo>
                  <a:lnTo>
                    <a:pt x="1771" y="2497"/>
                  </a:lnTo>
                  <a:lnTo>
                    <a:pt x="1717" y="2497"/>
                  </a:lnTo>
                  <a:lnTo>
                    <a:pt x="1691" y="2525"/>
                  </a:lnTo>
                  <a:lnTo>
                    <a:pt x="1679" y="2513"/>
                  </a:lnTo>
                  <a:lnTo>
                    <a:pt x="1696" y="2497"/>
                  </a:lnTo>
                  <a:lnTo>
                    <a:pt x="1691" y="2476"/>
                  </a:lnTo>
                  <a:lnTo>
                    <a:pt x="1679" y="2476"/>
                  </a:lnTo>
                  <a:lnTo>
                    <a:pt x="1679" y="2454"/>
                  </a:lnTo>
                  <a:lnTo>
                    <a:pt x="1696" y="2438"/>
                  </a:lnTo>
                  <a:lnTo>
                    <a:pt x="1696" y="2414"/>
                  </a:lnTo>
                  <a:lnTo>
                    <a:pt x="1700" y="2419"/>
                  </a:lnTo>
                  <a:lnTo>
                    <a:pt x="1712" y="2414"/>
                  </a:lnTo>
                  <a:lnTo>
                    <a:pt x="1729" y="2386"/>
                  </a:lnTo>
                  <a:lnTo>
                    <a:pt x="1733" y="2386"/>
                  </a:lnTo>
                  <a:lnTo>
                    <a:pt x="1750" y="2365"/>
                  </a:lnTo>
                  <a:lnTo>
                    <a:pt x="1755" y="2365"/>
                  </a:lnTo>
                  <a:lnTo>
                    <a:pt x="1750" y="2348"/>
                  </a:lnTo>
                  <a:lnTo>
                    <a:pt x="1766" y="2343"/>
                  </a:lnTo>
                  <a:lnTo>
                    <a:pt x="1766" y="2294"/>
                  </a:lnTo>
                  <a:lnTo>
                    <a:pt x="1755" y="2237"/>
                  </a:lnTo>
                  <a:lnTo>
                    <a:pt x="1745" y="2232"/>
                  </a:lnTo>
                  <a:lnTo>
                    <a:pt x="1733" y="2237"/>
                  </a:lnTo>
                  <a:lnTo>
                    <a:pt x="1717" y="2192"/>
                  </a:lnTo>
                  <a:lnTo>
                    <a:pt x="1712" y="2183"/>
                  </a:lnTo>
                  <a:lnTo>
                    <a:pt x="1679" y="2159"/>
                  </a:lnTo>
                  <a:lnTo>
                    <a:pt x="1674" y="2176"/>
                  </a:lnTo>
                  <a:lnTo>
                    <a:pt x="1663" y="2183"/>
                  </a:lnTo>
                  <a:lnTo>
                    <a:pt x="1646" y="2176"/>
                  </a:lnTo>
                  <a:lnTo>
                    <a:pt x="1641" y="2176"/>
                  </a:lnTo>
                  <a:lnTo>
                    <a:pt x="1620" y="2166"/>
                  </a:lnTo>
                  <a:lnTo>
                    <a:pt x="1594" y="2176"/>
                  </a:lnTo>
                  <a:lnTo>
                    <a:pt x="1594" y="2159"/>
                  </a:lnTo>
                  <a:lnTo>
                    <a:pt x="1608" y="2143"/>
                  </a:lnTo>
                  <a:lnTo>
                    <a:pt x="1603" y="2121"/>
                  </a:lnTo>
                  <a:lnTo>
                    <a:pt x="1582" y="2126"/>
                  </a:lnTo>
                  <a:lnTo>
                    <a:pt x="1582" y="2121"/>
                  </a:lnTo>
                  <a:lnTo>
                    <a:pt x="1594" y="2105"/>
                  </a:lnTo>
                  <a:lnTo>
                    <a:pt x="1587" y="2105"/>
                  </a:lnTo>
                  <a:lnTo>
                    <a:pt x="1570" y="2088"/>
                  </a:lnTo>
                  <a:lnTo>
                    <a:pt x="1540" y="2105"/>
                  </a:lnTo>
                  <a:lnTo>
                    <a:pt x="1528" y="2121"/>
                  </a:lnTo>
                  <a:lnTo>
                    <a:pt x="1485" y="2110"/>
                  </a:lnTo>
                  <a:lnTo>
                    <a:pt x="1474" y="2093"/>
                  </a:lnTo>
                  <a:lnTo>
                    <a:pt x="1448" y="2121"/>
                  </a:lnTo>
                  <a:lnTo>
                    <a:pt x="1426" y="2150"/>
                  </a:lnTo>
                  <a:lnTo>
                    <a:pt x="1389" y="2150"/>
                  </a:lnTo>
                  <a:lnTo>
                    <a:pt x="1372" y="2176"/>
                  </a:lnTo>
                  <a:lnTo>
                    <a:pt x="1339" y="2192"/>
                  </a:lnTo>
                  <a:lnTo>
                    <a:pt x="1339" y="2204"/>
                  </a:lnTo>
                  <a:lnTo>
                    <a:pt x="1322" y="2216"/>
                  </a:lnTo>
                  <a:lnTo>
                    <a:pt x="1313" y="2216"/>
                  </a:lnTo>
                  <a:lnTo>
                    <a:pt x="1285" y="2221"/>
                  </a:lnTo>
                  <a:lnTo>
                    <a:pt x="1263" y="2221"/>
                  </a:lnTo>
                  <a:lnTo>
                    <a:pt x="1263" y="2204"/>
                  </a:lnTo>
                  <a:lnTo>
                    <a:pt x="1242" y="2199"/>
                  </a:lnTo>
                  <a:lnTo>
                    <a:pt x="1226" y="2204"/>
                  </a:lnTo>
                  <a:lnTo>
                    <a:pt x="1178" y="2199"/>
                  </a:lnTo>
                  <a:lnTo>
                    <a:pt x="1178" y="2183"/>
                  </a:lnTo>
                  <a:lnTo>
                    <a:pt x="1150" y="2176"/>
                  </a:lnTo>
                  <a:lnTo>
                    <a:pt x="1117" y="2199"/>
                  </a:lnTo>
                  <a:lnTo>
                    <a:pt x="1070" y="2254"/>
                  </a:lnTo>
                  <a:lnTo>
                    <a:pt x="1065" y="2237"/>
                  </a:lnTo>
                  <a:lnTo>
                    <a:pt x="1070" y="2216"/>
                  </a:lnTo>
                  <a:lnTo>
                    <a:pt x="1070" y="2199"/>
                  </a:lnTo>
                  <a:lnTo>
                    <a:pt x="1053" y="2192"/>
                  </a:lnTo>
                  <a:lnTo>
                    <a:pt x="1041" y="2199"/>
                  </a:lnTo>
                  <a:lnTo>
                    <a:pt x="1015" y="2204"/>
                  </a:lnTo>
                  <a:lnTo>
                    <a:pt x="1015" y="2216"/>
                  </a:lnTo>
                  <a:lnTo>
                    <a:pt x="999" y="2204"/>
                  </a:lnTo>
                  <a:lnTo>
                    <a:pt x="989" y="2216"/>
                  </a:lnTo>
                  <a:lnTo>
                    <a:pt x="956" y="2216"/>
                  </a:lnTo>
                  <a:lnTo>
                    <a:pt x="918" y="2192"/>
                  </a:lnTo>
                  <a:lnTo>
                    <a:pt x="907" y="2192"/>
                  </a:lnTo>
                  <a:lnTo>
                    <a:pt x="902" y="2204"/>
                  </a:lnTo>
                  <a:lnTo>
                    <a:pt x="885" y="2199"/>
                  </a:lnTo>
                  <a:lnTo>
                    <a:pt x="885" y="2192"/>
                  </a:lnTo>
                  <a:lnTo>
                    <a:pt x="881" y="2192"/>
                  </a:lnTo>
                  <a:lnTo>
                    <a:pt x="881" y="2204"/>
                  </a:lnTo>
                  <a:lnTo>
                    <a:pt x="869" y="2204"/>
                  </a:lnTo>
                  <a:lnTo>
                    <a:pt x="864" y="2192"/>
                  </a:lnTo>
                  <a:lnTo>
                    <a:pt x="848" y="2183"/>
                  </a:lnTo>
                  <a:lnTo>
                    <a:pt x="810" y="2176"/>
                  </a:lnTo>
                  <a:lnTo>
                    <a:pt x="810" y="2150"/>
                  </a:lnTo>
                  <a:lnTo>
                    <a:pt x="800" y="2150"/>
                  </a:lnTo>
                  <a:lnTo>
                    <a:pt x="784" y="2159"/>
                  </a:lnTo>
                  <a:lnTo>
                    <a:pt x="763" y="2143"/>
                  </a:lnTo>
                  <a:lnTo>
                    <a:pt x="746" y="2126"/>
                  </a:lnTo>
                  <a:lnTo>
                    <a:pt x="739" y="2105"/>
                  </a:lnTo>
                  <a:lnTo>
                    <a:pt x="725" y="2105"/>
                  </a:lnTo>
                  <a:lnTo>
                    <a:pt x="708" y="2110"/>
                  </a:lnTo>
                  <a:lnTo>
                    <a:pt x="701" y="2110"/>
                  </a:lnTo>
                  <a:lnTo>
                    <a:pt x="670" y="2072"/>
                  </a:lnTo>
                  <a:lnTo>
                    <a:pt x="649" y="2072"/>
                  </a:lnTo>
                  <a:lnTo>
                    <a:pt x="616" y="2039"/>
                  </a:lnTo>
                  <a:lnTo>
                    <a:pt x="600" y="2039"/>
                  </a:lnTo>
                  <a:lnTo>
                    <a:pt x="595" y="2015"/>
                  </a:lnTo>
                  <a:lnTo>
                    <a:pt x="545" y="2015"/>
                  </a:lnTo>
                  <a:lnTo>
                    <a:pt x="545" y="2032"/>
                  </a:lnTo>
                  <a:lnTo>
                    <a:pt x="529" y="2039"/>
                  </a:lnTo>
                  <a:lnTo>
                    <a:pt x="524" y="2039"/>
                  </a:lnTo>
                  <a:lnTo>
                    <a:pt x="524" y="2032"/>
                  </a:lnTo>
                  <a:lnTo>
                    <a:pt x="524" y="2032"/>
                  </a:lnTo>
                  <a:lnTo>
                    <a:pt x="524" y="2032"/>
                  </a:lnTo>
                  <a:close/>
                  <a:moveTo>
                    <a:pt x="3354" y="1278"/>
                  </a:moveTo>
                  <a:lnTo>
                    <a:pt x="3337" y="1278"/>
                  </a:lnTo>
                  <a:lnTo>
                    <a:pt x="3354" y="1273"/>
                  </a:lnTo>
                  <a:lnTo>
                    <a:pt x="3354" y="1278"/>
                  </a:lnTo>
                  <a:lnTo>
                    <a:pt x="3354" y="1278"/>
                  </a:lnTo>
                  <a:lnTo>
                    <a:pt x="3354" y="1278"/>
                  </a:lnTo>
                  <a:close/>
                  <a:moveTo>
                    <a:pt x="3229" y="1866"/>
                  </a:moveTo>
                  <a:lnTo>
                    <a:pt x="3240" y="1866"/>
                  </a:lnTo>
                  <a:lnTo>
                    <a:pt x="3245" y="1883"/>
                  </a:lnTo>
                  <a:lnTo>
                    <a:pt x="3229" y="1866"/>
                  </a:lnTo>
                  <a:lnTo>
                    <a:pt x="3229" y="1866"/>
                  </a:lnTo>
                  <a:lnTo>
                    <a:pt x="3229" y="1866"/>
                  </a:lnTo>
                  <a:close/>
                  <a:moveTo>
                    <a:pt x="3337" y="1904"/>
                  </a:moveTo>
                  <a:lnTo>
                    <a:pt x="3347" y="1899"/>
                  </a:lnTo>
                  <a:lnTo>
                    <a:pt x="3385" y="1928"/>
                  </a:lnTo>
                  <a:lnTo>
                    <a:pt x="3363" y="1921"/>
                  </a:lnTo>
                  <a:lnTo>
                    <a:pt x="3337" y="1904"/>
                  </a:lnTo>
                  <a:lnTo>
                    <a:pt x="3337" y="1904"/>
                  </a:lnTo>
                  <a:lnTo>
                    <a:pt x="3337" y="1904"/>
                  </a:lnTo>
                  <a:close/>
                  <a:moveTo>
                    <a:pt x="3401" y="2027"/>
                  </a:moveTo>
                  <a:lnTo>
                    <a:pt x="3408" y="2015"/>
                  </a:lnTo>
                  <a:lnTo>
                    <a:pt x="3408" y="2027"/>
                  </a:lnTo>
                  <a:lnTo>
                    <a:pt x="3401" y="2027"/>
                  </a:lnTo>
                  <a:lnTo>
                    <a:pt x="3401" y="2027"/>
                  </a:lnTo>
                  <a:lnTo>
                    <a:pt x="3401" y="2027"/>
                  </a:lnTo>
                  <a:close/>
                  <a:moveTo>
                    <a:pt x="3392" y="2039"/>
                  </a:moveTo>
                  <a:lnTo>
                    <a:pt x="3392" y="2032"/>
                  </a:lnTo>
                  <a:lnTo>
                    <a:pt x="3401" y="2032"/>
                  </a:lnTo>
                  <a:lnTo>
                    <a:pt x="3418" y="2039"/>
                  </a:lnTo>
                  <a:lnTo>
                    <a:pt x="3418" y="2048"/>
                  </a:lnTo>
                  <a:lnTo>
                    <a:pt x="3392" y="2039"/>
                  </a:lnTo>
                  <a:lnTo>
                    <a:pt x="3392" y="2039"/>
                  </a:lnTo>
                  <a:lnTo>
                    <a:pt x="3392" y="2039"/>
                  </a:lnTo>
                  <a:close/>
                  <a:moveTo>
                    <a:pt x="3385" y="2039"/>
                  </a:moveTo>
                  <a:lnTo>
                    <a:pt x="3385" y="2048"/>
                  </a:lnTo>
                  <a:lnTo>
                    <a:pt x="3385" y="2039"/>
                  </a:lnTo>
                  <a:lnTo>
                    <a:pt x="3385" y="2039"/>
                  </a:lnTo>
                  <a:lnTo>
                    <a:pt x="3385" y="2039"/>
                  </a:lnTo>
                  <a:close/>
                  <a:moveTo>
                    <a:pt x="3418" y="2048"/>
                  </a:moveTo>
                  <a:lnTo>
                    <a:pt x="3422" y="2048"/>
                  </a:lnTo>
                  <a:lnTo>
                    <a:pt x="3422" y="2055"/>
                  </a:lnTo>
                  <a:lnTo>
                    <a:pt x="3418" y="2048"/>
                  </a:lnTo>
                  <a:lnTo>
                    <a:pt x="3418" y="2048"/>
                  </a:lnTo>
                  <a:lnTo>
                    <a:pt x="3418" y="2048"/>
                  </a:lnTo>
                  <a:close/>
                  <a:moveTo>
                    <a:pt x="3401" y="2072"/>
                  </a:moveTo>
                  <a:lnTo>
                    <a:pt x="3392" y="2065"/>
                  </a:lnTo>
                  <a:lnTo>
                    <a:pt x="3401" y="2065"/>
                  </a:lnTo>
                  <a:lnTo>
                    <a:pt x="3408" y="2072"/>
                  </a:lnTo>
                  <a:lnTo>
                    <a:pt x="3401" y="2072"/>
                  </a:lnTo>
                  <a:lnTo>
                    <a:pt x="3401" y="2072"/>
                  </a:lnTo>
                  <a:lnTo>
                    <a:pt x="3401" y="2072"/>
                  </a:lnTo>
                  <a:close/>
                  <a:moveTo>
                    <a:pt x="3385" y="2121"/>
                  </a:moveTo>
                  <a:lnTo>
                    <a:pt x="3385" y="2110"/>
                  </a:lnTo>
                  <a:lnTo>
                    <a:pt x="3392" y="2110"/>
                  </a:lnTo>
                  <a:lnTo>
                    <a:pt x="3385" y="2121"/>
                  </a:lnTo>
                  <a:lnTo>
                    <a:pt x="3385" y="2121"/>
                  </a:lnTo>
                  <a:lnTo>
                    <a:pt x="3385" y="2121"/>
                  </a:lnTo>
                  <a:close/>
                  <a:moveTo>
                    <a:pt x="3333" y="2192"/>
                  </a:moveTo>
                  <a:lnTo>
                    <a:pt x="3337" y="2183"/>
                  </a:lnTo>
                  <a:lnTo>
                    <a:pt x="3337" y="2192"/>
                  </a:lnTo>
                  <a:lnTo>
                    <a:pt x="3337" y="2199"/>
                  </a:lnTo>
                  <a:lnTo>
                    <a:pt x="3333" y="2192"/>
                  </a:lnTo>
                  <a:lnTo>
                    <a:pt x="3333" y="2192"/>
                  </a:lnTo>
                  <a:lnTo>
                    <a:pt x="3333" y="2192"/>
                  </a:lnTo>
                  <a:close/>
                  <a:moveTo>
                    <a:pt x="3229" y="2398"/>
                  </a:moveTo>
                  <a:lnTo>
                    <a:pt x="3229" y="2386"/>
                  </a:lnTo>
                  <a:lnTo>
                    <a:pt x="3240" y="2381"/>
                  </a:lnTo>
                  <a:lnTo>
                    <a:pt x="3240" y="2386"/>
                  </a:lnTo>
                  <a:lnTo>
                    <a:pt x="3240" y="2402"/>
                  </a:lnTo>
                  <a:lnTo>
                    <a:pt x="3229" y="2398"/>
                  </a:lnTo>
                  <a:lnTo>
                    <a:pt x="3229" y="2398"/>
                  </a:lnTo>
                  <a:lnTo>
                    <a:pt x="3229" y="2398"/>
                  </a:lnTo>
                  <a:close/>
                  <a:moveTo>
                    <a:pt x="3115" y="2476"/>
                  </a:moveTo>
                  <a:lnTo>
                    <a:pt x="3120" y="2471"/>
                  </a:lnTo>
                  <a:lnTo>
                    <a:pt x="3115" y="2476"/>
                  </a:lnTo>
                  <a:lnTo>
                    <a:pt x="3115" y="2476"/>
                  </a:lnTo>
                  <a:lnTo>
                    <a:pt x="3115" y="2476"/>
                  </a:lnTo>
                  <a:close/>
                  <a:moveTo>
                    <a:pt x="3077" y="2530"/>
                  </a:moveTo>
                  <a:lnTo>
                    <a:pt x="3068" y="2537"/>
                  </a:lnTo>
                  <a:lnTo>
                    <a:pt x="3061" y="2537"/>
                  </a:lnTo>
                  <a:lnTo>
                    <a:pt x="3068" y="2525"/>
                  </a:lnTo>
                  <a:lnTo>
                    <a:pt x="3077" y="2530"/>
                  </a:lnTo>
                  <a:lnTo>
                    <a:pt x="3077" y="2530"/>
                  </a:lnTo>
                  <a:lnTo>
                    <a:pt x="3077" y="2530"/>
                  </a:lnTo>
                  <a:close/>
                  <a:moveTo>
                    <a:pt x="3056" y="2547"/>
                  </a:moveTo>
                  <a:lnTo>
                    <a:pt x="3056" y="2554"/>
                  </a:lnTo>
                  <a:lnTo>
                    <a:pt x="3040" y="2554"/>
                  </a:lnTo>
                  <a:lnTo>
                    <a:pt x="3056" y="2547"/>
                  </a:lnTo>
                  <a:lnTo>
                    <a:pt x="3056" y="2547"/>
                  </a:lnTo>
                  <a:lnTo>
                    <a:pt x="3056" y="2547"/>
                  </a:lnTo>
                  <a:close/>
                  <a:moveTo>
                    <a:pt x="2846" y="2641"/>
                  </a:moveTo>
                  <a:lnTo>
                    <a:pt x="2851" y="2641"/>
                  </a:lnTo>
                  <a:lnTo>
                    <a:pt x="2846" y="2641"/>
                  </a:lnTo>
                  <a:lnTo>
                    <a:pt x="2846" y="2641"/>
                  </a:lnTo>
                  <a:lnTo>
                    <a:pt x="2846" y="2641"/>
                  </a:lnTo>
                  <a:close/>
                  <a:moveTo>
                    <a:pt x="2792" y="2658"/>
                  </a:moveTo>
                  <a:lnTo>
                    <a:pt x="2787" y="2658"/>
                  </a:lnTo>
                  <a:lnTo>
                    <a:pt x="2792" y="2658"/>
                  </a:lnTo>
                  <a:lnTo>
                    <a:pt x="2792" y="2658"/>
                  </a:lnTo>
                  <a:lnTo>
                    <a:pt x="2792" y="2658"/>
                  </a:lnTo>
                  <a:close/>
                  <a:moveTo>
                    <a:pt x="2742" y="2691"/>
                  </a:moveTo>
                  <a:lnTo>
                    <a:pt x="2742" y="2681"/>
                  </a:lnTo>
                  <a:lnTo>
                    <a:pt x="2754" y="2681"/>
                  </a:lnTo>
                  <a:lnTo>
                    <a:pt x="2742" y="2691"/>
                  </a:lnTo>
                  <a:lnTo>
                    <a:pt x="2742" y="2691"/>
                  </a:lnTo>
                  <a:lnTo>
                    <a:pt x="2742" y="2691"/>
                  </a:lnTo>
                  <a:close/>
                  <a:moveTo>
                    <a:pt x="2683" y="2698"/>
                  </a:moveTo>
                  <a:lnTo>
                    <a:pt x="2683" y="2691"/>
                  </a:lnTo>
                  <a:lnTo>
                    <a:pt x="2690" y="2691"/>
                  </a:lnTo>
                  <a:lnTo>
                    <a:pt x="2683" y="2698"/>
                  </a:lnTo>
                  <a:lnTo>
                    <a:pt x="2683" y="2698"/>
                  </a:lnTo>
                  <a:lnTo>
                    <a:pt x="2683" y="2698"/>
                  </a:lnTo>
                  <a:close/>
                  <a:moveTo>
                    <a:pt x="2591" y="2719"/>
                  </a:moveTo>
                  <a:lnTo>
                    <a:pt x="2598" y="2719"/>
                  </a:lnTo>
                  <a:lnTo>
                    <a:pt x="2591" y="2731"/>
                  </a:lnTo>
                  <a:lnTo>
                    <a:pt x="2581" y="2719"/>
                  </a:lnTo>
                  <a:lnTo>
                    <a:pt x="2591" y="2719"/>
                  </a:lnTo>
                  <a:lnTo>
                    <a:pt x="2591" y="2719"/>
                  </a:lnTo>
                  <a:lnTo>
                    <a:pt x="2591" y="2719"/>
                  </a:lnTo>
                  <a:close/>
                  <a:moveTo>
                    <a:pt x="2581" y="2731"/>
                  </a:moveTo>
                  <a:lnTo>
                    <a:pt x="2591" y="2731"/>
                  </a:lnTo>
                  <a:lnTo>
                    <a:pt x="2591" y="2736"/>
                  </a:lnTo>
                  <a:lnTo>
                    <a:pt x="2570" y="2736"/>
                  </a:lnTo>
                  <a:lnTo>
                    <a:pt x="2570" y="2731"/>
                  </a:lnTo>
                  <a:lnTo>
                    <a:pt x="2581" y="2731"/>
                  </a:lnTo>
                  <a:lnTo>
                    <a:pt x="2581" y="2731"/>
                  </a:lnTo>
                  <a:lnTo>
                    <a:pt x="2581" y="2731"/>
                  </a:lnTo>
                  <a:close/>
                  <a:moveTo>
                    <a:pt x="2527" y="2941"/>
                  </a:moveTo>
                  <a:lnTo>
                    <a:pt x="2522" y="2953"/>
                  </a:lnTo>
                  <a:lnTo>
                    <a:pt x="2515" y="2941"/>
                  </a:lnTo>
                  <a:lnTo>
                    <a:pt x="2463" y="2920"/>
                  </a:lnTo>
                  <a:lnTo>
                    <a:pt x="2451" y="2880"/>
                  </a:lnTo>
                  <a:lnTo>
                    <a:pt x="2463" y="2858"/>
                  </a:lnTo>
                  <a:lnTo>
                    <a:pt x="2506" y="2830"/>
                  </a:lnTo>
                  <a:lnTo>
                    <a:pt x="2489" y="2830"/>
                  </a:lnTo>
                  <a:lnTo>
                    <a:pt x="2506" y="2818"/>
                  </a:lnTo>
                  <a:lnTo>
                    <a:pt x="2515" y="2825"/>
                  </a:lnTo>
                  <a:lnTo>
                    <a:pt x="2522" y="2809"/>
                  </a:lnTo>
                  <a:lnTo>
                    <a:pt x="2553" y="2818"/>
                  </a:lnTo>
                  <a:lnTo>
                    <a:pt x="2560" y="2809"/>
                  </a:lnTo>
                  <a:lnTo>
                    <a:pt x="2591" y="2809"/>
                  </a:lnTo>
                  <a:lnTo>
                    <a:pt x="2598" y="2802"/>
                  </a:lnTo>
                  <a:lnTo>
                    <a:pt x="2607" y="2809"/>
                  </a:lnTo>
                  <a:lnTo>
                    <a:pt x="2614" y="2809"/>
                  </a:lnTo>
                  <a:lnTo>
                    <a:pt x="2624" y="2842"/>
                  </a:lnTo>
                  <a:lnTo>
                    <a:pt x="2607" y="2847"/>
                  </a:lnTo>
                  <a:lnTo>
                    <a:pt x="2591" y="2875"/>
                  </a:lnTo>
                  <a:lnTo>
                    <a:pt x="2581" y="2875"/>
                  </a:lnTo>
                  <a:lnTo>
                    <a:pt x="2591" y="2880"/>
                  </a:lnTo>
                  <a:lnTo>
                    <a:pt x="2591" y="2901"/>
                  </a:lnTo>
                  <a:lnTo>
                    <a:pt x="2560" y="2920"/>
                  </a:lnTo>
                  <a:lnTo>
                    <a:pt x="2553" y="2936"/>
                  </a:lnTo>
                  <a:lnTo>
                    <a:pt x="2539" y="2936"/>
                  </a:lnTo>
                  <a:lnTo>
                    <a:pt x="2527" y="2941"/>
                  </a:lnTo>
                  <a:lnTo>
                    <a:pt x="2527" y="2941"/>
                  </a:lnTo>
                  <a:lnTo>
                    <a:pt x="2527" y="294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70" name="Freeform 467">
              <a:extLst>
                <a:ext uri="{FF2B5EF4-FFF2-40B4-BE49-F238E27FC236}">
                  <a16:creationId xmlns:a16="http://schemas.microsoft.com/office/drawing/2014/main" id="{E5889363-91C6-4456-BD41-1D0DAEA661CD}"/>
                </a:ext>
              </a:extLst>
            </p:cNvPr>
            <p:cNvSpPr>
              <a:spLocks noEditPoints="1"/>
            </p:cNvSpPr>
            <p:nvPr/>
          </p:nvSpPr>
          <p:spPr bwMode="gray">
            <a:xfrm>
              <a:off x="9476192" y="3888436"/>
              <a:ext cx="1322696" cy="501058"/>
            </a:xfrm>
            <a:custGeom>
              <a:avLst/>
              <a:gdLst>
                <a:gd name="T0" fmla="*/ 647 w 3213"/>
                <a:gd name="T1" fmla="*/ 629 h 1217"/>
                <a:gd name="T2" fmla="*/ 392 w 3213"/>
                <a:gd name="T3" fmla="*/ 600 h 1217"/>
                <a:gd name="T4" fmla="*/ 123 w 3213"/>
                <a:gd name="T5" fmla="*/ 52 h 1217"/>
                <a:gd name="T6" fmla="*/ 2213 w 3213"/>
                <a:gd name="T7" fmla="*/ 123 h 1217"/>
                <a:gd name="T8" fmla="*/ 1403 w 3213"/>
                <a:gd name="T9" fmla="*/ 206 h 1217"/>
                <a:gd name="T10" fmla="*/ 1592 w 3213"/>
                <a:gd name="T11" fmla="*/ 345 h 1217"/>
                <a:gd name="T12" fmla="*/ 1365 w 3213"/>
                <a:gd name="T13" fmla="*/ 733 h 1217"/>
                <a:gd name="T14" fmla="*/ 1042 w 3213"/>
                <a:gd name="T15" fmla="*/ 527 h 1217"/>
                <a:gd name="T16" fmla="*/ 895 w 3213"/>
                <a:gd name="T17" fmla="*/ 152 h 1217"/>
                <a:gd name="T18" fmla="*/ 1545 w 3213"/>
                <a:gd name="T19" fmla="*/ 180 h 1217"/>
                <a:gd name="T20" fmla="*/ 735 w 3213"/>
                <a:gd name="T21" fmla="*/ 222 h 1217"/>
                <a:gd name="T22" fmla="*/ 2332 w 3213"/>
                <a:gd name="T23" fmla="*/ 279 h 1217"/>
                <a:gd name="T24" fmla="*/ 2284 w 3213"/>
                <a:gd name="T25" fmla="*/ 456 h 1217"/>
                <a:gd name="T26" fmla="*/ 1852 w 3213"/>
                <a:gd name="T27" fmla="*/ 723 h 1217"/>
                <a:gd name="T28" fmla="*/ 1651 w 3213"/>
                <a:gd name="T29" fmla="*/ 629 h 1217"/>
                <a:gd name="T30" fmla="*/ 1906 w 3213"/>
                <a:gd name="T31" fmla="*/ 362 h 1217"/>
                <a:gd name="T32" fmla="*/ 1781 w 3213"/>
                <a:gd name="T33" fmla="*/ 527 h 1217"/>
                <a:gd name="T34" fmla="*/ 1890 w 3213"/>
                <a:gd name="T35" fmla="*/ 666 h 1217"/>
                <a:gd name="T36" fmla="*/ 2105 w 3213"/>
                <a:gd name="T37" fmla="*/ 317 h 1217"/>
                <a:gd name="T38" fmla="*/ 610 w 3213"/>
                <a:gd name="T39" fmla="*/ 350 h 1217"/>
                <a:gd name="T40" fmla="*/ 605 w 3213"/>
                <a:gd name="T41" fmla="*/ 350 h 1217"/>
                <a:gd name="T42" fmla="*/ 555 w 3213"/>
                <a:gd name="T43" fmla="*/ 378 h 1217"/>
                <a:gd name="T44" fmla="*/ 232 w 3213"/>
                <a:gd name="T45" fmla="*/ 456 h 1217"/>
                <a:gd name="T46" fmla="*/ 593 w 3213"/>
                <a:gd name="T47" fmla="*/ 444 h 1217"/>
                <a:gd name="T48" fmla="*/ 2284 w 3213"/>
                <a:gd name="T49" fmla="*/ 478 h 1217"/>
                <a:gd name="T50" fmla="*/ 3149 w 3213"/>
                <a:gd name="T51" fmla="*/ 995 h 1217"/>
                <a:gd name="T52" fmla="*/ 2787 w 3213"/>
                <a:gd name="T53" fmla="*/ 711 h 1217"/>
                <a:gd name="T54" fmla="*/ 2575 w 3213"/>
                <a:gd name="T55" fmla="*/ 629 h 1217"/>
                <a:gd name="T56" fmla="*/ 2587 w 3213"/>
                <a:gd name="T57" fmla="*/ 461 h 1217"/>
                <a:gd name="T58" fmla="*/ 3149 w 3213"/>
                <a:gd name="T59" fmla="*/ 600 h 1217"/>
                <a:gd name="T60" fmla="*/ 2872 w 3213"/>
                <a:gd name="T61" fmla="*/ 518 h 1217"/>
                <a:gd name="T62" fmla="*/ 236 w 3213"/>
                <a:gd name="T63" fmla="*/ 494 h 1217"/>
                <a:gd name="T64" fmla="*/ 1954 w 3213"/>
                <a:gd name="T65" fmla="*/ 527 h 1217"/>
                <a:gd name="T66" fmla="*/ 749 w 3213"/>
                <a:gd name="T67" fmla="*/ 629 h 1217"/>
                <a:gd name="T68" fmla="*/ 2894 w 3213"/>
                <a:gd name="T69" fmla="*/ 567 h 1217"/>
                <a:gd name="T70" fmla="*/ 2117 w 3213"/>
                <a:gd name="T71" fmla="*/ 555 h 1217"/>
                <a:gd name="T72" fmla="*/ 345 w 3213"/>
                <a:gd name="T73" fmla="*/ 629 h 1217"/>
                <a:gd name="T74" fmla="*/ 2461 w 3213"/>
                <a:gd name="T75" fmla="*/ 645 h 1217"/>
                <a:gd name="T76" fmla="*/ 810 w 3213"/>
                <a:gd name="T77" fmla="*/ 638 h 1217"/>
                <a:gd name="T78" fmla="*/ 1474 w 3213"/>
                <a:gd name="T79" fmla="*/ 711 h 1217"/>
                <a:gd name="T80" fmla="*/ 2306 w 3213"/>
                <a:gd name="T81" fmla="*/ 695 h 1217"/>
                <a:gd name="T82" fmla="*/ 1970 w 3213"/>
                <a:gd name="T83" fmla="*/ 723 h 1217"/>
                <a:gd name="T84" fmla="*/ 1923 w 3213"/>
                <a:gd name="T85" fmla="*/ 806 h 1217"/>
                <a:gd name="T86" fmla="*/ 2662 w 3213"/>
                <a:gd name="T87" fmla="*/ 811 h 1217"/>
                <a:gd name="T88" fmla="*/ 1765 w 3213"/>
                <a:gd name="T89" fmla="*/ 844 h 1217"/>
                <a:gd name="T90" fmla="*/ 739 w 3213"/>
                <a:gd name="T91" fmla="*/ 889 h 1217"/>
                <a:gd name="T92" fmla="*/ 1214 w 3213"/>
                <a:gd name="T93" fmla="*/ 933 h 1217"/>
                <a:gd name="T94" fmla="*/ 2733 w 3213"/>
                <a:gd name="T95" fmla="*/ 860 h 1217"/>
                <a:gd name="T96" fmla="*/ 697 w 3213"/>
                <a:gd name="T97" fmla="*/ 905 h 1217"/>
                <a:gd name="T98" fmla="*/ 1781 w 3213"/>
                <a:gd name="T99" fmla="*/ 938 h 1217"/>
                <a:gd name="T100" fmla="*/ 2523 w 3213"/>
                <a:gd name="T101" fmla="*/ 971 h 1217"/>
                <a:gd name="T102" fmla="*/ 2511 w 3213"/>
                <a:gd name="T103" fmla="*/ 962 h 1217"/>
                <a:gd name="T104" fmla="*/ 1349 w 3213"/>
                <a:gd name="T105" fmla="*/ 1011 h 1217"/>
                <a:gd name="T106" fmla="*/ 1944 w 3213"/>
                <a:gd name="T107" fmla="*/ 1016 h 1217"/>
                <a:gd name="T108" fmla="*/ 1559 w 3213"/>
                <a:gd name="T109" fmla="*/ 1044 h 1217"/>
                <a:gd name="T110" fmla="*/ 2301 w 3213"/>
                <a:gd name="T111" fmla="*/ 1028 h 1217"/>
                <a:gd name="T112" fmla="*/ 3061 w 3213"/>
                <a:gd name="T113" fmla="*/ 1033 h 1217"/>
                <a:gd name="T114" fmla="*/ 2306 w 3213"/>
                <a:gd name="T115" fmla="*/ 1016 h 1217"/>
                <a:gd name="T116" fmla="*/ 2230 w 3213"/>
                <a:gd name="T117" fmla="*/ 1028 h 1217"/>
                <a:gd name="T118" fmla="*/ 1961 w 3213"/>
                <a:gd name="T119" fmla="*/ 1044 h 1217"/>
                <a:gd name="T120" fmla="*/ 1755 w 3213"/>
                <a:gd name="T121" fmla="*/ 1127 h 1217"/>
                <a:gd name="T122" fmla="*/ 1939 w 3213"/>
                <a:gd name="T123" fmla="*/ 1210 h 1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13" h="1217">
                  <a:moveTo>
                    <a:pt x="10" y="12"/>
                  </a:moveTo>
                  <a:lnTo>
                    <a:pt x="0" y="12"/>
                  </a:lnTo>
                  <a:lnTo>
                    <a:pt x="0" y="0"/>
                  </a:lnTo>
                  <a:lnTo>
                    <a:pt x="10" y="12"/>
                  </a:lnTo>
                  <a:lnTo>
                    <a:pt x="10" y="12"/>
                  </a:lnTo>
                  <a:lnTo>
                    <a:pt x="10" y="12"/>
                  </a:lnTo>
                  <a:close/>
                  <a:moveTo>
                    <a:pt x="539" y="383"/>
                  </a:moveTo>
                  <a:lnTo>
                    <a:pt x="550" y="400"/>
                  </a:lnTo>
                  <a:lnTo>
                    <a:pt x="517" y="418"/>
                  </a:lnTo>
                  <a:lnTo>
                    <a:pt x="501" y="407"/>
                  </a:lnTo>
                  <a:lnTo>
                    <a:pt x="517" y="418"/>
                  </a:lnTo>
                  <a:lnTo>
                    <a:pt x="572" y="390"/>
                  </a:lnTo>
                  <a:lnTo>
                    <a:pt x="593" y="407"/>
                  </a:lnTo>
                  <a:lnTo>
                    <a:pt x="605" y="435"/>
                  </a:lnTo>
                  <a:lnTo>
                    <a:pt x="588" y="435"/>
                  </a:lnTo>
                  <a:lnTo>
                    <a:pt x="560" y="444"/>
                  </a:lnTo>
                  <a:lnTo>
                    <a:pt x="576" y="444"/>
                  </a:lnTo>
                  <a:lnTo>
                    <a:pt x="560" y="456"/>
                  </a:lnTo>
                  <a:lnTo>
                    <a:pt x="588" y="461"/>
                  </a:lnTo>
                  <a:lnTo>
                    <a:pt x="572" y="478"/>
                  </a:lnTo>
                  <a:lnTo>
                    <a:pt x="593" y="501"/>
                  </a:lnTo>
                  <a:lnTo>
                    <a:pt x="643" y="501"/>
                  </a:lnTo>
                  <a:lnTo>
                    <a:pt x="647" y="555"/>
                  </a:lnTo>
                  <a:lnTo>
                    <a:pt x="647" y="567"/>
                  </a:lnTo>
                  <a:lnTo>
                    <a:pt x="659" y="567"/>
                  </a:lnTo>
                  <a:lnTo>
                    <a:pt x="669" y="572"/>
                  </a:lnTo>
                  <a:lnTo>
                    <a:pt x="669" y="584"/>
                  </a:lnTo>
                  <a:lnTo>
                    <a:pt x="664" y="600"/>
                  </a:lnTo>
                  <a:lnTo>
                    <a:pt x="664" y="612"/>
                  </a:lnTo>
                  <a:lnTo>
                    <a:pt x="647" y="629"/>
                  </a:lnTo>
                  <a:lnTo>
                    <a:pt x="664" y="612"/>
                  </a:lnTo>
                  <a:lnTo>
                    <a:pt x="669" y="589"/>
                  </a:lnTo>
                  <a:lnTo>
                    <a:pt x="685" y="600"/>
                  </a:lnTo>
                  <a:lnTo>
                    <a:pt x="723" y="600"/>
                  </a:lnTo>
                  <a:lnTo>
                    <a:pt x="723" y="612"/>
                  </a:lnTo>
                  <a:lnTo>
                    <a:pt x="739" y="622"/>
                  </a:lnTo>
                  <a:lnTo>
                    <a:pt x="739" y="638"/>
                  </a:lnTo>
                  <a:lnTo>
                    <a:pt x="756" y="645"/>
                  </a:lnTo>
                  <a:lnTo>
                    <a:pt x="756" y="662"/>
                  </a:lnTo>
                  <a:lnTo>
                    <a:pt x="749" y="678"/>
                  </a:lnTo>
                  <a:lnTo>
                    <a:pt x="739" y="695"/>
                  </a:lnTo>
                  <a:lnTo>
                    <a:pt x="749" y="711"/>
                  </a:lnTo>
                  <a:lnTo>
                    <a:pt x="739" y="733"/>
                  </a:lnTo>
                  <a:lnTo>
                    <a:pt x="749" y="756"/>
                  </a:lnTo>
                  <a:lnTo>
                    <a:pt x="739" y="834"/>
                  </a:lnTo>
                  <a:lnTo>
                    <a:pt x="735" y="851"/>
                  </a:lnTo>
                  <a:lnTo>
                    <a:pt x="702" y="822"/>
                  </a:lnTo>
                  <a:lnTo>
                    <a:pt x="697" y="834"/>
                  </a:lnTo>
                  <a:lnTo>
                    <a:pt x="702" y="844"/>
                  </a:lnTo>
                  <a:lnTo>
                    <a:pt x="697" y="844"/>
                  </a:lnTo>
                  <a:lnTo>
                    <a:pt x="664" y="827"/>
                  </a:lnTo>
                  <a:lnTo>
                    <a:pt x="647" y="827"/>
                  </a:lnTo>
                  <a:lnTo>
                    <a:pt x="664" y="851"/>
                  </a:lnTo>
                  <a:lnTo>
                    <a:pt x="659" y="860"/>
                  </a:lnTo>
                  <a:lnTo>
                    <a:pt x="605" y="794"/>
                  </a:lnTo>
                  <a:lnTo>
                    <a:pt x="496" y="716"/>
                  </a:lnTo>
                  <a:lnTo>
                    <a:pt x="484" y="695"/>
                  </a:lnTo>
                  <a:lnTo>
                    <a:pt x="447" y="662"/>
                  </a:lnTo>
                  <a:lnTo>
                    <a:pt x="425" y="622"/>
                  </a:lnTo>
                  <a:lnTo>
                    <a:pt x="392" y="600"/>
                  </a:lnTo>
                  <a:lnTo>
                    <a:pt x="392" y="584"/>
                  </a:lnTo>
                  <a:lnTo>
                    <a:pt x="392" y="567"/>
                  </a:lnTo>
                  <a:lnTo>
                    <a:pt x="378" y="546"/>
                  </a:lnTo>
                  <a:lnTo>
                    <a:pt x="371" y="527"/>
                  </a:lnTo>
                  <a:lnTo>
                    <a:pt x="361" y="518"/>
                  </a:lnTo>
                  <a:lnTo>
                    <a:pt x="354" y="489"/>
                  </a:lnTo>
                  <a:lnTo>
                    <a:pt x="317" y="444"/>
                  </a:lnTo>
                  <a:lnTo>
                    <a:pt x="317" y="435"/>
                  </a:lnTo>
                  <a:lnTo>
                    <a:pt x="307" y="423"/>
                  </a:lnTo>
                  <a:lnTo>
                    <a:pt x="269" y="407"/>
                  </a:lnTo>
                  <a:lnTo>
                    <a:pt x="269" y="383"/>
                  </a:lnTo>
                  <a:lnTo>
                    <a:pt x="236" y="312"/>
                  </a:lnTo>
                  <a:lnTo>
                    <a:pt x="248" y="312"/>
                  </a:lnTo>
                  <a:lnTo>
                    <a:pt x="248" y="307"/>
                  </a:lnTo>
                  <a:lnTo>
                    <a:pt x="182" y="263"/>
                  </a:lnTo>
                  <a:lnTo>
                    <a:pt x="177" y="263"/>
                  </a:lnTo>
                  <a:lnTo>
                    <a:pt x="173" y="255"/>
                  </a:lnTo>
                  <a:lnTo>
                    <a:pt x="161" y="222"/>
                  </a:lnTo>
                  <a:lnTo>
                    <a:pt x="144" y="218"/>
                  </a:lnTo>
                  <a:lnTo>
                    <a:pt x="118" y="163"/>
                  </a:lnTo>
                  <a:lnTo>
                    <a:pt x="85" y="152"/>
                  </a:lnTo>
                  <a:lnTo>
                    <a:pt x="14" y="90"/>
                  </a:lnTo>
                  <a:lnTo>
                    <a:pt x="0" y="57"/>
                  </a:lnTo>
                  <a:lnTo>
                    <a:pt x="0" y="29"/>
                  </a:lnTo>
                  <a:lnTo>
                    <a:pt x="10" y="19"/>
                  </a:lnTo>
                  <a:lnTo>
                    <a:pt x="21" y="19"/>
                  </a:lnTo>
                  <a:lnTo>
                    <a:pt x="47" y="36"/>
                  </a:lnTo>
                  <a:lnTo>
                    <a:pt x="52" y="41"/>
                  </a:lnTo>
                  <a:lnTo>
                    <a:pt x="76" y="52"/>
                  </a:lnTo>
                  <a:lnTo>
                    <a:pt x="123" y="52"/>
                  </a:lnTo>
                  <a:lnTo>
                    <a:pt x="139" y="57"/>
                  </a:lnTo>
                  <a:lnTo>
                    <a:pt x="156" y="52"/>
                  </a:lnTo>
                  <a:lnTo>
                    <a:pt x="182" y="74"/>
                  </a:lnTo>
                  <a:lnTo>
                    <a:pt x="194" y="95"/>
                  </a:lnTo>
                  <a:lnTo>
                    <a:pt x="210" y="107"/>
                  </a:lnTo>
                  <a:lnTo>
                    <a:pt x="210" y="128"/>
                  </a:lnTo>
                  <a:lnTo>
                    <a:pt x="333" y="218"/>
                  </a:lnTo>
                  <a:lnTo>
                    <a:pt x="333" y="239"/>
                  </a:lnTo>
                  <a:lnTo>
                    <a:pt x="333" y="234"/>
                  </a:lnTo>
                  <a:lnTo>
                    <a:pt x="340" y="234"/>
                  </a:lnTo>
                  <a:lnTo>
                    <a:pt x="340" y="251"/>
                  </a:lnTo>
                  <a:lnTo>
                    <a:pt x="340" y="234"/>
                  </a:lnTo>
                  <a:lnTo>
                    <a:pt x="345" y="234"/>
                  </a:lnTo>
                  <a:lnTo>
                    <a:pt x="361" y="263"/>
                  </a:lnTo>
                  <a:lnTo>
                    <a:pt x="392" y="279"/>
                  </a:lnTo>
                  <a:lnTo>
                    <a:pt x="399" y="296"/>
                  </a:lnTo>
                  <a:lnTo>
                    <a:pt x="387" y="263"/>
                  </a:lnTo>
                  <a:lnTo>
                    <a:pt x="409" y="263"/>
                  </a:lnTo>
                  <a:lnTo>
                    <a:pt x="425" y="279"/>
                  </a:lnTo>
                  <a:lnTo>
                    <a:pt x="430" y="307"/>
                  </a:lnTo>
                  <a:lnTo>
                    <a:pt x="454" y="312"/>
                  </a:lnTo>
                  <a:lnTo>
                    <a:pt x="484" y="329"/>
                  </a:lnTo>
                  <a:lnTo>
                    <a:pt x="484" y="350"/>
                  </a:lnTo>
                  <a:lnTo>
                    <a:pt x="501" y="366"/>
                  </a:lnTo>
                  <a:lnTo>
                    <a:pt x="534" y="378"/>
                  </a:lnTo>
                  <a:lnTo>
                    <a:pt x="539" y="383"/>
                  </a:lnTo>
                  <a:lnTo>
                    <a:pt x="539" y="383"/>
                  </a:lnTo>
                  <a:lnTo>
                    <a:pt x="539" y="383"/>
                  </a:lnTo>
                  <a:close/>
                  <a:moveTo>
                    <a:pt x="2209" y="140"/>
                  </a:moveTo>
                  <a:lnTo>
                    <a:pt x="2213" y="123"/>
                  </a:lnTo>
                  <a:lnTo>
                    <a:pt x="2209" y="111"/>
                  </a:lnTo>
                  <a:lnTo>
                    <a:pt x="2209" y="95"/>
                  </a:lnTo>
                  <a:lnTo>
                    <a:pt x="2213" y="107"/>
                  </a:lnTo>
                  <a:lnTo>
                    <a:pt x="2225" y="123"/>
                  </a:lnTo>
                  <a:lnTo>
                    <a:pt x="2209" y="140"/>
                  </a:lnTo>
                  <a:lnTo>
                    <a:pt x="2209" y="140"/>
                  </a:lnTo>
                  <a:lnTo>
                    <a:pt x="2209" y="140"/>
                  </a:lnTo>
                  <a:close/>
                  <a:moveTo>
                    <a:pt x="1009" y="279"/>
                  </a:moveTo>
                  <a:lnTo>
                    <a:pt x="1004" y="291"/>
                  </a:lnTo>
                  <a:lnTo>
                    <a:pt x="1009" y="312"/>
                  </a:lnTo>
                  <a:lnTo>
                    <a:pt x="1075" y="366"/>
                  </a:lnTo>
                  <a:lnTo>
                    <a:pt x="1117" y="350"/>
                  </a:lnTo>
                  <a:lnTo>
                    <a:pt x="1167" y="362"/>
                  </a:lnTo>
                  <a:lnTo>
                    <a:pt x="1172" y="345"/>
                  </a:lnTo>
                  <a:lnTo>
                    <a:pt x="1181" y="345"/>
                  </a:lnTo>
                  <a:lnTo>
                    <a:pt x="1188" y="317"/>
                  </a:lnTo>
                  <a:lnTo>
                    <a:pt x="1205" y="312"/>
                  </a:lnTo>
                  <a:lnTo>
                    <a:pt x="1243" y="312"/>
                  </a:lnTo>
                  <a:lnTo>
                    <a:pt x="1252" y="329"/>
                  </a:lnTo>
                  <a:lnTo>
                    <a:pt x="1290" y="333"/>
                  </a:lnTo>
                  <a:lnTo>
                    <a:pt x="1311" y="317"/>
                  </a:lnTo>
                  <a:lnTo>
                    <a:pt x="1344" y="317"/>
                  </a:lnTo>
                  <a:lnTo>
                    <a:pt x="1361" y="329"/>
                  </a:lnTo>
                  <a:lnTo>
                    <a:pt x="1365" y="307"/>
                  </a:lnTo>
                  <a:lnTo>
                    <a:pt x="1377" y="291"/>
                  </a:lnTo>
                  <a:lnTo>
                    <a:pt x="1377" y="263"/>
                  </a:lnTo>
                  <a:lnTo>
                    <a:pt x="1403" y="251"/>
                  </a:lnTo>
                  <a:lnTo>
                    <a:pt x="1387" y="239"/>
                  </a:lnTo>
                  <a:lnTo>
                    <a:pt x="1398" y="218"/>
                  </a:lnTo>
                  <a:lnTo>
                    <a:pt x="1403" y="206"/>
                  </a:lnTo>
                  <a:lnTo>
                    <a:pt x="1420" y="206"/>
                  </a:lnTo>
                  <a:lnTo>
                    <a:pt x="1432" y="180"/>
                  </a:lnTo>
                  <a:lnTo>
                    <a:pt x="1432" y="163"/>
                  </a:lnTo>
                  <a:lnTo>
                    <a:pt x="1432" y="128"/>
                  </a:lnTo>
                  <a:lnTo>
                    <a:pt x="1441" y="111"/>
                  </a:lnTo>
                  <a:lnTo>
                    <a:pt x="1458" y="123"/>
                  </a:lnTo>
                  <a:lnTo>
                    <a:pt x="1469" y="111"/>
                  </a:lnTo>
                  <a:lnTo>
                    <a:pt x="1491" y="123"/>
                  </a:lnTo>
                  <a:lnTo>
                    <a:pt x="1545" y="111"/>
                  </a:lnTo>
                  <a:lnTo>
                    <a:pt x="1566" y="128"/>
                  </a:lnTo>
                  <a:lnTo>
                    <a:pt x="1550" y="128"/>
                  </a:lnTo>
                  <a:lnTo>
                    <a:pt x="1583" y="163"/>
                  </a:lnTo>
                  <a:lnTo>
                    <a:pt x="1576" y="168"/>
                  </a:lnTo>
                  <a:lnTo>
                    <a:pt x="1528" y="168"/>
                  </a:lnTo>
                  <a:lnTo>
                    <a:pt x="1538" y="168"/>
                  </a:lnTo>
                  <a:lnTo>
                    <a:pt x="1545" y="180"/>
                  </a:lnTo>
                  <a:lnTo>
                    <a:pt x="1559" y="180"/>
                  </a:lnTo>
                  <a:lnTo>
                    <a:pt x="1545" y="196"/>
                  </a:lnTo>
                  <a:lnTo>
                    <a:pt x="1566" y="206"/>
                  </a:lnTo>
                  <a:lnTo>
                    <a:pt x="1576" y="222"/>
                  </a:lnTo>
                  <a:lnTo>
                    <a:pt x="1583" y="222"/>
                  </a:lnTo>
                  <a:lnTo>
                    <a:pt x="1604" y="263"/>
                  </a:lnTo>
                  <a:lnTo>
                    <a:pt x="1592" y="279"/>
                  </a:lnTo>
                  <a:lnTo>
                    <a:pt x="1583" y="272"/>
                  </a:lnTo>
                  <a:lnTo>
                    <a:pt x="1592" y="296"/>
                  </a:lnTo>
                  <a:lnTo>
                    <a:pt x="1668" y="362"/>
                  </a:lnTo>
                  <a:lnTo>
                    <a:pt x="1651" y="366"/>
                  </a:lnTo>
                  <a:lnTo>
                    <a:pt x="1621" y="366"/>
                  </a:lnTo>
                  <a:lnTo>
                    <a:pt x="1597" y="362"/>
                  </a:lnTo>
                  <a:lnTo>
                    <a:pt x="1592" y="345"/>
                  </a:lnTo>
                  <a:lnTo>
                    <a:pt x="1597" y="366"/>
                  </a:lnTo>
                  <a:lnTo>
                    <a:pt x="1592" y="366"/>
                  </a:lnTo>
                  <a:lnTo>
                    <a:pt x="1576" y="378"/>
                  </a:lnTo>
                  <a:lnTo>
                    <a:pt x="1559" y="423"/>
                  </a:lnTo>
                  <a:lnTo>
                    <a:pt x="1559" y="435"/>
                  </a:lnTo>
                  <a:lnTo>
                    <a:pt x="1559" y="444"/>
                  </a:lnTo>
                  <a:lnTo>
                    <a:pt x="1559" y="461"/>
                  </a:lnTo>
                  <a:lnTo>
                    <a:pt x="1566" y="456"/>
                  </a:lnTo>
                  <a:lnTo>
                    <a:pt x="1566" y="489"/>
                  </a:lnTo>
                  <a:lnTo>
                    <a:pt x="1559" y="489"/>
                  </a:lnTo>
                  <a:lnTo>
                    <a:pt x="1545" y="489"/>
                  </a:lnTo>
                  <a:lnTo>
                    <a:pt x="1521" y="518"/>
                  </a:lnTo>
                  <a:lnTo>
                    <a:pt x="1512" y="518"/>
                  </a:lnTo>
                  <a:lnTo>
                    <a:pt x="1507" y="501"/>
                  </a:lnTo>
                  <a:lnTo>
                    <a:pt x="1507" y="527"/>
                  </a:lnTo>
                  <a:lnTo>
                    <a:pt x="1491" y="534"/>
                  </a:lnTo>
                  <a:lnTo>
                    <a:pt x="1491" y="546"/>
                  </a:lnTo>
                  <a:lnTo>
                    <a:pt x="1474" y="555"/>
                  </a:lnTo>
                  <a:lnTo>
                    <a:pt x="1491" y="555"/>
                  </a:lnTo>
                  <a:lnTo>
                    <a:pt x="1491" y="572"/>
                  </a:lnTo>
                  <a:lnTo>
                    <a:pt x="1484" y="584"/>
                  </a:lnTo>
                  <a:lnTo>
                    <a:pt x="1495" y="589"/>
                  </a:lnTo>
                  <a:lnTo>
                    <a:pt x="1491" y="612"/>
                  </a:lnTo>
                  <a:lnTo>
                    <a:pt x="1474" y="612"/>
                  </a:lnTo>
                  <a:lnTo>
                    <a:pt x="1484" y="629"/>
                  </a:lnTo>
                  <a:lnTo>
                    <a:pt x="1474" y="645"/>
                  </a:lnTo>
                  <a:lnTo>
                    <a:pt x="1469" y="629"/>
                  </a:lnTo>
                  <a:lnTo>
                    <a:pt x="1474" y="655"/>
                  </a:lnTo>
                  <a:lnTo>
                    <a:pt x="1453" y="683"/>
                  </a:lnTo>
                  <a:lnTo>
                    <a:pt x="1365" y="733"/>
                  </a:lnTo>
                  <a:lnTo>
                    <a:pt x="1361" y="723"/>
                  </a:lnTo>
                  <a:lnTo>
                    <a:pt x="1361" y="695"/>
                  </a:lnTo>
                  <a:lnTo>
                    <a:pt x="1349" y="678"/>
                  </a:lnTo>
                  <a:lnTo>
                    <a:pt x="1323" y="666"/>
                  </a:lnTo>
                  <a:lnTo>
                    <a:pt x="1290" y="678"/>
                  </a:lnTo>
                  <a:lnTo>
                    <a:pt x="1290" y="655"/>
                  </a:lnTo>
                  <a:lnTo>
                    <a:pt x="1273" y="662"/>
                  </a:lnTo>
                  <a:lnTo>
                    <a:pt x="1252" y="645"/>
                  </a:lnTo>
                  <a:lnTo>
                    <a:pt x="1243" y="655"/>
                  </a:lnTo>
                  <a:lnTo>
                    <a:pt x="1243" y="662"/>
                  </a:lnTo>
                  <a:lnTo>
                    <a:pt x="1219" y="678"/>
                  </a:lnTo>
                  <a:lnTo>
                    <a:pt x="1214" y="678"/>
                  </a:lnTo>
                  <a:lnTo>
                    <a:pt x="1188" y="666"/>
                  </a:lnTo>
                  <a:lnTo>
                    <a:pt x="1167" y="683"/>
                  </a:lnTo>
                  <a:lnTo>
                    <a:pt x="1160" y="683"/>
                  </a:lnTo>
                  <a:lnTo>
                    <a:pt x="1167" y="645"/>
                  </a:lnTo>
                  <a:lnTo>
                    <a:pt x="1160" y="629"/>
                  </a:lnTo>
                  <a:lnTo>
                    <a:pt x="1150" y="638"/>
                  </a:lnTo>
                  <a:lnTo>
                    <a:pt x="1143" y="645"/>
                  </a:lnTo>
                  <a:lnTo>
                    <a:pt x="1127" y="638"/>
                  </a:lnTo>
                  <a:lnTo>
                    <a:pt x="1106" y="655"/>
                  </a:lnTo>
                  <a:lnTo>
                    <a:pt x="1089" y="645"/>
                  </a:lnTo>
                  <a:lnTo>
                    <a:pt x="1096" y="638"/>
                  </a:lnTo>
                  <a:lnTo>
                    <a:pt x="1080" y="655"/>
                  </a:lnTo>
                  <a:lnTo>
                    <a:pt x="1075" y="638"/>
                  </a:lnTo>
                  <a:lnTo>
                    <a:pt x="1051" y="645"/>
                  </a:lnTo>
                  <a:lnTo>
                    <a:pt x="1042" y="572"/>
                  </a:lnTo>
                  <a:lnTo>
                    <a:pt x="1025" y="555"/>
                  </a:lnTo>
                  <a:lnTo>
                    <a:pt x="1037" y="551"/>
                  </a:lnTo>
                  <a:lnTo>
                    <a:pt x="1042" y="527"/>
                  </a:lnTo>
                  <a:lnTo>
                    <a:pt x="1021" y="494"/>
                  </a:lnTo>
                  <a:lnTo>
                    <a:pt x="983" y="489"/>
                  </a:lnTo>
                  <a:lnTo>
                    <a:pt x="983" y="478"/>
                  </a:lnTo>
                  <a:lnTo>
                    <a:pt x="1004" y="478"/>
                  </a:lnTo>
                  <a:lnTo>
                    <a:pt x="971" y="461"/>
                  </a:lnTo>
                  <a:lnTo>
                    <a:pt x="966" y="444"/>
                  </a:lnTo>
                  <a:lnTo>
                    <a:pt x="983" y="440"/>
                  </a:lnTo>
                  <a:lnTo>
                    <a:pt x="971" y="423"/>
                  </a:lnTo>
                  <a:lnTo>
                    <a:pt x="966" y="407"/>
                  </a:lnTo>
                  <a:lnTo>
                    <a:pt x="954" y="407"/>
                  </a:lnTo>
                  <a:lnTo>
                    <a:pt x="954" y="383"/>
                  </a:lnTo>
                  <a:lnTo>
                    <a:pt x="954" y="366"/>
                  </a:lnTo>
                  <a:lnTo>
                    <a:pt x="966" y="362"/>
                  </a:lnTo>
                  <a:lnTo>
                    <a:pt x="966" y="345"/>
                  </a:lnTo>
                  <a:lnTo>
                    <a:pt x="983" y="329"/>
                  </a:lnTo>
                  <a:lnTo>
                    <a:pt x="966" y="345"/>
                  </a:lnTo>
                  <a:lnTo>
                    <a:pt x="971" y="317"/>
                  </a:lnTo>
                  <a:lnTo>
                    <a:pt x="983" y="307"/>
                  </a:lnTo>
                  <a:lnTo>
                    <a:pt x="987" y="291"/>
                  </a:lnTo>
                  <a:lnTo>
                    <a:pt x="1009" y="279"/>
                  </a:lnTo>
                  <a:lnTo>
                    <a:pt x="1009" y="279"/>
                  </a:lnTo>
                  <a:lnTo>
                    <a:pt x="1009" y="279"/>
                  </a:lnTo>
                  <a:close/>
                  <a:moveTo>
                    <a:pt x="895" y="152"/>
                  </a:moveTo>
                  <a:lnTo>
                    <a:pt x="895" y="140"/>
                  </a:lnTo>
                  <a:lnTo>
                    <a:pt x="912" y="128"/>
                  </a:lnTo>
                  <a:lnTo>
                    <a:pt x="917" y="140"/>
                  </a:lnTo>
                  <a:lnTo>
                    <a:pt x="917" y="163"/>
                  </a:lnTo>
                  <a:lnTo>
                    <a:pt x="900" y="163"/>
                  </a:lnTo>
                  <a:lnTo>
                    <a:pt x="912" y="152"/>
                  </a:lnTo>
                  <a:lnTo>
                    <a:pt x="895" y="152"/>
                  </a:lnTo>
                  <a:lnTo>
                    <a:pt x="895" y="152"/>
                  </a:lnTo>
                  <a:lnTo>
                    <a:pt x="895" y="152"/>
                  </a:lnTo>
                  <a:close/>
                  <a:moveTo>
                    <a:pt x="1576" y="128"/>
                  </a:moveTo>
                  <a:lnTo>
                    <a:pt x="1592" y="128"/>
                  </a:lnTo>
                  <a:lnTo>
                    <a:pt x="1592" y="140"/>
                  </a:lnTo>
                  <a:lnTo>
                    <a:pt x="1576" y="128"/>
                  </a:lnTo>
                  <a:lnTo>
                    <a:pt x="1576" y="128"/>
                  </a:lnTo>
                  <a:lnTo>
                    <a:pt x="1576" y="128"/>
                  </a:lnTo>
                  <a:close/>
                  <a:moveTo>
                    <a:pt x="1566" y="128"/>
                  </a:moveTo>
                  <a:lnTo>
                    <a:pt x="1576" y="140"/>
                  </a:lnTo>
                  <a:lnTo>
                    <a:pt x="1566" y="140"/>
                  </a:lnTo>
                  <a:lnTo>
                    <a:pt x="1566" y="128"/>
                  </a:lnTo>
                  <a:lnTo>
                    <a:pt x="1566" y="128"/>
                  </a:lnTo>
                  <a:lnTo>
                    <a:pt x="1566" y="128"/>
                  </a:lnTo>
                  <a:close/>
                  <a:moveTo>
                    <a:pt x="2209" y="152"/>
                  </a:moveTo>
                  <a:lnTo>
                    <a:pt x="2197" y="140"/>
                  </a:lnTo>
                  <a:lnTo>
                    <a:pt x="2209" y="147"/>
                  </a:lnTo>
                  <a:lnTo>
                    <a:pt x="2209" y="152"/>
                  </a:lnTo>
                  <a:lnTo>
                    <a:pt x="2209" y="152"/>
                  </a:lnTo>
                  <a:lnTo>
                    <a:pt x="2209" y="152"/>
                  </a:lnTo>
                  <a:close/>
                  <a:moveTo>
                    <a:pt x="2143" y="185"/>
                  </a:moveTo>
                  <a:lnTo>
                    <a:pt x="2133" y="163"/>
                  </a:lnTo>
                  <a:lnTo>
                    <a:pt x="2143" y="163"/>
                  </a:lnTo>
                  <a:lnTo>
                    <a:pt x="2154" y="180"/>
                  </a:lnTo>
                  <a:lnTo>
                    <a:pt x="2143" y="185"/>
                  </a:lnTo>
                  <a:lnTo>
                    <a:pt x="2143" y="185"/>
                  </a:lnTo>
                  <a:lnTo>
                    <a:pt x="2143" y="185"/>
                  </a:lnTo>
                  <a:close/>
                  <a:moveTo>
                    <a:pt x="1545" y="168"/>
                  </a:moveTo>
                  <a:lnTo>
                    <a:pt x="1559" y="180"/>
                  </a:lnTo>
                  <a:lnTo>
                    <a:pt x="1545" y="180"/>
                  </a:lnTo>
                  <a:lnTo>
                    <a:pt x="1545" y="168"/>
                  </a:lnTo>
                  <a:lnTo>
                    <a:pt x="1545" y="168"/>
                  </a:lnTo>
                  <a:lnTo>
                    <a:pt x="1545" y="168"/>
                  </a:lnTo>
                  <a:close/>
                  <a:moveTo>
                    <a:pt x="1566" y="180"/>
                  </a:moveTo>
                  <a:lnTo>
                    <a:pt x="1576" y="185"/>
                  </a:lnTo>
                  <a:lnTo>
                    <a:pt x="1566" y="196"/>
                  </a:lnTo>
                  <a:lnTo>
                    <a:pt x="1566" y="180"/>
                  </a:lnTo>
                  <a:lnTo>
                    <a:pt x="1566" y="180"/>
                  </a:lnTo>
                  <a:lnTo>
                    <a:pt x="1566" y="180"/>
                  </a:lnTo>
                  <a:close/>
                  <a:moveTo>
                    <a:pt x="773" y="196"/>
                  </a:moveTo>
                  <a:lnTo>
                    <a:pt x="773" y="185"/>
                  </a:lnTo>
                  <a:lnTo>
                    <a:pt x="773" y="196"/>
                  </a:lnTo>
                  <a:lnTo>
                    <a:pt x="773" y="196"/>
                  </a:lnTo>
                  <a:lnTo>
                    <a:pt x="773" y="196"/>
                  </a:lnTo>
                  <a:close/>
                  <a:moveTo>
                    <a:pt x="1559" y="185"/>
                  </a:moveTo>
                  <a:lnTo>
                    <a:pt x="1559" y="196"/>
                  </a:lnTo>
                  <a:lnTo>
                    <a:pt x="1559" y="185"/>
                  </a:lnTo>
                  <a:lnTo>
                    <a:pt x="1559" y="185"/>
                  </a:lnTo>
                  <a:lnTo>
                    <a:pt x="1559" y="185"/>
                  </a:lnTo>
                  <a:close/>
                  <a:moveTo>
                    <a:pt x="773" y="201"/>
                  </a:moveTo>
                  <a:lnTo>
                    <a:pt x="773" y="196"/>
                  </a:lnTo>
                  <a:lnTo>
                    <a:pt x="773" y="201"/>
                  </a:lnTo>
                  <a:lnTo>
                    <a:pt x="773" y="201"/>
                  </a:lnTo>
                  <a:lnTo>
                    <a:pt x="773" y="201"/>
                  </a:lnTo>
                  <a:close/>
                  <a:moveTo>
                    <a:pt x="735" y="222"/>
                  </a:moveTo>
                  <a:lnTo>
                    <a:pt x="735" y="206"/>
                  </a:lnTo>
                  <a:lnTo>
                    <a:pt x="739" y="218"/>
                  </a:lnTo>
                  <a:lnTo>
                    <a:pt x="735" y="222"/>
                  </a:lnTo>
                  <a:lnTo>
                    <a:pt x="735" y="222"/>
                  </a:lnTo>
                  <a:lnTo>
                    <a:pt x="735" y="222"/>
                  </a:lnTo>
                  <a:close/>
                  <a:moveTo>
                    <a:pt x="950" y="218"/>
                  </a:moveTo>
                  <a:lnTo>
                    <a:pt x="954" y="206"/>
                  </a:lnTo>
                  <a:lnTo>
                    <a:pt x="954" y="218"/>
                  </a:lnTo>
                  <a:lnTo>
                    <a:pt x="950" y="218"/>
                  </a:lnTo>
                  <a:lnTo>
                    <a:pt x="950" y="218"/>
                  </a:lnTo>
                  <a:lnTo>
                    <a:pt x="950" y="218"/>
                  </a:lnTo>
                  <a:close/>
                  <a:moveTo>
                    <a:pt x="85" y="255"/>
                  </a:moveTo>
                  <a:lnTo>
                    <a:pt x="76" y="255"/>
                  </a:lnTo>
                  <a:lnTo>
                    <a:pt x="52" y="239"/>
                  </a:lnTo>
                  <a:lnTo>
                    <a:pt x="38" y="234"/>
                  </a:lnTo>
                  <a:lnTo>
                    <a:pt x="31" y="222"/>
                  </a:lnTo>
                  <a:lnTo>
                    <a:pt x="38" y="218"/>
                  </a:lnTo>
                  <a:lnTo>
                    <a:pt x="47" y="218"/>
                  </a:lnTo>
                  <a:lnTo>
                    <a:pt x="85" y="251"/>
                  </a:lnTo>
                  <a:lnTo>
                    <a:pt x="85" y="255"/>
                  </a:lnTo>
                  <a:lnTo>
                    <a:pt x="85" y="255"/>
                  </a:lnTo>
                  <a:lnTo>
                    <a:pt x="85" y="255"/>
                  </a:lnTo>
                  <a:close/>
                  <a:moveTo>
                    <a:pt x="2117" y="234"/>
                  </a:moveTo>
                  <a:lnTo>
                    <a:pt x="2117" y="239"/>
                  </a:lnTo>
                  <a:lnTo>
                    <a:pt x="2117" y="222"/>
                  </a:lnTo>
                  <a:lnTo>
                    <a:pt x="2117" y="234"/>
                  </a:lnTo>
                  <a:lnTo>
                    <a:pt x="2117" y="234"/>
                  </a:lnTo>
                  <a:lnTo>
                    <a:pt x="2117" y="234"/>
                  </a:lnTo>
                  <a:close/>
                  <a:moveTo>
                    <a:pt x="2317" y="279"/>
                  </a:moveTo>
                  <a:lnTo>
                    <a:pt x="2317" y="263"/>
                  </a:lnTo>
                  <a:lnTo>
                    <a:pt x="2332" y="239"/>
                  </a:lnTo>
                  <a:lnTo>
                    <a:pt x="2339" y="239"/>
                  </a:lnTo>
                  <a:lnTo>
                    <a:pt x="2348" y="251"/>
                  </a:lnTo>
                  <a:lnTo>
                    <a:pt x="2339" y="263"/>
                  </a:lnTo>
                  <a:lnTo>
                    <a:pt x="2332" y="279"/>
                  </a:lnTo>
                  <a:lnTo>
                    <a:pt x="2317" y="279"/>
                  </a:lnTo>
                  <a:lnTo>
                    <a:pt x="2317" y="279"/>
                  </a:lnTo>
                  <a:lnTo>
                    <a:pt x="2317" y="279"/>
                  </a:lnTo>
                  <a:close/>
                  <a:moveTo>
                    <a:pt x="144" y="279"/>
                  </a:moveTo>
                  <a:lnTo>
                    <a:pt x="128" y="263"/>
                  </a:lnTo>
                  <a:lnTo>
                    <a:pt x="139" y="263"/>
                  </a:lnTo>
                  <a:lnTo>
                    <a:pt x="144" y="279"/>
                  </a:lnTo>
                  <a:lnTo>
                    <a:pt x="144" y="279"/>
                  </a:lnTo>
                  <a:lnTo>
                    <a:pt x="144" y="279"/>
                  </a:lnTo>
                  <a:close/>
                  <a:moveTo>
                    <a:pt x="2284" y="366"/>
                  </a:moveTo>
                  <a:lnTo>
                    <a:pt x="2294" y="366"/>
                  </a:lnTo>
                  <a:lnTo>
                    <a:pt x="2294" y="350"/>
                  </a:lnTo>
                  <a:lnTo>
                    <a:pt x="2306" y="345"/>
                  </a:lnTo>
                  <a:lnTo>
                    <a:pt x="2306" y="329"/>
                  </a:lnTo>
                  <a:lnTo>
                    <a:pt x="2332" y="317"/>
                  </a:lnTo>
                  <a:lnTo>
                    <a:pt x="2348" y="312"/>
                  </a:lnTo>
                  <a:lnTo>
                    <a:pt x="2348" y="350"/>
                  </a:lnTo>
                  <a:lnTo>
                    <a:pt x="2317" y="366"/>
                  </a:lnTo>
                  <a:lnTo>
                    <a:pt x="2322" y="383"/>
                  </a:lnTo>
                  <a:lnTo>
                    <a:pt x="2348" y="390"/>
                  </a:lnTo>
                  <a:lnTo>
                    <a:pt x="2348" y="400"/>
                  </a:lnTo>
                  <a:lnTo>
                    <a:pt x="2360" y="418"/>
                  </a:lnTo>
                  <a:lnTo>
                    <a:pt x="2301" y="390"/>
                  </a:lnTo>
                  <a:lnTo>
                    <a:pt x="2294" y="400"/>
                  </a:lnTo>
                  <a:lnTo>
                    <a:pt x="2294" y="407"/>
                  </a:lnTo>
                  <a:lnTo>
                    <a:pt x="2294" y="435"/>
                  </a:lnTo>
                  <a:lnTo>
                    <a:pt x="2301" y="456"/>
                  </a:lnTo>
                  <a:lnTo>
                    <a:pt x="2322" y="494"/>
                  </a:lnTo>
                  <a:lnTo>
                    <a:pt x="2301" y="478"/>
                  </a:lnTo>
                  <a:lnTo>
                    <a:pt x="2284" y="456"/>
                  </a:lnTo>
                  <a:lnTo>
                    <a:pt x="2280" y="444"/>
                  </a:lnTo>
                  <a:lnTo>
                    <a:pt x="2280" y="418"/>
                  </a:lnTo>
                  <a:lnTo>
                    <a:pt x="2263" y="383"/>
                  </a:lnTo>
                  <a:lnTo>
                    <a:pt x="2268" y="366"/>
                  </a:lnTo>
                  <a:lnTo>
                    <a:pt x="2263" y="366"/>
                  </a:lnTo>
                  <a:lnTo>
                    <a:pt x="2263" y="350"/>
                  </a:lnTo>
                  <a:lnTo>
                    <a:pt x="2251" y="350"/>
                  </a:lnTo>
                  <a:lnTo>
                    <a:pt x="2268" y="307"/>
                  </a:lnTo>
                  <a:lnTo>
                    <a:pt x="2294" y="272"/>
                  </a:lnTo>
                  <a:lnTo>
                    <a:pt x="2301" y="272"/>
                  </a:lnTo>
                  <a:lnTo>
                    <a:pt x="2284" y="291"/>
                  </a:lnTo>
                  <a:lnTo>
                    <a:pt x="2301" y="307"/>
                  </a:lnTo>
                  <a:lnTo>
                    <a:pt x="2301" y="329"/>
                  </a:lnTo>
                  <a:lnTo>
                    <a:pt x="2268" y="362"/>
                  </a:lnTo>
                  <a:lnTo>
                    <a:pt x="2284" y="366"/>
                  </a:lnTo>
                  <a:lnTo>
                    <a:pt x="2284" y="366"/>
                  </a:lnTo>
                  <a:lnTo>
                    <a:pt x="2284" y="366"/>
                  </a:lnTo>
                  <a:close/>
                  <a:moveTo>
                    <a:pt x="454" y="291"/>
                  </a:moveTo>
                  <a:lnTo>
                    <a:pt x="447" y="307"/>
                  </a:lnTo>
                  <a:lnTo>
                    <a:pt x="430" y="307"/>
                  </a:lnTo>
                  <a:lnTo>
                    <a:pt x="430" y="291"/>
                  </a:lnTo>
                  <a:lnTo>
                    <a:pt x="430" y="279"/>
                  </a:lnTo>
                  <a:lnTo>
                    <a:pt x="447" y="272"/>
                  </a:lnTo>
                  <a:lnTo>
                    <a:pt x="454" y="291"/>
                  </a:lnTo>
                  <a:lnTo>
                    <a:pt x="454" y="291"/>
                  </a:lnTo>
                  <a:lnTo>
                    <a:pt x="454" y="291"/>
                  </a:lnTo>
                  <a:close/>
                  <a:moveTo>
                    <a:pt x="1873" y="778"/>
                  </a:moveTo>
                  <a:lnTo>
                    <a:pt x="1852" y="778"/>
                  </a:lnTo>
                  <a:lnTo>
                    <a:pt x="1835" y="766"/>
                  </a:lnTo>
                  <a:lnTo>
                    <a:pt x="1852" y="723"/>
                  </a:lnTo>
                  <a:lnTo>
                    <a:pt x="1831" y="716"/>
                  </a:lnTo>
                  <a:lnTo>
                    <a:pt x="1798" y="683"/>
                  </a:lnTo>
                  <a:lnTo>
                    <a:pt x="1798" y="666"/>
                  </a:lnTo>
                  <a:lnTo>
                    <a:pt x="1814" y="662"/>
                  </a:lnTo>
                  <a:lnTo>
                    <a:pt x="1814" y="629"/>
                  </a:lnTo>
                  <a:lnTo>
                    <a:pt x="1809" y="622"/>
                  </a:lnTo>
                  <a:lnTo>
                    <a:pt x="1793" y="612"/>
                  </a:lnTo>
                  <a:lnTo>
                    <a:pt x="1755" y="645"/>
                  </a:lnTo>
                  <a:lnTo>
                    <a:pt x="1765" y="662"/>
                  </a:lnTo>
                  <a:lnTo>
                    <a:pt x="1765" y="695"/>
                  </a:lnTo>
                  <a:lnTo>
                    <a:pt x="1760" y="723"/>
                  </a:lnTo>
                  <a:lnTo>
                    <a:pt x="1765" y="766"/>
                  </a:lnTo>
                  <a:lnTo>
                    <a:pt x="1755" y="794"/>
                  </a:lnTo>
                  <a:lnTo>
                    <a:pt x="1765" y="834"/>
                  </a:lnTo>
                  <a:lnTo>
                    <a:pt x="1760" y="827"/>
                  </a:lnTo>
                  <a:lnTo>
                    <a:pt x="1743" y="834"/>
                  </a:lnTo>
                  <a:lnTo>
                    <a:pt x="1727" y="827"/>
                  </a:lnTo>
                  <a:lnTo>
                    <a:pt x="1722" y="844"/>
                  </a:lnTo>
                  <a:lnTo>
                    <a:pt x="1710" y="844"/>
                  </a:lnTo>
                  <a:lnTo>
                    <a:pt x="1689" y="822"/>
                  </a:lnTo>
                  <a:lnTo>
                    <a:pt x="1706" y="740"/>
                  </a:lnTo>
                  <a:lnTo>
                    <a:pt x="1706" y="716"/>
                  </a:lnTo>
                  <a:lnTo>
                    <a:pt x="1701" y="695"/>
                  </a:lnTo>
                  <a:lnTo>
                    <a:pt x="1706" y="683"/>
                  </a:lnTo>
                  <a:lnTo>
                    <a:pt x="1689" y="678"/>
                  </a:lnTo>
                  <a:lnTo>
                    <a:pt x="1658" y="683"/>
                  </a:lnTo>
                  <a:lnTo>
                    <a:pt x="1651" y="666"/>
                  </a:lnTo>
                  <a:lnTo>
                    <a:pt x="1658" y="638"/>
                  </a:lnTo>
                  <a:lnTo>
                    <a:pt x="1651" y="638"/>
                  </a:lnTo>
                  <a:lnTo>
                    <a:pt x="1651" y="629"/>
                  </a:lnTo>
                  <a:lnTo>
                    <a:pt x="1651" y="612"/>
                  </a:lnTo>
                  <a:lnTo>
                    <a:pt x="1658" y="622"/>
                  </a:lnTo>
                  <a:lnTo>
                    <a:pt x="1672" y="605"/>
                  </a:lnTo>
                  <a:lnTo>
                    <a:pt x="1684" y="572"/>
                  </a:lnTo>
                  <a:lnTo>
                    <a:pt x="1689" y="567"/>
                  </a:lnTo>
                  <a:lnTo>
                    <a:pt x="1689" y="518"/>
                  </a:lnTo>
                  <a:lnTo>
                    <a:pt x="1706" y="494"/>
                  </a:lnTo>
                  <a:lnTo>
                    <a:pt x="1710" y="478"/>
                  </a:lnTo>
                  <a:lnTo>
                    <a:pt x="1727" y="489"/>
                  </a:lnTo>
                  <a:lnTo>
                    <a:pt x="1722" y="461"/>
                  </a:lnTo>
                  <a:lnTo>
                    <a:pt x="1722" y="440"/>
                  </a:lnTo>
                  <a:lnTo>
                    <a:pt x="1710" y="440"/>
                  </a:lnTo>
                  <a:lnTo>
                    <a:pt x="1706" y="435"/>
                  </a:lnTo>
                  <a:lnTo>
                    <a:pt x="1722" y="440"/>
                  </a:lnTo>
                  <a:lnTo>
                    <a:pt x="1727" y="423"/>
                  </a:lnTo>
                  <a:lnTo>
                    <a:pt x="1722" y="418"/>
                  </a:lnTo>
                  <a:lnTo>
                    <a:pt x="1727" y="390"/>
                  </a:lnTo>
                  <a:lnTo>
                    <a:pt x="1739" y="390"/>
                  </a:lnTo>
                  <a:lnTo>
                    <a:pt x="1739" y="378"/>
                  </a:lnTo>
                  <a:lnTo>
                    <a:pt x="1755" y="366"/>
                  </a:lnTo>
                  <a:lnTo>
                    <a:pt x="1760" y="362"/>
                  </a:lnTo>
                  <a:lnTo>
                    <a:pt x="1760" y="366"/>
                  </a:lnTo>
                  <a:lnTo>
                    <a:pt x="1776" y="378"/>
                  </a:lnTo>
                  <a:lnTo>
                    <a:pt x="1793" y="350"/>
                  </a:lnTo>
                  <a:lnTo>
                    <a:pt x="1793" y="333"/>
                  </a:lnTo>
                  <a:lnTo>
                    <a:pt x="1835" y="333"/>
                  </a:lnTo>
                  <a:lnTo>
                    <a:pt x="1847" y="350"/>
                  </a:lnTo>
                  <a:lnTo>
                    <a:pt x="1869" y="350"/>
                  </a:lnTo>
                  <a:lnTo>
                    <a:pt x="1873" y="350"/>
                  </a:lnTo>
                  <a:lnTo>
                    <a:pt x="1906" y="362"/>
                  </a:lnTo>
                  <a:lnTo>
                    <a:pt x="1939" y="366"/>
                  </a:lnTo>
                  <a:lnTo>
                    <a:pt x="1944" y="362"/>
                  </a:lnTo>
                  <a:lnTo>
                    <a:pt x="1961" y="362"/>
                  </a:lnTo>
                  <a:lnTo>
                    <a:pt x="2015" y="366"/>
                  </a:lnTo>
                  <a:lnTo>
                    <a:pt x="2036" y="350"/>
                  </a:lnTo>
                  <a:lnTo>
                    <a:pt x="2046" y="345"/>
                  </a:lnTo>
                  <a:lnTo>
                    <a:pt x="2062" y="345"/>
                  </a:lnTo>
                  <a:lnTo>
                    <a:pt x="2053" y="329"/>
                  </a:lnTo>
                  <a:lnTo>
                    <a:pt x="2079" y="317"/>
                  </a:lnTo>
                  <a:lnTo>
                    <a:pt x="2079" y="312"/>
                  </a:lnTo>
                  <a:lnTo>
                    <a:pt x="2084" y="307"/>
                  </a:lnTo>
                  <a:lnTo>
                    <a:pt x="2100" y="307"/>
                  </a:lnTo>
                  <a:lnTo>
                    <a:pt x="2105" y="317"/>
                  </a:lnTo>
                  <a:lnTo>
                    <a:pt x="2091" y="329"/>
                  </a:lnTo>
                  <a:lnTo>
                    <a:pt x="2079" y="362"/>
                  </a:lnTo>
                  <a:lnTo>
                    <a:pt x="2036" y="400"/>
                  </a:lnTo>
                  <a:lnTo>
                    <a:pt x="1991" y="407"/>
                  </a:lnTo>
                  <a:lnTo>
                    <a:pt x="1970" y="407"/>
                  </a:lnTo>
                  <a:lnTo>
                    <a:pt x="1954" y="390"/>
                  </a:lnTo>
                  <a:lnTo>
                    <a:pt x="1864" y="400"/>
                  </a:lnTo>
                  <a:lnTo>
                    <a:pt x="1847" y="390"/>
                  </a:lnTo>
                  <a:lnTo>
                    <a:pt x="1814" y="400"/>
                  </a:lnTo>
                  <a:lnTo>
                    <a:pt x="1776" y="390"/>
                  </a:lnTo>
                  <a:lnTo>
                    <a:pt x="1760" y="390"/>
                  </a:lnTo>
                  <a:lnTo>
                    <a:pt x="1743" y="418"/>
                  </a:lnTo>
                  <a:lnTo>
                    <a:pt x="1739" y="440"/>
                  </a:lnTo>
                  <a:lnTo>
                    <a:pt x="1743" y="473"/>
                  </a:lnTo>
                  <a:lnTo>
                    <a:pt x="1755" y="494"/>
                  </a:lnTo>
                  <a:lnTo>
                    <a:pt x="1776" y="501"/>
                  </a:lnTo>
                  <a:lnTo>
                    <a:pt x="1781" y="527"/>
                  </a:lnTo>
                  <a:lnTo>
                    <a:pt x="1793" y="527"/>
                  </a:lnTo>
                  <a:lnTo>
                    <a:pt x="1814" y="534"/>
                  </a:lnTo>
                  <a:lnTo>
                    <a:pt x="1835" y="494"/>
                  </a:lnTo>
                  <a:lnTo>
                    <a:pt x="1852" y="489"/>
                  </a:lnTo>
                  <a:lnTo>
                    <a:pt x="1852" y="494"/>
                  </a:lnTo>
                  <a:lnTo>
                    <a:pt x="1869" y="494"/>
                  </a:lnTo>
                  <a:lnTo>
                    <a:pt x="1885" y="494"/>
                  </a:lnTo>
                  <a:lnTo>
                    <a:pt x="1890" y="489"/>
                  </a:lnTo>
                  <a:lnTo>
                    <a:pt x="1939" y="489"/>
                  </a:lnTo>
                  <a:lnTo>
                    <a:pt x="1944" y="478"/>
                  </a:lnTo>
                  <a:lnTo>
                    <a:pt x="1928" y="478"/>
                  </a:lnTo>
                  <a:lnTo>
                    <a:pt x="1954" y="473"/>
                  </a:lnTo>
                  <a:lnTo>
                    <a:pt x="1970" y="473"/>
                  </a:lnTo>
                  <a:lnTo>
                    <a:pt x="1977" y="489"/>
                  </a:lnTo>
                  <a:lnTo>
                    <a:pt x="1970" y="501"/>
                  </a:lnTo>
                  <a:lnTo>
                    <a:pt x="1961" y="494"/>
                  </a:lnTo>
                  <a:lnTo>
                    <a:pt x="1939" y="494"/>
                  </a:lnTo>
                  <a:lnTo>
                    <a:pt x="1906" y="534"/>
                  </a:lnTo>
                  <a:lnTo>
                    <a:pt x="1869" y="551"/>
                  </a:lnTo>
                  <a:lnTo>
                    <a:pt x="1852" y="567"/>
                  </a:lnTo>
                  <a:lnTo>
                    <a:pt x="1831" y="555"/>
                  </a:lnTo>
                  <a:lnTo>
                    <a:pt x="1831" y="572"/>
                  </a:lnTo>
                  <a:lnTo>
                    <a:pt x="1835" y="572"/>
                  </a:lnTo>
                  <a:lnTo>
                    <a:pt x="1847" y="584"/>
                  </a:lnTo>
                  <a:lnTo>
                    <a:pt x="1869" y="600"/>
                  </a:lnTo>
                  <a:lnTo>
                    <a:pt x="1873" y="622"/>
                  </a:lnTo>
                  <a:lnTo>
                    <a:pt x="1902" y="638"/>
                  </a:lnTo>
                  <a:lnTo>
                    <a:pt x="1902" y="645"/>
                  </a:lnTo>
                  <a:lnTo>
                    <a:pt x="1906" y="655"/>
                  </a:lnTo>
                  <a:lnTo>
                    <a:pt x="1890" y="666"/>
                  </a:lnTo>
                  <a:lnTo>
                    <a:pt x="1890" y="695"/>
                  </a:lnTo>
                  <a:lnTo>
                    <a:pt x="1923" y="711"/>
                  </a:lnTo>
                  <a:lnTo>
                    <a:pt x="1923" y="723"/>
                  </a:lnTo>
                  <a:lnTo>
                    <a:pt x="1939" y="723"/>
                  </a:lnTo>
                  <a:lnTo>
                    <a:pt x="1928" y="716"/>
                  </a:lnTo>
                  <a:lnTo>
                    <a:pt x="1939" y="733"/>
                  </a:lnTo>
                  <a:lnTo>
                    <a:pt x="1939" y="749"/>
                  </a:lnTo>
                  <a:lnTo>
                    <a:pt x="1928" y="749"/>
                  </a:lnTo>
                  <a:lnTo>
                    <a:pt x="1916" y="749"/>
                  </a:lnTo>
                  <a:lnTo>
                    <a:pt x="1885" y="756"/>
                  </a:lnTo>
                  <a:lnTo>
                    <a:pt x="1873" y="766"/>
                  </a:lnTo>
                  <a:lnTo>
                    <a:pt x="1885" y="773"/>
                  </a:lnTo>
                  <a:lnTo>
                    <a:pt x="1873" y="778"/>
                  </a:lnTo>
                  <a:lnTo>
                    <a:pt x="1873" y="778"/>
                  </a:lnTo>
                  <a:lnTo>
                    <a:pt x="1873" y="778"/>
                  </a:lnTo>
                  <a:close/>
                  <a:moveTo>
                    <a:pt x="508" y="329"/>
                  </a:moveTo>
                  <a:lnTo>
                    <a:pt x="508" y="333"/>
                  </a:lnTo>
                  <a:lnTo>
                    <a:pt x="496" y="329"/>
                  </a:lnTo>
                  <a:lnTo>
                    <a:pt x="480" y="317"/>
                  </a:lnTo>
                  <a:lnTo>
                    <a:pt x="470" y="312"/>
                  </a:lnTo>
                  <a:lnTo>
                    <a:pt x="501" y="317"/>
                  </a:lnTo>
                  <a:lnTo>
                    <a:pt x="508" y="329"/>
                  </a:lnTo>
                  <a:lnTo>
                    <a:pt x="508" y="329"/>
                  </a:lnTo>
                  <a:lnTo>
                    <a:pt x="508" y="329"/>
                  </a:lnTo>
                  <a:close/>
                  <a:moveTo>
                    <a:pt x="2105" y="317"/>
                  </a:moveTo>
                  <a:lnTo>
                    <a:pt x="2105" y="329"/>
                  </a:lnTo>
                  <a:lnTo>
                    <a:pt x="2100" y="329"/>
                  </a:lnTo>
                  <a:lnTo>
                    <a:pt x="2105" y="317"/>
                  </a:lnTo>
                  <a:lnTo>
                    <a:pt x="2105" y="317"/>
                  </a:lnTo>
                  <a:lnTo>
                    <a:pt x="2105" y="317"/>
                  </a:lnTo>
                  <a:close/>
                  <a:moveTo>
                    <a:pt x="177" y="390"/>
                  </a:moveTo>
                  <a:lnTo>
                    <a:pt x="173" y="383"/>
                  </a:lnTo>
                  <a:lnTo>
                    <a:pt x="161" y="366"/>
                  </a:lnTo>
                  <a:lnTo>
                    <a:pt x="128" y="329"/>
                  </a:lnTo>
                  <a:lnTo>
                    <a:pt x="144" y="317"/>
                  </a:lnTo>
                  <a:lnTo>
                    <a:pt x="156" y="317"/>
                  </a:lnTo>
                  <a:lnTo>
                    <a:pt x="173" y="345"/>
                  </a:lnTo>
                  <a:lnTo>
                    <a:pt x="182" y="350"/>
                  </a:lnTo>
                  <a:lnTo>
                    <a:pt x="182" y="383"/>
                  </a:lnTo>
                  <a:lnTo>
                    <a:pt x="177" y="390"/>
                  </a:lnTo>
                  <a:lnTo>
                    <a:pt x="177" y="390"/>
                  </a:lnTo>
                  <a:lnTo>
                    <a:pt x="177" y="390"/>
                  </a:lnTo>
                  <a:close/>
                  <a:moveTo>
                    <a:pt x="508" y="345"/>
                  </a:moveTo>
                  <a:lnTo>
                    <a:pt x="508" y="362"/>
                  </a:lnTo>
                  <a:lnTo>
                    <a:pt x="501" y="362"/>
                  </a:lnTo>
                  <a:lnTo>
                    <a:pt x="484" y="350"/>
                  </a:lnTo>
                  <a:lnTo>
                    <a:pt x="484" y="329"/>
                  </a:lnTo>
                  <a:lnTo>
                    <a:pt x="508" y="345"/>
                  </a:lnTo>
                  <a:lnTo>
                    <a:pt x="508" y="345"/>
                  </a:lnTo>
                  <a:lnTo>
                    <a:pt x="508" y="345"/>
                  </a:lnTo>
                  <a:close/>
                  <a:moveTo>
                    <a:pt x="664" y="350"/>
                  </a:moveTo>
                  <a:lnTo>
                    <a:pt x="659" y="366"/>
                  </a:lnTo>
                  <a:lnTo>
                    <a:pt x="631" y="350"/>
                  </a:lnTo>
                  <a:lnTo>
                    <a:pt x="643" y="345"/>
                  </a:lnTo>
                  <a:lnTo>
                    <a:pt x="664" y="350"/>
                  </a:lnTo>
                  <a:lnTo>
                    <a:pt x="664" y="350"/>
                  </a:lnTo>
                  <a:lnTo>
                    <a:pt x="664" y="350"/>
                  </a:lnTo>
                  <a:close/>
                  <a:moveTo>
                    <a:pt x="626" y="345"/>
                  </a:moveTo>
                  <a:lnTo>
                    <a:pt x="614" y="362"/>
                  </a:lnTo>
                  <a:lnTo>
                    <a:pt x="610" y="350"/>
                  </a:lnTo>
                  <a:lnTo>
                    <a:pt x="614" y="345"/>
                  </a:lnTo>
                  <a:lnTo>
                    <a:pt x="626" y="345"/>
                  </a:lnTo>
                  <a:lnTo>
                    <a:pt x="626" y="345"/>
                  </a:lnTo>
                  <a:lnTo>
                    <a:pt x="626" y="345"/>
                  </a:lnTo>
                  <a:close/>
                  <a:moveTo>
                    <a:pt x="550" y="366"/>
                  </a:moveTo>
                  <a:lnTo>
                    <a:pt x="522" y="350"/>
                  </a:lnTo>
                  <a:lnTo>
                    <a:pt x="522" y="345"/>
                  </a:lnTo>
                  <a:lnTo>
                    <a:pt x="550" y="350"/>
                  </a:lnTo>
                  <a:lnTo>
                    <a:pt x="555" y="366"/>
                  </a:lnTo>
                  <a:lnTo>
                    <a:pt x="550" y="366"/>
                  </a:lnTo>
                  <a:lnTo>
                    <a:pt x="550" y="366"/>
                  </a:lnTo>
                  <a:lnTo>
                    <a:pt x="550" y="366"/>
                  </a:lnTo>
                  <a:close/>
                  <a:moveTo>
                    <a:pt x="539" y="378"/>
                  </a:moveTo>
                  <a:lnTo>
                    <a:pt x="534" y="366"/>
                  </a:lnTo>
                  <a:lnTo>
                    <a:pt x="508" y="366"/>
                  </a:lnTo>
                  <a:lnTo>
                    <a:pt x="501" y="366"/>
                  </a:lnTo>
                  <a:lnTo>
                    <a:pt x="508" y="362"/>
                  </a:lnTo>
                  <a:lnTo>
                    <a:pt x="508" y="345"/>
                  </a:lnTo>
                  <a:lnTo>
                    <a:pt x="550" y="366"/>
                  </a:lnTo>
                  <a:lnTo>
                    <a:pt x="539" y="378"/>
                  </a:lnTo>
                  <a:lnTo>
                    <a:pt x="539" y="378"/>
                  </a:lnTo>
                  <a:lnTo>
                    <a:pt x="539" y="378"/>
                  </a:lnTo>
                  <a:close/>
                  <a:moveTo>
                    <a:pt x="572" y="350"/>
                  </a:moveTo>
                  <a:lnTo>
                    <a:pt x="572" y="362"/>
                  </a:lnTo>
                  <a:lnTo>
                    <a:pt x="560" y="345"/>
                  </a:lnTo>
                  <a:lnTo>
                    <a:pt x="572" y="350"/>
                  </a:lnTo>
                  <a:lnTo>
                    <a:pt x="572" y="350"/>
                  </a:lnTo>
                  <a:lnTo>
                    <a:pt x="572" y="350"/>
                  </a:lnTo>
                  <a:close/>
                  <a:moveTo>
                    <a:pt x="610" y="362"/>
                  </a:moveTo>
                  <a:lnTo>
                    <a:pt x="605" y="350"/>
                  </a:lnTo>
                  <a:lnTo>
                    <a:pt x="610" y="362"/>
                  </a:lnTo>
                  <a:lnTo>
                    <a:pt x="610" y="362"/>
                  </a:lnTo>
                  <a:lnTo>
                    <a:pt x="610" y="362"/>
                  </a:lnTo>
                  <a:close/>
                  <a:moveTo>
                    <a:pt x="626" y="366"/>
                  </a:moveTo>
                  <a:lnTo>
                    <a:pt x="614" y="362"/>
                  </a:lnTo>
                  <a:lnTo>
                    <a:pt x="631" y="366"/>
                  </a:lnTo>
                  <a:lnTo>
                    <a:pt x="626" y="366"/>
                  </a:lnTo>
                  <a:lnTo>
                    <a:pt x="626" y="366"/>
                  </a:lnTo>
                  <a:lnTo>
                    <a:pt x="626" y="366"/>
                  </a:lnTo>
                  <a:close/>
                  <a:moveTo>
                    <a:pt x="576" y="378"/>
                  </a:moveTo>
                  <a:lnTo>
                    <a:pt x="572" y="383"/>
                  </a:lnTo>
                  <a:lnTo>
                    <a:pt x="572" y="366"/>
                  </a:lnTo>
                  <a:lnTo>
                    <a:pt x="576" y="378"/>
                  </a:lnTo>
                  <a:lnTo>
                    <a:pt x="576" y="378"/>
                  </a:lnTo>
                  <a:lnTo>
                    <a:pt x="576" y="378"/>
                  </a:lnTo>
                  <a:close/>
                  <a:moveTo>
                    <a:pt x="631" y="378"/>
                  </a:moveTo>
                  <a:lnTo>
                    <a:pt x="626" y="378"/>
                  </a:lnTo>
                  <a:lnTo>
                    <a:pt x="631" y="366"/>
                  </a:lnTo>
                  <a:lnTo>
                    <a:pt x="631" y="378"/>
                  </a:lnTo>
                  <a:lnTo>
                    <a:pt x="631" y="378"/>
                  </a:lnTo>
                  <a:lnTo>
                    <a:pt x="631" y="378"/>
                  </a:lnTo>
                  <a:close/>
                  <a:moveTo>
                    <a:pt x="2263" y="378"/>
                  </a:moveTo>
                  <a:lnTo>
                    <a:pt x="2251" y="383"/>
                  </a:lnTo>
                  <a:lnTo>
                    <a:pt x="2251" y="378"/>
                  </a:lnTo>
                  <a:lnTo>
                    <a:pt x="2263" y="378"/>
                  </a:lnTo>
                  <a:lnTo>
                    <a:pt x="2263" y="378"/>
                  </a:lnTo>
                  <a:lnTo>
                    <a:pt x="2263" y="378"/>
                  </a:lnTo>
                  <a:close/>
                  <a:moveTo>
                    <a:pt x="560" y="383"/>
                  </a:moveTo>
                  <a:lnTo>
                    <a:pt x="555" y="390"/>
                  </a:lnTo>
                  <a:lnTo>
                    <a:pt x="555" y="378"/>
                  </a:lnTo>
                  <a:lnTo>
                    <a:pt x="560" y="383"/>
                  </a:lnTo>
                  <a:lnTo>
                    <a:pt x="560" y="383"/>
                  </a:lnTo>
                  <a:lnTo>
                    <a:pt x="560" y="383"/>
                  </a:lnTo>
                  <a:close/>
                  <a:moveTo>
                    <a:pt x="2251" y="400"/>
                  </a:moveTo>
                  <a:lnTo>
                    <a:pt x="2251" y="407"/>
                  </a:lnTo>
                  <a:lnTo>
                    <a:pt x="2251" y="400"/>
                  </a:lnTo>
                  <a:lnTo>
                    <a:pt x="2251" y="400"/>
                  </a:lnTo>
                  <a:lnTo>
                    <a:pt x="2251" y="400"/>
                  </a:lnTo>
                  <a:close/>
                  <a:moveTo>
                    <a:pt x="248" y="423"/>
                  </a:moveTo>
                  <a:lnTo>
                    <a:pt x="232" y="418"/>
                  </a:lnTo>
                  <a:lnTo>
                    <a:pt x="248" y="418"/>
                  </a:lnTo>
                  <a:lnTo>
                    <a:pt x="248" y="423"/>
                  </a:lnTo>
                  <a:lnTo>
                    <a:pt x="248" y="423"/>
                  </a:lnTo>
                  <a:lnTo>
                    <a:pt x="248" y="423"/>
                  </a:lnTo>
                  <a:close/>
                  <a:moveTo>
                    <a:pt x="2407" y="444"/>
                  </a:moveTo>
                  <a:lnTo>
                    <a:pt x="2386" y="423"/>
                  </a:lnTo>
                  <a:lnTo>
                    <a:pt x="2407" y="440"/>
                  </a:lnTo>
                  <a:lnTo>
                    <a:pt x="2407" y="444"/>
                  </a:lnTo>
                  <a:lnTo>
                    <a:pt x="2407" y="444"/>
                  </a:lnTo>
                  <a:lnTo>
                    <a:pt x="2407" y="444"/>
                  </a:lnTo>
                  <a:close/>
                  <a:moveTo>
                    <a:pt x="680" y="456"/>
                  </a:moveTo>
                  <a:lnTo>
                    <a:pt x="664" y="444"/>
                  </a:lnTo>
                  <a:lnTo>
                    <a:pt x="647" y="444"/>
                  </a:lnTo>
                  <a:lnTo>
                    <a:pt x="643" y="444"/>
                  </a:lnTo>
                  <a:lnTo>
                    <a:pt x="647" y="435"/>
                  </a:lnTo>
                  <a:lnTo>
                    <a:pt x="680" y="440"/>
                  </a:lnTo>
                  <a:lnTo>
                    <a:pt x="680" y="456"/>
                  </a:lnTo>
                  <a:lnTo>
                    <a:pt x="680" y="456"/>
                  </a:lnTo>
                  <a:lnTo>
                    <a:pt x="680" y="456"/>
                  </a:lnTo>
                  <a:close/>
                  <a:moveTo>
                    <a:pt x="232" y="456"/>
                  </a:moveTo>
                  <a:lnTo>
                    <a:pt x="215" y="435"/>
                  </a:lnTo>
                  <a:lnTo>
                    <a:pt x="227" y="435"/>
                  </a:lnTo>
                  <a:lnTo>
                    <a:pt x="232" y="456"/>
                  </a:lnTo>
                  <a:lnTo>
                    <a:pt x="232" y="456"/>
                  </a:lnTo>
                  <a:lnTo>
                    <a:pt x="232" y="456"/>
                  </a:lnTo>
                  <a:close/>
                  <a:moveTo>
                    <a:pt x="2485" y="435"/>
                  </a:moveTo>
                  <a:lnTo>
                    <a:pt x="2516" y="435"/>
                  </a:lnTo>
                  <a:lnTo>
                    <a:pt x="2532" y="440"/>
                  </a:lnTo>
                  <a:lnTo>
                    <a:pt x="2532" y="444"/>
                  </a:lnTo>
                  <a:lnTo>
                    <a:pt x="2523" y="456"/>
                  </a:lnTo>
                  <a:lnTo>
                    <a:pt x="2511" y="456"/>
                  </a:lnTo>
                  <a:lnTo>
                    <a:pt x="2478" y="435"/>
                  </a:lnTo>
                  <a:lnTo>
                    <a:pt x="2499" y="456"/>
                  </a:lnTo>
                  <a:lnTo>
                    <a:pt x="2495" y="461"/>
                  </a:lnTo>
                  <a:lnTo>
                    <a:pt x="2485" y="444"/>
                  </a:lnTo>
                  <a:lnTo>
                    <a:pt x="2478" y="456"/>
                  </a:lnTo>
                  <a:lnTo>
                    <a:pt x="2478" y="444"/>
                  </a:lnTo>
                  <a:lnTo>
                    <a:pt x="2457" y="444"/>
                  </a:lnTo>
                  <a:lnTo>
                    <a:pt x="2469" y="440"/>
                  </a:lnTo>
                  <a:lnTo>
                    <a:pt x="2461" y="440"/>
                  </a:lnTo>
                  <a:lnTo>
                    <a:pt x="2457" y="440"/>
                  </a:lnTo>
                  <a:lnTo>
                    <a:pt x="2485" y="435"/>
                  </a:lnTo>
                  <a:lnTo>
                    <a:pt x="2485" y="435"/>
                  </a:lnTo>
                  <a:lnTo>
                    <a:pt x="2485" y="435"/>
                  </a:lnTo>
                  <a:close/>
                  <a:moveTo>
                    <a:pt x="1890" y="444"/>
                  </a:moveTo>
                  <a:lnTo>
                    <a:pt x="1885" y="444"/>
                  </a:lnTo>
                  <a:lnTo>
                    <a:pt x="1890" y="444"/>
                  </a:lnTo>
                  <a:lnTo>
                    <a:pt x="1890" y="444"/>
                  </a:lnTo>
                  <a:lnTo>
                    <a:pt x="1890" y="444"/>
                  </a:lnTo>
                  <a:close/>
                  <a:moveTo>
                    <a:pt x="593" y="444"/>
                  </a:moveTo>
                  <a:lnTo>
                    <a:pt x="593" y="456"/>
                  </a:lnTo>
                  <a:lnTo>
                    <a:pt x="572" y="456"/>
                  </a:lnTo>
                  <a:lnTo>
                    <a:pt x="576" y="444"/>
                  </a:lnTo>
                  <a:lnTo>
                    <a:pt x="593" y="444"/>
                  </a:lnTo>
                  <a:lnTo>
                    <a:pt x="593" y="444"/>
                  </a:lnTo>
                  <a:lnTo>
                    <a:pt x="593" y="444"/>
                  </a:lnTo>
                  <a:close/>
                  <a:moveTo>
                    <a:pt x="227" y="461"/>
                  </a:moveTo>
                  <a:lnTo>
                    <a:pt x="227" y="473"/>
                  </a:lnTo>
                  <a:lnTo>
                    <a:pt x="215" y="473"/>
                  </a:lnTo>
                  <a:lnTo>
                    <a:pt x="227" y="444"/>
                  </a:lnTo>
                  <a:lnTo>
                    <a:pt x="227" y="461"/>
                  </a:lnTo>
                  <a:lnTo>
                    <a:pt x="227" y="461"/>
                  </a:lnTo>
                  <a:lnTo>
                    <a:pt x="227" y="461"/>
                  </a:lnTo>
                  <a:close/>
                  <a:moveTo>
                    <a:pt x="2246" y="444"/>
                  </a:moveTo>
                  <a:lnTo>
                    <a:pt x="2246" y="461"/>
                  </a:lnTo>
                  <a:lnTo>
                    <a:pt x="2242" y="461"/>
                  </a:lnTo>
                  <a:lnTo>
                    <a:pt x="2242" y="444"/>
                  </a:lnTo>
                  <a:lnTo>
                    <a:pt x="2246" y="444"/>
                  </a:lnTo>
                  <a:lnTo>
                    <a:pt x="2246" y="444"/>
                  </a:lnTo>
                  <a:lnTo>
                    <a:pt x="2246" y="444"/>
                  </a:lnTo>
                  <a:close/>
                  <a:moveTo>
                    <a:pt x="1885" y="456"/>
                  </a:moveTo>
                  <a:lnTo>
                    <a:pt x="1885" y="444"/>
                  </a:lnTo>
                  <a:lnTo>
                    <a:pt x="1885" y="456"/>
                  </a:lnTo>
                  <a:lnTo>
                    <a:pt x="1885" y="456"/>
                  </a:lnTo>
                  <a:lnTo>
                    <a:pt x="1885" y="456"/>
                  </a:lnTo>
                  <a:close/>
                  <a:moveTo>
                    <a:pt x="2263" y="444"/>
                  </a:moveTo>
                  <a:lnTo>
                    <a:pt x="2280" y="461"/>
                  </a:lnTo>
                  <a:lnTo>
                    <a:pt x="2268" y="473"/>
                  </a:lnTo>
                  <a:lnTo>
                    <a:pt x="2280" y="478"/>
                  </a:lnTo>
                  <a:lnTo>
                    <a:pt x="2284" y="478"/>
                  </a:lnTo>
                  <a:lnTo>
                    <a:pt x="2294" y="489"/>
                  </a:lnTo>
                  <a:lnTo>
                    <a:pt x="2284" y="494"/>
                  </a:lnTo>
                  <a:lnTo>
                    <a:pt x="2268" y="489"/>
                  </a:lnTo>
                  <a:lnTo>
                    <a:pt x="2263" y="489"/>
                  </a:lnTo>
                  <a:lnTo>
                    <a:pt x="2246" y="461"/>
                  </a:lnTo>
                  <a:lnTo>
                    <a:pt x="2246" y="456"/>
                  </a:lnTo>
                  <a:lnTo>
                    <a:pt x="2263" y="444"/>
                  </a:lnTo>
                  <a:lnTo>
                    <a:pt x="2263" y="444"/>
                  </a:lnTo>
                  <a:lnTo>
                    <a:pt x="2263" y="444"/>
                  </a:lnTo>
                  <a:close/>
                  <a:moveTo>
                    <a:pt x="1885" y="456"/>
                  </a:moveTo>
                  <a:lnTo>
                    <a:pt x="1869" y="456"/>
                  </a:lnTo>
                  <a:lnTo>
                    <a:pt x="1873" y="444"/>
                  </a:lnTo>
                  <a:lnTo>
                    <a:pt x="1885" y="456"/>
                  </a:lnTo>
                  <a:lnTo>
                    <a:pt x="1885" y="456"/>
                  </a:lnTo>
                  <a:lnTo>
                    <a:pt x="1885" y="456"/>
                  </a:lnTo>
                  <a:close/>
                  <a:moveTo>
                    <a:pt x="647" y="456"/>
                  </a:moveTo>
                  <a:lnTo>
                    <a:pt x="659" y="461"/>
                  </a:lnTo>
                  <a:lnTo>
                    <a:pt x="647" y="473"/>
                  </a:lnTo>
                  <a:lnTo>
                    <a:pt x="631" y="461"/>
                  </a:lnTo>
                  <a:lnTo>
                    <a:pt x="647" y="456"/>
                  </a:lnTo>
                  <a:lnTo>
                    <a:pt x="647" y="456"/>
                  </a:lnTo>
                  <a:lnTo>
                    <a:pt x="647" y="456"/>
                  </a:lnTo>
                  <a:close/>
                  <a:moveTo>
                    <a:pt x="3213" y="612"/>
                  </a:moveTo>
                  <a:lnTo>
                    <a:pt x="3213" y="884"/>
                  </a:lnTo>
                  <a:lnTo>
                    <a:pt x="3203" y="905"/>
                  </a:lnTo>
                  <a:lnTo>
                    <a:pt x="3203" y="922"/>
                  </a:lnTo>
                  <a:lnTo>
                    <a:pt x="3213" y="922"/>
                  </a:lnTo>
                  <a:lnTo>
                    <a:pt x="3213" y="1089"/>
                  </a:lnTo>
                  <a:lnTo>
                    <a:pt x="3142" y="1016"/>
                  </a:lnTo>
                  <a:lnTo>
                    <a:pt x="3149" y="995"/>
                  </a:lnTo>
                  <a:lnTo>
                    <a:pt x="3132" y="1016"/>
                  </a:lnTo>
                  <a:lnTo>
                    <a:pt x="3095" y="1016"/>
                  </a:lnTo>
                  <a:lnTo>
                    <a:pt x="3090" y="1011"/>
                  </a:lnTo>
                  <a:lnTo>
                    <a:pt x="3061" y="1028"/>
                  </a:lnTo>
                  <a:lnTo>
                    <a:pt x="3057" y="1016"/>
                  </a:lnTo>
                  <a:lnTo>
                    <a:pt x="3078" y="978"/>
                  </a:lnTo>
                  <a:lnTo>
                    <a:pt x="3052" y="945"/>
                  </a:lnTo>
                  <a:lnTo>
                    <a:pt x="3073" y="955"/>
                  </a:lnTo>
                  <a:lnTo>
                    <a:pt x="3090" y="945"/>
                  </a:lnTo>
                  <a:lnTo>
                    <a:pt x="3073" y="945"/>
                  </a:lnTo>
                  <a:lnTo>
                    <a:pt x="3057" y="945"/>
                  </a:lnTo>
                  <a:lnTo>
                    <a:pt x="3040" y="933"/>
                  </a:lnTo>
                  <a:lnTo>
                    <a:pt x="3061" y="922"/>
                  </a:lnTo>
                  <a:lnTo>
                    <a:pt x="3078" y="933"/>
                  </a:lnTo>
                  <a:lnTo>
                    <a:pt x="3052" y="917"/>
                  </a:lnTo>
                  <a:lnTo>
                    <a:pt x="3052" y="905"/>
                  </a:lnTo>
                  <a:lnTo>
                    <a:pt x="3024" y="884"/>
                  </a:lnTo>
                  <a:lnTo>
                    <a:pt x="3019" y="851"/>
                  </a:lnTo>
                  <a:lnTo>
                    <a:pt x="3007" y="844"/>
                  </a:lnTo>
                  <a:lnTo>
                    <a:pt x="3024" y="834"/>
                  </a:lnTo>
                  <a:lnTo>
                    <a:pt x="3002" y="844"/>
                  </a:lnTo>
                  <a:lnTo>
                    <a:pt x="3002" y="822"/>
                  </a:lnTo>
                  <a:lnTo>
                    <a:pt x="2998" y="822"/>
                  </a:lnTo>
                  <a:lnTo>
                    <a:pt x="2948" y="789"/>
                  </a:lnTo>
                  <a:lnTo>
                    <a:pt x="2915" y="778"/>
                  </a:lnTo>
                  <a:lnTo>
                    <a:pt x="2856" y="756"/>
                  </a:lnTo>
                  <a:lnTo>
                    <a:pt x="2802" y="749"/>
                  </a:lnTo>
                  <a:lnTo>
                    <a:pt x="2764" y="723"/>
                  </a:lnTo>
                  <a:lnTo>
                    <a:pt x="2771" y="711"/>
                  </a:lnTo>
                  <a:lnTo>
                    <a:pt x="2787" y="711"/>
                  </a:lnTo>
                  <a:lnTo>
                    <a:pt x="2764" y="711"/>
                  </a:lnTo>
                  <a:lnTo>
                    <a:pt x="2754" y="716"/>
                  </a:lnTo>
                  <a:lnTo>
                    <a:pt x="2750" y="711"/>
                  </a:lnTo>
                  <a:lnTo>
                    <a:pt x="2738" y="716"/>
                  </a:lnTo>
                  <a:lnTo>
                    <a:pt x="2733" y="716"/>
                  </a:lnTo>
                  <a:lnTo>
                    <a:pt x="2733" y="700"/>
                  </a:lnTo>
                  <a:lnTo>
                    <a:pt x="2717" y="700"/>
                  </a:lnTo>
                  <a:lnTo>
                    <a:pt x="2712" y="683"/>
                  </a:lnTo>
                  <a:lnTo>
                    <a:pt x="2700" y="695"/>
                  </a:lnTo>
                  <a:lnTo>
                    <a:pt x="2695" y="678"/>
                  </a:lnTo>
                  <a:lnTo>
                    <a:pt x="2700" y="662"/>
                  </a:lnTo>
                  <a:lnTo>
                    <a:pt x="2712" y="655"/>
                  </a:lnTo>
                  <a:lnTo>
                    <a:pt x="2712" y="645"/>
                  </a:lnTo>
                  <a:lnTo>
                    <a:pt x="2695" y="655"/>
                  </a:lnTo>
                  <a:lnTo>
                    <a:pt x="2695" y="678"/>
                  </a:lnTo>
                  <a:lnTo>
                    <a:pt x="2683" y="678"/>
                  </a:lnTo>
                  <a:lnTo>
                    <a:pt x="2683" y="683"/>
                  </a:lnTo>
                  <a:lnTo>
                    <a:pt x="2679" y="700"/>
                  </a:lnTo>
                  <a:lnTo>
                    <a:pt x="2679" y="711"/>
                  </a:lnTo>
                  <a:lnTo>
                    <a:pt x="2662" y="723"/>
                  </a:lnTo>
                  <a:lnTo>
                    <a:pt x="2641" y="723"/>
                  </a:lnTo>
                  <a:lnTo>
                    <a:pt x="2629" y="695"/>
                  </a:lnTo>
                  <a:lnTo>
                    <a:pt x="2641" y="683"/>
                  </a:lnTo>
                  <a:lnTo>
                    <a:pt x="2641" y="678"/>
                  </a:lnTo>
                  <a:lnTo>
                    <a:pt x="2629" y="666"/>
                  </a:lnTo>
                  <a:lnTo>
                    <a:pt x="2624" y="666"/>
                  </a:lnTo>
                  <a:lnTo>
                    <a:pt x="2620" y="655"/>
                  </a:lnTo>
                  <a:lnTo>
                    <a:pt x="2603" y="638"/>
                  </a:lnTo>
                  <a:lnTo>
                    <a:pt x="2587" y="645"/>
                  </a:lnTo>
                  <a:lnTo>
                    <a:pt x="2575" y="629"/>
                  </a:lnTo>
                  <a:lnTo>
                    <a:pt x="2603" y="622"/>
                  </a:lnTo>
                  <a:lnTo>
                    <a:pt x="2629" y="629"/>
                  </a:lnTo>
                  <a:lnTo>
                    <a:pt x="2646" y="605"/>
                  </a:lnTo>
                  <a:lnTo>
                    <a:pt x="2662" y="605"/>
                  </a:lnTo>
                  <a:lnTo>
                    <a:pt x="2683" y="612"/>
                  </a:lnTo>
                  <a:lnTo>
                    <a:pt x="2695" y="612"/>
                  </a:lnTo>
                  <a:lnTo>
                    <a:pt x="2695" y="622"/>
                  </a:lnTo>
                  <a:lnTo>
                    <a:pt x="2700" y="605"/>
                  </a:lnTo>
                  <a:lnTo>
                    <a:pt x="2712" y="622"/>
                  </a:lnTo>
                  <a:lnTo>
                    <a:pt x="2700" y="605"/>
                  </a:lnTo>
                  <a:lnTo>
                    <a:pt x="2717" y="600"/>
                  </a:lnTo>
                  <a:lnTo>
                    <a:pt x="2717" y="589"/>
                  </a:lnTo>
                  <a:lnTo>
                    <a:pt x="2712" y="600"/>
                  </a:lnTo>
                  <a:lnTo>
                    <a:pt x="2700" y="589"/>
                  </a:lnTo>
                  <a:lnTo>
                    <a:pt x="2717" y="584"/>
                  </a:lnTo>
                  <a:lnTo>
                    <a:pt x="2695" y="589"/>
                  </a:lnTo>
                  <a:lnTo>
                    <a:pt x="2674" y="589"/>
                  </a:lnTo>
                  <a:lnTo>
                    <a:pt x="2624" y="600"/>
                  </a:lnTo>
                  <a:lnTo>
                    <a:pt x="2620" y="589"/>
                  </a:lnTo>
                  <a:lnTo>
                    <a:pt x="2603" y="589"/>
                  </a:lnTo>
                  <a:lnTo>
                    <a:pt x="2575" y="584"/>
                  </a:lnTo>
                  <a:lnTo>
                    <a:pt x="2570" y="551"/>
                  </a:lnTo>
                  <a:lnTo>
                    <a:pt x="2523" y="527"/>
                  </a:lnTo>
                  <a:lnTo>
                    <a:pt x="2532" y="534"/>
                  </a:lnTo>
                  <a:lnTo>
                    <a:pt x="2523" y="534"/>
                  </a:lnTo>
                  <a:lnTo>
                    <a:pt x="2511" y="527"/>
                  </a:lnTo>
                  <a:lnTo>
                    <a:pt x="2523" y="511"/>
                  </a:lnTo>
                  <a:lnTo>
                    <a:pt x="2523" y="489"/>
                  </a:lnTo>
                  <a:lnTo>
                    <a:pt x="2570" y="478"/>
                  </a:lnTo>
                  <a:lnTo>
                    <a:pt x="2587" y="461"/>
                  </a:lnTo>
                  <a:lnTo>
                    <a:pt x="2608" y="456"/>
                  </a:lnTo>
                  <a:lnTo>
                    <a:pt x="2662" y="473"/>
                  </a:lnTo>
                  <a:lnTo>
                    <a:pt x="2679" y="478"/>
                  </a:lnTo>
                  <a:lnTo>
                    <a:pt x="2717" y="478"/>
                  </a:lnTo>
                  <a:lnTo>
                    <a:pt x="2726" y="489"/>
                  </a:lnTo>
                  <a:lnTo>
                    <a:pt x="2717" y="494"/>
                  </a:lnTo>
                  <a:lnTo>
                    <a:pt x="2738" y="527"/>
                  </a:lnTo>
                  <a:lnTo>
                    <a:pt x="2726" y="551"/>
                  </a:lnTo>
                  <a:lnTo>
                    <a:pt x="2733" y="600"/>
                  </a:lnTo>
                  <a:lnTo>
                    <a:pt x="2750" y="638"/>
                  </a:lnTo>
                  <a:lnTo>
                    <a:pt x="2754" y="629"/>
                  </a:lnTo>
                  <a:lnTo>
                    <a:pt x="2754" y="612"/>
                  </a:lnTo>
                  <a:lnTo>
                    <a:pt x="2754" y="605"/>
                  </a:lnTo>
                  <a:lnTo>
                    <a:pt x="2764" y="605"/>
                  </a:lnTo>
                  <a:lnTo>
                    <a:pt x="2771" y="645"/>
                  </a:lnTo>
                  <a:lnTo>
                    <a:pt x="2780" y="638"/>
                  </a:lnTo>
                  <a:lnTo>
                    <a:pt x="2780" y="655"/>
                  </a:lnTo>
                  <a:lnTo>
                    <a:pt x="2780" y="662"/>
                  </a:lnTo>
                  <a:lnTo>
                    <a:pt x="2792" y="666"/>
                  </a:lnTo>
                  <a:lnTo>
                    <a:pt x="2825" y="666"/>
                  </a:lnTo>
                  <a:lnTo>
                    <a:pt x="2856" y="645"/>
                  </a:lnTo>
                  <a:lnTo>
                    <a:pt x="2863" y="622"/>
                  </a:lnTo>
                  <a:lnTo>
                    <a:pt x="2877" y="612"/>
                  </a:lnTo>
                  <a:lnTo>
                    <a:pt x="2889" y="589"/>
                  </a:lnTo>
                  <a:lnTo>
                    <a:pt x="2910" y="589"/>
                  </a:lnTo>
                  <a:lnTo>
                    <a:pt x="2943" y="584"/>
                  </a:lnTo>
                  <a:lnTo>
                    <a:pt x="2943" y="555"/>
                  </a:lnTo>
                  <a:lnTo>
                    <a:pt x="2986" y="534"/>
                  </a:lnTo>
                  <a:lnTo>
                    <a:pt x="3128" y="600"/>
                  </a:lnTo>
                  <a:lnTo>
                    <a:pt x="3149" y="600"/>
                  </a:lnTo>
                  <a:lnTo>
                    <a:pt x="3165" y="605"/>
                  </a:lnTo>
                  <a:lnTo>
                    <a:pt x="3187" y="605"/>
                  </a:lnTo>
                  <a:lnTo>
                    <a:pt x="3187" y="622"/>
                  </a:lnTo>
                  <a:lnTo>
                    <a:pt x="3213" y="612"/>
                  </a:lnTo>
                  <a:lnTo>
                    <a:pt x="3213" y="612"/>
                  </a:lnTo>
                  <a:lnTo>
                    <a:pt x="3213" y="612"/>
                  </a:lnTo>
                  <a:close/>
                  <a:moveTo>
                    <a:pt x="1869" y="461"/>
                  </a:moveTo>
                  <a:lnTo>
                    <a:pt x="1852" y="473"/>
                  </a:lnTo>
                  <a:lnTo>
                    <a:pt x="1864" y="456"/>
                  </a:lnTo>
                  <a:lnTo>
                    <a:pt x="1869" y="461"/>
                  </a:lnTo>
                  <a:lnTo>
                    <a:pt x="1869" y="461"/>
                  </a:lnTo>
                  <a:lnTo>
                    <a:pt x="1869" y="461"/>
                  </a:lnTo>
                  <a:close/>
                  <a:moveTo>
                    <a:pt x="2485" y="456"/>
                  </a:moveTo>
                  <a:lnTo>
                    <a:pt x="2485" y="461"/>
                  </a:lnTo>
                  <a:lnTo>
                    <a:pt x="2469" y="461"/>
                  </a:lnTo>
                  <a:lnTo>
                    <a:pt x="2485" y="456"/>
                  </a:lnTo>
                  <a:lnTo>
                    <a:pt x="2485" y="456"/>
                  </a:lnTo>
                  <a:lnTo>
                    <a:pt x="2485" y="456"/>
                  </a:lnTo>
                  <a:close/>
                  <a:moveTo>
                    <a:pt x="2246" y="473"/>
                  </a:moveTo>
                  <a:lnTo>
                    <a:pt x="2246" y="489"/>
                  </a:lnTo>
                  <a:lnTo>
                    <a:pt x="2242" y="489"/>
                  </a:lnTo>
                  <a:lnTo>
                    <a:pt x="2246" y="473"/>
                  </a:lnTo>
                  <a:lnTo>
                    <a:pt x="2246" y="473"/>
                  </a:lnTo>
                  <a:lnTo>
                    <a:pt x="2246" y="473"/>
                  </a:lnTo>
                  <a:close/>
                  <a:moveTo>
                    <a:pt x="2818" y="478"/>
                  </a:moveTo>
                  <a:lnTo>
                    <a:pt x="2839" y="478"/>
                  </a:lnTo>
                  <a:lnTo>
                    <a:pt x="2846" y="478"/>
                  </a:lnTo>
                  <a:lnTo>
                    <a:pt x="2872" y="501"/>
                  </a:lnTo>
                  <a:lnTo>
                    <a:pt x="2889" y="511"/>
                  </a:lnTo>
                  <a:lnTo>
                    <a:pt x="2872" y="518"/>
                  </a:lnTo>
                  <a:lnTo>
                    <a:pt x="2846" y="511"/>
                  </a:lnTo>
                  <a:lnTo>
                    <a:pt x="2839" y="489"/>
                  </a:lnTo>
                  <a:lnTo>
                    <a:pt x="2835" y="494"/>
                  </a:lnTo>
                  <a:lnTo>
                    <a:pt x="2825" y="489"/>
                  </a:lnTo>
                  <a:lnTo>
                    <a:pt x="2818" y="478"/>
                  </a:lnTo>
                  <a:lnTo>
                    <a:pt x="2818" y="478"/>
                  </a:lnTo>
                  <a:lnTo>
                    <a:pt x="2818" y="478"/>
                  </a:lnTo>
                  <a:close/>
                  <a:moveTo>
                    <a:pt x="2495" y="489"/>
                  </a:moveTo>
                  <a:lnTo>
                    <a:pt x="2499" y="489"/>
                  </a:lnTo>
                  <a:lnTo>
                    <a:pt x="2495" y="489"/>
                  </a:lnTo>
                  <a:lnTo>
                    <a:pt x="2461" y="494"/>
                  </a:lnTo>
                  <a:lnTo>
                    <a:pt x="2469" y="489"/>
                  </a:lnTo>
                  <a:lnTo>
                    <a:pt x="2495" y="489"/>
                  </a:lnTo>
                  <a:lnTo>
                    <a:pt x="2495" y="489"/>
                  </a:lnTo>
                  <a:lnTo>
                    <a:pt x="2495" y="489"/>
                  </a:lnTo>
                  <a:close/>
                  <a:moveTo>
                    <a:pt x="2499" y="494"/>
                  </a:moveTo>
                  <a:lnTo>
                    <a:pt x="2516" y="494"/>
                  </a:lnTo>
                  <a:lnTo>
                    <a:pt x="2511" y="527"/>
                  </a:lnTo>
                  <a:lnTo>
                    <a:pt x="2495" y="518"/>
                  </a:lnTo>
                  <a:lnTo>
                    <a:pt x="2485" y="501"/>
                  </a:lnTo>
                  <a:lnTo>
                    <a:pt x="2499" y="494"/>
                  </a:lnTo>
                  <a:lnTo>
                    <a:pt x="2499" y="494"/>
                  </a:lnTo>
                  <a:lnTo>
                    <a:pt x="2499" y="494"/>
                  </a:lnTo>
                  <a:close/>
                  <a:moveTo>
                    <a:pt x="286" y="551"/>
                  </a:moveTo>
                  <a:lnTo>
                    <a:pt x="279" y="546"/>
                  </a:lnTo>
                  <a:lnTo>
                    <a:pt x="279" y="555"/>
                  </a:lnTo>
                  <a:lnTo>
                    <a:pt x="269" y="555"/>
                  </a:lnTo>
                  <a:lnTo>
                    <a:pt x="248" y="546"/>
                  </a:lnTo>
                  <a:lnTo>
                    <a:pt x="232" y="511"/>
                  </a:lnTo>
                  <a:lnTo>
                    <a:pt x="236" y="494"/>
                  </a:lnTo>
                  <a:lnTo>
                    <a:pt x="253" y="494"/>
                  </a:lnTo>
                  <a:lnTo>
                    <a:pt x="286" y="551"/>
                  </a:lnTo>
                  <a:lnTo>
                    <a:pt x="286" y="551"/>
                  </a:lnTo>
                  <a:lnTo>
                    <a:pt x="286" y="551"/>
                  </a:lnTo>
                  <a:close/>
                  <a:moveTo>
                    <a:pt x="2780" y="494"/>
                  </a:moveTo>
                  <a:lnTo>
                    <a:pt x="2787" y="501"/>
                  </a:lnTo>
                  <a:lnTo>
                    <a:pt x="2780" y="511"/>
                  </a:lnTo>
                  <a:lnTo>
                    <a:pt x="2771" y="501"/>
                  </a:lnTo>
                  <a:lnTo>
                    <a:pt x="2780" y="494"/>
                  </a:lnTo>
                  <a:lnTo>
                    <a:pt x="2780" y="494"/>
                  </a:lnTo>
                  <a:lnTo>
                    <a:pt x="2780" y="494"/>
                  </a:lnTo>
                  <a:close/>
                  <a:moveTo>
                    <a:pt x="1021" y="501"/>
                  </a:moveTo>
                  <a:lnTo>
                    <a:pt x="1021" y="511"/>
                  </a:lnTo>
                  <a:lnTo>
                    <a:pt x="999" y="518"/>
                  </a:lnTo>
                  <a:lnTo>
                    <a:pt x="999" y="501"/>
                  </a:lnTo>
                  <a:lnTo>
                    <a:pt x="1021" y="501"/>
                  </a:lnTo>
                  <a:lnTo>
                    <a:pt x="1021" y="501"/>
                  </a:lnTo>
                  <a:lnTo>
                    <a:pt x="1021" y="501"/>
                  </a:lnTo>
                  <a:close/>
                  <a:moveTo>
                    <a:pt x="2431" y="511"/>
                  </a:moveTo>
                  <a:lnTo>
                    <a:pt x="2414" y="518"/>
                  </a:lnTo>
                  <a:lnTo>
                    <a:pt x="2431" y="511"/>
                  </a:lnTo>
                  <a:lnTo>
                    <a:pt x="2431" y="511"/>
                  </a:lnTo>
                  <a:lnTo>
                    <a:pt x="2431" y="511"/>
                  </a:lnTo>
                  <a:close/>
                  <a:moveTo>
                    <a:pt x="1982" y="518"/>
                  </a:moveTo>
                  <a:lnTo>
                    <a:pt x="1977" y="534"/>
                  </a:lnTo>
                  <a:lnTo>
                    <a:pt x="1970" y="534"/>
                  </a:lnTo>
                  <a:lnTo>
                    <a:pt x="1961" y="546"/>
                  </a:lnTo>
                  <a:lnTo>
                    <a:pt x="1954" y="546"/>
                  </a:lnTo>
                  <a:lnTo>
                    <a:pt x="1961" y="534"/>
                  </a:lnTo>
                  <a:lnTo>
                    <a:pt x="1954" y="527"/>
                  </a:lnTo>
                  <a:lnTo>
                    <a:pt x="1939" y="546"/>
                  </a:lnTo>
                  <a:lnTo>
                    <a:pt x="1928" y="534"/>
                  </a:lnTo>
                  <a:lnTo>
                    <a:pt x="1939" y="511"/>
                  </a:lnTo>
                  <a:lnTo>
                    <a:pt x="1961" y="511"/>
                  </a:lnTo>
                  <a:lnTo>
                    <a:pt x="1961" y="527"/>
                  </a:lnTo>
                  <a:lnTo>
                    <a:pt x="1977" y="518"/>
                  </a:lnTo>
                  <a:lnTo>
                    <a:pt x="1982" y="518"/>
                  </a:lnTo>
                  <a:lnTo>
                    <a:pt x="1982" y="518"/>
                  </a:lnTo>
                  <a:lnTo>
                    <a:pt x="1982" y="518"/>
                  </a:lnTo>
                  <a:close/>
                  <a:moveTo>
                    <a:pt x="2268" y="511"/>
                  </a:moveTo>
                  <a:lnTo>
                    <a:pt x="2268" y="518"/>
                  </a:lnTo>
                  <a:lnTo>
                    <a:pt x="2263" y="518"/>
                  </a:lnTo>
                  <a:lnTo>
                    <a:pt x="2268" y="511"/>
                  </a:lnTo>
                  <a:lnTo>
                    <a:pt x="2268" y="511"/>
                  </a:lnTo>
                  <a:lnTo>
                    <a:pt x="2268" y="511"/>
                  </a:lnTo>
                  <a:close/>
                  <a:moveTo>
                    <a:pt x="2251" y="546"/>
                  </a:moveTo>
                  <a:lnTo>
                    <a:pt x="2263" y="534"/>
                  </a:lnTo>
                  <a:lnTo>
                    <a:pt x="2268" y="527"/>
                  </a:lnTo>
                  <a:lnTo>
                    <a:pt x="2306" y="551"/>
                  </a:lnTo>
                  <a:lnTo>
                    <a:pt x="2301" y="551"/>
                  </a:lnTo>
                  <a:lnTo>
                    <a:pt x="2268" y="551"/>
                  </a:lnTo>
                  <a:lnTo>
                    <a:pt x="2251" y="551"/>
                  </a:lnTo>
                  <a:lnTo>
                    <a:pt x="2251" y="546"/>
                  </a:lnTo>
                  <a:lnTo>
                    <a:pt x="2251" y="546"/>
                  </a:lnTo>
                  <a:lnTo>
                    <a:pt x="2251" y="546"/>
                  </a:lnTo>
                  <a:close/>
                  <a:moveTo>
                    <a:pt x="803" y="645"/>
                  </a:moveTo>
                  <a:lnTo>
                    <a:pt x="803" y="655"/>
                  </a:lnTo>
                  <a:lnTo>
                    <a:pt x="787" y="655"/>
                  </a:lnTo>
                  <a:lnTo>
                    <a:pt x="787" y="645"/>
                  </a:lnTo>
                  <a:lnTo>
                    <a:pt x="749" y="629"/>
                  </a:lnTo>
                  <a:lnTo>
                    <a:pt x="749" y="622"/>
                  </a:lnTo>
                  <a:lnTo>
                    <a:pt x="749" y="605"/>
                  </a:lnTo>
                  <a:lnTo>
                    <a:pt x="739" y="600"/>
                  </a:lnTo>
                  <a:lnTo>
                    <a:pt x="735" y="584"/>
                  </a:lnTo>
                  <a:lnTo>
                    <a:pt x="697" y="572"/>
                  </a:lnTo>
                  <a:lnTo>
                    <a:pt x="697" y="567"/>
                  </a:lnTo>
                  <a:lnTo>
                    <a:pt x="711" y="555"/>
                  </a:lnTo>
                  <a:lnTo>
                    <a:pt x="711" y="551"/>
                  </a:lnTo>
                  <a:lnTo>
                    <a:pt x="711" y="546"/>
                  </a:lnTo>
                  <a:lnTo>
                    <a:pt x="723" y="546"/>
                  </a:lnTo>
                  <a:lnTo>
                    <a:pt x="735" y="551"/>
                  </a:lnTo>
                  <a:lnTo>
                    <a:pt x="739" y="555"/>
                  </a:lnTo>
                  <a:lnTo>
                    <a:pt x="735" y="546"/>
                  </a:lnTo>
                  <a:lnTo>
                    <a:pt x="749" y="534"/>
                  </a:lnTo>
                  <a:lnTo>
                    <a:pt x="756" y="546"/>
                  </a:lnTo>
                  <a:lnTo>
                    <a:pt x="773" y="600"/>
                  </a:lnTo>
                  <a:lnTo>
                    <a:pt x="810" y="612"/>
                  </a:lnTo>
                  <a:lnTo>
                    <a:pt x="794" y="638"/>
                  </a:lnTo>
                  <a:lnTo>
                    <a:pt x="803" y="645"/>
                  </a:lnTo>
                  <a:lnTo>
                    <a:pt x="803" y="645"/>
                  </a:lnTo>
                  <a:lnTo>
                    <a:pt x="803" y="645"/>
                  </a:lnTo>
                  <a:close/>
                  <a:moveTo>
                    <a:pt x="966" y="546"/>
                  </a:moveTo>
                  <a:lnTo>
                    <a:pt x="954" y="551"/>
                  </a:lnTo>
                  <a:lnTo>
                    <a:pt x="950" y="546"/>
                  </a:lnTo>
                  <a:lnTo>
                    <a:pt x="966" y="546"/>
                  </a:lnTo>
                  <a:lnTo>
                    <a:pt x="966" y="546"/>
                  </a:lnTo>
                  <a:lnTo>
                    <a:pt x="966" y="546"/>
                  </a:lnTo>
                  <a:close/>
                  <a:moveTo>
                    <a:pt x="2825" y="546"/>
                  </a:moveTo>
                  <a:lnTo>
                    <a:pt x="2927" y="555"/>
                  </a:lnTo>
                  <a:lnTo>
                    <a:pt x="2894" y="567"/>
                  </a:lnTo>
                  <a:lnTo>
                    <a:pt x="2872" y="567"/>
                  </a:lnTo>
                  <a:lnTo>
                    <a:pt x="2818" y="546"/>
                  </a:lnTo>
                  <a:lnTo>
                    <a:pt x="2825" y="546"/>
                  </a:lnTo>
                  <a:lnTo>
                    <a:pt x="2825" y="546"/>
                  </a:lnTo>
                  <a:lnTo>
                    <a:pt x="2825" y="546"/>
                  </a:lnTo>
                  <a:close/>
                  <a:moveTo>
                    <a:pt x="2046" y="551"/>
                  </a:moveTo>
                  <a:lnTo>
                    <a:pt x="2100" y="551"/>
                  </a:lnTo>
                  <a:lnTo>
                    <a:pt x="2105" y="551"/>
                  </a:lnTo>
                  <a:lnTo>
                    <a:pt x="2105" y="567"/>
                  </a:lnTo>
                  <a:lnTo>
                    <a:pt x="2079" y="567"/>
                  </a:lnTo>
                  <a:lnTo>
                    <a:pt x="2046" y="572"/>
                  </a:lnTo>
                  <a:lnTo>
                    <a:pt x="2036" y="555"/>
                  </a:lnTo>
                  <a:lnTo>
                    <a:pt x="2046" y="551"/>
                  </a:lnTo>
                  <a:lnTo>
                    <a:pt x="2046" y="551"/>
                  </a:lnTo>
                  <a:lnTo>
                    <a:pt x="2046" y="551"/>
                  </a:lnTo>
                  <a:close/>
                  <a:moveTo>
                    <a:pt x="2461" y="551"/>
                  </a:moveTo>
                  <a:lnTo>
                    <a:pt x="2469" y="555"/>
                  </a:lnTo>
                  <a:lnTo>
                    <a:pt x="2461" y="572"/>
                  </a:lnTo>
                  <a:lnTo>
                    <a:pt x="2445" y="572"/>
                  </a:lnTo>
                  <a:lnTo>
                    <a:pt x="2414" y="567"/>
                  </a:lnTo>
                  <a:lnTo>
                    <a:pt x="2461" y="551"/>
                  </a:lnTo>
                  <a:lnTo>
                    <a:pt x="2461" y="551"/>
                  </a:lnTo>
                  <a:lnTo>
                    <a:pt x="2461" y="551"/>
                  </a:lnTo>
                  <a:close/>
                  <a:moveTo>
                    <a:pt x="1961" y="555"/>
                  </a:moveTo>
                  <a:lnTo>
                    <a:pt x="1954" y="567"/>
                  </a:lnTo>
                  <a:lnTo>
                    <a:pt x="1954" y="555"/>
                  </a:lnTo>
                  <a:lnTo>
                    <a:pt x="1961" y="555"/>
                  </a:lnTo>
                  <a:lnTo>
                    <a:pt x="1961" y="555"/>
                  </a:lnTo>
                  <a:lnTo>
                    <a:pt x="1961" y="555"/>
                  </a:lnTo>
                  <a:close/>
                  <a:moveTo>
                    <a:pt x="2117" y="555"/>
                  </a:moveTo>
                  <a:lnTo>
                    <a:pt x="2187" y="555"/>
                  </a:lnTo>
                  <a:lnTo>
                    <a:pt x="2121" y="567"/>
                  </a:lnTo>
                  <a:lnTo>
                    <a:pt x="2105" y="567"/>
                  </a:lnTo>
                  <a:lnTo>
                    <a:pt x="2117" y="555"/>
                  </a:lnTo>
                  <a:lnTo>
                    <a:pt x="2117" y="555"/>
                  </a:lnTo>
                  <a:lnTo>
                    <a:pt x="2117" y="555"/>
                  </a:lnTo>
                  <a:close/>
                  <a:moveTo>
                    <a:pt x="2008" y="567"/>
                  </a:moveTo>
                  <a:lnTo>
                    <a:pt x="2008" y="572"/>
                  </a:lnTo>
                  <a:lnTo>
                    <a:pt x="1998" y="567"/>
                  </a:lnTo>
                  <a:lnTo>
                    <a:pt x="2008" y="567"/>
                  </a:lnTo>
                  <a:lnTo>
                    <a:pt x="2008" y="567"/>
                  </a:lnTo>
                  <a:lnTo>
                    <a:pt x="2008" y="567"/>
                  </a:lnTo>
                  <a:close/>
                  <a:moveTo>
                    <a:pt x="2154" y="572"/>
                  </a:moveTo>
                  <a:lnTo>
                    <a:pt x="2159" y="605"/>
                  </a:lnTo>
                  <a:lnTo>
                    <a:pt x="2143" y="584"/>
                  </a:lnTo>
                  <a:lnTo>
                    <a:pt x="2154" y="572"/>
                  </a:lnTo>
                  <a:lnTo>
                    <a:pt x="2154" y="572"/>
                  </a:lnTo>
                  <a:lnTo>
                    <a:pt x="2154" y="572"/>
                  </a:lnTo>
                  <a:close/>
                  <a:moveTo>
                    <a:pt x="324" y="600"/>
                  </a:moveTo>
                  <a:lnTo>
                    <a:pt x="302" y="589"/>
                  </a:lnTo>
                  <a:lnTo>
                    <a:pt x="302" y="572"/>
                  </a:lnTo>
                  <a:lnTo>
                    <a:pt x="307" y="572"/>
                  </a:lnTo>
                  <a:lnTo>
                    <a:pt x="324" y="600"/>
                  </a:lnTo>
                  <a:lnTo>
                    <a:pt x="324" y="600"/>
                  </a:lnTo>
                  <a:lnTo>
                    <a:pt x="324" y="600"/>
                  </a:lnTo>
                  <a:close/>
                  <a:moveTo>
                    <a:pt x="345" y="629"/>
                  </a:moveTo>
                  <a:lnTo>
                    <a:pt x="333" y="629"/>
                  </a:lnTo>
                  <a:lnTo>
                    <a:pt x="333" y="605"/>
                  </a:lnTo>
                  <a:lnTo>
                    <a:pt x="345" y="629"/>
                  </a:lnTo>
                  <a:lnTo>
                    <a:pt x="345" y="629"/>
                  </a:lnTo>
                  <a:lnTo>
                    <a:pt x="345" y="629"/>
                  </a:lnTo>
                  <a:close/>
                  <a:moveTo>
                    <a:pt x="862" y="629"/>
                  </a:moveTo>
                  <a:lnTo>
                    <a:pt x="874" y="612"/>
                  </a:lnTo>
                  <a:lnTo>
                    <a:pt x="879" y="612"/>
                  </a:lnTo>
                  <a:lnTo>
                    <a:pt x="900" y="612"/>
                  </a:lnTo>
                  <a:lnTo>
                    <a:pt x="917" y="638"/>
                  </a:lnTo>
                  <a:lnTo>
                    <a:pt x="900" y="662"/>
                  </a:lnTo>
                  <a:lnTo>
                    <a:pt x="895" y="662"/>
                  </a:lnTo>
                  <a:lnTo>
                    <a:pt x="891" y="645"/>
                  </a:lnTo>
                  <a:lnTo>
                    <a:pt x="879" y="655"/>
                  </a:lnTo>
                  <a:lnTo>
                    <a:pt x="862" y="662"/>
                  </a:lnTo>
                  <a:lnTo>
                    <a:pt x="862" y="629"/>
                  </a:lnTo>
                  <a:lnTo>
                    <a:pt x="862" y="629"/>
                  </a:lnTo>
                  <a:lnTo>
                    <a:pt x="862" y="629"/>
                  </a:lnTo>
                  <a:close/>
                  <a:moveTo>
                    <a:pt x="361" y="666"/>
                  </a:moveTo>
                  <a:lnTo>
                    <a:pt x="345" y="645"/>
                  </a:lnTo>
                  <a:lnTo>
                    <a:pt x="345" y="629"/>
                  </a:lnTo>
                  <a:lnTo>
                    <a:pt x="361" y="645"/>
                  </a:lnTo>
                  <a:lnTo>
                    <a:pt x="361" y="655"/>
                  </a:lnTo>
                  <a:lnTo>
                    <a:pt x="361" y="666"/>
                  </a:lnTo>
                  <a:lnTo>
                    <a:pt x="361" y="666"/>
                  </a:lnTo>
                  <a:lnTo>
                    <a:pt x="361" y="666"/>
                  </a:lnTo>
                  <a:close/>
                  <a:moveTo>
                    <a:pt x="2294" y="683"/>
                  </a:moveTo>
                  <a:lnTo>
                    <a:pt x="2284" y="662"/>
                  </a:lnTo>
                  <a:lnTo>
                    <a:pt x="2306" y="638"/>
                  </a:lnTo>
                  <a:lnTo>
                    <a:pt x="2360" y="638"/>
                  </a:lnTo>
                  <a:lnTo>
                    <a:pt x="2376" y="645"/>
                  </a:lnTo>
                  <a:lnTo>
                    <a:pt x="2407" y="629"/>
                  </a:lnTo>
                  <a:lnTo>
                    <a:pt x="2440" y="645"/>
                  </a:lnTo>
                  <a:lnTo>
                    <a:pt x="2461" y="645"/>
                  </a:lnTo>
                  <a:lnTo>
                    <a:pt x="2478" y="655"/>
                  </a:lnTo>
                  <a:lnTo>
                    <a:pt x="2485" y="666"/>
                  </a:lnTo>
                  <a:lnTo>
                    <a:pt x="2495" y="678"/>
                  </a:lnTo>
                  <a:lnTo>
                    <a:pt x="2499" y="683"/>
                  </a:lnTo>
                  <a:lnTo>
                    <a:pt x="2495" y="711"/>
                  </a:lnTo>
                  <a:lnTo>
                    <a:pt x="2440" y="678"/>
                  </a:lnTo>
                  <a:lnTo>
                    <a:pt x="2431" y="666"/>
                  </a:lnTo>
                  <a:lnTo>
                    <a:pt x="2402" y="666"/>
                  </a:lnTo>
                  <a:lnTo>
                    <a:pt x="2402" y="678"/>
                  </a:lnTo>
                  <a:lnTo>
                    <a:pt x="2360" y="666"/>
                  </a:lnTo>
                  <a:lnTo>
                    <a:pt x="2369" y="662"/>
                  </a:lnTo>
                  <a:lnTo>
                    <a:pt x="2360" y="662"/>
                  </a:lnTo>
                  <a:lnTo>
                    <a:pt x="2332" y="678"/>
                  </a:lnTo>
                  <a:lnTo>
                    <a:pt x="2306" y="655"/>
                  </a:lnTo>
                  <a:lnTo>
                    <a:pt x="2294" y="683"/>
                  </a:lnTo>
                  <a:lnTo>
                    <a:pt x="2294" y="683"/>
                  </a:lnTo>
                  <a:lnTo>
                    <a:pt x="2294" y="683"/>
                  </a:lnTo>
                  <a:close/>
                  <a:moveTo>
                    <a:pt x="858" y="629"/>
                  </a:moveTo>
                  <a:lnTo>
                    <a:pt x="858" y="638"/>
                  </a:lnTo>
                  <a:lnTo>
                    <a:pt x="848" y="638"/>
                  </a:lnTo>
                  <a:lnTo>
                    <a:pt x="858" y="629"/>
                  </a:lnTo>
                  <a:lnTo>
                    <a:pt x="858" y="629"/>
                  </a:lnTo>
                  <a:lnTo>
                    <a:pt x="858" y="629"/>
                  </a:lnTo>
                  <a:close/>
                  <a:moveTo>
                    <a:pt x="810" y="638"/>
                  </a:moveTo>
                  <a:lnTo>
                    <a:pt x="820" y="638"/>
                  </a:lnTo>
                  <a:lnTo>
                    <a:pt x="820" y="645"/>
                  </a:lnTo>
                  <a:lnTo>
                    <a:pt x="803" y="645"/>
                  </a:lnTo>
                  <a:lnTo>
                    <a:pt x="810" y="638"/>
                  </a:lnTo>
                  <a:lnTo>
                    <a:pt x="810" y="638"/>
                  </a:lnTo>
                  <a:lnTo>
                    <a:pt x="810" y="638"/>
                  </a:lnTo>
                  <a:close/>
                  <a:moveTo>
                    <a:pt x="2294" y="638"/>
                  </a:moveTo>
                  <a:lnTo>
                    <a:pt x="2294" y="645"/>
                  </a:lnTo>
                  <a:lnTo>
                    <a:pt x="2284" y="645"/>
                  </a:lnTo>
                  <a:lnTo>
                    <a:pt x="2294" y="638"/>
                  </a:lnTo>
                  <a:lnTo>
                    <a:pt x="2294" y="638"/>
                  </a:lnTo>
                  <a:lnTo>
                    <a:pt x="2294" y="638"/>
                  </a:lnTo>
                  <a:close/>
                  <a:moveTo>
                    <a:pt x="2171" y="655"/>
                  </a:moveTo>
                  <a:lnTo>
                    <a:pt x="2171" y="662"/>
                  </a:lnTo>
                  <a:lnTo>
                    <a:pt x="2187" y="655"/>
                  </a:lnTo>
                  <a:lnTo>
                    <a:pt x="2209" y="645"/>
                  </a:lnTo>
                  <a:lnTo>
                    <a:pt x="2230" y="655"/>
                  </a:lnTo>
                  <a:lnTo>
                    <a:pt x="2242" y="662"/>
                  </a:lnTo>
                  <a:lnTo>
                    <a:pt x="2230" y="666"/>
                  </a:lnTo>
                  <a:lnTo>
                    <a:pt x="2246" y="666"/>
                  </a:lnTo>
                  <a:lnTo>
                    <a:pt x="2246" y="695"/>
                  </a:lnTo>
                  <a:lnTo>
                    <a:pt x="2209" y="700"/>
                  </a:lnTo>
                  <a:lnTo>
                    <a:pt x="2192" y="700"/>
                  </a:lnTo>
                  <a:lnTo>
                    <a:pt x="2159" y="678"/>
                  </a:lnTo>
                  <a:lnTo>
                    <a:pt x="2159" y="662"/>
                  </a:lnTo>
                  <a:lnTo>
                    <a:pt x="2171" y="655"/>
                  </a:lnTo>
                  <a:lnTo>
                    <a:pt x="2171" y="655"/>
                  </a:lnTo>
                  <a:lnTo>
                    <a:pt x="2171" y="655"/>
                  </a:lnTo>
                  <a:close/>
                  <a:moveTo>
                    <a:pt x="2280" y="655"/>
                  </a:moveTo>
                  <a:lnTo>
                    <a:pt x="2284" y="662"/>
                  </a:lnTo>
                  <a:lnTo>
                    <a:pt x="2268" y="662"/>
                  </a:lnTo>
                  <a:lnTo>
                    <a:pt x="2280" y="655"/>
                  </a:lnTo>
                  <a:lnTo>
                    <a:pt x="2280" y="655"/>
                  </a:lnTo>
                  <a:lnTo>
                    <a:pt x="2280" y="655"/>
                  </a:lnTo>
                  <a:close/>
                  <a:moveTo>
                    <a:pt x="1474" y="662"/>
                  </a:moveTo>
                  <a:lnTo>
                    <a:pt x="1474" y="711"/>
                  </a:lnTo>
                  <a:lnTo>
                    <a:pt x="1458" y="716"/>
                  </a:lnTo>
                  <a:lnTo>
                    <a:pt x="1458" y="695"/>
                  </a:lnTo>
                  <a:lnTo>
                    <a:pt x="1469" y="666"/>
                  </a:lnTo>
                  <a:lnTo>
                    <a:pt x="1474" y="662"/>
                  </a:lnTo>
                  <a:lnTo>
                    <a:pt x="1474" y="662"/>
                  </a:lnTo>
                  <a:lnTo>
                    <a:pt x="1474" y="662"/>
                  </a:lnTo>
                  <a:close/>
                  <a:moveTo>
                    <a:pt x="2268" y="662"/>
                  </a:moveTo>
                  <a:lnTo>
                    <a:pt x="2268" y="666"/>
                  </a:lnTo>
                  <a:lnTo>
                    <a:pt x="2263" y="666"/>
                  </a:lnTo>
                  <a:lnTo>
                    <a:pt x="2268" y="662"/>
                  </a:lnTo>
                  <a:lnTo>
                    <a:pt x="2268" y="662"/>
                  </a:lnTo>
                  <a:lnTo>
                    <a:pt x="2268" y="662"/>
                  </a:lnTo>
                  <a:close/>
                  <a:moveTo>
                    <a:pt x="1484" y="678"/>
                  </a:moveTo>
                  <a:lnTo>
                    <a:pt x="1484" y="695"/>
                  </a:lnTo>
                  <a:lnTo>
                    <a:pt x="1474" y="683"/>
                  </a:lnTo>
                  <a:lnTo>
                    <a:pt x="1484" y="678"/>
                  </a:lnTo>
                  <a:lnTo>
                    <a:pt x="1484" y="678"/>
                  </a:lnTo>
                  <a:lnTo>
                    <a:pt x="1484" y="678"/>
                  </a:lnTo>
                  <a:close/>
                  <a:moveTo>
                    <a:pt x="2339" y="678"/>
                  </a:moveTo>
                  <a:lnTo>
                    <a:pt x="2348" y="678"/>
                  </a:lnTo>
                  <a:lnTo>
                    <a:pt x="2348" y="683"/>
                  </a:lnTo>
                  <a:lnTo>
                    <a:pt x="2339" y="695"/>
                  </a:lnTo>
                  <a:lnTo>
                    <a:pt x="2339" y="678"/>
                  </a:lnTo>
                  <a:lnTo>
                    <a:pt x="2339" y="678"/>
                  </a:lnTo>
                  <a:lnTo>
                    <a:pt x="2339" y="678"/>
                  </a:lnTo>
                  <a:close/>
                  <a:moveTo>
                    <a:pt x="2301" y="683"/>
                  </a:moveTo>
                  <a:lnTo>
                    <a:pt x="2322" y="683"/>
                  </a:lnTo>
                  <a:lnTo>
                    <a:pt x="2317" y="700"/>
                  </a:lnTo>
                  <a:lnTo>
                    <a:pt x="2306" y="700"/>
                  </a:lnTo>
                  <a:lnTo>
                    <a:pt x="2306" y="695"/>
                  </a:lnTo>
                  <a:lnTo>
                    <a:pt x="2294" y="700"/>
                  </a:lnTo>
                  <a:lnTo>
                    <a:pt x="2294" y="695"/>
                  </a:lnTo>
                  <a:lnTo>
                    <a:pt x="2301" y="683"/>
                  </a:lnTo>
                  <a:lnTo>
                    <a:pt x="2301" y="683"/>
                  </a:lnTo>
                  <a:lnTo>
                    <a:pt x="2301" y="683"/>
                  </a:lnTo>
                  <a:close/>
                  <a:moveTo>
                    <a:pt x="2332" y="683"/>
                  </a:moveTo>
                  <a:lnTo>
                    <a:pt x="2339" y="683"/>
                  </a:lnTo>
                  <a:lnTo>
                    <a:pt x="2322" y="695"/>
                  </a:lnTo>
                  <a:lnTo>
                    <a:pt x="2332" y="683"/>
                  </a:lnTo>
                  <a:lnTo>
                    <a:pt x="2332" y="683"/>
                  </a:lnTo>
                  <a:lnTo>
                    <a:pt x="2332" y="683"/>
                  </a:lnTo>
                  <a:close/>
                  <a:moveTo>
                    <a:pt x="1954" y="683"/>
                  </a:moveTo>
                  <a:lnTo>
                    <a:pt x="1961" y="683"/>
                  </a:lnTo>
                  <a:lnTo>
                    <a:pt x="1954" y="695"/>
                  </a:lnTo>
                  <a:lnTo>
                    <a:pt x="1954" y="683"/>
                  </a:lnTo>
                  <a:lnTo>
                    <a:pt x="1954" y="683"/>
                  </a:lnTo>
                  <a:lnTo>
                    <a:pt x="1954" y="683"/>
                  </a:lnTo>
                  <a:close/>
                  <a:moveTo>
                    <a:pt x="2246" y="700"/>
                  </a:moveTo>
                  <a:lnTo>
                    <a:pt x="2246" y="711"/>
                  </a:lnTo>
                  <a:lnTo>
                    <a:pt x="2242" y="711"/>
                  </a:lnTo>
                  <a:lnTo>
                    <a:pt x="2246" y="700"/>
                  </a:lnTo>
                  <a:lnTo>
                    <a:pt x="2246" y="700"/>
                  </a:lnTo>
                  <a:lnTo>
                    <a:pt x="2246" y="700"/>
                  </a:lnTo>
                  <a:close/>
                  <a:moveTo>
                    <a:pt x="2726" y="711"/>
                  </a:moveTo>
                  <a:lnTo>
                    <a:pt x="2733" y="716"/>
                  </a:lnTo>
                  <a:lnTo>
                    <a:pt x="2726" y="711"/>
                  </a:lnTo>
                  <a:lnTo>
                    <a:pt x="2726" y="711"/>
                  </a:lnTo>
                  <a:lnTo>
                    <a:pt x="2726" y="711"/>
                  </a:lnTo>
                  <a:close/>
                  <a:moveTo>
                    <a:pt x="1954" y="716"/>
                  </a:moveTo>
                  <a:lnTo>
                    <a:pt x="1970" y="723"/>
                  </a:lnTo>
                  <a:lnTo>
                    <a:pt x="1961" y="733"/>
                  </a:lnTo>
                  <a:lnTo>
                    <a:pt x="1944" y="723"/>
                  </a:lnTo>
                  <a:lnTo>
                    <a:pt x="1954" y="716"/>
                  </a:lnTo>
                  <a:lnTo>
                    <a:pt x="1954" y="716"/>
                  </a:lnTo>
                  <a:lnTo>
                    <a:pt x="1954" y="716"/>
                  </a:lnTo>
                  <a:close/>
                  <a:moveTo>
                    <a:pt x="2674" y="723"/>
                  </a:moveTo>
                  <a:lnTo>
                    <a:pt x="2695" y="740"/>
                  </a:lnTo>
                  <a:lnTo>
                    <a:pt x="2674" y="733"/>
                  </a:lnTo>
                  <a:lnTo>
                    <a:pt x="2674" y="723"/>
                  </a:lnTo>
                  <a:lnTo>
                    <a:pt x="2674" y="723"/>
                  </a:lnTo>
                  <a:lnTo>
                    <a:pt x="2674" y="723"/>
                  </a:lnTo>
                  <a:close/>
                  <a:moveTo>
                    <a:pt x="1954" y="749"/>
                  </a:moveTo>
                  <a:lnTo>
                    <a:pt x="1961" y="756"/>
                  </a:lnTo>
                  <a:lnTo>
                    <a:pt x="1961" y="778"/>
                  </a:lnTo>
                  <a:lnTo>
                    <a:pt x="1954" y="766"/>
                  </a:lnTo>
                  <a:lnTo>
                    <a:pt x="1954" y="773"/>
                  </a:lnTo>
                  <a:lnTo>
                    <a:pt x="1944" y="794"/>
                  </a:lnTo>
                  <a:lnTo>
                    <a:pt x="1961" y="811"/>
                  </a:lnTo>
                  <a:lnTo>
                    <a:pt x="1939" y="822"/>
                  </a:lnTo>
                  <a:lnTo>
                    <a:pt x="1939" y="834"/>
                  </a:lnTo>
                  <a:lnTo>
                    <a:pt x="1923" y="834"/>
                  </a:lnTo>
                  <a:lnTo>
                    <a:pt x="1916" y="827"/>
                  </a:lnTo>
                  <a:lnTo>
                    <a:pt x="1928" y="794"/>
                  </a:lnTo>
                  <a:lnTo>
                    <a:pt x="1939" y="756"/>
                  </a:lnTo>
                  <a:lnTo>
                    <a:pt x="1954" y="749"/>
                  </a:lnTo>
                  <a:lnTo>
                    <a:pt x="1954" y="749"/>
                  </a:lnTo>
                  <a:lnTo>
                    <a:pt x="1954" y="749"/>
                  </a:lnTo>
                  <a:close/>
                  <a:moveTo>
                    <a:pt x="1928" y="766"/>
                  </a:moveTo>
                  <a:lnTo>
                    <a:pt x="1928" y="789"/>
                  </a:lnTo>
                  <a:lnTo>
                    <a:pt x="1923" y="806"/>
                  </a:lnTo>
                  <a:lnTo>
                    <a:pt x="1923" y="811"/>
                  </a:lnTo>
                  <a:lnTo>
                    <a:pt x="1916" y="822"/>
                  </a:lnTo>
                  <a:lnTo>
                    <a:pt x="1902" y="822"/>
                  </a:lnTo>
                  <a:lnTo>
                    <a:pt x="1906" y="794"/>
                  </a:lnTo>
                  <a:lnTo>
                    <a:pt x="1902" y="778"/>
                  </a:lnTo>
                  <a:lnTo>
                    <a:pt x="1928" y="766"/>
                  </a:lnTo>
                  <a:lnTo>
                    <a:pt x="1928" y="766"/>
                  </a:lnTo>
                  <a:lnTo>
                    <a:pt x="1928" y="766"/>
                  </a:lnTo>
                  <a:close/>
                  <a:moveTo>
                    <a:pt x="1873" y="794"/>
                  </a:moveTo>
                  <a:lnTo>
                    <a:pt x="1885" y="822"/>
                  </a:lnTo>
                  <a:lnTo>
                    <a:pt x="1873" y="822"/>
                  </a:lnTo>
                  <a:lnTo>
                    <a:pt x="1864" y="811"/>
                  </a:lnTo>
                  <a:lnTo>
                    <a:pt x="1869" y="794"/>
                  </a:lnTo>
                  <a:lnTo>
                    <a:pt x="1873" y="794"/>
                  </a:lnTo>
                  <a:lnTo>
                    <a:pt x="1873" y="794"/>
                  </a:lnTo>
                  <a:lnTo>
                    <a:pt x="1873" y="794"/>
                  </a:lnTo>
                  <a:close/>
                  <a:moveTo>
                    <a:pt x="501" y="827"/>
                  </a:moveTo>
                  <a:lnTo>
                    <a:pt x="480" y="811"/>
                  </a:lnTo>
                  <a:lnTo>
                    <a:pt x="484" y="811"/>
                  </a:lnTo>
                  <a:lnTo>
                    <a:pt x="501" y="822"/>
                  </a:lnTo>
                  <a:lnTo>
                    <a:pt x="501" y="827"/>
                  </a:lnTo>
                  <a:lnTo>
                    <a:pt x="501" y="827"/>
                  </a:lnTo>
                  <a:lnTo>
                    <a:pt x="501" y="827"/>
                  </a:lnTo>
                  <a:close/>
                  <a:moveTo>
                    <a:pt x="2662" y="811"/>
                  </a:moveTo>
                  <a:lnTo>
                    <a:pt x="2658" y="834"/>
                  </a:lnTo>
                  <a:lnTo>
                    <a:pt x="2641" y="860"/>
                  </a:lnTo>
                  <a:lnTo>
                    <a:pt x="2658" y="811"/>
                  </a:lnTo>
                  <a:lnTo>
                    <a:pt x="2662" y="811"/>
                  </a:lnTo>
                  <a:lnTo>
                    <a:pt x="2662" y="811"/>
                  </a:lnTo>
                  <a:lnTo>
                    <a:pt x="2662" y="811"/>
                  </a:lnTo>
                  <a:close/>
                  <a:moveTo>
                    <a:pt x="2754" y="822"/>
                  </a:moveTo>
                  <a:lnTo>
                    <a:pt x="2764" y="827"/>
                  </a:lnTo>
                  <a:lnTo>
                    <a:pt x="2771" y="851"/>
                  </a:lnTo>
                  <a:lnTo>
                    <a:pt x="2771" y="860"/>
                  </a:lnTo>
                  <a:lnTo>
                    <a:pt x="2764" y="860"/>
                  </a:lnTo>
                  <a:lnTo>
                    <a:pt x="2738" y="860"/>
                  </a:lnTo>
                  <a:lnTo>
                    <a:pt x="2750" y="844"/>
                  </a:lnTo>
                  <a:lnTo>
                    <a:pt x="2733" y="844"/>
                  </a:lnTo>
                  <a:lnTo>
                    <a:pt x="2738" y="844"/>
                  </a:lnTo>
                  <a:lnTo>
                    <a:pt x="2754" y="822"/>
                  </a:lnTo>
                  <a:lnTo>
                    <a:pt x="2754" y="822"/>
                  </a:lnTo>
                  <a:lnTo>
                    <a:pt x="2754" y="822"/>
                  </a:lnTo>
                  <a:close/>
                  <a:moveTo>
                    <a:pt x="2629" y="834"/>
                  </a:moveTo>
                  <a:lnTo>
                    <a:pt x="2629" y="851"/>
                  </a:lnTo>
                  <a:lnTo>
                    <a:pt x="2629" y="860"/>
                  </a:lnTo>
                  <a:lnTo>
                    <a:pt x="2624" y="834"/>
                  </a:lnTo>
                  <a:lnTo>
                    <a:pt x="2629" y="834"/>
                  </a:lnTo>
                  <a:lnTo>
                    <a:pt x="2629" y="834"/>
                  </a:lnTo>
                  <a:lnTo>
                    <a:pt x="2629" y="834"/>
                  </a:lnTo>
                  <a:close/>
                  <a:moveTo>
                    <a:pt x="1226" y="844"/>
                  </a:moveTo>
                  <a:lnTo>
                    <a:pt x="1226" y="851"/>
                  </a:lnTo>
                  <a:lnTo>
                    <a:pt x="1219" y="851"/>
                  </a:lnTo>
                  <a:lnTo>
                    <a:pt x="1226" y="844"/>
                  </a:lnTo>
                  <a:lnTo>
                    <a:pt x="1226" y="844"/>
                  </a:lnTo>
                  <a:lnTo>
                    <a:pt x="1226" y="844"/>
                  </a:lnTo>
                  <a:close/>
                  <a:moveTo>
                    <a:pt x="1765" y="844"/>
                  </a:moveTo>
                  <a:lnTo>
                    <a:pt x="1776" y="867"/>
                  </a:lnTo>
                  <a:lnTo>
                    <a:pt x="1765" y="900"/>
                  </a:lnTo>
                  <a:lnTo>
                    <a:pt x="1765" y="844"/>
                  </a:lnTo>
                  <a:lnTo>
                    <a:pt x="1765" y="844"/>
                  </a:lnTo>
                  <a:lnTo>
                    <a:pt x="1765" y="844"/>
                  </a:lnTo>
                  <a:close/>
                  <a:moveTo>
                    <a:pt x="1361" y="1066"/>
                  </a:moveTo>
                  <a:lnTo>
                    <a:pt x="1332" y="1049"/>
                  </a:lnTo>
                  <a:lnTo>
                    <a:pt x="1323" y="1049"/>
                  </a:lnTo>
                  <a:lnTo>
                    <a:pt x="1295" y="1044"/>
                  </a:lnTo>
                  <a:lnTo>
                    <a:pt x="1257" y="1028"/>
                  </a:lnTo>
                  <a:lnTo>
                    <a:pt x="1219" y="1033"/>
                  </a:lnTo>
                  <a:lnTo>
                    <a:pt x="1160" y="1028"/>
                  </a:lnTo>
                  <a:lnTo>
                    <a:pt x="1150" y="1033"/>
                  </a:lnTo>
                  <a:lnTo>
                    <a:pt x="1080" y="1016"/>
                  </a:lnTo>
                  <a:lnTo>
                    <a:pt x="1037" y="995"/>
                  </a:lnTo>
                  <a:lnTo>
                    <a:pt x="987" y="988"/>
                  </a:lnTo>
                  <a:lnTo>
                    <a:pt x="966" y="988"/>
                  </a:lnTo>
                  <a:lnTo>
                    <a:pt x="954" y="978"/>
                  </a:lnTo>
                  <a:lnTo>
                    <a:pt x="933" y="988"/>
                  </a:lnTo>
                  <a:lnTo>
                    <a:pt x="928" y="995"/>
                  </a:lnTo>
                  <a:lnTo>
                    <a:pt x="900" y="995"/>
                  </a:lnTo>
                  <a:lnTo>
                    <a:pt x="858" y="971"/>
                  </a:lnTo>
                  <a:lnTo>
                    <a:pt x="777" y="962"/>
                  </a:lnTo>
                  <a:lnTo>
                    <a:pt x="777" y="955"/>
                  </a:lnTo>
                  <a:lnTo>
                    <a:pt x="794" y="938"/>
                  </a:lnTo>
                  <a:lnTo>
                    <a:pt x="787" y="933"/>
                  </a:lnTo>
                  <a:lnTo>
                    <a:pt x="777" y="933"/>
                  </a:lnTo>
                  <a:lnTo>
                    <a:pt x="756" y="922"/>
                  </a:lnTo>
                  <a:lnTo>
                    <a:pt x="718" y="922"/>
                  </a:lnTo>
                  <a:lnTo>
                    <a:pt x="702" y="917"/>
                  </a:lnTo>
                  <a:lnTo>
                    <a:pt x="718" y="922"/>
                  </a:lnTo>
                  <a:lnTo>
                    <a:pt x="723" y="905"/>
                  </a:lnTo>
                  <a:lnTo>
                    <a:pt x="723" y="900"/>
                  </a:lnTo>
                  <a:lnTo>
                    <a:pt x="739" y="889"/>
                  </a:lnTo>
                  <a:lnTo>
                    <a:pt x="739" y="867"/>
                  </a:lnTo>
                  <a:lnTo>
                    <a:pt x="756" y="851"/>
                  </a:lnTo>
                  <a:lnTo>
                    <a:pt x="765" y="860"/>
                  </a:lnTo>
                  <a:lnTo>
                    <a:pt x="773" y="860"/>
                  </a:lnTo>
                  <a:lnTo>
                    <a:pt x="787" y="867"/>
                  </a:lnTo>
                  <a:lnTo>
                    <a:pt x="803" y="860"/>
                  </a:lnTo>
                  <a:lnTo>
                    <a:pt x="810" y="867"/>
                  </a:lnTo>
                  <a:lnTo>
                    <a:pt x="824" y="867"/>
                  </a:lnTo>
                  <a:lnTo>
                    <a:pt x="824" y="851"/>
                  </a:lnTo>
                  <a:lnTo>
                    <a:pt x="848" y="860"/>
                  </a:lnTo>
                  <a:lnTo>
                    <a:pt x="874" y="884"/>
                  </a:lnTo>
                  <a:lnTo>
                    <a:pt x="891" y="877"/>
                  </a:lnTo>
                  <a:lnTo>
                    <a:pt x="900" y="884"/>
                  </a:lnTo>
                  <a:lnTo>
                    <a:pt x="917" y="884"/>
                  </a:lnTo>
                  <a:lnTo>
                    <a:pt x="933" y="900"/>
                  </a:lnTo>
                  <a:lnTo>
                    <a:pt x="933" y="917"/>
                  </a:lnTo>
                  <a:lnTo>
                    <a:pt x="983" y="922"/>
                  </a:lnTo>
                  <a:lnTo>
                    <a:pt x="1004" y="922"/>
                  </a:lnTo>
                  <a:lnTo>
                    <a:pt x="1063" y="933"/>
                  </a:lnTo>
                  <a:lnTo>
                    <a:pt x="1075" y="922"/>
                  </a:lnTo>
                  <a:lnTo>
                    <a:pt x="1089" y="889"/>
                  </a:lnTo>
                  <a:lnTo>
                    <a:pt x="1096" y="889"/>
                  </a:lnTo>
                  <a:lnTo>
                    <a:pt x="1113" y="889"/>
                  </a:lnTo>
                  <a:lnTo>
                    <a:pt x="1113" y="917"/>
                  </a:lnTo>
                  <a:lnTo>
                    <a:pt x="1134" y="917"/>
                  </a:lnTo>
                  <a:lnTo>
                    <a:pt x="1143" y="905"/>
                  </a:lnTo>
                  <a:lnTo>
                    <a:pt x="1160" y="917"/>
                  </a:lnTo>
                  <a:lnTo>
                    <a:pt x="1172" y="917"/>
                  </a:lnTo>
                  <a:lnTo>
                    <a:pt x="1181" y="933"/>
                  </a:lnTo>
                  <a:lnTo>
                    <a:pt x="1214" y="933"/>
                  </a:lnTo>
                  <a:lnTo>
                    <a:pt x="1219" y="945"/>
                  </a:lnTo>
                  <a:lnTo>
                    <a:pt x="1226" y="945"/>
                  </a:lnTo>
                  <a:lnTo>
                    <a:pt x="1235" y="955"/>
                  </a:lnTo>
                  <a:lnTo>
                    <a:pt x="1226" y="971"/>
                  </a:lnTo>
                  <a:lnTo>
                    <a:pt x="1257" y="988"/>
                  </a:lnTo>
                  <a:lnTo>
                    <a:pt x="1295" y="988"/>
                  </a:lnTo>
                  <a:lnTo>
                    <a:pt x="1323" y="978"/>
                  </a:lnTo>
                  <a:lnTo>
                    <a:pt x="1344" y="995"/>
                  </a:lnTo>
                  <a:lnTo>
                    <a:pt x="1344" y="1033"/>
                  </a:lnTo>
                  <a:lnTo>
                    <a:pt x="1349" y="1049"/>
                  </a:lnTo>
                  <a:lnTo>
                    <a:pt x="1361" y="1056"/>
                  </a:lnTo>
                  <a:lnTo>
                    <a:pt x="1361" y="1066"/>
                  </a:lnTo>
                  <a:lnTo>
                    <a:pt x="1361" y="1066"/>
                  </a:lnTo>
                  <a:lnTo>
                    <a:pt x="1361" y="1066"/>
                  </a:lnTo>
                  <a:close/>
                  <a:moveTo>
                    <a:pt x="2754" y="860"/>
                  </a:moveTo>
                  <a:lnTo>
                    <a:pt x="2764" y="860"/>
                  </a:lnTo>
                  <a:lnTo>
                    <a:pt x="2771" y="867"/>
                  </a:lnTo>
                  <a:lnTo>
                    <a:pt x="2771" y="884"/>
                  </a:lnTo>
                  <a:lnTo>
                    <a:pt x="2764" y="889"/>
                  </a:lnTo>
                  <a:lnTo>
                    <a:pt x="2738" y="867"/>
                  </a:lnTo>
                  <a:lnTo>
                    <a:pt x="2754" y="860"/>
                  </a:lnTo>
                  <a:lnTo>
                    <a:pt x="2754" y="860"/>
                  </a:lnTo>
                  <a:lnTo>
                    <a:pt x="2754" y="860"/>
                  </a:lnTo>
                  <a:close/>
                  <a:moveTo>
                    <a:pt x="2733" y="860"/>
                  </a:moveTo>
                  <a:lnTo>
                    <a:pt x="2733" y="867"/>
                  </a:lnTo>
                  <a:lnTo>
                    <a:pt x="2750" y="884"/>
                  </a:lnTo>
                  <a:lnTo>
                    <a:pt x="2738" y="884"/>
                  </a:lnTo>
                  <a:lnTo>
                    <a:pt x="2726" y="867"/>
                  </a:lnTo>
                  <a:lnTo>
                    <a:pt x="2726" y="860"/>
                  </a:lnTo>
                  <a:lnTo>
                    <a:pt x="2733" y="860"/>
                  </a:lnTo>
                  <a:lnTo>
                    <a:pt x="2733" y="860"/>
                  </a:lnTo>
                  <a:lnTo>
                    <a:pt x="2733" y="860"/>
                  </a:lnTo>
                  <a:close/>
                  <a:moveTo>
                    <a:pt x="2726" y="877"/>
                  </a:moveTo>
                  <a:lnTo>
                    <a:pt x="2754" y="905"/>
                  </a:lnTo>
                  <a:lnTo>
                    <a:pt x="2733" y="933"/>
                  </a:lnTo>
                  <a:lnTo>
                    <a:pt x="2726" y="917"/>
                  </a:lnTo>
                  <a:lnTo>
                    <a:pt x="2726" y="877"/>
                  </a:lnTo>
                  <a:lnTo>
                    <a:pt x="2726" y="877"/>
                  </a:lnTo>
                  <a:lnTo>
                    <a:pt x="2726" y="877"/>
                  </a:lnTo>
                  <a:close/>
                  <a:moveTo>
                    <a:pt x="2750" y="884"/>
                  </a:moveTo>
                  <a:lnTo>
                    <a:pt x="2764" y="889"/>
                  </a:lnTo>
                  <a:lnTo>
                    <a:pt x="2754" y="900"/>
                  </a:lnTo>
                  <a:lnTo>
                    <a:pt x="2738" y="889"/>
                  </a:lnTo>
                  <a:lnTo>
                    <a:pt x="2750" y="884"/>
                  </a:lnTo>
                  <a:lnTo>
                    <a:pt x="2750" y="884"/>
                  </a:lnTo>
                  <a:lnTo>
                    <a:pt x="2750" y="884"/>
                  </a:lnTo>
                  <a:close/>
                  <a:moveTo>
                    <a:pt x="2780" y="884"/>
                  </a:moveTo>
                  <a:lnTo>
                    <a:pt x="2780" y="900"/>
                  </a:lnTo>
                  <a:lnTo>
                    <a:pt x="2771" y="889"/>
                  </a:lnTo>
                  <a:lnTo>
                    <a:pt x="2780" y="884"/>
                  </a:lnTo>
                  <a:lnTo>
                    <a:pt x="2780" y="884"/>
                  </a:lnTo>
                  <a:lnTo>
                    <a:pt x="2780" y="884"/>
                  </a:lnTo>
                  <a:close/>
                  <a:moveTo>
                    <a:pt x="2764" y="889"/>
                  </a:moveTo>
                  <a:lnTo>
                    <a:pt x="2771" y="900"/>
                  </a:lnTo>
                  <a:lnTo>
                    <a:pt x="2764" y="900"/>
                  </a:lnTo>
                  <a:lnTo>
                    <a:pt x="2764" y="889"/>
                  </a:lnTo>
                  <a:lnTo>
                    <a:pt x="2764" y="889"/>
                  </a:lnTo>
                  <a:lnTo>
                    <a:pt x="2764" y="889"/>
                  </a:lnTo>
                  <a:close/>
                  <a:moveTo>
                    <a:pt x="702" y="900"/>
                  </a:moveTo>
                  <a:lnTo>
                    <a:pt x="697" y="905"/>
                  </a:lnTo>
                  <a:lnTo>
                    <a:pt x="702" y="900"/>
                  </a:lnTo>
                  <a:lnTo>
                    <a:pt x="702" y="900"/>
                  </a:lnTo>
                  <a:lnTo>
                    <a:pt x="702" y="900"/>
                  </a:lnTo>
                  <a:close/>
                  <a:moveTo>
                    <a:pt x="3040" y="917"/>
                  </a:moveTo>
                  <a:lnTo>
                    <a:pt x="3057" y="922"/>
                  </a:lnTo>
                  <a:lnTo>
                    <a:pt x="3052" y="922"/>
                  </a:lnTo>
                  <a:lnTo>
                    <a:pt x="3040" y="917"/>
                  </a:lnTo>
                  <a:lnTo>
                    <a:pt x="3040" y="917"/>
                  </a:lnTo>
                  <a:lnTo>
                    <a:pt x="3040" y="917"/>
                  </a:lnTo>
                  <a:close/>
                  <a:moveTo>
                    <a:pt x="1403" y="922"/>
                  </a:moveTo>
                  <a:lnTo>
                    <a:pt x="1432" y="933"/>
                  </a:lnTo>
                  <a:lnTo>
                    <a:pt x="1415" y="933"/>
                  </a:lnTo>
                  <a:lnTo>
                    <a:pt x="1403" y="933"/>
                  </a:lnTo>
                  <a:lnTo>
                    <a:pt x="1398" y="933"/>
                  </a:lnTo>
                  <a:lnTo>
                    <a:pt x="1403" y="922"/>
                  </a:lnTo>
                  <a:lnTo>
                    <a:pt x="1403" y="922"/>
                  </a:lnTo>
                  <a:lnTo>
                    <a:pt x="1403" y="922"/>
                  </a:lnTo>
                  <a:close/>
                  <a:moveTo>
                    <a:pt x="1243" y="922"/>
                  </a:moveTo>
                  <a:lnTo>
                    <a:pt x="1311" y="922"/>
                  </a:lnTo>
                  <a:lnTo>
                    <a:pt x="1328" y="933"/>
                  </a:lnTo>
                  <a:lnTo>
                    <a:pt x="1280" y="945"/>
                  </a:lnTo>
                  <a:lnTo>
                    <a:pt x="1226" y="945"/>
                  </a:lnTo>
                  <a:lnTo>
                    <a:pt x="1219" y="938"/>
                  </a:lnTo>
                  <a:lnTo>
                    <a:pt x="1243" y="922"/>
                  </a:lnTo>
                  <a:lnTo>
                    <a:pt x="1243" y="922"/>
                  </a:lnTo>
                  <a:lnTo>
                    <a:pt x="1243" y="922"/>
                  </a:lnTo>
                  <a:close/>
                  <a:moveTo>
                    <a:pt x="1781" y="938"/>
                  </a:moveTo>
                  <a:lnTo>
                    <a:pt x="1793" y="938"/>
                  </a:lnTo>
                  <a:lnTo>
                    <a:pt x="1793" y="945"/>
                  </a:lnTo>
                  <a:lnTo>
                    <a:pt x="1781" y="938"/>
                  </a:lnTo>
                  <a:lnTo>
                    <a:pt x="1781" y="938"/>
                  </a:lnTo>
                  <a:lnTo>
                    <a:pt x="1781" y="938"/>
                  </a:lnTo>
                  <a:close/>
                  <a:moveTo>
                    <a:pt x="1332" y="938"/>
                  </a:moveTo>
                  <a:lnTo>
                    <a:pt x="1344" y="945"/>
                  </a:lnTo>
                  <a:lnTo>
                    <a:pt x="1332" y="945"/>
                  </a:lnTo>
                  <a:lnTo>
                    <a:pt x="1332" y="938"/>
                  </a:lnTo>
                  <a:lnTo>
                    <a:pt x="1332" y="938"/>
                  </a:lnTo>
                  <a:lnTo>
                    <a:pt x="1332" y="938"/>
                  </a:lnTo>
                  <a:close/>
                  <a:moveTo>
                    <a:pt x="2339" y="938"/>
                  </a:moveTo>
                  <a:lnTo>
                    <a:pt x="2348" y="938"/>
                  </a:lnTo>
                  <a:lnTo>
                    <a:pt x="2339" y="945"/>
                  </a:lnTo>
                  <a:lnTo>
                    <a:pt x="2332" y="945"/>
                  </a:lnTo>
                  <a:lnTo>
                    <a:pt x="2339" y="938"/>
                  </a:lnTo>
                  <a:lnTo>
                    <a:pt x="2339" y="938"/>
                  </a:lnTo>
                  <a:lnTo>
                    <a:pt x="2339" y="938"/>
                  </a:lnTo>
                  <a:close/>
                  <a:moveTo>
                    <a:pt x="2565" y="938"/>
                  </a:moveTo>
                  <a:lnTo>
                    <a:pt x="2570" y="938"/>
                  </a:lnTo>
                  <a:lnTo>
                    <a:pt x="2575" y="955"/>
                  </a:lnTo>
                  <a:lnTo>
                    <a:pt x="2565" y="938"/>
                  </a:lnTo>
                  <a:lnTo>
                    <a:pt x="2565" y="938"/>
                  </a:lnTo>
                  <a:lnTo>
                    <a:pt x="2565" y="938"/>
                  </a:lnTo>
                  <a:close/>
                  <a:moveTo>
                    <a:pt x="2554" y="938"/>
                  </a:moveTo>
                  <a:lnTo>
                    <a:pt x="2565" y="945"/>
                  </a:lnTo>
                  <a:lnTo>
                    <a:pt x="2554" y="955"/>
                  </a:lnTo>
                  <a:lnTo>
                    <a:pt x="2554" y="978"/>
                  </a:lnTo>
                  <a:lnTo>
                    <a:pt x="2537" y="995"/>
                  </a:lnTo>
                  <a:lnTo>
                    <a:pt x="2532" y="1011"/>
                  </a:lnTo>
                  <a:lnTo>
                    <a:pt x="2516" y="1011"/>
                  </a:lnTo>
                  <a:lnTo>
                    <a:pt x="2516" y="995"/>
                  </a:lnTo>
                  <a:lnTo>
                    <a:pt x="2523" y="971"/>
                  </a:lnTo>
                  <a:lnTo>
                    <a:pt x="2554" y="938"/>
                  </a:lnTo>
                  <a:lnTo>
                    <a:pt x="2554" y="938"/>
                  </a:lnTo>
                  <a:lnTo>
                    <a:pt x="2554" y="938"/>
                  </a:lnTo>
                  <a:close/>
                  <a:moveTo>
                    <a:pt x="1814" y="955"/>
                  </a:moveTo>
                  <a:lnTo>
                    <a:pt x="1819" y="962"/>
                  </a:lnTo>
                  <a:lnTo>
                    <a:pt x="1814" y="962"/>
                  </a:lnTo>
                  <a:lnTo>
                    <a:pt x="1814" y="955"/>
                  </a:lnTo>
                  <a:lnTo>
                    <a:pt x="1814" y="955"/>
                  </a:lnTo>
                  <a:lnTo>
                    <a:pt x="1814" y="955"/>
                  </a:lnTo>
                  <a:close/>
                  <a:moveTo>
                    <a:pt x="1864" y="962"/>
                  </a:moveTo>
                  <a:lnTo>
                    <a:pt x="1869" y="962"/>
                  </a:lnTo>
                  <a:lnTo>
                    <a:pt x="1864" y="962"/>
                  </a:lnTo>
                  <a:lnTo>
                    <a:pt x="1864" y="962"/>
                  </a:lnTo>
                  <a:lnTo>
                    <a:pt x="1864" y="962"/>
                  </a:lnTo>
                  <a:close/>
                  <a:moveTo>
                    <a:pt x="3040" y="962"/>
                  </a:moveTo>
                  <a:lnTo>
                    <a:pt x="3057" y="962"/>
                  </a:lnTo>
                  <a:lnTo>
                    <a:pt x="3073" y="978"/>
                  </a:lnTo>
                  <a:lnTo>
                    <a:pt x="3057" y="1011"/>
                  </a:lnTo>
                  <a:lnTo>
                    <a:pt x="3024" y="1033"/>
                  </a:lnTo>
                  <a:lnTo>
                    <a:pt x="2986" y="1033"/>
                  </a:lnTo>
                  <a:lnTo>
                    <a:pt x="2969" y="1033"/>
                  </a:lnTo>
                  <a:lnTo>
                    <a:pt x="3002" y="978"/>
                  </a:lnTo>
                  <a:lnTo>
                    <a:pt x="3040" y="962"/>
                  </a:lnTo>
                  <a:lnTo>
                    <a:pt x="3040" y="962"/>
                  </a:lnTo>
                  <a:lnTo>
                    <a:pt x="3040" y="962"/>
                  </a:lnTo>
                  <a:close/>
                  <a:moveTo>
                    <a:pt x="2511" y="962"/>
                  </a:moveTo>
                  <a:lnTo>
                    <a:pt x="2523" y="962"/>
                  </a:lnTo>
                  <a:lnTo>
                    <a:pt x="2511" y="971"/>
                  </a:lnTo>
                  <a:lnTo>
                    <a:pt x="2511" y="962"/>
                  </a:lnTo>
                  <a:lnTo>
                    <a:pt x="2511" y="962"/>
                  </a:lnTo>
                  <a:lnTo>
                    <a:pt x="2511" y="962"/>
                  </a:lnTo>
                  <a:close/>
                  <a:moveTo>
                    <a:pt x="2251" y="971"/>
                  </a:moveTo>
                  <a:lnTo>
                    <a:pt x="2263" y="978"/>
                  </a:lnTo>
                  <a:lnTo>
                    <a:pt x="2251" y="978"/>
                  </a:lnTo>
                  <a:lnTo>
                    <a:pt x="2251" y="971"/>
                  </a:lnTo>
                  <a:lnTo>
                    <a:pt x="2251" y="971"/>
                  </a:lnTo>
                  <a:lnTo>
                    <a:pt x="2251" y="971"/>
                  </a:lnTo>
                  <a:close/>
                  <a:moveTo>
                    <a:pt x="2154" y="978"/>
                  </a:moveTo>
                  <a:lnTo>
                    <a:pt x="2171" y="988"/>
                  </a:lnTo>
                  <a:lnTo>
                    <a:pt x="2197" y="978"/>
                  </a:lnTo>
                  <a:lnTo>
                    <a:pt x="2213" y="988"/>
                  </a:lnTo>
                  <a:lnTo>
                    <a:pt x="2187" y="1000"/>
                  </a:lnTo>
                  <a:lnTo>
                    <a:pt x="2159" y="995"/>
                  </a:lnTo>
                  <a:lnTo>
                    <a:pt x="2138" y="1011"/>
                  </a:lnTo>
                  <a:lnTo>
                    <a:pt x="2154" y="978"/>
                  </a:lnTo>
                  <a:lnTo>
                    <a:pt x="2154" y="978"/>
                  </a:lnTo>
                  <a:lnTo>
                    <a:pt x="2154" y="978"/>
                  </a:lnTo>
                  <a:close/>
                  <a:moveTo>
                    <a:pt x="2407" y="995"/>
                  </a:moveTo>
                  <a:lnTo>
                    <a:pt x="2424" y="995"/>
                  </a:lnTo>
                  <a:lnTo>
                    <a:pt x="2424" y="1011"/>
                  </a:lnTo>
                  <a:lnTo>
                    <a:pt x="2407" y="1000"/>
                  </a:lnTo>
                  <a:lnTo>
                    <a:pt x="2407" y="995"/>
                  </a:lnTo>
                  <a:lnTo>
                    <a:pt x="2407" y="995"/>
                  </a:lnTo>
                  <a:lnTo>
                    <a:pt x="2407" y="995"/>
                  </a:lnTo>
                  <a:close/>
                  <a:moveTo>
                    <a:pt x="2242" y="1011"/>
                  </a:moveTo>
                  <a:lnTo>
                    <a:pt x="2246" y="1011"/>
                  </a:lnTo>
                  <a:lnTo>
                    <a:pt x="2242" y="1011"/>
                  </a:lnTo>
                  <a:lnTo>
                    <a:pt x="2242" y="1011"/>
                  </a:lnTo>
                  <a:lnTo>
                    <a:pt x="2242" y="1011"/>
                  </a:lnTo>
                  <a:close/>
                  <a:moveTo>
                    <a:pt x="1349" y="1011"/>
                  </a:moveTo>
                  <a:lnTo>
                    <a:pt x="1382" y="1016"/>
                  </a:lnTo>
                  <a:lnTo>
                    <a:pt x="1398" y="1011"/>
                  </a:lnTo>
                  <a:lnTo>
                    <a:pt x="1420" y="1016"/>
                  </a:lnTo>
                  <a:lnTo>
                    <a:pt x="1436" y="1033"/>
                  </a:lnTo>
                  <a:lnTo>
                    <a:pt x="1403" y="1049"/>
                  </a:lnTo>
                  <a:lnTo>
                    <a:pt x="1398" y="1056"/>
                  </a:lnTo>
                  <a:lnTo>
                    <a:pt x="1403" y="1066"/>
                  </a:lnTo>
                  <a:lnTo>
                    <a:pt x="1398" y="1066"/>
                  </a:lnTo>
                  <a:lnTo>
                    <a:pt x="1398" y="1056"/>
                  </a:lnTo>
                  <a:lnTo>
                    <a:pt x="1377" y="1044"/>
                  </a:lnTo>
                  <a:lnTo>
                    <a:pt x="1361" y="1033"/>
                  </a:lnTo>
                  <a:lnTo>
                    <a:pt x="1349" y="1016"/>
                  </a:lnTo>
                  <a:lnTo>
                    <a:pt x="1349" y="1011"/>
                  </a:lnTo>
                  <a:lnTo>
                    <a:pt x="1349" y="1011"/>
                  </a:lnTo>
                  <a:lnTo>
                    <a:pt x="1349" y="1011"/>
                  </a:lnTo>
                  <a:close/>
                  <a:moveTo>
                    <a:pt x="1722" y="1056"/>
                  </a:moveTo>
                  <a:lnTo>
                    <a:pt x="1722" y="1049"/>
                  </a:lnTo>
                  <a:lnTo>
                    <a:pt x="1755" y="1028"/>
                  </a:lnTo>
                  <a:lnTo>
                    <a:pt x="1798" y="1033"/>
                  </a:lnTo>
                  <a:lnTo>
                    <a:pt x="1847" y="1049"/>
                  </a:lnTo>
                  <a:lnTo>
                    <a:pt x="1852" y="1044"/>
                  </a:lnTo>
                  <a:lnTo>
                    <a:pt x="1873" y="1044"/>
                  </a:lnTo>
                  <a:lnTo>
                    <a:pt x="1902" y="1049"/>
                  </a:lnTo>
                  <a:lnTo>
                    <a:pt x="1906" y="1049"/>
                  </a:lnTo>
                  <a:lnTo>
                    <a:pt x="1923" y="1033"/>
                  </a:lnTo>
                  <a:lnTo>
                    <a:pt x="1939" y="1028"/>
                  </a:lnTo>
                  <a:lnTo>
                    <a:pt x="1944" y="1016"/>
                  </a:lnTo>
                  <a:lnTo>
                    <a:pt x="1928" y="1028"/>
                  </a:lnTo>
                  <a:lnTo>
                    <a:pt x="1939" y="1011"/>
                  </a:lnTo>
                  <a:lnTo>
                    <a:pt x="1944" y="1016"/>
                  </a:lnTo>
                  <a:lnTo>
                    <a:pt x="1944" y="1028"/>
                  </a:lnTo>
                  <a:lnTo>
                    <a:pt x="1928" y="1033"/>
                  </a:lnTo>
                  <a:lnTo>
                    <a:pt x="1939" y="1049"/>
                  </a:lnTo>
                  <a:lnTo>
                    <a:pt x="1864" y="1073"/>
                  </a:lnTo>
                  <a:lnTo>
                    <a:pt x="1835" y="1066"/>
                  </a:lnTo>
                  <a:lnTo>
                    <a:pt x="1831" y="1073"/>
                  </a:lnTo>
                  <a:lnTo>
                    <a:pt x="1809" y="1073"/>
                  </a:lnTo>
                  <a:lnTo>
                    <a:pt x="1776" y="1066"/>
                  </a:lnTo>
                  <a:lnTo>
                    <a:pt x="1727" y="1066"/>
                  </a:lnTo>
                  <a:lnTo>
                    <a:pt x="1722" y="1056"/>
                  </a:lnTo>
                  <a:lnTo>
                    <a:pt x="1722" y="1056"/>
                  </a:lnTo>
                  <a:lnTo>
                    <a:pt x="1722" y="1056"/>
                  </a:lnTo>
                  <a:close/>
                  <a:moveTo>
                    <a:pt x="1684" y="1056"/>
                  </a:moveTo>
                  <a:lnTo>
                    <a:pt x="1668" y="1066"/>
                  </a:lnTo>
                  <a:lnTo>
                    <a:pt x="1658" y="1056"/>
                  </a:lnTo>
                  <a:lnTo>
                    <a:pt x="1651" y="1056"/>
                  </a:lnTo>
                  <a:lnTo>
                    <a:pt x="1647" y="1056"/>
                  </a:lnTo>
                  <a:lnTo>
                    <a:pt x="1658" y="1066"/>
                  </a:lnTo>
                  <a:lnTo>
                    <a:pt x="1630" y="1066"/>
                  </a:lnTo>
                  <a:lnTo>
                    <a:pt x="1621" y="1066"/>
                  </a:lnTo>
                  <a:lnTo>
                    <a:pt x="1621" y="1049"/>
                  </a:lnTo>
                  <a:lnTo>
                    <a:pt x="1604" y="1066"/>
                  </a:lnTo>
                  <a:lnTo>
                    <a:pt x="1576" y="1073"/>
                  </a:lnTo>
                  <a:lnTo>
                    <a:pt x="1550" y="1082"/>
                  </a:lnTo>
                  <a:lnTo>
                    <a:pt x="1545" y="1082"/>
                  </a:lnTo>
                  <a:lnTo>
                    <a:pt x="1528" y="1089"/>
                  </a:lnTo>
                  <a:lnTo>
                    <a:pt x="1507" y="1073"/>
                  </a:lnTo>
                  <a:lnTo>
                    <a:pt x="1512" y="1049"/>
                  </a:lnTo>
                  <a:lnTo>
                    <a:pt x="1538" y="1033"/>
                  </a:lnTo>
                  <a:lnTo>
                    <a:pt x="1559" y="1044"/>
                  </a:lnTo>
                  <a:lnTo>
                    <a:pt x="1566" y="1033"/>
                  </a:lnTo>
                  <a:lnTo>
                    <a:pt x="1566" y="1044"/>
                  </a:lnTo>
                  <a:lnTo>
                    <a:pt x="1592" y="1056"/>
                  </a:lnTo>
                  <a:lnTo>
                    <a:pt x="1597" y="1056"/>
                  </a:lnTo>
                  <a:lnTo>
                    <a:pt x="1613" y="1056"/>
                  </a:lnTo>
                  <a:lnTo>
                    <a:pt x="1613" y="1049"/>
                  </a:lnTo>
                  <a:lnTo>
                    <a:pt x="1597" y="1044"/>
                  </a:lnTo>
                  <a:lnTo>
                    <a:pt x="1576" y="1028"/>
                  </a:lnTo>
                  <a:lnTo>
                    <a:pt x="1576" y="1016"/>
                  </a:lnTo>
                  <a:lnTo>
                    <a:pt x="1592" y="1011"/>
                  </a:lnTo>
                  <a:lnTo>
                    <a:pt x="1604" y="1016"/>
                  </a:lnTo>
                  <a:lnTo>
                    <a:pt x="1621" y="1033"/>
                  </a:lnTo>
                  <a:lnTo>
                    <a:pt x="1630" y="1028"/>
                  </a:lnTo>
                  <a:lnTo>
                    <a:pt x="1647" y="1028"/>
                  </a:lnTo>
                  <a:lnTo>
                    <a:pt x="1647" y="1049"/>
                  </a:lnTo>
                  <a:lnTo>
                    <a:pt x="1651" y="1028"/>
                  </a:lnTo>
                  <a:lnTo>
                    <a:pt x="1668" y="1028"/>
                  </a:lnTo>
                  <a:lnTo>
                    <a:pt x="1668" y="1049"/>
                  </a:lnTo>
                  <a:lnTo>
                    <a:pt x="1684" y="1056"/>
                  </a:lnTo>
                  <a:lnTo>
                    <a:pt x="1684" y="1056"/>
                  </a:lnTo>
                  <a:lnTo>
                    <a:pt x="1684" y="1056"/>
                  </a:lnTo>
                  <a:close/>
                  <a:moveTo>
                    <a:pt x="2495" y="1033"/>
                  </a:moveTo>
                  <a:lnTo>
                    <a:pt x="2511" y="1011"/>
                  </a:lnTo>
                  <a:lnTo>
                    <a:pt x="2523" y="1016"/>
                  </a:lnTo>
                  <a:lnTo>
                    <a:pt x="2495" y="1033"/>
                  </a:lnTo>
                  <a:lnTo>
                    <a:pt x="2495" y="1033"/>
                  </a:lnTo>
                  <a:lnTo>
                    <a:pt x="2495" y="1033"/>
                  </a:lnTo>
                  <a:close/>
                  <a:moveTo>
                    <a:pt x="2284" y="1011"/>
                  </a:moveTo>
                  <a:lnTo>
                    <a:pt x="2306" y="1016"/>
                  </a:lnTo>
                  <a:lnTo>
                    <a:pt x="2301" y="1028"/>
                  </a:lnTo>
                  <a:lnTo>
                    <a:pt x="2284" y="1016"/>
                  </a:lnTo>
                  <a:lnTo>
                    <a:pt x="2284" y="1011"/>
                  </a:lnTo>
                  <a:lnTo>
                    <a:pt x="2284" y="1011"/>
                  </a:lnTo>
                  <a:lnTo>
                    <a:pt x="2284" y="1011"/>
                  </a:lnTo>
                  <a:close/>
                  <a:moveTo>
                    <a:pt x="2053" y="1016"/>
                  </a:moveTo>
                  <a:lnTo>
                    <a:pt x="2091" y="1016"/>
                  </a:lnTo>
                  <a:lnTo>
                    <a:pt x="2100" y="1028"/>
                  </a:lnTo>
                  <a:lnTo>
                    <a:pt x="2046" y="1044"/>
                  </a:lnTo>
                  <a:lnTo>
                    <a:pt x="2053" y="1016"/>
                  </a:lnTo>
                  <a:lnTo>
                    <a:pt x="2053" y="1016"/>
                  </a:lnTo>
                  <a:lnTo>
                    <a:pt x="2053" y="1016"/>
                  </a:lnTo>
                  <a:close/>
                  <a:moveTo>
                    <a:pt x="1672" y="1016"/>
                  </a:moveTo>
                  <a:lnTo>
                    <a:pt x="1668" y="1028"/>
                  </a:lnTo>
                  <a:lnTo>
                    <a:pt x="1672" y="1016"/>
                  </a:lnTo>
                  <a:lnTo>
                    <a:pt x="1672" y="1016"/>
                  </a:lnTo>
                  <a:lnTo>
                    <a:pt x="1672" y="1016"/>
                  </a:lnTo>
                  <a:close/>
                  <a:moveTo>
                    <a:pt x="1566" y="1033"/>
                  </a:moveTo>
                  <a:lnTo>
                    <a:pt x="1559" y="1016"/>
                  </a:lnTo>
                  <a:lnTo>
                    <a:pt x="1576" y="1016"/>
                  </a:lnTo>
                  <a:lnTo>
                    <a:pt x="1566" y="1033"/>
                  </a:lnTo>
                  <a:lnTo>
                    <a:pt x="1566" y="1033"/>
                  </a:lnTo>
                  <a:lnTo>
                    <a:pt x="1566" y="1033"/>
                  </a:lnTo>
                  <a:close/>
                  <a:moveTo>
                    <a:pt x="2280" y="1016"/>
                  </a:moveTo>
                  <a:lnTo>
                    <a:pt x="2284" y="1016"/>
                  </a:lnTo>
                  <a:lnTo>
                    <a:pt x="2268" y="1028"/>
                  </a:lnTo>
                  <a:lnTo>
                    <a:pt x="2280" y="1016"/>
                  </a:lnTo>
                  <a:lnTo>
                    <a:pt x="2280" y="1016"/>
                  </a:lnTo>
                  <a:lnTo>
                    <a:pt x="2280" y="1016"/>
                  </a:lnTo>
                  <a:close/>
                  <a:moveTo>
                    <a:pt x="3057" y="1016"/>
                  </a:moveTo>
                  <a:lnTo>
                    <a:pt x="3061" y="1033"/>
                  </a:lnTo>
                  <a:lnTo>
                    <a:pt x="3040" y="1033"/>
                  </a:lnTo>
                  <a:lnTo>
                    <a:pt x="3052" y="1016"/>
                  </a:lnTo>
                  <a:lnTo>
                    <a:pt x="3057" y="1016"/>
                  </a:lnTo>
                  <a:lnTo>
                    <a:pt x="3057" y="1016"/>
                  </a:lnTo>
                  <a:lnTo>
                    <a:pt x="3057" y="1016"/>
                  </a:lnTo>
                  <a:close/>
                  <a:moveTo>
                    <a:pt x="2015" y="1033"/>
                  </a:moveTo>
                  <a:lnTo>
                    <a:pt x="2024" y="1033"/>
                  </a:lnTo>
                  <a:lnTo>
                    <a:pt x="2036" y="1016"/>
                  </a:lnTo>
                  <a:lnTo>
                    <a:pt x="2024" y="1049"/>
                  </a:lnTo>
                  <a:lnTo>
                    <a:pt x="2015" y="1033"/>
                  </a:lnTo>
                  <a:lnTo>
                    <a:pt x="2008" y="1044"/>
                  </a:lnTo>
                  <a:lnTo>
                    <a:pt x="2015" y="1033"/>
                  </a:lnTo>
                  <a:lnTo>
                    <a:pt x="2015" y="1033"/>
                  </a:lnTo>
                  <a:lnTo>
                    <a:pt x="2015" y="1033"/>
                  </a:lnTo>
                  <a:close/>
                  <a:moveTo>
                    <a:pt x="1977" y="1049"/>
                  </a:moveTo>
                  <a:lnTo>
                    <a:pt x="1961" y="1044"/>
                  </a:lnTo>
                  <a:lnTo>
                    <a:pt x="1982" y="1033"/>
                  </a:lnTo>
                  <a:lnTo>
                    <a:pt x="1970" y="1028"/>
                  </a:lnTo>
                  <a:lnTo>
                    <a:pt x="1977" y="1028"/>
                  </a:lnTo>
                  <a:lnTo>
                    <a:pt x="1982" y="1028"/>
                  </a:lnTo>
                  <a:lnTo>
                    <a:pt x="1991" y="1033"/>
                  </a:lnTo>
                  <a:lnTo>
                    <a:pt x="1998" y="1016"/>
                  </a:lnTo>
                  <a:lnTo>
                    <a:pt x="2015" y="1028"/>
                  </a:lnTo>
                  <a:lnTo>
                    <a:pt x="1977" y="1049"/>
                  </a:lnTo>
                  <a:lnTo>
                    <a:pt x="1977" y="1049"/>
                  </a:lnTo>
                  <a:lnTo>
                    <a:pt x="1977" y="1049"/>
                  </a:lnTo>
                  <a:close/>
                  <a:moveTo>
                    <a:pt x="2306" y="1016"/>
                  </a:moveTo>
                  <a:lnTo>
                    <a:pt x="2317" y="1028"/>
                  </a:lnTo>
                  <a:lnTo>
                    <a:pt x="2306" y="1028"/>
                  </a:lnTo>
                  <a:lnTo>
                    <a:pt x="2306" y="1016"/>
                  </a:lnTo>
                  <a:lnTo>
                    <a:pt x="2306" y="1016"/>
                  </a:lnTo>
                  <a:lnTo>
                    <a:pt x="2306" y="1016"/>
                  </a:lnTo>
                  <a:close/>
                  <a:moveTo>
                    <a:pt x="1484" y="1016"/>
                  </a:moveTo>
                  <a:lnTo>
                    <a:pt x="1507" y="1033"/>
                  </a:lnTo>
                  <a:lnTo>
                    <a:pt x="1495" y="1066"/>
                  </a:lnTo>
                  <a:lnTo>
                    <a:pt x="1495" y="1073"/>
                  </a:lnTo>
                  <a:lnTo>
                    <a:pt x="1491" y="1073"/>
                  </a:lnTo>
                  <a:lnTo>
                    <a:pt x="1491" y="1066"/>
                  </a:lnTo>
                  <a:lnTo>
                    <a:pt x="1469" y="1073"/>
                  </a:lnTo>
                  <a:lnTo>
                    <a:pt x="1441" y="1066"/>
                  </a:lnTo>
                  <a:lnTo>
                    <a:pt x="1441" y="1056"/>
                  </a:lnTo>
                  <a:lnTo>
                    <a:pt x="1458" y="1056"/>
                  </a:lnTo>
                  <a:lnTo>
                    <a:pt x="1458" y="1033"/>
                  </a:lnTo>
                  <a:lnTo>
                    <a:pt x="1484" y="1016"/>
                  </a:lnTo>
                  <a:lnTo>
                    <a:pt x="1484" y="1016"/>
                  </a:lnTo>
                  <a:lnTo>
                    <a:pt x="1484" y="1016"/>
                  </a:lnTo>
                  <a:close/>
                  <a:moveTo>
                    <a:pt x="1954" y="1028"/>
                  </a:moveTo>
                  <a:lnTo>
                    <a:pt x="1970" y="1028"/>
                  </a:lnTo>
                  <a:lnTo>
                    <a:pt x="1970" y="1033"/>
                  </a:lnTo>
                  <a:lnTo>
                    <a:pt x="1944" y="1033"/>
                  </a:lnTo>
                  <a:lnTo>
                    <a:pt x="1954" y="1028"/>
                  </a:lnTo>
                  <a:lnTo>
                    <a:pt x="1954" y="1028"/>
                  </a:lnTo>
                  <a:lnTo>
                    <a:pt x="1954" y="1028"/>
                  </a:lnTo>
                  <a:close/>
                  <a:moveTo>
                    <a:pt x="2024" y="1106"/>
                  </a:moveTo>
                  <a:lnTo>
                    <a:pt x="2062" y="1089"/>
                  </a:lnTo>
                  <a:lnTo>
                    <a:pt x="2084" y="1073"/>
                  </a:lnTo>
                  <a:lnTo>
                    <a:pt x="2100" y="1049"/>
                  </a:lnTo>
                  <a:lnTo>
                    <a:pt x="2187" y="1033"/>
                  </a:lnTo>
                  <a:lnTo>
                    <a:pt x="2197" y="1044"/>
                  </a:lnTo>
                  <a:lnTo>
                    <a:pt x="2230" y="1028"/>
                  </a:lnTo>
                  <a:lnTo>
                    <a:pt x="2246" y="1033"/>
                  </a:lnTo>
                  <a:lnTo>
                    <a:pt x="2230" y="1056"/>
                  </a:lnTo>
                  <a:lnTo>
                    <a:pt x="2197" y="1066"/>
                  </a:lnTo>
                  <a:lnTo>
                    <a:pt x="2192" y="1073"/>
                  </a:lnTo>
                  <a:lnTo>
                    <a:pt x="2171" y="1082"/>
                  </a:lnTo>
                  <a:lnTo>
                    <a:pt x="2117" y="1099"/>
                  </a:lnTo>
                  <a:lnTo>
                    <a:pt x="2091" y="1111"/>
                  </a:lnTo>
                  <a:lnTo>
                    <a:pt x="2084" y="1127"/>
                  </a:lnTo>
                  <a:lnTo>
                    <a:pt x="2046" y="1160"/>
                  </a:lnTo>
                  <a:lnTo>
                    <a:pt x="2024" y="1160"/>
                  </a:lnTo>
                  <a:lnTo>
                    <a:pt x="2008" y="1177"/>
                  </a:lnTo>
                  <a:lnTo>
                    <a:pt x="1982" y="1177"/>
                  </a:lnTo>
                  <a:lnTo>
                    <a:pt x="1982" y="1165"/>
                  </a:lnTo>
                  <a:lnTo>
                    <a:pt x="1998" y="1160"/>
                  </a:lnTo>
                  <a:lnTo>
                    <a:pt x="1982" y="1155"/>
                  </a:lnTo>
                  <a:lnTo>
                    <a:pt x="1991" y="1127"/>
                  </a:lnTo>
                  <a:lnTo>
                    <a:pt x="2024" y="1106"/>
                  </a:lnTo>
                  <a:lnTo>
                    <a:pt x="2024" y="1106"/>
                  </a:lnTo>
                  <a:lnTo>
                    <a:pt x="2024" y="1106"/>
                  </a:lnTo>
                  <a:close/>
                  <a:moveTo>
                    <a:pt x="1701" y="1033"/>
                  </a:moveTo>
                  <a:lnTo>
                    <a:pt x="1706" y="1049"/>
                  </a:lnTo>
                  <a:lnTo>
                    <a:pt x="1701" y="1049"/>
                  </a:lnTo>
                  <a:lnTo>
                    <a:pt x="1701" y="1056"/>
                  </a:lnTo>
                  <a:lnTo>
                    <a:pt x="1689" y="1056"/>
                  </a:lnTo>
                  <a:lnTo>
                    <a:pt x="1701" y="1033"/>
                  </a:lnTo>
                  <a:lnTo>
                    <a:pt x="1701" y="1033"/>
                  </a:lnTo>
                  <a:lnTo>
                    <a:pt x="1701" y="1033"/>
                  </a:lnTo>
                  <a:close/>
                  <a:moveTo>
                    <a:pt x="1944" y="1049"/>
                  </a:moveTo>
                  <a:lnTo>
                    <a:pt x="1944" y="1044"/>
                  </a:lnTo>
                  <a:lnTo>
                    <a:pt x="1961" y="1044"/>
                  </a:lnTo>
                  <a:lnTo>
                    <a:pt x="1944" y="1049"/>
                  </a:lnTo>
                  <a:lnTo>
                    <a:pt x="1944" y="1049"/>
                  </a:lnTo>
                  <a:lnTo>
                    <a:pt x="1944" y="1049"/>
                  </a:lnTo>
                  <a:close/>
                  <a:moveTo>
                    <a:pt x="1269" y="1044"/>
                  </a:moveTo>
                  <a:lnTo>
                    <a:pt x="1269" y="1033"/>
                  </a:lnTo>
                  <a:lnTo>
                    <a:pt x="1273" y="1044"/>
                  </a:lnTo>
                  <a:lnTo>
                    <a:pt x="1269" y="1044"/>
                  </a:lnTo>
                  <a:lnTo>
                    <a:pt x="1269" y="1044"/>
                  </a:lnTo>
                  <a:lnTo>
                    <a:pt x="1269" y="1044"/>
                  </a:lnTo>
                  <a:close/>
                  <a:moveTo>
                    <a:pt x="1710" y="1056"/>
                  </a:moveTo>
                  <a:lnTo>
                    <a:pt x="1710" y="1066"/>
                  </a:lnTo>
                  <a:lnTo>
                    <a:pt x="1706" y="1066"/>
                  </a:lnTo>
                  <a:lnTo>
                    <a:pt x="1710" y="1049"/>
                  </a:lnTo>
                  <a:lnTo>
                    <a:pt x="1710" y="1056"/>
                  </a:lnTo>
                  <a:lnTo>
                    <a:pt x="1710" y="1056"/>
                  </a:lnTo>
                  <a:lnTo>
                    <a:pt x="1710" y="1056"/>
                  </a:lnTo>
                  <a:close/>
                  <a:moveTo>
                    <a:pt x="1432" y="1066"/>
                  </a:moveTo>
                  <a:lnTo>
                    <a:pt x="1420" y="1056"/>
                  </a:lnTo>
                  <a:lnTo>
                    <a:pt x="1432" y="1056"/>
                  </a:lnTo>
                  <a:lnTo>
                    <a:pt x="1432" y="1066"/>
                  </a:lnTo>
                  <a:lnTo>
                    <a:pt x="1432" y="1066"/>
                  </a:lnTo>
                  <a:lnTo>
                    <a:pt x="1432" y="1066"/>
                  </a:lnTo>
                  <a:close/>
                  <a:moveTo>
                    <a:pt x="1684" y="1139"/>
                  </a:moveTo>
                  <a:lnTo>
                    <a:pt x="1658" y="1122"/>
                  </a:lnTo>
                  <a:lnTo>
                    <a:pt x="1668" y="1111"/>
                  </a:lnTo>
                  <a:lnTo>
                    <a:pt x="1684" y="1106"/>
                  </a:lnTo>
                  <a:lnTo>
                    <a:pt x="1722" y="1106"/>
                  </a:lnTo>
                  <a:lnTo>
                    <a:pt x="1727" y="1099"/>
                  </a:lnTo>
                  <a:lnTo>
                    <a:pt x="1755" y="1111"/>
                  </a:lnTo>
                  <a:lnTo>
                    <a:pt x="1755" y="1127"/>
                  </a:lnTo>
                  <a:lnTo>
                    <a:pt x="1765" y="1122"/>
                  </a:lnTo>
                  <a:lnTo>
                    <a:pt x="1776" y="1127"/>
                  </a:lnTo>
                  <a:lnTo>
                    <a:pt x="1798" y="1160"/>
                  </a:lnTo>
                  <a:lnTo>
                    <a:pt x="1781" y="1165"/>
                  </a:lnTo>
                  <a:lnTo>
                    <a:pt x="1755" y="1165"/>
                  </a:lnTo>
                  <a:lnTo>
                    <a:pt x="1710" y="1139"/>
                  </a:lnTo>
                  <a:lnTo>
                    <a:pt x="1684" y="1139"/>
                  </a:lnTo>
                  <a:lnTo>
                    <a:pt x="1684" y="1139"/>
                  </a:lnTo>
                  <a:lnTo>
                    <a:pt x="1684" y="1139"/>
                  </a:lnTo>
                  <a:close/>
                  <a:moveTo>
                    <a:pt x="1977" y="1160"/>
                  </a:moveTo>
                  <a:lnTo>
                    <a:pt x="1982" y="1165"/>
                  </a:lnTo>
                  <a:lnTo>
                    <a:pt x="1970" y="1177"/>
                  </a:lnTo>
                  <a:lnTo>
                    <a:pt x="1977" y="1160"/>
                  </a:lnTo>
                  <a:lnTo>
                    <a:pt x="1977" y="1160"/>
                  </a:lnTo>
                  <a:lnTo>
                    <a:pt x="1977" y="1160"/>
                  </a:lnTo>
                  <a:close/>
                  <a:moveTo>
                    <a:pt x="1864" y="1193"/>
                  </a:moveTo>
                  <a:lnTo>
                    <a:pt x="1869" y="1181"/>
                  </a:lnTo>
                  <a:lnTo>
                    <a:pt x="1873" y="1181"/>
                  </a:lnTo>
                  <a:lnTo>
                    <a:pt x="1869" y="1193"/>
                  </a:lnTo>
                  <a:lnTo>
                    <a:pt x="1864" y="1193"/>
                  </a:lnTo>
                  <a:lnTo>
                    <a:pt x="1864" y="1193"/>
                  </a:lnTo>
                  <a:lnTo>
                    <a:pt x="1864" y="1193"/>
                  </a:lnTo>
                  <a:close/>
                  <a:moveTo>
                    <a:pt x="1939" y="1210"/>
                  </a:moveTo>
                  <a:lnTo>
                    <a:pt x="1977" y="1181"/>
                  </a:lnTo>
                  <a:lnTo>
                    <a:pt x="1977" y="1200"/>
                  </a:lnTo>
                  <a:lnTo>
                    <a:pt x="1961" y="1210"/>
                  </a:lnTo>
                  <a:lnTo>
                    <a:pt x="1939" y="1217"/>
                  </a:lnTo>
                  <a:lnTo>
                    <a:pt x="1939" y="1210"/>
                  </a:lnTo>
                  <a:lnTo>
                    <a:pt x="1939" y="1210"/>
                  </a:lnTo>
                  <a:lnTo>
                    <a:pt x="1939" y="121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71" name="Freeform 469">
              <a:extLst>
                <a:ext uri="{FF2B5EF4-FFF2-40B4-BE49-F238E27FC236}">
                  <a16:creationId xmlns:a16="http://schemas.microsoft.com/office/drawing/2014/main" id="{2255EB33-276C-4B90-8EFF-C15C967B2CD9}"/>
                </a:ext>
              </a:extLst>
            </p:cNvPr>
            <p:cNvSpPr>
              <a:spLocks noEditPoints="1"/>
            </p:cNvSpPr>
            <p:nvPr/>
          </p:nvSpPr>
          <p:spPr bwMode="gray">
            <a:xfrm>
              <a:off x="8691549" y="2966603"/>
              <a:ext cx="843924" cy="897542"/>
            </a:xfrm>
            <a:custGeom>
              <a:avLst/>
              <a:gdLst>
                <a:gd name="T0" fmla="*/ 1634 w 2050"/>
                <a:gd name="T1" fmla="*/ 959 h 2180"/>
                <a:gd name="T2" fmla="*/ 1701 w 2050"/>
                <a:gd name="T3" fmla="*/ 839 h 2180"/>
                <a:gd name="T4" fmla="*/ 1507 w 2050"/>
                <a:gd name="T5" fmla="*/ 756 h 2180"/>
                <a:gd name="T6" fmla="*/ 1419 w 2050"/>
                <a:gd name="T7" fmla="*/ 711 h 2180"/>
                <a:gd name="T8" fmla="*/ 1469 w 2050"/>
                <a:gd name="T9" fmla="*/ 810 h 2180"/>
                <a:gd name="T10" fmla="*/ 1441 w 2050"/>
                <a:gd name="T11" fmla="*/ 876 h 2180"/>
                <a:gd name="T12" fmla="*/ 1474 w 2050"/>
                <a:gd name="T13" fmla="*/ 1049 h 2180"/>
                <a:gd name="T14" fmla="*/ 1431 w 2050"/>
                <a:gd name="T15" fmla="*/ 1094 h 2180"/>
                <a:gd name="T16" fmla="*/ 1386 w 2050"/>
                <a:gd name="T17" fmla="*/ 1020 h 2180"/>
                <a:gd name="T18" fmla="*/ 1327 w 2050"/>
                <a:gd name="T19" fmla="*/ 1160 h 2180"/>
                <a:gd name="T20" fmla="*/ 1219 w 2050"/>
                <a:gd name="T21" fmla="*/ 1238 h 2180"/>
                <a:gd name="T22" fmla="*/ 1171 w 2050"/>
                <a:gd name="T23" fmla="*/ 1276 h 2180"/>
                <a:gd name="T24" fmla="*/ 954 w 2050"/>
                <a:gd name="T25" fmla="*/ 1481 h 2180"/>
                <a:gd name="T26" fmla="*/ 848 w 2050"/>
                <a:gd name="T27" fmla="*/ 1609 h 2180"/>
                <a:gd name="T28" fmla="*/ 827 w 2050"/>
                <a:gd name="T29" fmla="*/ 1864 h 2180"/>
                <a:gd name="T30" fmla="*/ 765 w 2050"/>
                <a:gd name="T31" fmla="*/ 1998 h 2180"/>
                <a:gd name="T32" fmla="*/ 593 w 2050"/>
                <a:gd name="T33" fmla="*/ 2020 h 2180"/>
                <a:gd name="T34" fmla="*/ 534 w 2050"/>
                <a:gd name="T35" fmla="*/ 1835 h 2180"/>
                <a:gd name="T36" fmla="*/ 404 w 2050"/>
                <a:gd name="T37" fmla="*/ 1547 h 2180"/>
                <a:gd name="T38" fmla="*/ 340 w 2050"/>
                <a:gd name="T39" fmla="*/ 1292 h 2180"/>
                <a:gd name="T40" fmla="*/ 340 w 2050"/>
                <a:gd name="T41" fmla="*/ 1148 h 2180"/>
                <a:gd name="T42" fmla="*/ 356 w 2050"/>
                <a:gd name="T43" fmla="*/ 1077 h 2180"/>
                <a:gd name="T44" fmla="*/ 286 w 2050"/>
                <a:gd name="T45" fmla="*/ 1037 h 2180"/>
                <a:gd name="T46" fmla="*/ 297 w 2050"/>
                <a:gd name="T47" fmla="*/ 1087 h 2180"/>
                <a:gd name="T48" fmla="*/ 172 w 2050"/>
                <a:gd name="T49" fmla="*/ 983 h 2180"/>
                <a:gd name="T50" fmla="*/ 26 w 2050"/>
                <a:gd name="T51" fmla="*/ 933 h 2180"/>
                <a:gd name="T52" fmla="*/ 64 w 2050"/>
                <a:gd name="T53" fmla="*/ 888 h 2180"/>
                <a:gd name="T54" fmla="*/ 198 w 2050"/>
                <a:gd name="T55" fmla="*/ 872 h 2180"/>
                <a:gd name="T56" fmla="*/ 125 w 2050"/>
                <a:gd name="T57" fmla="*/ 704 h 2180"/>
                <a:gd name="T58" fmla="*/ 286 w 2050"/>
                <a:gd name="T59" fmla="*/ 560 h 2180"/>
                <a:gd name="T60" fmla="*/ 458 w 2050"/>
                <a:gd name="T61" fmla="*/ 354 h 2180"/>
                <a:gd name="T62" fmla="*/ 486 w 2050"/>
                <a:gd name="T63" fmla="*/ 243 h 2180"/>
                <a:gd name="T64" fmla="*/ 411 w 2050"/>
                <a:gd name="T65" fmla="*/ 111 h 2180"/>
                <a:gd name="T66" fmla="*/ 621 w 2050"/>
                <a:gd name="T67" fmla="*/ 61 h 2180"/>
                <a:gd name="T68" fmla="*/ 751 w 2050"/>
                <a:gd name="T69" fmla="*/ 111 h 2180"/>
                <a:gd name="T70" fmla="*/ 751 w 2050"/>
                <a:gd name="T71" fmla="*/ 243 h 2180"/>
                <a:gd name="T72" fmla="*/ 756 w 2050"/>
                <a:gd name="T73" fmla="*/ 338 h 2180"/>
                <a:gd name="T74" fmla="*/ 864 w 2050"/>
                <a:gd name="T75" fmla="*/ 477 h 2180"/>
                <a:gd name="T76" fmla="*/ 982 w 2050"/>
                <a:gd name="T77" fmla="*/ 600 h 2180"/>
                <a:gd name="T78" fmla="*/ 1129 w 2050"/>
                <a:gd name="T79" fmla="*/ 633 h 2180"/>
                <a:gd name="T80" fmla="*/ 1327 w 2050"/>
                <a:gd name="T81" fmla="*/ 711 h 2180"/>
                <a:gd name="T82" fmla="*/ 1403 w 2050"/>
                <a:gd name="T83" fmla="*/ 600 h 2180"/>
                <a:gd name="T84" fmla="*/ 1474 w 2050"/>
                <a:gd name="T85" fmla="*/ 687 h 2180"/>
                <a:gd name="T86" fmla="*/ 1684 w 2050"/>
                <a:gd name="T87" fmla="*/ 683 h 2180"/>
                <a:gd name="T88" fmla="*/ 1710 w 2050"/>
                <a:gd name="T89" fmla="*/ 609 h 2180"/>
                <a:gd name="T90" fmla="*/ 1916 w 2050"/>
                <a:gd name="T91" fmla="*/ 517 h 2180"/>
                <a:gd name="T92" fmla="*/ 1982 w 2050"/>
                <a:gd name="T93" fmla="*/ 555 h 2180"/>
                <a:gd name="T94" fmla="*/ 2024 w 2050"/>
                <a:gd name="T95" fmla="*/ 654 h 2180"/>
                <a:gd name="T96" fmla="*/ 1861 w 2050"/>
                <a:gd name="T97" fmla="*/ 810 h 2180"/>
                <a:gd name="T98" fmla="*/ 1764 w 2050"/>
                <a:gd name="T99" fmla="*/ 983 h 2180"/>
                <a:gd name="T100" fmla="*/ 1705 w 2050"/>
                <a:gd name="T101" fmla="*/ 983 h 2180"/>
                <a:gd name="T102" fmla="*/ 1441 w 2050"/>
                <a:gd name="T103" fmla="*/ 1070 h 2180"/>
                <a:gd name="T104" fmla="*/ 1743 w 2050"/>
                <a:gd name="T105" fmla="*/ 1687 h 2180"/>
                <a:gd name="T106" fmla="*/ 1727 w 2050"/>
                <a:gd name="T107" fmla="*/ 1743 h 2180"/>
                <a:gd name="T108" fmla="*/ 1727 w 2050"/>
                <a:gd name="T109" fmla="*/ 1776 h 2180"/>
                <a:gd name="T110" fmla="*/ 1727 w 2050"/>
                <a:gd name="T111" fmla="*/ 1793 h 2180"/>
                <a:gd name="T112" fmla="*/ 1701 w 2050"/>
                <a:gd name="T113" fmla="*/ 1831 h 2180"/>
                <a:gd name="T114" fmla="*/ 1722 w 2050"/>
                <a:gd name="T115" fmla="*/ 1847 h 2180"/>
                <a:gd name="T116" fmla="*/ 1710 w 2050"/>
                <a:gd name="T117" fmla="*/ 1887 h 2180"/>
                <a:gd name="T118" fmla="*/ 1755 w 2050"/>
                <a:gd name="T119" fmla="*/ 2069 h 2180"/>
                <a:gd name="T120" fmla="*/ 1776 w 2050"/>
                <a:gd name="T121" fmla="*/ 2091 h 2180"/>
                <a:gd name="T122" fmla="*/ 1793 w 2050"/>
                <a:gd name="T123" fmla="*/ 2091 h 2180"/>
                <a:gd name="T124" fmla="*/ 1814 w 2050"/>
                <a:gd name="T125" fmla="*/ 2164 h 2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50" h="2180">
                  <a:moveTo>
                    <a:pt x="1701" y="926"/>
                  </a:moveTo>
                  <a:lnTo>
                    <a:pt x="1684" y="933"/>
                  </a:lnTo>
                  <a:lnTo>
                    <a:pt x="1672" y="926"/>
                  </a:lnTo>
                  <a:lnTo>
                    <a:pt x="1672" y="943"/>
                  </a:lnTo>
                  <a:lnTo>
                    <a:pt x="1656" y="959"/>
                  </a:lnTo>
                  <a:lnTo>
                    <a:pt x="1667" y="976"/>
                  </a:lnTo>
                  <a:lnTo>
                    <a:pt x="1656" y="983"/>
                  </a:lnTo>
                  <a:lnTo>
                    <a:pt x="1646" y="983"/>
                  </a:lnTo>
                  <a:lnTo>
                    <a:pt x="1634" y="959"/>
                  </a:lnTo>
                  <a:lnTo>
                    <a:pt x="1634" y="976"/>
                  </a:lnTo>
                  <a:lnTo>
                    <a:pt x="1630" y="976"/>
                  </a:lnTo>
                  <a:lnTo>
                    <a:pt x="1618" y="933"/>
                  </a:lnTo>
                  <a:lnTo>
                    <a:pt x="1630" y="909"/>
                  </a:lnTo>
                  <a:lnTo>
                    <a:pt x="1634" y="893"/>
                  </a:lnTo>
                  <a:lnTo>
                    <a:pt x="1667" y="893"/>
                  </a:lnTo>
                  <a:lnTo>
                    <a:pt x="1672" y="876"/>
                  </a:lnTo>
                  <a:lnTo>
                    <a:pt x="1689" y="872"/>
                  </a:lnTo>
                  <a:lnTo>
                    <a:pt x="1701" y="839"/>
                  </a:lnTo>
                  <a:lnTo>
                    <a:pt x="1710" y="839"/>
                  </a:lnTo>
                  <a:lnTo>
                    <a:pt x="1705" y="822"/>
                  </a:lnTo>
                  <a:lnTo>
                    <a:pt x="1684" y="815"/>
                  </a:lnTo>
                  <a:lnTo>
                    <a:pt x="1566" y="815"/>
                  </a:lnTo>
                  <a:lnTo>
                    <a:pt x="1528" y="810"/>
                  </a:lnTo>
                  <a:lnTo>
                    <a:pt x="1528" y="761"/>
                  </a:lnTo>
                  <a:lnTo>
                    <a:pt x="1521" y="737"/>
                  </a:lnTo>
                  <a:lnTo>
                    <a:pt x="1512" y="737"/>
                  </a:lnTo>
                  <a:lnTo>
                    <a:pt x="1507" y="756"/>
                  </a:lnTo>
                  <a:lnTo>
                    <a:pt x="1490" y="756"/>
                  </a:lnTo>
                  <a:lnTo>
                    <a:pt x="1474" y="737"/>
                  </a:lnTo>
                  <a:lnTo>
                    <a:pt x="1474" y="721"/>
                  </a:lnTo>
                  <a:lnTo>
                    <a:pt x="1469" y="721"/>
                  </a:lnTo>
                  <a:lnTo>
                    <a:pt x="1457" y="721"/>
                  </a:lnTo>
                  <a:lnTo>
                    <a:pt x="1474" y="728"/>
                  </a:lnTo>
                  <a:lnTo>
                    <a:pt x="1457" y="737"/>
                  </a:lnTo>
                  <a:lnTo>
                    <a:pt x="1431" y="704"/>
                  </a:lnTo>
                  <a:lnTo>
                    <a:pt x="1419" y="711"/>
                  </a:lnTo>
                  <a:lnTo>
                    <a:pt x="1431" y="711"/>
                  </a:lnTo>
                  <a:lnTo>
                    <a:pt x="1436" y="721"/>
                  </a:lnTo>
                  <a:lnTo>
                    <a:pt x="1415" y="737"/>
                  </a:lnTo>
                  <a:lnTo>
                    <a:pt x="1403" y="761"/>
                  </a:lnTo>
                  <a:lnTo>
                    <a:pt x="1419" y="765"/>
                  </a:lnTo>
                  <a:lnTo>
                    <a:pt x="1436" y="794"/>
                  </a:lnTo>
                  <a:lnTo>
                    <a:pt x="1453" y="794"/>
                  </a:lnTo>
                  <a:lnTo>
                    <a:pt x="1457" y="798"/>
                  </a:lnTo>
                  <a:lnTo>
                    <a:pt x="1469" y="810"/>
                  </a:lnTo>
                  <a:lnTo>
                    <a:pt x="1469" y="815"/>
                  </a:lnTo>
                  <a:lnTo>
                    <a:pt x="1431" y="815"/>
                  </a:lnTo>
                  <a:lnTo>
                    <a:pt x="1419" y="839"/>
                  </a:lnTo>
                  <a:lnTo>
                    <a:pt x="1403" y="832"/>
                  </a:lnTo>
                  <a:lnTo>
                    <a:pt x="1415" y="839"/>
                  </a:lnTo>
                  <a:lnTo>
                    <a:pt x="1398" y="855"/>
                  </a:lnTo>
                  <a:lnTo>
                    <a:pt x="1403" y="865"/>
                  </a:lnTo>
                  <a:lnTo>
                    <a:pt x="1436" y="876"/>
                  </a:lnTo>
                  <a:lnTo>
                    <a:pt x="1441" y="876"/>
                  </a:lnTo>
                  <a:lnTo>
                    <a:pt x="1453" y="888"/>
                  </a:lnTo>
                  <a:lnTo>
                    <a:pt x="1453" y="909"/>
                  </a:lnTo>
                  <a:lnTo>
                    <a:pt x="1436" y="921"/>
                  </a:lnTo>
                  <a:lnTo>
                    <a:pt x="1436" y="933"/>
                  </a:lnTo>
                  <a:lnTo>
                    <a:pt x="1453" y="943"/>
                  </a:lnTo>
                  <a:lnTo>
                    <a:pt x="1453" y="959"/>
                  </a:lnTo>
                  <a:lnTo>
                    <a:pt x="1469" y="966"/>
                  </a:lnTo>
                  <a:lnTo>
                    <a:pt x="1457" y="983"/>
                  </a:lnTo>
                  <a:lnTo>
                    <a:pt x="1474" y="1049"/>
                  </a:lnTo>
                  <a:lnTo>
                    <a:pt x="1469" y="1061"/>
                  </a:lnTo>
                  <a:lnTo>
                    <a:pt x="1474" y="1087"/>
                  </a:lnTo>
                  <a:lnTo>
                    <a:pt x="1441" y="1094"/>
                  </a:lnTo>
                  <a:lnTo>
                    <a:pt x="1453" y="1054"/>
                  </a:lnTo>
                  <a:lnTo>
                    <a:pt x="1441" y="1054"/>
                  </a:lnTo>
                  <a:lnTo>
                    <a:pt x="1441" y="1061"/>
                  </a:lnTo>
                  <a:lnTo>
                    <a:pt x="1441" y="1037"/>
                  </a:lnTo>
                  <a:lnTo>
                    <a:pt x="1436" y="1094"/>
                  </a:lnTo>
                  <a:lnTo>
                    <a:pt x="1431" y="1094"/>
                  </a:lnTo>
                  <a:lnTo>
                    <a:pt x="1436" y="1061"/>
                  </a:lnTo>
                  <a:lnTo>
                    <a:pt x="1431" y="1087"/>
                  </a:lnTo>
                  <a:lnTo>
                    <a:pt x="1419" y="1087"/>
                  </a:lnTo>
                  <a:lnTo>
                    <a:pt x="1415" y="1070"/>
                  </a:lnTo>
                  <a:lnTo>
                    <a:pt x="1415" y="1094"/>
                  </a:lnTo>
                  <a:lnTo>
                    <a:pt x="1403" y="1061"/>
                  </a:lnTo>
                  <a:lnTo>
                    <a:pt x="1415" y="1049"/>
                  </a:lnTo>
                  <a:lnTo>
                    <a:pt x="1398" y="1037"/>
                  </a:lnTo>
                  <a:lnTo>
                    <a:pt x="1386" y="1020"/>
                  </a:lnTo>
                  <a:lnTo>
                    <a:pt x="1398" y="1037"/>
                  </a:lnTo>
                  <a:lnTo>
                    <a:pt x="1415" y="1054"/>
                  </a:lnTo>
                  <a:lnTo>
                    <a:pt x="1382" y="1077"/>
                  </a:lnTo>
                  <a:lnTo>
                    <a:pt x="1344" y="1094"/>
                  </a:lnTo>
                  <a:lnTo>
                    <a:pt x="1327" y="1103"/>
                  </a:lnTo>
                  <a:lnTo>
                    <a:pt x="1311" y="1115"/>
                  </a:lnTo>
                  <a:lnTo>
                    <a:pt x="1327" y="1148"/>
                  </a:lnTo>
                  <a:lnTo>
                    <a:pt x="1323" y="1148"/>
                  </a:lnTo>
                  <a:lnTo>
                    <a:pt x="1327" y="1160"/>
                  </a:lnTo>
                  <a:lnTo>
                    <a:pt x="1311" y="1172"/>
                  </a:lnTo>
                  <a:lnTo>
                    <a:pt x="1306" y="1181"/>
                  </a:lnTo>
                  <a:lnTo>
                    <a:pt x="1311" y="1172"/>
                  </a:lnTo>
                  <a:lnTo>
                    <a:pt x="1311" y="1181"/>
                  </a:lnTo>
                  <a:lnTo>
                    <a:pt x="1290" y="1198"/>
                  </a:lnTo>
                  <a:lnTo>
                    <a:pt x="1290" y="1214"/>
                  </a:lnTo>
                  <a:lnTo>
                    <a:pt x="1273" y="1205"/>
                  </a:lnTo>
                  <a:lnTo>
                    <a:pt x="1280" y="1214"/>
                  </a:lnTo>
                  <a:lnTo>
                    <a:pt x="1219" y="1238"/>
                  </a:lnTo>
                  <a:lnTo>
                    <a:pt x="1226" y="1221"/>
                  </a:lnTo>
                  <a:lnTo>
                    <a:pt x="1219" y="1214"/>
                  </a:lnTo>
                  <a:lnTo>
                    <a:pt x="1205" y="1226"/>
                  </a:lnTo>
                  <a:lnTo>
                    <a:pt x="1197" y="1243"/>
                  </a:lnTo>
                  <a:lnTo>
                    <a:pt x="1205" y="1238"/>
                  </a:lnTo>
                  <a:lnTo>
                    <a:pt x="1214" y="1226"/>
                  </a:lnTo>
                  <a:lnTo>
                    <a:pt x="1214" y="1238"/>
                  </a:lnTo>
                  <a:lnTo>
                    <a:pt x="1167" y="1276"/>
                  </a:lnTo>
                  <a:lnTo>
                    <a:pt x="1171" y="1276"/>
                  </a:lnTo>
                  <a:lnTo>
                    <a:pt x="1167" y="1283"/>
                  </a:lnTo>
                  <a:lnTo>
                    <a:pt x="1129" y="1332"/>
                  </a:lnTo>
                  <a:lnTo>
                    <a:pt x="1091" y="1354"/>
                  </a:lnTo>
                  <a:lnTo>
                    <a:pt x="1063" y="1387"/>
                  </a:lnTo>
                  <a:lnTo>
                    <a:pt x="1004" y="1427"/>
                  </a:lnTo>
                  <a:lnTo>
                    <a:pt x="999" y="1436"/>
                  </a:lnTo>
                  <a:lnTo>
                    <a:pt x="1004" y="1443"/>
                  </a:lnTo>
                  <a:lnTo>
                    <a:pt x="999" y="1460"/>
                  </a:lnTo>
                  <a:lnTo>
                    <a:pt x="954" y="1481"/>
                  </a:lnTo>
                  <a:lnTo>
                    <a:pt x="928" y="1481"/>
                  </a:lnTo>
                  <a:lnTo>
                    <a:pt x="912" y="1521"/>
                  </a:lnTo>
                  <a:lnTo>
                    <a:pt x="895" y="1514"/>
                  </a:lnTo>
                  <a:lnTo>
                    <a:pt x="895" y="1505"/>
                  </a:lnTo>
                  <a:lnTo>
                    <a:pt x="895" y="1521"/>
                  </a:lnTo>
                  <a:lnTo>
                    <a:pt x="890" y="1514"/>
                  </a:lnTo>
                  <a:lnTo>
                    <a:pt x="857" y="1531"/>
                  </a:lnTo>
                  <a:lnTo>
                    <a:pt x="841" y="1576"/>
                  </a:lnTo>
                  <a:lnTo>
                    <a:pt x="848" y="1609"/>
                  </a:lnTo>
                  <a:lnTo>
                    <a:pt x="841" y="1642"/>
                  </a:lnTo>
                  <a:lnTo>
                    <a:pt x="857" y="1698"/>
                  </a:lnTo>
                  <a:lnTo>
                    <a:pt x="848" y="1670"/>
                  </a:lnTo>
                  <a:lnTo>
                    <a:pt x="841" y="1682"/>
                  </a:lnTo>
                  <a:lnTo>
                    <a:pt x="857" y="1703"/>
                  </a:lnTo>
                  <a:lnTo>
                    <a:pt x="848" y="1769"/>
                  </a:lnTo>
                  <a:lnTo>
                    <a:pt x="827" y="1798"/>
                  </a:lnTo>
                  <a:lnTo>
                    <a:pt x="819" y="1826"/>
                  </a:lnTo>
                  <a:lnTo>
                    <a:pt x="827" y="1864"/>
                  </a:lnTo>
                  <a:lnTo>
                    <a:pt x="827" y="1925"/>
                  </a:lnTo>
                  <a:lnTo>
                    <a:pt x="789" y="1925"/>
                  </a:lnTo>
                  <a:lnTo>
                    <a:pt x="782" y="1942"/>
                  </a:lnTo>
                  <a:lnTo>
                    <a:pt x="756" y="1980"/>
                  </a:lnTo>
                  <a:lnTo>
                    <a:pt x="765" y="1998"/>
                  </a:lnTo>
                  <a:lnTo>
                    <a:pt x="789" y="1998"/>
                  </a:lnTo>
                  <a:lnTo>
                    <a:pt x="793" y="2003"/>
                  </a:lnTo>
                  <a:lnTo>
                    <a:pt x="789" y="1998"/>
                  </a:lnTo>
                  <a:lnTo>
                    <a:pt x="765" y="1998"/>
                  </a:lnTo>
                  <a:lnTo>
                    <a:pt x="727" y="2015"/>
                  </a:lnTo>
                  <a:lnTo>
                    <a:pt x="713" y="2020"/>
                  </a:lnTo>
                  <a:lnTo>
                    <a:pt x="701" y="2057"/>
                  </a:lnTo>
                  <a:lnTo>
                    <a:pt x="664" y="2086"/>
                  </a:lnTo>
                  <a:lnTo>
                    <a:pt x="647" y="2086"/>
                  </a:lnTo>
                  <a:lnTo>
                    <a:pt x="626" y="2057"/>
                  </a:lnTo>
                  <a:lnTo>
                    <a:pt x="593" y="2031"/>
                  </a:lnTo>
                  <a:lnTo>
                    <a:pt x="605" y="2020"/>
                  </a:lnTo>
                  <a:lnTo>
                    <a:pt x="593" y="2020"/>
                  </a:lnTo>
                  <a:lnTo>
                    <a:pt x="576" y="1998"/>
                  </a:lnTo>
                  <a:lnTo>
                    <a:pt x="571" y="1946"/>
                  </a:lnTo>
                  <a:lnTo>
                    <a:pt x="576" y="1958"/>
                  </a:lnTo>
                  <a:lnTo>
                    <a:pt x="576" y="1980"/>
                  </a:lnTo>
                  <a:lnTo>
                    <a:pt x="588" y="1980"/>
                  </a:lnTo>
                  <a:lnTo>
                    <a:pt x="571" y="1937"/>
                  </a:lnTo>
                  <a:lnTo>
                    <a:pt x="571" y="1946"/>
                  </a:lnTo>
                  <a:lnTo>
                    <a:pt x="571" y="1942"/>
                  </a:lnTo>
                  <a:lnTo>
                    <a:pt x="534" y="1835"/>
                  </a:lnTo>
                  <a:lnTo>
                    <a:pt x="501" y="1798"/>
                  </a:lnTo>
                  <a:lnTo>
                    <a:pt x="470" y="1736"/>
                  </a:lnTo>
                  <a:lnTo>
                    <a:pt x="442" y="1616"/>
                  </a:lnTo>
                  <a:lnTo>
                    <a:pt x="442" y="1609"/>
                  </a:lnTo>
                  <a:lnTo>
                    <a:pt x="432" y="1616"/>
                  </a:lnTo>
                  <a:lnTo>
                    <a:pt x="432" y="1604"/>
                  </a:lnTo>
                  <a:lnTo>
                    <a:pt x="425" y="1592"/>
                  </a:lnTo>
                  <a:lnTo>
                    <a:pt x="411" y="1554"/>
                  </a:lnTo>
                  <a:lnTo>
                    <a:pt x="404" y="1547"/>
                  </a:lnTo>
                  <a:lnTo>
                    <a:pt x="411" y="1554"/>
                  </a:lnTo>
                  <a:lnTo>
                    <a:pt x="404" y="1547"/>
                  </a:lnTo>
                  <a:lnTo>
                    <a:pt x="378" y="1498"/>
                  </a:lnTo>
                  <a:lnTo>
                    <a:pt x="361" y="1427"/>
                  </a:lnTo>
                  <a:lnTo>
                    <a:pt x="335" y="1309"/>
                  </a:lnTo>
                  <a:lnTo>
                    <a:pt x="335" y="1299"/>
                  </a:lnTo>
                  <a:lnTo>
                    <a:pt x="340" y="1299"/>
                  </a:lnTo>
                  <a:lnTo>
                    <a:pt x="349" y="1299"/>
                  </a:lnTo>
                  <a:lnTo>
                    <a:pt x="340" y="1292"/>
                  </a:lnTo>
                  <a:lnTo>
                    <a:pt x="349" y="1283"/>
                  </a:lnTo>
                  <a:lnTo>
                    <a:pt x="340" y="1276"/>
                  </a:lnTo>
                  <a:lnTo>
                    <a:pt x="335" y="1292"/>
                  </a:lnTo>
                  <a:lnTo>
                    <a:pt x="335" y="1283"/>
                  </a:lnTo>
                  <a:lnTo>
                    <a:pt x="335" y="1259"/>
                  </a:lnTo>
                  <a:lnTo>
                    <a:pt x="349" y="1271"/>
                  </a:lnTo>
                  <a:lnTo>
                    <a:pt x="323" y="1254"/>
                  </a:lnTo>
                  <a:lnTo>
                    <a:pt x="323" y="1221"/>
                  </a:lnTo>
                  <a:lnTo>
                    <a:pt x="340" y="1148"/>
                  </a:lnTo>
                  <a:lnTo>
                    <a:pt x="335" y="1143"/>
                  </a:lnTo>
                  <a:lnTo>
                    <a:pt x="335" y="1127"/>
                  </a:lnTo>
                  <a:lnTo>
                    <a:pt x="319" y="1127"/>
                  </a:lnTo>
                  <a:lnTo>
                    <a:pt x="323" y="1115"/>
                  </a:lnTo>
                  <a:lnTo>
                    <a:pt x="319" y="1103"/>
                  </a:lnTo>
                  <a:lnTo>
                    <a:pt x="323" y="1103"/>
                  </a:lnTo>
                  <a:lnTo>
                    <a:pt x="319" y="1103"/>
                  </a:lnTo>
                  <a:lnTo>
                    <a:pt x="335" y="1087"/>
                  </a:lnTo>
                  <a:lnTo>
                    <a:pt x="356" y="1077"/>
                  </a:lnTo>
                  <a:lnTo>
                    <a:pt x="307" y="1087"/>
                  </a:lnTo>
                  <a:lnTo>
                    <a:pt x="319" y="1070"/>
                  </a:lnTo>
                  <a:lnTo>
                    <a:pt x="323" y="1061"/>
                  </a:lnTo>
                  <a:lnTo>
                    <a:pt x="319" y="1061"/>
                  </a:lnTo>
                  <a:lnTo>
                    <a:pt x="307" y="1061"/>
                  </a:lnTo>
                  <a:lnTo>
                    <a:pt x="319" y="1049"/>
                  </a:lnTo>
                  <a:lnTo>
                    <a:pt x="323" y="1049"/>
                  </a:lnTo>
                  <a:lnTo>
                    <a:pt x="340" y="1037"/>
                  </a:lnTo>
                  <a:lnTo>
                    <a:pt x="286" y="1037"/>
                  </a:lnTo>
                  <a:lnTo>
                    <a:pt x="302" y="1049"/>
                  </a:lnTo>
                  <a:lnTo>
                    <a:pt x="297" y="1054"/>
                  </a:lnTo>
                  <a:lnTo>
                    <a:pt x="281" y="1061"/>
                  </a:lnTo>
                  <a:lnTo>
                    <a:pt x="286" y="1061"/>
                  </a:lnTo>
                  <a:lnTo>
                    <a:pt x="286" y="1070"/>
                  </a:lnTo>
                  <a:lnTo>
                    <a:pt x="281" y="1070"/>
                  </a:lnTo>
                  <a:lnTo>
                    <a:pt x="281" y="1077"/>
                  </a:lnTo>
                  <a:lnTo>
                    <a:pt x="286" y="1070"/>
                  </a:lnTo>
                  <a:lnTo>
                    <a:pt x="297" y="1087"/>
                  </a:lnTo>
                  <a:lnTo>
                    <a:pt x="286" y="1115"/>
                  </a:lnTo>
                  <a:lnTo>
                    <a:pt x="243" y="1143"/>
                  </a:lnTo>
                  <a:lnTo>
                    <a:pt x="193" y="1160"/>
                  </a:lnTo>
                  <a:lnTo>
                    <a:pt x="139" y="1127"/>
                  </a:lnTo>
                  <a:lnTo>
                    <a:pt x="64" y="1037"/>
                  </a:lnTo>
                  <a:lnTo>
                    <a:pt x="71" y="1020"/>
                  </a:lnTo>
                  <a:lnTo>
                    <a:pt x="80" y="1037"/>
                  </a:lnTo>
                  <a:lnTo>
                    <a:pt x="146" y="1016"/>
                  </a:lnTo>
                  <a:lnTo>
                    <a:pt x="172" y="983"/>
                  </a:lnTo>
                  <a:lnTo>
                    <a:pt x="172" y="976"/>
                  </a:lnTo>
                  <a:lnTo>
                    <a:pt x="163" y="976"/>
                  </a:lnTo>
                  <a:lnTo>
                    <a:pt x="163" y="983"/>
                  </a:lnTo>
                  <a:lnTo>
                    <a:pt x="125" y="987"/>
                  </a:lnTo>
                  <a:lnTo>
                    <a:pt x="118" y="999"/>
                  </a:lnTo>
                  <a:lnTo>
                    <a:pt x="80" y="987"/>
                  </a:lnTo>
                  <a:lnTo>
                    <a:pt x="38" y="966"/>
                  </a:lnTo>
                  <a:lnTo>
                    <a:pt x="26" y="950"/>
                  </a:lnTo>
                  <a:lnTo>
                    <a:pt x="26" y="933"/>
                  </a:lnTo>
                  <a:lnTo>
                    <a:pt x="49" y="921"/>
                  </a:lnTo>
                  <a:lnTo>
                    <a:pt x="26" y="926"/>
                  </a:lnTo>
                  <a:lnTo>
                    <a:pt x="16" y="933"/>
                  </a:lnTo>
                  <a:lnTo>
                    <a:pt x="0" y="933"/>
                  </a:lnTo>
                  <a:lnTo>
                    <a:pt x="12" y="921"/>
                  </a:lnTo>
                  <a:lnTo>
                    <a:pt x="16" y="909"/>
                  </a:lnTo>
                  <a:lnTo>
                    <a:pt x="49" y="909"/>
                  </a:lnTo>
                  <a:lnTo>
                    <a:pt x="49" y="876"/>
                  </a:lnTo>
                  <a:lnTo>
                    <a:pt x="64" y="888"/>
                  </a:lnTo>
                  <a:lnTo>
                    <a:pt x="108" y="888"/>
                  </a:lnTo>
                  <a:lnTo>
                    <a:pt x="118" y="893"/>
                  </a:lnTo>
                  <a:lnTo>
                    <a:pt x="134" y="893"/>
                  </a:lnTo>
                  <a:lnTo>
                    <a:pt x="139" y="876"/>
                  </a:lnTo>
                  <a:lnTo>
                    <a:pt x="172" y="872"/>
                  </a:lnTo>
                  <a:lnTo>
                    <a:pt x="177" y="888"/>
                  </a:lnTo>
                  <a:lnTo>
                    <a:pt x="189" y="888"/>
                  </a:lnTo>
                  <a:lnTo>
                    <a:pt x="210" y="872"/>
                  </a:lnTo>
                  <a:lnTo>
                    <a:pt x="198" y="872"/>
                  </a:lnTo>
                  <a:lnTo>
                    <a:pt x="198" y="855"/>
                  </a:lnTo>
                  <a:lnTo>
                    <a:pt x="210" y="855"/>
                  </a:lnTo>
                  <a:lnTo>
                    <a:pt x="193" y="815"/>
                  </a:lnTo>
                  <a:lnTo>
                    <a:pt x="189" y="798"/>
                  </a:lnTo>
                  <a:lnTo>
                    <a:pt x="177" y="777"/>
                  </a:lnTo>
                  <a:lnTo>
                    <a:pt x="156" y="777"/>
                  </a:lnTo>
                  <a:lnTo>
                    <a:pt x="139" y="756"/>
                  </a:lnTo>
                  <a:lnTo>
                    <a:pt x="146" y="711"/>
                  </a:lnTo>
                  <a:lnTo>
                    <a:pt x="125" y="704"/>
                  </a:lnTo>
                  <a:lnTo>
                    <a:pt x="101" y="699"/>
                  </a:lnTo>
                  <a:lnTo>
                    <a:pt x="108" y="654"/>
                  </a:lnTo>
                  <a:lnTo>
                    <a:pt x="163" y="593"/>
                  </a:lnTo>
                  <a:lnTo>
                    <a:pt x="177" y="593"/>
                  </a:lnTo>
                  <a:lnTo>
                    <a:pt x="189" y="617"/>
                  </a:lnTo>
                  <a:lnTo>
                    <a:pt x="193" y="617"/>
                  </a:lnTo>
                  <a:lnTo>
                    <a:pt x="269" y="600"/>
                  </a:lnTo>
                  <a:lnTo>
                    <a:pt x="269" y="588"/>
                  </a:lnTo>
                  <a:lnTo>
                    <a:pt x="286" y="560"/>
                  </a:lnTo>
                  <a:lnTo>
                    <a:pt x="302" y="539"/>
                  </a:lnTo>
                  <a:lnTo>
                    <a:pt x="340" y="517"/>
                  </a:lnTo>
                  <a:lnTo>
                    <a:pt x="373" y="444"/>
                  </a:lnTo>
                  <a:lnTo>
                    <a:pt x="411" y="428"/>
                  </a:lnTo>
                  <a:lnTo>
                    <a:pt x="411" y="411"/>
                  </a:lnTo>
                  <a:lnTo>
                    <a:pt x="442" y="371"/>
                  </a:lnTo>
                  <a:lnTo>
                    <a:pt x="463" y="354"/>
                  </a:lnTo>
                  <a:lnTo>
                    <a:pt x="458" y="350"/>
                  </a:lnTo>
                  <a:lnTo>
                    <a:pt x="458" y="354"/>
                  </a:lnTo>
                  <a:lnTo>
                    <a:pt x="449" y="350"/>
                  </a:lnTo>
                  <a:lnTo>
                    <a:pt x="458" y="321"/>
                  </a:lnTo>
                  <a:lnTo>
                    <a:pt x="449" y="300"/>
                  </a:lnTo>
                  <a:lnTo>
                    <a:pt x="458" y="295"/>
                  </a:lnTo>
                  <a:lnTo>
                    <a:pt x="479" y="279"/>
                  </a:lnTo>
                  <a:lnTo>
                    <a:pt x="501" y="279"/>
                  </a:lnTo>
                  <a:lnTo>
                    <a:pt x="512" y="262"/>
                  </a:lnTo>
                  <a:lnTo>
                    <a:pt x="512" y="255"/>
                  </a:lnTo>
                  <a:lnTo>
                    <a:pt x="486" y="243"/>
                  </a:lnTo>
                  <a:lnTo>
                    <a:pt x="463" y="243"/>
                  </a:lnTo>
                  <a:lnTo>
                    <a:pt x="463" y="222"/>
                  </a:lnTo>
                  <a:lnTo>
                    <a:pt x="442" y="222"/>
                  </a:lnTo>
                  <a:lnTo>
                    <a:pt x="442" y="201"/>
                  </a:lnTo>
                  <a:lnTo>
                    <a:pt x="416" y="189"/>
                  </a:lnTo>
                  <a:lnTo>
                    <a:pt x="425" y="156"/>
                  </a:lnTo>
                  <a:lnTo>
                    <a:pt x="416" y="144"/>
                  </a:lnTo>
                  <a:lnTo>
                    <a:pt x="432" y="116"/>
                  </a:lnTo>
                  <a:lnTo>
                    <a:pt x="411" y="111"/>
                  </a:lnTo>
                  <a:lnTo>
                    <a:pt x="416" y="99"/>
                  </a:lnTo>
                  <a:lnTo>
                    <a:pt x="404" y="90"/>
                  </a:lnTo>
                  <a:lnTo>
                    <a:pt x="411" y="73"/>
                  </a:lnTo>
                  <a:lnTo>
                    <a:pt x="442" y="57"/>
                  </a:lnTo>
                  <a:lnTo>
                    <a:pt x="534" y="78"/>
                  </a:lnTo>
                  <a:lnTo>
                    <a:pt x="555" y="73"/>
                  </a:lnTo>
                  <a:lnTo>
                    <a:pt x="567" y="73"/>
                  </a:lnTo>
                  <a:lnTo>
                    <a:pt x="588" y="57"/>
                  </a:lnTo>
                  <a:lnTo>
                    <a:pt x="621" y="61"/>
                  </a:lnTo>
                  <a:lnTo>
                    <a:pt x="626" y="33"/>
                  </a:lnTo>
                  <a:lnTo>
                    <a:pt x="685" y="0"/>
                  </a:lnTo>
                  <a:lnTo>
                    <a:pt x="701" y="0"/>
                  </a:lnTo>
                  <a:lnTo>
                    <a:pt x="697" y="17"/>
                  </a:lnTo>
                  <a:lnTo>
                    <a:pt x="718" y="73"/>
                  </a:lnTo>
                  <a:lnTo>
                    <a:pt x="739" y="78"/>
                  </a:lnTo>
                  <a:lnTo>
                    <a:pt x="765" y="95"/>
                  </a:lnTo>
                  <a:lnTo>
                    <a:pt x="765" y="99"/>
                  </a:lnTo>
                  <a:lnTo>
                    <a:pt x="751" y="111"/>
                  </a:lnTo>
                  <a:lnTo>
                    <a:pt x="751" y="156"/>
                  </a:lnTo>
                  <a:lnTo>
                    <a:pt x="765" y="172"/>
                  </a:lnTo>
                  <a:lnTo>
                    <a:pt x="793" y="189"/>
                  </a:lnTo>
                  <a:lnTo>
                    <a:pt x="789" y="206"/>
                  </a:lnTo>
                  <a:lnTo>
                    <a:pt x="803" y="222"/>
                  </a:lnTo>
                  <a:lnTo>
                    <a:pt x="789" y="243"/>
                  </a:lnTo>
                  <a:lnTo>
                    <a:pt x="782" y="243"/>
                  </a:lnTo>
                  <a:lnTo>
                    <a:pt x="765" y="255"/>
                  </a:lnTo>
                  <a:lnTo>
                    <a:pt x="751" y="243"/>
                  </a:lnTo>
                  <a:lnTo>
                    <a:pt x="751" y="227"/>
                  </a:lnTo>
                  <a:lnTo>
                    <a:pt x="727" y="239"/>
                  </a:lnTo>
                  <a:lnTo>
                    <a:pt x="727" y="262"/>
                  </a:lnTo>
                  <a:lnTo>
                    <a:pt x="751" y="284"/>
                  </a:lnTo>
                  <a:lnTo>
                    <a:pt x="739" y="300"/>
                  </a:lnTo>
                  <a:lnTo>
                    <a:pt x="756" y="312"/>
                  </a:lnTo>
                  <a:lnTo>
                    <a:pt x="751" y="317"/>
                  </a:lnTo>
                  <a:lnTo>
                    <a:pt x="751" y="333"/>
                  </a:lnTo>
                  <a:lnTo>
                    <a:pt x="756" y="338"/>
                  </a:lnTo>
                  <a:lnTo>
                    <a:pt x="772" y="321"/>
                  </a:lnTo>
                  <a:lnTo>
                    <a:pt x="803" y="366"/>
                  </a:lnTo>
                  <a:lnTo>
                    <a:pt x="827" y="366"/>
                  </a:lnTo>
                  <a:lnTo>
                    <a:pt x="857" y="378"/>
                  </a:lnTo>
                  <a:lnTo>
                    <a:pt x="848" y="395"/>
                  </a:lnTo>
                  <a:lnTo>
                    <a:pt x="879" y="406"/>
                  </a:lnTo>
                  <a:lnTo>
                    <a:pt x="912" y="428"/>
                  </a:lnTo>
                  <a:lnTo>
                    <a:pt x="864" y="461"/>
                  </a:lnTo>
                  <a:lnTo>
                    <a:pt x="864" y="477"/>
                  </a:lnTo>
                  <a:lnTo>
                    <a:pt x="848" y="482"/>
                  </a:lnTo>
                  <a:lnTo>
                    <a:pt x="857" y="501"/>
                  </a:lnTo>
                  <a:lnTo>
                    <a:pt x="841" y="534"/>
                  </a:lnTo>
                  <a:lnTo>
                    <a:pt x="874" y="555"/>
                  </a:lnTo>
                  <a:lnTo>
                    <a:pt x="874" y="543"/>
                  </a:lnTo>
                  <a:lnTo>
                    <a:pt x="916" y="572"/>
                  </a:lnTo>
                  <a:lnTo>
                    <a:pt x="928" y="588"/>
                  </a:lnTo>
                  <a:lnTo>
                    <a:pt x="966" y="609"/>
                  </a:lnTo>
                  <a:lnTo>
                    <a:pt x="982" y="600"/>
                  </a:lnTo>
                  <a:lnTo>
                    <a:pt x="1004" y="628"/>
                  </a:lnTo>
                  <a:lnTo>
                    <a:pt x="1025" y="617"/>
                  </a:lnTo>
                  <a:lnTo>
                    <a:pt x="1025" y="633"/>
                  </a:lnTo>
                  <a:lnTo>
                    <a:pt x="1058" y="645"/>
                  </a:lnTo>
                  <a:lnTo>
                    <a:pt x="1063" y="650"/>
                  </a:lnTo>
                  <a:lnTo>
                    <a:pt x="1075" y="645"/>
                  </a:lnTo>
                  <a:lnTo>
                    <a:pt x="1105" y="650"/>
                  </a:lnTo>
                  <a:lnTo>
                    <a:pt x="1105" y="645"/>
                  </a:lnTo>
                  <a:lnTo>
                    <a:pt x="1129" y="633"/>
                  </a:lnTo>
                  <a:lnTo>
                    <a:pt x="1134" y="645"/>
                  </a:lnTo>
                  <a:lnTo>
                    <a:pt x="1160" y="650"/>
                  </a:lnTo>
                  <a:lnTo>
                    <a:pt x="1167" y="671"/>
                  </a:lnTo>
                  <a:lnTo>
                    <a:pt x="1214" y="699"/>
                  </a:lnTo>
                  <a:lnTo>
                    <a:pt x="1226" y="683"/>
                  </a:lnTo>
                  <a:lnTo>
                    <a:pt x="1252" y="704"/>
                  </a:lnTo>
                  <a:lnTo>
                    <a:pt x="1256" y="699"/>
                  </a:lnTo>
                  <a:lnTo>
                    <a:pt x="1311" y="721"/>
                  </a:lnTo>
                  <a:lnTo>
                    <a:pt x="1327" y="711"/>
                  </a:lnTo>
                  <a:lnTo>
                    <a:pt x="1344" y="721"/>
                  </a:lnTo>
                  <a:lnTo>
                    <a:pt x="1386" y="711"/>
                  </a:lnTo>
                  <a:lnTo>
                    <a:pt x="1398" y="721"/>
                  </a:lnTo>
                  <a:lnTo>
                    <a:pt x="1415" y="699"/>
                  </a:lnTo>
                  <a:lnTo>
                    <a:pt x="1398" y="666"/>
                  </a:lnTo>
                  <a:lnTo>
                    <a:pt x="1403" y="633"/>
                  </a:lnTo>
                  <a:lnTo>
                    <a:pt x="1415" y="609"/>
                  </a:lnTo>
                  <a:lnTo>
                    <a:pt x="1403" y="609"/>
                  </a:lnTo>
                  <a:lnTo>
                    <a:pt x="1403" y="600"/>
                  </a:lnTo>
                  <a:lnTo>
                    <a:pt x="1431" y="593"/>
                  </a:lnTo>
                  <a:lnTo>
                    <a:pt x="1441" y="588"/>
                  </a:lnTo>
                  <a:lnTo>
                    <a:pt x="1457" y="593"/>
                  </a:lnTo>
                  <a:lnTo>
                    <a:pt x="1457" y="609"/>
                  </a:lnTo>
                  <a:lnTo>
                    <a:pt x="1453" y="633"/>
                  </a:lnTo>
                  <a:lnTo>
                    <a:pt x="1457" y="650"/>
                  </a:lnTo>
                  <a:lnTo>
                    <a:pt x="1453" y="666"/>
                  </a:lnTo>
                  <a:lnTo>
                    <a:pt x="1457" y="671"/>
                  </a:lnTo>
                  <a:lnTo>
                    <a:pt x="1474" y="687"/>
                  </a:lnTo>
                  <a:lnTo>
                    <a:pt x="1490" y="687"/>
                  </a:lnTo>
                  <a:lnTo>
                    <a:pt x="1512" y="699"/>
                  </a:lnTo>
                  <a:lnTo>
                    <a:pt x="1545" y="699"/>
                  </a:lnTo>
                  <a:lnTo>
                    <a:pt x="1566" y="683"/>
                  </a:lnTo>
                  <a:lnTo>
                    <a:pt x="1592" y="687"/>
                  </a:lnTo>
                  <a:lnTo>
                    <a:pt x="1630" y="687"/>
                  </a:lnTo>
                  <a:lnTo>
                    <a:pt x="1634" y="683"/>
                  </a:lnTo>
                  <a:lnTo>
                    <a:pt x="1646" y="687"/>
                  </a:lnTo>
                  <a:lnTo>
                    <a:pt x="1684" y="683"/>
                  </a:lnTo>
                  <a:lnTo>
                    <a:pt x="1672" y="666"/>
                  </a:lnTo>
                  <a:lnTo>
                    <a:pt x="1684" y="650"/>
                  </a:lnTo>
                  <a:lnTo>
                    <a:pt x="1672" y="633"/>
                  </a:lnTo>
                  <a:lnTo>
                    <a:pt x="1651" y="633"/>
                  </a:lnTo>
                  <a:lnTo>
                    <a:pt x="1651" y="628"/>
                  </a:lnTo>
                  <a:lnTo>
                    <a:pt x="1651" y="617"/>
                  </a:lnTo>
                  <a:lnTo>
                    <a:pt x="1672" y="617"/>
                  </a:lnTo>
                  <a:lnTo>
                    <a:pt x="1701" y="609"/>
                  </a:lnTo>
                  <a:lnTo>
                    <a:pt x="1710" y="609"/>
                  </a:lnTo>
                  <a:lnTo>
                    <a:pt x="1727" y="600"/>
                  </a:lnTo>
                  <a:lnTo>
                    <a:pt x="1727" y="588"/>
                  </a:lnTo>
                  <a:lnTo>
                    <a:pt x="1760" y="572"/>
                  </a:lnTo>
                  <a:lnTo>
                    <a:pt x="1776" y="543"/>
                  </a:lnTo>
                  <a:lnTo>
                    <a:pt x="1814" y="543"/>
                  </a:lnTo>
                  <a:lnTo>
                    <a:pt x="1835" y="517"/>
                  </a:lnTo>
                  <a:lnTo>
                    <a:pt x="1861" y="489"/>
                  </a:lnTo>
                  <a:lnTo>
                    <a:pt x="1873" y="506"/>
                  </a:lnTo>
                  <a:lnTo>
                    <a:pt x="1916" y="517"/>
                  </a:lnTo>
                  <a:lnTo>
                    <a:pt x="1927" y="501"/>
                  </a:lnTo>
                  <a:lnTo>
                    <a:pt x="1958" y="482"/>
                  </a:lnTo>
                  <a:lnTo>
                    <a:pt x="1975" y="501"/>
                  </a:lnTo>
                  <a:lnTo>
                    <a:pt x="1982" y="501"/>
                  </a:lnTo>
                  <a:lnTo>
                    <a:pt x="1970" y="517"/>
                  </a:lnTo>
                  <a:lnTo>
                    <a:pt x="1970" y="522"/>
                  </a:lnTo>
                  <a:lnTo>
                    <a:pt x="1991" y="517"/>
                  </a:lnTo>
                  <a:lnTo>
                    <a:pt x="1996" y="539"/>
                  </a:lnTo>
                  <a:lnTo>
                    <a:pt x="1982" y="555"/>
                  </a:lnTo>
                  <a:lnTo>
                    <a:pt x="1982" y="572"/>
                  </a:lnTo>
                  <a:lnTo>
                    <a:pt x="2008" y="560"/>
                  </a:lnTo>
                  <a:lnTo>
                    <a:pt x="2029" y="572"/>
                  </a:lnTo>
                  <a:lnTo>
                    <a:pt x="2034" y="572"/>
                  </a:lnTo>
                  <a:lnTo>
                    <a:pt x="2050" y="576"/>
                  </a:lnTo>
                  <a:lnTo>
                    <a:pt x="2050" y="600"/>
                  </a:lnTo>
                  <a:lnTo>
                    <a:pt x="2024" y="628"/>
                  </a:lnTo>
                  <a:lnTo>
                    <a:pt x="2034" y="666"/>
                  </a:lnTo>
                  <a:lnTo>
                    <a:pt x="2024" y="654"/>
                  </a:lnTo>
                  <a:lnTo>
                    <a:pt x="2008" y="650"/>
                  </a:lnTo>
                  <a:lnTo>
                    <a:pt x="1975" y="650"/>
                  </a:lnTo>
                  <a:lnTo>
                    <a:pt x="1920" y="699"/>
                  </a:lnTo>
                  <a:lnTo>
                    <a:pt x="1899" y="704"/>
                  </a:lnTo>
                  <a:lnTo>
                    <a:pt x="1890" y="728"/>
                  </a:lnTo>
                  <a:lnTo>
                    <a:pt x="1899" y="744"/>
                  </a:lnTo>
                  <a:lnTo>
                    <a:pt x="1882" y="782"/>
                  </a:lnTo>
                  <a:lnTo>
                    <a:pt x="1861" y="798"/>
                  </a:lnTo>
                  <a:lnTo>
                    <a:pt x="1861" y="810"/>
                  </a:lnTo>
                  <a:lnTo>
                    <a:pt x="1868" y="815"/>
                  </a:lnTo>
                  <a:lnTo>
                    <a:pt x="1868" y="822"/>
                  </a:lnTo>
                  <a:lnTo>
                    <a:pt x="1830" y="921"/>
                  </a:lnTo>
                  <a:lnTo>
                    <a:pt x="1797" y="905"/>
                  </a:lnTo>
                  <a:lnTo>
                    <a:pt x="1781" y="909"/>
                  </a:lnTo>
                  <a:lnTo>
                    <a:pt x="1776" y="893"/>
                  </a:lnTo>
                  <a:lnTo>
                    <a:pt x="1776" y="926"/>
                  </a:lnTo>
                  <a:lnTo>
                    <a:pt x="1776" y="966"/>
                  </a:lnTo>
                  <a:lnTo>
                    <a:pt x="1764" y="983"/>
                  </a:lnTo>
                  <a:lnTo>
                    <a:pt x="1760" y="976"/>
                  </a:lnTo>
                  <a:lnTo>
                    <a:pt x="1755" y="1004"/>
                  </a:lnTo>
                  <a:lnTo>
                    <a:pt x="1760" y="1037"/>
                  </a:lnTo>
                  <a:lnTo>
                    <a:pt x="1755" y="1037"/>
                  </a:lnTo>
                  <a:lnTo>
                    <a:pt x="1743" y="1054"/>
                  </a:lnTo>
                  <a:lnTo>
                    <a:pt x="1727" y="1049"/>
                  </a:lnTo>
                  <a:lnTo>
                    <a:pt x="1722" y="1061"/>
                  </a:lnTo>
                  <a:lnTo>
                    <a:pt x="1710" y="1004"/>
                  </a:lnTo>
                  <a:lnTo>
                    <a:pt x="1705" y="983"/>
                  </a:lnTo>
                  <a:lnTo>
                    <a:pt x="1705" y="959"/>
                  </a:lnTo>
                  <a:lnTo>
                    <a:pt x="1701" y="926"/>
                  </a:lnTo>
                  <a:lnTo>
                    <a:pt x="1701" y="926"/>
                  </a:lnTo>
                  <a:lnTo>
                    <a:pt x="1701" y="926"/>
                  </a:lnTo>
                  <a:close/>
                  <a:moveTo>
                    <a:pt x="1441" y="1070"/>
                  </a:moveTo>
                  <a:lnTo>
                    <a:pt x="1436" y="1070"/>
                  </a:lnTo>
                  <a:lnTo>
                    <a:pt x="1441" y="1061"/>
                  </a:lnTo>
                  <a:lnTo>
                    <a:pt x="1441" y="1070"/>
                  </a:lnTo>
                  <a:lnTo>
                    <a:pt x="1441" y="1070"/>
                  </a:lnTo>
                  <a:lnTo>
                    <a:pt x="1441" y="1070"/>
                  </a:lnTo>
                  <a:close/>
                  <a:moveTo>
                    <a:pt x="1403" y="1070"/>
                  </a:moveTo>
                  <a:lnTo>
                    <a:pt x="1403" y="1087"/>
                  </a:lnTo>
                  <a:lnTo>
                    <a:pt x="1403" y="1070"/>
                  </a:lnTo>
                  <a:lnTo>
                    <a:pt x="1403" y="1070"/>
                  </a:lnTo>
                  <a:lnTo>
                    <a:pt x="1403" y="1070"/>
                  </a:lnTo>
                  <a:close/>
                  <a:moveTo>
                    <a:pt x="1738" y="1736"/>
                  </a:moveTo>
                  <a:lnTo>
                    <a:pt x="1738" y="1703"/>
                  </a:lnTo>
                  <a:lnTo>
                    <a:pt x="1743" y="1687"/>
                  </a:lnTo>
                  <a:lnTo>
                    <a:pt x="1755" y="1687"/>
                  </a:lnTo>
                  <a:lnTo>
                    <a:pt x="1755" y="1720"/>
                  </a:lnTo>
                  <a:lnTo>
                    <a:pt x="1743" y="1720"/>
                  </a:lnTo>
                  <a:lnTo>
                    <a:pt x="1738" y="1736"/>
                  </a:lnTo>
                  <a:lnTo>
                    <a:pt x="1738" y="1736"/>
                  </a:lnTo>
                  <a:lnTo>
                    <a:pt x="1738" y="1736"/>
                  </a:lnTo>
                  <a:close/>
                  <a:moveTo>
                    <a:pt x="1738" y="1776"/>
                  </a:moveTo>
                  <a:lnTo>
                    <a:pt x="1727" y="1776"/>
                  </a:lnTo>
                  <a:lnTo>
                    <a:pt x="1727" y="1743"/>
                  </a:lnTo>
                  <a:lnTo>
                    <a:pt x="1743" y="1736"/>
                  </a:lnTo>
                  <a:lnTo>
                    <a:pt x="1743" y="1760"/>
                  </a:lnTo>
                  <a:lnTo>
                    <a:pt x="1743" y="1769"/>
                  </a:lnTo>
                  <a:lnTo>
                    <a:pt x="1738" y="1769"/>
                  </a:lnTo>
                  <a:lnTo>
                    <a:pt x="1738" y="1776"/>
                  </a:lnTo>
                  <a:lnTo>
                    <a:pt x="1738" y="1776"/>
                  </a:lnTo>
                  <a:lnTo>
                    <a:pt x="1738" y="1776"/>
                  </a:lnTo>
                  <a:close/>
                  <a:moveTo>
                    <a:pt x="1727" y="1793"/>
                  </a:moveTo>
                  <a:lnTo>
                    <a:pt x="1727" y="1776"/>
                  </a:lnTo>
                  <a:lnTo>
                    <a:pt x="1743" y="1776"/>
                  </a:lnTo>
                  <a:lnTo>
                    <a:pt x="1727" y="1793"/>
                  </a:lnTo>
                  <a:lnTo>
                    <a:pt x="1727" y="1793"/>
                  </a:lnTo>
                  <a:lnTo>
                    <a:pt x="1727" y="1793"/>
                  </a:lnTo>
                  <a:close/>
                  <a:moveTo>
                    <a:pt x="1727" y="1793"/>
                  </a:moveTo>
                  <a:lnTo>
                    <a:pt x="1727" y="1835"/>
                  </a:lnTo>
                  <a:lnTo>
                    <a:pt x="1710" y="1809"/>
                  </a:lnTo>
                  <a:lnTo>
                    <a:pt x="1727" y="1781"/>
                  </a:lnTo>
                  <a:lnTo>
                    <a:pt x="1727" y="1793"/>
                  </a:lnTo>
                  <a:lnTo>
                    <a:pt x="1727" y="1793"/>
                  </a:lnTo>
                  <a:lnTo>
                    <a:pt x="1727" y="1793"/>
                  </a:lnTo>
                  <a:close/>
                  <a:moveTo>
                    <a:pt x="1755" y="1798"/>
                  </a:moveTo>
                  <a:lnTo>
                    <a:pt x="1755" y="1809"/>
                  </a:lnTo>
                  <a:lnTo>
                    <a:pt x="1743" y="1798"/>
                  </a:lnTo>
                  <a:lnTo>
                    <a:pt x="1755" y="1798"/>
                  </a:lnTo>
                  <a:lnTo>
                    <a:pt x="1755" y="1798"/>
                  </a:lnTo>
                  <a:lnTo>
                    <a:pt x="1755" y="1798"/>
                  </a:lnTo>
                  <a:close/>
                  <a:moveTo>
                    <a:pt x="1701" y="1831"/>
                  </a:moveTo>
                  <a:lnTo>
                    <a:pt x="1689" y="1831"/>
                  </a:lnTo>
                  <a:lnTo>
                    <a:pt x="1701" y="1831"/>
                  </a:lnTo>
                  <a:lnTo>
                    <a:pt x="1701" y="1831"/>
                  </a:lnTo>
                  <a:lnTo>
                    <a:pt x="1701" y="1831"/>
                  </a:lnTo>
                  <a:close/>
                  <a:moveTo>
                    <a:pt x="1722" y="1847"/>
                  </a:moveTo>
                  <a:lnTo>
                    <a:pt x="1722" y="1831"/>
                  </a:lnTo>
                  <a:lnTo>
                    <a:pt x="1727" y="1847"/>
                  </a:lnTo>
                  <a:lnTo>
                    <a:pt x="1722" y="1847"/>
                  </a:lnTo>
                  <a:lnTo>
                    <a:pt x="1722" y="1847"/>
                  </a:lnTo>
                  <a:lnTo>
                    <a:pt x="1722" y="1847"/>
                  </a:lnTo>
                  <a:close/>
                  <a:moveTo>
                    <a:pt x="1710" y="1887"/>
                  </a:moveTo>
                  <a:lnTo>
                    <a:pt x="1710" y="1909"/>
                  </a:lnTo>
                  <a:lnTo>
                    <a:pt x="1705" y="1904"/>
                  </a:lnTo>
                  <a:lnTo>
                    <a:pt x="1705" y="1887"/>
                  </a:lnTo>
                  <a:lnTo>
                    <a:pt x="1710" y="1880"/>
                  </a:lnTo>
                  <a:lnTo>
                    <a:pt x="1710" y="1887"/>
                  </a:lnTo>
                  <a:lnTo>
                    <a:pt x="1710" y="1887"/>
                  </a:lnTo>
                  <a:lnTo>
                    <a:pt x="1710" y="1887"/>
                  </a:lnTo>
                  <a:close/>
                  <a:moveTo>
                    <a:pt x="1738" y="1998"/>
                  </a:moveTo>
                  <a:lnTo>
                    <a:pt x="1738" y="2003"/>
                  </a:lnTo>
                  <a:lnTo>
                    <a:pt x="1727" y="2003"/>
                  </a:lnTo>
                  <a:lnTo>
                    <a:pt x="1738" y="1998"/>
                  </a:lnTo>
                  <a:lnTo>
                    <a:pt x="1738" y="1998"/>
                  </a:lnTo>
                  <a:lnTo>
                    <a:pt x="1738" y="1998"/>
                  </a:lnTo>
                  <a:close/>
                  <a:moveTo>
                    <a:pt x="1755" y="2069"/>
                  </a:moveTo>
                  <a:lnTo>
                    <a:pt x="1760" y="2074"/>
                  </a:lnTo>
                  <a:lnTo>
                    <a:pt x="1755" y="2069"/>
                  </a:lnTo>
                  <a:lnTo>
                    <a:pt x="1755" y="2069"/>
                  </a:lnTo>
                  <a:lnTo>
                    <a:pt x="1755" y="2069"/>
                  </a:lnTo>
                  <a:close/>
                  <a:moveTo>
                    <a:pt x="1781" y="2074"/>
                  </a:moveTo>
                  <a:lnTo>
                    <a:pt x="1781" y="2091"/>
                  </a:lnTo>
                  <a:lnTo>
                    <a:pt x="1776" y="2074"/>
                  </a:lnTo>
                  <a:lnTo>
                    <a:pt x="1781" y="2074"/>
                  </a:lnTo>
                  <a:lnTo>
                    <a:pt x="1781" y="2074"/>
                  </a:lnTo>
                  <a:lnTo>
                    <a:pt x="1781" y="2074"/>
                  </a:lnTo>
                  <a:close/>
                  <a:moveTo>
                    <a:pt x="1776" y="2091"/>
                  </a:moveTo>
                  <a:lnTo>
                    <a:pt x="1781" y="2102"/>
                  </a:lnTo>
                  <a:lnTo>
                    <a:pt x="1764" y="2091"/>
                  </a:lnTo>
                  <a:lnTo>
                    <a:pt x="1776" y="2091"/>
                  </a:lnTo>
                  <a:lnTo>
                    <a:pt x="1776" y="2091"/>
                  </a:lnTo>
                  <a:lnTo>
                    <a:pt x="1776" y="2091"/>
                  </a:lnTo>
                  <a:close/>
                  <a:moveTo>
                    <a:pt x="1793" y="2091"/>
                  </a:moveTo>
                  <a:lnTo>
                    <a:pt x="1781" y="2091"/>
                  </a:lnTo>
                  <a:lnTo>
                    <a:pt x="1793" y="2091"/>
                  </a:lnTo>
                  <a:lnTo>
                    <a:pt x="1793" y="2091"/>
                  </a:lnTo>
                  <a:lnTo>
                    <a:pt x="1793" y="2091"/>
                  </a:lnTo>
                  <a:close/>
                  <a:moveTo>
                    <a:pt x="1797" y="2131"/>
                  </a:moveTo>
                  <a:lnTo>
                    <a:pt x="1797" y="2143"/>
                  </a:lnTo>
                  <a:lnTo>
                    <a:pt x="1793" y="2147"/>
                  </a:lnTo>
                  <a:lnTo>
                    <a:pt x="1797" y="2131"/>
                  </a:lnTo>
                  <a:lnTo>
                    <a:pt x="1797" y="2131"/>
                  </a:lnTo>
                  <a:lnTo>
                    <a:pt x="1797" y="2131"/>
                  </a:lnTo>
                  <a:close/>
                  <a:moveTo>
                    <a:pt x="1807" y="2147"/>
                  </a:moveTo>
                  <a:lnTo>
                    <a:pt x="1814" y="2164"/>
                  </a:lnTo>
                  <a:lnTo>
                    <a:pt x="1807" y="2180"/>
                  </a:lnTo>
                  <a:lnTo>
                    <a:pt x="1793" y="2159"/>
                  </a:lnTo>
                  <a:lnTo>
                    <a:pt x="1807" y="2147"/>
                  </a:lnTo>
                  <a:lnTo>
                    <a:pt x="1807" y="2147"/>
                  </a:lnTo>
                  <a:lnTo>
                    <a:pt x="1807" y="214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72" name="Freeform 476">
              <a:extLst>
                <a:ext uri="{FF2B5EF4-FFF2-40B4-BE49-F238E27FC236}">
                  <a16:creationId xmlns:a16="http://schemas.microsoft.com/office/drawing/2014/main" id="{0EC1CBB7-40A8-49BE-B36B-E18E437BDD4B}"/>
                </a:ext>
              </a:extLst>
            </p:cNvPr>
            <p:cNvSpPr>
              <a:spLocks noEditPoints="1"/>
            </p:cNvSpPr>
            <p:nvPr/>
          </p:nvSpPr>
          <p:spPr bwMode="gray">
            <a:xfrm>
              <a:off x="10295004" y="2613763"/>
              <a:ext cx="641793" cy="718445"/>
            </a:xfrm>
            <a:custGeom>
              <a:avLst/>
              <a:gdLst>
                <a:gd name="T0" fmla="*/ 1521 w 1559"/>
                <a:gd name="T1" fmla="*/ 193 h 1745"/>
                <a:gd name="T2" fmla="*/ 1483 w 1559"/>
                <a:gd name="T3" fmla="*/ 215 h 1745"/>
                <a:gd name="T4" fmla="*/ 1207 w 1559"/>
                <a:gd name="T5" fmla="*/ 267 h 1745"/>
                <a:gd name="T6" fmla="*/ 1181 w 1559"/>
                <a:gd name="T7" fmla="*/ 337 h 1745"/>
                <a:gd name="T8" fmla="*/ 1191 w 1559"/>
                <a:gd name="T9" fmla="*/ 222 h 1745"/>
                <a:gd name="T10" fmla="*/ 1278 w 1559"/>
                <a:gd name="T11" fmla="*/ 82 h 1745"/>
                <a:gd name="T12" fmla="*/ 1450 w 1559"/>
                <a:gd name="T13" fmla="*/ 139 h 1745"/>
                <a:gd name="T14" fmla="*/ 1245 w 1559"/>
                <a:gd name="T15" fmla="*/ 33 h 1745"/>
                <a:gd name="T16" fmla="*/ 1115 w 1559"/>
                <a:gd name="T17" fmla="*/ 292 h 1745"/>
                <a:gd name="T18" fmla="*/ 1136 w 1559"/>
                <a:gd name="T19" fmla="*/ 897 h 1745"/>
                <a:gd name="T20" fmla="*/ 1127 w 1559"/>
                <a:gd name="T21" fmla="*/ 876 h 1745"/>
                <a:gd name="T22" fmla="*/ 1072 w 1559"/>
                <a:gd name="T23" fmla="*/ 897 h 1745"/>
                <a:gd name="T24" fmla="*/ 943 w 1559"/>
                <a:gd name="T25" fmla="*/ 914 h 1745"/>
                <a:gd name="T26" fmla="*/ 938 w 1559"/>
                <a:gd name="T27" fmla="*/ 947 h 1745"/>
                <a:gd name="T28" fmla="*/ 801 w 1559"/>
                <a:gd name="T29" fmla="*/ 987 h 1745"/>
                <a:gd name="T30" fmla="*/ 737 w 1559"/>
                <a:gd name="T31" fmla="*/ 930 h 1745"/>
                <a:gd name="T32" fmla="*/ 666 w 1559"/>
                <a:gd name="T33" fmla="*/ 954 h 1745"/>
                <a:gd name="T34" fmla="*/ 574 w 1559"/>
                <a:gd name="T35" fmla="*/ 975 h 1745"/>
                <a:gd name="T36" fmla="*/ 633 w 1559"/>
                <a:gd name="T37" fmla="*/ 864 h 1745"/>
                <a:gd name="T38" fmla="*/ 829 w 1559"/>
                <a:gd name="T39" fmla="*/ 859 h 1745"/>
                <a:gd name="T40" fmla="*/ 921 w 1559"/>
                <a:gd name="T41" fmla="*/ 753 h 1745"/>
                <a:gd name="T42" fmla="*/ 943 w 1559"/>
                <a:gd name="T43" fmla="*/ 732 h 1745"/>
                <a:gd name="T44" fmla="*/ 1136 w 1559"/>
                <a:gd name="T45" fmla="*/ 581 h 1745"/>
                <a:gd name="T46" fmla="*/ 1169 w 1559"/>
                <a:gd name="T47" fmla="*/ 415 h 1745"/>
                <a:gd name="T48" fmla="*/ 1235 w 1559"/>
                <a:gd name="T49" fmla="*/ 375 h 1745"/>
                <a:gd name="T50" fmla="*/ 1283 w 1559"/>
                <a:gd name="T51" fmla="*/ 543 h 1745"/>
                <a:gd name="T52" fmla="*/ 1212 w 1559"/>
                <a:gd name="T53" fmla="*/ 654 h 1745"/>
                <a:gd name="T54" fmla="*/ 1051 w 1559"/>
                <a:gd name="T55" fmla="*/ 642 h 1745"/>
                <a:gd name="T56" fmla="*/ 683 w 1559"/>
                <a:gd name="T57" fmla="*/ 786 h 1745"/>
                <a:gd name="T58" fmla="*/ 1106 w 1559"/>
                <a:gd name="T59" fmla="*/ 918 h 1745"/>
                <a:gd name="T60" fmla="*/ 411 w 1559"/>
                <a:gd name="T61" fmla="*/ 918 h 1745"/>
                <a:gd name="T62" fmla="*/ 780 w 1559"/>
                <a:gd name="T63" fmla="*/ 959 h 1745"/>
                <a:gd name="T64" fmla="*/ 725 w 1559"/>
                <a:gd name="T65" fmla="*/ 1025 h 1745"/>
                <a:gd name="T66" fmla="*/ 628 w 1559"/>
                <a:gd name="T67" fmla="*/ 1041 h 1745"/>
                <a:gd name="T68" fmla="*/ 720 w 1559"/>
                <a:gd name="T69" fmla="*/ 954 h 1745"/>
                <a:gd name="T70" fmla="*/ 402 w 1559"/>
                <a:gd name="T71" fmla="*/ 959 h 1745"/>
                <a:gd name="T72" fmla="*/ 657 w 1559"/>
                <a:gd name="T73" fmla="*/ 954 h 1745"/>
                <a:gd name="T74" fmla="*/ 628 w 1559"/>
                <a:gd name="T75" fmla="*/ 970 h 1745"/>
                <a:gd name="T76" fmla="*/ 565 w 1559"/>
                <a:gd name="T77" fmla="*/ 1008 h 1745"/>
                <a:gd name="T78" fmla="*/ 527 w 1559"/>
                <a:gd name="T79" fmla="*/ 1181 h 1745"/>
                <a:gd name="T80" fmla="*/ 489 w 1559"/>
                <a:gd name="T81" fmla="*/ 1174 h 1745"/>
                <a:gd name="T82" fmla="*/ 489 w 1559"/>
                <a:gd name="T83" fmla="*/ 1081 h 1745"/>
                <a:gd name="T84" fmla="*/ 456 w 1559"/>
                <a:gd name="T85" fmla="*/ 1098 h 1745"/>
                <a:gd name="T86" fmla="*/ 435 w 1559"/>
                <a:gd name="T87" fmla="*/ 1070 h 1745"/>
                <a:gd name="T88" fmla="*/ 472 w 1559"/>
                <a:gd name="T89" fmla="*/ 1008 h 1745"/>
                <a:gd name="T90" fmla="*/ 423 w 1559"/>
                <a:gd name="T91" fmla="*/ 1004 h 1745"/>
                <a:gd name="T92" fmla="*/ 418 w 1559"/>
                <a:gd name="T93" fmla="*/ 1029 h 1745"/>
                <a:gd name="T94" fmla="*/ 385 w 1559"/>
                <a:gd name="T95" fmla="*/ 1058 h 1745"/>
                <a:gd name="T96" fmla="*/ 359 w 1559"/>
                <a:gd name="T97" fmla="*/ 1081 h 1745"/>
                <a:gd name="T98" fmla="*/ 465 w 1559"/>
                <a:gd name="T99" fmla="*/ 1103 h 1745"/>
                <a:gd name="T100" fmla="*/ 456 w 1559"/>
                <a:gd name="T101" fmla="*/ 1124 h 1745"/>
                <a:gd name="T102" fmla="*/ 527 w 1559"/>
                <a:gd name="T103" fmla="*/ 1230 h 1745"/>
                <a:gd name="T104" fmla="*/ 489 w 1559"/>
                <a:gd name="T105" fmla="*/ 1280 h 1745"/>
                <a:gd name="T106" fmla="*/ 385 w 1559"/>
                <a:gd name="T107" fmla="*/ 1436 h 1745"/>
                <a:gd name="T108" fmla="*/ 397 w 1559"/>
                <a:gd name="T109" fmla="*/ 1436 h 1745"/>
                <a:gd name="T110" fmla="*/ 359 w 1559"/>
                <a:gd name="T111" fmla="*/ 1502 h 1745"/>
                <a:gd name="T112" fmla="*/ 293 w 1559"/>
                <a:gd name="T113" fmla="*/ 1596 h 1745"/>
                <a:gd name="T114" fmla="*/ 217 w 1559"/>
                <a:gd name="T115" fmla="*/ 1580 h 1745"/>
                <a:gd name="T116" fmla="*/ 116 w 1559"/>
                <a:gd name="T117" fmla="*/ 1696 h 1745"/>
                <a:gd name="T118" fmla="*/ 33 w 1559"/>
                <a:gd name="T119" fmla="*/ 1729 h 1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59" h="1745">
                  <a:moveTo>
                    <a:pt x="1450" y="139"/>
                  </a:moveTo>
                  <a:lnTo>
                    <a:pt x="1483" y="144"/>
                  </a:lnTo>
                  <a:lnTo>
                    <a:pt x="1521" y="104"/>
                  </a:lnTo>
                  <a:lnTo>
                    <a:pt x="1531" y="111"/>
                  </a:lnTo>
                  <a:lnTo>
                    <a:pt x="1505" y="155"/>
                  </a:lnTo>
                  <a:lnTo>
                    <a:pt x="1517" y="165"/>
                  </a:lnTo>
                  <a:lnTo>
                    <a:pt x="1521" y="177"/>
                  </a:lnTo>
                  <a:lnTo>
                    <a:pt x="1517" y="165"/>
                  </a:lnTo>
                  <a:lnTo>
                    <a:pt x="1521" y="193"/>
                  </a:lnTo>
                  <a:lnTo>
                    <a:pt x="1521" y="193"/>
                  </a:lnTo>
                  <a:lnTo>
                    <a:pt x="1538" y="198"/>
                  </a:lnTo>
                  <a:lnTo>
                    <a:pt x="1547" y="193"/>
                  </a:lnTo>
                  <a:lnTo>
                    <a:pt x="1559" y="193"/>
                  </a:lnTo>
                  <a:lnTo>
                    <a:pt x="1547" y="193"/>
                  </a:lnTo>
                  <a:lnTo>
                    <a:pt x="1538" y="210"/>
                  </a:lnTo>
                  <a:lnTo>
                    <a:pt x="1517" y="210"/>
                  </a:lnTo>
                  <a:lnTo>
                    <a:pt x="1500" y="222"/>
                  </a:lnTo>
                  <a:lnTo>
                    <a:pt x="1483" y="215"/>
                  </a:lnTo>
                  <a:lnTo>
                    <a:pt x="1479" y="231"/>
                  </a:lnTo>
                  <a:lnTo>
                    <a:pt x="1450" y="222"/>
                  </a:lnTo>
                  <a:lnTo>
                    <a:pt x="1429" y="231"/>
                  </a:lnTo>
                  <a:lnTo>
                    <a:pt x="1391" y="271"/>
                  </a:lnTo>
                  <a:lnTo>
                    <a:pt x="1375" y="321"/>
                  </a:lnTo>
                  <a:lnTo>
                    <a:pt x="1278" y="255"/>
                  </a:lnTo>
                  <a:lnTo>
                    <a:pt x="1250" y="267"/>
                  </a:lnTo>
                  <a:lnTo>
                    <a:pt x="1224" y="288"/>
                  </a:lnTo>
                  <a:lnTo>
                    <a:pt x="1207" y="267"/>
                  </a:lnTo>
                  <a:lnTo>
                    <a:pt x="1181" y="267"/>
                  </a:lnTo>
                  <a:lnTo>
                    <a:pt x="1174" y="271"/>
                  </a:lnTo>
                  <a:lnTo>
                    <a:pt x="1169" y="288"/>
                  </a:lnTo>
                  <a:lnTo>
                    <a:pt x="1191" y="304"/>
                  </a:lnTo>
                  <a:lnTo>
                    <a:pt x="1198" y="304"/>
                  </a:lnTo>
                  <a:lnTo>
                    <a:pt x="1235" y="326"/>
                  </a:lnTo>
                  <a:lnTo>
                    <a:pt x="1224" y="337"/>
                  </a:lnTo>
                  <a:lnTo>
                    <a:pt x="1198" y="326"/>
                  </a:lnTo>
                  <a:lnTo>
                    <a:pt x="1181" y="337"/>
                  </a:lnTo>
                  <a:lnTo>
                    <a:pt x="1181" y="349"/>
                  </a:lnTo>
                  <a:lnTo>
                    <a:pt x="1169" y="359"/>
                  </a:lnTo>
                  <a:lnTo>
                    <a:pt x="1153" y="359"/>
                  </a:lnTo>
                  <a:lnTo>
                    <a:pt x="1153" y="342"/>
                  </a:lnTo>
                  <a:lnTo>
                    <a:pt x="1157" y="309"/>
                  </a:lnTo>
                  <a:lnTo>
                    <a:pt x="1136" y="288"/>
                  </a:lnTo>
                  <a:lnTo>
                    <a:pt x="1136" y="255"/>
                  </a:lnTo>
                  <a:lnTo>
                    <a:pt x="1174" y="238"/>
                  </a:lnTo>
                  <a:lnTo>
                    <a:pt x="1191" y="222"/>
                  </a:lnTo>
                  <a:lnTo>
                    <a:pt x="1174" y="198"/>
                  </a:lnTo>
                  <a:lnTo>
                    <a:pt x="1181" y="193"/>
                  </a:lnTo>
                  <a:lnTo>
                    <a:pt x="1207" y="210"/>
                  </a:lnTo>
                  <a:lnTo>
                    <a:pt x="1228" y="210"/>
                  </a:lnTo>
                  <a:lnTo>
                    <a:pt x="1250" y="193"/>
                  </a:lnTo>
                  <a:lnTo>
                    <a:pt x="1245" y="160"/>
                  </a:lnTo>
                  <a:lnTo>
                    <a:pt x="1266" y="139"/>
                  </a:lnTo>
                  <a:lnTo>
                    <a:pt x="1266" y="111"/>
                  </a:lnTo>
                  <a:lnTo>
                    <a:pt x="1278" y="82"/>
                  </a:lnTo>
                  <a:lnTo>
                    <a:pt x="1261" y="28"/>
                  </a:lnTo>
                  <a:lnTo>
                    <a:pt x="1266" y="11"/>
                  </a:lnTo>
                  <a:lnTo>
                    <a:pt x="1287" y="0"/>
                  </a:lnTo>
                  <a:lnTo>
                    <a:pt x="1370" y="87"/>
                  </a:lnTo>
                  <a:lnTo>
                    <a:pt x="1408" y="111"/>
                  </a:lnTo>
                  <a:lnTo>
                    <a:pt x="1413" y="127"/>
                  </a:lnTo>
                  <a:lnTo>
                    <a:pt x="1446" y="127"/>
                  </a:lnTo>
                  <a:lnTo>
                    <a:pt x="1450" y="139"/>
                  </a:lnTo>
                  <a:lnTo>
                    <a:pt x="1450" y="139"/>
                  </a:lnTo>
                  <a:lnTo>
                    <a:pt x="1450" y="139"/>
                  </a:lnTo>
                  <a:close/>
                  <a:moveTo>
                    <a:pt x="1224" y="11"/>
                  </a:moveTo>
                  <a:lnTo>
                    <a:pt x="1228" y="11"/>
                  </a:lnTo>
                  <a:lnTo>
                    <a:pt x="1224" y="28"/>
                  </a:lnTo>
                  <a:lnTo>
                    <a:pt x="1224" y="11"/>
                  </a:lnTo>
                  <a:lnTo>
                    <a:pt x="1224" y="11"/>
                  </a:lnTo>
                  <a:lnTo>
                    <a:pt x="1224" y="11"/>
                  </a:lnTo>
                  <a:close/>
                  <a:moveTo>
                    <a:pt x="1228" y="28"/>
                  </a:moveTo>
                  <a:lnTo>
                    <a:pt x="1245" y="33"/>
                  </a:lnTo>
                  <a:lnTo>
                    <a:pt x="1228" y="33"/>
                  </a:lnTo>
                  <a:lnTo>
                    <a:pt x="1228" y="28"/>
                  </a:lnTo>
                  <a:lnTo>
                    <a:pt x="1228" y="28"/>
                  </a:lnTo>
                  <a:lnTo>
                    <a:pt x="1228" y="28"/>
                  </a:lnTo>
                  <a:close/>
                  <a:moveTo>
                    <a:pt x="1115" y="292"/>
                  </a:moveTo>
                  <a:lnTo>
                    <a:pt x="1120" y="288"/>
                  </a:lnTo>
                  <a:lnTo>
                    <a:pt x="1115" y="304"/>
                  </a:lnTo>
                  <a:lnTo>
                    <a:pt x="1115" y="292"/>
                  </a:lnTo>
                  <a:lnTo>
                    <a:pt x="1115" y="292"/>
                  </a:lnTo>
                  <a:lnTo>
                    <a:pt x="1115" y="292"/>
                  </a:lnTo>
                  <a:close/>
                  <a:moveTo>
                    <a:pt x="1207" y="748"/>
                  </a:moveTo>
                  <a:lnTo>
                    <a:pt x="1191" y="791"/>
                  </a:lnTo>
                  <a:lnTo>
                    <a:pt x="1207" y="843"/>
                  </a:lnTo>
                  <a:lnTo>
                    <a:pt x="1181" y="859"/>
                  </a:lnTo>
                  <a:lnTo>
                    <a:pt x="1174" y="892"/>
                  </a:lnTo>
                  <a:lnTo>
                    <a:pt x="1157" y="892"/>
                  </a:lnTo>
                  <a:lnTo>
                    <a:pt x="1143" y="902"/>
                  </a:lnTo>
                  <a:lnTo>
                    <a:pt x="1136" y="897"/>
                  </a:lnTo>
                  <a:lnTo>
                    <a:pt x="1143" y="897"/>
                  </a:lnTo>
                  <a:lnTo>
                    <a:pt x="1136" y="876"/>
                  </a:lnTo>
                  <a:lnTo>
                    <a:pt x="1157" y="848"/>
                  </a:lnTo>
                  <a:lnTo>
                    <a:pt x="1143" y="843"/>
                  </a:lnTo>
                  <a:lnTo>
                    <a:pt x="1136" y="843"/>
                  </a:lnTo>
                  <a:lnTo>
                    <a:pt x="1136" y="859"/>
                  </a:lnTo>
                  <a:lnTo>
                    <a:pt x="1127" y="859"/>
                  </a:lnTo>
                  <a:lnTo>
                    <a:pt x="1127" y="876"/>
                  </a:lnTo>
                  <a:lnTo>
                    <a:pt x="1127" y="876"/>
                  </a:lnTo>
                  <a:lnTo>
                    <a:pt x="1127" y="892"/>
                  </a:lnTo>
                  <a:lnTo>
                    <a:pt x="1120" y="876"/>
                  </a:lnTo>
                  <a:lnTo>
                    <a:pt x="1089" y="881"/>
                  </a:lnTo>
                  <a:lnTo>
                    <a:pt x="1082" y="892"/>
                  </a:lnTo>
                  <a:lnTo>
                    <a:pt x="1089" y="902"/>
                  </a:lnTo>
                  <a:lnTo>
                    <a:pt x="1068" y="930"/>
                  </a:lnTo>
                  <a:lnTo>
                    <a:pt x="1061" y="918"/>
                  </a:lnTo>
                  <a:lnTo>
                    <a:pt x="1068" y="897"/>
                  </a:lnTo>
                  <a:lnTo>
                    <a:pt x="1072" y="897"/>
                  </a:lnTo>
                  <a:lnTo>
                    <a:pt x="1061" y="892"/>
                  </a:lnTo>
                  <a:lnTo>
                    <a:pt x="1051" y="892"/>
                  </a:lnTo>
                  <a:lnTo>
                    <a:pt x="1035" y="902"/>
                  </a:lnTo>
                  <a:lnTo>
                    <a:pt x="1018" y="930"/>
                  </a:lnTo>
                  <a:lnTo>
                    <a:pt x="980" y="918"/>
                  </a:lnTo>
                  <a:lnTo>
                    <a:pt x="943" y="930"/>
                  </a:lnTo>
                  <a:lnTo>
                    <a:pt x="964" y="918"/>
                  </a:lnTo>
                  <a:lnTo>
                    <a:pt x="959" y="914"/>
                  </a:lnTo>
                  <a:lnTo>
                    <a:pt x="943" y="914"/>
                  </a:lnTo>
                  <a:lnTo>
                    <a:pt x="938" y="902"/>
                  </a:lnTo>
                  <a:lnTo>
                    <a:pt x="938" y="914"/>
                  </a:lnTo>
                  <a:lnTo>
                    <a:pt x="938" y="918"/>
                  </a:lnTo>
                  <a:lnTo>
                    <a:pt x="926" y="918"/>
                  </a:lnTo>
                  <a:lnTo>
                    <a:pt x="926" y="892"/>
                  </a:lnTo>
                  <a:lnTo>
                    <a:pt x="909" y="897"/>
                  </a:lnTo>
                  <a:lnTo>
                    <a:pt x="905" y="918"/>
                  </a:lnTo>
                  <a:lnTo>
                    <a:pt x="905" y="930"/>
                  </a:lnTo>
                  <a:lnTo>
                    <a:pt x="938" y="947"/>
                  </a:lnTo>
                  <a:lnTo>
                    <a:pt x="938" y="954"/>
                  </a:lnTo>
                  <a:lnTo>
                    <a:pt x="909" y="954"/>
                  </a:lnTo>
                  <a:lnTo>
                    <a:pt x="900" y="959"/>
                  </a:lnTo>
                  <a:lnTo>
                    <a:pt x="888" y="987"/>
                  </a:lnTo>
                  <a:lnTo>
                    <a:pt x="850" y="1025"/>
                  </a:lnTo>
                  <a:lnTo>
                    <a:pt x="829" y="1013"/>
                  </a:lnTo>
                  <a:lnTo>
                    <a:pt x="817" y="1008"/>
                  </a:lnTo>
                  <a:lnTo>
                    <a:pt x="829" y="1004"/>
                  </a:lnTo>
                  <a:lnTo>
                    <a:pt x="801" y="987"/>
                  </a:lnTo>
                  <a:lnTo>
                    <a:pt x="813" y="970"/>
                  </a:lnTo>
                  <a:lnTo>
                    <a:pt x="801" y="959"/>
                  </a:lnTo>
                  <a:lnTo>
                    <a:pt x="801" y="954"/>
                  </a:lnTo>
                  <a:lnTo>
                    <a:pt x="829" y="930"/>
                  </a:lnTo>
                  <a:lnTo>
                    <a:pt x="817" y="918"/>
                  </a:lnTo>
                  <a:lnTo>
                    <a:pt x="801" y="930"/>
                  </a:lnTo>
                  <a:lnTo>
                    <a:pt x="775" y="914"/>
                  </a:lnTo>
                  <a:lnTo>
                    <a:pt x="742" y="918"/>
                  </a:lnTo>
                  <a:lnTo>
                    <a:pt x="737" y="930"/>
                  </a:lnTo>
                  <a:lnTo>
                    <a:pt x="725" y="930"/>
                  </a:lnTo>
                  <a:lnTo>
                    <a:pt x="737" y="930"/>
                  </a:lnTo>
                  <a:lnTo>
                    <a:pt x="725" y="947"/>
                  </a:lnTo>
                  <a:lnTo>
                    <a:pt x="704" y="937"/>
                  </a:lnTo>
                  <a:lnTo>
                    <a:pt x="683" y="954"/>
                  </a:lnTo>
                  <a:lnTo>
                    <a:pt x="671" y="947"/>
                  </a:lnTo>
                  <a:lnTo>
                    <a:pt x="671" y="954"/>
                  </a:lnTo>
                  <a:lnTo>
                    <a:pt x="666" y="959"/>
                  </a:lnTo>
                  <a:lnTo>
                    <a:pt x="666" y="954"/>
                  </a:lnTo>
                  <a:lnTo>
                    <a:pt x="650" y="954"/>
                  </a:lnTo>
                  <a:lnTo>
                    <a:pt x="628" y="959"/>
                  </a:lnTo>
                  <a:lnTo>
                    <a:pt x="628" y="954"/>
                  </a:lnTo>
                  <a:lnTo>
                    <a:pt x="612" y="954"/>
                  </a:lnTo>
                  <a:lnTo>
                    <a:pt x="602" y="959"/>
                  </a:lnTo>
                  <a:lnTo>
                    <a:pt x="595" y="992"/>
                  </a:lnTo>
                  <a:lnTo>
                    <a:pt x="586" y="1004"/>
                  </a:lnTo>
                  <a:lnTo>
                    <a:pt x="586" y="987"/>
                  </a:lnTo>
                  <a:lnTo>
                    <a:pt x="574" y="975"/>
                  </a:lnTo>
                  <a:lnTo>
                    <a:pt x="532" y="987"/>
                  </a:lnTo>
                  <a:lnTo>
                    <a:pt x="520" y="975"/>
                  </a:lnTo>
                  <a:lnTo>
                    <a:pt x="510" y="987"/>
                  </a:lnTo>
                  <a:lnTo>
                    <a:pt x="510" y="947"/>
                  </a:lnTo>
                  <a:lnTo>
                    <a:pt x="548" y="947"/>
                  </a:lnTo>
                  <a:lnTo>
                    <a:pt x="557" y="930"/>
                  </a:lnTo>
                  <a:lnTo>
                    <a:pt x="579" y="918"/>
                  </a:lnTo>
                  <a:lnTo>
                    <a:pt x="633" y="876"/>
                  </a:lnTo>
                  <a:lnTo>
                    <a:pt x="633" y="864"/>
                  </a:lnTo>
                  <a:lnTo>
                    <a:pt x="666" y="848"/>
                  </a:lnTo>
                  <a:lnTo>
                    <a:pt x="687" y="859"/>
                  </a:lnTo>
                  <a:lnTo>
                    <a:pt x="742" y="848"/>
                  </a:lnTo>
                  <a:lnTo>
                    <a:pt x="763" y="843"/>
                  </a:lnTo>
                  <a:lnTo>
                    <a:pt x="796" y="843"/>
                  </a:lnTo>
                  <a:lnTo>
                    <a:pt x="813" y="836"/>
                  </a:lnTo>
                  <a:lnTo>
                    <a:pt x="817" y="843"/>
                  </a:lnTo>
                  <a:lnTo>
                    <a:pt x="813" y="848"/>
                  </a:lnTo>
                  <a:lnTo>
                    <a:pt x="829" y="859"/>
                  </a:lnTo>
                  <a:lnTo>
                    <a:pt x="817" y="848"/>
                  </a:lnTo>
                  <a:lnTo>
                    <a:pt x="829" y="848"/>
                  </a:lnTo>
                  <a:lnTo>
                    <a:pt x="834" y="859"/>
                  </a:lnTo>
                  <a:lnTo>
                    <a:pt x="850" y="859"/>
                  </a:lnTo>
                  <a:lnTo>
                    <a:pt x="872" y="836"/>
                  </a:lnTo>
                  <a:lnTo>
                    <a:pt x="872" y="843"/>
                  </a:lnTo>
                  <a:lnTo>
                    <a:pt x="872" y="836"/>
                  </a:lnTo>
                  <a:lnTo>
                    <a:pt x="867" y="819"/>
                  </a:lnTo>
                  <a:lnTo>
                    <a:pt x="921" y="753"/>
                  </a:lnTo>
                  <a:lnTo>
                    <a:pt x="921" y="737"/>
                  </a:lnTo>
                  <a:lnTo>
                    <a:pt x="921" y="715"/>
                  </a:lnTo>
                  <a:lnTo>
                    <a:pt x="926" y="699"/>
                  </a:lnTo>
                  <a:lnTo>
                    <a:pt x="964" y="692"/>
                  </a:lnTo>
                  <a:lnTo>
                    <a:pt x="964" y="699"/>
                  </a:lnTo>
                  <a:lnTo>
                    <a:pt x="943" y="715"/>
                  </a:lnTo>
                  <a:lnTo>
                    <a:pt x="938" y="715"/>
                  </a:lnTo>
                  <a:lnTo>
                    <a:pt x="926" y="725"/>
                  </a:lnTo>
                  <a:lnTo>
                    <a:pt x="943" y="732"/>
                  </a:lnTo>
                  <a:lnTo>
                    <a:pt x="943" y="748"/>
                  </a:lnTo>
                  <a:lnTo>
                    <a:pt x="959" y="753"/>
                  </a:lnTo>
                  <a:lnTo>
                    <a:pt x="976" y="737"/>
                  </a:lnTo>
                  <a:lnTo>
                    <a:pt x="1030" y="715"/>
                  </a:lnTo>
                  <a:lnTo>
                    <a:pt x="1051" y="699"/>
                  </a:lnTo>
                  <a:lnTo>
                    <a:pt x="1068" y="670"/>
                  </a:lnTo>
                  <a:lnTo>
                    <a:pt x="1115" y="637"/>
                  </a:lnTo>
                  <a:lnTo>
                    <a:pt x="1115" y="614"/>
                  </a:lnTo>
                  <a:lnTo>
                    <a:pt x="1136" y="581"/>
                  </a:lnTo>
                  <a:lnTo>
                    <a:pt x="1153" y="531"/>
                  </a:lnTo>
                  <a:lnTo>
                    <a:pt x="1153" y="503"/>
                  </a:lnTo>
                  <a:lnTo>
                    <a:pt x="1127" y="486"/>
                  </a:lnTo>
                  <a:lnTo>
                    <a:pt x="1127" y="486"/>
                  </a:lnTo>
                  <a:lnTo>
                    <a:pt x="1143" y="486"/>
                  </a:lnTo>
                  <a:lnTo>
                    <a:pt x="1153" y="460"/>
                  </a:lnTo>
                  <a:lnTo>
                    <a:pt x="1136" y="432"/>
                  </a:lnTo>
                  <a:lnTo>
                    <a:pt x="1153" y="415"/>
                  </a:lnTo>
                  <a:lnTo>
                    <a:pt x="1169" y="415"/>
                  </a:lnTo>
                  <a:lnTo>
                    <a:pt x="1174" y="375"/>
                  </a:lnTo>
                  <a:lnTo>
                    <a:pt x="1198" y="382"/>
                  </a:lnTo>
                  <a:lnTo>
                    <a:pt x="1198" y="415"/>
                  </a:lnTo>
                  <a:lnTo>
                    <a:pt x="1207" y="404"/>
                  </a:lnTo>
                  <a:lnTo>
                    <a:pt x="1212" y="399"/>
                  </a:lnTo>
                  <a:lnTo>
                    <a:pt x="1228" y="404"/>
                  </a:lnTo>
                  <a:lnTo>
                    <a:pt x="1235" y="404"/>
                  </a:lnTo>
                  <a:lnTo>
                    <a:pt x="1235" y="382"/>
                  </a:lnTo>
                  <a:lnTo>
                    <a:pt x="1235" y="375"/>
                  </a:lnTo>
                  <a:lnTo>
                    <a:pt x="1207" y="382"/>
                  </a:lnTo>
                  <a:lnTo>
                    <a:pt x="1212" y="349"/>
                  </a:lnTo>
                  <a:lnTo>
                    <a:pt x="1235" y="366"/>
                  </a:lnTo>
                  <a:lnTo>
                    <a:pt x="1250" y="366"/>
                  </a:lnTo>
                  <a:lnTo>
                    <a:pt x="1245" y="382"/>
                  </a:lnTo>
                  <a:lnTo>
                    <a:pt x="1250" y="432"/>
                  </a:lnTo>
                  <a:lnTo>
                    <a:pt x="1278" y="460"/>
                  </a:lnTo>
                  <a:lnTo>
                    <a:pt x="1299" y="515"/>
                  </a:lnTo>
                  <a:lnTo>
                    <a:pt x="1283" y="543"/>
                  </a:lnTo>
                  <a:lnTo>
                    <a:pt x="1283" y="564"/>
                  </a:lnTo>
                  <a:lnTo>
                    <a:pt x="1266" y="564"/>
                  </a:lnTo>
                  <a:lnTo>
                    <a:pt x="1266" y="571"/>
                  </a:lnTo>
                  <a:lnTo>
                    <a:pt x="1261" y="581"/>
                  </a:lnTo>
                  <a:lnTo>
                    <a:pt x="1261" y="626"/>
                  </a:lnTo>
                  <a:lnTo>
                    <a:pt x="1245" y="614"/>
                  </a:lnTo>
                  <a:lnTo>
                    <a:pt x="1228" y="621"/>
                  </a:lnTo>
                  <a:lnTo>
                    <a:pt x="1212" y="637"/>
                  </a:lnTo>
                  <a:lnTo>
                    <a:pt x="1212" y="654"/>
                  </a:lnTo>
                  <a:lnTo>
                    <a:pt x="1224" y="675"/>
                  </a:lnTo>
                  <a:lnTo>
                    <a:pt x="1224" y="699"/>
                  </a:lnTo>
                  <a:lnTo>
                    <a:pt x="1224" y="732"/>
                  </a:lnTo>
                  <a:lnTo>
                    <a:pt x="1207" y="748"/>
                  </a:lnTo>
                  <a:lnTo>
                    <a:pt x="1207" y="748"/>
                  </a:lnTo>
                  <a:lnTo>
                    <a:pt x="1207" y="748"/>
                  </a:lnTo>
                  <a:close/>
                  <a:moveTo>
                    <a:pt x="1044" y="626"/>
                  </a:moveTo>
                  <a:lnTo>
                    <a:pt x="1035" y="642"/>
                  </a:lnTo>
                  <a:lnTo>
                    <a:pt x="1051" y="642"/>
                  </a:lnTo>
                  <a:lnTo>
                    <a:pt x="1044" y="659"/>
                  </a:lnTo>
                  <a:lnTo>
                    <a:pt x="1030" y="670"/>
                  </a:lnTo>
                  <a:lnTo>
                    <a:pt x="1035" y="654"/>
                  </a:lnTo>
                  <a:lnTo>
                    <a:pt x="1030" y="654"/>
                  </a:lnTo>
                  <a:lnTo>
                    <a:pt x="1030" y="642"/>
                  </a:lnTo>
                  <a:lnTo>
                    <a:pt x="1044" y="626"/>
                  </a:lnTo>
                  <a:lnTo>
                    <a:pt x="1044" y="626"/>
                  </a:lnTo>
                  <a:lnTo>
                    <a:pt x="1044" y="626"/>
                  </a:lnTo>
                  <a:close/>
                  <a:moveTo>
                    <a:pt x="683" y="786"/>
                  </a:moveTo>
                  <a:lnTo>
                    <a:pt x="687" y="803"/>
                  </a:lnTo>
                  <a:lnTo>
                    <a:pt x="671" y="803"/>
                  </a:lnTo>
                  <a:lnTo>
                    <a:pt x="671" y="791"/>
                  </a:lnTo>
                  <a:lnTo>
                    <a:pt x="683" y="786"/>
                  </a:lnTo>
                  <a:lnTo>
                    <a:pt x="683" y="786"/>
                  </a:lnTo>
                  <a:lnTo>
                    <a:pt x="683" y="786"/>
                  </a:lnTo>
                  <a:close/>
                  <a:moveTo>
                    <a:pt x="1106" y="914"/>
                  </a:moveTo>
                  <a:lnTo>
                    <a:pt x="1115" y="918"/>
                  </a:lnTo>
                  <a:lnTo>
                    <a:pt x="1106" y="918"/>
                  </a:lnTo>
                  <a:lnTo>
                    <a:pt x="1106" y="914"/>
                  </a:lnTo>
                  <a:lnTo>
                    <a:pt x="1106" y="914"/>
                  </a:lnTo>
                  <a:lnTo>
                    <a:pt x="1106" y="914"/>
                  </a:lnTo>
                  <a:close/>
                  <a:moveTo>
                    <a:pt x="411" y="918"/>
                  </a:moveTo>
                  <a:lnTo>
                    <a:pt x="402" y="954"/>
                  </a:lnTo>
                  <a:lnTo>
                    <a:pt x="397" y="954"/>
                  </a:lnTo>
                  <a:lnTo>
                    <a:pt x="397" y="930"/>
                  </a:lnTo>
                  <a:lnTo>
                    <a:pt x="411" y="918"/>
                  </a:lnTo>
                  <a:lnTo>
                    <a:pt x="411" y="918"/>
                  </a:lnTo>
                  <a:lnTo>
                    <a:pt x="411" y="918"/>
                  </a:lnTo>
                  <a:close/>
                  <a:moveTo>
                    <a:pt x="780" y="959"/>
                  </a:moveTo>
                  <a:lnTo>
                    <a:pt x="775" y="954"/>
                  </a:lnTo>
                  <a:lnTo>
                    <a:pt x="796" y="930"/>
                  </a:lnTo>
                  <a:lnTo>
                    <a:pt x="791" y="947"/>
                  </a:lnTo>
                  <a:lnTo>
                    <a:pt x="796" y="959"/>
                  </a:lnTo>
                  <a:lnTo>
                    <a:pt x="780" y="959"/>
                  </a:lnTo>
                  <a:lnTo>
                    <a:pt x="780" y="959"/>
                  </a:lnTo>
                  <a:lnTo>
                    <a:pt x="780" y="959"/>
                  </a:lnTo>
                  <a:close/>
                  <a:moveTo>
                    <a:pt x="758" y="937"/>
                  </a:moveTo>
                  <a:lnTo>
                    <a:pt x="746" y="947"/>
                  </a:lnTo>
                  <a:lnTo>
                    <a:pt x="742" y="937"/>
                  </a:lnTo>
                  <a:lnTo>
                    <a:pt x="758" y="937"/>
                  </a:lnTo>
                  <a:lnTo>
                    <a:pt x="758" y="937"/>
                  </a:lnTo>
                  <a:lnTo>
                    <a:pt x="758" y="937"/>
                  </a:lnTo>
                  <a:close/>
                  <a:moveTo>
                    <a:pt x="746" y="1013"/>
                  </a:moveTo>
                  <a:lnTo>
                    <a:pt x="742" y="1041"/>
                  </a:lnTo>
                  <a:lnTo>
                    <a:pt x="725" y="1025"/>
                  </a:lnTo>
                  <a:lnTo>
                    <a:pt x="709" y="1013"/>
                  </a:lnTo>
                  <a:lnTo>
                    <a:pt x="683" y="1029"/>
                  </a:lnTo>
                  <a:lnTo>
                    <a:pt x="671" y="1041"/>
                  </a:lnTo>
                  <a:lnTo>
                    <a:pt x="657" y="1058"/>
                  </a:lnTo>
                  <a:lnTo>
                    <a:pt x="657" y="1081"/>
                  </a:lnTo>
                  <a:lnTo>
                    <a:pt x="633" y="1081"/>
                  </a:lnTo>
                  <a:lnTo>
                    <a:pt x="640" y="1065"/>
                  </a:lnTo>
                  <a:lnTo>
                    <a:pt x="619" y="1065"/>
                  </a:lnTo>
                  <a:lnTo>
                    <a:pt x="628" y="1041"/>
                  </a:lnTo>
                  <a:lnTo>
                    <a:pt x="612" y="1029"/>
                  </a:lnTo>
                  <a:lnTo>
                    <a:pt x="612" y="1025"/>
                  </a:lnTo>
                  <a:lnTo>
                    <a:pt x="586" y="1029"/>
                  </a:lnTo>
                  <a:lnTo>
                    <a:pt x="633" y="1008"/>
                  </a:lnTo>
                  <a:lnTo>
                    <a:pt x="650" y="970"/>
                  </a:lnTo>
                  <a:lnTo>
                    <a:pt x="666" y="987"/>
                  </a:lnTo>
                  <a:lnTo>
                    <a:pt x="694" y="987"/>
                  </a:lnTo>
                  <a:lnTo>
                    <a:pt x="704" y="959"/>
                  </a:lnTo>
                  <a:lnTo>
                    <a:pt x="720" y="954"/>
                  </a:lnTo>
                  <a:lnTo>
                    <a:pt x="737" y="947"/>
                  </a:lnTo>
                  <a:lnTo>
                    <a:pt x="758" y="959"/>
                  </a:lnTo>
                  <a:lnTo>
                    <a:pt x="763" y="959"/>
                  </a:lnTo>
                  <a:lnTo>
                    <a:pt x="775" y="975"/>
                  </a:lnTo>
                  <a:lnTo>
                    <a:pt x="780" y="992"/>
                  </a:lnTo>
                  <a:lnTo>
                    <a:pt x="746" y="1013"/>
                  </a:lnTo>
                  <a:lnTo>
                    <a:pt x="746" y="1013"/>
                  </a:lnTo>
                  <a:lnTo>
                    <a:pt x="746" y="1013"/>
                  </a:lnTo>
                  <a:close/>
                  <a:moveTo>
                    <a:pt x="402" y="959"/>
                  </a:moveTo>
                  <a:lnTo>
                    <a:pt x="385" y="970"/>
                  </a:lnTo>
                  <a:lnTo>
                    <a:pt x="397" y="954"/>
                  </a:lnTo>
                  <a:lnTo>
                    <a:pt x="402" y="959"/>
                  </a:lnTo>
                  <a:lnTo>
                    <a:pt x="402" y="959"/>
                  </a:lnTo>
                  <a:lnTo>
                    <a:pt x="402" y="959"/>
                  </a:lnTo>
                  <a:close/>
                  <a:moveTo>
                    <a:pt x="657" y="954"/>
                  </a:moveTo>
                  <a:lnTo>
                    <a:pt x="666" y="959"/>
                  </a:lnTo>
                  <a:lnTo>
                    <a:pt x="657" y="959"/>
                  </a:lnTo>
                  <a:lnTo>
                    <a:pt x="657" y="954"/>
                  </a:lnTo>
                  <a:lnTo>
                    <a:pt x="657" y="954"/>
                  </a:lnTo>
                  <a:lnTo>
                    <a:pt x="657" y="954"/>
                  </a:lnTo>
                  <a:close/>
                  <a:moveTo>
                    <a:pt x="628" y="959"/>
                  </a:moveTo>
                  <a:lnTo>
                    <a:pt x="619" y="970"/>
                  </a:lnTo>
                  <a:lnTo>
                    <a:pt x="619" y="959"/>
                  </a:lnTo>
                  <a:lnTo>
                    <a:pt x="628" y="959"/>
                  </a:lnTo>
                  <a:lnTo>
                    <a:pt x="628" y="959"/>
                  </a:lnTo>
                  <a:lnTo>
                    <a:pt x="628" y="959"/>
                  </a:lnTo>
                  <a:close/>
                  <a:moveTo>
                    <a:pt x="628" y="970"/>
                  </a:moveTo>
                  <a:lnTo>
                    <a:pt x="628" y="975"/>
                  </a:lnTo>
                  <a:lnTo>
                    <a:pt x="619" y="970"/>
                  </a:lnTo>
                  <a:lnTo>
                    <a:pt x="628" y="970"/>
                  </a:lnTo>
                  <a:lnTo>
                    <a:pt x="628" y="970"/>
                  </a:lnTo>
                  <a:lnTo>
                    <a:pt x="628" y="970"/>
                  </a:lnTo>
                  <a:close/>
                  <a:moveTo>
                    <a:pt x="532" y="1008"/>
                  </a:moveTo>
                  <a:lnTo>
                    <a:pt x="548" y="1013"/>
                  </a:lnTo>
                  <a:lnTo>
                    <a:pt x="557" y="1008"/>
                  </a:lnTo>
                  <a:lnTo>
                    <a:pt x="565" y="1008"/>
                  </a:lnTo>
                  <a:lnTo>
                    <a:pt x="574" y="1025"/>
                  </a:lnTo>
                  <a:lnTo>
                    <a:pt x="557" y="1029"/>
                  </a:lnTo>
                  <a:lnTo>
                    <a:pt x="557" y="1041"/>
                  </a:lnTo>
                  <a:lnTo>
                    <a:pt x="579" y="1041"/>
                  </a:lnTo>
                  <a:lnTo>
                    <a:pt x="574" y="1046"/>
                  </a:lnTo>
                  <a:lnTo>
                    <a:pt x="586" y="1070"/>
                  </a:lnTo>
                  <a:lnTo>
                    <a:pt x="565" y="1098"/>
                  </a:lnTo>
                  <a:lnTo>
                    <a:pt x="541" y="1190"/>
                  </a:lnTo>
                  <a:lnTo>
                    <a:pt x="527" y="1181"/>
                  </a:lnTo>
                  <a:lnTo>
                    <a:pt x="520" y="1190"/>
                  </a:lnTo>
                  <a:lnTo>
                    <a:pt x="527" y="1197"/>
                  </a:lnTo>
                  <a:lnTo>
                    <a:pt x="494" y="1226"/>
                  </a:lnTo>
                  <a:lnTo>
                    <a:pt x="503" y="1190"/>
                  </a:lnTo>
                  <a:lnTo>
                    <a:pt x="489" y="1174"/>
                  </a:lnTo>
                  <a:lnTo>
                    <a:pt x="503" y="1174"/>
                  </a:lnTo>
                  <a:lnTo>
                    <a:pt x="503" y="1169"/>
                  </a:lnTo>
                  <a:lnTo>
                    <a:pt x="494" y="1157"/>
                  </a:lnTo>
                  <a:lnTo>
                    <a:pt x="489" y="1174"/>
                  </a:lnTo>
                  <a:lnTo>
                    <a:pt x="494" y="1209"/>
                  </a:lnTo>
                  <a:lnTo>
                    <a:pt x="465" y="1197"/>
                  </a:lnTo>
                  <a:lnTo>
                    <a:pt x="472" y="1169"/>
                  </a:lnTo>
                  <a:lnTo>
                    <a:pt x="456" y="1157"/>
                  </a:lnTo>
                  <a:lnTo>
                    <a:pt x="456" y="1136"/>
                  </a:lnTo>
                  <a:lnTo>
                    <a:pt x="489" y="1103"/>
                  </a:lnTo>
                  <a:lnTo>
                    <a:pt x="489" y="1086"/>
                  </a:lnTo>
                  <a:lnTo>
                    <a:pt x="477" y="1086"/>
                  </a:lnTo>
                  <a:lnTo>
                    <a:pt x="489" y="1081"/>
                  </a:lnTo>
                  <a:lnTo>
                    <a:pt x="477" y="1065"/>
                  </a:lnTo>
                  <a:lnTo>
                    <a:pt x="477" y="1058"/>
                  </a:lnTo>
                  <a:lnTo>
                    <a:pt x="465" y="1046"/>
                  </a:lnTo>
                  <a:lnTo>
                    <a:pt x="456" y="1046"/>
                  </a:lnTo>
                  <a:lnTo>
                    <a:pt x="465" y="1065"/>
                  </a:lnTo>
                  <a:lnTo>
                    <a:pt x="456" y="1070"/>
                  </a:lnTo>
                  <a:lnTo>
                    <a:pt x="472" y="1070"/>
                  </a:lnTo>
                  <a:lnTo>
                    <a:pt x="472" y="1086"/>
                  </a:lnTo>
                  <a:lnTo>
                    <a:pt x="456" y="1098"/>
                  </a:lnTo>
                  <a:lnTo>
                    <a:pt x="456" y="1086"/>
                  </a:lnTo>
                  <a:lnTo>
                    <a:pt x="465" y="1081"/>
                  </a:lnTo>
                  <a:lnTo>
                    <a:pt x="456" y="1081"/>
                  </a:lnTo>
                  <a:lnTo>
                    <a:pt x="435" y="1098"/>
                  </a:lnTo>
                  <a:lnTo>
                    <a:pt x="439" y="1081"/>
                  </a:lnTo>
                  <a:lnTo>
                    <a:pt x="423" y="1070"/>
                  </a:lnTo>
                  <a:lnTo>
                    <a:pt x="423" y="1058"/>
                  </a:lnTo>
                  <a:lnTo>
                    <a:pt x="435" y="1065"/>
                  </a:lnTo>
                  <a:lnTo>
                    <a:pt x="435" y="1070"/>
                  </a:lnTo>
                  <a:lnTo>
                    <a:pt x="451" y="1070"/>
                  </a:lnTo>
                  <a:lnTo>
                    <a:pt x="439" y="1058"/>
                  </a:lnTo>
                  <a:lnTo>
                    <a:pt x="418" y="1041"/>
                  </a:lnTo>
                  <a:lnTo>
                    <a:pt x="418" y="1029"/>
                  </a:lnTo>
                  <a:lnTo>
                    <a:pt x="435" y="1029"/>
                  </a:lnTo>
                  <a:lnTo>
                    <a:pt x="439" y="1013"/>
                  </a:lnTo>
                  <a:lnTo>
                    <a:pt x="451" y="1025"/>
                  </a:lnTo>
                  <a:lnTo>
                    <a:pt x="465" y="1008"/>
                  </a:lnTo>
                  <a:lnTo>
                    <a:pt x="472" y="1008"/>
                  </a:lnTo>
                  <a:lnTo>
                    <a:pt x="477" y="992"/>
                  </a:lnTo>
                  <a:lnTo>
                    <a:pt x="494" y="987"/>
                  </a:lnTo>
                  <a:lnTo>
                    <a:pt x="520" y="987"/>
                  </a:lnTo>
                  <a:lnTo>
                    <a:pt x="527" y="1008"/>
                  </a:lnTo>
                  <a:lnTo>
                    <a:pt x="532" y="1008"/>
                  </a:lnTo>
                  <a:lnTo>
                    <a:pt x="532" y="1008"/>
                  </a:lnTo>
                  <a:lnTo>
                    <a:pt x="532" y="1008"/>
                  </a:lnTo>
                  <a:close/>
                  <a:moveTo>
                    <a:pt x="423" y="1004"/>
                  </a:moveTo>
                  <a:lnTo>
                    <a:pt x="423" y="1004"/>
                  </a:lnTo>
                  <a:lnTo>
                    <a:pt x="423" y="992"/>
                  </a:lnTo>
                  <a:lnTo>
                    <a:pt x="435" y="1004"/>
                  </a:lnTo>
                  <a:lnTo>
                    <a:pt x="423" y="1004"/>
                  </a:lnTo>
                  <a:lnTo>
                    <a:pt x="423" y="1004"/>
                  </a:lnTo>
                  <a:lnTo>
                    <a:pt x="423" y="1004"/>
                  </a:lnTo>
                  <a:close/>
                  <a:moveTo>
                    <a:pt x="418" y="1029"/>
                  </a:moveTo>
                  <a:lnTo>
                    <a:pt x="402" y="1046"/>
                  </a:lnTo>
                  <a:lnTo>
                    <a:pt x="418" y="1025"/>
                  </a:lnTo>
                  <a:lnTo>
                    <a:pt x="418" y="1029"/>
                  </a:lnTo>
                  <a:lnTo>
                    <a:pt x="418" y="1029"/>
                  </a:lnTo>
                  <a:lnTo>
                    <a:pt x="418" y="1029"/>
                  </a:lnTo>
                  <a:close/>
                  <a:moveTo>
                    <a:pt x="385" y="1058"/>
                  </a:moveTo>
                  <a:lnTo>
                    <a:pt x="385" y="1065"/>
                  </a:lnTo>
                  <a:lnTo>
                    <a:pt x="385" y="1065"/>
                  </a:lnTo>
                  <a:lnTo>
                    <a:pt x="380" y="1070"/>
                  </a:lnTo>
                  <a:lnTo>
                    <a:pt x="380" y="1065"/>
                  </a:lnTo>
                  <a:lnTo>
                    <a:pt x="385" y="1046"/>
                  </a:lnTo>
                  <a:lnTo>
                    <a:pt x="385" y="1058"/>
                  </a:lnTo>
                  <a:lnTo>
                    <a:pt x="385" y="1058"/>
                  </a:lnTo>
                  <a:lnTo>
                    <a:pt x="385" y="1058"/>
                  </a:lnTo>
                  <a:close/>
                  <a:moveTo>
                    <a:pt x="359" y="1081"/>
                  </a:moveTo>
                  <a:lnTo>
                    <a:pt x="359" y="1081"/>
                  </a:lnTo>
                  <a:lnTo>
                    <a:pt x="364" y="1081"/>
                  </a:lnTo>
                  <a:lnTo>
                    <a:pt x="369" y="1086"/>
                  </a:lnTo>
                  <a:lnTo>
                    <a:pt x="347" y="1086"/>
                  </a:lnTo>
                  <a:lnTo>
                    <a:pt x="359" y="1081"/>
                  </a:lnTo>
                  <a:lnTo>
                    <a:pt x="359" y="1081"/>
                  </a:lnTo>
                  <a:lnTo>
                    <a:pt x="359" y="1081"/>
                  </a:lnTo>
                  <a:close/>
                  <a:moveTo>
                    <a:pt x="451" y="1124"/>
                  </a:moveTo>
                  <a:lnTo>
                    <a:pt x="451" y="1103"/>
                  </a:lnTo>
                  <a:lnTo>
                    <a:pt x="456" y="1098"/>
                  </a:lnTo>
                  <a:lnTo>
                    <a:pt x="465" y="1115"/>
                  </a:lnTo>
                  <a:lnTo>
                    <a:pt x="451" y="1124"/>
                  </a:lnTo>
                  <a:lnTo>
                    <a:pt x="451" y="1124"/>
                  </a:lnTo>
                  <a:lnTo>
                    <a:pt x="451" y="1124"/>
                  </a:lnTo>
                  <a:close/>
                  <a:moveTo>
                    <a:pt x="465" y="1103"/>
                  </a:moveTo>
                  <a:lnTo>
                    <a:pt x="477" y="1098"/>
                  </a:lnTo>
                  <a:lnTo>
                    <a:pt x="472" y="1115"/>
                  </a:lnTo>
                  <a:lnTo>
                    <a:pt x="465" y="1103"/>
                  </a:lnTo>
                  <a:lnTo>
                    <a:pt x="465" y="1103"/>
                  </a:lnTo>
                  <a:lnTo>
                    <a:pt x="465" y="1103"/>
                  </a:lnTo>
                  <a:close/>
                  <a:moveTo>
                    <a:pt x="456" y="1124"/>
                  </a:moveTo>
                  <a:lnTo>
                    <a:pt x="465" y="1124"/>
                  </a:lnTo>
                  <a:lnTo>
                    <a:pt x="456" y="1124"/>
                  </a:lnTo>
                  <a:lnTo>
                    <a:pt x="456" y="1124"/>
                  </a:lnTo>
                  <a:lnTo>
                    <a:pt x="456" y="1124"/>
                  </a:lnTo>
                  <a:lnTo>
                    <a:pt x="456" y="1124"/>
                  </a:lnTo>
                  <a:close/>
                  <a:moveTo>
                    <a:pt x="423" y="1169"/>
                  </a:moveTo>
                  <a:lnTo>
                    <a:pt x="435" y="1157"/>
                  </a:lnTo>
                  <a:lnTo>
                    <a:pt x="423" y="1169"/>
                  </a:lnTo>
                  <a:lnTo>
                    <a:pt x="423" y="1169"/>
                  </a:lnTo>
                  <a:lnTo>
                    <a:pt x="423" y="1169"/>
                  </a:lnTo>
                  <a:lnTo>
                    <a:pt x="423" y="1169"/>
                  </a:lnTo>
                  <a:close/>
                  <a:moveTo>
                    <a:pt x="527" y="1230"/>
                  </a:moveTo>
                  <a:lnTo>
                    <a:pt x="520" y="1268"/>
                  </a:lnTo>
                  <a:lnTo>
                    <a:pt x="510" y="1268"/>
                  </a:lnTo>
                  <a:lnTo>
                    <a:pt x="510" y="1247"/>
                  </a:lnTo>
                  <a:lnTo>
                    <a:pt x="527" y="1230"/>
                  </a:lnTo>
                  <a:lnTo>
                    <a:pt x="527" y="1230"/>
                  </a:lnTo>
                  <a:lnTo>
                    <a:pt x="527" y="1230"/>
                  </a:lnTo>
                  <a:close/>
                  <a:moveTo>
                    <a:pt x="489" y="1263"/>
                  </a:moveTo>
                  <a:lnTo>
                    <a:pt x="494" y="1268"/>
                  </a:lnTo>
                  <a:lnTo>
                    <a:pt x="489" y="1280"/>
                  </a:lnTo>
                  <a:lnTo>
                    <a:pt x="477" y="1280"/>
                  </a:lnTo>
                  <a:lnTo>
                    <a:pt x="472" y="1268"/>
                  </a:lnTo>
                  <a:lnTo>
                    <a:pt x="489" y="1263"/>
                  </a:lnTo>
                  <a:lnTo>
                    <a:pt x="489" y="1263"/>
                  </a:lnTo>
                  <a:lnTo>
                    <a:pt x="489" y="1263"/>
                  </a:lnTo>
                  <a:close/>
                  <a:moveTo>
                    <a:pt x="423" y="1412"/>
                  </a:moveTo>
                  <a:lnTo>
                    <a:pt x="423" y="1419"/>
                  </a:lnTo>
                  <a:lnTo>
                    <a:pt x="402" y="1445"/>
                  </a:lnTo>
                  <a:lnTo>
                    <a:pt x="385" y="1436"/>
                  </a:lnTo>
                  <a:lnTo>
                    <a:pt x="423" y="1412"/>
                  </a:lnTo>
                  <a:lnTo>
                    <a:pt x="423" y="1412"/>
                  </a:lnTo>
                  <a:lnTo>
                    <a:pt x="423" y="1412"/>
                  </a:lnTo>
                  <a:close/>
                  <a:moveTo>
                    <a:pt x="397" y="1436"/>
                  </a:moveTo>
                  <a:lnTo>
                    <a:pt x="402" y="1445"/>
                  </a:lnTo>
                  <a:lnTo>
                    <a:pt x="397" y="1445"/>
                  </a:lnTo>
                  <a:lnTo>
                    <a:pt x="397" y="1436"/>
                  </a:lnTo>
                  <a:lnTo>
                    <a:pt x="397" y="1436"/>
                  </a:lnTo>
                  <a:lnTo>
                    <a:pt x="397" y="1436"/>
                  </a:lnTo>
                  <a:close/>
                  <a:moveTo>
                    <a:pt x="369" y="1457"/>
                  </a:moveTo>
                  <a:lnTo>
                    <a:pt x="380" y="1474"/>
                  </a:lnTo>
                  <a:lnTo>
                    <a:pt x="369" y="1485"/>
                  </a:lnTo>
                  <a:lnTo>
                    <a:pt x="369" y="1469"/>
                  </a:lnTo>
                  <a:lnTo>
                    <a:pt x="369" y="1457"/>
                  </a:lnTo>
                  <a:lnTo>
                    <a:pt x="369" y="1457"/>
                  </a:lnTo>
                  <a:lnTo>
                    <a:pt x="369" y="1457"/>
                  </a:lnTo>
                  <a:close/>
                  <a:moveTo>
                    <a:pt x="347" y="1502"/>
                  </a:moveTo>
                  <a:lnTo>
                    <a:pt x="359" y="1502"/>
                  </a:lnTo>
                  <a:lnTo>
                    <a:pt x="347" y="1507"/>
                  </a:lnTo>
                  <a:lnTo>
                    <a:pt x="347" y="1502"/>
                  </a:lnTo>
                  <a:lnTo>
                    <a:pt x="347" y="1502"/>
                  </a:lnTo>
                  <a:lnTo>
                    <a:pt x="347" y="1502"/>
                  </a:lnTo>
                  <a:close/>
                  <a:moveTo>
                    <a:pt x="326" y="1547"/>
                  </a:moveTo>
                  <a:lnTo>
                    <a:pt x="331" y="1547"/>
                  </a:lnTo>
                  <a:lnTo>
                    <a:pt x="326" y="1556"/>
                  </a:lnTo>
                  <a:lnTo>
                    <a:pt x="293" y="1580"/>
                  </a:lnTo>
                  <a:lnTo>
                    <a:pt x="293" y="1596"/>
                  </a:lnTo>
                  <a:lnTo>
                    <a:pt x="288" y="1601"/>
                  </a:lnTo>
                  <a:lnTo>
                    <a:pt x="288" y="1580"/>
                  </a:lnTo>
                  <a:lnTo>
                    <a:pt x="305" y="1568"/>
                  </a:lnTo>
                  <a:lnTo>
                    <a:pt x="305" y="1556"/>
                  </a:lnTo>
                  <a:lnTo>
                    <a:pt x="309" y="1563"/>
                  </a:lnTo>
                  <a:lnTo>
                    <a:pt x="326" y="1547"/>
                  </a:lnTo>
                  <a:lnTo>
                    <a:pt x="326" y="1547"/>
                  </a:lnTo>
                  <a:lnTo>
                    <a:pt x="326" y="1547"/>
                  </a:lnTo>
                  <a:close/>
                  <a:moveTo>
                    <a:pt x="217" y="1580"/>
                  </a:moveTo>
                  <a:lnTo>
                    <a:pt x="222" y="1585"/>
                  </a:lnTo>
                  <a:lnTo>
                    <a:pt x="217" y="1580"/>
                  </a:lnTo>
                  <a:lnTo>
                    <a:pt x="217" y="1580"/>
                  </a:lnTo>
                  <a:lnTo>
                    <a:pt x="217" y="1580"/>
                  </a:lnTo>
                  <a:lnTo>
                    <a:pt x="217" y="1580"/>
                  </a:lnTo>
                  <a:close/>
                  <a:moveTo>
                    <a:pt x="116" y="1696"/>
                  </a:moveTo>
                  <a:lnTo>
                    <a:pt x="125" y="1707"/>
                  </a:lnTo>
                  <a:lnTo>
                    <a:pt x="116" y="1707"/>
                  </a:lnTo>
                  <a:lnTo>
                    <a:pt x="116" y="1696"/>
                  </a:lnTo>
                  <a:lnTo>
                    <a:pt x="116" y="1696"/>
                  </a:lnTo>
                  <a:lnTo>
                    <a:pt x="116" y="1696"/>
                  </a:lnTo>
                  <a:close/>
                  <a:moveTo>
                    <a:pt x="33" y="1729"/>
                  </a:moveTo>
                  <a:lnTo>
                    <a:pt x="40" y="1729"/>
                  </a:lnTo>
                  <a:lnTo>
                    <a:pt x="45" y="1724"/>
                  </a:lnTo>
                  <a:lnTo>
                    <a:pt x="40" y="1736"/>
                  </a:lnTo>
                  <a:lnTo>
                    <a:pt x="33" y="1736"/>
                  </a:lnTo>
                  <a:lnTo>
                    <a:pt x="33" y="1729"/>
                  </a:lnTo>
                  <a:lnTo>
                    <a:pt x="33" y="1729"/>
                  </a:lnTo>
                  <a:lnTo>
                    <a:pt x="33" y="1729"/>
                  </a:lnTo>
                  <a:close/>
                  <a:moveTo>
                    <a:pt x="7" y="1729"/>
                  </a:moveTo>
                  <a:lnTo>
                    <a:pt x="24" y="1736"/>
                  </a:lnTo>
                  <a:lnTo>
                    <a:pt x="17" y="1745"/>
                  </a:lnTo>
                  <a:lnTo>
                    <a:pt x="0" y="1736"/>
                  </a:lnTo>
                  <a:lnTo>
                    <a:pt x="7" y="1729"/>
                  </a:lnTo>
                  <a:lnTo>
                    <a:pt x="7" y="1729"/>
                  </a:lnTo>
                  <a:lnTo>
                    <a:pt x="7" y="172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73" name="Freeform 485">
              <a:extLst>
                <a:ext uri="{FF2B5EF4-FFF2-40B4-BE49-F238E27FC236}">
                  <a16:creationId xmlns:a16="http://schemas.microsoft.com/office/drawing/2014/main" id="{B1069F15-3397-4416-866B-9A1671B3C779}"/>
                </a:ext>
              </a:extLst>
            </p:cNvPr>
            <p:cNvSpPr>
              <a:spLocks noEditPoints="1"/>
            </p:cNvSpPr>
            <p:nvPr/>
          </p:nvSpPr>
          <p:spPr bwMode="gray">
            <a:xfrm>
              <a:off x="10325056" y="2860793"/>
              <a:ext cx="181136" cy="181567"/>
            </a:xfrm>
            <a:custGeom>
              <a:avLst/>
              <a:gdLst>
                <a:gd name="T0" fmla="*/ 239 w 440"/>
                <a:gd name="T1" fmla="*/ 23 h 441"/>
                <a:gd name="T2" fmla="*/ 277 w 440"/>
                <a:gd name="T3" fmla="*/ 40 h 441"/>
                <a:gd name="T4" fmla="*/ 340 w 440"/>
                <a:gd name="T5" fmla="*/ 155 h 441"/>
                <a:gd name="T6" fmla="*/ 347 w 440"/>
                <a:gd name="T7" fmla="*/ 210 h 441"/>
                <a:gd name="T8" fmla="*/ 314 w 440"/>
                <a:gd name="T9" fmla="*/ 292 h 441"/>
                <a:gd name="T10" fmla="*/ 260 w 440"/>
                <a:gd name="T11" fmla="*/ 297 h 441"/>
                <a:gd name="T12" fmla="*/ 260 w 440"/>
                <a:gd name="T13" fmla="*/ 297 h 441"/>
                <a:gd name="T14" fmla="*/ 206 w 440"/>
                <a:gd name="T15" fmla="*/ 304 h 441"/>
                <a:gd name="T16" fmla="*/ 206 w 440"/>
                <a:gd name="T17" fmla="*/ 333 h 441"/>
                <a:gd name="T18" fmla="*/ 201 w 440"/>
                <a:gd name="T19" fmla="*/ 333 h 441"/>
                <a:gd name="T20" fmla="*/ 189 w 440"/>
                <a:gd name="T21" fmla="*/ 333 h 441"/>
                <a:gd name="T22" fmla="*/ 163 w 440"/>
                <a:gd name="T23" fmla="*/ 349 h 441"/>
                <a:gd name="T24" fmla="*/ 114 w 440"/>
                <a:gd name="T25" fmla="*/ 321 h 441"/>
                <a:gd name="T26" fmla="*/ 130 w 440"/>
                <a:gd name="T27" fmla="*/ 333 h 441"/>
                <a:gd name="T28" fmla="*/ 137 w 440"/>
                <a:gd name="T29" fmla="*/ 314 h 441"/>
                <a:gd name="T30" fmla="*/ 125 w 440"/>
                <a:gd name="T31" fmla="*/ 314 h 441"/>
                <a:gd name="T32" fmla="*/ 114 w 440"/>
                <a:gd name="T33" fmla="*/ 292 h 441"/>
                <a:gd name="T34" fmla="*/ 125 w 440"/>
                <a:gd name="T35" fmla="*/ 281 h 441"/>
                <a:gd name="T36" fmla="*/ 147 w 440"/>
                <a:gd name="T37" fmla="*/ 248 h 441"/>
                <a:gd name="T38" fmla="*/ 137 w 440"/>
                <a:gd name="T39" fmla="*/ 226 h 441"/>
                <a:gd name="T40" fmla="*/ 147 w 440"/>
                <a:gd name="T41" fmla="*/ 222 h 441"/>
                <a:gd name="T42" fmla="*/ 125 w 440"/>
                <a:gd name="T43" fmla="*/ 155 h 441"/>
                <a:gd name="T44" fmla="*/ 109 w 440"/>
                <a:gd name="T45" fmla="*/ 155 h 441"/>
                <a:gd name="T46" fmla="*/ 125 w 440"/>
                <a:gd name="T47" fmla="*/ 148 h 441"/>
                <a:gd name="T48" fmla="*/ 130 w 440"/>
                <a:gd name="T49" fmla="*/ 148 h 441"/>
                <a:gd name="T50" fmla="*/ 151 w 440"/>
                <a:gd name="T51" fmla="*/ 155 h 441"/>
                <a:gd name="T52" fmla="*/ 151 w 440"/>
                <a:gd name="T53" fmla="*/ 115 h 441"/>
                <a:gd name="T54" fmla="*/ 151 w 440"/>
                <a:gd name="T55" fmla="*/ 111 h 441"/>
                <a:gd name="T56" fmla="*/ 130 w 440"/>
                <a:gd name="T57" fmla="*/ 73 h 441"/>
                <a:gd name="T58" fmla="*/ 147 w 440"/>
                <a:gd name="T59" fmla="*/ 61 h 441"/>
                <a:gd name="T60" fmla="*/ 7 w 440"/>
                <a:gd name="T61" fmla="*/ 61 h 441"/>
                <a:gd name="T62" fmla="*/ 7 w 440"/>
                <a:gd name="T63" fmla="*/ 56 h 441"/>
                <a:gd name="T64" fmla="*/ 130 w 440"/>
                <a:gd name="T65" fmla="*/ 82 h 441"/>
                <a:gd name="T66" fmla="*/ 130 w 440"/>
                <a:gd name="T67" fmla="*/ 73 h 441"/>
                <a:gd name="T68" fmla="*/ 440 w 440"/>
                <a:gd name="T69" fmla="*/ 94 h 441"/>
                <a:gd name="T70" fmla="*/ 440 w 440"/>
                <a:gd name="T71" fmla="*/ 94 h 441"/>
                <a:gd name="T72" fmla="*/ 125 w 440"/>
                <a:gd name="T73" fmla="*/ 181 h 441"/>
                <a:gd name="T74" fmla="*/ 125 w 440"/>
                <a:gd name="T75" fmla="*/ 181 h 441"/>
                <a:gd name="T76" fmla="*/ 288 w 440"/>
                <a:gd name="T77" fmla="*/ 304 h 441"/>
                <a:gd name="T78" fmla="*/ 277 w 440"/>
                <a:gd name="T79" fmla="*/ 314 h 441"/>
                <a:gd name="T80" fmla="*/ 288 w 440"/>
                <a:gd name="T81" fmla="*/ 304 h 441"/>
                <a:gd name="T82" fmla="*/ 234 w 440"/>
                <a:gd name="T83" fmla="*/ 314 h 441"/>
                <a:gd name="T84" fmla="*/ 222 w 440"/>
                <a:gd name="T85" fmla="*/ 321 h 441"/>
                <a:gd name="T86" fmla="*/ 234 w 440"/>
                <a:gd name="T87" fmla="*/ 304 h 441"/>
                <a:gd name="T88" fmla="*/ 222 w 440"/>
                <a:gd name="T89" fmla="*/ 333 h 441"/>
                <a:gd name="T90" fmla="*/ 222 w 440"/>
                <a:gd name="T91" fmla="*/ 333 h 441"/>
                <a:gd name="T92" fmla="*/ 114 w 440"/>
                <a:gd name="T93" fmla="*/ 349 h 441"/>
                <a:gd name="T94" fmla="*/ 125 w 440"/>
                <a:gd name="T95" fmla="*/ 337 h 441"/>
                <a:gd name="T96" fmla="*/ 222 w 440"/>
                <a:gd name="T97" fmla="*/ 337 h 441"/>
                <a:gd name="T98" fmla="*/ 222 w 440"/>
                <a:gd name="T99" fmla="*/ 337 h 441"/>
                <a:gd name="T100" fmla="*/ 184 w 440"/>
                <a:gd name="T101" fmla="*/ 337 h 441"/>
                <a:gd name="T102" fmla="*/ 184 w 440"/>
                <a:gd name="T103" fmla="*/ 337 h 441"/>
                <a:gd name="T104" fmla="*/ 147 w 440"/>
                <a:gd name="T105" fmla="*/ 349 h 441"/>
                <a:gd name="T106" fmla="*/ 147 w 440"/>
                <a:gd name="T107" fmla="*/ 349 h 441"/>
                <a:gd name="T108" fmla="*/ 151 w 440"/>
                <a:gd name="T109" fmla="*/ 415 h 441"/>
                <a:gd name="T110" fmla="*/ 114 w 440"/>
                <a:gd name="T111" fmla="*/ 441 h 441"/>
                <a:gd name="T112" fmla="*/ 151 w 440"/>
                <a:gd name="T113" fmla="*/ 415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0" h="441">
                  <a:moveTo>
                    <a:pt x="147" y="61"/>
                  </a:moveTo>
                  <a:lnTo>
                    <a:pt x="180" y="28"/>
                  </a:lnTo>
                  <a:lnTo>
                    <a:pt x="239" y="23"/>
                  </a:lnTo>
                  <a:lnTo>
                    <a:pt x="255" y="16"/>
                  </a:lnTo>
                  <a:lnTo>
                    <a:pt x="260" y="0"/>
                  </a:lnTo>
                  <a:lnTo>
                    <a:pt x="277" y="40"/>
                  </a:lnTo>
                  <a:lnTo>
                    <a:pt x="310" y="78"/>
                  </a:lnTo>
                  <a:lnTo>
                    <a:pt x="340" y="132"/>
                  </a:lnTo>
                  <a:lnTo>
                    <a:pt x="340" y="155"/>
                  </a:lnTo>
                  <a:lnTo>
                    <a:pt x="331" y="210"/>
                  </a:lnTo>
                  <a:lnTo>
                    <a:pt x="340" y="222"/>
                  </a:lnTo>
                  <a:lnTo>
                    <a:pt x="347" y="210"/>
                  </a:lnTo>
                  <a:lnTo>
                    <a:pt x="347" y="210"/>
                  </a:lnTo>
                  <a:lnTo>
                    <a:pt x="340" y="248"/>
                  </a:lnTo>
                  <a:lnTo>
                    <a:pt x="314" y="292"/>
                  </a:lnTo>
                  <a:lnTo>
                    <a:pt x="293" y="292"/>
                  </a:lnTo>
                  <a:lnTo>
                    <a:pt x="277" y="281"/>
                  </a:lnTo>
                  <a:lnTo>
                    <a:pt x="260" y="297"/>
                  </a:lnTo>
                  <a:lnTo>
                    <a:pt x="272" y="297"/>
                  </a:lnTo>
                  <a:lnTo>
                    <a:pt x="272" y="314"/>
                  </a:lnTo>
                  <a:lnTo>
                    <a:pt x="260" y="297"/>
                  </a:lnTo>
                  <a:lnTo>
                    <a:pt x="255" y="304"/>
                  </a:lnTo>
                  <a:lnTo>
                    <a:pt x="239" y="297"/>
                  </a:lnTo>
                  <a:lnTo>
                    <a:pt x="206" y="304"/>
                  </a:lnTo>
                  <a:lnTo>
                    <a:pt x="206" y="314"/>
                  </a:lnTo>
                  <a:lnTo>
                    <a:pt x="222" y="314"/>
                  </a:lnTo>
                  <a:lnTo>
                    <a:pt x="206" y="333"/>
                  </a:lnTo>
                  <a:lnTo>
                    <a:pt x="201" y="304"/>
                  </a:lnTo>
                  <a:lnTo>
                    <a:pt x="189" y="321"/>
                  </a:lnTo>
                  <a:lnTo>
                    <a:pt x="201" y="333"/>
                  </a:lnTo>
                  <a:lnTo>
                    <a:pt x="189" y="337"/>
                  </a:lnTo>
                  <a:lnTo>
                    <a:pt x="180" y="337"/>
                  </a:lnTo>
                  <a:lnTo>
                    <a:pt x="189" y="333"/>
                  </a:lnTo>
                  <a:lnTo>
                    <a:pt x="189" y="321"/>
                  </a:lnTo>
                  <a:lnTo>
                    <a:pt x="168" y="333"/>
                  </a:lnTo>
                  <a:lnTo>
                    <a:pt x="163" y="349"/>
                  </a:lnTo>
                  <a:lnTo>
                    <a:pt x="151" y="333"/>
                  </a:lnTo>
                  <a:lnTo>
                    <a:pt x="137" y="354"/>
                  </a:lnTo>
                  <a:lnTo>
                    <a:pt x="114" y="321"/>
                  </a:lnTo>
                  <a:lnTo>
                    <a:pt x="114" y="321"/>
                  </a:lnTo>
                  <a:lnTo>
                    <a:pt x="130" y="333"/>
                  </a:lnTo>
                  <a:lnTo>
                    <a:pt x="130" y="333"/>
                  </a:lnTo>
                  <a:lnTo>
                    <a:pt x="137" y="333"/>
                  </a:lnTo>
                  <a:lnTo>
                    <a:pt x="130" y="321"/>
                  </a:lnTo>
                  <a:lnTo>
                    <a:pt x="137" y="314"/>
                  </a:lnTo>
                  <a:lnTo>
                    <a:pt x="130" y="304"/>
                  </a:lnTo>
                  <a:lnTo>
                    <a:pt x="130" y="314"/>
                  </a:lnTo>
                  <a:lnTo>
                    <a:pt x="125" y="314"/>
                  </a:lnTo>
                  <a:lnTo>
                    <a:pt x="125" y="297"/>
                  </a:lnTo>
                  <a:lnTo>
                    <a:pt x="114" y="304"/>
                  </a:lnTo>
                  <a:lnTo>
                    <a:pt x="114" y="292"/>
                  </a:lnTo>
                  <a:lnTo>
                    <a:pt x="125" y="281"/>
                  </a:lnTo>
                  <a:lnTo>
                    <a:pt x="125" y="297"/>
                  </a:lnTo>
                  <a:lnTo>
                    <a:pt x="125" y="281"/>
                  </a:lnTo>
                  <a:lnTo>
                    <a:pt x="125" y="264"/>
                  </a:lnTo>
                  <a:lnTo>
                    <a:pt x="130" y="259"/>
                  </a:lnTo>
                  <a:lnTo>
                    <a:pt x="147" y="248"/>
                  </a:lnTo>
                  <a:lnTo>
                    <a:pt x="130" y="243"/>
                  </a:lnTo>
                  <a:lnTo>
                    <a:pt x="151" y="226"/>
                  </a:lnTo>
                  <a:lnTo>
                    <a:pt x="137" y="226"/>
                  </a:lnTo>
                  <a:lnTo>
                    <a:pt x="137" y="222"/>
                  </a:lnTo>
                  <a:lnTo>
                    <a:pt x="151" y="210"/>
                  </a:lnTo>
                  <a:lnTo>
                    <a:pt x="147" y="222"/>
                  </a:lnTo>
                  <a:lnTo>
                    <a:pt x="130" y="205"/>
                  </a:lnTo>
                  <a:lnTo>
                    <a:pt x="130" y="155"/>
                  </a:lnTo>
                  <a:lnTo>
                    <a:pt x="125" y="155"/>
                  </a:lnTo>
                  <a:lnTo>
                    <a:pt x="114" y="172"/>
                  </a:lnTo>
                  <a:lnTo>
                    <a:pt x="114" y="155"/>
                  </a:lnTo>
                  <a:lnTo>
                    <a:pt x="109" y="155"/>
                  </a:lnTo>
                  <a:lnTo>
                    <a:pt x="114" y="139"/>
                  </a:lnTo>
                  <a:lnTo>
                    <a:pt x="114" y="148"/>
                  </a:lnTo>
                  <a:lnTo>
                    <a:pt x="125" y="148"/>
                  </a:lnTo>
                  <a:lnTo>
                    <a:pt x="125" y="132"/>
                  </a:lnTo>
                  <a:lnTo>
                    <a:pt x="125" y="132"/>
                  </a:lnTo>
                  <a:lnTo>
                    <a:pt x="130" y="148"/>
                  </a:lnTo>
                  <a:lnTo>
                    <a:pt x="130" y="132"/>
                  </a:lnTo>
                  <a:lnTo>
                    <a:pt x="151" y="139"/>
                  </a:lnTo>
                  <a:lnTo>
                    <a:pt x="151" y="155"/>
                  </a:lnTo>
                  <a:lnTo>
                    <a:pt x="168" y="139"/>
                  </a:lnTo>
                  <a:lnTo>
                    <a:pt x="147" y="132"/>
                  </a:lnTo>
                  <a:lnTo>
                    <a:pt x="151" y="115"/>
                  </a:lnTo>
                  <a:lnTo>
                    <a:pt x="137" y="127"/>
                  </a:lnTo>
                  <a:lnTo>
                    <a:pt x="137" y="115"/>
                  </a:lnTo>
                  <a:lnTo>
                    <a:pt x="151" y="111"/>
                  </a:lnTo>
                  <a:lnTo>
                    <a:pt x="147" y="111"/>
                  </a:lnTo>
                  <a:lnTo>
                    <a:pt x="130" y="78"/>
                  </a:lnTo>
                  <a:lnTo>
                    <a:pt x="130" y="73"/>
                  </a:lnTo>
                  <a:lnTo>
                    <a:pt x="147" y="78"/>
                  </a:lnTo>
                  <a:lnTo>
                    <a:pt x="147" y="61"/>
                  </a:lnTo>
                  <a:lnTo>
                    <a:pt x="147" y="61"/>
                  </a:lnTo>
                  <a:lnTo>
                    <a:pt x="147" y="61"/>
                  </a:lnTo>
                  <a:close/>
                  <a:moveTo>
                    <a:pt x="7" y="56"/>
                  </a:moveTo>
                  <a:lnTo>
                    <a:pt x="7" y="61"/>
                  </a:lnTo>
                  <a:lnTo>
                    <a:pt x="0" y="56"/>
                  </a:lnTo>
                  <a:lnTo>
                    <a:pt x="7" y="56"/>
                  </a:lnTo>
                  <a:lnTo>
                    <a:pt x="7" y="56"/>
                  </a:lnTo>
                  <a:lnTo>
                    <a:pt x="7" y="56"/>
                  </a:lnTo>
                  <a:close/>
                  <a:moveTo>
                    <a:pt x="130" y="73"/>
                  </a:moveTo>
                  <a:lnTo>
                    <a:pt x="130" y="82"/>
                  </a:lnTo>
                  <a:lnTo>
                    <a:pt x="125" y="82"/>
                  </a:lnTo>
                  <a:lnTo>
                    <a:pt x="125" y="73"/>
                  </a:lnTo>
                  <a:lnTo>
                    <a:pt x="130" y="73"/>
                  </a:lnTo>
                  <a:lnTo>
                    <a:pt x="130" y="73"/>
                  </a:lnTo>
                  <a:lnTo>
                    <a:pt x="130" y="73"/>
                  </a:lnTo>
                  <a:close/>
                  <a:moveTo>
                    <a:pt x="440" y="94"/>
                  </a:moveTo>
                  <a:lnTo>
                    <a:pt x="440" y="99"/>
                  </a:lnTo>
                  <a:lnTo>
                    <a:pt x="433" y="94"/>
                  </a:lnTo>
                  <a:lnTo>
                    <a:pt x="440" y="94"/>
                  </a:lnTo>
                  <a:lnTo>
                    <a:pt x="440" y="94"/>
                  </a:lnTo>
                  <a:lnTo>
                    <a:pt x="440" y="94"/>
                  </a:lnTo>
                  <a:close/>
                  <a:moveTo>
                    <a:pt x="125" y="181"/>
                  </a:moveTo>
                  <a:lnTo>
                    <a:pt x="125" y="181"/>
                  </a:lnTo>
                  <a:lnTo>
                    <a:pt x="125" y="165"/>
                  </a:lnTo>
                  <a:lnTo>
                    <a:pt x="125" y="181"/>
                  </a:lnTo>
                  <a:lnTo>
                    <a:pt x="125" y="181"/>
                  </a:lnTo>
                  <a:lnTo>
                    <a:pt x="125" y="181"/>
                  </a:lnTo>
                  <a:close/>
                  <a:moveTo>
                    <a:pt x="288" y="304"/>
                  </a:moveTo>
                  <a:lnTo>
                    <a:pt x="288" y="314"/>
                  </a:lnTo>
                  <a:lnTo>
                    <a:pt x="277" y="321"/>
                  </a:lnTo>
                  <a:lnTo>
                    <a:pt x="277" y="314"/>
                  </a:lnTo>
                  <a:lnTo>
                    <a:pt x="272" y="304"/>
                  </a:lnTo>
                  <a:lnTo>
                    <a:pt x="288" y="304"/>
                  </a:lnTo>
                  <a:lnTo>
                    <a:pt x="288" y="304"/>
                  </a:lnTo>
                  <a:lnTo>
                    <a:pt x="288" y="304"/>
                  </a:lnTo>
                  <a:close/>
                  <a:moveTo>
                    <a:pt x="234" y="304"/>
                  </a:moveTo>
                  <a:lnTo>
                    <a:pt x="234" y="314"/>
                  </a:lnTo>
                  <a:lnTo>
                    <a:pt x="239" y="314"/>
                  </a:lnTo>
                  <a:lnTo>
                    <a:pt x="239" y="321"/>
                  </a:lnTo>
                  <a:lnTo>
                    <a:pt x="222" y="321"/>
                  </a:lnTo>
                  <a:lnTo>
                    <a:pt x="222" y="304"/>
                  </a:lnTo>
                  <a:lnTo>
                    <a:pt x="234" y="304"/>
                  </a:lnTo>
                  <a:lnTo>
                    <a:pt x="234" y="304"/>
                  </a:lnTo>
                  <a:lnTo>
                    <a:pt x="234" y="304"/>
                  </a:lnTo>
                  <a:close/>
                  <a:moveTo>
                    <a:pt x="222" y="333"/>
                  </a:moveTo>
                  <a:lnTo>
                    <a:pt x="222" y="333"/>
                  </a:lnTo>
                  <a:lnTo>
                    <a:pt x="218" y="333"/>
                  </a:lnTo>
                  <a:lnTo>
                    <a:pt x="222" y="333"/>
                  </a:lnTo>
                  <a:lnTo>
                    <a:pt x="222" y="333"/>
                  </a:lnTo>
                  <a:lnTo>
                    <a:pt x="222" y="333"/>
                  </a:lnTo>
                  <a:close/>
                  <a:moveTo>
                    <a:pt x="125" y="337"/>
                  </a:moveTo>
                  <a:lnTo>
                    <a:pt x="114" y="349"/>
                  </a:lnTo>
                  <a:lnTo>
                    <a:pt x="99" y="349"/>
                  </a:lnTo>
                  <a:lnTo>
                    <a:pt x="114" y="333"/>
                  </a:lnTo>
                  <a:lnTo>
                    <a:pt x="125" y="337"/>
                  </a:lnTo>
                  <a:lnTo>
                    <a:pt x="125" y="337"/>
                  </a:lnTo>
                  <a:lnTo>
                    <a:pt x="125" y="337"/>
                  </a:lnTo>
                  <a:close/>
                  <a:moveTo>
                    <a:pt x="222" y="337"/>
                  </a:moveTo>
                  <a:lnTo>
                    <a:pt x="222" y="337"/>
                  </a:lnTo>
                  <a:lnTo>
                    <a:pt x="218" y="337"/>
                  </a:lnTo>
                  <a:lnTo>
                    <a:pt x="222" y="337"/>
                  </a:lnTo>
                  <a:lnTo>
                    <a:pt x="222" y="337"/>
                  </a:lnTo>
                  <a:lnTo>
                    <a:pt x="222" y="337"/>
                  </a:lnTo>
                  <a:close/>
                  <a:moveTo>
                    <a:pt x="184" y="337"/>
                  </a:moveTo>
                  <a:lnTo>
                    <a:pt x="184" y="349"/>
                  </a:lnTo>
                  <a:lnTo>
                    <a:pt x="180" y="349"/>
                  </a:lnTo>
                  <a:lnTo>
                    <a:pt x="184" y="337"/>
                  </a:lnTo>
                  <a:lnTo>
                    <a:pt x="184" y="337"/>
                  </a:lnTo>
                  <a:lnTo>
                    <a:pt x="184" y="337"/>
                  </a:lnTo>
                  <a:close/>
                  <a:moveTo>
                    <a:pt x="147" y="349"/>
                  </a:moveTo>
                  <a:lnTo>
                    <a:pt x="147" y="354"/>
                  </a:lnTo>
                  <a:lnTo>
                    <a:pt x="137" y="354"/>
                  </a:lnTo>
                  <a:lnTo>
                    <a:pt x="147" y="349"/>
                  </a:lnTo>
                  <a:lnTo>
                    <a:pt x="147" y="349"/>
                  </a:lnTo>
                  <a:lnTo>
                    <a:pt x="147" y="349"/>
                  </a:lnTo>
                  <a:close/>
                  <a:moveTo>
                    <a:pt x="151" y="415"/>
                  </a:moveTo>
                  <a:lnTo>
                    <a:pt x="163" y="425"/>
                  </a:lnTo>
                  <a:lnTo>
                    <a:pt x="151" y="432"/>
                  </a:lnTo>
                  <a:lnTo>
                    <a:pt x="114" y="441"/>
                  </a:lnTo>
                  <a:lnTo>
                    <a:pt x="109" y="441"/>
                  </a:lnTo>
                  <a:lnTo>
                    <a:pt x="114" y="425"/>
                  </a:lnTo>
                  <a:lnTo>
                    <a:pt x="151" y="415"/>
                  </a:lnTo>
                  <a:lnTo>
                    <a:pt x="151" y="415"/>
                  </a:lnTo>
                  <a:lnTo>
                    <a:pt x="151" y="41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74" name="Freeform 486">
              <a:extLst>
                <a:ext uri="{FF2B5EF4-FFF2-40B4-BE49-F238E27FC236}">
                  <a16:creationId xmlns:a16="http://schemas.microsoft.com/office/drawing/2014/main" id="{6AF3F96B-D91F-4A60-B3C2-3725A3976200}"/>
                </a:ext>
              </a:extLst>
            </p:cNvPr>
            <p:cNvSpPr>
              <a:spLocks/>
            </p:cNvSpPr>
            <p:nvPr/>
          </p:nvSpPr>
          <p:spPr bwMode="gray">
            <a:xfrm>
              <a:off x="9774653" y="4373025"/>
              <a:ext cx="2882" cy="6588"/>
            </a:xfrm>
            <a:custGeom>
              <a:avLst/>
              <a:gdLst>
                <a:gd name="T0" fmla="*/ 7 w 7"/>
                <a:gd name="T1" fmla="*/ 16 h 16"/>
                <a:gd name="T2" fmla="*/ 0 w 7"/>
                <a:gd name="T3" fmla="*/ 7 h 16"/>
                <a:gd name="T4" fmla="*/ 7 w 7"/>
                <a:gd name="T5" fmla="*/ 0 h 16"/>
                <a:gd name="T6" fmla="*/ 7 w 7"/>
                <a:gd name="T7" fmla="*/ 16 h 16"/>
                <a:gd name="T8" fmla="*/ 7 w 7"/>
                <a:gd name="T9" fmla="*/ 16 h 16"/>
                <a:gd name="T10" fmla="*/ 7 w 7"/>
                <a:gd name="T11" fmla="*/ 16 h 16"/>
              </a:gdLst>
              <a:ahLst/>
              <a:cxnLst>
                <a:cxn ang="0">
                  <a:pos x="T0" y="T1"/>
                </a:cxn>
                <a:cxn ang="0">
                  <a:pos x="T2" y="T3"/>
                </a:cxn>
                <a:cxn ang="0">
                  <a:pos x="T4" y="T5"/>
                </a:cxn>
                <a:cxn ang="0">
                  <a:pos x="T6" y="T7"/>
                </a:cxn>
                <a:cxn ang="0">
                  <a:pos x="T8" y="T9"/>
                </a:cxn>
                <a:cxn ang="0">
                  <a:pos x="T10" y="T11"/>
                </a:cxn>
              </a:cxnLst>
              <a:rect l="0" t="0" r="r" b="b"/>
              <a:pathLst>
                <a:path w="7" h="16">
                  <a:moveTo>
                    <a:pt x="7" y="16"/>
                  </a:moveTo>
                  <a:lnTo>
                    <a:pt x="0" y="7"/>
                  </a:lnTo>
                  <a:lnTo>
                    <a:pt x="7" y="0"/>
                  </a:lnTo>
                  <a:lnTo>
                    <a:pt x="7" y="16"/>
                  </a:lnTo>
                  <a:lnTo>
                    <a:pt x="7" y="16"/>
                  </a:lnTo>
                  <a:lnTo>
                    <a:pt x="7" y="1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75" name="Freeform 489">
              <a:extLst>
                <a:ext uri="{FF2B5EF4-FFF2-40B4-BE49-F238E27FC236}">
                  <a16:creationId xmlns:a16="http://schemas.microsoft.com/office/drawing/2014/main" id="{5FBF898E-2E36-47F2-A6A3-2A2639647DF2}"/>
                </a:ext>
              </a:extLst>
            </p:cNvPr>
            <p:cNvSpPr>
              <a:spLocks/>
            </p:cNvSpPr>
            <p:nvPr/>
          </p:nvSpPr>
          <p:spPr bwMode="gray">
            <a:xfrm>
              <a:off x="9615337" y="3387789"/>
              <a:ext cx="220655" cy="262674"/>
            </a:xfrm>
            <a:custGeom>
              <a:avLst/>
              <a:gdLst>
                <a:gd name="T0" fmla="*/ 5 w 536"/>
                <a:gd name="T1" fmla="*/ 127 h 638"/>
                <a:gd name="T2" fmla="*/ 33 w 536"/>
                <a:gd name="T3" fmla="*/ 120 h 638"/>
                <a:gd name="T4" fmla="*/ 49 w 536"/>
                <a:gd name="T5" fmla="*/ 87 h 638"/>
                <a:gd name="T6" fmla="*/ 75 w 536"/>
                <a:gd name="T7" fmla="*/ 66 h 638"/>
                <a:gd name="T8" fmla="*/ 104 w 536"/>
                <a:gd name="T9" fmla="*/ 94 h 638"/>
                <a:gd name="T10" fmla="*/ 125 w 536"/>
                <a:gd name="T11" fmla="*/ 94 h 638"/>
                <a:gd name="T12" fmla="*/ 113 w 536"/>
                <a:gd name="T13" fmla="*/ 49 h 638"/>
                <a:gd name="T14" fmla="*/ 104 w 536"/>
                <a:gd name="T15" fmla="*/ 16 h 638"/>
                <a:gd name="T16" fmla="*/ 146 w 536"/>
                <a:gd name="T17" fmla="*/ 9 h 638"/>
                <a:gd name="T18" fmla="*/ 179 w 536"/>
                <a:gd name="T19" fmla="*/ 66 h 638"/>
                <a:gd name="T20" fmla="*/ 196 w 536"/>
                <a:gd name="T21" fmla="*/ 87 h 638"/>
                <a:gd name="T22" fmla="*/ 255 w 536"/>
                <a:gd name="T23" fmla="*/ 137 h 638"/>
                <a:gd name="T24" fmla="*/ 276 w 536"/>
                <a:gd name="T25" fmla="*/ 111 h 638"/>
                <a:gd name="T26" fmla="*/ 305 w 536"/>
                <a:gd name="T27" fmla="*/ 149 h 638"/>
                <a:gd name="T28" fmla="*/ 342 w 536"/>
                <a:gd name="T29" fmla="*/ 177 h 638"/>
                <a:gd name="T30" fmla="*/ 331 w 536"/>
                <a:gd name="T31" fmla="*/ 194 h 638"/>
                <a:gd name="T32" fmla="*/ 319 w 536"/>
                <a:gd name="T33" fmla="*/ 215 h 638"/>
                <a:gd name="T34" fmla="*/ 276 w 536"/>
                <a:gd name="T35" fmla="*/ 222 h 638"/>
                <a:gd name="T36" fmla="*/ 288 w 536"/>
                <a:gd name="T37" fmla="*/ 248 h 638"/>
                <a:gd name="T38" fmla="*/ 357 w 536"/>
                <a:gd name="T39" fmla="*/ 288 h 638"/>
                <a:gd name="T40" fmla="*/ 357 w 536"/>
                <a:gd name="T41" fmla="*/ 309 h 638"/>
                <a:gd name="T42" fmla="*/ 380 w 536"/>
                <a:gd name="T43" fmla="*/ 326 h 638"/>
                <a:gd name="T44" fmla="*/ 439 w 536"/>
                <a:gd name="T45" fmla="*/ 399 h 638"/>
                <a:gd name="T46" fmla="*/ 456 w 536"/>
                <a:gd name="T47" fmla="*/ 416 h 638"/>
                <a:gd name="T48" fmla="*/ 465 w 536"/>
                <a:gd name="T49" fmla="*/ 456 h 638"/>
                <a:gd name="T50" fmla="*/ 482 w 536"/>
                <a:gd name="T51" fmla="*/ 444 h 638"/>
                <a:gd name="T52" fmla="*/ 494 w 536"/>
                <a:gd name="T53" fmla="*/ 460 h 638"/>
                <a:gd name="T54" fmla="*/ 520 w 536"/>
                <a:gd name="T55" fmla="*/ 477 h 638"/>
                <a:gd name="T56" fmla="*/ 494 w 536"/>
                <a:gd name="T57" fmla="*/ 498 h 638"/>
                <a:gd name="T58" fmla="*/ 527 w 536"/>
                <a:gd name="T59" fmla="*/ 555 h 638"/>
                <a:gd name="T60" fmla="*/ 527 w 536"/>
                <a:gd name="T61" fmla="*/ 583 h 638"/>
                <a:gd name="T62" fmla="*/ 456 w 536"/>
                <a:gd name="T63" fmla="*/ 588 h 638"/>
                <a:gd name="T64" fmla="*/ 435 w 536"/>
                <a:gd name="T65" fmla="*/ 593 h 638"/>
                <a:gd name="T66" fmla="*/ 418 w 536"/>
                <a:gd name="T67" fmla="*/ 605 h 638"/>
                <a:gd name="T68" fmla="*/ 418 w 536"/>
                <a:gd name="T69" fmla="*/ 638 h 638"/>
                <a:gd name="T70" fmla="*/ 385 w 536"/>
                <a:gd name="T71" fmla="*/ 621 h 638"/>
                <a:gd name="T72" fmla="*/ 357 w 536"/>
                <a:gd name="T73" fmla="*/ 605 h 638"/>
                <a:gd name="T74" fmla="*/ 385 w 536"/>
                <a:gd name="T75" fmla="*/ 555 h 638"/>
                <a:gd name="T76" fmla="*/ 385 w 536"/>
                <a:gd name="T77" fmla="*/ 510 h 638"/>
                <a:gd name="T78" fmla="*/ 373 w 536"/>
                <a:gd name="T79" fmla="*/ 494 h 638"/>
                <a:gd name="T80" fmla="*/ 347 w 536"/>
                <a:gd name="T81" fmla="*/ 477 h 638"/>
                <a:gd name="T82" fmla="*/ 331 w 536"/>
                <a:gd name="T83" fmla="*/ 387 h 638"/>
                <a:gd name="T84" fmla="*/ 293 w 536"/>
                <a:gd name="T85" fmla="*/ 349 h 638"/>
                <a:gd name="T86" fmla="*/ 234 w 536"/>
                <a:gd name="T87" fmla="*/ 305 h 638"/>
                <a:gd name="T88" fmla="*/ 222 w 536"/>
                <a:gd name="T89" fmla="*/ 316 h 638"/>
                <a:gd name="T90" fmla="*/ 212 w 536"/>
                <a:gd name="T91" fmla="*/ 333 h 638"/>
                <a:gd name="T92" fmla="*/ 179 w 536"/>
                <a:gd name="T93" fmla="*/ 349 h 638"/>
                <a:gd name="T94" fmla="*/ 163 w 536"/>
                <a:gd name="T95" fmla="*/ 333 h 638"/>
                <a:gd name="T96" fmla="*/ 125 w 536"/>
                <a:gd name="T97" fmla="*/ 333 h 638"/>
                <a:gd name="T98" fmla="*/ 104 w 536"/>
                <a:gd name="T99" fmla="*/ 349 h 638"/>
                <a:gd name="T100" fmla="*/ 59 w 536"/>
                <a:gd name="T101" fmla="*/ 366 h 638"/>
                <a:gd name="T102" fmla="*/ 75 w 536"/>
                <a:gd name="T103" fmla="*/ 309 h 638"/>
                <a:gd name="T104" fmla="*/ 87 w 536"/>
                <a:gd name="T105" fmla="*/ 288 h 638"/>
                <a:gd name="T106" fmla="*/ 87 w 536"/>
                <a:gd name="T107" fmla="*/ 255 h 638"/>
                <a:gd name="T108" fmla="*/ 87 w 536"/>
                <a:gd name="T109" fmla="*/ 222 h 638"/>
                <a:gd name="T110" fmla="*/ 49 w 536"/>
                <a:gd name="T111" fmla="*/ 222 h 638"/>
                <a:gd name="T112" fmla="*/ 21 w 536"/>
                <a:gd name="T113" fmla="*/ 205 h 638"/>
                <a:gd name="T114" fmla="*/ 21 w 536"/>
                <a:gd name="T115" fmla="*/ 177 h 638"/>
                <a:gd name="T116" fmla="*/ 5 w 536"/>
                <a:gd name="T117" fmla="*/ 165 h 638"/>
                <a:gd name="T118" fmla="*/ 0 w 536"/>
                <a:gd name="T119" fmla="*/ 16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 h="638">
                  <a:moveTo>
                    <a:pt x="0" y="160"/>
                  </a:moveTo>
                  <a:lnTo>
                    <a:pt x="5" y="127"/>
                  </a:lnTo>
                  <a:lnTo>
                    <a:pt x="38" y="120"/>
                  </a:lnTo>
                  <a:lnTo>
                    <a:pt x="33" y="120"/>
                  </a:lnTo>
                  <a:lnTo>
                    <a:pt x="33" y="111"/>
                  </a:lnTo>
                  <a:lnTo>
                    <a:pt x="49" y="87"/>
                  </a:lnTo>
                  <a:lnTo>
                    <a:pt x="59" y="83"/>
                  </a:lnTo>
                  <a:lnTo>
                    <a:pt x="75" y="66"/>
                  </a:lnTo>
                  <a:lnTo>
                    <a:pt x="87" y="94"/>
                  </a:lnTo>
                  <a:lnTo>
                    <a:pt x="104" y="94"/>
                  </a:lnTo>
                  <a:lnTo>
                    <a:pt x="113" y="104"/>
                  </a:lnTo>
                  <a:lnTo>
                    <a:pt x="125" y="94"/>
                  </a:lnTo>
                  <a:lnTo>
                    <a:pt x="113" y="87"/>
                  </a:lnTo>
                  <a:lnTo>
                    <a:pt x="113" y="49"/>
                  </a:lnTo>
                  <a:lnTo>
                    <a:pt x="109" y="38"/>
                  </a:lnTo>
                  <a:lnTo>
                    <a:pt x="104" y="16"/>
                  </a:lnTo>
                  <a:lnTo>
                    <a:pt x="113" y="0"/>
                  </a:lnTo>
                  <a:lnTo>
                    <a:pt x="146" y="9"/>
                  </a:lnTo>
                  <a:lnTo>
                    <a:pt x="179" y="38"/>
                  </a:lnTo>
                  <a:lnTo>
                    <a:pt x="179" y="66"/>
                  </a:lnTo>
                  <a:lnTo>
                    <a:pt x="201" y="54"/>
                  </a:lnTo>
                  <a:lnTo>
                    <a:pt x="196" y="87"/>
                  </a:lnTo>
                  <a:lnTo>
                    <a:pt x="217" y="120"/>
                  </a:lnTo>
                  <a:lnTo>
                    <a:pt x="255" y="137"/>
                  </a:lnTo>
                  <a:lnTo>
                    <a:pt x="264" y="120"/>
                  </a:lnTo>
                  <a:lnTo>
                    <a:pt x="276" y="111"/>
                  </a:lnTo>
                  <a:lnTo>
                    <a:pt x="319" y="137"/>
                  </a:lnTo>
                  <a:lnTo>
                    <a:pt x="305" y="149"/>
                  </a:lnTo>
                  <a:lnTo>
                    <a:pt x="319" y="149"/>
                  </a:lnTo>
                  <a:lnTo>
                    <a:pt x="342" y="177"/>
                  </a:lnTo>
                  <a:lnTo>
                    <a:pt x="342" y="182"/>
                  </a:lnTo>
                  <a:lnTo>
                    <a:pt x="331" y="194"/>
                  </a:lnTo>
                  <a:lnTo>
                    <a:pt x="331" y="198"/>
                  </a:lnTo>
                  <a:lnTo>
                    <a:pt x="319" y="215"/>
                  </a:lnTo>
                  <a:lnTo>
                    <a:pt x="276" y="205"/>
                  </a:lnTo>
                  <a:lnTo>
                    <a:pt x="276" y="222"/>
                  </a:lnTo>
                  <a:lnTo>
                    <a:pt x="264" y="238"/>
                  </a:lnTo>
                  <a:lnTo>
                    <a:pt x="288" y="248"/>
                  </a:lnTo>
                  <a:lnTo>
                    <a:pt x="326" y="276"/>
                  </a:lnTo>
                  <a:lnTo>
                    <a:pt x="357" y="288"/>
                  </a:lnTo>
                  <a:lnTo>
                    <a:pt x="357" y="305"/>
                  </a:lnTo>
                  <a:lnTo>
                    <a:pt x="357" y="309"/>
                  </a:lnTo>
                  <a:lnTo>
                    <a:pt x="373" y="326"/>
                  </a:lnTo>
                  <a:lnTo>
                    <a:pt x="380" y="326"/>
                  </a:lnTo>
                  <a:lnTo>
                    <a:pt x="397" y="361"/>
                  </a:lnTo>
                  <a:lnTo>
                    <a:pt x="439" y="399"/>
                  </a:lnTo>
                  <a:lnTo>
                    <a:pt x="449" y="416"/>
                  </a:lnTo>
                  <a:lnTo>
                    <a:pt x="456" y="416"/>
                  </a:lnTo>
                  <a:lnTo>
                    <a:pt x="456" y="437"/>
                  </a:lnTo>
                  <a:lnTo>
                    <a:pt x="465" y="456"/>
                  </a:lnTo>
                  <a:lnTo>
                    <a:pt x="472" y="456"/>
                  </a:lnTo>
                  <a:lnTo>
                    <a:pt x="482" y="444"/>
                  </a:lnTo>
                  <a:lnTo>
                    <a:pt x="489" y="460"/>
                  </a:lnTo>
                  <a:lnTo>
                    <a:pt x="494" y="460"/>
                  </a:lnTo>
                  <a:lnTo>
                    <a:pt x="510" y="477"/>
                  </a:lnTo>
                  <a:lnTo>
                    <a:pt x="520" y="477"/>
                  </a:lnTo>
                  <a:lnTo>
                    <a:pt x="510" y="494"/>
                  </a:lnTo>
                  <a:lnTo>
                    <a:pt x="494" y="498"/>
                  </a:lnTo>
                  <a:lnTo>
                    <a:pt x="536" y="538"/>
                  </a:lnTo>
                  <a:lnTo>
                    <a:pt x="527" y="555"/>
                  </a:lnTo>
                  <a:lnTo>
                    <a:pt x="520" y="555"/>
                  </a:lnTo>
                  <a:lnTo>
                    <a:pt x="527" y="583"/>
                  </a:lnTo>
                  <a:lnTo>
                    <a:pt x="472" y="609"/>
                  </a:lnTo>
                  <a:lnTo>
                    <a:pt x="456" y="588"/>
                  </a:lnTo>
                  <a:lnTo>
                    <a:pt x="439" y="593"/>
                  </a:lnTo>
                  <a:lnTo>
                    <a:pt x="435" y="593"/>
                  </a:lnTo>
                  <a:lnTo>
                    <a:pt x="435" y="605"/>
                  </a:lnTo>
                  <a:lnTo>
                    <a:pt x="418" y="605"/>
                  </a:lnTo>
                  <a:lnTo>
                    <a:pt x="427" y="628"/>
                  </a:lnTo>
                  <a:lnTo>
                    <a:pt x="418" y="638"/>
                  </a:lnTo>
                  <a:lnTo>
                    <a:pt x="411" y="638"/>
                  </a:lnTo>
                  <a:lnTo>
                    <a:pt x="385" y="621"/>
                  </a:lnTo>
                  <a:lnTo>
                    <a:pt x="373" y="628"/>
                  </a:lnTo>
                  <a:lnTo>
                    <a:pt x="357" y="605"/>
                  </a:lnTo>
                  <a:lnTo>
                    <a:pt x="380" y="588"/>
                  </a:lnTo>
                  <a:lnTo>
                    <a:pt x="385" y="555"/>
                  </a:lnTo>
                  <a:lnTo>
                    <a:pt x="380" y="550"/>
                  </a:lnTo>
                  <a:lnTo>
                    <a:pt x="385" y="510"/>
                  </a:lnTo>
                  <a:lnTo>
                    <a:pt x="373" y="498"/>
                  </a:lnTo>
                  <a:lnTo>
                    <a:pt x="373" y="494"/>
                  </a:lnTo>
                  <a:lnTo>
                    <a:pt x="373" y="482"/>
                  </a:lnTo>
                  <a:lnTo>
                    <a:pt x="347" y="477"/>
                  </a:lnTo>
                  <a:lnTo>
                    <a:pt x="326" y="444"/>
                  </a:lnTo>
                  <a:lnTo>
                    <a:pt x="331" y="387"/>
                  </a:lnTo>
                  <a:lnTo>
                    <a:pt x="326" y="371"/>
                  </a:lnTo>
                  <a:lnTo>
                    <a:pt x="293" y="349"/>
                  </a:lnTo>
                  <a:lnTo>
                    <a:pt x="272" y="309"/>
                  </a:lnTo>
                  <a:lnTo>
                    <a:pt x="234" y="305"/>
                  </a:lnTo>
                  <a:lnTo>
                    <a:pt x="222" y="309"/>
                  </a:lnTo>
                  <a:lnTo>
                    <a:pt x="222" y="316"/>
                  </a:lnTo>
                  <a:lnTo>
                    <a:pt x="212" y="326"/>
                  </a:lnTo>
                  <a:lnTo>
                    <a:pt x="212" y="333"/>
                  </a:lnTo>
                  <a:lnTo>
                    <a:pt x="196" y="333"/>
                  </a:lnTo>
                  <a:lnTo>
                    <a:pt x="179" y="349"/>
                  </a:lnTo>
                  <a:lnTo>
                    <a:pt x="179" y="342"/>
                  </a:lnTo>
                  <a:lnTo>
                    <a:pt x="163" y="333"/>
                  </a:lnTo>
                  <a:lnTo>
                    <a:pt x="142" y="316"/>
                  </a:lnTo>
                  <a:lnTo>
                    <a:pt x="125" y="333"/>
                  </a:lnTo>
                  <a:lnTo>
                    <a:pt x="113" y="333"/>
                  </a:lnTo>
                  <a:lnTo>
                    <a:pt x="104" y="349"/>
                  </a:lnTo>
                  <a:lnTo>
                    <a:pt x="75" y="371"/>
                  </a:lnTo>
                  <a:lnTo>
                    <a:pt x="59" y="366"/>
                  </a:lnTo>
                  <a:lnTo>
                    <a:pt x="75" y="326"/>
                  </a:lnTo>
                  <a:lnTo>
                    <a:pt x="75" y="309"/>
                  </a:lnTo>
                  <a:lnTo>
                    <a:pt x="71" y="305"/>
                  </a:lnTo>
                  <a:lnTo>
                    <a:pt x="87" y="288"/>
                  </a:lnTo>
                  <a:lnTo>
                    <a:pt x="75" y="272"/>
                  </a:lnTo>
                  <a:lnTo>
                    <a:pt x="87" y="255"/>
                  </a:lnTo>
                  <a:lnTo>
                    <a:pt x="75" y="231"/>
                  </a:lnTo>
                  <a:lnTo>
                    <a:pt x="87" y="222"/>
                  </a:lnTo>
                  <a:lnTo>
                    <a:pt x="54" y="215"/>
                  </a:lnTo>
                  <a:lnTo>
                    <a:pt x="49" y="222"/>
                  </a:lnTo>
                  <a:lnTo>
                    <a:pt x="33" y="222"/>
                  </a:lnTo>
                  <a:lnTo>
                    <a:pt x="21" y="205"/>
                  </a:lnTo>
                  <a:lnTo>
                    <a:pt x="33" y="177"/>
                  </a:lnTo>
                  <a:lnTo>
                    <a:pt x="21" y="177"/>
                  </a:lnTo>
                  <a:lnTo>
                    <a:pt x="16" y="160"/>
                  </a:lnTo>
                  <a:lnTo>
                    <a:pt x="5" y="165"/>
                  </a:lnTo>
                  <a:lnTo>
                    <a:pt x="0" y="160"/>
                  </a:lnTo>
                  <a:lnTo>
                    <a:pt x="0" y="160"/>
                  </a:lnTo>
                  <a:lnTo>
                    <a:pt x="0" y="16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76" name="Freeform 515">
              <a:extLst>
                <a:ext uri="{FF2B5EF4-FFF2-40B4-BE49-F238E27FC236}">
                  <a16:creationId xmlns:a16="http://schemas.microsoft.com/office/drawing/2014/main" id="{D9E8A843-FAD8-4418-9F73-43BD87F4237A}"/>
                </a:ext>
              </a:extLst>
            </p:cNvPr>
            <p:cNvSpPr>
              <a:spLocks noEditPoints="1"/>
            </p:cNvSpPr>
            <p:nvPr/>
          </p:nvSpPr>
          <p:spPr bwMode="gray">
            <a:xfrm>
              <a:off x="9602574" y="3848911"/>
              <a:ext cx="566869" cy="192272"/>
            </a:xfrm>
            <a:custGeom>
              <a:avLst/>
              <a:gdLst>
                <a:gd name="T0" fmla="*/ 1205 w 1377"/>
                <a:gd name="T1" fmla="*/ 4 h 467"/>
                <a:gd name="T2" fmla="*/ 1238 w 1377"/>
                <a:gd name="T3" fmla="*/ 0 h 467"/>
                <a:gd name="T4" fmla="*/ 1233 w 1377"/>
                <a:gd name="T5" fmla="*/ 0 h 467"/>
                <a:gd name="T6" fmla="*/ 1184 w 1377"/>
                <a:gd name="T7" fmla="*/ 222 h 467"/>
                <a:gd name="T8" fmla="*/ 1125 w 1377"/>
                <a:gd name="T9" fmla="*/ 226 h 467"/>
                <a:gd name="T10" fmla="*/ 1099 w 1377"/>
                <a:gd name="T11" fmla="*/ 304 h 467"/>
                <a:gd name="T12" fmla="*/ 1070 w 1377"/>
                <a:gd name="T13" fmla="*/ 361 h 467"/>
                <a:gd name="T14" fmla="*/ 1037 w 1377"/>
                <a:gd name="T15" fmla="*/ 415 h 467"/>
                <a:gd name="T16" fmla="*/ 936 w 1377"/>
                <a:gd name="T17" fmla="*/ 411 h 467"/>
                <a:gd name="T18" fmla="*/ 865 w 1377"/>
                <a:gd name="T19" fmla="*/ 444 h 467"/>
                <a:gd name="T20" fmla="*/ 704 w 1377"/>
                <a:gd name="T21" fmla="*/ 411 h 467"/>
                <a:gd name="T22" fmla="*/ 718 w 1377"/>
                <a:gd name="T23" fmla="*/ 406 h 467"/>
                <a:gd name="T24" fmla="*/ 784 w 1377"/>
                <a:gd name="T25" fmla="*/ 415 h 467"/>
                <a:gd name="T26" fmla="*/ 827 w 1377"/>
                <a:gd name="T27" fmla="*/ 427 h 467"/>
                <a:gd name="T28" fmla="*/ 822 w 1377"/>
                <a:gd name="T29" fmla="*/ 373 h 467"/>
                <a:gd name="T30" fmla="*/ 827 w 1377"/>
                <a:gd name="T31" fmla="*/ 333 h 467"/>
                <a:gd name="T32" fmla="*/ 1006 w 1377"/>
                <a:gd name="T33" fmla="*/ 193 h 467"/>
                <a:gd name="T34" fmla="*/ 1070 w 1377"/>
                <a:gd name="T35" fmla="*/ 226 h 467"/>
                <a:gd name="T36" fmla="*/ 1082 w 1377"/>
                <a:gd name="T37" fmla="*/ 181 h 467"/>
                <a:gd name="T38" fmla="*/ 1091 w 1377"/>
                <a:gd name="T39" fmla="*/ 172 h 467"/>
                <a:gd name="T40" fmla="*/ 1108 w 1377"/>
                <a:gd name="T41" fmla="*/ 139 h 467"/>
                <a:gd name="T42" fmla="*/ 1151 w 1377"/>
                <a:gd name="T43" fmla="*/ 99 h 467"/>
                <a:gd name="T44" fmla="*/ 1205 w 1377"/>
                <a:gd name="T45" fmla="*/ 25 h 467"/>
                <a:gd name="T46" fmla="*/ 1238 w 1377"/>
                <a:gd name="T47" fmla="*/ 44 h 467"/>
                <a:gd name="T48" fmla="*/ 1259 w 1377"/>
                <a:gd name="T49" fmla="*/ 77 h 467"/>
                <a:gd name="T50" fmla="*/ 1292 w 1377"/>
                <a:gd name="T51" fmla="*/ 82 h 467"/>
                <a:gd name="T52" fmla="*/ 1314 w 1377"/>
                <a:gd name="T53" fmla="*/ 111 h 467"/>
                <a:gd name="T54" fmla="*/ 1377 w 1377"/>
                <a:gd name="T55" fmla="*/ 155 h 467"/>
                <a:gd name="T56" fmla="*/ 1297 w 1377"/>
                <a:gd name="T57" fmla="*/ 172 h 467"/>
                <a:gd name="T58" fmla="*/ 1330 w 1377"/>
                <a:gd name="T59" fmla="*/ 205 h 467"/>
                <a:gd name="T60" fmla="*/ 1271 w 1377"/>
                <a:gd name="T61" fmla="*/ 210 h 467"/>
                <a:gd name="T62" fmla="*/ 1243 w 1377"/>
                <a:gd name="T63" fmla="*/ 44 h 467"/>
                <a:gd name="T64" fmla="*/ 1243 w 1377"/>
                <a:gd name="T65" fmla="*/ 44 h 467"/>
                <a:gd name="T66" fmla="*/ 38 w 1377"/>
                <a:gd name="T67" fmla="*/ 44 h 467"/>
                <a:gd name="T68" fmla="*/ 83 w 1377"/>
                <a:gd name="T69" fmla="*/ 54 h 467"/>
                <a:gd name="T70" fmla="*/ 92 w 1377"/>
                <a:gd name="T71" fmla="*/ 111 h 467"/>
                <a:gd name="T72" fmla="*/ 158 w 1377"/>
                <a:gd name="T73" fmla="*/ 111 h 467"/>
                <a:gd name="T74" fmla="*/ 243 w 1377"/>
                <a:gd name="T75" fmla="*/ 132 h 467"/>
                <a:gd name="T76" fmla="*/ 272 w 1377"/>
                <a:gd name="T77" fmla="*/ 278 h 467"/>
                <a:gd name="T78" fmla="*/ 326 w 1377"/>
                <a:gd name="T79" fmla="*/ 406 h 467"/>
                <a:gd name="T80" fmla="*/ 303 w 1377"/>
                <a:gd name="T81" fmla="*/ 427 h 467"/>
                <a:gd name="T82" fmla="*/ 217 w 1377"/>
                <a:gd name="T83" fmla="*/ 394 h 467"/>
                <a:gd name="T84" fmla="*/ 121 w 1377"/>
                <a:gd name="T85" fmla="*/ 321 h 467"/>
                <a:gd name="T86" fmla="*/ 83 w 1377"/>
                <a:gd name="T87" fmla="*/ 250 h 467"/>
                <a:gd name="T88" fmla="*/ 88 w 1377"/>
                <a:gd name="T89" fmla="*/ 238 h 467"/>
                <a:gd name="T90" fmla="*/ 54 w 1377"/>
                <a:gd name="T91" fmla="*/ 148 h 467"/>
                <a:gd name="T92" fmla="*/ 33 w 1377"/>
                <a:gd name="T93" fmla="*/ 61 h 467"/>
                <a:gd name="T94" fmla="*/ 0 w 1377"/>
                <a:gd name="T95" fmla="*/ 61 h 467"/>
                <a:gd name="T96" fmla="*/ 50 w 1377"/>
                <a:gd name="T97" fmla="*/ 132 h 467"/>
                <a:gd name="T98" fmla="*/ 50 w 1377"/>
                <a:gd name="T99" fmla="*/ 132 h 467"/>
                <a:gd name="T100" fmla="*/ 1099 w 1377"/>
                <a:gd name="T101" fmla="*/ 139 h 467"/>
                <a:gd name="T102" fmla="*/ 1091 w 1377"/>
                <a:gd name="T103" fmla="*/ 148 h 467"/>
                <a:gd name="T104" fmla="*/ 1288 w 1377"/>
                <a:gd name="T105" fmla="*/ 226 h 467"/>
                <a:gd name="T106" fmla="*/ 822 w 1377"/>
                <a:gd name="T107" fmla="*/ 321 h 467"/>
                <a:gd name="T108" fmla="*/ 822 w 1377"/>
                <a:gd name="T109" fmla="*/ 349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77" h="467">
                  <a:moveTo>
                    <a:pt x="1205" y="4"/>
                  </a:moveTo>
                  <a:lnTo>
                    <a:pt x="1221" y="0"/>
                  </a:lnTo>
                  <a:lnTo>
                    <a:pt x="1221" y="0"/>
                  </a:lnTo>
                  <a:lnTo>
                    <a:pt x="1205" y="4"/>
                  </a:lnTo>
                  <a:lnTo>
                    <a:pt x="1205" y="4"/>
                  </a:lnTo>
                  <a:lnTo>
                    <a:pt x="1205" y="4"/>
                  </a:lnTo>
                  <a:close/>
                  <a:moveTo>
                    <a:pt x="1233" y="0"/>
                  </a:moveTo>
                  <a:lnTo>
                    <a:pt x="1238" y="0"/>
                  </a:lnTo>
                  <a:lnTo>
                    <a:pt x="1238" y="4"/>
                  </a:lnTo>
                  <a:lnTo>
                    <a:pt x="1221" y="16"/>
                  </a:lnTo>
                  <a:lnTo>
                    <a:pt x="1233" y="0"/>
                  </a:lnTo>
                  <a:lnTo>
                    <a:pt x="1233" y="0"/>
                  </a:lnTo>
                  <a:lnTo>
                    <a:pt x="1233" y="0"/>
                  </a:lnTo>
                  <a:close/>
                  <a:moveTo>
                    <a:pt x="1259" y="226"/>
                  </a:moveTo>
                  <a:lnTo>
                    <a:pt x="1238" y="210"/>
                  </a:lnTo>
                  <a:lnTo>
                    <a:pt x="1184" y="222"/>
                  </a:lnTo>
                  <a:lnTo>
                    <a:pt x="1162" y="210"/>
                  </a:lnTo>
                  <a:lnTo>
                    <a:pt x="1151" y="222"/>
                  </a:lnTo>
                  <a:lnTo>
                    <a:pt x="1136" y="210"/>
                  </a:lnTo>
                  <a:lnTo>
                    <a:pt x="1125" y="226"/>
                  </a:lnTo>
                  <a:lnTo>
                    <a:pt x="1125" y="259"/>
                  </a:lnTo>
                  <a:lnTo>
                    <a:pt x="1125" y="278"/>
                  </a:lnTo>
                  <a:lnTo>
                    <a:pt x="1113" y="304"/>
                  </a:lnTo>
                  <a:lnTo>
                    <a:pt x="1099" y="304"/>
                  </a:lnTo>
                  <a:lnTo>
                    <a:pt x="1091" y="316"/>
                  </a:lnTo>
                  <a:lnTo>
                    <a:pt x="1082" y="337"/>
                  </a:lnTo>
                  <a:lnTo>
                    <a:pt x="1099" y="349"/>
                  </a:lnTo>
                  <a:lnTo>
                    <a:pt x="1070" y="361"/>
                  </a:lnTo>
                  <a:lnTo>
                    <a:pt x="1070" y="389"/>
                  </a:lnTo>
                  <a:lnTo>
                    <a:pt x="1061" y="406"/>
                  </a:lnTo>
                  <a:lnTo>
                    <a:pt x="1054" y="427"/>
                  </a:lnTo>
                  <a:lnTo>
                    <a:pt x="1037" y="415"/>
                  </a:lnTo>
                  <a:lnTo>
                    <a:pt x="1006" y="415"/>
                  </a:lnTo>
                  <a:lnTo>
                    <a:pt x="985" y="434"/>
                  </a:lnTo>
                  <a:lnTo>
                    <a:pt x="947" y="427"/>
                  </a:lnTo>
                  <a:lnTo>
                    <a:pt x="936" y="411"/>
                  </a:lnTo>
                  <a:lnTo>
                    <a:pt x="898" y="411"/>
                  </a:lnTo>
                  <a:lnTo>
                    <a:pt x="881" y="415"/>
                  </a:lnTo>
                  <a:lnTo>
                    <a:pt x="877" y="444"/>
                  </a:lnTo>
                  <a:lnTo>
                    <a:pt x="865" y="444"/>
                  </a:lnTo>
                  <a:lnTo>
                    <a:pt x="860" y="460"/>
                  </a:lnTo>
                  <a:lnTo>
                    <a:pt x="810" y="451"/>
                  </a:lnTo>
                  <a:lnTo>
                    <a:pt x="768" y="467"/>
                  </a:lnTo>
                  <a:lnTo>
                    <a:pt x="704" y="411"/>
                  </a:lnTo>
                  <a:lnTo>
                    <a:pt x="697" y="389"/>
                  </a:lnTo>
                  <a:lnTo>
                    <a:pt x="704" y="377"/>
                  </a:lnTo>
                  <a:lnTo>
                    <a:pt x="704" y="389"/>
                  </a:lnTo>
                  <a:lnTo>
                    <a:pt x="718" y="406"/>
                  </a:lnTo>
                  <a:lnTo>
                    <a:pt x="747" y="406"/>
                  </a:lnTo>
                  <a:lnTo>
                    <a:pt x="751" y="394"/>
                  </a:lnTo>
                  <a:lnTo>
                    <a:pt x="758" y="411"/>
                  </a:lnTo>
                  <a:lnTo>
                    <a:pt x="784" y="415"/>
                  </a:lnTo>
                  <a:lnTo>
                    <a:pt x="773" y="415"/>
                  </a:lnTo>
                  <a:lnTo>
                    <a:pt x="784" y="411"/>
                  </a:lnTo>
                  <a:lnTo>
                    <a:pt x="810" y="427"/>
                  </a:lnTo>
                  <a:lnTo>
                    <a:pt x="827" y="427"/>
                  </a:lnTo>
                  <a:lnTo>
                    <a:pt x="806" y="415"/>
                  </a:lnTo>
                  <a:lnTo>
                    <a:pt x="801" y="411"/>
                  </a:lnTo>
                  <a:lnTo>
                    <a:pt x="810" y="377"/>
                  </a:lnTo>
                  <a:lnTo>
                    <a:pt x="822" y="373"/>
                  </a:lnTo>
                  <a:lnTo>
                    <a:pt x="810" y="373"/>
                  </a:lnTo>
                  <a:lnTo>
                    <a:pt x="810" y="356"/>
                  </a:lnTo>
                  <a:lnTo>
                    <a:pt x="827" y="356"/>
                  </a:lnTo>
                  <a:lnTo>
                    <a:pt x="827" y="333"/>
                  </a:lnTo>
                  <a:lnTo>
                    <a:pt x="843" y="321"/>
                  </a:lnTo>
                  <a:lnTo>
                    <a:pt x="936" y="300"/>
                  </a:lnTo>
                  <a:lnTo>
                    <a:pt x="1006" y="222"/>
                  </a:lnTo>
                  <a:lnTo>
                    <a:pt x="1006" y="193"/>
                  </a:lnTo>
                  <a:lnTo>
                    <a:pt x="1016" y="193"/>
                  </a:lnTo>
                  <a:lnTo>
                    <a:pt x="1028" y="193"/>
                  </a:lnTo>
                  <a:lnTo>
                    <a:pt x="1054" y="238"/>
                  </a:lnTo>
                  <a:lnTo>
                    <a:pt x="1070" y="226"/>
                  </a:lnTo>
                  <a:lnTo>
                    <a:pt x="1070" y="210"/>
                  </a:lnTo>
                  <a:lnTo>
                    <a:pt x="1070" y="188"/>
                  </a:lnTo>
                  <a:lnTo>
                    <a:pt x="1082" y="172"/>
                  </a:lnTo>
                  <a:lnTo>
                    <a:pt x="1082" y="181"/>
                  </a:lnTo>
                  <a:lnTo>
                    <a:pt x="1082" y="210"/>
                  </a:lnTo>
                  <a:lnTo>
                    <a:pt x="1108" y="210"/>
                  </a:lnTo>
                  <a:lnTo>
                    <a:pt x="1091" y="172"/>
                  </a:lnTo>
                  <a:lnTo>
                    <a:pt x="1091" y="172"/>
                  </a:lnTo>
                  <a:lnTo>
                    <a:pt x="1108" y="172"/>
                  </a:lnTo>
                  <a:lnTo>
                    <a:pt x="1113" y="165"/>
                  </a:lnTo>
                  <a:lnTo>
                    <a:pt x="1125" y="148"/>
                  </a:lnTo>
                  <a:lnTo>
                    <a:pt x="1108" y="139"/>
                  </a:lnTo>
                  <a:lnTo>
                    <a:pt x="1108" y="132"/>
                  </a:lnTo>
                  <a:lnTo>
                    <a:pt x="1113" y="127"/>
                  </a:lnTo>
                  <a:lnTo>
                    <a:pt x="1136" y="127"/>
                  </a:lnTo>
                  <a:lnTo>
                    <a:pt x="1151" y="99"/>
                  </a:lnTo>
                  <a:lnTo>
                    <a:pt x="1162" y="82"/>
                  </a:lnTo>
                  <a:lnTo>
                    <a:pt x="1184" y="61"/>
                  </a:lnTo>
                  <a:lnTo>
                    <a:pt x="1200" y="21"/>
                  </a:lnTo>
                  <a:lnTo>
                    <a:pt x="1205" y="25"/>
                  </a:lnTo>
                  <a:lnTo>
                    <a:pt x="1205" y="54"/>
                  </a:lnTo>
                  <a:lnTo>
                    <a:pt x="1233" y="21"/>
                  </a:lnTo>
                  <a:lnTo>
                    <a:pt x="1238" y="21"/>
                  </a:lnTo>
                  <a:lnTo>
                    <a:pt x="1238" y="44"/>
                  </a:lnTo>
                  <a:lnTo>
                    <a:pt x="1271" y="54"/>
                  </a:lnTo>
                  <a:lnTo>
                    <a:pt x="1271" y="61"/>
                  </a:lnTo>
                  <a:lnTo>
                    <a:pt x="1271" y="77"/>
                  </a:lnTo>
                  <a:lnTo>
                    <a:pt x="1259" y="77"/>
                  </a:lnTo>
                  <a:lnTo>
                    <a:pt x="1271" y="94"/>
                  </a:lnTo>
                  <a:lnTo>
                    <a:pt x="1254" y="99"/>
                  </a:lnTo>
                  <a:lnTo>
                    <a:pt x="1276" y="99"/>
                  </a:lnTo>
                  <a:lnTo>
                    <a:pt x="1292" y="82"/>
                  </a:lnTo>
                  <a:lnTo>
                    <a:pt x="1297" y="99"/>
                  </a:lnTo>
                  <a:lnTo>
                    <a:pt x="1288" y="111"/>
                  </a:lnTo>
                  <a:lnTo>
                    <a:pt x="1288" y="115"/>
                  </a:lnTo>
                  <a:lnTo>
                    <a:pt x="1314" y="111"/>
                  </a:lnTo>
                  <a:lnTo>
                    <a:pt x="1351" y="132"/>
                  </a:lnTo>
                  <a:lnTo>
                    <a:pt x="1377" y="132"/>
                  </a:lnTo>
                  <a:lnTo>
                    <a:pt x="1377" y="139"/>
                  </a:lnTo>
                  <a:lnTo>
                    <a:pt x="1377" y="155"/>
                  </a:lnTo>
                  <a:lnTo>
                    <a:pt x="1363" y="155"/>
                  </a:lnTo>
                  <a:lnTo>
                    <a:pt x="1340" y="172"/>
                  </a:lnTo>
                  <a:lnTo>
                    <a:pt x="1314" y="165"/>
                  </a:lnTo>
                  <a:lnTo>
                    <a:pt x="1297" y="172"/>
                  </a:lnTo>
                  <a:lnTo>
                    <a:pt x="1309" y="188"/>
                  </a:lnTo>
                  <a:lnTo>
                    <a:pt x="1325" y="193"/>
                  </a:lnTo>
                  <a:lnTo>
                    <a:pt x="1325" y="205"/>
                  </a:lnTo>
                  <a:lnTo>
                    <a:pt x="1330" y="205"/>
                  </a:lnTo>
                  <a:lnTo>
                    <a:pt x="1340" y="205"/>
                  </a:lnTo>
                  <a:lnTo>
                    <a:pt x="1330" y="210"/>
                  </a:lnTo>
                  <a:lnTo>
                    <a:pt x="1292" y="222"/>
                  </a:lnTo>
                  <a:lnTo>
                    <a:pt x="1271" y="210"/>
                  </a:lnTo>
                  <a:lnTo>
                    <a:pt x="1259" y="226"/>
                  </a:lnTo>
                  <a:lnTo>
                    <a:pt x="1259" y="226"/>
                  </a:lnTo>
                  <a:lnTo>
                    <a:pt x="1259" y="226"/>
                  </a:lnTo>
                  <a:close/>
                  <a:moveTo>
                    <a:pt x="1243" y="44"/>
                  </a:moveTo>
                  <a:lnTo>
                    <a:pt x="1254" y="37"/>
                  </a:lnTo>
                  <a:lnTo>
                    <a:pt x="1254" y="44"/>
                  </a:lnTo>
                  <a:lnTo>
                    <a:pt x="1254" y="44"/>
                  </a:lnTo>
                  <a:lnTo>
                    <a:pt x="1243" y="44"/>
                  </a:lnTo>
                  <a:lnTo>
                    <a:pt x="1243" y="44"/>
                  </a:lnTo>
                  <a:lnTo>
                    <a:pt x="1243" y="44"/>
                  </a:lnTo>
                  <a:close/>
                  <a:moveTo>
                    <a:pt x="33" y="61"/>
                  </a:moveTo>
                  <a:lnTo>
                    <a:pt x="38" y="44"/>
                  </a:lnTo>
                  <a:lnTo>
                    <a:pt x="50" y="44"/>
                  </a:lnTo>
                  <a:lnTo>
                    <a:pt x="54" y="54"/>
                  </a:lnTo>
                  <a:lnTo>
                    <a:pt x="71" y="61"/>
                  </a:lnTo>
                  <a:lnTo>
                    <a:pt x="83" y="54"/>
                  </a:lnTo>
                  <a:lnTo>
                    <a:pt x="88" y="77"/>
                  </a:lnTo>
                  <a:lnTo>
                    <a:pt x="104" y="77"/>
                  </a:lnTo>
                  <a:lnTo>
                    <a:pt x="104" y="94"/>
                  </a:lnTo>
                  <a:lnTo>
                    <a:pt x="92" y="111"/>
                  </a:lnTo>
                  <a:lnTo>
                    <a:pt x="104" y="115"/>
                  </a:lnTo>
                  <a:lnTo>
                    <a:pt x="137" y="99"/>
                  </a:lnTo>
                  <a:lnTo>
                    <a:pt x="142" y="111"/>
                  </a:lnTo>
                  <a:lnTo>
                    <a:pt x="158" y="111"/>
                  </a:lnTo>
                  <a:lnTo>
                    <a:pt x="175" y="77"/>
                  </a:lnTo>
                  <a:lnTo>
                    <a:pt x="189" y="77"/>
                  </a:lnTo>
                  <a:lnTo>
                    <a:pt x="201" y="99"/>
                  </a:lnTo>
                  <a:lnTo>
                    <a:pt x="243" y="132"/>
                  </a:lnTo>
                  <a:lnTo>
                    <a:pt x="265" y="172"/>
                  </a:lnTo>
                  <a:lnTo>
                    <a:pt x="272" y="210"/>
                  </a:lnTo>
                  <a:lnTo>
                    <a:pt x="255" y="259"/>
                  </a:lnTo>
                  <a:lnTo>
                    <a:pt x="272" y="278"/>
                  </a:lnTo>
                  <a:lnTo>
                    <a:pt x="265" y="316"/>
                  </a:lnTo>
                  <a:lnTo>
                    <a:pt x="281" y="333"/>
                  </a:lnTo>
                  <a:lnTo>
                    <a:pt x="298" y="337"/>
                  </a:lnTo>
                  <a:lnTo>
                    <a:pt x="326" y="406"/>
                  </a:lnTo>
                  <a:lnTo>
                    <a:pt x="326" y="427"/>
                  </a:lnTo>
                  <a:lnTo>
                    <a:pt x="310" y="427"/>
                  </a:lnTo>
                  <a:lnTo>
                    <a:pt x="303" y="411"/>
                  </a:lnTo>
                  <a:lnTo>
                    <a:pt x="303" y="427"/>
                  </a:lnTo>
                  <a:lnTo>
                    <a:pt x="288" y="415"/>
                  </a:lnTo>
                  <a:lnTo>
                    <a:pt x="272" y="434"/>
                  </a:lnTo>
                  <a:lnTo>
                    <a:pt x="265" y="415"/>
                  </a:lnTo>
                  <a:lnTo>
                    <a:pt x="217" y="394"/>
                  </a:lnTo>
                  <a:lnTo>
                    <a:pt x="201" y="377"/>
                  </a:lnTo>
                  <a:lnTo>
                    <a:pt x="180" y="361"/>
                  </a:lnTo>
                  <a:lnTo>
                    <a:pt x="147" y="337"/>
                  </a:lnTo>
                  <a:lnTo>
                    <a:pt x="121" y="321"/>
                  </a:lnTo>
                  <a:lnTo>
                    <a:pt x="125" y="304"/>
                  </a:lnTo>
                  <a:lnTo>
                    <a:pt x="121" y="295"/>
                  </a:lnTo>
                  <a:lnTo>
                    <a:pt x="92" y="266"/>
                  </a:lnTo>
                  <a:lnTo>
                    <a:pt x="83" y="250"/>
                  </a:lnTo>
                  <a:lnTo>
                    <a:pt x="88" y="250"/>
                  </a:lnTo>
                  <a:lnTo>
                    <a:pt x="71" y="243"/>
                  </a:lnTo>
                  <a:lnTo>
                    <a:pt x="83" y="238"/>
                  </a:lnTo>
                  <a:lnTo>
                    <a:pt x="88" y="238"/>
                  </a:lnTo>
                  <a:lnTo>
                    <a:pt x="71" y="226"/>
                  </a:lnTo>
                  <a:lnTo>
                    <a:pt x="71" y="181"/>
                  </a:lnTo>
                  <a:lnTo>
                    <a:pt x="50" y="155"/>
                  </a:lnTo>
                  <a:lnTo>
                    <a:pt x="54" y="148"/>
                  </a:lnTo>
                  <a:lnTo>
                    <a:pt x="50" y="94"/>
                  </a:lnTo>
                  <a:lnTo>
                    <a:pt x="33" y="61"/>
                  </a:lnTo>
                  <a:lnTo>
                    <a:pt x="33" y="61"/>
                  </a:lnTo>
                  <a:lnTo>
                    <a:pt x="33" y="61"/>
                  </a:lnTo>
                  <a:close/>
                  <a:moveTo>
                    <a:pt x="17" y="61"/>
                  </a:moveTo>
                  <a:lnTo>
                    <a:pt x="17" y="70"/>
                  </a:lnTo>
                  <a:lnTo>
                    <a:pt x="12" y="77"/>
                  </a:lnTo>
                  <a:lnTo>
                    <a:pt x="0" y="61"/>
                  </a:lnTo>
                  <a:lnTo>
                    <a:pt x="17" y="61"/>
                  </a:lnTo>
                  <a:lnTo>
                    <a:pt x="17" y="61"/>
                  </a:lnTo>
                  <a:lnTo>
                    <a:pt x="17" y="61"/>
                  </a:lnTo>
                  <a:close/>
                  <a:moveTo>
                    <a:pt x="50" y="132"/>
                  </a:moveTo>
                  <a:lnTo>
                    <a:pt x="50" y="148"/>
                  </a:lnTo>
                  <a:lnTo>
                    <a:pt x="38" y="148"/>
                  </a:lnTo>
                  <a:lnTo>
                    <a:pt x="38" y="132"/>
                  </a:lnTo>
                  <a:lnTo>
                    <a:pt x="50" y="132"/>
                  </a:lnTo>
                  <a:lnTo>
                    <a:pt x="50" y="132"/>
                  </a:lnTo>
                  <a:lnTo>
                    <a:pt x="50" y="132"/>
                  </a:lnTo>
                  <a:close/>
                  <a:moveTo>
                    <a:pt x="1091" y="148"/>
                  </a:moveTo>
                  <a:lnTo>
                    <a:pt x="1099" y="139"/>
                  </a:lnTo>
                  <a:lnTo>
                    <a:pt x="1099" y="139"/>
                  </a:lnTo>
                  <a:lnTo>
                    <a:pt x="1091" y="148"/>
                  </a:lnTo>
                  <a:lnTo>
                    <a:pt x="1091" y="148"/>
                  </a:lnTo>
                  <a:lnTo>
                    <a:pt x="1091" y="148"/>
                  </a:lnTo>
                  <a:close/>
                  <a:moveTo>
                    <a:pt x="1288" y="226"/>
                  </a:moveTo>
                  <a:lnTo>
                    <a:pt x="1271" y="226"/>
                  </a:lnTo>
                  <a:lnTo>
                    <a:pt x="1271" y="222"/>
                  </a:lnTo>
                  <a:lnTo>
                    <a:pt x="1288" y="226"/>
                  </a:lnTo>
                  <a:lnTo>
                    <a:pt x="1288" y="226"/>
                  </a:lnTo>
                  <a:lnTo>
                    <a:pt x="1288" y="226"/>
                  </a:lnTo>
                  <a:close/>
                  <a:moveTo>
                    <a:pt x="822" y="349"/>
                  </a:moveTo>
                  <a:lnTo>
                    <a:pt x="822" y="321"/>
                  </a:lnTo>
                  <a:lnTo>
                    <a:pt x="827" y="356"/>
                  </a:lnTo>
                  <a:lnTo>
                    <a:pt x="822" y="349"/>
                  </a:lnTo>
                  <a:lnTo>
                    <a:pt x="822" y="349"/>
                  </a:lnTo>
                  <a:lnTo>
                    <a:pt x="822" y="34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77" name="Freeform 524">
              <a:extLst>
                <a:ext uri="{FF2B5EF4-FFF2-40B4-BE49-F238E27FC236}">
                  <a16:creationId xmlns:a16="http://schemas.microsoft.com/office/drawing/2014/main" id="{2A47674A-2C06-4697-A271-58A72C13CE11}"/>
                </a:ext>
              </a:extLst>
            </p:cNvPr>
            <p:cNvSpPr>
              <a:spLocks/>
            </p:cNvSpPr>
            <p:nvPr/>
          </p:nvSpPr>
          <p:spPr bwMode="gray">
            <a:xfrm>
              <a:off x="9037763" y="3136643"/>
              <a:ext cx="236298" cy="126808"/>
            </a:xfrm>
            <a:custGeom>
              <a:avLst/>
              <a:gdLst>
                <a:gd name="T0" fmla="*/ 163 w 574"/>
                <a:gd name="T1" fmla="*/ 215 h 308"/>
                <a:gd name="T2" fmla="*/ 125 w 574"/>
                <a:gd name="T3" fmla="*/ 199 h 308"/>
                <a:gd name="T4" fmla="*/ 75 w 574"/>
                <a:gd name="T5" fmla="*/ 159 h 308"/>
                <a:gd name="T6" fmla="*/ 33 w 574"/>
                <a:gd name="T7" fmla="*/ 142 h 308"/>
                <a:gd name="T8" fmla="*/ 16 w 574"/>
                <a:gd name="T9" fmla="*/ 88 h 308"/>
                <a:gd name="T10" fmla="*/ 21 w 574"/>
                <a:gd name="T11" fmla="*/ 67 h 308"/>
                <a:gd name="T12" fmla="*/ 71 w 574"/>
                <a:gd name="T13" fmla="*/ 17 h 308"/>
                <a:gd name="T14" fmla="*/ 75 w 574"/>
                <a:gd name="T15" fmla="*/ 22 h 308"/>
                <a:gd name="T16" fmla="*/ 92 w 574"/>
                <a:gd name="T17" fmla="*/ 0 h 308"/>
                <a:gd name="T18" fmla="*/ 146 w 574"/>
                <a:gd name="T19" fmla="*/ 22 h 308"/>
                <a:gd name="T20" fmla="*/ 196 w 574"/>
                <a:gd name="T21" fmla="*/ 55 h 308"/>
                <a:gd name="T22" fmla="*/ 250 w 574"/>
                <a:gd name="T23" fmla="*/ 93 h 308"/>
                <a:gd name="T24" fmla="*/ 271 w 574"/>
                <a:gd name="T25" fmla="*/ 88 h 308"/>
                <a:gd name="T26" fmla="*/ 293 w 574"/>
                <a:gd name="T27" fmla="*/ 109 h 308"/>
                <a:gd name="T28" fmla="*/ 330 w 574"/>
                <a:gd name="T29" fmla="*/ 142 h 308"/>
                <a:gd name="T30" fmla="*/ 359 w 574"/>
                <a:gd name="T31" fmla="*/ 133 h 308"/>
                <a:gd name="T32" fmla="*/ 397 w 574"/>
                <a:gd name="T33" fmla="*/ 166 h 308"/>
                <a:gd name="T34" fmla="*/ 418 w 574"/>
                <a:gd name="T35" fmla="*/ 187 h 308"/>
                <a:gd name="T36" fmla="*/ 427 w 574"/>
                <a:gd name="T37" fmla="*/ 175 h 308"/>
                <a:gd name="T38" fmla="*/ 434 w 574"/>
                <a:gd name="T39" fmla="*/ 182 h 308"/>
                <a:gd name="T40" fmla="*/ 456 w 574"/>
                <a:gd name="T41" fmla="*/ 175 h 308"/>
                <a:gd name="T42" fmla="*/ 505 w 574"/>
                <a:gd name="T43" fmla="*/ 199 h 308"/>
                <a:gd name="T44" fmla="*/ 548 w 574"/>
                <a:gd name="T45" fmla="*/ 187 h 308"/>
                <a:gd name="T46" fmla="*/ 574 w 574"/>
                <a:gd name="T47" fmla="*/ 199 h 308"/>
                <a:gd name="T48" fmla="*/ 560 w 574"/>
                <a:gd name="T49" fmla="*/ 253 h 308"/>
                <a:gd name="T50" fmla="*/ 560 w 574"/>
                <a:gd name="T51" fmla="*/ 308 h 308"/>
                <a:gd name="T52" fmla="*/ 505 w 574"/>
                <a:gd name="T53" fmla="*/ 308 h 308"/>
                <a:gd name="T54" fmla="*/ 472 w 574"/>
                <a:gd name="T55" fmla="*/ 308 h 308"/>
                <a:gd name="T56" fmla="*/ 413 w 574"/>
                <a:gd name="T57" fmla="*/ 291 h 308"/>
                <a:gd name="T58" fmla="*/ 373 w 574"/>
                <a:gd name="T59" fmla="*/ 286 h 308"/>
                <a:gd name="T60" fmla="*/ 321 w 574"/>
                <a:gd name="T61" fmla="*/ 237 h 308"/>
                <a:gd name="T62" fmla="*/ 288 w 574"/>
                <a:gd name="T63" fmla="*/ 220 h 308"/>
                <a:gd name="T64" fmla="*/ 267 w 574"/>
                <a:gd name="T65" fmla="*/ 237 h 308"/>
                <a:gd name="T66" fmla="*/ 222 w 574"/>
                <a:gd name="T67" fmla="*/ 237 h 308"/>
                <a:gd name="T68" fmla="*/ 184 w 574"/>
                <a:gd name="T69" fmla="*/ 220 h 308"/>
                <a:gd name="T70" fmla="*/ 184 w 574"/>
                <a:gd name="T71" fmla="*/ 2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74" h="308">
                  <a:moveTo>
                    <a:pt x="184" y="204"/>
                  </a:moveTo>
                  <a:lnTo>
                    <a:pt x="163" y="215"/>
                  </a:lnTo>
                  <a:lnTo>
                    <a:pt x="141" y="187"/>
                  </a:lnTo>
                  <a:lnTo>
                    <a:pt x="125" y="199"/>
                  </a:lnTo>
                  <a:lnTo>
                    <a:pt x="87" y="175"/>
                  </a:lnTo>
                  <a:lnTo>
                    <a:pt x="75" y="159"/>
                  </a:lnTo>
                  <a:lnTo>
                    <a:pt x="33" y="133"/>
                  </a:lnTo>
                  <a:lnTo>
                    <a:pt x="33" y="142"/>
                  </a:lnTo>
                  <a:lnTo>
                    <a:pt x="0" y="121"/>
                  </a:lnTo>
                  <a:lnTo>
                    <a:pt x="16" y="88"/>
                  </a:lnTo>
                  <a:lnTo>
                    <a:pt x="4" y="71"/>
                  </a:lnTo>
                  <a:lnTo>
                    <a:pt x="21" y="67"/>
                  </a:lnTo>
                  <a:lnTo>
                    <a:pt x="21" y="50"/>
                  </a:lnTo>
                  <a:lnTo>
                    <a:pt x="71" y="17"/>
                  </a:lnTo>
                  <a:lnTo>
                    <a:pt x="71" y="22"/>
                  </a:lnTo>
                  <a:lnTo>
                    <a:pt x="75" y="22"/>
                  </a:lnTo>
                  <a:lnTo>
                    <a:pt x="92" y="17"/>
                  </a:lnTo>
                  <a:lnTo>
                    <a:pt x="92" y="0"/>
                  </a:lnTo>
                  <a:lnTo>
                    <a:pt x="141" y="0"/>
                  </a:lnTo>
                  <a:lnTo>
                    <a:pt x="146" y="22"/>
                  </a:lnTo>
                  <a:lnTo>
                    <a:pt x="163" y="22"/>
                  </a:lnTo>
                  <a:lnTo>
                    <a:pt x="196" y="55"/>
                  </a:lnTo>
                  <a:lnTo>
                    <a:pt x="217" y="55"/>
                  </a:lnTo>
                  <a:lnTo>
                    <a:pt x="250" y="93"/>
                  </a:lnTo>
                  <a:lnTo>
                    <a:pt x="255" y="93"/>
                  </a:lnTo>
                  <a:lnTo>
                    <a:pt x="271" y="88"/>
                  </a:lnTo>
                  <a:lnTo>
                    <a:pt x="288" y="88"/>
                  </a:lnTo>
                  <a:lnTo>
                    <a:pt x="293" y="109"/>
                  </a:lnTo>
                  <a:lnTo>
                    <a:pt x="309" y="126"/>
                  </a:lnTo>
                  <a:lnTo>
                    <a:pt x="330" y="142"/>
                  </a:lnTo>
                  <a:lnTo>
                    <a:pt x="347" y="133"/>
                  </a:lnTo>
                  <a:lnTo>
                    <a:pt x="359" y="133"/>
                  </a:lnTo>
                  <a:lnTo>
                    <a:pt x="359" y="159"/>
                  </a:lnTo>
                  <a:lnTo>
                    <a:pt x="397" y="166"/>
                  </a:lnTo>
                  <a:lnTo>
                    <a:pt x="413" y="175"/>
                  </a:lnTo>
                  <a:lnTo>
                    <a:pt x="418" y="187"/>
                  </a:lnTo>
                  <a:lnTo>
                    <a:pt x="427" y="187"/>
                  </a:lnTo>
                  <a:lnTo>
                    <a:pt x="427" y="175"/>
                  </a:lnTo>
                  <a:lnTo>
                    <a:pt x="434" y="175"/>
                  </a:lnTo>
                  <a:lnTo>
                    <a:pt x="434" y="182"/>
                  </a:lnTo>
                  <a:lnTo>
                    <a:pt x="451" y="187"/>
                  </a:lnTo>
                  <a:lnTo>
                    <a:pt x="456" y="175"/>
                  </a:lnTo>
                  <a:lnTo>
                    <a:pt x="467" y="175"/>
                  </a:lnTo>
                  <a:lnTo>
                    <a:pt x="505" y="199"/>
                  </a:lnTo>
                  <a:lnTo>
                    <a:pt x="536" y="199"/>
                  </a:lnTo>
                  <a:lnTo>
                    <a:pt x="548" y="187"/>
                  </a:lnTo>
                  <a:lnTo>
                    <a:pt x="564" y="199"/>
                  </a:lnTo>
                  <a:lnTo>
                    <a:pt x="574" y="199"/>
                  </a:lnTo>
                  <a:lnTo>
                    <a:pt x="564" y="220"/>
                  </a:lnTo>
                  <a:lnTo>
                    <a:pt x="560" y="253"/>
                  </a:lnTo>
                  <a:lnTo>
                    <a:pt x="574" y="286"/>
                  </a:lnTo>
                  <a:lnTo>
                    <a:pt x="560" y="308"/>
                  </a:lnTo>
                  <a:lnTo>
                    <a:pt x="548" y="298"/>
                  </a:lnTo>
                  <a:lnTo>
                    <a:pt x="505" y="308"/>
                  </a:lnTo>
                  <a:lnTo>
                    <a:pt x="489" y="298"/>
                  </a:lnTo>
                  <a:lnTo>
                    <a:pt x="472" y="308"/>
                  </a:lnTo>
                  <a:lnTo>
                    <a:pt x="418" y="286"/>
                  </a:lnTo>
                  <a:lnTo>
                    <a:pt x="413" y="291"/>
                  </a:lnTo>
                  <a:lnTo>
                    <a:pt x="385" y="270"/>
                  </a:lnTo>
                  <a:lnTo>
                    <a:pt x="373" y="286"/>
                  </a:lnTo>
                  <a:lnTo>
                    <a:pt x="326" y="258"/>
                  </a:lnTo>
                  <a:lnTo>
                    <a:pt x="321" y="237"/>
                  </a:lnTo>
                  <a:lnTo>
                    <a:pt x="293" y="232"/>
                  </a:lnTo>
                  <a:lnTo>
                    <a:pt x="288" y="220"/>
                  </a:lnTo>
                  <a:lnTo>
                    <a:pt x="267" y="232"/>
                  </a:lnTo>
                  <a:lnTo>
                    <a:pt x="267" y="237"/>
                  </a:lnTo>
                  <a:lnTo>
                    <a:pt x="234" y="232"/>
                  </a:lnTo>
                  <a:lnTo>
                    <a:pt x="222" y="237"/>
                  </a:lnTo>
                  <a:lnTo>
                    <a:pt x="217" y="232"/>
                  </a:lnTo>
                  <a:lnTo>
                    <a:pt x="184" y="220"/>
                  </a:lnTo>
                  <a:lnTo>
                    <a:pt x="184" y="204"/>
                  </a:lnTo>
                  <a:lnTo>
                    <a:pt x="184" y="204"/>
                  </a:lnTo>
                  <a:lnTo>
                    <a:pt x="184" y="20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78" name="Freeform 531">
              <a:extLst>
                <a:ext uri="{FF2B5EF4-FFF2-40B4-BE49-F238E27FC236}">
                  <a16:creationId xmlns:a16="http://schemas.microsoft.com/office/drawing/2014/main" id="{E797E004-FCC9-4525-B80F-6B7CDC3EA7B5}"/>
                </a:ext>
              </a:extLst>
            </p:cNvPr>
            <p:cNvSpPr>
              <a:spLocks noEditPoints="1"/>
            </p:cNvSpPr>
            <p:nvPr/>
          </p:nvSpPr>
          <p:spPr bwMode="gray">
            <a:xfrm>
              <a:off x="8483244" y="2915139"/>
              <a:ext cx="491122" cy="433537"/>
            </a:xfrm>
            <a:custGeom>
              <a:avLst/>
              <a:gdLst>
                <a:gd name="T0" fmla="*/ 248 w 1193"/>
                <a:gd name="T1" fmla="*/ 605 h 1053"/>
                <a:gd name="T2" fmla="*/ 378 w 1193"/>
                <a:gd name="T3" fmla="*/ 560 h 1053"/>
                <a:gd name="T4" fmla="*/ 399 w 1193"/>
                <a:gd name="T5" fmla="*/ 494 h 1053"/>
                <a:gd name="T6" fmla="*/ 485 w 1193"/>
                <a:gd name="T7" fmla="*/ 460 h 1053"/>
                <a:gd name="T8" fmla="*/ 539 w 1193"/>
                <a:gd name="T9" fmla="*/ 427 h 1053"/>
                <a:gd name="T10" fmla="*/ 577 w 1193"/>
                <a:gd name="T11" fmla="*/ 439 h 1053"/>
                <a:gd name="T12" fmla="*/ 598 w 1193"/>
                <a:gd name="T13" fmla="*/ 349 h 1053"/>
                <a:gd name="T14" fmla="*/ 664 w 1193"/>
                <a:gd name="T15" fmla="*/ 300 h 1053"/>
                <a:gd name="T16" fmla="*/ 643 w 1193"/>
                <a:gd name="T17" fmla="*/ 262 h 1053"/>
                <a:gd name="T18" fmla="*/ 723 w 1193"/>
                <a:gd name="T19" fmla="*/ 222 h 1053"/>
                <a:gd name="T20" fmla="*/ 749 w 1193"/>
                <a:gd name="T21" fmla="*/ 168 h 1053"/>
                <a:gd name="T22" fmla="*/ 749 w 1193"/>
                <a:gd name="T23" fmla="*/ 94 h 1053"/>
                <a:gd name="T24" fmla="*/ 756 w 1193"/>
                <a:gd name="T25" fmla="*/ 52 h 1053"/>
                <a:gd name="T26" fmla="*/ 900 w 1193"/>
                <a:gd name="T27" fmla="*/ 7 h 1053"/>
                <a:gd name="T28" fmla="*/ 966 w 1193"/>
                <a:gd name="T29" fmla="*/ 0 h 1053"/>
                <a:gd name="T30" fmla="*/ 1042 w 1193"/>
                <a:gd name="T31" fmla="*/ 23 h 1053"/>
                <a:gd name="T32" fmla="*/ 1073 w 1193"/>
                <a:gd name="T33" fmla="*/ 90 h 1053"/>
                <a:gd name="T34" fmla="*/ 1127 w 1193"/>
                <a:gd name="T35" fmla="*/ 118 h 1053"/>
                <a:gd name="T36" fmla="*/ 1127 w 1193"/>
                <a:gd name="T37" fmla="*/ 189 h 1053"/>
                <a:gd name="T38" fmla="*/ 1042 w 1193"/>
                <a:gd name="T39" fmla="*/ 205 h 1053"/>
                <a:gd name="T40" fmla="*/ 922 w 1193"/>
                <a:gd name="T41" fmla="*/ 229 h 1053"/>
                <a:gd name="T42" fmla="*/ 933 w 1193"/>
                <a:gd name="T43" fmla="*/ 283 h 1053"/>
                <a:gd name="T44" fmla="*/ 971 w 1193"/>
                <a:gd name="T45" fmla="*/ 349 h 1053"/>
                <a:gd name="T46" fmla="*/ 1018 w 1193"/>
                <a:gd name="T47" fmla="*/ 387 h 1053"/>
                <a:gd name="T48" fmla="*/ 955 w 1193"/>
                <a:gd name="T49" fmla="*/ 427 h 1053"/>
                <a:gd name="T50" fmla="*/ 966 w 1193"/>
                <a:gd name="T51" fmla="*/ 477 h 1053"/>
                <a:gd name="T52" fmla="*/ 917 w 1193"/>
                <a:gd name="T53" fmla="*/ 555 h 1053"/>
                <a:gd name="T54" fmla="*/ 794 w 1193"/>
                <a:gd name="T55" fmla="*/ 687 h 1053"/>
                <a:gd name="T56" fmla="*/ 695 w 1193"/>
                <a:gd name="T57" fmla="*/ 742 h 1053"/>
                <a:gd name="T58" fmla="*/ 610 w 1193"/>
                <a:gd name="T59" fmla="*/ 827 h 1053"/>
                <a:gd name="T60" fmla="*/ 664 w 1193"/>
                <a:gd name="T61" fmla="*/ 902 h 1053"/>
                <a:gd name="T62" fmla="*/ 718 w 1193"/>
                <a:gd name="T63" fmla="*/ 980 h 1053"/>
                <a:gd name="T64" fmla="*/ 695 w 1193"/>
                <a:gd name="T65" fmla="*/ 1013 h 1053"/>
                <a:gd name="T66" fmla="*/ 643 w 1193"/>
                <a:gd name="T67" fmla="*/ 1020 h 1053"/>
                <a:gd name="T68" fmla="*/ 555 w 1193"/>
                <a:gd name="T69" fmla="*/ 1001 h 1053"/>
                <a:gd name="T70" fmla="*/ 518 w 1193"/>
                <a:gd name="T71" fmla="*/ 1037 h 1053"/>
                <a:gd name="T72" fmla="*/ 501 w 1193"/>
                <a:gd name="T73" fmla="*/ 1046 h 1053"/>
                <a:gd name="T74" fmla="*/ 468 w 1193"/>
                <a:gd name="T75" fmla="*/ 1037 h 1053"/>
                <a:gd name="T76" fmla="*/ 437 w 1193"/>
                <a:gd name="T77" fmla="*/ 980 h 1053"/>
                <a:gd name="T78" fmla="*/ 399 w 1193"/>
                <a:gd name="T79" fmla="*/ 926 h 1053"/>
                <a:gd name="T80" fmla="*/ 383 w 1193"/>
                <a:gd name="T81" fmla="*/ 909 h 1053"/>
                <a:gd name="T82" fmla="*/ 265 w 1193"/>
                <a:gd name="T83" fmla="*/ 935 h 1053"/>
                <a:gd name="T84" fmla="*/ 220 w 1193"/>
                <a:gd name="T85" fmla="*/ 926 h 1053"/>
                <a:gd name="T86" fmla="*/ 69 w 1193"/>
                <a:gd name="T87" fmla="*/ 947 h 1053"/>
                <a:gd name="T88" fmla="*/ 59 w 1193"/>
                <a:gd name="T89" fmla="*/ 893 h 1053"/>
                <a:gd name="T90" fmla="*/ 97 w 1193"/>
                <a:gd name="T91" fmla="*/ 848 h 1053"/>
                <a:gd name="T92" fmla="*/ 161 w 1193"/>
                <a:gd name="T93" fmla="*/ 831 h 1053"/>
                <a:gd name="T94" fmla="*/ 140 w 1193"/>
                <a:gd name="T95" fmla="*/ 782 h 1053"/>
                <a:gd name="T96" fmla="*/ 107 w 1193"/>
                <a:gd name="T97" fmla="*/ 687 h 1053"/>
                <a:gd name="T98" fmla="*/ 0 w 1193"/>
                <a:gd name="T99" fmla="*/ 576 h 1053"/>
                <a:gd name="T100" fmla="*/ 166 w 1193"/>
                <a:gd name="T101" fmla="*/ 609 h 1053"/>
                <a:gd name="T102" fmla="*/ 463 w 1193"/>
                <a:gd name="T103" fmla="*/ 1030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93" h="1053">
                  <a:moveTo>
                    <a:pt x="166" y="609"/>
                  </a:moveTo>
                  <a:lnTo>
                    <a:pt x="194" y="605"/>
                  </a:lnTo>
                  <a:lnTo>
                    <a:pt x="220" y="609"/>
                  </a:lnTo>
                  <a:lnTo>
                    <a:pt x="248" y="605"/>
                  </a:lnTo>
                  <a:lnTo>
                    <a:pt x="291" y="605"/>
                  </a:lnTo>
                  <a:lnTo>
                    <a:pt x="378" y="576"/>
                  </a:lnTo>
                  <a:lnTo>
                    <a:pt x="383" y="571"/>
                  </a:lnTo>
                  <a:lnTo>
                    <a:pt x="378" y="560"/>
                  </a:lnTo>
                  <a:lnTo>
                    <a:pt x="383" y="548"/>
                  </a:lnTo>
                  <a:lnTo>
                    <a:pt x="383" y="522"/>
                  </a:lnTo>
                  <a:lnTo>
                    <a:pt x="392" y="494"/>
                  </a:lnTo>
                  <a:lnTo>
                    <a:pt x="399" y="494"/>
                  </a:lnTo>
                  <a:lnTo>
                    <a:pt x="416" y="465"/>
                  </a:lnTo>
                  <a:lnTo>
                    <a:pt x="430" y="460"/>
                  </a:lnTo>
                  <a:lnTo>
                    <a:pt x="454" y="465"/>
                  </a:lnTo>
                  <a:lnTo>
                    <a:pt x="485" y="460"/>
                  </a:lnTo>
                  <a:lnTo>
                    <a:pt x="468" y="444"/>
                  </a:lnTo>
                  <a:lnTo>
                    <a:pt x="501" y="439"/>
                  </a:lnTo>
                  <a:lnTo>
                    <a:pt x="518" y="423"/>
                  </a:lnTo>
                  <a:lnTo>
                    <a:pt x="539" y="427"/>
                  </a:lnTo>
                  <a:lnTo>
                    <a:pt x="534" y="427"/>
                  </a:lnTo>
                  <a:lnTo>
                    <a:pt x="539" y="423"/>
                  </a:lnTo>
                  <a:lnTo>
                    <a:pt x="560" y="444"/>
                  </a:lnTo>
                  <a:lnTo>
                    <a:pt x="577" y="439"/>
                  </a:lnTo>
                  <a:lnTo>
                    <a:pt x="593" y="411"/>
                  </a:lnTo>
                  <a:lnTo>
                    <a:pt x="593" y="371"/>
                  </a:lnTo>
                  <a:lnTo>
                    <a:pt x="598" y="354"/>
                  </a:lnTo>
                  <a:lnTo>
                    <a:pt x="598" y="349"/>
                  </a:lnTo>
                  <a:lnTo>
                    <a:pt x="610" y="338"/>
                  </a:lnTo>
                  <a:lnTo>
                    <a:pt x="610" y="328"/>
                  </a:lnTo>
                  <a:lnTo>
                    <a:pt x="648" y="316"/>
                  </a:lnTo>
                  <a:lnTo>
                    <a:pt x="664" y="300"/>
                  </a:lnTo>
                  <a:lnTo>
                    <a:pt x="652" y="283"/>
                  </a:lnTo>
                  <a:lnTo>
                    <a:pt x="652" y="272"/>
                  </a:lnTo>
                  <a:lnTo>
                    <a:pt x="643" y="272"/>
                  </a:lnTo>
                  <a:lnTo>
                    <a:pt x="643" y="262"/>
                  </a:lnTo>
                  <a:lnTo>
                    <a:pt x="631" y="246"/>
                  </a:lnTo>
                  <a:lnTo>
                    <a:pt x="681" y="255"/>
                  </a:lnTo>
                  <a:lnTo>
                    <a:pt x="718" y="246"/>
                  </a:lnTo>
                  <a:lnTo>
                    <a:pt x="723" y="222"/>
                  </a:lnTo>
                  <a:lnTo>
                    <a:pt x="707" y="205"/>
                  </a:lnTo>
                  <a:lnTo>
                    <a:pt x="718" y="201"/>
                  </a:lnTo>
                  <a:lnTo>
                    <a:pt x="718" y="189"/>
                  </a:lnTo>
                  <a:lnTo>
                    <a:pt x="749" y="168"/>
                  </a:lnTo>
                  <a:lnTo>
                    <a:pt x="756" y="151"/>
                  </a:lnTo>
                  <a:lnTo>
                    <a:pt x="749" y="144"/>
                  </a:lnTo>
                  <a:lnTo>
                    <a:pt x="756" y="134"/>
                  </a:lnTo>
                  <a:lnTo>
                    <a:pt x="749" y="94"/>
                  </a:lnTo>
                  <a:lnTo>
                    <a:pt x="723" y="78"/>
                  </a:lnTo>
                  <a:lnTo>
                    <a:pt x="733" y="73"/>
                  </a:lnTo>
                  <a:lnTo>
                    <a:pt x="756" y="57"/>
                  </a:lnTo>
                  <a:lnTo>
                    <a:pt x="756" y="52"/>
                  </a:lnTo>
                  <a:lnTo>
                    <a:pt x="761" y="52"/>
                  </a:lnTo>
                  <a:lnTo>
                    <a:pt x="794" y="23"/>
                  </a:lnTo>
                  <a:lnTo>
                    <a:pt x="825" y="19"/>
                  </a:lnTo>
                  <a:lnTo>
                    <a:pt x="900" y="7"/>
                  </a:lnTo>
                  <a:lnTo>
                    <a:pt x="922" y="19"/>
                  </a:lnTo>
                  <a:lnTo>
                    <a:pt x="955" y="0"/>
                  </a:lnTo>
                  <a:lnTo>
                    <a:pt x="966" y="7"/>
                  </a:lnTo>
                  <a:lnTo>
                    <a:pt x="966" y="0"/>
                  </a:lnTo>
                  <a:lnTo>
                    <a:pt x="1004" y="0"/>
                  </a:lnTo>
                  <a:lnTo>
                    <a:pt x="1018" y="7"/>
                  </a:lnTo>
                  <a:lnTo>
                    <a:pt x="1025" y="23"/>
                  </a:lnTo>
                  <a:lnTo>
                    <a:pt x="1042" y="23"/>
                  </a:lnTo>
                  <a:lnTo>
                    <a:pt x="1056" y="35"/>
                  </a:lnTo>
                  <a:lnTo>
                    <a:pt x="1063" y="61"/>
                  </a:lnTo>
                  <a:lnTo>
                    <a:pt x="1056" y="78"/>
                  </a:lnTo>
                  <a:lnTo>
                    <a:pt x="1073" y="90"/>
                  </a:lnTo>
                  <a:lnTo>
                    <a:pt x="1080" y="106"/>
                  </a:lnTo>
                  <a:lnTo>
                    <a:pt x="1101" y="94"/>
                  </a:lnTo>
                  <a:lnTo>
                    <a:pt x="1101" y="106"/>
                  </a:lnTo>
                  <a:lnTo>
                    <a:pt x="1127" y="118"/>
                  </a:lnTo>
                  <a:lnTo>
                    <a:pt x="1165" y="127"/>
                  </a:lnTo>
                  <a:lnTo>
                    <a:pt x="1193" y="127"/>
                  </a:lnTo>
                  <a:lnTo>
                    <a:pt x="1132" y="160"/>
                  </a:lnTo>
                  <a:lnTo>
                    <a:pt x="1127" y="189"/>
                  </a:lnTo>
                  <a:lnTo>
                    <a:pt x="1094" y="184"/>
                  </a:lnTo>
                  <a:lnTo>
                    <a:pt x="1073" y="201"/>
                  </a:lnTo>
                  <a:lnTo>
                    <a:pt x="1063" y="201"/>
                  </a:lnTo>
                  <a:lnTo>
                    <a:pt x="1042" y="205"/>
                  </a:lnTo>
                  <a:lnTo>
                    <a:pt x="950" y="184"/>
                  </a:lnTo>
                  <a:lnTo>
                    <a:pt x="917" y="201"/>
                  </a:lnTo>
                  <a:lnTo>
                    <a:pt x="912" y="217"/>
                  </a:lnTo>
                  <a:lnTo>
                    <a:pt x="922" y="229"/>
                  </a:lnTo>
                  <a:lnTo>
                    <a:pt x="917" y="238"/>
                  </a:lnTo>
                  <a:lnTo>
                    <a:pt x="938" y="246"/>
                  </a:lnTo>
                  <a:lnTo>
                    <a:pt x="922" y="272"/>
                  </a:lnTo>
                  <a:lnTo>
                    <a:pt x="933" y="283"/>
                  </a:lnTo>
                  <a:lnTo>
                    <a:pt x="922" y="316"/>
                  </a:lnTo>
                  <a:lnTo>
                    <a:pt x="950" y="328"/>
                  </a:lnTo>
                  <a:lnTo>
                    <a:pt x="950" y="349"/>
                  </a:lnTo>
                  <a:lnTo>
                    <a:pt x="971" y="349"/>
                  </a:lnTo>
                  <a:lnTo>
                    <a:pt x="971" y="371"/>
                  </a:lnTo>
                  <a:lnTo>
                    <a:pt x="992" y="371"/>
                  </a:lnTo>
                  <a:lnTo>
                    <a:pt x="1018" y="383"/>
                  </a:lnTo>
                  <a:lnTo>
                    <a:pt x="1018" y="387"/>
                  </a:lnTo>
                  <a:lnTo>
                    <a:pt x="1009" y="404"/>
                  </a:lnTo>
                  <a:lnTo>
                    <a:pt x="988" y="404"/>
                  </a:lnTo>
                  <a:lnTo>
                    <a:pt x="966" y="423"/>
                  </a:lnTo>
                  <a:lnTo>
                    <a:pt x="955" y="427"/>
                  </a:lnTo>
                  <a:lnTo>
                    <a:pt x="966" y="449"/>
                  </a:lnTo>
                  <a:lnTo>
                    <a:pt x="955" y="477"/>
                  </a:lnTo>
                  <a:lnTo>
                    <a:pt x="966" y="482"/>
                  </a:lnTo>
                  <a:lnTo>
                    <a:pt x="966" y="477"/>
                  </a:lnTo>
                  <a:lnTo>
                    <a:pt x="971" y="482"/>
                  </a:lnTo>
                  <a:lnTo>
                    <a:pt x="950" y="498"/>
                  </a:lnTo>
                  <a:lnTo>
                    <a:pt x="917" y="538"/>
                  </a:lnTo>
                  <a:lnTo>
                    <a:pt x="917" y="555"/>
                  </a:lnTo>
                  <a:lnTo>
                    <a:pt x="879" y="571"/>
                  </a:lnTo>
                  <a:lnTo>
                    <a:pt x="846" y="642"/>
                  </a:lnTo>
                  <a:lnTo>
                    <a:pt x="808" y="666"/>
                  </a:lnTo>
                  <a:lnTo>
                    <a:pt x="794" y="687"/>
                  </a:lnTo>
                  <a:lnTo>
                    <a:pt x="777" y="716"/>
                  </a:lnTo>
                  <a:lnTo>
                    <a:pt x="777" y="725"/>
                  </a:lnTo>
                  <a:lnTo>
                    <a:pt x="702" y="742"/>
                  </a:lnTo>
                  <a:lnTo>
                    <a:pt x="695" y="742"/>
                  </a:lnTo>
                  <a:lnTo>
                    <a:pt x="685" y="720"/>
                  </a:lnTo>
                  <a:lnTo>
                    <a:pt x="669" y="720"/>
                  </a:lnTo>
                  <a:lnTo>
                    <a:pt x="614" y="782"/>
                  </a:lnTo>
                  <a:lnTo>
                    <a:pt x="610" y="827"/>
                  </a:lnTo>
                  <a:lnTo>
                    <a:pt x="631" y="831"/>
                  </a:lnTo>
                  <a:lnTo>
                    <a:pt x="652" y="836"/>
                  </a:lnTo>
                  <a:lnTo>
                    <a:pt x="648" y="881"/>
                  </a:lnTo>
                  <a:lnTo>
                    <a:pt x="664" y="902"/>
                  </a:lnTo>
                  <a:lnTo>
                    <a:pt x="685" y="902"/>
                  </a:lnTo>
                  <a:lnTo>
                    <a:pt x="695" y="926"/>
                  </a:lnTo>
                  <a:lnTo>
                    <a:pt x="702" y="942"/>
                  </a:lnTo>
                  <a:lnTo>
                    <a:pt x="718" y="980"/>
                  </a:lnTo>
                  <a:lnTo>
                    <a:pt x="707" y="980"/>
                  </a:lnTo>
                  <a:lnTo>
                    <a:pt x="707" y="997"/>
                  </a:lnTo>
                  <a:lnTo>
                    <a:pt x="718" y="997"/>
                  </a:lnTo>
                  <a:lnTo>
                    <a:pt x="695" y="1013"/>
                  </a:lnTo>
                  <a:lnTo>
                    <a:pt x="685" y="1013"/>
                  </a:lnTo>
                  <a:lnTo>
                    <a:pt x="681" y="997"/>
                  </a:lnTo>
                  <a:lnTo>
                    <a:pt x="648" y="1001"/>
                  </a:lnTo>
                  <a:lnTo>
                    <a:pt x="643" y="1020"/>
                  </a:lnTo>
                  <a:lnTo>
                    <a:pt x="626" y="1020"/>
                  </a:lnTo>
                  <a:lnTo>
                    <a:pt x="614" y="1013"/>
                  </a:lnTo>
                  <a:lnTo>
                    <a:pt x="572" y="1013"/>
                  </a:lnTo>
                  <a:lnTo>
                    <a:pt x="555" y="1001"/>
                  </a:lnTo>
                  <a:lnTo>
                    <a:pt x="555" y="1037"/>
                  </a:lnTo>
                  <a:lnTo>
                    <a:pt x="522" y="1037"/>
                  </a:lnTo>
                  <a:lnTo>
                    <a:pt x="518" y="1046"/>
                  </a:lnTo>
                  <a:lnTo>
                    <a:pt x="518" y="1037"/>
                  </a:lnTo>
                  <a:lnTo>
                    <a:pt x="518" y="1053"/>
                  </a:lnTo>
                  <a:lnTo>
                    <a:pt x="506" y="1053"/>
                  </a:lnTo>
                  <a:lnTo>
                    <a:pt x="501" y="1037"/>
                  </a:lnTo>
                  <a:lnTo>
                    <a:pt x="501" y="1046"/>
                  </a:lnTo>
                  <a:lnTo>
                    <a:pt x="492" y="1037"/>
                  </a:lnTo>
                  <a:lnTo>
                    <a:pt x="492" y="1046"/>
                  </a:lnTo>
                  <a:lnTo>
                    <a:pt x="485" y="1046"/>
                  </a:lnTo>
                  <a:lnTo>
                    <a:pt x="468" y="1037"/>
                  </a:lnTo>
                  <a:lnTo>
                    <a:pt x="468" y="1037"/>
                  </a:lnTo>
                  <a:lnTo>
                    <a:pt x="463" y="1030"/>
                  </a:lnTo>
                  <a:lnTo>
                    <a:pt x="454" y="1020"/>
                  </a:lnTo>
                  <a:lnTo>
                    <a:pt x="437" y="980"/>
                  </a:lnTo>
                  <a:lnTo>
                    <a:pt x="447" y="975"/>
                  </a:lnTo>
                  <a:lnTo>
                    <a:pt x="409" y="964"/>
                  </a:lnTo>
                  <a:lnTo>
                    <a:pt x="416" y="942"/>
                  </a:lnTo>
                  <a:lnTo>
                    <a:pt x="399" y="926"/>
                  </a:lnTo>
                  <a:lnTo>
                    <a:pt x="399" y="919"/>
                  </a:lnTo>
                  <a:lnTo>
                    <a:pt x="383" y="909"/>
                  </a:lnTo>
                  <a:lnTo>
                    <a:pt x="371" y="919"/>
                  </a:lnTo>
                  <a:lnTo>
                    <a:pt x="383" y="909"/>
                  </a:lnTo>
                  <a:lnTo>
                    <a:pt x="399" y="926"/>
                  </a:lnTo>
                  <a:lnTo>
                    <a:pt x="274" y="926"/>
                  </a:lnTo>
                  <a:lnTo>
                    <a:pt x="270" y="942"/>
                  </a:lnTo>
                  <a:lnTo>
                    <a:pt x="265" y="935"/>
                  </a:lnTo>
                  <a:lnTo>
                    <a:pt x="232" y="926"/>
                  </a:lnTo>
                  <a:lnTo>
                    <a:pt x="232" y="919"/>
                  </a:lnTo>
                  <a:lnTo>
                    <a:pt x="220" y="926"/>
                  </a:lnTo>
                  <a:lnTo>
                    <a:pt x="220" y="926"/>
                  </a:lnTo>
                  <a:lnTo>
                    <a:pt x="199" y="926"/>
                  </a:lnTo>
                  <a:lnTo>
                    <a:pt x="182" y="935"/>
                  </a:lnTo>
                  <a:lnTo>
                    <a:pt x="90" y="942"/>
                  </a:lnTo>
                  <a:lnTo>
                    <a:pt x="69" y="947"/>
                  </a:lnTo>
                  <a:lnTo>
                    <a:pt x="59" y="947"/>
                  </a:lnTo>
                  <a:lnTo>
                    <a:pt x="69" y="942"/>
                  </a:lnTo>
                  <a:lnTo>
                    <a:pt x="52" y="942"/>
                  </a:lnTo>
                  <a:lnTo>
                    <a:pt x="59" y="893"/>
                  </a:lnTo>
                  <a:lnTo>
                    <a:pt x="69" y="893"/>
                  </a:lnTo>
                  <a:lnTo>
                    <a:pt x="69" y="864"/>
                  </a:lnTo>
                  <a:lnTo>
                    <a:pt x="90" y="848"/>
                  </a:lnTo>
                  <a:lnTo>
                    <a:pt x="97" y="848"/>
                  </a:lnTo>
                  <a:lnTo>
                    <a:pt x="97" y="836"/>
                  </a:lnTo>
                  <a:lnTo>
                    <a:pt x="114" y="831"/>
                  </a:lnTo>
                  <a:lnTo>
                    <a:pt x="140" y="831"/>
                  </a:lnTo>
                  <a:lnTo>
                    <a:pt x="161" y="831"/>
                  </a:lnTo>
                  <a:lnTo>
                    <a:pt x="166" y="791"/>
                  </a:lnTo>
                  <a:lnTo>
                    <a:pt x="177" y="791"/>
                  </a:lnTo>
                  <a:lnTo>
                    <a:pt x="166" y="775"/>
                  </a:lnTo>
                  <a:lnTo>
                    <a:pt x="140" y="782"/>
                  </a:lnTo>
                  <a:lnTo>
                    <a:pt x="140" y="770"/>
                  </a:lnTo>
                  <a:lnTo>
                    <a:pt x="140" y="704"/>
                  </a:lnTo>
                  <a:lnTo>
                    <a:pt x="123" y="704"/>
                  </a:lnTo>
                  <a:lnTo>
                    <a:pt x="107" y="687"/>
                  </a:lnTo>
                  <a:lnTo>
                    <a:pt x="76" y="683"/>
                  </a:lnTo>
                  <a:lnTo>
                    <a:pt x="52" y="666"/>
                  </a:lnTo>
                  <a:lnTo>
                    <a:pt x="31" y="616"/>
                  </a:lnTo>
                  <a:lnTo>
                    <a:pt x="0" y="576"/>
                  </a:lnTo>
                  <a:lnTo>
                    <a:pt x="114" y="609"/>
                  </a:lnTo>
                  <a:lnTo>
                    <a:pt x="166" y="609"/>
                  </a:lnTo>
                  <a:lnTo>
                    <a:pt x="166" y="609"/>
                  </a:lnTo>
                  <a:lnTo>
                    <a:pt x="166" y="609"/>
                  </a:lnTo>
                  <a:close/>
                  <a:moveTo>
                    <a:pt x="463" y="1030"/>
                  </a:moveTo>
                  <a:lnTo>
                    <a:pt x="463" y="1030"/>
                  </a:lnTo>
                  <a:lnTo>
                    <a:pt x="463" y="1030"/>
                  </a:lnTo>
                  <a:lnTo>
                    <a:pt x="463" y="1030"/>
                  </a:lnTo>
                  <a:lnTo>
                    <a:pt x="463" y="1030"/>
                  </a:lnTo>
                  <a:lnTo>
                    <a:pt x="463" y="103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79" name="Freeform 535">
              <a:extLst>
                <a:ext uri="{FF2B5EF4-FFF2-40B4-BE49-F238E27FC236}">
                  <a16:creationId xmlns:a16="http://schemas.microsoft.com/office/drawing/2014/main" id="{5EBACD2B-B347-44AF-952F-7C5ABC7092C3}"/>
                </a:ext>
              </a:extLst>
            </p:cNvPr>
            <p:cNvSpPr>
              <a:spLocks noEditPoints="1"/>
            </p:cNvSpPr>
            <p:nvPr/>
          </p:nvSpPr>
          <p:spPr bwMode="gray">
            <a:xfrm>
              <a:off x="10793949" y="4106233"/>
              <a:ext cx="434724" cy="305494"/>
            </a:xfrm>
            <a:custGeom>
              <a:avLst/>
              <a:gdLst>
                <a:gd name="T0" fmla="*/ 616 w 1056"/>
                <a:gd name="T1" fmla="*/ 17 h 742"/>
                <a:gd name="T2" fmla="*/ 394 w 1056"/>
                <a:gd name="T3" fmla="*/ 62 h 742"/>
                <a:gd name="T4" fmla="*/ 482 w 1056"/>
                <a:gd name="T5" fmla="*/ 71 h 742"/>
                <a:gd name="T6" fmla="*/ 666 w 1056"/>
                <a:gd name="T7" fmla="*/ 95 h 742"/>
                <a:gd name="T8" fmla="*/ 666 w 1056"/>
                <a:gd name="T9" fmla="*/ 95 h 742"/>
                <a:gd name="T10" fmla="*/ 860 w 1056"/>
                <a:gd name="T11" fmla="*/ 227 h 742"/>
                <a:gd name="T12" fmla="*/ 789 w 1056"/>
                <a:gd name="T13" fmla="*/ 149 h 742"/>
                <a:gd name="T14" fmla="*/ 768 w 1056"/>
                <a:gd name="T15" fmla="*/ 133 h 742"/>
                <a:gd name="T16" fmla="*/ 9 w 1056"/>
                <a:gd name="T17" fmla="*/ 393 h 742"/>
                <a:gd name="T18" fmla="*/ 118 w 1056"/>
                <a:gd name="T19" fmla="*/ 133 h 742"/>
                <a:gd name="T20" fmla="*/ 253 w 1056"/>
                <a:gd name="T21" fmla="*/ 189 h 742"/>
                <a:gd name="T22" fmla="*/ 340 w 1056"/>
                <a:gd name="T23" fmla="*/ 300 h 742"/>
                <a:gd name="T24" fmla="*/ 470 w 1056"/>
                <a:gd name="T25" fmla="*/ 388 h 742"/>
                <a:gd name="T26" fmla="*/ 482 w 1056"/>
                <a:gd name="T27" fmla="*/ 471 h 742"/>
                <a:gd name="T28" fmla="*/ 595 w 1056"/>
                <a:gd name="T29" fmla="*/ 560 h 742"/>
                <a:gd name="T30" fmla="*/ 616 w 1056"/>
                <a:gd name="T31" fmla="*/ 610 h 742"/>
                <a:gd name="T32" fmla="*/ 666 w 1056"/>
                <a:gd name="T33" fmla="*/ 648 h 742"/>
                <a:gd name="T34" fmla="*/ 616 w 1056"/>
                <a:gd name="T35" fmla="*/ 648 h 742"/>
                <a:gd name="T36" fmla="*/ 470 w 1056"/>
                <a:gd name="T37" fmla="*/ 626 h 742"/>
                <a:gd name="T38" fmla="*/ 399 w 1056"/>
                <a:gd name="T39" fmla="*/ 553 h 742"/>
                <a:gd name="T40" fmla="*/ 253 w 1056"/>
                <a:gd name="T41" fmla="*/ 449 h 742"/>
                <a:gd name="T42" fmla="*/ 238 w 1056"/>
                <a:gd name="T43" fmla="*/ 449 h 742"/>
                <a:gd name="T44" fmla="*/ 172 w 1056"/>
                <a:gd name="T45" fmla="*/ 471 h 742"/>
                <a:gd name="T46" fmla="*/ 101 w 1056"/>
                <a:gd name="T47" fmla="*/ 487 h 742"/>
                <a:gd name="T48" fmla="*/ 177 w 1056"/>
                <a:gd name="T49" fmla="*/ 537 h 742"/>
                <a:gd name="T50" fmla="*/ 47 w 1056"/>
                <a:gd name="T51" fmla="*/ 570 h 742"/>
                <a:gd name="T52" fmla="*/ 775 w 1056"/>
                <a:gd name="T53" fmla="*/ 100 h 742"/>
                <a:gd name="T54" fmla="*/ 697 w 1056"/>
                <a:gd name="T55" fmla="*/ 116 h 742"/>
                <a:gd name="T56" fmla="*/ 827 w 1056"/>
                <a:gd name="T57" fmla="*/ 133 h 742"/>
                <a:gd name="T58" fmla="*/ 897 w 1056"/>
                <a:gd name="T59" fmla="*/ 194 h 742"/>
                <a:gd name="T60" fmla="*/ 687 w 1056"/>
                <a:gd name="T61" fmla="*/ 338 h 742"/>
                <a:gd name="T62" fmla="*/ 553 w 1056"/>
                <a:gd name="T63" fmla="*/ 322 h 742"/>
                <a:gd name="T64" fmla="*/ 633 w 1056"/>
                <a:gd name="T65" fmla="*/ 300 h 742"/>
                <a:gd name="T66" fmla="*/ 642 w 1056"/>
                <a:gd name="T67" fmla="*/ 284 h 742"/>
                <a:gd name="T68" fmla="*/ 730 w 1056"/>
                <a:gd name="T69" fmla="*/ 260 h 742"/>
                <a:gd name="T70" fmla="*/ 789 w 1056"/>
                <a:gd name="T71" fmla="*/ 211 h 742"/>
                <a:gd name="T72" fmla="*/ 789 w 1056"/>
                <a:gd name="T73" fmla="*/ 284 h 742"/>
                <a:gd name="T74" fmla="*/ 687 w 1056"/>
                <a:gd name="T75" fmla="*/ 338 h 742"/>
                <a:gd name="T76" fmla="*/ 357 w 1056"/>
                <a:gd name="T77" fmla="*/ 244 h 742"/>
                <a:gd name="T78" fmla="*/ 612 w 1056"/>
                <a:gd name="T79" fmla="*/ 244 h 742"/>
                <a:gd name="T80" fmla="*/ 973 w 1056"/>
                <a:gd name="T81" fmla="*/ 277 h 742"/>
                <a:gd name="T82" fmla="*/ 432 w 1056"/>
                <a:gd name="T83" fmla="*/ 277 h 742"/>
                <a:gd name="T84" fmla="*/ 1023 w 1056"/>
                <a:gd name="T85" fmla="*/ 350 h 742"/>
                <a:gd name="T86" fmla="*/ 1006 w 1056"/>
                <a:gd name="T87" fmla="*/ 371 h 742"/>
                <a:gd name="T88" fmla="*/ 1006 w 1056"/>
                <a:gd name="T89" fmla="*/ 322 h 742"/>
                <a:gd name="T90" fmla="*/ 482 w 1056"/>
                <a:gd name="T91" fmla="*/ 300 h 742"/>
                <a:gd name="T92" fmla="*/ 194 w 1056"/>
                <a:gd name="T93" fmla="*/ 482 h 742"/>
                <a:gd name="T94" fmla="*/ 194 w 1056"/>
                <a:gd name="T95" fmla="*/ 487 h 742"/>
                <a:gd name="T96" fmla="*/ 172 w 1056"/>
                <a:gd name="T97" fmla="*/ 504 h 742"/>
                <a:gd name="T98" fmla="*/ 163 w 1056"/>
                <a:gd name="T99" fmla="*/ 504 h 742"/>
                <a:gd name="T100" fmla="*/ 713 w 1056"/>
                <a:gd name="T101" fmla="*/ 515 h 742"/>
                <a:gd name="T102" fmla="*/ 812 w 1056"/>
                <a:gd name="T103" fmla="*/ 553 h 742"/>
                <a:gd name="T104" fmla="*/ 666 w 1056"/>
                <a:gd name="T105" fmla="*/ 582 h 742"/>
                <a:gd name="T106" fmla="*/ 666 w 1056"/>
                <a:gd name="T107" fmla="*/ 582 h 742"/>
                <a:gd name="T108" fmla="*/ 697 w 1056"/>
                <a:gd name="T109" fmla="*/ 598 h 742"/>
                <a:gd name="T110" fmla="*/ 720 w 1056"/>
                <a:gd name="T111" fmla="*/ 626 h 742"/>
                <a:gd name="T112" fmla="*/ 697 w 1056"/>
                <a:gd name="T113" fmla="*/ 671 h 742"/>
                <a:gd name="T114" fmla="*/ 704 w 1056"/>
                <a:gd name="T115" fmla="*/ 671 h 742"/>
                <a:gd name="T116" fmla="*/ 704 w 1056"/>
                <a:gd name="T117" fmla="*/ 671 h 742"/>
                <a:gd name="T118" fmla="*/ 838 w 1056"/>
                <a:gd name="T119" fmla="*/ 671 h 742"/>
                <a:gd name="T120" fmla="*/ 864 w 1056"/>
                <a:gd name="T121" fmla="*/ 721 h 742"/>
                <a:gd name="T122" fmla="*/ 931 w 1056"/>
                <a:gd name="T123" fmla="*/ 726 h 742"/>
                <a:gd name="T124" fmla="*/ 893 w 1056"/>
                <a:gd name="T125" fmla="*/ 74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6" h="742">
                  <a:moveTo>
                    <a:pt x="616" y="17"/>
                  </a:moveTo>
                  <a:lnTo>
                    <a:pt x="605" y="5"/>
                  </a:lnTo>
                  <a:lnTo>
                    <a:pt x="612" y="0"/>
                  </a:lnTo>
                  <a:lnTo>
                    <a:pt x="616" y="5"/>
                  </a:lnTo>
                  <a:lnTo>
                    <a:pt x="628" y="17"/>
                  </a:lnTo>
                  <a:lnTo>
                    <a:pt x="616" y="17"/>
                  </a:lnTo>
                  <a:lnTo>
                    <a:pt x="616" y="17"/>
                  </a:lnTo>
                  <a:lnTo>
                    <a:pt x="616" y="17"/>
                  </a:lnTo>
                  <a:close/>
                  <a:moveTo>
                    <a:pt x="453" y="38"/>
                  </a:moveTo>
                  <a:lnTo>
                    <a:pt x="453" y="45"/>
                  </a:lnTo>
                  <a:lnTo>
                    <a:pt x="444" y="62"/>
                  </a:lnTo>
                  <a:lnTo>
                    <a:pt x="394" y="62"/>
                  </a:lnTo>
                  <a:lnTo>
                    <a:pt x="399" y="45"/>
                  </a:lnTo>
                  <a:lnTo>
                    <a:pt x="453" y="45"/>
                  </a:lnTo>
                  <a:lnTo>
                    <a:pt x="453" y="38"/>
                  </a:lnTo>
                  <a:lnTo>
                    <a:pt x="453" y="38"/>
                  </a:lnTo>
                  <a:lnTo>
                    <a:pt x="453" y="38"/>
                  </a:lnTo>
                  <a:close/>
                  <a:moveTo>
                    <a:pt x="482" y="71"/>
                  </a:moveTo>
                  <a:lnTo>
                    <a:pt x="486" y="62"/>
                  </a:lnTo>
                  <a:lnTo>
                    <a:pt x="486" y="62"/>
                  </a:lnTo>
                  <a:lnTo>
                    <a:pt x="482" y="71"/>
                  </a:lnTo>
                  <a:lnTo>
                    <a:pt x="482" y="71"/>
                  </a:lnTo>
                  <a:lnTo>
                    <a:pt x="482" y="71"/>
                  </a:lnTo>
                  <a:close/>
                  <a:moveTo>
                    <a:pt x="666" y="95"/>
                  </a:moveTo>
                  <a:lnTo>
                    <a:pt x="649" y="95"/>
                  </a:lnTo>
                  <a:lnTo>
                    <a:pt x="633" y="78"/>
                  </a:lnTo>
                  <a:lnTo>
                    <a:pt x="659" y="71"/>
                  </a:lnTo>
                  <a:lnTo>
                    <a:pt x="666" y="78"/>
                  </a:lnTo>
                  <a:lnTo>
                    <a:pt x="671" y="95"/>
                  </a:lnTo>
                  <a:lnTo>
                    <a:pt x="666" y="95"/>
                  </a:lnTo>
                  <a:lnTo>
                    <a:pt x="666" y="95"/>
                  </a:lnTo>
                  <a:lnTo>
                    <a:pt x="666" y="95"/>
                  </a:lnTo>
                  <a:close/>
                  <a:moveTo>
                    <a:pt x="827" y="182"/>
                  </a:moveTo>
                  <a:lnTo>
                    <a:pt x="860" y="206"/>
                  </a:lnTo>
                  <a:lnTo>
                    <a:pt x="850" y="223"/>
                  </a:lnTo>
                  <a:lnTo>
                    <a:pt x="860" y="227"/>
                  </a:lnTo>
                  <a:lnTo>
                    <a:pt x="843" y="244"/>
                  </a:lnTo>
                  <a:lnTo>
                    <a:pt x="838" y="239"/>
                  </a:lnTo>
                  <a:lnTo>
                    <a:pt x="827" y="223"/>
                  </a:lnTo>
                  <a:lnTo>
                    <a:pt x="827" y="206"/>
                  </a:lnTo>
                  <a:lnTo>
                    <a:pt x="805" y="166"/>
                  </a:lnTo>
                  <a:lnTo>
                    <a:pt x="789" y="149"/>
                  </a:lnTo>
                  <a:lnTo>
                    <a:pt x="775" y="149"/>
                  </a:lnTo>
                  <a:lnTo>
                    <a:pt x="720" y="100"/>
                  </a:lnTo>
                  <a:lnTo>
                    <a:pt x="687" y="100"/>
                  </a:lnTo>
                  <a:lnTo>
                    <a:pt x="704" y="95"/>
                  </a:lnTo>
                  <a:lnTo>
                    <a:pt x="697" y="83"/>
                  </a:lnTo>
                  <a:lnTo>
                    <a:pt x="768" y="133"/>
                  </a:lnTo>
                  <a:lnTo>
                    <a:pt x="784" y="133"/>
                  </a:lnTo>
                  <a:lnTo>
                    <a:pt x="827" y="182"/>
                  </a:lnTo>
                  <a:lnTo>
                    <a:pt x="827" y="182"/>
                  </a:lnTo>
                  <a:lnTo>
                    <a:pt x="827" y="182"/>
                  </a:lnTo>
                  <a:close/>
                  <a:moveTo>
                    <a:pt x="9" y="560"/>
                  </a:moveTo>
                  <a:lnTo>
                    <a:pt x="9" y="393"/>
                  </a:lnTo>
                  <a:lnTo>
                    <a:pt x="0" y="393"/>
                  </a:lnTo>
                  <a:lnTo>
                    <a:pt x="0" y="376"/>
                  </a:lnTo>
                  <a:lnTo>
                    <a:pt x="9" y="355"/>
                  </a:lnTo>
                  <a:lnTo>
                    <a:pt x="9" y="83"/>
                  </a:lnTo>
                  <a:lnTo>
                    <a:pt x="21" y="83"/>
                  </a:lnTo>
                  <a:lnTo>
                    <a:pt x="118" y="133"/>
                  </a:lnTo>
                  <a:lnTo>
                    <a:pt x="184" y="149"/>
                  </a:lnTo>
                  <a:lnTo>
                    <a:pt x="215" y="173"/>
                  </a:lnTo>
                  <a:lnTo>
                    <a:pt x="231" y="182"/>
                  </a:lnTo>
                  <a:lnTo>
                    <a:pt x="238" y="173"/>
                  </a:lnTo>
                  <a:lnTo>
                    <a:pt x="253" y="173"/>
                  </a:lnTo>
                  <a:lnTo>
                    <a:pt x="253" y="189"/>
                  </a:lnTo>
                  <a:lnTo>
                    <a:pt x="281" y="194"/>
                  </a:lnTo>
                  <a:lnTo>
                    <a:pt x="293" y="211"/>
                  </a:lnTo>
                  <a:lnTo>
                    <a:pt x="307" y="223"/>
                  </a:lnTo>
                  <a:lnTo>
                    <a:pt x="340" y="244"/>
                  </a:lnTo>
                  <a:lnTo>
                    <a:pt x="345" y="265"/>
                  </a:lnTo>
                  <a:lnTo>
                    <a:pt x="340" y="300"/>
                  </a:lnTo>
                  <a:lnTo>
                    <a:pt x="394" y="305"/>
                  </a:lnTo>
                  <a:lnTo>
                    <a:pt x="432" y="334"/>
                  </a:lnTo>
                  <a:lnTo>
                    <a:pt x="465" y="334"/>
                  </a:lnTo>
                  <a:lnTo>
                    <a:pt x="486" y="355"/>
                  </a:lnTo>
                  <a:lnTo>
                    <a:pt x="486" y="376"/>
                  </a:lnTo>
                  <a:lnTo>
                    <a:pt x="470" y="388"/>
                  </a:lnTo>
                  <a:lnTo>
                    <a:pt x="427" y="388"/>
                  </a:lnTo>
                  <a:lnTo>
                    <a:pt x="427" y="404"/>
                  </a:lnTo>
                  <a:lnTo>
                    <a:pt x="444" y="416"/>
                  </a:lnTo>
                  <a:lnTo>
                    <a:pt x="444" y="445"/>
                  </a:lnTo>
                  <a:lnTo>
                    <a:pt x="465" y="449"/>
                  </a:lnTo>
                  <a:lnTo>
                    <a:pt x="482" y="471"/>
                  </a:lnTo>
                  <a:lnTo>
                    <a:pt x="508" y="482"/>
                  </a:lnTo>
                  <a:lnTo>
                    <a:pt x="519" y="520"/>
                  </a:lnTo>
                  <a:lnTo>
                    <a:pt x="524" y="527"/>
                  </a:lnTo>
                  <a:lnTo>
                    <a:pt x="541" y="553"/>
                  </a:lnTo>
                  <a:lnTo>
                    <a:pt x="590" y="553"/>
                  </a:lnTo>
                  <a:lnTo>
                    <a:pt x="595" y="560"/>
                  </a:lnTo>
                  <a:lnTo>
                    <a:pt x="579" y="577"/>
                  </a:lnTo>
                  <a:lnTo>
                    <a:pt x="590" y="582"/>
                  </a:lnTo>
                  <a:lnTo>
                    <a:pt x="605" y="593"/>
                  </a:lnTo>
                  <a:lnTo>
                    <a:pt x="642" y="593"/>
                  </a:lnTo>
                  <a:lnTo>
                    <a:pt x="642" y="598"/>
                  </a:lnTo>
                  <a:lnTo>
                    <a:pt x="616" y="610"/>
                  </a:lnTo>
                  <a:lnTo>
                    <a:pt x="633" y="626"/>
                  </a:lnTo>
                  <a:lnTo>
                    <a:pt x="682" y="638"/>
                  </a:lnTo>
                  <a:lnTo>
                    <a:pt x="704" y="638"/>
                  </a:lnTo>
                  <a:lnTo>
                    <a:pt x="682" y="648"/>
                  </a:lnTo>
                  <a:lnTo>
                    <a:pt x="666" y="648"/>
                  </a:lnTo>
                  <a:lnTo>
                    <a:pt x="666" y="648"/>
                  </a:lnTo>
                  <a:lnTo>
                    <a:pt x="687" y="655"/>
                  </a:lnTo>
                  <a:lnTo>
                    <a:pt x="687" y="664"/>
                  </a:lnTo>
                  <a:lnTo>
                    <a:pt x="659" y="671"/>
                  </a:lnTo>
                  <a:lnTo>
                    <a:pt x="628" y="664"/>
                  </a:lnTo>
                  <a:lnTo>
                    <a:pt x="642" y="655"/>
                  </a:lnTo>
                  <a:lnTo>
                    <a:pt x="616" y="648"/>
                  </a:lnTo>
                  <a:lnTo>
                    <a:pt x="562" y="638"/>
                  </a:lnTo>
                  <a:lnTo>
                    <a:pt x="553" y="631"/>
                  </a:lnTo>
                  <a:lnTo>
                    <a:pt x="524" y="638"/>
                  </a:lnTo>
                  <a:lnTo>
                    <a:pt x="508" y="631"/>
                  </a:lnTo>
                  <a:lnTo>
                    <a:pt x="498" y="631"/>
                  </a:lnTo>
                  <a:lnTo>
                    <a:pt x="470" y="626"/>
                  </a:lnTo>
                  <a:lnTo>
                    <a:pt x="449" y="593"/>
                  </a:lnTo>
                  <a:lnTo>
                    <a:pt x="432" y="582"/>
                  </a:lnTo>
                  <a:lnTo>
                    <a:pt x="416" y="570"/>
                  </a:lnTo>
                  <a:lnTo>
                    <a:pt x="427" y="553"/>
                  </a:lnTo>
                  <a:lnTo>
                    <a:pt x="427" y="560"/>
                  </a:lnTo>
                  <a:lnTo>
                    <a:pt x="399" y="553"/>
                  </a:lnTo>
                  <a:lnTo>
                    <a:pt x="394" y="537"/>
                  </a:lnTo>
                  <a:lnTo>
                    <a:pt x="361" y="482"/>
                  </a:lnTo>
                  <a:lnTo>
                    <a:pt x="281" y="466"/>
                  </a:lnTo>
                  <a:lnTo>
                    <a:pt x="281" y="449"/>
                  </a:lnTo>
                  <a:lnTo>
                    <a:pt x="281" y="461"/>
                  </a:lnTo>
                  <a:lnTo>
                    <a:pt x="253" y="449"/>
                  </a:lnTo>
                  <a:lnTo>
                    <a:pt x="253" y="445"/>
                  </a:lnTo>
                  <a:lnTo>
                    <a:pt x="253" y="449"/>
                  </a:lnTo>
                  <a:lnTo>
                    <a:pt x="248" y="445"/>
                  </a:lnTo>
                  <a:lnTo>
                    <a:pt x="248" y="461"/>
                  </a:lnTo>
                  <a:lnTo>
                    <a:pt x="238" y="461"/>
                  </a:lnTo>
                  <a:lnTo>
                    <a:pt x="238" y="449"/>
                  </a:lnTo>
                  <a:lnTo>
                    <a:pt x="231" y="466"/>
                  </a:lnTo>
                  <a:lnTo>
                    <a:pt x="210" y="461"/>
                  </a:lnTo>
                  <a:lnTo>
                    <a:pt x="194" y="445"/>
                  </a:lnTo>
                  <a:lnTo>
                    <a:pt x="215" y="471"/>
                  </a:lnTo>
                  <a:lnTo>
                    <a:pt x="201" y="482"/>
                  </a:lnTo>
                  <a:lnTo>
                    <a:pt x="172" y="471"/>
                  </a:lnTo>
                  <a:lnTo>
                    <a:pt x="184" y="482"/>
                  </a:lnTo>
                  <a:lnTo>
                    <a:pt x="194" y="499"/>
                  </a:lnTo>
                  <a:lnTo>
                    <a:pt x="146" y="504"/>
                  </a:lnTo>
                  <a:lnTo>
                    <a:pt x="123" y="499"/>
                  </a:lnTo>
                  <a:lnTo>
                    <a:pt x="108" y="504"/>
                  </a:lnTo>
                  <a:lnTo>
                    <a:pt x="101" y="487"/>
                  </a:lnTo>
                  <a:lnTo>
                    <a:pt x="85" y="499"/>
                  </a:lnTo>
                  <a:lnTo>
                    <a:pt x="101" y="487"/>
                  </a:lnTo>
                  <a:lnTo>
                    <a:pt x="108" y="504"/>
                  </a:lnTo>
                  <a:lnTo>
                    <a:pt x="130" y="499"/>
                  </a:lnTo>
                  <a:lnTo>
                    <a:pt x="156" y="515"/>
                  </a:lnTo>
                  <a:lnTo>
                    <a:pt x="177" y="537"/>
                  </a:lnTo>
                  <a:lnTo>
                    <a:pt x="177" y="544"/>
                  </a:lnTo>
                  <a:lnTo>
                    <a:pt x="172" y="553"/>
                  </a:lnTo>
                  <a:lnTo>
                    <a:pt x="146" y="553"/>
                  </a:lnTo>
                  <a:lnTo>
                    <a:pt x="123" y="577"/>
                  </a:lnTo>
                  <a:lnTo>
                    <a:pt x="92" y="560"/>
                  </a:lnTo>
                  <a:lnTo>
                    <a:pt x="47" y="570"/>
                  </a:lnTo>
                  <a:lnTo>
                    <a:pt x="33" y="560"/>
                  </a:lnTo>
                  <a:lnTo>
                    <a:pt x="16" y="570"/>
                  </a:lnTo>
                  <a:lnTo>
                    <a:pt x="9" y="560"/>
                  </a:lnTo>
                  <a:lnTo>
                    <a:pt x="9" y="560"/>
                  </a:lnTo>
                  <a:lnTo>
                    <a:pt x="9" y="560"/>
                  </a:lnTo>
                  <a:close/>
                  <a:moveTo>
                    <a:pt x="775" y="100"/>
                  </a:moveTo>
                  <a:lnTo>
                    <a:pt x="775" y="95"/>
                  </a:lnTo>
                  <a:lnTo>
                    <a:pt x="784" y="100"/>
                  </a:lnTo>
                  <a:lnTo>
                    <a:pt x="775" y="100"/>
                  </a:lnTo>
                  <a:lnTo>
                    <a:pt x="775" y="100"/>
                  </a:lnTo>
                  <a:lnTo>
                    <a:pt x="775" y="100"/>
                  </a:lnTo>
                  <a:close/>
                  <a:moveTo>
                    <a:pt x="697" y="116"/>
                  </a:moveTo>
                  <a:lnTo>
                    <a:pt x="704" y="112"/>
                  </a:lnTo>
                  <a:lnTo>
                    <a:pt x="713" y="116"/>
                  </a:lnTo>
                  <a:lnTo>
                    <a:pt x="697" y="116"/>
                  </a:lnTo>
                  <a:lnTo>
                    <a:pt x="697" y="116"/>
                  </a:lnTo>
                  <a:lnTo>
                    <a:pt x="697" y="116"/>
                  </a:lnTo>
                  <a:close/>
                  <a:moveTo>
                    <a:pt x="827" y="133"/>
                  </a:moveTo>
                  <a:lnTo>
                    <a:pt x="822" y="128"/>
                  </a:lnTo>
                  <a:lnTo>
                    <a:pt x="827" y="116"/>
                  </a:lnTo>
                  <a:lnTo>
                    <a:pt x="827" y="133"/>
                  </a:lnTo>
                  <a:lnTo>
                    <a:pt x="827" y="133"/>
                  </a:lnTo>
                  <a:lnTo>
                    <a:pt x="827" y="133"/>
                  </a:lnTo>
                  <a:close/>
                  <a:moveTo>
                    <a:pt x="897" y="194"/>
                  </a:moveTo>
                  <a:lnTo>
                    <a:pt x="893" y="194"/>
                  </a:lnTo>
                  <a:lnTo>
                    <a:pt x="897" y="189"/>
                  </a:lnTo>
                  <a:lnTo>
                    <a:pt x="897" y="194"/>
                  </a:lnTo>
                  <a:lnTo>
                    <a:pt x="897" y="194"/>
                  </a:lnTo>
                  <a:lnTo>
                    <a:pt x="897" y="194"/>
                  </a:lnTo>
                  <a:close/>
                  <a:moveTo>
                    <a:pt x="687" y="338"/>
                  </a:moveTo>
                  <a:lnTo>
                    <a:pt x="666" y="355"/>
                  </a:lnTo>
                  <a:lnTo>
                    <a:pt x="612" y="355"/>
                  </a:lnTo>
                  <a:lnTo>
                    <a:pt x="595" y="338"/>
                  </a:lnTo>
                  <a:lnTo>
                    <a:pt x="574" y="350"/>
                  </a:lnTo>
                  <a:lnTo>
                    <a:pt x="574" y="338"/>
                  </a:lnTo>
                  <a:lnTo>
                    <a:pt x="553" y="322"/>
                  </a:lnTo>
                  <a:lnTo>
                    <a:pt x="524" y="317"/>
                  </a:lnTo>
                  <a:lnTo>
                    <a:pt x="519" y="305"/>
                  </a:lnTo>
                  <a:lnTo>
                    <a:pt x="524" y="293"/>
                  </a:lnTo>
                  <a:lnTo>
                    <a:pt x="562" y="293"/>
                  </a:lnTo>
                  <a:lnTo>
                    <a:pt x="590" y="305"/>
                  </a:lnTo>
                  <a:lnTo>
                    <a:pt x="633" y="300"/>
                  </a:lnTo>
                  <a:lnTo>
                    <a:pt x="633" y="293"/>
                  </a:lnTo>
                  <a:lnTo>
                    <a:pt x="633" y="284"/>
                  </a:lnTo>
                  <a:lnTo>
                    <a:pt x="642" y="260"/>
                  </a:lnTo>
                  <a:lnTo>
                    <a:pt x="659" y="265"/>
                  </a:lnTo>
                  <a:lnTo>
                    <a:pt x="642" y="265"/>
                  </a:lnTo>
                  <a:lnTo>
                    <a:pt x="642" y="284"/>
                  </a:lnTo>
                  <a:lnTo>
                    <a:pt x="649" y="300"/>
                  </a:lnTo>
                  <a:lnTo>
                    <a:pt x="659" y="300"/>
                  </a:lnTo>
                  <a:lnTo>
                    <a:pt x="671" y="293"/>
                  </a:lnTo>
                  <a:lnTo>
                    <a:pt x="682" y="300"/>
                  </a:lnTo>
                  <a:lnTo>
                    <a:pt x="704" y="300"/>
                  </a:lnTo>
                  <a:lnTo>
                    <a:pt x="730" y="260"/>
                  </a:lnTo>
                  <a:lnTo>
                    <a:pt x="758" y="249"/>
                  </a:lnTo>
                  <a:lnTo>
                    <a:pt x="742" y="206"/>
                  </a:lnTo>
                  <a:lnTo>
                    <a:pt x="768" y="206"/>
                  </a:lnTo>
                  <a:lnTo>
                    <a:pt x="784" y="211"/>
                  </a:lnTo>
                  <a:lnTo>
                    <a:pt x="796" y="206"/>
                  </a:lnTo>
                  <a:lnTo>
                    <a:pt x="789" y="211"/>
                  </a:lnTo>
                  <a:lnTo>
                    <a:pt x="805" y="211"/>
                  </a:lnTo>
                  <a:lnTo>
                    <a:pt x="812" y="239"/>
                  </a:lnTo>
                  <a:lnTo>
                    <a:pt x="796" y="260"/>
                  </a:lnTo>
                  <a:lnTo>
                    <a:pt x="784" y="260"/>
                  </a:lnTo>
                  <a:lnTo>
                    <a:pt x="784" y="277"/>
                  </a:lnTo>
                  <a:lnTo>
                    <a:pt x="789" y="284"/>
                  </a:lnTo>
                  <a:lnTo>
                    <a:pt x="789" y="293"/>
                  </a:lnTo>
                  <a:lnTo>
                    <a:pt x="768" y="305"/>
                  </a:lnTo>
                  <a:lnTo>
                    <a:pt x="742" y="300"/>
                  </a:lnTo>
                  <a:lnTo>
                    <a:pt x="734" y="317"/>
                  </a:lnTo>
                  <a:lnTo>
                    <a:pt x="687" y="338"/>
                  </a:lnTo>
                  <a:lnTo>
                    <a:pt x="687" y="338"/>
                  </a:lnTo>
                  <a:lnTo>
                    <a:pt x="687" y="338"/>
                  </a:lnTo>
                  <a:close/>
                  <a:moveTo>
                    <a:pt x="357" y="244"/>
                  </a:moveTo>
                  <a:lnTo>
                    <a:pt x="345" y="239"/>
                  </a:lnTo>
                  <a:lnTo>
                    <a:pt x="357" y="227"/>
                  </a:lnTo>
                  <a:lnTo>
                    <a:pt x="361" y="239"/>
                  </a:lnTo>
                  <a:lnTo>
                    <a:pt x="357" y="244"/>
                  </a:lnTo>
                  <a:lnTo>
                    <a:pt x="357" y="244"/>
                  </a:lnTo>
                  <a:lnTo>
                    <a:pt x="357" y="244"/>
                  </a:lnTo>
                  <a:close/>
                  <a:moveTo>
                    <a:pt x="612" y="244"/>
                  </a:moveTo>
                  <a:lnTo>
                    <a:pt x="605" y="239"/>
                  </a:lnTo>
                  <a:lnTo>
                    <a:pt x="605" y="239"/>
                  </a:lnTo>
                  <a:lnTo>
                    <a:pt x="612" y="244"/>
                  </a:lnTo>
                  <a:lnTo>
                    <a:pt x="612" y="244"/>
                  </a:lnTo>
                  <a:lnTo>
                    <a:pt x="612" y="244"/>
                  </a:lnTo>
                  <a:close/>
                  <a:moveTo>
                    <a:pt x="968" y="293"/>
                  </a:moveTo>
                  <a:lnTo>
                    <a:pt x="956" y="265"/>
                  </a:lnTo>
                  <a:lnTo>
                    <a:pt x="968" y="260"/>
                  </a:lnTo>
                  <a:lnTo>
                    <a:pt x="973" y="277"/>
                  </a:lnTo>
                  <a:lnTo>
                    <a:pt x="968" y="293"/>
                  </a:lnTo>
                  <a:lnTo>
                    <a:pt x="968" y="293"/>
                  </a:lnTo>
                  <a:lnTo>
                    <a:pt x="968" y="293"/>
                  </a:lnTo>
                  <a:close/>
                  <a:moveTo>
                    <a:pt x="444" y="293"/>
                  </a:moveTo>
                  <a:lnTo>
                    <a:pt x="427" y="284"/>
                  </a:lnTo>
                  <a:lnTo>
                    <a:pt x="432" y="277"/>
                  </a:lnTo>
                  <a:lnTo>
                    <a:pt x="444" y="284"/>
                  </a:lnTo>
                  <a:lnTo>
                    <a:pt x="444" y="293"/>
                  </a:lnTo>
                  <a:lnTo>
                    <a:pt x="444" y="293"/>
                  </a:lnTo>
                  <a:lnTo>
                    <a:pt x="444" y="293"/>
                  </a:lnTo>
                  <a:close/>
                  <a:moveTo>
                    <a:pt x="1023" y="334"/>
                  </a:moveTo>
                  <a:lnTo>
                    <a:pt x="1023" y="350"/>
                  </a:lnTo>
                  <a:lnTo>
                    <a:pt x="1056" y="371"/>
                  </a:lnTo>
                  <a:lnTo>
                    <a:pt x="1056" y="393"/>
                  </a:lnTo>
                  <a:lnTo>
                    <a:pt x="1056" y="388"/>
                  </a:lnTo>
                  <a:lnTo>
                    <a:pt x="1039" y="393"/>
                  </a:lnTo>
                  <a:lnTo>
                    <a:pt x="1011" y="388"/>
                  </a:lnTo>
                  <a:lnTo>
                    <a:pt x="1006" y="371"/>
                  </a:lnTo>
                  <a:lnTo>
                    <a:pt x="1006" y="355"/>
                  </a:lnTo>
                  <a:lnTo>
                    <a:pt x="990" y="350"/>
                  </a:lnTo>
                  <a:lnTo>
                    <a:pt x="973" y="334"/>
                  </a:lnTo>
                  <a:lnTo>
                    <a:pt x="973" y="300"/>
                  </a:lnTo>
                  <a:lnTo>
                    <a:pt x="1001" y="300"/>
                  </a:lnTo>
                  <a:lnTo>
                    <a:pt x="1006" y="322"/>
                  </a:lnTo>
                  <a:lnTo>
                    <a:pt x="1023" y="334"/>
                  </a:lnTo>
                  <a:lnTo>
                    <a:pt x="1023" y="334"/>
                  </a:lnTo>
                  <a:lnTo>
                    <a:pt x="1023" y="334"/>
                  </a:lnTo>
                  <a:close/>
                  <a:moveTo>
                    <a:pt x="498" y="322"/>
                  </a:moveTo>
                  <a:lnTo>
                    <a:pt x="482" y="305"/>
                  </a:lnTo>
                  <a:lnTo>
                    <a:pt x="482" y="300"/>
                  </a:lnTo>
                  <a:lnTo>
                    <a:pt x="503" y="305"/>
                  </a:lnTo>
                  <a:lnTo>
                    <a:pt x="498" y="322"/>
                  </a:lnTo>
                  <a:lnTo>
                    <a:pt x="498" y="322"/>
                  </a:lnTo>
                  <a:lnTo>
                    <a:pt x="498" y="322"/>
                  </a:lnTo>
                  <a:close/>
                  <a:moveTo>
                    <a:pt x="194" y="487"/>
                  </a:moveTo>
                  <a:lnTo>
                    <a:pt x="194" y="482"/>
                  </a:lnTo>
                  <a:lnTo>
                    <a:pt x="194" y="487"/>
                  </a:lnTo>
                  <a:lnTo>
                    <a:pt x="194" y="487"/>
                  </a:lnTo>
                  <a:lnTo>
                    <a:pt x="194" y="487"/>
                  </a:lnTo>
                  <a:lnTo>
                    <a:pt x="194" y="487"/>
                  </a:lnTo>
                  <a:close/>
                  <a:moveTo>
                    <a:pt x="194" y="499"/>
                  </a:moveTo>
                  <a:lnTo>
                    <a:pt x="194" y="487"/>
                  </a:lnTo>
                  <a:lnTo>
                    <a:pt x="201" y="487"/>
                  </a:lnTo>
                  <a:lnTo>
                    <a:pt x="194" y="499"/>
                  </a:lnTo>
                  <a:lnTo>
                    <a:pt x="194" y="499"/>
                  </a:lnTo>
                  <a:lnTo>
                    <a:pt x="194" y="499"/>
                  </a:lnTo>
                  <a:close/>
                  <a:moveTo>
                    <a:pt x="184" y="515"/>
                  </a:moveTo>
                  <a:lnTo>
                    <a:pt x="172" y="504"/>
                  </a:lnTo>
                  <a:lnTo>
                    <a:pt x="184" y="504"/>
                  </a:lnTo>
                  <a:lnTo>
                    <a:pt x="184" y="515"/>
                  </a:lnTo>
                  <a:lnTo>
                    <a:pt x="184" y="515"/>
                  </a:lnTo>
                  <a:lnTo>
                    <a:pt x="184" y="515"/>
                  </a:lnTo>
                  <a:close/>
                  <a:moveTo>
                    <a:pt x="194" y="527"/>
                  </a:moveTo>
                  <a:lnTo>
                    <a:pt x="163" y="504"/>
                  </a:lnTo>
                  <a:lnTo>
                    <a:pt x="177" y="515"/>
                  </a:lnTo>
                  <a:lnTo>
                    <a:pt x="194" y="527"/>
                  </a:lnTo>
                  <a:lnTo>
                    <a:pt x="194" y="527"/>
                  </a:lnTo>
                  <a:lnTo>
                    <a:pt x="194" y="527"/>
                  </a:lnTo>
                  <a:close/>
                  <a:moveTo>
                    <a:pt x="720" y="537"/>
                  </a:moveTo>
                  <a:lnTo>
                    <a:pt x="713" y="515"/>
                  </a:lnTo>
                  <a:lnTo>
                    <a:pt x="720" y="504"/>
                  </a:lnTo>
                  <a:lnTo>
                    <a:pt x="720" y="537"/>
                  </a:lnTo>
                  <a:lnTo>
                    <a:pt x="720" y="537"/>
                  </a:lnTo>
                  <a:lnTo>
                    <a:pt x="720" y="537"/>
                  </a:lnTo>
                  <a:close/>
                  <a:moveTo>
                    <a:pt x="838" y="570"/>
                  </a:moveTo>
                  <a:lnTo>
                    <a:pt x="812" y="553"/>
                  </a:lnTo>
                  <a:lnTo>
                    <a:pt x="838" y="544"/>
                  </a:lnTo>
                  <a:lnTo>
                    <a:pt x="850" y="560"/>
                  </a:lnTo>
                  <a:lnTo>
                    <a:pt x="838" y="570"/>
                  </a:lnTo>
                  <a:lnTo>
                    <a:pt x="838" y="570"/>
                  </a:lnTo>
                  <a:lnTo>
                    <a:pt x="838" y="570"/>
                  </a:lnTo>
                  <a:close/>
                  <a:moveTo>
                    <a:pt x="666" y="582"/>
                  </a:moveTo>
                  <a:lnTo>
                    <a:pt x="649" y="577"/>
                  </a:lnTo>
                  <a:lnTo>
                    <a:pt x="649" y="570"/>
                  </a:lnTo>
                  <a:lnTo>
                    <a:pt x="666" y="570"/>
                  </a:lnTo>
                  <a:lnTo>
                    <a:pt x="666" y="582"/>
                  </a:lnTo>
                  <a:lnTo>
                    <a:pt x="666" y="582"/>
                  </a:lnTo>
                  <a:lnTo>
                    <a:pt x="666" y="582"/>
                  </a:lnTo>
                  <a:close/>
                  <a:moveTo>
                    <a:pt x="697" y="598"/>
                  </a:moveTo>
                  <a:lnTo>
                    <a:pt x="671" y="593"/>
                  </a:lnTo>
                  <a:lnTo>
                    <a:pt x="671" y="577"/>
                  </a:lnTo>
                  <a:lnTo>
                    <a:pt x="697" y="582"/>
                  </a:lnTo>
                  <a:lnTo>
                    <a:pt x="704" y="598"/>
                  </a:lnTo>
                  <a:lnTo>
                    <a:pt x="697" y="598"/>
                  </a:lnTo>
                  <a:lnTo>
                    <a:pt x="697" y="598"/>
                  </a:lnTo>
                  <a:lnTo>
                    <a:pt x="697" y="598"/>
                  </a:lnTo>
                  <a:close/>
                  <a:moveTo>
                    <a:pt x="730" y="638"/>
                  </a:moveTo>
                  <a:lnTo>
                    <a:pt x="704" y="631"/>
                  </a:lnTo>
                  <a:lnTo>
                    <a:pt x="697" y="598"/>
                  </a:lnTo>
                  <a:lnTo>
                    <a:pt x="720" y="626"/>
                  </a:lnTo>
                  <a:lnTo>
                    <a:pt x="730" y="615"/>
                  </a:lnTo>
                  <a:lnTo>
                    <a:pt x="730" y="638"/>
                  </a:lnTo>
                  <a:lnTo>
                    <a:pt x="730" y="638"/>
                  </a:lnTo>
                  <a:lnTo>
                    <a:pt x="730" y="638"/>
                  </a:lnTo>
                  <a:close/>
                  <a:moveTo>
                    <a:pt x="704" y="671"/>
                  </a:moveTo>
                  <a:lnTo>
                    <a:pt x="697" y="671"/>
                  </a:lnTo>
                  <a:lnTo>
                    <a:pt x="697" y="664"/>
                  </a:lnTo>
                  <a:lnTo>
                    <a:pt x="704" y="664"/>
                  </a:lnTo>
                  <a:lnTo>
                    <a:pt x="704" y="671"/>
                  </a:lnTo>
                  <a:lnTo>
                    <a:pt x="704" y="671"/>
                  </a:lnTo>
                  <a:lnTo>
                    <a:pt x="704" y="671"/>
                  </a:lnTo>
                  <a:close/>
                  <a:moveTo>
                    <a:pt x="704" y="671"/>
                  </a:moveTo>
                  <a:lnTo>
                    <a:pt x="704" y="664"/>
                  </a:lnTo>
                  <a:lnTo>
                    <a:pt x="713" y="664"/>
                  </a:lnTo>
                  <a:lnTo>
                    <a:pt x="713" y="671"/>
                  </a:lnTo>
                  <a:lnTo>
                    <a:pt x="704" y="671"/>
                  </a:lnTo>
                  <a:lnTo>
                    <a:pt x="704" y="671"/>
                  </a:lnTo>
                  <a:lnTo>
                    <a:pt x="704" y="671"/>
                  </a:lnTo>
                  <a:close/>
                  <a:moveTo>
                    <a:pt x="838" y="671"/>
                  </a:moveTo>
                  <a:lnTo>
                    <a:pt x="822" y="671"/>
                  </a:lnTo>
                  <a:lnTo>
                    <a:pt x="843" y="671"/>
                  </a:lnTo>
                  <a:lnTo>
                    <a:pt x="838" y="671"/>
                  </a:lnTo>
                  <a:lnTo>
                    <a:pt x="838" y="671"/>
                  </a:lnTo>
                  <a:lnTo>
                    <a:pt x="838" y="671"/>
                  </a:lnTo>
                  <a:close/>
                  <a:moveTo>
                    <a:pt x="864" y="721"/>
                  </a:moveTo>
                  <a:lnTo>
                    <a:pt x="860" y="709"/>
                  </a:lnTo>
                  <a:lnTo>
                    <a:pt x="864" y="709"/>
                  </a:lnTo>
                  <a:lnTo>
                    <a:pt x="864" y="721"/>
                  </a:lnTo>
                  <a:lnTo>
                    <a:pt x="864" y="721"/>
                  </a:lnTo>
                  <a:lnTo>
                    <a:pt x="864" y="721"/>
                  </a:lnTo>
                  <a:close/>
                  <a:moveTo>
                    <a:pt x="931" y="726"/>
                  </a:moveTo>
                  <a:lnTo>
                    <a:pt x="919" y="721"/>
                  </a:lnTo>
                  <a:lnTo>
                    <a:pt x="935" y="721"/>
                  </a:lnTo>
                  <a:lnTo>
                    <a:pt x="947" y="726"/>
                  </a:lnTo>
                  <a:lnTo>
                    <a:pt x="931" y="726"/>
                  </a:lnTo>
                  <a:lnTo>
                    <a:pt x="931" y="726"/>
                  </a:lnTo>
                  <a:lnTo>
                    <a:pt x="931" y="726"/>
                  </a:lnTo>
                  <a:close/>
                  <a:moveTo>
                    <a:pt x="893" y="742"/>
                  </a:moveTo>
                  <a:lnTo>
                    <a:pt x="876" y="737"/>
                  </a:lnTo>
                  <a:lnTo>
                    <a:pt x="864" y="721"/>
                  </a:lnTo>
                  <a:lnTo>
                    <a:pt x="905" y="742"/>
                  </a:lnTo>
                  <a:lnTo>
                    <a:pt x="893" y="742"/>
                  </a:lnTo>
                  <a:lnTo>
                    <a:pt x="893" y="742"/>
                  </a:lnTo>
                  <a:lnTo>
                    <a:pt x="893" y="74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80" name="Freeform 541">
              <a:extLst>
                <a:ext uri="{FF2B5EF4-FFF2-40B4-BE49-F238E27FC236}">
                  <a16:creationId xmlns:a16="http://schemas.microsoft.com/office/drawing/2014/main" id="{38360CAC-B1C2-4811-A8C4-D4F01D25985A}"/>
                </a:ext>
              </a:extLst>
            </p:cNvPr>
            <p:cNvSpPr>
              <a:spLocks noEditPoints="1"/>
            </p:cNvSpPr>
            <p:nvPr/>
          </p:nvSpPr>
          <p:spPr bwMode="gray">
            <a:xfrm>
              <a:off x="10102341" y="3479191"/>
              <a:ext cx="278290" cy="438478"/>
            </a:xfrm>
            <a:custGeom>
              <a:avLst/>
              <a:gdLst>
                <a:gd name="T0" fmla="*/ 324 w 676"/>
                <a:gd name="T1" fmla="*/ 16 h 1065"/>
                <a:gd name="T2" fmla="*/ 310 w 676"/>
                <a:gd name="T3" fmla="*/ 50 h 1065"/>
                <a:gd name="T4" fmla="*/ 459 w 676"/>
                <a:gd name="T5" fmla="*/ 437 h 1065"/>
                <a:gd name="T6" fmla="*/ 487 w 676"/>
                <a:gd name="T7" fmla="*/ 494 h 1065"/>
                <a:gd name="T8" fmla="*/ 395 w 676"/>
                <a:gd name="T9" fmla="*/ 416 h 1065"/>
                <a:gd name="T10" fmla="*/ 260 w 676"/>
                <a:gd name="T11" fmla="*/ 416 h 1065"/>
                <a:gd name="T12" fmla="*/ 239 w 676"/>
                <a:gd name="T13" fmla="*/ 349 h 1065"/>
                <a:gd name="T14" fmla="*/ 244 w 676"/>
                <a:gd name="T15" fmla="*/ 250 h 1065"/>
                <a:gd name="T16" fmla="*/ 378 w 676"/>
                <a:gd name="T17" fmla="*/ 90 h 1065"/>
                <a:gd name="T18" fmla="*/ 369 w 676"/>
                <a:gd name="T19" fmla="*/ 250 h 1065"/>
                <a:gd name="T20" fmla="*/ 369 w 676"/>
                <a:gd name="T21" fmla="*/ 416 h 1065"/>
                <a:gd name="T22" fmla="*/ 433 w 676"/>
                <a:gd name="T23" fmla="*/ 437 h 1065"/>
                <a:gd name="T24" fmla="*/ 362 w 676"/>
                <a:gd name="T25" fmla="*/ 342 h 1065"/>
                <a:gd name="T26" fmla="*/ 369 w 676"/>
                <a:gd name="T27" fmla="*/ 361 h 1065"/>
                <a:gd name="T28" fmla="*/ 508 w 676"/>
                <a:gd name="T29" fmla="*/ 444 h 1065"/>
                <a:gd name="T30" fmla="*/ 345 w 676"/>
                <a:gd name="T31" fmla="*/ 461 h 1065"/>
                <a:gd name="T32" fmla="*/ 239 w 676"/>
                <a:gd name="T33" fmla="*/ 444 h 1065"/>
                <a:gd name="T34" fmla="*/ 487 w 676"/>
                <a:gd name="T35" fmla="*/ 453 h 1065"/>
                <a:gd name="T36" fmla="*/ 492 w 676"/>
                <a:gd name="T37" fmla="*/ 470 h 1065"/>
                <a:gd name="T38" fmla="*/ 362 w 676"/>
                <a:gd name="T39" fmla="*/ 510 h 1065"/>
                <a:gd name="T40" fmla="*/ 503 w 676"/>
                <a:gd name="T41" fmla="*/ 581 h 1065"/>
                <a:gd name="T42" fmla="*/ 617 w 676"/>
                <a:gd name="T43" fmla="*/ 626 h 1065"/>
                <a:gd name="T44" fmla="*/ 584 w 676"/>
                <a:gd name="T45" fmla="*/ 527 h 1065"/>
                <a:gd name="T46" fmla="*/ 617 w 676"/>
                <a:gd name="T47" fmla="*/ 626 h 1065"/>
                <a:gd name="T48" fmla="*/ 218 w 676"/>
                <a:gd name="T49" fmla="*/ 555 h 1065"/>
                <a:gd name="T50" fmla="*/ 293 w 676"/>
                <a:gd name="T51" fmla="*/ 538 h 1065"/>
                <a:gd name="T52" fmla="*/ 433 w 676"/>
                <a:gd name="T53" fmla="*/ 621 h 1065"/>
                <a:gd name="T54" fmla="*/ 369 w 676"/>
                <a:gd name="T55" fmla="*/ 572 h 1065"/>
                <a:gd name="T56" fmla="*/ 529 w 676"/>
                <a:gd name="T57" fmla="*/ 581 h 1065"/>
                <a:gd name="T58" fmla="*/ 525 w 676"/>
                <a:gd name="T59" fmla="*/ 638 h 1065"/>
                <a:gd name="T60" fmla="*/ 546 w 676"/>
                <a:gd name="T61" fmla="*/ 692 h 1065"/>
                <a:gd name="T62" fmla="*/ 189 w 676"/>
                <a:gd name="T63" fmla="*/ 666 h 1065"/>
                <a:gd name="T64" fmla="*/ 24 w 676"/>
                <a:gd name="T65" fmla="*/ 803 h 1065"/>
                <a:gd name="T66" fmla="*/ 168 w 676"/>
                <a:gd name="T67" fmla="*/ 659 h 1065"/>
                <a:gd name="T68" fmla="*/ 185 w 676"/>
                <a:gd name="T69" fmla="*/ 642 h 1065"/>
                <a:gd name="T70" fmla="*/ 475 w 676"/>
                <a:gd name="T71" fmla="*/ 666 h 1065"/>
                <a:gd name="T72" fmla="*/ 449 w 676"/>
                <a:gd name="T73" fmla="*/ 675 h 1065"/>
                <a:gd name="T74" fmla="*/ 416 w 676"/>
                <a:gd name="T75" fmla="*/ 699 h 1065"/>
                <a:gd name="T76" fmla="*/ 617 w 676"/>
                <a:gd name="T77" fmla="*/ 649 h 1065"/>
                <a:gd name="T78" fmla="*/ 407 w 676"/>
                <a:gd name="T79" fmla="*/ 659 h 1065"/>
                <a:gd name="T80" fmla="*/ 513 w 676"/>
                <a:gd name="T81" fmla="*/ 659 h 1065"/>
                <a:gd name="T82" fmla="*/ 201 w 676"/>
                <a:gd name="T83" fmla="*/ 666 h 1065"/>
                <a:gd name="T84" fmla="*/ 529 w 676"/>
                <a:gd name="T85" fmla="*/ 699 h 1065"/>
                <a:gd name="T86" fmla="*/ 529 w 676"/>
                <a:gd name="T87" fmla="*/ 699 h 1065"/>
                <a:gd name="T88" fmla="*/ 638 w 676"/>
                <a:gd name="T89" fmla="*/ 720 h 1065"/>
                <a:gd name="T90" fmla="*/ 407 w 676"/>
                <a:gd name="T91" fmla="*/ 886 h 1065"/>
                <a:gd name="T92" fmla="*/ 421 w 676"/>
                <a:gd name="T93" fmla="*/ 831 h 1065"/>
                <a:gd name="T94" fmla="*/ 513 w 676"/>
                <a:gd name="T95" fmla="*/ 815 h 1065"/>
                <a:gd name="T96" fmla="*/ 631 w 676"/>
                <a:gd name="T97" fmla="*/ 737 h 1065"/>
                <a:gd name="T98" fmla="*/ 664 w 676"/>
                <a:gd name="T99" fmla="*/ 860 h 1065"/>
                <a:gd name="T100" fmla="*/ 622 w 676"/>
                <a:gd name="T101" fmla="*/ 914 h 1065"/>
                <a:gd name="T102" fmla="*/ 584 w 676"/>
                <a:gd name="T103" fmla="*/ 1025 h 1065"/>
                <a:gd name="T104" fmla="*/ 492 w 676"/>
                <a:gd name="T105" fmla="*/ 869 h 1065"/>
                <a:gd name="T106" fmla="*/ 454 w 676"/>
                <a:gd name="T107" fmla="*/ 758 h 1065"/>
                <a:gd name="T108" fmla="*/ 546 w 676"/>
                <a:gd name="T109" fmla="*/ 770 h 1065"/>
                <a:gd name="T110" fmla="*/ 416 w 676"/>
                <a:gd name="T111" fmla="*/ 898 h 1065"/>
                <a:gd name="T112" fmla="*/ 622 w 676"/>
                <a:gd name="T113" fmla="*/ 914 h 1065"/>
                <a:gd name="T114" fmla="*/ 352 w 676"/>
                <a:gd name="T115" fmla="*/ 959 h 1065"/>
                <a:gd name="T116" fmla="*/ 255 w 676"/>
                <a:gd name="T117" fmla="*/ 959 h 1065"/>
                <a:gd name="T118" fmla="*/ 310 w 676"/>
                <a:gd name="T119" fmla="*/ 997 h 1065"/>
                <a:gd name="T120" fmla="*/ 277 w 676"/>
                <a:gd name="T121" fmla="*/ 1025 h 1065"/>
                <a:gd name="T122" fmla="*/ 206 w 676"/>
                <a:gd name="T123" fmla="*/ 1065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6" h="1065">
                  <a:moveTo>
                    <a:pt x="352" y="0"/>
                  </a:moveTo>
                  <a:lnTo>
                    <a:pt x="345" y="0"/>
                  </a:lnTo>
                  <a:lnTo>
                    <a:pt x="352" y="0"/>
                  </a:lnTo>
                  <a:lnTo>
                    <a:pt x="352" y="0"/>
                  </a:lnTo>
                  <a:lnTo>
                    <a:pt x="352" y="0"/>
                  </a:lnTo>
                  <a:close/>
                  <a:moveTo>
                    <a:pt x="324" y="16"/>
                  </a:moveTo>
                  <a:lnTo>
                    <a:pt x="314" y="12"/>
                  </a:lnTo>
                  <a:lnTo>
                    <a:pt x="324" y="12"/>
                  </a:lnTo>
                  <a:lnTo>
                    <a:pt x="324" y="16"/>
                  </a:lnTo>
                  <a:lnTo>
                    <a:pt x="324" y="16"/>
                  </a:lnTo>
                  <a:lnTo>
                    <a:pt x="324" y="16"/>
                  </a:lnTo>
                  <a:close/>
                  <a:moveTo>
                    <a:pt x="345" y="54"/>
                  </a:moveTo>
                  <a:lnTo>
                    <a:pt x="345" y="38"/>
                  </a:lnTo>
                  <a:lnTo>
                    <a:pt x="352" y="38"/>
                  </a:lnTo>
                  <a:lnTo>
                    <a:pt x="345" y="54"/>
                  </a:lnTo>
                  <a:lnTo>
                    <a:pt x="345" y="54"/>
                  </a:lnTo>
                  <a:lnTo>
                    <a:pt x="345" y="54"/>
                  </a:lnTo>
                  <a:close/>
                  <a:moveTo>
                    <a:pt x="310" y="50"/>
                  </a:moveTo>
                  <a:lnTo>
                    <a:pt x="314" y="50"/>
                  </a:lnTo>
                  <a:lnTo>
                    <a:pt x="310" y="50"/>
                  </a:lnTo>
                  <a:lnTo>
                    <a:pt x="310" y="50"/>
                  </a:lnTo>
                  <a:lnTo>
                    <a:pt x="310" y="50"/>
                  </a:lnTo>
                  <a:close/>
                  <a:moveTo>
                    <a:pt x="433" y="437"/>
                  </a:moveTo>
                  <a:lnTo>
                    <a:pt x="449" y="420"/>
                  </a:lnTo>
                  <a:lnTo>
                    <a:pt x="437" y="404"/>
                  </a:lnTo>
                  <a:lnTo>
                    <a:pt x="449" y="404"/>
                  </a:lnTo>
                  <a:lnTo>
                    <a:pt x="454" y="416"/>
                  </a:lnTo>
                  <a:lnTo>
                    <a:pt x="492" y="427"/>
                  </a:lnTo>
                  <a:lnTo>
                    <a:pt x="459" y="427"/>
                  </a:lnTo>
                  <a:lnTo>
                    <a:pt x="459" y="437"/>
                  </a:lnTo>
                  <a:lnTo>
                    <a:pt x="487" y="470"/>
                  </a:lnTo>
                  <a:lnTo>
                    <a:pt x="475" y="470"/>
                  </a:lnTo>
                  <a:lnTo>
                    <a:pt x="475" y="477"/>
                  </a:lnTo>
                  <a:lnTo>
                    <a:pt x="487" y="470"/>
                  </a:lnTo>
                  <a:lnTo>
                    <a:pt x="503" y="482"/>
                  </a:lnTo>
                  <a:lnTo>
                    <a:pt x="508" y="477"/>
                  </a:lnTo>
                  <a:lnTo>
                    <a:pt x="503" y="515"/>
                  </a:lnTo>
                  <a:lnTo>
                    <a:pt x="492" y="515"/>
                  </a:lnTo>
                  <a:lnTo>
                    <a:pt x="487" y="498"/>
                  </a:lnTo>
                  <a:lnTo>
                    <a:pt x="487" y="494"/>
                  </a:lnTo>
                  <a:lnTo>
                    <a:pt x="492" y="494"/>
                  </a:lnTo>
                  <a:lnTo>
                    <a:pt x="503" y="482"/>
                  </a:lnTo>
                  <a:lnTo>
                    <a:pt x="487" y="482"/>
                  </a:lnTo>
                  <a:lnTo>
                    <a:pt x="475" y="494"/>
                  </a:lnTo>
                  <a:lnTo>
                    <a:pt x="454" y="477"/>
                  </a:lnTo>
                  <a:lnTo>
                    <a:pt x="449" y="482"/>
                  </a:lnTo>
                  <a:lnTo>
                    <a:pt x="437" y="453"/>
                  </a:lnTo>
                  <a:lnTo>
                    <a:pt x="416" y="437"/>
                  </a:lnTo>
                  <a:lnTo>
                    <a:pt x="416" y="427"/>
                  </a:lnTo>
                  <a:lnTo>
                    <a:pt x="395" y="416"/>
                  </a:lnTo>
                  <a:lnTo>
                    <a:pt x="395" y="427"/>
                  </a:lnTo>
                  <a:lnTo>
                    <a:pt x="407" y="470"/>
                  </a:lnTo>
                  <a:lnTo>
                    <a:pt x="400" y="470"/>
                  </a:lnTo>
                  <a:lnTo>
                    <a:pt x="383" y="444"/>
                  </a:lnTo>
                  <a:lnTo>
                    <a:pt x="340" y="416"/>
                  </a:lnTo>
                  <a:lnTo>
                    <a:pt x="314" y="420"/>
                  </a:lnTo>
                  <a:lnTo>
                    <a:pt x="310" y="437"/>
                  </a:lnTo>
                  <a:lnTo>
                    <a:pt x="293" y="437"/>
                  </a:lnTo>
                  <a:lnTo>
                    <a:pt x="277" y="416"/>
                  </a:lnTo>
                  <a:lnTo>
                    <a:pt x="260" y="416"/>
                  </a:lnTo>
                  <a:lnTo>
                    <a:pt x="260" y="427"/>
                  </a:lnTo>
                  <a:lnTo>
                    <a:pt x="255" y="387"/>
                  </a:lnTo>
                  <a:lnTo>
                    <a:pt x="286" y="371"/>
                  </a:lnTo>
                  <a:lnTo>
                    <a:pt x="286" y="366"/>
                  </a:lnTo>
                  <a:lnTo>
                    <a:pt x="277" y="349"/>
                  </a:lnTo>
                  <a:lnTo>
                    <a:pt x="255" y="349"/>
                  </a:lnTo>
                  <a:lnTo>
                    <a:pt x="255" y="371"/>
                  </a:lnTo>
                  <a:lnTo>
                    <a:pt x="244" y="383"/>
                  </a:lnTo>
                  <a:lnTo>
                    <a:pt x="234" y="361"/>
                  </a:lnTo>
                  <a:lnTo>
                    <a:pt x="239" y="349"/>
                  </a:lnTo>
                  <a:lnTo>
                    <a:pt x="222" y="349"/>
                  </a:lnTo>
                  <a:lnTo>
                    <a:pt x="218" y="316"/>
                  </a:lnTo>
                  <a:lnTo>
                    <a:pt x="206" y="305"/>
                  </a:lnTo>
                  <a:lnTo>
                    <a:pt x="206" y="272"/>
                  </a:lnTo>
                  <a:lnTo>
                    <a:pt x="206" y="260"/>
                  </a:lnTo>
                  <a:lnTo>
                    <a:pt x="201" y="272"/>
                  </a:lnTo>
                  <a:lnTo>
                    <a:pt x="201" y="250"/>
                  </a:lnTo>
                  <a:lnTo>
                    <a:pt x="206" y="234"/>
                  </a:lnTo>
                  <a:lnTo>
                    <a:pt x="222" y="260"/>
                  </a:lnTo>
                  <a:lnTo>
                    <a:pt x="244" y="250"/>
                  </a:lnTo>
                  <a:lnTo>
                    <a:pt x="239" y="217"/>
                  </a:lnTo>
                  <a:lnTo>
                    <a:pt x="244" y="194"/>
                  </a:lnTo>
                  <a:lnTo>
                    <a:pt x="244" y="161"/>
                  </a:lnTo>
                  <a:lnTo>
                    <a:pt x="239" y="144"/>
                  </a:lnTo>
                  <a:lnTo>
                    <a:pt x="260" y="73"/>
                  </a:lnTo>
                  <a:lnTo>
                    <a:pt x="293" y="66"/>
                  </a:lnTo>
                  <a:lnTo>
                    <a:pt x="352" y="94"/>
                  </a:lnTo>
                  <a:lnTo>
                    <a:pt x="362" y="90"/>
                  </a:lnTo>
                  <a:lnTo>
                    <a:pt x="369" y="73"/>
                  </a:lnTo>
                  <a:lnTo>
                    <a:pt x="378" y="90"/>
                  </a:lnTo>
                  <a:lnTo>
                    <a:pt x="378" y="94"/>
                  </a:lnTo>
                  <a:lnTo>
                    <a:pt x="369" y="106"/>
                  </a:lnTo>
                  <a:lnTo>
                    <a:pt x="362" y="127"/>
                  </a:lnTo>
                  <a:lnTo>
                    <a:pt x="369" y="161"/>
                  </a:lnTo>
                  <a:lnTo>
                    <a:pt x="383" y="165"/>
                  </a:lnTo>
                  <a:lnTo>
                    <a:pt x="383" y="177"/>
                  </a:lnTo>
                  <a:lnTo>
                    <a:pt x="395" y="177"/>
                  </a:lnTo>
                  <a:lnTo>
                    <a:pt x="383" y="198"/>
                  </a:lnTo>
                  <a:lnTo>
                    <a:pt x="369" y="234"/>
                  </a:lnTo>
                  <a:lnTo>
                    <a:pt x="369" y="250"/>
                  </a:lnTo>
                  <a:lnTo>
                    <a:pt x="362" y="255"/>
                  </a:lnTo>
                  <a:lnTo>
                    <a:pt x="352" y="260"/>
                  </a:lnTo>
                  <a:lnTo>
                    <a:pt x="362" y="250"/>
                  </a:lnTo>
                  <a:lnTo>
                    <a:pt x="324" y="272"/>
                  </a:lnTo>
                  <a:lnTo>
                    <a:pt x="331" y="288"/>
                  </a:lnTo>
                  <a:lnTo>
                    <a:pt x="310" y="309"/>
                  </a:lnTo>
                  <a:lnTo>
                    <a:pt x="331" y="361"/>
                  </a:lnTo>
                  <a:lnTo>
                    <a:pt x="331" y="366"/>
                  </a:lnTo>
                  <a:lnTo>
                    <a:pt x="340" y="399"/>
                  </a:lnTo>
                  <a:lnTo>
                    <a:pt x="369" y="416"/>
                  </a:lnTo>
                  <a:lnTo>
                    <a:pt x="378" y="404"/>
                  </a:lnTo>
                  <a:lnTo>
                    <a:pt x="369" y="399"/>
                  </a:lnTo>
                  <a:lnTo>
                    <a:pt x="369" y="387"/>
                  </a:lnTo>
                  <a:lnTo>
                    <a:pt x="378" y="404"/>
                  </a:lnTo>
                  <a:lnTo>
                    <a:pt x="383" y="383"/>
                  </a:lnTo>
                  <a:lnTo>
                    <a:pt x="407" y="387"/>
                  </a:lnTo>
                  <a:lnTo>
                    <a:pt x="433" y="416"/>
                  </a:lnTo>
                  <a:lnTo>
                    <a:pt x="433" y="437"/>
                  </a:lnTo>
                  <a:lnTo>
                    <a:pt x="433" y="437"/>
                  </a:lnTo>
                  <a:lnTo>
                    <a:pt x="433" y="437"/>
                  </a:lnTo>
                  <a:close/>
                  <a:moveTo>
                    <a:pt x="218" y="250"/>
                  </a:moveTo>
                  <a:lnTo>
                    <a:pt x="206" y="238"/>
                  </a:lnTo>
                  <a:lnTo>
                    <a:pt x="218" y="238"/>
                  </a:lnTo>
                  <a:lnTo>
                    <a:pt x="218" y="250"/>
                  </a:lnTo>
                  <a:lnTo>
                    <a:pt x="218" y="250"/>
                  </a:lnTo>
                  <a:lnTo>
                    <a:pt x="218" y="250"/>
                  </a:lnTo>
                  <a:close/>
                  <a:moveTo>
                    <a:pt x="352" y="366"/>
                  </a:moveTo>
                  <a:lnTo>
                    <a:pt x="340" y="342"/>
                  </a:lnTo>
                  <a:lnTo>
                    <a:pt x="352" y="333"/>
                  </a:lnTo>
                  <a:lnTo>
                    <a:pt x="362" y="342"/>
                  </a:lnTo>
                  <a:lnTo>
                    <a:pt x="352" y="342"/>
                  </a:lnTo>
                  <a:lnTo>
                    <a:pt x="352" y="361"/>
                  </a:lnTo>
                  <a:lnTo>
                    <a:pt x="352" y="366"/>
                  </a:lnTo>
                  <a:lnTo>
                    <a:pt x="352" y="366"/>
                  </a:lnTo>
                  <a:lnTo>
                    <a:pt x="352" y="366"/>
                  </a:lnTo>
                  <a:close/>
                  <a:moveTo>
                    <a:pt x="369" y="361"/>
                  </a:moveTo>
                  <a:lnTo>
                    <a:pt x="362" y="349"/>
                  </a:lnTo>
                  <a:lnTo>
                    <a:pt x="369" y="349"/>
                  </a:lnTo>
                  <a:lnTo>
                    <a:pt x="369" y="361"/>
                  </a:lnTo>
                  <a:lnTo>
                    <a:pt x="369" y="361"/>
                  </a:lnTo>
                  <a:lnTo>
                    <a:pt x="369" y="361"/>
                  </a:lnTo>
                  <a:close/>
                  <a:moveTo>
                    <a:pt x="508" y="444"/>
                  </a:moveTo>
                  <a:lnTo>
                    <a:pt x="503" y="437"/>
                  </a:lnTo>
                  <a:lnTo>
                    <a:pt x="503" y="420"/>
                  </a:lnTo>
                  <a:lnTo>
                    <a:pt x="503" y="404"/>
                  </a:lnTo>
                  <a:lnTo>
                    <a:pt x="508" y="404"/>
                  </a:lnTo>
                  <a:lnTo>
                    <a:pt x="525" y="420"/>
                  </a:lnTo>
                  <a:lnTo>
                    <a:pt x="513" y="444"/>
                  </a:lnTo>
                  <a:lnTo>
                    <a:pt x="513" y="437"/>
                  </a:lnTo>
                  <a:lnTo>
                    <a:pt x="508" y="444"/>
                  </a:lnTo>
                  <a:lnTo>
                    <a:pt x="508" y="444"/>
                  </a:lnTo>
                  <a:lnTo>
                    <a:pt x="508" y="444"/>
                  </a:lnTo>
                  <a:close/>
                  <a:moveTo>
                    <a:pt x="234" y="437"/>
                  </a:moveTo>
                  <a:lnTo>
                    <a:pt x="222" y="420"/>
                  </a:lnTo>
                  <a:lnTo>
                    <a:pt x="234" y="420"/>
                  </a:lnTo>
                  <a:lnTo>
                    <a:pt x="234" y="437"/>
                  </a:lnTo>
                  <a:lnTo>
                    <a:pt x="234" y="437"/>
                  </a:lnTo>
                  <a:lnTo>
                    <a:pt x="234" y="437"/>
                  </a:lnTo>
                  <a:close/>
                  <a:moveTo>
                    <a:pt x="352" y="470"/>
                  </a:moveTo>
                  <a:lnTo>
                    <a:pt x="345" y="461"/>
                  </a:lnTo>
                  <a:lnTo>
                    <a:pt x="345" y="444"/>
                  </a:lnTo>
                  <a:lnTo>
                    <a:pt x="362" y="453"/>
                  </a:lnTo>
                  <a:lnTo>
                    <a:pt x="352" y="470"/>
                  </a:lnTo>
                  <a:lnTo>
                    <a:pt x="352" y="470"/>
                  </a:lnTo>
                  <a:lnTo>
                    <a:pt x="352" y="470"/>
                  </a:lnTo>
                  <a:close/>
                  <a:moveTo>
                    <a:pt x="314" y="531"/>
                  </a:moveTo>
                  <a:lnTo>
                    <a:pt x="293" y="538"/>
                  </a:lnTo>
                  <a:lnTo>
                    <a:pt x="272" y="498"/>
                  </a:lnTo>
                  <a:lnTo>
                    <a:pt x="260" y="477"/>
                  </a:lnTo>
                  <a:lnTo>
                    <a:pt x="239" y="444"/>
                  </a:lnTo>
                  <a:lnTo>
                    <a:pt x="286" y="444"/>
                  </a:lnTo>
                  <a:lnTo>
                    <a:pt x="324" y="470"/>
                  </a:lnTo>
                  <a:lnTo>
                    <a:pt x="314" y="498"/>
                  </a:lnTo>
                  <a:lnTo>
                    <a:pt x="324" y="510"/>
                  </a:lnTo>
                  <a:lnTo>
                    <a:pt x="314" y="527"/>
                  </a:lnTo>
                  <a:lnTo>
                    <a:pt x="314" y="531"/>
                  </a:lnTo>
                  <a:lnTo>
                    <a:pt x="314" y="531"/>
                  </a:lnTo>
                  <a:lnTo>
                    <a:pt x="314" y="531"/>
                  </a:lnTo>
                  <a:close/>
                  <a:moveTo>
                    <a:pt x="487" y="470"/>
                  </a:moveTo>
                  <a:lnTo>
                    <a:pt x="487" y="453"/>
                  </a:lnTo>
                  <a:lnTo>
                    <a:pt x="492" y="461"/>
                  </a:lnTo>
                  <a:lnTo>
                    <a:pt x="487" y="470"/>
                  </a:lnTo>
                  <a:lnTo>
                    <a:pt x="487" y="470"/>
                  </a:lnTo>
                  <a:lnTo>
                    <a:pt x="487" y="470"/>
                  </a:lnTo>
                  <a:close/>
                  <a:moveTo>
                    <a:pt x="492" y="470"/>
                  </a:moveTo>
                  <a:lnTo>
                    <a:pt x="492" y="461"/>
                  </a:lnTo>
                  <a:lnTo>
                    <a:pt x="503" y="461"/>
                  </a:lnTo>
                  <a:lnTo>
                    <a:pt x="492" y="470"/>
                  </a:lnTo>
                  <a:lnTo>
                    <a:pt x="492" y="470"/>
                  </a:lnTo>
                  <a:lnTo>
                    <a:pt x="492" y="470"/>
                  </a:lnTo>
                  <a:close/>
                  <a:moveTo>
                    <a:pt x="454" y="510"/>
                  </a:moveTo>
                  <a:lnTo>
                    <a:pt x="421" y="477"/>
                  </a:lnTo>
                  <a:lnTo>
                    <a:pt x="433" y="477"/>
                  </a:lnTo>
                  <a:lnTo>
                    <a:pt x="454" y="510"/>
                  </a:lnTo>
                  <a:lnTo>
                    <a:pt x="454" y="510"/>
                  </a:lnTo>
                  <a:lnTo>
                    <a:pt x="454" y="510"/>
                  </a:lnTo>
                  <a:close/>
                  <a:moveTo>
                    <a:pt x="352" y="548"/>
                  </a:moveTo>
                  <a:lnTo>
                    <a:pt x="345" y="531"/>
                  </a:lnTo>
                  <a:lnTo>
                    <a:pt x="352" y="515"/>
                  </a:lnTo>
                  <a:lnTo>
                    <a:pt x="362" y="510"/>
                  </a:lnTo>
                  <a:lnTo>
                    <a:pt x="352" y="548"/>
                  </a:lnTo>
                  <a:lnTo>
                    <a:pt x="352" y="548"/>
                  </a:lnTo>
                  <a:lnTo>
                    <a:pt x="352" y="548"/>
                  </a:lnTo>
                  <a:close/>
                  <a:moveTo>
                    <a:pt x="475" y="531"/>
                  </a:moveTo>
                  <a:lnTo>
                    <a:pt x="470" y="510"/>
                  </a:lnTo>
                  <a:lnTo>
                    <a:pt x="475" y="510"/>
                  </a:lnTo>
                  <a:lnTo>
                    <a:pt x="475" y="531"/>
                  </a:lnTo>
                  <a:lnTo>
                    <a:pt x="475" y="531"/>
                  </a:lnTo>
                  <a:lnTo>
                    <a:pt x="475" y="531"/>
                  </a:lnTo>
                  <a:close/>
                  <a:moveTo>
                    <a:pt x="503" y="581"/>
                  </a:moveTo>
                  <a:lnTo>
                    <a:pt x="459" y="538"/>
                  </a:lnTo>
                  <a:lnTo>
                    <a:pt x="437" y="564"/>
                  </a:lnTo>
                  <a:lnTo>
                    <a:pt x="449" y="538"/>
                  </a:lnTo>
                  <a:lnTo>
                    <a:pt x="437" y="510"/>
                  </a:lnTo>
                  <a:lnTo>
                    <a:pt x="492" y="538"/>
                  </a:lnTo>
                  <a:lnTo>
                    <a:pt x="503" y="555"/>
                  </a:lnTo>
                  <a:lnTo>
                    <a:pt x="503" y="581"/>
                  </a:lnTo>
                  <a:lnTo>
                    <a:pt x="503" y="581"/>
                  </a:lnTo>
                  <a:lnTo>
                    <a:pt x="503" y="581"/>
                  </a:lnTo>
                  <a:close/>
                  <a:moveTo>
                    <a:pt x="617" y="626"/>
                  </a:moveTo>
                  <a:lnTo>
                    <a:pt x="610" y="621"/>
                  </a:lnTo>
                  <a:lnTo>
                    <a:pt x="584" y="621"/>
                  </a:lnTo>
                  <a:lnTo>
                    <a:pt x="563" y="593"/>
                  </a:lnTo>
                  <a:lnTo>
                    <a:pt x="555" y="593"/>
                  </a:lnTo>
                  <a:lnTo>
                    <a:pt x="567" y="572"/>
                  </a:lnTo>
                  <a:lnTo>
                    <a:pt x="525" y="538"/>
                  </a:lnTo>
                  <a:lnTo>
                    <a:pt x="513" y="515"/>
                  </a:lnTo>
                  <a:lnTo>
                    <a:pt x="541" y="515"/>
                  </a:lnTo>
                  <a:lnTo>
                    <a:pt x="579" y="515"/>
                  </a:lnTo>
                  <a:lnTo>
                    <a:pt x="584" y="527"/>
                  </a:lnTo>
                  <a:lnTo>
                    <a:pt x="584" y="531"/>
                  </a:lnTo>
                  <a:lnTo>
                    <a:pt x="600" y="538"/>
                  </a:lnTo>
                  <a:lnTo>
                    <a:pt x="593" y="548"/>
                  </a:lnTo>
                  <a:lnTo>
                    <a:pt x="600" y="548"/>
                  </a:lnTo>
                  <a:lnTo>
                    <a:pt x="593" y="555"/>
                  </a:lnTo>
                  <a:lnTo>
                    <a:pt x="593" y="588"/>
                  </a:lnTo>
                  <a:lnTo>
                    <a:pt x="610" y="605"/>
                  </a:lnTo>
                  <a:lnTo>
                    <a:pt x="600" y="609"/>
                  </a:lnTo>
                  <a:lnTo>
                    <a:pt x="610" y="609"/>
                  </a:lnTo>
                  <a:lnTo>
                    <a:pt x="617" y="626"/>
                  </a:lnTo>
                  <a:lnTo>
                    <a:pt x="617" y="626"/>
                  </a:lnTo>
                  <a:lnTo>
                    <a:pt x="617" y="626"/>
                  </a:lnTo>
                  <a:close/>
                  <a:moveTo>
                    <a:pt x="400" y="538"/>
                  </a:moveTo>
                  <a:lnTo>
                    <a:pt x="383" y="527"/>
                  </a:lnTo>
                  <a:lnTo>
                    <a:pt x="400" y="527"/>
                  </a:lnTo>
                  <a:lnTo>
                    <a:pt x="400" y="538"/>
                  </a:lnTo>
                  <a:lnTo>
                    <a:pt x="400" y="538"/>
                  </a:lnTo>
                  <a:lnTo>
                    <a:pt x="400" y="538"/>
                  </a:lnTo>
                  <a:close/>
                  <a:moveTo>
                    <a:pt x="234" y="555"/>
                  </a:moveTo>
                  <a:lnTo>
                    <a:pt x="218" y="555"/>
                  </a:lnTo>
                  <a:lnTo>
                    <a:pt x="206" y="531"/>
                  </a:lnTo>
                  <a:lnTo>
                    <a:pt x="239" y="548"/>
                  </a:lnTo>
                  <a:lnTo>
                    <a:pt x="239" y="555"/>
                  </a:lnTo>
                  <a:lnTo>
                    <a:pt x="234" y="555"/>
                  </a:lnTo>
                  <a:lnTo>
                    <a:pt x="234" y="555"/>
                  </a:lnTo>
                  <a:lnTo>
                    <a:pt x="234" y="555"/>
                  </a:lnTo>
                  <a:close/>
                  <a:moveTo>
                    <a:pt x="293" y="538"/>
                  </a:moveTo>
                  <a:lnTo>
                    <a:pt x="293" y="548"/>
                  </a:lnTo>
                  <a:lnTo>
                    <a:pt x="286" y="538"/>
                  </a:lnTo>
                  <a:lnTo>
                    <a:pt x="293" y="538"/>
                  </a:lnTo>
                  <a:lnTo>
                    <a:pt x="293" y="538"/>
                  </a:lnTo>
                  <a:lnTo>
                    <a:pt x="293" y="538"/>
                  </a:lnTo>
                  <a:close/>
                  <a:moveTo>
                    <a:pt x="206" y="581"/>
                  </a:moveTo>
                  <a:lnTo>
                    <a:pt x="206" y="555"/>
                  </a:lnTo>
                  <a:lnTo>
                    <a:pt x="222" y="564"/>
                  </a:lnTo>
                  <a:lnTo>
                    <a:pt x="206" y="581"/>
                  </a:lnTo>
                  <a:lnTo>
                    <a:pt x="206" y="581"/>
                  </a:lnTo>
                  <a:lnTo>
                    <a:pt x="206" y="581"/>
                  </a:lnTo>
                  <a:close/>
                  <a:moveTo>
                    <a:pt x="433" y="609"/>
                  </a:moveTo>
                  <a:lnTo>
                    <a:pt x="433" y="621"/>
                  </a:lnTo>
                  <a:lnTo>
                    <a:pt x="407" y="638"/>
                  </a:lnTo>
                  <a:lnTo>
                    <a:pt x="407" y="642"/>
                  </a:lnTo>
                  <a:lnTo>
                    <a:pt x="369" y="659"/>
                  </a:lnTo>
                  <a:lnTo>
                    <a:pt x="352" y="675"/>
                  </a:lnTo>
                  <a:lnTo>
                    <a:pt x="345" y="666"/>
                  </a:lnTo>
                  <a:lnTo>
                    <a:pt x="362" y="581"/>
                  </a:lnTo>
                  <a:lnTo>
                    <a:pt x="362" y="572"/>
                  </a:lnTo>
                  <a:lnTo>
                    <a:pt x="345" y="572"/>
                  </a:lnTo>
                  <a:lnTo>
                    <a:pt x="345" y="564"/>
                  </a:lnTo>
                  <a:lnTo>
                    <a:pt x="369" y="572"/>
                  </a:lnTo>
                  <a:lnTo>
                    <a:pt x="395" y="588"/>
                  </a:lnTo>
                  <a:lnTo>
                    <a:pt x="416" y="588"/>
                  </a:lnTo>
                  <a:lnTo>
                    <a:pt x="416" y="593"/>
                  </a:lnTo>
                  <a:lnTo>
                    <a:pt x="437" y="588"/>
                  </a:lnTo>
                  <a:lnTo>
                    <a:pt x="433" y="609"/>
                  </a:lnTo>
                  <a:lnTo>
                    <a:pt x="433" y="609"/>
                  </a:lnTo>
                  <a:lnTo>
                    <a:pt x="433" y="609"/>
                  </a:lnTo>
                  <a:close/>
                  <a:moveTo>
                    <a:pt x="529" y="593"/>
                  </a:moveTo>
                  <a:lnTo>
                    <a:pt x="513" y="581"/>
                  </a:lnTo>
                  <a:lnTo>
                    <a:pt x="529" y="581"/>
                  </a:lnTo>
                  <a:lnTo>
                    <a:pt x="541" y="588"/>
                  </a:lnTo>
                  <a:lnTo>
                    <a:pt x="529" y="593"/>
                  </a:lnTo>
                  <a:lnTo>
                    <a:pt x="529" y="593"/>
                  </a:lnTo>
                  <a:lnTo>
                    <a:pt x="529" y="593"/>
                  </a:lnTo>
                  <a:close/>
                  <a:moveTo>
                    <a:pt x="546" y="659"/>
                  </a:moveTo>
                  <a:lnTo>
                    <a:pt x="555" y="649"/>
                  </a:lnTo>
                  <a:lnTo>
                    <a:pt x="541" y="638"/>
                  </a:lnTo>
                  <a:lnTo>
                    <a:pt x="529" y="626"/>
                  </a:lnTo>
                  <a:lnTo>
                    <a:pt x="529" y="638"/>
                  </a:lnTo>
                  <a:lnTo>
                    <a:pt x="525" y="638"/>
                  </a:lnTo>
                  <a:lnTo>
                    <a:pt x="513" y="588"/>
                  </a:lnTo>
                  <a:lnTo>
                    <a:pt x="541" y="605"/>
                  </a:lnTo>
                  <a:lnTo>
                    <a:pt x="555" y="593"/>
                  </a:lnTo>
                  <a:lnTo>
                    <a:pt x="563" y="605"/>
                  </a:lnTo>
                  <a:lnTo>
                    <a:pt x="563" y="649"/>
                  </a:lnTo>
                  <a:lnTo>
                    <a:pt x="584" y="683"/>
                  </a:lnTo>
                  <a:lnTo>
                    <a:pt x="567" y="692"/>
                  </a:lnTo>
                  <a:lnTo>
                    <a:pt x="563" y="675"/>
                  </a:lnTo>
                  <a:lnTo>
                    <a:pt x="567" y="699"/>
                  </a:lnTo>
                  <a:lnTo>
                    <a:pt x="546" y="692"/>
                  </a:lnTo>
                  <a:lnTo>
                    <a:pt x="546" y="659"/>
                  </a:lnTo>
                  <a:lnTo>
                    <a:pt x="546" y="659"/>
                  </a:lnTo>
                  <a:lnTo>
                    <a:pt x="546" y="659"/>
                  </a:lnTo>
                  <a:close/>
                  <a:moveTo>
                    <a:pt x="201" y="605"/>
                  </a:moveTo>
                  <a:lnTo>
                    <a:pt x="189" y="593"/>
                  </a:lnTo>
                  <a:lnTo>
                    <a:pt x="206" y="593"/>
                  </a:lnTo>
                  <a:lnTo>
                    <a:pt x="201" y="605"/>
                  </a:lnTo>
                  <a:lnTo>
                    <a:pt x="201" y="605"/>
                  </a:lnTo>
                  <a:lnTo>
                    <a:pt x="201" y="605"/>
                  </a:lnTo>
                  <a:close/>
                  <a:moveTo>
                    <a:pt x="189" y="666"/>
                  </a:moveTo>
                  <a:lnTo>
                    <a:pt x="168" y="683"/>
                  </a:lnTo>
                  <a:lnTo>
                    <a:pt x="163" y="699"/>
                  </a:lnTo>
                  <a:lnTo>
                    <a:pt x="130" y="704"/>
                  </a:lnTo>
                  <a:lnTo>
                    <a:pt x="126" y="720"/>
                  </a:lnTo>
                  <a:lnTo>
                    <a:pt x="130" y="732"/>
                  </a:lnTo>
                  <a:lnTo>
                    <a:pt x="100" y="758"/>
                  </a:lnTo>
                  <a:lnTo>
                    <a:pt x="83" y="758"/>
                  </a:lnTo>
                  <a:lnTo>
                    <a:pt x="76" y="786"/>
                  </a:lnTo>
                  <a:lnTo>
                    <a:pt x="17" y="827"/>
                  </a:lnTo>
                  <a:lnTo>
                    <a:pt x="24" y="803"/>
                  </a:lnTo>
                  <a:lnTo>
                    <a:pt x="55" y="770"/>
                  </a:lnTo>
                  <a:lnTo>
                    <a:pt x="71" y="753"/>
                  </a:lnTo>
                  <a:lnTo>
                    <a:pt x="76" y="753"/>
                  </a:lnTo>
                  <a:lnTo>
                    <a:pt x="130" y="692"/>
                  </a:lnTo>
                  <a:lnTo>
                    <a:pt x="130" y="699"/>
                  </a:lnTo>
                  <a:lnTo>
                    <a:pt x="130" y="692"/>
                  </a:lnTo>
                  <a:lnTo>
                    <a:pt x="137" y="692"/>
                  </a:lnTo>
                  <a:lnTo>
                    <a:pt x="147" y="666"/>
                  </a:lnTo>
                  <a:lnTo>
                    <a:pt x="151" y="675"/>
                  </a:lnTo>
                  <a:lnTo>
                    <a:pt x="168" y="659"/>
                  </a:lnTo>
                  <a:lnTo>
                    <a:pt x="168" y="649"/>
                  </a:lnTo>
                  <a:lnTo>
                    <a:pt x="163" y="638"/>
                  </a:lnTo>
                  <a:lnTo>
                    <a:pt x="180" y="649"/>
                  </a:lnTo>
                  <a:lnTo>
                    <a:pt x="168" y="626"/>
                  </a:lnTo>
                  <a:lnTo>
                    <a:pt x="168" y="621"/>
                  </a:lnTo>
                  <a:lnTo>
                    <a:pt x="180" y="626"/>
                  </a:lnTo>
                  <a:lnTo>
                    <a:pt x="180" y="593"/>
                  </a:lnTo>
                  <a:lnTo>
                    <a:pt x="185" y="609"/>
                  </a:lnTo>
                  <a:lnTo>
                    <a:pt x="180" y="638"/>
                  </a:lnTo>
                  <a:lnTo>
                    <a:pt x="185" y="642"/>
                  </a:lnTo>
                  <a:lnTo>
                    <a:pt x="189" y="666"/>
                  </a:lnTo>
                  <a:lnTo>
                    <a:pt x="189" y="666"/>
                  </a:lnTo>
                  <a:lnTo>
                    <a:pt x="189" y="666"/>
                  </a:lnTo>
                  <a:close/>
                  <a:moveTo>
                    <a:pt x="475" y="621"/>
                  </a:moveTo>
                  <a:lnTo>
                    <a:pt x="475" y="605"/>
                  </a:lnTo>
                  <a:lnTo>
                    <a:pt x="475" y="621"/>
                  </a:lnTo>
                  <a:lnTo>
                    <a:pt x="475" y="621"/>
                  </a:lnTo>
                  <a:lnTo>
                    <a:pt x="475" y="621"/>
                  </a:lnTo>
                  <a:close/>
                  <a:moveTo>
                    <a:pt x="454" y="699"/>
                  </a:moveTo>
                  <a:lnTo>
                    <a:pt x="475" y="666"/>
                  </a:lnTo>
                  <a:lnTo>
                    <a:pt x="492" y="621"/>
                  </a:lnTo>
                  <a:lnTo>
                    <a:pt x="503" y="609"/>
                  </a:lnTo>
                  <a:lnTo>
                    <a:pt x="503" y="675"/>
                  </a:lnTo>
                  <a:lnTo>
                    <a:pt x="470" y="699"/>
                  </a:lnTo>
                  <a:lnTo>
                    <a:pt x="459" y="732"/>
                  </a:lnTo>
                  <a:lnTo>
                    <a:pt x="449" y="749"/>
                  </a:lnTo>
                  <a:lnTo>
                    <a:pt x="454" y="699"/>
                  </a:lnTo>
                  <a:lnTo>
                    <a:pt x="454" y="699"/>
                  </a:lnTo>
                  <a:lnTo>
                    <a:pt x="454" y="699"/>
                  </a:lnTo>
                  <a:close/>
                  <a:moveTo>
                    <a:pt x="449" y="675"/>
                  </a:moveTo>
                  <a:lnTo>
                    <a:pt x="433" y="732"/>
                  </a:lnTo>
                  <a:lnTo>
                    <a:pt x="449" y="753"/>
                  </a:lnTo>
                  <a:lnTo>
                    <a:pt x="437" y="770"/>
                  </a:lnTo>
                  <a:lnTo>
                    <a:pt x="421" y="770"/>
                  </a:lnTo>
                  <a:lnTo>
                    <a:pt x="416" y="753"/>
                  </a:lnTo>
                  <a:lnTo>
                    <a:pt x="395" y="737"/>
                  </a:lnTo>
                  <a:lnTo>
                    <a:pt x="383" y="716"/>
                  </a:lnTo>
                  <a:lnTo>
                    <a:pt x="383" y="704"/>
                  </a:lnTo>
                  <a:lnTo>
                    <a:pt x="400" y="704"/>
                  </a:lnTo>
                  <a:lnTo>
                    <a:pt x="416" y="699"/>
                  </a:lnTo>
                  <a:lnTo>
                    <a:pt x="416" y="659"/>
                  </a:lnTo>
                  <a:lnTo>
                    <a:pt x="421" y="649"/>
                  </a:lnTo>
                  <a:lnTo>
                    <a:pt x="421" y="638"/>
                  </a:lnTo>
                  <a:lnTo>
                    <a:pt x="437" y="626"/>
                  </a:lnTo>
                  <a:lnTo>
                    <a:pt x="459" y="638"/>
                  </a:lnTo>
                  <a:lnTo>
                    <a:pt x="459" y="642"/>
                  </a:lnTo>
                  <a:lnTo>
                    <a:pt x="449" y="675"/>
                  </a:lnTo>
                  <a:lnTo>
                    <a:pt x="449" y="675"/>
                  </a:lnTo>
                  <a:lnTo>
                    <a:pt x="449" y="675"/>
                  </a:lnTo>
                  <a:close/>
                  <a:moveTo>
                    <a:pt x="617" y="649"/>
                  </a:moveTo>
                  <a:lnTo>
                    <a:pt x="610" y="642"/>
                  </a:lnTo>
                  <a:lnTo>
                    <a:pt x="617" y="642"/>
                  </a:lnTo>
                  <a:lnTo>
                    <a:pt x="622" y="649"/>
                  </a:lnTo>
                  <a:lnTo>
                    <a:pt x="617" y="649"/>
                  </a:lnTo>
                  <a:lnTo>
                    <a:pt x="617" y="649"/>
                  </a:lnTo>
                  <a:lnTo>
                    <a:pt x="617" y="649"/>
                  </a:lnTo>
                  <a:close/>
                  <a:moveTo>
                    <a:pt x="395" y="675"/>
                  </a:moveTo>
                  <a:lnTo>
                    <a:pt x="383" y="666"/>
                  </a:lnTo>
                  <a:lnTo>
                    <a:pt x="400" y="649"/>
                  </a:lnTo>
                  <a:lnTo>
                    <a:pt x="407" y="659"/>
                  </a:lnTo>
                  <a:lnTo>
                    <a:pt x="395" y="675"/>
                  </a:lnTo>
                  <a:lnTo>
                    <a:pt x="395" y="675"/>
                  </a:lnTo>
                  <a:lnTo>
                    <a:pt x="395" y="675"/>
                  </a:lnTo>
                  <a:close/>
                  <a:moveTo>
                    <a:pt x="525" y="659"/>
                  </a:moveTo>
                  <a:lnTo>
                    <a:pt x="525" y="649"/>
                  </a:lnTo>
                  <a:lnTo>
                    <a:pt x="529" y="649"/>
                  </a:lnTo>
                  <a:lnTo>
                    <a:pt x="525" y="659"/>
                  </a:lnTo>
                  <a:lnTo>
                    <a:pt x="525" y="659"/>
                  </a:lnTo>
                  <a:lnTo>
                    <a:pt x="525" y="659"/>
                  </a:lnTo>
                  <a:close/>
                  <a:moveTo>
                    <a:pt x="513" y="659"/>
                  </a:moveTo>
                  <a:lnTo>
                    <a:pt x="513" y="649"/>
                  </a:lnTo>
                  <a:lnTo>
                    <a:pt x="525" y="659"/>
                  </a:lnTo>
                  <a:lnTo>
                    <a:pt x="513" y="659"/>
                  </a:lnTo>
                  <a:lnTo>
                    <a:pt x="513" y="659"/>
                  </a:lnTo>
                  <a:lnTo>
                    <a:pt x="513" y="659"/>
                  </a:lnTo>
                  <a:close/>
                  <a:moveTo>
                    <a:pt x="201" y="666"/>
                  </a:moveTo>
                  <a:lnTo>
                    <a:pt x="201" y="659"/>
                  </a:lnTo>
                  <a:lnTo>
                    <a:pt x="218" y="659"/>
                  </a:lnTo>
                  <a:lnTo>
                    <a:pt x="201" y="666"/>
                  </a:lnTo>
                  <a:lnTo>
                    <a:pt x="201" y="666"/>
                  </a:lnTo>
                  <a:lnTo>
                    <a:pt x="201" y="666"/>
                  </a:lnTo>
                  <a:close/>
                  <a:moveTo>
                    <a:pt x="610" y="716"/>
                  </a:moveTo>
                  <a:lnTo>
                    <a:pt x="610" y="704"/>
                  </a:lnTo>
                  <a:lnTo>
                    <a:pt x="600" y="692"/>
                  </a:lnTo>
                  <a:lnTo>
                    <a:pt x="610" y="666"/>
                  </a:lnTo>
                  <a:lnTo>
                    <a:pt x="617" y="704"/>
                  </a:lnTo>
                  <a:lnTo>
                    <a:pt x="610" y="716"/>
                  </a:lnTo>
                  <a:lnTo>
                    <a:pt x="610" y="716"/>
                  </a:lnTo>
                  <a:lnTo>
                    <a:pt x="610" y="716"/>
                  </a:lnTo>
                  <a:close/>
                  <a:moveTo>
                    <a:pt x="529" y="699"/>
                  </a:moveTo>
                  <a:lnTo>
                    <a:pt x="529" y="716"/>
                  </a:lnTo>
                  <a:lnTo>
                    <a:pt x="541" y="720"/>
                  </a:lnTo>
                  <a:lnTo>
                    <a:pt x="525" y="732"/>
                  </a:lnTo>
                  <a:lnTo>
                    <a:pt x="492" y="732"/>
                  </a:lnTo>
                  <a:lnTo>
                    <a:pt x="475" y="720"/>
                  </a:lnTo>
                  <a:lnTo>
                    <a:pt x="475" y="716"/>
                  </a:lnTo>
                  <a:lnTo>
                    <a:pt x="508" y="692"/>
                  </a:lnTo>
                  <a:lnTo>
                    <a:pt x="529" y="699"/>
                  </a:lnTo>
                  <a:lnTo>
                    <a:pt x="529" y="699"/>
                  </a:lnTo>
                  <a:lnTo>
                    <a:pt x="529" y="699"/>
                  </a:lnTo>
                  <a:close/>
                  <a:moveTo>
                    <a:pt x="584" y="704"/>
                  </a:moveTo>
                  <a:lnTo>
                    <a:pt x="579" y="692"/>
                  </a:lnTo>
                  <a:lnTo>
                    <a:pt x="584" y="704"/>
                  </a:lnTo>
                  <a:lnTo>
                    <a:pt x="584" y="704"/>
                  </a:lnTo>
                  <a:lnTo>
                    <a:pt x="584" y="704"/>
                  </a:lnTo>
                  <a:close/>
                  <a:moveTo>
                    <a:pt x="638" y="720"/>
                  </a:moveTo>
                  <a:lnTo>
                    <a:pt x="631" y="716"/>
                  </a:lnTo>
                  <a:lnTo>
                    <a:pt x="638" y="699"/>
                  </a:lnTo>
                  <a:lnTo>
                    <a:pt x="648" y="716"/>
                  </a:lnTo>
                  <a:lnTo>
                    <a:pt x="638" y="720"/>
                  </a:lnTo>
                  <a:lnTo>
                    <a:pt x="638" y="720"/>
                  </a:lnTo>
                  <a:lnTo>
                    <a:pt x="638" y="720"/>
                  </a:lnTo>
                  <a:close/>
                  <a:moveTo>
                    <a:pt x="454" y="898"/>
                  </a:moveTo>
                  <a:lnTo>
                    <a:pt x="449" y="881"/>
                  </a:lnTo>
                  <a:lnTo>
                    <a:pt x="437" y="886"/>
                  </a:lnTo>
                  <a:lnTo>
                    <a:pt x="433" y="881"/>
                  </a:lnTo>
                  <a:lnTo>
                    <a:pt x="437" y="881"/>
                  </a:lnTo>
                  <a:lnTo>
                    <a:pt x="433" y="864"/>
                  </a:lnTo>
                  <a:lnTo>
                    <a:pt x="421" y="886"/>
                  </a:lnTo>
                  <a:lnTo>
                    <a:pt x="407" y="886"/>
                  </a:lnTo>
                  <a:lnTo>
                    <a:pt x="416" y="864"/>
                  </a:lnTo>
                  <a:lnTo>
                    <a:pt x="400" y="864"/>
                  </a:lnTo>
                  <a:lnTo>
                    <a:pt x="378" y="886"/>
                  </a:lnTo>
                  <a:lnTo>
                    <a:pt x="383" y="886"/>
                  </a:lnTo>
                  <a:lnTo>
                    <a:pt x="378" y="898"/>
                  </a:lnTo>
                  <a:lnTo>
                    <a:pt x="362" y="926"/>
                  </a:lnTo>
                  <a:lnTo>
                    <a:pt x="352" y="921"/>
                  </a:lnTo>
                  <a:lnTo>
                    <a:pt x="345" y="914"/>
                  </a:lnTo>
                  <a:lnTo>
                    <a:pt x="369" y="848"/>
                  </a:lnTo>
                  <a:lnTo>
                    <a:pt x="421" y="831"/>
                  </a:lnTo>
                  <a:lnTo>
                    <a:pt x="421" y="810"/>
                  </a:lnTo>
                  <a:lnTo>
                    <a:pt x="449" y="810"/>
                  </a:lnTo>
                  <a:lnTo>
                    <a:pt x="454" y="794"/>
                  </a:lnTo>
                  <a:lnTo>
                    <a:pt x="475" y="803"/>
                  </a:lnTo>
                  <a:lnTo>
                    <a:pt x="487" y="810"/>
                  </a:lnTo>
                  <a:lnTo>
                    <a:pt x="487" y="831"/>
                  </a:lnTo>
                  <a:lnTo>
                    <a:pt x="470" y="848"/>
                  </a:lnTo>
                  <a:lnTo>
                    <a:pt x="492" y="831"/>
                  </a:lnTo>
                  <a:lnTo>
                    <a:pt x="508" y="831"/>
                  </a:lnTo>
                  <a:lnTo>
                    <a:pt x="513" y="815"/>
                  </a:lnTo>
                  <a:lnTo>
                    <a:pt x="525" y="803"/>
                  </a:lnTo>
                  <a:lnTo>
                    <a:pt x="546" y="810"/>
                  </a:lnTo>
                  <a:lnTo>
                    <a:pt x="555" y="777"/>
                  </a:lnTo>
                  <a:lnTo>
                    <a:pt x="567" y="786"/>
                  </a:lnTo>
                  <a:lnTo>
                    <a:pt x="584" y="777"/>
                  </a:lnTo>
                  <a:lnTo>
                    <a:pt x="600" y="777"/>
                  </a:lnTo>
                  <a:lnTo>
                    <a:pt x="593" y="732"/>
                  </a:lnTo>
                  <a:lnTo>
                    <a:pt x="593" y="716"/>
                  </a:lnTo>
                  <a:lnTo>
                    <a:pt x="610" y="732"/>
                  </a:lnTo>
                  <a:lnTo>
                    <a:pt x="631" y="737"/>
                  </a:lnTo>
                  <a:lnTo>
                    <a:pt x="638" y="753"/>
                  </a:lnTo>
                  <a:lnTo>
                    <a:pt x="648" y="753"/>
                  </a:lnTo>
                  <a:lnTo>
                    <a:pt x="648" y="770"/>
                  </a:lnTo>
                  <a:lnTo>
                    <a:pt x="664" y="786"/>
                  </a:lnTo>
                  <a:lnTo>
                    <a:pt x="638" y="803"/>
                  </a:lnTo>
                  <a:lnTo>
                    <a:pt x="648" y="810"/>
                  </a:lnTo>
                  <a:lnTo>
                    <a:pt x="664" y="810"/>
                  </a:lnTo>
                  <a:lnTo>
                    <a:pt x="655" y="831"/>
                  </a:lnTo>
                  <a:lnTo>
                    <a:pt x="669" y="831"/>
                  </a:lnTo>
                  <a:lnTo>
                    <a:pt x="664" y="860"/>
                  </a:lnTo>
                  <a:lnTo>
                    <a:pt x="669" y="869"/>
                  </a:lnTo>
                  <a:lnTo>
                    <a:pt x="676" y="898"/>
                  </a:lnTo>
                  <a:lnTo>
                    <a:pt x="655" y="926"/>
                  </a:lnTo>
                  <a:lnTo>
                    <a:pt x="664" y="938"/>
                  </a:lnTo>
                  <a:lnTo>
                    <a:pt x="655" y="926"/>
                  </a:lnTo>
                  <a:lnTo>
                    <a:pt x="648" y="926"/>
                  </a:lnTo>
                  <a:lnTo>
                    <a:pt x="655" y="938"/>
                  </a:lnTo>
                  <a:lnTo>
                    <a:pt x="648" y="975"/>
                  </a:lnTo>
                  <a:lnTo>
                    <a:pt x="638" y="926"/>
                  </a:lnTo>
                  <a:lnTo>
                    <a:pt x="622" y="914"/>
                  </a:lnTo>
                  <a:lnTo>
                    <a:pt x="622" y="898"/>
                  </a:lnTo>
                  <a:lnTo>
                    <a:pt x="610" y="902"/>
                  </a:lnTo>
                  <a:lnTo>
                    <a:pt x="610" y="914"/>
                  </a:lnTo>
                  <a:lnTo>
                    <a:pt x="600" y="921"/>
                  </a:lnTo>
                  <a:lnTo>
                    <a:pt x="593" y="938"/>
                  </a:lnTo>
                  <a:lnTo>
                    <a:pt x="593" y="954"/>
                  </a:lnTo>
                  <a:lnTo>
                    <a:pt x="610" y="959"/>
                  </a:lnTo>
                  <a:lnTo>
                    <a:pt x="617" y="992"/>
                  </a:lnTo>
                  <a:lnTo>
                    <a:pt x="593" y="1025"/>
                  </a:lnTo>
                  <a:lnTo>
                    <a:pt x="584" y="1025"/>
                  </a:lnTo>
                  <a:lnTo>
                    <a:pt x="579" y="1009"/>
                  </a:lnTo>
                  <a:lnTo>
                    <a:pt x="584" y="980"/>
                  </a:lnTo>
                  <a:lnTo>
                    <a:pt x="579" y="980"/>
                  </a:lnTo>
                  <a:lnTo>
                    <a:pt x="567" y="997"/>
                  </a:lnTo>
                  <a:lnTo>
                    <a:pt x="563" y="997"/>
                  </a:lnTo>
                  <a:lnTo>
                    <a:pt x="513" y="980"/>
                  </a:lnTo>
                  <a:lnTo>
                    <a:pt x="503" y="971"/>
                  </a:lnTo>
                  <a:lnTo>
                    <a:pt x="492" y="926"/>
                  </a:lnTo>
                  <a:lnTo>
                    <a:pt x="513" y="886"/>
                  </a:lnTo>
                  <a:lnTo>
                    <a:pt x="492" y="869"/>
                  </a:lnTo>
                  <a:lnTo>
                    <a:pt x="459" y="860"/>
                  </a:lnTo>
                  <a:lnTo>
                    <a:pt x="454" y="860"/>
                  </a:lnTo>
                  <a:lnTo>
                    <a:pt x="454" y="869"/>
                  </a:lnTo>
                  <a:lnTo>
                    <a:pt x="449" y="881"/>
                  </a:lnTo>
                  <a:lnTo>
                    <a:pt x="454" y="886"/>
                  </a:lnTo>
                  <a:lnTo>
                    <a:pt x="454" y="898"/>
                  </a:lnTo>
                  <a:lnTo>
                    <a:pt x="454" y="898"/>
                  </a:lnTo>
                  <a:lnTo>
                    <a:pt x="454" y="898"/>
                  </a:lnTo>
                  <a:close/>
                  <a:moveTo>
                    <a:pt x="470" y="770"/>
                  </a:moveTo>
                  <a:lnTo>
                    <a:pt x="454" y="758"/>
                  </a:lnTo>
                  <a:lnTo>
                    <a:pt x="470" y="753"/>
                  </a:lnTo>
                  <a:lnTo>
                    <a:pt x="475" y="758"/>
                  </a:lnTo>
                  <a:lnTo>
                    <a:pt x="470" y="770"/>
                  </a:lnTo>
                  <a:lnTo>
                    <a:pt x="470" y="770"/>
                  </a:lnTo>
                  <a:lnTo>
                    <a:pt x="470" y="770"/>
                  </a:lnTo>
                  <a:close/>
                  <a:moveTo>
                    <a:pt x="546" y="770"/>
                  </a:moveTo>
                  <a:lnTo>
                    <a:pt x="541" y="758"/>
                  </a:lnTo>
                  <a:lnTo>
                    <a:pt x="541" y="753"/>
                  </a:lnTo>
                  <a:lnTo>
                    <a:pt x="546" y="758"/>
                  </a:lnTo>
                  <a:lnTo>
                    <a:pt x="546" y="770"/>
                  </a:lnTo>
                  <a:lnTo>
                    <a:pt x="546" y="770"/>
                  </a:lnTo>
                  <a:lnTo>
                    <a:pt x="546" y="770"/>
                  </a:lnTo>
                  <a:close/>
                  <a:moveTo>
                    <a:pt x="7" y="864"/>
                  </a:moveTo>
                  <a:lnTo>
                    <a:pt x="0" y="843"/>
                  </a:lnTo>
                  <a:lnTo>
                    <a:pt x="7" y="843"/>
                  </a:lnTo>
                  <a:lnTo>
                    <a:pt x="17" y="860"/>
                  </a:lnTo>
                  <a:lnTo>
                    <a:pt x="7" y="864"/>
                  </a:lnTo>
                  <a:lnTo>
                    <a:pt x="7" y="864"/>
                  </a:lnTo>
                  <a:lnTo>
                    <a:pt x="7" y="864"/>
                  </a:lnTo>
                  <a:close/>
                  <a:moveTo>
                    <a:pt x="416" y="898"/>
                  </a:moveTo>
                  <a:lnTo>
                    <a:pt x="407" y="886"/>
                  </a:lnTo>
                  <a:lnTo>
                    <a:pt x="421" y="886"/>
                  </a:lnTo>
                  <a:lnTo>
                    <a:pt x="421" y="898"/>
                  </a:lnTo>
                  <a:lnTo>
                    <a:pt x="416" y="898"/>
                  </a:lnTo>
                  <a:lnTo>
                    <a:pt x="416" y="898"/>
                  </a:lnTo>
                  <a:lnTo>
                    <a:pt x="416" y="898"/>
                  </a:lnTo>
                  <a:close/>
                  <a:moveTo>
                    <a:pt x="617" y="926"/>
                  </a:moveTo>
                  <a:lnTo>
                    <a:pt x="610" y="914"/>
                  </a:lnTo>
                  <a:lnTo>
                    <a:pt x="617" y="902"/>
                  </a:lnTo>
                  <a:lnTo>
                    <a:pt x="622" y="914"/>
                  </a:lnTo>
                  <a:lnTo>
                    <a:pt x="617" y="926"/>
                  </a:lnTo>
                  <a:lnTo>
                    <a:pt x="617" y="926"/>
                  </a:lnTo>
                  <a:lnTo>
                    <a:pt x="617" y="926"/>
                  </a:lnTo>
                  <a:close/>
                  <a:moveTo>
                    <a:pt x="114" y="921"/>
                  </a:moveTo>
                  <a:lnTo>
                    <a:pt x="109" y="921"/>
                  </a:lnTo>
                  <a:lnTo>
                    <a:pt x="114" y="914"/>
                  </a:lnTo>
                  <a:lnTo>
                    <a:pt x="114" y="921"/>
                  </a:lnTo>
                  <a:lnTo>
                    <a:pt x="114" y="921"/>
                  </a:lnTo>
                  <a:lnTo>
                    <a:pt x="114" y="921"/>
                  </a:lnTo>
                  <a:close/>
                  <a:moveTo>
                    <a:pt x="352" y="959"/>
                  </a:moveTo>
                  <a:lnTo>
                    <a:pt x="340" y="942"/>
                  </a:lnTo>
                  <a:lnTo>
                    <a:pt x="362" y="938"/>
                  </a:lnTo>
                  <a:lnTo>
                    <a:pt x="369" y="954"/>
                  </a:lnTo>
                  <a:lnTo>
                    <a:pt x="369" y="959"/>
                  </a:lnTo>
                  <a:lnTo>
                    <a:pt x="352" y="959"/>
                  </a:lnTo>
                  <a:lnTo>
                    <a:pt x="352" y="959"/>
                  </a:lnTo>
                  <a:lnTo>
                    <a:pt x="352" y="959"/>
                  </a:lnTo>
                  <a:close/>
                  <a:moveTo>
                    <a:pt x="255" y="975"/>
                  </a:moveTo>
                  <a:lnTo>
                    <a:pt x="244" y="975"/>
                  </a:lnTo>
                  <a:lnTo>
                    <a:pt x="255" y="959"/>
                  </a:lnTo>
                  <a:lnTo>
                    <a:pt x="255" y="975"/>
                  </a:lnTo>
                  <a:lnTo>
                    <a:pt x="255" y="975"/>
                  </a:lnTo>
                  <a:lnTo>
                    <a:pt x="255" y="975"/>
                  </a:lnTo>
                  <a:close/>
                  <a:moveTo>
                    <a:pt x="345" y="992"/>
                  </a:moveTo>
                  <a:lnTo>
                    <a:pt x="340" y="980"/>
                  </a:lnTo>
                  <a:lnTo>
                    <a:pt x="352" y="992"/>
                  </a:lnTo>
                  <a:lnTo>
                    <a:pt x="345" y="992"/>
                  </a:lnTo>
                  <a:lnTo>
                    <a:pt x="345" y="992"/>
                  </a:lnTo>
                  <a:lnTo>
                    <a:pt x="345" y="992"/>
                  </a:lnTo>
                  <a:close/>
                  <a:moveTo>
                    <a:pt x="310" y="997"/>
                  </a:moveTo>
                  <a:lnTo>
                    <a:pt x="298" y="997"/>
                  </a:lnTo>
                  <a:lnTo>
                    <a:pt x="277" y="997"/>
                  </a:lnTo>
                  <a:lnTo>
                    <a:pt x="277" y="992"/>
                  </a:lnTo>
                  <a:lnTo>
                    <a:pt x="293" y="980"/>
                  </a:lnTo>
                  <a:lnTo>
                    <a:pt x="314" y="992"/>
                  </a:lnTo>
                  <a:lnTo>
                    <a:pt x="310" y="997"/>
                  </a:lnTo>
                  <a:lnTo>
                    <a:pt x="310" y="997"/>
                  </a:lnTo>
                  <a:lnTo>
                    <a:pt x="310" y="997"/>
                  </a:lnTo>
                  <a:close/>
                  <a:moveTo>
                    <a:pt x="277" y="1030"/>
                  </a:moveTo>
                  <a:lnTo>
                    <a:pt x="277" y="1025"/>
                  </a:lnTo>
                  <a:lnTo>
                    <a:pt x="277" y="1030"/>
                  </a:lnTo>
                  <a:lnTo>
                    <a:pt x="277" y="1030"/>
                  </a:lnTo>
                  <a:lnTo>
                    <a:pt x="277" y="1030"/>
                  </a:lnTo>
                  <a:close/>
                  <a:moveTo>
                    <a:pt x="206" y="1065"/>
                  </a:moveTo>
                  <a:lnTo>
                    <a:pt x="201" y="1053"/>
                  </a:lnTo>
                  <a:lnTo>
                    <a:pt x="234" y="1037"/>
                  </a:lnTo>
                  <a:lnTo>
                    <a:pt x="234" y="1053"/>
                  </a:lnTo>
                  <a:lnTo>
                    <a:pt x="218" y="1046"/>
                  </a:lnTo>
                  <a:lnTo>
                    <a:pt x="206" y="1065"/>
                  </a:lnTo>
                  <a:lnTo>
                    <a:pt x="206" y="1065"/>
                  </a:lnTo>
                  <a:lnTo>
                    <a:pt x="206" y="106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81" name="Freeform 555">
              <a:extLst>
                <a:ext uri="{FF2B5EF4-FFF2-40B4-BE49-F238E27FC236}">
                  <a16:creationId xmlns:a16="http://schemas.microsoft.com/office/drawing/2014/main" id="{18FAA7F2-4B58-4978-B446-CA75A5974F52}"/>
                </a:ext>
              </a:extLst>
            </p:cNvPr>
            <p:cNvSpPr>
              <a:spLocks/>
            </p:cNvSpPr>
            <p:nvPr/>
          </p:nvSpPr>
          <p:spPr bwMode="gray">
            <a:xfrm>
              <a:off x="9717431" y="4024713"/>
              <a:ext cx="9880" cy="2059"/>
            </a:xfrm>
            <a:custGeom>
              <a:avLst/>
              <a:gdLst>
                <a:gd name="T0" fmla="*/ 24 w 24"/>
                <a:gd name="T1" fmla="*/ 0 h 5"/>
                <a:gd name="T2" fmla="*/ 16 w 24"/>
                <a:gd name="T3" fmla="*/ 5 h 5"/>
                <a:gd name="T4" fmla="*/ 0 w 24"/>
                <a:gd name="T5" fmla="*/ 5 h 5"/>
                <a:gd name="T6" fmla="*/ 7 w 24"/>
                <a:gd name="T7" fmla="*/ 0 h 5"/>
                <a:gd name="T8" fmla="*/ 24 w 24"/>
                <a:gd name="T9" fmla="*/ 0 h 5"/>
                <a:gd name="T10" fmla="*/ 24 w 24"/>
                <a:gd name="T11" fmla="*/ 0 h 5"/>
                <a:gd name="T12" fmla="*/ 24 w 2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4" h="5">
                  <a:moveTo>
                    <a:pt x="24" y="0"/>
                  </a:moveTo>
                  <a:lnTo>
                    <a:pt x="16" y="5"/>
                  </a:lnTo>
                  <a:lnTo>
                    <a:pt x="0" y="5"/>
                  </a:lnTo>
                  <a:lnTo>
                    <a:pt x="7" y="0"/>
                  </a:lnTo>
                  <a:lnTo>
                    <a:pt x="24" y="0"/>
                  </a:lnTo>
                  <a:lnTo>
                    <a:pt x="24" y="0"/>
                  </a:lnTo>
                  <a:lnTo>
                    <a:pt x="24"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82" name="Freeform 567">
              <a:extLst>
                <a:ext uri="{FF2B5EF4-FFF2-40B4-BE49-F238E27FC236}">
                  <a16:creationId xmlns:a16="http://schemas.microsoft.com/office/drawing/2014/main" id="{00AD04F9-3F0E-40FC-AA9B-C6ECCA62918F}"/>
                </a:ext>
              </a:extLst>
            </p:cNvPr>
            <p:cNvSpPr>
              <a:spLocks noEditPoints="1"/>
            </p:cNvSpPr>
            <p:nvPr/>
          </p:nvSpPr>
          <p:spPr bwMode="gray">
            <a:xfrm>
              <a:off x="9535473" y="3449135"/>
              <a:ext cx="239180" cy="447123"/>
            </a:xfrm>
            <a:custGeom>
              <a:avLst/>
              <a:gdLst>
                <a:gd name="T0" fmla="*/ 298 w 581"/>
                <a:gd name="T1" fmla="*/ 1070 h 1086"/>
                <a:gd name="T2" fmla="*/ 267 w 581"/>
                <a:gd name="T3" fmla="*/ 1046 h 1086"/>
                <a:gd name="T4" fmla="*/ 217 w 581"/>
                <a:gd name="T5" fmla="*/ 1025 h 1086"/>
                <a:gd name="T6" fmla="*/ 196 w 581"/>
                <a:gd name="T7" fmla="*/ 1025 h 1086"/>
                <a:gd name="T8" fmla="*/ 147 w 581"/>
                <a:gd name="T9" fmla="*/ 968 h 1086"/>
                <a:gd name="T10" fmla="*/ 121 w 581"/>
                <a:gd name="T11" fmla="*/ 930 h 1086"/>
                <a:gd name="T12" fmla="*/ 92 w 581"/>
                <a:gd name="T13" fmla="*/ 885 h 1086"/>
                <a:gd name="T14" fmla="*/ 66 w 581"/>
                <a:gd name="T15" fmla="*/ 881 h 1086"/>
                <a:gd name="T16" fmla="*/ 104 w 581"/>
                <a:gd name="T17" fmla="*/ 720 h 1086"/>
                <a:gd name="T18" fmla="*/ 147 w 581"/>
                <a:gd name="T19" fmla="*/ 588 h 1086"/>
                <a:gd name="T20" fmla="*/ 137 w 581"/>
                <a:gd name="T21" fmla="*/ 543 h 1086"/>
                <a:gd name="T22" fmla="*/ 71 w 581"/>
                <a:gd name="T23" fmla="*/ 432 h 1086"/>
                <a:gd name="T24" fmla="*/ 88 w 581"/>
                <a:gd name="T25" fmla="*/ 382 h 1086"/>
                <a:gd name="T26" fmla="*/ 109 w 581"/>
                <a:gd name="T27" fmla="*/ 304 h 1086"/>
                <a:gd name="T28" fmla="*/ 33 w 581"/>
                <a:gd name="T29" fmla="*/ 210 h 1086"/>
                <a:gd name="T30" fmla="*/ 12 w 581"/>
                <a:gd name="T31" fmla="*/ 156 h 1086"/>
                <a:gd name="T32" fmla="*/ 33 w 581"/>
                <a:gd name="T33" fmla="*/ 82 h 1086"/>
                <a:gd name="T34" fmla="*/ 66 w 581"/>
                <a:gd name="T35" fmla="*/ 56 h 1086"/>
                <a:gd name="T36" fmla="*/ 147 w 581"/>
                <a:gd name="T37" fmla="*/ 28 h 1086"/>
                <a:gd name="T38" fmla="*/ 191 w 581"/>
                <a:gd name="T39" fmla="*/ 0 h 1086"/>
                <a:gd name="T40" fmla="*/ 217 w 581"/>
                <a:gd name="T41" fmla="*/ 28 h 1086"/>
                <a:gd name="T42" fmla="*/ 243 w 581"/>
                <a:gd name="T43" fmla="*/ 73 h 1086"/>
                <a:gd name="T44" fmla="*/ 281 w 581"/>
                <a:gd name="T45" fmla="*/ 106 h 1086"/>
                <a:gd name="T46" fmla="*/ 272 w 581"/>
                <a:gd name="T47" fmla="*/ 160 h 1086"/>
                <a:gd name="T48" fmla="*/ 298 w 581"/>
                <a:gd name="T49" fmla="*/ 200 h 1086"/>
                <a:gd name="T50" fmla="*/ 359 w 581"/>
                <a:gd name="T51" fmla="*/ 182 h 1086"/>
                <a:gd name="T52" fmla="*/ 406 w 581"/>
                <a:gd name="T53" fmla="*/ 182 h 1086"/>
                <a:gd name="T54" fmla="*/ 428 w 581"/>
                <a:gd name="T55" fmla="*/ 156 h 1086"/>
                <a:gd name="T56" fmla="*/ 527 w 581"/>
                <a:gd name="T57" fmla="*/ 238 h 1086"/>
                <a:gd name="T58" fmla="*/ 569 w 581"/>
                <a:gd name="T59" fmla="*/ 345 h 1086"/>
                <a:gd name="T60" fmla="*/ 581 w 581"/>
                <a:gd name="T61" fmla="*/ 404 h 1086"/>
                <a:gd name="T62" fmla="*/ 543 w 581"/>
                <a:gd name="T63" fmla="*/ 453 h 1086"/>
                <a:gd name="T64" fmla="*/ 414 w 581"/>
                <a:gd name="T65" fmla="*/ 453 h 1086"/>
                <a:gd name="T66" fmla="*/ 373 w 581"/>
                <a:gd name="T67" fmla="*/ 510 h 1086"/>
                <a:gd name="T68" fmla="*/ 364 w 581"/>
                <a:gd name="T69" fmla="*/ 581 h 1086"/>
                <a:gd name="T70" fmla="*/ 373 w 581"/>
                <a:gd name="T71" fmla="*/ 609 h 1086"/>
                <a:gd name="T72" fmla="*/ 359 w 581"/>
                <a:gd name="T73" fmla="*/ 604 h 1086"/>
                <a:gd name="T74" fmla="*/ 310 w 581"/>
                <a:gd name="T75" fmla="*/ 571 h 1086"/>
                <a:gd name="T76" fmla="*/ 251 w 581"/>
                <a:gd name="T77" fmla="*/ 581 h 1086"/>
                <a:gd name="T78" fmla="*/ 191 w 581"/>
                <a:gd name="T79" fmla="*/ 531 h 1086"/>
                <a:gd name="T80" fmla="*/ 163 w 581"/>
                <a:gd name="T81" fmla="*/ 666 h 1086"/>
                <a:gd name="T82" fmla="*/ 142 w 581"/>
                <a:gd name="T83" fmla="*/ 819 h 1086"/>
                <a:gd name="T84" fmla="*/ 191 w 581"/>
                <a:gd name="T85" fmla="*/ 876 h 1086"/>
                <a:gd name="T86" fmla="*/ 201 w 581"/>
                <a:gd name="T87" fmla="*/ 885 h 1086"/>
                <a:gd name="T88" fmla="*/ 213 w 581"/>
                <a:gd name="T89" fmla="*/ 935 h 1086"/>
                <a:gd name="T90" fmla="*/ 217 w 581"/>
                <a:gd name="T91" fmla="*/ 975 h 1086"/>
                <a:gd name="T92" fmla="*/ 281 w 581"/>
                <a:gd name="T93" fmla="*/ 996 h 1086"/>
                <a:gd name="T94" fmla="*/ 336 w 581"/>
                <a:gd name="T95" fmla="*/ 1046 h 1086"/>
                <a:gd name="T96" fmla="*/ 352 w 581"/>
                <a:gd name="T97" fmla="*/ 626 h 1086"/>
                <a:gd name="T98" fmla="*/ 359 w 581"/>
                <a:gd name="T99" fmla="*/ 626 h 1086"/>
                <a:gd name="T100" fmla="*/ 364 w 581"/>
                <a:gd name="T101" fmla="*/ 642 h 1086"/>
                <a:gd name="T102" fmla="*/ 196 w 581"/>
                <a:gd name="T103" fmla="*/ 791 h 1086"/>
                <a:gd name="T104" fmla="*/ 191 w 581"/>
                <a:gd name="T105" fmla="*/ 786 h 1086"/>
                <a:gd name="T106" fmla="*/ 196 w 581"/>
                <a:gd name="T107" fmla="*/ 808 h 1086"/>
                <a:gd name="T108" fmla="*/ 66 w 581"/>
                <a:gd name="T109" fmla="*/ 843 h 1086"/>
                <a:gd name="T110" fmla="*/ 71 w 581"/>
                <a:gd name="T111" fmla="*/ 843 h 1086"/>
                <a:gd name="T112" fmla="*/ 66 w 581"/>
                <a:gd name="T113" fmla="*/ 902 h 1086"/>
                <a:gd name="T114" fmla="*/ 88 w 581"/>
                <a:gd name="T115" fmla="*/ 914 h 1086"/>
                <a:gd name="T116" fmla="*/ 88 w 581"/>
                <a:gd name="T117" fmla="*/ 914 h 1086"/>
                <a:gd name="T118" fmla="*/ 158 w 581"/>
                <a:gd name="T119" fmla="*/ 1025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1" h="1086">
                  <a:moveTo>
                    <a:pt x="336" y="1046"/>
                  </a:moveTo>
                  <a:lnTo>
                    <a:pt x="321" y="1079"/>
                  </a:lnTo>
                  <a:lnTo>
                    <a:pt x="305" y="1079"/>
                  </a:lnTo>
                  <a:lnTo>
                    <a:pt x="298" y="1070"/>
                  </a:lnTo>
                  <a:lnTo>
                    <a:pt x="267" y="1086"/>
                  </a:lnTo>
                  <a:lnTo>
                    <a:pt x="255" y="1079"/>
                  </a:lnTo>
                  <a:lnTo>
                    <a:pt x="267" y="1063"/>
                  </a:lnTo>
                  <a:lnTo>
                    <a:pt x="267" y="1046"/>
                  </a:lnTo>
                  <a:lnTo>
                    <a:pt x="251" y="1046"/>
                  </a:lnTo>
                  <a:lnTo>
                    <a:pt x="243" y="1025"/>
                  </a:lnTo>
                  <a:lnTo>
                    <a:pt x="234" y="1030"/>
                  </a:lnTo>
                  <a:lnTo>
                    <a:pt x="217" y="1025"/>
                  </a:lnTo>
                  <a:lnTo>
                    <a:pt x="213" y="1013"/>
                  </a:lnTo>
                  <a:lnTo>
                    <a:pt x="201" y="1013"/>
                  </a:lnTo>
                  <a:lnTo>
                    <a:pt x="196" y="1030"/>
                  </a:lnTo>
                  <a:lnTo>
                    <a:pt x="196" y="1025"/>
                  </a:lnTo>
                  <a:lnTo>
                    <a:pt x="163" y="996"/>
                  </a:lnTo>
                  <a:lnTo>
                    <a:pt x="175" y="987"/>
                  </a:lnTo>
                  <a:lnTo>
                    <a:pt x="158" y="987"/>
                  </a:lnTo>
                  <a:lnTo>
                    <a:pt x="147" y="968"/>
                  </a:lnTo>
                  <a:lnTo>
                    <a:pt x="137" y="942"/>
                  </a:lnTo>
                  <a:lnTo>
                    <a:pt x="125" y="935"/>
                  </a:lnTo>
                  <a:lnTo>
                    <a:pt x="121" y="935"/>
                  </a:lnTo>
                  <a:lnTo>
                    <a:pt x="121" y="930"/>
                  </a:lnTo>
                  <a:lnTo>
                    <a:pt x="104" y="919"/>
                  </a:lnTo>
                  <a:lnTo>
                    <a:pt x="92" y="897"/>
                  </a:lnTo>
                  <a:lnTo>
                    <a:pt x="92" y="897"/>
                  </a:lnTo>
                  <a:lnTo>
                    <a:pt x="92" y="885"/>
                  </a:lnTo>
                  <a:lnTo>
                    <a:pt x="83" y="897"/>
                  </a:lnTo>
                  <a:lnTo>
                    <a:pt x="83" y="902"/>
                  </a:lnTo>
                  <a:lnTo>
                    <a:pt x="66" y="897"/>
                  </a:lnTo>
                  <a:lnTo>
                    <a:pt x="66" y="881"/>
                  </a:lnTo>
                  <a:lnTo>
                    <a:pt x="71" y="831"/>
                  </a:lnTo>
                  <a:lnTo>
                    <a:pt x="104" y="748"/>
                  </a:lnTo>
                  <a:lnTo>
                    <a:pt x="104" y="737"/>
                  </a:lnTo>
                  <a:lnTo>
                    <a:pt x="104" y="720"/>
                  </a:lnTo>
                  <a:lnTo>
                    <a:pt x="137" y="699"/>
                  </a:lnTo>
                  <a:lnTo>
                    <a:pt x="163" y="642"/>
                  </a:lnTo>
                  <a:lnTo>
                    <a:pt x="147" y="604"/>
                  </a:lnTo>
                  <a:lnTo>
                    <a:pt x="147" y="588"/>
                  </a:lnTo>
                  <a:lnTo>
                    <a:pt x="137" y="571"/>
                  </a:lnTo>
                  <a:lnTo>
                    <a:pt x="125" y="548"/>
                  </a:lnTo>
                  <a:lnTo>
                    <a:pt x="125" y="543"/>
                  </a:lnTo>
                  <a:lnTo>
                    <a:pt x="137" y="543"/>
                  </a:lnTo>
                  <a:lnTo>
                    <a:pt x="137" y="498"/>
                  </a:lnTo>
                  <a:lnTo>
                    <a:pt x="121" y="477"/>
                  </a:lnTo>
                  <a:lnTo>
                    <a:pt x="92" y="460"/>
                  </a:lnTo>
                  <a:lnTo>
                    <a:pt x="71" y="432"/>
                  </a:lnTo>
                  <a:lnTo>
                    <a:pt x="66" y="404"/>
                  </a:lnTo>
                  <a:lnTo>
                    <a:pt x="66" y="387"/>
                  </a:lnTo>
                  <a:lnTo>
                    <a:pt x="83" y="382"/>
                  </a:lnTo>
                  <a:lnTo>
                    <a:pt x="88" y="382"/>
                  </a:lnTo>
                  <a:lnTo>
                    <a:pt x="92" y="333"/>
                  </a:lnTo>
                  <a:lnTo>
                    <a:pt x="109" y="326"/>
                  </a:lnTo>
                  <a:lnTo>
                    <a:pt x="109" y="304"/>
                  </a:lnTo>
                  <a:lnTo>
                    <a:pt x="109" y="304"/>
                  </a:lnTo>
                  <a:lnTo>
                    <a:pt x="92" y="309"/>
                  </a:lnTo>
                  <a:lnTo>
                    <a:pt x="83" y="276"/>
                  </a:lnTo>
                  <a:lnTo>
                    <a:pt x="88" y="267"/>
                  </a:lnTo>
                  <a:lnTo>
                    <a:pt x="33" y="210"/>
                  </a:lnTo>
                  <a:lnTo>
                    <a:pt x="29" y="165"/>
                  </a:lnTo>
                  <a:lnTo>
                    <a:pt x="12" y="165"/>
                  </a:lnTo>
                  <a:lnTo>
                    <a:pt x="0" y="144"/>
                  </a:lnTo>
                  <a:lnTo>
                    <a:pt x="12" y="156"/>
                  </a:lnTo>
                  <a:lnTo>
                    <a:pt x="33" y="144"/>
                  </a:lnTo>
                  <a:lnTo>
                    <a:pt x="29" y="111"/>
                  </a:lnTo>
                  <a:lnTo>
                    <a:pt x="33" y="106"/>
                  </a:lnTo>
                  <a:lnTo>
                    <a:pt x="33" y="82"/>
                  </a:lnTo>
                  <a:lnTo>
                    <a:pt x="38" y="66"/>
                  </a:lnTo>
                  <a:lnTo>
                    <a:pt x="50" y="66"/>
                  </a:lnTo>
                  <a:lnTo>
                    <a:pt x="50" y="49"/>
                  </a:lnTo>
                  <a:lnTo>
                    <a:pt x="66" y="56"/>
                  </a:lnTo>
                  <a:lnTo>
                    <a:pt x="109" y="49"/>
                  </a:lnTo>
                  <a:lnTo>
                    <a:pt x="121" y="49"/>
                  </a:lnTo>
                  <a:lnTo>
                    <a:pt x="125" y="33"/>
                  </a:lnTo>
                  <a:lnTo>
                    <a:pt x="147" y="28"/>
                  </a:lnTo>
                  <a:lnTo>
                    <a:pt x="158" y="28"/>
                  </a:lnTo>
                  <a:lnTo>
                    <a:pt x="158" y="11"/>
                  </a:lnTo>
                  <a:lnTo>
                    <a:pt x="175" y="11"/>
                  </a:lnTo>
                  <a:lnTo>
                    <a:pt x="191" y="0"/>
                  </a:lnTo>
                  <a:lnTo>
                    <a:pt x="196" y="11"/>
                  </a:lnTo>
                  <a:lnTo>
                    <a:pt x="201" y="16"/>
                  </a:lnTo>
                  <a:lnTo>
                    <a:pt x="213" y="11"/>
                  </a:lnTo>
                  <a:lnTo>
                    <a:pt x="217" y="28"/>
                  </a:lnTo>
                  <a:lnTo>
                    <a:pt x="229" y="28"/>
                  </a:lnTo>
                  <a:lnTo>
                    <a:pt x="217" y="56"/>
                  </a:lnTo>
                  <a:lnTo>
                    <a:pt x="229" y="73"/>
                  </a:lnTo>
                  <a:lnTo>
                    <a:pt x="243" y="73"/>
                  </a:lnTo>
                  <a:lnTo>
                    <a:pt x="251" y="66"/>
                  </a:lnTo>
                  <a:lnTo>
                    <a:pt x="281" y="73"/>
                  </a:lnTo>
                  <a:lnTo>
                    <a:pt x="272" y="82"/>
                  </a:lnTo>
                  <a:lnTo>
                    <a:pt x="281" y="106"/>
                  </a:lnTo>
                  <a:lnTo>
                    <a:pt x="272" y="123"/>
                  </a:lnTo>
                  <a:lnTo>
                    <a:pt x="281" y="139"/>
                  </a:lnTo>
                  <a:lnTo>
                    <a:pt x="267" y="156"/>
                  </a:lnTo>
                  <a:lnTo>
                    <a:pt x="272" y="160"/>
                  </a:lnTo>
                  <a:lnTo>
                    <a:pt x="272" y="177"/>
                  </a:lnTo>
                  <a:lnTo>
                    <a:pt x="255" y="217"/>
                  </a:lnTo>
                  <a:lnTo>
                    <a:pt x="272" y="222"/>
                  </a:lnTo>
                  <a:lnTo>
                    <a:pt x="298" y="200"/>
                  </a:lnTo>
                  <a:lnTo>
                    <a:pt x="310" y="182"/>
                  </a:lnTo>
                  <a:lnTo>
                    <a:pt x="321" y="182"/>
                  </a:lnTo>
                  <a:lnTo>
                    <a:pt x="336" y="165"/>
                  </a:lnTo>
                  <a:lnTo>
                    <a:pt x="359" y="182"/>
                  </a:lnTo>
                  <a:lnTo>
                    <a:pt x="373" y="193"/>
                  </a:lnTo>
                  <a:lnTo>
                    <a:pt x="373" y="200"/>
                  </a:lnTo>
                  <a:lnTo>
                    <a:pt x="390" y="182"/>
                  </a:lnTo>
                  <a:lnTo>
                    <a:pt x="406" y="182"/>
                  </a:lnTo>
                  <a:lnTo>
                    <a:pt x="406" y="177"/>
                  </a:lnTo>
                  <a:lnTo>
                    <a:pt x="418" y="165"/>
                  </a:lnTo>
                  <a:lnTo>
                    <a:pt x="418" y="160"/>
                  </a:lnTo>
                  <a:lnTo>
                    <a:pt x="428" y="156"/>
                  </a:lnTo>
                  <a:lnTo>
                    <a:pt x="466" y="160"/>
                  </a:lnTo>
                  <a:lnTo>
                    <a:pt x="489" y="200"/>
                  </a:lnTo>
                  <a:lnTo>
                    <a:pt x="520" y="222"/>
                  </a:lnTo>
                  <a:lnTo>
                    <a:pt x="527" y="238"/>
                  </a:lnTo>
                  <a:lnTo>
                    <a:pt x="520" y="293"/>
                  </a:lnTo>
                  <a:lnTo>
                    <a:pt x="543" y="326"/>
                  </a:lnTo>
                  <a:lnTo>
                    <a:pt x="569" y="333"/>
                  </a:lnTo>
                  <a:lnTo>
                    <a:pt x="569" y="345"/>
                  </a:lnTo>
                  <a:lnTo>
                    <a:pt x="569" y="349"/>
                  </a:lnTo>
                  <a:lnTo>
                    <a:pt x="581" y="361"/>
                  </a:lnTo>
                  <a:lnTo>
                    <a:pt x="574" y="399"/>
                  </a:lnTo>
                  <a:lnTo>
                    <a:pt x="581" y="404"/>
                  </a:lnTo>
                  <a:lnTo>
                    <a:pt x="574" y="437"/>
                  </a:lnTo>
                  <a:lnTo>
                    <a:pt x="553" y="453"/>
                  </a:lnTo>
                  <a:lnTo>
                    <a:pt x="543" y="470"/>
                  </a:lnTo>
                  <a:lnTo>
                    <a:pt x="543" y="453"/>
                  </a:lnTo>
                  <a:lnTo>
                    <a:pt x="527" y="444"/>
                  </a:lnTo>
                  <a:lnTo>
                    <a:pt x="466" y="453"/>
                  </a:lnTo>
                  <a:lnTo>
                    <a:pt x="444" y="444"/>
                  </a:lnTo>
                  <a:lnTo>
                    <a:pt x="414" y="453"/>
                  </a:lnTo>
                  <a:lnTo>
                    <a:pt x="397" y="470"/>
                  </a:lnTo>
                  <a:lnTo>
                    <a:pt x="380" y="498"/>
                  </a:lnTo>
                  <a:lnTo>
                    <a:pt x="364" y="498"/>
                  </a:lnTo>
                  <a:lnTo>
                    <a:pt x="373" y="510"/>
                  </a:lnTo>
                  <a:lnTo>
                    <a:pt x="359" y="510"/>
                  </a:lnTo>
                  <a:lnTo>
                    <a:pt x="352" y="531"/>
                  </a:lnTo>
                  <a:lnTo>
                    <a:pt x="364" y="555"/>
                  </a:lnTo>
                  <a:lnTo>
                    <a:pt x="364" y="581"/>
                  </a:lnTo>
                  <a:lnTo>
                    <a:pt x="380" y="597"/>
                  </a:lnTo>
                  <a:lnTo>
                    <a:pt x="380" y="621"/>
                  </a:lnTo>
                  <a:lnTo>
                    <a:pt x="397" y="654"/>
                  </a:lnTo>
                  <a:lnTo>
                    <a:pt x="373" y="609"/>
                  </a:lnTo>
                  <a:lnTo>
                    <a:pt x="364" y="609"/>
                  </a:lnTo>
                  <a:lnTo>
                    <a:pt x="364" y="621"/>
                  </a:lnTo>
                  <a:lnTo>
                    <a:pt x="352" y="609"/>
                  </a:lnTo>
                  <a:lnTo>
                    <a:pt x="359" y="604"/>
                  </a:lnTo>
                  <a:lnTo>
                    <a:pt x="343" y="604"/>
                  </a:lnTo>
                  <a:lnTo>
                    <a:pt x="336" y="588"/>
                  </a:lnTo>
                  <a:lnTo>
                    <a:pt x="326" y="588"/>
                  </a:lnTo>
                  <a:lnTo>
                    <a:pt x="310" y="571"/>
                  </a:lnTo>
                  <a:lnTo>
                    <a:pt x="288" y="581"/>
                  </a:lnTo>
                  <a:lnTo>
                    <a:pt x="267" y="581"/>
                  </a:lnTo>
                  <a:lnTo>
                    <a:pt x="255" y="588"/>
                  </a:lnTo>
                  <a:lnTo>
                    <a:pt x="251" y="581"/>
                  </a:lnTo>
                  <a:lnTo>
                    <a:pt x="255" y="515"/>
                  </a:lnTo>
                  <a:lnTo>
                    <a:pt x="229" y="515"/>
                  </a:lnTo>
                  <a:lnTo>
                    <a:pt x="196" y="526"/>
                  </a:lnTo>
                  <a:lnTo>
                    <a:pt x="191" y="531"/>
                  </a:lnTo>
                  <a:lnTo>
                    <a:pt x="196" y="548"/>
                  </a:lnTo>
                  <a:lnTo>
                    <a:pt x="191" y="581"/>
                  </a:lnTo>
                  <a:lnTo>
                    <a:pt x="191" y="609"/>
                  </a:lnTo>
                  <a:lnTo>
                    <a:pt x="163" y="666"/>
                  </a:lnTo>
                  <a:lnTo>
                    <a:pt x="158" y="708"/>
                  </a:lnTo>
                  <a:lnTo>
                    <a:pt x="125" y="748"/>
                  </a:lnTo>
                  <a:lnTo>
                    <a:pt x="125" y="791"/>
                  </a:lnTo>
                  <a:lnTo>
                    <a:pt x="142" y="819"/>
                  </a:lnTo>
                  <a:lnTo>
                    <a:pt x="137" y="826"/>
                  </a:lnTo>
                  <a:lnTo>
                    <a:pt x="147" y="831"/>
                  </a:lnTo>
                  <a:lnTo>
                    <a:pt x="180" y="826"/>
                  </a:lnTo>
                  <a:lnTo>
                    <a:pt x="191" y="876"/>
                  </a:lnTo>
                  <a:lnTo>
                    <a:pt x="196" y="885"/>
                  </a:lnTo>
                  <a:lnTo>
                    <a:pt x="201" y="885"/>
                  </a:lnTo>
                  <a:lnTo>
                    <a:pt x="196" y="881"/>
                  </a:lnTo>
                  <a:lnTo>
                    <a:pt x="201" y="885"/>
                  </a:lnTo>
                  <a:lnTo>
                    <a:pt x="217" y="959"/>
                  </a:lnTo>
                  <a:lnTo>
                    <a:pt x="229" y="975"/>
                  </a:lnTo>
                  <a:lnTo>
                    <a:pt x="217" y="968"/>
                  </a:lnTo>
                  <a:lnTo>
                    <a:pt x="213" y="935"/>
                  </a:lnTo>
                  <a:lnTo>
                    <a:pt x="201" y="935"/>
                  </a:lnTo>
                  <a:lnTo>
                    <a:pt x="196" y="935"/>
                  </a:lnTo>
                  <a:lnTo>
                    <a:pt x="201" y="952"/>
                  </a:lnTo>
                  <a:lnTo>
                    <a:pt x="217" y="975"/>
                  </a:lnTo>
                  <a:lnTo>
                    <a:pt x="234" y="975"/>
                  </a:lnTo>
                  <a:lnTo>
                    <a:pt x="243" y="992"/>
                  </a:lnTo>
                  <a:lnTo>
                    <a:pt x="255" y="996"/>
                  </a:lnTo>
                  <a:lnTo>
                    <a:pt x="281" y="996"/>
                  </a:lnTo>
                  <a:lnTo>
                    <a:pt x="281" y="992"/>
                  </a:lnTo>
                  <a:lnTo>
                    <a:pt x="298" y="996"/>
                  </a:lnTo>
                  <a:lnTo>
                    <a:pt x="310" y="1030"/>
                  </a:lnTo>
                  <a:lnTo>
                    <a:pt x="336" y="1046"/>
                  </a:lnTo>
                  <a:lnTo>
                    <a:pt x="336" y="1046"/>
                  </a:lnTo>
                  <a:lnTo>
                    <a:pt x="336" y="1046"/>
                  </a:lnTo>
                  <a:close/>
                  <a:moveTo>
                    <a:pt x="359" y="626"/>
                  </a:moveTo>
                  <a:lnTo>
                    <a:pt x="352" y="626"/>
                  </a:lnTo>
                  <a:lnTo>
                    <a:pt x="352" y="621"/>
                  </a:lnTo>
                  <a:lnTo>
                    <a:pt x="359" y="626"/>
                  </a:lnTo>
                  <a:lnTo>
                    <a:pt x="359" y="626"/>
                  </a:lnTo>
                  <a:lnTo>
                    <a:pt x="359" y="626"/>
                  </a:lnTo>
                  <a:close/>
                  <a:moveTo>
                    <a:pt x="364" y="642"/>
                  </a:moveTo>
                  <a:lnTo>
                    <a:pt x="373" y="659"/>
                  </a:lnTo>
                  <a:lnTo>
                    <a:pt x="364" y="659"/>
                  </a:lnTo>
                  <a:lnTo>
                    <a:pt x="364" y="642"/>
                  </a:lnTo>
                  <a:lnTo>
                    <a:pt x="364" y="642"/>
                  </a:lnTo>
                  <a:lnTo>
                    <a:pt x="364" y="642"/>
                  </a:lnTo>
                  <a:close/>
                  <a:moveTo>
                    <a:pt x="191" y="786"/>
                  </a:moveTo>
                  <a:lnTo>
                    <a:pt x="196" y="791"/>
                  </a:lnTo>
                  <a:lnTo>
                    <a:pt x="191" y="791"/>
                  </a:lnTo>
                  <a:lnTo>
                    <a:pt x="191" y="786"/>
                  </a:lnTo>
                  <a:lnTo>
                    <a:pt x="191" y="786"/>
                  </a:lnTo>
                  <a:lnTo>
                    <a:pt x="191" y="786"/>
                  </a:lnTo>
                  <a:close/>
                  <a:moveTo>
                    <a:pt x="196" y="808"/>
                  </a:moveTo>
                  <a:lnTo>
                    <a:pt x="191" y="819"/>
                  </a:lnTo>
                  <a:lnTo>
                    <a:pt x="191" y="808"/>
                  </a:lnTo>
                  <a:lnTo>
                    <a:pt x="196" y="808"/>
                  </a:lnTo>
                  <a:lnTo>
                    <a:pt x="196" y="808"/>
                  </a:lnTo>
                  <a:lnTo>
                    <a:pt x="196" y="808"/>
                  </a:lnTo>
                  <a:close/>
                  <a:moveTo>
                    <a:pt x="71" y="843"/>
                  </a:moveTo>
                  <a:lnTo>
                    <a:pt x="66" y="843"/>
                  </a:lnTo>
                  <a:lnTo>
                    <a:pt x="66" y="831"/>
                  </a:lnTo>
                  <a:lnTo>
                    <a:pt x="71" y="843"/>
                  </a:lnTo>
                  <a:lnTo>
                    <a:pt x="71" y="843"/>
                  </a:lnTo>
                  <a:lnTo>
                    <a:pt x="71" y="843"/>
                  </a:lnTo>
                  <a:close/>
                  <a:moveTo>
                    <a:pt x="71" y="902"/>
                  </a:moveTo>
                  <a:lnTo>
                    <a:pt x="83" y="930"/>
                  </a:lnTo>
                  <a:lnTo>
                    <a:pt x="71" y="935"/>
                  </a:lnTo>
                  <a:lnTo>
                    <a:pt x="66" y="902"/>
                  </a:lnTo>
                  <a:lnTo>
                    <a:pt x="71" y="902"/>
                  </a:lnTo>
                  <a:lnTo>
                    <a:pt x="71" y="902"/>
                  </a:lnTo>
                  <a:lnTo>
                    <a:pt x="71" y="902"/>
                  </a:lnTo>
                  <a:close/>
                  <a:moveTo>
                    <a:pt x="88" y="914"/>
                  </a:moveTo>
                  <a:lnTo>
                    <a:pt x="88" y="914"/>
                  </a:lnTo>
                  <a:lnTo>
                    <a:pt x="88" y="930"/>
                  </a:lnTo>
                  <a:lnTo>
                    <a:pt x="88" y="914"/>
                  </a:lnTo>
                  <a:lnTo>
                    <a:pt x="88" y="914"/>
                  </a:lnTo>
                  <a:lnTo>
                    <a:pt x="88" y="914"/>
                  </a:lnTo>
                  <a:close/>
                  <a:moveTo>
                    <a:pt x="163" y="1013"/>
                  </a:moveTo>
                  <a:lnTo>
                    <a:pt x="163" y="1030"/>
                  </a:lnTo>
                  <a:lnTo>
                    <a:pt x="158" y="1025"/>
                  </a:lnTo>
                  <a:lnTo>
                    <a:pt x="163" y="1013"/>
                  </a:lnTo>
                  <a:lnTo>
                    <a:pt x="163" y="1013"/>
                  </a:lnTo>
                  <a:lnTo>
                    <a:pt x="163" y="101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83" name="Freeform 575">
              <a:extLst>
                <a:ext uri="{FF2B5EF4-FFF2-40B4-BE49-F238E27FC236}">
                  <a16:creationId xmlns:a16="http://schemas.microsoft.com/office/drawing/2014/main" id="{65E3AEF0-DAC4-4527-8312-41907465E9D5}"/>
                </a:ext>
              </a:extLst>
            </p:cNvPr>
            <p:cNvSpPr>
              <a:spLocks noEditPoints="1"/>
            </p:cNvSpPr>
            <p:nvPr/>
          </p:nvSpPr>
          <p:spPr bwMode="gray">
            <a:xfrm>
              <a:off x="10140216" y="3301329"/>
              <a:ext cx="107034" cy="102106"/>
            </a:xfrm>
            <a:custGeom>
              <a:avLst/>
              <a:gdLst>
                <a:gd name="T0" fmla="*/ 130 w 260"/>
                <a:gd name="T1" fmla="*/ 132 h 248"/>
                <a:gd name="T2" fmla="*/ 142 w 260"/>
                <a:gd name="T3" fmla="*/ 108 h 248"/>
                <a:gd name="T4" fmla="*/ 196 w 260"/>
                <a:gd name="T5" fmla="*/ 21 h 248"/>
                <a:gd name="T6" fmla="*/ 222 w 260"/>
                <a:gd name="T7" fmla="*/ 4 h 248"/>
                <a:gd name="T8" fmla="*/ 222 w 260"/>
                <a:gd name="T9" fmla="*/ 4 h 248"/>
                <a:gd name="T10" fmla="*/ 234 w 260"/>
                <a:gd name="T11" fmla="*/ 0 h 248"/>
                <a:gd name="T12" fmla="*/ 260 w 260"/>
                <a:gd name="T13" fmla="*/ 9 h 248"/>
                <a:gd name="T14" fmla="*/ 251 w 260"/>
                <a:gd name="T15" fmla="*/ 26 h 248"/>
                <a:gd name="T16" fmla="*/ 256 w 260"/>
                <a:gd name="T17" fmla="*/ 59 h 248"/>
                <a:gd name="T18" fmla="*/ 239 w 260"/>
                <a:gd name="T19" fmla="*/ 82 h 248"/>
                <a:gd name="T20" fmla="*/ 222 w 260"/>
                <a:gd name="T21" fmla="*/ 148 h 248"/>
                <a:gd name="T22" fmla="*/ 206 w 260"/>
                <a:gd name="T23" fmla="*/ 174 h 248"/>
                <a:gd name="T24" fmla="*/ 196 w 260"/>
                <a:gd name="T25" fmla="*/ 203 h 248"/>
                <a:gd name="T26" fmla="*/ 180 w 260"/>
                <a:gd name="T27" fmla="*/ 248 h 248"/>
                <a:gd name="T28" fmla="*/ 168 w 260"/>
                <a:gd name="T29" fmla="*/ 248 h 248"/>
                <a:gd name="T30" fmla="*/ 168 w 260"/>
                <a:gd name="T31" fmla="*/ 226 h 248"/>
                <a:gd name="T32" fmla="*/ 147 w 260"/>
                <a:gd name="T33" fmla="*/ 203 h 248"/>
                <a:gd name="T34" fmla="*/ 130 w 260"/>
                <a:gd name="T35" fmla="*/ 170 h 248"/>
                <a:gd name="T36" fmla="*/ 126 w 260"/>
                <a:gd name="T37" fmla="*/ 165 h 248"/>
                <a:gd name="T38" fmla="*/ 130 w 260"/>
                <a:gd name="T39" fmla="*/ 132 h 248"/>
                <a:gd name="T40" fmla="*/ 130 w 260"/>
                <a:gd name="T41" fmla="*/ 132 h 248"/>
                <a:gd name="T42" fmla="*/ 130 w 260"/>
                <a:gd name="T43" fmla="*/ 132 h 248"/>
                <a:gd name="T44" fmla="*/ 0 w 260"/>
                <a:gd name="T45" fmla="*/ 59 h 248"/>
                <a:gd name="T46" fmla="*/ 5 w 260"/>
                <a:gd name="T47" fmla="*/ 54 h 248"/>
                <a:gd name="T48" fmla="*/ 17 w 260"/>
                <a:gd name="T49" fmla="*/ 59 h 248"/>
                <a:gd name="T50" fmla="*/ 17 w 260"/>
                <a:gd name="T51" fmla="*/ 59 h 248"/>
                <a:gd name="T52" fmla="*/ 0 w 260"/>
                <a:gd name="T53" fmla="*/ 59 h 248"/>
                <a:gd name="T54" fmla="*/ 0 w 260"/>
                <a:gd name="T55" fmla="*/ 59 h 248"/>
                <a:gd name="T56" fmla="*/ 0 w 260"/>
                <a:gd name="T57" fmla="*/ 59 h 248"/>
                <a:gd name="T58" fmla="*/ 93 w 260"/>
                <a:gd name="T59" fmla="*/ 132 h 248"/>
                <a:gd name="T60" fmla="*/ 93 w 260"/>
                <a:gd name="T61" fmla="*/ 120 h 248"/>
                <a:gd name="T62" fmla="*/ 97 w 260"/>
                <a:gd name="T63" fmla="*/ 132 h 248"/>
                <a:gd name="T64" fmla="*/ 93 w 260"/>
                <a:gd name="T65" fmla="*/ 132 h 248"/>
                <a:gd name="T66" fmla="*/ 93 w 260"/>
                <a:gd name="T67" fmla="*/ 132 h 248"/>
                <a:gd name="T68" fmla="*/ 93 w 260"/>
                <a:gd name="T69" fmla="*/ 13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0" h="248">
                  <a:moveTo>
                    <a:pt x="130" y="132"/>
                  </a:moveTo>
                  <a:lnTo>
                    <a:pt x="142" y="108"/>
                  </a:lnTo>
                  <a:lnTo>
                    <a:pt x="196" y="21"/>
                  </a:lnTo>
                  <a:lnTo>
                    <a:pt x="222" y="4"/>
                  </a:lnTo>
                  <a:lnTo>
                    <a:pt x="222" y="4"/>
                  </a:lnTo>
                  <a:lnTo>
                    <a:pt x="234" y="0"/>
                  </a:lnTo>
                  <a:lnTo>
                    <a:pt x="260" y="9"/>
                  </a:lnTo>
                  <a:lnTo>
                    <a:pt x="251" y="26"/>
                  </a:lnTo>
                  <a:lnTo>
                    <a:pt x="256" y="59"/>
                  </a:lnTo>
                  <a:lnTo>
                    <a:pt x="239" y="82"/>
                  </a:lnTo>
                  <a:lnTo>
                    <a:pt x="222" y="148"/>
                  </a:lnTo>
                  <a:lnTo>
                    <a:pt x="206" y="174"/>
                  </a:lnTo>
                  <a:lnTo>
                    <a:pt x="196" y="203"/>
                  </a:lnTo>
                  <a:lnTo>
                    <a:pt x="180" y="248"/>
                  </a:lnTo>
                  <a:lnTo>
                    <a:pt x="168" y="248"/>
                  </a:lnTo>
                  <a:lnTo>
                    <a:pt x="168" y="226"/>
                  </a:lnTo>
                  <a:lnTo>
                    <a:pt x="147" y="203"/>
                  </a:lnTo>
                  <a:lnTo>
                    <a:pt x="130" y="170"/>
                  </a:lnTo>
                  <a:lnTo>
                    <a:pt x="126" y="165"/>
                  </a:lnTo>
                  <a:lnTo>
                    <a:pt x="130" y="132"/>
                  </a:lnTo>
                  <a:lnTo>
                    <a:pt x="130" y="132"/>
                  </a:lnTo>
                  <a:lnTo>
                    <a:pt x="130" y="132"/>
                  </a:lnTo>
                  <a:close/>
                  <a:moveTo>
                    <a:pt x="0" y="59"/>
                  </a:moveTo>
                  <a:lnTo>
                    <a:pt x="5" y="54"/>
                  </a:lnTo>
                  <a:lnTo>
                    <a:pt x="17" y="59"/>
                  </a:lnTo>
                  <a:lnTo>
                    <a:pt x="17" y="59"/>
                  </a:lnTo>
                  <a:lnTo>
                    <a:pt x="0" y="59"/>
                  </a:lnTo>
                  <a:lnTo>
                    <a:pt x="0" y="59"/>
                  </a:lnTo>
                  <a:lnTo>
                    <a:pt x="0" y="59"/>
                  </a:lnTo>
                  <a:close/>
                  <a:moveTo>
                    <a:pt x="93" y="132"/>
                  </a:moveTo>
                  <a:lnTo>
                    <a:pt x="93" y="120"/>
                  </a:lnTo>
                  <a:lnTo>
                    <a:pt x="97" y="132"/>
                  </a:lnTo>
                  <a:lnTo>
                    <a:pt x="93" y="132"/>
                  </a:lnTo>
                  <a:lnTo>
                    <a:pt x="93" y="132"/>
                  </a:lnTo>
                  <a:lnTo>
                    <a:pt x="93" y="13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84" name="Freeform 588">
              <a:extLst>
                <a:ext uri="{FF2B5EF4-FFF2-40B4-BE49-F238E27FC236}">
                  <a16:creationId xmlns:a16="http://schemas.microsoft.com/office/drawing/2014/main" id="{6361F708-F27B-48FA-A604-0926341040BB}"/>
                </a:ext>
              </a:extLst>
            </p:cNvPr>
            <p:cNvSpPr>
              <a:spLocks noEditPoints="1"/>
            </p:cNvSpPr>
            <p:nvPr/>
          </p:nvSpPr>
          <p:spPr bwMode="gray">
            <a:xfrm>
              <a:off x="9675441" y="3362263"/>
              <a:ext cx="212010" cy="447536"/>
            </a:xfrm>
            <a:custGeom>
              <a:avLst/>
              <a:gdLst>
                <a:gd name="T0" fmla="*/ 374 w 515"/>
                <a:gd name="T1" fmla="*/ 615 h 1087"/>
                <a:gd name="T2" fmla="*/ 364 w 515"/>
                <a:gd name="T3" fmla="*/ 556 h 1087"/>
                <a:gd name="T4" fmla="*/ 340 w 515"/>
                <a:gd name="T5" fmla="*/ 522 h 1087"/>
                <a:gd name="T6" fmla="*/ 310 w 515"/>
                <a:gd name="T7" fmla="*/ 499 h 1087"/>
                <a:gd name="T8" fmla="*/ 248 w 515"/>
                <a:gd name="T9" fmla="*/ 421 h 1087"/>
                <a:gd name="T10" fmla="*/ 211 w 515"/>
                <a:gd name="T11" fmla="*/ 367 h 1087"/>
                <a:gd name="T12" fmla="*/ 118 w 515"/>
                <a:gd name="T13" fmla="*/ 300 h 1087"/>
                <a:gd name="T14" fmla="*/ 185 w 515"/>
                <a:gd name="T15" fmla="*/ 260 h 1087"/>
                <a:gd name="T16" fmla="*/ 173 w 515"/>
                <a:gd name="T17" fmla="*/ 211 h 1087"/>
                <a:gd name="T18" fmla="*/ 118 w 515"/>
                <a:gd name="T19" fmla="*/ 182 h 1087"/>
                <a:gd name="T20" fmla="*/ 55 w 515"/>
                <a:gd name="T21" fmla="*/ 116 h 1087"/>
                <a:gd name="T22" fmla="*/ 22 w 515"/>
                <a:gd name="T23" fmla="*/ 41 h 1087"/>
                <a:gd name="T24" fmla="*/ 102 w 515"/>
                <a:gd name="T25" fmla="*/ 41 h 1087"/>
                <a:gd name="T26" fmla="*/ 147 w 515"/>
                <a:gd name="T27" fmla="*/ 41 h 1087"/>
                <a:gd name="T28" fmla="*/ 194 w 515"/>
                <a:gd name="T29" fmla="*/ 5 h 1087"/>
                <a:gd name="T30" fmla="*/ 281 w 515"/>
                <a:gd name="T31" fmla="*/ 22 h 1087"/>
                <a:gd name="T32" fmla="*/ 326 w 515"/>
                <a:gd name="T33" fmla="*/ 41 h 1087"/>
                <a:gd name="T34" fmla="*/ 340 w 515"/>
                <a:gd name="T35" fmla="*/ 100 h 1087"/>
                <a:gd name="T36" fmla="*/ 395 w 515"/>
                <a:gd name="T37" fmla="*/ 128 h 1087"/>
                <a:gd name="T38" fmla="*/ 395 w 515"/>
                <a:gd name="T39" fmla="*/ 133 h 1087"/>
                <a:gd name="T40" fmla="*/ 348 w 515"/>
                <a:gd name="T41" fmla="*/ 182 h 1087"/>
                <a:gd name="T42" fmla="*/ 336 w 515"/>
                <a:gd name="T43" fmla="*/ 173 h 1087"/>
                <a:gd name="T44" fmla="*/ 310 w 515"/>
                <a:gd name="T45" fmla="*/ 173 h 1087"/>
                <a:gd name="T46" fmla="*/ 310 w 515"/>
                <a:gd name="T47" fmla="*/ 201 h 1087"/>
                <a:gd name="T48" fmla="*/ 265 w 515"/>
                <a:gd name="T49" fmla="*/ 256 h 1087"/>
                <a:gd name="T50" fmla="*/ 265 w 515"/>
                <a:gd name="T51" fmla="*/ 367 h 1087"/>
                <a:gd name="T52" fmla="*/ 348 w 515"/>
                <a:gd name="T53" fmla="*/ 466 h 1087"/>
                <a:gd name="T54" fmla="*/ 390 w 515"/>
                <a:gd name="T55" fmla="*/ 504 h 1087"/>
                <a:gd name="T56" fmla="*/ 418 w 515"/>
                <a:gd name="T57" fmla="*/ 539 h 1087"/>
                <a:gd name="T58" fmla="*/ 428 w 515"/>
                <a:gd name="T59" fmla="*/ 539 h 1087"/>
                <a:gd name="T60" fmla="*/ 503 w 515"/>
                <a:gd name="T61" fmla="*/ 704 h 1087"/>
                <a:gd name="T62" fmla="*/ 499 w 515"/>
                <a:gd name="T63" fmla="*/ 737 h 1087"/>
                <a:gd name="T64" fmla="*/ 487 w 515"/>
                <a:gd name="T65" fmla="*/ 808 h 1087"/>
                <a:gd name="T66" fmla="*/ 487 w 515"/>
                <a:gd name="T67" fmla="*/ 848 h 1087"/>
                <a:gd name="T68" fmla="*/ 482 w 515"/>
                <a:gd name="T69" fmla="*/ 886 h 1087"/>
                <a:gd name="T70" fmla="*/ 395 w 515"/>
                <a:gd name="T71" fmla="*/ 931 h 1087"/>
                <a:gd name="T72" fmla="*/ 336 w 515"/>
                <a:gd name="T73" fmla="*/ 948 h 1087"/>
                <a:gd name="T74" fmla="*/ 310 w 515"/>
                <a:gd name="T75" fmla="*/ 948 h 1087"/>
                <a:gd name="T76" fmla="*/ 326 w 515"/>
                <a:gd name="T77" fmla="*/ 976 h 1087"/>
                <a:gd name="T78" fmla="*/ 319 w 515"/>
                <a:gd name="T79" fmla="*/ 988 h 1087"/>
                <a:gd name="T80" fmla="*/ 310 w 515"/>
                <a:gd name="T81" fmla="*/ 1014 h 1087"/>
                <a:gd name="T82" fmla="*/ 281 w 515"/>
                <a:gd name="T83" fmla="*/ 1030 h 1087"/>
                <a:gd name="T84" fmla="*/ 180 w 515"/>
                <a:gd name="T85" fmla="*/ 1087 h 1087"/>
                <a:gd name="T86" fmla="*/ 201 w 515"/>
                <a:gd name="T87" fmla="*/ 988 h 1087"/>
                <a:gd name="T88" fmla="*/ 173 w 515"/>
                <a:gd name="T89" fmla="*/ 976 h 1087"/>
                <a:gd name="T90" fmla="*/ 201 w 515"/>
                <a:gd name="T91" fmla="*/ 931 h 1087"/>
                <a:gd name="T92" fmla="*/ 234 w 515"/>
                <a:gd name="T93" fmla="*/ 919 h 1087"/>
                <a:gd name="T94" fmla="*/ 255 w 515"/>
                <a:gd name="T95" fmla="*/ 893 h 1087"/>
                <a:gd name="T96" fmla="*/ 303 w 515"/>
                <a:gd name="T97" fmla="*/ 865 h 1087"/>
                <a:gd name="T98" fmla="*/ 364 w 515"/>
                <a:gd name="T99" fmla="*/ 815 h 1087"/>
                <a:gd name="T100" fmla="*/ 374 w 515"/>
                <a:gd name="T101" fmla="*/ 766 h 1087"/>
                <a:gd name="T102" fmla="*/ 374 w 515"/>
                <a:gd name="T103" fmla="*/ 700 h 1087"/>
                <a:gd name="T104" fmla="*/ 364 w 515"/>
                <a:gd name="T105" fmla="*/ 166 h 1087"/>
                <a:gd name="T106" fmla="*/ 378 w 515"/>
                <a:gd name="T107" fmla="*/ 173 h 1087"/>
                <a:gd name="T108" fmla="*/ 378 w 515"/>
                <a:gd name="T109" fmla="*/ 173 h 1087"/>
                <a:gd name="T110" fmla="*/ 336 w 515"/>
                <a:gd name="T111" fmla="*/ 189 h 1087"/>
                <a:gd name="T112" fmla="*/ 336 w 515"/>
                <a:gd name="T113" fmla="*/ 182 h 1087"/>
                <a:gd name="T114" fmla="*/ 336 w 515"/>
                <a:gd name="T115" fmla="*/ 182 h 1087"/>
                <a:gd name="T116" fmla="*/ 326 w 515"/>
                <a:gd name="T117" fmla="*/ 959 h 1087"/>
                <a:gd name="T118" fmla="*/ 326 w 515"/>
                <a:gd name="T119" fmla="*/ 931 h 1087"/>
                <a:gd name="T120" fmla="*/ 336 w 515"/>
                <a:gd name="T121" fmla="*/ 948 h 1087"/>
                <a:gd name="T122" fmla="*/ 130 w 515"/>
                <a:gd name="T123" fmla="*/ 959 h 1087"/>
                <a:gd name="T124" fmla="*/ 130 w 515"/>
                <a:gd name="T125" fmla="*/ 948 h 1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5" h="1087">
                  <a:moveTo>
                    <a:pt x="374" y="700"/>
                  </a:moveTo>
                  <a:lnTo>
                    <a:pt x="364" y="683"/>
                  </a:lnTo>
                  <a:lnTo>
                    <a:pt x="378" y="643"/>
                  </a:lnTo>
                  <a:lnTo>
                    <a:pt x="374" y="615"/>
                  </a:lnTo>
                  <a:lnTo>
                    <a:pt x="378" y="615"/>
                  </a:lnTo>
                  <a:lnTo>
                    <a:pt x="390" y="598"/>
                  </a:lnTo>
                  <a:lnTo>
                    <a:pt x="348" y="560"/>
                  </a:lnTo>
                  <a:lnTo>
                    <a:pt x="364" y="556"/>
                  </a:lnTo>
                  <a:lnTo>
                    <a:pt x="374" y="539"/>
                  </a:lnTo>
                  <a:lnTo>
                    <a:pt x="364" y="539"/>
                  </a:lnTo>
                  <a:lnTo>
                    <a:pt x="348" y="522"/>
                  </a:lnTo>
                  <a:lnTo>
                    <a:pt x="340" y="522"/>
                  </a:lnTo>
                  <a:lnTo>
                    <a:pt x="336" y="504"/>
                  </a:lnTo>
                  <a:lnTo>
                    <a:pt x="326" y="515"/>
                  </a:lnTo>
                  <a:lnTo>
                    <a:pt x="319" y="515"/>
                  </a:lnTo>
                  <a:lnTo>
                    <a:pt x="310" y="499"/>
                  </a:lnTo>
                  <a:lnTo>
                    <a:pt x="310" y="478"/>
                  </a:lnTo>
                  <a:lnTo>
                    <a:pt x="303" y="478"/>
                  </a:lnTo>
                  <a:lnTo>
                    <a:pt x="293" y="461"/>
                  </a:lnTo>
                  <a:lnTo>
                    <a:pt x="248" y="421"/>
                  </a:lnTo>
                  <a:lnTo>
                    <a:pt x="234" y="388"/>
                  </a:lnTo>
                  <a:lnTo>
                    <a:pt x="227" y="388"/>
                  </a:lnTo>
                  <a:lnTo>
                    <a:pt x="211" y="371"/>
                  </a:lnTo>
                  <a:lnTo>
                    <a:pt x="211" y="367"/>
                  </a:lnTo>
                  <a:lnTo>
                    <a:pt x="211" y="350"/>
                  </a:lnTo>
                  <a:lnTo>
                    <a:pt x="180" y="338"/>
                  </a:lnTo>
                  <a:lnTo>
                    <a:pt x="140" y="310"/>
                  </a:lnTo>
                  <a:lnTo>
                    <a:pt x="118" y="300"/>
                  </a:lnTo>
                  <a:lnTo>
                    <a:pt x="130" y="284"/>
                  </a:lnTo>
                  <a:lnTo>
                    <a:pt x="130" y="267"/>
                  </a:lnTo>
                  <a:lnTo>
                    <a:pt x="173" y="277"/>
                  </a:lnTo>
                  <a:lnTo>
                    <a:pt x="185" y="260"/>
                  </a:lnTo>
                  <a:lnTo>
                    <a:pt x="185" y="256"/>
                  </a:lnTo>
                  <a:lnTo>
                    <a:pt x="194" y="244"/>
                  </a:lnTo>
                  <a:lnTo>
                    <a:pt x="194" y="239"/>
                  </a:lnTo>
                  <a:lnTo>
                    <a:pt x="173" y="211"/>
                  </a:lnTo>
                  <a:lnTo>
                    <a:pt x="156" y="211"/>
                  </a:lnTo>
                  <a:lnTo>
                    <a:pt x="173" y="201"/>
                  </a:lnTo>
                  <a:lnTo>
                    <a:pt x="130" y="173"/>
                  </a:lnTo>
                  <a:lnTo>
                    <a:pt x="118" y="182"/>
                  </a:lnTo>
                  <a:lnTo>
                    <a:pt x="109" y="201"/>
                  </a:lnTo>
                  <a:lnTo>
                    <a:pt x="71" y="182"/>
                  </a:lnTo>
                  <a:lnTo>
                    <a:pt x="48" y="149"/>
                  </a:lnTo>
                  <a:lnTo>
                    <a:pt x="55" y="116"/>
                  </a:lnTo>
                  <a:lnTo>
                    <a:pt x="33" y="128"/>
                  </a:lnTo>
                  <a:lnTo>
                    <a:pt x="33" y="100"/>
                  </a:lnTo>
                  <a:lnTo>
                    <a:pt x="0" y="74"/>
                  </a:lnTo>
                  <a:lnTo>
                    <a:pt x="22" y="41"/>
                  </a:lnTo>
                  <a:lnTo>
                    <a:pt x="64" y="62"/>
                  </a:lnTo>
                  <a:lnTo>
                    <a:pt x="76" y="41"/>
                  </a:lnTo>
                  <a:lnTo>
                    <a:pt x="92" y="57"/>
                  </a:lnTo>
                  <a:lnTo>
                    <a:pt x="102" y="41"/>
                  </a:lnTo>
                  <a:lnTo>
                    <a:pt x="126" y="62"/>
                  </a:lnTo>
                  <a:lnTo>
                    <a:pt x="130" y="41"/>
                  </a:lnTo>
                  <a:lnTo>
                    <a:pt x="147" y="29"/>
                  </a:lnTo>
                  <a:lnTo>
                    <a:pt x="147" y="41"/>
                  </a:lnTo>
                  <a:lnTo>
                    <a:pt x="156" y="45"/>
                  </a:lnTo>
                  <a:lnTo>
                    <a:pt x="173" y="29"/>
                  </a:lnTo>
                  <a:lnTo>
                    <a:pt x="180" y="41"/>
                  </a:lnTo>
                  <a:lnTo>
                    <a:pt x="194" y="5"/>
                  </a:lnTo>
                  <a:lnTo>
                    <a:pt x="227" y="0"/>
                  </a:lnTo>
                  <a:lnTo>
                    <a:pt x="239" y="17"/>
                  </a:lnTo>
                  <a:lnTo>
                    <a:pt x="255" y="29"/>
                  </a:lnTo>
                  <a:lnTo>
                    <a:pt x="281" y="22"/>
                  </a:lnTo>
                  <a:lnTo>
                    <a:pt x="286" y="29"/>
                  </a:lnTo>
                  <a:lnTo>
                    <a:pt x="303" y="22"/>
                  </a:lnTo>
                  <a:lnTo>
                    <a:pt x="319" y="29"/>
                  </a:lnTo>
                  <a:lnTo>
                    <a:pt x="326" y="41"/>
                  </a:lnTo>
                  <a:lnTo>
                    <a:pt x="310" y="62"/>
                  </a:lnTo>
                  <a:lnTo>
                    <a:pt x="319" y="78"/>
                  </a:lnTo>
                  <a:lnTo>
                    <a:pt x="319" y="95"/>
                  </a:lnTo>
                  <a:lnTo>
                    <a:pt x="340" y="100"/>
                  </a:lnTo>
                  <a:lnTo>
                    <a:pt x="340" y="111"/>
                  </a:lnTo>
                  <a:lnTo>
                    <a:pt x="357" y="116"/>
                  </a:lnTo>
                  <a:lnTo>
                    <a:pt x="364" y="128"/>
                  </a:lnTo>
                  <a:lnTo>
                    <a:pt x="395" y="128"/>
                  </a:lnTo>
                  <a:lnTo>
                    <a:pt x="411" y="133"/>
                  </a:lnTo>
                  <a:lnTo>
                    <a:pt x="411" y="133"/>
                  </a:lnTo>
                  <a:lnTo>
                    <a:pt x="407" y="145"/>
                  </a:lnTo>
                  <a:lnTo>
                    <a:pt x="395" y="133"/>
                  </a:lnTo>
                  <a:lnTo>
                    <a:pt x="378" y="149"/>
                  </a:lnTo>
                  <a:lnTo>
                    <a:pt x="374" y="149"/>
                  </a:lnTo>
                  <a:lnTo>
                    <a:pt x="364" y="173"/>
                  </a:lnTo>
                  <a:lnTo>
                    <a:pt x="348" y="182"/>
                  </a:lnTo>
                  <a:lnTo>
                    <a:pt x="340" y="173"/>
                  </a:lnTo>
                  <a:lnTo>
                    <a:pt x="348" y="173"/>
                  </a:lnTo>
                  <a:lnTo>
                    <a:pt x="340" y="173"/>
                  </a:lnTo>
                  <a:lnTo>
                    <a:pt x="336" y="173"/>
                  </a:lnTo>
                  <a:lnTo>
                    <a:pt x="336" y="182"/>
                  </a:lnTo>
                  <a:lnTo>
                    <a:pt x="326" y="182"/>
                  </a:lnTo>
                  <a:lnTo>
                    <a:pt x="326" y="173"/>
                  </a:lnTo>
                  <a:lnTo>
                    <a:pt x="310" y="173"/>
                  </a:lnTo>
                  <a:lnTo>
                    <a:pt x="326" y="182"/>
                  </a:lnTo>
                  <a:lnTo>
                    <a:pt x="319" y="182"/>
                  </a:lnTo>
                  <a:lnTo>
                    <a:pt x="326" y="201"/>
                  </a:lnTo>
                  <a:lnTo>
                    <a:pt x="310" y="201"/>
                  </a:lnTo>
                  <a:lnTo>
                    <a:pt x="310" y="227"/>
                  </a:lnTo>
                  <a:lnTo>
                    <a:pt x="303" y="227"/>
                  </a:lnTo>
                  <a:lnTo>
                    <a:pt x="310" y="227"/>
                  </a:lnTo>
                  <a:lnTo>
                    <a:pt x="265" y="256"/>
                  </a:lnTo>
                  <a:lnTo>
                    <a:pt x="255" y="277"/>
                  </a:lnTo>
                  <a:lnTo>
                    <a:pt x="255" y="300"/>
                  </a:lnTo>
                  <a:lnTo>
                    <a:pt x="239" y="322"/>
                  </a:lnTo>
                  <a:lnTo>
                    <a:pt x="265" y="367"/>
                  </a:lnTo>
                  <a:lnTo>
                    <a:pt x="303" y="404"/>
                  </a:lnTo>
                  <a:lnTo>
                    <a:pt x="293" y="421"/>
                  </a:lnTo>
                  <a:lnTo>
                    <a:pt x="319" y="445"/>
                  </a:lnTo>
                  <a:lnTo>
                    <a:pt x="348" y="466"/>
                  </a:lnTo>
                  <a:lnTo>
                    <a:pt x="348" y="482"/>
                  </a:lnTo>
                  <a:lnTo>
                    <a:pt x="378" y="499"/>
                  </a:lnTo>
                  <a:lnTo>
                    <a:pt x="374" y="499"/>
                  </a:lnTo>
                  <a:lnTo>
                    <a:pt x="390" y="504"/>
                  </a:lnTo>
                  <a:lnTo>
                    <a:pt x="395" y="522"/>
                  </a:lnTo>
                  <a:lnTo>
                    <a:pt x="411" y="522"/>
                  </a:lnTo>
                  <a:lnTo>
                    <a:pt x="428" y="532"/>
                  </a:lnTo>
                  <a:lnTo>
                    <a:pt x="418" y="539"/>
                  </a:lnTo>
                  <a:lnTo>
                    <a:pt x="428" y="544"/>
                  </a:lnTo>
                  <a:lnTo>
                    <a:pt x="428" y="532"/>
                  </a:lnTo>
                  <a:lnTo>
                    <a:pt x="433" y="539"/>
                  </a:lnTo>
                  <a:lnTo>
                    <a:pt x="428" y="539"/>
                  </a:lnTo>
                  <a:lnTo>
                    <a:pt x="433" y="544"/>
                  </a:lnTo>
                  <a:lnTo>
                    <a:pt x="461" y="589"/>
                  </a:lnTo>
                  <a:lnTo>
                    <a:pt x="466" y="589"/>
                  </a:lnTo>
                  <a:lnTo>
                    <a:pt x="503" y="704"/>
                  </a:lnTo>
                  <a:lnTo>
                    <a:pt x="503" y="709"/>
                  </a:lnTo>
                  <a:lnTo>
                    <a:pt x="499" y="704"/>
                  </a:lnTo>
                  <a:lnTo>
                    <a:pt x="499" y="704"/>
                  </a:lnTo>
                  <a:lnTo>
                    <a:pt x="499" y="737"/>
                  </a:lnTo>
                  <a:lnTo>
                    <a:pt x="515" y="775"/>
                  </a:lnTo>
                  <a:lnTo>
                    <a:pt x="499" y="792"/>
                  </a:lnTo>
                  <a:lnTo>
                    <a:pt x="503" y="815"/>
                  </a:lnTo>
                  <a:lnTo>
                    <a:pt x="487" y="808"/>
                  </a:lnTo>
                  <a:lnTo>
                    <a:pt x="499" y="848"/>
                  </a:lnTo>
                  <a:lnTo>
                    <a:pt x="499" y="832"/>
                  </a:lnTo>
                  <a:lnTo>
                    <a:pt x="499" y="837"/>
                  </a:lnTo>
                  <a:lnTo>
                    <a:pt x="487" y="848"/>
                  </a:lnTo>
                  <a:lnTo>
                    <a:pt x="499" y="853"/>
                  </a:lnTo>
                  <a:lnTo>
                    <a:pt x="487" y="870"/>
                  </a:lnTo>
                  <a:lnTo>
                    <a:pt x="482" y="870"/>
                  </a:lnTo>
                  <a:lnTo>
                    <a:pt x="482" y="886"/>
                  </a:lnTo>
                  <a:lnTo>
                    <a:pt x="466" y="886"/>
                  </a:lnTo>
                  <a:lnTo>
                    <a:pt x="418" y="919"/>
                  </a:lnTo>
                  <a:lnTo>
                    <a:pt x="411" y="931"/>
                  </a:lnTo>
                  <a:lnTo>
                    <a:pt x="395" y="931"/>
                  </a:lnTo>
                  <a:lnTo>
                    <a:pt x="357" y="959"/>
                  </a:lnTo>
                  <a:lnTo>
                    <a:pt x="340" y="948"/>
                  </a:lnTo>
                  <a:lnTo>
                    <a:pt x="340" y="931"/>
                  </a:lnTo>
                  <a:lnTo>
                    <a:pt x="336" y="948"/>
                  </a:lnTo>
                  <a:lnTo>
                    <a:pt x="336" y="943"/>
                  </a:lnTo>
                  <a:lnTo>
                    <a:pt x="319" y="931"/>
                  </a:lnTo>
                  <a:lnTo>
                    <a:pt x="319" y="948"/>
                  </a:lnTo>
                  <a:lnTo>
                    <a:pt x="310" y="948"/>
                  </a:lnTo>
                  <a:lnTo>
                    <a:pt x="319" y="948"/>
                  </a:lnTo>
                  <a:lnTo>
                    <a:pt x="326" y="964"/>
                  </a:lnTo>
                  <a:lnTo>
                    <a:pt x="293" y="964"/>
                  </a:lnTo>
                  <a:lnTo>
                    <a:pt x="326" y="976"/>
                  </a:lnTo>
                  <a:lnTo>
                    <a:pt x="326" y="981"/>
                  </a:lnTo>
                  <a:lnTo>
                    <a:pt x="310" y="988"/>
                  </a:lnTo>
                  <a:lnTo>
                    <a:pt x="286" y="964"/>
                  </a:lnTo>
                  <a:lnTo>
                    <a:pt x="319" y="988"/>
                  </a:lnTo>
                  <a:lnTo>
                    <a:pt x="310" y="997"/>
                  </a:lnTo>
                  <a:lnTo>
                    <a:pt x="281" y="964"/>
                  </a:lnTo>
                  <a:lnTo>
                    <a:pt x="310" y="1004"/>
                  </a:lnTo>
                  <a:lnTo>
                    <a:pt x="310" y="1014"/>
                  </a:lnTo>
                  <a:lnTo>
                    <a:pt x="293" y="1021"/>
                  </a:lnTo>
                  <a:lnTo>
                    <a:pt x="255" y="981"/>
                  </a:lnTo>
                  <a:lnTo>
                    <a:pt x="281" y="1014"/>
                  </a:lnTo>
                  <a:lnTo>
                    <a:pt x="281" y="1030"/>
                  </a:lnTo>
                  <a:lnTo>
                    <a:pt x="234" y="1042"/>
                  </a:lnTo>
                  <a:lnTo>
                    <a:pt x="218" y="1075"/>
                  </a:lnTo>
                  <a:lnTo>
                    <a:pt x="201" y="1087"/>
                  </a:lnTo>
                  <a:lnTo>
                    <a:pt x="180" y="1087"/>
                  </a:lnTo>
                  <a:lnTo>
                    <a:pt x="194" y="1075"/>
                  </a:lnTo>
                  <a:lnTo>
                    <a:pt x="185" y="1070"/>
                  </a:lnTo>
                  <a:lnTo>
                    <a:pt x="185" y="1004"/>
                  </a:lnTo>
                  <a:lnTo>
                    <a:pt x="201" y="988"/>
                  </a:lnTo>
                  <a:lnTo>
                    <a:pt x="211" y="997"/>
                  </a:lnTo>
                  <a:lnTo>
                    <a:pt x="211" y="988"/>
                  </a:lnTo>
                  <a:lnTo>
                    <a:pt x="185" y="964"/>
                  </a:lnTo>
                  <a:lnTo>
                    <a:pt x="173" y="976"/>
                  </a:lnTo>
                  <a:lnTo>
                    <a:pt x="163" y="959"/>
                  </a:lnTo>
                  <a:lnTo>
                    <a:pt x="173" y="948"/>
                  </a:lnTo>
                  <a:lnTo>
                    <a:pt x="194" y="943"/>
                  </a:lnTo>
                  <a:lnTo>
                    <a:pt x="201" y="931"/>
                  </a:lnTo>
                  <a:lnTo>
                    <a:pt x="201" y="919"/>
                  </a:lnTo>
                  <a:lnTo>
                    <a:pt x="211" y="919"/>
                  </a:lnTo>
                  <a:lnTo>
                    <a:pt x="227" y="919"/>
                  </a:lnTo>
                  <a:lnTo>
                    <a:pt x="234" y="919"/>
                  </a:lnTo>
                  <a:lnTo>
                    <a:pt x="255" y="910"/>
                  </a:lnTo>
                  <a:lnTo>
                    <a:pt x="281" y="926"/>
                  </a:lnTo>
                  <a:lnTo>
                    <a:pt x="281" y="910"/>
                  </a:lnTo>
                  <a:lnTo>
                    <a:pt x="255" y="893"/>
                  </a:lnTo>
                  <a:lnTo>
                    <a:pt x="255" y="870"/>
                  </a:lnTo>
                  <a:lnTo>
                    <a:pt x="265" y="865"/>
                  </a:lnTo>
                  <a:lnTo>
                    <a:pt x="272" y="853"/>
                  </a:lnTo>
                  <a:lnTo>
                    <a:pt x="303" y="865"/>
                  </a:lnTo>
                  <a:lnTo>
                    <a:pt x="293" y="837"/>
                  </a:lnTo>
                  <a:lnTo>
                    <a:pt x="319" y="837"/>
                  </a:lnTo>
                  <a:lnTo>
                    <a:pt x="348" y="815"/>
                  </a:lnTo>
                  <a:lnTo>
                    <a:pt x="364" y="815"/>
                  </a:lnTo>
                  <a:lnTo>
                    <a:pt x="374" y="820"/>
                  </a:lnTo>
                  <a:lnTo>
                    <a:pt x="378" y="815"/>
                  </a:lnTo>
                  <a:lnTo>
                    <a:pt x="378" y="792"/>
                  </a:lnTo>
                  <a:lnTo>
                    <a:pt x="374" y="766"/>
                  </a:lnTo>
                  <a:lnTo>
                    <a:pt x="378" y="726"/>
                  </a:lnTo>
                  <a:lnTo>
                    <a:pt x="374" y="704"/>
                  </a:lnTo>
                  <a:lnTo>
                    <a:pt x="374" y="700"/>
                  </a:lnTo>
                  <a:lnTo>
                    <a:pt x="374" y="700"/>
                  </a:lnTo>
                  <a:lnTo>
                    <a:pt x="374" y="700"/>
                  </a:lnTo>
                  <a:close/>
                  <a:moveTo>
                    <a:pt x="374" y="149"/>
                  </a:moveTo>
                  <a:lnTo>
                    <a:pt x="378" y="156"/>
                  </a:lnTo>
                  <a:lnTo>
                    <a:pt x="364" y="166"/>
                  </a:lnTo>
                  <a:lnTo>
                    <a:pt x="374" y="149"/>
                  </a:lnTo>
                  <a:lnTo>
                    <a:pt x="374" y="149"/>
                  </a:lnTo>
                  <a:lnTo>
                    <a:pt x="374" y="149"/>
                  </a:lnTo>
                  <a:close/>
                  <a:moveTo>
                    <a:pt x="378" y="173"/>
                  </a:moveTo>
                  <a:lnTo>
                    <a:pt x="374" y="182"/>
                  </a:lnTo>
                  <a:lnTo>
                    <a:pt x="364" y="182"/>
                  </a:lnTo>
                  <a:lnTo>
                    <a:pt x="378" y="173"/>
                  </a:lnTo>
                  <a:lnTo>
                    <a:pt x="378" y="173"/>
                  </a:lnTo>
                  <a:lnTo>
                    <a:pt x="378" y="173"/>
                  </a:lnTo>
                  <a:close/>
                  <a:moveTo>
                    <a:pt x="326" y="182"/>
                  </a:moveTo>
                  <a:lnTo>
                    <a:pt x="326" y="182"/>
                  </a:lnTo>
                  <a:lnTo>
                    <a:pt x="336" y="189"/>
                  </a:lnTo>
                  <a:lnTo>
                    <a:pt x="326" y="182"/>
                  </a:lnTo>
                  <a:lnTo>
                    <a:pt x="326" y="182"/>
                  </a:lnTo>
                  <a:lnTo>
                    <a:pt x="326" y="182"/>
                  </a:lnTo>
                  <a:close/>
                  <a:moveTo>
                    <a:pt x="336" y="182"/>
                  </a:moveTo>
                  <a:lnTo>
                    <a:pt x="348" y="189"/>
                  </a:lnTo>
                  <a:lnTo>
                    <a:pt x="340" y="201"/>
                  </a:lnTo>
                  <a:lnTo>
                    <a:pt x="336" y="182"/>
                  </a:lnTo>
                  <a:lnTo>
                    <a:pt x="336" y="182"/>
                  </a:lnTo>
                  <a:lnTo>
                    <a:pt x="336" y="182"/>
                  </a:lnTo>
                  <a:close/>
                  <a:moveTo>
                    <a:pt x="326" y="931"/>
                  </a:moveTo>
                  <a:lnTo>
                    <a:pt x="326" y="943"/>
                  </a:lnTo>
                  <a:lnTo>
                    <a:pt x="326" y="959"/>
                  </a:lnTo>
                  <a:lnTo>
                    <a:pt x="326" y="948"/>
                  </a:lnTo>
                  <a:lnTo>
                    <a:pt x="326" y="931"/>
                  </a:lnTo>
                  <a:lnTo>
                    <a:pt x="326" y="931"/>
                  </a:lnTo>
                  <a:lnTo>
                    <a:pt x="326" y="931"/>
                  </a:lnTo>
                  <a:close/>
                  <a:moveTo>
                    <a:pt x="336" y="948"/>
                  </a:moveTo>
                  <a:lnTo>
                    <a:pt x="340" y="959"/>
                  </a:lnTo>
                  <a:lnTo>
                    <a:pt x="336" y="959"/>
                  </a:lnTo>
                  <a:lnTo>
                    <a:pt x="336" y="948"/>
                  </a:lnTo>
                  <a:lnTo>
                    <a:pt x="336" y="948"/>
                  </a:lnTo>
                  <a:lnTo>
                    <a:pt x="336" y="948"/>
                  </a:lnTo>
                  <a:close/>
                  <a:moveTo>
                    <a:pt x="130" y="948"/>
                  </a:moveTo>
                  <a:lnTo>
                    <a:pt x="130" y="959"/>
                  </a:lnTo>
                  <a:lnTo>
                    <a:pt x="130" y="981"/>
                  </a:lnTo>
                  <a:lnTo>
                    <a:pt x="118" y="959"/>
                  </a:lnTo>
                  <a:lnTo>
                    <a:pt x="130" y="948"/>
                  </a:lnTo>
                  <a:lnTo>
                    <a:pt x="130" y="948"/>
                  </a:lnTo>
                  <a:lnTo>
                    <a:pt x="130" y="94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485" name="Gruppieren 3484">
            <a:extLst>
              <a:ext uri="{FF2B5EF4-FFF2-40B4-BE49-F238E27FC236}">
                <a16:creationId xmlns:a16="http://schemas.microsoft.com/office/drawing/2014/main" id="{4D28DB2C-94B9-4957-97D0-875D29BF51DF}"/>
              </a:ext>
            </a:extLst>
          </p:cNvPr>
          <p:cNvGrpSpPr/>
          <p:nvPr/>
        </p:nvGrpSpPr>
        <p:grpSpPr bwMode="gray">
          <a:xfrm>
            <a:off x="5326502" y="1164950"/>
            <a:ext cx="5038896" cy="4869779"/>
            <a:chOff x="5995933" y="2821679"/>
            <a:chExt cx="3093288" cy="2989470"/>
          </a:xfrm>
          <a:pattFill prst="ltVert">
            <a:fgClr>
              <a:schemeClr val="accent2"/>
            </a:fgClr>
            <a:bgClr>
              <a:schemeClr val="bg1"/>
            </a:bgClr>
          </a:pattFill>
        </p:grpSpPr>
        <p:sp>
          <p:nvSpPr>
            <p:cNvPr id="3486" name="Freeform 380">
              <a:extLst>
                <a:ext uri="{FF2B5EF4-FFF2-40B4-BE49-F238E27FC236}">
                  <a16:creationId xmlns:a16="http://schemas.microsoft.com/office/drawing/2014/main" id="{9A90385E-B153-4640-A7B4-F39BD8A63FA6}"/>
                </a:ext>
              </a:extLst>
            </p:cNvPr>
            <p:cNvSpPr>
              <a:spLocks/>
            </p:cNvSpPr>
            <p:nvPr/>
          </p:nvSpPr>
          <p:spPr bwMode="gray">
            <a:xfrm>
              <a:off x="6476353" y="2912257"/>
              <a:ext cx="594864" cy="582578"/>
            </a:xfrm>
            <a:custGeom>
              <a:avLst/>
              <a:gdLst>
                <a:gd name="T0" fmla="*/ 399 w 1445"/>
                <a:gd name="T1" fmla="*/ 427 h 1415"/>
                <a:gd name="T2" fmla="*/ 446 w 1445"/>
                <a:gd name="T3" fmla="*/ 399 h 1415"/>
                <a:gd name="T4" fmla="*/ 522 w 1445"/>
                <a:gd name="T5" fmla="*/ 399 h 1415"/>
                <a:gd name="T6" fmla="*/ 522 w 1445"/>
                <a:gd name="T7" fmla="*/ 387 h 1415"/>
                <a:gd name="T8" fmla="*/ 508 w 1445"/>
                <a:gd name="T9" fmla="*/ 354 h 1415"/>
                <a:gd name="T10" fmla="*/ 508 w 1445"/>
                <a:gd name="T11" fmla="*/ 333 h 1415"/>
                <a:gd name="T12" fmla="*/ 491 w 1445"/>
                <a:gd name="T13" fmla="*/ 283 h 1415"/>
                <a:gd name="T14" fmla="*/ 491 w 1445"/>
                <a:gd name="T15" fmla="*/ 243 h 1415"/>
                <a:gd name="T16" fmla="*/ 491 w 1445"/>
                <a:gd name="T17" fmla="*/ 210 h 1415"/>
                <a:gd name="T18" fmla="*/ 484 w 1445"/>
                <a:gd name="T19" fmla="*/ 193 h 1415"/>
                <a:gd name="T20" fmla="*/ 484 w 1445"/>
                <a:gd name="T21" fmla="*/ 165 h 1415"/>
                <a:gd name="T22" fmla="*/ 538 w 1445"/>
                <a:gd name="T23" fmla="*/ 116 h 1415"/>
                <a:gd name="T24" fmla="*/ 560 w 1445"/>
                <a:gd name="T25" fmla="*/ 116 h 1415"/>
                <a:gd name="T26" fmla="*/ 597 w 1445"/>
                <a:gd name="T27" fmla="*/ 111 h 1415"/>
                <a:gd name="T28" fmla="*/ 690 w 1445"/>
                <a:gd name="T29" fmla="*/ 45 h 1415"/>
                <a:gd name="T30" fmla="*/ 786 w 1445"/>
                <a:gd name="T31" fmla="*/ 45 h 1415"/>
                <a:gd name="T32" fmla="*/ 853 w 1445"/>
                <a:gd name="T33" fmla="*/ 28 h 1415"/>
                <a:gd name="T34" fmla="*/ 938 w 1445"/>
                <a:gd name="T35" fmla="*/ 12 h 1415"/>
                <a:gd name="T36" fmla="*/ 1008 w 1445"/>
                <a:gd name="T37" fmla="*/ 21 h 1415"/>
                <a:gd name="T38" fmla="*/ 1046 w 1445"/>
                <a:gd name="T39" fmla="*/ 4 h 1415"/>
                <a:gd name="T40" fmla="*/ 1067 w 1445"/>
                <a:gd name="T41" fmla="*/ 12 h 1415"/>
                <a:gd name="T42" fmla="*/ 1110 w 1445"/>
                <a:gd name="T43" fmla="*/ 12 h 1415"/>
                <a:gd name="T44" fmla="*/ 1117 w 1445"/>
                <a:gd name="T45" fmla="*/ 0 h 1415"/>
                <a:gd name="T46" fmla="*/ 1164 w 1445"/>
                <a:gd name="T47" fmla="*/ 21 h 1415"/>
                <a:gd name="T48" fmla="*/ 1209 w 1445"/>
                <a:gd name="T49" fmla="*/ 12 h 1415"/>
                <a:gd name="T50" fmla="*/ 1176 w 1445"/>
                <a:gd name="T51" fmla="*/ 45 h 1415"/>
                <a:gd name="T52" fmla="*/ 1186 w 1445"/>
                <a:gd name="T53" fmla="*/ 99 h 1415"/>
                <a:gd name="T54" fmla="*/ 1193 w 1445"/>
                <a:gd name="T55" fmla="*/ 139 h 1415"/>
                <a:gd name="T56" fmla="*/ 1186 w 1445"/>
                <a:gd name="T57" fmla="*/ 205 h 1415"/>
                <a:gd name="T58" fmla="*/ 1155 w 1445"/>
                <a:gd name="T59" fmla="*/ 234 h 1415"/>
                <a:gd name="T60" fmla="*/ 1134 w 1445"/>
                <a:gd name="T61" fmla="*/ 260 h 1415"/>
                <a:gd name="T62" fmla="*/ 1176 w 1445"/>
                <a:gd name="T63" fmla="*/ 321 h 1415"/>
                <a:gd name="T64" fmla="*/ 1193 w 1445"/>
                <a:gd name="T65" fmla="*/ 371 h 1415"/>
                <a:gd name="T66" fmla="*/ 1278 w 1445"/>
                <a:gd name="T67" fmla="*/ 555 h 1415"/>
                <a:gd name="T68" fmla="*/ 1285 w 1445"/>
                <a:gd name="T69" fmla="*/ 600 h 1415"/>
                <a:gd name="T70" fmla="*/ 1294 w 1445"/>
                <a:gd name="T71" fmla="*/ 711 h 1415"/>
                <a:gd name="T72" fmla="*/ 1285 w 1445"/>
                <a:gd name="T73" fmla="*/ 782 h 1415"/>
                <a:gd name="T74" fmla="*/ 1299 w 1445"/>
                <a:gd name="T75" fmla="*/ 822 h 1415"/>
                <a:gd name="T76" fmla="*/ 1273 w 1445"/>
                <a:gd name="T77" fmla="*/ 855 h 1415"/>
                <a:gd name="T78" fmla="*/ 1311 w 1445"/>
                <a:gd name="T79" fmla="*/ 933 h 1415"/>
                <a:gd name="T80" fmla="*/ 1327 w 1445"/>
                <a:gd name="T81" fmla="*/ 982 h 1415"/>
                <a:gd name="T82" fmla="*/ 1337 w 1445"/>
                <a:gd name="T83" fmla="*/ 1004 h 1415"/>
                <a:gd name="T84" fmla="*/ 1419 w 1445"/>
                <a:gd name="T85" fmla="*/ 1011 h 1415"/>
                <a:gd name="T86" fmla="*/ 1134 w 1445"/>
                <a:gd name="T87" fmla="*/ 1278 h 1415"/>
                <a:gd name="T88" fmla="*/ 907 w 1445"/>
                <a:gd name="T89" fmla="*/ 1405 h 1415"/>
                <a:gd name="T90" fmla="*/ 824 w 1445"/>
                <a:gd name="T91" fmla="*/ 1405 h 1415"/>
                <a:gd name="T92" fmla="*/ 831 w 1445"/>
                <a:gd name="T93" fmla="*/ 1353 h 1415"/>
                <a:gd name="T94" fmla="*/ 760 w 1445"/>
                <a:gd name="T95" fmla="*/ 1320 h 1415"/>
                <a:gd name="T96" fmla="*/ 734 w 1445"/>
                <a:gd name="T97" fmla="*/ 1315 h 1415"/>
                <a:gd name="T98" fmla="*/ 690 w 1445"/>
                <a:gd name="T99" fmla="*/ 1282 h 1415"/>
                <a:gd name="T100" fmla="*/ 269 w 1445"/>
                <a:gd name="T101" fmla="*/ 966 h 1415"/>
                <a:gd name="T102" fmla="*/ 0 w 1445"/>
                <a:gd name="T103" fmla="*/ 760 h 1415"/>
                <a:gd name="T104" fmla="*/ 108 w 1445"/>
                <a:gd name="T105" fmla="*/ 600 h 1415"/>
                <a:gd name="T106" fmla="*/ 160 w 1445"/>
                <a:gd name="T107" fmla="*/ 593 h 1415"/>
                <a:gd name="T108" fmla="*/ 236 w 1445"/>
                <a:gd name="T109" fmla="*/ 567 h 1415"/>
                <a:gd name="T110" fmla="*/ 302 w 1445"/>
                <a:gd name="T111" fmla="*/ 522 h 1415"/>
                <a:gd name="T112" fmla="*/ 356 w 1445"/>
                <a:gd name="T113" fmla="*/ 498 h 1415"/>
                <a:gd name="T114" fmla="*/ 340 w 1445"/>
                <a:gd name="T115" fmla="*/ 482 h 1415"/>
                <a:gd name="T116" fmla="*/ 366 w 1445"/>
                <a:gd name="T117" fmla="*/ 432 h 1415"/>
                <a:gd name="T118" fmla="*/ 366 w 1445"/>
                <a:gd name="T119" fmla="*/ 432 h 1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5" h="1415">
                  <a:moveTo>
                    <a:pt x="366" y="432"/>
                  </a:moveTo>
                  <a:lnTo>
                    <a:pt x="399" y="427"/>
                  </a:lnTo>
                  <a:lnTo>
                    <a:pt x="408" y="411"/>
                  </a:lnTo>
                  <a:lnTo>
                    <a:pt x="446" y="399"/>
                  </a:lnTo>
                  <a:lnTo>
                    <a:pt x="522" y="411"/>
                  </a:lnTo>
                  <a:lnTo>
                    <a:pt x="522" y="399"/>
                  </a:lnTo>
                  <a:lnTo>
                    <a:pt x="517" y="399"/>
                  </a:lnTo>
                  <a:lnTo>
                    <a:pt x="522" y="387"/>
                  </a:lnTo>
                  <a:lnTo>
                    <a:pt x="538" y="371"/>
                  </a:lnTo>
                  <a:lnTo>
                    <a:pt x="508" y="354"/>
                  </a:lnTo>
                  <a:lnTo>
                    <a:pt x="501" y="338"/>
                  </a:lnTo>
                  <a:lnTo>
                    <a:pt x="508" y="333"/>
                  </a:lnTo>
                  <a:lnTo>
                    <a:pt x="491" y="316"/>
                  </a:lnTo>
                  <a:lnTo>
                    <a:pt x="491" y="283"/>
                  </a:lnTo>
                  <a:lnTo>
                    <a:pt x="484" y="276"/>
                  </a:lnTo>
                  <a:lnTo>
                    <a:pt x="491" y="243"/>
                  </a:lnTo>
                  <a:lnTo>
                    <a:pt x="484" y="222"/>
                  </a:lnTo>
                  <a:lnTo>
                    <a:pt x="491" y="210"/>
                  </a:lnTo>
                  <a:lnTo>
                    <a:pt x="475" y="205"/>
                  </a:lnTo>
                  <a:lnTo>
                    <a:pt x="484" y="193"/>
                  </a:lnTo>
                  <a:lnTo>
                    <a:pt x="453" y="165"/>
                  </a:lnTo>
                  <a:lnTo>
                    <a:pt x="484" y="165"/>
                  </a:lnTo>
                  <a:lnTo>
                    <a:pt x="517" y="139"/>
                  </a:lnTo>
                  <a:lnTo>
                    <a:pt x="538" y="116"/>
                  </a:lnTo>
                  <a:lnTo>
                    <a:pt x="555" y="111"/>
                  </a:lnTo>
                  <a:lnTo>
                    <a:pt x="560" y="116"/>
                  </a:lnTo>
                  <a:lnTo>
                    <a:pt x="583" y="99"/>
                  </a:lnTo>
                  <a:lnTo>
                    <a:pt x="597" y="111"/>
                  </a:lnTo>
                  <a:lnTo>
                    <a:pt x="626" y="82"/>
                  </a:lnTo>
                  <a:lnTo>
                    <a:pt x="690" y="45"/>
                  </a:lnTo>
                  <a:lnTo>
                    <a:pt x="772" y="38"/>
                  </a:lnTo>
                  <a:lnTo>
                    <a:pt x="786" y="45"/>
                  </a:lnTo>
                  <a:lnTo>
                    <a:pt x="810" y="21"/>
                  </a:lnTo>
                  <a:lnTo>
                    <a:pt x="853" y="28"/>
                  </a:lnTo>
                  <a:lnTo>
                    <a:pt x="878" y="12"/>
                  </a:lnTo>
                  <a:lnTo>
                    <a:pt x="938" y="12"/>
                  </a:lnTo>
                  <a:lnTo>
                    <a:pt x="975" y="38"/>
                  </a:lnTo>
                  <a:lnTo>
                    <a:pt x="1008" y="21"/>
                  </a:lnTo>
                  <a:lnTo>
                    <a:pt x="1046" y="12"/>
                  </a:lnTo>
                  <a:lnTo>
                    <a:pt x="1046" y="4"/>
                  </a:lnTo>
                  <a:lnTo>
                    <a:pt x="1063" y="0"/>
                  </a:lnTo>
                  <a:lnTo>
                    <a:pt x="1067" y="12"/>
                  </a:lnTo>
                  <a:lnTo>
                    <a:pt x="1096" y="12"/>
                  </a:lnTo>
                  <a:lnTo>
                    <a:pt x="1110" y="12"/>
                  </a:lnTo>
                  <a:lnTo>
                    <a:pt x="1117" y="4"/>
                  </a:lnTo>
                  <a:lnTo>
                    <a:pt x="1117" y="0"/>
                  </a:lnTo>
                  <a:lnTo>
                    <a:pt x="1155" y="12"/>
                  </a:lnTo>
                  <a:lnTo>
                    <a:pt x="1164" y="21"/>
                  </a:lnTo>
                  <a:lnTo>
                    <a:pt x="1186" y="12"/>
                  </a:lnTo>
                  <a:lnTo>
                    <a:pt x="1209" y="12"/>
                  </a:lnTo>
                  <a:lnTo>
                    <a:pt x="1219" y="21"/>
                  </a:lnTo>
                  <a:lnTo>
                    <a:pt x="1176" y="45"/>
                  </a:lnTo>
                  <a:lnTo>
                    <a:pt x="1193" y="54"/>
                  </a:lnTo>
                  <a:lnTo>
                    <a:pt x="1186" y="99"/>
                  </a:lnTo>
                  <a:lnTo>
                    <a:pt x="1193" y="116"/>
                  </a:lnTo>
                  <a:lnTo>
                    <a:pt x="1193" y="139"/>
                  </a:lnTo>
                  <a:lnTo>
                    <a:pt x="1193" y="156"/>
                  </a:lnTo>
                  <a:lnTo>
                    <a:pt x="1186" y="205"/>
                  </a:lnTo>
                  <a:lnTo>
                    <a:pt x="1155" y="222"/>
                  </a:lnTo>
                  <a:lnTo>
                    <a:pt x="1155" y="234"/>
                  </a:lnTo>
                  <a:lnTo>
                    <a:pt x="1134" y="243"/>
                  </a:lnTo>
                  <a:lnTo>
                    <a:pt x="1134" y="260"/>
                  </a:lnTo>
                  <a:lnTo>
                    <a:pt x="1148" y="316"/>
                  </a:lnTo>
                  <a:lnTo>
                    <a:pt x="1176" y="321"/>
                  </a:lnTo>
                  <a:lnTo>
                    <a:pt x="1193" y="345"/>
                  </a:lnTo>
                  <a:lnTo>
                    <a:pt x="1193" y="371"/>
                  </a:lnTo>
                  <a:lnTo>
                    <a:pt x="1240" y="411"/>
                  </a:lnTo>
                  <a:lnTo>
                    <a:pt x="1278" y="555"/>
                  </a:lnTo>
                  <a:lnTo>
                    <a:pt x="1261" y="560"/>
                  </a:lnTo>
                  <a:lnTo>
                    <a:pt x="1285" y="600"/>
                  </a:lnTo>
                  <a:lnTo>
                    <a:pt x="1294" y="638"/>
                  </a:lnTo>
                  <a:lnTo>
                    <a:pt x="1294" y="711"/>
                  </a:lnTo>
                  <a:lnTo>
                    <a:pt x="1311" y="744"/>
                  </a:lnTo>
                  <a:lnTo>
                    <a:pt x="1285" y="782"/>
                  </a:lnTo>
                  <a:lnTo>
                    <a:pt x="1299" y="815"/>
                  </a:lnTo>
                  <a:lnTo>
                    <a:pt x="1299" y="822"/>
                  </a:lnTo>
                  <a:lnTo>
                    <a:pt x="1299" y="843"/>
                  </a:lnTo>
                  <a:lnTo>
                    <a:pt x="1273" y="855"/>
                  </a:lnTo>
                  <a:lnTo>
                    <a:pt x="1261" y="871"/>
                  </a:lnTo>
                  <a:lnTo>
                    <a:pt x="1311" y="933"/>
                  </a:lnTo>
                  <a:lnTo>
                    <a:pt x="1311" y="971"/>
                  </a:lnTo>
                  <a:lnTo>
                    <a:pt x="1327" y="982"/>
                  </a:lnTo>
                  <a:lnTo>
                    <a:pt x="1327" y="987"/>
                  </a:lnTo>
                  <a:lnTo>
                    <a:pt x="1337" y="1004"/>
                  </a:lnTo>
                  <a:lnTo>
                    <a:pt x="1353" y="999"/>
                  </a:lnTo>
                  <a:lnTo>
                    <a:pt x="1419" y="1011"/>
                  </a:lnTo>
                  <a:lnTo>
                    <a:pt x="1445" y="1077"/>
                  </a:lnTo>
                  <a:lnTo>
                    <a:pt x="1134" y="1278"/>
                  </a:lnTo>
                  <a:lnTo>
                    <a:pt x="1013" y="1389"/>
                  </a:lnTo>
                  <a:lnTo>
                    <a:pt x="907" y="1405"/>
                  </a:lnTo>
                  <a:lnTo>
                    <a:pt x="841" y="1415"/>
                  </a:lnTo>
                  <a:lnTo>
                    <a:pt x="824" y="1405"/>
                  </a:lnTo>
                  <a:lnTo>
                    <a:pt x="841" y="1389"/>
                  </a:lnTo>
                  <a:lnTo>
                    <a:pt x="831" y="1353"/>
                  </a:lnTo>
                  <a:lnTo>
                    <a:pt x="777" y="1337"/>
                  </a:lnTo>
                  <a:lnTo>
                    <a:pt x="760" y="1320"/>
                  </a:lnTo>
                  <a:lnTo>
                    <a:pt x="756" y="1320"/>
                  </a:lnTo>
                  <a:lnTo>
                    <a:pt x="734" y="1315"/>
                  </a:lnTo>
                  <a:lnTo>
                    <a:pt x="723" y="1299"/>
                  </a:lnTo>
                  <a:lnTo>
                    <a:pt x="690" y="1282"/>
                  </a:lnTo>
                  <a:lnTo>
                    <a:pt x="690" y="1261"/>
                  </a:lnTo>
                  <a:lnTo>
                    <a:pt x="269" y="966"/>
                  </a:lnTo>
                  <a:lnTo>
                    <a:pt x="0" y="782"/>
                  </a:lnTo>
                  <a:lnTo>
                    <a:pt x="0" y="760"/>
                  </a:lnTo>
                  <a:lnTo>
                    <a:pt x="0" y="671"/>
                  </a:lnTo>
                  <a:lnTo>
                    <a:pt x="108" y="600"/>
                  </a:lnTo>
                  <a:lnTo>
                    <a:pt x="146" y="609"/>
                  </a:lnTo>
                  <a:lnTo>
                    <a:pt x="160" y="593"/>
                  </a:lnTo>
                  <a:lnTo>
                    <a:pt x="222" y="583"/>
                  </a:lnTo>
                  <a:lnTo>
                    <a:pt x="236" y="567"/>
                  </a:lnTo>
                  <a:lnTo>
                    <a:pt x="260" y="538"/>
                  </a:lnTo>
                  <a:lnTo>
                    <a:pt x="302" y="522"/>
                  </a:lnTo>
                  <a:lnTo>
                    <a:pt x="323" y="498"/>
                  </a:lnTo>
                  <a:lnTo>
                    <a:pt x="356" y="498"/>
                  </a:lnTo>
                  <a:lnTo>
                    <a:pt x="356" y="489"/>
                  </a:lnTo>
                  <a:lnTo>
                    <a:pt x="340" y="482"/>
                  </a:lnTo>
                  <a:lnTo>
                    <a:pt x="340" y="444"/>
                  </a:lnTo>
                  <a:lnTo>
                    <a:pt x="366" y="432"/>
                  </a:lnTo>
                  <a:lnTo>
                    <a:pt x="366" y="432"/>
                  </a:lnTo>
                  <a:lnTo>
                    <a:pt x="366" y="43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87" name="Freeform 385">
              <a:extLst>
                <a:ext uri="{FF2B5EF4-FFF2-40B4-BE49-F238E27FC236}">
                  <a16:creationId xmlns:a16="http://schemas.microsoft.com/office/drawing/2014/main" id="{5B9C3C91-EBBC-4922-B1A7-A15B50573F0A}"/>
                </a:ext>
              </a:extLst>
            </p:cNvPr>
            <p:cNvSpPr>
              <a:spLocks noEditPoints="1"/>
            </p:cNvSpPr>
            <p:nvPr/>
          </p:nvSpPr>
          <p:spPr bwMode="gray">
            <a:xfrm>
              <a:off x="7066686" y="4198046"/>
              <a:ext cx="356918" cy="406364"/>
            </a:xfrm>
            <a:custGeom>
              <a:avLst/>
              <a:gdLst>
                <a:gd name="T0" fmla="*/ 75 w 867"/>
                <a:gd name="T1" fmla="*/ 23 h 987"/>
                <a:gd name="T2" fmla="*/ 54 w 867"/>
                <a:gd name="T3" fmla="*/ 94 h 987"/>
                <a:gd name="T4" fmla="*/ 21 w 867"/>
                <a:gd name="T5" fmla="*/ 85 h 987"/>
                <a:gd name="T6" fmla="*/ 9 w 867"/>
                <a:gd name="T7" fmla="*/ 40 h 987"/>
                <a:gd name="T8" fmla="*/ 37 w 867"/>
                <a:gd name="T9" fmla="*/ 23 h 987"/>
                <a:gd name="T10" fmla="*/ 59 w 867"/>
                <a:gd name="T11" fmla="*/ 7 h 987"/>
                <a:gd name="T12" fmla="*/ 75 w 867"/>
                <a:gd name="T13" fmla="*/ 0 h 987"/>
                <a:gd name="T14" fmla="*/ 92 w 867"/>
                <a:gd name="T15" fmla="*/ 16 h 987"/>
                <a:gd name="T16" fmla="*/ 817 w 867"/>
                <a:gd name="T17" fmla="*/ 966 h 987"/>
                <a:gd name="T18" fmla="*/ 654 w 867"/>
                <a:gd name="T19" fmla="*/ 982 h 987"/>
                <a:gd name="T20" fmla="*/ 616 w 867"/>
                <a:gd name="T21" fmla="*/ 987 h 987"/>
                <a:gd name="T22" fmla="*/ 498 w 867"/>
                <a:gd name="T23" fmla="*/ 970 h 987"/>
                <a:gd name="T24" fmla="*/ 470 w 867"/>
                <a:gd name="T25" fmla="*/ 942 h 987"/>
                <a:gd name="T26" fmla="*/ 118 w 867"/>
                <a:gd name="T27" fmla="*/ 916 h 987"/>
                <a:gd name="T28" fmla="*/ 54 w 867"/>
                <a:gd name="T29" fmla="*/ 933 h 987"/>
                <a:gd name="T30" fmla="*/ 0 w 867"/>
                <a:gd name="T31" fmla="*/ 933 h 987"/>
                <a:gd name="T32" fmla="*/ 0 w 867"/>
                <a:gd name="T33" fmla="*/ 838 h 987"/>
                <a:gd name="T34" fmla="*/ 9 w 867"/>
                <a:gd name="T35" fmla="*/ 814 h 987"/>
                <a:gd name="T36" fmla="*/ 37 w 867"/>
                <a:gd name="T37" fmla="*/ 748 h 987"/>
                <a:gd name="T38" fmla="*/ 54 w 867"/>
                <a:gd name="T39" fmla="*/ 682 h 987"/>
                <a:gd name="T40" fmla="*/ 80 w 867"/>
                <a:gd name="T41" fmla="*/ 616 h 987"/>
                <a:gd name="T42" fmla="*/ 113 w 867"/>
                <a:gd name="T43" fmla="*/ 583 h 987"/>
                <a:gd name="T44" fmla="*/ 146 w 867"/>
                <a:gd name="T45" fmla="*/ 472 h 987"/>
                <a:gd name="T46" fmla="*/ 134 w 867"/>
                <a:gd name="T47" fmla="*/ 451 h 987"/>
                <a:gd name="T48" fmla="*/ 80 w 867"/>
                <a:gd name="T49" fmla="*/ 333 h 987"/>
                <a:gd name="T50" fmla="*/ 80 w 867"/>
                <a:gd name="T51" fmla="*/ 333 h 987"/>
                <a:gd name="T52" fmla="*/ 113 w 867"/>
                <a:gd name="T53" fmla="*/ 283 h 987"/>
                <a:gd name="T54" fmla="*/ 75 w 867"/>
                <a:gd name="T55" fmla="*/ 184 h 987"/>
                <a:gd name="T56" fmla="*/ 26 w 867"/>
                <a:gd name="T57" fmla="*/ 118 h 987"/>
                <a:gd name="T58" fmla="*/ 96 w 867"/>
                <a:gd name="T59" fmla="*/ 101 h 987"/>
                <a:gd name="T60" fmla="*/ 335 w 867"/>
                <a:gd name="T61" fmla="*/ 111 h 987"/>
                <a:gd name="T62" fmla="*/ 344 w 867"/>
                <a:gd name="T63" fmla="*/ 139 h 987"/>
                <a:gd name="T64" fmla="*/ 361 w 867"/>
                <a:gd name="T65" fmla="*/ 196 h 987"/>
                <a:gd name="T66" fmla="*/ 432 w 867"/>
                <a:gd name="T67" fmla="*/ 262 h 987"/>
                <a:gd name="T68" fmla="*/ 444 w 867"/>
                <a:gd name="T69" fmla="*/ 262 h 987"/>
                <a:gd name="T70" fmla="*/ 470 w 867"/>
                <a:gd name="T71" fmla="*/ 250 h 987"/>
                <a:gd name="T72" fmla="*/ 529 w 867"/>
                <a:gd name="T73" fmla="*/ 229 h 987"/>
                <a:gd name="T74" fmla="*/ 545 w 867"/>
                <a:gd name="T75" fmla="*/ 184 h 987"/>
                <a:gd name="T76" fmla="*/ 600 w 867"/>
                <a:gd name="T77" fmla="*/ 184 h 987"/>
                <a:gd name="T78" fmla="*/ 616 w 867"/>
                <a:gd name="T79" fmla="*/ 205 h 987"/>
                <a:gd name="T80" fmla="*/ 708 w 867"/>
                <a:gd name="T81" fmla="*/ 222 h 987"/>
                <a:gd name="T82" fmla="*/ 708 w 867"/>
                <a:gd name="T83" fmla="*/ 295 h 987"/>
                <a:gd name="T84" fmla="*/ 708 w 867"/>
                <a:gd name="T85" fmla="*/ 377 h 987"/>
                <a:gd name="T86" fmla="*/ 741 w 867"/>
                <a:gd name="T87" fmla="*/ 427 h 987"/>
                <a:gd name="T88" fmla="*/ 730 w 867"/>
                <a:gd name="T89" fmla="*/ 467 h 987"/>
                <a:gd name="T90" fmla="*/ 758 w 867"/>
                <a:gd name="T91" fmla="*/ 472 h 987"/>
                <a:gd name="T92" fmla="*/ 817 w 867"/>
                <a:gd name="T93" fmla="*/ 472 h 987"/>
                <a:gd name="T94" fmla="*/ 855 w 867"/>
                <a:gd name="T95" fmla="*/ 467 h 987"/>
                <a:gd name="T96" fmla="*/ 855 w 867"/>
                <a:gd name="T97" fmla="*/ 522 h 987"/>
                <a:gd name="T98" fmla="*/ 867 w 867"/>
                <a:gd name="T99" fmla="*/ 578 h 987"/>
                <a:gd name="T100" fmla="*/ 855 w 867"/>
                <a:gd name="T101" fmla="*/ 628 h 987"/>
                <a:gd name="T102" fmla="*/ 720 w 867"/>
                <a:gd name="T103" fmla="*/ 855 h 987"/>
                <a:gd name="T104" fmla="*/ 800 w 867"/>
                <a:gd name="T105" fmla="*/ 949 h 987"/>
                <a:gd name="T106" fmla="*/ 817 w 867"/>
                <a:gd name="T107" fmla="*/ 966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7" h="987">
                  <a:moveTo>
                    <a:pt x="92" y="16"/>
                  </a:moveTo>
                  <a:lnTo>
                    <a:pt x="75" y="23"/>
                  </a:lnTo>
                  <a:lnTo>
                    <a:pt x="54" y="40"/>
                  </a:lnTo>
                  <a:lnTo>
                    <a:pt x="54" y="94"/>
                  </a:lnTo>
                  <a:lnTo>
                    <a:pt x="26" y="94"/>
                  </a:lnTo>
                  <a:lnTo>
                    <a:pt x="21" y="85"/>
                  </a:lnTo>
                  <a:lnTo>
                    <a:pt x="26" y="73"/>
                  </a:lnTo>
                  <a:lnTo>
                    <a:pt x="9" y="40"/>
                  </a:lnTo>
                  <a:lnTo>
                    <a:pt x="26" y="23"/>
                  </a:lnTo>
                  <a:lnTo>
                    <a:pt x="37" y="23"/>
                  </a:lnTo>
                  <a:lnTo>
                    <a:pt x="42" y="16"/>
                  </a:lnTo>
                  <a:lnTo>
                    <a:pt x="59" y="7"/>
                  </a:lnTo>
                  <a:lnTo>
                    <a:pt x="63" y="0"/>
                  </a:lnTo>
                  <a:lnTo>
                    <a:pt x="75" y="0"/>
                  </a:lnTo>
                  <a:lnTo>
                    <a:pt x="92" y="16"/>
                  </a:lnTo>
                  <a:lnTo>
                    <a:pt x="92" y="16"/>
                  </a:lnTo>
                  <a:lnTo>
                    <a:pt x="92" y="16"/>
                  </a:lnTo>
                  <a:close/>
                  <a:moveTo>
                    <a:pt x="817" y="966"/>
                  </a:moveTo>
                  <a:lnTo>
                    <a:pt x="670" y="987"/>
                  </a:lnTo>
                  <a:lnTo>
                    <a:pt x="654" y="982"/>
                  </a:lnTo>
                  <a:lnTo>
                    <a:pt x="637" y="987"/>
                  </a:lnTo>
                  <a:lnTo>
                    <a:pt x="616" y="987"/>
                  </a:lnTo>
                  <a:lnTo>
                    <a:pt x="600" y="982"/>
                  </a:lnTo>
                  <a:lnTo>
                    <a:pt x="498" y="970"/>
                  </a:lnTo>
                  <a:lnTo>
                    <a:pt x="474" y="966"/>
                  </a:lnTo>
                  <a:lnTo>
                    <a:pt x="470" y="942"/>
                  </a:lnTo>
                  <a:lnTo>
                    <a:pt x="151" y="949"/>
                  </a:lnTo>
                  <a:lnTo>
                    <a:pt x="118" y="916"/>
                  </a:lnTo>
                  <a:lnTo>
                    <a:pt x="96" y="909"/>
                  </a:lnTo>
                  <a:lnTo>
                    <a:pt x="54" y="933"/>
                  </a:lnTo>
                  <a:lnTo>
                    <a:pt x="21" y="925"/>
                  </a:lnTo>
                  <a:lnTo>
                    <a:pt x="0" y="933"/>
                  </a:lnTo>
                  <a:lnTo>
                    <a:pt x="0" y="876"/>
                  </a:lnTo>
                  <a:lnTo>
                    <a:pt x="0" y="838"/>
                  </a:lnTo>
                  <a:lnTo>
                    <a:pt x="0" y="831"/>
                  </a:lnTo>
                  <a:lnTo>
                    <a:pt x="9" y="814"/>
                  </a:lnTo>
                  <a:lnTo>
                    <a:pt x="21" y="781"/>
                  </a:lnTo>
                  <a:lnTo>
                    <a:pt x="37" y="748"/>
                  </a:lnTo>
                  <a:lnTo>
                    <a:pt x="37" y="703"/>
                  </a:lnTo>
                  <a:lnTo>
                    <a:pt x="54" y="682"/>
                  </a:lnTo>
                  <a:lnTo>
                    <a:pt x="54" y="649"/>
                  </a:lnTo>
                  <a:lnTo>
                    <a:pt x="80" y="616"/>
                  </a:lnTo>
                  <a:lnTo>
                    <a:pt x="80" y="600"/>
                  </a:lnTo>
                  <a:lnTo>
                    <a:pt x="113" y="583"/>
                  </a:lnTo>
                  <a:lnTo>
                    <a:pt x="134" y="526"/>
                  </a:lnTo>
                  <a:lnTo>
                    <a:pt x="146" y="472"/>
                  </a:lnTo>
                  <a:lnTo>
                    <a:pt x="134" y="460"/>
                  </a:lnTo>
                  <a:lnTo>
                    <a:pt x="134" y="451"/>
                  </a:lnTo>
                  <a:lnTo>
                    <a:pt x="118" y="432"/>
                  </a:lnTo>
                  <a:lnTo>
                    <a:pt x="80" y="333"/>
                  </a:lnTo>
                  <a:lnTo>
                    <a:pt x="92" y="316"/>
                  </a:lnTo>
                  <a:lnTo>
                    <a:pt x="80" y="333"/>
                  </a:lnTo>
                  <a:lnTo>
                    <a:pt x="113" y="304"/>
                  </a:lnTo>
                  <a:lnTo>
                    <a:pt x="113" y="283"/>
                  </a:lnTo>
                  <a:lnTo>
                    <a:pt x="75" y="205"/>
                  </a:lnTo>
                  <a:lnTo>
                    <a:pt x="75" y="184"/>
                  </a:lnTo>
                  <a:lnTo>
                    <a:pt x="54" y="155"/>
                  </a:lnTo>
                  <a:lnTo>
                    <a:pt x="26" y="118"/>
                  </a:lnTo>
                  <a:lnTo>
                    <a:pt x="63" y="111"/>
                  </a:lnTo>
                  <a:lnTo>
                    <a:pt x="96" y="101"/>
                  </a:lnTo>
                  <a:lnTo>
                    <a:pt x="297" y="101"/>
                  </a:lnTo>
                  <a:lnTo>
                    <a:pt x="335" y="111"/>
                  </a:lnTo>
                  <a:lnTo>
                    <a:pt x="344" y="127"/>
                  </a:lnTo>
                  <a:lnTo>
                    <a:pt x="344" y="139"/>
                  </a:lnTo>
                  <a:lnTo>
                    <a:pt x="361" y="184"/>
                  </a:lnTo>
                  <a:lnTo>
                    <a:pt x="361" y="196"/>
                  </a:lnTo>
                  <a:lnTo>
                    <a:pt x="406" y="262"/>
                  </a:lnTo>
                  <a:lnTo>
                    <a:pt x="432" y="262"/>
                  </a:lnTo>
                  <a:lnTo>
                    <a:pt x="444" y="262"/>
                  </a:lnTo>
                  <a:lnTo>
                    <a:pt x="444" y="262"/>
                  </a:lnTo>
                  <a:lnTo>
                    <a:pt x="470" y="250"/>
                  </a:lnTo>
                  <a:lnTo>
                    <a:pt x="470" y="250"/>
                  </a:lnTo>
                  <a:lnTo>
                    <a:pt x="529" y="250"/>
                  </a:lnTo>
                  <a:lnTo>
                    <a:pt x="529" y="229"/>
                  </a:lnTo>
                  <a:lnTo>
                    <a:pt x="545" y="222"/>
                  </a:lnTo>
                  <a:lnTo>
                    <a:pt x="545" y="184"/>
                  </a:lnTo>
                  <a:lnTo>
                    <a:pt x="600" y="184"/>
                  </a:lnTo>
                  <a:lnTo>
                    <a:pt x="600" y="184"/>
                  </a:lnTo>
                  <a:lnTo>
                    <a:pt x="621" y="184"/>
                  </a:lnTo>
                  <a:lnTo>
                    <a:pt x="616" y="205"/>
                  </a:lnTo>
                  <a:lnTo>
                    <a:pt x="704" y="205"/>
                  </a:lnTo>
                  <a:lnTo>
                    <a:pt x="708" y="222"/>
                  </a:lnTo>
                  <a:lnTo>
                    <a:pt x="704" y="250"/>
                  </a:lnTo>
                  <a:lnTo>
                    <a:pt x="708" y="295"/>
                  </a:lnTo>
                  <a:lnTo>
                    <a:pt x="704" y="356"/>
                  </a:lnTo>
                  <a:lnTo>
                    <a:pt x="708" y="377"/>
                  </a:lnTo>
                  <a:lnTo>
                    <a:pt x="725" y="394"/>
                  </a:lnTo>
                  <a:lnTo>
                    <a:pt x="741" y="427"/>
                  </a:lnTo>
                  <a:lnTo>
                    <a:pt x="741" y="460"/>
                  </a:lnTo>
                  <a:lnTo>
                    <a:pt x="730" y="467"/>
                  </a:lnTo>
                  <a:lnTo>
                    <a:pt x="730" y="488"/>
                  </a:lnTo>
                  <a:lnTo>
                    <a:pt x="758" y="472"/>
                  </a:lnTo>
                  <a:lnTo>
                    <a:pt x="796" y="484"/>
                  </a:lnTo>
                  <a:lnTo>
                    <a:pt x="817" y="472"/>
                  </a:lnTo>
                  <a:lnTo>
                    <a:pt x="850" y="472"/>
                  </a:lnTo>
                  <a:lnTo>
                    <a:pt x="855" y="467"/>
                  </a:lnTo>
                  <a:lnTo>
                    <a:pt x="867" y="505"/>
                  </a:lnTo>
                  <a:lnTo>
                    <a:pt x="855" y="522"/>
                  </a:lnTo>
                  <a:lnTo>
                    <a:pt x="855" y="559"/>
                  </a:lnTo>
                  <a:lnTo>
                    <a:pt x="867" y="578"/>
                  </a:lnTo>
                  <a:lnTo>
                    <a:pt x="850" y="600"/>
                  </a:lnTo>
                  <a:lnTo>
                    <a:pt x="855" y="628"/>
                  </a:lnTo>
                  <a:lnTo>
                    <a:pt x="720" y="616"/>
                  </a:lnTo>
                  <a:lnTo>
                    <a:pt x="720" y="855"/>
                  </a:lnTo>
                  <a:lnTo>
                    <a:pt x="725" y="876"/>
                  </a:lnTo>
                  <a:lnTo>
                    <a:pt x="800" y="949"/>
                  </a:lnTo>
                  <a:lnTo>
                    <a:pt x="817" y="966"/>
                  </a:lnTo>
                  <a:lnTo>
                    <a:pt x="817" y="966"/>
                  </a:lnTo>
                  <a:lnTo>
                    <a:pt x="817" y="96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88" name="Freeform 390">
              <a:extLst>
                <a:ext uri="{FF2B5EF4-FFF2-40B4-BE49-F238E27FC236}">
                  <a16:creationId xmlns:a16="http://schemas.microsoft.com/office/drawing/2014/main" id="{7B750503-DEDB-4CA0-84C6-374212BF2D72}"/>
                </a:ext>
              </a:extLst>
            </p:cNvPr>
            <p:cNvSpPr>
              <a:spLocks/>
            </p:cNvSpPr>
            <p:nvPr/>
          </p:nvSpPr>
          <p:spPr bwMode="gray">
            <a:xfrm>
              <a:off x="8184783" y="3270861"/>
              <a:ext cx="824" cy="11941"/>
            </a:xfrm>
            <a:custGeom>
              <a:avLst/>
              <a:gdLst>
                <a:gd name="T0" fmla="*/ 2 w 2"/>
                <a:gd name="T1" fmla="*/ 0 h 29"/>
                <a:gd name="T2" fmla="*/ 2 w 2"/>
                <a:gd name="T3" fmla="*/ 29 h 29"/>
                <a:gd name="T4" fmla="*/ 0 w 2"/>
                <a:gd name="T5" fmla="*/ 17 h 29"/>
                <a:gd name="T6" fmla="*/ 0 w 2"/>
                <a:gd name="T7" fmla="*/ 0 h 29"/>
                <a:gd name="T8" fmla="*/ 2 w 2"/>
                <a:gd name="T9" fmla="*/ 0 h 29"/>
                <a:gd name="T10" fmla="*/ 2 w 2"/>
                <a:gd name="T11" fmla="*/ 0 h 29"/>
                <a:gd name="T12" fmla="*/ 2 w 2"/>
                <a:gd name="T13" fmla="*/ 0 h 29"/>
                <a:gd name="T14" fmla="*/ 2 w 2"/>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9">
                  <a:moveTo>
                    <a:pt x="2" y="0"/>
                  </a:moveTo>
                  <a:lnTo>
                    <a:pt x="2" y="29"/>
                  </a:lnTo>
                  <a:lnTo>
                    <a:pt x="0" y="17"/>
                  </a:lnTo>
                  <a:lnTo>
                    <a:pt x="0" y="0"/>
                  </a:lnTo>
                  <a:lnTo>
                    <a:pt x="2" y="0"/>
                  </a:lnTo>
                  <a:lnTo>
                    <a:pt x="2" y="0"/>
                  </a:lnTo>
                  <a:lnTo>
                    <a:pt x="2" y="0"/>
                  </a:lnTo>
                  <a:lnTo>
                    <a:pt x="2"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89" name="Freeform 392">
              <a:extLst>
                <a:ext uri="{FF2B5EF4-FFF2-40B4-BE49-F238E27FC236}">
                  <a16:creationId xmlns:a16="http://schemas.microsoft.com/office/drawing/2014/main" id="{392DDCF1-5D9F-4B2F-8BCB-6CA4242819A8}"/>
                </a:ext>
              </a:extLst>
            </p:cNvPr>
            <p:cNvSpPr>
              <a:spLocks/>
            </p:cNvSpPr>
            <p:nvPr/>
          </p:nvSpPr>
          <p:spPr bwMode="gray">
            <a:xfrm>
              <a:off x="7304632" y="4597410"/>
              <a:ext cx="268408" cy="284085"/>
            </a:xfrm>
            <a:custGeom>
              <a:avLst/>
              <a:gdLst>
                <a:gd name="T0" fmla="*/ 0 w 652"/>
                <a:gd name="T1" fmla="*/ 525 h 690"/>
                <a:gd name="T2" fmla="*/ 0 w 652"/>
                <a:gd name="T3" fmla="*/ 322 h 690"/>
                <a:gd name="T4" fmla="*/ 71 w 652"/>
                <a:gd name="T5" fmla="*/ 322 h 690"/>
                <a:gd name="T6" fmla="*/ 71 w 652"/>
                <a:gd name="T7" fmla="*/ 45 h 690"/>
                <a:gd name="T8" fmla="*/ 232 w 652"/>
                <a:gd name="T9" fmla="*/ 17 h 690"/>
                <a:gd name="T10" fmla="*/ 253 w 652"/>
                <a:gd name="T11" fmla="*/ 55 h 690"/>
                <a:gd name="T12" fmla="*/ 303 w 652"/>
                <a:gd name="T13" fmla="*/ 17 h 690"/>
                <a:gd name="T14" fmla="*/ 312 w 652"/>
                <a:gd name="T15" fmla="*/ 29 h 690"/>
                <a:gd name="T16" fmla="*/ 340 w 652"/>
                <a:gd name="T17" fmla="*/ 0 h 690"/>
                <a:gd name="T18" fmla="*/ 366 w 652"/>
                <a:gd name="T19" fmla="*/ 0 h 690"/>
                <a:gd name="T20" fmla="*/ 366 w 652"/>
                <a:gd name="T21" fmla="*/ 29 h 690"/>
                <a:gd name="T22" fmla="*/ 416 w 652"/>
                <a:gd name="T23" fmla="*/ 88 h 690"/>
                <a:gd name="T24" fmla="*/ 416 w 652"/>
                <a:gd name="T25" fmla="*/ 100 h 690"/>
                <a:gd name="T26" fmla="*/ 430 w 652"/>
                <a:gd name="T27" fmla="*/ 128 h 690"/>
                <a:gd name="T28" fmla="*/ 468 w 652"/>
                <a:gd name="T29" fmla="*/ 161 h 690"/>
                <a:gd name="T30" fmla="*/ 501 w 652"/>
                <a:gd name="T31" fmla="*/ 178 h 690"/>
                <a:gd name="T32" fmla="*/ 506 w 652"/>
                <a:gd name="T33" fmla="*/ 211 h 690"/>
                <a:gd name="T34" fmla="*/ 539 w 652"/>
                <a:gd name="T35" fmla="*/ 211 h 690"/>
                <a:gd name="T36" fmla="*/ 539 w 652"/>
                <a:gd name="T37" fmla="*/ 248 h 690"/>
                <a:gd name="T38" fmla="*/ 560 w 652"/>
                <a:gd name="T39" fmla="*/ 289 h 690"/>
                <a:gd name="T40" fmla="*/ 598 w 652"/>
                <a:gd name="T41" fmla="*/ 289 h 690"/>
                <a:gd name="T42" fmla="*/ 631 w 652"/>
                <a:gd name="T43" fmla="*/ 305 h 690"/>
                <a:gd name="T44" fmla="*/ 631 w 652"/>
                <a:gd name="T45" fmla="*/ 322 h 690"/>
                <a:gd name="T46" fmla="*/ 648 w 652"/>
                <a:gd name="T47" fmla="*/ 322 h 690"/>
                <a:gd name="T48" fmla="*/ 652 w 652"/>
                <a:gd name="T49" fmla="*/ 338 h 690"/>
                <a:gd name="T50" fmla="*/ 631 w 652"/>
                <a:gd name="T51" fmla="*/ 338 h 690"/>
                <a:gd name="T52" fmla="*/ 626 w 652"/>
                <a:gd name="T53" fmla="*/ 348 h 690"/>
                <a:gd name="T54" fmla="*/ 577 w 652"/>
                <a:gd name="T55" fmla="*/ 364 h 690"/>
                <a:gd name="T56" fmla="*/ 555 w 652"/>
                <a:gd name="T57" fmla="*/ 397 h 690"/>
                <a:gd name="T58" fmla="*/ 529 w 652"/>
                <a:gd name="T59" fmla="*/ 414 h 690"/>
                <a:gd name="T60" fmla="*/ 522 w 652"/>
                <a:gd name="T61" fmla="*/ 421 h 690"/>
                <a:gd name="T62" fmla="*/ 518 w 652"/>
                <a:gd name="T63" fmla="*/ 421 h 690"/>
                <a:gd name="T64" fmla="*/ 485 w 652"/>
                <a:gd name="T65" fmla="*/ 447 h 690"/>
                <a:gd name="T66" fmla="*/ 475 w 652"/>
                <a:gd name="T67" fmla="*/ 492 h 690"/>
                <a:gd name="T68" fmla="*/ 447 w 652"/>
                <a:gd name="T69" fmla="*/ 515 h 690"/>
                <a:gd name="T70" fmla="*/ 409 w 652"/>
                <a:gd name="T71" fmla="*/ 525 h 690"/>
                <a:gd name="T72" fmla="*/ 392 w 652"/>
                <a:gd name="T73" fmla="*/ 581 h 690"/>
                <a:gd name="T74" fmla="*/ 383 w 652"/>
                <a:gd name="T75" fmla="*/ 598 h 690"/>
                <a:gd name="T76" fmla="*/ 324 w 652"/>
                <a:gd name="T77" fmla="*/ 615 h 690"/>
                <a:gd name="T78" fmla="*/ 303 w 652"/>
                <a:gd name="T79" fmla="*/ 603 h 690"/>
                <a:gd name="T80" fmla="*/ 291 w 652"/>
                <a:gd name="T81" fmla="*/ 598 h 690"/>
                <a:gd name="T82" fmla="*/ 270 w 652"/>
                <a:gd name="T83" fmla="*/ 598 h 690"/>
                <a:gd name="T84" fmla="*/ 237 w 652"/>
                <a:gd name="T85" fmla="*/ 565 h 690"/>
                <a:gd name="T86" fmla="*/ 206 w 652"/>
                <a:gd name="T87" fmla="*/ 570 h 690"/>
                <a:gd name="T88" fmla="*/ 194 w 652"/>
                <a:gd name="T89" fmla="*/ 586 h 690"/>
                <a:gd name="T90" fmla="*/ 182 w 652"/>
                <a:gd name="T91" fmla="*/ 624 h 690"/>
                <a:gd name="T92" fmla="*/ 152 w 652"/>
                <a:gd name="T93" fmla="*/ 652 h 690"/>
                <a:gd name="T94" fmla="*/ 140 w 652"/>
                <a:gd name="T95" fmla="*/ 674 h 690"/>
                <a:gd name="T96" fmla="*/ 123 w 652"/>
                <a:gd name="T97" fmla="*/ 674 h 690"/>
                <a:gd name="T98" fmla="*/ 114 w 652"/>
                <a:gd name="T99" fmla="*/ 690 h 690"/>
                <a:gd name="T100" fmla="*/ 43 w 652"/>
                <a:gd name="T101" fmla="*/ 681 h 690"/>
                <a:gd name="T102" fmla="*/ 38 w 652"/>
                <a:gd name="T103" fmla="*/ 657 h 690"/>
                <a:gd name="T104" fmla="*/ 59 w 652"/>
                <a:gd name="T105" fmla="*/ 636 h 690"/>
                <a:gd name="T106" fmla="*/ 55 w 652"/>
                <a:gd name="T107" fmla="*/ 615 h 690"/>
                <a:gd name="T108" fmla="*/ 22 w 652"/>
                <a:gd name="T109" fmla="*/ 548 h 690"/>
                <a:gd name="T110" fmla="*/ 0 w 652"/>
                <a:gd name="T111" fmla="*/ 525 h 690"/>
                <a:gd name="T112" fmla="*/ 0 w 652"/>
                <a:gd name="T113" fmla="*/ 525 h 690"/>
                <a:gd name="T114" fmla="*/ 0 w 652"/>
                <a:gd name="T115" fmla="*/ 52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2" h="690">
                  <a:moveTo>
                    <a:pt x="0" y="525"/>
                  </a:moveTo>
                  <a:lnTo>
                    <a:pt x="0" y="322"/>
                  </a:lnTo>
                  <a:lnTo>
                    <a:pt x="71" y="322"/>
                  </a:lnTo>
                  <a:lnTo>
                    <a:pt x="71" y="45"/>
                  </a:lnTo>
                  <a:lnTo>
                    <a:pt x="232" y="17"/>
                  </a:lnTo>
                  <a:lnTo>
                    <a:pt x="253" y="55"/>
                  </a:lnTo>
                  <a:lnTo>
                    <a:pt x="303" y="17"/>
                  </a:lnTo>
                  <a:lnTo>
                    <a:pt x="312" y="29"/>
                  </a:lnTo>
                  <a:lnTo>
                    <a:pt x="340" y="0"/>
                  </a:lnTo>
                  <a:lnTo>
                    <a:pt x="366" y="0"/>
                  </a:lnTo>
                  <a:lnTo>
                    <a:pt x="366" y="29"/>
                  </a:lnTo>
                  <a:lnTo>
                    <a:pt x="416" y="88"/>
                  </a:lnTo>
                  <a:lnTo>
                    <a:pt x="416" y="100"/>
                  </a:lnTo>
                  <a:lnTo>
                    <a:pt x="430" y="128"/>
                  </a:lnTo>
                  <a:lnTo>
                    <a:pt x="468" y="161"/>
                  </a:lnTo>
                  <a:lnTo>
                    <a:pt x="501" y="178"/>
                  </a:lnTo>
                  <a:lnTo>
                    <a:pt x="506" y="211"/>
                  </a:lnTo>
                  <a:lnTo>
                    <a:pt x="539" y="211"/>
                  </a:lnTo>
                  <a:lnTo>
                    <a:pt x="539" y="248"/>
                  </a:lnTo>
                  <a:lnTo>
                    <a:pt x="560" y="289"/>
                  </a:lnTo>
                  <a:lnTo>
                    <a:pt x="598" y="289"/>
                  </a:lnTo>
                  <a:lnTo>
                    <a:pt x="631" y="305"/>
                  </a:lnTo>
                  <a:lnTo>
                    <a:pt x="631" y="322"/>
                  </a:lnTo>
                  <a:lnTo>
                    <a:pt x="648" y="322"/>
                  </a:lnTo>
                  <a:lnTo>
                    <a:pt x="652" y="338"/>
                  </a:lnTo>
                  <a:lnTo>
                    <a:pt x="631" y="338"/>
                  </a:lnTo>
                  <a:lnTo>
                    <a:pt x="626" y="348"/>
                  </a:lnTo>
                  <a:lnTo>
                    <a:pt x="577" y="364"/>
                  </a:lnTo>
                  <a:lnTo>
                    <a:pt x="555" y="397"/>
                  </a:lnTo>
                  <a:lnTo>
                    <a:pt x="529" y="414"/>
                  </a:lnTo>
                  <a:lnTo>
                    <a:pt x="522" y="421"/>
                  </a:lnTo>
                  <a:lnTo>
                    <a:pt x="518" y="421"/>
                  </a:lnTo>
                  <a:lnTo>
                    <a:pt x="485" y="447"/>
                  </a:lnTo>
                  <a:lnTo>
                    <a:pt x="475" y="492"/>
                  </a:lnTo>
                  <a:lnTo>
                    <a:pt x="447" y="515"/>
                  </a:lnTo>
                  <a:lnTo>
                    <a:pt x="409" y="525"/>
                  </a:lnTo>
                  <a:lnTo>
                    <a:pt x="392" y="581"/>
                  </a:lnTo>
                  <a:lnTo>
                    <a:pt x="383" y="598"/>
                  </a:lnTo>
                  <a:lnTo>
                    <a:pt x="324" y="615"/>
                  </a:lnTo>
                  <a:lnTo>
                    <a:pt x="303" y="603"/>
                  </a:lnTo>
                  <a:lnTo>
                    <a:pt x="291" y="598"/>
                  </a:lnTo>
                  <a:lnTo>
                    <a:pt x="270" y="598"/>
                  </a:lnTo>
                  <a:lnTo>
                    <a:pt x="237" y="565"/>
                  </a:lnTo>
                  <a:lnTo>
                    <a:pt x="206" y="570"/>
                  </a:lnTo>
                  <a:lnTo>
                    <a:pt x="194" y="586"/>
                  </a:lnTo>
                  <a:lnTo>
                    <a:pt x="182" y="624"/>
                  </a:lnTo>
                  <a:lnTo>
                    <a:pt x="152" y="652"/>
                  </a:lnTo>
                  <a:lnTo>
                    <a:pt x="140" y="674"/>
                  </a:lnTo>
                  <a:lnTo>
                    <a:pt x="123" y="674"/>
                  </a:lnTo>
                  <a:lnTo>
                    <a:pt x="114" y="690"/>
                  </a:lnTo>
                  <a:lnTo>
                    <a:pt x="43" y="681"/>
                  </a:lnTo>
                  <a:lnTo>
                    <a:pt x="38" y="657"/>
                  </a:lnTo>
                  <a:lnTo>
                    <a:pt x="59" y="636"/>
                  </a:lnTo>
                  <a:lnTo>
                    <a:pt x="55" y="615"/>
                  </a:lnTo>
                  <a:lnTo>
                    <a:pt x="22" y="548"/>
                  </a:lnTo>
                  <a:lnTo>
                    <a:pt x="0" y="525"/>
                  </a:lnTo>
                  <a:lnTo>
                    <a:pt x="0" y="525"/>
                  </a:lnTo>
                  <a:lnTo>
                    <a:pt x="0" y="52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90" name="Freeform 400">
              <a:extLst>
                <a:ext uri="{FF2B5EF4-FFF2-40B4-BE49-F238E27FC236}">
                  <a16:creationId xmlns:a16="http://schemas.microsoft.com/office/drawing/2014/main" id="{83DF3DCC-A189-4E25-8275-3E498B86CD12}"/>
                </a:ext>
              </a:extLst>
            </p:cNvPr>
            <p:cNvSpPr>
              <a:spLocks/>
            </p:cNvSpPr>
            <p:nvPr/>
          </p:nvSpPr>
          <p:spPr bwMode="gray">
            <a:xfrm>
              <a:off x="6748466" y="3696164"/>
              <a:ext cx="89332" cy="183625"/>
            </a:xfrm>
            <a:custGeom>
              <a:avLst/>
              <a:gdLst>
                <a:gd name="T0" fmla="*/ 59 w 217"/>
                <a:gd name="T1" fmla="*/ 446 h 446"/>
                <a:gd name="T2" fmla="*/ 71 w 217"/>
                <a:gd name="T3" fmla="*/ 441 h 446"/>
                <a:gd name="T4" fmla="*/ 55 w 217"/>
                <a:gd name="T5" fmla="*/ 413 h 446"/>
                <a:gd name="T6" fmla="*/ 55 w 217"/>
                <a:gd name="T7" fmla="*/ 392 h 446"/>
                <a:gd name="T8" fmla="*/ 59 w 217"/>
                <a:gd name="T9" fmla="*/ 392 h 446"/>
                <a:gd name="T10" fmla="*/ 59 w 217"/>
                <a:gd name="T11" fmla="*/ 354 h 446"/>
                <a:gd name="T12" fmla="*/ 59 w 217"/>
                <a:gd name="T13" fmla="*/ 243 h 446"/>
                <a:gd name="T14" fmla="*/ 38 w 217"/>
                <a:gd name="T15" fmla="*/ 210 h 446"/>
                <a:gd name="T16" fmla="*/ 38 w 217"/>
                <a:gd name="T17" fmla="*/ 172 h 446"/>
                <a:gd name="T18" fmla="*/ 0 w 217"/>
                <a:gd name="T19" fmla="*/ 148 h 446"/>
                <a:gd name="T20" fmla="*/ 5 w 217"/>
                <a:gd name="T21" fmla="*/ 99 h 446"/>
                <a:gd name="T22" fmla="*/ 26 w 217"/>
                <a:gd name="T23" fmla="*/ 82 h 446"/>
                <a:gd name="T24" fmla="*/ 38 w 217"/>
                <a:gd name="T25" fmla="*/ 78 h 446"/>
                <a:gd name="T26" fmla="*/ 43 w 217"/>
                <a:gd name="T27" fmla="*/ 66 h 446"/>
                <a:gd name="T28" fmla="*/ 59 w 217"/>
                <a:gd name="T29" fmla="*/ 78 h 446"/>
                <a:gd name="T30" fmla="*/ 80 w 217"/>
                <a:gd name="T31" fmla="*/ 66 h 446"/>
                <a:gd name="T32" fmla="*/ 109 w 217"/>
                <a:gd name="T33" fmla="*/ 56 h 446"/>
                <a:gd name="T34" fmla="*/ 114 w 217"/>
                <a:gd name="T35" fmla="*/ 40 h 446"/>
                <a:gd name="T36" fmla="*/ 114 w 217"/>
                <a:gd name="T37" fmla="*/ 11 h 446"/>
                <a:gd name="T38" fmla="*/ 147 w 217"/>
                <a:gd name="T39" fmla="*/ 0 h 446"/>
                <a:gd name="T40" fmla="*/ 201 w 217"/>
                <a:gd name="T41" fmla="*/ 56 h 446"/>
                <a:gd name="T42" fmla="*/ 192 w 217"/>
                <a:gd name="T43" fmla="*/ 66 h 446"/>
                <a:gd name="T44" fmla="*/ 208 w 217"/>
                <a:gd name="T45" fmla="*/ 94 h 446"/>
                <a:gd name="T46" fmla="*/ 208 w 217"/>
                <a:gd name="T47" fmla="*/ 115 h 446"/>
                <a:gd name="T48" fmla="*/ 217 w 217"/>
                <a:gd name="T49" fmla="*/ 132 h 446"/>
                <a:gd name="T50" fmla="*/ 217 w 217"/>
                <a:gd name="T51" fmla="*/ 148 h 446"/>
                <a:gd name="T52" fmla="*/ 208 w 217"/>
                <a:gd name="T53" fmla="*/ 139 h 446"/>
                <a:gd name="T54" fmla="*/ 201 w 217"/>
                <a:gd name="T55" fmla="*/ 156 h 446"/>
                <a:gd name="T56" fmla="*/ 208 w 217"/>
                <a:gd name="T57" fmla="*/ 165 h 446"/>
                <a:gd name="T58" fmla="*/ 201 w 217"/>
                <a:gd name="T59" fmla="*/ 177 h 446"/>
                <a:gd name="T60" fmla="*/ 180 w 217"/>
                <a:gd name="T61" fmla="*/ 189 h 446"/>
                <a:gd name="T62" fmla="*/ 184 w 217"/>
                <a:gd name="T63" fmla="*/ 193 h 446"/>
                <a:gd name="T64" fmla="*/ 168 w 217"/>
                <a:gd name="T65" fmla="*/ 222 h 446"/>
                <a:gd name="T66" fmla="*/ 163 w 217"/>
                <a:gd name="T67" fmla="*/ 243 h 446"/>
                <a:gd name="T68" fmla="*/ 137 w 217"/>
                <a:gd name="T69" fmla="*/ 243 h 446"/>
                <a:gd name="T70" fmla="*/ 130 w 217"/>
                <a:gd name="T71" fmla="*/ 330 h 446"/>
                <a:gd name="T72" fmla="*/ 137 w 217"/>
                <a:gd name="T73" fmla="*/ 387 h 446"/>
                <a:gd name="T74" fmla="*/ 137 w 217"/>
                <a:gd name="T75" fmla="*/ 441 h 446"/>
                <a:gd name="T76" fmla="*/ 59 w 217"/>
                <a:gd name="T77" fmla="*/ 446 h 446"/>
                <a:gd name="T78" fmla="*/ 59 w 217"/>
                <a:gd name="T79" fmla="*/ 446 h 446"/>
                <a:gd name="T80" fmla="*/ 59 w 217"/>
                <a:gd name="T81"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7" h="446">
                  <a:moveTo>
                    <a:pt x="59" y="446"/>
                  </a:moveTo>
                  <a:lnTo>
                    <a:pt x="71" y="441"/>
                  </a:lnTo>
                  <a:lnTo>
                    <a:pt x="55" y="413"/>
                  </a:lnTo>
                  <a:lnTo>
                    <a:pt x="55" y="392"/>
                  </a:lnTo>
                  <a:lnTo>
                    <a:pt x="59" y="392"/>
                  </a:lnTo>
                  <a:lnTo>
                    <a:pt x="59" y="354"/>
                  </a:lnTo>
                  <a:lnTo>
                    <a:pt x="59" y="243"/>
                  </a:lnTo>
                  <a:lnTo>
                    <a:pt x="38" y="210"/>
                  </a:lnTo>
                  <a:lnTo>
                    <a:pt x="38" y="172"/>
                  </a:lnTo>
                  <a:lnTo>
                    <a:pt x="0" y="148"/>
                  </a:lnTo>
                  <a:lnTo>
                    <a:pt x="5" y="99"/>
                  </a:lnTo>
                  <a:lnTo>
                    <a:pt x="26" y="82"/>
                  </a:lnTo>
                  <a:lnTo>
                    <a:pt x="38" y="78"/>
                  </a:lnTo>
                  <a:lnTo>
                    <a:pt x="43" y="66"/>
                  </a:lnTo>
                  <a:lnTo>
                    <a:pt x="59" y="78"/>
                  </a:lnTo>
                  <a:lnTo>
                    <a:pt x="80" y="66"/>
                  </a:lnTo>
                  <a:lnTo>
                    <a:pt x="109" y="56"/>
                  </a:lnTo>
                  <a:lnTo>
                    <a:pt x="114" y="40"/>
                  </a:lnTo>
                  <a:lnTo>
                    <a:pt x="114" y="11"/>
                  </a:lnTo>
                  <a:lnTo>
                    <a:pt x="147" y="0"/>
                  </a:lnTo>
                  <a:lnTo>
                    <a:pt x="201" y="56"/>
                  </a:lnTo>
                  <a:lnTo>
                    <a:pt x="192" y="66"/>
                  </a:lnTo>
                  <a:lnTo>
                    <a:pt x="208" y="94"/>
                  </a:lnTo>
                  <a:lnTo>
                    <a:pt x="208" y="115"/>
                  </a:lnTo>
                  <a:lnTo>
                    <a:pt x="217" y="132"/>
                  </a:lnTo>
                  <a:lnTo>
                    <a:pt x="217" y="148"/>
                  </a:lnTo>
                  <a:lnTo>
                    <a:pt x="208" y="139"/>
                  </a:lnTo>
                  <a:lnTo>
                    <a:pt x="201" y="156"/>
                  </a:lnTo>
                  <a:lnTo>
                    <a:pt x="208" y="165"/>
                  </a:lnTo>
                  <a:lnTo>
                    <a:pt x="201" y="177"/>
                  </a:lnTo>
                  <a:lnTo>
                    <a:pt x="180" y="189"/>
                  </a:lnTo>
                  <a:lnTo>
                    <a:pt x="184" y="193"/>
                  </a:lnTo>
                  <a:lnTo>
                    <a:pt x="168" y="222"/>
                  </a:lnTo>
                  <a:lnTo>
                    <a:pt x="163" y="243"/>
                  </a:lnTo>
                  <a:lnTo>
                    <a:pt x="137" y="243"/>
                  </a:lnTo>
                  <a:lnTo>
                    <a:pt x="130" y="330"/>
                  </a:lnTo>
                  <a:lnTo>
                    <a:pt x="137" y="387"/>
                  </a:lnTo>
                  <a:lnTo>
                    <a:pt x="137" y="441"/>
                  </a:lnTo>
                  <a:lnTo>
                    <a:pt x="59" y="446"/>
                  </a:lnTo>
                  <a:lnTo>
                    <a:pt x="59" y="446"/>
                  </a:lnTo>
                  <a:lnTo>
                    <a:pt x="59" y="44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91" name="Freeform 407">
              <a:extLst>
                <a:ext uri="{FF2B5EF4-FFF2-40B4-BE49-F238E27FC236}">
                  <a16:creationId xmlns:a16="http://schemas.microsoft.com/office/drawing/2014/main" id="{63A2677D-CDC7-414F-B7B2-26A043E68F27}"/>
                </a:ext>
              </a:extLst>
            </p:cNvPr>
            <p:cNvSpPr>
              <a:spLocks/>
            </p:cNvSpPr>
            <p:nvPr/>
          </p:nvSpPr>
          <p:spPr bwMode="gray">
            <a:xfrm>
              <a:off x="7564396" y="4136700"/>
              <a:ext cx="51458" cy="61346"/>
            </a:xfrm>
            <a:custGeom>
              <a:avLst/>
              <a:gdLst>
                <a:gd name="T0" fmla="*/ 21 w 125"/>
                <a:gd name="T1" fmla="*/ 149 h 149"/>
                <a:gd name="T2" fmla="*/ 21 w 125"/>
                <a:gd name="T3" fmla="*/ 123 h 149"/>
                <a:gd name="T4" fmla="*/ 17 w 125"/>
                <a:gd name="T5" fmla="*/ 111 h 149"/>
                <a:gd name="T6" fmla="*/ 17 w 125"/>
                <a:gd name="T7" fmla="*/ 45 h 149"/>
                <a:gd name="T8" fmla="*/ 0 w 125"/>
                <a:gd name="T9" fmla="*/ 28 h 149"/>
                <a:gd name="T10" fmla="*/ 0 w 125"/>
                <a:gd name="T11" fmla="*/ 28 h 149"/>
                <a:gd name="T12" fmla="*/ 0 w 125"/>
                <a:gd name="T13" fmla="*/ 12 h 149"/>
                <a:gd name="T14" fmla="*/ 5 w 125"/>
                <a:gd name="T15" fmla="*/ 12 h 149"/>
                <a:gd name="T16" fmla="*/ 21 w 125"/>
                <a:gd name="T17" fmla="*/ 21 h 149"/>
                <a:gd name="T18" fmla="*/ 21 w 125"/>
                <a:gd name="T19" fmla="*/ 28 h 149"/>
                <a:gd name="T20" fmla="*/ 54 w 125"/>
                <a:gd name="T21" fmla="*/ 28 h 149"/>
                <a:gd name="T22" fmla="*/ 59 w 125"/>
                <a:gd name="T23" fmla="*/ 0 h 149"/>
                <a:gd name="T24" fmla="*/ 76 w 125"/>
                <a:gd name="T25" fmla="*/ 4 h 149"/>
                <a:gd name="T26" fmla="*/ 92 w 125"/>
                <a:gd name="T27" fmla="*/ 0 h 149"/>
                <a:gd name="T28" fmla="*/ 109 w 125"/>
                <a:gd name="T29" fmla="*/ 0 h 149"/>
                <a:gd name="T30" fmla="*/ 102 w 125"/>
                <a:gd name="T31" fmla="*/ 38 h 149"/>
                <a:gd name="T32" fmla="*/ 102 w 125"/>
                <a:gd name="T33" fmla="*/ 38 h 149"/>
                <a:gd name="T34" fmla="*/ 109 w 125"/>
                <a:gd name="T35" fmla="*/ 38 h 149"/>
                <a:gd name="T36" fmla="*/ 125 w 125"/>
                <a:gd name="T37" fmla="*/ 45 h 149"/>
                <a:gd name="T38" fmla="*/ 125 w 125"/>
                <a:gd name="T39" fmla="*/ 61 h 149"/>
                <a:gd name="T40" fmla="*/ 102 w 125"/>
                <a:gd name="T41" fmla="*/ 82 h 149"/>
                <a:gd name="T42" fmla="*/ 92 w 125"/>
                <a:gd name="T43" fmla="*/ 99 h 149"/>
                <a:gd name="T44" fmla="*/ 92 w 125"/>
                <a:gd name="T45" fmla="*/ 99 h 149"/>
                <a:gd name="T46" fmla="*/ 71 w 125"/>
                <a:gd name="T47" fmla="*/ 132 h 149"/>
                <a:gd name="T48" fmla="*/ 54 w 125"/>
                <a:gd name="T49" fmla="*/ 149 h 149"/>
                <a:gd name="T50" fmla="*/ 21 w 125"/>
                <a:gd name="T51" fmla="*/ 149 h 149"/>
                <a:gd name="T52" fmla="*/ 21 w 125"/>
                <a:gd name="T53" fmla="*/ 149 h 149"/>
                <a:gd name="T54" fmla="*/ 21 w 125"/>
                <a:gd name="T55"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5" h="149">
                  <a:moveTo>
                    <a:pt x="21" y="149"/>
                  </a:moveTo>
                  <a:lnTo>
                    <a:pt x="21" y="123"/>
                  </a:lnTo>
                  <a:lnTo>
                    <a:pt x="17" y="111"/>
                  </a:lnTo>
                  <a:lnTo>
                    <a:pt x="17" y="45"/>
                  </a:lnTo>
                  <a:lnTo>
                    <a:pt x="0" y="28"/>
                  </a:lnTo>
                  <a:lnTo>
                    <a:pt x="0" y="28"/>
                  </a:lnTo>
                  <a:lnTo>
                    <a:pt x="0" y="12"/>
                  </a:lnTo>
                  <a:lnTo>
                    <a:pt x="5" y="12"/>
                  </a:lnTo>
                  <a:lnTo>
                    <a:pt x="21" y="21"/>
                  </a:lnTo>
                  <a:lnTo>
                    <a:pt x="21" y="28"/>
                  </a:lnTo>
                  <a:lnTo>
                    <a:pt x="54" y="28"/>
                  </a:lnTo>
                  <a:lnTo>
                    <a:pt x="59" y="0"/>
                  </a:lnTo>
                  <a:lnTo>
                    <a:pt x="76" y="4"/>
                  </a:lnTo>
                  <a:lnTo>
                    <a:pt x="92" y="0"/>
                  </a:lnTo>
                  <a:lnTo>
                    <a:pt x="109" y="0"/>
                  </a:lnTo>
                  <a:lnTo>
                    <a:pt x="102" y="38"/>
                  </a:lnTo>
                  <a:lnTo>
                    <a:pt x="102" y="38"/>
                  </a:lnTo>
                  <a:lnTo>
                    <a:pt x="109" y="38"/>
                  </a:lnTo>
                  <a:lnTo>
                    <a:pt x="125" y="45"/>
                  </a:lnTo>
                  <a:lnTo>
                    <a:pt x="125" y="61"/>
                  </a:lnTo>
                  <a:lnTo>
                    <a:pt x="102" y="82"/>
                  </a:lnTo>
                  <a:lnTo>
                    <a:pt x="92" y="99"/>
                  </a:lnTo>
                  <a:lnTo>
                    <a:pt x="92" y="99"/>
                  </a:lnTo>
                  <a:lnTo>
                    <a:pt x="71" y="132"/>
                  </a:lnTo>
                  <a:lnTo>
                    <a:pt x="54" y="149"/>
                  </a:lnTo>
                  <a:lnTo>
                    <a:pt x="21" y="149"/>
                  </a:lnTo>
                  <a:lnTo>
                    <a:pt x="21" y="149"/>
                  </a:lnTo>
                  <a:lnTo>
                    <a:pt x="21" y="14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92" name="Freeform 410">
              <a:extLst>
                <a:ext uri="{FF2B5EF4-FFF2-40B4-BE49-F238E27FC236}">
                  <a16:creationId xmlns:a16="http://schemas.microsoft.com/office/drawing/2014/main" id="{87F44135-1795-4950-AAEF-AB5FAAF456F8}"/>
                </a:ext>
              </a:extLst>
            </p:cNvPr>
            <p:cNvSpPr>
              <a:spLocks/>
            </p:cNvSpPr>
            <p:nvPr/>
          </p:nvSpPr>
          <p:spPr bwMode="gray">
            <a:xfrm>
              <a:off x="7114029" y="3357734"/>
              <a:ext cx="303401" cy="483354"/>
            </a:xfrm>
            <a:custGeom>
              <a:avLst/>
              <a:gdLst>
                <a:gd name="T0" fmla="*/ 17 w 737"/>
                <a:gd name="T1" fmla="*/ 720 h 1174"/>
                <a:gd name="T2" fmla="*/ 17 w 737"/>
                <a:gd name="T3" fmla="*/ 659 h 1174"/>
                <a:gd name="T4" fmla="*/ 69 w 737"/>
                <a:gd name="T5" fmla="*/ 569 h 1174"/>
                <a:gd name="T6" fmla="*/ 161 w 737"/>
                <a:gd name="T7" fmla="*/ 264 h 1174"/>
                <a:gd name="T8" fmla="*/ 156 w 737"/>
                <a:gd name="T9" fmla="*/ 198 h 1174"/>
                <a:gd name="T10" fmla="*/ 123 w 737"/>
                <a:gd name="T11" fmla="*/ 144 h 1174"/>
                <a:gd name="T12" fmla="*/ 107 w 737"/>
                <a:gd name="T13" fmla="*/ 33 h 1174"/>
                <a:gd name="T14" fmla="*/ 452 w 737"/>
                <a:gd name="T15" fmla="*/ 137 h 1174"/>
                <a:gd name="T16" fmla="*/ 737 w 737"/>
                <a:gd name="T17" fmla="*/ 581 h 1174"/>
                <a:gd name="T18" fmla="*/ 666 w 737"/>
                <a:gd name="T19" fmla="*/ 588 h 1174"/>
                <a:gd name="T20" fmla="*/ 666 w 737"/>
                <a:gd name="T21" fmla="*/ 621 h 1174"/>
                <a:gd name="T22" fmla="*/ 645 w 737"/>
                <a:gd name="T23" fmla="*/ 654 h 1174"/>
                <a:gd name="T24" fmla="*/ 641 w 737"/>
                <a:gd name="T25" fmla="*/ 692 h 1174"/>
                <a:gd name="T26" fmla="*/ 607 w 737"/>
                <a:gd name="T27" fmla="*/ 720 h 1174"/>
                <a:gd name="T28" fmla="*/ 603 w 737"/>
                <a:gd name="T29" fmla="*/ 770 h 1174"/>
                <a:gd name="T30" fmla="*/ 603 w 737"/>
                <a:gd name="T31" fmla="*/ 803 h 1174"/>
                <a:gd name="T32" fmla="*/ 615 w 737"/>
                <a:gd name="T33" fmla="*/ 791 h 1174"/>
                <a:gd name="T34" fmla="*/ 631 w 737"/>
                <a:gd name="T35" fmla="*/ 819 h 1174"/>
                <a:gd name="T36" fmla="*/ 641 w 737"/>
                <a:gd name="T37" fmla="*/ 881 h 1174"/>
                <a:gd name="T38" fmla="*/ 662 w 737"/>
                <a:gd name="T39" fmla="*/ 885 h 1174"/>
                <a:gd name="T40" fmla="*/ 662 w 737"/>
                <a:gd name="T41" fmla="*/ 930 h 1174"/>
                <a:gd name="T42" fmla="*/ 577 w 737"/>
                <a:gd name="T43" fmla="*/ 952 h 1174"/>
                <a:gd name="T44" fmla="*/ 570 w 737"/>
                <a:gd name="T45" fmla="*/ 987 h 1174"/>
                <a:gd name="T46" fmla="*/ 548 w 737"/>
                <a:gd name="T47" fmla="*/ 996 h 1174"/>
                <a:gd name="T48" fmla="*/ 494 w 737"/>
                <a:gd name="T49" fmla="*/ 1046 h 1174"/>
                <a:gd name="T50" fmla="*/ 463 w 737"/>
                <a:gd name="T51" fmla="*/ 1053 h 1174"/>
                <a:gd name="T52" fmla="*/ 392 w 737"/>
                <a:gd name="T53" fmla="*/ 1070 h 1174"/>
                <a:gd name="T54" fmla="*/ 397 w 737"/>
                <a:gd name="T55" fmla="*/ 1098 h 1174"/>
                <a:gd name="T56" fmla="*/ 291 w 737"/>
                <a:gd name="T57" fmla="*/ 1141 h 1174"/>
                <a:gd name="T58" fmla="*/ 220 w 737"/>
                <a:gd name="T59" fmla="*/ 1157 h 1174"/>
                <a:gd name="T60" fmla="*/ 211 w 737"/>
                <a:gd name="T61" fmla="*/ 1164 h 1174"/>
                <a:gd name="T62" fmla="*/ 144 w 737"/>
                <a:gd name="T63" fmla="*/ 1174 h 1174"/>
                <a:gd name="T64" fmla="*/ 144 w 737"/>
                <a:gd name="T65" fmla="*/ 1152 h 1174"/>
                <a:gd name="T66" fmla="*/ 59 w 737"/>
                <a:gd name="T67" fmla="*/ 1053 h 1174"/>
                <a:gd name="T68" fmla="*/ 52 w 737"/>
                <a:gd name="T69" fmla="*/ 996 h 1174"/>
                <a:gd name="T70" fmla="*/ 161 w 737"/>
                <a:gd name="T71" fmla="*/ 996 h 1174"/>
                <a:gd name="T72" fmla="*/ 114 w 737"/>
                <a:gd name="T73" fmla="*/ 935 h 1174"/>
                <a:gd name="T74" fmla="*/ 114 w 737"/>
                <a:gd name="T75" fmla="*/ 885 h 1174"/>
                <a:gd name="T76" fmla="*/ 102 w 737"/>
                <a:gd name="T77" fmla="*/ 843 h 1174"/>
                <a:gd name="T78" fmla="*/ 76 w 737"/>
                <a:gd name="T79" fmla="*/ 791 h 1174"/>
                <a:gd name="T80" fmla="*/ 48 w 737"/>
                <a:gd name="T81" fmla="*/ 770 h 1174"/>
                <a:gd name="T82" fmla="*/ 48 w 737"/>
                <a:gd name="T83" fmla="*/ 770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37" h="1174">
                  <a:moveTo>
                    <a:pt x="48" y="770"/>
                  </a:moveTo>
                  <a:lnTo>
                    <a:pt x="17" y="720"/>
                  </a:lnTo>
                  <a:lnTo>
                    <a:pt x="0" y="663"/>
                  </a:lnTo>
                  <a:lnTo>
                    <a:pt x="17" y="659"/>
                  </a:lnTo>
                  <a:lnTo>
                    <a:pt x="31" y="626"/>
                  </a:lnTo>
                  <a:lnTo>
                    <a:pt x="69" y="569"/>
                  </a:lnTo>
                  <a:lnTo>
                    <a:pt x="144" y="486"/>
                  </a:lnTo>
                  <a:lnTo>
                    <a:pt x="161" y="264"/>
                  </a:lnTo>
                  <a:lnTo>
                    <a:pt x="178" y="231"/>
                  </a:lnTo>
                  <a:lnTo>
                    <a:pt x="156" y="198"/>
                  </a:lnTo>
                  <a:lnTo>
                    <a:pt x="156" y="182"/>
                  </a:lnTo>
                  <a:lnTo>
                    <a:pt x="123" y="144"/>
                  </a:lnTo>
                  <a:lnTo>
                    <a:pt x="123" y="104"/>
                  </a:lnTo>
                  <a:lnTo>
                    <a:pt x="107" y="33"/>
                  </a:lnTo>
                  <a:lnTo>
                    <a:pt x="178" y="0"/>
                  </a:lnTo>
                  <a:lnTo>
                    <a:pt x="452" y="137"/>
                  </a:lnTo>
                  <a:lnTo>
                    <a:pt x="737" y="293"/>
                  </a:lnTo>
                  <a:lnTo>
                    <a:pt x="737" y="581"/>
                  </a:lnTo>
                  <a:lnTo>
                    <a:pt x="678" y="581"/>
                  </a:lnTo>
                  <a:lnTo>
                    <a:pt x="666" y="588"/>
                  </a:lnTo>
                  <a:lnTo>
                    <a:pt x="666" y="604"/>
                  </a:lnTo>
                  <a:lnTo>
                    <a:pt x="666" y="621"/>
                  </a:lnTo>
                  <a:lnTo>
                    <a:pt x="645" y="642"/>
                  </a:lnTo>
                  <a:lnTo>
                    <a:pt x="645" y="654"/>
                  </a:lnTo>
                  <a:lnTo>
                    <a:pt x="631" y="659"/>
                  </a:lnTo>
                  <a:lnTo>
                    <a:pt x="641" y="692"/>
                  </a:lnTo>
                  <a:lnTo>
                    <a:pt x="615" y="708"/>
                  </a:lnTo>
                  <a:lnTo>
                    <a:pt x="607" y="720"/>
                  </a:lnTo>
                  <a:lnTo>
                    <a:pt x="624" y="748"/>
                  </a:lnTo>
                  <a:lnTo>
                    <a:pt x="603" y="770"/>
                  </a:lnTo>
                  <a:lnTo>
                    <a:pt x="586" y="791"/>
                  </a:lnTo>
                  <a:lnTo>
                    <a:pt x="603" y="803"/>
                  </a:lnTo>
                  <a:lnTo>
                    <a:pt x="607" y="803"/>
                  </a:lnTo>
                  <a:lnTo>
                    <a:pt x="615" y="791"/>
                  </a:lnTo>
                  <a:lnTo>
                    <a:pt x="631" y="803"/>
                  </a:lnTo>
                  <a:lnTo>
                    <a:pt x="631" y="819"/>
                  </a:lnTo>
                  <a:lnTo>
                    <a:pt x="645" y="848"/>
                  </a:lnTo>
                  <a:lnTo>
                    <a:pt x="641" y="881"/>
                  </a:lnTo>
                  <a:lnTo>
                    <a:pt x="657" y="885"/>
                  </a:lnTo>
                  <a:lnTo>
                    <a:pt x="662" y="885"/>
                  </a:lnTo>
                  <a:lnTo>
                    <a:pt x="666" y="902"/>
                  </a:lnTo>
                  <a:lnTo>
                    <a:pt x="662" y="930"/>
                  </a:lnTo>
                  <a:lnTo>
                    <a:pt x="631" y="919"/>
                  </a:lnTo>
                  <a:lnTo>
                    <a:pt x="577" y="952"/>
                  </a:lnTo>
                  <a:lnTo>
                    <a:pt x="577" y="975"/>
                  </a:lnTo>
                  <a:lnTo>
                    <a:pt x="570" y="987"/>
                  </a:lnTo>
                  <a:lnTo>
                    <a:pt x="555" y="996"/>
                  </a:lnTo>
                  <a:lnTo>
                    <a:pt x="548" y="996"/>
                  </a:lnTo>
                  <a:lnTo>
                    <a:pt x="518" y="1041"/>
                  </a:lnTo>
                  <a:lnTo>
                    <a:pt x="494" y="1046"/>
                  </a:lnTo>
                  <a:lnTo>
                    <a:pt x="485" y="1063"/>
                  </a:lnTo>
                  <a:lnTo>
                    <a:pt x="463" y="1053"/>
                  </a:lnTo>
                  <a:lnTo>
                    <a:pt x="452" y="1063"/>
                  </a:lnTo>
                  <a:lnTo>
                    <a:pt x="392" y="1070"/>
                  </a:lnTo>
                  <a:lnTo>
                    <a:pt x="383" y="1079"/>
                  </a:lnTo>
                  <a:lnTo>
                    <a:pt x="397" y="1098"/>
                  </a:lnTo>
                  <a:lnTo>
                    <a:pt x="359" y="1136"/>
                  </a:lnTo>
                  <a:lnTo>
                    <a:pt x="291" y="1141"/>
                  </a:lnTo>
                  <a:lnTo>
                    <a:pt x="237" y="1174"/>
                  </a:lnTo>
                  <a:lnTo>
                    <a:pt x="220" y="1157"/>
                  </a:lnTo>
                  <a:lnTo>
                    <a:pt x="220" y="1152"/>
                  </a:lnTo>
                  <a:lnTo>
                    <a:pt x="211" y="1164"/>
                  </a:lnTo>
                  <a:lnTo>
                    <a:pt x="178" y="1174"/>
                  </a:lnTo>
                  <a:lnTo>
                    <a:pt x="144" y="1174"/>
                  </a:lnTo>
                  <a:lnTo>
                    <a:pt x="156" y="1157"/>
                  </a:lnTo>
                  <a:lnTo>
                    <a:pt x="144" y="1152"/>
                  </a:lnTo>
                  <a:lnTo>
                    <a:pt x="123" y="1103"/>
                  </a:lnTo>
                  <a:lnTo>
                    <a:pt x="59" y="1053"/>
                  </a:lnTo>
                  <a:lnTo>
                    <a:pt x="38" y="1025"/>
                  </a:lnTo>
                  <a:lnTo>
                    <a:pt x="52" y="996"/>
                  </a:lnTo>
                  <a:lnTo>
                    <a:pt x="90" y="996"/>
                  </a:lnTo>
                  <a:lnTo>
                    <a:pt x="161" y="996"/>
                  </a:lnTo>
                  <a:lnTo>
                    <a:pt x="140" y="975"/>
                  </a:lnTo>
                  <a:lnTo>
                    <a:pt x="114" y="935"/>
                  </a:lnTo>
                  <a:lnTo>
                    <a:pt x="114" y="902"/>
                  </a:lnTo>
                  <a:lnTo>
                    <a:pt x="114" y="885"/>
                  </a:lnTo>
                  <a:lnTo>
                    <a:pt x="114" y="843"/>
                  </a:lnTo>
                  <a:lnTo>
                    <a:pt x="102" y="843"/>
                  </a:lnTo>
                  <a:lnTo>
                    <a:pt x="102" y="803"/>
                  </a:lnTo>
                  <a:lnTo>
                    <a:pt x="76" y="791"/>
                  </a:lnTo>
                  <a:lnTo>
                    <a:pt x="69" y="770"/>
                  </a:lnTo>
                  <a:lnTo>
                    <a:pt x="48" y="770"/>
                  </a:lnTo>
                  <a:lnTo>
                    <a:pt x="48" y="770"/>
                  </a:lnTo>
                  <a:lnTo>
                    <a:pt x="48" y="77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93" name="Freeform 411">
              <a:extLst>
                <a:ext uri="{FF2B5EF4-FFF2-40B4-BE49-F238E27FC236}">
                  <a16:creationId xmlns:a16="http://schemas.microsoft.com/office/drawing/2014/main" id="{B1F1EB00-F999-4723-89FC-B5CD97E74FD6}"/>
                </a:ext>
              </a:extLst>
            </p:cNvPr>
            <p:cNvSpPr>
              <a:spLocks noEditPoints="1"/>
            </p:cNvSpPr>
            <p:nvPr/>
          </p:nvSpPr>
          <p:spPr bwMode="gray">
            <a:xfrm>
              <a:off x="9025001" y="3772743"/>
              <a:ext cx="64220" cy="115691"/>
            </a:xfrm>
            <a:custGeom>
              <a:avLst/>
              <a:gdLst>
                <a:gd name="T0" fmla="*/ 17 w 156"/>
                <a:gd name="T1" fmla="*/ 182 h 281"/>
                <a:gd name="T2" fmla="*/ 12 w 156"/>
                <a:gd name="T3" fmla="*/ 116 h 281"/>
                <a:gd name="T4" fmla="*/ 12 w 156"/>
                <a:gd name="T5" fmla="*/ 111 h 281"/>
                <a:gd name="T6" fmla="*/ 12 w 156"/>
                <a:gd name="T7" fmla="*/ 133 h 281"/>
                <a:gd name="T8" fmla="*/ 17 w 156"/>
                <a:gd name="T9" fmla="*/ 133 h 281"/>
                <a:gd name="T10" fmla="*/ 17 w 156"/>
                <a:gd name="T11" fmla="*/ 95 h 281"/>
                <a:gd name="T12" fmla="*/ 28 w 156"/>
                <a:gd name="T13" fmla="*/ 88 h 281"/>
                <a:gd name="T14" fmla="*/ 28 w 156"/>
                <a:gd name="T15" fmla="*/ 59 h 281"/>
                <a:gd name="T16" fmla="*/ 33 w 156"/>
                <a:gd name="T17" fmla="*/ 55 h 281"/>
                <a:gd name="T18" fmla="*/ 33 w 156"/>
                <a:gd name="T19" fmla="*/ 33 h 281"/>
                <a:gd name="T20" fmla="*/ 38 w 156"/>
                <a:gd name="T21" fmla="*/ 22 h 281"/>
                <a:gd name="T22" fmla="*/ 33 w 156"/>
                <a:gd name="T23" fmla="*/ 17 h 281"/>
                <a:gd name="T24" fmla="*/ 71 w 156"/>
                <a:gd name="T25" fmla="*/ 33 h 281"/>
                <a:gd name="T26" fmla="*/ 28 w 156"/>
                <a:gd name="T27" fmla="*/ 5 h 281"/>
                <a:gd name="T28" fmla="*/ 28 w 156"/>
                <a:gd name="T29" fmla="*/ 0 h 281"/>
                <a:gd name="T30" fmla="*/ 33 w 156"/>
                <a:gd name="T31" fmla="*/ 0 h 281"/>
                <a:gd name="T32" fmla="*/ 54 w 156"/>
                <a:gd name="T33" fmla="*/ 17 h 281"/>
                <a:gd name="T34" fmla="*/ 38 w 156"/>
                <a:gd name="T35" fmla="*/ 0 h 281"/>
                <a:gd name="T36" fmla="*/ 50 w 156"/>
                <a:gd name="T37" fmla="*/ 0 h 281"/>
                <a:gd name="T38" fmla="*/ 85 w 156"/>
                <a:gd name="T39" fmla="*/ 38 h 281"/>
                <a:gd name="T40" fmla="*/ 92 w 156"/>
                <a:gd name="T41" fmla="*/ 59 h 281"/>
                <a:gd name="T42" fmla="*/ 102 w 156"/>
                <a:gd name="T43" fmla="*/ 59 h 281"/>
                <a:gd name="T44" fmla="*/ 106 w 156"/>
                <a:gd name="T45" fmla="*/ 88 h 281"/>
                <a:gd name="T46" fmla="*/ 118 w 156"/>
                <a:gd name="T47" fmla="*/ 95 h 281"/>
                <a:gd name="T48" fmla="*/ 106 w 156"/>
                <a:gd name="T49" fmla="*/ 95 h 281"/>
                <a:gd name="T50" fmla="*/ 123 w 156"/>
                <a:gd name="T51" fmla="*/ 95 h 281"/>
                <a:gd name="T52" fmla="*/ 123 w 156"/>
                <a:gd name="T53" fmla="*/ 116 h 281"/>
                <a:gd name="T54" fmla="*/ 156 w 156"/>
                <a:gd name="T55" fmla="*/ 170 h 281"/>
                <a:gd name="T56" fmla="*/ 156 w 156"/>
                <a:gd name="T57" fmla="*/ 206 h 281"/>
                <a:gd name="T58" fmla="*/ 139 w 156"/>
                <a:gd name="T59" fmla="*/ 244 h 281"/>
                <a:gd name="T60" fmla="*/ 118 w 156"/>
                <a:gd name="T61" fmla="*/ 260 h 281"/>
                <a:gd name="T62" fmla="*/ 71 w 156"/>
                <a:gd name="T63" fmla="*/ 281 h 281"/>
                <a:gd name="T64" fmla="*/ 38 w 156"/>
                <a:gd name="T65" fmla="*/ 277 h 281"/>
                <a:gd name="T66" fmla="*/ 33 w 156"/>
                <a:gd name="T67" fmla="*/ 260 h 281"/>
                <a:gd name="T68" fmla="*/ 17 w 156"/>
                <a:gd name="T69" fmla="*/ 222 h 281"/>
                <a:gd name="T70" fmla="*/ 17 w 156"/>
                <a:gd name="T71" fmla="*/ 182 h 281"/>
                <a:gd name="T72" fmla="*/ 17 w 156"/>
                <a:gd name="T73" fmla="*/ 182 h 281"/>
                <a:gd name="T74" fmla="*/ 17 w 156"/>
                <a:gd name="T75" fmla="*/ 182 h 281"/>
                <a:gd name="T76" fmla="*/ 17 w 156"/>
                <a:gd name="T77" fmla="*/ 5 h 281"/>
                <a:gd name="T78" fmla="*/ 28 w 156"/>
                <a:gd name="T79" fmla="*/ 17 h 281"/>
                <a:gd name="T80" fmla="*/ 17 w 156"/>
                <a:gd name="T81" fmla="*/ 5 h 281"/>
                <a:gd name="T82" fmla="*/ 17 w 156"/>
                <a:gd name="T83" fmla="*/ 5 h 281"/>
                <a:gd name="T84" fmla="*/ 17 w 156"/>
                <a:gd name="T85" fmla="*/ 5 h 281"/>
                <a:gd name="T86" fmla="*/ 17 w 156"/>
                <a:gd name="T87" fmla="*/ 5 h 281"/>
                <a:gd name="T88" fmla="*/ 12 w 156"/>
                <a:gd name="T89" fmla="*/ 55 h 281"/>
                <a:gd name="T90" fmla="*/ 17 w 156"/>
                <a:gd name="T91" fmla="*/ 59 h 281"/>
                <a:gd name="T92" fmla="*/ 0 w 156"/>
                <a:gd name="T93" fmla="*/ 55 h 281"/>
                <a:gd name="T94" fmla="*/ 12 w 156"/>
                <a:gd name="T95" fmla="*/ 55 h 281"/>
                <a:gd name="T96" fmla="*/ 12 w 156"/>
                <a:gd name="T97" fmla="*/ 55 h 281"/>
                <a:gd name="T98" fmla="*/ 12 w 156"/>
                <a:gd name="T99" fmla="*/ 55 h 281"/>
                <a:gd name="T100" fmla="*/ 144 w 156"/>
                <a:gd name="T101" fmla="*/ 154 h 281"/>
                <a:gd name="T102" fmla="*/ 156 w 156"/>
                <a:gd name="T103" fmla="*/ 170 h 281"/>
                <a:gd name="T104" fmla="*/ 144 w 156"/>
                <a:gd name="T105" fmla="*/ 149 h 281"/>
                <a:gd name="T106" fmla="*/ 144 w 156"/>
                <a:gd name="T107" fmla="*/ 154 h 281"/>
                <a:gd name="T108" fmla="*/ 144 w 156"/>
                <a:gd name="T109" fmla="*/ 154 h 281"/>
                <a:gd name="T110" fmla="*/ 144 w 156"/>
                <a:gd name="T111" fmla="*/ 15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6" h="281">
                  <a:moveTo>
                    <a:pt x="17" y="182"/>
                  </a:moveTo>
                  <a:lnTo>
                    <a:pt x="12" y="116"/>
                  </a:lnTo>
                  <a:lnTo>
                    <a:pt x="12" y="111"/>
                  </a:lnTo>
                  <a:lnTo>
                    <a:pt x="12" y="133"/>
                  </a:lnTo>
                  <a:lnTo>
                    <a:pt x="17" y="133"/>
                  </a:lnTo>
                  <a:lnTo>
                    <a:pt x="17" y="95"/>
                  </a:lnTo>
                  <a:lnTo>
                    <a:pt x="28" y="88"/>
                  </a:lnTo>
                  <a:lnTo>
                    <a:pt x="28" y="59"/>
                  </a:lnTo>
                  <a:lnTo>
                    <a:pt x="33" y="55"/>
                  </a:lnTo>
                  <a:lnTo>
                    <a:pt x="33" y="33"/>
                  </a:lnTo>
                  <a:lnTo>
                    <a:pt x="38" y="22"/>
                  </a:lnTo>
                  <a:lnTo>
                    <a:pt x="33" y="17"/>
                  </a:lnTo>
                  <a:lnTo>
                    <a:pt x="71" y="33"/>
                  </a:lnTo>
                  <a:lnTo>
                    <a:pt x="28" y="5"/>
                  </a:lnTo>
                  <a:lnTo>
                    <a:pt x="28" y="0"/>
                  </a:lnTo>
                  <a:lnTo>
                    <a:pt x="33" y="0"/>
                  </a:lnTo>
                  <a:lnTo>
                    <a:pt x="54" y="17"/>
                  </a:lnTo>
                  <a:lnTo>
                    <a:pt x="38" y="0"/>
                  </a:lnTo>
                  <a:lnTo>
                    <a:pt x="50" y="0"/>
                  </a:lnTo>
                  <a:lnTo>
                    <a:pt x="85" y="38"/>
                  </a:lnTo>
                  <a:lnTo>
                    <a:pt x="92" y="59"/>
                  </a:lnTo>
                  <a:lnTo>
                    <a:pt x="102" y="59"/>
                  </a:lnTo>
                  <a:lnTo>
                    <a:pt x="106" y="88"/>
                  </a:lnTo>
                  <a:lnTo>
                    <a:pt x="118" y="95"/>
                  </a:lnTo>
                  <a:lnTo>
                    <a:pt x="106" y="95"/>
                  </a:lnTo>
                  <a:lnTo>
                    <a:pt x="123" y="95"/>
                  </a:lnTo>
                  <a:lnTo>
                    <a:pt x="123" y="116"/>
                  </a:lnTo>
                  <a:lnTo>
                    <a:pt x="156" y="170"/>
                  </a:lnTo>
                  <a:lnTo>
                    <a:pt x="156" y="206"/>
                  </a:lnTo>
                  <a:lnTo>
                    <a:pt x="139" y="244"/>
                  </a:lnTo>
                  <a:lnTo>
                    <a:pt x="118" y="260"/>
                  </a:lnTo>
                  <a:lnTo>
                    <a:pt x="71" y="281"/>
                  </a:lnTo>
                  <a:lnTo>
                    <a:pt x="38" y="277"/>
                  </a:lnTo>
                  <a:lnTo>
                    <a:pt x="33" y="260"/>
                  </a:lnTo>
                  <a:lnTo>
                    <a:pt x="17" y="222"/>
                  </a:lnTo>
                  <a:lnTo>
                    <a:pt x="17" y="182"/>
                  </a:lnTo>
                  <a:lnTo>
                    <a:pt x="17" y="182"/>
                  </a:lnTo>
                  <a:lnTo>
                    <a:pt x="17" y="182"/>
                  </a:lnTo>
                  <a:close/>
                  <a:moveTo>
                    <a:pt x="17" y="5"/>
                  </a:moveTo>
                  <a:lnTo>
                    <a:pt x="28" y="17"/>
                  </a:lnTo>
                  <a:lnTo>
                    <a:pt x="17" y="5"/>
                  </a:lnTo>
                  <a:lnTo>
                    <a:pt x="17" y="5"/>
                  </a:lnTo>
                  <a:lnTo>
                    <a:pt x="17" y="5"/>
                  </a:lnTo>
                  <a:lnTo>
                    <a:pt x="17" y="5"/>
                  </a:lnTo>
                  <a:close/>
                  <a:moveTo>
                    <a:pt x="12" y="55"/>
                  </a:moveTo>
                  <a:lnTo>
                    <a:pt x="17" y="59"/>
                  </a:lnTo>
                  <a:lnTo>
                    <a:pt x="0" y="55"/>
                  </a:lnTo>
                  <a:lnTo>
                    <a:pt x="12" y="55"/>
                  </a:lnTo>
                  <a:lnTo>
                    <a:pt x="12" y="55"/>
                  </a:lnTo>
                  <a:lnTo>
                    <a:pt x="12" y="55"/>
                  </a:lnTo>
                  <a:close/>
                  <a:moveTo>
                    <a:pt x="144" y="154"/>
                  </a:moveTo>
                  <a:lnTo>
                    <a:pt x="156" y="170"/>
                  </a:lnTo>
                  <a:lnTo>
                    <a:pt x="144" y="149"/>
                  </a:lnTo>
                  <a:lnTo>
                    <a:pt x="144" y="154"/>
                  </a:lnTo>
                  <a:lnTo>
                    <a:pt x="144" y="154"/>
                  </a:lnTo>
                  <a:lnTo>
                    <a:pt x="144" y="15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94" name="Freeform 412">
              <a:extLst>
                <a:ext uri="{FF2B5EF4-FFF2-40B4-BE49-F238E27FC236}">
                  <a16:creationId xmlns:a16="http://schemas.microsoft.com/office/drawing/2014/main" id="{74F9F098-867F-43D9-A260-807707AD2BF3}"/>
                </a:ext>
              </a:extLst>
            </p:cNvPr>
            <p:cNvSpPr>
              <a:spLocks/>
            </p:cNvSpPr>
            <p:nvPr/>
          </p:nvSpPr>
          <p:spPr bwMode="gray">
            <a:xfrm>
              <a:off x="7046927" y="3955546"/>
              <a:ext cx="214892" cy="258970"/>
            </a:xfrm>
            <a:custGeom>
              <a:avLst/>
              <a:gdLst>
                <a:gd name="T0" fmla="*/ 123 w 522"/>
                <a:gd name="T1" fmla="*/ 589 h 629"/>
                <a:gd name="T2" fmla="*/ 107 w 522"/>
                <a:gd name="T3" fmla="*/ 596 h 629"/>
                <a:gd name="T4" fmla="*/ 85 w 522"/>
                <a:gd name="T5" fmla="*/ 612 h 629"/>
                <a:gd name="T6" fmla="*/ 59 w 522"/>
                <a:gd name="T7" fmla="*/ 629 h 629"/>
                <a:gd name="T8" fmla="*/ 48 w 522"/>
                <a:gd name="T9" fmla="*/ 596 h 629"/>
                <a:gd name="T10" fmla="*/ 5 w 522"/>
                <a:gd name="T11" fmla="*/ 534 h 629"/>
                <a:gd name="T12" fmla="*/ 48 w 522"/>
                <a:gd name="T13" fmla="*/ 534 h 629"/>
                <a:gd name="T14" fmla="*/ 52 w 522"/>
                <a:gd name="T15" fmla="*/ 522 h 629"/>
                <a:gd name="T16" fmla="*/ 38 w 522"/>
                <a:gd name="T17" fmla="*/ 501 h 629"/>
                <a:gd name="T18" fmla="*/ 38 w 522"/>
                <a:gd name="T19" fmla="*/ 468 h 629"/>
                <a:gd name="T20" fmla="*/ 38 w 522"/>
                <a:gd name="T21" fmla="*/ 452 h 629"/>
                <a:gd name="T22" fmla="*/ 48 w 522"/>
                <a:gd name="T23" fmla="*/ 444 h 629"/>
                <a:gd name="T24" fmla="*/ 69 w 522"/>
                <a:gd name="T25" fmla="*/ 444 h 629"/>
                <a:gd name="T26" fmla="*/ 90 w 522"/>
                <a:gd name="T27" fmla="*/ 407 h 629"/>
                <a:gd name="T28" fmla="*/ 107 w 522"/>
                <a:gd name="T29" fmla="*/ 395 h 629"/>
                <a:gd name="T30" fmla="*/ 128 w 522"/>
                <a:gd name="T31" fmla="*/ 440 h 629"/>
                <a:gd name="T32" fmla="*/ 182 w 522"/>
                <a:gd name="T33" fmla="*/ 423 h 629"/>
                <a:gd name="T34" fmla="*/ 211 w 522"/>
                <a:gd name="T35" fmla="*/ 444 h 629"/>
                <a:gd name="T36" fmla="*/ 232 w 522"/>
                <a:gd name="T37" fmla="*/ 407 h 629"/>
                <a:gd name="T38" fmla="*/ 232 w 522"/>
                <a:gd name="T39" fmla="*/ 340 h 629"/>
                <a:gd name="T40" fmla="*/ 232 w 522"/>
                <a:gd name="T41" fmla="*/ 300 h 629"/>
                <a:gd name="T42" fmla="*/ 211 w 522"/>
                <a:gd name="T43" fmla="*/ 284 h 629"/>
                <a:gd name="T44" fmla="*/ 194 w 522"/>
                <a:gd name="T45" fmla="*/ 279 h 629"/>
                <a:gd name="T46" fmla="*/ 211 w 522"/>
                <a:gd name="T47" fmla="*/ 229 h 629"/>
                <a:gd name="T48" fmla="*/ 237 w 522"/>
                <a:gd name="T49" fmla="*/ 201 h 629"/>
                <a:gd name="T50" fmla="*/ 182 w 522"/>
                <a:gd name="T51" fmla="*/ 168 h 629"/>
                <a:gd name="T52" fmla="*/ 144 w 522"/>
                <a:gd name="T53" fmla="*/ 168 h 629"/>
                <a:gd name="T54" fmla="*/ 156 w 522"/>
                <a:gd name="T55" fmla="*/ 111 h 629"/>
                <a:gd name="T56" fmla="*/ 265 w 522"/>
                <a:gd name="T57" fmla="*/ 118 h 629"/>
                <a:gd name="T58" fmla="*/ 345 w 522"/>
                <a:gd name="T59" fmla="*/ 152 h 629"/>
                <a:gd name="T60" fmla="*/ 345 w 522"/>
                <a:gd name="T61" fmla="*/ 111 h 629"/>
                <a:gd name="T62" fmla="*/ 378 w 522"/>
                <a:gd name="T63" fmla="*/ 62 h 629"/>
                <a:gd name="T64" fmla="*/ 383 w 522"/>
                <a:gd name="T65" fmla="*/ 7 h 629"/>
                <a:gd name="T66" fmla="*/ 447 w 522"/>
                <a:gd name="T67" fmla="*/ 0 h 629"/>
                <a:gd name="T68" fmla="*/ 468 w 522"/>
                <a:gd name="T69" fmla="*/ 7 h 629"/>
                <a:gd name="T70" fmla="*/ 492 w 522"/>
                <a:gd name="T71" fmla="*/ 19 h 629"/>
                <a:gd name="T72" fmla="*/ 522 w 522"/>
                <a:gd name="T73" fmla="*/ 19 h 629"/>
                <a:gd name="T74" fmla="*/ 485 w 522"/>
                <a:gd name="T75" fmla="*/ 102 h 629"/>
                <a:gd name="T76" fmla="*/ 480 w 522"/>
                <a:gd name="T77" fmla="*/ 201 h 629"/>
                <a:gd name="T78" fmla="*/ 463 w 522"/>
                <a:gd name="T79" fmla="*/ 279 h 629"/>
                <a:gd name="T80" fmla="*/ 437 w 522"/>
                <a:gd name="T81" fmla="*/ 340 h 629"/>
                <a:gd name="T82" fmla="*/ 378 w 522"/>
                <a:gd name="T83" fmla="*/ 407 h 629"/>
                <a:gd name="T84" fmla="*/ 362 w 522"/>
                <a:gd name="T85" fmla="*/ 506 h 629"/>
                <a:gd name="T86" fmla="*/ 307 w 522"/>
                <a:gd name="T87" fmla="*/ 555 h 629"/>
                <a:gd name="T88" fmla="*/ 286 w 522"/>
                <a:gd name="T89" fmla="*/ 579 h 629"/>
                <a:gd name="T90" fmla="*/ 248 w 522"/>
                <a:gd name="T91" fmla="*/ 617 h 629"/>
                <a:gd name="T92" fmla="*/ 232 w 522"/>
                <a:gd name="T93" fmla="*/ 596 h 629"/>
                <a:gd name="T94" fmla="*/ 232 w 522"/>
                <a:gd name="T95" fmla="*/ 579 h 629"/>
                <a:gd name="T96" fmla="*/ 182 w 522"/>
                <a:gd name="T97" fmla="*/ 589 h 629"/>
                <a:gd name="T98" fmla="*/ 166 w 522"/>
                <a:gd name="T99" fmla="*/ 612 h 629"/>
                <a:gd name="T100" fmla="*/ 140 w 522"/>
                <a:gd name="T101" fmla="*/ 596 h 629"/>
                <a:gd name="T102" fmla="*/ 140 w 522"/>
                <a:gd name="T103" fmla="*/ 605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2" h="629">
                  <a:moveTo>
                    <a:pt x="140" y="605"/>
                  </a:moveTo>
                  <a:lnTo>
                    <a:pt x="123" y="589"/>
                  </a:lnTo>
                  <a:lnTo>
                    <a:pt x="114" y="589"/>
                  </a:lnTo>
                  <a:lnTo>
                    <a:pt x="107" y="596"/>
                  </a:lnTo>
                  <a:lnTo>
                    <a:pt x="90" y="605"/>
                  </a:lnTo>
                  <a:lnTo>
                    <a:pt x="85" y="612"/>
                  </a:lnTo>
                  <a:lnTo>
                    <a:pt x="76" y="612"/>
                  </a:lnTo>
                  <a:lnTo>
                    <a:pt x="59" y="629"/>
                  </a:lnTo>
                  <a:lnTo>
                    <a:pt x="48" y="612"/>
                  </a:lnTo>
                  <a:lnTo>
                    <a:pt x="48" y="596"/>
                  </a:lnTo>
                  <a:lnTo>
                    <a:pt x="0" y="551"/>
                  </a:lnTo>
                  <a:lnTo>
                    <a:pt x="5" y="534"/>
                  </a:lnTo>
                  <a:lnTo>
                    <a:pt x="31" y="522"/>
                  </a:lnTo>
                  <a:lnTo>
                    <a:pt x="48" y="534"/>
                  </a:lnTo>
                  <a:lnTo>
                    <a:pt x="52" y="534"/>
                  </a:lnTo>
                  <a:lnTo>
                    <a:pt x="52" y="522"/>
                  </a:lnTo>
                  <a:lnTo>
                    <a:pt x="59" y="506"/>
                  </a:lnTo>
                  <a:lnTo>
                    <a:pt x="38" y="501"/>
                  </a:lnTo>
                  <a:lnTo>
                    <a:pt x="48" y="485"/>
                  </a:lnTo>
                  <a:lnTo>
                    <a:pt x="38" y="468"/>
                  </a:lnTo>
                  <a:lnTo>
                    <a:pt x="31" y="478"/>
                  </a:lnTo>
                  <a:lnTo>
                    <a:pt x="38" y="452"/>
                  </a:lnTo>
                  <a:lnTo>
                    <a:pt x="31" y="440"/>
                  </a:lnTo>
                  <a:lnTo>
                    <a:pt x="48" y="444"/>
                  </a:lnTo>
                  <a:lnTo>
                    <a:pt x="59" y="440"/>
                  </a:lnTo>
                  <a:lnTo>
                    <a:pt x="69" y="444"/>
                  </a:lnTo>
                  <a:lnTo>
                    <a:pt x="90" y="440"/>
                  </a:lnTo>
                  <a:lnTo>
                    <a:pt x="90" y="407"/>
                  </a:lnTo>
                  <a:lnTo>
                    <a:pt x="102" y="407"/>
                  </a:lnTo>
                  <a:lnTo>
                    <a:pt x="107" y="395"/>
                  </a:lnTo>
                  <a:lnTo>
                    <a:pt x="123" y="407"/>
                  </a:lnTo>
                  <a:lnTo>
                    <a:pt x="128" y="440"/>
                  </a:lnTo>
                  <a:lnTo>
                    <a:pt x="166" y="444"/>
                  </a:lnTo>
                  <a:lnTo>
                    <a:pt x="182" y="423"/>
                  </a:lnTo>
                  <a:lnTo>
                    <a:pt x="194" y="444"/>
                  </a:lnTo>
                  <a:lnTo>
                    <a:pt x="211" y="444"/>
                  </a:lnTo>
                  <a:lnTo>
                    <a:pt x="220" y="411"/>
                  </a:lnTo>
                  <a:lnTo>
                    <a:pt x="232" y="407"/>
                  </a:lnTo>
                  <a:lnTo>
                    <a:pt x="237" y="357"/>
                  </a:lnTo>
                  <a:lnTo>
                    <a:pt x="232" y="340"/>
                  </a:lnTo>
                  <a:lnTo>
                    <a:pt x="237" y="312"/>
                  </a:lnTo>
                  <a:lnTo>
                    <a:pt x="232" y="300"/>
                  </a:lnTo>
                  <a:lnTo>
                    <a:pt x="215" y="300"/>
                  </a:lnTo>
                  <a:lnTo>
                    <a:pt x="211" y="284"/>
                  </a:lnTo>
                  <a:lnTo>
                    <a:pt x="194" y="284"/>
                  </a:lnTo>
                  <a:lnTo>
                    <a:pt x="194" y="279"/>
                  </a:lnTo>
                  <a:lnTo>
                    <a:pt x="199" y="246"/>
                  </a:lnTo>
                  <a:lnTo>
                    <a:pt x="211" y="229"/>
                  </a:lnTo>
                  <a:lnTo>
                    <a:pt x="220" y="222"/>
                  </a:lnTo>
                  <a:lnTo>
                    <a:pt x="237" y="201"/>
                  </a:lnTo>
                  <a:lnTo>
                    <a:pt x="215" y="168"/>
                  </a:lnTo>
                  <a:lnTo>
                    <a:pt x="182" y="168"/>
                  </a:lnTo>
                  <a:lnTo>
                    <a:pt x="144" y="185"/>
                  </a:lnTo>
                  <a:lnTo>
                    <a:pt x="144" y="168"/>
                  </a:lnTo>
                  <a:lnTo>
                    <a:pt x="140" y="147"/>
                  </a:lnTo>
                  <a:lnTo>
                    <a:pt x="156" y="111"/>
                  </a:lnTo>
                  <a:lnTo>
                    <a:pt x="237" y="111"/>
                  </a:lnTo>
                  <a:lnTo>
                    <a:pt x="265" y="118"/>
                  </a:lnTo>
                  <a:lnTo>
                    <a:pt x="324" y="128"/>
                  </a:lnTo>
                  <a:lnTo>
                    <a:pt x="345" y="152"/>
                  </a:lnTo>
                  <a:lnTo>
                    <a:pt x="355" y="147"/>
                  </a:lnTo>
                  <a:lnTo>
                    <a:pt x="345" y="111"/>
                  </a:lnTo>
                  <a:lnTo>
                    <a:pt x="355" y="102"/>
                  </a:lnTo>
                  <a:lnTo>
                    <a:pt x="378" y="62"/>
                  </a:lnTo>
                  <a:lnTo>
                    <a:pt x="378" y="41"/>
                  </a:lnTo>
                  <a:lnTo>
                    <a:pt x="383" y="7"/>
                  </a:lnTo>
                  <a:lnTo>
                    <a:pt x="437" y="7"/>
                  </a:lnTo>
                  <a:lnTo>
                    <a:pt x="447" y="0"/>
                  </a:lnTo>
                  <a:lnTo>
                    <a:pt x="468" y="7"/>
                  </a:lnTo>
                  <a:lnTo>
                    <a:pt x="468" y="7"/>
                  </a:lnTo>
                  <a:lnTo>
                    <a:pt x="492" y="7"/>
                  </a:lnTo>
                  <a:lnTo>
                    <a:pt x="492" y="19"/>
                  </a:lnTo>
                  <a:lnTo>
                    <a:pt x="518" y="0"/>
                  </a:lnTo>
                  <a:lnTo>
                    <a:pt x="522" y="19"/>
                  </a:lnTo>
                  <a:lnTo>
                    <a:pt x="522" y="41"/>
                  </a:lnTo>
                  <a:lnTo>
                    <a:pt x="485" y="102"/>
                  </a:lnTo>
                  <a:lnTo>
                    <a:pt x="485" y="156"/>
                  </a:lnTo>
                  <a:lnTo>
                    <a:pt x="480" y="201"/>
                  </a:lnTo>
                  <a:lnTo>
                    <a:pt x="480" y="239"/>
                  </a:lnTo>
                  <a:lnTo>
                    <a:pt x="463" y="279"/>
                  </a:lnTo>
                  <a:lnTo>
                    <a:pt x="463" y="312"/>
                  </a:lnTo>
                  <a:lnTo>
                    <a:pt x="437" y="340"/>
                  </a:lnTo>
                  <a:lnTo>
                    <a:pt x="400" y="357"/>
                  </a:lnTo>
                  <a:lnTo>
                    <a:pt x="378" y="407"/>
                  </a:lnTo>
                  <a:lnTo>
                    <a:pt x="355" y="423"/>
                  </a:lnTo>
                  <a:lnTo>
                    <a:pt x="362" y="506"/>
                  </a:lnTo>
                  <a:lnTo>
                    <a:pt x="329" y="551"/>
                  </a:lnTo>
                  <a:lnTo>
                    <a:pt x="307" y="555"/>
                  </a:lnTo>
                  <a:lnTo>
                    <a:pt x="307" y="572"/>
                  </a:lnTo>
                  <a:lnTo>
                    <a:pt x="286" y="579"/>
                  </a:lnTo>
                  <a:lnTo>
                    <a:pt x="265" y="612"/>
                  </a:lnTo>
                  <a:lnTo>
                    <a:pt x="248" y="617"/>
                  </a:lnTo>
                  <a:lnTo>
                    <a:pt x="232" y="617"/>
                  </a:lnTo>
                  <a:lnTo>
                    <a:pt x="232" y="596"/>
                  </a:lnTo>
                  <a:lnTo>
                    <a:pt x="237" y="589"/>
                  </a:lnTo>
                  <a:lnTo>
                    <a:pt x="232" y="579"/>
                  </a:lnTo>
                  <a:lnTo>
                    <a:pt x="199" y="589"/>
                  </a:lnTo>
                  <a:lnTo>
                    <a:pt x="182" y="589"/>
                  </a:lnTo>
                  <a:lnTo>
                    <a:pt x="182" y="612"/>
                  </a:lnTo>
                  <a:lnTo>
                    <a:pt x="166" y="612"/>
                  </a:lnTo>
                  <a:lnTo>
                    <a:pt x="161" y="617"/>
                  </a:lnTo>
                  <a:lnTo>
                    <a:pt x="140" y="596"/>
                  </a:lnTo>
                  <a:lnTo>
                    <a:pt x="140" y="605"/>
                  </a:lnTo>
                  <a:lnTo>
                    <a:pt x="140" y="605"/>
                  </a:lnTo>
                  <a:lnTo>
                    <a:pt x="140" y="60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95" name="Freeform 413">
              <a:extLst>
                <a:ext uri="{FF2B5EF4-FFF2-40B4-BE49-F238E27FC236}">
                  <a16:creationId xmlns:a16="http://schemas.microsoft.com/office/drawing/2014/main" id="{8C275226-3925-4FC8-BBB8-5B7168365B25}"/>
                </a:ext>
              </a:extLst>
            </p:cNvPr>
            <p:cNvSpPr>
              <a:spLocks noEditPoints="1"/>
            </p:cNvSpPr>
            <p:nvPr/>
          </p:nvSpPr>
          <p:spPr bwMode="gray">
            <a:xfrm>
              <a:off x="7078214" y="3905316"/>
              <a:ext cx="553285" cy="561993"/>
            </a:xfrm>
            <a:custGeom>
              <a:avLst/>
              <a:gdLst>
                <a:gd name="T0" fmla="*/ 38 w 1344"/>
                <a:gd name="T1" fmla="*/ 819 h 1365"/>
                <a:gd name="T2" fmla="*/ 28 w 1344"/>
                <a:gd name="T3" fmla="*/ 748 h 1365"/>
                <a:gd name="T4" fmla="*/ 87 w 1344"/>
                <a:gd name="T5" fmla="*/ 737 h 1365"/>
                <a:gd name="T6" fmla="*/ 125 w 1344"/>
                <a:gd name="T7" fmla="*/ 708 h 1365"/>
                <a:gd name="T8" fmla="*/ 158 w 1344"/>
                <a:gd name="T9" fmla="*/ 737 h 1365"/>
                <a:gd name="T10" fmla="*/ 234 w 1344"/>
                <a:gd name="T11" fmla="*/ 692 h 1365"/>
                <a:gd name="T12" fmla="*/ 281 w 1344"/>
                <a:gd name="T13" fmla="*/ 543 h 1365"/>
                <a:gd name="T14" fmla="*/ 390 w 1344"/>
                <a:gd name="T15" fmla="*/ 432 h 1365"/>
                <a:gd name="T16" fmla="*/ 411 w 1344"/>
                <a:gd name="T17" fmla="*/ 276 h 1365"/>
                <a:gd name="T18" fmla="*/ 458 w 1344"/>
                <a:gd name="T19" fmla="*/ 99 h 1365"/>
                <a:gd name="T20" fmla="*/ 503 w 1344"/>
                <a:gd name="T21" fmla="*/ 16 h 1365"/>
                <a:gd name="T22" fmla="*/ 588 w 1344"/>
                <a:gd name="T23" fmla="*/ 70 h 1365"/>
                <a:gd name="T24" fmla="*/ 713 w 1344"/>
                <a:gd name="T25" fmla="*/ 87 h 1365"/>
                <a:gd name="T26" fmla="*/ 751 w 1344"/>
                <a:gd name="T27" fmla="*/ 44 h 1365"/>
                <a:gd name="T28" fmla="*/ 857 w 1344"/>
                <a:gd name="T29" fmla="*/ 16 h 1365"/>
                <a:gd name="T30" fmla="*/ 933 w 1344"/>
                <a:gd name="T31" fmla="*/ 0 h 1365"/>
                <a:gd name="T32" fmla="*/ 1020 w 1344"/>
                <a:gd name="T33" fmla="*/ 16 h 1365"/>
                <a:gd name="T34" fmla="*/ 1091 w 1344"/>
                <a:gd name="T35" fmla="*/ 44 h 1365"/>
                <a:gd name="T36" fmla="*/ 1198 w 1344"/>
                <a:gd name="T37" fmla="*/ 70 h 1365"/>
                <a:gd name="T38" fmla="*/ 1235 w 1344"/>
                <a:gd name="T39" fmla="*/ 70 h 1365"/>
                <a:gd name="T40" fmla="*/ 1290 w 1344"/>
                <a:gd name="T41" fmla="*/ 127 h 1365"/>
                <a:gd name="T42" fmla="*/ 1311 w 1344"/>
                <a:gd name="T43" fmla="*/ 144 h 1365"/>
                <a:gd name="T44" fmla="*/ 1311 w 1344"/>
                <a:gd name="T45" fmla="*/ 214 h 1365"/>
                <a:gd name="T46" fmla="*/ 1268 w 1344"/>
                <a:gd name="T47" fmla="*/ 304 h 1365"/>
                <a:gd name="T48" fmla="*/ 1231 w 1344"/>
                <a:gd name="T49" fmla="*/ 382 h 1365"/>
                <a:gd name="T50" fmla="*/ 1188 w 1344"/>
                <a:gd name="T51" fmla="*/ 526 h 1365"/>
                <a:gd name="T52" fmla="*/ 1181 w 1344"/>
                <a:gd name="T53" fmla="*/ 588 h 1365"/>
                <a:gd name="T54" fmla="*/ 1205 w 1344"/>
                <a:gd name="T55" fmla="*/ 682 h 1365"/>
                <a:gd name="T56" fmla="*/ 1214 w 1344"/>
                <a:gd name="T57" fmla="*/ 819 h 1365"/>
                <a:gd name="T58" fmla="*/ 1273 w 1344"/>
                <a:gd name="T59" fmla="*/ 904 h 1365"/>
                <a:gd name="T60" fmla="*/ 1167 w 1344"/>
                <a:gd name="T61" fmla="*/ 1025 h 1365"/>
                <a:gd name="T62" fmla="*/ 1150 w 1344"/>
                <a:gd name="T63" fmla="*/ 1126 h 1365"/>
                <a:gd name="T64" fmla="*/ 1143 w 1344"/>
                <a:gd name="T65" fmla="*/ 1247 h 1365"/>
                <a:gd name="T66" fmla="*/ 1214 w 1344"/>
                <a:gd name="T67" fmla="*/ 1287 h 1365"/>
                <a:gd name="T68" fmla="*/ 1219 w 1344"/>
                <a:gd name="T69" fmla="*/ 1358 h 1365"/>
                <a:gd name="T70" fmla="*/ 1181 w 1344"/>
                <a:gd name="T71" fmla="*/ 1358 h 1365"/>
                <a:gd name="T72" fmla="*/ 1096 w 1344"/>
                <a:gd name="T73" fmla="*/ 1280 h 1365"/>
                <a:gd name="T74" fmla="*/ 1053 w 1344"/>
                <a:gd name="T75" fmla="*/ 1225 h 1365"/>
                <a:gd name="T76" fmla="*/ 966 w 1344"/>
                <a:gd name="T77" fmla="*/ 1247 h 1365"/>
                <a:gd name="T78" fmla="*/ 881 w 1344"/>
                <a:gd name="T79" fmla="*/ 1209 h 1365"/>
                <a:gd name="T80" fmla="*/ 827 w 1344"/>
                <a:gd name="T81" fmla="*/ 1176 h 1365"/>
                <a:gd name="T82" fmla="*/ 730 w 1344"/>
                <a:gd name="T83" fmla="*/ 1181 h 1365"/>
                <a:gd name="T84" fmla="*/ 713 w 1344"/>
                <a:gd name="T85" fmla="*/ 1136 h 1365"/>
                <a:gd name="T86" fmla="*/ 680 w 1344"/>
                <a:gd name="T87" fmla="*/ 1003 h 1365"/>
                <a:gd name="T88" fmla="*/ 588 w 1344"/>
                <a:gd name="T89" fmla="*/ 914 h 1365"/>
                <a:gd name="T90" fmla="*/ 520 w 1344"/>
                <a:gd name="T91" fmla="*/ 892 h 1365"/>
                <a:gd name="T92" fmla="*/ 444 w 1344"/>
                <a:gd name="T93" fmla="*/ 959 h 1365"/>
                <a:gd name="T94" fmla="*/ 406 w 1344"/>
                <a:gd name="T95" fmla="*/ 970 h 1365"/>
                <a:gd name="T96" fmla="*/ 319 w 1344"/>
                <a:gd name="T97" fmla="*/ 848 h 1365"/>
                <a:gd name="T98" fmla="*/ 272 w 1344"/>
                <a:gd name="T99" fmla="*/ 810 h 1365"/>
                <a:gd name="T100" fmla="*/ 54 w 1344"/>
                <a:gd name="T101" fmla="*/ 810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4" h="1365">
                  <a:moveTo>
                    <a:pt x="272" y="810"/>
                  </a:moveTo>
                  <a:lnTo>
                    <a:pt x="71" y="810"/>
                  </a:lnTo>
                  <a:lnTo>
                    <a:pt x="50" y="810"/>
                  </a:lnTo>
                  <a:lnTo>
                    <a:pt x="38" y="819"/>
                  </a:lnTo>
                  <a:lnTo>
                    <a:pt x="16" y="819"/>
                  </a:lnTo>
                  <a:lnTo>
                    <a:pt x="0" y="803"/>
                  </a:lnTo>
                  <a:lnTo>
                    <a:pt x="28" y="803"/>
                  </a:lnTo>
                  <a:lnTo>
                    <a:pt x="28" y="748"/>
                  </a:lnTo>
                  <a:lnTo>
                    <a:pt x="50" y="732"/>
                  </a:lnTo>
                  <a:lnTo>
                    <a:pt x="66" y="725"/>
                  </a:lnTo>
                  <a:lnTo>
                    <a:pt x="66" y="715"/>
                  </a:lnTo>
                  <a:lnTo>
                    <a:pt x="87" y="737"/>
                  </a:lnTo>
                  <a:lnTo>
                    <a:pt x="92" y="732"/>
                  </a:lnTo>
                  <a:lnTo>
                    <a:pt x="109" y="732"/>
                  </a:lnTo>
                  <a:lnTo>
                    <a:pt x="109" y="708"/>
                  </a:lnTo>
                  <a:lnTo>
                    <a:pt x="125" y="708"/>
                  </a:lnTo>
                  <a:lnTo>
                    <a:pt x="158" y="699"/>
                  </a:lnTo>
                  <a:lnTo>
                    <a:pt x="163" y="708"/>
                  </a:lnTo>
                  <a:lnTo>
                    <a:pt x="158" y="715"/>
                  </a:lnTo>
                  <a:lnTo>
                    <a:pt x="158" y="737"/>
                  </a:lnTo>
                  <a:lnTo>
                    <a:pt x="172" y="737"/>
                  </a:lnTo>
                  <a:lnTo>
                    <a:pt x="189" y="732"/>
                  </a:lnTo>
                  <a:lnTo>
                    <a:pt x="210" y="699"/>
                  </a:lnTo>
                  <a:lnTo>
                    <a:pt x="234" y="692"/>
                  </a:lnTo>
                  <a:lnTo>
                    <a:pt x="234" y="675"/>
                  </a:lnTo>
                  <a:lnTo>
                    <a:pt x="255" y="670"/>
                  </a:lnTo>
                  <a:lnTo>
                    <a:pt x="286" y="625"/>
                  </a:lnTo>
                  <a:lnTo>
                    <a:pt x="281" y="543"/>
                  </a:lnTo>
                  <a:lnTo>
                    <a:pt x="302" y="526"/>
                  </a:lnTo>
                  <a:lnTo>
                    <a:pt x="324" y="477"/>
                  </a:lnTo>
                  <a:lnTo>
                    <a:pt x="361" y="460"/>
                  </a:lnTo>
                  <a:lnTo>
                    <a:pt x="390" y="432"/>
                  </a:lnTo>
                  <a:lnTo>
                    <a:pt x="390" y="399"/>
                  </a:lnTo>
                  <a:lnTo>
                    <a:pt x="406" y="359"/>
                  </a:lnTo>
                  <a:lnTo>
                    <a:pt x="406" y="321"/>
                  </a:lnTo>
                  <a:lnTo>
                    <a:pt x="411" y="276"/>
                  </a:lnTo>
                  <a:lnTo>
                    <a:pt x="411" y="222"/>
                  </a:lnTo>
                  <a:lnTo>
                    <a:pt x="449" y="160"/>
                  </a:lnTo>
                  <a:lnTo>
                    <a:pt x="449" y="139"/>
                  </a:lnTo>
                  <a:lnTo>
                    <a:pt x="458" y="99"/>
                  </a:lnTo>
                  <a:lnTo>
                    <a:pt x="449" y="70"/>
                  </a:lnTo>
                  <a:lnTo>
                    <a:pt x="458" y="70"/>
                  </a:lnTo>
                  <a:lnTo>
                    <a:pt x="482" y="33"/>
                  </a:lnTo>
                  <a:lnTo>
                    <a:pt x="503" y="16"/>
                  </a:lnTo>
                  <a:lnTo>
                    <a:pt x="534" y="16"/>
                  </a:lnTo>
                  <a:lnTo>
                    <a:pt x="572" y="44"/>
                  </a:lnTo>
                  <a:lnTo>
                    <a:pt x="583" y="54"/>
                  </a:lnTo>
                  <a:lnTo>
                    <a:pt x="588" y="70"/>
                  </a:lnTo>
                  <a:lnTo>
                    <a:pt x="621" y="66"/>
                  </a:lnTo>
                  <a:lnTo>
                    <a:pt x="638" y="82"/>
                  </a:lnTo>
                  <a:lnTo>
                    <a:pt x="676" y="82"/>
                  </a:lnTo>
                  <a:lnTo>
                    <a:pt x="713" y="87"/>
                  </a:lnTo>
                  <a:lnTo>
                    <a:pt x="730" y="82"/>
                  </a:lnTo>
                  <a:lnTo>
                    <a:pt x="730" y="66"/>
                  </a:lnTo>
                  <a:lnTo>
                    <a:pt x="735" y="66"/>
                  </a:lnTo>
                  <a:lnTo>
                    <a:pt x="751" y="44"/>
                  </a:lnTo>
                  <a:lnTo>
                    <a:pt x="789" y="54"/>
                  </a:lnTo>
                  <a:lnTo>
                    <a:pt x="798" y="49"/>
                  </a:lnTo>
                  <a:lnTo>
                    <a:pt x="857" y="28"/>
                  </a:lnTo>
                  <a:lnTo>
                    <a:pt x="857" y="16"/>
                  </a:lnTo>
                  <a:lnTo>
                    <a:pt x="881" y="33"/>
                  </a:lnTo>
                  <a:lnTo>
                    <a:pt x="919" y="28"/>
                  </a:lnTo>
                  <a:lnTo>
                    <a:pt x="928" y="0"/>
                  </a:lnTo>
                  <a:lnTo>
                    <a:pt x="933" y="0"/>
                  </a:lnTo>
                  <a:lnTo>
                    <a:pt x="966" y="11"/>
                  </a:lnTo>
                  <a:lnTo>
                    <a:pt x="983" y="11"/>
                  </a:lnTo>
                  <a:lnTo>
                    <a:pt x="1004" y="28"/>
                  </a:lnTo>
                  <a:lnTo>
                    <a:pt x="1020" y="16"/>
                  </a:lnTo>
                  <a:lnTo>
                    <a:pt x="1025" y="28"/>
                  </a:lnTo>
                  <a:lnTo>
                    <a:pt x="1042" y="11"/>
                  </a:lnTo>
                  <a:lnTo>
                    <a:pt x="1075" y="28"/>
                  </a:lnTo>
                  <a:lnTo>
                    <a:pt x="1091" y="44"/>
                  </a:lnTo>
                  <a:lnTo>
                    <a:pt x="1096" y="54"/>
                  </a:lnTo>
                  <a:lnTo>
                    <a:pt x="1134" y="82"/>
                  </a:lnTo>
                  <a:lnTo>
                    <a:pt x="1167" y="54"/>
                  </a:lnTo>
                  <a:lnTo>
                    <a:pt x="1198" y="70"/>
                  </a:lnTo>
                  <a:lnTo>
                    <a:pt x="1214" y="49"/>
                  </a:lnTo>
                  <a:lnTo>
                    <a:pt x="1219" y="49"/>
                  </a:lnTo>
                  <a:lnTo>
                    <a:pt x="1235" y="54"/>
                  </a:lnTo>
                  <a:lnTo>
                    <a:pt x="1235" y="70"/>
                  </a:lnTo>
                  <a:lnTo>
                    <a:pt x="1257" y="87"/>
                  </a:lnTo>
                  <a:lnTo>
                    <a:pt x="1268" y="103"/>
                  </a:lnTo>
                  <a:lnTo>
                    <a:pt x="1290" y="103"/>
                  </a:lnTo>
                  <a:lnTo>
                    <a:pt x="1290" y="127"/>
                  </a:lnTo>
                  <a:lnTo>
                    <a:pt x="1306" y="120"/>
                  </a:lnTo>
                  <a:lnTo>
                    <a:pt x="1311" y="139"/>
                  </a:lnTo>
                  <a:lnTo>
                    <a:pt x="1311" y="139"/>
                  </a:lnTo>
                  <a:lnTo>
                    <a:pt x="1311" y="144"/>
                  </a:lnTo>
                  <a:lnTo>
                    <a:pt x="1306" y="165"/>
                  </a:lnTo>
                  <a:lnTo>
                    <a:pt x="1311" y="181"/>
                  </a:lnTo>
                  <a:lnTo>
                    <a:pt x="1294" y="210"/>
                  </a:lnTo>
                  <a:lnTo>
                    <a:pt x="1311" y="214"/>
                  </a:lnTo>
                  <a:lnTo>
                    <a:pt x="1323" y="214"/>
                  </a:lnTo>
                  <a:lnTo>
                    <a:pt x="1344" y="231"/>
                  </a:lnTo>
                  <a:lnTo>
                    <a:pt x="1285" y="304"/>
                  </a:lnTo>
                  <a:lnTo>
                    <a:pt x="1268" y="304"/>
                  </a:lnTo>
                  <a:lnTo>
                    <a:pt x="1257" y="321"/>
                  </a:lnTo>
                  <a:lnTo>
                    <a:pt x="1242" y="325"/>
                  </a:lnTo>
                  <a:lnTo>
                    <a:pt x="1242" y="349"/>
                  </a:lnTo>
                  <a:lnTo>
                    <a:pt x="1231" y="382"/>
                  </a:lnTo>
                  <a:lnTo>
                    <a:pt x="1219" y="453"/>
                  </a:lnTo>
                  <a:lnTo>
                    <a:pt x="1219" y="486"/>
                  </a:lnTo>
                  <a:lnTo>
                    <a:pt x="1198" y="505"/>
                  </a:lnTo>
                  <a:lnTo>
                    <a:pt x="1188" y="526"/>
                  </a:lnTo>
                  <a:lnTo>
                    <a:pt x="1188" y="548"/>
                  </a:lnTo>
                  <a:lnTo>
                    <a:pt x="1167" y="559"/>
                  </a:lnTo>
                  <a:lnTo>
                    <a:pt x="1176" y="581"/>
                  </a:lnTo>
                  <a:lnTo>
                    <a:pt x="1181" y="588"/>
                  </a:lnTo>
                  <a:lnTo>
                    <a:pt x="1181" y="588"/>
                  </a:lnTo>
                  <a:lnTo>
                    <a:pt x="1198" y="604"/>
                  </a:lnTo>
                  <a:lnTo>
                    <a:pt x="1198" y="670"/>
                  </a:lnTo>
                  <a:lnTo>
                    <a:pt x="1205" y="682"/>
                  </a:lnTo>
                  <a:lnTo>
                    <a:pt x="1205" y="708"/>
                  </a:lnTo>
                  <a:lnTo>
                    <a:pt x="1205" y="748"/>
                  </a:lnTo>
                  <a:lnTo>
                    <a:pt x="1219" y="803"/>
                  </a:lnTo>
                  <a:lnTo>
                    <a:pt x="1214" y="819"/>
                  </a:lnTo>
                  <a:lnTo>
                    <a:pt x="1219" y="843"/>
                  </a:lnTo>
                  <a:lnTo>
                    <a:pt x="1231" y="864"/>
                  </a:lnTo>
                  <a:lnTo>
                    <a:pt x="1252" y="881"/>
                  </a:lnTo>
                  <a:lnTo>
                    <a:pt x="1273" y="904"/>
                  </a:lnTo>
                  <a:lnTo>
                    <a:pt x="1306" y="975"/>
                  </a:lnTo>
                  <a:lnTo>
                    <a:pt x="1176" y="1003"/>
                  </a:lnTo>
                  <a:lnTo>
                    <a:pt x="1176" y="1015"/>
                  </a:lnTo>
                  <a:lnTo>
                    <a:pt x="1167" y="1025"/>
                  </a:lnTo>
                  <a:lnTo>
                    <a:pt x="1134" y="1058"/>
                  </a:lnTo>
                  <a:lnTo>
                    <a:pt x="1143" y="1065"/>
                  </a:lnTo>
                  <a:lnTo>
                    <a:pt x="1160" y="1098"/>
                  </a:lnTo>
                  <a:lnTo>
                    <a:pt x="1150" y="1126"/>
                  </a:lnTo>
                  <a:lnTo>
                    <a:pt x="1160" y="1159"/>
                  </a:lnTo>
                  <a:lnTo>
                    <a:pt x="1150" y="1176"/>
                  </a:lnTo>
                  <a:lnTo>
                    <a:pt x="1134" y="1225"/>
                  </a:lnTo>
                  <a:lnTo>
                    <a:pt x="1143" y="1247"/>
                  </a:lnTo>
                  <a:lnTo>
                    <a:pt x="1167" y="1263"/>
                  </a:lnTo>
                  <a:lnTo>
                    <a:pt x="1181" y="1287"/>
                  </a:lnTo>
                  <a:lnTo>
                    <a:pt x="1198" y="1287"/>
                  </a:lnTo>
                  <a:lnTo>
                    <a:pt x="1214" y="1287"/>
                  </a:lnTo>
                  <a:lnTo>
                    <a:pt x="1214" y="1270"/>
                  </a:lnTo>
                  <a:lnTo>
                    <a:pt x="1235" y="1270"/>
                  </a:lnTo>
                  <a:lnTo>
                    <a:pt x="1235" y="1365"/>
                  </a:lnTo>
                  <a:lnTo>
                    <a:pt x="1219" y="1358"/>
                  </a:lnTo>
                  <a:lnTo>
                    <a:pt x="1231" y="1346"/>
                  </a:lnTo>
                  <a:lnTo>
                    <a:pt x="1219" y="1346"/>
                  </a:lnTo>
                  <a:lnTo>
                    <a:pt x="1188" y="1358"/>
                  </a:lnTo>
                  <a:lnTo>
                    <a:pt x="1181" y="1358"/>
                  </a:lnTo>
                  <a:lnTo>
                    <a:pt x="1160" y="1325"/>
                  </a:lnTo>
                  <a:lnTo>
                    <a:pt x="1150" y="1320"/>
                  </a:lnTo>
                  <a:lnTo>
                    <a:pt x="1143" y="1292"/>
                  </a:lnTo>
                  <a:lnTo>
                    <a:pt x="1096" y="1280"/>
                  </a:lnTo>
                  <a:lnTo>
                    <a:pt x="1079" y="1280"/>
                  </a:lnTo>
                  <a:lnTo>
                    <a:pt x="1075" y="1254"/>
                  </a:lnTo>
                  <a:lnTo>
                    <a:pt x="1058" y="1237"/>
                  </a:lnTo>
                  <a:lnTo>
                    <a:pt x="1053" y="1225"/>
                  </a:lnTo>
                  <a:lnTo>
                    <a:pt x="1042" y="1230"/>
                  </a:lnTo>
                  <a:lnTo>
                    <a:pt x="1037" y="1247"/>
                  </a:lnTo>
                  <a:lnTo>
                    <a:pt x="1025" y="1254"/>
                  </a:lnTo>
                  <a:lnTo>
                    <a:pt x="966" y="1247"/>
                  </a:lnTo>
                  <a:lnTo>
                    <a:pt x="928" y="1230"/>
                  </a:lnTo>
                  <a:lnTo>
                    <a:pt x="919" y="1209"/>
                  </a:lnTo>
                  <a:lnTo>
                    <a:pt x="919" y="1197"/>
                  </a:lnTo>
                  <a:lnTo>
                    <a:pt x="881" y="1209"/>
                  </a:lnTo>
                  <a:lnTo>
                    <a:pt x="857" y="1214"/>
                  </a:lnTo>
                  <a:lnTo>
                    <a:pt x="853" y="1209"/>
                  </a:lnTo>
                  <a:lnTo>
                    <a:pt x="857" y="1192"/>
                  </a:lnTo>
                  <a:lnTo>
                    <a:pt x="827" y="1176"/>
                  </a:lnTo>
                  <a:lnTo>
                    <a:pt x="820" y="1181"/>
                  </a:lnTo>
                  <a:lnTo>
                    <a:pt x="789" y="1181"/>
                  </a:lnTo>
                  <a:lnTo>
                    <a:pt x="768" y="1192"/>
                  </a:lnTo>
                  <a:lnTo>
                    <a:pt x="730" y="1181"/>
                  </a:lnTo>
                  <a:lnTo>
                    <a:pt x="702" y="1197"/>
                  </a:lnTo>
                  <a:lnTo>
                    <a:pt x="702" y="1176"/>
                  </a:lnTo>
                  <a:lnTo>
                    <a:pt x="713" y="1169"/>
                  </a:lnTo>
                  <a:lnTo>
                    <a:pt x="713" y="1136"/>
                  </a:lnTo>
                  <a:lnTo>
                    <a:pt x="697" y="1103"/>
                  </a:lnTo>
                  <a:lnTo>
                    <a:pt x="680" y="1086"/>
                  </a:lnTo>
                  <a:lnTo>
                    <a:pt x="676" y="1065"/>
                  </a:lnTo>
                  <a:lnTo>
                    <a:pt x="680" y="1003"/>
                  </a:lnTo>
                  <a:lnTo>
                    <a:pt x="676" y="959"/>
                  </a:lnTo>
                  <a:lnTo>
                    <a:pt x="680" y="930"/>
                  </a:lnTo>
                  <a:lnTo>
                    <a:pt x="676" y="914"/>
                  </a:lnTo>
                  <a:lnTo>
                    <a:pt x="588" y="914"/>
                  </a:lnTo>
                  <a:lnTo>
                    <a:pt x="595" y="892"/>
                  </a:lnTo>
                  <a:lnTo>
                    <a:pt x="572" y="892"/>
                  </a:lnTo>
                  <a:lnTo>
                    <a:pt x="572" y="892"/>
                  </a:lnTo>
                  <a:lnTo>
                    <a:pt x="520" y="892"/>
                  </a:lnTo>
                  <a:lnTo>
                    <a:pt x="520" y="930"/>
                  </a:lnTo>
                  <a:lnTo>
                    <a:pt x="503" y="937"/>
                  </a:lnTo>
                  <a:lnTo>
                    <a:pt x="503" y="959"/>
                  </a:lnTo>
                  <a:lnTo>
                    <a:pt x="444" y="959"/>
                  </a:lnTo>
                  <a:lnTo>
                    <a:pt x="444" y="959"/>
                  </a:lnTo>
                  <a:lnTo>
                    <a:pt x="416" y="970"/>
                  </a:lnTo>
                  <a:lnTo>
                    <a:pt x="416" y="970"/>
                  </a:lnTo>
                  <a:lnTo>
                    <a:pt x="406" y="970"/>
                  </a:lnTo>
                  <a:lnTo>
                    <a:pt x="378" y="970"/>
                  </a:lnTo>
                  <a:lnTo>
                    <a:pt x="335" y="904"/>
                  </a:lnTo>
                  <a:lnTo>
                    <a:pt x="335" y="892"/>
                  </a:lnTo>
                  <a:lnTo>
                    <a:pt x="319" y="848"/>
                  </a:lnTo>
                  <a:lnTo>
                    <a:pt x="319" y="836"/>
                  </a:lnTo>
                  <a:lnTo>
                    <a:pt x="307" y="819"/>
                  </a:lnTo>
                  <a:lnTo>
                    <a:pt x="272" y="810"/>
                  </a:lnTo>
                  <a:lnTo>
                    <a:pt x="272" y="810"/>
                  </a:lnTo>
                  <a:lnTo>
                    <a:pt x="272" y="810"/>
                  </a:lnTo>
                  <a:close/>
                  <a:moveTo>
                    <a:pt x="38" y="819"/>
                  </a:moveTo>
                  <a:lnTo>
                    <a:pt x="50" y="810"/>
                  </a:lnTo>
                  <a:lnTo>
                    <a:pt x="54" y="810"/>
                  </a:lnTo>
                  <a:lnTo>
                    <a:pt x="38" y="819"/>
                  </a:lnTo>
                  <a:lnTo>
                    <a:pt x="38" y="819"/>
                  </a:lnTo>
                  <a:lnTo>
                    <a:pt x="38" y="81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96" name="Freeform 416">
              <a:extLst>
                <a:ext uri="{FF2B5EF4-FFF2-40B4-BE49-F238E27FC236}">
                  <a16:creationId xmlns:a16="http://schemas.microsoft.com/office/drawing/2014/main" id="{A27F2C33-3247-4FE9-B0C6-F2B924A10693}"/>
                </a:ext>
              </a:extLst>
            </p:cNvPr>
            <p:cNvSpPr>
              <a:spLocks/>
            </p:cNvSpPr>
            <p:nvPr/>
          </p:nvSpPr>
          <p:spPr bwMode="gray">
            <a:xfrm>
              <a:off x="6971179" y="3675578"/>
              <a:ext cx="221890" cy="342548"/>
            </a:xfrm>
            <a:custGeom>
              <a:avLst/>
              <a:gdLst>
                <a:gd name="T0" fmla="*/ 21 w 539"/>
                <a:gd name="T1" fmla="*/ 572 h 832"/>
                <a:gd name="T2" fmla="*/ 26 w 539"/>
                <a:gd name="T3" fmla="*/ 522 h 832"/>
                <a:gd name="T4" fmla="*/ 80 w 539"/>
                <a:gd name="T5" fmla="*/ 477 h 832"/>
                <a:gd name="T6" fmla="*/ 97 w 539"/>
                <a:gd name="T7" fmla="*/ 461 h 832"/>
                <a:gd name="T8" fmla="*/ 123 w 539"/>
                <a:gd name="T9" fmla="*/ 449 h 832"/>
                <a:gd name="T10" fmla="*/ 144 w 539"/>
                <a:gd name="T11" fmla="*/ 437 h 832"/>
                <a:gd name="T12" fmla="*/ 182 w 539"/>
                <a:gd name="T13" fmla="*/ 482 h 832"/>
                <a:gd name="T14" fmla="*/ 215 w 539"/>
                <a:gd name="T15" fmla="*/ 465 h 832"/>
                <a:gd name="T16" fmla="*/ 236 w 539"/>
                <a:gd name="T17" fmla="*/ 437 h 832"/>
                <a:gd name="T18" fmla="*/ 232 w 539"/>
                <a:gd name="T19" fmla="*/ 421 h 832"/>
                <a:gd name="T20" fmla="*/ 243 w 539"/>
                <a:gd name="T21" fmla="*/ 387 h 832"/>
                <a:gd name="T22" fmla="*/ 258 w 539"/>
                <a:gd name="T23" fmla="*/ 338 h 832"/>
                <a:gd name="T24" fmla="*/ 274 w 539"/>
                <a:gd name="T25" fmla="*/ 326 h 832"/>
                <a:gd name="T26" fmla="*/ 295 w 539"/>
                <a:gd name="T27" fmla="*/ 317 h 832"/>
                <a:gd name="T28" fmla="*/ 328 w 539"/>
                <a:gd name="T29" fmla="*/ 255 h 832"/>
                <a:gd name="T30" fmla="*/ 345 w 539"/>
                <a:gd name="T31" fmla="*/ 215 h 832"/>
                <a:gd name="T32" fmla="*/ 366 w 539"/>
                <a:gd name="T33" fmla="*/ 149 h 832"/>
                <a:gd name="T34" fmla="*/ 399 w 539"/>
                <a:gd name="T35" fmla="*/ 132 h 832"/>
                <a:gd name="T36" fmla="*/ 432 w 539"/>
                <a:gd name="T37" fmla="*/ 95 h 832"/>
                <a:gd name="T38" fmla="*/ 421 w 539"/>
                <a:gd name="T39" fmla="*/ 54 h 832"/>
                <a:gd name="T40" fmla="*/ 395 w 539"/>
                <a:gd name="T41" fmla="*/ 0 h 832"/>
                <a:gd name="T42" fmla="*/ 421 w 539"/>
                <a:gd name="T43" fmla="*/ 21 h 832"/>
                <a:gd name="T44" fmla="*/ 449 w 539"/>
                <a:gd name="T45" fmla="*/ 71 h 832"/>
                <a:gd name="T46" fmla="*/ 458 w 539"/>
                <a:gd name="T47" fmla="*/ 116 h 832"/>
                <a:gd name="T48" fmla="*/ 458 w 539"/>
                <a:gd name="T49" fmla="*/ 165 h 832"/>
                <a:gd name="T50" fmla="*/ 508 w 539"/>
                <a:gd name="T51" fmla="*/ 227 h 832"/>
                <a:gd name="T52" fmla="*/ 399 w 539"/>
                <a:gd name="T53" fmla="*/ 227 h 832"/>
                <a:gd name="T54" fmla="*/ 404 w 539"/>
                <a:gd name="T55" fmla="*/ 281 h 832"/>
                <a:gd name="T56" fmla="*/ 491 w 539"/>
                <a:gd name="T57" fmla="*/ 383 h 832"/>
                <a:gd name="T58" fmla="*/ 491 w 539"/>
                <a:gd name="T59" fmla="*/ 404 h 832"/>
                <a:gd name="T60" fmla="*/ 449 w 539"/>
                <a:gd name="T61" fmla="*/ 494 h 832"/>
                <a:gd name="T62" fmla="*/ 421 w 539"/>
                <a:gd name="T63" fmla="*/ 522 h 832"/>
                <a:gd name="T64" fmla="*/ 432 w 539"/>
                <a:gd name="T65" fmla="*/ 548 h 832"/>
                <a:gd name="T66" fmla="*/ 432 w 539"/>
                <a:gd name="T67" fmla="*/ 572 h 832"/>
                <a:gd name="T68" fmla="*/ 458 w 539"/>
                <a:gd name="T69" fmla="*/ 631 h 832"/>
                <a:gd name="T70" fmla="*/ 458 w 539"/>
                <a:gd name="T71" fmla="*/ 659 h 832"/>
                <a:gd name="T72" fmla="*/ 529 w 539"/>
                <a:gd name="T73" fmla="*/ 737 h 832"/>
                <a:gd name="T74" fmla="*/ 539 w 539"/>
                <a:gd name="T75" fmla="*/ 782 h 832"/>
                <a:gd name="T76" fmla="*/ 539 w 539"/>
                <a:gd name="T77" fmla="*/ 827 h 832"/>
                <a:gd name="T78" fmla="*/ 508 w 539"/>
                <a:gd name="T79" fmla="*/ 810 h 832"/>
                <a:gd name="T80" fmla="*/ 421 w 539"/>
                <a:gd name="T81" fmla="*/ 794 h 832"/>
                <a:gd name="T82" fmla="*/ 328 w 539"/>
                <a:gd name="T83" fmla="*/ 782 h 832"/>
                <a:gd name="T84" fmla="*/ 269 w 539"/>
                <a:gd name="T85" fmla="*/ 782 h 832"/>
                <a:gd name="T86" fmla="*/ 199 w 539"/>
                <a:gd name="T87" fmla="*/ 794 h 832"/>
                <a:gd name="T88" fmla="*/ 90 w 539"/>
                <a:gd name="T89" fmla="*/ 777 h 832"/>
                <a:gd name="T90" fmla="*/ 97 w 539"/>
                <a:gd name="T91" fmla="*/ 716 h 832"/>
                <a:gd name="T92" fmla="*/ 90 w 539"/>
                <a:gd name="T93" fmla="*/ 687 h 832"/>
                <a:gd name="T94" fmla="*/ 76 w 539"/>
                <a:gd name="T95" fmla="*/ 671 h 832"/>
                <a:gd name="T96" fmla="*/ 69 w 539"/>
                <a:gd name="T97" fmla="*/ 650 h 832"/>
                <a:gd name="T98" fmla="*/ 69 w 539"/>
                <a:gd name="T99" fmla="*/ 666 h 832"/>
                <a:gd name="T100" fmla="*/ 26 w 539"/>
                <a:gd name="T101" fmla="*/ 614 h 832"/>
                <a:gd name="T102" fmla="*/ 26 w 539"/>
                <a:gd name="T103" fmla="*/ 614 h 832"/>
                <a:gd name="T104" fmla="*/ 14 w 539"/>
                <a:gd name="T105" fmla="*/ 626 h 832"/>
                <a:gd name="T106" fmla="*/ 5 w 539"/>
                <a:gd name="T107" fmla="*/ 605 h 832"/>
                <a:gd name="T108" fmla="*/ 5 w 539"/>
                <a:gd name="T109" fmla="*/ 605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9" h="832">
                  <a:moveTo>
                    <a:pt x="5" y="605"/>
                  </a:moveTo>
                  <a:lnTo>
                    <a:pt x="21" y="572"/>
                  </a:lnTo>
                  <a:lnTo>
                    <a:pt x="26" y="548"/>
                  </a:lnTo>
                  <a:lnTo>
                    <a:pt x="26" y="522"/>
                  </a:lnTo>
                  <a:lnTo>
                    <a:pt x="59" y="494"/>
                  </a:lnTo>
                  <a:lnTo>
                    <a:pt x="80" y="477"/>
                  </a:lnTo>
                  <a:lnTo>
                    <a:pt x="90" y="461"/>
                  </a:lnTo>
                  <a:lnTo>
                    <a:pt x="97" y="461"/>
                  </a:lnTo>
                  <a:lnTo>
                    <a:pt x="113" y="444"/>
                  </a:lnTo>
                  <a:lnTo>
                    <a:pt x="123" y="449"/>
                  </a:lnTo>
                  <a:lnTo>
                    <a:pt x="144" y="449"/>
                  </a:lnTo>
                  <a:lnTo>
                    <a:pt x="144" y="437"/>
                  </a:lnTo>
                  <a:lnTo>
                    <a:pt x="182" y="461"/>
                  </a:lnTo>
                  <a:lnTo>
                    <a:pt x="182" y="482"/>
                  </a:lnTo>
                  <a:lnTo>
                    <a:pt x="199" y="482"/>
                  </a:lnTo>
                  <a:lnTo>
                    <a:pt x="215" y="465"/>
                  </a:lnTo>
                  <a:lnTo>
                    <a:pt x="215" y="449"/>
                  </a:lnTo>
                  <a:lnTo>
                    <a:pt x="236" y="437"/>
                  </a:lnTo>
                  <a:lnTo>
                    <a:pt x="232" y="421"/>
                  </a:lnTo>
                  <a:lnTo>
                    <a:pt x="232" y="421"/>
                  </a:lnTo>
                  <a:lnTo>
                    <a:pt x="243" y="404"/>
                  </a:lnTo>
                  <a:lnTo>
                    <a:pt x="243" y="387"/>
                  </a:lnTo>
                  <a:lnTo>
                    <a:pt x="258" y="371"/>
                  </a:lnTo>
                  <a:lnTo>
                    <a:pt x="258" y="338"/>
                  </a:lnTo>
                  <a:lnTo>
                    <a:pt x="274" y="333"/>
                  </a:lnTo>
                  <a:lnTo>
                    <a:pt x="274" y="326"/>
                  </a:lnTo>
                  <a:lnTo>
                    <a:pt x="291" y="326"/>
                  </a:lnTo>
                  <a:lnTo>
                    <a:pt x="295" y="317"/>
                  </a:lnTo>
                  <a:lnTo>
                    <a:pt x="307" y="272"/>
                  </a:lnTo>
                  <a:lnTo>
                    <a:pt x="328" y="255"/>
                  </a:lnTo>
                  <a:lnTo>
                    <a:pt x="340" y="222"/>
                  </a:lnTo>
                  <a:lnTo>
                    <a:pt x="345" y="215"/>
                  </a:lnTo>
                  <a:lnTo>
                    <a:pt x="350" y="182"/>
                  </a:lnTo>
                  <a:lnTo>
                    <a:pt x="366" y="149"/>
                  </a:lnTo>
                  <a:lnTo>
                    <a:pt x="383" y="132"/>
                  </a:lnTo>
                  <a:lnTo>
                    <a:pt x="399" y="132"/>
                  </a:lnTo>
                  <a:lnTo>
                    <a:pt x="432" y="111"/>
                  </a:lnTo>
                  <a:lnTo>
                    <a:pt x="432" y="95"/>
                  </a:lnTo>
                  <a:lnTo>
                    <a:pt x="432" y="59"/>
                  </a:lnTo>
                  <a:lnTo>
                    <a:pt x="421" y="54"/>
                  </a:lnTo>
                  <a:lnTo>
                    <a:pt x="399" y="50"/>
                  </a:lnTo>
                  <a:lnTo>
                    <a:pt x="395" y="0"/>
                  </a:lnTo>
                  <a:lnTo>
                    <a:pt x="416" y="0"/>
                  </a:lnTo>
                  <a:lnTo>
                    <a:pt x="421" y="21"/>
                  </a:lnTo>
                  <a:lnTo>
                    <a:pt x="449" y="33"/>
                  </a:lnTo>
                  <a:lnTo>
                    <a:pt x="449" y="71"/>
                  </a:lnTo>
                  <a:lnTo>
                    <a:pt x="458" y="71"/>
                  </a:lnTo>
                  <a:lnTo>
                    <a:pt x="458" y="116"/>
                  </a:lnTo>
                  <a:lnTo>
                    <a:pt x="458" y="132"/>
                  </a:lnTo>
                  <a:lnTo>
                    <a:pt x="458" y="165"/>
                  </a:lnTo>
                  <a:lnTo>
                    <a:pt x="487" y="206"/>
                  </a:lnTo>
                  <a:lnTo>
                    <a:pt x="508" y="227"/>
                  </a:lnTo>
                  <a:lnTo>
                    <a:pt x="437" y="227"/>
                  </a:lnTo>
                  <a:lnTo>
                    <a:pt x="399" y="227"/>
                  </a:lnTo>
                  <a:lnTo>
                    <a:pt x="383" y="255"/>
                  </a:lnTo>
                  <a:lnTo>
                    <a:pt x="404" y="281"/>
                  </a:lnTo>
                  <a:lnTo>
                    <a:pt x="470" y="333"/>
                  </a:lnTo>
                  <a:lnTo>
                    <a:pt x="491" y="383"/>
                  </a:lnTo>
                  <a:lnTo>
                    <a:pt x="501" y="387"/>
                  </a:lnTo>
                  <a:lnTo>
                    <a:pt x="491" y="404"/>
                  </a:lnTo>
                  <a:lnTo>
                    <a:pt x="470" y="428"/>
                  </a:lnTo>
                  <a:lnTo>
                    <a:pt x="449" y="494"/>
                  </a:lnTo>
                  <a:lnTo>
                    <a:pt x="416" y="515"/>
                  </a:lnTo>
                  <a:lnTo>
                    <a:pt x="421" y="522"/>
                  </a:lnTo>
                  <a:lnTo>
                    <a:pt x="432" y="522"/>
                  </a:lnTo>
                  <a:lnTo>
                    <a:pt x="432" y="548"/>
                  </a:lnTo>
                  <a:lnTo>
                    <a:pt x="421" y="560"/>
                  </a:lnTo>
                  <a:lnTo>
                    <a:pt x="432" y="572"/>
                  </a:lnTo>
                  <a:lnTo>
                    <a:pt x="437" y="614"/>
                  </a:lnTo>
                  <a:lnTo>
                    <a:pt x="458" y="631"/>
                  </a:lnTo>
                  <a:lnTo>
                    <a:pt x="470" y="659"/>
                  </a:lnTo>
                  <a:lnTo>
                    <a:pt x="458" y="659"/>
                  </a:lnTo>
                  <a:lnTo>
                    <a:pt x="475" y="683"/>
                  </a:lnTo>
                  <a:lnTo>
                    <a:pt x="529" y="737"/>
                  </a:lnTo>
                  <a:lnTo>
                    <a:pt x="529" y="770"/>
                  </a:lnTo>
                  <a:lnTo>
                    <a:pt x="539" y="782"/>
                  </a:lnTo>
                  <a:lnTo>
                    <a:pt x="529" y="794"/>
                  </a:lnTo>
                  <a:lnTo>
                    <a:pt x="539" y="827"/>
                  </a:lnTo>
                  <a:lnTo>
                    <a:pt x="529" y="832"/>
                  </a:lnTo>
                  <a:lnTo>
                    <a:pt x="508" y="810"/>
                  </a:lnTo>
                  <a:lnTo>
                    <a:pt x="449" y="798"/>
                  </a:lnTo>
                  <a:lnTo>
                    <a:pt x="421" y="794"/>
                  </a:lnTo>
                  <a:lnTo>
                    <a:pt x="340" y="794"/>
                  </a:lnTo>
                  <a:lnTo>
                    <a:pt x="328" y="782"/>
                  </a:lnTo>
                  <a:lnTo>
                    <a:pt x="295" y="782"/>
                  </a:lnTo>
                  <a:lnTo>
                    <a:pt x="269" y="782"/>
                  </a:lnTo>
                  <a:lnTo>
                    <a:pt x="199" y="782"/>
                  </a:lnTo>
                  <a:lnTo>
                    <a:pt x="199" y="794"/>
                  </a:lnTo>
                  <a:lnTo>
                    <a:pt x="106" y="794"/>
                  </a:lnTo>
                  <a:lnTo>
                    <a:pt x="90" y="777"/>
                  </a:lnTo>
                  <a:lnTo>
                    <a:pt x="106" y="725"/>
                  </a:lnTo>
                  <a:lnTo>
                    <a:pt x="97" y="716"/>
                  </a:lnTo>
                  <a:lnTo>
                    <a:pt x="80" y="687"/>
                  </a:lnTo>
                  <a:lnTo>
                    <a:pt x="90" y="687"/>
                  </a:lnTo>
                  <a:lnTo>
                    <a:pt x="80" y="687"/>
                  </a:lnTo>
                  <a:lnTo>
                    <a:pt x="76" y="671"/>
                  </a:lnTo>
                  <a:lnTo>
                    <a:pt x="80" y="666"/>
                  </a:lnTo>
                  <a:lnTo>
                    <a:pt x="69" y="650"/>
                  </a:lnTo>
                  <a:lnTo>
                    <a:pt x="76" y="659"/>
                  </a:lnTo>
                  <a:lnTo>
                    <a:pt x="69" y="666"/>
                  </a:lnTo>
                  <a:lnTo>
                    <a:pt x="38" y="650"/>
                  </a:lnTo>
                  <a:lnTo>
                    <a:pt x="26" y="614"/>
                  </a:lnTo>
                  <a:lnTo>
                    <a:pt x="21" y="609"/>
                  </a:lnTo>
                  <a:lnTo>
                    <a:pt x="26" y="614"/>
                  </a:lnTo>
                  <a:lnTo>
                    <a:pt x="14" y="609"/>
                  </a:lnTo>
                  <a:lnTo>
                    <a:pt x="14" y="626"/>
                  </a:lnTo>
                  <a:lnTo>
                    <a:pt x="0" y="614"/>
                  </a:lnTo>
                  <a:lnTo>
                    <a:pt x="5" y="605"/>
                  </a:lnTo>
                  <a:lnTo>
                    <a:pt x="5" y="605"/>
                  </a:lnTo>
                  <a:lnTo>
                    <a:pt x="5" y="60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97" name="Freeform 417">
              <a:extLst>
                <a:ext uri="{FF2B5EF4-FFF2-40B4-BE49-F238E27FC236}">
                  <a16:creationId xmlns:a16="http://schemas.microsoft.com/office/drawing/2014/main" id="{2C1319BE-E897-4B15-84D4-9A486D8AD1F9}"/>
                </a:ext>
              </a:extLst>
            </p:cNvPr>
            <p:cNvSpPr>
              <a:spLocks noEditPoints="1"/>
            </p:cNvSpPr>
            <p:nvPr/>
          </p:nvSpPr>
          <p:spPr bwMode="gray">
            <a:xfrm>
              <a:off x="7974008" y="4405140"/>
              <a:ext cx="37873" cy="30056"/>
            </a:xfrm>
            <a:custGeom>
              <a:avLst/>
              <a:gdLst>
                <a:gd name="T0" fmla="*/ 16 w 92"/>
                <a:gd name="T1" fmla="*/ 40 h 73"/>
                <a:gd name="T2" fmla="*/ 0 w 92"/>
                <a:gd name="T3" fmla="*/ 21 h 73"/>
                <a:gd name="T4" fmla="*/ 0 w 92"/>
                <a:gd name="T5" fmla="*/ 0 h 73"/>
                <a:gd name="T6" fmla="*/ 16 w 92"/>
                <a:gd name="T7" fmla="*/ 0 h 73"/>
                <a:gd name="T8" fmla="*/ 16 w 92"/>
                <a:gd name="T9" fmla="*/ 40 h 73"/>
                <a:gd name="T10" fmla="*/ 16 w 92"/>
                <a:gd name="T11" fmla="*/ 40 h 73"/>
                <a:gd name="T12" fmla="*/ 16 w 92"/>
                <a:gd name="T13" fmla="*/ 40 h 73"/>
                <a:gd name="T14" fmla="*/ 92 w 92"/>
                <a:gd name="T15" fmla="*/ 73 h 73"/>
                <a:gd name="T16" fmla="*/ 70 w 92"/>
                <a:gd name="T17" fmla="*/ 56 h 73"/>
                <a:gd name="T18" fmla="*/ 80 w 92"/>
                <a:gd name="T19" fmla="*/ 56 h 73"/>
                <a:gd name="T20" fmla="*/ 85 w 92"/>
                <a:gd name="T21" fmla="*/ 49 h 73"/>
                <a:gd name="T22" fmla="*/ 92 w 92"/>
                <a:gd name="T23" fmla="*/ 73 h 73"/>
                <a:gd name="T24" fmla="*/ 92 w 92"/>
                <a:gd name="T25" fmla="*/ 73 h 73"/>
                <a:gd name="T26" fmla="*/ 92 w 92"/>
                <a:gd name="T27" fmla="*/ 73 h 73"/>
                <a:gd name="T28" fmla="*/ 49 w 92"/>
                <a:gd name="T29" fmla="*/ 73 h 73"/>
                <a:gd name="T30" fmla="*/ 33 w 92"/>
                <a:gd name="T31" fmla="*/ 73 h 73"/>
                <a:gd name="T32" fmla="*/ 33 w 92"/>
                <a:gd name="T33" fmla="*/ 66 h 73"/>
                <a:gd name="T34" fmla="*/ 49 w 92"/>
                <a:gd name="T35" fmla="*/ 73 h 73"/>
                <a:gd name="T36" fmla="*/ 49 w 92"/>
                <a:gd name="T37" fmla="*/ 73 h 73"/>
                <a:gd name="T38" fmla="*/ 49 w 92"/>
                <a:gd name="T3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 h="73">
                  <a:moveTo>
                    <a:pt x="16" y="40"/>
                  </a:moveTo>
                  <a:lnTo>
                    <a:pt x="0" y="21"/>
                  </a:lnTo>
                  <a:lnTo>
                    <a:pt x="0" y="0"/>
                  </a:lnTo>
                  <a:lnTo>
                    <a:pt x="16" y="0"/>
                  </a:lnTo>
                  <a:lnTo>
                    <a:pt x="16" y="40"/>
                  </a:lnTo>
                  <a:lnTo>
                    <a:pt x="16" y="40"/>
                  </a:lnTo>
                  <a:lnTo>
                    <a:pt x="16" y="40"/>
                  </a:lnTo>
                  <a:close/>
                  <a:moveTo>
                    <a:pt x="92" y="73"/>
                  </a:moveTo>
                  <a:lnTo>
                    <a:pt x="70" y="56"/>
                  </a:lnTo>
                  <a:lnTo>
                    <a:pt x="80" y="56"/>
                  </a:lnTo>
                  <a:lnTo>
                    <a:pt x="85" y="49"/>
                  </a:lnTo>
                  <a:lnTo>
                    <a:pt x="92" y="73"/>
                  </a:lnTo>
                  <a:lnTo>
                    <a:pt x="92" y="73"/>
                  </a:lnTo>
                  <a:lnTo>
                    <a:pt x="92" y="73"/>
                  </a:lnTo>
                  <a:close/>
                  <a:moveTo>
                    <a:pt x="49" y="73"/>
                  </a:moveTo>
                  <a:lnTo>
                    <a:pt x="33" y="73"/>
                  </a:lnTo>
                  <a:lnTo>
                    <a:pt x="33" y="66"/>
                  </a:lnTo>
                  <a:lnTo>
                    <a:pt x="49" y="73"/>
                  </a:lnTo>
                  <a:lnTo>
                    <a:pt x="49" y="73"/>
                  </a:lnTo>
                  <a:lnTo>
                    <a:pt x="49" y="7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98" name="Freeform 421">
              <a:extLst>
                <a:ext uri="{FF2B5EF4-FFF2-40B4-BE49-F238E27FC236}">
                  <a16:creationId xmlns:a16="http://schemas.microsoft.com/office/drawing/2014/main" id="{3B5910EA-239B-4625-9263-F91FEB597F9C}"/>
                </a:ext>
              </a:extLst>
            </p:cNvPr>
            <p:cNvSpPr>
              <a:spLocks/>
            </p:cNvSpPr>
            <p:nvPr/>
          </p:nvSpPr>
          <p:spPr bwMode="gray">
            <a:xfrm>
              <a:off x="7142434" y="3736924"/>
              <a:ext cx="377090" cy="259793"/>
            </a:xfrm>
            <a:custGeom>
              <a:avLst/>
              <a:gdLst>
                <a:gd name="T0" fmla="*/ 416 w 916"/>
                <a:gd name="T1" fmla="*/ 453 h 631"/>
                <a:gd name="T2" fmla="*/ 345 w 916"/>
                <a:gd name="T3" fmla="*/ 427 h 631"/>
                <a:gd name="T4" fmla="*/ 302 w 916"/>
                <a:gd name="T5" fmla="*/ 482 h 631"/>
                <a:gd name="T6" fmla="*/ 302 w 916"/>
                <a:gd name="T7" fmla="*/ 510 h 631"/>
                <a:gd name="T8" fmla="*/ 286 w 916"/>
                <a:gd name="T9" fmla="*/ 531 h 631"/>
                <a:gd name="T10" fmla="*/ 260 w 916"/>
                <a:gd name="T11" fmla="*/ 536 h 631"/>
                <a:gd name="T12" fmla="*/ 236 w 916"/>
                <a:gd name="T13" fmla="*/ 536 h 631"/>
                <a:gd name="T14" fmla="*/ 205 w 916"/>
                <a:gd name="T15" fmla="*/ 536 h 631"/>
                <a:gd name="T16" fmla="*/ 144 w 916"/>
                <a:gd name="T17" fmla="*/ 572 h 631"/>
                <a:gd name="T18" fmla="*/ 123 w 916"/>
                <a:gd name="T19" fmla="*/ 631 h 631"/>
                <a:gd name="T20" fmla="*/ 113 w 916"/>
                <a:gd name="T21" fmla="*/ 588 h 631"/>
                <a:gd name="T22" fmla="*/ 42 w 916"/>
                <a:gd name="T23" fmla="*/ 510 h 631"/>
                <a:gd name="T24" fmla="*/ 42 w 916"/>
                <a:gd name="T25" fmla="*/ 482 h 631"/>
                <a:gd name="T26" fmla="*/ 16 w 916"/>
                <a:gd name="T27" fmla="*/ 420 h 631"/>
                <a:gd name="T28" fmla="*/ 16 w 916"/>
                <a:gd name="T29" fmla="*/ 399 h 631"/>
                <a:gd name="T30" fmla="*/ 5 w 916"/>
                <a:gd name="T31" fmla="*/ 371 h 631"/>
                <a:gd name="T32" fmla="*/ 31 w 916"/>
                <a:gd name="T33" fmla="*/ 342 h 631"/>
                <a:gd name="T34" fmla="*/ 75 w 916"/>
                <a:gd name="T35" fmla="*/ 255 h 631"/>
                <a:gd name="T36" fmla="*/ 139 w 916"/>
                <a:gd name="T37" fmla="*/ 243 h 631"/>
                <a:gd name="T38" fmla="*/ 151 w 916"/>
                <a:gd name="T39" fmla="*/ 238 h 631"/>
                <a:gd name="T40" fmla="*/ 220 w 916"/>
                <a:gd name="T41" fmla="*/ 222 h 631"/>
                <a:gd name="T42" fmla="*/ 328 w 916"/>
                <a:gd name="T43" fmla="*/ 177 h 631"/>
                <a:gd name="T44" fmla="*/ 323 w 916"/>
                <a:gd name="T45" fmla="*/ 149 h 631"/>
                <a:gd name="T46" fmla="*/ 394 w 916"/>
                <a:gd name="T47" fmla="*/ 132 h 631"/>
                <a:gd name="T48" fmla="*/ 425 w 916"/>
                <a:gd name="T49" fmla="*/ 127 h 631"/>
                <a:gd name="T50" fmla="*/ 479 w 916"/>
                <a:gd name="T51" fmla="*/ 78 h 631"/>
                <a:gd name="T52" fmla="*/ 501 w 916"/>
                <a:gd name="T53" fmla="*/ 66 h 631"/>
                <a:gd name="T54" fmla="*/ 508 w 916"/>
                <a:gd name="T55" fmla="*/ 33 h 631"/>
                <a:gd name="T56" fmla="*/ 593 w 916"/>
                <a:gd name="T57" fmla="*/ 12 h 631"/>
                <a:gd name="T58" fmla="*/ 647 w 916"/>
                <a:gd name="T59" fmla="*/ 90 h 631"/>
                <a:gd name="T60" fmla="*/ 642 w 916"/>
                <a:gd name="T61" fmla="*/ 132 h 631"/>
                <a:gd name="T62" fmla="*/ 642 w 916"/>
                <a:gd name="T63" fmla="*/ 149 h 631"/>
                <a:gd name="T64" fmla="*/ 685 w 916"/>
                <a:gd name="T65" fmla="*/ 168 h 631"/>
                <a:gd name="T66" fmla="*/ 685 w 916"/>
                <a:gd name="T67" fmla="*/ 184 h 631"/>
                <a:gd name="T68" fmla="*/ 723 w 916"/>
                <a:gd name="T69" fmla="*/ 205 h 631"/>
                <a:gd name="T70" fmla="*/ 760 w 916"/>
                <a:gd name="T71" fmla="*/ 234 h 631"/>
                <a:gd name="T72" fmla="*/ 756 w 916"/>
                <a:gd name="T73" fmla="*/ 255 h 631"/>
                <a:gd name="T74" fmla="*/ 810 w 916"/>
                <a:gd name="T75" fmla="*/ 293 h 631"/>
                <a:gd name="T76" fmla="*/ 841 w 916"/>
                <a:gd name="T77" fmla="*/ 316 h 631"/>
                <a:gd name="T78" fmla="*/ 848 w 916"/>
                <a:gd name="T79" fmla="*/ 349 h 631"/>
                <a:gd name="T80" fmla="*/ 869 w 916"/>
                <a:gd name="T81" fmla="*/ 366 h 631"/>
                <a:gd name="T82" fmla="*/ 902 w 916"/>
                <a:gd name="T83" fmla="*/ 399 h 631"/>
                <a:gd name="T84" fmla="*/ 916 w 916"/>
                <a:gd name="T85" fmla="*/ 437 h 631"/>
                <a:gd name="T86" fmla="*/ 869 w 916"/>
                <a:gd name="T87" fmla="*/ 437 h 631"/>
                <a:gd name="T88" fmla="*/ 848 w 916"/>
                <a:gd name="T89" fmla="*/ 437 h 631"/>
                <a:gd name="T90" fmla="*/ 810 w 916"/>
                <a:gd name="T91" fmla="*/ 420 h 631"/>
                <a:gd name="T92" fmla="*/ 772 w 916"/>
                <a:gd name="T93" fmla="*/ 411 h 631"/>
                <a:gd name="T94" fmla="*/ 723 w 916"/>
                <a:gd name="T95" fmla="*/ 444 h 631"/>
                <a:gd name="T96" fmla="*/ 701 w 916"/>
                <a:gd name="T97" fmla="*/ 437 h 631"/>
                <a:gd name="T98" fmla="*/ 631 w 916"/>
                <a:gd name="T99" fmla="*/ 465 h 631"/>
                <a:gd name="T100" fmla="*/ 576 w 916"/>
                <a:gd name="T101" fmla="*/ 477 h 631"/>
                <a:gd name="T102" fmla="*/ 572 w 916"/>
                <a:gd name="T103" fmla="*/ 494 h 631"/>
                <a:gd name="T104" fmla="*/ 517 w 916"/>
                <a:gd name="T105" fmla="*/ 494 h 631"/>
                <a:gd name="T106" fmla="*/ 463 w 916"/>
                <a:gd name="T107" fmla="*/ 477 h 631"/>
                <a:gd name="T108" fmla="*/ 425 w 916"/>
                <a:gd name="T109" fmla="*/ 465 h 631"/>
                <a:gd name="T110" fmla="*/ 425 w 916"/>
                <a:gd name="T111" fmla="*/ 465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16" h="631">
                  <a:moveTo>
                    <a:pt x="425" y="465"/>
                  </a:moveTo>
                  <a:lnTo>
                    <a:pt x="416" y="453"/>
                  </a:lnTo>
                  <a:lnTo>
                    <a:pt x="378" y="427"/>
                  </a:lnTo>
                  <a:lnTo>
                    <a:pt x="345" y="427"/>
                  </a:lnTo>
                  <a:lnTo>
                    <a:pt x="323" y="444"/>
                  </a:lnTo>
                  <a:lnTo>
                    <a:pt x="302" y="482"/>
                  </a:lnTo>
                  <a:lnTo>
                    <a:pt x="290" y="482"/>
                  </a:lnTo>
                  <a:lnTo>
                    <a:pt x="302" y="510"/>
                  </a:lnTo>
                  <a:lnTo>
                    <a:pt x="290" y="548"/>
                  </a:lnTo>
                  <a:lnTo>
                    <a:pt x="286" y="531"/>
                  </a:lnTo>
                  <a:lnTo>
                    <a:pt x="260" y="548"/>
                  </a:lnTo>
                  <a:lnTo>
                    <a:pt x="260" y="536"/>
                  </a:lnTo>
                  <a:lnTo>
                    <a:pt x="236" y="536"/>
                  </a:lnTo>
                  <a:lnTo>
                    <a:pt x="236" y="536"/>
                  </a:lnTo>
                  <a:lnTo>
                    <a:pt x="215" y="531"/>
                  </a:lnTo>
                  <a:lnTo>
                    <a:pt x="205" y="536"/>
                  </a:lnTo>
                  <a:lnTo>
                    <a:pt x="151" y="536"/>
                  </a:lnTo>
                  <a:lnTo>
                    <a:pt x="144" y="572"/>
                  </a:lnTo>
                  <a:lnTo>
                    <a:pt x="144" y="593"/>
                  </a:lnTo>
                  <a:lnTo>
                    <a:pt x="123" y="631"/>
                  </a:lnTo>
                  <a:lnTo>
                    <a:pt x="113" y="621"/>
                  </a:lnTo>
                  <a:lnTo>
                    <a:pt x="113" y="588"/>
                  </a:lnTo>
                  <a:lnTo>
                    <a:pt x="59" y="531"/>
                  </a:lnTo>
                  <a:lnTo>
                    <a:pt x="42" y="510"/>
                  </a:lnTo>
                  <a:lnTo>
                    <a:pt x="54" y="510"/>
                  </a:lnTo>
                  <a:lnTo>
                    <a:pt x="42" y="482"/>
                  </a:lnTo>
                  <a:lnTo>
                    <a:pt x="21" y="465"/>
                  </a:lnTo>
                  <a:lnTo>
                    <a:pt x="16" y="420"/>
                  </a:lnTo>
                  <a:lnTo>
                    <a:pt x="5" y="411"/>
                  </a:lnTo>
                  <a:lnTo>
                    <a:pt x="16" y="399"/>
                  </a:lnTo>
                  <a:lnTo>
                    <a:pt x="16" y="371"/>
                  </a:lnTo>
                  <a:lnTo>
                    <a:pt x="5" y="371"/>
                  </a:lnTo>
                  <a:lnTo>
                    <a:pt x="0" y="366"/>
                  </a:lnTo>
                  <a:lnTo>
                    <a:pt x="31" y="342"/>
                  </a:lnTo>
                  <a:lnTo>
                    <a:pt x="54" y="276"/>
                  </a:lnTo>
                  <a:lnTo>
                    <a:pt x="75" y="255"/>
                  </a:lnTo>
                  <a:lnTo>
                    <a:pt x="106" y="255"/>
                  </a:lnTo>
                  <a:lnTo>
                    <a:pt x="139" y="243"/>
                  </a:lnTo>
                  <a:lnTo>
                    <a:pt x="151" y="234"/>
                  </a:lnTo>
                  <a:lnTo>
                    <a:pt x="151" y="238"/>
                  </a:lnTo>
                  <a:lnTo>
                    <a:pt x="168" y="255"/>
                  </a:lnTo>
                  <a:lnTo>
                    <a:pt x="220" y="222"/>
                  </a:lnTo>
                  <a:lnTo>
                    <a:pt x="290" y="217"/>
                  </a:lnTo>
                  <a:lnTo>
                    <a:pt x="328" y="177"/>
                  </a:lnTo>
                  <a:lnTo>
                    <a:pt x="312" y="160"/>
                  </a:lnTo>
                  <a:lnTo>
                    <a:pt x="323" y="149"/>
                  </a:lnTo>
                  <a:lnTo>
                    <a:pt x="383" y="144"/>
                  </a:lnTo>
                  <a:lnTo>
                    <a:pt x="394" y="132"/>
                  </a:lnTo>
                  <a:lnTo>
                    <a:pt x="416" y="144"/>
                  </a:lnTo>
                  <a:lnTo>
                    <a:pt x="425" y="127"/>
                  </a:lnTo>
                  <a:lnTo>
                    <a:pt x="449" y="123"/>
                  </a:lnTo>
                  <a:lnTo>
                    <a:pt x="479" y="78"/>
                  </a:lnTo>
                  <a:lnTo>
                    <a:pt x="486" y="78"/>
                  </a:lnTo>
                  <a:lnTo>
                    <a:pt x="501" y="66"/>
                  </a:lnTo>
                  <a:lnTo>
                    <a:pt x="508" y="57"/>
                  </a:lnTo>
                  <a:lnTo>
                    <a:pt x="508" y="33"/>
                  </a:lnTo>
                  <a:lnTo>
                    <a:pt x="562" y="0"/>
                  </a:lnTo>
                  <a:lnTo>
                    <a:pt x="593" y="12"/>
                  </a:lnTo>
                  <a:lnTo>
                    <a:pt x="626" y="40"/>
                  </a:lnTo>
                  <a:lnTo>
                    <a:pt x="647" y="90"/>
                  </a:lnTo>
                  <a:lnTo>
                    <a:pt x="647" y="127"/>
                  </a:lnTo>
                  <a:lnTo>
                    <a:pt x="642" y="132"/>
                  </a:lnTo>
                  <a:lnTo>
                    <a:pt x="631" y="144"/>
                  </a:lnTo>
                  <a:lnTo>
                    <a:pt x="642" y="149"/>
                  </a:lnTo>
                  <a:lnTo>
                    <a:pt x="642" y="168"/>
                  </a:lnTo>
                  <a:lnTo>
                    <a:pt x="685" y="168"/>
                  </a:lnTo>
                  <a:lnTo>
                    <a:pt x="697" y="177"/>
                  </a:lnTo>
                  <a:lnTo>
                    <a:pt x="685" y="184"/>
                  </a:lnTo>
                  <a:lnTo>
                    <a:pt x="685" y="201"/>
                  </a:lnTo>
                  <a:lnTo>
                    <a:pt x="723" y="205"/>
                  </a:lnTo>
                  <a:lnTo>
                    <a:pt x="751" y="234"/>
                  </a:lnTo>
                  <a:lnTo>
                    <a:pt x="760" y="234"/>
                  </a:lnTo>
                  <a:lnTo>
                    <a:pt x="760" y="243"/>
                  </a:lnTo>
                  <a:lnTo>
                    <a:pt x="756" y="255"/>
                  </a:lnTo>
                  <a:lnTo>
                    <a:pt x="756" y="255"/>
                  </a:lnTo>
                  <a:lnTo>
                    <a:pt x="810" y="293"/>
                  </a:lnTo>
                  <a:lnTo>
                    <a:pt x="815" y="300"/>
                  </a:lnTo>
                  <a:lnTo>
                    <a:pt x="841" y="316"/>
                  </a:lnTo>
                  <a:lnTo>
                    <a:pt x="831" y="333"/>
                  </a:lnTo>
                  <a:lnTo>
                    <a:pt x="848" y="349"/>
                  </a:lnTo>
                  <a:lnTo>
                    <a:pt x="841" y="354"/>
                  </a:lnTo>
                  <a:lnTo>
                    <a:pt x="869" y="366"/>
                  </a:lnTo>
                  <a:lnTo>
                    <a:pt x="895" y="383"/>
                  </a:lnTo>
                  <a:lnTo>
                    <a:pt x="902" y="399"/>
                  </a:lnTo>
                  <a:lnTo>
                    <a:pt x="902" y="411"/>
                  </a:lnTo>
                  <a:lnTo>
                    <a:pt x="916" y="437"/>
                  </a:lnTo>
                  <a:lnTo>
                    <a:pt x="886" y="420"/>
                  </a:lnTo>
                  <a:lnTo>
                    <a:pt x="869" y="437"/>
                  </a:lnTo>
                  <a:lnTo>
                    <a:pt x="864" y="427"/>
                  </a:lnTo>
                  <a:lnTo>
                    <a:pt x="848" y="437"/>
                  </a:lnTo>
                  <a:lnTo>
                    <a:pt x="827" y="420"/>
                  </a:lnTo>
                  <a:lnTo>
                    <a:pt x="810" y="420"/>
                  </a:lnTo>
                  <a:lnTo>
                    <a:pt x="777" y="411"/>
                  </a:lnTo>
                  <a:lnTo>
                    <a:pt x="772" y="411"/>
                  </a:lnTo>
                  <a:lnTo>
                    <a:pt x="760" y="437"/>
                  </a:lnTo>
                  <a:lnTo>
                    <a:pt x="723" y="444"/>
                  </a:lnTo>
                  <a:lnTo>
                    <a:pt x="701" y="427"/>
                  </a:lnTo>
                  <a:lnTo>
                    <a:pt x="701" y="437"/>
                  </a:lnTo>
                  <a:lnTo>
                    <a:pt x="642" y="460"/>
                  </a:lnTo>
                  <a:lnTo>
                    <a:pt x="631" y="465"/>
                  </a:lnTo>
                  <a:lnTo>
                    <a:pt x="593" y="453"/>
                  </a:lnTo>
                  <a:lnTo>
                    <a:pt x="576" y="477"/>
                  </a:lnTo>
                  <a:lnTo>
                    <a:pt x="572" y="477"/>
                  </a:lnTo>
                  <a:lnTo>
                    <a:pt x="572" y="494"/>
                  </a:lnTo>
                  <a:lnTo>
                    <a:pt x="555" y="498"/>
                  </a:lnTo>
                  <a:lnTo>
                    <a:pt x="517" y="494"/>
                  </a:lnTo>
                  <a:lnTo>
                    <a:pt x="479" y="494"/>
                  </a:lnTo>
                  <a:lnTo>
                    <a:pt x="463" y="477"/>
                  </a:lnTo>
                  <a:lnTo>
                    <a:pt x="432" y="482"/>
                  </a:lnTo>
                  <a:lnTo>
                    <a:pt x="425" y="465"/>
                  </a:lnTo>
                  <a:lnTo>
                    <a:pt x="425" y="465"/>
                  </a:lnTo>
                  <a:lnTo>
                    <a:pt x="425" y="46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99" name="Freeform 423">
              <a:extLst>
                <a:ext uri="{FF2B5EF4-FFF2-40B4-BE49-F238E27FC236}">
                  <a16:creationId xmlns:a16="http://schemas.microsoft.com/office/drawing/2014/main" id="{1ABE71B7-7DBD-4CDD-BDD1-E3146C21AE58}"/>
                </a:ext>
              </a:extLst>
            </p:cNvPr>
            <p:cNvSpPr>
              <a:spLocks noEditPoints="1"/>
            </p:cNvSpPr>
            <p:nvPr/>
          </p:nvSpPr>
          <p:spPr bwMode="gray">
            <a:xfrm>
              <a:off x="5995933" y="3551240"/>
              <a:ext cx="75748" cy="70815"/>
            </a:xfrm>
            <a:custGeom>
              <a:avLst/>
              <a:gdLst>
                <a:gd name="T0" fmla="*/ 0 w 184"/>
                <a:gd name="T1" fmla="*/ 19 h 172"/>
                <a:gd name="T2" fmla="*/ 0 w 184"/>
                <a:gd name="T3" fmla="*/ 7 h 172"/>
                <a:gd name="T4" fmla="*/ 16 w 184"/>
                <a:gd name="T5" fmla="*/ 0 h 172"/>
                <a:gd name="T6" fmla="*/ 21 w 184"/>
                <a:gd name="T7" fmla="*/ 7 h 172"/>
                <a:gd name="T8" fmla="*/ 0 w 184"/>
                <a:gd name="T9" fmla="*/ 19 h 172"/>
                <a:gd name="T10" fmla="*/ 0 w 184"/>
                <a:gd name="T11" fmla="*/ 19 h 172"/>
                <a:gd name="T12" fmla="*/ 0 w 184"/>
                <a:gd name="T13" fmla="*/ 19 h 172"/>
                <a:gd name="T14" fmla="*/ 21 w 184"/>
                <a:gd name="T15" fmla="*/ 28 h 172"/>
                <a:gd name="T16" fmla="*/ 16 w 184"/>
                <a:gd name="T17" fmla="*/ 23 h 172"/>
                <a:gd name="T18" fmla="*/ 21 w 184"/>
                <a:gd name="T19" fmla="*/ 19 h 172"/>
                <a:gd name="T20" fmla="*/ 33 w 184"/>
                <a:gd name="T21" fmla="*/ 23 h 172"/>
                <a:gd name="T22" fmla="*/ 21 w 184"/>
                <a:gd name="T23" fmla="*/ 28 h 172"/>
                <a:gd name="T24" fmla="*/ 21 w 184"/>
                <a:gd name="T25" fmla="*/ 28 h 172"/>
                <a:gd name="T26" fmla="*/ 21 w 184"/>
                <a:gd name="T27" fmla="*/ 28 h 172"/>
                <a:gd name="T28" fmla="*/ 71 w 184"/>
                <a:gd name="T29" fmla="*/ 45 h 172"/>
                <a:gd name="T30" fmla="*/ 59 w 184"/>
                <a:gd name="T31" fmla="*/ 40 h 172"/>
                <a:gd name="T32" fmla="*/ 92 w 184"/>
                <a:gd name="T33" fmla="*/ 45 h 172"/>
                <a:gd name="T34" fmla="*/ 71 w 184"/>
                <a:gd name="T35" fmla="*/ 40 h 172"/>
                <a:gd name="T36" fmla="*/ 71 w 184"/>
                <a:gd name="T37" fmla="*/ 45 h 172"/>
                <a:gd name="T38" fmla="*/ 71 w 184"/>
                <a:gd name="T39" fmla="*/ 45 h 172"/>
                <a:gd name="T40" fmla="*/ 71 w 184"/>
                <a:gd name="T41" fmla="*/ 45 h 172"/>
                <a:gd name="T42" fmla="*/ 179 w 184"/>
                <a:gd name="T43" fmla="*/ 85 h 172"/>
                <a:gd name="T44" fmla="*/ 163 w 184"/>
                <a:gd name="T45" fmla="*/ 85 h 172"/>
                <a:gd name="T46" fmla="*/ 179 w 184"/>
                <a:gd name="T47" fmla="*/ 73 h 172"/>
                <a:gd name="T48" fmla="*/ 184 w 184"/>
                <a:gd name="T49" fmla="*/ 78 h 172"/>
                <a:gd name="T50" fmla="*/ 179 w 184"/>
                <a:gd name="T51" fmla="*/ 85 h 172"/>
                <a:gd name="T52" fmla="*/ 179 w 184"/>
                <a:gd name="T53" fmla="*/ 85 h 172"/>
                <a:gd name="T54" fmla="*/ 179 w 184"/>
                <a:gd name="T55" fmla="*/ 85 h 172"/>
                <a:gd name="T56" fmla="*/ 125 w 184"/>
                <a:gd name="T57" fmla="*/ 167 h 172"/>
                <a:gd name="T58" fmla="*/ 109 w 184"/>
                <a:gd name="T59" fmla="*/ 156 h 172"/>
                <a:gd name="T60" fmla="*/ 118 w 184"/>
                <a:gd name="T61" fmla="*/ 139 h 172"/>
                <a:gd name="T62" fmla="*/ 130 w 184"/>
                <a:gd name="T63" fmla="*/ 156 h 172"/>
                <a:gd name="T64" fmla="*/ 125 w 184"/>
                <a:gd name="T65" fmla="*/ 167 h 172"/>
                <a:gd name="T66" fmla="*/ 125 w 184"/>
                <a:gd name="T67" fmla="*/ 167 h 172"/>
                <a:gd name="T68" fmla="*/ 125 w 184"/>
                <a:gd name="T69" fmla="*/ 167 h 172"/>
                <a:gd name="T70" fmla="*/ 59 w 184"/>
                <a:gd name="T71" fmla="*/ 172 h 172"/>
                <a:gd name="T72" fmla="*/ 54 w 184"/>
                <a:gd name="T73" fmla="*/ 167 h 172"/>
                <a:gd name="T74" fmla="*/ 59 w 184"/>
                <a:gd name="T75" fmla="*/ 156 h 172"/>
                <a:gd name="T76" fmla="*/ 71 w 184"/>
                <a:gd name="T77" fmla="*/ 167 h 172"/>
                <a:gd name="T78" fmla="*/ 59 w 184"/>
                <a:gd name="T79" fmla="*/ 172 h 172"/>
                <a:gd name="T80" fmla="*/ 59 w 184"/>
                <a:gd name="T81" fmla="*/ 172 h 172"/>
                <a:gd name="T82" fmla="*/ 59 w 184"/>
                <a:gd name="T8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4" h="172">
                  <a:moveTo>
                    <a:pt x="0" y="19"/>
                  </a:moveTo>
                  <a:lnTo>
                    <a:pt x="0" y="7"/>
                  </a:lnTo>
                  <a:lnTo>
                    <a:pt x="16" y="0"/>
                  </a:lnTo>
                  <a:lnTo>
                    <a:pt x="21" y="7"/>
                  </a:lnTo>
                  <a:lnTo>
                    <a:pt x="0" y="19"/>
                  </a:lnTo>
                  <a:lnTo>
                    <a:pt x="0" y="19"/>
                  </a:lnTo>
                  <a:lnTo>
                    <a:pt x="0" y="19"/>
                  </a:lnTo>
                  <a:close/>
                  <a:moveTo>
                    <a:pt x="21" y="28"/>
                  </a:moveTo>
                  <a:lnTo>
                    <a:pt x="16" y="23"/>
                  </a:lnTo>
                  <a:lnTo>
                    <a:pt x="21" y="19"/>
                  </a:lnTo>
                  <a:lnTo>
                    <a:pt x="33" y="23"/>
                  </a:lnTo>
                  <a:lnTo>
                    <a:pt x="21" y="28"/>
                  </a:lnTo>
                  <a:lnTo>
                    <a:pt x="21" y="28"/>
                  </a:lnTo>
                  <a:lnTo>
                    <a:pt x="21" y="28"/>
                  </a:lnTo>
                  <a:close/>
                  <a:moveTo>
                    <a:pt x="71" y="45"/>
                  </a:moveTo>
                  <a:lnTo>
                    <a:pt x="59" y="40"/>
                  </a:lnTo>
                  <a:lnTo>
                    <a:pt x="92" y="45"/>
                  </a:lnTo>
                  <a:lnTo>
                    <a:pt x="71" y="40"/>
                  </a:lnTo>
                  <a:lnTo>
                    <a:pt x="71" y="45"/>
                  </a:lnTo>
                  <a:lnTo>
                    <a:pt x="71" y="45"/>
                  </a:lnTo>
                  <a:lnTo>
                    <a:pt x="71" y="45"/>
                  </a:lnTo>
                  <a:close/>
                  <a:moveTo>
                    <a:pt x="179" y="85"/>
                  </a:moveTo>
                  <a:lnTo>
                    <a:pt x="163" y="85"/>
                  </a:lnTo>
                  <a:lnTo>
                    <a:pt x="179" y="73"/>
                  </a:lnTo>
                  <a:lnTo>
                    <a:pt x="184" y="78"/>
                  </a:lnTo>
                  <a:lnTo>
                    <a:pt x="179" y="85"/>
                  </a:lnTo>
                  <a:lnTo>
                    <a:pt x="179" y="85"/>
                  </a:lnTo>
                  <a:lnTo>
                    <a:pt x="179" y="85"/>
                  </a:lnTo>
                  <a:close/>
                  <a:moveTo>
                    <a:pt x="125" y="167"/>
                  </a:moveTo>
                  <a:lnTo>
                    <a:pt x="109" y="156"/>
                  </a:lnTo>
                  <a:lnTo>
                    <a:pt x="118" y="139"/>
                  </a:lnTo>
                  <a:lnTo>
                    <a:pt x="130" y="156"/>
                  </a:lnTo>
                  <a:lnTo>
                    <a:pt x="125" y="167"/>
                  </a:lnTo>
                  <a:lnTo>
                    <a:pt x="125" y="167"/>
                  </a:lnTo>
                  <a:lnTo>
                    <a:pt x="125" y="167"/>
                  </a:lnTo>
                  <a:close/>
                  <a:moveTo>
                    <a:pt x="59" y="172"/>
                  </a:moveTo>
                  <a:lnTo>
                    <a:pt x="54" y="167"/>
                  </a:lnTo>
                  <a:lnTo>
                    <a:pt x="59" y="156"/>
                  </a:lnTo>
                  <a:lnTo>
                    <a:pt x="71" y="167"/>
                  </a:lnTo>
                  <a:lnTo>
                    <a:pt x="59" y="172"/>
                  </a:lnTo>
                  <a:lnTo>
                    <a:pt x="59" y="172"/>
                  </a:lnTo>
                  <a:lnTo>
                    <a:pt x="59" y="17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00" name="Freeform 424">
              <a:extLst>
                <a:ext uri="{FF2B5EF4-FFF2-40B4-BE49-F238E27FC236}">
                  <a16:creationId xmlns:a16="http://schemas.microsoft.com/office/drawing/2014/main" id="{E3A472D1-D788-478D-B56B-1082EC95185A}"/>
                </a:ext>
              </a:extLst>
            </p:cNvPr>
            <p:cNvSpPr>
              <a:spLocks/>
            </p:cNvSpPr>
            <p:nvPr/>
          </p:nvSpPr>
          <p:spPr bwMode="gray">
            <a:xfrm>
              <a:off x="7655787" y="2960016"/>
              <a:ext cx="66280" cy="36644"/>
            </a:xfrm>
            <a:custGeom>
              <a:avLst/>
              <a:gdLst>
                <a:gd name="T0" fmla="*/ 71 w 161"/>
                <a:gd name="T1" fmla="*/ 77 h 89"/>
                <a:gd name="T2" fmla="*/ 64 w 161"/>
                <a:gd name="T3" fmla="*/ 77 h 89"/>
                <a:gd name="T4" fmla="*/ 54 w 161"/>
                <a:gd name="T5" fmla="*/ 89 h 89"/>
                <a:gd name="T6" fmla="*/ 50 w 161"/>
                <a:gd name="T7" fmla="*/ 77 h 89"/>
                <a:gd name="T8" fmla="*/ 17 w 161"/>
                <a:gd name="T9" fmla="*/ 77 h 89"/>
                <a:gd name="T10" fmla="*/ 0 w 161"/>
                <a:gd name="T11" fmla="*/ 49 h 89"/>
                <a:gd name="T12" fmla="*/ 17 w 161"/>
                <a:gd name="T13" fmla="*/ 56 h 89"/>
                <a:gd name="T14" fmla="*/ 33 w 161"/>
                <a:gd name="T15" fmla="*/ 40 h 89"/>
                <a:gd name="T16" fmla="*/ 50 w 161"/>
                <a:gd name="T17" fmla="*/ 40 h 89"/>
                <a:gd name="T18" fmla="*/ 50 w 161"/>
                <a:gd name="T19" fmla="*/ 21 h 89"/>
                <a:gd name="T20" fmla="*/ 102 w 161"/>
                <a:gd name="T21" fmla="*/ 21 h 89"/>
                <a:gd name="T22" fmla="*/ 161 w 161"/>
                <a:gd name="T23" fmla="*/ 0 h 89"/>
                <a:gd name="T24" fmla="*/ 118 w 161"/>
                <a:gd name="T25" fmla="*/ 33 h 89"/>
                <a:gd name="T26" fmla="*/ 118 w 161"/>
                <a:gd name="T27" fmla="*/ 40 h 89"/>
                <a:gd name="T28" fmla="*/ 132 w 161"/>
                <a:gd name="T29" fmla="*/ 56 h 89"/>
                <a:gd name="T30" fmla="*/ 102 w 161"/>
                <a:gd name="T31" fmla="*/ 56 h 89"/>
                <a:gd name="T32" fmla="*/ 102 w 161"/>
                <a:gd name="T33" fmla="*/ 73 h 89"/>
                <a:gd name="T34" fmla="*/ 71 w 161"/>
                <a:gd name="T35" fmla="*/ 77 h 89"/>
                <a:gd name="T36" fmla="*/ 71 w 161"/>
                <a:gd name="T37" fmla="*/ 77 h 89"/>
                <a:gd name="T38" fmla="*/ 71 w 161"/>
                <a:gd name="T39" fmla="*/ 7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1" h="89">
                  <a:moveTo>
                    <a:pt x="71" y="77"/>
                  </a:moveTo>
                  <a:lnTo>
                    <a:pt x="64" y="77"/>
                  </a:lnTo>
                  <a:lnTo>
                    <a:pt x="54" y="89"/>
                  </a:lnTo>
                  <a:lnTo>
                    <a:pt x="50" y="77"/>
                  </a:lnTo>
                  <a:lnTo>
                    <a:pt x="17" y="77"/>
                  </a:lnTo>
                  <a:lnTo>
                    <a:pt x="0" y="49"/>
                  </a:lnTo>
                  <a:lnTo>
                    <a:pt x="17" y="56"/>
                  </a:lnTo>
                  <a:lnTo>
                    <a:pt x="33" y="40"/>
                  </a:lnTo>
                  <a:lnTo>
                    <a:pt x="50" y="40"/>
                  </a:lnTo>
                  <a:lnTo>
                    <a:pt x="50" y="21"/>
                  </a:lnTo>
                  <a:lnTo>
                    <a:pt x="102" y="21"/>
                  </a:lnTo>
                  <a:lnTo>
                    <a:pt x="161" y="0"/>
                  </a:lnTo>
                  <a:lnTo>
                    <a:pt x="118" y="33"/>
                  </a:lnTo>
                  <a:lnTo>
                    <a:pt x="118" y="40"/>
                  </a:lnTo>
                  <a:lnTo>
                    <a:pt x="132" y="56"/>
                  </a:lnTo>
                  <a:lnTo>
                    <a:pt x="102" y="56"/>
                  </a:lnTo>
                  <a:lnTo>
                    <a:pt x="102" y="73"/>
                  </a:lnTo>
                  <a:lnTo>
                    <a:pt x="71" y="77"/>
                  </a:lnTo>
                  <a:lnTo>
                    <a:pt x="71" y="77"/>
                  </a:lnTo>
                  <a:lnTo>
                    <a:pt x="71" y="7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01" name="Freeform 426">
              <a:extLst>
                <a:ext uri="{FF2B5EF4-FFF2-40B4-BE49-F238E27FC236}">
                  <a16:creationId xmlns:a16="http://schemas.microsoft.com/office/drawing/2014/main" id="{E4CC27E0-6E47-4935-B0E5-4CF829A601DC}"/>
                </a:ext>
              </a:extLst>
            </p:cNvPr>
            <p:cNvSpPr>
              <a:spLocks/>
            </p:cNvSpPr>
            <p:nvPr/>
          </p:nvSpPr>
          <p:spPr bwMode="gray">
            <a:xfrm>
              <a:off x="7934076" y="3684225"/>
              <a:ext cx="45695" cy="56405"/>
            </a:xfrm>
            <a:custGeom>
              <a:avLst/>
              <a:gdLst>
                <a:gd name="T0" fmla="*/ 73 w 111"/>
                <a:gd name="T1" fmla="*/ 126 h 137"/>
                <a:gd name="T2" fmla="*/ 56 w 111"/>
                <a:gd name="T3" fmla="*/ 121 h 137"/>
                <a:gd name="T4" fmla="*/ 14 w 111"/>
                <a:gd name="T5" fmla="*/ 137 h 137"/>
                <a:gd name="T6" fmla="*/ 0 w 111"/>
                <a:gd name="T7" fmla="*/ 126 h 137"/>
                <a:gd name="T8" fmla="*/ 0 w 111"/>
                <a:gd name="T9" fmla="*/ 92 h 137"/>
                <a:gd name="T10" fmla="*/ 0 w 111"/>
                <a:gd name="T11" fmla="*/ 71 h 137"/>
                <a:gd name="T12" fmla="*/ 35 w 111"/>
                <a:gd name="T13" fmla="*/ 26 h 137"/>
                <a:gd name="T14" fmla="*/ 42 w 111"/>
                <a:gd name="T15" fmla="*/ 17 h 137"/>
                <a:gd name="T16" fmla="*/ 56 w 111"/>
                <a:gd name="T17" fmla="*/ 33 h 137"/>
                <a:gd name="T18" fmla="*/ 68 w 111"/>
                <a:gd name="T19" fmla="*/ 26 h 137"/>
                <a:gd name="T20" fmla="*/ 68 w 111"/>
                <a:gd name="T21" fmla="*/ 17 h 137"/>
                <a:gd name="T22" fmla="*/ 89 w 111"/>
                <a:gd name="T23" fmla="*/ 0 h 137"/>
                <a:gd name="T24" fmla="*/ 106 w 111"/>
                <a:gd name="T25" fmla="*/ 26 h 137"/>
                <a:gd name="T26" fmla="*/ 111 w 111"/>
                <a:gd name="T27" fmla="*/ 55 h 137"/>
                <a:gd name="T28" fmla="*/ 78 w 111"/>
                <a:gd name="T29" fmla="*/ 71 h 137"/>
                <a:gd name="T30" fmla="*/ 68 w 111"/>
                <a:gd name="T31" fmla="*/ 71 h 137"/>
                <a:gd name="T32" fmla="*/ 56 w 111"/>
                <a:gd name="T33" fmla="*/ 88 h 137"/>
                <a:gd name="T34" fmla="*/ 42 w 111"/>
                <a:gd name="T35" fmla="*/ 88 h 137"/>
                <a:gd name="T36" fmla="*/ 52 w 111"/>
                <a:gd name="T37" fmla="*/ 92 h 137"/>
                <a:gd name="T38" fmla="*/ 73 w 111"/>
                <a:gd name="T39" fmla="*/ 88 h 137"/>
                <a:gd name="T40" fmla="*/ 89 w 111"/>
                <a:gd name="T41" fmla="*/ 88 h 137"/>
                <a:gd name="T42" fmla="*/ 94 w 111"/>
                <a:gd name="T43" fmla="*/ 92 h 137"/>
                <a:gd name="T44" fmla="*/ 73 w 111"/>
                <a:gd name="T45" fmla="*/ 126 h 137"/>
                <a:gd name="T46" fmla="*/ 73 w 111"/>
                <a:gd name="T47" fmla="*/ 126 h 137"/>
                <a:gd name="T48" fmla="*/ 73 w 111"/>
                <a:gd name="T49" fmla="*/ 12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1" h="137">
                  <a:moveTo>
                    <a:pt x="73" y="126"/>
                  </a:moveTo>
                  <a:lnTo>
                    <a:pt x="56" y="121"/>
                  </a:lnTo>
                  <a:lnTo>
                    <a:pt x="14" y="137"/>
                  </a:lnTo>
                  <a:lnTo>
                    <a:pt x="0" y="126"/>
                  </a:lnTo>
                  <a:lnTo>
                    <a:pt x="0" y="92"/>
                  </a:lnTo>
                  <a:lnTo>
                    <a:pt x="0" y="71"/>
                  </a:lnTo>
                  <a:lnTo>
                    <a:pt x="35" y="26"/>
                  </a:lnTo>
                  <a:lnTo>
                    <a:pt x="42" y="17"/>
                  </a:lnTo>
                  <a:lnTo>
                    <a:pt x="56" y="33"/>
                  </a:lnTo>
                  <a:lnTo>
                    <a:pt x="68" y="26"/>
                  </a:lnTo>
                  <a:lnTo>
                    <a:pt x="68" y="17"/>
                  </a:lnTo>
                  <a:lnTo>
                    <a:pt x="89" y="0"/>
                  </a:lnTo>
                  <a:lnTo>
                    <a:pt x="106" y="26"/>
                  </a:lnTo>
                  <a:lnTo>
                    <a:pt x="111" y="55"/>
                  </a:lnTo>
                  <a:lnTo>
                    <a:pt x="78" y="71"/>
                  </a:lnTo>
                  <a:lnTo>
                    <a:pt x="68" y="71"/>
                  </a:lnTo>
                  <a:lnTo>
                    <a:pt x="56" y="88"/>
                  </a:lnTo>
                  <a:lnTo>
                    <a:pt x="42" y="88"/>
                  </a:lnTo>
                  <a:lnTo>
                    <a:pt x="52" y="92"/>
                  </a:lnTo>
                  <a:lnTo>
                    <a:pt x="73" y="88"/>
                  </a:lnTo>
                  <a:lnTo>
                    <a:pt x="89" y="88"/>
                  </a:lnTo>
                  <a:lnTo>
                    <a:pt x="94" y="92"/>
                  </a:lnTo>
                  <a:lnTo>
                    <a:pt x="73" y="126"/>
                  </a:lnTo>
                  <a:lnTo>
                    <a:pt x="73" y="126"/>
                  </a:lnTo>
                  <a:lnTo>
                    <a:pt x="73" y="1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02" name="Freeform 430">
              <a:extLst>
                <a:ext uri="{FF2B5EF4-FFF2-40B4-BE49-F238E27FC236}">
                  <a16:creationId xmlns:a16="http://schemas.microsoft.com/office/drawing/2014/main" id="{01E69989-4047-41E5-BC4F-FC45A2AECA51}"/>
                </a:ext>
              </a:extLst>
            </p:cNvPr>
            <p:cNvSpPr>
              <a:spLocks/>
            </p:cNvSpPr>
            <p:nvPr/>
          </p:nvSpPr>
          <p:spPr bwMode="gray">
            <a:xfrm>
              <a:off x="7440895" y="3095882"/>
              <a:ext cx="348273" cy="305494"/>
            </a:xfrm>
            <a:custGeom>
              <a:avLst/>
              <a:gdLst>
                <a:gd name="T0" fmla="*/ 468 w 846"/>
                <a:gd name="T1" fmla="*/ 742 h 742"/>
                <a:gd name="T2" fmla="*/ 468 w 846"/>
                <a:gd name="T3" fmla="*/ 725 h 742"/>
                <a:gd name="T4" fmla="*/ 17 w 846"/>
                <a:gd name="T5" fmla="*/ 742 h 742"/>
                <a:gd name="T6" fmla="*/ 17 w 846"/>
                <a:gd name="T7" fmla="*/ 189 h 742"/>
                <a:gd name="T8" fmla="*/ 17 w 846"/>
                <a:gd name="T9" fmla="*/ 66 h 742"/>
                <a:gd name="T10" fmla="*/ 31 w 846"/>
                <a:gd name="T11" fmla="*/ 0 h 742"/>
                <a:gd name="T12" fmla="*/ 38 w 846"/>
                <a:gd name="T13" fmla="*/ 10 h 742"/>
                <a:gd name="T14" fmla="*/ 177 w 846"/>
                <a:gd name="T15" fmla="*/ 21 h 742"/>
                <a:gd name="T16" fmla="*/ 198 w 846"/>
                <a:gd name="T17" fmla="*/ 38 h 742"/>
                <a:gd name="T18" fmla="*/ 224 w 846"/>
                <a:gd name="T19" fmla="*/ 45 h 742"/>
                <a:gd name="T20" fmla="*/ 300 w 846"/>
                <a:gd name="T21" fmla="*/ 62 h 742"/>
                <a:gd name="T22" fmla="*/ 371 w 846"/>
                <a:gd name="T23" fmla="*/ 21 h 742"/>
                <a:gd name="T24" fmla="*/ 387 w 846"/>
                <a:gd name="T25" fmla="*/ 29 h 742"/>
                <a:gd name="T26" fmla="*/ 404 w 846"/>
                <a:gd name="T27" fmla="*/ 10 h 742"/>
                <a:gd name="T28" fmla="*/ 409 w 846"/>
                <a:gd name="T29" fmla="*/ 21 h 742"/>
                <a:gd name="T30" fmla="*/ 446 w 846"/>
                <a:gd name="T31" fmla="*/ 10 h 742"/>
                <a:gd name="T32" fmla="*/ 480 w 846"/>
                <a:gd name="T33" fmla="*/ 10 h 742"/>
                <a:gd name="T34" fmla="*/ 522 w 846"/>
                <a:gd name="T35" fmla="*/ 29 h 742"/>
                <a:gd name="T36" fmla="*/ 494 w 846"/>
                <a:gd name="T37" fmla="*/ 29 h 742"/>
                <a:gd name="T38" fmla="*/ 510 w 846"/>
                <a:gd name="T39" fmla="*/ 29 h 742"/>
                <a:gd name="T40" fmla="*/ 532 w 846"/>
                <a:gd name="T41" fmla="*/ 38 h 742"/>
                <a:gd name="T42" fmla="*/ 555 w 846"/>
                <a:gd name="T43" fmla="*/ 45 h 742"/>
                <a:gd name="T44" fmla="*/ 586 w 846"/>
                <a:gd name="T45" fmla="*/ 45 h 742"/>
                <a:gd name="T46" fmla="*/ 628 w 846"/>
                <a:gd name="T47" fmla="*/ 38 h 742"/>
                <a:gd name="T48" fmla="*/ 673 w 846"/>
                <a:gd name="T49" fmla="*/ 29 h 742"/>
                <a:gd name="T50" fmla="*/ 699 w 846"/>
                <a:gd name="T51" fmla="*/ 177 h 742"/>
                <a:gd name="T52" fmla="*/ 678 w 846"/>
                <a:gd name="T53" fmla="*/ 260 h 742"/>
                <a:gd name="T54" fmla="*/ 661 w 846"/>
                <a:gd name="T55" fmla="*/ 305 h 742"/>
                <a:gd name="T56" fmla="*/ 591 w 846"/>
                <a:gd name="T57" fmla="*/ 244 h 742"/>
                <a:gd name="T58" fmla="*/ 565 w 846"/>
                <a:gd name="T59" fmla="*/ 170 h 742"/>
                <a:gd name="T60" fmla="*/ 532 w 846"/>
                <a:gd name="T61" fmla="*/ 166 h 742"/>
                <a:gd name="T62" fmla="*/ 555 w 846"/>
                <a:gd name="T63" fmla="*/ 222 h 742"/>
                <a:gd name="T64" fmla="*/ 619 w 846"/>
                <a:gd name="T65" fmla="*/ 288 h 742"/>
                <a:gd name="T66" fmla="*/ 607 w 846"/>
                <a:gd name="T67" fmla="*/ 298 h 742"/>
                <a:gd name="T68" fmla="*/ 640 w 846"/>
                <a:gd name="T69" fmla="*/ 343 h 742"/>
                <a:gd name="T70" fmla="*/ 645 w 846"/>
                <a:gd name="T71" fmla="*/ 388 h 742"/>
                <a:gd name="T72" fmla="*/ 725 w 846"/>
                <a:gd name="T73" fmla="*/ 553 h 742"/>
                <a:gd name="T74" fmla="*/ 754 w 846"/>
                <a:gd name="T75" fmla="*/ 598 h 742"/>
                <a:gd name="T76" fmla="*/ 763 w 846"/>
                <a:gd name="T77" fmla="*/ 671 h 742"/>
                <a:gd name="T78" fmla="*/ 801 w 846"/>
                <a:gd name="T79" fmla="*/ 692 h 742"/>
                <a:gd name="T80" fmla="*/ 846 w 846"/>
                <a:gd name="T81" fmla="*/ 742 h 742"/>
                <a:gd name="T82" fmla="*/ 846 w 846"/>
                <a:gd name="T83" fmla="*/ 74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6" h="742">
                  <a:moveTo>
                    <a:pt x="846" y="742"/>
                  </a:moveTo>
                  <a:lnTo>
                    <a:pt x="468" y="742"/>
                  </a:lnTo>
                  <a:lnTo>
                    <a:pt x="480" y="737"/>
                  </a:lnTo>
                  <a:lnTo>
                    <a:pt x="468" y="725"/>
                  </a:lnTo>
                  <a:lnTo>
                    <a:pt x="458" y="742"/>
                  </a:lnTo>
                  <a:lnTo>
                    <a:pt x="17" y="742"/>
                  </a:lnTo>
                  <a:lnTo>
                    <a:pt x="17" y="314"/>
                  </a:lnTo>
                  <a:lnTo>
                    <a:pt x="17" y="189"/>
                  </a:lnTo>
                  <a:lnTo>
                    <a:pt x="0" y="116"/>
                  </a:lnTo>
                  <a:lnTo>
                    <a:pt x="17" y="66"/>
                  </a:lnTo>
                  <a:lnTo>
                    <a:pt x="9" y="21"/>
                  </a:lnTo>
                  <a:lnTo>
                    <a:pt x="31" y="0"/>
                  </a:lnTo>
                  <a:lnTo>
                    <a:pt x="31" y="5"/>
                  </a:lnTo>
                  <a:lnTo>
                    <a:pt x="38" y="10"/>
                  </a:lnTo>
                  <a:lnTo>
                    <a:pt x="85" y="0"/>
                  </a:lnTo>
                  <a:lnTo>
                    <a:pt x="177" y="21"/>
                  </a:lnTo>
                  <a:lnTo>
                    <a:pt x="189" y="29"/>
                  </a:lnTo>
                  <a:lnTo>
                    <a:pt x="198" y="38"/>
                  </a:lnTo>
                  <a:lnTo>
                    <a:pt x="215" y="29"/>
                  </a:lnTo>
                  <a:lnTo>
                    <a:pt x="224" y="45"/>
                  </a:lnTo>
                  <a:lnTo>
                    <a:pt x="253" y="45"/>
                  </a:lnTo>
                  <a:lnTo>
                    <a:pt x="300" y="62"/>
                  </a:lnTo>
                  <a:lnTo>
                    <a:pt x="333" y="55"/>
                  </a:lnTo>
                  <a:lnTo>
                    <a:pt x="371" y="21"/>
                  </a:lnTo>
                  <a:lnTo>
                    <a:pt x="376" y="29"/>
                  </a:lnTo>
                  <a:lnTo>
                    <a:pt x="387" y="29"/>
                  </a:lnTo>
                  <a:lnTo>
                    <a:pt x="392" y="5"/>
                  </a:lnTo>
                  <a:lnTo>
                    <a:pt x="404" y="10"/>
                  </a:lnTo>
                  <a:lnTo>
                    <a:pt x="442" y="5"/>
                  </a:lnTo>
                  <a:lnTo>
                    <a:pt x="409" y="21"/>
                  </a:lnTo>
                  <a:lnTo>
                    <a:pt x="430" y="10"/>
                  </a:lnTo>
                  <a:lnTo>
                    <a:pt x="446" y="10"/>
                  </a:lnTo>
                  <a:lnTo>
                    <a:pt x="442" y="5"/>
                  </a:lnTo>
                  <a:lnTo>
                    <a:pt x="480" y="10"/>
                  </a:lnTo>
                  <a:lnTo>
                    <a:pt x="501" y="5"/>
                  </a:lnTo>
                  <a:lnTo>
                    <a:pt x="522" y="29"/>
                  </a:lnTo>
                  <a:lnTo>
                    <a:pt x="501" y="5"/>
                  </a:lnTo>
                  <a:lnTo>
                    <a:pt x="494" y="29"/>
                  </a:lnTo>
                  <a:lnTo>
                    <a:pt x="501" y="38"/>
                  </a:lnTo>
                  <a:lnTo>
                    <a:pt x="510" y="29"/>
                  </a:lnTo>
                  <a:lnTo>
                    <a:pt x="517" y="45"/>
                  </a:lnTo>
                  <a:lnTo>
                    <a:pt x="532" y="38"/>
                  </a:lnTo>
                  <a:lnTo>
                    <a:pt x="522" y="29"/>
                  </a:lnTo>
                  <a:lnTo>
                    <a:pt x="555" y="45"/>
                  </a:lnTo>
                  <a:lnTo>
                    <a:pt x="586" y="38"/>
                  </a:lnTo>
                  <a:lnTo>
                    <a:pt x="586" y="45"/>
                  </a:lnTo>
                  <a:lnTo>
                    <a:pt x="607" y="38"/>
                  </a:lnTo>
                  <a:lnTo>
                    <a:pt x="628" y="38"/>
                  </a:lnTo>
                  <a:lnTo>
                    <a:pt x="661" y="21"/>
                  </a:lnTo>
                  <a:lnTo>
                    <a:pt x="673" y="29"/>
                  </a:lnTo>
                  <a:lnTo>
                    <a:pt x="711" y="170"/>
                  </a:lnTo>
                  <a:lnTo>
                    <a:pt x="699" y="177"/>
                  </a:lnTo>
                  <a:lnTo>
                    <a:pt x="695" y="227"/>
                  </a:lnTo>
                  <a:lnTo>
                    <a:pt x="678" y="260"/>
                  </a:lnTo>
                  <a:lnTo>
                    <a:pt x="678" y="281"/>
                  </a:lnTo>
                  <a:lnTo>
                    <a:pt x="661" y="305"/>
                  </a:lnTo>
                  <a:lnTo>
                    <a:pt x="628" y="281"/>
                  </a:lnTo>
                  <a:lnTo>
                    <a:pt x="591" y="244"/>
                  </a:lnTo>
                  <a:lnTo>
                    <a:pt x="591" y="206"/>
                  </a:lnTo>
                  <a:lnTo>
                    <a:pt x="565" y="170"/>
                  </a:lnTo>
                  <a:lnTo>
                    <a:pt x="548" y="121"/>
                  </a:lnTo>
                  <a:lnTo>
                    <a:pt x="532" y="166"/>
                  </a:lnTo>
                  <a:lnTo>
                    <a:pt x="548" y="177"/>
                  </a:lnTo>
                  <a:lnTo>
                    <a:pt x="555" y="222"/>
                  </a:lnTo>
                  <a:lnTo>
                    <a:pt x="586" y="265"/>
                  </a:lnTo>
                  <a:lnTo>
                    <a:pt x="619" y="288"/>
                  </a:lnTo>
                  <a:lnTo>
                    <a:pt x="619" y="298"/>
                  </a:lnTo>
                  <a:lnTo>
                    <a:pt x="607" y="298"/>
                  </a:lnTo>
                  <a:lnTo>
                    <a:pt x="607" y="314"/>
                  </a:lnTo>
                  <a:lnTo>
                    <a:pt x="640" y="343"/>
                  </a:lnTo>
                  <a:lnTo>
                    <a:pt x="645" y="371"/>
                  </a:lnTo>
                  <a:lnTo>
                    <a:pt x="645" y="388"/>
                  </a:lnTo>
                  <a:lnTo>
                    <a:pt x="683" y="466"/>
                  </a:lnTo>
                  <a:lnTo>
                    <a:pt x="725" y="553"/>
                  </a:lnTo>
                  <a:lnTo>
                    <a:pt x="780" y="598"/>
                  </a:lnTo>
                  <a:lnTo>
                    <a:pt x="754" y="598"/>
                  </a:lnTo>
                  <a:lnTo>
                    <a:pt x="754" y="631"/>
                  </a:lnTo>
                  <a:lnTo>
                    <a:pt x="763" y="671"/>
                  </a:lnTo>
                  <a:lnTo>
                    <a:pt x="780" y="688"/>
                  </a:lnTo>
                  <a:lnTo>
                    <a:pt x="801" y="692"/>
                  </a:lnTo>
                  <a:lnTo>
                    <a:pt x="824" y="721"/>
                  </a:lnTo>
                  <a:lnTo>
                    <a:pt x="846" y="742"/>
                  </a:lnTo>
                  <a:lnTo>
                    <a:pt x="846" y="742"/>
                  </a:lnTo>
                  <a:lnTo>
                    <a:pt x="846" y="74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03" name="Freeform 432">
              <a:extLst>
                <a:ext uri="{FF2B5EF4-FFF2-40B4-BE49-F238E27FC236}">
                  <a16:creationId xmlns:a16="http://schemas.microsoft.com/office/drawing/2014/main" id="{7D67C35F-F174-43EB-A55D-67AF18E5FE99}"/>
                </a:ext>
              </a:extLst>
            </p:cNvPr>
            <p:cNvSpPr>
              <a:spLocks noEditPoints="1"/>
            </p:cNvSpPr>
            <p:nvPr/>
          </p:nvSpPr>
          <p:spPr bwMode="gray">
            <a:xfrm>
              <a:off x="6971179" y="3955546"/>
              <a:ext cx="82746" cy="81931"/>
            </a:xfrm>
            <a:custGeom>
              <a:avLst/>
              <a:gdLst>
                <a:gd name="T0" fmla="*/ 26 w 201"/>
                <a:gd name="T1" fmla="*/ 17 h 199"/>
                <a:gd name="T2" fmla="*/ 14 w 201"/>
                <a:gd name="T3" fmla="*/ 41 h 199"/>
                <a:gd name="T4" fmla="*/ 0 w 201"/>
                <a:gd name="T5" fmla="*/ 33 h 199"/>
                <a:gd name="T6" fmla="*/ 0 w 201"/>
                <a:gd name="T7" fmla="*/ 17 h 199"/>
                <a:gd name="T8" fmla="*/ 5 w 201"/>
                <a:gd name="T9" fmla="*/ 17 h 199"/>
                <a:gd name="T10" fmla="*/ 14 w 201"/>
                <a:gd name="T11" fmla="*/ 0 h 199"/>
                <a:gd name="T12" fmla="*/ 26 w 201"/>
                <a:gd name="T13" fmla="*/ 0 h 199"/>
                <a:gd name="T14" fmla="*/ 26 w 201"/>
                <a:gd name="T15" fmla="*/ 17 h 199"/>
                <a:gd name="T16" fmla="*/ 26 w 201"/>
                <a:gd name="T17" fmla="*/ 17 h 199"/>
                <a:gd name="T18" fmla="*/ 26 w 201"/>
                <a:gd name="T19" fmla="*/ 17 h 199"/>
                <a:gd name="T20" fmla="*/ 92 w 201"/>
                <a:gd name="T21" fmla="*/ 95 h 199"/>
                <a:gd name="T22" fmla="*/ 109 w 201"/>
                <a:gd name="T23" fmla="*/ 111 h 199"/>
                <a:gd name="T24" fmla="*/ 201 w 201"/>
                <a:gd name="T25" fmla="*/ 111 h 199"/>
                <a:gd name="T26" fmla="*/ 201 w 201"/>
                <a:gd name="T27" fmla="*/ 199 h 199"/>
                <a:gd name="T28" fmla="*/ 109 w 201"/>
                <a:gd name="T29" fmla="*/ 199 h 199"/>
                <a:gd name="T30" fmla="*/ 97 w 201"/>
                <a:gd name="T31" fmla="*/ 199 h 199"/>
                <a:gd name="T32" fmla="*/ 92 w 201"/>
                <a:gd name="T33" fmla="*/ 199 h 199"/>
                <a:gd name="T34" fmla="*/ 92 w 201"/>
                <a:gd name="T35" fmla="*/ 187 h 199"/>
                <a:gd name="T36" fmla="*/ 76 w 201"/>
                <a:gd name="T37" fmla="*/ 187 h 199"/>
                <a:gd name="T38" fmla="*/ 59 w 201"/>
                <a:gd name="T39" fmla="*/ 182 h 199"/>
                <a:gd name="T40" fmla="*/ 92 w 201"/>
                <a:gd name="T41" fmla="*/ 128 h 199"/>
                <a:gd name="T42" fmla="*/ 92 w 201"/>
                <a:gd name="T43" fmla="*/ 95 h 199"/>
                <a:gd name="T44" fmla="*/ 92 w 201"/>
                <a:gd name="T45" fmla="*/ 95 h 199"/>
                <a:gd name="T46" fmla="*/ 92 w 201"/>
                <a:gd name="T47" fmla="*/ 9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1" h="199">
                  <a:moveTo>
                    <a:pt x="26" y="17"/>
                  </a:moveTo>
                  <a:lnTo>
                    <a:pt x="14" y="41"/>
                  </a:lnTo>
                  <a:lnTo>
                    <a:pt x="0" y="33"/>
                  </a:lnTo>
                  <a:lnTo>
                    <a:pt x="0" y="17"/>
                  </a:lnTo>
                  <a:lnTo>
                    <a:pt x="5" y="17"/>
                  </a:lnTo>
                  <a:lnTo>
                    <a:pt x="14" y="0"/>
                  </a:lnTo>
                  <a:lnTo>
                    <a:pt x="26" y="0"/>
                  </a:lnTo>
                  <a:lnTo>
                    <a:pt x="26" y="17"/>
                  </a:lnTo>
                  <a:lnTo>
                    <a:pt x="26" y="17"/>
                  </a:lnTo>
                  <a:lnTo>
                    <a:pt x="26" y="17"/>
                  </a:lnTo>
                  <a:close/>
                  <a:moveTo>
                    <a:pt x="92" y="95"/>
                  </a:moveTo>
                  <a:lnTo>
                    <a:pt x="109" y="111"/>
                  </a:lnTo>
                  <a:lnTo>
                    <a:pt x="201" y="111"/>
                  </a:lnTo>
                  <a:lnTo>
                    <a:pt x="201" y="199"/>
                  </a:lnTo>
                  <a:lnTo>
                    <a:pt x="109" y="199"/>
                  </a:lnTo>
                  <a:lnTo>
                    <a:pt x="97" y="199"/>
                  </a:lnTo>
                  <a:lnTo>
                    <a:pt x="92" y="199"/>
                  </a:lnTo>
                  <a:lnTo>
                    <a:pt x="92" y="187"/>
                  </a:lnTo>
                  <a:lnTo>
                    <a:pt x="76" y="187"/>
                  </a:lnTo>
                  <a:lnTo>
                    <a:pt x="59" y="182"/>
                  </a:lnTo>
                  <a:lnTo>
                    <a:pt x="92" y="128"/>
                  </a:lnTo>
                  <a:lnTo>
                    <a:pt x="92" y="95"/>
                  </a:lnTo>
                  <a:lnTo>
                    <a:pt x="92" y="95"/>
                  </a:lnTo>
                  <a:lnTo>
                    <a:pt x="92" y="9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04" name="Freeform 434">
              <a:extLst>
                <a:ext uri="{FF2B5EF4-FFF2-40B4-BE49-F238E27FC236}">
                  <a16:creationId xmlns:a16="http://schemas.microsoft.com/office/drawing/2014/main" id="{5EAC60CF-7E7F-4664-9127-276B503A8655}"/>
                </a:ext>
              </a:extLst>
            </p:cNvPr>
            <p:cNvSpPr>
              <a:spLocks noEditPoints="1"/>
            </p:cNvSpPr>
            <p:nvPr/>
          </p:nvSpPr>
          <p:spPr bwMode="gray">
            <a:xfrm>
              <a:off x="7778465" y="3524890"/>
              <a:ext cx="192250" cy="172921"/>
            </a:xfrm>
            <a:custGeom>
              <a:avLst/>
              <a:gdLst>
                <a:gd name="T0" fmla="*/ 446 w 467"/>
                <a:gd name="T1" fmla="*/ 404 h 420"/>
                <a:gd name="T2" fmla="*/ 434 w 467"/>
                <a:gd name="T3" fmla="*/ 420 h 420"/>
                <a:gd name="T4" fmla="*/ 413 w 467"/>
                <a:gd name="T5" fmla="*/ 416 h 420"/>
                <a:gd name="T6" fmla="*/ 380 w 467"/>
                <a:gd name="T7" fmla="*/ 383 h 420"/>
                <a:gd name="T8" fmla="*/ 338 w 467"/>
                <a:gd name="T9" fmla="*/ 326 h 420"/>
                <a:gd name="T10" fmla="*/ 269 w 467"/>
                <a:gd name="T11" fmla="*/ 260 h 420"/>
                <a:gd name="T12" fmla="*/ 215 w 467"/>
                <a:gd name="T13" fmla="*/ 255 h 420"/>
                <a:gd name="T14" fmla="*/ 182 w 467"/>
                <a:gd name="T15" fmla="*/ 250 h 420"/>
                <a:gd name="T16" fmla="*/ 144 w 467"/>
                <a:gd name="T17" fmla="*/ 272 h 420"/>
                <a:gd name="T18" fmla="*/ 113 w 467"/>
                <a:gd name="T19" fmla="*/ 250 h 420"/>
                <a:gd name="T20" fmla="*/ 80 w 467"/>
                <a:gd name="T21" fmla="*/ 293 h 420"/>
                <a:gd name="T22" fmla="*/ 52 w 467"/>
                <a:gd name="T23" fmla="*/ 272 h 420"/>
                <a:gd name="T24" fmla="*/ 26 w 467"/>
                <a:gd name="T25" fmla="*/ 272 h 420"/>
                <a:gd name="T26" fmla="*/ 0 w 467"/>
                <a:gd name="T27" fmla="*/ 217 h 420"/>
                <a:gd name="T28" fmla="*/ 26 w 467"/>
                <a:gd name="T29" fmla="*/ 111 h 420"/>
                <a:gd name="T30" fmla="*/ 38 w 467"/>
                <a:gd name="T31" fmla="*/ 73 h 420"/>
                <a:gd name="T32" fmla="*/ 75 w 467"/>
                <a:gd name="T33" fmla="*/ 57 h 420"/>
                <a:gd name="T34" fmla="*/ 127 w 467"/>
                <a:gd name="T35" fmla="*/ 40 h 420"/>
                <a:gd name="T36" fmla="*/ 182 w 467"/>
                <a:gd name="T37" fmla="*/ 66 h 420"/>
                <a:gd name="T38" fmla="*/ 203 w 467"/>
                <a:gd name="T39" fmla="*/ 168 h 420"/>
                <a:gd name="T40" fmla="*/ 219 w 467"/>
                <a:gd name="T41" fmla="*/ 194 h 420"/>
                <a:gd name="T42" fmla="*/ 236 w 467"/>
                <a:gd name="T43" fmla="*/ 222 h 420"/>
                <a:gd name="T44" fmla="*/ 236 w 467"/>
                <a:gd name="T45" fmla="*/ 201 h 420"/>
                <a:gd name="T46" fmla="*/ 257 w 467"/>
                <a:gd name="T47" fmla="*/ 222 h 420"/>
                <a:gd name="T48" fmla="*/ 283 w 467"/>
                <a:gd name="T49" fmla="*/ 222 h 420"/>
                <a:gd name="T50" fmla="*/ 304 w 467"/>
                <a:gd name="T51" fmla="*/ 250 h 420"/>
                <a:gd name="T52" fmla="*/ 366 w 467"/>
                <a:gd name="T53" fmla="*/ 305 h 420"/>
                <a:gd name="T54" fmla="*/ 397 w 467"/>
                <a:gd name="T55" fmla="*/ 326 h 420"/>
                <a:gd name="T56" fmla="*/ 401 w 467"/>
                <a:gd name="T57" fmla="*/ 326 h 420"/>
                <a:gd name="T58" fmla="*/ 434 w 467"/>
                <a:gd name="T59" fmla="*/ 366 h 420"/>
                <a:gd name="T60" fmla="*/ 451 w 467"/>
                <a:gd name="T61" fmla="*/ 387 h 420"/>
                <a:gd name="T62" fmla="*/ 467 w 467"/>
                <a:gd name="T63" fmla="*/ 387 h 420"/>
                <a:gd name="T64" fmla="*/ 467 w 467"/>
                <a:gd name="T65" fmla="*/ 387 h 420"/>
                <a:gd name="T66" fmla="*/ 252 w 467"/>
                <a:gd name="T67" fmla="*/ 144 h 420"/>
                <a:gd name="T68" fmla="*/ 257 w 467"/>
                <a:gd name="T69" fmla="*/ 149 h 420"/>
                <a:gd name="T70" fmla="*/ 252 w 467"/>
                <a:gd name="T71" fmla="*/ 149 h 420"/>
                <a:gd name="T72" fmla="*/ 252 w 467"/>
                <a:gd name="T73" fmla="*/ 161 h 420"/>
                <a:gd name="T74" fmla="*/ 257 w 467"/>
                <a:gd name="T75" fmla="*/ 177 h 420"/>
                <a:gd name="T76" fmla="*/ 274 w 467"/>
                <a:gd name="T77" fmla="*/ 184 h 420"/>
                <a:gd name="T78" fmla="*/ 241 w 467"/>
                <a:gd name="T79" fmla="*/ 177 h 420"/>
                <a:gd name="T80" fmla="*/ 241 w 467"/>
                <a:gd name="T81" fmla="*/ 168 h 420"/>
                <a:gd name="T82" fmla="*/ 252 w 467"/>
                <a:gd name="T83" fmla="*/ 161 h 420"/>
                <a:gd name="T84" fmla="*/ 252 w 467"/>
                <a:gd name="T85" fmla="*/ 161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7" h="420">
                  <a:moveTo>
                    <a:pt x="467" y="387"/>
                  </a:moveTo>
                  <a:lnTo>
                    <a:pt x="446" y="404"/>
                  </a:lnTo>
                  <a:lnTo>
                    <a:pt x="446" y="416"/>
                  </a:lnTo>
                  <a:lnTo>
                    <a:pt x="434" y="420"/>
                  </a:lnTo>
                  <a:lnTo>
                    <a:pt x="418" y="404"/>
                  </a:lnTo>
                  <a:lnTo>
                    <a:pt x="413" y="416"/>
                  </a:lnTo>
                  <a:lnTo>
                    <a:pt x="401" y="387"/>
                  </a:lnTo>
                  <a:lnTo>
                    <a:pt x="380" y="383"/>
                  </a:lnTo>
                  <a:lnTo>
                    <a:pt x="375" y="359"/>
                  </a:lnTo>
                  <a:lnTo>
                    <a:pt x="338" y="326"/>
                  </a:lnTo>
                  <a:lnTo>
                    <a:pt x="304" y="288"/>
                  </a:lnTo>
                  <a:lnTo>
                    <a:pt x="269" y="260"/>
                  </a:lnTo>
                  <a:lnTo>
                    <a:pt x="241" y="272"/>
                  </a:lnTo>
                  <a:lnTo>
                    <a:pt x="215" y="255"/>
                  </a:lnTo>
                  <a:lnTo>
                    <a:pt x="198" y="260"/>
                  </a:lnTo>
                  <a:lnTo>
                    <a:pt x="182" y="250"/>
                  </a:lnTo>
                  <a:lnTo>
                    <a:pt x="177" y="260"/>
                  </a:lnTo>
                  <a:lnTo>
                    <a:pt x="144" y="272"/>
                  </a:lnTo>
                  <a:lnTo>
                    <a:pt x="127" y="250"/>
                  </a:lnTo>
                  <a:lnTo>
                    <a:pt x="113" y="250"/>
                  </a:lnTo>
                  <a:lnTo>
                    <a:pt x="106" y="234"/>
                  </a:lnTo>
                  <a:lnTo>
                    <a:pt x="80" y="293"/>
                  </a:lnTo>
                  <a:lnTo>
                    <a:pt x="59" y="260"/>
                  </a:lnTo>
                  <a:lnTo>
                    <a:pt x="52" y="272"/>
                  </a:lnTo>
                  <a:lnTo>
                    <a:pt x="38" y="276"/>
                  </a:lnTo>
                  <a:lnTo>
                    <a:pt x="26" y="272"/>
                  </a:lnTo>
                  <a:lnTo>
                    <a:pt x="4" y="276"/>
                  </a:lnTo>
                  <a:lnTo>
                    <a:pt x="0" y="217"/>
                  </a:lnTo>
                  <a:lnTo>
                    <a:pt x="38" y="127"/>
                  </a:lnTo>
                  <a:lnTo>
                    <a:pt x="26" y="111"/>
                  </a:lnTo>
                  <a:lnTo>
                    <a:pt x="38" y="94"/>
                  </a:lnTo>
                  <a:lnTo>
                    <a:pt x="38" y="73"/>
                  </a:lnTo>
                  <a:lnTo>
                    <a:pt x="68" y="73"/>
                  </a:lnTo>
                  <a:lnTo>
                    <a:pt x="75" y="57"/>
                  </a:lnTo>
                  <a:lnTo>
                    <a:pt x="113" y="33"/>
                  </a:lnTo>
                  <a:lnTo>
                    <a:pt x="127" y="40"/>
                  </a:lnTo>
                  <a:lnTo>
                    <a:pt x="149" y="0"/>
                  </a:lnTo>
                  <a:lnTo>
                    <a:pt x="182" y="66"/>
                  </a:lnTo>
                  <a:lnTo>
                    <a:pt x="198" y="149"/>
                  </a:lnTo>
                  <a:lnTo>
                    <a:pt x="203" y="168"/>
                  </a:lnTo>
                  <a:lnTo>
                    <a:pt x="215" y="184"/>
                  </a:lnTo>
                  <a:lnTo>
                    <a:pt x="219" y="194"/>
                  </a:lnTo>
                  <a:lnTo>
                    <a:pt x="231" y="217"/>
                  </a:lnTo>
                  <a:lnTo>
                    <a:pt x="236" y="222"/>
                  </a:lnTo>
                  <a:lnTo>
                    <a:pt x="236" y="217"/>
                  </a:lnTo>
                  <a:lnTo>
                    <a:pt x="236" y="201"/>
                  </a:lnTo>
                  <a:lnTo>
                    <a:pt x="241" y="194"/>
                  </a:lnTo>
                  <a:lnTo>
                    <a:pt x="257" y="222"/>
                  </a:lnTo>
                  <a:lnTo>
                    <a:pt x="269" y="234"/>
                  </a:lnTo>
                  <a:lnTo>
                    <a:pt x="283" y="222"/>
                  </a:lnTo>
                  <a:lnTo>
                    <a:pt x="295" y="234"/>
                  </a:lnTo>
                  <a:lnTo>
                    <a:pt x="304" y="250"/>
                  </a:lnTo>
                  <a:lnTo>
                    <a:pt x="328" y="255"/>
                  </a:lnTo>
                  <a:lnTo>
                    <a:pt x="366" y="305"/>
                  </a:lnTo>
                  <a:lnTo>
                    <a:pt x="380" y="309"/>
                  </a:lnTo>
                  <a:lnTo>
                    <a:pt x="397" y="326"/>
                  </a:lnTo>
                  <a:lnTo>
                    <a:pt x="397" y="326"/>
                  </a:lnTo>
                  <a:lnTo>
                    <a:pt x="401" y="326"/>
                  </a:lnTo>
                  <a:lnTo>
                    <a:pt x="413" y="359"/>
                  </a:lnTo>
                  <a:lnTo>
                    <a:pt x="434" y="366"/>
                  </a:lnTo>
                  <a:lnTo>
                    <a:pt x="446" y="383"/>
                  </a:lnTo>
                  <a:lnTo>
                    <a:pt x="451" y="387"/>
                  </a:lnTo>
                  <a:lnTo>
                    <a:pt x="456" y="383"/>
                  </a:lnTo>
                  <a:lnTo>
                    <a:pt x="467" y="387"/>
                  </a:lnTo>
                  <a:lnTo>
                    <a:pt x="467" y="387"/>
                  </a:lnTo>
                  <a:lnTo>
                    <a:pt x="467" y="387"/>
                  </a:lnTo>
                  <a:close/>
                  <a:moveTo>
                    <a:pt x="252" y="149"/>
                  </a:moveTo>
                  <a:lnTo>
                    <a:pt x="252" y="144"/>
                  </a:lnTo>
                  <a:lnTo>
                    <a:pt x="257" y="144"/>
                  </a:lnTo>
                  <a:lnTo>
                    <a:pt x="257" y="149"/>
                  </a:lnTo>
                  <a:lnTo>
                    <a:pt x="252" y="149"/>
                  </a:lnTo>
                  <a:lnTo>
                    <a:pt x="252" y="149"/>
                  </a:lnTo>
                  <a:lnTo>
                    <a:pt x="252" y="149"/>
                  </a:lnTo>
                  <a:close/>
                  <a:moveTo>
                    <a:pt x="252" y="161"/>
                  </a:moveTo>
                  <a:lnTo>
                    <a:pt x="257" y="168"/>
                  </a:lnTo>
                  <a:lnTo>
                    <a:pt x="257" y="177"/>
                  </a:lnTo>
                  <a:lnTo>
                    <a:pt x="269" y="177"/>
                  </a:lnTo>
                  <a:lnTo>
                    <a:pt x="274" y="184"/>
                  </a:lnTo>
                  <a:lnTo>
                    <a:pt x="241" y="184"/>
                  </a:lnTo>
                  <a:lnTo>
                    <a:pt x="241" y="177"/>
                  </a:lnTo>
                  <a:lnTo>
                    <a:pt x="252" y="177"/>
                  </a:lnTo>
                  <a:lnTo>
                    <a:pt x="241" y="168"/>
                  </a:lnTo>
                  <a:lnTo>
                    <a:pt x="252" y="168"/>
                  </a:lnTo>
                  <a:lnTo>
                    <a:pt x="252" y="161"/>
                  </a:lnTo>
                  <a:lnTo>
                    <a:pt x="252" y="161"/>
                  </a:lnTo>
                  <a:lnTo>
                    <a:pt x="252" y="16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05" name="Freeform 436">
              <a:extLst>
                <a:ext uri="{FF2B5EF4-FFF2-40B4-BE49-F238E27FC236}">
                  <a16:creationId xmlns:a16="http://schemas.microsoft.com/office/drawing/2014/main" id="{663C5C3C-3103-4249-84D5-C0D1B5D82CDE}"/>
                </a:ext>
              </a:extLst>
            </p:cNvPr>
            <p:cNvSpPr>
              <a:spLocks/>
            </p:cNvSpPr>
            <p:nvPr/>
          </p:nvSpPr>
          <p:spPr bwMode="gray">
            <a:xfrm>
              <a:off x="7677194" y="3619997"/>
              <a:ext cx="434724" cy="345430"/>
            </a:xfrm>
            <a:custGeom>
              <a:avLst/>
              <a:gdLst>
                <a:gd name="T0" fmla="*/ 628 w 1056"/>
                <a:gd name="T1" fmla="*/ 794 h 839"/>
                <a:gd name="T2" fmla="*/ 553 w 1056"/>
                <a:gd name="T3" fmla="*/ 778 h 839"/>
                <a:gd name="T4" fmla="*/ 461 w 1056"/>
                <a:gd name="T5" fmla="*/ 839 h 839"/>
                <a:gd name="T6" fmla="*/ 369 w 1056"/>
                <a:gd name="T7" fmla="*/ 822 h 839"/>
                <a:gd name="T8" fmla="*/ 217 w 1056"/>
                <a:gd name="T9" fmla="*/ 761 h 839"/>
                <a:gd name="T10" fmla="*/ 196 w 1056"/>
                <a:gd name="T11" fmla="*/ 737 h 839"/>
                <a:gd name="T12" fmla="*/ 180 w 1056"/>
                <a:gd name="T13" fmla="*/ 688 h 839"/>
                <a:gd name="T14" fmla="*/ 163 w 1056"/>
                <a:gd name="T15" fmla="*/ 688 h 839"/>
                <a:gd name="T16" fmla="*/ 142 w 1056"/>
                <a:gd name="T17" fmla="*/ 650 h 839"/>
                <a:gd name="T18" fmla="*/ 109 w 1056"/>
                <a:gd name="T19" fmla="*/ 593 h 839"/>
                <a:gd name="T20" fmla="*/ 87 w 1056"/>
                <a:gd name="T21" fmla="*/ 577 h 839"/>
                <a:gd name="T22" fmla="*/ 33 w 1056"/>
                <a:gd name="T23" fmla="*/ 522 h 839"/>
                <a:gd name="T24" fmla="*/ 0 w 1056"/>
                <a:gd name="T25" fmla="*/ 506 h 839"/>
                <a:gd name="T26" fmla="*/ 17 w 1056"/>
                <a:gd name="T27" fmla="*/ 473 h 839"/>
                <a:gd name="T28" fmla="*/ 50 w 1056"/>
                <a:gd name="T29" fmla="*/ 466 h 839"/>
                <a:gd name="T30" fmla="*/ 83 w 1056"/>
                <a:gd name="T31" fmla="*/ 461 h 839"/>
                <a:gd name="T32" fmla="*/ 97 w 1056"/>
                <a:gd name="T33" fmla="*/ 338 h 839"/>
                <a:gd name="T34" fmla="*/ 121 w 1056"/>
                <a:gd name="T35" fmla="*/ 296 h 839"/>
                <a:gd name="T36" fmla="*/ 142 w 1056"/>
                <a:gd name="T37" fmla="*/ 296 h 839"/>
                <a:gd name="T38" fmla="*/ 151 w 1056"/>
                <a:gd name="T39" fmla="*/ 246 h 839"/>
                <a:gd name="T40" fmla="*/ 163 w 1056"/>
                <a:gd name="T41" fmla="*/ 222 h 839"/>
                <a:gd name="T42" fmla="*/ 227 w 1056"/>
                <a:gd name="T43" fmla="*/ 156 h 839"/>
                <a:gd name="T44" fmla="*/ 250 w 1056"/>
                <a:gd name="T45" fmla="*/ 78 h 839"/>
                <a:gd name="T46" fmla="*/ 250 w 1056"/>
                <a:gd name="T47" fmla="*/ 45 h 839"/>
                <a:gd name="T48" fmla="*/ 281 w 1056"/>
                <a:gd name="T49" fmla="*/ 45 h 839"/>
                <a:gd name="T50" fmla="*/ 305 w 1056"/>
                <a:gd name="T51" fmla="*/ 29 h 839"/>
                <a:gd name="T52" fmla="*/ 352 w 1056"/>
                <a:gd name="T53" fmla="*/ 0 h 839"/>
                <a:gd name="T54" fmla="*/ 373 w 1056"/>
                <a:gd name="T55" fmla="*/ 17 h 839"/>
                <a:gd name="T56" fmla="*/ 423 w 1056"/>
                <a:gd name="T57" fmla="*/ 29 h 839"/>
                <a:gd name="T58" fmla="*/ 444 w 1056"/>
                <a:gd name="T59" fmla="*/ 29 h 839"/>
                <a:gd name="T60" fmla="*/ 487 w 1056"/>
                <a:gd name="T61" fmla="*/ 41 h 839"/>
                <a:gd name="T62" fmla="*/ 553 w 1056"/>
                <a:gd name="T63" fmla="*/ 57 h 839"/>
                <a:gd name="T64" fmla="*/ 624 w 1056"/>
                <a:gd name="T65" fmla="*/ 128 h 839"/>
                <a:gd name="T66" fmla="*/ 650 w 1056"/>
                <a:gd name="T67" fmla="*/ 156 h 839"/>
                <a:gd name="T68" fmla="*/ 624 w 1056"/>
                <a:gd name="T69" fmla="*/ 230 h 839"/>
                <a:gd name="T70" fmla="*/ 624 w 1056"/>
                <a:gd name="T71" fmla="*/ 284 h 839"/>
                <a:gd name="T72" fmla="*/ 683 w 1056"/>
                <a:gd name="T73" fmla="*/ 279 h 839"/>
                <a:gd name="T74" fmla="*/ 683 w 1056"/>
                <a:gd name="T75" fmla="*/ 317 h 839"/>
                <a:gd name="T76" fmla="*/ 716 w 1056"/>
                <a:gd name="T77" fmla="*/ 362 h 839"/>
                <a:gd name="T78" fmla="*/ 737 w 1056"/>
                <a:gd name="T79" fmla="*/ 407 h 839"/>
                <a:gd name="T80" fmla="*/ 775 w 1056"/>
                <a:gd name="T81" fmla="*/ 433 h 839"/>
                <a:gd name="T82" fmla="*/ 1056 w 1056"/>
                <a:gd name="T83" fmla="*/ 506 h 839"/>
                <a:gd name="T84" fmla="*/ 775 w 1056"/>
                <a:gd name="T85" fmla="*/ 721 h 839"/>
                <a:gd name="T86" fmla="*/ 716 w 1056"/>
                <a:gd name="T87" fmla="*/ 744 h 839"/>
                <a:gd name="T88" fmla="*/ 640 w 1056"/>
                <a:gd name="T89" fmla="*/ 782 h 839"/>
                <a:gd name="T90" fmla="*/ 640 w 1056"/>
                <a:gd name="T91" fmla="*/ 782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56" h="839">
                  <a:moveTo>
                    <a:pt x="640" y="782"/>
                  </a:moveTo>
                  <a:lnTo>
                    <a:pt x="628" y="794"/>
                  </a:lnTo>
                  <a:lnTo>
                    <a:pt x="574" y="799"/>
                  </a:lnTo>
                  <a:lnTo>
                    <a:pt x="553" y="778"/>
                  </a:lnTo>
                  <a:lnTo>
                    <a:pt x="482" y="799"/>
                  </a:lnTo>
                  <a:lnTo>
                    <a:pt x="461" y="839"/>
                  </a:lnTo>
                  <a:lnTo>
                    <a:pt x="390" y="822"/>
                  </a:lnTo>
                  <a:lnTo>
                    <a:pt x="369" y="822"/>
                  </a:lnTo>
                  <a:lnTo>
                    <a:pt x="288" y="766"/>
                  </a:lnTo>
                  <a:lnTo>
                    <a:pt x="217" y="761"/>
                  </a:lnTo>
                  <a:lnTo>
                    <a:pt x="213" y="749"/>
                  </a:lnTo>
                  <a:lnTo>
                    <a:pt x="196" y="737"/>
                  </a:lnTo>
                  <a:lnTo>
                    <a:pt x="206" y="695"/>
                  </a:lnTo>
                  <a:lnTo>
                    <a:pt x="180" y="688"/>
                  </a:lnTo>
                  <a:lnTo>
                    <a:pt x="163" y="695"/>
                  </a:lnTo>
                  <a:lnTo>
                    <a:pt x="163" y="688"/>
                  </a:lnTo>
                  <a:lnTo>
                    <a:pt x="151" y="671"/>
                  </a:lnTo>
                  <a:lnTo>
                    <a:pt x="142" y="650"/>
                  </a:lnTo>
                  <a:lnTo>
                    <a:pt x="125" y="600"/>
                  </a:lnTo>
                  <a:lnTo>
                    <a:pt x="109" y="593"/>
                  </a:lnTo>
                  <a:lnTo>
                    <a:pt x="104" y="584"/>
                  </a:lnTo>
                  <a:lnTo>
                    <a:pt x="87" y="577"/>
                  </a:lnTo>
                  <a:lnTo>
                    <a:pt x="66" y="539"/>
                  </a:lnTo>
                  <a:lnTo>
                    <a:pt x="33" y="522"/>
                  </a:lnTo>
                  <a:lnTo>
                    <a:pt x="0" y="522"/>
                  </a:lnTo>
                  <a:lnTo>
                    <a:pt x="0" y="506"/>
                  </a:lnTo>
                  <a:lnTo>
                    <a:pt x="17" y="489"/>
                  </a:lnTo>
                  <a:lnTo>
                    <a:pt x="17" y="473"/>
                  </a:lnTo>
                  <a:lnTo>
                    <a:pt x="17" y="473"/>
                  </a:lnTo>
                  <a:lnTo>
                    <a:pt x="50" y="466"/>
                  </a:lnTo>
                  <a:lnTo>
                    <a:pt x="54" y="473"/>
                  </a:lnTo>
                  <a:lnTo>
                    <a:pt x="83" y="461"/>
                  </a:lnTo>
                  <a:lnTo>
                    <a:pt x="83" y="395"/>
                  </a:lnTo>
                  <a:lnTo>
                    <a:pt x="97" y="338"/>
                  </a:lnTo>
                  <a:lnTo>
                    <a:pt x="97" y="317"/>
                  </a:lnTo>
                  <a:lnTo>
                    <a:pt x="121" y="296"/>
                  </a:lnTo>
                  <a:lnTo>
                    <a:pt x="135" y="305"/>
                  </a:lnTo>
                  <a:lnTo>
                    <a:pt x="142" y="296"/>
                  </a:lnTo>
                  <a:lnTo>
                    <a:pt x="142" y="267"/>
                  </a:lnTo>
                  <a:lnTo>
                    <a:pt x="151" y="246"/>
                  </a:lnTo>
                  <a:lnTo>
                    <a:pt x="151" y="230"/>
                  </a:lnTo>
                  <a:lnTo>
                    <a:pt x="163" y="222"/>
                  </a:lnTo>
                  <a:lnTo>
                    <a:pt x="196" y="168"/>
                  </a:lnTo>
                  <a:lnTo>
                    <a:pt x="227" y="156"/>
                  </a:lnTo>
                  <a:lnTo>
                    <a:pt x="227" y="135"/>
                  </a:lnTo>
                  <a:lnTo>
                    <a:pt x="250" y="78"/>
                  </a:lnTo>
                  <a:lnTo>
                    <a:pt x="243" y="74"/>
                  </a:lnTo>
                  <a:lnTo>
                    <a:pt x="250" y="45"/>
                  </a:lnTo>
                  <a:lnTo>
                    <a:pt x="272" y="41"/>
                  </a:lnTo>
                  <a:lnTo>
                    <a:pt x="281" y="45"/>
                  </a:lnTo>
                  <a:lnTo>
                    <a:pt x="298" y="41"/>
                  </a:lnTo>
                  <a:lnTo>
                    <a:pt x="305" y="29"/>
                  </a:lnTo>
                  <a:lnTo>
                    <a:pt x="326" y="62"/>
                  </a:lnTo>
                  <a:lnTo>
                    <a:pt x="352" y="0"/>
                  </a:lnTo>
                  <a:lnTo>
                    <a:pt x="357" y="17"/>
                  </a:lnTo>
                  <a:lnTo>
                    <a:pt x="373" y="17"/>
                  </a:lnTo>
                  <a:lnTo>
                    <a:pt x="390" y="41"/>
                  </a:lnTo>
                  <a:lnTo>
                    <a:pt x="423" y="29"/>
                  </a:lnTo>
                  <a:lnTo>
                    <a:pt x="428" y="17"/>
                  </a:lnTo>
                  <a:lnTo>
                    <a:pt x="444" y="29"/>
                  </a:lnTo>
                  <a:lnTo>
                    <a:pt x="461" y="24"/>
                  </a:lnTo>
                  <a:lnTo>
                    <a:pt x="487" y="41"/>
                  </a:lnTo>
                  <a:lnTo>
                    <a:pt x="515" y="29"/>
                  </a:lnTo>
                  <a:lnTo>
                    <a:pt x="553" y="57"/>
                  </a:lnTo>
                  <a:lnTo>
                    <a:pt x="586" y="95"/>
                  </a:lnTo>
                  <a:lnTo>
                    <a:pt x="624" y="128"/>
                  </a:lnTo>
                  <a:lnTo>
                    <a:pt x="628" y="152"/>
                  </a:lnTo>
                  <a:lnTo>
                    <a:pt x="650" y="156"/>
                  </a:lnTo>
                  <a:lnTo>
                    <a:pt x="661" y="185"/>
                  </a:lnTo>
                  <a:lnTo>
                    <a:pt x="624" y="230"/>
                  </a:lnTo>
                  <a:lnTo>
                    <a:pt x="624" y="251"/>
                  </a:lnTo>
                  <a:lnTo>
                    <a:pt x="624" y="284"/>
                  </a:lnTo>
                  <a:lnTo>
                    <a:pt x="640" y="296"/>
                  </a:lnTo>
                  <a:lnTo>
                    <a:pt x="683" y="279"/>
                  </a:lnTo>
                  <a:lnTo>
                    <a:pt x="699" y="284"/>
                  </a:lnTo>
                  <a:lnTo>
                    <a:pt x="683" y="317"/>
                  </a:lnTo>
                  <a:lnTo>
                    <a:pt x="699" y="338"/>
                  </a:lnTo>
                  <a:lnTo>
                    <a:pt x="716" y="362"/>
                  </a:lnTo>
                  <a:lnTo>
                    <a:pt x="721" y="362"/>
                  </a:lnTo>
                  <a:lnTo>
                    <a:pt x="737" y="407"/>
                  </a:lnTo>
                  <a:lnTo>
                    <a:pt x="754" y="407"/>
                  </a:lnTo>
                  <a:lnTo>
                    <a:pt x="775" y="433"/>
                  </a:lnTo>
                  <a:lnTo>
                    <a:pt x="985" y="506"/>
                  </a:lnTo>
                  <a:lnTo>
                    <a:pt x="1056" y="506"/>
                  </a:lnTo>
                  <a:lnTo>
                    <a:pt x="846" y="728"/>
                  </a:lnTo>
                  <a:lnTo>
                    <a:pt x="775" y="721"/>
                  </a:lnTo>
                  <a:lnTo>
                    <a:pt x="754" y="728"/>
                  </a:lnTo>
                  <a:lnTo>
                    <a:pt x="716" y="744"/>
                  </a:lnTo>
                  <a:lnTo>
                    <a:pt x="699" y="766"/>
                  </a:lnTo>
                  <a:lnTo>
                    <a:pt x="640" y="782"/>
                  </a:lnTo>
                  <a:lnTo>
                    <a:pt x="640" y="782"/>
                  </a:lnTo>
                  <a:lnTo>
                    <a:pt x="640" y="78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06" name="Freeform 446">
              <a:extLst>
                <a:ext uri="{FF2B5EF4-FFF2-40B4-BE49-F238E27FC236}">
                  <a16:creationId xmlns:a16="http://schemas.microsoft.com/office/drawing/2014/main" id="{2F004E19-722D-4D35-814F-14B71BAA7244}"/>
                </a:ext>
              </a:extLst>
            </p:cNvPr>
            <p:cNvSpPr>
              <a:spLocks noEditPoints="1"/>
            </p:cNvSpPr>
            <p:nvPr/>
          </p:nvSpPr>
          <p:spPr bwMode="gray">
            <a:xfrm>
              <a:off x="8174080" y="5244217"/>
              <a:ext cx="791641" cy="431068"/>
            </a:xfrm>
            <a:custGeom>
              <a:avLst/>
              <a:gdLst>
                <a:gd name="T0" fmla="*/ 1916 w 1923"/>
                <a:gd name="T1" fmla="*/ 0 h 1047"/>
                <a:gd name="T2" fmla="*/ 1923 w 1923"/>
                <a:gd name="T3" fmla="*/ 12 h 1047"/>
                <a:gd name="T4" fmla="*/ 1923 w 1923"/>
                <a:gd name="T5" fmla="*/ 12 h 1047"/>
                <a:gd name="T6" fmla="*/ 0 w 1923"/>
                <a:gd name="T7" fmla="*/ 714 h 1047"/>
                <a:gd name="T8" fmla="*/ 10 w 1923"/>
                <a:gd name="T9" fmla="*/ 714 h 1047"/>
                <a:gd name="T10" fmla="*/ 10 w 1923"/>
                <a:gd name="T11" fmla="*/ 714 h 1047"/>
                <a:gd name="T12" fmla="*/ 106 w 1923"/>
                <a:gd name="T13" fmla="*/ 737 h 1047"/>
                <a:gd name="T14" fmla="*/ 118 w 1923"/>
                <a:gd name="T15" fmla="*/ 747 h 1047"/>
                <a:gd name="T16" fmla="*/ 118 w 1923"/>
                <a:gd name="T17" fmla="*/ 747 h 1047"/>
                <a:gd name="T18" fmla="*/ 139 w 1923"/>
                <a:gd name="T19" fmla="*/ 747 h 1047"/>
                <a:gd name="T20" fmla="*/ 156 w 1923"/>
                <a:gd name="T21" fmla="*/ 747 h 1047"/>
                <a:gd name="T22" fmla="*/ 139 w 1923"/>
                <a:gd name="T23" fmla="*/ 747 h 1047"/>
                <a:gd name="T24" fmla="*/ 1339 w 1923"/>
                <a:gd name="T25" fmla="*/ 992 h 1047"/>
                <a:gd name="T26" fmla="*/ 1365 w 1923"/>
                <a:gd name="T27" fmla="*/ 992 h 1047"/>
                <a:gd name="T28" fmla="*/ 1361 w 1923"/>
                <a:gd name="T29" fmla="*/ 992 h 1047"/>
                <a:gd name="T30" fmla="*/ 1377 w 1923"/>
                <a:gd name="T31" fmla="*/ 1009 h 1047"/>
                <a:gd name="T32" fmla="*/ 1429 w 1923"/>
                <a:gd name="T33" fmla="*/ 992 h 1047"/>
                <a:gd name="T34" fmla="*/ 1420 w 1923"/>
                <a:gd name="T35" fmla="*/ 1014 h 1047"/>
                <a:gd name="T36" fmla="*/ 1429 w 1923"/>
                <a:gd name="T37" fmla="*/ 1025 h 1047"/>
                <a:gd name="T38" fmla="*/ 1382 w 1923"/>
                <a:gd name="T39" fmla="*/ 1014 h 1047"/>
                <a:gd name="T40" fmla="*/ 1377 w 1923"/>
                <a:gd name="T41" fmla="*/ 1014 h 1047"/>
                <a:gd name="T42" fmla="*/ 1415 w 1923"/>
                <a:gd name="T43" fmla="*/ 1030 h 1047"/>
                <a:gd name="T44" fmla="*/ 1382 w 1923"/>
                <a:gd name="T45" fmla="*/ 1047 h 1047"/>
                <a:gd name="T46" fmla="*/ 1377 w 1923"/>
                <a:gd name="T47" fmla="*/ 1042 h 1047"/>
                <a:gd name="T48" fmla="*/ 1328 w 1923"/>
                <a:gd name="T49" fmla="*/ 1030 h 1047"/>
                <a:gd name="T50" fmla="*/ 1306 w 1923"/>
                <a:gd name="T51" fmla="*/ 1047 h 1047"/>
                <a:gd name="T52" fmla="*/ 1306 w 1923"/>
                <a:gd name="T53" fmla="*/ 985 h 1047"/>
                <a:gd name="T54" fmla="*/ 1328 w 1923"/>
                <a:gd name="T55" fmla="*/ 952 h 1047"/>
                <a:gd name="T56" fmla="*/ 1339 w 1923"/>
                <a:gd name="T57" fmla="*/ 959 h 1047"/>
                <a:gd name="T58" fmla="*/ 1328 w 1923"/>
                <a:gd name="T59" fmla="*/ 992 h 1047"/>
                <a:gd name="T60" fmla="*/ 1339 w 1923"/>
                <a:gd name="T61" fmla="*/ 992 h 1047"/>
                <a:gd name="T62" fmla="*/ 1339 w 1923"/>
                <a:gd name="T63" fmla="*/ 992 h 1047"/>
                <a:gd name="T64" fmla="*/ 1339 w 1923"/>
                <a:gd name="T65" fmla="*/ 976 h 1047"/>
                <a:gd name="T66" fmla="*/ 1349 w 1923"/>
                <a:gd name="T67" fmla="*/ 976 h 1047"/>
                <a:gd name="T68" fmla="*/ 1339 w 1923"/>
                <a:gd name="T69" fmla="*/ 992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3" h="1047">
                  <a:moveTo>
                    <a:pt x="1923" y="12"/>
                  </a:moveTo>
                  <a:lnTo>
                    <a:pt x="1916" y="0"/>
                  </a:lnTo>
                  <a:lnTo>
                    <a:pt x="1923" y="0"/>
                  </a:lnTo>
                  <a:lnTo>
                    <a:pt x="1923" y="12"/>
                  </a:lnTo>
                  <a:lnTo>
                    <a:pt x="1923" y="12"/>
                  </a:lnTo>
                  <a:lnTo>
                    <a:pt x="1923" y="12"/>
                  </a:lnTo>
                  <a:close/>
                  <a:moveTo>
                    <a:pt x="10" y="714"/>
                  </a:moveTo>
                  <a:lnTo>
                    <a:pt x="0" y="714"/>
                  </a:lnTo>
                  <a:lnTo>
                    <a:pt x="10" y="714"/>
                  </a:lnTo>
                  <a:lnTo>
                    <a:pt x="10" y="714"/>
                  </a:lnTo>
                  <a:lnTo>
                    <a:pt x="10" y="714"/>
                  </a:lnTo>
                  <a:lnTo>
                    <a:pt x="10" y="714"/>
                  </a:lnTo>
                  <a:close/>
                  <a:moveTo>
                    <a:pt x="118" y="747"/>
                  </a:moveTo>
                  <a:lnTo>
                    <a:pt x="106" y="737"/>
                  </a:lnTo>
                  <a:lnTo>
                    <a:pt x="118" y="737"/>
                  </a:lnTo>
                  <a:lnTo>
                    <a:pt x="118" y="747"/>
                  </a:lnTo>
                  <a:lnTo>
                    <a:pt x="118" y="747"/>
                  </a:lnTo>
                  <a:lnTo>
                    <a:pt x="118" y="747"/>
                  </a:lnTo>
                  <a:lnTo>
                    <a:pt x="118" y="747"/>
                  </a:lnTo>
                  <a:close/>
                  <a:moveTo>
                    <a:pt x="139" y="747"/>
                  </a:moveTo>
                  <a:lnTo>
                    <a:pt x="139" y="747"/>
                  </a:lnTo>
                  <a:lnTo>
                    <a:pt x="156" y="747"/>
                  </a:lnTo>
                  <a:lnTo>
                    <a:pt x="139" y="747"/>
                  </a:lnTo>
                  <a:lnTo>
                    <a:pt x="139" y="747"/>
                  </a:lnTo>
                  <a:lnTo>
                    <a:pt x="139" y="747"/>
                  </a:lnTo>
                  <a:close/>
                  <a:moveTo>
                    <a:pt x="1339" y="992"/>
                  </a:moveTo>
                  <a:lnTo>
                    <a:pt x="1365" y="976"/>
                  </a:lnTo>
                  <a:lnTo>
                    <a:pt x="1365" y="992"/>
                  </a:lnTo>
                  <a:lnTo>
                    <a:pt x="1344" y="1002"/>
                  </a:lnTo>
                  <a:lnTo>
                    <a:pt x="1361" y="992"/>
                  </a:lnTo>
                  <a:lnTo>
                    <a:pt x="1361" y="1009"/>
                  </a:lnTo>
                  <a:lnTo>
                    <a:pt x="1377" y="1009"/>
                  </a:lnTo>
                  <a:lnTo>
                    <a:pt x="1415" y="985"/>
                  </a:lnTo>
                  <a:lnTo>
                    <a:pt x="1429" y="992"/>
                  </a:lnTo>
                  <a:lnTo>
                    <a:pt x="1436" y="1002"/>
                  </a:lnTo>
                  <a:lnTo>
                    <a:pt x="1420" y="1014"/>
                  </a:lnTo>
                  <a:lnTo>
                    <a:pt x="1415" y="1014"/>
                  </a:lnTo>
                  <a:lnTo>
                    <a:pt x="1429" y="1025"/>
                  </a:lnTo>
                  <a:lnTo>
                    <a:pt x="1403" y="1014"/>
                  </a:lnTo>
                  <a:lnTo>
                    <a:pt x="1382" y="1014"/>
                  </a:lnTo>
                  <a:lnTo>
                    <a:pt x="1391" y="1025"/>
                  </a:lnTo>
                  <a:lnTo>
                    <a:pt x="1377" y="1014"/>
                  </a:lnTo>
                  <a:lnTo>
                    <a:pt x="1382" y="1030"/>
                  </a:lnTo>
                  <a:lnTo>
                    <a:pt x="1415" y="1030"/>
                  </a:lnTo>
                  <a:lnTo>
                    <a:pt x="1415" y="1047"/>
                  </a:lnTo>
                  <a:lnTo>
                    <a:pt x="1382" y="1047"/>
                  </a:lnTo>
                  <a:lnTo>
                    <a:pt x="1365" y="1025"/>
                  </a:lnTo>
                  <a:lnTo>
                    <a:pt x="1377" y="1042"/>
                  </a:lnTo>
                  <a:lnTo>
                    <a:pt x="1344" y="1030"/>
                  </a:lnTo>
                  <a:lnTo>
                    <a:pt x="1328" y="1030"/>
                  </a:lnTo>
                  <a:lnTo>
                    <a:pt x="1328" y="1047"/>
                  </a:lnTo>
                  <a:lnTo>
                    <a:pt x="1306" y="1047"/>
                  </a:lnTo>
                  <a:lnTo>
                    <a:pt x="1311" y="1014"/>
                  </a:lnTo>
                  <a:lnTo>
                    <a:pt x="1306" y="985"/>
                  </a:lnTo>
                  <a:lnTo>
                    <a:pt x="1323" y="952"/>
                  </a:lnTo>
                  <a:lnTo>
                    <a:pt x="1328" y="952"/>
                  </a:lnTo>
                  <a:lnTo>
                    <a:pt x="1323" y="969"/>
                  </a:lnTo>
                  <a:lnTo>
                    <a:pt x="1339" y="959"/>
                  </a:lnTo>
                  <a:lnTo>
                    <a:pt x="1323" y="992"/>
                  </a:lnTo>
                  <a:lnTo>
                    <a:pt x="1328" y="992"/>
                  </a:lnTo>
                  <a:lnTo>
                    <a:pt x="1328" y="976"/>
                  </a:lnTo>
                  <a:lnTo>
                    <a:pt x="1339" y="992"/>
                  </a:lnTo>
                  <a:lnTo>
                    <a:pt x="1339" y="992"/>
                  </a:lnTo>
                  <a:lnTo>
                    <a:pt x="1339" y="992"/>
                  </a:lnTo>
                  <a:close/>
                  <a:moveTo>
                    <a:pt x="1339" y="992"/>
                  </a:moveTo>
                  <a:lnTo>
                    <a:pt x="1339" y="976"/>
                  </a:lnTo>
                  <a:lnTo>
                    <a:pt x="1349" y="969"/>
                  </a:lnTo>
                  <a:lnTo>
                    <a:pt x="1349" y="976"/>
                  </a:lnTo>
                  <a:lnTo>
                    <a:pt x="1339" y="992"/>
                  </a:lnTo>
                  <a:lnTo>
                    <a:pt x="1339" y="992"/>
                  </a:lnTo>
                  <a:lnTo>
                    <a:pt x="1339" y="99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07" name="Freeform 447">
              <a:extLst>
                <a:ext uri="{FF2B5EF4-FFF2-40B4-BE49-F238E27FC236}">
                  <a16:creationId xmlns:a16="http://schemas.microsoft.com/office/drawing/2014/main" id="{40CF022F-55DD-45B3-ACEA-5B9EF6552563}"/>
                </a:ext>
              </a:extLst>
            </p:cNvPr>
            <p:cNvSpPr>
              <a:spLocks/>
            </p:cNvSpPr>
            <p:nvPr/>
          </p:nvSpPr>
          <p:spPr bwMode="gray">
            <a:xfrm>
              <a:off x="6238819" y="3652111"/>
              <a:ext cx="90567" cy="23468"/>
            </a:xfrm>
            <a:custGeom>
              <a:avLst/>
              <a:gdLst>
                <a:gd name="T0" fmla="*/ 17 w 220"/>
                <a:gd name="T1" fmla="*/ 17 h 57"/>
                <a:gd name="T2" fmla="*/ 95 w 220"/>
                <a:gd name="T3" fmla="*/ 17 h 57"/>
                <a:gd name="T4" fmla="*/ 104 w 220"/>
                <a:gd name="T5" fmla="*/ 5 h 57"/>
                <a:gd name="T6" fmla="*/ 128 w 220"/>
                <a:gd name="T7" fmla="*/ 0 h 57"/>
                <a:gd name="T8" fmla="*/ 144 w 220"/>
                <a:gd name="T9" fmla="*/ 5 h 57"/>
                <a:gd name="T10" fmla="*/ 149 w 220"/>
                <a:gd name="T11" fmla="*/ 17 h 57"/>
                <a:gd name="T12" fmla="*/ 166 w 220"/>
                <a:gd name="T13" fmla="*/ 17 h 57"/>
                <a:gd name="T14" fmla="*/ 182 w 220"/>
                <a:gd name="T15" fmla="*/ 33 h 57"/>
                <a:gd name="T16" fmla="*/ 204 w 220"/>
                <a:gd name="T17" fmla="*/ 17 h 57"/>
                <a:gd name="T18" fmla="*/ 220 w 220"/>
                <a:gd name="T19" fmla="*/ 33 h 57"/>
                <a:gd name="T20" fmla="*/ 215 w 220"/>
                <a:gd name="T21" fmla="*/ 41 h 57"/>
                <a:gd name="T22" fmla="*/ 182 w 220"/>
                <a:gd name="T23" fmla="*/ 50 h 57"/>
                <a:gd name="T24" fmla="*/ 128 w 220"/>
                <a:gd name="T25" fmla="*/ 17 h 57"/>
                <a:gd name="T26" fmla="*/ 111 w 220"/>
                <a:gd name="T27" fmla="*/ 33 h 57"/>
                <a:gd name="T28" fmla="*/ 74 w 220"/>
                <a:gd name="T29" fmla="*/ 41 h 57"/>
                <a:gd name="T30" fmla="*/ 74 w 220"/>
                <a:gd name="T31" fmla="*/ 50 h 57"/>
                <a:gd name="T32" fmla="*/ 12 w 220"/>
                <a:gd name="T33" fmla="*/ 50 h 57"/>
                <a:gd name="T34" fmla="*/ 12 w 220"/>
                <a:gd name="T35" fmla="*/ 57 h 57"/>
                <a:gd name="T36" fmla="*/ 0 w 220"/>
                <a:gd name="T37" fmla="*/ 33 h 57"/>
                <a:gd name="T38" fmla="*/ 12 w 220"/>
                <a:gd name="T39" fmla="*/ 22 h 57"/>
                <a:gd name="T40" fmla="*/ 17 w 220"/>
                <a:gd name="T41" fmla="*/ 33 h 57"/>
                <a:gd name="T42" fmla="*/ 24 w 220"/>
                <a:gd name="T43" fmla="*/ 41 h 57"/>
                <a:gd name="T44" fmla="*/ 41 w 220"/>
                <a:gd name="T45" fmla="*/ 41 h 57"/>
                <a:gd name="T46" fmla="*/ 50 w 220"/>
                <a:gd name="T47" fmla="*/ 41 h 57"/>
                <a:gd name="T48" fmla="*/ 50 w 220"/>
                <a:gd name="T49" fmla="*/ 41 h 57"/>
                <a:gd name="T50" fmla="*/ 41 w 220"/>
                <a:gd name="T51" fmla="*/ 41 h 57"/>
                <a:gd name="T52" fmla="*/ 50 w 220"/>
                <a:gd name="T53" fmla="*/ 33 h 57"/>
                <a:gd name="T54" fmla="*/ 111 w 220"/>
                <a:gd name="T55" fmla="*/ 22 h 57"/>
                <a:gd name="T56" fmla="*/ 95 w 220"/>
                <a:gd name="T57" fmla="*/ 22 h 57"/>
                <a:gd name="T58" fmla="*/ 50 w 220"/>
                <a:gd name="T59" fmla="*/ 33 h 57"/>
                <a:gd name="T60" fmla="*/ 33 w 220"/>
                <a:gd name="T61" fmla="*/ 41 h 57"/>
                <a:gd name="T62" fmla="*/ 24 w 220"/>
                <a:gd name="T63" fmla="*/ 33 h 57"/>
                <a:gd name="T64" fmla="*/ 17 w 220"/>
                <a:gd name="T65" fmla="*/ 17 h 57"/>
                <a:gd name="T66" fmla="*/ 17 w 220"/>
                <a:gd name="T67" fmla="*/ 17 h 57"/>
                <a:gd name="T68" fmla="*/ 17 w 220"/>
                <a:gd name="T69" fmla="*/ 1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0" h="57">
                  <a:moveTo>
                    <a:pt x="17" y="17"/>
                  </a:moveTo>
                  <a:lnTo>
                    <a:pt x="95" y="17"/>
                  </a:lnTo>
                  <a:lnTo>
                    <a:pt x="104" y="5"/>
                  </a:lnTo>
                  <a:lnTo>
                    <a:pt x="128" y="0"/>
                  </a:lnTo>
                  <a:lnTo>
                    <a:pt x="144" y="5"/>
                  </a:lnTo>
                  <a:lnTo>
                    <a:pt x="149" y="17"/>
                  </a:lnTo>
                  <a:lnTo>
                    <a:pt x="166" y="17"/>
                  </a:lnTo>
                  <a:lnTo>
                    <a:pt x="182" y="33"/>
                  </a:lnTo>
                  <a:lnTo>
                    <a:pt x="204" y="17"/>
                  </a:lnTo>
                  <a:lnTo>
                    <a:pt x="220" y="33"/>
                  </a:lnTo>
                  <a:lnTo>
                    <a:pt x="215" y="41"/>
                  </a:lnTo>
                  <a:lnTo>
                    <a:pt x="182" y="50"/>
                  </a:lnTo>
                  <a:lnTo>
                    <a:pt x="128" y="17"/>
                  </a:lnTo>
                  <a:lnTo>
                    <a:pt x="111" y="33"/>
                  </a:lnTo>
                  <a:lnTo>
                    <a:pt x="74" y="41"/>
                  </a:lnTo>
                  <a:lnTo>
                    <a:pt x="74" y="50"/>
                  </a:lnTo>
                  <a:lnTo>
                    <a:pt x="12" y="50"/>
                  </a:lnTo>
                  <a:lnTo>
                    <a:pt x="12" y="57"/>
                  </a:lnTo>
                  <a:lnTo>
                    <a:pt x="0" y="33"/>
                  </a:lnTo>
                  <a:lnTo>
                    <a:pt x="12" y="22"/>
                  </a:lnTo>
                  <a:lnTo>
                    <a:pt x="17" y="33"/>
                  </a:lnTo>
                  <a:lnTo>
                    <a:pt x="24" y="41"/>
                  </a:lnTo>
                  <a:lnTo>
                    <a:pt x="41" y="41"/>
                  </a:lnTo>
                  <a:lnTo>
                    <a:pt x="50" y="41"/>
                  </a:lnTo>
                  <a:lnTo>
                    <a:pt x="50" y="41"/>
                  </a:lnTo>
                  <a:lnTo>
                    <a:pt x="41" y="41"/>
                  </a:lnTo>
                  <a:lnTo>
                    <a:pt x="50" y="33"/>
                  </a:lnTo>
                  <a:lnTo>
                    <a:pt x="111" y="22"/>
                  </a:lnTo>
                  <a:lnTo>
                    <a:pt x="95" y="22"/>
                  </a:lnTo>
                  <a:lnTo>
                    <a:pt x="50" y="33"/>
                  </a:lnTo>
                  <a:lnTo>
                    <a:pt x="33" y="41"/>
                  </a:lnTo>
                  <a:lnTo>
                    <a:pt x="24" y="33"/>
                  </a:lnTo>
                  <a:lnTo>
                    <a:pt x="17" y="17"/>
                  </a:lnTo>
                  <a:lnTo>
                    <a:pt x="17" y="17"/>
                  </a:lnTo>
                  <a:lnTo>
                    <a:pt x="17"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08" name="Freeform 448">
              <a:extLst>
                <a:ext uri="{FF2B5EF4-FFF2-40B4-BE49-F238E27FC236}">
                  <a16:creationId xmlns:a16="http://schemas.microsoft.com/office/drawing/2014/main" id="{3B926C25-D14E-4410-A646-9D7A36BD0F4B}"/>
                </a:ext>
              </a:extLst>
            </p:cNvPr>
            <p:cNvSpPr>
              <a:spLocks noEditPoints="1"/>
            </p:cNvSpPr>
            <p:nvPr/>
          </p:nvSpPr>
          <p:spPr bwMode="gray">
            <a:xfrm>
              <a:off x="6978178" y="3996717"/>
              <a:ext cx="166315" cy="185684"/>
            </a:xfrm>
            <a:custGeom>
              <a:avLst/>
              <a:gdLst>
                <a:gd name="T0" fmla="*/ 359 w 404"/>
                <a:gd name="T1" fmla="*/ 184 h 451"/>
                <a:gd name="T2" fmla="*/ 380 w 404"/>
                <a:gd name="T3" fmla="*/ 200 h 451"/>
                <a:gd name="T4" fmla="*/ 404 w 404"/>
                <a:gd name="T5" fmla="*/ 212 h 451"/>
                <a:gd name="T6" fmla="*/ 404 w 404"/>
                <a:gd name="T7" fmla="*/ 257 h 451"/>
                <a:gd name="T8" fmla="*/ 387 w 404"/>
                <a:gd name="T9" fmla="*/ 311 h 451"/>
                <a:gd name="T10" fmla="*/ 359 w 404"/>
                <a:gd name="T11" fmla="*/ 344 h 451"/>
                <a:gd name="T12" fmla="*/ 333 w 404"/>
                <a:gd name="T13" fmla="*/ 344 h 451"/>
                <a:gd name="T14" fmla="*/ 290 w 404"/>
                <a:gd name="T15" fmla="*/ 307 h 451"/>
                <a:gd name="T16" fmla="*/ 269 w 404"/>
                <a:gd name="T17" fmla="*/ 307 h 451"/>
                <a:gd name="T18" fmla="*/ 257 w 404"/>
                <a:gd name="T19" fmla="*/ 340 h 451"/>
                <a:gd name="T20" fmla="*/ 224 w 404"/>
                <a:gd name="T21" fmla="*/ 340 h 451"/>
                <a:gd name="T22" fmla="*/ 198 w 404"/>
                <a:gd name="T23" fmla="*/ 340 h 451"/>
                <a:gd name="T24" fmla="*/ 198 w 404"/>
                <a:gd name="T25" fmla="*/ 378 h 451"/>
                <a:gd name="T26" fmla="*/ 215 w 404"/>
                <a:gd name="T27" fmla="*/ 385 h 451"/>
                <a:gd name="T28" fmla="*/ 224 w 404"/>
                <a:gd name="T29" fmla="*/ 406 h 451"/>
                <a:gd name="T30" fmla="*/ 219 w 404"/>
                <a:gd name="T31" fmla="*/ 434 h 451"/>
                <a:gd name="T32" fmla="*/ 198 w 404"/>
                <a:gd name="T33" fmla="*/ 422 h 451"/>
                <a:gd name="T34" fmla="*/ 165 w 404"/>
                <a:gd name="T35" fmla="*/ 451 h 451"/>
                <a:gd name="T36" fmla="*/ 63 w 404"/>
                <a:gd name="T37" fmla="*/ 344 h 451"/>
                <a:gd name="T38" fmla="*/ 96 w 404"/>
                <a:gd name="T39" fmla="*/ 352 h 451"/>
                <a:gd name="T40" fmla="*/ 89 w 404"/>
                <a:gd name="T41" fmla="*/ 352 h 451"/>
                <a:gd name="T42" fmla="*/ 75 w 404"/>
                <a:gd name="T43" fmla="*/ 344 h 451"/>
                <a:gd name="T44" fmla="*/ 42 w 404"/>
                <a:gd name="T45" fmla="*/ 307 h 451"/>
                <a:gd name="T46" fmla="*/ 59 w 404"/>
                <a:gd name="T47" fmla="*/ 311 h 451"/>
                <a:gd name="T48" fmla="*/ 37 w 404"/>
                <a:gd name="T49" fmla="*/ 295 h 451"/>
                <a:gd name="T50" fmla="*/ 21 w 404"/>
                <a:gd name="T51" fmla="*/ 257 h 451"/>
                <a:gd name="T52" fmla="*/ 54 w 404"/>
                <a:gd name="T53" fmla="*/ 290 h 451"/>
                <a:gd name="T54" fmla="*/ 54 w 404"/>
                <a:gd name="T55" fmla="*/ 274 h 451"/>
                <a:gd name="T56" fmla="*/ 42 w 404"/>
                <a:gd name="T57" fmla="*/ 257 h 451"/>
                <a:gd name="T58" fmla="*/ 21 w 404"/>
                <a:gd name="T59" fmla="*/ 257 h 451"/>
                <a:gd name="T60" fmla="*/ 0 w 404"/>
                <a:gd name="T61" fmla="*/ 212 h 451"/>
                <a:gd name="T62" fmla="*/ 42 w 404"/>
                <a:gd name="T63" fmla="*/ 196 h 451"/>
                <a:gd name="T64" fmla="*/ 54 w 404"/>
                <a:gd name="T65" fmla="*/ 155 h 451"/>
                <a:gd name="T66" fmla="*/ 80 w 404"/>
                <a:gd name="T67" fmla="*/ 155 h 451"/>
                <a:gd name="T68" fmla="*/ 42 w 404"/>
                <a:gd name="T69" fmla="*/ 127 h 451"/>
                <a:gd name="T70" fmla="*/ 59 w 404"/>
                <a:gd name="T71" fmla="*/ 118 h 451"/>
                <a:gd name="T72" fmla="*/ 59 w 404"/>
                <a:gd name="T73" fmla="*/ 101 h 451"/>
                <a:gd name="T74" fmla="*/ 75 w 404"/>
                <a:gd name="T75" fmla="*/ 101 h 451"/>
                <a:gd name="T76" fmla="*/ 89 w 404"/>
                <a:gd name="T77" fmla="*/ 101 h 451"/>
                <a:gd name="T78" fmla="*/ 182 w 404"/>
                <a:gd name="T79" fmla="*/ 11 h 451"/>
                <a:gd name="T80" fmla="*/ 252 w 404"/>
                <a:gd name="T81" fmla="*/ 0 h 451"/>
                <a:gd name="T82" fmla="*/ 311 w 404"/>
                <a:gd name="T83" fmla="*/ 0 h 451"/>
                <a:gd name="T84" fmla="*/ 307 w 404"/>
                <a:gd name="T85" fmla="*/ 44 h 451"/>
                <a:gd name="T86" fmla="*/ 311 w 404"/>
                <a:gd name="T87" fmla="*/ 85 h 451"/>
                <a:gd name="T88" fmla="*/ 380 w 404"/>
                <a:gd name="T89" fmla="*/ 68 h 451"/>
                <a:gd name="T90" fmla="*/ 387 w 404"/>
                <a:gd name="T91" fmla="*/ 122 h 451"/>
                <a:gd name="T92" fmla="*/ 366 w 404"/>
                <a:gd name="T93" fmla="*/ 146 h 451"/>
                <a:gd name="T94" fmla="*/ 359 w 404"/>
                <a:gd name="T95" fmla="*/ 179 h 451"/>
                <a:gd name="T96" fmla="*/ 21 w 404"/>
                <a:gd name="T97" fmla="*/ 229 h 451"/>
                <a:gd name="T98" fmla="*/ 21 w 404"/>
                <a:gd name="T99" fmla="*/ 212 h 451"/>
                <a:gd name="T100" fmla="*/ 21 w 404"/>
                <a:gd name="T101" fmla="*/ 229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4" h="451">
                  <a:moveTo>
                    <a:pt x="359" y="179"/>
                  </a:moveTo>
                  <a:lnTo>
                    <a:pt x="359" y="184"/>
                  </a:lnTo>
                  <a:lnTo>
                    <a:pt x="375" y="184"/>
                  </a:lnTo>
                  <a:lnTo>
                    <a:pt x="380" y="200"/>
                  </a:lnTo>
                  <a:lnTo>
                    <a:pt x="396" y="200"/>
                  </a:lnTo>
                  <a:lnTo>
                    <a:pt x="404" y="212"/>
                  </a:lnTo>
                  <a:lnTo>
                    <a:pt x="396" y="240"/>
                  </a:lnTo>
                  <a:lnTo>
                    <a:pt x="404" y="257"/>
                  </a:lnTo>
                  <a:lnTo>
                    <a:pt x="396" y="307"/>
                  </a:lnTo>
                  <a:lnTo>
                    <a:pt x="387" y="311"/>
                  </a:lnTo>
                  <a:lnTo>
                    <a:pt x="375" y="344"/>
                  </a:lnTo>
                  <a:lnTo>
                    <a:pt x="359" y="344"/>
                  </a:lnTo>
                  <a:lnTo>
                    <a:pt x="349" y="323"/>
                  </a:lnTo>
                  <a:lnTo>
                    <a:pt x="333" y="344"/>
                  </a:lnTo>
                  <a:lnTo>
                    <a:pt x="295" y="340"/>
                  </a:lnTo>
                  <a:lnTo>
                    <a:pt x="290" y="307"/>
                  </a:lnTo>
                  <a:lnTo>
                    <a:pt x="274" y="295"/>
                  </a:lnTo>
                  <a:lnTo>
                    <a:pt x="269" y="307"/>
                  </a:lnTo>
                  <a:lnTo>
                    <a:pt x="257" y="307"/>
                  </a:lnTo>
                  <a:lnTo>
                    <a:pt x="257" y="340"/>
                  </a:lnTo>
                  <a:lnTo>
                    <a:pt x="236" y="344"/>
                  </a:lnTo>
                  <a:lnTo>
                    <a:pt x="224" y="340"/>
                  </a:lnTo>
                  <a:lnTo>
                    <a:pt x="215" y="344"/>
                  </a:lnTo>
                  <a:lnTo>
                    <a:pt x="198" y="340"/>
                  </a:lnTo>
                  <a:lnTo>
                    <a:pt x="203" y="352"/>
                  </a:lnTo>
                  <a:lnTo>
                    <a:pt x="198" y="378"/>
                  </a:lnTo>
                  <a:lnTo>
                    <a:pt x="203" y="368"/>
                  </a:lnTo>
                  <a:lnTo>
                    <a:pt x="215" y="385"/>
                  </a:lnTo>
                  <a:lnTo>
                    <a:pt x="203" y="401"/>
                  </a:lnTo>
                  <a:lnTo>
                    <a:pt x="224" y="406"/>
                  </a:lnTo>
                  <a:lnTo>
                    <a:pt x="219" y="422"/>
                  </a:lnTo>
                  <a:lnTo>
                    <a:pt x="219" y="434"/>
                  </a:lnTo>
                  <a:lnTo>
                    <a:pt x="215" y="434"/>
                  </a:lnTo>
                  <a:lnTo>
                    <a:pt x="198" y="422"/>
                  </a:lnTo>
                  <a:lnTo>
                    <a:pt x="172" y="434"/>
                  </a:lnTo>
                  <a:lnTo>
                    <a:pt x="165" y="451"/>
                  </a:lnTo>
                  <a:lnTo>
                    <a:pt x="118" y="394"/>
                  </a:lnTo>
                  <a:lnTo>
                    <a:pt x="63" y="344"/>
                  </a:lnTo>
                  <a:lnTo>
                    <a:pt x="89" y="361"/>
                  </a:lnTo>
                  <a:lnTo>
                    <a:pt x="96" y="352"/>
                  </a:lnTo>
                  <a:lnTo>
                    <a:pt x="96" y="352"/>
                  </a:lnTo>
                  <a:lnTo>
                    <a:pt x="89" y="352"/>
                  </a:lnTo>
                  <a:lnTo>
                    <a:pt x="80" y="344"/>
                  </a:lnTo>
                  <a:lnTo>
                    <a:pt x="75" y="344"/>
                  </a:lnTo>
                  <a:lnTo>
                    <a:pt x="59" y="340"/>
                  </a:lnTo>
                  <a:lnTo>
                    <a:pt x="42" y="307"/>
                  </a:lnTo>
                  <a:lnTo>
                    <a:pt x="54" y="307"/>
                  </a:lnTo>
                  <a:lnTo>
                    <a:pt x="59" y="311"/>
                  </a:lnTo>
                  <a:lnTo>
                    <a:pt x="54" y="307"/>
                  </a:lnTo>
                  <a:lnTo>
                    <a:pt x="37" y="295"/>
                  </a:lnTo>
                  <a:lnTo>
                    <a:pt x="37" y="283"/>
                  </a:lnTo>
                  <a:lnTo>
                    <a:pt x="21" y="257"/>
                  </a:lnTo>
                  <a:lnTo>
                    <a:pt x="37" y="290"/>
                  </a:lnTo>
                  <a:lnTo>
                    <a:pt x="54" y="290"/>
                  </a:lnTo>
                  <a:lnTo>
                    <a:pt x="54" y="283"/>
                  </a:lnTo>
                  <a:lnTo>
                    <a:pt x="54" y="274"/>
                  </a:lnTo>
                  <a:lnTo>
                    <a:pt x="37" y="283"/>
                  </a:lnTo>
                  <a:lnTo>
                    <a:pt x="42" y="257"/>
                  </a:lnTo>
                  <a:lnTo>
                    <a:pt x="37" y="266"/>
                  </a:lnTo>
                  <a:lnTo>
                    <a:pt x="21" y="257"/>
                  </a:lnTo>
                  <a:lnTo>
                    <a:pt x="0" y="212"/>
                  </a:lnTo>
                  <a:lnTo>
                    <a:pt x="0" y="212"/>
                  </a:lnTo>
                  <a:lnTo>
                    <a:pt x="21" y="229"/>
                  </a:lnTo>
                  <a:lnTo>
                    <a:pt x="42" y="196"/>
                  </a:lnTo>
                  <a:lnTo>
                    <a:pt x="42" y="139"/>
                  </a:lnTo>
                  <a:lnTo>
                    <a:pt x="54" y="155"/>
                  </a:lnTo>
                  <a:lnTo>
                    <a:pt x="75" y="163"/>
                  </a:lnTo>
                  <a:lnTo>
                    <a:pt x="80" y="155"/>
                  </a:lnTo>
                  <a:lnTo>
                    <a:pt x="54" y="146"/>
                  </a:lnTo>
                  <a:lnTo>
                    <a:pt x="42" y="127"/>
                  </a:lnTo>
                  <a:lnTo>
                    <a:pt x="42" y="122"/>
                  </a:lnTo>
                  <a:lnTo>
                    <a:pt x="59" y="118"/>
                  </a:lnTo>
                  <a:lnTo>
                    <a:pt x="59" y="127"/>
                  </a:lnTo>
                  <a:lnTo>
                    <a:pt x="59" y="101"/>
                  </a:lnTo>
                  <a:lnTo>
                    <a:pt x="63" y="89"/>
                  </a:lnTo>
                  <a:lnTo>
                    <a:pt x="75" y="101"/>
                  </a:lnTo>
                  <a:lnTo>
                    <a:pt x="80" y="101"/>
                  </a:lnTo>
                  <a:lnTo>
                    <a:pt x="89" y="101"/>
                  </a:lnTo>
                  <a:lnTo>
                    <a:pt x="182" y="101"/>
                  </a:lnTo>
                  <a:lnTo>
                    <a:pt x="182" y="11"/>
                  </a:lnTo>
                  <a:lnTo>
                    <a:pt x="182" y="0"/>
                  </a:lnTo>
                  <a:lnTo>
                    <a:pt x="252" y="0"/>
                  </a:lnTo>
                  <a:lnTo>
                    <a:pt x="278" y="0"/>
                  </a:lnTo>
                  <a:lnTo>
                    <a:pt x="311" y="0"/>
                  </a:lnTo>
                  <a:lnTo>
                    <a:pt x="321" y="11"/>
                  </a:lnTo>
                  <a:lnTo>
                    <a:pt x="307" y="44"/>
                  </a:lnTo>
                  <a:lnTo>
                    <a:pt x="311" y="68"/>
                  </a:lnTo>
                  <a:lnTo>
                    <a:pt x="311" y="85"/>
                  </a:lnTo>
                  <a:lnTo>
                    <a:pt x="349" y="68"/>
                  </a:lnTo>
                  <a:lnTo>
                    <a:pt x="380" y="68"/>
                  </a:lnTo>
                  <a:lnTo>
                    <a:pt x="404" y="101"/>
                  </a:lnTo>
                  <a:lnTo>
                    <a:pt x="387" y="122"/>
                  </a:lnTo>
                  <a:lnTo>
                    <a:pt x="375" y="127"/>
                  </a:lnTo>
                  <a:lnTo>
                    <a:pt x="366" y="146"/>
                  </a:lnTo>
                  <a:lnTo>
                    <a:pt x="359" y="179"/>
                  </a:lnTo>
                  <a:lnTo>
                    <a:pt x="359" y="179"/>
                  </a:lnTo>
                  <a:lnTo>
                    <a:pt x="359" y="179"/>
                  </a:lnTo>
                  <a:close/>
                  <a:moveTo>
                    <a:pt x="21" y="229"/>
                  </a:moveTo>
                  <a:lnTo>
                    <a:pt x="9" y="217"/>
                  </a:lnTo>
                  <a:lnTo>
                    <a:pt x="21" y="212"/>
                  </a:lnTo>
                  <a:lnTo>
                    <a:pt x="21" y="229"/>
                  </a:lnTo>
                  <a:lnTo>
                    <a:pt x="21" y="229"/>
                  </a:lnTo>
                  <a:lnTo>
                    <a:pt x="21" y="22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09" name="Freeform 450">
              <a:extLst>
                <a:ext uri="{FF2B5EF4-FFF2-40B4-BE49-F238E27FC236}">
                  <a16:creationId xmlns:a16="http://schemas.microsoft.com/office/drawing/2014/main" id="{044E5B66-4926-4BB1-B1A9-633B54B0D796}"/>
                </a:ext>
              </a:extLst>
            </p:cNvPr>
            <p:cNvSpPr>
              <a:spLocks/>
            </p:cNvSpPr>
            <p:nvPr/>
          </p:nvSpPr>
          <p:spPr bwMode="gray">
            <a:xfrm>
              <a:off x="6631964" y="3734043"/>
              <a:ext cx="128441" cy="192272"/>
            </a:xfrm>
            <a:custGeom>
              <a:avLst/>
              <a:gdLst>
                <a:gd name="T0" fmla="*/ 16 w 312"/>
                <a:gd name="T1" fmla="*/ 432 h 467"/>
                <a:gd name="T2" fmla="*/ 16 w 312"/>
                <a:gd name="T3" fmla="*/ 432 h 467"/>
                <a:gd name="T4" fmla="*/ 21 w 312"/>
                <a:gd name="T5" fmla="*/ 432 h 467"/>
                <a:gd name="T6" fmla="*/ 38 w 312"/>
                <a:gd name="T7" fmla="*/ 432 h 467"/>
                <a:gd name="T8" fmla="*/ 38 w 312"/>
                <a:gd name="T9" fmla="*/ 406 h 467"/>
                <a:gd name="T10" fmla="*/ 21 w 312"/>
                <a:gd name="T11" fmla="*/ 394 h 467"/>
                <a:gd name="T12" fmla="*/ 0 w 312"/>
                <a:gd name="T13" fmla="*/ 321 h 467"/>
                <a:gd name="T14" fmla="*/ 4 w 312"/>
                <a:gd name="T15" fmla="*/ 316 h 467"/>
                <a:gd name="T16" fmla="*/ 21 w 312"/>
                <a:gd name="T17" fmla="*/ 295 h 467"/>
                <a:gd name="T18" fmla="*/ 38 w 312"/>
                <a:gd name="T19" fmla="*/ 227 h 467"/>
                <a:gd name="T20" fmla="*/ 54 w 312"/>
                <a:gd name="T21" fmla="*/ 210 h 467"/>
                <a:gd name="T22" fmla="*/ 42 w 312"/>
                <a:gd name="T23" fmla="*/ 156 h 467"/>
                <a:gd name="T24" fmla="*/ 38 w 312"/>
                <a:gd name="T25" fmla="*/ 149 h 467"/>
                <a:gd name="T26" fmla="*/ 42 w 312"/>
                <a:gd name="T27" fmla="*/ 116 h 467"/>
                <a:gd name="T28" fmla="*/ 38 w 312"/>
                <a:gd name="T29" fmla="*/ 111 h 467"/>
                <a:gd name="T30" fmla="*/ 38 w 312"/>
                <a:gd name="T31" fmla="*/ 61 h 467"/>
                <a:gd name="T32" fmla="*/ 21 w 312"/>
                <a:gd name="T33" fmla="*/ 26 h 467"/>
                <a:gd name="T34" fmla="*/ 30 w 312"/>
                <a:gd name="T35" fmla="*/ 5 h 467"/>
                <a:gd name="T36" fmla="*/ 160 w 312"/>
                <a:gd name="T37" fmla="*/ 5 h 467"/>
                <a:gd name="T38" fmla="*/ 182 w 312"/>
                <a:gd name="T39" fmla="*/ 5 h 467"/>
                <a:gd name="T40" fmla="*/ 182 w 312"/>
                <a:gd name="T41" fmla="*/ 16 h 467"/>
                <a:gd name="T42" fmla="*/ 205 w 312"/>
                <a:gd name="T43" fmla="*/ 0 h 467"/>
                <a:gd name="T44" fmla="*/ 219 w 312"/>
                <a:gd name="T45" fmla="*/ 0 h 467"/>
                <a:gd name="T46" fmla="*/ 231 w 312"/>
                <a:gd name="T47" fmla="*/ 5 h 467"/>
                <a:gd name="T48" fmla="*/ 219 w 312"/>
                <a:gd name="T49" fmla="*/ 26 h 467"/>
                <a:gd name="T50" fmla="*/ 252 w 312"/>
                <a:gd name="T51" fmla="*/ 54 h 467"/>
                <a:gd name="T52" fmla="*/ 252 w 312"/>
                <a:gd name="T53" fmla="*/ 61 h 467"/>
                <a:gd name="T54" fmla="*/ 257 w 312"/>
                <a:gd name="T55" fmla="*/ 78 h 467"/>
                <a:gd name="T56" fmla="*/ 248 w 312"/>
                <a:gd name="T57" fmla="*/ 116 h 467"/>
                <a:gd name="T58" fmla="*/ 257 w 312"/>
                <a:gd name="T59" fmla="*/ 116 h 467"/>
                <a:gd name="T60" fmla="*/ 269 w 312"/>
                <a:gd name="T61" fmla="*/ 127 h 467"/>
                <a:gd name="T62" fmla="*/ 257 w 312"/>
                <a:gd name="T63" fmla="*/ 149 h 467"/>
                <a:gd name="T64" fmla="*/ 269 w 312"/>
                <a:gd name="T65" fmla="*/ 165 h 467"/>
                <a:gd name="T66" fmla="*/ 252 w 312"/>
                <a:gd name="T67" fmla="*/ 172 h 467"/>
                <a:gd name="T68" fmla="*/ 286 w 312"/>
                <a:gd name="T69" fmla="*/ 205 h 467"/>
                <a:gd name="T70" fmla="*/ 274 w 312"/>
                <a:gd name="T71" fmla="*/ 210 h 467"/>
                <a:gd name="T72" fmla="*/ 269 w 312"/>
                <a:gd name="T73" fmla="*/ 243 h 467"/>
                <a:gd name="T74" fmla="*/ 269 w 312"/>
                <a:gd name="T75" fmla="*/ 260 h 467"/>
                <a:gd name="T76" fmla="*/ 269 w 312"/>
                <a:gd name="T77" fmla="*/ 267 h 467"/>
                <a:gd name="T78" fmla="*/ 274 w 312"/>
                <a:gd name="T79" fmla="*/ 276 h 467"/>
                <a:gd name="T80" fmla="*/ 274 w 312"/>
                <a:gd name="T81" fmla="*/ 300 h 467"/>
                <a:gd name="T82" fmla="*/ 269 w 312"/>
                <a:gd name="T83" fmla="*/ 300 h 467"/>
                <a:gd name="T84" fmla="*/ 286 w 312"/>
                <a:gd name="T85" fmla="*/ 338 h 467"/>
                <a:gd name="T86" fmla="*/ 302 w 312"/>
                <a:gd name="T87" fmla="*/ 349 h 467"/>
                <a:gd name="T88" fmla="*/ 312 w 312"/>
                <a:gd name="T89" fmla="*/ 361 h 467"/>
                <a:gd name="T90" fmla="*/ 302 w 312"/>
                <a:gd name="T91" fmla="*/ 390 h 467"/>
                <a:gd name="T92" fmla="*/ 274 w 312"/>
                <a:gd name="T93" fmla="*/ 390 h 467"/>
                <a:gd name="T94" fmla="*/ 269 w 312"/>
                <a:gd name="T95" fmla="*/ 373 h 467"/>
                <a:gd name="T96" fmla="*/ 248 w 312"/>
                <a:gd name="T97" fmla="*/ 361 h 467"/>
                <a:gd name="T98" fmla="*/ 269 w 312"/>
                <a:gd name="T99" fmla="*/ 373 h 467"/>
                <a:gd name="T100" fmla="*/ 274 w 312"/>
                <a:gd name="T101" fmla="*/ 390 h 467"/>
                <a:gd name="T102" fmla="*/ 248 w 312"/>
                <a:gd name="T103" fmla="*/ 390 h 467"/>
                <a:gd name="T104" fmla="*/ 177 w 312"/>
                <a:gd name="T105" fmla="*/ 427 h 467"/>
                <a:gd name="T106" fmla="*/ 113 w 312"/>
                <a:gd name="T107" fmla="*/ 444 h 467"/>
                <a:gd name="T108" fmla="*/ 85 w 312"/>
                <a:gd name="T109" fmla="*/ 467 h 467"/>
                <a:gd name="T110" fmla="*/ 68 w 312"/>
                <a:gd name="T111" fmla="*/ 451 h 467"/>
                <a:gd name="T112" fmla="*/ 16 w 312"/>
                <a:gd name="T113" fmla="*/ 432 h 467"/>
                <a:gd name="T114" fmla="*/ 16 w 312"/>
                <a:gd name="T115" fmla="*/ 432 h 467"/>
                <a:gd name="T116" fmla="*/ 16 w 312"/>
                <a:gd name="T117" fmla="*/ 432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2" h="467">
                  <a:moveTo>
                    <a:pt x="16" y="432"/>
                  </a:moveTo>
                  <a:lnTo>
                    <a:pt x="16" y="432"/>
                  </a:lnTo>
                  <a:lnTo>
                    <a:pt x="21" y="432"/>
                  </a:lnTo>
                  <a:lnTo>
                    <a:pt x="38" y="432"/>
                  </a:lnTo>
                  <a:lnTo>
                    <a:pt x="38" y="406"/>
                  </a:lnTo>
                  <a:lnTo>
                    <a:pt x="21" y="394"/>
                  </a:lnTo>
                  <a:lnTo>
                    <a:pt x="0" y="321"/>
                  </a:lnTo>
                  <a:lnTo>
                    <a:pt x="4" y="316"/>
                  </a:lnTo>
                  <a:lnTo>
                    <a:pt x="21" y="295"/>
                  </a:lnTo>
                  <a:lnTo>
                    <a:pt x="38" y="227"/>
                  </a:lnTo>
                  <a:lnTo>
                    <a:pt x="54" y="210"/>
                  </a:lnTo>
                  <a:lnTo>
                    <a:pt x="42" y="156"/>
                  </a:lnTo>
                  <a:lnTo>
                    <a:pt x="38" y="149"/>
                  </a:lnTo>
                  <a:lnTo>
                    <a:pt x="42" y="116"/>
                  </a:lnTo>
                  <a:lnTo>
                    <a:pt x="38" y="111"/>
                  </a:lnTo>
                  <a:lnTo>
                    <a:pt x="38" y="61"/>
                  </a:lnTo>
                  <a:lnTo>
                    <a:pt x="21" y="26"/>
                  </a:lnTo>
                  <a:lnTo>
                    <a:pt x="30" y="5"/>
                  </a:lnTo>
                  <a:lnTo>
                    <a:pt x="160" y="5"/>
                  </a:lnTo>
                  <a:lnTo>
                    <a:pt x="182" y="5"/>
                  </a:lnTo>
                  <a:lnTo>
                    <a:pt x="182" y="16"/>
                  </a:lnTo>
                  <a:lnTo>
                    <a:pt x="205" y="0"/>
                  </a:lnTo>
                  <a:lnTo>
                    <a:pt x="219" y="0"/>
                  </a:lnTo>
                  <a:lnTo>
                    <a:pt x="231" y="5"/>
                  </a:lnTo>
                  <a:lnTo>
                    <a:pt x="219" y="26"/>
                  </a:lnTo>
                  <a:lnTo>
                    <a:pt x="252" y="54"/>
                  </a:lnTo>
                  <a:lnTo>
                    <a:pt x="252" y="61"/>
                  </a:lnTo>
                  <a:lnTo>
                    <a:pt x="257" y="78"/>
                  </a:lnTo>
                  <a:lnTo>
                    <a:pt x="248" y="116"/>
                  </a:lnTo>
                  <a:lnTo>
                    <a:pt x="257" y="116"/>
                  </a:lnTo>
                  <a:lnTo>
                    <a:pt x="269" y="127"/>
                  </a:lnTo>
                  <a:lnTo>
                    <a:pt x="257" y="149"/>
                  </a:lnTo>
                  <a:lnTo>
                    <a:pt x="269" y="165"/>
                  </a:lnTo>
                  <a:lnTo>
                    <a:pt x="252" y="172"/>
                  </a:lnTo>
                  <a:lnTo>
                    <a:pt x="286" y="205"/>
                  </a:lnTo>
                  <a:lnTo>
                    <a:pt x="274" y="210"/>
                  </a:lnTo>
                  <a:lnTo>
                    <a:pt x="269" y="243"/>
                  </a:lnTo>
                  <a:lnTo>
                    <a:pt x="269" y="260"/>
                  </a:lnTo>
                  <a:lnTo>
                    <a:pt x="269" y="267"/>
                  </a:lnTo>
                  <a:lnTo>
                    <a:pt x="274" y="276"/>
                  </a:lnTo>
                  <a:lnTo>
                    <a:pt x="274" y="300"/>
                  </a:lnTo>
                  <a:lnTo>
                    <a:pt x="269" y="300"/>
                  </a:lnTo>
                  <a:lnTo>
                    <a:pt x="286" y="338"/>
                  </a:lnTo>
                  <a:lnTo>
                    <a:pt x="302" y="349"/>
                  </a:lnTo>
                  <a:lnTo>
                    <a:pt x="312" y="361"/>
                  </a:lnTo>
                  <a:lnTo>
                    <a:pt x="302" y="390"/>
                  </a:lnTo>
                  <a:lnTo>
                    <a:pt x="274" y="390"/>
                  </a:lnTo>
                  <a:lnTo>
                    <a:pt x="269" y="373"/>
                  </a:lnTo>
                  <a:lnTo>
                    <a:pt x="248" y="361"/>
                  </a:lnTo>
                  <a:lnTo>
                    <a:pt x="269" y="373"/>
                  </a:lnTo>
                  <a:lnTo>
                    <a:pt x="274" y="390"/>
                  </a:lnTo>
                  <a:lnTo>
                    <a:pt x="248" y="390"/>
                  </a:lnTo>
                  <a:lnTo>
                    <a:pt x="177" y="427"/>
                  </a:lnTo>
                  <a:lnTo>
                    <a:pt x="113" y="444"/>
                  </a:lnTo>
                  <a:lnTo>
                    <a:pt x="85" y="467"/>
                  </a:lnTo>
                  <a:lnTo>
                    <a:pt x="68" y="451"/>
                  </a:lnTo>
                  <a:lnTo>
                    <a:pt x="16" y="432"/>
                  </a:lnTo>
                  <a:lnTo>
                    <a:pt x="16" y="432"/>
                  </a:lnTo>
                  <a:lnTo>
                    <a:pt x="16" y="43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10" name="Freeform 458">
              <a:extLst>
                <a:ext uri="{FF2B5EF4-FFF2-40B4-BE49-F238E27FC236}">
                  <a16:creationId xmlns:a16="http://schemas.microsoft.com/office/drawing/2014/main" id="{75D9F37B-E352-43C2-A5E4-A67378427DBA}"/>
                </a:ext>
              </a:extLst>
            </p:cNvPr>
            <p:cNvSpPr>
              <a:spLocks/>
            </p:cNvSpPr>
            <p:nvPr/>
          </p:nvSpPr>
          <p:spPr bwMode="gray">
            <a:xfrm>
              <a:off x="6290689" y="3689166"/>
              <a:ext cx="213657" cy="160570"/>
            </a:xfrm>
            <a:custGeom>
              <a:avLst/>
              <a:gdLst>
                <a:gd name="T0" fmla="*/ 21 w 519"/>
                <a:gd name="T1" fmla="*/ 83 h 390"/>
                <a:gd name="T2" fmla="*/ 54 w 519"/>
                <a:gd name="T3" fmla="*/ 71 h 390"/>
                <a:gd name="T4" fmla="*/ 92 w 519"/>
                <a:gd name="T5" fmla="*/ 71 h 390"/>
                <a:gd name="T6" fmla="*/ 75 w 519"/>
                <a:gd name="T7" fmla="*/ 38 h 390"/>
                <a:gd name="T8" fmla="*/ 92 w 519"/>
                <a:gd name="T9" fmla="*/ 0 h 390"/>
                <a:gd name="T10" fmla="*/ 141 w 519"/>
                <a:gd name="T11" fmla="*/ 17 h 390"/>
                <a:gd name="T12" fmla="*/ 196 w 519"/>
                <a:gd name="T13" fmla="*/ 21 h 390"/>
                <a:gd name="T14" fmla="*/ 264 w 519"/>
                <a:gd name="T15" fmla="*/ 17 h 390"/>
                <a:gd name="T16" fmla="*/ 271 w 519"/>
                <a:gd name="T17" fmla="*/ 45 h 390"/>
                <a:gd name="T18" fmla="*/ 309 w 519"/>
                <a:gd name="T19" fmla="*/ 54 h 390"/>
                <a:gd name="T20" fmla="*/ 363 w 519"/>
                <a:gd name="T21" fmla="*/ 45 h 390"/>
                <a:gd name="T22" fmla="*/ 378 w 519"/>
                <a:gd name="T23" fmla="*/ 38 h 390"/>
                <a:gd name="T24" fmla="*/ 401 w 519"/>
                <a:gd name="T25" fmla="*/ 17 h 390"/>
                <a:gd name="T26" fmla="*/ 427 w 519"/>
                <a:gd name="T27" fmla="*/ 28 h 390"/>
                <a:gd name="T28" fmla="*/ 439 w 519"/>
                <a:gd name="T29" fmla="*/ 71 h 390"/>
                <a:gd name="T30" fmla="*/ 448 w 519"/>
                <a:gd name="T31" fmla="*/ 83 h 390"/>
                <a:gd name="T32" fmla="*/ 448 w 519"/>
                <a:gd name="T33" fmla="*/ 128 h 390"/>
                <a:gd name="T34" fmla="*/ 481 w 519"/>
                <a:gd name="T35" fmla="*/ 116 h 390"/>
                <a:gd name="T36" fmla="*/ 491 w 519"/>
                <a:gd name="T37" fmla="*/ 165 h 390"/>
                <a:gd name="T38" fmla="*/ 486 w 519"/>
                <a:gd name="T39" fmla="*/ 194 h 390"/>
                <a:gd name="T40" fmla="*/ 491 w 519"/>
                <a:gd name="T41" fmla="*/ 236 h 390"/>
                <a:gd name="T42" fmla="*/ 503 w 519"/>
                <a:gd name="T43" fmla="*/ 248 h 390"/>
                <a:gd name="T44" fmla="*/ 503 w 519"/>
                <a:gd name="T45" fmla="*/ 260 h 390"/>
                <a:gd name="T46" fmla="*/ 519 w 519"/>
                <a:gd name="T47" fmla="*/ 293 h 390"/>
                <a:gd name="T48" fmla="*/ 519 w 519"/>
                <a:gd name="T49" fmla="*/ 302 h 390"/>
                <a:gd name="T50" fmla="*/ 481 w 519"/>
                <a:gd name="T51" fmla="*/ 298 h 390"/>
                <a:gd name="T52" fmla="*/ 491 w 519"/>
                <a:gd name="T53" fmla="*/ 319 h 390"/>
                <a:gd name="T54" fmla="*/ 491 w 519"/>
                <a:gd name="T55" fmla="*/ 331 h 390"/>
                <a:gd name="T56" fmla="*/ 470 w 519"/>
                <a:gd name="T57" fmla="*/ 359 h 390"/>
                <a:gd name="T58" fmla="*/ 453 w 519"/>
                <a:gd name="T59" fmla="*/ 359 h 390"/>
                <a:gd name="T60" fmla="*/ 439 w 519"/>
                <a:gd name="T61" fmla="*/ 385 h 390"/>
                <a:gd name="T62" fmla="*/ 401 w 519"/>
                <a:gd name="T63" fmla="*/ 376 h 390"/>
                <a:gd name="T64" fmla="*/ 401 w 519"/>
                <a:gd name="T65" fmla="*/ 352 h 390"/>
                <a:gd name="T66" fmla="*/ 373 w 519"/>
                <a:gd name="T67" fmla="*/ 298 h 390"/>
                <a:gd name="T68" fmla="*/ 309 w 519"/>
                <a:gd name="T69" fmla="*/ 314 h 390"/>
                <a:gd name="T70" fmla="*/ 318 w 519"/>
                <a:gd name="T71" fmla="*/ 276 h 390"/>
                <a:gd name="T72" fmla="*/ 302 w 519"/>
                <a:gd name="T73" fmla="*/ 260 h 390"/>
                <a:gd name="T74" fmla="*/ 271 w 519"/>
                <a:gd name="T75" fmla="*/ 187 h 390"/>
                <a:gd name="T76" fmla="*/ 222 w 519"/>
                <a:gd name="T77" fmla="*/ 194 h 390"/>
                <a:gd name="T78" fmla="*/ 200 w 519"/>
                <a:gd name="T79" fmla="*/ 194 h 390"/>
                <a:gd name="T80" fmla="*/ 167 w 519"/>
                <a:gd name="T81" fmla="*/ 236 h 390"/>
                <a:gd name="T82" fmla="*/ 141 w 519"/>
                <a:gd name="T83" fmla="*/ 260 h 390"/>
                <a:gd name="T84" fmla="*/ 125 w 519"/>
                <a:gd name="T85" fmla="*/ 248 h 390"/>
                <a:gd name="T86" fmla="*/ 108 w 519"/>
                <a:gd name="T87" fmla="*/ 220 h 390"/>
                <a:gd name="T88" fmla="*/ 104 w 519"/>
                <a:gd name="T89" fmla="*/ 220 h 390"/>
                <a:gd name="T90" fmla="*/ 104 w 519"/>
                <a:gd name="T91" fmla="*/ 203 h 390"/>
                <a:gd name="T92" fmla="*/ 92 w 519"/>
                <a:gd name="T93" fmla="*/ 210 h 390"/>
                <a:gd name="T94" fmla="*/ 87 w 519"/>
                <a:gd name="T95" fmla="*/ 203 h 390"/>
                <a:gd name="T96" fmla="*/ 37 w 519"/>
                <a:gd name="T97" fmla="*/ 154 h 390"/>
                <a:gd name="T98" fmla="*/ 37 w 519"/>
                <a:gd name="T99" fmla="*/ 132 h 390"/>
                <a:gd name="T100" fmla="*/ 16 w 519"/>
                <a:gd name="T101" fmla="*/ 128 h 390"/>
                <a:gd name="T102" fmla="*/ 16 w 519"/>
                <a:gd name="T103" fmla="*/ 116 h 390"/>
                <a:gd name="T104" fmla="*/ 0 w 519"/>
                <a:gd name="T105" fmla="*/ 132 h 390"/>
                <a:gd name="T106" fmla="*/ 0 w 519"/>
                <a:gd name="T107" fmla="*/ 128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9" h="390">
                  <a:moveTo>
                    <a:pt x="0" y="128"/>
                  </a:moveTo>
                  <a:lnTo>
                    <a:pt x="21" y="83"/>
                  </a:lnTo>
                  <a:lnTo>
                    <a:pt x="37" y="78"/>
                  </a:lnTo>
                  <a:lnTo>
                    <a:pt x="54" y="71"/>
                  </a:lnTo>
                  <a:lnTo>
                    <a:pt x="75" y="71"/>
                  </a:lnTo>
                  <a:lnTo>
                    <a:pt x="92" y="71"/>
                  </a:lnTo>
                  <a:lnTo>
                    <a:pt x="92" y="45"/>
                  </a:lnTo>
                  <a:lnTo>
                    <a:pt x="75" y="38"/>
                  </a:lnTo>
                  <a:lnTo>
                    <a:pt x="104" y="21"/>
                  </a:lnTo>
                  <a:lnTo>
                    <a:pt x="92" y="0"/>
                  </a:lnTo>
                  <a:lnTo>
                    <a:pt x="141" y="0"/>
                  </a:lnTo>
                  <a:lnTo>
                    <a:pt x="141" y="17"/>
                  </a:lnTo>
                  <a:lnTo>
                    <a:pt x="158" y="7"/>
                  </a:lnTo>
                  <a:lnTo>
                    <a:pt x="196" y="21"/>
                  </a:lnTo>
                  <a:lnTo>
                    <a:pt x="217" y="17"/>
                  </a:lnTo>
                  <a:lnTo>
                    <a:pt x="264" y="17"/>
                  </a:lnTo>
                  <a:lnTo>
                    <a:pt x="255" y="28"/>
                  </a:lnTo>
                  <a:lnTo>
                    <a:pt x="271" y="45"/>
                  </a:lnTo>
                  <a:lnTo>
                    <a:pt x="285" y="28"/>
                  </a:lnTo>
                  <a:lnTo>
                    <a:pt x="309" y="54"/>
                  </a:lnTo>
                  <a:lnTo>
                    <a:pt x="330" y="28"/>
                  </a:lnTo>
                  <a:lnTo>
                    <a:pt x="363" y="45"/>
                  </a:lnTo>
                  <a:lnTo>
                    <a:pt x="378" y="45"/>
                  </a:lnTo>
                  <a:lnTo>
                    <a:pt x="378" y="38"/>
                  </a:lnTo>
                  <a:lnTo>
                    <a:pt x="401" y="28"/>
                  </a:lnTo>
                  <a:lnTo>
                    <a:pt x="401" y="17"/>
                  </a:lnTo>
                  <a:lnTo>
                    <a:pt x="427" y="17"/>
                  </a:lnTo>
                  <a:lnTo>
                    <a:pt x="427" y="28"/>
                  </a:lnTo>
                  <a:lnTo>
                    <a:pt x="439" y="54"/>
                  </a:lnTo>
                  <a:lnTo>
                    <a:pt x="439" y="71"/>
                  </a:lnTo>
                  <a:lnTo>
                    <a:pt x="448" y="71"/>
                  </a:lnTo>
                  <a:lnTo>
                    <a:pt x="448" y="83"/>
                  </a:lnTo>
                  <a:lnTo>
                    <a:pt x="470" y="95"/>
                  </a:lnTo>
                  <a:lnTo>
                    <a:pt x="448" y="128"/>
                  </a:lnTo>
                  <a:lnTo>
                    <a:pt x="465" y="116"/>
                  </a:lnTo>
                  <a:lnTo>
                    <a:pt x="481" y="116"/>
                  </a:lnTo>
                  <a:lnTo>
                    <a:pt x="481" y="154"/>
                  </a:lnTo>
                  <a:lnTo>
                    <a:pt x="491" y="165"/>
                  </a:lnTo>
                  <a:lnTo>
                    <a:pt x="491" y="182"/>
                  </a:lnTo>
                  <a:lnTo>
                    <a:pt x="486" y="194"/>
                  </a:lnTo>
                  <a:lnTo>
                    <a:pt x="486" y="227"/>
                  </a:lnTo>
                  <a:lnTo>
                    <a:pt x="491" y="236"/>
                  </a:lnTo>
                  <a:lnTo>
                    <a:pt x="503" y="236"/>
                  </a:lnTo>
                  <a:lnTo>
                    <a:pt x="503" y="248"/>
                  </a:lnTo>
                  <a:lnTo>
                    <a:pt x="519" y="260"/>
                  </a:lnTo>
                  <a:lnTo>
                    <a:pt x="503" y="260"/>
                  </a:lnTo>
                  <a:lnTo>
                    <a:pt x="503" y="276"/>
                  </a:lnTo>
                  <a:lnTo>
                    <a:pt x="519" y="293"/>
                  </a:lnTo>
                  <a:lnTo>
                    <a:pt x="519" y="302"/>
                  </a:lnTo>
                  <a:lnTo>
                    <a:pt x="519" y="302"/>
                  </a:lnTo>
                  <a:lnTo>
                    <a:pt x="507" y="298"/>
                  </a:lnTo>
                  <a:lnTo>
                    <a:pt x="481" y="298"/>
                  </a:lnTo>
                  <a:lnTo>
                    <a:pt x="481" y="319"/>
                  </a:lnTo>
                  <a:lnTo>
                    <a:pt x="491" y="319"/>
                  </a:lnTo>
                  <a:lnTo>
                    <a:pt x="503" y="336"/>
                  </a:lnTo>
                  <a:lnTo>
                    <a:pt x="491" y="331"/>
                  </a:lnTo>
                  <a:lnTo>
                    <a:pt x="481" y="369"/>
                  </a:lnTo>
                  <a:lnTo>
                    <a:pt x="470" y="359"/>
                  </a:lnTo>
                  <a:lnTo>
                    <a:pt x="465" y="369"/>
                  </a:lnTo>
                  <a:lnTo>
                    <a:pt x="453" y="359"/>
                  </a:lnTo>
                  <a:lnTo>
                    <a:pt x="448" y="359"/>
                  </a:lnTo>
                  <a:lnTo>
                    <a:pt x="439" y="385"/>
                  </a:lnTo>
                  <a:lnTo>
                    <a:pt x="415" y="390"/>
                  </a:lnTo>
                  <a:lnTo>
                    <a:pt x="401" y="376"/>
                  </a:lnTo>
                  <a:lnTo>
                    <a:pt x="394" y="385"/>
                  </a:lnTo>
                  <a:lnTo>
                    <a:pt x="401" y="352"/>
                  </a:lnTo>
                  <a:lnTo>
                    <a:pt x="394" y="314"/>
                  </a:lnTo>
                  <a:lnTo>
                    <a:pt x="373" y="298"/>
                  </a:lnTo>
                  <a:lnTo>
                    <a:pt x="340" y="298"/>
                  </a:lnTo>
                  <a:lnTo>
                    <a:pt x="309" y="314"/>
                  </a:lnTo>
                  <a:lnTo>
                    <a:pt x="323" y="281"/>
                  </a:lnTo>
                  <a:lnTo>
                    <a:pt x="318" y="276"/>
                  </a:lnTo>
                  <a:lnTo>
                    <a:pt x="318" y="260"/>
                  </a:lnTo>
                  <a:lnTo>
                    <a:pt x="302" y="260"/>
                  </a:lnTo>
                  <a:lnTo>
                    <a:pt x="309" y="243"/>
                  </a:lnTo>
                  <a:lnTo>
                    <a:pt x="271" y="187"/>
                  </a:lnTo>
                  <a:lnTo>
                    <a:pt x="222" y="187"/>
                  </a:lnTo>
                  <a:lnTo>
                    <a:pt x="222" y="194"/>
                  </a:lnTo>
                  <a:lnTo>
                    <a:pt x="210" y="203"/>
                  </a:lnTo>
                  <a:lnTo>
                    <a:pt x="200" y="194"/>
                  </a:lnTo>
                  <a:lnTo>
                    <a:pt x="184" y="194"/>
                  </a:lnTo>
                  <a:lnTo>
                    <a:pt x="167" y="236"/>
                  </a:lnTo>
                  <a:lnTo>
                    <a:pt x="146" y="243"/>
                  </a:lnTo>
                  <a:lnTo>
                    <a:pt x="141" y="260"/>
                  </a:lnTo>
                  <a:lnTo>
                    <a:pt x="125" y="260"/>
                  </a:lnTo>
                  <a:lnTo>
                    <a:pt x="125" y="248"/>
                  </a:lnTo>
                  <a:lnTo>
                    <a:pt x="108" y="227"/>
                  </a:lnTo>
                  <a:lnTo>
                    <a:pt x="108" y="220"/>
                  </a:lnTo>
                  <a:lnTo>
                    <a:pt x="108" y="227"/>
                  </a:lnTo>
                  <a:lnTo>
                    <a:pt x="104" y="220"/>
                  </a:lnTo>
                  <a:lnTo>
                    <a:pt x="104" y="210"/>
                  </a:lnTo>
                  <a:lnTo>
                    <a:pt x="104" y="203"/>
                  </a:lnTo>
                  <a:lnTo>
                    <a:pt x="104" y="210"/>
                  </a:lnTo>
                  <a:lnTo>
                    <a:pt x="92" y="210"/>
                  </a:lnTo>
                  <a:lnTo>
                    <a:pt x="104" y="194"/>
                  </a:lnTo>
                  <a:lnTo>
                    <a:pt x="87" y="203"/>
                  </a:lnTo>
                  <a:lnTo>
                    <a:pt x="49" y="170"/>
                  </a:lnTo>
                  <a:lnTo>
                    <a:pt x="37" y="154"/>
                  </a:lnTo>
                  <a:lnTo>
                    <a:pt x="33" y="154"/>
                  </a:lnTo>
                  <a:lnTo>
                    <a:pt x="37" y="132"/>
                  </a:lnTo>
                  <a:lnTo>
                    <a:pt x="21" y="149"/>
                  </a:lnTo>
                  <a:lnTo>
                    <a:pt x="16" y="128"/>
                  </a:lnTo>
                  <a:lnTo>
                    <a:pt x="21" y="116"/>
                  </a:lnTo>
                  <a:lnTo>
                    <a:pt x="16" y="116"/>
                  </a:lnTo>
                  <a:lnTo>
                    <a:pt x="4" y="132"/>
                  </a:lnTo>
                  <a:lnTo>
                    <a:pt x="0" y="132"/>
                  </a:lnTo>
                  <a:lnTo>
                    <a:pt x="0" y="128"/>
                  </a:lnTo>
                  <a:lnTo>
                    <a:pt x="0" y="128"/>
                  </a:lnTo>
                  <a:lnTo>
                    <a:pt x="0" y="12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11" name="Freeform 460">
              <a:extLst>
                <a:ext uri="{FF2B5EF4-FFF2-40B4-BE49-F238E27FC236}">
                  <a16:creationId xmlns:a16="http://schemas.microsoft.com/office/drawing/2014/main" id="{74425C1C-0D1E-4F20-98C1-4954771C99C0}"/>
                </a:ext>
              </a:extLst>
            </p:cNvPr>
            <p:cNvSpPr>
              <a:spLocks/>
            </p:cNvSpPr>
            <p:nvPr/>
          </p:nvSpPr>
          <p:spPr bwMode="gray">
            <a:xfrm>
              <a:off x="7713009" y="3097941"/>
              <a:ext cx="9057" cy="8646"/>
            </a:xfrm>
            <a:custGeom>
              <a:avLst/>
              <a:gdLst>
                <a:gd name="T0" fmla="*/ 22 w 22"/>
                <a:gd name="T1" fmla="*/ 0 h 21"/>
                <a:gd name="T2" fmla="*/ 22 w 22"/>
                <a:gd name="T3" fmla="*/ 0 h 21"/>
                <a:gd name="T4" fmla="*/ 10 w 22"/>
                <a:gd name="T5" fmla="*/ 21 h 21"/>
                <a:gd name="T6" fmla="*/ 0 w 22"/>
                <a:gd name="T7" fmla="*/ 14 h 21"/>
                <a:gd name="T8" fmla="*/ 22 w 22"/>
                <a:gd name="T9" fmla="*/ 0 h 21"/>
                <a:gd name="T10" fmla="*/ 22 w 22"/>
                <a:gd name="T11" fmla="*/ 0 h 21"/>
                <a:gd name="T12" fmla="*/ 22 w 2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22" y="0"/>
                  </a:moveTo>
                  <a:lnTo>
                    <a:pt x="22" y="0"/>
                  </a:lnTo>
                  <a:lnTo>
                    <a:pt x="10" y="21"/>
                  </a:lnTo>
                  <a:lnTo>
                    <a:pt x="0" y="14"/>
                  </a:lnTo>
                  <a:lnTo>
                    <a:pt x="22" y="0"/>
                  </a:lnTo>
                  <a:lnTo>
                    <a:pt x="22" y="0"/>
                  </a:lnTo>
                  <a:lnTo>
                    <a:pt x="22"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12" name="Freeform 462">
              <a:extLst>
                <a:ext uri="{FF2B5EF4-FFF2-40B4-BE49-F238E27FC236}">
                  <a16:creationId xmlns:a16="http://schemas.microsoft.com/office/drawing/2014/main" id="{97B8BB83-0630-44E4-9A87-EE59FD549A65}"/>
                </a:ext>
              </a:extLst>
            </p:cNvPr>
            <p:cNvSpPr>
              <a:spLocks/>
            </p:cNvSpPr>
            <p:nvPr/>
          </p:nvSpPr>
          <p:spPr bwMode="gray">
            <a:xfrm>
              <a:off x="8840161" y="5802503"/>
              <a:ext cx="17702" cy="8646"/>
            </a:xfrm>
            <a:custGeom>
              <a:avLst/>
              <a:gdLst>
                <a:gd name="T0" fmla="*/ 43 w 43"/>
                <a:gd name="T1" fmla="*/ 17 h 21"/>
                <a:gd name="T2" fmla="*/ 14 w 43"/>
                <a:gd name="T3" fmla="*/ 21 h 21"/>
                <a:gd name="T4" fmla="*/ 0 w 43"/>
                <a:gd name="T5" fmla="*/ 0 h 21"/>
                <a:gd name="T6" fmla="*/ 43 w 43"/>
                <a:gd name="T7" fmla="*/ 17 h 21"/>
                <a:gd name="T8" fmla="*/ 43 w 43"/>
                <a:gd name="T9" fmla="*/ 17 h 21"/>
                <a:gd name="T10" fmla="*/ 43 w 43"/>
                <a:gd name="T11" fmla="*/ 17 h 21"/>
              </a:gdLst>
              <a:ahLst/>
              <a:cxnLst>
                <a:cxn ang="0">
                  <a:pos x="T0" y="T1"/>
                </a:cxn>
                <a:cxn ang="0">
                  <a:pos x="T2" y="T3"/>
                </a:cxn>
                <a:cxn ang="0">
                  <a:pos x="T4" y="T5"/>
                </a:cxn>
                <a:cxn ang="0">
                  <a:pos x="T6" y="T7"/>
                </a:cxn>
                <a:cxn ang="0">
                  <a:pos x="T8" y="T9"/>
                </a:cxn>
                <a:cxn ang="0">
                  <a:pos x="T10" y="T11"/>
                </a:cxn>
              </a:cxnLst>
              <a:rect l="0" t="0" r="r" b="b"/>
              <a:pathLst>
                <a:path w="43" h="21">
                  <a:moveTo>
                    <a:pt x="43" y="17"/>
                  </a:moveTo>
                  <a:lnTo>
                    <a:pt x="14" y="21"/>
                  </a:lnTo>
                  <a:lnTo>
                    <a:pt x="0" y="0"/>
                  </a:lnTo>
                  <a:lnTo>
                    <a:pt x="43" y="17"/>
                  </a:lnTo>
                  <a:lnTo>
                    <a:pt x="43" y="17"/>
                  </a:lnTo>
                  <a:lnTo>
                    <a:pt x="43"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13" name="Freeform 470">
              <a:extLst>
                <a:ext uri="{FF2B5EF4-FFF2-40B4-BE49-F238E27FC236}">
                  <a16:creationId xmlns:a16="http://schemas.microsoft.com/office/drawing/2014/main" id="{1B3BA914-125A-4B25-83FC-6A6623575E2E}"/>
                </a:ext>
              </a:extLst>
            </p:cNvPr>
            <p:cNvSpPr>
              <a:spLocks/>
            </p:cNvSpPr>
            <p:nvPr/>
          </p:nvSpPr>
          <p:spPr bwMode="gray">
            <a:xfrm>
              <a:off x="8815050" y="4277508"/>
              <a:ext cx="3705" cy="6999"/>
            </a:xfrm>
            <a:custGeom>
              <a:avLst/>
              <a:gdLst>
                <a:gd name="T0" fmla="*/ 9 w 9"/>
                <a:gd name="T1" fmla="*/ 17 h 17"/>
                <a:gd name="T2" fmla="*/ 0 w 9"/>
                <a:gd name="T3" fmla="*/ 12 h 17"/>
                <a:gd name="T4" fmla="*/ 9 w 9"/>
                <a:gd name="T5" fmla="*/ 17 h 17"/>
                <a:gd name="T6" fmla="*/ 9 w 9"/>
                <a:gd name="T7" fmla="*/ 0 h 17"/>
                <a:gd name="T8" fmla="*/ 9 w 9"/>
                <a:gd name="T9" fmla="*/ 12 h 17"/>
                <a:gd name="T10" fmla="*/ 9 w 9"/>
                <a:gd name="T11" fmla="*/ 17 h 17"/>
                <a:gd name="T12" fmla="*/ 9 w 9"/>
                <a:gd name="T13" fmla="*/ 17 h 17"/>
                <a:gd name="T14" fmla="*/ 9 w 9"/>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7">
                  <a:moveTo>
                    <a:pt x="9" y="17"/>
                  </a:moveTo>
                  <a:lnTo>
                    <a:pt x="0" y="12"/>
                  </a:lnTo>
                  <a:lnTo>
                    <a:pt x="9" y="17"/>
                  </a:lnTo>
                  <a:lnTo>
                    <a:pt x="9" y="0"/>
                  </a:lnTo>
                  <a:lnTo>
                    <a:pt x="9" y="12"/>
                  </a:lnTo>
                  <a:lnTo>
                    <a:pt x="9" y="17"/>
                  </a:lnTo>
                  <a:lnTo>
                    <a:pt x="9" y="17"/>
                  </a:lnTo>
                  <a:lnTo>
                    <a:pt x="9"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14" name="Freeform 471">
              <a:extLst>
                <a:ext uri="{FF2B5EF4-FFF2-40B4-BE49-F238E27FC236}">
                  <a16:creationId xmlns:a16="http://schemas.microsoft.com/office/drawing/2014/main" id="{CF3BFC56-C04A-45F7-8305-B8D6ADF2B54D}"/>
                </a:ext>
              </a:extLst>
            </p:cNvPr>
            <p:cNvSpPr>
              <a:spLocks noEditPoints="1"/>
            </p:cNvSpPr>
            <p:nvPr/>
          </p:nvSpPr>
          <p:spPr bwMode="gray">
            <a:xfrm>
              <a:off x="7995003" y="2821679"/>
              <a:ext cx="560283" cy="484178"/>
            </a:xfrm>
            <a:custGeom>
              <a:avLst/>
              <a:gdLst>
                <a:gd name="T0" fmla="*/ 1252 w 1361"/>
                <a:gd name="T1" fmla="*/ 711 h 1176"/>
                <a:gd name="T2" fmla="*/ 1238 w 1361"/>
                <a:gd name="T3" fmla="*/ 893 h 1176"/>
                <a:gd name="T4" fmla="*/ 1323 w 1361"/>
                <a:gd name="T5" fmla="*/ 933 h 1176"/>
                <a:gd name="T6" fmla="*/ 1361 w 1361"/>
                <a:gd name="T7" fmla="*/ 1021 h 1176"/>
                <a:gd name="T8" fmla="*/ 1297 w 1361"/>
                <a:gd name="T9" fmla="*/ 1061 h 1176"/>
                <a:gd name="T10" fmla="*/ 1252 w 1361"/>
                <a:gd name="T11" fmla="*/ 1094 h 1176"/>
                <a:gd name="T12" fmla="*/ 1222 w 1361"/>
                <a:gd name="T13" fmla="*/ 1176 h 1176"/>
                <a:gd name="T14" fmla="*/ 1163 w 1361"/>
                <a:gd name="T15" fmla="*/ 1165 h 1176"/>
                <a:gd name="T16" fmla="*/ 1059 w 1361"/>
                <a:gd name="T17" fmla="*/ 1155 h 1176"/>
                <a:gd name="T18" fmla="*/ 983 w 1361"/>
                <a:gd name="T19" fmla="*/ 1132 h 1176"/>
                <a:gd name="T20" fmla="*/ 898 w 1361"/>
                <a:gd name="T21" fmla="*/ 1021 h 1176"/>
                <a:gd name="T22" fmla="*/ 823 w 1361"/>
                <a:gd name="T23" fmla="*/ 1028 h 1176"/>
                <a:gd name="T24" fmla="*/ 730 w 1361"/>
                <a:gd name="T25" fmla="*/ 1054 h 1176"/>
                <a:gd name="T26" fmla="*/ 605 w 1361"/>
                <a:gd name="T27" fmla="*/ 999 h 1176"/>
                <a:gd name="T28" fmla="*/ 525 w 1361"/>
                <a:gd name="T29" fmla="*/ 954 h 1176"/>
                <a:gd name="T30" fmla="*/ 482 w 1361"/>
                <a:gd name="T31" fmla="*/ 876 h 1176"/>
                <a:gd name="T32" fmla="*/ 466 w 1361"/>
                <a:gd name="T33" fmla="*/ 839 h 1176"/>
                <a:gd name="T34" fmla="*/ 390 w 1361"/>
                <a:gd name="T35" fmla="*/ 782 h 1176"/>
                <a:gd name="T36" fmla="*/ 374 w 1361"/>
                <a:gd name="T37" fmla="*/ 761 h 1176"/>
                <a:gd name="T38" fmla="*/ 319 w 1361"/>
                <a:gd name="T39" fmla="*/ 798 h 1176"/>
                <a:gd name="T40" fmla="*/ 286 w 1361"/>
                <a:gd name="T41" fmla="*/ 721 h 1176"/>
                <a:gd name="T42" fmla="*/ 244 w 1361"/>
                <a:gd name="T43" fmla="*/ 610 h 1176"/>
                <a:gd name="T44" fmla="*/ 147 w 1361"/>
                <a:gd name="T45" fmla="*/ 560 h 1176"/>
                <a:gd name="T46" fmla="*/ 142 w 1361"/>
                <a:gd name="T47" fmla="*/ 510 h 1176"/>
                <a:gd name="T48" fmla="*/ 104 w 1361"/>
                <a:gd name="T49" fmla="*/ 473 h 1176"/>
                <a:gd name="T50" fmla="*/ 109 w 1361"/>
                <a:gd name="T51" fmla="*/ 428 h 1176"/>
                <a:gd name="T52" fmla="*/ 142 w 1361"/>
                <a:gd name="T53" fmla="*/ 390 h 1176"/>
                <a:gd name="T54" fmla="*/ 142 w 1361"/>
                <a:gd name="T55" fmla="*/ 338 h 1176"/>
                <a:gd name="T56" fmla="*/ 119 w 1361"/>
                <a:gd name="T57" fmla="*/ 317 h 1176"/>
                <a:gd name="T58" fmla="*/ 71 w 1361"/>
                <a:gd name="T59" fmla="*/ 267 h 1176"/>
                <a:gd name="T60" fmla="*/ 55 w 1361"/>
                <a:gd name="T61" fmla="*/ 222 h 1176"/>
                <a:gd name="T62" fmla="*/ 17 w 1361"/>
                <a:gd name="T63" fmla="*/ 156 h 1176"/>
                <a:gd name="T64" fmla="*/ 17 w 1361"/>
                <a:gd name="T65" fmla="*/ 66 h 1176"/>
                <a:gd name="T66" fmla="*/ 34 w 1361"/>
                <a:gd name="T67" fmla="*/ 7 h 1176"/>
                <a:gd name="T68" fmla="*/ 93 w 1361"/>
                <a:gd name="T69" fmla="*/ 45 h 1176"/>
                <a:gd name="T70" fmla="*/ 201 w 1361"/>
                <a:gd name="T71" fmla="*/ 45 h 1176"/>
                <a:gd name="T72" fmla="*/ 303 w 1361"/>
                <a:gd name="T73" fmla="*/ 62 h 1176"/>
                <a:gd name="T74" fmla="*/ 308 w 1361"/>
                <a:gd name="T75" fmla="*/ 95 h 1176"/>
                <a:gd name="T76" fmla="*/ 357 w 1361"/>
                <a:gd name="T77" fmla="*/ 173 h 1176"/>
                <a:gd name="T78" fmla="*/ 504 w 1361"/>
                <a:gd name="T79" fmla="*/ 250 h 1176"/>
                <a:gd name="T80" fmla="*/ 697 w 1361"/>
                <a:gd name="T81" fmla="*/ 246 h 1176"/>
                <a:gd name="T82" fmla="*/ 719 w 1361"/>
                <a:gd name="T83" fmla="*/ 206 h 1176"/>
                <a:gd name="T84" fmla="*/ 806 w 1361"/>
                <a:gd name="T85" fmla="*/ 139 h 1176"/>
                <a:gd name="T86" fmla="*/ 874 w 1361"/>
                <a:gd name="T87" fmla="*/ 123 h 1176"/>
                <a:gd name="T88" fmla="*/ 945 w 1361"/>
                <a:gd name="T89" fmla="*/ 151 h 1176"/>
                <a:gd name="T90" fmla="*/ 1075 w 1361"/>
                <a:gd name="T91" fmla="*/ 189 h 1176"/>
                <a:gd name="T92" fmla="*/ 1205 w 1361"/>
                <a:gd name="T93" fmla="*/ 262 h 1176"/>
                <a:gd name="T94" fmla="*/ 1189 w 1361"/>
                <a:gd name="T95" fmla="*/ 428 h 1176"/>
                <a:gd name="T96" fmla="*/ 1163 w 1361"/>
                <a:gd name="T97" fmla="*/ 465 h 1176"/>
                <a:gd name="T98" fmla="*/ 1184 w 1361"/>
                <a:gd name="T99" fmla="*/ 617 h 1176"/>
                <a:gd name="T100" fmla="*/ 865 w 1361"/>
                <a:gd name="T101" fmla="*/ 1037 h 1176"/>
                <a:gd name="T102" fmla="*/ 827 w 1361"/>
                <a:gd name="T103" fmla="*/ 1044 h 1176"/>
                <a:gd name="T104" fmla="*/ 865 w 1361"/>
                <a:gd name="T105" fmla="*/ 1037 h 1176"/>
                <a:gd name="T106" fmla="*/ 823 w 1361"/>
                <a:gd name="T107" fmla="*/ 1044 h 1176"/>
                <a:gd name="T108" fmla="*/ 697 w 1361"/>
                <a:gd name="T109" fmla="*/ 1065 h 1176"/>
                <a:gd name="T110" fmla="*/ 702 w 1361"/>
                <a:gd name="T111" fmla="*/ 1065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61" h="1176">
                  <a:moveTo>
                    <a:pt x="1184" y="638"/>
                  </a:moveTo>
                  <a:lnTo>
                    <a:pt x="1184" y="678"/>
                  </a:lnTo>
                  <a:lnTo>
                    <a:pt x="1243" y="687"/>
                  </a:lnTo>
                  <a:lnTo>
                    <a:pt x="1252" y="711"/>
                  </a:lnTo>
                  <a:lnTo>
                    <a:pt x="1243" y="732"/>
                  </a:lnTo>
                  <a:lnTo>
                    <a:pt x="1184" y="806"/>
                  </a:lnTo>
                  <a:lnTo>
                    <a:pt x="1215" y="843"/>
                  </a:lnTo>
                  <a:lnTo>
                    <a:pt x="1238" y="893"/>
                  </a:lnTo>
                  <a:lnTo>
                    <a:pt x="1260" y="910"/>
                  </a:lnTo>
                  <a:lnTo>
                    <a:pt x="1290" y="917"/>
                  </a:lnTo>
                  <a:lnTo>
                    <a:pt x="1307" y="933"/>
                  </a:lnTo>
                  <a:lnTo>
                    <a:pt x="1323" y="933"/>
                  </a:lnTo>
                  <a:lnTo>
                    <a:pt x="1323" y="999"/>
                  </a:lnTo>
                  <a:lnTo>
                    <a:pt x="1323" y="1011"/>
                  </a:lnTo>
                  <a:lnTo>
                    <a:pt x="1349" y="1004"/>
                  </a:lnTo>
                  <a:lnTo>
                    <a:pt x="1361" y="1021"/>
                  </a:lnTo>
                  <a:lnTo>
                    <a:pt x="1349" y="1021"/>
                  </a:lnTo>
                  <a:lnTo>
                    <a:pt x="1345" y="1061"/>
                  </a:lnTo>
                  <a:lnTo>
                    <a:pt x="1323" y="1061"/>
                  </a:lnTo>
                  <a:lnTo>
                    <a:pt x="1297" y="1061"/>
                  </a:lnTo>
                  <a:lnTo>
                    <a:pt x="1281" y="1065"/>
                  </a:lnTo>
                  <a:lnTo>
                    <a:pt x="1281" y="1077"/>
                  </a:lnTo>
                  <a:lnTo>
                    <a:pt x="1276" y="1077"/>
                  </a:lnTo>
                  <a:lnTo>
                    <a:pt x="1252" y="1094"/>
                  </a:lnTo>
                  <a:lnTo>
                    <a:pt x="1252" y="1120"/>
                  </a:lnTo>
                  <a:lnTo>
                    <a:pt x="1243" y="1120"/>
                  </a:lnTo>
                  <a:lnTo>
                    <a:pt x="1238" y="1172"/>
                  </a:lnTo>
                  <a:lnTo>
                    <a:pt x="1222" y="1176"/>
                  </a:lnTo>
                  <a:lnTo>
                    <a:pt x="1167" y="1165"/>
                  </a:lnTo>
                  <a:lnTo>
                    <a:pt x="1163" y="1148"/>
                  </a:lnTo>
                  <a:lnTo>
                    <a:pt x="1151" y="1155"/>
                  </a:lnTo>
                  <a:lnTo>
                    <a:pt x="1163" y="1165"/>
                  </a:lnTo>
                  <a:lnTo>
                    <a:pt x="1146" y="1155"/>
                  </a:lnTo>
                  <a:lnTo>
                    <a:pt x="1097" y="1155"/>
                  </a:lnTo>
                  <a:lnTo>
                    <a:pt x="1092" y="1148"/>
                  </a:lnTo>
                  <a:lnTo>
                    <a:pt x="1059" y="1155"/>
                  </a:lnTo>
                  <a:lnTo>
                    <a:pt x="1042" y="1139"/>
                  </a:lnTo>
                  <a:lnTo>
                    <a:pt x="1011" y="1139"/>
                  </a:lnTo>
                  <a:lnTo>
                    <a:pt x="1000" y="1139"/>
                  </a:lnTo>
                  <a:lnTo>
                    <a:pt x="983" y="1132"/>
                  </a:lnTo>
                  <a:lnTo>
                    <a:pt x="936" y="1120"/>
                  </a:lnTo>
                  <a:lnTo>
                    <a:pt x="929" y="1098"/>
                  </a:lnTo>
                  <a:lnTo>
                    <a:pt x="912" y="1044"/>
                  </a:lnTo>
                  <a:lnTo>
                    <a:pt x="898" y="1021"/>
                  </a:lnTo>
                  <a:lnTo>
                    <a:pt x="891" y="1021"/>
                  </a:lnTo>
                  <a:lnTo>
                    <a:pt x="849" y="1021"/>
                  </a:lnTo>
                  <a:lnTo>
                    <a:pt x="844" y="1028"/>
                  </a:lnTo>
                  <a:lnTo>
                    <a:pt x="823" y="1028"/>
                  </a:lnTo>
                  <a:lnTo>
                    <a:pt x="811" y="1044"/>
                  </a:lnTo>
                  <a:lnTo>
                    <a:pt x="789" y="1044"/>
                  </a:lnTo>
                  <a:lnTo>
                    <a:pt x="756" y="1065"/>
                  </a:lnTo>
                  <a:lnTo>
                    <a:pt x="730" y="1054"/>
                  </a:lnTo>
                  <a:lnTo>
                    <a:pt x="686" y="1054"/>
                  </a:lnTo>
                  <a:lnTo>
                    <a:pt x="660" y="1028"/>
                  </a:lnTo>
                  <a:lnTo>
                    <a:pt x="605" y="1004"/>
                  </a:lnTo>
                  <a:lnTo>
                    <a:pt x="605" y="999"/>
                  </a:lnTo>
                  <a:lnTo>
                    <a:pt x="596" y="983"/>
                  </a:lnTo>
                  <a:lnTo>
                    <a:pt x="567" y="966"/>
                  </a:lnTo>
                  <a:lnTo>
                    <a:pt x="534" y="966"/>
                  </a:lnTo>
                  <a:lnTo>
                    <a:pt x="525" y="954"/>
                  </a:lnTo>
                  <a:lnTo>
                    <a:pt x="497" y="910"/>
                  </a:lnTo>
                  <a:lnTo>
                    <a:pt x="497" y="893"/>
                  </a:lnTo>
                  <a:lnTo>
                    <a:pt x="482" y="876"/>
                  </a:lnTo>
                  <a:lnTo>
                    <a:pt x="482" y="876"/>
                  </a:lnTo>
                  <a:lnTo>
                    <a:pt x="487" y="876"/>
                  </a:lnTo>
                  <a:lnTo>
                    <a:pt x="487" y="872"/>
                  </a:lnTo>
                  <a:lnTo>
                    <a:pt x="466" y="860"/>
                  </a:lnTo>
                  <a:lnTo>
                    <a:pt x="466" y="839"/>
                  </a:lnTo>
                  <a:lnTo>
                    <a:pt x="433" y="798"/>
                  </a:lnTo>
                  <a:lnTo>
                    <a:pt x="428" y="777"/>
                  </a:lnTo>
                  <a:lnTo>
                    <a:pt x="390" y="789"/>
                  </a:lnTo>
                  <a:lnTo>
                    <a:pt x="390" y="782"/>
                  </a:lnTo>
                  <a:lnTo>
                    <a:pt x="357" y="777"/>
                  </a:lnTo>
                  <a:lnTo>
                    <a:pt x="352" y="765"/>
                  </a:lnTo>
                  <a:lnTo>
                    <a:pt x="362" y="765"/>
                  </a:lnTo>
                  <a:lnTo>
                    <a:pt x="374" y="761"/>
                  </a:lnTo>
                  <a:lnTo>
                    <a:pt x="352" y="749"/>
                  </a:lnTo>
                  <a:lnTo>
                    <a:pt x="341" y="765"/>
                  </a:lnTo>
                  <a:lnTo>
                    <a:pt x="352" y="789"/>
                  </a:lnTo>
                  <a:lnTo>
                    <a:pt x="319" y="798"/>
                  </a:lnTo>
                  <a:lnTo>
                    <a:pt x="308" y="798"/>
                  </a:lnTo>
                  <a:lnTo>
                    <a:pt x="308" y="777"/>
                  </a:lnTo>
                  <a:lnTo>
                    <a:pt x="286" y="761"/>
                  </a:lnTo>
                  <a:lnTo>
                    <a:pt x="286" y="721"/>
                  </a:lnTo>
                  <a:lnTo>
                    <a:pt x="265" y="721"/>
                  </a:lnTo>
                  <a:lnTo>
                    <a:pt x="265" y="678"/>
                  </a:lnTo>
                  <a:lnTo>
                    <a:pt x="270" y="654"/>
                  </a:lnTo>
                  <a:lnTo>
                    <a:pt x="244" y="610"/>
                  </a:lnTo>
                  <a:lnTo>
                    <a:pt x="244" y="600"/>
                  </a:lnTo>
                  <a:lnTo>
                    <a:pt x="227" y="600"/>
                  </a:lnTo>
                  <a:lnTo>
                    <a:pt x="173" y="560"/>
                  </a:lnTo>
                  <a:lnTo>
                    <a:pt x="147" y="560"/>
                  </a:lnTo>
                  <a:lnTo>
                    <a:pt x="156" y="539"/>
                  </a:lnTo>
                  <a:lnTo>
                    <a:pt x="142" y="510"/>
                  </a:lnTo>
                  <a:lnTo>
                    <a:pt x="135" y="510"/>
                  </a:lnTo>
                  <a:lnTo>
                    <a:pt x="142" y="510"/>
                  </a:lnTo>
                  <a:lnTo>
                    <a:pt x="135" y="506"/>
                  </a:lnTo>
                  <a:lnTo>
                    <a:pt x="126" y="506"/>
                  </a:lnTo>
                  <a:lnTo>
                    <a:pt x="109" y="482"/>
                  </a:lnTo>
                  <a:lnTo>
                    <a:pt x="104" y="473"/>
                  </a:lnTo>
                  <a:lnTo>
                    <a:pt x="109" y="465"/>
                  </a:lnTo>
                  <a:lnTo>
                    <a:pt x="109" y="449"/>
                  </a:lnTo>
                  <a:lnTo>
                    <a:pt x="104" y="432"/>
                  </a:lnTo>
                  <a:lnTo>
                    <a:pt x="109" y="428"/>
                  </a:lnTo>
                  <a:lnTo>
                    <a:pt x="126" y="432"/>
                  </a:lnTo>
                  <a:lnTo>
                    <a:pt x="119" y="416"/>
                  </a:lnTo>
                  <a:lnTo>
                    <a:pt x="135" y="399"/>
                  </a:lnTo>
                  <a:lnTo>
                    <a:pt x="142" y="390"/>
                  </a:lnTo>
                  <a:lnTo>
                    <a:pt x="156" y="390"/>
                  </a:lnTo>
                  <a:lnTo>
                    <a:pt x="156" y="378"/>
                  </a:lnTo>
                  <a:lnTo>
                    <a:pt x="142" y="354"/>
                  </a:lnTo>
                  <a:lnTo>
                    <a:pt x="142" y="338"/>
                  </a:lnTo>
                  <a:lnTo>
                    <a:pt x="163" y="333"/>
                  </a:lnTo>
                  <a:lnTo>
                    <a:pt x="147" y="321"/>
                  </a:lnTo>
                  <a:lnTo>
                    <a:pt x="126" y="333"/>
                  </a:lnTo>
                  <a:lnTo>
                    <a:pt x="119" y="317"/>
                  </a:lnTo>
                  <a:lnTo>
                    <a:pt x="104" y="317"/>
                  </a:lnTo>
                  <a:lnTo>
                    <a:pt x="93" y="284"/>
                  </a:lnTo>
                  <a:lnTo>
                    <a:pt x="81" y="279"/>
                  </a:lnTo>
                  <a:lnTo>
                    <a:pt x="71" y="267"/>
                  </a:lnTo>
                  <a:lnTo>
                    <a:pt x="81" y="250"/>
                  </a:lnTo>
                  <a:lnTo>
                    <a:pt x="67" y="246"/>
                  </a:lnTo>
                  <a:lnTo>
                    <a:pt x="67" y="227"/>
                  </a:lnTo>
                  <a:lnTo>
                    <a:pt x="55" y="222"/>
                  </a:lnTo>
                  <a:lnTo>
                    <a:pt x="55" y="206"/>
                  </a:lnTo>
                  <a:lnTo>
                    <a:pt x="38" y="194"/>
                  </a:lnTo>
                  <a:lnTo>
                    <a:pt x="50" y="173"/>
                  </a:lnTo>
                  <a:lnTo>
                    <a:pt x="17" y="156"/>
                  </a:lnTo>
                  <a:lnTo>
                    <a:pt x="34" y="118"/>
                  </a:lnTo>
                  <a:lnTo>
                    <a:pt x="29" y="118"/>
                  </a:lnTo>
                  <a:lnTo>
                    <a:pt x="29" y="78"/>
                  </a:lnTo>
                  <a:lnTo>
                    <a:pt x="17" y="66"/>
                  </a:lnTo>
                  <a:lnTo>
                    <a:pt x="17" y="57"/>
                  </a:lnTo>
                  <a:lnTo>
                    <a:pt x="0" y="28"/>
                  </a:lnTo>
                  <a:lnTo>
                    <a:pt x="34" y="28"/>
                  </a:lnTo>
                  <a:lnTo>
                    <a:pt x="34" y="7"/>
                  </a:lnTo>
                  <a:lnTo>
                    <a:pt x="50" y="0"/>
                  </a:lnTo>
                  <a:lnTo>
                    <a:pt x="55" y="7"/>
                  </a:lnTo>
                  <a:lnTo>
                    <a:pt x="81" y="45"/>
                  </a:lnTo>
                  <a:lnTo>
                    <a:pt x="93" y="45"/>
                  </a:lnTo>
                  <a:lnTo>
                    <a:pt x="104" y="62"/>
                  </a:lnTo>
                  <a:lnTo>
                    <a:pt x="156" y="78"/>
                  </a:lnTo>
                  <a:lnTo>
                    <a:pt x="180" y="66"/>
                  </a:lnTo>
                  <a:lnTo>
                    <a:pt x="201" y="45"/>
                  </a:lnTo>
                  <a:lnTo>
                    <a:pt x="282" y="0"/>
                  </a:lnTo>
                  <a:lnTo>
                    <a:pt x="308" y="28"/>
                  </a:lnTo>
                  <a:lnTo>
                    <a:pt x="286" y="40"/>
                  </a:lnTo>
                  <a:lnTo>
                    <a:pt x="303" y="62"/>
                  </a:lnTo>
                  <a:lnTo>
                    <a:pt x="286" y="66"/>
                  </a:lnTo>
                  <a:lnTo>
                    <a:pt x="286" y="78"/>
                  </a:lnTo>
                  <a:lnTo>
                    <a:pt x="303" y="95"/>
                  </a:lnTo>
                  <a:lnTo>
                    <a:pt x="308" y="95"/>
                  </a:lnTo>
                  <a:lnTo>
                    <a:pt x="324" y="118"/>
                  </a:lnTo>
                  <a:lnTo>
                    <a:pt x="341" y="111"/>
                  </a:lnTo>
                  <a:lnTo>
                    <a:pt x="352" y="156"/>
                  </a:lnTo>
                  <a:lnTo>
                    <a:pt x="357" y="173"/>
                  </a:lnTo>
                  <a:lnTo>
                    <a:pt x="378" y="189"/>
                  </a:lnTo>
                  <a:lnTo>
                    <a:pt x="433" y="194"/>
                  </a:lnTo>
                  <a:lnTo>
                    <a:pt x="449" y="222"/>
                  </a:lnTo>
                  <a:lnTo>
                    <a:pt x="504" y="250"/>
                  </a:lnTo>
                  <a:lnTo>
                    <a:pt x="558" y="267"/>
                  </a:lnTo>
                  <a:lnTo>
                    <a:pt x="702" y="234"/>
                  </a:lnTo>
                  <a:lnTo>
                    <a:pt x="676" y="246"/>
                  </a:lnTo>
                  <a:lnTo>
                    <a:pt x="697" y="246"/>
                  </a:lnTo>
                  <a:lnTo>
                    <a:pt x="702" y="246"/>
                  </a:lnTo>
                  <a:lnTo>
                    <a:pt x="702" y="234"/>
                  </a:lnTo>
                  <a:lnTo>
                    <a:pt x="697" y="206"/>
                  </a:lnTo>
                  <a:lnTo>
                    <a:pt x="719" y="206"/>
                  </a:lnTo>
                  <a:lnTo>
                    <a:pt x="752" y="194"/>
                  </a:lnTo>
                  <a:lnTo>
                    <a:pt x="756" y="189"/>
                  </a:lnTo>
                  <a:lnTo>
                    <a:pt x="768" y="168"/>
                  </a:lnTo>
                  <a:lnTo>
                    <a:pt x="806" y="139"/>
                  </a:lnTo>
                  <a:lnTo>
                    <a:pt x="860" y="139"/>
                  </a:lnTo>
                  <a:lnTo>
                    <a:pt x="865" y="139"/>
                  </a:lnTo>
                  <a:lnTo>
                    <a:pt x="865" y="135"/>
                  </a:lnTo>
                  <a:lnTo>
                    <a:pt x="874" y="123"/>
                  </a:lnTo>
                  <a:lnTo>
                    <a:pt x="898" y="123"/>
                  </a:lnTo>
                  <a:lnTo>
                    <a:pt x="919" y="135"/>
                  </a:lnTo>
                  <a:lnTo>
                    <a:pt x="929" y="123"/>
                  </a:lnTo>
                  <a:lnTo>
                    <a:pt x="945" y="151"/>
                  </a:lnTo>
                  <a:lnTo>
                    <a:pt x="1000" y="168"/>
                  </a:lnTo>
                  <a:lnTo>
                    <a:pt x="1004" y="173"/>
                  </a:lnTo>
                  <a:lnTo>
                    <a:pt x="1054" y="173"/>
                  </a:lnTo>
                  <a:lnTo>
                    <a:pt x="1075" y="189"/>
                  </a:lnTo>
                  <a:lnTo>
                    <a:pt x="1092" y="210"/>
                  </a:lnTo>
                  <a:lnTo>
                    <a:pt x="1130" y="227"/>
                  </a:lnTo>
                  <a:lnTo>
                    <a:pt x="1146" y="262"/>
                  </a:lnTo>
                  <a:lnTo>
                    <a:pt x="1205" y="262"/>
                  </a:lnTo>
                  <a:lnTo>
                    <a:pt x="1215" y="345"/>
                  </a:lnTo>
                  <a:lnTo>
                    <a:pt x="1200" y="373"/>
                  </a:lnTo>
                  <a:lnTo>
                    <a:pt x="1200" y="411"/>
                  </a:lnTo>
                  <a:lnTo>
                    <a:pt x="1189" y="428"/>
                  </a:lnTo>
                  <a:lnTo>
                    <a:pt x="1172" y="432"/>
                  </a:lnTo>
                  <a:lnTo>
                    <a:pt x="1184" y="449"/>
                  </a:lnTo>
                  <a:lnTo>
                    <a:pt x="1167" y="449"/>
                  </a:lnTo>
                  <a:lnTo>
                    <a:pt x="1163" y="465"/>
                  </a:lnTo>
                  <a:lnTo>
                    <a:pt x="1163" y="506"/>
                  </a:lnTo>
                  <a:lnTo>
                    <a:pt x="1189" y="510"/>
                  </a:lnTo>
                  <a:lnTo>
                    <a:pt x="1167" y="543"/>
                  </a:lnTo>
                  <a:lnTo>
                    <a:pt x="1184" y="617"/>
                  </a:lnTo>
                  <a:lnTo>
                    <a:pt x="1184" y="638"/>
                  </a:lnTo>
                  <a:lnTo>
                    <a:pt x="1184" y="638"/>
                  </a:lnTo>
                  <a:lnTo>
                    <a:pt x="1184" y="638"/>
                  </a:lnTo>
                  <a:close/>
                  <a:moveTo>
                    <a:pt x="865" y="1037"/>
                  </a:moveTo>
                  <a:lnTo>
                    <a:pt x="844" y="1054"/>
                  </a:lnTo>
                  <a:lnTo>
                    <a:pt x="794" y="1061"/>
                  </a:lnTo>
                  <a:lnTo>
                    <a:pt x="794" y="1054"/>
                  </a:lnTo>
                  <a:lnTo>
                    <a:pt x="827" y="1044"/>
                  </a:lnTo>
                  <a:lnTo>
                    <a:pt x="827" y="1037"/>
                  </a:lnTo>
                  <a:lnTo>
                    <a:pt x="865" y="1037"/>
                  </a:lnTo>
                  <a:lnTo>
                    <a:pt x="865" y="1037"/>
                  </a:lnTo>
                  <a:lnTo>
                    <a:pt x="865" y="1037"/>
                  </a:lnTo>
                  <a:close/>
                  <a:moveTo>
                    <a:pt x="823" y="1044"/>
                  </a:moveTo>
                  <a:lnTo>
                    <a:pt x="823" y="1044"/>
                  </a:lnTo>
                  <a:lnTo>
                    <a:pt x="823" y="1037"/>
                  </a:lnTo>
                  <a:lnTo>
                    <a:pt x="823" y="1044"/>
                  </a:lnTo>
                  <a:lnTo>
                    <a:pt x="823" y="1044"/>
                  </a:lnTo>
                  <a:lnTo>
                    <a:pt x="823" y="1044"/>
                  </a:lnTo>
                  <a:close/>
                  <a:moveTo>
                    <a:pt x="702" y="1065"/>
                  </a:moveTo>
                  <a:lnTo>
                    <a:pt x="697" y="1065"/>
                  </a:lnTo>
                  <a:lnTo>
                    <a:pt x="702" y="1061"/>
                  </a:lnTo>
                  <a:lnTo>
                    <a:pt x="702" y="1065"/>
                  </a:lnTo>
                  <a:lnTo>
                    <a:pt x="702" y="1065"/>
                  </a:lnTo>
                  <a:lnTo>
                    <a:pt x="702" y="106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15" name="Freeform 472">
              <a:extLst>
                <a:ext uri="{FF2B5EF4-FFF2-40B4-BE49-F238E27FC236}">
                  <a16:creationId xmlns:a16="http://schemas.microsoft.com/office/drawing/2014/main" id="{6738B9EA-B9F6-4684-8165-63F4540F81E2}"/>
                </a:ext>
              </a:extLst>
            </p:cNvPr>
            <p:cNvSpPr>
              <a:spLocks/>
            </p:cNvSpPr>
            <p:nvPr/>
          </p:nvSpPr>
          <p:spPr bwMode="gray">
            <a:xfrm>
              <a:off x="7717948" y="3042360"/>
              <a:ext cx="37050" cy="123515"/>
            </a:xfrm>
            <a:custGeom>
              <a:avLst/>
              <a:gdLst>
                <a:gd name="T0" fmla="*/ 52 w 90"/>
                <a:gd name="T1" fmla="*/ 7 h 300"/>
                <a:gd name="T2" fmla="*/ 73 w 90"/>
                <a:gd name="T3" fmla="*/ 17 h 300"/>
                <a:gd name="T4" fmla="*/ 90 w 90"/>
                <a:gd name="T5" fmla="*/ 0 h 300"/>
                <a:gd name="T6" fmla="*/ 90 w 90"/>
                <a:gd name="T7" fmla="*/ 0 h 300"/>
                <a:gd name="T8" fmla="*/ 90 w 90"/>
                <a:gd name="T9" fmla="*/ 45 h 300"/>
                <a:gd name="T10" fmla="*/ 81 w 90"/>
                <a:gd name="T11" fmla="*/ 45 h 300"/>
                <a:gd name="T12" fmla="*/ 81 w 90"/>
                <a:gd name="T13" fmla="*/ 74 h 300"/>
                <a:gd name="T14" fmla="*/ 59 w 90"/>
                <a:gd name="T15" fmla="*/ 57 h 300"/>
                <a:gd name="T16" fmla="*/ 52 w 90"/>
                <a:gd name="T17" fmla="*/ 62 h 300"/>
                <a:gd name="T18" fmla="*/ 43 w 90"/>
                <a:gd name="T19" fmla="*/ 111 h 300"/>
                <a:gd name="T20" fmla="*/ 59 w 90"/>
                <a:gd name="T21" fmla="*/ 118 h 300"/>
                <a:gd name="T22" fmla="*/ 43 w 90"/>
                <a:gd name="T23" fmla="*/ 128 h 300"/>
                <a:gd name="T24" fmla="*/ 38 w 90"/>
                <a:gd name="T25" fmla="*/ 151 h 300"/>
                <a:gd name="T26" fmla="*/ 52 w 90"/>
                <a:gd name="T27" fmla="*/ 151 h 300"/>
                <a:gd name="T28" fmla="*/ 81 w 90"/>
                <a:gd name="T29" fmla="*/ 140 h 300"/>
                <a:gd name="T30" fmla="*/ 73 w 90"/>
                <a:gd name="T31" fmla="*/ 156 h 300"/>
                <a:gd name="T32" fmla="*/ 73 w 90"/>
                <a:gd name="T33" fmla="*/ 168 h 300"/>
                <a:gd name="T34" fmla="*/ 59 w 90"/>
                <a:gd name="T35" fmla="*/ 222 h 300"/>
                <a:gd name="T36" fmla="*/ 59 w 90"/>
                <a:gd name="T37" fmla="*/ 246 h 300"/>
                <a:gd name="T38" fmla="*/ 43 w 90"/>
                <a:gd name="T39" fmla="*/ 296 h 300"/>
                <a:gd name="T40" fmla="*/ 38 w 90"/>
                <a:gd name="T41" fmla="*/ 300 h 300"/>
                <a:gd name="T42" fmla="*/ 0 w 90"/>
                <a:gd name="T43" fmla="*/ 156 h 300"/>
                <a:gd name="T44" fmla="*/ 10 w 90"/>
                <a:gd name="T45" fmla="*/ 135 h 300"/>
                <a:gd name="T46" fmla="*/ 10 w 90"/>
                <a:gd name="T47" fmla="*/ 135 h 300"/>
                <a:gd name="T48" fmla="*/ 26 w 90"/>
                <a:gd name="T49" fmla="*/ 102 h 300"/>
                <a:gd name="T50" fmla="*/ 43 w 90"/>
                <a:gd name="T51" fmla="*/ 29 h 300"/>
                <a:gd name="T52" fmla="*/ 52 w 90"/>
                <a:gd name="T53" fmla="*/ 29 h 300"/>
                <a:gd name="T54" fmla="*/ 52 w 90"/>
                <a:gd name="T55" fmla="*/ 7 h 300"/>
                <a:gd name="T56" fmla="*/ 52 w 90"/>
                <a:gd name="T57" fmla="*/ 7 h 300"/>
                <a:gd name="T58" fmla="*/ 52 w 90"/>
                <a:gd name="T59" fmla="*/ 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 h="300">
                  <a:moveTo>
                    <a:pt x="52" y="7"/>
                  </a:moveTo>
                  <a:lnTo>
                    <a:pt x="73" y="17"/>
                  </a:lnTo>
                  <a:lnTo>
                    <a:pt x="90" y="0"/>
                  </a:lnTo>
                  <a:lnTo>
                    <a:pt x="90" y="0"/>
                  </a:lnTo>
                  <a:lnTo>
                    <a:pt x="90" y="45"/>
                  </a:lnTo>
                  <a:lnTo>
                    <a:pt x="81" y="45"/>
                  </a:lnTo>
                  <a:lnTo>
                    <a:pt x="81" y="74"/>
                  </a:lnTo>
                  <a:lnTo>
                    <a:pt x="59" y="57"/>
                  </a:lnTo>
                  <a:lnTo>
                    <a:pt x="52" y="62"/>
                  </a:lnTo>
                  <a:lnTo>
                    <a:pt x="43" y="111"/>
                  </a:lnTo>
                  <a:lnTo>
                    <a:pt x="59" y="118"/>
                  </a:lnTo>
                  <a:lnTo>
                    <a:pt x="43" y="128"/>
                  </a:lnTo>
                  <a:lnTo>
                    <a:pt x="38" y="151"/>
                  </a:lnTo>
                  <a:lnTo>
                    <a:pt x="52" y="151"/>
                  </a:lnTo>
                  <a:lnTo>
                    <a:pt x="81" y="140"/>
                  </a:lnTo>
                  <a:lnTo>
                    <a:pt x="73" y="156"/>
                  </a:lnTo>
                  <a:lnTo>
                    <a:pt x="73" y="168"/>
                  </a:lnTo>
                  <a:lnTo>
                    <a:pt x="59" y="222"/>
                  </a:lnTo>
                  <a:lnTo>
                    <a:pt x="59" y="246"/>
                  </a:lnTo>
                  <a:lnTo>
                    <a:pt x="43" y="296"/>
                  </a:lnTo>
                  <a:lnTo>
                    <a:pt x="38" y="300"/>
                  </a:lnTo>
                  <a:lnTo>
                    <a:pt x="0" y="156"/>
                  </a:lnTo>
                  <a:lnTo>
                    <a:pt x="10" y="135"/>
                  </a:lnTo>
                  <a:lnTo>
                    <a:pt x="10" y="135"/>
                  </a:lnTo>
                  <a:lnTo>
                    <a:pt x="26" y="102"/>
                  </a:lnTo>
                  <a:lnTo>
                    <a:pt x="43" y="29"/>
                  </a:lnTo>
                  <a:lnTo>
                    <a:pt x="52" y="29"/>
                  </a:lnTo>
                  <a:lnTo>
                    <a:pt x="52" y="7"/>
                  </a:lnTo>
                  <a:lnTo>
                    <a:pt x="52" y="7"/>
                  </a:lnTo>
                  <a:lnTo>
                    <a:pt x="52" y="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16" name="Freeform 474">
              <a:extLst>
                <a:ext uri="{FF2B5EF4-FFF2-40B4-BE49-F238E27FC236}">
                  <a16:creationId xmlns:a16="http://schemas.microsoft.com/office/drawing/2014/main" id="{65B35F6C-9721-4FC0-BFA9-3D268A568CD8}"/>
                </a:ext>
              </a:extLst>
            </p:cNvPr>
            <p:cNvSpPr>
              <a:spLocks noEditPoints="1"/>
            </p:cNvSpPr>
            <p:nvPr/>
          </p:nvSpPr>
          <p:spPr bwMode="gray">
            <a:xfrm>
              <a:off x="6477999" y="3745570"/>
              <a:ext cx="175371" cy="189801"/>
            </a:xfrm>
            <a:custGeom>
              <a:avLst/>
              <a:gdLst>
                <a:gd name="T0" fmla="*/ 69 w 426"/>
                <a:gd name="T1" fmla="*/ 421 h 461"/>
                <a:gd name="T2" fmla="*/ 81 w 426"/>
                <a:gd name="T3" fmla="*/ 383 h 461"/>
                <a:gd name="T4" fmla="*/ 86 w 426"/>
                <a:gd name="T5" fmla="*/ 350 h 461"/>
                <a:gd name="T6" fmla="*/ 48 w 426"/>
                <a:gd name="T7" fmla="*/ 326 h 461"/>
                <a:gd name="T8" fmla="*/ 0 w 426"/>
                <a:gd name="T9" fmla="*/ 305 h 461"/>
                <a:gd name="T10" fmla="*/ 26 w 426"/>
                <a:gd name="T11" fmla="*/ 255 h 461"/>
                <a:gd name="T12" fmla="*/ 15 w 426"/>
                <a:gd name="T13" fmla="*/ 222 h 461"/>
                <a:gd name="T14" fmla="*/ 38 w 426"/>
                <a:gd name="T15" fmla="*/ 194 h 461"/>
                <a:gd name="T16" fmla="*/ 38 w 426"/>
                <a:gd name="T17" fmla="*/ 184 h 461"/>
                <a:gd name="T18" fmla="*/ 26 w 426"/>
                <a:gd name="T19" fmla="*/ 161 h 461"/>
                <a:gd name="T20" fmla="*/ 64 w 426"/>
                <a:gd name="T21" fmla="*/ 168 h 461"/>
                <a:gd name="T22" fmla="*/ 64 w 426"/>
                <a:gd name="T23" fmla="*/ 156 h 461"/>
                <a:gd name="T24" fmla="*/ 48 w 426"/>
                <a:gd name="T25" fmla="*/ 123 h 461"/>
                <a:gd name="T26" fmla="*/ 48 w 426"/>
                <a:gd name="T27" fmla="*/ 111 h 461"/>
                <a:gd name="T28" fmla="*/ 38 w 426"/>
                <a:gd name="T29" fmla="*/ 99 h 461"/>
                <a:gd name="T30" fmla="*/ 31 w 426"/>
                <a:gd name="T31" fmla="*/ 57 h 461"/>
                <a:gd name="T32" fmla="*/ 52 w 426"/>
                <a:gd name="T33" fmla="*/ 45 h 461"/>
                <a:gd name="T34" fmla="*/ 107 w 426"/>
                <a:gd name="T35" fmla="*/ 45 h 461"/>
                <a:gd name="T36" fmla="*/ 140 w 426"/>
                <a:gd name="T37" fmla="*/ 28 h 461"/>
                <a:gd name="T38" fmla="*/ 156 w 426"/>
                <a:gd name="T39" fmla="*/ 12 h 461"/>
                <a:gd name="T40" fmla="*/ 161 w 426"/>
                <a:gd name="T41" fmla="*/ 0 h 461"/>
                <a:gd name="T42" fmla="*/ 173 w 426"/>
                <a:gd name="T43" fmla="*/ 45 h 461"/>
                <a:gd name="T44" fmla="*/ 194 w 426"/>
                <a:gd name="T45" fmla="*/ 28 h 461"/>
                <a:gd name="T46" fmla="*/ 225 w 426"/>
                <a:gd name="T47" fmla="*/ 33 h 461"/>
                <a:gd name="T48" fmla="*/ 253 w 426"/>
                <a:gd name="T49" fmla="*/ 57 h 461"/>
                <a:gd name="T50" fmla="*/ 300 w 426"/>
                <a:gd name="T51" fmla="*/ 83 h 461"/>
                <a:gd name="T52" fmla="*/ 350 w 426"/>
                <a:gd name="T53" fmla="*/ 57 h 461"/>
                <a:gd name="T54" fmla="*/ 409 w 426"/>
                <a:gd name="T55" fmla="*/ 99 h 461"/>
                <a:gd name="T56" fmla="*/ 409 w 426"/>
                <a:gd name="T57" fmla="*/ 123 h 461"/>
                <a:gd name="T58" fmla="*/ 426 w 426"/>
                <a:gd name="T59" fmla="*/ 184 h 461"/>
                <a:gd name="T60" fmla="*/ 393 w 426"/>
                <a:gd name="T61" fmla="*/ 267 h 461"/>
                <a:gd name="T62" fmla="*/ 371 w 426"/>
                <a:gd name="T63" fmla="*/ 293 h 461"/>
                <a:gd name="T64" fmla="*/ 409 w 426"/>
                <a:gd name="T65" fmla="*/ 378 h 461"/>
                <a:gd name="T66" fmla="*/ 393 w 426"/>
                <a:gd name="T67" fmla="*/ 404 h 461"/>
                <a:gd name="T68" fmla="*/ 393 w 426"/>
                <a:gd name="T69" fmla="*/ 404 h 461"/>
                <a:gd name="T70" fmla="*/ 376 w 426"/>
                <a:gd name="T71" fmla="*/ 388 h 461"/>
                <a:gd name="T72" fmla="*/ 371 w 426"/>
                <a:gd name="T73" fmla="*/ 404 h 461"/>
                <a:gd name="T74" fmla="*/ 338 w 426"/>
                <a:gd name="T75" fmla="*/ 399 h 461"/>
                <a:gd name="T76" fmla="*/ 338 w 426"/>
                <a:gd name="T77" fmla="*/ 399 h 461"/>
                <a:gd name="T78" fmla="*/ 263 w 426"/>
                <a:gd name="T79" fmla="*/ 404 h 461"/>
                <a:gd name="T80" fmla="*/ 232 w 426"/>
                <a:gd name="T81" fmla="*/ 399 h 461"/>
                <a:gd name="T82" fmla="*/ 232 w 426"/>
                <a:gd name="T83" fmla="*/ 404 h 461"/>
                <a:gd name="T84" fmla="*/ 253 w 426"/>
                <a:gd name="T85" fmla="*/ 404 h 461"/>
                <a:gd name="T86" fmla="*/ 81 w 426"/>
                <a:gd name="T87" fmla="*/ 461 h 461"/>
                <a:gd name="T88" fmla="*/ 81 w 426"/>
                <a:gd name="T89" fmla="*/ 461 h 461"/>
                <a:gd name="T90" fmla="*/ 305 w 426"/>
                <a:gd name="T91" fmla="*/ 399 h 461"/>
                <a:gd name="T92" fmla="*/ 263 w 426"/>
                <a:gd name="T93" fmla="*/ 404 h 461"/>
                <a:gd name="T94" fmla="*/ 263 w 426"/>
                <a:gd name="T95" fmla="*/ 404 h 461"/>
                <a:gd name="T96" fmla="*/ 388 w 426"/>
                <a:gd name="T97" fmla="*/ 404 h 461"/>
                <a:gd name="T98" fmla="*/ 388 w 426"/>
                <a:gd name="T99" fmla="*/ 404 h 461"/>
                <a:gd name="T100" fmla="*/ 388 w 426"/>
                <a:gd name="T101" fmla="*/ 404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6" h="461">
                  <a:moveTo>
                    <a:pt x="81" y="461"/>
                  </a:moveTo>
                  <a:lnTo>
                    <a:pt x="69" y="421"/>
                  </a:lnTo>
                  <a:lnTo>
                    <a:pt x="86" y="388"/>
                  </a:lnTo>
                  <a:lnTo>
                    <a:pt x="81" y="383"/>
                  </a:lnTo>
                  <a:lnTo>
                    <a:pt x="86" y="378"/>
                  </a:lnTo>
                  <a:lnTo>
                    <a:pt x="86" y="350"/>
                  </a:lnTo>
                  <a:lnTo>
                    <a:pt x="52" y="350"/>
                  </a:lnTo>
                  <a:lnTo>
                    <a:pt x="48" y="326"/>
                  </a:lnTo>
                  <a:lnTo>
                    <a:pt x="31" y="326"/>
                  </a:lnTo>
                  <a:lnTo>
                    <a:pt x="0" y="305"/>
                  </a:lnTo>
                  <a:lnTo>
                    <a:pt x="15" y="276"/>
                  </a:lnTo>
                  <a:lnTo>
                    <a:pt x="26" y="255"/>
                  </a:lnTo>
                  <a:lnTo>
                    <a:pt x="10" y="234"/>
                  </a:lnTo>
                  <a:lnTo>
                    <a:pt x="15" y="222"/>
                  </a:lnTo>
                  <a:lnTo>
                    <a:pt x="26" y="234"/>
                  </a:lnTo>
                  <a:lnTo>
                    <a:pt x="38" y="194"/>
                  </a:lnTo>
                  <a:lnTo>
                    <a:pt x="48" y="201"/>
                  </a:lnTo>
                  <a:lnTo>
                    <a:pt x="38" y="184"/>
                  </a:lnTo>
                  <a:lnTo>
                    <a:pt x="26" y="184"/>
                  </a:lnTo>
                  <a:lnTo>
                    <a:pt x="26" y="161"/>
                  </a:lnTo>
                  <a:lnTo>
                    <a:pt x="52" y="161"/>
                  </a:lnTo>
                  <a:lnTo>
                    <a:pt x="64" y="168"/>
                  </a:lnTo>
                  <a:lnTo>
                    <a:pt x="64" y="168"/>
                  </a:lnTo>
                  <a:lnTo>
                    <a:pt x="64" y="156"/>
                  </a:lnTo>
                  <a:lnTo>
                    <a:pt x="48" y="139"/>
                  </a:lnTo>
                  <a:lnTo>
                    <a:pt x="48" y="123"/>
                  </a:lnTo>
                  <a:lnTo>
                    <a:pt x="64" y="123"/>
                  </a:lnTo>
                  <a:lnTo>
                    <a:pt x="48" y="111"/>
                  </a:lnTo>
                  <a:lnTo>
                    <a:pt x="48" y="99"/>
                  </a:lnTo>
                  <a:lnTo>
                    <a:pt x="38" y="99"/>
                  </a:lnTo>
                  <a:lnTo>
                    <a:pt x="31" y="90"/>
                  </a:lnTo>
                  <a:lnTo>
                    <a:pt x="31" y="57"/>
                  </a:lnTo>
                  <a:lnTo>
                    <a:pt x="38" y="45"/>
                  </a:lnTo>
                  <a:lnTo>
                    <a:pt x="52" y="45"/>
                  </a:lnTo>
                  <a:lnTo>
                    <a:pt x="69" y="17"/>
                  </a:lnTo>
                  <a:lnTo>
                    <a:pt x="107" y="45"/>
                  </a:lnTo>
                  <a:lnTo>
                    <a:pt x="119" y="28"/>
                  </a:lnTo>
                  <a:lnTo>
                    <a:pt x="140" y="28"/>
                  </a:lnTo>
                  <a:lnTo>
                    <a:pt x="140" y="0"/>
                  </a:lnTo>
                  <a:lnTo>
                    <a:pt x="156" y="12"/>
                  </a:lnTo>
                  <a:lnTo>
                    <a:pt x="156" y="0"/>
                  </a:lnTo>
                  <a:lnTo>
                    <a:pt x="161" y="0"/>
                  </a:lnTo>
                  <a:lnTo>
                    <a:pt x="173" y="33"/>
                  </a:lnTo>
                  <a:lnTo>
                    <a:pt x="173" y="45"/>
                  </a:lnTo>
                  <a:lnTo>
                    <a:pt x="178" y="45"/>
                  </a:lnTo>
                  <a:lnTo>
                    <a:pt x="194" y="28"/>
                  </a:lnTo>
                  <a:lnTo>
                    <a:pt x="215" y="17"/>
                  </a:lnTo>
                  <a:lnTo>
                    <a:pt x="225" y="33"/>
                  </a:lnTo>
                  <a:lnTo>
                    <a:pt x="241" y="33"/>
                  </a:lnTo>
                  <a:lnTo>
                    <a:pt x="253" y="57"/>
                  </a:lnTo>
                  <a:lnTo>
                    <a:pt x="267" y="73"/>
                  </a:lnTo>
                  <a:lnTo>
                    <a:pt x="300" y="83"/>
                  </a:lnTo>
                  <a:lnTo>
                    <a:pt x="305" y="66"/>
                  </a:lnTo>
                  <a:lnTo>
                    <a:pt x="350" y="57"/>
                  </a:lnTo>
                  <a:lnTo>
                    <a:pt x="376" y="57"/>
                  </a:lnTo>
                  <a:lnTo>
                    <a:pt x="409" y="99"/>
                  </a:lnTo>
                  <a:lnTo>
                    <a:pt x="414" y="90"/>
                  </a:lnTo>
                  <a:lnTo>
                    <a:pt x="409" y="123"/>
                  </a:lnTo>
                  <a:lnTo>
                    <a:pt x="414" y="128"/>
                  </a:lnTo>
                  <a:lnTo>
                    <a:pt x="426" y="184"/>
                  </a:lnTo>
                  <a:lnTo>
                    <a:pt x="409" y="201"/>
                  </a:lnTo>
                  <a:lnTo>
                    <a:pt x="393" y="267"/>
                  </a:lnTo>
                  <a:lnTo>
                    <a:pt x="376" y="288"/>
                  </a:lnTo>
                  <a:lnTo>
                    <a:pt x="371" y="293"/>
                  </a:lnTo>
                  <a:lnTo>
                    <a:pt x="393" y="366"/>
                  </a:lnTo>
                  <a:lnTo>
                    <a:pt x="409" y="378"/>
                  </a:lnTo>
                  <a:lnTo>
                    <a:pt x="409" y="404"/>
                  </a:lnTo>
                  <a:lnTo>
                    <a:pt x="393" y="404"/>
                  </a:lnTo>
                  <a:lnTo>
                    <a:pt x="402" y="399"/>
                  </a:lnTo>
                  <a:lnTo>
                    <a:pt x="393" y="404"/>
                  </a:lnTo>
                  <a:lnTo>
                    <a:pt x="376" y="399"/>
                  </a:lnTo>
                  <a:lnTo>
                    <a:pt x="376" y="388"/>
                  </a:lnTo>
                  <a:lnTo>
                    <a:pt x="371" y="388"/>
                  </a:lnTo>
                  <a:lnTo>
                    <a:pt x="371" y="404"/>
                  </a:lnTo>
                  <a:lnTo>
                    <a:pt x="322" y="399"/>
                  </a:lnTo>
                  <a:lnTo>
                    <a:pt x="338" y="399"/>
                  </a:lnTo>
                  <a:lnTo>
                    <a:pt x="334" y="388"/>
                  </a:lnTo>
                  <a:lnTo>
                    <a:pt x="338" y="399"/>
                  </a:lnTo>
                  <a:lnTo>
                    <a:pt x="284" y="388"/>
                  </a:lnTo>
                  <a:lnTo>
                    <a:pt x="263" y="404"/>
                  </a:lnTo>
                  <a:lnTo>
                    <a:pt x="253" y="399"/>
                  </a:lnTo>
                  <a:lnTo>
                    <a:pt x="232" y="399"/>
                  </a:lnTo>
                  <a:lnTo>
                    <a:pt x="225" y="404"/>
                  </a:lnTo>
                  <a:lnTo>
                    <a:pt x="232" y="404"/>
                  </a:lnTo>
                  <a:lnTo>
                    <a:pt x="232" y="399"/>
                  </a:lnTo>
                  <a:lnTo>
                    <a:pt x="253" y="404"/>
                  </a:lnTo>
                  <a:lnTo>
                    <a:pt x="187" y="416"/>
                  </a:lnTo>
                  <a:lnTo>
                    <a:pt x="81" y="461"/>
                  </a:lnTo>
                  <a:lnTo>
                    <a:pt x="81" y="461"/>
                  </a:lnTo>
                  <a:lnTo>
                    <a:pt x="81" y="461"/>
                  </a:lnTo>
                  <a:close/>
                  <a:moveTo>
                    <a:pt x="263" y="404"/>
                  </a:moveTo>
                  <a:lnTo>
                    <a:pt x="305" y="399"/>
                  </a:lnTo>
                  <a:lnTo>
                    <a:pt x="322" y="399"/>
                  </a:lnTo>
                  <a:lnTo>
                    <a:pt x="263" y="404"/>
                  </a:lnTo>
                  <a:lnTo>
                    <a:pt x="263" y="404"/>
                  </a:lnTo>
                  <a:lnTo>
                    <a:pt x="263" y="404"/>
                  </a:lnTo>
                  <a:close/>
                  <a:moveTo>
                    <a:pt x="388" y="404"/>
                  </a:moveTo>
                  <a:lnTo>
                    <a:pt x="388" y="404"/>
                  </a:lnTo>
                  <a:lnTo>
                    <a:pt x="376" y="404"/>
                  </a:lnTo>
                  <a:lnTo>
                    <a:pt x="388" y="404"/>
                  </a:lnTo>
                  <a:lnTo>
                    <a:pt x="388" y="404"/>
                  </a:lnTo>
                  <a:lnTo>
                    <a:pt x="388" y="40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17" name="Freeform 475">
              <a:extLst>
                <a:ext uri="{FF2B5EF4-FFF2-40B4-BE49-F238E27FC236}">
                  <a16:creationId xmlns:a16="http://schemas.microsoft.com/office/drawing/2014/main" id="{CB09531E-9342-48B2-828A-10F04F9114DE}"/>
                </a:ext>
              </a:extLst>
            </p:cNvPr>
            <p:cNvSpPr>
              <a:spLocks/>
            </p:cNvSpPr>
            <p:nvPr/>
          </p:nvSpPr>
          <p:spPr bwMode="gray">
            <a:xfrm>
              <a:off x="7847213" y="2901552"/>
              <a:ext cx="279112" cy="274203"/>
            </a:xfrm>
            <a:custGeom>
              <a:avLst/>
              <a:gdLst>
                <a:gd name="T0" fmla="*/ 31 w 678"/>
                <a:gd name="T1" fmla="*/ 420 h 666"/>
                <a:gd name="T2" fmla="*/ 15 w 678"/>
                <a:gd name="T3" fmla="*/ 416 h 666"/>
                <a:gd name="T4" fmla="*/ 15 w 678"/>
                <a:gd name="T5" fmla="*/ 399 h 666"/>
                <a:gd name="T6" fmla="*/ 156 w 678"/>
                <a:gd name="T7" fmla="*/ 250 h 666"/>
                <a:gd name="T8" fmla="*/ 171 w 678"/>
                <a:gd name="T9" fmla="*/ 182 h 666"/>
                <a:gd name="T10" fmla="*/ 178 w 678"/>
                <a:gd name="T11" fmla="*/ 127 h 666"/>
                <a:gd name="T12" fmla="*/ 171 w 678"/>
                <a:gd name="T13" fmla="*/ 87 h 666"/>
                <a:gd name="T14" fmla="*/ 208 w 678"/>
                <a:gd name="T15" fmla="*/ 66 h 666"/>
                <a:gd name="T16" fmla="*/ 263 w 678"/>
                <a:gd name="T17" fmla="*/ 28 h 666"/>
                <a:gd name="T18" fmla="*/ 291 w 678"/>
                <a:gd name="T19" fmla="*/ 12 h 666"/>
                <a:gd name="T20" fmla="*/ 338 w 678"/>
                <a:gd name="T21" fmla="*/ 16 h 666"/>
                <a:gd name="T22" fmla="*/ 371 w 678"/>
                <a:gd name="T23" fmla="*/ 12 h 666"/>
                <a:gd name="T24" fmla="*/ 376 w 678"/>
                <a:gd name="T25" fmla="*/ 28 h 666"/>
                <a:gd name="T26" fmla="*/ 409 w 678"/>
                <a:gd name="T27" fmla="*/ 16 h 666"/>
                <a:gd name="T28" fmla="*/ 426 w 678"/>
                <a:gd name="T29" fmla="*/ 33 h 666"/>
                <a:gd name="T30" fmla="*/ 440 w 678"/>
                <a:gd name="T31" fmla="*/ 54 h 666"/>
                <a:gd name="T32" fmla="*/ 440 w 678"/>
                <a:gd name="T33" fmla="*/ 82 h 666"/>
                <a:gd name="T34" fmla="*/ 461 w 678"/>
                <a:gd name="T35" fmla="*/ 123 h 666"/>
                <a:gd name="T36" fmla="*/ 485 w 678"/>
                <a:gd name="T37" fmla="*/ 139 h 666"/>
                <a:gd name="T38" fmla="*/ 522 w 678"/>
                <a:gd name="T39" fmla="*/ 139 h 666"/>
                <a:gd name="T40" fmla="*/ 499 w 678"/>
                <a:gd name="T41" fmla="*/ 160 h 666"/>
                <a:gd name="T42" fmla="*/ 515 w 678"/>
                <a:gd name="T43" fmla="*/ 193 h 666"/>
                <a:gd name="T44" fmla="*/ 494 w 678"/>
                <a:gd name="T45" fmla="*/ 205 h 666"/>
                <a:gd name="T46" fmla="*/ 485 w 678"/>
                <a:gd name="T47" fmla="*/ 238 h 666"/>
                <a:gd name="T48" fmla="*/ 461 w 678"/>
                <a:gd name="T49" fmla="*/ 238 h 666"/>
                <a:gd name="T50" fmla="*/ 468 w 678"/>
                <a:gd name="T51" fmla="*/ 271 h 666"/>
                <a:gd name="T52" fmla="*/ 468 w 678"/>
                <a:gd name="T53" fmla="*/ 288 h 666"/>
                <a:gd name="T54" fmla="*/ 494 w 678"/>
                <a:gd name="T55" fmla="*/ 309 h 666"/>
                <a:gd name="T56" fmla="*/ 494 w 678"/>
                <a:gd name="T57" fmla="*/ 316 h 666"/>
                <a:gd name="T58" fmla="*/ 515 w 678"/>
                <a:gd name="T59" fmla="*/ 342 h 666"/>
                <a:gd name="T60" fmla="*/ 532 w 678"/>
                <a:gd name="T61" fmla="*/ 366 h 666"/>
                <a:gd name="T62" fmla="*/ 603 w 678"/>
                <a:gd name="T63" fmla="*/ 404 h 666"/>
                <a:gd name="T64" fmla="*/ 629 w 678"/>
                <a:gd name="T65" fmla="*/ 460 h 666"/>
                <a:gd name="T66" fmla="*/ 624 w 678"/>
                <a:gd name="T67" fmla="*/ 527 h 666"/>
                <a:gd name="T68" fmla="*/ 645 w 678"/>
                <a:gd name="T69" fmla="*/ 564 h 666"/>
                <a:gd name="T70" fmla="*/ 667 w 678"/>
                <a:gd name="T71" fmla="*/ 604 h 666"/>
                <a:gd name="T72" fmla="*/ 641 w 678"/>
                <a:gd name="T73" fmla="*/ 593 h 666"/>
                <a:gd name="T74" fmla="*/ 586 w 678"/>
                <a:gd name="T75" fmla="*/ 593 h 666"/>
                <a:gd name="T76" fmla="*/ 537 w 678"/>
                <a:gd name="T77" fmla="*/ 666 h 666"/>
                <a:gd name="T78" fmla="*/ 414 w 678"/>
                <a:gd name="T79" fmla="*/ 666 h 666"/>
                <a:gd name="T80" fmla="*/ 182 w 678"/>
                <a:gd name="T81" fmla="*/ 493 h 666"/>
                <a:gd name="T82" fmla="*/ 22 w 678"/>
                <a:gd name="T83" fmla="*/ 427 h 666"/>
                <a:gd name="T84" fmla="*/ 22 w 678"/>
                <a:gd name="T85" fmla="*/ 427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8" h="666">
                  <a:moveTo>
                    <a:pt x="22" y="427"/>
                  </a:moveTo>
                  <a:lnTo>
                    <a:pt x="31" y="420"/>
                  </a:lnTo>
                  <a:lnTo>
                    <a:pt x="31" y="416"/>
                  </a:lnTo>
                  <a:lnTo>
                    <a:pt x="15" y="416"/>
                  </a:lnTo>
                  <a:lnTo>
                    <a:pt x="10" y="404"/>
                  </a:lnTo>
                  <a:lnTo>
                    <a:pt x="15" y="399"/>
                  </a:lnTo>
                  <a:lnTo>
                    <a:pt x="0" y="333"/>
                  </a:lnTo>
                  <a:lnTo>
                    <a:pt x="156" y="250"/>
                  </a:lnTo>
                  <a:lnTo>
                    <a:pt x="171" y="215"/>
                  </a:lnTo>
                  <a:lnTo>
                    <a:pt x="171" y="182"/>
                  </a:lnTo>
                  <a:lnTo>
                    <a:pt x="178" y="149"/>
                  </a:lnTo>
                  <a:lnTo>
                    <a:pt x="178" y="127"/>
                  </a:lnTo>
                  <a:lnTo>
                    <a:pt x="171" y="111"/>
                  </a:lnTo>
                  <a:lnTo>
                    <a:pt x="171" y="87"/>
                  </a:lnTo>
                  <a:lnTo>
                    <a:pt x="178" y="71"/>
                  </a:lnTo>
                  <a:lnTo>
                    <a:pt x="208" y="66"/>
                  </a:lnTo>
                  <a:lnTo>
                    <a:pt x="246" y="28"/>
                  </a:lnTo>
                  <a:lnTo>
                    <a:pt x="263" y="28"/>
                  </a:lnTo>
                  <a:lnTo>
                    <a:pt x="279" y="0"/>
                  </a:lnTo>
                  <a:lnTo>
                    <a:pt x="291" y="12"/>
                  </a:lnTo>
                  <a:lnTo>
                    <a:pt x="300" y="0"/>
                  </a:lnTo>
                  <a:lnTo>
                    <a:pt x="338" y="16"/>
                  </a:lnTo>
                  <a:lnTo>
                    <a:pt x="355" y="16"/>
                  </a:lnTo>
                  <a:lnTo>
                    <a:pt x="371" y="12"/>
                  </a:lnTo>
                  <a:lnTo>
                    <a:pt x="376" y="16"/>
                  </a:lnTo>
                  <a:lnTo>
                    <a:pt x="376" y="28"/>
                  </a:lnTo>
                  <a:lnTo>
                    <a:pt x="388" y="38"/>
                  </a:lnTo>
                  <a:lnTo>
                    <a:pt x="409" y="16"/>
                  </a:lnTo>
                  <a:lnTo>
                    <a:pt x="414" y="28"/>
                  </a:lnTo>
                  <a:lnTo>
                    <a:pt x="426" y="33"/>
                  </a:lnTo>
                  <a:lnTo>
                    <a:pt x="426" y="49"/>
                  </a:lnTo>
                  <a:lnTo>
                    <a:pt x="440" y="54"/>
                  </a:lnTo>
                  <a:lnTo>
                    <a:pt x="430" y="71"/>
                  </a:lnTo>
                  <a:lnTo>
                    <a:pt x="440" y="82"/>
                  </a:lnTo>
                  <a:lnTo>
                    <a:pt x="452" y="87"/>
                  </a:lnTo>
                  <a:lnTo>
                    <a:pt x="461" y="123"/>
                  </a:lnTo>
                  <a:lnTo>
                    <a:pt x="478" y="123"/>
                  </a:lnTo>
                  <a:lnTo>
                    <a:pt x="485" y="139"/>
                  </a:lnTo>
                  <a:lnTo>
                    <a:pt x="506" y="127"/>
                  </a:lnTo>
                  <a:lnTo>
                    <a:pt x="522" y="139"/>
                  </a:lnTo>
                  <a:lnTo>
                    <a:pt x="499" y="144"/>
                  </a:lnTo>
                  <a:lnTo>
                    <a:pt x="499" y="160"/>
                  </a:lnTo>
                  <a:lnTo>
                    <a:pt x="515" y="182"/>
                  </a:lnTo>
                  <a:lnTo>
                    <a:pt x="515" y="193"/>
                  </a:lnTo>
                  <a:lnTo>
                    <a:pt x="499" y="193"/>
                  </a:lnTo>
                  <a:lnTo>
                    <a:pt x="494" y="205"/>
                  </a:lnTo>
                  <a:lnTo>
                    <a:pt x="478" y="222"/>
                  </a:lnTo>
                  <a:lnTo>
                    <a:pt x="485" y="238"/>
                  </a:lnTo>
                  <a:lnTo>
                    <a:pt x="468" y="234"/>
                  </a:lnTo>
                  <a:lnTo>
                    <a:pt x="461" y="238"/>
                  </a:lnTo>
                  <a:lnTo>
                    <a:pt x="468" y="255"/>
                  </a:lnTo>
                  <a:lnTo>
                    <a:pt x="468" y="271"/>
                  </a:lnTo>
                  <a:lnTo>
                    <a:pt x="461" y="276"/>
                  </a:lnTo>
                  <a:lnTo>
                    <a:pt x="468" y="288"/>
                  </a:lnTo>
                  <a:lnTo>
                    <a:pt x="485" y="309"/>
                  </a:lnTo>
                  <a:lnTo>
                    <a:pt x="494" y="309"/>
                  </a:lnTo>
                  <a:lnTo>
                    <a:pt x="499" y="316"/>
                  </a:lnTo>
                  <a:lnTo>
                    <a:pt x="494" y="316"/>
                  </a:lnTo>
                  <a:lnTo>
                    <a:pt x="499" y="316"/>
                  </a:lnTo>
                  <a:lnTo>
                    <a:pt x="515" y="342"/>
                  </a:lnTo>
                  <a:lnTo>
                    <a:pt x="506" y="366"/>
                  </a:lnTo>
                  <a:lnTo>
                    <a:pt x="532" y="366"/>
                  </a:lnTo>
                  <a:lnTo>
                    <a:pt x="586" y="404"/>
                  </a:lnTo>
                  <a:lnTo>
                    <a:pt x="603" y="404"/>
                  </a:lnTo>
                  <a:lnTo>
                    <a:pt x="603" y="416"/>
                  </a:lnTo>
                  <a:lnTo>
                    <a:pt x="629" y="460"/>
                  </a:lnTo>
                  <a:lnTo>
                    <a:pt x="624" y="482"/>
                  </a:lnTo>
                  <a:lnTo>
                    <a:pt x="624" y="527"/>
                  </a:lnTo>
                  <a:lnTo>
                    <a:pt x="645" y="527"/>
                  </a:lnTo>
                  <a:lnTo>
                    <a:pt x="645" y="564"/>
                  </a:lnTo>
                  <a:lnTo>
                    <a:pt x="667" y="581"/>
                  </a:lnTo>
                  <a:lnTo>
                    <a:pt x="667" y="604"/>
                  </a:lnTo>
                  <a:lnTo>
                    <a:pt x="678" y="604"/>
                  </a:lnTo>
                  <a:lnTo>
                    <a:pt x="641" y="593"/>
                  </a:lnTo>
                  <a:lnTo>
                    <a:pt x="624" y="593"/>
                  </a:lnTo>
                  <a:lnTo>
                    <a:pt x="586" y="593"/>
                  </a:lnTo>
                  <a:lnTo>
                    <a:pt x="570" y="638"/>
                  </a:lnTo>
                  <a:lnTo>
                    <a:pt x="537" y="666"/>
                  </a:lnTo>
                  <a:lnTo>
                    <a:pt x="537" y="666"/>
                  </a:lnTo>
                  <a:lnTo>
                    <a:pt x="414" y="666"/>
                  </a:lnTo>
                  <a:lnTo>
                    <a:pt x="232" y="510"/>
                  </a:lnTo>
                  <a:lnTo>
                    <a:pt x="182" y="493"/>
                  </a:lnTo>
                  <a:lnTo>
                    <a:pt x="107" y="444"/>
                  </a:lnTo>
                  <a:lnTo>
                    <a:pt x="22" y="427"/>
                  </a:lnTo>
                  <a:lnTo>
                    <a:pt x="22" y="427"/>
                  </a:lnTo>
                  <a:lnTo>
                    <a:pt x="22" y="42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18" name="Freeform 480">
              <a:extLst>
                <a:ext uri="{FF2B5EF4-FFF2-40B4-BE49-F238E27FC236}">
                  <a16:creationId xmlns:a16="http://schemas.microsoft.com/office/drawing/2014/main" id="{99B9D771-9EE3-4ACD-A381-100FD2BFD5EF}"/>
                </a:ext>
              </a:extLst>
            </p:cNvPr>
            <p:cNvSpPr>
              <a:spLocks/>
            </p:cNvSpPr>
            <p:nvPr/>
          </p:nvSpPr>
          <p:spPr bwMode="gray">
            <a:xfrm>
              <a:off x="7735650" y="3037418"/>
              <a:ext cx="123501" cy="138337"/>
            </a:xfrm>
            <a:custGeom>
              <a:avLst/>
              <a:gdLst>
                <a:gd name="T0" fmla="*/ 38 w 300"/>
                <a:gd name="T1" fmla="*/ 152 h 336"/>
                <a:gd name="T2" fmla="*/ 38 w 300"/>
                <a:gd name="T3" fmla="*/ 90 h 336"/>
                <a:gd name="T4" fmla="*/ 38 w 300"/>
                <a:gd name="T5" fmla="*/ 83 h 336"/>
                <a:gd name="T6" fmla="*/ 38 w 300"/>
                <a:gd name="T7" fmla="*/ 55 h 336"/>
                <a:gd name="T8" fmla="*/ 49 w 300"/>
                <a:gd name="T9" fmla="*/ 55 h 336"/>
                <a:gd name="T10" fmla="*/ 71 w 300"/>
                <a:gd name="T11" fmla="*/ 50 h 336"/>
                <a:gd name="T12" fmla="*/ 75 w 300"/>
                <a:gd name="T13" fmla="*/ 67 h 336"/>
                <a:gd name="T14" fmla="*/ 101 w 300"/>
                <a:gd name="T15" fmla="*/ 83 h 336"/>
                <a:gd name="T16" fmla="*/ 130 w 300"/>
                <a:gd name="T17" fmla="*/ 83 h 336"/>
                <a:gd name="T18" fmla="*/ 269 w 300"/>
                <a:gd name="T19" fmla="*/ 0 h 336"/>
                <a:gd name="T20" fmla="*/ 283 w 300"/>
                <a:gd name="T21" fmla="*/ 67 h 336"/>
                <a:gd name="T22" fmla="*/ 279 w 300"/>
                <a:gd name="T23" fmla="*/ 74 h 336"/>
                <a:gd name="T24" fmla="*/ 283 w 300"/>
                <a:gd name="T25" fmla="*/ 83 h 336"/>
                <a:gd name="T26" fmla="*/ 300 w 300"/>
                <a:gd name="T27" fmla="*/ 83 h 336"/>
                <a:gd name="T28" fmla="*/ 300 w 300"/>
                <a:gd name="T29" fmla="*/ 90 h 336"/>
                <a:gd name="T30" fmla="*/ 290 w 300"/>
                <a:gd name="T31" fmla="*/ 95 h 336"/>
                <a:gd name="T32" fmla="*/ 283 w 300"/>
                <a:gd name="T33" fmla="*/ 107 h 336"/>
                <a:gd name="T34" fmla="*/ 139 w 300"/>
                <a:gd name="T35" fmla="*/ 145 h 336"/>
                <a:gd name="T36" fmla="*/ 210 w 300"/>
                <a:gd name="T37" fmla="*/ 234 h 336"/>
                <a:gd name="T38" fmla="*/ 182 w 300"/>
                <a:gd name="T39" fmla="*/ 239 h 336"/>
                <a:gd name="T40" fmla="*/ 177 w 300"/>
                <a:gd name="T41" fmla="*/ 274 h 336"/>
                <a:gd name="T42" fmla="*/ 123 w 300"/>
                <a:gd name="T43" fmla="*/ 279 h 336"/>
                <a:gd name="T44" fmla="*/ 108 w 300"/>
                <a:gd name="T45" fmla="*/ 312 h 336"/>
                <a:gd name="T46" fmla="*/ 75 w 300"/>
                <a:gd name="T47" fmla="*/ 336 h 336"/>
                <a:gd name="T48" fmla="*/ 0 w 300"/>
                <a:gd name="T49" fmla="*/ 317 h 336"/>
                <a:gd name="T50" fmla="*/ 0 w 300"/>
                <a:gd name="T51" fmla="*/ 308 h 336"/>
                <a:gd name="T52" fmla="*/ 16 w 300"/>
                <a:gd name="T53" fmla="*/ 256 h 336"/>
                <a:gd name="T54" fmla="*/ 16 w 300"/>
                <a:gd name="T55" fmla="*/ 234 h 336"/>
                <a:gd name="T56" fmla="*/ 33 w 300"/>
                <a:gd name="T57" fmla="*/ 178 h 336"/>
                <a:gd name="T58" fmla="*/ 33 w 300"/>
                <a:gd name="T59" fmla="*/ 168 h 336"/>
                <a:gd name="T60" fmla="*/ 38 w 300"/>
                <a:gd name="T61" fmla="*/ 152 h 336"/>
                <a:gd name="T62" fmla="*/ 38 w 300"/>
                <a:gd name="T63" fmla="*/ 152 h 336"/>
                <a:gd name="T64" fmla="*/ 38 w 300"/>
                <a:gd name="T65" fmla="*/ 15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336">
                  <a:moveTo>
                    <a:pt x="38" y="152"/>
                  </a:moveTo>
                  <a:lnTo>
                    <a:pt x="38" y="90"/>
                  </a:lnTo>
                  <a:lnTo>
                    <a:pt x="38" y="83"/>
                  </a:lnTo>
                  <a:lnTo>
                    <a:pt x="38" y="55"/>
                  </a:lnTo>
                  <a:lnTo>
                    <a:pt x="49" y="55"/>
                  </a:lnTo>
                  <a:lnTo>
                    <a:pt x="71" y="50"/>
                  </a:lnTo>
                  <a:lnTo>
                    <a:pt x="75" y="67"/>
                  </a:lnTo>
                  <a:lnTo>
                    <a:pt x="101" y="83"/>
                  </a:lnTo>
                  <a:lnTo>
                    <a:pt x="130" y="83"/>
                  </a:lnTo>
                  <a:lnTo>
                    <a:pt x="269" y="0"/>
                  </a:lnTo>
                  <a:lnTo>
                    <a:pt x="283" y="67"/>
                  </a:lnTo>
                  <a:lnTo>
                    <a:pt x="279" y="74"/>
                  </a:lnTo>
                  <a:lnTo>
                    <a:pt x="283" y="83"/>
                  </a:lnTo>
                  <a:lnTo>
                    <a:pt x="300" y="83"/>
                  </a:lnTo>
                  <a:lnTo>
                    <a:pt x="300" y="90"/>
                  </a:lnTo>
                  <a:lnTo>
                    <a:pt x="290" y="95"/>
                  </a:lnTo>
                  <a:lnTo>
                    <a:pt x="283" y="107"/>
                  </a:lnTo>
                  <a:lnTo>
                    <a:pt x="139" y="145"/>
                  </a:lnTo>
                  <a:lnTo>
                    <a:pt x="210" y="234"/>
                  </a:lnTo>
                  <a:lnTo>
                    <a:pt x="182" y="239"/>
                  </a:lnTo>
                  <a:lnTo>
                    <a:pt x="177" y="274"/>
                  </a:lnTo>
                  <a:lnTo>
                    <a:pt x="123" y="279"/>
                  </a:lnTo>
                  <a:lnTo>
                    <a:pt x="108" y="312"/>
                  </a:lnTo>
                  <a:lnTo>
                    <a:pt x="75" y="336"/>
                  </a:lnTo>
                  <a:lnTo>
                    <a:pt x="0" y="317"/>
                  </a:lnTo>
                  <a:lnTo>
                    <a:pt x="0" y="308"/>
                  </a:lnTo>
                  <a:lnTo>
                    <a:pt x="16" y="256"/>
                  </a:lnTo>
                  <a:lnTo>
                    <a:pt x="16" y="234"/>
                  </a:lnTo>
                  <a:lnTo>
                    <a:pt x="33" y="178"/>
                  </a:lnTo>
                  <a:lnTo>
                    <a:pt x="33" y="168"/>
                  </a:lnTo>
                  <a:lnTo>
                    <a:pt x="38" y="152"/>
                  </a:lnTo>
                  <a:lnTo>
                    <a:pt x="38" y="152"/>
                  </a:lnTo>
                  <a:lnTo>
                    <a:pt x="38" y="15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19" name="Freeform 481">
              <a:extLst>
                <a:ext uri="{FF2B5EF4-FFF2-40B4-BE49-F238E27FC236}">
                  <a16:creationId xmlns:a16="http://schemas.microsoft.com/office/drawing/2014/main" id="{15F721E2-ED3F-40A9-9DBE-82E3C4D14EE6}"/>
                </a:ext>
              </a:extLst>
            </p:cNvPr>
            <p:cNvSpPr>
              <a:spLocks noEditPoints="1"/>
            </p:cNvSpPr>
            <p:nvPr/>
          </p:nvSpPr>
          <p:spPr bwMode="gray">
            <a:xfrm>
              <a:off x="7703540" y="3927548"/>
              <a:ext cx="231359" cy="277908"/>
            </a:xfrm>
            <a:custGeom>
              <a:avLst/>
              <a:gdLst>
                <a:gd name="T0" fmla="*/ 0 w 562"/>
                <a:gd name="T1" fmla="*/ 408 h 675"/>
                <a:gd name="T2" fmla="*/ 7 w 562"/>
                <a:gd name="T3" fmla="*/ 347 h 675"/>
                <a:gd name="T4" fmla="*/ 0 w 562"/>
                <a:gd name="T5" fmla="*/ 331 h 675"/>
                <a:gd name="T6" fmla="*/ 23 w 562"/>
                <a:gd name="T7" fmla="*/ 290 h 675"/>
                <a:gd name="T8" fmla="*/ 38 w 562"/>
                <a:gd name="T9" fmla="*/ 274 h 675"/>
                <a:gd name="T10" fmla="*/ 45 w 562"/>
                <a:gd name="T11" fmla="*/ 253 h 675"/>
                <a:gd name="T12" fmla="*/ 71 w 562"/>
                <a:gd name="T13" fmla="*/ 241 h 675"/>
                <a:gd name="T14" fmla="*/ 61 w 562"/>
                <a:gd name="T15" fmla="*/ 234 h 675"/>
                <a:gd name="T16" fmla="*/ 75 w 562"/>
                <a:gd name="T17" fmla="*/ 212 h 675"/>
                <a:gd name="T18" fmla="*/ 75 w 562"/>
                <a:gd name="T19" fmla="*/ 196 h 675"/>
                <a:gd name="T20" fmla="*/ 71 w 562"/>
                <a:gd name="T21" fmla="*/ 156 h 675"/>
                <a:gd name="T22" fmla="*/ 61 w 562"/>
                <a:gd name="T23" fmla="*/ 130 h 675"/>
                <a:gd name="T24" fmla="*/ 45 w 562"/>
                <a:gd name="T25" fmla="*/ 123 h 675"/>
                <a:gd name="T26" fmla="*/ 38 w 562"/>
                <a:gd name="T27" fmla="*/ 90 h 675"/>
                <a:gd name="T28" fmla="*/ 38 w 562"/>
                <a:gd name="T29" fmla="*/ 68 h 675"/>
                <a:gd name="T30" fmla="*/ 23 w 562"/>
                <a:gd name="T31" fmla="*/ 57 h 675"/>
                <a:gd name="T32" fmla="*/ 7 w 562"/>
                <a:gd name="T33" fmla="*/ 28 h 675"/>
                <a:gd name="T34" fmla="*/ 38 w 562"/>
                <a:gd name="T35" fmla="*/ 0 h 675"/>
                <a:gd name="T36" fmla="*/ 146 w 562"/>
                <a:gd name="T37" fmla="*/ 0 h 675"/>
                <a:gd name="T38" fmla="*/ 153 w 562"/>
                <a:gd name="T39" fmla="*/ 12 h 675"/>
                <a:gd name="T40" fmla="*/ 222 w 562"/>
                <a:gd name="T41" fmla="*/ 19 h 675"/>
                <a:gd name="T42" fmla="*/ 305 w 562"/>
                <a:gd name="T43" fmla="*/ 73 h 675"/>
                <a:gd name="T44" fmla="*/ 326 w 562"/>
                <a:gd name="T45" fmla="*/ 73 h 675"/>
                <a:gd name="T46" fmla="*/ 394 w 562"/>
                <a:gd name="T47" fmla="*/ 90 h 675"/>
                <a:gd name="T48" fmla="*/ 418 w 562"/>
                <a:gd name="T49" fmla="*/ 52 h 675"/>
                <a:gd name="T50" fmla="*/ 486 w 562"/>
                <a:gd name="T51" fmla="*/ 28 h 675"/>
                <a:gd name="T52" fmla="*/ 510 w 562"/>
                <a:gd name="T53" fmla="*/ 52 h 675"/>
                <a:gd name="T54" fmla="*/ 562 w 562"/>
                <a:gd name="T55" fmla="*/ 45 h 675"/>
                <a:gd name="T56" fmla="*/ 524 w 562"/>
                <a:gd name="T57" fmla="*/ 106 h 675"/>
                <a:gd name="T58" fmla="*/ 503 w 562"/>
                <a:gd name="T59" fmla="*/ 130 h 675"/>
                <a:gd name="T60" fmla="*/ 503 w 562"/>
                <a:gd name="T61" fmla="*/ 401 h 675"/>
                <a:gd name="T62" fmla="*/ 541 w 562"/>
                <a:gd name="T63" fmla="*/ 458 h 675"/>
                <a:gd name="T64" fmla="*/ 524 w 562"/>
                <a:gd name="T65" fmla="*/ 475 h 675"/>
                <a:gd name="T66" fmla="*/ 494 w 562"/>
                <a:gd name="T67" fmla="*/ 479 h 675"/>
                <a:gd name="T68" fmla="*/ 494 w 562"/>
                <a:gd name="T69" fmla="*/ 508 h 675"/>
                <a:gd name="T70" fmla="*/ 486 w 562"/>
                <a:gd name="T71" fmla="*/ 496 h 675"/>
                <a:gd name="T72" fmla="*/ 486 w 562"/>
                <a:gd name="T73" fmla="*/ 508 h 675"/>
                <a:gd name="T74" fmla="*/ 472 w 562"/>
                <a:gd name="T75" fmla="*/ 520 h 675"/>
                <a:gd name="T76" fmla="*/ 465 w 562"/>
                <a:gd name="T77" fmla="*/ 520 h 675"/>
                <a:gd name="T78" fmla="*/ 449 w 562"/>
                <a:gd name="T79" fmla="*/ 529 h 675"/>
                <a:gd name="T80" fmla="*/ 439 w 562"/>
                <a:gd name="T81" fmla="*/ 569 h 675"/>
                <a:gd name="T82" fmla="*/ 423 w 562"/>
                <a:gd name="T83" fmla="*/ 574 h 675"/>
                <a:gd name="T84" fmla="*/ 385 w 562"/>
                <a:gd name="T85" fmla="*/ 675 h 675"/>
                <a:gd name="T86" fmla="*/ 368 w 562"/>
                <a:gd name="T87" fmla="*/ 675 h 675"/>
                <a:gd name="T88" fmla="*/ 260 w 562"/>
                <a:gd name="T89" fmla="*/ 586 h 675"/>
                <a:gd name="T90" fmla="*/ 271 w 562"/>
                <a:gd name="T91" fmla="*/ 574 h 675"/>
                <a:gd name="T92" fmla="*/ 260 w 562"/>
                <a:gd name="T93" fmla="*/ 553 h 675"/>
                <a:gd name="T94" fmla="*/ 0 w 562"/>
                <a:gd name="T95" fmla="*/ 408 h 675"/>
                <a:gd name="T96" fmla="*/ 0 w 562"/>
                <a:gd name="T97" fmla="*/ 408 h 675"/>
                <a:gd name="T98" fmla="*/ 0 w 562"/>
                <a:gd name="T99" fmla="*/ 408 h 675"/>
                <a:gd name="T100" fmla="*/ 503 w 562"/>
                <a:gd name="T101" fmla="*/ 496 h 675"/>
                <a:gd name="T102" fmla="*/ 503 w 562"/>
                <a:gd name="T103" fmla="*/ 491 h 675"/>
                <a:gd name="T104" fmla="*/ 510 w 562"/>
                <a:gd name="T105" fmla="*/ 491 h 675"/>
                <a:gd name="T106" fmla="*/ 503 w 562"/>
                <a:gd name="T107" fmla="*/ 496 h 675"/>
                <a:gd name="T108" fmla="*/ 503 w 562"/>
                <a:gd name="T109" fmla="*/ 496 h 675"/>
                <a:gd name="T110" fmla="*/ 503 w 562"/>
                <a:gd name="T111" fmla="*/ 496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2" h="675">
                  <a:moveTo>
                    <a:pt x="0" y="408"/>
                  </a:moveTo>
                  <a:lnTo>
                    <a:pt x="7" y="347"/>
                  </a:lnTo>
                  <a:lnTo>
                    <a:pt x="0" y="331"/>
                  </a:lnTo>
                  <a:lnTo>
                    <a:pt x="23" y="290"/>
                  </a:lnTo>
                  <a:lnTo>
                    <a:pt x="38" y="274"/>
                  </a:lnTo>
                  <a:lnTo>
                    <a:pt x="45" y="253"/>
                  </a:lnTo>
                  <a:lnTo>
                    <a:pt x="71" y="241"/>
                  </a:lnTo>
                  <a:lnTo>
                    <a:pt x="61" y="234"/>
                  </a:lnTo>
                  <a:lnTo>
                    <a:pt x="75" y="212"/>
                  </a:lnTo>
                  <a:lnTo>
                    <a:pt x="75" y="196"/>
                  </a:lnTo>
                  <a:lnTo>
                    <a:pt x="71" y="156"/>
                  </a:lnTo>
                  <a:lnTo>
                    <a:pt x="61" y="130"/>
                  </a:lnTo>
                  <a:lnTo>
                    <a:pt x="45" y="123"/>
                  </a:lnTo>
                  <a:lnTo>
                    <a:pt x="38" y="90"/>
                  </a:lnTo>
                  <a:lnTo>
                    <a:pt x="38" y="68"/>
                  </a:lnTo>
                  <a:lnTo>
                    <a:pt x="23" y="57"/>
                  </a:lnTo>
                  <a:lnTo>
                    <a:pt x="7" y="28"/>
                  </a:lnTo>
                  <a:lnTo>
                    <a:pt x="38" y="0"/>
                  </a:lnTo>
                  <a:lnTo>
                    <a:pt x="146" y="0"/>
                  </a:lnTo>
                  <a:lnTo>
                    <a:pt x="153" y="12"/>
                  </a:lnTo>
                  <a:lnTo>
                    <a:pt x="222" y="19"/>
                  </a:lnTo>
                  <a:lnTo>
                    <a:pt x="305" y="73"/>
                  </a:lnTo>
                  <a:lnTo>
                    <a:pt x="326" y="73"/>
                  </a:lnTo>
                  <a:lnTo>
                    <a:pt x="394" y="90"/>
                  </a:lnTo>
                  <a:lnTo>
                    <a:pt x="418" y="52"/>
                  </a:lnTo>
                  <a:lnTo>
                    <a:pt x="486" y="28"/>
                  </a:lnTo>
                  <a:lnTo>
                    <a:pt x="510" y="52"/>
                  </a:lnTo>
                  <a:lnTo>
                    <a:pt x="562" y="45"/>
                  </a:lnTo>
                  <a:lnTo>
                    <a:pt x="524" y="106"/>
                  </a:lnTo>
                  <a:lnTo>
                    <a:pt x="503" y="130"/>
                  </a:lnTo>
                  <a:lnTo>
                    <a:pt x="503" y="401"/>
                  </a:lnTo>
                  <a:lnTo>
                    <a:pt x="541" y="458"/>
                  </a:lnTo>
                  <a:lnTo>
                    <a:pt x="524" y="475"/>
                  </a:lnTo>
                  <a:lnTo>
                    <a:pt x="494" y="479"/>
                  </a:lnTo>
                  <a:lnTo>
                    <a:pt x="494" y="508"/>
                  </a:lnTo>
                  <a:lnTo>
                    <a:pt x="486" y="496"/>
                  </a:lnTo>
                  <a:lnTo>
                    <a:pt x="486" y="508"/>
                  </a:lnTo>
                  <a:lnTo>
                    <a:pt x="472" y="520"/>
                  </a:lnTo>
                  <a:lnTo>
                    <a:pt x="465" y="520"/>
                  </a:lnTo>
                  <a:lnTo>
                    <a:pt x="449" y="529"/>
                  </a:lnTo>
                  <a:lnTo>
                    <a:pt x="439" y="569"/>
                  </a:lnTo>
                  <a:lnTo>
                    <a:pt x="423" y="574"/>
                  </a:lnTo>
                  <a:lnTo>
                    <a:pt x="385" y="675"/>
                  </a:lnTo>
                  <a:lnTo>
                    <a:pt x="368" y="675"/>
                  </a:lnTo>
                  <a:lnTo>
                    <a:pt x="260" y="586"/>
                  </a:lnTo>
                  <a:lnTo>
                    <a:pt x="271" y="574"/>
                  </a:lnTo>
                  <a:lnTo>
                    <a:pt x="260" y="553"/>
                  </a:lnTo>
                  <a:lnTo>
                    <a:pt x="0" y="408"/>
                  </a:lnTo>
                  <a:lnTo>
                    <a:pt x="0" y="408"/>
                  </a:lnTo>
                  <a:lnTo>
                    <a:pt x="0" y="408"/>
                  </a:lnTo>
                  <a:close/>
                  <a:moveTo>
                    <a:pt x="503" y="496"/>
                  </a:moveTo>
                  <a:lnTo>
                    <a:pt x="503" y="491"/>
                  </a:lnTo>
                  <a:lnTo>
                    <a:pt x="510" y="491"/>
                  </a:lnTo>
                  <a:lnTo>
                    <a:pt x="503" y="496"/>
                  </a:lnTo>
                  <a:lnTo>
                    <a:pt x="503" y="496"/>
                  </a:lnTo>
                  <a:lnTo>
                    <a:pt x="503" y="49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20" name="Freeform 487">
              <a:extLst>
                <a:ext uri="{FF2B5EF4-FFF2-40B4-BE49-F238E27FC236}">
                  <a16:creationId xmlns:a16="http://schemas.microsoft.com/office/drawing/2014/main" id="{F9CBCD06-CF61-49A1-92BF-DE7A5C017EEA}"/>
                </a:ext>
              </a:extLst>
            </p:cNvPr>
            <p:cNvSpPr>
              <a:spLocks noEditPoints="1"/>
            </p:cNvSpPr>
            <p:nvPr/>
          </p:nvSpPr>
          <p:spPr bwMode="gray">
            <a:xfrm>
              <a:off x="8069103" y="3145700"/>
              <a:ext cx="53518" cy="50641"/>
            </a:xfrm>
            <a:custGeom>
              <a:avLst/>
              <a:gdLst>
                <a:gd name="T0" fmla="*/ 0 w 130"/>
                <a:gd name="T1" fmla="*/ 73 h 123"/>
                <a:gd name="T2" fmla="*/ 33 w 130"/>
                <a:gd name="T3" fmla="*/ 45 h 123"/>
                <a:gd name="T4" fmla="*/ 50 w 130"/>
                <a:gd name="T5" fmla="*/ 0 h 123"/>
                <a:gd name="T6" fmla="*/ 87 w 130"/>
                <a:gd name="T7" fmla="*/ 0 h 123"/>
                <a:gd name="T8" fmla="*/ 104 w 130"/>
                <a:gd name="T9" fmla="*/ 0 h 123"/>
                <a:gd name="T10" fmla="*/ 118 w 130"/>
                <a:gd name="T11" fmla="*/ 45 h 123"/>
                <a:gd name="T12" fmla="*/ 104 w 130"/>
                <a:gd name="T13" fmla="*/ 33 h 123"/>
                <a:gd name="T14" fmla="*/ 87 w 130"/>
                <a:gd name="T15" fmla="*/ 56 h 123"/>
                <a:gd name="T16" fmla="*/ 109 w 130"/>
                <a:gd name="T17" fmla="*/ 56 h 123"/>
                <a:gd name="T18" fmla="*/ 130 w 130"/>
                <a:gd name="T19" fmla="*/ 123 h 123"/>
                <a:gd name="T20" fmla="*/ 87 w 130"/>
                <a:gd name="T21" fmla="*/ 123 h 123"/>
                <a:gd name="T22" fmla="*/ 66 w 130"/>
                <a:gd name="T23" fmla="*/ 85 h 123"/>
                <a:gd name="T24" fmla="*/ 0 w 130"/>
                <a:gd name="T25" fmla="*/ 73 h 123"/>
                <a:gd name="T26" fmla="*/ 0 w 130"/>
                <a:gd name="T27" fmla="*/ 73 h 123"/>
                <a:gd name="T28" fmla="*/ 0 w 130"/>
                <a:gd name="T29" fmla="*/ 73 h 123"/>
                <a:gd name="T30" fmla="*/ 0 w 130"/>
                <a:gd name="T31" fmla="*/ 73 h 123"/>
                <a:gd name="T32" fmla="*/ 118 w 130"/>
                <a:gd name="T33" fmla="*/ 9 h 123"/>
                <a:gd name="T34" fmla="*/ 130 w 130"/>
                <a:gd name="T35" fmla="*/ 28 h 123"/>
                <a:gd name="T36" fmla="*/ 118 w 130"/>
                <a:gd name="T37" fmla="*/ 45 h 123"/>
                <a:gd name="T38" fmla="*/ 109 w 130"/>
                <a:gd name="T39" fmla="*/ 28 h 123"/>
                <a:gd name="T40" fmla="*/ 109 w 130"/>
                <a:gd name="T41" fmla="*/ 9 h 123"/>
                <a:gd name="T42" fmla="*/ 118 w 130"/>
                <a:gd name="T43" fmla="*/ 9 h 123"/>
                <a:gd name="T44" fmla="*/ 118 w 130"/>
                <a:gd name="T45" fmla="*/ 9 h 123"/>
                <a:gd name="T46" fmla="*/ 118 w 130"/>
                <a:gd name="T47" fmla="*/ 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123">
                  <a:moveTo>
                    <a:pt x="0" y="73"/>
                  </a:moveTo>
                  <a:lnTo>
                    <a:pt x="33" y="45"/>
                  </a:lnTo>
                  <a:lnTo>
                    <a:pt x="50" y="0"/>
                  </a:lnTo>
                  <a:lnTo>
                    <a:pt x="87" y="0"/>
                  </a:lnTo>
                  <a:lnTo>
                    <a:pt x="104" y="0"/>
                  </a:lnTo>
                  <a:lnTo>
                    <a:pt x="118" y="45"/>
                  </a:lnTo>
                  <a:lnTo>
                    <a:pt x="104" y="33"/>
                  </a:lnTo>
                  <a:lnTo>
                    <a:pt x="87" y="56"/>
                  </a:lnTo>
                  <a:lnTo>
                    <a:pt x="109" y="56"/>
                  </a:lnTo>
                  <a:lnTo>
                    <a:pt x="130" y="123"/>
                  </a:lnTo>
                  <a:lnTo>
                    <a:pt x="87" y="123"/>
                  </a:lnTo>
                  <a:lnTo>
                    <a:pt x="66" y="85"/>
                  </a:lnTo>
                  <a:lnTo>
                    <a:pt x="0" y="73"/>
                  </a:lnTo>
                  <a:lnTo>
                    <a:pt x="0" y="73"/>
                  </a:lnTo>
                  <a:lnTo>
                    <a:pt x="0" y="73"/>
                  </a:lnTo>
                  <a:lnTo>
                    <a:pt x="0" y="73"/>
                  </a:lnTo>
                  <a:close/>
                  <a:moveTo>
                    <a:pt x="118" y="9"/>
                  </a:moveTo>
                  <a:lnTo>
                    <a:pt x="130" y="28"/>
                  </a:lnTo>
                  <a:lnTo>
                    <a:pt x="118" y="45"/>
                  </a:lnTo>
                  <a:lnTo>
                    <a:pt x="109" y="28"/>
                  </a:lnTo>
                  <a:lnTo>
                    <a:pt x="109" y="9"/>
                  </a:lnTo>
                  <a:lnTo>
                    <a:pt x="118" y="9"/>
                  </a:lnTo>
                  <a:lnTo>
                    <a:pt x="118" y="9"/>
                  </a:lnTo>
                  <a:lnTo>
                    <a:pt x="118" y="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21" name="Freeform 490">
              <a:extLst>
                <a:ext uri="{FF2B5EF4-FFF2-40B4-BE49-F238E27FC236}">
                  <a16:creationId xmlns:a16="http://schemas.microsoft.com/office/drawing/2014/main" id="{3BB1D214-B6C5-4E41-BEC3-CBDD373948F6}"/>
                </a:ext>
              </a:extLst>
            </p:cNvPr>
            <p:cNvSpPr>
              <a:spLocks/>
            </p:cNvSpPr>
            <p:nvPr/>
          </p:nvSpPr>
          <p:spPr bwMode="gray">
            <a:xfrm>
              <a:off x="7739356" y="2996659"/>
              <a:ext cx="45695" cy="53524"/>
            </a:xfrm>
            <a:custGeom>
              <a:avLst/>
              <a:gdLst>
                <a:gd name="T0" fmla="*/ 38 w 111"/>
                <a:gd name="T1" fmla="*/ 111 h 130"/>
                <a:gd name="T2" fmla="*/ 21 w 111"/>
                <a:gd name="T3" fmla="*/ 130 h 130"/>
                <a:gd name="T4" fmla="*/ 0 w 111"/>
                <a:gd name="T5" fmla="*/ 118 h 130"/>
                <a:gd name="T6" fmla="*/ 21 w 111"/>
                <a:gd name="T7" fmla="*/ 57 h 130"/>
                <a:gd name="T8" fmla="*/ 38 w 111"/>
                <a:gd name="T9" fmla="*/ 45 h 130"/>
                <a:gd name="T10" fmla="*/ 38 w 111"/>
                <a:gd name="T11" fmla="*/ 24 h 130"/>
                <a:gd name="T12" fmla="*/ 62 w 111"/>
                <a:gd name="T13" fmla="*/ 5 h 130"/>
                <a:gd name="T14" fmla="*/ 62 w 111"/>
                <a:gd name="T15" fmla="*/ 0 h 130"/>
                <a:gd name="T16" fmla="*/ 95 w 111"/>
                <a:gd name="T17" fmla="*/ 0 h 130"/>
                <a:gd name="T18" fmla="*/ 83 w 111"/>
                <a:gd name="T19" fmla="*/ 5 h 130"/>
                <a:gd name="T20" fmla="*/ 99 w 111"/>
                <a:gd name="T21" fmla="*/ 17 h 130"/>
                <a:gd name="T22" fmla="*/ 111 w 111"/>
                <a:gd name="T23" fmla="*/ 29 h 130"/>
                <a:gd name="T24" fmla="*/ 83 w 111"/>
                <a:gd name="T25" fmla="*/ 57 h 130"/>
                <a:gd name="T26" fmla="*/ 95 w 111"/>
                <a:gd name="T27" fmla="*/ 62 h 130"/>
                <a:gd name="T28" fmla="*/ 66 w 111"/>
                <a:gd name="T29" fmla="*/ 62 h 130"/>
                <a:gd name="T30" fmla="*/ 62 w 111"/>
                <a:gd name="T31" fmla="*/ 78 h 130"/>
                <a:gd name="T32" fmla="*/ 66 w 111"/>
                <a:gd name="T33" fmla="*/ 78 h 130"/>
                <a:gd name="T34" fmla="*/ 38 w 111"/>
                <a:gd name="T35" fmla="*/ 111 h 130"/>
                <a:gd name="T36" fmla="*/ 38 w 111"/>
                <a:gd name="T37" fmla="*/ 111 h 130"/>
                <a:gd name="T38" fmla="*/ 38 w 111"/>
                <a:gd name="T39" fmla="*/ 111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30">
                  <a:moveTo>
                    <a:pt x="38" y="111"/>
                  </a:moveTo>
                  <a:lnTo>
                    <a:pt x="21" y="130"/>
                  </a:lnTo>
                  <a:lnTo>
                    <a:pt x="0" y="118"/>
                  </a:lnTo>
                  <a:lnTo>
                    <a:pt x="21" y="57"/>
                  </a:lnTo>
                  <a:lnTo>
                    <a:pt x="38" y="45"/>
                  </a:lnTo>
                  <a:lnTo>
                    <a:pt x="38" y="24"/>
                  </a:lnTo>
                  <a:lnTo>
                    <a:pt x="62" y="5"/>
                  </a:lnTo>
                  <a:lnTo>
                    <a:pt x="62" y="0"/>
                  </a:lnTo>
                  <a:lnTo>
                    <a:pt x="95" y="0"/>
                  </a:lnTo>
                  <a:lnTo>
                    <a:pt x="83" y="5"/>
                  </a:lnTo>
                  <a:lnTo>
                    <a:pt x="99" y="17"/>
                  </a:lnTo>
                  <a:lnTo>
                    <a:pt x="111" y="29"/>
                  </a:lnTo>
                  <a:lnTo>
                    <a:pt x="83" y="57"/>
                  </a:lnTo>
                  <a:lnTo>
                    <a:pt x="95" y="62"/>
                  </a:lnTo>
                  <a:lnTo>
                    <a:pt x="66" y="62"/>
                  </a:lnTo>
                  <a:lnTo>
                    <a:pt x="62" y="78"/>
                  </a:lnTo>
                  <a:lnTo>
                    <a:pt x="66" y="78"/>
                  </a:lnTo>
                  <a:lnTo>
                    <a:pt x="38" y="111"/>
                  </a:lnTo>
                  <a:lnTo>
                    <a:pt x="38" y="111"/>
                  </a:lnTo>
                  <a:lnTo>
                    <a:pt x="38" y="11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22" name="Freeform 493">
              <a:extLst>
                <a:ext uri="{FF2B5EF4-FFF2-40B4-BE49-F238E27FC236}">
                  <a16:creationId xmlns:a16="http://schemas.microsoft.com/office/drawing/2014/main" id="{9273AF6F-1686-405A-9166-D3AC25B1F361}"/>
                </a:ext>
              </a:extLst>
            </p:cNvPr>
            <p:cNvSpPr>
              <a:spLocks/>
            </p:cNvSpPr>
            <p:nvPr/>
          </p:nvSpPr>
          <p:spPr bwMode="gray">
            <a:xfrm>
              <a:off x="6394430" y="3811857"/>
              <a:ext cx="118973" cy="123515"/>
            </a:xfrm>
            <a:custGeom>
              <a:avLst/>
              <a:gdLst>
                <a:gd name="T0" fmla="*/ 0 w 289"/>
                <a:gd name="T1" fmla="*/ 115 h 300"/>
                <a:gd name="T2" fmla="*/ 12 w 289"/>
                <a:gd name="T3" fmla="*/ 94 h 300"/>
                <a:gd name="T4" fmla="*/ 38 w 289"/>
                <a:gd name="T5" fmla="*/ 71 h 300"/>
                <a:gd name="T6" fmla="*/ 66 w 289"/>
                <a:gd name="T7" fmla="*/ 54 h 300"/>
                <a:gd name="T8" fmla="*/ 66 w 289"/>
                <a:gd name="T9" fmla="*/ 33 h 300"/>
                <a:gd name="T10" fmla="*/ 76 w 289"/>
                <a:gd name="T11" fmla="*/ 21 h 300"/>
                <a:gd name="T12" fmla="*/ 88 w 289"/>
                <a:gd name="T13" fmla="*/ 0 h 300"/>
                <a:gd name="T14" fmla="*/ 121 w 289"/>
                <a:gd name="T15" fmla="*/ 0 h 300"/>
                <a:gd name="T16" fmla="*/ 142 w 289"/>
                <a:gd name="T17" fmla="*/ 16 h 300"/>
                <a:gd name="T18" fmla="*/ 147 w 289"/>
                <a:gd name="T19" fmla="*/ 54 h 300"/>
                <a:gd name="T20" fmla="*/ 142 w 289"/>
                <a:gd name="T21" fmla="*/ 87 h 300"/>
                <a:gd name="T22" fmla="*/ 147 w 289"/>
                <a:gd name="T23" fmla="*/ 75 h 300"/>
                <a:gd name="T24" fmla="*/ 163 w 289"/>
                <a:gd name="T25" fmla="*/ 94 h 300"/>
                <a:gd name="T26" fmla="*/ 185 w 289"/>
                <a:gd name="T27" fmla="*/ 87 h 300"/>
                <a:gd name="T28" fmla="*/ 196 w 289"/>
                <a:gd name="T29" fmla="*/ 59 h 300"/>
                <a:gd name="T30" fmla="*/ 201 w 289"/>
                <a:gd name="T31" fmla="*/ 59 h 300"/>
                <a:gd name="T32" fmla="*/ 213 w 289"/>
                <a:gd name="T33" fmla="*/ 71 h 300"/>
                <a:gd name="T34" fmla="*/ 229 w 289"/>
                <a:gd name="T35" fmla="*/ 94 h 300"/>
                <a:gd name="T36" fmla="*/ 218 w 289"/>
                <a:gd name="T37" fmla="*/ 115 h 300"/>
                <a:gd name="T38" fmla="*/ 201 w 289"/>
                <a:gd name="T39" fmla="*/ 144 h 300"/>
                <a:gd name="T40" fmla="*/ 234 w 289"/>
                <a:gd name="T41" fmla="*/ 165 h 300"/>
                <a:gd name="T42" fmla="*/ 251 w 289"/>
                <a:gd name="T43" fmla="*/ 165 h 300"/>
                <a:gd name="T44" fmla="*/ 255 w 289"/>
                <a:gd name="T45" fmla="*/ 189 h 300"/>
                <a:gd name="T46" fmla="*/ 289 w 289"/>
                <a:gd name="T47" fmla="*/ 189 h 300"/>
                <a:gd name="T48" fmla="*/ 289 w 289"/>
                <a:gd name="T49" fmla="*/ 215 h 300"/>
                <a:gd name="T50" fmla="*/ 284 w 289"/>
                <a:gd name="T51" fmla="*/ 222 h 300"/>
                <a:gd name="T52" fmla="*/ 289 w 289"/>
                <a:gd name="T53" fmla="*/ 227 h 300"/>
                <a:gd name="T54" fmla="*/ 272 w 289"/>
                <a:gd name="T55" fmla="*/ 260 h 300"/>
                <a:gd name="T56" fmla="*/ 284 w 289"/>
                <a:gd name="T57" fmla="*/ 300 h 300"/>
                <a:gd name="T58" fmla="*/ 229 w 289"/>
                <a:gd name="T59" fmla="*/ 283 h 300"/>
                <a:gd name="T60" fmla="*/ 163 w 289"/>
                <a:gd name="T61" fmla="*/ 255 h 300"/>
                <a:gd name="T62" fmla="*/ 76 w 289"/>
                <a:gd name="T63" fmla="*/ 165 h 300"/>
                <a:gd name="T64" fmla="*/ 50 w 289"/>
                <a:gd name="T65" fmla="*/ 165 h 300"/>
                <a:gd name="T66" fmla="*/ 38 w 289"/>
                <a:gd name="T67" fmla="*/ 149 h 300"/>
                <a:gd name="T68" fmla="*/ 12 w 289"/>
                <a:gd name="T69" fmla="*/ 132 h 300"/>
                <a:gd name="T70" fmla="*/ 0 w 289"/>
                <a:gd name="T71" fmla="*/ 115 h 300"/>
                <a:gd name="T72" fmla="*/ 0 w 289"/>
                <a:gd name="T73" fmla="*/ 115 h 300"/>
                <a:gd name="T74" fmla="*/ 0 w 289"/>
                <a:gd name="T75" fmla="*/ 11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9" h="300">
                  <a:moveTo>
                    <a:pt x="0" y="115"/>
                  </a:moveTo>
                  <a:lnTo>
                    <a:pt x="12" y="94"/>
                  </a:lnTo>
                  <a:lnTo>
                    <a:pt x="38" y="71"/>
                  </a:lnTo>
                  <a:lnTo>
                    <a:pt x="66" y="54"/>
                  </a:lnTo>
                  <a:lnTo>
                    <a:pt x="66" y="33"/>
                  </a:lnTo>
                  <a:lnTo>
                    <a:pt x="76" y="21"/>
                  </a:lnTo>
                  <a:lnTo>
                    <a:pt x="88" y="0"/>
                  </a:lnTo>
                  <a:lnTo>
                    <a:pt x="121" y="0"/>
                  </a:lnTo>
                  <a:lnTo>
                    <a:pt x="142" y="16"/>
                  </a:lnTo>
                  <a:lnTo>
                    <a:pt x="147" y="54"/>
                  </a:lnTo>
                  <a:lnTo>
                    <a:pt x="142" y="87"/>
                  </a:lnTo>
                  <a:lnTo>
                    <a:pt x="147" y="75"/>
                  </a:lnTo>
                  <a:lnTo>
                    <a:pt x="163" y="94"/>
                  </a:lnTo>
                  <a:lnTo>
                    <a:pt x="185" y="87"/>
                  </a:lnTo>
                  <a:lnTo>
                    <a:pt x="196" y="59"/>
                  </a:lnTo>
                  <a:lnTo>
                    <a:pt x="201" y="59"/>
                  </a:lnTo>
                  <a:lnTo>
                    <a:pt x="213" y="71"/>
                  </a:lnTo>
                  <a:lnTo>
                    <a:pt x="229" y="94"/>
                  </a:lnTo>
                  <a:lnTo>
                    <a:pt x="218" y="115"/>
                  </a:lnTo>
                  <a:lnTo>
                    <a:pt x="201" y="144"/>
                  </a:lnTo>
                  <a:lnTo>
                    <a:pt x="234" y="165"/>
                  </a:lnTo>
                  <a:lnTo>
                    <a:pt x="251" y="165"/>
                  </a:lnTo>
                  <a:lnTo>
                    <a:pt x="255" y="189"/>
                  </a:lnTo>
                  <a:lnTo>
                    <a:pt x="289" y="189"/>
                  </a:lnTo>
                  <a:lnTo>
                    <a:pt x="289" y="215"/>
                  </a:lnTo>
                  <a:lnTo>
                    <a:pt x="284" y="222"/>
                  </a:lnTo>
                  <a:lnTo>
                    <a:pt x="289" y="227"/>
                  </a:lnTo>
                  <a:lnTo>
                    <a:pt x="272" y="260"/>
                  </a:lnTo>
                  <a:lnTo>
                    <a:pt x="284" y="300"/>
                  </a:lnTo>
                  <a:lnTo>
                    <a:pt x="229" y="283"/>
                  </a:lnTo>
                  <a:lnTo>
                    <a:pt x="163" y="255"/>
                  </a:lnTo>
                  <a:lnTo>
                    <a:pt x="76" y="165"/>
                  </a:lnTo>
                  <a:lnTo>
                    <a:pt x="50" y="165"/>
                  </a:lnTo>
                  <a:lnTo>
                    <a:pt x="38" y="149"/>
                  </a:lnTo>
                  <a:lnTo>
                    <a:pt x="12" y="132"/>
                  </a:lnTo>
                  <a:lnTo>
                    <a:pt x="0" y="115"/>
                  </a:lnTo>
                  <a:lnTo>
                    <a:pt x="0" y="115"/>
                  </a:lnTo>
                  <a:lnTo>
                    <a:pt x="0" y="11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23" name="Freeform 496">
              <a:extLst>
                <a:ext uri="{FF2B5EF4-FFF2-40B4-BE49-F238E27FC236}">
                  <a16:creationId xmlns:a16="http://schemas.microsoft.com/office/drawing/2014/main" id="{AF5E9062-EB81-4A4D-A694-D4C55E69E57D}"/>
                </a:ext>
              </a:extLst>
            </p:cNvPr>
            <p:cNvSpPr>
              <a:spLocks/>
            </p:cNvSpPr>
            <p:nvPr/>
          </p:nvSpPr>
          <p:spPr bwMode="gray">
            <a:xfrm>
              <a:off x="7505939" y="4937077"/>
              <a:ext cx="72043" cy="67109"/>
            </a:xfrm>
            <a:custGeom>
              <a:avLst/>
              <a:gdLst>
                <a:gd name="T0" fmla="*/ 128 w 175"/>
                <a:gd name="T1" fmla="*/ 12 h 163"/>
                <a:gd name="T2" fmla="*/ 166 w 175"/>
                <a:gd name="T3" fmla="*/ 38 h 163"/>
                <a:gd name="T4" fmla="*/ 175 w 175"/>
                <a:gd name="T5" fmla="*/ 56 h 163"/>
                <a:gd name="T6" fmla="*/ 159 w 175"/>
                <a:gd name="T7" fmla="*/ 73 h 163"/>
                <a:gd name="T8" fmla="*/ 159 w 175"/>
                <a:gd name="T9" fmla="*/ 78 h 163"/>
                <a:gd name="T10" fmla="*/ 149 w 175"/>
                <a:gd name="T11" fmla="*/ 78 h 163"/>
                <a:gd name="T12" fmla="*/ 149 w 175"/>
                <a:gd name="T13" fmla="*/ 106 h 163"/>
                <a:gd name="T14" fmla="*/ 128 w 175"/>
                <a:gd name="T15" fmla="*/ 123 h 163"/>
                <a:gd name="T16" fmla="*/ 95 w 175"/>
                <a:gd name="T17" fmla="*/ 123 h 163"/>
                <a:gd name="T18" fmla="*/ 71 w 175"/>
                <a:gd name="T19" fmla="*/ 163 h 163"/>
                <a:gd name="T20" fmla="*/ 50 w 175"/>
                <a:gd name="T21" fmla="*/ 163 h 163"/>
                <a:gd name="T22" fmla="*/ 29 w 175"/>
                <a:gd name="T23" fmla="*/ 134 h 163"/>
                <a:gd name="T24" fmla="*/ 17 w 175"/>
                <a:gd name="T25" fmla="*/ 111 h 163"/>
                <a:gd name="T26" fmla="*/ 0 w 175"/>
                <a:gd name="T27" fmla="*/ 78 h 163"/>
                <a:gd name="T28" fmla="*/ 17 w 175"/>
                <a:gd name="T29" fmla="*/ 73 h 163"/>
                <a:gd name="T30" fmla="*/ 38 w 175"/>
                <a:gd name="T31" fmla="*/ 33 h 163"/>
                <a:gd name="T32" fmla="*/ 83 w 175"/>
                <a:gd name="T33" fmla="*/ 12 h 163"/>
                <a:gd name="T34" fmla="*/ 111 w 175"/>
                <a:gd name="T35" fmla="*/ 0 h 163"/>
                <a:gd name="T36" fmla="*/ 128 w 175"/>
                <a:gd name="T37" fmla="*/ 12 h 163"/>
                <a:gd name="T38" fmla="*/ 128 w 175"/>
                <a:gd name="T39" fmla="*/ 12 h 163"/>
                <a:gd name="T40" fmla="*/ 128 w 175"/>
                <a:gd name="T41" fmla="*/ 1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63">
                  <a:moveTo>
                    <a:pt x="128" y="12"/>
                  </a:moveTo>
                  <a:lnTo>
                    <a:pt x="166" y="38"/>
                  </a:lnTo>
                  <a:lnTo>
                    <a:pt x="175" y="56"/>
                  </a:lnTo>
                  <a:lnTo>
                    <a:pt x="159" y="73"/>
                  </a:lnTo>
                  <a:lnTo>
                    <a:pt x="159" y="78"/>
                  </a:lnTo>
                  <a:lnTo>
                    <a:pt x="149" y="78"/>
                  </a:lnTo>
                  <a:lnTo>
                    <a:pt x="149" y="106"/>
                  </a:lnTo>
                  <a:lnTo>
                    <a:pt x="128" y="123"/>
                  </a:lnTo>
                  <a:lnTo>
                    <a:pt x="95" y="123"/>
                  </a:lnTo>
                  <a:lnTo>
                    <a:pt x="71" y="163"/>
                  </a:lnTo>
                  <a:lnTo>
                    <a:pt x="50" y="163"/>
                  </a:lnTo>
                  <a:lnTo>
                    <a:pt x="29" y="134"/>
                  </a:lnTo>
                  <a:lnTo>
                    <a:pt x="17" y="111"/>
                  </a:lnTo>
                  <a:lnTo>
                    <a:pt x="0" y="78"/>
                  </a:lnTo>
                  <a:lnTo>
                    <a:pt x="17" y="73"/>
                  </a:lnTo>
                  <a:lnTo>
                    <a:pt x="38" y="33"/>
                  </a:lnTo>
                  <a:lnTo>
                    <a:pt x="83" y="12"/>
                  </a:lnTo>
                  <a:lnTo>
                    <a:pt x="111" y="0"/>
                  </a:lnTo>
                  <a:lnTo>
                    <a:pt x="128" y="12"/>
                  </a:lnTo>
                  <a:lnTo>
                    <a:pt x="128" y="12"/>
                  </a:lnTo>
                  <a:lnTo>
                    <a:pt x="128" y="1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24" name="Freeform 498">
              <a:extLst>
                <a:ext uri="{FF2B5EF4-FFF2-40B4-BE49-F238E27FC236}">
                  <a16:creationId xmlns:a16="http://schemas.microsoft.com/office/drawing/2014/main" id="{068E24E9-38E8-42A2-9C6B-AF2635B94BC3}"/>
                </a:ext>
              </a:extLst>
            </p:cNvPr>
            <p:cNvSpPr>
              <a:spLocks/>
            </p:cNvSpPr>
            <p:nvPr/>
          </p:nvSpPr>
          <p:spPr bwMode="gray">
            <a:xfrm>
              <a:off x="6995468" y="3044418"/>
              <a:ext cx="456953" cy="434772"/>
            </a:xfrm>
            <a:custGeom>
              <a:avLst/>
              <a:gdLst>
                <a:gd name="T0" fmla="*/ 1096 w 1110"/>
                <a:gd name="T1" fmla="*/ 867 h 1056"/>
                <a:gd name="T2" fmla="*/ 1025 w 1110"/>
                <a:gd name="T3" fmla="*/ 1018 h 1056"/>
                <a:gd name="T4" fmla="*/ 740 w 1110"/>
                <a:gd name="T5" fmla="*/ 900 h 1056"/>
                <a:gd name="T6" fmla="*/ 395 w 1110"/>
                <a:gd name="T7" fmla="*/ 794 h 1056"/>
                <a:gd name="T8" fmla="*/ 291 w 1110"/>
                <a:gd name="T9" fmla="*/ 777 h 1056"/>
                <a:gd name="T10" fmla="*/ 156 w 1110"/>
                <a:gd name="T11" fmla="*/ 690 h 1056"/>
                <a:gd name="T12" fmla="*/ 76 w 1110"/>
                <a:gd name="T13" fmla="*/ 683 h 1056"/>
                <a:gd name="T14" fmla="*/ 64 w 1110"/>
                <a:gd name="T15" fmla="*/ 661 h 1056"/>
                <a:gd name="T16" fmla="*/ 50 w 1110"/>
                <a:gd name="T17" fmla="*/ 612 h 1056"/>
                <a:gd name="T18" fmla="*/ 12 w 1110"/>
                <a:gd name="T19" fmla="*/ 534 h 1056"/>
                <a:gd name="T20" fmla="*/ 38 w 1110"/>
                <a:gd name="T21" fmla="*/ 501 h 1056"/>
                <a:gd name="T22" fmla="*/ 21 w 1110"/>
                <a:gd name="T23" fmla="*/ 461 h 1056"/>
                <a:gd name="T24" fmla="*/ 33 w 1110"/>
                <a:gd name="T25" fmla="*/ 390 h 1056"/>
                <a:gd name="T26" fmla="*/ 21 w 1110"/>
                <a:gd name="T27" fmla="*/ 279 h 1056"/>
                <a:gd name="T28" fmla="*/ 17 w 1110"/>
                <a:gd name="T29" fmla="*/ 234 h 1056"/>
                <a:gd name="T30" fmla="*/ 64 w 1110"/>
                <a:gd name="T31" fmla="*/ 189 h 1056"/>
                <a:gd name="T32" fmla="*/ 54 w 1110"/>
                <a:gd name="T33" fmla="*/ 135 h 1056"/>
                <a:gd name="T34" fmla="*/ 76 w 1110"/>
                <a:gd name="T35" fmla="*/ 111 h 1056"/>
                <a:gd name="T36" fmla="*/ 156 w 1110"/>
                <a:gd name="T37" fmla="*/ 57 h 1056"/>
                <a:gd name="T38" fmla="*/ 156 w 1110"/>
                <a:gd name="T39" fmla="*/ 0 h 1056"/>
                <a:gd name="T40" fmla="*/ 248 w 1110"/>
                <a:gd name="T41" fmla="*/ 24 h 1056"/>
                <a:gd name="T42" fmla="*/ 340 w 1110"/>
                <a:gd name="T43" fmla="*/ 33 h 1056"/>
                <a:gd name="T44" fmla="*/ 411 w 1110"/>
                <a:gd name="T45" fmla="*/ 57 h 1056"/>
                <a:gd name="T46" fmla="*/ 432 w 1110"/>
                <a:gd name="T47" fmla="*/ 123 h 1056"/>
                <a:gd name="T48" fmla="*/ 480 w 1110"/>
                <a:gd name="T49" fmla="*/ 151 h 1056"/>
                <a:gd name="T50" fmla="*/ 560 w 1110"/>
                <a:gd name="T51" fmla="*/ 168 h 1056"/>
                <a:gd name="T52" fmla="*/ 680 w 1110"/>
                <a:gd name="T53" fmla="*/ 234 h 1056"/>
                <a:gd name="T54" fmla="*/ 718 w 1110"/>
                <a:gd name="T55" fmla="*/ 217 h 1056"/>
                <a:gd name="T56" fmla="*/ 756 w 1110"/>
                <a:gd name="T57" fmla="*/ 161 h 1056"/>
                <a:gd name="T58" fmla="*/ 756 w 1110"/>
                <a:gd name="T59" fmla="*/ 78 h 1056"/>
                <a:gd name="T60" fmla="*/ 820 w 1110"/>
                <a:gd name="T61" fmla="*/ 33 h 1056"/>
                <a:gd name="T62" fmla="*/ 862 w 1110"/>
                <a:gd name="T63" fmla="*/ 17 h 1056"/>
                <a:gd name="T64" fmla="*/ 966 w 1110"/>
                <a:gd name="T65" fmla="*/ 40 h 1056"/>
                <a:gd name="T66" fmla="*/ 971 w 1110"/>
                <a:gd name="T67" fmla="*/ 73 h 1056"/>
                <a:gd name="T68" fmla="*/ 1035 w 1110"/>
                <a:gd name="T69" fmla="*/ 95 h 1056"/>
                <a:gd name="T70" fmla="*/ 1110 w 1110"/>
                <a:gd name="T71" fmla="*/ 123 h 1056"/>
                <a:gd name="T72" fmla="*/ 1096 w 1110"/>
                <a:gd name="T73" fmla="*/ 189 h 1056"/>
                <a:gd name="T74" fmla="*/ 1096 w 1110"/>
                <a:gd name="T75" fmla="*/ 312 h 1056"/>
                <a:gd name="T76" fmla="*/ 1096 w 1110"/>
                <a:gd name="T77" fmla="*/ 43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10" h="1056">
                  <a:moveTo>
                    <a:pt x="1096" y="439"/>
                  </a:moveTo>
                  <a:lnTo>
                    <a:pt x="1096" y="867"/>
                  </a:lnTo>
                  <a:lnTo>
                    <a:pt x="1096" y="1018"/>
                  </a:lnTo>
                  <a:lnTo>
                    <a:pt x="1025" y="1018"/>
                  </a:lnTo>
                  <a:lnTo>
                    <a:pt x="1025" y="1056"/>
                  </a:lnTo>
                  <a:lnTo>
                    <a:pt x="740" y="900"/>
                  </a:lnTo>
                  <a:lnTo>
                    <a:pt x="463" y="761"/>
                  </a:lnTo>
                  <a:lnTo>
                    <a:pt x="395" y="794"/>
                  </a:lnTo>
                  <a:lnTo>
                    <a:pt x="340" y="829"/>
                  </a:lnTo>
                  <a:lnTo>
                    <a:pt x="291" y="777"/>
                  </a:lnTo>
                  <a:lnTo>
                    <a:pt x="184" y="756"/>
                  </a:lnTo>
                  <a:lnTo>
                    <a:pt x="156" y="690"/>
                  </a:lnTo>
                  <a:lnTo>
                    <a:pt x="92" y="678"/>
                  </a:lnTo>
                  <a:lnTo>
                    <a:pt x="76" y="683"/>
                  </a:lnTo>
                  <a:lnTo>
                    <a:pt x="64" y="666"/>
                  </a:lnTo>
                  <a:lnTo>
                    <a:pt x="64" y="661"/>
                  </a:lnTo>
                  <a:lnTo>
                    <a:pt x="50" y="650"/>
                  </a:lnTo>
                  <a:lnTo>
                    <a:pt x="50" y="612"/>
                  </a:lnTo>
                  <a:lnTo>
                    <a:pt x="0" y="550"/>
                  </a:lnTo>
                  <a:lnTo>
                    <a:pt x="12" y="534"/>
                  </a:lnTo>
                  <a:lnTo>
                    <a:pt x="38" y="522"/>
                  </a:lnTo>
                  <a:lnTo>
                    <a:pt x="38" y="501"/>
                  </a:lnTo>
                  <a:lnTo>
                    <a:pt x="38" y="494"/>
                  </a:lnTo>
                  <a:lnTo>
                    <a:pt x="21" y="461"/>
                  </a:lnTo>
                  <a:lnTo>
                    <a:pt x="50" y="423"/>
                  </a:lnTo>
                  <a:lnTo>
                    <a:pt x="33" y="390"/>
                  </a:lnTo>
                  <a:lnTo>
                    <a:pt x="33" y="317"/>
                  </a:lnTo>
                  <a:lnTo>
                    <a:pt x="21" y="279"/>
                  </a:lnTo>
                  <a:lnTo>
                    <a:pt x="0" y="239"/>
                  </a:lnTo>
                  <a:lnTo>
                    <a:pt x="17" y="234"/>
                  </a:lnTo>
                  <a:lnTo>
                    <a:pt x="38" y="222"/>
                  </a:lnTo>
                  <a:lnTo>
                    <a:pt x="64" y="189"/>
                  </a:lnTo>
                  <a:lnTo>
                    <a:pt x="71" y="177"/>
                  </a:lnTo>
                  <a:lnTo>
                    <a:pt x="54" y="135"/>
                  </a:lnTo>
                  <a:lnTo>
                    <a:pt x="71" y="123"/>
                  </a:lnTo>
                  <a:lnTo>
                    <a:pt x="76" y="111"/>
                  </a:lnTo>
                  <a:lnTo>
                    <a:pt x="109" y="78"/>
                  </a:lnTo>
                  <a:lnTo>
                    <a:pt x="156" y="57"/>
                  </a:lnTo>
                  <a:lnTo>
                    <a:pt x="147" y="40"/>
                  </a:lnTo>
                  <a:lnTo>
                    <a:pt x="156" y="0"/>
                  </a:lnTo>
                  <a:lnTo>
                    <a:pt x="210" y="24"/>
                  </a:lnTo>
                  <a:lnTo>
                    <a:pt x="248" y="24"/>
                  </a:lnTo>
                  <a:lnTo>
                    <a:pt x="281" y="17"/>
                  </a:lnTo>
                  <a:lnTo>
                    <a:pt x="340" y="33"/>
                  </a:lnTo>
                  <a:lnTo>
                    <a:pt x="362" y="50"/>
                  </a:lnTo>
                  <a:lnTo>
                    <a:pt x="411" y="57"/>
                  </a:lnTo>
                  <a:lnTo>
                    <a:pt x="425" y="78"/>
                  </a:lnTo>
                  <a:lnTo>
                    <a:pt x="432" y="123"/>
                  </a:lnTo>
                  <a:lnTo>
                    <a:pt x="449" y="144"/>
                  </a:lnTo>
                  <a:lnTo>
                    <a:pt x="480" y="151"/>
                  </a:lnTo>
                  <a:lnTo>
                    <a:pt x="517" y="151"/>
                  </a:lnTo>
                  <a:lnTo>
                    <a:pt x="560" y="168"/>
                  </a:lnTo>
                  <a:lnTo>
                    <a:pt x="614" y="189"/>
                  </a:lnTo>
                  <a:lnTo>
                    <a:pt x="680" y="234"/>
                  </a:lnTo>
                  <a:lnTo>
                    <a:pt x="702" y="234"/>
                  </a:lnTo>
                  <a:lnTo>
                    <a:pt x="718" y="217"/>
                  </a:lnTo>
                  <a:lnTo>
                    <a:pt x="749" y="184"/>
                  </a:lnTo>
                  <a:lnTo>
                    <a:pt x="756" y="161"/>
                  </a:lnTo>
                  <a:lnTo>
                    <a:pt x="740" y="111"/>
                  </a:lnTo>
                  <a:lnTo>
                    <a:pt x="756" y="78"/>
                  </a:lnTo>
                  <a:lnTo>
                    <a:pt x="787" y="50"/>
                  </a:lnTo>
                  <a:lnTo>
                    <a:pt x="820" y="33"/>
                  </a:lnTo>
                  <a:lnTo>
                    <a:pt x="848" y="24"/>
                  </a:lnTo>
                  <a:lnTo>
                    <a:pt x="862" y="17"/>
                  </a:lnTo>
                  <a:lnTo>
                    <a:pt x="912" y="24"/>
                  </a:lnTo>
                  <a:lnTo>
                    <a:pt x="966" y="40"/>
                  </a:lnTo>
                  <a:lnTo>
                    <a:pt x="966" y="66"/>
                  </a:lnTo>
                  <a:lnTo>
                    <a:pt x="971" y="73"/>
                  </a:lnTo>
                  <a:lnTo>
                    <a:pt x="1009" y="78"/>
                  </a:lnTo>
                  <a:lnTo>
                    <a:pt x="1035" y="95"/>
                  </a:lnTo>
                  <a:lnTo>
                    <a:pt x="1096" y="95"/>
                  </a:lnTo>
                  <a:lnTo>
                    <a:pt x="1110" y="123"/>
                  </a:lnTo>
                  <a:lnTo>
                    <a:pt x="1089" y="144"/>
                  </a:lnTo>
                  <a:lnTo>
                    <a:pt x="1096" y="189"/>
                  </a:lnTo>
                  <a:lnTo>
                    <a:pt x="1080" y="239"/>
                  </a:lnTo>
                  <a:lnTo>
                    <a:pt x="1096" y="312"/>
                  </a:lnTo>
                  <a:lnTo>
                    <a:pt x="1096" y="439"/>
                  </a:lnTo>
                  <a:lnTo>
                    <a:pt x="1096" y="439"/>
                  </a:lnTo>
                  <a:lnTo>
                    <a:pt x="1096" y="43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25" name="Freeform 499">
              <a:extLst>
                <a:ext uri="{FF2B5EF4-FFF2-40B4-BE49-F238E27FC236}">
                  <a16:creationId xmlns:a16="http://schemas.microsoft.com/office/drawing/2014/main" id="{01504BBF-A6B6-4C9A-9388-0BB9BDC98EE3}"/>
                </a:ext>
              </a:extLst>
            </p:cNvPr>
            <p:cNvSpPr>
              <a:spLocks noEditPoints="1"/>
            </p:cNvSpPr>
            <p:nvPr/>
          </p:nvSpPr>
          <p:spPr bwMode="gray">
            <a:xfrm>
              <a:off x="7974008" y="4420373"/>
              <a:ext cx="210775" cy="419538"/>
            </a:xfrm>
            <a:custGeom>
              <a:avLst/>
              <a:gdLst>
                <a:gd name="T0" fmla="*/ 349 w 512"/>
                <a:gd name="T1" fmla="*/ 723 h 1019"/>
                <a:gd name="T2" fmla="*/ 307 w 512"/>
                <a:gd name="T3" fmla="*/ 884 h 1019"/>
                <a:gd name="T4" fmla="*/ 243 w 512"/>
                <a:gd name="T5" fmla="*/ 995 h 1019"/>
                <a:gd name="T6" fmla="*/ 163 w 512"/>
                <a:gd name="T7" fmla="*/ 1019 h 1019"/>
                <a:gd name="T8" fmla="*/ 108 w 512"/>
                <a:gd name="T9" fmla="*/ 1002 h 1019"/>
                <a:gd name="T10" fmla="*/ 82 w 512"/>
                <a:gd name="T11" fmla="*/ 990 h 1019"/>
                <a:gd name="T12" fmla="*/ 54 w 512"/>
                <a:gd name="T13" fmla="*/ 978 h 1019"/>
                <a:gd name="T14" fmla="*/ 33 w 512"/>
                <a:gd name="T15" fmla="*/ 924 h 1019"/>
                <a:gd name="T16" fmla="*/ 37 w 512"/>
                <a:gd name="T17" fmla="*/ 863 h 1019"/>
                <a:gd name="T18" fmla="*/ 28 w 512"/>
                <a:gd name="T19" fmla="*/ 830 h 1019"/>
                <a:gd name="T20" fmla="*/ 0 w 512"/>
                <a:gd name="T21" fmla="*/ 756 h 1019"/>
                <a:gd name="T22" fmla="*/ 16 w 512"/>
                <a:gd name="T23" fmla="*/ 723 h 1019"/>
                <a:gd name="T24" fmla="*/ 37 w 512"/>
                <a:gd name="T25" fmla="*/ 685 h 1019"/>
                <a:gd name="T26" fmla="*/ 87 w 512"/>
                <a:gd name="T27" fmla="*/ 596 h 1019"/>
                <a:gd name="T28" fmla="*/ 87 w 512"/>
                <a:gd name="T29" fmla="*/ 558 h 1019"/>
                <a:gd name="T30" fmla="*/ 70 w 512"/>
                <a:gd name="T31" fmla="*/ 513 h 1019"/>
                <a:gd name="T32" fmla="*/ 54 w 512"/>
                <a:gd name="T33" fmla="*/ 428 h 1019"/>
                <a:gd name="T34" fmla="*/ 87 w 512"/>
                <a:gd name="T35" fmla="*/ 350 h 1019"/>
                <a:gd name="T36" fmla="*/ 118 w 512"/>
                <a:gd name="T37" fmla="*/ 312 h 1019"/>
                <a:gd name="T38" fmla="*/ 146 w 512"/>
                <a:gd name="T39" fmla="*/ 308 h 1019"/>
                <a:gd name="T40" fmla="*/ 155 w 512"/>
                <a:gd name="T41" fmla="*/ 296 h 1019"/>
                <a:gd name="T42" fmla="*/ 172 w 512"/>
                <a:gd name="T43" fmla="*/ 308 h 1019"/>
                <a:gd name="T44" fmla="*/ 188 w 512"/>
                <a:gd name="T45" fmla="*/ 279 h 1019"/>
                <a:gd name="T46" fmla="*/ 200 w 512"/>
                <a:gd name="T47" fmla="*/ 279 h 1019"/>
                <a:gd name="T48" fmla="*/ 210 w 512"/>
                <a:gd name="T49" fmla="*/ 279 h 1019"/>
                <a:gd name="T50" fmla="*/ 214 w 512"/>
                <a:gd name="T51" fmla="*/ 296 h 1019"/>
                <a:gd name="T52" fmla="*/ 214 w 512"/>
                <a:gd name="T53" fmla="*/ 279 h 1019"/>
                <a:gd name="T54" fmla="*/ 264 w 512"/>
                <a:gd name="T55" fmla="*/ 239 h 1019"/>
                <a:gd name="T56" fmla="*/ 264 w 512"/>
                <a:gd name="T57" fmla="*/ 263 h 1019"/>
                <a:gd name="T58" fmla="*/ 269 w 512"/>
                <a:gd name="T59" fmla="*/ 239 h 1019"/>
                <a:gd name="T60" fmla="*/ 302 w 512"/>
                <a:gd name="T61" fmla="*/ 206 h 1019"/>
                <a:gd name="T62" fmla="*/ 323 w 512"/>
                <a:gd name="T63" fmla="*/ 197 h 1019"/>
                <a:gd name="T64" fmla="*/ 333 w 512"/>
                <a:gd name="T65" fmla="*/ 206 h 1019"/>
                <a:gd name="T66" fmla="*/ 318 w 512"/>
                <a:gd name="T67" fmla="*/ 197 h 1019"/>
                <a:gd name="T68" fmla="*/ 318 w 512"/>
                <a:gd name="T69" fmla="*/ 168 h 1019"/>
                <a:gd name="T70" fmla="*/ 323 w 512"/>
                <a:gd name="T71" fmla="*/ 163 h 1019"/>
                <a:gd name="T72" fmla="*/ 333 w 512"/>
                <a:gd name="T73" fmla="*/ 180 h 1019"/>
                <a:gd name="T74" fmla="*/ 333 w 512"/>
                <a:gd name="T75" fmla="*/ 152 h 1019"/>
                <a:gd name="T76" fmla="*/ 323 w 512"/>
                <a:gd name="T77" fmla="*/ 140 h 1019"/>
                <a:gd name="T78" fmla="*/ 340 w 512"/>
                <a:gd name="T79" fmla="*/ 111 h 1019"/>
                <a:gd name="T80" fmla="*/ 356 w 512"/>
                <a:gd name="T81" fmla="*/ 123 h 1019"/>
                <a:gd name="T82" fmla="*/ 403 w 512"/>
                <a:gd name="T83" fmla="*/ 69 h 1019"/>
                <a:gd name="T84" fmla="*/ 387 w 512"/>
                <a:gd name="T85" fmla="*/ 34 h 1019"/>
                <a:gd name="T86" fmla="*/ 403 w 512"/>
                <a:gd name="T87" fmla="*/ 29 h 1019"/>
                <a:gd name="T88" fmla="*/ 415 w 512"/>
                <a:gd name="T89" fmla="*/ 12 h 1019"/>
                <a:gd name="T90" fmla="*/ 429 w 512"/>
                <a:gd name="T91" fmla="*/ 17 h 1019"/>
                <a:gd name="T92" fmla="*/ 425 w 512"/>
                <a:gd name="T93" fmla="*/ 17 h 1019"/>
                <a:gd name="T94" fmla="*/ 446 w 512"/>
                <a:gd name="T95" fmla="*/ 50 h 1019"/>
                <a:gd name="T96" fmla="*/ 484 w 512"/>
                <a:gd name="T97" fmla="*/ 140 h 1019"/>
                <a:gd name="T98" fmla="*/ 512 w 512"/>
                <a:gd name="T99" fmla="*/ 251 h 1019"/>
                <a:gd name="T100" fmla="*/ 479 w 512"/>
                <a:gd name="T101" fmla="*/ 291 h 1019"/>
                <a:gd name="T102" fmla="*/ 458 w 512"/>
                <a:gd name="T103" fmla="*/ 258 h 1019"/>
                <a:gd name="T104" fmla="*/ 458 w 512"/>
                <a:gd name="T105" fmla="*/ 291 h 1019"/>
                <a:gd name="T106" fmla="*/ 462 w 512"/>
                <a:gd name="T107" fmla="*/ 312 h 1019"/>
                <a:gd name="T108" fmla="*/ 458 w 512"/>
                <a:gd name="T109" fmla="*/ 350 h 1019"/>
                <a:gd name="T110" fmla="*/ 446 w 512"/>
                <a:gd name="T111" fmla="*/ 369 h 1019"/>
                <a:gd name="T112" fmla="*/ 441 w 512"/>
                <a:gd name="T113" fmla="*/ 423 h 1019"/>
                <a:gd name="T114" fmla="*/ 377 w 512"/>
                <a:gd name="T115" fmla="*/ 629 h 1019"/>
                <a:gd name="T116" fmla="*/ 377 w 512"/>
                <a:gd name="T117" fmla="*/ 629 h 1019"/>
                <a:gd name="T118" fmla="*/ 349 w 512"/>
                <a:gd name="T119" fmla="*/ 107 h 1019"/>
                <a:gd name="T120" fmla="*/ 356 w 512"/>
                <a:gd name="T121" fmla="*/ 107 h 1019"/>
                <a:gd name="T122" fmla="*/ 356 w 512"/>
                <a:gd name="T123" fmla="*/ 107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1019">
                  <a:moveTo>
                    <a:pt x="377" y="629"/>
                  </a:moveTo>
                  <a:lnTo>
                    <a:pt x="349" y="723"/>
                  </a:lnTo>
                  <a:lnTo>
                    <a:pt x="323" y="780"/>
                  </a:lnTo>
                  <a:lnTo>
                    <a:pt x="307" y="884"/>
                  </a:lnTo>
                  <a:lnTo>
                    <a:pt x="269" y="974"/>
                  </a:lnTo>
                  <a:lnTo>
                    <a:pt x="243" y="995"/>
                  </a:lnTo>
                  <a:lnTo>
                    <a:pt x="210" y="995"/>
                  </a:lnTo>
                  <a:lnTo>
                    <a:pt x="163" y="1019"/>
                  </a:lnTo>
                  <a:lnTo>
                    <a:pt x="141" y="1019"/>
                  </a:lnTo>
                  <a:lnTo>
                    <a:pt x="108" y="1002"/>
                  </a:lnTo>
                  <a:lnTo>
                    <a:pt x="82" y="995"/>
                  </a:lnTo>
                  <a:lnTo>
                    <a:pt x="82" y="990"/>
                  </a:lnTo>
                  <a:lnTo>
                    <a:pt x="87" y="995"/>
                  </a:lnTo>
                  <a:lnTo>
                    <a:pt x="54" y="978"/>
                  </a:lnTo>
                  <a:lnTo>
                    <a:pt x="49" y="945"/>
                  </a:lnTo>
                  <a:lnTo>
                    <a:pt x="33" y="924"/>
                  </a:lnTo>
                  <a:lnTo>
                    <a:pt x="33" y="879"/>
                  </a:lnTo>
                  <a:lnTo>
                    <a:pt x="37" y="863"/>
                  </a:lnTo>
                  <a:lnTo>
                    <a:pt x="33" y="851"/>
                  </a:lnTo>
                  <a:lnTo>
                    <a:pt x="28" y="830"/>
                  </a:lnTo>
                  <a:lnTo>
                    <a:pt x="11" y="813"/>
                  </a:lnTo>
                  <a:lnTo>
                    <a:pt x="0" y="756"/>
                  </a:lnTo>
                  <a:lnTo>
                    <a:pt x="11" y="735"/>
                  </a:lnTo>
                  <a:lnTo>
                    <a:pt x="16" y="723"/>
                  </a:lnTo>
                  <a:lnTo>
                    <a:pt x="16" y="702"/>
                  </a:lnTo>
                  <a:lnTo>
                    <a:pt x="37" y="685"/>
                  </a:lnTo>
                  <a:lnTo>
                    <a:pt x="49" y="662"/>
                  </a:lnTo>
                  <a:lnTo>
                    <a:pt x="87" y="596"/>
                  </a:lnTo>
                  <a:lnTo>
                    <a:pt x="82" y="584"/>
                  </a:lnTo>
                  <a:lnTo>
                    <a:pt x="87" y="558"/>
                  </a:lnTo>
                  <a:lnTo>
                    <a:pt x="70" y="530"/>
                  </a:lnTo>
                  <a:lnTo>
                    <a:pt x="70" y="513"/>
                  </a:lnTo>
                  <a:lnTo>
                    <a:pt x="54" y="480"/>
                  </a:lnTo>
                  <a:lnTo>
                    <a:pt x="54" y="428"/>
                  </a:lnTo>
                  <a:lnTo>
                    <a:pt x="49" y="419"/>
                  </a:lnTo>
                  <a:lnTo>
                    <a:pt x="87" y="350"/>
                  </a:lnTo>
                  <a:lnTo>
                    <a:pt x="87" y="312"/>
                  </a:lnTo>
                  <a:lnTo>
                    <a:pt x="118" y="312"/>
                  </a:lnTo>
                  <a:lnTo>
                    <a:pt x="146" y="296"/>
                  </a:lnTo>
                  <a:lnTo>
                    <a:pt x="146" y="308"/>
                  </a:lnTo>
                  <a:lnTo>
                    <a:pt x="155" y="308"/>
                  </a:lnTo>
                  <a:lnTo>
                    <a:pt x="155" y="296"/>
                  </a:lnTo>
                  <a:lnTo>
                    <a:pt x="163" y="296"/>
                  </a:lnTo>
                  <a:lnTo>
                    <a:pt x="172" y="308"/>
                  </a:lnTo>
                  <a:lnTo>
                    <a:pt x="177" y="279"/>
                  </a:lnTo>
                  <a:lnTo>
                    <a:pt x="188" y="279"/>
                  </a:lnTo>
                  <a:lnTo>
                    <a:pt x="200" y="291"/>
                  </a:lnTo>
                  <a:lnTo>
                    <a:pt x="200" y="279"/>
                  </a:lnTo>
                  <a:lnTo>
                    <a:pt x="193" y="279"/>
                  </a:lnTo>
                  <a:lnTo>
                    <a:pt x="210" y="279"/>
                  </a:lnTo>
                  <a:lnTo>
                    <a:pt x="210" y="279"/>
                  </a:lnTo>
                  <a:lnTo>
                    <a:pt x="214" y="296"/>
                  </a:lnTo>
                  <a:lnTo>
                    <a:pt x="231" y="296"/>
                  </a:lnTo>
                  <a:lnTo>
                    <a:pt x="214" y="279"/>
                  </a:lnTo>
                  <a:lnTo>
                    <a:pt x="214" y="274"/>
                  </a:lnTo>
                  <a:lnTo>
                    <a:pt x="264" y="239"/>
                  </a:lnTo>
                  <a:lnTo>
                    <a:pt x="269" y="251"/>
                  </a:lnTo>
                  <a:lnTo>
                    <a:pt x="264" y="263"/>
                  </a:lnTo>
                  <a:lnTo>
                    <a:pt x="281" y="258"/>
                  </a:lnTo>
                  <a:lnTo>
                    <a:pt x="269" y="239"/>
                  </a:lnTo>
                  <a:lnTo>
                    <a:pt x="297" y="201"/>
                  </a:lnTo>
                  <a:lnTo>
                    <a:pt x="302" y="206"/>
                  </a:lnTo>
                  <a:lnTo>
                    <a:pt x="297" y="234"/>
                  </a:lnTo>
                  <a:lnTo>
                    <a:pt x="323" y="197"/>
                  </a:lnTo>
                  <a:lnTo>
                    <a:pt x="333" y="201"/>
                  </a:lnTo>
                  <a:lnTo>
                    <a:pt x="333" y="206"/>
                  </a:lnTo>
                  <a:lnTo>
                    <a:pt x="333" y="197"/>
                  </a:lnTo>
                  <a:lnTo>
                    <a:pt x="318" y="197"/>
                  </a:lnTo>
                  <a:lnTo>
                    <a:pt x="318" y="185"/>
                  </a:lnTo>
                  <a:lnTo>
                    <a:pt x="318" y="168"/>
                  </a:lnTo>
                  <a:lnTo>
                    <a:pt x="333" y="168"/>
                  </a:lnTo>
                  <a:lnTo>
                    <a:pt x="323" y="163"/>
                  </a:lnTo>
                  <a:lnTo>
                    <a:pt x="340" y="163"/>
                  </a:lnTo>
                  <a:lnTo>
                    <a:pt x="333" y="180"/>
                  </a:lnTo>
                  <a:lnTo>
                    <a:pt x="340" y="163"/>
                  </a:lnTo>
                  <a:lnTo>
                    <a:pt x="333" y="152"/>
                  </a:lnTo>
                  <a:lnTo>
                    <a:pt x="340" y="145"/>
                  </a:lnTo>
                  <a:lnTo>
                    <a:pt x="323" y="140"/>
                  </a:lnTo>
                  <a:lnTo>
                    <a:pt x="333" y="123"/>
                  </a:lnTo>
                  <a:lnTo>
                    <a:pt x="340" y="111"/>
                  </a:lnTo>
                  <a:lnTo>
                    <a:pt x="356" y="140"/>
                  </a:lnTo>
                  <a:lnTo>
                    <a:pt x="356" y="123"/>
                  </a:lnTo>
                  <a:lnTo>
                    <a:pt x="394" y="107"/>
                  </a:lnTo>
                  <a:lnTo>
                    <a:pt x="403" y="69"/>
                  </a:lnTo>
                  <a:lnTo>
                    <a:pt x="394" y="50"/>
                  </a:lnTo>
                  <a:lnTo>
                    <a:pt x="387" y="34"/>
                  </a:lnTo>
                  <a:lnTo>
                    <a:pt x="403" y="41"/>
                  </a:lnTo>
                  <a:lnTo>
                    <a:pt x="403" y="29"/>
                  </a:lnTo>
                  <a:lnTo>
                    <a:pt x="415" y="17"/>
                  </a:lnTo>
                  <a:lnTo>
                    <a:pt x="415" y="12"/>
                  </a:lnTo>
                  <a:lnTo>
                    <a:pt x="425" y="0"/>
                  </a:lnTo>
                  <a:lnTo>
                    <a:pt x="429" y="17"/>
                  </a:lnTo>
                  <a:lnTo>
                    <a:pt x="425" y="17"/>
                  </a:lnTo>
                  <a:lnTo>
                    <a:pt x="425" y="17"/>
                  </a:lnTo>
                  <a:lnTo>
                    <a:pt x="441" y="29"/>
                  </a:lnTo>
                  <a:lnTo>
                    <a:pt x="446" y="50"/>
                  </a:lnTo>
                  <a:lnTo>
                    <a:pt x="467" y="85"/>
                  </a:lnTo>
                  <a:lnTo>
                    <a:pt x="484" y="140"/>
                  </a:lnTo>
                  <a:lnTo>
                    <a:pt x="484" y="197"/>
                  </a:lnTo>
                  <a:lnTo>
                    <a:pt x="512" y="251"/>
                  </a:lnTo>
                  <a:lnTo>
                    <a:pt x="496" y="296"/>
                  </a:lnTo>
                  <a:lnTo>
                    <a:pt x="479" y="291"/>
                  </a:lnTo>
                  <a:lnTo>
                    <a:pt x="462" y="258"/>
                  </a:lnTo>
                  <a:lnTo>
                    <a:pt x="458" y="258"/>
                  </a:lnTo>
                  <a:lnTo>
                    <a:pt x="446" y="263"/>
                  </a:lnTo>
                  <a:lnTo>
                    <a:pt x="458" y="291"/>
                  </a:lnTo>
                  <a:lnTo>
                    <a:pt x="458" y="308"/>
                  </a:lnTo>
                  <a:lnTo>
                    <a:pt x="462" y="312"/>
                  </a:lnTo>
                  <a:lnTo>
                    <a:pt x="462" y="334"/>
                  </a:lnTo>
                  <a:lnTo>
                    <a:pt x="458" y="350"/>
                  </a:lnTo>
                  <a:lnTo>
                    <a:pt x="462" y="362"/>
                  </a:lnTo>
                  <a:lnTo>
                    <a:pt x="446" y="369"/>
                  </a:lnTo>
                  <a:lnTo>
                    <a:pt x="429" y="402"/>
                  </a:lnTo>
                  <a:lnTo>
                    <a:pt x="441" y="423"/>
                  </a:lnTo>
                  <a:lnTo>
                    <a:pt x="429" y="473"/>
                  </a:lnTo>
                  <a:lnTo>
                    <a:pt x="377" y="629"/>
                  </a:lnTo>
                  <a:lnTo>
                    <a:pt x="377" y="629"/>
                  </a:lnTo>
                  <a:lnTo>
                    <a:pt x="377" y="629"/>
                  </a:lnTo>
                  <a:close/>
                  <a:moveTo>
                    <a:pt x="356" y="107"/>
                  </a:moveTo>
                  <a:lnTo>
                    <a:pt x="349" y="107"/>
                  </a:lnTo>
                  <a:lnTo>
                    <a:pt x="356" y="90"/>
                  </a:lnTo>
                  <a:lnTo>
                    <a:pt x="356" y="107"/>
                  </a:lnTo>
                  <a:lnTo>
                    <a:pt x="356" y="107"/>
                  </a:lnTo>
                  <a:lnTo>
                    <a:pt x="356" y="10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26" name="Freeform 502">
              <a:extLst>
                <a:ext uri="{FF2B5EF4-FFF2-40B4-BE49-F238E27FC236}">
                  <a16:creationId xmlns:a16="http://schemas.microsoft.com/office/drawing/2014/main" id="{01873DEA-E93E-40F8-8351-377CE8FDF835}"/>
                </a:ext>
              </a:extLst>
            </p:cNvPr>
            <p:cNvSpPr>
              <a:spLocks/>
            </p:cNvSpPr>
            <p:nvPr/>
          </p:nvSpPr>
          <p:spPr bwMode="gray">
            <a:xfrm>
              <a:off x="8029172" y="4441782"/>
              <a:ext cx="2058" cy="9058"/>
            </a:xfrm>
            <a:custGeom>
              <a:avLst/>
              <a:gdLst>
                <a:gd name="T0" fmla="*/ 0 w 5"/>
                <a:gd name="T1" fmla="*/ 22 h 22"/>
                <a:gd name="T2" fmla="*/ 0 w 5"/>
                <a:gd name="T3" fmla="*/ 22 h 22"/>
                <a:gd name="T4" fmla="*/ 0 w 5"/>
                <a:gd name="T5" fmla="*/ 0 h 22"/>
                <a:gd name="T6" fmla="*/ 5 w 5"/>
                <a:gd name="T7" fmla="*/ 5 h 22"/>
                <a:gd name="T8" fmla="*/ 0 w 5"/>
                <a:gd name="T9" fmla="*/ 22 h 22"/>
                <a:gd name="T10" fmla="*/ 0 w 5"/>
                <a:gd name="T11" fmla="*/ 22 h 22"/>
                <a:gd name="T12" fmla="*/ 0 w 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5" h="22">
                  <a:moveTo>
                    <a:pt x="0" y="22"/>
                  </a:moveTo>
                  <a:lnTo>
                    <a:pt x="0" y="22"/>
                  </a:lnTo>
                  <a:lnTo>
                    <a:pt x="0" y="0"/>
                  </a:lnTo>
                  <a:lnTo>
                    <a:pt x="5" y="5"/>
                  </a:lnTo>
                  <a:lnTo>
                    <a:pt x="0" y="22"/>
                  </a:lnTo>
                  <a:lnTo>
                    <a:pt x="0" y="22"/>
                  </a:lnTo>
                  <a:lnTo>
                    <a:pt x="0" y="2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27" name="Freeform 505">
              <a:extLst>
                <a:ext uri="{FF2B5EF4-FFF2-40B4-BE49-F238E27FC236}">
                  <a16:creationId xmlns:a16="http://schemas.microsoft.com/office/drawing/2014/main" id="{05F412EC-2340-450D-BCDD-FFDE1DC0575F}"/>
                </a:ext>
              </a:extLst>
            </p:cNvPr>
            <p:cNvSpPr>
              <a:spLocks/>
            </p:cNvSpPr>
            <p:nvPr/>
          </p:nvSpPr>
          <p:spPr bwMode="gray">
            <a:xfrm>
              <a:off x="7668549" y="4342558"/>
              <a:ext cx="95095" cy="237560"/>
            </a:xfrm>
            <a:custGeom>
              <a:avLst/>
              <a:gdLst>
                <a:gd name="T0" fmla="*/ 33 w 231"/>
                <a:gd name="T1" fmla="*/ 336 h 577"/>
                <a:gd name="T2" fmla="*/ 21 w 231"/>
                <a:gd name="T3" fmla="*/ 336 h 577"/>
                <a:gd name="T4" fmla="*/ 16 w 231"/>
                <a:gd name="T5" fmla="*/ 298 h 577"/>
                <a:gd name="T6" fmla="*/ 21 w 231"/>
                <a:gd name="T7" fmla="*/ 246 h 577"/>
                <a:gd name="T8" fmla="*/ 49 w 231"/>
                <a:gd name="T9" fmla="*/ 230 h 577"/>
                <a:gd name="T10" fmla="*/ 49 w 231"/>
                <a:gd name="T11" fmla="*/ 220 h 577"/>
                <a:gd name="T12" fmla="*/ 49 w 231"/>
                <a:gd name="T13" fmla="*/ 175 h 577"/>
                <a:gd name="T14" fmla="*/ 54 w 231"/>
                <a:gd name="T15" fmla="*/ 130 h 577"/>
                <a:gd name="T16" fmla="*/ 64 w 231"/>
                <a:gd name="T17" fmla="*/ 107 h 577"/>
                <a:gd name="T18" fmla="*/ 64 w 231"/>
                <a:gd name="T19" fmla="*/ 74 h 577"/>
                <a:gd name="T20" fmla="*/ 49 w 231"/>
                <a:gd name="T21" fmla="*/ 52 h 577"/>
                <a:gd name="T22" fmla="*/ 38 w 231"/>
                <a:gd name="T23" fmla="*/ 17 h 577"/>
                <a:gd name="T24" fmla="*/ 16 w 231"/>
                <a:gd name="T25" fmla="*/ 0 h 577"/>
                <a:gd name="T26" fmla="*/ 54 w 231"/>
                <a:gd name="T27" fmla="*/ 17 h 577"/>
                <a:gd name="T28" fmla="*/ 87 w 231"/>
                <a:gd name="T29" fmla="*/ 24 h 577"/>
                <a:gd name="T30" fmla="*/ 118 w 231"/>
                <a:gd name="T31" fmla="*/ 24 h 577"/>
                <a:gd name="T32" fmla="*/ 139 w 231"/>
                <a:gd name="T33" fmla="*/ 107 h 577"/>
                <a:gd name="T34" fmla="*/ 163 w 231"/>
                <a:gd name="T35" fmla="*/ 163 h 577"/>
                <a:gd name="T36" fmla="*/ 139 w 231"/>
                <a:gd name="T37" fmla="*/ 175 h 577"/>
                <a:gd name="T38" fmla="*/ 130 w 231"/>
                <a:gd name="T39" fmla="*/ 246 h 577"/>
                <a:gd name="T40" fmla="*/ 139 w 231"/>
                <a:gd name="T41" fmla="*/ 303 h 577"/>
                <a:gd name="T42" fmla="*/ 172 w 231"/>
                <a:gd name="T43" fmla="*/ 319 h 577"/>
                <a:gd name="T44" fmla="*/ 231 w 231"/>
                <a:gd name="T45" fmla="*/ 409 h 577"/>
                <a:gd name="T46" fmla="*/ 227 w 231"/>
                <a:gd name="T47" fmla="*/ 447 h 577"/>
                <a:gd name="T48" fmla="*/ 201 w 231"/>
                <a:gd name="T49" fmla="*/ 504 h 577"/>
                <a:gd name="T50" fmla="*/ 172 w 231"/>
                <a:gd name="T51" fmla="*/ 527 h 577"/>
                <a:gd name="T52" fmla="*/ 184 w 231"/>
                <a:gd name="T53" fmla="*/ 577 h 577"/>
                <a:gd name="T54" fmla="*/ 177 w 231"/>
                <a:gd name="T55" fmla="*/ 553 h 577"/>
                <a:gd name="T56" fmla="*/ 130 w 231"/>
                <a:gd name="T57" fmla="*/ 508 h 577"/>
                <a:gd name="T58" fmla="*/ 125 w 231"/>
                <a:gd name="T59" fmla="*/ 499 h 577"/>
                <a:gd name="T60" fmla="*/ 130 w 231"/>
                <a:gd name="T61" fmla="*/ 442 h 577"/>
                <a:gd name="T62" fmla="*/ 118 w 231"/>
                <a:gd name="T63" fmla="*/ 369 h 577"/>
                <a:gd name="T64" fmla="*/ 38 w 231"/>
                <a:gd name="T65" fmla="*/ 343 h 577"/>
                <a:gd name="T66" fmla="*/ 38 w 231"/>
                <a:gd name="T67" fmla="*/ 343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 h="577">
                  <a:moveTo>
                    <a:pt x="38" y="343"/>
                  </a:moveTo>
                  <a:lnTo>
                    <a:pt x="33" y="336"/>
                  </a:lnTo>
                  <a:lnTo>
                    <a:pt x="33" y="343"/>
                  </a:lnTo>
                  <a:lnTo>
                    <a:pt x="21" y="336"/>
                  </a:lnTo>
                  <a:lnTo>
                    <a:pt x="0" y="315"/>
                  </a:lnTo>
                  <a:lnTo>
                    <a:pt x="16" y="298"/>
                  </a:lnTo>
                  <a:lnTo>
                    <a:pt x="21" y="263"/>
                  </a:lnTo>
                  <a:lnTo>
                    <a:pt x="21" y="246"/>
                  </a:lnTo>
                  <a:lnTo>
                    <a:pt x="21" y="241"/>
                  </a:lnTo>
                  <a:lnTo>
                    <a:pt x="49" y="230"/>
                  </a:lnTo>
                  <a:lnTo>
                    <a:pt x="64" y="225"/>
                  </a:lnTo>
                  <a:lnTo>
                    <a:pt x="49" y="220"/>
                  </a:lnTo>
                  <a:lnTo>
                    <a:pt x="38" y="208"/>
                  </a:lnTo>
                  <a:lnTo>
                    <a:pt x="49" y="175"/>
                  </a:lnTo>
                  <a:lnTo>
                    <a:pt x="38" y="152"/>
                  </a:lnTo>
                  <a:lnTo>
                    <a:pt x="54" y="130"/>
                  </a:lnTo>
                  <a:lnTo>
                    <a:pt x="38" y="114"/>
                  </a:lnTo>
                  <a:lnTo>
                    <a:pt x="64" y="107"/>
                  </a:lnTo>
                  <a:lnTo>
                    <a:pt x="71" y="90"/>
                  </a:lnTo>
                  <a:lnTo>
                    <a:pt x="64" y="74"/>
                  </a:lnTo>
                  <a:lnTo>
                    <a:pt x="64" y="62"/>
                  </a:lnTo>
                  <a:lnTo>
                    <a:pt x="49" y="52"/>
                  </a:lnTo>
                  <a:lnTo>
                    <a:pt x="49" y="41"/>
                  </a:lnTo>
                  <a:lnTo>
                    <a:pt x="38" y="17"/>
                  </a:lnTo>
                  <a:lnTo>
                    <a:pt x="21" y="17"/>
                  </a:lnTo>
                  <a:lnTo>
                    <a:pt x="16" y="0"/>
                  </a:lnTo>
                  <a:lnTo>
                    <a:pt x="49" y="8"/>
                  </a:lnTo>
                  <a:lnTo>
                    <a:pt x="54" y="17"/>
                  </a:lnTo>
                  <a:lnTo>
                    <a:pt x="75" y="17"/>
                  </a:lnTo>
                  <a:lnTo>
                    <a:pt x="87" y="24"/>
                  </a:lnTo>
                  <a:lnTo>
                    <a:pt x="92" y="8"/>
                  </a:lnTo>
                  <a:lnTo>
                    <a:pt x="118" y="24"/>
                  </a:lnTo>
                  <a:lnTo>
                    <a:pt x="130" y="52"/>
                  </a:lnTo>
                  <a:lnTo>
                    <a:pt x="139" y="107"/>
                  </a:lnTo>
                  <a:lnTo>
                    <a:pt x="139" y="130"/>
                  </a:lnTo>
                  <a:lnTo>
                    <a:pt x="163" y="163"/>
                  </a:lnTo>
                  <a:lnTo>
                    <a:pt x="139" y="163"/>
                  </a:lnTo>
                  <a:lnTo>
                    <a:pt x="139" y="175"/>
                  </a:lnTo>
                  <a:lnTo>
                    <a:pt x="125" y="208"/>
                  </a:lnTo>
                  <a:lnTo>
                    <a:pt x="130" y="246"/>
                  </a:lnTo>
                  <a:lnTo>
                    <a:pt x="130" y="298"/>
                  </a:lnTo>
                  <a:lnTo>
                    <a:pt x="139" y="303"/>
                  </a:lnTo>
                  <a:lnTo>
                    <a:pt x="156" y="303"/>
                  </a:lnTo>
                  <a:lnTo>
                    <a:pt x="172" y="319"/>
                  </a:lnTo>
                  <a:lnTo>
                    <a:pt x="227" y="393"/>
                  </a:lnTo>
                  <a:lnTo>
                    <a:pt x="231" y="409"/>
                  </a:lnTo>
                  <a:lnTo>
                    <a:pt x="215" y="430"/>
                  </a:lnTo>
                  <a:lnTo>
                    <a:pt x="227" y="447"/>
                  </a:lnTo>
                  <a:lnTo>
                    <a:pt x="227" y="487"/>
                  </a:lnTo>
                  <a:lnTo>
                    <a:pt x="201" y="504"/>
                  </a:lnTo>
                  <a:lnTo>
                    <a:pt x="193" y="499"/>
                  </a:lnTo>
                  <a:lnTo>
                    <a:pt x="172" y="527"/>
                  </a:lnTo>
                  <a:lnTo>
                    <a:pt x="184" y="544"/>
                  </a:lnTo>
                  <a:lnTo>
                    <a:pt x="184" y="577"/>
                  </a:lnTo>
                  <a:lnTo>
                    <a:pt x="172" y="577"/>
                  </a:lnTo>
                  <a:lnTo>
                    <a:pt x="177" y="553"/>
                  </a:lnTo>
                  <a:lnTo>
                    <a:pt x="163" y="553"/>
                  </a:lnTo>
                  <a:lnTo>
                    <a:pt x="130" y="508"/>
                  </a:lnTo>
                  <a:lnTo>
                    <a:pt x="125" y="508"/>
                  </a:lnTo>
                  <a:lnTo>
                    <a:pt x="125" y="499"/>
                  </a:lnTo>
                  <a:lnTo>
                    <a:pt x="108" y="482"/>
                  </a:lnTo>
                  <a:lnTo>
                    <a:pt x="130" y="442"/>
                  </a:lnTo>
                  <a:lnTo>
                    <a:pt x="130" y="386"/>
                  </a:lnTo>
                  <a:lnTo>
                    <a:pt x="118" y="369"/>
                  </a:lnTo>
                  <a:lnTo>
                    <a:pt x="71" y="386"/>
                  </a:lnTo>
                  <a:lnTo>
                    <a:pt x="38" y="343"/>
                  </a:lnTo>
                  <a:lnTo>
                    <a:pt x="38" y="343"/>
                  </a:lnTo>
                  <a:lnTo>
                    <a:pt x="38" y="34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28" name="Freeform 507">
              <a:extLst>
                <a:ext uri="{FF2B5EF4-FFF2-40B4-BE49-F238E27FC236}">
                  <a16:creationId xmlns:a16="http://schemas.microsoft.com/office/drawing/2014/main" id="{B8BEAA9C-A080-4917-8935-5D130AF4A59F}"/>
                </a:ext>
              </a:extLst>
            </p:cNvPr>
            <p:cNvSpPr>
              <a:spLocks/>
            </p:cNvSpPr>
            <p:nvPr/>
          </p:nvSpPr>
          <p:spPr bwMode="gray">
            <a:xfrm>
              <a:off x="6373023" y="3309975"/>
              <a:ext cx="475479" cy="453300"/>
            </a:xfrm>
            <a:custGeom>
              <a:avLst/>
              <a:gdLst>
                <a:gd name="T0" fmla="*/ 130 w 1155"/>
                <a:gd name="T1" fmla="*/ 947 h 1101"/>
                <a:gd name="T2" fmla="*/ 88 w 1155"/>
                <a:gd name="T3" fmla="*/ 947 h 1101"/>
                <a:gd name="T4" fmla="*/ 55 w 1155"/>
                <a:gd name="T5" fmla="*/ 947 h 1101"/>
                <a:gd name="T6" fmla="*/ 67 w 1155"/>
                <a:gd name="T7" fmla="*/ 890 h 1101"/>
                <a:gd name="T8" fmla="*/ 33 w 1155"/>
                <a:gd name="T9" fmla="*/ 864 h 1101"/>
                <a:gd name="T10" fmla="*/ 12 w 1155"/>
                <a:gd name="T11" fmla="*/ 848 h 1101"/>
                <a:gd name="T12" fmla="*/ 17 w 1155"/>
                <a:gd name="T13" fmla="*/ 808 h 1101"/>
                <a:gd name="T14" fmla="*/ 0 w 1155"/>
                <a:gd name="T15" fmla="*/ 758 h 1101"/>
                <a:gd name="T16" fmla="*/ 24 w 1155"/>
                <a:gd name="T17" fmla="*/ 758 h 1101"/>
                <a:gd name="T18" fmla="*/ 55 w 1155"/>
                <a:gd name="T19" fmla="*/ 697 h 1101"/>
                <a:gd name="T20" fmla="*/ 109 w 1155"/>
                <a:gd name="T21" fmla="*/ 713 h 1101"/>
                <a:gd name="T22" fmla="*/ 196 w 1155"/>
                <a:gd name="T23" fmla="*/ 713 h 1101"/>
                <a:gd name="T24" fmla="*/ 201 w 1155"/>
                <a:gd name="T25" fmla="*/ 697 h 1101"/>
                <a:gd name="T26" fmla="*/ 470 w 1155"/>
                <a:gd name="T27" fmla="*/ 713 h 1101"/>
                <a:gd name="T28" fmla="*/ 466 w 1155"/>
                <a:gd name="T29" fmla="*/ 631 h 1101"/>
                <a:gd name="T30" fmla="*/ 395 w 1155"/>
                <a:gd name="T31" fmla="*/ 0 h 1101"/>
                <a:gd name="T32" fmla="*/ 941 w 1155"/>
                <a:gd name="T33" fmla="*/ 293 h 1101"/>
                <a:gd name="T34" fmla="*/ 974 w 1155"/>
                <a:gd name="T35" fmla="*/ 331 h 1101"/>
                <a:gd name="T36" fmla="*/ 1004 w 1155"/>
                <a:gd name="T37" fmla="*/ 354 h 1101"/>
                <a:gd name="T38" fmla="*/ 1026 w 1155"/>
                <a:gd name="T39" fmla="*/ 371 h 1101"/>
                <a:gd name="T40" fmla="*/ 1092 w 1155"/>
                <a:gd name="T41" fmla="*/ 420 h 1101"/>
                <a:gd name="T42" fmla="*/ 1092 w 1155"/>
                <a:gd name="T43" fmla="*/ 449 h 1101"/>
                <a:gd name="T44" fmla="*/ 1151 w 1155"/>
                <a:gd name="T45" fmla="*/ 642 h 1101"/>
                <a:gd name="T46" fmla="*/ 1129 w 1155"/>
                <a:gd name="T47" fmla="*/ 697 h 1101"/>
                <a:gd name="T48" fmla="*/ 1101 w 1155"/>
                <a:gd name="T49" fmla="*/ 720 h 1101"/>
                <a:gd name="T50" fmla="*/ 1063 w 1155"/>
                <a:gd name="T51" fmla="*/ 720 h 1101"/>
                <a:gd name="T52" fmla="*/ 929 w 1155"/>
                <a:gd name="T53" fmla="*/ 742 h 1101"/>
                <a:gd name="T54" fmla="*/ 874 w 1155"/>
                <a:gd name="T55" fmla="*/ 753 h 1101"/>
                <a:gd name="T56" fmla="*/ 832 w 1155"/>
                <a:gd name="T57" fmla="*/ 742 h 1101"/>
                <a:gd name="T58" fmla="*/ 806 w 1155"/>
                <a:gd name="T59" fmla="*/ 742 h 1101"/>
                <a:gd name="T60" fmla="*/ 768 w 1155"/>
                <a:gd name="T61" fmla="*/ 770 h 1101"/>
                <a:gd name="T62" fmla="*/ 718 w 1155"/>
                <a:gd name="T63" fmla="*/ 779 h 1101"/>
                <a:gd name="T64" fmla="*/ 714 w 1155"/>
                <a:gd name="T65" fmla="*/ 808 h 1101"/>
                <a:gd name="T66" fmla="*/ 659 w 1155"/>
                <a:gd name="T67" fmla="*/ 812 h 1101"/>
                <a:gd name="T68" fmla="*/ 626 w 1155"/>
                <a:gd name="T69" fmla="*/ 836 h 1101"/>
                <a:gd name="T70" fmla="*/ 617 w 1155"/>
                <a:gd name="T71" fmla="*/ 869 h 1101"/>
                <a:gd name="T72" fmla="*/ 579 w 1155"/>
                <a:gd name="T73" fmla="*/ 853 h 1101"/>
                <a:gd name="T74" fmla="*/ 563 w 1155"/>
                <a:gd name="T75" fmla="*/ 902 h 1101"/>
                <a:gd name="T76" fmla="*/ 541 w 1155"/>
                <a:gd name="T77" fmla="*/ 907 h 1101"/>
                <a:gd name="T78" fmla="*/ 551 w 1155"/>
                <a:gd name="T79" fmla="*/ 940 h 1101"/>
                <a:gd name="T80" fmla="*/ 499 w 1155"/>
                <a:gd name="T81" fmla="*/ 964 h 1101"/>
                <a:gd name="T82" fmla="*/ 499 w 1155"/>
                <a:gd name="T83" fmla="*/ 1001 h 1101"/>
                <a:gd name="T84" fmla="*/ 470 w 1155"/>
                <a:gd name="T85" fmla="*/ 1035 h 1101"/>
                <a:gd name="T86" fmla="*/ 470 w 1155"/>
                <a:gd name="T87" fmla="*/ 1075 h 1101"/>
                <a:gd name="T88" fmla="*/ 433 w 1155"/>
                <a:gd name="T89" fmla="*/ 1101 h 1101"/>
                <a:gd name="T90" fmla="*/ 428 w 1155"/>
                <a:gd name="T91" fmla="*/ 1091 h 1101"/>
                <a:gd name="T92" fmla="*/ 411 w 1155"/>
                <a:gd name="T93" fmla="*/ 1058 h 1101"/>
                <a:gd name="T94" fmla="*/ 395 w 1155"/>
                <a:gd name="T95" fmla="*/ 1058 h 1101"/>
                <a:gd name="T96" fmla="*/ 374 w 1155"/>
                <a:gd name="T97" fmla="*/ 1084 h 1101"/>
                <a:gd name="T98" fmla="*/ 324 w 1155"/>
                <a:gd name="T99" fmla="*/ 1075 h 1101"/>
                <a:gd name="T100" fmla="*/ 293 w 1155"/>
                <a:gd name="T101" fmla="*/ 1101 h 1101"/>
                <a:gd name="T102" fmla="*/ 281 w 1155"/>
                <a:gd name="T103" fmla="*/ 1075 h 1101"/>
                <a:gd name="T104" fmla="*/ 265 w 1155"/>
                <a:gd name="T105" fmla="*/ 1035 h 1101"/>
                <a:gd name="T106" fmla="*/ 272 w 1155"/>
                <a:gd name="T107" fmla="*/ 1013 h 1101"/>
                <a:gd name="T108" fmla="*/ 251 w 1155"/>
                <a:gd name="T109" fmla="*/ 992 h 1101"/>
                <a:gd name="T110" fmla="*/ 239 w 1155"/>
                <a:gd name="T111" fmla="*/ 975 h 1101"/>
                <a:gd name="T112" fmla="*/ 227 w 1155"/>
                <a:gd name="T113" fmla="*/ 935 h 1101"/>
                <a:gd name="T114" fmla="*/ 201 w 1155"/>
                <a:gd name="T115" fmla="*/ 947 h 1101"/>
                <a:gd name="T116" fmla="*/ 180 w 1155"/>
                <a:gd name="T117" fmla="*/ 964 h 1101"/>
                <a:gd name="T118" fmla="*/ 163 w 1155"/>
                <a:gd name="T119" fmla="*/ 964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55" h="1101">
                  <a:moveTo>
                    <a:pt x="163" y="964"/>
                  </a:moveTo>
                  <a:lnTo>
                    <a:pt x="130" y="947"/>
                  </a:lnTo>
                  <a:lnTo>
                    <a:pt x="109" y="975"/>
                  </a:lnTo>
                  <a:lnTo>
                    <a:pt x="88" y="947"/>
                  </a:lnTo>
                  <a:lnTo>
                    <a:pt x="71" y="964"/>
                  </a:lnTo>
                  <a:lnTo>
                    <a:pt x="55" y="947"/>
                  </a:lnTo>
                  <a:lnTo>
                    <a:pt x="67" y="935"/>
                  </a:lnTo>
                  <a:lnTo>
                    <a:pt x="67" y="890"/>
                  </a:lnTo>
                  <a:lnTo>
                    <a:pt x="38" y="864"/>
                  </a:lnTo>
                  <a:lnTo>
                    <a:pt x="33" y="864"/>
                  </a:lnTo>
                  <a:lnTo>
                    <a:pt x="33" y="869"/>
                  </a:lnTo>
                  <a:lnTo>
                    <a:pt x="12" y="848"/>
                  </a:lnTo>
                  <a:lnTo>
                    <a:pt x="17" y="831"/>
                  </a:lnTo>
                  <a:lnTo>
                    <a:pt x="17" y="808"/>
                  </a:lnTo>
                  <a:lnTo>
                    <a:pt x="0" y="791"/>
                  </a:lnTo>
                  <a:lnTo>
                    <a:pt x="0" y="758"/>
                  </a:lnTo>
                  <a:lnTo>
                    <a:pt x="12" y="770"/>
                  </a:lnTo>
                  <a:lnTo>
                    <a:pt x="24" y="758"/>
                  </a:lnTo>
                  <a:lnTo>
                    <a:pt x="38" y="704"/>
                  </a:lnTo>
                  <a:lnTo>
                    <a:pt x="55" y="697"/>
                  </a:lnTo>
                  <a:lnTo>
                    <a:pt x="93" y="737"/>
                  </a:lnTo>
                  <a:lnTo>
                    <a:pt x="109" y="713"/>
                  </a:lnTo>
                  <a:lnTo>
                    <a:pt x="159" y="720"/>
                  </a:lnTo>
                  <a:lnTo>
                    <a:pt x="196" y="713"/>
                  </a:lnTo>
                  <a:lnTo>
                    <a:pt x="196" y="704"/>
                  </a:lnTo>
                  <a:lnTo>
                    <a:pt x="201" y="697"/>
                  </a:lnTo>
                  <a:lnTo>
                    <a:pt x="201" y="713"/>
                  </a:lnTo>
                  <a:lnTo>
                    <a:pt x="470" y="713"/>
                  </a:lnTo>
                  <a:lnTo>
                    <a:pt x="487" y="647"/>
                  </a:lnTo>
                  <a:lnTo>
                    <a:pt x="466" y="631"/>
                  </a:lnTo>
                  <a:lnTo>
                    <a:pt x="411" y="149"/>
                  </a:lnTo>
                  <a:lnTo>
                    <a:pt x="395" y="0"/>
                  </a:lnTo>
                  <a:lnTo>
                    <a:pt x="520" y="0"/>
                  </a:lnTo>
                  <a:lnTo>
                    <a:pt x="941" y="293"/>
                  </a:lnTo>
                  <a:lnTo>
                    <a:pt x="941" y="314"/>
                  </a:lnTo>
                  <a:lnTo>
                    <a:pt x="974" y="331"/>
                  </a:lnTo>
                  <a:lnTo>
                    <a:pt x="983" y="347"/>
                  </a:lnTo>
                  <a:lnTo>
                    <a:pt x="1004" y="354"/>
                  </a:lnTo>
                  <a:lnTo>
                    <a:pt x="1011" y="354"/>
                  </a:lnTo>
                  <a:lnTo>
                    <a:pt x="1026" y="371"/>
                  </a:lnTo>
                  <a:lnTo>
                    <a:pt x="1080" y="387"/>
                  </a:lnTo>
                  <a:lnTo>
                    <a:pt x="1092" y="420"/>
                  </a:lnTo>
                  <a:lnTo>
                    <a:pt x="1075" y="437"/>
                  </a:lnTo>
                  <a:lnTo>
                    <a:pt x="1092" y="449"/>
                  </a:lnTo>
                  <a:lnTo>
                    <a:pt x="1155" y="437"/>
                  </a:lnTo>
                  <a:lnTo>
                    <a:pt x="1151" y="642"/>
                  </a:lnTo>
                  <a:lnTo>
                    <a:pt x="1146" y="647"/>
                  </a:lnTo>
                  <a:lnTo>
                    <a:pt x="1129" y="697"/>
                  </a:lnTo>
                  <a:lnTo>
                    <a:pt x="1101" y="704"/>
                  </a:lnTo>
                  <a:lnTo>
                    <a:pt x="1101" y="720"/>
                  </a:lnTo>
                  <a:lnTo>
                    <a:pt x="1075" y="713"/>
                  </a:lnTo>
                  <a:lnTo>
                    <a:pt x="1063" y="720"/>
                  </a:lnTo>
                  <a:lnTo>
                    <a:pt x="950" y="725"/>
                  </a:lnTo>
                  <a:lnTo>
                    <a:pt x="929" y="742"/>
                  </a:lnTo>
                  <a:lnTo>
                    <a:pt x="874" y="742"/>
                  </a:lnTo>
                  <a:lnTo>
                    <a:pt x="874" y="753"/>
                  </a:lnTo>
                  <a:lnTo>
                    <a:pt x="844" y="742"/>
                  </a:lnTo>
                  <a:lnTo>
                    <a:pt x="832" y="742"/>
                  </a:lnTo>
                  <a:lnTo>
                    <a:pt x="827" y="742"/>
                  </a:lnTo>
                  <a:lnTo>
                    <a:pt x="806" y="742"/>
                  </a:lnTo>
                  <a:lnTo>
                    <a:pt x="778" y="758"/>
                  </a:lnTo>
                  <a:lnTo>
                    <a:pt x="768" y="770"/>
                  </a:lnTo>
                  <a:lnTo>
                    <a:pt x="740" y="779"/>
                  </a:lnTo>
                  <a:lnTo>
                    <a:pt x="718" y="779"/>
                  </a:lnTo>
                  <a:lnTo>
                    <a:pt x="718" y="808"/>
                  </a:lnTo>
                  <a:lnTo>
                    <a:pt x="714" y="808"/>
                  </a:lnTo>
                  <a:lnTo>
                    <a:pt x="685" y="796"/>
                  </a:lnTo>
                  <a:lnTo>
                    <a:pt x="659" y="812"/>
                  </a:lnTo>
                  <a:lnTo>
                    <a:pt x="659" y="848"/>
                  </a:lnTo>
                  <a:lnTo>
                    <a:pt x="626" y="836"/>
                  </a:lnTo>
                  <a:lnTo>
                    <a:pt x="633" y="869"/>
                  </a:lnTo>
                  <a:lnTo>
                    <a:pt x="617" y="869"/>
                  </a:lnTo>
                  <a:lnTo>
                    <a:pt x="617" y="881"/>
                  </a:lnTo>
                  <a:lnTo>
                    <a:pt x="579" y="853"/>
                  </a:lnTo>
                  <a:lnTo>
                    <a:pt x="558" y="886"/>
                  </a:lnTo>
                  <a:lnTo>
                    <a:pt x="563" y="902"/>
                  </a:lnTo>
                  <a:lnTo>
                    <a:pt x="558" y="907"/>
                  </a:lnTo>
                  <a:lnTo>
                    <a:pt x="541" y="907"/>
                  </a:lnTo>
                  <a:lnTo>
                    <a:pt x="551" y="923"/>
                  </a:lnTo>
                  <a:lnTo>
                    <a:pt x="551" y="940"/>
                  </a:lnTo>
                  <a:lnTo>
                    <a:pt x="537" y="957"/>
                  </a:lnTo>
                  <a:lnTo>
                    <a:pt x="499" y="964"/>
                  </a:lnTo>
                  <a:lnTo>
                    <a:pt x="487" y="975"/>
                  </a:lnTo>
                  <a:lnTo>
                    <a:pt x="499" y="1001"/>
                  </a:lnTo>
                  <a:lnTo>
                    <a:pt x="487" y="1030"/>
                  </a:lnTo>
                  <a:lnTo>
                    <a:pt x="470" y="1035"/>
                  </a:lnTo>
                  <a:lnTo>
                    <a:pt x="482" y="1051"/>
                  </a:lnTo>
                  <a:lnTo>
                    <a:pt x="470" y="1075"/>
                  </a:lnTo>
                  <a:lnTo>
                    <a:pt x="449" y="1084"/>
                  </a:lnTo>
                  <a:lnTo>
                    <a:pt x="433" y="1101"/>
                  </a:lnTo>
                  <a:lnTo>
                    <a:pt x="428" y="1101"/>
                  </a:lnTo>
                  <a:lnTo>
                    <a:pt x="428" y="1091"/>
                  </a:lnTo>
                  <a:lnTo>
                    <a:pt x="416" y="1058"/>
                  </a:lnTo>
                  <a:lnTo>
                    <a:pt x="411" y="1058"/>
                  </a:lnTo>
                  <a:lnTo>
                    <a:pt x="411" y="1068"/>
                  </a:lnTo>
                  <a:lnTo>
                    <a:pt x="395" y="1058"/>
                  </a:lnTo>
                  <a:lnTo>
                    <a:pt x="395" y="1084"/>
                  </a:lnTo>
                  <a:lnTo>
                    <a:pt x="374" y="1084"/>
                  </a:lnTo>
                  <a:lnTo>
                    <a:pt x="362" y="1101"/>
                  </a:lnTo>
                  <a:lnTo>
                    <a:pt x="324" y="1075"/>
                  </a:lnTo>
                  <a:lnTo>
                    <a:pt x="310" y="1101"/>
                  </a:lnTo>
                  <a:lnTo>
                    <a:pt x="293" y="1101"/>
                  </a:lnTo>
                  <a:lnTo>
                    <a:pt x="293" y="1084"/>
                  </a:lnTo>
                  <a:lnTo>
                    <a:pt x="281" y="1075"/>
                  </a:lnTo>
                  <a:lnTo>
                    <a:pt x="281" y="1035"/>
                  </a:lnTo>
                  <a:lnTo>
                    <a:pt x="265" y="1035"/>
                  </a:lnTo>
                  <a:lnTo>
                    <a:pt x="251" y="1046"/>
                  </a:lnTo>
                  <a:lnTo>
                    <a:pt x="272" y="1013"/>
                  </a:lnTo>
                  <a:lnTo>
                    <a:pt x="251" y="1001"/>
                  </a:lnTo>
                  <a:lnTo>
                    <a:pt x="251" y="992"/>
                  </a:lnTo>
                  <a:lnTo>
                    <a:pt x="239" y="992"/>
                  </a:lnTo>
                  <a:lnTo>
                    <a:pt x="239" y="975"/>
                  </a:lnTo>
                  <a:lnTo>
                    <a:pt x="227" y="947"/>
                  </a:lnTo>
                  <a:lnTo>
                    <a:pt x="227" y="935"/>
                  </a:lnTo>
                  <a:lnTo>
                    <a:pt x="201" y="935"/>
                  </a:lnTo>
                  <a:lnTo>
                    <a:pt x="201" y="947"/>
                  </a:lnTo>
                  <a:lnTo>
                    <a:pt x="180" y="957"/>
                  </a:lnTo>
                  <a:lnTo>
                    <a:pt x="180" y="964"/>
                  </a:lnTo>
                  <a:lnTo>
                    <a:pt x="163" y="964"/>
                  </a:lnTo>
                  <a:lnTo>
                    <a:pt x="163" y="964"/>
                  </a:lnTo>
                  <a:lnTo>
                    <a:pt x="163" y="96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29" name="Freeform 508">
              <a:extLst>
                <a:ext uri="{FF2B5EF4-FFF2-40B4-BE49-F238E27FC236}">
                  <a16:creationId xmlns:a16="http://schemas.microsoft.com/office/drawing/2014/main" id="{4DA05683-1C06-4D05-A904-806D5F9530D0}"/>
                </a:ext>
              </a:extLst>
            </p:cNvPr>
            <p:cNvSpPr>
              <a:spLocks/>
            </p:cNvSpPr>
            <p:nvPr/>
          </p:nvSpPr>
          <p:spPr bwMode="gray">
            <a:xfrm>
              <a:off x="6344206" y="2950959"/>
              <a:ext cx="352801" cy="273379"/>
            </a:xfrm>
            <a:custGeom>
              <a:avLst/>
              <a:gdLst>
                <a:gd name="T0" fmla="*/ 656 w 857"/>
                <a:gd name="T1" fmla="*/ 350 h 664"/>
                <a:gd name="T2" fmla="*/ 673 w 857"/>
                <a:gd name="T3" fmla="*/ 392 h 664"/>
                <a:gd name="T4" fmla="*/ 642 w 857"/>
                <a:gd name="T5" fmla="*/ 404 h 664"/>
                <a:gd name="T6" fmla="*/ 576 w 857"/>
                <a:gd name="T7" fmla="*/ 444 h 664"/>
                <a:gd name="T8" fmla="*/ 538 w 857"/>
                <a:gd name="T9" fmla="*/ 487 h 664"/>
                <a:gd name="T10" fmla="*/ 462 w 857"/>
                <a:gd name="T11" fmla="*/ 515 h 664"/>
                <a:gd name="T12" fmla="*/ 316 w 857"/>
                <a:gd name="T13" fmla="*/ 577 h 664"/>
                <a:gd name="T14" fmla="*/ 0 w 857"/>
                <a:gd name="T15" fmla="*/ 664 h 664"/>
                <a:gd name="T16" fmla="*/ 80 w 857"/>
                <a:gd name="T17" fmla="*/ 631 h 664"/>
                <a:gd name="T18" fmla="*/ 144 w 857"/>
                <a:gd name="T19" fmla="*/ 577 h 664"/>
                <a:gd name="T20" fmla="*/ 210 w 857"/>
                <a:gd name="T21" fmla="*/ 527 h 664"/>
                <a:gd name="T22" fmla="*/ 252 w 857"/>
                <a:gd name="T23" fmla="*/ 444 h 664"/>
                <a:gd name="T24" fmla="*/ 240 w 857"/>
                <a:gd name="T25" fmla="*/ 371 h 664"/>
                <a:gd name="T26" fmla="*/ 278 w 857"/>
                <a:gd name="T27" fmla="*/ 305 h 664"/>
                <a:gd name="T28" fmla="*/ 323 w 857"/>
                <a:gd name="T29" fmla="*/ 222 h 664"/>
                <a:gd name="T30" fmla="*/ 446 w 857"/>
                <a:gd name="T31" fmla="*/ 156 h 664"/>
                <a:gd name="T32" fmla="*/ 512 w 857"/>
                <a:gd name="T33" fmla="*/ 17 h 664"/>
                <a:gd name="T34" fmla="*/ 550 w 857"/>
                <a:gd name="T35" fmla="*/ 5 h 664"/>
                <a:gd name="T36" fmla="*/ 592 w 857"/>
                <a:gd name="T37" fmla="*/ 62 h 664"/>
                <a:gd name="T38" fmla="*/ 673 w 857"/>
                <a:gd name="T39" fmla="*/ 55 h 664"/>
                <a:gd name="T40" fmla="*/ 711 w 857"/>
                <a:gd name="T41" fmla="*/ 55 h 664"/>
                <a:gd name="T42" fmla="*/ 718 w 857"/>
                <a:gd name="T43" fmla="*/ 55 h 664"/>
                <a:gd name="T44" fmla="*/ 727 w 857"/>
                <a:gd name="T45" fmla="*/ 71 h 664"/>
                <a:gd name="T46" fmla="*/ 727 w 857"/>
                <a:gd name="T47" fmla="*/ 55 h 664"/>
                <a:gd name="T48" fmla="*/ 770 w 857"/>
                <a:gd name="T49" fmla="*/ 71 h 664"/>
                <a:gd name="T50" fmla="*/ 793 w 857"/>
                <a:gd name="T51" fmla="*/ 111 h 664"/>
                <a:gd name="T52" fmla="*/ 803 w 857"/>
                <a:gd name="T53" fmla="*/ 128 h 664"/>
                <a:gd name="T54" fmla="*/ 803 w 857"/>
                <a:gd name="T55" fmla="*/ 182 h 664"/>
                <a:gd name="T56" fmla="*/ 807 w 857"/>
                <a:gd name="T57" fmla="*/ 222 h 664"/>
                <a:gd name="T58" fmla="*/ 819 w 857"/>
                <a:gd name="T59" fmla="*/ 244 h 664"/>
                <a:gd name="T60" fmla="*/ 857 w 857"/>
                <a:gd name="T61" fmla="*/ 277 h 664"/>
                <a:gd name="T62" fmla="*/ 836 w 857"/>
                <a:gd name="T63" fmla="*/ 305 h 664"/>
                <a:gd name="T64" fmla="*/ 840 w 857"/>
                <a:gd name="T65" fmla="*/ 317 h 664"/>
                <a:gd name="T66" fmla="*/ 727 w 857"/>
                <a:gd name="T67" fmla="*/ 317 h 664"/>
                <a:gd name="T68" fmla="*/ 685 w 857"/>
                <a:gd name="T69" fmla="*/ 338 h 664"/>
                <a:gd name="T70" fmla="*/ 685 w 857"/>
                <a:gd name="T71" fmla="*/ 338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7" h="664">
                  <a:moveTo>
                    <a:pt x="685" y="338"/>
                  </a:moveTo>
                  <a:lnTo>
                    <a:pt x="656" y="350"/>
                  </a:lnTo>
                  <a:lnTo>
                    <a:pt x="656" y="388"/>
                  </a:lnTo>
                  <a:lnTo>
                    <a:pt x="673" y="392"/>
                  </a:lnTo>
                  <a:lnTo>
                    <a:pt x="673" y="404"/>
                  </a:lnTo>
                  <a:lnTo>
                    <a:pt x="642" y="404"/>
                  </a:lnTo>
                  <a:lnTo>
                    <a:pt x="618" y="428"/>
                  </a:lnTo>
                  <a:lnTo>
                    <a:pt x="576" y="444"/>
                  </a:lnTo>
                  <a:lnTo>
                    <a:pt x="555" y="470"/>
                  </a:lnTo>
                  <a:lnTo>
                    <a:pt x="538" y="487"/>
                  </a:lnTo>
                  <a:lnTo>
                    <a:pt x="479" y="499"/>
                  </a:lnTo>
                  <a:lnTo>
                    <a:pt x="462" y="515"/>
                  </a:lnTo>
                  <a:lnTo>
                    <a:pt x="425" y="503"/>
                  </a:lnTo>
                  <a:lnTo>
                    <a:pt x="316" y="577"/>
                  </a:lnTo>
                  <a:lnTo>
                    <a:pt x="316" y="664"/>
                  </a:lnTo>
                  <a:lnTo>
                    <a:pt x="0" y="664"/>
                  </a:lnTo>
                  <a:lnTo>
                    <a:pt x="25" y="638"/>
                  </a:lnTo>
                  <a:lnTo>
                    <a:pt x="80" y="631"/>
                  </a:lnTo>
                  <a:lnTo>
                    <a:pt x="118" y="610"/>
                  </a:lnTo>
                  <a:lnTo>
                    <a:pt x="144" y="577"/>
                  </a:lnTo>
                  <a:lnTo>
                    <a:pt x="188" y="560"/>
                  </a:lnTo>
                  <a:lnTo>
                    <a:pt x="210" y="527"/>
                  </a:lnTo>
                  <a:lnTo>
                    <a:pt x="248" y="466"/>
                  </a:lnTo>
                  <a:lnTo>
                    <a:pt x="252" y="444"/>
                  </a:lnTo>
                  <a:lnTo>
                    <a:pt x="240" y="428"/>
                  </a:lnTo>
                  <a:lnTo>
                    <a:pt x="240" y="371"/>
                  </a:lnTo>
                  <a:lnTo>
                    <a:pt x="248" y="338"/>
                  </a:lnTo>
                  <a:lnTo>
                    <a:pt x="278" y="305"/>
                  </a:lnTo>
                  <a:lnTo>
                    <a:pt x="278" y="277"/>
                  </a:lnTo>
                  <a:lnTo>
                    <a:pt x="323" y="222"/>
                  </a:lnTo>
                  <a:lnTo>
                    <a:pt x="403" y="189"/>
                  </a:lnTo>
                  <a:lnTo>
                    <a:pt x="446" y="156"/>
                  </a:lnTo>
                  <a:lnTo>
                    <a:pt x="484" y="95"/>
                  </a:lnTo>
                  <a:lnTo>
                    <a:pt x="512" y="17"/>
                  </a:lnTo>
                  <a:lnTo>
                    <a:pt x="550" y="0"/>
                  </a:lnTo>
                  <a:lnTo>
                    <a:pt x="550" y="5"/>
                  </a:lnTo>
                  <a:lnTo>
                    <a:pt x="555" y="29"/>
                  </a:lnTo>
                  <a:lnTo>
                    <a:pt x="592" y="62"/>
                  </a:lnTo>
                  <a:lnTo>
                    <a:pt x="618" y="62"/>
                  </a:lnTo>
                  <a:lnTo>
                    <a:pt x="673" y="55"/>
                  </a:lnTo>
                  <a:lnTo>
                    <a:pt x="694" y="62"/>
                  </a:lnTo>
                  <a:lnTo>
                    <a:pt x="711" y="55"/>
                  </a:lnTo>
                  <a:lnTo>
                    <a:pt x="718" y="45"/>
                  </a:lnTo>
                  <a:lnTo>
                    <a:pt x="718" y="55"/>
                  </a:lnTo>
                  <a:lnTo>
                    <a:pt x="718" y="55"/>
                  </a:lnTo>
                  <a:lnTo>
                    <a:pt x="727" y="71"/>
                  </a:lnTo>
                  <a:lnTo>
                    <a:pt x="732" y="71"/>
                  </a:lnTo>
                  <a:lnTo>
                    <a:pt x="727" y="55"/>
                  </a:lnTo>
                  <a:lnTo>
                    <a:pt x="739" y="71"/>
                  </a:lnTo>
                  <a:lnTo>
                    <a:pt x="770" y="71"/>
                  </a:lnTo>
                  <a:lnTo>
                    <a:pt x="803" y="99"/>
                  </a:lnTo>
                  <a:lnTo>
                    <a:pt x="793" y="111"/>
                  </a:lnTo>
                  <a:lnTo>
                    <a:pt x="807" y="116"/>
                  </a:lnTo>
                  <a:lnTo>
                    <a:pt x="803" y="128"/>
                  </a:lnTo>
                  <a:lnTo>
                    <a:pt x="807" y="149"/>
                  </a:lnTo>
                  <a:lnTo>
                    <a:pt x="803" y="182"/>
                  </a:lnTo>
                  <a:lnTo>
                    <a:pt x="807" y="189"/>
                  </a:lnTo>
                  <a:lnTo>
                    <a:pt x="807" y="222"/>
                  </a:lnTo>
                  <a:lnTo>
                    <a:pt x="824" y="239"/>
                  </a:lnTo>
                  <a:lnTo>
                    <a:pt x="819" y="244"/>
                  </a:lnTo>
                  <a:lnTo>
                    <a:pt x="824" y="260"/>
                  </a:lnTo>
                  <a:lnTo>
                    <a:pt x="857" y="277"/>
                  </a:lnTo>
                  <a:lnTo>
                    <a:pt x="840" y="293"/>
                  </a:lnTo>
                  <a:lnTo>
                    <a:pt x="836" y="305"/>
                  </a:lnTo>
                  <a:lnTo>
                    <a:pt x="840" y="305"/>
                  </a:lnTo>
                  <a:lnTo>
                    <a:pt x="840" y="317"/>
                  </a:lnTo>
                  <a:lnTo>
                    <a:pt x="765" y="305"/>
                  </a:lnTo>
                  <a:lnTo>
                    <a:pt x="727" y="317"/>
                  </a:lnTo>
                  <a:lnTo>
                    <a:pt x="718" y="333"/>
                  </a:lnTo>
                  <a:lnTo>
                    <a:pt x="685" y="338"/>
                  </a:lnTo>
                  <a:lnTo>
                    <a:pt x="685" y="338"/>
                  </a:lnTo>
                  <a:lnTo>
                    <a:pt x="685" y="33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0" name="Freeform 509">
              <a:extLst>
                <a:ext uri="{FF2B5EF4-FFF2-40B4-BE49-F238E27FC236}">
                  <a16:creationId xmlns:a16="http://schemas.microsoft.com/office/drawing/2014/main" id="{A2363A47-601A-4B93-A943-159B2C7861F1}"/>
                </a:ext>
              </a:extLst>
            </p:cNvPr>
            <p:cNvSpPr>
              <a:spLocks/>
            </p:cNvSpPr>
            <p:nvPr/>
          </p:nvSpPr>
          <p:spPr bwMode="gray">
            <a:xfrm>
              <a:off x="8380326" y="4666579"/>
              <a:ext cx="12762" cy="17704"/>
            </a:xfrm>
            <a:custGeom>
              <a:avLst/>
              <a:gdLst>
                <a:gd name="T0" fmla="*/ 16 w 31"/>
                <a:gd name="T1" fmla="*/ 43 h 43"/>
                <a:gd name="T2" fmla="*/ 0 w 31"/>
                <a:gd name="T3" fmla="*/ 31 h 43"/>
                <a:gd name="T4" fmla="*/ 9 w 31"/>
                <a:gd name="T5" fmla="*/ 17 h 43"/>
                <a:gd name="T6" fmla="*/ 21 w 31"/>
                <a:gd name="T7" fmla="*/ 0 h 43"/>
                <a:gd name="T8" fmla="*/ 31 w 31"/>
                <a:gd name="T9" fmla="*/ 26 h 43"/>
                <a:gd name="T10" fmla="*/ 21 w 31"/>
                <a:gd name="T11" fmla="*/ 31 h 43"/>
                <a:gd name="T12" fmla="*/ 16 w 31"/>
                <a:gd name="T13" fmla="*/ 43 h 43"/>
                <a:gd name="T14" fmla="*/ 16 w 31"/>
                <a:gd name="T15" fmla="*/ 43 h 43"/>
                <a:gd name="T16" fmla="*/ 16 w 31"/>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43">
                  <a:moveTo>
                    <a:pt x="16" y="43"/>
                  </a:moveTo>
                  <a:lnTo>
                    <a:pt x="0" y="31"/>
                  </a:lnTo>
                  <a:lnTo>
                    <a:pt x="9" y="17"/>
                  </a:lnTo>
                  <a:lnTo>
                    <a:pt x="21" y="0"/>
                  </a:lnTo>
                  <a:lnTo>
                    <a:pt x="31" y="26"/>
                  </a:lnTo>
                  <a:lnTo>
                    <a:pt x="21" y="31"/>
                  </a:lnTo>
                  <a:lnTo>
                    <a:pt x="16" y="43"/>
                  </a:lnTo>
                  <a:lnTo>
                    <a:pt x="16" y="43"/>
                  </a:lnTo>
                  <a:lnTo>
                    <a:pt x="16" y="4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1" name="Freeform 510">
              <a:extLst>
                <a:ext uri="{FF2B5EF4-FFF2-40B4-BE49-F238E27FC236}">
                  <a16:creationId xmlns:a16="http://schemas.microsoft.com/office/drawing/2014/main" id="{264EFD2C-6704-41BB-9874-D7284963409E}"/>
                </a:ext>
              </a:extLst>
            </p:cNvPr>
            <p:cNvSpPr>
              <a:spLocks noEditPoints="1"/>
            </p:cNvSpPr>
            <p:nvPr/>
          </p:nvSpPr>
          <p:spPr bwMode="gray">
            <a:xfrm>
              <a:off x="6232232" y="3235043"/>
              <a:ext cx="352801" cy="392777"/>
            </a:xfrm>
            <a:custGeom>
              <a:avLst/>
              <a:gdLst>
                <a:gd name="T0" fmla="*/ 805 w 857"/>
                <a:gd name="T1" fmla="*/ 815 h 954"/>
                <a:gd name="T2" fmla="*/ 810 w 857"/>
                <a:gd name="T3" fmla="*/ 898 h 954"/>
                <a:gd name="T4" fmla="*/ 541 w 857"/>
                <a:gd name="T5" fmla="*/ 881 h 954"/>
                <a:gd name="T6" fmla="*/ 534 w 857"/>
                <a:gd name="T7" fmla="*/ 898 h 954"/>
                <a:gd name="T8" fmla="*/ 449 w 857"/>
                <a:gd name="T9" fmla="*/ 898 h 954"/>
                <a:gd name="T10" fmla="*/ 394 w 857"/>
                <a:gd name="T11" fmla="*/ 881 h 954"/>
                <a:gd name="T12" fmla="*/ 361 w 857"/>
                <a:gd name="T13" fmla="*/ 942 h 954"/>
                <a:gd name="T14" fmla="*/ 340 w 857"/>
                <a:gd name="T15" fmla="*/ 942 h 954"/>
                <a:gd name="T16" fmla="*/ 297 w 857"/>
                <a:gd name="T17" fmla="*/ 909 h 954"/>
                <a:gd name="T18" fmla="*/ 286 w 857"/>
                <a:gd name="T19" fmla="*/ 898 h 954"/>
                <a:gd name="T20" fmla="*/ 269 w 857"/>
                <a:gd name="T21" fmla="*/ 881 h 954"/>
                <a:gd name="T22" fmla="*/ 248 w 857"/>
                <a:gd name="T23" fmla="*/ 848 h 954"/>
                <a:gd name="T24" fmla="*/ 231 w 857"/>
                <a:gd name="T25" fmla="*/ 843 h 954"/>
                <a:gd name="T26" fmla="*/ 194 w 857"/>
                <a:gd name="T27" fmla="*/ 810 h 954"/>
                <a:gd name="T28" fmla="*/ 104 w 857"/>
                <a:gd name="T29" fmla="*/ 815 h 954"/>
                <a:gd name="T30" fmla="*/ 38 w 857"/>
                <a:gd name="T31" fmla="*/ 848 h 954"/>
                <a:gd name="T32" fmla="*/ 71 w 857"/>
                <a:gd name="T33" fmla="*/ 732 h 954"/>
                <a:gd name="T34" fmla="*/ 66 w 857"/>
                <a:gd name="T35" fmla="*/ 643 h 954"/>
                <a:gd name="T36" fmla="*/ 54 w 857"/>
                <a:gd name="T37" fmla="*/ 593 h 954"/>
                <a:gd name="T38" fmla="*/ 54 w 857"/>
                <a:gd name="T39" fmla="*/ 572 h 954"/>
                <a:gd name="T40" fmla="*/ 38 w 857"/>
                <a:gd name="T41" fmla="*/ 510 h 954"/>
                <a:gd name="T42" fmla="*/ 33 w 857"/>
                <a:gd name="T43" fmla="*/ 510 h 954"/>
                <a:gd name="T44" fmla="*/ 0 w 857"/>
                <a:gd name="T45" fmla="*/ 498 h 954"/>
                <a:gd name="T46" fmla="*/ 194 w 857"/>
                <a:gd name="T47" fmla="*/ 461 h 954"/>
                <a:gd name="T48" fmla="*/ 281 w 857"/>
                <a:gd name="T49" fmla="*/ 338 h 954"/>
                <a:gd name="T50" fmla="*/ 357 w 857"/>
                <a:gd name="T51" fmla="*/ 300 h 954"/>
                <a:gd name="T52" fmla="*/ 588 w 857"/>
                <a:gd name="T53" fmla="*/ 106 h 954"/>
                <a:gd name="T54" fmla="*/ 857 w 857"/>
                <a:gd name="T55" fmla="*/ 184 h 954"/>
                <a:gd name="T56" fmla="*/ 751 w 857"/>
                <a:gd name="T57" fmla="*/ 333 h 954"/>
                <a:gd name="T58" fmla="*/ 751 w 857"/>
                <a:gd name="T59" fmla="*/ 333 h 954"/>
                <a:gd name="T60" fmla="*/ 38 w 857"/>
                <a:gd name="T61" fmla="*/ 576 h 954"/>
                <a:gd name="T62" fmla="*/ 49 w 857"/>
                <a:gd name="T63" fmla="*/ 588 h 954"/>
                <a:gd name="T64" fmla="*/ 49 w 857"/>
                <a:gd name="T65" fmla="*/ 58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7" h="954">
                  <a:moveTo>
                    <a:pt x="751" y="333"/>
                  </a:moveTo>
                  <a:lnTo>
                    <a:pt x="805" y="815"/>
                  </a:lnTo>
                  <a:lnTo>
                    <a:pt x="827" y="831"/>
                  </a:lnTo>
                  <a:lnTo>
                    <a:pt x="810" y="898"/>
                  </a:lnTo>
                  <a:lnTo>
                    <a:pt x="541" y="898"/>
                  </a:lnTo>
                  <a:lnTo>
                    <a:pt x="541" y="881"/>
                  </a:lnTo>
                  <a:lnTo>
                    <a:pt x="534" y="886"/>
                  </a:lnTo>
                  <a:lnTo>
                    <a:pt x="534" y="898"/>
                  </a:lnTo>
                  <a:lnTo>
                    <a:pt x="496" y="902"/>
                  </a:lnTo>
                  <a:lnTo>
                    <a:pt x="449" y="898"/>
                  </a:lnTo>
                  <a:lnTo>
                    <a:pt x="432" y="921"/>
                  </a:lnTo>
                  <a:lnTo>
                    <a:pt x="394" y="881"/>
                  </a:lnTo>
                  <a:lnTo>
                    <a:pt x="378" y="886"/>
                  </a:lnTo>
                  <a:lnTo>
                    <a:pt x="361" y="942"/>
                  </a:lnTo>
                  <a:lnTo>
                    <a:pt x="352" y="954"/>
                  </a:lnTo>
                  <a:lnTo>
                    <a:pt x="340" y="942"/>
                  </a:lnTo>
                  <a:lnTo>
                    <a:pt x="319" y="926"/>
                  </a:lnTo>
                  <a:lnTo>
                    <a:pt x="297" y="909"/>
                  </a:lnTo>
                  <a:lnTo>
                    <a:pt x="297" y="902"/>
                  </a:lnTo>
                  <a:lnTo>
                    <a:pt x="286" y="898"/>
                  </a:lnTo>
                  <a:lnTo>
                    <a:pt x="281" y="898"/>
                  </a:lnTo>
                  <a:lnTo>
                    <a:pt x="269" y="881"/>
                  </a:lnTo>
                  <a:lnTo>
                    <a:pt x="255" y="848"/>
                  </a:lnTo>
                  <a:lnTo>
                    <a:pt x="248" y="848"/>
                  </a:lnTo>
                  <a:lnTo>
                    <a:pt x="243" y="848"/>
                  </a:lnTo>
                  <a:lnTo>
                    <a:pt x="231" y="843"/>
                  </a:lnTo>
                  <a:lnTo>
                    <a:pt x="227" y="848"/>
                  </a:lnTo>
                  <a:lnTo>
                    <a:pt x="194" y="810"/>
                  </a:lnTo>
                  <a:lnTo>
                    <a:pt x="146" y="798"/>
                  </a:lnTo>
                  <a:lnTo>
                    <a:pt x="104" y="815"/>
                  </a:lnTo>
                  <a:lnTo>
                    <a:pt x="54" y="815"/>
                  </a:lnTo>
                  <a:lnTo>
                    <a:pt x="38" y="848"/>
                  </a:lnTo>
                  <a:lnTo>
                    <a:pt x="38" y="810"/>
                  </a:lnTo>
                  <a:lnTo>
                    <a:pt x="71" y="732"/>
                  </a:lnTo>
                  <a:lnTo>
                    <a:pt x="71" y="676"/>
                  </a:lnTo>
                  <a:lnTo>
                    <a:pt x="66" y="643"/>
                  </a:lnTo>
                  <a:lnTo>
                    <a:pt x="38" y="605"/>
                  </a:lnTo>
                  <a:lnTo>
                    <a:pt x="54" y="593"/>
                  </a:lnTo>
                  <a:lnTo>
                    <a:pt x="38" y="605"/>
                  </a:lnTo>
                  <a:lnTo>
                    <a:pt x="54" y="572"/>
                  </a:lnTo>
                  <a:lnTo>
                    <a:pt x="66" y="539"/>
                  </a:lnTo>
                  <a:lnTo>
                    <a:pt x="38" y="510"/>
                  </a:lnTo>
                  <a:lnTo>
                    <a:pt x="38" y="515"/>
                  </a:lnTo>
                  <a:lnTo>
                    <a:pt x="33" y="510"/>
                  </a:lnTo>
                  <a:lnTo>
                    <a:pt x="12" y="465"/>
                  </a:lnTo>
                  <a:lnTo>
                    <a:pt x="0" y="498"/>
                  </a:lnTo>
                  <a:lnTo>
                    <a:pt x="12" y="461"/>
                  </a:lnTo>
                  <a:lnTo>
                    <a:pt x="194" y="461"/>
                  </a:lnTo>
                  <a:lnTo>
                    <a:pt x="286" y="461"/>
                  </a:lnTo>
                  <a:lnTo>
                    <a:pt x="281" y="338"/>
                  </a:lnTo>
                  <a:lnTo>
                    <a:pt x="319" y="312"/>
                  </a:lnTo>
                  <a:lnTo>
                    <a:pt x="357" y="300"/>
                  </a:lnTo>
                  <a:lnTo>
                    <a:pt x="357" y="106"/>
                  </a:lnTo>
                  <a:lnTo>
                    <a:pt x="588" y="106"/>
                  </a:lnTo>
                  <a:lnTo>
                    <a:pt x="588" y="0"/>
                  </a:lnTo>
                  <a:lnTo>
                    <a:pt x="857" y="184"/>
                  </a:lnTo>
                  <a:lnTo>
                    <a:pt x="734" y="184"/>
                  </a:lnTo>
                  <a:lnTo>
                    <a:pt x="751" y="333"/>
                  </a:lnTo>
                  <a:lnTo>
                    <a:pt x="751" y="333"/>
                  </a:lnTo>
                  <a:lnTo>
                    <a:pt x="751" y="333"/>
                  </a:lnTo>
                  <a:close/>
                  <a:moveTo>
                    <a:pt x="49" y="588"/>
                  </a:moveTo>
                  <a:lnTo>
                    <a:pt x="38" y="576"/>
                  </a:lnTo>
                  <a:lnTo>
                    <a:pt x="49" y="572"/>
                  </a:lnTo>
                  <a:lnTo>
                    <a:pt x="49" y="588"/>
                  </a:lnTo>
                  <a:lnTo>
                    <a:pt x="49" y="588"/>
                  </a:lnTo>
                  <a:lnTo>
                    <a:pt x="49" y="58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2" name="Freeform 512">
              <a:extLst>
                <a:ext uri="{FF2B5EF4-FFF2-40B4-BE49-F238E27FC236}">
                  <a16:creationId xmlns:a16="http://schemas.microsoft.com/office/drawing/2014/main" id="{61FC6C86-8187-445F-A01D-E2E827244C4A}"/>
                </a:ext>
              </a:extLst>
            </p:cNvPr>
            <p:cNvSpPr>
              <a:spLocks noEditPoints="1"/>
            </p:cNvSpPr>
            <p:nvPr/>
          </p:nvSpPr>
          <p:spPr bwMode="gray">
            <a:xfrm>
              <a:off x="8228420" y="3263451"/>
              <a:ext cx="224772" cy="304258"/>
            </a:xfrm>
            <a:custGeom>
              <a:avLst/>
              <a:gdLst>
                <a:gd name="T0" fmla="*/ 282 w 546"/>
                <a:gd name="T1" fmla="*/ 56 h 739"/>
                <a:gd name="T2" fmla="*/ 282 w 546"/>
                <a:gd name="T3" fmla="*/ 23 h 739"/>
                <a:gd name="T4" fmla="*/ 307 w 546"/>
                <a:gd name="T5" fmla="*/ 16 h 739"/>
                <a:gd name="T6" fmla="*/ 298 w 546"/>
                <a:gd name="T7" fmla="*/ 0 h 739"/>
                <a:gd name="T8" fmla="*/ 307 w 546"/>
                <a:gd name="T9" fmla="*/ 7 h 739"/>
                <a:gd name="T10" fmla="*/ 298 w 546"/>
                <a:gd name="T11" fmla="*/ 16 h 739"/>
                <a:gd name="T12" fmla="*/ 298 w 546"/>
                <a:gd name="T13" fmla="*/ 56 h 739"/>
                <a:gd name="T14" fmla="*/ 298 w 546"/>
                <a:gd name="T15" fmla="*/ 56 h 739"/>
                <a:gd name="T16" fmla="*/ 0 w 546"/>
                <a:gd name="T17" fmla="*/ 562 h 739"/>
                <a:gd name="T18" fmla="*/ 253 w 546"/>
                <a:gd name="T19" fmla="*/ 333 h 739"/>
                <a:gd name="T20" fmla="*/ 222 w 546"/>
                <a:gd name="T21" fmla="*/ 255 h 739"/>
                <a:gd name="T22" fmla="*/ 244 w 546"/>
                <a:gd name="T23" fmla="*/ 184 h 739"/>
                <a:gd name="T24" fmla="*/ 274 w 546"/>
                <a:gd name="T25" fmla="*/ 167 h 739"/>
                <a:gd name="T26" fmla="*/ 260 w 546"/>
                <a:gd name="T27" fmla="*/ 118 h 739"/>
                <a:gd name="T28" fmla="*/ 282 w 546"/>
                <a:gd name="T29" fmla="*/ 118 h 739"/>
                <a:gd name="T30" fmla="*/ 282 w 546"/>
                <a:gd name="T31" fmla="*/ 127 h 739"/>
                <a:gd name="T32" fmla="*/ 298 w 546"/>
                <a:gd name="T33" fmla="*/ 111 h 739"/>
                <a:gd name="T34" fmla="*/ 362 w 546"/>
                <a:gd name="T35" fmla="*/ 188 h 739"/>
                <a:gd name="T36" fmla="*/ 459 w 546"/>
                <a:gd name="T37" fmla="*/ 212 h 739"/>
                <a:gd name="T38" fmla="*/ 546 w 546"/>
                <a:gd name="T39" fmla="*/ 295 h 739"/>
                <a:gd name="T40" fmla="*/ 513 w 546"/>
                <a:gd name="T41" fmla="*/ 382 h 739"/>
                <a:gd name="T42" fmla="*/ 454 w 546"/>
                <a:gd name="T43" fmla="*/ 451 h 739"/>
                <a:gd name="T44" fmla="*/ 437 w 546"/>
                <a:gd name="T45" fmla="*/ 444 h 739"/>
                <a:gd name="T46" fmla="*/ 404 w 546"/>
                <a:gd name="T47" fmla="*/ 467 h 739"/>
                <a:gd name="T48" fmla="*/ 404 w 546"/>
                <a:gd name="T49" fmla="*/ 562 h 739"/>
                <a:gd name="T50" fmla="*/ 329 w 546"/>
                <a:gd name="T51" fmla="*/ 578 h 739"/>
                <a:gd name="T52" fmla="*/ 312 w 546"/>
                <a:gd name="T53" fmla="*/ 628 h 739"/>
                <a:gd name="T54" fmla="*/ 237 w 546"/>
                <a:gd name="T55" fmla="*/ 649 h 739"/>
                <a:gd name="T56" fmla="*/ 227 w 546"/>
                <a:gd name="T57" fmla="*/ 682 h 739"/>
                <a:gd name="T58" fmla="*/ 189 w 546"/>
                <a:gd name="T59" fmla="*/ 715 h 739"/>
                <a:gd name="T60" fmla="*/ 147 w 546"/>
                <a:gd name="T61" fmla="*/ 706 h 739"/>
                <a:gd name="T62" fmla="*/ 76 w 546"/>
                <a:gd name="T63" fmla="*/ 739 h 739"/>
                <a:gd name="T64" fmla="*/ 76 w 546"/>
                <a:gd name="T65" fmla="*/ 739 h 739"/>
                <a:gd name="T66" fmla="*/ 459 w 546"/>
                <a:gd name="T67" fmla="*/ 460 h 739"/>
                <a:gd name="T68" fmla="*/ 487 w 546"/>
                <a:gd name="T69" fmla="*/ 451 h 739"/>
                <a:gd name="T70" fmla="*/ 459 w 546"/>
                <a:gd name="T71" fmla="*/ 477 h 739"/>
                <a:gd name="T72" fmla="*/ 274 w 546"/>
                <a:gd name="T73" fmla="*/ 673 h 739"/>
                <a:gd name="T74" fmla="*/ 282 w 546"/>
                <a:gd name="T75" fmla="*/ 673 h 739"/>
                <a:gd name="T76" fmla="*/ 274 w 546"/>
                <a:gd name="T77" fmla="*/ 673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6" h="739">
                  <a:moveTo>
                    <a:pt x="298" y="56"/>
                  </a:moveTo>
                  <a:lnTo>
                    <a:pt x="282" y="56"/>
                  </a:lnTo>
                  <a:lnTo>
                    <a:pt x="291" y="33"/>
                  </a:lnTo>
                  <a:lnTo>
                    <a:pt x="282" y="23"/>
                  </a:lnTo>
                  <a:lnTo>
                    <a:pt x="291" y="7"/>
                  </a:lnTo>
                  <a:lnTo>
                    <a:pt x="307" y="16"/>
                  </a:lnTo>
                  <a:lnTo>
                    <a:pt x="298" y="16"/>
                  </a:lnTo>
                  <a:lnTo>
                    <a:pt x="298" y="0"/>
                  </a:lnTo>
                  <a:lnTo>
                    <a:pt x="312" y="0"/>
                  </a:lnTo>
                  <a:lnTo>
                    <a:pt x="307" y="7"/>
                  </a:lnTo>
                  <a:lnTo>
                    <a:pt x="307" y="16"/>
                  </a:lnTo>
                  <a:lnTo>
                    <a:pt x="298" y="16"/>
                  </a:lnTo>
                  <a:lnTo>
                    <a:pt x="307" y="23"/>
                  </a:lnTo>
                  <a:lnTo>
                    <a:pt x="298" y="56"/>
                  </a:lnTo>
                  <a:lnTo>
                    <a:pt x="298" y="56"/>
                  </a:lnTo>
                  <a:lnTo>
                    <a:pt x="298" y="56"/>
                  </a:lnTo>
                  <a:close/>
                  <a:moveTo>
                    <a:pt x="76" y="739"/>
                  </a:moveTo>
                  <a:lnTo>
                    <a:pt x="0" y="562"/>
                  </a:lnTo>
                  <a:lnTo>
                    <a:pt x="206" y="484"/>
                  </a:lnTo>
                  <a:lnTo>
                    <a:pt x="253" y="333"/>
                  </a:lnTo>
                  <a:lnTo>
                    <a:pt x="222" y="283"/>
                  </a:lnTo>
                  <a:lnTo>
                    <a:pt x="222" y="255"/>
                  </a:lnTo>
                  <a:lnTo>
                    <a:pt x="244" y="200"/>
                  </a:lnTo>
                  <a:lnTo>
                    <a:pt x="244" y="184"/>
                  </a:lnTo>
                  <a:lnTo>
                    <a:pt x="274" y="172"/>
                  </a:lnTo>
                  <a:lnTo>
                    <a:pt x="274" y="167"/>
                  </a:lnTo>
                  <a:lnTo>
                    <a:pt x="260" y="167"/>
                  </a:lnTo>
                  <a:lnTo>
                    <a:pt x="260" y="118"/>
                  </a:lnTo>
                  <a:lnTo>
                    <a:pt x="274" y="111"/>
                  </a:lnTo>
                  <a:lnTo>
                    <a:pt x="282" y="118"/>
                  </a:lnTo>
                  <a:lnTo>
                    <a:pt x="274" y="118"/>
                  </a:lnTo>
                  <a:lnTo>
                    <a:pt x="282" y="127"/>
                  </a:lnTo>
                  <a:lnTo>
                    <a:pt x="298" y="118"/>
                  </a:lnTo>
                  <a:lnTo>
                    <a:pt x="298" y="111"/>
                  </a:lnTo>
                  <a:lnTo>
                    <a:pt x="324" y="151"/>
                  </a:lnTo>
                  <a:lnTo>
                    <a:pt x="362" y="188"/>
                  </a:lnTo>
                  <a:lnTo>
                    <a:pt x="437" y="212"/>
                  </a:lnTo>
                  <a:lnTo>
                    <a:pt x="459" y="212"/>
                  </a:lnTo>
                  <a:lnTo>
                    <a:pt x="513" y="283"/>
                  </a:lnTo>
                  <a:lnTo>
                    <a:pt x="546" y="295"/>
                  </a:lnTo>
                  <a:lnTo>
                    <a:pt x="546" y="316"/>
                  </a:lnTo>
                  <a:lnTo>
                    <a:pt x="513" y="382"/>
                  </a:lnTo>
                  <a:lnTo>
                    <a:pt x="475" y="411"/>
                  </a:lnTo>
                  <a:lnTo>
                    <a:pt x="454" y="451"/>
                  </a:lnTo>
                  <a:lnTo>
                    <a:pt x="433" y="460"/>
                  </a:lnTo>
                  <a:lnTo>
                    <a:pt x="437" y="444"/>
                  </a:lnTo>
                  <a:lnTo>
                    <a:pt x="433" y="444"/>
                  </a:lnTo>
                  <a:lnTo>
                    <a:pt x="404" y="467"/>
                  </a:lnTo>
                  <a:lnTo>
                    <a:pt x="388" y="505"/>
                  </a:lnTo>
                  <a:lnTo>
                    <a:pt x="404" y="562"/>
                  </a:lnTo>
                  <a:lnTo>
                    <a:pt x="362" y="571"/>
                  </a:lnTo>
                  <a:lnTo>
                    <a:pt x="329" y="578"/>
                  </a:lnTo>
                  <a:lnTo>
                    <a:pt x="324" y="595"/>
                  </a:lnTo>
                  <a:lnTo>
                    <a:pt x="312" y="628"/>
                  </a:lnTo>
                  <a:lnTo>
                    <a:pt x="298" y="644"/>
                  </a:lnTo>
                  <a:lnTo>
                    <a:pt x="237" y="649"/>
                  </a:lnTo>
                  <a:lnTo>
                    <a:pt x="222" y="673"/>
                  </a:lnTo>
                  <a:lnTo>
                    <a:pt x="227" y="682"/>
                  </a:lnTo>
                  <a:lnTo>
                    <a:pt x="206" y="706"/>
                  </a:lnTo>
                  <a:lnTo>
                    <a:pt x="189" y="715"/>
                  </a:lnTo>
                  <a:lnTo>
                    <a:pt x="173" y="706"/>
                  </a:lnTo>
                  <a:lnTo>
                    <a:pt x="147" y="706"/>
                  </a:lnTo>
                  <a:lnTo>
                    <a:pt x="109" y="727"/>
                  </a:lnTo>
                  <a:lnTo>
                    <a:pt x="76" y="739"/>
                  </a:lnTo>
                  <a:lnTo>
                    <a:pt x="76" y="739"/>
                  </a:lnTo>
                  <a:lnTo>
                    <a:pt x="76" y="739"/>
                  </a:lnTo>
                  <a:close/>
                  <a:moveTo>
                    <a:pt x="459" y="477"/>
                  </a:moveTo>
                  <a:lnTo>
                    <a:pt x="459" y="460"/>
                  </a:lnTo>
                  <a:lnTo>
                    <a:pt x="487" y="439"/>
                  </a:lnTo>
                  <a:lnTo>
                    <a:pt x="487" y="451"/>
                  </a:lnTo>
                  <a:lnTo>
                    <a:pt x="459" y="477"/>
                  </a:lnTo>
                  <a:lnTo>
                    <a:pt x="459" y="477"/>
                  </a:lnTo>
                  <a:lnTo>
                    <a:pt x="459" y="477"/>
                  </a:lnTo>
                  <a:close/>
                  <a:moveTo>
                    <a:pt x="274" y="673"/>
                  </a:moveTo>
                  <a:lnTo>
                    <a:pt x="274" y="673"/>
                  </a:lnTo>
                  <a:lnTo>
                    <a:pt x="282" y="673"/>
                  </a:lnTo>
                  <a:lnTo>
                    <a:pt x="274" y="673"/>
                  </a:lnTo>
                  <a:lnTo>
                    <a:pt x="274" y="673"/>
                  </a:lnTo>
                  <a:lnTo>
                    <a:pt x="274" y="67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3" name="Freeform 516">
              <a:extLst>
                <a:ext uri="{FF2B5EF4-FFF2-40B4-BE49-F238E27FC236}">
                  <a16:creationId xmlns:a16="http://schemas.microsoft.com/office/drawing/2014/main" id="{4936F876-E667-473D-B3B0-29AF35AE7FFF}"/>
                </a:ext>
              </a:extLst>
            </p:cNvPr>
            <p:cNvSpPr>
              <a:spLocks noEditPoints="1"/>
            </p:cNvSpPr>
            <p:nvPr/>
          </p:nvSpPr>
          <p:spPr bwMode="gray">
            <a:xfrm>
              <a:off x="7599388" y="4376731"/>
              <a:ext cx="306283" cy="504764"/>
            </a:xfrm>
            <a:custGeom>
              <a:avLst/>
              <a:gdLst>
                <a:gd name="T0" fmla="*/ 206 w 744"/>
                <a:gd name="T1" fmla="*/ 260 h 1226"/>
                <a:gd name="T2" fmla="*/ 298 w 744"/>
                <a:gd name="T3" fmla="*/ 305 h 1226"/>
                <a:gd name="T4" fmla="*/ 293 w 744"/>
                <a:gd name="T5" fmla="*/ 414 h 1226"/>
                <a:gd name="T6" fmla="*/ 331 w 744"/>
                <a:gd name="T7" fmla="*/ 470 h 1226"/>
                <a:gd name="T8" fmla="*/ 352 w 744"/>
                <a:gd name="T9" fmla="*/ 491 h 1226"/>
                <a:gd name="T10" fmla="*/ 364 w 744"/>
                <a:gd name="T11" fmla="*/ 414 h 1226"/>
                <a:gd name="T12" fmla="*/ 397 w 744"/>
                <a:gd name="T13" fmla="*/ 364 h 1226"/>
                <a:gd name="T14" fmla="*/ 397 w 744"/>
                <a:gd name="T15" fmla="*/ 310 h 1226"/>
                <a:gd name="T16" fmla="*/ 310 w 744"/>
                <a:gd name="T17" fmla="*/ 220 h 1226"/>
                <a:gd name="T18" fmla="*/ 293 w 744"/>
                <a:gd name="T19" fmla="*/ 128 h 1226"/>
                <a:gd name="T20" fmla="*/ 331 w 744"/>
                <a:gd name="T21" fmla="*/ 83 h 1226"/>
                <a:gd name="T22" fmla="*/ 418 w 744"/>
                <a:gd name="T23" fmla="*/ 83 h 1226"/>
                <a:gd name="T24" fmla="*/ 461 w 744"/>
                <a:gd name="T25" fmla="*/ 83 h 1226"/>
                <a:gd name="T26" fmla="*/ 543 w 744"/>
                <a:gd name="T27" fmla="*/ 66 h 1226"/>
                <a:gd name="T28" fmla="*/ 612 w 744"/>
                <a:gd name="T29" fmla="*/ 54 h 1226"/>
                <a:gd name="T30" fmla="*/ 721 w 744"/>
                <a:gd name="T31" fmla="*/ 0 h 1226"/>
                <a:gd name="T32" fmla="*/ 728 w 744"/>
                <a:gd name="T33" fmla="*/ 33 h 1226"/>
                <a:gd name="T34" fmla="*/ 728 w 744"/>
                <a:gd name="T35" fmla="*/ 38 h 1226"/>
                <a:gd name="T36" fmla="*/ 721 w 744"/>
                <a:gd name="T37" fmla="*/ 88 h 1226"/>
                <a:gd name="T38" fmla="*/ 732 w 744"/>
                <a:gd name="T39" fmla="*/ 166 h 1226"/>
                <a:gd name="T40" fmla="*/ 728 w 744"/>
                <a:gd name="T41" fmla="*/ 182 h 1226"/>
                <a:gd name="T42" fmla="*/ 721 w 744"/>
                <a:gd name="T43" fmla="*/ 272 h 1226"/>
                <a:gd name="T44" fmla="*/ 728 w 744"/>
                <a:gd name="T45" fmla="*/ 293 h 1226"/>
                <a:gd name="T46" fmla="*/ 732 w 744"/>
                <a:gd name="T47" fmla="*/ 343 h 1226"/>
                <a:gd name="T48" fmla="*/ 728 w 744"/>
                <a:gd name="T49" fmla="*/ 364 h 1226"/>
                <a:gd name="T50" fmla="*/ 673 w 744"/>
                <a:gd name="T51" fmla="*/ 425 h 1226"/>
                <a:gd name="T52" fmla="*/ 624 w 744"/>
                <a:gd name="T53" fmla="*/ 470 h 1226"/>
                <a:gd name="T54" fmla="*/ 489 w 744"/>
                <a:gd name="T55" fmla="*/ 536 h 1226"/>
                <a:gd name="T56" fmla="*/ 473 w 744"/>
                <a:gd name="T57" fmla="*/ 565 h 1226"/>
                <a:gd name="T58" fmla="*/ 406 w 744"/>
                <a:gd name="T59" fmla="*/ 619 h 1226"/>
                <a:gd name="T60" fmla="*/ 314 w 744"/>
                <a:gd name="T61" fmla="*/ 690 h 1226"/>
                <a:gd name="T62" fmla="*/ 343 w 744"/>
                <a:gd name="T63" fmla="*/ 775 h 1226"/>
                <a:gd name="T64" fmla="*/ 352 w 744"/>
                <a:gd name="T65" fmla="*/ 884 h 1226"/>
                <a:gd name="T66" fmla="*/ 369 w 744"/>
                <a:gd name="T67" fmla="*/ 874 h 1226"/>
                <a:gd name="T68" fmla="*/ 380 w 744"/>
                <a:gd name="T69" fmla="*/ 928 h 1226"/>
                <a:gd name="T70" fmla="*/ 352 w 744"/>
                <a:gd name="T71" fmla="*/ 1006 h 1226"/>
                <a:gd name="T72" fmla="*/ 331 w 744"/>
                <a:gd name="T73" fmla="*/ 1051 h 1226"/>
                <a:gd name="T74" fmla="*/ 163 w 744"/>
                <a:gd name="T75" fmla="*/ 1155 h 1226"/>
                <a:gd name="T76" fmla="*/ 184 w 744"/>
                <a:gd name="T77" fmla="*/ 1226 h 1226"/>
                <a:gd name="T78" fmla="*/ 125 w 744"/>
                <a:gd name="T79" fmla="*/ 1155 h 1226"/>
                <a:gd name="T80" fmla="*/ 92 w 744"/>
                <a:gd name="T81" fmla="*/ 966 h 1226"/>
                <a:gd name="T82" fmla="*/ 151 w 744"/>
                <a:gd name="T83" fmla="*/ 801 h 1226"/>
                <a:gd name="T84" fmla="*/ 163 w 744"/>
                <a:gd name="T85" fmla="*/ 768 h 1226"/>
                <a:gd name="T86" fmla="*/ 184 w 744"/>
                <a:gd name="T87" fmla="*/ 730 h 1226"/>
                <a:gd name="T88" fmla="*/ 184 w 744"/>
                <a:gd name="T89" fmla="*/ 636 h 1226"/>
                <a:gd name="T90" fmla="*/ 184 w 744"/>
                <a:gd name="T91" fmla="*/ 607 h 1226"/>
                <a:gd name="T92" fmla="*/ 191 w 744"/>
                <a:gd name="T93" fmla="*/ 569 h 1226"/>
                <a:gd name="T94" fmla="*/ 191 w 744"/>
                <a:gd name="T95" fmla="*/ 515 h 1226"/>
                <a:gd name="T96" fmla="*/ 191 w 744"/>
                <a:gd name="T97" fmla="*/ 458 h 1226"/>
                <a:gd name="T98" fmla="*/ 147 w 744"/>
                <a:gd name="T99" fmla="*/ 442 h 1226"/>
                <a:gd name="T100" fmla="*/ 83 w 744"/>
                <a:gd name="T101" fmla="*/ 421 h 1226"/>
                <a:gd name="T102" fmla="*/ 17 w 744"/>
                <a:gd name="T103" fmla="*/ 380 h 1226"/>
                <a:gd name="T104" fmla="*/ 678 w 744"/>
                <a:gd name="T105" fmla="*/ 437 h 1226"/>
                <a:gd name="T106" fmla="*/ 678 w 744"/>
                <a:gd name="T107" fmla="*/ 437 h 1226"/>
                <a:gd name="T108" fmla="*/ 191 w 744"/>
                <a:gd name="T109" fmla="*/ 1160 h 1226"/>
                <a:gd name="T110" fmla="*/ 191 w 744"/>
                <a:gd name="T111" fmla="*/ 116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44" h="1226">
                  <a:moveTo>
                    <a:pt x="17" y="380"/>
                  </a:moveTo>
                  <a:lnTo>
                    <a:pt x="0" y="331"/>
                  </a:lnTo>
                  <a:lnTo>
                    <a:pt x="206" y="260"/>
                  </a:lnTo>
                  <a:lnTo>
                    <a:pt x="239" y="305"/>
                  </a:lnTo>
                  <a:lnTo>
                    <a:pt x="288" y="288"/>
                  </a:lnTo>
                  <a:lnTo>
                    <a:pt x="298" y="305"/>
                  </a:lnTo>
                  <a:lnTo>
                    <a:pt x="298" y="359"/>
                  </a:lnTo>
                  <a:lnTo>
                    <a:pt x="276" y="397"/>
                  </a:lnTo>
                  <a:lnTo>
                    <a:pt x="293" y="414"/>
                  </a:lnTo>
                  <a:lnTo>
                    <a:pt x="293" y="425"/>
                  </a:lnTo>
                  <a:lnTo>
                    <a:pt x="298" y="425"/>
                  </a:lnTo>
                  <a:lnTo>
                    <a:pt x="331" y="470"/>
                  </a:lnTo>
                  <a:lnTo>
                    <a:pt x="347" y="470"/>
                  </a:lnTo>
                  <a:lnTo>
                    <a:pt x="343" y="491"/>
                  </a:lnTo>
                  <a:lnTo>
                    <a:pt x="352" y="491"/>
                  </a:lnTo>
                  <a:lnTo>
                    <a:pt x="352" y="458"/>
                  </a:lnTo>
                  <a:lnTo>
                    <a:pt x="343" y="442"/>
                  </a:lnTo>
                  <a:lnTo>
                    <a:pt x="364" y="414"/>
                  </a:lnTo>
                  <a:lnTo>
                    <a:pt x="369" y="421"/>
                  </a:lnTo>
                  <a:lnTo>
                    <a:pt x="397" y="404"/>
                  </a:lnTo>
                  <a:lnTo>
                    <a:pt x="397" y="364"/>
                  </a:lnTo>
                  <a:lnTo>
                    <a:pt x="385" y="347"/>
                  </a:lnTo>
                  <a:lnTo>
                    <a:pt x="402" y="326"/>
                  </a:lnTo>
                  <a:lnTo>
                    <a:pt x="397" y="310"/>
                  </a:lnTo>
                  <a:lnTo>
                    <a:pt x="343" y="236"/>
                  </a:lnTo>
                  <a:lnTo>
                    <a:pt x="326" y="220"/>
                  </a:lnTo>
                  <a:lnTo>
                    <a:pt x="310" y="220"/>
                  </a:lnTo>
                  <a:lnTo>
                    <a:pt x="298" y="215"/>
                  </a:lnTo>
                  <a:lnTo>
                    <a:pt x="298" y="166"/>
                  </a:lnTo>
                  <a:lnTo>
                    <a:pt x="293" y="128"/>
                  </a:lnTo>
                  <a:lnTo>
                    <a:pt x="310" y="95"/>
                  </a:lnTo>
                  <a:lnTo>
                    <a:pt x="310" y="83"/>
                  </a:lnTo>
                  <a:lnTo>
                    <a:pt x="331" y="83"/>
                  </a:lnTo>
                  <a:lnTo>
                    <a:pt x="369" y="88"/>
                  </a:lnTo>
                  <a:lnTo>
                    <a:pt x="397" y="71"/>
                  </a:lnTo>
                  <a:lnTo>
                    <a:pt x="418" y="83"/>
                  </a:lnTo>
                  <a:lnTo>
                    <a:pt x="418" y="95"/>
                  </a:lnTo>
                  <a:lnTo>
                    <a:pt x="439" y="95"/>
                  </a:lnTo>
                  <a:lnTo>
                    <a:pt x="461" y="83"/>
                  </a:lnTo>
                  <a:lnTo>
                    <a:pt x="510" y="95"/>
                  </a:lnTo>
                  <a:lnTo>
                    <a:pt x="532" y="83"/>
                  </a:lnTo>
                  <a:lnTo>
                    <a:pt x="543" y="66"/>
                  </a:lnTo>
                  <a:lnTo>
                    <a:pt x="548" y="54"/>
                  </a:lnTo>
                  <a:lnTo>
                    <a:pt x="581" y="71"/>
                  </a:lnTo>
                  <a:lnTo>
                    <a:pt x="612" y="54"/>
                  </a:lnTo>
                  <a:lnTo>
                    <a:pt x="636" y="54"/>
                  </a:lnTo>
                  <a:lnTo>
                    <a:pt x="721" y="0"/>
                  </a:lnTo>
                  <a:lnTo>
                    <a:pt x="721" y="0"/>
                  </a:lnTo>
                  <a:lnTo>
                    <a:pt x="728" y="17"/>
                  </a:lnTo>
                  <a:lnTo>
                    <a:pt x="721" y="29"/>
                  </a:lnTo>
                  <a:lnTo>
                    <a:pt x="728" y="33"/>
                  </a:lnTo>
                  <a:lnTo>
                    <a:pt x="721" y="33"/>
                  </a:lnTo>
                  <a:lnTo>
                    <a:pt x="721" y="38"/>
                  </a:lnTo>
                  <a:lnTo>
                    <a:pt x="728" y="38"/>
                  </a:lnTo>
                  <a:lnTo>
                    <a:pt x="711" y="66"/>
                  </a:lnTo>
                  <a:lnTo>
                    <a:pt x="721" y="71"/>
                  </a:lnTo>
                  <a:lnTo>
                    <a:pt x="721" y="88"/>
                  </a:lnTo>
                  <a:lnTo>
                    <a:pt x="721" y="111"/>
                  </a:lnTo>
                  <a:lnTo>
                    <a:pt x="721" y="149"/>
                  </a:lnTo>
                  <a:lnTo>
                    <a:pt x="732" y="166"/>
                  </a:lnTo>
                  <a:lnTo>
                    <a:pt x="711" y="182"/>
                  </a:lnTo>
                  <a:lnTo>
                    <a:pt x="721" y="194"/>
                  </a:lnTo>
                  <a:lnTo>
                    <a:pt x="728" y="182"/>
                  </a:lnTo>
                  <a:lnTo>
                    <a:pt x="721" y="220"/>
                  </a:lnTo>
                  <a:lnTo>
                    <a:pt x="732" y="260"/>
                  </a:lnTo>
                  <a:lnTo>
                    <a:pt x="721" y="272"/>
                  </a:lnTo>
                  <a:lnTo>
                    <a:pt x="728" y="277"/>
                  </a:lnTo>
                  <a:lnTo>
                    <a:pt x="732" y="277"/>
                  </a:lnTo>
                  <a:lnTo>
                    <a:pt x="728" y="293"/>
                  </a:lnTo>
                  <a:lnTo>
                    <a:pt x="744" y="288"/>
                  </a:lnTo>
                  <a:lnTo>
                    <a:pt x="744" y="310"/>
                  </a:lnTo>
                  <a:lnTo>
                    <a:pt x="732" y="343"/>
                  </a:lnTo>
                  <a:lnTo>
                    <a:pt x="721" y="343"/>
                  </a:lnTo>
                  <a:lnTo>
                    <a:pt x="732" y="347"/>
                  </a:lnTo>
                  <a:lnTo>
                    <a:pt x="728" y="364"/>
                  </a:lnTo>
                  <a:lnTo>
                    <a:pt x="695" y="404"/>
                  </a:lnTo>
                  <a:lnTo>
                    <a:pt x="690" y="421"/>
                  </a:lnTo>
                  <a:lnTo>
                    <a:pt x="673" y="425"/>
                  </a:lnTo>
                  <a:lnTo>
                    <a:pt x="673" y="437"/>
                  </a:lnTo>
                  <a:lnTo>
                    <a:pt x="666" y="442"/>
                  </a:lnTo>
                  <a:lnTo>
                    <a:pt x="624" y="470"/>
                  </a:lnTo>
                  <a:lnTo>
                    <a:pt x="619" y="475"/>
                  </a:lnTo>
                  <a:lnTo>
                    <a:pt x="532" y="508"/>
                  </a:lnTo>
                  <a:lnTo>
                    <a:pt x="489" y="536"/>
                  </a:lnTo>
                  <a:lnTo>
                    <a:pt x="473" y="553"/>
                  </a:lnTo>
                  <a:lnTo>
                    <a:pt x="461" y="548"/>
                  </a:lnTo>
                  <a:lnTo>
                    <a:pt x="473" y="565"/>
                  </a:lnTo>
                  <a:lnTo>
                    <a:pt x="423" y="619"/>
                  </a:lnTo>
                  <a:lnTo>
                    <a:pt x="406" y="619"/>
                  </a:lnTo>
                  <a:lnTo>
                    <a:pt x="406" y="619"/>
                  </a:lnTo>
                  <a:lnTo>
                    <a:pt x="326" y="697"/>
                  </a:lnTo>
                  <a:lnTo>
                    <a:pt x="310" y="673"/>
                  </a:lnTo>
                  <a:lnTo>
                    <a:pt x="314" y="690"/>
                  </a:lnTo>
                  <a:lnTo>
                    <a:pt x="314" y="718"/>
                  </a:lnTo>
                  <a:lnTo>
                    <a:pt x="310" y="735"/>
                  </a:lnTo>
                  <a:lnTo>
                    <a:pt x="343" y="775"/>
                  </a:lnTo>
                  <a:lnTo>
                    <a:pt x="343" y="801"/>
                  </a:lnTo>
                  <a:lnTo>
                    <a:pt x="352" y="825"/>
                  </a:lnTo>
                  <a:lnTo>
                    <a:pt x="352" y="884"/>
                  </a:lnTo>
                  <a:lnTo>
                    <a:pt x="364" y="884"/>
                  </a:lnTo>
                  <a:lnTo>
                    <a:pt x="369" y="862"/>
                  </a:lnTo>
                  <a:lnTo>
                    <a:pt x="369" y="874"/>
                  </a:lnTo>
                  <a:lnTo>
                    <a:pt x="369" y="917"/>
                  </a:lnTo>
                  <a:lnTo>
                    <a:pt x="369" y="928"/>
                  </a:lnTo>
                  <a:lnTo>
                    <a:pt x="380" y="928"/>
                  </a:lnTo>
                  <a:lnTo>
                    <a:pt x="369" y="940"/>
                  </a:lnTo>
                  <a:lnTo>
                    <a:pt x="352" y="995"/>
                  </a:lnTo>
                  <a:lnTo>
                    <a:pt x="352" y="1006"/>
                  </a:lnTo>
                  <a:lnTo>
                    <a:pt x="369" y="990"/>
                  </a:lnTo>
                  <a:lnTo>
                    <a:pt x="369" y="1011"/>
                  </a:lnTo>
                  <a:lnTo>
                    <a:pt x="331" y="1051"/>
                  </a:lnTo>
                  <a:lnTo>
                    <a:pt x="239" y="1094"/>
                  </a:lnTo>
                  <a:lnTo>
                    <a:pt x="180" y="1134"/>
                  </a:lnTo>
                  <a:lnTo>
                    <a:pt x="163" y="1155"/>
                  </a:lnTo>
                  <a:lnTo>
                    <a:pt x="184" y="1177"/>
                  </a:lnTo>
                  <a:lnTo>
                    <a:pt x="191" y="1160"/>
                  </a:lnTo>
                  <a:lnTo>
                    <a:pt x="184" y="1226"/>
                  </a:lnTo>
                  <a:lnTo>
                    <a:pt x="130" y="1226"/>
                  </a:lnTo>
                  <a:lnTo>
                    <a:pt x="130" y="1172"/>
                  </a:lnTo>
                  <a:lnTo>
                    <a:pt x="125" y="1155"/>
                  </a:lnTo>
                  <a:lnTo>
                    <a:pt x="125" y="1040"/>
                  </a:lnTo>
                  <a:lnTo>
                    <a:pt x="113" y="1006"/>
                  </a:lnTo>
                  <a:lnTo>
                    <a:pt x="92" y="966"/>
                  </a:lnTo>
                  <a:lnTo>
                    <a:pt x="92" y="940"/>
                  </a:lnTo>
                  <a:lnTo>
                    <a:pt x="76" y="884"/>
                  </a:lnTo>
                  <a:lnTo>
                    <a:pt x="151" y="801"/>
                  </a:lnTo>
                  <a:lnTo>
                    <a:pt x="151" y="808"/>
                  </a:lnTo>
                  <a:lnTo>
                    <a:pt x="147" y="791"/>
                  </a:lnTo>
                  <a:lnTo>
                    <a:pt x="163" y="768"/>
                  </a:lnTo>
                  <a:lnTo>
                    <a:pt x="151" y="751"/>
                  </a:lnTo>
                  <a:lnTo>
                    <a:pt x="168" y="747"/>
                  </a:lnTo>
                  <a:lnTo>
                    <a:pt x="184" y="730"/>
                  </a:lnTo>
                  <a:lnTo>
                    <a:pt x="201" y="690"/>
                  </a:lnTo>
                  <a:lnTo>
                    <a:pt x="180" y="664"/>
                  </a:lnTo>
                  <a:lnTo>
                    <a:pt x="184" y="636"/>
                  </a:lnTo>
                  <a:lnTo>
                    <a:pt x="168" y="624"/>
                  </a:lnTo>
                  <a:lnTo>
                    <a:pt x="168" y="619"/>
                  </a:lnTo>
                  <a:lnTo>
                    <a:pt x="184" y="607"/>
                  </a:lnTo>
                  <a:lnTo>
                    <a:pt x="184" y="591"/>
                  </a:lnTo>
                  <a:lnTo>
                    <a:pt x="201" y="581"/>
                  </a:lnTo>
                  <a:lnTo>
                    <a:pt x="191" y="569"/>
                  </a:lnTo>
                  <a:lnTo>
                    <a:pt x="184" y="553"/>
                  </a:lnTo>
                  <a:lnTo>
                    <a:pt x="191" y="525"/>
                  </a:lnTo>
                  <a:lnTo>
                    <a:pt x="191" y="515"/>
                  </a:lnTo>
                  <a:lnTo>
                    <a:pt x="191" y="508"/>
                  </a:lnTo>
                  <a:lnTo>
                    <a:pt x="184" y="475"/>
                  </a:lnTo>
                  <a:lnTo>
                    <a:pt x="191" y="458"/>
                  </a:lnTo>
                  <a:lnTo>
                    <a:pt x="180" y="458"/>
                  </a:lnTo>
                  <a:lnTo>
                    <a:pt x="168" y="454"/>
                  </a:lnTo>
                  <a:lnTo>
                    <a:pt x="147" y="442"/>
                  </a:lnTo>
                  <a:lnTo>
                    <a:pt x="113" y="437"/>
                  </a:lnTo>
                  <a:lnTo>
                    <a:pt x="99" y="421"/>
                  </a:lnTo>
                  <a:lnTo>
                    <a:pt x="83" y="421"/>
                  </a:lnTo>
                  <a:lnTo>
                    <a:pt x="71" y="404"/>
                  </a:lnTo>
                  <a:lnTo>
                    <a:pt x="17" y="404"/>
                  </a:lnTo>
                  <a:lnTo>
                    <a:pt x="17" y="380"/>
                  </a:lnTo>
                  <a:lnTo>
                    <a:pt x="17" y="380"/>
                  </a:lnTo>
                  <a:lnTo>
                    <a:pt x="17" y="380"/>
                  </a:lnTo>
                  <a:close/>
                  <a:moveTo>
                    <a:pt x="678" y="437"/>
                  </a:moveTo>
                  <a:lnTo>
                    <a:pt x="673" y="425"/>
                  </a:lnTo>
                  <a:lnTo>
                    <a:pt x="678" y="425"/>
                  </a:lnTo>
                  <a:lnTo>
                    <a:pt x="678" y="437"/>
                  </a:lnTo>
                  <a:lnTo>
                    <a:pt x="678" y="437"/>
                  </a:lnTo>
                  <a:lnTo>
                    <a:pt x="678" y="437"/>
                  </a:lnTo>
                  <a:close/>
                  <a:moveTo>
                    <a:pt x="191" y="1160"/>
                  </a:moveTo>
                  <a:lnTo>
                    <a:pt x="184" y="1155"/>
                  </a:lnTo>
                  <a:lnTo>
                    <a:pt x="191" y="1155"/>
                  </a:lnTo>
                  <a:lnTo>
                    <a:pt x="191" y="1160"/>
                  </a:lnTo>
                  <a:lnTo>
                    <a:pt x="191" y="1160"/>
                  </a:lnTo>
                  <a:lnTo>
                    <a:pt x="191" y="116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4" name="Freeform 519">
              <a:extLst>
                <a:ext uri="{FF2B5EF4-FFF2-40B4-BE49-F238E27FC236}">
                  <a16:creationId xmlns:a16="http://schemas.microsoft.com/office/drawing/2014/main" id="{B20E975E-EFCC-4781-BE68-591273F84C5D}"/>
                </a:ext>
              </a:extLst>
            </p:cNvPr>
            <p:cNvSpPr>
              <a:spLocks/>
            </p:cNvSpPr>
            <p:nvPr/>
          </p:nvSpPr>
          <p:spPr bwMode="gray">
            <a:xfrm>
              <a:off x="6729118" y="3355676"/>
              <a:ext cx="456953" cy="361899"/>
            </a:xfrm>
            <a:custGeom>
              <a:avLst/>
              <a:gdLst>
                <a:gd name="T0" fmla="*/ 194 w 1110"/>
                <a:gd name="T1" fmla="*/ 824 h 879"/>
                <a:gd name="T2" fmla="*/ 161 w 1110"/>
                <a:gd name="T3" fmla="*/ 862 h 879"/>
                <a:gd name="T4" fmla="*/ 144 w 1110"/>
                <a:gd name="T5" fmla="*/ 824 h 879"/>
                <a:gd name="T6" fmla="*/ 102 w 1110"/>
                <a:gd name="T7" fmla="*/ 808 h 879"/>
                <a:gd name="T8" fmla="*/ 64 w 1110"/>
                <a:gd name="T9" fmla="*/ 751 h 879"/>
                <a:gd name="T10" fmla="*/ 64 w 1110"/>
                <a:gd name="T11" fmla="*/ 742 h 879"/>
                <a:gd name="T12" fmla="*/ 31 w 1110"/>
                <a:gd name="T13" fmla="*/ 725 h 879"/>
                <a:gd name="T14" fmla="*/ 21 w 1110"/>
                <a:gd name="T15" fmla="*/ 685 h 879"/>
                <a:gd name="T16" fmla="*/ 9 w 1110"/>
                <a:gd name="T17" fmla="*/ 642 h 879"/>
                <a:gd name="T18" fmla="*/ 64 w 1110"/>
                <a:gd name="T19" fmla="*/ 631 h 879"/>
                <a:gd name="T20" fmla="*/ 198 w 1110"/>
                <a:gd name="T21" fmla="*/ 607 h 879"/>
                <a:gd name="T22" fmla="*/ 236 w 1110"/>
                <a:gd name="T23" fmla="*/ 607 h 879"/>
                <a:gd name="T24" fmla="*/ 264 w 1110"/>
                <a:gd name="T25" fmla="*/ 586 h 879"/>
                <a:gd name="T26" fmla="*/ 286 w 1110"/>
                <a:gd name="T27" fmla="*/ 531 h 879"/>
                <a:gd name="T28" fmla="*/ 399 w 1110"/>
                <a:gd name="T29" fmla="*/ 309 h 879"/>
                <a:gd name="T30" fmla="*/ 829 w 1110"/>
                <a:gd name="T31" fmla="*/ 0 h 879"/>
                <a:gd name="T32" fmla="*/ 987 w 1110"/>
                <a:gd name="T33" fmla="*/ 71 h 879"/>
                <a:gd name="T34" fmla="*/ 1056 w 1110"/>
                <a:gd name="T35" fmla="*/ 111 h 879"/>
                <a:gd name="T36" fmla="*/ 1089 w 1110"/>
                <a:gd name="T37" fmla="*/ 187 h 879"/>
                <a:gd name="T38" fmla="*/ 1110 w 1110"/>
                <a:gd name="T39" fmla="*/ 238 h 879"/>
                <a:gd name="T40" fmla="*/ 1077 w 1110"/>
                <a:gd name="T41" fmla="*/ 491 h 879"/>
                <a:gd name="T42" fmla="*/ 964 w 1110"/>
                <a:gd name="T43" fmla="*/ 631 h 879"/>
                <a:gd name="T44" fmla="*/ 933 w 1110"/>
                <a:gd name="T45" fmla="*/ 668 h 879"/>
                <a:gd name="T46" fmla="*/ 926 w 1110"/>
                <a:gd name="T47" fmla="*/ 725 h 879"/>
                <a:gd name="T48" fmla="*/ 895 w 1110"/>
                <a:gd name="T49" fmla="*/ 742 h 879"/>
                <a:gd name="T50" fmla="*/ 791 w 1110"/>
                <a:gd name="T51" fmla="*/ 751 h 879"/>
                <a:gd name="T52" fmla="*/ 701 w 1110"/>
                <a:gd name="T53" fmla="*/ 758 h 879"/>
                <a:gd name="T54" fmla="*/ 602 w 1110"/>
                <a:gd name="T55" fmla="*/ 779 h 879"/>
                <a:gd name="T56" fmla="*/ 539 w 1110"/>
                <a:gd name="T57" fmla="*/ 751 h 879"/>
                <a:gd name="T58" fmla="*/ 501 w 1110"/>
                <a:gd name="T59" fmla="*/ 775 h 879"/>
                <a:gd name="T60" fmla="*/ 479 w 1110"/>
                <a:gd name="T61" fmla="*/ 779 h 879"/>
                <a:gd name="T62" fmla="*/ 425 w 1110"/>
                <a:gd name="T63" fmla="*/ 735 h 879"/>
                <a:gd name="T64" fmla="*/ 361 w 1110"/>
                <a:gd name="T65" fmla="*/ 725 h 879"/>
                <a:gd name="T66" fmla="*/ 307 w 1110"/>
                <a:gd name="T67" fmla="*/ 725 h 879"/>
                <a:gd name="T68" fmla="*/ 279 w 1110"/>
                <a:gd name="T69" fmla="*/ 779 h 879"/>
                <a:gd name="T70" fmla="*/ 248 w 1110"/>
                <a:gd name="T71" fmla="*/ 812 h 879"/>
                <a:gd name="T72" fmla="*/ 253 w 1110"/>
                <a:gd name="T73" fmla="*/ 869 h 879"/>
                <a:gd name="T74" fmla="*/ 248 w 1110"/>
                <a:gd name="T75"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0" h="879">
                  <a:moveTo>
                    <a:pt x="248" y="879"/>
                  </a:moveTo>
                  <a:lnTo>
                    <a:pt x="194" y="824"/>
                  </a:lnTo>
                  <a:lnTo>
                    <a:pt x="161" y="836"/>
                  </a:lnTo>
                  <a:lnTo>
                    <a:pt x="161" y="862"/>
                  </a:lnTo>
                  <a:lnTo>
                    <a:pt x="139" y="829"/>
                  </a:lnTo>
                  <a:lnTo>
                    <a:pt x="144" y="824"/>
                  </a:lnTo>
                  <a:lnTo>
                    <a:pt x="139" y="808"/>
                  </a:lnTo>
                  <a:lnTo>
                    <a:pt x="102" y="808"/>
                  </a:lnTo>
                  <a:lnTo>
                    <a:pt x="64" y="775"/>
                  </a:lnTo>
                  <a:lnTo>
                    <a:pt x="64" y="751"/>
                  </a:lnTo>
                  <a:lnTo>
                    <a:pt x="85" y="758"/>
                  </a:lnTo>
                  <a:lnTo>
                    <a:pt x="64" y="742"/>
                  </a:lnTo>
                  <a:lnTo>
                    <a:pt x="64" y="742"/>
                  </a:lnTo>
                  <a:lnTo>
                    <a:pt x="31" y="725"/>
                  </a:lnTo>
                  <a:lnTo>
                    <a:pt x="14" y="697"/>
                  </a:lnTo>
                  <a:lnTo>
                    <a:pt x="21" y="685"/>
                  </a:lnTo>
                  <a:lnTo>
                    <a:pt x="0" y="668"/>
                  </a:lnTo>
                  <a:lnTo>
                    <a:pt x="9" y="642"/>
                  </a:lnTo>
                  <a:lnTo>
                    <a:pt x="9" y="631"/>
                  </a:lnTo>
                  <a:lnTo>
                    <a:pt x="64" y="631"/>
                  </a:lnTo>
                  <a:lnTo>
                    <a:pt x="85" y="614"/>
                  </a:lnTo>
                  <a:lnTo>
                    <a:pt x="198" y="607"/>
                  </a:lnTo>
                  <a:lnTo>
                    <a:pt x="210" y="602"/>
                  </a:lnTo>
                  <a:lnTo>
                    <a:pt x="236" y="607"/>
                  </a:lnTo>
                  <a:lnTo>
                    <a:pt x="236" y="590"/>
                  </a:lnTo>
                  <a:lnTo>
                    <a:pt x="264" y="586"/>
                  </a:lnTo>
                  <a:lnTo>
                    <a:pt x="279" y="536"/>
                  </a:lnTo>
                  <a:lnTo>
                    <a:pt x="286" y="531"/>
                  </a:lnTo>
                  <a:lnTo>
                    <a:pt x="290" y="326"/>
                  </a:lnTo>
                  <a:lnTo>
                    <a:pt x="399" y="309"/>
                  </a:lnTo>
                  <a:lnTo>
                    <a:pt x="517" y="198"/>
                  </a:lnTo>
                  <a:lnTo>
                    <a:pt x="829" y="0"/>
                  </a:lnTo>
                  <a:lnTo>
                    <a:pt x="938" y="21"/>
                  </a:lnTo>
                  <a:lnTo>
                    <a:pt x="987" y="71"/>
                  </a:lnTo>
                  <a:lnTo>
                    <a:pt x="1039" y="38"/>
                  </a:lnTo>
                  <a:lnTo>
                    <a:pt x="1056" y="111"/>
                  </a:lnTo>
                  <a:lnTo>
                    <a:pt x="1056" y="149"/>
                  </a:lnTo>
                  <a:lnTo>
                    <a:pt x="1089" y="187"/>
                  </a:lnTo>
                  <a:lnTo>
                    <a:pt x="1089" y="203"/>
                  </a:lnTo>
                  <a:lnTo>
                    <a:pt x="1110" y="238"/>
                  </a:lnTo>
                  <a:lnTo>
                    <a:pt x="1094" y="272"/>
                  </a:lnTo>
                  <a:lnTo>
                    <a:pt x="1077" y="491"/>
                  </a:lnTo>
                  <a:lnTo>
                    <a:pt x="1001" y="574"/>
                  </a:lnTo>
                  <a:lnTo>
                    <a:pt x="964" y="631"/>
                  </a:lnTo>
                  <a:lnTo>
                    <a:pt x="950" y="664"/>
                  </a:lnTo>
                  <a:lnTo>
                    <a:pt x="933" y="668"/>
                  </a:lnTo>
                  <a:lnTo>
                    <a:pt x="950" y="725"/>
                  </a:lnTo>
                  <a:lnTo>
                    <a:pt x="926" y="725"/>
                  </a:lnTo>
                  <a:lnTo>
                    <a:pt x="916" y="742"/>
                  </a:lnTo>
                  <a:lnTo>
                    <a:pt x="895" y="742"/>
                  </a:lnTo>
                  <a:lnTo>
                    <a:pt x="862" y="775"/>
                  </a:lnTo>
                  <a:lnTo>
                    <a:pt x="791" y="751"/>
                  </a:lnTo>
                  <a:lnTo>
                    <a:pt x="739" y="751"/>
                  </a:lnTo>
                  <a:lnTo>
                    <a:pt x="701" y="758"/>
                  </a:lnTo>
                  <a:lnTo>
                    <a:pt x="668" y="796"/>
                  </a:lnTo>
                  <a:lnTo>
                    <a:pt x="602" y="779"/>
                  </a:lnTo>
                  <a:lnTo>
                    <a:pt x="560" y="758"/>
                  </a:lnTo>
                  <a:lnTo>
                    <a:pt x="539" y="751"/>
                  </a:lnTo>
                  <a:lnTo>
                    <a:pt x="505" y="775"/>
                  </a:lnTo>
                  <a:lnTo>
                    <a:pt x="501" y="775"/>
                  </a:lnTo>
                  <a:lnTo>
                    <a:pt x="484" y="779"/>
                  </a:lnTo>
                  <a:lnTo>
                    <a:pt x="479" y="779"/>
                  </a:lnTo>
                  <a:lnTo>
                    <a:pt x="430" y="725"/>
                  </a:lnTo>
                  <a:lnTo>
                    <a:pt x="425" y="735"/>
                  </a:lnTo>
                  <a:lnTo>
                    <a:pt x="378" y="718"/>
                  </a:lnTo>
                  <a:lnTo>
                    <a:pt x="361" y="725"/>
                  </a:lnTo>
                  <a:lnTo>
                    <a:pt x="333" y="725"/>
                  </a:lnTo>
                  <a:lnTo>
                    <a:pt x="307" y="725"/>
                  </a:lnTo>
                  <a:lnTo>
                    <a:pt x="286" y="742"/>
                  </a:lnTo>
                  <a:lnTo>
                    <a:pt x="279" y="779"/>
                  </a:lnTo>
                  <a:lnTo>
                    <a:pt x="269" y="796"/>
                  </a:lnTo>
                  <a:lnTo>
                    <a:pt x="248" y="812"/>
                  </a:lnTo>
                  <a:lnTo>
                    <a:pt x="248" y="862"/>
                  </a:lnTo>
                  <a:lnTo>
                    <a:pt x="253" y="869"/>
                  </a:lnTo>
                  <a:lnTo>
                    <a:pt x="248" y="879"/>
                  </a:lnTo>
                  <a:lnTo>
                    <a:pt x="248" y="879"/>
                  </a:lnTo>
                  <a:lnTo>
                    <a:pt x="248" y="87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5" name="Freeform 521">
              <a:extLst>
                <a:ext uri="{FF2B5EF4-FFF2-40B4-BE49-F238E27FC236}">
                  <a16:creationId xmlns:a16="http://schemas.microsoft.com/office/drawing/2014/main" id="{F03DE27C-1DFC-4E38-A043-E6A1E5ACCC7F}"/>
                </a:ext>
              </a:extLst>
            </p:cNvPr>
            <p:cNvSpPr>
              <a:spLocks noEditPoints="1"/>
            </p:cNvSpPr>
            <p:nvPr/>
          </p:nvSpPr>
          <p:spPr bwMode="gray">
            <a:xfrm>
              <a:off x="6802807" y="3652111"/>
              <a:ext cx="346214" cy="288202"/>
            </a:xfrm>
            <a:custGeom>
              <a:avLst/>
              <a:gdLst>
                <a:gd name="T0" fmla="*/ 648 w 841"/>
                <a:gd name="T1" fmla="*/ 494 h 700"/>
                <a:gd name="T2" fmla="*/ 610 w 841"/>
                <a:gd name="T3" fmla="*/ 539 h 700"/>
                <a:gd name="T4" fmla="*/ 556 w 841"/>
                <a:gd name="T5" fmla="*/ 494 h 700"/>
                <a:gd name="T6" fmla="*/ 522 w 841"/>
                <a:gd name="T7" fmla="*/ 501 h 700"/>
                <a:gd name="T8" fmla="*/ 492 w 841"/>
                <a:gd name="T9" fmla="*/ 534 h 700"/>
                <a:gd name="T10" fmla="*/ 437 w 841"/>
                <a:gd name="T11" fmla="*/ 605 h 700"/>
                <a:gd name="T12" fmla="*/ 409 w 841"/>
                <a:gd name="T13" fmla="*/ 666 h 700"/>
                <a:gd name="T14" fmla="*/ 395 w 841"/>
                <a:gd name="T15" fmla="*/ 671 h 700"/>
                <a:gd name="T16" fmla="*/ 345 w 841"/>
                <a:gd name="T17" fmla="*/ 666 h 700"/>
                <a:gd name="T18" fmla="*/ 308 w 841"/>
                <a:gd name="T19" fmla="*/ 662 h 700"/>
                <a:gd name="T20" fmla="*/ 303 w 841"/>
                <a:gd name="T21" fmla="*/ 666 h 700"/>
                <a:gd name="T22" fmla="*/ 291 w 841"/>
                <a:gd name="T23" fmla="*/ 688 h 700"/>
                <a:gd name="T24" fmla="*/ 286 w 841"/>
                <a:gd name="T25" fmla="*/ 688 h 700"/>
                <a:gd name="T26" fmla="*/ 286 w 841"/>
                <a:gd name="T27" fmla="*/ 688 h 700"/>
                <a:gd name="T28" fmla="*/ 253 w 841"/>
                <a:gd name="T29" fmla="*/ 683 h 700"/>
                <a:gd name="T30" fmla="*/ 215 w 841"/>
                <a:gd name="T31" fmla="*/ 683 h 700"/>
                <a:gd name="T32" fmla="*/ 199 w 841"/>
                <a:gd name="T33" fmla="*/ 633 h 700"/>
                <a:gd name="T34" fmla="*/ 211 w 841"/>
                <a:gd name="T35" fmla="*/ 605 h 700"/>
                <a:gd name="T36" fmla="*/ 178 w 841"/>
                <a:gd name="T37" fmla="*/ 605 h 700"/>
                <a:gd name="T38" fmla="*/ 156 w 841"/>
                <a:gd name="T39" fmla="*/ 572 h 700"/>
                <a:gd name="T40" fmla="*/ 85 w 841"/>
                <a:gd name="T41" fmla="*/ 522 h 700"/>
                <a:gd name="T42" fmla="*/ 48 w 841"/>
                <a:gd name="T43" fmla="*/ 551 h 700"/>
                <a:gd name="T44" fmla="*/ 0 w 841"/>
                <a:gd name="T45" fmla="*/ 440 h 700"/>
                <a:gd name="T46" fmla="*/ 38 w 841"/>
                <a:gd name="T47" fmla="*/ 329 h 700"/>
                <a:gd name="T48" fmla="*/ 71 w 841"/>
                <a:gd name="T49" fmla="*/ 284 h 700"/>
                <a:gd name="T50" fmla="*/ 76 w 841"/>
                <a:gd name="T51" fmla="*/ 244 h 700"/>
                <a:gd name="T52" fmla="*/ 76 w 841"/>
                <a:gd name="T53" fmla="*/ 222 h 700"/>
                <a:gd name="T54" fmla="*/ 71 w 841"/>
                <a:gd name="T55" fmla="*/ 161 h 700"/>
                <a:gd name="T56" fmla="*/ 71 w 841"/>
                <a:gd name="T57" fmla="*/ 95 h 700"/>
                <a:gd name="T58" fmla="*/ 109 w 841"/>
                <a:gd name="T59" fmla="*/ 22 h 700"/>
                <a:gd name="T60" fmla="*/ 185 w 841"/>
                <a:gd name="T61" fmla="*/ 5 h 700"/>
                <a:gd name="T62" fmla="*/ 253 w 841"/>
                <a:gd name="T63" fmla="*/ 5 h 700"/>
                <a:gd name="T64" fmla="*/ 324 w 841"/>
                <a:gd name="T65" fmla="*/ 57 h 700"/>
                <a:gd name="T66" fmla="*/ 383 w 841"/>
                <a:gd name="T67" fmla="*/ 38 h 700"/>
                <a:gd name="T68" fmla="*/ 522 w 841"/>
                <a:gd name="T69" fmla="*/ 38 h 700"/>
                <a:gd name="T70" fmla="*/ 685 w 841"/>
                <a:gd name="T71" fmla="*/ 57 h 700"/>
                <a:gd name="T72" fmla="*/ 749 w 841"/>
                <a:gd name="T73" fmla="*/ 5 h 700"/>
                <a:gd name="T74" fmla="*/ 808 w 841"/>
                <a:gd name="T75" fmla="*/ 107 h 700"/>
                <a:gd name="T76" fmla="*/ 841 w 841"/>
                <a:gd name="T77" fmla="*/ 149 h 700"/>
                <a:gd name="T78" fmla="*/ 792 w 841"/>
                <a:gd name="T79" fmla="*/ 189 h 700"/>
                <a:gd name="T80" fmla="*/ 754 w 841"/>
                <a:gd name="T81" fmla="*/ 272 h 700"/>
                <a:gd name="T82" fmla="*/ 719 w 841"/>
                <a:gd name="T83" fmla="*/ 329 h 700"/>
                <a:gd name="T84" fmla="*/ 685 w 841"/>
                <a:gd name="T85" fmla="*/ 383 h 700"/>
                <a:gd name="T86" fmla="*/ 669 w 841"/>
                <a:gd name="T87" fmla="*/ 428 h 700"/>
                <a:gd name="T88" fmla="*/ 643 w 841"/>
                <a:gd name="T89" fmla="*/ 478 h 700"/>
                <a:gd name="T90" fmla="*/ 319 w 841"/>
                <a:gd name="T91" fmla="*/ 688 h 700"/>
                <a:gd name="T92" fmla="*/ 319 w 841"/>
                <a:gd name="T93" fmla="*/ 688 h 700"/>
                <a:gd name="T94" fmla="*/ 341 w 841"/>
                <a:gd name="T95" fmla="*/ 683 h 700"/>
                <a:gd name="T96" fmla="*/ 341 w 841"/>
                <a:gd name="T97" fmla="*/ 683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1" h="700">
                  <a:moveTo>
                    <a:pt x="643" y="478"/>
                  </a:moveTo>
                  <a:lnTo>
                    <a:pt x="643" y="478"/>
                  </a:lnTo>
                  <a:lnTo>
                    <a:pt x="648" y="494"/>
                  </a:lnTo>
                  <a:lnTo>
                    <a:pt x="626" y="506"/>
                  </a:lnTo>
                  <a:lnTo>
                    <a:pt x="626" y="522"/>
                  </a:lnTo>
                  <a:lnTo>
                    <a:pt x="610" y="539"/>
                  </a:lnTo>
                  <a:lnTo>
                    <a:pt x="593" y="539"/>
                  </a:lnTo>
                  <a:lnTo>
                    <a:pt x="593" y="518"/>
                  </a:lnTo>
                  <a:lnTo>
                    <a:pt x="556" y="494"/>
                  </a:lnTo>
                  <a:lnTo>
                    <a:pt x="556" y="506"/>
                  </a:lnTo>
                  <a:lnTo>
                    <a:pt x="534" y="506"/>
                  </a:lnTo>
                  <a:lnTo>
                    <a:pt x="522" y="501"/>
                  </a:lnTo>
                  <a:lnTo>
                    <a:pt x="506" y="518"/>
                  </a:lnTo>
                  <a:lnTo>
                    <a:pt x="501" y="518"/>
                  </a:lnTo>
                  <a:lnTo>
                    <a:pt x="492" y="534"/>
                  </a:lnTo>
                  <a:lnTo>
                    <a:pt x="471" y="551"/>
                  </a:lnTo>
                  <a:lnTo>
                    <a:pt x="437" y="577"/>
                  </a:lnTo>
                  <a:lnTo>
                    <a:pt x="437" y="605"/>
                  </a:lnTo>
                  <a:lnTo>
                    <a:pt x="433" y="629"/>
                  </a:lnTo>
                  <a:lnTo>
                    <a:pt x="416" y="662"/>
                  </a:lnTo>
                  <a:lnTo>
                    <a:pt x="409" y="666"/>
                  </a:lnTo>
                  <a:lnTo>
                    <a:pt x="395" y="650"/>
                  </a:lnTo>
                  <a:lnTo>
                    <a:pt x="400" y="666"/>
                  </a:lnTo>
                  <a:lnTo>
                    <a:pt x="395" y="671"/>
                  </a:lnTo>
                  <a:lnTo>
                    <a:pt x="357" y="683"/>
                  </a:lnTo>
                  <a:lnTo>
                    <a:pt x="345" y="671"/>
                  </a:lnTo>
                  <a:lnTo>
                    <a:pt x="345" y="666"/>
                  </a:lnTo>
                  <a:lnTo>
                    <a:pt x="341" y="671"/>
                  </a:lnTo>
                  <a:lnTo>
                    <a:pt x="324" y="671"/>
                  </a:lnTo>
                  <a:lnTo>
                    <a:pt x="308" y="662"/>
                  </a:lnTo>
                  <a:lnTo>
                    <a:pt x="319" y="683"/>
                  </a:lnTo>
                  <a:lnTo>
                    <a:pt x="308" y="683"/>
                  </a:lnTo>
                  <a:lnTo>
                    <a:pt x="303" y="666"/>
                  </a:lnTo>
                  <a:lnTo>
                    <a:pt x="303" y="666"/>
                  </a:lnTo>
                  <a:lnTo>
                    <a:pt x="308" y="688"/>
                  </a:lnTo>
                  <a:lnTo>
                    <a:pt x="291" y="688"/>
                  </a:lnTo>
                  <a:lnTo>
                    <a:pt x="291" y="662"/>
                  </a:lnTo>
                  <a:lnTo>
                    <a:pt x="291" y="688"/>
                  </a:lnTo>
                  <a:lnTo>
                    <a:pt x="286" y="688"/>
                  </a:lnTo>
                  <a:lnTo>
                    <a:pt x="286" y="671"/>
                  </a:lnTo>
                  <a:lnTo>
                    <a:pt x="286" y="683"/>
                  </a:lnTo>
                  <a:lnTo>
                    <a:pt x="286" y="688"/>
                  </a:lnTo>
                  <a:lnTo>
                    <a:pt x="253" y="700"/>
                  </a:lnTo>
                  <a:lnTo>
                    <a:pt x="265" y="683"/>
                  </a:lnTo>
                  <a:lnTo>
                    <a:pt x="253" y="683"/>
                  </a:lnTo>
                  <a:lnTo>
                    <a:pt x="248" y="688"/>
                  </a:lnTo>
                  <a:lnTo>
                    <a:pt x="237" y="700"/>
                  </a:lnTo>
                  <a:lnTo>
                    <a:pt x="215" y="683"/>
                  </a:lnTo>
                  <a:lnTo>
                    <a:pt x="199" y="650"/>
                  </a:lnTo>
                  <a:lnTo>
                    <a:pt x="194" y="633"/>
                  </a:lnTo>
                  <a:lnTo>
                    <a:pt x="199" y="633"/>
                  </a:lnTo>
                  <a:lnTo>
                    <a:pt x="194" y="633"/>
                  </a:lnTo>
                  <a:lnTo>
                    <a:pt x="194" y="617"/>
                  </a:lnTo>
                  <a:lnTo>
                    <a:pt x="211" y="605"/>
                  </a:lnTo>
                  <a:lnTo>
                    <a:pt x="199" y="612"/>
                  </a:lnTo>
                  <a:lnTo>
                    <a:pt x="185" y="612"/>
                  </a:lnTo>
                  <a:lnTo>
                    <a:pt x="178" y="605"/>
                  </a:lnTo>
                  <a:lnTo>
                    <a:pt x="199" y="593"/>
                  </a:lnTo>
                  <a:lnTo>
                    <a:pt x="178" y="605"/>
                  </a:lnTo>
                  <a:lnTo>
                    <a:pt x="156" y="572"/>
                  </a:lnTo>
                  <a:lnTo>
                    <a:pt x="130" y="551"/>
                  </a:lnTo>
                  <a:lnTo>
                    <a:pt x="55" y="539"/>
                  </a:lnTo>
                  <a:lnTo>
                    <a:pt x="85" y="522"/>
                  </a:lnTo>
                  <a:lnTo>
                    <a:pt x="60" y="534"/>
                  </a:lnTo>
                  <a:lnTo>
                    <a:pt x="60" y="534"/>
                  </a:lnTo>
                  <a:lnTo>
                    <a:pt x="48" y="551"/>
                  </a:lnTo>
                  <a:lnTo>
                    <a:pt x="5" y="551"/>
                  </a:lnTo>
                  <a:lnTo>
                    <a:pt x="5" y="494"/>
                  </a:lnTo>
                  <a:lnTo>
                    <a:pt x="0" y="440"/>
                  </a:lnTo>
                  <a:lnTo>
                    <a:pt x="5" y="350"/>
                  </a:lnTo>
                  <a:lnTo>
                    <a:pt x="34" y="350"/>
                  </a:lnTo>
                  <a:lnTo>
                    <a:pt x="38" y="329"/>
                  </a:lnTo>
                  <a:lnTo>
                    <a:pt x="55" y="300"/>
                  </a:lnTo>
                  <a:lnTo>
                    <a:pt x="48" y="296"/>
                  </a:lnTo>
                  <a:lnTo>
                    <a:pt x="71" y="284"/>
                  </a:lnTo>
                  <a:lnTo>
                    <a:pt x="76" y="272"/>
                  </a:lnTo>
                  <a:lnTo>
                    <a:pt x="71" y="260"/>
                  </a:lnTo>
                  <a:lnTo>
                    <a:pt x="76" y="244"/>
                  </a:lnTo>
                  <a:lnTo>
                    <a:pt x="85" y="255"/>
                  </a:lnTo>
                  <a:lnTo>
                    <a:pt x="85" y="239"/>
                  </a:lnTo>
                  <a:lnTo>
                    <a:pt x="76" y="222"/>
                  </a:lnTo>
                  <a:lnTo>
                    <a:pt x="76" y="201"/>
                  </a:lnTo>
                  <a:lnTo>
                    <a:pt x="60" y="173"/>
                  </a:lnTo>
                  <a:lnTo>
                    <a:pt x="71" y="161"/>
                  </a:lnTo>
                  <a:lnTo>
                    <a:pt x="76" y="149"/>
                  </a:lnTo>
                  <a:lnTo>
                    <a:pt x="71" y="144"/>
                  </a:lnTo>
                  <a:lnTo>
                    <a:pt x="71" y="95"/>
                  </a:lnTo>
                  <a:lnTo>
                    <a:pt x="93" y="78"/>
                  </a:lnTo>
                  <a:lnTo>
                    <a:pt x="102" y="62"/>
                  </a:lnTo>
                  <a:lnTo>
                    <a:pt x="109" y="22"/>
                  </a:lnTo>
                  <a:lnTo>
                    <a:pt x="130" y="5"/>
                  </a:lnTo>
                  <a:lnTo>
                    <a:pt x="156" y="5"/>
                  </a:lnTo>
                  <a:lnTo>
                    <a:pt x="185" y="5"/>
                  </a:lnTo>
                  <a:lnTo>
                    <a:pt x="199" y="0"/>
                  </a:lnTo>
                  <a:lnTo>
                    <a:pt x="248" y="17"/>
                  </a:lnTo>
                  <a:lnTo>
                    <a:pt x="253" y="5"/>
                  </a:lnTo>
                  <a:lnTo>
                    <a:pt x="303" y="62"/>
                  </a:lnTo>
                  <a:lnTo>
                    <a:pt x="308" y="62"/>
                  </a:lnTo>
                  <a:lnTo>
                    <a:pt x="324" y="57"/>
                  </a:lnTo>
                  <a:lnTo>
                    <a:pt x="329" y="57"/>
                  </a:lnTo>
                  <a:lnTo>
                    <a:pt x="362" y="33"/>
                  </a:lnTo>
                  <a:lnTo>
                    <a:pt x="383" y="38"/>
                  </a:lnTo>
                  <a:lnTo>
                    <a:pt x="426" y="62"/>
                  </a:lnTo>
                  <a:lnTo>
                    <a:pt x="492" y="78"/>
                  </a:lnTo>
                  <a:lnTo>
                    <a:pt x="522" y="38"/>
                  </a:lnTo>
                  <a:lnTo>
                    <a:pt x="560" y="33"/>
                  </a:lnTo>
                  <a:lnTo>
                    <a:pt x="615" y="33"/>
                  </a:lnTo>
                  <a:lnTo>
                    <a:pt x="685" y="57"/>
                  </a:lnTo>
                  <a:lnTo>
                    <a:pt x="719" y="22"/>
                  </a:lnTo>
                  <a:lnTo>
                    <a:pt x="740" y="22"/>
                  </a:lnTo>
                  <a:lnTo>
                    <a:pt x="749" y="5"/>
                  </a:lnTo>
                  <a:lnTo>
                    <a:pt x="771" y="5"/>
                  </a:lnTo>
                  <a:lnTo>
                    <a:pt x="804" y="57"/>
                  </a:lnTo>
                  <a:lnTo>
                    <a:pt x="808" y="107"/>
                  </a:lnTo>
                  <a:lnTo>
                    <a:pt x="830" y="111"/>
                  </a:lnTo>
                  <a:lnTo>
                    <a:pt x="841" y="116"/>
                  </a:lnTo>
                  <a:lnTo>
                    <a:pt x="841" y="149"/>
                  </a:lnTo>
                  <a:lnTo>
                    <a:pt x="841" y="168"/>
                  </a:lnTo>
                  <a:lnTo>
                    <a:pt x="808" y="189"/>
                  </a:lnTo>
                  <a:lnTo>
                    <a:pt x="792" y="189"/>
                  </a:lnTo>
                  <a:lnTo>
                    <a:pt x="778" y="206"/>
                  </a:lnTo>
                  <a:lnTo>
                    <a:pt x="761" y="239"/>
                  </a:lnTo>
                  <a:lnTo>
                    <a:pt x="754" y="272"/>
                  </a:lnTo>
                  <a:lnTo>
                    <a:pt x="749" y="279"/>
                  </a:lnTo>
                  <a:lnTo>
                    <a:pt x="740" y="312"/>
                  </a:lnTo>
                  <a:lnTo>
                    <a:pt x="719" y="329"/>
                  </a:lnTo>
                  <a:lnTo>
                    <a:pt x="707" y="371"/>
                  </a:lnTo>
                  <a:lnTo>
                    <a:pt x="702" y="383"/>
                  </a:lnTo>
                  <a:lnTo>
                    <a:pt x="685" y="383"/>
                  </a:lnTo>
                  <a:lnTo>
                    <a:pt x="685" y="390"/>
                  </a:lnTo>
                  <a:lnTo>
                    <a:pt x="669" y="395"/>
                  </a:lnTo>
                  <a:lnTo>
                    <a:pt x="669" y="428"/>
                  </a:lnTo>
                  <a:lnTo>
                    <a:pt x="652" y="444"/>
                  </a:lnTo>
                  <a:lnTo>
                    <a:pt x="652" y="461"/>
                  </a:lnTo>
                  <a:lnTo>
                    <a:pt x="643" y="478"/>
                  </a:lnTo>
                  <a:lnTo>
                    <a:pt x="643" y="478"/>
                  </a:lnTo>
                  <a:lnTo>
                    <a:pt x="643" y="478"/>
                  </a:lnTo>
                  <a:close/>
                  <a:moveTo>
                    <a:pt x="319" y="688"/>
                  </a:moveTo>
                  <a:lnTo>
                    <a:pt x="324" y="671"/>
                  </a:lnTo>
                  <a:lnTo>
                    <a:pt x="329" y="683"/>
                  </a:lnTo>
                  <a:lnTo>
                    <a:pt x="319" y="688"/>
                  </a:lnTo>
                  <a:lnTo>
                    <a:pt x="319" y="688"/>
                  </a:lnTo>
                  <a:lnTo>
                    <a:pt x="319" y="688"/>
                  </a:lnTo>
                  <a:close/>
                  <a:moveTo>
                    <a:pt x="341" y="683"/>
                  </a:moveTo>
                  <a:lnTo>
                    <a:pt x="329" y="683"/>
                  </a:lnTo>
                  <a:lnTo>
                    <a:pt x="341" y="683"/>
                  </a:lnTo>
                  <a:lnTo>
                    <a:pt x="341" y="683"/>
                  </a:lnTo>
                  <a:lnTo>
                    <a:pt x="341" y="683"/>
                  </a:lnTo>
                  <a:lnTo>
                    <a:pt x="341" y="68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6" name="Freeform 537">
              <a:extLst>
                <a:ext uri="{FF2B5EF4-FFF2-40B4-BE49-F238E27FC236}">
                  <a16:creationId xmlns:a16="http://schemas.microsoft.com/office/drawing/2014/main" id="{FE1A8822-A5F1-46B7-8E1C-454D83685DF1}"/>
                </a:ext>
              </a:extLst>
            </p:cNvPr>
            <p:cNvSpPr>
              <a:spLocks noEditPoints="1"/>
            </p:cNvSpPr>
            <p:nvPr/>
          </p:nvSpPr>
          <p:spPr bwMode="gray">
            <a:xfrm>
              <a:off x="6244993" y="3689166"/>
              <a:ext cx="88509" cy="51464"/>
            </a:xfrm>
            <a:custGeom>
              <a:avLst/>
              <a:gdLst>
                <a:gd name="T0" fmla="*/ 37 w 215"/>
                <a:gd name="T1" fmla="*/ 17 h 125"/>
                <a:gd name="T2" fmla="*/ 106 w 215"/>
                <a:gd name="T3" fmla="*/ 0 h 125"/>
                <a:gd name="T4" fmla="*/ 203 w 215"/>
                <a:gd name="T5" fmla="*/ 0 h 125"/>
                <a:gd name="T6" fmla="*/ 186 w 215"/>
                <a:gd name="T7" fmla="*/ 38 h 125"/>
                <a:gd name="T8" fmla="*/ 203 w 215"/>
                <a:gd name="T9" fmla="*/ 71 h 125"/>
                <a:gd name="T10" fmla="*/ 165 w 215"/>
                <a:gd name="T11" fmla="*/ 71 h 125"/>
                <a:gd name="T12" fmla="*/ 134 w 215"/>
                <a:gd name="T13" fmla="*/ 83 h 125"/>
                <a:gd name="T14" fmla="*/ 113 w 215"/>
                <a:gd name="T15" fmla="*/ 114 h 125"/>
                <a:gd name="T16" fmla="*/ 106 w 215"/>
                <a:gd name="T17" fmla="*/ 114 h 125"/>
                <a:gd name="T18" fmla="*/ 96 w 215"/>
                <a:gd name="T19" fmla="*/ 109 h 125"/>
                <a:gd name="T20" fmla="*/ 89 w 215"/>
                <a:gd name="T21" fmla="*/ 92 h 125"/>
                <a:gd name="T22" fmla="*/ 80 w 215"/>
                <a:gd name="T23" fmla="*/ 92 h 125"/>
                <a:gd name="T24" fmla="*/ 113 w 215"/>
                <a:gd name="T25" fmla="*/ 76 h 125"/>
                <a:gd name="T26" fmla="*/ 89 w 215"/>
                <a:gd name="T27" fmla="*/ 76 h 125"/>
                <a:gd name="T28" fmla="*/ 80 w 215"/>
                <a:gd name="T29" fmla="*/ 71 h 125"/>
                <a:gd name="T30" fmla="*/ 106 w 215"/>
                <a:gd name="T31" fmla="*/ 54 h 125"/>
                <a:gd name="T32" fmla="*/ 113 w 215"/>
                <a:gd name="T33" fmla="*/ 54 h 125"/>
                <a:gd name="T34" fmla="*/ 106 w 215"/>
                <a:gd name="T35" fmla="*/ 54 h 125"/>
                <a:gd name="T36" fmla="*/ 75 w 215"/>
                <a:gd name="T37" fmla="*/ 59 h 125"/>
                <a:gd name="T38" fmla="*/ 59 w 215"/>
                <a:gd name="T39" fmla="*/ 45 h 125"/>
                <a:gd name="T40" fmla="*/ 37 w 215"/>
                <a:gd name="T41" fmla="*/ 54 h 125"/>
                <a:gd name="T42" fmla="*/ 21 w 215"/>
                <a:gd name="T43" fmla="*/ 38 h 125"/>
                <a:gd name="T44" fmla="*/ 9 w 215"/>
                <a:gd name="T45" fmla="*/ 28 h 125"/>
                <a:gd name="T46" fmla="*/ 0 w 215"/>
                <a:gd name="T47" fmla="*/ 21 h 125"/>
                <a:gd name="T48" fmla="*/ 26 w 215"/>
                <a:gd name="T49" fmla="*/ 59 h 125"/>
                <a:gd name="T50" fmla="*/ 37 w 215"/>
                <a:gd name="T51" fmla="*/ 54 h 125"/>
                <a:gd name="T52" fmla="*/ 26 w 215"/>
                <a:gd name="T53" fmla="*/ 59 h 125"/>
                <a:gd name="T54" fmla="*/ 42 w 215"/>
                <a:gd name="T55" fmla="*/ 59 h 125"/>
                <a:gd name="T56" fmla="*/ 54 w 215"/>
                <a:gd name="T57" fmla="*/ 54 h 125"/>
                <a:gd name="T58" fmla="*/ 42 w 215"/>
                <a:gd name="T59" fmla="*/ 59 h 125"/>
                <a:gd name="T60" fmla="*/ 42 w 215"/>
                <a:gd name="T61" fmla="*/ 83 h 125"/>
                <a:gd name="T62" fmla="*/ 54 w 215"/>
                <a:gd name="T63" fmla="*/ 76 h 125"/>
                <a:gd name="T64" fmla="*/ 42 w 215"/>
                <a:gd name="T65" fmla="*/ 83 h 125"/>
                <a:gd name="T66" fmla="*/ 42 w 215"/>
                <a:gd name="T67" fmla="*/ 83 h 125"/>
                <a:gd name="T68" fmla="*/ 21 w 215"/>
                <a:gd name="T69" fmla="*/ 76 h 125"/>
                <a:gd name="T70" fmla="*/ 26 w 215"/>
                <a:gd name="T71" fmla="*/ 83 h 125"/>
                <a:gd name="T72" fmla="*/ 26 w 215"/>
                <a:gd name="T73" fmla="*/ 83 h 125"/>
                <a:gd name="T74" fmla="*/ 26 w 215"/>
                <a:gd name="T75" fmla="*/ 83 h 125"/>
                <a:gd name="T76" fmla="*/ 26 w 215"/>
                <a:gd name="T77" fmla="*/ 83 h 125"/>
                <a:gd name="T78" fmla="*/ 26 w 215"/>
                <a:gd name="T79" fmla="*/ 83 h 125"/>
                <a:gd name="T80" fmla="*/ 26 w 215"/>
                <a:gd name="T81" fmla="*/ 97 h 125"/>
                <a:gd name="T82" fmla="*/ 26 w 215"/>
                <a:gd name="T83" fmla="*/ 97 h 125"/>
                <a:gd name="T84" fmla="*/ 26 w 215"/>
                <a:gd name="T85" fmla="*/ 97 h 125"/>
                <a:gd name="T86" fmla="*/ 26 w 215"/>
                <a:gd name="T87" fmla="*/ 109 h 125"/>
                <a:gd name="T88" fmla="*/ 42 w 215"/>
                <a:gd name="T89" fmla="*/ 114 h 125"/>
                <a:gd name="T90" fmla="*/ 37 w 215"/>
                <a:gd name="T91" fmla="*/ 114 h 125"/>
                <a:gd name="T92" fmla="*/ 42 w 215"/>
                <a:gd name="T93" fmla="*/ 114 h 125"/>
                <a:gd name="T94" fmla="*/ 54 w 215"/>
                <a:gd name="T95" fmla="*/ 97 h 125"/>
                <a:gd name="T96" fmla="*/ 42 w 215"/>
                <a:gd name="T97" fmla="*/ 11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5" h="125">
                  <a:moveTo>
                    <a:pt x="0" y="21"/>
                  </a:moveTo>
                  <a:lnTo>
                    <a:pt x="37" y="17"/>
                  </a:lnTo>
                  <a:lnTo>
                    <a:pt x="63" y="17"/>
                  </a:lnTo>
                  <a:lnTo>
                    <a:pt x="106" y="0"/>
                  </a:lnTo>
                  <a:lnTo>
                    <a:pt x="165" y="0"/>
                  </a:lnTo>
                  <a:lnTo>
                    <a:pt x="203" y="0"/>
                  </a:lnTo>
                  <a:lnTo>
                    <a:pt x="215" y="21"/>
                  </a:lnTo>
                  <a:lnTo>
                    <a:pt x="186" y="38"/>
                  </a:lnTo>
                  <a:lnTo>
                    <a:pt x="203" y="45"/>
                  </a:lnTo>
                  <a:lnTo>
                    <a:pt x="203" y="71"/>
                  </a:lnTo>
                  <a:lnTo>
                    <a:pt x="186" y="71"/>
                  </a:lnTo>
                  <a:lnTo>
                    <a:pt x="165" y="71"/>
                  </a:lnTo>
                  <a:lnTo>
                    <a:pt x="148" y="76"/>
                  </a:lnTo>
                  <a:lnTo>
                    <a:pt x="134" y="83"/>
                  </a:lnTo>
                  <a:lnTo>
                    <a:pt x="113" y="125"/>
                  </a:lnTo>
                  <a:lnTo>
                    <a:pt x="113" y="114"/>
                  </a:lnTo>
                  <a:lnTo>
                    <a:pt x="113" y="97"/>
                  </a:lnTo>
                  <a:lnTo>
                    <a:pt x="106" y="114"/>
                  </a:lnTo>
                  <a:lnTo>
                    <a:pt x="106" y="97"/>
                  </a:lnTo>
                  <a:lnTo>
                    <a:pt x="96" y="109"/>
                  </a:lnTo>
                  <a:lnTo>
                    <a:pt x="89" y="109"/>
                  </a:lnTo>
                  <a:lnTo>
                    <a:pt x="89" y="92"/>
                  </a:lnTo>
                  <a:lnTo>
                    <a:pt x="96" y="83"/>
                  </a:lnTo>
                  <a:lnTo>
                    <a:pt x="80" y="92"/>
                  </a:lnTo>
                  <a:lnTo>
                    <a:pt x="96" y="76"/>
                  </a:lnTo>
                  <a:lnTo>
                    <a:pt x="113" y="76"/>
                  </a:lnTo>
                  <a:lnTo>
                    <a:pt x="96" y="71"/>
                  </a:lnTo>
                  <a:lnTo>
                    <a:pt x="89" y="76"/>
                  </a:lnTo>
                  <a:lnTo>
                    <a:pt x="89" y="71"/>
                  </a:lnTo>
                  <a:lnTo>
                    <a:pt x="80" y="71"/>
                  </a:lnTo>
                  <a:lnTo>
                    <a:pt x="89" y="54"/>
                  </a:lnTo>
                  <a:lnTo>
                    <a:pt x="106" y="54"/>
                  </a:lnTo>
                  <a:lnTo>
                    <a:pt x="118" y="59"/>
                  </a:lnTo>
                  <a:lnTo>
                    <a:pt x="113" y="54"/>
                  </a:lnTo>
                  <a:lnTo>
                    <a:pt x="118" y="45"/>
                  </a:lnTo>
                  <a:lnTo>
                    <a:pt x="106" y="54"/>
                  </a:lnTo>
                  <a:lnTo>
                    <a:pt x="89" y="45"/>
                  </a:lnTo>
                  <a:lnTo>
                    <a:pt x="75" y="59"/>
                  </a:lnTo>
                  <a:lnTo>
                    <a:pt x="54" y="59"/>
                  </a:lnTo>
                  <a:lnTo>
                    <a:pt x="59" y="45"/>
                  </a:lnTo>
                  <a:lnTo>
                    <a:pt x="63" y="45"/>
                  </a:lnTo>
                  <a:lnTo>
                    <a:pt x="37" y="54"/>
                  </a:lnTo>
                  <a:lnTo>
                    <a:pt x="26" y="54"/>
                  </a:lnTo>
                  <a:lnTo>
                    <a:pt x="21" y="38"/>
                  </a:lnTo>
                  <a:lnTo>
                    <a:pt x="42" y="21"/>
                  </a:lnTo>
                  <a:lnTo>
                    <a:pt x="9" y="28"/>
                  </a:lnTo>
                  <a:lnTo>
                    <a:pt x="0" y="21"/>
                  </a:lnTo>
                  <a:lnTo>
                    <a:pt x="0" y="21"/>
                  </a:lnTo>
                  <a:lnTo>
                    <a:pt x="0" y="21"/>
                  </a:lnTo>
                  <a:close/>
                  <a:moveTo>
                    <a:pt x="26" y="59"/>
                  </a:moveTo>
                  <a:lnTo>
                    <a:pt x="26" y="45"/>
                  </a:lnTo>
                  <a:lnTo>
                    <a:pt x="37" y="54"/>
                  </a:lnTo>
                  <a:lnTo>
                    <a:pt x="26" y="59"/>
                  </a:lnTo>
                  <a:lnTo>
                    <a:pt x="26" y="59"/>
                  </a:lnTo>
                  <a:lnTo>
                    <a:pt x="26" y="59"/>
                  </a:lnTo>
                  <a:close/>
                  <a:moveTo>
                    <a:pt x="42" y="59"/>
                  </a:moveTo>
                  <a:lnTo>
                    <a:pt x="37" y="54"/>
                  </a:lnTo>
                  <a:lnTo>
                    <a:pt x="54" y="54"/>
                  </a:lnTo>
                  <a:lnTo>
                    <a:pt x="42" y="59"/>
                  </a:lnTo>
                  <a:lnTo>
                    <a:pt x="42" y="59"/>
                  </a:lnTo>
                  <a:lnTo>
                    <a:pt x="42" y="59"/>
                  </a:lnTo>
                  <a:close/>
                  <a:moveTo>
                    <a:pt x="42" y="83"/>
                  </a:moveTo>
                  <a:lnTo>
                    <a:pt x="42" y="76"/>
                  </a:lnTo>
                  <a:lnTo>
                    <a:pt x="54" y="76"/>
                  </a:lnTo>
                  <a:lnTo>
                    <a:pt x="54" y="83"/>
                  </a:lnTo>
                  <a:lnTo>
                    <a:pt x="42" y="83"/>
                  </a:lnTo>
                  <a:lnTo>
                    <a:pt x="42" y="83"/>
                  </a:lnTo>
                  <a:lnTo>
                    <a:pt x="42" y="83"/>
                  </a:lnTo>
                  <a:close/>
                  <a:moveTo>
                    <a:pt x="26" y="83"/>
                  </a:moveTo>
                  <a:lnTo>
                    <a:pt x="21" y="76"/>
                  </a:lnTo>
                  <a:lnTo>
                    <a:pt x="26" y="76"/>
                  </a:lnTo>
                  <a:lnTo>
                    <a:pt x="26" y="83"/>
                  </a:lnTo>
                  <a:lnTo>
                    <a:pt x="26" y="83"/>
                  </a:lnTo>
                  <a:lnTo>
                    <a:pt x="26" y="83"/>
                  </a:lnTo>
                  <a:close/>
                  <a:moveTo>
                    <a:pt x="26" y="83"/>
                  </a:moveTo>
                  <a:lnTo>
                    <a:pt x="26" y="83"/>
                  </a:lnTo>
                  <a:lnTo>
                    <a:pt x="37" y="76"/>
                  </a:lnTo>
                  <a:lnTo>
                    <a:pt x="26" y="83"/>
                  </a:lnTo>
                  <a:lnTo>
                    <a:pt x="26" y="83"/>
                  </a:lnTo>
                  <a:lnTo>
                    <a:pt x="26" y="83"/>
                  </a:lnTo>
                  <a:close/>
                  <a:moveTo>
                    <a:pt x="26" y="97"/>
                  </a:moveTo>
                  <a:lnTo>
                    <a:pt x="26" y="97"/>
                  </a:lnTo>
                  <a:lnTo>
                    <a:pt x="37" y="97"/>
                  </a:lnTo>
                  <a:lnTo>
                    <a:pt x="26" y="97"/>
                  </a:lnTo>
                  <a:lnTo>
                    <a:pt x="26" y="97"/>
                  </a:lnTo>
                  <a:lnTo>
                    <a:pt x="26" y="97"/>
                  </a:lnTo>
                  <a:close/>
                  <a:moveTo>
                    <a:pt x="37" y="114"/>
                  </a:moveTo>
                  <a:lnTo>
                    <a:pt x="26" y="109"/>
                  </a:lnTo>
                  <a:lnTo>
                    <a:pt x="42" y="97"/>
                  </a:lnTo>
                  <a:lnTo>
                    <a:pt x="42" y="114"/>
                  </a:lnTo>
                  <a:lnTo>
                    <a:pt x="37" y="114"/>
                  </a:lnTo>
                  <a:lnTo>
                    <a:pt x="37" y="114"/>
                  </a:lnTo>
                  <a:lnTo>
                    <a:pt x="37" y="114"/>
                  </a:lnTo>
                  <a:close/>
                  <a:moveTo>
                    <a:pt x="42" y="114"/>
                  </a:moveTo>
                  <a:lnTo>
                    <a:pt x="42" y="109"/>
                  </a:lnTo>
                  <a:lnTo>
                    <a:pt x="54" y="97"/>
                  </a:lnTo>
                  <a:lnTo>
                    <a:pt x="42" y="114"/>
                  </a:lnTo>
                  <a:lnTo>
                    <a:pt x="42" y="114"/>
                  </a:lnTo>
                  <a:lnTo>
                    <a:pt x="42" y="11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7" name="Freeform 538">
              <a:extLst>
                <a:ext uri="{FF2B5EF4-FFF2-40B4-BE49-F238E27FC236}">
                  <a16:creationId xmlns:a16="http://schemas.microsoft.com/office/drawing/2014/main" id="{D2B7C96F-74BC-409F-A7C1-FFB3FCCCA8D9}"/>
                </a:ext>
              </a:extLst>
            </p:cNvPr>
            <p:cNvSpPr>
              <a:spLocks/>
            </p:cNvSpPr>
            <p:nvPr/>
          </p:nvSpPr>
          <p:spPr bwMode="gray">
            <a:xfrm>
              <a:off x="8189722" y="3270861"/>
              <a:ext cx="26347" cy="52699"/>
            </a:xfrm>
            <a:custGeom>
              <a:avLst/>
              <a:gdLst>
                <a:gd name="T0" fmla="*/ 42 w 64"/>
                <a:gd name="T1" fmla="*/ 116 h 128"/>
                <a:gd name="T2" fmla="*/ 16 w 64"/>
                <a:gd name="T3" fmla="*/ 128 h 128"/>
                <a:gd name="T4" fmla="*/ 12 w 64"/>
                <a:gd name="T5" fmla="*/ 111 h 128"/>
                <a:gd name="T6" fmla="*/ 0 w 64"/>
                <a:gd name="T7" fmla="*/ 55 h 128"/>
                <a:gd name="T8" fmla="*/ 12 w 64"/>
                <a:gd name="T9" fmla="*/ 55 h 128"/>
                <a:gd name="T10" fmla="*/ 12 w 64"/>
                <a:gd name="T11" fmla="*/ 45 h 128"/>
                <a:gd name="T12" fmla="*/ 16 w 64"/>
                <a:gd name="T13" fmla="*/ 38 h 128"/>
                <a:gd name="T14" fmla="*/ 16 w 64"/>
                <a:gd name="T15" fmla="*/ 38 h 128"/>
                <a:gd name="T16" fmla="*/ 26 w 64"/>
                <a:gd name="T17" fmla="*/ 5 h 128"/>
                <a:gd name="T18" fmla="*/ 42 w 64"/>
                <a:gd name="T19" fmla="*/ 0 h 128"/>
                <a:gd name="T20" fmla="*/ 47 w 64"/>
                <a:gd name="T21" fmla="*/ 17 h 128"/>
                <a:gd name="T22" fmla="*/ 64 w 64"/>
                <a:gd name="T23" fmla="*/ 22 h 128"/>
                <a:gd name="T24" fmla="*/ 64 w 64"/>
                <a:gd name="T25" fmla="*/ 38 h 128"/>
                <a:gd name="T26" fmla="*/ 54 w 64"/>
                <a:gd name="T27" fmla="*/ 55 h 128"/>
                <a:gd name="T28" fmla="*/ 54 w 64"/>
                <a:gd name="T29" fmla="*/ 71 h 128"/>
                <a:gd name="T30" fmla="*/ 64 w 64"/>
                <a:gd name="T31" fmla="*/ 71 h 128"/>
                <a:gd name="T32" fmla="*/ 64 w 64"/>
                <a:gd name="T33" fmla="*/ 83 h 128"/>
                <a:gd name="T34" fmla="*/ 47 w 64"/>
                <a:gd name="T35" fmla="*/ 128 h 128"/>
                <a:gd name="T36" fmla="*/ 42 w 64"/>
                <a:gd name="T37" fmla="*/ 116 h 128"/>
                <a:gd name="T38" fmla="*/ 42 w 64"/>
                <a:gd name="T39" fmla="*/ 116 h 128"/>
                <a:gd name="T40" fmla="*/ 42 w 64"/>
                <a:gd name="T41" fmla="*/ 1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128">
                  <a:moveTo>
                    <a:pt x="42" y="116"/>
                  </a:moveTo>
                  <a:lnTo>
                    <a:pt x="16" y="128"/>
                  </a:lnTo>
                  <a:lnTo>
                    <a:pt x="12" y="111"/>
                  </a:lnTo>
                  <a:lnTo>
                    <a:pt x="0" y="55"/>
                  </a:lnTo>
                  <a:lnTo>
                    <a:pt x="12" y="55"/>
                  </a:lnTo>
                  <a:lnTo>
                    <a:pt x="12" y="45"/>
                  </a:lnTo>
                  <a:lnTo>
                    <a:pt x="16" y="38"/>
                  </a:lnTo>
                  <a:lnTo>
                    <a:pt x="16" y="38"/>
                  </a:lnTo>
                  <a:lnTo>
                    <a:pt x="26" y="5"/>
                  </a:lnTo>
                  <a:lnTo>
                    <a:pt x="42" y="0"/>
                  </a:lnTo>
                  <a:lnTo>
                    <a:pt x="47" y="17"/>
                  </a:lnTo>
                  <a:lnTo>
                    <a:pt x="64" y="22"/>
                  </a:lnTo>
                  <a:lnTo>
                    <a:pt x="64" y="38"/>
                  </a:lnTo>
                  <a:lnTo>
                    <a:pt x="54" y="55"/>
                  </a:lnTo>
                  <a:lnTo>
                    <a:pt x="54" y="71"/>
                  </a:lnTo>
                  <a:lnTo>
                    <a:pt x="64" y="71"/>
                  </a:lnTo>
                  <a:lnTo>
                    <a:pt x="64" y="83"/>
                  </a:lnTo>
                  <a:lnTo>
                    <a:pt x="47" y="128"/>
                  </a:lnTo>
                  <a:lnTo>
                    <a:pt x="42" y="116"/>
                  </a:lnTo>
                  <a:lnTo>
                    <a:pt x="42" y="116"/>
                  </a:lnTo>
                  <a:lnTo>
                    <a:pt x="42" y="11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8" name="Freeform 539">
              <a:extLst>
                <a:ext uri="{FF2B5EF4-FFF2-40B4-BE49-F238E27FC236}">
                  <a16:creationId xmlns:a16="http://schemas.microsoft.com/office/drawing/2014/main" id="{CFC30B85-3A0B-4367-AFA7-C6F4EAB0C0F7}"/>
                </a:ext>
              </a:extLst>
            </p:cNvPr>
            <p:cNvSpPr>
              <a:spLocks/>
            </p:cNvSpPr>
            <p:nvPr/>
          </p:nvSpPr>
          <p:spPr bwMode="gray">
            <a:xfrm>
              <a:off x="8319811" y="4692929"/>
              <a:ext cx="19760" cy="15645"/>
            </a:xfrm>
            <a:custGeom>
              <a:avLst/>
              <a:gdLst>
                <a:gd name="T0" fmla="*/ 34 w 48"/>
                <a:gd name="T1" fmla="*/ 5 h 38"/>
                <a:gd name="T2" fmla="*/ 48 w 48"/>
                <a:gd name="T3" fmla="*/ 21 h 38"/>
                <a:gd name="T4" fmla="*/ 38 w 48"/>
                <a:gd name="T5" fmla="*/ 33 h 38"/>
                <a:gd name="T6" fmla="*/ 34 w 48"/>
                <a:gd name="T7" fmla="*/ 38 h 38"/>
                <a:gd name="T8" fmla="*/ 8 w 48"/>
                <a:gd name="T9" fmla="*/ 33 h 38"/>
                <a:gd name="T10" fmla="*/ 0 w 48"/>
                <a:gd name="T11" fmla="*/ 16 h 38"/>
                <a:gd name="T12" fmla="*/ 17 w 48"/>
                <a:gd name="T13" fmla="*/ 0 h 38"/>
                <a:gd name="T14" fmla="*/ 34 w 48"/>
                <a:gd name="T15" fmla="*/ 0 h 38"/>
                <a:gd name="T16" fmla="*/ 34 w 48"/>
                <a:gd name="T17" fmla="*/ 5 h 38"/>
                <a:gd name="T18" fmla="*/ 34 w 48"/>
                <a:gd name="T19" fmla="*/ 5 h 38"/>
                <a:gd name="T20" fmla="*/ 34 w 48"/>
                <a:gd name="T21"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38">
                  <a:moveTo>
                    <a:pt x="34" y="5"/>
                  </a:moveTo>
                  <a:lnTo>
                    <a:pt x="48" y="21"/>
                  </a:lnTo>
                  <a:lnTo>
                    <a:pt x="38" y="33"/>
                  </a:lnTo>
                  <a:lnTo>
                    <a:pt x="34" y="38"/>
                  </a:lnTo>
                  <a:lnTo>
                    <a:pt x="8" y="33"/>
                  </a:lnTo>
                  <a:lnTo>
                    <a:pt x="0" y="16"/>
                  </a:lnTo>
                  <a:lnTo>
                    <a:pt x="17" y="0"/>
                  </a:lnTo>
                  <a:lnTo>
                    <a:pt x="34" y="0"/>
                  </a:lnTo>
                  <a:lnTo>
                    <a:pt x="34" y="5"/>
                  </a:lnTo>
                  <a:lnTo>
                    <a:pt x="34" y="5"/>
                  </a:lnTo>
                  <a:lnTo>
                    <a:pt x="34" y="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9" name="Freeform 544">
              <a:extLst>
                <a:ext uri="{FF2B5EF4-FFF2-40B4-BE49-F238E27FC236}">
                  <a16:creationId xmlns:a16="http://schemas.microsoft.com/office/drawing/2014/main" id="{6A7B77EB-261F-4CE5-89D9-1E3CD9EE1EBB}"/>
                </a:ext>
              </a:extLst>
            </p:cNvPr>
            <p:cNvSpPr>
              <a:spLocks/>
            </p:cNvSpPr>
            <p:nvPr/>
          </p:nvSpPr>
          <p:spPr bwMode="gray">
            <a:xfrm>
              <a:off x="7557810" y="4095528"/>
              <a:ext cx="59281" cy="51876"/>
            </a:xfrm>
            <a:custGeom>
              <a:avLst/>
              <a:gdLst>
                <a:gd name="T0" fmla="*/ 16 w 144"/>
                <a:gd name="T1" fmla="*/ 126 h 126"/>
                <a:gd name="T2" fmla="*/ 9 w 144"/>
                <a:gd name="T3" fmla="*/ 119 h 126"/>
                <a:gd name="T4" fmla="*/ 0 w 144"/>
                <a:gd name="T5" fmla="*/ 97 h 126"/>
                <a:gd name="T6" fmla="*/ 21 w 144"/>
                <a:gd name="T7" fmla="*/ 88 h 126"/>
                <a:gd name="T8" fmla="*/ 21 w 144"/>
                <a:gd name="T9" fmla="*/ 64 h 126"/>
                <a:gd name="T10" fmla="*/ 30 w 144"/>
                <a:gd name="T11" fmla="*/ 43 h 126"/>
                <a:gd name="T12" fmla="*/ 54 w 144"/>
                <a:gd name="T13" fmla="*/ 26 h 126"/>
                <a:gd name="T14" fmla="*/ 68 w 144"/>
                <a:gd name="T15" fmla="*/ 26 h 126"/>
                <a:gd name="T16" fmla="*/ 85 w 144"/>
                <a:gd name="T17" fmla="*/ 34 h 126"/>
                <a:gd name="T18" fmla="*/ 106 w 144"/>
                <a:gd name="T19" fmla="*/ 0 h 126"/>
                <a:gd name="T20" fmla="*/ 118 w 144"/>
                <a:gd name="T21" fmla="*/ 0 h 126"/>
                <a:gd name="T22" fmla="*/ 122 w 144"/>
                <a:gd name="T23" fmla="*/ 26 h 126"/>
                <a:gd name="T24" fmla="*/ 129 w 144"/>
                <a:gd name="T25" fmla="*/ 34 h 126"/>
                <a:gd name="T26" fmla="*/ 139 w 144"/>
                <a:gd name="T27" fmla="*/ 50 h 126"/>
                <a:gd name="T28" fmla="*/ 139 w 144"/>
                <a:gd name="T29" fmla="*/ 64 h 126"/>
                <a:gd name="T30" fmla="*/ 144 w 144"/>
                <a:gd name="T31" fmla="*/ 71 h 126"/>
                <a:gd name="T32" fmla="*/ 139 w 144"/>
                <a:gd name="T33" fmla="*/ 97 h 126"/>
                <a:gd name="T34" fmla="*/ 122 w 144"/>
                <a:gd name="T35" fmla="*/ 97 h 126"/>
                <a:gd name="T36" fmla="*/ 106 w 144"/>
                <a:gd name="T37" fmla="*/ 97 h 126"/>
                <a:gd name="T38" fmla="*/ 92 w 144"/>
                <a:gd name="T39" fmla="*/ 104 h 126"/>
                <a:gd name="T40" fmla="*/ 75 w 144"/>
                <a:gd name="T41" fmla="*/ 97 h 126"/>
                <a:gd name="T42" fmla="*/ 68 w 144"/>
                <a:gd name="T43" fmla="*/ 126 h 126"/>
                <a:gd name="T44" fmla="*/ 37 w 144"/>
                <a:gd name="T45" fmla="*/ 126 h 126"/>
                <a:gd name="T46" fmla="*/ 37 w 144"/>
                <a:gd name="T47" fmla="*/ 119 h 126"/>
                <a:gd name="T48" fmla="*/ 21 w 144"/>
                <a:gd name="T49" fmla="*/ 109 h 126"/>
                <a:gd name="T50" fmla="*/ 16 w 144"/>
                <a:gd name="T51" fmla="*/ 109 h 126"/>
                <a:gd name="T52" fmla="*/ 16 w 144"/>
                <a:gd name="T53" fmla="*/ 126 h 126"/>
                <a:gd name="T54" fmla="*/ 16 w 144"/>
                <a:gd name="T55" fmla="*/ 126 h 126"/>
                <a:gd name="T56" fmla="*/ 16 w 144"/>
                <a:gd name="T5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26">
                  <a:moveTo>
                    <a:pt x="16" y="126"/>
                  </a:moveTo>
                  <a:lnTo>
                    <a:pt x="9" y="119"/>
                  </a:lnTo>
                  <a:lnTo>
                    <a:pt x="0" y="97"/>
                  </a:lnTo>
                  <a:lnTo>
                    <a:pt x="21" y="88"/>
                  </a:lnTo>
                  <a:lnTo>
                    <a:pt x="21" y="64"/>
                  </a:lnTo>
                  <a:lnTo>
                    <a:pt x="30" y="43"/>
                  </a:lnTo>
                  <a:lnTo>
                    <a:pt x="54" y="26"/>
                  </a:lnTo>
                  <a:lnTo>
                    <a:pt x="68" y="26"/>
                  </a:lnTo>
                  <a:lnTo>
                    <a:pt x="85" y="34"/>
                  </a:lnTo>
                  <a:lnTo>
                    <a:pt x="106" y="0"/>
                  </a:lnTo>
                  <a:lnTo>
                    <a:pt x="118" y="0"/>
                  </a:lnTo>
                  <a:lnTo>
                    <a:pt x="122" y="26"/>
                  </a:lnTo>
                  <a:lnTo>
                    <a:pt x="129" y="34"/>
                  </a:lnTo>
                  <a:lnTo>
                    <a:pt x="139" y="50"/>
                  </a:lnTo>
                  <a:lnTo>
                    <a:pt x="139" y="64"/>
                  </a:lnTo>
                  <a:lnTo>
                    <a:pt x="144" y="71"/>
                  </a:lnTo>
                  <a:lnTo>
                    <a:pt x="139" y="97"/>
                  </a:lnTo>
                  <a:lnTo>
                    <a:pt x="122" y="97"/>
                  </a:lnTo>
                  <a:lnTo>
                    <a:pt x="106" y="97"/>
                  </a:lnTo>
                  <a:lnTo>
                    <a:pt x="92" y="104"/>
                  </a:lnTo>
                  <a:lnTo>
                    <a:pt x="75" y="97"/>
                  </a:lnTo>
                  <a:lnTo>
                    <a:pt x="68" y="126"/>
                  </a:lnTo>
                  <a:lnTo>
                    <a:pt x="37" y="126"/>
                  </a:lnTo>
                  <a:lnTo>
                    <a:pt x="37" y="119"/>
                  </a:lnTo>
                  <a:lnTo>
                    <a:pt x="21" y="109"/>
                  </a:lnTo>
                  <a:lnTo>
                    <a:pt x="16" y="109"/>
                  </a:lnTo>
                  <a:lnTo>
                    <a:pt x="16" y="126"/>
                  </a:lnTo>
                  <a:lnTo>
                    <a:pt x="16" y="126"/>
                  </a:lnTo>
                  <a:lnTo>
                    <a:pt x="16" y="1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40" name="Freeform 545">
              <a:extLst>
                <a:ext uri="{FF2B5EF4-FFF2-40B4-BE49-F238E27FC236}">
                  <a16:creationId xmlns:a16="http://schemas.microsoft.com/office/drawing/2014/main" id="{DDF4B3B4-782D-4E96-B62A-82EB8BF06EDC}"/>
                </a:ext>
              </a:extLst>
            </p:cNvPr>
            <p:cNvSpPr>
              <a:spLocks noEditPoints="1"/>
            </p:cNvSpPr>
            <p:nvPr/>
          </p:nvSpPr>
          <p:spPr bwMode="gray">
            <a:xfrm>
              <a:off x="7722065" y="3076532"/>
              <a:ext cx="610507" cy="521233"/>
            </a:xfrm>
            <a:custGeom>
              <a:avLst/>
              <a:gdLst>
                <a:gd name="T0" fmla="*/ 997 w 1483"/>
                <a:gd name="T1" fmla="*/ 1070 h 1266"/>
                <a:gd name="T2" fmla="*/ 694 w 1483"/>
                <a:gd name="T3" fmla="*/ 1139 h 1266"/>
                <a:gd name="T4" fmla="*/ 619 w 1483"/>
                <a:gd name="T5" fmla="*/ 1127 h 1266"/>
                <a:gd name="T6" fmla="*/ 609 w 1483"/>
                <a:gd name="T7" fmla="*/ 1193 h 1266"/>
                <a:gd name="T8" fmla="*/ 581 w 1483"/>
                <a:gd name="T9" fmla="*/ 1209 h 1266"/>
                <a:gd name="T10" fmla="*/ 567 w 1483"/>
                <a:gd name="T11" fmla="*/ 1172 h 1266"/>
                <a:gd name="T12" fmla="*/ 550 w 1483"/>
                <a:gd name="T13" fmla="*/ 1127 h 1266"/>
                <a:gd name="T14" fmla="*/ 475 w 1483"/>
                <a:gd name="T15" fmla="*/ 1044 h 1266"/>
                <a:gd name="T16" fmla="*/ 463 w 1483"/>
                <a:gd name="T17" fmla="*/ 1011 h 1266"/>
                <a:gd name="T18" fmla="*/ 441 w 1483"/>
                <a:gd name="T19" fmla="*/ 971 h 1266"/>
                <a:gd name="T20" fmla="*/ 378 w 1483"/>
                <a:gd name="T21" fmla="*/ 921 h 1266"/>
                <a:gd name="T22" fmla="*/ 323 w 1483"/>
                <a:gd name="T23" fmla="*/ 860 h 1266"/>
                <a:gd name="T24" fmla="*/ 312 w 1483"/>
                <a:gd name="T25" fmla="*/ 805 h 1266"/>
                <a:gd name="T26" fmla="*/ 278 w 1483"/>
                <a:gd name="T27" fmla="*/ 654 h 1266"/>
                <a:gd name="T28" fmla="*/ 189 w 1483"/>
                <a:gd name="T29" fmla="*/ 572 h 1266"/>
                <a:gd name="T30" fmla="*/ 172 w 1483"/>
                <a:gd name="T31" fmla="*/ 510 h 1266"/>
                <a:gd name="T32" fmla="*/ 156 w 1483"/>
                <a:gd name="T33" fmla="*/ 489 h 1266"/>
                <a:gd name="T34" fmla="*/ 47 w 1483"/>
                <a:gd name="T35" fmla="*/ 326 h 1266"/>
                <a:gd name="T36" fmla="*/ 0 w 1483"/>
                <a:gd name="T37" fmla="*/ 321 h 1266"/>
                <a:gd name="T38" fmla="*/ 106 w 1483"/>
                <a:gd name="T39" fmla="*/ 239 h 1266"/>
                <a:gd name="T40" fmla="*/ 210 w 1483"/>
                <a:gd name="T41" fmla="*/ 177 h 1266"/>
                <a:gd name="T42" fmla="*/ 172 w 1483"/>
                <a:gd name="T43" fmla="*/ 50 h 1266"/>
                <a:gd name="T44" fmla="*/ 408 w 1483"/>
                <a:gd name="T45" fmla="*/ 17 h 1266"/>
                <a:gd name="T46" fmla="*/ 718 w 1483"/>
                <a:gd name="T47" fmla="*/ 239 h 1266"/>
                <a:gd name="T48" fmla="*/ 928 w 1483"/>
                <a:gd name="T49" fmla="*/ 288 h 1266"/>
                <a:gd name="T50" fmla="*/ 987 w 1483"/>
                <a:gd name="T51" fmla="*/ 326 h 1266"/>
                <a:gd name="T52" fmla="*/ 1004 w 1483"/>
                <a:gd name="T53" fmla="*/ 345 h 1266"/>
                <a:gd name="T54" fmla="*/ 1034 w 1483"/>
                <a:gd name="T55" fmla="*/ 378 h 1266"/>
                <a:gd name="T56" fmla="*/ 1051 w 1483"/>
                <a:gd name="T57" fmla="*/ 387 h 1266"/>
                <a:gd name="T58" fmla="*/ 1089 w 1483"/>
                <a:gd name="T59" fmla="*/ 432 h 1266"/>
                <a:gd name="T60" fmla="*/ 1105 w 1483"/>
                <a:gd name="T61" fmla="*/ 461 h 1266"/>
                <a:gd name="T62" fmla="*/ 1089 w 1483"/>
                <a:gd name="T63" fmla="*/ 489 h 1266"/>
                <a:gd name="T64" fmla="*/ 1122 w 1483"/>
                <a:gd name="T65" fmla="*/ 531 h 1266"/>
                <a:gd name="T66" fmla="*/ 1143 w 1483"/>
                <a:gd name="T67" fmla="*/ 583 h 1266"/>
                <a:gd name="T68" fmla="*/ 1176 w 1483"/>
                <a:gd name="T69" fmla="*/ 588 h 1266"/>
                <a:gd name="T70" fmla="*/ 1186 w 1483"/>
                <a:gd name="T71" fmla="*/ 600 h 1266"/>
                <a:gd name="T72" fmla="*/ 1197 w 1483"/>
                <a:gd name="T73" fmla="*/ 626 h 1266"/>
                <a:gd name="T74" fmla="*/ 1450 w 1483"/>
                <a:gd name="T75" fmla="*/ 737 h 1266"/>
                <a:gd name="T76" fmla="*/ 1436 w 1483"/>
                <a:gd name="T77" fmla="*/ 938 h 1266"/>
                <a:gd name="T78" fmla="*/ 9 w 1483"/>
                <a:gd name="T79" fmla="*/ 333 h 1266"/>
                <a:gd name="T80" fmla="*/ 0 w 1483"/>
                <a:gd name="T81" fmla="*/ 326 h 1266"/>
                <a:gd name="T82" fmla="*/ 1051 w 1483"/>
                <a:gd name="T83" fmla="*/ 383 h 1266"/>
                <a:gd name="T84" fmla="*/ 1051 w 1483"/>
                <a:gd name="T85" fmla="*/ 383 h 1266"/>
                <a:gd name="T86" fmla="*/ 517 w 1483"/>
                <a:gd name="T87" fmla="*/ 1172 h 1266"/>
                <a:gd name="T88" fmla="*/ 517 w 1483"/>
                <a:gd name="T89" fmla="*/ 1172 h 1266"/>
                <a:gd name="T90" fmla="*/ 517 w 1483"/>
                <a:gd name="T91" fmla="*/ 1172 h 1266"/>
                <a:gd name="T92" fmla="*/ 512 w 1483"/>
                <a:gd name="T93" fmla="*/ 1181 h 1266"/>
                <a:gd name="T94" fmla="*/ 529 w 1483"/>
                <a:gd name="T95" fmla="*/ 1181 h 1266"/>
                <a:gd name="T96" fmla="*/ 534 w 1483"/>
                <a:gd name="T97" fmla="*/ 1200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3" h="1266">
                  <a:moveTo>
                    <a:pt x="1436" y="938"/>
                  </a:moveTo>
                  <a:lnTo>
                    <a:pt x="1230" y="1016"/>
                  </a:lnTo>
                  <a:lnTo>
                    <a:pt x="997" y="1070"/>
                  </a:lnTo>
                  <a:lnTo>
                    <a:pt x="824" y="1266"/>
                  </a:lnTo>
                  <a:lnTo>
                    <a:pt x="824" y="1193"/>
                  </a:lnTo>
                  <a:lnTo>
                    <a:pt x="694" y="1139"/>
                  </a:lnTo>
                  <a:lnTo>
                    <a:pt x="656" y="1143"/>
                  </a:lnTo>
                  <a:lnTo>
                    <a:pt x="635" y="1127"/>
                  </a:lnTo>
                  <a:lnTo>
                    <a:pt x="619" y="1127"/>
                  </a:lnTo>
                  <a:lnTo>
                    <a:pt x="609" y="1139"/>
                  </a:lnTo>
                  <a:lnTo>
                    <a:pt x="604" y="1172"/>
                  </a:lnTo>
                  <a:lnTo>
                    <a:pt x="609" y="1193"/>
                  </a:lnTo>
                  <a:lnTo>
                    <a:pt x="604" y="1193"/>
                  </a:lnTo>
                  <a:lnTo>
                    <a:pt x="593" y="1200"/>
                  </a:lnTo>
                  <a:lnTo>
                    <a:pt x="581" y="1209"/>
                  </a:lnTo>
                  <a:lnTo>
                    <a:pt x="581" y="1193"/>
                  </a:lnTo>
                  <a:lnTo>
                    <a:pt x="567" y="1176"/>
                  </a:lnTo>
                  <a:lnTo>
                    <a:pt x="567" y="1172"/>
                  </a:lnTo>
                  <a:lnTo>
                    <a:pt x="555" y="1155"/>
                  </a:lnTo>
                  <a:lnTo>
                    <a:pt x="550" y="1160"/>
                  </a:lnTo>
                  <a:lnTo>
                    <a:pt x="550" y="1127"/>
                  </a:lnTo>
                  <a:lnTo>
                    <a:pt x="500" y="1098"/>
                  </a:lnTo>
                  <a:lnTo>
                    <a:pt x="484" y="1061"/>
                  </a:lnTo>
                  <a:lnTo>
                    <a:pt x="475" y="1044"/>
                  </a:lnTo>
                  <a:lnTo>
                    <a:pt x="475" y="1028"/>
                  </a:lnTo>
                  <a:lnTo>
                    <a:pt x="463" y="1016"/>
                  </a:lnTo>
                  <a:lnTo>
                    <a:pt x="463" y="1011"/>
                  </a:lnTo>
                  <a:lnTo>
                    <a:pt x="458" y="1004"/>
                  </a:lnTo>
                  <a:lnTo>
                    <a:pt x="446" y="987"/>
                  </a:lnTo>
                  <a:lnTo>
                    <a:pt x="441" y="971"/>
                  </a:lnTo>
                  <a:lnTo>
                    <a:pt x="441" y="959"/>
                  </a:lnTo>
                  <a:lnTo>
                    <a:pt x="392" y="921"/>
                  </a:lnTo>
                  <a:lnTo>
                    <a:pt x="378" y="921"/>
                  </a:lnTo>
                  <a:lnTo>
                    <a:pt x="366" y="905"/>
                  </a:lnTo>
                  <a:lnTo>
                    <a:pt x="349" y="883"/>
                  </a:lnTo>
                  <a:lnTo>
                    <a:pt x="323" y="860"/>
                  </a:lnTo>
                  <a:lnTo>
                    <a:pt x="323" y="843"/>
                  </a:lnTo>
                  <a:lnTo>
                    <a:pt x="323" y="827"/>
                  </a:lnTo>
                  <a:lnTo>
                    <a:pt x="312" y="805"/>
                  </a:lnTo>
                  <a:lnTo>
                    <a:pt x="323" y="765"/>
                  </a:lnTo>
                  <a:lnTo>
                    <a:pt x="316" y="749"/>
                  </a:lnTo>
                  <a:lnTo>
                    <a:pt x="278" y="654"/>
                  </a:lnTo>
                  <a:lnTo>
                    <a:pt x="257" y="638"/>
                  </a:lnTo>
                  <a:lnTo>
                    <a:pt x="203" y="609"/>
                  </a:lnTo>
                  <a:lnTo>
                    <a:pt x="189" y="572"/>
                  </a:lnTo>
                  <a:lnTo>
                    <a:pt x="193" y="572"/>
                  </a:lnTo>
                  <a:lnTo>
                    <a:pt x="189" y="548"/>
                  </a:lnTo>
                  <a:lnTo>
                    <a:pt x="172" y="510"/>
                  </a:lnTo>
                  <a:lnTo>
                    <a:pt x="156" y="498"/>
                  </a:lnTo>
                  <a:lnTo>
                    <a:pt x="151" y="494"/>
                  </a:lnTo>
                  <a:lnTo>
                    <a:pt x="156" y="489"/>
                  </a:lnTo>
                  <a:lnTo>
                    <a:pt x="139" y="477"/>
                  </a:lnTo>
                  <a:lnTo>
                    <a:pt x="118" y="437"/>
                  </a:lnTo>
                  <a:lnTo>
                    <a:pt x="47" y="326"/>
                  </a:lnTo>
                  <a:lnTo>
                    <a:pt x="14" y="321"/>
                  </a:lnTo>
                  <a:lnTo>
                    <a:pt x="9" y="326"/>
                  </a:lnTo>
                  <a:lnTo>
                    <a:pt x="0" y="321"/>
                  </a:lnTo>
                  <a:lnTo>
                    <a:pt x="14" y="288"/>
                  </a:lnTo>
                  <a:lnTo>
                    <a:pt x="30" y="222"/>
                  </a:lnTo>
                  <a:lnTo>
                    <a:pt x="106" y="239"/>
                  </a:lnTo>
                  <a:lnTo>
                    <a:pt x="139" y="215"/>
                  </a:lnTo>
                  <a:lnTo>
                    <a:pt x="156" y="182"/>
                  </a:lnTo>
                  <a:lnTo>
                    <a:pt x="210" y="177"/>
                  </a:lnTo>
                  <a:lnTo>
                    <a:pt x="215" y="144"/>
                  </a:lnTo>
                  <a:lnTo>
                    <a:pt x="241" y="139"/>
                  </a:lnTo>
                  <a:lnTo>
                    <a:pt x="172" y="50"/>
                  </a:lnTo>
                  <a:lnTo>
                    <a:pt x="316" y="9"/>
                  </a:lnTo>
                  <a:lnTo>
                    <a:pt x="323" y="0"/>
                  </a:lnTo>
                  <a:lnTo>
                    <a:pt x="408" y="17"/>
                  </a:lnTo>
                  <a:lnTo>
                    <a:pt x="484" y="66"/>
                  </a:lnTo>
                  <a:lnTo>
                    <a:pt x="534" y="83"/>
                  </a:lnTo>
                  <a:lnTo>
                    <a:pt x="718" y="239"/>
                  </a:lnTo>
                  <a:lnTo>
                    <a:pt x="841" y="239"/>
                  </a:lnTo>
                  <a:lnTo>
                    <a:pt x="907" y="250"/>
                  </a:lnTo>
                  <a:lnTo>
                    <a:pt x="928" y="288"/>
                  </a:lnTo>
                  <a:lnTo>
                    <a:pt x="971" y="288"/>
                  </a:lnTo>
                  <a:lnTo>
                    <a:pt x="982" y="288"/>
                  </a:lnTo>
                  <a:lnTo>
                    <a:pt x="987" y="326"/>
                  </a:lnTo>
                  <a:lnTo>
                    <a:pt x="1004" y="345"/>
                  </a:lnTo>
                  <a:lnTo>
                    <a:pt x="1004" y="350"/>
                  </a:lnTo>
                  <a:lnTo>
                    <a:pt x="1004" y="345"/>
                  </a:lnTo>
                  <a:lnTo>
                    <a:pt x="1004" y="361"/>
                  </a:lnTo>
                  <a:lnTo>
                    <a:pt x="1034" y="366"/>
                  </a:lnTo>
                  <a:lnTo>
                    <a:pt x="1034" y="378"/>
                  </a:lnTo>
                  <a:lnTo>
                    <a:pt x="1025" y="378"/>
                  </a:lnTo>
                  <a:lnTo>
                    <a:pt x="1041" y="399"/>
                  </a:lnTo>
                  <a:lnTo>
                    <a:pt x="1051" y="387"/>
                  </a:lnTo>
                  <a:lnTo>
                    <a:pt x="1067" y="404"/>
                  </a:lnTo>
                  <a:lnTo>
                    <a:pt x="1096" y="437"/>
                  </a:lnTo>
                  <a:lnTo>
                    <a:pt x="1089" y="432"/>
                  </a:lnTo>
                  <a:lnTo>
                    <a:pt x="1089" y="444"/>
                  </a:lnTo>
                  <a:lnTo>
                    <a:pt x="1096" y="456"/>
                  </a:lnTo>
                  <a:lnTo>
                    <a:pt x="1105" y="461"/>
                  </a:lnTo>
                  <a:lnTo>
                    <a:pt x="1096" y="477"/>
                  </a:lnTo>
                  <a:lnTo>
                    <a:pt x="1089" y="472"/>
                  </a:lnTo>
                  <a:lnTo>
                    <a:pt x="1089" y="489"/>
                  </a:lnTo>
                  <a:lnTo>
                    <a:pt x="1105" y="515"/>
                  </a:lnTo>
                  <a:lnTo>
                    <a:pt x="1096" y="510"/>
                  </a:lnTo>
                  <a:lnTo>
                    <a:pt x="1122" y="531"/>
                  </a:lnTo>
                  <a:lnTo>
                    <a:pt x="1126" y="555"/>
                  </a:lnTo>
                  <a:lnTo>
                    <a:pt x="1143" y="583"/>
                  </a:lnTo>
                  <a:lnTo>
                    <a:pt x="1143" y="583"/>
                  </a:lnTo>
                  <a:lnTo>
                    <a:pt x="1148" y="600"/>
                  </a:lnTo>
                  <a:lnTo>
                    <a:pt x="1176" y="588"/>
                  </a:lnTo>
                  <a:lnTo>
                    <a:pt x="1176" y="588"/>
                  </a:lnTo>
                  <a:lnTo>
                    <a:pt x="1176" y="600"/>
                  </a:lnTo>
                  <a:lnTo>
                    <a:pt x="1181" y="588"/>
                  </a:lnTo>
                  <a:lnTo>
                    <a:pt x="1186" y="600"/>
                  </a:lnTo>
                  <a:lnTo>
                    <a:pt x="1176" y="609"/>
                  </a:lnTo>
                  <a:lnTo>
                    <a:pt x="1197" y="621"/>
                  </a:lnTo>
                  <a:lnTo>
                    <a:pt x="1197" y="626"/>
                  </a:lnTo>
                  <a:lnTo>
                    <a:pt x="1268" y="716"/>
                  </a:lnTo>
                  <a:lnTo>
                    <a:pt x="1445" y="737"/>
                  </a:lnTo>
                  <a:lnTo>
                    <a:pt x="1450" y="737"/>
                  </a:lnTo>
                  <a:lnTo>
                    <a:pt x="1483" y="789"/>
                  </a:lnTo>
                  <a:lnTo>
                    <a:pt x="1436" y="938"/>
                  </a:lnTo>
                  <a:lnTo>
                    <a:pt x="1436" y="938"/>
                  </a:lnTo>
                  <a:lnTo>
                    <a:pt x="1436" y="938"/>
                  </a:lnTo>
                  <a:close/>
                  <a:moveTo>
                    <a:pt x="0" y="326"/>
                  </a:moveTo>
                  <a:lnTo>
                    <a:pt x="9" y="333"/>
                  </a:lnTo>
                  <a:lnTo>
                    <a:pt x="0" y="333"/>
                  </a:lnTo>
                  <a:lnTo>
                    <a:pt x="0" y="326"/>
                  </a:lnTo>
                  <a:lnTo>
                    <a:pt x="0" y="326"/>
                  </a:lnTo>
                  <a:lnTo>
                    <a:pt x="0" y="326"/>
                  </a:lnTo>
                  <a:close/>
                  <a:moveTo>
                    <a:pt x="1051" y="383"/>
                  </a:moveTo>
                  <a:lnTo>
                    <a:pt x="1051" y="383"/>
                  </a:lnTo>
                  <a:lnTo>
                    <a:pt x="1058" y="383"/>
                  </a:lnTo>
                  <a:lnTo>
                    <a:pt x="1051" y="383"/>
                  </a:lnTo>
                  <a:lnTo>
                    <a:pt x="1051" y="383"/>
                  </a:lnTo>
                  <a:lnTo>
                    <a:pt x="1051" y="383"/>
                  </a:lnTo>
                  <a:close/>
                  <a:moveTo>
                    <a:pt x="517" y="1172"/>
                  </a:moveTo>
                  <a:lnTo>
                    <a:pt x="517" y="1172"/>
                  </a:lnTo>
                  <a:lnTo>
                    <a:pt x="529" y="1181"/>
                  </a:lnTo>
                  <a:lnTo>
                    <a:pt x="512" y="1176"/>
                  </a:lnTo>
                  <a:lnTo>
                    <a:pt x="517" y="1172"/>
                  </a:lnTo>
                  <a:lnTo>
                    <a:pt x="517" y="1172"/>
                  </a:lnTo>
                  <a:lnTo>
                    <a:pt x="517" y="1172"/>
                  </a:lnTo>
                  <a:lnTo>
                    <a:pt x="517" y="1172"/>
                  </a:lnTo>
                  <a:close/>
                  <a:moveTo>
                    <a:pt x="534" y="1200"/>
                  </a:moveTo>
                  <a:lnTo>
                    <a:pt x="534" y="1193"/>
                  </a:lnTo>
                  <a:lnTo>
                    <a:pt x="512" y="1181"/>
                  </a:lnTo>
                  <a:lnTo>
                    <a:pt x="512" y="1176"/>
                  </a:lnTo>
                  <a:lnTo>
                    <a:pt x="517" y="1181"/>
                  </a:lnTo>
                  <a:lnTo>
                    <a:pt x="529" y="1181"/>
                  </a:lnTo>
                  <a:lnTo>
                    <a:pt x="529" y="1181"/>
                  </a:lnTo>
                  <a:lnTo>
                    <a:pt x="534" y="1176"/>
                  </a:lnTo>
                  <a:lnTo>
                    <a:pt x="534" y="1200"/>
                  </a:lnTo>
                  <a:lnTo>
                    <a:pt x="534" y="1200"/>
                  </a:lnTo>
                  <a:lnTo>
                    <a:pt x="534" y="120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41" name="Freeform 548">
              <a:extLst>
                <a:ext uri="{FF2B5EF4-FFF2-40B4-BE49-F238E27FC236}">
                  <a16:creationId xmlns:a16="http://schemas.microsoft.com/office/drawing/2014/main" id="{80E887C0-EB1A-4FF7-93DA-5B0A5E8DDCC6}"/>
                </a:ext>
              </a:extLst>
            </p:cNvPr>
            <p:cNvSpPr>
              <a:spLocks noEditPoints="1"/>
            </p:cNvSpPr>
            <p:nvPr/>
          </p:nvSpPr>
          <p:spPr bwMode="gray">
            <a:xfrm>
              <a:off x="8060458" y="4199694"/>
              <a:ext cx="269233" cy="146983"/>
            </a:xfrm>
            <a:custGeom>
              <a:avLst/>
              <a:gdLst>
                <a:gd name="T0" fmla="*/ 654 w 654"/>
                <a:gd name="T1" fmla="*/ 17 h 357"/>
                <a:gd name="T2" fmla="*/ 638 w 654"/>
                <a:gd name="T3" fmla="*/ 12 h 357"/>
                <a:gd name="T4" fmla="*/ 647 w 654"/>
                <a:gd name="T5" fmla="*/ 0 h 357"/>
                <a:gd name="T6" fmla="*/ 654 w 654"/>
                <a:gd name="T7" fmla="*/ 17 h 357"/>
                <a:gd name="T8" fmla="*/ 654 w 654"/>
                <a:gd name="T9" fmla="*/ 17 h 357"/>
                <a:gd name="T10" fmla="*/ 654 w 654"/>
                <a:gd name="T11" fmla="*/ 17 h 357"/>
                <a:gd name="T12" fmla="*/ 7 w 654"/>
                <a:gd name="T13" fmla="*/ 357 h 357"/>
                <a:gd name="T14" fmla="*/ 0 w 654"/>
                <a:gd name="T15" fmla="*/ 352 h 357"/>
                <a:gd name="T16" fmla="*/ 23 w 654"/>
                <a:gd name="T17" fmla="*/ 352 h 357"/>
                <a:gd name="T18" fmla="*/ 7 w 654"/>
                <a:gd name="T19" fmla="*/ 357 h 357"/>
                <a:gd name="T20" fmla="*/ 7 w 654"/>
                <a:gd name="T21" fmla="*/ 357 h 357"/>
                <a:gd name="T22" fmla="*/ 7 w 654"/>
                <a:gd name="T23"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4" h="357">
                  <a:moveTo>
                    <a:pt x="654" y="17"/>
                  </a:moveTo>
                  <a:lnTo>
                    <a:pt x="638" y="12"/>
                  </a:lnTo>
                  <a:lnTo>
                    <a:pt x="647" y="0"/>
                  </a:lnTo>
                  <a:lnTo>
                    <a:pt x="654" y="17"/>
                  </a:lnTo>
                  <a:lnTo>
                    <a:pt x="654" y="17"/>
                  </a:lnTo>
                  <a:lnTo>
                    <a:pt x="654" y="17"/>
                  </a:lnTo>
                  <a:close/>
                  <a:moveTo>
                    <a:pt x="7" y="357"/>
                  </a:moveTo>
                  <a:lnTo>
                    <a:pt x="0" y="352"/>
                  </a:lnTo>
                  <a:lnTo>
                    <a:pt x="23" y="352"/>
                  </a:lnTo>
                  <a:lnTo>
                    <a:pt x="7" y="357"/>
                  </a:lnTo>
                  <a:lnTo>
                    <a:pt x="7" y="357"/>
                  </a:lnTo>
                  <a:lnTo>
                    <a:pt x="7" y="35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42" name="Freeform 549">
              <a:extLst>
                <a:ext uri="{FF2B5EF4-FFF2-40B4-BE49-F238E27FC236}">
                  <a16:creationId xmlns:a16="http://schemas.microsoft.com/office/drawing/2014/main" id="{28762883-3348-4F77-9FE5-70EFB280D671}"/>
                </a:ext>
              </a:extLst>
            </p:cNvPr>
            <p:cNvSpPr>
              <a:spLocks noEditPoints="1"/>
            </p:cNvSpPr>
            <p:nvPr/>
          </p:nvSpPr>
          <p:spPr bwMode="gray">
            <a:xfrm>
              <a:off x="7142434" y="4731631"/>
              <a:ext cx="676786" cy="837430"/>
            </a:xfrm>
            <a:custGeom>
              <a:avLst/>
              <a:gdLst>
                <a:gd name="T0" fmla="*/ 449 w 1644"/>
                <a:gd name="T1" fmla="*/ 289 h 2034"/>
                <a:gd name="T2" fmla="*/ 437 w 1644"/>
                <a:gd name="T3" fmla="*/ 355 h 2034"/>
                <a:gd name="T4" fmla="*/ 534 w 1644"/>
                <a:gd name="T5" fmla="*/ 350 h 2034"/>
                <a:gd name="T6" fmla="*/ 588 w 1644"/>
                <a:gd name="T7" fmla="*/ 260 h 2034"/>
                <a:gd name="T8" fmla="*/ 664 w 1644"/>
                <a:gd name="T9" fmla="*/ 272 h 2034"/>
                <a:gd name="T10" fmla="*/ 718 w 1644"/>
                <a:gd name="T11" fmla="*/ 289 h 2034"/>
                <a:gd name="T12" fmla="*/ 805 w 1644"/>
                <a:gd name="T13" fmla="*/ 199 h 2034"/>
                <a:gd name="T14" fmla="*/ 881 w 1644"/>
                <a:gd name="T15" fmla="*/ 123 h 2034"/>
                <a:gd name="T16" fmla="*/ 923 w 1644"/>
                <a:gd name="T17" fmla="*/ 90 h 2034"/>
                <a:gd name="T18" fmla="*/ 1020 w 1644"/>
                <a:gd name="T19" fmla="*/ 22 h 2034"/>
                <a:gd name="T20" fmla="*/ 1075 w 1644"/>
                <a:gd name="T21" fmla="*/ 0 h 2034"/>
                <a:gd name="T22" fmla="*/ 1188 w 1644"/>
                <a:gd name="T23" fmla="*/ 22 h 2034"/>
                <a:gd name="T24" fmla="*/ 1226 w 1644"/>
                <a:gd name="T25" fmla="*/ 144 h 2034"/>
                <a:gd name="T26" fmla="*/ 1226 w 1644"/>
                <a:gd name="T27" fmla="*/ 293 h 2034"/>
                <a:gd name="T28" fmla="*/ 1171 w 1644"/>
                <a:gd name="T29" fmla="*/ 293 h 2034"/>
                <a:gd name="T30" fmla="*/ 1157 w 1644"/>
                <a:gd name="T31" fmla="*/ 355 h 2034"/>
                <a:gd name="T32" fmla="*/ 1238 w 1644"/>
                <a:gd name="T33" fmla="*/ 400 h 2034"/>
                <a:gd name="T34" fmla="*/ 1297 w 1644"/>
                <a:gd name="T35" fmla="*/ 366 h 2034"/>
                <a:gd name="T36" fmla="*/ 1221 w 1644"/>
                <a:gd name="T37" fmla="*/ 522 h 2034"/>
                <a:gd name="T38" fmla="*/ 1167 w 1644"/>
                <a:gd name="T39" fmla="*/ 605 h 2034"/>
                <a:gd name="T40" fmla="*/ 990 w 1644"/>
                <a:gd name="T41" fmla="*/ 815 h 2034"/>
                <a:gd name="T42" fmla="*/ 848 w 1644"/>
                <a:gd name="T43" fmla="*/ 910 h 2034"/>
                <a:gd name="T44" fmla="*/ 794 w 1644"/>
                <a:gd name="T45" fmla="*/ 926 h 2034"/>
                <a:gd name="T46" fmla="*/ 734 w 1644"/>
                <a:gd name="T47" fmla="*/ 943 h 2034"/>
                <a:gd name="T48" fmla="*/ 626 w 1644"/>
                <a:gd name="T49" fmla="*/ 938 h 2034"/>
                <a:gd name="T50" fmla="*/ 517 w 1644"/>
                <a:gd name="T51" fmla="*/ 959 h 2034"/>
                <a:gd name="T52" fmla="*/ 453 w 1644"/>
                <a:gd name="T53" fmla="*/ 959 h 2034"/>
                <a:gd name="T54" fmla="*/ 394 w 1644"/>
                <a:gd name="T55" fmla="*/ 992 h 2034"/>
                <a:gd name="T56" fmla="*/ 345 w 1644"/>
                <a:gd name="T57" fmla="*/ 964 h 2034"/>
                <a:gd name="T58" fmla="*/ 307 w 1644"/>
                <a:gd name="T59" fmla="*/ 943 h 2034"/>
                <a:gd name="T60" fmla="*/ 286 w 1644"/>
                <a:gd name="T61" fmla="*/ 959 h 2034"/>
                <a:gd name="T62" fmla="*/ 286 w 1644"/>
                <a:gd name="T63" fmla="*/ 922 h 2034"/>
                <a:gd name="T64" fmla="*/ 248 w 1644"/>
                <a:gd name="T65" fmla="*/ 848 h 2034"/>
                <a:gd name="T66" fmla="*/ 260 w 1644"/>
                <a:gd name="T67" fmla="*/ 832 h 2034"/>
                <a:gd name="T68" fmla="*/ 269 w 1644"/>
                <a:gd name="T69" fmla="*/ 759 h 2034"/>
                <a:gd name="T70" fmla="*/ 151 w 1644"/>
                <a:gd name="T71" fmla="*/ 522 h 2034"/>
                <a:gd name="T72" fmla="*/ 168 w 1644"/>
                <a:gd name="T73" fmla="*/ 461 h 2034"/>
                <a:gd name="T74" fmla="*/ 205 w 1644"/>
                <a:gd name="T75" fmla="*/ 466 h 2034"/>
                <a:gd name="T76" fmla="*/ 222 w 1644"/>
                <a:gd name="T77" fmla="*/ 515 h 2034"/>
                <a:gd name="T78" fmla="*/ 302 w 1644"/>
                <a:gd name="T79" fmla="*/ 515 h 2034"/>
                <a:gd name="T80" fmla="*/ 340 w 1644"/>
                <a:gd name="T81" fmla="*/ 511 h 2034"/>
                <a:gd name="T82" fmla="*/ 394 w 1644"/>
                <a:gd name="T83" fmla="*/ 482 h 2034"/>
                <a:gd name="T84" fmla="*/ 394 w 1644"/>
                <a:gd name="T85" fmla="*/ 199 h 2034"/>
                <a:gd name="T86" fmla="*/ 966 w 1644"/>
                <a:gd name="T87" fmla="*/ 511 h 2034"/>
                <a:gd name="T88" fmla="*/ 886 w 1644"/>
                <a:gd name="T89" fmla="*/ 577 h 2034"/>
                <a:gd name="T90" fmla="*/ 935 w 1644"/>
                <a:gd name="T91" fmla="*/ 659 h 2034"/>
                <a:gd name="T92" fmla="*/ 1011 w 1644"/>
                <a:gd name="T93" fmla="*/ 622 h 2034"/>
                <a:gd name="T94" fmla="*/ 1042 w 1644"/>
                <a:gd name="T95" fmla="*/ 577 h 2034"/>
                <a:gd name="T96" fmla="*/ 1049 w 1644"/>
                <a:gd name="T97" fmla="*/ 539 h 2034"/>
                <a:gd name="T98" fmla="*/ 1011 w 1644"/>
                <a:gd name="T99" fmla="*/ 511 h 2034"/>
                <a:gd name="T100" fmla="*/ 21 w 1644"/>
                <a:gd name="T101" fmla="*/ 78 h 2034"/>
                <a:gd name="T102" fmla="*/ 0 w 1644"/>
                <a:gd name="T103" fmla="*/ 55 h 2034"/>
                <a:gd name="T104" fmla="*/ 5 w 1644"/>
                <a:gd name="T105" fmla="*/ 38 h 2034"/>
                <a:gd name="T106" fmla="*/ 1644 w 1644"/>
                <a:gd name="T107" fmla="*/ 2034 h 2034"/>
                <a:gd name="T108" fmla="*/ 1644 w 1644"/>
                <a:gd name="T109" fmla="*/ 2029 h 2034"/>
                <a:gd name="T110" fmla="*/ 1644 w 1644"/>
                <a:gd name="T111" fmla="*/ 2034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44" h="2034">
                  <a:moveTo>
                    <a:pt x="394" y="199"/>
                  </a:moveTo>
                  <a:lnTo>
                    <a:pt x="416" y="222"/>
                  </a:lnTo>
                  <a:lnTo>
                    <a:pt x="449" y="289"/>
                  </a:lnTo>
                  <a:lnTo>
                    <a:pt x="453" y="310"/>
                  </a:lnTo>
                  <a:lnTo>
                    <a:pt x="432" y="333"/>
                  </a:lnTo>
                  <a:lnTo>
                    <a:pt x="437" y="355"/>
                  </a:lnTo>
                  <a:lnTo>
                    <a:pt x="508" y="366"/>
                  </a:lnTo>
                  <a:lnTo>
                    <a:pt x="517" y="350"/>
                  </a:lnTo>
                  <a:lnTo>
                    <a:pt x="534" y="350"/>
                  </a:lnTo>
                  <a:lnTo>
                    <a:pt x="546" y="326"/>
                  </a:lnTo>
                  <a:lnTo>
                    <a:pt x="579" y="300"/>
                  </a:lnTo>
                  <a:lnTo>
                    <a:pt x="588" y="260"/>
                  </a:lnTo>
                  <a:lnTo>
                    <a:pt x="600" y="244"/>
                  </a:lnTo>
                  <a:lnTo>
                    <a:pt x="633" y="239"/>
                  </a:lnTo>
                  <a:lnTo>
                    <a:pt x="664" y="272"/>
                  </a:lnTo>
                  <a:lnTo>
                    <a:pt x="685" y="272"/>
                  </a:lnTo>
                  <a:lnTo>
                    <a:pt x="697" y="277"/>
                  </a:lnTo>
                  <a:lnTo>
                    <a:pt x="718" y="289"/>
                  </a:lnTo>
                  <a:lnTo>
                    <a:pt x="777" y="272"/>
                  </a:lnTo>
                  <a:lnTo>
                    <a:pt x="789" y="255"/>
                  </a:lnTo>
                  <a:lnTo>
                    <a:pt x="805" y="199"/>
                  </a:lnTo>
                  <a:lnTo>
                    <a:pt x="843" y="189"/>
                  </a:lnTo>
                  <a:lnTo>
                    <a:pt x="869" y="166"/>
                  </a:lnTo>
                  <a:lnTo>
                    <a:pt x="881" y="123"/>
                  </a:lnTo>
                  <a:lnTo>
                    <a:pt x="914" y="95"/>
                  </a:lnTo>
                  <a:lnTo>
                    <a:pt x="919" y="95"/>
                  </a:lnTo>
                  <a:lnTo>
                    <a:pt x="923" y="90"/>
                  </a:lnTo>
                  <a:lnTo>
                    <a:pt x="952" y="74"/>
                  </a:lnTo>
                  <a:lnTo>
                    <a:pt x="973" y="38"/>
                  </a:lnTo>
                  <a:lnTo>
                    <a:pt x="1020" y="22"/>
                  </a:lnTo>
                  <a:lnTo>
                    <a:pt x="1027" y="12"/>
                  </a:lnTo>
                  <a:lnTo>
                    <a:pt x="1049" y="12"/>
                  </a:lnTo>
                  <a:lnTo>
                    <a:pt x="1075" y="0"/>
                  </a:lnTo>
                  <a:lnTo>
                    <a:pt x="1120" y="17"/>
                  </a:lnTo>
                  <a:lnTo>
                    <a:pt x="1157" y="17"/>
                  </a:lnTo>
                  <a:lnTo>
                    <a:pt x="1188" y="22"/>
                  </a:lnTo>
                  <a:lnTo>
                    <a:pt x="1205" y="78"/>
                  </a:lnTo>
                  <a:lnTo>
                    <a:pt x="1205" y="107"/>
                  </a:lnTo>
                  <a:lnTo>
                    <a:pt x="1226" y="144"/>
                  </a:lnTo>
                  <a:lnTo>
                    <a:pt x="1238" y="178"/>
                  </a:lnTo>
                  <a:lnTo>
                    <a:pt x="1238" y="293"/>
                  </a:lnTo>
                  <a:lnTo>
                    <a:pt x="1226" y="293"/>
                  </a:lnTo>
                  <a:lnTo>
                    <a:pt x="1195" y="277"/>
                  </a:lnTo>
                  <a:lnTo>
                    <a:pt x="1188" y="277"/>
                  </a:lnTo>
                  <a:lnTo>
                    <a:pt x="1171" y="293"/>
                  </a:lnTo>
                  <a:lnTo>
                    <a:pt x="1150" y="326"/>
                  </a:lnTo>
                  <a:lnTo>
                    <a:pt x="1150" y="355"/>
                  </a:lnTo>
                  <a:lnTo>
                    <a:pt x="1157" y="355"/>
                  </a:lnTo>
                  <a:lnTo>
                    <a:pt x="1171" y="388"/>
                  </a:lnTo>
                  <a:lnTo>
                    <a:pt x="1205" y="400"/>
                  </a:lnTo>
                  <a:lnTo>
                    <a:pt x="1238" y="400"/>
                  </a:lnTo>
                  <a:lnTo>
                    <a:pt x="1238" y="355"/>
                  </a:lnTo>
                  <a:lnTo>
                    <a:pt x="1242" y="366"/>
                  </a:lnTo>
                  <a:lnTo>
                    <a:pt x="1297" y="366"/>
                  </a:lnTo>
                  <a:lnTo>
                    <a:pt x="1259" y="494"/>
                  </a:lnTo>
                  <a:lnTo>
                    <a:pt x="1238" y="522"/>
                  </a:lnTo>
                  <a:lnTo>
                    <a:pt x="1221" y="522"/>
                  </a:lnTo>
                  <a:lnTo>
                    <a:pt x="1188" y="565"/>
                  </a:lnTo>
                  <a:lnTo>
                    <a:pt x="1167" y="605"/>
                  </a:lnTo>
                  <a:lnTo>
                    <a:pt x="1167" y="605"/>
                  </a:lnTo>
                  <a:lnTo>
                    <a:pt x="1096" y="716"/>
                  </a:lnTo>
                  <a:lnTo>
                    <a:pt x="1049" y="742"/>
                  </a:lnTo>
                  <a:lnTo>
                    <a:pt x="990" y="815"/>
                  </a:lnTo>
                  <a:lnTo>
                    <a:pt x="952" y="848"/>
                  </a:lnTo>
                  <a:lnTo>
                    <a:pt x="886" y="886"/>
                  </a:lnTo>
                  <a:lnTo>
                    <a:pt x="848" y="910"/>
                  </a:lnTo>
                  <a:lnTo>
                    <a:pt x="794" y="910"/>
                  </a:lnTo>
                  <a:lnTo>
                    <a:pt x="789" y="922"/>
                  </a:lnTo>
                  <a:lnTo>
                    <a:pt x="794" y="926"/>
                  </a:lnTo>
                  <a:lnTo>
                    <a:pt x="739" y="926"/>
                  </a:lnTo>
                  <a:lnTo>
                    <a:pt x="739" y="926"/>
                  </a:lnTo>
                  <a:lnTo>
                    <a:pt x="734" y="943"/>
                  </a:lnTo>
                  <a:lnTo>
                    <a:pt x="647" y="926"/>
                  </a:lnTo>
                  <a:lnTo>
                    <a:pt x="633" y="926"/>
                  </a:lnTo>
                  <a:lnTo>
                    <a:pt x="626" y="938"/>
                  </a:lnTo>
                  <a:lnTo>
                    <a:pt x="572" y="926"/>
                  </a:lnTo>
                  <a:lnTo>
                    <a:pt x="541" y="938"/>
                  </a:lnTo>
                  <a:lnTo>
                    <a:pt x="517" y="959"/>
                  </a:lnTo>
                  <a:lnTo>
                    <a:pt x="503" y="959"/>
                  </a:lnTo>
                  <a:lnTo>
                    <a:pt x="486" y="959"/>
                  </a:lnTo>
                  <a:lnTo>
                    <a:pt x="453" y="959"/>
                  </a:lnTo>
                  <a:lnTo>
                    <a:pt x="449" y="964"/>
                  </a:lnTo>
                  <a:lnTo>
                    <a:pt x="427" y="964"/>
                  </a:lnTo>
                  <a:lnTo>
                    <a:pt x="394" y="992"/>
                  </a:lnTo>
                  <a:lnTo>
                    <a:pt x="373" y="992"/>
                  </a:lnTo>
                  <a:lnTo>
                    <a:pt x="345" y="976"/>
                  </a:lnTo>
                  <a:lnTo>
                    <a:pt x="345" y="964"/>
                  </a:lnTo>
                  <a:lnTo>
                    <a:pt x="340" y="959"/>
                  </a:lnTo>
                  <a:lnTo>
                    <a:pt x="307" y="959"/>
                  </a:lnTo>
                  <a:lnTo>
                    <a:pt x="307" y="943"/>
                  </a:lnTo>
                  <a:lnTo>
                    <a:pt x="307" y="938"/>
                  </a:lnTo>
                  <a:lnTo>
                    <a:pt x="286" y="938"/>
                  </a:lnTo>
                  <a:lnTo>
                    <a:pt x="286" y="959"/>
                  </a:lnTo>
                  <a:lnTo>
                    <a:pt x="274" y="955"/>
                  </a:lnTo>
                  <a:lnTo>
                    <a:pt x="269" y="926"/>
                  </a:lnTo>
                  <a:lnTo>
                    <a:pt x="286" y="922"/>
                  </a:lnTo>
                  <a:lnTo>
                    <a:pt x="286" y="903"/>
                  </a:lnTo>
                  <a:lnTo>
                    <a:pt x="253" y="848"/>
                  </a:lnTo>
                  <a:lnTo>
                    <a:pt x="248" y="848"/>
                  </a:lnTo>
                  <a:lnTo>
                    <a:pt x="236" y="832"/>
                  </a:lnTo>
                  <a:lnTo>
                    <a:pt x="253" y="827"/>
                  </a:lnTo>
                  <a:lnTo>
                    <a:pt x="260" y="832"/>
                  </a:lnTo>
                  <a:lnTo>
                    <a:pt x="269" y="815"/>
                  </a:lnTo>
                  <a:lnTo>
                    <a:pt x="274" y="794"/>
                  </a:lnTo>
                  <a:lnTo>
                    <a:pt x="269" y="759"/>
                  </a:lnTo>
                  <a:lnTo>
                    <a:pt x="198" y="631"/>
                  </a:lnTo>
                  <a:lnTo>
                    <a:pt x="168" y="539"/>
                  </a:lnTo>
                  <a:lnTo>
                    <a:pt x="151" y="522"/>
                  </a:lnTo>
                  <a:lnTo>
                    <a:pt x="146" y="499"/>
                  </a:lnTo>
                  <a:lnTo>
                    <a:pt x="160" y="494"/>
                  </a:lnTo>
                  <a:lnTo>
                    <a:pt x="168" y="461"/>
                  </a:lnTo>
                  <a:lnTo>
                    <a:pt x="184" y="454"/>
                  </a:lnTo>
                  <a:lnTo>
                    <a:pt x="198" y="466"/>
                  </a:lnTo>
                  <a:lnTo>
                    <a:pt x="205" y="466"/>
                  </a:lnTo>
                  <a:lnTo>
                    <a:pt x="205" y="511"/>
                  </a:lnTo>
                  <a:lnTo>
                    <a:pt x="222" y="511"/>
                  </a:lnTo>
                  <a:lnTo>
                    <a:pt x="222" y="515"/>
                  </a:lnTo>
                  <a:lnTo>
                    <a:pt x="248" y="515"/>
                  </a:lnTo>
                  <a:lnTo>
                    <a:pt x="260" y="522"/>
                  </a:lnTo>
                  <a:lnTo>
                    <a:pt x="302" y="515"/>
                  </a:lnTo>
                  <a:lnTo>
                    <a:pt x="328" y="522"/>
                  </a:lnTo>
                  <a:lnTo>
                    <a:pt x="340" y="522"/>
                  </a:lnTo>
                  <a:lnTo>
                    <a:pt x="340" y="511"/>
                  </a:lnTo>
                  <a:lnTo>
                    <a:pt x="357" y="511"/>
                  </a:lnTo>
                  <a:lnTo>
                    <a:pt x="361" y="494"/>
                  </a:lnTo>
                  <a:lnTo>
                    <a:pt x="394" y="482"/>
                  </a:lnTo>
                  <a:lnTo>
                    <a:pt x="394" y="199"/>
                  </a:lnTo>
                  <a:lnTo>
                    <a:pt x="394" y="199"/>
                  </a:lnTo>
                  <a:lnTo>
                    <a:pt x="394" y="199"/>
                  </a:lnTo>
                  <a:close/>
                  <a:moveTo>
                    <a:pt x="1011" y="511"/>
                  </a:moveTo>
                  <a:lnTo>
                    <a:pt x="994" y="499"/>
                  </a:lnTo>
                  <a:lnTo>
                    <a:pt x="966" y="511"/>
                  </a:lnTo>
                  <a:lnTo>
                    <a:pt x="923" y="532"/>
                  </a:lnTo>
                  <a:lnTo>
                    <a:pt x="902" y="572"/>
                  </a:lnTo>
                  <a:lnTo>
                    <a:pt x="886" y="577"/>
                  </a:lnTo>
                  <a:lnTo>
                    <a:pt x="902" y="610"/>
                  </a:lnTo>
                  <a:lnTo>
                    <a:pt x="914" y="631"/>
                  </a:lnTo>
                  <a:lnTo>
                    <a:pt x="935" y="659"/>
                  </a:lnTo>
                  <a:lnTo>
                    <a:pt x="957" y="659"/>
                  </a:lnTo>
                  <a:lnTo>
                    <a:pt x="978" y="622"/>
                  </a:lnTo>
                  <a:lnTo>
                    <a:pt x="1011" y="622"/>
                  </a:lnTo>
                  <a:lnTo>
                    <a:pt x="1032" y="605"/>
                  </a:lnTo>
                  <a:lnTo>
                    <a:pt x="1032" y="577"/>
                  </a:lnTo>
                  <a:lnTo>
                    <a:pt x="1042" y="577"/>
                  </a:lnTo>
                  <a:lnTo>
                    <a:pt x="1042" y="572"/>
                  </a:lnTo>
                  <a:lnTo>
                    <a:pt x="1058" y="555"/>
                  </a:lnTo>
                  <a:lnTo>
                    <a:pt x="1049" y="539"/>
                  </a:lnTo>
                  <a:lnTo>
                    <a:pt x="1011" y="511"/>
                  </a:lnTo>
                  <a:lnTo>
                    <a:pt x="1011" y="511"/>
                  </a:lnTo>
                  <a:lnTo>
                    <a:pt x="1011" y="511"/>
                  </a:lnTo>
                  <a:close/>
                  <a:moveTo>
                    <a:pt x="5" y="38"/>
                  </a:moveTo>
                  <a:lnTo>
                    <a:pt x="16" y="38"/>
                  </a:lnTo>
                  <a:lnTo>
                    <a:pt x="21" y="78"/>
                  </a:lnTo>
                  <a:lnTo>
                    <a:pt x="0" y="78"/>
                  </a:lnTo>
                  <a:lnTo>
                    <a:pt x="0" y="66"/>
                  </a:lnTo>
                  <a:lnTo>
                    <a:pt x="0" y="55"/>
                  </a:lnTo>
                  <a:lnTo>
                    <a:pt x="0" y="66"/>
                  </a:lnTo>
                  <a:lnTo>
                    <a:pt x="5" y="66"/>
                  </a:lnTo>
                  <a:lnTo>
                    <a:pt x="5" y="38"/>
                  </a:lnTo>
                  <a:lnTo>
                    <a:pt x="5" y="38"/>
                  </a:lnTo>
                  <a:lnTo>
                    <a:pt x="5" y="38"/>
                  </a:lnTo>
                  <a:close/>
                  <a:moveTo>
                    <a:pt x="1644" y="2034"/>
                  </a:moveTo>
                  <a:lnTo>
                    <a:pt x="1627" y="2029"/>
                  </a:lnTo>
                  <a:lnTo>
                    <a:pt x="1637" y="2022"/>
                  </a:lnTo>
                  <a:lnTo>
                    <a:pt x="1644" y="2029"/>
                  </a:lnTo>
                  <a:lnTo>
                    <a:pt x="1644" y="2034"/>
                  </a:lnTo>
                  <a:lnTo>
                    <a:pt x="1644" y="2034"/>
                  </a:lnTo>
                  <a:lnTo>
                    <a:pt x="1644" y="203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43" name="Freeform 550">
              <a:extLst>
                <a:ext uri="{FF2B5EF4-FFF2-40B4-BE49-F238E27FC236}">
                  <a16:creationId xmlns:a16="http://schemas.microsoft.com/office/drawing/2014/main" id="{B7D48EC2-2985-4618-8D76-9111B5C15951}"/>
                </a:ext>
              </a:extLst>
            </p:cNvPr>
            <p:cNvSpPr>
              <a:spLocks/>
            </p:cNvSpPr>
            <p:nvPr/>
          </p:nvSpPr>
          <p:spPr bwMode="gray">
            <a:xfrm>
              <a:off x="6221528" y="3563591"/>
              <a:ext cx="179076" cy="134220"/>
            </a:xfrm>
            <a:custGeom>
              <a:avLst/>
              <a:gdLst>
                <a:gd name="T0" fmla="*/ 163 w 435"/>
                <a:gd name="T1" fmla="*/ 305 h 326"/>
                <a:gd name="T2" fmla="*/ 92 w 435"/>
                <a:gd name="T3" fmla="*/ 322 h 326"/>
                <a:gd name="T4" fmla="*/ 45 w 435"/>
                <a:gd name="T5" fmla="*/ 322 h 326"/>
                <a:gd name="T6" fmla="*/ 75 w 435"/>
                <a:gd name="T7" fmla="*/ 310 h 326"/>
                <a:gd name="T8" fmla="*/ 130 w 435"/>
                <a:gd name="T9" fmla="*/ 310 h 326"/>
                <a:gd name="T10" fmla="*/ 137 w 435"/>
                <a:gd name="T11" fmla="*/ 293 h 326"/>
                <a:gd name="T12" fmla="*/ 137 w 435"/>
                <a:gd name="T13" fmla="*/ 293 h 326"/>
                <a:gd name="T14" fmla="*/ 130 w 435"/>
                <a:gd name="T15" fmla="*/ 310 h 326"/>
                <a:gd name="T16" fmla="*/ 99 w 435"/>
                <a:gd name="T17" fmla="*/ 293 h 326"/>
                <a:gd name="T18" fmla="*/ 75 w 435"/>
                <a:gd name="T19" fmla="*/ 310 h 326"/>
                <a:gd name="T20" fmla="*/ 59 w 435"/>
                <a:gd name="T21" fmla="*/ 293 h 326"/>
                <a:gd name="T22" fmla="*/ 54 w 435"/>
                <a:gd name="T23" fmla="*/ 272 h 326"/>
                <a:gd name="T24" fmla="*/ 113 w 435"/>
                <a:gd name="T25" fmla="*/ 267 h 326"/>
                <a:gd name="T26" fmla="*/ 151 w 435"/>
                <a:gd name="T27" fmla="*/ 251 h 326"/>
                <a:gd name="T28" fmla="*/ 222 w 435"/>
                <a:gd name="T29" fmla="*/ 267 h 326"/>
                <a:gd name="T30" fmla="*/ 260 w 435"/>
                <a:gd name="T31" fmla="*/ 251 h 326"/>
                <a:gd name="T32" fmla="*/ 222 w 435"/>
                <a:gd name="T33" fmla="*/ 251 h 326"/>
                <a:gd name="T34" fmla="*/ 191 w 435"/>
                <a:gd name="T35" fmla="*/ 232 h 326"/>
                <a:gd name="T36" fmla="*/ 168 w 435"/>
                <a:gd name="T37" fmla="*/ 215 h 326"/>
                <a:gd name="T38" fmla="*/ 137 w 435"/>
                <a:gd name="T39" fmla="*/ 232 h 326"/>
                <a:gd name="T40" fmla="*/ 59 w 435"/>
                <a:gd name="T41" fmla="*/ 222 h 326"/>
                <a:gd name="T42" fmla="*/ 54 w 435"/>
                <a:gd name="T43" fmla="*/ 222 h 326"/>
                <a:gd name="T44" fmla="*/ 75 w 435"/>
                <a:gd name="T45" fmla="*/ 194 h 326"/>
                <a:gd name="T46" fmla="*/ 59 w 435"/>
                <a:gd name="T47" fmla="*/ 199 h 326"/>
                <a:gd name="T48" fmla="*/ 21 w 435"/>
                <a:gd name="T49" fmla="*/ 156 h 326"/>
                <a:gd name="T50" fmla="*/ 0 w 435"/>
                <a:gd name="T51" fmla="*/ 156 h 326"/>
                <a:gd name="T52" fmla="*/ 21 w 435"/>
                <a:gd name="T53" fmla="*/ 140 h 326"/>
                <a:gd name="T54" fmla="*/ 66 w 435"/>
                <a:gd name="T55" fmla="*/ 74 h 326"/>
                <a:gd name="T56" fmla="*/ 83 w 435"/>
                <a:gd name="T57" fmla="*/ 17 h 326"/>
                <a:gd name="T58" fmla="*/ 175 w 435"/>
                <a:gd name="T59" fmla="*/ 0 h 326"/>
                <a:gd name="T60" fmla="*/ 255 w 435"/>
                <a:gd name="T61" fmla="*/ 50 h 326"/>
                <a:gd name="T62" fmla="*/ 272 w 435"/>
                <a:gd name="T63" fmla="*/ 50 h 326"/>
                <a:gd name="T64" fmla="*/ 283 w 435"/>
                <a:gd name="T65" fmla="*/ 50 h 326"/>
                <a:gd name="T66" fmla="*/ 309 w 435"/>
                <a:gd name="T67" fmla="*/ 100 h 326"/>
                <a:gd name="T68" fmla="*/ 326 w 435"/>
                <a:gd name="T69" fmla="*/ 107 h 326"/>
                <a:gd name="T70" fmla="*/ 347 w 435"/>
                <a:gd name="T71" fmla="*/ 128 h 326"/>
                <a:gd name="T72" fmla="*/ 368 w 435"/>
                <a:gd name="T73" fmla="*/ 178 h 326"/>
                <a:gd name="T74" fmla="*/ 385 w 435"/>
                <a:gd name="T75" fmla="*/ 215 h 326"/>
                <a:gd name="T76" fmla="*/ 401 w 435"/>
                <a:gd name="T77" fmla="*/ 256 h 326"/>
                <a:gd name="T78" fmla="*/ 406 w 435"/>
                <a:gd name="T79" fmla="*/ 251 h 326"/>
                <a:gd name="T80" fmla="*/ 435 w 435"/>
                <a:gd name="T81" fmla="*/ 322 h 326"/>
                <a:gd name="T82" fmla="*/ 364 w 435"/>
                <a:gd name="T83" fmla="*/ 326 h 326"/>
                <a:gd name="T84" fmla="*/ 309 w 435"/>
                <a:gd name="T85" fmla="*/ 322 h 326"/>
                <a:gd name="T86" fmla="*/ 260 w 435"/>
                <a:gd name="T87" fmla="*/ 305 h 326"/>
                <a:gd name="T88" fmla="*/ 222 w 435"/>
                <a:gd name="T89" fmla="*/ 30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5" h="326">
                  <a:moveTo>
                    <a:pt x="222" y="305"/>
                  </a:moveTo>
                  <a:lnTo>
                    <a:pt x="163" y="305"/>
                  </a:lnTo>
                  <a:lnTo>
                    <a:pt x="120" y="322"/>
                  </a:lnTo>
                  <a:lnTo>
                    <a:pt x="92" y="322"/>
                  </a:lnTo>
                  <a:lnTo>
                    <a:pt x="54" y="326"/>
                  </a:lnTo>
                  <a:lnTo>
                    <a:pt x="45" y="322"/>
                  </a:lnTo>
                  <a:lnTo>
                    <a:pt x="59" y="305"/>
                  </a:lnTo>
                  <a:lnTo>
                    <a:pt x="75" y="310"/>
                  </a:lnTo>
                  <a:lnTo>
                    <a:pt x="99" y="305"/>
                  </a:lnTo>
                  <a:lnTo>
                    <a:pt x="130" y="310"/>
                  </a:lnTo>
                  <a:lnTo>
                    <a:pt x="137" y="305"/>
                  </a:lnTo>
                  <a:lnTo>
                    <a:pt x="137" y="293"/>
                  </a:lnTo>
                  <a:lnTo>
                    <a:pt x="146" y="289"/>
                  </a:lnTo>
                  <a:lnTo>
                    <a:pt x="137" y="293"/>
                  </a:lnTo>
                  <a:lnTo>
                    <a:pt x="137" y="305"/>
                  </a:lnTo>
                  <a:lnTo>
                    <a:pt x="130" y="310"/>
                  </a:lnTo>
                  <a:lnTo>
                    <a:pt x="109" y="310"/>
                  </a:lnTo>
                  <a:lnTo>
                    <a:pt x="99" y="293"/>
                  </a:lnTo>
                  <a:lnTo>
                    <a:pt x="99" y="305"/>
                  </a:lnTo>
                  <a:lnTo>
                    <a:pt x="75" y="310"/>
                  </a:lnTo>
                  <a:lnTo>
                    <a:pt x="59" y="305"/>
                  </a:lnTo>
                  <a:lnTo>
                    <a:pt x="59" y="293"/>
                  </a:lnTo>
                  <a:lnTo>
                    <a:pt x="54" y="310"/>
                  </a:lnTo>
                  <a:lnTo>
                    <a:pt x="54" y="272"/>
                  </a:lnTo>
                  <a:lnTo>
                    <a:pt x="54" y="267"/>
                  </a:lnTo>
                  <a:lnTo>
                    <a:pt x="113" y="267"/>
                  </a:lnTo>
                  <a:lnTo>
                    <a:pt x="113" y="256"/>
                  </a:lnTo>
                  <a:lnTo>
                    <a:pt x="151" y="251"/>
                  </a:lnTo>
                  <a:lnTo>
                    <a:pt x="168" y="232"/>
                  </a:lnTo>
                  <a:lnTo>
                    <a:pt x="222" y="267"/>
                  </a:lnTo>
                  <a:lnTo>
                    <a:pt x="255" y="256"/>
                  </a:lnTo>
                  <a:lnTo>
                    <a:pt x="260" y="251"/>
                  </a:lnTo>
                  <a:lnTo>
                    <a:pt x="243" y="232"/>
                  </a:lnTo>
                  <a:lnTo>
                    <a:pt x="222" y="251"/>
                  </a:lnTo>
                  <a:lnTo>
                    <a:pt x="205" y="232"/>
                  </a:lnTo>
                  <a:lnTo>
                    <a:pt x="191" y="232"/>
                  </a:lnTo>
                  <a:lnTo>
                    <a:pt x="184" y="222"/>
                  </a:lnTo>
                  <a:lnTo>
                    <a:pt x="168" y="215"/>
                  </a:lnTo>
                  <a:lnTo>
                    <a:pt x="146" y="222"/>
                  </a:lnTo>
                  <a:lnTo>
                    <a:pt x="137" y="232"/>
                  </a:lnTo>
                  <a:lnTo>
                    <a:pt x="59" y="232"/>
                  </a:lnTo>
                  <a:lnTo>
                    <a:pt x="59" y="222"/>
                  </a:lnTo>
                  <a:lnTo>
                    <a:pt x="66" y="211"/>
                  </a:lnTo>
                  <a:lnTo>
                    <a:pt x="54" y="222"/>
                  </a:lnTo>
                  <a:lnTo>
                    <a:pt x="54" y="211"/>
                  </a:lnTo>
                  <a:lnTo>
                    <a:pt x="75" y="194"/>
                  </a:lnTo>
                  <a:lnTo>
                    <a:pt x="66" y="194"/>
                  </a:lnTo>
                  <a:lnTo>
                    <a:pt x="59" y="199"/>
                  </a:lnTo>
                  <a:lnTo>
                    <a:pt x="45" y="199"/>
                  </a:lnTo>
                  <a:lnTo>
                    <a:pt x="21" y="156"/>
                  </a:lnTo>
                  <a:lnTo>
                    <a:pt x="7" y="156"/>
                  </a:lnTo>
                  <a:lnTo>
                    <a:pt x="0" y="156"/>
                  </a:lnTo>
                  <a:lnTo>
                    <a:pt x="0" y="156"/>
                  </a:lnTo>
                  <a:lnTo>
                    <a:pt x="21" y="140"/>
                  </a:lnTo>
                  <a:lnTo>
                    <a:pt x="45" y="111"/>
                  </a:lnTo>
                  <a:lnTo>
                    <a:pt x="66" y="74"/>
                  </a:lnTo>
                  <a:lnTo>
                    <a:pt x="66" y="50"/>
                  </a:lnTo>
                  <a:lnTo>
                    <a:pt x="83" y="17"/>
                  </a:lnTo>
                  <a:lnTo>
                    <a:pt x="130" y="17"/>
                  </a:lnTo>
                  <a:lnTo>
                    <a:pt x="175" y="0"/>
                  </a:lnTo>
                  <a:lnTo>
                    <a:pt x="222" y="12"/>
                  </a:lnTo>
                  <a:lnTo>
                    <a:pt x="255" y="50"/>
                  </a:lnTo>
                  <a:lnTo>
                    <a:pt x="260" y="45"/>
                  </a:lnTo>
                  <a:lnTo>
                    <a:pt x="272" y="50"/>
                  </a:lnTo>
                  <a:lnTo>
                    <a:pt x="276" y="50"/>
                  </a:lnTo>
                  <a:lnTo>
                    <a:pt x="283" y="50"/>
                  </a:lnTo>
                  <a:lnTo>
                    <a:pt x="298" y="83"/>
                  </a:lnTo>
                  <a:lnTo>
                    <a:pt x="309" y="100"/>
                  </a:lnTo>
                  <a:lnTo>
                    <a:pt x="314" y="100"/>
                  </a:lnTo>
                  <a:lnTo>
                    <a:pt x="326" y="107"/>
                  </a:lnTo>
                  <a:lnTo>
                    <a:pt x="326" y="111"/>
                  </a:lnTo>
                  <a:lnTo>
                    <a:pt x="347" y="128"/>
                  </a:lnTo>
                  <a:lnTo>
                    <a:pt x="368" y="144"/>
                  </a:lnTo>
                  <a:lnTo>
                    <a:pt x="368" y="178"/>
                  </a:lnTo>
                  <a:lnTo>
                    <a:pt x="385" y="194"/>
                  </a:lnTo>
                  <a:lnTo>
                    <a:pt x="385" y="215"/>
                  </a:lnTo>
                  <a:lnTo>
                    <a:pt x="380" y="232"/>
                  </a:lnTo>
                  <a:lnTo>
                    <a:pt x="401" y="256"/>
                  </a:lnTo>
                  <a:lnTo>
                    <a:pt x="401" y="251"/>
                  </a:lnTo>
                  <a:lnTo>
                    <a:pt x="406" y="251"/>
                  </a:lnTo>
                  <a:lnTo>
                    <a:pt x="435" y="277"/>
                  </a:lnTo>
                  <a:lnTo>
                    <a:pt x="435" y="322"/>
                  </a:lnTo>
                  <a:lnTo>
                    <a:pt x="385" y="322"/>
                  </a:lnTo>
                  <a:lnTo>
                    <a:pt x="364" y="326"/>
                  </a:lnTo>
                  <a:lnTo>
                    <a:pt x="326" y="310"/>
                  </a:lnTo>
                  <a:lnTo>
                    <a:pt x="309" y="322"/>
                  </a:lnTo>
                  <a:lnTo>
                    <a:pt x="309" y="305"/>
                  </a:lnTo>
                  <a:lnTo>
                    <a:pt x="260" y="305"/>
                  </a:lnTo>
                  <a:lnTo>
                    <a:pt x="222" y="305"/>
                  </a:lnTo>
                  <a:lnTo>
                    <a:pt x="222" y="305"/>
                  </a:lnTo>
                  <a:lnTo>
                    <a:pt x="222" y="30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44" name="Freeform 551">
              <a:extLst>
                <a:ext uri="{FF2B5EF4-FFF2-40B4-BE49-F238E27FC236}">
                  <a16:creationId xmlns:a16="http://schemas.microsoft.com/office/drawing/2014/main" id="{28AE0232-2B2B-4FAF-B364-DDD397324742}"/>
                </a:ext>
              </a:extLst>
            </p:cNvPr>
            <p:cNvSpPr>
              <a:spLocks noEditPoints="1"/>
            </p:cNvSpPr>
            <p:nvPr/>
          </p:nvSpPr>
          <p:spPr bwMode="gray">
            <a:xfrm>
              <a:off x="6310037" y="4298917"/>
              <a:ext cx="249060" cy="921832"/>
            </a:xfrm>
            <a:custGeom>
              <a:avLst/>
              <a:gdLst>
                <a:gd name="T0" fmla="*/ 0 w 605"/>
                <a:gd name="T1" fmla="*/ 5 h 2239"/>
                <a:gd name="T2" fmla="*/ 0 w 605"/>
                <a:gd name="T3" fmla="*/ 0 h 2239"/>
                <a:gd name="T4" fmla="*/ 5 w 605"/>
                <a:gd name="T5" fmla="*/ 5 h 2239"/>
                <a:gd name="T6" fmla="*/ 0 w 605"/>
                <a:gd name="T7" fmla="*/ 5 h 2239"/>
                <a:gd name="T8" fmla="*/ 0 w 605"/>
                <a:gd name="T9" fmla="*/ 5 h 2239"/>
                <a:gd name="T10" fmla="*/ 0 w 605"/>
                <a:gd name="T11" fmla="*/ 5 h 2239"/>
                <a:gd name="T12" fmla="*/ 605 w 605"/>
                <a:gd name="T13" fmla="*/ 593 h 2239"/>
                <a:gd name="T14" fmla="*/ 600 w 605"/>
                <a:gd name="T15" fmla="*/ 593 h 2239"/>
                <a:gd name="T16" fmla="*/ 605 w 605"/>
                <a:gd name="T17" fmla="*/ 588 h 2239"/>
                <a:gd name="T18" fmla="*/ 605 w 605"/>
                <a:gd name="T19" fmla="*/ 593 h 2239"/>
                <a:gd name="T20" fmla="*/ 605 w 605"/>
                <a:gd name="T21" fmla="*/ 593 h 2239"/>
                <a:gd name="T22" fmla="*/ 605 w 605"/>
                <a:gd name="T23" fmla="*/ 593 h 2239"/>
                <a:gd name="T24" fmla="*/ 146 w 605"/>
                <a:gd name="T25" fmla="*/ 2239 h 2239"/>
                <a:gd name="T26" fmla="*/ 146 w 605"/>
                <a:gd name="T27" fmla="*/ 2235 h 2239"/>
                <a:gd name="T28" fmla="*/ 151 w 605"/>
                <a:gd name="T29" fmla="*/ 2235 h 2239"/>
                <a:gd name="T30" fmla="*/ 146 w 605"/>
                <a:gd name="T31" fmla="*/ 2239 h 2239"/>
                <a:gd name="T32" fmla="*/ 146 w 605"/>
                <a:gd name="T33" fmla="*/ 2239 h 2239"/>
                <a:gd name="T34" fmla="*/ 146 w 605"/>
                <a:gd name="T35" fmla="*/ 2239 h 2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5" h="2239">
                  <a:moveTo>
                    <a:pt x="0" y="5"/>
                  </a:moveTo>
                  <a:lnTo>
                    <a:pt x="0" y="0"/>
                  </a:lnTo>
                  <a:lnTo>
                    <a:pt x="5" y="5"/>
                  </a:lnTo>
                  <a:lnTo>
                    <a:pt x="0" y="5"/>
                  </a:lnTo>
                  <a:lnTo>
                    <a:pt x="0" y="5"/>
                  </a:lnTo>
                  <a:lnTo>
                    <a:pt x="0" y="5"/>
                  </a:lnTo>
                  <a:close/>
                  <a:moveTo>
                    <a:pt x="605" y="593"/>
                  </a:moveTo>
                  <a:lnTo>
                    <a:pt x="600" y="593"/>
                  </a:lnTo>
                  <a:lnTo>
                    <a:pt x="605" y="588"/>
                  </a:lnTo>
                  <a:lnTo>
                    <a:pt x="605" y="593"/>
                  </a:lnTo>
                  <a:lnTo>
                    <a:pt x="605" y="593"/>
                  </a:lnTo>
                  <a:lnTo>
                    <a:pt x="605" y="593"/>
                  </a:lnTo>
                  <a:close/>
                  <a:moveTo>
                    <a:pt x="146" y="2239"/>
                  </a:moveTo>
                  <a:lnTo>
                    <a:pt x="146" y="2235"/>
                  </a:lnTo>
                  <a:lnTo>
                    <a:pt x="151" y="2235"/>
                  </a:lnTo>
                  <a:lnTo>
                    <a:pt x="146" y="2239"/>
                  </a:lnTo>
                  <a:lnTo>
                    <a:pt x="146" y="2239"/>
                  </a:lnTo>
                  <a:lnTo>
                    <a:pt x="146" y="223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45" name="Freeform 553">
              <a:extLst>
                <a:ext uri="{FF2B5EF4-FFF2-40B4-BE49-F238E27FC236}">
                  <a16:creationId xmlns:a16="http://schemas.microsoft.com/office/drawing/2014/main" id="{F3EF414E-9B7C-40D7-9C83-D59125551BDE}"/>
                </a:ext>
              </a:extLst>
            </p:cNvPr>
            <p:cNvSpPr>
              <a:spLocks noEditPoints="1"/>
            </p:cNvSpPr>
            <p:nvPr/>
          </p:nvSpPr>
          <p:spPr bwMode="gray">
            <a:xfrm>
              <a:off x="6342147" y="3766980"/>
              <a:ext cx="88509" cy="93459"/>
            </a:xfrm>
            <a:custGeom>
              <a:avLst/>
              <a:gdLst>
                <a:gd name="T0" fmla="*/ 165 w 215"/>
                <a:gd name="T1" fmla="*/ 184 h 227"/>
                <a:gd name="T2" fmla="*/ 139 w 215"/>
                <a:gd name="T3" fmla="*/ 206 h 227"/>
                <a:gd name="T4" fmla="*/ 127 w 215"/>
                <a:gd name="T5" fmla="*/ 227 h 227"/>
                <a:gd name="T6" fmla="*/ 97 w 215"/>
                <a:gd name="T7" fmla="*/ 217 h 227"/>
                <a:gd name="T8" fmla="*/ 52 w 215"/>
                <a:gd name="T9" fmla="*/ 189 h 227"/>
                <a:gd name="T10" fmla="*/ 59 w 215"/>
                <a:gd name="T11" fmla="*/ 184 h 227"/>
                <a:gd name="T12" fmla="*/ 75 w 215"/>
                <a:gd name="T13" fmla="*/ 173 h 227"/>
                <a:gd name="T14" fmla="*/ 59 w 215"/>
                <a:gd name="T15" fmla="*/ 184 h 227"/>
                <a:gd name="T16" fmla="*/ 21 w 215"/>
                <a:gd name="T17" fmla="*/ 161 h 227"/>
                <a:gd name="T18" fmla="*/ 30 w 215"/>
                <a:gd name="T19" fmla="*/ 151 h 227"/>
                <a:gd name="T20" fmla="*/ 21 w 215"/>
                <a:gd name="T21" fmla="*/ 128 h 227"/>
                <a:gd name="T22" fmla="*/ 16 w 215"/>
                <a:gd name="T23" fmla="*/ 132 h 227"/>
                <a:gd name="T24" fmla="*/ 0 w 215"/>
                <a:gd name="T25" fmla="*/ 111 h 227"/>
                <a:gd name="T26" fmla="*/ 16 w 215"/>
                <a:gd name="T27" fmla="*/ 116 h 227"/>
                <a:gd name="T28" fmla="*/ 16 w 215"/>
                <a:gd name="T29" fmla="*/ 116 h 227"/>
                <a:gd name="T30" fmla="*/ 30 w 215"/>
                <a:gd name="T31" fmla="*/ 111 h 227"/>
                <a:gd name="T32" fmla="*/ 5 w 215"/>
                <a:gd name="T33" fmla="*/ 111 h 227"/>
                <a:gd name="T34" fmla="*/ 5 w 215"/>
                <a:gd name="T35" fmla="*/ 90 h 227"/>
                <a:gd name="T36" fmla="*/ 16 w 215"/>
                <a:gd name="T37" fmla="*/ 90 h 227"/>
                <a:gd name="T38" fmla="*/ 0 w 215"/>
                <a:gd name="T39" fmla="*/ 73 h 227"/>
                <a:gd name="T40" fmla="*/ 16 w 215"/>
                <a:gd name="T41" fmla="*/ 73 h 227"/>
                <a:gd name="T42" fmla="*/ 21 w 215"/>
                <a:gd name="T43" fmla="*/ 57 h 227"/>
                <a:gd name="T44" fmla="*/ 42 w 215"/>
                <a:gd name="T45" fmla="*/ 50 h 227"/>
                <a:gd name="T46" fmla="*/ 59 w 215"/>
                <a:gd name="T47" fmla="*/ 5 h 227"/>
                <a:gd name="T48" fmla="*/ 75 w 215"/>
                <a:gd name="T49" fmla="*/ 5 h 227"/>
                <a:gd name="T50" fmla="*/ 85 w 215"/>
                <a:gd name="T51" fmla="*/ 17 h 227"/>
                <a:gd name="T52" fmla="*/ 97 w 215"/>
                <a:gd name="T53" fmla="*/ 5 h 227"/>
                <a:gd name="T54" fmla="*/ 97 w 215"/>
                <a:gd name="T55" fmla="*/ 0 h 227"/>
                <a:gd name="T56" fmla="*/ 144 w 215"/>
                <a:gd name="T57" fmla="*/ 0 h 227"/>
                <a:gd name="T58" fmla="*/ 182 w 215"/>
                <a:gd name="T59" fmla="*/ 57 h 227"/>
                <a:gd name="T60" fmla="*/ 177 w 215"/>
                <a:gd name="T61" fmla="*/ 73 h 227"/>
                <a:gd name="T62" fmla="*/ 193 w 215"/>
                <a:gd name="T63" fmla="*/ 73 h 227"/>
                <a:gd name="T64" fmla="*/ 193 w 215"/>
                <a:gd name="T65" fmla="*/ 90 h 227"/>
                <a:gd name="T66" fmla="*/ 198 w 215"/>
                <a:gd name="T67" fmla="*/ 95 h 227"/>
                <a:gd name="T68" fmla="*/ 182 w 215"/>
                <a:gd name="T69" fmla="*/ 128 h 227"/>
                <a:gd name="T70" fmla="*/ 215 w 215"/>
                <a:gd name="T71" fmla="*/ 111 h 227"/>
                <a:gd name="T72" fmla="*/ 203 w 215"/>
                <a:gd name="T73" fmla="*/ 132 h 227"/>
                <a:gd name="T74" fmla="*/ 193 w 215"/>
                <a:gd name="T75" fmla="*/ 144 h 227"/>
                <a:gd name="T76" fmla="*/ 193 w 215"/>
                <a:gd name="T77" fmla="*/ 168 h 227"/>
                <a:gd name="T78" fmla="*/ 165 w 215"/>
                <a:gd name="T79" fmla="*/ 184 h 227"/>
                <a:gd name="T80" fmla="*/ 165 w 215"/>
                <a:gd name="T81" fmla="*/ 184 h 227"/>
                <a:gd name="T82" fmla="*/ 165 w 215"/>
                <a:gd name="T83" fmla="*/ 184 h 227"/>
                <a:gd name="T84" fmla="*/ 30 w 215"/>
                <a:gd name="T85" fmla="*/ 173 h 227"/>
                <a:gd name="T86" fmla="*/ 52 w 215"/>
                <a:gd name="T87" fmla="*/ 173 h 227"/>
                <a:gd name="T88" fmla="*/ 52 w 215"/>
                <a:gd name="T89" fmla="*/ 184 h 227"/>
                <a:gd name="T90" fmla="*/ 52 w 215"/>
                <a:gd name="T91" fmla="*/ 189 h 227"/>
                <a:gd name="T92" fmla="*/ 21 w 215"/>
                <a:gd name="T93" fmla="*/ 184 h 227"/>
                <a:gd name="T94" fmla="*/ 30 w 215"/>
                <a:gd name="T95" fmla="*/ 173 h 227"/>
                <a:gd name="T96" fmla="*/ 30 w 215"/>
                <a:gd name="T97" fmla="*/ 173 h 227"/>
                <a:gd name="T98" fmla="*/ 30 w 215"/>
                <a:gd name="T99" fmla="*/ 17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5" h="227">
                  <a:moveTo>
                    <a:pt x="165" y="184"/>
                  </a:moveTo>
                  <a:lnTo>
                    <a:pt x="139" y="206"/>
                  </a:lnTo>
                  <a:lnTo>
                    <a:pt x="127" y="227"/>
                  </a:lnTo>
                  <a:lnTo>
                    <a:pt x="97" y="217"/>
                  </a:lnTo>
                  <a:lnTo>
                    <a:pt x="52" y="189"/>
                  </a:lnTo>
                  <a:lnTo>
                    <a:pt x="59" y="184"/>
                  </a:lnTo>
                  <a:lnTo>
                    <a:pt x="75" y="173"/>
                  </a:lnTo>
                  <a:lnTo>
                    <a:pt x="59" y="184"/>
                  </a:lnTo>
                  <a:lnTo>
                    <a:pt x="21" y="161"/>
                  </a:lnTo>
                  <a:lnTo>
                    <a:pt x="30" y="151"/>
                  </a:lnTo>
                  <a:lnTo>
                    <a:pt x="21" y="128"/>
                  </a:lnTo>
                  <a:lnTo>
                    <a:pt x="16" y="132"/>
                  </a:lnTo>
                  <a:lnTo>
                    <a:pt x="0" y="111"/>
                  </a:lnTo>
                  <a:lnTo>
                    <a:pt x="16" y="116"/>
                  </a:lnTo>
                  <a:lnTo>
                    <a:pt x="16" y="116"/>
                  </a:lnTo>
                  <a:lnTo>
                    <a:pt x="30" y="111"/>
                  </a:lnTo>
                  <a:lnTo>
                    <a:pt x="5" y="111"/>
                  </a:lnTo>
                  <a:lnTo>
                    <a:pt x="5" y="90"/>
                  </a:lnTo>
                  <a:lnTo>
                    <a:pt x="16" y="90"/>
                  </a:lnTo>
                  <a:lnTo>
                    <a:pt x="0" y="73"/>
                  </a:lnTo>
                  <a:lnTo>
                    <a:pt x="16" y="73"/>
                  </a:lnTo>
                  <a:lnTo>
                    <a:pt x="21" y="57"/>
                  </a:lnTo>
                  <a:lnTo>
                    <a:pt x="42" y="50"/>
                  </a:lnTo>
                  <a:lnTo>
                    <a:pt x="59" y="5"/>
                  </a:lnTo>
                  <a:lnTo>
                    <a:pt x="75" y="5"/>
                  </a:lnTo>
                  <a:lnTo>
                    <a:pt x="85" y="17"/>
                  </a:lnTo>
                  <a:lnTo>
                    <a:pt x="97" y="5"/>
                  </a:lnTo>
                  <a:lnTo>
                    <a:pt x="97" y="0"/>
                  </a:lnTo>
                  <a:lnTo>
                    <a:pt x="144" y="0"/>
                  </a:lnTo>
                  <a:lnTo>
                    <a:pt x="182" y="57"/>
                  </a:lnTo>
                  <a:lnTo>
                    <a:pt x="177" y="73"/>
                  </a:lnTo>
                  <a:lnTo>
                    <a:pt x="193" y="73"/>
                  </a:lnTo>
                  <a:lnTo>
                    <a:pt x="193" y="90"/>
                  </a:lnTo>
                  <a:lnTo>
                    <a:pt x="198" y="95"/>
                  </a:lnTo>
                  <a:lnTo>
                    <a:pt x="182" y="128"/>
                  </a:lnTo>
                  <a:lnTo>
                    <a:pt x="215" y="111"/>
                  </a:lnTo>
                  <a:lnTo>
                    <a:pt x="203" y="132"/>
                  </a:lnTo>
                  <a:lnTo>
                    <a:pt x="193" y="144"/>
                  </a:lnTo>
                  <a:lnTo>
                    <a:pt x="193" y="168"/>
                  </a:lnTo>
                  <a:lnTo>
                    <a:pt x="165" y="184"/>
                  </a:lnTo>
                  <a:lnTo>
                    <a:pt x="165" y="184"/>
                  </a:lnTo>
                  <a:lnTo>
                    <a:pt x="165" y="184"/>
                  </a:lnTo>
                  <a:close/>
                  <a:moveTo>
                    <a:pt x="30" y="173"/>
                  </a:moveTo>
                  <a:lnTo>
                    <a:pt x="52" y="173"/>
                  </a:lnTo>
                  <a:lnTo>
                    <a:pt x="52" y="184"/>
                  </a:lnTo>
                  <a:lnTo>
                    <a:pt x="52" y="189"/>
                  </a:lnTo>
                  <a:lnTo>
                    <a:pt x="21" y="184"/>
                  </a:lnTo>
                  <a:lnTo>
                    <a:pt x="30" y="173"/>
                  </a:lnTo>
                  <a:lnTo>
                    <a:pt x="30" y="173"/>
                  </a:lnTo>
                  <a:lnTo>
                    <a:pt x="30" y="17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46" name="Freeform 556">
              <a:extLst>
                <a:ext uri="{FF2B5EF4-FFF2-40B4-BE49-F238E27FC236}">
                  <a16:creationId xmlns:a16="http://schemas.microsoft.com/office/drawing/2014/main" id="{209319F8-45AD-4807-A0D0-CD4D04749011}"/>
                </a:ext>
              </a:extLst>
            </p:cNvPr>
            <p:cNvSpPr>
              <a:spLocks/>
            </p:cNvSpPr>
            <p:nvPr/>
          </p:nvSpPr>
          <p:spPr bwMode="gray">
            <a:xfrm>
              <a:off x="7910610" y="3706868"/>
              <a:ext cx="298461" cy="408422"/>
            </a:xfrm>
            <a:custGeom>
              <a:avLst/>
              <a:gdLst>
                <a:gd name="T0" fmla="*/ 130 w 725"/>
                <a:gd name="T1" fmla="*/ 555 h 992"/>
                <a:gd name="T2" fmla="*/ 184 w 725"/>
                <a:gd name="T3" fmla="*/ 515 h 992"/>
                <a:gd name="T4" fmla="*/ 276 w 725"/>
                <a:gd name="T5" fmla="*/ 515 h 992"/>
                <a:gd name="T6" fmla="*/ 416 w 725"/>
                <a:gd name="T7" fmla="*/ 295 h 992"/>
                <a:gd name="T8" fmla="*/ 184 w 725"/>
                <a:gd name="T9" fmla="*/ 193 h 992"/>
                <a:gd name="T10" fmla="*/ 151 w 725"/>
                <a:gd name="T11" fmla="*/ 151 h 992"/>
                <a:gd name="T12" fmla="*/ 130 w 725"/>
                <a:gd name="T13" fmla="*/ 127 h 992"/>
                <a:gd name="T14" fmla="*/ 130 w 725"/>
                <a:gd name="T15" fmla="*/ 73 h 992"/>
                <a:gd name="T16" fmla="*/ 168 w 725"/>
                <a:gd name="T17" fmla="*/ 49 h 992"/>
                <a:gd name="T18" fmla="*/ 234 w 725"/>
                <a:gd name="T19" fmla="*/ 111 h 992"/>
                <a:gd name="T20" fmla="*/ 331 w 725"/>
                <a:gd name="T21" fmla="*/ 85 h 992"/>
                <a:gd name="T22" fmla="*/ 449 w 725"/>
                <a:gd name="T23" fmla="*/ 66 h 992"/>
                <a:gd name="T24" fmla="*/ 503 w 725"/>
                <a:gd name="T25" fmla="*/ 66 h 992"/>
                <a:gd name="T26" fmla="*/ 557 w 725"/>
                <a:gd name="T27" fmla="*/ 56 h 992"/>
                <a:gd name="T28" fmla="*/ 600 w 725"/>
                <a:gd name="T29" fmla="*/ 40 h 992"/>
                <a:gd name="T30" fmla="*/ 654 w 725"/>
                <a:gd name="T31" fmla="*/ 28 h 992"/>
                <a:gd name="T32" fmla="*/ 687 w 725"/>
                <a:gd name="T33" fmla="*/ 0 h 992"/>
                <a:gd name="T34" fmla="*/ 704 w 725"/>
                <a:gd name="T35" fmla="*/ 49 h 992"/>
                <a:gd name="T36" fmla="*/ 709 w 725"/>
                <a:gd name="T37" fmla="*/ 66 h 992"/>
                <a:gd name="T38" fmla="*/ 704 w 725"/>
                <a:gd name="T39" fmla="*/ 111 h 992"/>
                <a:gd name="T40" fmla="*/ 709 w 725"/>
                <a:gd name="T41" fmla="*/ 106 h 992"/>
                <a:gd name="T42" fmla="*/ 725 w 725"/>
                <a:gd name="T43" fmla="*/ 122 h 992"/>
                <a:gd name="T44" fmla="*/ 692 w 725"/>
                <a:gd name="T45" fmla="*/ 122 h 992"/>
                <a:gd name="T46" fmla="*/ 654 w 725"/>
                <a:gd name="T47" fmla="*/ 233 h 992"/>
                <a:gd name="T48" fmla="*/ 616 w 725"/>
                <a:gd name="T49" fmla="*/ 295 h 992"/>
                <a:gd name="T50" fmla="*/ 569 w 725"/>
                <a:gd name="T51" fmla="*/ 382 h 992"/>
                <a:gd name="T52" fmla="*/ 487 w 725"/>
                <a:gd name="T53" fmla="*/ 548 h 992"/>
                <a:gd name="T54" fmla="*/ 243 w 725"/>
                <a:gd name="T55" fmla="*/ 753 h 992"/>
                <a:gd name="T56" fmla="*/ 71 w 725"/>
                <a:gd name="T57" fmla="*/ 937 h 992"/>
                <a:gd name="T58" fmla="*/ 0 w 725"/>
                <a:gd name="T59" fmla="*/ 937 h 992"/>
                <a:gd name="T60" fmla="*/ 21 w 725"/>
                <a:gd name="T61" fmla="*/ 642 h 992"/>
                <a:gd name="T62" fmla="*/ 71 w 725"/>
                <a:gd name="T63" fmla="*/ 571 h 992"/>
                <a:gd name="T64" fmla="*/ 71 w 725"/>
                <a:gd name="T65" fmla="*/ 571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5" h="992">
                  <a:moveTo>
                    <a:pt x="71" y="571"/>
                  </a:moveTo>
                  <a:lnTo>
                    <a:pt x="130" y="555"/>
                  </a:lnTo>
                  <a:lnTo>
                    <a:pt x="146" y="531"/>
                  </a:lnTo>
                  <a:lnTo>
                    <a:pt x="184" y="515"/>
                  </a:lnTo>
                  <a:lnTo>
                    <a:pt x="205" y="510"/>
                  </a:lnTo>
                  <a:lnTo>
                    <a:pt x="276" y="515"/>
                  </a:lnTo>
                  <a:lnTo>
                    <a:pt x="487" y="295"/>
                  </a:lnTo>
                  <a:lnTo>
                    <a:pt x="416" y="295"/>
                  </a:lnTo>
                  <a:lnTo>
                    <a:pt x="205" y="222"/>
                  </a:lnTo>
                  <a:lnTo>
                    <a:pt x="184" y="193"/>
                  </a:lnTo>
                  <a:lnTo>
                    <a:pt x="168" y="193"/>
                  </a:lnTo>
                  <a:lnTo>
                    <a:pt x="151" y="151"/>
                  </a:lnTo>
                  <a:lnTo>
                    <a:pt x="146" y="151"/>
                  </a:lnTo>
                  <a:lnTo>
                    <a:pt x="130" y="127"/>
                  </a:lnTo>
                  <a:lnTo>
                    <a:pt x="113" y="106"/>
                  </a:lnTo>
                  <a:lnTo>
                    <a:pt x="130" y="73"/>
                  </a:lnTo>
                  <a:lnTo>
                    <a:pt x="151" y="40"/>
                  </a:lnTo>
                  <a:lnTo>
                    <a:pt x="168" y="49"/>
                  </a:lnTo>
                  <a:lnTo>
                    <a:pt x="189" y="89"/>
                  </a:lnTo>
                  <a:lnTo>
                    <a:pt x="234" y="111"/>
                  </a:lnTo>
                  <a:lnTo>
                    <a:pt x="272" y="122"/>
                  </a:lnTo>
                  <a:lnTo>
                    <a:pt x="331" y="85"/>
                  </a:lnTo>
                  <a:lnTo>
                    <a:pt x="378" y="94"/>
                  </a:lnTo>
                  <a:lnTo>
                    <a:pt x="449" y="66"/>
                  </a:lnTo>
                  <a:lnTo>
                    <a:pt x="470" y="66"/>
                  </a:lnTo>
                  <a:lnTo>
                    <a:pt x="503" y="66"/>
                  </a:lnTo>
                  <a:lnTo>
                    <a:pt x="524" y="49"/>
                  </a:lnTo>
                  <a:lnTo>
                    <a:pt x="557" y="56"/>
                  </a:lnTo>
                  <a:lnTo>
                    <a:pt x="583" y="49"/>
                  </a:lnTo>
                  <a:lnTo>
                    <a:pt x="600" y="40"/>
                  </a:lnTo>
                  <a:lnTo>
                    <a:pt x="633" y="40"/>
                  </a:lnTo>
                  <a:lnTo>
                    <a:pt x="654" y="28"/>
                  </a:lnTo>
                  <a:lnTo>
                    <a:pt x="671" y="11"/>
                  </a:lnTo>
                  <a:lnTo>
                    <a:pt x="687" y="0"/>
                  </a:lnTo>
                  <a:lnTo>
                    <a:pt x="720" y="11"/>
                  </a:lnTo>
                  <a:lnTo>
                    <a:pt x="704" y="49"/>
                  </a:lnTo>
                  <a:lnTo>
                    <a:pt x="704" y="56"/>
                  </a:lnTo>
                  <a:lnTo>
                    <a:pt x="709" y="66"/>
                  </a:lnTo>
                  <a:lnTo>
                    <a:pt x="709" y="106"/>
                  </a:lnTo>
                  <a:lnTo>
                    <a:pt x="704" y="111"/>
                  </a:lnTo>
                  <a:lnTo>
                    <a:pt x="709" y="111"/>
                  </a:lnTo>
                  <a:lnTo>
                    <a:pt x="709" y="106"/>
                  </a:lnTo>
                  <a:lnTo>
                    <a:pt x="725" y="111"/>
                  </a:lnTo>
                  <a:lnTo>
                    <a:pt x="725" y="122"/>
                  </a:lnTo>
                  <a:lnTo>
                    <a:pt x="720" y="111"/>
                  </a:lnTo>
                  <a:lnTo>
                    <a:pt x="692" y="122"/>
                  </a:lnTo>
                  <a:lnTo>
                    <a:pt x="687" y="193"/>
                  </a:lnTo>
                  <a:lnTo>
                    <a:pt x="654" y="233"/>
                  </a:lnTo>
                  <a:lnTo>
                    <a:pt x="638" y="278"/>
                  </a:lnTo>
                  <a:lnTo>
                    <a:pt x="616" y="295"/>
                  </a:lnTo>
                  <a:lnTo>
                    <a:pt x="612" y="328"/>
                  </a:lnTo>
                  <a:lnTo>
                    <a:pt x="569" y="382"/>
                  </a:lnTo>
                  <a:lnTo>
                    <a:pt x="562" y="427"/>
                  </a:lnTo>
                  <a:lnTo>
                    <a:pt x="487" y="548"/>
                  </a:lnTo>
                  <a:lnTo>
                    <a:pt x="347" y="699"/>
                  </a:lnTo>
                  <a:lnTo>
                    <a:pt x="243" y="753"/>
                  </a:lnTo>
                  <a:lnTo>
                    <a:pt x="168" y="826"/>
                  </a:lnTo>
                  <a:lnTo>
                    <a:pt x="71" y="937"/>
                  </a:lnTo>
                  <a:lnTo>
                    <a:pt x="38" y="992"/>
                  </a:lnTo>
                  <a:lnTo>
                    <a:pt x="0" y="937"/>
                  </a:lnTo>
                  <a:lnTo>
                    <a:pt x="0" y="666"/>
                  </a:lnTo>
                  <a:lnTo>
                    <a:pt x="21" y="642"/>
                  </a:lnTo>
                  <a:lnTo>
                    <a:pt x="59" y="583"/>
                  </a:lnTo>
                  <a:lnTo>
                    <a:pt x="71" y="571"/>
                  </a:lnTo>
                  <a:lnTo>
                    <a:pt x="71" y="571"/>
                  </a:lnTo>
                  <a:lnTo>
                    <a:pt x="71" y="57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47" name="Freeform 563">
              <a:extLst>
                <a:ext uri="{FF2B5EF4-FFF2-40B4-BE49-F238E27FC236}">
                  <a16:creationId xmlns:a16="http://schemas.microsoft.com/office/drawing/2014/main" id="{39DE81BA-E426-4D35-A419-0F9756FA5608}"/>
                </a:ext>
              </a:extLst>
            </p:cNvPr>
            <p:cNvSpPr>
              <a:spLocks/>
            </p:cNvSpPr>
            <p:nvPr/>
          </p:nvSpPr>
          <p:spPr bwMode="gray">
            <a:xfrm>
              <a:off x="7754999" y="2905258"/>
              <a:ext cx="194308" cy="167569"/>
            </a:xfrm>
            <a:custGeom>
              <a:avLst/>
              <a:gdLst>
                <a:gd name="T0" fmla="*/ 0 w 472"/>
                <a:gd name="T1" fmla="*/ 333 h 407"/>
                <a:gd name="T2" fmla="*/ 0 w 472"/>
                <a:gd name="T3" fmla="*/ 333 h 407"/>
                <a:gd name="T4" fmla="*/ 28 w 472"/>
                <a:gd name="T5" fmla="*/ 300 h 407"/>
                <a:gd name="T6" fmla="*/ 21 w 472"/>
                <a:gd name="T7" fmla="*/ 300 h 407"/>
                <a:gd name="T8" fmla="*/ 28 w 472"/>
                <a:gd name="T9" fmla="*/ 284 h 407"/>
                <a:gd name="T10" fmla="*/ 54 w 472"/>
                <a:gd name="T11" fmla="*/ 284 h 407"/>
                <a:gd name="T12" fmla="*/ 43 w 472"/>
                <a:gd name="T13" fmla="*/ 279 h 407"/>
                <a:gd name="T14" fmla="*/ 71 w 472"/>
                <a:gd name="T15" fmla="*/ 251 h 407"/>
                <a:gd name="T16" fmla="*/ 59 w 472"/>
                <a:gd name="T17" fmla="*/ 239 h 407"/>
                <a:gd name="T18" fmla="*/ 43 w 472"/>
                <a:gd name="T19" fmla="*/ 229 h 407"/>
                <a:gd name="T20" fmla="*/ 54 w 472"/>
                <a:gd name="T21" fmla="*/ 222 h 407"/>
                <a:gd name="T22" fmla="*/ 21 w 472"/>
                <a:gd name="T23" fmla="*/ 222 h 407"/>
                <a:gd name="T24" fmla="*/ 17 w 472"/>
                <a:gd name="T25" fmla="*/ 194 h 407"/>
                <a:gd name="T26" fmla="*/ 21 w 472"/>
                <a:gd name="T27" fmla="*/ 173 h 407"/>
                <a:gd name="T28" fmla="*/ 21 w 472"/>
                <a:gd name="T29" fmla="*/ 156 h 407"/>
                <a:gd name="T30" fmla="*/ 5 w 472"/>
                <a:gd name="T31" fmla="*/ 140 h 407"/>
                <a:gd name="T32" fmla="*/ 21 w 472"/>
                <a:gd name="T33" fmla="*/ 111 h 407"/>
                <a:gd name="T34" fmla="*/ 38 w 472"/>
                <a:gd name="T35" fmla="*/ 128 h 407"/>
                <a:gd name="T36" fmla="*/ 38 w 472"/>
                <a:gd name="T37" fmla="*/ 111 h 407"/>
                <a:gd name="T38" fmla="*/ 54 w 472"/>
                <a:gd name="T39" fmla="*/ 111 h 407"/>
                <a:gd name="T40" fmla="*/ 54 w 472"/>
                <a:gd name="T41" fmla="*/ 83 h 407"/>
                <a:gd name="T42" fmla="*/ 76 w 472"/>
                <a:gd name="T43" fmla="*/ 83 h 407"/>
                <a:gd name="T44" fmla="*/ 59 w 472"/>
                <a:gd name="T45" fmla="*/ 71 h 407"/>
                <a:gd name="T46" fmla="*/ 71 w 472"/>
                <a:gd name="T47" fmla="*/ 38 h 407"/>
                <a:gd name="T48" fmla="*/ 109 w 472"/>
                <a:gd name="T49" fmla="*/ 55 h 407"/>
                <a:gd name="T50" fmla="*/ 125 w 472"/>
                <a:gd name="T51" fmla="*/ 55 h 407"/>
                <a:gd name="T52" fmla="*/ 184 w 472"/>
                <a:gd name="T53" fmla="*/ 26 h 407"/>
                <a:gd name="T54" fmla="*/ 201 w 472"/>
                <a:gd name="T55" fmla="*/ 38 h 407"/>
                <a:gd name="T56" fmla="*/ 217 w 472"/>
                <a:gd name="T57" fmla="*/ 43 h 407"/>
                <a:gd name="T58" fmla="*/ 255 w 472"/>
                <a:gd name="T59" fmla="*/ 55 h 407"/>
                <a:gd name="T60" fmla="*/ 293 w 472"/>
                <a:gd name="T61" fmla="*/ 43 h 407"/>
                <a:gd name="T62" fmla="*/ 364 w 472"/>
                <a:gd name="T63" fmla="*/ 17 h 407"/>
                <a:gd name="T64" fmla="*/ 418 w 472"/>
                <a:gd name="T65" fmla="*/ 17 h 407"/>
                <a:gd name="T66" fmla="*/ 451 w 472"/>
                <a:gd name="T67" fmla="*/ 5 h 407"/>
                <a:gd name="T68" fmla="*/ 456 w 472"/>
                <a:gd name="T69" fmla="*/ 0 h 407"/>
                <a:gd name="T70" fmla="*/ 472 w 472"/>
                <a:gd name="T71" fmla="*/ 5 h 407"/>
                <a:gd name="T72" fmla="*/ 472 w 472"/>
                <a:gd name="T73" fmla="*/ 17 h 407"/>
                <a:gd name="T74" fmla="*/ 435 w 472"/>
                <a:gd name="T75" fmla="*/ 55 h 407"/>
                <a:gd name="T76" fmla="*/ 402 w 472"/>
                <a:gd name="T77" fmla="*/ 62 h 407"/>
                <a:gd name="T78" fmla="*/ 397 w 472"/>
                <a:gd name="T79" fmla="*/ 78 h 407"/>
                <a:gd name="T80" fmla="*/ 397 w 472"/>
                <a:gd name="T81" fmla="*/ 99 h 407"/>
                <a:gd name="T82" fmla="*/ 402 w 472"/>
                <a:gd name="T83" fmla="*/ 116 h 407"/>
                <a:gd name="T84" fmla="*/ 402 w 472"/>
                <a:gd name="T85" fmla="*/ 140 h 407"/>
                <a:gd name="T86" fmla="*/ 397 w 472"/>
                <a:gd name="T87" fmla="*/ 173 h 407"/>
                <a:gd name="T88" fmla="*/ 397 w 472"/>
                <a:gd name="T89" fmla="*/ 206 h 407"/>
                <a:gd name="T90" fmla="*/ 380 w 472"/>
                <a:gd name="T91" fmla="*/ 239 h 407"/>
                <a:gd name="T92" fmla="*/ 222 w 472"/>
                <a:gd name="T93" fmla="*/ 324 h 407"/>
                <a:gd name="T94" fmla="*/ 83 w 472"/>
                <a:gd name="T95" fmla="*/ 407 h 407"/>
                <a:gd name="T96" fmla="*/ 54 w 472"/>
                <a:gd name="T97" fmla="*/ 407 h 407"/>
                <a:gd name="T98" fmla="*/ 28 w 472"/>
                <a:gd name="T99" fmla="*/ 390 h 407"/>
                <a:gd name="T100" fmla="*/ 21 w 472"/>
                <a:gd name="T101" fmla="*/ 373 h 407"/>
                <a:gd name="T102" fmla="*/ 0 w 472"/>
                <a:gd name="T103" fmla="*/ 378 h 407"/>
                <a:gd name="T104" fmla="*/ 0 w 472"/>
                <a:gd name="T105" fmla="*/ 333 h 407"/>
                <a:gd name="T106" fmla="*/ 0 w 472"/>
                <a:gd name="T107" fmla="*/ 333 h 407"/>
                <a:gd name="T108" fmla="*/ 0 w 472"/>
                <a:gd name="T109" fmla="*/ 333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2" h="407">
                  <a:moveTo>
                    <a:pt x="0" y="333"/>
                  </a:moveTo>
                  <a:lnTo>
                    <a:pt x="0" y="333"/>
                  </a:lnTo>
                  <a:lnTo>
                    <a:pt x="28" y="300"/>
                  </a:lnTo>
                  <a:lnTo>
                    <a:pt x="21" y="300"/>
                  </a:lnTo>
                  <a:lnTo>
                    <a:pt x="28" y="284"/>
                  </a:lnTo>
                  <a:lnTo>
                    <a:pt x="54" y="284"/>
                  </a:lnTo>
                  <a:lnTo>
                    <a:pt x="43" y="279"/>
                  </a:lnTo>
                  <a:lnTo>
                    <a:pt x="71" y="251"/>
                  </a:lnTo>
                  <a:lnTo>
                    <a:pt x="59" y="239"/>
                  </a:lnTo>
                  <a:lnTo>
                    <a:pt x="43" y="229"/>
                  </a:lnTo>
                  <a:lnTo>
                    <a:pt x="54" y="222"/>
                  </a:lnTo>
                  <a:lnTo>
                    <a:pt x="21" y="222"/>
                  </a:lnTo>
                  <a:lnTo>
                    <a:pt x="17" y="194"/>
                  </a:lnTo>
                  <a:lnTo>
                    <a:pt x="21" y="173"/>
                  </a:lnTo>
                  <a:lnTo>
                    <a:pt x="21" y="156"/>
                  </a:lnTo>
                  <a:lnTo>
                    <a:pt x="5" y="140"/>
                  </a:lnTo>
                  <a:lnTo>
                    <a:pt x="21" y="111"/>
                  </a:lnTo>
                  <a:lnTo>
                    <a:pt x="38" y="128"/>
                  </a:lnTo>
                  <a:lnTo>
                    <a:pt x="38" y="111"/>
                  </a:lnTo>
                  <a:lnTo>
                    <a:pt x="54" y="111"/>
                  </a:lnTo>
                  <a:lnTo>
                    <a:pt x="54" y="83"/>
                  </a:lnTo>
                  <a:lnTo>
                    <a:pt x="76" y="83"/>
                  </a:lnTo>
                  <a:lnTo>
                    <a:pt x="59" y="71"/>
                  </a:lnTo>
                  <a:lnTo>
                    <a:pt x="71" y="38"/>
                  </a:lnTo>
                  <a:lnTo>
                    <a:pt x="109" y="55"/>
                  </a:lnTo>
                  <a:lnTo>
                    <a:pt x="125" y="55"/>
                  </a:lnTo>
                  <a:lnTo>
                    <a:pt x="184" y="26"/>
                  </a:lnTo>
                  <a:lnTo>
                    <a:pt x="201" y="38"/>
                  </a:lnTo>
                  <a:lnTo>
                    <a:pt x="217" y="43"/>
                  </a:lnTo>
                  <a:lnTo>
                    <a:pt x="255" y="55"/>
                  </a:lnTo>
                  <a:lnTo>
                    <a:pt x="293" y="43"/>
                  </a:lnTo>
                  <a:lnTo>
                    <a:pt x="364" y="17"/>
                  </a:lnTo>
                  <a:lnTo>
                    <a:pt x="418" y="17"/>
                  </a:lnTo>
                  <a:lnTo>
                    <a:pt x="451" y="5"/>
                  </a:lnTo>
                  <a:lnTo>
                    <a:pt x="456" y="0"/>
                  </a:lnTo>
                  <a:lnTo>
                    <a:pt x="472" y="5"/>
                  </a:lnTo>
                  <a:lnTo>
                    <a:pt x="472" y="17"/>
                  </a:lnTo>
                  <a:lnTo>
                    <a:pt x="435" y="55"/>
                  </a:lnTo>
                  <a:lnTo>
                    <a:pt x="402" y="62"/>
                  </a:lnTo>
                  <a:lnTo>
                    <a:pt x="397" y="78"/>
                  </a:lnTo>
                  <a:lnTo>
                    <a:pt x="397" y="99"/>
                  </a:lnTo>
                  <a:lnTo>
                    <a:pt x="402" y="116"/>
                  </a:lnTo>
                  <a:lnTo>
                    <a:pt x="402" y="140"/>
                  </a:lnTo>
                  <a:lnTo>
                    <a:pt x="397" y="173"/>
                  </a:lnTo>
                  <a:lnTo>
                    <a:pt x="397" y="206"/>
                  </a:lnTo>
                  <a:lnTo>
                    <a:pt x="380" y="239"/>
                  </a:lnTo>
                  <a:lnTo>
                    <a:pt x="222" y="324"/>
                  </a:lnTo>
                  <a:lnTo>
                    <a:pt x="83" y="407"/>
                  </a:lnTo>
                  <a:lnTo>
                    <a:pt x="54" y="407"/>
                  </a:lnTo>
                  <a:lnTo>
                    <a:pt x="28" y="390"/>
                  </a:lnTo>
                  <a:lnTo>
                    <a:pt x="21" y="373"/>
                  </a:lnTo>
                  <a:lnTo>
                    <a:pt x="0" y="378"/>
                  </a:lnTo>
                  <a:lnTo>
                    <a:pt x="0" y="333"/>
                  </a:lnTo>
                  <a:lnTo>
                    <a:pt x="0" y="333"/>
                  </a:lnTo>
                  <a:lnTo>
                    <a:pt x="0" y="33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48" name="Freeform 565">
              <a:extLst>
                <a:ext uri="{FF2B5EF4-FFF2-40B4-BE49-F238E27FC236}">
                  <a16:creationId xmlns:a16="http://schemas.microsoft.com/office/drawing/2014/main" id="{04B6B456-5F21-41B7-AE9C-A28FD58677DA}"/>
                </a:ext>
              </a:extLst>
            </p:cNvPr>
            <p:cNvSpPr>
              <a:spLocks noEditPoints="1"/>
            </p:cNvSpPr>
            <p:nvPr/>
          </p:nvSpPr>
          <p:spPr bwMode="gray">
            <a:xfrm>
              <a:off x="8216070" y="3272096"/>
              <a:ext cx="134205" cy="107870"/>
            </a:xfrm>
            <a:custGeom>
              <a:avLst/>
              <a:gdLst>
                <a:gd name="T0" fmla="*/ 326 w 326"/>
                <a:gd name="T1" fmla="*/ 97 h 262"/>
                <a:gd name="T2" fmla="*/ 312 w 326"/>
                <a:gd name="T3" fmla="*/ 106 h 262"/>
                <a:gd name="T4" fmla="*/ 304 w 326"/>
                <a:gd name="T5" fmla="*/ 97 h 262"/>
                <a:gd name="T6" fmla="*/ 312 w 326"/>
                <a:gd name="T7" fmla="*/ 97 h 262"/>
                <a:gd name="T8" fmla="*/ 304 w 326"/>
                <a:gd name="T9" fmla="*/ 90 h 262"/>
                <a:gd name="T10" fmla="*/ 288 w 326"/>
                <a:gd name="T11" fmla="*/ 97 h 262"/>
                <a:gd name="T12" fmla="*/ 288 w 326"/>
                <a:gd name="T13" fmla="*/ 146 h 262"/>
                <a:gd name="T14" fmla="*/ 304 w 326"/>
                <a:gd name="T15" fmla="*/ 146 h 262"/>
                <a:gd name="T16" fmla="*/ 304 w 326"/>
                <a:gd name="T17" fmla="*/ 151 h 262"/>
                <a:gd name="T18" fmla="*/ 274 w 326"/>
                <a:gd name="T19" fmla="*/ 163 h 262"/>
                <a:gd name="T20" fmla="*/ 274 w 326"/>
                <a:gd name="T21" fmla="*/ 179 h 262"/>
                <a:gd name="T22" fmla="*/ 252 w 326"/>
                <a:gd name="T23" fmla="*/ 234 h 262"/>
                <a:gd name="T24" fmla="*/ 252 w 326"/>
                <a:gd name="T25" fmla="*/ 262 h 262"/>
                <a:gd name="T26" fmla="*/ 245 w 326"/>
                <a:gd name="T27" fmla="*/ 262 h 262"/>
                <a:gd name="T28" fmla="*/ 71 w 326"/>
                <a:gd name="T29" fmla="*/ 241 h 262"/>
                <a:gd name="T30" fmla="*/ 0 w 326"/>
                <a:gd name="T31" fmla="*/ 151 h 262"/>
                <a:gd name="T32" fmla="*/ 0 w 326"/>
                <a:gd name="T33" fmla="*/ 146 h 262"/>
                <a:gd name="T34" fmla="*/ 7 w 326"/>
                <a:gd name="T35" fmla="*/ 146 h 262"/>
                <a:gd name="T36" fmla="*/ 16 w 326"/>
                <a:gd name="T37" fmla="*/ 163 h 262"/>
                <a:gd name="T38" fmla="*/ 33 w 326"/>
                <a:gd name="T39" fmla="*/ 167 h 262"/>
                <a:gd name="T40" fmla="*/ 54 w 326"/>
                <a:gd name="T41" fmla="*/ 163 h 262"/>
                <a:gd name="T42" fmla="*/ 71 w 326"/>
                <a:gd name="T43" fmla="*/ 146 h 262"/>
                <a:gd name="T44" fmla="*/ 139 w 326"/>
                <a:gd name="T45" fmla="*/ 163 h 262"/>
                <a:gd name="T46" fmla="*/ 177 w 326"/>
                <a:gd name="T47" fmla="*/ 151 h 262"/>
                <a:gd name="T48" fmla="*/ 198 w 326"/>
                <a:gd name="T49" fmla="*/ 146 h 262"/>
                <a:gd name="T50" fmla="*/ 198 w 326"/>
                <a:gd name="T51" fmla="*/ 130 h 262"/>
                <a:gd name="T52" fmla="*/ 203 w 326"/>
                <a:gd name="T53" fmla="*/ 130 h 262"/>
                <a:gd name="T54" fmla="*/ 215 w 326"/>
                <a:gd name="T55" fmla="*/ 106 h 262"/>
                <a:gd name="T56" fmla="*/ 245 w 326"/>
                <a:gd name="T57" fmla="*/ 78 h 262"/>
                <a:gd name="T58" fmla="*/ 274 w 326"/>
                <a:gd name="T59" fmla="*/ 40 h 262"/>
                <a:gd name="T60" fmla="*/ 283 w 326"/>
                <a:gd name="T61" fmla="*/ 40 h 262"/>
                <a:gd name="T62" fmla="*/ 300 w 326"/>
                <a:gd name="T63" fmla="*/ 35 h 262"/>
                <a:gd name="T64" fmla="*/ 312 w 326"/>
                <a:gd name="T65" fmla="*/ 0 h 262"/>
                <a:gd name="T66" fmla="*/ 321 w 326"/>
                <a:gd name="T67" fmla="*/ 12 h 262"/>
                <a:gd name="T68" fmla="*/ 312 w 326"/>
                <a:gd name="T69" fmla="*/ 35 h 262"/>
                <a:gd name="T70" fmla="*/ 326 w 326"/>
                <a:gd name="T71" fmla="*/ 35 h 262"/>
                <a:gd name="T72" fmla="*/ 326 w 326"/>
                <a:gd name="T73" fmla="*/ 40 h 262"/>
                <a:gd name="T74" fmla="*/ 326 w 326"/>
                <a:gd name="T75" fmla="*/ 90 h 262"/>
                <a:gd name="T76" fmla="*/ 326 w 326"/>
                <a:gd name="T77" fmla="*/ 97 h 262"/>
                <a:gd name="T78" fmla="*/ 326 w 326"/>
                <a:gd name="T79" fmla="*/ 97 h 262"/>
                <a:gd name="T80" fmla="*/ 326 w 326"/>
                <a:gd name="T81" fmla="*/ 97 h 262"/>
                <a:gd name="T82" fmla="*/ 198 w 326"/>
                <a:gd name="T83" fmla="*/ 130 h 262"/>
                <a:gd name="T84" fmla="*/ 193 w 326"/>
                <a:gd name="T85" fmla="*/ 130 h 262"/>
                <a:gd name="T86" fmla="*/ 193 w 326"/>
                <a:gd name="T87" fmla="*/ 123 h 262"/>
                <a:gd name="T88" fmla="*/ 198 w 326"/>
                <a:gd name="T89" fmla="*/ 130 h 262"/>
                <a:gd name="T90" fmla="*/ 198 w 326"/>
                <a:gd name="T91" fmla="*/ 130 h 262"/>
                <a:gd name="T92" fmla="*/ 198 w 326"/>
                <a:gd name="T93" fmla="*/ 130 h 262"/>
                <a:gd name="T94" fmla="*/ 71 w 326"/>
                <a:gd name="T95" fmla="*/ 146 h 262"/>
                <a:gd name="T96" fmla="*/ 71 w 326"/>
                <a:gd name="T97" fmla="*/ 134 h 262"/>
                <a:gd name="T98" fmla="*/ 75 w 326"/>
                <a:gd name="T99" fmla="*/ 134 h 262"/>
                <a:gd name="T100" fmla="*/ 71 w 326"/>
                <a:gd name="T101" fmla="*/ 146 h 262"/>
                <a:gd name="T102" fmla="*/ 71 w 326"/>
                <a:gd name="T103" fmla="*/ 146 h 262"/>
                <a:gd name="T104" fmla="*/ 71 w 326"/>
                <a:gd name="T105" fmla="*/ 146 h 262"/>
                <a:gd name="T106" fmla="*/ 151 w 326"/>
                <a:gd name="T107" fmla="*/ 151 h 262"/>
                <a:gd name="T108" fmla="*/ 144 w 326"/>
                <a:gd name="T109" fmla="*/ 151 h 262"/>
                <a:gd name="T110" fmla="*/ 160 w 326"/>
                <a:gd name="T111" fmla="*/ 146 h 262"/>
                <a:gd name="T112" fmla="*/ 165 w 326"/>
                <a:gd name="T113" fmla="*/ 146 h 262"/>
                <a:gd name="T114" fmla="*/ 151 w 326"/>
                <a:gd name="T115" fmla="*/ 151 h 262"/>
                <a:gd name="T116" fmla="*/ 151 w 326"/>
                <a:gd name="T117" fmla="*/ 151 h 262"/>
                <a:gd name="T118" fmla="*/ 151 w 326"/>
                <a:gd name="T119" fmla="*/ 15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6" h="262">
                  <a:moveTo>
                    <a:pt x="326" y="97"/>
                  </a:moveTo>
                  <a:lnTo>
                    <a:pt x="312" y="106"/>
                  </a:lnTo>
                  <a:lnTo>
                    <a:pt x="304" y="97"/>
                  </a:lnTo>
                  <a:lnTo>
                    <a:pt x="312" y="97"/>
                  </a:lnTo>
                  <a:lnTo>
                    <a:pt x="304" y="90"/>
                  </a:lnTo>
                  <a:lnTo>
                    <a:pt x="288" y="97"/>
                  </a:lnTo>
                  <a:lnTo>
                    <a:pt x="288" y="146"/>
                  </a:lnTo>
                  <a:lnTo>
                    <a:pt x="304" y="146"/>
                  </a:lnTo>
                  <a:lnTo>
                    <a:pt x="304" y="151"/>
                  </a:lnTo>
                  <a:lnTo>
                    <a:pt x="274" y="163"/>
                  </a:lnTo>
                  <a:lnTo>
                    <a:pt x="274" y="179"/>
                  </a:lnTo>
                  <a:lnTo>
                    <a:pt x="252" y="234"/>
                  </a:lnTo>
                  <a:lnTo>
                    <a:pt x="252" y="262"/>
                  </a:lnTo>
                  <a:lnTo>
                    <a:pt x="245" y="262"/>
                  </a:lnTo>
                  <a:lnTo>
                    <a:pt x="71" y="241"/>
                  </a:lnTo>
                  <a:lnTo>
                    <a:pt x="0" y="151"/>
                  </a:lnTo>
                  <a:lnTo>
                    <a:pt x="0" y="146"/>
                  </a:lnTo>
                  <a:lnTo>
                    <a:pt x="7" y="146"/>
                  </a:lnTo>
                  <a:lnTo>
                    <a:pt x="16" y="163"/>
                  </a:lnTo>
                  <a:lnTo>
                    <a:pt x="33" y="167"/>
                  </a:lnTo>
                  <a:lnTo>
                    <a:pt x="54" y="163"/>
                  </a:lnTo>
                  <a:lnTo>
                    <a:pt x="71" y="146"/>
                  </a:lnTo>
                  <a:lnTo>
                    <a:pt x="139" y="163"/>
                  </a:lnTo>
                  <a:lnTo>
                    <a:pt x="177" y="151"/>
                  </a:lnTo>
                  <a:lnTo>
                    <a:pt x="198" y="146"/>
                  </a:lnTo>
                  <a:lnTo>
                    <a:pt x="198" y="130"/>
                  </a:lnTo>
                  <a:lnTo>
                    <a:pt x="203" y="130"/>
                  </a:lnTo>
                  <a:lnTo>
                    <a:pt x="215" y="106"/>
                  </a:lnTo>
                  <a:lnTo>
                    <a:pt x="245" y="78"/>
                  </a:lnTo>
                  <a:lnTo>
                    <a:pt x="274" y="40"/>
                  </a:lnTo>
                  <a:lnTo>
                    <a:pt x="283" y="40"/>
                  </a:lnTo>
                  <a:lnTo>
                    <a:pt x="300" y="35"/>
                  </a:lnTo>
                  <a:lnTo>
                    <a:pt x="312" y="0"/>
                  </a:lnTo>
                  <a:lnTo>
                    <a:pt x="321" y="12"/>
                  </a:lnTo>
                  <a:lnTo>
                    <a:pt x="312" y="35"/>
                  </a:lnTo>
                  <a:lnTo>
                    <a:pt x="326" y="35"/>
                  </a:lnTo>
                  <a:lnTo>
                    <a:pt x="326" y="40"/>
                  </a:lnTo>
                  <a:lnTo>
                    <a:pt x="326" y="90"/>
                  </a:lnTo>
                  <a:lnTo>
                    <a:pt x="326" y="97"/>
                  </a:lnTo>
                  <a:lnTo>
                    <a:pt x="326" y="97"/>
                  </a:lnTo>
                  <a:lnTo>
                    <a:pt x="326" y="97"/>
                  </a:lnTo>
                  <a:close/>
                  <a:moveTo>
                    <a:pt x="198" y="130"/>
                  </a:moveTo>
                  <a:lnTo>
                    <a:pt x="193" y="130"/>
                  </a:lnTo>
                  <a:lnTo>
                    <a:pt x="193" y="123"/>
                  </a:lnTo>
                  <a:lnTo>
                    <a:pt x="198" y="130"/>
                  </a:lnTo>
                  <a:lnTo>
                    <a:pt x="198" y="130"/>
                  </a:lnTo>
                  <a:lnTo>
                    <a:pt x="198" y="130"/>
                  </a:lnTo>
                  <a:close/>
                  <a:moveTo>
                    <a:pt x="71" y="146"/>
                  </a:moveTo>
                  <a:lnTo>
                    <a:pt x="71" y="134"/>
                  </a:lnTo>
                  <a:lnTo>
                    <a:pt x="75" y="134"/>
                  </a:lnTo>
                  <a:lnTo>
                    <a:pt x="71" y="146"/>
                  </a:lnTo>
                  <a:lnTo>
                    <a:pt x="71" y="146"/>
                  </a:lnTo>
                  <a:lnTo>
                    <a:pt x="71" y="146"/>
                  </a:lnTo>
                  <a:close/>
                  <a:moveTo>
                    <a:pt x="151" y="151"/>
                  </a:moveTo>
                  <a:lnTo>
                    <a:pt x="144" y="151"/>
                  </a:lnTo>
                  <a:lnTo>
                    <a:pt x="160" y="146"/>
                  </a:lnTo>
                  <a:lnTo>
                    <a:pt x="165" y="146"/>
                  </a:lnTo>
                  <a:lnTo>
                    <a:pt x="151" y="151"/>
                  </a:lnTo>
                  <a:lnTo>
                    <a:pt x="151" y="151"/>
                  </a:lnTo>
                  <a:lnTo>
                    <a:pt x="151" y="15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49" name="Freeform 571">
              <a:extLst>
                <a:ext uri="{FF2B5EF4-FFF2-40B4-BE49-F238E27FC236}">
                  <a16:creationId xmlns:a16="http://schemas.microsoft.com/office/drawing/2014/main" id="{E7575F4F-B85B-40F6-A1F4-5A01721781F6}"/>
                </a:ext>
              </a:extLst>
            </p:cNvPr>
            <p:cNvSpPr>
              <a:spLocks/>
            </p:cNvSpPr>
            <p:nvPr/>
          </p:nvSpPr>
          <p:spPr bwMode="gray">
            <a:xfrm>
              <a:off x="6721296" y="3734043"/>
              <a:ext cx="57222" cy="147806"/>
            </a:xfrm>
            <a:custGeom>
              <a:avLst/>
              <a:gdLst>
                <a:gd name="T0" fmla="*/ 128 w 139"/>
                <a:gd name="T1" fmla="*/ 260 h 359"/>
                <a:gd name="T2" fmla="*/ 128 w 139"/>
                <a:gd name="T3" fmla="*/ 297 h 359"/>
                <a:gd name="T4" fmla="*/ 123 w 139"/>
                <a:gd name="T5" fmla="*/ 297 h 359"/>
                <a:gd name="T6" fmla="*/ 123 w 139"/>
                <a:gd name="T7" fmla="*/ 321 h 359"/>
                <a:gd name="T8" fmla="*/ 139 w 139"/>
                <a:gd name="T9" fmla="*/ 349 h 359"/>
                <a:gd name="T10" fmla="*/ 128 w 139"/>
                <a:gd name="T11" fmla="*/ 354 h 359"/>
                <a:gd name="T12" fmla="*/ 95 w 139"/>
                <a:gd name="T13" fmla="*/ 359 h 359"/>
                <a:gd name="T14" fmla="*/ 83 w 139"/>
                <a:gd name="T15" fmla="*/ 349 h 359"/>
                <a:gd name="T16" fmla="*/ 66 w 139"/>
                <a:gd name="T17" fmla="*/ 338 h 359"/>
                <a:gd name="T18" fmla="*/ 50 w 139"/>
                <a:gd name="T19" fmla="*/ 297 h 359"/>
                <a:gd name="T20" fmla="*/ 57 w 139"/>
                <a:gd name="T21" fmla="*/ 297 h 359"/>
                <a:gd name="T22" fmla="*/ 57 w 139"/>
                <a:gd name="T23" fmla="*/ 276 h 359"/>
                <a:gd name="T24" fmla="*/ 50 w 139"/>
                <a:gd name="T25" fmla="*/ 264 h 359"/>
                <a:gd name="T26" fmla="*/ 50 w 139"/>
                <a:gd name="T27" fmla="*/ 260 h 359"/>
                <a:gd name="T28" fmla="*/ 50 w 139"/>
                <a:gd name="T29" fmla="*/ 243 h 359"/>
                <a:gd name="T30" fmla="*/ 57 w 139"/>
                <a:gd name="T31" fmla="*/ 210 h 359"/>
                <a:gd name="T32" fmla="*/ 66 w 139"/>
                <a:gd name="T33" fmla="*/ 203 h 359"/>
                <a:gd name="T34" fmla="*/ 33 w 139"/>
                <a:gd name="T35" fmla="*/ 170 h 359"/>
                <a:gd name="T36" fmla="*/ 50 w 139"/>
                <a:gd name="T37" fmla="*/ 165 h 359"/>
                <a:gd name="T38" fmla="*/ 40 w 139"/>
                <a:gd name="T39" fmla="*/ 149 h 359"/>
                <a:gd name="T40" fmla="*/ 50 w 139"/>
                <a:gd name="T41" fmla="*/ 127 h 359"/>
                <a:gd name="T42" fmla="*/ 40 w 139"/>
                <a:gd name="T43" fmla="*/ 116 h 359"/>
                <a:gd name="T44" fmla="*/ 28 w 139"/>
                <a:gd name="T45" fmla="*/ 116 h 359"/>
                <a:gd name="T46" fmla="*/ 40 w 139"/>
                <a:gd name="T47" fmla="*/ 75 h 359"/>
                <a:gd name="T48" fmla="*/ 33 w 139"/>
                <a:gd name="T49" fmla="*/ 59 h 359"/>
                <a:gd name="T50" fmla="*/ 33 w 139"/>
                <a:gd name="T51" fmla="*/ 54 h 359"/>
                <a:gd name="T52" fmla="*/ 0 w 139"/>
                <a:gd name="T53" fmla="*/ 26 h 359"/>
                <a:gd name="T54" fmla="*/ 12 w 139"/>
                <a:gd name="T55" fmla="*/ 5 h 359"/>
                <a:gd name="T56" fmla="*/ 0 w 139"/>
                <a:gd name="T57" fmla="*/ 0 h 359"/>
                <a:gd name="T58" fmla="*/ 50 w 139"/>
                <a:gd name="T59" fmla="*/ 5 h 359"/>
                <a:gd name="T60" fmla="*/ 50 w 139"/>
                <a:gd name="T61" fmla="*/ 16 h 359"/>
                <a:gd name="T62" fmla="*/ 73 w 139"/>
                <a:gd name="T63" fmla="*/ 5 h 359"/>
                <a:gd name="T64" fmla="*/ 66 w 139"/>
                <a:gd name="T65" fmla="*/ 54 h 359"/>
                <a:gd name="T66" fmla="*/ 106 w 139"/>
                <a:gd name="T67" fmla="*/ 75 h 359"/>
                <a:gd name="T68" fmla="*/ 106 w 139"/>
                <a:gd name="T69" fmla="*/ 116 h 359"/>
                <a:gd name="T70" fmla="*/ 128 w 139"/>
                <a:gd name="T71" fmla="*/ 149 h 359"/>
                <a:gd name="T72" fmla="*/ 128 w 139"/>
                <a:gd name="T73" fmla="*/ 260 h 359"/>
                <a:gd name="T74" fmla="*/ 128 w 139"/>
                <a:gd name="T75" fmla="*/ 260 h 359"/>
                <a:gd name="T76" fmla="*/ 128 w 139"/>
                <a:gd name="T77" fmla="*/ 26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359">
                  <a:moveTo>
                    <a:pt x="128" y="260"/>
                  </a:moveTo>
                  <a:lnTo>
                    <a:pt x="128" y="297"/>
                  </a:lnTo>
                  <a:lnTo>
                    <a:pt x="123" y="297"/>
                  </a:lnTo>
                  <a:lnTo>
                    <a:pt x="123" y="321"/>
                  </a:lnTo>
                  <a:lnTo>
                    <a:pt x="139" y="349"/>
                  </a:lnTo>
                  <a:lnTo>
                    <a:pt x="128" y="354"/>
                  </a:lnTo>
                  <a:lnTo>
                    <a:pt x="95" y="359"/>
                  </a:lnTo>
                  <a:lnTo>
                    <a:pt x="83" y="349"/>
                  </a:lnTo>
                  <a:lnTo>
                    <a:pt x="66" y="338"/>
                  </a:lnTo>
                  <a:lnTo>
                    <a:pt x="50" y="297"/>
                  </a:lnTo>
                  <a:lnTo>
                    <a:pt x="57" y="297"/>
                  </a:lnTo>
                  <a:lnTo>
                    <a:pt x="57" y="276"/>
                  </a:lnTo>
                  <a:lnTo>
                    <a:pt x="50" y="264"/>
                  </a:lnTo>
                  <a:lnTo>
                    <a:pt x="50" y="260"/>
                  </a:lnTo>
                  <a:lnTo>
                    <a:pt x="50" y="243"/>
                  </a:lnTo>
                  <a:lnTo>
                    <a:pt x="57" y="210"/>
                  </a:lnTo>
                  <a:lnTo>
                    <a:pt x="66" y="203"/>
                  </a:lnTo>
                  <a:lnTo>
                    <a:pt x="33" y="170"/>
                  </a:lnTo>
                  <a:lnTo>
                    <a:pt x="50" y="165"/>
                  </a:lnTo>
                  <a:lnTo>
                    <a:pt x="40" y="149"/>
                  </a:lnTo>
                  <a:lnTo>
                    <a:pt x="50" y="127"/>
                  </a:lnTo>
                  <a:lnTo>
                    <a:pt x="40" y="116"/>
                  </a:lnTo>
                  <a:lnTo>
                    <a:pt x="28" y="116"/>
                  </a:lnTo>
                  <a:lnTo>
                    <a:pt x="40" y="75"/>
                  </a:lnTo>
                  <a:lnTo>
                    <a:pt x="33" y="59"/>
                  </a:lnTo>
                  <a:lnTo>
                    <a:pt x="33" y="54"/>
                  </a:lnTo>
                  <a:lnTo>
                    <a:pt x="0" y="26"/>
                  </a:lnTo>
                  <a:lnTo>
                    <a:pt x="12" y="5"/>
                  </a:lnTo>
                  <a:lnTo>
                    <a:pt x="0" y="0"/>
                  </a:lnTo>
                  <a:lnTo>
                    <a:pt x="50" y="5"/>
                  </a:lnTo>
                  <a:lnTo>
                    <a:pt x="50" y="16"/>
                  </a:lnTo>
                  <a:lnTo>
                    <a:pt x="73" y="5"/>
                  </a:lnTo>
                  <a:lnTo>
                    <a:pt x="66" y="54"/>
                  </a:lnTo>
                  <a:lnTo>
                    <a:pt x="106" y="75"/>
                  </a:lnTo>
                  <a:lnTo>
                    <a:pt x="106" y="116"/>
                  </a:lnTo>
                  <a:lnTo>
                    <a:pt x="128" y="149"/>
                  </a:lnTo>
                  <a:lnTo>
                    <a:pt x="128" y="260"/>
                  </a:lnTo>
                  <a:lnTo>
                    <a:pt x="128" y="260"/>
                  </a:lnTo>
                  <a:lnTo>
                    <a:pt x="128" y="26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50" name="Freeform 572">
              <a:extLst>
                <a:ext uri="{FF2B5EF4-FFF2-40B4-BE49-F238E27FC236}">
                  <a16:creationId xmlns:a16="http://schemas.microsoft.com/office/drawing/2014/main" id="{BE9CD379-2712-4CB9-984A-B340B7B2E30C}"/>
                </a:ext>
              </a:extLst>
            </p:cNvPr>
            <p:cNvSpPr>
              <a:spLocks noEditPoints="1"/>
            </p:cNvSpPr>
            <p:nvPr/>
          </p:nvSpPr>
          <p:spPr bwMode="gray">
            <a:xfrm>
              <a:off x="6912722" y="4014010"/>
              <a:ext cx="29228" cy="49818"/>
            </a:xfrm>
            <a:custGeom>
              <a:avLst/>
              <a:gdLst>
                <a:gd name="T0" fmla="*/ 62 w 71"/>
                <a:gd name="T1" fmla="*/ 12 h 121"/>
                <a:gd name="T2" fmla="*/ 62 w 71"/>
                <a:gd name="T3" fmla="*/ 7 h 121"/>
                <a:gd name="T4" fmla="*/ 62 w 71"/>
                <a:gd name="T5" fmla="*/ 0 h 121"/>
                <a:gd name="T6" fmla="*/ 71 w 71"/>
                <a:gd name="T7" fmla="*/ 7 h 121"/>
                <a:gd name="T8" fmla="*/ 62 w 71"/>
                <a:gd name="T9" fmla="*/ 12 h 121"/>
                <a:gd name="T10" fmla="*/ 62 w 71"/>
                <a:gd name="T11" fmla="*/ 12 h 121"/>
                <a:gd name="T12" fmla="*/ 62 w 71"/>
                <a:gd name="T13" fmla="*/ 12 h 121"/>
                <a:gd name="T14" fmla="*/ 0 w 71"/>
                <a:gd name="T15" fmla="*/ 121 h 121"/>
                <a:gd name="T16" fmla="*/ 0 w 71"/>
                <a:gd name="T17" fmla="*/ 104 h 121"/>
                <a:gd name="T18" fmla="*/ 17 w 71"/>
                <a:gd name="T19" fmla="*/ 99 h 121"/>
                <a:gd name="T20" fmla="*/ 17 w 71"/>
                <a:gd name="T21" fmla="*/ 116 h 121"/>
                <a:gd name="T22" fmla="*/ 0 w 71"/>
                <a:gd name="T23" fmla="*/ 121 h 121"/>
                <a:gd name="T24" fmla="*/ 0 w 71"/>
                <a:gd name="T25" fmla="*/ 121 h 121"/>
                <a:gd name="T26" fmla="*/ 0 w 71"/>
                <a:gd name="T2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121">
                  <a:moveTo>
                    <a:pt x="62" y="12"/>
                  </a:moveTo>
                  <a:lnTo>
                    <a:pt x="62" y="7"/>
                  </a:lnTo>
                  <a:lnTo>
                    <a:pt x="62" y="0"/>
                  </a:lnTo>
                  <a:lnTo>
                    <a:pt x="71" y="7"/>
                  </a:lnTo>
                  <a:lnTo>
                    <a:pt x="62" y="12"/>
                  </a:lnTo>
                  <a:lnTo>
                    <a:pt x="62" y="12"/>
                  </a:lnTo>
                  <a:lnTo>
                    <a:pt x="62" y="12"/>
                  </a:lnTo>
                  <a:close/>
                  <a:moveTo>
                    <a:pt x="0" y="121"/>
                  </a:moveTo>
                  <a:lnTo>
                    <a:pt x="0" y="104"/>
                  </a:lnTo>
                  <a:lnTo>
                    <a:pt x="17" y="99"/>
                  </a:lnTo>
                  <a:lnTo>
                    <a:pt x="17" y="116"/>
                  </a:lnTo>
                  <a:lnTo>
                    <a:pt x="0" y="121"/>
                  </a:lnTo>
                  <a:lnTo>
                    <a:pt x="0" y="121"/>
                  </a:lnTo>
                  <a:lnTo>
                    <a:pt x="0" y="1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51" name="Freeform 573">
              <a:extLst>
                <a:ext uri="{FF2B5EF4-FFF2-40B4-BE49-F238E27FC236}">
                  <a16:creationId xmlns:a16="http://schemas.microsoft.com/office/drawing/2014/main" id="{72BF31C9-71DF-426E-9642-AAFE76D34015}"/>
                </a:ext>
              </a:extLst>
            </p:cNvPr>
            <p:cNvSpPr>
              <a:spLocks noEditPoints="1"/>
            </p:cNvSpPr>
            <p:nvPr/>
          </p:nvSpPr>
          <p:spPr bwMode="gray">
            <a:xfrm>
              <a:off x="6941951" y="2905258"/>
              <a:ext cx="116914" cy="236325"/>
            </a:xfrm>
            <a:custGeom>
              <a:avLst/>
              <a:gdLst>
                <a:gd name="T0" fmla="*/ 24 w 284"/>
                <a:gd name="T1" fmla="*/ 251 h 574"/>
                <a:gd name="T2" fmla="*/ 55 w 284"/>
                <a:gd name="T3" fmla="*/ 222 h 574"/>
                <a:gd name="T4" fmla="*/ 59 w 284"/>
                <a:gd name="T5" fmla="*/ 156 h 574"/>
                <a:gd name="T6" fmla="*/ 55 w 284"/>
                <a:gd name="T7" fmla="*/ 116 h 574"/>
                <a:gd name="T8" fmla="*/ 45 w 284"/>
                <a:gd name="T9" fmla="*/ 62 h 574"/>
                <a:gd name="T10" fmla="*/ 76 w 284"/>
                <a:gd name="T11" fmla="*/ 26 h 574"/>
                <a:gd name="T12" fmla="*/ 168 w 284"/>
                <a:gd name="T13" fmla="*/ 0 h 574"/>
                <a:gd name="T14" fmla="*/ 161 w 284"/>
                <a:gd name="T15" fmla="*/ 17 h 574"/>
                <a:gd name="T16" fmla="*/ 168 w 284"/>
                <a:gd name="T17" fmla="*/ 5 h 574"/>
                <a:gd name="T18" fmla="*/ 194 w 284"/>
                <a:gd name="T19" fmla="*/ 5 h 574"/>
                <a:gd name="T20" fmla="*/ 194 w 284"/>
                <a:gd name="T21" fmla="*/ 17 h 574"/>
                <a:gd name="T22" fmla="*/ 199 w 284"/>
                <a:gd name="T23" fmla="*/ 38 h 574"/>
                <a:gd name="T24" fmla="*/ 199 w 284"/>
                <a:gd name="T25" fmla="*/ 43 h 574"/>
                <a:gd name="T26" fmla="*/ 253 w 284"/>
                <a:gd name="T27" fmla="*/ 26 h 574"/>
                <a:gd name="T28" fmla="*/ 215 w 284"/>
                <a:gd name="T29" fmla="*/ 78 h 574"/>
                <a:gd name="T30" fmla="*/ 220 w 284"/>
                <a:gd name="T31" fmla="*/ 128 h 574"/>
                <a:gd name="T32" fmla="*/ 248 w 284"/>
                <a:gd name="T33" fmla="*/ 156 h 574"/>
                <a:gd name="T34" fmla="*/ 232 w 284"/>
                <a:gd name="T35" fmla="*/ 210 h 574"/>
                <a:gd name="T36" fmla="*/ 177 w 284"/>
                <a:gd name="T37" fmla="*/ 251 h 574"/>
                <a:gd name="T38" fmla="*/ 199 w 284"/>
                <a:gd name="T39" fmla="*/ 296 h 574"/>
                <a:gd name="T40" fmla="*/ 220 w 284"/>
                <a:gd name="T41" fmla="*/ 296 h 574"/>
                <a:gd name="T42" fmla="*/ 232 w 284"/>
                <a:gd name="T43" fmla="*/ 317 h 574"/>
                <a:gd name="T44" fmla="*/ 236 w 284"/>
                <a:gd name="T45" fmla="*/ 300 h 574"/>
                <a:gd name="T46" fmla="*/ 258 w 284"/>
                <a:gd name="T47" fmla="*/ 333 h 574"/>
                <a:gd name="T48" fmla="*/ 274 w 284"/>
                <a:gd name="T49" fmla="*/ 378 h 574"/>
                <a:gd name="T50" fmla="*/ 236 w 284"/>
                <a:gd name="T51" fmla="*/ 418 h 574"/>
                <a:gd name="T52" fmla="*/ 199 w 284"/>
                <a:gd name="T53" fmla="*/ 463 h 574"/>
                <a:gd name="T54" fmla="*/ 199 w 284"/>
                <a:gd name="T55" fmla="*/ 518 h 574"/>
                <a:gd name="T56" fmla="*/ 168 w 284"/>
                <a:gd name="T57" fmla="*/ 562 h 574"/>
                <a:gd name="T58" fmla="*/ 109 w 284"/>
                <a:gd name="T59" fmla="*/ 430 h 574"/>
                <a:gd name="T60" fmla="*/ 59 w 284"/>
                <a:gd name="T61" fmla="*/ 362 h 574"/>
                <a:gd name="T62" fmla="*/ 17 w 284"/>
                <a:gd name="T63" fmla="*/ 333 h 574"/>
                <a:gd name="T64" fmla="*/ 0 w 284"/>
                <a:gd name="T65" fmla="*/ 262 h 574"/>
                <a:gd name="T66" fmla="*/ 0 w 284"/>
                <a:gd name="T67" fmla="*/ 262 h 574"/>
                <a:gd name="T68" fmla="*/ 258 w 284"/>
                <a:gd name="T69" fmla="*/ 206 h 574"/>
                <a:gd name="T70" fmla="*/ 253 w 284"/>
                <a:gd name="T71" fmla="*/ 210 h 574"/>
                <a:gd name="T72" fmla="*/ 253 w 284"/>
                <a:gd name="T73" fmla="*/ 210 h 574"/>
                <a:gd name="T74" fmla="*/ 232 w 284"/>
                <a:gd name="T75" fmla="*/ 296 h 574"/>
                <a:gd name="T76" fmla="*/ 232 w 284"/>
                <a:gd name="T77" fmla="*/ 279 h 574"/>
                <a:gd name="T78" fmla="*/ 236 w 284"/>
                <a:gd name="T79" fmla="*/ 300 h 574"/>
                <a:gd name="T80" fmla="*/ 236 w 284"/>
                <a:gd name="T81" fmla="*/ 30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4" h="574">
                  <a:moveTo>
                    <a:pt x="0" y="262"/>
                  </a:moveTo>
                  <a:lnTo>
                    <a:pt x="24" y="251"/>
                  </a:lnTo>
                  <a:lnTo>
                    <a:pt x="24" y="239"/>
                  </a:lnTo>
                  <a:lnTo>
                    <a:pt x="55" y="222"/>
                  </a:lnTo>
                  <a:lnTo>
                    <a:pt x="59" y="173"/>
                  </a:lnTo>
                  <a:lnTo>
                    <a:pt x="59" y="156"/>
                  </a:lnTo>
                  <a:lnTo>
                    <a:pt x="59" y="133"/>
                  </a:lnTo>
                  <a:lnTo>
                    <a:pt x="55" y="116"/>
                  </a:lnTo>
                  <a:lnTo>
                    <a:pt x="59" y="71"/>
                  </a:lnTo>
                  <a:lnTo>
                    <a:pt x="45" y="62"/>
                  </a:lnTo>
                  <a:lnTo>
                    <a:pt x="88" y="38"/>
                  </a:lnTo>
                  <a:lnTo>
                    <a:pt x="76" y="26"/>
                  </a:lnTo>
                  <a:lnTo>
                    <a:pt x="151" y="0"/>
                  </a:lnTo>
                  <a:lnTo>
                    <a:pt x="168" y="0"/>
                  </a:lnTo>
                  <a:lnTo>
                    <a:pt x="161" y="5"/>
                  </a:lnTo>
                  <a:lnTo>
                    <a:pt x="161" y="17"/>
                  </a:lnTo>
                  <a:lnTo>
                    <a:pt x="168" y="5"/>
                  </a:lnTo>
                  <a:lnTo>
                    <a:pt x="168" y="5"/>
                  </a:lnTo>
                  <a:lnTo>
                    <a:pt x="177" y="0"/>
                  </a:lnTo>
                  <a:lnTo>
                    <a:pt x="194" y="5"/>
                  </a:lnTo>
                  <a:lnTo>
                    <a:pt x="182" y="17"/>
                  </a:lnTo>
                  <a:lnTo>
                    <a:pt x="194" y="17"/>
                  </a:lnTo>
                  <a:lnTo>
                    <a:pt x="194" y="21"/>
                  </a:lnTo>
                  <a:lnTo>
                    <a:pt x="199" y="38"/>
                  </a:lnTo>
                  <a:lnTo>
                    <a:pt x="194" y="38"/>
                  </a:lnTo>
                  <a:lnTo>
                    <a:pt x="199" y="43"/>
                  </a:lnTo>
                  <a:lnTo>
                    <a:pt x="248" y="17"/>
                  </a:lnTo>
                  <a:lnTo>
                    <a:pt x="253" y="26"/>
                  </a:lnTo>
                  <a:lnTo>
                    <a:pt x="232" y="71"/>
                  </a:lnTo>
                  <a:lnTo>
                    <a:pt x="215" y="78"/>
                  </a:lnTo>
                  <a:lnTo>
                    <a:pt x="203" y="95"/>
                  </a:lnTo>
                  <a:lnTo>
                    <a:pt x="220" y="128"/>
                  </a:lnTo>
                  <a:lnTo>
                    <a:pt x="248" y="133"/>
                  </a:lnTo>
                  <a:lnTo>
                    <a:pt x="248" y="156"/>
                  </a:lnTo>
                  <a:lnTo>
                    <a:pt x="253" y="173"/>
                  </a:lnTo>
                  <a:lnTo>
                    <a:pt x="232" y="210"/>
                  </a:lnTo>
                  <a:lnTo>
                    <a:pt x="182" y="246"/>
                  </a:lnTo>
                  <a:lnTo>
                    <a:pt x="177" y="251"/>
                  </a:lnTo>
                  <a:lnTo>
                    <a:pt x="182" y="279"/>
                  </a:lnTo>
                  <a:lnTo>
                    <a:pt x="199" y="296"/>
                  </a:lnTo>
                  <a:lnTo>
                    <a:pt x="203" y="300"/>
                  </a:lnTo>
                  <a:lnTo>
                    <a:pt x="220" y="296"/>
                  </a:lnTo>
                  <a:lnTo>
                    <a:pt x="220" y="307"/>
                  </a:lnTo>
                  <a:lnTo>
                    <a:pt x="232" y="317"/>
                  </a:lnTo>
                  <a:lnTo>
                    <a:pt x="236" y="307"/>
                  </a:lnTo>
                  <a:lnTo>
                    <a:pt x="236" y="300"/>
                  </a:lnTo>
                  <a:lnTo>
                    <a:pt x="248" y="300"/>
                  </a:lnTo>
                  <a:lnTo>
                    <a:pt x="258" y="333"/>
                  </a:lnTo>
                  <a:lnTo>
                    <a:pt x="284" y="340"/>
                  </a:lnTo>
                  <a:lnTo>
                    <a:pt x="274" y="378"/>
                  </a:lnTo>
                  <a:lnTo>
                    <a:pt x="284" y="395"/>
                  </a:lnTo>
                  <a:lnTo>
                    <a:pt x="236" y="418"/>
                  </a:lnTo>
                  <a:lnTo>
                    <a:pt x="203" y="451"/>
                  </a:lnTo>
                  <a:lnTo>
                    <a:pt x="199" y="463"/>
                  </a:lnTo>
                  <a:lnTo>
                    <a:pt x="182" y="473"/>
                  </a:lnTo>
                  <a:lnTo>
                    <a:pt x="199" y="518"/>
                  </a:lnTo>
                  <a:lnTo>
                    <a:pt x="194" y="529"/>
                  </a:lnTo>
                  <a:lnTo>
                    <a:pt x="168" y="562"/>
                  </a:lnTo>
                  <a:lnTo>
                    <a:pt x="147" y="574"/>
                  </a:lnTo>
                  <a:lnTo>
                    <a:pt x="109" y="430"/>
                  </a:lnTo>
                  <a:lnTo>
                    <a:pt x="59" y="390"/>
                  </a:lnTo>
                  <a:lnTo>
                    <a:pt x="59" y="362"/>
                  </a:lnTo>
                  <a:lnTo>
                    <a:pt x="45" y="340"/>
                  </a:lnTo>
                  <a:lnTo>
                    <a:pt x="17" y="333"/>
                  </a:lnTo>
                  <a:lnTo>
                    <a:pt x="0" y="279"/>
                  </a:lnTo>
                  <a:lnTo>
                    <a:pt x="0" y="262"/>
                  </a:lnTo>
                  <a:lnTo>
                    <a:pt x="0" y="262"/>
                  </a:lnTo>
                  <a:lnTo>
                    <a:pt x="0" y="262"/>
                  </a:lnTo>
                  <a:close/>
                  <a:moveTo>
                    <a:pt x="253" y="210"/>
                  </a:moveTo>
                  <a:lnTo>
                    <a:pt x="258" y="206"/>
                  </a:lnTo>
                  <a:lnTo>
                    <a:pt x="270" y="206"/>
                  </a:lnTo>
                  <a:lnTo>
                    <a:pt x="253" y="210"/>
                  </a:lnTo>
                  <a:lnTo>
                    <a:pt x="253" y="210"/>
                  </a:lnTo>
                  <a:lnTo>
                    <a:pt x="253" y="210"/>
                  </a:lnTo>
                  <a:close/>
                  <a:moveTo>
                    <a:pt x="236" y="300"/>
                  </a:moveTo>
                  <a:lnTo>
                    <a:pt x="232" y="296"/>
                  </a:lnTo>
                  <a:lnTo>
                    <a:pt x="232" y="296"/>
                  </a:lnTo>
                  <a:lnTo>
                    <a:pt x="232" y="279"/>
                  </a:lnTo>
                  <a:lnTo>
                    <a:pt x="248" y="284"/>
                  </a:lnTo>
                  <a:lnTo>
                    <a:pt x="236" y="300"/>
                  </a:lnTo>
                  <a:lnTo>
                    <a:pt x="236" y="300"/>
                  </a:lnTo>
                  <a:lnTo>
                    <a:pt x="236" y="30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52" name="Freeform 578">
              <a:extLst>
                <a:ext uri="{FF2B5EF4-FFF2-40B4-BE49-F238E27FC236}">
                  <a16:creationId xmlns:a16="http://schemas.microsoft.com/office/drawing/2014/main" id="{1CE7BD5C-867E-4413-90AC-7AE6097A20B1}"/>
                </a:ext>
              </a:extLst>
            </p:cNvPr>
            <p:cNvSpPr>
              <a:spLocks noEditPoints="1"/>
            </p:cNvSpPr>
            <p:nvPr/>
          </p:nvSpPr>
          <p:spPr bwMode="gray">
            <a:xfrm>
              <a:off x="7573041" y="4095528"/>
              <a:ext cx="323162" cy="320316"/>
            </a:xfrm>
            <a:custGeom>
              <a:avLst/>
              <a:gdLst>
                <a:gd name="T0" fmla="*/ 612 w 785"/>
                <a:gd name="T1" fmla="*/ 737 h 778"/>
                <a:gd name="T2" fmla="*/ 596 w 785"/>
                <a:gd name="T3" fmla="*/ 766 h 778"/>
                <a:gd name="T4" fmla="*/ 525 w 785"/>
                <a:gd name="T5" fmla="*/ 766 h 778"/>
                <a:gd name="T6" fmla="*/ 482 w 785"/>
                <a:gd name="T7" fmla="*/ 778 h 778"/>
                <a:gd name="T8" fmla="*/ 461 w 785"/>
                <a:gd name="T9" fmla="*/ 754 h 778"/>
                <a:gd name="T10" fmla="*/ 395 w 785"/>
                <a:gd name="T11" fmla="*/ 766 h 778"/>
                <a:gd name="T12" fmla="*/ 374 w 785"/>
                <a:gd name="T13" fmla="*/ 712 h 778"/>
                <a:gd name="T14" fmla="*/ 352 w 785"/>
                <a:gd name="T15" fmla="*/ 626 h 778"/>
                <a:gd name="T16" fmla="*/ 319 w 785"/>
                <a:gd name="T17" fmla="*/ 626 h 778"/>
                <a:gd name="T18" fmla="*/ 288 w 785"/>
                <a:gd name="T19" fmla="*/ 622 h 778"/>
                <a:gd name="T20" fmla="*/ 248 w 785"/>
                <a:gd name="T21" fmla="*/ 605 h 778"/>
                <a:gd name="T22" fmla="*/ 218 w 785"/>
                <a:gd name="T23" fmla="*/ 589 h 778"/>
                <a:gd name="T24" fmla="*/ 189 w 785"/>
                <a:gd name="T25" fmla="*/ 572 h 778"/>
                <a:gd name="T26" fmla="*/ 147 w 785"/>
                <a:gd name="T27" fmla="*/ 551 h 778"/>
                <a:gd name="T28" fmla="*/ 104 w 785"/>
                <a:gd name="T29" fmla="*/ 515 h 778"/>
                <a:gd name="T30" fmla="*/ 50 w 785"/>
                <a:gd name="T31" fmla="*/ 423 h 778"/>
                <a:gd name="T32" fmla="*/ 17 w 785"/>
                <a:gd name="T33" fmla="*/ 383 h 778"/>
                <a:gd name="T34" fmla="*/ 17 w 785"/>
                <a:gd name="T35" fmla="*/ 345 h 778"/>
                <a:gd name="T36" fmla="*/ 0 w 785"/>
                <a:gd name="T37" fmla="*/ 251 h 778"/>
                <a:gd name="T38" fmla="*/ 50 w 785"/>
                <a:gd name="T39" fmla="*/ 234 h 778"/>
                <a:gd name="T40" fmla="*/ 71 w 785"/>
                <a:gd name="T41" fmla="*/ 201 h 778"/>
                <a:gd name="T42" fmla="*/ 104 w 785"/>
                <a:gd name="T43" fmla="*/ 161 h 778"/>
                <a:gd name="T44" fmla="*/ 88 w 785"/>
                <a:gd name="T45" fmla="*/ 140 h 778"/>
                <a:gd name="T46" fmla="*/ 81 w 785"/>
                <a:gd name="T47" fmla="*/ 140 h 778"/>
                <a:gd name="T48" fmla="*/ 104 w 785"/>
                <a:gd name="T49" fmla="*/ 100 h 778"/>
                <a:gd name="T50" fmla="*/ 104 w 785"/>
                <a:gd name="T51" fmla="*/ 67 h 778"/>
                <a:gd name="T52" fmla="*/ 92 w 785"/>
                <a:gd name="T53" fmla="*/ 34 h 778"/>
                <a:gd name="T54" fmla="*/ 81 w 785"/>
                <a:gd name="T55" fmla="*/ 0 h 778"/>
                <a:gd name="T56" fmla="*/ 248 w 785"/>
                <a:gd name="T57" fmla="*/ 0 h 778"/>
                <a:gd name="T58" fmla="*/ 579 w 785"/>
                <a:gd name="T59" fmla="*/ 145 h 778"/>
                <a:gd name="T60" fmla="*/ 579 w 785"/>
                <a:gd name="T61" fmla="*/ 178 h 778"/>
                <a:gd name="T62" fmla="*/ 700 w 785"/>
                <a:gd name="T63" fmla="*/ 277 h 778"/>
                <a:gd name="T64" fmla="*/ 688 w 785"/>
                <a:gd name="T65" fmla="*/ 277 h 778"/>
                <a:gd name="T66" fmla="*/ 678 w 785"/>
                <a:gd name="T67" fmla="*/ 388 h 778"/>
                <a:gd name="T68" fmla="*/ 721 w 785"/>
                <a:gd name="T69" fmla="*/ 433 h 778"/>
                <a:gd name="T70" fmla="*/ 700 w 785"/>
                <a:gd name="T71" fmla="*/ 489 h 778"/>
                <a:gd name="T72" fmla="*/ 716 w 785"/>
                <a:gd name="T73" fmla="*/ 499 h 778"/>
                <a:gd name="T74" fmla="*/ 704 w 785"/>
                <a:gd name="T75" fmla="*/ 556 h 778"/>
                <a:gd name="T76" fmla="*/ 704 w 785"/>
                <a:gd name="T77" fmla="*/ 572 h 778"/>
                <a:gd name="T78" fmla="*/ 737 w 785"/>
                <a:gd name="T79" fmla="*/ 655 h 778"/>
                <a:gd name="T80" fmla="*/ 754 w 785"/>
                <a:gd name="T81" fmla="*/ 662 h 778"/>
                <a:gd name="T82" fmla="*/ 770 w 785"/>
                <a:gd name="T83" fmla="*/ 667 h 778"/>
                <a:gd name="T84" fmla="*/ 700 w 785"/>
                <a:gd name="T85" fmla="*/ 737 h 778"/>
                <a:gd name="T86" fmla="*/ 645 w 785"/>
                <a:gd name="T87" fmla="*/ 754 h 778"/>
                <a:gd name="T88" fmla="*/ 645 w 785"/>
                <a:gd name="T89" fmla="*/ 754 h 778"/>
                <a:gd name="T90" fmla="*/ 733 w 785"/>
                <a:gd name="T91" fmla="*/ 277 h 778"/>
                <a:gd name="T92" fmla="*/ 737 w 785"/>
                <a:gd name="T93" fmla="*/ 305 h 778"/>
                <a:gd name="T94" fmla="*/ 721 w 785"/>
                <a:gd name="T95" fmla="*/ 322 h 778"/>
                <a:gd name="T96" fmla="*/ 733 w 785"/>
                <a:gd name="T97" fmla="*/ 305 h 778"/>
                <a:gd name="T98" fmla="*/ 704 w 785"/>
                <a:gd name="T99" fmla="*/ 362 h 778"/>
                <a:gd name="T100" fmla="*/ 716 w 785"/>
                <a:gd name="T101" fmla="*/ 367 h 778"/>
                <a:gd name="T102" fmla="*/ 721 w 785"/>
                <a:gd name="T103" fmla="*/ 388 h 778"/>
                <a:gd name="T104" fmla="*/ 688 w 785"/>
                <a:gd name="T105" fmla="*/ 378 h 778"/>
                <a:gd name="T106" fmla="*/ 700 w 785"/>
                <a:gd name="T107" fmla="*/ 345 h 778"/>
                <a:gd name="T108" fmla="*/ 704 w 785"/>
                <a:gd name="T109" fmla="*/ 362 h 778"/>
                <a:gd name="T110" fmla="*/ 721 w 785"/>
                <a:gd name="T111" fmla="*/ 499 h 778"/>
                <a:gd name="T112" fmla="*/ 742 w 785"/>
                <a:gd name="T113" fmla="*/ 478 h 778"/>
                <a:gd name="T114" fmla="*/ 721 w 785"/>
                <a:gd name="T115" fmla="*/ 499 h 778"/>
                <a:gd name="T116" fmla="*/ 721 w 785"/>
                <a:gd name="T117" fmla="*/ 499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5" h="778">
                  <a:moveTo>
                    <a:pt x="645" y="754"/>
                  </a:moveTo>
                  <a:lnTo>
                    <a:pt x="612" y="737"/>
                  </a:lnTo>
                  <a:lnTo>
                    <a:pt x="607" y="749"/>
                  </a:lnTo>
                  <a:lnTo>
                    <a:pt x="596" y="766"/>
                  </a:lnTo>
                  <a:lnTo>
                    <a:pt x="574" y="778"/>
                  </a:lnTo>
                  <a:lnTo>
                    <a:pt x="525" y="766"/>
                  </a:lnTo>
                  <a:lnTo>
                    <a:pt x="503" y="778"/>
                  </a:lnTo>
                  <a:lnTo>
                    <a:pt x="482" y="778"/>
                  </a:lnTo>
                  <a:lnTo>
                    <a:pt x="482" y="766"/>
                  </a:lnTo>
                  <a:lnTo>
                    <a:pt x="461" y="754"/>
                  </a:lnTo>
                  <a:lnTo>
                    <a:pt x="433" y="771"/>
                  </a:lnTo>
                  <a:lnTo>
                    <a:pt x="395" y="766"/>
                  </a:lnTo>
                  <a:lnTo>
                    <a:pt x="374" y="733"/>
                  </a:lnTo>
                  <a:lnTo>
                    <a:pt x="374" y="712"/>
                  </a:lnTo>
                  <a:lnTo>
                    <a:pt x="364" y="655"/>
                  </a:lnTo>
                  <a:lnTo>
                    <a:pt x="352" y="626"/>
                  </a:lnTo>
                  <a:lnTo>
                    <a:pt x="326" y="610"/>
                  </a:lnTo>
                  <a:lnTo>
                    <a:pt x="319" y="626"/>
                  </a:lnTo>
                  <a:lnTo>
                    <a:pt x="310" y="622"/>
                  </a:lnTo>
                  <a:lnTo>
                    <a:pt x="288" y="622"/>
                  </a:lnTo>
                  <a:lnTo>
                    <a:pt x="281" y="610"/>
                  </a:lnTo>
                  <a:lnTo>
                    <a:pt x="248" y="605"/>
                  </a:lnTo>
                  <a:lnTo>
                    <a:pt x="227" y="600"/>
                  </a:lnTo>
                  <a:lnTo>
                    <a:pt x="218" y="589"/>
                  </a:lnTo>
                  <a:lnTo>
                    <a:pt x="189" y="584"/>
                  </a:lnTo>
                  <a:lnTo>
                    <a:pt x="189" y="572"/>
                  </a:lnTo>
                  <a:lnTo>
                    <a:pt x="163" y="572"/>
                  </a:lnTo>
                  <a:lnTo>
                    <a:pt x="147" y="551"/>
                  </a:lnTo>
                  <a:lnTo>
                    <a:pt x="118" y="551"/>
                  </a:lnTo>
                  <a:lnTo>
                    <a:pt x="104" y="515"/>
                  </a:lnTo>
                  <a:lnTo>
                    <a:pt x="71" y="445"/>
                  </a:lnTo>
                  <a:lnTo>
                    <a:pt x="50" y="423"/>
                  </a:lnTo>
                  <a:lnTo>
                    <a:pt x="26" y="404"/>
                  </a:lnTo>
                  <a:lnTo>
                    <a:pt x="17" y="383"/>
                  </a:lnTo>
                  <a:lnTo>
                    <a:pt x="12" y="362"/>
                  </a:lnTo>
                  <a:lnTo>
                    <a:pt x="17" y="345"/>
                  </a:lnTo>
                  <a:lnTo>
                    <a:pt x="0" y="289"/>
                  </a:lnTo>
                  <a:lnTo>
                    <a:pt x="0" y="251"/>
                  </a:lnTo>
                  <a:lnTo>
                    <a:pt x="33" y="251"/>
                  </a:lnTo>
                  <a:lnTo>
                    <a:pt x="50" y="234"/>
                  </a:lnTo>
                  <a:lnTo>
                    <a:pt x="71" y="201"/>
                  </a:lnTo>
                  <a:lnTo>
                    <a:pt x="71" y="201"/>
                  </a:lnTo>
                  <a:lnTo>
                    <a:pt x="81" y="185"/>
                  </a:lnTo>
                  <a:lnTo>
                    <a:pt x="104" y="161"/>
                  </a:lnTo>
                  <a:lnTo>
                    <a:pt x="104" y="145"/>
                  </a:lnTo>
                  <a:lnTo>
                    <a:pt x="88" y="140"/>
                  </a:lnTo>
                  <a:lnTo>
                    <a:pt x="81" y="140"/>
                  </a:lnTo>
                  <a:lnTo>
                    <a:pt x="81" y="140"/>
                  </a:lnTo>
                  <a:lnTo>
                    <a:pt x="88" y="100"/>
                  </a:lnTo>
                  <a:lnTo>
                    <a:pt x="104" y="100"/>
                  </a:lnTo>
                  <a:lnTo>
                    <a:pt x="109" y="74"/>
                  </a:lnTo>
                  <a:lnTo>
                    <a:pt x="104" y="67"/>
                  </a:lnTo>
                  <a:lnTo>
                    <a:pt x="104" y="50"/>
                  </a:lnTo>
                  <a:lnTo>
                    <a:pt x="92" y="34"/>
                  </a:lnTo>
                  <a:lnTo>
                    <a:pt x="88" y="29"/>
                  </a:lnTo>
                  <a:lnTo>
                    <a:pt x="81" y="0"/>
                  </a:lnTo>
                  <a:lnTo>
                    <a:pt x="104" y="0"/>
                  </a:lnTo>
                  <a:lnTo>
                    <a:pt x="248" y="0"/>
                  </a:lnTo>
                  <a:lnTo>
                    <a:pt x="319" y="0"/>
                  </a:lnTo>
                  <a:lnTo>
                    <a:pt x="579" y="145"/>
                  </a:lnTo>
                  <a:lnTo>
                    <a:pt x="591" y="166"/>
                  </a:lnTo>
                  <a:lnTo>
                    <a:pt x="579" y="178"/>
                  </a:lnTo>
                  <a:lnTo>
                    <a:pt x="688" y="267"/>
                  </a:lnTo>
                  <a:lnTo>
                    <a:pt x="700" y="277"/>
                  </a:lnTo>
                  <a:lnTo>
                    <a:pt x="688" y="289"/>
                  </a:lnTo>
                  <a:lnTo>
                    <a:pt x="688" y="277"/>
                  </a:lnTo>
                  <a:lnTo>
                    <a:pt x="666" y="367"/>
                  </a:lnTo>
                  <a:lnTo>
                    <a:pt x="678" y="388"/>
                  </a:lnTo>
                  <a:lnTo>
                    <a:pt x="683" y="400"/>
                  </a:lnTo>
                  <a:lnTo>
                    <a:pt x="721" y="433"/>
                  </a:lnTo>
                  <a:lnTo>
                    <a:pt x="700" y="478"/>
                  </a:lnTo>
                  <a:lnTo>
                    <a:pt x="700" y="489"/>
                  </a:lnTo>
                  <a:lnTo>
                    <a:pt x="716" y="494"/>
                  </a:lnTo>
                  <a:lnTo>
                    <a:pt x="716" y="499"/>
                  </a:lnTo>
                  <a:lnTo>
                    <a:pt x="700" y="527"/>
                  </a:lnTo>
                  <a:lnTo>
                    <a:pt x="704" y="556"/>
                  </a:lnTo>
                  <a:lnTo>
                    <a:pt x="716" y="572"/>
                  </a:lnTo>
                  <a:lnTo>
                    <a:pt x="704" y="572"/>
                  </a:lnTo>
                  <a:lnTo>
                    <a:pt x="721" y="589"/>
                  </a:lnTo>
                  <a:lnTo>
                    <a:pt x="737" y="655"/>
                  </a:lnTo>
                  <a:lnTo>
                    <a:pt x="754" y="667"/>
                  </a:lnTo>
                  <a:lnTo>
                    <a:pt x="754" y="662"/>
                  </a:lnTo>
                  <a:lnTo>
                    <a:pt x="770" y="678"/>
                  </a:lnTo>
                  <a:lnTo>
                    <a:pt x="770" y="667"/>
                  </a:lnTo>
                  <a:lnTo>
                    <a:pt x="785" y="683"/>
                  </a:lnTo>
                  <a:lnTo>
                    <a:pt x="700" y="737"/>
                  </a:lnTo>
                  <a:lnTo>
                    <a:pt x="678" y="737"/>
                  </a:lnTo>
                  <a:lnTo>
                    <a:pt x="645" y="754"/>
                  </a:lnTo>
                  <a:lnTo>
                    <a:pt x="645" y="754"/>
                  </a:lnTo>
                  <a:lnTo>
                    <a:pt x="645" y="754"/>
                  </a:lnTo>
                  <a:close/>
                  <a:moveTo>
                    <a:pt x="733" y="305"/>
                  </a:moveTo>
                  <a:lnTo>
                    <a:pt x="733" y="277"/>
                  </a:lnTo>
                  <a:lnTo>
                    <a:pt x="737" y="277"/>
                  </a:lnTo>
                  <a:lnTo>
                    <a:pt x="737" y="305"/>
                  </a:lnTo>
                  <a:lnTo>
                    <a:pt x="733" y="322"/>
                  </a:lnTo>
                  <a:lnTo>
                    <a:pt x="721" y="322"/>
                  </a:lnTo>
                  <a:lnTo>
                    <a:pt x="733" y="305"/>
                  </a:lnTo>
                  <a:lnTo>
                    <a:pt x="733" y="305"/>
                  </a:lnTo>
                  <a:lnTo>
                    <a:pt x="733" y="305"/>
                  </a:lnTo>
                  <a:close/>
                  <a:moveTo>
                    <a:pt x="704" y="362"/>
                  </a:moveTo>
                  <a:lnTo>
                    <a:pt x="716" y="378"/>
                  </a:lnTo>
                  <a:lnTo>
                    <a:pt x="716" y="367"/>
                  </a:lnTo>
                  <a:lnTo>
                    <a:pt x="716" y="378"/>
                  </a:lnTo>
                  <a:lnTo>
                    <a:pt x="721" y="388"/>
                  </a:lnTo>
                  <a:lnTo>
                    <a:pt x="716" y="400"/>
                  </a:lnTo>
                  <a:lnTo>
                    <a:pt x="688" y="378"/>
                  </a:lnTo>
                  <a:lnTo>
                    <a:pt x="688" y="362"/>
                  </a:lnTo>
                  <a:lnTo>
                    <a:pt x="700" y="345"/>
                  </a:lnTo>
                  <a:lnTo>
                    <a:pt x="704" y="362"/>
                  </a:lnTo>
                  <a:lnTo>
                    <a:pt x="704" y="362"/>
                  </a:lnTo>
                  <a:lnTo>
                    <a:pt x="704" y="362"/>
                  </a:lnTo>
                  <a:close/>
                  <a:moveTo>
                    <a:pt x="721" y="499"/>
                  </a:moveTo>
                  <a:lnTo>
                    <a:pt x="721" y="499"/>
                  </a:lnTo>
                  <a:lnTo>
                    <a:pt x="742" y="478"/>
                  </a:lnTo>
                  <a:lnTo>
                    <a:pt x="737" y="499"/>
                  </a:lnTo>
                  <a:lnTo>
                    <a:pt x="721" y="499"/>
                  </a:lnTo>
                  <a:lnTo>
                    <a:pt x="721" y="499"/>
                  </a:lnTo>
                  <a:lnTo>
                    <a:pt x="721" y="49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53" name="Freeform 579">
              <a:extLst>
                <a:ext uri="{FF2B5EF4-FFF2-40B4-BE49-F238E27FC236}">
                  <a16:creationId xmlns:a16="http://schemas.microsoft.com/office/drawing/2014/main" id="{5C83ABB0-3EBD-4F0F-9F2A-840A43DCB71D}"/>
                </a:ext>
              </a:extLst>
            </p:cNvPr>
            <p:cNvSpPr>
              <a:spLocks/>
            </p:cNvSpPr>
            <p:nvPr/>
          </p:nvSpPr>
          <p:spPr bwMode="gray">
            <a:xfrm>
              <a:off x="7580039" y="3940312"/>
              <a:ext cx="155611" cy="167980"/>
            </a:xfrm>
            <a:custGeom>
              <a:avLst/>
              <a:gdLst>
                <a:gd name="T0" fmla="*/ 231 w 378"/>
                <a:gd name="T1" fmla="*/ 375 h 408"/>
                <a:gd name="T2" fmla="*/ 87 w 378"/>
                <a:gd name="T3" fmla="*/ 375 h 408"/>
                <a:gd name="T4" fmla="*/ 66 w 378"/>
                <a:gd name="T5" fmla="*/ 375 h 408"/>
                <a:gd name="T6" fmla="*/ 54 w 378"/>
                <a:gd name="T7" fmla="*/ 375 h 408"/>
                <a:gd name="T8" fmla="*/ 33 w 378"/>
                <a:gd name="T9" fmla="*/ 408 h 408"/>
                <a:gd name="T10" fmla="*/ 16 w 378"/>
                <a:gd name="T11" fmla="*/ 401 h 408"/>
                <a:gd name="T12" fmla="*/ 0 w 378"/>
                <a:gd name="T13" fmla="*/ 401 h 408"/>
                <a:gd name="T14" fmla="*/ 0 w 378"/>
                <a:gd name="T15" fmla="*/ 368 h 408"/>
                <a:gd name="T16" fmla="*/ 12 w 378"/>
                <a:gd name="T17" fmla="*/ 297 h 408"/>
                <a:gd name="T18" fmla="*/ 21 w 378"/>
                <a:gd name="T19" fmla="*/ 264 h 408"/>
                <a:gd name="T20" fmla="*/ 21 w 378"/>
                <a:gd name="T21" fmla="*/ 243 h 408"/>
                <a:gd name="T22" fmla="*/ 38 w 378"/>
                <a:gd name="T23" fmla="*/ 236 h 408"/>
                <a:gd name="T24" fmla="*/ 49 w 378"/>
                <a:gd name="T25" fmla="*/ 219 h 408"/>
                <a:gd name="T26" fmla="*/ 66 w 378"/>
                <a:gd name="T27" fmla="*/ 219 h 408"/>
                <a:gd name="T28" fmla="*/ 125 w 378"/>
                <a:gd name="T29" fmla="*/ 148 h 408"/>
                <a:gd name="T30" fmla="*/ 104 w 378"/>
                <a:gd name="T31" fmla="*/ 132 h 408"/>
                <a:gd name="T32" fmla="*/ 92 w 378"/>
                <a:gd name="T33" fmla="*/ 132 h 408"/>
                <a:gd name="T34" fmla="*/ 75 w 378"/>
                <a:gd name="T35" fmla="*/ 127 h 408"/>
                <a:gd name="T36" fmla="*/ 92 w 378"/>
                <a:gd name="T37" fmla="*/ 99 h 408"/>
                <a:gd name="T38" fmla="*/ 87 w 378"/>
                <a:gd name="T39" fmla="*/ 82 h 408"/>
                <a:gd name="T40" fmla="*/ 92 w 378"/>
                <a:gd name="T41" fmla="*/ 61 h 408"/>
                <a:gd name="T42" fmla="*/ 92 w 378"/>
                <a:gd name="T43" fmla="*/ 54 h 408"/>
                <a:gd name="T44" fmla="*/ 92 w 378"/>
                <a:gd name="T45" fmla="*/ 54 h 408"/>
                <a:gd name="T46" fmla="*/ 104 w 378"/>
                <a:gd name="T47" fmla="*/ 37 h 408"/>
                <a:gd name="T48" fmla="*/ 108 w 378"/>
                <a:gd name="T49" fmla="*/ 28 h 408"/>
                <a:gd name="T50" fmla="*/ 142 w 378"/>
                <a:gd name="T51" fmla="*/ 37 h 408"/>
                <a:gd name="T52" fmla="*/ 156 w 378"/>
                <a:gd name="T53" fmla="*/ 28 h 408"/>
                <a:gd name="T54" fmla="*/ 163 w 378"/>
                <a:gd name="T55" fmla="*/ 44 h 408"/>
                <a:gd name="T56" fmla="*/ 184 w 378"/>
                <a:gd name="T57" fmla="*/ 54 h 408"/>
                <a:gd name="T58" fmla="*/ 184 w 378"/>
                <a:gd name="T59" fmla="*/ 44 h 408"/>
                <a:gd name="T60" fmla="*/ 201 w 378"/>
                <a:gd name="T61" fmla="*/ 37 h 408"/>
                <a:gd name="T62" fmla="*/ 217 w 378"/>
                <a:gd name="T63" fmla="*/ 28 h 408"/>
                <a:gd name="T64" fmla="*/ 238 w 378"/>
                <a:gd name="T65" fmla="*/ 21 h 408"/>
                <a:gd name="T66" fmla="*/ 255 w 378"/>
                <a:gd name="T67" fmla="*/ 28 h 408"/>
                <a:gd name="T68" fmla="*/ 281 w 378"/>
                <a:gd name="T69" fmla="*/ 28 h 408"/>
                <a:gd name="T70" fmla="*/ 307 w 378"/>
                <a:gd name="T71" fmla="*/ 0 h 408"/>
                <a:gd name="T72" fmla="*/ 323 w 378"/>
                <a:gd name="T73" fmla="*/ 28 h 408"/>
                <a:gd name="T74" fmla="*/ 340 w 378"/>
                <a:gd name="T75" fmla="*/ 37 h 408"/>
                <a:gd name="T76" fmla="*/ 340 w 378"/>
                <a:gd name="T77" fmla="*/ 61 h 408"/>
                <a:gd name="T78" fmla="*/ 345 w 378"/>
                <a:gd name="T79" fmla="*/ 94 h 408"/>
                <a:gd name="T80" fmla="*/ 361 w 378"/>
                <a:gd name="T81" fmla="*/ 99 h 408"/>
                <a:gd name="T82" fmla="*/ 373 w 378"/>
                <a:gd name="T83" fmla="*/ 127 h 408"/>
                <a:gd name="T84" fmla="*/ 378 w 378"/>
                <a:gd name="T85" fmla="*/ 165 h 408"/>
                <a:gd name="T86" fmla="*/ 378 w 378"/>
                <a:gd name="T87" fmla="*/ 181 h 408"/>
                <a:gd name="T88" fmla="*/ 361 w 378"/>
                <a:gd name="T89" fmla="*/ 203 h 408"/>
                <a:gd name="T90" fmla="*/ 373 w 378"/>
                <a:gd name="T91" fmla="*/ 210 h 408"/>
                <a:gd name="T92" fmla="*/ 345 w 378"/>
                <a:gd name="T93" fmla="*/ 219 h 408"/>
                <a:gd name="T94" fmla="*/ 340 w 378"/>
                <a:gd name="T95" fmla="*/ 243 h 408"/>
                <a:gd name="T96" fmla="*/ 323 w 378"/>
                <a:gd name="T97" fmla="*/ 259 h 408"/>
                <a:gd name="T98" fmla="*/ 302 w 378"/>
                <a:gd name="T99" fmla="*/ 297 h 408"/>
                <a:gd name="T100" fmla="*/ 307 w 378"/>
                <a:gd name="T101" fmla="*/ 314 h 408"/>
                <a:gd name="T102" fmla="*/ 302 w 378"/>
                <a:gd name="T103" fmla="*/ 375 h 408"/>
                <a:gd name="T104" fmla="*/ 231 w 378"/>
                <a:gd name="T105" fmla="*/ 375 h 408"/>
                <a:gd name="T106" fmla="*/ 231 w 378"/>
                <a:gd name="T107" fmla="*/ 375 h 408"/>
                <a:gd name="T108" fmla="*/ 231 w 378"/>
                <a:gd name="T109" fmla="*/ 375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8" h="408">
                  <a:moveTo>
                    <a:pt x="231" y="375"/>
                  </a:moveTo>
                  <a:lnTo>
                    <a:pt x="87" y="375"/>
                  </a:lnTo>
                  <a:lnTo>
                    <a:pt x="66" y="375"/>
                  </a:lnTo>
                  <a:lnTo>
                    <a:pt x="54" y="375"/>
                  </a:lnTo>
                  <a:lnTo>
                    <a:pt x="33" y="408"/>
                  </a:lnTo>
                  <a:lnTo>
                    <a:pt x="16" y="401"/>
                  </a:lnTo>
                  <a:lnTo>
                    <a:pt x="0" y="401"/>
                  </a:lnTo>
                  <a:lnTo>
                    <a:pt x="0" y="368"/>
                  </a:lnTo>
                  <a:lnTo>
                    <a:pt x="12" y="297"/>
                  </a:lnTo>
                  <a:lnTo>
                    <a:pt x="21" y="264"/>
                  </a:lnTo>
                  <a:lnTo>
                    <a:pt x="21" y="243"/>
                  </a:lnTo>
                  <a:lnTo>
                    <a:pt x="38" y="236"/>
                  </a:lnTo>
                  <a:lnTo>
                    <a:pt x="49" y="219"/>
                  </a:lnTo>
                  <a:lnTo>
                    <a:pt x="66" y="219"/>
                  </a:lnTo>
                  <a:lnTo>
                    <a:pt x="125" y="148"/>
                  </a:lnTo>
                  <a:lnTo>
                    <a:pt x="104" y="132"/>
                  </a:lnTo>
                  <a:lnTo>
                    <a:pt x="92" y="132"/>
                  </a:lnTo>
                  <a:lnTo>
                    <a:pt x="75" y="127"/>
                  </a:lnTo>
                  <a:lnTo>
                    <a:pt x="92" y="99"/>
                  </a:lnTo>
                  <a:lnTo>
                    <a:pt x="87" y="82"/>
                  </a:lnTo>
                  <a:lnTo>
                    <a:pt x="92" y="61"/>
                  </a:lnTo>
                  <a:lnTo>
                    <a:pt x="92" y="54"/>
                  </a:lnTo>
                  <a:lnTo>
                    <a:pt x="92" y="54"/>
                  </a:lnTo>
                  <a:lnTo>
                    <a:pt x="104" y="37"/>
                  </a:lnTo>
                  <a:lnTo>
                    <a:pt x="108" y="28"/>
                  </a:lnTo>
                  <a:lnTo>
                    <a:pt x="142" y="37"/>
                  </a:lnTo>
                  <a:lnTo>
                    <a:pt x="156" y="28"/>
                  </a:lnTo>
                  <a:lnTo>
                    <a:pt x="163" y="44"/>
                  </a:lnTo>
                  <a:lnTo>
                    <a:pt x="184" y="54"/>
                  </a:lnTo>
                  <a:lnTo>
                    <a:pt x="184" y="44"/>
                  </a:lnTo>
                  <a:lnTo>
                    <a:pt x="201" y="37"/>
                  </a:lnTo>
                  <a:lnTo>
                    <a:pt x="217" y="28"/>
                  </a:lnTo>
                  <a:lnTo>
                    <a:pt x="238" y="21"/>
                  </a:lnTo>
                  <a:lnTo>
                    <a:pt x="255" y="28"/>
                  </a:lnTo>
                  <a:lnTo>
                    <a:pt x="281" y="28"/>
                  </a:lnTo>
                  <a:lnTo>
                    <a:pt x="307" y="0"/>
                  </a:lnTo>
                  <a:lnTo>
                    <a:pt x="323" y="28"/>
                  </a:lnTo>
                  <a:lnTo>
                    <a:pt x="340" y="37"/>
                  </a:lnTo>
                  <a:lnTo>
                    <a:pt x="340" y="61"/>
                  </a:lnTo>
                  <a:lnTo>
                    <a:pt x="345" y="94"/>
                  </a:lnTo>
                  <a:lnTo>
                    <a:pt x="361" y="99"/>
                  </a:lnTo>
                  <a:lnTo>
                    <a:pt x="373" y="127"/>
                  </a:lnTo>
                  <a:lnTo>
                    <a:pt x="378" y="165"/>
                  </a:lnTo>
                  <a:lnTo>
                    <a:pt x="378" y="181"/>
                  </a:lnTo>
                  <a:lnTo>
                    <a:pt x="361" y="203"/>
                  </a:lnTo>
                  <a:lnTo>
                    <a:pt x="373" y="210"/>
                  </a:lnTo>
                  <a:lnTo>
                    <a:pt x="345" y="219"/>
                  </a:lnTo>
                  <a:lnTo>
                    <a:pt x="340" y="243"/>
                  </a:lnTo>
                  <a:lnTo>
                    <a:pt x="323" y="259"/>
                  </a:lnTo>
                  <a:lnTo>
                    <a:pt x="302" y="297"/>
                  </a:lnTo>
                  <a:lnTo>
                    <a:pt x="307" y="314"/>
                  </a:lnTo>
                  <a:lnTo>
                    <a:pt x="302" y="375"/>
                  </a:lnTo>
                  <a:lnTo>
                    <a:pt x="231" y="375"/>
                  </a:lnTo>
                  <a:lnTo>
                    <a:pt x="231" y="375"/>
                  </a:lnTo>
                  <a:lnTo>
                    <a:pt x="231" y="37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54" name="Freeform 583">
              <a:extLst>
                <a:ext uri="{FF2B5EF4-FFF2-40B4-BE49-F238E27FC236}">
                  <a16:creationId xmlns:a16="http://schemas.microsoft.com/office/drawing/2014/main" id="{F7A613D5-ECB9-4CFE-8057-841B10A56B16}"/>
                </a:ext>
              </a:extLst>
            </p:cNvPr>
            <p:cNvSpPr>
              <a:spLocks/>
            </p:cNvSpPr>
            <p:nvPr/>
          </p:nvSpPr>
          <p:spPr bwMode="gray">
            <a:xfrm>
              <a:off x="6566508" y="3615469"/>
              <a:ext cx="229712" cy="170862"/>
            </a:xfrm>
            <a:custGeom>
              <a:avLst/>
              <a:gdLst>
                <a:gd name="T0" fmla="*/ 428 w 558"/>
                <a:gd name="T1" fmla="*/ 304 h 415"/>
                <a:gd name="T2" fmla="*/ 378 w 558"/>
                <a:gd name="T3" fmla="*/ 288 h 415"/>
                <a:gd name="T4" fmla="*/ 341 w 558"/>
                <a:gd name="T5" fmla="*/ 304 h 415"/>
                <a:gd name="T6" fmla="*/ 319 w 558"/>
                <a:gd name="T7" fmla="*/ 293 h 415"/>
                <a:gd name="T8" fmla="*/ 178 w 558"/>
                <a:gd name="T9" fmla="*/ 316 h 415"/>
                <a:gd name="T10" fmla="*/ 194 w 558"/>
                <a:gd name="T11" fmla="*/ 399 h 415"/>
                <a:gd name="T12" fmla="*/ 194 w 558"/>
                <a:gd name="T13" fmla="*/ 415 h 415"/>
                <a:gd name="T14" fmla="*/ 135 w 558"/>
                <a:gd name="T15" fmla="*/ 370 h 415"/>
                <a:gd name="T16" fmla="*/ 85 w 558"/>
                <a:gd name="T17" fmla="*/ 399 h 415"/>
                <a:gd name="T18" fmla="*/ 38 w 558"/>
                <a:gd name="T19" fmla="*/ 370 h 415"/>
                <a:gd name="T20" fmla="*/ 10 w 558"/>
                <a:gd name="T21" fmla="*/ 349 h 415"/>
                <a:gd name="T22" fmla="*/ 10 w 558"/>
                <a:gd name="T23" fmla="*/ 309 h 415"/>
                <a:gd name="T24" fmla="*/ 15 w 558"/>
                <a:gd name="T25" fmla="*/ 288 h 415"/>
                <a:gd name="T26" fmla="*/ 15 w 558"/>
                <a:gd name="T27" fmla="*/ 233 h 415"/>
                <a:gd name="T28" fmla="*/ 64 w 558"/>
                <a:gd name="T29" fmla="*/ 217 h 415"/>
                <a:gd name="T30" fmla="*/ 81 w 558"/>
                <a:gd name="T31" fmla="*/ 181 h 415"/>
                <a:gd name="T32" fmla="*/ 85 w 558"/>
                <a:gd name="T33" fmla="*/ 165 h 415"/>
                <a:gd name="T34" fmla="*/ 85 w 558"/>
                <a:gd name="T35" fmla="*/ 144 h 415"/>
                <a:gd name="T36" fmla="*/ 145 w 558"/>
                <a:gd name="T37" fmla="*/ 139 h 415"/>
                <a:gd name="T38" fmla="*/ 161 w 558"/>
                <a:gd name="T39" fmla="*/ 127 h 415"/>
                <a:gd name="T40" fmla="*/ 189 w 558"/>
                <a:gd name="T41" fmla="*/ 106 h 415"/>
                <a:gd name="T42" fmla="*/ 215 w 558"/>
                <a:gd name="T43" fmla="*/ 54 h 415"/>
                <a:gd name="T44" fmla="*/ 248 w 558"/>
                <a:gd name="T45" fmla="*/ 66 h 415"/>
                <a:gd name="T46" fmla="*/ 270 w 558"/>
                <a:gd name="T47" fmla="*/ 37 h 415"/>
                <a:gd name="T48" fmla="*/ 308 w 558"/>
                <a:gd name="T49" fmla="*/ 16 h 415"/>
                <a:gd name="T50" fmla="*/ 357 w 558"/>
                <a:gd name="T51" fmla="*/ 0 h 415"/>
                <a:gd name="T52" fmla="*/ 374 w 558"/>
                <a:gd name="T53" fmla="*/ 0 h 415"/>
                <a:gd name="T54" fmla="*/ 395 w 558"/>
                <a:gd name="T55" fmla="*/ 37 h 415"/>
                <a:gd name="T56" fmla="*/ 411 w 558"/>
                <a:gd name="T57" fmla="*/ 66 h 415"/>
                <a:gd name="T58" fmla="*/ 459 w 558"/>
                <a:gd name="T59" fmla="*/ 111 h 415"/>
                <a:gd name="T60" fmla="*/ 482 w 558"/>
                <a:gd name="T61" fmla="*/ 127 h 415"/>
                <a:gd name="T62" fmla="*/ 459 w 558"/>
                <a:gd name="T63" fmla="*/ 144 h 415"/>
                <a:gd name="T64" fmla="*/ 534 w 558"/>
                <a:gd name="T65" fmla="*/ 177 h 415"/>
                <a:gd name="T66" fmla="*/ 534 w 558"/>
                <a:gd name="T67" fmla="*/ 198 h 415"/>
                <a:gd name="T68" fmla="*/ 551 w 558"/>
                <a:gd name="T69" fmla="*/ 250 h 415"/>
                <a:gd name="T70" fmla="*/ 504 w 558"/>
                <a:gd name="T71" fmla="*/ 271 h 415"/>
                <a:gd name="T72" fmla="*/ 482 w 558"/>
                <a:gd name="T73" fmla="*/ 271 h 415"/>
                <a:gd name="T74" fmla="*/ 449 w 558"/>
                <a:gd name="T75" fmla="*/ 293 h 415"/>
                <a:gd name="T76" fmla="*/ 449 w 558"/>
                <a:gd name="T77" fmla="*/ 293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8" h="415">
                  <a:moveTo>
                    <a:pt x="449" y="293"/>
                  </a:moveTo>
                  <a:lnTo>
                    <a:pt x="428" y="304"/>
                  </a:lnTo>
                  <a:lnTo>
                    <a:pt x="428" y="293"/>
                  </a:lnTo>
                  <a:lnTo>
                    <a:pt x="378" y="288"/>
                  </a:lnTo>
                  <a:lnTo>
                    <a:pt x="362" y="288"/>
                  </a:lnTo>
                  <a:lnTo>
                    <a:pt x="341" y="304"/>
                  </a:lnTo>
                  <a:lnTo>
                    <a:pt x="341" y="293"/>
                  </a:lnTo>
                  <a:lnTo>
                    <a:pt x="319" y="293"/>
                  </a:lnTo>
                  <a:lnTo>
                    <a:pt x="189" y="293"/>
                  </a:lnTo>
                  <a:lnTo>
                    <a:pt x="178" y="316"/>
                  </a:lnTo>
                  <a:lnTo>
                    <a:pt x="194" y="349"/>
                  </a:lnTo>
                  <a:lnTo>
                    <a:pt x="194" y="399"/>
                  </a:lnTo>
                  <a:lnTo>
                    <a:pt x="199" y="404"/>
                  </a:lnTo>
                  <a:lnTo>
                    <a:pt x="194" y="415"/>
                  </a:lnTo>
                  <a:lnTo>
                    <a:pt x="161" y="370"/>
                  </a:lnTo>
                  <a:lnTo>
                    <a:pt x="135" y="370"/>
                  </a:lnTo>
                  <a:lnTo>
                    <a:pt x="90" y="382"/>
                  </a:lnTo>
                  <a:lnTo>
                    <a:pt x="85" y="399"/>
                  </a:lnTo>
                  <a:lnTo>
                    <a:pt x="52" y="387"/>
                  </a:lnTo>
                  <a:lnTo>
                    <a:pt x="38" y="370"/>
                  </a:lnTo>
                  <a:lnTo>
                    <a:pt x="26" y="349"/>
                  </a:lnTo>
                  <a:lnTo>
                    <a:pt x="10" y="349"/>
                  </a:lnTo>
                  <a:lnTo>
                    <a:pt x="0" y="333"/>
                  </a:lnTo>
                  <a:lnTo>
                    <a:pt x="10" y="309"/>
                  </a:lnTo>
                  <a:lnTo>
                    <a:pt x="0" y="293"/>
                  </a:lnTo>
                  <a:lnTo>
                    <a:pt x="15" y="288"/>
                  </a:lnTo>
                  <a:lnTo>
                    <a:pt x="26" y="259"/>
                  </a:lnTo>
                  <a:lnTo>
                    <a:pt x="15" y="233"/>
                  </a:lnTo>
                  <a:lnTo>
                    <a:pt x="26" y="222"/>
                  </a:lnTo>
                  <a:lnTo>
                    <a:pt x="64" y="217"/>
                  </a:lnTo>
                  <a:lnTo>
                    <a:pt x="81" y="198"/>
                  </a:lnTo>
                  <a:lnTo>
                    <a:pt x="81" y="181"/>
                  </a:lnTo>
                  <a:lnTo>
                    <a:pt x="69" y="165"/>
                  </a:lnTo>
                  <a:lnTo>
                    <a:pt x="85" y="165"/>
                  </a:lnTo>
                  <a:lnTo>
                    <a:pt x="90" y="160"/>
                  </a:lnTo>
                  <a:lnTo>
                    <a:pt x="85" y="144"/>
                  </a:lnTo>
                  <a:lnTo>
                    <a:pt x="107" y="111"/>
                  </a:lnTo>
                  <a:lnTo>
                    <a:pt x="145" y="139"/>
                  </a:lnTo>
                  <a:lnTo>
                    <a:pt x="145" y="127"/>
                  </a:lnTo>
                  <a:lnTo>
                    <a:pt x="161" y="127"/>
                  </a:lnTo>
                  <a:lnTo>
                    <a:pt x="156" y="94"/>
                  </a:lnTo>
                  <a:lnTo>
                    <a:pt x="189" y="106"/>
                  </a:lnTo>
                  <a:lnTo>
                    <a:pt x="189" y="70"/>
                  </a:lnTo>
                  <a:lnTo>
                    <a:pt x="215" y="54"/>
                  </a:lnTo>
                  <a:lnTo>
                    <a:pt x="244" y="66"/>
                  </a:lnTo>
                  <a:lnTo>
                    <a:pt x="248" y="66"/>
                  </a:lnTo>
                  <a:lnTo>
                    <a:pt x="248" y="37"/>
                  </a:lnTo>
                  <a:lnTo>
                    <a:pt x="270" y="37"/>
                  </a:lnTo>
                  <a:lnTo>
                    <a:pt x="298" y="28"/>
                  </a:lnTo>
                  <a:lnTo>
                    <a:pt x="308" y="16"/>
                  </a:lnTo>
                  <a:lnTo>
                    <a:pt x="336" y="0"/>
                  </a:lnTo>
                  <a:lnTo>
                    <a:pt x="357" y="0"/>
                  </a:lnTo>
                  <a:lnTo>
                    <a:pt x="362" y="0"/>
                  </a:lnTo>
                  <a:lnTo>
                    <a:pt x="374" y="0"/>
                  </a:lnTo>
                  <a:lnTo>
                    <a:pt x="404" y="11"/>
                  </a:lnTo>
                  <a:lnTo>
                    <a:pt x="395" y="37"/>
                  </a:lnTo>
                  <a:lnTo>
                    <a:pt x="416" y="54"/>
                  </a:lnTo>
                  <a:lnTo>
                    <a:pt x="411" y="66"/>
                  </a:lnTo>
                  <a:lnTo>
                    <a:pt x="428" y="94"/>
                  </a:lnTo>
                  <a:lnTo>
                    <a:pt x="459" y="111"/>
                  </a:lnTo>
                  <a:lnTo>
                    <a:pt x="459" y="111"/>
                  </a:lnTo>
                  <a:lnTo>
                    <a:pt x="482" y="127"/>
                  </a:lnTo>
                  <a:lnTo>
                    <a:pt x="459" y="122"/>
                  </a:lnTo>
                  <a:lnTo>
                    <a:pt x="459" y="144"/>
                  </a:lnTo>
                  <a:lnTo>
                    <a:pt x="497" y="177"/>
                  </a:lnTo>
                  <a:lnTo>
                    <a:pt x="534" y="177"/>
                  </a:lnTo>
                  <a:lnTo>
                    <a:pt x="541" y="193"/>
                  </a:lnTo>
                  <a:lnTo>
                    <a:pt x="534" y="198"/>
                  </a:lnTo>
                  <a:lnTo>
                    <a:pt x="558" y="233"/>
                  </a:lnTo>
                  <a:lnTo>
                    <a:pt x="551" y="250"/>
                  </a:lnTo>
                  <a:lnTo>
                    <a:pt x="525" y="259"/>
                  </a:lnTo>
                  <a:lnTo>
                    <a:pt x="504" y="271"/>
                  </a:lnTo>
                  <a:lnTo>
                    <a:pt x="487" y="259"/>
                  </a:lnTo>
                  <a:lnTo>
                    <a:pt x="482" y="271"/>
                  </a:lnTo>
                  <a:lnTo>
                    <a:pt x="471" y="276"/>
                  </a:lnTo>
                  <a:lnTo>
                    <a:pt x="449" y="293"/>
                  </a:lnTo>
                  <a:lnTo>
                    <a:pt x="449" y="293"/>
                  </a:lnTo>
                  <a:lnTo>
                    <a:pt x="449" y="29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55" name="Freeform 590">
              <a:extLst>
                <a:ext uri="{FF2B5EF4-FFF2-40B4-BE49-F238E27FC236}">
                  <a16:creationId xmlns:a16="http://schemas.microsoft.com/office/drawing/2014/main" id="{98856F9E-D856-4B24-AE63-578AA1BD9803}"/>
                </a:ext>
              </a:extLst>
            </p:cNvPr>
            <p:cNvSpPr>
              <a:spLocks/>
            </p:cNvSpPr>
            <p:nvPr/>
          </p:nvSpPr>
          <p:spPr bwMode="gray">
            <a:xfrm>
              <a:off x="7066686" y="4573120"/>
              <a:ext cx="387792" cy="374661"/>
            </a:xfrm>
            <a:custGeom>
              <a:avLst/>
              <a:gdLst>
                <a:gd name="T0" fmla="*/ 21 w 942"/>
                <a:gd name="T1" fmla="*/ 17 h 910"/>
                <a:gd name="T2" fmla="*/ 96 w 942"/>
                <a:gd name="T3" fmla="*/ 0 h 910"/>
                <a:gd name="T4" fmla="*/ 151 w 942"/>
                <a:gd name="T5" fmla="*/ 38 h 910"/>
                <a:gd name="T6" fmla="*/ 474 w 942"/>
                <a:gd name="T7" fmla="*/ 55 h 910"/>
                <a:gd name="T8" fmla="*/ 597 w 942"/>
                <a:gd name="T9" fmla="*/ 71 h 910"/>
                <a:gd name="T10" fmla="*/ 635 w 942"/>
                <a:gd name="T11" fmla="*/ 76 h 910"/>
                <a:gd name="T12" fmla="*/ 668 w 942"/>
                <a:gd name="T13" fmla="*/ 76 h 910"/>
                <a:gd name="T14" fmla="*/ 867 w 942"/>
                <a:gd name="T15" fmla="*/ 38 h 910"/>
                <a:gd name="T16" fmla="*/ 921 w 942"/>
                <a:gd name="T17" fmla="*/ 50 h 910"/>
                <a:gd name="T18" fmla="*/ 916 w 942"/>
                <a:gd name="T19" fmla="*/ 59 h 910"/>
                <a:gd name="T20" fmla="*/ 878 w 942"/>
                <a:gd name="T21" fmla="*/ 76 h 910"/>
                <a:gd name="T22" fmla="*/ 807 w 942"/>
                <a:gd name="T23" fmla="*/ 76 h 910"/>
                <a:gd name="T24" fmla="*/ 647 w 942"/>
                <a:gd name="T25" fmla="*/ 383 h 910"/>
                <a:gd name="T26" fmla="*/ 576 w 942"/>
                <a:gd name="T27" fmla="*/ 586 h 910"/>
                <a:gd name="T28" fmla="*/ 543 w 942"/>
                <a:gd name="T29" fmla="*/ 881 h 910"/>
                <a:gd name="T30" fmla="*/ 522 w 942"/>
                <a:gd name="T31" fmla="*/ 898 h 910"/>
                <a:gd name="T32" fmla="*/ 512 w 942"/>
                <a:gd name="T33" fmla="*/ 910 h 910"/>
                <a:gd name="T34" fmla="*/ 441 w 942"/>
                <a:gd name="T35" fmla="*/ 910 h 910"/>
                <a:gd name="T36" fmla="*/ 404 w 942"/>
                <a:gd name="T37" fmla="*/ 903 h 910"/>
                <a:gd name="T38" fmla="*/ 387 w 942"/>
                <a:gd name="T39" fmla="*/ 898 h 910"/>
                <a:gd name="T40" fmla="*/ 382 w 942"/>
                <a:gd name="T41" fmla="*/ 853 h 910"/>
                <a:gd name="T42" fmla="*/ 349 w 942"/>
                <a:gd name="T43" fmla="*/ 848 h 910"/>
                <a:gd name="T44" fmla="*/ 328 w 942"/>
                <a:gd name="T45" fmla="*/ 886 h 910"/>
                <a:gd name="T46" fmla="*/ 274 w 942"/>
                <a:gd name="T47" fmla="*/ 841 h 910"/>
                <a:gd name="T48" fmla="*/ 236 w 942"/>
                <a:gd name="T49" fmla="*/ 759 h 910"/>
                <a:gd name="T50" fmla="*/ 236 w 942"/>
                <a:gd name="T51" fmla="*/ 730 h 910"/>
                <a:gd name="T52" fmla="*/ 219 w 942"/>
                <a:gd name="T53" fmla="*/ 714 h 910"/>
                <a:gd name="T54" fmla="*/ 215 w 942"/>
                <a:gd name="T55" fmla="*/ 664 h 910"/>
                <a:gd name="T56" fmla="*/ 181 w 942"/>
                <a:gd name="T57" fmla="*/ 537 h 910"/>
                <a:gd name="T58" fmla="*/ 203 w 942"/>
                <a:gd name="T59" fmla="*/ 466 h 910"/>
                <a:gd name="T60" fmla="*/ 189 w 942"/>
                <a:gd name="T61" fmla="*/ 425 h 910"/>
                <a:gd name="T62" fmla="*/ 151 w 942"/>
                <a:gd name="T63" fmla="*/ 366 h 910"/>
                <a:gd name="T64" fmla="*/ 113 w 942"/>
                <a:gd name="T65" fmla="*/ 293 h 910"/>
                <a:gd name="T66" fmla="*/ 42 w 942"/>
                <a:gd name="T67" fmla="*/ 149 h 910"/>
                <a:gd name="T68" fmla="*/ 0 w 942"/>
                <a:gd name="T69" fmla="*/ 88 h 910"/>
                <a:gd name="T70" fmla="*/ 0 w 942"/>
                <a:gd name="T71" fmla="*/ 22 h 910"/>
                <a:gd name="T72" fmla="*/ 0 w 942"/>
                <a:gd name="T73" fmla="*/ 22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2" h="910">
                  <a:moveTo>
                    <a:pt x="0" y="22"/>
                  </a:moveTo>
                  <a:lnTo>
                    <a:pt x="21" y="17"/>
                  </a:lnTo>
                  <a:lnTo>
                    <a:pt x="52" y="22"/>
                  </a:lnTo>
                  <a:lnTo>
                    <a:pt x="96" y="0"/>
                  </a:lnTo>
                  <a:lnTo>
                    <a:pt x="118" y="5"/>
                  </a:lnTo>
                  <a:lnTo>
                    <a:pt x="151" y="38"/>
                  </a:lnTo>
                  <a:lnTo>
                    <a:pt x="467" y="33"/>
                  </a:lnTo>
                  <a:lnTo>
                    <a:pt x="474" y="55"/>
                  </a:lnTo>
                  <a:lnTo>
                    <a:pt x="496" y="59"/>
                  </a:lnTo>
                  <a:lnTo>
                    <a:pt x="597" y="71"/>
                  </a:lnTo>
                  <a:lnTo>
                    <a:pt x="614" y="76"/>
                  </a:lnTo>
                  <a:lnTo>
                    <a:pt x="635" y="76"/>
                  </a:lnTo>
                  <a:lnTo>
                    <a:pt x="652" y="71"/>
                  </a:lnTo>
                  <a:lnTo>
                    <a:pt x="668" y="76"/>
                  </a:lnTo>
                  <a:lnTo>
                    <a:pt x="812" y="55"/>
                  </a:lnTo>
                  <a:lnTo>
                    <a:pt x="867" y="38"/>
                  </a:lnTo>
                  <a:lnTo>
                    <a:pt x="900" y="38"/>
                  </a:lnTo>
                  <a:lnTo>
                    <a:pt x="921" y="50"/>
                  </a:lnTo>
                  <a:lnTo>
                    <a:pt x="942" y="59"/>
                  </a:lnTo>
                  <a:lnTo>
                    <a:pt x="916" y="59"/>
                  </a:lnTo>
                  <a:lnTo>
                    <a:pt x="888" y="88"/>
                  </a:lnTo>
                  <a:lnTo>
                    <a:pt x="878" y="76"/>
                  </a:lnTo>
                  <a:lnTo>
                    <a:pt x="829" y="116"/>
                  </a:lnTo>
                  <a:lnTo>
                    <a:pt x="807" y="76"/>
                  </a:lnTo>
                  <a:lnTo>
                    <a:pt x="647" y="104"/>
                  </a:lnTo>
                  <a:lnTo>
                    <a:pt x="647" y="383"/>
                  </a:lnTo>
                  <a:lnTo>
                    <a:pt x="576" y="383"/>
                  </a:lnTo>
                  <a:lnTo>
                    <a:pt x="576" y="586"/>
                  </a:lnTo>
                  <a:lnTo>
                    <a:pt x="576" y="870"/>
                  </a:lnTo>
                  <a:lnTo>
                    <a:pt x="543" y="881"/>
                  </a:lnTo>
                  <a:lnTo>
                    <a:pt x="538" y="898"/>
                  </a:lnTo>
                  <a:lnTo>
                    <a:pt x="522" y="898"/>
                  </a:lnTo>
                  <a:lnTo>
                    <a:pt x="522" y="910"/>
                  </a:lnTo>
                  <a:lnTo>
                    <a:pt x="512" y="910"/>
                  </a:lnTo>
                  <a:lnTo>
                    <a:pt x="484" y="903"/>
                  </a:lnTo>
                  <a:lnTo>
                    <a:pt x="441" y="910"/>
                  </a:lnTo>
                  <a:lnTo>
                    <a:pt x="430" y="903"/>
                  </a:lnTo>
                  <a:lnTo>
                    <a:pt x="404" y="903"/>
                  </a:lnTo>
                  <a:lnTo>
                    <a:pt x="404" y="898"/>
                  </a:lnTo>
                  <a:lnTo>
                    <a:pt x="387" y="898"/>
                  </a:lnTo>
                  <a:lnTo>
                    <a:pt x="387" y="853"/>
                  </a:lnTo>
                  <a:lnTo>
                    <a:pt x="382" y="853"/>
                  </a:lnTo>
                  <a:lnTo>
                    <a:pt x="366" y="841"/>
                  </a:lnTo>
                  <a:lnTo>
                    <a:pt x="349" y="848"/>
                  </a:lnTo>
                  <a:lnTo>
                    <a:pt x="344" y="881"/>
                  </a:lnTo>
                  <a:lnTo>
                    <a:pt x="328" y="886"/>
                  </a:lnTo>
                  <a:lnTo>
                    <a:pt x="323" y="881"/>
                  </a:lnTo>
                  <a:lnTo>
                    <a:pt x="274" y="841"/>
                  </a:lnTo>
                  <a:lnTo>
                    <a:pt x="241" y="787"/>
                  </a:lnTo>
                  <a:lnTo>
                    <a:pt x="236" y="759"/>
                  </a:lnTo>
                  <a:lnTo>
                    <a:pt x="226" y="737"/>
                  </a:lnTo>
                  <a:lnTo>
                    <a:pt x="236" y="730"/>
                  </a:lnTo>
                  <a:lnTo>
                    <a:pt x="226" y="714"/>
                  </a:lnTo>
                  <a:lnTo>
                    <a:pt x="219" y="714"/>
                  </a:lnTo>
                  <a:lnTo>
                    <a:pt x="219" y="688"/>
                  </a:lnTo>
                  <a:lnTo>
                    <a:pt x="215" y="664"/>
                  </a:lnTo>
                  <a:lnTo>
                    <a:pt x="215" y="610"/>
                  </a:lnTo>
                  <a:lnTo>
                    <a:pt x="181" y="537"/>
                  </a:lnTo>
                  <a:lnTo>
                    <a:pt x="181" y="466"/>
                  </a:lnTo>
                  <a:lnTo>
                    <a:pt x="203" y="466"/>
                  </a:lnTo>
                  <a:lnTo>
                    <a:pt x="198" y="425"/>
                  </a:lnTo>
                  <a:lnTo>
                    <a:pt x="189" y="425"/>
                  </a:lnTo>
                  <a:lnTo>
                    <a:pt x="181" y="404"/>
                  </a:lnTo>
                  <a:lnTo>
                    <a:pt x="151" y="366"/>
                  </a:lnTo>
                  <a:lnTo>
                    <a:pt x="144" y="343"/>
                  </a:lnTo>
                  <a:lnTo>
                    <a:pt x="113" y="293"/>
                  </a:lnTo>
                  <a:lnTo>
                    <a:pt x="96" y="244"/>
                  </a:lnTo>
                  <a:lnTo>
                    <a:pt x="42" y="149"/>
                  </a:lnTo>
                  <a:lnTo>
                    <a:pt x="9" y="109"/>
                  </a:lnTo>
                  <a:lnTo>
                    <a:pt x="0" y="88"/>
                  </a:lnTo>
                  <a:lnTo>
                    <a:pt x="0" y="50"/>
                  </a:lnTo>
                  <a:lnTo>
                    <a:pt x="0" y="22"/>
                  </a:lnTo>
                  <a:lnTo>
                    <a:pt x="0" y="22"/>
                  </a:lnTo>
                  <a:lnTo>
                    <a:pt x="0" y="2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56" name="Freeform 591">
              <a:extLst>
                <a:ext uri="{FF2B5EF4-FFF2-40B4-BE49-F238E27FC236}">
                  <a16:creationId xmlns:a16="http://schemas.microsoft.com/office/drawing/2014/main" id="{2575998C-1263-44A3-8C79-DA5F935182BF}"/>
                </a:ext>
              </a:extLst>
            </p:cNvPr>
            <p:cNvSpPr>
              <a:spLocks/>
            </p:cNvSpPr>
            <p:nvPr/>
          </p:nvSpPr>
          <p:spPr bwMode="gray">
            <a:xfrm>
              <a:off x="7733593" y="3065827"/>
              <a:ext cx="17702" cy="38702"/>
            </a:xfrm>
            <a:custGeom>
              <a:avLst/>
              <a:gdLst>
                <a:gd name="T0" fmla="*/ 43 w 43"/>
                <a:gd name="T1" fmla="*/ 21 h 94"/>
                <a:gd name="T2" fmla="*/ 43 w 43"/>
                <a:gd name="T3" fmla="*/ 83 h 94"/>
                <a:gd name="T4" fmla="*/ 17 w 43"/>
                <a:gd name="T5" fmla="*/ 94 h 94"/>
                <a:gd name="T6" fmla="*/ 0 w 43"/>
                <a:gd name="T7" fmla="*/ 94 h 94"/>
                <a:gd name="T8" fmla="*/ 7 w 43"/>
                <a:gd name="T9" fmla="*/ 71 h 94"/>
                <a:gd name="T10" fmla="*/ 21 w 43"/>
                <a:gd name="T11" fmla="*/ 61 h 94"/>
                <a:gd name="T12" fmla="*/ 7 w 43"/>
                <a:gd name="T13" fmla="*/ 54 h 94"/>
                <a:gd name="T14" fmla="*/ 17 w 43"/>
                <a:gd name="T15" fmla="*/ 5 h 94"/>
                <a:gd name="T16" fmla="*/ 21 w 43"/>
                <a:gd name="T17" fmla="*/ 0 h 94"/>
                <a:gd name="T18" fmla="*/ 43 w 43"/>
                <a:gd name="T19" fmla="*/ 17 h 94"/>
                <a:gd name="T20" fmla="*/ 43 w 43"/>
                <a:gd name="T21" fmla="*/ 21 h 94"/>
                <a:gd name="T22" fmla="*/ 43 w 43"/>
                <a:gd name="T23" fmla="*/ 21 h 94"/>
                <a:gd name="T24" fmla="*/ 43 w 43"/>
                <a:gd name="T25" fmla="*/ 2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94">
                  <a:moveTo>
                    <a:pt x="43" y="21"/>
                  </a:moveTo>
                  <a:lnTo>
                    <a:pt x="43" y="83"/>
                  </a:lnTo>
                  <a:lnTo>
                    <a:pt x="17" y="94"/>
                  </a:lnTo>
                  <a:lnTo>
                    <a:pt x="0" y="94"/>
                  </a:lnTo>
                  <a:lnTo>
                    <a:pt x="7" y="71"/>
                  </a:lnTo>
                  <a:lnTo>
                    <a:pt x="21" y="61"/>
                  </a:lnTo>
                  <a:lnTo>
                    <a:pt x="7" y="54"/>
                  </a:lnTo>
                  <a:lnTo>
                    <a:pt x="17" y="5"/>
                  </a:lnTo>
                  <a:lnTo>
                    <a:pt x="21" y="0"/>
                  </a:lnTo>
                  <a:lnTo>
                    <a:pt x="43" y="17"/>
                  </a:lnTo>
                  <a:lnTo>
                    <a:pt x="43" y="21"/>
                  </a:lnTo>
                  <a:lnTo>
                    <a:pt x="43" y="21"/>
                  </a:lnTo>
                  <a:lnTo>
                    <a:pt x="43" y="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57" name="Freeform 592">
              <a:extLst>
                <a:ext uri="{FF2B5EF4-FFF2-40B4-BE49-F238E27FC236}">
                  <a16:creationId xmlns:a16="http://schemas.microsoft.com/office/drawing/2014/main" id="{E1E7F0ED-AAE0-4F9F-A06C-D2E9A6FDAEB6}"/>
                </a:ext>
              </a:extLst>
            </p:cNvPr>
            <p:cNvSpPr>
              <a:spLocks/>
            </p:cNvSpPr>
            <p:nvPr/>
          </p:nvSpPr>
          <p:spPr bwMode="gray">
            <a:xfrm>
              <a:off x="6232232" y="3224338"/>
              <a:ext cx="244120" cy="215739"/>
            </a:xfrm>
            <a:custGeom>
              <a:avLst/>
              <a:gdLst>
                <a:gd name="T0" fmla="*/ 196 w 593"/>
                <a:gd name="T1" fmla="*/ 487 h 524"/>
                <a:gd name="T2" fmla="*/ 12 w 593"/>
                <a:gd name="T3" fmla="*/ 487 h 524"/>
                <a:gd name="T4" fmla="*/ 0 w 593"/>
                <a:gd name="T5" fmla="*/ 524 h 524"/>
                <a:gd name="T6" fmla="*/ 0 w 593"/>
                <a:gd name="T7" fmla="*/ 508 h 524"/>
                <a:gd name="T8" fmla="*/ 12 w 593"/>
                <a:gd name="T9" fmla="*/ 435 h 524"/>
                <a:gd name="T10" fmla="*/ 28 w 593"/>
                <a:gd name="T11" fmla="*/ 413 h 524"/>
                <a:gd name="T12" fmla="*/ 38 w 593"/>
                <a:gd name="T13" fmla="*/ 409 h 524"/>
                <a:gd name="T14" fmla="*/ 71 w 593"/>
                <a:gd name="T15" fmla="*/ 335 h 524"/>
                <a:gd name="T16" fmla="*/ 92 w 593"/>
                <a:gd name="T17" fmla="*/ 295 h 524"/>
                <a:gd name="T18" fmla="*/ 92 w 593"/>
                <a:gd name="T19" fmla="*/ 286 h 524"/>
                <a:gd name="T20" fmla="*/ 71 w 593"/>
                <a:gd name="T21" fmla="*/ 302 h 524"/>
                <a:gd name="T22" fmla="*/ 158 w 593"/>
                <a:gd name="T23" fmla="*/ 229 h 524"/>
                <a:gd name="T24" fmla="*/ 163 w 593"/>
                <a:gd name="T25" fmla="*/ 168 h 524"/>
                <a:gd name="T26" fmla="*/ 179 w 593"/>
                <a:gd name="T27" fmla="*/ 135 h 524"/>
                <a:gd name="T28" fmla="*/ 179 w 593"/>
                <a:gd name="T29" fmla="*/ 113 h 524"/>
                <a:gd name="T30" fmla="*/ 250 w 593"/>
                <a:gd name="T31" fmla="*/ 73 h 524"/>
                <a:gd name="T32" fmla="*/ 272 w 593"/>
                <a:gd name="T33" fmla="*/ 0 h 524"/>
                <a:gd name="T34" fmla="*/ 593 w 593"/>
                <a:gd name="T35" fmla="*/ 0 h 524"/>
                <a:gd name="T36" fmla="*/ 593 w 593"/>
                <a:gd name="T37" fmla="*/ 24 h 524"/>
                <a:gd name="T38" fmla="*/ 593 w 593"/>
                <a:gd name="T39" fmla="*/ 130 h 524"/>
                <a:gd name="T40" fmla="*/ 359 w 593"/>
                <a:gd name="T41" fmla="*/ 130 h 524"/>
                <a:gd name="T42" fmla="*/ 359 w 593"/>
                <a:gd name="T43" fmla="*/ 324 h 524"/>
                <a:gd name="T44" fmla="*/ 321 w 593"/>
                <a:gd name="T45" fmla="*/ 335 h 524"/>
                <a:gd name="T46" fmla="*/ 283 w 593"/>
                <a:gd name="T47" fmla="*/ 364 h 524"/>
                <a:gd name="T48" fmla="*/ 288 w 593"/>
                <a:gd name="T49" fmla="*/ 487 h 524"/>
                <a:gd name="T50" fmla="*/ 196 w 593"/>
                <a:gd name="T51" fmla="*/ 487 h 524"/>
                <a:gd name="T52" fmla="*/ 196 w 593"/>
                <a:gd name="T53" fmla="*/ 487 h 524"/>
                <a:gd name="T54" fmla="*/ 196 w 593"/>
                <a:gd name="T55" fmla="*/ 48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93" h="524">
                  <a:moveTo>
                    <a:pt x="196" y="487"/>
                  </a:moveTo>
                  <a:lnTo>
                    <a:pt x="12" y="487"/>
                  </a:lnTo>
                  <a:lnTo>
                    <a:pt x="0" y="524"/>
                  </a:lnTo>
                  <a:lnTo>
                    <a:pt x="0" y="508"/>
                  </a:lnTo>
                  <a:lnTo>
                    <a:pt x="12" y="435"/>
                  </a:lnTo>
                  <a:lnTo>
                    <a:pt x="28" y="413"/>
                  </a:lnTo>
                  <a:lnTo>
                    <a:pt x="38" y="409"/>
                  </a:lnTo>
                  <a:lnTo>
                    <a:pt x="71" y="335"/>
                  </a:lnTo>
                  <a:lnTo>
                    <a:pt x="92" y="295"/>
                  </a:lnTo>
                  <a:lnTo>
                    <a:pt x="92" y="286"/>
                  </a:lnTo>
                  <a:lnTo>
                    <a:pt x="71" y="302"/>
                  </a:lnTo>
                  <a:lnTo>
                    <a:pt x="158" y="229"/>
                  </a:lnTo>
                  <a:lnTo>
                    <a:pt x="163" y="168"/>
                  </a:lnTo>
                  <a:lnTo>
                    <a:pt x="179" y="135"/>
                  </a:lnTo>
                  <a:lnTo>
                    <a:pt x="179" y="113"/>
                  </a:lnTo>
                  <a:lnTo>
                    <a:pt x="250" y="73"/>
                  </a:lnTo>
                  <a:lnTo>
                    <a:pt x="272" y="0"/>
                  </a:lnTo>
                  <a:lnTo>
                    <a:pt x="593" y="0"/>
                  </a:lnTo>
                  <a:lnTo>
                    <a:pt x="593" y="24"/>
                  </a:lnTo>
                  <a:lnTo>
                    <a:pt x="593" y="130"/>
                  </a:lnTo>
                  <a:lnTo>
                    <a:pt x="359" y="130"/>
                  </a:lnTo>
                  <a:lnTo>
                    <a:pt x="359" y="324"/>
                  </a:lnTo>
                  <a:lnTo>
                    <a:pt x="321" y="335"/>
                  </a:lnTo>
                  <a:lnTo>
                    <a:pt x="283" y="364"/>
                  </a:lnTo>
                  <a:lnTo>
                    <a:pt x="288" y="487"/>
                  </a:lnTo>
                  <a:lnTo>
                    <a:pt x="196" y="487"/>
                  </a:lnTo>
                  <a:lnTo>
                    <a:pt x="196" y="487"/>
                  </a:lnTo>
                  <a:lnTo>
                    <a:pt x="196" y="48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58" name="Freeform 594">
              <a:extLst>
                <a:ext uri="{FF2B5EF4-FFF2-40B4-BE49-F238E27FC236}">
                  <a16:creationId xmlns:a16="http://schemas.microsoft.com/office/drawing/2014/main" id="{D7EB3D8D-0480-417E-B05F-BEDF1F28673D}"/>
                </a:ext>
              </a:extLst>
            </p:cNvPr>
            <p:cNvSpPr>
              <a:spLocks/>
            </p:cNvSpPr>
            <p:nvPr/>
          </p:nvSpPr>
          <p:spPr bwMode="gray">
            <a:xfrm>
              <a:off x="7615855" y="4846500"/>
              <a:ext cx="37050" cy="49818"/>
            </a:xfrm>
            <a:custGeom>
              <a:avLst/>
              <a:gdLst>
                <a:gd name="T0" fmla="*/ 5 w 90"/>
                <a:gd name="T1" fmla="*/ 76 h 121"/>
                <a:gd name="T2" fmla="*/ 0 w 90"/>
                <a:gd name="T3" fmla="*/ 76 h 121"/>
                <a:gd name="T4" fmla="*/ 0 w 90"/>
                <a:gd name="T5" fmla="*/ 50 h 121"/>
                <a:gd name="T6" fmla="*/ 21 w 90"/>
                <a:gd name="T7" fmla="*/ 17 h 121"/>
                <a:gd name="T8" fmla="*/ 36 w 90"/>
                <a:gd name="T9" fmla="*/ 0 h 121"/>
                <a:gd name="T10" fmla="*/ 43 w 90"/>
                <a:gd name="T11" fmla="*/ 0 h 121"/>
                <a:gd name="T12" fmla="*/ 73 w 90"/>
                <a:gd name="T13" fmla="*/ 17 h 121"/>
                <a:gd name="T14" fmla="*/ 85 w 90"/>
                <a:gd name="T15" fmla="*/ 17 h 121"/>
                <a:gd name="T16" fmla="*/ 90 w 90"/>
                <a:gd name="T17" fmla="*/ 33 h 121"/>
                <a:gd name="T18" fmla="*/ 90 w 90"/>
                <a:gd name="T19" fmla="*/ 87 h 121"/>
                <a:gd name="T20" fmla="*/ 85 w 90"/>
                <a:gd name="T21" fmla="*/ 76 h 121"/>
                <a:gd name="T22" fmla="*/ 85 w 90"/>
                <a:gd name="T23" fmla="*/ 121 h 121"/>
                <a:gd name="T24" fmla="*/ 52 w 90"/>
                <a:gd name="T25" fmla="*/ 121 h 121"/>
                <a:gd name="T26" fmla="*/ 21 w 90"/>
                <a:gd name="T27" fmla="*/ 109 h 121"/>
                <a:gd name="T28" fmla="*/ 5 w 90"/>
                <a:gd name="T29" fmla="*/ 76 h 121"/>
                <a:gd name="T30" fmla="*/ 5 w 90"/>
                <a:gd name="T31" fmla="*/ 76 h 121"/>
                <a:gd name="T32" fmla="*/ 5 w 90"/>
                <a:gd name="T33" fmla="*/ 7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21">
                  <a:moveTo>
                    <a:pt x="5" y="76"/>
                  </a:moveTo>
                  <a:lnTo>
                    <a:pt x="0" y="76"/>
                  </a:lnTo>
                  <a:lnTo>
                    <a:pt x="0" y="50"/>
                  </a:lnTo>
                  <a:lnTo>
                    <a:pt x="21" y="17"/>
                  </a:lnTo>
                  <a:lnTo>
                    <a:pt x="36" y="0"/>
                  </a:lnTo>
                  <a:lnTo>
                    <a:pt x="43" y="0"/>
                  </a:lnTo>
                  <a:lnTo>
                    <a:pt x="73" y="17"/>
                  </a:lnTo>
                  <a:lnTo>
                    <a:pt x="85" y="17"/>
                  </a:lnTo>
                  <a:lnTo>
                    <a:pt x="90" y="33"/>
                  </a:lnTo>
                  <a:lnTo>
                    <a:pt x="90" y="87"/>
                  </a:lnTo>
                  <a:lnTo>
                    <a:pt x="85" y="76"/>
                  </a:lnTo>
                  <a:lnTo>
                    <a:pt x="85" y="121"/>
                  </a:lnTo>
                  <a:lnTo>
                    <a:pt x="52" y="121"/>
                  </a:lnTo>
                  <a:lnTo>
                    <a:pt x="21" y="109"/>
                  </a:lnTo>
                  <a:lnTo>
                    <a:pt x="5" y="76"/>
                  </a:lnTo>
                  <a:lnTo>
                    <a:pt x="5" y="76"/>
                  </a:lnTo>
                  <a:lnTo>
                    <a:pt x="5" y="7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59" name="Freeform 595">
              <a:extLst>
                <a:ext uri="{FF2B5EF4-FFF2-40B4-BE49-F238E27FC236}">
                  <a16:creationId xmlns:a16="http://schemas.microsoft.com/office/drawing/2014/main" id="{5D6AE411-3618-4BBC-A803-93D53E3DEA61}"/>
                </a:ext>
              </a:extLst>
            </p:cNvPr>
            <p:cNvSpPr>
              <a:spLocks noEditPoints="1"/>
            </p:cNvSpPr>
            <p:nvPr/>
          </p:nvSpPr>
          <p:spPr bwMode="gray">
            <a:xfrm>
              <a:off x="7958365" y="3494836"/>
              <a:ext cx="339216" cy="210798"/>
            </a:xfrm>
            <a:custGeom>
              <a:avLst/>
              <a:gdLst>
                <a:gd name="T0" fmla="*/ 21 w 824"/>
                <a:gd name="T1" fmla="*/ 184 h 512"/>
                <a:gd name="T2" fmla="*/ 38 w 824"/>
                <a:gd name="T3" fmla="*/ 179 h 512"/>
                <a:gd name="T4" fmla="*/ 38 w 824"/>
                <a:gd name="T5" fmla="*/ 123 h 512"/>
                <a:gd name="T6" fmla="*/ 63 w 824"/>
                <a:gd name="T7" fmla="*/ 111 h 512"/>
                <a:gd name="T8" fmla="*/ 123 w 824"/>
                <a:gd name="T9" fmla="*/ 123 h 512"/>
                <a:gd name="T10" fmla="*/ 252 w 824"/>
                <a:gd name="T11" fmla="*/ 250 h 512"/>
                <a:gd name="T12" fmla="*/ 656 w 824"/>
                <a:gd name="T13" fmla="*/ 0 h 512"/>
                <a:gd name="T14" fmla="*/ 694 w 824"/>
                <a:gd name="T15" fmla="*/ 196 h 512"/>
                <a:gd name="T16" fmla="*/ 661 w 824"/>
                <a:gd name="T17" fmla="*/ 222 h 512"/>
                <a:gd name="T18" fmla="*/ 602 w 824"/>
                <a:gd name="T19" fmla="*/ 278 h 512"/>
                <a:gd name="T20" fmla="*/ 522 w 824"/>
                <a:gd name="T21" fmla="*/ 311 h 512"/>
                <a:gd name="T22" fmla="*/ 446 w 824"/>
                <a:gd name="T23" fmla="*/ 333 h 512"/>
                <a:gd name="T24" fmla="*/ 425 w 824"/>
                <a:gd name="T25" fmla="*/ 366 h 512"/>
                <a:gd name="T26" fmla="*/ 371 w 824"/>
                <a:gd name="T27" fmla="*/ 366 h 512"/>
                <a:gd name="T28" fmla="*/ 281 w 824"/>
                <a:gd name="T29" fmla="*/ 418 h 512"/>
                <a:gd name="T30" fmla="*/ 193 w 824"/>
                <a:gd name="T31" fmla="*/ 439 h 512"/>
                <a:gd name="T32" fmla="*/ 172 w 824"/>
                <a:gd name="T33" fmla="*/ 460 h 512"/>
                <a:gd name="T34" fmla="*/ 160 w 824"/>
                <a:gd name="T35" fmla="*/ 456 h 512"/>
                <a:gd name="T36" fmla="*/ 156 w 824"/>
                <a:gd name="T37" fmla="*/ 460 h 512"/>
                <a:gd name="T38" fmla="*/ 118 w 824"/>
                <a:gd name="T39" fmla="*/ 472 h 512"/>
                <a:gd name="T40" fmla="*/ 63 w 824"/>
                <a:gd name="T41" fmla="*/ 460 h 512"/>
                <a:gd name="T42" fmla="*/ 54 w 824"/>
                <a:gd name="T43" fmla="*/ 456 h 512"/>
                <a:gd name="T44" fmla="*/ 38 w 824"/>
                <a:gd name="T45" fmla="*/ 389 h 512"/>
                <a:gd name="T46" fmla="*/ 16 w 824"/>
                <a:gd name="T47" fmla="*/ 307 h 512"/>
                <a:gd name="T48" fmla="*/ 0 w 824"/>
                <a:gd name="T49" fmla="*/ 278 h 512"/>
                <a:gd name="T50" fmla="*/ 12 w 824"/>
                <a:gd name="T51" fmla="*/ 278 h 512"/>
                <a:gd name="T52" fmla="*/ 12 w 824"/>
                <a:gd name="T53" fmla="*/ 234 h 512"/>
                <a:gd name="T54" fmla="*/ 12 w 824"/>
                <a:gd name="T55" fmla="*/ 196 h 512"/>
                <a:gd name="T56" fmla="*/ 12 w 824"/>
                <a:gd name="T57" fmla="*/ 378 h 512"/>
                <a:gd name="T58" fmla="*/ 12 w 824"/>
                <a:gd name="T59" fmla="*/ 366 h 512"/>
                <a:gd name="T60" fmla="*/ 12 w 824"/>
                <a:gd name="T61" fmla="*/ 378 h 512"/>
                <a:gd name="T62" fmla="*/ 808 w 824"/>
                <a:gd name="T63" fmla="*/ 472 h 512"/>
                <a:gd name="T64" fmla="*/ 803 w 824"/>
                <a:gd name="T65" fmla="*/ 493 h 512"/>
                <a:gd name="T66" fmla="*/ 749 w 824"/>
                <a:gd name="T67" fmla="*/ 477 h 512"/>
                <a:gd name="T68" fmla="*/ 775 w 824"/>
                <a:gd name="T69" fmla="*/ 472 h 512"/>
                <a:gd name="T70" fmla="*/ 808 w 824"/>
                <a:gd name="T71" fmla="*/ 472 h 512"/>
                <a:gd name="T72" fmla="*/ 808 w 824"/>
                <a:gd name="T73" fmla="*/ 472 h 512"/>
                <a:gd name="T74" fmla="*/ 656 w 824"/>
                <a:gd name="T75" fmla="*/ 500 h 512"/>
                <a:gd name="T76" fmla="*/ 678 w 824"/>
                <a:gd name="T77" fmla="*/ 512 h 512"/>
                <a:gd name="T78" fmla="*/ 678 w 824"/>
                <a:gd name="T79" fmla="*/ 5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24" h="512">
                  <a:moveTo>
                    <a:pt x="12" y="196"/>
                  </a:moveTo>
                  <a:lnTo>
                    <a:pt x="21" y="184"/>
                  </a:lnTo>
                  <a:lnTo>
                    <a:pt x="33" y="179"/>
                  </a:lnTo>
                  <a:lnTo>
                    <a:pt x="38" y="179"/>
                  </a:lnTo>
                  <a:lnTo>
                    <a:pt x="33" y="156"/>
                  </a:lnTo>
                  <a:lnTo>
                    <a:pt x="38" y="123"/>
                  </a:lnTo>
                  <a:lnTo>
                    <a:pt x="49" y="111"/>
                  </a:lnTo>
                  <a:lnTo>
                    <a:pt x="63" y="111"/>
                  </a:lnTo>
                  <a:lnTo>
                    <a:pt x="87" y="127"/>
                  </a:lnTo>
                  <a:lnTo>
                    <a:pt x="123" y="123"/>
                  </a:lnTo>
                  <a:lnTo>
                    <a:pt x="252" y="179"/>
                  </a:lnTo>
                  <a:lnTo>
                    <a:pt x="252" y="250"/>
                  </a:lnTo>
                  <a:lnTo>
                    <a:pt x="425" y="56"/>
                  </a:lnTo>
                  <a:lnTo>
                    <a:pt x="656" y="0"/>
                  </a:lnTo>
                  <a:lnTo>
                    <a:pt x="732" y="179"/>
                  </a:lnTo>
                  <a:lnTo>
                    <a:pt x="694" y="196"/>
                  </a:lnTo>
                  <a:lnTo>
                    <a:pt x="668" y="200"/>
                  </a:lnTo>
                  <a:lnTo>
                    <a:pt x="661" y="222"/>
                  </a:lnTo>
                  <a:lnTo>
                    <a:pt x="661" y="255"/>
                  </a:lnTo>
                  <a:lnTo>
                    <a:pt x="602" y="278"/>
                  </a:lnTo>
                  <a:lnTo>
                    <a:pt x="550" y="295"/>
                  </a:lnTo>
                  <a:lnTo>
                    <a:pt x="522" y="311"/>
                  </a:lnTo>
                  <a:lnTo>
                    <a:pt x="505" y="311"/>
                  </a:lnTo>
                  <a:lnTo>
                    <a:pt x="446" y="333"/>
                  </a:lnTo>
                  <a:lnTo>
                    <a:pt x="441" y="349"/>
                  </a:lnTo>
                  <a:lnTo>
                    <a:pt x="425" y="366"/>
                  </a:lnTo>
                  <a:lnTo>
                    <a:pt x="392" y="378"/>
                  </a:lnTo>
                  <a:lnTo>
                    <a:pt x="371" y="366"/>
                  </a:lnTo>
                  <a:lnTo>
                    <a:pt x="333" y="401"/>
                  </a:lnTo>
                  <a:lnTo>
                    <a:pt x="281" y="418"/>
                  </a:lnTo>
                  <a:lnTo>
                    <a:pt x="210" y="423"/>
                  </a:lnTo>
                  <a:lnTo>
                    <a:pt x="193" y="439"/>
                  </a:lnTo>
                  <a:lnTo>
                    <a:pt x="172" y="444"/>
                  </a:lnTo>
                  <a:lnTo>
                    <a:pt x="172" y="460"/>
                  </a:lnTo>
                  <a:lnTo>
                    <a:pt x="160" y="460"/>
                  </a:lnTo>
                  <a:lnTo>
                    <a:pt x="160" y="456"/>
                  </a:lnTo>
                  <a:lnTo>
                    <a:pt x="156" y="460"/>
                  </a:lnTo>
                  <a:lnTo>
                    <a:pt x="156" y="460"/>
                  </a:lnTo>
                  <a:lnTo>
                    <a:pt x="130" y="456"/>
                  </a:lnTo>
                  <a:lnTo>
                    <a:pt x="118" y="472"/>
                  </a:lnTo>
                  <a:lnTo>
                    <a:pt x="92" y="477"/>
                  </a:lnTo>
                  <a:lnTo>
                    <a:pt x="63" y="460"/>
                  </a:lnTo>
                  <a:lnTo>
                    <a:pt x="54" y="472"/>
                  </a:lnTo>
                  <a:lnTo>
                    <a:pt x="54" y="456"/>
                  </a:lnTo>
                  <a:lnTo>
                    <a:pt x="38" y="434"/>
                  </a:lnTo>
                  <a:lnTo>
                    <a:pt x="38" y="389"/>
                  </a:lnTo>
                  <a:lnTo>
                    <a:pt x="33" y="378"/>
                  </a:lnTo>
                  <a:lnTo>
                    <a:pt x="16" y="307"/>
                  </a:lnTo>
                  <a:lnTo>
                    <a:pt x="16" y="290"/>
                  </a:lnTo>
                  <a:lnTo>
                    <a:pt x="0" y="278"/>
                  </a:lnTo>
                  <a:lnTo>
                    <a:pt x="0" y="271"/>
                  </a:lnTo>
                  <a:lnTo>
                    <a:pt x="12" y="278"/>
                  </a:lnTo>
                  <a:lnTo>
                    <a:pt x="0" y="250"/>
                  </a:lnTo>
                  <a:lnTo>
                    <a:pt x="12" y="234"/>
                  </a:lnTo>
                  <a:lnTo>
                    <a:pt x="12" y="196"/>
                  </a:lnTo>
                  <a:lnTo>
                    <a:pt x="12" y="196"/>
                  </a:lnTo>
                  <a:lnTo>
                    <a:pt x="12" y="196"/>
                  </a:lnTo>
                  <a:close/>
                  <a:moveTo>
                    <a:pt x="12" y="378"/>
                  </a:moveTo>
                  <a:lnTo>
                    <a:pt x="0" y="366"/>
                  </a:lnTo>
                  <a:lnTo>
                    <a:pt x="12" y="366"/>
                  </a:lnTo>
                  <a:lnTo>
                    <a:pt x="12" y="378"/>
                  </a:lnTo>
                  <a:lnTo>
                    <a:pt x="12" y="378"/>
                  </a:lnTo>
                  <a:lnTo>
                    <a:pt x="12" y="378"/>
                  </a:lnTo>
                  <a:close/>
                  <a:moveTo>
                    <a:pt x="808" y="472"/>
                  </a:moveTo>
                  <a:lnTo>
                    <a:pt x="824" y="477"/>
                  </a:lnTo>
                  <a:lnTo>
                    <a:pt x="803" y="493"/>
                  </a:lnTo>
                  <a:lnTo>
                    <a:pt x="770" y="493"/>
                  </a:lnTo>
                  <a:lnTo>
                    <a:pt x="749" y="477"/>
                  </a:lnTo>
                  <a:lnTo>
                    <a:pt x="753" y="460"/>
                  </a:lnTo>
                  <a:lnTo>
                    <a:pt x="775" y="472"/>
                  </a:lnTo>
                  <a:lnTo>
                    <a:pt x="803" y="472"/>
                  </a:lnTo>
                  <a:lnTo>
                    <a:pt x="808" y="472"/>
                  </a:lnTo>
                  <a:lnTo>
                    <a:pt x="808" y="472"/>
                  </a:lnTo>
                  <a:lnTo>
                    <a:pt x="808" y="472"/>
                  </a:lnTo>
                  <a:close/>
                  <a:moveTo>
                    <a:pt x="678" y="512"/>
                  </a:moveTo>
                  <a:lnTo>
                    <a:pt x="656" y="500"/>
                  </a:lnTo>
                  <a:lnTo>
                    <a:pt x="678" y="500"/>
                  </a:lnTo>
                  <a:lnTo>
                    <a:pt x="678" y="512"/>
                  </a:lnTo>
                  <a:lnTo>
                    <a:pt x="678" y="512"/>
                  </a:lnTo>
                  <a:lnTo>
                    <a:pt x="678" y="51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60" name="Freeform 596">
              <a:extLst>
                <a:ext uri="{FF2B5EF4-FFF2-40B4-BE49-F238E27FC236}">
                  <a16:creationId xmlns:a16="http://schemas.microsoft.com/office/drawing/2014/main" id="{B87D3BC1-D33A-44FB-B90C-97A5CED625B3}"/>
                </a:ext>
              </a:extLst>
            </p:cNvPr>
            <p:cNvSpPr>
              <a:spLocks/>
            </p:cNvSpPr>
            <p:nvPr/>
          </p:nvSpPr>
          <p:spPr bwMode="gray">
            <a:xfrm>
              <a:off x="7363090" y="4307563"/>
              <a:ext cx="335511" cy="300553"/>
            </a:xfrm>
            <a:custGeom>
              <a:avLst/>
              <a:gdLst>
                <a:gd name="T0" fmla="*/ 593 w 815"/>
                <a:gd name="T1" fmla="*/ 548 h 730"/>
                <a:gd name="T2" fmla="*/ 487 w 815"/>
                <a:gd name="T3" fmla="*/ 570 h 730"/>
                <a:gd name="T4" fmla="*/ 404 w 815"/>
                <a:gd name="T5" fmla="*/ 641 h 730"/>
                <a:gd name="T6" fmla="*/ 350 w 815"/>
                <a:gd name="T7" fmla="*/ 719 h 730"/>
                <a:gd name="T8" fmla="*/ 291 w 815"/>
                <a:gd name="T9" fmla="*/ 714 h 730"/>
                <a:gd name="T10" fmla="*/ 260 w 815"/>
                <a:gd name="T11" fmla="*/ 702 h 730"/>
                <a:gd name="T12" fmla="*/ 227 w 815"/>
                <a:gd name="T13" fmla="*/ 702 h 730"/>
                <a:gd name="T14" fmla="*/ 184 w 815"/>
                <a:gd name="T15" fmla="*/ 681 h 730"/>
                <a:gd name="T16" fmla="*/ 97 w 815"/>
                <a:gd name="T17" fmla="*/ 697 h 730"/>
                <a:gd name="T18" fmla="*/ 5 w 815"/>
                <a:gd name="T19" fmla="*/ 608 h 730"/>
                <a:gd name="T20" fmla="*/ 0 w 815"/>
                <a:gd name="T21" fmla="*/ 348 h 730"/>
                <a:gd name="T22" fmla="*/ 130 w 815"/>
                <a:gd name="T23" fmla="*/ 331 h 730"/>
                <a:gd name="T24" fmla="*/ 135 w 815"/>
                <a:gd name="T25" fmla="*/ 293 h 730"/>
                <a:gd name="T26" fmla="*/ 147 w 815"/>
                <a:gd name="T27" fmla="*/ 239 h 730"/>
                <a:gd name="T28" fmla="*/ 168 w 815"/>
                <a:gd name="T29" fmla="*/ 215 h 730"/>
                <a:gd name="T30" fmla="*/ 168 w 815"/>
                <a:gd name="T31" fmla="*/ 239 h 730"/>
                <a:gd name="T32" fmla="*/ 227 w 815"/>
                <a:gd name="T33" fmla="*/ 222 h 730"/>
                <a:gd name="T34" fmla="*/ 236 w 815"/>
                <a:gd name="T35" fmla="*/ 256 h 730"/>
                <a:gd name="T36" fmla="*/ 335 w 815"/>
                <a:gd name="T37" fmla="*/ 277 h 730"/>
                <a:gd name="T38" fmla="*/ 350 w 815"/>
                <a:gd name="T39" fmla="*/ 256 h 730"/>
                <a:gd name="T40" fmla="*/ 366 w 815"/>
                <a:gd name="T41" fmla="*/ 260 h 730"/>
                <a:gd name="T42" fmla="*/ 387 w 815"/>
                <a:gd name="T43" fmla="*/ 305 h 730"/>
                <a:gd name="T44" fmla="*/ 454 w 815"/>
                <a:gd name="T45" fmla="*/ 315 h 730"/>
                <a:gd name="T46" fmla="*/ 470 w 815"/>
                <a:gd name="T47" fmla="*/ 348 h 730"/>
                <a:gd name="T48" fmla="*/ 496 w 815"/>
                <a:gd name="T49" fmla="*/ 381 h 730"/>
                <a:gd name="T50" fmla="*/ 539 w 815"/>
                <a:gd name="T51" fmla="*/ 371 h 730"/>
                <a:gd name="T52" fmla="*/ 546 w 815"/>
                <a:gd name="T53" fmla="*/ 388 h 730"/>
                <a:gd name="T54" fmla="*/ 524 w 815"/>
                <a:gd name="T55" fmla="*/ 293 h 730"/>
                <a:gd name="T56" fmla="*/ 508 w 815"/>
                <a:gd name="T57" fmla="*/ 310 h 730"/>
                <a:gd name="T58" fmla="*/ 475 w 815"/>
                <a:gd name="T59" fmla="*/ 289 h 730"/>
                <a:gd name="T60" fmla="*/ 442 w 815"/>
                <a:gd name="T61" fmla="*/ 248 h 730"/>
                <a:gd name="T62" fmla="*/ 470 w 815"/>
                <a:gd name="T63" fmla="*/ 182 h 730"/>
                <a:gd name="T64" fmla="*/ 470 w 815"/>
                <a:gd name="T65" fmla="*/ 121 h 730"/>
                <a:gd name="T66" fmla="*/ 442 w 815"/>
                <a:gd name="T67" fmla="*/ 83 h 730"/>
                <a:gd name="T68" fmla="*/ 487 w 815"/>
                <a:gd name="T69" fmla="*/ 38 h 730"/>
                <a:gd name="T70" fmla="*/ 614 w 815"/>
                <a:gd name="T71" fmla="*/ 0 h 730"/>
                <a:gd name="T72" fmla="*/ 659 w 815"/>
                <a:gd name="T73" fmla="*/ 34 h 730"/>
                <a:gd name="T74" fmla="*/ 702 w 815"/>
                <a:gd name="T75" fmla="*/ 55 h 730"/>
                <a:gd name="T76" fmla="*/ 728 w 815"/>
                <a:gd name="T77" fmla="*/ 71 h 730"/>
                <a:gd name="T78" fmla="*/ 761 w 815"/>
                <a:gd name="T79" fmla="*/ 88 h 730"/>
                <a:gd name="T80" fmla="*/ 782 w 815"/>
                <a:gd name="T81" fmla="*/ 104 h 730"/>
                <a:gd name="T82" fmla="*/ 794 w 815"/>
                <a:gd name="T83" fmla="*/ 140 h 730"/>
                <a:gd name="T84" fmla="*/ 810 w 815"/>
                <a:gd name="T85" fmla="*/ 161 h 730"/>
                <a:gd name="T86" fmla="*/ 810 w 815"/>
                <a:gd name="T87" fmla="*/ 194 h 730"/>
                <a:gd name="T88" fmla="*/ 798 w 815"/>
                <a:gd name="T89" fmla="*/ 215 h 730"/>
                <a:gd name="T90" fmla="*/ 794 w 815"/>
                <a:gd name="T91" fmla="*/ 260 h 730"/>
                <a:gd name="T92" fmla="*/ 794 w 815"/>
                <a:gd name="T93" fmla="*/ 305 h 730"/>
                <a:gd name="T94" fmla="*/ 794 w 815"/>
                <a:gd name="T95" fmla="*/ 315 h 730"/>
                <a:gd name="T96" fmla="*/ 765 w 815"/>
                <a:gd name="T97" fmla="*/ 331 h 730"/>
                <a:gd name="T98" fmla="*/ 761 w 815"/>
                <a:gd name="T99" fmla="*/ 381 h 730"/>
                <a:gd name="T100" fmla="*/ 765 w 815"/>
                <a:gd name="T101" fmla="*/ 421 h 730"/>
                <a:gd name="T102" fmla="*/ 777 w 815"/>
                <a:gd name="T103" fmla="*/ 421 h 730"/>
                <a:gd name="T104" fmla="*/ 576 w 815"/>
                <a:gd name="T105" fmla="*/ 499 h 730"/>
                <a:gd name="T106" fmla="*/ 576 w 815"/>
                <a:gd name="T107" fmla="*/ 499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5" h="730">
                  <a:moveTo>
                    <a:pt x="576" y="499"/>
                  </a:moveTo>
                  <a:lnTo>
                    <a:pt x="593" y="548"/>
                  </a:lnTo>
                  <a:lnTo>
                    <a:pt x="529" y="548"/>
                  </a:lnTo>
                  <a:lnTo>
                    <a:pt x="487" y="570"/>
                  </a:lnTo>
                  <a:lnTo>
                    <a:pt x="470" y="608"/>
                  </a:lnTo>
                  <a:lnTo>
                    <a:pt x="404" y="641"/>
                  </a:lnTo>
                  <a:lnTo>
                    <a:pt x="387" y="674"/>
                  </a:lnTo>
                  <a:lnTo>
                    <a:pt x="350" y="719"/>
                  </a:lnTo>
                  <a:lnTo>
                    <a:pt x="328" y="730"/>
                  </a:lnTo>
                  <a:lnTo>
                    <a:pt x="291" y="714"/>
                  </a:lnTo>
                  <a:lnTo>
                    <a:pt x="274" y="719"/>
                  </a:lnTo>
                  <a:lnTo>
                    <a:pt x="260" y="702"/>
                  </a:lnTo>
                  <a:lnTo>
                    <a:pt x="243" y="714"/>
                  </a:lnTo>
                  <a:lnTo>
                    <a:pt x="227" y="702"/>
                  </a:lnTo>
                  <a:lnTo>
                    <a:pt x="206" y="690"/>
                  </a:lnTo>
                  <a:lnTo>
                    <a:pt x="184" y="681"/>
                  </a:lnTo>
                  <a:lnTo>
                    <a:pt x="151" y="681"/>
                  </a:lnTo>
                  <a:lnTo>
                    <a:pt x="97" y="697"/>
                  </a:lnTo>
                  <a:lnTo>
                    <a:pt x="80" y="681"/>
                  </a:lnTo>
                  <a:lnTo>
                    <a:pt x="5" y="608"/>
                  </a:lnTo>
                  <a:lnTo>
                    <a:pt x="0" y="586"/>
                  </a:lnTo>
                  <a:lnTo>
                    <a:pt x="0" y="348"/>
                  </a:lnTo>
                  <a:lnTo>
                    <a:pt x="135" y="359"/>
                  </a:lnTo>
                  <a:lnTo>
                    <a:pt x="130" y="331"/>
                  </a:lnTo>
                  <a:lnTo>
                    <a:pt x="147" y="310"/>
                  </a:lnTo>
                  <a:lnTo>
                    <a:pt x="135" y="293"/>
                  </a:lnTo>
                  <a:lnTo>
                    <a:pt x="135" y="256"/>
                  </a:lnTo>
                  <a:lnTo>
                    <a:pt x="147" y="239"/>
                  </a:lnTo>
                  <a:lnTo>
                    <a:pt x="135" y="199"/>
                  </a:lnTo>
                  <a:lnTo>
                    <a:pt x="168" y="215"/>
                  </a:lnTo>
                  <a:lnTo>
                    <a:pt x="161" y="232"/>
                  </a:lnTo>
                  <a:lnTo>
                    <a:pt x="168" y="239"/>
                  </a:lnTo>
                  <a:lnTo>
                    <a:pt x="189" y="232"/>
                  </a:lnTo>
                  <a:lnTo>
                    <a:pt x="227" y="222"/>
                  </a:lnTo>
                  <a:lnTo>
                    <a:pt x="227" y="232"/>
                  </a:lnTo>
                  <a:lnTo>
                    <a:pt x="236" y="256"/>
                  </a:lnTo>
                  <a:lnTo>
                    <a:pt x="274" y="272"/>
                  </a:lnTo>
                  <a:lnTo>
                    <a:pt x="335" y="277"/>
                  </a:lnTo>
                  <a:lnTo>
                    <a:pt x="345" y="272"/>
                  </a:lnTo>
                  <a:lnTo>
                    <a:pt x="350" y="256"/>
                  </a:lnTo>
                  <a:lnTo>
                    <a:pt x="361" y="248"/>
                  </a:lnTo>
                  <a:lnTo>
                    <a:pt x="366" y="260"/>
                  </a:lnTo>
                  <a:lnTo>
                    <a:pt x="383" y="277"/>
                  </a:lnTo>
                  <a:lnTo>
                    <a:pt x="387" y="305"/>
                  </a:lnTo>
                  <a:lnTo>
                    <a:pt x="404" y="305"/>
                  </a:lnTo>
                  <a:lnTo>
                    <a:pt x="454" y="315"/>
                  </a:lnTo>
                  <a:lnTo>
                    <a:pt x="458" y="343"/>
                  </a:lnTo>
                  <a:lnTo>
                    <a:pt x="470" y="348"/>
                  </a:lnTo>
                  <a:lnTo>
                    <a:pt x="491" y="381"/>
                  </a:lnTo>
                  <a:lnTo>
                    <a:pt x="496" y="381"/>
                  </a:lnTo>
                  <a:lnTo>
                    <a:pt x="529" y="371"/>
                  </a:lnTo>
                  <a:lnTo>
                    <a:pt x="539" y="371"/>
                  </a:lnTo>
                  <a:lnTo>
                    <a:pt x="529" y="381"/>
                  </a:lnTo>
                  <a:lnTo>
                    <a:pt x="546" y="388"/>
                  </a:lnTo>
                  <a:lnTo>
                    <a:pt x="546" y="293"/>
                  </a:lnTo>
                  <a:lnTo>
                    <a:pt x="524" y="293"/>
                  </a:lnTo>
                  <a:lnTo>
                    <a:pt x="524" y="310"/>
                  </a:lnTo>
                  <a:lnTo>
                    <a:pt x="508" y="310"/>
                  </a:lnTo>
                  <a:lnTo>
                    <a:pt x="491" y="310"/>
                  </a:lnTo>
                  <a:lnTo>
                    <a:pt x="475" y="289"/>
                  </a:lnTo>
                  <a:lnTo>
                    <a:pt x="454" y="272"/>
                  </a:lnTo>
                  <a:lnTo>
                    <a:pt x="442" y="248"/>
                  </a:lnTo>
                  <a:lnTo>
                    <a:pt x="458" y="199"/>
                  </a:lnTo>
                  <a:lnTo>
                    <a:pt x="470" y="182"/>
                  </a:lnTo>
                  <a:lnTo>
                    <a:pt x="458" y="149"/>
                  </a:lnTo>
                  <a:lnTo>
                    <a:pt x="470" y="121"/>
                  </a:lnTo>
                  <a:lnTo>
                    <a:pt x="454" y="88"/>
                  </a:lnTo>
                  <a:lnTo>
                    <a:pt x="442" y="83"/>
                  </a:lnTo>
                  <a:lnTo>
                    <a:pt x="475" y="50"/>
                  </a:lnTo>
                  <a:lnTo>
                    <a:pt x="487" y="38"/>
                  </a:lnTo>
                  <a:lnTo>
                    <a:pt x="487" y="29"/>
                  </a:lnTo>
                  <a:lnTo>
                    <a:pt x="614" y="0"/>
                  </a:lnTo>
                  <a:lnTo>
                    <a:pt x="631" y="34"/>
                  </a:lnTo>
                  <a:lnTo>
                    <a:pt x="659" y="34"/>
                  </a:lnTo>
                  <a:lnTo>
                    <a:pt x="676" y="55"/>
                  </a:lnTo>
                  <a:lnTo>
                    <a:pt x="702" y="55"/>
                  </a:lnTo>
                  <a:lnTo>
                    <a:pt x="702" y="67"/>
                  </a:lnTo>
                  <a:lnTo>
                    <a:pt x="728" y="71"/>
                  </a:lnTo>
                  <a:lnTo>
                    <a:pt x="739" y="83"/>
                  </a:lnTo>
                  <a:lnTo>
                    <a:pt x="761" y="88"/>
                  </a:lnTo>
                  <a:lnTo>
                    <a:pt x="765" y="104"/>
                  </a:lnTo>
                  <a:lnTo>
                    <a:pt x="782" y="104"/>
                  </a:lnTo>
                  <a:lnTo>
                    <a:pt x="794" y="128"/>
                  </a:lnTo>
                  <a:lnTo>
                    <a:pt x="794" y="140"/>
                  </a:lnTo>
                  <a:lnTo>
                    <a:pt x="810" y="149"/>
                  </a:lnTo>
                  <a:lnTo>
                    <a:pt x="810" y="161"/>
                  </a:lnTo>
                  <a:lnTo>
                    <a:pt x="815" y="178"/>
                  </a:lnTo>
                  <a:lnTo>
                    <a:pt x="810" y="194"/>
                  </a:lnTo>
                  <a:lnTo>
                    <a:pt x="782" y="199"/>
                  </a:lnTo>
                  <a:lnTo>
                    <a:pt x="798" y="215"/>
                  </a:lnTo>
                  <a:lnTo>
                    <a:pt x="782" y="239"/>
                  </a:lnTo>
                  <a:lnTo>
                    <a:pt x="794" y="260"/>
                  </a:lnTo>
                  <a:lnTo>
                    <a:pt x="782" y="293"/>
                  </a:lnTo>
                  <a:lnTo>
                    <a:pt x="794" y="305"/>
                  </a:lnTo>
                  <a:lnTo>
                    <a:pt x="810" y="310"/>
                  </a:lnTo>
                  <a:lnTo>
                    <a:pt x="794" y="315"/>
                  </a:lnTo>
                  <a:lnTo>
                    <a:pt x="765" y="326"/>
                  </a:lnTo>
                  <a:lnTo>
                    <a:pt x="765" y="331"/>
                  </a:lnTo>
                  <a:lnTo>
                    <a:pt x="765" y="348"/>
                  </a:lnTo>
                  <a:lnTo>
                    <a:pt x="761" y="381"/>
                  </a:lnTo>
                  <a:lnTo>
                    <a:pt x="744" y="397"/>
                  </a:lnTo>
                  <a:lnTo>
                    <a:pt x="765" y="421"/>
                  </a:lnTo>
                  <a:lnTo>
                    <a:pt x="777" y="426"/>
                  </a:lnTo>
                  <a:lnTo>
                    <a:pt x="777" y="421"/>
                  </a:lnTo>
                  <a:lnTo>
                    <a:pt x="782" y="426"/>
                  </a:lnTo>
                  <a:lnTo>
                    <a:pt x="576" y="499"/>
                  </a:lnTo>
                  <a:lnTo>
                    <a:pt x="576" y="499"/>
                  </a:lnTo>
                  <a:lnTo>
                    <a:pt x="576" y="49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61" name="Freeform 597">
              <a:extLst>
                <a:ext uri="{FF2B5EF4-FFF2-40B4-BE49-F238E27FC236}">
                  <a16:creationId xmlns:a16="http://schemas.microsoft.com/office/drawing/2014/main" id="{B7C3368D-AF43-42A8-945F-C6E86D8D61AF}"/>
                </a:ext>
              </a:extLst>
            </p:cNvPr>
            <p:cNvSpPr>
              <a:spLocks/>
            </p:cNvSpPr>
            <p:nvPr/>
          </p:nvSpPr>
          <p:spPr bwMode="gray">
            <a:xfrm>
              <a:off x="7454480" y="4534418"/>
              <a:ext cx="228477" cy="206271"/>
            </a:xfrm>
            <a:custGeom>
              <a:avLst/>
              <a:gdLst>
                <a:gd name="T0" fmla="*/ 506 w 555"/>
                <a:gd name="T1" fmla="*/ 418 h 501"/>
                <a:gd name="T2" fmla="*/ 397 w 555"/>
                <a:gd name="T3" fmla="*/ 496 h 501"/>
                <a:gd name="T4" fmla="*/ 317 w 555"/>
                <a:gd name="T5" fmla="*/ 479 h 501"/>
                <a:gd name="T6" fmla="*/ 284 w 555"/>
                <a:gd name="T7" fmla="*/ 472 h 501"/>
                <a:gd name="T8" fmla="*/ 267 w 555"/>
                <a:gd name="T9" fmla="*/ 456 h 501"/>
                <a:gd name="T10" fmla="*/ 196 w 555"/>
                <a:gd name="T11" fmla="*/ 439 h 501"/>
                <a:gd name="T12" fmla="*/ 175 w 555"/>
                <a:gd name="T13" fmla="*/ 364 h 501"/>
                <a:gd name="T14" fmla="*/ 137 w 555"/>
                <a:gd name="T15" fmla="*/ 331 h 501"/>
                <a:gd name="T16" fmla="*/ 66 w 555"/>
                <a:gd name="T17" fmla="*/ 281 h 501"/>
                <a:gd name="T18" fmla="*/ 50 w 555"/>
                <a:gd name="T19" fmla="*/ 241 h 501"/>
                <a:gd name="T20" fmla="*/ 0 w 555"/>
                <a:gd name="T21" fmla="*/ 153 h 501"/>
                <a:gd name="T22" fmla="*/ 33 w 555"/>
                <a:gd name="T23" fmla="*/ 153 h 501"/>
                <a:gd name="T24" fmla="*/ 66 w 555"/>
                <a:gd name="T25" fmla="*/ 165 h 501"/>
                <a:gd name="T26" fmla="*/ 125 w 555"/>
                <a:gd name="T27" fmla="*/ 170 h 501"/>
                <a:gd name="T28" fmla="*/ 180 w 555"/>
                <a:gd name="T29" fmla="*/ 92 h 501"/>
                <a:gd name="T30" fmla="*/ 262 w 555"/>
                <a:gd name="T31" fmla="*/ 21 h 501"/>
                <a:gd name="T32" fmla="*/ 371 w 555"/>
                <a:gd name="T33" fmla="*/ 0 h 501"/>
                <a:gd name="T34" fmla="*/ 423 w 555"/>
                <a:gd name="T35" fmla="*/ 21 h 501"/>
                <a:gd name="T36" fmla="*/ 451 w 555"/>
                <a:gd name="T37" fmla="*/ 38 h 501"/>
                <a:gd name="T38" fmla="*/ 501 w 555"/>
                <a:gd name="T39" fmla="*/ 59 h 501"/>
                <a:gd name="T40" fmla="*/ 532 w 555"/>
                <a:gd name="T41" fmla="*/ 75 h 501"/>
                <a:gd name="T42" fmla="*/ 539 w 555"/>
                <a:gd name="T43" fmla="*/ 92 h 501"/>
                <a:gd name="T44" fmla="*/ 543 w 555"/>
                <a:gd name="T45" fmla="*/ 132 h 501"/>
                <a:gd name="T46" fmla="*/ 539 w 555"/>
                <a:gd name="T47" fmla="*/ 170 h 501"/>
                <a:gd name="T48" fmla="*/ 555 w 555"/>
                <a:gd name="T49" fmla="*/ 198 h 501"/>
                <a:gd name="T50" fmla="*/ 539 w 555"/>
                <a:gd name="T51" fmla="*/ 224 h 501"/>
                <a:gd name="T52" fmla="*/ 522 w 555"/>
                <a:gd name="T53" fmla="*/ 241 h 501"/>
                <a:gd name="T54" fmla="*/ 532 w 555"/>
                <a:gd name="T55" fmla="*/ 281 h 501"/>
                <a:gd name="T56" fmla="*/ 539 w 555"/>
                <a:gd name="T57" fmla="*/ 347 h 501"/>
                <a:gd name="T58" fmla="*/ 506 w 555"/>
                <a:gd name="T59" fmla="*/ 368 h 501"/>
                <a:gd name="T60" fmla="*/ 501 w 555"/>
                <a:gd name="T61" fmla="*/ 406 h 501"/>
                <a:gd name="T62" fmla="*/ 506 w 555"/>
                <a:gd name="T63" fmla="*/ 423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5" h="501">
                  <a:moveTo>
                    <a:pt x="506" y="423"/>
                  </a:moveTo>
                  <a:lnTo>
                    <a:pt x="506" y="418"/>
                  </a:lnTo>
                  <a:lnTo>
                    <a:pt x="430" y="501"/>
                  </a:lnTo>
                  <a:lnTo>
                    <a:pt x="397" y="496"/>
                  </a:lnTo>
                  <a:lnTo>
                    <a:pt x="359" y="496"/>
                  </a:lnTo>
                  <a:lnTo>
                    <a:pt x="317" y="479"/>
                  </a:lnTo>
                  <a:lnTo>
                    <a:pt x="288" y="489"/>
                  </a:lnTo>
                  <a:lnTo>
                    <a:pt x="284" y="472"/>
                  </a:lnTo>
                  <a:lnTo>
                    <a:pt x="267" y="472"/>
                  </a:lnTo>
                  <a:lnTo>
                    <a:pt x="267" y="456"/>
                  </a:lnTo>
                  <a:lnTo>
                    <a:pt x="234" y="439"/>
                  </a:lnTo>
                  <a:lnTo>
                    <a:pt x="196" y="439"/>
                  </a:lnTo>
                  <a:lnTo>
                    <a:pt x="175" y="401"/>
                  </a:lnTo>
                  <a:lnTo>
                    <a:pt x="175" y="364"/>
                  </a:lnTo>
                  <a:lnTo>
                    <a:pt x="142" y="364"/>
                  </a:lnTo>
                  <a:lnTo>
                    <a:pt x="137" y="331"/>
                  </a:lnTo>
                  <a:lnTo>
                    <a:pt x="104" y="314"/>
                  </a:lnTo>
                  <a:lnTo>
                    <a:pt x="66" y="281"/>
                  </a:lnTo>
                  <a:lnTo>
                    <a:pt x="50" y="253"/>
                  </a:lnTo>
                  <a:lnTo>
                    <a:pt x="50" y="241"/>
                  </a:lnTo>
                  <a:lnTo>
                    <a:pt x="0" y="182"/>
                  </a:lnTo>
                  <a:lnTo>
                    <a:pt x="0" y="153"/>
                  </a:lnTo>
                  <a:lnTo>
                    <a:pt x="17" y="165"/>
                  </a:lnTo>
                  <a:lnTo>
                    <a:pt x="33" y="153"/>
                  </a:lnTo>
                  <a:lnTo>
                    <a:pt x="50" y="170"/>
                  </a:lnTo>
                  <a:lnTo>
                    <a:pt x="66" y="165"/>
                  </a:lnTo>
                  <a:lnTo>
                    <a:pt x="104" y="182"/>
                  </a:lnTo>
                  <a:lnTo>
                    <a:pt x="125" y="170"/>
                  </a:lnTo>
                  <a:lnTo>
                    <a:pt x="163" y="125"/>
                  </a:lnTo>
                  <a:lnTo>
                    <a:pt x="180" y="92"/>
                  </a:lnTo>
                  <a:lnTo>
                    <a:pt x="246" y="59"/>
                  </a:lnTo>
                  <a:lnTo>
                    <a:pt x="262" y="21"/>
                  </a:lnTo>
                  <a:lnTo>
                    <a:pt x="305" y="0"/>
                  </a:lnTo>
                  <a:lnTo>
                    <a:pt x="371" y="0"/>
                  </a:lnTo>
                  <a:lnTo>
                    <a:pt x="371" y="21"/>
                  </a:lnTo>
                  <a:lnTo>
                    <a:pt x="423" y="21"/>
                  </a:lnTo>
                  <a:lnTo>
                    <a:pt x="435" y="38"/>
                  </a:lnTo>
                  <a:lnTo>
                    <a:pt x="451" y="38"/>
                  </a:lnTo>
                  <a:lnTo>
                    <a:pt x="468" y="54"/>
                  </a:lnTo>
                  <a:lnTo>
                    <a:pt x="501" y="59"/>
                  </a:lnTo>
                  <a:lnTo>
                    <a:pt x="522" y="71"/>
                  </a:lnTo>
                  <a:lnTo>
                    <a:pt x="532" y="75"/>
                  </a:lnTo>
                  <a:lnTo>
                    <a:pt x="543" y="75"/>
                  </a:lnTo>
                  <a:lnTo>
                    <a:pt x="539" y="92"/>
                  </a:lnTo>
                  <a:lnTo>
                    <a:pt x="543" y="125"/>
                  </a:lnTo>
                  <a:lnTo>
                    <a:pt x="543" y="132"/>
                  </a:lnTo>
                  <a:lnTo>
                    <a:pt x="543" y="142"/>
                  </a:lnTo>
                  <a:lnTo>
                    <a:pt x="539" y="170"/>
                  </a:lnTo>
                  <a:lnTo>
                    <a:pt x="543" y="186"/>
                  </a:lnTo>
                  <a:lnTo>
                    <a:pt x="555" y="198"/>
                  </a:lnTo>
                  <a:lnTo>
                    <a:pt x="539" y="208"/>
                  </a:lnTo>
                  <a:lnTo>
                    <a:pt x="539" y="224"/>
                  </a:lnTo>
                  <a:lnTo>
                    <a:pt x="522" y="236"/>
                  </a:lnTo>
                  <a:lnTo>
                    <a:pt x="522" y="241"/>
                  </a:lnTo>
                  <a:lnTo>
                    <a:pt x="539" y="253"/>
                  </a:lnTo>
                  <a:lnTo>
                    <a:pt x="532" y="281"/>
                  </a:lnTo>
                  <a:lnTo>
                    <a:pt x="555" y="307"/>
                  </a:lnTo>
                  <a:lnTo>
                    <a:pt x="539" y="347"/>
                  </a:lnTo>
                  <a:lnTo>
                    <a:pt x="522" y="364"/>
                  </a:lnTo>
                  <a:lnTo>
                    <a:pt x="506" y="368"/>
                  </a:lnTo>
                  <a:lnTo>
                    <a:pt x="517" y="385"/>
                  </a:lnTo>
                  <a:lnTo>
                    <a:pt x="501" y="406"/>
                  </a:lnTo>
                  <a:lnTo>
                    <a:pt x="506" y="423"/>
                  </a:lnTo>
                  <a:lnTo>
                    <a:pt x="506" y="423"/>
                  </a:lnTo>
                  <a:lnTo>
                    <a:pt x="506" y="42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62" name="Freeform 598">
              <a:extLst>
                <a:ext uri="{FF2B5EF4-FFF2-40B4-BE49-F238E27FC236}">
                  <a16:creationId xmlns:a16="http://schemas.microsoft.com/office/drawing/2014/main" id="{E50FBAF1-8A1F-466D-883B-232FCE1D5FCB}"/>
                </a:ext>
              </a:extLst>
            </p:cNvPr>
            <p:cNvSpPr>
              <a:spLocks/>
            </p:cNvSpPr>
            <p:nvPr/>
          </p:nvSpPr>
          <p:spPr bwMode="gray">
            <a:xfrm>
              <a:off x="7356503" y="3394376"/>
              <a:ext cx="483300" cy="411717"/>
            </a:xfrm>
            <a:custGeom>
              <a:avLst/>
              <a:gdLst>
                <a:gd name="T0" fmla="*/ 67 w 497"/>
                <a:gd name="T1" fmla="*/ 423 h 423"/>
                <a:gd name="T2" fmla="*/ 119 w 497"/>
                <a:gd name="T3" fmla="*/ 370 h 423"/>
                <a:gd name="T4" fmla="*/ 186 w 497"/>
                <a:gd name="T5" fmla="*/ 384 h 423"/>
                <a:gd name="T6" fmla="*/ 210 w 497"/>
                <a:gd name="T7" fmla="*/ 395 h 423"/>
                <a:gd name="T8" fmla="*/ 238 w 497"/>
                <a:gd name="T9" fmla="*/ 384 h 423"/>
                <a:gd name="T10" fmla="*/ 257 w 497"/>
                <a:gd name="T11" fmla="*/ 363 h 423"/>
                <a:gd name="T12" fmla="*/ 289 w 497"/>
                <a:gd name="T13" fmla="*/ 384 h 423"/>
                <a:gd name="T14" fmla="*/ 325 w 497"/>
                <a:gd name="T15" fmla="*/ 314 h 423"/>
                <a:gd name="T16" fmla="*/ 337 w 497"/>
                <a:gd name="T17" fmla="*/ 311 h 423"/>
                <a:gd name="T18" fmla="*/ 352 w 497"/>
                <a:gd name="T19" fmla="*/ 297 h 423"/>
                <a:gd name="T20" fmla="*/ 372 w 497"/>
                <a:gd name="T21" fmla="*/ 363 h 423"/>
                <a:gd name="T22" fmla="*/ 375 w 497"/>
                <a:gd name="T23" fmla="*/ 363 h 423"/>
                <a:gd name="T24" fmla="*/ 388 w 497"/>
                <a:gd name="T25" fmla="*/ 362 h 423"/>
                <a:gd name="T26" fmla="*/ 390 w 497"/>
                <a:gd name="T27" fmla="*/ 345 h 423"/>
                <a:gd name="T28" fmla="*/ 395 w 497"/>
                <a:gd name="T29" fmla="*/ 329 h 423"/>
                <a:gd name="T30" fmla="*/ 413 w 497"/>
                <a:gd name="T31" fmla="*/ 303 h 423"/>
                <a:gd name="T32" fmla="*/ 427 w 497"/>
                <a:gd name="T33" fmla="*/ 289 h 423"/>
                <a:gd name="T34" fmla="*/ 433 w 497"/>
                <a:gd name="T35" fmla="*/ 263 h 423"/>
                <a:gd name="T36" fmla="*/ 433 w 497"/>
                <a:gd name="T37" fmla="*/ 225 h 423"/>
                <a:gd name="T38" fmla="*/ 445 w 497"/>
                <a:gd name="T39" fmla="*/ 181 h 423"/>
                <a:gd name="T40" fmla="*/ 449 w 497"/>
                <a:gd name="T41" fmla="*/ 164 h 423"/>
                <a:gd name="T42" fmla="*/ 465 w 497"/>
                <a:gd name="T43" fmla="*/ 157 h 423"/>
                <a:gd name="T44" fmla="*/ 488 w 497"/>
                <a:gd name="T45" fmla="*/ 150 h 423"/>
                <a:gd name="T46" fmla="*/ 495 w 497"/>
                <a:gd name="T47" fmla="*/ 131 h 423"/>
                <a:gd name="T48" fmla="*/ 472 w 497"/>
                <a:gd name="T49" fmla="*/ 115 h 423"/>
                <a:gd name="T50" fmla="*/ 463 w 497"/>
                <a:gd name="T51" fmla="*/ 108 h 423"/>
                <a:gd name="T52" fmla="*/ 456 w 497"/>
                <a:gd name="T53" fmla="*/ 63 h 423"/>
                <a:gd name="T54" fmla="*/ 452 w 497"/>
                <a:gd name="T55" fmla="*/ 33 h 423"/>
                <a:gd name="T56" fmla="*/ 458 w 497"/>
                <a:gd name="T57" fmla="*/ 40 h 423"/>
                <a:gd name="T58" fmla="*/ 449 w 497"/>
                <a:gd name="T59" fmla="*/ 21 h 423"/>
                <a:gd name="T60" fmla="*/ 285 w 497"/>
                <a:gd name="T61" fmla="*/ 7 h 423"/>
                <a:gd name="T62" fmla="*/ 285 w 497"/>
                <a:gd name="T63" fmla="*/ 0 h 423"/>
                <a:gd name="T64" fmla="*/ 93 w 497"/>
                <a:gd name="T65" fmla="*/ 7 h 423"/>
                <a:gd name="T66" fmla="*/ 63 w 497"/>
                <a:gd name="T67" fmla="*/ 70 h 423"/>
                <a:gd name="T68" fmla="*/ 63 w 497"/>
                <a:gd name="T69" fmla="*/ 209 h 423"/>
                <a:gd name="T70" fmla="*/ 34 w 497"/>
                <a:gd name="T71" fmla="*/ 211 h 423"/>
                <a:gd name="T72" fmla="*/ 34 w 497"/>
                <a:gd name="T73" fmla="*/ 225 h 423"/>
                <a:gd name="T74" fmla="*/ 25 w 497"/>
                <a:gd name="T75" fmla="*/ 239 h 423"/>
                <a:gd name="T76" fmla="*/ 22 w 497"/>
                <a:gd name="T77" fmla="*/ 256 h 423"/>
                <a:gd name="T78" fmla="*/ 9 w 497"/>
                <a:gd name="T79" fmla="*/ 268 h 423"/>
                <a:gd name="T80" fmla="*/ 6 w 497"/>
                <a:gd name="T81" fmla="*/ 289 h 423"/>
                <a:gd name="T82" fmla="*/ 6 w 497"/>
                <a:gd name="T83" fmla="*/ 303 h 423"/>
                <a:gd name="T84" fmla="*/ 11 w 497"/>
                <a:gd name="T85" fmla="*/ 298 h 423"/>
                <a:gd name="T86" fmla="*/ 18 w 497"/>
                <a:gd name="T87" fmla="*/ 310 h 423"/>
                <a:gd name="T88" fmla="*/ 22 w 497"/>
                <a:gd name="T89" fmla="*/ 336 h 423"/>
                <a:gd name="T90" fmla="*/ 32 w 497"/>
                <a:gd name="T91" fmla="*/ 338 h 423"/>
                <a:gd name="T92" fmla="*/ 32 w 497"/>
                <a:gd name="T93" fmla="*/ 357 h 423"/>
                <a:gd name="T94" fmla="*/ 54 w 497"/>
                <a:gd name="T95" fmla="*/ 390 h 423"/>
                <a:gd name="T96" fmla="*/ 52 w 497"/>
                <a:gd name="T97" fmla="*/ 409 h 423"/>
                <a:gd name="T98" fmla="*/ 52 w 497"/>
                <a:gd name="T99" fmla="*/ 416 h 423"/>
                <a:gd name="T100" fmla="*/ 67 w 497"/>
                <a:gd name="T101"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7" h="423">
                  <a:moveTo>
                    <a:pt x="67" y="423"/>
                  </a:moveTo>
                  <a:cubicBezTo>
                    <a:pt x="67" y="423"/>
                    <a:pt x="67" y="423"/>
                    <a:pt x="67" y="423"/>
                  </a:cubicBezTo>
                  <a:cubicBezTo>
                    <a:pt x="67" y="423"/>
                    <a:pt x="67" y="423"/>
                    <a:pt x="95" y="367"/>
                  </a:cubicBezTo>
                  <a:cubicBezTo>
                    <a:pt x="95" y="367"/>
                    <a:pt x="95" y="367"/>
                    <a:pt x="119" y="370"/>
                  </a:cubicBezTo>
                  <a:cubicBezTo>
                    <a:pt x="119" y="370"/>
                    <a:pt x="119" y="370"/>
                    <a:pt x="135" y="391"/>
                  </a:cubicBezTo>
                  <a:cubicBezTo>
                    <a:pt x="135" y="391"/>
                    <a:pt x="135" y="391"/>
                    <a:pt x="186" y="384"/>
                  </a:cubicBezTo>
                  <a:cubicBezTo>
                    <a:pt x="186" y="384"/>
                    <a:pt x="186" y="384"/>
                    <a:pt x="186" y="395"/>
                  </a:cubicBezTo>
                  <a:cubicBezTo>
                    <a:pt x="186" y="395"/>
                    <a:pt x="186" y="395"/>
                    <a:pt x="210" y="395"/>
                  </a:cubicBezTo>
                  <a:cubicBezTo>
                    <a:pt x="210" y="395"/>
                    <a:pt x="210" y="395"/>
                    <a:pt x="222" y="384"/>
                  </a:cubicBezTo>
                  <a:cubicBezTo>
                    <a:pt x="222" y="384"/>
                    <a:pt x="222" y="384"/>
                    <a:pt x="238" y="384"/>
                  </a:cubicBezTo>
                  <a:cubicBezTo>
                    <a:pt x="238" y="384"/>
                    <a:pt x="238" y="384"/>
                    <a:pt x="238" y="370"/>
                  </a:cubicBezTo>
                  <a:cubicBezTo>
                    <a:pt x="238" y="370"/>
                    <a:pt x="238" y="370"/>
                    <a:pt x="257" y="363"/>
                  </a:cubicBezTo>
                  <a:cubicBezTo>
                    <a:pt x="257" y="363"/>
                    <a:pt x="257" y="363"/>
                    <a:pt x="281" y="384"/>
                  </a:cubicBezTo>
                  <a:cubicBezTo>
                    <a:pt x="281" y="384"/>
                    <a:pt x="281" y="384"/>
                    <a:pt x="289" y="384"/>
                  </a:cubicBezTo>
                  <a:cubicBezTo>
                    <a:pt x="289" y="384"/>
                    <a:pt x="289" y="384"/>
                    <a:pt x="325" y="342"/>
                  </a:cubicBezTo>
                  <a:cubicBezTo>
                    <a:pt x="325" y="342"/>
                    <a:pt x="325" y="342"/>
                    <a:pt x="325" y="314"/>
                  </a:cubicBezTo>
                  <a:cubicBezTo>
                    <a:pt x="325" y="314"/>
                    <a:pt x="325" y="314"/>
                    <a:pt x="321" y="314"/>
                  </a:cubicBezTo>
                  <a:cubicBezTo>
                    <a:pt x="321" y="314"/>
                    <a:pt x="321" y="314"/>
                    <a:pt x="337" y="311"/>
                  </a:cubicBezTo>
                  <a:cubicBezTo>
                    <a:pt x="337" y="311"/>
                    <a:pt x="337" y="311"/>
                    <a:pt x="337" y="297"/>
                  </a:cubicBezTo>
                  <a:cubicBezTo>
                    <a:pt x="337" y="297"/>
                    <a:pt x="337" y="297"/>
                    <a:pt x="352" y="297"/>
                  </a:cubicBezTo>
                  <a:cubicBezTo>
                    <a:pt x="352" y="297"/>
                    <a:pt x="352" y="297"/>
                    <a:pt x="352" y="360"/>
                  </a:cubicBezTo>
                  <a:cubicBezTo>
                    <a:pt x="372" y="363"/>
                    <a:pt x="372" y="363"/>
                    <a:pt x="372" y="363"/>
                  </a:cubicBezTo>
                  <a:cubicBezTo>
                    <a:pt x="372" y="363"/>
                    <a:pt x="372" y="363"/>
                    <a:pt x="372" y="364"/>
                  </a:cubicBezTo>
                  <a:cubicBezTo>
                    <a:pt x="375" y="363"/>
                    <a:pt x="375" y="363"/>
                    <a:pt x="375" y="363"/>
                  </a:cubicBezTo>
                  <a:cubicBezTo>
                    <a:pt x="381" y="357"/>
                    <a:pt x="381" y="357"/>
                    <a:pt x="381" y="357"/>
                  </a:cubicBezTo>
                  <a:cubicBezTo>
                    <a:pt x="388" y="362"/>
                    <a:pt x="388" y="362"/>
                    <a:pt x="388" y="362"/>
                  </a:cubicBezTo>
                  <a:cubicBezTo>
                    <a:pt x="390" y="357"/>
                    <a:pt x="390" y="357"/>
                    <a:pt x="390" y="357"/>
                  </a:cubicBezTo>
                  <a:cubicBezTo>
                    <a:pt x="390" y="345"/>
                    <a:pt x="390" y="345"/>
                    <a:pt x="390" y="345"/>
                  </a:cubicBezTo>
                  <a:cubicBezTo>
                    <a:pt x="395" y="336"/>
                    <a:pt x="395" y="336"/>
                    <a:pt x="395" y="336"/>
                  </a:cubicBezTo>
                  <a:cubicBezTo>
                    <a:pt x="395" y="329"/>
                    <a:pt x="395" y="329"/>
                    <a:pt x="395" y="329"/>
                  </a:cubicBezTo>
                  <a:cubicBezTo>
                    <a:pt x="399" y="326"/>
                    <a:pt x="399" y="326"/>
                    <a:pt x="399" y="326"/>
                  </a:cubicBezTo>
                  <a:cubicBezTo>
                    <a:pt x="413" y="303"/>
                    <a:pt x="413" y="303"/>
                    <a:pt x="413" y="303"/>
                  </a:cubicBezTo>
                  <a:cubicBezTo>
                    <a:pt x="427" y="298"/>
                    <a:pt x="427" y="298"/>
                    <a:pt x="427" y="298"/>
                  </a:cubicBezTo>
                  <a:cubicBezTo>
                    <a:pt x="427" y="289"/>
                    <a:pt x="427" y="289"/>
                    <a:pt x="427" y="289"/>
                  </a:cubicBezTo>
                  <a:cubicBezTo>
                    <a:pt x="436" y="265"/>
                    <a:pt x="436" y="265"/>
                    <a:pt x="436" y="265"/>
                  </a:cubicBezTo>
                  <a:cubicBezTo>
                    <a:pt x="433" y="263"/>
                    <a:pt x="433" y="263"/>
                    <a:pt x="433" y="263"/>
                  </a:cubicBezTo>
                  <a:cubicBezTo>
                    <a:pt x="436" y="251"/>
                    <a:pt x="436" y="251"/>
                    <a:pt x="436" y="251"/>
                  </a:cubicBezTo>
                  <a:cubicBezTo>
                    <a:pt x="433" y="225"/>
                    <a:pt x="433" y="225"/>
                    <a:pt x="433" y="225"/>
                  </a:cubicBezTo>
                  <a:cubicBezTo>
                    <a:pt x="449" y="188"/>
                    <a:pt x="449" y="188"/>
                    <a:pt x="449" y="188"/>
                  </a:cubicBezTo>
                  <a:cubicBezTo>
                    <a:pt x="445" y="181"/>
                    <a:pt x="445" y="181"/>
                    <a:pt x="445" y="181"/>
                  </a:cubicBezTo>
                  <a:cubicBezTo>
                    <a:pt x="449" y="174"/>
                    <a:pt x="449" y="174"/>
                    <a:pt x="449" y="174"/>
                  </a:cubicBezTo>
                  <a:cubicBezTo>
                    <a:pt x="449" y="164"/>
                    <a:pt x="449" y="164"/>
                    <a:pt x="449" y="164"/>
                  </a:cubicBezTo>
                  <a:cubicBezTo>
                    <a:pt x="463" y="164"/>
                    <a:pt x="463" y="164"/>
                    <a:pt x="463" y="164"/>
                  </a:cubicBezTo>
                  <a:cubicBezTo>
                    <a:pt x="465" y="157"/>
                    <a:pt x="465" y="157"/>
                    <a:pt x="465" y="157"/>
                  </a:cubicBezTo>
                  <a:cubicBezTo>
                    <a:pt x="481" y="148"/>
                    <a:pt x="481" y="148"/>
                    <a:pt x="481" y="148"/>
                  </a:cubicBezTo>
                  <a:cubicBezTo>
                    <a:pt x="488" y="150"/>
                    <a:pt x="488" y="150"/>
                    <a:pt x="488" y="150"/>
                  </a:cubicBezTo>
                  <a:cubicBezTo>
                    <a:pt x="497" y="134"/>
                    <a:pt x="497" y="134"/>
                    <a:pt x="497" y="134"/>
                  </a:cubicBezTo>
                  <a:cubicBezTo>
                    <a:pt x="495" y="131"/>
                    <a:pt x="495" y="131"/>
                    <a:pt x="495" y="131"/>
                  </a:cubicBezTo>
                  <a:cubicBezTo>
                    <a:pt x="481" y="124"/>
                    <a:pt x="481" y="124"/>
                    <a:pt x="481" y="124"/>
                  </a:cubicBezTo>
                  <a:cubicBezTo>
                    <a:pt x="472" y="115"/>
                    <a:pt x="472" y="115"/>
                    <a:pt x="472" y="115"/>
                  </a:cubicBezTo>
                  <a:cubicBezTo>
                    <a:pt x="465" y="110"/>
                    <a:pt x="465" y="110"/>
                    <a:pt x="465" y="110"/>
                  </a:cubicBezTo>
                  <a:cubicBezTo>
                    <a:pt x="463" y="108"/>
                    <a:pt x="463" y="108"/>
                    <a:pt x="463" y="108"/>
                  </a:cubicBezTo>
                  <a:cubicBezTo>
                    <a:pt x="458" y="84"/>
                    <a:pt x="458" y="84"/>
                    <a:pt x="458" y="84"/>
                  </a:cubicBezTo>
                  <a:cubicBezTo>
                    <a:pt x="456" y="63"/>
                    <a:pt x="456" y="63"/>
                    <a:pt x="456" y="63"/>
                  </a:cubicBezTo>
                  <a:cubicBezTo>
                    <a:pt x="456" y="54"/>
                    <a:pt x="456" y="54"/>
                    <a:pt x="456" y="54"/>
                  </a:cubicBezTo>
                  <a:cubicBezTo>
                    <a:pt x="452" y="33"/>
                    <a:pt x="452" y="33"/>
                    <a:pt x="452" y="33"/>
                  </a:cubicBezTo>
                  <a:cubicBezTo>
                    <a:pt x="456" y="37"/>
                    <a:pt x="456" y="37"/>
                    <a:pt x="456" y="37"/>
                  </a:cubicBezTo>
                  <a:cubicBezTo>
                    <a:pt x="458" y="40"/>
                    <a:pt x="458" y="40"/>
                    <a:pt x="458" y="40"/>
                  </a:cubicBezTo>
                  <a:cubicBezTo>
                    <a:pt x="458" y="37"/>
                    <a:pt x="458" y="37"/>
                    <a:pt x="458" y="37"/>
                  </a:cubicBezTo>
                  <a:cubicBezTo>
                    <a:pt x="449" y="21"/>
                    <a:pt x="449" y="21"/>
                    <a:pt x="449" y="21"/>
                  </a:cubicBezTo>
                  <a:cubicBezTo>
                    <a:pt x="445" y="7"/>
                    <a:pt x="445" y="7"/>
                    <a:pt x="445" y="7"/>
                  </a:cubicBezTo>
                  <a:cubicBezTo>
                    <a:pt x="285" y="7"/>
                    <a:pt x="285" y="7"/>
                    <a:pt x="285" y="7"/>
                  </a:cubicBezTo>
                  <a:cubicBezTo>
                    <a:pt x="290" y="4"/>
                    <a:pt x="290" y="4"/>
                    <a:pt x="290" y="4"/>
                  </a:cubicBezTo>
                  <a:cubicBezTo>
                    <a:pt x="285" y="0"/>
                    <a:pt x="285" y="0"/>
                    <a:pt x="285" y="0"/>
                  </a:cubicBezTo>
                  <a:cubicBezTo>
                    <a:pt x="280" y="7"/>
                    <a:pt x="280" y="7"/>
                    <a:pt x="280" y="7"/>
                  </a:cubicBezTo>
                  <a:cubicBezTo>
                    <a:pt x="93" y="7"/>
                    <a:pt x="93" y="7"/>
                    <a:pt x="93" y="7"/>
                  </a:cubicBezTo>
                  <a:cubicBezTo>
                    <a:pt x="93" y="70"/>
                    <a:pt x="93" y="70"/>
                    <a:pt x="93" y="70"/>
                  </a:cubicBezTo>
                  <a:cubicBezTo>
                    <a:pt x="63" y="70"/>
                    <a:pt x="63" y="70"/>
                    <a:pt x="63" y="70"/>
                  </a:cubicBezTo>
                  <a:cubicBezTo>
                    <a:pt x="63" y="87"/>
                    <a:pt x="63" y="87"/>
                    <a:pt x="63" y="87"/>
                  </a:cubicBezTo>
                  <a:cubicBezTo>
                    <a:pt x="63" y="209"/>
                    <a:pt x="63" y="209"/>
                    <a:pt x="63" y="209"/>
                  </a:cubicBezTo>
                  <a:cubicBezTo>
                    <a:pt x="38" y="209"/>
                    <a:pt x="38" y="209"/>
                    <a:pt x="38" y="209"/>
                  </a:cubicBezTo>
                  <a:cubicBezTo>
                    <a:pt x="34" y="211"/>
                    <a:pt x="34" y="211"/>
                    <a:pt x="34" y="211"/>
                  </a:cubicBezTo>
                  <a:cubicBezTo>
                    <a:pt x="34" y="218"/>
                    <a:pt x="34" y="218"/>
                    <a:pt x="34" y="218"/>
                  </a:cubicBezTo>
                  <a:cubicBezTo>
                    <a:pt x="34" y="225"/>
                    <a:pt x="34" y="225"/>
                    <a:pt x="34" y="225"/>
                  </a:cubicBezTo>
                  <a:cubicBezTo>
                    <a:pt x="25" y="235"/>
                    <a:pt x="25" y="235"/>
                    <a:pt x="25" y="235"/>
                  </a:cubicBezTo>
                  <a:cubicBezTo>
                    <a:pt x="25" y="239"/>
                    <a:pt x="25" y="239"/>
                    <a:pt x="25" y="239"/>
                  </a:cubicBezTo>
                  <a:cubicBezTo>
                    <a:pt x="18" y="242"/>
                    <a:pt x="18" y="242"/>
                    <a:pt x="18" y="242"/>
                  </a:cubicBezTo>
                  <a:cubicBezTo>
                    <a:pt x="22" y="256"/>
                    <a:pt x="22" y="256"/>
                    <a:pt x="22" y="256"/>
                  </a:cubicBezTo>
                  <a:cubicBezTo>
                    <a:pt x="11" y="263"/>
                    <a:pt x="11" y="263"/>
                    <a:pt x="11" y="263"/>
                  </a:cubicBezTo>
                  <a:cubicBezTo>
                    <a:pt x="9" y="268"/>
                    <a:pt x="9" y="268"/>
                    <a:pt x="9" y="268"/>
                  </a:cubicBezTo>
                  <a:cubicBezTo>
                    <a:pt x="16" y="279"/>
                    <a:pt x="16" y="279"/>
                    <a:pt x="16" y="279"/>
                  </a:cubicBezTo>
                  <a:cubicBezTo>
                    <a:pt x="6" y="289"/>
                    <a:pt x="6" y="289"/>
                    <a:pt x="6" y="289"/>
                  </a:cubicBezTo>
                  <a:cubicBezTo>
                    <a:pt x="0" y="298"/>
                    <a:pt x="0" y="298"/>
                    <a:pt x="0" y="298"/>
                  </a:cubicBezTo>
                  <a:cubicBezTo>
                    <a:pt x="6" y="303"/>
                    <a:pt x="6" y="303"/>
                    <a:pt x="6" y="303"/>
                  </a:cubicBezTo>
                  <a:cubicBezTo>
                    <a:pt x="9" y="303"/>
                    <a:pt x="9" y="303"/>
                    <a:pt x="9" y="303"/>
                  </a:cubicBezTo>
                  <a:cubicBezTo>
                    <a:pt x="11" y="298"/>
                    <a:pt x="11" y="298"/>
                    <a:pt x="11" y="298"/>
                  </a:cubicBezTo>
                  <a:cubicBezTo>
                    <a:pt x="18" y="303"/>
                    <a:pt x="18" y="303"/>
                    <a:pt x="18" y="303"/>
                  </a:cubicBezTo>
                  <a:cubicBezTo>
                    <a:pt x="18" y="310"/>
                    <a:pt x="18" y="310"/>
                    <a:pt x="18" y="310"/>
                  </a:cubicBezTo>
                  <a:cubicBezTo>
                    <a:pt x="25" y="322"/>
                    <a:pt x="25" y="322"/>
                    <a:pt x="25" y="322"/>
                  </a:cubicBezTo>
                  <a:cubicBezTo>
                    <a:pt x="22" y="336"/>
                    <a:pt x="22" y="336"/>
                    <a:pt x="22" y="336"/>
                  </a:cubicBezTo>
                  <a:cubicBezTo>
                    <a:pt x="29" y="338"/>
                    <a:pt x="29" y="338"/>
                    <a:pt x="29" y="338"/>
                  </a:cubicBezTo>
                  <a:cubicBezTo>
                    <a:pt x="32" y="338"/>
                    <a:pt x="32" y="338"/>
                    <a:pt x="32" y="338"/>
                  </a:cubicBezTo>
                  <a:cubicBezTo>
                    <a:pt x="34" y="345"/>
                    <a:pt x="34" y="345"/>
                    <a:pt x="34" y="345"/>
                  </a:cubicBezTo>
                  <a:cubicBezTo>
                    <a:pt x="32" y="357"/>
                    <a:pt x="32" y="357"/>
                    <a:pt x="32" y="357"/>
                  </a:cubicBezTo>
                  <a:cubicBezTo>
                    <a:pt x="45" y="369"/>
                    <a:pt x="45" y="369"/>
                    <a:pt x="45" y="369"/>
                  </a:cubicBezTo>
                  <a:cubicBezTo>
                    <a:pt x="54" y="390"/>
                    <a:pt x="54" y="390"/>
                    <a:pt x="54" y="390"/>
                  </a:cubicBezTo>
                  <a:cubicBezTo>
                    <a:pt x="54" y="406"/>
                    <a:pt x="54" y="406"/>
                    <a:pt x="54" y="406"/>
                  </a:cubicBezTo>
                  <a:cubicBezTo>
                    <a:pt x="52" y="409"/>
                    <a:pt x="52" y="409"/>
                    <a:pt x="52" y="409"/>
                  </a:cubicBezTo>
                  <a:cubicBezTo>
                    <a:pt x="47" y="413"/>
                    <a:pt x="47" y="413"/>
                    <a:pt x="47" y="413"/>
                  </a:cubicBezTo>
                  <a:cubicBezTo>
                    <a:pt x="52" y="416"/>
                    <a:pt x="52" y="416"/>
                    <a:pt x="52" y="416"/>
                  </a:cubicBezTo>
                  <a:cubicBezTo>
                    <a:pt x="52" y="423"/>
                    <a:pt x="52" y="423"/>
                    <a:pt x="52" y="423"/>
                  </a:cubicBezTo>
                  <a:lnTo>
                    <a:pt x="67" y="42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63" name="Freeform 599">
              <a:extLst>
                <a:ext uri="{FF2B5EF4-FFF2-40B4-BE49-F238E27FC236}">
                  <a16:creationId xmlns:a16="http://schemas.microsoft.com/office/drawing/2014/main" id="{466B3D9B-B1EF-479A-A983-A2B93A3DCD2E}"/>
                </a:ext>
              </a:extLst>
            </p:cNvPr>
            <p:cNvSpPr>
              <a:spLocks/>
            </p:cNvSpPr>
            <p:nvPr/>
          </p:nvSpPr>
          <p:spPr bwMode="gray">
            <a:xfrm>
              <a:off x="7421547" y="3683402"/>
              <a:ext cx="343333" cy="279967"/>
            </a:xfrm>
            <a:custGeom>
              <a:avLst/>
              <a:gdLst>
                <a:gd name="T0" fmla="*/ 339 w 353"/>
                <a:gd name="T1" fmla="*/ 227 h 288"/>
                <a:gd name="T2" fmla="*/ 332 w 353"/>
                <a:gd name="T3" fmla="*/ 227 h 288"/>
                <a:gd name="T4" fmla="*/ 323 w 353"/>
                <a:gd name="T5" fmla="*/ 210 h 288"/>
                <a:gd name="T6" fmla="*/ 309 w 353"/>
                <a:gd name="T7" fmla="*/ 187 h 288"/>
                <a:gd name="T8" fmla="*/ 300 w 353"/>
                <a:gd name="T9" fmla="*/ 180 h 288"/>
                <a:gd name="T10" fmla="*/ 277 w 353"/>
                <a:gd name="T11" fmla="*/ 156 h 288"/>
                <a:gd name="T12" fmla="*/ 264 w 353"/>
                <a:gd name="T13" fmla="*/ 149 h 288"/>
                <a:gd name="T14" fmla="*/ 270 w 353"/>
                <a:gd name="T15" fmla="*/ 135 h 288"/>
                <a:gd name="T16" fmla="*/ 286 w 353"/>
                <a:gd name="T17" fmla="*/ 135 h 288"/>
                <a:gd name="T18" fmla="*/ 298 w 353"/>
                <a:gd name="T19" fmla="*/ 102 h 288"/>
                <a:gd name="T20" fmla="*/ 305 w 353"/>
                <a:gd name="T21" fmla="*/ 69 h 288"/>
                <a:gd name="T22" fmla="*/ 305 w 353"/>
                <a:gd name="T23" fmla="*/ 67 h 288"/>
                <a:gd name="T24" fmla="*/ 285 w 353"/>
                <a:gd name="T25" fmla="*/ 63 h 288"/>
                <a:gd name="T26" fmla="*/ 270 w 353"/>
                <a:gd name="T27" fmla="*/ 0 h 288"/>
                <a:gd name="T28" fmla="*/ 254 w 353"/>
                <a:gd name="T29" fmla="*/ 17 h 288"/>
                <a:gd name="T30" fmla="*/ 258 w 353"/>
                <a:gd name="T31" fmla="*/ 45 h 288"/>
                <a:gd name="T32" fmla="*/ 214 w 353"/>
                <a:gd name="T33" fmla="*/ 87 h 288"/>
                <a:gd name="T34" fmla="*/ 171 w 353"/>
                <a:gd name="T35" fmla="*/ 73 h 288"/>
                <a:gd name="T36" fmla="*/ 155 w 353"/>
                <a:gd name="T37" fmla="*/ 87 h 288"/>
                <a:gd name="T38" fmla="*/ 119 w 353"/>
                <a:gd name="T39" fmla="*/ 98 h 288"/>
                <a:gd name="T40" fmla="*/ 68 w 353"/>
                <a:gd name="T41" fmla="*/ 94 h 288"/>
                <a:gd name="T42" fmla="*/ 28 w 353"/>
                <a:gd name="T43" fmla="*/ 70 h 288"/>
                <a:gd name="T44" fmla="*/ 0 w 353"/>
                <a:gd name="T45" fmla="*/ 126 h 288"/>
                <a:gd name="T46" fmla="*/ 8 w 353"/>
                <a:gd name="T47" fmla="*/ 130 h 288"/>
                <a:gd name="T48" fmla="*/ 3 w 353"/>
                <a:gd name="T49" fmla="*/ 140 h 288"/>
                <a:gd name="T50" fmla="*/ 31 w 353"/>
                <a:gd name="T51" fmla="*/ 154 h 288"/>
                <a:gd name="T52" fmla="*/ 35 w 353"/>
                <a:gd name="T53" fmla="*/ 159 h 288"/>
                <a:gd name="T54" fmla="*/ 56 w 353"/>
                <a:gd name="T55" fmla="*/ 180 h 288"/>
                <a:gd name="T56" fmla="*/ 70 w 353"/>
                <a:gd name="T57" fmla="*/ 189 h 288"/>
                <a:gd name="T58" fmla="*/ 72 w 353"/>
                <a:gd name="T59" fmla="*/ 203 h 288"/>
                <a:gd name="T60" fmla="*/ 81 w 353"/>
                <a:gd name="T61" fmla="*/ 210 h 288"/>
                <a:gd name="T62" fmla="*/ 95 w 353"/>
                <a:gd name="T63" fmla="*/ 224 h 288"/>
                <a:gd name="T64" fmla="*/ 102 w 353"/>
                <a:gd name="T65" fmla="*/ 241 h 288"/>
                <a:gd name="T66" fmla="*/ 111 w 353"/>
                <a:gd name="T67" fmla="*/ 253 h 288"/>
                <a:gd name="T68" fmla="*/ 140 w 353"/>
                <a:gd name="T69" fmla="*/ 253 h 288"/>
                <a:gd name="T70" fmla="*/ 161 w 353"/>
                <a:gd name="T71" fmla="*/ 250 h 288"/>
                <a:gd name="T72" fmla="*/ 170 w 353"/>
                <a:gd name="T73" fmla="*/ 253 h 288"/>
                <a:gd name="T74" fmla="*/ 179 w 353"/>
                <a:gd name="T75" fmla="*/ 267 h 288"/>
                <a:gd name="T76" fmla="*/ 193 w 353"/>
                <a:gd name="T77" fmla="*/ 274 h 288"/>
                <a:gd name="T78" fmla="*/ 200 w 353"/>
                <a:gd name="T79" fmla="*/ 281 h 288"/>
                <a:gd name="T80" fmla="*/ 207 w 353"/>
                <a:gd name="T81" fmla="*/ 281 h 288"/>
                <a:gd name="T82" fmla="*/ 223 w 353"/>
                <a:gd name="T83" fmla="*/ 281 h 288"/>
                <a:gd name="T84" fmla="*/ 232 w 353"/>
                <a:gd name="T85" fmla="*/ 283 h 288"/>
                <a:gd name="T86" fmla="*/ 241 w 353"/>
                <a:gd name="T87" fmla="*/ 283 h 288"/>
                <a:gd name="T88" fmla="*/ 254 w 353"/>
                <a:gd name="T89" fmla="*/ 276 h 288"/>
                <a:gd name="T90" fmla="*/ 270 w 353"/>
                <a:gd name="T91" fmla="*/ 276 h 288"/>
                <a:gd name="T92" fmla="*/ 293 w 353"/>
                <a:gd name="T93" fmla="*/ 264 h 288"/>
                <a:gd name="T94" fmla="*/ 353 w 353"/>
                <a:gd name="T95" fmla="*/ 253 h 288"/>
                <a:gd name="T96" fmla="*/ 350 w 353"/>
                <a:gd name="T97" fmla="*/ 22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3" h="288">
                  <a:moveTo>
                    <a:pt x="350" y="229"/>
                  </a:moveTo>
                  <a:cubicBezTo>
                    <a:pt x="339" y="227"/>
                    <a:pt x="339" y="227"/>
                    <a:pt x="339" y="227"/>
                  </a:cubicBezTo>
                  <a:cubicBezTo>
                    <a:pt x="332" y="229"/>
                    <a:pt x="332" y="229"/>
                    <a:pt x="332" y="229"/>
                  </a:cubicBezTo>
                  <a:cubicBezTo>
                    <a:pt x="332" y="227"/>
                    <a:pt x="332" y="227"/>
                    <a:pt x="332" y="227"/>
                  </a:cubicBezTo>
                  <a:cubicBezTo>
                    <a:pt x="328" y="220"/>
                    <a:pt x="328" y="220"/>
                    <a:pt x="328" y="220"/>
                  </a:cubicBezTo>
                  <a:cubicBezTo>
                    <a:pt x="323" y="210"/>
                    <a:pt x="323" y="210"/>
                    <a:pt x="323" y="210"/>
                  </a:cubicBezTo>
                  <a:cubicBezTo>
                    <a:pt x="316" y="189"/>
                    <a:pt x="316" y="189"/>
                    <a:pt x="316" y="189"/>
                  </a:cubicBezTo>
                  <a:cubicBezTo>
                    <a:pt x="309" y="187"/>
                    <a:pt x="309" y="187"/>
                    <a:pt x="309" y="187"/>
                  </a:cubicBezTo>
                  <a:cubicBezTo>
                    <a:pt x="307" y="182"/>
                    <a:pt x="307" y="182"/>
                    <a:pt x="307" y="182"/>
                  </a:cubicBezTo>
                  <a:cubicBezTo>
                    <a:pt x="300" y="180"/>
                    <a:pt x="300" y="180"/>
                    <a:pt x="300" y="180"/>
                  </a:cubicBezTo>
                  <a:cubicBezTo>
                    <a:pt x="291" y="163"/>
                    <a:pt x="291" y="163"/>
                    <a:pt x="291" y="163"/>
                  </a:cubicBezTo>
                  <a:cubicBezTo>
                    <a:pt x="277" y="156"/>
                    <a:pt x="277" y="156"/>
                    <a:pt x="277" y="156"/>
                  </a:cubicBezTo>
                  <a:cubicBezTo>
                    <a:pt x="264" y="156"/>
                    <a:pt x="264" y="156"/>
                    <a:pt x="264" y="156"/>
                  </a:cubicBezTo>
                  <a:cubicBezTo>
                    <a:pt x="264" y="149"/>
                    <a:pt x="264" y="149"/>
                    <a:pt x="264" y="149"/>
                  </a:cubicBezTo>
                  <a:cubicBezTo>
                    <a:pt x="270" y="142"/>
                    <a:pt x="270" y="142"/>
                    <a:pt x="270" y="142"/>
                  </a:cubicBezTo>
                  <a:cubicBezTo>
                    <a:pt x="270" y="135"/>
                    <a:pt x="270" y="135"/>
                    <a:pt x="270" y="135"/>
                  </a:cubicBezTo>
                  <a:cubicBezTo>
                    <a:pt x="284" y="133"/>
                    <a:pt x="284" y="133"/>
                    <a:pt x="284" y="133"/>
                  </a:cubicBezTo>
                  <a:cubicBezTo>
                    <a:pt x="286" y="135"/>
                    <a:pt x="286" y="135"/>
                    <a:pt x="286" y="135"/>
                  </a:cubicBezTo>
                  <a:cubicBezTo>
                    <a:pt x="298" y="130"/>
                    <a:pt x="298" y="130"/>
                    <a:pt x="298" y="130"/>
                  </a:cubicBezTo>
                  <a:cubicBezTo>
                    <a:pt x="298" y="102"/>
                    <a:pt x="298" y="102"/>
                    <a:pt x="298" y="102"/>
                  </a:cubicBezTo>
                  <a:cubicBezTo>
                    <a:pt x="305" y="79"/>
                    <a:pt x="305" y="79"/>
                    <a:pt x="305" y="79"/>
                  </a:cubicBezTo>
                  <a:cubicBezTo>
                    <a:pt x="305" y="69"/>
                    <a:pt x="305" y="69"/>
                    <a:pt x="305" y="69"/>
                  </a:cubicBezTo>
                  <a:cubicBezTo>
                    <a:pt x="308" y="66"/>
                    <a:pt x="308" y="66"/>
                    <a:pt x="308" y="66"/>
                  </a:cubicBezTo>
                  <a:cubicBezTo>
                    <a:pt x="305" y="67"/>
                    <a:pt x="305" y="67"/>
                    <a:pt x="305" y="67"/>
                  </a:cubicBezTo>
                  <a:cubicBezTo>
                    <a:pt x="305" y="66"/>
                    <a:pt x="305" y="66"/>
                    <a:pt x="305" y="66"/>
                  </a:cubicBezTo>
                  <a:cubicBezTo>
                    <a:pt x="285" y="63"/>
                    <a:pt x="285" y="63"/>
                    <a:pt x="285" y="63"/>
                  </a:cubicBezTo>
                  <a:cubicBezTo>
                    <a:pt x="285" y="0"/>
                    <a:pt x="285" y="0"/>
                    <a:pt x="285" y="0"/>
                  </a:cubicBezTo>
                  <a:cubicBezTo>
                    <a:pt x="270" y="0"/>
                    <a:pt x="270" y="0"/>
                    <a:pt x="270" y="0"/>
                  </a:cubicBezTo>
                  <a:cubicBezTo>
                    <a:pt x="270" y="14"/>
                    <a:pt x="270" y="14"/>
                    <a:pt x="270" y="14"/>
                  </a:cubicBezTo>
                  <a:cubicBezTo>
                    <a:pt x="254" y="17"/>
                    <a:pt x="254" y="17"/>
                    <a:pt x="254" y="17"/>
                  </a:cubicBezTo>
                  <a:cubicBezTo>
                    <a:pt x="258" y="17"/>
                    <a:pt x="258" y="17"/>
                    <a:pt x="258" y="17"/>
                  </a:cubicBezTo>
                  <a:cubicBezTo>
                    <a:pt x="258" y="45"/>
                    <a:pt x="258" y="45"/>
                    <a:pt x="258" y="45"/>
                  </a:cubicBezTo>
                  <a:cubicBezTo>
                    <a:pt x="222" y="87"/>
                    <a:pt x="222" y="87"/>
                    <a:pt x="222" y="87"/>
                  </a:cubicBezTo>
                  <a:cubicBezTo>
                    <a:pt x="214" y="87"/>
                    <a:pt x="214" y="87"/>
                    <a:pt x="214" y="87"/>
                  </a:cubicBezTo>
                  <a:cubicBezTo>
                    <a:pt x="190" y="66"/>
                    <a:pt x="190" y="66"/>
                    <a:pt x="190" y="66"/>
                  </a:cubicBezTo>
                  <a:cubicBezTo>
                    <a:pt x="171" y="73"/>
                    <a:pt x="171" y="73"/>
                    <a:pt x="171" y="73"/>
                  </a:cubicBezTo>
                  <a:cubicBezTo>
                    <a:pt x="171" y="87"/>
                    <a:pt x="171" y="87"/>
                    <a:pt x="171" y="87"/>
                  </a:cubicBezTo>
                  <a:cubicBezTo>
                    <a:pt x="155" y="87"/>
                    <a:pt x="155" y="87"/>
                    <a:pt x="155" y="87"/>
                  </a:cubicBezTo>
                  <a:cubicBezTo>
                    <a:pt x="143" y="98"/>
                    <a:pt x="143" y="98"/>
                    <a:pt x="143" y="98"/>
                  </a:cubicBezTo>
                  <a:cubicBezTo>
                    <a:pt x="119" y="98"/>
                    <a:pt x="119" y="98"/>
                    <a:pt x="119" y="98"/>
                  </a:cubicBezTo>
                  <a:cubicBezTo>
                    <a:pt x="119" y="87"/>
                    <a:pt x="119" y="87"/>
                    <a:pt x="119" y="87"/>
                  </a:cubicBezTo>
                  <a:cubicBezTo>
                    <a:pt x="68" y="94"/>
                    <a:pt x="68" y="94"/>
                    <a:pt x="68" y="94"/>
                  </a:cubicBezTo>
                  <a:cubicBezTo>
                    <a:pt x="52" y="73"/>
                    <a:pt x="52" y="73"/>
                    <a:pt x="52" y="73"/>
                  </a:cubicBezTo>
                  <a:cubicBezTo>
                    <a:pt x="28" y="70"/>
                    <a:pt x="28" y="70"/>
                    <a:pt x="28" y="70"/>
                  </a:cubicBezTo>
                  <a:cubicBezTo>
                    <a:pt x="0" y="126"/>
                    <a:pt x="0" y="126"/>
                    <a:pt x="0" y="126"/>
                  </a:cubicBezTo>
                  <a:cubicBezTo>
                    <a:pt x="0" y="126"/>
                    <a:pt x="0" y="126"/>
                    <a:pt x="0" y="126"/>
                  </a:cubicBezTo>
                  <a:cubicBezTo>
                    <a:pt x="3" y="126"/>
                    <a:pt x="3" y="126"/>
                    <a:pt x="3" y="126"/>
                  </a:cubicBezTo>
                  <a:cubicBezTo>
                    <a:pt x="8" y="130"/>
                    <a:pt x="8" y="130"/>
                    <a:pt x="8" y="130"/>
                  </a:cubicBezTo>
                  <a:cubicBezTo>
                    <a:pt x="3" y="133"/>
                    <a:pt x="3" y="133"/>
                    <a:pt x="3" y="133"/>
                  </a:cubicBezTo>
                  <a:cubicBezTo>
                    <a:pt x="3" y="140"/>
                    <a:pt x="3" y="140"/>
                    <a:pt x="3" y="140"/>
                  </a:cubicBezTo>
                  <a:cubicBezTo>
                    <a:pt x="19" y="142"/>
                    <a:pt x="19" y="142"/>
                    <a:pt x="19" y="142"/>
                  </a:cubicBezTo>
                  <a:cubicBezTo>
                    <a:pt x="31" y="154"/>
                    <a:pt x="31" y="154"/>
                    <a:pt x="31" y="154"/>
                  </a:cubicBezTo>
                  <a:cubicBezTo>
                    <a:pt x="35" y="154"/>
                    <a:pt x="35" y="154"/>
                    <a:pt x="35" y="154"/>
                  </a:cubicBezTo>
                  <a:cubicBezTo>
                    <a:pt x="35" y="159"/>
                    <a:pt x="35" y="159"/>
                    <a:pt x="35" y="159"/>
                  </a:cubicBezTo>
                  <a:cubicBezTo>
                    <a:pt x="33" y="163"/>
                    <a:pt x="33" y="163"/>
                    <a:pt x="33" y="163"/>
                  </a:cubicBezTo>
                  <a:cubicBezTo>
                    <a:pt x="56" y="180"/>
                    <a:pt x="56" y="180"/>
                    <a:pt x="56" y="180"/>
                  </a:cubicBezTo>
                  <a:cubicBezTo>
                    <a:pt x="58" y="182"/>
                    <a:pt x="58" y="182"/>
                    <a:pt x="58" y="182"/>
                  </a:cubicBezTo>
                  <a:cubicBezTo>
                    <a:pt x="70" y="189"/>
                    <a:pt x="70" y="189"/>
                    <a:pt x="70" y="189"/>
                  </a:cubicBezTo>
                  <a:cubicBezTo>
                    <a:pt x="65" y="196"/>
                    <a:pt x="65" y="196"/>
                    <a:pt x="65" y="196"/>
                  </a:cubicBezTo>
                  <a:cubicBezTo>
                    <a:pt x="72" y="203"/>
                    <a:pt x="72" y="203"/>
                    <a:pt x="72" y="203"/>
                  </a:cubicBezTo>
                  <a:cubicBezTo>
                    <a:pt x="70" y="206"/>
                    <a:pt x="70" y="206"/>
                    <a:pt x="70" y="206"/>
                  </a:cubicBezTo>
                  <a:cubicBezTo>
                    <a:pt x="81" y="210"/>
                    <a:pt x="81" y="210"/>
                    <a:pt x="81" y="210"/>
                  </a:cubicBezTo>
                  <a:cubicBezTo>
                    <a:pt x="92" y="217"/>
                    <a:pt x="92" y="217"/>
                    <a:pt x="92" y="217"/>
                  </a:cubicBezTo>
                  <a:cubicBezTo>
                    <a:pt x="95" y="224"/>
                    <a:pt x="95" y="224"/>
                    <a:pt x="95" y="224"/>
                  </a:cubicBezTo>
                  <a:cubicBezTo>
                    <a:pt x="95" y="229"/>
                    <a:pt x="95" y="229"/>
                    <a:pt x="95" y="229"/>
                  </a:cubicBezTo>
                  <a:cubicBezTo>
                    <a:pt x="102" y="241"/>
                    <a:pt x="102" y="241"/>
                    <a:pt x="102" y="241"/>
                  </a:cubicBezTo>
                  <a:cubicBezTo>
                    <a:pt x="108" y="248"/>
                    <a:pt x="108" y="248"/>
                    <a:pt x="108" y="248"/>
                  </a:cubicBezTo>
                  <a:cubicBezTo>
                    <a:pt x="111" y="253"/>
                    <a:pt x="111" y="253"/>
                    <a:pt x="111" y="253"/>
                  </a:cubicBezTo>
                  <a:cubicBezTo>
                    <a:pt x="127" y="264"/>
                    <a:pt x="127" y="264"/>
                    <a:pt x="127" y="264"/>
                  </a:cubicBezTo>
                  <a:cubicBezTo>
                    <a:pt x="140" y="253"/>
                    <a:pt x="140" y="253"/>
                    <a:pt x="140" y="253"/>
                  </a:cubicBezTo>
                  <a:cubicBezTo>
                    <a:pt x="154" y="260"/>
                    <a:pt x="154" y="260"/>
                    <a:pt x="154" y="260"/>
                  </a:cubicBezTo>
                  <a:cubicBezTo>
                    <a:pt x="161" y="250"/>
                    <a:pt x="161" y="250"/>
                    <a:pt x="161" y="250"/>
                  </a:cubicBezTo>
                  <a:cubicBezTo>
                    <a:pt x="163" y="250"/>
                    <a:pt x="163" y="250"/>
                    <a:pt x="163" y="250"/>
                  </a:cubicBezTo>
                  <a:cubicBezTo>
                    <a:pt x="170" y="253"/>
                    <a:pt x="170" y="253"/>
                    <a:pt x="170" y="253"/>
                  </a:cubicBezTo>
                  <a:cubicBezTo>
                    <a:pt x="170" y="260"/>
                    <a:pt x="170" y="260"/>
                    <a:pt x="170" y="260"/>
                  </a:cubicBezTo>
                  <a:cubicBezTo>
                    <a:pt x="179" y="267"/>
                    <a:pt x="179" y="267"/>
                    <a:pt x="179" y="267"/>
                  </a:cubicBezTo>
                  <a:cubicBezTo>
                    <a:pt x="184" y="274"/>
                    <a:pt x="184" y="274"/>
                    <a:pt x="184" y="274"/>
                  </a:cubicBezTo>
                  <a:cubicBezTo>
                    <a:pt x="193" y="274"/>
                    <a:pt x="193" y="274"/>
                    <a:pt x="193" y="274"/>
                  </a:cubicBezTo>
                  <a:cubicBezTo>
                    <a:pt x="193" y="283"/>
                    <a:pt x="193" y="283"/>
                    <a:pt x="193" y="283"/>
                  </a:cubicBezTo>
                  <a:cubicBezTo>
                    <a:pt x="200" y="281"/>
                    <a:pt x="200" y="281"/>
                    <a:pt x="200" y="281"/>
                  </a:cubicBezTo>
                  <a:cubicBezTo>
                    <a:pt x="202" y="288"/>
                    <a:pt x="202" y="288"/>
                    <a:pt x="202" y="288"/>
                  </a:cubicBezTo>
                  <a:cubicBezTo>
                    <a:pt x="207" y="281"/>
                    <a:pt x="207" y="281"/>
                    <a:pt x="207" y="281"/>
                  </a:cubicBezTo>
                  <a:cubicBezTo>
                    <a:pt x="209" y="276"/>
                    <a:pt x="209" y="276"/>
                    <a:pt x="209" y="276"/>
                  </a:cubicBezTo>
                  <a:cubicBezTo>
                    <a:pt x="223" y="281"/>
                    <a:pt x="223" y="281"/>
                    <a:pt x="223" y="281"/>
                  </a:cubicBezTo>
                  <a:cubicBezTo>
                    <a:pt x="229" y="276"/>
                    <a:pt x="229" y="276"/>
                    <a:pt x="229" y="276"/>
                  </a:cubicBezTo>
                  <a:cubicBezTo>
                    <a:pt x="232" y="283"/>
                    <a:pt x="232" y="283"/>
                    <a:pt x="232" y="283"/>
                  </a:cubicBezTo>
                  <a:cubicBezTo>
                    <a:pt x="241" y="288"/>
                    <a:pt x="241" y="288"/>
                    <a:pt x="241" y="288"/>
                  </a:cubicBezTo>
                  <a:cubicBezTo>
                    <a:pt x="241" y="283"/>
                    <a:pt x="241" y="283"/>
                    <a:pt x="241" y="283"/>
                  </a:cubicBezTo>
                  <a:cubicBezTo>
                    <a:pt x="248" y="281"/>
                    <a:pt x="248" y="281"/>
                    <a:pt x="248" y="281"/>
                  </a:cubicBezTo>
                  <a:cubicBezTo>
                    <a:pt x="254" y="276"/>
                    <a:pt x="254" y="276"/>
                    <a:pt x="254" y="276"/>
                  </a:cubicBezTo>
                  <a:cubicBezTo>
                    <a:pt x="264" y="274"/>
                    <a:pt x="264" y="274"/>
                    <a:pt x="264" y="274"/>
                  </a:cubicBezTo>
                  <a:cubicBezTo>
                    <a:pt x="270" y="276"/>
                    <a:pt x="270" y="276"/>
                    <a:pt x="270" y="276"/>
                  </a:cubicBezTo>
                  <a:cubicBezTo>
                    <a:pt x="282" y="276"/>
                    <a:pt x="282" y="276"/>
                    <a:pt x="282" y="276"/>
                  </a:cubicBezTo>
                  <a:cubicBezTo>
                    <a:pt x="293" y="264"/>
                    <a:pt x="293" y="264"/>
                    <a:pt x="293" y="264"/>
                  </a:cubicBezTo>
                  <a:cubicBezTo>
                    <a:pt x="307" y="253"/>
                    <a:pt x="307" y="253"/>
                    <a:pt x="307" y="253"/>
                  </a:cubicBezTo>
                  <a:cubicBezTo>
                    <a:pt x="353" y="253"/>
                    <a:pt x="353" y="253"/>
                    <a:pt x="353" y="253"/>
                  </a:cubicBezTo>
                  <a:cubicBezTo>
                    <a:pt x="346" y="248"/>
                    <a:pt x="346" y="248"/>
                    <a:pt x="346" y="248"/>
                  </a:cubicBezTo>
                  <a:lnTo>
                    <a:pt x="350" y="22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1470" name="Gruppieren 11469">
            <a:extLst>
              <a:ext uri="{FF2B5EF4-FFF2-40B4-BE49-F238E27FC236}">
                <a16:creationId xmlns:a16="http://schemas.microsoft.com/office/drawing/2014/main" id="{76F0987C-9017-4C9D-8AF3-32917E57A868}"/>
              </a:ext>
            </a:extLst>
          </p:cNvPr>
          <p:cNvGrpSpPr/>
          <p:nvPr/>
        </p:nvGrpSpPr>
        <p:grpSpPr bwMode="gray">
          <a:xfrm>
            <a:off x="9620063" y="902617"/>
            <a:ext cx="1944000" cy="1548112"/>
            <a:chOff x="4007768" y="1016792"/>
            <a:chExt cx="1944000" cy="1548112"/>
          </a:xfrm>
        </p:grpSpPr>
        <p:sp>
          <p:nvSpPr>
            <p:cNvPr id="11471" name="Textplatzhalter 4">
              <a:extLst>
                <a:ext uri="{FF2B5EF4-FFF2-40B4-BE49-F238E27FC236}">
                  <a16:creationId xmlns:a16="http://schemas.microsoft.com/office/drawing/2014/main" id="{F97ECC7F-F4C2-4785-93ED-A37765F9169A}"/>
                </a:ext>
              </a:extLst>
            </p:cNvPr>
            <p:cNvSpPr txBox="1">
              <a:spLocks/>
            </p:cNvSpPr>
            <p:nvPr/>
          </p:nvSpPr>
          <p:spPr bwMode="gray">
            <a:xfrm>
              <a:off x="4007768" y="1736835"/>
              <a:ext cx="1944000" cy="828069"/>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Lorem ipsum dolor sit amet, consectetuer adipiscing elit</a:t>
              </a:r>
            </a:p>
          </p:txBody>
        </p:sp>
        <p:sp>
          <p:nvSpPr>
            <p:cNvPr id="11472" name="Textplatzhalter 3">
              <a:extLst>
                <a:ext uri="{FF2B5EF4-FFF2-40B4-BE49-F238E27FC236}">
                  <a16:creationId xmlns:a16="http://schemas.microsoft.com/office/drawing/2014/main" id="{B5A23450-7218-4B02-8937-8011A8BBFA34}"/>
                </a:ext>
              </a:extLst>
            </p:cNvPr>
            <p:cNvSpPr txBox="1">
              <a:spLocks/>
            </p:cNvSpPr>
            <p:nvPr/>
          </p:nvSpPr>
          <p:spPr bwMode="gray">
            <a:xfrm>
              <a:off x="4007768" y="1016792"/>
              <a:ext cx="194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r"/>
              <a:r>
                <a:rPr lang="en-US" dirty="0">
                  <a:solidFill>
                    <a:schemeClr val="accent5"/>
                  </a:solidFill>
                </a:rPr>
                <a:t>25%</a:t>
              </a:r>
            </a:p>
          </p:txBody>
        </p:sp>
        <p:cxnSp>
          <p:nvCxnSpPr>
            <p:cNvPr id="11473" name="Gerader Verbinder 11472">
              <a:extLst>
                <a:ext uri="{FF2B5EF4-FFF2-40B4-BE49-F238E27FC236}">
                  <a16:creationId xmlns:a16="http://schemas.microsoft.com/office/drawing/2014/main" id="{81DE45C5-DF4E-4463-ABCB-375036CBD3D5}"/>
                </a:ext>
              </a:extLst>
            </p:cNvPr>
            <p:cNvCxnSpPr/>
            <p:nvPr/>
          </p:nvCxnSpPr>
          <p:spPr bwMode="gray">
            <a:xfrm>
              <a:off x="4007768" y="1556792"/>
              <a:ext cx="4316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1474" name="Gruppieren 11473">
            <a:extLst>
              <a:ext uri="{FF2B5EF4-FFF2-40B4-BE49-F238E27FC236}">
                <a16:creationId xmlns:a16="http://schemas.microsoft.com/office/drawing/2014/main" id="{BD54F715-E77E-4FC0-9F90-65DF6A077346}"/>
              </a:ext>
            </a:extLst>
          </p:cNvPr>
          <p:cNvGrpSpPr/>
          <p:nvPr/>
        </p:nvGrpSpPr>
        <p:grpSpPr bwMode="gray">
          <a:xfrm>
            <a:off x="7752184" y="4149080"/>
            <a:ext cx="3240360" cy="3240360"/>
            <a:chOff x="4295800" y="4005064"/>
            <a:chExt cx="3240360" cy="3240360"/>
          </a:xfrm>
        </p:grpSpPr>
        <p:sp>
          <p:nvSpPr>
            <p:cNvPr id="11475" name="Ellipse 11474">
              <a:extLst>
                <a:ext uri="{FF2B5EF4-FFF2-40B4-BE49-F238E27FC236}">
                  <a16:creationId xmlns:a16="http://schemas.microsoft.com/office/drawing/2014/main" id="{3B2189AC-313A-4574-A4F9-EEF7E74A9651}"/>
                </a:ext>
              </a:extLst>
            </p:cNvPr>
            <p:cNvSpPr/>
            <p:nvPr/>
          </p:nvSpPr>
          <p:spPr bwMode="gray">
            <a:xfrm>
              <a:off x="4295800" y="4005064"/>
              <a:ext cx="3240360" cy="3240360"/>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476" name="Textplatzhalter 4">
              <a:extLst>
                <a:ext uri="{FF2B5EF4-FFF2-40B4-BE49-F238E27FC236}">
                  <a16:creationId xmlns:a16="http://schemas.microsoft.com/office/drawing/2014/main" id="{650980B0-46F5-46CE-BAF6-C70FB561EAF0}"/>
                </a:ext>
              </a:extLst>
            </p:cNvPr>
            <p:cNvSpPr txBox="1">
              <a:spLocks/>
            </p:cNvSpPr>
            <p:nvPr/>
          </p:nvSpPr>
          <p:spPr bwMode="gray">
            <a:xfrm>
              <a:off x="5015880" y="5491063"/>
              <a:ext cx="1944000" cy="828069"/>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solidFill>
                    <a:schemeClr val="bg1"/>
                  </a:solidFill>
                </a:rPr>
                <a:t>Lorem ipsum dolor sit amet, consectetuer adipiscing elit</a:t>
              </a:r>
            </a:p>
          </p:txBody>
        </p:sp>
        <p:sp>
          <p:nvSpPr>
            <p:cNvPr id="11477" name="Textplatzhalter 3">
              <a:extLst>
                <a:ext uri="{FF2B5EF4-FFF2-40B4-BE49-F238E27FC236}">
                  <a16:creationId xmlns:a16="http://schemas.microsoft.com/office/drawing/2014/main" id="{13649F1B-0219-4BFE-B255-6918BAB2C921}"/>
                </a:ext>
              </a:extLst>
            </p:cNvPr>
            <p:cNvSpPr txBox="1">
              <a:spLocks/>
            </p:cNvSpPr>
            <p:nvPr/>
          </p:nvSpPr>
          <p:spPr bwMode="gray">
            <a:xfrm>
              <a:off x="5015880" y="4771020"/>
              <a:ext cx="194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dirty="0">
                  <a:solidFill>
                    <a:schemeClr val="bg1"/>
                  </a:solidFill>
                </a:rPr>
                <a:t>25%</a:t>
              </a:r>
            </a:p>
          </p:txBody>
        </p:sp>
      </p:grpSp>
      <p:grpSp>
        <p:nvGrpSpPr>
          <p:cNvPr id="12784" name="Gruppieren 12783">
            <a:extLst>
              <a:ext uri="{FF2B5EF4-FFF2-40B4-BE49-F238E27FC236}">
                <a16:creationId xmlns:a16="http://schemas.microsoft.com/office/drawing/2014/main" id="{4C336C68-1514-46E7-A804-C03532AC0691}"/>
              </a:ext>
            </a:extLst>
          </p:cNvPr>
          <p:cNvGrpSpPr/>
          <p:nvPr/>
        </p:nvGrpSpPr>
        <p:grpSpPr bwMode="gray">
          <a:xfrm>
            <a:off x="4319550" y="2888964"/>
            <a:ext cx="1944000" cy="1548112"/>
            <a:chOff x="4007768" y="1016792"/>
            <a:chExt cx="1944000" cy="1548112"/>
          </a:xfrm>
        </p:grpSpPr>
        <p:sp>
          <p:nvSpPr>
            <p:cNvPr id="12785" name="Textplatzhalter 4">
              <a:extLst>
                <a:ext uri="{FF2B5EF4-FFF2-40B4-BE49-F238E27FC236}">
                  <a16:creationId xmlns:a16="http://schemas.microsoft.com/office/drawing/2014/main" id="{B1440BAA-45C5-4DE5-8CB3-484B4B55DC8D}"/>
                </a:ext>
              </a:extLst>
            </p:cNvPr>
            <p:cNvSpPr txBox="1">
              <a:spLocks/>
            </p:cNvSpPr>
            <p:nvPr/>
          </p:nvSpPr>
          <p:spPr bwMode="gray">
            <a:xfrm>
              <a:off x="4007768" y="1736835"/>
              <a:ext cx="1944000" cy="828069"/>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Lorem ipsum dolor sit amet, consectetuer adipiscing elit</a:t>
              </a:r>
            </a:p>
          </p:txBody>
        </p:sp>
        <p:sp>
          <p:nvSpPr>
            <p:cNvPr id="12786" name="Textplatzhalter 3">
              <a:extLst>
                <a:ext uri="{FF2B5EF4-FFF2-40B4-BE49-F238E27FC236}">
                  <a16:creationId xmlns:a16="http://schemas.microsoft.com/office/drawing/2014/main" id="{BE60CE88-E006-4C00-B755-5CF3E276084C}"/>
                </a:ext>
              </a:extLst>
            </p:cNvPr>
            <p:cNvSpPr txBox="1">
              <a:spLocks/>
            </p:cNvSpPr>
            <p:nvPr/>
          </p:nvSpPr>
          <p:spPr bwMode="gray">
            <a:xfrm>
              <a:off x="4007768" y="1016792"/>
              <a:ext cx="194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dirty="0">
                  <a:solidFill>
                    <a:schemeClr val="accent5"/>
                  </a:solidFill>
                </a:rPr>
                <a:t>25%</a:t>
              </a:r>
            </a:p>
          </p:txBody>
        </p:sp>
        <p:cxnSp>
          <p:nvCxnSpPr>
            <p:cNvPr id="12787" name="Gerader Verbinder 12786">
              <a:extLst>
                <a:ext uri="{FF2B5EF4-FFF2-40B4-BE49-F238E27FC236}">
                  <a16:creationId xmlns:a16="http://schemas.microsoft.com/office/drawing/2014/main" id="{E44A67F7-8E41-490D-9835-1B4FEA1E0CA2}"/>
                </a:ext>
              </a:extLst>
            </p:cNvPr>
            <p:cNvCxnSpPr/>
            <p:nvPr/>
          </p:nvCxnSpPr>
          <p:spPr bwMode="gray">
            <a:xfrm>
              <a:off x="5519936" y="1556792"/>
              <a:ext cx="4316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4" name="Titel 3">
            <a:extLst>
              <a:ext uri="{FF2B5EF4-FFF2-40B4-BE49-F238E27FC236}">
                <a16:creationId xmlns:a16="http://schemas.microsoft.com/office/drawing/2014/main" id="{60EC8D8A-C876-4EC5-A94B-31EA320D0A60}"/>
              </a:ext>
            </a:extLst>
          </p:cNvPr>
          <p:cNvSpPr>
            <a:spLocks noGrp="1"/>
          </p:cNvSpPr>
          <p:nvPr>
            <p:ph type="title"/>
          </p:nvPr>
        </p:nvSpPr>
        <p:spPr bwMode="gray"/>
        <p:txBody>
          <a:bodyPr/>
          <a:lstStyle/>
          <a:p>
            <a:r>
              <a:rPr lang="en-US" dirty="0"/>
              <a:t>MEA</a:t>
            </a:r>
          </a:p>
        </p:txBody>
      </p:sp>
      <p:sp>
        <p:nvSpPr>
          <p:cNvPr id="6" name="Textplatzhalter 5">
            <a:extLst>
              <a:ext uri="{FF2B5EF4-FFF2-40B4-BE49-F238E27FC236}">
                <a16:creationId xmlns:a16="http://schemas.microsoft.com/office/drawing/2014/main" id="{7F7AE1B9-C0DD-4C83-B513-C7D60B1F96A8}"/>
              </a:ext>
            </a:extLst>
          </p:cNvPr>
          <p:cNvSpPr>
            <a:spLocks noGrp="1"/>
          </p:cNvSpPr>
          <p:nvPr>
            <p:ph type="body" sz="quarter" idx="15"/>
          </p:nvPr>
        </p:nvSpPr>
        <p:spPr bwMode="gray"/>
        <p:txBody>
          <a:bodyPr/>
          <a:lstStyle/>
          <a:p>
            <a:r>
              <a:rPr lang="en-US" dirty="0"/>
              <a:t>Lorem ipsum dolor sit amet, consectetuer adipiscing elit.</a:t>
            </a:r>
          </a:p>
          <a:p>
            <a:pPr lvl="1"/>
            <a:r>
              <a:rPr lang="en-US" dirty="0"/>
              <a:t>Maecenas porttitor congue massa. Fusce posuere, magna sed pulvinar ultricies, purus lectus malesuada libero, sit amet commodo magna eros quis urna.</a:t>
            </a:r>
          </a:p>
          <a:p>
            <a:pPr lvl="1"/>
            <a:endParaRPr lang="en-US" dirty="0"/>
          </a:p>
          <a:p>
            <a:pPr lvl="1"/>
            <a:r>
              <a:rPr lang="en-US" dirty="0"/>
              <a:t>Nunc viverra imperdiet enim. Fusce est. Vivamus a tellus.</a:t>
            </a:r>
          </a:p>
        </p:txBody>
      </p:sp>
      <p:sp>
        <p:nvSpPr>
          <p:cNvPr id="2" name="Fußzeilenplatzhalter 1">
            <a:extLst>
              <a:ext uri="{FF2B5EF4-FFF2-40B4-BE49-F238E27FC236}">
                <a16:creationId xmlns:a16="http://schemas.microsoft.com/office/drawing/2014/main" id="{BE78B917-D9FA-41C7-BB9D-521144D9E693}"/>
              </a:ext>
            </a:extLst>
          </p:cNvPr>
          <p:cNvSpPr>
            <a:spLocks noGrp="1"/>
          </p:cNvSpPr>
          <p:nvPr>
            <p:ph type="ftr" sz="quarter" idx="16"/>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11ED86AB-81C5-4793-8377-5942536828E4}"/>
              </a:ext>
            </a:extLst>
          </p:cNvPr>
          <p:cNvSpPr>
            <a:spLocks noGrp="1"/>
          </p:cNvSpPr>
          <p:nvPr>
            <p:ph type="sldNum" sz="quarter" idx="12"/>
          </p:nvPr>
        </p:nvSpPr>
        <p:spPr/>
        <p:txBody>
          <a:bodyPr/>
          <a:lstStyle/>
          <a:p>
            <a:fld id="{CE82B8A1-0CCE-4815-9668-383D7DE7D8B4}" type="slidenum">
              <a:rPr lang="en-US" noProof="0" smtClean="0"/>
              <a:pPr/>
              <a:t>73</a:t>
            </a:fld>
            <a:endParaRPr lang="en-US" noProof="0" dirty="0"/>
          </a:p>
        </p:txBody>
      </p:sp>
    </p:spTree>
    <p:extLst>
      <p:ext uri="{BB962C8B-B14F-4D97-AF65-F5344CB8AC3E}">
        <p14:creationId xmlns:p14="http://schemas.microsoft.com/office/powerpoint/2010/main" val="400780397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979" name="Gruppieren 7978">
            <a:extLst>
              <a:ext uri="{FF2B5EF4-FFF2-40B4-BE49-F238E27FC236}">
                <a16:creationId xmlns:a16="http://schemas.microsoft.com/office/drawing/2014/main" id="{9551CB70-E4F9-4894-8E4D-8208A95D9782}"/>
              </a:ext>
            </a:extLst>
          </p:cNvPr>
          <p:cNvGrpSpPr/>
          <p:nvPr/>
        </p:nvGrpSpPr>
        <p:grpSpPr bwMode="gray">
          <a:xfrm>
            <a:off x="5430133" y="1196976"/>
            <a:ext cx="1944000" cy="1548112"/>
            <a:chOff x="4007768" y="1016792"/>
            <a:chExt cx="1944000" cy="1548112"/>
          </a:xfrm>
        </p:grpSpPr>
        <p:sp>
          <p:nvSpPr>
            <p:cNvPr id="7980" name="Textplatzhalter 4">
              <a:extLst>
                <a:ext uri="{FF2B5EF4-FFF2-40B4-BE49-F238E27FC236}">
                  <a16:creationId xmlns:a16="http://schemas.microsoft.com/office/drawing/2014/main" id="{A1F9D76C-28FE-449B-919C-739A67E2B8AD}"/>
                </a:ext>
              </a:extLst>
            </p:cNvPr>
            <p:cNvSpPr txBox="1">
              <a:spLocks/>
            </p:cNvSpPr>
            <p:nvPr/>
          </p:nvSpPr>
          <p:spPr bwMode="gray">
            <a:xfrm>
              <a:off x="4007768" y="1736835"/>
              <a:ext cx="1944000" cy="828069"/>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Lorem ipsum dolor sit amet, consectetuer adipiscing elit</a:t>
              </a:r>
            </a:p>
          </p:txBody>
        </p:sp>
        <p:sp>
          <p:nvSpPr>
            <p:cNvPr id="7981" name="Textplatzhalter 3">
              <a:extLst>
                <a:ext uri="{FF2B5EF4-FFF2-40B4-BE49-F238E27FC236}">
                  <a16:creationId xmlns:a16="http://schemas.microsoft.com/office/drawing/2014/main" id="{0D5FF688-E60D-4899-B39A-CF4B048C184A}"/>
                </a:ext>
              </a:extLst>
            </p:cNvPr>
            <p:cNvSpPr txBox="1">
              <a:spLocks/>
            </p:cNvSpPr>
            <p:nvPr/>
          </p:nvSpPr>
          <p:spPr bwMode="gray">
            <a:xfrm>
              <a:off x="4007768" y="1016792"/>
              <a:ext cx="194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dirty="0">
                  <a:solidFill>
                    <a:schemeClr val="accent5"/>
                  </a:solidFill>
                </a:rPr>
                <a:t>25%</a:t>
              </a:r>
            </a:p>
          </p:txBody>
        </p:sp>
        <p:cxnSp>
          <p:nvCxnSpPr>
            <p:cNvPr id="7982" name="Gerader Verbinder 7981">
              <a:extLst>
                <a:ext uri="{FF2B5EF4-FFF2-40B4-BE49-F238E27FC236}">
                  <a16:creationId xmlns:a16="http://schemas.microsoft.com/office/drawing/2014/main" id="{3D24C82C-A252-49F6-9A40-FD14DF6EB34E}"/>
                </a:ext>
              </a:extLst>
            </p:cNvPr>
            <p:cNvCxnSpPr/>
            <p:nvPr/>
          </p:nvCxnSpPr>
          <p:spPr bwMode="gray">
            <a:xfrm>
              <a:off x="5519936" y="1556792"/>
              <a:ext cx="4316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983" name="Gruppieren 7982">
            <a:extLst>
              <a:ext uri="{FF2B5EF4-FFF2-40B4-BE49-F238E27FC236}">
                <a16:creationId xmlns:a16="http://schemas.microsoft.com/office/drawing/2014/main" id="{2475BD56-C51A-4757-98B8-BD87D106EBA8}"/>
              </a:ext>
            </a:extLst>
          </p:cNvPr>
          <p:cNvGrpSpPr/>
          <p:nvPr/>
        </p:nvGrpSpPr>
        <p:grpSpPr bwMode="gray">
          <a:xfrm>
            <a:off x="4160380" y="3768725"/>
            <a:ext cx="3240360" cy="3240360"/>
            <a:chOff x="4295800" y="4005064"/>
            <a:chExt cx="3240360" cy="3240360"/>
          </a:xfrm>
        </p:grpSpPr>
        <p:sp>
          <p:nvSpPr>
            <p:cNvPr id="7984" name="Ellipse 7983">
              <a:extLst>
                <a:ext uri="{FF2B5EF4-FFF2-40B4-BE49-F238E27FC236}">
                  <a16:creationId xmlns:a16="http://schemas.microsoft.com/office/drawing/2014/main" id="{20B761D1-6408-4CD2-866C-622170959042}"/>
                </a:ext>
              </a:extLst>
            </p:cNvPr>
            <p:cNvSpPr/>
            <p:nvPr/>
          </p:nvSpPr>
          <p:spPr bwMode="gray">
            <a:xfrm>
              <a:off x="4295800" y="4005064"/>
              <a:ext cx="3240360" cy="3240360"/>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85" name="Textplatzhalter 4">
              <a:extLst>
                <a:ext uri="{FF2B5EF4-FFF2-40B4-BE49-F238E27FC236}">
                  <a16:creationId xmlns:a16="http://schemas.microsoft.com/office/drawing/2014/main" id="{E8578B2A-C5B1-40C0-8C35-98ED27C3F8C0}"/>
                </a:ext>
              </a:extLst>
            </p:cNvPr>
            <p:cNvSpPr txBox="1">
              <a:spLocks/>
            </p:cNvSpPr>
            <p:nvPr/>
          </p:nvSpPr>
          <p:spPr bwMode="gray">
            <a:xfrm>
              <a:off x="5015880" y="5491063"/>
              <a:ext cx="1944000" cy="828069"/>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solidFill>
                    <a:schemeClr val="bg1"/>
                  </a:solidFill>
                </a:rPr>
                <a:t>Lorem ipsum dolor sit amet, consectetuer adipiscing elit</a:t>
              </a:r>
            </a:p>
          </p:txBody>
        </p:sp>
        <p:sp>
          <p:nvSpPr>
            <p:cNvPr id="7986" name="Textplatzhalter 3">
              <a:extLst>
                <a:ext uri="{FF2B5EF4-FFF2-40B4-BE49-F238E27FC236}">
                  <a16:creationId xmlns:a16="http://schemas.microsoft.com/office/drawing/2014/main" id="{ABC94495-7FE0-45DD-856D-247FB452FA5A}"/>
                </a:ext>
              </a:extLst>
            </p:cNvPr>
            <p:cNvSpPr txBox="1">
              <a:spLocks/>
            </p:cNvSpPr>
            <p:nvPr/>
          </p:nvSpPr>
          <p:spPr bwMode="gray">
            <a:xfrm>
              <a:off x="5015880" y="4771020"/>
              <a:ext cx="194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dirty="0">
                  <a:solidFill>
                    <a:schemeClr val="bg1"/>
                  </a:solidFill>
                </a:rPr>
                <a:t>25%</a:t>
              </a:r>
            </a:p>
          </p:txBody>
        </p:sp>
      </p:grpSp>
      <p:grpSp>
        <p:nvGrpSpPr>
          <p:cNvPr id="7987" name="Gruppieren 7986">
            <a:extLst>
              <a:ext uri="{FF2B5EF4-FFF2-40B4-BE49-F238E27FC236}">
                <a16:creationId xmlns:a16="http://schemas.microsoft.com/office/drawing/2014/main" id="{CEA2A680-6C3F-4EA4-AE74-51A5CCEE37CE}"/>
              </a:ext>
            </a:extLst>
          </p:cNvPr>
          <p:cNvGrpSpPr/>
          <p:nvPr/>
        </p:nvGrpSpPr>
        <p:grpSpPr bwMode="gray">
          <a:xfrm>
            <a:off x="8382143" y="4111625"/>
            <a:ext cx="1944000" cy="1548112"/>
            <a:chOff x="4007768" y="1016792"/>
            <a:chExt cx="1944000" cy="1548112"/>
          </a:xfrm>
        </p:grpSpPr>
        <p:sp>
          <p:nvSpPr>
            <p:cNvPr id="7988" name="Textplatzhalter 4">
              <a:extLst>
                <a:ext uri="{FF2B5EF4-FFF2-40B4-BE49-F238E27FC236}">
                  <a16:creationId xmlns:a16="http://schemas.microsoft.com/office/drawing/2014/main" id="{A4AED3C2-FF1C-4DB8-80A7-5744442DAFF1}"/>
                </a:ext>
              </a:extLst>
            </p:cNvPr>
            <p:cNvSpPr txBox="1">
              <a:spLocks/>
            </p:cNvSpPr>
            <p:nvPr/>
          </p:nvSpPr>
          <p:spPr bwMode="gray">
            <a:xfrm>
              <a:off x="4007768" y="1736835"/>
              <a:ext cx="1944000" cy="828069"/>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Lorem ipsum dolor sit amet, consectetuer adipiscing elit</a:t>
              </a:r>
            </a:p>
          </p:txBody>
        </p:sp>
        <p:sp>
          <p:nvSpPr>
            <p:cNvPr id="7989" name="Textplatzhalter 3">
              <a:extLst>
                <a:ext uri="{FF2B5EF4-FFF2-40B4-BE49-F238E27FC236}">
                  <a16:creationId xmlns:a16="http://schemas.microsoft.com/office/drawing/2014/main" id="{EAD65064-63EE-48C9-9545-330E50A451A2}"/>
                </a:ext>
              </a:extLst>
            </p:cNvPr>
            <p:cNvSpPr txBox="1">
              <a:spLocks/>
            </p:cNvSpPr>
            <p:nvPr/>
          </p:nvSpPr>
          <p:spPr bwMode="gray">
            <a:xfrm>
              <a:off x="4007768" y="1016792"/>
              <a:ext cx="194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dirty="0">
                  <a:solidFill>
                    <a:schemeClr val="accent5"/>
                  </a:solidFill>
                </a:rPr>
                <a:t>25%</a:t>
              </a:r>
            </a:p>
          </p:txBody>
        </p:sp>
        <p:cxnSp>
          <p:nvCxnSpPr>
            <p:cNvPr id="7990" name="Gerader Verbinder 7989">
              <a:extLst>
                <a:ext uri="{FF2B5EF4-FFF2-40B4-BE49-F238E27FC236}">
                  <a16:creationId xmlns:a16="http://schemas.microsoft.com/office/drawing/2014/main" id="{EB69E767-D611-4FEA-973F-FFF1DCDDC72E}"/>
                </a:ext>
              </a:extLst>
            </p:cNvPr>
            <p:cNvCxnSpPr/>
            <p:nvPr/>
          </p:nvCxnSpPr>
          <p:spPr bwMode="gray">
            <a:xfrm>
              <a:off x="5519936" y="1556792"/>
              <a:ext cx="4316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4" name="Titel 3">
            <a:extLst>
              <a:ext uri="{FF2B5EF4-FFF2-40B4-BE49-F238E27FC236}">
                <a16:creationId xmlns:a16="http://schemas.microsoft.com/office/drawing/2014/main" id="{60EC8D8A-C876-4EC5-A94B-31EA320D0A60}"/>
              </a:ext>
            </a:extLst>
          </p:cNvPr>
          <p:cNvSpPr>
            <a:spLocks noGrp="1"/>
          </p:cNvSpPr>
          <p:nvPr>
            <p:ph type="title"/>
          </p:nvPr>
        </p:nvSpPr>
        <p:spPr bwMode="gray"/>
        <p:txBody>
          <a:bodyPr/>
          <a:lstStyle/>
          <a:p>
            <a:r>
              <a:rPr lang="en-US" dirty="0"/>
              <a:t>North America</a:t>
            </a:r>
          </a:p>
        </p:txBody>
      </p:sp>
      <p:sp>
        <p:nvSpPr>
          <p:cNvPr id="6" name="Textplatzhalter 5">
            <a:extLst>
              <a:ext uri="{FF2B5EF4-FFF2-40B4-BE49-F238E27FC236}">
                <a16:creationId xmlns:a16="http://schemas.microsoft.com/office/drawing/2014/main" id="{7F7AE1B9-C0DD-4C83-B513-C7D60B1F96A8}"/>
              </a:ext>
            </a:extLst>
          </p:cNvPr>
          <p:cNvSpPr>
            <a:spLocks noGrp="1"/>
          </p:cNvSpPr>
          <p:nvPr>
            <p:ph type="body" sz="quarter" idx="15"/>
          </p:nvPr>
        </p:nvSpPr>
        <p:spPr bwMode="gray"/>
        <p:txBody>
          <a:bodyPr/>
          <a:lstStyle/>
          <a:p>
            <a:r>
              <a:rPr lang="en-US" dirty="0"/>
              <a:t>Lorem ipsum dolor sit amet, consectetuer adipiscing elit.</a:t>
            </a:r>
          </a:p>
          <a:p>
            <a:pPr lvl="1"/>
            <a:r>
              <a:rPr lang="en-US" dirty="0"/>
              <a:t>Maecenas porttitor congue massa. Fusce posuere, magna sed pulvinar ultricies, purus lectus malesuada libero, sit amet commodo magna eros quis urna.</a:t>
            </a:r>
          </a:p>
          <a:p>
            <a:pPr lvl="1"/>
            <a:endParaRPr lang="en-US" dirty="0"/>
          </a:p>
          <a:p>
            <a:pPr lvl="1"/>
            <a:r>
              <a:rPr lang="en-US" dirty="0"/>
              <a:t>Nunc viverra imperdiet enim. Fusce est. Vivamus a tellus.</a:t>
            </a:r>
          </a:p>
        </p:txBody>
      </p:sp>
      <p:sp>
        <p:nvSpPr>
          <p:cNvPr id="2887" name="Freeform 408">
            <a:extLst>
              <a:ext uri="{FF2B5EF4-FFF2-40B4-BE49-F238E27FC236}">
                <a16:creationId xmlns:a16="http://schemas.microsoft.com/office/drawing/2014/main" id="{500AEA2F-00B5-46B2-8C22-C09F752E4E3D}"/>
              </a:ext>
            </a:extLst>
          </p:cNvPr>
          <p:cNvSpPr>
            <a:spLocks noEditPoints="1"/>
          </p:cNvSpPr>
          <p:nvPr/>
        </p:nvSpPr>
        <p:spPr bwMode="gray">
          <a:xfrm>
            <a:off x="8536225" y="461209"/>
            <a:ext cx="2939269" cy="2331389"/>
          </a:xfrm>
          <a:custGeom>
            <a:avLst/>
            <a:gdLst>
              <a:gd name="T0" fmla="*/ 3990 w 6201"/>
              <a:gd name="T1" fmla="*/ 834 h 4918"/>
              <a:gd name="T2" fmla="*/ 4108 w 6201"/>
              <a:gd name="T3" fmla="*/ 345 h 4918"/>
              <a:gd name="T4" fmla="*/ 4805 w 6201"/>
              <a:gd name="T5" fmla="*/ 74 h 4918"/>
              <a:gd name="T6" fmla="*/ 4465 w 6201"/>
              <a:gd name="T7" fmla="*/ 629 h 4918"/>
              <a:gd name="T8" fmla="*/ 3418 w 6201"/>
              <a:gd name="T9" fmla="*/ 638 h 4918"/>
              <a:gd name="T10" fmla="*/ 3721 w 6201"/>
              <a:gd name="T11" fmla="*/ 711 h 4918"/>
              <a:gd name="T12" fmla="*/ 3239 w 6201"/>
              <a:gd name="T13" fmla="*/ 806 h 4918"/>
              <a:gd name="T14" fmla="*/ 3352 w 6201"/>
              <a:gd name="T15" fmla="*/ 905 h 4918"/>
              <a:gd name="T16" fmla="*/ 3504 w 6201"/>
              <a:gd name="T17" fmla="*/ 978 h 4918"/>
              <a:gd name="T18" fmla="*/ 3440 w 6201"/>
              <a:gd name="T19" fmla="*/ 1292 h 4918"/>
              <a:gd name="T20" fmla="*/ 3078 w 6201"/>
              <a:gd name="T21" fmla="*/ 1044 h 4918"/>
              <a:gd name="T22" fmla="*/ 2327 w 6201"/>
              <a:gd name="T23" fmla="*/ 1292 h 4918"/>
              <a:gd name="T24" fmla="*/ 2899 w 6201"/>
              <a:gd name="T25" fmla="*/ 1222 h 4918"/>
              <a:gd name="T26" fmla="*/ 1276 w 6201"/>
              <a:gd name="T27" fmla="*/ 1160 h 4918"/>
              <a:gd name="T28" fmla="*/ 3062 w 6201"/>
              <a:gd name="T29" fmla="*/ 1366 h 4918"/>
              <a:gd name="T30" fmla="*/ 2948 w 6201"/>
              <a:gd name="T31" fmla="*/ 1486 h 4918"/>
              <a:gd name="T32" fmla="*/ 3910 w 6201"/>
              <a:gd name="T33" fmla="*/ 1992 h 4918"/>
              <a:gd name="T34" fmla="*/ 3990 w 6201"/>
              <a:gd name="T35" fmla="*/ 1526 h 4918"/>
              <a:gd name="T36" fmla="*/ 4729 w 6201"/>
              <a:gd name="T37" fmla="*/ 1826 h 4918"/>
              <a:gd name="T38" fmla="*/ 5138 w 6201"/>
              <a:gd name="T39" fmla="*/ 2119 h 4918"/>
              <a:gd name="T40" fmla="*/ 5490 w 6201"/>
              <a:gd name="T41" fmla="*/ 2374 h 4918"/>
              <a:gd name="T42" fmla="*/ 5183 w 6201"/>
              <a:gd name="T43" fmla="*/ 2452 h 4918"/>
              <a:gd name="T44" fmla="*/ 5145 w 6201"/>
              <a:gd name="T45" fmla="*/ 2847 h 4918"/>
              <a:gd name="T46" fmla="*/ 4611 w 6201"/>
              <a:gd name="T47" fmla="*/ 2613 h 4918"/>
              <a:gd name="T48" fmla="*/ 4460 w 6201"/>
              <a:gd name="T49" fmla="*/ 1515 h 4918"/>
              <a:gd name="T50" fmla="*/ 1928 w 6201"/>
              <a:gd name="T51" fmla="*/ 2115 h 4918"/>
              <a:gd name="T52" fmla="*/ 2301 w 6201"/>
              <a:gd name="T53" fmla="*/ 1737 h 4918"/>
              <a:gd name="T54" fmla="*/ 4318 w 6201"/>
              <a:gd name="T55" fmla="*/ 1682 h 4918"/>
              <a:gd name="T56" fmla="*/ 1226 w 6201"/>
              <a:gd name="T57" fmla="*/ 4222 h 4918"/>
              <a:gd name="T58" fmla="*/ 898 w 6201"/>
              <a:gd name="T59" fmla="*/ 3933 h 4918"/>
              <a:gd name="T60" fmla="*/ 600 w 6201"/>
              <a:gd name="T61" fmla="*/ 2025 h 4918"/>
              <a:gd name="T62" fmla="*/ 1167 w 6201"/>
              <a:gd name="T63" fmla="*/ 2070 h 4918"/>
              <a:gd name="T64" fmla="*/ 2500 w 6201"/>
              <a:gd name="T65" fmla="*/ 2181 h 4918"/>
              <a:gd name="T66" fmla="*/ 3310 w 6201"/>
              <a:gd name="T67" fmla="*/ 2103 h 4918"/>
              <a:gd name="T68" fmla="*/ 3693 w 6201"/>
              <a:gd name="T69" fmla="*/ 2252 h 4918"/>
              <a:gd name="T70" fmla="*/ 3801 w 6201"/>
              <a:gd name="T71" fmla="*/ 2429 h 4918"/>
              <a:gd name="T72" fmla="*/ 3239 w 6201"/>
              <a:gd name="T73" fmla="*/ 3263 h 4918"/>
              <a:gd name="T74" fmla="*/ 4378 w 6201"/>
              <a:gd name="T75" fmla="*/ 3279 h 4918"/>
              <a:gd name="T76" fmla="*/ 5124 w 6201"/>
              <a:gd name="T77" fmla="*/ 3317 h 4918"/>
              <a:gd name="T78" fmla="*/ 5544 w 6201"/>
              <a:gd name="T79" fmla="*/ 3506 h 4918"/>
              <a:gd name="T80" fmla="*/ 5939 w 6201"/>
              <a:gd name="T81" fmla="*/ 3832 h 4918"/>
              <a:gd name="T82" fmla="*/ 5544 w 6201"/>
              <a:gd name="T83" fmla="*/ 4552 h 4918"/>
              <a:gd name="T84" fmla="*/ 4772 w 6201"/>
              <a:gd name="T85" fmla="*/ 1781 h 4918"/>
              <a:gd name="T86" fmla="*/ 3019 w 6201"/>
              <a:gd name="T87" fmla="*/ 2065 h 4918"/>
              <a:gd name="T88" fmla="*/ 378 w 6201"/>
              <a:gd name="T89" fmla="*/ 2119 h 4918"/>
              <a:gd name="T90" fmla="*/ 3563 w 6201"/>
              <a:gd name="T91" fmla="*/ 2115 h 4918"/>
              <a:gd name="T92" fmla="*/ 2861 w 6201"/>
              <a:gd name="T93" fmla="*/ 2209 h 4918"/>
              <a:gd name="T94" fmla="*/ 2306 w 6201"/>
              <a:gd name="T95" fmla="*/ 2308 h 4918"/>
              <a:gd name="T96" fmla="*/ 4016 w 6201"/>
              <a:gd name="T97" fmla="*/ 2502 h 4918"/>
              <a:gd name="T98" fmla="*/ 5523 w 6201"/>
              <a:gd name="T99" fmla="*/ 2523 h 4918"/>
              <a:gd name="T100" fmla="*/ 4422 w 6201"/>
              <a:gd name="T101" fmla="*/ 2724 h 4918"/>
              <a:gd name="T102" fmla="*/ 4125 w 6201"/>
              <a:gd name="T103" fmla="*/ 2840 h 4918"/>
              <a:gd name="T104" fmla="*/ 5365 w 6201"/>
              <a:gd name="T105" fmla="*/ 3135 h 4918"/>
              <a:gd name="T106" fmla="*/ 4285 w 6201"/>
              <a:gd name="T107" fmla="*/ 3499 h 4918"/>
              <a:gd name="T108" fmla="*/ 763 w 6201"/>
              <a:gd name="T109" fmla="*/ 3683 h 4918"/>
              <a:gd name="T110" fmla="*/ 832 w 6201"/>
              <a:gd name="T111" fmla="*/ 3848 h 4918"/>
              <a:gd name="T112" fmla="*/ 811 w 6201"/>
              <a:gd name="T113" fmla="*/ 3860 h 4918"/>
              <a:gd name="T114" fmla="*/ 903 w 6201"/>
              <a:gd name="T115" fmla="*/ 3966 h 4918"/>
              <a:gd name="T116" fmla="*/ 5970 w 6201"/>
              <a:gd name="T117" fmla="*/ 4387 h 4918"/>
              <a:gd name="T118" fmla="*/ 6116 w 6201"/>
              <a:gd name="T119" fmla="*/ 4316 h 4918"/>
              <a:gd name="T120" fmla="*/ 1016 w 6201"/>
              <a:gd name="T121" fmla="*/ 4111 h 4918"/>
              <a:gd name="T122" fmla="*/ 6041 w 6201"/>
              <a:gd name="T123" fmla="*/ 4210 h 4918"/>
              <a:gd name="T124" fmla="*/ 5377 w 6201"/>
              <a:gd name="T125" fmla="*/ 4481 h 4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01" h="4918">
                <a:moveTo>
                  <a:pt x="4389" y="1099"/>
                </a:moveTo>
                <a:lnTo>
                  <a:pt x="4368" y="1082"/>
                </a:lnTo>
                <a:lnTo>
                  <a:pt x="4323" y="1122"/>
                </a:lnTo>
                <a:lnTo>
                  <a:pt x="4205" y="1144"/>
                </a:lnTo>
                <a:lnTo>
                  <a:pt x="4205" y="1139"/>
                </a:lnTo>
                <a:lnTo>
                  <a:pt x="4226" y="1106"/>
                </a:lnTo>
                <a:lnTo>
                  <a:pt x="4189" y="1087"/>
                </a:lnTo>
                <a:lnTo>
                  <a:pt x="4172" y="1099"/>
                </a:lnTo>
                <a:lnTo>
                  <a:pt x="4134" y="1087"/>
                </a:lnTo>
                <a:lnTo>
                  <a:pt x="4141" y="1082"/>
                </a:lnTo>
                <a:lnTo>
                  <a:pt x="4134" y="1070"/>
                </a:lnTo>
                <a:lnTo>
                  <a:pt x="4158" y="1066"/>
                </a:lnTo>
                <a:lnTo>
                  <a:pt x="4120" y="1070"/>
                </a:lnTo>
                <a:lnTo>
                  <a:pt x="4087" y="1044"/>
                </a:lnTo>
                <a:lnTo>
                  <a:pt x="4104" y="1070"/>
                </a:lnTo>
                <a:lnTo>
                  <a:pt x="4134" y="1082"/>
                </a:lnTo>
                <a:lnTo>
                  <a:pt x="4120" y="1087"/>
                </a:lnTo>
                <a:lnTo>
                  <a:pt x="4125" y="1099"/>
                </a:lnTo>
                <a:lnTo>
                  <a:pt x="4066" y="1106"/>
                </a:lnTo>
                <a:lnTo>
                  <a:pt x="4044" y="1049"/>
                </a:lnTo>
                <a:lnTo>
                  <a:pt x="4033" y="1066"/>
                </a:lnTo>
                <a:lnTo>
                  <a:pt x="4049" y="1082"/>
                </a:lnTo>
                <a:lnTo>
                  <a:pt x="4054" y="1106"/>
                </a:lnTo>
                <a:lnTo>
                  <a:pt x="4016" y="1106"/>
                </a:lnTo>
                <a:lnTo>
                  <a:pt x="3978" y="1066"/>
                </a:lnTo>
                <a:lnTo>
                  <a:pt x="3990" y="1070"/>
                </a:lnTo>
                <a:lnTo>
                  <a:pt x="3978" y="1087"/>
                </a:lnTo>
                <a:lnTo>
                  <a:pt x="3990" y="1099"/>
                </a:lnTo>
                <a:lnTo>
                  <a:pt x="3957" y="1106"/>
                </a:lnTo>
                <a:lnTo>
                  <a:pt x="3924" y="1082"/>
                </a:lnTo>
                <a:lnTo>
                  <a:pt x="3936" y="1106"/>
                </a:lnTo>
                <a:lnTo>
                  <a:pt x="3974" y="1122"/>
                </a:lnTo>
                <a:lnTo>
                  <a:pt x="3936" y="1122"/>
                </a:lnTo>
                <a:lnTo>
                  <a:pt x="3834" y="1111"/>
                </a:lnTo>
                <a:lnTo>
                  <a:pt x="3827" y="1099"/>
                </a:lnTo>
                <a:lnTo>
                  <a:pt x="3839" y="1087"/>
                </a:lnTo>
                <a:lnTo>
                  <a:pt x="3818" y="1070"/>
                </a:lnTo>
                <a:lnTo>
                  <a:pt x="3834" y="1087"/>
                </a:lnTo>
                <a:lnTo>
                  <a:pt x="3811" y="1099"/>
                </a:lnTo>
                <a:lnTo>
                  <a:pt x="3811" y="1111"/>
                </a:lnTo>
                <a:lnTo>
                  <a:pt x="3759" y="1099"/>
                </a:lnTo>
                <a:lnTo>
                  <a:pt x="3747" y="1070"/>
                </a:lnTo>
                <a:lnTo>
                  <a:pt x="3747" y="1099"/>
                </a:lnTo>
                <a:lnTo>
                  <a:pt x="3759" y="1111"/>
                </a:lnTo>
                <a:lnTo>
                  <a:pt x="3688" y="1106"/>
                </a:lnTo>
                <a:lnTo>
                  <a:pt x="3693" y="1087"/>
                </a:lnTo>
                <a:lnTo>
                  <a:pt x="3676" y="1070"/>
                </a:lnTo>
                <a:lnTo>
                  <a:pt x="3688" y="1044"/>
                </a:lnTo>
                <a:lnTo>
                  <a:pt x="3671" y="1054"/>
                </a:lnTo>
                <a:lnTo>
                  <a:pt x="3676" y="1082"/>
                </a:lnTo>
                <a:lnTo>
                  <a:pt x="3671" y="1106"/>
                </a:lnTo>
                <a:lnTo>
                  <a:pt x="3671" y="1082"/>
                </a:lnTo>
                <a:lnTo>
                  <a:pt x="3655" y="1106"/>
                </a:lnTo>
                <a:lnTo>
                  <a:pt x="3600" y="1082"/>
                </a:lnTo>
                <a:lnTo>
                  <a:pt x="3617" y="1066"/>
                </a:lnTo>
                <a:lnTo>
                  <a:pt x="3612" y="1044"/>
                </a:lnTo>
                <a:lnTo>
                  <a:pt x="3688" y="1000"/>
                </a:lnTo>
                <a:lnTo>
                  <a:pt x="3676" y="1000"/>
                </a:lnTo>
                <a:lnTo>
                  <a:pt x="3801" y="988"/>
                </a:lnTo>
                <a:lnTo>
                  <a:pt x="3773" y="988"/>
                </a:lnTo>
                <a:lnTo>
                  <a:pt x="3796" y="978"/>
                </a:lnTo>
                <a:lnTo>
                  <a:pt x="3773" y="971"/>
                </a:lnTo>
                <a:lnTo>
                  <a:pt x="3796" y="962"/>
                </a:lnTo>
                <a:lnTo>
                  <a:pt x="3742" y="962"/>
                </a:lnTo>
                <a:lnTo>
                  <a:pt x="3730" y="955"/>
                </a:lnTo>
                <a:lnTo>
                  <a:pt x="3742" y="943"/>
                </a:lnTo>
                <a:lnTo>
                  <a:pt x="3742" y="933"/>
                </a:lnTo>
                <a:lnTo>
                  <a:pt x="3704" y="917"/>
                </a:lnTo>
                <a:lnTo>
                  <a:pt x="3709" y="889"/>
                </a:lnTo>
                <a:lnTo>
                  <a:pt x="3773" y="884"/>
                </a:lnTo>
                <a:lnTo>
                  <a:pt x="3827" y="889"/>
                </a:lnTo>
                <a:lnTo>
                  <a:pt x="3855" y="905"/>
                </a:lnTo>
                <a:lnTo>
                  <a:pt x="3881" y="943"/>
                </a:lnTo>
                <a:lnTo>
                  <a:pt x="3872" y="955"/>
                </a:lnTo>
                <a:lnTo>
                  <a:pt x="3886" y="943"/>
                </a:lnTo>
                <a:lnTo>
                  <a:pt x="3962" y="971"/>
                </a:lnTo>
                <a:lnTo>
                  <a:pt x="3957" y="955"/>
                </a:lnTo>
                <a:lnTo>
                  <a:pt x="4033" y="962"/>
                </a:lnTo>
                <a:lnTo>
                  <a:pt x="4011" y="943"/>
                </a:lnTo>
                <a:lnTo>
                  <a:pt x="4049" y="933"/>
                </a:lnTo>
                <a:lnTo>
                  <a:pt x="4104" y="877"/>
                </a:lnTo>
                <a:lnTo>
                  <a:pt x="4096" y="860"/>
                </a:lnTo>
                <a:lnTo>
                  <a:pt x="4120" y="851"/>
                </a:lnTo>
                <a:lnTo>
                  <a:pt x="4082" y="860"/>
                </a:lnTo>
                <a:lnTo>
                  <a:pt x="4087" y="877"/>
                </a:lnTo>
                <a:lnTo>
                  <a:pt x="4044" y="922"/>
                </a:lnTo>
                <a:lnTo>
                  <a:pt x="4000" y="938"/>
                </a:lnTo>
                <a:lnTo>
                  <a:pt x="3941" y="938"/>
                </a:lnTo>
                <a:lnTo>
                  <a:pt x="3936" y="933"/>
                </a:lnTo>
                <a:lnTo>
                  <a:pt x="3962" y="905"/>
                </a:lnTo>
                <a:lnTo>
                  <a:pt x="3936" y="922"/>
                </a:lnTo>
                <a:lnTo>
                  <a:pt x="3903" y="905"/>
                </a:lnTo>
                <a:lnTo>
                  <a:pt x="3924" y="889"/>
                </a:lnTo>
                <a:lnTo>
                  <a:pt x="3903" y="889"/>
                </a:lnTo>
                <a:lnTo>
                  <a:pt x="3974" y="884"/>
                </a:lnTo>
                <a:lnTo>
                  <a:pt x="3893" y="884"/>
                </a:lnTo>
                <a:lnTo>
                  <a:pt x="3881" y="877"/>
                </a:lnTo>
                <a:lnTo>
                  <a:pt x="3924" y="851"/>
                </a:lnTo>
                <a:lnTo>
                  <a:pt x="3978" y="851"/>
                </a:lnTo>
                <a:lnTo>
                  <a:pt x="3919" y="851"/>
                </a:lnTo>
                <a:lnTo>
                  <a:pt x="3924" y="834"/>
                </a:lnTo>
                <a:lnTo>
                  <a:pt x="3990" y="834"/>
                </a:lnTo>
                <a:lnTo>
                  <a:pt x="3936" y="827"/>
                </a:lnTo>
                <a:lnTo>
                  <a:pt x="3941" y="811"/>
                </a:lnTo>
                <a:lnTo>
                  <a:pt x="3957" y="811"/>
                </a:lnTo>
                <a:lnTo>
                  <a:pt x="3936" y="806"/>
                </a:lnTo>
                <a:lnTo>
                  <a:pt x="3957" y="773"/>
                </a:lnTo>
                <a:lnTo>
                  <a:pt x="3924" y="794"/>
                </a:lnTo>
                <a:lnTo>
                  <a:pt x="3936" y="811"/>
                </a:lnTo>
                <a:lnTo>
                  <a:pt x="3893" y="844"/>
                </a:lnTo>
                <a:lnTo>
                  <a:pt x="3839" y="851"/>
                </a:lnTo>
                <a:lnTo>
                  <a:pt x="3839" y="834"/>
                </a:lnTo>
                <a:lnTo>
                  <a:pt x="3865" y="827"/>
                </a:lnTo>
                <a:lnTo>
                  <a:pt x="3872" y="806"/>
                </a:lnTo>
                <a:lnTo>
                  <a:pt x="3848" y="827"/>
                </a:lnTo>
                <a:lnTo>
                  <a:pt x="3801" y="844"/>
                </a:lnTo>
                <a:lnTo>
                  <a:pt x="3747" y="844"/>
                </a:lnTo>
                <a:lnTo>
                  <a:pt x="3780" y="827"/>
                </a:lnTo>
                <a:lnTo>
                  <a:pt x="3747" y="827"/>
                </a:lnTo>
                <a:lnTo>
                  <a:pt x="3747" y="794"/>
                </a:lnTo>
                <a:lnTo>
                  <a:pt x="3780" y="778"/>
                </a:lnTo>
                <a:lnTo>
                  <a:pt x="3796" y="778"/>
                </a:lnTo>
                <a:lnTo>
                  <a:pt x="3780" y="773"/>
                </a:lnTo>
                <a:lnTo>
                  <a:pt x="3796" y="749"/>
                </a:lnTo>
                <a:lnTo>
                  <a:pt x="3924" y="716"/>
                </a:lnTo>
                <a:lnTo>
                  <a:pt x="4016" y="733"/>
                </a:lnTo>
                <a:lnTo>
                  <a:pt x="4108" y="773"/>
                </a:lnTo>
                <a:lnTo>
                  <a:pt x="4120" y="773"/>
                </a:lnTo>
                <a:lnTo>
                  <a:pt x="4096" y="756"/>
                </a:lnTo>
                <a:lnTo>
                  <a:pt x="4125" y="749"/>
                </a:lnTo>
                <a:lnTo>
                  <a:pt x="4082" y="749"/>
                </a:lnTo>
                <a:lnTo>
                  <a:pt x="4049" y="733"/>
                </a:lnTo>
                <a:lnTo>
                  <a:pt x="4158" y="733"/>
                </a:lnTo>
                <a:lnTo>
                  <a:pt x="4158" y="711"/>
                </a:lnTo>
                <a:lnTo>
                  <a:pt x="4172" y="700"/>
                </a:lnTo>
                <a:lnTo>
                  <a:pt x="4104" y="723"/>
                </a:lnTo>
                <a:lnTo>
                  <a:pt x="3945" y="700"/>
                </a:lnTo>
                <a:lnTo>
                  <a:pt x="3941" y="695"/>
                </a:lnTo>
                <a:lnTo>
                  <a:pt x="3962" y="683"/>
                </a:lnTo>
                <a:lnTo>
                  <a:pt x="4000" y="700"/>
                </a:lnTo>
                <a:lnTo>
                  <a:pt x="4044" y="700"/>
                </a:lnTo>
                <a:lnTo>
                  <a:pt x="3995" y="678"/>
                </a:lnTo>
                <a:lnTo>
                  <a:pt x="4000" y="667"/>
                </a:lnTo>
                <a:lnTo>
                  <a:pt x="3974" y="678"/>
                </a:lnTo>
                <a:lnTo>
                  <a:pt x="3962" y="638"/>
                </a:lnTo>
                <a:lnTo>
                  <a:pt x="3936" y="629"/>
                </a:lnTo>
                <a:lnTo>
                  <a:pt x="3924" y="605"/>
                </a:lnTo>
                <a:lnTo>
                  <a:pt x="3827" y="584"/>
                </a:lnTo>
                <a:lnTo>
                  <a:pt x="3827" y="556"/>
                </a:lnTo>
                <a:lnTo>
                  <a:pt x="3834" y="551"/>
                </a:lnTo>
                <a:lnTo>
                  <a:pt x="3910" y="556"/>
                </a:lnTo>
                <a:lnTo>
                  <a:pt x="3827" y="544"/>
                </a:lnTo>
                <a:lnTo>
                  <a:pt x="3811" y="527"/>
                </a:lnTo>
                <a:lnTo>
                  <a:pt x="3818" y="494"/>
                </a:lnTo>
                <a:lnTo>
                  <a:pt x="4011" y="501"/>
                </a:lnTo>
                <a:lnTo>
                  <a:pt x="4125" y="567"/>
                </a:lnTo>
                <a:lnTo>
                  <a:pt x="4141" y="589"/>
                </a:lnTo>
                <a:lnTo>
                  <a:pt x="4163" y="605"/>
                </a:lnTo>
                <a:lnTo>
                  <a:pt x="4151" y="605"/>
                </a:lnTo>
                <a:lnTo>
                  <a:pt x="4158" y="612"/>
                </a:lnTo>
                <a:lnTo>
                  <a:pt x="4179" y="605"/>
                </a:lnTo>
                <a:lnTo>
                  <a:pt x="4233" y="612"/>
                </a:lnTo>
                <a:lnTo>
                  <a:pt x="4285" y="600"/>
                </a:lnTo>
                <a:lnTo>
                  <a:pt x="4297" y="589"/>
                </a:lnTo>
                <a:lnTo>
                  <a:pt x="4217" y="600"/>
                </a:lnTo>
                <a:lnTo>
                  <a:pt x="4172" y="589"/>
                </a:lnTo>
                <a:lnTo>
                  <a:pt x="4163" y="556"/>
                </a:lnTo>
                <a:lnTo>
                  <a:pt x="4179" y="551"/>
                </a:lnTo>
                <a:lnTo>
                  <a:pt x="4125" y="544"/>
                </a:lnTo>
                <a:lnTo>
                  <a:pt x="4054" y="494"/>
                </a:lnTo>
                <a:lnTo>
                  <a:pt x="4264" y="456"/>
                </a:lnTo>
                <a:lnTo>
                  <a:pt x="4422" y="444"/>
                </a:lnTo>
                <a:lnTo>
                  <a:pt x="4281" y="440"/>
                </a:lnTo>
                <a:lnTo>
                  <a:pt x="4378" y="416"/>
                </a:lnTo>
                <a:lnTo>
                  <a:pt x="4529" y="400"/>
                </a:lnTo>
                <a:lnTo>
                  <a:pt x="4352" y="400"/>
                </a:lnTo>
                <a:lnTo>
                  <a:pt x="4352" y="378"/>
                </a:lnTo>
                <a:lnTo>
                  <a:pt x="4389" y="350"/>
                </a:lnTo>
                <a:lnTo>
                  <a:pt x="4503" y="307"/>
                </a:lnTo>
                <a:lnTo>
                  <a:pt x="4406" y="329"/>
                </a:lnTo>
                <a:lnTo>
                  <a:pt x="4356" y="362"/>
                </a:lnTo>
                <a:lnTo>
                  <a:pt x="4314" y="345"/>
                </a:lnTo>
                <a:lnTo>
                  <a:pt x="4340" y="362"/>
                </a:lnTo>
                <a:lnTo>
                  <a:pt x="4323" y="378"/>
                </a:lnTo>
                <a:lnTo>
                  <a:pt x="4335" y="383"/>
                </a:lnTo>
                <a:lnTo>
                  <a:pt x="4302" y="407"/>
                </a:lnTo>
                <a:lnTo>
                  <a:pt x="4210" y="435"/>
                </a:lnTo>
                <a:lnTo>
                  <a:pt x="4066" y="456"/>
                </a:lnTo>
                <a:lnTo>
                  <a:pt x="4054" y="444"/>
                </a:lnTo>
                <a:lnTo>
                  <a:pt x="4158" y="407"/>
                </a:lnTo>
                <a:lnTo>
                  <a:pt x="4044" y="435"/>
                </a:lnTo>
                <a:lnTo>
                  <a:pt x="4028" y="423"/>
                </a:lnTo>
                <a:lnTo>
                  <a:pt x="4054" y="407"/>
                </a:lnTo>
                <a:lnTo>
                  <a:pt x="4049" y="407"/>
                </a:lnTo>
                <a:lnTo>
                  <a:pt x="4011" y="416"/>
                </a:lnTo>
                <a:lnTo>
                  <a:pt x="4016" y="440"/>
                </a:lnTo>
                <a:lnTo>
                  <a:pt x="4011" y="456"/>
                </a:lnTo>
                <a:lnTo>
                  <a:pt x="3924" y="461"/>
                </a:lnTo>
                <a:lnTo>
                  <a:pt x="3865" y="456"/>
                </a:lnTo>
                <a:lnTo>
                  <a:pt x="3886" y="440"/>
                </a:lnTo>
                <a:lnTo>
                  <a:pt x="3848" y="456"/>
                </a:lnTo>
                <a:lnTo>
                  <a:pt x="3801" y="444"/>
                </a:lnTo>
                <a:lnTo>
                  <a:pt x="3886" y="383"/>
                </a:lnTo>
                <a:lnTo>
                  <a:pt x="4108" y="345"/>
                </a:lnTo>
                <a:lnTo>
                  <a:pt x="3881" y="367"/>
                </a:lnTo>
                <a:lnTo>
                  <a:pt x="3834" y="390"/>
                </a:lnTo>
                <a:lnTo>
                  <a:pt x="3773" y="440"/>
                </a:lnTo>
                <a:lnTo>
                  <a:pt x="3747" y="440"/>
                </a:lnTo>
                <a:lnTo>
                  <a:pt x="3617" y="390"/>
                </a:lnTo>
                <a:lnTo>
                  <a:pt x="3811" y="378"/>
                </a:lnTo>
                <a:lnTo>
                  <a:pt x="3945" y="329"/>
                </a:lnTo>
                <a:lnTo>
                  <a:pt x="3763" y="362"/>
                </a:lnTo>
                <a:lnTo>
                  <a:pt x="3584" y="378"/>
                </a:lnTo>
                <a:lnTo>
                  <a:pt x="3558" y="350"/>
                </a:lnTo>
                <a:lnTo>
                  <a:pt x="3579" y="333"/>
                </a:lnTo>
                <a:lnTo>
                  <a:pt x="3650" y="333"/>
                </a:lnTo>
                <a:lnTo>
                  <a:pt x="3579" y="324"/>
                </a:lnTo>
                <a:lnTo>
                  <a:pt x="3655" y="291"/>
                </a:lnTo>
                <a:lnTo>
                  <a:pt x="3773" y="296"/>
                </a:lnTo>
                <a:lnTo>
                  <a:pt x="3693" y="279"/>
                </a:lnTo>
                <a:lnTo>
                  <a:pt x="3546" y="312"/>
                </a:lnTo>
                <a:lnTo>
                  <a:pt x="3515" y="307"/>
                </a:lnTo>
                <a:lnTo>
                  <a:pt x="3612" y="272"/>
                </a:lnTo>
                <a:lnTo>
                  <a:pt x="3558" y="256"/>
                </a:lnTo>
                <a:lnTo>
                  <a:pt x="3478" y="291"/>
                </a:lnTo>
                <a:lnTo>
                  <a:pt x="3478" y="279"/>
                </a:lnTo>
                <a:lnTo>
                  <a:pt x="3440" y="267"/>
                </a:lnTo>
                <a:lnTo>
                  <a:pt x="3546" y="222"/>
                </a:lnTo>
                <a:lnTo>
                  <a:pt x="3600" y="218"/>
                </a:lnTo>
                <a:lnTo>
                  <a:pt x="3622" y="239"/>
                </a:lnTo>
                <a:lnTo>
                  <a:pt x="3633" y="222"/>
                </a:lnTo>
                <a:lnTo>
                  <a:pt x="3617" y="218"/>
                </a:lnTo>
                <a:lnTo>
                  <a:pt x="3650" y="218"/>
                </a:lnTo>
                <a:lnTo>
                  <a:pt x="3638" y="213"/>
                </a:lnTo>
                <a:lnTo>
                  <a:pt x="3709" y="185"/>
                </a:lnTo>
                <a:lnTo>
                  <a:pt x="3763" y="196"/>
                </a:lnTo>
                <a:lnTo>
                  <a:pt x="3773" y="201"/>
                </a:lnTo>
                <a:lnTo>
                  <a:pt x="3763" y="213"/>
                </a:lnTo>
                <a:lnTo>
                  <a:pt x="3801" y="222"/>
                </a:lnTo>
                <a:lnTo>
                  <a:pt x="3780" y="213"/>
                </a:lnTo>
                <a:lnTo>
                  <a:pt x="3796" y="196"/>
                </a:lnTo>
                <a:lnTo>
                  <a:pt x="3834" y="196"/>
                </a:lnTo>
                <a:lnTo>
                  <a:pt x="3893" y="234"/>
                </a:lnTo>
                <a:lnTo>
                  <a:pt x="3881" y="213"/>
                </a:lnTo>
                <a:lnTo>
                  <a:pt x="3919" y="213"/>
                </a:lnTo>
                <a:lnTo>
                  <a:pt x="3941" y="222"/>
                </a:lnTo>
                <a:lnTo>
                  <a:pt x="3924" y="213"/>
                </a:lnTo>
                <a:lnTo>
                  <a:pt x="3936" y="213"/>
                </a:lnTo>
                <a:lnTo>
                  <a:pt x="3957" y="222"/>
                </a:lnTo>
                <a:lnTo>
                  <a:pt x="3936" y="201"/>
                </a:lnTo>
                <a:lnTo>
                  <a:pt x="3811" y="185"/>
                </a:lnTo>
                <a:lnTo>
                  <a:pt x="3796" y="168"/>
                </a:lnTo>
                <a:lnTo>
                  <a:pt x="3903" y="156"/>
                </a:lnTo>
                <a:lnTo>
                  <a:pt x="3893" y="140"/>
                </a:lnTo>
                <a:lnTo>
                  <a:pt x="3865" y="128"/>
                </a:lnTo>
                <a:lnTo>
                  <a:pt x="3924" y="123"/>
                </a:lnTo>
                <a:lnTo>
                  <a:pt x="4033" y="144"/>
                </a:lnTo>
                <a:lnTo>
                  <a:pt x="4070" y="185"/>
                </a:lnTo>
                <a:lnTo>
                  <a:pt x="4054" y="196"/>
                </a:lnTo>
                <a:lnTo>
                  <a:pt x="4151" y="201"/>
                </a:lnTo>
                <a:lnTo>
                  <a:pt x="4096" y="185"/>
                </a:lnTo>
                <a:lnTo>
                  <a:pt x="4066" y="163"/>
                </a:lnTo>
                <a:lnTo>
                  <a:pt x="4096" y="156"/>
                </a:lnTo>
                <a:lnTo>
                  <a:pt x="4335" y="234"/>
                </a:lnTo>
                <a:lnTo>
                  <a:pt x="4285" y="201"/>
                </a:lnTo>
                <a:lnTo>
                  <a:pt x="4226" y="196"/>
                </a:lnTo>
                <a:lnTo>
                  <a:pt x="4210" y="185"/>
                </a:lnTo>
                <a:lnTo>
                  <a:pt x="4217" y="180"/>
                </a:lnTo>
                <a:lnTo>
                  <a:pt x="4151" y="163"/>
                </a:lnTo>
                <a:lnTo>
                  <a:pt x="4087" y="140"/>
                </a:lnTo>
                <a:lnTo>
                  <a:pt x="4104" y="111"/>
                </a:lnTo>
                <a:lnTo>
                  <a:pt x="4172" y="111"/>
                </a:lnTo>
                <a:lnTo>
                  <a:pt x="4108" y="95"/>
                </a:lnTo>
                <a:lnTo>
                  <a:pt x="4125" y="90"/>
                </a:lnTo>
                <a:lnTo>
                  <a:pt x="4233" y="107"/>
                </a:lnTo>
                <a:lnTo>
                  <a:pt x="4163" y="69"/>
                </a:lnTo>
                <a:lnTo>
                  <a:pt x="4172" y="57"/>
                </a:lnTo>
                <a:lnTo>
                  <a:pt x="4248" y="69"/>
                </a:lnTo>
                <a:lnTo>
                  <a:pt x="4285" y="90"/>
                </a:lnTo>
                <a:lnTo>
                  <a:pt x="4297" y="90"/>
                </a:lnTo>
                <a:lnTo>
                  <a:pt x="4281" y="85"/>
                </a:lnTo>
                <a:lnTo>
                  <a:pt x="4378" y="85"/>
                </a:lnTo>
                <a:lnTo>
                  <a:pt x="4285" y="74"/>
                </a:lnTo>
                <a:lnTo>
                  <a:pt x="4281" y="69"/>
                </a:lnTo>
                <a:lnTo>
                  <a:pt x="4302" y="57"/>
                </a:lnTo>
                <a:lnTo>
                  <a:pt x="4248" y="52"/>
                </a:lnTo>
                <a:lnTo>
                  <a:pt x="4285" y="36"/>
                </a:lnTo>
                <a:lnTo>
                  <a:pt x="4318" y="36"/>
                </a:lnTo>
                <a:lnTo>
                  <a:pt x="4340" y="52"/>
                </a:lnTo>
                <a:lnTo>
                  <a:pt x="4373" y="36"/>
                </a:lnTo>
                <a:lnTo>
                  <a:pt x="4378" y="41"/>
                </a:lnTo>
                <a:lnTo>
                  <a:pt x="4378" y="57"/>
                </a:lnTo>
                <a:lnTo>
                  <a:pt x="4411" y="57"/>
                </a:lnTo>
                <a:lnTo>
                  <a:pt x="4406" y="52"/>
                </a:lnTo>
                <a:lnTo>
                  <a:pt x="4432" y="41"/>
                </a:lnTo>
                <a:lnTo>
                  <a:pt x="4567" y="95"/>
                </a:lnTo>
                <a:lnTo>
                  <a:pt x="4541" y="128"/>
                </a:lnTo>
                <a:lnTo>
                  <a:pt x="4604" y="95"/>
                </a:lnTo>
                <a:lnTo>
                  <a:pt x="4536" y="74"/>
                </a:lnTo>
                <a:lnTo>
                  <a:pt x="4557" y="69"/>
                </a:lnTo>
                <a:lnTo>
                  <a:pt x="4460" y="29"/>
                </a:lnTo>
                <a:lnTo>
                  <a:pt x="4474" y="17"/>
                </a:lnTo>
                <a:lnTo>
                  <a:pt x="4663" y="17"/>
                </a:lnTo>
                <a:lnTo>
                  <a:pt x="4713" y="52"/>
                </a:lnTo>
                <a:lnTo>
                  <a:pt x="4798" y="85"/>
                </a:lnTo>
                <a:lnTo>
                  <a:pt x="4805" y="74"/>
                </a:lnTo>
                <a:lnTo>
                  <a:pt x="4718" y="41"/>
                </a:lnTo>
                <a:lnTo>
                  <a:pt x="4798" y="12"/>
                </a:lnTo>
                <a:lnTo>
                  <a:pt x="4859" y="12"/>
                </a:lnTo>
                <a:lnTo>
                  <a:pt x="4864" y="12"/>
                </a:lnTo>
                <a:lnTo>
                  <a:pt x="4852" y="29"/>
                </a:lnTo>
                <a:lnTo>
                  <a:pt x="4918" y="52"/>
                </a:lnTo>
                <a:lnTo>
                  <a:pt x="4874" y="29"/>
                </a:lnTo>
                <a:lnTo>
                  <a:pt x="4961" y="0"/>
                </a:lnTo>
                <a:lnTo>
                  <a:pt x="5020" y="17"/>
                </a:lnTo>
                <a:lnTo>
                  <a:pt x="5015" y="29"/>
                </a:lnTo>
                <a:lnTo>
                  <a:pt x="5053" y="17"/>
                </a:lnTo>
                <a:lnTo>
                  <a:pt x="5107" y="29"/>
                </a:lnTo>
                <a:lnTo>
                  <a:pt x="5107" y="41"/>
                </a:lnTo>
                <a:lnTo>
                  <a:pt x="5237" y="41"/>
                </a:lnTo>
                <a:lnTo>
                  <a:pt x="5074" y="95"/>
                </a:lnTo>
                <a:lnTo>
                  <a:pt x="5162" y="90"/>
                </a:lnTo>
                <a:lnTo>
                  <a:pt x="5275" y="57"/>
                </a:lnTo>
                <a:lnTo>
                  <a:pt x="5322" y="69"/>
                </a:lnTo>
                <a:lnTo>
                  <a:pt x="5306" y="69"/>
                </a:lnTo>
                <a:lnTo>
                  <a:pt x="5322" y="57"/>
                </a:lnTo>
                <a:lnTo>
                  <a:pt x="5306" y="52"/>
                </a:lnTo>
                <a:lnTo>
                  <a:pt x="5355" y="41"/>
                </a:lnTo>
                <a:lnTo>
                  <a:pt x="5339" y="52"/>
                </a:lnTo>
                <a:lnTo>
                  <a:pt x="5365" y="69"/>
                </a:lnTo>
                <a:lnTo>
                  <a:pt x="5436" y="57"/>
                </a:lnTo>
                <a:lnTo>
                  <a:pt x="5448" y="69"/>
                </a:lnTo>
                <a:lnTo>
                  <a:pt x="5415" y="85"/>
                </a:lnTo>
                <a:lnTo>
                  <a:pt x="5474" y="107"/>
                </a:lnTo>
                <a:lnTo>
                  <a:pt x="5462" y="123"/>
                </a:lnTo>
                <a:lnTo>
                  <a:pt x="5448" y="128"/>
                </a:lnTo>
                <a:lnTo>
                  <a:pt x="5528" y="111"/>
                </a:lnTo>
                <a:lnTo>
                  <a:pt x="5516" y="123"/>
                </a:lnTo>
                <a:lnTo>
                  <a:pt x="5575" y="123"/>
                </a:lnTo>
                <a:lnTo>
                  <a:pt x="5608" y="144"/>
                </a:lnTo>
                <a:lnTo>
                  <a:pt x="5599" y="163"/>
                </a:lnTo>
                <a:lnTo>
                  <a:pt x="5523" y="201"/>
                </a:lnTo>
                <a:lnTo>
                  <a:pt x="5415" y="239"/>
                </a:lnTo>
                <a:lnTo>
                  <a:pt x="5377" y="234"/>
                </a:lnTo>
                <a:lnTo>
                  <a:pt x="5393" y="251"/>
                </a:lnTo>
                <a:lnTo>
                  <a:pt x="5377" y="251"/>
                </a:lnTo>
                <a:lnTo>
                  <a:pt x="5313" y="251"/>
                </a:lnTo>
                <a:lnTo>
                  <a:pt x="5259" y="256"/>
                </a:lnTo>
                <a:lnTo>
                  <a:pt x="5306" y="256"/>
                </a:lnTo>
                <a:lnTo>
                  <a:pt x="5275" y="272"/>
                </a:lnTo>
                <a:lnTo>
                  <a:pt x="5107" y="279"/>
                </a:lnTo>
                <a:lnTo>
                  <a:pt x="5025" y="256"/>
                </a:lnTo>
                <a:lnTo>
                  <a:pt x="5096" y="279"/>
                </a:lnTo>
                <a:lnTo>
                  <a:pt x="5058" y="279"/>
                </a:lnTo>
                <a:lnTo>
                  <a:pt x="5079" y="291"/>
                </a:lnTo>
                <a:lnTo>
                  <a:pt x="5214" y="291"/>
                </a:lnTo>
                <a:lnTo>
                  <a:pt x="4966" y="345"/>
                </a:lnTo>
                <a:lnTo>
                  <a:pt x="5004" y="345"/>
                </a:lnTo>
                <a:lnTo>
                  <a:pt x="4973" y="362"/>
                </a:lnTo>
                <a:lnTo>
                  <a:pt x="4982" y="362"/>
                </a:lnTo>
                <a:lnTo>
                  <a:pt x="5285" y="291"/>
                </a:lnTo>
                <a:lnTo>
                  <a:pt x="5360" y="279"/>
                </a:lnTo>
                <a:lnTo>
                  <a:pt x="5365" y="296"/>
                </a:lnTo>
                <a:lnTo>
                  <a:pt x="5176" y="383"/>
                </a:lnTo>
                <a:lnTo>
                  <a:pt x="5145" y="390"/>
                </a:lnTo>
                <a:lnTo>
                  <a:pt x="5150" y="390"/>
                </a:lnTo>
                <a:lnTo>
                  <a:pt x="5053" y="444"/>
                </a:lnTo>
                <a:lnTo>
                  <a:pt x="5020" y="478"/>
                </a:lnTo>
                <a:lnTo>
                  <a:pt x="4961" y="489"/>
                </a:lnTo>
                <a:lnTo>
                  <a:pt x="4966" y="473"/>
                </a:lnTo>
                <a:lnTo>
                  <a:pt x="4961" y="473"/>
                </a:lnTo>
                <a:lnTo>
                  <a:pt x="4918" y="444"/>
                </a:lnTo>
                <a:lnTo>
                  <a:pt x="4944" y="473"/>
                </a:lnTo>
                <a:lnTo>
                  <a:pt x="4949" y="489"/>
                </a:lnTo>
                <a:lnTo>
                  <a:pt x="4982" y="501"/>
                </a:lnTo>
                <a:lnTo>
                  <a:pt x="4966" y="511"/>
                </a:lnTo>
                <a:lnTo>
                  <a:pt x="4859" y="527"/>
                </a:lnTo>
                <a:lnTo>
                  <a:pt x="4810" y="511"/>
                </a:lnTo>
                <a:lnTo>
                  <a:pt x="4843" y="527"/>
                </a:lnTo>
                <a:lnTo>
                  <a:pt x="4810" y="527"/>
                </a:lnTo>
                <a:lnTo>
                  <a:pt x="4810" y="534"/>
                </a:lnTo>
                <a:lnTo>
                  <a:pt x="4944" y="527"/>
                </a:lnTo>
                <a:lnTo>
                  <a:pt x="4874" y="556"/>
                </a:lnTo>
                <a:lnTo>
                  <a:pt x="4911" y="567"/>
                </a:lnTo>
                <a:lnTo>
                  <a:pt x="4897" y="584"/>
                </a:lnTo>
                <a:lnTo>
                  <a:pt x="4822" y="600"/>
                </a:lnTo>
                <a:lnTo>
                  <a:pt x="4772" y="589"/>
                </a:lnTo>
                <a:lnTo>
                  <a:pt x="4767" y="572"/>
                </a:lnTo>
                <a:lnTo>
                  <a:pt x="4772" y="572"/>
                </a:lnTo>
                <a:lnTo>
                  <a:pt x="4680" y="567"/>
                </a:lnTo>
                <a:lnTo>
                  <a:pt x="4642" y="567"/>
                </a:lnTo>
                <a:lnTo>
                  <a:pt x="4746" y="584"/>
                </a:lnTo>
                <a:lnTo>
                  <a:pt x="4755" y="612"/>
                </a:lnTo>
                <a:lnTo>
                  <a:pt x="4718" y="629"/>
                </a:lnTo>
                <a:lnTo>
                  <a:pt x="4696" y="612"/>
                </a:lnTo>
                <a:lnTo>
                  <a:pt x="4701" y="629"/>
                </a:lnTo>
                <a:lnTo>
                  <a:pt x="4692" y="638"/>
                </a:lnTo>
                <a:lnTo>
                  <a:pt x="4637" y="622"/>
                </a:lnTo>
                <a:lnTo>
                  <a:pt x="4626" y="629"/>
                </a:lnTo>
                <a:lnTo>
                  <a:pt x="4637" y="638"/>
                </a:lnTo>
                <a:lnTo>
                  <a:pt x="4626" y="645"/>
                </a:lnTo>
                <a:lnTo>
                  <a:pt x="4481" y="612"/>
                </a:lnTo>
                <a:lnTo>
                  <a:pt x="4474" y="622"/>
                </a:lnTo>
                <a:lnTo>
                  <a:pt x="4541" y="629"/>
                </a:lnTo>
                <a:lnTo>
                  <a:pt x="4550" y="645"/>
                </a:lnTo>
                <a:lnTo>
                  <a:pt x="4567" y="645"/>
                </a:lnTo>
                <a:lnTo>
                  <a:pt x="4498" y="645"/>
                </a:lnTo>
                <a:lnTo>
                  <a:pt x="4465" y="629"/>
                </a:lnTo>
                <a:lnTo>
                  <a:pt x="4481" y="655"/>
                </a:lnTo>
                <a:lnTo>
                  <a:pt x="4411" y="645"/>
                </a:lnTo>
                <a:lnTo>
                  <a:pt x="4465" y="662"/>
                </a:lnTo>
                <a:lnTo>
                  <a:pt x="4460" y="667"/>
                </a:lnTo>
                <a:lnTo>
                  <a:pt x="4663" y="667"/>
                </a:lnTo>
                <a:lnTo>
                  <a:pt x="4642" y="678"/>
                </a:lnTo>
                <a:lnTo>
                  <a:pt x="4663" y="695"/>
                </a:lnTo>
                <a:lnTo>
                  <a:pt x="4583" y="695"/>
                </a:lnTo>
                <a:lnTo>
                  <a:pt x="4550" y="678"/>
                </a:lnTo>
                <a:lnTo>
                  <a:pt x="4432" y="667"/>
                </a:lnTo>
                <a:lnTo>
                  <a:pt x="4406" y="678"/>
                </a:lnTo>
                <a:lnTo>
                  <a:pt x="4550" y="695"/>
                </a:lnTo>
                <a:lnTo>
                  <a:pt x="4448" y="700"/>
                </a:lnTo>
                <a:lnTo>
                  <a:pt x="4356" y="695"/>
                </a:lnTo>
                <a:lnTo>
                  <a:pt x="4444" y="700"/>
                </a:lnTo>
                <a:lnTo>
                  <a:pt x="4406" y="740"/>
                </a:lnTo>
                <a:lnTo>
                  <a:pt x="4432" y="711"/>
                </a:lnTo>
                <a:lnTo>
                  <a:pt x="4512" y="700"/>
                </a:lnTo>
                <a:lnTo>
                  <a:pt x="4583" y="711"/>
                </a:lnTo>
                <a:lnTo>
                  <a:pt x="4529" y="733"/>
                </a:lnTo>
                <a:lnTo>
                  <a:pt x="4604" y="723"/>
                </a:lnTo>
                <a:lnTo>
                  <a:pt x="4642" y="733"/>
                </a:lnTo>
                <a:lnTo>
                  <a:pt x="4649" y="749"/>
                </a:lnTo>
                <a:lnTo>
                  <a:pt x="4637" y="756"/>
                </a:lnTo>
                <a:lnTo>
                  <a:pt x="4642" y="773"/>
                </a:lnTo>
                <a:lnTo>
                  <a:pt x="4626" y="778"/>
                </a:lnTo>
                <a:lnTo>
                  <a:pt x="4512" y="778"/>
                </a:lnTo>
                <a:lnTo>
                  <a:pt x="4595" y="794"/>
                </a:lnTo>
                <a:lnTo>
                  <a:pt x="4626" y="811"/>
                </a:lnTo>
                <a:lnTo>
                  <a:pt x="4588" y="834"/>
                </a:lnTo>
                <a:lnTo>
                  <a:pt x="4498" y="834"/>
                </a:lnTo>
                <a:lnTo>
                  <a:pt x="4588" y="844"/>
                </a:lnTo>
                <a:lnTo>
                  <a:pt x="4567" y="867"/>
                </a:lnTo>
                <a:lnTo>
                  <a:pt x="4541" y="860"/>
                </a:lnTo>
                <a:lnTo>
                  <a:pt x="4498" y="877"/>
                </a:lnTo>
                <a:lnTo>
                  <a:pt x="4406" y="867"/>
                </a:lnTo>
                <a:lnTo>
                  <a:pt x="4389" y="877"/>
                </a:lnTo>
                <a:lnTo>
                  <a:pt x="4422" y="889"/>
                </a:lnTo>
                <a:lnTo>
                  <a:pt x="4422" y="905"/>
                </a:lnTo>
                <a:lnTo>
                  <a:pt x="4432" y="922"/>
                </a:lnTo>
                <a:lnTo>
                  <a:pt x="4406" y="962"/>
                </a:lnTo>
                <a:lnTo>
                  <a:pt x="4335" y="971"/>
                </a:lnTo>
                <a:lnTo>
                  <a:pt x="4248" y="971"/>
                </a:lnTo>
                <a:lnTo>
                  <a:pt x="4189" y="955"/>
                </a:lnTo>
                <a:lnTo>
                  <a:pt x="4141" y="917"/>
                </a:lnTo>
                <a:lnTo>
                  <a:pt x="4141" y="922"/>
                </a:lnTo>
                <a:lnTo>
                  <a:pt x="4163" y="938"/>
                </a:lnTo>
                <a:lnTo>
                  <a:pt x="4158" y="955"/>
                </a:lnTo>
                <a:lnTo>
                  <a:pt x="4196" y="971"/>
                </a:lnTo>
                <a:lnTo>
                  <a:pt x="4125" y="971"/>
                </a:lnTo>
                <a:lnTo>
                  <a:pt x="4151" y="995"/>
                </a:lnTo>
                <a:lnTo>
                  <a:pt x="4196" y="978"/>
                </a:lnTo>
                <a:lnTo>
                  <a:pt x="4271" y="988"/>
                </a:lnTo>
                <a:lnTo>
                  <a:pt x="4248" y="1000"/>
                </a:lnTo>
                <a:lnTo>
                  <a:pt x="4297" y="978"/>
                </a:lnTo>
                <a:lnTo>
                  <a:pt x="4335" y="988"/>
                </a:lnTo>
                <a:lnTo>
                  <a:pt x="4352" y="1000"/>
                </a:lnTo>
                <a:lnTo>
                  <a:pt x="4318" y="1028"/>
                </a:lnTo>
                <a:lnTo>
                  <a:pt x="4356" y="1028"/>
                </a:lnTo>
                <a:lnTo>
                  <a:pt x="4356" y="1044"/>
                </a:lnTo>
                <a:lnTo>
                  <a:pt x="4368" y="1044"/>
                </a:lnTo>
                <a:lnTo>
                  <a:pt x="4394" y="1016"/>
                </a:lnTo>
                <a:lnTo>
                  <a:pt x="4427" y="1028"/>
                </a:lnTo>
                <a:lnTo>
                  <a:pt x="4432" y="1066"/>
                </a:lnTo>
                <a:lnTo>
                  <a:pt x="4389" y="1099"/>
                </a:lnTo>
                <a:lnTo>
                  <a:pt x="4389" y="1099"/>
                </a:lnTo>
                <a:lnTo>
                  <a:pt x="4389" y="1099"/>
                </a:lnTo>
                <a:close/>
                <a:moveTo>
                  <a:pt x="3456" y="279"/>
                </a:moveTo>
                <a:lnTo>
                  <a:pt x="3440" y="272"/>
                </a:lnTo>
                <a:lnTo>
                  <a:pt x="3461" y="279"/>
                </a:lnTo>
                <a:lnTo>
                  <a:pt x="3456" y="279"/>
                </a:lnTo>
                <a:lnTo>
                  <a:pt x="3456" y="279"/>
                </a:lnTo>
                <a:lnTo>
                  <a:pt x="3456" y="279"/>
                </a:lnTo>
                <a:close/>
                <a:moveTo>
                  <a:pt x="3655" y="844"/>
                </a:moveTo>
                <a:lnTo>
                  <a:pt x="3633" y="827"/>
                </a:lnTo>
                <a:lnTo>
                  <a:pt x="3579" y="766"/>
                </a:lnTo>
                <a:lnTo>
                  <a:pt x="3570" y="778"/>
                </a:lnTo>
                <a:lnTo>
                  <a:pt x="3579" y="794"/>
                </a:lnTo>
                <a:lnTo>
                  <a:pt x="3596" y="806"/>
                </a:lnTo>
                <a:lnTo>
                  <a:pt x="3617" y="834"/>
                </a:lnTo>
                <a:lnTo>
                  <a:pt x="3563" y="811"/>
                </a:lnTo>
                <a:lnTo>
                  <a:pt x="3525" y="811"/>
                </a:lnTo>
                <a:lnTo>
                  <a:pt x="3558" y="834"/>
                </a:lnTo>
                <a:lnTo>
                  <a:pt x="3546" y="844"/>
                </a:lnTo>
                <a:lnTo>
                  <a:pt x="3433" y="827"/>
                </a:lnTo>
                <a:lnTo>
                  <a:pt x="3402" y="811"/>
                </a:lnTo>
                <a:lnTo>
                  <a:pt x="3369" y="789"/>
                </a:lnTo>
                <a:lnTo>
                  <a:pt x="3461" y="778"/>
                </a:lnTo>
                <a:lnTo>
                  <a:pt x="3381" y="766"/>
                </a:lnTo>
                <a:lnTo>
                  <a:pt x="3348" y="773"/>
                </a:lnTo>
                <a:lnTo>
                  <a:pt x="3310" y="740"/>
                </a:lnTo>
                <a:lnTo>
                  <a:pt x="3364" y="740"/>
                </a:lnTo>
                <a:lnTo>
                  <a:pt x="3310" y="733"/>
                </a:lnTo>
                <a:lnTo>
                  <a:pt x="3277" y="711"/>
                </a:lnTo>
                <a:lnTo>
                  <a:pt x="3348" y="678"/>
                </a:lnTo>
                <a:lnTo>
                  <a:pt x="3546" y="667"/>
                </a:lnTo>
                <a:lnTo>
                  <a:pt x="3418" y="667"/>
                </a:lnTo>
                <a:lnTo>
                  <a:pt x="3385" y="662"/>
                </a:lnTo>
                <a:lnTo>
                  <a:pt x="3504" y="645"/>
                </a:lnTo>
                <a:lnTo>
                  <a:pt x="3423" y="655"/>
                </a:lnTo>
                <a:lnTo>
                  <a:pt x="3395" y="645"/>
                </a:lnTo>
                <a:lnTo>
                  <a:pt x="3418" y="638"/>
                </a:lnTo>
                <a:lnTo>
                  <a:pt x="3381" y="638"/>
                </a:lnTo>
                <a:lnTo>
                  <a:pt x="3364" y="629"/>
                </a:lnTo>
                <a:lnTo>
                  <a:pt x="3352" y="629"/>
                </a:lnTo>
                <a:lnTo>
                  <a:pt x="3364" y="645"/>
                </a:lnTo>
                <a:lnTo>
                  <a:pt x="3348" y="645"/>
                </a:lnTo>
                <a:lnTo>
                  <a:pt x="3348" y="638"/>
                </a:lnTo>
                <a:lnTo>
                  <a:pt x="3343" y="638"/>
                </a:lnTo>
                <a:lnTo>
                  <a:pt x="3310" y="662"/>
                </a:lnTo>
                <a:lnTo>
                  <a:pt x="3289" y="662"/>
                </a:lnTo>
                <a:lnTo>
                  <a:pt x="3293" y="645"/>
                </a:lnTo>
                <a:lnTo>
                  <a:pt x="3272" y="638"/>
                </a:lnTo>
                <a:lnTo>
                  <a:pt x="3260" y="638"/>
                </a:lnTo>
                <a:lnTo>
                  <a:pt x="3272" y="645"/>
                </a:lnTo>
                <a:lnTo>
                  <a:pt x="3260" y="655"/>
                </a:lnTo>
                <a:lnTo>
                  <a:pt x="3222" y="662"/>
                </a:lnTo>
                <a:lnTo>
                  <a:pt x="3208" y="645"/>
                </a:lnTo>
                <a:lnTo>
                  <a:pt x="3170" y="638"/>
                </a:lnTo>
                <a:lnTo>
                  <a:pt x="3180" y="622"/>
                </a:lnTo>
                <a:lnTo>
                  <a:pt x="3244" y="605"/>
                </a:lnTo>
                <a:lnTo>
                  <a:pt x="3277" y="584"/>
                </a:lnTo>
                <a:lnTo>
                  <a:pt x="3170" y="600"/>
                </a:lnTo>
                <a:lnTo>
                  <a:pt x="3116" y="567"/>
                </a:lnTo>
                <a:lnTo>
                  <a:pt x="3147" y="556"/>
                </a:lnTo>
                <a:lnTo>
                  <a:pt x="3109" y="544"/>
                </a:lnTo>
                <a:lnTo>
                  <a:pt x="3133" y="534"/>
                </a:lnTo>
                <a:lnTo>
                  <a:pt x="3100" y="527"/>
                </a:lnTo>
                <a:lnTo>
                  <a:pt x="3133" y="518"/>
                </a:lnTo>
                <a:lnTo>
                  <a:pt x="3272" y="551"/>
                </a:lnTo>
                <a:lnTo>
                  <a:pt x="3244" y="527"/>
                </a:lnTo>
                <a:lnTo>
                  <a:pt x="3293" y="518"/>
                </a:lnTo>
                <a:lnTo>
                  <a:pt x="3201" y="527"/>
                </a:lnTo>
                <a:lnTo>
                  <a:pt x="3180" y="518"/>
                </a:lnTo>
                <a:lnTo>
                  <a:pt x="3208" y="501"/>
                </a:lnTo>
                <a:lnTo>
                  <a:pt x="3163" y="511"/>
                </a:lnTo>
                <a:lnTo>
                  <a:pt x="3109" y="489"/>
                </a:lnTo>
                <a:lnTo>
                  <a:pt x="3192" y="489"/>
                </a:lnTo>
                <a:lnTo>
                  <a:pt x="3170" y="473"/>
                </a:lnTo>
                <a:lnTo>
                  <a:pt x="3154" y="444"/>
                </a:lnTo>
                <a:lnTo>
                  <a:pt x="3310" y="456"/>
                </a:lnTo>
                <a:lnTo>
                  <a:pt x="3244" y="435"/>
                </a:lnTo>
                <a:lnTo>
                  <a:pt x="3289" y="423"/>
                </a:lnTo>
                <a:lnTo>
                  <a:pt x="3185" y="407"/>
                </a:lnTo>
                <a:lnTo>
                  <a:pt x="3218" y="400"/>
                </a:lnTo>
                <a:lnTo>
                  <a:pt x="3192" y="390"/>
                </a:lnTo>
                <a:lnTo>
                  <a:pt x="3218" y="378"/>
                </a:lnTo>
                <a:lnTo>
                  <a:pt x="3244" y="367"/>
                </a:lnTo>
                <a:lnTo>
                  <a:pt x="3272" y="383"/>
                </a:lnTo>
                <a:lnTo>
                  <a:pt x="3298" y="367"/>
                </a:lnTo>
                <a:lnTo>
                  <a:pt x="3277" y="362"/>
                </a:lnTo>
                <a:lnTo>
                  <a:pt x="3348" y="362"/>
                </a:lnTo>
                <a:lnTo>
                  <a:pt x="3364" y="350"/>
                </a:lnTo>
                <a:lnTo>
                  <a:pt x="3272" y="329"/>
                </a:lnTo>
                <a:lnTo>
                  <a:pt x="3289" y="312"/>
                </a:lnTo>
                <a:lnTo>
                  <a:pt x="3331" y="324"/>
                </a:lnTo>
                <a:lnTo>
                  <a:pt x="3331" y="312"/>
                </a:lnTo>
                <a:lnTo>
                  <a:pt x="3449" y="345"/>
                </a:lnTo>
                <a:lnTo>
                  <a:pt x="3456" y="362"/>
                </a:lnTo>
                <a:lnTo>
                  <a:pt x="3440" y="367"/>
                </a:lnTo>
                <a:lnTo>
                  <a:pt x="3470" y="378"/>
                </a:lnTo>
                <a:lnTo>
                  <a:pt x="3504" y="416"/>
                </a:lnTo>
                <a:lnTo>
                  <a:pt x="3532" y="440"/>
                </a:lnTo>
                <a:lnTo>
                  <a:pt x="3525" y="444"/>
                </a:lnTo>
                <a:lnTo>
                  <a:pt x="3596" y="473"/>
                </a:lnTo>
                <a:lnTo>
                  <a:pt x="3596" y="456"/>
                </a:lnTo>
                <a:lnTo>
                  <a:pt x="3633" y="456"/>
                </a:lnTo>
                <a:lnTo>
                  <a:pt x="3638" y="473"/>
                </a:lnTo>
                <a:lnTo>
                  <a:pt x="3633" y="478"/>
                </a:lnTo>
                <a:lnTo>
                  <a:pt x="3638" y="478"/>
                </a:lnTo>
                <a:lnTo>
                  <a:pt x="3633" y="494"/>
                </a:lnTo>
                <a:lnTo>
                  <a:pt x="3667" y="527"/>
                </a:lnTo>
                <a:lnTo>
                  <a:pt x="3709" y="527"/>
                </a:lnTo>
                <a:lnTo>
                  <a:pt x="3704" y="511"/>
                </a:lnTo>
                <a:lnTo>
                  <a:pt x="3671" y="501"/>
                </a:lnTo>
                <a:lnTo>
                  <a:pt x="3671" y="478"/>
                </a:lnTo>
                <a:lnTo>
                  <a:pt x="3742" y="478"/>
                </a:lnTo>
                <a:lnTo>
                  <a:pt x="3747" y="511"/>
                </a:lnTo>
                <a:lnTo>
                  <a:pt x="3709" y="527"/>
                </a:lnTo>
                <a:lnTo>
                  <a:pt x="3773" y="534"/>
                </a:lnTo>
                <a:lnTo>
                  <a:pt x="3785" y="551"/>
                </a:lnTo>
                <a:lnTo>
                  <a:pt x="3759" y="572"/>
                </a:lnTo>
                <a:lnTo>
                  <a:pt x="3785" y="556"/>
                </a:lnTo>
                <a:lnTo>
                  <a:pt x="3780" y="605"/>
                </a:lnTo>
                <a:lnTo>
                  <a:pt x="3759" y="622"/>
                </a:lnTo>
                <a:lnTo>
                  <a:pt x="3785" y="605"/>
                </a:lnTo>
                <a:lnTo>
                  <a:pt x="3801" y="622"/>
                </a:lnTo>
                <a:lnTo>
                  <a:pt x="3811" y="612"/>
                </a:lnTo>
                <a:lnTo>
                  <a:pt x="3801" y="605"/>
                </a:lnTo>
                <a:lnTo>
                  <a:pt x="3834" y="605"/>
                </a:lnTo>
                <a:lnTo>
                  <a:pt x="3855" y="612"/>
                </a:lnTo>
                <a:lnTo>
                  <a:pt x="3855" y="629"/>
                </a:lnTo>
                <a:lnTo>
                  <a:pt x="3848" y="629"/>
                </a:lnTo>
                <a:lnTo>
                  <a:pt x="3855" y="638"/>
                </a:lnTo>
                <a:lnTo>
                  <a:pt x="3872" y="605"/>
                </a:lnTo>
                <a:lnTo>
                  <a:pt x="3881" y="605"/>
                </a:lnTo>
                <a:lnTo>
                  <a:pt x="3936" y="662"/>
                </a:lnTo>
                <a:lnTo>
                  <a:pt x="3827" y="695"/>
                </a:lnTo>
                <a:lnTo>
                  <a:pt x="3811" y="711"/>
                </a:lnTo>
                <a:lnTo>
                  <a:pt x="3785" y="695"/>
                </a:lnTo>
                <a:lnTo>
                  <a:pt x="3785" y="716"/>
                </a:lnTo>
                <a:lnTo>
                  <a:pt x="3747" y="766"/>
                </a:lnTo>
                <a:lnTo>
                  <a:pt x="3721" y="733"/>
                </a:lnTo>
                <a:lnTo>
                  <a:pt x="3721" y="711"/>
                </a:lnTo>
                <a:lnTo>
                  <a:pt x="3742" y="695"/>
                </a:lnTo>
                <a:lnTo>
                  <a:pt x="3709" y="711"/>
                </a:lnTo>
                <a:lnTo>
                  <a:pt x="3704" y="740"/>
                </a:lnTo>
                <a:lnTo>
                  <a:pt x="3726" y="778"/>
                </a:lnTo>
                <a:lnTo>
                  <a:pt x="3704" y="794"/>
                </a:lnTo>
                <a:lnTo>
                  <a:pt x="3676" y="773"/>
                </a:lnTo>
                <a:lnTo>
                  <a:pt x="3667" y="766"/>
                </a:lnTo>
                <a:lnTo>
                  <a:pt x="3676" y="794"/>
                </a:lnTo>
                <a:lnTo>
                  <a:pt x="3655" y="844"/>
                </a:lnTo>
                <a:lnTo>
                  <a:pt x="3655" y="844"/>
                </a:lnTo>
                <a:lnTo>
                  <a:pt x="3655" y="844"/>
                </a:lnTo>
                <a:close/>
                <a:moveTo>
                  <a:pt x="3222" y="435"/>
                </a:moveTo>
                <a:lnTo>
                  <a:pt x="3234" y="440"/>
                </a:lnTo>
                <a:lnTo>
                  <a:pt x="3147" y="435"/>
                </a:lnTo>
                <a:lnTo>
                  <a:pt x="3222" y="435"/>
                </a:lnTo>
                <a:lnTo>
                  <a:pt x="3222" y="435"/>
                </a:lnTo>
                <a:lnTo>
                  <a:pt x="3222" y="435"/>
                </a:lnTo>
                <a:close/>
                <a:moveTo>
                  <a:pt x="2965" y="600"/>
                </a:moveTo>
                <a:lnTo>
                  <a:pt x="2920" y="584"/>
                </a:lnTo>
                <a:lnTo>
                  <a:pt x="2920" y="567"/>
                </a:lnTo>
                <a:lnTo>
                  <a:pt x="2868" y="567"/>
                </a:lnTo>
                <a:lnTo>
                  <a:pt x="2861" y="534"/>
                </a:lnTo>
                <a:lnTo>
                  <a:pt x="2894" y="518"/>
                </a:lnTo>
                <a:lnTo>
                  <a:pt x="2953" y="534"/>
                </a:lnTo>
                <a:lnTo>
                  <a:pt x="2970" y="551"/>
                </a:lnTo>
                <a:lnTo>
                  <a:pt x="2970" y="572"/>
                </a:lnTo>
                <a:lnTo>
                  <a:pt x="2965" y="600"/>
                </a:lnTo>
                <a:lnTo>
                  <a:pt x="2965" y="600"/>
                </a:lnTo>
                <a:lnTo>
                  <a:pt x="2965" y="600"/>
                </a:lnTo>
                <a:close/>
                <a:moveTo>
                  <a:pt x="2608" y="749"/>
                </a:moveTo>
                <a:lnTo>
                  <a:pt x="2613" y="740"/>
                </a:lnTo>
                <a:lnTo>
                  <a:pt x="2587" y="740"/>
                </a:lnTo>
                <a:lnTo>
                  <a:pt x="2608" y="723"/>
                </a:lnTo>
                <a:lnTo>
                  <a:pt x="2587" y="711"/>
                </a:lnTo>
                <a:lnTo>
                  <a:pt x="2521" y="740"/>
                </a:lnTo>
                <a:lnTo>
                  <a:pt x="2542" y="700"/>
                </a:lnTo>
                <a:lnTo>
                  <a:pt x="2483" y="700"/>
                </a:lnTo>
                <a:lnTo>
                  <a:pt x="2483" y="678"/>
                </a:lnTo>
                <a:lnTo>
                  <a:pt x="2490" y="655"/>
                </a:lnTo>
                <a:lnTo>
                  <a:pt x="2596" y="645"/>
                </a:lnTo>
                <a:lnTo>
                  <a:pt x="2663" y="662"/>
                </a:lnTo>
                <a:lnTo>
                  <a:pt x="2693" y="695"/>
                </a:lnTo>
                <a:lnTo>
                  <a:pt x="2684" y="716"/>
                </a:lnTo>
                <a:lnTo>
                  <a:pt x="2700" y="723"/>
                </a:lnTo>
                <a:lnTo>
                  <a:pt x="2705" y="700"/>
                </a:lnTo>
                <a:lnTo>
                  <a:pt x="2759" y="695"/>
                </a:lnTo>
                <a:lnTo>
                  <a:pt x="2807" y="716"/>
                </a:lnTo>
                <a:lnTo>
                  <a:pt x="2793" y="740"/>
                </a:lnTo>
                <a:lnTo>
                  <a:pt x="2856" y="733"/>
                </a:lnTo>
                <a:lnTo>
                  <a:pt x="2882" y="756"/>
                </a:lnTo>
                <a:lnTo>
                  <a:pt x="2878" y="766"/>
                </a:lnTo>
                <a:lnTo>
                  <a:pt x="2911" y="773"/>
                </a:lnTo>
                <a:lnTo>
                  <a:pt x="2882" y="794"/>
                </a:lnTo>
                <a:lnTo>
                  <a:pt x="2894" y="806"/>
                </a:lnTo>
                <a:lnTo>
                  <a:pt x="2894" y="822"/>
                </a:lnTo>
                <a:lnTo>
                  <a:pt x="2911" y="822"/>
                </a:lnTo>
                <a:lnTo>
                  <a:pt x="2948" y="851"/>
                </a:lnTo>
                <a:lnTo>
                  <a:pt x="2937" y="867"/>
                </a:lnTo>
                <a:lnTo>
                  <a:pt x="2948" y="884"/>
                </a:lnTo>
                <a:lnTo>
                  <a:pt x="2882" y="900"/>
                </a:lnTo>
                <a:lnTo>
                  <a:pt x="2830" y="884"/>
                </a:lnTo>
                <a:lnTo>
                  <a:pt x="2807" y="834"/>
                </a:lnTo>
                <a:lnTo>
                  <a:pt x="2731" y="822"/>
                </a:lnTo>
                <a:lnTo>
                  <a:pt x="2693" y="827"/>
                </a:lnTo>
                <a:lnTo>
                  <a:pt x="2679" y="822"/>
                </a:lnTo>
                <a:lnTo>
                  <a:pt x="2693" y="806"/>
                </a:lnTo>
                <a:lnTo>
                  <a:pt x="2679" y="806"/>
                </a:lnTo>
                <a:lnTo>
                  <a:pt x="2596" y="827"/>
                </a:lnTo>
                <a:lnTo>
                  <a:pt x="2570" y="822"/>
                </a:lnTo>
                <a:lnTo>
                  <a:pt x="2521" y="789"/>
                </a:lnTo>
                <a:lnTo>
                  <a:pt x="2542" y="773"/>
                </a:lnTo>
                <a:lnTo>
                  <a:pt x="2630" y="789"/>
                </a:lnTo>
                <a:lnTo>
                  <a:pt x="2641" y="766"/>
                </a:lnTo>
                <a:lnTo>
                  <a:pt x="2592" y="766"/>
                </a:lnTo>
                <a:lnTo>
                  <a:pt x="2646" y="749"/>
                </a:lnTo>
                <a:lnTo>
                  <a:pt x="2608" y="749"/>
                </a:lnTo>
                <a:lnTo>
                  <a:pt x="2608" y="749"/>
                </a:lnTo>
                <a:lnTo>
                  <a:pt x="2608" y="749"/>
                </a:lnTo>
                <a:close/>
                <a:moveTo>
                  <a:pt x="3865" y="695"/>
                </a:moveTo>
                <a:lnTo>
                  <a:pt x="3919" y="700"/>
                </a:lnTo>
                <a:lnTo>
                  <a:pt x="3827" y="723"/>
                </a:lnTo>
                <a:lnTo>
                  <a:pt x="3865" y="695"/>
                </a:lnTo>
                <a:lnTo>
                  <a:pt x="3865" y="695"/>
                </a:lnTo>
                <a:lnTo>
                  <a:pt x="3865" y="695"/>
                </a:lnTo>
                <a:close/>
                <a:moveTo>
                  <a:pt x="3100" y="900"/>
                </a:moveTo>
                <a:lnTo>
                  <a:pt x="3078" y="889"/>
                </a:lnTo>
                <a:lnTo>
                  <a:pt x="3078" y="884"/>
                </a:lnTo>
                <a:lnTo>
                  <a:pt x="3083" y="877"/>
                </a:lnTo>
                <a:lnTo>
                  <a:pt x="3029" y="860"/>
                </a:lnTo>
                <a:lnTo>
                  <a:pt x="3100" y="844"/>
                </a:lnTo>
                <a:lnTo>
                  <a:pt x="3019" y="822"/>
                </a:lnTo>
                <a:lnTo>
                  <a:pt x="3019" y="806"/>
                </a:lnTo>
                <a:lnTo>
                  <a:pt x="2986" y="789"/>
                </a:lnTo>
                <a:lnTo>
                  <a:pt x="3019" y="778"/>
                </a:lnTo>
                <a:lnTo>
                  <a:pt x="2991" y="766"/>
                </a:lnTo>
                <a:lnTo>
                  <a:pt x="2991" y="740"/>
                </a:lnTo>
                <a:lnTo>
                  <a:pt x="3029" y="733"/>
                </a:lnTo>
                <a:lnTo>
                  <a:pt x="3078" y="749"/>
                </a:lnTo>
                <a:lnTo>
                  <a:pt x="3147" y="766"/>
                </a:lnTo>
                <a:lnTo>
                  <a:pt x="3147" y="778"/>
                </a:lnTo>
                <a:lnTo>
                  <a:pt x="3192" y="778"/>
                </a:lnTo>
                <a:lnTo>
                  <a:pt x="3239" y="806"/>
                </a:lnTo>
                <a:lnTo>
                  <a:pt x="3201" y="827"/>
                </a:lnTo>
                <a:lnTo>
                  <a:pt x="3234" y="844"/>
                </a:lnTo>
                <a:lnTo>
                  <a:pt x="3218" y="867"/>
                </a:lnTo>
                <a:lnTo>
                  <a:pt x="3116" y="884"/>
                </a:lnTo>
                <a:lnTo>
                  <a:pt x="3109" y="884"/>
                </a:lnTo>
                <a:lnTo>
                  <a:pt x="3126" y="889"/>
                </a:lnTo>
                <a:lnTo>
                  <a:pt x="3100" y="900"/>
                </a:lnTo>
                <a:lnTo>
                  <a:pt x="3100" y="900"/>
                </a:lnTo>
                <a:lnTo>
                  <a:pt x="3100" y="900"/>
                </a:lnTo>
                <a:close/>
                <a:moveTo>
                  <a:pt x="4675" y="756"/>
                </a:moveTo>
                <a:lnTo>
                  <a:pt x="4649" y="749"/>
                </a:lnTo>
                <a:lnTo>
                  <a:pt x="4692" y="749"/>
                </a:lnTo>
                <a:lnTo>
                  <a:pt x="4675" y="756"/>
                </a:lnTo>
                <a:lnTo>
                  <a:pt x="4675" y="756"/>
                </a:lnTo>
                <a:lnTo>
                  <a:pt x="4675" y="756"/>
                </a:lnTo>
                <a:close/>
                <a:moveTo>
                  <a:pt x="2067" y="822"/>
                </a:moveTo>
                <a:lnTo>
                  <a:pt x="2030" y="806"/>
                </a:lnTo>
                <a:lnTo>
                  <a:pt x="1949" y="822"/>
                </a:lnTo>
                <a:lnTo>
                  <a:pt x="1944" y="811"/>
                </a:lnTo>
                <a:lnTo>
                  <a:pt x="1961" y="794"/>
                </a:lnTo>
                <a:lnTo>
                  <a:pt x="2143" y="740"/>
                </a:lnTo>
                <a:lnTo>
                  <a:pt x="2230" y="789"/>
                </a:lnTo>
                <a:lnTo>
                  <a:pt x="2214" y="822"/>
                </a:lnTo>
                <a:lnTo>
                  <a:pt x="2143" y="822"/>
                </a:lnTo>
                <a:lnTo>
                  <a:pt x="2100" y="806"/>
                </a:lnTo>
                <a:lnTo>
                  <a:pt x="2067" y="822"/>
                </a:lnTo>
                <a:lnTo>
                  <a:pt x="2067" y="822"/>
                </a:lnTo>
                <a:lnTo>
                  <a:pt x="2067" y="822"/>
                </a:lnTo>
                <a:close/>
                <a:moveTo>
                  <a:pt x="3721" y="794"/>
                </a:moveTo>
                <a:lnTo>
                  <a:pt x="3704" y="827"/>
                </a:lnTo>
                <a:lnTo>
                  <a:pt x="3688" y="822"/>
                </a:lnTo>
                <a:lnTo>
                  <a:pt x="3704" y="794"/>
                </a:lnTo>
                <a:lnTo>
                  <a:pt x="3721" y="794"/>
                </a:lnTo>
                <a:lnTo>
                  <a:pt x="3721" y="794"/>
                </a:lnTo>
                <a:lnTo>
                  <a:pt x="3721" y="794"/>
                </a:lnTo>
                <a:close/>
                <a:moveTo>
                  <a:pt x="3260" y="822"/>
                </a:moveTo>
                <a:lnTo>
                  <a:pt x="3277" y="834"/>
                </a:lnTo>
                <a:lnTo>
                  <a:pt x="3244" y="822"/>
                </a:lnTo>
                <a:lnTo>
                  <a:pt x="3260" y="822"/>
                </a:lnTo>
                <a:lnTo>
                  <a:pt x="3260" y="822"/>
                </a:lnTo>
                <a:lnTo>
                  <a:pt x="3260" y="822"/>
                </a:lnTo>
                <a:close/>
                <a:moveTo>
                  <a:pt x="2679" y="822"/>
                </a:moveTo>
                <a:lnTo>
                  <a:pt x="2684" y="827"/>
                </a:lnTo>
                <a:lnTo>
                  <a:pt x="2663" y="844"/>
                </a:lnTo>
                <a:lnTo>
                  <a:pt x="2646" y="834"/>
                </a:lnTo>
                <a:lnTo>
                  <a:pt x="2679" y="822"/>
                </a:lnTo>
                <a:lnTo>
                  <a:pt x="2679" y="822"/>
                </a:lnTo>
                <a:lnTo>
                  <a:pt x="2679" y="822"/>
                </a:lnTo>
                <a:close/>
                <a:moveTo>
                  <a:pt x="2759" y="827"/>
                </a:moveTo>
                <a:lnTo>
                  <a:pt x="2759" y="834"/>
                </a:lnTo>
                <a:lnTo>
                  <a:pt x="2748" y="834"/>
                </a:lnTo>
                <a:lnTo>
                  <a:pt x="2759" y="827"/>
                </a:lnTo>
                <a:lnTo>
                  <a:pt x="2759" y="827"/>
                </a:lnTo>
                <a:lnTo>
                  <a:pt x="2759" y="827"/>
                </a:lnTo>
                <a:close/>
                <a:moveTo>
                  <a:pt x="2030" y="971"/>
                </a:moveTo>
                <a:lnTo>
                  <a:pt x="1949" y="938"/>
                </a:lnTo>
                <a:lnTo>
                  <a:pt x="1949" y="905"/>
                </a:lnTo>
                <a:lnTo>
                  <a:pt x="1944" y="889"/>
                </a:lnTo>
                <a:lnTo>
                  <a:pt x="1949" y="877"/>
                </a:lnTo>
                <a:lnTo>
                  <a:pt x="2084" y="851"/>
                </a:lnTo>
                <a:lnTo>
                  <a:pt x="2209" y="851"/>
                </a:lnTo>
                <a:lnTo>
                  <a:pt x="2193" y="867"/>
                </a:lnTo>
                <a:lnTo>
                  <a:pt x="2112" y="889"/>
                </a:lnTo>
                <a:lnTo>
                  <a:pt x="2129" y="900"/>
                </a:lnTo>
                <a:lnTo>
                  <a:pt x="2167" y="900"/>
                </a:lnTo>
                <a:lnTo>
                  <a:pt x="2176" y="922"/>
                </a:lnTo>
                <a:lnTo>
                  <a:pt x="2159" y="938"/>
                </a:lnTo>
                <a:lnTo>
                  <a:pt x="2030" y="971"/>
                </a:lnTo>
                <a:lnTo>
                  <a:pt x="2030" y="971"/>
                </a:lnTo>
                <a:lnTo>
                  <a:pt x="2030" y="971"/>
                </a:lnTo>
                <a:close/>
                <a:moveTo>
                  <a:pt x="1878" y="905"/>
                </a:moveTo>
                <a:lnTo>
                  <a:pt x="1815" y="867"/>
                </a:lnTo>
                <a:lnTo>
                  <a:pt x="1874" y="851"/>
                </a:lnTo>
                <a:lnTo>
                  <a:pt x="1923" y="889"/>
                </a:lnTo>
                <a:lnTo>
                  <a:pt x="1878" y="905"/>
                </a:lnTo>
                <a:lnTo>
                  <a:pt x="1878" y="905"/>
                </a:lnTo>
                <a:lnTo>
                  <a:pt x="1878" y="905"/>
                </a:lnTo>
                <a:close/>
                <a:moveTo>
                  <a:pt x="2759" y="884"/>
                </a:moveTo>
                <a:lnTo>
                  <a:pt x="2807" y="905"/>
                </a:lnTo>
                <a:lnTo>
                  <a:pt x="2731" y="917"/>
                </a:lnTo>
                <a:lnTo>
                  <a:pt x="2705" y="905"/>
                </a:lnTo>
                <a:lnTo>
                  <a:pt x="2700" y="889"/>
                </a:lnTo>
                <a:lnTo>
                  <a:pt x="2759" y="884"/>
                </a:lnTo>
                <a:lnTo>
                  <a:pt x="2759" y="884"/>
                </a:lnTo>
                <a:lnTo>
                  <a:pt x="2759" y="884"/>
                </a:lnTo>
                <a:close/>
                <a:moveTo>
                  <a:pt x="4444" y="884"/>
                </a:moveTo>
                <a:lnTo>
                  <a:pt x="4448" y="889"/>
                </a:lnTo>
                <a:lnTo>
                  <a:pt x="4422" y="889"/>
                </a:lnTo>
                <a:lnTo>
                  <a:pt x="4444" y="884"/>
                </a:lnTo>
                <a:lnTo>
                  <a:pt x="4444" y="884"/>
                </a:lnTo>
                <a:lnTo>
                  <a:pt x="4444" y="884"/>
                </a:lnTo>
                <a:close/>
                <a:moveTo>
                  <a:pt x="3352" y="905"/>
                </a:moveTo>
                <a:lnTo>
                  <a:pt x="3364" y="917"/>
                </a:lnTo>
                <a:lnTo>
                  <a:pt x="3343" y="922"/>
                </a:lnTo>
                <a:lnTo>
                  <a:pt x="3326" y="943"/>
                </a:lnTo>
                <a:lnTo>
                  <a:pt x="3163" y="943"/>
                </a:lnTo>
                <a:lnTo>
                  <a:pt x="3133" y="922"/>
                </a:lnTo>
                <a:lnTo>
                  <a:pt x="3137" y="917"/>
                </a:lnTo>
                <a:lnTo>
                  <a:pt x="3192" y="889"/>
                </a:lnTo>
                <a:lnTo>
                  <a:pt x="3201" y="905"/>
                </a:lnTo>
                <a:lnTo>
                  <a:pt x="3326" y="900"/>
                </a:lnTo>
                <a:lnTo>
                  <a:pt x="3352" y="905"/>
                </a:lnTo>
                <a:lnTo>
                  <a:pt x="3352" y="905"/>
                </a:lnTo>
                <a:lnTo>
                  <a:pt x="3352" y="905"/>
                </a:lnTo>
                <a:close/>
                <a:moveTo>
                  <a:pt x="2483" y="900"/>
                </a:moveTo>
                <a:lnTo>
                  <a:pt x="2521" y="933"/>
                </a:lnTo>
                <a:lnTo>
                  <a:pt x="2533" y="943"/>
                </a:lnTo>
                <a:lnTo>
                  <a:pt x="2521" y="955"/>
                </a:lnTo>
                <a:lnTo>
                  <a:pt x="2542" y="955"/>
                </a:lnTo>
                <a:lnTo>
                  <a:pt x="2570" y="988"/>
                </a:lnTo>
                <a:lnTo>
                  <a:pt x="2542" y="1000"/>
                </a:lnTo>
                <a:lnTo>
                  <a:pt x="2504" y="988"/>
                </a:lnTo>
                <a:lnTo>
                  <a:pt x="2483" y="971"/>
                </a:lnTo>
                <a:lnTo>
                  <a:pt x="2469" y="922"/>
                </a:lnTo>
                <a:lnTo>
                  <a:pt x="2452" y="905"/>
                </a:lnTo>
                <a:lnTo>
                  <a:pt x="2483" y="900"/>
                </a:lnTo>
                <a:lnTo>
                  <a:pt x="2483" y="900"/>
                </a:lnTo>
                <a:lnTo>
                  <a:pt x="2483" y="900"/>
                </a:lnTo>
                <a:close/>
                <a:moveTo>
                  <a:pt x="3546" y="988"/>
                </a:moveTo>
                <a:lnTo>
                  <a:pt x="3494" y="962"/>
                </a:lnTo>
                <a:lnTo>
                  <a:pt x="3494" y="933"/>
                </a:lnTo>
                <a:lnTo>
                  <a:pt x="3515" y="917"/>
                </a:lnTo>
                <a:lnTo>
                  <a:pt x="3563" y="922"/>
                </a:lnTo>
                <a:lnTo>
                  <a:pt x="3596" y="943"/>
                </a:lnTo>
                <a:lnTo>
                  <a:pt x="3600" y="962"/>
                </a:lnTo>
                <a:lnTo>
                  <a:pt x="3546" y="988"/>
                </a:lnTo>
                <a:lnTo>
                  <a:pt x="3546" y="988"/>
                </a:lnTo>
                <a:lnTo>
                  <a:pt x="3546" y="988"/>
                </a:lnTo>
                <a:close/>
                <a:moveTo>
                  <a:pt x="3910" y="933"/>
                </a:moveTo>
                <a:lnTo>
                  <a:pt x="3941" y="938"/>
                </a:lnTo>
                <a:lnTo>
                  <a:pt x="3919" y="943"/>
                </a:lnTo>
                <a:lnTo>
                  <a:pt x="3886" y="933"/>
                </a:lnTo>
                <a:lnTo>
                  <a:pt x="3910" y="933"/>
                </a:lnTo>
                <a:lnTo>
                  <a:pt x="3910" y="933"/>
                </a:lnTo>
                <a:lnTo>
                  <a:pt x="3910" y="933"/>
                </a:lnTo>
                <a:close/>
                <a:moveTo>
                  <a:pt x="1734" y="1082"/>
                </a:moveTo>
                <a:lnTo>
                  <a:pt x="1680" y="1087"/>
                </a:lnTo>
                <a:lnTo>
                  <a:pt x="1692" y="1111"/>
                </a:lnTo>
                <a:lnTo>
                  <a:pt x="1654" y="1127"/>
                </a:lnTo>
                <a:lnTo>
                  <a:pt x="1609" y="1106"/>
                </a:lnTo>
                <a:lnTo>
                  <a:pt x="1621" y="1066"/>
                </a:lnTo>
                <a:lnTo>
                  <a:pt x="1637" y="1049"/>
                </a:lnTo>
                <a:lnTo>
                  <a:pt x="1588" y="1049"/>
                </a:lnTo>
                <a:lnTo>
                  <a:pt x="1583" y="1054"/>
                </a:lnTo>
                <a:lnTo>
                  <a:pt x="1588" y="1082"/>
                </a:lnTo>
                <a:lnTo>
                  <a:pt x="1545" y="1087"/>
                </a:lnTo>
                <a:lnTo>
                  <a:pt x="1571" y="1111"/>
                </a:lnTo>
                <a:lnTo>
                  <a:pt x="1550" y="1127"/>
                </a:lnTo>
                <a:lnTo>
                  <a:pt x="1545" y="1144"/>
                </a:lnTo>
                <a:lnTo>
                  <a:pt x="1529" y="1155"/>
                </a:lnTo>
                <a:lnTo>
                  <a:pt x="1503" y="1122"/>
                </a:lnTo>
                <a:lnTo>
                  <a:pt x="1496" y="1122"/>
                </a:lnTo>
                <a:lnTo>
                  <a:pt x="1503" y="1144"/>
                </a:lnTo>
                <a:lnTo>
                  <a:pt x="1491" y="1155"/>
                </a:lnTo>
                <a:lnTo>
                  <a:pt x="1512" y="1160"/>
                </a:lnTo>
                <a:lnTo>
                  <a:pt x="1512" y="1165"/>
                </a:lnTo>
                <a:lnTo>
                  <a:pt x="1448" y="1193"/>
                </a:lnTo>
                <a:lnTo>
                  <a:pt x="1441" y="1193"/>
                </a:lnTo>
                <a:lnTo>
                  <a:pt x="1441" y="1165"/>
                </a:lnTo>
                <a:lnTo>
                  <a:pt x="1427" y="1165"/>
                </a:lnTo>
                <a:lnTo>
                  <a:pt x="1420" y="1144"/>
                </a:lnTo>
                <a:lnTo>
                  <a:pt x="1411" y="1139"/>
                </a:lnTo>
                <a:lnTo>
                  <a:pt x="1404" y="1144"/>
                </a:lnTo>
                <a:lnTo>
                  <a:pt x="1411" y="1165"/>
                </a:lnTo>
                <a:lnTo>
                  <a:pt x="1404" y="1177"/>
                </a:lnTo>
                <a:lnTo>
                  <a:pt x="1328" y="1160"/>
                </a:lnTo>
                <a:lnTo>
                  <a:pt x="1297" y="1177"/>
                </a:lnTo>
                <a:lnTo>
                  <a:pt x="1281" y="1165"/>
                </a:lnTo>
                <a:lnTo>
                  <a:pt x="1302" y="1155"/>
                </a:lnTo>
                <a:lnTo>
                  <a:pt x="1281" y="1155"/>
                </a:lnTo>
                <a:lnTo>
                  <a:pt x="1297" y="1144"/>
                </a:lnTo>
                <a:lnTo>
                  <a:pt x="1285" y="1139"/>
                </a:lnTo>
                <a:lnTo>
                  <a:pt x="1259" y="1155"/>
                </a:lnTo>
                <a:lnTo>
                  <a:pt x="1285" y="1111"/>
                </a:lnTo>
                <a:lnTo>
                  <a:pt x="1366" y="1106"/>
                </a:lnTo>
                <a:lnTo>
                  <a:pt x="1389" y="1070"/>
                </a:lnTo>
                <a:lnTo>
                  <a:pt x="1441" y="1049"/>
                </a:lnTo>
                <a:lnTo>
                  <a:pt x="1465" y="1016"/>
                </a:lnTo>
                <a:lnTo>
                  <a:pt x="1517" y="988"/>
                </a:lnTo>
                <a:lnTo>
                  <a:pt x="1533" y="971"/>
                </a:lnTo>
                <a:lnTo>
                  <a:pt x="1621" y="955"/>
                </a:lnTo>
                <a:lnTo>
                  <a:pt x="1680" y="971"/>
                </a:lnTo>
                <a:lnTo>
                  <a:pt x="1675" y="962"/>
                </a:lnTo>
                <a:lnTo>
                  <a:pt x="1696" y="971"/>
                </a:lnTo>
                <a:lnTo>
                  <a:pt x="1713" y="955"/>
                </a:lnTo>
                <a:lnTo>
                  <a:pt x="1675" y="943"/>
                </a:lnTo>
                <a:lnTo>
                  <a:pt x="1718" y="933"/>
                </a:lnTo>
                <a:lnTo>
                  <a:pt x="1798" y="971"/>
                </a:lnTo>
                <a:lnTo>
                  <a:pt x="1734" y="988"/>
                </a:lnTo>
                <a:lnTo>
                  <a:pt x="1734" y="1000"/>
                </a:lnTo>
                <a:lnTo>
                  <a:pt x="1734" y="1011"/>
                </a:lnTo>
                <a:lnTo>
                  <a:pt x="1772" y="1028"/>
                </a:lnTo>
                <a:lnTo>
                  <a:pt x="1730" y="1028"/>
                </a:lnTo>
                <a:lnTo>
                  <a:pt x="1751" y="1049"/>
                </a:lnTo>
                <a:lnTo>
                  <a:pt x="1760" y="1066"/>
                </a:lnTo>
                <a:lnTo>
                  <a:pt x="1734" y="1082"/>
                </a:lnTo>
                <a:lnTo>
                  <a:pt x="1734" y="1082"/>
                </a:lnTo>
                <a:lnTo>
                  <a:pt x="1734" y="1082"/>
                </a:lnTo>
                <a:close/>
                <a:moveTo>
                  <a:pt x="3504" y="978"/>
                </a:moveTo>
                <a:lnTo>
                  <a:pt x="3525" y="988"/>
                </a:lnTo>
                <a:lnTo>
                  <a:pt x="3508" y="995"/>
                </a:lnTo>
                <a:lnTo>
                  <a:pt x="3487" y="988"/>
                </a:lnTo>
                <a:lnTo>
                  <a:pt x="3504" y="978"/>
                </a:lnTo>
                <a:lnTo>
                  <a:pt x="3504" y="978"/>
                </a:lnTo>
                <a:lnTo>
                  <a:pt x="3504" y="978"/>
                </a:lnTo>
                <a:close/>
                <a:moveTo>
                  <a:pt x="3201" y="978"/>
                </a:moveTo>
                <a:lnTo>
                  <a:pt x="3208" y="988"/>
                </a:lnTo>
                <a:lnTo>
                  <a:pt x="3185" y="978"/>
                </a:lnTo>
                <a:lnTo>
                  <a:pt x="3201" y="978"/>
                </a:lnTo>
                <a:lnTo>
                  <a:pt x="3201" y="978"/>
                </a:lnTo>
                <a:lnTo>
                  <a:pt x="3201" y="978"/>
                </a:lnTo>
                <a:close/>
                <a:moveTo>
                  <a:pt x="2592" y="995"/>
                </a:moveTo>
                <a:lnTo>
                  <a:pt x="2596" y="1000"/>
                </a:lnTo>
                <a:lnTo>
                  <a:pt x="2570" y="1000"/>
                </a:lnTo>
                <a:lnTo>
                  <a:pt x="2592" y="995"/>
                </a:lnTo>
                <a:lnTo>
                  <a:pt x="2592" y="995"/>
                </a:lnTo>
                <a:lnTo>
                  <a:pt x="2592" y="995"/>
                </a:lnTo>
                <a:close/>
                <a:moveTo>
                  <a:pt x="1911" y="1000"/>
                </a:moveTo>
                <a:lnTo>
                  <a:pt x="1895" y="995"/>
                </a:lnTo>
                <a:lnTo>
                  <a:pt x="1923" y="995"/>
                </a:lnTo>
                <a:lnTo>
                  <a:pt x="1911" y="1000"/>
                </a:lnTo>
                <a:lnTo>
                  <a:pt x="1911" y="1000"/>
                </a:lnTo>
                <a:lnTo>
                  <a:pt x="1911" y="1000"/>
                </a:lnTo>
                <a:close/>
                <a:moveTo>
                  <a:pt x="3818" y="1267"/>
                </a:moveTo>
                <a:lnTo>
                  <a:pt x="3881" y="1255"/>
                </a:lnTo>
                <a:lnTo>
                  <a:pt x="3848" y="1238"/>
                </a:lnTo>
                <a:lnTo>
                  <a:pt x="3903" y="1233"/>
                </a:lnTo>
                <a:lnTo>
                  <a:pt x="3924" y="1215"/>
                </a:lnTo>
                <a:lnTo>
                  <a:pt x="3962" y="1222"/>
                </a:lnTo>
                <a:lnTo>
                  <a:pt x="3945" y="1215"/>
                </a:lnTo>
                <a:lnTo>
                  <a:pt x="4000" y="1193"/>
                </a:lnTo>
                <a:lnTo>
                  <a:pt x="4054" y="1210"/>
                </a:lnTo>
                <a:lnTo>
                  <a:pt x="4120" y="1193"/>
                </a:lnTo>
                <a:lnTo>
                  <a:pt x="4172" y="1193"/>
                </a:lnTo>
                <a:lnTo>
                  <a:pt x="4196" y="1198"/>
                </a:lnTo>
                <a:lnTo>
                  <a:pt x="4189" y="1215"/>
                </a:lnTo>
                <a:lnTo>
                  <a:pt x="4243" y="1215"/>
                </a:lnTo>
                <a:lnTo>
                  <a:pt x="4281" y="1233"/>
                </a:lnTo>
                <a:lnTo>
                  <a:pt x="4248" y="1250"/>
                </a:lnTo>
                <a:lnTo>
                  <a:pt x="4314" y="1250"/>
                </a:lnTo>
                <a:lnTo>
                  <a:pt x="4302" y="1250"/>
                </a:lnTo>
                <a:lnTo>
                  <a:pt x="4314" y="1267"/>
                </a:lnTo>
                <a:lnTo>
                  <a:pt x="4302" y="1271"/>
                </a:lnTo>
                <a:lnTo>
                  <a:pt x="4318" y="1271"/>
                </a:lnTo>
                <a:lnTo>
                  <a:pt x="4314" y="1288"/>
                </a:lnTo>
                <a:lnTo>
                  <a:pt x="4248" y="1304"/>
                </a:lnTo>
                <a:lnTo>
                  <a:pt x="4264" y="1309"/>
                </a:lnTo>
                <a:lnTo>
                  <a:pt x="4259" y="1321"/>
                </a:lnTo>
                <a:lnTo>
                  <a:pt x="4302" y="1309"/>
                </a:lnTo>
                <a:lnTo>
                  <a:pt x="4323" y="1326"/>
                </a:lnTo>
                <a:lnTo>
                  <a:pt x="4281" y="1342"/>
                </a:lnTo>
                <a:lnTo>
                  <a:pt x="4259" y="1321"/>
                </a:lnTo>
                <a:lnTo>
                  <a:pt x="4248" y="1326"/>
                </a:lnTo>
                <a:lnTo>
                  <a:pt x="4271" y="1333"/>
                </a:lnTo>
                <a:lnTo>
                  <a:pt x="4264" y="1378"/>
                </a:lnTo>
                <a:lnTo>
                  <a:pt x="4196" y="1378"/>
                </a:lnTo>
                <a:lnTo>
                  <a:pt x="4151" y="1387"/>
                </a:lnTo>
                <a:lnTo>
                  <a:pt x="4070" y="1378"/>
                </a:lnTo>
                <a:lnTo>
                  <a:pt x="4054" y="1359"/>
                </a:lnTo>
                <a:lnTo>
                  <a:pt x="4066" y="1342"/>
                </a:lnTo>
                <a:lnTo>
                  <a:pt x="4066" y="1333"/>
                </a:lnTo>
                <a:lnTo>
                  <a:pt x="4033" y="1326"/>
                </a:lnTo>
                <a:lnTo>
                  <a:pt x="4033" y="1333"/>
                </a:lnTo>
                <a:lnTo>
                  <a:pt x="4049" y="1342"/>
                </a:lnTo>
                <a:lnTo>
                  <a:pt x="4033" y="1378"/>
                </a:lnTo>
                <a:lnTo>
                  <a:pt x="3978" y="1382"/>
                </a:lnTo>
                <a:lnTo>
                  <a:pt x="3936" y="1382"/>
                </a:lnTo>
                <a:lnTo>
                  <a:pt x="3924" y="1359"/>
                </a:lnTo>
                <a:lnTo>
                  <a:pt x="3924" y="1366"/>
                </a:lnTo>
                <a:lnTo>
                  <a:pt x="3924" y="1382"/>
                </a:lnTo>
                <a:lnTo>
                  <a:pt x="3910" y="1382"/>
                </a:lnTo>
                <a:lnTo>
                  <a:pt x="3903" y="1382"/>
                </a:lnTo>
                <a:lnTo>
                  <a:pt x="3886" y="1359"/>
                </a:lnTo>
                <a:lnTo>
                  <a:pt x="3893" y="1378"/>
                </a:lnTo>
                <a:lnTo>
                  <a:pt x="3886" y="1382"/>
                </a:lnTo>
                <a:lnTo>
                  <a:pt x="3848" y="1387"/>
                </a:lnTo>
                <a:lnTo>
                  <a:pt x="3848" y="1378"/>
                </a:lnTo>
                <a:lnTo>
                  <a:pt x="3839" y="1366"/>
                </a:lnTo>
                <a:lnTo>
                  <a:pt x="3827" y="1387"/>
                </a:lnTo>
                <a:lnTo>
                  <a:pt x="3801" y="1366"/>
                </a:lnTo>
                <a:lnTo>
                  <a:pt x="3811" y="1387"/>
                </a:lnTo>
                <a:lnTo>
                  <a:pt x="3676" y="1382"/>
                </a:lnTo>
                <a:lnTo>
                  <a:pt x="3676" y="1366"/>
                </a:lnTo>
                <a:lnTo>
                  <a:pt x="3693" y="1342"/>
                </a:lnTo>
                <a:lnTo>
                  <a:pt x="3676" y="1326"/>
                </a:lnTo>
                <a:lnTo>
                  <a:pt x="3655" y="1359"/>
                </a:lnTo>
                <a:lnTo>
                  <a:pt x="3655" y="1342"/>
                </a:lnTo>
                <a:lnTo>
                  <a:pt x="3638" y="1333"/>
                </a:lnTo>
                <a:lnTo>
                  <a:pt x="3650" y="1342"/>
                </a:lnTo>
                <a:lnTo>
                  <a:pt x="3638" y="1349"/>
                </a:lnTo>
                <a:lnTo>
                  <a:pt x="3622" y="1349"/>
                </a:lnTo>
                <a:lnTo>
                  <a:pt x="3638" y="1359"/>
                </a:lnTo>
                <a:lnTo>
                  <a:pt x="3638" y="1366"/>
                </a:lnTo>
                <a:lnTo>
                  <a:pt x="3612" y="1378"/>
                </a:lnTo>
                <a:lnTo>
                  <a:pt x="3579" y="1382"/>
                </a:lnTo>
                <a:lnTo>
                  <a:pt x="3532" y="1366"/>
                </a:lnTo>
                <a:lnTo>
                  <a:pt x="3525" y="1349"/>
                </a:lnTo>
                <a:lnTo>
                  <a:pt x="3504" y="1359"/>
                </a:lnTo>
                <a:lnTo>
                  <a:pt x="3525" y="1326"/>
                </a:lnTo>
                <a:lnTo>
                  <a:pt x="3494" y="1349"/>
                </a:lnTo>
                <a:lnTo>
                  <a:pt x="3504" y="1366"/>
                </a:lnTo>
                <a:lnTo>
                  <a:pt x="3470" y="1366"/>
                </a:lnTo>
                <a:lnTo>
                  <a:pt x="3433" y="1342"/>
                </a:lnTo>
                <a:lnTo>
                  <a:pt x="3440" y="1326"/>
                </a:lnTo>
                <a:lnTo>
                  <a:pt x="3423" y="1304"/>
                </a:lnTo>
                <a:lnTo>
                  <a:pt x="3440" y="1292"/>
                </a:lnTo>
                <a:lnTo>
                  <a:pt x="3433" y="1288"/>
                </a:lnTo>
                <a:lnTo>
                  <a:pt x="3402" y="1276"/>
                </a:lnTo>
                <a:lnTo>
                  <a:pt x="3407" y="1250"/>
                </a:lnTo>
                <a:lnTo>
                  <a:pt x="3440" y="1222"/>
                </a:lnTo>
                <a:lnTo>
                  <a:pt x="3423" y="1210"/>
                </a:lnTo>
                <a:lnTo>
                  <a:pt x="3433" y="1181"/>
                </a:lnTo>
                <a:lnTo>
                  <a:pt x="3395" y="1165"/>
                </a:lnTo>
                <a:lnTo>
                  <a:pt x="3395" y="1155"/>
                </a:lnTo>
                <a:lnTo>
                  <a:pt x="3364" y="1111"/>
                </a:lnTo>
                <a:lnTo>
                  <a:pt x="3310" y="1127"/>
                </a:lnTo>
                <a:lnTo>
                  <a:pt x="3201" y="1127"/>
                </a:lnTo>
                <a:lnTo>
                  <a:pt x="3201" y="1122"/>
                </a:lnTo>
                <a:lnTo>
                  <a:pt x="3239" y="1122"/>
                </a:lnTo>
                <a:lnTo>
                  <a:pt x="3170" y="1106"/>
                </a:lnTo>
                <a:lnTo>
                  <a:pt x="3147" y="1087"/>
                </a:lnTo>
                <a:lnTo>
                  <a:pt x="3185" y="1070"/>
                </a:lnTo>
                <a:lnTo>
                  <a:pt x="3154" y="1082"/>
                </a:lnTo>
                <a:lnTo>
                  <a:pt x="3095" y="1054"/>
                </a:lnTo>
                <a:lnTo>
                  <a:pt x="3100" y="1044"/>
                </a:lnTo>
                <a:lnTo>
                  <a:pt x="3133" y="1054"/>
                </a:lnTo>
                <a:lnTo>
                  <a:pt x="3100" y="1033"/>
                </a:lnTo>
                <a:lnTo>
                  <a:pt x="3095" y="1028"/>
                </a:lnTo>
                <a:lnTo>
                  <a:pt x="3109" y="1028"/>
                </a:lnTo>
                <a:lnTo>
                  <a:pt x="3100" y="1016"/>
                </a:lnTo>
                <a:lnTo>
                  <a:pt x="3180" y="1011"/>
                </a:lnTo>
                <a:lnTo>
                  <a:pt x="3277" y="1033"/>
                </a:lnTo>
                <a:lnTo>
                  <a:pt x="3315" y="1028"/>
                </a:lnTo>
                <a:lnTo>
                  <a:pt x="3352" y="1054"/>
                </a:lnTo>
                <a:lnTo>
                  <a:pt x="3348" y="1087"/>
                </a:lnTo>
                <a:lnTo>
                  <a:pt x="3326" y="1099"/>
                </a:lnTo>
                <a:lnTo>
                  <a:pt x="3331" y="1111"/>
                </a:lnTo>
                <a:lnTo>
                  <a:pt x="3364" y="1070"/>
                </a:lnTo>
                <a:lnTo>
                  <a:pt x="3508" y="1070"/>
                </a:lnTo>
                <a:lnTo>
                  <a:pt x="3546" y="1099"/>
                </a:lnTo>
                <a:lnTo>
                  <a:pt x="3470" y="1087"/>
                </a:lnTo>
                <a:lnTo>
                  <a:pt x="3633" y="1127"/>
                </a:lnTo>
                <a:lnTo>
                  <a:pt x="3546" y="1144"/>
                </a:lnTo>
                <a:lnTo>
                  <a:pt x="3570" y="1144"/>
                </a:lnTo>
                <a:lnTo>
                  <a:pt x="3461" y="1127"/>
                </a:lnTo>
                <a:lnTo>
                  <a:pt x="3532" y="1155"/>
                </a:lnTo>
                <a:lnTo>
                  <a:pt x="3515" y="1160"/>
                </a:lnTo>
                <a:lnTo>
                  <a:pt x="3563" y="1160"/>
                </a:lnTo>
                <a:lnTo>
                  <a:pt x="3494" y="1160"/>
                </a:lnTo>
                <a:lnTo>
                  <a:pt x="3508" y="1177"/>
                </a:lnTo>
                <a:lnTo>
                  <a:pt x="3504" y="1177"/>
                </a:lnTo>
                <a:lnTo>
                  <a:pt x="3504" y="1193"/>
                </a:lnTo>
                <a:lnTo>
                  <a:pt x="3525" y="1165"/>
                </a:lnTo>
                <a:lnTo>
                  <a:pt x="3546" y="1165"/>
                </a:lnTo>
                <a:lnTo>
                  <a:pt x="3541" y="1181"/>
                </a:lnTo>
                <a:lnTo>
                  <a:pt x="3579" y="1165"/>
                </a:lnTo>
                <a:lnTo>
                  <a:pt x="3600" y="1181"/>
                </a:lnTo>
                <a:lnTo>
                  <a:pt x="3596" y="1198"/>
                </a:lnTo>
                <a:lnTo>
                  <a:pt x="3612" y="1181"/>
                </a:lnTo>
                <a:lnTo>
                  <a:pt x="3633" y="1198"/>
                </a:lnTo>
                <a:lnTo>
                  <a:pt x="3633" y="1222"/>
                </a:lnTo>
                <a:lnTo>
                  <a:pt x="3596" y="1233"/>
                </a:lnTo>
                <a:lnTo>
                  <a:pt x="3612" y="1233"/>
                </a:lnTo>
                <a:lnTo>
                  <a:pt x="3600" y="1233"/>
                </a:lnTo>
                <a:lnTo>
                  <a:pt x="3633" y="1222"/>
                </a:lnTo>
                <a:lnTo>
                  <a:pt x="3650" y="1250"/>
                </a:lnTo>
                <a:lnTo>
                  <a:pt x="3667" y="1250"/>
                </a:lnTo>
                <a:lnTo>
                  <a:pt x="3655" y="1222"/>
                </a:lnTo>
                <a:lnTo>
                  <a:pt x="3667" y="1215"/>
                </a:lnTo>
                <a:lnTo>
                  <a:pt x="3704" y="1233"/>
                </a:lnTo>
                <a:lnTo>
                  <a:pt x="3704" y="1238"/>
                </a:lnTo>
                <a:lnTo>
                  <a:pt x="3742" y="1233"/>
                </a:lnTo>
                <a:lnTo>
                  <a:pt x="3759" y="1238"/>
                </a:lnTo>
                <a:lnTo>
                  <a:pt x="3747" y="1250"/>
                </a:lnTo>
                <a:lnTo>
                  <a:pt x="3759" y="1238"/>
                </a:lnTo>
                <a:lnTo>
                  <a:pt x="3759" y="1233"/>
                </a:lnTo>
                <a:lnTo>
                  <a:pt x="3763" y="1222"/>
                </a:lnTo>
                <a:lnTo>
                  <a:pt x="3773" y="1222"/>
                </a:lnTo>
                <a:lnTo>
                  <a:pt x="3834" y="1250"/>
                </a:lnTo>
                <a:lnTo>
                  <a:pt x="3818" y="1267"/>
                </a:lnTo>
                <a:lnTo>
                  <a:pt x="3818" y="1267"/>
                </a:lnTo>
                <a:lnTo>
                  <a:pt x="3818" y="1267"/>
                </a:lnTo>
                <a:close/>
                <a:moveTo>
                  <a:pt x="3071" y="1011"/>
                </a:moveTo>
                <a:lnTo>
                  <a:pt x="3078" y="1016"/>
                </a:lnTo>
                <a:lnTo>
                  <a:pt x="3057" y="1016"/>
                </a:lnTo>
                <a:lnTo>
                  <a:pt x="3071" y="1011"/>
                </a:lnTo>
                <a:lnTo>
                  <a:pt x="3071" y="1011"/>
                </a:lnTo>
                <a:lnTo>
                  <a:pt x="3071" y="1011"/>
                </a:lnTo>
                <a:close/>
                <a:moveTo>
                  <a:pt x="2230" y="1028"/>
                </a:moveTo>
                <a:lnTo>
                  <a:pt x="2235" y="1033"/>
                </a:lnTo>
                <a:lnTo>
                  <a:pt x="2219" y="1028"/>
                </a:lnTo>
                <a:lnTo>
                  <a:pt x="2230" y="1028"/>
                </a:lnTo>
                <a:lnTo>
                  <a:pt x="2230" y="1028"/>
                </a:lnTo>
                <a:lnTo>
                  <a:pt x="2230" y="1028"/>
                </a:lnTo>
                <a:close/>
                <a:moveTo>
                  <a:pt x="1890" y="1066"/>
                </a:moveTo>
                <a:lnTo>
                  <a:pt x="1836" y="1049"/>
                </a:lnTo>
                <a:lnTo>
                  <a:pt x="1852" y="1033"/>
                </a:lnTo>
                <a:lnTo>
                  <a:pt x="1907" y="1033"/>
                </a:lnTo>
                <a:lnTo>
                  <a:pt x="1933" y="1049"/>
                </a:lnTo>
                <a:lnTo>
                  <a:pt x="1890" y="1066"/>
                </a:lnTo>
                <a:lnTo>
                  <a:pt x="1890" y="1066"/>
                </a:lnTo>
                <a:lnTo>
                  <a:pt x="1890" y="1066"/>
                </a:lnTo>
                <a:close/>
                <a:moveTo>
                  <a:pt x="3078" y="1044"/>
                </a:moveTo>
                <a:lnTo>
                  <a:pt x="3083" y="1044"/>
                </a:lnTo>
                <a:lnTo>
                  <a:pt x="3071" y="1044"/>
                </a:lnTo>
                <a:lnTo>
                  <a:pt x="3078" y="1044"/>
                </a:lnTo>
                <a:lnTo>
                  <a:pt x="3078" y="1044"/>
                </a:lnTo>
                <a:lnTo>
                  <a:pt x="3078" y="1044"/>
                </a:lnTo>
                <a:close/>
                <a:moveTo>
                  <a:pt x="2058" y="1309"/>
                </a:moveTo>
                <a:lnTo>
                  <a:pt x="2112" y="1276"/>
                </a:lnTo>
                <a:lnTo>
                  <a:pt x="2004" y="1292"/>
                </a:lnTo>
                <a:lnTo>
                  <a:pt x="2015" y="1276"/>
                </a:lnTo>
                <a:lnTo>
                  <a:pt x="1987" y="1288"/>
                </a:lnTo>
                <a:lnTo>
                  <a:pt x="1987" y="1271"/>
                </a:lnTo>
                <a:lnTo>
                  <a:pt x="1982" y="1292"/>
                </a:lnTo>
                <a:lnTo>
                  <a:pt x="1978" y="1292"/>
                </a:lnTo>
                <a:lnTo>
                  <a:pt x="1895" y="1304"/>
                </a:lnTo>
                <a:lnTo>
                  <a:pt x="1895" y="1292"/>
                </a:lnTo>
                <a:lnTo>
                  <a:pt x="1907" y="1267"/>
                </a:lnTo>
                <a:lnTo>
                  <a:pt x="1944" y="1255"/>
                </a:lnTo>
                <a:lnTo>
                  <a:pt x="1895" y="1255"/>
                </a:lnTo>
                <a:lnTo>
                  <a:pt x="1890" y="1250"/>
                </a:lnTo>
                <a:lnTo>
                  <a:pt x="1890" y="1267"/>
                </a:lnTo>
                <a:lnTo>
                  <a:pt x="1878" y="1276"/>
                </a:lnTo>
                <a:lnTo>
                  <a:pt x="1852" y="1271"/>
                </a:lnTo>
                <a:lnTo>
                  <a:pt x="1874" y="1288"/>
                </a:lnTo>
                <a:lnTo>
                  <a:pt x="1869" y="1304"/>
                </a:lnTo>
                <a:lnTo>
                  <a:pt x="1819" y="1321"/>
                </a:lnTo>
                <a:lnTo>
                  <a:pt x="1815" y="1309"/>
                </a:lnTo>
                <a:lnTo>
                  <a:pt x="1815" y="1292"/>
                </a:lnTo>
                <a:lnTo>
                  <a:pt x="1803" y="1288"/>
                </a:lnTo>
                <a:lnTo>
                  <a:pt x="1798" y="1292"/>
                </a:lnTo>
                <a:lnTo>
                  <a:pt x="1782" y="1292"/>
                </a:lnTo>
                <a:lnTo>
                  <a:pt x="1789" y="1309"/>
                </a:lnTo>
                <a:lnTo>
                  <a:pt x="1772" y="1321"/>
                </a:lnTo>
                <a:lnTo>
                  <a:pt x="1744" y="1304"/>
                </a:lnTo>
                <a:lnTo>
                  <a:pt x="1734" y="1292"/>
                </a:lnTo>
                <a:lnTo>
                  <a:pt x="1734" y="1276"/>
                </a:lnTo>
                <a:lnTo>
                  <a:pt x="1706" y="1292"/>
                </a:lnTo>
                <a:lnTo>
                  <a:pt x="1637" y="1276"/>
                </a:lnTo>
                <a:lnTo>
                  <a:pt x="1663" y="1238"/>
                </a:lnTo>
                <a:lnTo>
                  <a:pt x="1751" y="1238"/>
                </a:lnTo>
                <a:lnTo>
                  <a:pt x="1826" y="1210"/>
                </a:lnTo>
                <a:lnTo>
                  <a:pt x="1730" y="1233"/>
                </a:lnTo>
                <a:lnTo>
                  <a:pt x="1663" y="1222"/>
                </a:lnTo>
                <a:lnTo>
                  <a:pt x="1696" y="1198"/>
                </a:lnTo>
                <a:lnTo>
                  <a:pt x="1836" y="1181"/>
                </a:lnTo>
                <a:lnTo>
                  <a:pt x="1706" y="1177"/>
                </a:lnTo>
                <a:lnTo>
                  <a:pt x="1718" y="1165"/>
                </a:lnTo>
                <a:lnTo>
                  <a:pt x="1706" y="1160"/>
                </a:lnTo>
                <a:lnTo>
                  <a:pt x="1713" y="1155"/>
                </a:lnTo>
                <a:lnTo>
                  <a:pt x="1734" y="1139"/>
                </a:lnTo>
                <a:lnTo>
                  <a:pt x="1852" y="1144"/>
                </a:lnTo>
                <a:lnTo>
                  <a:pt x="1760" y="1122"/>
                </a:lnTo>
                <a:lnTo>
                  <a:pt x="1789" y="1099"/>
                </a:lnTo>
                <a:lnTo>
                  <a:pt x="1826" y="1087"/>
                </a:lnTo>
                <a:lnTo>
                  <a:pt x="1878" y="1099"/>
                </a:lnTo>
                <a:lnTo>
                  <a:pt x="1878" y="1122"/>
                </a:lnTo>
                <a:lnTo>
                  <a:pt x="1895" y="1139"/>
                </a:lnTo>
                <a:lnTo>
                  <a:pt x="1966" y="1127"/>
                </a:lnTo>
                <a:lnTo>
                  <a:pt x="2004" y="1139"/>
                </a:lnTo>
                <a:lnTo>
                  <a:pt x="1999" y="1155"/>
                </a:lnTo>
                <a:lnTo>
                  <a:pt x="2004" y="1160"/>
                </a:lnTo>
                <a:lnTo>
                  <a:pt x="2053" y="1177"/>
                </a:lnTo>
                <a:lnTo>
                  <a:pt x="2020" y="1193"/>
                </a:lnTo>
                <a:lnTo>
                  <a:pt x="2074" y="1193"/>
                </a:lnTo>
                <a:lnTo>
                  <a:pt x="2084" y="1210"/>
                </a:lnTo>
                <a:lnTo>
                  <a:pt x="2074" y="1222"/>
                </a:lnTo>
                <a:lnTo>
                  <a:pt x="2091" y="1238"/>
                </a:lnTo>
                <a:lnTo>
                  <a:pt x="2143" y="1233"/>
                </a:lnTo>
                <a:lnTo>
                  <a:pt x="2252" y="1238"/>
                </a:lnTo>
                <a:lnTo>
                  <a:pt x="2263" y="1215"/>
                </a:lnTo>
                <a:lnTo>
                  <a:pt x="2167" y="1181"/>
                </a:lnTo>
                <a:lnTo>
                  <a:pt x="2197" y="1177"/>
                </a:lnTo>
                <a:lnTo>
                  <a:pt x="2219" y="1155"/>
                </a:lnTo>
                <a:lnTo>
                  <a:pt x="2155" y="1122"/>
                </a:lnTo>
                <a:lnTo>
                  <a:pt x="2143" y="1106"/>
                </a:lnTo>
                <a:lnTo>
                  <a:pt x="2197" y="1087"/>
                </a:lnTo>
                <a:lnTo>
                  <a:pt x="2181" y="1087"/>
                </a:lnTo>
                <a:lnTo>
                  <a:pt x="2219" y="1049"/>
                </a:lnTo>
                <a:lnTo>
                  <a:pt x="2263" y="1044"/>
                </a:lnTo>
                <a:lnTo>
                  <a:pt x="2285" y="1054"/>
                </a:lnTo>
                <a:lnTo>
                  <a:pt x="2268" y="1070"/>
                </a:lnTo>
                <a:lnTo>
                  <a:pt x="2273" y="1106"/>
                </a:lnTo>
                <a:lnTo>
                  <a:pt x="2306" y="1122"/>
                </a:lnTo>
                <a:lnTo>
                  <a:pt x="2285" y="1144"/>
                </a:lnTo>
                <a:lnTo>
                  <a:pt x="2289" y="1160"/>
                </a:lnTo>
                <a:lnTo>
                  <a:pt x="2327" y="1160"/>
                </a:lnTo>
                <a:lnTo>
                  <a:pt x="2344" y="1165"/>
                </a:lnTo>
                <a:lnTo>
                  <a:pt x="2318" y="1198"/>
                </a:lnTo>
                <a:lnTo>
                  <a:pt x="2339" y="1181"/>
                </a:lnTo>
                <a:lnTo>
                  <a:pt x="2377" y="1181"/>
                </a:lnTo>
                <a:lnTo>
                  <a:pt x="2393" y="1210"/>
                </a:lnTo>
                <a:lnTo>
                  <a:pt x="2415" y="1198"/>
                </a:lnTo>
                <a:lnTo>
                  <a:pt x="2393" y="1193"/>
                </a:lnTo>
                <a:lnTo>
                  <a:pt x="2393" y="1165"/>
                </a:lnTo>
                <a:lnTo>
                  <a:pt x="2431" y="1160"/>
                </a:lnTo>
                <a:lnTo>
                  <a:pt x="2483" y="1177"/>
                </a:lnTo>
                <a:lnTo>
                  <a:pt x="2490" y="1193"/>
                </a:lnTo>
                <a:lnTo>
                  <a:pt x="2500" y="1215"/>
                </a:lnTo>
                <a:lnTo>
                  <a:pt x="2478" y="1238"/>
                </a:lnTo>
                <a:lnTo>
                  <a:pt x="2483" y="1250"/>
                </a:lnTo>
                <a:lnTo>
                  <a:pt x="2478" y="1267"/>
                </a:lnTo>
                <a:lnTo>
                  <a:pt x="2462" y="1276"/>
                </a:lnTo>
                <a:lnTo>
                  <a:pt x="2462" y="1292"/>
                </a:lnTo>
                <a:lnTo>
                  <a:pt x="2452" y="1292"/>
                </a:lnTo>
                <a:lnTo>
                  <a:pt x="2452" y="1304"/>
                </a:lnTo>
                <a:lnTo>
                  <a:pt x="2393" y="1326"/>
                </a:lnTo>
                <a:lnTo>
                  <a:pt x="2339" y="1321"/>
                </a:lnTo>
                <a:lnTo>
                  <a:pt x="2327" y="1292"/>
                </a:lnTo>
                <a:lnTo>
                  <a:pt x="2322" y="1321"/>
                </a:lnTo>
                <a:lnTo>
                  <a:pt x="2289" y="1326"/>
                </a:lnTo>
                <a:lnTo>
                  <a:pt x="2263" y="1309"/>
                </a:lnTo>
                <a:lnTo>
                  <a:pt x="2285" y="1321"/>
                </a:lnTo>
                <a:lnTo>
                  <a:pt x="2263" y="1304"/>
                </a:lnTo>
                <a:lnTo>
                  <a:pt x="2209" y="1333"/>
                </a:lnTo>
                <a:lnTo>
                  <a:pt x="2155" y="1333"/>
                </a:lnTo>
                <a:lnTo>
                  <a:pt x="2122" y="1359"/>
                </a:lnTo>
                <a:lnTo>
                  <a:pt x="2058" y="1382"/>
                </a:lnTo>
                <a:lnTo>
                  <a:pt x="1982" y="1399"/>
                </a:lnTo>
                <a:lnTo>
                  <a:pt x="1911" y="1387"/>
                </a:lnTo>
                <a:lnTo>
                  <a:pt x="1869" y="1359"/>
                </a:lnTo>
                <a:lnTo>
                  <a:pt x="1978" y="1321"/>
                </a:lnTo>
                <a:lnTo>
                  <a:pt x="2058" y="1309"/>
                </a:lnTo>
                <a:lnTo>
                  <a:pt x="2058" y="1309"/>
                </a:lnTo>
                <a:lnTo>
                  <a:pt x="2058" y="1309"/>
                </a:lnTo>
                <a:close/>
                <a:moveTo>
                  <a:pt x="3579" y="1099"/>
                </a:moveTo>
                <a:lnTo>
                  <a:pt x="3532" y="1054"/>
                </a:lnTo>
                <a:lnTo>
                  <a:pt x="3579" y="1044"/>
                </a:lnTo>
                <a:lnTo>
                  <a:pt x="3600" y="1054"/>
                </a:lnTo>
                <a:lnTo>
                  <a:pt x="3584" y="1070"/>
                </a:lnTo>
                <a:lnTo>
                  <a:pt x="3600" y="1087"/>
                </a:lnTo>
                <a:lnTo>
                  <a:pt x="3579" y="1099"/>
                </a:lnTo>
                <a:lnTo>
                  <a:pt x="3579" y="1099"/>
                </a:lnTo>
                <a:lnTo>
                  <a:pt x="3579" y="1099"/>
                </a:lnTo>
                <a:close/>
                <a:moveTo>
                  <a:pt x="2856" y="1054"/>
                </a:moveTo>
                <a:lnTo>
                  <a:pt x="2785" y="1082"/>
                </a:lnTo>
                <a:lnTo>
                  <a:pt x="2759" y="1082"/>
                </a:lnTo>
                <a:lnTo>
                  <a:pt x="2823" y="1054"/>
                </a:lnTo>
                <a:lnTo>
                  <a:pt x="2856" y="1054"/>
                </a:lnTo>
                <a:lnTo>
                  <a:pt x="2856" y="1054"/>
                </a:lnTo>
                <a:lnTo>
                  <a:pt x="2856" y="1054"/>
                </a:lnTo>
                <a:close/>
                <a:moveTo>
                  <a:pt x="1404" y="1054"/>
                </a:moveTo>
                <a:lnTo>
                  <a:pt x="1411" y="1054"/>
                </a:lnTo>
                <a:lnTo>
                  <a:pt x="1389" y="1054"/>
                </a:lnTo>
                <a:lnTo>
                  <a:pt x="1404" y="1054"/>
                </a:lnTo>
                <a:lnTo>
                  <a:pt x="1404" y="1054"/>
                </a:lnTo>
                <a:lnTo>
                  <a:pt x="1404" y="1054"/>
                </a:lnTo>
                <a:close/>
                <a:moveTo>
                  <a:pt x="2911" y="1054"/>
                </a:moveTo>
                <a:lnTo>
                  <a:pt x="2915" y="1066"/>
                </a:lnTo>
                <a:lnTo>
                  <a:pt x="2868" y="1054"/>
                </a:lnTo>
                <a:lnTo>
                  <a:pt x="2911" y="1054"/>
                </a:lnTo>
                <a:lnTo>
                  <a:pt x="2911" y="1054"/>
                </a:lnTo>
                <a:lnTo>
                  <a:pt x="2911" y="1054"/>
                </a:lnTo>
                <a:close/>
                <a:moveTo>
                  <a:pt x="2899" y="1155"/>
                </a:moveTo>
                <a:lnTo>
                  <a:pt x="2915" y="1144"/>
                </a:lnTo>
                <a:lnTo>
                  <a:pt x="2844" y="1139"/>
                </a:lnTo>
                <a:lnTo>
                  <a:pt x="2840" y="1127"/>
                </a:lnTo>
                <a:lnTo>
                  <a:pt x="2882" y="1122"/>
                </a:lnTo>
                <a:lnTo>
                  <a:pt x="2830" y="1111"/>
                </a:lnTo>
                <a:lnTo>
                  <a:pt x="2807" y="1087"/>
                </a:lnTo>
                <a:lnTo>
                  <a:pt x="2856" y="1070"/>
                </a:lnTo>
                <a:lnTo>
                  <a:pt x="2899" y="1070"/>
                </a:lnTo>
                <a:lnTo>
                  <a:pt x="2937" y="1106"/>
                </a:lnTo>
                <a:lnTo>
                  <a:pt x="2937" y="1099"/>
                </a:lnTo>
                <a:lnTo>
                  <a:pt x="2953" y="1106"/>
                </a:lnTo>
                <a:lnTo>
                  <a:pt x="2948" y="1087"/>
                </a:lnTo>
                <a:lnTo>
                  <a:pt x="2948" y="1070"/>
                </a:lnTo>
                <a:lnTo>
                  <a:pt x="2986" y="1070"/>
                </a:lnTo>
                <a:lnTo>
                  <a:pt x="2953" y="1066"/>
                </a:lnTo>
                <a:lnTo>
                  <a:pt x="2970" y="1066"/>
                </a:lnTo>
                <a:lnTo>
                  <a:pt x="3029" y="1087"/>
                </a:lnTo>
                <a:lnTo>
                  <a:pt x="3041" y="1106"/>
                </a:lnTo>
                <a:lnTo>
                  <a:pt x="3029" y="1111"/>
                </a:lnTo>
                <a:lnTo>
                  <a:pt x="3041" y="1127"/>
                </a:lnTo>
                <a:lnTo>
                  <a:pt x="3057" y="1144"/>
                </a:lnTo>
                <a:lnTo>
                  <a:pt x="3041" y="1165"/>
                </a:lnTo>
                <a:lnTo>
                  <a:pt x="3045" y="1193"/>
                </a:lnTo>
                <a:lnTo>
                  <a:pt x="3024" y="1210"/>
                </a:lnTo>
                <a:lnTo>
                  <a:pt x="3062" y="1215"/>
                </a:lnTo>
                <a:lnTo>
                  <a:pt x="3057" y="1238"/>
                </a:lnTo>
                <a:lnTo>
                  <a:pt x="3071" y="1255"/>
                </a:lnTo>
                <a:lnTo>
                  <a:pt x="3041" y="1233"/>
                </a:lnTo>
                <a:lnTo>
                  <a:pt x="3029" y="1233"/>
                </a:lnTo>
                <a:lnTo>
                  <a:pt x="3029" y="1250"/>
                </a:lnTo>
                <a:lnTo>
                  <a:pt x="3019" y="1238"/>
                </a:lnTo>
                <a:lnTo>
                  <a:pt x="3029" y="1250"/>
                </a:lnTo>
                <a:lnTo>
                  <a:pt x="3019" y="1255"/>
                </a:lnTo>
                <a:lnTo>
                  <a:pt x="3024" y="1255"/>
                </a:lnTo>
                <a:lnTo>
                  <a:pt x="3007" y="1255"/>
                </a:lnTo>
                <a:lnTo>
                  <a:pt x="3007" y="1271"/>
                </a:lnTo>
                <a:lnTo>
                  <a:pt x="3045" y="1288"/>
                </a:lnTo>
                <a:lnTo>
                  <a:pt x="3024" y="1292"/>
                </a:lnTo>
                <a:lnTo>
                  <a:pt x="3019" y="1276"/>
                </a:lnTo>
                <a:lnTo>
                  <a:pt x="3007" y="1288"/>
                </a:lnTo>
                <a:lnTo>
                  <a:pt x="3019" y="1292"/>
                </a:lnTo>
                <a:lnTo>
                  <a:pt x="3019" y="1309"/>
                </a:lnTo>
                <a:lnTo>
                  <a:pt x="2915" y="1309"/>
                </a:lnTo>
                <a:lnTo>
                  <a:pt x="2920" y="1292"/>
                </a:lnTo>
                <a:lnTo>
                  <a:pt x="2911" y="1309"/>
                </a:lnTo>
                <a:lnTo>
                  <a:pt x="2915" y="1309"/>
                </a:lnTo>
                <a:lnTo>
                  <a:pt x="2868" y="1309"/>
                </a:lnTo>
                <a:lnTo>
                  <a:pt x="2844" y="1309"/>
                </a:lnTo>
                <a:lnTo>
                  <a:pt x="2844" y="1288"/>
                </a:lnTo>
                <a:lnTo>
                  <a:pt x="2840" y="1288"/>
                </a:lnTo>
                <a:lnTo>
                  <a:pt x="2878" y="1276"/>
                </a:lnTo>
                <a:lnTo>
                  <a:pt x="2823" y="1267"/>
                </a:lnTo>
                <a:lnTo>
                  <a:pt x="2844" y="1255"/>
                </a:lnTo>
                <a:lnTo>
                  <a:pt x="2830" y="1250"/>
                </a:lnTo>
                <a:lnTo>
                  <a:pt x="2878" y="1250"/>
                </a:lnTo>
                <a:lnTo>
                  <a:pt x="2856" y="1238"/>
                </a:lnTo>
                <a:lnTo>
                  <a:pt x="2899" y="1222"/>
                </a:lnTo>
                <a:lnTo>
                  <a:pt x="2882" y="1222"/>
                </a:lnTo>
                <a:lnTo>
                  <a:pt x="2894" y="1215"/>
                </a:lnTo>
                <a:lnTo>
                  <a:pt x="2953" y="1210"/>
                </a:lnTo>
                <a:lnTo>
                  <a:pt x="2700" y="1238"/>
                </a:lnTo>
                <a:lnTo>
                  <a:pt x="2679" y="1222"/>
                </a:lnTo>
                <a:lnTo>
                  <a:pt x="2700" y="1210"/>
                </a:lnTo>
                <a:lnTo>
                  <a:pt x="2738" y="1210"/>
                </a:lnTo>
                <a:lnTo>
                  <a:pt x="2731" y="1198"/>
                </a:lnTo>
                <a:lnTo>
                  <a:pt x="2705" y="1198"/>
                </a:lnTo>
                <a:lnTo>
                  <a:pt x="2722" y="1181"/>
                </a:lnTo>
                <a:lnTo>
                  <a:pt x="2793" y="1198"/>
                </a:lnTo>
                <a:lnTo>
                  <a:pt x="2785" y="1198"/>
                </a:lnTo>
                <a:lnTo>
                  <a:pt x="2785" y="1193"/>
                </a:lnTo>
                <a:lnTo>
                  <a:pt x="2769" y="1177"/>
                </a:lnTo>
                <a:lnTo>
                  <a:pt x="2785" y="1160"/>
                </a:lnTo>
                <a:lnTo>
                  <a:pt x="2759" y="1165"/>
                </a:lnTo>
                <a:lnTo>
                  <a:pt x="2748" y="1155"/>
                </a:lnTo>
                <a:lnTo>
                  <a:pt x="2776" y="1127"/>
                </a:lnTo>
                <a:lnTo>
                  <a:pt x="2722" y="1127"/>
                </a:lnTo>
                <a:lnTo>
                  <a:pt x="2731" y="1127"/>
                </a:lnTo>
                <a:lnTo>
                  <a:pt x="2731" y="1106"/>
                </a:lnTo>
                <a:lnTo>
                  <a:pt x="2748" y="1099"/>
                </a:lnTo>
                <a:lnTo>
                  <a:pt x="2785" y="1106"/>
                </a:lnTo>
                <a:lnTo>
                  <a:pt x="2878" y="1181"/>
                </a:lnTo>
                <a:lnTo>
                  <a:pt x="2915" y="1165"/>
                </a:lnTo>
                <a:lnTo>
                  <a:pt x="2882" y="1177"/>
                </a:lnTo>
                <a:lnTo>
                  <a:pt x="2861" y="1144"/>
                </a:lnTo>
                <a:lnTo>
                  <a:pt x="2899" y="1155"/>
                </a:lnTo>
                <a:lnTo>
                  <a:pt x="2899" y="1155"/>
                </a:lnTo>
                <a:lnTo>
                  <a:pt x="2899" y="1155"/>
                </a:lnTo>
                <a:close/>
                <a:moveTo>
                  <a:pt x="2587" y="1066"/>
                </a:moveTo>
                <a:lnTo>
                  <a:pt x="2596" y="1070"/>
                </a:lnTo>
                <a:lnTo>
                  <a:pt x="2592" y="1082"/>
                </a:lnTo>
                <a:lnTo>
                  <a:pt x="2608" y="1070"/>
                </a:lnTo>
                <a:lnTo>
                  <a:pt x="2667" y="1106"/>
                </a:lnTo>
                <a:lnTo>
                  <a:pt x="2630" y="1122"/>
                </a:lnTo>
                <a:lnTo>
                  <a:pt x="2570" y="1122"/>
                </a:lnTo>
                <a:lnTo>
                  <a:pt x="2575" y="1111"/>
                </a:lnTo>
                <a:lnTo>
                  <a:pt x="2570" y="1099"/>
                </a:lnTo>
                <a:lnTo>
                  <a:pt x="2542" y="1082"/>
                </a:lnTo>
                <a:lnTo>
                  <a:pt x="2587" y="1066"/>
                </a:lnTo>
                <a:lnTo>
                  <a:pt x="2587" y="1066"/>
                </a:lnTo>
                <a:lnTo>
                  <a:pt x="2587" y="1066"/>
                </a:lnTo>
                <a:close/>
                <a:moveTo>
                  <a:pt x="3990" y="1087"/>
                </a:moveTo>
                <a:lnTo>
                  <a:pt x="4000" y="1099"/>
                </a:lnTo>
                <a:lnTo>
                  <a:pt x="3990" y="1099"/>
                </a:lnTo>
                <a:lnTo>
                  <a:pt x="3990" y="1087"/>
                </a:lnTo>
                <a:lnTo>
                  <a:pt x="3990" y="1087"/>
                </a:lnTo>
                <a:lnTo>
                  <a:pt x="3990" y="1087"/>
                </a:lnTo>
                <a:close/>
                <a:moveTo>
                  <a:pt x="3612" y="1099"/>
                </a:moveTo>
                <a:lnTo>
                  <a:pt x="3617" y="1099"/>
                </a:lnTo>
                <a:lnTo>
                  <a:pt x="3600" y="1099"/>
                </a:lnTo>
                <a:lnTo>
                  <a:pt x="3612" y="1099"/>
                </a:lnTo>
                <a:lnTo>
                  <a:pt x="3612" y="1099"/>
                </a:lnTo>
                <a:lnTo>
                  <a:pt x="3612" y="1099"/>
                </a:lnTo>
                <a:close/>
                <a:moveTo>
                  <a:pt x="2693" y="1122"/>
                </a:moveTo>
                <a:lnTo>
                  <a:pt x="2700" y="1139"/>
                </a:lnTo>
                <a:lnTo>
                  <a:pt x="2693" y="1144"/>
                </a:lnTo>
                <a:lnTo>
                  <a:pt x="2646" y="1160"/>
                </a:lnTo>
                <a:lnTo>
                  <a:pt x="2596" y="1160"/>
                </a:lnTo>
                <a:lnTo>
                  <a:pt x="2608" y="1160"/>
                </a:lnTo>
                <a:lnTo>
                  <a:pt x="2559" y="1144"/>
                </a:lnTo>
                <a:lnTo>
                  <a:pt x="2575" y="1139"/>
                </a:lnTo>
                <a:lnTo>
                  <a:pt x="2693" y="1122"/>
                </a:lnTo>
                <a:lnTo>
                  <a:pt x="2693" y="1122"/>
                </a:lnTo>
                <a:lnTo>
                  <a:pt x="2693" y="1122"/>
                </a:lnTo>
                <a:close/>
                <a:moveTo>
                  <a:pt x="3239" y="1144"/>
                </a:moveTo>
                <a:lnTo>
                  <a:pt x="3234" y="1160"/>
                </a:lnTo>
                <a:lnTo>
                  <a:pt x="3218" y="1155"/>
                </a:lnTo>
                <a:lnTo>
                  <a:pt x="3239" y="1144"/>
                </a:lnTo>
                <a:lnTo>
                  <a:pt x="3239" y="1144"/>
                </a:lnTo>
                <a:lnTo>
                  <a:pt x="3239" y="1144"/>
                </a:lnTo>
                <a:close/>
                <a:moveTo>
                  <a:pt x="4356" y="1155"/>
                </a:moveTo>
                <a:lnTo>
                  <a:pt x="4368" y="1155"/>
                </a:lnTo>
                <a:lnTo>
                  <a:pt x="4335" y="1177"/>
                </a:lnTo>
                <a:lnTo>
                  <a:pt x="4356" y="1193"/>
                </a:lnTo>
                <a:lnTo>
                  <a:pt x="4323" y="1181"/>
                </a:lnTo>
                <a:lnTo>
                  <a:pt x="4318" y="1193"/>
                </a:lnTo>
                <a:lnTo>
                  <a:pt x="4297" y="1181"/>
                </a:lnTo>
                <a:lnTo>
                  <a:pt x="4356" y="1155"/>
                </a:lnTo>
                <a:lnTo>
                  <a:pt x="4356" y="1155"/>
                </a:lnTo>
                <a:lnTo>
                  <a:pt x="4356" y="1155"/>
                </a:lnTo>
                <a:close/>
                <a:moveTo>
                  <a:pt x="1642" y="1155"/>
                </a:moveTo>
                <a:lnTo>
                  <a:pt x="1654" y="1155"/>
                </a:lnTo>
                <a:lnTo>
                  <a:pt x="1588" y="1233"/>
                </a:lnTo>
                <a:lnTo>
                  <a:pt x="1571" y="1238"/>
                </a:lnTo>
                <a:lnTo>
                  <a:pt x="1512" y="1222"/>
                </a:lnTo>
                <a:lnTo>
                  <a:pt x="1571" y="1177"/>
                </a:lnTo>
                <a:lnTo>
                  <a:pt x="1642" y="1155"/>
                </a:lnTo>
                <a:lnTo>
                  <a:pt x="1642" y="1155"/>
                </a:lnTo>
                <a:lnTo>
                  <a:pt x="1642" y="1155"/>
                </a:lnTo>
                <a:close/>
                <a:moveTo>
                  <a:pt x="2717" y="1155"/>
                </a:moveTo>
                <a:lnTo>
                  <a:pt x="2705" y="1165"/>
                </a:lnTo>
                <a:lnTo>
                  <a:pt x="2646" y="1177"/>
                </a:lnTo>
                <a:lnTo>
                  <a:pt x="2596" y="1177"/>
                </a:lnTo>
                <a:lnTo>
                  <a:pt x="2717" y="1155"/>
                </a:lnTo>
                <a:lnTo>
                  <a:pt x="2717" y="1155"/>
                </a:lnTo>
                <a:lnTo>
                  <a:pt x="2717" y="1155"/>
                </a:lnTo>
                <a:close/>
                <a:moveTo>
                  <a:pt x="1276" y="1160"/>
                </a:moveTo>
                <a:lnTo>
                  <a:pt x="1285" y="1160"/>
                </a:lnTo>
                <a:lnTo>
                  <a:pt x="1276" y="1165"/>
                </a:lnTo>
                <a:lnTo>
                  <a:pt x="1276" y="1160"/>
                </a:lnTo>
                <a:lnTo>
                  <a:pt x="1276" y="1160"/>
                </a:lnTo>
                <a:lnTo>
                  <a:pt x="1276" y="1160"/>
                </a:lnTo>
                <a:close/>
                <a:moveTo>
                  <a:pt x="2738" y="1177"/>
                </a:moveTo>
                <a:lnTo>
                  <a:pt x="2693" y="1198"/>
                </a:lnTo>
                <a:lnTo>
                  <a:pt x="2641" y="1198"/>
                </a:lnTo>
                <a:lnTo>
                  <a:pt x="2684" y="1177"/>
                </a:lnTo>
                <a:lnTo>
                  <a:pt x="2738" y="1177"/>
                </a:lnTo>
                <a:lnTo>
                  <a:pt x="2738" y="1177"/>
                </a:lnTo>
                <a:lnTo>
                  <a:pt x="2738" y="1177"/>
                </a:lnTo>
                <a:close/>
                <a:moveTo>
                  <a:pt x="3260" y="1165"/>
                </a:moveTo>
                <a:lnTo>
                  <a:pt x="3277" y="1198"/>
                </a:lnTo>
                <a:lnTo>
                  <a:pt x="3244" y="1198"/>
                </a:lnTo>
                <a:lnTo>
                  <a:pt x="3234" y="1177"/>
                </a:lnTo>
                <a:lnTo>
                  <a:pt x="3260" y="1165"/>
                </a:lnTo>
                <a:lnTo>
                  <a:pt x="3260" y="1165"/>
                </a:lnTo>
                <a:lnTo>
                  <a:pt x="3260" y="1165"/>
                </a:lnTo>
                <a:close/>
                <a:moveTo>
                  <a:pt x="3170" y="1181"/>
                </a:moveTo>
                <a:lnTo>
                  <a:pt x="3163" y="1177"/>
                </a:lnTo>
                <a:lnTo>
                  <a:pt x="3180" y="1165"/>
                </a:lnTo>
                <a:lnTo>
                  <a:pt x="3170" y="1181"/>
                </a:lnTo>
                <a:lnTo>
                  <a:pt x="3170" y="1181"/>
                </a:lnTo>
                <a:lnTo>
                  <a:pt x="3170" y="1181"/>
                </a:lnTo>
                <a:close/>
                <a:moveTo>
                  <a:pt x="1411" y="1177"/>
                </a:moveTo>
                <a:lnTo>
                  <a:pt x="1404" y="1210"/>
                </a:lnTo>
                <a:lnTo>
                  <a:pt x="1382" y="1198"/>
                </a:lnTo>
                <a:lnTo>
                  <a:pt x="1404" y="1193"/>
                </a:lnTo>
                <a:lnTo>
                  <a:pt x="1404" y="1177"/>
                </a:lnTo>
                <a:lnTo>
                  <a:pt x="1411" y="1177"/>
                </a:lnTo>
                <a:lnTo>
                  <a:pt x="1411" y="1177"/>
                </a:lnTo>
                <a:lnTo>
                  <a:pt x="1411" y="1177"/>
                </a:lnTo>
                <a:close/>
                <a:moveTo>
                  <a:pt x="1285" y="1177"/>
                </a:moveTo>
                <a:lnTo>
                  <a:pt x="1314" y="1181"/>
                </a:lnTo>
                <a:lnTo>
                  <a:pt x="1285" y="1177"/>
                </a:lnTo>
                <a:lnTo>
                  <a:pt x="1285" y="1177"/>
                </a:lnTo>
                <a:lnTo>
                  <a:pt x="1285" y="1177"/>
                </a:lnTo>
                <a:close/>
                <a:moveTo>
                  <a:pt x="3154" y="1222"/>
                </a:moveTo>
                <a:lnTo>
                  <a:pt x="3163" y="1233"/>
                </a:lnTo>
                <a:lnTo>
                  <a:pt x="3137" y="1250"/>
                </a:lnTo>
                <a:lnTo>
                  <a:pt x="3126" y="1233"/>
                </a:lnTo>
                <a:lnTo>
                  <a:pt x="3116" y="1238"/>
                </a:lnTo>
                <a:lnTo>
                  <a:pt x="3126" y="1250"/>
                </a:lnTo>
                <a:lnTo>
                  <a:pt x="3100" y="1267"/>
                </a:lnTo>
                <a:lnTo>
                  <a:pt x="3083" y="1238"/>
                </a:lnTo>
                <a:lnTo>
                  <a:pt x="3133" y="1215"/>
                </a:lnTo>
                <a:lnTo>
                  <a:pt x="3154" y="1222"/>
                </a:lnTo>
                <a:lnTo>
                  <a:pt x="3154" y="1222"/>
                </a:lnTo>
                <a:lnTo>
                  <a:pt x="3154" y="1222"/>
                </a:lnTo>
                <a:close/>
                <a:moveTo>
                  <a:pt x="3154" y="1326"/>
                </a:moveTo>
                <a:lnTo>
                  <a:pt x="3147" y="1321"/>
                </a:lnTo>
                <a:lnTo>
                  <a:pt x="3154" y="1309"/>
                </a:lnTo>
                <a:lnTo>
                  <a:pt x="3133" y="1326"/>
                </a:lnTo>
                <a:lnTo>
                  <a:pt x="3133" y="1309"/>
                </a:lnTo>
                <a:lnTo>
                  <a:pt x="3116" y="1309"/>
                </a:lnTo>
                <a:lnTo>
                  <a:pt x="3116" y="1304"/>
                </a:lnTo>
                <a:lnTo>
                  <a:pt x="3126" y="1288"/>
                </a:lnTo>
                <a:lnTo>
                  <a:pt x="3163" y="1271"/>
                </a:lnTo>
                <a:lnTo>
                  <a:pt x="3154" y="1267"/>
                </a:lnTo>
                <a:lnTo>
                  <a:pt x="3170" y="1255"/>
                </a:lnTo>
                <a:lnTo>
                  <a:pt x="3147" y="1255"/>
                </a:lnTo>
                <a:lnTo>
                  <a:pt x="3180" y="1255"/>
                </a:lnTo>
                <a:lnTo>
                  <a:pt x="3170" y="1250"/>
                </a:lnTo>
                <a:lnTo>
                  <a:pt x="3234" y="1215"/>
                </a:lnTo>
                <a:lnTo>
                  <a:pt x="3272" y="1222"/>
                </a:lnTo>
                <a:lnTo>
                  <a:pt x="3331" y="1271"/>
                </a:lnTo>
                <a:lnTo>
                  <a:pt x="3343" y="1326"/>
                </a:lnTo>
                <a:lnTo>
                  <a:pt x="3326" y="1359"/>
                </a:lnTo>
                <a:lnTo>
                  <a:pt x="3256" y="1366"/>
                </a:lnTo>
                <a:lnTo>
                  <a:pt x="3154" y="1326"/>
                </a:lnTo>
                <a:lnTo>
                  <a:pt x="3154" y="1326"/>
                </a:lnTo>
                <a:lnTo>
                  <a:pt x="3154" y="1326"/>
                </a:lnTo>
                <a:close/>
                <a:moveTo>
                  <a:pt x="2844" y="1233"/>
                </a:moveTo>
                <a:lnTo>
                  <a:pt x="2856" y="1222"/>
                </a:lnTo>
                <a:lnTo>
                  <a:pt x="2802" y="1233"/>
                </a:lnTo>
                <a:lnTo>
                  <a:pt x="2861" y="1222"/>
                </a:lnTo>
                <a:lnTo>
                  <a:pt x="2844" y="1233"/>
                </a:lnTo>
                <a:lnTo>
                  <a:pt x="2844" y="1233"/>
                </a:lnTo>
                <a:lnTo>
                  <a:pt x="2844" y="1233"/>
                </a:lnTo>
                <a:close/>
                <a:moveTo>
                  <a:pt x="2587" y="1250"/>
                </a:moveTo>
                <a:lnTo>
                  <a:pt x="2608" y="1267"/>
                </a:lnTo>
                <a:lnTo>
                  <a:pt x="2625" y="1288"/>
                </a:lnTo>
                <a:lnTo>
                  <a:pt x="2575" y="1309"/>
                </a:lnTo>
                <a:lnTo>
                  <a:pt x="2537" y="1292"/>
                </a:lnTo>
                <a:lnTo>
                  <a:pt x="2542" y="1267"/>
                </a:lnTo>
                <a:lnTo>
                  <a:pt x="2587" y="1250"/>
                </a:lnTo>
                <a:lnTo>
                  <a:pt x="2587" y="1250"/>
                </a:lnTo>
                <a:lnTo>
                  <a:pt x="2587" y="1250"/>
                </a:lnTo>
                <a:close/>
                <a:moveTo>
                  <a:pt x="3071" y="1267"/>
                </a:moveTo>
                <a:lnTo>
                  <a:pt x="3078" y="1276"/>
                </a:lnTo>
                <a:lnTo>
                  <a:pt x="3071" y="1267"/>
                </a:lnTo>
                <a:lnTo>
                  <a:pt x="3071" y="1267"/>
                </a:lnTo>
                <a:lnTo>
                  <a:pt x="3071" y="1267"/>
                </a:lnTo>
                <a:close/>
                <a:moveTo>
                  <a:pt x="3185" y="1366"/>
                </a:moveTo>
                <a:lnTo>
                  <a:pt x="3208" y="1382"/>
                </a:lnTo>
                <a:lnTo>
                  <a:pt x="3163" y="1378"/>
                </a:lnTo>
                <a:lnTo>
                  <a:pt x="3185" y="1366"/>
                </a:lnTo>
                <a:lnTo>
                  <a:pt x="3185" y="1366"/>
                </a:lnTo>
                <a:lnTo>
                  <a:pt x="3185" y="1366"/>
                </a:lnTo>
                <a:close/>
                <a:moveTo>
                  <a:pt x="3062" y="1366"/>
                </a:moveTo>
                <a:lnTo>
                  <a:pt x="3071" y="1378"/>
                </a:lnTo>
                <a:lnTo>
                  <a:pt x="3045" y="1387"/>
                </a:lnTo>
                <a:lnTo>
                  <a:pt x="3029" y="1382"/>
                </a:lnTo>
                <a:lnTo>
                  <a:pt x="3062" y="1366"/>
                </a:lnTo>
                <a:lnTo>
                  <a:pt x="3062" y="1366"/>
                </a:lnTo>
                <a:lnTo>
                  <a:pt x="3062" y="1366"/>
                </a:lnTo>
                <a:close/>
                <a:moveTo>
                  <a:pt x="1205" y="1493"/>
                </a:moveTo>
                <a:lnTo>
                  <a:pt x="1210" y="1486"/>
                </a:lnTo>
                <a:lnTo>
                  <a:pt x="1205" y="1477"/>
                </a:lnTo>
                <a:lnTo>
                  <a:pt x="1177" y="1470"/>
                </a:lnTo>
                <a:lnTo>
                  <a:pt x="1167" y="1437"/>
                </a:lnTo>
                <a:lnTo>
                  <a:pt x="1139" y="1404"/>
                </a:lnTo>
                <a:lnTo>
                  <a:pt x="1366" y="1378"/>
                </a:lnTo>
                <a:lnTo>
                  <a:pt x="1503" y="1420"/>
                </a:lnTo>
                <a:lnTo>
                  <a:pt x="1491" y="1444"/>
                </a:lnTo>
                <a:lnTo>
                  <a:pt x="1491" y="1453"/>
                </a:lnTo>
                <a:lnTo>
                  <a:pt x="1512" y="1420"/>
                </a:lnTo>
                <a:lnTo>
                  <a:pt x="1533" y="1420"/>
                </a:lnTo>
                <a:lnTo>
                  <a:pt x="1545" y="1437"/>
                </a:lnTo>
                <a:lnTo>
                  <a:pt x="1533" y="1453"/>
                </a:lnTo>
                <a:lnTo>
                  <a:pt x="1545" y="1453"/>
                </a:lnTo>
                <a:lnTo>
                  <a:pt x="1555" y="1437"/>
                </a:lnTo>
                <a:lnTo>
                  <a:pt x="1550" y="1432"/>
                </a:lnTo>
                <a:lnTo>
                  <a:pt x="1567" y="1420"/>
                </a:lnTo>
                <a:lnTo>
                  <a:pt x="1654" y="1420"/>
                </a:lnTo>
                <a:lnTo>
                  <a:pt x="1782" y="1498"/>
                </a:lnTo>
                <a:lnTo>
                  <a:pt x="1803" y="1526"/>
                </a:lnTo>
                <a:lnTo>
                  <a:pt x="1533" y="1642"/>
                </a:lnTo>
                <a:lnTo>
                  <a:pt x="1517" y="1682"/>
                </a:lnTo>
                <a:lnTo>
                  <a:pt x="1491" y="1699"/>
                </a:lnTo>
                <a:lnTo>
                  <a:pt x="1458" y="1692"/>
                </a:lnTo>
                <a:lnTo>
                  <a:pt x="1465" y="1708"/>
                </a:lnTo>
                <a:lnTo>
                  <a:pt x="1441" y="1737"/>
                </a:lnTo>
                <a:lnTo>
                  <a:pt x="1448" y="1770"/>
                </a:lnTo>
                <a:lnTo>
                  <a:pt x="1437" y="1793"/>
                </a:lnTo>
                <a:lnTo>
                  <a:pt x="1373" y="1810"/>
                </a:lnTo>
                <a:lnTo>
                  <a:pt x="1352" y="1803"/>
                </a:lnTo>
                <a:lnTo>
                  <a:pt x="1281" y="1848"/>
                </a:lnTo>
                <a:lnTo>
                  <a:pt x="1243" y="1843"/>
                </a:lnTo>
                <a:lnTo>
                  <a:pt x="1193" y="1770"/>
                </a:lnTo>
                <a:lnTo>
                  <a:pt x="1101" y="1737"/>
                </a:lnTo>
                <a:lnTo>
                  <a:pt x="1125" y="1732"/>
                </a:lnTo>
                <a:lnTo>
                  <a:pt x="1059" y="1732"/>
                </a:lnTo>
                <a:lnTo>
                  <a:pt x="1070" y="1732"/>
                </a:lnTo>
                <a:lnTo>
                  <a:pt x="1070" y="1708"/>
                </a:lnTo>
                <a:lnTo>
                  <a:pt x="1096" y="1675"/>
                </a:lnTo>
                <a:lnTo>
                  <a:pt x="1118" y="1654"/>
                </a:lnTo>
                <a:lnTo>
                  <a:pt x="1125" y="1637"/>
                </a:lnTo>
                <a:lnTo>
                  <a:pt x="1118" y="1621"/>
                </a:lnTo>
                <a:lnTo>
                  <a:pt x="1156" y="1604"/>
                </a:lnTo>
                <a:lnTo>
                  <a:pt x="1134" y="1581"/>
                </a:lnTo>
                <a:lnTo>
                  <a:pt x="1167" y="1531"/>
                </a:lnTo>
                <a:lnTo>
                  <a:pt x="1189" y="1515"/>
                </a:lnTo>
                <a:lnTo>
                  <a:pt x="1189" y="1498"/>
                </a:lnTo>
                <a:lnTo>
                  <a:pt x="1205" y="1493"/>
                </a:lnTo>
                <a:lnTo>
                  <a:pt x="1205" y="1493"/>
                </a:lnTo>
                <a:lnTo>
                  <a:pt x="1205" y="1493"/>
                </a:lnTo>
                <a:close/>
                <a:moveTo>
                  <a:pt x="2974" y="1404"/>
                </a:moveTo>
                <a:lnTo>
                  <a:pt x="2953" y="1415"/>
                </a:lnTo>
                <a:lnTo>
                  <a:pt x="2974" y="1404"/>
                </a:lnTo>
                <a:lnTo>
                  <a:pt x="2974" y="1404"/>
                </a:lnTo>
                <a:lnTo>
                  <a:pt x="2974" y="1404"/>
                </a:lnTo>
                <a:close/>
                <a:moveTo>
                  <a:pt x="3494" y="1548"/>
                </a:moveTo>
                <a:lnTo>
                  <a:pt x="3449" y="1609"/>
                </a:lnTo>
                <a:lnTo>
                  <a:pt x="3423" y="1637"/>
                </a:lnTo>
                <a:lnTo>
                  <a:pt x="3343" y="1621"/>
                </a:lnTo>
                <a:lnTo>
                  <a:pt x="3277" y="1626"/>
                </a:lnTo>
                <a:lnTo>
                  <a:pt x="3277" y="1637"/>
                </a:lnTo>
                <a:lnTo>
                  <a:pt x="3310" y="1637"/>
                </a:lnTo>
                <a:lnTo>
                  <a:pt x="3310" y="1642"/>
                </a:lnTo>
                <a:lnTo>
                  <a:pt x="3326" y="1654"/>
                </a:lnTo>
                <a:lnTo>
                  <a:pt x="3331" y="1666"/>
                </a:lnTo>
                <a:lnTo>
                  <a:pt x="3289" y="1725"/>
                </a:lnTo>
                <a:lnTo>
                  <a:pt x="3293" y="1732"/>
                </a:lnTo>
                <a:lnTo>
                  <a:pt x="3218" y="1732"/>
                </a:lnTo>
                <a:lnTo>
                  <a:pt x="3218" y="1715"/>
                </a:lnTo>
                <a:lnTo>
                  <a:pt x="3244" y="1708"/>
                </a:lnTo>
                <a:lnTo>
                  <a:pt x="3218" y="1708"/>
                </a:lnTo>
                <a:lnTo>
                  <a:pt x="3218" y="1666"/>
                </a:lnTo>
                <a:lnTo>
                  <a:pt x="3201" y="1642"/>
                </a:lnTo>
                <a:lnTo>
                  <a:pt x="3185" y="1637"/>
                </a:lnTo>
                <a:lnTo>
                  <a:pt x="3180" y="1581"/>
                </a:lnTo>
                <a:lnTo>
                  <a:pt x="3185" y="1571"/>
                </a:lnTo>
                <a:lnTo>
                  <a:pt x="3180" y="1515"/>
                </a:lnTo>
                <a:lnTo>
                  <a:pt x="3185" y="1510"/>
                </a:lnTo>
                <a:lnTo>
                  <a:pt x="3180" y="1493"/>
                </a:lnTo>
                <a:lnTo>
                  <a:pt x="3192" y="1486"/>
                </a:lnTo>
                <a:lnTo>
                  <a:pt x="3256" y="1498"/>
                </a:lnTo>
                <a:lnTo>
                  <a:pt x="3222" y="1486"/>
                </a:lnTo>
                <a:lnTo>
                  <a:pt x="3234" y="1477"/>
                </a:lnTo>
                <a:lnTo>
                  <a:pt x="3218" y="1477"/>
                </a:lnTo>
                <a:lnTo>
                  <a:pt x="3201" y="1460"/>
                </a:lnTo>
                <a:lnTo>
                  <a:pt x="3272" y="1437"/>
                </a:lnTo>
                <a:lnTo>
                  <a:pt x="3348" y="1432"/>
                </a:lnTo>
                <a:lnTo>
                  <a:pt x="3395" y="1437"/>
                </a:lnTo>
                <a:lnTo>
                  <a:pt x="3418" y="1453"/>
                </a:lnTo>
                <a:lnTo>
                  <a:pt x="3418" y="1460"/>
                </a:lnTo>
                <a:lnTo>
                  <a:pt x="3470" y="1453"/>
                </a:lnTo>
                <a:lnTo>
                  <a:pt x="3563" y="1470"/>
                </a:lnTo>
                <a:lnTo>
                  <a:pt x="3494" y="1548"/>
                </a:lnTo>
                <a:lnTo>
                  <a:pt x="3494" y="1548"/>
                </a:lnTo>
                <a:lnTo>
                  <a:pt x="3494" y="1548"/>
                </a:lnTo>
                <a:close/>
                <a:moveTo>
                  <a:pt x="3041" y="1437"/>
                </a:moveTo>
                <a:lnTo>
                  <a:pt x="3029" y="1453"/>
                </a:lnTo>
                <a:lnTo>
                  <a:pt x="2991" y="1477"/>
                </a:lnTo>
                <a:lnTo>
                  <a:pt x="2948" y="1486"/>
                </a:lnTo>
                <a:lnTo>
                  <a:pt x="2915" y="1470"/>
                </a:lnTo>
                <a:lnTo>
                  <a:pt x="3041" y="1437"/>
                </a:lnTo>
                <a:lnTo>
                  <a:pt x="3041" y="1437"/>
                </a:lnTo>
                <a:lnTo>
                  <a:pt x="3041" y="1437"/>
                </a:lnTo>
                <a:close/>
                <a:moveTo>
                  <a:pt x="3579" y="1453"/>
                </a:moveTo>
                <a:lnTo>
                  <a:pt x="3558" y="1453"/>
                </a:lnTo>
                <a:lnTo>
                  <a:pt x="3584" y="1444"/>
                </a:lnTo>
                <a:lnTo>
                  <a:pt x="3579" y="1453"/>
                </a:lnTo>
                <a:lnTo>
                  <a:pt x="3579" y="1453"/>
                </a:lnTo>
                <a:lnTo>
                  <a:pt x="3579" y="1453"/>
                </a:lnTo>
                <a:close/>
                <a:moveTo>
                  <a:pt x="2807" y="1708"/>
                </a:moveTo>
                <a:lnTo>
                  <a:pt x="2793" y="1682"/>
                </a:lnTo>
                <a:lnTo>
                  <a:pt x="2755" y="1692"/>
                </a:lnTo>
                <a:lnTo>
                  <a:pt x="2738" y="1666"/>
                </a:lnTo>
                <a:lnTo>
                  <a:pt x="2693" y="1637"/>
                </a:lnTo>
                <a:lnTo>
                  <a:pt x="2684" y="1621"/>
                </a:lnTo>
                <a:lnTo>
                  <a:pt x="2700" y="1588"/>
                </a:lnTo>
                <a:lnTo>
                  <a:pt x="2722" y="1581"/>
                </a:lnTo>
                <a:lnTo>
                  <a:pt x="2769" y="1609"/>
                </a:lnTo>
                <a:lnTo>
                  <a:pt x="2785" y="1637"/>
                </a:lnTo>
                <a:lnTo>
                  <a:pt x="2844" y="1626"/>
                </a:lnTo>
                <a:lnTo>
                  <a:pt x="2856" y="1621"/>
                </a:lnTo>
                <a:lnTo>
                  <a:pt x="2840" y="1597"/>
                </a:lnTo>
                <a:lnTo>
                  <a:pt x="2844" y="1588"/>
                </a:lnTo>
                <a:lnTo>
                  <a:pt x="2856" y="1588"/>
                </a:lnTo>
                <a:lnTo>
                  <a:pt x="2844" y="1604"/>
                </a:lnTo>
                <a:lnTo>
                  <a:pt x="2856" y="1609"/>
                </a:lnTo>
                <a:lnTo>
                  <a:pt x="2878" y="1604"/>
                </a:lnTo>
                <a:lnTo>
                  <a:pt x="2861" y="1571"/>
                </a:lnTo>
                <a:lnTo>
                  <a:pt x="2844" y="1581"/>
                </a:lnTo>
                <a:lnTo>
                  <a:pt x="2840" y="1571"/>
                </a:lnTo>
                <a:lnTo>
                  <a:pt x="2844" y="1555"/>
                </a:lnTo>
                <a:lnTo>
                  <a:pt x="2878" y="1564"/>
                </a:lnTo>
                <a:lnTo>
                  <a:pt x="2894" y="1564"/>
                </a:lnTo>
                <a:lnTo>
                  <a:pt x="2844" y="1543"/>
                </a:lnTo>
                <a:lnTo>
                  <a:pt x="2840" y="1555"/>
                </a:lnTo>
                <a:lnTo>
                  <a:pt x="2814" y="1555"/>
                </a:lnTo>
                <a:lnTo>
                  <a:pt x="2759" y="1526"/>
                </a:lnTo>
                <a:lnTo>
                  <a:pt x="2814" y="1510"/>
                </a:lnTo>
                <a:lnTo>
                  <a:pt x="2844" y="1531"/>
                </a:lnTo>
                <a:lnTo>
                  <a:pt x="2830" y="1526"/>
                </a:lnTo>
                <a:lnTo>
                  <a:pt x="2840" y="1510"/>
                </a:lnTo>
                <a:lnTo>
                  <a:pt x="2802" y="1493"/>
                </a:lnTo>
                <a:lnTo>
                  <a:pt x="2807" y="1486"/>
                </a:lnTo>
                <a:lnTo>
                  <a:pt x="2840" y="1477"/>
                </a:lnTo>
                <a:lnTo>
                  <a:pt x="2868" y="1486"/>
                </a:lnTo>
                <a:lnTo>
                  <a:pt x="2882" y="1470"/>
                </a:lnTo>
                <a:lnTo>
                  <a:pt x="2856" y="1477"/>
                </a:lnTo>
                <a:lnTo>
                  <a:pt x="2878" y="1460"/>
                </a:lnTo>
                <a:lnTo>
                  <a:pt x="2932" y="1493"/>
                </a:lnTo>
                <a:lnTo>
                  <a:pt x="3003" y="1486"/>
                </a:lnTo>
                <a:lnTo>
                  <a:pt x="3029" y="1470"/>
                </a:lnTo>
                <a:lnTo>
                  <a:pt x="3071" y="1477"/>
                </a:lnTo>
                <a:lnTo>
                  <a:pt x="3095" y="1498"/>
                </a:lnTo>
                <a:lnTo>
                  <a:pt x="3071" y="1515"/>
                </a:lnTo>
                <a:lnTo>
                  <a:pt x="3041" y="1515"/>
                </a:lnTo>
                <a:lnTo>
                  <a:pt x="3041" y="1531"/>
                </a:lnTo>
                <a:lnTo>
                  <a:pt x="3071" y="1526"/>
                </a:lnTo>
                <a:lnTo>
                  <a:pt x="3078" y="1543"/>
                </a:lnTo>
                <a:lnTo>
                  <a:pt x="3029" y="1555"/>
                </a:lnTo>
                <a:lnTo>
                  <a:pt x="2986" y="1588"/>
                </a:lnTo>
                <a:lnTo>
                  <a:pt x="2986" y="1609"/>
                </a:lnTo>
                <a:lnTo>
                  <a:pt x="3019" y="1588"/>
                </a:lnTo>
                <a:lnTo>
                  <a:pt x="3062" y="1597"/>
                </a:lnTo>
                <a:lnTo>
                  <a:pt x="3071" y="1604"/>
                </a:lnTo>
                <a:lnTo>
                  <a:pt x="3071" y="1609"/>
                </a:lnTo>
                <a:lnTo>
                  <a:pt x="3083" y="1626"/>
                </a:lnTo>
                <a:lnTo>
                  <a:pt x="3071" y="1642"/>
                </a:lnTo>
                <a:lnTo>
                  <a:pt x="3116" y="1626"/>
                </a:lnTo>
                <a:lnTo>
                  <a:pt x="3137" y="1675"/>
                </a:lnTo>
                <a:lnTo>
                  <a:pt x="3095" y="1682"/>
                </a:lnTo>
                <a:lnTo>
                  <a:pt x="3116" y="1692"/>
                </a:lnTo>
                <a:lnTo>
                  <a:pt x="3126" y="1715"/>
                </a:lnTo>
                <a:lnTo>
                  <a:pt x="3095" y="1725"/>
                </a:lnTo>
                <a:lnTo>
                  <a:pt x="3126" y="1725"/>
                </a:lnTo>
                <a:lnTo>
                  <a:pt x="3126" y="1737"/>
                </a:lnTo>
                <a:lnTo>
                  <a:pt x="3100" y="1737"/>
                </a:lnTo>
                <a:lnTo>
                  <a:pt x="3126" y="1737"/>
                </a:lnTo>
                <a:lnTo>
                  <a:pt x="3116" y="1753"/>
                </a:lnTo>
                <a:lnTo>
                  <a:pt x="3100" y="1753"/>
                </a:lnTo>
                <a:lnTo>
                  <a:pt x="3057" y="1781"/>
                </a:lnTo>
                <a:lnTo>
                  <a:pt x="3007" y="1781"/>
                </a:lnTo>
                <a:lnTo>
                  <a:pt x="2991" y="1765"/>
                </a:lnTo>
                <a:lnTo>
                  <a:pt x="3003" y="1748"/>
                </a:lnTo>
                <a:lnTo>
                  <a:pt x="3003" y="1737"/>
                </a:lnTo>
                <a:lnTo>
                  <a:pt x="2986" y="1770"/>
                </a:lnTo>
                <a:lnTo>
                  <a:pt x="3019" y="1793"/>
                </a:lnTo>
                <a:lnTo>
                  <a:pt x="2970" y="1826"/>
                </a:lnTo>
                <a:lnTo>
                  <a:pt x="2948" y="1810"/>
                </a:lnTo>
                <a:lnTo>
                  <a:pt x="2932" y="1819"/>
                </a:lnTo>
                <a:lnTo>
                  <a:pt x="2899" y="1765"/>
                </a:lnTo>
                <a:lnTo>
                  <a:pt x="2868" y="1748"/>
                </a:lnTo>
                <a:lnTo>
                  <a:pt x="2830" y="1708"/>
                </a:lnTo>
                <a:lnTo>
                  <a:pt x="2807" y="1708"/>
                </a:lnTo>
                <a:lnTo>
                  <a:pt x="2807" y="1708"/>
                </a:lnTo>
                <a:lnTo>
                  <a:pt x="2807" y="1708"/>
                </a:lnTo>
                <a:close/>
                <a:moveTo>
                  <a:pt x="4096" y="2008"/>
                </a:moveTo>
                <a:lnTo>
                  <a:pt x="4066" y="1992"/>
                </a:lnTo>
                <a:lnTo>
                  <a:pt x="4016" y="2003"/>
                </a:lnTo>
                <a:lnTo>
                  <a:pt x="3903" y="1975"/>
                </a:lnTo>
                <a:lnTo>
                  <a:pt x="3865" y="1987"/>
                </a:lnTo>
                <a:lnTo>
                  <a:pt x="3910" y="1992"/>
                </a:lnTo>
                <a:lnTo>
                  <a:pt x="3872" y="1992"/>
                </a:lnTo>
                <a:lnTo>
                  <a:pt x="3818" y="1959"/>
                </a:lnTo>
                <a:lnTo>
                  <a:pt x="3818" y="1947"/>
                </a:lnTo>
                <a:lnTo>
                  <a:pt x="3839" y="1930"/>
                </a:lnTo>
                <a:lnTo>
                  <a:pt x="3834" y="1921"/>
                </a:lnTo>
                <a:lnTo>
                  <a:pt x="3811" y="1954"/>
                </a:lnTo>
                <a:lnTo>
                  <a:pt x="3796" y="1954"/>
                </a:lnTo>
                <a:lnTo>
                  <a:pt x="3785" y="1930"/>
                </a:lnTo>
                <a:lnTo>
                  <a:pt x="3773" y="1947"/>
                </a:lnTo>
                <a:lnTo>
                  <a:pt x="3785" y="1947"/>
                </a:lnTo>
                <a:lnTo>
                  <a:pt x="3785" y="1954"/>
                </a:lnTo>
                <a:lnTo>
                  <a:pt x="3742" y="1954"/>
                </a:lnTo>
                <a:lnTo>
                  <a:pt x="3747" y="1954"/>
                </a:lnTo>
                <a:lnTo>
                  <a:pt x="3730" y="1959"/>
                </a:lnTo>
                <a:lnTo>
                  <a:pt x="3704" y="1954"/>
                </a:lnTo>
                <a:lnTo>
                  <a:pt x="3726" y="1954"/>
                </a:lnTo>
                <a:lnTo>
                  <a:pt x="3709" y="1947"/>
                </a:lnTo>
                <a:lnTo>
                  <a:pt x="3667" y="1930"/>
                </a:lnTo>
                <a:lnTo>
                  <a:pt x="3617" y="1876"/>
                </a:lnTo>
                <a:lnTo>
                  <a:pt x="3633" y="1864"/>
                </a:lnTo>
                <a:lnTo>
                  <a:pt x="3612" y="1848"/>
                </a:lnTo>
                <a:lnTo>
                  <a:pt x="3721" y="1876"/>
                </a:lnTo>
                <a:lnTo>
                  <a:pt x="3785" y="1864"/>
                </a:lnTo>
                <a:lnTo>
                  <a:pt x="3742" y="1843"/>
                </a:lnTo>
                <a:lnTo>
                  <a:pt x="3726" y="1843"/>
                </a:lnTo>
                <a:lnTo>
                  <a:pt x="3726" y="1826"/>
                </a:lnTo>
                <a:lnTo>
                  <a:pt x="3676" y="1836"/>
                </a:lnTo>
                <a:lnTo>
                  <a:pt x="3584" y="1819"/>
                </a:lnTo>
                <a:lnTo>
                  <a:pt x="3579" y="1786"/>
                </a:lnTo>
                <a:lnTo>
                  <a:pt x="3596" y="1765"/>
                </a:lnTo>
                <a:lnTo>
                  <a:pt x="3570" y="1737"/>
                </a:lnTo>
                <a:lnTo>
                  <a:pt x="3579" y="1725"/>
                </a:lnTo>
                <a:lnTo>
                  <a:pt x="3612" y="1708"/>
                </a:lnTo>
                <a:lnTo>
                  <a:pt x="3584" y="1708"/>
                </a:lnTo>
                <a:lnTo>
                  <a:pt x="3579" y="1682"/>
                </a:lnTo>
                <a:lnTo>
                  <a:pt x="3596" y="1642"/>
                </a:lnTo>
                <a:lnTo>
                  <a:pt x="3617" y="1637"/>
                </a:lnTo>
                <a:lnTo>
                  <a:pt x="3612" y="1637"/>
                </a:lnTo>
                <a:lnTo>
                  <a:pt x="3612" y="1621"/>
                </a:lnTo>
                <a:lnTo>
                  <a:pt x="3622" y="1626"/>
                </a:lnTo>
                <a:lnTo>
                  <a:pt x="3622" y="1597"/>
                </a:lnTo>
                <a:lnTo>
                  <a:pt x="3633" y="1571"/>
                </a:lnTo>
                <a:lnTo>
                  <a:pt x="3671" y="1531"/>
                </a:lnTo>
                <a:lnTo>
                  <a:pt x="3747" y="1493"/>
                </a:lnTo>
                <a:lnTo>
                  <a:pt x="3839" y="1477"/>
                </a:lnTo>
                <a:lnTo>
                  <a:pt x="3941" y="1493"/>
                </a:lnTo>
                <a:lnTo>
                  <a:pt x="3865" y="1548"/>
                </a:lnTo>
                <a:lnTo>
                  <a:pt x="3811" y="1609"/>
                </a:lnTo>
                <a:lnTo>
                  <a:pt x="3801" y="1637"/>
                </a:lnTo>
                <a:lnTo>
                  <a:pt x="3839" y="1675"/>
                </a:lnTo>
                <a:lnTo>
                  <a:pt x="3827" y="1692"/>
                </a:lnTo>
                <a:lnTo>
                  <a:pt x="3827" y="1732"/>
                </a:lnTo>
                <a:lnTo>
                  <a:pt x="3893" y="1793"/>
                </a:lnTo>
                <a:lnTo>
                  <a:pt x="3936" y="1810"/>
                </a:lnTo>
                <a:lnTo>
                  <a:pt x="3941" y="1826"/>
                </a:lnTo>
                <a:lnTo>
                  <a:pt x="3865" y="1843"/>
                </a:lnTo>
                <a:lnTo>
                  <a:pt x="3801" y="1864"/>
                </a:lnTo>
                <a:lnTo>
                  <a:pt x="3936" y="1836"/>
                </a:lnTo>
                <a:lnTo>
                  <a:pt x="3941" y="1843"/>
                </a:lnTo>
                <a:lnTo>
                  <a:pt x="3936" y="1848"/>
                </a:lnTo>
                <a:lnTo>
                  <a:pt x="3919" y="1848"/>
                </a:lnTo>
                <a:lnTo>
                  <a:pt x="3936" y="1848"/>
                </a:lnTo>
                <a:lnTo>
                  <a:pt x="3936" y="1876"/>
                </a:lnTo>
                <a:lnTo>
                  <a:pt x="3941" y="1876"/>
                </a:lnTo>
                <a:lnTo>
                  <a:pt x="3941" y="1810"/>
                </a:lnTo>
                <a:lnTo>
                  <a:pt x="3962" y="1803"/>
                </a:lnTo>
                <a:lnTo>
                  <a:pt x="3945" y="1786"/>
                </a:lnTo>
                <a:lnTo>
                  <a:pt x="3957" y="1770"/>
                </a:lnTo>
                <a:lnTo>
                  <a:pt x="3910" y="1770"/>
                </a:lnTo>
                <a:lnTo>
                  <a:pt x="3886" y="1765"/>
                </a:lnTo>
                <a:lnTo>
                  <a:pt x="3893" y="1753"/>
                </a:lnTo>
                <a:lnTo>
                  <a:pt x="3886" y="1737"/>
                </a:lnTo>
                <a:lnTo>
                  <a:pt x="3855" y="1732"/>
                </a:lnTo>
                <a:lnTo>
                  <a:pt x="3893" y="1725"/>
                </a:lnTo>
                <a:lnTo>
                  <a:pt x="3893" y="1715"/>
                </a:lnTo>
                <a:lnTo>
                  <a:pt x="3893" y="1692"/>
                </a:lnTo>
                <a:lnTo>
                  <a:pt x="3936" y="1699"/>
                </a:lnTo>
                <a:lnTo>
                  <a:pt x="3990" y="1737"/>
                </a:lnTo>
                <a:lnTo>
                  <a:pt x="3990" y="1732"/>
                </a:lnTo>
                <a:lnTo>
                  <a:pt x="3936" y="1692"/>
                </a:lnTo>
                <a:lnTo>
                  <a:pt x="3962" y="1675"/>
                </a:lnTo>
                <a:lnTo>
                  <a:pt x="3936" y="1682"/>
                </a:lnTo>
                <a:lnTo>
                  <a:pt x="3941" y="1666"/>
                </a:lnTo>
                <a:lnTo>
                  <a:pt x="3919" y="1682"/>
                </a:lnTo>
                <a:lnTo>
                  <a:pt x="3886" y="1666"/>
                </a:lnTo>
                <a:lnTo>
                  <a:pt x="3886" y="1659"/>
                </a:lnTo>
                <a:lnTo>
                  <a:pt x="3893" y="1654"/>
                </a:lnTo>
                <a:lnTo>
                  <a:pt x="3881" y="1642"/>
                </a:lnTo>
                <a:lnTo>
                  <a:pt x="3881" y="1609"/>
                </a:lnTo>
                <a:lnTo>
                  <a:pt x="3910" y="1597"/>
                </a:lnTo>
                <a:lnTo>
                  <a:pt x="4000" y="1626"/>
                </a:lnTo>
                <a:lnTo>
                  <a:pt x="3886" y="1588"/>
                </a:lnTo>
                <a:lnTo>
                  <a:pt x="3903" y="1571"/>
                </a:lnTo>
                <a:lnTo>
                  <a:pt x="3919" y="1588"/>
                </a:lnTo>
                <a:lnTo>
                  <a:pt x="3910" y="1581"/>
                </a:lnTo>
                <a:lnTo>
                  <a:pt x="3919" y="1571"/>
                </a:lnTo>
                <a:lnTo>
                  <a:pt x="4028" y="1597"/>
                </a:lnTo>
                <a:lnTo>
                  <a:pt x="3919" y="1564"/>
                </a:lnTo>
                <a:lnTo>
                  <a:pt x="3941" y="1543"/>
                </a:lnTo>
                <a:lnTo>
                  <a:pt x="3974" y="1564"/>
                </a:lnTo>
                <a:lnTo>
                  <a:pt x="3945" y="1543"/>
                </a:lnTo>
                <a:lnTo>
                  <a:pt x="3990" y="1526"/>
                </a:lnTo>
                <a:lnTo>
                  <a:pt x="4016" y="1531"/>
                </a:lnTo>
                <a:lnTo>
                  <a:pt x="4028" y="1548"/>
                </a:lnTo>
                <a:lnTo>
                  <a:pt x="4028" y="1531"/>
                </a:lnTo>
                <a:lnTo>
                  <a:pt x="3995" y="1526"/>
                </a:lnTo>
                <a:lnTo>
                  <a:pt x="4082" y="1493"/>
                </a:lnTo>
                <a:lnTo>
                  <a:pt x="4172" y="1493"/>
                </a:lnTo>
                <a:lnTo>
                  <a:pt x="4196" y="1526"/>
                </a:lnTo>
                <a:lnTo>
                  <a:pt x="4196" y="1555"/>
                </a:lnTo>
                <a:lnTo>
                  <a:pt x="4243" y="1581"/>
                </a:lnTo>
                <a:lnTo>
                  <a:pt x="4233" y="1604"/>
                </a:lnTo>
                <a:lnTo>
                  <a:pt x="4259" y="1626"/>
                </a:lnTo>
                <a:lnTo>
                  <a:pt x="4179" y="1699"/>
                </a:lnTo>
                <a:lnTo>
                  <a:pt x="4243" y="1659"/>
                </a:lnTo>
                <a:lnTo>
                  <a:pt x="4243" y="1675"/>
                </a:lnTo>
                <a:lnTo>
                  <a:pt x="4210" y="1708"/>
                </a:lnTo>
                <a:lnTo>
                  <a:pt x="4243" y="1725"/>
                </a:lnTo>
                <a:lnTo>
                  <a:pt x="4205" y="1725"/>
                </a:lnTo>
                <a:lnTo>
                  <a:pt x="4226" y="1725"/>
                </a:lnTo>
                <a:lnTo>
                  <a:pt x="4210" y="1748"/>
                </a:lnTo>
                <a:lnTo>
                  <a:pt x="4248" y="1725"/>
                </a:lnTo>
                <a:lnTo>
                  <a:pt x="4243" y="1708"/>
                </a:lnTo>
                <a:lnTo>
                  <a:pt x="4264" y="1699"/>
                </a:lnTo>
                <a:lnTo>
                  <a:pt x="4259" y="1692"/>
                </a:lnTo>
                <a:lnTo>
                  <a:pt x="4302" y="1715"/>
                </a:lnTo>
                <a:lnTo>
                  <a:pt x="4264" y="1682"/>
                </a:lnTo>
                <a:lnTo>
                  <a:pt x="4297" y="1659"/>
                </a:lnTo>
                <a:lnTo>
                  <a:pt x="4302" y="1682"/>
                </a:lnTo>
                <a:lnTo>
                  <a:pt x="4297" y="1699"/>
                </a:lnTo>
                <a:lnTo>
                  <a:pt x="4323" y="1675"/>
                </a:lnTo>
                <a:lnTo>
                  <a:pt x="4352" y="1692"/>
                </a:lnTo>
                <a:lnTo>
                  <a:pt x="4352" y="1708"/>
                </a:lnTo>
                <a:lnTo>
                  <a:pt x="4335" y="1732"/>
                </a:lnTo>
                <a:lnTo>
                  <a:pt x="4378" y="1748"/>
                </a:lnTo>
                <a:lnTo>
                  <a:pt x="4356" y="1732"/>
                </a:lnTo>
                <a:lnTo>
                  <a:pt x="4356" y="1708"/>
                </a:lnTo>
                <a:lnTo>
                  <a:pt x="4389" y="1715"/>
                </a:lnTo>
                <a:lnTo>
                  <a:pt x="4406" y="1753"/>
                </a:lnTo>
                <a:lnTo>
                  <a:pt x="4427" y="1765"/>
                </a:lnTo>
                <a:lnTo>
                  <a:pt x="4394" y="1737"/>
                </a:lnTo>
                <a:lnTo>
                  <a:pt x="4411" y="1732"/>
                </a:lnTo>
                <a:lnTo>
                  <a:pt x="4432" y="1753"/>
                </a:lnTo>
                <a:lnTo>
                  <a:pt x="4411" y="1732"/>
                </a:lnTo>
                <a:lnTo>
                  <a:pt x="4394" y="1732"/>
                </a:lnTo>
                <a:lnTo>
                  <a:pt x="4389" y="1715"/>
                </a:lnTo>
                <a:lnTo>
                  <a:pt x="4356" y="1699"/>
                </a:lnTo>
                <a:lnTo>
                  <a:pt x="4373" y="1682"/>
                </a:lnTo>
                <a:lnTo>
                  <a:pt x="4389" y="1708"/>
                </a:lnTo>
                <a:lnTo>
                  <a:pt x="4389" y="1682"/>
                </a:lnTo>
                <a:lnTo>
                  <a:pt x="4486" y="1715"/>
                </a:lnTo>
                <a:lnTo>
                  <a:pt x="4378" y="1666"/>
                </a:lnTo>
                <a:lnTo>
                  <a:pt x="4389" y="1654"/>
                </a:lnTo>
                <a:lnTo>
                  <a:pt x="4444" y="1626"/>
                </a:lnTo>
                <a:lnTo>
                  <a:pt x="4503" y="1626"/>
                </a:lnTo>
                <a:lnTo>
                  <a:pt x="4512" y="1642"/>
                </a:lnTo>
                <a:lnTo>
                  <a:pt x="4550" y="1654"/>
                </a:lnTo>
                <a:lnTo>
                  <a:pt x="4550" y="1666"/>
                </a:lnTo>
                <a:lnTo>
                  <a:pt x="4567" y="1654"/>
                </a:lnTo>
                <a:lnTo>
                  <a:pt x="4611" y="1659"/>
                </a:lnTo>
                <a:lnTo>
                  <a:pt x="4637" y="1699"/>
                </a:lnTo>
                <a:lnTo>
                  <a:pt x="4611" y="1715"/>
                </a:lnTo>
                <a:lnTo>
                  <a:pt x="4557" y="1715"/>
                </a:lnTo>
                <a:lnTo>
                  <a:pt x="4536" y="1748"/>
                </a:lnTo>
                <a:lnTo>
                  <a:pt x="4574" y="1715"/>
                </a:lnTo>
                <a:lnTo>
                  <a:pt x="4611" y="1725"/>
                </a:lnTo>
                <a:lnTo>
                  <a:pt x="4588" y="1732"/>
                </a:lnTo>
                <a:lnTo>
                  <a:pt x="4574" y="1765"/>
                </a:lnTo>
                <a:lnTo>
                  <a:pt x="4550" y="1770"/>
                </a:lnTo>
                <a:lnTo>
                  <a:pt x="4574" y="1765"/>
                </a:lnTo>
                <a:lnTo>
                  <a:pt x="4588" y="1732"/>
                </a:lnTo>
                <a:lnTo>
                  <a:pt x="4626" y="1715"/>
                </a:lnTo>
                <a:lnTo>
                  <a:pt x="4680" y="1725"/>
                </a:lnTo>
                <a:lnTo>
                  <a:pt x="4692" y="1732"/>
                </a:lnTo>
                <a:lnTo>
                  <a:pt x="4680" y="1753"/>
                </a:lnTo>
                <a:lnTo>
                  <a:pt x="4604" y="1770"/>
                </a:lnTo>
                <a:lnTo>
                  <a:pt x="4637" y="1781"/>
                </a:lnTo>
                <a:lnTo>
                  <a:pt x="4595" y="1793"/>
                </a:lnTo>
                <a:lnTo>
                  <a:pt x="4659" y="1781"/>
                </a:lnTo>
                <a:lnTo>
                  <a:pt x="4621" y="1803"/>
                </a:lnTo>
                <a:lnTo>
                  <a:pt x="4642" y="1793"/>
                </a:lnTo>
                <a:lnTo>
                  <a:pt x="4649" y="1810"/>
                </a:lnTo>
                <a:lnTo>
                  <a:pt x="4621" y="1843"/>
                </a:lnTo>
                <a:lnTo>
                  <a:pt x="4649" y="1810"/>
                </a:lnTo>
                <a:lnTo>
                  <a:pt x="4649" y="1793"/>
                </a:lnTo>
                <a:lnTo>
                  <a:pt x="4659" y="1781"/>
                </a:lnTo>
                <a:lnTo>
                  <a:pt x="4692" y="1765"/>
                </a:lnTo>
                <a:lnTo>
                  <a:pt x="4680" y="1781"/>
                </a:lnTo>
                <a:lnTo>
                  <a:pt x="4692" y="1793"/>
                </a:lnTo>
                <a:lnTo>
                  <a:pt x="4696" y="1765"/>
                </a:lnTo>
                <a:lnTo>
                  <a:pt x="4718" y="1765"/>
                </a:lnTo>
                <a:lnTo>
                  <a:pt x="4729" y="1765"/>
                </a:lnTo>
                <a:lnTo>
                  <a:pt x="4696" y="1793"/>
                </a:lnTo>
                <a:lnTo>
                  <a:pt x="4675" y="1810"/>
                </a:lnTo>
                <a:lnTo>
                  <a:pt x="4696" y="1803"/>
                </a:lnTo>
                <a:lnTo>
                  <a:pt x="4692" y="1826"/>
                </a:lnTo>
                <a:lnTo>
                  <a:pt x="4680" y="1836"/>
                </a:lnTo>
                <a:lnTo>
                  <a:pt x="4696" y="1826"/>
                </a:lnTo>
                <a:lnTo>
                  <a:pt x="4713" y="1793"/>
                </a:lnTo>
                <a:lnTo>
                  <a:pt x="4729" y="1786"/>
                </a:lnTo>
                <a:lnTo>
                  <a:pt x="4729" y="1819"/>
                </a:lnTo>
                <a:lnTo>
                  <a:pt x="4734" y="1803"/>
                </a:lnTo>
                <a:lnTo>
                  <a:pt x="4746" y="1810"/>
                </a:lnTo>
                <a:lnTo>
                  <a:pt x="4729" y="1826"/>
                </a:lnTo>
                <a:lnTo>
                  <a:pt x="4718" y="1848"/>
                </a:lnTo>
                <a:lnTo>
                  <a:pt x="4701" y="1859"/>
                </a:lnTo>
                <a:lnTo>
                  <a:pt x="4718" y="1848"/>
                </a:lnTo>
                <a:lnTo>
                  <a:pt x="4729" y="1836"/>
                </a:lnTo>
                <a:lnTo>
                  <a:pt x="4734" y="1819"/>
                </a:lnTo>
                <a:lnTo>
                  <a:pt x="4767" y="1826"/>
                </a:lnTo>
                <a:lnTo>
                  <a:pt x="4751" y="1836"/>
                </a:lnTo>
                <a:lnTo>
                  <a:pt x="4751" y="1848"/>
                </a:lnTo>
                <a:lnTo>
                  <a:pt x="4734" y="1859"/>
                </a:lnTo>
                <a:lnTo>
                  <a:pt x="4746" y="1864"/>
                </a:lnTo>
                <a:lnTo>
                  <a:pt x="4755" y="1836"/>
                </a:lnTo>
                <a:lnTo>
                  <a:pt x="4767" y="1826"/>
                </a:lnTo>
                <a:lnTo>
                  <a:pt x="4767" y="1810"/>
                </a:lnTo>
                <a:lnTo>
                  <a:pt x="4789" y="1810"/>
                </a:lnTo>
                <a:lnTo>
                  <a:pt x="4805" y="1781"/>
                </a:lnTo>
                <a:lnTo>
                  <a:pt x="4864" y="1793"/>
                </a:lnTo>
                <a:lnTo>
                  <a:pt x="4897" y="1826"/>
                </a:lnTo>
                <a:lnTo>
                  <a:pt x="4874" y="1859"/>
                </a:lnTo>
                <a:lnTo>
                  <a:pt x="4843" y="1848"/>
                </a:lnTo>
                <a:lnTo>
                  <a:pt x="4810" y="1881"/>
                </a:lnTo>
                <a:lnTo>
                  <a:pt x="4789" y="1881"/>
                </a:lnTo>
                <a:lnTo>
                  <a:pt x="4826" y="1881"/>
                </a:lnTo>
                <a:lnTo>
                  <a:pt x="4810" y="1904"/>
                </a:lnTo>
                <a:lnTo>
                  <a:pt x="4798" y="1914"/>
                </a:lnTo>
                <a:lnTo>
                  <a:pt x="4826" y="1892"/>
                </a:lnTo>
                <a:lnTo>
                  <a:pt x="4881" y="1881"/>
                </a:lnTo>
                <a:lnTo>
                  <a:pt x="4897" y="1859"/>
                </a:lnTo>
                <a:lnTo>
                  <a:pt x="4918" y="1848"/>
                </a:lnTo>
                <a:lnTo>
                  <a:pt x="4935" y="1859"/>
                </a:lnTo>
                <a:lnTo>
                  <a:pt x="4944" y="1876"/>
                </a:lnTo>
                <a:lnTo>
                  <a:pt x="4928" y="1897"/>
                </a:lnTo>
                <a:lnTo>
                  <a:pt x="4897" y="1914"/>
                </a:lnTo>
                <a:lnTo>
                  <a:pt x="4864" y="1914"/>
                </a:lnTo>
                <a:lnTo>
                  <a:pt x="4852" y="1937"/>
                </a:lnTo>
                <a:lnTo>
                  <a:pt x="4859" y="1937"/>
                </a:lnTo>
                <a:lnTo>
                  <a:pt x="4859" y="1947"/>
                </a:lnTo>
                <a:lnTo>
                  <a:pt x="4852" y="1954"/>
                </a:lnTo>
                <a:lnTo>
                  <a:pt x="4859" y="1954"/>
                </a:lnTo>
                <a:lnTo>
                  <a:pt x="4874" y="1921"/>
                </a:lnTo>
                <a:lnTo>
                  <a:pt x="4897" y="1921"/>
                </a:lnTo>
                <a:lnTo>
                  <a:pt x="4890" y="1954"/>
                </a:lnTo>
                <a:lnTo>
                  <a:pt x="4890" y="1959"/>
                </a:lnTo>
                <a:lnTo>
                  <a:pt x="4874" y="1992"/>
                </a:lnTo>
                <a:lnTo>
                  <a:pt x="4897" y="1959"/>
                </a:lnTo>
                <a:lnTo>
                  <a:pt x="4911" y="1914"/>
                </a:lnTo>
                <a:lnTo>
                  <a:pt x="4987" y="1881"/>
                </a:lnTo>
                <a:lnTo>
                  <a:pt x="4999" y="1881"/>
                </a:lnTo>
                <a:lnTo>
                  <a:pt x="4973" y="1904"/>
                </a:lnTo>
                <a:lnTo>
                  <a:pt x="4944" y="1914"/>
                </a:lnTo>
                <a:lnTo>
                  <a:pt x="4949" y="1921"/>
                </a:lnTo>
                <a:lnTo>
                  <a:pt x="4944" y="1930"/>
                </a:lnTo>
                <a:lnTo>
                  <a:pt x="4961" y="1930"/>
                </a:lnTo>
                <a:lnTo>
                  <a:pt x="4961" y="1914"/>
                </a:lnTo>
                <a:lnTo>
                  <a:pt x="4973" y="1914"/>
                </a:lnTo>
                <a:lnTo>
                  <a:pt x="5020" y="1892"/>
                </a:lnTo>
                <a:lnTo>
                  <a:pt x="5096" y="1921"/>
                </a:lnTo>
                <a:lnTo>
                  <a:pt x="5096" y="1930"/>
                </a:lnTo>
                <a:lnTo>
                  <a:pt x="5091" y="1947"/>
                </a:lnTo>
                <a:lnTo>
                  <a:pt x="5074" y="1930"/>
                </a:lnTo>
                <a:lnTo>
                  <a:pt x="5074" y="1954"/>
                </a:lnTo>
                <a:lnTo>
                  <a:pt x="5004" y="1970"/>
                </a:lnTo>
                <a:lnTo>
                  <a:pt x="4966" y="1992"/>
                </a:lnTo>
                <a:lnTo>
                  <a:pt x="4987" y="1992"/>
                </a:lnTo>
                <a:lnTo>
                  <a:pt x="4944" y="2013"/>
                </a:lnTo>
                <a:lnTo>
                  <a:pt x="4999" y="1992"/>
                </a:lnTo>
                <a:lnTo>
                  <a:pt x="4999" y="1987"/>
                </a:lnTo>
                <a:lnTo>
                  <a:pt x="5004" y="1975"/>
                </a:lnTo>
                <a:lnTo>
                  <a:pt x="5058" y="1970"/>
                </a:lnTo>
                <a:lnTo>
                  <a:pt x="5074" y="1975"/>
                </a:lnTo>
                <a:lnTo>
                  <a:pt x="5020" y="2013"/>
                </a:lnTo>
                <a:lnTo>
                  <a:pt x="4987" y="2013"/>
                </a:lnTo>
                <a:lnTo>
                  <a:pt x="4982" y="2041"/>
                </a:lnTo>
                <a:lnTo>
                  <a:pt x="4999" y="2013"/>
                </a:lnTo>
                <a:lnTo>
                  <a:pt x="5020" y="2025"/>
                </a:lnTo>
                <a:lnTo>
                  <a:pt x="5041" y="2003"/>
                </a:lnTo>
                <a:lnTo>
                  <a:pt x="5107" y="1975"/>
                </a:lnTo>
                <a:lnTo>
                  <a:pt x="5096" y="1970"/>
                </a:lnTo>
                <a:lnTo>
                  <a:pt x="5107" y="1954"/>
                </a:lnTo>
                <a:lnTo>
                  <a:pt x="5138" y="1959"/>
                </a:lnTo>
                <a:lnTo>
                  <a:pt x="5176" y="2003"/>
                </a:lnTo>
                <a:lnTo>
                  <a:pt x="5183" y="2025"/>
                </a:lnTo>
                <a:lnTo>
                  <a:pt x="5124" y="2025"/>
                </a:lnTo>
                <a:lnTo>
                  <a:pt x="5096" y="2041"/>
                </a:lnTo>
                <a:lnTo>
                  <a:pt x="4973" y="2058"/>
                </a:lnTo>
                <a:lnTo>
                  <a:pt x="5025" y="2058"/>
                </a:lnTo>
                <a:lnTo>
                  <a:pt x="5074" y="2048"/>
                </a:lnTo>
                <a:lnTo>
                  <a:pt x="5124" y="2065"/>
                </a:lnTo>
                <a:lnTo>
                  <a:pt x="5176" y="2065"/>
                </a:lnTo>
                <a:lnTo>
                  <a:pt x="5204" y="2081"/>
                </a:lnTo>
                <a:lnTo>
                  <a:pt x="5214" y="2098"/>
                </a:lnTo>
                <a:lnTo>
                  <a:pt x="5204" y="2103"/>
                </a:lnTo>
                <a:lnTo>
                  <a:pt x="5053" y="2070"/>
                </a:lnTo>
                <a:lnTo>
                  <a:pt x="5025" y="2086"/>
                </a:lnTo>
                <a:lnTo>
                  <a:pt x="5053" y="2081"/>
                </a:lnTo>
                <a:lnTo>
                  <a:pt x="5112" y="2098"/>
                </a:lnTo>
                <a:lnTo>
                  <a:pt x="5053" y="2098"/>
                </a:lnTo>
                <a:lnTo>
                  <a:pt x="5079" y="2098"/>
                </a:lnTo>
                <a:lnTo>
                  <a:pt x="5053" y="2115"/>
                </a:lnTo>
                <a:lnTo>
                  <a:pt x="5053" y="2124"/>
                </a:lnTo>
                <a:lnTo>
                  <a:pt x="5058" y="2115"/>
                </a:lnTo>
                <a:lnTo>
                  <a:pt x="5107" y="2103"/>
                </a:lnTo>
                <a:lnTo>
                  <a:pt x="5138" y="2119"/>
                </a:lnTo>
                <a:lnTo>
                  <a:pt x="5079" y="2124"/>
                </a:lnTo>
                <a:lnTo>
                  <a:pt x="5112" y="2124"/>
                </a:lnTo>
                <a:lnTo>
                  <a:pt x="5124" y="2136"/>
                </a:lnTo>
                <a:lnTo>
                  <a:pt x="5079" y="2136"/>
                </a:lnTo>
                <a:lnTo>
                  <a:pt x="5138" y="2152"/>
                </a:lnTo>
                <a:lnTo>
                  <a:pt x="5020" y="2136"/>
                </a:lnTo>
                <a:lnTo>
                  <a:pt x="5112" y="2157"/>
                </a:lnTo>
                <a:lnTo>
                  <a:pt x="5058" y="2169"/>
                </a:lnTo>
                <a:lnTo>
                  <a:pt x="5091" y="2169"/>
                </a:lnTo>
                <a:lnTo>
                  <a:pt x="5070" y="2176"/>
                </a:lnTo>
                <a:lnTo>
                  <a:pt x="5150" y="2176"/>
                </a:lnTo>
                <a:lnTo>
                  <a:pt x="5145" y="2181"/>
                </a:lnTo>
                <a:lnTo>
                  <a:pt x="5145" y="2197"/>
                </a:lnTo>
                <a:lnTo>
                  <a:pt x="5162" y="2181"/>
                </a:lnTo>
                <a:lnTo>
                  <a:pt x="5176" y="2192"/>
                </a:lnTo>
                <a:lnTo>
                  <a:pt x="5167" y="2192"/>
                </a:lnTo>
                <a:lnTo>
                  <a:pt x="5183" y="2192"/>
                </a:lnTo>
                <a:lnTo>
                  <a:pt x="5183" y="2181"/>
                </a:lnTo>
                <a:lnTo>
                  <a:pt x="5214" y="2192"/>
                </a:lnTo>
                <a:lnTo>
                  <a:pt x="5192" y="2197"/>
                </a:lnTo>
                <a:lnTo>
                  <a:pt x="5138" y="2209"/>
                </a:lnTo>
                <a:lnTo>
                  <a:pt x="5129" y="2214"/>
                </a:lnTo>
                <a:lnTo>
                  <a:pt x="5145" y="2209"/>
                </a:lnTo>
                <a:lnTo>
                  <a:pt x="5150" y="2214"/>
                </a:lnTo>
                <a:lnTo>
                  <a:pt x="5145" y="2214"/>
                </a:lnTo>
                <a:lnTo>
                  <a:pt x="5150" y="2214"/>
                </a:lnTo>
                <a:lnTo>
                  <a:pt x="5176" y="2197"/>
                </a:lnTo>
                <a:lnTo>
                  <a:pt x="5192" y="2209"/>
                </a:lnTo>
                <a:lnTo>
                  <a:pt x="5176" y="2209"/>
                </a:lnTo>
                <a:lnTo>
                  <a:pt x="5162" y="2230"/>
                </a:lnTo>
                <a:lnTo>
                  <a:pt x="5145" y="2226"/>
                </a:lnTo>
                <a:lnTo>
                  <a:pt x="5162" y="2230"/>
                </a:lnTo>
                <a:lnTo>
                  <a:pt x="5167" y="2214"/>
                </a:lnTo>
                <a:lnTo>
                  <a:pt x="5192" y="2209"/>
                </a:lnTo>
                <a:lnTo>
                  <a:pt x="5204" y="2214"/>
                </a:lnTo>
                <a:lnTo>
                  <a:pt x="5192" y="2247"/>
                </a:lnTo>
                <a:lnTo>
                  <a:pt x="5214" y="2230"/>
                </a:lnTo>
                <a:lnTo>
                  <a:pt x="5214" y="2247"/>
                </a:lnTo>
                <a:lnTo>
                  <a:pt x="5221" y="2230"/>
                </a:lnTo>
                <a:lnTo>
                  <a:pt x="5237" y="2230"/>
                </a:lnTo>
                <a:lnTo>
                  <a:pt x="5230" y="2235"/>
                </a:lnTo>
                <a:lnTo>
                  <a:pt x="5247" y="2247"/>
                </a:lnTo>
                <a:lnTo>
                  <a:pt x="5230" y="2263"/>
                </a:lnTo>
                <a:lnTo>
                  <a:pt x="5204" y="2263"/>
                </a:lnTo>
                <a:lnTo>
                  <a:pt x="5237" y="2268"/>
                </a:lnTo>
                <a:lnTo>
                  <a:pt x="5237" y="2252"/>
                </a:lnTo>
                <a:lnTo>
                  <a:pt x="5268" y="2235"/>
                </a:lnTo>
                <a:lnTo>
                  <a:pt x="5268" y="2226"/>
                </a:lnTo>
                <a:lnTo>
                  <a:pt x="5268" y="2235"/>
                </a:lnTo>
                <a:lnTo>
                  <a:pt x="5259" y="2252"/>
                </a:lnTo>
                <a:lnTo>
                  <a:pt x="5259" y="2263"/>
                </a:lnTo>
                <a:lnTo>
                  <a:pt x="5259" y="2292"/>
                </a:lnTo>
                <a:lnTo>
                  <a:pt x="5259" y="2268"/>
                </a:lnTo>
                <a:lnTo>
                  <a:pt x="5275" y="2252"/>
                </a:lnTo>
                <a:lnTo>
                  <a:pt x="5275" y="2247"/>
                </a:lnTo>
                <a:lnTo>
                  <a:pt x="5301" y="2247"/>
                </a:lnTo>
                <a:lnTo>
                  <a:pt x="5285" y="2268"/>
                </a:lnTo>
                <a:lnTo>
                  <a:pt x="5306" y="2292"/>
                </a:lnTo>
                <a:lnTo>
                  <a:pt x="5306" y="2285"/>
                </a:lnTo>
                <a:lnTo>
                  <a:pt x="5289" y="2268"/>
                </a:lnTo>
                <a:lnTo>
                  <a:pt x="5301" y="2252"/>
                </a:lnTo>
                <a:lnTo>
                  <a:pt x="5327" y="2235"/>
                </a:lnTo>
                <a:lnTo>
                  <a:pt x="5355" y="2247"/>
                </a:lnTo>
                <a:lnTo>
                  <a:pt x="5327" y="2263"/>
                </a:lnTo>
                <a:lnTo>
                  <a:pt x="5327" y="2268"/>
                </a:lnTo>
                <a:lnTo>
                  <a:pt x="5313" y="2285"/>
                </a:lnTo>
                <a:lnTo>
                  <a:pt x="5339" y="2268"/>
                </a:lnTo>
                <a:lnTo>
                  <a:pt x="5344" y="2268"/>
                </a:lnTo>
                <a:lnTo>
                  <a:pt x="5344" y="2285"/>
                </a:lnTo>
                <a:lnTo>
                  <a:pt x="5344" y="2268"/>
                </a:lnTo>
                <a:lnTo>
                  <a:pt x="5365" y="2268"/>
                </a:lnTo>
                <a:lnTo>
                  <a:pt x="5377" y="2280"/>
                </a:lnTo>
                <a:lnTo>
                  <a:pt x="5355" y="2285"/>
                </a:lnTo>
                <a:lnTo>
                  <a:pt x="5377" y="2280"/>
                </a:lnTo>
                <a:lnTo>
                  <a:pt x="5398" y="2303"/>
                </a:lnTo>
                <a:lnTo>
                  <a:pt x="5365" y="2308"/>
                </a:lnTo>
                <a:lnTo>
                  <a:pt x="5398" y="2308"/>
                </a:lnTo>
                <a:lnTo>
                  <a:pt x="5410" y="2337"/>
                </a:lnTo>
                <a:lnTo>
                  <a:pt x="5344" y="2325"/>
                </a:lnTo>
                <a:lnTo>
                  <a:pt x="5381" y="2337"/>
                </a:lnTo>
                <a:lnTo>
                  <a:pt x="5344" y="2341"/>
                </a:lnTo>
                <a:lnTo>
                  <a:pt x="5398" y="2337"/>
                </a:lnTo>
                <a:lnTo>
                  <a:pt x="5360" y="2346"/>
                </a:lnTo>
                <a:lnTo>
                  <a:pt x="5355" y="2363"/>
                </a:lnTo>
                <a:lnTo>
                  <a:pt x="5365" y="2346"/>
                </a:lnTo>
                <a:lnTo>
                  <a:pt x="5436" y="2341"/>
                </a:lnTo>
                <a:lnTo>
                  <a:pt x="5415" y="2374"/>
                </a:lnTo>
                <a:lnTo>
                  <a:pt x="5448" y="2346"/>
                </a:lnTo>
                <a:lnTo>
                  <a:pt x="5448" y="2337"/>
                </a:lnTo>
                <a:lnTo>
                  <a:pt x="5462" y="2325"/>
                </a:lnTo>
                <a:lnTo>
                  <a:pt x="5474" y="2341"/>
                </a:lnTo>
                <a:lnTo>
                  <a:pt x="5452" y="2358"/>
                </a:lnTo>
                <a:lnTo>
                  <a:pt x="5452" y="2374"/>
                </a:lnTo>
                <a:lnTo>
                  <a:pt x="5415" y="2391"/>
                </a:lnTo>
                <a:lnTo>
                  <a:pt x="5436" y="2391"/>
                </a:lnTo>
                <a:lnTo>
                  <a:pt x="5436" y="2379"/>
                </a:lnTo>
                <a:lnTo>
                  <a:pt x="5436" y="2403"/>
                </a:lnTo>
                <a:lnTo>
                  <a:pt x="5452" y="2379"/>
                </a:lnTo>
                <a:lnTo>
                  <a:pt x="5485" y="2374"/>
                </a:lnTo>
                <a:lnTo>
                  <a:pt x="5474" y="2412"/>
                </a:lnTo>
                <a:lnTo>
                  <a:pt x="5490" y="2396"/>
                </a:lnTo>
                <a:lnTo>
                  <a:pt x="5490" y="2374"/>
                </a:lnTo>
                <a:lnTo>
                  <a:pt x="5500" y="2374"/>
                </a:lnTo>
                <a:lnTo>
                  <a:pt x="5523" y="2403"/>
                </a:lnTo>
                <a:lnTo>
                  <a:pt x="5507" y="2379"/>
                </a:lnTo>
                <a:lnTo>
                  <a:pt x="5528" y="2363"/>
                </a:lnTo>
                <a:lnTo>
                  <a:pt x="5537" y="2363"/>
                </a:lnTo>
                <a:lnTo>
                  <a:pt x="5528" y="2379"/>
                </a:lnTo>
                <a:lnTo>
                  <a:pt x="5561" y="2374"/>
                </a:lnTo>
                <a:lnTo>
                  <a:pt x="5592" y="2412"/>
                </a:lnTo>
                <a:lnTo>
                  <a:pt x="5575" y="2419"/>
                </a:lnTo>
                <a:lnTo>
                  <a:pt x="5544" y="2403"/>
                </a:lnTo>
                <a:lnTo>
                  <a:pt x="5528" y="2412"/>
                </a:lnTo>
                <a:lnTo>
                  <a:pt x="5554" y="2412"/>
                </a:lnTo>
                <a:lnTo>
                  <a:pt x="5570" y="2429"/>
                </a:lnTo>
                <a:lnTo>
                  <a:pt x="5544" y="2436"/>
                </a:lnTo>
                <a:lnTo>
                  <a:pt x="5575" y="2448"/>
                </a:lnTo>
                <a:lnTo>
                  <a:pt x="5544" y="2452"/>
                </a:lnTo>
                <a:lnTo>
                  <a:pt x="5507" y="2436"/>
                </a:lnTo>
                <a:lnTo>
                  <a:pt x="5490" y="2436"/>
                </a:lnTo>
                <a:lnTo>
                  <a:pt x="5516" y="2452"/>
                </a:lnTo>
                <a:lnTo>
                  <a:pt x="5490" y="2457"/>
                </a:lnTo>
                <a:lnTo>
                  <a:pt x="5474" y="2452"/>
                </a:lnTo>
                <a:lnTo>
                  <a:pt x="5490" y="2469"/>
                </a:lnTo>
                <a:lnTo>
                  <a:pt x="5528" y="2469"/>
                </a:lnTo>
                <a:lnTo>
                  <a:pt x="5544" y="2485"/>
                </a:lnTo>
                <a:lnTo>
                  <a:pt x="5485" y="2485"/>
                </a:lnTo>
                <a:lnTo>
                  <a:pt x="5474" y="2469"/>
                </a:lnTo>
                <a:lnTo>
                  <a:pt x="5469" y="2474"/>
                </a:lnTo>
                <a:lnTo>
                  <a:pt x="5516" y="2490"/>
                </a:lnTo>
                <a:lnTo>
                  <a:pt x="5516" y="2507"/>
                </a:lnTo>
                <a:lnTo>
                  <a:pt x="5500" y="2507"/>
                </a:lnTo>
                <a:lnTo>
                  <a:pt x="5474" y="2502"/>
                </a:lnTo>
                <a:lnTo>
                  <a:pt x="5500" y="2514"/>
                </a:lnTo>
                <a:lnTo>
                  <a:pt x="5485" y="2514"/>
                </a:lnTo>
                <a:lnTo>
                  <a:pt x="5500" y="2523"/>
                </a:lnTo>
                <a:lnTo>
                  <a:pt x="5490" y="2540"/>
                </a:lnTo>
                <a:lnTo>
                  <a:pt x="5485" y="2540"/>
                </a:lnTo>
                <a:lnTo>
                  <a:pt x="5474" y="2514"/>
                </a:lnTo>
                <a:lnTo>
                  <a:pt x="5474" y="2530"/>
                </a:lnTo>
                <a:lnTo>
                  <a:pt x="5474" y="2540"/>
                </a:lnTo>
                <a:lnTo>
                  <a:pt x="5452" y="2530"/>
                </a:lnTo>
                <a:lnTo>
                  <a:pt x="5436" y="2507"/>
                </a:lnTo>
                <a:lnTo>
                  <a:pt x="5448" y="2530"/>
                </a:lnTo>
                <a:lnTo>
                  <a:pt x="5419" y="2523"/>
                </a:lnTo>
                <a:lnTo>
                  <a:pt x="5448" y="2540"/>
                </a:lnTo>
                <a:lnTo>
                  <a:pt x="5431" y="2540"/>
                </a:lnTo>
                <a:lnTo>
                  <a:pt x="5452" y="2556"/>
                </a:lnTo>
                <a:lnTo>
                  <a:pt x="5419" y="2547"/>
                </a:lnTo>
                <a:lnTo>
                  <a:pt x="5448" y="2568"/>
                </a:lnTo>
                <a:lnTo>
                  <a:pt x="5436" y="2585"/>
                </a:lnTo>
                <a:lnTo>
                  <a:pt x="5448" y="2596"/>
                </a:lnTo>
                <a:lnTo>
                  <a:pt x="5431" y="2618"/>
                </a:lnTo>
                <a:lnTo>
                  <a:pt x="5415" y="2613"/>
                </a:lnTo>
                <a:lnTo>
                  <a:pt x="5419" y="2601"/>
                </a:lnTo>
                <a:lnTo>
                  <a:pt x="5410" y="2596"/>
                </a:lnTo>
                <a:lnTo>
                  <a:pt x="5393" y="2601"/>
                </a:lnTo>
                <a:lnTo>
                  <a:pt x="5381" y="2596"/>
                </a:lnTo>
                <a:lnTo>
                  <a:pt x="5393" y="2585"/>
                </a:lnTo>
                <a:lnTo>
                  <a:pt x="5377" y="2585"/>
                </a:lnTo>
                <a:lnTo>
                  <a:pt x="5377" y="2568"/>
                </a:lnTo>
                <a:lnTo>
                  <a:pt x="5381" y="2556"/>
                </a:lnTo>
                <a:lnTo>
                  <a:pt x="5365" y="2568"/>
                </a:lnTo>
                <a:lnTo>
                  <a:pt x="5360" y="2596"/>
                </a:lnTo>
                <a:lnTo>
                  <a:pt x="5339" y="2568"/>
                </a:lnTo>
                <a:lnTo>
                  <a:pt x="5355" y="2563"/>
                </a:lnTo>
                <a:lnTo>
                  <a:pt x="5339" y="2563"/>
                </a:lnTo>
                <a:lnTo>
                  <a:pt x="5365" y="2547"/>
                </a:lnTo>
                <a:lnTo>
                  <a:pt x="5327" y="2563"/>
                </a:lnTo>
                <a:lnTo>
                  <a:pt x="5322" y="2556"/>
                </a:lnTo>
                <a:lnTo>
                  <a:pt x="5355" y="2530"/>
                </a:lnTo>
                <a:lnTo>
                  <a:pt x="5327" y="2540"/>
                </a:lnTo>
                <a:lnTo>
                  <a:pt x="5306" y="2540"/>
                </a:lnTo>
                <a:lnTo>
                  <a:pt x="5344" y="2523"/>
                </a:lnTo>
                <a:lnTo>
                  <a:pt x="5322" y="2530"/>
                </a:lnTo>
                <a:lnTo>
                  <a:pt x="5289" y="2514"/>
                </a:lnTo>
                <a:lnTo>
                  <a:pt x="5306" y="2502"/>
                </a:lnTo>
                <a:lnTo>
                  <a:pt x="5355" y="2490"/>
                </a:lnTo>
                <a:lnTo>
                  <a:pt x="5344" y="2485"/>
                </a:lnTo>
                <a:lnTo>
                  <a:pt x="5355" y="2457"/>
                </a:lnTo>
                <a:lnTo>
                  <a:pt x="5377" y="2448"/>
                </a:lnTo>
                <a:lnTo>
                  <a:pt x="5355" y="2452"/>
                </a:lnTo>
                <a:lnTo>
                  <a:pt x="5339" y="2474"/>
                </a:lnTo>
                <a:lnTo>
                  <a:pt x="5268" y="2490"/>
                </a:lnTo>
                <a:lnTo>
                  <a:pt x="5259" y="2485"/>
                </a:lnTo>
                <a:lnTo>
                  <a:pt x="5285" y="2469"/>
                </a:lnTo>
                <a:lnTo>
                  <a:pt x="5301" y="2448"/>
                </a:lnTo>
                <a:lnTo>
                  <a:pt x="5285" y="2469"/>
                </a:lnTo>
                <a:lnTo>
                  <a:pt x="5252" y="2474"/>
                </a:lnTo>
                <a:lnTo>
                  <a:pt x="5247" y="2457"/>
                </a:lnTo>
                <a:lnTo>
                  <a:pt x="5221" y="2457"/>
                </a:lnTo>
                <a:lnTo>
                  <a:pt x="5221" y="2448"/>
                </a:lnTo>
                <a:lnTo>
                  <a:pt x="5230" y="2436"/>
                </a:lnTo>
                <a:lnTo>
                  <a:pt x="5204" y="2448"/>
                </a:lnTo>
                <a:lnTo>
                  <a:pt x="5200" y="2419"/>
                </a:lnTo>
                <a:lnTo>
                  <a:pt x="5183" y="2412"/>
                </a:lnTo>
                <a:lnTo>
                  <a:pt x="5200" y="2419"/>
                </a:lnTo>
                <a:lnTo>
                  <a:pt x="5183" y="2429"/>
                </a:lnTo>
                <a:lnTo>
                  <a:pt x="5167" y="2419"/>
                </a:lnTo>
                <a:lnTo>
                  <a:pt x="5138" y="2419"/>
                </a:lnTo>
                <a:lnTo>
                  <a:pt x="5183" y="2436"/>
                </a:lnTo>
                <a:lnTo>
                  <a:pt x="5176" y="2448"/>
                </a:lnTo>
                <a:lnTo>
                  <a:pt x="5162" y="2436"/>
                </a:lnTo>
                <a:lnTo>
                  <a:pt x="5183" y="2452"/>
                </a:lnTo>
                <a:lnTo>
                  <a:pt x="5167" y="2452"/>
                </a:lnTo>
                <a:lnTo>
                  <a:pt x="5124" y="2429"/>
                </a:lnTo>
                <a:lnTo>
                  <a:pt x="5145" y="2457"/>
                </a:lnTo>
                <a:lnTo>
                  <a:pt x="5176" y="2485"/>
                </a:lnTo>
                <a:lnTo>
                  <a:pt x="5176" y="2490"/>
                </a:lnTo>
                <a:lnTo>
                  <a:pt x="5176" y="2502"/>
                </a:lnTo>
                <a:lnTo>
                  <a:pt x="5129" y="2502"/>
                </a:lnTo>
                <a:lnTo>
                  <a:pt x="5107" y="2469"/>
                </a:lnTo>
                <a:lnTo>
                  <a:pt x="5058" y="2469"/>
                </a:lnTo>
                <a:lnTo>
                  <a:pt x="5112" y="2485"/>
                </a:lnTo>
                <a:lnTo>
                  <a:pt x="5112" y="2490"/>
                </a:lnTo>
                <a:lnTo>
                  <a:pt x="5096" y="2485"/>
                </a:lnTo>
                <a:lnTo>
                  <a:pt x="5096" y="2502"/>
                </a:lnTo>
                <a:lnTo>
                  <a:pt x="5112" y="2502"/>
                </a:lnTo>
                <a:lnTo>
                  <a:pt x="5107" y="2514"/>
                </a:lnTo>
                <a:lnTo>
                  <a:pt x="5129" y="2514"/>
                </a:lnTo>
                <a:lnTo>
                  <a:pt x="5112" y="2540"/>
                </a:lnTo>
                <a:lnTo>
                  <a:pt x="5124" y="2540"/>
                </a:lnTo>
                <a:lnTo>
                  <a:pt x="5124" y="2547"/>
                </a:lnTo>
                <a:lnTo>
                  <a:pt x="5138" y="2530"/>
                </a:lnTo>
                <a:lnTo>
                  <a:pt x="5167" y="2530"/>
                </a:lnTo>
                <a:lnTo>
                  <a:pt x="5162" y="2547"/>
                </a:lnTo>
                <a:lnTo>
                  <a:pt x="5183" y="2556"/>
                </a:lnTo>
                <a:lnTo>
                  <a:pt x="5162" y="2563"/>
                </a:lnTo>
                <a:lnTo>
                  <a:pt x="5200" y="2580"/>
                </a:lnTo>
                <a:lnTo>
                  <a:pt x="5192" y="2596"/>
                </a:lnTo>
                <a:lnTo>
                  <a:pt x="5183" y="2601"/>
                </a:lnTo>
                <a:lnTo>
                  <a:pt x="5204" y="2585"/>
                </a:lnTo>
                <a:lnTo>
                  <a:pt x="5204" y="2601"/>
                </a:lnTo>
                <a:lnTo>
                  <a:pt x="5214" y="2634"/>
                </a:lnTo>
                <a:lnTo>
                  <a:pt x="5214" y="2601"/>
                </a:lnTo>
                <a:lnTo>
                  <a:pt x="5252" y="2618"/>
                </a:lnTo>
                <a:lnTo>
                  <a:pt x="5247" y="2641"/>
                </a:lnTo>
                <a:lnTo>
                  <a:pt x="5259" y="2625"/>
                </a:lnTo>
                <a:lnTo>
                  <a:pt x="5259" y="2641"/>
                </a:lnTo>
                <a:lnTo>
                  <a:pt x="5268" y="2641"/>
                </a:lnTo>
                <a:lnTo>
                  <a:pt x="5259" y="2618"/>
                </a:lnTo>
                <a:lnTo>
                  <a:pt x="5285" y="2625"/>
                </a:lnTo>
                <a:lnTo>
                  <a:pt x="5285" y="2641"/>
                </a:lnTo>
                <a:lnTo>
                  <a:pt x="5285" y="2634"/>
                </a:lnTo>
                <a:lnTo>
                  <a:pt x="5289" y="2641"/>
                </a:lnTo>
                <a:lnTo>
                  <a:pt x="5285" y="2667"/>
                </a:lnTo>
                <a:lnTo>
                  <a:pt x="5313" y="2658"/>
                </a:lnTo>
                <a:lnTo>
                  <a:pt x="5322" y="2674"/>
                </a:lnTo>
                <a:lnTo>
                  <a:pt x="5313" y="2691"/>
                </a:lnTo>
                <a:lnTo>
                  <a:pt x="5285" y="2691"/>
                </a:lnTo>
                <a:lnTo>
                  <a:pt x="5301" y="2691"/>
                </a:lnTo>
                <a:lnTo>
                  <a:pt x="5327" y="2712"/>
                </a:lnTo>
                <a:lnTo>
                  <a:pt x="5313" y="2724"/>
                </a:lnTo>
                <a:lnTo>
                  <a:pt x="5355" y="2724"/>
                </a:lnTo>
                <a:lnTo>
                  <a:pt x="5327" y="2745"/>
                </a:lnTo>
                <a:lnTo>
                  <a:pt x="5360" y="2762"/>
                </a:lnTo>
                <a:lnTo>
                  <a:pt x="5365" y="2802"/>
                </a:lnTo>
                <a:lnTo>
                  <a:pt x="5360" y="2802"/>
                </a:lnTo>
                <a:lnTo>
                  <a:pt x="5365" y="2802"/>
                </a:lnTo>
                <a:lnTo>
                  <a:pt x="5360" y="2807"/>
                </a:lnTo>
                <a:lnTo>
                  <a:pt x="5344" y="2802"/>
                </a:lnTo>
                <a:lnTo>
                  <a:pt x="5339" y="2762"/>
                </a:lnTo>
                <a:lnTo>
                  <a:pt x="5306" y="2745"/>
                </a:lnTo>
                <a:lnTo>
                  <a:pt x="5327" y="2762"/>
                </a:lnTo>
                <a:lnTo>
                  <a:pt x="5322" y="2778"/>
                </a:lnTo>
                <a:lnTo>
                  <a:pt x="5339" y="2807"/>
                </a:lnTo>
                <a:lnTo>
                  <a:pt x="5322" y="2802"/>
                </a:lnTo>
                <a:lnTo>
                  <a:pt x="5327" y="2818"/>
                </a:lnTo>
                <a:lnTo>
                  <a:pt x="5344" y="2823"/>
                </a:lnTo>
                <a:lnTo>
                  <a:pt x="5344" y="2840"/>
                </a:lnTo>
                <a:lnTo>
                  <a:pt x="5355" y="2847"/>
                </a:lnTo>
                <a:lnTo>
                  <a:pt x="5339" y="2847"/>
                </a:lnTo>
                <a:lnTo>
                  <a:pt x="5313" y="2840"/>
                </a:lnTo>
                <a:lnTo>
                  <a:pt x="5339" y="2873"/>
                </a:lnTo>
                <a:lnTo>
                  <a:pt x="5313" y="2889"/>
                </a:lnTo>
                <a:lnTo>
                  <a:pt x="5313" y="2873"/>
                </a:lnTo>
                <a:lnTo>
                  <a:pt x="5306" y="2873"/>
                </a:lnTo>
                <a:lnTo>
                  <a:pt x="5306" y="2856"/>
                </a:lnTo>
                <a:lnTo>
                  <a:pt x="5289" y="2856"/>
                </a:lnTo>
                <a:lnTo>
                  <a:pt x="5268" y="2847"/>
                </a:lnTo>
                <a:lnTo>
                  <a:pt x="5268" y="2835"/>
                </a:lnTo>
                <a:lnTo>
                  <a:pt x="5259" y="2840"/>
                </a:lnTo>
                <a:lnTo>
                  <a:pt x="5237" y="2823"/>
                </a:lnTo>
                <a:lnTo>
                  <a:pt x="5252" y="2840"/>
                </a:lnTo>
                <a:lnTo>
                  <a:pt x="5230" y="2835"/>
                </a:lnTo>
                <a:lnTo>
                  <a:pt x="5214" y="2790"/>
                </a:lnTo>
                <a:lnTo>
                  <a:pt x="5204" y="2802"/>
                </a:lnTo>
                <a:lnTo>
                  <a:pt x="5221" y="2818"/>
                </a:lnTo>
                <a:lnTo>
                  <a:pt x="5221" y="2840"/>
                </a:lnTo>
                <a:lnTo>
                  <a:pt x="5204" y="2823"/>
                </a:lnTo>
                <a:lnTo>
                  <a:pt x="5204" y="2807"/>
                </a:lnTo>
                <a:lnTo>
                  <a:pt x="5200" y="2818"/>
                </a:lnTo>
                <a:lnTo>
                  <a:pt x="5192" y="2807"/>
                </a:lnTo>
                <a:lnTo>
                  <a:pt x="5192" y="2790"/>
                </a:lnTo>
                <a:lnTo>
                  <a:pt x="5192" y="2802"/>
                </a:lnTo>
                <a:lnTo>
                  <a:pt x="5176" y="2807"/>
                </a:lnTo>
                <a:lnTo>
                  <a:pt x="5129" y="2752"/>
                </a:lnTo>
                <a:lnTo>
                  <a:pt x="5145" y="2790"/>
                </a:lnTo>
                <a:lnTo>
                  <a:pt x="5079" y="2752"/>
                </a:lnTo>
                <a:lnTo>
                  <a:pt x="5053" y="2752"/>
                </a:lnTo>
                <a:lnTo>
                  <a:pt x="5107" y="2818"/>
                </a:lnTo>
                <a:lnTo>
                  <a:pt x="5145" y="2823"/>
                </a:lnTo>
                <a:lnTo>
                  <a:pt x="5138" y="2835"/>
                </a:lnTo>
                <a:lnTo>
                  <a:pt x="5138" y="2840"/>
                </a:lnTo>
                <a:lnTo>
                  <a:pt x="5150" y="2835"/>
                </a:lnTo>
                <a:lnTo>
                  <a:pt x="5145" y="2847"/>
                </a:lnTo>
                <a:lnTo>
                  <a:pt x="5162" y="2840"/>
                </a:lnTo>
                <a:lnTo>
                  <a:pt x="5192" y="2873"/>
                </a:lnTo>
                <a:lnTo>
                  <a:pt x="5204" y="2873"/>
                </a:lnTo>
                <a:lnTo>
                  <a:pt x="5204" y="2880"/>
                </a:lnTo>
                <a:lnTo>
                  <a:pt x="5237" y="2896"/>
                </a:lnTo>
                <a:lnTo>
                  <a:pt x="5237" y="2901"/>
                </a:lnTo>
                <a:lnTo>
                  <a:pt x="5230" y="2913"/>
                </a:lnTo>
                <a:lnTo>
                  <a:pt x="5237" y="2918"/>
                </a:lnTo>
                <a:lnTo>
                  <a:pt x="5237" y="2913"/>
                </a:lnTo>
                <a:lnTo>
                  <a:pt x="5247" y="2913"/>
                </a:lnTo>
                <a:lnTo>
                  <a:pt x="5247" y="2918"/>
                </a:lnTo>
                <a:lnTo>
                  <a:pt x="5268" y="2929"/>
                </a:lnTo>
                <a:lnTo>
                  <a:pt x="5252" y="2934"/>
                </a:lnTo>
                <a:lnTo>
                  <a:pt x="5259" y="2955"/>
                </a:lnTo>
                <a:lnTo>
                  <a:pt x="5230" y="2955"/>
                </a:lnTo>
                <a:lnTo>
                  <a:pt x="5204" y="2946"/>
                </a:lnTo>
                <a:lnTo>
                  <a:pt x="5041" y="2901"/>
                </a:lnTo>
                <a:lnTo>
                  <a:pt x="5004" y="2873"/>
                </a:lnTo>
                <a:lnTo>
                  <a:pt x="5015" y="2863"/>
                </a:lnTo>
                <a:lnTo>
                  <a:pt x="4966" y="2863"/>
                </a:lnTo>
                <a:lnTo>
                  <a:pt x="4897" y="2840"/>
                </a:lnTo>
                <a:lnTo>
                  <a:pt x="4918" y="2823"/>
                </a:lnTo>
                <a:lnTo>
                  <a:pt x="4911" y="2818"/>
                </a:lnTo>
                <a:lnTo>
                  <a:pt x="4890" y="2835"/>
                </a:lnTo>
                <a:lnTo>
                  <a:pt x="4864" y="2818"/>
                </a:lnTo>
                <a:lnTo>
                  <a:pt x="4852" y="2790"/>
                </a:lnTo>
                <a:lnTo>
                  <a:pt x="4826" y="2785"/>
                </a:lnTo>
                <a:lnTo>
                  <a:pt x="4864" y="2785"/>
                </a:lnTo>
                <a:lnTo>
                  <a:pt x="4890" y="2769"/>
                </a:lnTo>
                <a:lnTo>
                  <a:pt x="4864" y="2769"/>
                </a:lnTo>
                <a:lnTo>
                  <a:pt x="4864" y="2752"/>
                </a:lnTo>
                <a:lnTo>
                  <a:pt x="4843" y="2745"/>
                </a:lnTo>
                <a:lnTo>
                  <a:pt x="4836" y="2752"/>
                </a:lnTo>
                <a:lnTo>
                  <a:pt x="4852" y="2752"/>
                </a:lnTo>
                <a:lnTo>
                  <a:pt x="4843" y="2762"/>
                </a:lnTo>
                <a:lnTo>
                  <a:pt x="4826" y="2752"/>
                </a:lnTo>
                <a:lnTo>
                  <a:pt x="4810" y="2762"/>
                </a:lnTo>
                <a:lnTo>
                  <a:pt x="4810" y="2752"/>
                </a:lnTo>
                <a:lnTo>
                  <a:pt x="4822" y="2736"/>
                </a:lnTo>
                <a:lnTo>
                  <a:pt x="4822" y="2729"/>
                </a:lnTo>
                <a:lnTo>
                  <a:pt x="4810" y="2745"/>
                </a:lnTo>
                <a:lnTo>
                  <a:pt x="4805" y="2745"/>
                </a:lnTo>
                <a:lnTo>
                  <a:pt x="4798" y="2736"/>
                </a:lnTo>
                <a:lnTo>
                  <a:pt x="4798" y="2724"/>
                </a:lnTo>
                <a:lnTo>
                  <a:pt x="4789" y="2712"/>
                </a:lnTo>
                <a:lnTo>
                  <a:pt x="4789" y="2729"/>
                </a:lnTo>
                <a:lnTo>
                  <a:pt x="4772" y="2712"/>
                </a:lnTo>
                <a:lnTo>
                  <a:pt x="4784" y="2712"/>
                </a:lnTo>
                <a:lnTo>
                  <a:pt x="4772" y="2707"/>
                </a:lnTo>
                <a:lnTo>
                  <a:pt x="4751" y="2691"/>
                </a:lnTo>
                <a:lnTo>
                  <a:pt x="4746" y="2691"/>
                </a:lnTo>
                <a:lnTo>
                  <a:pt x="4746" y="2674"/>
                </a:lnTo>
                <a:lnTo>
                  <a:pt x="4755" y="2658"/>
                </a:lnTo>
                <a:lnTo>
                  <a:pt x="4751" y="2641"/>
                </a:lnTo>
                <a:lnTo>
                  <a:pt x="4751" y="2658"/>
                </a:lnTo>
                <a:lnTo>
                  <a:pt x="4734" y="2667"/>
                </a:lnTo>
                <a:lnTo>
                  <a:pt x="4734" y="2651"/>
                </a:lnTo>
                <a:lnTo>
                  <a:pt x="4718" y="2651"/>
                </a:lnTo>
                <a:lnTo>
                  <a:pt x="4718" y="2658"/>
                </a:lnTo>
                <a:lnTo>
                  <a:pt x="4701" y="2651"/>
                </a:lnTo>
                <a:lnTo>
                  <a:pt x="4713" y="2667"/>
                </a:lnTo>
                <a:lnTo>
                  <a:pt x="4696" y="2679"/>
                </a:lnTo>
                <a:lnTo>
                  <a:pt x="4692" y="2658"/>
                </a:lnTo>
                <a:lnTo>
                  <a:pt x="4696" y="2658"/>
                </a:lnTo>
                <a:lnTo>
                  <a:pt x="4696" y="2634"/>
                </a:lnTo>
                <a:lnTo>
                  <a:pt x="4680" y="2658"/>
                </a:lnTo>
                <a:lnTo>
                  <a:pt x="4675" y="2658"/>
                </a:lnTo>
                <a:lnTo>
                  <a:pt x="4649" y="2634"/>
                </a:lnTo>
                <a:lnTo>
                  <a:pt x="4663" y="2625"/>
                </a:lnTo>
                <a:lnTo>
                  <a:pt x="4649" y="2618"/>
                </a:lnTo>
                <a:lnTo>
                  <a:pt x="4649" y="2634"/>
                </a:lnTo>
                <a:lnTo>
                  <a:pt x="4626" y="2625"/>
                </a:lnTo>
                <a:lnTo>
                  <a:pt x="4663" y="2658"/>
                </a:lnTo>
                <a:lnTo>
                  <a:pt x="4649" y="2679"/>
                </a:lnTo>
                <a:lnTo>
                  <a:pt x="4574" y="2651"/>
                </a:lnTo>
                <a:lnTo>
                  <a:pt x="4574" y="2658"/>
                </a:lnTo>
                <a:lnTo>
                  <a:pt x="4583" y="2667"/>
                </a:lnTo>
                <a:lnTo>
                  <a:pt x="4567" y="2667"/>
                </a:lnTo>
                <a:lnTo>
                  <a:pt x="4583" y="2679"/>
                </a:lnTo>
                <a:lnTo>
                  <a:pt x="4503" y="2691"/>
                </a:lnTo>
                <a:lnTo>
                  <a:pt x="4512" y="2696"/>
                </a:lnTo>
                <a:lnTo>
                  <a:pt x="4481" y="2691"/>
                </a:lnTo>
                <a:lnTo>
                  <a:pt x="4465" y="2696"/>
                </a:lnTo>
                <a:lnTo>
                  <a:pt x="4444" y="2674"/>
                </a:lnTo>
                <a:lnTo>
                  <a:pt x="4432" y="2679"/>
                </a:lnTo>
                <a:lnTo>
                  <a:pt x="4406" y="2658"/>
                </a:lnTo>
                <a:lnTo>
                  <a:pt x="4406" y="2634"/>
                </a:lnTo>
                <a:lnTo>
                  <a:pt x="4411" y="2625"/>
                </a:lnTo>
                <a:lnTo>
                  <a:pt x="4411" y="2613"/>
                </a:lnTo>
                <a:lnTo>
                  <a:pt x="4465" y="2585"/>
                </a:lnTo>
                <a:lnTo>
                  <a:pt x="4448" y="2568"/>
                </a:lnTo>
                <a:lnTo>
                  <a:pt x="4465" y="2563"/>
                </a:lnTo>
                <a:lnTo>
                  <a:pt x="4460" y="2556"/>
                </a:lnTo>
                <a:lnTo>
                  <a:pt x="4574" y="2580"/>
                </a:lnTo>
                <a:lnTo>
                  <a:pt x="4595" y="2601"/>
                </a:lnTo>
                <a:lnTo>
                  <a:pt x="4595" y="2613"/>
                </a:lnTo>
                <a:lnTo>
                  <a:pt x="4583" y="2613"/>
                </a:lnTo>
                <a:lnTo>
                  <a:pt x="4604" y="2641"/>
                </a:lnTo>
                <a:lnTo>
                  <a:pt x="4611" y="2634"/>
                </a:lnTo>
                <a:lnTo>
                  <a:pt x="4604" y="2618"/>
                </a:lnTo>
                <a:lnTo>
                  <a:pt x="4588" y="2618"/>
                </a:lnTo>
                <a:lnTo>
                  <a:pt x="4611" y="2613"/>
                </a:lnTo>
                <a:lnTo>
                  <a:pt x="4611" y="2596"/>
                </a:lnTo>
                <a:lnTo>
                  <a:pt x="4604" y="2601"/>
                </a:lnTo>
                <a:lnTo>
                  <a:pt x="4567" y="2568"/>
                </a:lnTo>
                <a:lnTo>
                  <a:pt x="4611" y="2580"/>
                </a:lnTo>
                <a:lnTo>
                  <a:pt x="4621" y="2568"/>
                </a:lnTo>
                <a:lnTo>
                  <a:pt x="4621" y="2563"/>
                </a:lnTo>
                <a:lnTo>
                  <a:pt x="4663" y="2568"/>
                </a:lnTo>
                <a:lnTo>
                  <a:pt x="4692" y="2547"/>
                </a:lnTo>
                <a:lnTo>
                  <a:pt x="4734" y="2547"/>
                </a:lnTo>
                <a:lnTo>
                  <a:pt x="4718" y="2514"/>
                </a:lnTo>
                <a:lnTo>
                  <a:pt x="4696" y="2502"/>
                </a:lnTo>
                <a:lnTo>
                  <a:pt x="4663" y="2469"/>
                </a:lnTo>
                <a:lnTo>
                  <a:pt x="4734" y="2419"/>
                </a:lnTo>
                <a:lnTo>
                  <a:pt x="4755" y="2403"/>
                </a:lnTo>
                <a:lnTo>
                  <a:pt x="4784" y="2363"/>
                </a:lnTo>
                <a:lnTo>
                  <a:pt x="4810" y="2358"/>
                </a:lnTo>
                <a:lnTo>
                  <a:pt x="4822" y="2341"/>
                </a:lnTo>
                <a:lnTo>
                  <a:pt x="4805" y="2292"/>
                </a:lnTo>
                <a:lnTo>
                  <a:pt x="4789" y="2285"/>
                </a:lnTo>
                <a:lnTo>
                  <a:pt x="4798" y="2268"/>
                </a:lnTo>
                <a:lnTo>
                  <a:pt x="4772" y="2252"/>
                </a:lnTo>
                <a:lnTo>
                  <a:pt x="4772" y="2247"/>
                </a:lnTo>
                <a:lnTo>
                  <a:pt x="4767" y="2226"/>
                </a:lnTo>
                <a:lnTo>
                  <a:pt x="4734" y="2214"/>
                </a:lnTo>
                <a:lnTo>
                  <a:pt x="4751" y="2197"/>
                </a:lnTo>
                <a:lnTo>
                  <a:pt x="4729" y="2214"/>
                </a:lnTo>
                <a:lnTo>
                  <a:pt x="4713" y="2209"/>
                </a:lnTo>
                <a:lnTo>
                  <a:pt x="4701" y="2181"/>
                </a:lnTo>
                <a:lnTo>
                  <a:pt x="4718" y="2181"/>
                </a:lnTo>
                <a:lnTo>
                  <a:pt x="4718" y="2157"/>
                </a:lnTo>
                <a:lnTo>
                  <a:pt x="4692" y="2157"/>
                </a:lnTo>
                <a:lnTo>
                  <a:pt x="4701" y="2176"/>
                </a:lnTo>
                <a:lnTo>
                  <a:pt x="4696" y="2181"/>
                </a:lnTo>
                <a:lnTo>
                  <a:pt x="4675" y="2176"/>
                </a:lnTo>
                <a:lnTo>
                  <a:pt x="4649" y="2152"/>
                </a:lnTo>
                <a:lnTo>
                  <a:pt x="4659" y="2140"/>
                </a:lnTo>
                <a:lnTo>
                  <a:pt x="4637" y="2140"/>
                </a:lnTo>
                <a:lnTo>
                  <a:pt x="4649" y="2124"/>
                </a:lnTo>
                <a:lnTo>
                  <a:pt x="4626" y="2124"/>
                </a:lnTo>
                <a:lnTo>
                  <a:pt x="4649" y="2119"/>
                </a:lnTo>
                <a:lnTo>
                  <a:pt x="4642" y="2115"/>
                </a:lnTo>
                <a:lnTo>
                  <a:pt x="4626" y="2119"/>
                </a:lnTo>
                <a:lnTo>
                  <a:pt x="4621" y="2136"/>
                </a:lnTo>
                <a:lnTo>
                  <a:pt x="4595" y="2119"/>
                </a:lnTo>
                <a:lnTo>
                  <a:pt x="4588" y="2136"/>
                </a:lnTo>
                <a:lnTo>
                  <a:pt x="4512" y="2157"/>
                </a:lnTo>
                <a:lnTo>
                  <a:pt x="4512" y="2152"/>
                </a:lnTo>
                <a:lnTo>
                  <a:pt x="4519" y="2136"/>
                </a:lnTo>
                <a:lnTo>
                  <a:pt x="4512" y="2124"/>
                </a:lnTo>
                <a:lnTo>
                  <a:pt x="4512" y="2119"/>
                </a:lnTo>
                <a:lnTo>
                  <a:pt x="4557" y="2119"/>
                </a:lnTo>
                <a:lnTo>
                  <a:pt x="4588" y="2115"/>
                </a:lnTo>
                <a:lnTo>
                  <a:pt x="4588" y="2098"/>
                </a:lnTo>
                <a:lnTo>
                  <a:pt x="4512" y="2048"/>
                </a:lnTo>
                <a:lnTo>
                  <a:pt x="4529" y="2041"/>
                </a:lnTo>
                <a:lnTo>
                  <a:pt x="4541" y="2029"/>
                </a:lnTo>
                <a:lnTo>
                  <a:pt x="4512" y="2029"/>
                </a:lnTo>
                <a:lnTo>
                  <a:pt x="4519" y="2041"/>
                </a:lnTo>
                <a:lnTo>
                  <a:pt x="4512" y="2048"/>
                </a:lnTo>
                <a:lnTo>
                  <a:pt x="4474" y="2041"/>
                </a:lnTo>
                <a:lnTo>
                  <a:pt x="4503" y="2029"/>
                </a:lnTo>
                <a:lnTo>
                  <a:pt x="4498" y="2013"/>
                </a:lnTo>
                <a:lnTo>
                  <a:pt x="4465" y="2013"/>
                </a:lnTo>
                <a:lnTo>
                  <a:pt x="4486" y="2003"/>
                </a:lnTo>
                <a:lnTo>
                  <a:pt x="4444" y="2025"/>
                </a:lnTo>
                <a:lnTo>
                  <a:pt x="4444" y="1970"/>
                </a:lnTo>
                <a:lnTo>
                  <a:pt x="4427" y="1959"/>
                </a:lnTo>
                <a:lnTo>
                  <a:pt x="4389" y="1970"/>
                </a:lnTo>
                <a:lnTo>
                  <a:pt x="4389" y="1954"/>
                </a:lnTo>
                <a:lnTo>
                  <a:pt x="4389" y="1947"/>
                </a:lnTo>
                <a:lnTo>
                  <a:pt x="4378" y="1954"/>
                </a:lnTo>
                <a:lnTo>
                  <a:pt x="4368" y="1937"/>
                </a:lnTo>
                <a:lnTo>
                  <a:pt x="4340" y="1930"/>
                </a:lnTo>
                <a:lnTo>
                  <a:pt x="4340" y="1921"/>
                </a:lnTo>
                <a:lnTo>
                  <a:pt x="4356" y="1914"/>
                </a:lnTo>
                <a:lnTo>
                  <a:pt x="4368" y="1921"/>
                </a:lnTo>
                <a:lnTo>
                  <a:pt x="4352" y="1904"/>
                </a:lnTo>
                <a:lnTo>
                  <a:pt x="4335" y="1914"/>
                </a:lnTo>
                <a:lnTo>
                  <a:pt x="4340" y="1914"/>
                </a:lnTo>
                <a:lnTo>
                  <a:pt x="4335" y="1937"/>
                </a:lnTo>
                <a:lnTo>
                  <a:pt x="4318" y="1930"/>
                </a:lnTo>
                <a:lnTo>
                  <a:pt x="4302" y="1947"/>
                </a:lnTo>
                <a:lnTo>
                  <a:pt x="4356" y="1954"/>
                </a:lnTo>
                <a:lnTo>
                  <a:pt x="4373" y="1992"/>
                </a:lnTo>
                <a:lnTo>
                  <a:pt x="4368" y="2008"/>
                </a:lnTo>
                <a:lnTo>
                  <a:pt x="4302" y="2008"/>
                </a:lnTo>
                <a:lnTo>
                  <a:pt x="4271" y="1992"/>
                </a:lnTo>
                <a:lnTo>
                  <a:pt x="4158" y="1975"/>
                </a:lnTo>
                <a:lnTo>
                  <a:pt x="4196" y="1992"/>
                </a:lnTo>
                <a:lnTo>
                  <a:pt x="4226" y="2025"/>
                </a:lnTo>
                <a:lnTo>
                  <a:pt x="4210" y="2029"/>
                </a:lnTo>
                <a:lnTo>
                  <a:pt x="4134" y="1975"/>
                </a:lnTo>
                <a:lnTo>
                  <a:pt x="4066" y="1954"/>
                </a:lnTo>
                <a:lnTo>
                  <a:pt x="4158" y="2003"/>
                </a:lnTo>
                <a:lnTo>
                  <a:pt x="4125" y="2025"/>
                </a:lnTo>
                <a:lnTo>
                  <a:pt x="4096" y="2008"/>
                </a:lnTo>
                <a:lnTo>
                  <a:pt x="4096" y="2008"/>
                </a:lnTo>
                <a:lnTo>
                  <a:pt x="4096" y="2008"/>
                </a:lnTo>
                <a:close/>
                <a:moveTo>
                  <a:pt x="4226" y="1493"/>
                </a:moveTo>
                <a:lnTo>
                  <a:pt x="4318" y="1510"/>
                </a:lnTo>
                <a:lnTo>
                  <a:pt x="4406" y="1498"/>
                </a:lnTo>
                <a:lnTo>
                  <a:pt x="4460" y="1515"/>
                </a:lnTo>
                <a:lnTo>
                  <a:pt x="4474" y="1526"/>
                </a:lnTo>
                <a:lnTo>
                  <a:pt x="4486" y="1543"/>
                </a:lnTo>
                <a:lnTo>
                  <a:pt x="4512" y="1548"/>
                </a:lnTo>
                <a:lnTo>
                  <a:pt x="4519" y="1571"/>
                </a:lnTo>
                <a:lnTo>
                  <a:pt x="4536" y="1581"/>
                </a:lnTo>
                <a:lnTo>
                  <a:pt x="4536" y="1597"/>
                </a:lnTo>
                <a:lnTo>
                  <a:pt x="4557" y="1604"/>
                </a:lnTo>
                <a:lnTo>
                  <a:pt x="4519" y="1621"/>
                </a:lnTo>
                <a:lnTo>
                  <a:pt x="4406" y="1609"/>
                </a:lnTo>
                <a:lnTo>
                  <a:pt x="4314" y="1626"/>
                </a:lnTo>
                <a:lnTo>
                  <a:pt x="4281" y="1609"/>
                </a:lnTo>
                <a:lnTo>
                  <a:pt x="4264" y="1588"/>
                </a:lnTo>
                <a:lnTo>
                  <a:pt x="4264" y="1564"/>
                </a:lnTo>
                <a:lnTo>
                  <a:pt x="4217" y="1548"/>
                </a:lnTo>
                <a:lnTo>
                  <a:pt x="4217" y="1493"/>
                </a:lnTo>
                <a:lnTo>
                  <a:pt x="4226" y="1493"/>
                </a:lnTo>
                <a:lnTo>
                  <a:pt x="4226" y="1493"/>
                </a:lnTo>
                <a:lnTo>
                  <a:pt x="4226" y="1493"/>
                </a:lnTo>
                <a:close/>
                <a:moveTo>
                  <a:pt x="2504" y="1604"/>
                </a:moveTo>
                <a:lnTo>
                  <a:pt x="2500" y="1604"/>
                </a:lnTo>
                <a:lnTo>
                  <a:pt x="2516" y="1609"/>
                </a:lnTo>
                <a:lnTo>
                  <a:pt x="2500" y="1609"/>
                </a:lnTo>
                <a:lnTo>
                  <a:pt x="2424" y="1543"/>
                </a:lnTo>
                <a:lnTo>
                  <a:pt x="2381" y="1526"/>
                </a:lnTo>
                <a:lnTo>
                  <a:pt x="2415" y="1493"/>
                </a:lnTo>
                <a:lnTo>
                  <a:pt x="2490" y="1486"/>
                </a:lnTo>
                <a:lnTo>
                  <a:pt x="2516" y="1486"/>
                </a:lnTo>
                <a:lnTo>
                  <a:pt x="2559" y="1515"/>
                </a:lnTo>
                <a:lnTo>
                  <a:pt x="2554" y="1548"/>
                </a:lnTo>
                <a:lnTo>
                  <a:pt x="2504" y="1604"/>
                </a:lnTo>
                <a:lnTo>
                  <a:pt x="2504" y="1604"/>
                </a:lnTo>
                <a:lnTo>
                  <a:pt x="2504" y="1604"/>
                </a:lnTo>
                <a:close/>
                <a:moveTo>
                  <a:pt x="1151" y="1493"/>
                </a:moveTo>
                <a:lnTo>
                  <a:pt x="1156" y="1498"/>
                </a:lnTo>
                <a:lnTo>
                  <a:pt x="1139" y="1493"/>
                </a:lnTo>
                <a:lnTo>
                  <a:pt x="1151" y="1493"/>
                </a:lnTo>
                <a:lnTo>
                  <a:pt x="1151" y="1493"/>
                </a:lnTo>
                <a:lnTo>
                  <a:pt x="1151" y="1493"/>
                </a:lnTo>
                <a:close/>
                <a:moveTo>
                  <a:pt x="1172" y="1510"/>
                </a:moveTo>
                <a:lnTo>
                  <a:pt x="1189" y="1515"/>
                </a:lnTo>
                <a:lnTo>
                  <a:pt x="1172" y="1515"/>
                </a:lnTo>
                <a:lnTo>
                  <a:pt x="1172" y="1510"/>
                </a:lnTo>
                <a:lnTo>
                  <a:pt x="1172" y="1510"/>
                </a:lnTo>
                <a:lnTo>
                  <a:pt x="1172" y="1510"/>
                </a:lnTo>
                <a:close/>
                <a:moveTo>
                  <a:pt x="2339" y="1515"/>
                </a:moveTo>
                <a:lnTo>
                  <a:pt x="2306" y="1510"/>
                </a:lnTo>
                <a:lnTo>
                  <a:pt x="2344" y="1510"/>
                </a:lnTo>
                <a:lnTo>
                  <a:pt x="2339" y="1515"/>
                </a:lnTo>
                <a:lnTo>
                  <a:pt x="2339" y="1515"/>
                </a:lnTo>
                <a:lnTo>
                  <a:pt x="2339" y="1515"/>
                </a:lnTo>
                <a:close/>
                <a:moveTo>
                  <a:pt x="2814" y="2025"/>
                </a:moveTo>
                <a:lnTo>
                  <a:pt x="2807" y="2041"/>
                </a:lnTo>
                <a:lnTo>
                  <a:pt x="2785" y="2029"/>
                </a:lnTo>
                <a:lnTo>
                  <a:pt x="2776" y="2013"/>
                </a:lnTo>
                <a:lnTo>
                  <a:pt x="2776" y="2008"/>
                </a:lnTo>
                <a:lnTo>
                  <a:pt x="2759" y="2029"/>
                </a:lnTo>
                <a:lnTo>
                  <a:pt x="2722" y="2003"/>
                </a:lnTo>
                <a:lnTo>
                  <a:pt x="2700" y="2025"/>
                </a:lnTo>
                <a:lnTo>
                  <a:pt x="2693" y="2025"/>
                </a:lnTo>
                <a:lnTo>
                  <a:pt x="2700" y="2029"/>
                </a:lnTo>
                <a:lnTo>
                  <a:pt x="2700" y="2048"/>
                </a:lnTo>
                <a:lnTo>
                  <a:pt x="2693" y="2048"/>
                </a:lnTo>
                <a:lnTo>
                  <a:pt x="2630" y="2029"/>
                </a:lnTo>
                <a:lnTo>
                  <a:pt x="2630" y="2041"/>
                </a:lnTo>
                <a:lnTo>
                  <a:pt x="2663" y="2058"/>
                </a:lnTo>
                <a:lnTo>
                  <a:pt x="2663" y="2086"/>
                </a:lnTo>
                <a:lnTo>
                  <a:pt x="2651" y="2098"/>
                </a:lnTo>
                <a:lnTo>
                  <a:pt x="2651" y="2103"/>
                </a:lnTo>
                <a:lnTo>
                  <a:pt x="2679" y="2070"/>
                </a:lnTo>
                <a:lnTo>
                  <a:pt x="2717" y="2058"/>
                </a:lnTo>
                <a:lnTo>
                  <a:pt x="2738" y="2065"/>
                </a:lnTo>
                <a:lnTo>
                  <a:pt x="2722" y="2086"/>
                </a:lnTo>
                <a:lnTo>
                  <a:pt x="2731" y="2098"/>
                </a:lnTo>
                <a:lnTo>
                  <a:pt x="2738" y="2086"/>
                </a:lnTo>
                <a:lnTo>
                  <a:pt x="2755" y="2098"/>
                </a:lnTo>
                <a:lnTo>
                  <a:pt x="2748" y="2119"/>
                </a:lnTo>
                <a:lnTo>
                  <a:pt x="2679" y="2140"/>
                </a:lnTo>
                <a:lnTo>
                  <a:pt x="2651" y="2140"/>
                </a:lnTo>
                <a:lnTo>
                  <a:pt x="2641" y="2152"/>
                </a:lnTo>
                <a:lnTo>
                  <a:pt x="2559" y="2124"/>
                </a:lnTo>
                <a:lnTo>
                  <a:pt x="2554" y="2136"/>
                </a:lnTo>
                <a:lnTo>
                  <a:pt x="2516" y="2136"/>
                </a:lnTo>
                <a:lnTo>
                  <a:pt x="2504" y="2124"/>
                </a:lnTo>
                <a:lnTo>
                  <a:pt x="2533" y="2115"/>
                </a:lnTo>
                <a:lnTo>
                  <a:pt x="2431" y="2098"/>
                </a:lnTo>
                <a:lnTo>
                  <a:pt x="2436" y="2081"/>
                </a:lnTo>
                <a:lnTo>
                  <a:pt x="2431" y="2070"/>
                </a:lnTo>
                <a:lnTo>
                  <a:pt x="2415" y="2058"/>
                </a:lnTo>
                <a:lnTo>
                  <a:pt x="2381" y="2081"/>
                </a:lnTo>
                <a:lnTo>
                  <a:pt x="2393" y="2098"/>
                </a:lnTo>
                <a:lnTo>
                  <a:pt x="2360" y="2119"/>
                </a:lnTo>
                <a:lnTo>
                  <a:pt x="2273" y="2124"/>
                </a:lnTo>
                <a:lnTo>
                  <a:pt x="2273" y="2136"/>
                </a:lnTo>
                <a:lnTo>
                  <a:pt x="2235" y="2157"/>
                </a:lnTo>
                <a:lnTo>
                  <a:pt x="2155" y="2176"/>
                </a:lnTo>
                <a:lnTo>
                  <a:pt x="2074" y="2176"/>
                </a:lnTo>
                <a:lnTo>
                  <a:pt x="2091" y="2181"/>
                </a:lnTo>
                <a:lnTo>
                  <a:pt x="1944" y="2192"/>
                </a:lnTo>
                <a:lnTo>
                  <a:pt x="1961" y="2181"/>
                </a:lnTo>
                <a:lnTo>
                  <a:pt x="1933" y="2176"/>
                </a:lnTo>
                <a:lnTo>
                  <a:pt x="1923" y="2140"/>
                </a:lnTo>
                <a:lnTo>
                  <a:pt x="1928" y="2115"/>
                </a:lnTo>
                <a:lnTo>
                  <a:pt x="1911" y="2098"/>
                </a:lnTo>
                <a:lnTo>
                  <a:pt x="1928" y="2098"/>
                </a:lnTo>
                <a:lnTo>
                  <a:pt x="1874" y="2086"/>
                </a:lnTo>
                <a:lnTo>
                  <a:pt x="1760" y="2081"/>
                </a:lnTo>
                <a:lnTo>
                  <a:pt x="1718" y="2070"/>
                </a:lnTo>
                <a:lnTo>
                  <a:pt x="1713" y="2065"/>
                </a:lnTo>
                <a:lnTo>
                  <a:pt x="1713" y="2048"/>
                </a:lnTo>
                <a:lnTo>
                  <a:pt x="1692" y="2048"/>
                </a:lnTo>
                <a:lnTo>
                  <a:pt x="1696" y="2041"/>
                </a:lnTo>
                <a:lnTo>
                  <a:pt x="1663" y="2025"/>
                </a:lnTo>
                <a:lnTo>
                  <a:pt x="1654" y="1992"/>
                </a:lnTo>
                <a:lnTo>
                  <a:pt x="1680" y="1975"/>
                </a:lnTo>
                <a:lnTo>
                  <a:pt x="1815" y="1959"/>
                </a:lnTo>
                <a:lnTo>
                  <a:pt x="1874" y="1954"/>
                </a:lnTo>
                <a:lnTo>
                  <a:pt x="1999" y="1970"/>
                </a:lnTo>
                <a:lnTo>
                  <a:pt x="2030" y="1959"/>
                </a:lnTo>
                <a:lnTo>
                  <a:pt x="2015" y="1954"/>
                </a:lnTo>
                <a:lnTo>
                  <a:pt x="2074" y="1954"/>
                </a:lnTo>
                <a:lnTo>
                  <a:pt x="2067" y="1954"/>
                </a:lnTo>
                <a:lnTo>
                  <a:pt x="2037" y="1947"/>
                </a:lnTo>
                <a:lnTo>
                  <a:pt x="2020" y="1930"/>
                </a:lnTo>
                <a:lnTo>
                  <a:pt x="1895" y="1897"/>
                </a:lnTo>
                <a:lnTo>
                  <a:pt x="1815" y="1914"/>
                </a:lnTo>
                <a:lnTo>
                  <a:pt x="1642" y="1914"/>
                </a:lnTo>
                <a:lnTo>
                  <a:pt x="1583" y="1864"/>
                </a:lnTo>
                <a:lnTo>
                  <a:pt x="1626" y="1843"/>
                </a:lnTo>
                <a:lnTo>
                  <a:pt x="1772" y="1810"/>
                </a:lnTo>
                <a:lnTo>
                  <a:pt x="1751" y="1803"/>
                </a:lnTo>
                <a:lnTo>
                  <a:pt x="1765" y="1803"/>
                </a:lnTo>
                <a:lnTo>
                  <a:pt x="1798" y="1803"/>
                </a:lnTo>
                <a:lnTo>
                  <a:pt x="1819" y="1793"/>
                </a:lnTo>
                <a:lnTo>
                  <a:pt x="1772" y="1786"/>
                </a:lnTo>
                <a:lnTo>
                  <a:pt x="1659" y="1810"/>
                </a:lnTo>
                <a:lnTo>
                  <a:pt x="1659" y="1803"/>
                </a:lnTo>
                <a:lnTo>
                  <a:pt x="1642" y="1793"/>
                </a:lnTo>
                <a:lnTo>
                  <a:pt x="1642" y="1803"/>
                </a:lnTo>
                <a:lnTo>
                  <a:pt x="1654" y="1803"/>
                </a:lnTo>
                <a:lnTo>
                  <a:pt x="1642" y="1810"/>
                </a:lnTo>
                <a:lnTo>
                  <a:pt x="1604" y="1810"/>
                </a:lnTo>
                <a:lnTo>
                  <a:pt x="1588" y="1803"/>
                </a:lnTo>
                <a:lnTo>
                  <a:pt x="1637" y="1786"/>
                </a:lnTo>
                <a:lnTo>
                  <a:pt x="1621" y="1781"/>
                </a:lnTo>
                <a:lnTo>
                  <a:pt x="1637" y="1770"/>
                </a:lnTo>
                <a:lnTo>
                  <a:pt x="1588" y="1786"/>
                </a:lnTo>
                <a:lnTo>
                  <a:pt x="1555" y="1770"/>
                </a:lnTo>
                <a:lnTo>
                  <a:pt x="1550" y="1786"/>
                </a:lnTo>
                <a:lnTo>
                  <a:pt x="1533" y="1781"/>
                </a:lnTo>
                <a:lnTo>
                  <a:pt x="1533" y="1765"/>
                </a:lnTo>
                <a:lnTo>
                  <a:pt x="1533" y="1737"/>
                </a:lnTo>
                <a:lnTo>
                  <a:pt x="1567" y="1715"/>
                </a:lnTo>
                <a:lnTo>
                  <a:pt x="1604" y="1699"/>
                </a:lnTo>
                <a:lnTo>
                  <a:pt x="1604" y="1682"/>
                </a:lnTo>
                <a:lnTo>
                  <a:pt x="1571" y="1675"/>
                </a:lnTo>
                <a:lnTo>
                  <a:pt x="1571" y="1659"/>
                </a:lnTo>
                <a:lnTo>
                  <a:pt x="1659" y="1604"/>
                </a:lnTo>
                <a:lnTo>
                  <a:pt x="1852" y="1543"/>
                </a:lnTo>
                <a:lnTo>
                  <a:pt x="1878" y="1548"/>
                </a:lnTo>
                <a:lnTo>
                  <a:pt x="1895" y="1571"/>
                </a:lnTo>
                <a:lnTo>
                  <a:pt x="1890" y="1609"/>
                </a:lnTo>
                <a:lnTo>
                  <a:pt x="1895" y="1621"/>
                </a:lnTo>
                <a:lnTo>
                  <a:pt x="1869" y="1626"/>
                </a:lnTo>
                <a:lnTo>
                  <a:pt x="1869" y="1642"/>
                </a:lnTo>
                <a:lnTo>
                  <a:pt x="1852" y="1654"/>
                </a:lnTo>
                <a:lnTo>
                  <a:pt x="1857" y="1654"/>
                </a:lnTo>
                <a:lnTo>
                  <a:pt x="1928" y="1637"/>
                </a:lnTo>
                <a:lnTo>
                  <a:pt x="1933" y="1626"/>
                </a:lnTo>
                <a:lnTo>
                  <a:pt x="1923" y="1621"/>
                </a:lnTo>
                <a:lnTo>
                  <a:pt x="1961" y="1597"/>
                </a:lnTo>
                <a:lnTo>
                  <a:pt x="2091" y="1637"/>
                </a:lnTo>
                <a:lnTo>
                  <a:pt x="2084" y="1654"/>
                </a:lnTo>
                <a:lnTo>
                  <a:pt x="2046" y="1682"/>
                </a:lnTo>
                <a:lnTo>
                  <a:pt x="2058" y="1692"/>
                </a:lnTo>
                <a:lnTo>
                  <a:pt x="2074" y="1682"/>
                </a:lnTo>
                <a:lnTo>
                  <a:pt x="2058" y="1682"/>
                </a:lnTo>
                <a:lnTo>
                  <a:pt x="2084" y="1666"/>
                </a:lnTo>
                <a:lnTo>
                  <a:pt x="2091" y="1666"/>
                </a:lnTo>
                <a:lnTo>
                  <a:pt x="2084" y="1682"/>
                </a:lnTo>
                <a:lnTo>
                  <a:pt x="2100" y="1682"/>
                </a:lnTo>
                <a:lnTo>
                  <a:pt x="2105" y="1666"/>
                </a:lnTo>
                <a:lnTo>
                  <a:pt x="2129" y="1654"/>
                </a:lnTo>
                <a:lnTo>
                  <a:pt x="2155" y="1666"/>
                </a:lnTo>
                <a:lnTo>
                  <a:pt x="2138" y="1659"/>
                </a:lnTo>
                <a:lnTo>
                  <a:pt x="2155" y="1654"/>
                </a:lnTo>
                <a:lnTo>
                  <a:pt x="2193" y="1666"/>
                </a:lnTo>
                <a:lnTo>
                  <a:pt x="2159" y="1654"/>
                </a:lnTo>
                <a:lnTo>
                  <a:pt x="2193" y="1659"/>
                </a:lnTo>
                <a:lnTo>
                  <a:pt x="2176" y="1642"/>
                </a:lnTo>
                <a:lnTo>
                  <a:pt x="2155" y="1637"/>
                </a:lnTo>
                <a:lnTo>
                  <a:pt x="2193" y="1626"/>
                </a:lnTo>
                <a:lnTo>
                  <a:pt x="2138" y="1609"/>
                </a:lnTo>
                <a:lnTo>
                  <a:pt x="2122" y="1597"/>
                </a:lnTo>
                <a:lnTo>
                  <a:pt x="2143" y="1588"/>
                </a:lnTo>
                <a:lnTo>
                  <a:pt x="2197" y="1604"/>
                </a:lnTo>
                <a:lnTo>
                  <a:pt x="2193" y="1609"/>
                </a:lnTo>
                <a:lnTo>
                  <a:pt x="2230" y="1626"/>
                </a:lnTo>
                <a:lnTo>
                  <a:pt x="2247" y="1637"/>
                </a:lnTo>
                <a:lnTo>
                  <a:pt x="2247" y="1654"/>
                </a:lnTo>
                <a:lnTo>
                  <a:pt x="2273" y="1654"/>
                </a:lnTo>
                <a:lnTo>
                  <a:pt x="2268" y="1682"/>
                </a:lnTo>
                <a:lnTo>
                  <a:pt x="2285" y="1708"/>
                </a:lnTo>
                <a:lnTo>
                  <a:pt x="2289" y="1725"/>
                </a:lnTo>
                <a:lnTo>
                  <a:pt x="2301" y="1737"/>
                </a:lnTo>
                <a:lnTo>
                  <a:pt x="2301" y="1748"/>
                </a:lnTo>
                <a:lnTo>
                  <a:pt x="2301" y="1770"/>
                </a:lnTo>
                <a:lnTo>
                  <a:pt x="2327" y="1781"/>
                </a:lnTo>
                <a:lnTo>
                  <a:pt x="2327" y="1770"/>
                </a:lnTo>
                <a:lnTo>
                  <a:pt x="2370" y="1748"/>
                </a:lnTo>
                <a:lnTo>
                  <a:pt x="2327" y="1708"/>
                </a:lnTo>
                <a:lnTo>
                  <a:pt x="2322" y="1654"/>
                </a:lnTo>
                <a:lnTo>
                  <a:pt x="2318" y="1642"/>
                </a:lnTo>
                <a:lnTo>
                  <a:pt x="2289" y="1571"/>
                </a:lnTo>
                <a:lnTo>
                  <a:pt x="2322" y="1564"/>
                </a:lnTo>
                <a:lnTo>
                  <a:pt x="2306" y="1555"/>
                </a:lnTo>
                <a:lnTo>
                  <a:pt x="2318" y="1548"/>
                </a:lnTo>
                <a:lnTo>
                  <a:pt x="2381" y="1571"/>
                </a:lnTo>
                <a:lnTo>
                  <a:pt x="2381" y="1564"/>
                </a:lnTo>
                <a:lnTo>
                  <a:pt x="2377" y="1555"/>
                </a:lnTo>
                <a:lnTo>
                  <a:pt x="2398" y="1548"/>
                </a:lnTo>
                <a:lnTo>
                  <a:pt x="2436" y="1581"/>
                </a:lnTo>
                <a:lnTo>
                  <a:pt x="2469" y="1588"/>
                </a:lnTo>
                <a:lnTo>
                  <a:pt x="2500" y="1626"/>
                </a:lnTo>
                <a:lnTo>
                  <a:pt x="2490" y="1626"/>
                </a:lnTo>
                <a:lnTo>
                  <a:pt x="2516" y="1666"/>
                </a:lnTo>
                <a:lnTo>
                  <a:pt x="2504" y="1666"/>
                </a:lnTo>
                <a:lnTo>
                  <a:pt x="2533" y="1708"/>
                </a:lnTo>
                <a:lnTo>
                  <a:pt x="2521" y="1725"/>
                </a:lnTo>
                <a:lnTo>
                  <a:pt x="2570" y="1786"/>
                </a:lnTo>
                <a:lnTo>
                  <a:pt x="2570" y="1793"/>
                </a:lnTo>
                <a:lnTo>
                  <a:pt x="2570" y="1810"/>
                </a:lnTo>
                <a:lnTo>
                  <a:pt x="2559" y="1819"/>
                </a:lnTo>
                <a:lnTo>
                  <a:pt x="2570" y="1836"/>
                </a:lnTo>
                <a:lnTo>
                  <a:pt x="2554" y="1848"/>
                </a:lnTo>
                <a:lnTo>
                  <a:pt x="2630" y="1914"/>
                </a:lnTo>
                <a:lnTo>
                  <a:pt x="2667" y="1930"/>
                </a:lnTo>
                <a:lnTo>
                  <a:pt x="2651" y="1921"/>
                </a:lnTo>
                <a:lnTo>
                  <a:pt x="2651" y="1904"/>
                </a:lnTo>
                <a:lnTo>
                  <a:pt x="2663" y="1904"/>
                </a:lnTo>
                <a:lnTo>
                  <a:pt x="2684" y="1930"/>
                </a:lnTo>
                <a:lnTo>
                  <a:pt x="2738" y="1959"/>
                </a:lnTo>
                <a:lnTo>
                  <a:pt x="2759" y="1959"/>
                </a:lnTo>
                <a:lnTo>
                  <a:pt x="2759" y="1970"/>
                </a:lnTo>
                <a:lnTo>
                  <a:pt x="2769" y="1975"/>
                </a:lnTo>
                <a:lnTo>
                  <a:pt x="2807" y="1970"/>
                </a:lnTo>
                <a:lnTo>
                  <a:pt x="2814" y="2025"/>
                </a:lnTo>
                <a:lnTo>
                  <a:pt x="2814" y="2025"/>
                </a:lnTo>
                <a:lnTo>
                  <a:pt x="2814" y="2025"/>
                </a:lnTo>
                <a:close/>
                <a:moveTo>
                  <a:pt x="3083" y="1555"/>
                </a:moveTo>
                <a:lnTo>
                  <a:pt x="3095" y="1564"/>
                </a:lnTo>
                <a:lnTo>
                  <a:pt x="3078" y="1555"/>
                </a:lnTo>
                <a:lnTo>
                  <a:pt x="3083" y="1555"/>
                </a:lnTo>
                <a:lnTo>
                  <a:pt x="3083" y="1555"/>
                </a:lnTo>
                <a:lnTo>
                  <a:pt x="3083" y="1555"/>
                </a:lnTo>
                <a:close/>
                <a:moveTo>
                  <a:pt x="3100" y="1564"/>
                </a:moveTo>
                <a:lnTo>
                  <a:pt x="3116" y="1581"/>
                </a:lnTo>
                <a:lnTo>
                  <a:pt x="3109" y="1597"/>
                </a:lnTo>
                <a:lnTo>
                  <a:pt x="3095" y="1604"/>
                </a:lnTo>
                <a:lnTo>
                  <a:pt x="3078" y="1588"/>
                </a:lnTo>
                <a:lnTo>
                  <a:pt x="3083" y="1571"/>
                </a:lnTo>
                <a:lnTo>
                  <a:pt x="3100" y="1564"/>
                </a:lnTo>
                <a:lnTo>
                  <a:pt x="3100" y="1564"/>
                </a:lnTo>
                <a:lnTo>
                  <a:pt x="3100" y="1564"/>
                </a:lnTo>
                <a:close/>
                <a:moveTo>
                  <a:pt x="3180" y="1571"/>
                </a:moveTo>
                <a:lnTo>
                  <a:pt x="3180" y="1588"/>
                </a:lnTo>
                <a:lnTo>
                  <a:pt x="3163" y="1581"/>
                </a:lnTo>
                <a:lnTo>
                  <a:pt x="3180" y="1571"/>
                </a:lnTo>
                <a:lnTo>
                  <a:pt x="3180" y="1571"/>
                </a:lnTo>
                <a:lnTo>
                  <a:pt x="3180" y="1571"/>
                </a:lnTo>
                <a:close/>
                <a:moveTo>
                  <a:pt x="3170" y="1597"/>
                </a:moveTo>
                <a:lnTo>
                  <a:pt x="3180" y="1604"/>
                </a:lnTo>
                <a:lnTo>
                  <a:pt x="3170" y="1604"/>
                </a:lnTo>
                <a:lnTo>
                  <a:pt x="3170" y="1597"/>
                </a:lnTo>
                <a:lnTo>
                  <a:pt x="3170" y="1597"/>
                </a:lnTo>
                <a:lnTo>
                  <a:pt x="3170" y="1597"/>
                </a:lnTo>
                <a:close/>
                <a:moveTo>
                  <a:pt x="3109" y="1609"/>
                </a:moveTo>
                <a:lnTo>
                  <a:pt x="3109" y="1621"/>
                </a:lnTo>
                <a:lnTo>
                  <a:pt x="3109" y="1626"/>
                </a:lnTo>
                <a:lnTo>
                  <a:pt x="3083" y="1626"/>
                </a:lnTo>
                <a:lnTo>
                  <a:pt x="3109" y="1609"/>
                </a:lnTo>
                <a:lnTo>
                  <a:pt x="3109" y="1609"/>
                </a:lnTo>
                <a:lnTo>
                  <a:pt x="3109" y="1609"/>
                </a:lnTo>
                <a:close/>
                <a:moveTo>
                  <a:pt x="3170" y="1609"/>
                </a:moveTo>
                <a:lnTo>
                  <a:pt x="3180" y="1621"/>
                </a:lnTo>
                <a:lnTo>
                  <a:pt x="3170" y="1609"/>
                </a:lnTo>
                <a:lnTo>
                  <a:pt x="3170" y="1609"/>
                </a:lnTo>
                <a:lnTo>
                  <a:pt x="3170" y="1609"/>
                </a:lnTo>
                <a:close/>
                <a:moveTo>
                  <a:pt x="2219" y="1621"/>
                </a:moveTo>
                <a:lnTo>
                  <a:pt x="2230" y="1621"/>
                </a:lnTo>
                <a:lnTo>
                  <a:pt x="2214" y="1621"/>
                </a:lnTo>
                <a:lnTo>
                  <a:pt x="2219" y="1621"/>
                </a:lnTo>
                <a:lnTo>
                  <a:pt x="2219" y="1621"/>
                </a:lnTo>
                <a:lnTo>
                  <a:pt x="2219" y="1621"/>
                </a:lnTo>
                <a:close/>
                <a:moveTo>
                  <a:pt x="2143" y="1642"/>
                </a:moveTo>
                <a:lnTo>
                  <a:pt x="2155" y="1642"/>
                </a:lnTo>
                <a:lnTo>
                  <a:pt x="2143" y="1642"/>
                </a:lnTo>
                <a:lnTo>
                  <a:pt x="2143" y="1642"/>
                </a:lnTo>
                <a:lnTo>
                  <a:pt x="2143" y="1642"/>
                </a:lnTo>
                <a:close/>
                <a:moveTo>
                  <a:pt x="4271" y="1659"/>
                </a:moveTo>
                <a:lnTo>
                  <a:pt x="4281" y="1666"/>
                </a:lnTo>
                <a:lnTo>
                  <a:pt x="4281" y="1675"/>
                </a:lnTo>
                <a:lnTo>
                  <a:pt x="4271" y="1659"/>
                </a:lnTo>
                <a:lnTo>
                  <a:pt x="4271" y="1659"/>
                </a:lnTo>
                <a:lnTo>
                  <a:pt x="4271" y="1659"/>
                </a:lnTo>
                <a:close/>
                <a:moveTo>
                  <a:pt x="4314" y="1666"/>
                </a:moveTo>
                <a:lnTo>
                  <a:pt x="4318" y="1682"/>
                </a:lnTo>
                <a:lnTo>
                  <a:pt x="4302" y="1666"/>
                </a:lnTo>
                <a:lnTo>
                  <a:pt x="4314" y="1666"/>
                </a:lnTo>
                <a:lnTo>
                  <a:pt x="4314" y="1666"/>
                </a:lnTo>
                <a:lnTo>
                  <a:pt x="4314" y="1666"/>
                </a:lnTo>
                <a:close/>
                <a:moveTo>
                  <a:pt x="4352" y="1666"/>
                </a:moveTo>
                <a:lnTo>
                  <a:pt x="4368" y="1682"/>
                </a:lnTo>
                <a:lnTo>
                  <a:pt x="4352" y="1682"/>
                </a:lnTo>
                <a:lnTo>
                  <a:pt x="4340" y="1675"/>
                </a:lnTo>
                <a:lnTo>
                  <a:pt x="4352" y="1666"/>
                </a:lnTo>
                <a:lnTo>
                  <a:pt x="4352" y="1666"/>
                </a:lnTo>
                <a:lnTo>
                  <a:pt x="4352" y="1666"/>
                </a:lnTo>
                <a:close/>
                <a:moveTo>
                  <a:pt x="2306" y="1725"/>
                </a:moveTo>
                <a:lnTo>
                  <a:pt x="2318" y="1732"/>
                </a:lnTo>
                <a:lnTo>
                  <a:pt x="2301" y="1732"/>
                </a:lnTo>
                <a:lnTo>
                  <a:pt x="2306" y="1725"/>
                </a:lnTo>
                <a:lnTo>
                  <a:pt x="2306" y="1725"/>
                </a:lnTo>
                <a:lnTo>
                  <a:pt x="2306" y="1725"/>
                </a:lnTo>
                <a:close/>
                <a:moveTo>
                  <a:pt x="5176" y="4614"/>
                </a:moveTo>
                <a:lnTo>
                  <a:pt x="5167" y="4614"/>
                </a:lnTo>
                <a:lnTo>
                  <a:pt x="5162" y="4597"/>
                </a:lnTo>
                <a:lnTo>
                  <a:pt x="5150" y="4581"/>
                </a:lnTo>
                <a:lnTo>
                  <a:pt x="5162" y="4576"/>
                </a:lnTo>
                <a:lnTo>
                  <a:pt x="5138" y="4569"/>
                </a:lnTo>
                <a:lnTo>
                  <a:pt x="5138" y="4441"/>
                </a:lnTo>
                <a:lnTo>
                  <a:pt x="5096" y="4415"/>
                </a:lnTo>
                <a:lnTo>
                  <a:pt x="5058" y="4432"/>
                </a:lnTo>
                <a:lnTo>
                  <a:pt x="5041" y="4425"/>
                </a:lnTo>
                <a:lnTo>
                  <a:pt x="5041" y="4408"/>
                </a:lnTo>
                <a:lnTo>
                  <a:pt x="5037" y="4403"/>
                </a:lnTo>
                <a:lnTo>
                  <a:pt x="4982" y="4470"/>
                </a:lnTo>
                <a:lnTo>
                  <a:pt x="4973" y="4498"/>
                </a:lnTo>
                <a:lnTo>
                  <a:pt x="4961" y="4519"/>
                </a:lnTo>
                <a:lnTo>
                  <a:pt x="4961" y="4543"/>
                </a:lnTo>
                <a:lnTo>
                  <a:pt x="4928" y="4576"/>
                </a:lnTo>
                <a:lnTo>
                  <a:pt x="4928" y="4581"/>
                </a:lnTo>
                <a:lnTo>
                  <a:pt x="4918" y="4609"/>
                </a:lnTo>
                <a:lnTo>
                  <a:pt x="4907" y="4597"/>
                </a:lnTo>
                <a:lnTo>
                  <a:pt x="4897" y="4609"/>
                </a:lnTo>
                <a:lnTo>
                  <a:pt x="4890" y="4597"/>
                </a:lnTo>
                <a:lnTo>
                  <a:pt x="4881" y="4609"/>
                </a:lnTo>
                <a:lnTo>
                  <a:pt x="4874" y="4625"/>
                </a:lnTo>
                <a:lnTo>
                  <a:pt x="4626" y="4630"/>
                </a:lnTo>
                <a:lnTo>
                  <a:pt x="4529" y="4708"/>
                </a:lnTo>
                <a:lnTo>
                  <a:pt x="4503" y="4748"/>
                </a:lnTo>
                <a:lnTo>
                  <a:pt x="4368" y="4748"/>
                </a:lnTo>
                <a:lnTo>
                  <a:pt x="4335" y="4765"/>
                </a:lnTo>
                <a:lnTo>
                  <a:pt x="4340" y="4781"/>
                </a:lnTo>
                <a:lnTo>
                  <a:pt x="4340" y="4798"/>
                </a:lnTo>
                <a:lnTo>
                  <a:pt x="4356" y="4814"/>
                </a:lnTo>
                <a:lnTo>
                  <a:pt x="4352" y="4819"/>
                </a:lnTo>
                <a:lnTo>
                  <a:pt x="4271" y="4852"/>
                </a:lnTo>
                <a:lnTo>
                  <a:pt x="4189" y="4869"/>
                </a:lnTo>
                <a:lnTo>
                  <a:pt x="4108" y="4918"/>
                </a:lnTo>
                <a:lnTo>
                  <a:pt x="4087" y="4918"/>
                </a:lnTo>
                <a:lnTo>
                  <a:pt x="4066" y="4902"/>
                </a:lnTo>
                <a:lnTo>
                  <a:pt x="4054" y="4885"/>
                </a:lnTo>
                <a:lnTo>
                  <a:pt x="4066" y="4869"/>
                </a:lnTo>
                <a:lnTo>
                  <a:pt x="4104" y="4836"/>
                </a:lnTo>
                <a:lnTo>
                  <a:pt x="4108" y="4803"/>
                </a:lnTo>
                <a:lnTo>
                  <a:pt x="4125" y="4748"/>
                </a:lnTo>
                <a:lnTo>
                  <a:pt x="4104" y="4597"/>
                </a:lnTo>
                <a:lnTo>
                  <a:pt x="4028" y="4552"/>
                </a:lnTo>
                <a:lnTo>
                  <a:pt x="4033" y="4536"/>
                </a:lnTo>
                <a:lnTo>
                  <a:pt x="4028" y="4526"/>
                </a:lnTo>
                <a:lnTo>
                  <a:pt x="4000" y="4526"/>
                </a:lnTo>
                <a:lnTo>
                  <a:pt x="3990" y="4514"/>
                </a:lnTo>
                <a:lnTo>
                  <a:pt x="3990" y="4486"/>
                </a:lnTo>
                <a:lnTo>
                  <a:pt x="3957" y="4498"/>
                </a:lnTo>
                <a:lnTo>
                  <a:pt x="3941" y="4481"/>
                </a:lnTo>
                <a:lnTo>
                  <a:pt x="3941" y="4460"/>
                </a:lnTo>
                <a:lnTo>
                  <a:pt x="3693" y="4333"/>
                </a:lnTo>
                <a:lnTo>
                  <a:pt x="3622" y="4359"/>
                </a:lnTo>
                <a:lnTo>
                  <a:pt x="3584" y="4354"/>
                </a:lnTo>
                <a:lnTo>
                  <a:pt x="3563" y="4349"/>
                </a:lnTo>
                <a:lnTo>
                  <a:pt x="3525" y="4349"/>
                </a:lnTo>
                <a:lnTo>
                  <a:pt x="3515" y="4337"/>
                </a:lnTo>
                <a:lnTo>
                  <a:pt x="3478" y="4354"/>
                </a:lnTo>
                <a:lnTo>
                  <a:pt x="3440" y="4337"/>
                </a:lnTo>
                <a:lnTo>
                  <a:pt x="3433" y="4321"/>
                </a:lnTo>
                <a:lnTo>
                  <a:pt x="3418" y="4321"/>
                </a:lnTo>
                <a:lnTo>
                  <a:pt x="3407" y="4337"/>
                </a:lnTo>
                <a:lnTo>
                  <a:pt x="3407" y="4321"/>
                </a:lnTo>
                <a:lnTo>
                  <a:pt x="3369" y="4297"/>
                </a:lnTo>
                <a:lnTo>
                  <a:pt x="3348" y="4297"/>
                </a:lnTo>
                <a:lnTo>
                  <a:pt x="3310" y="4304"/>
                </a:lnTo>
                <a:lnTo>
                  <a:pt x="3310" y="4297"/>
                </a:lnTo>
                <a:lnTo>
                  <a:pt x="3256" y="4292"/>
                </a:lnTo>
                <a:lnTo>
                  <a:pt x="3244" y="4281"/>
                </a:lnTo>
                <a:lnTo>
                  <a:pt x="3239" y="4238"/>
                </a:lnTo>
                <a:lnTo>
                  <a:pt x="3218" y="4226"/>
                </a:lnTo>
                <a:lnTo>
                  <a:pt x="3218" y="4264"/>
                </a:lnTo>
                <a:lnTo>
                  <a:pt x="1281" y="4264"/>
                </a:lnTo>
                <a:lnTo>
                  <a:pt x="1276" y="4259"/>
                </a:lnTo>
                <a:lnTo>
                  <a:pt x="1259" y="4264"/>
                </a:lnTo>
                <a:lnTo>
                  <a:pt x="1248" y="4238"/>
                </a:lnTo>
                <a:lnTo>
                  <a:pt x="1264" y="4238"/>
                </a:lnTo>
                <a:lnTo>
                  <a:pt x="1276" y="4226"/>
                </a:lnTo>
                <a:lnTo>
                  <a:pt x="1264" y="4238"/>
                </a:lnTo>
                <a:lnTo>
                  <a:pt x="1248" y="4238"/>
                </a:lnTo>
                <a:lnTo>
                  <a:pt x="1243" y="4222"/>
                </a:lnTo>
                <a:lnTo>
                  <a:pt x="1248" y="4193"/>
                </a:lnTo>
                <a:lnTo>
                  <a:pt x="1226" y="4222"/>
                </a:lnTo>
                <a:lnTo>
                  <a:pt x="1226" y="4226"/>
                </a:lnTo>
                <a:lnTo>
                  <a:pt x="1205" y="4222"/>
                </a:lnTo>
                <a:lnTo>
                  <a:pt x="1189" y="4205"/>
                </a:lnTo>
                <a:lnTo>
                  <a:pt x="1193" y="4193"/>
                </a:lnTo>
                <a:lnTo>
                  <a:pt x="1210" y="4222"/>
                </a:lnTo>
                <a:lnTo>
                  <a:pt x="1210" y="4210"/>
                </a:lnTo>
                <a:lnTo>
                  <a:pt x="1226" y="4205"/>
                </a:lnTo>
                <a:lnTo>
                  <a:pt x="1210" y="4205"/>
                </a:lnTo>
                <a:lnTo>
                  <a:pt x="1193" y="4193"/>
                </a:lnTo>
                <a:lnTo>
                  <a:pt x="1205" y="4181"/>
                </a:lnTo>
                <a:lnTo>
                  <a:pt x="1193" y="4170"/>
                </a:lnTo>
                <a:lnTo>
                  <a:pt x="1210" y="4165"/>
                </a:lnTo>
                <a:lnTo>
                  <a:pt x="1205" y="4153"/>
                </a:lnTo>
                <a:lnTo>
                  <a:pt x="1193" y="4148"/>
                </a:lnTo>
                <a:lnTo>
                  <a:pt x="1205" y="4165"/>
                </a:lnTo>
                <a:lnTo>
                  <a:pt x="1193" y="4170"/>
                </a:lnTo>
                <a:lnTo>
                  <a:pt x="1193" y="4188"/>
                </a:lnTo>
                <a:lnTo>
                  <a:pt x="1189" y="4181"/>
                </a:lnTo>
                <a:lnTo>
                  <a:pt x="1189" y="4188"/>
                </a:lnTo>
                <a:lnTo>
                  <a:pt x="1167" y="4193"/>
                </a:lnTo>
                <a:lnTo>
                  <a:pt x="1134" y="4165"/>
                </a:lnTo>
                <a:lnTo>
                  <a:pt x="1139" y="4170"/>
                </a:lnTo>
                <a:lnTo>
                  <a:pt x="1151" y="4148"/>
                </a:lnTo>
                <a:lnTo>
                  <a:pt x="1139" y="4137"/>
                </a:lnTo>
                <a:lnTo>
                  <a:pt x="1172" y="4127"/>
                </a:lnTo>
                <a:lnTo>
                  <a:pt x="1134" y="4137"/>
                </a:lnTo>
                <a:lnTo>
                  <a:pt x="1118" y="4137"/>
                </a:lnTo>
                <a:lnTo>
                  <a:pt x="1118" y="4127"/>
                </a:lnTo>
                <a:lnTo>
                  <a:pt x="1134" y="4115"/>
                </a:lnTo>
                <a:lnTo>
                  <a:pt x="1134" y="4082"/>
                </a:lnTo>
                <a:lnTo>
                  <a:pt x="1125" y="4099"/>
                </a:lnTo>
                <a:lnTo>
                  <a:pt x="1134" y="4111"/>
                </a:lnTo>
                <a:lnTo>
                  <a:pt x="1118" y="4132"/>
                </a:lnTo>
                <a:lnTo>
                  <a:pt x="1087" y="4127"/>
                </a:lnTo>
                <a:lnTo>
                  <a:pt x="1096" y="4099"/>
                </a:lnTo>
                <a:lnTo>
                  <a:pt x="1070" y="4132"/>
                </a:lnTo>
                <a:lnTo>
                  <a:pt x="1063" y="4127"/>
                </a:lnTo>
                <a:lnTo>
                  <a:pt x="1033" y="4127"/>
                </a:lnTo>
                <a:lnTo>
                  <a:pt x="1042" y="4115"/>
                </a:lnTo>
                <a:lnTo>
                  <a:pt x="1033" y="4111"/>
                </a:lnTo>
                <a:lnTo>
                  <a:pt x="1080" y="4099"/>
                </a:lnTo>
                <a:lnTo>
                  <a:pt x="1087" y="4082"/>
                </a:lnTo>
                <a:lnTo>
                  <a:pt x="1080" y="4070"/>
                </a:lnTo>
                <a:lnTo>
                  <a:pt x="1080" y="4077"/>
                </a:lnTo>
                <a:lnTo>
                  <a:pt x="1070" y="4099"/>
                </a:lnTo>
                <a:lnTo>
                  <a:pt x="1042" y="4111"/>
                </a:lnTo>
                <a:lnTo>
                  <a:pt x="1049" y="4099"/>
                </a:lnTo>
                <a:lnTo>
                  <a:pt x="1042" y="4094"/>
                </a:lnTo>
                <a:lnTo>
                  <a:pt x="1011" y="4094"/>
                </a:lnTo>
                <a:lnTo>
                  <a:pt x="1042" y="4082"/>
                </a:lnTo>
                <a:lnTo>
                  <a:pt x="1004" y="4094"/>
                </a:lnTo>
                <a:lnTo>
                  <a:pt x="974" y="4082"/>
                </a:lnTo>
                <a:lnTo>
                  <a:pt x="990" y="4094"/>
                </a:lnTo>
                <a:lnTo>
                  <a:pt x="978" y="4094"/>
                </a:lnTo>
                <a:lnTo>
                  <a:pt x="952" y="4077"/>
                </a:lnTo>
                <a:lnTo>
                  <a:pt x="952" y="4070"/>
                </a:lnTo>
                <a:lnTo>
                  <a:pt x="995" y="4070"/>
                </a:lnTo>
                <a:lnTo>
                  <a:pt x="1004" y="4061"/>
                </a:lnTo>
                <a:lnTo>
                  <a:pt x="974" y="4070"/>
                </a:lnTo>
                <a:lnTo>
                  <a:pt x="924" y="4061"/>
                </a:lnTo>
                <a:lnTo>
                  <a:pt x="924" y="4054"/>
                </a:lnTo>
                <a:lnTo>
                  <a:pt x="941" y="4044"/>
                </a:lnTo>
                <a:lnTo>
                  <a:pt x="974" y="4044"/>
                </a:lnTo>
                <a:lnTo>
                  <a:pt x="974" y="4037"/>
                </a:lnTo>
                <a:lnTo>
                  <a:pt x="962" y="4044"/>
                </a:lnTo>
                <a:lnTo>
                  <a:pt x="924" y="4044"/>
                </a:lnTo>
                <a:lnTo>
                  <a:pt x="941" y="4025"/>
                </a:lnTo>
                <a:lnTo>
                  <a:pt x="952" y="4016"/>
                </a:lnTo>
                <a:lnTo>
                  <a:pt x="1011" y="4016"/>
                </a:lnTo>
                <a:lnTo>
                  <a:pt x="1011" y="4000"/>
                </a:lnTo>
                <a:lnTo>
                  <a:pt x="1004" y="4016"/>
                </a:lnTo>
                <a:lnTo>
                  <a:pt x="952" y="4016"/>
                </a:lnTo>
                <a:lnTo>
                  <a:pt x="957" y="4000"/>
                </a:lnTo>
                <a:lnTo>
                  <a:pt x="941" y="4004"/>
                </a:lnTo>
                <a:lnTo>
                  <a:pt x="941" y="4021"/>
                </a:lnTo>
                <a:lnTo>
                  <a:pt x="936" y="4025"/>
                </a:lnTo>
                <a:lnTo>
                  <a:pt x="919" y="4016"/>
                </a:lnTo>
                <a:lnTo>
                  <a:pt x="924" y="3988"/>
                </a:lnTo>
                <a:lnTo>
                  <a:pt x="936" y="3983"/>
                </a:lnTo>
                <a:lnTo>
                  <a:pt x="941" y="3966"/>
                </a:lnTo>
                <a:lnTo>
                  <a:pt x="952" y="3971"/>
                </a:lnTo>
                <a:lnTo>
                  <a:pt x="941" y="3971"/>
                </a:lnTo>
                <a:lnTo>
                  <a:pt x="974" y="3950"/>
                </a:lnTo>
                <a:lnTo>
                  <a:pt x="978" y="3950"/>
                </a:lnTo>
                <a:lnTo>
                  <a:pt x="1004" y="3983"/>
                </a:lnTo>
                <a:lnTo>
                  <a:pt x="990" y="3950"/>
                </a:lnTo>
                <a:lnTo>
                  <a:pt x="1004" y="3943"/>
                </a:lnTo>
                <a:lnTo>
                  <a:pt x="974" y="3943"/>
                </a:lnTo>
                <a:lnTo>
                  <a:pt x="962" y="3933"/>
                </a:lnTo>
                <a:lnTo>
                  <a:pt x="990" y="3910"/>
                </a:lnTo>
                <a:lnTo>
                  <a:pt x="978" y="3905"/>
                </a:lnTo>
                <a:lnTo>
                  <a:pt x="978" y="3917"/>
                </a:lnTo>
                <a:lnTo>
                  <a:pt x="941" y="3950"/>
                </a:lnTo>
                <a:lnTo>
                  <a:pt x="924" y="3959"/>
                </a:lnTo>
                <a:lnTo>
                  <a:pt x="919" y="3933"/>
                </a:lnTo>
                <a:lnTo>
                  <a:pt x="908" y="3950"/>
                </a:lnTo>
                <a:lnTo>
                  <a:pt x="908" y="3933"/>
                </a:lnTo>
                <a:lnTo>
                  <a:pt x="919" y="3926"/>
                </a:lnTo>
                <a:lnTo>
                  <a:pt x="903" y="3933"/>
                </a:lnTo>
                <a:lnTo>
                  <a:pt x="898" y="3959"/>
                </a:lnTo>
                <a:lnTo>
                  <a:pt x="886" y="3950"/>
                </a:lnTo>
                <a:lnTo>
                  <a:pt x="898" y="3933"/>
                </a:lnTo>
                <a:lnTo>
                  <a:pt x="903" y="3893"/>
                </a:lnTo>
                <a:lnTo>
                  <a:pt x="882" y="3905"/>
                </a:lnTo>
                <a:lnTo>
                  <a:pt x="870" y="3872"/>
                </a:lnTo>
                <a:lnTo>
                  <a:pt x="853" y="3855"/>
                </a:lnTo>
                <a:lnTo>
                  <a:pt x="848" y="3832"/>
                </a:lnTo>
                <a:lnTo>
                  <a:pt x="853" y="3832"/>
                </a:lnTo>
                <a:lnTo>
                  <a:pt x="882" y="3848"/>
                </a:lnTo>
                <a:lnTo>
                  <a:pt x="903" y="3839"/>
                </a:lnTo>
                <a:lnTo>
                  <a:pt x="924" y="3860"/>
                </a:lnTo>
                <a:lnTo>
                  <a:pt x="903" y="3839"/>
                </a:lnTo>
                <a:lnTo>
                  <a:pt x="870" y="3839"/>
                </a:lnTo>
                <a:lnTo>
                  <a:pt x="853" y="3822"/>
                </a:lnTo>
                <a:lnTo>
                  <a:pt x="853" y="3806"/>
                </a:lnTo>
                <a:lnTo>
                  <a:pt x="882" y="3799"/>
                </a:lnTo>
                <a:lnTo>
                  <a:pt x="865" y="3794"/>
                </a:lnTo>
                <a:lnTo>
                  <a:pt x="870" y="3782"/>
                </a:lnTo>
                <a:lnTo>
                  <a:pt x="827" y="3822"/>
                </a:lnTo>
                <a:lnTo>
                  <a:pt x="827" y="3848"/>
                </a:lnTo>
                <a:lnTo>
                  <a:pt x="773" y="3799"/>
                </a:lnTo>
                <a:lnTo>
                  <a:pt x="773" y="3766"/>
                </a:lnTo>
                <a:lnTo>
                  <a:pt x="811" y="3761"/>
                </a:lnTo>
                <a:lnTo>
                  <a:pt x="763" y="3766"/>
                </a:lnTo>
                <a:lnTo>
                  <a:pt x="756" y="3749"/>
                </a:lnTo>
                <a:lnTo>
                  <a:pt x="740" y="3749"/>
                </a:lnTo>
                <a:lnTo>
                  <a:pt x="740" y="3721"/>
                </a:lnTo>
                <a:lnTo>
                  <a:pt x="778" y="3749"/>
                </a:lnTo>
                <a:lnTo>
                  <a:pt x="747" y="3721"/>
                </a:lnTo>
                <a:lnTo>
                  <a:pt x="763" y="3711"/>
                </a:lnTo>
                <a:lnTo>
                  <a:pt x="778" y="3728"/>
                </a:lnTo>
                <a:lnTo>
                  <a:pt x="756" y="3711"/>
                </a:lnTo>
                <a:lnTo>
                  <a:pt x="763" y="3704"/>
                </a:lnTo>
                <a:lnTo>
                  <a:pt x="773" y="3688"/>
                </a:lnTo>
                <a:lnTo>
                  <a:pt x="801" y="3688"/>
                </a:lnTo>
                <a:lnTo>
                  <a:pt x="773" y="3683"/>
                </a:lnTo>
                <a:lnTo>
                  <a:pt x="794" y="3638"/>
                </a:lnTo>
                <a:lnTo>
                  <a:pt x="811" y="3638"/>
                </a:lnTo>
                <a:lnTo>
                  <a:pt x="794" y="3638"/>
                </a:lnTo>
                <a:lnTo>
                  <a:pt x="789" y="3633"/>
                </a:lnTo>
                <a:lnTo>
                  <a:pt x="789" y="3655"/>
                </a:lnTo>
                <a:lnTo>
                  <a:pt x="763" y="3688"/>
                </a:lnTo>
                <a:lnTo>
                  <a:pt x="763" y="3683"/>
                </a:lnTo>
                <a:lnTo>
                  <a:pt x="778" y="3655"/>
                </a:lnTo>
                <a:lnTo>
                  <a:pt x="763" y="3617"/>
                </a:lnTo>
                <a:lnTo>
                  <a:pt x="773" y="3593"/>
                </a:lnTo>
                <a:lnTo>
                  <a:pt x="763" y="3572"/>
                </a:lnTo>
                <a:lnTo>
                  <a:pt x="747" y="3572"/>
                </a:lnTo>
                <a:lnTo>
                  <a:pt x="719" y="3544"/>
                </a:lnTo>
                <a:lnTo>
                  <a:pt x="664" y="3522"/>
                </a:lnTo>
                <a:lnTo>
                  <a:pt x="650" y="3522"/>
                </a:lnTo>
                <a:lnTo>
                  <a:pt x="638" y="3506"/>
                </a:lnTo>
                <a:lnTo>
                  <a:pt x="626" y="3499"/>
                </a:lnTo>
                <a:lnTo>
                  <a:pt x="633" y="3482"/>
                </a:lnTo>
                <a:lnTo>
                  <a:pt x="612" y="3473"/>
                </a:lnTo>
                <a:lnTo>
                  <a:pt x="617" y="3461"/>
                </a:lnTo>
                <a:lnTo>
                  <a:pt x="541" y="3350"/>
                </a:lnTo>
                <a:lnTo>
                  <a:pt x="530" y="3333"/>
                </a:lnTo>
                <a:lnTo>
                  <a:pt x="504" y="3300"/>
                </a:lnTo>
                <a:lnTo>
                  <a:pt x="475" y="3296"/>
                </a:lnTo>
                <a:lnTo>
                  <a:pt x="466" y="3263"/>
                </a:lnTo>
                <a:lnTo>
                  <a:pt x="423" y="3246"/>
                </a:lnTo>
                <a:lnTo>
                  <a:pt x="416" y="3227"/>
                </a:lnTo>
                <a:lnTo>
                  <a:pt x="423" y="3211"/>
                </a:lnTo>
                <a:lnTo>
                  <a:pt x="385" y="3189"/>
                </a:lnTo>
                <a:lnTo>
                  <a:pt x="324" y="3211"/>
                </a:lnTo>
                <a:lnTo>
                  <a:pt x="331" y="3222"/>
                </a:lnTo>
                <a:lnTo>
                  <a:pt x="315" y="3222"/>
                </a:lnTo>
                <a:lnTo>
                  <a:pt x="315" y="3246"/>
                </a:lnTo>
                <a:lnTo>
                  <a:pt x="310" y="3251"/>
                </a:lnTo>
                <a:lnTo>
                  <a:pt x="293" y="3251"/>
                </a:lnTo>
                <a:lnTo>
                  <a:pt x="251" y="3284"/>
                </a:lnTo>
                <a:lnTo>
                  <a:pt x="239" y="3246"/>
                </a:lnTo>
                <a:lnTo>
                  <a:pt x="168" y="3189"/>
                </a:lnTo>
                <a:lnTo>
                  <a:pt x="163" y="3173"/>
                </a:lnTo>
                <a:lnTo>
                  <a:pt x="130" y="3156"/>
                </a:lnTo>
                <a:lnTo>
                  <a:pt x="142" y="3123"/>
                </a:lnTo>
                <a:lnTo>
                  <a:pt x="93" y="3135"/>
                </a:lnTo>
                <a:lnTo>
                  <a:pt x="71" y="3151"/>
                </a:lnTo>
                <a:lnTo>
                  <a:pt x="38" y="3135"/>
                </a:lnTo>
                <a:lnTo>
                  <a:pt x="38" y="3140"/>
                </a:lnTo>
                <a:lnTo>
                  <a:pt x="0" y="3135"/>
                </a:lnTo>
                <a:lnTo>
                  <a:pt x="0" y="2041"/>
                </a:lnTo>
                <a:lnTo>
                  <a:pt x="130" y="2058"/>
                </a:lnTo>
                <a:lnTo>
                  <a:pt x="168" y="2086"/>
                </a:lnTo>
                <a:lnTo>
                  <a:pt x="260" y="2124"/>
                </a:lnTo>
                <a:lnTo>
                  <a:pt x="348" y="2136"/>
                </a:lnTo>
                <a:lnTo>
                  <a:pt x="395" y="2157"/>
                </a:lnTo>
                <a:lnTo>
                  <a:pt x="411" y="2157"/>
                </a:lnTo>
                <a:lnTo>
                  <a:pt x="385" y="2140"/>
                </a:lnTo>
                <a:lnTo>
                  <a:pt x="400" y="2140"/>
                </a:lnTo>
                <a:lnTo>
                  <a:pt x="378" y="2136"/>
                </a:lnTo>
                <a:lnTo>
                  <a:pt x="433" y="2124"/>
                </a:lnTo>
                <a:lnTo>
                  <a:pt x="471" y="2157"/>
                </a:lnTo>
                <a:lnTo>
                  <a:pt x="475" y="2157"/>
                </a:lnTo>
                <a:lnTo>
                  <a:pt x="449" y="2119"/>
                </a:lnTo>
                <a:lnTo>
                  <a:pt x="454" y="2115"/>
                </a:lnTo>
                <a:lnTo>
                  <a:pt x="520" y="2070"/>
                </a:lnTo>
                <a:lnTo>
                  <a:pt x="558" y="2065"/>
                </a:lnTo>
                <a:lnTo>
                  <a:pt x="574" y="2041"/>
                </a:lnTo>
                <a:lnTo>
                  <a:pt x="600" y="2041"/>
                </a:lnTo>
                <a:lnTo>
                  <a:pt x="612" y="2029"/>
                </a:lnTo>
                <a:lnTo>
                  <a:pt x="596" y="2029"/>
                </a:lnTo>
                <a:lnTo>
                  <a:pt x="600" y="2025"/>
                </a:lnTo>
                <a:lnTo>
                  <a:pt x="626" y="2029"/>
                </a:lnTo>
                <a:lnTo>
                  <a:pt x="671" y="2003"/>
                </a:lnTo>
                <a:lnTo>
                  <a:pt x="688" y="2003"/>
                </a:lnTo>
                <a:lnTo>
                  <a:pt x="688" y="2013"/>
                </a:lnTo>
                <a:lnTo>
                  <a:pt x="709" y="1987"/>
                </a:lnTo>
                <a:lnTo>
                  <a:pt x="735" y="1970"/>
                </a:lnTo>
                <a:lnTo>
                  <a:pt x="740" y="1970"/>
                </a:lnTo>
                <a:lnTo>
                  <a:pt x="740" y="1975"/>
                </a:lnTo>
                <a:lnTo>
                  <a:pt x="773" y="1987"/>
                </a:lnTo>
                <a:lnTo>
                  <a:pt x="794" y="1959"/>
                </a:lnTo>
                <a:lnTo>
                  <a:pt x="815" y="1975"/>
                </a:lnTo>
                <a:lnTo>
                  <a:pt x="811" y="1992"/>
                </a:lnTo>
                <a:lnTo>
                  <a:pt x="740" y="2025"/>
                </a:lnTo>
                <a:lnTo>
                  <a:pt x="709" y="2048"/>
                </a:lnTo>
                <a:lnTo>
                  <a:pt x="702" y="2041"/>
                </a:lnTo>
                <a:lnTo>
                  <a:pt x="633" y="2058"/>
                </a:lnTo>
                <a:lnTo>
                  <a:pt x="626" y="2065"/>
                </a:lnTo>
                <a:lnTo>
                  <a:pt x="626" y="2070"/>
                </a:lnTo>
                <a:lnTo>
                  <a:pt x="579" y="2086"/>
                </a:lnTo>
                <a:lnTo>
                  <a:pt x="574" y="2115"/>
                </a:lnTo>
                <a:lnTo>
                  <a:pt x="546" y="2119"/>
                </a:lnTo>
                <a:lnTo>
                  <a:pt x="546" y="2124"/>
                </a:lnTo>
                <a:lnTo>
                  <a:pt x="525" y="2140"/>
                </a:lnTo>
                <a:lnTo>
                  <a:pt x="574" y="2157"/>
                </a:lnTo>
                <a:lnTo>
                  <a:pt x="541" y="2140"/>
                </a:lnTo>
                <a:lnTo>
                  <a:pt x="600" y="2140"/>
                </a:lnTo>
                <a:lnTo>
                  <a:pt x="600" y="2136"/>
                </a:lnTo>
                <a:lnTo>
                  <a:pt x="596" y="2136"/>
                </a:lnTo>
                <a:lnTo>
                  <a:pt x="579" y="2136"/>
                </a:lnTo>
                <a:lnTo>
                  <a:pt x="574" y="2115"/>
                </a:lnTo>
                <a:lnTo>
                  <a:pt x="600" y="2103"/>
                </a:lnTo>
                <a:lnTo>
                  <a:pt x="612" y="2086"/>
                </a:lnTo>
                <a:lnTo>
                  <a:pt x="617" y="2103"/>
                </a:lnTo>
                <a:lnTo>
                  <a:pt x="655" y="2070"/>
                </a:lnTo>
                <a:lnTo>
                  <a:pt x="633" y="2070"/>
                </a:lnTo>
                <a:lnTo>
                  <a:pt x="655" y="2065"/>
                </a:lnTo>
                <a:lnTo>
                  <a:pt x="671" y="2065"/>
                </a:lnTo>
                <a:lnTo>
                  <a:pt x="664" y="2081"/>
                </a:lnTo>
                <a:lnTo>
                  <a:pt x="688" y="2058"/>
                </a:lnTo>
                <a:lnTo>
                  <a:pt x="688" y="2070"/>
                </a:lnTo>
                <a:lnTo>
                  <a:pt x="671" y="2081"/>
                </a:lnTo>
                <a:lnTo>
                  <a:pt x="681" y="2081"/>
                </a:lnTo>
                <a:lnTo>
                  <a:pt x="693" y="2070"/>
                </a:lnTo>
                <a:lnTo>
                  <a:pt x="688" y="2048"/>
                </a:lnTo>
                <a:lnTo>
                  <a:pt x="693" y="2058"/>
                </a:lnTo>
                <a:lnTo>
                  <a:pt x="693" y="2070"/>
                </a:lnTo>
                <a:lnTo>
                  <a:pt x="702" y="2065"/>
                </a:lnTo>
                <a:lnTo>
                  <a:pt x="688" y="2048"/>
                </a:lnTo>
                <a:lnTo>
                  <a:pt x="693" y="2041"/>
                </a:lnTo>
                <a:lnTo>
                  <a:pt x="702" y="2065"/>
                </a:lnTo>
                <a:lnTo>
                  <a:pt x="693" y="2081"/>
                </a:lnTo>
                <a:lnTo>
                  <a:pt x="709" y="2058"/>
                </a:lnTo>
                <a:lnTo>
                  <a:pt x="702" y="2081"/>
                </a:lnTo>
                <a:lnTo>
                  <a:pt x="709" y="2070"/>
                </a:lnTo>
                <a:lnTo>
                  <a:pt x="702" y="2098"/>
                </a:lnTo>
                <a:lnTo>
                  <a:pt x="709" y="2103"/>
                </a:lnTo>
                <a:lnTo>
                  <a:pt x="709" y="2086"/>
                </a:lnTo>
                <a:lnTo>
                  <a:pt x="747" y="2029"/>
                </a:lnTo>
                <a:lnTo>
                  <a:pt x="832" y="2008"/>
                </a:lnTo>
                <a:lnTo>
                  <a:pt x="848" y="2003"/>
                </a:lnTo>
                <a:lnTo>
                  <a:pt x="848" y="2013"/>
                </a:lnTo>
                <a:lnTo>
                  <a:pt x="832" y="2013"/>
                </a:lnTo>
                <a:lnTo>
                  <a:pt x="832" y="2029"/>
                </a:lnTo>
                <a:lnTo>
                  <a:pt x="848" y="2029"/>
                </a:lnTo>
                <a:lnTo>
                  <a:pt x="886" y="2003"/>
                </a:lnTo>
                <a:lnTo>
                  <a:pt x="886" y="1975"/>
                </a:lnTo>
                <a:lnTo>
                  <a:pt x="952" y="1959"/>
                </a:lnTo>
                <a:lnTo>
                  <a:pt x="908" y="1954"/>
                </a:lnTo>
                <a:lnTo>
                  <a:pt x="919" y="1947"/>
                </a:lnTo>
                <a:lnTo>
                  <a:pt x="903" y="1947"/>
                </a:lnTo>
                <a:lnTo>
                  <a:pt x="908" y="1914"/>
                </a:lnTo>
                <a:lnTo>
                  <a:pt x="974" y="1959"/>
                </a:lnTo>
                <a:lnTo>
                  <a:pt x="1004" y="2025"/>
                </a:lnTo>
                <a:lnTo>
                  <a:pt x="1033" y="2058"/>
                </a:lnTo>
                <a:lnTo>
                  <a:pt x="1096" y="2081"/>
                </a:lnTo>
                <a:lnTo>
                  <a:pt x="1096" y="2070"/>
                </a:lnTo>
                <a:lnTo>
                  <a:pt x="1118" y="2065"/>
                </a:lnTo>
                <a:lnTo>
                  <a:pt x="1080" y="2065"/>
                </a:lnTo>
                <a:lnTo>
                  <a:pt x="1087" y="2058"/>
                </a:lnTo>
                <a:lnTo>
                  <a:pt x="1118" y="2058"/>
                </a:lnTo>
                <a:lnTo>
                  <a:pt x="1096" y="2041"/>
                </a:lnTo>
                <a:lnTo>
                  <a:pt x="1096" y="2029"/>
                </a:lnTo>
                <a:lnTo>
                  <a:pt x="1118" y="2025"/>
                </a:lnTo>
                <a:lnTo>
                  <a:pt x="1125" y="2041"/>
                </a:lnTo>
                <a:lnTo>
                  <a:pt x="1134" y="2029"/>
                </a:lnTo>
                <a:lnTo>
                  <a:pt x="1101" y="2013"/>
                </a:lnTo>
                <a:lnTo>
                  <a:pt x="1118" y="2013"/>
                </a:lnTo>
                <a:lnTo>
                  <a:pt x="1134" y="1992"/>
                </a:lnTo>
                <a:lnTo>
                  <a:pt x="1113" y="2003"/>
                </a:lnTo>
                <a:lnTo>
                  <a:pt x="1113" y="1992"/>
                </a:lnTo>
                <a:lnTo>
                  <a:pt x="1125" y="1987"/>
                </a:lnTo>
                <a:lnTo>
                  <a:pt x="1118" y="1992"/>
                </a:lnTo>
                <a:lnTo>
                  <a:pt x="1151" y="1987"/>
                </a:lnTo>
                <a:lnTo>
                  <a:pt x="1156" y="1992"/>
                </a:lnTo>
                <a:lnTo>
                  <a:pt x="1167" y="1987"/>
                </a:lnTo>
                <a:lnTo>
                  <a:pt x="1139" y="1975"/>
                </a:lnTo>
                <a:lnTo>
                  <a:pt x="1167" y="1975"/>
                </a:lnTo>
                <a:lnTo>
                  <a:pt x="1167" y="1987"/>
                </a:lnTo>
                <a:lnTo>
                  <a:pt x="1156" y="2025"/>
                </a:lnTo>
                <a:lnTo>
                  <a:pt x="1189" y="2029"/>
                </a:lnTo>
                <a:lnTo>
                  <a:pt x="1156" y="2070"/>
                </a:lnTo>
                <a:lnTo>
                  <a:pt x="1167" y="2070"/>
                </a:lnTo>
                <a:lnTo>
                  <a:pt x="1231" y="2070"/>
                </a:lnTo>
                <a:lnTo>
                  <a:pt x="1231" y="2058"/>
                </a:lnTo>
                <a:lnTo>
                  <a:pt x="1248" y="2058"/>
                </a:lnTo>
                <a:lnTo>
                  <a:pt x="1259" y="2025"/>
                </a:lnTo>
                <a:lnTo>
                  <a:pt x="1264" y="2013"/>
                </a:lnTo>
                <a:lnTo>
                  <a:pt x="1356" y="2013"/>
                </a:lnTo>
                <a:lnTo>
                  <a:pt x="1420" y="2041"/>
                </a:lnTo>
                <a:lnTo>
                  <a:pt x="1458" y="2070"/>
                </a:lnTo>
                <a:lnTo>
                  <a:pt x="1555" y="2086"/>
                </a:lnTo>
                <a:lnTo>
                  <a:pt x="1609" y="2119"/>
                </a:lnTo>
                <a:lnTo>
                  <a:pt x="1675" y="2136"/>
                </a:lnTo>
                <a:lnTo>
                  <a:pt x="1760" y="2140"/>
                </a:lnTo>
                <a:lnTo>
                  <a:pt x="1730" y="2124"/>
                </a:lnTo>
                <a:lnTo>
                  <a:pt x="1782" y="2124"/>
                </a:lnTo>
                <a:lnTo>
                  <a:pt x="1869" y="2157"/>
                </a:lnTo>
                <a:lnTo>
                  <a:pt x="1890" y="2181"/>
                </a:lnTo>
                <a:lnTo>
                  <a:pt x="1890" y="2214"/>
                </a:lnTo>
                <a:lnTo>
                  <a:pt x="1803" y="2226"/>
                </a:lnTo>
                <a:lnTo>
                  <a:pt x="1803" y="2235"/>
                </a:lnTo>
                <a:lnTo>
                  <a:pt x="1819" y="2247"/>
                </a:lnTo>
                <a:lnTo>
                  <a:pt x="1789" y="2252"/>
                </a:lnTo>
                <a:lnTo>
                  <a:pt x="1819" y="2268"/>
                </a:lnTo>
                <a:lnTo>
                  <a:pt x="2004" y="2285"/>
                </a:lnTo>
                <a:lnTo>
                  <a:pt x="2091" y="2263"/>
                </a:lnTo>
                <a:lnTo>
                  <a:pt x="2105" y="2280"/>
                </a:lnTo>
                <a:lnTo>
                  <a:pt x="2167" y="2247"/>
                </a:lnTo>
                <a:lnTo>
                  <a:pt x="2176" y="2252"/>
                </a:lnTo>
                <a:lnTo>
                  <a:pt x="2176" y="2263"/>
                </a:lnTo>
                <a:lnTo>
                  <a:pt x="2193" y="2263"/>
                </a:lnTo>
                <a:lnTo>
                  <a:pt x="2193" y="2280"/>
                </a:lnTo>
                <a:lnTo>
                  <a:pt x="2235" y="2280"/>
                </a:lnTo>
                <a:lnTo>
                  <a:pt x="2252" y="2303"/>
                </a:lnTo>
                <a:lnTo>
                  <a:pt x="2247" y="2308"/>
                </a:lnTo>
                <a:lnTo>
                  <a:pt x="2263" y="2325"/>
                </a:lnTo>
                <a:lnTo>
                  <a:pt x="2263" y="2292"/>
                </a:lnTo>
                <a:lnTo>
                  <a:pt x="2268" y="2292"/>
                </a:lnTo>
                <a:lnTo>
                  <a:pt x="2285" y="2325"/>
                </a:lnTo>
                <a:lnTo>
                  <a:pt x="2289" y="2320"/>
                </a:lnTo>
                <a:lnTo>
                  <a:pt x="2318" y="2337"/>
                </a:lnTo>
                <a:lnTo>
                  <a:pt x="2322" y="2363"/>
                </a:lnTo>
                <a:lnTo>
                  <a:pt x="2301" y="2363"/>
                </a:lnTo>
                <a:lnTo>
                  <a:pt x="2268" y="2346"/>
                </a:lnTo>
                <a:lnTo>
                  <a:pt x="2273" y="2363"/>
                </a:lnTo>
                <a:lnTo>
                  <a:pt x="2306" y="2374"/>
                </a:lnTo>
                <a:lnTo>
                  <a:pt x="2322" y="2412"/>
                </a:lnTo>
                <a:lnTo>
                  <a:pt x="2322" y="2396"/>
                </a:lnTo>
                <a:lnTo>
                  <a:pt x="2370" y="2448"/>
                </a:lnTo>
                <a:lnTo>
                  <a:pt x="2344" y="2412"/>
                </a:lnTo>
                <a:lnTo>
                  <a:pt x="2327" y="2379"/>
                </a:lnTo>
                <a:lnTo>
                  <a:pt x="2339" y="2358"/>
                </a:lnTo>
                <a:lnTo>
                  <a:pt x="2356" y="2374"/>
                </a:lnTo>
                <a:lnTo>
                  <a:pt x="2339" y="2374"/>
                </a:lnTo>
                <a:lnTo>
                  <a:pt x="2344" y="2391"/>
                </a:lnTo>
                <a:lnTo>
                  <a:pt x="2360" y="2391"/>
                </a:lnTo>
                <a:lnTo>
                  <a:pt x="2356" y="2374"/>
                </a:lnTo>
                <a:lnTo>
                  <a:pt x="2381" y="2391"/>
                </a:lnTo>
                <a:lnTo>
                  <a:pt x="2360" y="2363"/>
                </a:lnTo>
                <a:lnTo>
                  <a:pt x="2360" y="2346"/>
                </a:lnTo>
                <a:lnTo>
                  <a:pt x="2356" y="2341"/>
                </a:lnTo>
                <a:lnTo>
                  <a:pt x="2339" y="2325"/>
                </a:lnTo>
                <a:lnTo>
                  <a:pt x="2344" y="2308"/>
                </a:lnTo>
                <a:lnTo>
                  <a:pt x="2318" y="2280"/>
                </a:lnTo>
                <a:lnTo>
                  <a:pt x="2322" y="2263"/>
                </a:lnTo>
                <a:lnTo>
                  <a:pt x="2339" y="2252"/>
                </a:lnTo>
                <a:lnTo>
                  <a:pt x="2322" y="2247"/>
                </a:lnTo>
                <a:lnTo>
                  <a:pt x="2322" y="2235"/>
                </a:lnTo>
                <a:lnTo>
                  <a:pt x="2339" y="2235"/>
                </a:lnTo>
                <a:lnTo>
                  <a:pt x="2327" y="2235"/>
                </a:lnTo>
                <a:lnTo>
                  <a:pt x="2327" y="2247"/>
                </a:lnTo>
                <a:lnTo>
                  <a:pt x="2360" y="2235"/>
                </a:lnTo>
                <a:lnTo>
                  <a:pt x="2398" y="2230"/>
                </a:lnTo>
                <a:lnTo>
                  <a:pt x="2398" y="2226"/>
                </a:lnTo>
                <a:lnTo>
                  <a:pt x="2415" y="2214"/>
                </a:lnTo>
                <a:lnTo>
                  <a:pt x="2424" y="2230"/>
                </a:lnTo>
                <a:lnTo>
                  <a:pt x="2431" y="2226"/>
                </a:lnTo>
                <a:lnTo>
                  <a:pt x="2424" y="2214"/>
                </a:lnTo>
                <a:lnTo>
                  <a:pt x="2424" y="2209"/>
                </a:lnTo>
                <a:lnTo>
                  <a:pt x="2478" y="2192"/>
                </a:lnTo>
                <a:lnTo>
                  <a:pt x="2478" y="2176"/>
                </a:lnTo>
                <a:lnTo>
                  <a:pt x="2483" y="2169"/>
                </a:lnTo>
                <a:lnTo>
                  <a:pt x="2415" y="2181"/>
                </a:lnTo>
                <a:lnTo>
                  <a:pt x="2415" y="2192"/>
                </a:lnTo>
                <a:lnTo>
                  <a:pt x="2424" y="2197"/>
                </a:lnTo>
                <a:lnTo>
                  <a:pt x="2415" y="2209"/>
                </a:lnTo>
                <a:lnTo>
                  <a:pt x="2398" y="2192"/>
                </a:lnTo>
                <a:lnTo>
                  <a:pt x="2370" y="2214"/>
                </a:lnTo>
                <a:lnTo>
                  <a:pt x="2344" y="2197"/>
                </a:lnTo>
                <a:lnTo>
                  <a:pt x="2327" y="2209"/>
                </a:lnTo>
                <a:lnTo>
                  <a:pt x="2322" y="2214"/>
                </a:lnTo>
                <a:lnTo>
                  <a:pt x="2344" y="2226"/>
                </a:lnTo>
                <a:lnTo>
                  <a:pt x="2289" y="2230"/>
                </a:lnTo>
                <a:lnTo>
                  <a:pt x="2285" y="2226"/>
                </a:lnTo>
                <a:lnTo>
                  <a:pt x="2289" y="2226"/>
                </a:lnTo>
                <a:lnTo>
                  <a:pt x="2289" y="2209"/>
                </a:lnTo>
                <a:lnTo>
                  <a:pt x="2263" y="2214"/>
                </a:lnTo>
                <a:lnTo>
                  <a:pt x="2289" y="2169"/>
                </a:lnTo>
                <a:lnTo>
                  <a:pt x="2370" y="2157"/>
                </a:lnTo>
                <a:lnTo>
                  <a:pt x="2436" y="2124"/>
                </a:lnTo>
                <a:lnTo>
                  <a:pt x="2469" y="2136"/>
                </a:lnTo>
                <a:lnTo>
                  <a:pt x="2490" y="2152"/>
                </a:lnTo>
                <a:lnTo>
                  <a:pt x="2490" y="2169"/>
                </a:lnTo>
                <a:lnTo>
                  <a:pt x="2500" y="2181"/>
                </a:lnTo>
                <a:lnTo>
                  <a:pt x="2483" y="2192"/>
                </a:lnTo>
                <a:lnTo>
                  <a:pt x="2521" y="2214"/>
                </a:lnTo>
                <a:lnTo>
                  <a:pt x="2537" y="2209"/>
                </a:lnTo>
                <a:lnTo>
                  <a:pt x="2533" y="2214"/>
                </a:lnTo>
                <a:lnTo>
                  <a:pt x="2554" y="2214"/>
                </a:lnTo>
                <a:lnTo>
                  <a:pt x="2542" y="2230"/>
                </a:lnTo>
                <a:lnTo>
                  <a:pt x="2559" y="2235"/>
                </a:lnTo>
                <a:lnTo>
                  <a:pt x="2613" y="2235"/>
                </a:lnTo>
                <a:lnTo>
                  <a:pt x="2641" y="2226"/>
                </a:lnTo>
                <a:lnTo>
                  <a:pt x="2646" y="2230"/>
                </a:lnTo>
                <a:lnTo>
                  <a:pt x="2641" y="2247"/>
                </a:lnTo>
                <a:lnTo>
                  <a:pt x="2717" y="2280"/>
                </a:lnTo>
                <a:lnTo>
                  <a:pt x="2738" y="2280"/>
                </a:lnTo>
                <a:lnTo>
                  <a:pt x="2769" y="2285"/>
                </a:lnTo>
                <a:lnTo>
                  <a:pt x="2844" y="2263"/>
                </a:lnTo>
                <a:lnTo>
                  <a:pt x="2911" y="2268"/>
                </a:lnTo>
                <a:lnTo>
                  <a:pt x="2932" y="2280"/>
                </a:lnTo>
                <a:lnTo>
                  <a:pt x="2991" y="2268"/>
                </a:lnTo>
                <a:lnTo>
                  <a:pt x="2965" y="2252"/>
                </a:lnTo>
                <a:lnTo>
                  <a:pt x="2965" y="2235"/>
                </a:lnTo>
                <a:lnTo>
                  <a:pt x="2970" y="2235"/>
                </a:lnTo>
                <a:lnTo>
                  <a:pt x="3007" y="2280"/>
                </a:lnTo>
                <a:lnTo>
                  <a:pt x="3057" y="2292"/>
                </a:lnTo>
                <a:lnTo>
                  <a:pt x="3078" y="2285"/>
                </a:lnTo>
                <a:lnTo>
                  <a:pt x="3078" y="2268"/>
                </a:lnTo>
                <a:lnTo>
                  <a:pt x="3071" y="2252"/>
                </a:lnTo>
                <a:lnTo>
                  <a:pt x="3062" y="2263"/>
                </a:lnTo>
                <a:lnTo>
                  <a:pt x="3041" y="2247"/>
                </a:lnTo>
                <a:lnTo>
                  <a:pt x="3019" y="2252"/>
                </a:lnTo>
                <a:lnTo>
                  <a:pt x="3007" y="2263"/>
                </a:lnTo>
                <a:lnTo>
                  <a:pt x="2974" y="2230"/>
                </a:lnTo>
                <a:lnTo>
                  <a:pt x="2986" y="2226"/>
                </a:lnTo>
                <a:lnTo>
                  <a:pt x="2991" y="2235"/>
                </a:lnTo>
                <a:lnTo>
                  <a:pt x="2991" y="2226"/>
                </a:lnTo>
                <a:lnTo>
                  <a:pt x="2970" y="2197"/>
                </a:lnTo>
                <a:lnTo>
                  <a:pt x="2974" y="2209"/>
                </a:lnTo>
                <a:lnTo>
                  <a:pt x="2986" y="2192"/>
                </a:lnTo>
                <a:lnTo>
                  <a:pt x="3003" y="2209"/>
                </a:lnTo>
                <a:lnTo>
                  <a:pt x="3029" y="2197"/>
                </a:lnTo>
                <a:lnTo>
                  <a:pt x="3019" y="2181"/>
                </a:lnTo>
                <a:lnTo>
                  <a:pt x="3024" y="2176"/>
                </a:lnTo>
                <a:lnTo>
                  <a:pt x="3045" y="2192"/>
                </a:lnTo>
                <a:lnTo>
                  <a:pt x="3071" y="2192"/>
                </a:lnTo>
                <a:lnTo>
                  <a:pt x="3083" y="2197"/>
                </a:lnTo>
                <a:lnTo>
                  <a:pt x="3078" y="2214"/>
                </a:lnTo>
                <a:lnTo>
                  <a:pt x="3133" y="2209"/>
                </a:lnTo>
                <a:lnTo>
                  <a:pt x="3100" y="2235"/>
                </a:lnTo>
                <a:lnTo>
                  <a:pt x="3109" y="2247"/>
                </a:lnTo>
                <a:lnTo>
                  <a:pt x="3154" y="2214"/>
                </a:lnTo>
                <a:lnTo>
                  <a:pt x="3137" y="2268"/>
                </a:lnTo>
                <a:lnTo>
                  <a:pt x="3147" y="2285"/>
                </a:lnTo>
                <a:lnTo>
                  <a:pt x="3126" y="2308"/>
                </a:lnTo>
                <a:lnTo>
                  <a:pt x="3147" y="2308"/>
                </a:lnTo>
                <a:lnTo>
                  <a:pt x="3137" y="2341"/>
                </a:lnTo>
                <a:lnTo>
                  <a:pt x="3147" y="2341"/>
                </a:lnTo>
                <a:lnTo>
                  <a:pt x="3185" y="2325"/>
                </a:lnTo>
                <a:lnTo>
                  <a:pt x="3185" y="2337"/>
                </a:lnTo>
                <a:lnTo>
                  <a:pt x="3170" y="2346"/>
                </a:lnTo>
                <a:lnTo>
                  <a:pt x="3192" y="2341"/>
                </a:lnTo>
                <a:lnTo>
                  <a:pt x="3201" y="2374"/>
                </a:lnTo>
                <a:lnTo>
                  <a:pt x="3163" y="2374"/>
                </a:lnTo>
                <a:lnTo>
                  <a:pt x="3154" y="2363"/>
                </a:lnTo>
                <a:lnTo>
                  <a:pt x="3163" y="2358"/>
                </a:lnTo>
                <a:lnTo>
                  <a:pt x="3147" y="2374"/>
                </a:lnTo>
                <a:lnTo>
                  <a:pt x="3137" y="2358"/>
                </a:lnTo>
                <a:lnTo>
                  <a:pt x="3126" y="2358"/>
                </a:lnTo>
                <a:lnTo>
                  <a:pt x="3170" y="2396"/>
                </a:lnTo>
                <a:lnTo>
                  <a:pt x="3170" y="2412"/>
                </a:lnTo>
                <a:lnTo>
                  <a:pt x="3180" y="2412"/>
                </a:lnTo>
                <a:lnTo>
                  <a:pt x="3147" y="2379"/>
                </a:lnTo>
                <a:lnTo>
                  <a:pt x="3208" y="2379"/>
                </a:lnTo>
                <a:lnTo>
                  <a:pt x="3208" y="2374"/>
                </a:lnTo>
                <a:lnTo>
                  <a:pt x="3201" y="2346"/>
                </a:lnTo>
                <a:lnTo>
                  <a:pt x="3218" y="2337"/>
                </a:lnTo>
                <a:lnTo>
                  <a:pt x="3201" y="2325"/>
                </a:lnTo>
                <a:lnTo>
                  <a:pt x="3201" y="2303"/>
                </a:lnTo>
                <a:lnTo>
                  <a:pt x="3180" y="2280"/>
                </a:lnTo>
                <a:lnTo>
                  <a:pt x="3185" y="2268"/>
                </a:lnTo>
                <a:lnTo>
                  <a:pt x="3201" y="2235"/>
                </a:lnTo>
                <a:lnTo>
                  <a:pt x="3192" y="2235"/>
                </a:lnTo>
                <a:lnTo>
                  <a:pt x="3244" y="2235"/>
                </a:lnTo>
                <a:lnTo>
                  <a:pt x="3289" y="2214"/>
                </a:lnTo>
                <a:lnTo>
                  <a:pt x="3289" y="2192"/>
                </a:lnTo>
                <a:lnTo>
                  <a:pt x="3326" y="2176"/>
                </a:lnTo>
                <a:lnTo>
                  <a:pt x="3326" y="2169"/>
                </a:lnTo>
                <a:lnTo>
                  <a:pt x="3315" y="2169"/>
                </a:lnTo>
                <a:lnTo>
                  <a:pt x="3326" y="2140"/>
                </a:lnTo>
                <a:lnTo>
                  <a:pt x="3326" y="2124"/>
                </a:lnTo>
                <a:lnTo>
                  <a:pt x="3298" y="2124"/>
                </a:lnTo>
                <a:lnTo>
                  <a:pt x="3293" y="2140"/>
                </a:lnTo>
                <a:lnTo>
                  <a:pt x="3310" y="2136"/>
                </a:lnTo>
                <a:lnTo>
                  <a:pt x="3293" y="2152"/>
                </a:lnTo>
                <a:lnTo>
                  <a:pt x="3260" y="2152"/>
                </a:lnTo>
                <a:lnTo>
                  <a:pt x="3256" y="2152"/>
                </a:lnTo>
                <a:lnTo>
                  <a:pt x="3256" y="2136"/>
                </a:lnTo>
                <a:lnTo>
                  <a:pt x="3256" y="2124"/>
                </a:lnTo>
                <a:lnTo>
                  <a:pt x="3293" y="2103"/>
                </a:lnTo>
                <a:lnTo>
                  <a:pt x="3277" y="2103"/>
                </a:lnTo>
                <a:lnTo>
                  <a:pt x="3277" y="2081"/>
                </a:lnTo>
                <a:lnTo>
                  <a:pt x="3331" y="2065"/>
                </a:lnTo>
                <a:lnTo>
                  <a:pt x="3310" y="2086"/>
                </a:lnTo>
                <a:lnTo>
                  <a:pt x="3310" y="2103"/>
                </a:lnTo>
                <a:lnTo>
                  <a:pt x="3343" y="2070"/>
                </a:lnTo>
                <a:lnTo>
                  <a:pt x="3326" y="2070"/>
                </a:lnTo>
                <a:lnTo>
                  <a:pt x="3343" y="2065"/>
                </a:lnTo>
                <a:lnTo>
                  <a:pt x="3331" y="2058"/>
                </a:lnTo>
                <a:lnTo>
                  <a:pt x="3277" y="2065"/>
                </a:lnTo>
                <a:lnTo>
                  <a:pt x="3256" y="2029"/>
                </a:lnTo>
                <a:lnTo>
                  <a:pt x="3239" y="2048"/>
                </a:lnTo>
                <a:lnTo>
                  <a:pt x="3180" y="2025"/>
                </a:lnTo>
                <a:lnTo>
                  <a:pt x="3163" y="2025"/>
                </a:lnTo>
                <a:lnTo>
                  <a:pt x="3147" y="2003"/>
                </a:lnTo>
                <a:lnTo>
                  <a:pt x="3116" y="1975"/>
                </a:lnTo>
                <a:lnTo>
                  <a:pt x="3116" y="1954"/>
                </a:lnTo>
                <a:lnTo>
                  <a:pt x="3137" y="1921"/>
                </a:lnTo>
                <a:lnTo>
                  <a:pt x="3170" y="1921"/>
                </a:lnTo>
                <a:lnTo>
                  <a:pt x="3154" y="1914"/>
                </a:lnTo>
                <a:lnTo>
                  <a:pt x="3170" y="1897"/>
                </a:lnTo>
                <a:lnTo>
                  <a:pt x="3147" y="1914"/>
                </a:lnTo>
                <a:lnTo>
                  <a:pt x="3116" y="1892"/>
                </a:lnTo>
                <a:lnTo>
                  <a:pt x="3126" y="1859"/>
                </a:lnTo>
                <a:lnTo>
                  <a:pt x="3133" y="1848"/>
                </a:lnTo>
                <a:lnTo>
                  <a:pt x="3116" y="1843"/>
                </a:lnTo>
                <a:lnTo>
                  <a:pt x="3126" y="1843"/>
                </a:lnTo>
                <a:lnTo>
                  <a:pt x="3126" y="1826"/>
                </a:lnTo>
                <a:lnTo>
                  <a:pt x="3154" y="1810"/>
                </a:lnTo>
                <a:lnTo>
                  <a:pt x="3185" y="1826"/>
                </a:lnTo>
                <a:lnTo>
                  <a:pt x="3192" y="1810"/>
                </a:lnTo>
                <a:lnTo>
                  <a:pt x="3185" y="1803"/>
                </a:lnTo>
                <a:lnTo>
                  <a:pt x="3163" y="1786"/>
                </a:lnTo>
                <a:lnTo>
                  <a:pt x="3208" y="1770"/>
                </a:lnTo>
                <a:lnTo>
                  <a:pt x="3208" y="1753"/>
                </a:lnTo>
                <a:lnTo>
                  <a:pt x="3256" y="1748"/>
                </a:lnTo>
                <a:lnTo>
                  <a:pt x="3208" y="1748"/>
                </a:lnTo>
                <a:lnTo>
                  <a:pt x="3218" y="1737"/>
                </a:lnTo>
                <a:lnTo>
                  <a:pt x="3260" y="1732"/>
                </a:lnTo>
                <a:lnTo>
                  <a:pt x="3272" y="1737"/>
                </a:lnTo>
                <a:lnTo>
                  <a:pt x="3256" y="1753"/>
                </a:lnTo>
                <a:lnTo>
                  <a:pt x="3256" y="1765"/>
                </a:lnTo>
                <a:lnTo>
                  <a:pt x="3260" y="1753"/>
                </a:lnTo>
                <a:lnTo>
                  <a:pt x="3272" y="1753"/>
                </a:lnTo>
                <a:lnTo>
                  <a:pt x="3272" y="1781"/>
                </a:lnTo>
                <a:lnTo>
                  <a:pt x="3289" y="1753"/>
                </a:lnTo>
                <a:lnTo>
                  <a:pt x="3315" y="1765"/>
                </a:lnTo>
                <a:lnTo>
                  <a:pt x="3310" y="1781"/>
                </a:lnTo>
                <a:lnTo>
                  <a:pt x="3369" y="1819"/>
                </a:lnTo>
                <a:lnTo>
                  <a:pt x="3381" y="1843"/>
                </a:lnTo>
                <a:lnTo>
                  <a:pt x="3369" y="1876"/>
                </a:lnTo>
                <a:lnTo>
                  <a:pt x="3364" y="1881"/>
                </a:lnTo>
                <a:lnTo>
                  <a:pt x="3423" y="1914"/>
                </a:lnTo>
                <a:lnTo>
                  <a:pt x="3418" y="1930"/>
                </a:lnTo>
                <a:lnTo>
                  <a:pt x="3440" y="1947"/>
                </a:lnTo>
                <a:lnTo>
                  <a:pt x="3440" y="1959"/>
                </a:lnTo>
                <a:lnTo>
                  <a:pt x="3449" y="1947"/>
                </a:lnTo>
                <a:lnTo>
                  <a:pt x="3456" y="1947"/>
                </a:lnTo>
                <a:lnTo>
                  <a:pt x="3470" y="1970"/>
                </a:lnTo>
                <a:lnTo>
                  <a:pt x="3440" y="1975"/>
                </a:lnTo>
                <a:lnTo>
                  <a:pt x="3418" y="1970"/>
                </a:lnTo>
                <a:lnTo>
                  <a:pt x="3407" y="1987"/>
                </a:lnTo>
                <a:lnTo>
                  <a:pt x="3440" y="1992"/>
                </a:lnTo>
                <a:lnTo>
                  <a:pt x="3385" y="2029"/>
                </a:lnTo>
                <a:lnTo>
                  <a:pt x="3402" y="2029"/>
                </a:lnTo>
                <a:lnTo>
                  <a:pt x="3369" y="2029"/>
                </a:lnTo>
                <a:lnTo>
                  <a:pt x="3418" y="2029"/>
                </a:lnTo>
                <a:lnTo>
                  <a:pt x="3433" y="2041"/>
                </a:lnTo>
                <a:lnTo>
                  <a:pt x="3418" y="2041"/>
                </a:lnTo>
                <a:lnTo>
                  <a:pt x="3433" y="2048"/>
                </a:lnTo>
                <a:lnTo>
                  <a:pt x="3449" y="2058"/>
                </a:lnTo>
                <a:lnTo>
                  <a:pt x="3470" y="2041"/>
                </a:lnTo>
                <a:lnTo>
                  <a:pt x="3494" y="2041"/>
                </a:lnTo>
                <a:lnTo>
                  <a:pt x="3504" y="2041"/>
                </a:lnTo>
                <a:lnTo>
                  <a:pt x="3470" y="2058"/>
                </a:lnTo>
                <a:lnTo>
                  <a:pt x="3494" y="2048"/>
                </a:lnTo>
                <a:lnTo>
                  <a:pt x="3525" y="2058"/>
                </a:lnTo>
                <a:lnTo>
                  <a:pt x="3525" y="2048"/>
                </a:lnTo>
                <a:lnTo>
                  <a:pt x="3558" y="2065"/>
                </a:lnTo>
                <a:lnTo>
                  <a:pt x="3525" y="2065"/>
                </a:lnTo>
                <a:lnTo>
                  <a:pt x="3541" y="2065"/>
                </a:lnTo>
                <a:lnTo>
                  <a:pt x="3525" y="2070"/>
                </a:lnTo>
                <a:lnTo>
                  <a:pt x="3515" y="2086"/>
                </a:lnTo>
                <a:lnTo>
                  <a:pt x="3478" y="2070"/>
                </a:lnTo>
                <a:lnTo>
                  <a:pt x="3532" y="2115"/>
                </a:lnTo>
                <a:lnTo>
                  <a:pt x="3532" y="2124"/>
                </a:lnTo>
                <a:lnTo>
                  <a:pt x="3546" y="2136"/>
                </a:lnTo>
                <a:lnTo>
                  <a:pt x="3541" y="2152"/>
                </a:lnTo>
                <a:lnTo>
                  <a:pt x="3541" y="2181"/>
                </a:lnTo>
                <a:lnTo>
                  <a:pt x="3532" y="2192"/>
                </a:lnTo>
                <a:lnTo>
                  <a:pt x="3558" y="2197"/>
                </a:lnTo>
                <a:lnTo>
                  <a:pt x="3546" y="2209"/>
                </a:lnTo>
                <a:lnTo>
                  <a:pt x="3558" y="2214"/>
                </a:lnTo>
                <a:lnTo>
                  <a:pt x="3570" y="2214"/>
                </a:lnTo>
                <a:lnTo>
                  <a:pt x="3584" y="2192"/>
                </a:lnTo>
                <a:lnTo>
                  <a:pt x="3579" y="2169"/>
                </a:lnTo>
                <a:lnTo>
                  <a:pt x="3596" y="2157"/>
                </a:lnTo>
                <a:lnTo>
                  <a:pt x="3596" y="2119"/>
                </a:lnTo>
                <a:lnTo>
                  <a:pt x="3622" y="2086"/>
                </a:lnTo>
                <a:lnTo>
                  <a:pt x="3650" y="2086"/>
                </a:lnTo>
                <a:lnTo>
                  <a:pt x="3721" y="2140"/>
                </a:lnTo>
                <a:lnTo>
                  <a:pt x="3730" y="2209"/>
                </a:lnTo>
                <a:lnTo>
                  <a:pt x="3726" y="2226"/>
                </a:lnTo>
                <a:lnTo>
                  <a:pt x="3704" y="2197"/>
                </a:lnTo>
                <a:lnTo>
                  <a:pt x="3688" y="2209"/>
                </a:lnTo>
                <a:lnTo>
                  <a:pt x="3693" y="2230"/>
                </a:lnTo>
                <a:lnTo>
                  <a:pt x="3693" y="2252"/>
                </a:lnTo>
                <a:lnTo>
                  <a:pt x="3709" y="2285"/>
                </a:lnTo>
                <a:lnTo>
                  <a:pt x="3763" y="2337"/>
                </a:lnTo>
                <a:lnTo>
                  <a:pt x="3747" y="2358"/>
                </a:lnTo>
                <a:lnTo>
                  <a:pt x="3785" y="2341"/>
                </a:lnTo>
                <a:lnTo>
                  <a:pt x="3780" y="2325"/>
                </a:lnTo>
                <a:lnTo>
                  <a:pt x="3796" y="2320"/>
                </a:lnTo>
                <a:lnTo>
                  <a:pt x="3818" y="2325"/>
                </a:lnTo>
                <a:lnTo>
                  <a:pt x="3827" y="2292"/>
                </a:lnTo>
                <a:lnTo>
                  <a:pt x="3818" y="2285"/>
                </a:lnTo>
                <a:lnTo>
                  <a:pt x="3865" y="2235"/>
                </a:lnTo>
                <a:lnTo>
                  <a:pt x="3872" y="2209"/>
                </a:lnTo>
                <a:lnTo>
                  <a:pt x="3881" y="2192"/>
                </a:lnTo>
                <a:lnTo>
                  <a:pt x="3881" y="2152"/>
                </a:lnTo>
                <a:lnTo>
                  <a:pt x="3893" y="2152"/>
                </a:lnTo>
                <a:lnTo>
                  <a:pt x="3941" y="2152"/>
                </a:lnTo>
                <a:lnTo>
                  <a:pt x="3941" y="2140"/>
                </a:lnTo>
                <a:lnTo>
                  <a:pt x="3910" y="2136"/>
                </a:lnTo>
                <a:lnTo>
                  <a:pt x="3924" y="2136"/>
                </a:lnTo>
                <a:lnTo>
                  <a:pt x="3919" y="2124"/>
                </a:lnTo>
                <a:lnTo>
                  <a:pt x="3941" y="2124"/>
                </a:lnTo>
                <a:lnTo>
                  <a:pt x="3936" y="2119"/>
                </a:lnTo>
                <a:lnTo>
                  <a:pt x="3962" y="2119"/>
                </a:lnTo>
                <a:lnTo>
                  <a:pt x="3919" y="2103"/>
                </a:lnTo>
                <a:lnTo>
                  <a:pt x="3924" y="2098"/>
                </a:lnTo>
                <a:lnTo>
                  <a:pt x="3903" y="2103"/>
                </a:lnTo>
                <a:lnTo>
                  <a:pt x="3910" y="2098"/>
                </a:lnTo>
                <a:lnTo>
                  <a:pt x="3893" y="2086"/>
                </a:lnTo>
                <a:lnTo>
                  <a:pt x="3893" y="2070"/>
                </a:lnTo>
                <a:lnTo>
                  <a:pt x="3903" y="2065"/>
                </a:lnTo>
                <a:lnTo>
                  <a:pt x="3886" y="2065"/>
                </a:lnTo>
                <a:lnTo>
                  <a:pt x="3893" y="2025"/>
                </a:lnTo>
                <a:lnTo>
                  <a:pt x="3903" y="2025"/>
                </a:lnTo>
                <a:lnTo>
                  <a:pt x="3886" y="2008"/>
                </a:lnTo>
                <a:lnTo>
                  <a:pt x="3924" y="2025"/>
                </a:lnTo>
                <a:lnTo>
                  <a:pt x="3974" y="2008"/>
                </a:lnTo>
                <a:lnTo>
                  <a:pt x="4016" y="2029"/>
                </a:lnTo>
                <a:lnTo>
                  <a:pt x="4120" y="2041"/>
                </a:lnTo>
                <a:lnTo>
                  <a:pt x="4096" y="2041"/>
                </a:lnTo>
                <a:lnTo>
                  <a:pt x="4104" y="2058"/>
                </a:lnTo>
                <a:lnTo>
                  <a:pt x="4049" y="2048"/>
                </a:lnTo>
                <a:lnTo>
                  <a:pt x="4120" y="2070"/>
                </a:lnTo>
                <a:lnTo>
                  <a:pt x="4120" y="2086"/>
                </a:lnTo>
                <a:lnTo>
                  <a:pt x="4158" y="2086"/>
                </a:lnTo>
                <a:lnTo>
                  <a:pt x="4189" y="2098"/>
                </a:lnTo>
                <a:lnTo>
                  <a:pt x="4189" y="2103"/>
                </a:lnTo>
                <a:lnTo>
                  <a:pt x="4163" y="2119"/>
                </a:lnTo>
                <a:lnTo>
                  <a:pt x="4134" y="2136"/>
                </a:lnTo>
                <a:lnTo>
                  <a:pt x="4179" y="2136"/>
                </a:lnTo>
                <a:lnTo>
                  <a:pt x="4189" y="2152"/>
                </a:lnTo>
                <a:lnTo>
                  <a:pt x="4189" y="2169"/>
                </a:lnTo>
                <a:lnTo>
                  <a:pt x="4141" y="2192"/>
                </a:lnTo>
                <a:lnTo>
                  <a:pt x="4120" y="2181"/>
                </a:lnTo>
                <a:lnTo>
                  <a:pt x="4125" y="2181"/>
                </a:lnTo>
                <a:lnTo>
                  <a:pt x="4120" y="2192"/>
                </a:lnTo>
                <a:lnTo>
                  <a:pt x="4096" y="2181"/>
                </a:lnTo>
                <a:lnTo>
                  <a:pt x="4108" y="2209"/>
                </a:lnTo>
                <a:lnTo>
                  <a:pt x="4104" y="2209"/>
                </a:lnTo>
                <a:lnTo>
                  <a:pt x="4120" y="2209"/>
                </a:lnTo>
                <a:lnTo>
                  <a:pt x="4108" y="2226"/>
                </a:lnTo>
                <a:lnTo>
                  <a:pt x="4125" y="2230"/>
                </a:lnTo>
                <a:lnTo>
                  <a:pt x="4141" y="2226"/>
                </a:lnTo>
                <a:lnTo>
                  <a:pt x="4125" y="2247"/>
                </a:lnTo>
                <a:lnTo>
                  <a:pt x="4134" y="2252"/>
                </a:lnTo>
                <a:lnTo>
                  <a:pt x="4189" y="2308"/>
                </a:lnTo>
                <a:lnTo>
                  <a:pt x="4172" y="2363"/>
                </a:lnTo>
                <a:lnTo>
                  <a:pt x="4141" y="2374"/>
                </a:lnTo>
                <a:lnTo>
                  <a:pt x="4096" y="2419"/>
                </a:lnTo>
                <a:lnTo>
                  <a:pt x="4066" y="2419"/>
                </a:lnTo>
                <a:lnTo>
                  <a:pt x="4033" y="2448"/>
                </a:lnTo>
                <a:lnTo>
                  <a:pt x="4028" y="2436"/>
                </a:lnTo>
                <a:lnTo>
                  <a:pt x="4033" y="2448"/>
                </a:lnTo>
                <a:lnTo>
                  <a:pt x="4016" y="2429"/>
                </a:lnTo>
                <a:lnTo>
                  <a:pt x="4000" y="2419"/>
                </a:lnTo>
                <a:lnTo>
                  <a:pt x="3995" y="2403"/>
                </a:lnTo>
                <a:lnTo>
                  <a:pt x="4000" y="2391"/>
                </a:lnTo>
                <a:lnTo>
                  <a:pt x="4000" y="2379"/>
                </a:lnTo>
                <a:lnTo>
                  <a:pt x="3990" y="2403"/>
                </a:lnTo>
                <a:lnTo>
                  <a:pt x="3978" y="2403"/>
                </a:lnTo>
                <a:lnTo>
                  <a:pt x="3962" y="2391"/>
                </a:lnTo>
                <a:lnTo>
                  <a:pt x="3974" y="2374"/>
                </a:lnTo>
                <a:lnTo>
                  <a:pt x="3936" y="2358"/>
                </a:lnTo>
                <a:lnTo>
                  <a:pt x="3936" y="2374"/>
                </a:lnTo>
                <a:lnTo>
                  <a:pt x="3957" y="2374"/>
                </a:lnTo>
                <a:lnTo>
                  <a:pt x="3924" y="2374"/>
                </a:lnTo>
                <a:lnTo>
                  <a:pt x="3910" y="2379"/>
                </a:lnTo>
                <a:lnTo>
                  <a:pt x="3957" y="2374"/>
                </a:lnTo>
                <a:lnTo>
                  <a:pt x="3945" y="2379"/>
                </a:lnTo>
                <a:lnTo>
                  <a:pt x="3962" y="2391"/>
                </a:lnTo>
                <a:lnTo>
                  <a:pt x="3945" y="2391"/>
                </a:lnTo>
                <a:lnTo>
                  <a:pt x="3962" y="2396"/>
                </a:lnTo>
                <a:lnTo>
                  <a:pt x="3962" y="2403"/>
                </a:lnTo>
                <a:lnTo>
                  <a:pt x="3990" y="2403"/>
                </a:lnTo>
                <a:lnTo>
                  <a:pt x="3990" y="2412"/>
                </a:lnTo>
                <a:lnTo>
                  <a:pt x="4016" y="2469"/>
                </a:lnTo>
                <a:lnTo>
                  <a:pt x="4011" y="2469"/>
                </a:lnTo>
                <a:lnTo>
                  <a:pt x="3962" y="2436"/>
                </a:lnTo>
                <a:lnTo>
                  <a:pt x="3957" y="2452"/>
                </a:lnTo>
                <a:lnTo>
                  <a:pt x="3974" y="2469"/>
                </a:lnTo>
                <a:lnTo>
                  <a:pt x="3910" y="2457"/>
                </a:lnTo>
                <a:lnTo>
                  <a:pt x="3893" y="2419"/>
                </a:lnTo>
                <a:lnTo>
                  <a:pt x="3872" y="2429"/>
                </a:lnTo>
                <a:lnTo>
                  <a:pt x="3801" y="2429"/>
                </a:lnTo>
                <a:lnTo>
                  <a:pt x="3811" y="2436"/>
                </a:lnTo>
                <a:lnTo>
                  <a:pt x="3801" y="2436"/>
                </a:lnTo>
                <a:lnTo>
                  <a:pt x="3811" y="2452"/>
                </a:lnTo>
                <a:lnTo>
                  <a:pt x="3865" y="2469"/>
                </a:lnTo>
                <a:lnTo>
                  <a:pt x="3855" y="2485"/>
                </a:lnTo>
                <a:lnTo>
                  <a:pt x="3827" y="2502"/>
                </a:lnTo>
                <a:lnTo>
                  <a:pt x="3818" y="2523"/>
                </a:lnTo>
                <a:lnTo>
                  <a:pt x="3763" y="2568"/>
                </a:lnTo>
                <a:lnTo>
                  <a:pt x="3721" y="2563"/>
                </a:lnTo>
                <a:lnTo>
                  <a:pt x="3655" y="2530"/>
                </a:lnTo>
                <a:lnTo>
                  <a:pt x="3676" y="2530"/>
                </a:lnTo>
                <a:lnTo>
                  <a:pt x="3650" y="2523"/>
                </a:lnTo>
                <a:lnTo>
                  <a:pt x="3600" y="2490"/>
                </a:lnTo>
                <a:lnTo>
                  <a:pt x="3579" y="2490"/>
                </a:lnTo>
                <a:lnTo>
                  <a:pt x="3596" y="2502"/>
                </a:lnTo>
                <a:lnTo>
                  <a:pt x="3596" y="2507"/>
                </a:lnTo>
                <a:lnTo>
                  <a:pt x="3546" y="2502"/>
                </a:lnTo>
                <a:lnTo>
                  <a:pt x="3563" y="2502"/>
                </a:lnTo>
                <a:lnTo>
                  <a:pt x="3478" y="2490"/>
                </a:lnTo>
                <a:lnTo>
                  <a:pt x="3508" y="2507"/>
                </a:lnTo>
                <a:lnTo>
                  <a:pt x="3504" y="2502"/>
                </a:lnTo>
                <a:lnTo>
                  <a:pt x="3579" y="2514"/>
                </a:lnTo>
                <a:lnTo>
                  <a:pt x="3638" y="2568"/>
                </a:lnTo>
                <a:lnTo>
                  <a:pt x="3763" y="2568"/>
                </a:lnTo>
                <a:lnTo>
                  <a:pt x="3796" y="2585"/>
                </a:lnTo>
                <a:lnTo>
                  <a:pt x="3747" y="2658"/>
                </a:lnTo>
                <a:lnTo>
                  <a:pt x="3730" y="2667"/>
                </a:lnTo>
                <a:lnTo>
                  <a:pt x="3721" y="2696"/>
                </a:lnTo>
                <a:lnTo>
                  <a:pt x="3709" y="2707"/>
                </a:lnTo>
                <a:lnTo>
                  <a:pt x="3667" y="2729"/>
                </a:lnTo>
                <a:lnTo>
                  <a:pt x="3638" y="2724"/>
                </a:lnTo>
                <a:lnTo>
                  <a:pt x="3633" y="2707"/>
                </a:lnTo>
                <a:lnTo>
                  <a:pt x="3650" y="2729"/>
                </a:lnTo>
                <a:lnTo>
                  <a:pt x="3612" y="2712"/>
                </a:lnTo>
                <a:lnTo>
                  <a:pt x="3612" y="2729"/>
                </a:lnTo>
                <a:lnTo>
                  <a:pt x="3584" y="2712"/>
                </a:lnTo>
                <a:lnTo>
                  <a:pt x="3596" y="2707"/>
                </a:lnTo>
                <a:lnTo>
                  <a:pt x="3596" y="2696"/>
                </a:lnTo>
                <a:lnTo>
                  <a:pt x="3584" y="2707"/>
                </a:lnTo>
                <a:lnTo>
                  <a:pt x="3570" y="2707"/>
                </a:lnTo>
                <a:lnTo>
                  <a:pt x="3579" y="2712"/>
                </a:lnTo>
                <a:lnTo>
                  <a:pt x="3584" y="2729"/>
                </a:lnTo>
                <a:lnTo>
                  <a:pt x="3558" y="2724"/>
                </a:lnTo>
                <a:lnTo>
                  <a:pt x="3579" y="2745"/>
                </a:lnTo>
                <a:lnTo>
                  <a:pt x="3563" y="2769"/>
                </a:lnTo>
                <a:lnTo>
                  <a:pt x="3532" y="2752"/>
                </a:lnTo>
                <a:lnTo>
                  <a:pt x="3525" y="2762"/>
                </a:lnTo>
                <a:lnTo>
                  <a:pt x="3532" y="2762"/>
                </a:lnTo>
                <a:lnTo>
                  <a:pt x="3541" y="2769"/>
                </a:lnTo>
                <a:lnTo>
                  <a:pt x="3508" y="2769"/>
                </a:lnTo>
                <a:lnTo>
                  <a:pt x="3470" y="2752"/>
                </a:lnTo>
                <a:lnTo>
                  <a:pt x="3423" y="2752"/>
                </a:lnTo>
                <a:lnTo>
                  <a:pt x="3343" y="2724"/>
                </a:lnTo>
                <a:lnTo>
                  <a:pt x="3310" y="2696"/>
                </a:lnTo>
                <a:lnTo>
                  <a:pt x="3326" y="2712"/>
                </a:lnTo>
                <a:lnTo>
                  <a:pt x="3315" y="2729"/>
                </a:lnTo>
                <a:lnTo>
                  <a:pt x="3331" y="2736"/>
                </a:lnTo>
                <a:lnTo>
                  <a:pt x="3352" y="2736"/>
                </a:lnTo>
                <a:lnTo>
                  <a:pt x="3331" y="2729"/>
                </a:lnTo>
                <a:lnTo>
                  <a:pt x="3343" y="2729"/>
                </a:lnTo>
                <a:lnTo>
                  <a:pt x="3433" y="2752"/>
                </a:lnTo>
                <a:lnTo>
                  <a:pt x="3402" y="2778"/>
                </a:lnTo>
                <a:lnTo>
                  <a:pt x="3456" y="2752"/>
                </a:lnTo>
                <a:lnTo>
                  <a:pt x="3461" y="2769"/>
                </a:lnTo>
                <a:lnTo>
                  <a:pt x="3515" y="2790"/>
                </a:lnTo>
                <a:lnTo>
                  <a:pt x="3508" y="2785"/>
                </a:lnTo>
                <a:lnTo>
                  <a:pt x="3525" y="2790"/>
                </a:lnTo>
                <a:lnTo>
                  <a:pt x="3532" y="2835"/>
                </a:lnTo>
                <a:lnTo>
                  <a:pt x="3525" y="2840"/>
                </a:lnTo>
                <a:lnTo>
                  <a:pt x="3504" y="2840"/>
                </a:lnTo>
                <a:lnTo>
                  <a:pt x="3478" y="2856"/>
                </a:lnTo>
                <a:lnTo>
                  <a:pt x="3407" y="2856"/>
                </a:lnTo>
                <a:lnTo>
                  <a:pt x="3418" y="2873"/>
                </a:lnTo>
                <a:lnTo>
                  <a:pt x="3449" y="2880"/>
                </a:lnTo>
                <a:lnTo>
                  <a:pt x="3433" y="2889"/>
                </a:lnTo>
                <a:lnTo>
                  <a:pt x="3418" y="2880"/>
                </a:lnTo>
                <a:lnTo>
                  <a:pt x="3385" y="2896"/>
                </a:lnTo>
                <a:lnTo>
                  <a:pt x="3385" y="2913"/>
                </a:lnTo>
                <a:lnTo>
                  <a:pt x="3402" y="2934"/>
                </a:lnTo>
                <a:lnTo>
                  <a:pt x="3385" y="2918"/>
                </a:lnTo>
                <a:lnTo>
                  <a:pt x="3352" y="2913"/>
                </a:lnTo>
                <a:lnTo>
                  <a:pt x="3385" y="2929"/>
                </a:lnTo>
                <a:lnTo>
                  <a:pt x="3364" y="2929"/>
                </a:lnTo>
                <a:lnTo>
                  <a:pt x="3369" y="2934"/>
                </a:lnTo>
                <a:lnTo>
                  <a:pt x="3352" y="2946"/>
                </a:lnTo>
                <a:lnTo>
                  <a:pt x="3343" y="2946"/>
                </a:lnTo>
                <a:lnTo>
                  <a:pt x="3352" y="2951"/>
                </a:lnTo>
                <a:lnTo>
                  <a:pt x="3348" y="2955"/>
                </a:lnTo>
                <a:lnTo>
                  <a:pt x="3326" y="2951"/>
                </a:lnTo>
                <a:lnTo>
                  <a:pt x="3326" y="2967"/>
                </a:lnTo>
                <a:lnTo>
                  <a:pt x="3348" y="2974"/>
                </a:lnTo>
                <a:lnTo>
                  <a:pt x="3298" y="3007"/>
                </a:lnTo>
                <a:lnTo>
                  <a:pt x="3310" y="3024"/>
                </a:lnTo>
                <a:lnTo>
                  <a:pt x="3272" y="3078"/>
                </a:lnTo>
                <a:lnTo>
                  <a:pt x="3260" y="3111"/>
                </a:lnTo>
                <a:lnTo>
                  <a:pt x="3244" y="3111"/>
                </a:lnTo>
                <a:lnTo>
                  <a:pt x="3256" y="3123"/>
                </a:lnTo>
                <a:lnTo>
                  <a:pt x="3239" y="3173"/>
                </a:lnTo>
                <a:lnTo>
                  <a:pt x="3239" y="3206"/>
                </a:lnTo>
                <a:lnTo>
                  <a:pt x="3244" y="3234"/>
                </a:lnTo>
                <a:lnTo>
                  <a:pt x="3239" y="3246"/>
                </a:lnTo>
                <a:lnTo>
                  <a:pt x="3239" y="3263"/>
                </a:lnTo>
                <a:lnTo>
                  <a:pt x="3260" y="3300"/>
                </a:lnTo>
                <a:lnTo>
                  <a:pt x="3277" y="3300"/>
                </a:lnTo>
                <a:lnTo>
                  <a:pt x="3272" y="3355"/>
                </a:lnTo>
                <a:lnTo>
                  <a:pt x="3277" y="3338"/>
                </a:lnTo>
                <a:lnTo>
                  <a:pt x="3277" y="3317"/>
                </a:lnTo>
                <a:lnTo>
                  <a:pt x="3289" y="3300"/>
                </a:lnTo>
                <a:lnTo>
                  <a:pt x="3352" y="3300"/>
                </a:lnTo>
                <a:lnTo>
                  <a:pt x="3407" y="3449"/>
                </a:lnTo>
                <a:lnTo>
                  <a:pt x="3395" y="3473"/>
                </a:lnTo>
                <a:lnTo>
                  <a:pt x="3381" y="3489"/>
                </a:lnTo>
                <a:lnTo>
                  <a:pt x="3407" y="3473"/>
                </a:lnTo>
                <a:lnTo>
                  <a:pt x="3423" y="3473"/>
                </a:lnTo>
                <a:lnTo>
                  <a:pt x="3402" y="3489"/>
                </a:lnTo>
                <a:lnTo>
                  <a:pt x="3508" y="3461"/>
                </a:lnTo>
                <a:lnTo>
                  <a:pt x="3667" y="3499"/>
                </a:lnTo>
                <a:lnTo>
                  <a:pt x="3721" y="3539"/>
                </a:lnTo>
                <a:lnTo>
                  <a:pt x="3742" y="3572"/>
                </a:lnTo>
                <a:lnTo>
                  <a:pt x="3763" y="3584"/>
                </a:lnTo>
                <a:lnTo>
                  <a:pt x="3881" y="3626"/>
                </a:lnTo>
                <a:lnTo>
                  <a:pt x="3903" y="3650"/>
                </a:lnTo>
                <a:lnTo>
                  <a:pt x="3919" y="3650"/>
                </a:lnTo>
                <a:lnTo>
                  <a:pt x="3893" y="3688"/>
                </a:lnTo>
                <a:lnTo>
                  <a:pt x="3910" y="3666"/>
                </a:lnTo>
                <a:lnTo>
                  <a:pt x="3924" y="3655"/>
                </a:lnTo>
                <a:lnTo>
                  <a:pt x="3957" y="3666"/>
                </a:lnTo>
                <a:lnTo>
                  <a:pt x="4000" y="3655"/>
                </a:lnTo>
                <a:lnTo>
                  <a:pt x="4028" y="3671"/>
                </a:lnTo>
                <a:lnTo>
                  <a:pt x="4016" y="3655"/>
                </a:lnTo>
                <a:lnTo>
                  <a:pt x="4070" y="3666"/>
                </a:lnTo>
                <a:lnTo>
                  <a:pt x="4108" y="3683"/>
                </a:lnTo>
                <a:lnTo>
                  <a:pt x="4120" y="3671"/>
                </a:lnTo>
                <a:lnTo>
                  <a:pt x="4125" y="3704"/>
                </a:lnTo>
                <a:lnTo>
                  <a:pt x="4108" y="3749"/>
                </a:lnTo>
                <a:lnTo>
                  <a:pt x="4108" y="3766"/>
                </a:lnTo>
                <a:lnTo>
                  <a:pt x="4120" y="3777"/>
                </a:lnTo>
                <a:lnTo>
                  <a:pt x="4125" y="3806"/>
                </a:lnTo>
                <a:lnTo>
                  <a:pt x="4125" y="3822"/>
                </a:lnTo>
                <a:lnTo>
                  <a:pt x="4125" y="3855"/>
                </a:lnTo>
                <a:lnTo>
                  <a:pt x="4120" y="3872"/>
                </a:lnTo>
                <a:lnTo>
                  <a:pt x="4120" y="3877"/>
                </a:lnTo>
                <a:lnTo>
                  <a:pt x="4172" y="3943"/>
                </a:lnTo>
                <a:lnTo>
                  <a:pt x="4172" y="3950"/>
                </a:lnTo>
                <a:lnTo>
                  <a:pt x="4151" y="3966"/>
                </a:lnTo>
                <a:lnTo>
                  <a:pt x="4172" y="3959"/>
                </a:lnTo>
                <a:lnTo>
                  <a:pt x="4179" y="3971"/>
                </a:lnTo>
                <a:lnTo>
                  <a:pt x="4210" y="3983"/>
                </a:lnTo>
                <a:lnTo>
                  <a:pt x="4233" y="4016"/>
                </a:lnTo>
                <a:lnTo>
                  <a:pt x="4248" y="4044"/>
                </a:lnTo>
                <a:lnTo>
                  <a:pt x="4205" y="4077"/>
                </a:lnTo>
                <a:lnTo>
                  <a:pt x="4248" y="4044"/>
                </a:lnTo>
                <a:lnTo>
                  <a:pt x="4271" y="4044"/>
                </a:lnTo>
                <a:lnTo>
                  <a:pt x="4297" y="4061"/>
                </a:lnTo>
                <a:lnTo>
                  <a:pt x="4323" y="4099"/>
                </a:lnTo>
                <a:lnTo>
                  <a:pt x="4297" y="4061"/>
                </a:lnTo>
                <a:lnTo>
                  <a:pt x="4302" y="4037"/>
                </a:lnTo>
                <a:lnTo>
                  <a:pt x="4323" y="4016"/>
                </a:lnTo>
                <a:lnTo>
                  <a:pt x="4335" y="4016"/>
                </a:lnTo>
                <a:lnTo>
                  <a:pt x="4323" y="4025"/>
                </a:lnTo>
                <a:lnTo>
                  <a:pt x="4352" y="4025"/>
                </a:lnTo>
                <a:lnTo>
                  <a:pt x="4352" y="4054"/>
                </a:lnTo>
                <a:lnTo>
                  <a:pt x="4356" y="4061"/>
                </a:lnTo>
                <a:lnTo>
                  <a:pt x="4356" y="4054"/>
                </a:lnTo>
                <a:lnTo>
                  <a:pt x="4368" y="4025"/>
                </a:lnTo>
                <a:lnTo>
                  <a:pt x="4368" y="4021"/>
                </a:lnTo>
                <a:lnTo>
                  <a:pt x="4340" y="4004"/>
                </a:lnTo>
                <a:lnTo>
                  <a:pt x="4356" y="4000"/>
                </a:lnTo>
                <a:lnTo>
                  <a:pt x="4356" y="3988"/>
                </a:lnTo>
                <a:lnTo>
                  <a:pt x="4378" y="3971"/>
                </a:lnTo>
                <a:lnTo>
                  <a:pt x="4378" y="3933"/>
                </a:lnTo>
                <a:lnTo>
                  <a:pt x="4368" y="3926"/>
                </a:lnTo>
                <a:lnTo>
                  <a:pt x="4373" y="3926"/>
                </a:lnTo>
                <a:lnTo>
                  <a:pt x="4368" y="3905"/>
                </a:lnTo>
                <a:lnTo>
                  <a:pt x="4368" y="3893"/>
                </a:lnTo>
                <a:lnTo>
                  <a:pt x="4356" y="3893"/>
                </a:lnTo>
                <a:lnTo>
                  <a:pt x="4356" y="3855"/>
                </a:lnTo>
                <a:lnTo>
                  <a:pt x="4340" y="3832"/>
                </a:lnTo>
                <a:lnTo>
                  <a:pt x="4356" y="3832"/>
                </a:lnTo>
                <a:lnTo>
                  <a:pt x="4335" y="3815"/>
                </a:lnTo>
                <a:lnTo>
                  <a:pt x="4340" y="3799"/>
                </a:lnTo>
                <a:lnTo>
                  <a:pt x="4356" y="3806"/>
                </a:lnTo>
                <a:lnTo>
                  <a:pt x="4340" y="3794"/>
                </a:lnTo>
                <a:lnTo>
                  <a:pt x="4340" y="3782"/>
                </a:lnTo>
                <a:lnTo>
                  <a:pt x="4352" y="3782"/>
                </a:lnTo>
                <a:lnTo>
                  <a:pt x="4340" y="3777"/>
                </a:lnTo>
                <a:lnTo>
                  <a:pt x="4340" y="3766"/>
                </a:lnTo>
                <a:lnTo>
                  <a:pt x="4323" y="3766"/>
                </a:lnTo>
                <a:lnTo>
                  <a:pt x="4314" y="3728"/>
                </a:lnTo>
                <a:lnTo>
                  <a:pt x="4297" y="3721"/>
                </a:lnTo>
                <a:lnTo>
                  <a:pt x="4394" y="3683"/>
                </a:lnTo>
                <a:lnTo>
                  <a:pt x="4432" y="3655"/>
                </a:lnTo>
                <a:lnTo>
                  <a:pt x="4474" y="3626"/>
                </a:lnTo>
                <a:lnTo>
                  <a:pt x="4512" y="3584"/>
                </a:lnTo>
                <a:lnTo>
                  <a:pt x="4519" y="3544"/>
                </a:lnTo>
                <a:lnTo>
                  <a:pt x="4519" y="3473"/>
                </a:lnTo>
                <a:lnTo>
                  <a:pt x="4498" y="3407"/>
                </a:lnTo>
                <a:lnTo>
                  <a:pt x="4460" y="3355"/>
                </a:lnTo>
                <a:lnTo>
                  <a:pt x="4422" y="3338"/>
                </a:lnTo>
                <a:lnTo>
                  <a:pt x="4389" y="3317"/>
                </a:lnTo>
                <a:lnTo>
                  <a:pt x="4394" y="3322"/>
                </a:lnTo>
                <a:lnTo>
                  <a:pt x="4378" y="3317"/>
                </a:lnTo>
                <a:lnTo>
                  <a:pt x="4389" y="3305"/>
                </a:lnTo>
                <a:lnTo>
                  <a:pt x="4378" y="3279"/>
                </a:lnTo>
                <a:lnTo>
                  <a:pt x="4394" y="3284"/>
                </a:lnTo>
                <a:lnTo>
                  <a:pt x="4411" y="3251"/>
                </a:lnTo>
                <a:lnTo>
                  <a:pt x="4444" y="3227"/>
                </a:lnTo>
                <a:lnTo>
                  <a:pt x="4427" y="3227"/>
                </a:lnTo>
                <a:lnTo>
                  <a:pt x="4432" y="3211"/>
                </a:lnTo>
                <a:lnTo>
                  <a:pt x="4432" y="3194"/>
                </a:lnTo>
                <a:lnTo>
                  <a:pt x="4465" y="3211"/>
                </a:lnTo>
                <a:lnTo>
                  <a:pt x="4448" y="3194"/>
                </a:lnTo>
                <a:lnTo>
                  <a:pt x="4465" y="3189"/>
                </a:lnTo>
                <a:lnTo>
                  <a:pt x="4460" y="3173"/>
                </a:lnTo>
                <a:lnTo>
                  <a:pt x="4503" y="3151"/>
                </a:lnTo>
                <a:lnTo>
                  <a:pt x="4474" y="3151"/>
                </a:lnTo>
                <a:lnTo>
                  <a:pt x="4465" y="3168"/>
                </a:lnTo>
                <a:lnTo>
                  <a:pt x="4448" y="3156"/>
                </a:lnTo>
                <a:lnTo>
                  <a:pt x="4460" y="3140"/>
                </a:lnTo>
                <a:lnTo>
                  <a:pt x="4432" y="3123"/>
                </a:lnTo>
                <a:lnTo>
                  <a:pt x="4460" y="3111"/>
                </a:lnTo>
                <a:lnTo>
                  <a:pt x="4427" y="3095"/>
                </a:lnTo>
                <a:lnTo>
                  <a:pt x="4448" y="3078"/>
                </a:lnTo>
                <a:lnTo>
                  <a:pt x="4406" y="3078"/>
                </a:lnTo>
                <a:lnTo>
                  <a:pt x="4444" y="3029"/>
                </a:lnTo>
                <a:lnTo>
                  <a:pt x="4432" y="3012"/>
                </a:lnTo>
                <a:lnTo>
                  <a:pt x="4448" y="3007"/>
                </a:lnTo>
                <a:lnTo>
                  <a:pt x="4448" y="3000"/>
                </a:lnTo>
                <a:lnTo>
                  <a:pt x="4460" y="3000"/>
                </a:lnTo>
                <a:lnTo>
                  <a:pt x="4422" y="2974"/>
                </a:lnTo>
                <a:lnTo>
                  <a:pt x="4406" y="2929"/>
                </a:lnTo>
                <a:lnTo>
                  <a:pt x="4422" y="2901"/>
                </a:lnTo>
                <a:lnTo>
                  <a:pt x="4448" y="2889"/>
                </a:lnTo>
                <a:lnTo>
                  <a:pt x="4498" y="2889"/>
                </a:lnTo>
                <a:lnTo>
                  <a:pt x="4583" y="2913"/>
                </a:lnTo>
                <a:lnTo>
                  <a:pt x="4567" y="2929"/>
                </a:lnTo>
                <a:lnTo>
                  <a:pt x="4604" y="2913"/>
                </a:lnTo>
                <a:lnTo>
                  <a:pt x="4659" y="2934"/>
                </a:lnTo>
                <a:lnTo>
                  <a:pt x="4642" y="2929"/>
                </a:lnTo>
                <a:lnTo>
                  <a:pt x="4718" y="2896"/>
                </a:lnTo>
                <a:lnTo>
                  <a:pt x="4772" y="2934"/>
                </a:lnTo>
                <a:lnTo>
                  <a:pt x="4798" y="2934"/>
                </a:lnTo>
                <a:lnTo>
                  <a:pt x="4798" y="2951"/>
                </a:lnTo>
                <a:lnTo>
                  <a:pt x="4789" y="2967"/>
                </a:lnTo>
                <a:lnTo>
                  <a:pt x="4798" y="2967"/>
                </a:lnTo>
                <a:lnTo>
                  <a:pt x="4798" y="2955"/>
                </a:lnTo>
                <a:lnTo>
                  <a:pt x="4822" y="2955"/>
                </a:lnTo>
                <a:lnTo>
                  <a:pt x="4836" y="2984"/>
                </a:lnTo>
                <a:lnTo>
                  <a:pt x="4822" y="3000"/>
                </a:lnTo>
                <a:lnTo>
                  <a:pt x="4843" y="2991"/>
                </a:lnTo>
                <a:lnTo>
                  <a:pt x="4843" y="2984"/>
                </a:lnTo>
                <a:lnTo>
                  <a:pt x="4864" y="2991"/>
                </a:lnTo>
                <a:lnTo>
                  <a:pt x="4874" y="3000"/>
                </a:lnTo>
                <a:lnTo>
                  <a:pt x="4843" y="3012"/>
                </a:lnTo>
                <a:lnTo>
                  <a:pt x="4859" y="3012"/>
                </a:lnTo>
                <a:lnTo>
                  <a:pt x="4881" y="3045"/>
                </a:lnTo>
                <a:lnTo>
                  <a:pt x="4944" y="3057"/>
                </a:lnTo>
                <a:lnTo>
                  <a:pt x="4966" y="3045"/>
                </a:lnTo>
                <a:lnTo>
                  <a:pt x="4973" y="3066"/>
                </a:lnTo>
                <a:lnTo>
                  <a:pt x="4982" y="3078"/>
                </a:lnTo>
                <a:lnTo>
                  <a:pt x="4999" y="3066"/>
                </a:lnTo>
                <a:lnTo>
                  <a:pt x="5004" y="3066"/>
                </a:lnTo>
                <a:lnTo>
                  <a:pt x="5004" y="3057"/>
                </a:lnTo>
                <a:lnTo>
                  <a:pt x="5015" y="3045"/>
                </a:lnTo>
                <a:lnTo>
                  <a:pt x="5020" y="3078"/>
                </a:lnTo>
                <a:lnTo>
                  <a:pt x="4999" y="3095"/>
                </a:lnTo>
                <a:lnTo>
                  <a:pt x="5004" y="3100"/>
                </a:lnTo>
                <a:lnTo>
                  <a:pt x="4987" y="3111"/>
                </a:lnTo>
                <a:lnTo>
                  <a:pt x="4999" y="3123"/>
                </a:lnTo>
                <a:lnTo>
                  <a:pt x="4999" y="3135"/>
                </a:lnTo>
                <a:lnTo>
                  <a:pt x="5004" y="3140"/>
                </a:lnTo>
                <a:lnTo>
                  <a:pt x="5004" y="3156"/>
                </a:lnTo>
                <a:lnTo>
                  <a:pt x="4944" y="3168"/>
                </a:lnTo>
                <a:lnTo>
                  <a:pt x="4911" y="3156"/>
                </a:lnTo>
                <a:lnTo>
                  <a:pt x="4935" y="3173"/>
                </a:lnTo>
                <a:lnTo>
                  <a:pt x="4999" y="3173"/>
                </a:lnTo>
                <a:lnTo>
                  <a:pt x="5004" y="3177"/>
                </a:lnTo>
                <a:lnTo>
                  <a:pt x="5015" y="3206"/>
                </a:lnTo>
                <a:lnTo>
                  <a:pt x="4999" y="3222"/>
                </a:lnTo>
                <a:lnTo>
                  <a:pt x="5004" y="3234"/>
                </a:lnTo>
                <a:lnTo>
                  <a:pt x="4999" y="3234"/>
                </a:lnTo>
                <a:lnTo>
                  <a:pt x="5020" y="3234"/>
                </a:lnTo>
                <a:lnTo>
                  <a:pt x="5025" y="3234"/>
                </a:lnTo>
                <a:lnTo>
                  <a:pt x="5037" y="3251"/>
                </a:lnTo>
                <a:lnTo>
                  <a:pt x="5015" y="3251"/>
                </a:lnTo>
                <a:lnTo>
                  <a:pt x="5015" y="3263"/>
                </a:lnTo>
                <a:lnTo>
                  <a:pt x="5025" y="3263"/>
                </a:lnTo>
                <a:lnTo>
                  <a:pt x="5015" y="3267"/>
                </a:lnTo>
                <a:lnTo>
                  <a:pt x="5020" y="3284"/>
                </a:lnTo>
                <a:lnTo>
                  <a:pt x="5015" y="3296"/>
                </a:lnTo>
                <a:lnTo>
                  <a:pt x="5004" y="3296"/>
                </a:lnTo>
                <a:lnTo>
                  <a:pt x="5004" y="3284"/>
                </a:lnTo>
                <a:lnTo>
                  <a:pt x="4987" y="3267"/>
                </a:lnTo>
                <a:lnTo>
                  <a:pt x="4987" y="3296"/>
                </a:lnTo>
                <a:lnTo>
                  <a:pt x="4966" y="3300"/>
                </a:lnTo>
                <a:lnTo>
                  <a:pt x="4982" y="3300"/>
                </a:lnTo>
                <a:lnTo>
                  <a:pt x="4987" y="3317"/>
                </a:lnTo>
                <a:lnTo>
                  <a:pt x="5025" y="3284"/>
                </a:lnTo>
                <a:lnTo>
                  <a:pt x="5070" y="3284"/>
                </a:lnTo>
                <a:lnTo>
                  <a:pt x="5096" y="3300"/>
                </a:lnTo>
                <a:lnTo>
                  <a:pt x="5107" y="3333"/>
                </a:lnTo>
                <a:lnTo>
                  <a:pt x="5096" y="3362"/>
                </a:lnTo>
                <a:lnTo>
                  <a:pt x="5020" y="3407"/>
                </a:lnTo>
                <a:lnTo>
                  <a:pt x="5091" y="3374"/>
                </a:lnTo>
                <a:lnTo>
                  <a:pt x="5107" y="3333"/>
                </a:lnTo>
                <a:lnTo>
                  <a:pt x="5124" y="3317"/>
                </a:lnTo>
                <a:lnTo>
                  <a:pt x="5129" y="3322"/>
                </a:lnTo>
                <a:lnTo>
                  <a:pt x="5129" y="3350"/>
                </a:lnTo>
                <a:lnTo>
                  <a:pt x="5112" y="3374"/>
                </a:lnTo>
                <a:lnTo>
                  <a:pt x="5138" y="3350"/>
                </a:lnTo>
                <a:lnTo>
                  <a:pt x="5129" y="3333"/>
                </a:lnTo>
                <a:lnTo>
                  <a:pt x="5138" y="3333"/>
                </a:lnTo>
                <a:lnTo>
                  <a:pt x="5145" y="3333"/>
                </a:lnTo>
                <a:lnTo>
                  <a:pt x="5138" y="3350"/>
                </a:lnTo>
                <a:lnTo>
                  <a:pt x="5145" y="3355"/>
                </a:lnTo>
                <a:lnTo>
                  <a:pt x="5138" y="3390"/>
                </a:lnTo>
                <a:lnTo>
                  <a:pt x="5150" y="3355"/>
                </a:lnTo>
                <a:lnTo>
                  <a:pt x="5183" y="3338"/>
                </a:lnTo>
                <a:lnTo>
                  <a:pt x="5192" y="3322"/>
                </a:lnTo>
                <a:lnTo>
                  <a:pt x="5214" y="3322"/>
                </a:lnTo>
                <a:lnTo>
                  <a:pt x="5221" y="3305"/>
                </a:lnTo>
                <a:lnTo>
                  <a:pt x="5230" y="3296"/>
                </a:lnTo>
                <a:lnTo>
                  <a:pt x="5268" y="3317"/>
                </a:lnTo>
                <a:lnTo>
                  <a:pt x="5252" y="3350"/>
                </a:lnTo>
                <a:lnTo>
                  <a:pt x="5268" y="3333"/>
                </a:lnTo>
                <a:lnTo>
                  <a:pt x="5259" y="3333"/>
                </a:lnTo>
                <a:lnTo>
                  <a:pt x="5268" y="3317"/>
                </a:lnTo>
                <a:lnTo>
                  <a:pt x="5252" y="3300"/>
                </a:lnTo>
                <a:lnTo>
                  <a:pt x="5259" y="3296"/>
                </a:lnTo>
                <a:lnTo>
                  <a:pt x="5275" y="3296"/>
                </a:lnTo>
                <a:lnTo>
                  <a:pt x="5259" y="3284"/>
                </a:lnTo>
                <a:lnTo>
                  <a:pt x="5275" y="3267"/>
                </a:lnTo>
                <a:lnTo>
                  <a:pt x="5306" y="3267"/>
                </a:lnTo>
                <a:lnTo>
                  <a:pt x="5285" y="3263"/>
                </a:lnTo>
                <a:lnTo>
                  <a:pt x="5275" y="3246"/>
                </a:lnTo>
                <a:lnTo>
                  <a:pt x="5289" y="3251"/>
                </a:lnTo>
                <a:lnTo>
                  <a:pt x="5289" y="3234"/>
                </a:lnTo>
                <a:lnTo>
                  <a:pt x="5306" y="3246"/>
                </a:lnTo>
                <a:lnTo>
                  <a:pt x="5289" y="3222"/>
                </a:lnTo>
                <a:lnTo>
                  <a:pt x="5327" y="3234"/>
                </a:lnTo>
                <a:lnTo>
                  <a:pt x="5301" y="3222"/>
                </a:lnTo>
                <a:lnTo>
                  <a:pt x="5289" y="3194"/>
                </a:lnTo>
                <a:lnTo>
                  <a:pt x="5306" y="3177"/>
                </a:lnTo>
                <a:lnTo>
                  <a:pt x="5327" y="3189"/>
                </a:lnTo>
                <a:lnTo>
                  <a:pt x="5313" y="3177"/>
                </a:lnTo>
                <a:lnTo>
                  <a:pt x="5339" y="3123"/>
                </a:lnTo>
                <a:lnTo>
                  <a:pt x="5365" y="3135"/>
                </a:lnTo>
                <a:lnTo>
                  <a:pt x="5344" y="3140"/>
                </a:lnTo>
                <a:lnTo>
                  <a:pt x="5365" y="3140"/>
                </a:lnTo>
                <a:lnTo>
                  <a:pt x="5377" y="3151"/>
                </a:lnTo>
                <a:lnTo>
                  <a:pt x="5365" y="3156"/>
                </a:lnTo>
                <a:lnTo>
                  <a:pt x="5344" y="3168"/>
                </a:lnTo>
                <a:lnTo>
                  <a:pt x="5377" y="3156"/>
                </a:lnTo>
                <a:lnTo>
                  <a:pt x="5377" y="3173"/>
                </a:lnTo>
                <a:lnTo>
                  <a:pt x="5365" y="3177"/>
                </a:lnTo>
                <a:lnTo>
                  <a:pt x="5377" y="3173"/>
                </a:lnTo>
                <a:lnTo>
                  <a:pt x="5377" y="3168"/>
                </a:lnTo>
                <a:lnTo>
                  <a:pt x="5393" y="3168"/>
                </a:lnTo>
                <a:lnTo>
                  <a:pt x="5393" y="3189"/>
                </a:lnTo>
                <a:lnTo>
                  <a:pt x="5381" y="3189"/>
                </a:lnTo>
                <a:lnTo>
                  <a:pt x="5398" y="3206"/>
                </a:lnTo>
                <a:lnTo>
                  <a:pt x="5393" y="3222"/>
                </a:lnTo>
                <a:lnTo>
                  <a:pt x="5398" y="3206"/>
                </a:lnTo>
                <a:lnTo>
                  <a:pt x="5419" y="3222"/>
                </a:lnTo>
                <a:lnTo>
                  <a:pt x="5415" y="3227"/>
                </a:lnTo>
                <a:lnTo>
                  <a:pt x="5398" y="3234"/>
                </a:lnTo>
                <a:lnTo>
                  <a:pt x="5415" y="3234"/>
                </a:lnTo>
                <a:lnTo>
                  <a:pt x="5415" y="3246"/>
                </a:lnTo>
                <a:lnTo>
                  <a:pt x="5431" y="3234"/>
                </a:lnTo>
                <a:lnTo>
                  <a:pt x="5448" y="3251"/>
                </a:lnTo>
                <a:lnTo>
                  <a:pt x="5431" y="3267"/>
                </a:lnTo>
                <a:lnTo>
                  <a:pt x="5398" y="3267"/>
                </a:lnTo>
                <a:lnTo>
                  <a:pt x="5462" y="3267"/>
                </a:lnTo>
                <a:lnTo>
                  <a:pt x="5448" y="3267"/>
                </a:lnTo>
                <a:lnTo>
                  <a:pt x="5462" y="3284"/>
                </a:lnTo>
                <a:lnTo>
                  <a:pt x="5448" y="3296"/>
                </a:lnTo>
                <a:lnTo>
                  <a:pt x="5469" y="3284"/>
                </a:lnTo>
                <a:lnTo>
                  <a:pt x="5485" y="3305"/>
                </a:lnTo>
                <a:lnTo>
                  <a:pt x="5431" y="3350"/>
                </a:lnTo>
                <a:lnTo>
                  <a:pt x="5452" y="3333"/>
                </a:lnTo>
                <a:lnTo>
                  <a:pt x="5500" y="3333"/>
                </a:lnTo>
                <a:lnTo>
                  <a:pt x="5500" y="3350"/>
                </a:lnTo>
                <a:lnTo>
                  <a:pt x="5485" y="3355"/>
                </a:lnTo>
                <a:lnTo>
                  <a:pt x="5500" y="3355"/>
                </a:lnTo>
                <a:lnTo>
                  <a:pt x="5474" y="3362"/>
                </a:lnTo>
                <a:lnTo>
                  <a:pt x="5448" y="3378"/>
                </a:lnTo>
                <a:lnTo>
                  <a:pt x="5462" y="3378"/>
                </a:lnTo>
                <a:lnTo>
                  <a:pt x="5474" y="3362"/>
                </a:lnTo>
                <a:lnTo>
                  <a:pt x="5507" y="3362"/>
                </a:lnTo>
                <a:lnTo>
                  <a:pt x="5507" y="3374"/>
                </a:lnTo>
                <a:lnTo>
                  <a:pt x="5516" y="3362"/>
                </a:lnTo>
                <a:lnTo>
                  <a:pt x="5523" y="3378"/>
                </a:lnTo>
                <a:lnTo>
                  <a:pt x="5490" y="3390"/>
                </a:lnTo>
                <a:lnTo>
                  <a:pt x="5528" y="3378"/>
                </a:lnTo>
                <a:lnTo>
                  <a:pt x="5537" y="3390"/>
                </a:lnTo>
                <a:lnTo>
                  <a:pt x="5528" y="3407"/>
                </a:lnTo>
                <a:lnTo>
                  <a:pt x="5544" y="3416"/>
                </a:lnTo>
                <a:lnTo>
                  <a:pt x="5523" y="3433"/>
                </a:lnTo>
                <a:lnTo>
                  <a:pt x="5500" y="3433"/>
                </a:lnTo>
                <a:lnTo>
                  <a:pt x="5516" y="3444"/>
                </a:lnTo>
                <a:lnTo>
                  <a:pt x="5544" y="3444"/>
                </a:lnTo>
                <a:lnTo>
                  <a:pt x="5554" y="3444"/>
                </a:lnTo>
                <a:lnTo>
                  <a:pt x="5537" y="3461"/>
                </a:lnTo>
                <a:lnTo>
                  <a:pt x="5582" y="3473"/>
                </a:lnTo>
                <a:lnTo>
                  <a:pt x="5582" y="3482"/>
                </a:lnTo>
                <a:lnTo>
                  <a:pt x="5575" y="3489"/>
                </a:lnTo>
                <a:lnTo>
                  <a:pt x="5561" y="3506"/>
                </a:lnTo>
                <a:lnTo>
                  <a:pt x="5544" y="3506"/>
                </a:lnTo>
                <a:lnTo>
                  <a:pt x="5544" y="3518"/>
                </a:lnTo>
                <a:lnTo>
                  <a:pt x="5561" y="3518"/>
                </a:lnTo>
                <a:lnTo>
                  <a:pt x="5554" y="3518"/>
                </a:lnTo>
                <a:lnTo>
                  <a:pt x="5561" y="3522"/>
                </a:lnTo>
                <a:lnTo>
                  <a:pt x="5507" y="3506"/>
                </a:lnTo>
                <a:lnTo>
                  <a:pt x="5537" y="3499"/>
                </a:lnTo>
                <a:lnTo>
                  <a:pt x="5500" y="3506"/>
                </a:lnTo>
                <a:lnTo>
                  <a:pt x="5537" y="3522"/>
                </a:lnTo>
                <a:lnTo>
                  <a:pt x="5523" y="3522"/>
                </a:lnTo>
                <a:lnTo>
                  <a:pt x="5561" y="3527"/>
                </a:lnTo>
                <a:lnTo>
                  <a:pt x="5528" y="3539"/>
                </a:lnTo>
                <a:lnTo>
                  <a:pt x="5554" y="3544"/>
                </a:lnTo>
                <a:lnTo>
                  <a:pt x="5561" y="3560"/>
                </a:lnTo>
                <a:lnTo>
                  <a:pt x="5537" y="3555"/>
                </a:lnTo>
                <a:lnTo>
                  <a:pt x="5537" y="3560"/>
                </a:lnTo>
                <a:lnTo>
                  <a:pt x="5582" y="3560"/>
                </a:lnTo>
                <a:lnTo>
                  <a:pt x="5575" y="3577"/>
                </a:lnTo>
                <a:lnTo>
                  <a:pt x="5592" y="3577"/>
                </a:lnTo>
                <a:lnTo>
                  <a:pt x="5575" y="3584"/>
                </a:lnTo>
                <a:lnTo>
                  <a:pt x="5599" y="3584"/>
                </a:lnTo>
                <a:lnTo>
                  <a:pt x="5608" y="3593"/>
                </a:lnTo>
                <a:lnTo>
                  <a:pt x="5599" y="3593"/>
                </a:lnTo>
                <a:lnTo>
                  <a:pt x="5608" y="3600"/>
                </a:lnTo>
                <a:lnTo>
                  <a:pt x="5629" y="3600"/>
                </a:lnTo>
                <a:lnTo>
                  <a:pt x="5625" y="3610"/>
                </a:lnTo>
                <a:lnTo>
                  <a:pt x="5637" y="3600"/>
                </a:lnTo>
                <a:lnTo>
                  <a:pt x="5629" y="3626"/>
                </a:lnTo>
                <a:lnTo>
                  <a:pt x="5646" y="3600"/>
                </a:lnTo>
                <a:lnTo>
                  <a:pt x="5663" y="3610"/>
                </a:lnTo>
                <a:lnTo>
                  <a:pt x="5646" y="3626"/>
                </a:lnTo>
                <a:lnTo>
                  <a:pt x="5663" y="3626"/>
                </a:lnTo>
                <a:lnTo>
                  <a:pt x="5646" y="3650"/>
                </a:lnTo>
                <a:lnTo>
                  <a:pt x="5663" y="3633"/>
                </a:lnTo>
                <a:lnTo>
                  <a:pt x="5667" y="3638"/>
                </a:lnTo>
                <a:lnTo>
                  <a:pt x="5651" y="3650"/>
                </a:lnTo>
                <a:lnTo>
                  <a:pt x="5646" y="3666"/>
                </a:lnTo>
                <a:lnTo>
                  <a:pt x="5651" y="3655"/>
                </a:lnTo>
                <a:lnTo>
                  <a:pt x="5629" y="3688"/>
                </a:lnTo>
                <a:lnTo>
                  <a:pt x="5663" y="3666"/>
                </a:lnTo>
                <a:lnTo>
                  <a:pt x="5679" y="3666"/>
                </a:lnTo>
                <a:lnTo>
                  <a:pt x="5663" y="3683"/>
                </a:lnTo>
                <a:lnTo>
                  <a:pt x="5700" y="3655"/>
                </a:lnTo>
                <a:lnTo>
                  <a:pt x="5700" y="3666"/>
                </a:lnTo>
                <a:lnTo>
                  <a:pt x="5684" y="3671"/>
                </a:lnTo>
                <a:lnTo>
                  <a:pt x="5722" y="3671"/>
                </a:lnTo>
                <a:lnTo>
                  <a:pt x="5684" y="3711"/>
                </a:lnTo>
                <a:lnTo>
                  <a:pt x="5738" y="3666"/>
                </a:lnTo>
                <a:lnTo>
                  <a:pt x="5722" y="3688"/>
                </a:lnTo>
                <a:lnTo>
                  <a:pt x="5743" y="3671"/>
                </a:lnTo>
                <a:lnTo>
                  <a:pt x="5755" y="3671"/>
                </a:lnTo>
                <a:lnTo>
                  <a:pt x="5755" y="3683"/>
                </a:lnTo>
                <a:lnTo>
                  <a:pt x="5759" y="3688"/>
                </a:lnTo>
                <a:lnTo>
                  <a:pt x="5743" y="3695"/>
                </a:lnTo>
                <a:lnTo>
                  <a:pt x="5755" y="3704"/>
                </a:lnTo>
                <a:lnTo>
                  <a:pt x="5830" y="3711"/>
                </a:lnTo>
                <a:lnTo>
                  <a:pt x="5868" y="3728"/>
                </a:lnTo>
                <a:lnTo>
                  <a:pt x="5863" y="3737"/>
                </a:lnTo>
                <a:lnTo>
                  <a:pt x="5840" y="3737"/>
                </a:lnTo>
                <a:lnTo>
                  <a:pt x="5863" y="3744"/>
                </a:lnTo>
                <a:lnTo>
                  <a:pt x="5847" y="3749"/>
                </a:lnTo>
                <a:lnTo>
                  <a:pt x="5809" y="3749"/>
                </a:lnTo>
                <a:lnTo>
                  <a:pt x="5797" y="3749"/>
                </a:lnTo>
                <a:lnTo>
                  <a:pt x="5814" y="3749"/>
                </a:lnTo>
                <a:lnTo>
                  <a:pt x="5809" y="3761"/>
                </a:lnTo>
                <a:lnTo>
                  <a:pt x="5771" y="3766"/>
                </a:lnTo>
                <a:lnTo>
                  <a:pt x="5705" y="3782"/>
                </a:lnTo>
                <a:lnTo>
                  <a:pt x="5733" y="3782"/>
                </a:lnTo>
                <a:lnTo>
                  <a:pt x="5792" y="3761"/>
                </a:lnTo>
                <a:lnTo>
                  <a:pt x="5776" y="3782"/>
                </a:lnTo>
                <a:lnTo>
                  <a:pt x="5743" y="3782"/>
                </a:lnTo>
                <a:lnTo>
                  <a:pt x="5755" y="3782"/>
                </a:lnTo>
                <a:lnTo>
                  <a:pt x="5717" y="3799"/>
                </a:lnTo>
                <a:lnTo>
                  <a:pt x="5679" y="3806"/>
                </a:lnTo>
                <a:lnTo>
                  <a:pt x="5679" y="3832"/>
                </a:lnTo>
                <a:lnTo>
                  <a:pt x="5667" y="3832"/>
                </a:lnTo>
                <a:lnTo>
                  <a:pt x="5625" y="3806"/>
                </a:lnTo>
                <a:lnTo>
                  <a:pt x="5625" y="3815"/>
                </a:lnTo>
                <a:lnTo>
                  <a:pt x="5646" y="3815"/>
                </a:lnTo>
                <a:lnTo>
                  <a:pt x="5679" y="3832"/>
                </a:lnTo>
                <a:lnTo>
                  <a:pt x="5651" y="3848"/>
                </a:lnTo>
                <a:lnTo>
                  <a:pt x="5667" y="3855"/>
                </a:lnTo>
                <a:lnTo>
                  <a:pt x="5651" y="3855"/>
                </a:lnTo>
                <a:lnTo>
                  <a:pt x="5667" y="3855"/>
                </a:lnTo>
                <a:lnTo>
                  <a:pt x="5700" y="3839"/>
                </a:lnTo>
                <a:lnTo>
                  <a:pt x="5689" y="3832"/>
                </a:lnTo>
                <a:lnTo>
                  <a:pt x="5743" y="3815"/>
                </a:lnTo>
                <a:lnTo>
                  <a:pt x="5743" y="3806"/>
                </a:lnTo>
                <a:lnTo>
                  <a:pt x="5788" y="3782"/>
                </a:lnTo>
                <a:lnTo>
                  <a:pt x="5840" y="3777"/>
                </a:lnTo>
                <a:lnTo>
                  <a:pt x="5792" y="3777"/>
                </a:lnTo>
                <a:lnTo>
                  <a:pt x="5792" y="3766"/>
                </a:lnTo>
                <a:lnTo>
                  <a:pt x="5863" y="3766"/>
                </a:lnTo>
                <a:lnTo>
                  <a:pt x="5885" y="3799"/>
                </a:lnTo>
                <a:lnTo>
                  <a:pt x="5852" y="3822"/>
                </a:lnTo>
                <a:lnTo>
                  <a:pt x="5868" y="3832"/>
                </a:lnTo>
                <a:lnTo>
                  <a:pt x="5868" y="3839"/>
                </a:lnTo>
                <a:lnTo>
                  <a:pt x="5894" y="3815"/>
                </a:lnTo>
                <a:lnTo>
                  <a:pt x="5932" y="3806"/>
                </a:lnTo>
                <a:lnTo>
                  <a:pt x="5932" y="3815"/>
                </a:lnTo>
                <a:lnTo>
                  <a:pt x="5915" y="3815"/>
                </a:lnTo>
                <a:lnTo>
                  <a:pt x="5960" y="3832"/>
                </a:lnTo>
                <a:lnTo>
                  <a:pt x="5939" y="3832"/>
                </a:lnTo>
                <a:lnTo>
                  <a:pt x="5960" y="3848"/>
                </a:lnTo>
                <a:lnTo>
                  <a:pt x="5977" y="3848"/>
                </a:lnTo>
                <a:lnTo>
                  <a:pt x="5977" y="3872"/>
                </a:lnTo>
                <a:lnTo>
                  <a:pt x="5970" y="3877"/>
                </a:lnTo>
                <a:lnTo>
                  <a:pt x="5948" y="3877"/>
                </a:lnTo>
                <a:lnTo>
                  <a:pt x="5970" y="3893"/>
                </a:lnTo>
                <a:lnTo>
                  <a:pt x="5977" y="3905"/>
                </a:lnTo>
                <a:lnTo>
                  <a:pt x="5953" y="3910"/>
                </a:lnTo>
                <a:lnTo>
                  <a:pt x="5977" y="3917"/>
                </a:lnTo>
                <a:lnTo>
                  <a:pt x="5953" y="3917"/>
                </a:lnTo>
                <a:lnTo>
                  <a:pt x="5960" y="3917"/>
                </a:lnTo>
                <a:lnTo>
                  <a:pt x="5948" y="3926"/>
                </a:lnTo>
                <a:lnTo>
                  <a:pt x="5922" y="3926"/>
                </a:lnTo>
                <a:lnTo>
                  <a:pt x="5986" y="3943"/>
                </a:lnTo>
                <a:lnTo>
                  <a:pt x="5986" y="3950"/>
                </a:lnTo>
                <a:lnTo>
                  <a:pt x="5977" y="3950"/>
                </a:lnTo>
                <a:lnTo>
                  <a:pt x="5948" y="3943"/>
                </a:lnTo>
                <a:lnTo>
                  <a:pt x="5986" y="3959"/>
                </a:lnTo>
                <a:lnTo>
                  <a:pt x="5986" y="3971"/>
                </a:lnTo>
                <a:lnTo>
                  <a:pt x="5894" y="4037"/>
                </a:lnTo>
                <a:lnTo>
                  <a:pt x="5878" y="4025"/>
                </a:lnTo>
                <a:lnTo>
                  <a:pt x="5840" y="4025"/>
                </a:lnTo>
                <a:lnTo>
                  <a:pt x="5826" y="4044"/>
                </a:lnTo>
                <a:lnTo>
                  <a:pt x="5776" y="4054"/>
                </a:lnTo>
                <a:lnTo>
                  <a:pt x="5776" y="4061"/>
                </a:lnTo>
                <a:lnTo>
                  <a:pt x="5755" y="4077"/>
                </a:lnTo>
                <a:lnTo>
                  <a:pt x="5755" y="4094"/>
                </a:lnTo>
                <a:lnTo>
                  <a:pt x="5743" y="4099"/>
                </a:lnTo>
                <a:lnTo>
                  <a:pt x="5743" y="4094"/>
                </a:lnTo>
                <a:lnTo>
                  <a:pt x="5705" y="4127"/>
                </a:lnTo>
                <a:lnTo>
                  <a:pt x="5689" y="4132"/>
                </a:lnTo>
                <a:lnTo>
                  <a:pt x="5689" y="4137"/>
                </a:lnTo>
                <a:lnTo>
                  <a:pt x="5684" y="4148"/>
                </a:lnTo>
                <a:lnTo>
                  <a:pt x="5592" y="4153"/>
                </a:lnTo>
                <a:lnTo>
                  <a:pt x="5561" y="4165"/>
                </a:lnTo>
                <a:lnTo>
                  <a:pt x="5570" y="4153"/>
                </a:lnTo>
                <a:lnTo>
                  <a:pt x="5561" y="4153"/>
                </a:lnTo>
                <a:lnTo>
                  <a:pt x="5554" y="4148"/>
                </a:lnTo>
                <a:lnTo>
                  <a:pt x="5516" y="4137"/>
                </a:lnTo>
                <a:lnTo>
                  <a:pt x="5452" y="4148"/>
                </a:lnTo>
                <a:lnTo>
                  <a:pt x="5415" y="4137"/>
                </a:lnTo>
                <a:lnTo>
                  <a:pt x="5313" y="4137"/>
                </a:lnTo>
                <a:lnTo>
                  <a:pt x="5259" y="4137"/>
                </a:lnTo>
                <a:lnTo>
                  <a:pt x="5252" y="4153"/>
                </a:lnTo>
                <a:lnTo>
                  <a:pt x="5230" y="4148"/>
                </a:lnTo>
                <a:lnTo>
                  <a:pt x="5183" y="4188"/>
                </a:lnTo>
                <a:lnTo>
                  <a:pt x="5176" y="4222"/>
                </a:lnTo>
                <a:lnTo>
                  <a:pt x="5162" y="4238"/>
                </a:lnTo>
                <a:lnTo>
                  <a:pt x="5112" y="4243"/>
                </a:lnTo>
                <a:lnTo>
                  <a:pt x="5107" y="4248"/>
                </a:lnTo>
                <a:lnTo>
                  <a:pt x="5074" y="4259"/>
                </a:lnTo>
                <a:lnTo>
                  <a:pt x="5041" y="4281"/>
                </a:lnTo>
                <a:lnTo>
                  <a:pt x="5037" y="4297"/>
                </a:lnTo>
                <a:lnTo>
                  <a:pt x="5004" y="4349"/>
                </a:lnTo>
                <a:lnTo>
                  <a:pt x="4982" y="4333"/>
                </a:lnTo>
                <a:lnTo>
                  <a:pt x="4907" y="4316"/>
                </a:lnTo>
                <a:lnTo>
                  <a:pt x="4982" y="4337"/>
                </a:lnTo>
                <a:lnTo>
                  <a:pt x="4999" y="4349"/>
                </a:lnTo>
                <a:lnTo>
                  <a:pt x="4982" y="4375"/>
                </a:lnTo>
                <a:lnTo>
                  <a:pt x="4966" y="4403"/>
                </a:lnTo>
                <a:lnTo>
                  <a:pt x="4944" y="4408"/>
                </a:lnTo>
                <a:lnTo>
                  <a:pt x="4928" y="4441"/>
                </a:lnTo>
                <a:lnTo>
                  <a:pt x="4890" y="4470"/>
                </a:lnTo>
                <a:lnTo>
                  <a:pt x="4944" y="4448"/>
                </a:lnTo>
                <a:lnTo>
                  <a:pt x="5020" y="4354"/>
                </a:lnTo>
                <a:lnTo>
                  <a:pt x="5107" y="4297"/>
                </a:lnTo>
                <a:lnTo>
                  <a:pt x="5247" y="4243"/>
                </a:lnTo>
                <a:lnTo>
                  <a:pt x="5301" y="4243"/>
                </a:lnTo>
                <a:lnTo>
                  <a:pt x="5344" y="4248"/>
                </a:lnTo>
                <a:lnTo>
                  <a:pt x="5381" y="4276"/>
                </a:lnTo>
                <a:lnTo>
                  <a:pt x="5393" y="4292"/>
                </a:lnTo>
                <a:lnTo>
                  <a:pt x="5360" y="4276"/>
                </a:lnTo>
                <a:lnTo>
                  <a:pt x="5393" y="4297"/>
                </a:lnTo>
                <a:lnTo>
                  <a:pt x="5381" y="4297"/>
                </a:lnTo>
                <a:lnTo>
                  <a:pt x="5381" y="4316"/>
                </a:lnTo>
                <a:lnTo>
                  <a:pt x="5306" y="4354"/>
                </a:lnTo>
                <a:lnTo>
                  <a:pt x="5268" y="4337"/>
                </a:lnTo>
                <a:lnTo>
                  <a:pt x="5200" y="4354"/>
                </a:lnTo>
                <a:lnTo>
                  <a:pt x="5237" y="4354"/>
                </a:lnTo>
                <a:lnTo>
                  <a:pt x="5275" y="4370"/>
                </a:lnTo>
                <a:lnTo>
                  <a:pt x="5285" y="4392"/>
                </a:lnTo>
                <a:lnTo>
                  <a:pt x="5313" y="4370"/>
                </a:lnTo>
                <a:lnTo>
                  <a:pt x="5344" y="4375"/>
                </a:lnTo>
                <a:lnTo>
                  <a:pt x="5355" y="4387"/>
                </a:lnTo>
                <a:lnTo>
                  <a:pt x="5339" y="4392"/>
                </a:lnTo>
                <a:lnTo>
                  <a:pt x="5339" y="4415"/>
                </a:lnTo>
                <a:lnTo>
                  <a:pt x="5306" y="4441"/>
                </a:lnTo>
                <a:lnTo>
                  <a:pt x="5344" y="4441"/>
                </a:lnTo>
                <a:lnTo>
                  <a:pt x="5339" y="4465"/>
                </a:lnTo>
                <a:lnTo>
                  <a:pt x="5355" y="4481"/>
                </a:lnTo>
                <a:lnTo>
                  <a:pt x="5365" y="4519"/>
                </a:lnTo>
                <a:lnTo>
                  <a:pt x="5415" y="4526"/>
                </a:lnTo>
                <a:lnTo>
                  <a:pt x="5393" y="4536"/>
                </a:lnTo>
                <a:lnTo>
                  <a:pt x="5419" y="4552"/>
                </a:lnTo>
                <a:lnTo>
                  <a:pt x="5436" y="4552"/>
                </a:lnTo>
                <a:lnTo>
                  <a:pt x="5448" y="4552"/>
                </a:lnTo>
                <a:lnTo>
                  <a:pt x="5431" y="4552"/>
                </a:lnTo>
                <a:lnTo>
                  <a:pt x="5452" y="4559"/>
                </a:lnTo>
                <a:lnTo>
                  <a:pt x="5448" y="4559"/>
                </a:lnTo>
                <a:lnTo>
                  <a:pt x="5490" y="4559"/>
                </a:lnTo>
                <a:lnTo>
                  <a:pt x="5507" y="4576"/>
                </a:lnTo>
                <a:lnTo>
                  <a:pt x="5544" y="4552"/>
                </a:lnTo>
                <a:lnTo>
                  <a:pt x="5544" y="4569"/>
                </a:lnTo>
                <a:lnTo>
                  <a:pt x="5570" y="4576"/>
                </a:lnTo>
                <a:lnTo>
                  <a:pt x="5575" y="4569"/>
                </a:lnTo>
                <a:lnTo>
                  <a:pt x="5592" y="4581"/>
                </a:lnTo>
                <a:lnTo>
                  <a:pt x="5575" y="4597"/>
                </a:lnTo>
                <a:lnTo>
                  <a:pt x="5613" y="4597"/>
                </a:lnTo>
                <a:lnTo>
                  <a:pt x="5608" y="4609"/>
                </a:lnTo>
                <a:lnTo>
                  <a:pt x="5592" y="4609"/>
                </a:lnTo>
                <a:lnTo>
                  <a:pt x="5582" y="4614"/>
                </a:lnTo>
                <a:lnTo>
                  <a:pt x="5507" y="4637"/>
                </a:lnTo>
                <a:lnTo>
                  <a:pt x="5485" y="4654"/>
                </a:lnTo>
                <a:lnTo>
                  <a:pt x="5469" y="4647"/>
                </a:lnTo>
                <a:lnTo>
                  <a:pt x="5469" y="4654"/>
                </a:lnTo>
                <a:lnTo>
                  <a:pt x="5462" y="4647"/>
                </a:lnTo>
                <a:lnTo>
                  <a:pt x="5436" y="4663"/>
                </a:lnTo>
                <a:lnTo>
                  <a:pt x="5419" y="4654"/>
                </a:lnTo>
                <a:lnTo>
                  <a:pt x="5436" y="4670"/>
                </a:lnTo>
                <a:lnTo>
                  <a:pt x="5431" y="4680"/>
                </a:lnTo>
                <a:lnTo>
                  <a:pt x="5410" y="4670"/>
                </a:lnTo>
                <a:lnTo>
                  <a:pt x="5410" y="4654"/>
                </a:lnTo>
                <a:lnTo>
                  <a:pt x="5398" y="4663"/>
                </a:lnTo>
                <a:lnTo>
                  <a:pt x="5398" y="4670"/>
                </a:lnTo>
                <a:lnTo>
                  <a:pt x="5393" y="4680"/>
                </a:lnTo>
                <a:lnTo>
                  <a:pt x="5381" y="4663"/>
                </a:lnTo>
                <a:lnTo>
                  <a:pt x="5377" y="4680"/>
                </a:lnTo>
                <a:lnTo>
                  <a:pt x="5381" y="4692"/>
                </a:lnTo>
                <a:lnTo>
                  <a:pt x="5360" y="4703"/>
                </a:lnTo>
                <a:lnTo>
                  <a:pt x="5355" y="4720"/>
                </a:lnTo>
                <a:lnTo>
                  <a:pt x="5344" y="4720"/>
                </a:lnTo>
                <a:lnTo>
                  <a:pt x="5327" y="4741"/>
                </a:lnTo>
                <a:lnTo>
                  <a:pt x="5306" y="4741"/>
                </a:lnTo>
                <a:lnTo>
                  <a:pt x="5301" y="4765"/>
                </a:lnTo>
                <a:lnTo>
                  <a:pt x="5289" y="4758"/>
                </a:lnTo>
                <a:lnTo>
                  <a:pt x="5275" y="4758"/>
                </a:lnTo>
                <a:lnTo>
                  <a:pt x="5268" y="4736"/>
                </a:lnTo>
                <a:lnTo>
                  <a:pt x="5259" y="4741"/>
                </a:lnTo>
                <a:lnTo>
                  <a:pt x="5247" y="4725"/>
                </a:lnTo>
                <a:lnTo>
                  <a:pt x="5247" y="4708"/>
                </a:lnTo>
                <a:lnTo>
                  <a:pt x="5252" y="4687"/>
                </a:lnTo>
                <a:lnTo>
                  <a:pt x="5268" y="4663"/>
                </a:lnTo>
                <a:lnTo>
                  <a:pt x="5247" y="4680"/>
                </a:lnTo>
                <a:lnTo>
                  <a:pt x="5259" y="4663"/>
                </a:lnTo>
                <a:lnTo>
                  <a:pt x="5285" y="4663"/>
                </a:lnTo>
                <a:lnTo>
                  <a:pt x="5289" y="4654"/>
                </a:lnTo>
                <a:lnTo>
                  <a:pt x="5285" y="4654"/>
                </a:lnTo>
                <a:lnTo>
                  <a:pt x="5285" y="4647"/>
                </a:lnTo>
                <a:lnTo>
                  <a:pt x="5377" y="4597"/>
                </a:lnTo>
                <a:lnTo>
                  <a:pt x="5365" y="4597"/>
                </a:lnTo>
                <a:lnTo>
                  <a:pt x="5377" y="4597"/>
                </a:lnTo>
                <a:lnTo>
                  <a:pt x="5377" y="4614"/>
                </a:lnTo>
                <a:lnTo>
                  <a:pt x="5381" y="4614"/>
                </a:lnTo>
                <a:lnTo>
                  <a:pt x="5393" y="4630"/>
                </a:lnTo>
                <a:lnTo>
                  <a:pt x="5393" y="4609"/>
                </a:lnTo>
                <a:lnTo>
                  <a:pt x="5448" y="4597"/>
                </a:lnTo>
                <a:lnTo>
                  <a:pt x="5360" y="4592"/>
                </a:lnTo>
                <a:lnTo>
                  <a:pt x="5339" y="4597"/>
                </a:lnTo>
                <a:lnTo>
                  <a:pt x="5344" y="4581"/>
                </a:lnTo>
                <a:lnTo>
                  <a:pt x="5381" y="4559"/>
                </a:lnTo>
                <a:lnTo>
                  <a:pt x="5377" y="4552"/>
                </a:lnTo>
                <a:lnTo>
                  <a:pt x="5365" y="4559"/>
                </a:lnTo>
                <a:lnTo>
                  <a:pt x="5344" y="4526"/>
                </a:lnTo>
                <a:lnTo>
                  <a:pt x="5360" y="4552"/>
                </a:lnTo>
                <a:lnTo>
                  <a:pt x="5344" y="4576"/>
                </a:lnTo>
                <a:lnTo>
                  <a:pt x="5339" y="4576"/>
                </a:lnTo>
                <a:lnTo>
                  <a:pt x="5268" y="4609"/>
                </a:lnTo>
                <a:lnTo>
                  <a:pt x="5252" y="4597"/>
                </a:lnTo>
                <a:lnTo>
                  <a:pt x="5259" y="4581"/>
                </a:lnTo>
                <a:lnTo>
                  <a:pt x="5247" y="4597"/>
                </a:lnTo>
                <a:lnTo>
                  <a:pt x="5252" y="4609"/>
                </a:lnTo>
                <a:lnTo>
                  <a:pt x="5230" y="4625"/>
                </a:lnTo>
                <a:lnTo>
                  <a:pt x="5221" y="4614"/>
                </a:lnTo>
                <a:lnTo>
                  <a:pt x="5204" y="4625"/>
                </a:lnTo>
                <a:lnTo>
                  <a:pt x="5192" y="4614"/>
                </a:lnTo>
                <a:lnTo>
                  <a:pt x="5176" y="4614"/>
                </a:lnTo>
                <a:lnTo>
                  <a:pt x="5176" y="4614"/>
                </a:lnTo>
                <a:lnTo>
                  <a:pt x="5176" y="4614"/>
                </a:lnTo>
                <a:close/>
                <a:moveTo>
                  <a:pt x="3201" y="1748"/>
                </a:moveTo>
                <a:lnTo>
                  <a:pt x="3208" y="1753"/>
                </a:lnTo>
                <a:lnTo>
                  <a:pt x="3208" y="1765"/>
                </a:lnTo>
                <a:lnTo>
                  <a:pt x="3192" y="1765"/>
                </a:lnTo>
                <a:lnTo>
                  <a:pt x="3201" y="1748"/>
                </a:lnTo>
                <a:lnTo>
                  <a:pt x="3201" y="1748"/>
                </a:lnTo>
                <a:lnTo>
                  <a:pt x="3201" y="1748"/>
                </a:lnTo>
                <a:close/>
                <a:moveTo>
                  <a:pt x="3095" y="1765"/>
                </a:moveTo>
                <a:lnTo>
                  <a:pt x="3100" y="1765"/>
                </a:lnTo>
                <a:lnTo>
                  <a:pt x="3083" y="1770"/>
                </a:lnTo>
                <a:lnTo>
                  <a:pt x="3095" y="1765"/>
                </a:lnTo>
                <a:lnTo>
                  <a:pt x="3095" y="1765"/>
                </a:lnTo>
                <a:lnTo>
                  <a:pt x="3095" y="1765"/>
                </a:lnTo>
                <a:close/>
                <a:moveTo>
                  <a:pt x="4751" y="1770"/>
                </a:moveTo>
                <a:lnTo>
                  <a:pt x="4755" y="1770"/>
                </a:lnTo>
                <a:lnTo>
                  <a:pt x="4734" y="1786"/>
                </a:lnTo>
                <a:lnTo>
                  <a:pt x="4751" y="1770"/>
                </a:lnTo>
                <a:lnTo>
                  <a:pt x="4751" y="1770"/>
                </a:lnTo>
                <a:lnTo>
                  <a:pt x="4751" y="1770"/>
                </a:lnTo>
                <a:close/>
                <a:moveTo>
                  <a:pt x="4772" y="1781"/>
                </a:moveTo>
                <a:lnTo>
                  <a:pt x="4789" y="1786"/>
                </a:lnTo>
                <a:lnTo>
                  <a:pt x="4784" y="1793"/>
                </a:lnTo>
                <a:lnTo>
                  <a:pt x="4767" y="1786"/>
                </a:lnTo>
                <a:lnTo>
                  <a:pt x="4772" y="1781"/>
                </a:lnTo>
                <a:lnTo>
                  <a:pt x="4772" y="1781"/>
                </a:lnTo>
                <a:lnTo>
                  <a:pt x="4772" y="1781"/>
                </a:lnTo>
                <a:close/>
                <a:moveTo>
                  <a:pt x="4767" y="1826"/>
                </a:moveTo>
                <a:lnTo>
                  <a:pt x="4751" y="1819"/>
                </a:lnTo>
                <a:lnTo>
                  <a:pt x="4746" y="1793"/>
                </a:lnTo>
                <a:lnTo>
                  <a:pt x="4755" y="1786"/>
                </a:lnTo>
                <a:lnTo>
                  <a:pt x="4767" y="1793"/>
                </a:lnTo>
                <a:lnTo>
                  <a:pt x="4755" y="1803"/>
                </a:lnTo>
                <a:lnTo>
                  <a:pt x="4772" y="1793"/>
                </a:lnTo>
                <a:lnTo>
                  <a:pt x="4784" y="1803"/>
                </a:lnTo>
                <a:lnTo>
                  <a:pt x="4767" y="1810"/>
                </a:lnTo>
                <a:lnTo>
                  <a:pt x="4772" y="1819"/>
                </a:lnTo>
                <a:lnTo>
                  <a:pt x="4767" y="1826"/>
                </a:lnTo>
                <a:lnTo>
                  <a:pt x="4767" y="1826"/>
                </a:lnTo>
                <a:lnTo>
                  <a:pt x="4767" y="1826"/>
                </a:lnTo>
                <a:close/>
                <a:moveTo>
                  <a:pt x="2953" y="1826"/>
                </a:moveTo>
                <a:lnTo>
                  <a:pt x="2948" y="1819"/>
                </a:lnTo>
                <a:lnTo>
                  <a:pt x="2953" y="1819"/>
                </a:lnTo>
                <a:lnTo>
                  <a:pt x="2953" y="1826"/>
                </a:lnTo>
                <a:lnTo>
                  <a:pt x="2953" y="1826"/>
                </a:lnTo>
                <a:lnTo>
                  <a:pt x="2953" y="1826"/>
                </a:lnTo>
                <a:close/>
                <a:moveTo>
                  <a:pt x="3116" y="1826"/>
                </a:moveTo>
                <a:lnTo>
                  <a:pt x="3126" y="1836"/>
                </a:lnTo>
                <a:lnTo>
                  <a:pt x="3116" y="1836"/>
                </a:lnTo>
                <a:lnTo>
                  <a:pt x="3116" y="1826"/>
                </a:lnTo>
                <a:lnTo>
                  <a:pt x="3116" y="1826"/>
                </a:lnTo>
                <a:lnTo>
                  <a:pt x="3116" y="1826"/>
                </a:lnTo>
                <a:close/>
                <a:moveTo>
                  <a:pt x="4852" y="1859"/>
                </a:moveTo>
                <a:lnTo>
                  <a:pt x="4881" y="1864"/>
                </a:lnTo>
                <a:lnTo>
                  <a:pt x="4881" y="1876"/>
                </a:lnTo>
                <a:lnTo>
                  <a:pt x="4843" y="1892"/>
                </a:lnTo>
                <a:lnTo>
                  <a:pt x="4822" y="1876"/>
                </a:lnTo>
                <a:lnTo>
                  <a:pt x="4836" y="1876"/>
                </a:lnTo>
                <a:lnTo>
                  <a:pt x="4836" y="1859"/>
                </a:lnTo>
                <a:lnTo>
                  <a:pt x="4852" y="1859"/>
                </a:lnTo>
                <a:lnTo>
                  <a:pt x="4852" y="1859"/>
                </a:lnTo>
                <a:lnTo>
                  <a:pt x="4852" y="1859"/>
                </a:lnTo>
                <a:close/>
                <a:moveTo>
                  <a:pt x="2844" y="1904"/>
                </a:moveTo>
                <a:lnTo>
                  <a:pt x="2861" y="1921"/>
                </a:lnTo>
                <a:lnTo>
                  <a:pt x="2861" y="1937"/>
                </a:lnTo>
                <a:lnTo>
                  <a:pt x="2830" y="1921"/>
                </a:lnTo>
                <a:lnTo>
                  <a:pt x="2830" y="1904"/>
                </a:lnTo>
                <a:lnTo>
                  <a:pt x="2844" y="1904"/>
                </a:lnTo>
                <a:lnTo>
                  <a:pt x="2844" y="1904"/>
                </a:lnTo>
                <a:lnTo>
                  <a:pt x="2844" y="1904"/>
                </a:lnTo>
                <a:close/>
                <a:moveTo>
                  <a:pt x="903" y="1914"/>
                </a:moveTo>
                <a:lnTo>
                  <a:pt x="886" y="1921"/>
                </a:lnTo>
                <a:lnTo>
                  <a:pt x="898" y="1904"/>
                </a:lnTo>
                <a:lnTo>
                  <a:pt x="903" y="1914"/>
                </a:lnTo>
                <a:lnTo>
                  <a:pt x="903" y="1914"/>
                </a:lnTo>
                <a:lnTo>
                  <a:pt x="903" y="1914"/>
                </a:lnTo>
                <a:close/>
                <a:moveTo>
                  <a:pt x="1675" y="1921"/>
                </a:moveTo>
                <a:lnTo>
                  <a:pt x="1663" y="1921"/>
                </a:lnTo>
                <a:lnTo>
                  <a:pt x="1692" y="1921"/>
                </a:lnTo>
                <a:lnTo>
                  <a:pt x="1675" y="1921"/>
                </a:lnTo>
                <a:lnTo>
                  <a:pt x="1675" y="1921"/>
                </a:lnTo>
                <a:lnTo>
                  <a:pt x="1675" y="1921"/>
                </a:lnTo>
                <a:close/>
                <a:moveTo>
                  <a:pt x="1760" y="1921"/>
                </a:moveTo>
                <a:lnTo>
                  <a:pt x="1765" y="1921"/>
                </a:lnTo>
                <a:lnTo>
                  <a:pt x="1751" y="1921"/>
                </a:lnTo>
                <a:lnTo>
                  <a:pt x="1760" y="1921"/>
                </a:lnTo>
                <a:lnTo>
                  <a:pt x="1760" y="1921"/>
                </a:lnTo>
                <a:lnTo>
                  <a:pt x="1760" y="1921"/>
                </a:lnTo>
                <a:close/>
                <a:moveTo>
                  <a:pt x="1734" y="1921"/>
                </a:moveTo>
                <a:lnTo>
                  <a:pt x="1744" y="1921"/>
                </a:lnTo>
                <a:lnTo>
                  <a:pt x="1718" y="1921"/>
                </a:lnTo>
                <a:lnTo>
                  <a:pt x="1734" y="1921"/>
                </a:lnTo>
                <a:lnTo>
                  <a:pt x="1734" y="1921"/>
                </a:lnTo>
                <a:lnTo>
                  <a:pt x="1734" y="1921"/>
                </a:lnTo>
                <a:close/>
                <a:moveTo>
                  <a:pt x="2823" y="1954"/>
                </a:moveTo>
                <a:lnTo>
                  <a:pt x="2823" y="1959"/>
                </a:lnTo>
                <a:lnTo>
                  <a:pt x="2814" y="1954"/>
                </a:lnTo>
                <a:lnTo>
                  <a:pt x="2823" y="1954"/>
                </a:lnTo>
                <a:lnTo>
                  <a:pt x="2823" y="1954"/>
                </a:lnTo>
                <a:lnTo>
                  <a:pt x="2823" y="1954"/>
                </a:lnTo>
                <a:close/>
                <a:moveTo>
                  <a:pt x="1966" y="1954"/>
                </a:moveTo>
                <a:lnTo>
                  <a:pt x="1949" y="1954"/>
                </a:lnTo>
                <a:lnTo>
                  <a:pt x="1966" y="1954"/>
                </a:lnTo>
                <a:lnTo>
                  <a:pt x="1966" y="1954"/>
                </a:lnTo>
                <a:lnTo>
                  <a:pt x="1966" y="1954"/>
                </a:lnTo>
                <a:close/>
                <a:moveTo>
                  <a:pt x="3773" y="1975"/>
                </a:moveTo>
                <a:lnTo>
                  <a:pt x="3811" y="1975"/>
                </a:lnTo>
                <a:lnTo>
                  <a:pt x="3827" y="1992"/>
                </a:lnTo>
                <a:lnTo>
                  <a:pt x="3780" y="1992"/>
                </a:lnTo>
                <a:lnTo>
                  <a:pt x="3763" y="1975"/>
                </a:lnTo>
                <a:lnTo>
                  <a:pt x="3773" y="1975"/>
                </a:lnTo>
                <a:lnTo>
                  <a:pt x="3773" y="1975"/>
                </a:lnTo>
                <a:lnTo>
                  <a:pt x="3773" y="1975"/>
                </a:lnTo>
                <a:close/>
                <a:moveTo>
                  <a:pt x="3062" y="2003"/>
                </a:moveTo>
                <a:lnTo>
                  <a:pt x="3071" y="2008"/>
                </a:lnTo>
                <a:lnTo>
                  <a:pt x="3057" y="2003"/>
                </a:lnTo>
                <a:lnTo>
                  <a:pt x="3062" y="2003"/>
                </a:lnTo>
                <a:lnTo>
                  <a:pt x="3062" y="2003"/>
                </a:lnTo>
                <a:lnTo>
                  <a:pt x="3062" y="2003"/>
                </a:lnTo>
                <a:close/>
                <a:moveTo>
                  <a:pt x="2932" y="2140"/>
                </a:moveTo>
                <a:lnTo>
                  <a:pt x="2911" y="2119"/>
                </a:lnTo>
                <a:lnTo>
                  <a:pt x="2915" y="2103"/>
                </a:lnTo>
                <a:lnTo>
                  <a:pt x="2948" y="2103"/>
                </a:lnTo>
                <a:lnTo>
                  <a:pt x="2991" y="2081"/>
                </a:lnTo>
                <a:lnTo>
                  <a:pt x="2974" y="2065"/>
                </a:lnTo>
                <a:lnTo>
                  <a:pt x="2986" y="2065"/>
                </a:lnTo>
                <a:lnTo>
                  <a:pt x="2974" y="2058"/>
                </a:lnTo>
                <a:lnTo>
                  <a:pt x="2974" y="2048"/>
                </a:lnTo>
                <a:lnTo>
                  <a:pt x="3019" y="2065"/>
                </a:lnTo>
                <a:lnTo>
                  <a:pt x="2991" y="2041"/>
                </a:lnTo>
                <a:lnTo>
                  <a:pt x="3003" y="2013"/>
                </a:lnTo>
                <a:lnTo>
                  <a:pt x="3024" y="2008"/>
                </a:lnTo>
                <a:lnTo>
                  <a:pt x="3062" y="2029"/>
                </a:lnTo>
                <a:lnTo>
                  <a:pt x="3057" y="2029"/>
                </a:lnTo>
                <a:lnTo>
                  <a:pt x="3062" y="2048"/>
                </a:lnTo>
                <a:lnTo>
                  <a:pt x="3071" y="2029"/>
                </a:lnTo>
                <a:lnTo>
                  <a:pt x="3095" y="2058"/>
                </a:lnTo>
                <a:lnTo>
                  <a:pt x="3137" y="2081"/>
                </a:lnTo>
                <a:lnTo>
                  <a:pt x="3137" y="2115"/>
                </a:lnTo>
                <a:lnTo>
                  <a:pt x="3147" y="2119"/>
                </a:lnTo>
                <a:lnTo>
                  <a:pt x="3147" y="2098"/>
                </a:lnTo>
                <a:lnTo>
                  <a:pt x="3154" y="2086"/>
                </a:lnTo>
                <a:lnTo>
                  <a:pt x="3170" y="2136"/>
                </a:lnTo>
                <a:lnTo>
                  <a:pt x="3208" y="2140"/>
                </a:lnTo>
                <a:lnTo>
                  <a:pt x="3192" y="2157"/>
                </a:lnTo>
                <a:lnTo>
                  <a:pt x="3170" y="2152"/>
                </a:lnTo>
                <a:lnTo>
                  <a:pt x="3137" y="2181"/>
                </a:lnTo>
                <a:lnTo>
                  <a:pt x="3116" y="2192"/>
                </a:lnTo>
                <a:lnTo>
                  <a:pt x="3007" y="2157"/>
                </a:lnTo>
                <a:lnTo>
                  <a:pt x="2991" y="2136"/>
                </a:lnTo>
                <a:lnTo>
                  <a:pt x="2986" y="2152"/>
                </a:lnTo>
                <a:lnTo>
                  <a:pt x="2974" y="2152"/>
                </a:lnTo>
                <a:lnTo>
                  <a:pt x="2953" y="2140"/>
                </a:lnTo>
                <a:lnTo>
                  <a:pt x="2953" y="2124"/>
                </a:lnTo>
                <a:lnTo>
                  <a:pt x="2932" y="2140"/>
                </a:lnTo>
                <a:lnTo>
                  <a:pt x="2932" y="2140"/>
                </a:lnTo>
                <a:lnTo>
                  <a:pt x="2932" y="2140"/>
                </a:lnTo>
                <a:close/>
                <a:moveTo>
                  <a:pt x="3470" y="2025"/>
                </a:moveTo>
                <a:lnTo>
                  <a:pt x="3456" y="2013"/>
                </a:lnTo>
                <a:lnTo>
                  <a:pt x="3478" y="2008"/>
                </a:lnTo>
                <a:lnTo>
                  <a:pt x="3470" y="2025"/>
                </a:lnTo>
                <a:lnTo>
                  <a:pt x="3470" y="2025"/>
                </a:lnTo>
                <a:lnTo>
                  <a:pt x="3470" y="2025"/>
                </a:lnTo>
                <a:close/>
                <a:moveTo>
                  <a:pt x="4096" y="2008"/>
                </a:moveTo>
                <a:lnTo>
                  <a:pt x="4108" y="2013"/>
                </a:lnTo>
                <a:lnTo>
                  <a:pt x="4087" y="2008"/>
                </a:lnTo>
                <a:lnTo>
                  <a:pt x="4096" y="2008"/>
                </a:lnTo>
                <a:lnTo>
                  <a:pt x="4096" y="2008"/>
                </a:lnTo>
                <a:lnTo>
                  <a:pt x="4096" y="2008"/>
                </a:lnTo>
                <a:close/>
                <a:moveTo>
                  <a:pt x="4028" y="2025"/>
                </a:moveTo>
                <a:lnTo>
                  <a:pt x="4016" y="2029"/>
                </a:lnTo>
                <a:lnTo>
                  <a:pt x="4000" y="2025"/>
                </a:lnTo>
                <a:lnTo>
                  <a:pt x="4028" y="2025"/>
                </a:lnTo>
                <a:lnTo>
                  <a:pt x="4028" y="2025"/>
                </a:lnTo>
                <a:lnTo>
                  <a:pt x="4028" y="2025"/>
                </a:lnTo>
                <a:close/>
                <a:moveTo>
                  <a:pt x="4297" y="2025"/>
                </a:moveTo>
                <a:lnTo>
                  <a:pt x="4314" y="2013"/>
                </a:lnTo>
                <a:lnTo>
                  <a:pt x="4323" y="2029"/>
                </a:lnTo>
                <a:lnTo>
                  <a:pt x="4302" y="2041"/>
                </a:lnTo>
                <a:lnTo>
                  <a:pt x="4271" y="2041"/>
                </a:lnTo>
                <a:lnTo>
                  <a:pt x="4281" y="2058"/>
                </a:lnTo>
                <a:lnTo>
                  <a:pt x="4243" y="2029"/>
                </a:lnTo>
                <a:lnTo>
                  <a:pt x="4217" y="2029"/>
                </a:lnTo>
                <a:lnTo>
                  <a:pt x="4248" y="2013"/>
                </a:lnTo>
                <a:lnTo>
                  <a:pt x="4297" y="2025"/>
                </a:lnTo>
                <a:lnTo>
                  <a:pt x="4297" y="2025"/>
                </a:lnTo>
                <a:lnTo>
                  <a:pt x="4297" y="2025"/>
                </a:lnTo>
                <a:close/>
                <a:moveTo>
                  <a:pt x="4082" y="2013"/>
                </a:moveTo>
                <a:lnTo>
                  <a:pt x="4104" y="2029"/>
                </a:lnTo>
                <a:lnTo>
                  <a:pt x="4082" y="2025"/>
                </a:lnTo>
                <a:lnTo>
                  <a:pt x="4082" y="2013"/>
                </a:lnTo>
                <a:lnTo>
                  <a:pt x="4082" y="2013"/>
                </a:lnTo>
                <a:lnTo>
                  <a:pt x="4082" y="2013"/>
                </a:lnTo>
                <a:close/>
                <a:moveTo>
                  <a:pt x="4411" y="2025"/>
                </a:moveTo>
                <a:lnTo>
                  <a:pt x="4422" y="2041"/>
                </a:lnTo>
                <a:lnTo>
                  <a:pt x="4356" y="2065"/>
                </a:lnTo>
                <a:lnTo>
                  <a:pt x="4411" y="2025"/>
                </a:lnTo>
                <a:lnTo>
                  <a:pt x="4411" y="2025"/>
                </a:lnTo>
                <a:lnTo>
                  <a:pt x="4411" y="2025"/>
                </a:lnTo>
                <a:close/>
                <a:moveTo>
                  <a:pt x="2731" y="2029"/>
                </a:moveTo>
                <a:lnTo>
                  <a:pt x="2731" y="2041"/>
                </a:lnTo>
                <a:lnTo>
                  <a:pt x="2722" y="2029"/>
                </a:lnTo>
                <a:lnTo>
                  <a:pt x="2731" y="2029"/>
                </a:lnTo>
                <a:lnTo>
                  <a:pt x="2731" y="2029"/>
                </a:lnTo>
                <a:lnTo>
                  <a:pt x="2731" y="2029"/>
                </a:lnTo>
                <a:close/>
                <a:moveTo>
                  <a:pt x="378" y="2119"/>
                </a:moveTo>
                <a:lnTo>
                  <a:pt x="385" y="2119"/>
                </a:lnTo>
                <a:lnTo>
                  <a:pt x="357" y="2115"/>
                </a:lnTo>
                <a:lnTo>
                  <a:pt x="357" y="2086"/>
                </a:lnTo>
                <a:lnTo>
                  <a:pt x="385" y="2103"/>
                </a:lnTo>
                <a:lnTo>
                  <a:pt x="362" y="2086"/>
                </a:lnTo>
                <a:lnTo>
                  <a:pt x="385" y="2081"/>
                </a:lnTo>
                <a:lnTo>
                  <a:pt x="411" y="2086"/>
                </a:lnTo>
                <a:lnTo>
                  <a:pt x="400" y="2065"/>
                </a:lnTo>
                <a:lnTo>
                  <a:pt x="411" y="2065"/>
                </a:lnTo>
                <a:lnTo>
                  <a:pt x="466" y="2065"/>
                </a:lnTo>
                <a:lnTo>
                  <a:pt x="466" y="2041"/>
                </a:lnTo>
                <a:lnTo>
                  <a:pt x="454" y="2029"/>
                </a:lnTo>
                <a:lnTo>
                  <a:pt x="475" y="2029"/>
                </a:lnTo>
                <a:lnTo>
                  <a:pt x="475" y="2048"/>
                </a:lnTo>
                <a:lnTo>
                  <a:pt x="508" y="2048"/>
                </a:lnTo>
                <a:lnTo>
                  <a:pt x="466" y="2103"/>
                </a:lnTo>
                <a:lnTo>
                  <a:pt x="449" y="2119"/>
                </a:lnTo>
                <a:lnTo>
                  <a:pt x="475" y="2157"/>
                </a:lnTo>
                <a:lnTo>
                  <a:pt x="466" y="2157"/>
                </a:lnTo>
                <a:lnTo>
                  <a:pt x="433" y="2119"/>
                </a:lnTo>
                <a:lnTo>
                  <a:pt x="423" y="2136"/>
                </a:lnTo>
                <a:lnTo>
                  <a:pt x="357" y="2124"/>
                </a:lnTo>
                <a:lnTo>
                  <a:pt x="357" y="2115"/>
                </a:lnTo>
                <a:lnTo>
                  <a:pt x="378" y="2119"/>
                </a:lnTo>
                <a:lnTo>
                  <a:pt x="378" y="2119"/>
                </a:lnTo>
                <a:lnTo>
                  <a:pt x="378" y="2119"/>
                </a:lnTo>
                <a:close/>
                <a:moveTo>
                  <a:pt x="5129" y="2029"/>
                </a:moveTo>
                <a:lnTo>
                  <a:pt x="5129" y="2041"/>
                </a:lnTo>
                <a:lnTo>
                  <a:pt x="5129" y="2058"/>
                </a:lnTo>
                <a:lnTo>
                  <a:pt x="5107" y="2048"/>
                </a:lnTo>
                <a:lnTo>
                  <a:pt x="5129" y="2029"/>
                </a:lnTo>
                <a:lnTo>
                  <a:pt x="5129" y="2029"/>
                </a:lnTo>
                <a:lnTo>
                  <a:pt x="5129" y="2029"/>
                </a:lnTo>
                <a:close/>
                <a:moveTo>
                  <a:pt x="130" y="2058"/>
                </a:moveTo>
                <a:lnTo>
                  <a:pt x="114" y="2048"/>
                </a:lnTo>
                <a:lnTo>
                  <a:pt x="130" y="2041"/>
                </a:lnTo>
                <a:lnTo>
                  <a:pt x="152" y="2048"/>
                </a:lnTo>
                <a:lnTo>
                  <a:pt x="130" y="2058"/>
                </a:lnTo>
                <a:lnTo>
                  <a:pt x="130" y="2058"/>
                </a:lnTo>
                <a:lnTo>
                  <a:pt x="130" y="2058"/>
                </a:lnTo>
                <a:close/>
                <a:moveTo>
                  <a:pt x="3192" y="2048"/>
                </a:moveTo>
                <a:lnTo>
                  <a:pt x="3201" y="2058"/>
                </a:lnTo>
                <a:lnTo>
                  <a:pt x="3192" y="2081"/>
                </a:lnTo>
                <a:lnTo>
                  <a:pt x="3180" y="2081"/>
                </a:lnTo>
                <a:lnTo>
                  <a:pt x="3180" y="2070"/>
                </a:lnTo>
                <a:lnTo>
                  <a:pt x="3180" y="2058"/>
                </a:lnTo>
                <a:lnTo>
                  <a:pt x="3170" y="2048"/>
                </a:lnTo>
                <a:lnTo>
                  <a:pt x="3163" y="2081"/>
                </a:lnTo>
                <a:lnTo>
                  <a:pt x="3154" y="2070"/>
                </a:lnTo>
                <a:lnTo>
                  <a:pt x="3154" y="2058"/>
                </a:lnTo>
                <a:lnTo>
                  <a:pt x="3163" y="2048"/>
                </a:lnTo>
                <a:lnTo>
                  <a:pt x="3192" y="2048"/>
                </a:lnTo>
                <a:lnTo>
                  <a:pt x="3192" y="2048"/>
                </a:lnTo>
                <a:lnTo>
                  <a:pt x="3192" y="2048"/>
                </a:lnTo>
                <a:close/>
                <a:moveTo>
                  <a:pt x="5150" y="2058"/>
                </a:moveTo>
                <a:lnTo>
                  <a:pt x="5138" y="2058"/>
                </a:lnTo>
                <a:lnTo>
                  <a:pt x="5167" y="2048"/>
                </a:lnTo>
                <a:lnTo>
                  <a:pt x="5150" y="2058"/>
                </a:lnTo>
                <a:lnTo>
                  <a:pt x="5150" y="2058"/>
                </a:lnTo>
                <a:lnTo>
                  <a:pt x="5150" y="2058"/>
                </a:lnTo>
                <a:close/>
                <a:moveTo>
                  <a:pt x="3147" y="2048"/>
                </a:moveTo>
                <a:lnTo>
                  <a:pt x="3147" y="2081"/>
                </a:lnTo>
                <a:lnTo>
                  <a:pt x="3109" y="2048"/>
                </a:lnTo>
                <a:lnTo>
                  <a:pt x="3147" y="2048"/>
                </a:lnTo>
                <a:lnTo>
                  <a:pt x="3147" y="2048"/>
                </a:lnTo>
                <a:lnTo>
                  <a:pt x="3147" y="2048"/>
                </a:lnTo>
                <a:close/>
                <a:moveTo>
                  <a:pt x="2802" y="2058"/>
                </a:moveTo>
                <a:lnTo>
                  <a:pt x="2807" y="2065"/>
                </a:lnTo>
                <a:lnTo>
                  <a:pt x="2793" y="2070"/>
                </a:lnTo>
                <a:lnTo>
                  <a:pt x="2793" y="2065"/>
                </a:lnTo>
                <a:lnTo>
                  <a:pt x="2776" y="2058"/>
                </a:lnTo>
                <a:lnTo>
                  <a:pt x="2785" y="2048"/>
                </a:lnTo>
                <a:lnTo>
                  <a:pt x="2802" y="2058"/>
                </a:lnTo>
                <a:lnTo>
                  <a:pt x="2802" y="2058"/>
                </a:lnTo>
                <a:lnTo>
                  <a:pt x="2802" y="2058"/>
                </a:lnTo>
                <a:close/>
                <a:moveTo>
                  <a:pt x="3563" y="2065"/>
                </a:moveTo>
                <a:lnTo>
                  <a:pt x="3563" y="2081"/>
                </a:lnTo>
                <a:lnTo>
                  <a:pt x="3558" y="2086"/>
                </a:lnTo>
                <a:lnTo>
                  <a:pt x="3541" y="2081"/>
                </a:lnTo>
                <a:lnTo>
                  <a:pt x="3563" y="2065"/>
                </a:lnTo>
                <a:lnTo>
                  <a:pt x="3563" y="2065"/>
                </a:lnTo>
                <a:lnTo>
                  <a:pt x="3563" y="2065"/>
                </a:lnTo>
                <a:close/>
                <a:moveTo>
                  <a:pt x="4481" y="2065"/>
                </a:moveTo>
                <a:lnTo>
                  <a:pt x="4512" y="2065"/>
                </a:lnTo>
                <a:lnTo>
                  <a:pt x="4512" y="2081"/>
                </a:lnTo>
                <a:lnTo>
                  <a:pt x="4486" y="2103"/>
                </a:lnTo>
                <a:lnTo>
                  <a:pt x="4465" y="2103"/>
                </a:lnTo>
                <a:lnTo>
                  <a:pt x="4460" y="2086"/>
                </a:lnTo>
                <a:lnTo>
                  <a:pt x="4465" y="2070"/>
                </a:lnTo>
                <a:lnTo>
                  <a:pt x="4481" y="2065"/>
                </a:lnTo>
                <a:lnTo>
                  <a:pt x="4481" y="2065"/>
                </a:lnTo>
                <a:lnTo>
                  <a:pt x="4481" y="2065"/>
                </a:lnTo>
                <a:close/>
                <a:moveTo>
                  <a:pt x="400" y="2081"/>
                </a:moveTo>
                <a:lnTo>
                  <a:pt x="385" y="2070"/>
                </a:lnTo>
                <a:lnTo>
                  <a:pt x="400" y="2070"/>
                </a:lnTo>
                <a:lnTo>
                  <a:pt x="400" y="2081"/>
                </a:lnTo>
                <a:lnTo>
                  <a:pt x="400" y="2081"/>
                </a:lnTo>
                <a:lnTo>
                  <a:pt x="400" y="2081"/>
                </a:lnTo>
                <a:close/>
                <a:moveTo>
                  <a:pt x="4389" y="2070"/>
                </a:moveTo>
                <a:lnTo>
                  <a:pt x="4406" y="2081"/>
                </a:lnTo>
                <a:lnTo>
                  <a:pt x="4356" y="2136"/>
                </a:lnTo>
                <a:lnTo>
                  <a:pt x="4335" y="2140"/>
                </a:lnTo>
                <a:lnTo>
                  <a:pt x="4318" y="2136"/>
                </a:lnTo>
                <a:lnTo>
                  <a:pt x="4335" y="2115"/>
                </a:lnTo>
                <a:lnTo>
                  <a:pt x="4356" y="2103"/>
                </a:lnTo>
                <a:lnTo>
                  <a:pt x="4368" y="2081"/>
                </a:lnTo>
                <a:lnTo>
                  <a:pt x="4389" y="2070"/>
                </a:lnTo>
                <a:lnTo>
                  <a:pt x="4389" y="2070"/>
                </a:lnTo>
                <a:lnTo>
                  <a:pt x="4389" y="2070"/>
                </a:lnTo>
                <a:close/>
                <a:moveTo>
                  <a:pt x="3541" y="2098"/>
                </a:moveTo>
                <a:lnTo>
                  <a:pt x="3525" y="2081"/>
                </a:lnTo>
                <a:lnTo>
                  <a:pt x="3532" y="2070"/>
                </a:lnTo>
                <a:lnTo>
                  <a:pt x="3546" y="2086"/>
                </a:lnTo>
                <a:lnTo>
                  <a:pt x="3541" y="2098"/>
                </a:lnTo>
                <a:lnTo>
                  <a:pt x="3541" y="2098"/>
                </a:lnTo>
                <a:lnTo>
                  <a:pt x="3541" y="2098"/>
                </a:lnTo>
                <a:close/>
                <a:moveTo>
                  <a:pt x="2769" y="2098"/>
                </a:moveTo>
                <a:lnTo>
                  <a:pt x="2769" y="2115"/>
                </a:lnTo>
                <a:lnTo>
                  <a:pt x="2755" y="2115"/>
                </a:lnTo>
                <a:lnTo>
                  <a:pt x="2759" y="2098"/>
                </a:lnTo>
                <a:lnTo>
                  <a:pt x="2769" y="2098"/>
                </a:lnTo>
                <a:lnTo>
                  <a:pt x="2769" y="2098"/>
                </a:lnTo>
                <a:lnTo>
                  <a:pt x="2769" y="2098"/>
                </a:lnTo>
                <a:close/>
                <a:moveTo>
                  <a:pt x="3563" y="2115"/>
                </a:moveTo>
                <a:lnTo>
                  <a:pt x="3570" y="2115"/>
                </a:lnTo>
                <a:lnTo>
                  <a:pt x="3558" y="2115"/>
                </a:lnTo>
                <a:lnTo>
                  <a:pt x="3563" y="2115"/>
                </a:lnTo>
                <a:lnTo>
                  <a:pt x="3563" y="2115"/>
                </a:lnTo>
                <a:lnTo>
                  <a:pt x="3563" y="2115"/>
                </a:lnTo>
                <a:close/>
                <a:moveTo>
                  <a:pt x="2868" y="2103"/>
                </a:moveTo>
                <a:lnTo>
                  <a:pt x="2878" y="2119"/>
                </a:lnTo>
                <a:lnTo>
                  <a:pt x="2878" y="2124"/>
                </a:lnTo>
                <a:lnTo>
                  <a:pt x="2861" y="2119"/>
                </a:lnTo>
                <a:lnTo>
                  <a:pt x="2868" y="2103"/>
                </a:lnTo>
                <a:lnTo>
                  <a:pt x="2868" y="2103"/>
                </a:lnTo>
                <a:lnTo>
                  <a:pt x="2868" y="2103"/>
                </a:lnTo>
                <a:close/>
                <a:moveTo>
                  <a:pt x="2856" y="2119"/>
                </a:moveTo>
                <a:lnTo>
                  <a:pt x="2868" y="2136"/>
                </a:lnTo>
                <a:lnTo>
                  <a:pt x="2861" y="2140"/>
                </a:lnTo>
                <a:lnTo>
                  <a:pt x="2856" y="2157"/>
                </a:lnTo>
                <a:lnTo>
                  <a:pt x="2830" y="2152"/>
                </a:lnTo>
                <a:lnTo>
                  <a:pt x="2830" y="2119"/>
                </a:lnTo>
                <a:lnTo>
                  <a:pt x="2856" y="2119"/>
                </a:lnTo>
                <a:lnTo>
                  <a:pt x="2856" y="2119"/>
                </a:lnTo>
                <a:lnTo>
                  <a:pt x="2856" y="2119"/>
                </a:lnTo>
                <a:close/>
                <a:moveTo>
                  <a:pt x="3584" y="2124"/>
                </a:moveTo>
                <a:lnTo>
                  <a:pt x="3570" y="2119"/>
                </a:lnTo>
                <a:lnTo>
                  <a:pt x="3584" y="2119"/>
                </a:lnTo>
                <a:lnTo>
                  <a:pt x="3584" y="2124"/>
                </a:lnTo>
                <a:lnTo>
                  <a:pt x="3584" y="2124"/>
                </a:lnTo>
                <a:lnTo>
                  <a:pt x="3584" y="2124"/>
                </a:lnTo>
                <a:close/>
                <a:moveTo>
                  <a:pt x="5129" y="2124"/>
                </a:moveTo>
                <a:lnTo>
                  <a:pt x="5129" y="2136"/>
                </a:lnTo>
                <a:lnTo>
                  <a:pt x="5124" y="2124"/>
                </a:lnTo>
                <a:lnTo>
                  <a:pt x="5129" y="2124"/>
                </a:lnTo>
                <a:lnTo>
                  <a:pt x="5129" y="2124"/>
                </a:lnTo>
                <a:lnTo>
                  <a:pt x="5129" y="2124"/>
                </a:lnTo>
                <a:close/>
                <a:moveTo>
                  <a:pt x="3579" y="2157"/>
                </a:moveTo>
                <a:lnTo>
                  <a:pt x="3579" y="2152"/>
                </a:lnTo>
                <a:lnTo>
                  <a:pt x="3579" y="2140"/>
                </a:lnTo>
                <a:lnTo>
                  <a:pt x="3596" y="2152"/>
                </a:lnTo>
                <a:lnTo>
                  <a:pt x="3579" y="2157"/>
                </a:lnTo>
                <a:lnTo>
                  <a:pt x="3579" y="2157"/>
                </a:lnTo>
                <a:lnTo>
                  <a:pt x="3579" y="2157"/>
                </a:lnTo>
                <a:close/>
                <a:moveTo>
                  <a:pt x="2759" y="2152"/>
                </a:moveTo>
                <a:lnTo>
                  <a:pt x="2759" y="2157"/>
                </a:lnTo>
                <a:lnTo>
                  <a:pt x="2748" y="2176"/>
                </a:lnTo>
                <a:lnTo>
                  <a:pt x="2717" y="2157"/>
                </a:lnTo>
                <a:lnTo>
                  <a:pt x="2738" y="2140"/>
                </a:lnTo>
                <a:lnTo>
                  <a:pt x="2759" y="2152"/>
                </a:lnTo>
                <a:lnTo>
                  <a:pt x="2759" y="2152"/>
                </a:lnTo>
                <a:lnTo>
                  <a:pt x="2759" y="2152"/>
                </a:lnTo>
                <a:close/>
                <a:moveTo>
                  <a:pt x="4626" y="2157"/>
                </a:moveTo>
                <a:lnTo>
                  <a:pt x="4642" y="2181"/>
                </a:lnTo>
                <a:lnTo>
                  <a:pt x="4642" y="2209"/>
                </a:lnTo>
                <a:lnTo>
                  <a:pt x="4595" y="2181"/>
                </a:lnTo>
                <a:lnTo>
                  <a:pt x="4611" y="2157"/>
                </a:lnTo>
                <a:lnTo>
                  <a:pt x="4626" y="2157"/>
                </a:lnTo>
                <a:lnTo>
                  <a:pt x="4626" y="2157"/>
                </a:lnTo>
                <a:lnTo>
                  <a:pt x="4626" y="2157"/>
                </a:lnTo>
                <a:close/>
                <a:moveTo>
                  <a:pt x="4642" y="2157"/>
                </a:moveTo>
                <a:lnTo>
                  <a:pt x="4663" y="2176"/>
                </a:lnTo>
                <a:lnTo>
                  <a:pt x="4637" y="2169"/>
                </a:lnTo>
                <a:lnTo>
                  <a:pt x="4642" y="2157"/>
                </a:lnTo>
                <a:lnTo>
                  <a:pt x="4642" y="2157"/>
                </a:lnTo>
                <a:lnTo>
                  <a:pt x="4642" y="2157"/>
                </a:lnTo>
                <a:close/>
                <a:moveTo>
                  <a:pt x="4368" y="2192"/>
                </a:moveTo>
                <a:lnTo>
                  <a:pt x="4352" y="2181"/>
                </a:lnTo>
                <a:lnTo>
                  <a:pt x="4373" y="2176"/>
                </a:lnTo>
                <a:lnTo>
                  <a:pt x="4356" y="2169"/>
                </a:lnTo>
                <a:lnTo>
                  <a:pt x="4389" y="2169"/>
                </a:lnTo>
                <a:lnTo>
                  <a:pt x="4368" y="2192"/>
                </a:lnTo>
                <a:lnTo>
                  <a:pt x="4368" y="2192"/>
                </a:lnTo>
                <a:lnTo>
                  <a:pt x="4368" y="2192"/>
                </a:lnTo>
                <a:close/>
                <a:moveTo>
                  <a:pt x="2516" y="2176"/>
                </a:moveTo>
                <a:lnTo>
                  <a:pt x="2521" y="2181"/>
                </a:lnTo>
                <a:lnTo>
                  <a:pt x="2504" y="2176"/>
                </a:lnTo>
                <a:lnTo>
                  <a:pt x="2516" y="2176"/>
                </a:lnTo>
                <a:lnTo>
                  <a:pt x="2516" y="2176"/>
                </a:lnTo>
                <a:lnTo>
                  <a:pt x="2516" y="2176"/>
                </a:lnTo>
                <a:close/>
                <a:moveTo>
                  <a:pt x="2542" y="2176"/>
                </a:moveTo>
                <a:lnTo>
                  <a:pt x="2570" y="2192"/>
                </a:lnTo>
                <a:lnTo>
                  <a:pt x="2542" y="2197"/>
                </a:lnTo>
                <a:lnTo>
                  <a:pt x="2521" y="2176"/>
                </a:lnTo>
                <a:lnTo>
                  <a:pt x="2542" y="2176"/>
                </a:lnTo>
                <a:lnTo>
                  <a:pt x="2542" y="2176"/>
                </a:lnTo>
                <a:lnTo>
                  <a:pt x="2542" y="2176"/>
                </a:lnTo>
                <a:close/>
                <a:moveTo>
                  <a:pt x="2129" y="2176"/>
                </a:moveTo>
                <a:lnTo>
                  <a:pt x="2138" y="2176"/>
                </a:lnTo>
                <a:lnTo>
                  <a:pt x="2122" y="2176"/>
                </a:lnTo>
                <a:lnTo>
                  <a:pt x="2129" y="2176"/>
                </a:lnTo>
                <a:lnTo>
                  <a:pt x="2129" y="2176"/>
                </a:lnTo>
                <a:lnTo>
                  <a:pt x="2129" y="2176"/>
                </a:lnTo>
                <a:close/>
                <a:moveTo>
                  <a:pt x="2122" y="2181"/>
                </a:moveTo>
                <a:lnTo>
                  <a:pt x="2100" y="2181"/>
                </a:lnTo>
                <a:lnTo>
                  <a:pt x="2122" y="2176"/>
                </a:lnTo>
                <a:lnTo>
                  <a:pt x="2122" y="2181"/>
                </a:lnTo>
                <a:lnTo>
                  <a:pt x="2122" y="2181"/>
                </a:lnTo>
                <a:lnTo>
                  <a:pt x="2122" y="2181"/>
                </a:lnTo>
                <a:close/>
                <a:moveTo>
                  <a:pt x="4675" y="2192"/>
                </a:moveTo>
                <a:lnTo>
                  <a:pt x="4696" y="2209"/>
                </a:lnTo>
                <a:lnTo>
                  <a:pt x="4680" y="2214"/>
                </a:lnTo>
                <a:lnTo>
                  <a:pt x="4675" y="2197"/>
                </a:lnTo>
                <a:lnTo>
                  <a:pt x="4675" y="2192"/>
                </a:lnTo>
                <a:lnTo>
                  <a:pt x="4675" y="2192"/>
                </a:lnTo>
                <a:lnTo>
                  <a:pt x="4675" y="2192"/>
                </a:lnTo>
                <a:close/>
                <a:moveTo>
                  <a:pt x="2868" y="2197"/>
                </a:moveTo>
                <a:lnTo>
                  <a:pt x="2868" y="2214"/>
                </a:lnTo>
                <a:lnTo>
                  <a:pt x="2861" y="2209"/>
                </a:lnTo>
                <a:lnTo>
                  <a:pt x="2868" y="2197"/>
                </a:lnTo>
                <a:lnTo>
                  <a:pt x="2868" y="2197"/>
                </a:lnTo>
                <a:lnTo>
                  <a:pt x="2868" y="2197"/>
                </a:lnTo>
                <a:close/>
                <a:moveTo>
                  <a:pt x="4340" y="2197"/>
                </a:moveTo>
                <a:lnTo>
                  <a:pt x="4368" y="2214"/>
                </a:lnTo>
                <a:lnTo>
                  <a:pt x="4340" y="2226"/>
                </a:lnTo>
                <a:lnTo>
                  <a:pt x="4335" y="2214"/>
                </a:lnTo>
                <a:lnTo>
                  <a:pt x="4340" y="2197"/>
                </a:lnTo>
                <a:lnTo>
                  <a:pt x="4340" y="2197"/>
                </a:lnTo>
                <a:lnTo>
                  <a:pt x="4340" y="2197"/>
                </a:lnTo>
                <a:close/>
                <a:moveTo>
                  <a:pt x="4512" y="2341"/>
                </a:moveTo>
                <a:lnTo>
                  <a:pt x="4481" y="2337"/>
                </a:lnTo>
                <a:lnTo>
                  <a:pt x="4474" y="2308"/>
                </a:lnTo>
                <a:lnTo>
                  <a:pt x="4465" y="2285"/>
                </a:lnTo>
                <a:lnTo>
                  <a:pt x="4503" y="2214"/>
                </a:lnTo>
                <a:lnTo>
                  <a:pt x="4574" y="2209"/>
                </a:lnTo>
                <a:lnTo>
                  <a:pt x="4621" y="2214"/>
                </a:lnTo>
                <a:lnTo>
                  <a:pt x="4626" y="2230"/>
                </a:lnTo>
                <a:lnTo>
                  <a:pt x="4621" y="2252"/>
                </a:lnTo>
                <a:lnTo>
                  <a:pt x="4626" y="2292"/>
                </a:lnTo>
                <a:lnTo>
                  <a:pt x="4621" y="2308"/>
                </a:lnTo>
                <a:lnTo>
                  <a:pt x="4567" y="2337"/>
                </a:lnTo>
                <a:lnTo>
                  <a:pt x="4512" y="2341"/>
                </a:lnTo>
                <a:lnTo>
                  <a:pt x="4512" y="2341"/>
                </a:lnTo>
                <a:lnTo>
                  <a:pt x="4512" y="2341"/>
                </a:lnTo>
                <a:close/>
                <a:moveTo>
                  <a:pt x="3827" y="2226"/>
                </a:moveTo>
                <a:lnTo>
                  <a:pt x="3834" y="2263"/>
                </a:lnTo>
                <a:lnTo>
                  <a:pt x="3818" y="2280"/>
                </a:lnTo>
                <a:lnTo>
                  <a:pt x="3796" y="2268"/>
                </a:lnTo>
                <a:lnTo>
                  <a:pt x="3796" y="2252"/>
                </a:lnTo>
                <a:lnTo>
                  <a:pt x="3801" y="2247"/>
                </a:lnTo>
                <a:lnTo>
                  <a:pt x="3785" y="2235"/>
                </a:lnTo>
                <a:lnTo>
                  <a:pt x="3811" y="2209"/>
                </a:lnTo>
                <a:lnTo>
                  <a:pt x="3827" y="2214"/>
                </a:lnTo>
                <a:lnTo>
                  <a:pt x="3827" y="2226"/>
                </a:lnTo>
                <a:lnTo>
                  <a:pt x="3827" y="2226"/>
                </a:lnTo>
                <a:lnTo>
                  <a:pt x="3827" y="2226"/>
                </a:lnTo>
                <a:close/>
                <a:moveTo>
                  <a:pt x="5237" y="2230"/>
                </a:moveTo>
                <a:lnTo>
                  <a:pt x="5214" y="2226"/>
                </a:lnTo>
                <a:lnTo>
                  <a:pt x="5247" y="2214"/>
                </a:lnTo>
                <a:lnTo>
                  <a:pt x="5237" y="2230"/>
                </a:lnTo>
                <a:lnTo>
                  <a:pt x="5237" y="2230"/>
                </a:lnTo>
                <a:lnTo>
                  <a:pt x="5237" y="2230"/>
                </a:lnTo>
                <a:close/>
                <a:moveTo>
                  <a:pt x="4696" y="2214"/>
                </a:moveTo>
                <a:lnTo>
                  <a:pt x="4696" y="2230"/>
                </a:lnTo>
                <a:lnTo>
                  <a:pt x="4692" y="2226"/>
                </a:lnTo>
                <a:lnTo>
                  <a:pt x="4696" y="2214"/>
                </a:lnTo>
                <a:lnTo>
                  <a:pt x="4696" y="2214"/>
                </a:lnTo>
                <a:lnTo>
                  <a:pt x="4696" y="2214"/>
                </a:lnTo>
                <a:close/>
                <a:moveTo>
                  <a:pt x="2570" y="2226"/>
                </a:moveTo>
                <a:lnTo>
                  <a:pt x="2559" y="2235"/>
                </a:lnTo>
                <a:lnTo>
                  <a:pt x="2554" y="2230"/>
                </a:lnTo>
                <a:lnTo>
                  <a:pt x="2570" y="2226"/>
                </a:lnTo>
                <a:lnTo>
                  <a:pt x="2570" y="2226"/>
                </a:lnTo>
                <a:lnTo>
                  <a:pt x="2570" y="2226"/>
                </a:lnTo>
                <a:close/>
                <a:moveTo>
                  <a:pt x="5285" y="2226"/>
                </a:moveTo>
                <a:lnTo>
                  <a:pt x="5301" y="2230"/>
                </a:lnTo>
                <a:lnTo>
                  <a:pt x="5285" y="2230"/>
                </a:lnTo>
                <a:lnTo>
                  <a:pt x="5285" y="2226"/>
                </a:lnTo>
                <a:lnTo>
                  <a:pt x="5285" y="2226"/>
                </a:lnTo>
                <a:lnTo>
                  <a:pt x="5285" y="2226"/>
                </a:lnTo>
                <a:close/>
                <a:moveTo>
                  <a:pt x="4718" y="2247"/>
                </a:moveTo>
                <a:lnTo>
                  <a:pt x="4746" y="2247"/>
                </a:lnTo>
                <a:lnTo>
                  <a:pt x="4746" y="2268"/>
                </a:lnTo>
                <a:lnTo>
                  <a:pt x="4734" y="2280"/>
                </a:lnTo>
                <a:lnTo>
                  <a:pt x="4675" y="2268"/>
                </a:lnTo>
                <a:lnTo>
                  <a:pt x="4649" y="2263"/>
                </a:lnTo>
                <a:lnTo>
                  <a:pt x="4642" y="2247"/>
                </a:lnTo>
                <a:lnTo>
                  <a:pt x="4675" y="2226"/>
                </a:lnTo>
                <a:lnTo>
                  <a:pt x="4692" y="2235"/>
                </a:lnTo>
                <a:lnTo>
                  <a:pt x="4718" y="2247"/>
                </a:lnTo>
                <a:lnTo>
                  <a:pt x="4718" y="2247"/>
                </a:lnTo>
                <a:lnTo>
                  <a:pt x="4718" y="2247"/>
                </a:lnTo>
                <a:close/>
                <a:moveTo>
                  <a:pt x="2214" y="2230"/>
                </a:moveTo>
                <a:lnTo>
                  <a:pt x="2219" y="2247"/>
                </a:lnTo>
                <a:lnTo>
                  <a:pt x="2209" y="2235"/>
                </a:lnTo>
                <a:lnTo>
                  <a:pt x="2214" y="2230"/>
                </a:lnTo>
                <a:lnTo>
                  <a:pt x="2214" y="2230"/>
                </a:lnTo>
                <a:lnTo>
                  <a:pt x="2214" y="2230"/>
                </a:lnTo>
                <a:close/>
                <a:moveTo>
                  <a:pt x="2948" y="2235"/>
                </a:moveTo>
                <a:lnTo>
                  <a:pt x="2948" y="2247"/>
                </a:lnTo>
                <a:lnTo>
                  <a:pt x="2937" y="2235"/>
                </a:lnTo>
                <a:lnTo>
                  <a:pt x="2948" y="2235"/>
                </a:lnTo>
                <a:lnTo>
                  <a:pt x="2948" y="2235"/>
                </a:lnTo>
                <a:lnTo>
                  <a:pt x="2948" y="2235"/>
                </a:lnTo>
                <a:close/>
                <a:moveTo>
                  <a:pt x="2252" y="2247"/>
                </a:moveTo>
                <a:lnTo>
                  <a:pt x="2252" y="2263"/>
                </a:lnTo>
                <a:lnTo>
                  <a:pt x="2230" y="2247"/>
                </a:lnTo>
                <a:lnTo>
                  <a:pt x="2252" y="2247"/>
                </a:lnTo>
                <a:lnTo>
                  <a:pt x="2252" y="2247"/>
                </a:lnTo>
                <a:lnTo>
                  <a:pt x="2252" y="2247"/>
                </a:lnTo>
                <a:close/>
                <a:moveTo>
                  <a:pt x="3024" y="2263"/>
                </a:moveTo>
                <a:lnTo>
                  <a:pt x="3019" y="2263"/>
                </a:lnTo>
                <a:lnTo>
                  <a:pt x="3024" y="2263"/>
                </a:lnTo>
                <a:lnTo>
                  <a:pt x="3024" y="2263"/>
                </a:lnTo>
                <a:lnTo>
                  <a:pt x="3024" y="2263"/>
                </a:lnTo>
                <a:close/>
                <a:moveTo>
                  <a:pt x="1895" y="2263"/>
                </a:moveTo>
                <a:lnTo>
                  <a:pt x="1874" y="2263"/>
                </a:lnTo>
                <a:lnTo>
                  <a:pt x="1895" y="2263"/>
                </a:lnTo>
                <a:lnTo>
                  <a:pt x="1895" y="2263"/>
                </a:lnTo>
                <a:lnTo>
                  <a:pt x="1895" y="2263"/>
                </a:lnTo>
                <a:close/>
                <a:moveTo>
                  <a:pt x="2306" y="2308"/>
                </a:moveTo>
                <a:lnTo>
                  <a:pt x="2306" y="2285"/>
                </a:lnTo>
                <a:lnTo>
                  <a:pt x="2318" y="2285"/>
                </a:lnTo>
                <a:lnTo>
                  <a:pt x="2322" y="2303"/>
                </a:lnTo>
                <a:lnTo>
                  <a:pt x="2306" y="2308"/>
                </a:lnTo>
                <a:lnTo>
                  <a:pt x="2306" y="2308"/>
                </a:lnTo>
                <a:lnTo>
                  <a:pt x="2306" y="2308"/>
                </a:lnTo>
                <a:close/>
                <a:moveTo>
                  <a:pt x="5410" y="2292"/>
                </a:moveTo>
                <a:lnTo>
                  <a:pt x="5415" y="2303"/>
                </a:lnTo>
                <a:lnTo>
                  <a:pt x="5398" y="2303"/>
                </a:lnTo>
                <a:lnTo>
                  <a:pt x="5410" y="2292"/>
                </a:lnTo>
                <a:lnTo>
                  <a:pt x="5410" y="2292"/>
                </a:lnTo>
                <a:lnTo>
                  <a:pt x="5410" y="2292"/>
                </a:lnTo>
                <a:close/>
                <a:moveTo>
                  <a:pt x="2285" y="2292"/>
                </a:moveTo>
                <a:lnTo>
                  <a:pt x="2289" y="2292"/>
                </a:lnTo>
                <a:lnTo>
                  <a:pt x="2285" y="2292"/>
                </a:lnTo>
                <a:lnTo>
                  <a:pt x="2285" y="2292"/>
                </a:lnTo>
                <a:lnTo>
                  <a:pt x="2285" y="2292"/>
                </a:lnTo>
                <a:close/>
                <a:moveTo>
                  <a:pt x="2306" y="2308"/>
                </a:moveTo>
                <a:lnTo>
                  <a:pt x="2301" y="2308"/>
                </a:lnTo>
                <a:lnTo>
                  <a:pt x="2301" y="2303"/>
                </a:lnTo>
                <a:lnTo>
                  <a:pt x="2306" y="2308"/>
                </a:lnTo>
                <a:lnTo>
                  <a:pt x="2306" y="2308"/>
                </a:lnTo>
                <a:lnTo>
                  <a:pt x="2306" y="2308"/>
                </a:lnTo>
                <a:close/>
                <a:moveTo>
                  <a:pt x="2289" y="2308"/>
                </a:moveTo>
                <a:lnTo>
                  <a:pt x="2285" y="2303"/>
                </a:lnTo>
                <a:lnTo>
                  <a:pt x="2289" y="2303"/>
                </a:lnTo>
                <a:lnTo>
                  <a:pt x="2289" y="2308"/>
                </a:lnTo>
                <a:lnTo>
                  <a:pt x="2289" y="2308"/>
                </a:lnTo>
                <a:lnTo>
                  <a:pt x="2289" y="2308"/>
                </a:lnTo>
                <a:close/>
                <a:moveTo>
                  <a:pt x="2322" y="2308"/>
                </a:moveTo>
                <a:lnTo>
                  <a:pt x="2322" y="2337"/>
                </a:lnTo>
                <a:lnTo>
                  <a:pt x="2306" y="2320"/>
                </a:lnTo>
                <a:lnTo>
                  <a:pt x="2322" y="2308"/>
                </a:lnTo>
                <a:lnTo>
                  <a:pt x="2322" y="2308"/>
                </a:lnTo>
                <a:lnTo>
                  <a:pt x="2322" y="2308"/>
                </a:lnTo>
                <a:close/>
                <a:moveTo>
                  <a:pt x="5436" y="2337"/>
                </a:moveTo>
                <a:lnTo>
                  <a:pt x="5415" y="2337"/>
                </a:lnTo>
                <a:lnTo>
                  <a:pt x="5431" y="2325"/>
                </a:lnTo>
                <a:lnTo>
                  <a:pt x="5448" y="2337"/>
                </a:lnTo>
                <a:lnTo>
                  <a:pt x="5436" y="2337"/>
                </a:lnTo>
                <a:lnTo>
                  <a:pt x="5436" y="2337"/>
                </a:lnTo>
                <a:lnTo>
                  <a:pt x="5436" y="2337"/>
                </a:lnTo>
                <a:close/>
                <a:moveTo>
                  <a:pt x="2339" y="2337"/>
                </a:moveTo>
                <a:lnTo>
                  <a:pt x="2339" y="2341"/>
                </a:lnTo>
                <a:lnTo>
                  <a:pt x="2339" y="2337"/>
                </a:lnTo>
                <a:lnTo>
                  <a:pt x="2339" y="2337"/>
                </a:lnTo>
                <a:lnTo>
                  <a:pt x="2339" y="2337"/>
                </a:lnTo>
                <a:close/>
                <a:moveTo>
                  <a:pt x="2344" y="2341"/>
                </a:moveTo>
                <a:lnTo>
                  <a:pt x="2360" y="2358"/>
                </a:lnTo>
                <a:lnTo>
                  <a:pt x="2344" y="2358"/>
                </a:lnTo>
                <a:lnTo>
                  <a:pt x="2344" y="2341"/>
                </a:lnTo>
                <a:lnTo>
                  <a:pt x="2344" y="2341"/>
                </a:lnTo>
                <a:lnTo>
                  <a:pt x="2344" y="2341"/>
                </a:lnTo>
                <a:close/>
                <a:moveTo>
                  <a:pt x="5474" y="2358"/>
                </a:moveTo>
                <a:lnTo>
                  <a:pt x="5500" y="2346"/>
                </a:lnTo>
                <a:lnTo>
                  <a:pt x="5516" y="2346"/>
                </a:lnTo>
                <a:lnTo>
                  <a:pt x="5490" y="2363"/>
                </a:lnTo>
                <a:lnTo>
                  <a:pt x="5474" y="2358"/>
                </a:lnTo>
                <a:lnTo>
                  <a:pt x="5474" y="2358"/>
                </a:lnTo>
                <a:lnTo>
                  <a:pt x="5474" y="2358"/>
                </a:lnTo>
                <a:close/>
                <a:moveTo>
                  <a:pt x="5474" y="2363"/>
                </a:moveTo>
                <a:lnTo>
                  <a:pt x="5462" y="2358"/>
                </a:lnTo>
                <a:lnTo>
                  <a:pt x="5474" y="2363"/>
                </a:lnTo>
                <a:lnTo>
                  <a:pt x="5474" y="2363"/>
                </a:lnTo>
                <a:lnTo>
                  <a:pt x="5474" y="2363"/>
                </a:lnTo>
                <a:close/>
                <a:moveTo>
                  <a:pt x="5462" y="2363"/>
                </a:moveTo>
                <a:lnTo>
                  <a:pt x="5469" y="2374"/>
                </a:lnTo>
                <a:lnTo>
                  <a:pt x="5462" y="2363"/>
                </a:lnTo>
                <a:lnTo>
                  <a:pt x="5462" y="2363"/>
                </a:lnTo>
                <a:lnTo>
                  <a:pt x="5462" y="2363"/>
                </a:lnTo>
                <a:close/>
                <a:moveTo>
                  <a:pt x="2306" y="2363"/>
                </a:moveTo>
                <a:lnTo>
                  <a:pt x="2322" y="2374"/>
                </a:lnTo>
                <a:lnTo>
                  <a:pt x="2318" y="2379"/>
                </a:lnTo>
                <a:lnTo>
                  <a:pt x="2306" y="2363"/>
                </a:lnTo>
                <a:lnTo>
                  <a:pt x="2306" y="2363"/>
                </a:lnTo>
                <a:lnTo>
                  <a:pt x="2306" y="2363"/>
                </a:lnTo>
                <a:close/>
                <a:moveTo>
                  <a:pt x="5192" y="2429"/>
                </a:moveTo>
                <a:lnTo>
                  <a:pt x="5200" y="2436"/>
                </a:lnTo>
                <a:lnTo>
                  <a:pt x="5192" y="2436"/>
                </a:lnTo>
                <a:lnTo>
                  <a:pt x="5192" y="2429"/>
                </a:lnTo>
                <a:lnTo>
                  <a:pt x="5192" y="2429"/>
                </a:lnTo>
                <a:lnTo>
                  <a:pt x="5192" y="2429"/>
                </a:lnTo>
                <a:close/>
                <a:moveTo>
                  <a:pt x="5204" y="2448"/>
                </a:moveTo>
                <a:lnTo>
                  <a:pt x="5221" y="2452"/>
                </a:lnTo>
                <a:lnTo>
                  <a:pt x="5192" y="2436"/>
                </a:lnTo>
                <a:lnTo>
                  <a:pt x="5204" y="2448"/>
                </a:lnTo>
                <a:lnTo>
                  <a:pt x="5204" y="2448"/>
                </a:lnTo>
                <a:lnTo>
                  <a:pt x="5204" y="2448"/>
                </a:lnTo>
                <a:close/>
                <a:moveTo>
                  <a:pt x="4070" y="2457"/>
                </a:moveTo>
                <a:lnTo>
                  <a:pt x="4066" y="2469"/>
                </a:lnTo>
                <a:lnTo>
                  <a:pt x="4049" y="2452"/>
                </a:lnTo>
                <a:lnTo>
                  <a:pt x="4070" y="2457"/>
                </a:lnTo>
                <a:lnTo>
                  <a:pt x="4070" y="2457"/>
                </a:lnTo>
                <a:lnTo>
                  <a:pt x="4070" y="2457"/>
                </a:lnTo>
                <a:close/>
                <a:moveTo>
                  <a:pt x="5523" y="2457"/>
                </a:moveTo>
                <a:lnTo>
                  <a:pt x="5528" y="2457"/>
                </a:lnTo>
                <a:lnTo>
                  <a:pt x="5507" y="2457"/>
                </a:lnTo>
                <a:lnTo>
                  <a:pt x="5523" y="2457"/>
                </a:lnTo>
                <a:lnTo>
                  <a:pt x="5523" y="2457"/>
                </a:lnTo>
                <a:lnTo>
                  <a:pt x="5523" y="2457"/>
                </a:lnTo>
                <a:close/>
                <a:moveTo>
                  <a:pt x="4000" y="2485"/>
                </a:moveTo>
                <a:lnTo>
                  <a:pt x="4016" y="2502"/>
                </a:lnTo>
                <a:lnTo>
                  <a:pt x="4016" y="2514"/>
                </a:lnTo>
                <a:lnTo>
                  <a:pt x="4054" y="2523"/>
                </a:lnTo>
                <a:lnTo>
                  <a:pt x="4044" y="2530"/>
                </a:lnTo>
                <a:lnTo>
                  <a:pt x="4011" y="2530"/>
                </a:lnTo>
                <a:lnTo>
                  <a:pt x="4016" y="2514"/>
                </a:lnTo>
                <a:lnTo>
                  <a:pt x="3990" y="2514"/>
                </a:lnTo>
                <a:lnTo>
                  <a:pt x="3990" y="2502"/>
                </a:lnTo>
                <a:lnTo>
                  <a:pt x="3974" y="2485"/>
                </a:lnTo>
                <a:lnTo>
                  <a:pt x="3962" y="2474"/>
                </a:lnTo>
                <a:lnTo>
                  <a:pt x="4000" y="2485"/>
                </a:lnTo>
                <a:lnTo>
                  <a:pt x="4000" y="2485"/>
                </a:lnTo>
                <a:lnTo>
                  <a:pt x="4000" y="2485"/>
                </a:lnTo>
                <a:close/>
                <a:moveTo>
                  <a:pt x="3936" y="2490"/>
                </a:moveTo>
                <a:lnTo>
                  <a:pt x="3957" y="2523"/>
                </a:lnTo>
                <a:lnTo>
                  <a:pt x="3945" y="2540"/>
                </a:lnTo>
                <a:lnTo>
                  <a:pt x="3919" y="2514"/>
                </a:lnTo>
                <a:lnTo>
                  <a:pt x="3919" y="2490"/>
                </a:lnTo>
                <a:lnTo>
                  <a:pt x="3936" y="2490"/>
                </a:lnTo>
                <a:lnTo>
                  <a:pt x="3936" y="2490"/>
                </a:lnTo>
                <a:lnTo>
                  <a:pt x="3936" y="2490"/>
                </a:lnTo>
                <a:close/>
                <a:moveTo>
                  <a:pt x="5528" y="2502"/>
                </a:moveTo>
                <a:lnTo>
                  <a:pt x="5528" y="2507"/>
                </a:lnTo>
                <a:lnTo>
                  <a:pt x="5523" y="2490"/>
                </a:lnTo>
                <a:lnTo>
                  <a:pt x="5528" y="2502"/>
                </a:lnTo>
                <a:lnTo>
                  <a:pt x="5528" y="2502"/>
                </a:lnTo>
                <a:lnTo>
                  <a:pt x="5528" y="2502"/>
                </a:lnTo>
                <a:close/>
                <a:moveTo>
                  <a:pt x="4264" y="2745"/>
                </a:moveTo>
                <a:lnTo>
                  <a:pt x="4205" y="2785"/>
                </a:lnTo>
                <a:lnTo>
                  <a:pt x="4134" y="2762"/>
                </a:lnTo>
                <a:lnTo>
                  <a:pt x="4104" y="2762"/>
                </a:lnTo>
                <a:lnTo>
                  <a:pt x="4104" y="2752"/>
                </a:lnTo>
                <a:lnTo>
                  <a:pt x="4108" y="2745"/>
                </a:lnTo>
                <a:lnTo>
                  <a:pt x="4108" y="2729"/>
                </a:lnTo>
                <a:lnTo>
                  <a:pt x="4066" y="2729"/>
                </a:lnTo>
                <a:lnTo>
                  <a:pt x="4054" y="2724"/>
                </a:lnTo>
                <a:lnTo>
                  <a:pt x="4070" y="2707"/>
                </a:lnTo>
                <a:lnTo>
                  <a:pt x="4066" y="2696"/>
                </a:lnTo>
                <a:lnTo>
                  <a:pt x="4028" y="2712"/>
                </a:lnTo>
                <a:lnTo>
                  <a:pt x="4016" y="2724"/>
                </a:lnTo>
                <a:lnTo>
                  <a:pt x="4028" y="2729"/>
                </a:lnTo>
                <a:lnTo>
                  <a:pt x="4028" y="2745"/>
                </a:lnTo>
                <a:lnTo>
                  <a:pt x="3978" y="2769"/>
                </a:lnTo>
                <a:lnTo>
                  <a:pt x="3957" y="2802"/>
                </a:lnTo>
                <a:lnTo>
                  <a:pt x="3910" y="2823"/>
                </a:lnTo>
                <a:lnTo>
                  <a:pt x="3886" y="2818"/>
                </a:lnTo>
                <a:lnTo>
                  <a:pt x="3881" y="2790"/>
                </a:lnTo>
                <a:lnTo>
                  <a:pt x="3886" y="2762"/>
                </a:lnTo>
                <a:lnTo>
                  <a:pt x="3881" y="2752"/>
                </a:lnTo>
                <a:lnTo>
                  <a:pt x="3818" y="2762"/>
                </a:lnTo>
                <a:lnTo>
                  <a:pt x="3796" y="2778"/>
                </a:lnTo>
                <a:lnTo>
                  <a:pt x="3773" y="2762"/>
                </a:lnTo>
                <a:lnTo>
                  <a:pt x="3796" y="2729"/>
                </a:lnTo>
                <a:lnTo>
                  <a:pt x="3839" y="2712"/>
                </a:lnTo>
                <a:lnTo>
                  <a:pt x="3834" y="2674"/>
                </a:lnTo>
                <a:lnTo>
                  <a:pt x="3834" y="2651"/>
                </a:lnTo>
                <a:lnTo>
                  <a:pt x="3848" y="2625"/>
                </a:lnTo>
                <a:lnTo>
                  <a:pt x="3839" y="2613"/>
                </a:lnTo>
                <a:lnTo>
                  <a:pt x="3848" y="2596"/>
                </a:lnTo>
                <a:lnTo>
                  <a:pt x="3848" y="2563"/>
                </a:lnTo>
                <a:lnTo>
                  <a:pt x="3855" y="2514"/>
                </a:lnTo>
                <a:lnTo>
                  <a:pt x="3893" y="2502"/>
                </a:lnTo>
                <a:lnTo>
                  <a:pt x="3893" y="2514"/>
                </a:lnTo>
                <a:lnTo>
                  <a:pt x="3919" y="2514"/>
                </a:lnTo>
                <a:lnTo>
                  <a:pt x="3924" y="2530"/>
                </a:lnTo>
                <a:lnTo>
                  <a:pt x="3903" y="2540"/>
                </a:lnTo>
                <a:lnTo>
                  <a:pt x="3924" y="2556"/>
                </a:lnTo>
                <a:lnTo>
                  <a:pt x="3936" y="2580"/>
                </a:lnTo>
                <a:lnTo>
                  <a:pt x="3941" y="2580"/>
                </a:lnTo>
                <a:lnTo>
                  <a:pt x="3957" y="2547"/>
                </a:lnTo>
                <a:lnTo>
                  <a:pt x="3962" y="2556"/>
                </a:lnTo>
                <a:lnTo>
                  <a:pt x="3990" y="2563"/>
                </a:lnTo>
                <a:lnTo>
                  <a:pt x="3978" y="2568"/>
                </a:lnTo>
                <a:lnTo>
                  <a:pt x="3990" y="2580"/>
                </a:lnTo>
                <a:lnTo>
                  <a:pt x="4044" y="2585"/>
                </a:lnTo>
                <a:lnTo>
                  <a:pt x="4054" y="2613"/>
                </a:lnTo>
                <a:lnTo>
                  <a:pt x="4125" y="2641"/>
                </a:lnTo>
                <a:lnTo>
                  <a:pt x="4158" y="2667"/>
                </a:lnTo>
                <a:lnTo>
                  <a:pt x="4158" y="2691"/>
                </a:lnTo>
                <a:lnTo>
                  <a:pt x="4163" y="2707"/>
                </a:lnTo>
                <a:lnTo>
                  <a:pt x="4141" y="2724"/>
                </a:lnTo>
                <a:lnTo>
                  <a:pt x="4179" y="2712"/>
                </a:lnTo>
                <a:lnTo>
                  <a:pt x="4210" y="2724"/>
                </a:lnTo>
                <a:lnTo>
                  <a:pt x="4210" y="2712"/>
                </a:lnTo>
                <a:lnTo>
                  <a:pt x="4217" y="2707"/>
                </a:lnTo>
                <a:lnTo>
                  <a:pt x="4243" y="2724"/>
                </a:lnTo>
                <a:lnTo>
                  <a:pt x="4243" y="2729"/>
                </a:lnTo>
                <a:lnTo>
                  <a:pt x="4243" y="2736"/>
                </a:lnTo>
                <a:lnTo>
                  <a:pt x="4264" y="2745"/>
                </a:lnTo>
                <a:lnTo>
                  <a:pt x="4264" y="2745"/>
                </a:lnTo>
                <a:lnTo>
                  <a:pt x="4264" y="2745"/>
                </a:lnTo>
                <a:close/>
                <a:moveTo>
                  <a:pt x="4044" y="2507"/>
                </a:moveTo>
                <a:lnTo>
                  <a:pt x="4028" y="2507"/>
                </a:lnTo>
                <a:lnTo>
                  <a:pt x="4049" y="2507"/>
                </a:lnTo>
                <a:lnTo>
                  <a:pt x="4044" y="2507"/>
                </a:lnTo>
                <a:lnTo>
                  <a:pt x="4044" y="2507"/>
                </a:lnTo>
                <a:lnTo>
                  <a:pt x="4044" y="2507"/>
                </a:lnTo>
                <a:close/>
                <a:moveTo>
                  <a:pt x="5523" y="2523"/>
                </a:moveTo>
                <a:lnTo>
                  <a:pt x="5528" y="2530"/>
                </a:lnTo>
                <a:lnTo>
                  <a:pt x="5523" y="2530"/>
                </a:lnTo>
                <a:lnTo>
                  <a:pt x="5507" y="2523"/>
                </a:lnTo>
                <a:lnTo>
                  <a:pt x="5523" y="2523"/>
                </a:lnTo>
                <a:lnTo>
                  <a:pt x="5523" y="2523"/>
                </a:lnTo>
                <a:lnTo>
                  <a:pt x="5523" y="2523"/>
                </a:lnTo>
                <a:close/>
                <a:moveTo>
                  <a:pt x="5485" y="2530"/>
                </a:moveTo>
                <a:lnTo>
                  <a:pt x="5490" y="2540"/>
                </a:lnTo>
                <a:lnTo>
                  <a:pt x="5474" y="2540"/>
                </a:lnTo>
                <a:lnTo>
                  <a:pt x="5485" y="2530"/>
                </a:lnTo>
                <a:lnTo>
                  <a:pt x="5485" y="2530"/>
                </a:lnTo>
                <a:lnTo>
                  <a:pt x="5485" y="2530"/>
                </a:lnTo>
                <a:close/>
                <a:moveTo>
                  <a:pt x="5452" y="2568"/>
                </a:moveTo>
                <a:lnTo>
                  <a:pt x="5462" y="2568"/>
                </a:lnTo>
                <a:lnTo>
                  <a:pt x="5448" y="2568"/>
                </a:lnTo>
                <a:lnTo>
                  <a:pt x="5452" y="2568"/>
                </a:lnTo>
                <a:lnTo>
                  <a:pt x="5452" y="2568"/>
                </a:lnTo>
                <a:lnTo>
                  <a:pt x="5452" y="2568"/>
                </a:lnTo>
                <a:close/>
                <a:moveTo>
                  <a:pt x="5448" y="2613"/>
                </a:moveTo>
                <a:lnTo>
                  <a:pt x="5452" y="2618"/>
                </a:lnTo>
                <a:lnTo>
                  <a:pt x="5436" y="2613"/>
                </a:lnTo>
                <a:lnTo>
                  <a:pt x="5448" y="2613"/>
                </a:lnTo>
                <a:lnTo>
                  <a:pt x="5448" y="2613"/>
                </a:lnTo>
                <a:lnTo>
                  <a:pt x="5448" y="2613"/>
                </a:lnTo>
                <a:close/>
                <a:moveTo>
                  <a:pt x="5313" y="2641"/>
                </a:moveTo>
                <a:lnTo>
                  <a:pt x="5313" y="2651"/>
                </a:lnTo>
                <a:lnTo>
                  <a:pt x="5301" y="2667"/>
                </a:lnTo>
                <a:lnTo>
                  <a:pt x="5285" y="2667"/>
                </a:lnTo>
                <a:lnTo>
                  <a:pt x="5301" y="2641"/>
                </a:lnTo>
                <a:lnTo>
                  <a:pt x="5313" y="2641"/>
                </a:lnTo>
                <a:lnTo>
                  <a:pt x="5313" y="2641"/>
                </a:lnTo>
                <a:lnTo>
                  <a:pt x="5313" y="2641"/>
                </a:lnTo>
                <a:close/>
                <a:moveTo>
                  <a:pt x="4734" y="2658"/>
                </a:moveTo>
                <a:lnTo>
                  <a:pt x="4729" y="2679"/>
                </a:lnTo>
                <a:lnTo>
                  <a:pt x="4718" y="2679"/>
                </a:lnTo>
                <a:lnTo>
                  <a:pt x="4729" y="2667"/>
                </a:lnTo>
                <a:lnTo>
                  <a:pt x="4718" y="2658"/>
                </a:lnTo>
                <a:lnTo>
                  <a:pt x="4734" y="2658"/>
                </a:lnTo>
                <a:lnTo>
                  <a:pt x="4734" y="2658"/>
                </a:lnTo>
                <a:lnTo>
                  <a:pt x="4734" y="2658"/>
                </a:lnTo>
                <a:close/>
                <a:moveTo>
                  <a:pt x="4680" y="2658"/>
                </a:moveTo>
                <a:lnTo>
                  <a:pt x="4692" y="2667"/>
                </a:lnTo>
                <a:lnTo>
                  <a:pt x="4675" y="2658"/>
                </a:lnTo>
                <a:lnTo>
                  <a:pt x="4680" y="2658"/>
                </a:lnTo>
                <a:lnTo>
                  <a:pt x="4680" y="2658"/>
                </a:lnTo>
                <a:lnTo>
                  <a:pt x="4680" y="2658"/>
                </a:lnTo>
                <a:close/>
                <a:moveTo>
                  <a:pt x="4718" y="2667"/>
                </a:moveTo>
                <a:lnTo>
                  <a:pt x="4713" y="2674"/>
                </a:lnTo>
                <a:lnTo>
                  <a:pt x="4718" y="2667"/>
                </a:lnTo>
                <a:lnTo>
                  <a:pt x="4718" y="2667"/>
                </a:lnTo>
                <a:lnTo>
                  <a:pt x="4718" y="2667"/>
                </a:lnTo>
                <a:close/>
                <a:moveTo>
                  <a:pt x="4675" y="2667"/>
                </a:moveTo>
                <a:lnTo>
                  <a:pt x="4692" y="2674"/>
                </a:lnTo>
                <a:lnTo>
                  <a:pt x="4663" y="2667"/>
                </a:lnTo>
                <a:lnTo>
                  <a:pt x="4675" y="2667"/>
                </a:lnTo>
                <a:lnTo>
                  <a:pt x="4675" y="2667"/>
                </a:lnTo>
                <a:lnTo>
                  <a:pt x="4675" y="2667"/>
                </a:lnTo>
                <a:close/>
                <a:moveTo>
                  <a:pt x="5339" y="2674"/>
                </a:moveTo>
                <a:lnTo>
                  <a:pt x="5344" y="2679"/>
                </a:lnTo>
                <a:lnTo>
                  <a:pt x="5339" y="2691"/>
                </a:lnTo>
                <a:lnTo>
                  <a:pt x="5327" y="2674"/>
                </a:lnTo>
                <a:lnTo>
                  <a:pt x="5339" y="2674"/>
                </a:lnTo>
                <a:lnTo>
                  <a:pt x="5339" y="2674"/>
                </a:lnTo>
                <a:lnTo>
                  <a:pt x="5339" y="2674"/>
                </a:lnTo>
                <a:close/>
                <a:moveTo>
                  <a:pt x="4718" y="2674"/>
                </a:moveTo>
                <a:lnTo>
                  <a:pt x="4718" y="2691"/>
                </a:lnTo>
                <a:lnTo>
                  <a:pt x="4713" y="2679"/>
                </a:lnTo>
                <a:lnTo>
                  <a:pt x="4718" y="2674"/>
                </a:lnTo>
                <a:lnTo>
                  <a:pt x="4718" y="2674"/>
                </a:lnTo>
                <a:lnTo>
                  <a:pt x="4718" y="2674"/>
                </a:lnTo>
                <a:close/>
                <a:moveTo>
                  <a:pt x="4701" y="2679"/>
                </a:moveTo>
                <a:lnTo>
                  <a:pt x="4701" y="2691"/>
                </a:lnTo>
                <a:lnTo>
                  <a:pt x="4701" y="2679"/>
                </a:lnTo>
                <a:lnTo>
                  <a:pt x="4701" y="2679"/>
                </a:lnTo>
                <a:lnTo>
                  <a:pt x="4701" y="2679"/>
                </a:lnTo>
                <a:close/>
                <a:moveTo>
                  <a:pt x="5327" y="2679"/>
                </a:moveTo>
                <a:lnTo>
                  <a:pt x="5339" y="2691"/>
                </a:lnTo>
                <a:lnTo>
                  <a:pt x="5327" y="2696"/>
                </a:lnTo>
                <a:lnTo>
                  <a:pt x="5322" y="2679"/>
                </a:lnTo>
                <a:lnTo>
                  <a:pt x="5327" y="2679"/>
                </a:lnTo>
                <a:lnTo>
                  <a:pt x="5327" y="2679"/>
                </a:lnTo>
                <a:lnTo>
                  <a:pt x="5327" y="2679"/>
                </a:lnTo>
                <a:close/>
                <a:moveTo>
                  <a:pt x="4583" y="2679"/>
                </a:moveTo>
                <a:lnTo>
                  <a:pt x="4595" y="2679"/>
                </a:lnTo>
                <a:lnTo>
                  <a:pt x="4583" y="2691"/>
                </a:lnTo>
                <a:lnTo>
                  <a:pt x="4583" y="2679"/>
                </a:lnTo>
                <a:lnTo>
                  <a:pt x="4583" y="2679"/>
                </a:lnTo>
                <a:lnTo>
                  <a:pt x="4583" y="2679"/>
                </a:lnTo>
                <a:close/>
                <a:moveTo>
                  <a:pt x="5360" y="2691"/>
                </a:moveTo>
                <a:lnTo>
                  <a:pt x="5365" y="2696"/>
                </a:lnTo>
                <a:lnTo>
                  <a:pt x="5355" y="2691"/>
                </a:lnTo>
                <a:lnTo>
                  <a:pt x="5360" y="2691"/>
                </a:lnTo>
                <a:lnTo>
                  <a:pt x="5360" y="2691"/>
                </a:lnTo>
                <a:lnTo>
                  <a:pt x="5360" y="2691"/>
                </a:lnTo>
                <a:close/>
                <a:moveTo>
                  <a:pt x="5365" y="2707"/>
                </a:moveTo>
                <a:lnTo>
                  <a:pt x="5360" y="2707"/>
                </a:lnTo>
                <a:lnTo>
                  <a:pt x="5365" y="2707"/>
                </a:lnTo>
                <a:lnTo>
                  <a:pt x="5365" y="2707"/>
                </a:lnTo>
                <a:lnTo>
                  <a:pt x="5365" y="2707"/>
                </a:lnTo>
                <a:close/>
                <a:moveTo>
                  <a:pt x="5327" y="2707"/>
                </a:moveTo>
                <a:lnTo>
                  <a:pt x="5339" y="2712"/>
                </a:lnTo>
                <a:lnTo>
                  <a:pt x="5327" y="2707"/>
                </a:lnTo>
                <a:lnTo>
                  <a:pt x="5327" y="2707"/>
                </a:lnTo>
                <a:lnTo>
                  <a:pt x="5327" y="2707"/>
                </a:lnTo>
                <a:close/>
                <a:moveTo>
                  <a:pt x="4444" y="2724"/>
                </a:moveTo>
                <a:lnTo>
                  <a:pt x="4432" y="2729"/>
                </a:lnTo>
                <a:lnTo>
                  <a:pt x="4422" y="2724"/>
                </a:lnTo>
                <a:lnTo>
                  <a:pt x="4448" y="2724"/>
                </a:lnTo>
                <a:lnTo>
                  <a:pt x="4444" y="2724"/>
                </a:lnTo>
                <a:lnTo>
                  <a:pt x="4444" y="2724"/>
                </a:lnTo>
                <a:lnTo>
                  <a:pt x="4444" y="2724"/>
                </a:lnTo>
                <a:close/>
                <a:moveTo>
                  <a:pt x="5360" y="2736"/>
                </a:moveTo>
                <a:lnTo>
                  <a:pt x="5360" y="2745"/>
                </a:lnTo>
                <a:lnTo>
                  <a:pt x="5365" y="2745"/>
                </a:lnTo>
                <a:lnTo>
                  <a:pt x="5377" y="2752"/>
                </a:lnTo>
                <a:lnTo>
                  <a:pt x="5339" y="2745"/>
                </a:lnTo>
                <a:lnTo>
                  <a:pt x="5360" y="2736"/>
                </a:lnTo>
                <a:lnTo>
                  <a:pt x="5360" y="2736"/>
                </a:lnTo>
                <a:lnTo>
                  <a:pt x="5360" y="2736"/>
                </a:lnTo>
                <a:close/>
                <a:moveTo>
                  <a:pt x="5377" y="2736"/>
                </a:moveTo>
                <a:lnTo>
                  <a:pt x="5393" y="2736"/>
                </a:lnTo>
                <a:lnTo>
                  <a:pt x="5393" y="2745"/>
                </a:lnTo>
                <a:lnTo>
                  <a:pt x="5377" y="2736"/>
                </a:lnTo>
                <a:lnTo>
                  <a:pt x="5377" y="2736"/>
                </a:lnTo>
                <a:lnTo>
                  <a:pt x="5377" y="2736"/>
                </a:lnTo>
                <a:close/>
                <a:moveTo>
                  <a:pt x="5377" y="2745"/>
                </a:moveTo>
                <a:lnTo>
                  <a:pt x="5381" y="2752"/>
                </a:lnTo>
                <a:lnTo>
                  <a:pt x="5377" y="2752"/>
                </a:lnTo>
                <a:lnTo>
                  <a:pt x="5377" y="2745"/>
                </a:lnTo>
                <a:lnTo>
                  <a:pt x="5377" y="2745"/>
                </a:lnTo>
                <a:lnTo>
                  <a:pt x="5377" y="2745"/>
                </a:lnTo>
                <a:close/>
                <a:moveTo>
                  <a:pt x="4789" y="2752"/>
                </a:moveTo>
                <a:lnTo>
                  <a:pt x="4798" y="2752"/>
                </a:lnTo>
                <a:lnTo>
                  <a:pt x="4789" y="2752"/>
                </a:lnTo>
                <a:lnTo>
                  <a:pt x="4789" y="2752"/>
                </a:lnTo>
                <a:lnTo>
                  <a:pt x="4789" y="2752"/>
                </a:lnTo>
                <a:close/>
                <a:moveTo>
                  <a:pt x="4512" y="2785"/>
                </a:moveTo>
                <a:lnTo>
                  <a:pt x="4519" y="2785"/>
                </a:lnTo>
                <a:lnTo>
                  <a:pt x="4512" y="2790"/>
                </a:lnTo>
                <a:lnTo>
                  <a:pt x="4486" y="2790"/>
                </a:lnTo>
                <a:lnTo>
                  <a:pt x="4460" y="2762"/>
                </a:lnTo>
                <a:lnTo>
                  <a:pt x="4481" y="2762"/>
                </a:lnTo>
                <a:lnTo>
                  <a:pt x="4512" y="2769"/>
                </a:lnTo>
                <a:lnTo>
                  <a:pt x="4512" y="2785"/>
                </a:lnTo>
                <a:lnTo>
                  <a:pt x="4512" y="2785"/>
                </a:lnTo>
                <a:lnTo>
                  <a:pt x="4512" y="2785"/>
                </a:lnTo>
                <a:close/>
                <a:moveTo>
                  <a:pt x="5377" y="2762"/>
                </a:moveTo>
                <a:lnTo>
                  <a:pt x="5381" y="2785"/>
                </a:lnTo>
                <a:lnTo>
                  <a:pt x="5398" y="2807"/>
                </a:lnTo>
                <a:lnTo>
                  <a:pt x="5365" y="2785"/>
                </a:lnTo>
                <a:lnTo>
                  <a:pt x="5365" y="2769"/>
                </a:lnTo>
                <a:lnTo>
                  <a:pt x="5377" y="2762"/>
                </a:lnTo>
                <a:lnTo>
                  <a:pt x="5377" y="2762"/>
                </a:lnTo>
                <a:lnTo>
                  <a:pt x="5377" y="2762"/>
                </a:lnTo>
                <a:close/>
                <a:moveTo>
                  <a:pt x="5393" y="2762"/>
                </a:moveTo>
                <a:lnTo>
                  <a:pt x="5393" y="2785"/>
                </a:lnTo>
                <a:lnTo>
                  <a:pt x="5381" y="2769"/>
                </a:lnTo>
                <a:lnTo>
                  <a:pt x="5393" y="2762"/>
                </a:lnTo>
                <a:lnTo>
                  <a:pt x="5393" y="2762"/>
                </a:lnTo>
                <a:lnTo>
                  <a:pt x="5393" y="2762"/>
                </a:lnTo>
                <a:close/>
                <a:moveTo>
                  <a:pt x="3470" y="2769"/>
                </a:moveTo>
                <a:lnTo>
                  <a:pt x="3487" y="2769"/>
                </a:lnTo>
                <a:lnTo>
                  <a:pt x="3470" y="2769"/>
                </a:lnTo>
                <a:lnTo>
                  <a:pt x="3470" y="2769"/>
                </a:lnTo>
                <a:lnTo>
                  <a:pt x="3470" y="2769"/>
                </a:lnTo>
                <a:close/>
                <a:moveTo>
                  <a:pt x="4822" y="2769"/>
                </a:moveTo>
                <a:lnTo>
                  <a:pt x="4826" y="2778"/>
                </a:lnTo>
                <a:lnTo>
                  <a:pt x="4822" y="2778"/>
                </a:lnTo>
                <a:lnTo>
                  <a:pt x="4822" y="2769"/>
                </a:lnTo>
                <a:lnTo>
                  <a:pt x="4822" y="2769"/>
                </a:lnTo>
                <a:lnTo>
                  <a:pt x="4822" y="2769"/>
                </a:lnTo>
                <a:close/>
                <a:moveTo>
                  <a:pt x="5339" y="2778"/>
                </a:moveTo>
                <a:lnTo>
                  <a:pt x="5339" y="2790"/>
                </a:lnTo>
                <a:lnTo>
                  <a:pt x="5327" y="2778"/>
                </a:lnTo>
                <a:lnTo>
                  <a:pt x="5339" y="2778"/>
                </a:lnTo>
                <a:lnTo>
                  <a:pt x="5339" y="2778"/>
                </a:lnTo>
                <a:lnTo>
                  <a:pt x="5339" y="2778"/>
                </a:lnTo>
                <a:close/>
                <a:moveTo>
                  <a:pt x="4406" y="2778"/>
                </a:moveTo>
                <a:lnTo>
                  <a:pt x="4444" y="2785"/>
                </a:lnTo>
                <a:lnTo>
                  <a:pt x="4448" y="2807"/>
                </a:lnTo>
                <a:lnTo>
                  <a:pt x="4422" y="2823"/>
                </a:lnTo>
                <a:lnTo>
                  <a:pt x="4378" y="2785"/>
                </a:lnTo>
                <a:lnTo>
                  <a:pt x="4406" y="2778"/>
                </a:lnTo>
                <a:lnTo>
                  <a:pt x="4406" y="2778"/>
                </a:lnTo>
                <a:lnTo>
                  <a:pt x="4406" y="2778"/>
                </a:lnTo>
                <a:close/>
                <a:moveTo>
                  <a:pt x="5129" y="2807"/>
                </a:moveTo>
                <a:lnTo>
                  <a:pt x="5138" y="2818"/>
                </a:lnTo>
                <a:lnTo>
                  <a:pt x="5129" y="2807"/>
                </a:lnTo>
                <a:lnTo>
                  <a:pt x="5129" y="2807"/>
                </a:lnTo>
                <a:lnTo>
                  <a:pt x="5129" y="2807"/>
                </a:lnTo>
                <a:close/>
                <a:moveTo>
                  <a:pt x="5192" y="2823"/>
                </a:moveTo>
                <a:lnTo>
                  <a:pt x="5200" y="2840"/>
                </a:lnTo>
                <a:lnTo>
                  <a:pt x="5183" y="2823"/>
                </a:lnTo>
                <a:lnTo>
                  <a:pt x="5192" y="2823"/>
                </a:lnTo>
                <a:lnTo>
                  <a:pt x="5192" y="2823"/>
                </a:lnTo>
                <a:lnTo>
                  <a:pt x="5192" y="2823"/>
                </a:lnTo>
                <a:close/>
                <a:moveTo>
                  <a:pt x="4125" y="2840"/>
                </a:moveTo>
                <a:lnTo>
                  <a:pt x="4151" y="2847"/>
                </a:lnTo>
                <a:lnTo>
                  <a:pt x="4141" y="2873"/>
                </a:lnTo>
                <a:lnTo>
                  <a:pt x="4066" y="2929"/>
                </a:lnTo>
                <a:lnTo>
                  <a:pt x="4044" y="2918"/>
                </a:lnTo>
                <a:lnTo>
                  <a:pt x="4016" y="2934"/>
                </a:lnTo>
                <a:lnTo>
                  <a:pt x="4016" y="2913"/>
                </a:lnTo>
                <a:lnTo>
                  <a:pt x="4000" y="2901"/>
                </a:lnTo>
                <a:lnTo>
                  <a:pt x="4044" y="2847"/>
                </a:lnTo>
                <a:lnTo>
                  <a:pt x="4066" y="2856"/>
                </a:lnTo>
                <a:lnTo>
                  <a:pt x="4125" y="2840"/>
                </a:lnTo>
                <a:lnTo>
                  <a:pt x="4125" y="2840"/>
                </a:lnTo>
                <a:lnTo>
                  <a:pt x="4125" y="2840"/>
                </a:lnTo>
                <a:close/>
                <a:moveTo>
                  <a:pt x="5221" y="2847"/>
                </a:moveTo>
                <a:lnTo>
                  <a:pt x="5237" y="2856"/>
                </a:lnTo>
                <a:lnTo>
                  <a:pt x="5221" y="2847"/>
                </a:lnTo>
                <a:lnTo>
                  <a:pt x="5221" y="2847"/>
                </a:lnTo>
                <a:lnTo>
                  <a:pt x="5221" y="2847"/>
                </a:lnTo>
                <a:close/>
                <a:moveTo>
                  <a:pt x="4935" y="2863"/>
                </a:moveTo>
                <a:lnTo>
                  <a:pt x="4966" y="2880"/>
                </a:lnTo>
                <a:lnTo>
                  <a:pt x="4928" y="2889"/>
                </a:lnTo>
                <a:lnTo>
                  <a:pt x="4918" y="2863"/>
                </a:lnTo>
                <a:lnTo>
                  <a:pt x="4897" y="2856"/>
                </a:lnTo>
                <a:lnTo>
                  <a:pt x="4890" y="2847"/>
                </a:lnTo>
                <a:lnTo>
                  <a:pt x="4935" y="2863"/>
                </a:lnTo>
                <a:lnTo>
                  <a:pt x="4935" y="2863"/>
                </a:lnTo>
                <a:lnTo>
                  <a:pt x="4935" y="2863"/>
                </a:lnTo>
                <a:close/>
                <a:moveTo>
                  <a:pt x="4663" y="2863"/>
                </a:moveTo>
                <a:lnTo>
                  <a:pt x="4701" y="2880"/>
                </a:lnTo>
                <a:lnTo>
                  <a:pt x="4649" y="2863"/>
                </a:lnTo>
                <a:lnTo>
                  <a:pt x="4663" y="2863"/>
                </a:lnTo>
                <a:lnTo>
                  <a:pt x="4663" y="2863"/>
                </a:lnTo>
                <a:lnTo>
                  <a:pt x="4663" y="2863"/>
                </a:lnTo>
                <a:close/>
                <a:moveTo>
                  <a:pt x="4432" y="2880"/>
                </a:moveTo>
                <a:lnTo>
                  <a:pt x="4444" y="2880"/>
                </a:lnTo>
                <a:lnTo>
                  <a:pt x="4432" y="2889"/>
                </a:lnTo>
                <a:lnTo>
                  <a:pt x="4432" y="2880"/>
                </a:lnTo>
                <a:lnTo>
                  <a:pt x="4432" y="2880"/>
                </a:lnTo>
                <a:lnTo>
                  <a:pt x="4432" y="2880"/>
                </a:lnTo>
                <a:close/>
                <a:moveTo>
                  <a:pt x="4422" y="2880"/>
                </a:moveTo>
                <a:lnTo>
                  <a:pt x="4427" y="2889"/>
                </a:lnTo>
                <a:lnTo>
                  <a:pt x="4411" y="2889"/>
                </a:lnTo>
                <a:lnTo>
                  <a:pt x="4422" y="2880"/>
                </a:lnTo>
                <a:lnTo>
                  <a:pt x="4422" y="2880"/>
                </a:lnTo>
                <a:lnTo>
                  <a:pt x="4422" y="2880"/>
                </a:lnTo>
                <a:close/>
                <a:moveTo>
                  <a:pt x="5377" y="2889"/>
                </a:moveTo>
                <a:lnTo>
                  <a:pt x="5360" y="2901"/>
                </a:lnTo>
                <a:lnTo>
                  <a:pt x="5327" y="2896"/>
                </a:lnTo>
                <a:lnTo>
                  <a:pt x="5344" y="2889"/>
                </a:lnTo>
                <a:lnTo>
                  <a:pt x="5377" y="2889"/>
                </a:lnTo>
                <a:lnTo>
                  <a:pt x="5377" y="2889"/>
                </a:lnTo>
                <a:lnTo>
                  <a:pt x="5377" y="2889"/>
                </a:lnTo>
                <a:close/>
                <a:moveTo>
                  <a:pt x="4314" y="2967"/>
                </a:moveTo>
                <a:lnTo>
                  <a:pt x="4302" y="2991"/>
                </a:lnTo>
                <a:lnTo>
                  <a:pt x="4285" y="3000"/>
                </a:lnTo>
                <a:lnTo>
                  <a:pt x="4259" y="2967"/>
                </a:lnTo>
                <a:lnTo>
                  <a:pt x="4259" y="2934"/>
                </a:lnTo>
                <a:lnTo>
                  <a:pt x="4281" y="2901"/>
                </a:lnTo>
                <a:lnTo>
                  <a:pt x="4318" y="2901"/>
                </a:lnTo>
                <a:lnTo>
                  <a:pt x="4323" y="2918"/>
                </a:lnTo>
                <a:lnTo>
                  <a:pt x="4323" y="2929"/>
                </a:lnTo>
                <a:lnTo>
                  <a:pt x="4314" y="2967"/>
                </a:lnTo>
                <a:lnTo>
                  <a:pt x="4314" y="2967"/>
                </a:lnTo>
                <a:lnTo>
                  <a:pt x="4314" y="2967"/>
                </a:lnTo>
                <a:close/>
                <a:moveTo>
                  <a:pt x="5268" y="2934"/>
                </a:moveTo>
                <a:lnTo>
                  <a:pt x="5259" y="2934"/>
                </a:lnTo>
                <a:lnTo>
                  <a:pt x="5268" y="2929"/>
                </a:lnTo>
                <a:lnTo>
                  <a:pt x="5268" y="2934"/>
                </a:lnTo>
                <a:lnTo>
                  <a:pt x="5268" y="2934"/>
                </a:lnTo>
                <a:lnTo>
                  <a:pt x="5268" y="2934"/>
                </a:lnTo>
                <a:close/>
                <a:moveTo>
                  <a:pt x="5322" y="2955"/>
                </a:moveTo>
                <a:lnTo>
                  <a:pt x="5344" y="2974"/>
                </a:lnTo>
                <a:lnTo>
                  <a:pt x="5339" y="2974"/>
                </a:lnTo>
                <a:lnTo>
                  <a:pt x="5313" y="2955"/>
                </a:lnTo>
                <a:lnTo>
                  <a:pt x="5313" y="2951"/>
                </a:lnTo>
                <a:lnTo>
                  <a:pt x="5322" y="2955"/>
                </a:lnTo>
                <a:lnTo>
                  <a:pt x="5322" y="2955"/>
                </a:lnTo>
                <a:lnTo>
                  <a:pt x="5322" y="2955"/>
                </a:lnTo>
                <a:close/>
                <a:moveTo>
                  <a:pt x="3364" y="2967"/>
                </a:moveTo>
                <a:lnTo>
                  <a:pt x="3352" y="2955"/>
                </a:lnTo>
                <a:lnTo>
                  <a:pt x="3369" y="2955"/>
                </a:lnTo>
                <a:lnTo>
                  <a:pt x="3364" y="2967"/>
                </a:lnTo>
                <a:lnTo>
                  <a:pt x="3364" y="2967"/>
                </a:lnTo>
                <a:lnTo>
                  <a:pt x="3364" y="2967"/>
                </a:lnTo>
                <a:close/>
                <a:moveTo>
                  <a:pt x="5285" y="2967"/>
                </a:moveTo>
                <a:lnTo>
                  <a:pt x="5285" y="2974"/>
                </a:lnTo>
                <a:lnTo>
                  <a:pt x="5259" y="2974"/>
                </a:lnTo>
                <a:lnTo>
                  <a:pt x="5285" y="2967"/>
                </a:lnTo>
                <a:lnTo>
                  <a:pt x="5285" y="2967"/>
                </a:lnTo>
                <a:lnTo>
                  <a:pt x="5285" y="2967"/>
                </a:lnTo>
                <a:close/>
                <a:moveTo>
                  <a:pt x="5355" y="2991"/>
                </a:moveTo>
                <a:lnTo>
                  <a:pt x="5355" y="3000"/>
                </a:lnTo>
                <a:lnTo>
                  <a:pt x="5355" y="3007"/>
                </a:lnTo>
                <a:lnTo>
                  <a:pt x="5339" y="3024"/>
                </a:lnTo>
                <a:lnTo>
                  <a:pt x="5301" y="2991"/>
                </a:lnTo>
                <a:lnTo>
                  <a:pt x="5327" y="2984"/>
                </a:lnTo>
                <a:lnTo>
                  <a:pt x="5355" y="2991"/>
                </a:lnTo>
                <a:lnTo>
                  <a:pt x="5355" y="2991"/>
                </a:lnTo>
                <a:lnTo>
                  <a:pt x="5355" y="2991"/>
                </a:lnTo>
                <a:close/>
                <a:moveTo>
                  <a:pt x="4982" y="3057"/>
                </a:moveTo>
                <a:lnTo>
                  <a:pt x="4982" y="3062"/>
                </a:lnTo>
                <a:lnTo>
                  <a:pt x="4973" y="3057"/>
                </a:lnTo>
                <a:lnTo>
                  <a:pt x="4982" y="3057"/>
                </a:lnTo>
                <a:lnTo>
                  <a:pt x="4982" y="3057"/>
                </a:lnTo>
                <a:lnTo>
                  <a:pt x="4982" y="3057"/>
                </a:lnTo>
                <a:close/>
                <a:moveTo>
                  <a:pt x="5124" y="3111"/>
                </a:moveTo>
                <a:lnTo>
                  <a:pt x="5138" y="3118"/>
                </a:lnTo>
                <a:lnTo>
                  <a:pt x="5129" y="3123"/>
                </a:lnTo>
                <a:lnTo>
                  <a:pt x="5091" y="3140"/>
                </a:lnTo>
                <a:lnTo>
                  <a:pt x="5112" y="3100"/>
                </a:lnTo>
                <a:lnTo>
                  <a:pt x="5124" y="3111"/>
                </a:lnTo>
                <a:lnTo>
                  <a:pt x="5124" y="3111"/>
                </a:lnTo>
                <a:lnTo>
                  <a:pt x="5124" y="3111"/>
                </a:lnTo>
                <a:close/>
                <a:moveTo>
                  <a:pt x="5365" y="3123"/>
                </a:moveTo>
                <a:lnTo>
                  <a:pt x="5365" y="3135"/>
                </a:lnTo>
                <a:lnTo>
                  <a:pt x="5339" y="3118"/>
                </a:lnTo>
                <a:lnTo>
                  <a:pt x="5355" y="3118"/>
                </a:lnTo>
                <a:lnTo>
                  <a:pt x="5365" y="3123"/>
                </a:lnTo>
                <a:lnTo>
                  <a:pt x="5365" y="3123"/>
                </a:lnTo>
                <a:lnTo>
                  <a:pt x="5365" y="3123"/>
                </a:lnTo>
                <a:close/>
                <a:moveTo>
                  <a:pt x="4281" y="3177"/>
                </a:moveTo>
                <a:lnTo>
                  <a:pt x="4281" y="3189"/>
                </a:lnTo>
                <a:lnTo>
                  <a:pt x="4264" y="3194"/>
                </a:lnTo>
                <a:lnTo>
                  <a:pt x="4281" y="3177"/>
                </a:lnTo>
                <a:lnTo>
                  <a:pt x="4281" y="3177"/>
                </a:lnTo>
                <a:lnTo>
                  <a:pt x="4281" y="3177"/>
                </a:lnTo>
                <a:close/>
                <a:moveTo>
                  <a:pt x="5398" y="3177"/>
                </a:moveTo>
                <a:lnTo>
                  <a:pt x="5398" y="3194"/>
                </a:lnTo>
                <a:lnTo>
                  <a:pt x="5381" y="3194"/>
                </a:lnTo>
                <a:lnTo>
                  <a:pt x="5398" y="3177"/>
                </a:lnTo>
                <a:lnTo>
                  <a:pt x="5398" y="3177"/>
                </a:lnTo>
                <a:lnTo>
                  <a:pt x="5398" y="3177"/>
                </a:lnTo>
                <a:close/>
                <a:moveTo>
                  <a:pt x="4264" y="3206"/>
                </a:moveTo>
                <a:lnTo>
                  <a:pt x="4259" y="3206"/>
                </a:lnTo>
                <a:lnTo>
                  <a:pt x="4264" y="3194"/>
                </a:lnTo>
                <a:lnTo>
                  <a:pt x="4264" y="3206"/>
                </a:lnTo>
                <a:lnTo>
                  <a:pt x="4264" y="3206"/>
                </a:lnTo>
                <a:lnTo>
                  <a:pt x="4264" y="3206"/>
                </a:lnTo>
                <a:close/>
                <a:moveTo>
                  <a:pt x="5037" y="3263"/>
                </a:moveTo>
                <a:lnTo>
                  <a:pt x="5037" y="3279"/>
                </a:lnTo>
                <a:lnTo>
                  <a:pt x="5025" y="3279"/>
                </a:lnTo>
                <a:lnTo>
                  <a:pt x="5020" y="3263"/>
                </a:lnTo>
                <a:lnTo>
                  <a:pt x="5037" y="3263"/>
                </a:lnTo>
                <a:lnTo>
                  <a:pt x="5037" y="3263"/>
                </a:lnTo>
                <a:lnTo>
                  <a:pt x="5037" y="3263"/>
                </a:lnTo>
                <a:close/>
                <a:moveTo>
                  <a:pt x="4373" y="3305"/>
                </a:moveTo>
                <a:lnTo>
                  <a:pt x="4389" y="3322"/>
                </a:lnTo>
                <a:lnTo>
                  <a:pt x="4373" y="3317"/>
                </a:lnTo>
                <a:lnTo>
                  <a:pt x="4373" y="3305"/>
                </a:lnTo>
                <a:lnTo>
                  <a:pt x="4373" y="3305"/>
                </a:lnTo>
                <a:lnTo>
                  <a:pt x="4373" y="3305"/>
                </a:lnTo>
                <a:close/>
                <a:moveTo>
                  <a:pt x="5150" y="3338"/>
                </a:moveTo>
                <a:lnTo>
                  <a:pt x="5150" y="3350"/>
                </a:lnTo>
                <a:lnTo>
                  <a:pt x="5145" y="3350"/>
                </a:lnTo>
                <a:lnTo>
                  <a:pt x="5150" y="3338"/>
                </a:lnTo>
                <a:lnTo>
                  <a:pt x="5150" y="3338"/>
                </a:lnTo>
                <a:lnTo>
                  <a:pt x="5150" y="3338"/>
                </a:lnTo>
                <a:close/>
                <a:moveTo>
                  <a:pt x="5544" y="3395"/>
                </a:moveTo>
                <a:lnTo>
                  <a:pt x="5544" y="3407"/>
                </a:lnTo>
                <a:lnTo>
                  <a:pt x="5528" y="3395"/>
                </a:lnTo>
                <a:lnTo>
                  <a:pt x="5537" y="3390"/>
                </a:lnTo>
                <a:lnTo>
                  <a:pt x="5544" y="3395"/>
                </a:lnTo>
                <a:lnTo>
                  <a:pt x="5544" y="3395"/>
                </a:lnTo>
                <a:lnTo>
                  <a:pt x="5544" y="3395"/>
                </a:lnTo>
                <a:close/>
                <a:moveTo>
                  <a:pt x="5570" y="3407"/>
                </a:moveTo>
                <a:lnTo>
                  <a:pt x="5561" y="3411"/>
                </a:lnTo>
                <a:lnTo>
                  <a:pt x="5544" y="3407"/>
                </a:lnTo>
                <a:lnTo>
                  <a:pt x="5554" y="3395"/>
                </a:lnTo>
                <a:lnTo>
                  <a:pt x="5570" y="3407"/>
                </a:lnTo>
                <a:lnTo>
                  <a:pt x="5570" y="3407"/>
                </a:lnTo>
                <a:lnTo>
                  <a:pt x="5570" y="3407"/>
                </a:lnTo>
                <a:close/>
                <a:moveTo>
                  <a:pt x="4297" y="3416"/>
                </a:moveTo>
                <a:lnTo>
                  <a:pt x="4285" y="3444"/>
                </a:lnTo>
                <a:lnTo>
                  <a:pt x="4285" y="3428"/>
                </a:lnTo>
                <a:lnTo>
                  <a:pt x="4297" y="3416"/>
                </a:lnTo>
                <a:lnTo>
                  <a:pt x="4297" y="3416"/>
                </a:lnTo>
                <a:lnTo>
                  <a:pt x="4297" y="3416"/>
                </a:lnTo>
                <a:close/>
                <a:moveTo>
                  <a:pt x="5544" y="3433"/>
                </a:moveTo>
                <a:lnTo>
                  <a:pt x="5537" y="3428"/>
                </a:lnTo>
                <a:lnTo>
                  <a:pt x="5544" y="3416"/>
                </a:lnTo>
                <a:lnTo>
                  <a:pt x="5554" y="3428"/>
                </a:lnTo>
                <a:lnTo>
                  <a:pt x="5544" y="3433"/>
                </a:lnTo>
                <a:lnTo>
                  <a:pt x="5544" y="3433"/>
                </a:lnTo>
                <a:lnTo>
                  <a:pt x="5544" y="3433"/>
                </a:lnTo>
                <a:close/>
                <a:moveTo>
                  <a:pt x="5570" y="3428"/>
                </a:moveTo>
                <a:lnTo>
                  <a:pt x="5570" y="3444"/>
                </a:lnTo>
                <a:lnTo>
                  <a:pt x="5544" y="3433"/>
                </a:lnTo>
                <a:lnTo>
                  <a:pt x="5570" y="3428"/>
                </a:lnTo>
                <a:lnTo>
                  <a:pt x="5570" y="3428"/>
                </a:lnTo>
                <a:lnTo>
                  <a:pt x="5570" y="3428"/>
                </a:lnTo>
                <a:close/>
                <a:moveTo>
                  <a:pt x="4503" y="3444"/>
                </a:moveTo>
                <a:lnTo>
                  <a:pt x="4512" y="3449"/>
                </a:lnTo>
                <a:lnTo>
                  <a:pt x="4503" y="3444"/>
                </a:lnTo>
                <a:lnTo>
                  <a:pt x="4503" y="3444"/>
                </a:lnTo>
                <a:lnTo>
                  <a:pt x="4503" y="3444"/>
                </a:lnTo>
                <a:close/>
                <a:moveTo>
                  <a:pt x="5561" y="3444"/>
                </a:moveTo>
                <a:lnTo>
                  <a:pt x="5570" y="3449"/>
                </a:lnTo>
                <a:lnTo>
                  <a:pt x="5554" y="3449"/>
                </a:lnTo>
                <a:lnTo>
                  <a:pt x="5561" y="3444"/>
                </a:lnTo>
                <a:lnTo>
                  <a:pt x="5561" y="3444"/>
                </a:lnTo>
                <a:lnTo>
                  <a:pt x="5561" y="3444"/>
                </a:lnTo>
                <a:close/>
                <a:moveTo>
                  <a:pt x="5582" y="3489"/>
                </a:moveTo>
                <a:lnTo>
                  <a:pt x="5570" y="3506"/>
                </a:lnTo>
                <a:lnTo>
                  <a:pt x="5582" y="3506"/>
                </a:lnTo>
                <a:lnTo>
                  <a:pt x="5582" y="3522"/>
                </a:lnTo>
                <a:lnTo>
                  <a:pt x="5570" y="3506"/>
                </a:lnTo>
                <a:lnTo>
                  <a:pt x="5575" y="3489"/>
                </a:lnTo>
                <a:lnTo>
                  <a:pt x="5582" y="3489"/>
                </a:lnTo>
                <a:lnTo>
                  <a:pt x="5582" y="3489"/>
                </a:lnTo>
                <a:lnTo>
                  <a:pt x="5582" y="3489"/>
                </a:lnTo>
                <a:close/>
                <a:moveTo>
                  <a:pt x="4297" y="3489"/>
                </a:moveTo>
                <a:lnTo>
                  <a:pt x="4297" y="3506"/>
                </a:lnTo>
                <a:lnTo>
                  <a:pt x="4285" y="3499"/>
                </a:lnTo>
                <a:lnTo>
                  <a:pt x="4297" y="3489"/>
                </a:lnTo>
                <a:lnTo>
                  <a:pt x="4297" y="3489"/>
                </a:lnTo>
                <a:lnTo>
                  <a:pt x="4297" y="3489"/>
                </a:lnTo>
                <a:close/>
                <a:moveTo>
                  <a:pt x="4285" y="3499"/>
                </a:moveTo>
                <a:lnTo>
                  <a:pt x="4285" y="3506"/>
                </a:lnTo>
                <a:lnTo>
                  <a:pt x="4281" y="3506"/>
                </a:lnTo>
                <a:lnTo>
                  <a:pt x="4285" y="3499"/>
                </a:lnTo>
                <a:lnTo>
                  <a:pt x="4285" y="3499"/>
                </a:lnTo>
                <a:lnTo>
                  <a:pt x="4285" y="3499"/>
                </a:lnTo>
                <a:close/>
                <a:moveTo>
                  <a:pt x="4314" y="3506"/>
                </a:moveTo>
                <a:lnTo>
                  <a:pt x="4314" y="3518"/>
                </a:lnTo>
                <a:lnTo>
                  <a:pt x="4314" y="3522"/>
                </a:lnTo>
                <a:lnTo>
                  <a:pt x="4314" y="3506"/>
                </a:lnTo>
                <a:lnTo>
                  <a:pt x="4314" y="3506"/>
                </a:lnTo>
                <a:lnTo>
                  <a:pt x="4314" y="3506"/>
                </a:lnTo>
                <a:close/>
                <a:moveTo>
                  <a:pt x="5599" y="3522"/>
                </a:moveTo>
                <a:lnTo>
                  <a:pt x="5599" y="3518"/>
                </a:lnTo>
                <a:lnTo>
                  <a:pt x="5608" y="3518"/>
                </a:lnTo>
                <a:lnTo>
                  <a:pt x="5599" y="3522"/>
                </a:lnTo>
                <a:lnTo>
                  <a:pt x="5599" y="3522"/>
                </a:lnTo>
                <a:lnTo>
                  <a:pt x="5599" y="3522"/>
                </a:lnTo>
                <a:close/>
                <a:moveTo>
                  <a:pt x="4335" y="3518"/>
                </a:moveTo>
                <a:lnTo>
                  <a:pt x="4340" y="3522"/>
                </a:lnTo>
                <a:lnTo>
                  <a:pt x="4323" y="3522"/>
                </a:lnTo>
                <a:lnTo>
                  <a:pt x="4335" y="3518"/>
                </a:lnTo>
                <a:lnTo>
                  <a:pt x="4335" y="3518"/>
                </a:lnTo>
                <a:lnTo>
                  <a:pt x="4335" y="3518"/>
                </a:lnTo>
                <a:close/>
                <a:moveTo>
                  <a:pt x="4297" y="3610"/>
                </a:moveTo>
                <a:lnTo>
                  <a:pt x="4314" y="3572"/>
                </a:lnTo>
                <a:lnTo>
                  <a:pt x="4285" y="3600"/>
                </a:lnTo>
                <a:lnTo>
                  <a:pt x="4281" y="3593"/>
                </a:lnTo>
                <a:lnTo>
                  <a:pt x="4281" y="3584"/>
                </a:lnTo>
                <a:lnTo>
                  <a:pt x="4302" y="3560"/>
                </a:lnTo>
                <a:lnTo>
                  <a:pt x="4318" y="3527"/>
                </a:lnTo>
                <a:lnTo>
                  <a:pt x="4318" y="3539"/>
                </a:lnTo>
                <a:lnTo>
                  <a:pt x="4314" y="3572"/>
                </a:lnTo>
                <a:lnTo>
                  <a:pt x="4318" y="3560"/>
                </a:lnTo>
                <a:lnTo>
                  <a:pt x="4323" y="3527"/>
                </a:lnTo>
                <a:lnTo>
                  <a:pt x="4352" y="3539"/>
                </a:lnTo>
                <a:lnTo>
                  <a:pt x="4335" y="3593"/>
                </a:lnTo>
                <a:lnTo>
                  <a:pt x="4352" y="3544"/>
                </a:lnTo>
                <a:lnTo>
                  <a:pt x="4323" y="3600"/>
                </a:lnTo>
                <a:lnTo>
                  <a:pt x="4335" y="3560"/>
                </a:lnTo>
                <a:lnTo>
                  <a:pt x="4318" y="3600"/>
                </a:lnTo>
                <a:lnTo>
                  <a:pt x="4297" y="3610"/>
                </a:lnTo>
                <a:lnTo>
                  <a:pt x="4297" y="3610"/>
                </a:lnTo>
                <a:lnTo>
                  <a:pt x="4297" y="3610"/>
                </a:lnTo>
                <a:close/>
                <a:moveTo>
                  <a:pt x="5570" y="3527"/>
                </a:moveTo>
                <a:lnTo>
                  <a:pt x="5599" y="3539"/>
                </a:lnTo>
                <a:lnTo>
                  <a:pt x="5570" y="3539"/>
                </a:lnTo>
                <a:lnTo>
                  <a:pt x="5582" y="3539"/>
                </a:lnTo>
                <a:lnTo>
                  <a:pt x="5570" y="3527"/>
                </a:lnTo>
                <a:lnTo>
                  <a:pt x="5570" y="3527"/>
                </a:lnTo>
                <a:lnTo>
                  <a:pt x="5570" y="3527"/>
                </a:lnTo>
                <a:close/>
                <a:moveTo>
                  <a:pt x="4271" y="3572"/>
                </a:moveTo>
                <a:lnTo>
                  <a:pt x="4271" y="3555"/>
                </a:lnTo>
                <a:lnTo>
                  <a:pt x="4297" y="3544"/>
                </a:lnTo>
                <a:lnTo>
                  <a:pt x="4314" y="3527"/>
                </a:lnTo>
                <a:lnTo>
                  <a:pt x="4302" y="3555"/>
                </a:lnTo>
                <a:lnTo>
                  <a:pt x="4271" y="3572"/>
                </a:lnTo>
                <a:lnTo>
                  <a:pt x="4271" y="3572"/>
                </a:lnTo>
                <a:lnTo>
                  <a:pt x="4271" y="3572"/>
                </a:lnTo>
                <a:close/>
                <a:moveTo>
                  <a:pt x="4352" y="3572"/>
                </a:moveTo>
                <a:lnTo>
                  <a:pt x="4356" y="3544"/>
                </a:lnTo>
                <a:lnTo>
                  <a:pt x="4373" y="3539"/>
                </a:lnTo>
                <a:lnTo>
                  <a:pt x="4373" y="3572"/>
                </a:lnTo>
                <a:lnTo>
                  <a:pt x="4352" y="3572"/>
                </a:lnTo>
                <a:lnTo>
                  <a:pt x="4352" y="3572"/>
                </a:lnTo>
                <a:lnTo>
                  <a:pt x="4352" y="3572"/>
                </a:lnTo>
                <a:close/>
                <a:moveTo>
                  <a:pt x="5570" y="3544"/>
                </a:moveTo>
                <a:lnTo>
                  <a:pt x="5582" y="3555"/>
                </a:lnTo>
                <a:lnTo>
                  <a:pt x="5554" y="3544"/>
                </a:lnTo>
                <a:lnTo>
                  <a:pt x="5570" y="3544"/>
                </a:lnTo>
                <a:lnTo>
                  <a:pt x="5570" y="3544"/>
                </a:lnTo>
                <a:lnTo>
                  <a:pt x="5570" y="3544"/>
                </a:lnTo>
                <a:close/>
                <a:moveTo>
                  <a:pt x="5608" y="3572"/>
                </a:moveTo>
                <a:lnTo>
                  <a:pt x="5613" y="3584"/>
                </a:lnTo>
                <a:lnTo>
                  <a:pt x="5592" y="3577"/>
                </a:lnTo>
                <a:lnTo>
                  <a:pt x="5608" y="3572"/>
                </a:lnTo>
                <a:lnTo>
                  <a:pt x="5608" y="3572"/>
                </a:lnTo>
                <a:lnTo>
                  <a:pt x="5608" y="3572"/>
                </a:lnTo>
                <a:close/>
                <a:moveTo>
                  <a:pt x="4352" y="3577"/>
                </a:moveTo>
                <a:lnTo>
                  <a:pt x="4352" y="3584"/>
                </a:lnTo>
                <a:lnTo>
                  <a:pt x="4340" y="3610"/>
                </a:lnTo>
                <a:lnTo>
                  <a:pt x="4352" y="3577"/>
                </a:lnTo>
                <a:lnTo>
                  <a:pt x="4352" y="3577"/>
                </a:lnTo>
                <a:lnTo>
                  <a:pt x="4352" y="3577"/>
                </a:lnTo>
                <a:close/>
                <a:moveTo>
                  <a:pt x="5629" y="3593"/>
                </a:moveTo>
                <a:lnTo>
                  <a:pt x="5613" y="3600"/>
                </a:lnTo>
                <a:lnTo>
                  <a:pt x="5625" y="3593"/>
                </a:lnTo>
                <a:lnTo>
                  <a:pt x="5629" y="3593"/>
                </a:lnTo>
                <a:lnTo>
                  <a:pt x="5629" y="3593"/>
                </a:lnTo>
                <a:lnTo>
                  <a:pt x="5629" y="3593"/>
                </a:lnTo>
                <a:close/>
                <a:moveTo>
                  <a:pt x="5613" y="3593"/>
                </a:moveTo>
                <a:lnTo>
                  <a:pt x="5608" y="3600"/>
                </a:lnTo>
                <a:lnTo>
                  <a:pt x="5608" y="3593"/>
                </a:lnTo>
                <a:lnTo>
                  <a:pt x="5613" y="3593"/>
                </a:lnTo>
                <a:lnTo>
                  <a:pt x="5613" y="3593"/>
                </a:lnTo>
                <a:lnTo>
                  <a:pt x="5613" y="3593"/>
                </a:lnTo>
                <a:close/>
                <a:moveTo>
                  <a:pt x="763" y="3683"/>
                </a:moveTo>
                <a:lnTo>
                  <a:pt x="756" y="3704"/>
                </a:lnTo>
                <a:lnTo>
                  <a:pt x="747" y="3711"/>
                </a:lnTo>
                <a:lnTo>
                  <a:pt x="740" y="3704"/>
                </a:lnTo>
                <a:lnTo>
                  <a:pt x="763" y="3683"/>
                </a:lnTo>
                <a:lnTo>
                  <a:pt x="763" y="3683"/>
                </a:lnTo>
                <a:lnTo>
                  <a:pt x="763" y="3683"/>
                </a:lnTo>
                <a:close/>
                <a:moveTo>
                  <a:pt x="5826" y="3695"/>
                </a:moveTo>
                <a:lnTo>
                  <a:pt x="5826" y="3704"/>
                </a:lnTo>
                <a:lnTo>
                  <a:pt x="5830" y="3704"/>
                </a:lnTo>
                <a:lnTo>
                  <a:pt x="5814" y="3711"/>
                </a:lnTo>
                <a:lnTo>
                  <a:pt x="5809" y="3704"/>
                </a:lnTo>
                <a:lnTo>
                  <a:pt x="5826" y="3695"/>
                </a:lnTo>
                <a:lnTo>
                  <a:pt x="5826" y="3695"/>
                </a:lnTo>
                <a:lnTo>
                  <a:pt x="5826" y="3695"/>
                </a:lnTo>
                <a:close/>
                <a:moveTo>
                  <a:pt x="740" y="3704"/>
                </a:moveTo>
                <a:lnTo>
                  <a:pt x="740" y="3711"/>
                </a:lnTo>
                <a:lnTo>
                  <a:pt x="735" y="3711"/>
                </a:lnTo>
                <a:lnTo>
                  <a:pt x="740" y="3704"/>
                </a:lnTo>
                <a:lnTo>
                  <a:pt x="740" y="3704"/>
                </a:lnTo>
                <a:lnTo>
                  <a:pt x="740" y="3704"/>
                </a:lnTo>
                <a:close/>
                <a:moveTo>
                  <a:pt x="719" y="3728"/>
                </a:moveTo>
                <a:lnTo>
                  <a:pt x="702" y="3744"/>
                </a:lnTo>
                <a:lnTo>
                  <a:pt x="709" y="3721"/>
                </a:lnTo>
                <a:lnTo>
                  <a:pt x="719" y="3728"/>
                </a:lnTo>
                <a:lnTo>
                  <a:pt x="719" y="3728"/>
                </a:lnTo>
                <a:lnTo>
                  <a:pt x="719" y="3728"/>
                </a:lnTo>
                <a:close/>
                <a:moveTo>
                  <a:pt x="5868" y="3728"/>
                </a:moveTo>
                <a:lnTo>
                  <a:pt x="5878" y="3737"/>
                </a:lnTo>
                <a:lnTo>
                  <a:pt x="5868" y="3737"/>
                </a:lnTo>
                <a:lnTo>
                  <a:pt x="5868" y="3728"/>
                </a:lnTo>
                <a:lnTo>
                  <a:pt x="5868" y="3728"/>
                </a:lnTo>
                <a:lnTo>
                  <a:pt x="5868" y="3728"/>
                </a:lnTo>
                <a:close/>
                <a:moveTo>
                  <a:pt x="719" y="3766"/>
                </a:moveTo>
                <a:lnTo>
                  <a:pt x="726" y="3777"/>
                </a:lnTo>
                <a:lnTo>
                  <a:pt x="719" y="3766"/>
                </a:lnTo>
                <a:lnTo>
                  <a:pt x="719" y="3766"/>
                </a:lnTo>
                <a:lnTo>
                  <a:pt x="719" y="3766"/>
                </a:lnTo>
                <a:close/>
                <a:moveTo>
                  <a:pt x="756" y="3766"/>
                </a:moveTo>
                <a:lnTo>
                  <a:pt x="763" y="3766"/>
                </a:lnTo>
                <a:lnTo>
                  <a:pt x="756" y="3777"/>
                </a:lnTo>
                <a:lnTo>
                  <a:pt x="756" y="3766"/>
                </a:lnTo>
                <a:lnTo>
                  <a:pt x="756" y="3766"/>
                </a:lnTo>
                <a:lnTo>
                  <a:pt x="756" y="3766"/>
                </a:lnTo>
                <a:close/>
                <a:moveTo>
                  <a:pt x="563" y="3815"/>
                </a:moveTo>
                <a:lnTo>
                  <a:pt x="558" y="3799"/>
                </a:lnTo>
                <a:lnTo>
                  <a:pt x="558" y="3782"/>
                </a:lnTo>
                <a:lnTo>
                  <a:pt x="558" y="3766"/>
                </a:lnTo>
                <a:lnTo>
                  <a:pt x="596" y="3777"/>
                </a:lnTo>
                <a:lnTo>
                  <a:pt x="584" y="3794"/>
                </a:lnTo>
                <a:lnTo>
                  <a:pt x="600" y="3777"/>
                </a:lnTo>
                <a:lnTo>
                  <a:pt x="617" y="3777"/>
                </a:lnTo>
                <a:lnTo>
                  <a:pt x="626" y="3799"/>
                </a:lnTo>
                <a:lnTo>
                  <a:pt x="584" y="3815"/>
                </a:lnTo>
                <a:lnTo>
                  <a:pt x="600" y="3822"/>
                </a:lnTo>
                <a:lnTo>
                  <a:pt x="626" y="3815"/>
                </a:lnTo>
                <a:lnTo>
                  <a:pt x="626" y="3782"/>
                </a:lnTo>
                <a:lnTo>
                  <a:pt x="655" y="3766"/>
                </a:lnTo>
                <a:lnTo>
                  <a:pt x="638" y="3822"/>
                </a:lnTo>
                <a:lnTo>
                  <a:pt x="638" y="3848"/>
                </a:lnTo>
                <a:lnTo>
                  <a:pt x="633" y="3860"/>
                </a:lnTo>
                <a:lnTo>
                  <a:pt x="612" y="3860"/>
                </a:lnTo>
                <a:lnTo>
                  <a:pt x="626" y="3872"/>
                </a:lnTo>
                <a:lnTo>
                  <a:pt x="600" y="3872"/>
                </a:lnTo>
                <a:lnTo>
                  <a:pt x="584" y="3855"/>
                </a:lnTo>
                <a:lnTo>
                  <a:pt x="596" y="3855"/>
                </a:lnTo>
                <a:lnTo>
                  <a:pt x="579" y="3855"/>
                </a:lnTo>
                <a:lnTo>
                  <a:pt x="584" y="3848"/>
                </a:lnTo>
                <a:lnTo>
                  <a:pt x="600" y="3855"/>
                </a:lnTo>
                <a:lnTo>
                  <a:pt x="574" y="3839"/>
                </a:lnTo>
                <a:lnTo>
                  <a:pt x="563" y="3822"/>
                </a:lnTo>
                <a:lnTo>
                  <a:pt x="574" y="3822"/>
                </a:lnTo>
                <a:lnTo>
                  <a:pt x="563" y="3815"/>
                </a:lnTo>
                <a:lnTo>
                  <a:pt x="563" y="3815"/>
                </a:lnTo>
                <a:lnTo>
                  <a:pt x="563" y="3815"/>
                </a:lnTo>
                <a:close/>
                <a:moveTo>
                  <a:pt x="747" y="3777"/>
                </a:moveTo>
                <a:lnTo>
                  <a:pt x="756" y="3794"/>
                </a:lnTo>
                <a:lnTo>
                  <a:pt x="747" y="3799"/>
                </a:lnTo>
                <a:lnTo>
                  <a:pt x="740" y="3799"/>
                </a:lnTo>
                <a:lnTo>
                  <a:pt x="747" y="3782"/>
                </a:lnTo>
                <a:lnTo>
                  <a:pt x="735" y="3794"/>
                </a:lnTo>
                <a:lnTo>
                  <a:pt x="726" y="3794"/>
                </a:lnTo>
                <a:lnTo>
                  <a:pt x="735" y="3799"/>
                </a:lnTo>
                <a:lnTo>
                  <a:pt x="726" y="3799"/>
                </a:lnTo>
                <a:lnTo>
                  <a:pt x="726" y="3782"/>
                </a:lnTo>
                <a:lnTo>
                  <a:pt x="747" y="3777"/>
                </a:lnTo>
                <a:lnTo>
                  <a:pt x="747" y="3777"/>
                </a:lnTo>
                <a:lnTo>
                  <a:pt x="747" y="3777"/>
                </a:lnTo>
                <a:close/>
                <a:moveTo>
                  <a:pt x="801" y="3860"/>
                </a:moveTo>
                <a:lnTo>
                  <a:pt x="789" y="3848"/>
                </a:lnTo>
                <a:lnTo>
                  <a:pt x="778" y="3832"/>
                </a:lnTo>
                <a:lnTo>
                  <a:pt x="773" y="3822"/>
                </a:lnTo>
                <a:lnTo>
                  <a:pt x="778" y="3822"/>
                </a:lnTo>
                <a:lnTo>
                  <a:pt x="763" y="3815"/>
                </a:lnTo>
                <a:lnTo>
                  <a:pt x="756" y="3799"/>
                </a:lnTo>
                <a:lnTo>
                  <a:pt x="773" y="3806"/>
                </a:lnTo>
                <a:lnTo>
                  <a:pt x="811" y="3848"/>
                </a:lnTo>
                <a:lnTo>
                  <a:pt x="811" y="3860"/>
                </a:lnTo>
                <a:lnTo>
                  <a:pt x="801" y="3860"/>
                </a:lnTo>
                <a:lnTo>
                  <a:pt x="801" y="3860"/>
                </a:lnTo>
                <a:lnTo>
                  <a:pt x="801" y="3860"/>
                </a:lnTo>
                <a:close/>
                <a:moveTo>
                  <a:pt x="756" y="3806"/>
                </a:moveTo>
                <a:lnTo>
                  <a:pt x="763" y="3832"/>
                </a:lnTo>
                <a:lnTo>
                  <a:pt x="747" y="3815"/>
                </a:lnTo>
                <a:lnTo>
                  <a:pt x="756" y="3806"/>
                </a:lnTo>
                <a:lnTo>
                  <a:pt x="756" y="3806"/>
                </a:lnTo>
                <a:lnTo>
                  <a:pt x="756" y="3806"/>
                </a:lnTo>
                <a:close/>
                <a:moveTo>
                  <a:pt x="853" y="3815"/>
                </a:moveTo>
                <a:lnTo>
                  <a:pt x="832" y="3848"/>
                </a:lnTo>
                <a:lnTo>
                  <a:pt x="832" y="3822"/>
                </a:lnTo>
                <a:lnTo>
                  <a:pt x="853" y="3815"/>
                </a:lnTo>
                <a:lnTo>
                  <a:pt x="853" y="3815"/>
                </a:lnTo>
                <a:lnTo>
                  <a:pt x="853" y="3815"/>
                </a:lnTo>
                <a:close/>
                <a:moveTo>
                  <a:pt x="747" y="3822"/>
                </a:moveTo>
                <a:lnTo>
                  <a:pt x="778" y="3839"/>
                </a:lnTo>
                <a:lnTo>
                  <a:pt x="794" y="3860"/>
                </a:lnTo>
                <a:lnTo>
                  <a:pt x="778" y="3872"/>
                </a:lnTo>
                <a:lnTo>
                  <a:pt x="735" y="3832"/>
                </a:lnTo>
                <a:lnTo>
                  <a:pt x="740" y="3822"/>
                </a:lnTo>
                <a:lnTo>
                  <a:pt x="747" y="3822"/>
                </a:lnTo>
                <a:lnTo>
                  <a:pt x="747" y="3822"/>
                </a:lnTo>
                <a:lnTo>
                  <a:pt x="747" y="3822"/>
                </a:lnTo>
                <a:close/>
                <a:moveTo>
                  <a:pt x="844" y="3832"/>
                </a:moveTo>
                <a:lnTo>
                  <a:pt x="848" y="3855"/>
                </a:lnTo>
                <a:lnTo>
                  <a:pt x="832" y="3855"/>
                </a:lnTo>
                <a:lnTo>
                  <a:pt x="844" y="3832"/>
                </a:lnTo>
                <a:lnTo>
                  <a:pt x="844" y="3832"/>
                </a:lnTo>
                <a:lnTo>
                  <a:pt x="844" y="3832"/>
                </a:lnTo>
                <a:close/>
                <a:moveTo>
                  <a:pt x="5970" y="3839"/>
                </a:moveTo>
                <a:lnTo>
                  <a:pt x="5977" y="3839"/>
                </a:lnTo>
                <a:lnTo>
                  <a:pt x="5977" y="3848"/>
                </a:lnTo>
                <a:lnTo>
                  <a:pt x="5960" y="3839"/>
                </a:lnTo>
                <a:lnTo>
                  <a:pt x="5970" y="3839"/>
                </a:lnTo>
                <a:lnTo>
                  <a:pt x="5970" y="3839"/>
                </a:lnTo>
                <a:lnTo>
                  <a:pt x="5970" y="3839"/>
                </a:lnTo>
                <a:close/>
                <a:moveTo>
                  <a:pt x="815" y="3848"/>
                </a:moveTo>
                <a:lnTo>
                  <a:pt x="815" y="3855"/>
                </a:lnTo>
                <a:lnTo>
                  <a:pt x="811" y="3848"/>
                </a:lnTo>
                <a:lnTo>
                  <a:pt x="815" y="3848"/>
                </a:lnTo>
                <a:lnTo>
                  <a:pt x="815" y="3848"/>
                </a:lnTo>
                <a:lnTo>
                  <a:pt x="815" y="3848"/>
                </a:lnTo>
                <a:close/>
                <a:moveTo>
                  <a:pt x="4281" y="3848"/>
                </a:moveTo>
                <a:lnTo>
                  <a:pt x="4281" y="3855"/>
                </a:lnTo>
                <a:lnTo>
                  <a:pt x="4271" y="3855"/>
                </a:lnTo>
                <a:lnTo>
                  <a:pt x="4281" y="3848"/>
                </a:lnTo>
                <a:lnTo>
                  <a:pt x="4281" y="3848"/>
                </a:lnTo>
                <a:lnTo>
                  <a:pt x="4281" y="3848"/>
                </a:lnTo>
                <a:close/>
                <a:moveTo>
                  <a:pt x="827" y="3855"/>
                </a:moveTo>
                <a:lnTo>
                  <a:pt x="832" y="3872"/>
                </a:lnTo>
                <a:lnTo>
                  <a:pt x="815" y="3872"/>
                </a:lnTo>
                <a:lnTo>
                  <a:pt x="827" y="3855"/>
                </a:lnTo>
                <a:lnTo>
                  <a:pt x="827" y="3855"/>
                </a:lnTo>
                <a:lnTo>
                  <a:pt x="827" y="3855"/>
                </a:lnTo>
                <a:close/>
                <a:moveTo>
                  <a:pt x="832" y="3905"/>
                </a:moveTo>
                <a:lnTo>
                  <a:pt x="853" y="3877"/>
                </a:lnTo>
                <a:lnTo>
                  <a:pt x="844" y="3872"/>
                </a:lnTo>
                <a:lnTo>
                  <a:pt x="853" y="3877"/>
                </a:lnTo>
                <a:lnTo>
                  <a:pt x="832" y="3893"/>
                </a:lnTo>
                <a:lnTo>
                  <a:pt x="844" y="3855"/>
                </a:lnTo>
                <a:lnTo>
                  <a:pt x="870" y="3872"/>
                </a:lnTo>
                <a:lnTo>
                  <a:pt x="870" y="3877"/>
                </a:lnTo>
                <a:lnTo>
                  <a:pt x="870" y="3917"/>
                </a:lnTo>
                <a:lnTo>
                  <a:pt x="865" y="3926"/>
                </a:lnTo>
                <a:lnTo>
                  <a:pt x="865" y="3888"/>
                </a:lnTo>
                <a:lnTo>
                  <a:pt x="853" y="3917"/>
                </a:lnTo>
                <a:lnTo>
                  <a:pt x="844" y="3910"/>
                </a:lnTo>
                <a:lnTo>
                  <a:pt x="832" y="3905"/>
                </a:lnTo>
                <a:lnTo>
                  <a:pt x="832" y="3905"/>
                </a:lnTo>
                <a:lnTo>
                  <a:pt x="832" y="3905"/>
                </a:lnTo>
                <a:close/>
                <a:moveTo>
                  <a:pt x="617" y="3893"/>
                </a:moveTo>
                <a:lnTo>
                  <a:pt x="626" y="3888"/>
                </a:lnTo>
                <a:lnTo>
                  <a:pt x="600" y="3877"/>
                </a:lnTo>
                <a:lnTo>
                  <a:pt x="596" y="3872"/>
                </a:lnTo>
                <a:lnTo>
                  <a:pt x="626" y="3872"/>
                </a:lnTo>
                <a:lnTo>
                  <a:pt x="650" y="3860"/>
                </a:lnTo>
                <a:lnTo>
                  <a:pt x="664" y="3877"/>
                </a:lnTo>
                <a:lnTo>
                  <a:pt x="633" y="3877"/>
                </a:lnTo>
                <a:lnTo>
                  <a:pt x="655" y="3888"/>
                </a:lnTo>
                <a:lnTo>
                  <a:pt x="655" y="3893"/>
                </a:lnTo>
                <a:lnTo>
                  <a:pt x="633" y="3893"/>
                </a:lnTo>
                <a:lnTo>
                  <a:pt x="638" y="3893"/>
                </a:lnTo>
                <a:lnTo>
                  <a:pt x="671" y="3943"/>
                </a:lnTo>
                <a:lnTo>
                  <a:pt x="688" y="3943"/>
                </a:lnTo>
                <a:lnTo>
                  <a:pt x="681" y="3950"/>
                </a:lnTo>
                <a:lnTo>
                  <a:pt x="693" y="3950"/>
                </a:lnTo>
                <a:lnTo>
                  <a:pt x="702" y="3966"/>
                </a:lnTo>
                <a:lnTo>
                  <a:pt x="688" y="3966"/>
                </a:lnTo>
                <a:lnTo>
                  <a:pt x="664" y="3950"/>
                </a:lnTo>
                <a:lnTo>
                  <a:pt x="664" y="3943"/>
                </a:lnTo>
                <a:lnTo>
                  <a:pt x="626" y="3910"/>
                </a:lnTo>
                <a:lnTo>
                  <a:pt x="638" y="3910"/>
                </a:lnTo>
                <a:lnTo>
                  <a:pt x="633" y="3905"/>
                </a:lnTo>
                <a:lnTo>
                  <a:pt x="626" y="3910"/>
                </a:lnTo>
                <a:lnTo>
                  <a:pt x="612" y="3888"/>
                </a:lnTo>
                <a:lnTo>
                  <a:pt x="617" y="3893"/>
                </a:lnTo>
                <a:lnTo>
                  <a:pt x="617" y="3893"/>
                </a:lnTo>
                <a:lnTo>
                  <a:pt x="617" y="3893"/>
                </a:lnTo>
                <a:close/>
                <a:moveTo>
                  <a:pt x="4205" y="3860"/>
                </a:moveTo>
                <a:lnTo>
                  <a:pt x="4226" y="3893"/>
                </a:lnTo>
                <a:lnTo>
                  <a:pt x="4226" y="3910"/>
                </a:lnTo>
                <a:lnTo>
                  <a:pt x="4134" y="3877"/>
                </a:lnTo>
                <a:lnTo>
                  <a:pt x="4151" y="3860"/>
                </a:lnTo>
                <a:lnTo>
                  <a:pt x="4205" y="3860"/>
                </a:lnTo>
                <a:lnTo>
                  <a:pt x="4205" y="3860"/>
                </a:lnTo>
                <a:lnTo>
                  <a:pt x="4205" y="3860"/>
                </a:lnTo>
                <a:close/>
                <a:moveTo>
                  <a:pt x="811" y="3860"/>
                </a:moveTo>
                <a:lnTo>
                  <a:pt x="827" y="3888"/>
                </a:lnTo>
                <a:lnTo>
                  <a:pt x="801" y="3872"/>
                </a:lnTo>
                <a:lnTo>
                  <a:pt x="811" y="3860"/>
                </a:lnTo>
                <a:lnTo>
                  <a:pt x="811" y="3860"/>
                </a:lnTo>
                <a:lnTo>
                  <a:pt x="811" y="3860"/>
                </a:lnTo>
                <a:close/>
                <a:moveTo>
                  <a:pt x="4285" y="3872"/>
                </a:moveTo>
                <a:lnTo>
                  <a:pt x="4297" y="3872"/>
                </a:lnTo>
                <a:lnTo>
                  <a:pt x="4281" y="3877"/>
                </a:lnTo>
                <a:lnTo>
                  <a:pt x="4285" y="3872"/>
                </a:lnTo>
                <a:lnTo>
                  <a:pt x="4285" y="3872"/>
                </a:lnTo>
                <a:lnTo>
                  <a:pt x="4285" y="3872"/>
                </a:lnTo>
                <a:close/>
                <a:moveTo>
                  <a:pt x="794" y="3872"/>
                </a:moveTo>
                <a:lnTo>
                  <a:pt x="801" y="3877"/>
                </a:lnTo>
                <a:lnTo>
                  <a:pt x="794" y="3872"/>
                </a:lnTo>
                <a:lnTo>
                  <a:pt x="794" y="3872"/>
                </a:lnTo>
                <a:lnTo>
                  <a:pt x="794" y="3872"/>
                </a:lnTo>
                <a:close/>
                <a:moveTo>
                  <a:pt x="5977" y="3877"/>
                </a:moveTo>
                <a:lnTo>
                  <a:pt x="5970" y="3877"/>
                </a:lnTo>
                <a:lnTo>
                  <a:pt x="5977" y="3877"/>
                </a:lnTo>
                <a:lnTo>
                  <a:pt x="5977" y="3877"/>
                </a:lnTo>
                <a:lnTo>
                  <a:pt x="5977" y="3877"/>
                </a:lnTo>
                <a:close/>
                <a:moveTo>
                  <a:pt x="801" y="3877"/>
                </a:moveTo>
                <a:lnTo>
                  <a:pt x="811" y="3877"/>
                </a:lnTo>
                <a:lnTo>
                  <a:pt x="794" y="3877"/>
                </a:lnTo>
                <a:lnTo>
                  <a:pt x="801" y="3877"/>
                </a:lnTo>
                <a:lnTo>
                  <a:pt x="801" y="3877"/>
                </a:lnTo>
                <a:lnTo>
                  <a:pt x="801" y="3877"/>
                </a:lnTo>
                <a:close/>
                <a:moveTo>
                  <a:pt x="801" y="3888"/>
                </a:moveTo>
                <a:lnTo>
                  <a:pt x="794" y="3877"/>
                </a:lnTo>
                <a:lnTo>
                  <a:pt x="801" y="3888"/>
                </a:lnTo>
                <a:lnTo>
                  <a:pt x="801" y="3888"/>
                </a:lnTo>
                <a:lnTo>
                  <a:pt x="801" y="3888"/>
                </a:lnTo>
                <a:close/>
                <a:moveTo>
                  <a:pt x="903" y="3905"/>
                </a:moveTo>
                <a:lnTo>
                  <a:pt x="898" y="3926"/>
                </a:lnTo>
                <a:lnTo>
                  <a:pt x="886" y="3905"/>
                </a:lnTo>
                <a:lnTo>
                  <a:pt x="903" y="3905"/>
                </a:lnTo>
                <a:lnTo>
                  <a:pt x="903" y="3905"/>
                </a:lnTo>
                <a:lnTo>
                  <a:pt x="903" y="3905"/>
                </a:lnTo>
                <a:close/>
                <a:moveTo>
                  <a:pt x="827" y="3905"/>
                </a:moveTo>
                <a:lnTo>
                  <a:pt x="848" y="3917"/>
                </a:lnTo>
                <a:lnTo>
                  <a:pt x="848" y="3933"/>
                </a:lnTo>
                <a:lnTo>
                  <a:pt x="827" y="3910"/>
                </a:lnTo>
                <a:lnTo>
                  <a:pt x="827" y="3905"/>
                </a:lnTo>
                <a:lnTo>
                  <a:pt x="827" y="3905"/>
                </a:lnTo>
                <a:lnTo>
                  <a:pt x="827" y="3905"/>
                </a:lnTo>
                <a:close/>
                <a:moveTo>
                  <a:pt x="886" y="3905"/>
                </a:moveTo>
                <a:lnTo>
                  <a:pt x="898" y="3933"/>
                </a:lnTo>
                <a:lnTo>
                  <a:pt x="882" y="3943"/>
                </a:lnTo>
                <a:lnTo>
                  <a:pt x="882" y="3910"/>
                </a:lnTo>
                <a:lnTo>
                  <a:pt x="886" y="3905"/>
                </a:lnTo>
                <a:lnTo>
                  <a:pt x="886" y="3905"/>
                </a:lnTo>
                <a:lnTo>
                  <a:pt x="886" y="3905"/>
                </a:lnTo>
                <a:close/>
                <a:moveTo>
                  <a:pt x="671" y="3910"/>
                </a:moveTo>
                <a:lnTo>
                  <a:pt x="671" y="3917"/>
                </a:lnTo>
                <a:lnTo>
                  <a:pt x="664" y="3926"/>
                </a:lnTo>
                <a:lnTo>
                  <a:pt x="655" y="3910"/>
                </a:lnTo>
                <a:lnTo>
                  <a:pt x="671" y="3910"/>
                </a:lnTo>
                <a:lnTo>
                  <a:pt x="671" y="3910"/>
                </a:lnTo>
                <a:lnTo>
                  <a:pt x="671" y="3910"/>
                </a:lnTo>
                <a:close/>
                <a:moveTo>
                  <a:pt x="870" y="3917"/>
                </a:moveTo>
                <a:lnTo>
                  <a:pt x="882" y="3943"/>
                </a:lnTo>
                <a:lnTo>
                  <a:pt x="853" y="3926"/>
                </a:lnTo>
                <a:lnTo>
                  <a:pt x="870" y="3917"/>
                </a:lnTo>
                <a:lnTo>
                  <a:pt x="870" y="3917"/>
                </a:lnTo>
                <a:lnTo>
                  <a:pt x="870" y="3917"/>
                </a:lnTo>
                <a:close/>
                <a:moveTo>
                  <a:pt x="870" y="3933"/>
                </a:moveTo>
                <a:lnTo>
                  <a:pt x="865" y="3959"/>
                </a:lnTo>
                <a:lnTo>
                  <a:pt x="853" y="3933"/>
                </a:lnTo>
                <a:lnTo>
                  <a:pt x="870" y="3933"/>
                </a:lnTo>
                <a:lnTo>
                  <a:pt x="870" y="3933"/>
                </a:lnTo>
                <a:lnTo>
                  <a:pt x="870" y="3933"/>
                </a:lnTo>
                <a:close/>
                <a:moveTo>
                  <a:pt x="941" y="3966"/>
                </a:moveTo>
                <a:lnTo>
                  <a:pt x="936" y="3983"/>
                </a:lnTo>
                <a:lnTo>
                  <a:pt x="919" y="3983"/>
                </a:lnTo>
                <a:lnTo>
                  <a:pt x="924" y="3959"/>
                </a:lnTo>
                <a:lnTo>
                  <a:pt x="962" y="3943"/>
                </a:lnTo>
                <a:lnTo>
                  <a:pt x="962" y="3950"/>
                </a:lnTo>
                <a:lnTo>
                  <a:pt x="941" y="3966"/>
                </a:lnTo>
                <a:lnTo>
                  <a:pt x="941" y="3966"/>
                </a:lnTo>
                <a:lnTo>
                  <a:pt x="941" y="3966"/>
                </a:lnTo>
                <a:close/>
                <a:moveTo>
                  <a:pt x="903" y="3943"/>
                </a:moveTo>
                <a:lnTo>
                  <a:pt x="908" y="3950"/>
                </a:lnTo>
                <a:lnTo>
                  <a:pt x="898" y="3950"/>
                </a:lnTo>
                <a:lnTo>
                  <a:pt x="903" y="3943"/>
                </a:lnTo>
                <a:lnTo>
                  <a:pt x="903" y="3943"/>
                </a:lnTo>
                <a:lnTo>
                  <a:pt x="903" y="3943"/>
                </a:lnTo>
                <a:close/>
                <a:moveTo>
                  <a:pt x="919" y="3950"/>
                </a:moveTo>
                <a:lnTo>
                  <a:pt x="919" y="3966"/>
                </a:lnTo>
                <a:lnTo>
                  <a:pt x="903" y="3959"/>
                </a:lnTo>
                <a:lnTo>
                  <a:pt x="919" y="3950"/>
                </a:lnTo>
                <a:lnTo>
                  <a:pt x="919" y="3950"/>
                </a:lnTo>
                <a:lnTo>
                  <a:pt x="919" y="3950"/>
                </a:lnTo>
                <a:close/>
                <a:moveTo>
                  <a:pt x="898" y="3966"/>
                </a:moveTo>
                <a:lnTo>
                  <a:pt x="886" y="3959"/>
                </a:lnTo>
                <a:lnTo>
                  <a:pt x="898" y="3959"/>
                </a:lnTo>
                <a:lnTo>
                  <a:pt x="898" y="3966"/>
                </a:lnTo>
                <a:lnTo>
                  <a:pt x="898" y="3966"/>
                </a:lnTo>
                <a:lnTo>
                  <a:pt x="898" y="3966"/>
                </a:lnTo>
                <a:close/>
                <a:moveTo>
                  <a:pt x="886" y="3959"/>
                </a:moveTo>
                <a:lnTo>
                  <a:pt x="882" y="3966"/>
                </a:lnTo>
                <a:lnTo>
                  <a:pt x="886" y="3959"/>
                </a:lnTo>
                <a:lnTo>
                  <a:pt x="886" y="3959"/>
                </a:lnTo>
                <a:lnTo>
                  <a:pt x="886" y="3959"/>
                </a:lnTo>
                <a:close/>
                <a:moveTo>
                  <a:pt x="903" y="3966"/>
                </a:moveTo>
                <a:lnTo>
                  <a:pt x="898" y="3983"/>
                </a:lnTo>
                <a:lnTo>
                  <a:pt x="898" y="3966"/>
                </a:lnTo>
                <a:lnTo>
                  <a:pt x="903" y="3966"/>
                </a:lnTo>
                <a:lnTo>
                  <a:pt x="903" y="3966"/>
                </a:lnTo>
                <a:lnTo>
                  <a:pt x="903" y="3966"/>
                </a:lnTo>
                <a:close/>
                <a:moveTo>
                  <a:pt x="908" y="3966"/>
                </a:moveTo>
                <a:lnTo>
                  <a:pt x="919" y="3966"/>
                </a:lnTo>
                <a:lnTo>
                  <a:pt x="919" y="3971"/>
                </a:lnTo>
                <a:lnTo>
                  <a:pt x="903" y="3971"/>
                </a:lnTo>
                <a:lnTo>
                  <a:pt x="908" y="3966"/>
                </a:lnTo>
                <a:lnTo>
                  <a:pt x="908" y="3966"/>
                </a:lnTo>
                <a:lnTo>
                  <a:pt x="908" y="3966"/>
                </a:lnTo>
                <a:close/>
                <a:moveTo>
                  <a:pt x="693" y="3966"/>
                </a:moveTo>
                <a:lnTo>
                  <a:pt x="702" y="3971"/>
                </a:lnTo>
                <a:lnTo>
                  <a:pt x="702" y="3988"/>
                </a:lnTo>
                <a:lnTo>
                  <a:pt x="693" y="3971"/>
                </a:lnTo>
                <a:lnTo>
                  <a:pt x="693" y="3966"/>
                </a:lnTo>
                <a:lnTo>
                  <a:pt x="693" y="3966"/>
                </a:lnTo>
                <a:lnTo>
                  <a:pt x="693" y="3966"/>
                </a:lnTo>
                <a:close/>
                <a:moveTo>
                  <a:pt x="4323" y="3971"/>
                </a:moveTo>
                <a:lnTo>
                  <a:pt x="4318" y="3988"/>
                </a:lnTo>
                <a:lnTo>
                  <a:pt x="4302" y="3988"/>
                </a:lnTo>
                <a:lnTo>
                  <a:pt x="4302" y="3983"/>
                </a:lnTo>
                <a:lnTo>
                  <a:pt x="4323" y="3971"/>
                </a:lnTo>
                <a:lnTo>
                  <a:pt x="4323" y="3971"/>
                </a:lnTo>
                <a:lnTo>
                  <a:pt x="4323" y="3971"/>
                </a:lnTo>
                <a:close/>
                <a:moveTo>
                  <a:pt x="919" y="3971"/>
                </a:moveTo>
                <a:lnTo>
                  <a:pt x="908" y="4004"/>
                </a:lnTo>
                <a:lnTo>
                  <a:pt x="903" y="4004"/>
                </a:lnTo>
                <a:lnTo>
                  <a:pt x="898" y="4000"/>
                </a:lnTo>
                <a:lnTo>
                  <a:pt x="903" y="3971"/>
                </a:lnTo>
                <a:lnTo>
                  <a:pt x="919" y="3971"/>
                </a:lnTo>
                <a:lnTo>
                  <a:pt x="919" y="3971"/>
                </a:lnTo>
                <a:lnTo>
                  <a:pt x="919" y="3971"/>
                </a:lnTo>
                <a:close/>
                <a:moveTo>
                  <a:pt x="908" y="4004"/>
                </a:moveTo>
                <a:lnTo>
                  <a:pt x="919" y="4037"/>
                </a:lnTo>
                <a:lnTo>
                  <a:pt x="903" y="4021"/>
                </a:lnTo>
                <a:lnTo>
                  <a:pt x="908" y="4004"/>
                </a:lnTo>
                <a:lnTo>
                  <a:pt x="908" y="4004"/>
                </a:lnTo>
                <a:lnTo>
                  <a:pt x="908" y="4004"/>
                </a:lnTo>
                <a:close/>
                <a:moveTo>
                  <a:pt x="6116" y="4316"/>
                </a:moveTo>
                <a:lnTo>
                  <a:pt x="6133" y="4304"/>
                </a:lnTo>
                <a:lnTo>
                  <a:pt x="6133" y="4316"/>
                </a:lnTo>
                <a:lnTo>
                  <a:pt x="6137" y="4297"/>
                </a:lnTo>
                <a:lnTo>
                  <a:pt x="6154" y="4304"/>
                </a:lnTo>
                <a:lnTo>
                  <a:pt x="6170" y="4292"/>
                </a:lnTo>
                <a:lnTo>
                  <a:pt x="6170" y="4297"/>
                </a:lnTo>
                <a:lnTo>
                  <a:pt x="6154" y="4321"/>
                </a:lnTo>
                <a:lnTo>
                  <a:pt x="6149" y="4321"/>
                </a:lnTo>
                <a:lnTo>
                  <a:pt x="6121" y="4337"/>
                </a:lnTo>
                <a:lnTo>
                  <a:pt x="6111" y="4337"/>
                </a:lnTo>
                <a:lnTo>
                  <a:pt x="6111" y="4349"/>
                </a:lnTo>
                <a:lnTo>
                  <a:pt x="6121" y="4354"/>
                </a:lnTo>
                <a:lnTo>
                  <a:pt x="6111" y="4354"/>
                </a:lnTo>
                <a:lnTo>
                  <a:pt x="6133" y="4354"/>
                </a:lnTo>
                <a:lnTo>
                  <a:pt x="6111" y="4375"/>
                </a:lnTo>
                <a:lnTo>
                  <a:pt x="6116" y="4392"/>
                </a:lnTo>
                <a:lnTo>
                  <a:pt x="6133" y="4403"/>
                </a:lnTo>
                <a:lnTo>
                  <a:pt x="6137" y="4375"/>
                </a:lnTo>
                <a:lnTo>
                  <a:pt x="6154" y="4354"/>
                </a:lnTo>
                <a:lnTo>
                  <a:pt x="6170" y="4354"/>
                </a:lnTo>
                <a:lnTo>
                  <a:pt x="6175" y="4337"/>
                </a:lnTo>
                <a:lnTo>
                  <a:pt x="6187" y="4349"/>
                </a:lnTo>
                <a:lnTo>
                  <a:pt x="6175" y="4354"/>
                </a:lnTo>
                <a:lnTo>
                  <a:pt x="6154" y="4392"/>
                </a:lnTo>
                <a:lnTo>
                  <a:pt x="6163" y="4408"/>
                </a:lnTo>
                <a:lnTo>
                  <a:pt x="6175" y="4392"/>
                </a:lnTo>
                <a:lnTo>
                  <a:pt x="6187" y="4375"/>
                </a:lnTo>
                <a:lnTo>
                  <a:pt x="6201" y="4403"/>
                </a:lnTo>
                <a:lnTo>
                  <a:pt x="6187" y="4415"/>
                </a:lnTo>
                <a:lnTo>
                  <a:pt x="6175" y="4465"/>
                </a:lnTo>
                <a:lnTo>
                  <a:pt x="6163" y="4481"/>
                </a:lnTo>
                <a:lnTo>
                  <a:pt x="6149" y="4470"/>
                </a:lnTo>
                <a:lnTo>
                  <a:pt x="6133" y="4481"/>
                </a:lnTo>
                <a:lnTo>
                  <a:pt x="6133" y="4432"/>
                </a:lnTo>
                <a:lnTo>
                  <a:pt x="6100" y="4465"/>
                </a:lnTo>
                <a:lnTo>
                  <a:pt x="6083" y="4465"/>
                </a:lnTo>
                <a:lnTo>
                  <a:pt x="6095" y="4448"/>
                </a:lnTo>
                <a:lnTo>
                  <a:pt x="6111" y="4408"/>
                </a:lnTo>
                <a:lnTo>
                  <a:pt x="6100" y="4375"/>
                </a:lnTo>
                <a:lnTo>
                  <a:pt x="6083" y="4370"/>
                </a:lnTo>
                <a:lnTo>
                  <a:pt x="6066" y="4408"/>
                </a:lnTo>
                <a:lnTo>
                  <a:pt x="6057" y="4415"/>
                </a:lnTo>
                <a:lnTo>
                  <a:pt x="6066" y="4392"/>
                </a:lnTo>
                <a:lnTo>
                  <a:pt x="6057" y="4408"/>
                </a:lnTo>
                <a:lnTo>
                  <a:pt x="6041" y="4408"/>
                </a:lnTo>
                <a:lnTo>
                  <a:pt x="6015" y="4460"/>
                </a:lnTo>
                <a:lnTo>
                  <a:pt x="5986" y="4465"/>
                </a:lnTo>
                <a:lnTo>
                  <a:pt x="5960" y="4448"/>
                </a:lnTo>
                <a:lnTo>
                  <a:pt x="5970" y="4441"/>
                </a:lnTo>
                <a:lnTo>
                  <a:pt x="6003" y="4432"/>
                </a:lnTo>
                <a:lnTo>
                  <a:pt x="6015" y="4408"/>
                </a:lnTo>
                <a:lnTo>
                  <a:pt x="6041" y="4392"/>
                </a:lnTo>
                <a:lnTo>
                  <a:pt x="6029" y="4392"/>
                </a:lnTo>
                <a:lnTo>
                  <a:pt x="6041" y="4375"/>
                </a:lnTo>
                <a:lnTo>
                  <a:pt x="6024" y="4392"/>
                </a:lnTo>
                <a:lnTo>
                  <a:pt x="6003" y="4387"/>
                </a:lnTo>
                <a:lnTo>
                  <a:pt x="6003" y="4403"/>
                </a:lnTo>
                <a:lnTo>
                  <a:pt x="5991" y="4408"/>
                </a:lnTo>
                <a:lnTo>
                  <a:pt x="5986" y="4403"/>
                </a:lnTo>
                <a:lnTo>
                  <a:pt x="5970" y="4408"/>
                </a:lnTo>
                <a:lnTo>
                  <a:pt x="5977" y="4392"/>
                </a:lnTo>
                <a:lnTo>
                  <a:pt x="5948" y="4403"/>
                </a:lnTo>
                <a:lnTo>
                  <a:pt x="5986" y="4387"/>
                </a:lnTo>
                <a:lnTo>
                  <a:pt x="5970" y="4387"/>
                </a:lnTo>
                <a:lnTo>
                  <a:pt x="5977" y="4359"/>
                </a:lnTo>
                <a:lnTo>
                  <a:pt x="5970" y="4375"/>
                </a:lnTo>
                <a:lnTo>
                  <a:pt x="5953" y="4387"/>
                </a:lnTo>
                <a:lnTo>
                  <a:pt x="5953" y="4375"/>
                </a:lnTo>
                <a:lnTo>
                  <a:pt x="5948" y="4392"/>
                </a:lnTo>
                <a:lnTo>
                  <a:pt x="5901" y="4403"/>
                </a:lnTo>
                <a:lnTo>
                  <a:pt x="5814" y="4387"/>
                </a:lnTo>
                <a:lnTo>
                  <a:pt x="5738" y="4392"/>
                </a:lnTo>
                <a:lnTo>
                  <a:pt x="5733" y="4392"/>
                </a:lnTo>
                <a:lnTo>
                  <a:pt x="5722" y="4370"/>
                </a:lnTo>
                <a:lnTo>
                  <a:pt x="5792" y="4316"/>
                </a:lnTo>
                <a:lnTo>
                  <a:pt x="5776" y="4304"/>
                </a:lnTo>
                <a:lnTo>
                  <a:pt x="5733" y="4316"/>
                </a:lnTo>
                <a:lnTo>
                  <a:pt x="5771" y="4281"/>
                </a:lnTo>
                <a:lnTo>
                  <a:pt x="5755" y="4297"/>
                </a:lnTo>
                <a:lnTo>
                  <a:pt x="5771" y="4304"/>
                </a:lnTo>
                <a:lnTo>
                  <a:pt x="5792" y="4248"/>
                </a:lnTo>
                <a:lnTo>
                  <a:pt x="5792" y="4259"/>
                </a:lnTo>
                <a:lnTo>
                  <a:pt x="5830" y="4264"/>
                </a:lnTo>
                <a:lnTo>
                  <a:pt x="5814" y="4264"/>
                </a:lnTo>
                <a:lnTo>
                  <a:pt x="5809" y="4248"/>
                </a:lnTo>
                <a:lnTo>
                  <a:pt x="5826" y="4248"/>
                </a:lnTo>
                <a:lnTo>
                  <a:pt x="5830" y="4248"/>
                </a:lnTo>
                <a:lnTo>
                  <a:pt x="5814" y="4248"/>
                </a:lnTo>
                <a:lnTo>
                  <a:pt x="5826" y="4243"/>
                </a:lnTo>
                <a:lnTo>
                  <a:pt x="5809" y="4243"/>
                </a:lnTo>
                <a:lnTo>
                  <a:pt x="5809" y="4226"/>
                </a:lnTo>
                <a:lnTo>
                  <a:pt x="5826" y="4210"/>
                </a:lnTo>
                <a:lnTo>
                  <a:pt x="5840" y="4222"/>
                </a:lnTo>
                <a:lnTo>
                  <a:pt x="5830" y="4210"/>
                </a:lnTo>
                <a:lnTo>
                  <a:pt x="5826" y="4205"/>
                </a:lnTo>
                <a:lnTo>
                  <a:pt x="5863" y="4115"/>
                </a:lnTo>
                <a:lnTo>
                  <a:pt x="5878" y="4111"/>
                </a:lnTo>
                <a:lnTo>
                  <a:pt x="5863" y="4111"/>
                </a:lnTo>
                <a:lnTo>
                  <a:pt x="5894" y="4082"/>
                </a:lnTo>
                <a:lnTo>
                  <a:pt x="5901" y="4077"/>
                </a:lnTo>
                <a:lnTo>
                  <a:pt x="5894" y="4070"/>
                </a:lnTo>
                <a:lnTo>
                  <a:pt x="5906" y="4061"/>
                </a:lnTo>
                <a:lnTo>
                  <a:pt x="5906" y="4054"/>
                </a:lnTo>
                <a:lnTo>
                  <a:pt x="5915" y="4044"/>
                </a:lnTo>
                <a:lnTo>
                  <a:pt x="5970" y="4016"/>
                </a:lnTo>
                <a:lnTo>
                  <a:pt x="5970" y="4025"/>
                </a:lnTo>
                <a:lnTo>
                  <a:pt x="5986" y="4025"/>
                </a:lnTo>
                <a:lnTo>
                  <a:pt x="5977" y="4021"/>
                </a:lnTo>
                <a:lnTo>
                  <a:pt x="6003" y="4021"/>
                </a:lnTo>
                <a:lnTo>
                  <a:pt x="5991" y="4044"/>
                </a:lnTo>
                <a:lnTo>
                  <a:pt x="5953" y="4044"/>
                </a:lnTo>
                <a:lnTo>
                  <a:pt x="5960" y="4061"/>
                </a:lnTo>
                <a:lnTo>
                  <a:pt x="5977" y="4054"/>
                </a:lnTo>
                <a:lnTo>
                  <a:pt x="5977" y="4070"/>
                </a:lnTo>
                <a:lnTo>
                  <a:pt x="5953" y="4099"/>
                </a:lnTo>
                <a:lnTo>
                  <a:pt x="5953" y="4082"/>
                </a:lnTo>
                <a:lnTo>
                  <a:pt x="5948" y="4115"/>
                </a:lnTo>
                <a:lnTo>
                  <a:pt x="5906" y="4170"/>
                </a:lnTo>
                <a:lnTo>
                  <a:pt x="5906" y="4188"/>
                </a:lnTo>
                <a:lnTo>
                  <a:pt x="5901" y="4193"/>
                </a:lnTo>
                <a:lnTo>
                  <a:pt x="5906" y="4193"/>
                </a:lnTo>
                <a:lnTo>
                  <a:pt x="5901" y="4210"/>
                </a:lnTo>
                <a:lnTo>
                  <a:pt x="5953" y="4153"/>
                </a:lnTo>
                <a:lnTo>
                  <a:pt x="5977" y="4181"/>
                </a:lnTo>
                <a:lnTo>
                  <a:pt x="6003" y="4170"/>
                </a:lnTo>
                <a:lnTo>
                  <a:pt x="6003" y="4181"/>
                </a:lnTo>
                <a:lnTo>
                  <a:pt x="5953" y="4205"/>
                </a:lnTo>
                <a:lnTo>
                  <a:pt x="5970" y="4205"/>
                </a:lnTo>
                <a:lnTo>
                  <a:pt x="5953" y="4226"/>
                </a:lnTo>
                <a:lnTo>
                  <a:pt x="5970" y="4222"/>
                </a:lnTo>
                <a:lnTo>
                  <a:pt x="5986" y="4226"/>
                </a:lnTo>
                <a:lnTo>
                  <a:pt x="5991" y="4222"/>
                </a:lnTo>
                <a:lnTo>
                  <a:pt x="5991" y="4226"/>
                </a:lnTo>
                <a:lnTo>
                  <a:pt x="6007" y="4222"/>
                </a:lnTo>
                <a:lnTo>
                  <a:pt x="6007" y="4238"/>
                </a:lnTo>
                <a:lnTo>
                  <a:pt x="6007" y="4210"/>
                </a:lnTo>
                <a:lnTo>
                  <a:pt x="6024" y="4210"/>
                </a:lnTo>
                <a:lnTo>
                  <a:pt x="6007" y="4259"/>
                </a:lnTo>
                <a:lnTo>
                  <a:pt x="6024" y="4226"/>
                </a:lnTo>
                <a:lnTo>
                  <a:pt x="6045" y="4243"/>
                </a:lnTo>
                <a:lnTo>
                  <a:pt x="6062" y="4210"/>
                </a:lnTo>
                <a:lnTo>
                  <a:pt x="6066" y="4222"/>
                </a:lnTo>
                <a:lnTo>
                  <a:pt x="6066" y="4243"/>
                </a:lnTo>
                <a:lnTo>
                  <a:pt x="6078" y="4226"/>
                </a:lnTo>
                <a:lnTo>
                  <a:pt x="6083" y="4226"/>
                </a:lnTo>
                <a:lnTo>
                  <a:pt x="6100" y="4222"/>
                </a:lnTo>
                <a:lnTo>
                  <a:pt x="6116" y="4226"/>
                </a:lnTo>
                <a:lnTo>
                  <a:pt x="6137" y="4243"/>
                </a:lnTo>
                <a:lnTo>
                  <a:pt x="6133" y="4259"/>
                </a:lnTo>
                <a:lnTo>
                  <a:pt x="6116" y="4259"/>
                </a:lnTo>
                <a:lnTo>
                  <a:pt x="6121" y="4264"/>
                </a:lnTo>
                <a:lnTo>
                  <a:pt x="6095" y="4281"/>
                </a:lnTo>
                <a:lnTo>
                  <a:pt x="6116" y="4281"/>
                </a:lnTo>
                <a:lnTo>
                  <a:pt x="6111" y="4297"/>
                </a:lnTo>
                <a:lnTo>
                  <a:pt x="6116" y="4292"/>
                </a:lnTo>
                <a:lnTo>
                  <a:pt x="6111" y="4297"/>
                </a:lnTo>
                <a:lnTo>
                  <a:pt x="6111" y="4292"/>
                </a:lnTo>
                <a:lnTo>
                  <a:pt x="6133" y="4292"/>
                </a:lnTo>
                <a:lnTo>
                  <a:pt x="6100" y="4304"/>
                </a:lnTo>
                <a:lnTo>
                  <a:pt x="6116" y="4304"/>
                </a:lnTo>
                <a:lnTo>
                  <a:pt x="6116" y="4316"/>
                </a:lnTo>
                <a:lnTo>
                  <a:pt x="6116" y="4316"/>
                </a:lnTo>
                <a:lnTo>
                  <a:pt x="6116" y="4316"/>
                </a:lnTo>
                <a:close/>
                <a:moveTo>
                  <a:pt x="6100" y="4316"/>
                </a:moveTo>
                <a:lnTo>
                  <a:pt x="6095" y="4321"/>
                </a:lnTo>
                <a:lnTo>
                  <a:pt x="6116" y="4316"/>
                </a:lnTo>
                <a:lnTo>
                  <a:pt x="6100" y="4316"/>
                </a:lnTo>
                <a:lnTo>
                  <a:pt x="6100" y="4316"/>
                </a:lnTo>
                <a:lnTo>
                  <a:pt x="6100" y="4316"/>
                </a:lnTo>
                <a:close/>
                <a:moveTo>
                  <a:pt x="5991" y="4077"/>
                </a:moveTo>
                <a:lnTo>
                  <a:pt x="5991" y="4082"/>
                </a:lnTo>
                <a:lnTo>
                  <a:pt x="5986" y="4082"/>
                </a:lnTo>
                <a:lnTo>
                  <a:pt x="5991" y="4077"/>
                </a:lnTo>
                <a:lnTo>
                  <a:pt x="5991" y="4077"/>
                </a:lnTo>
                <a:lnTo>
                  <a:pt x="5991" y="4077"/>
                </a:lnTo>
                <a:close/>
                <a:moveTo>
                  <a:pt x="936" y="4082"/>
                </a:moveTo>
                <a:lnTo>
                  <a:pt x="936" y="4094"/>
                </a:lnTo>
                <a:lnTo>
                  <a:pt x="924" y="4082"/>
                </a:lnTo>
                <a:lnTo>
                  <a:pt x="936" y="4082"/>
                </a:lnTo>
                <a:lnTo>
                  <a:pt x="936" y="4082"/>
                </a:lnTo>
                <a:lnTo>
                  <a:pt x="936" y="4082"/>
                </a:lnTo>
                <a:close/>
                <a:moveTo>
                  <a:pt x="1096" y="4137"/>
                </a:moveTo>
                <a:lnTo>
                  <a:pt x="1113" y="4181"/>
                </a:lnTo>
                <a:lnTo>
                  <a:pt x="1134" y="4193"/>
                </a:lnTo>
                <a:lnTo>
                  <a:pt x="1125" y="4205"/>
                </a:lnTo>
                <a:lnTo>
                  <a:pt x="1139" y="4222"/>
                </a:lnTo>
                <a:lnTo>
                  <a:pt x="1193" y="4243"/>
                </a:lnTo>
                <a:lnTo>
                  <a:pt x="1222" y="4281"/>
                </a:lnTo>
                <a:lnTo>
                  <a:pt x="1226" y="4297"/>
                </a:lnTo>
                <a:lnTo>
                  <a:pt x="1231" y="4292"/>
                </a:lnTo>
                <a:lnTo>
                  <a:pt x="1243" y="4321"/>
                </a:lnTo>
                <a:lnTo>
                  <a:pt x="1231" y="4316"/>
                </a:lnTo>
                <a:lnTo>
                  <a:pt x="1222" y="4333"/>
                </a:lnTo>
                <a:lnTo>
                  <a:pt x="1118" y="4292"/>
                </a:lnTo>
                <a:lnTo>
                  <a:pt x="1113" y="4281"/>
                </a:lnTo>
                <a:lnTo>
                  <a:pt x="1134" y="4259"/>
                </a:lnTo>
                <a:lnTo>
                  <a:pt x="1134" y="4243"/>
                </a:lnTo>
                <a:lnTo>
                  <a:pt x="1125" y="4264"/>
                </a:lnTo>
                <a:lnTo>
                  <a:pt x="1087" y="4276"/>
                </a:lnTo>
                <a:lnTo>
                  <a:pt x="1070" y="4259"/>
                </a:lnTo>
                <a:lnTo>
                  <a:pt x="1080" y="4243"/>
                </a:lnTo>
                <a:lnTo>
                  <a:pt x="1070" y="4248"/>
                </a:lnTo>
                <a:lnTo>
                  <a:pt x="1063" y="4238"/>
                </a:lnTo>
                <a:lnTo>
                  <a:pt x="1049" y="4243"/>
                </a:lnTo>
                <a:lnTo>
                  <a:pt x="1059" y="4226"/>
                </a:lnTo>
                <a:lnTo>
                  <a:pt x="1059" y="4238"/>
                </a:lnTo>
                <a:lnTo>
                  <a:pt x="1042" y="4226"/>
                </a:lnTo>
                <a:lnTo>
                  <a:pt x="1016" y="4226"/>
                </a:lnTo>
                <a:lnTo>
                  <a:pt x="1011" y="4210"/>
                </a:lnTo>
                <a:lnTo>
                  <a:pt x="1049" y="4205"/>
                </a:lnTo>
                <a:lnTo>
                  <a:pt x="1011" y="4193"/>
                </a:lnTo>
                <a:lnTo>
                  <a:pt x="1004" y="4181"/>
                </a:lnTo>
                <a:lnTo>
                  <a:pt x="995" y="4181"/>
                </a:lnTo>
                <a:lnTo>
                  <a:pt x="974" y="4188"/>
                </a:lnTo>
                <a:lnTo>
                  <a:pt x="962" y="4170"/>
                </a:lnTo>
                <a:lnTo>
                  <a:pt x="974" y="4165"/>
                </a:lnTo>
                <a:lnTo>
                  <a:pt x="957" y="4170"/>
                </a:lnTo>
                <a:lnTo>
                  <a:pt x="941" y="4153"/>
                </a:lnTo>
                <a:lnTo>
                  <a:pt x="919" y="4165"/>
                </a:lnTo>
                <a:lnTo>
                  <a:pt x="924" y="4148"/>
                </a:lnTo>
                <a:lnTo>
                  <a:pt x="924" y="4137"/>
                </a:lnTo>
                <a:lnTo>
                  <a:pt x="919" y="4137"/>
                </a:lnTo>
                <a:lnTo>
                  <a:pt x="919" y="4127"/>
                </a:lnTo>
                <a:lnTo>
                  <a:pt x="941" y="4127"/>
                </a:lnTo>
                <a:lnTo>
                  <a:pt x="952" y="4132"/>
                </a:lnTo>
                <a:lnTo>
                  <a:pt x="941" y="4127"/>
                </a:lnTo>
                <a:lnTo>
                  <a:pt x="957" y="4115"/>
                </a:lnTo>
                <a:lnTo>
                  <a:pt x="919" y="4111"/>
                </a:lnTo>
                <a:lnTo>
                  <a:pt x="941" y="4115"/>
                </a:lnTo>
                <a:lnTo>
                  <a:pt x="908" y="4132"/>
                </a:lnTo>
                <a:lnTo>
                  <a:pt x="886" y="4115"/>
                </a:lnTo>
                <a:lnTo>
                  <a:pt x="886" y="4099"/>
                </a:lnTo>
                <a:lnTo>
                  <a:pt x="919" y="4094"/>
                </a:lnTo>
                <a:lnTo>
                  <a:pt x="962" y="4111"/>
                </a:lnTo>
                <a:lnTo>
                  <a:pt x="1096" y="4137"/>
                </a:lnTo>
                <a:lnTo>
                  <a:pt x="1096" y="4137"/>
                </a:lnTo>
                <a:lnTo>
                  <a:pt x="1096" y="4137"/>
                </a:lnTo>
                <a:close/>
                <a:moveTo>
                  <a:pt x="995" y="4099"/>
                </a:moveTo>
                <a:lnTo>
                  <a:pt x="990" y="4094"/>
                </a:lnTo>
                <a:lnTo>
                  <a:pt x="1011" y="4094"/>
                </a:lnTo>
                <a:lnTo>
                  <a:pt x="995" y="4099"/>
                </a:lnTo>
                <a:lnTo>
                  <a:pt x="995" y="4099"/>
                </a:lnTo>
                <a:lnTo>
                  <a:pt x="995" y="4099"/>
                </a:lnTo>
                <a:close/>
                <a:moveTo>
                  <a:pt x="1033" y="4094"/>
                </a:moveTo>
                <a:lnTo>
                  <a:pt x="1042" y="4099"/>
                </a:lnTo>
                <a:lnTo>
                  <a:pt x="1033" y="4111"/>
                </a:lnTo>
                <a:lnTo>
                  <a:pt x="1011" y="4111"/>
                </a:lnTo>
                <a:lnTo>
                  <a:pt x="1033" y="4094"/>
                </a:lnTo>
                <a:lnTo>
                  <a:pt x="1033" y="4094"/>
                </a:lnTo>
                <a:lnTo>
                  <a:pt x="1033" y="4094"/>
                </a:lnTo>
                <a:close/>
                <a:moveTo>
                  <a:pt x="1004" y="4099"/>
                </a:moveTo>
                <a:lnTo>
                  <a:pt x="1016" y="4099"/>
                </a:lnTo>
                <a:lnTo>
                  <a:pt x="1011" y="4111"/>
                </a:lnTo>
                <a:lnTo>
                  <a:pt x="1004" y="4099"/>
                </a:lnTo>
                <a:lnTo>
                  <a:pt x="1004" y="4099"/>
                </a:lnTo>
                <a:lnTo>
                  <a:pt x="1004" y="4099"/>
                </a:lnTo>
                <a:close/>
                <a:moveTo>
                  <a:pt x="990" y="4115"/>
                </a:moveTo>
                <a:lnTo>
                  <a:pt x="974" y="4111"/>
                </a:lnTo>
                <a:lnTo>
                  <a:pt x="995" y="4111"/>
                </a:lnTo>
                <a:lnTo>
                  <a:pt x="990" y="4115"/>
                </a:lnTo>
                <a:lnTo>
                  <a:pt x="990" y="4115"/>
                </a:lnTo>
                <a:lnTo>
                  <a:pt x="990" y="4115"/>
                </a:lnTo>
                <a:close/>
                <a:moveTo>
                  <a:pt x="1016" y="4111"/>
                </a:moveTo>
                <a:lnTo>
                  <a:pt x="1026" y="4115"/>
                </a:lnTo>
                <a:lnTo>
                  <a:pt x="1011" y="4115"/>
                </a:lnTo>
                <a:lnTo>
                  <a:pt x="1016" y="4111"/>
                </a:lnTo>
                <a:lnTo>
                  <a:pt x="1016" y="4111"/>
                </a:lnTo>
                <a:lnTo>
                  <a:pt x="1016" y="4111"/>
                </a:lnTo>
                <a:close/>
                <a:moveTo>
                  <a:pt x="1033" y="4115"/>
                </a:moveTo>
                <a:lnTo>
                  <a:pt x="1011" y="4127"/>
                </a:lnTo>
                <a:lnTo>
                  <a:pt x="1033" y="4115"/>
                </a:lnTo>
                <a:lnTo>
                  <a:pt x="1033" y="4115"/>
                </a:lnTo>
                <a:lnTo>
                  <a:pt x="1033" y="4115"/>
                </a:lnTo>
                <a:close/>
                <a:moveTo>
                  <a:pt x="1063" y="4127"/>
                </a:moveTo>
                <a:lnTo>
                  <a:pt x="1070" y="4132"/>
                </a:lnTo>
                <a:lnTo>
                  <a:pt x="1059" y="4132"/>
                </a:lnTo>
                <a:lnTo>
                  <a:pt x="1063" y="4127"/>
                </a:lnTo>
                <a:lnTo>
                  <a:pt x="1063" y="4127"/>
                </a:lnTo>
                <a:lnTo>
                  <a:pt x="1063" y="4127"/>
                </a:lnTo>
                <a:close/>
                <a:moveTo>
                  <a:pt x="1096" y="4127"/>
                </a:moveTo>
                <a:lnTo>
                  <a:pt x="1096" y="4132"/>
                </a:lnTo>
                <a:lnTo>
                  <a:pt x="1087" y="4132"/>
                </a:lnTo>
                <a:lnTo>
                  <a:pt x="1096" y="4127"/>
                </a:lnTo>
                <a:lnTo>
                  <a:pt x="1096" y="4127"/>
                </a:lnTo>
                <a:lnTo>
                  <a:pt x="1096" y="4127"/>
                </a:lnTo>
                <a:close/>
                <a:moveTo>
                  <a:pt x="1101" y="4132"/>
                </a:moveTo>
                <a:lnTo>
                  <a:pt x="1118" y="4148"/>
                </a:lnTo>
                <a:lnTo>
                  <a:pt x="1113" y="4153"/>
                </a:lnTo>
                <a:lnTo>
                  <a:pt x="1113" y="4137"/>
                </a:lnTo>
                <a:lnTo>
                  <a:pt x="1096" y="4137"/>
                </a:lnTo>
                <a:lnTo>
                  <a:pt x="1101" y="4132"/>
                </a:lnTo>
                <a:lnTo>
                  <a:pt x="1101" y="4132"/>
                </a:lnTo>
                <a:lnTo>
                  <a:pt x="1101" y="4132"/>
                </a:lnTo>
                <a:close/>
                <a:moveTo>
                  <a:pt x="1080" y="4132"/>
                </a:moveTo>
                <a:lnTo>
                  <a:pt x="1070" y="4132"/>
                </a:lnTo>
                <a:lnTo>
                  <a:pt x="1087" y="4132"/>
                </a:lnTo>
                <a:lnTo>
                  <a:pt x="1080" y="4132"/>
                </a:lnTo>
                <a:lnTo>
                  <a:pt x="1080" y="4132"/>
                </a:lnTo>
                <a:lnTo>
                  <a:pt x="1080" y="4132"/>
                </a:lnTo>
                <a:close/>
                <a:moveTo>
                  <a:pt x="1139" y="4137"/>
                </a:moveTo>
                <a:lnTo>
                  <a:pt x="1151" y="4148"/>
                </a:lnTo>
                <a:lnTo>
                  <a:pt x="1139" y="4153"/>
                </a:lnTo>
                <a:lnTo>
                  <a:pt x="1134" y="4148"/>
                </a:lnTo>
                <a:lnTo>
                  <a:pt x="1139" y="4137"/>
                </a:lnTo>
                <a:lnTo>
                  <a:pt x="1139" y="4137"/>
                </a:lnTo>
                <a:lnTo>
                  <a:pt x="1139" y="4137"/>
                </a:lnTo>
                <a:close/>
                <a:moveTo>
                  <a:pt x="1134" y="4137"/>
                </a:moveTo>
                <a:lnTo>
                  <a:pt x="1139" y="4153"/>
                </a:lnTo>
                <a:lnTo>
                  <a:pt x="1134" y="4165"/>
                </a:lnTo>
                <a:lnTo>
                  <a:pt x="1125" y="4148"/>
                </a:lnTo>
                <a:lnTo>
                  <a:pt x="1134" y="4137"/>
                </a:lnTo>
                <a:lnTo>
                  <a:pt x="1134" y="4137"/>
                </a:lnTo>
                <a:lnTo>
                  <a:pt x="1134" y="4137"/>
                </a:lnTo>
                <a:close/>
                <a:moveTo>
                  <a:pt x="1096" y="4148"/>
                </a:moveTo>
                <a:lnTo>
                  <a:pt x="1113" y="4148"/>
                </a:lnTo>
                <a:lnTo>
                  <a:pt x="1113" y="4170"/>
                </a:lnTo>
                <a:lnTo>
                  <a:pt x="1096" y="4148"/>
                </a:lnTo>
                <a:lnTo>
                  <a:pt x="1096" y="4148"/>
                </a:lnTo>
                <a:lnTo>
                  <a:pt x="1096" y="4148"/>
                </a:lnTo>
                <a:close/>
                <a:moveTo>
                  <a:pt x="1125" y="4148"/>
                </a:moveTo>
                <a:lnTo>
                  <a:pt x="1134" y="4165"/>
                </a:lnTo>
                <a:lnTo>
                  <a:pt x="1125" y="4165"/>
                </a:lnTo>
                <a:lnTo>
                  <a:pt x="1118" y="4165"/>
                </a:lnTo>
                <a:lnTo>
                  <a:pt x="1125" y="4148"/>
                </a:lnTo>
                <a:lnTo>
                  <a:pt x="1125" y="4148"/>
                </a:lnTo>
                <a:lnTo>
                  <a:pt x="1125" y="4148"/>
                </a:lnTo>
                <a:close/>
                <a:moveTo>
                  <a:pt x="5436" y="4188"/>
                </a:moveTo>
                <a:lnTo>
                  <a:pt x="5500" y="4210"/>
                </a:lnTo>
                <a:lnTo>
                  <a:pt x="5523" y="4226"/>
                </a:lnTo>
                <a:lnTo>
                  <a:pt x="5544" y="4238"/>
                </a:lnTo>
                <a:lnTo>
                  <a:pt x="5561" y="4248"/>
                </a:lnTo>
                <a:lnTo>
                  <a:pt x="5528" y="4259"/>
                </a:lnTo>
                <a:lnTo>
                  <a:pt x="5462" y="4243"/>
                </a:lnTo>
                <a:lnTo>
                  <a:pt x="5431" y="4226"/>
                </a:lnTo>
                <a:lnTo>
                  <a:pt x="5410" y="4205"/>
                </a:lnTo>
                <a:lnTo>
                  <a:pt x="5365" y="4188"/>
                </a:lnTo>
                <a:lnTo>
                  <a:pt x="5381" y="4170"/>
                </a:lnTo>
                <a:lnTo>
                  <a:pt x="5436" y="4188"/>
                </a:lnTo>
                <a:lnTo>
                  <a:pt x="5436" y="4188"/>
                </a:lnTo>
                <a:lnTo>
                  <a:pt x="5436" y="4188"/>
                </a:lnTo>
                <a:close/>
                <a:moveTo>
                  <a:pt x="1004" y="4181"/>
                </a:moveTo>
                <a:lnTo>
                  <a:pt x="1011" y="4193"/>
                </a:lnTo>
                <a:lnTo>
                  <a:pt x="1011" y="4210"/>
                </a:lnTo>
                <a:lnTo>
                  <a:pt x="990" y="4193"/>
                </a:lnTo>
                <a:lnTo>
                  <a:pt x="990" y="4188"/>
                </a:lnTo>
                <a:lnTo>
                  <a:pt x="1004" y="4181"/>
                </a:lnTo>
                <a:lnTo>
                  <a:pt x="1004" y="4181"/>
                </a:lnTo>
                <a:lnTo>
                  <a:pt x="1004" y="4181"/>
                </a:lnTo>
                <a:close/>
                <a:moveTo>
                  <a:pt x="1189" y="4222"/>
                </a:moveTo>
                <a:lnTo>
                  <a:pt x="1151" y="4188"/>
                </a:lnTo>
                <a:lnTo>
                  <a:pt x="1172" y="4193"/>
                </a:lnTo>
                <a:lnTo>
                  <a:pt x="1189" y="4222"/>
                </a:lnTo>
                <a:lnTo>
                  <a:pt x="1189" y="4222"/>
                </a:lnTo>
                <a:lnTo>
                  <a:pt x="1189" y="4222"/>
                </a:lnTo>
                <a:close/>
                <a:moveTo>
                  <a:pt x="1193" y="4193"/>
                </a:moveTo>
                <a:lnTo>
                  <a:pt x="1189" y="4205"/>
                </a:lnTo>
                <a:lnTo>
                  <a:pt x="1177" y="4205"/>
                </a:lnTo>
                <a:lnTo>
                  <a:pt x="1193" y="4193"/>
                </a:lnTo>
                <a:lnTo>
                  <a:pt x="1193" y="4193"/>
                </a:lnTo>
                <a:lnTo>
                  <a:pt x="1193" y="4193"/>
                </a:lnTo>
                <a:close/>
                <a:moveTo>
                  <a:pt x="6095" y="4193"/>
                </a:moveTo>
                <a:lnTo>
                  <a:pt x="6100" y="4205"/>
                </a:lnTo>
                <a:lnTo>
                  <a:pt x="6078" y="4210"/>
                </a:lnTo>
                <a:lnTo>
                  <a:pt x="6078" y="4193"/>
                </a:lnTo>
                <a:lnTo>
                  <a:pt x="6095" y="4193"/>
                </a:lnTo>
                <a:lnTo>
                  <a:pt x="6095" y="4193"/>
                </a:lnTo>
                <a:lnTo>
                  <a:pt x="6095" y="4193"/>
                </a:lnTo>
                <a:close/>
                <a:moveTo>
                  <a:pt x="6062" y="4205"/>
                </a:moveTo>
                <a:lnTo>
                  <a:pt x="6041" y="4222"/>
                </a:lnTo>
                <a:lnTo>
                  <a:pt x="6041" y="4210"/>
                </a:lnTo>
                <a:lnTo>
                  <a:pt x="6045" y="4210"/>
                </a:lnTo>
                <a:lnTo>
                  <a:pt x="6062" y="4205"/>
                </a:lnTo>
                <a:lnTo>
                  <a:pt x="6062" y="4205"/>
                </a:lnTo>
                <a:lnTo>
                  <a:pt x="6062" y="4205"/>
                </a:lnTo>
                <a:close/>
                <a:moveTo>
                  <a:pt x="5986" y="4205"/>
                </a:moveTo>
                <a:lnTo>
                  <a:pt x="5991" y="4210"/>
                </a:lnTo>
                <a:lnTo>
                  <a:pt x="5977" y="4210"/>
                </a:lnTo>
                <a:lnTo>
                  <a:pt x="5986" y="4205"/>
                </a:lnTo>
                <a:lnTo>
                  <a:pt x="5986" y="4205"/>
                </a:lnTo>
                <a:lnTo>
                  <a:pt x="5986" y="4205"/>
                </a:lnTo>
                <a:close/>
                <a:moveTo>
                  <a:pt x="1243" y="4222"/>
                </a:moveTo>
                <a:lnTo>
                  <a:pt x="1231" y="4226"/>
                </a:lnTo>
                <a:lnTo>
                  <a:pt x="1231" y="4222"/>
                </a:lnTo>
                <a:lnTo>
                  <a:pt x="1243" y="4222"/>
                </a:lnTo>
                <a:lnTo>
                  <a:pt x="1243" y="4222"/>
                </a:lnTo>
                <a:lnTo>
                  <a:pt x="1243" y="4222"/>
                </a:lnTo>
                <a:close/>
                <a:moveTo>
                  <a:pt x="1042" y="4226"/>
                </a:moveTo>
                <a:lnTo>
                  <a:pt x="1049" y="4243"/>
                </a:lnTo>
                <a:lnTo>
                  <a:pt x="1033" y="4238"/>
                </a:lnTo>
                <a:lnTo>
                  <a:pt x="1033" y="4226"/>
                </a:lnTo>
                <a:lnTo>
                  <a:pt x="1042" y="4226"/>
                </a:lnTo>
                <a:lnTo>
                  <a:pt x="1042" y="4226"/>
                </a:lnTo>
                <a:lnTo>
                  <a:pt x="1042" y="4226"/>
                </a:lnTo>
                <a:close/>
                <a:moveTo>
                  <a:pt x="1063" y="4243"/>
                </a:moveTo>
                <a:lnTo>
                  <a:pt x="1063" y="4248"/>
                </a:lnTo>
                <a:lnTo>
                  <a:pt x="1059" y="4243"/>
                </a:lnTo>
                <a:lnTo>
                  <a:pt x="1063" y="4243"/>
                </a:lnTo>
                <a:lnTo>
                  <a:pt x="1063" y="4243"/>
                </a:lnTo>
                <a:lnTo>
                  <a:pt x="1063" y="4243"/>
                </a:lnTo>
                <a:close/>
                <a:moveTo>
                  <a:pt x="1205" y="4248"/>
                </a:moveTo>
                <a:lnTo>
                  <a:pt x="1210" y="4248"/>
                </a:lnTo>
                <a:lnTo>
                  <a:pt x="1205" y="4248"/>
                </a:lnTo>
                <a:lnTo>
                  <a:pt x="1205" y="4248"/>
                </a:lnTo>
                <a:lnTo>
                  <a:pt x="1205" y="4248"/>
                </a:lnTo>
                <a:close/>
                <a:moveTo>
                  <a:pt x="1222" y="4259"/>
                </a:moveTo>
                <a:lnTo>
                  <a:pt x="1243" y="4276"/>
                </a:lnTo>
                <a:lnTo>
                  <a:pt x="1226" y="4264"/>
                </a:lnTo>
                <a:lnTo>
                  <a:pt x="1222" y="4259"/>
                </a:lnTo>
                <a:lnTo>
                  <a:pt x="1222" y="4259"/>
                </a:lnTo>
                <a:lnTo>
                  <a:pt x="1222" y="4259"/>
                </a:lnTo>
                <a:close/>
                <a:moveTo>
                  <a:pt x="1226" y="4276"/>
                </a:moveTo>
                <a:lnTo>
                  <a:pt x="1231" y="4292"/>
                </a:lnTo>
                <a:lnTo>
                  <a:pt x="1226" y="4292"/>
                </a:lnTo>
                <a:lnTo>
                  <a:pt x="1226" y="4276"/>
                </a:lnTo>
                <a:lnTo>
                  <a:pt x="1226" y="4276"/>
                </a:lnTo>
                <a:lnTo>
                  <a:pt x="1226" y="4276"/>
                </a:lnTo>
                <a:close/>
                <a:moveTo>
                  <a:pt x="6133" y="4337"/>
                </a:moveTo>
                <a:lnTo>
                  <a:pt x="6133" y="4349"/>
                </a:lnTo>
                <a:lnTo>
                  <a:pt x="6121" y="4354"/>
                </a:lnTo>
                <a:lnTo>
                  <a:pt x="6111" y="4337"/>
                </a:lnTo>
                <a:lnTo>
                  <a:pt x="6133" y="4337"/>
                </a:lnTo>
                <a:lnTo>
                  <a:pt x="6133" y="4337"/>
                </a:lnTo>
                <a:lnTo>
                  <a:pt x="6133" y="4337"/>
                </a:lnTo>
                <a:close/>
                <a:moveTo>
                  <a:pt x="5365" y="4354"/>
                </a:moveTo>
                <a:lnTo>
                  <a:pt x="5365" y="4359"/>
                </a:lnTo>
                <a:lnTo>
                  <a:pt x="5360" y="4359"/>
                </a:lnTo>
                <a:lnTo>
                  <a:pt x="5365" y="4354"/>
                </a:lnTo>
                <a:lnTo>
                  <a:pt x="5365" y="4354"/>
                </a:lnTo>
                <a:lnTo>
                  <a:pt x="5365" y="4354"/>
                </a:lnTo>
                <a:close/>
                <a:moveTo>
                  <a:pt x="5365" y="4359"/>
                </a:moveTo>
                <a:lnTo>
                  <a:pt x="5360" y="4375"/>
                </a:lnTo>
                <a:lnTo>
                  <a:pt x="5355" y="4375"/>
                </a:lnTo>
                <a:lnTo>
                  <a:pt x="5355" y="4370"/>
                </a:lnTo>
                <a:lnTo>
                  <a:pt x="5365" y="4359"/>
                </a:lnTo>
                <a:lnTo>
                  <a:pt x="5365" y="4359"/>
                </a:lnTo>
                <a:lnTo>
                  <a:pt x="5365" y="4359"/>
                </a:lnTo>
                <a:close/>
                <a:moveTo>
                  <a:pt x="5970" y="4387"/>
                </a:moveTo>
                <a:lnTo>
                  <a:pt x="5970" y="4392"/>
                </a:lnTo>
                <a:lnTo>
                  <a:pt x="5953" y="4387"/>
                </a:lnTo>
                <a:lnTo>
                  <a:pt x="5970" y="4387"/>
                </a:lnTo>
                <a:lnTo>
                  <a:pt x="5970" y="4387"/>
                </a:lnTo>
                <a:lnTo>
                  <a:pt x="5970" y="4387"/>
                </a:lnTo>
                <a:close/>
                <a:moveTo>
                  <a:pt x="6095" y="4392"/>
                </a:moveTo>
                <a:lnTo>
                  <a:pt x="6083" y="4408"/>
                </a:lnTo>
                <a:lnTo>
                  <a:pt x="6078" y="4408"/>
                </a:lnTo>
                <a:lnTo>
                  <a:pt x="6095" y="4392"/>
                </a:lnTo>
                <a:lnTo>
                  <a:pt x="6095" y="4392"/>
                </a:lnTo>
                <a:lnTo>
                  <a:pt x="6095" y="4392"/>
                </a:lnTo>
                <a:close/>
                <a:moveTo>
                  <a:pt x="5582" y="4392"/>
                </a:moveTo>
                <a:lnTo>
                  <a:pt x="5570" y="4403"/>
                </a:lnTo>
                <a:lnTo>
                  <a:pt x="5544" y="4425"/>
                </a:lnTo>
                <a:lnTo>
                  <a:pt x="5554" y="4425"/>
                </a:lnTo>
                <a:lnTo>
                  <a:pt x="5537" y="4425"/>
                </a:lnTo>
                <a:lnTo>
                  <a:pt x="5544" y="4408"/>
                </a:lnTo>
                <a:lnTo>
                  <a:pt x="5582" y="4392"/>
                </a:lnTo>
                <a:lnTo>
                  <a:pt x="5582" y="4392"/>
                </a:lnTo>
                <a:lnTo>
                  <a:pt x="5582" y="4392"/>
                </a:lnTo>
                <a:close/>
                <a:moveTo>
                  <a:pt x="5523" y="4503"/>
                </a:moveTo>
                <a:lnTo>
                  <a:pt x="5500" y="4519"/>
                </a:lnTo>
                <a:lnTo>
                  <a:pt x="5507" y="4526"/>
                </a:lnTo>
                <a:lnTo>
                  <a:pt x="5507" y="4536"/>
                </a:lnTo>
                <a:lnTo>
                  <a:pt x="5485" y="4543"/>
                </a:lnTo>
                <a:lnTo>
                  <a:pt x="5474" y="4526"/>
                </a:lnTo>
                <a:lnTo>
                  <a:pt x="5462" y="4519"/>
                </a:lnTo>
                <a:lnTo>
                  <a:pt x="5474" y="4514"/>
                </a:lnTo>
                <a:lnTo>
                  <a:pt x="5452" y="4526"/>
                </a:lnTo>
                <a:lnTo>
                  <a:pt x="5419" y="4519"/>
                </a:lnTo>
                <a:lnTo>
                  <a:pt x="5415" y="4514"/>
                </a:lnTo>
                <a:lnTo>
                  <a:pt x="5415" y="4503"/>
                </a:lnTo>
                <a:lnTo>
                  <a:pt x="5393" y="4503"/>
                </a:lnTo>
                <a:lnTo>
                  <a:pt x="5393" y="4481"/>
                </a:lnTo>
                <a:lnTo>
                  <a:pt x="5377" y="4481"/>
                </a:lnTo>
                <a:lnTo>
                  <a:pt x="5365" y="4470"/>
                </a:lnTo>
                <a:lnTo>
                  <a:pt x="5398" y="4441"/>
                </a:lnTo>
                <a:lnTo>
                  <a:pt x="5398" y="4460"/>
                </a:lnTo>
                <a:lnTo>
                  <a:pt x="5393" y="4465"/>
                </a:lnTo>
                <a:lnTo>
                  <a:pt x="5415" y="4481"/>
                </a:lnTo>
                <a:lnTo>
                  <a:pt x="5415" y="4498"/>
                </a:lnTo>
                <a:lnTo>
                  <a:pt x="5419" y="4498"/>
                </a:lnTo>
                <a:lnTo>
                  <a:pt x="5419" y="4486"/>
                </a:lnTo>
                <a:lnTo>
                  <a:pt x="5452" y="4503"/>
                </a:lnTo>
                <a:lnTo>
                  <a:pt x="5544" y="4498"/>
                </a:lnTo>
                <a:lnTo>
                  <a:pt x="5523" y="4503"/>
                </a:lnTo>
                <a:lnTo>
                  <a:pt x="5523" y="4503"/>
                </a:lnTo>
                <a:lnTo>
                  <a:pt x="5523" y="4503"/>
                </a:lnTo>
                <a:close/>
                <a:moveTo>
                  <a:pt x="5608" y="4552"/>
                </a:moveTo>
                <a:lnTo>
                  <a:pt x="5599" y="4569"/>
                </a:lnTo>
                <a:lnTo>
                  <a:pt x="5625" y="4569"/>
                </a:lnTo>
                <a:lnTo>
                  <a:pt x="5646" y="4543"/>
                </a:lnTo>
                <a:lnTo>
                  <a:pt x="5651" y="4536"/>
                </a:lnTo>
                <a:lnTo>
                  <a:pt x="5629" y="4552"/>
                </a:lnTo>
                <a:lnTo>
                  <a:pt x="5625" y="4543"/>
                </a:lnTo>
                <a:lnTo>
                  <a:pt x="5663" y="4519"/>
                </a:lnTo>
                <a:lnTo>
                  <a:pt x="5637" y="4536"/>
                </a:lnTo>
                <a:lnTo>
                  <a:pt x="5663" y="4514"/>
                </a:lnTo>
                <a:lnTo>
                  <a:pt x="5689" y="4519"/>
                </a:lnTo>
                <a:lnTo>
                  <a:pt x="5689" y="4526"/>
                </a:lnTo>
                <a:lnTo>
                  <a:pt x="5689" y="4543"/>
                </a:lnTo>
                <a:lnTo>
                  <a:pt x="5667" y="4552"/>
                </a:lnTo>
                <a:lnTo>
                  <a:pt x="5663" y="4569"/>
                </a:lnTo>
                <a:lnTo>
                  <a:pt x="5646" y="4576"/>
                </a:lnTo>
                <a:lnTo>
                  <a:pt x="5599" y="4576"/>
                </a:lnTo>
                <a:lnTo>
                  <a:pt x="5582" y="4576"/>
                </a:lnTo>
                <a:lnTo>
                  <a:pt x="5575" y="4569"/>
                </a:lnTo>
                <a:lnTo>
                  <a:pt x="5575" y="4536"/>
                </a:lnTo>
                <a:lnTo>
                  <a:pt x="5575" y="4526"/>
                </a:lnTo>
                <a:lnTo>
                  <a:pt x="5592" y="4519"/>
                </a:lnTo>
                <a:lnTo>
                  <a:pt x="5637" y="4448"/>
                </a:lnTo>
                <a:lnTo>
                  <a:pt x="5646" y="4448"/>
                </a:lnTo>
                <a:lnTo>
                  <a:pt x="5646" y="4460"/>
                </a:lnTo>
                <a:lnTo>
                  <a:pt x="5663" y="4465"/>
                </a:lnTo>
                <a:lnTo>
                  <a:pt x="5637" y="4519"/>
                </a:lnTo>
                <a:lnTo>
                  <a:pt x="5651" y="4514"/>
                </a:lnTo>
                <a:lnTo>
                  <a:pt x="5637" y="4526"/>
                </a:lnTo>
                <a:lnTo>
                  <a:pt x="5599" y="4543"/>
                </a:lnTo>
                <a:lnTo>
                  <a:pt x="5629" y="4536"/>
                </a:lnTo>
                <a:lnTo>
                  <a:pt x="5625" y="4543"/>
                </a:lnTo>
                <a:lnTo>
                  <a:pt x="5608" y="4552"/>
                </a:lnTo>
                <a:lnTo>
                  <a:pt x="5613" y="4552"/>
                </a:lnTo>
                <a:lnTo>
                  <a:pt x="5608" y="4552"/>
                </a:lnTo>
                <a:lnTo>
                  <a:pt x="5608" y="4552"/>
                </a:lnTo>
                <a:lnTo>
                  <a:pt x="5608" y="4552"/>
                </a:lnTo>
                <a:close/>
                <a:moveTo>
                  <a:pt x="5613" y="4576"/>
                </a:moveTo>
                <a:lnTo>
                  <a:pt x="5608" y="4581"/>
                </a:lnTo>
                <a:lnTo>
                  <a:pt x="5599" y="4581"/>
                </a:lnTo>
                <a:lnTo>
                  <a:pt x="5613" y="4576"/>
                </a:lnTo>
                <a:lnTo>
                  <a:pt x="5613" y="4576"/>
                </a:lnTo>
                <a:lnTo>
                  <a:pt x="5613" y="4576"/>
                </a:lnTo>
                <a:close/>
                <a:moveTo>
                  <a:pt x="5204" y="4647"/>
                </a:moveTo>
                <a:lnTo>
                  <a:pt x="5204" y="4654"/>
                </a:lnTo>
                <a:lnTo>
                  <a:pt x="5200" y="4663"/>
                </a:lnTo>
                <a:lnTo>
                  <a:pt x="5204" y="4647"/>
                </a:lnTo>
                <a:lnTo>
                  <a:pt x="5204" y="4647"/>
                </a:lnTo>
                <a:lnTo>
                  <a:pt x="5204" y="4647"/>
                </a:lnTo>
                <a:close/>
                <a:moveTo>
                  <a:pt x="5679" y="4720"/>
                </a:moveTo>
                <a:lnTo>
                  <a:pt x="5700" y="4720"/>
                </a:lnTo>
                <a:lnTo>
                  <a:pt x="5689" y="4725"/>
                </a:lnTo>
                <a:lnTo>
                  <a:pt x="5679" y="4720"/>
                </a:lnTo>
                <a:lnTo>
                  <a:pt x="5679" y="4720"/>
                </a:lnTo>
                <a:lnTo>
                  <a:pt x="5679" y="4720"/>
                </a:lnTo>
                <a:close/>
              </a:path>
            </a:pathLst>
          </a:custGeom>
          <a:pattFill prst="ltUpDiag">
            <a:fgClr>
              <a:schemeClr val="accent2"/>
            </a:fgClr>
            <a:bgClr>
              <a:schemeClr val="bg1"/>
            </a:bgClr>
          </a:patt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2949" name="Gruppieren 2948">
            <a:extLst>
              <a:ext uri="{FF2B5EF4-FFF2-40B4-BE49-F238E27FC236}">
                <a16:creationId xmlns:a16="http://schemas.microsoft.com/office/drawing/2014/main" id="{BFC32DE9-067E-4EDA-8875-E0456F071B62}"/>
              </a:ext>
            </a:extLst>
          </p:cNvPr>
          <p:cNvGrpSpPr/>
          <p:nvPr/>
        </p:nvGrpSpPr>
        <p:grpSpPr bwMode="gray">
          <a:xfrm>
            <a:off x="9289882" y="3145292"/>
            <a:ext cx="2778111" cy="3298928"/>
            <a:chOff x="3308961" y="3058829"/>
            <a:chExt cx="2412800" cy="2865131"/>
          </a:xfrm>
          <a:pattFill prst="ltUpDiag">
            <a:fgClr>
              <a:schemeClr val="bg2">
                <a:lumMod val="90000"/>
              </a:schemeClr>
            </a:fgClr>
            <a:bgClr>
              <a:schemeClr val="bg1"/>
            </a:bgClr>
          </a:pattFill>
        </p:grpSpPr>
        <p:sp>
          <p:nvSpPr>
            <p:cNvPr id="2950" name="Freeform 377">
              <a:extLst>
                <a:ext uri="{FF2B5EF4-FFF2-40B4-BE49-F238E27FC236}">
                  <a16:creationId xmlns:a16="http://schemas.microsoft.com/office/drawing/2014/main" id="{DE87EC6B-9423-4A46-92A3-4666654EFE88}"/>
                </a:ext>
              </a:extLst>
            </p:cNvPr>
            <p:cNvSpPr>
              <a:spLocks/>
            </p:cNvSpPr>
            <p:nvPr/>
          </p:nvSpPr>
          <p:spPr bwMode="gray">
            <a:xfrm>
              <a:off x="4700407" y="3689166"/>
              <a:ext cx="6998" cy="6999"/>
            </a:xfrm>
            <a:custGeom>
              <a:avLst/>
              <a:gdLst>
                <a:gd name="T0" fmla="*/ 17 w 17"/>
                <a:gd name="T1" fmla="*/ 17 h 17"/>
                <a:gd name="T2" fmla="*/ 0 w 17"/>
                <a:gd name="T3" fmla="*/ 7 h 17"/>
                <a:gd name="T4" fmla="*/ 0 w 17"/>
                <a:gd name="T5" fmla="*/ 0 h 17"/>
                <a:gd name="T6" fmla="*/ 17 w 17"/>
                <a:gd name="T7" fmla="*/ 17 h 17"/>
                <a:gd name="T8" fmla="*/ 17 w 17"/>
                <a:gd name="T9" fmla="*/ 17 h 17"/>
                <a:gd name="T10" fmla="*/ 17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17" y="17"/>
                  </a:moveTo>
                  <a:lnTo>
                    <a:pt x="0" y="7"/>
                  </a:lnTo>
                  <a:lnTo>
                    <a:pt x="0" y="0"/>
                  </a:lnTo>
                  <a:lnTo>
                    <a:pt x="17" y="17"/>
                  </a:lnTo>
                  <a:lnTo>
                    <a:pt x="17" y="17"/>
                  </a:lnTo>
                  <a:lnTo>
                    <a:pt x="17"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1" name="Freeform 378">
              <a:extLst>
                <a:ext uri="{FF2B5EF4-FFF2-40B4-BE49-F238E27FC236}">
                  <a16:creationId xmlns:a16="http://schemas.microsoft.com/office/drawing/2014/main" id="{EDA13D8F-C4C1-4D36-94CF-C312C567F277}"/>
                </a:ext>
              </a:extLst>
            </p:cNvPr>
            <p:cNvSpPr>
              <a:spLocks noEditPoints="1"/>
            </p:cNvSpPr>
            <p:nvPr/>
          </p:nvSpPr>
          <p:spPr bwMode="gray">
            <a:xfrm>
              <a:off x="4937941" y="3535595"/>
              <a:ext cx="6587" cy="23468"/>
            </a:xfrm>
            <a:custGeom>
              <a:avLst/>
              <a:gdLst>
                <a:gd name="T0" fmla="*/ 16 w 16"/>
                <a:gd name="T1" fmla="*/ 12 h 57"/>
                <a:gd name="T2" fmla="*/ 9 w 16"/>
                <a:gd name="T3" fmla="*/ 5 h 57"/>
                <a:gd name="T4" fmla="*/ 9 w 16"/>
                <a:gd name="T5" fmla="*/ 0 h 57"/>
                <a:gd name="T6" fmla="*/ 16 w 16"/>
                <a:gd name="T7" fmla="*/ 5 h 57"/>
                <a:gd name="T8" fmla="*/ 16 w 16"/>
                <a:gd name="T9" fmla="*/ 12 h 57"/>
                <a:gd name="T10" fmla="*/ 16 w 16"/>
                <a:gd name="T11" fmla="*/ 12 h 57"/>
                <a:gd name="T12" fmla="*/ 16 w 16"/>
                <a:gd name="T13" fmla="*/ 12 h 57"/>
                <a:gd name="T14" fmla="*/ 16 w 16"/>
                <a:gd name="T15" fmla="*/ 57 h 57"/>
                <a:gd name="T16" fmla="*/ 0 w 16"/>
                <a:gd name="T17" fmla="*/ 45 h 57"/>
                <a:gd name="T18" fmla="*/ 9 w 16"/>
                <a:gd name="T19" fmla="*/ 40 h 57"/>
                <a:gd name="T20" fmla="*/ 16 w 16"/>
                <a:gd name="T21" fmla="*/ 45 h 57"/>
                <a:gd name="T22" fmla="*/ 16 w 16"/>
                <a:gd name="T23" fmla="*/ 57 h 57"/>
                <a:gd name="T24" fmla="*/ 16 w 16"/>
                <a:gd name="T25" fmla="*/ 57 h 57"/>
                <a:gd name="T26" fmla="*/ 16 w 16"/>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57">
                  <a:moveTo>
                    <a:pt x="16" y="12"/>
                  </a:moveTo>
                  <a:lnTo>
                    <a:pt x="9" y="5"/>
                  </a:lnTo>
                  <a:lnTo>
                    <a:pt x="9" y="0"/>
                  </a:lnTo>
                  <a:lnTo>
                    <a:pt x="16" y="5"/>
                  </a:lnTo>
                  <a:lnTo>
                    <a:pt x="16" y="12"/>
                  </a:lnTo>
                  <a:lnTo>
                    <a:pt x="16" y="12"/>
                  </a:lnTo>
                  <a:lnTo>
                    <a:pt x="16" y="12"/>
                  </a:lnTo>
                  <a:close/>
                  <a:moveTo>
                    <a:pt x="16" y="57"/>
                  </a:moveTo>
                  <a:lnTo>
                    <a:pt x="0" y="45"/>
                  </a:lnTo>
                  <a:lnTo>
                    <a:pt x="9" y="40"/>
                  </a:lnTo>
                  <a:lnTo>
                    <a:pt x="16" y="45"/>
                  </a:lnTo>
                  <a:lnTo>
                    <a:pt x="16" y="57"/>
                  </a:lnTo>
                  <a:lnTo>
                    <a:pt x="16" y="57"/>
                  </a:lnTo>
                  <a:lnTo>
                    <a:pt x="16" y="5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2" name="Freeform 387">
              <a:extLst>
                <a:ext uri="{FF2B5EF4-FFF2-40B4-BE49-F238E27FC236}">
                  <a16:creationId xmlns:a16="http://schemas.microsoft.com/office/drawing/2014/main" id="{3991820B-3FBB-4E79-9017-FCD5CD37713E}"/>
                </a:ext>
              </a:extLst>
            </p:cNvPr>
            <p:cNvSpPr>
              <a:spLocks noEditPoints="1"/>
            </p:cNvSpPr>
            <p:nvPr/>
          </p:nvSpPr>
          <p:spPr bwMode="gray">
            <a:xfrm>
              <a:off x="4601195" y="4722984"/>
              <a:ext cx="573045" cy="1164333"/>
            </a:xfrm>
            <a:custGeom>
              <a:avLst/>
              <a:gdLst>
                <a:gd name="T0" fmla="*/ 508 w 1392"/>
                <a:gd name="T1" fmla="*/ 21 h 2828"/>
                <a:gd name="T2" fmla="*/ 652 w 1392"/>
                <a:gd name="T3" fmla="*/ 54 h 2828"/>
                <a:gd name="T4" fmla="*/ 870 w 1392"/>
                <a:gd name="T5" fmla="*/ 132 h 2828"/>
                <a:gd name="T6" fmla="*/ 1118 w 1392"/>
                <a:gd name="T7" fmla="*/ 267 h 2828"/>
                <a:gd name="T8" fmla="*/ 1080 w 1392"/>
                <a:gd name="T9" fmla="*/ 333 h 2828"/>
                <a:gd name="T10" fmla="*/ 1170 w 1392"/>
                <a:gd name="T11" fmla="*/ 428 h 2828"/>
                <a:gd name="T12" fmla="*/ 1245 w 1392"/>
                <a:gd name="T13" fmla="*/ 428 h 2828"/>
                <a:gd name="T14" fmla="*/ 1333 w 1392"/>
                <a:gd name="T15" fmla="*/ 284 h 2828"/>
                <a:gd name="T16" fmla="*/ 1392 w 1392"/>
                <a:gd name="T17" fmla="*/ 350 h 2828"/>
                <a:gd name="T18" fmla="*/ 1278 w 1392"/>
                <a:gd name="T19" fmla="*/ 465 h 2828"/>
                <a:gd name="T20" fmla="*/ 1208 w 1392"/>
                <a:gd name="T21" fmla="*/ 539 h 2828"/>
                <a:gd name="T22" fmla="*/ 1118 w 1392"/>
                <a:gd name="T23" fmla="*/ 650 h 2828"/>
                <a:gd name="T24" fmla="*/ 1094 w 1392"/>
                <a:gd name="T25" fmla="*/ 754 h 2828"/>
                <a:gd name="T26" fmla="*/ 1063 w 1392"/>
                <a:gd name="T27" fmla="*/ 876 h 2828"/>
                <a:gd name="T28" fmla="*/ 1059 w 1392"/>
                <a:gd name="T29" fmla="*/ 997 h 2828"/>
                <a:gd name="T30" fmla="*/ 1156 w 1392"/>
                <a:gd name="T31" fmla="*/ 1141 h 2828"/>
                <a:gd name="T32" fmla="*/ 1068 w 1392"/>
                <a:gd name="T33" fmla="*/ 1321 h 2828"/>
                <a:gd name="T34" fmla="*/ 787 w 1392"/>
                <a:gd name="T35" fmla="*/ 1387 h 2828"/>
                <a:gd name="T36" fmla="*/ 787 w 1392"/>
                <a:gd name="T37" fmla="*/ 1465 h 2828"/>
                <a:gd name="T38" fmla="*/ 740 w 1392"/>
                <a:gd name="T39" fmla="*/ 1547 h 2828"/>
                <a:gd name="T40" fmla="*/ 593 w 1392"/>
                <a:gd name="T41" fmla="*/ 1547 h 2828"/>
                <a:gd name="T42" fmla="*/ 638 w 1392"/>
                <a:gd name="T43" fmla="*/ 1658 h 2828"/>
                <a:gd name="T44" fmla="*/ 702 w 1392"/>
                <a:gd name="T45" fmla="*/ 1668 h 2828"/>
                <a:gd name="T46" fmla="*/ 600 w 1392"/>
                <a:gd name="T47" fmla="*/ 1680 h 2828"/>
                <a:gd name="T48" fmla="*/ 584 w 1392"/>
                <a:gd name="T49" fmla="*/ 1791 h 2828"/>
                <a:gd name="T50" fmla="*/ 563 w 1392"/>
                <a:gd name="T51" fmla="*/ 1869 h 2828"/>
                <a:gd name="T52" fmla="*/ 421 w 1392"/>
                <a:gd name="T53" fmla="*/ 2013 h 2828"/>
                <a:gd name="T54" fmla="*/ 518 w 1392"/>
                <a:gd name="T55" fmla="*/ 2140 h 2828"/>
                <a:gd name="T56" fmla="*/ 421 w 1392"/>
                <a:gd name="T57" fmla="*/ 2251 h 2828"/>
                <a:gd name="T58" fmla="*/ 369 w 1392"/>
                <a:gd name="T59" fmla="*/ 2350 h 2828"/>
                <a:gd name="T60" fmla="*/ 315 w 1392"/>
                <a:gd name="T61" fmla="*/ 2391 h 2828"/>
                <a:gd name="T62" fmla="*/ 324 w 1392"/>
                <a:gd name="T63" fmla="*/ 2495 h 2828"/>
                <a:gd name="T64" fmla="*/ 93 w 1392"/>
                <a:gd name="T65" fmla="*/ 2502 h 2828"/>
                <a:gd name="T66" fmla="*/ 60 w 1392"/>
                <a:gd name="T67" fmla="*/ 2400 h 2828"/>
                <a:gd name="T68" fmla="*/ 8 w 1392"/>
                <a:gd name="T69" fmla="*/ 2322 h 2828"/>
                <a:gd name="T70" fmla="*/ 38 w 1392"/>
                <a:gd name="T71" fmla="*/ 2239 h 2828"/>
                <a:gd name="T72" fmla="*/ 83 w 1392"/>
                <a:gd name="T73" fmla="*/ 2112 h 2828"/>
                <a:gd name="T74" fmla="*/ 130 w 1392"/>
                <a:gd name="T75" fmla="*/ 1996 h 2828"/>
                <a:gd name="T76" fmla="*/ 147 w 1392"/>
                <a:gd name="T77" fmla="*/ 1923 h 2828"/>
                <a:gd name="T78" fmla="*/ 180 w 1392"/>
                <a:gd name="T79" fmla="*/ 1835 h 2828"/>
                <a:gd name="T80" fmla="*/ 130 w 1392"/>
                <a:gd name="T81" fmla="*/ 1769 h 2828"/>
                <a:gd name="T82" fmla="*/ 97 w 1392"/>
                <a:gd name="T83" fmla="*/ 1713 h 2828"/>
                <a:gd name="T84" fmla="*/ 130 w 1392"/>
                <a:gd name="T85" fmla="*/ 1625 h 2828"/>
                <a:gd name="T86" fmla="*/ 130 w 1392"/>
                <a:gd name="T87" fmla="*/ 1474 h 2828"/>
                <a:gd name="T88" fmla="*/ 152 w 1392"/>
                <a:gd name="T89" fmla="*/ 1354 h 2828"/>
                <a:gd name="T90" fmla="*/ 180 w 1392"/>
                <a:gd name="T91" fmla="*/ 1235 h 2828"/>
                <a:gd name="T92" fmla="*/ 201 w 1392"/>
                <a:gd name="T93" fmla="*/ 1132 h 2828"/>
                <a:gd name="T94" fmla="*/ 244 w 1392"/>
                <a:gd name="T95" fmla="*/ 976 h 2828"/>
                <a:gd name="T96" fmla="*/ 244 w 1392"/>
                <a:gd name="T97" fmla="*/ 888 h 2828"/>
                <a:gd name="T98" fmla="*/ 239 w 1392"/>
                <a:gd name="T99" fmla="*/ 782 h 2828"/>
                <a:gd name="T100" fmla="*/ 239 w 1392"/>
                <a:gd name="T101" fmla="*/ 666 h 2828"/>
                <a:gd name="T102" fmla="*/ 308 w 1392"/>
                <a:gd name="T103" fmla="*/ 477 h 2828"/>
                <a:gd name="T104" fmla="*/ 362 w 1392"/>
                <a:gd name="T105" fmla="*/ 333 h 2828"/>
                <a:gd name="T106" fmla="*/ 438 w 1392"/>
                <a:gd name="T107" fmla="*/ 165 h 2828"/>
                <a:gd name="T108" fmla="*/ 799 w 1392"/>
                <a:gd name="T109" fmla="*/ 1370 h 2828"/>
                <a:gd name="T110" fmla="*/ 345 w 1392"/>
                <a:gd name="T111" fmla="*/ 2589 h 2828"/>
                <a:gd name="T112" fmla="*/ 378 w 1392"/>
                <a:gd name="T113" fmla="*/ 2655 h 2828"/>
                <a:gd name="T114" fmla="*/ 593 w 1392"/>
                <a:gd name="T115" fmla="*/ 2790 h 2828"/>
                <a:gd name="T116" fmla="*/ 345 w 1392"/>
                <a:gd name="T117" fmla="*/ 2806 h 2828"/>
                <a:gd name="T118" fmla="*/ 686 w 1392"/>
                <a:gd name="T119" fmla="*/ 2794 h 2828"/>
                <a:gd name="T120" fmla="*/ 345 w 1392"/>
                <a:gd name="T121" fmla="*/ 2811 h 2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92" h="2828">
                  <a:moveTo>
                    <a:pt x="449" y="78"/>
                  </a:moveTo>
                  <a:lnTo>
                    <a:pt x="466" y="61"/>
                  </a:lnTo>
                  <a:lnTo>
                    <a:pt x="466" y="54"/>
                  </a:lnTo>
                  <a:lnTo>
                    <a:pt x="475" y="45"/>
                  </a:lnTo>
                  <a:lnTo>
                    <a:pt x="475" y="33"/>
                  </a:lnTo>
                  <a:lnTo>
                    <a:pt x="508" y="21"/>
                  </a:lnTo>
                  <a:lnTo>
                    <a:pt x="518" y="0"/>
                  </a:lnTo>
                  <a:lnTo>
                    <a:pt x="546" y="21"/>
                  </a:lnTo>
                  <a:lnTo>
                    <a:pt x="600" y="21"/>
                  </a:lnTo>
                  <a:lnTo>
                    <a:pt x="631" y="33"/>
                  </a:lnTo>
                  <a:lnTo>
                    <a:pt x="648" y="78"/>
                  </a:lnTo>
                  <a:lnTo>
                    <a:pt x="652" y="54"/>
                  </a:lnTo>
                  <a:lnTo>
                    <a:pt x="681" y="17"/>
                  </a:lnTo>
                  <a:lnTo>
                    <a:pt x="756" y="17"/>
                  </a:lnTo>
                  <a:lnTo>
                    <a:pt x="761" y="33"/>
                  </a:lnTo>
                  <a:lnTo>
                    <a:pt x="794" y="54"/>
                  </a:lnTo>
                  <a:lnTo>
                    <a:pt x="811" y="95"/>
                  </a:lnTo>
                  <a:lnTo>
                    <a:pt x="870" y="132"/>
                  </a:lnTo>
                  <a:lnTo>
                    <a:pt x="879" y="149"/>
                  </a:lnTo>
                  <a:lnTo>
                    <a:pt x="934" y="165"/>
                  </a:lnTo>
                  <a:lnTo>
                    <a:pt x="950" y="165"/>
                  </a:lnTo>
                  <a:lnTo>
                    <a:pt x="1030" y="227"/>
                  </a:lnTo>
                  <a:lnTo>
                    <a:pt x="1101" y="255"/>
                  </a:lnTo>
                  <a:lnTo>
                    <a:pt x="1118" y="267"/>
                  </a:lnTo>
                  <a:lnTo>
                    <a:pt x="1123" y="276"/>
                  </a:lnTo>
                  <a:lnTo>
                    <a:pt x="1123" y="284"/>
                  </a:lnTo>
                  <a:lnTo>
                    <a:pt x="1101" y="300"/>
                  </a:lnTo>
                  <a:lnTo>
                    <a:pt x="1101" y="317"/>
                  </a:lnTo>
                  <a:lnTo>
                    <a:pt x="1101" y="317"/>
                  </a:lnTo>
                  <a:lnTo>
                    <a:pt x="1080" y="333"/>
                  </a:lnTo>
                  <a:lnTo>
                    <a:pt x="1080" y="371"/>
                  </a:lnTo>
                  <a:lnTo>
                    <a:pt x="1047" y="411"/>
                  </a:lnTo>
                  <a:lnTo>
                    <a:pt x="1047" y="421"/>
                  </a:lnTo>
                  <a:lnTo>
                    <a:pt x="1111" y="421"/>
                  </a:lnTo>
                  <a:lnTo>
                    <a:pt x="1156" y="432"/>
                  </a:lnTo>
                  <a:lnTo>
                    <a:pt x="1170" y="428"/>
                  </a:lnTo>
                  <a:lnTo>
                    <a:pt x="1177" y="432"/>
                  </a:lnTo>
                  <a:lnTo>
                    <a:pt x="1193" y="432"/>
                  </a:lnTo>
                  <a:lnTo>
                    <a:pt x="1203" y="444"/>
                  </a:lnTo>
                  <a:lnTo>
                    <a:pt x="1224" y="421"/>
                  </a:lnTo>
                  <a:lnTo>
                    <a:pt x="1241" y="421"/>
                  </a:lnTo>
                  <a:lnTo>
                    <a:pt x="1245" y="428"/>
                  </a:lnTo>
                  <a:lnTo>
                    <a:pt x="1262" y="421"/>
                  </a:lnTo>
                  <a:lnTo>
                    <a:pt x="1262" y="404"/>
                  </a:lnTo>
                  <a:lnTo>
                    <a:pt x="1274" y="395"/>
                  </a:lnTo>
                  <a:lnTo>
                    <a:pt x="1300" y="378"/>
                  </a:lnTo>
                  <a:lnTo>
                    <a:pt x="1328" y="354"/>
                  </a:lnTo>
                  <a:lnTo>
                    <a:pt x="1333" y="284"/>
                  </a:lnTo>
                  <a:lnTo>
                    <a:pt x="1337" y="293"/>
                  </a:lnTo>
                  <a:lnTo>
                    <a:pt x="1366" y="276"/>
                  </a:lnTo>
                  <a:lnTo>
                    <a:pt x="1380" y="293"/>
                  </a:lnTo>
                  <a:lnTo>
                    <a:pt x="1387" y="317"/>
                  </a:lnTo>
                  <a:lnTo>
                    <a:pt x="1392" y="338"/>
                  </a:lnTo>
                  <a:lnTo>
                    <a:pt x="1392" y="350"/>
                  </a:lnTo>
                  <a:lnTo>
                    <a:pt x="1392" y="387"/>
                  </a:lnTo>
                  <a:lnTo>
                    <a:pt x="1387" y="404"/>
                  </a:lnTo>
                  <a:lnTo>
                    <a:pt x="1349" y="428"/>
                  </a:lnTo>
                  <a:lnTo>
                    <a:pt x="1316" y="432"/>
                  </a:lnTo>
                  <a:lnTo>
                    <a:pt x="1300" y="461"/>
                  </a:lnTo>
                  <a:lnTo>
                    <a:pt x="1278" y="465"/>
                  </a:lnTo>
                  <a:lnTo>
                    <a:pt x="1274" y="482"/>
                  </a:lnTo>
                  <a:lnTo>
                    <a:pt x="1245" y="489"/>
                  </a:lnTo>
                  <a:lnTo>
                    <a:pt x="1257" y="498"/>
                  </a:lnTo>
                  <a:lnTo>
                    <a:pt x="1257" y="506"/>
                  </a:lnTo>
                  <a:lnTo>
                    <a:pt x="1241" y="506"/>
                  </a:lnTo>
                  <a:lnTo>
                    <a:pt x="1208" y="539"/>
                  </a:lnTo>
                  <a:lnTo>
                    <a:pt x="1203" y="560"/>
                  </a:lnTo>
                  <a:lnTo>
                    <a:pt x="1186" y="560"/>
                  </a:lnTo>
                  <a:lnTo>
                    <a:pt x="1156" y="610"/>
                  </a:lnTo>
                  <a:lnTo>
                    <a:pt x="1139" y="614"/>
                  </a:lnTo>
                  <a:lnTo>
                    <a:pt x="1139" y="633"/>
                  </a:lnTo>
                  <a:lnTo>
                    <a:pt x="1118" y="650"/>
                  </a:lnTo>
                  <a:lnTo>
                    <a:pt x="1118" y="654"/>
                  </a:lnTo>
                  <a:lnTo>
                    <a:pt x="1101" y="671"/>
                  </a:lnTo>
                  <a:lnTo>
                    <a:pt x="1111" y="699"/>
                  </a:lnTo>
                  <a:lnTo>
                    <a:pt x="1094" y="725"/>
                  </a:lnTo>
                  <a:lnTo>
                    <a:pt x="1085" y="742"/>
                  </a:lnTo>
                  <a:lnTo>
                    <a:pt x="1094" y="754"/>
                  </a:lnTo>
                  <a:lnTo>
                    <a:pt x="1085" y="765"/>
                  </a:lnTo>
                  <a:lnTo>
                    <a:pt x="1080" y="782"/>
                  </a:lnTo>
                  <a:lnTo>
                    <a:pt x="1085" y="815"/>
                  </a:lnTo>
                  <a:lnTo>
                    <a:pt x="1080" y="820"/>
                  </a:lnTo>
                  <a:lnTo>
                    <a:pt x="1080" y="869"/>
                  </a:lnTo>
                  <a:lnTo>
                    <a:pt x="1063" y="876"/>
                  </a:lnTo>
                  <a:lnTo>
                    <a:pt x="1059" y="910"/>
                  </a:lnTo>
                  <a:lnTo>
                    <a:pt x="1059" y="926"/>
                  </a:lnTo>
                  <a:lnTo>
                    <a:pt x="1063" y="959"/>
                  </a:lnTo>
                  <a:lnTo>
                    <a:pt x="1063" y="964"/>
                  </a:lnTo>
                  <a:lnTo>
                    <a:pt x="1059" y="976"/>
                  </a:lnTo>
                  <a:lnTo>
                    <a:pt x="1059" y="997"/>
                  </a:lnTo>
                  <a:lnTo>
                    <a:pt x="1123" y="1037"/>
                  </a:lnTo>
                  <a:lnTo>
                    <a:pt x="1149" y="1058"/>
                  </a:lnTo>
                  <a:lnTo>
                    <a:pt x="1156" y="1070"/>
                  </a:lnTo>
                  <a:lnTo>
                    <a:pt x="1132" y="1091"/>
                  </a:lnTo>
                  <a:lnTo>
                    <a:pt x="1132" y="1108"/>
                  </a:lnTo>
                  <a:lnTo>
                    <a:pt x="1156" y="1141"/>
                  </a:lnTo>
                  <a:lnTo>
                    <a:pt x="1165" y="1141"/>
                  </a:lnTo>
                  <a:lnTo>
                    <a:pt x="1177" y="1141"/>
                  </a:lnTo>
                  <a:lnTo>
                    <a:pt x="1186" y="1186"/>
                  </a:lnTo>
                  <a:lnTo>
                    <a:pt x="1123" y="1264"/>
                  </a:lnTo>
                  <a:lnTo>
                    <a:pt x="1123" y="1292"/>
                  </a:lnTo>
                  <a:lnTo>
                    <a:pt x="1068" y="1321"/>
                  </a:lnTo>
                  <a:lnTo>
                    <a:pt x="960" y="1347"/>
                  </a:lnTo>
                  <a:lnTo>
                    <a:pt x="879" y="1363"/>
                  </a:lnTo>
                  <a:lnTo>
                    <a:pt x="825" y="1363"/>
                  </a:lnTo>
                  <a:lnTo>
                    <a:pt x="787" y="1347"/>
                  </a:lnTo>
                  <a:lnTo>
                    <a:pt x="794" y="1363"/>
                  </a:lnTo>
                  <a:lnTo>
                    <a:pt x="787" y="1387"/>
                  </a:lnTo>
                  <a:lnTo>
                    <a:pt x="811" y="1391"/>
                  </a:lnTo>
                  <a:lnTo>
                    <a:pt x="794" y="1391"/>
                  </a:lnTo>
                  <a:lnTo>
                    <a:pt x="811" y="1408"/>
                  </a:lnTo>
                  <a:lnTo>
                    <a:pt x="799" y="1432"/>
                  </a:lnTo>
                  <a:lnTo>
                    <a:pt x="794" y="1432"/>
                  </a:lnTo>
                  <a:lnTo>
                    <a:pt x="787" y="1465"/>
                  </a:lnTo>
                  <a:lnTo>
                    <a:pt x="778" y="1474"/>
                  </a:lnTo>
                  <a:lnTo>
                    <a:pt x="794" y="1498"/>
                  </a:lnTo>
                  <a:lnTo>
                    <a:pt x="787" y="1502"/>
                  </a:lnTo>
                  <a:lnTo>
                    <a:pt x="799" y="1502"/>
                  </a:lnTo>
                  <a:lnTo>
                    <a:pt x="787" y="1531"/>
                  </a:lnTo>
                  <a:lnTo>
                    <a:pt x="740" y="1547"/>
                  </a:lnTo>
                  <a:lnTo>
                    <a:pt x="686" y="1547"/>
                  </a:lnTo>
                  <a:lnTo>
                    <a:pt x="626" y="1519"/>
                  </a:lnTo>
                  <a:lnTo>
                    <a:pt x="615" y="1514"/>
                  </a:lnTo>
                  <a:lnTo>
                    <a:pt x="600" y="1514"/>
                  </a:lnTo>
                  <a:lnTo>
                    <a:pt x="593" y="1519"/>
                  </a:lnTo>
                  <a:lnTo>
                    <a:pt x="593" y="1547"/>
                  </a:lnTo>
                  <a:lnTo>
                    <a:pt x="600" y="1576"/>
                  </a:lnTo>
                  <a:lnTo>
                    <a:pt x="593" y="1613"/>
                  </a:lnTo>
                  <a:lnTo>
                    <a:pt x="600" y="1625"/>
                  </a:lnTo>
                  <a:lnTo>
                    <a:pt x="638" y="1642"/>
                  </a:lnTo>
                  <a:lnTo>
                    <a:pt x="631" y="1658"/>
                  </a:lnTo>
                  <a:lnTo>
                    <a:pt x="638" y="1658"/>
                  </a:lnTo>
                  <a:lnTo>
                    <a:pt x="664" y="1658"/>
                  </a:lnTo>
                  <a:lnTo>
                    <a:pt x="669" y="1642"/>
                  </a:lnTo>
                  <a:lnTo>
                    <a:pt x="648" y="1642"/>
                  </a:lnTo>
                  <a:lnTo>
                    <a:pt x="686" y="1625"/>
                  </a:lnTo>
                  <a:lnTo>
                    <a:pt x="702" y="1646"/>
                  </a:lnTo>
                  <a:lnTo>
                    <a:pt x="702" y="1668"/>
                  </a:lnTo>
                  <a:lnTo>
                    <a:pt x="690" y="1687"/>
                  </a:lnTo>
                  <a:lnTo>
                    <a:pt x="664" y="1696"/>
                  </a:lnTo>
                  <a:lnTo>
                    <a:pt x="652" y="1687"/>
                  </a:lnTo>
                  <a:lnTo>
                    <a:pt x="652" y="1668"/>
                  </a:lnTo>
                  <a:lnTo>
                    <a:pt x="648" y="1663"/>
                  </a:lnTo>
                  <a:lnTo>
                    <a:pt x="600" y="1680"/>
                  </a:lnTo>
                  <a:lnTo>
                    <a:pt x="600" y="1687"/>
                  </a:lnTo>
                  <a:lnTo>
                    <a:pt x="652" y="1703"/>
                  </a:lnTo>
                  <a:lnTo>
                    <a:pt x="610" y="1724"/>
                  </a:lnTo>
                  <a:lnTo>
                    <a:pt x="577" y="1769"/>
                  </a:lnTo>
                  <a:lnTo>
                    <a:pt x="577" y="1774"/>
                  </a:lnTo>
                  <a:lnTo>
                    <a:pt x="584" y="1791"/>
                  </a:lnTo>
                  <a:lnTo>
                    <a:pt x="577" y="1814"/>
                  </a:lnTo>
                  <a:lnTo>
                    <a:pt x="584" y="1824"/>
                  </a:lnTo>
                  <a:lnTo>
                    <a:pt x="577" y="1835"/>
                  </a:lnTo>
                  <a:lnTo>
                    <a:pt x="556" y="1852"/>
                  </a:lnTo>
                  <a:lnTo>
                    <a:pt x="556" y="1869"/>
                  </a:lnTo>
                  <a:lnTo>
                    <a:pt x="563" y="1869"/>
                  </a:lnTo>
                  <a:lnTo>
                    <a:pt x="563" y="1885"/>
                  </a:lnTo>
                  <a:lnTo>
                    <a:pt x="518" y="1880"/>
                  </a:lnTo>
                  <a:lnTo>
                    <a:pt x="466" y="1902"/>
                  </a:lnTo>
                  <a:lnTo>
                    <a:pt x="421" y="1975"/>
                  </a:lnTo>
                  <a:lnTo>
                    <a:pt x="416" y="1991"/>
                  </a:lnTo>
                  <a:lnTo>
                    <a:pt x="421" y="2013"/>
                  </a:lnTo>
                  <a:lnTo>
                    <a:pt x="475" y="2058"/>
                  </a:lnTo>
                  <a:lnTo>
                    <a:pt x="530" y="2069"/>
                  </a:lnTo>
                  <a:lnTo>
                    <a:pt x="546" y="2074"/>
                  </a:lnTo>
                  <a:lnTo>
                    <a:pt x="546" y="2107"/>
                  </a:lnTo>
                  <a:lnTo>
                    <a:pt x="541" y="2128"/>
                  </a:lnTo>
                  <a:lnTo>
                    <a:pt x="518" y="2140"/>
                  </a:lnTo>
                  <a:lnTo>
                    <a:pt x="530" y="2128"/>
                  </a:lnTo>
                  <a:lnTo>
                    <a:pt x="546" y="2145"/>
                  </a:lnTo>
                  <a:lnTo>
                    <a:pt x="530" y="2145"/>
                  </a:lnTo>
                  <a:lnTo>
                    <a:pt x="530" y="2161"/>
                  </a:lnTo>
                  <a:lnTo>
                    <a:pt x="454" y="2213"/>
                  </a:lnTo>
                  <a:lnTo>
                    <a:pt x="421" y="2251"/>
                  </a:lnTo>
                  <a:lnTo>
                    <a:pt x="416" y="2268"/>
                  </a:lnTo>
                  <a:lnTo>
                    <a:pt x="400" y="2280"/>
                  </a:lnTo>
                  <a:lnTo>
                    <a:pt x="416" y="2272"/>
                  </a:lnTo>
                  <a:lnTo>
                    <a:pt x="412" y="2329"/>
                  </a:lnTo>
                  <a:lnTo>
                    <a:pt x="400" y="2334"/>
                  </a:lnTo>
                  <a:lnTo>
                    <a:pt x="369" y="2350"/>
                  </a:lnTo>
                  <a:lnTo>
                    <a:pt x="345" y="2329"/>
                  </a:lnTo>
                  <a:lnTo>
                    <a:pt x="324" y="2334"/>
                  </a:lnTo>
                  <a:lnTo>
                    <a:pt x="345" y="2334"/>
                  </a:lnTo>
                  <a:lnTo>
                    <a:pt x="362" y="2350"/>
                  </a:lnTo>
                  <a:lnTo>
                    <a:pt x="324" y="2379"/>
                  </a:lnTo>
                  <a:lnTo>
                    <a:pt x="315" y="2391"/>
                  </a:lnTo>
                  <a:lnTo>
                    <a:pt x="308" y="2424"/>
                  </a:lnTo>
                  <a:lnTo>
                    <a:pt x="293" y="2440"/>
                  </a:lnTo>
                  <a:lnTo>
                    <a:pt x="308" y="2433"/>
                  </a:lnTo>
                  <a:lnTo>
                    <a:pt x="324" y="2490"/>
                  </a:lnTo>
                  <a:lnTo>
                    <a:pt x="277" y="2495"/>
                  </a:lnTo>
                  <a:lnTo>
                    <a:pt x="324" y="2495"/>
                  </a:lnTo>
                  <a:lnTo>
                    <a:pt x="362" y="2556"/>
                  </a:lnTo>
                  <a:lnTo>
                    <a:pt x="362" y="2568"/>
                  </a:lnTo>
                  <a:lnTo>
                    <a:pt x="256" y="2528"/>
                  </a:lnTo>
                  <a:lnTo>
                    <a:pt x="114" y="2528"/>
                  </a:lnTo>
                  <a:lnTo>
                    <a:pt x="114" y="2518"/>
                  </a:lnTo>
                  <a:lnTo>
                    <a:pt x="93" y="2502"/>
                  </a:lnTo>
                  <a:lnTo>
                    <a:pt x="83" y="2478"/>
                  </a:lnTo>
                  <a:lnTo>
                    <a:pt x="93" y="2457"/>
                  </a:lnTo>
                  <a:lnTo>
                    <a:pt x="83" y="2445"/>
                  </a:lnTo>
                  <a:lnTo>
                    <a:pt x="93" y="2433"/>
                  </a:lnTo>
                  <a:lnTo>
                    <a:pt x="93" y="2400"/>
                  </a:lnTo>
                  <a:lnTo>
                    <a:pt x="60" y="2400"/>
                  </a:lnTo>
                  <a:lnTo>
                    <a:pt x="29" y="2407"/>
                  </a:lnTo>
                  <a:lnTo>
                    <a:pt x="22" y="2367"/>
                  </a:lnTo>
                  <a:lnTo>
                    <a:pt x="8" y="2350"/>
                  </a:lnTo>
                  <a:lnTo>
                    <a:pt x="8" y="2334"/>
                  </a:lnTo>
                  <a:lnTo>
                    <a:pt x="0" y="2329"/>
                  </a:lnTo>
                  <a:lnTo>
                    <a:pt x="8" y="2322"/>
                  </a:lnTo>
                  <a:lnTo>
                    <a:pt x="0" y="2296"/>
                  </a:lnTo>
                  <a:lnTo>
                    <a:pt x="8" y="2272"/>
                  </a:lnTo>
                  <a:lnTo>
                    <a:pt x="29" y="2272"/>
                  </a:lnTo>
                  <a:lnTo>
                    <a:pt x="38" y="2272"/>
                  </a:lnTo>
                  <a:lnTo>
                    <a:pt x="29" y="2268"/>
                  </a:lnTo>
                  <a:lnTo>
                    <a:pt x="38" y="2239"/>
                  </a:lnTo>
                  <a:lnTo>
                    <a:pt x="71" y="2223"/>
                  </a:lnTo>
                  <a:lnTo>
                    <a:pt x="71" y="2197"/>
                  </a:lnTo>
                  <a:lnTo>
                    <a:pt x="93" y="2185"/>
                  </a:lnTo>
                  <a:lnTo>
                    <a:pt x="83" y="2161"/>
                  </a:lnTo>
                  <a:lnTo>
                    <a:pt x="76" y="2145"/>
                  </a:lnTo>
                  <a:lnTo>
                    <a:pt x="83" y="2112"/>
                  </a:lnTo>
                  <a:lnTo>
                    <a:pt x="83" y="2107"/>
                  </a:lnTo>
                  <a:lnTo>
                    <a:pt x="126" y="2086"/>
                  </a:lnTo>
                  <a:lnTo>
                    <a:pt x="114" y="2069"/>
                  </a:lnTo>
                  <a:lnTo>
                    <a:pt x="114" y="2046"/>
                  </a:lnTo>
                  <a:lnTo>
                    <a:pt x="130" y="2034"/>
                  </a:lnTo>
                  <a:lnTo>
                    <a:pt x="130" y="1996"/>
                  </a:lnTo>
                  <a:lnTo>
                    <a:pt x="114" y="1991"/>
                  </a:lnTo>
                  <a:lnTo>
                    <a:pt x="135" y="1975"/>
                  </a:lnTo>
                  <a:lnTo>
                    <a:pt x="130" y="1958"/>
                  </a:lnTo>
                  <a:lnTo>
                    <a:pt x="126" y="1942"/>
                  </a:lnTo>
                  <a:lnTo>
                    <a:pt x="130" y="1935"/>
                  </a:lnTo>
                  <a:lnTo>
                    <a:pt x="147" y="1923"/>
                  </a:lnTo>
                  <a:lnTo>
                    <a:pt x="163" y="1906"/>
                  </a:lnTo>
                  <a:lnTo>
                    <a:pt x="135" y="1880"/>
                  </a:lnTo>
                  <a:lnTo>
                    <a:pt x="109" y="1880"/>
                  </a:lnTo>
                  <a:lnTo>
                    <a:pt x="109" y="1864"/>
                  </a:lnTo>
                  <a:lnTo>
                    <a:pt x="163" y="1864"/>
                  </a:lnTo>
                  <a:lnTo>
                    <a:pt x="180" y="1835"/>
                  </a:lnTo>
                  <a:lnTo>
                    <a:pt x="168" y="1831"/>
                  </a:lnTo>
                  <a:lnTo>
                    <a:pt x="126" y="1831"/>
                  </a:lnTo>
                  <a:lnTo>
                    <a:pt x="126" y="1807"/>
                  </a:lnTo>
                  <a:lnTo>
                    <a:pt x="135" y="1791"/>
                  </a:lnTo>
                  <a:lnTo>
                    <a:pt x="126" y="1774"/>
                  </a:lnTo>
                  <a:lnTo>
                    <a:pt x="130" y="1769"/>
                  </a:lnTo>
                  <a:lnTo>
                    <a:pt x="130" y="1758"/>
                  </a:lnTo>
                  <a:lnTo>
                    <a:pt x="114" y="1741"/>
                  </a:lnTo>
                  <a:lnTo>
                    <a:pt x="114" y="1736"/>
                  </a:lnTo>
                  <a:lnTo>
                    <a:pt x="130" y="1736"/>
                  </a:lnTo>
                  <a:lnTo>
                    <a:pt x="130" y="1720"/>
                  </a:lnTo>
                  <a:lnTo>
                    <a:pt x="97" y="1713"/>
                  </a:lnTo>
                  <a:lnTo>
                    <a:pt x="97" y="1668"/>
                  </a:lnTo>
                  <a:lnTo>
                    <a:pt x="109" y="1646"/>
                  </a:lnTo>
                  <a:lnTo>
                    <a:pt x="97" y="1646"/>
                  </a:lnTo>
                  <a:lnTo>
                    <a:pt x="109" y="1630"/>
                  </a:lnTo>
                  <a:lnTo>
                    <a:pt x="114" y="1630"/>
                  </a:lnTo>
                  <a:lnTo>
                    <a:pt x="130" y="1625"/>
                  </a:lnTo>
                  <a:lnTo>
                    <a:pt x="114" y="1592"/>
                  </a:lnTo>
                  <a:lnTo>
                    <a:pt x="126" y="1585"/>
                  </a:lnTo>
                  <a:lnTo>
                    <a:pt x="126" y="1531"/>
                  </a:lnTo>
                  <a:lnTo>
                    <a:pt x="114" y="1514"/>
                  </a:lnTo>
                  <a:lnTo>
                    <a:pt x="126" y="1481"/>
                  </a:lnTo>
                  <a:lnTo>
                    <a:pt x="130" y="1474"/>
                  </a:lnTo>
                  <a:lnTo>
                    <a:pt x="126" y="1465"/>
                  </a:lnTo>
                  <a:lnTo>
                    <a:pt x="135" y="1441"/>
                  </a:lnTo>
                  <a:lnTo>
                    <a:pt x="130" y="1408"/>
                  </a:lnTo>
                  <a:lnTo>
                    <a:pt x="147" y="1420"/>
                  </a:lnTo>
                  <a:lnTo>
                    <a:pt x="152" y="1387"/>
                  </a:lnTo>
                  <a:lnTo>
                    <a:pt x="152" y="1354"/>
                  </a:lnTo>
                  <a:lnTo>
                    <a:pt x="185" y="1337"/>
                  </a:lnTo>
                  <a:lnTo>
                    <a:pt x="189" y="1330"/>
                  </a:lnTo>
                  <a:lnTo>
                    <a:pt x="185" y="1313"/>
                  </a:lnTo>
                  <a:lnTo>
                    <a:pt x="185" y="1280"/>
                  </a:lnTo>
                  <a:lnTo>
                    <a:pt x="168" y="1252"/>
                  </a:lnTo>
                  <a:lnTo>
                    <a:pt x="180" y="1235"/>
                  </a:lnTo>
                  <a:lnTo>
                    <a:pt x="168" y="1219"/>
                  </a:lnTo>
                  <a:lnTo>
                    <a:pt x="180" y="1202"/>
                  </a:lnTo>
                  <a:lnTo>
                    <a:pt x="168" y="1181"/>
                  </a:lnTo>
                  <a:lnTo>
                    <a:pt x="180" y="1153"/>
                  </a:lnTo>
                  <a:lnTo>
                    <a:pt x="201" y="1148"/>
                  </a:lnTo>
                  <a:lnTo>
                    <a:pt x="201" y="1132"/>
                  </a:lnTo>
                  <a:lnTo>
                    <a:pt x="223" y="1124"/>
                  </a:lnTo>
                  <a:lnTo>
                    <a:pt x="232" y="1098"/>
                  </a:lnTo>
                  <a:lnTo>
                    <a:pt x="223" y="1058"/>
                  </a:lnTo>
                  <a:lnTo>
                    <a:pt x="206" y="1054"/>
                  </a:lnTo>
                  <a:lnTo>
                    <a:pt x="223" y="1042"/>
                  </a:lnTo>
                  <a:lnTo>
                    <a:pt x="244" y="976"/>
                  </a:lnTo>
                  <a:lnTo>
                    <a:pt x="260" y="964"/>
                  </a:lnTo>
                  <a:lnTo>
                    <a:pt x="256" y="931"/>
                  </a:lnTo>
                  <a:lnTo>
                    <a:pt x="270" y="905"/>
                  </a:lnTo>
                  <a:lnTo>
                    <a:pt x="260" y="893"/>
                  </a:lnTo>
                  <a:lnTo>
                    <a:pt x="256" y="893"/>
                  </a:lnTo>
                  <a:lnTo>
                    <a:pt x="244" y="888"/>
                  </a:lnTo>
                  <a:lnTo>
                    <a:pt x="256" y="865"/>
                  </a:lnTo>
                  <a:lnTo>
                    <a:pt x="239" y="848"/>
                  </a:lnTo>
                  <a:lnTo>
                    <a:pt x="239" y="832"/>
                  </a:lnTo>
                  <a:lnTo>
                    <a:pt x="232" y="810"/>
                  </a:lnTo>
                  <a:lnTo>
                    <a:pt x="223" y="798"/>
                  </a:lnTo>
                  <a:lnTo>
                    <a:pt x="239" y="782"/>
                  </a:lnTo>
                  <a:lnTo>
                    <a:pt x="223" y="777"/>
                  </a:lnTo>
                  <a:lnTo>
                    <a:pt x="206" y="754"/>
                  </a:lnTo>
                  <a:lnTo>
                    <a:pt x="218" y="725"/>
                  </a:lnTo>
                  <a:lnTo>
                    <a:pt x="232" y="709"/>
                  </a:lnTo>
                  <a:lnTo>
                    <a:pt x="232" y="699"/>
                  </a:lnTo>
                  <a:lnTo>
                    <a:pt x="239" y="666"/>
                  </a:lnTo>
                  <a:lnTo>
                    <a:pt x="256" y="654"/>
                  </a:lnTo>
                  <a:lnTo>
                    <a:pt x="260" y="650"/>
                  </a:lnTo>
                  <a:lnTo>
                    <a:pt x="244" y="576"/>
                  </a:lnTo>
                  <a:lnTo>
                    <a:pt x="270" y="560"/>
                  </a:lnTo>
                  <a:lnTo>
                    <a:pt x="277" y="506"/>
                  </a:lnTo>
                  <a:lnTo>
                    <a:pt x="308" y="477"/>
                  </a:lnTo>
                  <a:lnTo>
                    <a:pt x="331" y="404"/>
                  </a:lnTo>
                  <a:lnTo>
                    <a:pt x="362" y="404"/>
                  </a:lnTo>
                  <a:lnTo>
                    <a:pt x="369" y="387"/>
                  </a:lnTo>
                  <a:lnTo>
                    <a:pt x="345" y="354"/>
                  </a:lnTo>
                  <a:lnTo>
                    <a:pt x="352" y="338"/>
                  </a:lnTo>
                  <a:lnTo>
                    <a:pt x="362" y="333"/>
                  </a:lnTo>
                  <a:lnTo>
                    <a:pt x="345" y="276"/>
                  </a:lnTo>
                  <a:lnTo>
                    <a:pt x="352" y="255"/>
                  </a:lnTo>
                  <a:lnTo>
                    <a:pt x="369" y="255"/>
                  </a:lnTo>
                  <a:lnTo>
                    <a:pt x="352" y="222"/>
                  </a:lnTo>
                  <a:lnTo>
                    <a:pt x="369" y="199"/>
                  </a:lnTo>
                  <a:lnTo>
                    <a:pt x="438" y="165"/>
                  </a:lnTo>
                  <a:lnTo>
                    <a:pt x="466" y="87"/>
                  </a:lnTo>
                  <a:lnTo>
                    <a:pt x="449" y="78"/>
                  </a:lnTo>
                  <a:lnTo>
                    <a:pt x="449" y="78"/>
                  </a:lnTo>
                  <a:lnTo>
                    <a:pt x="449" y="78"/>
                  </a:lnTo>
                  <a:close/>
                  <a:moveTo>
                    <a:pt x="815" y="1387"/>
                  </a:moveTo>
                  <a:lnTo>
                    <a:pt x="799" y="1370"/>
                  </a:lnTo>
                  <a:lnTo>
                    <a:pt x="815" y="1375"/>
                  </a:lnTo>
                  <a:lnTo>
                    <a:pt x="815" y="1387"/>
                  </a:lnTo>
                  <a:lnTo>
                    <a:pt x="815" y="1387"/>
                  </a:lnTo>
                  <a:lnTo>
                    <a:pt x="815" y="1387"/>
                  </a:lnTo>
                  <a:close/>
                  <a:moveTo>
                    <a:pt x="345" y="2806"/>
                  </a:moveTo>
                  <a:lnTo>
                    <a:pt x="345" y="2589"/>
                  </a:lnTo>
                  <a:lnTo>
                    <a:pt x="369" y="2622"/>
                  </a:lnTo>
                  <a:lnTo>
                    <a:pt x="378" y="2639"/>
                  </a:lnTo>
                  <a:lnTo>
                    <a:pt x="362" y="2629"/>
                  </a:lnTo>
                  <a:lnTo>
                    <a:pt x="352" y="2639"/>
                  </a:lnTo>
                  <a:lnTo>
                    <a:pt x="352" y="2646"/>
                  </a:lnTo>
                  <a:lnTo>
                    <a:pt x="378" y="2655"/>
                  </a:lnTo>
                  <a:lnTo>
                    <a:pt x="395" y="2683"/>
                  </a:lnTo>
                  <a:lnTo>
                    <a:pt x="421" y="2712"/>
                  </a:lnTo>
                  <a:lnTo>
                    <a:pt x="421" y="2717"/>
                  </a:lnTo>
                  <a:lnTo>
                    <a:pt x="518" y="2778"/>
                  </a:lnTo>
                  <a:lnTo>
                    <a:pt x="556" y="2790"/>
                  </a:lnTo>
                  <a:lnTo>
                    <a:pt x="593" y="2790"/>
                  </a:lnTo>
                  <a:lnTo>
                    <a:pt x="577" y="2823"/>
                  </a:lnTo>
                  <a:lnTo>
                    <a:pt x="541" y="2811"/>
                  </a:lnTo>
                  <a:lnTo>
                    <a:pt x="504" y="2828"/>
                  </a:lnTo>
                  <a:lnTo>
                    <a:pt x="466" y="2811"/>
                  </a:lnTo>
                  <a:lnTo>
                    <a:pt x="352" y="2811"/>
                  </a:lnTo>
                  <a:lnTo>
                    <a:pt x="345" y="2806"/>
                  </a:lnTo>
                  <a:lnTo>
                    <a:pt x="345" y="2806"/>
                  </a:lnTo>
                  <a:lnTo>
                    <a:pt x="345" y="2806"/>
                  </a:lnTo>
                  <a:close/>
                  <a:moveTo>
                    <a:pt x="626" y="2811"/>
                  </a:moveTo>
                  <a:lnTo>
                    <a:pt x="615" y="2806"/>
                  </a:lnTo>
                  <a:lnTo>
                    <a:pt x="626" y="2806"/>
                  </a:lnTo>
                  <a:lnTo>
                    <a:pt x="686" y="2794"/>
                  </a:lnTo>
                  <a:lnTo>
                    <a:pt x="681" y="2806"/>
                  </a:lnTo>
                  <a:lnTo>
                    <a:pt x="648" y="2806"/>
                  </a:lnTo>
                  <a:lnTo>
                    <a:pt x="626" y="2811"/>
                  </a:lnTo>
                  <a:lnTo>
                    <a:pt x="626" y="2811"/>
                  </a:lnTo>
                  <a:lnTo>
                    <a:pt x="626" y="2811"/>
                  </a:lnTo>
                  <a:close/>
                  <a:moveTo>
                    <a:pt x="345" y="2811"/>
                  </a:moveTo>
                  <a:lnTo>
                    <a:pt x="345" y="2806"/>
                  </a:lnTo>
                  <a:lnTo>
                    <a:pt x="352" y="2811"/>
                  </a:lnTo>
                  <a:lnTo>
                    <a:pt x="345" y="2811"/>
                  </a:lnTo>
                  <a:lnTo>
                    <a:pt x="345" y="2811"/>
                  </a:lnTo>
                  <a:lnTo>
                    <a:pt x="345" y="281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3" name="Freeform 391">
              <a:extLst>
                <a:ext uri="{FF2B5EF4-FFF2-40B4-BE49-F238E27FC236}">
                  <a16:creationId xmlns:a16="http://schemas.microsoft.com/office/drawing/2014/main" id="{2B2B0AE2-2716-4EC2-89BA-E20F7ABE4A49}"/>
                </a:ext>
              </a:extLst>
            </p:cNvPr>
            <p:cNvSpPr>
              <a:spLocks/>
            </p:cNvSpPr>
            <p:nvPr/>
          </p:nvSpPr>
          <p:spPr bwMode="gray">
            <a:xfrm>
              <a:off x="5005042" y="3667755"/>
              <a:ext cx="4940" cy="7823"/>
            </a:xfrm>
            <a:custGeom>
              <a:avLst/>
              <a:gdLst>
                <a:gd name="T0" fmla="*/ 7 w 12"/>
                <a:gd name="T1" fmla="*/ 19 h 19"/>
                <a:gd name="T2" fmla="*/ 0 w 12"/>
                <a:gd name="T3" fmla="*/ 19 h 19"/>
                <a:gd name="T4" fmla="*/ 0 w 12"/>
                <a:gd name="T5" fmla="*/ 0 h 19"/>
                <a:gd name="T6" fmla="*/ 12 w 12"/>
                <a:gd name="T7" fmla="*/ 12 h 19"/>
                <a:gd name="T8" fmla="*/ 7 w 12"/>
                <a:gd name="T9" fmla="*/ 19 h 19"/>
                <a:gd name="T10" fmla="*/ 7 w 12"/>
                <a:gd name="T11" fmla="*/ 19 h 19"/>
                <a:gd name="T12" fmla="*/ 7 w 12"/>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2" h="19">
                  <a:moveTo>
                    <a:pt x="7" y="19"/>
                  </a:moveTo>
                  <a:lnTo>
                    <a:pt x="0" y="19"/>
                  </a:lnTo>
                  <a:lnTo>
                    <a:pt x="0" y="0"/>
                  </a:lnTo>
                  <a:lnTo>
                    <a:pt x="12" y="12"/>
                  </a:lnTo>
                  <a:lnTo>
                    <a:pt x="7" y="19"/>
                  </a:lnTo>
                  <a:lnTo>
                    <a:pt x="7" y="19"/>
                  </a:lnTo>
                  <a:lnTo>
                    <a:pt x="7" y="1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4" name="Freeform 396">
              <a:extLst>
                <a:ext uri="{FF2B5EF4-FFF2-40B4-BE49-F238E27FC236}">
                  <a16:creationId xmlns:a16="http://schemas.microsoft.com/office/drawing/2014/main" id="{C23D44C1-2F1A-481C-B1DA-5EB0341C8B24}"/>
                </a:ext>
              </a:extLst>
            </p:cNvPr>
            <p:cNvSpPr>
              <a:spLocks noEditPoints="1"/>
            </p:cNvSpPr>
            <p:nvPr/>
          </p:nvSpPr>
          <p:spPr bwMode="gray">
            <a:xfrm>
              <a:off x="4149181" y="3513362"/>
              <a:ext cx="39108" cy="76579"/>
            </a:xfrm>
            <a:custGeom>
              <a:avLst/>
              <a:gdLst>
                <a:gd name="T0" fmla="*/ 24 w 95"/>
                <a:gd name="T1" fmla="*/ 186 h 186"/>
                <a:gd name="T2" fmla="*/ 0 w 95"/>
                <a:gd name="T3" fmla="*/ 186 h 186"/>
                <a:gd name="T4" fmla="*/ 7 w 95"/>
                <a:gd name="T5" fmla="*/ 42 h 186"/>
                <a:gd name="T6" fmla="*/ 7 w 95"/>
                <a:gd name="T7" fmla="*/ 37 h 186"/>
                <a:gd name="T8" fmla="*/ 17 w 95"/>
                <a:gd name="T9" fmla="*/ 26 h 186"/>
                <a:gd name="T10" fmla="*/ 24 w 95"/>
                <a:gd name="T11" fmla="*/ 37 h 186"/>
                <a:gd name="T12" fmla="*/ 57 w 95"/>
                <a:gd name="T13" fmla="*/ 0 h 186"/>
                <a:gd name="T14" fmla="*/ 62 w 95"/>
                <a:gd name="T15" fmla="*/ 0 h 186"/>
                <a:gd name="T16" fmla="*/ 62 w 95"/>
                <a:gd name="T17" fmla="*/ 4 h 186"/>
                <a:gd name="T18" fmla="*/ 78 w 95"/>
                <a:gd name="T19" fmla="*/ 4 h 186"/>
                <a:gd name="T20" fmla="*/ 78 w 95"/>
                <a:gd name="T21" fmla="*/ 9 h 186"/>
                <a:gd name="T22" fmla="*/ 62 w 95"/>
                <a:gd name="T23" fmla="*/ 59 h 186"/>
                <a:gd name="T24" fmla="*/ 62 w 95"/>
                <a:gd name="T25" fmla="*/ 92 h 186"/>
                <a:gd name="T26" fmla="*/ 73 w 95"/>
                <a:gd name="T27" fmla="*/ 111 h 186"/>
                <a:gd name="T28" fmla="*/ 62 w 95"/>
                <a:gd name="T29" fmla="*/ 137 h 186"/>
                <a:gd name="T30" fmla="*/ 62 w 95"/>
                <a:gd name="T31" fmla="*/ 132 h 186"/>
                <a:gd name="T32" fmla="*/ 45 w 95"/>
                <a:gd name="T33" fmla="*/ 153 h 186"/>
                <a:gd name="T34" fmla="*/ 33 w 95"/>
                <a:gd name="T35" fmla="*/ 165 h 186"/>
                <a:gd name="T36" fmla="*/ 24 w 95"/>
                <a:gd name="T37" fmla="*/ 177 h 186"/>
                <a:gd name="T38" fmla="*/ 24 w 95"/>
                <a:gd name="T39" fmla="*/ 186 h 186"/>
                <a:gd name="T40" fmla="*/ 24 w 95"/>
                <a:gd name="T41" fmla="*/ 186 h 186"/>
                <a:gd name="T42" fmla="*/ 24 w 95"/>
                <a:gd name="T43" fmla="*/ 186 h 186"/>
                <a:gd name="T44" fmla="*/ 95 w 95"/>
                <a:gd name="T45" fmla="*/ 26 h 186"/>
                <a:gd name="T46" fmla="*/ 90 w 95"/>
                <a:gd name="T47" fmla="*/ 37 h 186"/>
                <a:gd name="T48" fmla="*/ 95 w 95"/>
                <a:gd name="T49" fmla="*/ 21 h 186"/>
                <a:gd name="T50" fmla="*/ 95 w 95"/>
                <a:gd name="T51" fmla="*/ 26 h 186"/>
                <a:gd name="T52" fmla="*/ 95 w 95"/>
                <a:gd name="T53" fmla="*/ 26 h 186"/>
                <a:gd name="T54" fmla="*/ 95 w 95"/>
                <a:gd name="T55" fmla="*/ 2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5" h="186">
                  <a:moveTo>
                    <a:pt x="24" y="186"/>
                  </a:moveTo>
                  <a:lnTo>
                    <a:pt x="0" y="186"/>
                  </a:lnTo>
                  <a:lnTo>
                    <a:pt x="7" y="42"/>
                  </a:lnTo>
                  <a:lnTo>
                    <a:pt x="7" y="37"/>
                  </a:lnTo>
                  <a:lnTo>
                    <a:pt x="17" y="26"/>
                  </a:lnTo>
                  <a:lnTo>
                    <a:pt x="24" y="37"/>
                  </a:lnTo>
                  <a:lnTo>
                    <a:pt x="57" y="0"/>
                  </a:lnTo>
                  <a:lnTo>
                    <a:pt x="62" y="0"/>
                  </a:lnTo>
                  <a:lnTo>
                    <a:pt x="62" y="4"/>
                  </a:lnTo>
                  <a:lnTo>
                    <a:pt x="78" y="4"/>
                  </a:lnTo>
                  <a:lnTo>
                    <a:pt x="78" y="9"/>
                  </a:lnTo>
                  <a:lnTo>
                    <a:pt x="62" y="59"/>
                  </a:lnTo>
                  <a:lnTo>
                    <a:pt x="62" y="92"/>
                  </a:lnTo>
                  <a:lnTo>
                    <a:pt x="73" y="111"/>
                  </a:lnTo>
                  <a:lnTo>
                    <a:pt x="62" y="137"/>
                  </a:lnTo>
                  <a:lnTo>
                    <a:pt x="62" y="132"/>
                  </a:lnTo>
                  <a:lnTo>
                    <a:pt x="45" y="153"/>
                  </a:lnTo>
                  <a:lnTo>
                    <a:pt x="33" y="165"/>
                  </a:lnTo>
                  <a:lnTo>
                    <a:pt x="24" y="177"/>
                  </a:lnTo>
                  <a:lnTo>
                    <a:pt x="24" y="186"/>
                  </a:lnTo>
                  <a:lnTo>
                    <a:pt x="24" y="186"/>
                  </a:lnTo>
                  <a:lnTo>
                    <a:pt x="24" y="186"/>
                  </a:lnTo>
                  <a:close/>
                  <a:moveTo>
                    <a:pt x="95" y="26"/>
                  </a:moveTo>
                  <a:lnTo>
                    <a:pt x="90" y="37"/>
                  </a:lnTo>
                  <a:lnTo>
                    <a:pt x="95" y="21"/>
                  </a:lnTo>
                  <a:lnTo>
                    <a:pt x="95" y="26"/>
                  </a:lnTo>
                  <a:lnTo>
                    <a:pt x="95" y="26"/>
                  </a:lnTo>
                  <a:lnTo>
                    <a:pt x="95" y="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5" name="Freeform 398">
              <a:extLst>
                <a:ext uri="{FF2B5EF4-FFF2-40B4-BE49-F238E27FC236}">
                  <a16:creationId xmlns:a16="http://schemas.microsoft.com/office/drawing/2014/main" id="{B130D765-04AE-4002-9DE8-8768E5875DA9}"/>
                </a:ext>
              </a:extLst>
            </p:cNvPr>
            <p:cNvSpPr>
              <a:spLocks/>
            </p:cNvSpPr>
            <p:nvPr/>
          </p:nvSpPr>
          <p:spPr bwMode="gray">
            <a:xfrm>
              <a:off x="4715228" y="4353263"/>
              <a:ext cx="349097" cy="401836"/>
            </a:xfrm>
            <a:custGeom>
              <a:avLst/>
              <a:gdLst>
                <a:gd name="T0" fmla="*/ 482 w 848"/>
                <a:gd name="T1" fmla="*/ 915 h 976"/>
                <a:gd name="T2" fmla="*/ 378 w 848"/>
                <a:gd name="T3" fmla="*/ 952 h 976"/>
                <a:gd name="T4" fmla="*/ 357 w 848"/>
                <a:gd name="T5" fmla="*/ 931 h 976"/>
                <a:gd name="T6" fmla="*/ 269 w 848"/>
                <a:gd name="T7" fmla="*/ 919 h 976"/>
                <a:gd name="T8" fmla="*/ 231 w 848"/>
                <a:gd name="T9" fmla="*/ 919 h 976"/>
                <a:gd name="T10" fmla="*/ 198 w 848"/>
                <a:gd name="T11" fmla="*/ 943 h 976"/>
                <a:gd name="T12" fmla="*/ 189 w 848"/>
                <a:gd name="T13" fmla="*/ 959 h 976"/>
                <a:gd name="T14" fmla="*/ 144 w 848"/>
                <a:gd name="T15" fmla="*/ 976 h 976"/>
                <a:gd name="T16" fmla="*/ 123 w 848"/>
                <a:gd name="T17" fmla="*/ 952 h 976"/>
                <a:gd name="T18" fmla="*/ 106 w 848"/>
                <a:gd name="T19" fmla="*/ 915 h 976"/>
                <a:gd name="T20" fmla="*/ 101 w 848"/>
                <a:gd name="T21" fmla="*/ 858 h 976"/>
                <a:gd name="T22" fmla="*/ 75 w 848"/>
                <a:gd name="T23" fmla="*/ 825 h 976"/>
                <a:gd name="T24" fmla="*/ 85 w 848"/>
                <a:gd name="T25" fmla="*/ 808 h 976"/>
                <a:gd name="T26" fmla="*/ 64 w 848"/>
                <a:gd name="T27" fmla="*/ 787 h 976"/>
                <a:gd name="T28" fmla="*/ 75 w 848"/>
                <a:gd name="T29" fmla="*/ 759 h 976"/>
                <a:gd name="T30" fmla="*/ 64 w 848"/>
                <a:gd name="T31" fmla="*/ 737 h 976"/>
                <a:gd name="T32" fmla="*/ 47 w 848"/>
                <a:gd name="T33" fmla="*/ 681 h 976"/>
                <a:gd name="T34" fmla="*/ 38 w 848"/>
                <a:gd name="T35" fmla="*/ 610 h 976"/>
                <a:gd name="T36" fmla="*/ 9 w 848"/>
                <a:gd name="T37" fmla="*/ 572 h 976"/>
                <a:gd name="T38" fmla="*/ 0 w 848"/>
                <a:gd name="T39" fmla="*/ 556 h 976"/>
                <a:gd name="T40" fmla="*/ 47 w 848"/>
                <a:gd name="T41" fmla="*/ 511 h 976"/>
                <a:gd name="T42" fmla="*/ 54 w 848"/>
                <a:gd name="T43" fmla="*/ 482 h 976"/>
                <a:gd name="T44" fmla="*/ 31 w 848"/>
                <a:gd name="T45" fmla="*/ 478 h 976"/>
                <a:gd name="T46" fmla="*/ 21 w 848"/>
                <a:gd name="T47" fmla="*/ 416 h 976"/>
                <a:gd name="T48" fmla="*/ 16 w 848"/>
                <a:gd name="T49" fmla="*/ 388 h 976"/>
                <a:gd name="T50" fmla="*/ 47 w 848"/>
                <a:gd name="T51" fmla="*/ 345 h 976"/>
                <a:gd name="T52" fmla="*/ 54 w 848"/>
                <a:gd name="T53" fmla="*/ 334 h 976"/>
                <a:gd name="T54" fmla="*/ 47 w 848"/>
                <a:gd name="T55" fmla="*/ 277 h 976"/>
                <a:gd name="T56" fmla="*/ 68 w 848"/>
                <a:gd name="T57" fmla="*/ 206 h 976"/>
                <a:gd name="T58" fmla="*/ 54 w 848"/>
                <a:gd name="T59" fmla="*/ 95 h 976"/>
                <a:gd name="T60" fmla="*/ 68 w 848"/>
                <a:gd name="T61" fmla="*/ 107 h 976"/>
                <a:gd name="T62" fmla="*/ 106 w 848"/>
                <a:gd name="T63" fmla="*/ 74 h 976"/>
                <a:gd name="T64" fmla="*/ 144 w 848"/>
                <a:gd name="T65" fmla="*/ 57 h 976"/>
                <a:gd name="T66" fmla="*/ 177 w 848"/>
                <a:gd name="T67" fmla="*/ 41 h 976"/>
                <a:gd name="T68" fmla="*/ 248 w 848"/>
                <a:gd name="T69" fmla="*/ 12 h 976"/>
                <a:gd name="T70" fmla="*/ 302 w 848"/>
                <a:gd name="T71" fmla="*/ 0 h 976"/>
                <a:gd name="T72" fmla="*/ 298 w 848"/>
                <a:gd name="T73" fmla="*/ 57 h 976"/>
                <a:gd name="T74" fmla="*/ 302 w 848"/>
                <a:gd name="T75" fmla="*/ 111 h 976"/>
                <a:gd name="T76" fmla="*/ 319 w 848"/>
                <a:gd name="T77" fmla="*/ 145 h 976"/>
                <a:gd name="T78" fmla="*/ 323 w 848"/>
                <a:gd name="T79" fmla="*/ 152 h 976"/>
                <a:gd name="T80" fmla="*/ 340 w 848"/>
                <a:gd name="T81" fmla="*/ 168 h 976"/>
                <a:gd name="T82" fmla="*/ 361 w 848"/>
                <a:gd name="T83" fmla="*/ 185 h 976"/>
                <a:gd name="T84" fmla="*/ 404 w 848"/>
                <a:gd name="T85" fmla="*/ 206 h 976"/>
                <a:gd name="T86" fmla="*/ 444 w 848"/>
                <a:gd name="T87" fmla="*/ 223 h 976"/>
                <a:gd name="T88" fmla="*/ 465 w 848"/>
                <a:gd name="T89" fmla="*/ 234 h 976"/>
                <a:gd name="T90" fmla="*/ 486 w 848"/>
                <a:gd name="T91" fmla="*/ 239 h 976"/>
                <a:gd name="T92" fmla="*/ 524 w 848"/>
                <a:gd name="T93" fmla="*/ 256 h 976"/>
                <a:gd name="T94" fmla="*/ 605 w 848"/>
                <a:gd name="T95" fmla="*/ 277 h 976"/>
                <a:gd name="T96" fmla="*/ 649 w 848"/>
                <a:gd name="T97" fmla="*/ 317 h 976"/>
                <a:gd name="T98" fmla="*/ 659 w 848"/>
                <a:gd name="T99" fmla="*/ 362 h 976"/>
                <a:gd name="T100" fmla="*/ 633 w 848"/>
                <a:gd name="T101" fmla="*/ 400 h 976"/>
                <a:gd name="T102" fmla="*/ 664 w 848"/>
                <a:gd name="T103" fmla="*/ 482 h 976"/>
                <a:gd name="T104" fmla="*/ 794 w 848"/>
                <a:gd name="T105" fmla="*/ 499 h 976"/>
                <a:gd name="T106" fmla="*/ 789 w 848"/>
                <a:gd name="T107" fmla="*/ 556 h 976"/>
                <a:gd name="T108" fmla="*/ 838 w 848"/>
                <a:gd name="T109" fmla="*/ 605 h 976"/>
                <a:gd name="T110" fmla="*/ 838 w 848"/>
                <a:gd name="T111" fmla="*/ 681 h 976"/>
                <a:gd name="T112" fmla="*/ 838 w 848"/>
                <a:gd name="T113" fmla="*/ 693 h 976"/>
                <a:gd name="T114" fmla="*/ 827 w 848"/>
                <a:gd name="T115" fmla="*/ 759 h 976"/>
                <a:gd name="T116" fmla="*/ 805 w 848"/>
                <a:gd name="T117" fmla="*/ 749 h 976"/>
                <a:gd name="T118" fmla="*/ 675 w 848"/>
                <a:gd name="T119" fmla="*/ 704 h 976"/>
                <a:gd name="T120" fmla="*/ 541 w 848"/>
                <a:gd name="T121" fmla="*/ 771 h 976"/>
                <a:gd name="T122" fmla="*/ 520 w 848"/>
                <a:gd name="T123" fmla="*/ 841 h 976"/>
                <a:gd name="T124" fmla="*/ 486 w 848"/>
                <a:gd name="T125" fmla="*/ 931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8" h="976">
                  <a:moveTo>
                    <a:pt x="486" y="931"/>
                  </a:moveTo>
                  <a:lnTo>
                    <a:pt x="482" y="915"/>
                  </a:lnTo>
                  <a:lnTo>
                    <a:pt x="404" y="915"/>
                  </a:lnTo>
                  <a:lnTo>
                    <a:pt x="378" y="952"/>
                  </a:lnTo>
                  <a:lnTo>
                    <a:pt x="373" y="976"/>
                  </a:lnTo>
                  <a:lnTo>
                    <a:pt x="357" y="931"/>
                  </a:lnTo>
                  <a:lnTo>
                    <a:pt x="323" y="919"/>
                  </a:lnTo>
                  <a:lnTo>
                    <a:pt x="269" y="919"/>
                  </a:lnTo>
                  <a:lnTo>
                    <a:pt x="243" y="898"/>
                  </a:lnTo>
                  <a:lnTo>
                    <a:pt x="231" y="919"/>
                  </a:lnTo>
                  <a:lnTo>
                    <a:pt x="198" y="931"/>
                  </a:lnTo>
                  <a:lnTo>
                    <a:pt x="198" y="943"/>
                  </a:lnTo>
                  <a:lnTo>
                    <a:pt x="189" y="952"/>
                  </a:lnTo>
                  <a:lnTo>
                    <a:pt x="189" y="959"/>
                  </a:lnTo>
                  <a:lnTo>
                    <a:pt x="172" y="976"/>
                  </a:lnTo>
                  <a:lnTo>
                    <a:pt x="144" y="976"/>
                  </a:lnTo>
                  <a:lnTo>
                    <a:pt x="123" y="976"/>
                  </a:lnTo>
                  <a:lnTo>
                    <a:pt x="123" y="952"/>
                  </a:lnTo>
                  <a:lnTo>
                    <a:pt x="118" y="919"/>
                  </a:lnTo>
                  <a:lnTo>
                    <a:pt x="106" y="915"/>
                  </a:lnTo>
                  <a:lnTo>
                    <a:pt x="101" y="882"/>
                  </a:lnTo>
                  <a:lnTo>
                    <a:pt x="101" y="858"/>
                  </a:lnTo>
                  <a:lnTo>
                    <a:pt x="85" y="832"/>
                  </a:lnTo>
                  <a:lnTo>
                    <a:pt x="75" y="825"/>
                  </a:lnTo>
                  <a:lnTo>
                    <a:pt x="75" y="820"/>
                  </a:lnTo>
                  <a:lnTo>
                    <a:pt x="85" y="808"/>
                  </a:lnTo>
                  <a:lnTo>
                    <a:pt x="64" y="792"/>
                  </a:lnTo>
                  <a:lnTo>
                    <a:pt x="64" y="787"/>
                  </a:lnTo>
                  <a:lnTo>
                    <a:pt x="64" y="771"/>
                  </a:lnTo>
                  <a:lnTo>
                    <a:pt x="75" y="759"/>
                  </a:lnTo>
                  <a:lnTo>
                    <a:pt x="75" y="754"/>
                  </a:lnTo>
                  <a:lnTo>
                    <a:pt x="64" y="737"/>
                  </a:lnTo>
                  <a:lnTo>
                    <a:pt x="85" y="716"/>
                  </a:lnTo>
                  <a:lnTo>
                    <a:pt x="47" y="681"/>
                  </a:lnTo>
                  <a:lnTo>
                    <a:pt x="31" y="622"/>
                  </a:lnTo>
                  <a:lnTo>
                    <a:pt x="38" y="610"/>
                  </a:lnTo>
                  <a:lnTo>
                    <a:pt x="21" y="610"/>
                  </a:lnTo>
                  <a:lnTo>
                    <a:pt x="9" y="572"/>
                  </a:lnTo>
                  <a:lnTo>
                    <a:pt x="9" y="565"/>
                  </a:lnTo>
                  <a:lnTo>
                    <a:pt x="0" y="556"/>
                  </a:lnTo>
                  <a:lnTo>
                    <a:pt x="0" y="556"/>
                  </a:lnTo>
                  <a:lnTo>
                    <a:pt x="47" y="511"/>
                  </a:lnTo>
                  <a:lnTo>
                    <a:pt x="38" y="499"/>
                  </a:lnTo>
                  <a:lnTo>
                    <a:pt x="54" y="482"/>
                  </a:lnTo>
                  <a:lnTo>
                    <a:pt x="47" y="478"/>
                  </a:lnTo>
                  <a:lnTo>
                    <a:pt x="31" y="478"/>
                  </a:lnTo>
                  <a:lnTo>
                    <a:pt x="16" y="437"/>
                  </a:lnTo>
                  <a:lnTo>
                    <a:pt x="21" y="416"/>
                  </a:lnTo>
                  <a:lnTo>
                    <a:pt x="31" y="404"/>
                  </a:lnTo>
                  <a:lnTo>
                    <a:pt x="16" y="388"/>
                  </a:lnTo>
                  <a:lnTo>
                    <a:pt x="16" y="371"/>
                  </a:lnTo>
                  <a:lnTo>
                    <a:pt x="47" y="345"/>
                  </a:lnTo>
                  <a:lnTo>
                    <a:pt x="47" y="334"/>
                  </a:lnTo>
                  <a:lnTo>
                    <a:pt x="54" y="334"/>
                  </a:lnTo>
                  <a:lnTo>
                    <a:pt x="38" y="293"/>
                  </a:lnTo>
                  <a:lnTo>
                    <a:pt x="47" y="277"/>
                  </a:lnTo>
                  <a:lnTo>
                    <a:pt x="47" y="234"/>
                  </a:lnTo>
                  <a:lnTo>
                    <a:pt x="68" y="206"/>
                  </a:lnTo>
                  <a:lnTo>
                    <a:pt x="9" y="95"/>
                  </a:lnTo>
                  <a:lnTo>
                    <a:pt x="54" y="95"/>
                  </a:lnTo>
                  <a:lnTo>
                    <a:pt x="64" y="107"/>
                  </a:lnTo>
                  <a:lnTo>
                    <a:pt x="68" y="107"/>
                  </a:lnTo>
                  <a:lnTo>
                    <a:pt x="92" y="95"/>
                  </a:lnTo>
                  <a:lnTo>
                    <a:pt x="106" y="74"/>
                  </a:lnTo>
                  <a:lnTo>
                    <a:pt x="135" y="74"/>
                  </a:lnTo>
                  <a:lnTo>
                    <a:pt x="144" y="57"/>
                  </a:lnTo>
                  <a:lnTo>
                    <a:pt x="161" y="50"/>
                  </a:lnTo>
                  <a:lnTo>
                    <a:pt x="177" y="41"/>
                  </a:lnTo>
                  <a:lnTo>
                    <a:pt x="210" y="17"/>
                  </a:lnTo>
                  <a:lnTo>
                    <a:pt x="248" y="12"/>
                  </a:lnTo>
                  <a:lnTo>
                    <a:pt x="286" y="12"/>
                  </a:lnTo>
                  <a:lnTo>
                    <a:pt x="302" y="0"/>
                  </a:lnTo>
                  <a:lnTo>
                    <a:pt x="302" y="41"/>
                  </a:lnTo>
                  <a:lnTo>
                    <a:pt x="298" y="57"/>
                  </a:lnTo>
                  <a:lnTo>
                    <a:pt x="302" y="95"/>
                  </a:lnTo>
                  <a:lnTo>
                    <a:pt x="302" y="111"/>
                  </a:lnTo>
                  <a:lnTo>
                    <a:pt x="302" y="128"/>
                  </a:lnTo>
                  <a:lnTo>
                    <a:pt x="319" y="145"/>
                  </a:lnTo>
                  <a:lnTo>
                    <a:pt x="307" y="152"/>
                  </a:lnTo>
                  <a:lnTo>
                    <a:pt x="323" y="152"/>
                  </a:lnTo>
                  <a:lnTo>
                    <a:pt x="323" y="168"/>
                  </a:lnTo>
                  <a:lnTo>
                    <a:pt x="340" y="168"/>
                  </a:lnTo>
                  <a:lnTo>
                    <a:pt x="340" y="185"/>
                  </a:lnTo>
                  <a:lnTo>
                    <a:pt x="361" y="185"/>
                  </a:lnTo>
                  <a:lnTo>
                    <a:pt x="373" y="206"/>
                  </a:lnTo>
                  <a:lnTo>
                    <a:pt x="404" y="206"/>
                  </a:lnTo>
                  <a:lnTo>
                    <a:pt x="416" y="206"/>
                  </a:lnTo>
                  <a:lnTo>
                    <a:pt x="444" y="223"/>
                  </a:lnTo>
                  <a:lnTo>
                    <a:pt x="465" y="218"/>
                  </a:lnTo>
                  <a:lnTo>
                    <a:pt x="465" y="234"/>
                  </a:lnTo>
                  <a:lnTo>
                    <a:pt x="482" y="251"/>
                  </a:lnTo>
                  <a:lnTo>
                    <a:pt x="486" y="239"/>
                  </a:lnTo>
                  <a:lnTo>
                    <a:pt x="512" y="256"/>
                  </a:lnTo>
                  <a:lnTo>
                    <a:pt x="524" y="256"/>
                  </a:lnTo>
                  <a:lnTo>
                    <a:pt x="550" y="289"/>
                  </a:lnTo>
                  <a:lnTo>
                    <a:pt x="605" y="277"/>
                  </a:lnTo>
                  <a:lnTo>
                    <a:pt x="642" y="305"/>
                  </a:lnTo>
                  <a:lnTo>
                    <a:pt x="649" y="317"/>
                  </a:lnTo>
                  <a:lnTo>
                    <a:pt x="642" y="326"/>
                  </a:lnTo>
                  <a:lnTo>
                    <a:pt x="659" y="362"/>
                  </a:lnTo>
                  <a:lnTo>
                    <a:pt x="659" y="400"/>
                  </a:lnTo>
                  <a:lnTo>
                    <a:pt x="633" y="400"/>
                  </a:lnTo>
                  <a:lnTo>
                    <a:pt x="659" y="421"/>
                  </a:lnTo>
                  <a:lnTo>
                    <a:pt x="664" y="482"/>
                  </a:lnTo>
                  <a:lnTo>
                    <a:pt x="794" y="482"/>
                  </a:lnTo>
                  <a:lnTo>
                    <a:pt x="794" y="499"/>
                  </a:lnTo>
                  <a:lnTo>
                    <a:pt x="784" y="515"/>
                  </a:lnTo>
                  <a:lnTo>
                    <a:pt x="789" y="556"/>
                  </a:lnTo>
                  <a:lnTo>
                    <a:pt x="838" y="582"/>
                  </a:lnTo>
                  <a:lnTo>
                    <a:pt x="838" y="605"/>
                  </a:lnTo>
                  <a:lnTo>
                    <a:pt x="848" y="626"/>
                  </a:lnTo>
                  <a:lnTo>
                    <a:pt x="838" y="681"/>
                  </a:lnTo>
                  <a:lnTo>
                    <a:pt x="838" y="693"/>
                  </a:lnTo>
                  <a:lnTo>
                    <a:pt x="838" y="693"/>
                  </a:lnTo>
                  <a:lnTo>
                    <a:pt x="810" y="737"/>
                  </a:lnTo>
                  <a:lnTo>
                    <a:pt x="827" y="759"/>
                  </a:lnTo>
                  <a:lnTo>
                    <a:pt x="805" y="771"/>
                  </a:lnTo>
                  <a:lnTo>
                    <a:pt x="805" y="749"/>
                  </a:lnTo>
                  <a:lnTo>
                    <a:pt x="742" y="716"/>
                  </a:lnTo>
                  <a:lnTo>
                    <a:pt x="675" y="704"/>
                  </a:lnTo>
                  <a:lnTo>
                    <a:pt x="557" y="733"/>
                  </a:lnTo>
                  <a:lnTo>
                    <a:pt x="541" y="771"/>
                  </a:lnTo>
                  <a:lnTo>
                    <a:pt x="520" y="804"/>
                  </a:lnTo>
                  <a:lnTo>
                    <a:pt x="520" y="841"/>
                  </a:lnTo>
                  <a:lnTo>
                    <a:pt x="486" y="931"/>
                  </a:lnTo>
                  <a:lnTo>
                    <a:pt x="486" y="931"/>
                  </a:lnTo>
                  <a:lnTo>
                    <a:pt x="486" y="93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6" name="Freeform 403">
              <a:extLst>
                <a:ext uri="{FF2B5EF4-FFF2-40B4-BE49-F238E27FC236}">
                  <a16:creationId xmlns:a16="http://schemas.microsoft.com/office/drawing/2014/main" id="{2B10832B-4C67-46D8-97BF-F6B3C7D2E77E}"/>
                </a:ext>
              </a:extLst>
            </p:cNvPr>
            <p:cNvSpPr>
              <a:spLocks noEditPoints="1"/>
            </p:cNvSpPr>
            <p:nvPr/>
          </p:nvSpPr>
          <p:spPr bwMode="gray">
            <a:xfrm>
              <a:off x="4587610" y="3909845"/>
              <a:ext cx="1134151" cy="1194389"/>
            </a:xfrm>
            <a:custGeom>
              <a:avLst/>
              <a:gdLst>
                <a:gd name="T0" fmla="*/ 291 w 2755"/>
                <a:gd name="T1" fmla="*/ 255 h 2901"/>
                <a:gd name="T2" fmla="*/ 593 w 2755"/>
                <a:gd name="T3" fmla="*/ 312 h 2901"/>
                <a:gd name="T4" fmla="*/ 702 w 2755"/>
                <a:gd name="T5" fmla="*/ 201 h 2901"/>
                <a:gd name="T6" fmla="*/ 794 w 2755"/>
                <a:gd name="T7" fmla="*/ 90 h 2901"/>
                <a:gd name="T8" fmla="*/ 967 w 2755"/>
                <a:gd name="T9" fmla="*/ 0 h 2901"/>
                <a:gd name="T10" fmla="*/ 1009 w 2755"/>
                <a:gd name="T11" fmla="*/ 246 h 2901"/>
                <a:gd name="T12" fmla="*/ 1172 w 2755"/>
                <a:gd name="T13" fmla="*/ 239 h 2901"/>
                <a:gd name="T14" fmla="*/ 1366 w 2755"/>
                <a:gd name="T15" fmla="*/ 206 h 2901"/>
                <a:gd name="T16" fmla="*/ 1604 w 2755"/>
                <a:gd name="T17" fmla="*/ 95 h 2901"/>
                <a:gd name="T18" fmla="*/ 1600 w 2755"/>
                <a:gd name="T19" fmla="*/ 390 h 2901"/>
                <a:gd name="T20" fmla="*/ 1637 w 2755"/>
                <a:gd name="T21" fmla="*/ 506 h 2901"/>
                <a:gd name="T22" fmla="*/ 1637 w 2755"/>
                <a:gd name="T23" fmla="*/ 539 h 2901"/>
                <a:gd name="T24" fmla="*/ 1784 w 2755"/>
                <a:gd name="T25" fmla="*/ 485 h 2901"/>
                <a:gd name="T26" fmla="*/ 1869 w 2755"/>
                <a:gd name="T27" fmla="*/ 423 h 2901"/>
                <a:gd name="T28" fmla="*/ 1982 w 2755"/>
                <a:gd name="T29" fmla="*/ 461 h 2901"/>
                <a:gd name="T30" fmla="*/ 2063 w 2755"/>
                <a:gd name="T31" fmla="*/ 506 h 2901"/>
                <a:gd name="T32" fmla="*/ 2091 w 2755"/>
                <a:gd name="T33" fmla="*/ 577 h 2901"/>
                <a:gd name="T34" fmla="*/ 2301 w 2755"/>
                <a:gd name="T35" fmla="*/ 589 h 2901"/>
                <a:gd name="T36" fmla="*/ 2750 w 2755"/>
                <a:gd name="T37" fmla="*/ 884 h 2901"/>
                <a:gd name="T38" fmla="*/ 2594 w 2755"/>
                <a:gd name="T39" fmla="*/ 1172 h 2901"/>
                <a:gd name="T40" fmla="*/ 2469 w 2755"/>
                <a:gd name="T41" fmla="*/ 1309 h 2901"/>
                <a:gd name="T42" fmla="*/ 2448 w 2755"/>
                <a:gd name="T43" fmla="*/ 1625 h 2901"/>
                <a:gd name="T44" fmla="*/ 2322 w 2755"/>
                <a:gd name="T45" fmla="*/ 1937 h 2901"/>
                <a:gd name="T46" fmla="*/ 2117 w 2755"/>
                <a:gd name="T47" fmla="*/ 2053 h 2901"/>
                <a:gd name="T48" fmla="*/ 1944 w 2755"/>
                <a:gd name="T49" fmla="*/ 2143 h 2901"/>
                <a:gd name="T50" fmla="*/ 1777 w 2755"/>
                <a:gd name="T51" fmla="*/ 2287 h 2901"/>
                <a:gd name="T52" fmla="*/ 1767 w 2755"/>
                <a:gd name="T53" fmla="*/ 2476 h 2901"/>
                <a:gd name="T54" fmla="*/ 1600 w 2755"/>
                <a:gd name="T55" fmla="*/ 2719 h 2901"/>
                <a:gd name="T56" fmla="*/ 1604 w 2755"/>
                <a:gd name="T57" fmla="*/ 2625 h 2901"/>
                <a:gd name="T58" fmla="*/ 1496 w 2755"/>
                <a:gd name="T59" fmla="*/ 2851 h 2901"/>
                <a:gd name="T60" fmla="*/ 1210 w 2755"/>
                <a:gd name="T61" fmla="*/ 2620 h 2901"/>
                <a:gd name="T62" fmla="*/ 1281 w 2755"/>
                <a:gd name="T63" fmla="*/ 2464 h 2901"/>
                <a:gd name="T64" fmla="*/ 1366 w 2755"/>
                <a:gd name="T65" fmla="*/ 2259 h 2901"/>
                <a:gd name="T66" fmla="*/ 1238 w 2755"/>
                <a:gd name="T67" fmla="*/ 1992 h 2901"/>
                <a:gd name="T68" fmla="*/ 1146 w 2755"/>
                <a:gd name="T69" fmla="*/ 1659 h 2901"/>
                <a:gd name="T70" fmla="*/ 858 w 2755"/>
                <a:gd name="T71" fmla="*/ 1366 h 2901"/>
                <a:gd name="T72" fmla="*/ 631 w 2755"/>
                <a:gd name="T73" fmla="*/ 1243 h 2901"/>
                <a:gd name="T74" fmla="*/ 471 w 2755"/>
                <a:gd name="T75" fmla="*/ 1127 h 2901"/>
                <a:gd name="T76" fmla="*/ 248 w 2755"/>
                <a:gd name="T77" fmla="*/ 1061 h 2901"/>
                <a:gd name="T78" fmla="*/ 17 w 2755"/>
                <a:gd name="T79" fmla="*/ 888 h 2901"/>
                <a:gd name="T80" fmla="*/ 286 w 2755"/>
                <a:gd name="T81" fmla="*/ 683 h 2901"/>
                <a:gd name="T82" fmla="*/ 1685 w 2755"/>
                <a:gd name="T83" fmla="*/ 312 h 2901"/>
                <a:gd name="T84" fmla="*/ 1685 w 2755"/>
                <a:gd name="T85" fmla="*/ 333 h 2901"/>
                <a:gd name="T86" fmla="*/ 1706 w 2755"/>
                <a:gd name="T87" fmla="*/ 357 h 2901"/>
                <a:gd name="T88" fmla="*/ 1706 w 2755"/>
                <a:gd name="T89" fmla="*/ 390 h 2901"/>
                <a:gd name="T90" fmla="*/ 1621 w 2755"/>
                <a:gd name="T91" fmla="*/ 383 h 2901"/>
                <a:gd name="T92" fmla="*/ 1637 w 2755"/>
                <a:gd name="T93" fmla="*/ 411 h 2901"/>
                <a:gd name="T94" fmla="*/ 1685 w 2755"/>
                <a:gd name="T95" fmla="*/ 501 h 2901"/>
                <a:gd name="T96" fmla="*/ 1621 w 2755"/>
                <a:gd name="T97" fmla="*/ 407 h 2901"/>
                <a:gd name="T98" fmla="*/ 1630 w 2755"/>
                <a:gd name="T99" fmla="*/ 407 h 2901"/>
                <a:gd name="T100" fmla="*/ 1550 w 2755"/>
                <a:gd name="T101" fmla="*/ 485 h 2901"/>
                <a:gd name="T102" fmla="*/ 1831 w 2755"/>
                <a:gd name="T103" fmla="*/ 428 h 2901"/>
                <a:gd name="T104" fmla="*/ 1928 w 2755"/>
                <a:gd name="T105" fmla="*/ 449 h 2901"/>
                <a:gd name="T106" fmla="*/ 2037 w 2755"/>
                <a:gd name="T107" fmla="*/ 468 h 2901"/>
                <a:gd name="T108" fmla="*/ 1529 w 2755"/>
                <a:gd name="T109" fmla="*/ 501 h 2901"/>
                <a:gd name="T110" fmla="*/ 1760 w 2755"/>
                <a:gd name="T111" fmla="*/ 506 h 2901"/>
                <a:gd name="T112" fmla="*/ 2247 w 2755"/>
                <a:gd name="T113" fmla="*/ 577 h 2901"/>
                <a:gd name="T114" fmla="*/ 2485 w 2755"/>
                <a:gd name="T115" fmla="*/ 1309 h 2901"/>
                <a:gd name="T116" fmla="*/ 2464 w 2755"/>
                <a:gd name="T117" fmla="*/ 1370 h 2901"/>
                <a:gd name="T118" fmla="*/ 2020 w 2755"/>
                <a:gd name="T119" fmla="*/ 2143 h 2901"/>
                <a:gd name="T120" fmla="*/ 1777 w 2755"/>
                <a:gd name="T121" fmla="*/ 2313 h 2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55" h="2901">
                  <a:moveTo>
                    <a:pt x="286" y="683"/>
                  </a:moveTo>
                  <a:lnTo>
                    <a:pt x="324" y="477"/>
                  </a:lnTo>
                  <a:lnTo>
                    <a:pt x="324" y="449"/>
                  </a:lnTo>
                  <a:lnTo>
                    <a:pt x="308" y="428"/>
                  </a:lnTo>
                  <a:lnTo>
                    <a:pt x="308" y="411"/>
                  </a:lnTo>
                  <a:lnTo>
                    <a:pt x="274" y="390"/>
                  </a:lnTo>
                  <a:lnTo>
                    <a:pt x="274" y="333"/>
                  </a:lnTo>
                  <a:lnTo>
                    <a:pt x="324" y="329"/>
                  </a:lnTo>
                  <a:lnTo>
                    <a:pt x="329" y="333"/>
                  </a:lnTo>
                  <a:lnTo>
                    <a:pt x="345" y="333"/>
                  </a:lnTo>
                  <a:lnTo>
                    <a:pt x="341" y="317"/>
                  </a:lnTo>
                  <a:lnTo>
                    <a:pt x="329" y="300"/>
                  </a:lnTo>
                  <a:lnTo>
                    <a:pt x="291" y="300"/>
                  </a:lnTo>
                  <a:lnTo>
                    <a:pt x="291" y="255"/>
                  </a:lnTo>
                  <a:lnTo>
                    <a:pt x="319" y="246"/>
                  </a:lnTo>
                  <a:lnTo>
                    <a:pt x="411" y="255"/>
                  </a:lnTo>
                  <a:lnTo>
                    <a:pt x="400" y="246"/>
                  </a:lnTo>
                  <a:lnTo>
                    <a:pt x="411" y="239"/>
                  </a:lnTo>
                  <a:lnTo>
                    <a:pt x="433" y="255"/>
                  </a:lnTo>
                  <a:lnTo>
                    <a:pt x="466" y="222"/>
                  </a:lnTo>
                  <a:lnTo>
                    <a:pt x="471" y="222"/>
                  </a:lnTo>
                  <a:lnTo>
                    <a:pt x="487" y="263"/>
                  </a:lnTo>
                  <a:lnTo>
                    <a:pt x="487" y="296"/>
                  </a:lnTo>
                  <a:lnTo>
                    <a:pt x="504" y="296"/>
                  </a:lnTo>
                  <a:lnTo>
                    <a:pt x="541" y="329"/>
                  </a:lnTo>
                  <a:lnTo>
                    <a:pt x="556" y="329"/>
                  </a:lnTo>
                  <a:lnTo>
                    <a:pt x="579" y="312"/>
                  </a:lnTo>
                  <a:lnTo>
                    <a:pt x="593" y="312"/>
                  </a:lnTo>
                  <a:lnTo>
                    <a:pt x="593" y="329"/>
                  </a:lnTo>
                  <a:lnTo>
                    <a:pt x="593" y="333"/>
                  </a:lnTo>
                  <a:lnTo>
                    <a:pt x="610" y="312"/>
                  </a:lnTo>
                  <a:lnTo>
                    <a:pt x="617" y="312"/>
                  </a:lnTo>
                  <a:lnTo>
                    <a:pt x="626" y="296"/>
                  </a:lnTo>
                  <a:lnTo>
                    <a:pt x="648" y="284"/>
                  </a:lnTo>
                  <a:lnTo>
                    <a:pt x="659" y="284"/>
                  </a:lnTo>
                  <a:lnTo>
                    <a:pt x="681" y="267"/>
                  </a:lnTo>
                  <a:lnTo>
                    <a:pt x="685" y="267"/>
                  </a:lnTo>
                  <a:lnTo>
                    <a:pt x="697" y="263"/>
                  </a:lnTo>
                  <a:lnTo>
                    <a:pt x="702" y="239"/>
                  </a:lnTo>
                  <a:lnTo>
                    <a:pt x="752" y="222"/>
                  </a:lnTo>
                  <a:lnTo>
                    <a:pt x="752" y="206"/>
                  </a:lnTo>
                  <a:lnTo>
                    <a:pt x="702" y="201"/>
                  </a:lnTo>
                  <a:lnTo>
                    <a:pt x="702" y="185"/>
                  </a:lnTo>
                  <a:lnTo>
                    <a:pt x="685" y="152"/>
                  </a:lnTo>
                  <a:lnTo>
                    <a:pt x="685" y="118"/>
                  </a:lnTo>
                  <a:lnTo>
                    <a:pt x="659" y="90"/>
                  </a:lnTo>
                  <a:lnTo>
                    <a:pt x="648" y="74"/>
                  </a:lnTo>
                  <a:lnTo>
                    <a:pt x="664" y="78"/>
                  </a:lnTo>
                  <a:lnTo>
                    <a:pt x="697" y="78"/>
                  </a:lnTo>
                  <a:lnTo>
                    <a:pt x="702" y="95"/>
                  </a:lnTo>
                  <a:lnTo>
                    <a:pt x="719" y="95"/>
                  </a:lnTo>
                  <a:lnTo>
                    <a:pt x="740" y="102"/>
                  </a:lnTo>
                  <a:lnTo>
                    <a:pt x="752" y="95"/>
                  </a:lnTo>
                  <a:lnTo>
                    <a:pt x="778" y="118"/>
                  </a:lnTo>
                  <a:lnTo>
                    <a:pt x="794" y="111"/>
                  </a:lnTo>
                  <a:lnTo>
                    <a:pt x="794" y="90"/>
                  </a:lnTo>
                  <a:lnTo>
                    <a:pt x="806" y="90"/>
                  </a:lnTo>
                  <a:lnTo>
                    <a:pt x="811" y="78"/>
                  </a:lnTo>
                  <a:lnTo>
                    <a:pt x="832" y="78"/>
                  </a:lnTo>
                  <a:lnTo>
                    <a:pt x="858" y="78"/>
                  </a:lnTo>
                  <a:lnTo>
                    <a:pt x="865" y="74"/>
                  </a:lnTo>
                  <a:lnTo>
                    <a:pt x="874" y="74"/>
                  </a:lnTo>
                  <a:lnTo>
                    <a:pt x="882" y="62"/>
                  </a:lnTo>
                  <a:lnTo>
                    <a:pt x="896" y="57"/>
                  </a:lnTo>
                  <a:lnTo>
                    <a:pt x="919" y="45"/>
                  </a:lnTo>
                  <a:lnTo>
                    <a:pt x="929" y="40"/>
                  </a:lnTo>
                  <a:lnTo>
                    <a:pt x="941" y="24"/>
                  </a:lnTo>
                  <a:lnTo>
                    <a:pt x="941" y="7"/>
                  </a:lnTo>
                  <a:lnTo>
                    <a:pt x="933" y="0"/>
                  </a:lnTo>
                  <a:lnTo>
                    <a:pt x="967" y="0"/>
                  </a:lnTo>
                  <a:lnTo>
                    <a:pt x="971" y="0"/>
                  </a:lnTo>
                  <a:lnTo>
                    <a:pt x="983" y="7"/>
                  </a:lnTo>
                  <a:lnTo>
                    <a:pt x="988" y="17"/>
                  </a:lnTo>
                  <a:lnTo>
                    <a:pt x="983" y="40"/>
                  </a:lnTo>
                  <a:lnTo>
                    <a:pt x="971" y="57"/>
                  </a:lnTo>
                  <a:lnTo>
                    <a:pt x="1004" y="62"/>
                  </a:lnTo>
                  <a:lnTo>
                    <a:pt x="1004" y="74"/>
                  </a:lnTo>
                  <a:lnTo>
                    <a:pt x="1009" y="95"/>
                  </a:lnTo>
                  <a:lnTo>
                    <a:pt x="995" y="128"/>
                  </a:lnTo>
                  <a:lnTo>
                    <a:pt x="988" y="185"/>
                  </a:lnTo>
                  <a:lnTo>
                    <a:pt x="995" y="206"/>
                  </a:lnTo>
                  <a:lnTo>
                    <a:pt x="1004" y="211"/>
                  </a:lnTo>
                  <a:lnTo>
                    <a:pt x="1004" y="246"/>
                  </a:lnTo>
                  <a:lnTo>
                    <a:pt x="1009" y="246"/>
                  </a:lnTo>
                  <a:lnTo>
                    <a:pt x="1009" y="255"/>
                  </a:lnTo>
                  <a:lnTo>
                    <a:pt x="1021" y="255"/>
                  </a:lnTo>
                  <a:lnTo>
                    <a:pt x="1037" y="279"/>
                  </a:lnTo>
                  <a:lnTo>
                    <a:pt x="1059" y="284"/>
                  </a:lnTo>
                  <a:lnTo>
                    <a:pt x="1063" y="296"/>
                  </a:lnTo>
                  <a:lnTo>
                    <a:pt x="1075" y="284"/>
                  </a:lnTo>
                  <a:lnTo>
                    <a:pt x="1092" y="284"/>
                  </a:lnTo>
                  <a:lnTo>
                    <a:pt x="1092" y="267"/>
                  </a:lnTo>
                  <a:lnTo>
                    <a:pt x="1101" y="263"/>
                  </a:lnTo>
                  <a:lnTo>
                    <a:pt x="1130" y="267"/>
                  </a:lnTo>
                  <a:lnTo>
                    <a:pt x="1130" y="263"/>
                  </a:lnTo>
                  <a:lnTo>
                    <a:pt x="1146" y="255"/>
                  </a:lnTo>
                  <a:lnTo>
                    <a:pt x="1156" y="255"/>
                  </a:lnTo>
                  <a:lnTo>
                    <a:pt x="1172" y="239"/>
                  </a:lnTo>
                  <a:lnTo>
                    <a:pt x="1189" y="229"/>
                  </a:lnTo>
                  <a:lnTo>
                    <a:pt x="1210" y="246"/>
                  </a:lnTo>
                  <a:lnTo>
                    <a:pt x="1238" y="239"/>
                  </a:lnTo>
                  <a:lnTo>
                    <a:pt x="1264" y="246"/>
                  </a:lnTo>
                  <a:lnTo>
                    <a:pt x="1276" y="239"/>
                  </a:lnTo>
                  <a:lnTo>
                    <a:pt x="1276" y="229"/>
                  </a:lnTo>
                  <a:lnTo>
                    <a:pt x="1259" y="211"/>
                  </a:lnTo>
                  <a:lnTo>
                    <a:pt x="1264" y="201"/>
                  </a:lnTo>
                  <a:lnTo>
                    <a:pt x="1290" y="206"/>
                  </a:lnTo>
                  <a:lnTo>
                    <a:pt x="1335" y="189"/>
                  </a:lnTo>
                  <a:lnTo>
                    <a:pt x="1345" y="201"/>
                  </a:lnTo>
                  <a:lnTo>
                    <a:pt x="1361" y="201"/>
                  </a:lnTo>
                  <a:lnTo>
                    <a:pt x="1361" y="206"/>
                  </a:lnTo>
                  <a:lnTo>
                    <a:pt x="1366" y="206"/>
                  </a:lnTo>
                  <a:lnTo>
                    <a:pt x="1399" y="222"/>
                  </a:lnTo>
                  <a:lnTo>
                    <a:pt x="1420" y="206"/>
                  </a:lnTo>
                  <a:lnTo>
                    <a:pt x="1437" y="211"/>
                  </a:lnTo>
                  <a:lnTo>
                    <a:pt x="1453" y="206"/>
                  </a:lnTo>
                  <a:lnTo>
                    <a:pt x="1458" y="222"/>
                  </a:lnTo>
                  <a:lnTo>
                    <a:pt x="1479" y="222"/>
                  </a:lnTo>
                  <a:lnTo>
                    <a:pt x="1507" y="201"/>
                  </a:lnTo>
                  <a:lnTo>
                    <a:pt x="1524" y="152"/>
                  </a:lnTo>
                  <a:lnTo>
                    <a:pt x="1567" y="90"/>
                  </a:lnTo>
                  <a:lnTo>
                    <a:pt x="1578" y="78"/>
                  </a:lnTo>
                  <a:lnTo>
                    <a:pt x="1583" y="90"/>
                  </a:lnTo>
                  <a:lnTo>
                    <a:pt x="1578" y="62"/>
                  </a:lnTo>
                  <a:lnTo>
                    <a:pt x="1600" y="78"/>
                  </a:lnTo>
                  <a:lnTo>
                    <a:pt x="1604" y="95"/>
                  </a:lnTo>
                  <a:lnTo>
                    <a:pt x="1616" y="95"/>
                  </a:lnTo>
                  <a:lnTo>
                    <a:pt x="1616" y="152"/>
                  </a:lnTo>
                  <a:lnTo>
                    <a:pt x="1637" y="222"/>
                  </a:lnTo>
                  <a:lnTo>
                    <a:pt x="1654" y="246"/>
                  </a:lnTo>
                  <a:lnTo>
                    <a:pt x="1675" y="246"/>
                  </a:lnTo>
                  <a:lnTo>
                    <a:pt x="1692" y="255"/>
                  </a:lnTo>
                  <a:lnTo>
                    <a:pt x="1692" y="284"/>
                  </a:lnTo>
                  <a:lnTo>
                    <a:pt x="1675" y="296"/>
                  </a:lnTo>
                  <a:lnTo>
                    <a:pt x="1692" y="284"/>
                  </a:lnTo>
                  <a:lnTo>
                    <a:pt x="1692" y="296"/>
                  </a:lnTo>
                  <a:lnTo>
                    <a:pt x="1654" y="333"/>
                  </a:lnTo>
                  <a:lnTo>
                    <a:pt x="1630" y="366"/>
                  </a:lnTo>
                  <a:lnTo>
                    <a:pt x="1621" y="366"/>
                  </a:lnTo>
                  <a:lnTo>
                    <a:pt x="1600" y="390"/>
                  </a:lnTo>
                  <a:lnTo>
                    <a:pt x="1567" y="428"/>
                  </a:lnTo>
                  <a:lnTo>
                    <a:pt x="1567" y="449"/>
                  </a:lnTo>
                  <a:lnTo>
                    <a:pt x="1550" y="461"/>
                  </a:lnTo>
                  <a:lnTo>
                    <a:pt x="1550" y="477"/>
                  </a:lnTo>
                  <a:lnTo>
                    <a:pt x="1545" y="485"/>
                  </a:lnTo>
                  <a:lnTo>
                    <a:pt x="1529" y="477"/>
                  </a:lnTo>
                  <a:lnTo>
                    <a:pt x="1496" y="494"/>
                  </a:lnTo>
                  <a:lnTo>
                    <a:pt x="1529" y="494"/>
                  </a:lnTo>
                  <a:lnTo>
                    <a:pt x="1529" y="501"/>
                  </a:lnTo>
                  <a:lnTo>
                    <a:pt x="1600" y="468"/>
                  </a:lnTo>
                  <a:lnTo>
                    <a:pt x="1616" y="444"/>
                  </a:lnTo>
                  <a:lnTo>
                    <a:pt x="1630" y="444"/>
                  </a:lnTo>
                  <a:lnTo>
                    <a:pt x="1630" y="485"/>
                  </a:lnTo>
                  <a:lnTo>
                    <a:pt x="1637" y="506"/>
                  </a:lnTo>
                  <a:lnTo>
                    <a:pt x="1630" y="518"/>
                  </a:lnTo>
                  <a:lnTo>
                    <a:pt x="1604" y="506"/>
                  </a:lnTo>
                  <a:lnTo>
                    <a:pt x="1588" y="501"/>
                  </a:lnTo>
                  <a:lnTo>
                    <a:pt x="1583" y="522"/>
                  </a:lnTo>
                  <a:lnTo>
                    <a:pt x="1583" y="539"/>
                  </a:lnTo>
                  <a:lnTo>
                    <a:pt x="1588" y="551"/>
                  </a:lnTo>
                  <a:lnTo>
                    <a:pt x="1583" y="522"/>
                  </a:lnTo>
                  <a:lnTo>
                    <a:pt x="1600" y="506"/>
                  </a:lnTo>
                  <a:lnTo>
                    <a:pt x="1616" y="522"/>
                  </a:lnTo>
                  <a:lnTo>
                    <a:pt x="1616" y="551"/>
                  </a:lnTo>
                  <a:lnTo>
                    <a:pt x="1630" y="555"/>
                  </a:lnTo>
                  <a:lnTo>
                    <a:pt x="1616" y="551"/>
                  </a:lnTo>
                  <a:lnTo>
                    <a:pt x="1621" y="522"/>
                  </a:lnTo>
                  <a:lnTo>
                    <a:pt x="1637" y="539"/>
                  </a:lnTo>
                  <a:lnTo>
                    <a:pt x="1630" y="518"/>
                  </a:lnTo>
                  <a:lnTo>
                    <a:pt x="1637" y="506"/>
                  </a:lnTo>
                  <a:lnTo>
                    <a:pt x="1654" y="506"/>
                  </a:lnTo>
                  <a:lnTo>
                    <a:pt x="1659" y="518"/>
                  </a:lnTo>
                  <a:lnTo>
                    <a:pt x="1685" y="506"/>
                  </a:lnTo>
                  <a:lnTo>
                    <a:pt x="1696" y="518"/>
                  </a:lnTo>
                  <a:lnTo>
                    <a:pt x="1713" y="518"/>
                  </a:lnTo>
                  <a:lnTo>
                    <a:pt x="1739" y="501"/>
                  </a:lnTo>
                  <a:lnTo>
                    <a:pt x="1722" y="539"/>
                  </a:lnTo>
                  <a:lnTo>
                    <a:pt x="1722" y="560"/>
                  </a:lnTo>
                  <a:lnTo>
                    <a:pt x="1744" y="518"/>
                  </a:lnTo>
                  <a:lnTo>
                    <a:pt x="1760" y="506"/>
                  </a:lnTo>
                  <a:lnTo>
                    <a:pt x="1777" y="485"/>
                  </a:lnTo>
                  <a:lnTo>
                    <a:pt x="1784" y="485"/>
                  </a:lnTo>
                  <a:lnTo>
                    <a:pt x="1798" y="501"/>
                  </a:lnTo>
                  <a:lnTo>
                    <a:pt x="1798" y="485"/>
                  </a:lnTo>
                  <a:lnTo>
                    <a:pt x="1815" y="485"/>
                  </a:lnTo>
                  <a:lnTo>
                    <a:pt x="1793" y="485"/>
                  </a:lnTo>
                  <a:lnTo>
                    <a:pt x="1793" y="468"/>
                  </a:lnTo>
                  <a:lnTo>
                    <a:pt x="1805" y="477"/>
                  </a:lnTo>
                  <a:lnTo>
                    <a:pt x="1805" y="444"/>
                  </a:lnTo>
                  <a:lnTo>
                    <a:pt x="1822" y="428"/>
                  </a:lnTo>
                  <a:lnTo>
                    <a:pt x="1831" y="440"/>
                  </a:lnTo>
                  <a:lnTo>
                    <a:pt x="1848" y="423"/>
                  </a:lnTo>
                  <a:lnTo>
                    <a:pt x="1848" y="440"/>
                  </a:lnTo>
                  <a:lnTo>
                    <a:pt x="1859" y="423"/>
                  </a:lnTo>
                  <a:lnTo>
                    <a:pt x="1869" y="440"/>
                  </a:lnTo>
                  <a:lnTo>
                    <a:pt x="1869" y="423"/>
                  </a:lnTo>
                  <a:lnTo>
                    <a:pt x="1890" y="428"/>
                  </a:lnTo>
                  <a:lnTo>
                    <a:pt x="1902" y="428"/>
                  </a:lnTo>
                  <a:lnTo>
                    <a:pt x="1902" y="444"/>
                  </a:lnTo>
                  <a:lnTo>
                    <a:pt x="1907" y="428"/>
                  </a:lnTo>
                  <a:lnTo>
                    <a:pt x="1911" y="440"/>
                  </a:lnTo>
                  <a:lnTo>
                    <a:pt x="1923" y="440"/>
                  </a:lnTo>
                  <a:lnTo>
                    <a:pt x="1923" y="449"/>
                  </a:lnTo>
                  <a:lnTo>
                    <a:pt x="1956" y="444"/>
                  </a:lnTo>
                  <a:lnTo>
                    <a:pt x="1944" y="461"/>
                  </a:lnTo>
                  <a:lnTo>
                    <a:pt x="1961" y="461"/>
                  </a:lnTo>
                  <a:lnTo>
                    <a:pt x="1961" y="468"/>
                  </a:lnTo>
                  <a:lnTo>
                    <a:pt x="1966" y="449"/>
                  </a:lnTo>
                  <a:lnTo>
                    <a:pt x="1978" y="468"/>
                  </a:lnTo>
                  <a:lnTo>
                    <a:pt x="1982" y="461"/>
                  </a:lnTo>
                  <a:lnTo>
                    <a:pt x="1994" y="477"/>
                  </a:lnTo>
                  <a:lnTo>
                    <a:pt x="1994" y="468"/>
                  </a:lnTo>
                  <a:lnTo>
                    <a:pt x="2011" y="477"/>
                  </a:lnTo>
                  <a:lnTo>
                    <a:pt x="2011" y="494"/>
                  </a:lnTo>
                  <a:lnTo>
                    <a:pt x="2015" y="477"/>
                  </a:lnTo>
                  <a:lnTo>
                    <a:pt x="2015" y="501"/>
                  </a:lnTo>
                  <a:lnTo>
                    <a:pt x="2020" y="501"/>
                  </a:lnTo>
                  <a:lnTo>
                    <a:pt x="2020" y="485"/>
                  </a:lnTo>
                  <a:lnTo>
                    <a:pt x="2037" y="485"/>
                  </a:lnTo>
                  <a:lnTo>
                    <a:pt x="2048" y="485"/>
                  </a:lnTo>
                  <a:lnTo>
                    <a:pt x="2037" y="494"/>
                  </a:lnTo>
                  <a:lnTo>
                    <a:pt x="2053" y="494"/>
                  </a:lnTo>
                  <a:lnTo>
                    <a:pt x="2053" y="501"/>
                  </a:lnTo>
                  <a:lnTo>
                    <a:pt x="2063" y="506"/>
                  </a:lnTo>
                  <a:lnTo>
                    <a:pt x="2070" y="506"/>
                  </a:lnTo>
                  <a:lnTo>
                    <a:pt x="2074" y="522"/>
                  </a:lnTo>
                  <a:lnTo>
                    <a:pt x="2063" y="551"/>
                  </a:lnTo>
                  <a:lnTo>
                    <a:pt x="2074" y="534"/>
                  </a:lnTo>
                  <a:lnTo>
                    <a:pt x="2086" y="551"/>
                  </a:lnTo>
                  <a:lnTo>
                    <a:pt x="2070" y="560"/>
                  </a:lnTo>
                  <a:lnTo>
                    <a:pt x="2063" y="596"/>
                  </a:lnTo>
                  <a:lnTo>
                    <a:pt x="2053" y="617"/>
                  </a:lnTo>
                  <a:lnTo>
                    <a:pt x="2074" y="589"/>
                  </a:lnTo>
                  <a:lnTo>
                    <a:pt x="2086" y="560"/>
                  </a:lnTo>
                  <a:lnTo>
                    <a:pt x="2100" y="551"/>
                  </a:lnTo>
                  <a:lnTo>
                    <a:pt x="2107" y="560"/>
                  </a:lnTo>
                  <a:lnTo>
                    <a:pt x="2086" y="577"/>
                  </a:lnTo>
                  <a:lnTo>
                    <a:pt x="2091" y="577"/>
                  </a:lnTo>
                  <a:lnTo>
                    <a:pt x="2091" y="589"/>
                  </a:lnTo>
                  <a:lnTo>
                    <a:pt x="2117" y="560"/>
                  </a:lnTo>
                  <a:lnTo>
                    <a:pt x="2145" y="560"/>
                  </a:lnTo>
                  <a:lnTo>
                    <a:pt x="2145" y="551"/>
                  </a:lnTo>
                  <a:lnTo>
                    <a:pt x="2155" y="551"/>
                  </a:lnTo>
                  <a:lnTo>
                    <a:pt x="2200" y="560"/>
                  </a:lnTo>
                  <a:lnTo>
                    <a:pt x="2230" y="577"/>
                  </a:lnTo>
                  <a:lnTo>
                    <a:pt x="2252" y="577"/>
                  </a:lnTo>
                  <a:lnTo>
                    <a:pt x="2247" y="577"/>
                  </a:lnTo>
                  <a:lnTo>
                    <a:pt x="2263" y="572"/>
                  </a:lnTo>
                  <a:lnTo>
                    <a:pt x="2268" y="589"/>
                  </a:lnTo>
                  <a:lnTo>
                    <a:pt x="2289" y="589"/>
                  </a:lnTo>
                  <a:lnTo>
                    <a:pt x="2301" y="596"/>
                  </a:lnTo>
                  <a:lnTo>
                    <a:pt x="2301" y="589"/>
                  </a:lnTo>
                  <a:lnTo>
                    <a:pt x="2356" y="577"/>
                  </a:lnTo>
                  <a:lnTo>
                    <a:pt x="2389" y="577"/>
                  </a:lnTo>
                  <a:lnTo>
                    <a:pt x="2495" y="645"/>
                  </a:lnTo>
                  <a:lnTo>
                    <a:pt x="2556" y="704"/>
                  </a:lnTo>
                  <a:lnTo>
                    <a:pt x="2578" y="716"/>
                  </a:lnTo>
                  <a:lnTo>
                    <a:pt x="2587" y="728"/>
                  </a:lnTo>
                  <a:lnTo>
                    <a:pt x="2608" y="740"/>
                  </a:lnTo>
                  <a:lnTo>
                    <a:pt x="2615" y="744"/>
                  </a:lnTo>
                  <a:lnTo>
                    <a:pt x="2670" y="744"/>
                  </a:lnTo>
                  <a:lnTo>
                    <a:pt x="2712" y="756"/>
                  </a:lnTo>
                  <a:lnTo>
                    <a:pt x="2738" y="839"/>
                  </a:lnTo>
                  <a:lnTo>
                    <a:pt x="2750" y="884"/>
                  </a:lnTo>
                  <a:lnTo>
                    <a:pt x="2750" y="893"/>
                  </a:lnTo>
                  <a:lnTo>
                    <a:pt x="2750" y="884"/>
                  </a:lnTo>
                  <a:lnTo>
                    <a:pt x="2755" y="922"/>
                  </a:lnTo>
                  <a:lnTo>
                    <a:pt x="2750" y="922"/>
                  </a:lnTo>
                  <a:lnTo>
                    <a:pt x="2755" y="926"/>
                  </a:lnTo>
                  <a:lnTo>
                    <a:pt x="2750" y="943"/>
                  </a:lnTo>
                  <a:lnTo>
                    <a:pt x="2750" y="950"/>
                  </a:lnTo>
                  <a:lnTo>
                    <a:pt x="2750" y="959"/>
                  </a:lnTo>
                  <a:lnTo>
                    <a:pt x="2717" y="1037"/>
                  </a:lnTo>
                  <a:lnTo>
                    <a:pt x="2684" y="1077"/>
                  </a:lnTo>
                  <a:lnTo>
                    <a:pt x="2641" y="1132"/>
                  </a:lnTo>
                  <a:lnTo>
                    <a:pt x="2608" y="1160"/>
                  </a:lnTo>
                  <a:lnTo>
                    <a:pt x="2594" y="1165"/>
                  </a:lnTo>
                  <a:lnTo>
                    <a:pt x="2587" y="1160"/>
                  </a:lnTo>
                  <a:lnTo>
                    <a:pt x="2594" y="1165"/>
                  </a:lnTo>
                  <a:lnTo>
                    <a:pt x="2594" y="1172"/>
                  </a:lnTo>
                  <a:lnTo>
                    <a:pt x="2587" y="1181"/>
                  </a:lnTo>
                  <a:lnTo>
                    <a:pt x="2578" y="1172"/>
                  </a:lnTo>
                  <a:lnTo>
                    <a:pt x="2587" y="1181"/>
                  </a:lnTo>
                  <a:lnTo>
                    <a:pt x="2587" y="1188"/>
                  </a:lnTo>
                  <a:lnTo>
                    <a:pt x="2570" y="1205"/>
                  </a:lnTo>
                  <a:lnTo>
                    <a:pt x="2578" y="1188"/>
                  </a:lnTo>
                  <a:lnTo>
                    <a:pt x="2570" y="1188"/>
                  </a:lnTo>
                  <a:lnTo>
                    <a:pt x="2556" y="1243"/>
                  </a:lnTo>
                  <a:lnTo>
                    <a:pt x="2523" y="1292"/>
                  </a:lnTo>
                  <a:lnTo>
                    <a:pt x="2495" y="1325"/>
                  </a:lnTo>
                  <a:lnTo>
                    <a:pt x="2495" y="1300"/>
                  </a:lnTo>
                  <a:lnTo>
                    <a:pt x="2485" y="1300"/>
                  </a:lnTo>
                  <a:lnTo>
                    <a:pt x="2481" y="1292"/>
                  </a:lnTo>
                  <a:lnTo>
                    <a:pt x="2469" y="1309"/>
                  </a:lnTo>
                  <a:lnTo>
                    <a:pt x="2469" y="1292"/>
                  </a:lnTo>
                  <a:lnTo>
                    <a:pt x="2464" y="1300"/>
                  </a:lnTo>
                  <a:lnTo>
                    <a:pt x="2469" y="1309"/>
                  </a:lnTo>
                  <a:lnTo>
                    <a:pt x="2481" y="1309"/>
                  </a:lnTo>
                  <a:lnTo>
                    <a:pt x="2464" y="1349"/>
                  </a:lnTo>
                  <a:lnTo>
                    <a:pt x="2452" y="1349"/>
                  </a:lnTo>
                  <a:lnTo>
                    <a:pt x="2452" y="1354"/>
                  </a:lnTo>
                  <a:lnTo>
                    <a:pt x="2464" y="1370"/>
                  </a:lnTo>
                  <a:lnTo>
                    <a:pt x="2452" y="1403"/>
                  </a:lnTo>
                  <a:lnTo>
                    <a:pt x="2464" y="1394"/>
                  </a:lnTo>
                  <a:lnTo>
                    <a:pt x="2464" y="1387"/>
                  </a:lnTo>
                  <a:lnTo>
                    <a:pt x="2452" y="1444"/>
                  </a:lnTo>
                  <a:lnTo>
                    <a:pt x="2469" y="1531"/>
                  </a:lnTo>
                  <a:lnTo>
                    <a:pt x="2448" y="1625"/>
                  </a:lnTo>
                  <a:lnTo>
                    <a:pt x="2448" y="1666"/>
                  </a:lnTo>
                  <a:lnTo>
                    <a:pt x="2415" y="1703"/>
                  </a:lnTo>
                  <a:lnTo>
                    <a:pt x="2410" y="1744"/>
                  </a:lnTo>
                  <a:lnTo>
                    <a:pt x="2410" y="1793"/>
                  </a:lnTo>
                  <a:lnTo>
                    <a:pt x="2398" y="1810"/>
                  </a:lnTo>
                  <a:lnTo>
                    <a:pt x="2389" y="1814"/>
                  </a:lnTo>
                  <a:lnTo>
                    <a:pt x="2372" y="1864"/>
                  </a:lnTo>
                  <a:lnTo>
                    <a:pt x="2360" y="1855"/>
                  </a:lnTo>
                  <a:lnTo>
                    <a:pt x="2360" y="1864"/>
                  </a:lnTo>
                  <a:lnTo>
                    <a:pt x="2372" y="1864"/>
                  </a:lnTo>
                  <a:lnTo>
                    <a:pt x="2360" y="1888"/>
                  </a:lnTo>
                  <a:lnTo>
                    <a:pt x="2344" y="1904"/>
                  </a:lnTo>
                  <a:lnTo>
                    <a:pt x="2334" y="1904"/>
                  </a:lnTo>
                  <a:lnTo>
                    <a:pt x="2322" y="1937"/>
                  </a:lnTo>
                  <a:lnTo>
                    <a:pt x="2318" y="1959"/>
                  </a:lnTo>
                  <a:lnTo>
                    <a:pt x="2322" y="1992"/>
                  </a:lnTo>
                  <a:lnTo>
                    <a:pt x="2263" y="2015"/>
                  </a:lnTo>
                  <a:lnTo>
                    <a:pt x="2247" y="2032"/>
                  </a:lnTo>
                  <a:lnTo>
                    <a:pt x="2247" y="2065"/>
                  </a:lnTo>
                  <a:lnTo>
                    <a:pt x="2171" y="2065"/>
                  </a:lnTo>
                  <a:lnTo>
                    <a:pt x="2176" y="2048"/>
                  </a:lnTo>
                  <a:lnTo>
                    <a:pt x="2171" y="2036"/>
                  </a:lnTo>
                  <a:lnTo>
                    <a:pt x="2162" y="2048"/>
                  </a:lnTo>
                  <a:lnTo>
                    <a:pt x="2171" y="2065"/>
                  </a:lnTo>
                  <a:lnTo>
                    <a:pt x="2162" y="2065"/>
                  </a:lnTo>
                  <a:lnTo>
                    <a:pt x="2107" y="2070"/>
                  </a:lnTo>
                  <a:lnTo>
                    <a:pt x="2138" y="2070"/>
                  </a:lnTo>
                  <a:lnTo>
                    <a:pt x="2117" y="2053"/>
                  </a:lnTo>
                  <a:lnTo>
                    <a:pt x="2091" y="2070"/>
                  </a:lnTo>
                  <a:lnTo>
                    <a:pt x="2086" y="2065"/>
                  </a:lnTo>
                  <a:lnTo>
                    <a:pt x="2063" y="2070"/>
                  </a:lnTo>
                  <a:lnTo>
                    <a:pt x="2063" y="2086"/>
                  </a:lnTo>
                  <a:lnTo>
                    <a:pt x="2070" y="2086"/>
                  </a:lnTo>
                  <a:lnTo>
                    <a:pt x="2070" y="2093"/>
                  </a:lnTo>
                  <a:lnTo>
                    <a:pt x="2048" y="2093"/>
                  </a:lnTo>
                  <a:lnTo>
                    <a:pt x="2032" y="2103"/>
                  </a:lnTo>
                  <a:lnTo>
                    <a:pt x="2011" y="2110"/>
                  </a:lnTo>
                  <a:lnTo>
                    <a:pt x="2011" y="2126"/>
                  </a:lnTo>
                  <a:lnTo>
                    <a:pt x="1978" y="2126"/>
                  </a:lnTo>
                  <a:lnTo>
                    <a:pt x="1956" y="2131"/>
                  </a:lnTo>
                  <a:lnTo>
                    <a:pt x="1961" y="2131"/>
                  </a:lnTo>
                  <a:lnTo>
                    <a:pt x="1944" y="2143"/>
                  </a:lnTo>
                  <a:lnTo>
                    <a:pt x="1940" y="2131"/>
                  </a:lnTo>
                  <a:lnTo>
                    <a:pt x="1940" y="2143"/>
                  </a:lnTo>
                  <a:lnTo>
                    <a:pt x="1822" y="2221"/>
                  </a:lnTo>
                  <a:lnTo>
                    <a:pt x="1836" y="2221"/>
                  </a:lnTo>
                  <a:lnTo>
                    <a:pt x="1831" y="2230"/>
                  </a:lnTo>
                  <a:lnTo>
                    <a:pt x="1815" y="2254"/>
                  </a:lnTo>
                  <a:lnTo>
                    <a:pt x="1815" y="2242"/>
                  </a:lnTo>
                  <a:lnTo>
                    <a:pt x="1815" y="2237"/>
                  </a:lnTo>
                  <a:lnTo>
                    <a:pt x="1798" y="2242"/>
                  </a:lnTo>
                  <a:lnTo>
                    <a:pt x="1793" y="2254"/>
                  </a:lnTo>
                  <a:lnTo>
                    <a:pt x="1777" y="2254"/>
                  </a:lnTo>
                  <a:lnTo>
                    <a:pt x="1798" y="2259"/>
                  </a:lnTo>
                  <a:lnTo>
                    <a:pt x="1793" y="2275"/>
                  </a:lnTo>
                  <a:lnTo>
                    <a:pt x="1777" y="2287"/>
                  </a:lnTo>
                  <a:lnTo>
                    <a:pt x="1784" y="2287"/>
                  </a:lnTo>
                  <a:lnTo>
                    <a:pt x="1784" y="2308"/>
                  </a:lnTo>
                  <a:lnTo>
                    <a:pt x="1777" y="2313"/>
                  </a:lnTo>
                  <a:lnTo>
                    <a:pt x="1767" y="2296"/>
                  </a:lnTo>
                  <a:lnTo>
                    <a:pt x="1777" y="2313"/>
                  </a:lnTo>
                  <a:lnTo>
                    <a:pt x="1784" y="2329"/>
                  </a:lnTo>
                  <a:lnTo>
                    <a:pt x="1777" y="2348"/>
                  </a:lnTo>
                  <a:lnTo>
                    <a:pt x="1784" y="2381"/>
                  </a:lnTo>
                  <a:lnTo>
                    <a:pt x="1793" y="2386"/>
                  </a:lnTo>
                  <a:lnTo>
                    <a:pt x="1784" y="2386"/>
                  </a:lnTo>
                  <a:lnTo>
                    <a:pt x="1784" y="2419"/>
                  </a:lnTo>
                  <a:lnTo>
                    <a:pt x="1784" y="2440"/>
                  </a:lnTo>
                  <a:lnTo>
                    <a:pt x="1777" y="2492"/>
                  </a:lnTo>
                  <a:lnTo>
                    <a:pt x="1767" y="2476"/>
                  </a:lnTo>
                  <a:lnTo>
                    <a:pt x="1777" y="2492"/>
                  </a:lnTo>
                  <a:lnTo>
                    <a:pt x="1730" y="2530"/>
                  </a:lnTo>
                  <a:lnTo>
                    <a:pt x="1706" y="2551"/>
                  </a:lnTo>
                  <a:lnTo>
                    <a:pt x="1685" y="2592"/>
                  </a:lnTo>
                  <a:lnTo>
                    <a:pt x="1668" y="2641"/>
                  </a:lnTo>
                  <a:lnTo>
                    <a:pt x="1637" y="2686"/>
                  </a:lnTo>
                  <a:lnTo>
                    <a:pt x="1583" y="2740"/>
                  </a:lnTo>
                  <a:lnTo>
                    <a:pt x="1550" y="2757"/>
                  </a:lnTo>
                  <a:lnTo>
                    <a:pt x="1545" y="2773"/>
                  </a:lnTo>
                  <a:lnTo>
                    <a:pt x="1545" y="2757"/>
                  </a:lnTo>
                  <a:lnTo>
                    <a:pt x="1533" y="2752"/>
                  </a:lnTo>
                  <a:lnTo>
                    <a:pt x="1562" y="2752"/>
                  </a:lnTo>
                  <a:lnTo>
                    <a:pt x="1588" y="2731"/>
                  </a:lnTo>
                  <a:lnTo>
                    <a:pt x="1600" y="2719"/>
                  </a:lnTo>
                  <a:lnTo>
                    <a:pt x="1604" y="2686"/>
                  </a:lnTo>
                  <a:lnTo>
                    <a:pt x="1621" y="2696"/>
                  </a:lnTo>
                  <a:lnTo>
                    <a:pt x="1621" y="2679"/>
                  </a:lnTo>
                  <a:lnTo>
                    <a:pt x="1637" y="2662"/>
                  </a:lnTo>
                  <a:lnTo>
                    <a:pt x="1637" y="2641"/>
                  </a:lnTo>
                  <a:lnTo>
                    <a:pt x="1642" y="2641"/>
                  </a:lnTo>
                  <a:lnTo>
                    <a:pt x="1654" y="2625"/>
                  </a:lnTo>
                  <a:lnTo>
                    <a:pt x="1642" y="2625"/>
                  </a:lnTo>
                  <a:lnTo>
                    <a:pt x="1637" y="2629"/>
                  </a:lnTo>
                  <a:lnTo>
                    <a:pt x="1621" y="2629"/>
                  </a:lnTo>
                  <a:lnTo>
                    <a:pt x="1621" y="2641"/>
                  </a:lnTo>
                  <a:lnTo>
                    <a:pt x="1616" y="2641"/>
                  </a:lnTo>
                  <a:lnTo>
                    <a:pt x="1616" y="2625"/>
                  </a:lnTo>
                  <a:lnTo>
                    <a:pt x="1604" y="2625"/>
                  </a:lnTo>
                  <a:lnTo>
                    <a:pt x="1600" y="2608"/>
                  </a:lnTo>
                  <a:lnTo>
                    <a:pt x="1600" y="2620"/>
                  </a:lnTo>
                  <a:lnTo>
                    <a:pt x="1604" y="2641"/>
                  </a:lnTo>
                  <a:lnTo>
                    <a:pt x="1600" y="2674"/>
                  </a:lnTo>
                  <a:lnTo>
                    <a:pt x="1588" y="2658"/>
                  </a:lnTo>
                  <a:lnTo>
                    <a:pt x="1583" y="2686"/>
                  </a:lnTo>
                  <a:lnTo>
                    <a:pt x="1550" y="2712"/>
                  </a:lnTo>
                  <a:lnTo>
                    <a:pt x="1545" y="2736"/>
                  </a:lnTo>
                  <a:lnTo>
                    <a:pt x="1529" y="2740"/>
                  </a:lnTo>
                  <a:lnTo>
                    <a:pt x="1533" y="2757"/>
                  </a:lnTo>
                  <a:lnTo>
                    <a:pt x="1529" y="2769"/>
                  </a:lnTo>
                  <a:lnTo>
                    <a:pt x="1533" y="2773"/>
                  </a:lnTo>
                  <a:lnTo>
                    <a:pt x="1524" y="2807"/>
                  </a:lnTo>
                  <a:lnTo>
                    <a:pt x="1496" y="2851"/>
                  </a:lnTo>
                  <a:lnTo>
                    <a:pt x="1453" y="2901"/>
                  </a:lnTo>
                  <a:lnTo>
                    <a:pt x="1437" y="2901"/>
                  </a:lnTo>
                  <a:lnTo>
                    <a:pt x="1437" y="2851"/>
                  </a:lnTo>
                  <a:lnTo>
                    <a:pt x="1470" y="2823"/>
                  </a:lnTo>
                  <a:lnTo>
                    <a:pt x="1437" y="2797"/>
                  </a:lnTo>
                  <a:lnTo>
                    <a:pt x="1415" y="2757"/>
                  </a:lnTo>
                  <a:lnTo>
                    <a:pt x="1382" y="2752"/>
                  </a:lnTo>
                  <a:lnTo>
                    <a:pt x="1366" y="2719"/>
                  </a:lnTo>
                  <a:lnTo>
                    <a:pt x="1319" y="2703"/>
                  </a:lnTo>
                  <a:lnTo>
                    <a:pt x="1297" y="2674"/>
                  </a:lnTo>
                  <a:lnTo>
                    <a:pt x="1276" y="2686"/>
                  </a:lnTo>
                  <a:lnTo>
                    <a:pt x="1264" y="2686"/>
                  </a:lnTo>
                  <a:lnTo>
                    <a:pt x="1264" y="2674"/>
                  </a:lnTo>
                  <a:lnTo>
                    <a:pt x="1210" y="2620"/>
                  </a:lnTo>
                  <a:lnTo>
                    <a:pt x="1189" y="2620"/>
                  </a:lnTo>
                  <a:lnTo>
                    <a:pt x="1184" y="2629"/>
                  </a:lnTo>
                  <a:lnTo>
                    <a:pt x="1156" y="2625"/>
                  </a:lnTo>
                  <a:lnTo>
                    <a:pt x="1151" y="2625"/>
                  </a:lnTo>
                  <a:lnTo>
                    <a:pt x="1172" y="2608"/>
                  </a:lnTo>
                  <a:lnTo>
                    <a:pt x="1172" y="2592"/>
                  </a:lnTo>
                  <a:lnTo>
                    <a:pt x="1189" y="2585"/>
                  </a:lnTo>
                  <a:lnTo>
                    <a:pt x="1222" y="2535"/>
                  </a:lnTo>
                  <a:lnTo>
                    <a:pt x="1238" y="2535"/>
                  </a:lnTo>
                  <a:lnTo>
                    <a:pt x="1243" y="2514"/>
                  </a:lnTo>
                  <a:lnTo>
                    <a:pt x="1276" y="2481"/>
                  </a:lnTo>
                  <a:lnTo>
                    <a:pt x="1290" y="2481"/>
                  </a:lnTo>
                  <a:lnTo>
                    <a:pt x="1290" y="2476"/>
                  </a:lnTo>
                  <a:lnTo>
                    <a:pt x="1281" y="2464"/>
                  </a:lnTo>
                  <a:lnTo>
                    <a:pt x="1307" y="2457"/>
                  </a:lnTo>
                  <a:lnTo>
                    <a:pt x="1314" y="2440"/>
                  </a:lnTo>
                  <a:lnTo>
                    <a:pt x="1335" y="2436"/>
                  </a:lnTo>
                  <a:lnTo>
                    <a:pt x="1352" y="2407"/>
                  </a:lnTo>
                  <a:lnTo>
                    <a:pt x="1382" y="2403"/>
                  </a:lnTo>
                  <a:lnTo>
                    <a:pt x="1420" y="2381"/>
                  </a:lnTo>
                  <a:lnTo>
                    <a:pt x="1427" y="2365"/>
                  </a:lnTo>
                  <a:lnTo>
                    <a:pt x="1427" y="2325"/>
                  </a:lnTo>
                  <a:lnTo>
                    <a:pt x="1427" y="2313"/>
                  </a:lnTo>
                  <a:lnTo>
                    <a:pt x="1420" y="2292"/>
                  </a:lnTo>
                  <a:lnTo>
                    <a:pt x="1415" y="2270"/>
                  </a:lnTo>
                  <a:lnTo>
                    <a:pt x="1399" y="2254"/>
                  </a:lnTo>
                  <a:lnTo>
                    <a:pt x="1373" y="2270"/>
                  </a:lnTo>
                  <a:lnTo>
                    <a:pt x="1366" y="2259"/>
                  </a:lnTo>
                  <a:lnTo>
                    <a:pt x="1361" y="2254"/>
                  </a:lnTo>
                  <a:lnTo>
                    <a:pt x="1373" y="2230"/>
                  </a:lnTo>
                  <a:lnTo>
                    <a:pt x="1373" y="2221"/>
                  </a:lnTo>
                  <a:lnTo>
                    <a:pt x="1389" y="2164"/>
                  </a:lnTo>
                  <a:lnTo>
                    <a:pt x="1382" y="2148"/>
                  </a:lnTo>
                  <a:lnTo>
                    <a:pt x="1389" y="2148"/>
                  </a:lnTo>
                  <a:lnTo>
                    <a:pt x="1361" y="2126"/>
                  </a:lnTo>
                  <a:lnTo>
                    <a:pt x="1335" y="2143"/>
                  </a:lnTo>
                  <a:lnTo>
                    <a:pt x="1307" y="2143"/>
                  </a:lnTo>
                  <a:lnTo>
                    <a:pt x="1290" y="2053"/>
                  </a:lnTo>
                  <a:lnTo>
                    <a:pt x="1290" y="2036"/>
                  </a:lnTo>
                  <a:lnTo>
                    <a:pt x="1276" y="2015"/>
                  </a:lnTo>
                  <a:lnTo>
                    <a:pt x="1252" y="2008"/>
                  </a:lnTo>
                  <a:lnTo>
                    <a:pt x="1238" y="1992"/>
                  </a:lnTo>
                  <a:lnTo>
                    <a:pt x="1222" y="2008"/>
                  </a:lnTo>
                  <a:lnTo>
                    <a:pt x="1205" y="2008"/>
                  </a:lnTo>
                  <a:lnTo>
                    <a:pt x="1130" y="1999"/>
                  </a:lnTo>
                  <a:lnTo>
                    <a:pt x="1130" y="1954"/>
                  </a:lnTo>
                  <a:lnTo>
                    <a:pt x="1134" y="1942"/>
                  </a:lnTo>
                  <a:lnTo>
                    <a:pt x="1134" y="1909"/>
                  </a:lnTo>
                  <a:lnTo>
                    <a:pt x="1113" y="1848"/>
                  </a:lnTo>
                  <a:lnTo>
                    <a:pt x="1134" y="1836"/>
                  </a:lnTo>
                  <a:lnTo>
                    <a:pt x="1118" y="1814"/>
                  </a:lnTo>
                  <a:lnTo>
                    <a:pt x="1146" y="1770"/>
                  </a:lnTo>
                  <a:lnTo>
                    <a:pt x="1146" y="1760"/>
                  </a:lnTo>
                  <a:lnTo>
                    <a:pt x="1156" y="1703"/>
                  </a:lnTo>
                  <a:lnTo>
                    <a:pt x="1146" y="1682"/>
                  </a:lnTo>
                  <a:lnTo>
                    <a:pt x="1146" y="1659"/>
                  </a:lnTo>
                  <a:lnTo>
                    <a:pt x="1096" y="1633"/>
                  </a:lnTo>
                  <a:lnTo>
                    <a:pt x="1092" y="1592"/>
                  </a:lnTo>
                  <a:lnTo>
                    <a:pt x="1101" y="1576"/>
                  </a:lnTo>
                  <a:lnTo>
                    <a:pt x="1101" y="1559"/>
                  </a:lnTo>
                  <a:lnTo>
                    <a:pt x="971" y="1559"/>
                  </a:lnTo>
                  <a:lnTo>
                    <a:pt x="967" y="1498"/>
                  </a:lnTo>
                  <a:lnTo>
                    <a:pt x="941" y="1477"/>
                  </a:lnTo>
                  <a:lnTo>
                    <a:pt x="967" y="1477"/>
                  </a:lnTo>
                  <a:lnTo>
                    <a:pt x="967" y="1437"/>
                  </a:lnTo>
                  <a:lnTo>
                    <a:pt x="950" y="1403"/>
                  </a:lnTo>
                  <a:lnTo>
                    <a:pt x="957" y="1394"/>
                  </a:lnTo>
                  <a:lnTo>
                    <a:pt x="950" y="1382"/>
                  </a:lnTo>
                  <a:lnTo>
                    <a:pt x="912" y="1354"/>
                  </a:lnTo>
                  <a:lnTo>
                    <a:pt x="858" y="1366"/>
                  </a:lnTo>
                  <a:lnTo>
                    <a:pt x="832" y="1333"/>
                  </a:lnTo>
                  <a:lnTo>
                    <a:pt x="820" y="1333"/>
                  </a:lnTo>
                  <a:lnTo>
                    <a:pt x="794" y="1316"/>
                  </a:lnTo>
                  <a:lnTo>
                    <a:pt x="789" y="1325"/>
                  </a:lnTo>
                  <a:lnTo>
                    <a:pt x="773" y="1309"/>
                  </a:lnTo>
                  <a:lnTo>
                    <a:pt x="773" y="1292"/>
                  </a:lnTo>
                  <a:lnTo>
                    <a:pt x="752" y="1300"/>
                  </a:lnTo>
                  <a:lnTo>
                    <a:pt x="723" y="1283"/>
                  </a:lnTo>
                  <a:lnTo>
                    <a:pt x="714" y="1283"/>
                  </a:lnTo>
                  <a:lnTo>
                    <a:pt x="681" y="1283"/>
                  </a:lnTo>
                  <a:lnTo>
                    <a:pt x="669" y="1259"/>
                  </a:lnTo>
                  <a:lnTo>
                    <a:pt x="648" y="1259"/>
                  </a:lnTo>
                  <a:lnTo>
                    <a:pt x="648" y="1243"/>
                  </a:lnTo>
                  <a:lnTo>
                    <a:pt x="631" y="1243"/>
                  </a:lnTo>
                  <a:lnTo>
                    <a:pt x="631" y="1226"/>
                  </a:lnTo>
                  <a:lnTo>
                    <a:pt x="617" y="1226"/>
                  </a:lnTo>
                  <a:lnTo>
                    <a:pt x="626" y="1222"/>
                  </a:lnTo>
                  <a:lnTo>
                    <a:pt x="610" y="1205"/>
                  </a:lnTo>
                  <a:lnTo>
                    <a:pt x="610" y="1188"/>
                  </a:lnTo>
                  <a:lnTo>
                    <a:pt x="610" y="1172"/>
                  </a:lnTo>
                  <a:lnTo>
                    <a:pt x="605" y="1132"/>
                  </a:lnTo>
                  <a:lnTo>
                    <a:pt x="610" y="1115"/>
                  </a:lnTo>
                  <a:lnTo>
                    <a:pt x="610" y="1077"/>
                  </a:lnTo>
                  <a:lnTo>
                    <a:pt x="593" y="1087"/>
                  </a:lnTo>
                  <a:lnTo>
                    <a:pt x="556" y="1087"/>
                  </a:lnTo>
                  <a:lnTo>
                    <a:pt x="518" y="1094"/>
                  </a:lnTo>
                  <a:lnTo>
                    <a:pt x="487" y="1115"/>
                  </a:lnTo>
                  <a:lnTo>
                    <a:pt x="471" y="1127"/>
                  </a:lnTo>
                  <a:lnTo>
                    <a:pt x="454" y="1132"/>
                  </a:lnTo>
                  <a:lnTo>
                    <a:pt x="442" y="1148"/>
                  </a:lnTo>
                  <a:lnTo>
                    <a:pt x="416" y="1148"/>
                  </a:lnTo>
                  <a:lnTo>
                    <a:pt x="400" y="1172"/>
                  </a:lnTo>
                  <a:lnTo>
                    <a:pt x="378" y="1181"/>
                  </a:lnTo>
                  <a:lnTo>
                    <a:pt x="374" y="1181"/>
                  </a:lnTo>
                  <a:lnTo>
                    <a:pt x="362" y="1172"/>
                  </a:lnTo>
                  <a:lnTo>
                    <a:pt x="319" y="1172"/>
                  </a:lnTo>
                  <a:lnTo>
                    <a:pt x="286" y="1165"/>
                  </a:lnTo>
                  <a:lnTo>
                    <a:pt x="265" y="1181"/>
                  </a:lnTo>
                  <a:lnTo>
                    <a:pt x="248" y="1165"/>
                  </a:lnTo>
                  <a:lnTo>
                    <a:pt x="237" y="1172"/>
                  </a:lnTo>
                  <a:lnTo>
                    <a:pt x="237" y="1087"/>
                  </a:lnTo>
                  <a:lnTo>
                    <a:pt x="248" y="1061"/>
                  </a:lnTo>
                  <a:lnTo>
                    <a:pt x="194" y="1106"/>
                  </a:lnTo>
                  <a:lnTo>
                    <a:pt x="130" y="1106"/>
                  </a:lnTo>
                  <a:lnTo>
                    <a:pt x="114" y="1061"/>
                  </a:lnTo>
                  <a:lnTo>
                    <a:pt x="55" y="1054"/>
                  </a:lnTo>
                  <a:lnTo>
                    <a:pt x="76" y="1037"/>
                  </a:lnTo>
                  <a:lnTo>
                    <a:pt x="76" y="1021"/>
                  </a:lnTo>
                  <a:lnTo>
                    <a:pt x="38" y="983"/>
                  </a:lnTo>
                  <a:lnTo>
                    <a:pt x="33" y="959"/>
                  </a:lnTo>
                  <a:lnTo>
                    <a:pt x="17" y="950"/>
                  </a:lnTo>
                  <a:lnTo>
                    <a:pt x="22" y="938"/>
                  </a:lnTo>
                  <a:lnTo>
                    <a:pt x="0" y="922"/>
                  </a:lnTo>
                  <a:lnTo>
                    <a:pt x="5" y="910"/>
                  </a:lnTo>
                  <a:lnTo>
                    <a:pt x="22" y="905"/>
                  </a:lnTo>
                  <a:lnTo>
                    <a:pt x="17" y="888"/>
                  </a:lnTo>
                  <a:lnTo>
                    <a:pt x="22" y="872"/>
                  </a:lnTo>
                  <a:lnTo>
                    <a:pt x="59" y="839"/>
                  </a:lnTo>
                  <a:lnTo>
                    <a:pt x="55" y="815"/>
                  </a:lnTo>
                  <a:lnTo>
                    <a:pt x="76" y="782"/>
                  </a:lnTo>
                  <a:lnTo>
                    <a:pt x="85" y="744"/>
                  </a:lnTo>
                  <a:lnTo>
                    <a:pt x="147" y="704"/>
                  </a:lnTo>
                  <a:lnTo>
                    <a:pt x="199" y="688"/>
                  </a:lnTo>
                  <a:lnTo>
                    <a:pt x="215" y="688"/>
                  </a:lnTo>
                  <a:lnTo>
                    <a:pt x="232" y="671"/>
                  </a:lnTo>
                  <a:lnTo>
                    <a:pt x="265" y="671"/>
                  </a:lnTo>
                  <a:lnTo>
                    <a:pt x="270" y="688"/>
                  </a:lnTo>
                  <a:lnTo>
                    <a:pt x="274" y="688"/>
                  </a:lnTo>
                  <a:lnTo>
                    <a:pt x="286" y="683"/>
                  </a:lnTo>
                  <a:lnTo>
                    <a:pt x="286" y="683"/>
                  </a:lnTo>
                  <a:lnTo>
                    <a:pt x="286" y="683"/>
                  </a:lnTo>
                  <a:close/>
                  <a:moveTo>
                    <a:pt x="1654" y="222"/>
                  </a:moveTo>
                  <a:lnTo>
                    <a:pt x="1659" y="222"/>
                  </a:lnTo>
                  <a:lnTo>
                    <a:pt x="1654" y="222"/>
                  </a:lnTo>
                  <a:lnTo>
                    <a:pt x="1654" y="222"/>
                  </a:lnTo>
                  <a:lnTo>
                    <a:pt x="1654" y="222"/>
                  </a:lnTo>
                  <a:close/>
                  <a:moveTo>
                    <a:pt x="1659" y="246"/>
                  </a:moveTo>
                  <a:lnTo>
                    <a:pt x="1654" y="229"/>
                  </a:lnTo>
                  <a:lnTo>
                    <a:pt x="1659" y="222"/>
                  </a:lnTo>
                  <a:lnTo>
                    <a:pt x="1668" y="239"/>
                  </a:lnTo>
                  <a:lnTo>
                    <a:pt x="1659" y="246"/>
                  </a:lnTo>
                  <a:lnTo>
                    <a:pt x="1659" y="246"/>
                  </a:lnTo>
                  <a:lnTo>
                    <a:pt x="1659" y="246"/>
                  </a:lnTo>
                  <a:close/>
                  <a:moveTo>
                    <a:pt x="1685" y="312"/>
                  </a:moveTo>
                  <a:lnTo>
                    <a:pt x="1692" y="300"/>
                  </a:lnTo>
                  <a:lnTo>
                    <a:pt x="1685" y="312"/>
                  </a:lnTo>
                  <a:lnTo>
                    <a:pt x="1685" y="312"/>
                  </a:lnTo>
                  <a:lnTo>
                    <a:pt x="1685" y="312"/>
                  </a:lnTo>
                  <a:close/>
                  <a:moveTo>
                    <a:pt x="1668" y="329"/>
                  </a:moveTo>
                  <a:lnTo>
                    <a:pt x="1675" y="317"/>
                  </a:lnTo>
                  <a:lnTo>
                    <a:pt x="1685" y="312"/>
                  </a:lnTo>
                  <a:lnTo>
                    <a:pt x="1685" y="317"/>
                  </a:lnTo>
                  <a:lnTo>
                    <a:pt x="1668" y="329"/>
                  </a:lnTo>
                  <a:lnTo>
                    <a:pt x="1668" y="329"/>
                  </a:lnTo>
                  <a:lnTo>
                    <a:pt x="1668" y="329"/>
                  </a:lnTo>
                  <a:close/>
                  <a:moveTo>
                    <a:pt x="1668" y="357"/>
                  </a:moveTo>
                  <a:lnTo>
                    <a:pt x="1668" y="338"/>
                  </a:lnTo>
                  <a:lnTo>
                    <a:pt x="1685" y="333"/>
                  </a:lnTo>
                  <a:lnTo>
                    <a:pt x="1685" y="338"/>
                  </a:lnTo>
                  <a:lnTo>
                    <a:pt x="1668" y="357"/>
                  </a:lnTo>
                  <a:lnTo>
                    <a:pt x="1668" y="357"/>
                  </a:lnTo>
                  <a:lnTo>
                    <a:pt x="1668" y="357"/>
                  </a:lnTo>
                  <a:close/>
                  <a:moveTo>
                    <a:pt x="1654" y="366"/>
                  </a:moveTo>
                  <a:lnTo>
                    <a:pt x="1659" y="333"/>
                  </a:lnTo>
                  <a:lnTo>
                    <a:pt x="1668" y="357"/>
                  </a:lnTo>
                  <a:lnTo>
                    <a:pt x="1654" y="366"/>
                  </a:lnTo>
                  <a:lnTo>
                    <a:pt x="1654" y="366"/>
                  </a:lnTo>
                  <a:lnTo>
                    <a:pt x="1654" y="366"/>
                  </a:lnTo>
                  <a:close/>
                  <a:moveTo>
                    <a:pt x="1685" y="383"/>
                  </a:moveTo>
                  <a:lnTo>
                    <a:pt x="1659" y="374"/>
                  </a:lnTo>
                  <a:lnTo>
                    <a:pt x="1659" y="366"/>
                  </a:lnTo>
                  <a:lnTo>
                    <a:pt x="1706" y="357"/>
                  </a:lnTo>
                  <a:lnTo>
                    <a:pt x="1713" y="366"/>
                  </a:lnTo>
                  <a:lnTo>
                    <a:pt x="1685" y="383"/>
                  </a:lnTo>
                  <a:lnTo>
                    <a:pt x="1685" y="383"/>
                  </a:lnTo>
                  <a:lnTo>
                    <a:pt x="1685" y="383"/>
                  </a:lnTo>
                  <a:close/>
                  <a:moveTo>
                    <a:pt x="1654" y="383"/>
                  </a:moveTo>
                  <a:lnTo>
                    <a:pt x="1642" y="366"/>
                  </a:lnTo>
                  <a:lnTo>
                    <a:pt x="1654" y="366"/>
                  </a:lnTo>
                  <a:lnTo>
                    <a:pt x="1654" y="383"/>
                  </a:lnTo>
                  <a:lnTo>
                    <a:pt x="1654" y="383"/>
                  </a:lnTo>
                  <a:lnTo>
                    <a:pt x="1654" y="383"/>
                  </a:lnTo>
                  <a:close/>
                  <a:moveTo>
                    <a:pt x="1730" y="383"/>
                  </a:moveTo>
                  <a:lnTo>
                    <a:pt x="1730" y="390"/>
                  </a:lnTo>
                  <a:lnTo>
                    <a:pt x="1722" y="390"/>
                  </a:lnTo>
                  <a:lnTo>
                    <a:pt x="1706" y="390"/>
                  </a:lnTo>
                  <a:lnTo>
                    <a:pt x="1696" y="383"/>
                  </a:lnTo>
                  <a:lnTo>
                    <a:pt x="1713" y="374"/>
                  </a:lnTo>
                  <a:lnTo>
                    <a:pt x="1730" y="383"/>
                  </a:lnTo>
                  <a:lnTo>
                    <a:pt x="1730" y="383"/>
                  </a:lnTo>
                  <a:lnTo>
                    <a:pt x="1730" y="383"/>
                  </a:lnTo>
                  <a:close/>
                  <a:moveTo>
                    <a:pt x="1621" y="383"/>
                  </a:moveTo>
                  <a:lnTo>
                    <a:pt x="1630" y="374"/>
                  </a:lnTo>
                  <a:lnTo>
                    <a:pt x="1637" y="374"/>
                  </a:lnTo>
                  <a:lnTo>
                    <a:pt x="1621" y="383"/>
                  </a:lnTo>
                  <a:lnTo>
                    <a:pt x="1621" y="383"/>
                  </a:lnTo>
                  <a:lnTo>
                    <a:pt x="1621" y="383"/>
                  </a:lnTo>
                  <a:close/>
                  <a:moveTo>
                    <a:pt x="1630" y="395"/>
                  </a:moveTo>
                  <a:lnTo>
                    <a:pt x="1616" y="395"/>
                  </a:lnTo>
                  <a:lnTo>
                    <a:pt x="1621" y="383"/>
                  </a:lnTo>
                  <a:lnTo>
                    <a:pt x="1637" y="383"/>
                  </a:lnTo>
                  <a:lnTo>
                    <a:pt x="1642" y="383"/>
                  </a:lnTo>
                  <a:lnTo>
                    <a:pt x="1630" y="395"/>
                  </a:lnTo>
                  <a:lnTo>
                    <a:pt x="1630" y="395"/>
                  </a:lnTo>
                  <a:lnTo>
                    <a:pt x="1630" y="395"/>
                  </a:lnTo>
                  <a:close/>
                  <a:moveTo>
                    <a:pt x="1630" y="485"/>
                  </a:moveTo>
                  <a:lnTo>
                    <a:pt x="1630" y="461"/>
                  </a:lnTo>
                  <a:lnTo>
                    <a:pt x="1642" y="449"/>
                  </a:lnTo>
                  <a:lnTo>
                    <a:pt x="1630" y="449"/>
                  </a:lnTo>
                  <a:lnTo>
                    <a:pt x="1630" y="428"/>
                  </a:lnTo>
                  <a:lnTo>
                    <a:pt x="1637" y="423"/>
                  </a:lnTo>
                  <a:lnTo>
                    <a:pt x="1654" y="428"/>
                  </a:lnTo>
                  <a:lnTo>
                    <a:pt x="1637" y="423"/>
                  </a:lnTo>
                  <a:lnTo>
                    <a:pt x="1637" y="411"/>
                  </a:lnTo>
                  <a:lnTo>
                    <a:pt x="1637" y="395"/>
                  </a:lnTo>
                  <a:lnTo>
                    <a:pt x="1654" y="390"/>
                  </a:lnTo>
                  <a:lnTo>
                    <a:pt x="1659" y="390"/>
                  </a:lnTo>
                  <a:lnTo>
                    <a:pt x="1713" y="395"/>
                  </a:lnTo>
                  <a:lnTo>
                    <a:pt x="1744" y="390"/>
                  </a:lnTo>
                  <a:lnTo>
                    <a:pt x="1798" y="395"/>
                  </a:lnTo>
                  <a:lnTo>
                    <a:pt x="1793" y="444"/>
                  </a:lnTo>
                  <a:lnTo>
                    <a:pt x="1760" y="485"/>
                  </a:lnTo>
                  <a:lnTo>
                    <a:pt x="1744" y="494"/>
                  </a:lnTo>
                  <a:lnTo>
                    <a:pt x="1722" y="494"/>
                  </a:lnTo>
                  <a:lnTo>
                    <a:pt x="1706" y="506"/>
                  </a:lnTo>
                  <a:lnTo>
                    <a:pt x="1706" y="494"/>
                  </a:lnTo>
                  <a:lnTo>
                    <a:pt x="1696" y="506"/>
                  </a:lnTo>
                  <a:lnTo>
                    <a:pt x="1685" y="501"/>
                  </a:lnTo>
                  <a:lnTo>
                    <a:pt x="1659" y="506"/>
                  </a:lnTo>
                  <a:lnTo>
                    <a:pt x="1642" y="506"/>
                  </a:lnTo>
                  <a:lnTo>
                    <a:pt x="1630" y="485"/>
                  </a:lnTo>
                  <a:lnTo>
                    <a:pt x="1630" y="485"/>
                  </a:lnTo>
                  <a:lnTo>
                    <a:pt x="1630" y="485"/>
                  </a:lnTo>
                  <a:close/>
                  <a:moveTo>
                    <a:pt x="1588" y="411"/>
                  </a:moveTo>
                  <a:lnTo>
                    <a:pt x="1600" y="390"/>
                  </a:lnTo>
                  <a:lnTo>
                    <a:pt x="1604" y="390"/>
                  </a:lnTo>
                  <a:lnTo>
                    <a:pt x="1604" y="395"/>
                  </a:lnTo>
                  <a:lnTo>
                    <a:pt x="1588" y="411"/>
                  </a:lnTo>
                  <a:lnTo>
                    <a:pt x="1588" y="411"/>
                  </a:lnTo>
                  <a:lnTo>
                    <a:pt x="1588" y="411"/>
                  </a:lnTo>
                  <a:close/>
                  <a:moveTo>
                    <a:pt x="1630" y="407"/>
                  </a:moveTo>
                  <a:lnTo>
                    <a:pt x="1621" y="407"/>
                  </a:lnTo>
                  <a:lnTo>
                    <a:pt x="1637" y="395"/>
                  </a:lnTo>
                  <a:lnTo>
                    <a:pt x="1630" y="407"/>
                  </a:lnTo>
                  <a:lnTo>
                    <a:pt x="1630" y="407"/>
                  </a:lnTo>
                  <a:lnTo>
                    <a:pt x="1630" y="407"/>
                  </a:lnTo>
                  <a:close/>
                  <a:moveTo>
                    <a:pt x="1604" y="423"/>
                  </a:moveTo>
                  <a:lnTo>
                    <a:pt x="1604" y="407"/>
                  </a:lnTo>
                  <a:lnTo>
                    <a:pt x="1616" y="395"/>
                  </a:lnTo>
                  <a:lnTo>
                    <a:pt x="1621" y="407"/>
                  </a:lnTo>
                  <a:lnTo>
                    <a:pt x="1604" y="423"/>
                  </a:lnTo>
                  <a:lnTo>
                    <a:pt x="1604" y="423"/>
                  </a:lnTo>
                  <a:lnTo>
                    <a:pt x="1604" y="423"/>
                  </a:lnTo>
                  <a:close/>
                  <a:moveTo>
                    <a:pt x="1621" y="423"/>
                  </a:moveTo>
                  <a:lnTo>
                    <a:pt x="1621" y="407"/>
                  </a:lnTo>
                  <a:lnTo>
                    <a:pt x="1630" y="407"/>
                  </a:lnTo>
                  <a:lnTo>
                    <a:pt x="1630" y="411"/>
                  </a:lnTo>
                  <a:lnTo>
                    <a:pt x="1621" y="423"/>
                  </a:lnTo>
                  <a:lnTo>
                    <a:pt x="1621" y="423"/>
                  </a:lnTo>
                  <a:lnTo>
                    <a:pt x="1621" y="423"/>
                  </a:lnTo>
                  <a:close/>
                  <a:moveTo>
                    <a:pt x="1550" y="485"/>
                  </a:moveTo>
                  <a:lnTo>
                    <a:pt x="1550" y="461"/>
                  </a:lnTo>
                  <a:lnTo>
                    <a:pt x="1567" y="449"/>
                  </a:lnTo>
                  <a:lnTo>
                    <a:pt x="1578" y="428"/>
                  </a:lnTo>
                  <a:lnTo>
                    <a:pt x="1588" y="423"/>
                  </a:lnTo>
                  <a:lnTo>
                    <a:pt x="1604" y="411"/>
                  </a:lnTo>
                  <a:lnTo>
                    <a:pt x="1604" y="428"/>
                  </a:lnTo>
                  <a:lnTo>
                    <a:pt x="1600" y="449"/>
                  </a:lnTo>
                  <a:lnTo>
                    <a:pt x="1583" y="468"/>
                  </a:lnTo>
                  <a:lnTo>
                    <a:pt x="1550" y="485"/>
                  </a:lnTo>
                  <a:lnTo>
                    <a:pt x="1550" y="485"/>
                  </a:lnTo>
                  <a:lnTo>
                    <a:pt x="1550" y="485"/>
                  </a:lnTo>
                  <a:close/>
                  <a:moveTo>
                    <a:pt x="1604" y="444"/>
                  </a:moveTo>
                  <a:lnTo>
                    <a:pt x="1616" y="428"/>
                  </a:lnTo>
                  <a:lnTo>
                    <a:pt x="1630" y="423"/>
                  </a:lnTo>
                  <a:lnTo>
                    <a:pt x="1630" y="428"/>
                  </a:lnTo>
                  <a:lnTo>
                    <a:pt x="1604" y="444"/>
                  </a:lnTo>
                  <a:lnTo>
                    <a:pt x="1604" y="444"/>
                  </a:lnTo>
                  <a:lnTo>
                    <a:pt x="1604" y="444"/>
                  </a:lnTo>
                  <a:close/>
                  <a:moveTo>
                    <a:pt x="1831" y="428"/>
                  </a:moveTo>
                  <a:lnTo>
                    <a:pt x="1831" y="423"/>
                  </a:lnTo>
                  <a:lnTo>
                    <a:pt x="1836" y="428"/>
                  </a:lnTo>
                  <a:lnTo>
                    <a:pt x="1831" y="428"/>
                  </a:lnTo>
                  <a:lnTo>
                    <a:pt x="1831" y="428"/>
                  </a:lnTo>
                  <a:lnTo>
                    <a:pt x="1831" y="428"/>
                  </a:lnTo>
                  <a:close/>
                  <a:moveTo>
                    <a:pt x="1621" y="440"/>
                  </a:moveTo>
                  <a:lnTo>
                    <a:pt x="1621" y="428"/>
                  </a:lnTo>
                  <a:lnTo>
                    <a:pt x="1630" y="428"/>
                  </a:lnTo>
                  <a:lnTo>
                    <a:pt x="1621" y="440"/>
                  </a:lnTo>
                  <a:lnTo>
                    <a:pt x="1621" y="440"/>
                  </a:lnTo>
                  <a:lnTo>
                    <a:pt x="1621" y="440"/>
                  </a:lnTo>
                  <a:close/>
                  <a:moveTo>
                    <a:pt x="1588" y="468"/>
                  </a:moveTo>
                  <a:lnTo>
                    <a:pt x="1604" y="440"/>
                  </a:lnTo>
                  <a:lnTo>
                    <a:pt x="1600" y="461"/>
                  </a:lnTo>
                  <a:lnTo>
                    <a:pt x="1588" y="468"/>
                  </a:lnTo>
                  <a:lnTo>
                    <a:pt x="1588" y="468"/>
                  </a:lnTo>
                  <a:lnTo>
                    <a:pt x="1588" y="468"/>
                  </a:lnTo>
                  <a:close/>
                  <a:moveTo>
                    <a:pt x="1928" y="449"/>
                  </a:moveTo>
                  <a:lnTo>
                    <a:pt x="1940" y="444"/>
                  </a:lnTo>
                  <a:lnTo>
                    <a:pt x="1940" y="449"/>
                  </a:lnTo>
                  <a:lnTo>
                    <a:pt x="1928" y="449"/>
                  </a:lnTo>
                  <a:lnTo>
                    <a:pt x="1928" y="449"/>
                  </a:lnTo>
                  <a:lnTo>
                    <a:pt x="1928" y="449"/>
                  </a:lnTo>
                  <a:close/>
                  <a:moveTo>
                    <a:pt x="1798" y="468"/>
                  </a:moveTo>
                  <a:lnTo>
                    <a:pt x="1793" y="461"/>
                  </a:lnTo>
                  <a:lnTo>
                    <a:pt x="1798" y="449"/>
                  </a:lnTo>
                  <a:lnTo>
                    <a:pt x="1805" y="449"/>
                  </a:lnTo>
                  <a:lnTo>
                    <a:pt x="1798" y="468"/>
                  </a:lnTo>
                  <a:lnTo>
                    <a:pt x="1798" y="468"/>
                  </a:lnTo>
                  <a:lnTo>
                    <a:pt x="1798" y="468"/>
                  </a:lnTo>
                  <a:close/>
                  <a:moveTo>
                    <a:pt x="2037" y="477"/>
                  </a:moveTo>
                  <a:lnTo>
                    <a:pt x="2037" y="468"/>
                  </a:lnTo>
                  <a:lnTo>
                    <a:pt x="2048" y="468"/>
                  </a:lnTo>
                  <a:lnTo>
                    <a:pt x="2037" y="477"/>
                  </a:lnTo>
                  <a:lnTo>
                    <a:pt x="2037" y="477"/>
                  </a:lnTo>
                  <a:lnTo>
                    <a:pt x="2037" y="477"/>
                  </a:lnTo>
                  <a:close/>
                  <a:moveTo>
                    <a:pt x="1512" y="485"/>
                  </a:moveTo>
                  <a:lnTo>
                    <a:pt x="1533" y="477"/>
                  </a:lnTo>
                  <a:lnTo>
                    <a:pt x="1512" y="485"/>
                  </a:lnTo>
                  <a:lnTo>
                    <a:pt x="1512" y="485"/>
                  </a:lnTo>
                  <a:lnTo>
                    <a:pt x="1512" y="485"/>
                  </a:lnTo>
                  <a:close/>
                  <a:moveTo>
                    <a:pt x="1529" y="501"/>
                  </a:moveTo>
                  <a:lnTo>
                    <a:pt x="1533" y="485"/>
                  </a:lnTo>
                  <a:lnTo>
                    <a:pt x="1545" y="485"/>
                  </a:lnTo>
                  <a:lnTo>
                    <a:pt x="1550" y="485"/>
                  </a:lnTo>
                  <a:lnTo>
                    <a:pt x="1529" y="501"/>
                  </a:lnTo>
                  <a:lnTo>
                    <a:pt x="1529" y="501"/>
                  </a:lnTo>
                  <a:lnTo>
                    <a:pt x="1529" y="501"/>
                  </a:lnTo>
                  <a:close/>
                  <a:moveTo>
                    <a:pt x="2053" y="501"/>
                  </a:moveTo>
                  <a:lnTo>
                    <a:pt x="2063" y="494"/>
                  </a:lnTo>
                  <a:lnTo>
                    <a:pt x="2063" y="501"/>
                  </a:lnTo>
                  <a:lnTo>
                    <a:pt x="2053" y="501"/>
                  </a:lnTo>
                  <a:lnTo>
                    <a:pt x="2053" y="501"/>
                  </a:lnTo>
                  <a:lnTo>
                    <a:pt x="2053" y="501"/>
                  </a:lnTo>
                  <a:close/>
                  <a:moveTo>
                    <a:pt x="1760" y="506"/>
                  </a:moveTo>
                  <a:lnTo>
                    <a:pt x="1751" y="501"/>
                  </a:lnTo>
                  <a:lnTo>
                    <a:pt x="1760" y="494"/>
                  </a:lnTo>
                  <a:lnTo>
                    <a:pt x="1760" y="506"/>
                  </a:lnTo>
                  <a:lnTo>
                    <a:pt x="1760" y="506"/>
                  </a:lnTo>
                  <a:lnTo>
                    <a:pt x="1760" y="506"/>
                  </a:lnTo>
                  <a:close/>
                  <a:moveTo>
                    <a:pt x="1744" y="518"/>
                  </a:moveTo>
                  <a:lnTo>
                    <a:pt x="1751" y="501"/>
                  </a:lnTo>
                  <a:lnTo>
                    <a:pt x="1751" y="506"/>
                  </a:lnTo>
                  <a:lnTo>
                    <a:pt x="1744" y="518"/>
                  </a:lnTo>
                  <a:lnTo>
                    <a:pt x="1744" y="518"/>
                  </a:lnTo>
                  <a:lnTo>
                    <a:pt x="1744" y="518"/>
                  </a:lnTo>
                  <a:close/>
                  <a:moveTo>
                    <a:pt x="1630" y="522"/>
                  </a:moveTo>
                  <a:lnTo>
                    <a:pt x="1616" y="522"/>
                  </a:lnTo>
                  <a:lnTo>
                    <a:pt x="1604" y="506"/>
                  </a:lnTo>
                  <a:lnTo>
                    <a:pt x="1630" y="518"/>
                  </a:lnTo>
                  <a:lnTo>
                    <a:pt x="1630" y="522"/>
                  </a:lnTo>
                  <a:lnTo>
                    <a:pt x="1630" y="522"/>
                  </a:lnTo>
                  <a:lnTo>
                    <a:pt x="1630" y="522"/>
                  </a:lnTo>
                  <a:close/>
                  <a:moveTo>
                    <a:pt x="2247" y="577"/>
                  </a:moveTo>
                  <a:lnTo>
                    <a:pt x="2237" y="572"/>
                  </a:lnTo>
                  <a:lnTo>
                    <a:pt x="2247" y="572"/>
                  </a:lnTo>
                  <a:lnTo>
                    <a:pt x="2247" y="577"/>
                  </a:lnTo>
                  <a:lnTo>
                    <a:pt x="2247" y="577"/>
                  </a:lnTo>
                  <a:lnTo>
                    <a:pt x="2247" y="577"/>
                  </a:lnTo>
                  <a:close/>
                  <a:moveTo>
                    <a:pt x="2070" y="596"/>
                  </a:moveTo>
                  <a:lnTo>
                    <a:pt x="2070" y="577"/>
                  </a:lnTo>
                  <a:lnTo>
                    <a:pt x="2074" y="572"/>
                  </a:lnTo>
                  <a:lnTo>
                    <a:pt x="2070" y="589"/>
                  </a:lnTo>
                  <a:lnTo>
                    <a:pt x="2070" y="596"/>
                  </a:lnTo>
                  <a:lnTo>
                    <a:pt x="2070" y="596"/>
                  </a:lnTo>
                  <a:lnTo>
                    <a:pt x="2070" y="596"/>
                  </a:lnTo>
                  <a:close/>
                  <a:moveTo>
                    <a:pt x="2469" y="1333"/>
                  </a:moveTo>
                  <a:lnTo>
                    <a:pt x="2485" y="1309"/>
                  </a:lnTo>
                  <a:lnTo>
                    <a:pt x="2485" y="1316"/>
                  </a:lnTo>
                  <a:lnTo>
                    <a:pt x="2469" y="1333"/>
                  </a:lnTo>
                  <a:lnTo>
                    <a:pt x="2469" y="1333"/>
                  </a:lnTo>
                  <a:lnTo>
                    <a:pt x="2469" y="1333"/>
                  </a:lnTo>
                  <a:close/>
                  <a:moveTo>
                    <a:pt x="2464" y="1366"/>
                  </a:moveTo>
                  <a:lnTo>
                    <a:pt x="2452" y="1349"/>
                  </a:lnTo>
                  <a:lnTo>
                    <a:pt x="2464" y="1349"/>
                  </a:lnTo>
                  <a:lnTo>
                    <a:pt x="2464" y="1366"/>
                  </a:lnTo>
                  <a:lnTo>
                    <a:pt x="2464" y="1366"/>
                  </a:lnTo>
                  <a:lnTo>
                    <a:pt x="2464" y="1366"/>
                  </a:lnTo>
                  <a:close/>
                  <a:moveTo>
                    <a:pt x="2464" y="1370"/>
                  </a:moveTo>
                  <a:lnTo>
                    <a:pt x="2464" y="1366"/>
                  </a:lnTo>
                  <a:lnTo>
                    <a:pt x="2464" y="1370"/>
                  </a:lnTo>
                  <a:lnTo>
                    <a:pt x="2464" y="1370"/>
                  </a:lnTo>
                  <a:lnTo>
                    <a:pt x="2464" y="1370"/>
                  </a:lnTo>
                  <a:close/>
                  <a:moveTo>
                    <a:pt x="2086" y="2086"/>
                  </a:moveTo>
                  <a:lnTo>
                    <a:pt x="2086" y="2074"/>
                  </a:lnTo>
                  <a:lnTo>
                    <a:pt x="2091" y="2070"/>
                  </a:lnTo>
                  <a:lnTo>
                    <a:pt x="2100" y="2074"/>
                  </a:lnTo>
                  <a:lnTo>
                    <a:pt x="2086" y="2086"/>
                  </a:lnTo>
                  <a:lnTo>
                    <a:pt x="2086" y="2086"/>
                  </a:lnTo>
                  <a:lnTo>
                    <a:pt x="2086" y="2086"/>
                  </a:lnTo>
                  <a:close/>
                  <a:moveTo>
                    <a:pt x="2020" y="2143"/>
                  </a:moveTo>
                  <a:lnTo>
                    <a:pt x="2011" y="2131"/>
                  </a:lnTo>
                  <a:lnTo>
                    <a:pt x="2015" y="2119"/>
                  </a:lnTo>
                  <a:lnTo>
                    <a:pt x="2020" y="2126"/>
                  </a:lnTo>
                  <a:lnTo>
                    <a:pt x="2020" y="2143"/>
                  </a:lnTo>
                  <a:lnTo>
                    <a:pt x="2020" y="2143"/>
                  </a:lnTo>
                  <a:lnTo>
                    <a:pt x="2020" y="2143"/>
                  </a:lnTo>
                  <a:close/>
                  <a:moveTo>
                    <a:pt x="1836" y="2221"/>
                  </a:moveTo>
                  <a:lnTo>
                    <a:pt x="1836" y="2214"/>
                  </a:lnTo>
                  <a:lnTo>
                    <a:pt x="1852" y="2202"/>
                  </a:lnTo>
                  <a:lnTo>
                    <a:pt x="1836" y="2221"/>
                  </a:lnTo>
                  <a:lnTo>
                    <a:pt x="1836" y="2221"/>
                  </a:lnTo>
                  <a:lnTo>
                    <a:pt x="1836" y="2221"/>
                  </a:lnTo>
                  <a:close/>
                  <a:moveTo>
                    <a:pt x="1805" y="2254"/>
                  </a:moveTo>
                  <a:lnTo>
                    <a:pt x="1805" y="2242"/>
                  </a:lnTo>
                  <a:lnTo>
                    <a:pt x="1805" y="2254"/>
                  </a:lnTo>
                  <a:lnTo>
                    <a:pt x="1805" y="2254"/>
                  </a:lnTo>
                  <a:lnTo>
                    <a:pt x="1805" y="2254"/>
                  </a:lnTo>
                  <a:close/>
                  <a:moveTo>
                    <a:pt x="1784" y="2329"/>
                  </a:moveTo>
                  <a:lnTo>
                    <a:pt x="1777" y="2313"/>
                  </a:lnTo>
                  <a:lnTo>
                    <a:pt x="1793" y="2308"/>
                  </a:lnTo>
                  <a:lnTo>
                    <a:pt x="1793" y="2313"/>
                  </a:lnTo>
                  <a:lnTo>
                    <a:pt x="1784" y="2329"/>
                  </a:lnTo>
                  <a:lnTo>
                    <a:pt x="1784" y="2329"/>
                  </a:lnTo>
                  <a:lnTo>
                    <a:pt x="1784" y="2329"/>
                  </a:lnTo>
                  <a:close/>
                  <a:moveTo>
                    <a:pt x="1793" y="2436"/>
                  </a:moveTo>
                  <a:lnTo>
                    <a:pt x="1793" y="2403"/>
                  </a:lnTo>
                  <a:lnTo>
                    <a:pt x="1798" y="2403"/>
                  </a:lnTo>
                  <a:lnTo>
                    <a:pt x="1798" y="2419"/>
                  </a:lnTo>
                  <a:lnTo>
                    <a:pt x="1793" y="2436"/>
                  </a:lnTo>
                  <a:lnTo>
                    <a:pt x="1793" y="2436"/>
                  </a:lnTo>
                  <a:lnTo>
                    <a:pt x="1793" y="243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7" name="Freeform 415">
              <a:extLst>
                <a:ext uri="{FF2B5EF4-FFF2-40B4-BE49-F238E27FC236}">
                  <a16:creationId xmlns:a16="http://schemas.microsoft.com/office/drawing/2014/main" id="{B41ED2FD-8DCC-4D94-BC86-B7B36DD577BB}"/>
                </a:ext>
              </a:extLst>
            </p:cNvPr>
            <p:cNvSpPr>
              <a:spLocks noEditPoints="1"/>
            </p:cNvSpPr>
            <p:nvPr/>
          </p:nvSpPr>
          <p:spPr bwMode="gray">
            <a:xfrm>
              <a:off x="3566668" y="4588765"/>
              <a:ext cx="1242009" cy="1335195"/>
            </a:xfrm>
            <a:custGeom>
              <a:avLst/>
              <a:gdLst>
                <a:gd name="T0" fmla="*/ 2915 w 3017"/>
                <a:gd name="T1" fmla="*/ 404 h 3243"/>
                <a:gd name="T2" fmla="*/ 2736 w 3017"/>
                <a:gd name="T3" fmla="*/ 1103 h 3243"/>
                <a:gd name="T4" fmla="*/ 2698 w 3017"/>
                <a:gd name="T5" fmla="*/ 1609 h 3243"/>
                <a:gd name="T6" fmla="*/ 2643 w 3017"/>
                <a:gd name="T7" fmla="*/ 2086 h 3243"/>
                <a:gd name="T8" fmla="*/ 2596 w 3017"/>
                <a:gd name="T9" fmla="*/ 2490 h 3243"/>
                <a:gd name="T10" fmla="*/ 2811 w 3017"/>
                <a:gd name="T11" fmla="*/ 2877 h 3243"/>
                <a:gd name="T12" fmla="*/ 2651 w 3017"/>
                <a:gd name="T13" fmla="*/ 2939 h 3243"/>
                <a:gd name="T14" fmla="*/ 2596 w 3017"/>
                <a:gd name="T15" fmla="*/ 2917 h 3243"/>
                <a:gd name="T16" fmla="*/ 2551 w 3017"/>
                <a:gd name="T17" fmla="*/ 2877 h 3243"/>
                <a:gd name="T18" fmla="*/ 2537 w 3017"/>
                <a:gd name="T19" fmla="*/ 2872 h 3243"/>
                <a:gd name="T20" fmla="*/ 2466 w 3017"/>
                <a:gd name="T21" fmla="*/ 2712 h 3243"/>
                <a:gd name="T22" fmla="*/ 2483 w 3017"/>
                <a:gd name="T23" fmla="*/ 2580 h 3243"/>
                <a:gd name="T24" fmla="*/ 2504 w 3017"/>
                <a:gd name="T25" fmla="*/ 2457 h 3243"/>
                <a:gd name="T26" fmla="*/ 2407 w 3017"/>
                <a:gd name="T27" fmla="*/ 2358 h 3243"/>
                <a:gd name="T28" fmla="*/ 2483 w 3017"/>
                <a:gd name="T29" fmla="*/ 2346 h 3243"/>
                <a:gd name="T30" fmla="*/ 2542 w 3017"/>
                <a:gd name="T31" fmla="*/ 2069 h 3243"/>
                <a:gd name="T32" fmla="*/ 2483 w 3017"/>
                <a:gd name="T33" fmla="*/ 1857 h 3243"/>
                <a:gd name="T34" fmla="*/ 2665 w 3017"/>
                <a:gd name="T35" fmla="*/ 1165 h 3243"/>
                <a:gd name="T36" fmla="*/ 2736 w 3017"/>
                <a:gd name="T37" fmla="*/ 421 h 3243"/>
                <a:gd name="T38" fmla="*/ 2462 w 3017"/>
                <a:gd name="T39" fmla="*/ 2053 h 3243"/>
                <a:gd name="T40" fmla="*/ 2513 w 3017"/>
                <a:gd name="T41" fmla="*/ 2029 h 3243"/>
                <a:gd name="T42" fmla="*/ 2445 w 3017"/>
                <a:gd name="T43" fmla="*/ 2086 h 3243"/>
                <a:gd name="T44" fmla="*/ 2483 w 3017"/>
                <a:gd name="T45" fmla="*/ 2135 h 3243"/>
                <a:gd name="T46" fmla="*/ 2499 w 3017"/>
                <a:gd name="T47" fmla="*/ 2152 h 3243"/>
                <a:gd name="T48" fmla="*/ 2537 w 3017"/>
                <a:gd name="T49" fmla="*/ 2173 h 3243"/>
                <a:gd name="T50" fmla="*/ 2483 w 3017"/>
                <a:gd name="T51" fmla="*/ 2173 h 3243"/>
                <a:gd name="T52" fmla="*/ 2466 w 3017"/>
                <a:gd name="T53" fmla="*/ 2190 h 3243"/>
                <a:gd name="T54" fmla="*/ 2483 w 3017"/>
                <a:gd name="T55" fmla="*/ 2197 h 3243"/>
                <a:gd name="T56" fmla="*/ 2504 w 3017"/>
                <a:gd name="T57" fmla="*/ 2235 h 3243"/>
                <a:gd name="T58" fmla="*/ 2450 w 3017"/>
                <a:gd name="T59" fmla="*/ 2263 h 3243"/>
                <a:gd name="T60" fmla="*/ 2450 w 3017"/>
                <a:gd name="T61" fmla="*/ 2272 h 3243"/>
                <a:gd name="T62" fmla="*/ 2488 w 3017"/>
                <a:gd name="T63" fmla="*/ 2301 h 3243"/>
                <a:gd name="T64" fmla="*/ 2488 w 3017"/>
                <a:gd name="T65" fmla="*/ 2395 h 3243"/>
                <a:gd name="T66" fmla="*/ 2488 w 3017"/>
                <a:gd name="T67" fmla="*/ 2473 h 3243"/>
                <a:gd name="T68" fmla="*/ 2395 w 3017"/>
                <a:gd name="T69" fmla="*/ 2490 h 3243"/>
                <a:gd name="T70" fmla="*/ 2450 w 3017"/>
                <a:gd name="T71" fmla="*/ 2511 h 3243"/>
                <a:gd name="T72" fmla="*/ 2395 w 3017"/>
                <a:gd name="T73" fmla="*/ 2551 h 3243"/>
                <a:gd name="T74" fmla="*/ 2412 w 3017"/>
                <a:gd name="T75" fmla="*/ 2622 h 3243"/>
                <a:gd name="T76" fmla="*/ 2407 w 3017"/>
                <a:gd name="T77" fmla="*/ 2561 h 3243"/>
                <a:gd name="T78" fmla="*/ 2424 w 3017"/>
                <a:gd name="T79" fmla="*/ 2601 h 3243"/>
                <a:gd name="T80" fmla="*/ 2428 w 3017"/>
                <a:gd name="T81" fmla="*/ 2679 h 3243"/>
                <a:gd name="T82" fmla="*/ 2391 w 3017"/>
                <a:gd name="T83" fmla="*/ 2745 h 3243"/>
                <a:gd name="T84" fmla="*/ 2462 w 3017"/>
                <a:gd name="T85" fmla="*/ 2745 h 3243"/>
                <a:gd name="T86" fmla="*/ 2424 w 3017"/>
                <a:gd name="T87" fmla="*/ 2790 h 3243"/>
                <a:gd name="T88" fmla="*/ 2391 w 3017"/>
                <a:gd name="T89" fmla="*/ 2823 h 3243"/>
                <a:gd name="T90" fmla="*/ 2488 w 3017"/>
                <a:gd name="T91" fmla="*/ 2823 h 3243"/>
                <a:gd name="T92" fmla="*/ 2504 w 3017"/>
                <a:gd name="T93" fmla="*/ 2877 h 3243"/>
                <a:gd name="T94" fmla="*/ 2445 w 3017"/>
                <a:gd name="T95" fmla="*/ 2877 h 3243"/>
                <a:gd name="T96" fmla="*/ 2731 w 3017"/>
                <a:gd name="T97" fmla="*/ 3116 h 3243"/>
                <a:gd name="T98" fmla="*/ 2752 w 3017"/>
                <a:gd name="T99" fmla="*/ 3106 h 3243"/>
                <a:gd name="T100" fmla="*/ 2736 w 3017"/>
                <a:gd name="T101" fmla="*/ 2950 h 3243"/>
                <a:gd name="T102" fmla="*/ 2530 w 3017"/>
                <a:gd name="T103" fmla="*/ 2983 h 3243"/>
                <a:gd name="T104" fmla="*/ 2537 w 3017"/>
                <a:gd name="T105" fmla="*/ 3012 h 3243"/>
                <a:gd name="T106" fmla="*/ 2499 w 3017"/>
                <a:gd name="T107" fmla="*/ 3012 h 3243"/>
                <a:gd name="T108" fmla="*/ 2643 w 3017"/>
                <a:gd name="T109" fmla="*/ 3045 h 3243"/>
                <a:gd name="T110" fmla="*/ 2747 w 3017"/>
                <a:gd name="T111" fmla="*/ 3078 h 3243"/>
                <a:gd name="T112" fmla="*/ 2714 w 3017"/>
                <a:gd name="T113" fmla="*/ 3139 h 3243"/>
                <a:gd name="T114" fmla="*/ 2953 w 3017"/>
                <a:gd name="T115" fmla="*/ 3149 h 3243"/>
                <a:gd name="T116" fmla="*/ 2891 w 3017"/>
                <a:gd name="T117" fmla="*/ 3177 h 3243"/>
                <a:gd name="T118" fmla="*/ 2967 w 3017"/>
                <a:gd name="T119" fmla="*/ 3156 h 3243"/>
                <a:gd name="T120" fmla="*/ 2785 w 3017"/>
                <a:gd name="T121" fmla="*/ 3194 h 3243"/>
                <a:gd name="T122" fmla="*/ 2929 w 3017"/>
                <a:gd name="T123" fmla="*/ 3243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17" h="3243">
                  <a:moveTo>
                    <a:pt x="2736" y="66"/>
                  </a:moveTo>
                  <a:lnTo>
                    <a:pt x="2769" y="54"/>
                  </a:lnTo>
                  <a:lnTo>
                    <a:pt x="2785" y="38"/>
                  </a:lnTo>
                  <a:lnTo>
                    <a:pt x="2773" y="17"/>
                  </a:lnTo>
                  <a:lnTo>
                    <a:pt x="2790" y="17"/>
                  </a:lnTo>
                  <a:lnTo>
                    <a:pt x="2802" y="0"/>
                  </a:lnTo>
                  <a:lnTo>
                    <a:pt x="2811" y="38"/>
                  </a:lnTo>
                  <a:lnTo>
                    <a:pt x="2828" y="38"/>
                  </a:lnTo>
                  <a:lnTo>
                    <a:pt x="2823" y="50"/>
                  </a:lnTo>
                  <a:lnTo>
                    <a:pt x="2839" y="111"/>
                  </a:lnTo>
                  <a:lnTo>
                    <a:pt x="2877" y="144"/>
                  </a:lnTo>
                  <a:lnTo>
                    <a:pt x="2854" y="165"/>
                  </a:lnTo>
                  <a:lnTo>
                    <a:pt x="2865" y="182"/>
                  </a:lnTo>
                  <a:lnTo>
                    <a:pt x="2865" y="189"/>
                  </a:lnTo>
                  <a:lnTo>
                    <a:pt x="2854" y="199"/>
                  </a:lnTo>
                  <a:lnTo>
                    <a:pt x="2854" y="215"/>
                  </a:lnTo>
                  <a:lnTo>
                    <a:pt x="2854" y="222"/>
                  </a:lnTo>
                  <a:lnTo>
                    <a:pt x="2877" y="239"/>
                  </a:lnTo>
                  <a:lnTo>
                    <a:pt x="2865" y="250"/>
                  </a:lnTo>
                  <a:lnTo>
                    <a:pt x="2865" y="255"/>
                  </a:lnTo>
                  <a:lnTo>
                    <a:pt x="2877" y="260"/>
                  </a:lnTo>
                  <a:lnTo>
                    <a:pt x="2891" y="288"/>
                  </a:lnTo>
                  <a:lnTo>
                    <a:pt x="2891" y="310"/>
                  </a:lnTo>
                  <a:lnTo>
                    <a:pt x="2899" y="343"/>
                  </a:lnTo>
                  <a:lnTo>
                    <a:pt x="2908" y="350"/>
                  </a:lnTo>
                  <a:lnTo>
                    <a:pt x="2915" y="383"/>
                  </a:lnTo>
                  <a:lnTo>
                    <a:pt x="2915" y="404"/>
                  </a:lnTo>
                  <a:lnTo>
                    <a:pt x="2936" y="404"/>
                  </a:lnTo>
                  <a:lnTo>
                    <a:pt x="2962" y="404"/>
                  </a:lnTo>
                  <a:lnTo>
                    <a:pt x="2979" y="416"/>
                  </a:lnTo>
                  <a:lnTo>
                    <a:pt x="2953" y="494"/>
                  </a:lnTo>
                  <a:lnTo>
                    <a:pt x="2882" y="527"/>
                  </a:lnTo>
                  <a:lnTo>
                    <a:pt x="2865" y="548"/>
                  </a:lnTo>
                  <a:lnTo>
                    <a:pt x="2882" y="581"/>
                  </a:lnTo>
                  <a:lnTo>
                    <a:pt x="2865" y="581"/>
                  </a:lnTo>
                  <a:lnTo>
                    <a:pt x="2861" y="605"/>
                  </a:lnTo>
                  <a:lnTo>
                    <a:pt x="2877" y="659"/>
                  </a:lnTo>
                  <a:lnTo>
                    <a:pt x="2865" y="666"/>
                  </a:lnTo>
                  <a:lnTo>
                    <a:pt x="2861" y="683"/>
                  </a:lnTo>
                  <a:lnTo>
                    <a:pt x="2882" y="716"/>
                  </a:lnTo>
                  <a:lnTo>
                    <a:pt x="2877" y="732"/>
                  </a:lnTo>
                  <a:lnTo>
                    <a:pt x="2844" y="732"/>
                  </a:lnTo>
                  <a:lnTo>
                    <a:pt x="2823" y="803"/>
                  </a:lnTo>
                  <a:lnTo>
                    <a:pt x="2790" y="832"/>
                  </a:lnTo>
                  <a:lnTo>
                    <a:pt x="2785" y="886"/>
                  </a:lnTo>
                  <a:lnTo>
                    <a:pt x="2757" y="905"/>
                  </a:lnTo>
                  <a:lnTo>
                    <a:pt x="2773" y="976"/>
                  </a:lnTo>
                  <a:lnTo>
                    <a:pt x="2769" y="980"/>
                  </a:lnTo>
                  <a:lnTo>
                    <a:pt x="2752" y="992"/>
                  </a:lnTo>
                  <a:lnTo>
                    <a:pt x="2747" y="1025"/>
                  </a:lnTo>
                  <a:lnTo>
                    <a:pt x="2747" y="1037"/>
                  </a:lnTo>
                  <a:lnTo>
                    <a:pt x="2731" y="1054"/>
                  </a:lnTo>
                  <a:lnTo>
                    <a:pt x="2719" y="1082"/>
                  </a:lnTo>
                  <a:lnTo>
                    <a:pt x="2736" y="1103"/>
                  </a:lnTo>
                  <a:lnTo>
                    <a:pt x="2752" y="1108"/>
                  </a:lnTo>
                  <a:lnTo>
                    <a:pt x="2736" y="1124"/>
                  </a:lnTo>
                  <a:lnTo>
                    <a:pt x="2747" y="1136"/>
                  </a:lnTo>
                  <a:lnTo>
                    <a:pt x="2752" y="1160"/>
                  </a:lnTo>
                  <a:lnTo>
                    <a:pt x="2752" y="1176"/>
                  </a:lnTo>
                  <a:lnTo>
                    <a:pt x="2769" y="1193"/>
                  </a:lnTo>
                  <a:lnTo>
                    <a:pt x="2757" y="1214"/>
                  </a:lnTo>
                  <a:lnTo>
                    <a:pt x="2769" y="1219"/>
                  </a:lnTo>
                  <a:lnTo>
                    <a:pt x="2773" y="1219"/>
                  </a:lnTo>
                  <a:lnTo>
                    <a:pt x="2785" y="1231"/>
                  </a:lnTo>
                  <a:lnTo>
                    <a:pt x="2769" y="1259"/>
                  </a:lnTo>
                  <a:lnTo>
                    <a:pt x="2773" y="1292"/>
                  </a:lnTo>
                  <a:lnTo>
                    <a:pt x="2757" y="1304"/>
                  </a:lnTo>
                  <a:lnTo>
                    <a:pt x="2736" y="1370"/>
                  </a:lnTo>
                  <a:lnTo>
                    <a:pt x="2719" y="1380"/>
                  </a:lnTo>
                  <a:lnTo>
                    <a:pt x="2736" y="1387"/>
                  </a:lnTo>
                  <a:lnTo>
                    <a:pt x="2747" y="1424"/>
                  </a:lnTo>
                  <a:lnTo>
                    <a:pt x="2736" y="1453"/>
                  </a:lnTo>
                  <a:lnTo>
                    <a:pt x="2714" y="1458"/>
                  </a:lnTo>
                  <a:lnTo>
                    <a:pt x="2714" y="1474"/>
                  </a:lnTo>
                  <a:lnTo>
                    <a:pt x="2693" y="1481"/>
                  </a:lnTo>
                  <a:lnTo>
                    <a:pt x="2681" y="1507"/>
                  </a:lnTo>
                  <a:lnTo>
                    <a:pt x="2693" y="1531"/>
                  </a:lnTo>
                  <a:lnTo>
                    <a:pt x="2681" y="1547"/>
                  </a:lnTo>
                  <a:lnTo>
                    <a:pt x="2693" y="1564"/>
                  </a:lnTo>
                  <a:lnTo>
                    <a:pt x="2681" y="1580"/>
                  </a:lnTo>
                  <a:lnTo>
                    <a:pt x="2698" y="1609"/>
                  </a:lnTo>
                  <a:lnTo>
                    <a:pt x="2698" y="1642"/>
                  </a:lnTo>
                  <a:lnTo>
                    <a:pt x="2702" y="1658"/>
                  </a:lnTo>
                  <a:lnTo>
                    <a:pt x="2698" y="1663"/>
                  </a:lnTo>
                  <a:lnTo>
                    <a:pt x="2665" y="1680"/>
                  </a:lnTo>
                  <a:lnTo>
                    <a:pt x="2665" y="1713"/>
                  </a:lnTo>
                  <a:lnTo>
                    <a:pt x="2660" y="1746"/>
                  </a:lnTo>
                  <a:lnTo>
                    <a:pt x="2643" y="1736"/>
                  </a:lnTo>
                  <a:lnTo>
                    <a:pt x="2651" y="1769"/>
                  </a:lnTo>
                  <a:lnTo>
                    <a:pt x="2639" y="1791"/>
                  </a:lnTo>
                  <a:lnTo>
                    <a:pt x="2643" y="1802"/>
                  </a:lnTo>
                  <a:lnTo>
                    <a:pt x="2639" y="1807"/>
                  </a:lnTo>
                  <a:lnTo>
                    <a:pt x="2627" y="1840"/>
                  </a:lnTo>
                  <a:lnTo>
                    <a:pt x="2639" y="1857"/>
                  </a:lnTo>
                  <a:lnTo>
                    <a:pt x="2639" y="1913"/>
                  </a:lnTo>
                  <a:lnTo>
                    <a:pt x="2627" y="1918"/>
                  </a:lnTo>
                  <a:lnTo>
                    <a:pt x="2643" y="1951"/>
                  </a:lnTo>
                  <a:lnTo>
                    <a:pt x="2627" y="1958"/>
                  </a:lnTo>
                  <a:lnTo>
                    <a:pt x="2622" y="1958"/>
                  </a:lnTo>
                  <a:lnTo>
                    <a:pt x="2613" y="1975"/>
                  </a:lnTo>
                  <a:lnTo>
                    <a:pt x="2622" y="1975"/>
                  </a:lnTo>
                  <a:lnTo>
                    <a:pt x="2613" y="1996"/>
                  </a:lnTo>
                  <a:lnTo>
                    <a:pt x="2613" y="2041"/>
                  </a:lnTo>
                  <a:lnTo>
                    <a:pt x="2643" y="2046"/>
                  </a:lnTo>
                  <a:lnTo>
                    <a:pt x="2643" y="2062"/>
                  </a:lnTo>
                  <a:lnTo>
                    <a:pt x="2627" y="2062"/>
                  </a:lnTo>
                  <a:lnTo>
                    <a:pt x="2627" y="2069"/>
                  </a:lnTo>
                  <a:lnTo>
                    <a:pt x="2643" y="2086"/>
                  </a:lnTo>
                  <a:lnTo>
                    <a:pt x="2643" y="2095"/>
                  </a:lnTo>
                  <a:lnTo>
                    <a:pt x="2639" y="2102"/>
                  </a:lnTo>
                  <a:lnTo>
                    <a:pt x="2651" y="2119"/>
                  </a:lnTo>
                  <a:lnTo>
                    <a:pt x="2639" y="2135"/>
                  </a:lnTo>
                  <a:lnTo>
                    <a:pt x="2639" y="2157"/>
                  </a:lnTo>
                  <a:lnTo>
                    <a:pt x="2681" y="2157"/>
                  </a:lnTo>
                  <a:lnTo>
                    <a:pt x="2693" y="2161"/>
                  </a:lnTo>
                  <a:lnTo>
                    <a:pt x="2676" y="2190"/>
                  </a:lnTo>
                  <a:lnTo>
                    <a:pt x="2622" y="2190"/>
                  </a:lnTo>
                  <a:lnTo>
                    <a:pt x="2622" y="2206"/>
                  </a:lnTo>
                  <a:lnTo>
                    <a:pt x="2651" y="2206"/>
                  </a:lnTo>
                  <a:lnTo>
                    <a:pt x="2676" y="2235"/>
                  </a:lnTo>
                  <a:lnTo>
                    <a:pt x="2660" y="2251"/>
                  </a:lnTo>
                  <a:lnTo>
                    <a:pt x="2643" y="2263"/>
                  </a:lnTo>
                  <a:lnTo>
                    <a:pt x="2639" y="2268"/>
                  </a:lnTo>
                  <a:lnTo>
                    <a:pt x="2643" y="2284"/>
                  </a:lnTo>
                  <a:lnTo>
                    <a:pt x="2651" y="2301"/>
                  </a:lnTo>
                  <a:lnTo>
                    <a:pt x="2627" y="2317"/>
                  </a:lnTo>
                  <a:lnTo>
                    <a:pt x="2643" y="2324"/>
                  </a:lnTo>
                  <a:lnTo>
                    <a:pt x="2643" y="2362"/>
                  </a:lnTo>
                  <a:lnTo>
                    <a:pt x="2627" y="2374"/>
                  </a:lnTo>
                  <a:lnTo>
                    <a:pt x="2627" y="2395"/>
                  </a:lnTo>
                  <a:lnTo>
                    <a:pt x="2639" y="2412"/>
                  </a:lnTo>
                  <a:lnTo>
                    <a:pt x="2596" y="2433"/>
                  </a:lnTo>
                  <a:lnTo>
                    <a:pt x="2596" y="2440"/>
                  </a:lnTo>
                  <a:lnTo>
                    <a:pt x="2589" y="2473"/>
                  </a:lnTo>
                  <a:lnTo>
                    <a:pt x="2596" y="2490"/>
                  </a:lnTo>
                  <a:lnTo>
                    <a:pt x="2606" y="2511"/>
                  </a:lnTo>
                  <a:lnTo>
                    <a:pt x="2584" y="2523"/>
                  </a:lnTo>
                  <a:lnTo>
                    <a:pt x="2584" y="2551"/>
                  </a:lnTo>
                  <a:lnTo>
                    <a:pt x="2551" y="2568"/>
                  </a:lnTo>
                  <a:lnTo>
                    <a:pt x="2542" y="2596"/>
                  </a:lnTo>
                  <a:lnTo>
                    <a:pt x="2551" y="2601"/>
                  </a:lnTo>
                  <a:lnTo>
                    <a:pt x="2542" y="2601"/>
                  </a:lnTo>
                  <a:lnTo>
                    <a:pt x="2521" y="2601"/>
                  </a:lnTo>
                  <a:lnTo>
                    <a:pt x="2513" y="2622"/>
                  </a:lnTo>
                  <a:lnTo>
                    <a:pt x="2521" y="2650"/>
                  </a:lnTo>
                  <a:lnTo>
                    <a:pt x="2513" y="2655"/>
                  </a:lnTo>
                  <a:lnTo>
                    <a:pt x="2521" y="2662"/>
                  </a:lnTo>
                  <a:lnTo>
                    <a:pt x="2521" y="2679"/>
                  </a:lnTo>
                  <a:lnTo>
                    <a:pt x="2537" y="2695"/>
                  </a:lnTo>
                  <a:lnTo>
                    <a:pt x="2542" y="2733"/>
                  </a:lnTo>
                  <a:lnTo>
                    <a:pt x="2575" y="2728"/>
                  </a:lnTo>
                  <a:lnTo>
                    <a:pt x="2606" y="2728"/>
                  </a:lnTo>
                  <a:lnTo>
                    <a:pt x="2606" y="2761"/>
                  </a:lnTo>
                  <a:lnTo>
                    <a:pt x="2596" y="2773"/>
                  </a:lnTo>
                  <a:lnTo>
                    <a:pt x="2606" y="2783"/>
                  </a:lnTo>
                  <a:lnTo>
                    <a:pt x="2596" y="2806"/>
                  </a:lnTo>
                  <a:lnTo>
                    <a:pt x="2606" y="2828"/>
                  </a:lnTo>
                  <a:lnTo>
                    <a:pt x="2627" y="2844"/>
                  </a:lnTo>
                  <a:lnTo>
                    <a:pt x="2627" y="2856"/>
                  </a:lnTo>
                  <a:lnTo>
                    <a:pt x="2769" y="2856"/>
                  </a:lnTo>
                  <a:lnTo>
                    <a:pt x="2877" y="2894"/>
                  </a:lnTo>
                  <a:lnTo>
                    <a:pt x="2811" y="2877"/>
                  </a:lnTo>
                  <a:lnTo>
                    <a:pt x="2802" y="2884"/>
                  </a:lnTo>
                  <a:lnTo>
                    <a:pt x="2802" y="2894"/>
                  </a:lnTo>
                  <a:lnTo>
                    <a:pt x="2790" y="2910"/>
                  </a:lnTo>
                  <a:lnTo>
                    <a:pt x="2773" y="2901"/>
                  </a:lnTo>
                  <a:lnTo>
                    <a:pt x="2702" y="2927"/>
                  </a:lnTo>
                  <a:lnTo>
                    <a:pt x="2702" y="2950"/>
                  </a:lnTo>
                  <a:lnTo>
                    <a:pt x="2698" y="2988"/>
                  </a:lnTo>
                  <a:lnTo>
                    <a:pt x="2698" y="3028"/>
                  </a:lnTo>
                  <a:lnTo>
                    <a:pt x="2676" y="3045"/>
                  </a:lnTo>
                  <a:lnTo>
                    <a:pt x="2613" y="3021"/>
                  </a:lnTo>
                  <a:lnTo>
                    <a:pt x="2589" y="2995"/>
                  </a:lnTo>
                  <a:lnTo>
                    <a:pt x="2606" y="2983"/>
                  </a:lnTo>
                  <a:lnTo>
                    <a:pt x="2613" y="2983"/>
                  </a:lnTo>
                  <a:lnTo>
                    <a:pt x="2622" y="2988"/>
                  </a:lnTo>
                  <a:lnTo>
                    <a:pt x="2606" y="2995"/>
                  </a:lnTo>
                  <a:lnTo>
                    <a:pt x="2613" y="2995"/>
                  </a:lnTo>
                  <a:lnTo>
                    <a:pt x="2622" y="2988"/>
                  </a:lnTo>
                  <a:lnTo>
                    <a:pt x="2622" y="2972"/>
                  </a:lnTo>
                  <a:lnTo>
                    <a:pt x="2639" y="2972"/>
                  </a:lnTo>
                  <a:lnTo>
                    <a:pt x="2639" y="2995"/>
                  </a:lnTo>
                  <a:lnTo>
                    <a:pt x="2622" y="3012"/>
                  </a:lnTo>
                  <a:lnTo>
                    <a:pt x="2639" y="3005"/>
                  </a:lnTo>
                  <a:lnTo>
                    <a:pt x="2643" y="2972"/>
                  </a:lnTo>
                  <a:lnTo>
                    <a:pt x="2665" y="2967"/>
                  </a:lnTo>
                  <a:lnTo>
                    <a:pt x="2681" y="2939"/>
                  </a:lnTo>
                  <a:lnTo>
                    <a:pt x="2681" y="2934"/>
                  </a:lnTo>
                  <a:lnTo>
                    <a:pt x="2651" y="2939"/>
                  </a:lnTo>
                  <a:lnTo>
                    <a:pt x="2622" y="2967"/>
                  </a:lnTo>
                  <a:lnTo>
                    <a:pt x="2606" y="2955"/>
                  </a:lnTo>
                  <a:lnTo>
                    <a:pt x="2584" y="2967"/>
                  </a:lnTo>
                  <a:lnTo>
                    <a:pt x="2613" y="2972"/>
                  </a:lnTo>
                  <a:lnTo>
                    <a:pt x="2589" y="2972"/>
                  </a:lnTo>
                  <a:lnTo>
                    <a:pt x="2596" y="2983"/>
                  </a:lnTo>
                  <a:lnTo>
                    <a:pt x="2589" y="2988"/>
                  </a:lnTo>
                  <a:lnTo>
                    <a:pt x="2575" y="2988"/>
                  </a:lnTo>
                  <a:lnTo>
                    <a:pt x="2596" y="3005"/>
                  </a:lnTo>
                  <a:lnTo>
                    <a:pt x="2537" y="2972"/>
                  </a:lnTo>
                  <a:lnTo>
                    <a:pt x="2537" y="2967"/>
                  </a:lnTo>
                  <a:lnTo>
                    <a:pt x="2558" y="2972"/>
                  </a:lnTo>
                  <a:lnTo>
                    <a:pt x="2575" y="2983"/>
                  </a:lnTo>
                  <a:lnTo>
                    <a:pt x="2568" y="2972"/>
                  </a:lnTo>
                  <a:lnTo>
                    <a:pt x="2575" y="2967"/>
                  </a:lnTo>
                  <a:lnTo>
                    <a:pt x="2558" y="2967"/>
                  </a:lnTo>
                  <a:lnTo>
                    <a:pt x="2568" y="2955"/>
                  </a:lnTo>
                  <a:lnTo>
                    <a:pt x="2558" y="2939"/>
                  </a:lnTo>
                  <a:lnTo>
                    <a:pt x="2575" y="2927"/>
                  </a:lnTo>
                  <a:lnTo>
                    <a:pt x="2589" y="2934"/>
                  </a:lnTo>
                  <a:lnTo>
                    <a:pt x="2613" y="2917"/>
                  </a:lnTo>
                  <a:lnTo>
                    <a:pt x="2639" y="2927"/>
                  </a:lnTo>
                  <a:lnTo>
                    <a:pt x="2660" y="2917"/>
                  </a:lnTo>
                  <a:lnTo>
                    <a:pt x="2660" y="2910"/>
                  </a:lnTo>
                  <a:lnTo>
                    <a:pt x="2613" y="2910"/>
                  </a:lnTo>
                  <a:lnTo>
                    <a:pt x="2596" y="2910"/>
                  </a:lnTo>
                  <a:lnTo>
                    <a:pt x="2596" y="2917"/>
                  </a:lnTo>
                  <a:lnTo>
                    <a:pt x="2584" y="2917"/>
                  </a:lnTo>
                  <a:lnTo>
                    <a:pt x="2596" y="2910"/>
                  </a:lnTo>
                  <a:lnTo>
                    <a:pt x="2568" y="2910"/>
                  </a:lnTo>
                  <a:lnTo>
                    <a:pt x="2558" y="2917"/>
                  </a:lnTo>
                  <a:lnTo>
                    <a:pt x="2575" y="2917"/>
                  </a:lnTo>
                  <a:lnTo>
                    <a:pt x="2551" y="2939"/>
                  </a:lnTo>
                  <a:lnTo>
                    <a:pt x="2558" y="2955"/>
                  </a:lnTo>
                  <a:lnTo>
                    <a:pt x="2542" y="2967"/>
                  </a:lnTo>
                  <a:lnTo>
                    <a:pt x="2521" y="2955"/>
                  </a:lnTo>
                  <a:lnTo>
                    <a:pt x="2537" y="2939"/>
                  </a:lnTo>
                  <a:lnTo>
                    <a:pt x="2513" y="2934"/>
                  </a:lnTo>
                  <a:lnTo>
                    <a:pt x="2537" y="2934"/>
                  </a:lnTo>
                  <a:lnTo>
                    <a:pt x="2542" y="2910"/>
                  </a:lnTo>
                  <a:lnTo>
                    <a:pt x="2558" y="2910"/>
                  </a:lnTo>
                  <a:lnTo>
                    <a:pt x="2542" y="2901"/>
                  </a:lnTo>
                  <a:lnTo>
                    <a:pt x="2537" y="2927"/>
                  </a:lnTo>
                  <a:lnTo>
                    <a:pt x="2530" y="2917"/>
                  </a:lnTo>
                  <a:lnTo>
                    <a:pt x="2504" y="2927"/>
                  </a:lnTo>
                  <a:lnTo>
                    <a:pt x="2504" y="2917"/>
                  </a:lnTo>
                  <a:lnTo>
                    <a:pt x="2513" y="2910"/>
                  </a:lnTo>
                  <a:lnTo>
                    <a:pt x="2504" y="2901"/>
                  </a:lnTo>
                  <a:lnTo>
                    <a:pt x="2513" y="2884"/>
                  </a:lnTo>
                  <a:lnTo>
                    <a:pt x="2504" y="2861"/>
                  </a:lnTo>
                  <a:lnTo>
                    <a:pt x="2513" y="2877"/>
                  </a:lnTo>
                  <a:lnTo>
                    <a:pt x="2530" y="2877"/>
                  </a:lnTo>
                  <a:lnTo>
                    <a:pt x="2551" y="2861"/>
                  </a:lnTo>
                  <a:lnTo>
                    <a:pt x="2551" y="2877"/>
                  </a:lnTo>
                  <a:lnTo>
                    <a:pt x="2568" y="2884"/>
                  </a:lnTo>
                  <a:lnTo>
                    <a:pt x="2568" y="2861"/>
                  </a:lnTo>
                  <a:lnTo>
                    <a:pt x="2558" y="2877"/>
                  </a:lnTo>
                  <a:lnTo>
                    <a:pt x="2558" y="2861"/>
                  </a:lnTo>
                  <a:lnTo>
                    <a:pt x="2568" y="2856"/>
                  </a:lnTo>
                  <a:lnTo>
                    <a:pt x="2575" y="2856"/>
                  </a:lnTo>
                  <a:lnTo>
                    <a:pt x="2589" y="2877"/>
                  </a:lnTo>
                  <a:lnTo>
                    <a:pt x="2584" y="2884"/>
                  </a:lnTo>
                  <a:lnTo>
                    <a:pt x="2558" y="2901"/>
                  </a:lnTo>
                  <a:lnTo>
                    <a:pt x="2589" y="2884"/>
                  </a:lnTo>
                  <a:lnTo>
                    <a:pt x="2589" y="2877"/>
                  </a:lnTo>
                  <a:lnTo>
                    <a:pt x="2575" y="2856"/>
                  </a:lnTo>
                  <a:lnTo>
                    <a:pt x="2589" y="2856"/>
                  </a:lnTo>
                  <a:lnTo>
                    <a:pt x="2589" y="2839"/>
                  </a:lnTo>
                  <a:lnTo>
                    <a:pt x="2575" y="2816"/>
                  </a:lnTo>
                  <a:lnTo>
                    <a:pt x="2537" y="2806"/>
                  </a:lnTo>
                  <a:lnTo>
                    <a:pt x="2584" y="2839"/>
                  </a:lnTo>
                  <a:lnTo>
                    <a:pt x="2575" y="2839"/>
                  </a:lnTo>
                  <a:lnTo>
                    <a:pt x="2537" y="2823"/>
                  </a:lnTo>
                  <a:lnTo>
                    <a:pt x="2537" y="2828"/>
                  </a:lnTo>
                  <a:lnTo>
                    <a:pt x="2551" y="2839"/>
                  </a:lnTo>
                  <a:lnTo>
                    <a:pt x="2542" y="2844"/>
                  </a:lnTo>
                  <a:lnTo>
                    <a:pt x="2558" y="2844"/>
                  </a:lnTo>
                  <a:lnTo>
                    <a:pt x="2542" y="2856"/>
                  </a:lnTo>
                  <a:lnTo>
                    <a:pt x="2537" y="2861"/>
                  </a:lnTo>
                  <a:lnTo>
                    <a:pt x="2530" y="2823"/>
                  </a:lnTo>
                  <a:lnTo>
                    <a:pt x="2537" y="2872"/>
                  </a:lnTo>
                  <a:lnTo>
                    <a:pt x="2513" y="2861"/>
                  </a:lnTo>
                  <a:lnTo>
                    <a:pt x="2504" y="2839"/>
                  </a:lnTo>
                  <a:lnTo>
                    <a:pt x="2530" y="2861"/>
                  </a:lnTo>
                  <a:lnTo>
                    <a:pt x="2513" y="2828"/>
                  </a:lnTo>
                  <a:lnTo>
                    <a:pt x="2521" y="2828"/>
                  </a:lnTo>
                  <a:lnTo>
                    <a:pt x="2504" y="2839"/>
                  </a:lnTo>
                  <a:lnTo>
                    <a:pt x="2499" y="2823"/>
                  </a:lnTo>
                  <a:lnTo>
                    <a:pt x="2488" y="2823"/>
                  </a:lnTo>
                  <a:lnTo>
                    <a:pt x="2488" y="2799"/>
                  </a:lnTo>
                  <a:lnTo>
                    <a:pt x="2513" y="2823"/>
                  </a:lnTo>
                  <a:lnTo>
                    <a:pt x="2499" y="2783"/>
                  </a:lnTo>
                  <a:lnTo>
                    <a:pt x="2504" y="2790"/>
                  </a:lnTo>
                  <a:lnTo>
                    <a:pt x="2504" y="2773"/>
                  </a:lnTo>
                  <a:lnTo>
                    <a:pt x="2488" y="2783"/>
                  </a:lnTo>
                  <a:lnTo>
                    <a:pt x="2476" y="2783"/>
                  </a:lnTo>
                  <a:lnTo>
                    <a:pt x="2466" y="2761"/>
                  </a:lnTo>
                  <a:lnTo>
                    <a:pt x="2476" y="2750"/>
                  </a:lnTo>
                  <a:lnTo>
                    <a:pt x="2499" y="2750"/>
                  </a:lnTo>
                  <a:lnTo>
                    <a:pt x="2504" y="2728"/>
                  </a:lnTo>
                  <a:lnTo>
                    <a:pt x="2521" y="2733"/>
                  </a:lnTo>
                  <a:lnTo>
                    <a:pt x="2521" y="2728"/>
                  </a:lnTo>
                  <a:lnTo>
                    <a:pt x="2504" y="2717"/>
                  </a:lnTo>
                  <a:lnTo>
                    <a:pt x="2513" y="2707"/>
                  </a:lnTo>
                  <a:lnTo>
                    <a:pt x="2499" y="2717"/>
                  </a:lnTo>
                  <a:lnTo>
                    <a:pt x="2499" y="2745"/>
                  </a:lnTo>
                  <a:lnTo>
                    <a:pt x="2483" y="2745"/>
                  </a:lnTo>
                  <a:lnTo>
                    <a:pt x="2466" y="2712"/>
                  </a:lnTo>
                  <a:lnTo>
                    <a:pt x="2488" y="2717"/>
                  </a:lnTo>
                  <a:lnTo>
                    <a:pt x="2466" y="2707"/>
                  </a:lnTo>
                  <a:lnTo>
                    <a:pt x="2433" y="2688"/>
                  </a:lnTo>
                  <a:lnTo>
                    <a:pt x="2445" y="2679"/>
                  </a:lnTo>
                  <a:lnTo>
                    <a:pt x="2462" y="2672"/>
                  </a:lnTo>
                  <a:lnTo>
                    <a:pt x="2466" y="2688"/>
                  </a:lnTo>
                  <a:lnTo>
                    <a:pt x="2499" y="2695"/>
                  </a:lnTo>
                  <a:lnTo>
                    <a:pt x="2476" y="2688"/>
                  </a:lnTo>
                  <a:lnTo>
                    <a:pt x="2462" y="2662"/>
                  </a:lnTo>
                  <a:lnTo>
                    <a:pt x="2466" y="2662"/>
                  </a:lnTo>
                  <a:lnTo>
                    <a:pt x="2488" y="2672"/>
                  </a:lnTo>
                  <a:lnTo>
                    <a:pt x="2466" y="2655"/>
                  </a:lnTo>
                  <a:lnTo>
                    <a:pt x="2462" y="2650"/>
                  </a:lnTo>
                  <a:lnTo>
                    <a:pt x="2483" y="2639"/>
                  </a:lnTo>
                  <a:lnTo>
                    <a:pt x="2466" y="2639"/>
                  </a:lnTo>
                  <a:lnTo>
                    <a:pt x="2462" y="2634"/>
                  </a:lnTo>
                  <a:lnTo>
                    <a:pt x="2488" y="2622"/>
                  </a:lnTo>
                  <a:lnTo>
                    <a:pt x="2504" y="2639"/>
                  </a:lnTo>
                  <a:lnTo>
                    <a:pt x="2499" y="2634"/>
                  </a:lnTo>
                  <a:lnTo>
                    <a:pt x="2488" y="2622"/>
                  </a:lnTo>
                  <a:lnTo>
                    <a:pt x="2476" y="2617"/>
                  </a:lnTo>
                  <a:lnTo>
                    <a:pt x="2483" y="2601"/>
                  </a:lnTo>
                  <a:lnTo>
                    <a:pt x="2499" y="2606"/>
                  </a:lnTo>
                  <a:lnTo>
                    <a:pt x="2483" y="2601"/>
                  </a:lnTo>
                  <a:lnTo>
                    <a:pt x="2483" y="2584"/>
                  </a:lnTo>
                  <a:lnTo>
                    <a:pt x="2499" y="2580"/>
                  </a:lnTo>
                  <a:lnTo>
                    <a:pt x="2483" y="2580"/>
                  </a:lnTo>
                  <a:lnTo>
                    <a:pt x="2466" y="2622"/>
                  </a:lnTo>
                  <a:lnTo>
                    <a:pt x="2462" y="2617"/>
                  </a:lnTo>
                  <a:lnTo>
                    <a:pt x="2450" y="2551"/>
                  </a:lnTo>
                  <a:lnTo>
                    <a:pt x="2462" y="2544"/>
                  </a:lnTo>
                  <a:lnTo>
                    <a:pt x="2483" y="2551"/>
                  </a:lnTo>
                  <a:lnTo>
                    <a:pt x="2462" y="2544"/>
                  </a:lnTo>
                  <a:lnTo>
                    <a:pt x="2462" y="2539"/>
                  </a:lnTo>
                  <a:lnTo>
                    <a:pt x="2466" y="2523"/>
                  </a:lnTo>
                  <a:lnTo>
                    <a:pt x="2483" y="2528"/>
                  </a:lnTo>
                  <a:lnTo>
                    <a:pt x="2483" y="2523"/>
                  </a:lnTo>
                  <a:lnTo>
                    <a:pt x="2466" y="2511"/>
                  </a:lnTo>
                  <a:lnTo>
                    <a:pt x="2476" y="2511"/>
                  </a:lnTo>
                  <a:lnTo>
                    <a:pt x="2433" y="2485"/>
                  </a:lnTo>
                  <a:lnTo>
                    <a:pt x="2450" y="2485"/>
                  </a:lnTo>
                  <a:lnTo>
                    <a:pt x="2466" y="2506"/>
                  </a:lnTo>
                  <a:lnTo>
                    <a:pt x="2462" y="2485"/>
                  </a:lnTo>
                  <a:lnTo>
                    <a:pt x="2499" y="2485"/>
                  </a:lnTo>
                  <a:lnTo>
                    <a:pt x="2513" y="2506"/>
                  </a:lnTo>
                  <a:lnTo>
                    <a:pt x="2521" y="2495"/>
                  </a:lnTo>
                  <a:lnTo>
                    <a:pt x="2530" y="2495"/>
                  </a:lnTo>
                  <a:lnTo>
                    <a:pt x="2537" y="2490"/>
                  </a:lnTo>
                  <a:lnTo>
                    <a:pt x="2530" y="2495"/>
                  </a:lnTo>
                  <a:lnTo>
                    <a:pt x="2521" y="2490"/>
                  </a:lnTo>
                  <a:lnTo>
                    <a:pt x="2504" y="2473"/>
                  </a:lnTo>
                  <a:lnTo>
                    <a:pt x="2537" y="2485"/>
                  </a:lnTo>
                  <a:lnTo>
                    <a:pt x="2521" y="2473"/>
                  </a:lnTo>
                  <a:lnTo>
                    <a:pt x="2504" y="2457"/>
                  </a:lnTo>
                  <a:lnTo>
                    <a:pt x="2504" y="2452"/>
                  </a:lnTo>
                  <a:lnTo>
                    <a:pt x="2504" y="2433"/>
                  </a:lnTo>
                  <a:lnTo>
                    <a:pt x="2499" y="2457"/>
                  </a:lnTo>
                  <a:lnTo>
                    <a:pt x="2488" y="2469"/>
                  </a:lnTo>
                  <a:lnTo>
                    <a:pt x="2433" y="2457"/>
                  </a:lnTo>
                  <a:lnTo>
                    <a:pt x="2445" y="2440"/>
                  </a:lnTo>
                  <a:lnTo>
                    <a:pt x="2462" y="2440"/>
                  </a:lnTo>
                  <a:lnTo>
                    <a:pt x="2466" y="2457"/>
                  </a:lnTo>
                  <a:lnTo>
                    <a:pt x="2476" y="2457"/>
                  </a:lnTo>
                  <a:lnTo>
                    <a:pt x="2466" y="2457"/>
                  </a:lnTo>
                  <a:lnTo>
                    <a:pt x="2466" y="2452"/>
                  </a:lnTo>
                  <a:lnTo>
                    <a:pt x="2483" y="2440"/>
                  </a:lnTo>
                  <a:lnTo>
                    <a:pt x="2462" y="2440"/>
                  </a:lnTo>
                  <a:lnTo>
                    <a:pt x="2445" y="2428"/>
                  </a:lnTo>
                  <a:lnTo>
                    <a:pt x="2462" y="2412"/>
                  </a:lnTo>
                  <a:lnTo>
                    <a:pt x="2476" y="2412"/>
                  </a:lnTo>
                  <a:lnTo>
                    <a:pt x="2476" y="2417"/>
                  </a:lnTo>
                  <a:lnTo>
                    <a:pt x="2476" y="2412"/>
                  </a:lnTo>
                  <a:lnTo>
                    <a:pt x="2488" y="2395"/>
                  </a:lnTo>
                  <a:lnTo>
                    <a:pt x="2476" y="2384"/>
                  </a:lnTo>
                  <a:lnTo>
                    <a:pt x="2466" y="2374"/>
                  </a:lnTo>
                  <a:lnTo>
                    <a:pt x="2445" y="2374"/>
                  </a:lnTo>
                  <a:lnTo>
                    <a:pt x="2450" y="2379"/>
                  </a:lnTo>
                  <a:lnTo>
                    <a:pt x="2412" y="2374"/>
                  </a:lnTo>
                  <a:lnTo>
                    <a:pt x="2407" y="2358"/>
                  </a:lnTo>
                  <a:lnTo>
                    <a:pt x="2424" y="2341"/>
                  </a:lnTo>
                  <a:lnTo>
                    <a:pt x="2407" y="2358"/>
                  </a:lnTo>
                  <a:lnTo>
                    <a:pt x="2369" y="2374"/>
                  </a:lnTo>
                  <a:lnTo>
                    <a:pt x="2379" y="2362"/>
                  </a:lnTo>
                  <a:lnTo>
                    <a:pt x="2391" y="2379"/>
                  </a:lnTo>
                  <a:lnTo>
                    <a:pt x="2379" y="2384"/>
                  </a:lnTo>
                  <a:lnTo>
                    <a:pt x="2374" y="2384"/>
                  </a:lnTo>
                  <a:lnTo>
                    <a:pt x="2369" y="2362"/>
                  </a:lnTo>
                  <a:lnTo>
                    <a:pt x="2369" y="2346"/>
                  </a:lnTo>
                  <a:lnTo>
                    <a:pt x="2395" y="2329"/>
                  </a:lnTo>
                  <a:lnTo>
                    <a:pt x="2395" y="2341"/>
                  </a:lnTo>
                  <a:lnTo>
                    <a:pt x="2407" y="2317"/>
                  </a:lnTo>
                  <a:lnTo>
                    <a:pt x="2428" y="2308"/>
                  </a:lnTo>
                  <a:lnTo>
                    <a:pt x="2433" y="2284"/>
                  </a:lnTo>
                  <a:lnTo>
                    <a:pt x="2462" y="2284"/>
                  </a:lnTo>
                  <a:lnTo>
                    <a:pt x="2476" y="2284"/>
                  </a:lnTo>
                  <a:lnTo>
                    <a:pt x="2483" y="2301"/>
                  </a:lnTo>
                  <a:lnTo>
                    <a:pt x="2476" y="2308"/>
                  </a:lnTo>
                  <a:lnTo>
                    <a:pt x="2483" y="2301"/>
                  </a:lnTo>
                  <a:lnTo>
                    <a:pt x="2488" y="2308"/>
                  </a:lnTo>
                  <a:lnTo>
                    <a:pt x="2462" y="2324"/>
                  </a:lnTo>
                  <a:lnTo>
                    <a:pt x="2450" y="2317"/>
                  </a:lnTo>
                  <a:lnTo>
                    <a:pt x="2462" y="2324"/>
                  </a:lnTo>
                  <a:lnTo>
                    <a:pt x="2483" y="2317"/>
                  </a:lnTo>
                  <a:lnTo>
                    <a:pt x="2499" y="2329"/>
                  </a:lnTo>
                  <a:lnTo>
                    <a:pt x="2483" y="2317"/>
                  </a:lnTo>
                  <a:lnTo>
                    <a:pt x="2488" y="2317"/>
                  </a:lnTo>
                  <a:lnTo>
                    <a:pt x="2499" y="2324"/>
                  </a:lnTo>
                  <a:lnTo>
                    <a:pt x="2483" y="2346"/>
                  </a:lnTo>
                  <a:lnTo>
                    <a:pt x="2499" y="2358"/>
                  </a:lnTo>
                  <a:lnTo>
                    <a:pt x="2521" y="2308"/>
                  </a:lnTo>
                  <a:lnTo>
                    <a:pt x="2504" y="2329"/>
                  </a:lnTo>
                  <a:lnTo>
                    <a:pt x="2504" y="2301"/>
                  </a:lnTo>
                  <a:lnTo>
                    <a:pt x="2530" y="2272"/>
                  </a:lnTo>
                  <a:lnTo>
                    <a:pt x="2542" y="2268"/>
                  </a:lnTo>
                  <a:lnTo>
                    <a:pt x="2530" y="2268"/>
                  </a:lnTo>
                  <a:lnTo>
                    <a:pt x="2513" y="2272"/>
                  </a:lnTo>
                  <a:lnTo>
                    <a:pt x="2521" y="2251"/>
                  </a:lnTo>
                  <a:lnTo>
                    <a:pt x="2537" y="2235"/>
                  </a:lnTo>
                  <a:lnTo>
                    <a:pt x="2551" y="2251"/>
                  </a:lnTo>
                  <a:lnTo>
                    <a:pt x="2568" y="2247"/>
                  </a:lnTo>
                  <a:lnTo>
                    <a:pt x="2537" y="2230"/>
                  </a:lnTo>
                  <a:lnTo>
                    <a:pt x="2521" y="2235"/>
                  </a:lnTo>
                  <a:lnTo>
                    <a:pt x="2521" y="2230"/>
                  </a:lnTo>
                  <a:lnTo>
                    <a:pt x="2537" y="2218"/>
                  </a:lnTo>
                  <a:lnTo>
                    <a:pt x="2530" y="2206"/>
                  </a:lnTo>
                  <a:lnTo>
                    <a:pt x="2568" y="2190"/>
                  </a:lnTo>
                  <a:lnTo>
                    <a:pt x="2584" y="2161"/>
                  </a:lnTo>
                  <a:lnTo>
                    <a:pt x="2584" y="2157"/>
                  </a:lnTo>
                  <a:lnTo>
                    <a:pt x="2575" y="2161"/>
                  </a:lnTo>
                  <a:lnTo>
                    <a:pt x="2537" y="2135"/>
                  </a:lnTo>
                  <a:lnTo>
                    <a:pt x="2551" y="2102"/>
                  </a:lnTo>
                  <a:lnTo>
                    <a:pt x="2568" y="2102"/>
                  </a:lnTo>
                  <a:lnTo>
                    <a:pt x="2568" y="2095"/>
                  </a:lnTo>
                  <a:lnTo>
                    <a:pt x="2551" y="2095"/>
                  </a:lnTo>
                  <a:lnTo>
                    <a:pt x="2542" y="2069"/>
                  </a:lnTo>
                  <a:lnTo>
                    <a:pt x="2551" y="2062"/>
                  </a:lnTo>
                  <a:lnTo>
                    <a:pt x="2558" y="2053"/>
                  </a:lnTo>
                  <a:lnTo>
                    <a:pt x="2568" y="2041"/>
                  </a:lnTo>
                  <a:lnTo>
                    <a:pt x="2575" y="2041"/>
                  </a:lnTo>
                  <a:lnTo>
                    <a:pt x="2568" y="1996"/>
                  </a:lnTo>
                  <a:lnTo>
                    <a:pt x="2568" y="1991"/>
                  </a:lnTo>
                  <a:lnTo>
                    <a:pt x="2589" y="1996"/>
                  </a:lnTo>
                  <a:lnTo>
                    <a:pt x="2568" y="1968"/>
                  </a:lnTo>
                  <a:lnTo>
                    <a:pt x="2584" y="1958"/>
                  </a:lnTo>
                  <a:lnTo>
                    <a:pt x="2596" y="1984"/>
                  </a:lnTo>
                  <a:lnTo>
                    <a:pt x="2589" y="1942"/>
                  </a:lnTo>
                  <a:lnTo>
                    <a:pt x="2575" y="1942"/>
                  </a:lnTo>
                  <a:lnTo>
                    <a:pt x="2568" y="1935"/>
                  </a:lnTo>
                  <a:lnTo>
                    <a:pt x="2575" y="1930"/>
                  </a:lnTo>
                  <a:lnTo>
                    <a:pt x="2596" y="1918"/>
                  </a:lnTo>
                  <a:lnTo>
                    <a:pt x="2606" y="1897"/>
                  </a:lnTo>
                  <a:lnTo>
                    <a:pt x="2596" y="1918"/>
                  </a:lnTo>
                  <a:lnTo>
                    <a:pt x="2584" y="1918"/>
                  </a:lnTo>
                  <a:lnTo>
                    <a:pt x="2558" y="1902"/>
                  </a:lnTo>
                  <a:lnTo>
                    <a:pt x="2551" y="1902"/>
                  </a:lnTo>
                  <a:lnTo>
                    <a:pt x="2551" y="1918"/>
                  </a:lnTo>
                  <a:lnTo>
                    <a:pt x="2537" y="1930"/>
                  </a:lnTo>
                  <a:lnTo>
                    <a:pt x="2504" y="1930"/>
                  </a:lnTo>
                  <a:lnTo>
                    <a:pt x="2521" y="1902"/>
                  </a:lnTo>
                  <a:lnTo>
                    <a:pt x="2504" y="1913"/>
                  </a:lnTo>
                  <a:lnTo>
                    <a:pt x="2488" y="1902"/>
                  </a:lnTo>
                  <a:lnTo>
                    <a:pt x="2483" y="1857"/>
                  </a:lnTo>
                  <a:lnTo>
                    <a:pt x="2504" y="1819"/>
                  </a:lnTo>
                  <a:lnTo>
                    <a:pt x="2504" y="1791"/>
                  </a:lnTo>
                  <a:lnTo>
                    <a:pt x="2504" y="1786"/>
                  </a:lnTo>
                  <a:lnTo>
                    <a:pt x="2504" y="1774"/>
                  </a:lnTo>
                  <a:lnTo>
                    <a:pt x="2530" y="1769"/>
                  </a:lnTo>
                  <a:lnTo>
                    <a:pt x="2537" y="1729"/>
                  </a:lnTo>
                  <a:lnTo>
                    <a:pt x="2513" y="1642"/>
                  </a:lnTo>
                  <a:lnTo>
                    <a:pt x="2521" y="1609"/>
                  </a:lnTo>
                  <a:lnTo>
                    <a:pt x="2504" y="1585"/>
                  </a:lnTo>
                  <a:lnTo>
                    <a:pt x="2513" y="1564"/>
                  </a:lnTo>
                  <a:lnTo>
                    <a:pt x="2504" y="1552"/>
                  </a:lnTo>
                  <a:lnTo>
                    <a:pt x="2513" y="1535"/>
                  </a:lnTo>
                  <a:lnTo>
                    <a:pt x="2530" y="1535"/>
                  </a:lnTo>
                  <a:lnTo>
                    <a:pt x="2542" y="1531"/>
                  </a:lnTo>
                  <a:lnTo>
                    <a:pt x="2542" y="1498"/>
                  </a:lnTo>
                  <a:lnTo>
                    <a:pt x="2551" y="1498"/>
                  </a:lnTo>
                  <a:lnTo>
                    <a:pt x="2568" y="1436"/>
                  </a:lnTo>
                  <a:lnTo>
                    <a:pt x="2584" y="1424"/>
                  </a:lnTo>
                  <a:lnTo>
                    <a:pt x="2584" y="1403"/>
                  </a:lnTo>
                  <a:lnTo>
                    <a:pt x="2606" y="1363"/>
                  </a:lnTo>
                  <a:lnTo>
                    <a:pt x="2627" y="1309"/>
                  </a:lnTo>
                  <a:lnTo>
                    <a:pt x="2622" y="1287"/>
                  </a:lnTo>
                  <a:lnTo>
                    <a:pt x="2639" y="1259"/>
                  </a:lnTo>
                  <a:lnTo>
                    <a:pt x="2651" y="1252"/>
                  </a:lnTo>
                  <a:lnTo>
                    <a:pt x="2643" y="1202"/>
                  </a:lnTo>
                  <a:lnTo>
                    <a:pt x="2651" y="1198"/>
                  </a:lnTo>
                  <a:lnTo>
                    <a:pt x="2665" y="1165"/>
                  </a:lnTo>
                  <a:lnTo>
                    <a:pt x="2665" y="1148"/>
                  </a:lnTo>
                  <a:lnTo>
                    <a:pt x="2660" y="1136"/>
                  </a:lnTo>
                  <a:lnTo>
                    <a:pt x="2660" y="1091"/>
                  </a:lnTo>
                  <a:lnTo>
                    <a:pt x="2643" y="1013"/>
                  </a:lnTo>
                  <a:lnTo>
                    <a:pt x="2643" y="980"/>
                  </a:lnTo>
                  <a:lnTo>
                    <a:pt x="2665" y="976"/>
                  </a:lnTo>
                  <a:lnTo>
                    <a:pt x="2676" y="954"/>
                  </a:lnTo>
                  <a:lnTo>
                    <a:pt x="2676" y="914"/>
                  </a:lnTo>
                  <a:lnTo>
                    <a:pt x="2660" y="898"/>
                  </a:lnTo>
                  <a:lnTo>
                    <a:pt x="2660" y="869"/>
                  </a:lnTo>
                  <a:lnTo>
                    <a:pt x="2681" y="827"/>
                  </a:lnTo>
                  <a:lnTo>
                    <a:pt x="2693" y="787"/>
                  </a:lnTo>
                  <a:lnTo>
                    <a:pt x="2698" y="770"/>
                  </a:lnTo>
                  <a:lnTo>
                    <a:pt x="2698" y="737"/>
                  </a:lnTo>
                  <a:lnTo>
                    <a:pt x="2702" y="721"/>
                  </a:lnTo>
                  <a:lnTo>
                    <a:pt x="2702" y="716"/>
                  </a:lnTo>
                  <a:lnTo>
                    <a:pt x="2719" y="666"/>
                  </a:lnTo>
                  <a:lnTo>
                    <a:pt x="2719" y="643"/>
                  </a:lnTo>
                  <a:lnTo>
                    <a:pt x="2714" y="626"/>
                  </a:lnTo>
                  <a:lnTo>
                    <a:pt x="2736" y="593"/>
                  </a:lnTo>
                  <a:lnTo>
                    <a:pt x="2719" y="548"/>
                  </a:lnTo>
                  <a:lnTo>
                    <a:pt x="2731" y="482"/>
                  </a:lnTo>
                  <a:lnTo>
                    <a:pt x="2736" y="461"/>
                  </a:lnTo>
                  <a:lnTo>
                    <a:pt x="2731" y="454"/>
                  </a:lnTo>
                  <a:lnTo>
                    <a:pt x="2719" y="454"/>
                  </a:lnTo>
                  <a:lnTo>
                    <a:pt x="2719" y="421"/>
                  </a:lnTo>
                  <a:lnTo>
                    <a:pt x="2736" y="421"/>
                  </a:lnTo>
                  <a:lnTo>
                    <a:pt x="2747" y="404"/>
                  </a:lnTo>
                  <a:lnTo>
                    <a:pt x="2752" y="317"/>
                  </a:lnTo>
                  <a:lnTo>
                    <a:pt x="2757" y="293"/>
                  </a:lnTo>
                  <a:lnTo>
                    <a:pt x="2752" y="250"/>
                  </a:lnTo>
                  <a:lnTo>
                    <a:pt x="2757" y="189"/>
                  </a:lnTo>
                  <a:lnTo>
                    <a:pt x="2747" y="104"/>
                  </a:lnTo>
                  <a:lnTo>
                    <a:pt x="2747" y="71"/>
                  </a:lnTo>
                  <a:lnTo>
                    <a:pt x="2736" y="66"/>
                  </a:lnTo>
                  <a:lnTo>
                    <a:pt x="2736" y="66"/>
                  </a:lnTo>
                  <a:lnTo>
                    <a:pt x="2736" y="66"/>
                  </a:lnTo>
                  <a:close/>
                  <a:moveTo>
                    <a:pt x="0" y="737"/>
                  </a:moveTo>
                  <a:lnTo>
                    <a:pt x="0" y="732"/>
                  </a:lnTo>
                  <a:lnTo>
                    <a:pt x="17" y="732"/>
                  </a:lnTo>
                  <a:lnTo>
                    <a:pt x="0" y="737"/>
                  </a:lnTo>
                  <a:lnTo>
                    <a:pt x="0" y="737"/>
                  </a:lnTo>
                  <a:lnTo>
                    <a:pt x="0" y="737"/>
                  </a:lnTo>
                  <a:close/>
                  <a:moveTo>
                    <a:pt x="2138" y="1252"/>
                  </a:moveTo>
                  <a:lnTo>
                    <a:pt x="2143" y="1247"/>
                  </a:lnTo>
                  <a:lnTo>
                    <a:pt x="2152" y="1247"/>
                  </a:lnTo>
                  <a:lnTo>
                    <a:pt x="2138" y="1252"/>
                  </a:lnTo>
                  <a:lnTo>
                    <a:pt x="2138" y="1252"/>
                  </a:lnTo>
                  <a:lnTo>
                    <a:pt x="2138" y="1252"/>
                  </a:lnTo>
                  <a:close/>
                  <a:moveTo>
                    <a:pt x="2513" y="2029"/>
                  </a:moveTo>
                  <a:lnTo>
                    <a:pt x="2521" y="2046"/>
                  </a:lnTo>
                  <a:lnTo>
                    <a:pt x="2499" y="2046"/>
                  </a:lnTo>
                  <a:lnTo>
                    <a:pt x="2504" y="2069"/>
                  </a:lnTo>
                  <a:lnTo>
                    <a:pt x="2462" y="2053"/>
                  </a:lnTo>
                  <a:lnTo>
                    <a:pt x="2476" y="2024"/>
                  </a:lnTo>
                  <a:lnTo>
                    <a:pt x="2476" y="1996"/>
                  </a:lnTo>
                  <a:lnTo>
                    <a:pt x="2466" y="1991"/>
                  </a:lnTo>
                  <a:lnTo>
                    <a:pt x="2476" y="1968"/>
                  </a:lnTo>
                  <a:lnTo>
                    <a:pt x="2483" y="1951"/>
                  </a:lnTo>
                  <a:lnTo>
                    <a:pt x="2483" y="1930"/>
                  </a:lnTo>
                  <a:lnTo>
                    <a:pt x="2488" y="1930"/>
                  </a:lnTo>
                  <a:lnTo>
                    <a:pt x="2483" y="1935"/>
                  </a:lnTo>
                  <a:lnTo>
                    <a:pt x="2488" y="1935"/>
                  </a:lnTo>
                  <a:lnTo>
                    <a:pt x="2504" y="1930"/>
                  </a:lnTo>
                  <a:lnTo>
                    <a:pt x="2521" y="1935"/>
                  </a:lnTo>
                  <a:lnTo>
                    <a:pt x="2521" y="1942"/>
                  </a:lnTo>
                  <a:lnTo>
                    <a:pt x="2521" y="1951"/>
                  </a:lnTo>
                  <a:lnTo>
                    <a:pt x="2521" y="1958"/>
                  </a:lnTo>
                  <a:lnTo>
                    <a:pt x="2530" y="1968"/>
                  </a:lnTo>
                  <a:lnTo>
                    <a:pt x="2530" y="1975"/>
                  </a:lnTo>
                  <a:lnTo>
                    <a:pt x="2504" y="1975"/>
                  </a:lnTo>
                  <a:lnTo>
                    <a:pt x="2513" y="1991"/>
                  </a:lnTo>
                  <a:lnTo>
                    <a:pt x="2504" y="1991"/>
                  </a:lnTo>
                  <a:lnTo>
                    <a:pt x="2499" y="1984"/>
                  </a:lnTo>
                  <a:lnTo>
                    <a:pt x="2499" y="1991"/>
                  </a:lnTo>
                  <a:lnTo>
                    <a:pt x="2499" y="1996"/>
                  </a:lnTo>
                  <a:lnTo>
                    <a:pt x="2521" y="2013"/>
                  </a:lnTo>
                  <a:lnTo>
                    <a:pt x="2521" y="2024"/>
                  </a:lnTo>
                  <a:lnTo>
                    <a:pt x="2504" y="2024"/>
                  </a:lnTo>
                  <a:lnTo>
                    <a:pt x="2513" y="2029"/>
                  </a:lnTo>
                  <a:lnTo>
                    <a:pt x="2513" y="2029"/>
                  </a:lnTo>
                  <a:lnTo>
                    <a:pt x="2513" y="2029"/>
                  </a:lnTo>
                  <a:close/>
                  <a:moveTo>
                    <a:pt x="2589" y="1958"/>
                  </a:moveTo>
                  <a:lnTo>
                    <a:pt x="2584" y="1958"/>
                  </a:lnTo>
                  <a:lnTo>
                    <a:pt x="2589" y="1951"/>
                  </a:lnTo>
                  <a:lnTo>
                    <a:pt x="2589" y="1958"/>
                  </a:lnTo>
                  <a:lnTo>
                    <a:pt x="2589" y="1958"/>
                  </a:lnTo>
                  <a:lnTo>
                    <a:pt x="2589" y="1958"/>
                  </a:lnTo>
                  <a:close/>
                  <a:moveTo>
                    <a:pt x="2542" y="1975"/>
                  </a:moveTo>
                  <a:lnTo>
                    <a:pt x="2542" y="1968"/>
                  </a:lnTo>
                  <a:lnTo>
                    <a:pt x="2551" y="1968"/>
                  </a:lnTo>
                  <a:lnTo>
                    <a:pt x="2542" y="1975"/>
                  </a:lnTo>
                  <a:lnTo>
                    <a:pt x="2542" y="1975"/>
                  </a:lnTo>
                  <a:lnTo>
                    <a:pt x="2542" y="1975"/>
                  </a:lnTo>
                  <a:close/>
                  <a:moveTo>
                    <a:pt x="2521" y="1996"/>
                  </a:moveTo>
                  <a:lnTo>
                    <a:pt x="2504" y="1984"/>
                  </a:lnTo>
                  <a:lnTo>
                    <a:pt x="2521" y="1984"/>
                  </a:lnTo>
                  <a:lnTo>
                    <a:pt x="2521" y="1996"/>
                  </a:lnTo>
                  <a:lnTo>
                    <a:pt x="2521" y="1996"/>
                  </a:lnTo>
                  <a:lnTo>
                    <a:pt x="2521" y="1996"/>
                  </a:lnTo>
                  <a:close/>
                  <a:moveTo>
                    <a:pt x="2513" y="1996"/>
                  </a:moveTo>
                  <a:lnTo>
                    <a:pt x="2504" y="1996"/>
                  </a:lnTo>
                  <a:lnTo>
                    <a:pt x="2513" y="1996"/>
                  </a:lnTo>
                  <a:lnTo>
                    <a:pt x="2513" y="1996"/>
                  </a:lnTo>
                  <a:lnTo>
                    <a:pt x="2513" y="1996"/>
                  </a:lnTo>
                  <a:close/>
                  <a:moveTo>
                    <a:pt x="2428" y="2095"/>
                  </a:moveTo>
                  <a:lnTo>
                    <a:pt x="2424" y="2086"/>
                  </a:lnTo>
                  <a:lnTo>
                    <a:pt x="2445" y="2086"/>
                  </a:lnTo>
                  <a:lnTo>
                    <a:pt x="2428" y="2095"/>
                  </a:lnTo>
                  <a:lnTo>
                    <a:pt x="2428" y="2095"/>
                  </a:lnTo>
                  <a:lnTo>
                    <a:pt x="2428" y="2095"/>
                  </a:lnTo>
                  <a:close/>
                  <a:moveTo>
                    <a:pt x="2483" y="2119"/>
                  </a:moveTo>
                  <a:lnTo>
                    <a:pt x="2476" y="2107"/>
                  </a:lnTo>
                  <a:lnTo>
                    <a:pt x="2476" y="2102"/>
                  </a:lnTo>
                  <a:lnTo>
                    <a:pt x="2499" y="2102"/>
                  </a:lnTo>
                  <a:lnTo>
                    <a:pt x="2499" y="2107"/>
                  </a:lnTo>
                  <a:lnTo>
                    <a:pt x="2488" y="2107"/>
                  </a:lnTo>
                  <a:lnTo>
                    <a:pt x="2483" y="2119"/>
                  </a:lnTo>
                  <a:lnTo>
                    <a:pt x="2483" y="2119"/>
                  </a:lnTo>
                  <a:lnTo>
                    <a:pt x="2483" y="2119"/>
                  </a:lnTo>
                  <a:close/>
                  <a:moveTo>
                    <a:pt x="2542" y="2124"/>
                  </a:moveTo>
                  <a:lnTo>
                    <a:pt x="2537" y="2119"/>
                  </a:lnTo>
                  <a:lnTo>
                    <a:pt x="2537" y="2107"/>
                  </a:lnTo>
                  <a:lnTo>
                    <a:pt x="2542" y="2107"/>
                  </a:lnTo>
                  <a:lnTo>
                    <a:pt x="2542" y="2124"/>
                  </a:lnTo>
                  <a:lnTo>
                    <a:pt x="2542" y="2124"/>
                  </a:lnTo>
                  <a:lnTo>
                    <a:pt x="2542" y="2124"/>
                  </a:lnTo>
                  <a:close/>
                  <a:moveTo>
                    <a:pt x="2504" y="2135"/>
                  </a:moveTo>
                  <a:lnTo>
                    <a:pt x="2504" y="2119"/>
                  </a:lnTo>
                  <a:lnTo>
                    <a:pt x="2513" y="2124"/>
                  </a:lnTo>
                  <a:lnTo>
                    <a:pt x="2504" y="2135"/>
                  </a:lnTo>
                  <a:lnTo>
                    <a:pt x="2504" y="2135"/>
                  </a:lnTo>
                  <a:lnTo>
                    <a:pt x="2504" y="2135"/>
                  </a:lnTo>
                  <a:close/>
                  <a:moveTo>
                    <a:pt x="2488" y="2140"/>
                  </a:moveTo>
                  <a:lnTo>
                    <a:pt x="2483" y="2135"/>
                  </a:lnTo>
                  <a:lnTo>
                    <a:pt x="2488" y="2135"/>
                  </a:lnTo>
                  <a:lnTo>
                    <a:pt x="2488" y="2140"/>
                  </a:lnTo>
                  <a:lnTo>
                    <a:pt x="2488" y="2140"/>
                  </a:lnTo>
                  <a:lnTo>
                    <a:pt x="2488" y="2140"/>
                  </a:lnTo>
                  <a:close/>
                  <a:moveTo>
                    <a:pt x="2462" y="2140"/>
                  </a:moveTo>
                  <a:lnTo>
                    <a:pt x="2462" y="2135"/>
                  </a:lnTo>
                  <a:lnTo>
                    <a:pt x="2466" y="2135"/>
                  </a:lnTo>
                  <a:lnTo>
                    <a:pt x="2462" y="2140"/>
                  </a:lnTo>
                  <a:lnTo>
                    <a:pt x="2462" y="2140"/>
                  </a:lnTo>
                  <a:lnTo>
                    <a:pt x="2462" y="2140"/>
                  </a:lnTo>
                  <a:close/>
                  <a:moveTo>
                    <a:pt x="2483" y="2152"/>
                  </a:moveTo>
                  <a:lnTo>
                    <a:pt x="2476" y="2140"/>
                  </a:lnTo>
                  <a:lnTo>
                    <a:pt x="2483" y="2135"/>
                  </a:lnTo>
                  <a:lnTo>
                    <a:pt x="2488" y="2140"/>
                  </a:lnTo>
                  <a:lnTo>
                    <a:pt x="2483" y="2152"/>
                  </a:lnTo>
                  <a:lnTo>
                    <a:pt x="2483" y="2152"/>
                  </a:lnTo>
                  <a:lnTo>
                    <a:pt x="2483" y="2152"/>
                  </a:lnTo>
                  <a:close/>
                  <a:moveTo>
                    <a:pt x="2504" y="2152"/>
                  </a:moveTo>
                  <a:lnTo>
                    <a:pt x="2499" y="2140"/>
                  </a:lnTo>
                  <a:lnTo>
                    <a:pt x="2504" y="2140"/>
                  </a:lnTo>
                  <a:lnTo>
                    <a:pt x="2504" y="2152"/>
                  </a:lnTo>
                  <a:lnTo>
                    <a:pt x="2504" y="2152"/>
                  </a:lnTo>
                  <a:lnTo>
                    <a:pt x="2504" y="2152"/>
                  </a:lnTo>
                  <a:close/>
                  <a:moveTo>
                    <a:pt x="2499" y="2152"/>
                  </a:moveTo>
                  <a:lnTo>
                    <a:pt x="2488" y="2152"/>
                  </a:lnTo>
                  <a:lnTo>
                    <a:pt x="2499" y="2140"/>
                  </a:lnTo>
                  <a:lnTo>
                    <a:pt x="2499" y="2152"/>
                  </a:lnTo>
                  <a:lnTo>
                    <a:pt x="2499" y="2152"/>
                  </a:lnTo>
                  <a:lnTo>
                    <a:pt x="2499" y="2152"/>
                  </a:lnTo>
                  <a:close/>
                  <a:moveTo>
                    <a:pt x="2537" y="2157"/>
                  </a:moveTo>
                  <a:lnTo>
                    <a:pt x="2537" y="2152"/>
                  </a:lnTo>
                  <a:lnTo>
                    <a:pt x="2542" y="2157"/>
                  </a:lnTo>
                  <a:lnTo>
                    <a:pt x="2537" y="2157"/>
                  </a:lnTo>
                  <a:lnTo>
                    <a:pt x="2537" y="2157"/>
                  </a:lnTo>
                  <a:lnTo>
                    <a:pt x="2537" y="2157"/>
                  </a:lnTo>
                  <a:close/>
                  <a:moveTo>
                    <a:pt x="2488" y="2157"/>
                  </a:moveTo>
                  <a:lnTo>
                    <a:pt x="2476" y="2152"/>
                  </a:lnTo>
                  <a:lnTo>
                    <a:pt x="2488" y="2152"/>
                  </a:lnTo>
                  <a:lnTo>
                    <a:pt x="2488" y="2157"/>
                  </a:lnTo>
                  <a:lnTo>
                    <a:pt x="2488" y="2157"/>
                  </a:lnTo>
                  <a:lnTo>
                    <a:pt x="2488" y="2157"/>
                  </a:lnTo>
                  <a:close/>
                  <a:moveTo>
                    <a:pt x="2504" y="2157"/>
                  </a:moveTo>
                  <a:lnTo>
                    <a:pt x="2499" y="2157"/>
                  </a:lnTo>
                  <a:lnTo>
                    <a:pt x="2504" y="2152"/>
                  </a:lnTo>
                  <a:lnTo>
                    <a:pt x="2504" y="2157"/>
                  </a:lnTo>
                  <a:lnTo>
                    <a:pt x="2504" y="2157"/>
                  </a:lnTo>
                  <a:lnTo>
                    <a:pt x="2504" y="2157"/>
                  </a:lnTo>
                  <a:close/>
                  <a:moveTo>
                    <a:pt x="2568" y="2190"/>
                  </a:moveTo>
                  <a:lnTo>
                    <a:pt x="2537" y="2206"/>
                  </a:lnTo>
                  <a:lnTo>
                    <a:pt x="2530" y="2197"/>
                  </a:lnTo>
                  <a:lnTo>
                    <a:pt x="2537" y="2190"/>
                  </a:lnTo>
                  <a:lnTo>
                    <a:pt x="2530" y="2190"/>
                  </a:lnTo>
                  <a:lnTo>
                    <a:pt x="2521" y="2180"/>
                  </a:lnTo>
                  <a:lnTo>
                    <a:pt x="2537" y="2173"/>
                  </a:lnTo>
                  <a:lnTo>
                    <a:pt x="2537" y="2157"/>
                  </a:lnTo>
                  <a:lnTo>
                    <a:pt x="2551" y="2157"/>
                  </a:lnTo>
                  <a:lnTo>
                    <a:pt x="2575" y="2161"/>
                  </a:lnTo>
                  <a:lnTo>
                    <a:pt x="2568" y="2180"/>
                  </a:lnTo>
                  <a:lnTo>
                    <a:pt x="2551" y="2173"/>
                  </a:lnTo>
                  <a:lnTo>
                    <a:pt x="2568" y="2180"/>
                  </a:lnTo>
                  <a:lnTo>
                    <a:pt x="2568" y="2190"/>
                  </a:lnTo>
                  <a:lnTo>
                    <a:pt x="2568" y="2190"/>
                  </a:lnTo>
                  <a:lnTo>
                    <a:pt x="2568" y="2190"/>
                  </a:lnTo>
                  <a:close/>
                  <a:moveTo>
                    <a:pt x="2488" y="2161"/>
                  </a:moveTo>
                  <a:lnTo>
                    <a:pt x="2488" y="2157"/>
                  </a:lnTo>
                  <a:lnTo>
                    <a:pt x="2499" y="2157"/>
                  </a:lnTo>
                  <a:lnTo>
                    <a:pt x="2488" y="2161"/>
                  </a:lnTo>
                  <a:lnTo>
                    <a:pt x="2488" y="2161"/>
                  </a:lnTo>
                  <a:lnTo>
                    <a:pt x="2488" y="2161"/>
                  </a:lnTo>
                  <a:close/>
                  <a:moveTo>
                    <a:pt x="2462" y="2173"/>
                  </a:moveTo>
                  <a:lnTo>
                    <a:pt x="2445" y="2161"/>
                  </a:lnTo>
                  <a:lnTo>
                    <a:pt x="2462" y="2157"/>
                  </a:lnTo>
                  <a:lnTo>
                    <a:pt x="2466" y="2161"/>
                  </a:lnTo>
                  <a:lnTo>
                    <a:pt x="2462" y="2173"/>
                  </a:lnTo>
                  <a:lnTo>
                    <a:pt x="2462" y="2173"/>
                  </a:lnTo>
                  <a:lnTo>
                    <a:pt x="2462" y="2173"/>
                  </a:lnTo>
                  <a:close/>
                  <a:moveTo>
                    <a:pt x="2483" y="2173"/>
                  </a:moveTo>
                  <a:lnTo>
                    <a:pt x="2476" y="2157"/>
                  </a:lnTo>
                  <a:lnTo>
                    <a:pt x="2488" y="2161"/>
                  </a:lnTo>
                  <a:lnTo>
                    <a:pt x="2488" y="2173"/>
                  </a:lnTo>
                  <a:lnTo>
                    <a:pt x="2483" y="2173"/>
                  </a:lnTo>
                  <a:lnTo>
                    <a:pt x="2483" y="2173"/>
                  </a:lnTo>
                  <a:lnTo>
                    <a:pt x="2483" y="2173"/>
                  </a:lnTo>
                  <a:close/>
                  <a:moveTo>
                    <a:pt x="2462" y="2173"/>
                  </a:moveTo>
                  <a:lnTo>
                    <a:pt x="2462" y="2161"/>
                  </a:lnTo>
                  <a:lnTo>
                    <a:pt x="2466" y="2161"/>
                  </a:lnTo>
                  <a:lnTo>
                    <a:pt x="2476" y="2173"/>
                  </a:lnTo>
                  <a:lnTo>
                    <a:pt x="2462" y="2173"/>
                  </a:lnTo>
                  <a:lnTo>
                    <a:pt x="2462" y="2173"/>
                  </a:lnTo>
                  <a:lnTo>
                    <a:pt x="2462" y="2173"/>
                  </a:lnTo>
                  <a:close/>
                  <a:moveTo>
                    <a:pt x="2504" y="2190"/>
                  </a:moveTo>
                  <a:lnTo>
                    <a:pt x="2499" y="2173"/>
                  </a:lnTo>
                  <a:lnTo>
                    <a:pt x="2504" y="2173"/>
                  </a:lnTo>
                  <a:lnTo>
                    <a:pt x="2513" y="2180"/>
                  </a:lnTo>
                  <a:lnTo>
                    <a:pt x="2504" y="2190"/>
                  </a:lnTo>
                  <a:lnTo>
                    <a:pt x="2504" y="2190"/>
                  </a:lnTo>
                  <a:lnTo>
                    <a:pt x="2504" y="2190"/>
                  </a:lnTo>
                  <a:close/>
                  <a:moveTo>
                    <a:pt x="2428" y="2180"/>
                  </a:moveTo>
                  <a:lnTo>
                    <a:pt x="2428" y="2173"/>
                  </a:lnTo>
                  <a:lnTo>
                    <a:pt x="2433" y="2173"/>
                  </a:lnTo>
                  <a:lnTo>
                    <a:pt x="2428" y="2180"/>
                  </a:lnTo>
                  <a:lnTo>
                    <a:pt x="2428" y="2180"/>
                  </a:lnTo>
                  <a:lnTo>
                    <a:pt x="2428" y="2180"/>
                  </a:lnTo>
                  <a:close/>
                  <a:moveTo>
                    <a:pt x="2466" y="2190"/>
                  </a:moveTo>
                  <a:lnTo>
                    <a:pt x="2462" y="2180"/>
                  </a:lnTo>
                  <a:lnTo>
                    <a:pt x="2483" y="2173"/>
                  </a:lnTo>
                  <a:lnTo>
                    <a:pt x="2488" y="2180"/>
                  </a:lnTo>
                  <a:lnTo>
                    <a:pt x="2466" y="2190"/>
                  </a:lnTo>
                  <a:lnTo>
                    <a:pt x="2466" y="2190"/>
                  </a:lnTo>
                  <a:lnTo>
                    <a:pt x="2466" y="2190"/>
                  </a:lnTo>
                  <a:close/>
                  <a:moveTo>
                    <a:pt x="2450" y="2180"/>
                  </a:moveTo>
                  <a:lnTo>
                    <a:pt x="2433" y="2180"/>
                  </a:lnTo>
                  <a:lnTo>
                    <a:pt x="2445" y="2173"/>
                  </a:lnTo>
                  <a:lnTo>
                    <a:pt x="2450" y="2180"/>
                  </a:lnTo>
                  <a:lnTo>
                    <a:pt x="2450" y="2180"/>
                  </a:lnTo>
                  <a:lnTo>
                    <a:pt x="2450" y="2180"/>
                  </a:lnTo>
                  <a:close/>
                  <a:moveTo>
                    <a:pt x="2462" y="2197"/>
                  </a:moveTo>
                  <a:lnTo>
                    <a:pt x="2445" y="2190"/>
                  </a:lnTo>
                  <a:lnTo>
                    <a:pt x="2450" y="2190"/>
                  </a:lnTo>
                  <a:lnTo>
                    <a:pt x="2462" y="2197"/>
                  </a:lnTo>
                  <a:lnTo>
                    <a:pt x="2462" y="2197"/>
                  </a:lnTo>
                  <a:lnTo>
                    <a:pt x="2462" y="2197"/>
                  </a:lnTo>
                  <a:close/>
                  <a:moveTo>
                    <a:pt x="2504" y="2197"/>
                  </a:moveTo>
                  <a:lnTo>
                    <a:pt x="2504" y="2190"/>
                  </a:lnTo>
                  <a:lnTo>
                    <a:pt x="2513" y="2190"/>
                  </a:lnTo>
                  <a:lnTo>
                    <a:pt x="2504" y="2197"/>
                  </a:lnTo>
                  <a:lnTo>
                    <a:pt x="2504" y="2197"/>
                  </a:lnTo>
                  <a:lnTo>
                    <a:pt x="2504" y="2197"/>
                  </a:lnTo>
                  <a:close/>
                  <a:moveTo>
                    <a:pt x="2499" y="2206"/>
                  </a:moveTo>
                  <a:lnTo>
                    <a:pt x="2488" y="2197"/>
                  </a:lnTo>
                  <a:lnTo>
                    <a:pt x="2488" y="2190"/>
                  </a:lnTo>
                  <a:lnTo>
                    <a:pt x="2499" y="2206"/>
                  </a:lnTo>
                  <a:lnTo>
                    <a:pt x="2499" y="2206"/>
                  </a:lnTo>
                  <a:lnTo>
                    <a:pt x="2499" y="2206"/>
                  </a:lnTo>
                  <a:close/>
                  <a:moveTo>
                    <a:pt x="2483" y="2197"/>
                  </a:moveTo>
                  <a:lnTo>
                    <a:pt x="2476" y="2197"/>
                  </a:lnTo>
                  <a:lnTo>
                    <a:pt x="2488" y="2190"/>
                  </a:lnTo>
                  <a:lnTo>
                    <a:pt x="2483" y="2197"/>
                  </a:lnTo>
                  <a:lnTo>
                    <a:pt x="2483" y="2197"/>
                  </a:lnTo>
                  <a:lnTo>
                    <a:pt x="2483" y="2197"/>
                  </a:lnTo>
                  <a:close/>
                  <a:moveTo>
                    <a:pt x="2407" y="2206"/>
                  </a:moveTo>
                  <a:lnTo>
                    <a:pt x="2407" y="2197"/>
                  </a:lnTo>
                  <a:lnTo>
                    <a:pt x="2407" y="2190"/>
                  </a:lnTo>
                  <a:lnTo>
                    <a:pt x="2412" y="2197"/>
                  </a:lnTo>
                  <a:lnTo>
                    <a:pt x="2407" y="2206"/>
                  </a:lnTo>
                  <a:lnTo>
                    <a:pt x="2407" y="2206"/>
                  </a:lnTo>
                  <a:lnTo>
                    <a:pt x="2407" y="2206"/>
                  </a:lnTo>
                  <a:close/>
                  <a:moveTo>
                    <a:pt x="2466" y="2213"/>
                  </a:moveTo>
                  <a:lnTo>
                    <a:pt x="2462" y="2213"/>
                  </a:lnTo>
                  <a:lnTo>
                    <a:pt x="2476" y="2197"/>
                  </a:lnTo>
                  <a:lnTo>
                    <a:pt x="2488" y="2206"/>
                  </a:lnTo>
                  <a:lnTo>
                    <a:pt x="2466" y="2213"/>
                  </a:lnTo>
                  <a:lnTo>
                    <a:pt x="2466" y="2213"/>
                  </a:lnTo>
                  <a:lnTo>
                    <a:pt x="2466" y="2213"/>
                  </a:lnTo>
                  <a:close/>
                  <a:moveTo>
                    <a:pt x="2504" y="2235"/>
                  </a:moveTo>
                  <a:lnTo>
                    <a:pt x="2466" y="2230"/>
                  </a:lnTo>
                  <a:lnTo>
                    <a:pt x="2466" y="2218"/>
                  </a:lnTo>
                  <a:lnTo>
                    <a:pt x="2499" y="2213"/>
                  </a:lnTo>
                  <a:lnTo>
                    <a:pt x="2504" y="2218"/>
                  </a:lnTo>
                  <a:lnTo>
                    <a:pt x="2504" y="2235"/>
                  </a:lnTo>
                  <a:lnTo>
                    <a:pt x="2504" y="2235"/>
                  </a:lnTo>
                  <a:lnTo>
                    <a:pt x="2504" y="2235"/>
                  </a:lnTo>
                  <a:close/>
                  <a:moveTo>
                    <a:pt x="2462" y="2235"/>
                  </a:moveTo>
                  <a:lnTo>
                    <a:pt x="2450" y="2230"/>
                  </a:lnTo>
                  <a:lnTo>
                    <a:pt x="2462" y="2218"/>
                  </a:lnTo>
                  <a:lnTo>
                    <a:pt x="2466" y="2230"/>
                  </a:lnTo>
                  <a:lnTo>
                    <a:pt x="2462" y="2235"/>
                  </a:lnTo>
                  <a:lnTo>
                    <a:pt x="2462" y="2235"/>
                  </a:lnTo>
                  <a:lnTo>
                    <a:pt x="2462" y="2235"/>
                  </a:lnTo>
                  <a:close/>
                  <a:moveTo>
                    <a:pt x="2483" y="2247"/>
                  </a:moveTo>
                  <a:lnTo>
                    <a:pt x="2476" y="2230"/>
                  </a:lnTo>
                  <a:lnTo>
                    <a:pt x="2483" y="2230"/>
                  </a:lnTo>
                  <a:lnTo>
                    <a:pt x="2499" y="2235"/>
                  </a:lnTo>
                  <a:lnTo>
                    <a:pt x="2483" y="2247"/>
                  </a:lnTo>
                  <a:lnTo>
                    <a:pt x="2483" y="2247"/>
                  </a:lnTo>
                  <a:lnTo>
                    <a:pt x="2483" y="2247"/>
                  </a:lnTo>
                  <a:close/>
                  <a:moveTo>
                    <a:pt x="2462" y="2247"/>
                  </a:moveTo>
                  <a:lnTo>
                    <a:pt x="2445" y="2235"/>
                  </a:lnTo>
                  <a:lnTo>
                    <a:pt x="2462" y="2235"/>
                  </a:lnTo>
                  <a:lnTo>
                    <a:pt x="2462" y="2247"/>
                  </a:lnTo>
                  <a:lnTo>
                    <a:pt x="2462" y="2247"/>
                  </a:lnTo>
                  <a:lnTo>
                    <a:pt x="2462" y="2247"/>
                  </a:lnTo>
                  <a:close/>
                  <a:moveTo>
                    <a:pt x="2488" y="2251"/>
                  </a:moveTo>
                  <a:lnTo>
                    <a:pt x="2483" y="2247"/>
                  </a:lnTo>
                  <a:lnTo>
                    <a:pt x="2499" y="2247"/>
                  </a:lnTo>
                  <a:lnTo>
                    <a:pt x="2488" y="2251"/>
                  </a:lnTo>
                  <a:lnTo>
                    <a:pt x="2488" y="2251"/>
                  </a:lnTo>
                  <a:lnTo>
                    <a:pt x="2488" y="2251"/>
                  </a:lnTo>
                  <a:close/>
                  <a:moveTo>
                    <a:pt x="2450" y="2263"/>
                  </a:moveTo>
                  <a:lnTo>
                    <a:pt x="2445" y="2263"/>
                  </a:lnTo>
                  <a:lnTo>
                    <a:pt x="2450" y="2247"/>
                  </a:lnTo>
                  <a:lnTo>
                    <a:pt x="2450" y="2263"/>
                  </a:lnTo>
                  <a:lnTo>
                    <a:pt x="2450" y="2263"/>
                  </a:lnTo>
                  <a:lnTo>
                    <a:pt x="2450" y="2263"/>
                  </a:lnTo>
                  <a:close/>
                  <a:moveTo>
                    <a:pt x="2476" y="2263"/>
                  </a:moveTo>
                  <a:lnTo>
                    <a:pt x="2483" y="2247"/>
                  </a:lnTo>
                  <a:lnTo>
                    <a:pt x="2499" y="2251"/>
                  </a:lnTo>
                  <a:lnTo>
                    <a:pt x="2499" y="2263"/>
                  </a:lnTo>
                  <a:lnTo>
                    <a:pt x="2483" y="2251"/>
                  </a:lnTo>
                  <a:lnTo>
                    <a:pt x="2476" y="2263"/>
                  </a:lnTo>
                  <a:lnTo>
                    <a:pt x="2476" y="2263"/>
                  </a:lnTo>
                  <a:lnTo>
                    <a:pt x="2476" y="2263"/>
                  </a:lnTo>
                  <a:close/>
                  <a:moveTo>
                    <a:pt x="2504" y="2272"/>
                  </a:moveTo>
                  <a:lnTo>
                    <a:pt x="2499" y="2268"/>
                  </a:lnTo>
                  <a:lnTo>
                    <a:pt x="2504" y="2251"/>
                  </a:lnTo>
                  <a:lnTo>
                    <a:pt x="2513" y="2251"/>
                  </a:lnTo>
                  <a:lnTo>
                    <a:pt x="2504" y="2272"/>
                  </a:lnTo>
                  <a:lnTo>
                    <a:pt x="2504" y="2272"/>
                  </a:lnTo>
                  <a:lnTo>
                    <a:pt x="2504" y="2272"/>
                  </a:lnTo>
                  <a:close/>
                  <a:moveTo>
                    <a:pt x="2450" y="2272"/>
                  </a:moveTo>
                  <a:lnTo>
                    <a:pt x="2450" y="2263"/>
                  </a:lnTo>
                  <a:lnTo>
                    <a:pt x="2462" y="2251"/>
                  </a:lnTo>
                  <a:lnTo>
                    <a:pt x="2466" y="2268"/>
                  </a:lnTo>
                  <a:lnTo>
                    <a:pt x="2450" y="2272"/>
                  </a:lnTo>
                  <a:lnTo>
                    <a:pt x="2450" y="2272"/>
                  </a:lnTo>
                  <a:lnTo>
                    <a:pt x="2450" y="2272"/>
                  </a:lnTo>
                  <a:close/>
                  <a:moveTo>
                    <a:pt x="2483" y="2272"/>
                  </a:moveTo>
                  <a:lnTo>
                    <a:pt x="2476" y="2263"/>
                  </a:lnTo>
                  <a:lnTo>
                    <a:pt x="2483" y="2263"/>
                  </a:lnTo>
                  <a:lnTo>
                    <a:pt x="2488" y="2268"/>
                  </a:lnTo>
                  <a:lnTo>
                    <a:pt x="2483" y="2272"/>
                  </a:lnTo>
                  <a:lnTo>
                    <a:pt x="2483" y="2272"/>
                  </a:lnTo>
                  <a:lnTo>
                    <a:pt x="2483" y="2272"/>
                  </a:lnTo>
                  <a:close/>
                  <a:moveTo>
                    <a:pt x="2433" y="2272"/>
                  </a:moveTo>
                  <a:lnTo>
                    <a:pt x="2433" y="2268"/>
                  </a:lnTo>
                  <a:lnTo>
                    <a:pt x="2445" y="2263"/>
                  </a:lnTo>
                  <a:lnTo>
                    <a:pt x="2445" y="2272"/>
                  </a:lnTo>
                  <a:lnTo>
                    <a:pt x="2433" y="2272"/>
                  </a:lnTo>
                  <a:lnTo>
                    <a:pt x="2433" y="2272"/>
                  </a:lnTo>
                  <a:lnTo>
                    <a:pt x="2433" y="2272"/>
                  </a:lnTo>
                  <a:close/>
                  <a:moveTo>
                    <a:pt x="2483" y="2289"/>
                  </a:moveTo>
                  <a:lnTo>
                    <a:pt x="2476" y="2284"/>
                  </a:lnTo>
                  <a:lnTo>
                    <a:pt x="2483" y="2272"/>
                  </a:lnTo>
                  <a:lnTo>
                    <a:pt x="2488" y="2284"/>
                  </a:lnTo>
                  <a:lnTo>
                    <a:pt x="2483" y="2289"/>
                  </a:lnTo>
                  <a:lnTo>
                    <a:pt x="2483" y="2289"/>
                  </a:lnTo>
                  <a:lnTo>
                    <a:pt x="2483" y="2289"/>
                  </a:lnTo>
                  <a:close/>
                  <a:moveTo>
                    <a:pt x="2488" y="2301"/>
                  </a:moveTo>
                  <a:lnTo>
                    <a:pt x="2488" y="2289"/>
                  </a:lnTo>
                  <a:lnTo>
                    <a:pt x="2504" y="2284"/>
                  </a:lnTo>
                  <a:lnTo>
                    <a:pt x="2504" y="2289"/>
                  </a:lnTo>
                  <a:lnTo>
                    <a:pt x="2488" y="2301"/>
                  </a:lnTo>
                  <a:lnTo>
                    <a:pt x="2488" y="2301"/>
                  </a:lnTo>
                  <a:lnTo>
                    <a:pt x="2488" y="2301"/>
                  </a:lnTo>
                  <a:close/>
                  <a:moveTo>
                    <a:pt x="2412" y="2308"/>
                  </a:moveTo>
                  <a:lnTo>
                    <a:pt x="2407" y="2301"/>
                  </a:lnTo>
                  <a:lnTo>
                    <a:pt x="2424" y="2301"/>
                  </a:lnTo>
                  <a:lnTo>
                    <a:pt x="2412" y="2301"/>
                  </a:lnTo>
                  <a:lnTo>
                    <a:pt x="2407" y="2289"/>
                  </a:lnTo>
                  <a:lnTo>
                    <a:pt x="2424" y="2289"/>
                  </a:lnTo>
                  <a:lnTo>
                    <a:pt x="2433" y="2284"/>
                  </a:lnTo>
                  <a:lnTo>
                    <a:pt x="2428" y="2301"/>
                  </a:lnTo>
                  <a:lnTo>
                    <a:pt x="2412" y="2308"/>
                  </a:lnTo>
                  <a:lnTo>
                    <a:pt x="2412" y="2308"/>
                  </a:lnTo>
                  <a:lnTo>
                    <a:pt x="2412" y="2308"/>
                  </a:lnTo>
                  <a:close/>
                  <a:moveTo>
                    <a:pt x="2504" y="2301"/>
                  </a:moveTo>
                  <a:lnTo>
                    <a:pt x="2499" y="2301"/>
                  </a:lnTo>
                  <a:lnTo>
                    <a:pt x="2499" y="2289"/>
                  </a:lnTo>
                  <a:lnTo>
                    <a:pt x="2504" y="2301"/>
                  </a:lnTo>
                  <a:lnTo>
                    <a:pt x="2504" y="2301"/>
                  </a:lnTo>
                  <a:lnTo>
                    <a:pt x="2504" y="2301"/>
                  </a:lnTo>
                  <a:close/>
                  <a:moveTo>
                    <a:pt x="2499" y="2317"/>
                  </a:moveTo>
                  <a:lnTo>
                    <a:pt x="2488" y="2301"/>
                  </a:lnTo>
                  <a:lnTo>
                    <a:pt x="2504" y="2308"/>
                  </a:lnTo>
                  <a:lnTo>
                    <a:pt x="2499" y="2317"/>
                  </a:lnTo>
                  <a:lnTo>
                    <a:pt x="2499" y="2317"/>
                  </a:lnTo>
                  <a:lnTo>
                    <a:pt x="2499" y="2317"/>
                  </a:lnTo>
                  <a:close/>
                  <a:moveTo>
                    <a:pt x="2476" y="2400"/>
                  </a:moveTo>
                  <a:lnTo>
                    <a:pt x="2476" y="2395"/>
                  </a:lnTo>
                  <a:lnTo>
                    <a:pt x="2488" y="2395"/>
                  </a:lnTo>
                  <a:lnTo>
                    <a:pt x="2476" y="2400"/>
                  </a:lnTo>
                  <a:lnTo>
                    <a:pt x="2476" y="2400"/>
                  </a:lnTo>
                  <a:lnTo>
                    <a:pt x="2476" y="2400"/>
                  </a:lnTo>
                  <a:close/>
                  <a:moveTo>
                    <a:pt x="2450" y="2400"/>
                  </a:moveTo>
                  <a:lnTo>
                    <a:pt x="2450" y="2395"/>
                  </a:lnTo>
                  <a:lnTo>
                    <a:pt x="2462" y="2395"/>
                  </a:lnTo>
                  <a:lnTo>
                    <a:pt x="2450" y="2400"/>
                  </a:lnTo>
                  <a:lnTo>
                    <a:pt x="2450" y="2400"/>
                  </a:lnTo>
                  <a:lnTo>
                    <a:pt x="2450" y="2400"/>
                  </a:lnTo>
                  <a:close/>
                  <a:moveTo>
                    <a:pt x="2412" y="2457"/>
                  </a:moveTo>
                  <a:lnTo>
                    <a:pt x="2407" y="2452"/>
                  </a:lnTo>
                  <a:lnTo>
                    <a:pt x="2424" y="2457"/>
                  </a:lnTo>
                  <a:lnTo>
                    <a:pt x="2412" y="2457"/>
                  </a:lnTo>
                  <a:lnTo>
                    <a:pt x="2412" y="2457"/>
                  </a:lnTo>
                  <a:lnTo>
                    <a:pt x="2412" y="2457"/>
                  </a:lnTo>
                  <a:close/>
                  <a:moveTo>
                    <a:pt x="2407" y="2469"/>
                  </a:moveTo>
                  <a:lnTo>
                    <a:pt x="2391" y="2457"/>
                  </a:lnTo>
                  <a:lnTo>
                    <a:pt x="2407" y="2452"/>
                  </a:lnTo>
                  <a:lnTo>
                    <a:pt x="2412" y="2469"/>
                  </a:lnTo>
                  <a:lnTo>
                    <a:pt x="2407" y="2469"/>
                  </a:lnTo>
                  <a:lnTo>
                    <a:pt x="2407" y="2469"/>
                  </a:lnTo>
                  <a:lnTo>
                    <a:pt x="2407" y="2469"/>
                  </a:lnTo>
                  <a:close/>
                  <a:moveTo>
                    <a:pt x="2462" y="2485"/>
                  </a:moveTo>
                  <a:lnTo>
                    <a:pt x="2450" y="2473"/>
                  </a:lnTo>
                  <a:lnTo>
                    <a:pt x="2466" y="2469"/>
                  </a:lnTo>
                  <a:lnTo>
                    <a:pt x="2499" y="2473"/>
                  </a:lnTo>
                  <a:lnTo>
                    <a:pt x="2488" y="2473"/>
                  </a:lnTo>
                  <a:lnTo>
                    <a:pt x="2462" y="2485"/>
                  </a:lnTo>
                  <a:lnTo>
                    <a:pt x="2462" y="2485"/>
                  </a:lnTo>
                  <a:lnTo>
                    <a:pt x="2462" y="2485"/>
                  </a:lnTo>
                  <a:close/>
                  <a:moveTo>
                    <a:pt x="2424" y="2490"/>
                  </a:moveTo>
                  <a:lnTo>
                    <a:pt x="2412" y="2485"/>
                  </a:lnTo>
                  <a:lnTo>
                    <a:pt x="2395" y="2485"/>
                  </a:lnTo>
                  <a:lnTo>
                    <a:pt x="2428" y="2469"/>
                  </a:lnTo>
                  <a:lnTo>
                    <a:pt x="2428" y="2485"/>
                  </a:lnTo>
                  <a:lnTo>
                    <a:pt x="2424" y="2490"/>
                  </a:lnTo>
                  <a:lnTo>
                    <a:pt x="2424" y="2490"/>
                  </a:lnTo>
                  <a:lnTo>
                    <a:pt x="2424" y="2490"/>
                  </a:lnTo>
                  <a:close/>
                  <a:moveTo>
                    <a:pt x="2395" y="2544"/>
                  </a:moveTo>
                  <a:lnTo>
                    <a:pt x="2395" y="2539"/>
                  </a:lnTo>
                  <a:lnTo>
                    <a:pt x="2391" y="2523"/>
                  </a:lnTo>
                  <a:lnTo>
                    <a:pt x="2374" y="2523"/>
                  </a:lnTo>
                  <a:lnTo>
                    <a:pt x="2391" y="2506"/>
                  </a:lnTo>
                  <a:lnTo>
                    <a:pt x="2374" y="2511"/>
                  </a:lnTo>
                  <a:lnTo>
                    <a:pt x="2374" y="2490"/>
                  </a:lnTo>
                  <a:lnTo>
                    <a:pt x="2379" y="2485"/>
                  </a:lnTo>
                  <a:lnTo>
                    <a:pt x="2391" y="2485"/>
                  </a:lnTo>
                  <a:lnTo>
                    <a:pt x="2407" y="2528"/>
                  </a:lnTo>
                  <a:lnTo>
                    <a:pt x="2407" y="2539"/>
                  </a:lnTo>
                  <a:lnTo>
                    <a:pt x="2395" y="2544"/>
                  </a:lnTo>
                  <a:lnTo>
                    <a:pt x="2395" y="2544"/>
                  </a:lnTo>
                  <a:lnTo>
                    <a:pt x="2395" y="2544"/>
                  </a:lnTo>
                  <a:close/>
                  <a:moveTo>
                    <a:pt x="2412" y="2523"/>
                  </a:moveTo>
                  <a:lnTo>
                    <a:pt x="2395" y="2490"/>
                  </a:lnTo>
                  <a:lnTo>
                    <a:pt x="2428" y="2495"/>
                  </a:lnTo>
                  <a:lnTo>
                    <a:pt x="2428" y="2511"/>
                  </a:lnTo>
                  <a:lnTo>
                    <a:pt x="2412" y="2523"/>
                  </a:lnTo>
                  <a:lnTo>
                    <a:pt x="2412" y="2523"/>
                  </a:lnTo>
                  <a:lnTo>
                    <a:pt x="2412" y="2523"/>
                  </a:lnTo>
                  <a:close/>
                  <a:moveTo>
                    <a:pt x="2445" y="2511"/>
                  </a:moveTo>
                  <a:lnTo>
                    <a:pt x="2445" y="2506"/>
                  </a:lnTo>
                  <a:lnTo>
                    <a:pt x="2445" y="2490"/>
                  </a:lnTo>
                  <a:lnTo>
                    <a:pt x="2462" y="2506"/>
                  </a:lnTo>
                  <a:lnTo>
                    <a:pt x="2445" y="2511"/>
                  </a:lnTo>
                  <a:lnTo>
                    <a:pt x="2445" y="2511"/>
                  </a:lnTo>
                  <a:lnTo>
                    <a:pt x="2445" y="2511"/>
                  </a:lnTo>
                  <a:close/>
                  <a:moveTo>
                    <a:pt x="2445" y="2544"/>
                  </a:moveTo>
                  <a:lnTo>
                    <a:pt x="2412" y="2539"/>
                  </a:lnTo>
                  <a:lnTo>
                    <a:pt x="2412" y="2528"/>
                  </a:lnTo>
                  <a:lnTo>
                    <a:pt x="2424" y="2523"/>
                  </a:lnTo>
                  <a:lnTo>
                    <a:pt x="2433" y="2523"/>
                  </a:lnTo>
                  <a:lnTo>
                    <a:pt x="2428" y="2511"/>
                  </a:lnTo>
                  <a:lnTo>
                    <a:pt x="2433" y="2490"/>
                  </a:lnTo>
                  <a:lnTo>
                    <a:pt x="2445" y="2523"/>
                  </a:lnTo>
                  <a:lnTo>
                    <a:pt x="2445" y="2539"/>
                  </a:lnTo>
                  <a:lnTo>
                    <a:pt x="2450" y="2539"/>
                  </a:lnTo>
                  <a:lnTo>
                    <a:pt x="2445" y="2544"/>
                  </a:lnTo>
                  <a:lnTo>
                    <a:pt x="2445" y="2544"/>
                  </a:lnTo>
                  <a:lnTo>
                    <a:pt x="2445" y="2544"/>
                  </a:lnTo>
                  <a:close/>
                  <a:moveTo>
                    <a:pt x="2466" y="2523"/>
                  </a:moveTo>
                  <a:lnTo>
                    <a:pt x="2450" y="2511"/>
                  </a:lnTo>
                  <a:lnTo>
                    <a:pt x="2462" y="2506"/>
                  </a:lnTo>
                  <a:lnTo>
                    <a:pt x="2466" y="2523"/>
                  </a:lnTo>
                  <a:lnTo>
                    <a:pt x="2466" y="2523"/>
                  </a:lnTo>
                  <a:lnTo>
                    <a:pt x="2466" y="2523"/>
                  </a:lnTo>
                  <a:close/>
                  <a:moveTo>
                    <a:pt x="2483" y="2528"/>
                  </a:moveTo>
                  <a:lnTo>
                    <a:pt x="2466" y="2511"/>
                  </a:lnTo>
                  <a:lnTo>
                    <a:pt x="2483" y="2523"/>
                  </a:lnTo>
                  <a:lnTo>
                    <a:pt x="2483" y="2528"/>
                  </a:lnTo>
                  <a:lnTo>
                    <a:pt x="2483" y="2528"/>
                  </a:lnTo>
                  <a:lnTo>
                    <a:pt x="2483" y="2528"/>
                  </a:lnTo>
                  <a:close/>
                  <a:moveTo>
                    <a:pt x="2450" y="2528"/>
                  </a:moveTo>
                  <a:lnTo>
                    <a:pt x="2450" y="2523"/>
                  </a:lnTo>
                  <a:lnTo>
                    <a:pt x="2466" y="2523"/>
                  </a:lnTo>
                  <a:lnTo>
                    <a:pt x="2450" y="2528"/>
                  </a:lnTo>
                  <a:lnTo>
                    <a:pt x="2450" y="2528"/>
                  </a:lnTo>
                  <a:lnTo>
                    <a:pt x="2450" y="2528"/>
                  </a:lnTo>
                  <a:close/>
                  <a:moveTo>
                    <a:pt x="2374" y="2544"/>
                  </a:moveTo>
                  <a:lnTo>
                    <a:pt x="2379" y="2539"/>
                  </a:lnTo>
                  <a:lnTo>
                    <a:pt x="2369" y="2539"/>
                  </a:lnTo>
                  <a:lnTo>
                    <a:pt x="2374" y="2523"/>
                  </a:lnTo>
                  <a:lnTo>
                    <a:pt x="2391" y="2523"/>
                  </a:lnTo>
                  <a:lnTo>
                    <a:pt x="2391" y="2539"/>
                  </a:lnTo>
                  <a:lnTo>
                    <a:pt x="2374" y="2544"/>
                  </a:lnTo>
                  <a:lnTo>
                    <a:pt x="2374" y="2544"/>
                  </a:lnTo>
                  <a:lnTo>
                    <a:pt x="2374" y="2544"/>
                  </a:lnTo>
                  <a:close/>
                  <a:moveTo>
                    <a:pt x="2407" y="2561"/>
                  </a:moveTo>
                  <a:lnTo>
                    <a:pt x="2395" y="2551"/>
                  </a:lnTo>
                  <a:lnTo>
                    <a:pt x="2412" y="2539"/>
                  </a:lnTo>
                  <a:lnTo>
                    <a:pt x="2407" y="2561"/>
                  </a:lnTo>
                  <a:lnTo>
                    <a:pt x="2407" y="2561"/>
                  </a:lnTo>
                  <a:lnTo>
                    <a:pt x="2407" y="2561"/>
                  </a:lnTo>
                  <a:close/>
                  <a:moveTo>
                    <a:pt x="2374" y="2551"/>
                  </a:moveTo>
                  <a:lnTo>
                    <a:pt x="2369" y="2544"/>
                  </a:lnTo>
                  <a:lnTo>
                    <a:pt x="2391" y="2539"/>
                  </a:lnTo>
                  <a:lnTo>
                    <a:pt x="2395" y="2544"/>
                  </a:lnTo>
                  <a:lnTo>
                    <a:pt x="2374" y="2551"/>
                  </a:lnTo>
                  <a:lnTo>
                    <a:pt x="2374" y="2551"/>
                  </a:lnTo>
                  <a:lnTo>
                    <a:pt x="2374" y="2551"/>
                  </a:lnTo>
                  <a:close/>
                  <a:moveTo>
                    <a:pt x="2412" y="2551"/>
                  </a:moveTo>
                  <a:lnTo>
                    <a:pt x="2412" y="2539"/>
                  </a:lnTo>
                  <a:lnTo>
                    <a:pt x="2428" y="2544"/>
                  </a:lnTo>
                  <a:lnTo>
                    <a:pt x="2412" y="2551"/>
                  </a:lnTo>
                  <a:lnTo>
                    <a:pt x="2412" y="2551"/>
                  </a:lnTo>
                  <a:lnTo>
                    <a:pt x="2412" y="2551"/>
                  </a:lnTo>
                  <a:close/>
                  <a:moveTo>
                    <a:pt x="2428" y="2672"/>
                  </a:moveTo>
                  <a:lnTo>
                    <a:pt x="2424" y="2662"/>
                  </a:lnTo>
                  <a:lnTo>
                    <a:pt x="2433" y="2662"/>
                  </a:lnTo>
                  <a:lnTo>
                    <a:pt x="2433" y="2655"/>
                  </a:lnTo>
                  <a:lnTo>
                    <a:pt x="2424" y="2662"/>
                  </a:lnTo>
                  <a:lnTo>
                    <a:pt x="2424" y="2639"/>
                  </a:lnTo>
                  <a:lnTo>
                    <a:pt x="2424" y="2622"/>
                  </a:lnTo>
                  <a:lnTo>
                    <a:pt x="2433" y="2606"/>
                  </a:lnTo>
                  <a:lnTo>
                    <a:pt x="2424" y="2622"/>
                  </a:lnTo>
                  <a:lnTo>
                    <a:pt x="2412" y="2622"/>
                  </a:lnTo>
                  <a:lnTo>
                    <a:pt x="2412" y="2655"/>
                  </a:lnTo>
                  <a:lnTo>
                    <a:pt x="2407" y="2655"/>
                  </a:lnTo>
                  <a:lnTo>
                    <a:pt x="2391" y="2634"/>
                  </a:lnTo>
                  <a:lnTo>
                    <a:pt x="2395" y="2617"/>
                  </a:lnTo>
                  <a:lnTo>
                    <a:pt x="2379" y="2617"/>
                  </a:lnTo>
                  <a:lnTo>
                    <a:pt x="2379" y="2601"/>
                  </a:lnTo>
                  <a:lnTo>
                    <a:pt x="2391" y="2601"/>
                  </a:lnTo>
                  <a:lnTo>
                    <a:pt x="2407" y="2617"/>
                  </a:lnTo>
                  <a:lnTo>
                    <a:pt x="2391" y="2601"/>
                  </a:lnTo>
                  <a:lnTo>
                    <a:pt x="2407" y="2606"/>
                  </a:lnTo>
                  <a:lnTo>
                    <a:pt x="2407" y="2596"/>
                  </a:lnTo>
                  <a:lnTo>
                    <a:pt x="2424" y="2601"/>
                  </a:lnTo>
                  <a:lnTo>
                    <a:pt x="2428" y="2584"/>
                  </a:lnTo>
                  <a:lnTo>
                    <a:pt x="2412" y="2561"/>
                  </a:lnTo>
                  <a:lnTo>
                    <a:pt x="2428" y="2544"/>
                  </a:lnTo>
                  <a:lnTo>
                    <a:pt x="2450" y="2544"/>
                  </a:lnTo>
                  <a:lnTo>
                    <a:pt x="2450" y="2601"/>
                  </a:lnTo>
                  <a:lnTo>
                    <a:pt x="2445" y="2639"/>
                  </a:lnTo>
                  <a:lnTo>
                    <a:pt x="2450" y="2634"/>
                  </a:lnTo>
                  <a:lnTo>
                    <a:pt x="2462" y="2639"/>
                  </a:lnTo>
                  <a:lnTo>
                    <a:pt x="2450" y="2662"/>
                  </a:lnTo>
                  <a:lnTo>
                    <a:pt x="2428" y="2672"/>
                  </a:lnTo>
                  <a:lnTo>
                    <a:pt x="2428" y="2672"/>
                  </a:lnTo>
                  <a:lnTo>
                    <a:pt x="2428" y="2672"/>
                  </a:lnTo>
                  <a:close/>
                  <a:moveTo>
                    <a:pt x="2395" y="2568"/>
                  </a:moveTo>
                  <a:lnTo>
                    <a:pt x="2391" y="2551"/>
                  </a:lnTo>
                  <a:lnTo>
                    <a:pt x="2407" y="2561"/>
                  </a:lnTo>
                  <a:lnTo>
                    <a:pt x="2412" y="2568"/>
                  </a:lnTo>
                  <a:lnTo>
                    <a:pt x="2395" y="2568"/>
                  </a:lnTo>
                  <a:lnTo>
                    <a:pt x="2395" y="2568"/>
                  </a:lnTo>
                  <a:lnTo>
                    <a:pt x="2395" y="2568"/>
                  </a:lnTo>
                  <a:close/>
                  <a:moveTo>
                    <a:pt x="2395" y="2584"/>
                  </a:moveTo>
                  <a:lnTo>
                    <a:pt x="2391" y="2568"/>
                  </a:lnTo>
                  <a:lnTo>
                    <a:pt x="2379" y="2580"/>
                  </a:lnTo>
                  <a:lnTo>
                    <a:pt x="2369" y="2561"/>
                  </a:lnTo>
                  <a:lnTo>
                    <a:pt x="2391" y="2561"/>
                  </a:lnTo>
                  <a:lnTo>
                    <a:pt x="2395" y="2580"/>
                  </a:lnTo>
                  <a:lnTo>
                    <a:pt x="2395" y="2584"/>
                  </a:lnTo>
                  <a:lnTo>
                    <a:pt x="2395" y="2584"/>
                  </a:lnTo>
                  <a:lnTo>
                    <a:pt x="2395" y="2584"/>
                  </a:lnTo>
                  <a:close/>
                  <a:moveTo>
                    <a:pt x="2374" y="2601"/>
                  </a:moveTo>
                  <a:lnTo>
                    <a:pt x="2369" y="2596"/>
                  </a:lnTo>
                  <a:lnTo>
                    <a:pt x="2391" y="2568"/>
                  </a:lnTo>
                  <a:lnTo>
                    <a:pt x="2395" y="2584"/>
                  </a:lnTo>
                  <a:lnTo>
                    <a:pt x="2374" y="2601"/>
                  </a:lnTo>
                  <a:lnTo>
                    <a:pt x="2374" y="2601"/>
                  </a:lnTo>
                  <a:lnTo>
                    <a:pt x="2374" y="2601"/>
                  </a:lnTo>
                  <a:close/>
                  <a:moveTo>
                    <a:pt x="2424" y="2601"/>
                  </a:moveTo>
                  <a:lnTo>
                    <a:pt x="2395" y="2584"/>
                  </a:lnTo>
                  <a:lnTo>
                    <a:pt x="2407" y="2580"/>
                  </a:lnTo>
                  <a:lnTo>
                    <a:pt x="2412" y="2580"/>
                  </a:lnTo>
                  <a:lnTo>
                    <a:pt x="2424" y="2584"/>
                  </a:lnTo>
                  <a:lnTo>
                    <a:pt x="2424" y="2601"/>
                  </a:lnTo>
                  <a:lnTo>
                    <a:pt x="2424" y="2601"/>
                  </a:lnTo>
                  <a:lnTo>
                    <a:pt x="2424" y="2601"/>
                  </a:lnTo>
                  <a:close/>
                  <a:moveTo>
                    <a:pt x="2450" y="2634"/>
                  </a:moveTo>
                  <a:lnTo>
                    <a:pt x="2450" y="2617"/>
                  </a:lnTo>
                  <a:lnTo>
                    <a:pt x="2466" y="2622"/>
                  </a:lnTo>
                  <a:lnTo>
                    <a:pt x="2450" y="2634"/>
                  </a:lnTo>
                  <a:lnTo>
                    <a:pt x="2450" y="2634"/>
                  </a:lnTo>
                  <a:lnTo>
                    <a:pt x="2450" y="2634"/>
                  </a:lnTo>
                  <a:close/>
                  <a:moveTo>
                    <a:pt x="2407" y="2655"/>
                  </a:moveTo>
                  <a:lnTo>
                    <a:pt x="2379" y="2650"/>
                  </a:lnTo>
                  <a:lnTo>
                    <a:pt x="2374" y="2650"/>
                  </a:lnTo>
                  <a:lnTo>
                    <a:pt x="2374" y="2634"/>
                  </a:lnTo>
                  <a:lnTo>
                    <a:pt x="2391" y="2634"/>
                  </a:lnTo>
                  <a:lnTo>
                    <a:pt x="2407" y="2655"/>
                  </a:lnTo>
                  <a:lnTo>
                    <a:pt x="2407" y="2655"/>
                  </a:lnTo>
                  <a:lnTo>
                    <a:pt x="2407" y="2655"/>
                  </a:lnTo>
                  <a:close/>
                  <a:moveTo>
                    <a:pt x="2412" y="2695"/>
                  </a:moveTo>
                  <a:lnTo>
                    <a:pt x="2395" y="2712"/>
                  </a:lnTo>
                  <a:lnTo>
                    <a:pt x="2391" y="2707"/>
                  </a:lnTo>
                  <a:lnTo>
                    <a:pt x="2395" y="2695"/>
                  </a:lnTo>
                  <a:lnTo>
                    <a:pt x="2379" y="2707"/>
                  </a:lnTo>
                  <a:lnTo>
                    <a:pt x="2391" y="2679"/>
                  </a:lnTo>
                  <a:lnTo>
                    <a:pt x="2407" y="2688"/>
                  </a:lnTo>
                  <a:lnTo>
                    <a:pt x="2391" y="2672"/>
                  </a:lnTo>
                  <a:lnTo>
                    <a:pt x="2407" y="2672"/>
                  </a:lnTo>
                  <a:lnTo>
                    <a:pt x="2412" y="2679"/>
                  </a:lnTo>
                  <a:lnTo>
                    <a:pt x="2412" y="2688"/>
                  </a:lnTo>
                  <a:lnTo>
                    <a:pt x="2428" y="2679"/>
                  </a:lnTo>
                  <a:lnTo>
                    <a:pt x="2428" y="2688"/>
                  </a:lnTo>
                  <a:lnTo>
                    <a:pt x="2412" y="2695"/>
                  </a:lnTo>
                  <a:lnTo>
                    <a:pt x="2412" y="2695"/>
                  </a:lnTo>
                  <a:lnTo>
                    <a:pt x="2412" y="2695"/>
                  </a:lnTo>
                  <a:close/>
                  <a:moveTo>
                    <a:pt x="2428" y="2712"/>
                  </a:moveTo>
                  <a:lnTo>
                    <a:pt x="2428" y="2707"/>
                  </a:lnTo>
                  <a:lnTo>
                    <a:pt x="2445" y="2707"/>
                  </a:lnTo>
                  <a:lnTo>
                    <a:pt x="2428" y="2712"/>
                  </a:lnTo>
                  <a:lnTo>
                    <a:pt x="2428" y="2712"/>
                  </a:lnTo>
                  <a:lnTo>
                    <a:pt x="2428" y="2712"/>
                  </a:lnTo>
                  <a:close/>
                  <a:moveTo>
                    <a:pt x="2466" y="2745"/>
                  </a:moveTo>
                  <a:lnTo>
                    <a:pt x="2445" y="2728"/>
                  </a:lnTo>
                  <a:lnTo>
                    <a:pt x="2450" y="2717"/>
                  </a:lnTo>
                  <a:lnTo>
                    <a:pt x="2433" y="2712"/>
                  </a:lnTo>
                  <a:lnTo>
                    <a:pt x="2445" y="2707"/>
                  </a:lnTo>
                  <a:lnTo>
                    <a:pt x="2462" y="2712"/>
                  </a:lnTo>
                  <a:lnTo>
                    <a:pt x="2476" y="2745"/>
                  </a:lnTo>
                  <a:lnTo>
                    <a:pt x="2466" y="2745"/>
                  </a:lnTo>
                  <a:lnTo>
                    <a:pt x="2466" y="2745"/>
                  </a:lnTo>
                  <a:lnTo>
                    <a:pt x="2466" y="2745"/>
                  </a:lnTo>
                  <a:close/>
                  <a:moveTo>
                    <a:pt x="2391" y="2745"/>
                  </a:moveTo>
                  <a:lnTo>
                    <a:pt x="2374" y="2728"/>
                  </a:lnTo>
                  <a:lnTo>
                    <a:pt x="2391" y="2728"/>
                  </a:lnTo>
                  <a:lnTo>
                    <a:pt x="2379" y="2712"/>
                  </a:lnTo>
                  <a:lnTo>
                    <a:pt x="2407" y="2712"/>
                  </a:lnTo>
                  <a:lnTo>
                    <a:pt x="2395" y="2717"/>
                  </a:lnTo>
                  <a:lnTo>
                    <a:pt x="2391" y="2745"/>
                  </a:lnTo>
                  <a:lnTo>
                    <a:pt x="2391" y="2745"/>
                  </a:lnTo>
                  <a:lnTo>
                    <a:pt x="2391" y="2745"/>
                  </a:lnTo>
                  <a:close/>
                  <a:moveTo>
                    <a:pt x="2433" y="2717"/>
                  </a:moveTo>
                  <a:lnTo>
                    <a:pt x="2433" y="2712"/>
                  </a:lnTo>
                  <a:lnTo>
                    <a:pt x="2445" y="2717"/>
                  </a:lnTo>
                  <a:lnTo>
                    <a:pt x="2433" y="2717"/>
                  </a:lnTo>
                  <a:lnTo>
                    <a:pt x="2433" y="2717"/>
                  </a:lnTo>
                  <a:lnTo>
                    <a:pt x="2433" y="2717"/>
                  </a:lnTo>
                  <a:close/>
                  <a:moveTo>
                    <a:pt x="2412" y="2745"/>
                  </a:moveTo>
                  <a:lnTo>
                    <a:pt x="2407" y="2733"/>
                  </a:lnTo>
                  <a:lnTo>
                    <a:pt x="2412" y="2728"/>
                  </a:lnTo>
                  <a:lnTo>
                    <a:pt x="2412" y="2745"/>
                  </a:lnTo>
                  <a:lnTo>
                    <a:pt x="2412" y="2745"/>
                  </a:lnTo>
                  <a:lnTo>
                    <a:pt x="2412" y="2745"/>
                  </a:lnTo>
                  <a:close/>
                  <a:moveTo>
                    <a:pt x="2433" y="2750"/>
                  </a:moveTo>
                  <a:lnTo>
                    <a:pt x="2424" y="2750"/>
                  </a:lnTo>
                  <a:lnTo>
                    <a:pt x="2424" y="2733"/>
                  </a:lnTo>
                  <a:lnTo>
                    <a:pt x="2428" y="2733"/>
                  </a:lnTo>
                  <a:lnTo>
                    <a:pt x="2433" y="2750"/>
                  </a:lnTo>
                  <a:lnTo>
                    <a:pt x="2433" y="2750"/>
                  </a:lnTo>
                  <a:lnTo>
                    <a:pt x="2433" y="2750"/>
                  </a:lnTo>
                  <a:close/>
                  <a:moveTo>
                    <a:pt x="2433" y="2773"/>
                  </a:moveTo>
                  <a:lnTo>
                    <a:pt x="2424" y="2766"/>
                  </a:lnTo>
                  <a:lnTo>
                    <a:pt x="2424" y="2750"/>
                  </a:lnTo>
                  <a:lnTo>
                    <a:pt x="2445" y="2750"/>
                  </a:lnTo>
                  <a:lnTo>
                    <a:pt x="2433" y="2733"/>
                  </a:lnTo>
                  <a:lnTo>
                    <a:pt x="2462" y="2745"/>
                  </a:lnTo>
                  <a:lnTo>
                    <a:pt x="2462" y="2766"/>
                  </a:lnTo>
                  <a:lnTo>
                    <a:pt x="2450" y="2761"/>
                  </a:lnTo>
                  <a:lnTo>
                    <a:pt x="2433" y="2773"/>
                  </a:lnTo>
                  <a:lnTo>
                    <a:pt x="2433" y="2773"/>
                  </a:lnTo>
                  <a:lnTo>
                    <a:pt x="2433" y="2773"/>
                  </a:lnTo>
                  <a:close/>
                  <a:moveTo>
                    <a:pt x="2466" y="2783"/>
                  </a:moveTo>
                  <a:lnTo>
                    <a:pt x="2462" y="2750"/>
                  </a:lnTo>
                  <a:lnTo>
                    <a:pt x="2476" y="2783"/>
                  </a:lnTo>
                  <a:lnTo>
                    <a:pt x="2466" y="2783"/>
                  </a:lnTo>
                  <a:lnTo>
                    <a:pt x="2466" y="2783"/>
                  </a:lnTo>
                  <a:lnTo>
                    <a:pt x="2466" y="2783"/>
                  </a:lnTo>
                  <a:close/>
                  <a:moveTo>
                    <a:pt x="2450" y="2783"/>
                  </a:moveTo>
                  <a:lnTo>
                    <a:pt x="2445" y="2766"/>
                  </a:lnTo>
                  <a:lnTo>
                    <a:pt x="2450" y="2766"/>
                  </a:lnTo>
                  <a:lnTo>
                    <a:pt x="2462" y="2773"/>
                  </a:lnTo>
                  <a:lnTo>
                    <a:pt x="2450" y="2783"/>
                  </a:lnTo>
                  <a:lnTo>
                    <a:pt x="2450" y="2783"/>
                  </a:lnTo>
                  <a:lnTo>
                    <a:pt x="2450" y="2783"/>
                  </a:lnTo>
                  <a:close/>
                  <a:moveTo>
                    <a:pt x="2412" y="2773"/>
                  </a:moveTo>
                  <a:lnTo>
                    <a:pt x="2424" y="2766"/>
                  </a:lnTo>
                  <a:lnTo>
                    <a:pt x="2424" y="2773"/>
                  </a:lnTo>
                  <a:lnTo>
                    <a:pt x="2412" y="2773"/>
                  </a:lnTo>
                  <a:lnTo>
                    <a:pt x="2412" y="2773"/>
                  </a:lnTo>
                  <a:lnTo>
                    <a:pt x="2412" y="2773"/>
                  </a:lnTo>
                  <a:close/>
                  <a:moveTo>
                    <a:pt x="2412" y="2806"/>
                  </a:moveTo>
                  <a:lnTo>
                    <a:pt x="2428" y="2790"/>
                  </a:lnTo>
                  <a:lnTo>
                    <a:pt x="2424" y="2790"/>
                  </a:lnTo>
                  <a:lnTo>
                    <a:pt x="2428" y="2783"/>
                  </a:lnTo>
                  <a:lnTo>
                    <a:pt x="2445" y="2783"/>
                  </a:lnTo>
                  <a:lnTo>
                    <a:pt x="2445" y="2790"/>
                  </a:lnTo>
                  <a:lnTo>
                    <a:pt x="2445" y="2799"/>
                  </a:lnTo>
                  <a:lnTo>
                    <a:pt x="2433" y="2790"/>
                  </a:lnTo>
                  <a:lnTo>
                    <a:pt x="2412" y="2806"/>
                  </a:lnTo>
                  <a:lnTo>
                    <a:pt x="2412" y="2806"/>
                  </a:lnTo>
                  <a:lnTo>
                    <a:pt x="2412" y="2806"/>
                  </a:lnTo>
                  <a:close/>
                  <a:moveTo>
                    <a:pt x="2483" y="2799"/>
                  </a:moveTo>
                  <a:lnTo>
                    <a:pt x="2476" y="2783"/>
                  </a:lnTo>
                  <a:lnTo>
                    <a:pt x="2488" y="2783"/>
                  </a:lnTo>
                  <a:lnTo>
                    <a:pt x="2488" y="2790"/>
                  </a:lnTo>
                  <a:lnTo>
                    <a:pt x="2483" y="2799"/>
                  </a:lnTo>
                  <a:lnTo>
                    <a:pt x="2483" y="2799"/>
                  </a:lnTo>
                  <a:lnTo>
                    <a:pt x="2483" y="2799"/>
                  </a:lnTo>
                  <a:close/>
                  <a:moveTo>
                    <a:pt x="2499" y="2799"/>
                  </a:moveTo>
                  <a:lnTo>
                    <a:pt x="2488" y="2790"/>
                  </a:lnTo>
                  <a:lnTo>
                    <a:pt x="2499" y="2783"/>
                  </a:lnTo>
                  <a:lnTo>
                    <a:pt x="2499" y="2799"/>
                  </a:lnTo>
                  <a:lnTo>
                    <a:pt x="2499" y="2799"/>
                  </a:lnTo>
                  <a:lnTo>
                    <a:pt x="2499" y="2799"/>
                  </a:lnTo>
                  <a:close/>
                  <a:moveTo>
                    <a:pt x="2391" y="2823"/>
                  </a:moveTo>
                  <a:lnTo>
                    <a:pt x="2395" y="2790"/>
                  </a:lnTo>
                  <a:lnTo>
                    <a:pt x="2412" y="2790"/>
                  </a:lnTo>
                  <a:lnTo>
                    <a:pt x="2407" y="2816"/>
                  </a:lnTo>
                  <a:lnTo>
                    <a:pt x="2391" y="2823"/>
                  </a:lnTo>
                  <a:lnTo>
                    <a:pt x="2391" y="2823"/>
                  </a:lnTo>
                  <a:lnTo>
                    <a:pt x="2391" y="2823"/>
                  </a:lnTo>
                  <a:close/>
                  <a:moveTo>
                    <a:pt x="2476" y="2806"/>
                  </a:moveTo>
                  <a:lnTo>
                    <a:pt x="2466" y="2799"/>
                  </a:lnTo>
                  <a:lnTo>
                    <a:pt x="2466" y="2790"/>
                  </a:lnTo>
                  <a:lnTo>
                    <a:pt x="2476" y="2790"/>
                  </a:lnTo>
                  <a:lnTo>
                    <a:pt x="2476" y="2806"/>
                  </a:lnTo>
                  <a:lnTo>
                    <a:pt x="2476" y="2806"/>
                  </a:lnTo>
                  <a:lnTo>
                    <a:pt x="2476" y="2806"/>
                  </a:lnTo>
                  <a:close/>
                  <a:moveTo>
                    <a:pt x="2483" y="2839"/>
                  </a:moveTo>
                  <a:lnTo>
                    <a:pt x="2466" y="2828"/>
                  </a:lnTo>
                  <a:lnTo>
                    <a:pt x="2476" y="2816"/>
                  </a:lnTo>
                  <a:lnTo>
                    <a:pt x="2488" y="2828"/>
                  </a:lnTo>
                  <a:lnTo>
                    <a:pt x="2483" y="2839"/>
                  </a:lnTo>
                  <a:lnTo>
                    <a:pt x="2483" y="2839"/>
                  </a:lnTo>
                  <a:lnTo>
                    <a:pt x="2483" y="2839"/>
                  </a:lnTo>
                  <a:close/>
                  <a:moveTo>
                    <a:pt x="2412" y="2872"/>
                  </a:moveTo>
                  <a:lnTo>
                    <a:pt x="2412" y="2856"/>
                  </a:lnTo>
                  <a:lnTo>
                    <a:pt x="2424" y="2839"/>
                  </a:lnTo>
                  <a:lnTo>
                    <a:pt x="2428" y="2839"/>
                  </a:lnTo>
                  <a:lnTo>
                    <a:pt x="2424" y="2823"/>
                  </a:lnTo>
                  <a:lnTo>
                    <a:pt x="2428" y="2823"/>
                  </a:lnTo>
                  <a:lnTo>
                    <a:pt x="2428" y="2839"/>
                  </a:lnTo>
                  <a:lnTo>
                    <a:pt x="2412" y="2872"/>
                  </a:lnTo>
                  <a:lnTo>
                    <a:pt x="2412" y="2872"/>
                  </a:lnTo>
                  <a:lnTo>
                    <a:pt x="2412" y="2872"/>
                  </a:lnTo>
                  <a:close/>
                  <a:moveTo>
                    <a:pt x="2499" y="2839"/>
                  </a:moveTo>
                  <a:lnTo>
                    <a:pt x="2488" y="2823"/>
                  </a:lnTo>
                  <a:lnTo>
                    <a:pt x="2499" y="2828"/>
                  </a:lnTo>
                  <a:lnTo>
                    <a:pt x="2499" y="2839"/>
                  </a:lnTo>
                  <a:lnTo>
                    <a:pt x="2499" y="2839"/>
                  </a:lnTo>
                  <a:lnTo>
                    <a:pt x="2499" y="2839"/>
                  </a:lnTo>
                  <a:close/>
                  <a:moveTo>
                    <a:pt x="2476" y="2856"/>
                  </a:moveTo>
                  <a:lnTo>
                    <a:pt x="2462" y="2844"/>
                  </a:lnTo>
                  <a:lnTo>
                    <a:pt x="2450" y="2828"/>
                  </a:lnTo>
                  <a:lnTo>
                    <a:pt x="2476" y="2844"/>
                  </a:lnTo>
                  <a:lnTo>
                    <a:pt x="2476" y="2856"/>
                  </a:lnTo>
                  <a:lnTo>
                    <a:pt x="2476" y="2856"/>
                  </a:lnTo>
                  <a:lnTo>
                    <a:pt x="2476" y="2856"/>
                  </a:lnTo>
                  <a:close/>
                  <a:moveTo>
                    <a:pt x="2407" y="2844"/>
                  </a:moveTo>
                  <a:lnTo>
                    <a:pt x="2412" y="2828"/>
                  </a:lnTo>
                  <a:lnTo>
                    <a:pt x="2407" y="2844"/>
                  </a:lnTo>
                  <a:lnTo>
                    <a:pt x="2407" y="2844"/>
                  </a:lnTo>
                  <a:lnTo>
                    <a:pt x="2407" y="2844"/>
                  </a:lnTo>
                  <a:close/>
                  <a:moveTo>
                    <a:pt x="2424" y="2872"/>
                  </a:moveTo>
                  <a:lnTo>
                    <a:pt x="2428" y="2839"/>
                  </a:lnTo>
                  <a:lnTo>
                    <a:pt x="2445" y="2839"/>
                  </a:lnTo>
                  <a:lnTo>
                    <a:pt x="2424" y="2872"/>
                  </a:lnTo>
                  <a:lnTo>
                    <a:pt x="2424" y="2872"/>
                  </a:lnTo>
                  <a:lnTo>
                    <a:pt x="2424" y="2872"/>
                  </a:lnTo>
                  <a:close/>
                  <a:moveTo>
                    <a:pt x="2504" y="2877"/>
                  </a:moveTo>
                  <a:lnTo>
                    <a:pt x="2476" y="2856"/>
                  </a:lnTo>
                  <a:lnTo>
                    <a:pt x="2476" y="2844"/>
                  </a:lnTo>
                  <a:lnTo>
                    <a:pt x="2499" y="2861"/>
                  </a:lnTo>
                  <a:lnTo>
                    <a:pt x="2504" y="2877"/>
                  </a:lnTo>
                  <a:lnTo>
                    <a:pt x="2504" y="2877"/>
                  </a:lnTo>
                  <a:lnTo>
                    <a:pt x="2504" y="2877"/>
                  </a:lnTo>
                  <a:close/>
                  <a:moveTo>
                    <a:pt x="2428" y="2877"/>
                  </a:moveTo>
                  <a:lnTo>
                    <a:pt x="2428" y="2872"/>
                  </a:lnTo>
                  <a:lnTo>
                    <a:pt x="2445" y="2861"/>
                  </a:lnTo>
                  <a:lnTo>
                    <a:pt x="2428" y="2877"/>
                  </a:lnTo>
                  <a:lnTo>
                    <a:pt x="2428" y="2877"/>
                  </a:lnTo>
                  <a:lnTo>
                    <a:pt x="2428" y="2877"/>
                  </a:lnTo>
                  <a:close/>
                  <a:moveTo>
                    <a:pt x="2476" y="2894"/>
                  </a:moveTo>
                  <a:lnTo>
                    <a:pt x="2466" y="2877"/>
                  </a:lnTo>
                  <a:lnTo>
                    <a:pt x="2476" y="2877"/>
                  </a:lnTo>
                  <a:lnTo>
                    <a:pt x="2450" y="2872"/>
                  </a:lnTo>
                  <a:lnTo>
                    <a:pt x="2466" y="2861"/>
                  </a:lnTo>
                  <a:lnTo>
                    <a:pt x="2488" y="2884"/>
                  </a:lnTo>
                  <a:lnTo>
                    <a:pt x="2476" y="2894"/>
                  </a:lnTo>
                  <a:lnTo>
                    <a:pt x="2476" y="2894"/>
                  </a:lnTo>
                  <a:lnTo>
                    <a:pt x="2476" y="2894"/>
                  </a:lnTo>
                  <a:close/>
                  <a:moveTo>
                    <a:pt x="2499" y="2894"/>
                  </a:moveTo>
                  <a:lnTo>
                    <a:pt x="2476" y="2872"/>
                  </a:lnTo>
                  <a:lnTo>
                    <a:pt x="2499" y="2884"/>
                  </a:lnTo>
                  <a:lnTo>
                    <a:pt x="2504" y="2894"/>
                  </a:lnTo>
                  <a:lnTo>
                    <a:pt x="2499" y="2894"/>
                  </a:lnTo>
                  <a:lnTo>
                    <a:pt x="2499" y="2894"/>
                  </a:lnTo>
                  <a:lnTo>
                    <a:pt x="2499" y="2894"/>
                  </a:lnTo>
                  <a:close/>
                  <a:moveTo>
                    <a:pt x="2428" y="2884"/>
                  </a:moveTo>
                  <a:lnTo>
                    <a:pt x="2428" y="2877"/>
                  </a:lnTo>
                  <a:lnTo>
                    <a:pt x="2445" y="2877"/>
                  </a:lnTo>
                  <a:lnTo>
                    <a:pt x="2428" y="2884"/>
                  </a:lnTo>
                  <a:lnTo>
                    <a:pt x="2428" y="2884"/>
                  </a:lnTo>
                  <a:lnTo>
                    <a:pt x="2428" y="2884"/>
                  </a:lnTo>
                  <a:close/>
                  <a:moveTo>
                    <a:pt x="2488" y="2927"/>
                  </a:moveTo>
                  <a:lnTo>
                    <a:pt x="2483" y="2910"/>
                  </a:lnTo>
                  <a:lnTo>
                    <a:pt x="2504" y="2894"/>
                  </a:lnTo>
                  <a:lnTo>
                    <a:pt x="2504" y="2901"/>
                  </a:lnTo>
                  <a:lnTo>
                    <a:pt x="2504" y="2917"/>
                  </a:lnTo>
                  <a:lnTo>
                    <a:pt x="2488" y="2927"/>
                  </a:lnTo>
                  <a:lnTo>
                    <a:pt x="2488" y="2927"/>
                  </a:lnTo>
                  <a:lnTo>
                    <a:pt x="2488" y="2927"/>
                  </a:lnTo>
                  <a:close/>
                  <a:moveTo>
                    <a:pt x="2861" y="2917"/>
                  </a:moveTo>
                  <a:lnTo>
                    <a:pt x="2861" y="3132"/>
                  </a:lnTo>
                  <a:lnTo>
                    <a:pt x="2861" y="3139"/>
                  </a:lnTo>
                  <a:lnTo>
                    <a:pt x="2844" y="3132"/>
                  </a:lnTo>
                  <a:lnTo>
                    <a:pt x="2854" y="3139"/>
                  </a:lnTo>
                  <a:lnTo>
                    <a:pt x="2828" y="3149"/>
                  </a:lnTo>
                  <a:lnTo>
                    <a:pt x="2790" y="3132"/>
                  </a:lnTo>
                  <a:lnTo>
                    <a:pt x="2790" y="3123"/>
                  </a:lnTo>
                  <a:lnTo>
                    <a:pt x="2785" y="3132"/>
                  </a:lnTo>
                  <a:lnTo>
                    <a:pt x="2747" y="3139"/>
                  </a:lnTo>
                  <a:lnTo>
                    <a:pt x="2747" y="3132"/>
                  </a:lnTo>
                  <a:lnTo>
                    <a:pt x="2747" y="3123"/>
                  </a:lnTo>
                  <a:lnTo>
                    <a:pt x="2736" y="3132"/>
                  </a:lnTo>
                  <a:lnTo>
                    <a:pt x="2714" y="3139"/>
                  </a:lnTo>
                  <a:lnTo>
                    <a:pt x="2702" y="3132"/>
                  </a:lnTo>
                  <a:lnTo>
                    <a:pt x="2731" y="3116"/>
                  </a:lnTo>
                  <a:lnTo>
                    <a:pt x="2693" y="3132"/>
                  </a:lnTo>
                  <a:lnTo>
                    <a:pt x="2698" y="3116"/>
                  </a:lnTo>
                  <a:lnTo>
                    <a:pt x="2676" y="3123"/>
                  </a:lnTo>
                  <a:lnTo>
                    <a:pt x="2665" y="3106"/>
                  </a:lnTo>
                  <a:lnTo>
                    <a:pt x="2660" y="3123"/>
                  </a:lnTo>
                  <a:lnTo>
                    <a:pt x="2643" y="3116"/>
                  </a:lnTo>
                  <a:lnTo>
                    <a:pt x="2627" y="3116"/>
                  </a:lnTo>
                  <a:lnTo>
                    <a:pt x="2622" y="3099"/>
                  </a:lnTo>
                  <a:lnTo>
                    <a:pt x="2627" y="3099"/>
                  </a:lnTo>
                  <a:lnTo>
                    <a:pt x="2643" y="3106"/>
                  </a:lnTo>
                  <a:lnTo>
                    <a:pt x="2651" y="3106"/>
                  </a:lnTo>
                  <a:lnTo>
                    <a:pt x="2639" y="3095"/>
                  </a:lnTo>
                  <a:lnTo>
                    <a:pt x="2643" y="3095"/>
                  </a:lnTo>
                  <a:lnTo>
                    <a:pt x="2651" y="3099"/>
                  </a:lnTo>
                  <a:lnTo>
                    <a:pt x="2660" y="3099"/>
                  </a:lnTo>
                  <a:lnTo>
                    <a:pt x="2651" y="3095"/>
                  </a:lnTo>
                  <a:lnTo>
                    <a:pt x="2665" y="3095"/>
                  </a:lnTo>
                  <a:lnTo>
                    <a:pt x="2698" y="3099"/>
                  </a:lnTo>
                  <a:lnTo>
                    <a:pt x="2698" y="3083"/>
                  </a:lnTo>
                  <a:lnTo>
                    <a:pt x="2702" y="3083"/>
                  </a:lnTo>
                  <a:lnTo>
                    <a:pt x="2719" y="3083"/>
                  </a:lnTo>
                  <a:lnTo>
                    <a:pt x="2714" y="3106"/>
                  </a:lnTo>
                  <a:lnTo>
                    <a:pt x="2719" y="3116"/>
                  </a:lnTo>
                  <a:lnTo>
                    <a:pt x="2714" y="3106"/>
                  </a:lnTo>
                  <a:lnTo>
                    <a:pt x="2719" y="3095"/>
                  </a:lnTo>
                  <a:lnTo>
                    <a:pt x="2747" y="3106"/>
                  </a:lnTo>
                  <a:lnTo>
                    <a:pt x="2752" y="3106"/>
                  </a:lnTo>
                  <a:lnTo>
                    <a:pt x="2736" y="3095"/>
                  </a:lnTo>
                  <a:lnTo>
                    <a:pt x="2719" y="3083"/>
                  </a:lnTo>
                  <a:lnTo>
                    <a:pt x="2702" y="3078"/>
                  </a:lnTo>
                  <a:lnTo>
                    <a:pt x="2702" y="3066"/>
                  </a:lnTo>
                  <a:lnTo>
                    <a:pt x="2752" y="3095"/>
                  </a:lnTo>
                  <a:lnTo>
                    <a:pt x="2757" y="3095"/>
                  </a:lnTo>
                  <a:lnTo>
                    <a:pt x="2752" y="3083"/>
                  </a:lnTo>
                  <a:lnTo>
                    <a:pt x="2757" y="3078"/>
                  </a:lnTo>
                  <a:lnTo>
                    <a:pt x="2785" y="3106"/>
                  </a:lnTo>
                  <a:lnTo>
                    <a:pt x="2773" y="3083"/>
                  </a:lnTo>
                  <a:lnTo>
                    <a:pt x="2823" y="3099"/>
                  </a:lnTo>
                  <a:lnTo>
                    <a:pt x="2806" y="3116"/>
                  </a:lnTo>
                  <a:lnTo>
                    <a:pt x="2806" y="3123"/>
                  </a:lnTo>
                  <a:lnTo>
                    <a:pt x="2811" y="3106"/>
                  </a:lnTo>
                  <a:lnTo>
                    <a:pt x="2823" y="3106"/>
                  </a:lnTo>
                  <a:lnTo>
                    <a:pt x="2823" y="3099"/>
                  </a:lnTo>
                  <a:lnTo>
                    <a:pt x="2839" y="3095"/>
                  </a:lnTo>
                  <a:lnTo>
                    <a:pt x="2757" y="3061"/>
                  </a:lnTo>
                  <a:lnTo>
                    <a:pt x="2752" y="3038"/>
                  </a:lnTo>
                  <a:lnTo>
                    <a:pt x="2769" y="3021"/>
                  </a:lnTo>
                  <a:lnTo>
                    <a:pt x="2811" y="3005"/>
                  </a:lnTo>
                  <a:lnTo>
                    <a:pt x="2806" y="2988"/>
                  </a:lnTo>
                  <a:lnTo>
                    <a:pt x="2773" y="2988"/>
                  </a:lnTo>
                  <a:lnTo>
                    <a:pt x="2752" y="2995"/>
                  </a:lnTo>
                  <a:lnTo>
                    <a:pt x="2736" y="2988"/>
                  </a:lnTo>
                  <a:lnTo>
                    <a:pt x="2736" y="2955"/>
                  </a:lnTo>
                  <a:lnTo>
                    <a:pt x="2736" y="2950"/>
                  </a:lnTo>
                  <a:lnTo>
                    <a:pt x="2747" y="2955"/>
                  </a:lnTo>
                  <a:lnTo>
                    <a:pt x="2752" y="2955"/>
                  </a:lnTo>
                  <a:lnTo>
                    <a:pt x="2757" y="2939"/>
                  </a:lnTo>
                  <a:lnTo>
                    <a:pt x="2736" y="2934"/>
                  </a:lnTo>
                  <a:lnTo>
                    <a:pt x="2752" y="2927"/>
                  </a:lnTo>
                  <a:lnTo>
                    <a:pt x="2769" y="2934"/>
                  </a:lnTo>
                  <a:lnTo>
                    <a:pt x="2785" y="2934"/>
                  </a:lnTo>
                  <a:lnTo>
                    <a:pt x="2790" y="2910"/>
                  </a:lnTo>
                  <a:lnTo>
                    <a:pt x="2806" y="2901"/>
                  </a:lnTo>
                  <a:lnTo>
                    <a:pt x="2823" y="2927"/>
                  </a:lnTo>
                  <a:lnTo>
                    <a:pt x="2844" y="2910"/>
                  </a:lnTo>
                  <a:lnTo>
                    <a:pt x="2861" y="2917"/>
                  </a:lnTo>
                  <a:lnTo>
                    <a:pt x="2861" y="2917"/>
                  </a:lnTo>
                  <a:lnTo>
                    <a:pt x="2861" y="2917"/>
                  </a:lnTo>
                  <a:close/>
                  <a:moveTo>
                    <a:pt x="2530" y="2983"/>
                  </a:moveTo>
                  <a:lnTo>
                    <a:pt x="2551" y="2988"/>
                  </a:lnTo>
                  <a:lnTo>
                    <a:pt x="2521" y="2988"/>
                  </a:lnTo>
                  <a:lnTo>
                    <a:pt x="2488" y="2955"/>
                  </a:lnTo>
                  <a:lnTo>
                    <a:pt x="2462" y="2967"/>
                  </a:lnTo>
                  <a:lnTo>
                    <a:pt x="2433" y="2934"/>
                  </a:lnTo>
                  <a:lnTo>
                    <a:pt x="2433" y="2927"/>
                  </a:lnTo>
                  <a:lnTo>
                    <a:pt x="2462" y="2950"/>
                  </a:lnTo>
                  <a:lnTo>
                    <a:pt x="2513" y="2955"/>
                  </a:lnTo>
                  <a:lnTo>
                    <a:pt x="2521" y="2983"/>
                  </a:lnTo>
                  <a:lnTo>
                    <a:pt x="2521" y="2967"/>
                  </a:lnTo>
                  <a:lnTo>
                    <a:pt x="2537" y="2983"/>
                  </a:lnTo>
                  <a:lnTo>
                    <a:pt x="2530" y="2983"/>
                  </a:lnTo>
                  <a:lnTo>
                    <a:pt x="2530" y="2983"/>
                  </a:lnTo>
                  <a:lnTo>
                    <a:pt x="2530" y="2983"/>
                  </a:lnTo>
                  <a:close/>
                  <a:moveTo>
                    <a:pt x="2530" y="2950"/>
                  </a:moveTo>
                  <a:lnTo>
                    <a:pt x="2504" y="2939"/>
                  </a:lnTo>
                  <a:lnTo>
                    <a:pt x="2521" y="2939"/>
                  </a:lnTo>
                  <a:lnTo>
                    <a:pt x="2530" y="2950"/>
                  </a:lnTo>
                  <a:lnTo>
                    <a:pt x="2530" y="2950"/>
                  </a:lnTo>
                  <a:lnTo>
                    <a:pt x="2530" y="2950"/>
                  </a:lnTo>
                  <a:close/>
                  <a:moveTo>
                    <a:pt x="2521" y="2995"/>
                  </a:moveTo>
                  <a:lnTo>
                    <a:pt x="2530" y="3005"/>
                  </a:lnTo>
                  <a:lnTo>
                    <a:pt x="2521" y="3012"/>
                  </a:lnTo>
                  <a:lnTo>
                    <a:pt x="2499" y="2995"/>
                  </a:lnTo>
                  <a:lnTo>
                    <a:pt x="2513" y="2995"/>
                  </a:lnTo>
                  <a:lnTo>
                    <a:pt x="2521" y="2995"/>
                  </a:lnTo>
                  <a:lnTo>
                    <a:pt x="2513" y="2988"/>
                  </a:lnTo>
                  <a:lnTo>
                    <a:pt x="2521" y="2995"/>
                  </a:lnTo>
                  <a:lnTo>
                    <a:pt x="2521" y="2995"/>
                  </a:lnTo>
                  <a:lnTo>
                    <a:pt x="2521" y="2995"/>
                  </a:lnTo>
                  <a:close/>
                  <a:moveTo>
                    <a:pt x="2537" y="3038"/>
                  </a:moveTo>
                  <a:lnTo>
                    <a:pt x="2537" y="3021"/>
                  </a:lnTo>
                  <a:lnTo>
                    <a:pt x="2513" y="3028"/>
                  </a:lnTo>
                  <a:lnTo>
                    <a:pt x="2521" y="3021"/>
                  </a:lnTo>
                  <a:lnTo>
                    <a:pt x="2513" y="3012"/>
                  </a:lnTo>
                  <a:lnTo>
                    <a:pt x="2521" y="3012"/>
                  </a:lnTo>
                  <a:lnTo>
                    <a:pt x="2537" y="3021"/>
                  </a:lnTo>
                  <a:lnTo>
                    <a:pt x="2558" y="3021"/>
                  </a:lnTo>
                  <a:lnTo>
                    <a:pt x="2537" y="3012"/>
                  </a:lnTo>
                  <a:lnTo>
                    <a:pt x="2521" y="2995"/>
                  </a:lnTo>
                  <a:lnTo>
                    <a:pt x="2542" y="3005"/>
                  </a:lnTo>
                  <a:lnTo>
                    <a:pt x="2542" y="2995"/>
                  </a:lnTo>
                  <a:lnTo>
                    <a:pt x="2551" y="2995"/>
                  </a:lnTo>
                  <a:lnTo>
                    <a:pt x="2558" y="2995"/>
                  </a:lnTo>
                  <a:lnTo>
                    <a:pt x="2558" y="3021"/>
                  </a:lnTo>
                  <a:lnTo>
                    <a:pt x="2568" y="2995"/>
                  </a:lnTo>
                  <a:lnTo>
                    <a:pt x="2575" y="3012"/>
                  </a:lnTo>
                  <a:lnTo>
                    <a:pt x="2589" y="3012"/>
                  </a:lnTo>
                  <a:lnTo>
                    <a:pt x="2589" y="3028"/>
                  </a:lnTo>
                  <a:lnTo>
                    <a:pt x="2596" y="3021"/>
                  </a:lnTo>
                  <a:lnTo>
                    <a:pt x="2613" y="3038"/>
                  </a:lnTo>
                  <a:lnTo>
                    <a:pt x="2596" y="3045"/>
                  </a:lnTo>
                  <a:lnTo>
                    <a:pt x="2596" y="3061"/>
                  </a:lnTo>
                  <a:lnTo>
                    <a:pt x="2568" y="3066"/>
                  </a:lnTo>
                  <a:lnTo>
                    <a:pt x="2551" y="3061"/>
                  </a:lnTo>
                  <a:lnTo>
                    <a:pt x="2568" y="3050"/>
                  </a:lnTo>
                  <a:lnTo>
                    <a:pt x="2575" y="3038"/>
                  </a:lnTo>
                  <a:lnTo>
                    <a:pt x="2551" y="3038"/>
                  </a:lnTo>
                  <a:lnTo>
                    <a:pt x="2542" y="3050"/>
                  </a:lnTo>
                  <a:lnTo>
                    <a:pt x="2537" y="3038"/>
                  </a:lnTo>
                  <a:lnTo>
                    <a:pt x="2537" y="3038"/>
                  </a:lnTo>
                  <a:lnTo>
                    <a:pt x="2537" y="3038"/>
                  </a:lnTo>
                  <a:close/>
                  <a:moveTo>
                    <a:pt x="2499" y="3012"/>
                  </a:moveTo>
                  <a:lnTo>
                    <a:pt x="2499" y="2995"/>
                  </a:lnTo>
                  <a:lnTo>
                    <a:pt x="2504" y="3005"/>
                  </a:lnTo>
                  <a:lnTo>
                    <a:pt x="2499" y="3012"/>
                  </a:lnTo>
                  <a:lnTo>
                    <a:pt x="2499" y="3012"/>
                  </a:lnTo>
                  <a:lnTo>
                    <a:pt x="2499" y="3012"/>
                  </a:lnTo>
                  <a:close/>
                  <a:moveTo>
                    <a:pt x="2731" y="3078"/>
                  </a:moveTo>
                  <a:lnTo>
                    <a:pt x="2702" y="3061"/>
                  </a:lnTo>
                  <a:lnTo>
                    <a:pt x="2698" y="3038"/>
                  </a:lnTo>
                  <a:lnTo>
                    <a:pt x="2719" y="3038"/>
                  </a:lnTo>
                  <a:lnTo>
                    <a:pt x="2714" y="3021"/>
                  </a:lnTo>
                  <a:lnTo>
                    <a:pt x="2731" y="3012"/>
                  </a:lnTo>
                  <a:lnTo>
                    <a:pt x="2736" y="3050"/>
                  </a:lnTo>
                  <a:lnTo>
                    <a:pt x="2731" y="3050"/>
                  </a:lnTo>
                  <a:lnTo>
                    <a:pt x="2719" y="3045"/>
                  </a:lnTo>
                  <a:lnTo>
                    <a:pt x="2731" y="3078"/>
                  </a:lnTo>
                  <a:lnTo>
                    <a:pt x="2731" y="3078"/>
                  </a:lnTo>
                  <a:lnTo>
                    <a:pt x="2731" y="3078"/>
                  </a:lnTo>
                  <a:close/>
                  <a:moveTo>
                    <a:pt x="2643" y="3045"/>
                  </a:moveTo>
                  <a:lnTo>
                    <a:pt x="2651" y="3061"/>
                  </a:lnTo>
                  <a:lnTo>
                    <a:pt x="2643" y="3066"/>
                  </a:lnTo>
                  <a:lnTo>
                    <a:pt x="2627" y="3050"/>
                  </a:lnTo>
                  <a:lnTo>
                    <a:pt x="2643" y="3078"/>
                  </a:lnTo>
                  <a:lnTo>
                    <a:pt x="2639" y="3083"/>
                  </a:lnTo>
                  <a:lnTo>
                    <a:pt x="2613" y="3061"/>
                  </a:lnTo>
                  <a:lnTo>
                    <a:pt x="2606" y="3045"/>
                  </a:lnTo>
                  <a:lnTo>
                    <a:pt x="2622" y="3050"/>
                  </a:lnTo>
                  <a:lnTo>
                    <a:pt x="2627" y="3038"/>
                  </a:lnTo>
                  <a:lnTo>
                    <a:pt x="2643" y="3045"/>
                  </a:lnTo>
                  <a:lnTo>
                    <a:pt x="2643" y="3045"/>
                  </a:lnTo>
                  <a:lnTo>
                    <a:pt x="2643" y="3045"/>
                  </a:lnTo>
                  <a:close/>
                  <a:moveTo>
                    <a:pt x="2676" y="3050"/>
                  </a:moveTo>
                  <a:lnTo>
                    <a:pt x="2693" y="3061"/>
                  </a:lnTo>
                  <a:lnTo>
                    <a:pt x="2698" y="3078"/>
                  </a:lnTo>
                  <a:lnTo>
                    <a:pt x="2681" y="3095"/>
                  </a:lnTo>
                  <a:lnTo>
                    <a:pt x="2665" y="3083"/>
                  </a:lnTo>
                  <a:lnTo>
                    <a:pt x="2660" y="3066"/>
                  </a:lnTo>
                  <a:lnTo>
                    <a:pt x="2665" y="3061"/>
                  </a:lnTo>
                  <a:lnTo>
                    <a:pt x="2660" y="3078"/>
                  </a:lnTo>
                  <a:lnTo>
                    <a:pt x="2643" y="3066"/>
                  </a:lnTo>
                  <a:lnTo>
                    <a:pt x="2651" y="3045"/>
                  </a:lnTo>
                  <a:lnTo>
                    <a:pt x="2676" y="3050"/>
                  </a:lnTo>
                  <a:lnTo>
                    <a:pt x="2676" y="3050"/>
                  </a:lnTo>
                  <a:lnTo>
                    <a:pt x="2676" y="3050"/>
                  </a:lnTo>
                  <a:close/>
                  <a:moveTo>
                    <a:pt x="2537" y="3066"/>
                  </a:moveTo>
                  <a:lnTo>
                    <a:pt x="2521" y="3061"/>
                  </a:lnTo>
                  <a:lnTo>
                    <a:pt x="2542" y="3061"/>
                  </a:lnTo>
                  <a:lnTo>
                    <a:pt x="2537" y="3066"/>
                  </a:lnTo>
                  <a:lnTo>
                    <a:pt x="2537" y="3066"/>
                  </a:lnTo>
                  <a:lnTo>
                    <a:pt x="2537" y="3066"/>
                  </a:lnTo>
                  <a:close/>
                  <a:moveTo>
                    <a:pt x="2606" y="3061"/>
                  </a:moveTo>
                  <a:lnTo>
                    <a:pt x="2613" y="3066"/>
                  </a:lnTo>
                  <a:lnTo>
                    <a:pt x="2606" y="3078"/>
                  </a:lnTo>
                  <a:lnTo>
                    <a:pt x="2589" y="3078"/>
                  </a:lnTo>
                  <a:lnTo>
                    <a:pt x="2606" y="3061"/>
                  </a:lnTo>
                  <a:lnTo>
                    <a:pt x="2606" y="3061"/>
                  </a:lnTo>
                  <a:lnTo>
                    <a:pt x="2606" y="3061"/>
                  </a:lnTo>
                  <a:close/>
                  <a:moveTo>
                    <a:pt x="2747" y="3078"/>
                  </a:moveTo>
                  <a:lnTo>
                    <a:pt x="2731" y="3066"/>
                  </a:lnTo>
                  <a:lnTo>
                    <a:pt x="2752" y="3078"/>
                  </a:lnTo>
                  <a:lnTo>
                    <a:pt x="2747" y="3078"/>
                  </a:lnTo>
                  <a:lnTo>
                    <a:pt x="2747" y="3078"/>
                  </a:lnTo>
                  <a:lnTo>
                    <a:pt x="2747" y="3078"/>
                  </a:lnTo>
                  <a:close/>
                  <a:moveTo>
                    <a:pt x="2589" y="3095"/>
                  </a:moveTo>
                  <a:lnTo>
                    <a:pt x="2589" y="3083"/>
                  </a:lnTo>
                  <a:lnTo>
                    <a:pt x="2606" y="3083"/>
                  </a:lnTo>
                  <a:lnTo>
                    <a:pt x="2589" y="3095"/>
                  </a:lnTo>
                  <a:lnTo>
                    <a:pt x="2589" y="3095"/>
                  </a:lnTo>
                  <a:lnTo>
                    <a:pt x="2589" y="3095"/>
                  </a:lnTo>
                  <a:close/>
                  <a:moveTo>
                    <a:pt x="2627" y="3132"/>
                  </a:moveTo>
                  <a:lnTo>
                    <a:pt x="2622" y="3116"/>
                  </a:lnTo>
                  <a:lnTo>
                    <a:pt x="2627" y="3123"/>
                  </a:lnTo>
                  <a:lnTo>
                    <a:pt x="2627" y="3132"/>
                  </a:lnTo>
                  <a:lnTo>
                    <a:pt x="2627" y="3132"/>
                  </a:lnTo>
                  <a:lnTo>
                    <a:pt x="2627" y="3132"/>
                  </a:lnTo>
                  <a:close/>
                  <a:moveTo>
                    <a:pt x="2693" y="3149"/>
                  </a:moveTo>
                  <a:lnTo>
                    <a:pt x="2660" y="3139"/>
                  </a:lnTo>
                  <a:lnTo>
                    <a:pt x="2665" y="3132"/>
                  </a:lnTo>
                  <a:lnTo>
                    <a:pt x="2698" y="3149"/>
                  </a:lnTo>
                  <a:lnTo>
                    <a:pt x="2693" y="3149"/>
                  </a:lnTo>
                  <a:lnTo>
                    <a:pt x="2693" y="3149"/>
                  </a:lnTo>
                  <a:lnTo>
                    <a:pt x="2693" y="3149"/>
                  </a:lnTo>
                  <a:close/>
                  <a:moveTo>
                    <a:pt x="2731" y="3139"/>
                  </a:moveTo>
                  <a:lnTo>
                    <a:pt x="2736" y="3139"/>
                  </a:lnTo>
                  <a:lnTo>
                    <a:pt x="2714" y="3139"/>
                  </a:lnTo>
                  <a:lnTo>
                    <a:pt x="2731" y="3139"/>
                  </a:lnTo>
                  <a:lnTo>
                    <a:pt x="2731" y="3139"/>
                  </a:lnTo>
                  <a:lnTo>
                    <a:pt x="2731" y="3139"/>
                  </a:lnTo>
                  <a:close/>
                  <a:moveTo>
                    <a:pt x="2769" y="3156"/>
                  </a:moveTo>
                  <a:lnTo>
                    <a:pt x="2769" y="3149"/>
                  </a:lnTo>
                  <a:lnTo>
                    <a:pt x="2773" y="3139"/>
                  </a:lnTo>
                  <a:lnTo>
                    <a:pt x="2823" y="3149"/>
                  </a:lnTo>
                  <a:lnTo>
                    <a:pt x="2769" y="3156"/>
                  </a:lnTo>
                  <a:lnTo>
                    <a:pt x="2769" y="3156"/>
                  </a:lnTo>
                  <a:lnTo>
                    <a:pt x="2769" y="3156"/>
                  </a:lnTo>
                  <a:close/>
                  <a:moveTo>
                    <a:pt x="2736" y="3139"/>
                  </a:moveTo>
                  <a:lnTo>
                    <a:pt x="2714" y="3156"/>
                  </a:lnTo>
                  <a:lnTo>
                    <a:pt x="2747" y="3156"/>
                  </a:lnTo>
                  <a:lnTo>
                    <a:pt x="2747" y="3161"/>
                  </a:lnTo>
                  <a:lnTo>
                    <a:pt x="2736" y="3161"/>
                  </a:lnTo>
                  <a:lnTo>
                    <a:pt x="2736" y="3172"/>
                  </a:lnTo>
                  <a:lnTo>
                    <a:pt x="2731" y="3172"/>
                  </a:lnTo>
                  <a:lnTo>
                    <a:pt x="2719" y="3161"/>
                  </a:lnTo>
                  <a:lnTo>
                    <a:pt x="2714" y="3161"/>
                  </a:lnTo>
                  <a:lnTo>
                    <a:pt x="2693" y="3156"/>
                  </a:lnTo>
                  <a:lnTo>
                    <a:pt x="2698" y="3149"/>
                  </a:lnTo>
                  <a:lnTo>
                    <a:pt x="2719" y="3149"/>
                  </a:lnTo>
                  <a:lnTo>
                    <a:pt x="2736" y="3139"/>
                  </a:lnTo>
                  <a:lnTo>
                    <a:pt x="2736" y="3139"/>
                  </a:lnTo>
                  <a:lnTo>
                    <a:pt x="2736" y="3139"/>
                  </a:lnTo>
                  <a:close/>
                  <a:moveTo>
                    <a:pt x="2899" y="3139"/>
                  </a:moveTo>
                  <a:lnTo>
                    <a:pt x="2953" y="3149"/>
                  </a:lnTo>
                  <a:lnTo>
                    <a:pt x="2967" y="3161"/>
                  </a:lnTo>
                  <a:lnTo>
                    <a:pt x="2962" y="3177"/>
                  </a:lnTo>
                  <a:lnTo>
                    <a:pt x="2946" y="3177"/>
                  </a:lnTo>
                  <a:lnTo>
                    <a:pt x="2946" y="3172"/>
                  </a:lnTo>
                  <a:lnTo>
                    <a:pt x="2936" y="3172"/>
                  </a:lnTo>
                  <a:lnTo>
                    <a:pt x="2929" y="3177"/>
                  </a:lnTo>
                  <a:lnTo>
                    <a:pt x="2915" y="3177"/>
                  </a:lnTo>
                  <a:lnTo>
                    <a:pt x="2915" y="3172"/>
                  </a:lnTo>
                  <a:lnTo>
                    <a:pt x="2899" y="3177"/>
                  </a:lnTo>
                  <a:lnTo>
                    <a:pt x="2891" y="3149"/>
                  </a:lnTo>
                  <a:lnTo>
                    <a:pt x="2877" y="3149"/>
                  </a:lnTo>
                  <a:lnTo>
                    <a:pt x="2899" y="3139"/>
                  </a:lnTo>
                  <a:lnTo>
                    <a:pt x="2899" y="3139"/>
                  </a:lnTo>
                  <a:lnTo>
                    <a:pt x="2899" y="3139"/>
                  </a:lnTo>
                  <a:close/>
                  <a:moveTo>
                    <a:pt x="2802" y="3189"/>
                  </a:moveTo>
                  <a:lnTo>
                    <a:pt x="2785" y="3177"/>
                  </a:lnTo>
                  <a:lnTo>
                    <a:pt x="2802" y="3172"/>
                  </a:lnTo>
                  <a:lnTo>
                    <a:pt x="2773" y="3177"/>
                  </a:lnTo>
                  <a:lnTo>
                    <a:pt x="2757" y="3161"/>
                  </a:lnTo>
                  <a:lnTo>
                    <a:pt x="2773" y="3156"/>
                  </a:lnTo>
                  <a:lnTo>
                    <a:pt x="2865" y="3149"/>
                  </a:lnTo>
                  <a:lnTo>
                    <a:pt x="2882" y="3156"/>
                  </a:lnTo>
                  <a:lnTo>
                    <a:pt x="2861" y="3172"/>
                  </a:lnTo>
                  <a:lnTo>
                    <a:pt x="2828" y="3156"/>
                  </a:lnTo>
                  <a:lnTo>
                    <a:pt x="2854" y="3172"/>
                  </a:lnTo>
                  <a:lnTo>
                    <a:pt x="2882" y="3172"/>
                  </a:lnTo>
                  <a:lnTo>
                    <a:pt x="2891" y="3177"/>
                  </a:lnTo>
                  <a:lnTo>
                    <a:pt x="2854" y="3177"/>
                  </a:lnTo>
                  <a:lnTo>
                    <a:pt x="2891" y="3194"/>
                  </a:lnTo>
                  <a:lnTo>
                    <a:pt x="2908" y="3210"/>
                  </a:lnTo>
                  <a:lnTo>
                    <a:pt x="2899" y="3227"/>
                  </a:lnTo>
                  <a:lnTo>
                    <a:pt x="2877" y="3206"/>
                  </a:lnTo>
                  <a:lnTo>
                    <a:pt x="2844" y="3206"/>
                  </a:lnTo>
                  <a:lnTo>
                    <a:pt x="2839" y="3194"/>
                  </a:lnTo>
                  <a:lnTo>
                    <a:pt x="2854" y="3189"/>
                  </a:lnTo>
                  <a:lnTo>
                    <a:pt x="2844" y="3189"/>
                  </a:lnTo>
                  <a:lnTo>
                    <a:pt x="2844" y="3172"/>
                  </a:lnTo>
                  <a:lnTo>
                    <a:pt x="2828" y="3177"/>
                  </a:lnTo>
                  <a:lnTo>
                    <a:pt x="2823" y="3161"/>
                  </a:lnTo>
                  <a:lnTo>
                    <a:pt x="2806" y="3172"/>
                  </a:lnTo>
                  <a:lnTo>
                    <a:pt x="2811" y="3172"/>
                  </a:lnTo>
                  <a:lnTo>
                    <a:pt x="2806" y="3177"/>
                  </a:lnTo>
                  <a:lnTo>
                    <a:pt x="2811" y="3194"/>
                  </a:lnTo>
                  <a:lnTo>
                    <a:pt x="2823" y="3194"/>
                  </a:lnTo>
                  <a:lnTo>
                    <a:pt x="2823" y="3206"/>
                  </a:lnTo>
                  <a:lnTo>
                    <a:pt x="2806" y="3206"/>
                  </a:lnTo>
                  <a:lnTo>
                    <a:pt x="2802" y="3194"/>
                  </a:lnTo>
                  <a:lnTo>
                    <a:pt x="2806" y="3189"/>
                  </a:lnTo>
                  <a:lnTo>
                    <a:pt x="2802" y="3189"/>
                  </a:lnTo>
                  <a:lnTo>
                    <a:pt x="2802" y="3189"/>
                  </a:lnTo>
                  <a:lnTo>
                    <a:pt x="2802" y="3189"/>
                  </a:lnTo>
                  <a:close/>
                  <a:moveTo>
                    <a:pt x="2979" y="3156"/>
                  </a:moveTo>
                  <a:lnTo>
                    <a:pt x="2988" y="3161"/>
                  </a:lnTo>
                  <a:lnTo>
                    <a:pt x="2967" y="3156"/>
                  </a:lnTo>
                  <a:lnTo>
                    <a:pt x="2979" y="3156"/>
                  </a:lnTo>
                  <a:lnTo>
                    <a:pt x="2979" y="3156"/>
                  </a:lnTo>
                  <a:lnTo>
                    <a:pt x="2979" y="3156"/>
                  </a:lnTo>
                  <a:close/>
                  <a:moveTo>
                    <a:pt x="3005" y="3177"/>
                  </a:moveTo>
                  <a:lnTo>
                    <a:pt x="3000" y="3172"/>
                  </a:lnTo>
                  <a:lnTo>
                    <a:pt x="3017" y="3172"/>
                  </a:lnTo>
                  <a:lnTo>
                    <a:pt x="3005" y="3177"/>
                  </a:lnTo>
                  <a:lnTo>
                    <a:pt x="3005" y="3177"/>
                  </a:lnTo>
                  <a:lnTo>
                    <a:pt x="3005" y="3177"/>
                  </a:lnTo>
                  <a:close/>
                  <a:moveTo>
                    <a:pt x="2984" y="3177"/>
                  </a:moveTo>
                  <a:lnTo>
                    <a:pt x="2984" y="3189"/>
                  </a:lnTo>
                  <a:lnTo>
                    <a:pt x="2967" y="3189"/>
                  </a:lnTo>
                  <a:lnTo>
                    <a:pt x="2979" y="3177"/>
                  </a:lnTo>
                  <a:lnTo>
                    <a:pt x="2984" y="3177"/>
                  </a:lnTo>
                  <a:lnTo>
                    <a:pt x="2984" y="3177"/>
                  </a:lnTo>
                  <a:lnTo>
                    <a:pt x="2984" y="3177"/>
                  </a:lnTo>
                  <a:close/>
                  <a:moveTo>
                    <a:pt x="2769" y="3189"/>
                  </a:moveTo>
                  <a:lnTo>
                    <a:pt x="2757" y="3177"/>
                  </a:lnTo>
                  <a:lnTo>
                    <a:pt x="2769" y="3177"/>
                  </a:lnTo>
                  <a:lnTo>
                    <a:pt x="2769" y="3189"/>
                  </a:lnTo>
                  <a:lnTo>
                    <a:pt x="2769" y="3189"/>
                  </a:lnTo>
                  <a:lnTo>
                    <a:pt x="2769" y="3189"/>
                  </a:lnTo>
                  <a:close/>
                  <a:moveTo>
                    <a:pt x="2785" y="3194"/>
                  </a:moveTo>
                  <a:lnTo>
                    <a:pt x="2785" y="3189"/>
                  </a:lnTo>
                  <a:lnTo>
                    <a:pt x="2790" y="3189"/>
                  </a:lnTo>
                  <a:lnTo>
                    <a:pt x="2785" y="3194"/>
                  </a:lnTo>
                  <a:lnTo>
                    <a:pt x="2785" y="3194"/>
                  </a:lnTo>
                  <a:lnTo>
                    <a:pt x="2785" y="3194"/>
                  </a:lnTo>
                  <a:close/>
                  <a:moveTo>
                    <a:pt x="2925" y="3210"/>
                  </a:moveTo>
                  <a:lnTo>
                    <a:pt x="2929" y="3206"/>
                  </a:lnTo>
                  <a:lnTo>
                    <a:pt x="2936" y="3206"/>
                  </a:lnTo>
                  <a:lnTo>
                    <a:pt x="2925" y="3210"/>
                  </a:lnTo>
                  <a:lnTo>
                    <a:pt x="2925" y="3210"/>
                  </a:lnTo>
                  <a:lnTo>
                    <a:pt x="2925" y="3210"/>
                  </a:lnTo>
                  <a:close/>
                  <a:moveTo>
                    <a:pt x="2953" y="3234"/>
                  </a:moveTo>
                  <a:lnTo>
                    <a:pt x="2936" y="3227"/>
                  </a:lnTo>
                  <a:lnTo>
                    <a:pt x="2936" y="3217"/>
                  </a:lnTo>
                  <a:lnTo>
                    <a:pt x="2953" y="3210"/>
                  </a:lnTo>
                  <a:lnTo>
                    <a:pt x="2962" y="3227"/>
                  </a:lnTo>
                  <a:lnTo>
                    <a:pt x="2953" y="3234"/>
                  </a:lnTo>
                  <a:lnTo>
                    <a:pt x="2953" y="3234"/>
                  </a:lnTo>
                  <a:lnTo>
                    <a:pt x="2953" y="3234"/>
                  </a:lnTo>
                  <a:close/>
                  <a:moveTo>
                    <a:pt x="2967" y="3243"/>
                  </a:moveTo>
                  <a:lnTo>
                    <a:pt x="2962" y="3243"/>
                  </a:lnTo>
                  <a:lnTo>
                    <a:pt x="2967" y="3234"/>
                  </a:lnTo>
                  <a:lnTo>
                    <a:pt x="2967" y="3243"/>
                  </a:lnTo>
                  <a:lnTo>
                    <a:pt x="2967" y="3243"/>
                  </a:lnTo>
                  <a:lnTo>
                    <a:pt x="2967" y="3243"/>
                  </a:lnTo>
                  <a:close/>
                  <a:moveTo>
                    <a:pt x="2929" y="3243"/>
                  </a:moveTo>
                  <a:lnTo>
                    <a:pt x="2915" y="3234"/>
                  </a:lnTo>
                  <a:lnTo>
                    <a:pt x="2936" y="3234"/>
                  </a:lnTo>
                  <a:lnTo>
                    <a:pt x="2929" y="3243"/>
                  </a:lnTo>
                  <a:lnTo>
                    <a:pt x="2929" y="3243"/>
                  </a:lnTo>
                  <a:lnTo>
                    <a:pt x="2929" y="3243"/>
                  </a:lnTo>
                  <a:close/>
                  <a:moveTo>
                    <a:pt x="2962" y="3243"/>
                  </a:moveTo>
                  <a:lnTo>
                    <a:pt x="2946" y="3234"/>
                  </a:lnTo>
                  <a:lnTo>
                    <a:pt x="2962" y="3234"/>
                  </a:lnTo>
                  <a:lnTo>
                    <a:pt x="2962" y="3243"/>
                  </a:lnTo>
                  <a:lnTo>
                    <a:pt x="2962" y="3243"/>
                  </a:lnTo>
                  <a:lnTo>
                    <a:pt x="2962" y="324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8" name="Freeform 418">
              <a:extLst>
                <a:ext uri="{FF2B5EF4-FFF2-40B4-BE49-F238E27FC236}">
                  <a16:creationId xmlns:a16="http://schemas.microsoft.com/office/drawing/2014/main" id="{750A32B1-312A-41C1-8E06-BDDE9A7560FB}"/>
                </a:ext>
              </a:extLst>
            </p:cNvPr>
            <p:cNvSpPr>
              <a:spLocks noEditPoints="1"/>
            </p:cNvSpPr>
            <p:nvPr/>
          </p:nvSpPr>
          <p:spPr bwMode="gray">
            <a:xfrm>
              <a:off x="4441054" y="3696164"/>
              <a:ext cx="352801" cy="494883"/>
            </a:xfrm>
            <a:custGeom>
              <a:avLst/>
              <a:gdLst>
                <a:gd name="T0" fmla="*/ 92 w 857"/>
                <a:gd name="T1" fmla="*/ 337 h 1202"/>
                <a:gd name="T2" fmla="*/ 134 w 857"/>
                <a:gd name="T3" fmla="*/ 321 h 1202"/>
                <a:gd name="T4" fmla="*/ 146 w 857"/>
                <a:gd name="T5" fmla="*/ 304 h 1202"/>
                <a:gd name="T6" fmla="*/ 163 w 857"/>
                <a:gd name="T7" fmla="*/ 288 h 1202"/>
                <a:gd name="T8" fmla="*/ 243 w 857"/>
                <a:gd name="T9" fmla="*/ 212 h 1202"/>
                <a:gd name="T10" fmla="*/ 269 w 857"/>
                <a:gd name="T11" fmla="*/ 122 h 1202"/>
                <a:gd name="T12" fmla="*/ 323 w 857"/>
                <a:gd name="T13" fmla="*/ 101 h 1202"/>
                <a:gd name="T14" fmla="*/ 335 w 857"/>
                <a:gd name="T15" fmla="*/ 122 h 1202"/>
                <a:gd name="T16" fmla="*/ 479 w 857"/>
                <a:gd name="T17" fmla="*/ 40 h 1202"/>
                <a:gd name="T18" fmla="*/ 496 w 857"/>
                <a:gd name="T19" fmla="*/ 11 h 1202"/>
                <a:gd name="T20" fmla="*/ 517 w 857"/>
                <a:gd name="T21" fmla="*/ 0 h 1202"/>
                <a:gd name="T22" fmla="*/ 503 w 857"/>
                <a:gd name="T23" fmla="*/ 56 h 1202"/>
                <a:gd name="T24" fmla="*/ 427 w 857"/>
                <a:gd name="T25" fmla="*/ 193 h 1202"/>
                <a:gd name="T26" fmla="*/ 441 w 857"/>
                <a:gd name="T27" fmla="*/ 245 h 1202"/>
                <a:gd name="T28" fmla="*/ 465 w 857"/>
                <a:gd name="T29" fmla="*/ 321 h 1202"/>
                <a:gd name="T30" fmla="*/ 524 w 857"/>
                <a:gd name="T31" fmla="*/ 389 h 1202"/>
                <a:gd name="T32" fmla="*/ 630 w 857"/>
                <a:gd name="T33" fmla="*/ 394 h 1202"/>
                <a:gd name="T34" fmla="*/ 701 w 857"/>
                <a:gd name="T35" fmla="*/ 448 h 1202"/>
                <a:gd name="T36" fmla="*/ 819 w 857"/>
                <a:gd name="T37" fmla="*/ 448 h 1202"/>
                <a:gd name="T38" fmla="*/ 789 w 857"/>
                <a:gd name="T39" fmla="*/ 510 h 1202"/>
                <a:gd name="T40" fmla="*/ 827 w 857"/>
                <a:gd name="T41" fmla="*/ 654 h 1202"/>
                <a:gd name="T42" fmla="*/ 836 w 857"/>
                <a:gd name="T43" fmla="*/ 732 h 1202"/>
                <a:gd name="T44" fmla="*/ 827 w 857"/>
                <a:gd name="T45" fmla="*/ 744 h 1202"/>
                <a:gd name="T46" fmla="*/ 756 w 857"/>
                <a:gd name="T47" fmla="*/ 765 h 1202"/>
                <a:gd name="T48" fmla="*/ 647 w 857"/>
                <a:gd name="T49" fmla="*/ 819 h 1202"/>
                <a:gd name="T50" fmla="*/ 685 w 857"/>
                <a:gd name="T51" fmla="*/ 852 h 1202"/>
                <a:gd name="T52" fmla="*/ 664 w 857"/>
                <a:gd name="T53" fmla="*/ 930 h 1202"/>
                <a:gd name="T54" fmla="*/ 642 w 857"/>
                <a:gd name="T55" fmla="*/ 1202 h 1202"/>
                <a:gd name="T56" fmla="*/ 630 w 857"/>
                <a:gd name="T57" fmla="*/ 1098 h 1202"/>
                <a:gd name="T58" fmla="*/ 541 w 857"/>
                <a:gd name="T59" fmla="*/ 1070 h 1202"/>
                <a:gd name="T60" fmla="*/ 479 w 857"/>
                <a:gd name="T61" fmla="*/ 1074 h 1202"/>
                <a:gd name="T62" fmla="*/ 415 w 857"/>
                <a:gd name="T63" fmla="*/ 1070 h 1202"/>
                <a:gd name="T64" fmla="*/ 411 w 857"/>
                <a:gd name="T65" fmla="*/ 1037 h 1202"/>
                <a:gd name="T66" fmla="*/ 340 w 857"/>
                <a:gd name="T67" fmla="*/ 970 h 1202"/>
                <a:gd name="T68" fmla="*/ 297 w 857"/>
                <a:gd name="T69" fmla="*/ 914 h 1202"/>
                <a:gd name="T70" fmla="*/ 215 w 857"/>
                <a:gd name="T71" fmla="*/ 876 h 1202"/>
                <a:gd name="T72" fmla="*/ 177 w 857"/>
                <a:gd name="T73" fmla="*/ 888 h 1202"/>
                <a:gd name="T74" fmla="*/ 101 w 857"/>
                <a:gd name="T75" fmla="*/ 836 h 1202"/>
                <a:gd name="T76" fmla="*/ 16 w 857"/>
                <a:gd name="T77" fmla="*/ 786 h 1202"/>
                <a:gd name="T78" fmla="*/ 38 w 857"/>
                <a:gd name="T79" fmla="*/ 760 h 1202"/>
                <a:gd name="T80" fmla="*/ 54 w 857"/>
                <a:gd name="T81" fmla="*/ 720 h 1202"/>
                <a:gd name="T82" fmla="*/ 87 w 857"/>
                <a:gd name="T83" fmla="*/ 708 h 1202"/>
                <a:gd name="T84" fmla="*/ 118 w 857"/>
                <a:gd name="T85" fmla="*/ 654 h 1202"/>
                <a:gd name="T86" fmla="*/ 125 w 857"/>
                <a:gd name="T87" fmla="*/ 616 h 1202"/>
                <a:gd name="T88" fmla="*/ 118 w 857"/>
                <a:gd name="T89" fmla="*/ 609 h 1202"/>
                <a:gd name="T90" fmla="*/ 125 w 857"/>
                <a:gd name="T91" fmla="*/ 567 h 1202"/>
                <a:gd name="T92" fmla="*/ 134 w 857"/>
                <a:gd name="T93" fmla="*/ 482 h 1202"/>
                <a:gd name="T94" fmla="*/ 125 w 857"/>
                <a:gd name="T95" fmla="*/ 427 h 1202"/>
                <a:gd name="T96" fmla="*/ 118 w 857"/>
                <a:gd name="T97" fmla="*/ 583 h 1202"/>
                <a:gd name="T98" fmla="*/ 118 w 857"/>
                <a:gd name="T99" fmla="*/ 583 h 1202"/>
                <a:gd name="T100" fmla="*/ 118 w 857"/>
                <a:gd name="T101" fmla="*/ 609 h 1202"/>
                <a:gd name="T102" fmla="*/ 118 w 857"/>
                <a:gd name="T103" fmla="*/ 666 h 1202"/>
                <a:gd name="T104" fmla="*/ 118 w 857"/>
                <a:gd name="T105" fmla="*/ 666 h 1202"/>
                <a:gd name="T106" fmla="*/ 108 w 857"/>
                <a:gd name="T107" fmla="*/ 675 h 1202"/>
                <a:gd name="T108" fmla="*/ 108 w 857"/>
                <a:gd name="T109" fmla="*/ 671 h 1202"/>
                <a:gd name="T110" fmla="*/ 87 w 857"/>
                <a:gd name="T111" fmla="*/ 708 h 1202"/>
                <a:gd name="T112" fmla="*/ 71 w 857"/>
                <a:gd name="T113" fmla="*/ 708 h 1202"/>
                <a:gd name="T114" fmla="*/ 80 w 857"/>
                <a:gd name="T115" fmla="*/ 720 h 1202"/>
                <a:gd name="T116" fmla="*/ 71 w 857"/>
                <a:gd name="T117" fmla="*/ 720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7" h="1202">
                  <a:moveTo>
                    <a:pt x="87" y="378"/>
                  </a:moveTo>
                  <a:lnTo>
                    <a:pt x="92" y="361"/>
                  </a:lnTo>
                  <a:lnTo>
                    <a:pt x="92" y="354"/>
                  </a:lnTo>
                  <a:lnTo>
                    <a:pt x="92" y="337"/>
                  </a:lnTo>
                  <a:lnTo>
                    <a:pt x="108" y="354"/>
                  </a:lnTo>
                  <a:lnTo>
                    <a:pt x="125" y="345"/>
                  </a:lnTo>
                  <a:lnTo>
                    <a:pt x="125" y="337"/>
                  </a:lnTo>
                  <a:lnTo>
                    <a:pt x="134" y="321"/>
                  </a:lnTo>
                  <a:lnTo>
                    <a:pt x="134" y="316"/>
                  </a:lnTo>
                  <a:lnTo>
                    <a:pt x="118" y="283"/>
                  </a:lnTo>
                  <a:lnTo>
                    <a:pt x="125" y="278"/>
                  </a:lnTo>
                  <a:lnTo>
                    <a:pt x="146" y="304"/>
                  </a:lnTo>
                  <a:lnTo>
                    <a:pt x="156" y="316"/>
                  </a:lnTo>
                  <a:lnTo>
                    <a:pt x="156" y="321"/>
                  </a:lnTo>
                  <a:lnTo>
                    <a:pt x="163" y="333"/>
                  </a:lnTo>
                  <a:lnTo>
                    <a:pt x="163" y="288"/>
                  </a:lnTo>
                  <a:lnTo>
                    <a:pt x="156" y="283"/>
                  </a:lnTo>
                  <a:lnTo>
                    <a:pt x="193" y="250"/>
                  </a:lnTo>
                  <a:lnTo>
                    <a:pt x="210" y="229"/>
                  </a:lnTo>
                  <a:lnTo>
                    <a:pt x="243" y="212"/>
                  </a:lnTo>
                  <a:lnTo>
                    <a:pt x="248" y="205"/>
                  </a:lnTo>
                  <a:lnTo>
                    <a:pt x="243" y="193"/>
                  </a:lnTo>
                  <a:lnTo>
                    <a:pt x="252" y="134"/>
                  </a:lnTo>
                  <a:lnTo>
                    <a:pt x="269" y="122"/>
                  </a:lnTo>
                  <a:lnTo>
                    <a:pt x="269" y="118"/>
                  </a:lnTo>
                  <a:lnTo>
                    <a:pt x="286" y="111"/>
                  </a:lnTo>
                  <a:lnTo>
                    <a:pt x="297" y="94"/>
                  </a:lnTo>
                  <a:lnTo>
                    <a:pt x="323" y="101"/>
                  </a:lnTo>
                  <a:lnTo>
                    <a:pt x="340" y="101"/>
                  </a:lnTo>
                  <a:lnTo>
                    <a:pt x="319" y="111"/>
                  </a:lnTo>
                  <a:lnTo>
                    <a:pt x="319" y="118"/>
                  </a:lnTo>
                  <a:lnTo>
                    <a:pt x="335" y="122"/>
                  </a:lnTo>
                  <a:lnTo>
                    <a:pt x="352" y="78"/>
                  </a:lnTo>
                  <a:lnTo>
                    <a:pt x="411" y="85"/>
                  </a:lnTo>
                  <a:lnTo>
                    <a:pt x="449" y="56"/>
                  </a:lnTo>
                  <a:lnTo>
                    <a:pt x="479" y="40"/>
                  </a:lnTo>
                  <a:lnTo>
                    <a:pt x="486" y="23"/>
                  </a:lnTo>
                  <a:lnTo>
                    <a:pt x="486" y="11"/>
                  </a:lnTo>
                  <a:lnTo>
                    <a:pt x="503" y="11"/>
                  </a:lnTo>
                  <a:lnTo>
                    <a:pt x="496" y="11"/>
                  </a:lnTo>
                  <a:lnTo>
                    <a:pt x="503" y="23"/>
                  </a:lnTo>
                  <a:lnTo>
                    <a:pt x="524" y="0"/>
                  </a:lnTo>
                  <a:lnTo>
                    <a:pt x="517" y="0"/>
                  </a:lnTo>
                  <a:lnTo>
                    <a:pt x="517" y="0"/>
                  </a:lnTo>
                  <a:lnTo>
                    <a:pt x="555" y="7"/>
                  </a:lnTo>
                  <a:lnTo>
                    <a:pt x="555" y="28"/>
                  </a:lnTo>
                  <a:lnTo>
                    <a:pt x="550" y="40"/>
                  </a:lnTo>
                  <a:lnTo>
                    <a:pt x="503" y="56"/>
                  </a:lnTo>
                  <a:lnTo>
                    <a:pt x="486" y="85"/>
                  </a:lnTo>
                  <a:lnTo>
                    <a:pt x="465" y="94"/>
                  </a:lnTo>
                  <a:lnTo>
                    <a:pt x="432" y="139"/>
                  </a:lnTo>
                  <a:lnTo>
                    <a:pt x="427" y="193"/>
                  </a:lnTo>
                  <a:lnTo>
                    <a:pt x="404" y="234"/>
                  </a:lnTo>
                  <a:lnTo>
                    <a:pt x="427" y="229"/>
                  </a:lnTo>
                  <a:lnTo>
                    <a:pt x="432" y="234"/>
                  </a:lnTo>
                  <a:lnTo>
                    <a:pt x="441" y="245"/>
                  </a:lnTo>
                  <a:lnTo>
                    <a:pt x="449" y="278"/>
                  </a:lnTo>
                  <a:lnTo>
                    <a:pt x="470" y="288"/>
                  </a:lnTo>
                  <a:lnTo>
                    <a:pt x="470" y="316"/>
                  </a:lnTo>
                  <a:lnTo>
                    <a:pt x="465" y="321"/>
                  </a:lnTo>
                  <a:lnTo>
                    <a:pt x="465" y="354"/>
                  </a:lnTo>
                  <a:lnTo>
                    <a:pt x="486" y="373"/>
                  </a:lnTo>
                  <a:lnTo>
                    <a:pt x="496" y="394"/>
                  </a:lnTo>
                  <a:lnTo>
                    <a:pt x="524" y="389"/>
                  </a:lnTo>
                  <a:lnTo>
                    <a:pt x="555" y="394"/>
                  </a:lnTo>
                  <a:lnTo>
                    <a:pt x="588" y="389"/>
                  </a:lnTo>
                  <a:lnTo>
                    <a:pt x="621" y="394"/>
                  </a:lnTo>
                  <a:lnTo>
                    <a:pt x="630" y="394"/>
                  </a:lnTo>
                  <a:lnTo>
                    <a:pt x="680" y="456"/>
                  </a:lnTo>
                  <a:lnTo>
                    <a:pt x="685" y="456"/>
                  </a:lnTo>
                  <a:lnTo>
                    <a:pt x="697" y="456"/>
                  </a:lnTo>
                  <a:lnTo>
                    <a:pt x="701" y="448"/>
                  </a:lnTo>
                  <a:lnTo>
                    <a:pt x="734" y="456"/>
                  </a:lnTo>
                  <a:lnTo>
                    <a:pt x="782" y="448"/>
                  </a:lnTo>
                  <a:lnTo>
                    <a:pt x="789" y="444"/>
                  </a:lnTo>
                  <a:lnTo>
                    <a:pt x="819" y="448"/>
                  </a:lnTo>
                  <a:lnTo>
                    <a:pt x="819" y="465"/>
                  </a:lnTo>
                  <a:lnTo>
                    <a:pt x="805" y="482"/>
                  </a:lnTo>
                  <a:lnTo>
                    <a:pt x="805" y="498"/>
                  </a:lnTo>
                  <a:lnTo>
                    <a:pt x="789" y="510"/>
                  </a:lnTo>
                  <a:lnTo>
                    <a:pt x="789" y="567"/>
                  </a:lnTo>
                  <a:lnTo>
                    <a:pt x="805" y="621"/>
                  </a:lnTo>
                  <a:lnTo>
                    <a:pt x="810" y="633"/>
                  </a:lnTo>
                  <a:lnTo>
                    <a:pt x="827" y="654"/>
                  </a:lnTo>
                  <a:lnTo>
                    <a:pt x="789" y="692"/>
                  </a:lnTo>
                  <a:lnTo>
                    <a:pt x="805" y="692"/>
                  </a:lnTo>
                  <a:lnTo>
                    <a:pt x="836" y="727"/>
                  </a:lnTo>
                  <a:lnTo>
                    <a:pt x="836" y="732"/>
                  </a:lnTo>
                  <a:lnTo>
                    <a:pt x="857" y="815"/>
                  </a:lnTo>
                  <a:lnTo>
                    <a:pt x="843" y="815"/>
                  </a:lnTo>
                  <a:lnTo>
                    <a:pt x="843" y="782"/>
                  </a:lnTo>
                  <a:lnTo>
                    <a:pt x="827" y="744"/>
                  </a:lnTo>
                  <a:lnTo>
                    <a:pt x="819" y="744"/>
                  </a:lnTo>
                  <a:lnTo>
                    <a:pt x="789" y="777"/>
                  </a:lnTo>
                  <a:lnTo>
                    <a:pt x="767" y="760"/>
                  </a:lnTo>
                  <a:lnTo>
                    <a:pt x="756" y="765"/>
                  </a:lnTo>
                  <a:lnTo>
                    <a:pt x="767" y="777"/>
                  </a:lnTo>
                  <a:lnTo>
                    <a:pt x="675" y="765"/>
                  </a:lnTo>
                  <a:lnTo>
                    <a:pt x="647" y="777"/>
                  </a:lnTo>
                  <a:lnTo>
                    <a:pt x="647" y="819"/>
                  </a:lnTo>
                  <a:lnTo>
                    <a:pt x="685" y="819"/>
                  </a:lnTo>
                  <a:lnTo>
                    <a:pt x="697" y="836"/>
                  </a:lnTo>
                  <a:lnTo>
                    <a:pt x="701" y="852"/>
                  </a:lnTo>
                  <a:lnTo>
                    <a:pt x="685" y="852"/>
                  </a:lnTo>
                  <a:lnTo>
                    <a:pt x="680" y="848"/>
                  </a:lnTo>
                  <a:lnTo>
                    <a:pt x="630" y="852"/>
                  </a:lnTo>
                  <a:lnTo>
                    <a:pt x="630" y="909"/>
                  </a:lnTo>
                  <a:lnTo>
                    <a:pt x="664" y="930"/>
                  </a:lnTo>
                  <a:lnTo>
                    <a:pt x="664" y="947"/>
                  </a:lnTo>
                  <a:lnTo>
                    <a:pt x="680" y="970"/>
                  </a:lnTo>
                  <a:lnTo>
                    <a:pt x="680" y="996"/>
                  </a:lnTo>
                  <a:lnTo>
                    <a:pt x="642" y="1202"/>
                  </a:lnTo>
                  <a:lnTo>
                    <a:pt x="621" y="1169"/>
                  </a:lnTo>
                  <a:lnTo>
                    <a:pt x="604" y="1181"/>
                  </a:lnTo>
                  <a:lnTo>
                    <a:pt x="588" y="1169"/>
                  </a:lnTo>
                  <a:lnTo>
                    <a:pt x="630" y="1098"/>
                  </a:lnTo>
                  <a:lnTo>
                    <a:pt x="621" y="1074"/>
                  </a:lnTo>
                  <a:lnTo>
                    <a:pt x="593" y="1074"/>
                  </a:lnTo>
                  <a:lnTo>
                    <a:pt x="578" y="1058"/>
                  </a:lnTo>
                  <a:lnTo>
                    <a:pt x="541" y="1070"/>
                  </a:lnTo>
                  <a:lnTo>
                    <a:pt x="517" y="1058"/>
                  </a:lnTo>
                  <a:lnTo>
                    <a:pt x="517" y="1053"/>
                  </a:lnTo>
                  <a:lnTo>
                    <a:pt x="503" y="1070"/>
                  </a:lnTo>
                  <a:lnTo>
                    <a:pt x="479" y="1074"/>
                  </a:lnTo>
                  <a:lnTo>
                    <a:pt x="458" y="1070"/>
                  </a:lnTo>
                  <a:lnTo>
                    <a:pt x="432" y="1074"/>
                  </a:lnTo>
                  <a:lnTo>
                    <a:pt x="432" y="1070"/>
                  </a:lnTo>
                  <a:lnTo>
                    <a:pt x="415" y="1070"/>
                  </a:lnTo>
                  <a:lnTo>
                    <a:pt x="427" y="1053"/>
                  </a:lnTo>
                  <a:lnTo>
                    <a:pt x="415" y="1025"/>
                  </a:lnTo>
                  <a:lnTo>
                    <a:pt x="415" y="1025"/>
                  </a:lnTo>
                  <a:lnTo>
                    <a:pt x="411" y="1037"/>
                  </a:lnTo>
                  <a:lnTo>
                    <a:pt x="394" y="1020"/>
                  </a:lnTo>
                  <a:lnTo>
                    <a:pt x="394" y="1013"/>
                  </a:lnTo>
                  <a:lnTo>
                    <a:pt x="389" y="996"/>
                  </a:lnTo>
                  <a:lnTo>
                    <a:pt x="340" y="970"/>
                  </a:lnTo>
                  <a:lnTo>
                    <a:pt x="335" y="942"/>
                  </a:lnTo>
                  <a:lnTo>
                    <a:pt x="307" y="926"/>
                  </a:lnTo>
                  <a:lnTo>
                    <a:pt x="302" y="909"/>
                  </a:lnTo>
                  <a:lnTo>
                    <a:pt x="297" y="914"/>
                  </a:lnTo>
                  <a:lnTo>
                    <a:pt x="269" y="904"/>
                  </a:lnTo>
                  <a:lnTo>
                    <a:pt x="269" y="909"/>
                  </a:lnTo>
                  <a:lnTo>
                    <a:pt x="231" y="893"/>
                  </a:lnTo>
                  <a:lnTo>
                    <a:pt x="215" y="876"/>
                  </a:lnTo>
                  <a:lnTo>
                    <a:pt x="201" y="869"/>
                  </a:lnTo>
                  <a:lnTo>
                    <a:pt x="189" y="869"/>
                  </a:lnTo>
                  <a:lnTo>
                    <a:pt x="189" y="876"/>
                  </a:lnTo>
                  <a:lnTo>
                    <a:pt x="177" y="888"/>
                  </a:lnTo>
                  <a:lnTo>
                    <a:pt x="125" y="869"/>
                  </a:lnTo>
                  <a:lnTo>
                    <a:pt x="118" y="852"/>
                  </a:lnTo>
                  <a:lnTo>
                    <a:pt x="101" y="848"/>
                  </a:lnTo>
                  <a:lnTo>
                    <a:pt x="101" y="836"/>
                  </a:lnTo>
                  <a:lnTo>
                    <a:pt x="87" y="836"/>
                  </a:lnTo>
                  <a:lnTo>
                    <a:pt x="71" y="831"/>
                  </a:lnTo>
                  <a:lnTo>
                    <a:pt x="26" y="798"/>
                  </a:lnTo>
                  <a:lnTo>
                    <a:pt x="16" y="786"/>
                  </a:lnTo>
                  <a:lnTo>
                    <a:pt x="0" y="782"/>
                  </a:lnTo>
                  <a:lnTo>
                    <a:pt x="16" y="765"/>
                  </a:lnTo>
                  <a:lnTo>
                    <a:pt x="38" y="777"/>
                  </a:lnTo>
                  <a:lnTo>
                    <a:pt x="38" y="760"/>
                  </a:lnTo>
                  <a:lnTo>
                    <a:pt x="33" y="744"/>
                  </a:lnTo>
                  <a:lnTo>
                    <a:pt x="38" y="727"/>
                  </a:lnTo>
                  <a:lnTo>
                    <a:pt x="49" y="720"/>
                  </a:lnTo>
                  <a:lnTo>
                    <a:pt x="54" y="720"/>
                  </a:lnTo>
                  <a:lnTo>
                    <a:pt x="64" y="720"/>
                  </a:lnTo>
                  <a:lnTo>
                    <a:pt x="80" y="720"/>
                  </a:lnTo>
                  <a:lnTo>
                    <a:pt x="80" y="704"/>
                  </a:lnTo>
                  <a:lnTo>
                    <a:pt x="87" y="708"/>
                  </a:lnTo>
                  <a:lnTo>
                    <a:pt x="92" y="708"/>
                  </a:lnTo>
                  <a:lnTo>
                    <a:pt x="92" y="704"/>
                  </a:lnTo>
                  <a:lnTo>
                    <a:pt x="118" y="666"/>
                  </a:lnTo>
                  <a:lnTo>
                    <a:pt x="118" y="654"/>
                  </a:lnTo>
                  <a:lnTo>
                    <a:pt x="139" y="633"/>
                  </a:lnTo>
                  <a:lnTo>
                    <a:pt x="146" y="616"/>
                  </a:lnTo>
                  <a:lnTo>
                    <a:pt x="134" y="621"/>
                  </a:lnTo>
                  <a:lnTo>
                    <a:pt x="125" y="616"/>
                  </a:lnTo>
                  <a:lnTo>
                    <a:pt x="134" y="609"/>
                  </a:lnTo>
                  <a:lnTo>
                    <a:pt x="134" y="600"/>
                  </a:lnTo>
                  <a:lnTo>
                    <a:pt x="125" y="616"/>
                  </a:lnTo>
                  <a:lnTo>
                    <a:pt x="118" y="609"/>
                  </a:lnTo>
                  <a:lnTo>
                    <a:pt x="118" y="600"/>
                  </a:lnTo>
                  <a:lnTo>
                    <a:pt x="134" y="593"/>
                  </a:lnTo>
                  <a:lnTo>
                    <a:pt x="118" y="583"/>
                  </a:lnTo>
                  <a:lnTo>
                    <a:pt x="125" y="567"/>
                  </a:lnTo>
                  <a:lnTo>
                    <a:pt x="125" y="522"/>
                  </a:lnTo>
                  <a:lnTo>
                    <a:pt x="118" y="505"/>
                  </a:lnTo>
                  <a:lnTo>
                    <a:pt x="108" y="498"/>
                  </a:lnTo>
                  <a:lnTo>
                    <a:pt x="134" y="482"/>
                  </a:lnTo>
                  <a:lnTo>
                    <a:pt x="118" y="448"/>
                  </a:lnTo>
                  <a:lnTo>
                    <a:pt x="118" y="444"/>
                  </a:lnTo>
                  <a:lnTo>
                    <a:pt x="118" y="448"/>
                  </a:lnTo>
                  <a:lnTo>
                    <a:pt x="125" y="427"/>
                  </a:lnTo>
                  <a:lnTo>
                    <a:pt x="87" y="378"/>
                  </a:lnTo>
                  <a:lnTo>
                    <a:pt x="87" y="378"/>
                  </a:lnTo>
                  <a:lnTo>
                    <a:pt x="87" y="378"/>
                  </a:lnTo>
                  <a:close/>
                  <a:moveTo>
                    <a:pt x="118" y="583"/>
                  </a:moveTo>
                  <a:lnTo>
                    <a:pt x="125" y="593"/>
                  </a:lnTo>
                  <a:lnTo>
                    <a:pt x="108" y="593"/>
                  </a:lnTo>
                  <a:lnTo>
                    <a:pt x="118" y="583"/>
                  </a:lnTo>
                  <a:lnTo>
                    <a:pt x="118" y="583"/>
                  </a:lnTo>
                  <a:lnTo>
                    <a:pt x="118" y="583"/>
                  </a:lnTo>
                  <a:close/>
                  <a:moveTo>
                    <a:pt x="108" y="600"/>
                  </a:moveTo>
                  <a:lnTo>
                    <a:pt x="118" y="600"/>
                  </a:lnTo>
                  <a:lnTo>
                    <a:pt x="118" y="609"/>
                  </a:lnTo>
                  <a:lnTo>
                    <a:pt x="108" y="600"/>
                  </a:lnTo>
                  <a:lnTo>
                    <a:pt x="108" y="600"/>
                  </a:lnTo>
                  <a:lnTo>
                    <a:pt x="108" y="600"/>
                  </a:lnTo>
                  <a:close/>
                  <a:moveTo>
                    <a:pt x="118" y="666"/>
                  </a:moveTo>
                  <a:lnTo>
                    <a:pt x="108" y="666"/>
                  </a:lnTo>
                  <a:lnTo>
                    <a:pt x="118" y="666"/>
                  </a:lnTo>
                  <a:lnTo>
                    <a:pt x="118" y="666"/>
                  </a:lnTo>
                  <a:lnTo>
                    <a:pt x="118" y="666"/>
                  </a:lnTo>
                  <a:lnTo>
                    <a:pt x="118" y="666"/>
                  </a:lnTo>
                  <a:close/>
                  <a:moveTo>
                    <a:pt x="108" y="671"/>
                  </a:moveTo>
                  <a:lnTo>
                    <a:pt x="108" y="666"/>
                  </a:lnTo>
                  <a:lnTo>
                    <a:pt x="108" y="675"/>
                  </a:lnTo>
                  <a:lnTo>
                    <a:pt x="101" y="675"/>
                  </a:lnTo>
                  <a:lnTo>
                    <a:pt x="108" y="671"/>
                  </a:lnTo>
                  <a:lnTo>
                    <a:pt x="108" y="671"/>
                  </a:lnTo>
                  <a:lnTo>
                    <a:pt x="108" y="671"/>
                  </a:lnTo>
                  <a:close/>
                  <a:moveTo>
                    <a:pt x="87" y="708"/>
                  </a:moveTo>
                  <a:lnTo>
                    <a:pt x="87" y="704"/>
                  </a:lnTo>
                  <a:lnTo>
                    <a:pt x="92" y="708"/>
                  </a:lnTo>
                  <a:lnTo>
                    <a:pt x="87" y="708"/>
                  </a:lnTo>
                  <a:lnTo>
                    <a:pt x="87" y="708"/>
                  </a:lnTo>
                  <a:lnTo>
                    <a:pt x="87" y="708"/>
                  </a:lnTo>
                  <a:close/>
                  <a:moveTo>
                    <a:pt x="80" y="720"/>
                  </a:moveTo>
                  <a:lnTo>
                    <a:pt x="71" y="708"/>
                  </a:lnTo>
                  <a:lnTo>
                    <a:pt x="80" y="704"/>
                  </a:lnTo>
                  <a:lnTo>
                    <a:pt x="80" y="720"/>
                  </a:lnTo>
                  <a:lnTo>
                    <a:pt x="80" y="720"/>
                  </a:lnTo>
                  <a:lnTo>
                    <a:pt x="80" y="720"/>
                  </a:lnTo>
                  <a:close/>
                  <a:moveTo>
                    <a:pt x="71" y="720"/>
                  </a:moveTo>
                  <a:lnTo>
                    <a:pt x="64" y="708"/>
                  </a:lnTo>
                  <a:lnTo>
                    <a:pt x="71" y="708"/>
                  </a:lnTo>
                  <a:lnTo>
                    <a:pt x="71" y="720"/>
                  </a:lnTo>
                  <a:lnTo>
                    <a:pt x="71" y="720"/>
                  </a:lnTo>
                  <a:lnTo>
                    <a:pt x="71" y="72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9" name="Freeform 420">
              <a:extLst>
                <a:ext uri="{FF2B5EF4-FFF2-40B4-BE49-F238E27FC236}">
                  <a16:creationId xmlns:a16="http://schemas.microsoft.com/office/drawing/2014/main" id="{1E4D053B-0E98-4E22-9505-F81E6795098D}"/>
                </a:ext>
              </a:extLst>
            </p:cNvPr>
            <p:cNvSpPr>
              <a:spLocks/>
            </p:cNvSpPr>
            <p:nvPr/>
          </p:nvSpPr>
          <p:spPr bwMode="gray">
            <a:xfrm>
              <a:off x="4246335" y="3729925"/>
              <a:ext cx="95508" cy="95519"/>
            </a:xfrm>
            <a:custGeom>
              <a:avLst/>
              <a:gdLst>
                <a:gd name="T0" fmla="*/ 232 w 232"/>
                <a:gd name="T1" fmla="*/ 121 h 232"/>
                <a:gd name="T2" fmla="*/ 232 w 232"/>
                <a:gd name="T3" fmla="*/ 128 h 232"/>
                <a:gd name="T4" fmla="*/ 215 w 232"/>
                <a:gd name="T5" fmla="*/ 121 h 232"/>
                <a:gd name="T6" fmla="*/ 206 w 232"/>
                <a:gd name="T7" fmla="*/ 128 h 232"/>
                <a:gd name="T8" fmla="*/ 206 w 232"/>
                <a:gd name="T9" fmla="*/ 161 h 232"/>
                <a:gd name="T10" fmla="*/ 222 w 232"/>
                <a:gd name="T11" fmla="*/ 166 h 232"/>
                <a:gd name="T12" fmla="*/ 206 w 232"/>
                <a:gd name="T13" fmla="*/ 182 h 232"/>
                <a:gd name="T14" fmla="*/ 215 w 232"/>
                <a:gd name="T15" fmla="*/ 199 h 232"/>
                <a:gd name="T16" fmla="*/ 201 w 232"/>
                <a:gd name="T17" fmla="*/ 215 h 232"/>
                <a:gd name="T18" fmla="*/ 206 w 232"/>
                <a:gd name="T19" fmla="*/ 215 h 232"/>
                <a:gd name="T20" fmla="*/ 206 w 232"/>
                <a:gd name="T21" fmla="*/ 232 h 232"/>
                <a:gd name="T22" fmla="*/ 206 w 232"/>
                <a:gd name="T23" fmla="*/ 220 h 232"/>
                <a:gd name="T24" fmla="*/ 189 w 232"/>
                <a:gd name="T25" fmla="*/ 203 h 232"/>
                <a:gd name="T26" fmla="*/ 201 w 232"/>
                <a:gd name="T27" fmla="*/ 203 h 232"/>
                <a:gd name="T28" fmla="*/ 189 w 232"/>
                <a:gd name="T29" fmla="*/ 194 h 232"/>
                <a:gd name="T30" fmla="*/ 180 w 232"/>
                <a:gd name="T31" fmla="*/ 182 h 232"/>
                <a:gd name="T32" fmla="*/ 168 w 232"/>
                <a:gd name="T33" fmla="*/ 182 h 232"/>
                <a:gd name="T34" fmla="*/ 185 w 232"/>
                <a:gd name="T35" fmla="*/ 199 h 232"/>
                <a:gd name="T36" fmla="*/ 185 w 232"/>
                <a:gd name="T37" fmla="*/ 203 h 232"/>
                <a:gd name="T38" fmla="*/ 151 w 232"/>
                <a:gd name="T39" fmla="*/ 194 h 232"/>
                <a:gd name="T40" fmla="*/ 163 w 232"/>
                <a:gd name="T41" fmla="*/ 177 h 232"/>
                <a:gd name="T42" fmla="*/ 163 w 232"/>
                <a:gd name="T43" fmla="*/ 161 h 232"/>
                <a:gd name="T44" fmla="*/ 114 w 232"/>
                <a:gd name="T45" fmla="*/ 128 h 232"/>
                <a:gd name="T46" fmla="*/ 92 w 232"/>
                <a:gd name="T47" fmla="*/ 121 h 232"/>
                <a:gd name="T48" fmla="*/ 81 w 232"/>
                <a:gd name="T49" fmla="*/ 95 h 232"/>
                <a:gd name="T50" fmla="*/ 43 w 232"/>
                <a:gd name="T51" fmla="*/ 83 h 232"/>
                <a:gd name="T52" fmla="*/ 43 w 232"/>
                <a:gd name="T53" fmla="*/ 88 h 232"/>
                <a:gd name="T54" fmla="*/ 71 w 232"/>
                <a:gd name="T55" fmla="*/ 104 h 232"/>
                <a:gd name="T56" fmla="*/ 55 w 232"/>
                <a:gd name="T57" fmla="*/ 121 h 232"/>
                <a:gd name="T58" fmla="*/ 38 w 232"/>
                <a:gd name="T59" fmla="*/ 104 h 232"/>
                <a:gd name="T60" fmla="*/ 17 w 232"/>
                <a:gd name="T61" fmla="*/ 95 h 232"/>
                <a:gd name="T62" fmla="*/ 0 w 232"/>
                <a:gd name="T63" fmla="*/ 66 h 232"/>
                <a:gd name="T64" fmla="*/ 22 w 232"/>
                <a:gd name="T65" fmla="*/ 50 h 232"/>
                <a:gd name="T66" fmla="*/ 17 w 232"/>
                <a:gd name="T67" fmla="*/ 33 h 232"/>
                <a:gd name="T68" fmla="*/ 0 w 232"/>
                <a:gd name="T69" fmla="*/ 29 h 232"/>
                <a:gd name="T70" fmla="*/ 17 w 232"/>
                <a:gd name="T71" fmla="*/ 29 h 232"/>
                <a:gd name="T72" fmla="*/ 17 w 232"/>
                <a:gd name="T73" fmla="*/ 17 h 232"/>
                <a:gd name="T74" fmla="*/ 22 w 232"/>
                <a:gd name="T75" fmla="*/ 0 h 232"/>
                <a:gd name="T76" fmla="*/ 71 w 232"/>
                <a:gd name="T77" fmla="*/ 29 h 232"/>
                <a:gd name="T78" fmla="*/ 81 w 232"/>
                <a:gd name="T79" fmla="*/ 17 h 232"/>
                <a:gd name="T80" fmla="*/ 135 w 232"/>
                <a:gd name="T81" fmla="*/ 38 h 232"/>
                <a:gd name="T82" fmla="*/ 151 w 232"/>
                <a:gd name="T83" fmla="*/ 33 h 232"/>
                <a:gd name="T84" fmla="*/ 163 w 232"/>
                <a:gd name="T85" fmla="*/ 29 h 232"/>
                <a:gd name="T86" fmla="*/ 180 w 232"/>
                <a:gd name="T87" fmla="*/ 71 h 232"/>
                <a:gd name="T88" fmla="*/ 222 w 232"/>
                <a:gd name="T89" fmla="*/ 121 h 232"/>
                <a:gd name="T90" fmla="*/ 232 w 232"/>
                <a:gd name="T91" fmla="*/ 121 h 232"/>
                <a:gd name="T92" fmla="*/ 232 w 232"/>
                <a:gd name="T93" fmla="*/ 121 h 232"/>
                <a:gd name="T94" fmla="*/ 232 w 232"/>
                <a:gd name="T95" fmla="*/ 12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2" h="232">
                  <a:moveTo>
                    <a:pt x="232" y="121"/>
                  </a:moveTo>
                  <a:lnTo>
                    <a:pt x="232" y="128"/>
                  </a:lnTo>
                  <a:lnTo>
                    <a:pt x="215" y="121"/>
                  </a:lnTo>
                  <a:lnTo>
                    <a:pt x="206" y="128"/>
                  </a:lnTo>
                  <a:lnTo>
                    <a:pt x="206" y="161"/>
                  </a:lnTo>
                  <a:lnTo>
                    <a:pt x="222" y="166"/>
                  </a:lnTo>
                  <a:lnTo>
                    <a:pt x="206" y="182"/>
                  </a:lnTo>
                  <a:lnTo>
                    <a:pt x="215" y="199"/>
                  </a:lnTo>
                  <a:lnTo>
                    <a:pt x="201" y="215"/>
                  </a:lnTo>
                  <a:lnTo>
                    <a:pt x="206" y="215"/>
                  </a:lnTo>
                  <a:lnTo>
                    <a:pt x="206" y="232"/>
                  </a:lnTo>
                  <a:lnTo>
                    <a:pt x="206" y="220"/>
                  </a:lnTo>
                  <a:lnTo>
                    <a:pt x="189" y="203"/>
                  </a:lnTo>
                  <a:lnTo>
                    <a:pt x="201" y="203"/>
                  </a:lnTo>
                  <a:lnTo>
                    <a:pt x="189" y="194"/>
                  </a:lnTo>
                  <a:lnTo>
                    <a:pt x="180" y="182"/>
                  </a:lnTo>
                  <a:lnTo>
                    <a:pt x="168" y="182"/>
                  </a:lnTo>
                  <a:lnTo>
                    <a:pt x="185" y="199"/>
                  </a:lnTo>
                  <a:lnTo>
                    <a:pt x="185" y="203"/>
                  </a:lnTo>
                  <a:lnTo>
                    <a:pt x="151" y="194"/>
                  </a:lnTo>
                  <a:lnTo>
                    <a:pt x="163" y="177"/>
                  </a:lnTo>
                  <a:lnTo>
                    <a:pt x="163" y="161"/>
                  </a:lnTo>
                  <a:lnTo>
                    <a:pt x="114" y="128"/>
                  </a:lnTo>
                  <a:lnTo>
                    <a:pt x="92" y="121"/>
                  </a:lnTo>
                  <a:lnTo>
                    <a:pt x="81" y="95"/>
                  </a:lnTo>
                  <a:lnTo>
                    <a:pt x="43" y="83"/>
                  </a:lnTo>
                  <a:lnTo>
                    <a:pt x="43" y="88"/>
                  </a:lnTo>
                  <a:lnTo>
                    <a:pt x="71" y="104"/>
                  </a:lnTo>
                  <a:lnTo>
                    <a:pt x="55" y="121"/>
                  </a:lnTo>
                  <a:lnTo>
                    <a:pt x="38" y="104"/>
                  </a:lnTo>
                  <a:lnTo>
                    <a:pt x="17" y="95"/>
                  </a:lnTo>
                  <a:lnTo>
                    <a:pt x="0" y="66"/>
                  </a:lnTo>
                  <a:lnTo>
                    <a:pt x="22" y="50"/>
                  </a:lnTo>
                  <a:lnTo>
                    <a:pt x="17" y="33"/>
                  </a:lnTo>
                  <a:lnTo>
                    <a:pt x="0" y="29"/>
                  </a:lnTo>
                  <a:lnTo>
                    <a:pt x="17" y="29"/>
                  </a:lnTo>
                  <a:lnTo>
                    <a:pt x="17" y="17"/>
                  </a:lnTo>
                  <a:lnTo>
                    <a:pt x="22" y="0"/>
                  </a:lnTo>
                  <a:lnTo>
                    <a:pt x="71" y="29"/>
                  </a:lnTo>
                  <a:lnTo>
                    <a:pt x="81" y="17"/>
                  </a:lnTo>
                  <a:lnTo>
                    <a:pt x="135" y="38"/>
                  </a:lnTo>
                  <a:lnTo>
                    <a:pt x="151" y="33"/>
                  </a:lnTo>
                  <a:lnTo>
                    <a:pt x="163" y="29"/>
                  </a:lnTo>
                  <a:lnTo>
                    <a:pt x="180" y="71"/>
                  </a:lnTo>
                  <a:lnTo>
                    <a:pt x="222" y="121"/>
                  </a:lnTo>
                  <a:lnTo>
                    <a:pt x="232" y="121"/>
                  </a:lnTo>
                  <a:lnTo>
                    <a:pt x="232" y="121"/>
                  </a:lnTo>
                  <a:lnTo>
                    <a:pt x="232" y="1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0" name="Freeform 422">
              <a:extLst>
                <a:ext uri="{FF2B5EF4-FFF2-40B4-BE49-F238E27FC236}">
                  <a16:creationId xmlns:a16="http://schemas.microsoft.com/office/drawing/2014/main" id="{0239E3C7-635B-41EA-95CD-188668A82D0E}"/>
                </a:ext>
              </a:extLst>
            </p:cNvPr>
            <p:cNvSpPr>
              <a:spLocks noEditPoints="1"/>
            </p:cNvSpPr>
            <p:nvPr/>
          </p:nvSpPr>
          <p:spPr bwMode="gray">
            <a:xfrm>
              <a:off x="4274740" y="3364322"/>
              <a:ext cx="311223" cy="106223"/>
            </a:xfrm>
            <a:custGeom>
              <a:avLst/>
              <a:gdLst>
                <a:gd name="T0" fmla="*/ 685 w 756"/>
                <a:gd name="T1" fmla="*/ 241 h 258"/>
                <a:gd name="T2" fmla="*/ 605 w 756"/>
                <a:gd name="T3" fmla="*/ 241 h 258"/>
                <a:gd name="T4" fmla="*/ 545 w 756"/>
                <a:gd name="T5" fmla="*/ 217 h 258"/>
                <a:gd name="T6" fmla="*/ 475 w 756"/>
                <a:gd name="T7" fmla="*/ 196 h 258"/>
                <a:gd name="T8" fmla="*/ 432 w 756"/>
                <a:gd name="T9" fmla="*/ 123 h 258"/>
                <a:gd name="T10" fmla="*/ 314 w 756"/>
                <a:gd name="T11" fmla="*/ 95 h 258"/>
                <a:gd name="T12" fmla="*/ 281 w 756"/>
                <a:gd name="T13" fmla="*/ 90 h 258"/>
                <a:gd name="T14" fmla="*/ 243 w 756"/>
                <a:gd name="T15" fmla="*/ 83 h 258"/>
                <a:gd name="T16" fmla="*/ 227 w 756"/>
                <a:gd name="T17" fmla="*/ 57 h 258"/>
                <a:gd name="T18" fmla="*/ 151 w 756"/>
                <a:gd name="T19" fmla="*/ 40 h 258"/>
                <a:gd name="T20" fmla="*/ 59 w 756"/>
                <a:gd name="T21" fmla="*/ 95 h 258"/>
                <a:gd name="T22" fmla="*/ 28 w 756"/>
                <a:gd name="T23" fmla="*/ 95 h 258"/>
                <a:gd name="T24" fmla="*/ 28 w 756"/>
                <a:gd name="T25" fmla="*/ 90 h 258"/>
                <a:gd name="T26" fmla="*/ 54 w 756"/>
                <a:gd name="T27" fmla="*/ 50 h 258"/>
                <a:gd name="T28" fmla="*/ 189 w 756"/>
                <a:gd name="T29" fmla="*/ 0 h 258"/>
                <a:gd name="T30" fmla="*/ 260 w 756"/>
                <a:gd name="T31" fmla="*/ 0 h 258"/>
                <a:gd name="T32" fmla="*/ 297 w 756"/>
                <a:gd name="T33" fmla="*/ 12 h 258"/>
                <a:gd name="T34" fmla="*/ 368 w 756"/>
                <a:gd name="T35" fmla="*/ 33 h 258"/>
                <a:gd name="T36" fmla="*/ 444 w 756"/>
                <a:gd name="T37" fmla="*/ 66 h 258"/>
                <a:gd name="T38" fmla="*/ 524 w 756"/>
                <a:gd name="T39" fmla="*/ 111 h 258"/>
                <a:gd name="T40" fmla="*/ 508 w 756"/>
                <a:gd name="T41" fmla="*/ 106 h 258"/>
                <a:gd name="T42" fmla="*/ 545 w 756"/>
                <a:gd name="T43" fmla="*/ 123 h 258"/>
                <a:gd name="T44" fmla="*/ 545 w 756"/>
                <a:gd name="T45" fmla="*/ 123 h 258"/>
                <a:gd name="T46" fmla="*/ 567 w 756"/>
                <a:gd name="T47" fmla="*/ 140 h 258"/>
                <a:gd name="T48" fmla="*/ 595 w 756"/>
                <a:gd name="T49" fmla="*/ 151 h 258"/>
                <a:gd name="T50" fmla="*/ 621 w 756"/>
                <a:gd name="T51" fmla="*/ 163 h 258"/>
                <a:gd name="T52" fmla="*/ 647 w 756"/>
                <a:gd name="T53" fmla="*/ 180 h 258"/>
                <a:gd name="T54" fmla="*/ 701 w 756"/>
                <a:gd name="T55" fmla="*/ 196 h 258"/>
                <a:gd name="T56" fmla="*/ 744 w 756"/>
                <a:gd name="T57" fmla="*/ 241 h 258"/>
                <a:gd name="T58" fmla="*/ 685 w 756"/>
                <a:gd name="T59" fmla="*/ 253 h 258"/>
                <a:gd name="T60" fmla="*/ 437 w 756"/>
                <a:gd name="T61" fmla="*/ 50 h 258"/>
                <a:gd name="T62" fmla="*/ 453 w 756"/>
                <a:gd name="T63" fmla="*/ 57 h 258"/>
                <a:gd name="T64" fmla="*/ 486 w 756"/>
                <a:gd name="T65" fmla="*/ 73 h 258"/>
                <a:gd name="T66" fmla="*/ 486 w 756"/>
                <a:gd name="T67" fmla="*/ 73 h 258"/>
                <a:gd name="T68" fmla="*/ 491 w 756"/>
                <a:gd name="T69" fmla="*/ 83 h 258"/>
                <a:gd name="T70" fmla="*/ 491 w 756"/>
                <a:gd name="T71" fmla="*/ 73 h 258"/>
                <a:gd name="T72" fmla="*/ 491 w 756"/>
                <a:gd name="T73" fmla="*/ 83 h 258"/>
                <a:gd name="T74" fmla="*/ 508 w 756"/>
                <a:gd name="T75" fmla="*/ 90 h 258"/>
                <a:gd name="T76" fmla="*/ 508 w 756"/>
                <a:gd name="T77" fmla="*/ 95 h 258"/>
                <a:gd name="T78" fmla="*/ 120 w 756"/>
                <a:gd name="T79" fmla="*/ 123 h 258"/>
                <a:gd name="T80" fmla="*/ 130 w 756"/>
                <a:gd name="T81" fmla="*/ 106 h 258"/>
                <a:gd name="T82" fmla="*/ 168 w 756"/>
                <a:gd name="T83" fmla="*/ 123 h 258"/>
                <a:gd name="T84" fmla="*/ 134 w 756"/>
                <a:gd name="T85" fmla="*/ 14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56" h="258">
                  <a:moveTo>
                    <a:pt x="685" y="253"/>
                  </a:moveTo>
                  <a:lnTo>
                    <a:pt x="685" y="253"/>
                  </a:lnTo>
                  <a:lnTo>
                    <a:pt x="685" y="241"/>
                  </a:lnTo>
                  <a:lnTo>
                    <a:pt x="685" y="253"/>
                  </a:lnTo>
                  <a:lnTo>
                    <a:pt x="675" y="253"/>
                  </a:lnTo>
                  <a:lnTo>
                    <a:pt x="605" y="241"/>
                  </a:lnTo>
                  <a:lnTo>
                    <a:pt x="496" y="258"/>
                  </a:lnTo>
                  <a:lnTo>
                    <a:pt x="512" y="241"/>
                  </a:lnTo>
                  <a:lnTo>
                    <a:pt x="545" y="217"/>
                  </a:lnTo>
                  <a:lnTo>
                    <a:pt x="545" y="208"/>
                  </a:lnTo>
                  <a:lnTo>
                    <a:pt x="541" y="196"/>
                  </a:lnTo>
                  <a:lnTo>
                    <a:pt x="475" y="196"/>
                  </a:lnTo>
                  <a:lnTo>
                    <a:pt x="444" y="168"/>
                  </a:lnTo>
                  <a:lnTo>
                    <a:pt x="437" y="128"/>
                  </a:lnTo>
                  <a:lnTo>
                    <a:pt x="432" y="123"/>
                  </a:lnTo>
                  <a:lnTo>
                    <a:pt x="399" y="128"/>
                  </a:lnTo>
                  <a:lnTo>
                    <a:pt x="345" y="111"/>
                  </a:lnTo>
                  <a:lnTo>
                    <a:pt x="314" y="95"/>
                  </a:lnTo>
                  <a:lnTo>
                    <a:pt x="307" y="83"/>
                  </a:lnTo>
                  <a:lnTo>
                    <a:pt x="297" y="90"/>
                  </a:lnTo>
                  <a:lnTo>
                    <a:pt x="281" y="90"/>
                  </a:lnTo>
                  <a:lnTo>
                    <a:pt x="260" y="83"/>
                  </a:lnTo>
                  <a:lnTo>
                    <a:pt x="243" y="90"/>
                  </a:lnTo>
                  <a:lnTo>
                    <a:pt x="243" y="83"/>
                  </a:lnTo>
                  <a:lnTo>
                    <a:pt x="217" y="83"/>
                  </a:lnTo>
                  <a:lnTo>
                    <a:pt x="189" y="66"/>
                  </a:lnTo>
                  <a:lnTo>
                    <a:pt x="227" y="57"/>
                  </a:lnTo>
                  <a:lnTo>
                    <a:pt x="227" y="50"/>
                  </a:lnTo>
                  <a:lnTo>
                    <a:pt x="217" y="40"/>
                  </a:lnTo>
                  <a:lnTo>
                    <a:pt x="151" y="40"/>
                  </a:lnTo>
                  <a:lnTo>
                    <a:pt x="108" y="73"/>
                  </a:lnTo>
                  <a:lnTo>
                    <a:pt x="66" y="83"/>
                  </a:lnTo>
                  <a:lnTo>
                    <a:pt x="59" y="95"/>
                  </a:lnTo>
                  <a:lnTo>
                    <a:pt x="45" y="95"/>
                  </a:lnTo>
                  <a:lnTo>
                    <a:pt x="28" y="111"/>
                  </a:lnTo>
                  <a:lnTo>
                    <a:pt x="28" y="95"/>
                  </a:lnTo>
                  <a:lnTo>
                    <a:pt x="7" y="106"/>
                  </a:lnTo>
                  <a:lnTo>
                    <a:pt x="0" y="106"/>
                  </a:lnTo>
                  <a:lnTo>
                    <a:pt x="28" y="90"/>
                  </a:lnTo>
                  <a:lnTo>
                    <a:pt x="38" y="90"/>
                  </a:lnTo>
                  <a:lnTo>
                    <a:pt x="28" y="73"/>
                  </a:lnTo>
                  <a:lnTo>
                    <a:pt x="54" y="50"/>
                  </a:lnTo>
                  <a:lnTo>
                    <a:pt x="113" y="17"/>
                  </a:lnTo>
                  <a:lnTo>
                    <a:pt x="134" y="17"/>
                  </a:lnTo>
                  <a:lnTo>
                    <a:pt x="189" y="0"/>
                  </a:lnTo>
                  <a:lnTo>
                    <a:pt x="227" y="0"/>
                  </a:lnTo>
                  <a:lnTo>
                    <a:pt x="238" y="12"/>
                  </a:lnTo>
                  <a:lnTo>
                    <a:pt x="260" y="0"/>
                  </a:lnTo>
                  <a:lnTo>
                    <a:pt x="255" y="12"/>
                  </a:lnTo>
                  <a:lnTo>
                    <a:pt x="260" y="17"/>
                  </a:lnTo>
                  <a:lnTo>
                    <a:pt x="297" y="12"/>
                  </a:lnTo>
                  <a:lnTo>
                    <a:pt x="323" y="21"/>
                  </a:lnTo>
                  <a:lnTo>
                    <a:pt x="335" y="17"/>
                  </a:lnTo>
                  <a:lnTo>
                    <a:pt x="368" y="33"/>
                  </a:lnTo>
                  <a:lnTo>
                    <a:pt x="390" y="66"/>
                  </a:lnTo>
                  <a:lnTo>
                    <a:pt x="420" y="66"/>
                  </a:lnTo>
                  <a:lnTo>
                    <a:pt x="444" y="66"/>
                  </a:lnTo>
                  <a:lnTo>
                    <a:pt x="475" y="90"/>
                  </a:lnTo>
                  <a:lnTo>
                    <a:pt x="496" y="106"/>
                  </a:lnTo>
                  <a:lnTo>
                    <a:pt x="524" y="111"/>
                  </a:lnTo>
                  <a:lnTo>
                    <a:pt x="524" y="123"/>
                  </a:lnTo>
                  <a:lnTo>
                    <a:pt x="529" y="123"/>
                  </a:lnTo>
                  <a:lnTo>
                    <a:pt x="508" y="106"/>
                  </a:lnTo>
                  <a:lnTo>
                    <a:pt x="512" y="95"/>
                  </a:lnTo>
                  <a:lnTo>
                    <a:pt x="545" y="123"/>
                  </a:lnTo>
                  <a:lnTo>
                    <a:pt x="545" y="123"/>
                  </a:lnTo>
                  <a:lnTo>
                    <a:pt x="529" y="123"/>
                  </a:lnTo>
                  <a:lnTo>
                    <a:pt x="541" y="128"/>
                  </a:lnTo>
                  <a:lnTo>
                    <a:pt x="545" y="123"/>
                  </a:lnTo>
                  <a:lnTo>
                    <a:pt x="562" y="140"/>
                  </a:lnTo>
                  <a:lnTo>
                    <a:pt x="562" y="147"/>
                  </a:lnTo>
                  <a:lnTo>
                    <a:pt x="567" y="140"/>
                  </a:lnTo>
                  <a:lnTo>
                    <a:pt x="579" y="147"/>
                  </a:lnTo>
                  <a:lnTo>
                    <a:pt x="583" y="151"/>
                  </a:lnTo>
                  <a:lnTo>
                    <a:pt x="595" y="151"/>
                  </a:lnTo>
                  <a:lnTo>
                    <a:pt x="595" y="147"/>
                  </a:lnTo>
                  <a:lnTo>
                    <a:pt x="600" y="147"/>
                  </a:lnTo>
                  <a:lnTo>
                    <a:pt x="621" y="163"/>
                  </a:lnTo>
                  <a:lnTo>
                    <a:pt x="647" y="163"/>
                  </a:lnTo>
                  <a:lnTo>
                    <a:pt x="654" y="168"/>
                  </a:lnTo>
                  <a:lnTo>
                    <a:pt x="647" y="180"/>
                  </a:lnTo>
                  <a:lnTo>
                    <a:pt x="638" y="184"/>
                  </a:lnTo>
                  <a:lnTo>
                    <a:pt x="638" y="196"/>
                  </a:lnTo>
                  <a:lnTo>
                    <a:pt x="701" y="196"/>
                  </a:lnTo>
                  <a:lnTo>
                    <a:pt x="730" y="217"/>
                  </a:lnTo>
                  <a:lnTo>
                    <a:pt x="756" y="225"/>
                  </a:lnTo>
                  <a:lnTo>
                    <a:pt x="744" y="241"/>
                  </a:lnTo>
                  <a:lnTo>
                    <a:pt x="706" y="241"/>
                  </a:lnTo>
                  <a:lnTo>
                    <a:pt x="685" y="253"/>
                  </a:lnTo>
                  <a:lnTo>
                    <a:pt x="685" y="253"/>
                  </a:lnTo>
                  <a:lnTo>
                    <a:pt x="685" y="253"/>
                  </a:lnTo>
                  <a:close/>
                  <a:moveTo>
                    <a:pt x="453" y="57"/>
                  </a:moveTo>
                  <a:lnTo>
                    <a:pt x="437" y="50"/>
                  </a:lnTo>
                  <a:lnTo>
                    <a:pt x="453" y="50"/>
                  </a:lnTo>
                  <a:lnTo>
                    <a:pt x="458" y="57"/>
                  </a:lnTo>
                  <a:lnTo>
                    <a:pt x="453" y="57"/>
                  </a:lnTo>
                  <a:lnTo>
                    <a:pt x="453" y="57"/>
                  </a:lnTo>
                  <a:lnTo>
                    <a:pt x="453" y="57"/>
                  </a:lnTo>
                  <a:close/>
                  <a:moveTo>
                    <a:pt x="486" y="73"/>
                  </a:moveTo>
                  <a:lnTo>
                    <a:pt x="458" y="57"/>
                  </a:lnTo>
                  <a:lnTo>
                    <a:pt x="475" y="57"/>
                  </a:lnTo>
                  <a:lnTo>
                    <a:pt x="486" y="73"/>
                  </a:lnTo>
                  <a:lnTo>
                    <a:pt x="486" y="73"/>
                  </a:lnTo>
                  <a:lnTo>
                    <a:pt x="486" y="73"/>
                  </a:lnTo>
                  <a:close/>
                  <a:moveTo>
                    <a:pt x="491" y="83"/>
                  </a:moveTo>
                  <a:lnTo>
                    <a:pt x="475" y="83"/>
                  </a:lnTo>
                  <a:lnTo>
                    <a:pt x="486" y="73"/>
                  </a:lnTo>
                  <a:lnTo>
                    <a:pt x="491" y="73"/>
                  </a:lnTo>
                  <a:lnTo>
                    <a:pt x="491" y="83"/>
                  </a:lnTo>
                  <a:lnTo>
                    <a:pt x="491" y="83"/>
                  </a:lnTo>
                  <a:lnTo>
                    <a:pt x="491" y="83"/>
                  </a:lnTo>
                  <a:close/>
                  <a:moveTo>
                    <a:pt x="508" y="95"/>
                  </a:moveTo>
                  <a:lnTo>
                    <a:pt x="486" y="83"/>
                  </a:lnTo>
                  <a:lnTo>
                    <a:pt x="508" y="90"/>
                  </a:lnTo>
                  <a:lnTo>
                    <a:pt x="508" y="95"/>
                  </a:lnTo>
                  <a:lnTo>
                    <a:pt x="508" y="95"/>
                  </a:lnTo>
                  <a:lnTo>
                    <a:pt x="508" y="95"/>
                  </a:lnTo>
                  <a:close/>
                  <a:moveTo>
                    <a:pt x="134" y="140"/>
                  </a:moveTo>
                  <a:lnTo>
                    <a:pt x="130" y="140"/>
                  </a:lnTo>
                  <a:lnTo>
                    <a:pt x="120" y="123"/>
                  </a:lnTo>
                  <a:lnTo>
                    <a:pt x="130" y="128"/>
                  </a:lnTo>
                  <a:lnTo>
                    <a:pt x="134" y="123"/>
                  </a:lnTo>
                  <a:lnTo>
                    <a:pt x="130" y="106"/>
                  </a:lnTo>
                  <a:lnTo>
                    <a:pt x="134" y="95"/>
                  </a:lnTo>
                  <a:lnTo>
                    <a:pt x="151" y="95"/>
                  </a:lnTo>
                  <a:lnTo>
                    <a:pt x="168" y="123"/>
                  </a:lnTo>
                  <a:lnTo>
                    <a:pt x="134" y="140"/>
                  </a:lnTo>
                  <a:lnTo>
                    <a:pt x="134" y="140"/>
                  </a:lnTo>
                  <a:lnTo>
                    <a:pt x="134" y="14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1" name="Freeform 427">
              <a:extLst>
                <a:ext uri="{FF2B5EF4-FFF2-40B4-BE49-F238E27FC236}">
                  <a16:creationId xmlns:a16="http://schemas.microsoft.com/office/drawing/2014/main" id="{3823DF65-CFEA-488E-ACDD-F7A19CB963C7}"/>
                </a:ext>
              </a:extLst>
            </p:cNvPr>
            <p:cNvSpPr>
              <a:spLocks/>
            </p:cNvSpPr>
            <p:nvPr/>
          </p:nvSpPr>
          <p:spPr bwMode="gray">
            <a:xfrm>
              <a:off x="4949467" y="3597764"/>
              <a:ext cx="7822" cy="10705"/>
            </a:xfrm>
            <a:custGeom>
              <a:avLst/>
              <a:gdLst>
                <a:gd name="T0" fmla="*/ 7 w 19"/>
                <a:gd name="T1" fmla="*/ 26 h 26"/>
                <a:gd name="T2" fmla="*/ 0 w 19"/>
                <a:gd name="T3" fmla="*/ 5 h 26"/>
                <a:gd name="T4" fmla="*/ 0 w 19"/>
                <a:gd name="T5" fmla="*/ 0 h 26"/>
                <a:gd name="T6" fmla="*/ 19 w 19"/>
                <a:gd name="T7" fmla="*/ 14 h 26"/>
                <a:gd name="T8" fmla="*/ 19 w 19"/>
                <a:gd name="T9" fmla="*/ 26 h 26"/>
                <a:gd name="T10" fmla="*/ 7 w 19"/>
                <a:gd name="T11" fmla="*/ 26 h 26"/>
                <a:gd name="T12" fmla="*/ 7 w 19"/>
                <a:gd name="T13" fmla="*/ 26 h 26"/>
                <a:gd name="T14" fmla="*/ 7 w 19"/>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26">
                  <a:moveTo>
                    <a:pt x="7" y="26"/>
                  </a:moveTo>
                  <a:lnTo>
                    <a:pt x="0" y="5"/>
                  </a:lnTo>
                  <a:lnTo>
                    <a:pt x="0" y="0"/>
                  </a:lnTo>
                  <a:lnTo>
                    <a:pt x="19" y="14"/>
                  </a:lnTo>
                  <a:lnTo>
                    <a:pt x="19" y="26"/>
                  </a:lnTo>
                  <a:lnTo>
                    <a:pt x="7" y="26"/>
                  </a:lnTo>
                  <a:lnTo>
                    <a:pt x="7" y="26"/>
                  </a:lnTo>
                  <a:lnTo>
                    <a:pt x="7" y="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2" name="Freeform 428">
              <a:extLst>
                <a:ext uri="{FF2B5EF4-FFF2-40B4-BE49-F238E27FC236}">
                  <a16:creationId xmlns:a16="http://schemas.microsoft.com/office/drawing/2014/main" id="{ECC5D6DC-18A6-4830-B950-BC322C12544E}"/>
                </a:ext>
              </a:extLst>
            </p:cNvPr>
            <p:cNvSpPr>
              <a:spLocks noEditPoints="1"/>
            </p:cNvSpPr>
            <p:nvPr/>
          </p:nvSpPr>
          <p:spPr bwMode="gray">
            <a:xfrm>
              <a:off x="4646066" y="3466426"/>
              <a:ext cx="106212" cy="74933"/>
            </a:xfrm>
            <a:custGeom>
              <a:avLst/>
              <a:gdLst>
                <a:gd name="T0" fmla="*/ 21 w 258"/>
                <a:gd name="T1" fmla="*/ 142 h 182"/>
                <a:gd name="T2" fmla="*/ 21 w 258"/>
                <a:gd name="T3" fmla="*/ 118 h 182"/>
                <a:gd name="T4" fmla="*/ 5 w 258"/>
                <a:gd name="T5" fmla="*/ 114 h 182"/>
                <a:gd name="T6" fmla="*/ 0 w 258"/>
                <a:gd name="T7" fmla="*/ 102 h 182"/>
                <a:gd name="T8" fmla="*/ 17 w 258"/>
                <a:gd name="T9" fmla="*/ 97 h 182"/>
                <a:gd name="T10" fmla="*/ 21 w 258"/>
                <a:gd name="T11" fmla="*/ 85 h 182"/>
                <a:gd name="T12" fmla="*/ 17 w 258"/>
                <a:gd name="T13" fmla="*/ 69 h 182"/>
                <a:gd name="T14" fmla="*/ 26 w 258"/>
                <a:gd name="T15" fmla="*/ 57 h 182"/>
                <a:gd name="T16" fmla="*/ 21 w 258"/>
                <a:gd name="T17" fmla="*/ 45 h 182"/>
                <a:gd name="T18" fmla="*/ 21 w 258"/>
                <a:gd name="T19" fmla="*/ 29 h 182"/>
                <a:gd name="T20" fmla="*/ 21 w 258"/>
                <a:gd name="T21" fmla="*/ 12 h 182"/>
                <a:gd name="T22" fmla="*/ 21 w 258"/>
                <a:gd name="T23" fmla="*/ 0 h 182"/>
                <a:gd name="T24" fmla="*/ 52 w 258"/>
                <a:gd name="T25" fmla="*/ 7 h 182"/>
                <a:gd name="T26" fmla="*/ 76 w 258"/>
                <a:gd name="T27" fmla="*/ 0 h 182"/>
                <a:gd name="T28" fmla="*/ 97 w 258"/>
                <a:gd name="T29" fmla="*/ 12 h 182"/>
                <a:gd name="T30" fmla="*/ 106 w 258"/>
                <a:gd name="T31" fmla="*/ 7 h 182"/>
                <a:gd name="T32" fmla="*/ 123 w 258"/>
                <a:gd name="T33" fmla="*/ 24 h 182"/>
                <a:gd name="T34" fmla="*/ 144 w 258"/>
                <a:gd name="T35" fmla="*/ 12 h 182"/>
                <a:gd name="T36" fmla="*/ 161 w 258"/>
                <a:gd name="T37" fmla="*/ 45 h 182"/>
                <a:gd name="T38" fmla="*/ 199 w 258"/>
                <a:gd name="T39" fmla="*/ 40 h 182"/>
                <a:gd name="T40" fmla="*/ 199 w 258"/>
                <a:gd name="T41" fmla="*/ 45 h 182"/>
                <a:gd name="T42" fmla="*/ 199 w 258"/>
                <a:gd name="T43" fmla="*/ 57 h 182"/>
                <a:gd name="T44" fmla="*/ 166 w 258"/>
                <a:gd name="T45" fmla="*/ 57 h 182"/>
                <a:gd name="T46" fmla="*/ 166 w 258"/>
                <a:gd name="T47" fmla="*/ 64 h 182"/>
                <a:gd name="T48" fmla="*/ 215 w 258"/>
                <a:gd name="T49" fmla="*/ 69 h 182"/>
                <a:gd name="T50" fmla="*/ 258 w 258"/>
                <a:gd name="T51" fmla="*/ 102 h 182"/>
                <a:gd name="T52" fmla="*/ 253 w 258"/>
                <a:gd name="T53" fmla="*/ 118 h 182"/>
                <a:gd name="T54" fmla="*/ 236 w 258"/>
                <a:gd name="T55" fmla="*/ 118 h 182"/>
                <a:gd name="T56" fmla="*/ 236 w 258"/>
                <a:gd name="T57" fmla="*/ 125 h 182"/>
                <a:gd name="T58" fmla="*/ 229 w 258"/>
                <a:gd name="T59" fmla="*/ 125 h 182"/>
                <a:gd name="T60" fmla="*/ 220 w 258"/>
                <a:gd name="T61" fmla="*/ 114 h 182"/>
                <a:gd name="T62" fmla="*/ 149 w 258"/>
                <a:gd name="T63" fmla="*/ 114 h 182"/>
                <a:gd name="T64" fmla="*/ 128 w 258"/>
                <a:gd name="T65" fmla="*/ 125 h 182"/>
                <a:gd name="T66" fmla="*/ 106 w 258"/>
                <a:gd name="T67" fmla="*/ 125 h 182"/>
                <a:gd name="T68" fmla="*/ 97 w 258"/>
                <a:gd name="T69" fmla="*/ 114 h 182"/>
                <a:gd name="T70" fmla="*/ 90 w 258"/>
                <a:gd name="T71" fmla="*/ 114 h 182"/>
                <a:gd name="T72" fmla="*/ 76 w 258"/>
                <a:gd name="T73" fmla="*/ 125 h 182"/>
                <a:gd name="T74" fmla="*/ 69 w 258"/>
                <a:gd name="T75" fmla="*/ 118 h 182"/>
                <a:gd name="T76" fmla="*/ 69 w 258"/>
                <a:gd name="T77" fmla="*/ 137 h 182"/>
                <a:gd name="T78" fmla="*/ 43 w 258"/>
                <a:gd name="T79" fmla="*/ 175 h 182"/>
                <a:gd name="T80" fmla="*/ 21 w 258"/>
                <a:gd name="T81" fmla="*/ 142 h 182"/>
                <a:gd name="T82" fmla="*/ 21 w 258"/>
                <a:gd name="T83" fmla="*/ 142 h 182"/>
                <a:gd name="T84" fmla="*/ 21 w 258"/>
                <a:gd name="T85" fmla="*/ 142 h 182"/>
                <a:gd name="T86" fmla="*/ 38 w 258"/>
                <a:gd name="T87" fmla="*/ 182 h 182"/>
                <a:gd name="T88" fmla="*/ 38 w 258"/>
                <a:gd name="T89" fmla="*/ 175 h 182"/>
                <a:gd name="T90" fmla="*/ 38 w 258"/>
                <a:gd name="T91" fmla="*/ 175 h 182"/>
                <a:gd name="T92" fmla="*/ 38 w 258"/>
                <a:gd name="T93" fmla="*/ 182 h 182"/>
                <a:gd name="T94" fmla="*/ 38 w 258"/>
                <a:gd name="T95" fmla="*/ 182 h 182"/>
                <a:gd name="T96" fmla="*/ 38 w 258"/>
                <a:gd name="T9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8" h="182">
                  <a:moveTo>
                    <a:pt x="21" y="142"/>
                  </a:moveTo>
                  <a:lnTo>
                    <a:pt x="21" y="118"/>
                  </a:lnTo>
                  <a:lnTo>
                    <a:pt x="5" y="114"/>
                  </a:lnTo>
                  <a:lnTo>
                    <a:pt x="0" y="102"/>
                  </a:lnTo>
                  <a:lnTo>
                    <a:pt x="17" y="97"/>
                  </a:lnTo>
                  <a:lnTo>
                    <a:pt x="21" y="85"/>
                  </a:lnTo>
                  <a:lnTo>
                    <a:pt x="17" y="69"/>
                  </a:lnTo>
                  <a:lnTo>
                    <a:pt x="26" y="57"/>
                  </a:lnTo>
                  <a:lnTo>
                    <a:pt x="21" y="45"/>
                  </a:lnTo>
                  <a:lnTo>
                    <a:pt x="21" y="29"/>
                  </a:lnTo>
                  <a:lnTo>
                    <a:pt x="21" y="12"/>
                  </a:lnTo>
                  <a:lnTo>
                    <a:pt x="21" y="0"/>
                  </a:lnTo>
                  <a:lnTo>
                    <a:pt x="52" y="7"/>
                  </a:lnTo>
                  <a:lnTo>
                    <a:pt x="76" y="0"/>
                  </a:lnTo>
                  <a:lnTo>
                    <a:pt x="97" y="12"/>
                  </a:lnTo>
                  <a:lnTo>
                    <a:pt x="106" y="7"/>
                  </a:lnTo>
                  <a:lnTo>
                    <a:pt x="123" y="24"/>
                  </a:lnTo>
                  <a:lnTo>
                    <a:pt x="144" y="12"/>
                  </a:lnTo>
                  <a:lnTo>
                    <a:pt x="161" y="45"/>
                  </a:lnTo>
                  <a:lnTo>
                    <a:pt x="199" y="40"/>
                  </a:lnTo>
                  <a:lnTo>
                    <a:pt x="199" y="45"/>
                  </a:lnTo>
                  <a:lnTo>
                    <a:pt x="199" y="57"/>
                  </a:lnTo>
                  <a:lnTo>
                    <a:pt x="166" y="57"/>
                  </a:lnTo>
                  <a:lnTo>
                    <a:pt x="166" y="64"/>
                  </a:lnTo>
                  <a:lnTo>
                    <a:pt x="215" y="69"/>
                  </a:lnTo>
                  <a:lnTo>
                    <a:pt x="258" y="102"/>
                  </a:lnTo>
                  <a:lnTo>
                    <a:pt x="253" y="118"/>
                  </a:lnTo>
                  <a:lnTo>
                    <a:pt x="236" y="118"/>
                  </a:lnTo>
                  <a:lnTo>
                    <a:pt x="236" y="125"/>
                  </a:lnTo>
                  <a:lnTo>
                    <a:pt x="229" y="125"/>
                  </a:lnTo>
                  <a:lnTo>
                    <a:pt x="220" y="114"/>
                  </a:lnTo>
                  <a:lnTo>
                    <a:pt x="149" y="114"/>
                  </a:lnTo>
                  <a:lnTo>
                    <a:pt x="128" y="125"/>
                  </a:lnTo>
                  <a:lnTo>
                    <a:pt x="106" y="125"/>
                  </a:lnTo>
                  <a:lnTo>
                    <a:pt x="97" y="114"/>
                  </a:lnTo>
                  <a:lnTo>
                    <a:pt x="90" y="114"/>
                  </a:lnTo>
                  <a:lnTo>
                    <a:pt x="76" y="125"/>
                  </a:lnTo>
                  <a:lnTo>
                    <a:pt x="69" y="118"/>
                  </a:lnTo>
                  <a:lnTo>
                    <a:pt x="69" y="137"/>
                  </a:lnTo>
                  <a:lnTo>
                    <a:pt x="43" y="175"/>
                  </a:lnTo>
                  <a:lnTo>
                    <a:pt x="21" y="142"/>
                  </a:lnTo>
                  <a:lnTo>
                    <a:pt x="21" y="142"/>
                  </a:lnTo>
                  <a:lnTo>
                    <a:pt x="21" y="142"/>
                  </a:lnTo>
                  <a:close/>
                  <a:moveTo>
                    <a:pt x="38" y="182"/>
                  </a:moveTo>
                  <a:lnTo>
                    <a:pt x="38" y="175"/>
                  </a:lnTo>
                  <a:lnTo>
                    <a:pt x="38" y="175"/>
                  </a:lnTo>
                  <a:lnTo>
                    <a:pt x="38" y="182"/>
                  </a:lnTo>
                  <a:lnTo>
                    <a:pt x="38" y="182"/>
                  </a:lnTo>
                  <a:lnTo>
                    <a:pt x="38" y="18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3" name="Freeform 429">
              <a:extLst>
                <a:ext uri="{FF2B5EF4-FFF2-40B4-BE49-F238E27FC236}">
                  <a16:creationId xmlns:a16="http://schemas.microsoft.com/office/drawing/2014/main" id="{EA4C459B-9BE0-474B-8538-EE194F27E974}"/>
                </a:ext>
              </a:extLst>
            </p:cNvPr>
            <p:cNvSpPr>
              <a:spLocks noEditPoints="1"/>
            </p:cNvSpPr>
            <p:nvPr/>
          </p:nvSpPr>
          <p:spPr bwMode="gray">
            <a:xfrm>
              <a:off x="4079196" y="4024713"/>
              <a:ext cx="473420" cy="189801"/>
            </a:xfrm>
            <a:custGeom>
              <a:avLst/>
              <a:gdLst>
                <a:gd name="T0" fmla="*/ 966 w 1150"/>
                <a:gd name="T1" fmla="*/ 40 h 461"/>
                <a:gd name="T2" fmla="*/ 999 w 1150"/>
                <a:gd name="T3" fmla="*/ 57 h 461"/>
                <a:gd name="T4" fmla="*/ 1068 w 1150"/>
                <a:gd name="T5" fmla="*/ 78 h 461"/>
                <a:gd name="T6" fmla="*/ 1096 w 1150"/>
                <a:gd name="T7" fmla="*/ 78 h 461"/>
                <a:gd name="T8" fmla="*/ 1122 w 1150"/>
                <a:gd name="T9" fmla="*/ 111 h 461"/>
                <a:gd name="T10" fmla="*/ 1150 w 1150"/>
                <a:gd name="T11" fmla="*/ 168 h 461"/>
                <a:gd name="T12" fmla="*/ 1089 w 1150"/>
                <a:gd name="T13" fmla="*/ 255 h 461"/>
                <a:gd name="T14" fmla="*/ 945 w 1150"/>
                <a:gd name="T15" fmla="*/ 338 h 461"/>
                <a:gd name="T16" fmla="*/ 928 w 1150"/>
                <a:gd name="T17" fmla="*/ 371 h 461"/>
                <a:gd name="T18" fmla="*/ 895 w 1150"/>
                <a:gd name="T19" fmla="*/ 437 h 461"/>
                <a:gd name="T20" fmla="*/ 841 w 1150"/>
                <a:gd name="T21" fmla="*/ 421 h 461"/>
                <a:gd name="T22" fmla="*/ 787 w 1150"/>
                <a:gd name="T23" fmla="*/ 421 h 461"/>
                <a:gd name="T24" fmla="*/ 782 w 1150"/>
                <a:gd name="T25" fmla="*/ 404 h 461"/>
                <a:gd name="T26" fmla="*/ 803 w 1150"/>
                <a:gd name="T27" fmla="*/ 383 h 461"/>
                <a:gd name="T28" fmla="*/ 820 w 1150"/>
                <a:gd name="T29" fmla="*/ 333 h 461"/>
                <a:gd name="T30" fmla="*/ 836 w 1150"/>
                <a:gd name="T31" fmla="*/ 243 h 461"/>
                <a:gd name="T32" fmla="*/ 810 w 1150"/>
                <a:gd name="T33" fmla="*/ 284 h 461"/>
                <a:gd name="T34" fmla="*/ 798 w 1150"/>
                <a:gd name="T35" fmla="*/ 293 h 461"/>
                <a:gd name="T36" fmla="*/ 765 w 1150"/>
                <a:gd name="T37" fmla="*/ 255 h 461"/>
                <a:gd name="T38" fmla="*/ 765 w 1150"/>
                <a:gd name="T39" fmla="*/ 201 h 461"/>
                <a:gd name="T40" fmla="*/ 772 w 1150"/>
                <a:gd name="T41" fmla="*/ 168 h 461"/>
                <a:gd name="T42" fmla="*/ 787 w 1150"/>
                <a:gd name="T43" fmla="*/ 144 h 461"/>
                <a:gd name="T44" fmla="*/ 820 w 1150"/>
                <a:gd name="T45" fmla="*/ 73 h 461"/>
                <a:gd name="T46" fmla="*/ 891 w 1150"/>
                <a:gd name="T47" fmla="*/ 17 h 461"/>
                <a:gd name="T48" fmla="*/ 907 w 1150"/>
                <a:gd name="T49" fmla="*/ 0 h 461"/>
                <a:gd name="T50" fmla="*/ 895 w 1150"/>
                <a:gd name="T51" fmla="*/ 0 h 461"/>
                <a:gd name="T52" fmla="*/ 891 w 1150"/>
                <a:gd name="T53" fmla="*/ 7 h 461"/>
                <a:gd name="T54" fmla="*/ 80 w 1150"/>
                <a:gd name="T55" fmla="*/ 73 h 461"/>
                <a:gd name="T56" fmla="*/ 80 w 1150"/>
                <a:gd name="T57" fmla="*/ 78 h 461"/>
                <a:gd name="T58" fmla="*/ 14 w 1150"/>
                <a:gd name="T59" fmla="*/ 172 h 461"/>
                <a:gd name="T60" fmla="*/ 31 w 1150"/>
                <a:gd name="T61" fmla="*/ 151 h 461"/>
                <a:gd name="T62" fmla="*/ 14 w 1150"/>
                <a:gd name="T63" fmla="*/ 106 h 461"/>
                <a:gd name="T64" fmla="*/ 31 w 1150"/>
                <a:gd name="T65" fmla="*/ 106 h 461"/>
                <a:gd name="T66" fmla="*/ 47 w 1150"/>
                <a:gd name="T67" fmla="*/ 144 h 461"/>
                <a:gd name="T68" fmla="*/ 31 w 1150"/>
                <a:gd name="T69" fmla="*/ 172 h 461"/>
                <a:gd name="T70" fmla="*/ 69 w 1150"/>
                <a:gd name="T71" fmla="*/ 128 h 461"/>
                <a:gd name="T72" fmla="*/ 69 w 1150"/>
                <a:gd name="T73" fmla="*/ 118 h 461"/>
                <a:gd name="T74" fmla="*/ 69 w 1150"/>
                <a:gd name="T75" fmla="*/ 128 h 461"/>
                <a:gd name="T76" fmla="*/ 0 w 1150"/>
                <a:gd name="T77" fmla="*/ 128 h 461"/>
                <a:gd name="T78" fmla="*/ 9 w 1150"/>
                <a:gd name="T79" fmla="*/ 135 h 461"/>
                <a:gd name="T80" fmla="*/ 97 w 1150"/>
                <a:gd name="T81" fmla="*/ 161 h 461"/>
                <a:gd name="T82" fmla="*/ 102 w 1150"/>
                <a:gd name="T83" fmla="*/ 144 h 461"/>
                <a:gd name="T84" fmla="*/ 97 w 1150"/>
                <a:gd name="T85" fmla="*/ 161 h 461"/>
                <a:gd name="T86" fmla="*/ 139 w 1150"/>
                <a:gd name="T87" fmla="*/ 168 h 461"/>
                <a:gd name="T88" fmla="*/ 151 w 1150"/>
                <a:gd name="T89" fmla="*/ 168 h 461"/>
                <a:gd name="T90" fmla="*/ 85 w 1150"/>
                <a:gd name="T91" fmla="*/ 201 h 461"/>
                <a:gd name="T92" fmla="*/ 85 w 1150"/>
                <a:gd name="T93" fmla="*/ 189 h 461"/>
                <a:gd name="T94" fmla="*/ 85 w 1150"/>
                <a:gd name="T95" fmla="*/ 201 h 461"/>
                <a:gd name="T96" fmla="*/ 803 w 1150"/>
                <a:gd name="T97" fmla="*/ 293 h 461"/>
                <a:gd name="T98" fmla="*/ 803 w 1150"/>
                <a:gd name="T99" fmla="*/ 317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50" h="461">
                  <a:moveTo>
                    <a:pt x="907" y="0"/>
                  </a:moveTo>
                  <a:lnTo>
                    <a:pt x="950" y="33"/>
                  </a:lnTo>
                  <a:lnTo>
                    <a:pt x="966" y="40"/>
                  </a:lnTo>
                  <a:lnTo>
                    <a:pt x="983" y="40"/>
                  </a:lnTo>
                  <a:lnTo>
                    <a:pt x="983" y="50"/>
                  </a:lnTo>
                  <a:lnTo>
                    <a:pt x="999" y="57"/>
                  </a:lnTo>
                  <a:lnTo>
                    <a:pt x="1004" y="73"/>
                  </a:lnTo>
                  <a:lnTo>
                    <a:pt x="1058" y="90"/>
                  </a:lnTo>
                  <a:lnTo>
                    <a:pt x="1068" y="78"/>
                  </a:lnTo>
                  <a:lnTo>
                    <a:pt x="1068" y="73"/>
                  </a:lnTo>
                  <a:lnTo>
                    <a:pt x="1080" y="73"/>
                  </a:lnTo>
                  <a:lnTo>
                    <a:pt x="1096" y="78"/>
                  </a:lnTo>
                  <a:lnTo>
                    <a:pt x="1113" y="95"/>
                  </a:lnTo>
                  <a:lnTo>
                    <a:pt x="1150" y="111"/>
                  </a:lnTo>
                  <a:lnTo>
                    <a:pt x="1122" y="111"/>
                  </a:lnTo>
                  <a:lnTo>
                    <a:pt x="1150" y="144"/>
                  </a:lnTo>
                  <a:lnTo>
                    <a:pt x="1150" y="151"/>
                  </a:lnTo>
                  <a:lnTo>
                    <a:pt x="1150" y="168"/>
                  </a:lnTo>
                  <a:lnTo>
                    <a:pt x="1143" y="168"/>
                  </a:lnTo>
                  <a:lnTo>
                    <a:pt x="1127" y="217"/>
                  </a:lnTo>
                  <a:lnTo>
                    <a:pt x="1089" y="255"/>
                  </a:lnTo>
                  <a:lnTo>
                    <a:pt x="1051" y="284"/>
                  </a:lnTo>
                  <a:lnTo>
                    <a:pt x="966" y="317"/>
                  </a:lnTo>
                  <a:lnTo>
                    <a:pt x="945" y="338"/>
                  </a:lnTo>
                  <a:lnTo>
                    <a:pt x="945" y="354"/>
                  </a:lnTo>
                  <a:lnTo>
                    <a:pt x="933" y="350"/>
                  </a:lnTo>
                  <a:lnTo>
                    <a:pt x="928" y="371"/>
                  </a:lnTo>
                  <a:lnTo>
                    <a:pt x="912" y="411"/>
                  </a:lnTo>
                  <a:lnTo>
                    <a:pt x="912" y="428"/>
                  </a:lnTo>
                  <a:lnTo>
                    <a:pt x="895" y="437"/>
                  </a:lnTo>
                  <a:lnTo>
                    <a:pt x="879" y="461"/>
                  </a:lnTo>
                  <a:lnTo>
                    <a:pt x="862" y="461"/>
                  </a:lnTo>
                  <a:lnTo>
                    <a:pt x="841" y="421"/>
                  </a:lnTo>
                  <a:lnTo>
                    <a:pt x="824" y="421"/>
                  </a:lnTo>
                  <a:lnTo>
                    <a:pt x="803" y="411"/>
                  </a:lnTo>
                  <a:lnTo>
                    <a:pt x="787" y="421"/>
                  </a:lnTo>
                  <a:lnTo>
                    <a:pt x="782" y="421"/>
                  </a:lnTo>
                  <a:lnTo>
                    <a:pt x="798" y="404"/>
                  </a:lnTo>
                  <a:lnTo>
                    <a:pt x="782" y="404"/>
                  </a:lnTo>
                  <a:lnTo>
                    <a:pt x="782" y="387"/>
                  </a:lnTo>
                  <a:lnTo>
                    <a:pt x="798" y="387"/>
                  </a:lnTo>
                  <a:lnTo>
                    <a:pt x="803" y="383"/>
                  </a:lnTo>
                  <a:lnTo>
                    <a:pt x="798" y="350"/>
                  </a:lnTo>
                  <a:lnTo>
                    <a:pt x="798" y="338"/>
                  </a:lnTo>
                  <a:lnTo>
                    <a:pt x="820" y="333"/>
                  </a:lnTo>
                  <a:lnTo>
                    <a:pt x="836" y="284"/>
                  </a:lnTo>
                  <a:lnTo>
                    <a:pt x="824" y="272"/>
                  </a:lnTo>
                  <a:lnTo>
                    <a:pt x="836" y="243"/>
                  </a:lnTo>
                  <a:lnTo>
                    <a:pt x="824" y="255"/>
                  </a:lnTo>
                  <a:lnTo>
                    <a:pt x="824" y="284"/>
                  </a:lnTo>
                  <a:lnTo>
                    <a:pt x="810" y="284"/>
                  </a:lnTo>
                  <a:lnTo>
                    <a:pt x="820" y="272"/>
                  </a:lnTo>
                  <a:lnTo>
                    <a:pt x="820" y="272"/>
                  </a:lnTo>
                  <a:lnTo>
                    <a:pt x="798" y="293"/>
                  </a:lnTo>
                  <a:lnTo>
                    <a:pt x="756" y="272"/>
                  </a:lnTo>
                  <a:lnTo>
                    <a:pt x="749" y="255"/>
                  </a:lnTo>
                  <a:lnTo>
                    <a:pt x="765" y="255"/>
                  </a:lnTo>
                  <a:lnTo>
                    <a:pt x="765" y="239"/>
                  </a:lnTo>
                  <a:lnTo>
                    <a:pt x="756" y="217"/>
                  </a:lnTo>
                  <a:lnTo>
                    <a:pt x="765" y="201"/>
                  </a:lnTo>
                  <a:lnTo>
                    <a:pt x="749" y="172"/>
                  </a:lnTo>
                  <a:lnTo>
                    <a:pt x="756" y="168"/>
                  </a:lnTo>
                  <a:lnTo>
                    <a:pt x="772" y="168"/>
                  </a:lnTo>
                  <a:lnTo>
                    <a:pt x="787" y="144"/>
                  </a:lnTo>
                  <a:lnTo>
                    <a:pt x="798" y="144"/>
                  </a:lnTo>
                  <a:lnTo>
                    <a:pt x="787" y="144"/>
                  </a:lnTo>
                  <a:lnTo>
                    <a:pt x="782" y="128"/>
                  </a:lnTo>
                  <a:lnTo>
                    <a:pt x="810" y="95"/>
                  </a:lnTo>
                  <a:lnTo>
                    <a:pt x="820" y="73"/>
                  </a:lnTo>
                  <a:lnTo>
                    <a:pt x="810" y="50"/>
                  </a:lnTo>
                  <a:lnTo>
                    <a:pt x="810" y="40"/>
                  </a:lnTo>
                  <a:lnTo>
                    <a:pt x="891" y="17"/>
                  </a:lnTo>
                  <a:lnTo>
                    <a:pt x="907" y="0"/>
                  </a:lnTo>
                  <a:lnTo>
                    <a:pt x="907" y="0"/>
                  </a:lnTo>
                  <a:lnTo>
                    <a:pt x="907" y="0"/>
                  </a:lnTo>
                  <a:close/>
                  <a:moveTo>
                    <a:pt x="891" y="7"/>
                  </a:moveTo>
                  <a:lnTo>
                    <a:pt x="891" y="7"/>
                  </a:lnTo>
                  <a:lnTo>
                    <a:pt x="895" y="0"/>
                  </a:lnTo>
                  <a:lnTo>
                    <a:pt x="891" y="7"/>
                  </a:lnTo>
                  <a:lnTo>
                    <a:pt x="891" y="7"/>
                  </a:lnTo>
                  <a:lnTo>
                    <a:pt x="891" y="7"/>
                  </a:lnTo>
                  <a:close/>
                  <a:moveTo>
                    <a:pt x="80" y="78"/>
                  </a:moveTo>
                  <a:lnTo>
                    <a:pt x="80" y="78"/>
                  </a:lnTo>
                  <a:lnTo>
                    <a:pt x="80" y="73"/>
                  </a:lnTo>
                  <a:lnTo>
                    <a:pt x="85" y="78"/>
                  </a:lnTo>
                  <a:lnTo>
                    <a:pt x="80" y="78"/>
                  </a:lnTo>
                  <a:lnTo>
                    <a:pt x="80" y="78"/>
                  </a:lnTo>
                  <a:lnTo>
                    <a:pt x="80" y="78"/>
                  </a:lnTo>
                  <a:close/>
                  <a:moveTo>
                    <a:pt x="31" y="172"/>
                  </a:moveTo>
                  <a:lnTo>
                    <a:pt x="14" y="172"/>
                  </a:lnTo>
                  <a:lnTo>
                    <a:pt x="9" y="168"/>
                  </a:lnTo>
                  <a:lnTo>
                    <a:pt x="26" y="151"/>
                  </a:lnTo>
                  <a:lnTo>
                    <a:pt x="31" y="151"/>
                  </a:lnTo>
                  <a:lnTo>
                    <a:pt x="43" y="144"/>
                  </a:lnTo>
                  <a:lnTo>
                    <a:pt x="14" y="118"/>
                  </a:lnTo>
                  <a:lnTo>
                    <a:pt x="14" y="106"/>
                  </a:lnTo>
                  <a:lnTo>
                    <a:pt x="0" y="106"/>
                  </a:lnTo>
                  <a:lnTo>
                    <a:pt x="14" y="90"/>
                  </a:lnTo>
                  <a:lnTo>
                    <a:pt x="31" y="106"/>
                  </a:lnTo>
                  <a:lnTo>
                    <a:pt x="31" y="118"/>
                  </a:lnTo>
                  <a:lnTo>
                    <a:pt x="47" y="128"/>
                  </a:lnTo>
                  <a:lnTo>
                    <a:pt x="47" y="144"/>
                  </a:lnTo>
                  <a:lnTo>
                    <a:pt x="52" y="151"/>
                  </a:lnTo>
                  <a:lnTo>
                    <a:pt x="47" y="168"/>
                  </a:lnTo>
                  <a:lnTo>
                    <a:pt x="31" y="172"/>
                  </a:lnTo>
                  <a:lnTo>
                    <a:pt x="31" y="172"/>
                  </a:lnTo>
                  <a:lnTo>
                    <a:pt x="31" y="172"/>
                  </a:lnTo>
                  <a:close/>
                  <a:moveTo>
                    <a:pt x="69" y="128"/>
                  </a:moveTo>
                  <a:lnTo>
                    <a:pt x="52" y="128"/>
                  </a:lnTo>
                  <a:lnTo>
                    <a:pt x="52" y="111"/>
                  </a:lnTo>
                  <a:lnTo>
                    <a:pt x="69" y="118"/>
                  </a:lnTo>
                  <a:lnTo>
                    <a:pt x="80" y="118"/>
                  </a:lnTo>
                  <a:lnTo>
                    <a:pt x="69" y="128"/>
                  </a:lnTo>
                  <a:lnTo>
                    <a:pt x="69" y="128"/>
                  </a:lnTo>
                  <a:lnTo>
                    <a:pt x="69" y="128"/>
                  </a:lnTo>
                  <a:close/>
                  <a:moveTo>
                    <a:pt x="9" y="135"/>
                  </a:moveTo>
                  <a:lnTo>
                    <a:pt x="0" y="128"/>
                  </a:lnTo>
                  <a:lnTo>
                    <a:pt x="9" y="118"/>
                  </a:lnTo>
                  <a:lnTo>
                    <a:pt x="14" y="135"/>
                  </a:lnTo>
                  <a:lnTo>
                    <a:pt x="9" y="135"/>
                  </a:lnTo>
                  <a:lnTo>
                    <a:pt x="9" y="135"/>
                  </a:lnTo>
                  <a:lnTo>
                    <a:pt x="9" y="135"/>
                  </a:lnTo>
                  <a:close/>
                  <a:moveTo>
                    <a:pt x="97" y="161"/>
                  </a:moveTo>
                  <a:lnTo>
                    <a:pt x="80" y="151"/>
                  </a:lnTo>
                  <a:lnTo>
                    <a:pt x="80" y="135"/>
                  </a:lnTo>
                  <a:lnTo>
                    <a:pt x="102" y="144"/>
                  </a:lnTo>
                  <a:lnTo>
                    <a:pt x="102" y="151"/>
                  </a:lnTo>
                  <a:lnTo>
                    <a:pt x="97" y="161"/>
                  </a:lnTo>
                  <a:lnTo>
                    <a:pt x="97" y="161"/>
                  </a:lnTo>
                  <a:lnTo>
                    <a:pt x="97" y="161"/>
                  </a:lnTo>
                  <a:close/>
                  <a:moveTo>
                    <a:pt x="151" y="168"/>
                  </a:moveTo>
                  <a:lnTo>
                    <a:pt x="139" y="168"/>
                  </a:lnTo>
                  <a:lnTo>
                    <a:pt x="172" y="151"/>
                  </a:lnTo>
                  <a:lnTo>
                    <a:pt x="156" y="168"/>
                  </a:lnTo>
                  <a:lnTo>
                    <a:pt x="151" y="168"/>
                  </a:lnTo>
                  <a:lnTo>
                    <a:pt x="151" y="168"/>
                  </a:lnTo>
                  <a:lnTo>
                    <a:pt x="151" y="168"/>
                  </a:lnTo>
                  <a:close/>
                  <a:moveTo>
                    <a:pt x="85" y="201"/>
                  </a:moveTo>
                  <a:lnTo>
                    <a:pt x="80" y="189"/>
                  </a:lnTo>
                  <a:lnTo>
                    <a:pt x="80" y="189"/>
                  </a:lnTo>
                  <a:lnTo>
                    <a:pt x="85" y="189"/>
                  </a:lnTo>
                  <a:lnTo>
                    <a:pt x="85" y="201"/>
                  </a:lnTo>
                  <a:lnTo>
                    <a:pt x="85" y="201"/>
                  </a:lnTo>
                  <a:lnTo>
                    <a:pt x="85" y="201"/>
                  </a:lnTo>
                  <a:close/>
                  <a:moveTo>
                    <a:pt x="803" y="317"/>
                  </a:moveTo>
                  <a:lnTo>
                    <a:pt x="798" y="317"/>
                  </a:lnTo>
                  <a:lnTo>
                    <a:pt x="803" y="293"/>
                  </a:lnTo>
                  <a:lnTo>
                    <a:pt x="820" y="293"/>
                  </a:lnTo>
                  <a:lnTo>
                    <a:pt x="824" y="293"/>
                  </a:lnTo>
                  <a:lnTo>
                    <a:pt x="803" y="317"/>
                  </a:lnTo>
                  <a:lnTo>
                    <a:pt x="803" y="317"/>
                  </a:lnTo>
                  <a:lnTo>
                    <a:pt x="803" y="3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4" name="Freeform 435">
              <a:extLst>
                <a:ext uri="{FF2B5EF4-FFF2-40B4-BE49-F238E27FC236}">
                  <a16:creationId xmlns:a16="http://schemas.microsoft.com/office/drawing/2014/main" id="{E80A974A-F331-4F36-B36C-F6F0B677120D}"/>
                </a:ext>
              </a:extLst>
            </p:cNvPr>
            <p:cNvSpPr>
              <a:spLocks/>
            </p:cNvSpPr>
            <p:nvPr/>
          </p:nvSpPr>
          <p:spPr bwMode="gray">
            <a:xfrm>
              <a:off x="4122834" y="3636878"/>
              <a:ext cx="72865" cy="36644"/>
            </a:xfrm>
            <a:custGeom>
              <a:avLst/>
              <a:gdLst>
                <a:gd name="T0" fmla="*/ 0 w 177"/>
                <a:gd name="T1" fmla="*/ 44 h 89"/>
                <a:gd name="T2" fmla="*/ 12 w 177"/>
                <a:gd name="T3" fmla="*/ 33 h 89"/>
                <a:gd name="T4" fmla="*/ 45 w 177"/>
                <a:gd name="T5" fmla="*/ 4 h 89"/>
                <a:gd name="T6" fmla="*/ 45 w 177"/>
                <a:gd name="T7" fmla="*/ 0 h 89"/>
                <a:gd name="T8" fmla="*/ 55 w 177"/>
                <a:gd name="T9" fmla="*/ 0 h 89"/>
                <a:gd name="T10" fmla="*/ 83 w 177"/>
                <a:gd name="T11" fmla="*/ 0 h 89"/>
                <a:gd name="T12" fmla="*/ 100 w 177"/>
                <a:gd name="T13" fmla="*/ 21 h 89"/>
                <a:gd name="T14" fmla="*/ 100 w 177"/>
                <a:gd name="T15" fmla="*/ 16 h 89"/>
                <a:gd name="T16" fmla="*/ 111 w 177"/>
                <a:gd name="T17" fmla="*/ 33 h 89"/>
                <a:gd name="T18" fmla="*/ 121 w 177"/>
                <a:gd name="T19" fmla="*/ 37 h 89"/>
                <a:gd name="T20" fmla="*/ 144 w 177"/>
                <a:gd name="T21" fmla="*/ 33 h 89"/>
                <a:gd name="T22" fmla="*/ 154 w 177"/>
                <a:gd name="T23" fmla="*/ 37 h 89"/>
                <a:gd name="T24" fmla="*/ 166 w 177"/>
                <a:gd name="T25" fmla="*/ 33 h 89"/>
                <a:gd name="T26" fmla="*/ 177 w 177"/>
                <a:gd name="T27" fmla="*/ 37 h 89"/>
                <a:gd name="T28" fmla="*/ 166 w 177"/>
                <a:gd name="T29" fmla="*/ 61 h 89"/>
                <a:gd name="T30" fmla="*/ 177 w 177"/>
                <a:gd name="T31" fmla="*/ 61 h 89"/>
                <a:gd name="T32" fmla="*/ 166 w 177"/>
                <a:gd name="T33" fmla="*/ 73 h 89"/>
                <a:gd name="T34" fmla="*/ 161 w 177"/>
                <a:gd name="T35" fmla="*/ 73 h 89"/>
                <a:gd name="T36" fmla="*/ 166 w 177"/>
                <a:gd name="T37" fmla="*/ 78 h 89"/>
                <a:gd name="T38" fmla="*/ 161 w 177"/>
                <a:gd name="T39" fmla="*/ 89 h 89"/>
                <a:gd name="T40" fmla="*/ 100 w 177"/>
                <a:gd name="T41" fmla="*/ 78 h 89"/>
                <a:gd name="T42" fmla="*/ 111 w 177"/>
                <a:gd name="T43" fmla="*/ 89 h 89"/>
                <a:gd name="T44" fmla="*/ 55 w 177"/>
                <a:gd name="T45" fmla="*/ 61 h 89"/>
                <a:gd name="T46" fmla="*/ 29 w 177"/>
                <a:gd name="T47" fmla="*/ 61 h 89"/>
                <a:gd name="T48" fmla="*/ 0 w 177"/>
                <a:gd name="T49" fmla="*/ 44 h 89"/>
                <a:gd name="T50" fmla="*/ 0 w 177"/>
                <a:gd name="T51" fmla="*/ 44 h 89"/>
                <a:gd name="T52" fmla="*/ 0 w 177"/>
                <a:gd name="T53"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7" h="89">
                  <a:moveTo>
                    <a:pt x="0" y="44"/>
                  </a:moveTo>
                  <a:lnTo>
                    <a:pt x="12" y="33"/>
                  </a:lnTo>
                  <a:lnTo>
                    <a:pt x="45" y="4"/>
                  </a:lnTo>
                  <a:lnTo>
                    <a:pt x="45" y="0"/>
                  </a:lnTo>
                  <a:lnTo>
                    <a:pt x="55" y="0"/>
                  </a:lnTo>
                  <a:lnTo>
                    <a:pt x="83" y="0"/>
                  </a:lnTo>
                  <a:lnTo>
                    <a:pt x="100" y="21"/>
                  </a:lnTo>
                  <a:lnTo>
                    <a:pt x="100" y="16"/>
                  </a:lnTo>
                  <a:lnTo>
                    <a:pt x="111" y="33"/>
                  </a:lnTo>
                  <a:lnTo>
                    <a:pt x="121" y="37"/>
                  </a:lnTo>
                  <a:lnTo>
                    <a:pt x="144" y="33"/>
                  </a:lnTo>
                  <a:lnTo>
                    <a:pt x="154" y="37"/>
                  </a:lnTo>
                  <a:lnTo>
                    <a:pt x="166" y="33"/>
                  </a:lnTo>
                  <a:lnTo>
                    <a:pt x="177" y="37"/>
                  </a:lnTo>
                  <a:lnTo>
                    <a:pt x="166" y="61"/>
                  </a:lnTo>
                  <a:lnTo>
                    <a:pt x="177" y="61"/>
                  </a:lnTo>
                  <a:lnTo>
                    <a:pt x="166" y="73"/>
                  </a:lnTo>
                  <a:lnTo>
                    <a:pt x="161" y="73"/>
                  </a:lnTo>
                  <a:lnTo>
                    <a:pt x="166" y="78"/>
                  </a:lnTo>
                  <a:lnTo>
                    <a:pt x="161" y="89"/>
                  </a:lnTo>
                  <a:lnTo>
                    <a:pt x="100" y="78"/>
                  </a:lnTo>
                  <a:lnTo>
                    <a:pt x="111" y="89"/>
                  </a:lnTo>
                  <a:lnTo>
                    <a:pt x="55" y="61"/>
                  </a:lnTo>
                  <a:lnTo>
                    <a:pt x="29" y="61"/>
                  </a:lnTo>
                  <a:lnTo>
                    <a:pt x="0" y="44"/>
                  </a:lnTo>
                  <a:lnTo>
                    <a:pt x="0" y="44"/>
                  </a:lnTo>
                  <a:lnTo>
                    <a:pt x="0" y="4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5" name="Freeform 438">
              <a:extLst>
                <a:ext uri="{FF2B5EF4-FFF2-40B4-BE49-F238E27FC236}">
                  <a16:creationId xmlns:a16="http://schemas.microsoft.com/office/drawing/2014/main" id="{EF2361D5-5CFD-4FDF-9D5D-79CDE5785902}"/>
                </a:ext>
              </a:extLst>
            </p:cNvPr>
            <p:cNvSpPr>
              <a:spLocks/>
            </p:cNvSpPr>
            <p:nvPr/>
          </p:nvSpPr>
          <p:spPr bwMode="gray">
            <a:xfrm>
              <a:off x="5150774" y="3894612"/>
              <a:ext cx="81922" cy="107870"/>
            </a:xfrm>
            <a:custGeom>
              <a:avLst/>
              <a:gdLst>
                <a:gd name="T0" fmla="*/ 0 w 199"/>
                <a:gd name="T1" fmla="*/ 245 h 262"/>
                <a:gd name="T2" fmla="*/ 17 w 199"/>
                <a:gd name="T3" fmla="*/ 238 h 262"/>
                <a:gd name="T4" fmla="*/ 21 w 199"/>
                <a:gd name="T5" fmla="*/ 212 h 262"/>
                <a:gd name="T6" fmla="*/ 21 w 199"/>
                <a:gd name="T7" fmla="*/ 189 h 262"/>
                <a:gd name="T8" fmla="*/ 33 w 199"/>
                <a:gd name="T9" fmla="*/ 184 h 262"/>
                <a:gd name="T10" fmla="*/ 38 w 199"/>
                <a:gd name="T11" fmla="*/ 155 h 262"/>
                <a:gd name="T12" fmla="*/ 17 w 199"/>
                <a:gd name="T13" fmla="*/ 127 h 262"/>
                <a:gd name="T14" fmla="*/ 7 w 199"/>
                <a:gd name="T15" fmla="*/ 73 h 262"/>
                <a:gd name="T16" fmla="*/ 7 w 199"/>
                <a:gd name="T17" fmla="*/ 54 h 262"/>
                <a:gd name="T18" fmla="*/ 33 w 199"/>
                <a:gd name="T19" fmla="*/ 28 h 262"/>
                <a:gd name="T20" fmla="*/ 38 w 199"/>
                <a:gd name="T21" fmla="*/ 4 h 262"/>
                <a:gd name="T22" fmla="*/ 50 w 199"/>
                <a:gd name="T23" fmla="*/ 0 h 262"/>
                <a:gd name="T24" fmla="*/ 76 w 199"/>
                <a:gd name="T25" fmla="*/ 16 h 262"/>
                <a:gd name="T26" fmla="*/ 114 w 199"/>
                <a:gd name="T27" fmla="*/ 21 h 262"/>
                <a:gd name="T28" fmla="*/ 177 w 199"/>
                <a:gd name="T29" fmla="*/ 77 h 262"/>
                <a:gd name="T30" fmla="*/ 182 w 199"/>
                <a:gd name="T31" fmla="*/ 94 h 262"/>
                <a:gd name="T32" fmla="*/ 177 w 199"/>
                <a:gd name="T33" fmla="*/ 99 h 262"/>
                <a:gd name="T34" fmla="*/ 182 w 199"/>
                <a:gd name="T35" fmla="*/ 99 h 262"/>
                <a:gd name="T36" fmla="*/ 182 w 199"/>
                <a:gd name="T37" fmla="*/ 77 h 262"/>
                <a:gd name="T38" fmla="*/ 194 w 199"/>
                <a:gd name="T39" fmla="*/ 82 h 262"/>
                <a:gd name="T40" fmla="*/ 199 w 199"/>
                <a:gd name="T41" fmla="*/ 111 h 262"/>
                <a:gd name="T42" fmla="*/ 199 w 199"/>
                <a:gd name="T43" fmla="*/ 127 h 262"/>
                <a:gd name="T44" fmla="*/ 156 w 199"/>
                <a:gd name="T45" fmla="*/ 189 h 262"/>
                <a:gd name="T46" fmla="*/ 139 w 199"/>
                <a:gd name="T47" fmla="*/ 238 h 262"/>
                <a:gd name="T48" fmla="*/ 114 w 199"/>
                <a:gd name="T49" fmla="*/ 262 h 262"/>
                <a:gd name="T50" fmla="*/ 92 w 199"/>
                <a:gd name="T51" fmla="*/ 262 h 262"/>
                <a:gd name="T52" fmla="*/ 85 w 199"/>
                <a:gd name="T53" fmla="*/ 245 h 262"/>
                <a:gd name="T54" fmla="*/ 71 w 199"/>
                <a:gd name="T55" fmla="*/ 250 h 262"/>
                <a:gd name="T56" fmla="*/ 54 w 199"/>
                <a:gd name="T57" fmla="*/ 245 h 262"/>
                <a:gd name="T58" fmla="*/ 33 w 199"/>
                <a:gd name="T59" fmla="*/ 262 h 262"/>
                <a:gd name="T60" fmla="*/ 0 w 199"/>
                <a:gd name="T61" fmla="*/ 245 h 262"/>
                <a:gd name="T62" fmla="*/ 0 w 199"/>
                <a:gd name="T63" fmla="*/ 245 h 262"/>
                <a:gd name="T64" fmla="*/ 0 w 199"/>
                <a:gd name="T65" fmla="*/ 24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9" h="262">
                  <a:moveTo>
                    <a:pt x="0" y="245"/>
                  </a:moveTo>
                  <a:lnTo>
                    <a:pt x="17" y="238"/>
                  </a:lnTo>
                  <a:lnTo>
                    <a:pt x="21" y="212"/>
                  </a:lnTo>
                  <a:lnTo>
                    <a:pt x="21" y="189"/>
                  </a:lnTo>
                  <a:lnTo>
                    <a:pt x="33" y="184"/>
                  </a:lnTo>
                  <a:lnTo>
                    <a:pt x="38" y="155"/>
                  </a:lnTo>
                  <a:lnTo>
                    <a:pt x="17" y="127"/>
                  </a:lnTo>
                  <a:lnTo>
                    <a:pt x="7" y="73"/>
                  </a:lnTo>
                  <a:lnTo>
                    <a:pt x="7" y="54"/>
                  </a:lnTo>
                  <a:lnTo>
                    <a:pt x="33" y="28"/>
                  </a:lnTo>
                  <a:lnTo>
                    <a:pt x="38" y="4"/>
                  </a:lnTo>
                  <a:lnTo>
                    <a:pt x="50" y="0"/>
                  </a:lnTo>
                  <a:lnTo>
                    <a:pt x="76" y="16"/>
                  </a:lnTo>
                  <a:lnTo>
                    <a:pt x="114" y="21"/>
                  </a:lnTo>
                  <a:lnTo>
                    <a:pt x="177" y="77"/>
                  </a:lnTo>
                  <a:lnTo>
                    <a:pt x="182" y="94"/>
                  </a:lnTo>
                  <a:lnTo>
                    <a:pt x="177" y="99"/>
                  </a:lnTo>
                  <a:lnTo>
                    <a:pt x="182" y="99"/>
                  </a:lnTo>
                  <a:lnTo>
                    <a:pt x="182" y="77"/>
                  </a:lnTo>
                  <a:lnTo>
                    <a:pt x="194" y="82"/>
                  </a:lnTo>
                  <a:lnTo>
                    <a:pt x="199" y="111"/>
                  </a:lnTo>
                  <a:lnTo>
                    <a:pt x="199" y="127"/>
                  </a:lnTo>
                  <a:lnTo>
                    <a:pt x="156" y="189"/>
                  </a:lnTo>
                  <a:lnTo>
                    <a:pt x="139" y="238"/>
                  </a:lnTo>
                  <a:lnTo>
                    <a:pt x="114" y="262"/>
                  </a:lnTo>
                  <a:lnTo>
                    <a:pt x="92" y="262"/>
                  </a:lnTo>
                  <a:lnTo>
                    <a:pt x="85" y="245"/>
                  </a:lnTo>
                  <a:lnTo>
                    <a:pt x="71" y="250"/>
                  </a:lnTo>
                  <a:lnTo>
                    <a:pt x="54" y="245"/>
                  </a:lnTo>
                  <a:lnTo>
                    <a:pt x="33" y="262"/>
                  </a:lnTo>
                  <a:lnTo>
                    <a:pt x="0" y="245"/>
                  </a:lnTo>
                  <a:lnTo>
                    <a:pt x="0" y="245"/>
                  </a:lnTo>
                  <a:lnTo>
                    <a:pt x="0" y="24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6" name="Freeform 451">
              <a:extLst>
                <a:ext uri="{FF2B5EF4-FFF2-40B4-BE49-F238E27FC236}">
                  <a16:creationId xmlns:a16="http://schemas.microsoft.com/office/drawing/2014/main" id="{44A9B989-FDE9-4316-8FBB-1FDE1B7F5822}"/>
                </a:ext>
              </a:extLst>
            </p:cNvPr>
            <p:cNvSpPr>
              <a:spLocks/>
            </p:cNvSpPr>
            <p:nvPr/>
          </p:nvSpPr>
          <p:spPr bwMode="gray">
            <a:xfrm>
              <a:off x="4940822" y="3699870"/>
              <a:ext cx="6587" cy="6999"/>
            </a:xfrm>
            <a:custGeom>
              <a:avLst/>
              <a:gdLst>
                <a:gd name="T0" fmla="*/ 16 w 16"/>
                <a:gd name="T1" fmla="*/ 0 h 17"/>
                <a:gd name="T2" fmla="*/ 16 w 16"/>
                <a:gd name="T3" fmla="*/ 17 h 17"/>
                <a:gd name="T4" fmla="*/ 0 w 16"/>
                <a:gd name="T5" fmla="*/ 17 h 17"/>
                <a:gd name="T6" fmla="*/ 7 w 16"/>
                <a:gd name="T7" fmla="*/ 0 h 17"/>
                <a:gd name="T8" fmla="*/ 16 w 16"/>
                <a:gd name="T9" fmla="*/ 0 h 17"/>
                <a:gd name="T10" fmla="*/ 16 w 16"/>
                <a:gd name="T11" fmla="*/ 0 h 17"/>
                <a:gd name="T12" fmla="*/ 16 w 16"/>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16" y="0"/>
                  </a:moveTo>
                  <a:lnTo>
                    <a:pt x="16" y="17"/>
                  </a:lnTo>
                  <a:lnTo>
                    <a:pt x="0" y="17"/>
                  </a:lnTo>
                  <a:lnTo>
                    <a:pt x="7" y="0"/>
                  </a:lnTo>
                  <a:lnTo>
                    <a:pt x="16" y="0"/>
                  </a:lnTo>
                  <a:lnTo>
                    <a:pt x="16" y="0"/>
                  </a:lnTo>
                  <a:lnTo>
                    <a:pt x="16"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7" name="Freeform 454">
              <a:extLst>
                <a:ext uri="{FF2B5EF4-FFF2-40B4-BE49-F238E27FC236}">
                  <a16:creationId xmlns:a16="http://schemas.microsoft.com/office/drawing/2014/main" id="{09F500EB-2B8D-4A55-92F4-448B2014AC37}"/>
                </a:ext>
              </a:extLst>
            </p:cNvPr>
            <p:cNvSpPr>
              <a:spLocks noEditPoints="1"/>
            </p:cNvSpPr>
            <p:nvPr/>
          </p:nvSpPr>
          <p:spPr bwMode="gray">
            <a:xfrm>
              <a:off x="4903771" y="3522008"/>
              <a:ext cx="54341" cy="67933"/>
            </a:xfrm>
            <a:custGeom>
              <a:avLst/>
              <a:gdLst>
                <a:gd name="T0" fmla="*/ 5 w 132"/>
                <a:gd name="T1" fmla="*/ 5 h 165"/>
                <a:gd name="T2" fmla="*/ 0 w 132"/>
                <a:gd name="T3" fmla="*/ 5 h 165"/>
                <a:gd name="T4" fmla="*/ 5 w 132"/>
                <a:gd name="T5" fmla="*/ 0 h 165"/>
                <a:gd name="T6" fmla="*/ 5 w 132"/>
                <a:gd name="T7" fmla="*/ 5 h 165"/>
                <a:gd name="T8" fmla="*/ 5 w 132"/>
                <a:gd name="T9" fmla="*/ 5 h 165"/>
                <a:gd name="T10" fmla="*/ 5 w 132"/>
                <a:gd name="T11" fmla="*/ 5 h 165"/>
                <a:gd name="T12" fmla="*/ 21 w 132"/>
                <a:gd name="T13" fmla="*/ 16 h 165"/>
                <a:gd name="T14" fmla="*/ 12 w 132"/>
                <a:gd name="T15" fmla="*/ 16 h 165"/>
                <a:gd name="T16" fmla="*/ 21 w 132"/>
                <a:gd name="T17" fmla="*/ 16 h 165"/>
                <a:gd name="T18" fmla="*/ 21 w 132"/>
                <a:gd name="T19" fmla="*/ 16 h 165"/>
                <a:gd name="T20" fmla="*/ 21 w 132"/>
                <a:gd name="T21" fmla="*/ 16 h 165"/>
                <a:gd name="T22" fmla="*/ 21 w 132"/>
                <a:gd name="T23" fmla="*/ 16 h 165"/>
                <a:gd name="T24" fmla="*/ 111 w 132"/>
                <a:gd name="T25" fmla="*/ 132 h 165"/>
                <a:gd name="T26" fmla="*/ 111 w 132"/>
                <a:gd name="T27" fmla="*/ 116 h 165"/>
                <a:gd name="T28" fmla="*/ 118 w 132"/>
                <a:gd name="T29" fmla="*/ 132 h 165"/>
                <a:gd name="T30" fmla="*/ 132 w 132"/>
                <a:gd name="T31" fmla="*/ 132 h 165"/>
                <a:gd name="T32" fmla="*/ 106 w 132"/>
                <a:gd name="T33" fmla="*/ 144 h 165"/>
                <a:gd name="T34" fmla="*/ 106 w 132"/>
                <a:gd name="T35" fmla="*/ 156 h 165"/>
                <a:gd name="T36" fmla="*/ 97 w 132"/>
                <a:gd name="T37" fmla="*/ 156 h 165"/>
                <a:gd name="T38" fmla="*/ 90 w 132"/>
                <a:gd name="T39" fmla="*/ 132 h 165"/>
                <a:gd name="T40" fmla="*/ 111 w 132"/>
                <a:gd name="T41" fmla="*/ 132 h 165"/>
                <a:gd name="T42" fmla="*/ 111 w 132"/>
                <a:gd name="T43" fmla="*/ 132 h 165"/>
                <a:gd name="T44" fmla="*/ 111 w 132"/>
                <a:gd name="T45" fmla="*/ 132 h 165"/>
                <a:gd name="T46" fmla="*/ 128 w 132"/>
                <a:gd name="T47" fmla="*/ 165 h 165"/>
                <a:gd name="T48" fmla="*/ 118 w 132"/>
                <a:gd name="T49" fmla="*/ 165 h 165"/>
                <a:gd name="T50" fmla="*/ 128 w 132"/>
                <a:gd name="T51" fmla="*/ 156 h 165"/>
                <a:gd name="T52" fmla="*/ 132 w 132"/>
                <a:gd name="T53" fmla="*/ 165 h 165"/>
                <a:gd name="T54" fmla="*/ 128 w 132"/>
                <a:gd name="T55" fmla="*/ 165 h 165"/>
                <a:gd name="T56" fmla="*/ 128 w 132"/>
                <a:gd name="T57" fmla="*/ 165 h 165"/>
                <a:gd name="T58" fmla="*/ 128 w 132"/>
                <a:gd name="T59"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2" h="165">
                  <a:moveTo>
                    <a:pt x="5" y="5"/>
                  </a:moveTo>
                  <a:lnTo>
                    <a:pt x="0" y="5"/>
                  </a:lnTo>
                  <a:lnTo>
                    <a:pt x="5" y="0"/>
                  </a:lnTo>
                  <a:lnTo>
                    <a:pt x="5" y="5"/>
                  </a:lnTo>
                  <a:lnTo>
                    <a:pt x="5" y="5"/>
                  </a:lnTo>
                  <a:lnTo>
                    <a:pt x="5" y="5"/>
                  </a:lnTo>
                  <a:close/>
                  <a:moveTo>
                    <a:pt x="21" y="16"/>
                  </a:moveTo>
                  <a:lnTo>
                    <a:pt x="12" y="16"/>
                  </a:lnTo>
                  <a:lnTo>
                    <a:pt x="21" y="16"/>
                  </a:lnTo>
                  <a:lnTo>
                    <a:pt x="21" y="16"/>
                  </a:lnTo>
                  <a:lnTo>
                    <a:pt x="21" y="16"/>
                  </a:lnTo>
                  <a:lnTo>
                    <a:pt x="21" y="16"/>
                  </a:lnTo>
                  <a:close/>
                  <a:moveTo>
                    <a:pt x="111" y="132"/>
                  </a:moveTo>
                  <a:lnTo>
                    <a:pt x="111" y="116"/>
                  </a:lnTo>
                  <a:lnTo>
                    <a:pt x="118" y="132"/>
                  </a:lnTo>
                  <a:lnTo>
                    <a:pt x="132" y="132"/>
                  </a:lnTo>
                  <a:lnTo>
                    <a:pt x="106" y="144"/>
                  </a:lnTo>
                  <a:lnTo>
                    <a:pt x="106" y="156"/>
                  </a:lnTo>
                  <a:lnTo>
                    <a:pt x="97" y="156"/>
                  </a:lnTo>
                  <a:lnTo>
                    <a:pt x="90" y="132"/>
                  </a:lnTo>
                  <a:lnTo>
                    <a:pt x="111" y="132"/>
                  </a:lnTo>
                  <a:lnTo>
                    <a:pt x="111" y="132"/>
                  </a:lnTo>
                  <a:lnTo>
                    <a:pt x="111" y="132"/>
                  </a:lnTo>
                  <a:close/>
                  <a:moveTo>
                    <a:pt x="128" y="165"/>
                  </a:moveTo>
                  <a:lnTo>
                    <a:pt x="118" y="165"/>
                  </a:lnTo>
                  <a:lnTo>
                    <a:pt x="128" y="156"/>
                  </a:lnTo>
                  <a:lnTo>
                    <a:pt x="132" y="165"/>
                  </a:lnTo>
                  <a:lnTo>
                    <a:pt x="128" y="165"/>
                  </a:lnTo>
                  <a:lnTo>
                    <a:pt x="128" y="165"/>
                  </a:lnTo>
                  <a:lnTo>
                    <a:pt x="128" y="16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8" name="Freeform 457">
              <a:extLst>
                <a:ext uri="{FF2B5EF4-FFF2-40B4-BE49-F238E27FC236}">
                  <a16:creationId xmlns:a16="http://schemas.microsoft.com/office/drawing/2014/main" id="{83DD7F63-9908-4198-8A7E-DABE99FBFA70}"/>
                </a:ext>
              </a:extLst>
            </p:cNvPr>
            <p:cNvSpPr>
              <a:spLocks/>
            </p:cNvSpPr>
            <p:nvPr/>
          </p:nvSpPr>
          <p:spPr bwMode="gray">
            <a:xfrm>
              <a:off x="4060672" y="3530655"/>
              <a:ext cx="118561" cy="123515"/>
            </a:xfrm>
            <a:custGeom>
              <a:avLst/>
              <a:gdLst>
                <a:gd name="T0" fmla="*/ 0 w 288"/>
                <a:gd name="T1" fmla="*/ 239 h 300"/>
                <a:gd name="T2" fmla="*/ 17 w 288"/>
                <a:gd name="T3" fmla="*/ 206 h 300"/>
                <a:gd name="T4" fmla="*/ 7 w 288"/>
                <a:gd name="T5" fmla="*/ 189 h 300"/>
                <a:gd name="T6" fmla="*/ 40 w 288"/>
                <a:gd name="T7" fmla="*/ 128 h 300"/>
                <a:gd name="T8" fmla="*/ 132 w 288"/>
                <a:gd name="T9" fmla="*/ 128 h 300"/>
                <a:gd name="T10" fmla="*/ 132 w 288"/>
                <a:gd name="T11" fmla="*/ 104 h 300"/>
                <a:gd name="T12" fmla="*/ 116 w 288"/>
                <a:gd name="T13" fmla="*/ 104 h 300"/>
                <a:gd name="T14" fmla="*/ 109 w 288"/>
                <a:gd name="T15" fmla="*/ 78 h 300"/>
                <a:gd name="T16" fmla="*/ 62 w 288"/>
                <a:gd name="T17" fmla="*/ 38 h 300"/>
                <a:gd name="T18" fmla="*/ 95 w 288"/>
                <a:gd name="T19" fmla="*/ 38 h 300"/>
                <a:gd name="T20" fmla="*/ 95 w 288"/>
                <a:gd name="T21" fmla="*/ 0 h 300"/>
                <a:gd name="T22" fmla="*/ 225 w 288"/>
                <a:gd name="T23" fmla="*/ 0 h 300"/>
                <a:gd name="T24" fmla="*/ 217 w 288"/>
                <a:gd name="T25" fmla="*/ 144 h 300"/>
                <a:gd name="T26" fmla="*/ 241 w 288"/>
                <a:gd name="T27" fmla="*/ 144 h 300"/>
                <a:gd name="T28" fmla="*/ 255 w 288"/>
                <a:gd name="T29" fmla="*/ 161 h 300"/>
                <a:gd name="T30" fmla="*/ 272 w 288"/>
                <a:gd name="T31" fmla="*/ 144 h 300"/>
                <a:gd name="T32" fmla="*/ 262 w 288"/>
                <a:gd name="T33" fmla="*/ 132 h 300"/>
                <a:gd name="T34" fmla="*/ 288 w 288"/>
                <a:gd name="T35" fmla="*/ 161 h 300"/>
                <a:gd name="T36" fmla="*/ 225 w 288"/>
                <a:gd name="T37" fmla="*/ 206 h 300"/>
                <a:gd name="T38" fmla="*/ 217 w 288"/>
                <a:gd name="T39" fmla="*/ 222 h 300"/>
                <a:gd name="T40" fmla="*/ 225 w 288"/>
                <a:gd name="T41" fmla="*/ 234 h 300"/>
                <a:gd name="T42" fmla="*/ 208 w 288"/>
                <a:gd name="T43" fmla="*/ 255 h 300"/>
                <a:gd name="T44" fmla="*/ 196 w 288"/>
                <a:gd name="T45" fmla="*/ 255 h 300"/>
                <a:gd name="T46" fmla="*/ 196 w 288"/>
                <a:gd name="T47" fmla="*/ 260 h 300"/>
                <a:gd name="T48" fmla="*/ 163 w 288"/>
                <a:gd name="T49" fmla="*/ 288 h 300"/>
                <a:gd name="T50" fmla="*/ 154 w 288"/>
                <a:gd name="T51" fmla="*/ 300 h 300"/>
                <a:gd name="T52" fmla="*/ 116 w 288"/>
                <a:gd name="T53" fmla="*/ 288 h 300"/>
                <a:gd name="T54" fmla="*/ 62 w 288"/>
                <a:gd name="T55" fmla="*/ 288 h 300"/>
                <a:gd name="T56" fmla="*/ 0 w 288"/>
                <a:gd name="T57" fmla="*/ 239 h 300"/>
                <a:gd name="T58" fmla="*/ 0 w 288"/>
                <a:gd name="T59" fmla="*/ 239 h 300"/>
                <a:gd name="T60" fmla="*/ 0 w 288"/>
                <a:gd name="T61" fmla="*/ 23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8" h="300">
                  <a:moveTo>
                    <a:pt x="0" y="239"/>
                  </a:moveTo>
                  <a:lnTo>
                    <a:pt x="17" y="206"/>
                  </a:lnTo>
                  <a:lnTo>
                    <a:pt x="7" y="189"/>
                  </a:lnTo>
                  <a:lnTo>
                    <a:pt x="40" y="128"/>
                  </a:lnTo>
                  <a:lnTo>
                    <a:pt x="132" y="128"/>
                  </a:lnTo>
                  <a:lnTo>
                    <a:pt x="132" y="104"/>
                  </a:lnTo>
                  <a:lnTo>
                    <a:pt x="116" y="104"/>
                  </a:lnTo>
                  <a:lnTo>
                    <a:pt x="109" y="78"/>
                  </a:lnTo>
                  <a:lnTo>
                    <a:pt x="62" y="38"/>
                  </a:lnTo>
                  <a:lnTo>
                    <a:pt x="95" y="38"/>
                  </a:lnTo>
                  <a:lnTo>
                    <a:pt x="95" y="0"/>
                  </a:lnTo>
                  <a:lnTo>
                    <a:pt x="225" y="0"/>
                  </a:lnTo>
                  <a:lnTo>
                    <a:pt x="217" y="144"/>
                  </a:lnTo>
                  <a:lnTo>
                    <a:pt x="241" y="144"/>
                  </a:lnTo>
                  <a:lnTo>
                    <a:pt x="255" y="161"/>
                  </a:lnTo>
                  <a:lnTo>
                    <a:pt x="272" y="144"/>
                  </a:lnTo>
                  <a:lnTo>
                    <a:pt x="262" y="132"/>
                  </a:lnTo>
                  <a:lnTo>
                    <a:pt x="288" y="161"/>
                  </a:lnTo>
                  <a:lnTo>
                    <a:pt x="225" y="206"/>
                  </a:lnTo>
                  <a:lnTo>
                    <a:pt x="217" y="222"/>
                  </a:lnTo>
                  <a:lnTo>
                    <a:pt x="225" y="234"/>
                  </a:lnTo>
                  <a:lnTo>
                    <a:pt x="208" y="255"/>
                  </a:lnTo>
                  <a:lnTo>
                    <a:pt x="196" y="255"/>
                  </a:lnTo>
                  <a:lnTo>
                    <a:pt x="196" y="260"/>
                  </a:lnTo>
                  <a:lnTo>
                    <a:pt x="163" y="288"/>
                  </a:lnTo>
                  <a:lnTo>
                    <a:pt x="154" y="300"/>
                  </a:lnTo>
                  <a:lnTo>
                    <a:pt x="116" y="288"/>
                  </a:lnTo>
                  <a:lnTo>
                    <a:pt x="62" y="288"/>
                  </a:lnTo>
                  <a:lnTo>
                    <a:pt x="0" y="239"/>
                  </a:lnTo>
                  <a:lnTo>
                    <a:pt x="0" y="239"/>
                  </a:lnTo>
                  <a:lnTo>
                    <a:pt x="0" y="23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9" name="Freeform 459">
              <a:extLst>
                <a:ext uri="{FF2B5EF4-FFF2-40B4-BE49-F238E27FC236}">
                  <a16:creationId xmlns:a16="http://schemas.microsoft.com/office/drawing/2014/main" id="{5719D885-71AB-4155-B0F1-F38F0CCB9F9C}"/>
                </a:ext>
              </a:extLst>
            </p:cNvPr>
            <p:cNvSpPr>
              <a:spLocks/>
            </p:cNvSpPr>
            <p:nvPr/>
          </p:nvSpPr>
          <p:spPr bwMode="gray">
            <a:xfrm>
              <a:off x="4953584" y="3811857"/>
              <a:ext cx="142849" cy="218622"/>
            </a:xfrm>
            <a:custGeom>
              <a:avLst/>
              <a:gdLst>
                <a:gd name="T0" fmla="*/ 85 w 347"/>
                <a:gd name="T1" fmla="*/ 236 h 531"/>
                <a:gd name="T2" fmla="*/ 47 w 347"/>
                <a:gd name="T3" fmla="*/ 236 h 531"/>
                <a:gd name="T4" fmla="*/ 16 w 347"/>
                <a:gd name="T5" fmla="*/ 165 h 531"/>
                <a:gd name="T6" fmla="*/ 16 w 347"/>
                <a:gd name="T7" fmla="*/ 127 h 531"/>
                <a:gd name="T8" fmla="*/ 80 w 347"/>
                <a:gd name="T9" fmla="*/ 104 h 531"/>
                <a:gd name="T10" fmla="*/ 63 w 347"/>
                <a:gd name="T11" fmla="*/ 104 h 531"/>
                <a:gd name="T12" fmla="*/ 54 w 347"/>
                <a:gd name="T13" fmla="*/ 87 h 531"/>
                <a:gd name="T14" fmla="*/ 63 w 347"/>
                <a:gd name="T15" fmla="*/ 49 h 531"/>
                <a:gd name="T16" fmla="*/ 101 w 347"/>
                <a:gd name="T17" fmla="*/ 21 h 531"/>
                <a:gd name="T18" fmla="*/ 101 w 347"/>
                <a:gd name="T19" fmla="*/ 0 h 531"/>
                <a:gd name="T20" fmla="*/ 118 w 347"/>
                <a:gd name="T21" fmla="*/ 4 h 531"/>
                <a:gd name="T22" fmla="*/ 203 w 347"/>
                <a:gd name="T23" fmla="*/ 87 h 531"/>
                <a:gd name="T24" fmla="*/ 203 w 347"/>
                <a:gd name="T25" fmla="*/ 115 h 531"/>
                <a:gd name="T26" fmla="*/ 207 w 347"/>
                <a:gd name="T27" fmla="*/ 115 h 531"/>
                <a:gd name="T28" fmla="*/ 241 w 347"/>
                <a:gd name="T29" fmla="*/ 127 h 531"/>
                <a:gd name="T30" fmla="*/ 267 w 347"/>
                <a:gd name="T31" fmla="*/ 165 h 531"/>
                <a:gd name="T32" fmla="*/ 293 w 347"/>
                <a:gd name="T33" fmla="*/ 170 h 531"/>
                <a:gd name="T34" fmla="*/ 293 w 347"/>
                <a:gd name="T35" fmla="*/ 219 h 531"/>
                <a:gd name="T36" fmla="*/ 293 w 347"/>
                <a:gd name="T37" fmla="*/ 243 h 531"/>
                <a:gd name="T38" fmla="*/ 283 w 347"/>
                <a:gd name="T39" fmla="*/ 253 h 531"/>
                <a:gd name="T40" fmla="*/ 241 w 347"/>
                <a:gd name="T41" fmla="*/ 271 h 531"/>
                <a:gd name="T42" fmla="*/ 229 w 347"/>
                <a:gd name="T43" fmla="*/ 314 h 531"/>
                <a:gd name="T44" fmla="*/ 262 w 347"/>
                <a:gd name="T45" fmla="*/ 364 h 531"/>
                <a:gd name="T46" fmla="*/ 283 w 347"/>
                <a:gd name="T47" fmla="*/ 371 h 531"/>
                <a:gd name="T48" fmla="*/ 330 w 347"/>
                <a:gd name="T49" fmla="*/ 465 h 531"/>
                <a:gd name="T50" fmla="*/ 321 w 347"/>
                <a:gd name="T51" fmla="*/ 482 h 531"/>
                <a:gd name="T52" fmla="*/ 283 w 347"/>
                <a:gd name="T53" fmla="*/ 475 h 531"/>
                <a:gd name="T54" fmla="*/ 257 w 347"/>
                <a:gd name="T55" fmla="*/ 491 h 531"/>
                <a:gd name="T56" fmla="*/ 241 w 347"/>
                <a:gd name="T57" fmla="*/ 503 h 531"/>
                <a:gd name="T58" fmla="*/ 203 w 347"/>
                <a:gd name="T59" fmla="*/ 503 h 531"/>
                <a:gd name="T60" fmla="*/ 186 w 347"/>
                <a:gd name="T61" fmla="*/ 519 h 531"/>
                <a:gd name="T62" fmla="*/ 170 w 347"/>
                <a:gd name="T63" fmla="*/ 519 h 531"/>
                <a:gd name="T64" fmla="*/ 132 w 347"/>
                <a:gd name="T65" fmla="*/ 491 h 531"/>
                <a:gd name="T66" fmla="*/ 122 w 347"/>
                <a:gd name="T67" fmla="*/ 482 h 531"/>
                <a:gd name="T68" fmla="*/ 118 w 347"/>
                <a:gd name="T69" fmla="*/ 449 h 531"/>
                <a:gd name="T70" fmla="*/ 101 w 347"/>
                <a:gd name="T71" fmla="*/ 420 h 531"/>
                <a:gd name="T72" fmla="*/ 122 w 347"/>
                <a:gd name="T73" fmla="*/ 330 h 531"/>
                <a:gd name="T74" fmla="*/ 118 w 347"/>
                <a:gd name="T75" fmla="*/ 297 h 531"/>
                <a:gd name="T76" fmla="*/ 96 w 347"/>
                <a:gd name="T77" fmla="*/ 276 h 531"/>
                <a:gd name="T78" fmla="*/ 96 w 347"/>
                <a:gd name="T79" fmla="*/ 243 h 531"/>
                <a:gd name="T80" fmla="*/ 96 w 347"/>
                <a:gd name="T81" fmla="*/ 243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7" h="531">
                  <a:moveTo>
                    <a:pt x="96" y="243"/>
                  </a:moveTo>
                  <a:lnTo>
                    <a:pt x="85" y="236"/>
                  </a:lnTo>
                  <a:lnTo>
                    <a:pt x="80" y="236"/>
                  </a:lnTo>
                  <a:lnTo>
                    <a:pt x="47" y="236"/>
                  </a:lnTo>
                  <a:lnTo>
                    <a:pt x="0" y="186"/>
                  </a:lnTo>
                  <a:lnTo>
                    <a:pt x="16" y="165"/>
                  </a:lnTo>
                  <a:lnTo>
                    <a:pt x="16" y="144"/>
                  </a:lnTo>
                  <a:lnTo>
                    <a:pt x="16" y="127"/>
                  </a:lnTo>
                  <a:lnTo>
                    <a:pt x="47" y="127"/>
                  </a:lnTo>
                  <a:lnTo>
                    <a:pt x="80" y="104"/>
                  </a:lnTo>
                  <a:lnTo>
                    <a:pt x="68" y="92"/>
                  </a:lnTo>
                  <a:lnTo>
                    <a:pt x="63" y="104"/>
                  </a:lnTo>
                  <a:lnTo>
                    <a:pt x="54" y="92"/>
                  </a:lnTo>
                  <a:lnTo>
                    <a:pt x="54" y="87"/>
                  </a:lnTo>
                  <a:lnTo>
                    <a:pt x="47" y="71"/>
                  </a:lnTo>
                  <a:lnTo>
                    <a:pt x="63" y="49"/>
                  </a:lnTo>
                  <a:lnTo>
                    <a:pt x="96" y="33"/>
                  </a:lnTo>
                  <a:lnTo>
                    <a:pt x="101" y="21"/>
                  </a:lnTo>
                  <a:lnTo>
                    <a:pt x="106" y="21"/>
                  </a:lnTo>
                  <a:lnTo>
                    <a:pt x="101" y="0"/>
                  </a:lnTo>
                  <a:lnTo>
                    <a:pt x="106" y="4"/>
                  </a:lnTo>
                  <a:lnTo>
                    <a:pt x="118" y="4"/>
                  </a:lnTo>
                  <a:lnTo>
                    <a:pt x="160" y="33"/>
                  </a:lnTo>
                  <a:lnTo>
                    <a:pt x="203" y="87"/>
                  </a:lnTo>
                  <a:lnTo>
                    <a:pt x="203" y="108"/>
                  </a:lnTo>
                  <a:lnTo>
                    <a:pt x="203" y="115"/>
                  </a:lnTo>
                  <a:lnTo>
                    <a:pt x="191" y="149"/>
                  </a:lnTo>
                  <a:lnTo>
                    <a:pt x="207" y="115"/>
                  </a:lnTo>
                  <a:lnTo>
                    <a:pt x="212" y="115"/>
                  </a:lnTo>
                  <a:lnTo>
                    <a:pt x="241" y="127"/>
                  </a:lnTo>
                  <a:lnTo>
                    <a:pt x="262" y="149"/>
                  </a:lnTo>
                  <a:lnTo>
                    <a:pt x="267" y="165"/>
                  </a:lnTo>
                  <a:lnTo>
                    <a:pt x="278" y="160"/>
                  </a:lnTo>
                  <a:lnTo>
                    <a:pt x="293" y="170"/>
                  </a:lnTo>
                  <a:lnTo>
                    <a:pt x="300" y="182"/>
                  </a:lnTo>
                  <a:lnTo>
                    <a:pt x="293" y="219"/>
                  </a:lnTo>
                  <a:lnTo>
                    <a:pt x="283" y="227"/>
                  </a:lnTo>
                  <a:lnTo>
                    <a:pt x="293" y="243"/>
                  </a:lnTo>
                  <a:lnTo>
                    <a:pt x="283" y="243"/>
                  </a:lnTo>
                  <a:lnTo>
                    <a:pt x="283" y="253"/>
                  </a:lnTo>
                  <a:lnTo>
                    <a:pt x="262" y="253"/>
                  </a:lnTo>
                  <a:lnTo>
                    <a:pt x="241" y="271"/>
                  </a:lnTo>
                  <a:lnTo>
                    <a:pt x="245" y="276"/>
                  </a:lnTo>
                  <a:lnTo>
                    <a:pt x="229" y="314"/>
                  </a:lnTo>
                  <a:lnTo>
                    <a:pt x="229" y="326"/>
                  </a:lnTo>
                  <a:lnTo>
                    <a:pt x="262" y="364"/>
                  </a:lnTo>
                  <a:lnTo>
                    <a:pt x="262" y="371"/>
                  </a:lnTo>
                  <a:lnTo>
                    <a:pt x="283" y="371"/>
                  </a:lnTo>
                  <a:lnTo>
                    <a:pt x="293" y="408"/>
                  </a:lnTo>
                  <a:lnTo>
                    <a:pt x="330" y="465"/>
                  </a:lnTo>
                  <a:lnTo>
                    <a:pt x="347" y="475"/>
                  </a:lnTo>
                  <a:lnTo>
                    <a:pt x="321" y="482"/>
                  </a:lnTo>
                  <a:lnTo>
                    <a:pt x="300" y="465"/>
                  </a:lnTo>
                  <a:lnTo>
                    <a:pt x="283" y="475"/>
                  </a:lnTo>
                  <a:lnTo>
                    <a:pt x="267" y="491"/>
                  </a:lnTo>
                  <a:lnTo>
                    <a:pt x="257" y="491"/>
                  </a:lnTo>
                  <a:lnTo>
                    <a:pt x="241" y="498"/>
                  </a:lnTo>
                  <a:lnTo>
                    <a:pt x="241" y="503"/>
                  </a:lnTo>
                  <a:lnTo>
                    <a:pt x="212" y="498"/>
                  </a:lnTo>
                  <a:lnTo>
                    <a:pt x="203" y="503"/>
                  </a:lnTo>
                  <a:lnTo>
                    <a:pt x="203" y="519"/>
                  </a:lnTo>
                  <a:lnTo>
                    <a:pt x="186" y="519"/>
                  </a:lnTo>
                  <a:lnTo>
                    <a:pt x="177" y="531"/>
                  </a:lnTo>
                  <a:lnTo>
                    <a:pt x="170" y="519"/>
                  </a:lnTo>
                  <a:lnTo>
                    <a:pt x="148" y="515"/>
                  </a:lnTo>
                  <a:lnTo>
                    <a:pt x="132" y="491"/>
                  </a:lnTo>
                  <a:lnTo>
                    <a:pt x="122" y="491"/>
                  </a:lnTo>
                  <a:lnTo>
                    <a:pt x="122" y="482"/>
                  </a:lnTo>
                  <a:lnTo>
                    <a:pt x="118" y="482"/>
                  </a:lnTo>
                  <a:lnTo>
                    <a:pt x="118" y="449"/>
                  </a:lnTo>
                  <a:lnTo>
                    <a:pt x="106" y="441"/>
                  </a:lnTo>
                  <a:lnTo>
                    <a:pt x="101" y="420"/>
                  </a:lnTo>
                  <a:lnTo>
                    <a:pt x="106" y="364"/>
                  </a:lnTo>
                  <a:lnTo>
                    <a:pt x="122" y="330"/>
                  </a:lnTo>
                  <a:lnTo>
                    <a:pt x="118" y="309"/>
                  </a:lnTo>
                  <a:lnTo>
                    <a:pt x="118" y="297"/>
                  </a:lnTo>
                  <a:lnTo>
                    <a:pt x="85" y="293"/>
                  </a:lnTo>
                  <a:lnTo>
                    <a:pt x="96" y="276"/>
                  </a:lnTo>
                  <a:lnTo>
                    <a:pt x="101" y="253"/>
                  </a:lnTo>
                  <a:lnTo>
                    <a:pt x="96" y="243"/>
                  </a:lnTo>
                  <a:lnTo>
                    <a:pt x="96" y="243"/>
                  </a:lnTo>
                  <a:lnTo>
                    <a:pt x="96" y="24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0" name="Freeform 461">
              <a:extLst>
                <a:ext uri="{FF2B5EF4-FFF2-40B4-BE49-F238E27FC236}">
                  <a16:creationId xmlns:a16="http://schemas.microsoft.com/office/drawing/2014/main" id="{08259E9D-CA80-4A79-8B4D-1556E7833166}"/>
                </a:ext>
              </a:extLst>
            </p:cNvPr>
            <p:cNvSpPr>
              <a:spLocks noEditPoints="1"/>
            </p:cNvSpPr>
            <p:nvPr/>
          </p:nvSpPr>
          <p:spPr bwMode="gray">
            <a:xfrm>
              <a:off x="4575260" y="3463545"/>
              <a:ext cx="81511" cy="61346"/>
            </a:xfrm>
            <a:custGeom>
              <a:avLst/>
              <a:gdLst>
                <a:gd name="T0" fmla="*/ 134 w 198"/>
                <a:gd name="T1" fmla="*/ 10 h 149"/>
                <a:gd name="T2" fmla="*/ 106 w 198"/>
                <a:gd name="T3" fmla="*/ 0 h 149"/>
                <a:gd name="T4" fmla="*/ 118 w 198"/>
                <a:gd name="T5" fmla="*/ 0 h 149"/>
                <a:gd name="T6" fmla="*/ 134 w 198"/>
                <a:gd name="T7" fmla="*/ 10 h 149"/>
                <a:gd name="T8" fmla="*/ 134 w 198"/>
                <a:gd name="T9" fmla="*/ 10 h 149"/>
                <a:gd name="T10" fmla="*/ 134 w 198"/>
                <a:gd name="T11" fmla="*/ 10 h 149"/>
                <a:gd name="T12" fmla="*/ 191 w 198"/>
                <a:gd name="T13" fmla="*/ 21 h 149"/>
                <a:gd name="T14" fmla="*/ 191 w 198"/>
                <a:gd name="T15" fmla="*/ 38 h 149"/>
                <a:gd name="T16" fmla="*/ 191 w 198"/>
                <a:gd name="T17" fmla="*/ 54 h 149"/>
                <a:gd name="T18" fmla="*/ 198 w 198"/>
                <a:gd name="T19" fmla="*/ 66 h 149"/>
                <a:gd name="T20" fmla="*/ 186 w 198"/>
                <a:gd name="T21" fmla="*/ 78 h 149"/>
                <a:gd name="T22" fmla="*/ 191 w 198"/>
                <a:gd name="T23" fmla="*/ 95 h 149"/>
                <a:gd name="T24" fmla="*/ 186 w 198"/>
                <a:gd name="T25" fmla="*/ 104 h 149"/>
                <a:gd name="T26" fmla="*/ 170 w 198"/>
                <a:gd name="T27" fmla="*/ 111 h 149"/>
                <a:gd name="T28" fmla="*/ 177 w 198"/>
                <a:gd name="T29" fmla="*/ 121 h 149"/>
                <a:gd name="T30" fmla="*/ 191 w 198"/>
                <a:gd name="T31" fmla="*/ 128 h 149"/>
                <a:gd name="T32" fmla="*/ 191 w 198"/>
                <a:gd name="T33" fmla="*/ 149 h 149"/>
                <a:gd name="T34" fmla="*/ 170 w 198"/>
                <a:gd name="T35" fmla="*/ 132 h 149"/>
                <a:gd name="T36" fmla="*/ 118 w 198"/>
                <a:gd name="T37" fmla="*/ 144 h 149"/>
                <a:gd name="T38" fmla="*/ 80 w 198"/>
                <a:gd name="T39" fmla="*/ 132 h 149"/>
                <a:gd name="T40" fmla="*/ 47 w 198"/>
                <a:gd name="T41" fmla="*/ 144 h 149"/>
                <a:gd name="T42" fmla="*/ 47 w 198"/>
                <a:gd name="T43" fmla="*/ 149 h 149"/>
                <a:gd name="T44" fmla="*/ 38 w 198"/>
                <a:gd name="T45" fmla="*/ 149 h 149"/>
                <a:gd name="T46" fmla="*/ 26 w 198"/>
                <a:gd name="T47" fmla="*/ 132 h 149"/>
                <a:gd name="T48" fmla="*/ 0 w 198"/>
                <a:gd name="T49" fmla="*/ 128 h 149"/>
                <a:gd name="T50" fmla="*/ 0 w 198"/>
                <a:gd name="T51" fmla="*/ 121 h 149"/>
                <a:gd name="T52" fmla="*/ 0 w 198"/>
                <a:gd name="T53" fmla="*/ 104 h 149"/>
                <a:gd name="T54" fmla="*/ 16 w 198"/>
                <a:gd name="T55" fmla="*/ 104 h 149"/>
                <a:gd name="T56" fmla="*/ 47 w 198"/>
                <a:gd name="T57" fmla="*/ 111 h 149"/>
                <a:gd name="T58" fmla="*/ 63 w 198"/>
                <a:gd name="T59" fmla="*/ 111 h 149"/>
                <a:gd name="T60" fmla="*/ 54 w 198"/>
                <a:gd name="T61" fmla="*/ 111 h 149"/>
                <a:gd name="T62" fmla="*/ 54 w 198"/>
                <a:gd name="T63" fmla="*/ 121 h 149"/>
                <a:gd name="T64" fmla="*/ 123 w 198"/>
                <a:gd name="T65" fmla="*/ 121 h 149"/>
                <a:gd name="T66" fmla="*/ 134 w 198"/>
                <a:gd name="T67" fmla="*/ 111 h 149"/>
                <a:gd name="T68" fmla="*/ 144 w 198"/>
                <a:gd name="T69" fmla="*/ 111 h 149"/>
                <a:gd name="T70" fmla="*/ 144 w 198"/>
                <a:gd name="T71" fmla="*/ 104 h 149"/>
                <a:gd name="T72" fmla="*/ 118 w 198"/>
                <a:gd name="T73" fmla="*/ 71 h 149"/>
                <a:gd name="T74" fmla="*/ 123 w 198"/>
                <a:gd name="T75" fmla="*/ 50 h 149"/>
                <a:gd name="T76" fmla="*/ 92 w 198"/>
                <a:gd name="T77" fmla="*/ 33 h 149"/>
                <a:gd name="T78" fmla="*/ 80 w 198"/>
                <a:gd name="T79" fmla="*/ 33 h 149"/>
                <a:gd name="T80" fmla="*/ 80 w 198"/>
                <a:gd name="T81" fmla="*/ 17 h 149"/>
                <a:gd name="T82" fmla="*/ 118 w 198"/>
                <a:gd name="T83" fmla="*/ 10 h 149"/>
                <a:gd name="T84" fmla="*/ 156 w 198"/>
                <a:gd name="T85" fmla="*/ 21 h 149"/>
                <a:gd name="T86" fmla="*/ 191 w 198"/>
                <a:gd name="T87" fmla="*/ 21 h 149"/>
                <a:gd name="T88" fmla="*/ 191 w 198"/>
                <a:gd name="T89" fmla="*/ 21 h 149"/>
                <a:gd name="T90" fmla="*/ 191 w 198"/>
                <a:gd name="T91" fmla="*/ 21 h 149"/>
                <a:gd name="T92" fmla="*/ 118 w 198"/>
                <a:gd name="T93" fmla="*/ 104 h 149"/>
                <a:gd name="T94" fmla="*/ 85 w 198"/>
                <a:gd name="T95" fmla="*/ 88 h 149"/>
                <a:gd name="T96" fmla="*/ 92 w 198"/>
                <a:gd name="T97" fmla="*/ 78 h 149"/>
                <a:gd name="T98" fmla="*/ 118 w 198"/>
                <a:gd name="T99" fmla="*/ 88 h 149"/>
                <a:gd name="T100" fmla="*/ 118 w 198"/>
                <a:gd name="T101" fmla="*/ 104 h 149"/>
                <a:gd name="T102" fmla="*/ 118 w 198"/>
                <a:gd name="T103" fmla="*/ 104 h 149"/>
                <a:gd name="T104" fmla="*/ 118 w 198"/>
                <a:gd name="T105" fmla="*/ 104 h 149"/>
                <a:gd name="T106" fmla="*/ 54 w 198"/>
                <a:gd name="T107" fmla="*/ 111 h 149"/>
                <a:gd name="T108" fmla="*/ 47 w 198"/>
                <a:gd name="T109" fmla="*/ 104 h 149"/>
                <a:gd name="T110" fmla="*/ 54 w 198"/>
                <a:gd name="T111" fmla="*/ 104 h 149"/>
                <a:gd name="T112" fmla="*/ 54 w 198"/>
                <a:gd name="T113" fmla="*/ 111 h 149"/>
                <a:gd name="T114" fmla="*/ 54 w 198"/>
                <a:gd name="T115" fmla="*/ 111 h 149"/>
                <a:gd name="T116" fmla="*/ 54 w 198"/>
                <a:gd name="T117" fmla="*/ 11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 h="149">
                  <a:moveTo>
                    <a:pt x="134" y="10"/>
                  </a:moveTo>
                  <a:lnTo>
                    <a:pt x="106" y="0"/>
                  </a:lnTo>
                  <a:lnTo>
                    <a:pt x="118" y="0"/>
                  </a:lnTo>
                  <a:lnTo>
                    <a:pt x="134" y="10"/>
                  </a:lnTo>
                  <a:lnTo>
                    <a:pt x="134" y="10"/>
                  </a:lnTo>
                  <a:lnTo>
                    <a:pt x="134" y="10"/>
                  </a:lnTo>
                  <a:close/>
                  <a:moveTo>
                    <a:pt x="191" y="21"/>
                  </a:moveTo>
                  <a:lnTo>
                    <a:pt x="191" y="38"/>
                  </a:lnTo>
                  <a:lnTo>
                    <a:pt x="191" y="54"/>
                  </a:lnTo>
                  <a:lnTo>
                    <a:pt x="198" y="66"/>
                  </a:lnTo>
                  <a:lnTo>
                    <a:pt x="186" y="78"/>
                  </a:lnTo>
                  <a:lnTo>
                    <a:pt x="191" y="95"/>
                  </a:lnTo>
                  <a:lnTo>
                    <a:pt x="186" y="104"/>
                  </a:lnTo>
                  <a:lnTo>
                    <a:pt x="170" y="111"/>
                  </a:lnTo>
                  <a:lnTo>
                    <a:pt x="177" y="121"/>
                  </a:lnTo>
                  <a:lnTo>
                    <a:pt x="191" y="128"/>
                  </a:lnTo>
                  <a:lnTo>
                    <a:pt x="191" y="149"/>
                  </a:lnTo>
                  <a:lnTo>
                    <a:pt x="170" y="132"/>
                  </a:lnTo>
                  <a:lnTo>
                    <a:pt x="118" y="144"/>
                  </a:lnTo>
                  <a:lnTo>
                    <a:pt x="80" y="132"/>
                  </a:lnTo>
                  <a:lnTo>
                    <a:pt x="47" y="144"/>
                  </a:lnTo>
                  <a:lnTo>
                    <a:pt x="47" y="149"/>
                  </a:lnTo>
                  <a:lnTo>
                    <a:pt x="38" y="149"/>
                  </a:lnTo>
                  <a:lnTo>
                    <a:pt x="26" y="132"/>
                  </a:lnTo>
                  <a:lnTo>
                    <a:pt x="0" y="128"/>
                  </a:lnTo>
                  <a:lnTo>
                    <a:pt x="0" y="121"/>
                  </a:lnTo>
                  <a:lnTo>
                    <a:pt x="0" y="104"/>
                  </a:lnTo>
                  <a:lnTo>
                    <a:pt x="16" y="104"/>
                  </a:lnTo>
                  <a:lnTo>
                    <a:pt x="47" y="111"/>
                  </a:lnTo>
                  <a:lnTo>
                    <a:pt x="63" y="111"/>
                  </a:lnTo>
                  <a:lnTo>
                    <a:pt x="54" y="111"/>
                  </a:lnTo>
                  <a:lnTo>
                    <a:pt x="54" y="121"/>
                  </a:lnTo>
                  <a:lnTo>
                    <a:pt x="123" y="121"/>
                  </a:lnTo>
                  <a:lnTo>
                    <a:pt x="134" y="111"/>
                  </a:lnTo>
                  <a:lnTo>
                    <a:pt x="144" y="111"/>
                  </a:lnTo>
                  <a:lnTo>
                    <a:pt x="144" y="104"/>
                  </a:lnTo>
                  <a:lnTo>
                    <a:pt x="118" y="71"/>
                  </a:lnTo>
                  <a:lnTo>
                    <a:pt x="123" y="50"/>
                  </a:lnTo>
                  <a:lnTo>
                    <a:pt x="92" y="33"/>
                  </a:lnTo>
                  <a:lnTo>
                    <a:pt x="80" y="33"/>
                  </a:lnTo>
                  <a:lnTo>
                    <a:pt x="80" y="17"/>
                  </a:lnTo>
                  <a:lnTo>
                    <a:pt x="118" y="10"/>
                  </a:lnTo>
                  <a:lnTo>
                    <a:pt x="156" y="21"/>
                  </a:lnTo>
                  <a:lnTo>
                    <a:pt x="191" y="21"/>
                  </a:lnTo>
                  <a:lnTo>
                    <a:pt x="191" y="21"/>
                  </a:lnTo>
                  <a:lnTo>
                    <a:pt x="191" y="21"/>
                  </a:lnTo>
                  <a:close/>
                  <a:moveTo>
                    <a:pt x="118" y="104"/>
                  </a:moveTo>
                  <a:lnTo>
                    <a:pt x="85" y="88"/>
                  </a:lnTo>
                  <a:lnTo>
                    <a:pt x="92" y="78"/>
                  </a:lnTo>
                  <a:lnTo>
                    <a:pt x="118" y="88"/>
                  </a:lnTo>
                  <a:lnTo>
                    <a:pt x="118" y="104"/>
                  </a:lnTo>
                  <a:lnTo>
                    <a:pt x="118" y="104"/>
                  </a:lnTo>
                  <a:lnTo>
                    <a:pt x="118" y="104"/>
                  </a:lnTo>
                  <a:close/>
                  <a:moveTo>
                    <a:pt x="54" y="111"/>
                  </a:moveTo>
                  <a:lnTo>
                    <a:pt x="47" y="104"/>
                  </a:lnTo>
                  <a:lnTo>
                    <a:pt x="54" y="104"/>
                  </a:lnTo>
                  <a:lnTo>
                    <a:pt x="54" y="111"/>
                  </a:lnTo>
                  <a:lnTo>
                    <a:pt x="54" y="111"/>
                  </a:lnTo>
                  <a:lnTo>
                    <a:pt x="54" y="11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1" name="Freeform 463">
              <a:extLst>
                <a:ext uri="{FF2B5EF4-FFF2-40B4-BE49-F238E27FC236}">
                  <a16:creationId xmlns:a16="http://schemas.microsoft.com/office/drawing/2014/main" id="{D5D398AC-BE10-4807-AF2B-FC5B2D414857}"/>
                </a:ext>
              </a:extLst>
            </p:cNvPr>
            <p:cNvSpPr>
              <a:spLocks noEditPoints="1"/>
            </p:cNvSpPr>
            <p:nvPr/>
          </p:nvSpPr>
          <p:spPr bwMode="gray">
            <a:xfrm>
              <a:off x="4146299" y="3574296"/>
              <a:ext cx="177842" cy="102106"/>
            </a:xfrm>
            <a:custGeom>
              <a:avLst/>
              <a:gdLst>
                <a:gd name="T0" fmla="*/ 206 w 432"/>
                <a:gd name="T1" fmla="*/ 0 h 248"/>
                <a:gd name="T2" fmla="*/ 189 w 432"/>
                <a:gd name="T3" fmla="*/ 5 h 248"/>
                <a:gd name="T4" fmla="*/ 189 w 432"/>
                <a:gd name="T5" fmla="*/ 5 h 248"/>
                <a:gd name="T6" fmla="*/ 43 w 432"/>
                <a:gd name="T7" fmla="*/ 166 h 248"/>
                <a:gd name="T8" fmla="*/ 26 w 432"/>
                <a:gd name="T9" fmla="*/ 149 h 248"/>
                <a:gd name="T10" fmla="*/ 17 w 432"/>
                <a:gd name="T11" fmla="*/ 128 h 248"/>
                <a:gd name="T12" fmla="*/ 17 w 432"/>
                <a:gd name="T13" fmla="*/ 100 h 248"/>
                <a:gd name="T14" fmla="*/ 85 w 432"/>
                <a:gd name="T15" fmla="*/ 57 h 248"/>
                <a:gd name="T16" fmla="*/ 135 w 432"/>
                <a:gd name="T17" fmla="*/ 45 h 248"/>
                <a:gd name="T18" fmla="*/ 210 w 432"/>
                <a:gd name="T19" fmla="*/ 45 h 248"/>
                <a:gd name="T20" fmla="*/ 243 w 432"/>
                <a:gd name="T21" fmla="*/ 29 h 248"/>
                <a:gd name="T22" fmla="*/ 269 w 432"/>
                <a:gd name="T23" fmla="*/ 38 h 248"/>
                <a:gd name="T24" fmla="*/ 324 w 432"/>
                <a:gd name="T25" fmla="*/ 38 h 248"/>
                <a:gd name="T26" fmla="*/ 340 w 432"/>
                <a:gd name="T27" fmla="*/ 45 h 248"/>
                <a:gd name="T28" fmla="*/ 357 w 432"/>
                <a:gd name="T29" fmla="*/ 45 h 248"/>
                <a:gd name="T30" fmla="*/ 357 w 432"/>
                <a:gd name="T31" fmla="*/ 62 h 248"/>
                <a:gd name="T32" fmla="*/ 390 w 432"/>
                <a:gd name="T33" fmla="*/ 83 h 248"/>
                <a:gd name="T34" fmla="*/ 378 w 432"/>
                <a:gd name="T35" fmla="*/ 74 h 248"/>
                <a:gd name="T36" fmla="*/ 411 w 432"/>
                <a:gd name="T37" fmla="*/ 83 h 248"/>
                <a:gd name="T38" fmla="*/ 406 w 432"/>
                <a:gd name="T39" fmla="*/ 95 h 248"/>
                <a:gd name="T40" fmla="*/ 406 w 432"/>
                <a:gd name="T41" fmla="*/ 78 h 248"/>
                <a:gd name="T42" fmla="*/ 428 w 432"/>
                <a:gd name="T43" fmla="*/ 100 h 248"/>
                <a:gd name="T44" fmla="*/ 411 w 432"/>
                <a:gd name="T45" fmla="*/ 100 h 248"/>
                <a:gd name="T46" fmla="*/ 340 w 432"/>
                <a:gd name="T47" fmla="*/ 133 h 248"/>
                <a:gd name="T48" fmla="*/ 298 w 432"/>
                <a:gd name="T49" fmla="*/ 149 h 248"/>
                <a:gd name="T50" fmla="*/ 260 w 432"/>
                <a:gd name="T51" fmla="*/ 182 h 248"/>
                <a:gd name="T52" fmla="*/ 231 w 432"/>
                <a:gd name="T53" fmla="*/ 173 h 248"/>
                <a:gd name="T54" fmla="*/ 177 w 432"/>
                <a:gd name="T55" fmla="*/ 194 h 248"/>
                <a:gd name="T56" fmla="*/ 172 w 432"/>
                <a:gd name="T57" fmla="*/ 239 h 248"/>
                <a:gd name="T58" fmla="*/ 139 w 432"/>
                <a:gd name="T59" fmla="*/ 248 h 248"/>
                <a:gd name="T60" fmla="*/ 135 w 432"/>
                <a:gd name="T61" fmla="*/ 222 h 248"/>
                <a:gd name="T62" fmla="*/ 118 w 432"/>
                <a:gd name="T63" fmla="*/ 222 h 248"/>
                <a:gd name="T64" fmla="*/ 109 w 432"/>
                <a:gd name="T65" fmla="*/ 222 h 248"/>
                <a:gd name="T66" fmla="*/ 109 w 432"/>
                <a:gd name="T67" fmla="*/ 211 h 248"/>
                <a:gd name="T68" fmla="*/ 109 w 432"/>
                <a:gd name="T69" fmla="*/ 182 h 248"/>
                <a:gd name="T70" fmla="*/ 85 w 432"/>
                <a:gd name="T71" fmla="*/ 182 h 248"/>
                <a:gd name="T72" fmla="*/ 54 w 432"/>
                <a:gd name="T73" fmla="*/ 182 h 248"/>
                <a:gd name="T74" fmla="*/ 54 w 432"/>
                <a:gd name="T75" fmla="*/ 182 h 248"/>
                <a:gd name="T76" fmla="*/ 118 w 432"/>
                <a:gd name="T77" fmla="*/ 222 h 248"/>
                <a:gd name="T78" fmla="*/ 123 w 432"/>
                <a:gd name="T79" fmla="*/ 227 h 248"/>
                <a:gd name="T80" fmla="*/ 123 w 432"/>
                <a:gd name="T81" fmla="*/ 2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2" h="248">
                  <a:moveTo>
                    <a:pt x="189" y="5"/>
                  </a:moveTo>
                  <a:lnTo>
                    <a:pt x="206" y="0"/>
                  </a:lnTo>
                  <a:lnTo>
                    <a:pt x="215" y="0"/>
                  </a:lnTo>
                  <a:lnTo>
                    <a:pt x="189" y="5"/>
                  </a:lnTo>
                  <a:lnTo>
                    <a:pt x="189" y="5"/>
                  </a:lnTo>
                  <a:lnTo>
                    <a:pt x="189" y="5"/>
                  </a:lnTo>
                  <a:close/>
                  <a:moveTo>
                    <a:pt x="54" y="182"/>
                  </a:moveTo>
                  <a:lnTo>
                    <a:pt x="43" y="166"/>
                  </a:lnTo>
                  <a:lnTo>
                    <a:pt x="43" y="173"/>
                  </a:lnTo>
                  <a:lnTo>
                    <a:pt x="26" y="149"/>
                  </a:lnTo>
                  <a:lnTo>
                    <a:pt x="0" y="149"/>
                  </a:lnTo>
                  <a:lnTo>
                    <a:pt x="17" y="128"/>
                  </a:lnTo>
                  <a:lnTo>
                    <a:pt x="9" y="116"/>
                  </a:lnTo>
                  <a:lnTo>
                    <a:pt x="17" y="100"/>
                  </a:lnTo>
                  <a:lnTo>
                    <a:pt x="80" y="57"/>
                  </a:lnTo>
                  <a:lnTo>
                    <a:pt x="85" y="57"/>
                  </a:lnTo>
                  <a:lnTo>
                    <a:pt x="118" y="38"/>
                  </a:lnTo>
                  <a:lnTo>
                    <a:pt x="135" y="45"/>
                  </a:lnTo>
                  <a:lnTo>
                    <a:pt x="139" y="38"/>
                  </a:lnTo>
                  <a:lnTo>
                    <a:pt x="210" y="45"/>
                  </a:lnTo>
                  <a:lnTo>
                    <a:pt x="243" y="38"/>
                  </a:lnTo>
                  <a:lnTo>
                    <a:pt x="243" y="29"/>
                  </a:lnTo>
                  <a:lnTo>
                    <a:pt x="231" y="29"/>
                  </a:lnTo>
                  <a:lnTo>
                    <a:pt x="269" y="38"/>
                  </a:lnTo>
                  <a:lnTo>
                    <a:pt x="302" y="29"/>
                  </a:lnTo>
                  <a:lnTo>
                    <a:pt x="324" y="38"/>
                  </a:lnTo>
                  <a:lnTo>
                    <a:pt x="335" y="45"/>
                  </a:lnTo>
                  <a:lnTo>
                    <a:pt x="340" y="45"/>
                  </a:lnTo>
                  <a:lnTo>
                    <a:pt x="340" y="38"/>
                  </a:lnTo>
                  <a:lnTo>
                    <a:pt x="357" y="45"/>
                  </a:lnTo>
                  <a:lnTo>
                    <a:pt x="390" y="74"/>
                  </a:lnTo>
                  <a:lnTo>
                    <a:pt x="357" y="62"/>
                  </a:lnTo>
                  <a:lnTo>
                    <a:pt x="373" y="78"/>
                  </a:lnTo>
                  <a:lnTo>
                    <a:pt x="390" y="83"/>
                  </a:lnTo>
                  <a:lnTo>
                    <a:pt x="373" y="78"/>
                  </a:lnTo>
                  <a:lnTo>
                    <a:pt x="378" y="74"/>
                  </a:lnTo>
                  <a:lnTo>
                    <a:pt x="394" y="83"/>
                  </a:lnTo>
                  <a:lnTo>
                    <a:pt x="411" y="83"/>
                  </a:lnTo>
                  <a:lnTo>
                    <a:pt x="406" y="83"/>
                  </a:lnTo>
                  <a:lnTo>
                    <a:pt x="406" y="95"/>
                  </a:lnTo>
                  <a:lnTo>
                    <a:pt x="411" y="83"/>
                  </a:lnTo>
                  <a:lnTo>
                    <a:pt x="406" y="78"/>
                  </a:lnTo>
                  <a:lnTo>
                    <a:pt x="423" y="83"/>
                  </a:lnTo>
                  <a:lnTo>
                    <a:pt x="428" y="100"/>
                  </a:lnTo>
                  <a:lnTo>
                    <a:pt x="432" y="100"/>
                  </a:lnTo>
                  <a:lnTo>
                    <a:pt x="411" y="100"/>
                  </a:lnTo>
                  <a:lnTo>
                    <a:pt x="390" y="116"/>
                  </a:lnTo>
                  <a:lnTo>
                    <a:pt x="340" y="133"/>
                  </a:lnTo>
                  <a:lnTo>
                    <a:pt x="314" y="116"/>
                  </a:lnTo>
                  <a:lnTo>
                    <a:pt x="298" y="149"/>
                  </a:lnTo>
                  <a:lnTo>
                    <a:pt x="298" y="149"/>
                  </a:lnTo>
                  <a:lnTo>
                    <a:pt x="260" y="182"/>
                  </a:lnTo>
                  <a:lnTo>
                    <a:pt x="260" y="189"/>
                  </a:lnTo>
                  <a:lnTo>
                    <a:pt x="231" y="173"/>
                  </a:lnTo>
                  <a:lnTo>
                    <a:pt x="210" y="194"/>
                  </a:lnTo>
                  <a:lnTo>
                    <a:pt x="177" y="194"/>
                  </a:lnTo>
                  <a:lnTo>
                    <a:pt x="189" y="227"/>
                  </a:lnTo>
                  <a:lnTo>
                    <a:pt x="172" y="239"/>
                  </a:lnTo>
                  <a:lnTo>
                    <a:pt x="161" y="248"/>
                  </a:lnTo>
                  <a:lnTo>
                    <a:pt x="139" y="248"/>
                  </a:lnTo>
                  <a:lnTo>
                    <a:pt x="123" y="227"/>
                  </a:lnTo>
                  <a:lnTo>
                    <a:pt x="135" y="222"/>
                  </a:lnTo>
                  <a:lnTo>
                    <a:pt x="123" y="227"/>
                  </a:lnTo>
                  <a:lnTo>
                    <a:pt x="118" y="222"/>
                  </a:lnTo>
                  <a:lnTo>
                    <a:pt x="118" y="222"/>
                  </a:lnTo>
                  <a:lnTo>
                    <a:pt x="109" y="222"/>
                  </a:lnTo>
                  <a:lnTo>
                    <a:pt x="118" y="211"/>
                  </a:lnTo>
                  <a:lnTo>
                    <a:pt x="109" y="211"/>
                  </a:lnTo>
                  <a:lnTo>
                    <a:pt x="118" y="189"/>
                  </a:lnTo>
                  <a:lnTo>
                    <a:pt x="109" y="182"/>
                  </a:lnTo>
                  <a:lnTo>
                    <a:pt x="97" y="189"/>
                  </a:lnTo>
                  <a:lnTo>
                    <a:pt x="85" y="182"/>
                  </a:lnTo>
                  <a:lnTo>
                    <a:pt x="64" y="189"/>
                  </a:lnTo>
                  <a:lnTo>
                    <a:pt x="54" y="182"/>
                  </a:lnTo>
                  <a:lnTo>
                    <a:pt x="54" y="182"/>
                  </a:lnTo>
                  <a:lnTo>
                    <a:pt x="54" y="182"/>
                  </a:lnTo>
                  <a:close/>
                  <a:moveTo>
                    <a:pt x="123" y="227"/>
                  </a:moveTo>
                  <a:lnTo>
                    <a:pt x="118" y="222"/>
                  </a:lnTo>
                  <a:lnTo>
                    <a:pt x="123" y="222"/>
                  </a:lnTo>
                  <a:lnTo>
                    <a:pt x="123" y="227"/>
                  </a:lnTo>
                  <a:lnTo>
                    <a:pt x="123" y="227"/>
                  </a:lnTo>
                  <a:lnTo>
                    <a:pt x="123" y="22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2" name="Freeform 500">
              <a:extLst>
                <a:ext uri="{FF2B5EF4-FFF2-40B4-BE49-F238E27FC236}">
                  <a16:creationId xmlns:a16="http://schemas.microsoft.com/office/drawing/2014/main" id="{F506D3F6-2C68-4C77-9A1E-20BC8F5202E7}"/>
                </a:ext>
              </a:extLst>
            </p:cNvPr>
            <p:cNvSpPr>
              <a:spLocks/>
            </p:cNvSpPr>
            <p:nvPr/>
          </p:nvSpPr>
          <p:spPr bwMode="gray">
            <a:xfrm>
              <a:off x="4957289" y="3619997"/>
              <a:ext cx="13585" cy="16880"/>
            </a:xfrm>
            <a:custGeom>
              <a:avLst/>
              <a:gdLst>
                <a:gd name="T0" fmla="*/ 33 w 33"/>
                <a:gd name="T1" fmla="*/ 41 h 41"/>
                <a:gd name="T2" fmla="*/ 17 w 33"/>
                <a:gd name="T3" fmla="*/ 29 h 41"/>
                <a:gd name="T4" fmla="*/ 0 w 33"/>
                <a:gd name="T5" fmla="*/ 7 h 41"/>
                <a:gd name="T6" fmla="*/ 5 w 33"/>
                <a:gd name="T7" fmla="*/ 0 h 41"/>
                <a:gd name="T8" fmla="*/ 21 w 33"/>
                <a:gd name="T9" fmla="*/ 17 h 41"/>
                <a:gd name="T10" fmla="*/ 33 w 33"/>
                <a:gd name="T11" fmla="*/ 24 h 41"/>
                <a:gd name="T12" fmla="*/ 33 w 33"/>
                <a:gd name="T13" fmla="*/ 41 h 41"/>
                <a:gd name="T14" fmla="*/ 33 w 33"/>
                <a:gd name="T15" fmla="*/ 41 h 41"/>
                <a:gd name="T16" fmla="*/ 33 w 33"/>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1">
                  <a:moveTo>
                    <a:pt x="33" y="41"/>
                  </a:moveTo>
                  <a:lnTo>
                    <a:pt x="17" y="29"/>
                  </a:lnTo>
                  <a:lnTo>
                    <a:pt x="0" y="7"/>
                  </a:lnTo>
                  <a:lnTo>
                    <a:pt x="5" y="0"/>
                  </a:lnTo>
                  <a:lnTo>
                    <a:pt x="21" y="17"/>
                  </a:lnTo>
                  <a:lnTo>
                    <a:pt x="33" y="24"/>
                  </a:lnTo>
                  <a:lnTo>
                    <a:pt x="33" y="41"/>
                  </a:lnTo>
                  <a:lnTo>
                    <a:pt x="33" y="41"/>
                  </a:lnTo>
                  <a:lnTo>
                    <a:pt x="33" y="4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3" name="Freeform 504">
              <a:extLst>
                <a:ext uri="{FF2B5EF4-FFF2-40B4-BE49-F238E27FC236}">
                  <a16:creationId xmlns:a16="http://schemas.microsoft.com/office/drawing/2014/main" id="{E392886C-83D6-42AF-B0A4-A1C79E2C68E9}"/>
                </a:ext>
              </a:extLst>
            </p:cNvPr>
            <p:cNvSpPr>
              <a:spLocks/>
            </p:cNvSpPr>
            <p:nvPr/>
          </p:nvSpPr>
          <p:spPr bwMode="gray">
            <a:xfrm>
              <a:off x="4928061" y="3560710"/>
              <a:ext cx="2058" cy="6999"/>
            </a:xfrm>
            <a:custGeom>
              <a:avLst/>
              <a:gdLst>
                <a:gd name="T0" fmla="*/ 5 w 5"/>
                <a:gd name="T1" fmla="*/ 17 h 17"/>
                <a:gd name="T2" fmla="*/ 0 w 5"/>
                <a:gd name="T3" fmla="*/ 5 h 17"/>
                <a:gd name="T4" fmla="*/ 5 w 5"/>
                <a:gd name="T5" fmla="*/ 0 h 17"/>
                <a:gd name="T6" fmla="*/ 5 w 5"/>
                <a:gd name="T7" fmla="*/ 17 h 17"/>
                <a:gd name="T8" fmla="*/ 5 w 5"/>
                <a:gd name="T9" fmla="*/ 17 h 17"/>
                <a:gd name="T10" fmla="*/ 5 w 5"/>
                <a:gd name="T11" fmla="*/ 17 h 17"/>
              </a:gdLst>
              <a:ahLst/>
              <a:cxnLst>
                <a:cxn ang="0">
                  <a:pos x="T0" y="T1"/>
                </a:cxn>
                <a:cxn ang="0">
                  <a:pos x="T2" y="T3"/>
                </a:cxn>
                <a:cxn ang="0">
                  <a:pos x="T4" y="T5"/>
                </a:cxn>
                <a:cxn ang="0">
                  <a:pos x="T6" y="T7"/>
                </a:cxn>
                <a:cxn ang="0">
                  <a:pos x="T8" y="T9"/>
                </a:cxn>
                <a:cxn ang="0">
                  <a:pos x="T10" y="T11"/>
                </a:cxn>
              </a:cxnLst>
              <a:rect l="0" t="0" r="r" b="b"/>
              <a:pathLst>
                <a:path w="5" h="17">
                  <a:moveTo>
                    <a:pt x="5" y="17"/>
                  </a:moveTo>
                  <a:lnTo>
                    <a:pt x="0" y="5"/>
                  </a:lnTo>
                  <a:lnTo>
                    <a:pt x="5" y="0"/>
                  </a:lnTo>
                  <a:lnTo>
                    <a:pt x="5" y="17"/>
                  </a:lnTo>
                  <a:lnTo>
                    <a:pt x="5" y="17"/>
                  </a:lnTo>
                  <a:lnTo>
                    <a:pt x="5"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4" name="Freeform 514">
              <a:extLst>
                <a:ext uri="{FF2B5EF4-FFF2-40B4-BE49-F238E27FC236}">
                  <a16:creationId xmlns:a16="http://schemas.microsoft.com/office/drawing/2014/main" id="{CF8FA4B8-E81D-4565-9EF9-7D105CA75321}"/>
                </a:ext>
              </a:extLst>
            </p:cNvPr>
            <p:cNvSpPr>
              <a:spLocks noEditPoints="1"/>
            </p:cNvSpPr>
            <p:nvPr/>
          </p:nvSpPr>
          <p:spPr bwMode="gray">
            <a:xfrm>
              <a:off x="3308961" y="3058829"/>
              <a:ext cx="909379" cy="570227"/>
            </a:xfrm>
            <a:custGeom>
              <a:avLst/>
              <a:gdLst>
                <a:gd name="T0" fmla="*/ 1918 w 2209"/>
                <a:gd name="T1" fmla="*/ 1146 h 1385"/>
                <a:gd name="T2" fmla="*/ 1864 w 2209"/>
                <a:gd name="T3" fmla="*/ 1274 h 1385"/>
                <a:gd name="T4" fmla="*/ 1708 w 2209"/>
                <a:gd name="T5" fmla="*/ 1274 h 1385"/>
                <a:gd name="T6" fmla="*/ 1649 w 2209"/>
                <a:gd name="T7" fmla="*/ 1269 h 1385"/>
                <a:gd name="T8" fmla="*/ 1481 w 2209"/>
                <a:gd name="T9" fmla="*/ 1293 h 1385"/>
                <a:gd name="T10" fmla="*/ 1217 w 2209"/>
                <a:gd name="T11" fmla="*/ 1186 h 1385"/>
                <a:gd name="T12" fmla="*/ 900 w 2209"/>
                <a:gd name="T13" fmla="*/ 993 h 1385"/>
                <a:gd name="T14" fmla="*/ 900 w 2209"/>
                <a:gd name="T15" fmla="*/ 865 h 1385"/>
                <a:gd name="T16" fmla="*/ 754 w 2209"/>
                <a:gd name="T17" fmla="*/ 648 h 1385"/>
                <a:gd name="T18" fmla="*/ 728 w 2209"/>
                <a:gd name="T19" fmla="*/ 610 h 1385"/>
                <a:gd name="T20" fmla="*/ 695 w 2209"/>
                <a:gd name="T21" fmla="*/ 586 h 1385"/>
                <a:gd name="T22" fmla="*/ 673 w 2209"/>
                <a:gd name="T23" fmla="*/ 544 h 1385"/>
                <a:gd name="T24" fmla="*/ 624 w 2209"/>
                <a:gd name="T25" fmla="*/ 475 h 1385"/>
                <a:gd name="T26" fmla="*/ 548 w 2209"/>
                <a:gd name="T27" fmla="*/ 388 h 1385"/>
                <a:gd name="T28" fmla="*/ 430 w 2209"/>
                <a:gd name="T29" fmla="*/ 298 h 1385"/>
                <a:gd name="T30" fmla="*/ 371 w 2209"/>
                <a:gd name="T31" fmla="*/ 116 h 1385"/>
                <a:gd name="T32" fmla="*/ 253 w 2209"/>
                <a:gd name="T33" fmla="*/ 88 h 1385"/>
                <a:gd name="T34" fmla="*/ 345 w 2209"/>
                <a:gd name="T35" fmla="*/ 298 h 1385"/>
                <a:gd name="T36" fmla="*/ 392 w 2209"/>
                <a:gd name="T37" fmla="*/ 388 h 1385"/>
                <a:gd name="T38" fmla="*/ 458 w 2209"/>
                <a:gd name="T39" fmla="*/ 459 h 1385"/>
                <a:gd name="T40" fmla="*/ 522 w 2209"/>
                <a:gd name="T41" fmla="*/ 593 h 1385"/>
                <a:gd name="T42" fmla="*/ 569 w 2209"/>
                <a:gd name="T43" fmla="*/ 664 h 1385"/>
                <a:gd name="T44" fmla="*/ 593 w 2209"/>
                <a:gd name="T45" fmla="*/ 766 h 1385"/>
                <a:gd name="T46" fmla="*/ 442 w 2209"/>
                <a:gd name="T47" fmla="*/ 626 h 1385"/>
                <a:gd name="T48" fmla="*/ 397 w 2209"/>
                <a:gd name="T49" fmla="*/ 504 h 1385"/>
                <a:gd name="T50" fmla="*/ 307 w 2209"/>
                <a:gd name="T51" fmla="*/ 449 h 1385"/>
                <a:gd name="T52" fmla="*/ 300 w 2209"/>
                <a:gd name="T53" fmla="*/ 393 h 1385"/>
                <a:gd name="T54" fmla="*/ 182 w 2209"/>
                <a:gd name="T55" fmla="*/ 239 h 1385"/>
                <a:gd name="T56" fmla="*/ 140 w 2209"/>
                <a:gd name="T57" fmla="*/ 116 h 1385"/>
                <a:gd name="T58" fmla="*/ 510 w 2209"/>
                <a:gd name="T59" fmla="*/ 111 h 1385"/>
                <a:gd name="T60" fmla="*/ 952 w 2209"/>
                <a:gd name="T61" fmla="*/ 222 h 1385"/>
                <a:gd name="T62" fmla="*/ 1125 w 2209"/>
                <a:gd name="T63" fmla="*/ 227 h 1385"/>
                <a:gd name="T64" fmla="*/ 1292 w 2209"/>
                <a:gd name="T65" fmla="*/ 393 h 1385"/>
                <a:gd name="T66" fmla="*/ 1448 w 2209"/>
                <a:gd name="T67" fmla="*/ 532 h 1385"/>
                <a:gd name="T68" fmla="*/ 1472 w 2209"/>
                <a:gd name="T69" fmla="*/ 870 h 1385"/>
                <a:gd name="T70" fmla="*/ 1536 w 2209"/>
                <a:gd name="T71" fmla="*/ 997 h 1385"/>
                <a:gd name="T72" fmla="*/ 1649 w 2209"/>
                <a:gd name="T73" fmla="*/ 1092 h 1385"/>
                <a:gd name="T74" fmla="*/ 1762 w 2209"/>
                <a:gd name="T75" fmla="*/ 1108 h 1385"/>
                <a:gd name="T76" fmla="*/ 1864 w 2209"/>
                <a:gd name="T77" fmla="*/ 1104 h 1385"/>
                <a:gd name="T78" fmla="*/ 1935 w 2209"/>
                <a:gd name="T79" fmla="*/ 1037 h 1385"/>
                <a:gd name="T80" fmla="*/ 2095 w 2209"/>
                <a:gd name="T81" fmla="*/ 870 h 1385"/>
                <a:gd name="T82" fmla="*/ 2209 w 2209"/>
                <a:gd name="T83" fmla="*/ 893 h 1385"/>
                <a:gd name="T84" fmla="*/ 2150 w 2209"/>
                <a:gd name="T85" fmla="*/ 1021 h 1385"/>
                <a:gd name="T86" fmla="*/ 2133 w 2209"/>
                <a:gd name="T87" fmla="*/ 1104 h 1385"/>
                <a:gd name="T88" fmla="*/ 359 w 2209"/>
                <a:gd name="T89" fmla="*/ 293 h 1385"/>
                <a:gd name="T90" fmla="*/ 359 w 2209"/>
                <a:gd name="T91" fmla="*/ 293 h 1385"/>
                <a:gd name="T92" fmla="*/ 425 w 2209"/>
                <a:gd name="T93" fmla="*/ 315 h 1385"/>
                <a:gd name="T94" fmla="*/ 0 w 2209"/>
                <a:gd name="T95" fmla="*/ 298 h 1385"/>
                <a:gd name="T96" fmla="*/ 225 w 2209"/>
                <a:gd name="T97" fmla="*/ 371 h 1385"/>
                <a:gd name="T98" fmla="*/ 501 w 2209"/>
                <a:gd name="T99" fmla="*/ 544 h 1385"/>
                <a:gd name="T100" fmla="*/ 442 w 2209"/>
                <a:gd name="T101" fmla="*/ 586 h 1385"/>
                <a:gd name="T102" fmla="*/ 539 w 2209"/>
                <a:gd name="T103" fmla="*/ 598 h 1385"/>
                <a:gd name="T104" fmla="*/ 463 w 2209"/>
                <a:gd name="T105" fmla="*/ 655 h 1385"/>
                <a:gd name="T106" fmla="*/ 825 w 2209"/>
                <a:gd name="T107" fmla="*/ 870 h 1385"/>
                <a:gd name="T108" fmla="*/ 855 w 2209"/>
                <a:gd name="T109" fmla="*/ 886 h 1385"/>
                <a:gd name="T110" fmla="*/ 2204 w 2209"/>
                <a:gd name="T111" fmla="*/ 943 h 1385"/>
                <a:gd name="T112" fmla="*/ 517 w 2209"/>
                <a:gd name="T113" fmla="*/ 1071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9" h="1385">
                  <a:moveTo>
                    <a:pt x="2103" y="1104"/>
                  </a:moveTo>
                  <a:lnTo>
                    <a:pt x="2095" y="1104"/>
                  </a:lnTo>
                  <a:lnTo>
                    <a:pt x="2065" y="1141"/>
                  </a:lnTo>
                  <a:lnTo>
                    <a:pt x="2058" y="1130"/>
                  </a:lnTo>
                  <a:lnTo>
                    <a:pt x="2048" y="1141"/>
                  </a:lnTo>
                  <a:lnTo>
                    <a:pt x="2048" y="1146"/>
                  </a:lnTo>
                  <a:lnTo>
                    <a:pt x="1918" y="1146"/>
                  </a:lnTo>
                  <a:lnTo>
                    <a:pt x="1918" y="1186"/>
                  </a:lnTo>
                  <a:lnTo>
                    <a:pt x="1885" y="1186"/>
                  </a:lnTo>
                  <a:lnTo>
                    <a:pt x="1935" y="1224"/>
                  </a:lnTo>
                  <a:lnTo>
                    <a:pt x="1940" y="1252"/>
                  </a:lnTo>
                  <a:lnTo>
                    <a:pt x="1956" y="1252"/>
                  </a:lnTo>
                  <a:lnTo>
                    <a:pt x="1956" y="1274"/>
                  </a:lnTo>
                  <a:lnTo>
                    <a:pt x="1864" y="1274"/>
                  </a:lnTo>
                  <a:lnTo>
                    <a:pt x="1831" y="1335"/>
                  </a:lnTo>
                  <a:lnTo>
                    <a:pt x="1843" y="1352"/>
                  </a:lnTo>
                  <a:lnTo>
                    <a:pt x="1826" y="1385"/>
                  </a:lnTo>
                  <a:lnTo>
                    <a:pt x="1793" y="1352"/>
                  </a:lnTo>
                  <a:lnTo>
                    <a:pt x="1793" y="1347"/>
                  </a:lnTo>
                  <a:lnTo>
                    <a:pt x="1779" y="1335"/>
                  </a:lnTo>
                  <a:lnTo>
                    <a:pt x="1708" y="1274"/>
                  </a:lnTo>
                  <a:lnTo>
                    <a:pt x="1682" y="1257"/>
                  </a:lnTo>
                  <a:lnTo>
                    <a:pt x="1682" y="1269"/>
                  </a:lnTo>
                  <a:lnTo>
                    <a:pt x="1703" y="1281"/>
                  </a:lnTo>
                  <a:lnTo>
                    <a:pt x="1654" y="1269"/>
                  </a:lnTo>
                  <a:lnTo>
                    <a:pt x="1666" y="1257"/>
                  </a:lnTo>
                  <a:lnTo>
                    <a:pt x="1654" y="1257"/>
                  </a:lnTo>
                  <a:lnTo>
                    <a:pt x="1649" y="1269"/>
                  </a:lnTo>
                  <a:lnTo>
                    <a:pt x="1649" y="1252"/>
                  </a:lnTo>
                  <a:lnTo>
                    <a:pt x="1632" y="1257"/>
                  </a:lnTo>
                  <a:lnTo>
                    <a:pt x="1649" y="1269"/>
                  </a:lnTo>
                  <a:lnTo>
                    <a:pt x="1616" y="1269"/>
                  </a:lnTo>
                  <a:lnTo>
                    <a:pt x="1611" y="1281"/>
                  </a:lnTo>
                  <a:lnTo>
                    <a:pt x="1536" y="1309"/>
                  </a:lnTo>
                  <a:lnTo>
                    <a:pt x="1481" y="1293"/>
                  </a:lnTo>
                  <a:lnTo>
                    <a:pt x="1439" y="1281"/>
                  </a:lnTo>
                  <a:lnTo>
                    <a:pt x="1417" y="1269"/>
                  </a:lnTo>
                  <a:lnTo>
                    <a:pt x="1384" y="1257"/>
                  </a:lnTo>
                  <a:lnTo>
                    <a:pt x="1373" y="1241"/>
                  </a:lnTo>
                  <a:lnTo>
                    <a:pt x="1309" y="1224"/>
                  </a:lnTo>
                  <a:lnTo>
                    <a:pt x="1292" y="1219"/>
                  </a:lnTo>
                  <a:lnTo>
                    <a:pt x="1217" y="1186"/>
                  </a:lnTo>
                  <a:lnTo>
                    <a:pt x="1169" y="1158"/>
                  </a:lnTo>
                  <a:lnTo>
                    <a:pt x="1148" y="1130"/>
                  </a:lnTo>
                  <a:lnTo>
                    <a:pt x="1132" y="1141"/>
                  </a:lnTo>
                  <a:lnTo>
                    <a:pt x="1051" y="1108"/>
                  </a:lnTo>
                  <a:lnTo>
                    <a:pt x="1006" y="1071"/>
                  </a:lnTo>
                  <a:lnTo>
                    <a:pt x="943" y="1037"/>
                  </a:lnTo>
                  <a:lnTo>
                    <a:pt x="900" y="993"/>
                  </a:lnTo>
                  <a:lnTo>
                    <a:pt x="888" y="959"/>
                  </a:lnTo>
                  <a:lnTo>
                    <a:pt x="914" y="943"/>
                  </a:lnTo>
                  <a:lnTo>
                    <a:pt x="910" y="926"/>
                  </a:lnTo>
                  <a:lnTo>
                    <a:pt x="893" y="926"/>
                  </a:lnTo>
                  <a:lnTo>
                    <a:pt x="914" y="903"/>
                  </a:lnTo>
                  <a:lnTo>
                    <a:pt x="926" y="882"/>
                  </a:lnTo>
                  <a:lnTo>
                    <a:pt x="900" y="865"/>
                  </a:lnTo>
                  <a:lnTo>
                    <a:pt x="893" y="837"/>
                  </a:lnTo>
                  <a:lnTo>
                    <a:pt x="893" y="808"/>
                  </a:lnTo>
                  <a:lnTo>
                    <a:pt x="879" y="782"/>
                  </a:lnTo>
                  <a:lnTo>
                    <a:pt x="841" y="742"/>
                  </a:lnTo>
                  <a:lnTo>
                    <a:pt x="791" y="688"/>
                  </a:lnTo>
                  <a:lnTo>
                    <a:pt x="749" y="648"/>
                  </a:lnTo>
                  <a:lnTo>
                    <a:pt x="754" y="648"/>
                  </a:lnTo>
                  <a:lnTo>
                    <a:pt x="754" y="643"/>
                  </a:lnTo>
                  <a:lnTo>
                    <a:pt x="749" y="648"/>
                  </a:lnTo>
                  <a:lnTo>
                    <a:pt x="732" y="631"/>
                  </a:lnTo>
                  <a:lnTo>
                    <a:pt x="737" y="643"/>
                  </a:lnTo>
                  <a:lnTo>
                    <a:pt x="728" y="631"/>
                  </a:lnTo>
                  <a:lnTo>
                    <a:pt x="728" y="610"/>
                  </a:lnTo>
                  <a:lnTo>
                    <a:pt x="728" y="610"/>
                  </a:lnTo>
                  <a:lnTo>
                    <a:pt x="728" y="615"/>
                  </a:lnTo>
                  <a:lnTo>
                    <a:pt x="716" y="615"/>
                  </a:lnTo>
                  <a:lnTo>
                    <a:pt x="711" y="598"/>
                  </a:lnTo>
                  <a:lnTo>
                    <a:pt x="728" y="610"/>
                  </a:lnTo>
                  <a:lnTo>
                    <a:pt x="728" y="598"/>
                  </a:lnTo>
                  <a:lnTo>
                    <a:pt x="699" y="593"/>
                  </a:lnTo>
                  <a:lnTo>
                    <a:pt x="695" y="586"/>
                  </a:lnTo>
                  <a:lnTo>
                    <a:pt x="678" y="577"/>
                  </a:lnTo>
                  <a:lnTo>
                    <a:pt x="673" y="560"/>
                  </a:lnTo>
                  <a:lnTo>
                    <a:pt x="662" y="560"/>
                  </a:lnTo>
                  <a:lnTo>
                    <a:pt x="662" y="570"/>
                  </a:lnTo>
                  <a:lnTo>
                    <a:pt x="645" y="560"/>
                  </a:lnTo>
                  <a:lnTo>
                    <a:pt x="657" y="560"/>
                  </a:lnTo>
                  <a:lnTo>
                    <a:pt x="673" y="544"/>
                  </a:lnTo>
                  <a:lnTo>
                    <a:pt x="645" y="560"/>
                  </a:lnTo>
                  <a:lnTo>
                    <a:pt x="631" y="544"/>
                  </a:lnTo>
                  <a:lnTo>
                    <a:pt x="624" y="532"/>
                  </a:lnTo>
                  <a:lnTo>
                    <a:pt x="640" y="504"/>
                  </a:lnTo>
                  <a:lnTo>
                    <a:pt x="645" y="515"/>
                  </a:lnTo>
                  <a:lnTo>
                    <a:pt x="645" y="504"/>
                  </a:lnTo>
                  <a:lnTo>
                    <a:pt x="624" y="475"/>
                  </a:lnTo>
                  <a:lnTo>
                    <a:pt x="619" y="466"/>
                  </a:lnTo>
                  <a:lnTo>
                    <a:pt x="603" y="475"/>
                  </a:lnTo>
                  <a:lnTo>
                    <a:pt x="586" y="442"/>
                  </a:lnTo>
                  <a:lnTo>
                    <a:pt x="565" y="442"/>
                  </a:lnTo>
                  <a:lnTo>
                    <a:pt x="548" y="426"/>
                  </a:lnTo>
                  <a:lnTo>
                    <a:pt x="539" y="404"/>
                  </a:lnTo>
                  <a:lnTo>
                    <a:pt x="548" y="388"/>
                  </a:lnTo>
                  <a:lnTo>
                    <a:pt x="532" y="376"/>
                  </a:lnTo>
                  <a:lnTo>
                    <a:pt x="522" y="388"/>
                  </a:lnTo>
                  <a:lnTo>
                    <a:pt x="510" y="376"/>
                  </a:lnTo>
                  <a:lnTo>
                    <a:pt x="484" y="350"/>
                  </a:lnTo>
                  <a:lnTo>
                    <a:pt x="468" y="338"/>
                  </a:lnTo>
                  <a:lnTo>
                    <a:pt x="458" y="310"/>
                  </a:lnTo>
                  <a:lnTo>
                    <a:pt x="430" y="298"/>
                  </a:lnTo>
                  <a:lnTo>
                    <a:pt x="430" y="265"/>
                  </a:lnTo>
                  <a:lnTo>
                    <a:pt x="414" y="260"/>
                  </a:lnTo>
                  <a:lnTo>
                    <a:pt x="414" y="260"/>
                  </a:lnTo>
                  <a:lnTo>
                    <a:pt x="392" y="222"/>
                  </a:lnTo>
                  <a:lnTo>
                    <a:pt x="392" y="199"/>
                  </a:lnTo>
                  <a:lnTo>
                    <a:pt x="371" y="166"/>
                  </a:lnTo>
                  <a:lnTo>
                    <a:pt x="371" y="116"/>
                  </a:lnTo>
                  <a:lnTo>
                    <a:pt x="333" y="111"/>
                  </a:lnTo>
                  <a:lnTo>
                    <a:pt x="333" y="95"/>
                  </a:lnTo>
                  <a:lnTo>
                    <a:pt x="307" y="88"/>
                  </a:lnTo>
                  <a:lnTo>
                    <a:pt x="300" y="100"/>
                  </a:lnTo>
                  <a:lnTo>
                    <a:pt x="291" y="95"/>
                  </a:lnTo>
                  <a:lnTo>
                    <a:pt x="232" y="60"/>
                  </a:lnTo>
                  <a:lnTo>
                    <a:pt x="253" y="88"/>
                  </a:lnTo>
                  <a:lnTo>
                    <a:pt x="248" y="128"/>
                  </a:lnTo>
                  <a:lnTo>
                    <a:pt x="253" y="145"/>
                  </a:lnTo>
                  <a:lnTo>
                    <a:pt x="262" y="204"/>
                  </a:lnTo>
                  <a:lnTo>
                    <a:pt x="269" y="222"/>
                  </a:lnTo>
                  <a:lnTo>
                    <a:pt x="333" y="277"/>
                  </a:lnTo>
                  <a:lnTo>
                    <a:pt x="338" y="310"/>
                  </a:lnTo>
                  <a:lnTo>
                    <a:pt x="345" y="298"/>
                  </a:lnTo>
                  <a:lnTo>
                    <a:pt x="354" y="310"/>
                  </a:lnTo>
                  <a:lnTo>
                    <a:pt x="359" y="310"/>
                  </a:lnTo>
                  <a:lnTo>
                    <a:pt x="371" y="338"/>
                  </a:lnTo>
                  <a:lnTo>
                    <a:pt x="388" y="338"/>
                  </a:lnTo>
                  <a:lnTo>
                    <a:pt x="388" y="355"/>
                  </a:lnTo>
                  <a:lnTo>
                    <a:pt x="392" y="371"/>
                  </a:lnTo>
                  <a:lnTo>
                    <a:pt x="392" y="388"/>
                  </a:lnTo>
                  <a:lnTo>
                    <a:pt x="409" y="404"/>
                  </a:lnTo>
                  <a:lnTo>
                    <a:pt x="425" y="409"/>
                  </a:lnTo>
                  <a:lnTo>
                    <a:pt x="458" y="475"/>
                  </a:lnTo>
                  <a:lnTo>
                    <a:pt x="463" y="487"/>
                  </a:lnTo>
                  <a:lnTo>
                    <a:pt x="468" y="482"/>
                  </a:lnTo>
                  <a:lnTo>
                    <a:pt x="458" y="466"/>
                  </a:lnTo>
                  <a:lnTo>
                    <a:pt x="458" y="459"/>
                  </a:lnTo>
                  <a:lnTo>
                    <a:pt x="480" y="475"/>
                  </a:lnTo>
                  <a:lnTo>
                    <a:pt x="480" y="482"/>
                  </a:lnTo>
                  <a:lnTo>
                    <a:pt x="484" y="504"/>
                  </a:lnTo>
                  <a:lnTo>
                    <a:pt x="496" y="544"/>
                  </a:lnTo>
                  <a:lnTo>
                    <a:pt x="501" y="560"/>
                  </a:lnTo>
                  <a:lnTo>
                    <a:pt x="517" y="570"/>
                  </a:lnTo>
                  <a:lnTo>
                    <a:pt x="522" y="593"/>
                  </a:lnTo>
                  <a:lnTo>
                    <a:pt x="539" y="615"/>
                  </a:lnTo>
                  <a:lnTo>
                    <a:pt x="532" y="643"/>
                  </a:lnTo>
                  <a:lnTo>
                    <a:pt x="539" y="655"/>
                  </a:lnTo>
                  <a:lnTo>
                    <a:pt x="565" y="664"/>
                  </a:lnTo>
                  <a:lnTo>
                    <a:pt x="555" y="664"/>
                  </a:lnTo>
                  <a:lnTo>
                    <a:pt x="565" y="671"/>
                  </a:lnTo>
                  <a:lnTo>
                    <a:pt x="569" y="664"/>
                  </a:lnTo>
                  <a:lnTo>
                    <a:pt x="565" y="655"/>
                  </a:lnTo>
                  <a:lnTo>
                    <a:pt x="569" y="655"/>
                  </a:lnTo>
                  <a:lnTo>
                    <a:pt x="603" y="681"/>
                  </a:lnTo>
                  <a:lnTo>
                    <a:pt x="607" y="704"/>
                  </a:lnTo>
                  <a:lnTo>
                    <a:pt x="624" y="721"/>
                  </a:lnTo>
                  <a:lnTo>
                    <a:pt x="619" y="754"/>
                  </a:lnTo>
                  <a:lnTo>
                    <a:pt x="593" y="766"/>
                  </a:lnTo>
                  <a:lnTo>
                    <a:pt x="586" y="766"/>
                  </a:lnTo>
                  <a:lnTo>
                    <a:pt x="565" y="709"/>
                  </a:lnTo>
                  <a:lnTo>
                    <a:pt x="484" y="655"/>
                  </a:lnTo>
                  <a:lnTo>
                    <a:pt x="468" y="643"/>
                  </a:lnTo>
                  <a:lnTo>
                    <a:pt x="463" y="643"/>
                  </a:lnTo>
                  <a:lnTo>
                    <a:pt x="447" y="626"/>
                  </a:lnTo>
                  <a:lnTo>
                    <a:pt x="442" y="626"/>
                  </a:lnTo>
                  <a:lnTo>
                    <a:pt x="442" y="598"/>
                  </a:lnTo>
                  <a:lnTo>
                    <a:pt x="430" y="615"/>
                  </a:lnTo>
                  <a:lnTo>
                    <a:pt x="442" y="560"/>
                  </a:lnTo>
                  <a:lnTo>
                    <a:pt x="442" y="570"/>
                  </a:lnTo>
                  <a:lnTo>
                    <a:pt x="442" y="544"/>
                  </a:lnTo>
                  <a:lnTo>
                    <a:pt x="414" y="504"/>
                  </a:lnTo>
                  <a:lnTo>
                    <a:pt x="397" y="504"/>
                  </a:lnTo>
                  <a:lnTo>
                    <a:pt x="359" y="475"/>
                  </a:lnTo>
                  <a:lnTo>
                    <a:pt x="371" y="459"/>
                  </a:lnTo>
                  <a:lnTo>
                    <a:pt x="354" y="466"/>
                  </a:lnTo>
                  <a:lnTo>
                    <a:pt x="345" y="466"/>
                  </a:lnTo>
                  <a:lnTo>
                    <a:pt x="333" y="475"/>
                  </a:lnTo>
                  <a:lnTo>
                    <a:pt x="317" y="449"/>
                  </a:lnTo>
                  <a:lnTo>
                    <a:pt x="307" y="449"/>
                  </a:lnTo>
                  <a:lnTo>
                    <a:pt x="291" y="442"/>
                  </a:lnTo>
                  <a:lnTo>
                    <a:pt x="269" y="433"/>
                  </a:lnTo>
                  <a:lnTo>
                    <a:pt x="269" y="421"/>
                  </a:lnTo>
                  <a:lnTo>
                    <a:pt x="236" y="393"/>
                  </a:lnTo>
                  <a:lnTo>
                    <a:pt x="232" y="388"/>
                  </a:lnTo>
                  <a:lnTo>
                    <a:pt x="307" y="393"/>
                  </a:lnTo>
                  <a:lnTo>
                    <a:pt x="300" y="393"/>
                  </a:lnTo>
                  <a:lnTo>
                    <a:pt x="291" y="393"/>
                  </a:lnTo>
                  <a:lnTo>
                    <a:pt x="286" y="388"/>
                  </a:lnTo>
                  <a:lnTo>
                    <a:pt x="291" y="371"/>
                  </a:lnTo>
                  <a:lnTo>
                    <a:pt x="300" y="331"/>
                  </a:lnTo>
                  <a:lnTo>
                    <a:pt x="236" y="265"/>
                  </a:lnTo>
                  <a:lnTo>
                    <a:pt x="225" y="260"/>
                  </a:lnTo>
                  <a:lnTo>
                    <a:pt x="182" y="239"/>
                  </a:lnTo>
                  <a:lnTo>
                    <a:pt x="177" y="187"/>
                  </a:lnTo>
                  <a:lnTo>
                    <a:pt x="173" y="182"/>
                  </a:lnTo>
                  <a:lnTo>
                    <a:pt x="173" y="187"/>
                  </a:lnTo>
                  <a:lnTo>
                    <a:pt x="161" y="182"/>
                  </a:lnTo>
                  <a:lnTo>
                    <a:pt x="161" y="154"/>
                  </a:lnTo>
                  <a:lnTo>
                    <a:pt x="144" y="145"/>
                  </a:lnTo>
                  <a:lnTo>
                    <a:pt x="140" y="116"/>
                  </a:lnTo>
                  <a:lnTo>
                    <a:pt x="118" y="95"/>
                  </a:lnTo>
                  <a:lnTo>
                    <a:pt x="123" y="71"/>
                  </a:lnTo>
                  <a:lnTo>
                    <a:pt x="106" y="60"/>
                  </a:lnTo>
                  <a:lnTo>
                    <a:pt x="85" y="17"/>
                  </a:lnTo>
                  <a:lnTo>
                    <a:pt x="253" y="0"/>
                  </a:lnTo>
                  <a:lnTo>
                    <a:pt x="248" y="17"/>
                  </a:lnTo>
                  <a:lnTo>
                    <a:pt x="510" y="111"/>
                  </a:lnTo>
                  <a:lnTo>
                    <a:pt x="711" y="111"/>
                  </a:lnTo>
                  <a:lnTo>
                    <a:pt x="711" y="76"/>
                  </a:lnTo>
                  <a:lnTo>
                    <a:pt x="841" y="76"/>
                  </a:lnTo>
                  <a:lnTo>
                    <a:pt x="846" y="100"/>
                  </a:lnTo>
                  <a:lnTo>
                    <a:pt x="943" y="171"/>
                  </a:lnTo>
                  <a:lnTo>
                    <a:pt x="952" y="204"/>
                  </a:lnTo>
                  <a:lnTo>
                    <a:pt x="952" y="222"/>
                  </a:lnTo>
                  <a:lnTo>
                    <a:pt x="969" y="244"/>
                  </a:lnTo>
                  <a:lnTo>
                    <a:pt x="1002" y="265"/>
                  </a:lnTo>
                  <a:lnTo>
                    <a:pt x="1051" y="293"/>
                  </a:lnTo>
                  <a:lnTo>
                    <a:pt x="1061" y="298"/>
                  </a:lnTo>
                  <a:lnTo>
                    <a:pt x="1089" y="277"/>
                  </a:lnTo>
                  <a:lnTo>
                    <a:pt x="1103" y="239"/>
                  </a:lnTo>
                  <a:lnTo>
                    <a:pt x="1125" y="227"/>
                  </a:lnTo>
                  <a:lnTo>
                    <a:pt x="1141" y="239"/>
                  </a:lnTo>
                  <a:lnTo>
                    <a:pt x="1186" y="239"/>
                  </a:lnTo>
                  <a:lnTo>
                    <a:pt x="1195" y="244"/>
                  </a:lnTo>
                  <a:lnTo>
                    <a:pt x="1238" y="282"/>
                  </a:lnTo>
                  <a:lnTo>
                    <a:pt x="1266" y="355"/>
                  </a:lnTo>
                  <a:lnTo>
                    <a:pt x="1276" y="367"/>
                  </a:lnTo>
                  <a:lnTo>
                    <a:pt x="1292" y="393"/>
                  </a:lnTo>
                  <a:lnTo>
                    <a:pt x="1321" y="409"/>
                  </a:lnTo>
                  <a:lnTo>
                    <a:pt x="1325" y="449"/>
                  </a:lnTo>
                  <a:lnTo>
                    <a:pt x="1342" y="466"/>
                  </a:lnTo>
                  <a:lnTo>
                    <a:pt x="1347" y="499"/>
                  </a:lnTo>
                  <a:lnTo>
                    <a:pt x="1396" y="515"/>
                  </a:lnTo>
                  <a:lnTo>
                    <a:pt x="1410" y="520"/>
                  </a:lnTo>
                  <a:lnTo>
                    <a:pt x="1448" y="532"/>
                  </a:lnTo>
                  <a:lnTo>
                    <a:pt x="1465" y="537"/>
                  </a:lnTo>
                  <a:lnTo>
                    <a:pt x="1486" y="532"/>
                  </a:lnTo>
                  <a:lnTo>
                    <a:pt x="1448" y="643"/>
                  </a:lnTo>
                  <a:lnTo>
                    <a:pt x="1439" y="766"/>
                  </a:lnTo>
                  <a:lnTo>
                    <a:pt x="1434" y="792"/>
                  </a:lnTo>
                  <a:lnTo>
                    <a:pt x="1448" y="837"/>
                  </a:lnTo>
                  <a:lnTo>
                    <a:pt x="1472" y="870"/>
                  </a:lnTo>
                  <a:lnTo>
                    <a:pt x="1465" y="886"/>
                  </a:lnTo>
                  <a:lnTo>
                    <a:pt x="1465" y="882"/>
                  </a:lnTo>
                  <a:lnTo>
                    <a:pt x="1472" y="870"/>
                  </a:lnTo>
                  <a:lnTo>
                    <a:pt x="1439" y="832"/>
                  </a:lnTo>
                  <a:lnTo>
                    <a:pt x="1448" y="865"/>
                  </a:lnTo>
                  <a:lnTo>
                    <a:pt x="1486" y="936"/>
                  </a:lnTo>
                  <a:lnTo>
                    <a:pt x="1536" y="997"/>
                  </a:lnTo>
                  <a:lnTo>
                    <a:pt x="1545" y="1037"/>
                  </a:lnTo>
                  <a:lnTo>
                    <a:pt x="1573" y="1059"/>
                  </a:lnTo>
                  <a:lnTo>
                    <a:pt x="1573" y="1071"/>
                  </a:lnTo>
                  <a:lnTo>
                    <a:pt x="1578" y="1075"/>
                  </a:lnTo>
                  <a:lnTo>
                    <a:pt x="1628" y="1087"/>
                  </a:lnTo>
                  <a:lnTo>
                    <a:pt x="1632" y="1092"/>
                  </a:lnTo>
                  <a:lnTo>
                    <a:pt x="1649" y="1092"/>
                  </a:lnTo>
                  <a:lnTo>
                    <a:pt x="1670" y="1125"/>
                  </a:lnTo>
                  <a:lnTo>
                    <a:pt x="1720" y="1113"/>
                  </a:lnTo>
                  <a:lnTo>
                    <a:pt x="1734" y="1104"/>
                  </a:lnTo>
                  <a:lnTo>
                    <a:pt x="1720" y="1108"/>
                  </a:lnTo>
                  <a:lnTo>
                    <a:pt x="1734" y="1104"/>
                  </a:lnTo>
                  <a:lnTo>
                    <a:pt x="1762" y="1104"/>
                  </a:lnTo>
                  <a:lnTo>
                    <a:pt x="1762" y="1108"/>
                  </a:lnTo>
                  <a:lnTo>
                    <a:pt x="1805" y="1087"/>
                  </a:lnTo>
                  <a:lnTo>
                    <a:pt x="1847" y="1075"/>
                  </a:lnTo>
                  <a:lnTo>
                    <a:pt x="1859" y="1087"/>
                  </a:lnTo>
                  <a:lnTo>
                    <a:pt x="1843" y="1092"/>
                  </a:lnTo>
                  <a:lnTo>
                    <a:pt x="1859" y="1092"/>
                  </a:lnTo>
                  <a:lnTo>
                    <a:pt x="1859" y="1108"/>
                  </a:lnTo>
                  <a:lnTo>
                    <a:pt x="1864" y="1104"/>
                  </a:lnTo>
                  <a:lnTo>
                    <a:pt x="1880" y="1104"/>
                  </a:lnTo>
                  <a:lnTo>
                    <a:pt x="1885" y="1092"/>
                  </a:lnTo>
                  <a:lnTo>
                    <a:pt x="1902" y="1087"/>
                  </a:lnTo>
                  <a:lnTo>
                    <a:pt x="1885" y="1075"/>
                  </a:lnTo>
                  <a:lnTo>
                    <a:pt x="1897" y="1071"/>
                  </a:lnTo>
                  <a:lnTo>
                    <a:pt x="1885" y="1071"/>
                  </a:lnTo>
                  <a:lnTo>
                    <a:pt x="1935" y="1037"/>
                  </a:lnTo>
                  <a:lnTo>
                    <a:pt x="1940" y="1002"/>
                  </a:lnTo>
                  <a:lnTo>
                    <a:pt x="1956" y="993"/>
                  </a:lnTo>
                  <a:lnTo>
                    <a:pt x="1951" y="943"/>
                  </a:lnTo>
                  <a:lnTo>
                    <a:pt x="1965" y="910"/>
                  </a:lnTo>
                  <a:lnTo>
                    <a:pt x="1994" y="886"/>
                  </a:lnTo>
                  <a:lnTo>
                    <a:pt x="2065" y="882"/>
                  </a:lnTo>
                  <a:lnTo>
                    <a:pt x="2095" y="870"/>
                  </a:lnTo>
                  <a:lnTo>
                    <a:pt x="2128" y="865"/>
                  </a:lnTo>
                  <a:lnTo>
                    <a:pt x="2183" y="882"/>
                  </a:lnTo>
                  <a:lnTo>
                    <a:pt x="2188" y="870"/>
                  </a:lnTo>
                  <a:lnTo>
                    <a:pt x="2166" y="870"/>
                  </a:lnTo>
                  <a:lnTo>
                    <a:pt x="2192" y="865"/>
                  </a:lnTo>
                  <a:lnTo>
                    <a:pt x="2209" y="882"/>
                  </a:lnTo>
                  <a:lnTo>
                    <a:pt x="2209" y="893"/>
                  </a:lnTo>
                  <a:lnTo>
                    <a:pt x="2204" y="926"/>
                  </a:lnTo>
                  <a:lnTo>
                    <a:pt x="2166" y="964"/>
                  </a:lnTo>
                  <a:lnTo>
                    <a:pt x="2166" y="997"/>
                  </a:lnTo>
                  <a:lnTo>
                    <a:pt x="2166" y="993"/>
                  </a:lnTo>
                  <a:lnTo>
                    <a:pt x="2154" y="997"/>
                  </a:lnTo>
                  <a:lnTo>
                    <a:pt x="2138" y="1002"/>
                  </a:lnTo>
                  <a:lnTo>
                    <a:pt x="2150" y="1021"/>
                  </a:lnTo>
                  <a:lnTo>
                    <a:pt x="2166" y="1014"/>
                  </a:lnTo>
                  <a:lnTo>
                    <a:pt x="2166" y="1030"/>
                  </a:lnTo>
                  <a:lnTo>
                    <a:pt x="2150" y="1037"/>
                  </a:lnTo>
                  <a:lnTo>
                    <a:pt x="2150" y="1047"/>
                  </a:lnTo>
                  <a:lnTo>
                    <a:pt x="2166" y="1037"/>
                  </a:lnTo>
                  <a:lnTo>
                    <a:pt x="2133" y="1113"/>
                  </a:lnTo>
                  <a:lnTo>
                    <a:pt x="2133" y="1104"/>
                  </a:lnTo>
                  <a:lnTo>
                    <a:pt x="2117" y="1092"/>
                  </a:lnTo>
                  <a:lnTo>
                    <a:pt x="2128" y="1087"/>
                  </a:lnTo>
                  <a:lnTo>
                    <a:pt x="2128" y="1071"/>
                  </a:lnTo>
                  <a:lnTo>
                    <a:pt x="2103" y="1104"/>
                  </a:lnTo>
                  <a:lnTo>
                    <a:pt x="2103" y="1104"/>
                  </a:lnTo>
                  <a:lnTo>
                    <a:pt x="2103" y="1104"/>
                  </a:lnTo>
                  <a:close/>
                  <a:moveTo>
                    <a:pt x="359" y="293"/>
                  </a:moveTo>
                  <a:lnTo>
                    <a:pt x="333" y="260"/>
                  </a:lnTo>
                  <a:lnTo>
                    <a:pt x="333" y="256"/>
                  </a:lnTo>
                  <a:lnTo>
                    <a:pt x="345" y="260"/>
                  </a:lnTo>
                  <a:lnTo>
                    <a:pt x="345" y="265"/>
                  </a:lnTo>
                  <a:lnTo>
                    <a:pt x="359" y="277"/>
                  </a:lnTo>
                  <a:lnTo>
                    <a:pt x="359" y="293"/>
                  </a:lnTo>
                  <a:lnTo>
                    <a:pt x="359" y="293"/>
                  </a:lnTo>
                  <a:lnTo>
                    <a:pt x="359" y="293"/>
                  </a:lnTo>
                  <a:close/>
                  <a:moveTo>
                    <a:pt x="425" y="315"/>
                  </a:moveTo>
                  <a:lnTo>
                    <a:pt x="409" y="310"/>
                  </a:lnTo>
                  <a:lnTo>
                    <a:pt x="414" y="282"/>
                  </a:lnTo>
                  <a:lnTo>
                    <a:pt x="425" y="277"/>
                  </a:lnTo>
                  <a:lnTo>
                    <a:pt x="430" y="298"/>
                  </a:lnTo>
                  <a:lnTo>
                    <a:pt x="425" y="315"/>
                  </a:lnTo>
                  <a:lnTo>
                    <a:pt x="425" y="315"/>
                  </a:lnTo>
                  <a:lnTo>
                    <a:pt x="425" y="315"/>
                  </a:lnTo>
                  <a:close/>
                  <a:moveTo>
                    <a:pt x="0" y="298"/>
                  </a:moveTo>
                  <a:lnTo>
                    <a:pt x="0" y="282"/>
                  </a:lnTo>
                  <a:lnTo>
                    <a:pt x="0" y="282"/>
                  </a:lnTo>
                  <a:lnTo>
                    <a:pt x="10" y="293"/>
                  </a:lnTo>
                  <a:lnTo>
                    <a:pt x="0" y="298"/>
                  </a:lnTo>
                  <a:lnTo>
                    <a:pt x="0" y="298"/>
                  </a:lnTo>
                  <a:lnTo>
                    <a:pt x="0" y="298"/>
                  </a:lnTo>
                  <a:close/>
                  <a:moveTo>
                    <a:pt x="225" y="371"/>
                  </a:moveTo>
                  <a:lnTo>
                    <a:pt x="215" y="367"/>
                  </a:lnTo>
                  <a:lnTo>
                    <a:pt x="215" y="350"/>
                  </a:lnTo>
                  <a:lnTo>
                    <a:pt x="225" y="367"/>
                  </a:lnTo>
                  <a:lnTo>
                    <a:pt x="225" y="371"/>
                  </a:lnTo>
                  <a:lnTo>
                    <a:pt x="225" y="371"/>
                  </a:lnTo>
                  <a:lnTo>
                    <a:pt x="225" y="371"/>
                  </a:lnTo>
                  <a:close/>
                  <a:moveTo>
                    <a:pt x="501" y="544"/>
                  </a:moveTo>
                  <a:lnTo>
                    <a:pt x="501" y="532"/>
                  </a:lnTo>
                  <a:lnTo>
                    <a:pt x="510" y="520"/>
                  </a:lnTo>
                  <a:lnTo>
                    <a:pt x="501" y="544"/>
                  </a:lnTo>
                  <a:lnTo>
                    <a:pt x="501" y="544"/>
                  </a:lnTo>
                  <a:lnTo>
                    <a:pt x="501" y="544"/>
                  </a:lnTo>
                  <a:close/>
                  <a:moveTo>
                    <a:pt x="442" y="586"/>
                  </a:moveTo>
                  <a:lnTo>
                    <a:pt x="430" y="615"/>
                  </a:lnTo>
                  <a:lnTo>
                    <a:pt x="442" y="643"/>
                  </a:lnTo>
                  <a:lnTo>
                    <a:pt x="430" y="615"/>
                  </a:lnTo>
                  <a:lnTo>
                    <a:pt x="442" y="586"/>
                  </a:lnTo>
                  <a:lnTo>
                    <a:pt x="442" y="586"/>
                  </a:lnTo>
                  <a:lnTo>
                    <a:pt x="442" y="586"/>
                  </a:lnTo>
                  <a:close/>
                  <a:moveTo>
                    <a:pt x="539" y="598"/>
                  </a:moveTo>
                  <a:lnTo>
                    <a:pt x="548" y="598"/>
                  </a:lnTo>
                  <a:lnTo>
                    <a:pt x="548" y="615"/>
                  </a:lnTo>
                  <a:lnTo>
                    <a:pt x="539" y="610"/>
                  </a:lnTo>
                  <a:lnTo>
                    <a:pt x="539" y="598"/>
                  </a:lnTo>
                  <a:lnTo>
                    <a:pt x="539" y="598"/>
                  </a:lnTo>
                  <a:lnTo>
                    <a:pt x="539" y="598"/>
                  </a:lnTo>
                  <a:close/>
                  <a:moveTo>
                    <a:pt x="463" y="655"/>
                  </a:moveTo>
                  <a:lnTo>
                    <a:pt x="447" y="643"/>
                  </a:lnTo>
                  <a:lnTo>
                    <a:pt x="458" y="643"/>
                  </a:lnTo>
                  <a:lnTo>
                    <a:pt x="463" y="655"/>
                  </a:lnTo>
                  <a:lnTo>
                    <a:pt x="463" y="655"/>
                  </a:lnTo>
                  <a:lnTo>
                    <a:pt x="463" y="655"/>
                  </a:lnTo>
                  <a:close/>
                  <a:moveTo>
                    <a:pt x="825" y="870"/>
                  </a:moveTo>
                  <a:lnTo>
                    <a:pt x="817" y="853"/>
                  </a:lnTo>
                  <a:lnTo>
                    <a:pt x="834" y="853"/>
                  </a:lnTo>
                  <a:lnTo>
                    <a:pt x="834" y="870"/>
                  </a:lnTo>
                  <a:lnTo>
                    <a:pt x="825" y="870"/>
                  </a:lnTo>
                  <a:lnTo>
                    <a:pt x="825" y="870"/>
                  </a:lnTo>
                  <a:lnTo>
                    <a:pt x="825" y="870"/>
                  </a:lnTo>
                  <a:close/>
                  <a:moveTo>
                    <a:pt x="841" y="882"/>
                  </a:moveTo>
                  <a:lnTo>
                    <a:pt x="834" y="882"/>
                  </a:lnTo>
                  <a:lnTo>
                    <a:pt x="841" y="870"/>
                  </a:lnTo>
                  <a:lnTo>
                    <a:pt x="841" y="882"/>
                  </a:lnTo>
                  <a:lnTo>
                    <a:pt x="841" y="882"/>
                  </a:lnTo>
                  <a:lnTo>
                    <a:pt x="841" y="882"/>
                  </a:lnTo>
                  <a:close/>
                  <a:moveTo>
                    <a:pt x="855" y="886"/>
                  </a:moveTo>
                  <a:lnTo>
                    <a:pt x="846" y="886"/>
                  </a:lnTo>
                  <a:lnTo>
                    <a:pt x="855" y="886"/>
                  </a:lnTo>
                  <a:lnTo>
                    <a:pt x="855" y="886"/>
                  </a:lnTo>
                  <a:lnTo>
                    <a:pt x="855" y="886"/>
                  </a:lnTo>
                  <a:lnTo>
                    <a:pt x="855" y="886"/>
                  </a:lnTo>
                  <a:close/>
                  <a:moveTo>
                    <a:pt x="2192" y="964"/>
                  </a:moveTo>
                  <a:lnTo>
                    <a:pt x="2204" y="943"/>
                  </a:lnTo>
                  <a:lnTo>
                    <a:pt x="2209" y="943"/>
                  </a:lnTo>
                  <a:lnTo>
                    <a:pt x="2192" y="964"/>
                  </a:lnTo>
                  <a:lnTo>
                    <a:pt x="2192" y="964"/>
                  </a:lnTo>
                  <a:lnTo>
                    <a:pt x="2192" y="964"/>
                  </a:lnTo>
                  <a:close/>
                  <a:moveTo>
                    <a:pt x="517" y="1075"/>
                  </a:moveTo>
                  <a:lnTo>
                    <a:pt x="510" y="1075"/>
                  </a:lnTo>
                  <a:lnTo>
                    <a:pt x="517" y="1071"/>
                  </a:lnTo>
                  <a:lnTo>
                    <a:pt x="522" y="1075"/>
                  </a:lnTo>
                  <a:lnTo>
                    <a:pt x="517" y="1075"/>
                  </a:lnTo>
                  <a:lnTo>
                    <a:pt x="517" y="1075"/>
                  </a:lnTo>
                  <a:lnTo>
                    <a:pt x="517" y="107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5" name="Freeform 525">
              <a:extLst>
                <a:ext uri="{FF2B5EF4-FFF2-40B4-BE49-F238E27FC236}">
                  <a16:creationId xmlns:a16="http://schemas.microsoft.com/office/drawing/2014/main" id="{484DC9FD-3655-45CA-887F-92C3081766ED}"/>
                </a:ext>
              </a:extLst>
            </p:cNvPr>
            <p:cNvSpPr>
              <a:spLocks/>
            </p:cNvSpPr>
            <p:nvPr/>
          </p:nvSpPr>
          <p:spPr bwMode="gray">
            <a:xfrm>
              <a:off x="5048680" y="3887613"/>
              <a:ext cx="116914" cy="123515"/>
            </a:xfrm>
            <a:custGeom>
              <a:avLst/>
              <a:gdLst>
                <a:gd name="T0" fmla="*/ 279 w 284"/>
                <a:gd name="T1" fmla="*/ 198 h 300"/>
                <a:gd name="T2" fmla="*/ 267 w 284"/>
                <a:gd name="T3" fmla="*/ 206 h 300"/>
                <a:gd name="T4" fmla="*/ 267 w 284"/>
                <a:gd name="T5" fmla="*/ 227 h 300"/>
                <a:gd name="T6" fmla="*/ 262 w 284"/>
                <a:gd name="T7" fmla="*/ 255 h 300"/>
                <a:gd name="T8" fmla="*/ 246 w 284"/>
                <a:gd name="T9" fmla="*/ 260 h 300"/>
                <a:gd name="T10" fmla="*/ 241 w 284"/>
                <a:gd name="T11" fmla="*/ 260 h 300"/>
                <a:gd name="T12" fmla="*/ 241 w 284"/>
                <a:gd name="T13" fmla="*/ 255 h 300"/>
                <a:gd name="T14" fmla="*/ 225 w 284"/>
                <a:gd name="T15" fmla="*/ 255 h 300"/>
                <a:gd name="T16" fmla="*/ 213 w 284"/>
                <a:gd name="T17" fmla="*/ 243 h 300"/>
                <a:gd name="T18" fmla="*/ 170 w 284"/>
                <a:gd name="T19" fmla="*/ 260 h 300"/>
                <a:gd name="T20" fmla="*/ 144 w 284"/>
                <a:gd name="T21" fmla="*/ 255 h 300"/>
                <a:gd name="T22" fmla="*/ 139 w 284"/>
                <a:gd name="T23" fmla="*/ 267 h 300"/>
                <a:gd name="T24" fmla="*/ 156 w 284"/>
                <a:gd name="T25" fmla="*/ 283 h 300"/>
                <a:gd name="T26" fmla="*/ 156 w 284"/>
                <a:gd name="T27" fmla="*/ 293 h 300"/>
                <a:gd name="T28" fmla="*/ 144 w 284"/>
                <a:gd name="T29" fmla="*/ 300 h 300"/>
                <a:gd name="T30" fmla="*/ 118 w 284"/>
                <a:gd name="T31" fmla="*/ 293 h 300"/>
                <a:gd name="T32" fmla="*/ 102 w 284"/>
                <a:gd name="T33" fmla="*/ 283 h 300"/>
                <a:gd name="T34" fmla="*/ 64 w 284"/>
                <a:gd name="T35" fmla="*/ 227 h 300"/>
                <a:gd name="T36" fmla="*/ 54 w 284"/>
                <a:gd name="T37" fmla="*/ 189 h 300"/>
                <a:gd name="T38" fmla="*/ 33 w 284"/>
                <a:gd name="T39" fmla="*/ 189 h 300"/>
                <a:gd name="T40" fmla="*/ 33 w 284"/>
                <a:gd name="T41" fmla="*/ 182 h 300"/>
                <a:gd name="T42" fmla="*/ 0 w 284"/>
                <a:gd name="T43" fmla="*/ 144 h 300"/>
                <a:gd name="T44" fmla="*/ 0 w 284"/>
                <a:gd name="T45" fmla="*/ 132 h 300"/>
                <a:gd name="T46" fmla="*/ 17 w 284"/>
                <a:gd name="T47" fmla="*/ 94 h 300"/>
                <a:gd name="T48" fmla="*/ 12 w 284"/>
                <a:gd name="T49" fmla="*/ 87 h 300"/>
                <a:gd name="T50" fmla="*/ 33 w 284"/>
                <a:gd name="T51" fmla="*/ 71 h 300"/>
                <a:gd name="T52" fmla="*/ 54 w 284"/>
                <a:gd name="T53" fmla="*/ 71 h 300"/>
                <a:gd name="T54" fmla="*/ 54 w 284"/>
                <a:gd name="T55" fmla="*/ 61 h 300"/>
                <a:gd name="T56" fmla="*/ 64 w 284"/>
                <a:gd name="T57" fmla="*/ 61 h 300"/>
                <a:gd name="T58" fmla="*/ 54 w 284"/>
                <a:gd name="T59" fmla="*/ 43 h 300"/>
                <a:gd name="T60" fmla="*/ 64 w 284"/>
                <a:gd name="T61" fmla="*/ 38 h 300"/>
                <a:gd name="T62" fmla="*/ 64 w 284"/>
                <a:gd name="T63" fmla="*/ 33 h 300"/>
                <a:gd name="T64" fmla="*/ 69 w 284"/>
                <a:gd name="T65" fmla="*/ 5 h 300"/>
                <a:gd name="T66" fmla="*/ 80 w 284"/>
                <a:gd name="T67" fmla="*/ 0 h 300"/>
                <a:gd name="T68" fmla="*/ 144 w 284"/>
                <a:gd name="T69" fmla="*/ 17 h 300"/>
                <a:gd name="T70" fmla="*/ 156 w 284"/>
                <a:gd name="T71" fmla="*/ 17 h 300"/>
                <a:gd name="T72" fmla="*/ 156 w 284"/>
                <a:gd name="T73" fmla="*/ 21 h 300"/>
                <a:gd name="T74" fmla="*/ 156 w 284"/>
                <a:gd name="T75" fmla="*/ 5 h 300"/>
                <a:gd name="T76" fmla="*/ 156 w 284"/>
                <a:gd name="T77" fmla="*/ 0 h 300"/>
                <a:gd name="T78" fmla="*/ 191 w 284"/>
                <a:gd name="T79" fmla="*/ 0 h 300"/>
                <a:gd name="T80" fmla="*/ 208 w 284"/>
                <a:gd name="T81" fmla="*/ 5 h 300"/>
                <a:gd name="T82" fmla="*/ 208 w 284"/>
                <a:gd name="T83" fmla="*/ 17 h 300"/>
                <a:gd name="T84" fmla="*/ 225 w 284"/>
                <a:gd name="T85" fmla="*/ 5 h 300"/>
                <a:gd name="T86" fmla="*/ 208 w 284"/>
                <a:gd name="T87" fmla="*/ 0 h 300"/>
                <a:gd name="T88" fmla="*/ 213 w 284"/>
                <a:gd name="T89" fmla="*/ 0 h 300"/>
                <a:gd name="T90" fmla="*/ 284 w 284"/>
                <a:gd name="T91" fmla="*/ 17 h 300"/>
                <a:gd name="T92" fmla="*/ 284 w 284"/>
                <a:gd name="T93" fmla="*/ 33 h 300"/>
                <a:gd name="T94" fmla="*/ 279 w 284"/>
                <a:gd name="T95" fmla="*/ 43 h 300"/>
                <a:gd name="T96" fmla="*/ 250 w 284"/>
                <a:gd name="T97" fmla="*/ 71 h 300"/>
                <a:gd name="T98" fmla="*/ 250 w 284"/>
                <a:gd name="T99" fmla="*/ 87 h 300"/>
                <a:gd name="T100" fmla="*/ 262 w 284"/>
                <a:gd name="T101" fmla="*/ 144 h 300"/>
                <a:gd name="T102" fmla="*/ 284 w 284"/>
                <a:gd name="T103" fmla="*/ 172 h 300"/>
                <a:gd name="T104" fmla="*/ 279 w 284"/>
                <a:gd name="T105" fmla="*/ 198 h 300"/>
                <a:gd name="T106" fmla="*/ 279 w 284"/>
                <a:gd name="T107" fmla="*/ 198 h 300"/>
                <a:gd name="T108" fmla="*/ 279 w 284"/>
                <a:gd name="T109" fmla="*/ 19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4" h="300">
                  <a:moveTo>
                    <a:pt x="279" y="198"/>
                  </a:moveTo>
                  <a:lnTo>
                    <a:pt x="267" y="206"/>
                  </a:lnTo>
                  <a:lnTo>
                    <a:pt x="267" y="227"/>
                  </a:lnTo>
                  <a:lnTo>
                    <a:pt x="262" y="255"/>
                  </a:lnTo>
                  <a:lnTo>
                    <a:pt x="246" y="260"/>
                  </a:lnTo>
                  <a:lnTo>
                    <a:pt x="241" y="260"/>
                  </a:lnTo>
                  <a:lnTo>
                    <a:pt x="241" y="255"/>
                  </a:lnTo>
                  <a:lnTo>
                    <a:pt x="225" y="255"/>
                  </a:lnTo>
                  <a:lnTo>
                    <a:pt x="213" y="243"/>
                  </a:lnTo>
                  <a:lnTo>
                    <a:pt x="170" y="260"/>
                  </a:lnTo>
                  <a:lnTo>
                    <a:pt x="144" y="255"/>
                  </a:lnTo>
                  <a:lnTo>
                    <a:pt x="139" y="267"/>
                  </a:lnTo>
                  <a:lnTo>
                    <a:pt x="156" y="283"/>
                  </a:lnTo>
                  <a:lnTo>
                    <a:pt x="156" y="293"/>
                  </a:lnTo>
                  <a:lnTo>
                    <a:pt x="144" y="300"/>
                  </a:lnTo>
                  <a:lnTo>
                    <a:pt x="118" y="293"/>
                  </a:lnTo>
                  <a:lnTo>
                    <a:pt x="102" y="283"/>
                  </a:lnTo>
                  <a:lnTo>
                    <a:pt x="64" y="227"/>
                  </a:lnTo>
                  <a:lnTo>
                    <a:pt x="54" y="189"/>
                  </a:lnTo>
                  <a:lnTo>
                    <a:pt x="33" y="189"/>
                  </a:lnTo>
                  <a:lnTo>
                    <a:pt x="33" y="182"/>
                  </a:lnTo>
                  <a:lnTo>
                    <a:pt x="0" y="144"/>
                  </a:lnTo>
                  <a:lnTo>
                    <a:pt x="0" y="132"/>
                  </a:lnTo>
                  <a:lnTo>
                    <a:pt x="17" y="94"/>
                  </a:lnTo>
                  <a:lnTo>
                    <a:pt x="12" y="87"/>
                  </a:lnTo>
                  <a:lnTo>
                    <a:pt x="33" y="71"/>
                  </a:lnTo>
                  <a:lnTo>
                    <a:pt x="54" y="71"/>
                  </a:lnTo>
                  <a:lnTo>
                    <a:pt x="54" y="61"/>
                  </a:lnTo>
                  <a:lnTo>
                    <a:pt x="64" y="61"/>
                  </a:lnTo>
                  <a:lnTo>
                    <a:pt x="54" y="43"/>
                  </a:lnTo>
                  <a:lnTo>
                    <a:pt x="64" y="38"/>
                  </a:lnTo>
                  <a:lnTo>
                    <a:pt x="64" y="33"/>
                  </a:lnTo>
                  <a:lnTo>
                    <a:pt x="69" y="5"/>
                  </a:lnTo>
                  <a:lnTo>
                    <a:pt x="80" y="0"/>
                  </a:lnTo>
                  <a:lnTo>
                    <a:pt x="144" y="17"/>
                  </a:lnTo>
                  <a:lnTo>
                    <a:pt x="156" y="17"/>
                  </a:lnTo>
                  <a:lnTo>
                    <a:pt x="156" y="21"/>
                  </a:lnTo>
                  <a:lnTo>
                    <a:pt x="156" y="5"/>
                  </a:lnTo>
                  <a:lnTo>
                    <a:pt x="156" y="0"/>
                  </a:lnTo>
                  <a:lnTo>
                    <a:pt x="191" y="0"/>
                  </a:lnTo>
                  <a:lnTo>
                    <a:pt x="208" y="5"/>
                  </a:lnTo>
                  <a:lnTo>
                    <a:pt x="208" y="17"/>
                  </a:lnTo>
                  <a:lnTo>
                    <a:pt x="225" y="5"/>
                  </a:lnTo>
                  <a:lnTo>
                    <a:pt x="208" y="0"/>
                  </a:lnTo>
                  <a:lnTo>
                    <a:pt x="213" y="0"/>
                  </a:lnTo>
                  <a:lnTo>
                    <a:pt x="284" y="17"/>
                  </a:lnTo>
                  <a:lnTo>
                    <a:pt x="284" y="33"/>
                  </a:lnTo>
                  <a:lnTo>
                    <a:pt x="279" y="43"/>
                  </a:lnTo>
                  <a:lnTo>
                    <a:pt x="250" y="71"/>
                  </a:lnTo>
                  <a:lnTo>
                    <a:pt x="250" y="87"/>
                  </a:lnTo>
                  <a:lnTo>
                    <a:pt x="262" y="144"/>
                  </a:lnTo>
                  <a:lnTo>
                    <a:pt x="284" y="172"/>
                  </a:lnTo>
                  <a:lnTo>
                    <a:pt x="279" y="198"/>
                  </a:lnTo>
                  <a:lnTo>
                    <a:pt x="279" y="198"/>
                  </a:lnTo>
                  <a:lnTo>
                    <a:pt x="279" y="19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6" name="Freeform 526">
              <a:extLst>
                <a:ext uri="{FF2B5EF4-FFF2-40B4-BE49-F238E27FC236}">
                  <a16:creationId xmlns:a16="http://schemas.microsoft.com/office/drawing/2014/main" id="{2275E275-F647-4308-BB14-D3D346924622}"/>
                </a:ext>
              </a:extLst>
            </p:cNvPr>
            <p:cNvSpPr>
              <a:spLocks noEditPoints="1"/>
            </p:cNvSpPr>
            <p:nvPr/>
          </p:nvSpPr>
          <p:spPr bwMode="gray">
            <a:xfrm>
              <a:off x="4728812" y="3697812"/>
              <a:ext cx="27993" cy="9058"/>
            </a:xfrm>
            <a:custGeom>
              <a:avLst/>
              <a:gdLst>
                <a:gd name="T0" fmla="*/ 33 w 68"/>
                <a:gd name="T1" fmla="*/ 22 h 22"/>
                <a:gd name="T2" fmla="*/ 5 w 68"/>
                <a:gd name="T3" fmla="*/ 7 h 22"/>
                <a:gd name="T4" fmla="*/ 0 w 68"/>
                <a:gd name="T5" fmla="*/ 0 h 22"/>
                <a:gd name="T6" fmla="*/ 33 w 68"/>
                <a:gd name="T7" fmla="*/ 22 h 22"/>
                <a:gd name="T8" fmla="*/ 33 w 68"/>
                <a:gd name="T9" fmla="*/ 22 h 22"/>
                <a:gd name="T10" fmla="*/ 33 w 68"/>
                <a:gd name="T11" fmla="*/ 22 h 22"/>
                <a:gd name="T12" fmla="*/ 68 w 68"/>
                <a:gd name="T13" fmla="*/ 22 h 22"/>
                <a:gd name="T14" fmla="*/ 54 w 68"/>
                <a:gd name="T15" fmla="*/ 0 h 22"/>
                <a:gd name="T16" fmla="*/ 68 w 68"/>
                <a:gd name="T17" fmla="*/ 7 h 22"/>
                <a:gd name="T18" fmla="*/ 68 w 68"/>
                <a:gd name="T19" fmla="*/ 22 h 22"/>
                <a:gd name="T20" fmla="*/ 68 w 68"/>
                <a:gd name="T21" fmla="*/ 22 h 22"/>
                <a:gd name="T22" fmla="*/ 68 w 68"/>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22">
                  <a:moveTo>
                    <a:pt x="33" y="22"/>
                  </a:moveTo>
                  <a:lnTo>
                    <a:pt x="5" y="7"/>
                  </a:lnTo>
                  <a:lnTo>
                    <a:pt x="0" y="0"/>
                  </a:lnTo>
                  <a:lnTo>
                    <a:pt x="33" y="22"/>
                  </a:lnTo>
                  <a:lnTo>
                    <a:pt x="33" y="22"/>
                  </a:lnTo>
                  <a:lnTo>
                    <a:pt x="33" y="22"/>
                  </a:lnTo>
                  <a:close/>
                  <a:moveTo>
                    <a:pt x="68" y="22"/>
                  </a:moveTo>
                  <a:lnTo>
                    <a:pt x="54" y="0"/>
                  </a:lnTo>
                  <a:lnTo>
                    <a:pt x="68" y="7"/>
                  </a:lnTo>
                  <a:lnTo>
                    <a:pt x="68" y="22"/>
                  </a:lnTo>
                  <a:lnTo>
                    <a:pt x="68" y="22"/>
                  </a:lnTo>
                  <a:lnTo>
                    <a:pt x="68" y="2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7" name="Freeform 527">
              <a:extLst>
                <a:ext uri="{FF2B5EF4-FFF2-40B4-BE49-F238E27FC236}">
                  <a16:creationId xmlns:a16="http://schemas.microsoft.com/office/drawing/2014/main" id="{F4C07571-613F-415B-8CA7-6C4F013023C4}"/>
                </a:ext>
              </a:extLst>
            </p:cNvPr>
            <p:cNvSpPr>
              <a:spLocks/>
            </p:cNvSpPr>
            <p:nvPr/>
          </p:nvSpPr>
          <p:spPr bwMode="gray">
            <a:xfrm>
              <a:off x="4195699" y="3615469"/>
              <a:ext cx="128441" cy="130103"/>
            </a:xfrm>
            <a:custGeom>
              <a:avLst/>
              <a:gdLst>
                <a:gd name="T0" fmla="*/ 22 w 312"/>
                <a:gd name="T1" fmla="*/ 151 h 316"/>
                <a:gd name="T2" fmla="*/ 43 w 312"/>
                <a:gd name="T3" fmla="*/ 151 h 316"/>
                <a:gd name="T4" fmla="*/ 52 w 312"/>
                <a:gd name="T5" fmla="*/ 139 h 316"/>
                <a:gd name="T6" fmla="*/ 69 w 312"/>
                <a:gd name="T7" fmla="*/ 127 h 316"/>
                <a:gd name="T8" fmla="*/ 60 w 312"/>
                <a:gd name="T9" fmla="*/ 94 h 316"/>
                <a:gd name="T10" fmla="*/ 90 w 312"/>
                <a:gd name="T11" fmla="*/ 94 h 316"/>
                <a:gd name="T12" fmla="*/ 114 w 312"/>
                <a:gd name="T13" fmla="*/ 73 h 316"/>
                <a:gd name="T14" fmla="*/ 140 w 312"/>
                <a:gd name="T15" fmla="*/ 89 h 316"/>
                <a:gd name="T16" fmla="*/ 140 w 312"/>
                <a:gd name="T17" fmla="*/ 82 h 316"/>
                <a:gd name="T18" fmla="*/ 178 w 312"/>
                <a:gd name="T19" fmla="*/ 49 h 316"/>
                <a:gd name="T20" fmla="*/ 178 w 312"/>
                <a:gd name="T21" fmla="*/ 49 h 316"/>
                <a:gd name="T22" fmla="*/ 194 w 312"/>
                <a:gd name="T23" fmla="*/ 16 h 316"/>
                <a:gd name="T24" fmla="*/ 220 w 312"/>
                <a:gd name="T25" fmla="*/ 33 h 316"/>
                <a:gd name="T26" fmla="*/ 270 w 312"/>
                <a:gd name="T27" fmla="*/ 16 h 316"/>
                <a:gd name="T28" fmla="*/ 291 w 312"/>
                <a:gd name="T29" fmla="*/ 0 h 316"/>
                <a:gd name="T30" fmla="*/ 312 w 312"/>
                <a:gd name="T31" fmla="*/ 0 h 316"/>
                <a:gd name="T32" fmla="*/ 303 w 312"/>
                <a:gd name="T33" fmla="*/ 16 h 316"/>
                <a:gd name="T34" fmla="*/ 308 w 312"/>
                <a:gd name="T35" fmla="*/ 28 h 316"/>
                <a:gd name="T36" fmla="*/ 312 w 312"/>
                <a:gd name="T37" fmla="*/ 54 h 316"/>
                <a:gd name="T38" fmla="*/ 303 w 312"/>
                <a:gd name="T39" fmla="*/ 82 h 316"/>
                <a:gd name="T40" fmla="*/ 286 w 312"/>
                <a:gd name="T41" fmla="*/ 122 h 316"/>
                <a:gd name="T42" fmla="*/ 291 w 312"/>
                <a:gd name="T43" fmla="*/ 193 h 316"/>
                <a:gd name="T44" fmla="*/ 286 w 312"/>
                <a:gd name="T45" fmla="*/ 193 h 316"/>
                <a:gd name="T46" fmla="*/ 291 w 312"/>
                <a:gd name="T47" fmla="*/ 167 h 316"/>
                <a:gd name="T48" fmla="*/ 286 w 312"/>
                <a:gd name="T49" fmla="*/ 160 h 316"/>
                <a:gd name="T50" fmla="*/ 286 w 312"/>
                <a:gd name="T51" fmla="*/ 177 h 316"/>
                <a:gd name="T52" fmla="*/ 274 w 312"/>
                <a:gd name="T53" fmla="*/ 193 h 316"/>
                <a:gd name="T54" fmla="*/ 274 w 312"/>
                <a:gd name="T55" fmla="*/ 222 h 316"/>
                <a:gd name="T56" fmla="*/ 270 w 312"/>
                <a:gd name="T57" fmla="*/ 233 h 316"/>
                <a:gd name="T58" fmla="*/ 270 w 312"/>
                <a:gd name="T59" fmla="*/ 238 h 316"/>
                <a:gd name="T60" fmla="*/ 274 w 312"/>
                <a:gd name="T61" fmla="*/ 233 h 316"/>
                <a:gd name="T62" fmla="*/ 286 w 312"/>
                <a:gd name="T63" fmla="*/ 255 h 316"/>
                <a:gd name="T64" fmla="*/ 270 w 312"/>
                <a:gd name="T65" fmla="*/ 271 h 316"/>
                <a:gd name="T66" fmla="*/ 270 w 312"/>
                <a:gd name="T67" fmla="*/ 290 h 316"/>
                <a:gd name="T68" fmla="*/ 286 w 312"/>
                <a:gd name="T69" fmla="*/ 307 h 316"/>
                <a:gd name="T70" fmla="*/ 274 w 312"/>
                <a:gd name="T71" fmla="*/ 311 h 316"/>
                <a:gd name="T72" fmla="*/ 258 w 312"/>
                <a:gd name="T73" fmla="*/ 316 h 316"/>
                <a:gd name="T74" fmla="*/ 204 w 312"/>
                <a:gd name="T75" fmla="*/ 295 h 316"/>
                <a:gd name="T76" fmla="*/ 194 w 312"/>
                <a:gd name="T77" fmla="*/ 307 h 316"/>
                <a:gd name="T78" fmla="*/ 145 w 312"/>
                <a:gd name="T79" fmla="*/ 278 h 316"/>
                <a:gd name="T80" fmla="*/ 140 w 312"/>
                <a:gd name="T81" fmla="*/ 295 h 316"/>
                <a:gd name="T82" fmla="*/ 86 w 312"/>
                <a:gd name="T83" fmla="*/ 238 h 316"/>
                <a:gd name="T84" fmla="*/ 60 w 312"/>
                <a:gd name="T85" fmla="*/ 205 h 316"/>
                <a:gd name="T86" fmla="*/ 0 w 312"/>
                <a:gd name="T87" fmla="*/ 160 h 316"/>
                <a:gd name="T88" fmla="*/ 5 w 312"/>
                <a:gd name="T89" fmla="*/ 144 h 316"/>
                <a:gd name="T90" fmla="*/ 22 w 312"/>
                <a:gd name="T91" fmla="*/ 160 h 316"/>
                <a:gd name="T92" fmla="*/ 22 w 312"/>
                <a:gd name="T93" fmla="*/ 160 h 316"/>
                <a:gd name="T94" fmla="*/ 22 w 312"/>
                <a:gd name="T95" fmla="*/ 151 h 316"/>
                <a:gd name="T96" fmla="*/ 22 w 312"/>
                <a:gd name="T97" fmla="*/ 151 h 316"/>
                <a:gd name="T98" fmla="*/ 22 w 312"/>
                <a:gd name="T99" fmla="*/ 15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2" h="316">
                  <a:moveTo>
                    <a:pt x="22" y="151"/>
                  </a:moveTo>
                  <a:lnTo>
                    <a:pt x="43" y="151"/>
                  </a:lnTo>
                  <a:lnTo>
                    <a:pt x="52" y="139"/>
                  </a:lnTo>
                  <a:lnTo>
                    <a:pt x="69" y="127"/>
                  </a:lnTo>
                  <a:lnTo>
                    <a:pt x="60" y="94"/>
                  </a:lnTo>
                  <a:lnTo>
                    <a:pt x="90" y="94"/>
                  </a:lnTo>
                  <a:lnTo>
                    <a:pt x="114" y="73"/>
                  </a:lnTo>
                  <a:lnTo>
                    <a:pt x="140" y="89"/>
                  </a:lnTo>
                  <a:lnTo>
                    <a:pt x="140" y="82"/>
                  </a:lnTo>
                  <a:lnTo>
                    <a:pt x="178" y="49"/>
                  </a:lnTo>
                  <a:lnTo>
                    <a:pt x="178" y="49"/>
                  </a:lnTo>
                  <a:lnTo>
                    <a:pt x="194" y="16"/>
                  </a:lnTo>
                  <a:lnTo>
                    <a:pt x="220" y="33"/>
                  </a:lnTo>
                  <a:lnTo>
                    <a:pt x="270" y="16"/>
                  </a:lnTo>
                  <a:lnTo>
                    <a:pt x="291" y="0"/>
                  </a:lnTo>
                  <a:lnTo>
                    <a:pt x="312" y="0"/>
                  </a:lnTo>
                  <a:lnTo>
                    <a:pt x="303" y="16"/>
                  </a:lnTo>
                  <a:lnTo>
                    <a:pt x="308" y="28"/>
                  </a:lnTo>
                  <a:lnTo>
                    <a:pt x="312" y="54"/>
                  </a:lnTo>
                  <a:lnTo>
                    <a:pt x="303" y="82"/>
                  </a:lnTo>
                  <a:lnTo>
                    <a:pt x="286" y="122"/>
                  </a:lnTo>
                  <a:lnTo>
                    <a:pt x="291" y="193"/>
                  </a:lnTo>
                  <a:lnTo>
                    <a:pt x="286" y="193"/>
                  </a:lnTo>
                  <a:lnTo>
                    <a:pt x="291" y="167"/>
                  </a:lnTo>
                  <a:lnTo>
                    <a:pt x="286" y="160"/>
                  </a:lnTo>
                  <a:lnTo>
                    <a:pt x="286" y="177"/>
                  </a:lnTo>
                  <a:lnTo>
                    <a:pt x="274" y="193"/>
                  </a:lnTo>
                  <a:lnTo>
                    <a:pt x="274" y="222"/>
                  </a:lnTo>
                  <a:lnTo>
                    <a:pt x="270" y="233"/>
                  </a:lnTo>
                  <a:lnTo>
                    <a:pt x="270" y="238"/>
                  </a:lnTo>
                  <a:lnTo>
                    <a:pt x="274" y="233"/>
                  </a:lnTo>
                  <a:lnTo>
                    <a:pt x="286" y="255"/>
                  </a:lnTo>
                  <a:lnTo>
                    <a:pt x="270" y="271"/>
                  </a:lnTo>
                  <a:lnTo>
                    <a:pt x="270" y="290"/>
                  </a:lnTo>
                  <a:lnTo>
                    <a:pt x="286" y="307"/>
                  </a:lnTo>
                  <a:lnTo>
                    <a:pt x="274" y="311"/>
                  </a:lnTo>
                  <a:lnTo>
                    <a:pt x="258" y="316"/>
                  </a:lnTo>
                  <a:lnTo>
                    <a:pt x="204" y="295"/>
                  </a:lnTo>
                  <a:lnTo>
                    <a:pt x="194" y="307"/>
                  </a:lnTo>
                  <a:lnTo>
                    <a:pt x="145" y="278"/>
                  </a:lnTo>
                  <a:lnTo>
                    <a:pt x="140" y="295"/>
                  </a:lnTo>
                  <a:lnTo>
                    <a:pt x="86" y="238"/>
                  </a:lnTo>
                  <a:lnTo>
                    <a:pt x="60" y="205"/>
                  </a:lnTo>
                  <a:lnTo>
                    <a:pt x="0" y="160"/>
                  </a:lnTo>
                  <a:lnTo>
                    <a:pt x="5" y="144"/>
                  </a:lnTo>
                  <a:lnTo>
                    <a:pt x="22" y="160"/>
                  </a:lnTo>
                  <a:lnTo>
                    <a:pt x="22" y="160"/>
                  </a:lnTo>
                  <a:lnTo>
                    <a:pt x="22" y="151"/>
                  </a:lnTo>
                  <a:lnTo>
                    <a:pt x="22" y="151"/>
                  </a:lnTo>
                  <a:lnTo>
                    <a:pt x="22" y="15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8" name="Freeform 529">
              <a:extLst>
                <a:ext uri="{FF2B5EF4-FFF2-40B4-BE49-F238E27FC236}">
                  <a16:creationId xmlns:a16="http://schemas.microsoft.com/office/drawing/2014/main" id="{4D9684F0-10CA-4B6B-B7EA-2DCBD005398D}"/>
                </a:ext>
              </a:extLst>
            </p:cNvPr>
            <p:cNvSpPr>
              <a:spLocks/>
            </p:cNvSpPr>
            <p:nvPr/>
          </p:nvSpPr>
          <p:spPr bwMode="gray">
            <a:xfrm>
              <a:off x="4914476" y="4643111"/>
              <a:ext cx="244943" cy="261852"/>
            </a:xfrm>
            <a:custGeom>
              <a:avLst/>
              <a:gdLst>
                <a:gd name="T0" fmla="*/ 343 w 595"/>
                <a:gd name="T1" fmla="*/ 449 h 636"/>
                <a:gd name="T2" fmla="*/ 189 w 595"/>
                <a:gd name="T3" fmla="*/ 359 h 636"/>
                <a:gd name="T4" fmla="*/ 118 w 595"/>
                <a:gd name="T5" fmla="*/ 343 h 636"/>
                <a:gd name="T6" fmla="*/ 50 w 595"/>
                <a:gd name="T7" fmla="*/ 289 h 636"/>
                <a:gd name="T8" fmla="*/ 0 w 595"/>
                <a:gd name="T9" fmla="*/ 227 h 636"/>
                <a:gd name="T10" fmla="*/ 33 w 595"/>
                <a:gd name="T11" fmla="*/ 100 h 636"/>
                <a:gd name="T12" fmla="*/ 71 w 595"/>
                <a:gd name="T13" fmla="*/ 29 h 636"/>
                <a:gd name="T14" fmla="*/ 255 w 595"/>
                <a:gd name="T15" fmla="*/ 12 h 636"/>
                <a:gd name="T16" fmla="*/ 319 w 595"/>
                <a:gd name="T17" fmla="*/ 67 h 636"/>
                <a:gd name="T18" fmla="*/ 343 w 595"/>
                <a:gd name="T19" fmla="*/ 161 h 636"/>
                <a:gd name="T20" fmla="*/ 336 w 595"/>
                <a:gd name="T21" fmla="*/ 215 h 636"/>
                <a:gd name="T22" fmla="*/ 428 w 595"/>
                <a:gd name="T23" fmla="*/ 227 h 636"/>
                <a:gd name="T24" fmla="*/ 461 w 595"/>
                <a:gd name="T25" fmla="*/ 227 h 636"/>
                <a:gd name="T26" fmla="*/ 499 w 595"/>
                <a:gd name="T27" fmla="*/ 255 h 636"/>
                <a:gd name="T28" fmla="*/ 515 w 595"/>
                <a:gd name="T29" fmla="*/ 359 h 636"/>
                <a:gd name="T30" fmla="*/ 569 w 595"/>
                <a:gd name="T31" fmla="*/ 343 h 636"/>
                <a:gd name="T32" fmla="*/ 591 w 595"/>
                <a:gd name="T33" fmla="*/ 364 h 636"/>
                <a:gd name="T34" fmla="*/ 581 w 595"/>
                <a:gd name="T35" fmla="*/ 437 h 636"/>
                <a:gd name="T36" fmla="*/ 569 w 595"/>
                <a:gd name="T37" fmla="*/ 470 h 636"/>
                <a:gd name="T38" fmla="*/ 569 w 595"/>
                <a:gd name="T39" fmla="*/ 548 h 636"/>
                <a:gd name="T40" fmla="*/ 515 w 595"/>
                <a:gd name="T41" fmla="*/ 586 h 636"/>
                <a:gd name="T42" fmla="*/ 503 w 595"/>
                <a:gd name="T43" fmla="*/ 615 h 636"/>
                <a:gd name="T44" fmla="*/ 482 w 595"/>
                <a:gd name="T45" fmla="*/ 615 h 636"/>
                <a:gd name="T46" fmla="*/ 444 w 595"/>
                <a:gd name="T47" fmla="*/ 636 h 636"/>
                <a:gd name="T48" fmla="*/ 418 w 595"/>
                <a:gd name="T49" fmla="*/ 624 h 636"/>
                <a:gd name="T50" fmla="*/ 397 w 595"/>
                <a:gd name="T51" fmla="*/ 624 h 636"/>
                <a:gd name="T52" fmla="*/ 288 w 595"/>
                <a:gd name="T53" fmla="*/ 615 h 636"/>
                <a:gd name="T54" fmla="*/ 319 w 595"/>
                <a:gd name="T55" fmla="*/ 565 h 636"/>
                <a:gd name="T56" fmla="*/ 343 w 595"/>
                <a:gd name="T57" fmla="*/ 508 h 636"/>
                <a:gd name="T58" fmla="*/ 343 w 595"/>
                <a:gd name="T59" fmla="*/ 492 h 636"/>
                <a:gd name="T60" fmla="*/ 364 w 595"/>
                <a:gd name="T61" fmla="*/ 470 h 636"/>
                <a:gd name="T62" fmla="*/ 357 w 595"/>
                <a:gd name="T63" fmla="*/ 45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5" h="636">
                  <a:moveTo>
                    <a:pt x="357" y="459"/>
                  </a:moveTo>
                  <a:lnTo>
                    <a:pt x="343" y="449"/>
                  </a:lnTo>
                  <a:lnTo>
                    <a:pt x="272" y="421"/>
                  </a:lnTo>
                  <a:lnTo>
                    <a:pt x="189" y="359"/>
                  </a:lnTo>
                  <a:lnTo>
                    <a:pt x="173" y="359"/>
                  </a:lnTo>
                  <a:lnTo>
                    <a:pt x="118" y="343"/>
                  </a:lnTo>
                  <a:lnTo>
                    <a:pt x="109" y="326"/>
                  </a:lnTo>
                  <a:lnTo>
                    <a:pt x="50" y="289"/>
                  </a:lnTo>
                  <a:lnTo>
                    <a:pt x="33" y="248"/>
                  </a:lnTo>
                  <a:lnTo>
                    <a:pt x="0" y="227"/>
                  </a:lnTo>
                  <a:lnTo>
                    <a:pt x="33" y="140"/>
                  </a:lnTo>
                  <a:lnTo>
                    <a:pt x="33" y="100"/>
                  </a:lnTo>
                  <a:lnTo>
                    <a:pt x="54" y="67"/>
                  </a:lnTo>
                  <a:lnTo>
                    <a:pt x="71" y="29"/>
                  </a:lnTo>
                  <a:lnTo>
                    <a:pt x="189" y="0"/>
                  </a:lnTo>
                  <a:lnTo>
                    <a:pt x="255" y="12"/>
                  </a:lnTo>
                  <a:lnTo>
                    <a:pt x="319" y="45"/>
                  </a:lnTo>
                  <a:lnTo>
                    <a:pt x="319" y="67"/>
                  </a:lnTo>
                  <a:lnTo>
                    <a:pt x="343" y="128"/>
                  </a:lnTo>
                  <a:lnTo>
                    <a:pt x="343" y="161"/>
                  </a:lnTo>
                  <a:lnTo>
                    <a:pt x="336" y="173"/>
                  </a:lnTo>
                  <a:lnTo>
                    <a:pt x="336" y="215"/>
                  </a:lnTo>
                  <a:lnTo>
                    <a:pt x="411" y="227"/>
                  </a:lnTo>
                  <a:lnTo>
                    <a:pt x="428" y="227"/>
                  </a:lnTo>
                  <a:lnTo>
                    <a:pt x="444" y="211"/>
                  </a:lnTo>
                  <a:lnTo>
                    <a:pt x="461" y="227"/>
                  </a:lnTo>
                  <a:lnTo>
                    <a:pt x="482" y="232"/>
                  </a:lnTo>
                  <a:lnTo>
                    <a:pt x="499" y="255"/>
                  </a:lnTo>
                  <a:lnTo>
                    <a:pt x="499" y="272"/>
                  </a:lnTo>
                  <a:lnTo>
                    <a:pt x="515" y="359"/>
                  </a:lnTo>
                  <a:lnTo>
                    <a:pt x="541" y="359"/>
                  </a:lnTo>
                  <a:lnTo>
                    <a:pt x="569" y="343"/>
                  </a:lnTo>
                  <a:lnTo>
                    <a:pt x="595" y="364"/>
                  </a:lnTo>
                  <a:lnTo>
                    <a:pt x="591" y="364"/>
                  </a:lnTo>
                  <a:lnTo>
                    <a:pt x="595" y="381"/>
                  </a:lnTo>
                  <a:lnTo>
                    <a:pt x="581" y="437"/>
                  </a:lnTo>
                  <a:lnTo>
                    <a:pt x="581" y="449"/>
                  </a:lnTo>
                  <a:lnTo>
                    <a:pt x="569" y="470"/>
                  </a:lnTo>
                  <a:lnTo>
                    <a:pt x="574" y="475"/>
                  </a:lnTo>
                  <a:lnTo>
                    <a:pt x="569" y="548"/>
                  </a:lnTo>
                  <a:lnTo>
                    <a:pt x="541" y="570"/>
                  </a:lnTo>
                  <a:lnTo>
                    <a:pt x="515" y="586"/>
                  </a:lnTo>
                  <a:lnTo>
                    <a:pt x="503" y="598"/>
                  </a:lnTo>
                  <a:lnTo>
                    <a:pt x="503" y="615"/>
                  </a:lnTo>
                  <a:lnTo>
                    <a:pt x="489" y="619"/>
                  </a:lnTo>
                  <a:lnTo>
                    <a:pt x="482" y="615"/>
                  </a:lnTo>
                  <a:lnTo>
                    <a:pt x="465" y="615"/>
                  </a:lnTo>
                  <a:lnTo>
                    <a:pt x="444" y="636"/>
                  </a:lnTo>
                  <a:lnTo>
                    <a:pt x="435" y="624"/>
                  </a:lnTo>
                  <a:lnTo>
                    <a:pt x="418" y="624"/>
                  </a:lnTo>
                  <a:lnTo>
                    <a:pt x="411" y="619"/>
                  </a:lnTo>
                  <a:lnTo>
                    <a:pt x="397" y="624"/>
                  </a:lnTo>
                  <a:lnTo>
                    <a:pt x="352" y="615"/>
                  </a:lnTo>
                  <a:lnTo>
                    <a:pt x="288" y="615"/>
                  </a:lnTo>
                  <a:lnTo>
                    <a:pt x="288" y="603"/>
                  </a:lnTo>
                  <a:lnTo>
                    <a:pt x="319" y="565"/>
                  </a:lnTo>
                  <a:lnTo>
                    <a:pt x="319" y="525"/>
                  </a:lnTo>
                  <a:lnTo>
                    <a:pt x="343" y="508"/>
                  </a:lnTo>
                  <a:lnTo>
                    <a:pt x="343" y="508"/>
                  </a:lnTo>
                  <a:lnTo>
                    <a:pt x="343" y="492"/>
                  </a:lnTo>
                  <a:lnTo>
                    <a:pt x="364" y="475"/>
                  </a:lnTo>
                  <a:lnTo>
                    <a:pt x="364" y="470"/>
                  </a:lnTo>
                  <a:lnTo>
                    <a:pt x="357" y="459"/>
                  </a:lnTo>
                  <a:lnTo>
                    <a:pt x="357" y="459"/>
                  </a:lnTo>
                  <a:lnTo>
                    <a:pt x="357" y="45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9" name="Freeform 530">
              <a:extLst>
                <a:ext uri="{FF2B5EF4-FFF2-40B4-BE49-F238E27FC236}">
                  <a16:creationId xmlns:a16="http://schemas.microsoft.com/office/drawing/2014/main" id="{EF6DF78B-7A49-4E19-B325-7363AD7F6A22}"/>
                </a:ext>
              </a:extLst>
            </p:cNvPr>
            <p:cNvSpPr>
              <a:spLocks/>
            </p:cNvSpPr>
            <p:nvPr/>
          </p:nvSpPr>
          <p:spPr bwMode="gray">
            <a:xfrm>
              <a:off x="4375599" y="4067532"/>
              <a:ext cx="367621" cy="547583"/>
            </a:xfrm>
            <a:custGeom>
              <a:avLst/>
              <a:gdLst>
                <a:gd name="T0" fmla="*/ 872 w 893"/>
                <a:gd name="T1" fmla="*/ 926 h 1330"/>
                <a:gd name="T2" fmla="*/ 877 w 893"/>
                <a:gd name="T3" fmla="*/ 1025 h 1330"/>
                <a:gd name="T4" fmla="*/ 839 w 893"/>
                <a:gd name="T5" fmla="*/ 1063 h 1330"/>
                <a:gd name="T6" fmla="*/ 844 w 893"/>
                <a:gd name="T7" fmla="*/ 1108 h 1330"/>
                <a:gd name="T8" fmla="*/ 872 w 893"/>
                <a:gd name="T9" fmla="*/ 1169 h 1330"/>
                <a:gd name="T10" fmla="*/ 872 w 893"/>
                <a:gd name="T11" fmla="*/ 1202 h 1330"/>
                <a:gd name="T12" fmla="*/ 834 w 893"/>
                <a:gd name="T13" fmla="*/ 1259 h 1330"/>
                <a:gd name="T14" fmla="*/ 806 w 893"/>
                <a:gd name="T15" fmla="*/ 1280 h 1330"/>
                <a:gd name="T16" fmla="*/ 768 w 893"/>
                <a:gd name="T17" fmla="*/ 1330 h 1330"/>
                <a:gd name="T18" fmla="*/ 671 w 893"/>
                <a:gd name="T19" fmla="*/ 1242 h 1330"/>
                <a:gd name="T20" fmla="*/ 515 w 893"/>
                <a:gd name="T21" fmla="*/ 1153 h 1330"/>
                <a:gd name="T22" fmla="*/ 388 w 893"/>
                <a:gd name="T23" fmla="*/ 1058 h 1330"/>
                <a:gd name="T24" fmla="*/ 350 w 893"/>
                <a:gd name="T25" fmla="*/ 1004 h 1330"/>
                <a:gd name="T26" fmla="*/ 360 w 893"/>
                <a:gd name="T27" fmla="*/ 964 h 1330"/>
                <a:gd name="T28" fmla="*/ 300 w 893"/>
                <a:gd name="T29" fmla="*/ 869 h 1330"/>
                <a:gd name="T30" fmla="*/ 263 w 893"/>
                <a:gd name="T31" fmla="*/ 782 h 1330"/>
                <a:gd name="T32" fmla="*/ 194 w 893"/>
                <a:gd name="T33" fmla="*/ 647 h 1330"/>
                <a:gd name="T34" fmla="*/ 145 w 893"/>
                <a:gd name="T35" fmla="*/ 565 h 1330"/>
                <a:gd name="T36" fmla="*/ 17 w 893"/>
                <a:gd name="T37" fmla="*/ 432 h 1330"/>
                <a:gd name="T38" fmla="*/ 38 w 893"/>
                <a:gd name="T39" fmla="*/ 399 h 1330"/>
                <a:gd name="T40" fmla="*/ 26 w 893"/>
                <a:gd name="T41" fmla="*/ 354 h 1330"/>
                <a:gd name="T42" fmla="*/ 38 w 893"/>
                <a:gd name="T43" fmla="*/ 267 h 1330"/>
                <a:gd name="T44" fmla="*/ 86 w 893"/>
                <a:gd name="T45" fmla="*/ 276 h 1330"/>
                <a:gd name="T46" fmla="*/ 64 w 893"/>
                <a:gd name="T47" fmla="*/ 300 h 1330"/>
                <a:gd name="T48" fmla="*/ 69 w 893"/>
                <a:gd name="T49" fmla="*/ 317 h 1330"/>
                <a:gd name="T50" fmla="*/ 123 w 893"/>
                <a:gd name="T51" fmla="*/ 317 h 1330"/>
                <a:gd name="T52" fmla="*/ 178 w 893"/>
                <a:gd name="T53" fmla="*/ 333 h 1330"/>
                <a:gd name="T54" fmla="*/ 211 w 893"/>
                <a:gd name="T55" fmla="*/ 267 h 1330"/>
                <a:gd name="T56" fmla="*/ 225 w 893"/>
                <a:gd name="T57" fmla="*/ 234 h 1330"/>
                <a:gd name="T58" fmla="*/ 371 w 893"/>
                <a:gd name="T59" fmla="*/ 149 h 1330"/>
                <a:gd name="T60" fmla="*/ 430 w 893"/>
                <a:gd name="T61" fmla="*/ 61 h 1330"/>
                <a:gd name="T62" fmla="*/ 404 w 893"/>
                <a:gd name="T63" fmla="*/ 5 h 1330"/>
                <a:gd name="T64" fmla="*/ 456 w 893"/>
                <a:gd name="T65" fmla="*/ 12 h 1330"/>
                <a:gd name="T66" fmla="*/ 494 w 893"/>
                <a:gd name="T67" fmla="*/ 38 h 1330"/>
                <a:gd name="T68" fmla="*/ 553 w 893"/>
                <a:gd name="T69" fmla="*/ 111 h 1330"/>
                <a:gd name="T70" fmla="*/ 574 w 893"/>
                <a:gd name="T71" fmla="*/ 123 h 1330"/>
                <a:gd name="T72" fmla="*/ 574 w 893"/>
                <a:gd name="T73" fmla="*/ 165 h 1330"/>
                <a:gd name="T74" fmla="*/ 619 w 893"/>
                <a:gd name="T75" fmla="*/ 165 h 1330"/>
                <a:gd name="T76" fmla="*/ 678 w 893"/>
                <a:gd name="T77" fmla="*/ 149 h 1330"/>
                <a:gd name="T78" fmla="*/ 737 w 893"/>
                <a:gd name="T79" fmla="*/ 156 h 1330"/>
                <a:gd name="T80" fmla="*/ 789 w 893"/>
                <a:gd name="T81" fmla="*/ 194 h 1330"/>
                <a:gd name="T82" fmla="*/ 780 w 893"/>
                <a:gd name="T83" fmla="*/ 267 h 1330"/>
                <a:gd name="T84" fmla="*/ 785 w 893"/>
                <a:gd name="T85" fmla="*/ 305 h 1330"/>
                <a:gd name="T86" fmla="*/ 730 w 893"/>
                <a:gd name="T87" fmla="*/ 305 h 1330"/>
                <a:gd name="T88" fmla="*/ 603 w 893"/>
                <a:gd name="T89" fmla="*/ 359 h 1330"/>
                <a:gd name="T90" fmla="*/ 574 w 893"/>
                <a:gd name="T91" fmla="*/ 454 h 1330"/>
                <a:gd name="T92" fmla="*/ 537 w 893"/>
                <a:gd name="T93" fmla="*/ 522 h 1330"/>
                <a:gd name="T94" fmla="*/ 537 w 893"/>
                <a:gd name="T95" fmla="*/ 555 h 1330"/>
                <a:gd name="T96" fmla="*/ 553 w 893"/>
                <a:gd name="T97" fmla="*/ 598 h 1330"/>
                <a:gd name="T98" fmla="*/ 570 w 893"/>
                <a:gd name="T99" fmla="*/ 671 h 1330"/>
                <a:gd name="T100" fmla="*/ 709 w 893"/>
                <a:gd name="T101" fmla="*/ 720 h 1330"/>
                <a:gd name="T102" fmla="*/ 754 w 893"/>
                <a:gd name="T103" fmla="*/ 787 h 1330"/>
                <a:gd name="T104" fmla="*/ 801 w 893"/>
                <a:gd name="T105" fmla="*/ 782 h 1330"/>
                <a:gd name="T106" fmla="*/ 834 w 893"/>
                <a:gd name="T107" fmla="*/ 787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3" h="1330">
                  <a:moveTo>
                    <a:pt x="834" y="787"/>
                  </a:moveTo>
                  <a:lnTo>
                    <a:pt x="893" y="898"/>
                  </a:lnTo>
                  <a:lnTo>
                    <a:pt x="872" y="926"/>
                  </a:lnTo>
                  <a:lnTo>
                    <a:pt x="872" y="971"/>
                  </a:lnTo>
                  <a:lnTo>
                    <a:pt x="860" y="987"/>
                  </a:lnTo>
                  <a:lnTo>
                    <a:pt x="877" y="1025"/>
                  </a:lnTo>
                  <a:lnTo>
                    <a:pt x="872" y="1025"/>
                  </a:lnTo>
                  <a:lnTo>
                    <a:pt x="872" y="1037"/>
                  </a:lnTo>
                  <a:lnTo>
                    <a:pt x="839" y="1063"/>
                  </a:lnTo>
                  <a:lnTo>
                    <a:pt x="839" y="1082"/>
                  </a:lnTo>
                  <a:lnTo>
                    <a:pt x="856" y="1098"/>
                  </a:lnTo>
                  <a:lnTo>
                    <a:pt x="844" y="1108"/>
                  </a:lnTo>
                  <a:lnTo>
                    <a:pt x="839" y="1131"/>
                  </a:lnTo>
                  <a:lnTo>
                    <a:pt x="856" y="1169"/>
                  </a:lnTo>
                  <a:lnTo>
                    <a:pt x="872" y="1169"/>
                  </a:lnTo>
                  <a:lnTo>
                    <a:pt x="877" y="1174"/>
                  </a:lnTo>
                  <a:lnTo>
                    <a:pt x="860" y="1191"/>
                  </a:lnTo>
                  <a:lnTo>
                    <a:pt x="872" y="1202"/>
                  </a:lnTo>
                  <a:lnTo>
                    <a:pt x="823" y="1247"/>
                  </a:lnTo>
                  <a:lnTo>
                    <a:pt x="823" y="1247"/>
                  </a:lnTo>
                  <a:lnTo>
                    <a:pt x="834" y="1259"/>
                  </a:lnTo>
                  <a:lnTo>
                    <a:pt x="834" y="1264"/>
                  </a:lnTo>
                  <a:lnTo>
                    <a:pt x="823" y="1280"/>
                  </a:lnTo>
                  <a:lnTo>
                    <a:pt x="806" y="1280"/>
                  </a:lnTo>
                  <a:lnTo>
                    <a:pt x="818" y="1302"/>
                  </a:lnTo>
                  <a:lnTo>
                    <a:pt x="801" y="1318"/>
                  </a:lnTo>
                  <a:lnTo>
                    <a:pt x="768" y="1330"/>
                  </a:lnTo>
                  <a:lnTo>
                    <a:pt x="709" y="1280"/>
                  </a:lnTo>
                  <a:lnTo>
                    <a:pt x="693" y="1247"/>
                  </a:lnTo>
                  <a:lnTo>
                    <a:pt x="671" y="1242"/>
                  </a:lnTo>
                  <a:lnTo>
                    <a:pt x="624" y="1207"/>
                  </a:lnTo>
                  <a:lnTo>
                    <a:pt x="532" y="1169"/>
                  </a:lnTo>
                  <a:lnTo>
                    <a:pt x="515" y="1153"/>
                  </a:lnTo>
                  <a:lnTo>
                    <a:pt x="447" y="1115"/>
                  </a:lnTo>
                  <a:lnTo>
                    <a:pt x="409" y="1075"/>
                  </a:lnTo>
                  <a:lnTo>
                    <a:pt x="388" y="1058"/>
                  </a:lnTo>
                  <a:lnTo>
                    <a:pt x="360" y="1020"/>
                  </a:lnTo>
                  <a:lnTo>
                    <a:pt x="355" y="1004"/>
                  </a:lnTo>
                  <a:lnTo>
                    <a:pt x="350" y="1004"/>
                  </a:lnTo>
                  <a:lnTo>
                    <a:pt x="355" y="997"/>
                  </a:lnTo>
                  <a:lnTo>
                    <a:pt x="360" y="997"/>
                  </a:lnTo>
                  <a:lnTo>
                    <a:pt x="360" y="964"/>
                  </a:lnTo>
                  <a:lnTo>
                    <a:pt x="350" y="942"/>
                  </a:lnTo>
                  <a:lnTo>
                    <a:pt x="322" y="893"/>
                  </a:lnTo>
                  <a:lnTo>
                    <a:pt x="300" y="869"/>
                  </a:lnTo>
                  <a:lnTo>
                    <a:pt x="296" y="836"/>
                  </a:lnTo>
                  <a:lnTo>
                    <a:pt x="263" y="815"/>
                  </a:lnTo>
                  <a:lnTo>
                    <a:pt x="263" y="782"/>
                  </a:lnTo>
                  <a:lnTo>
                    <a:pt x="232" y="742"/>
                  </a:lnTo>
                  <a:lnTo>
                    <a:pt x="199" y="654"/>
                  </a:lnTo>
                  <a:lnTo>
                    <a:pt x="194" y="647"/>
                  </a:lnTo>
                  <a:lnTo>
                    <a:pt x="189" y="614"/>
                  </a:lnTo>
                  <a:lnTo>
                    <a:pt x="173" y="593"/>
                  </a:lnTo>
                  <a:lnTo>
                    <a:pt x="145" y="565"/>
                  </a:lnTo>
                  <a:lnTo>
                    <a:pt x="119" y="503"/>
                  </a:lnTo>
                  <a:lnTo>
                    <a:pt x="102" y="482"/>
                  </a:lnTo>
                  <a:lnTo>
                    <a:pt x="17" y="432"/>
                  </a:lnTo>
                  <a:lnTo>
                    <a:pt x="17" y="416"/>
                  </a:lnTo>
                  <a:lnTo>
                    <a:pt x="31" y="416"/>
                  </a:lnTo>
                  <a:lnTo>
                    <a:pt x="38" y="399"/>
                  </a:lnTo>
                  <a:lnTo>
                    <a:pt x="31" y="387"/>
                  </a:lnTo>
                  <a:lnTo>
                    <a:pt x="17" y="371"/>
                  </a:lnTo>
                  <a:lnTo>
                    <a:pt x="26" y="354"/>
                  </a:lnTo>
                  <a:lnTo>
                    <a:pt x="0" y="333"/>
                  </a:lnTo>
                  <a:lnTo>
                    <a:pt x="10" y="305"/>
                  </a:lnTo>
                  <a:lnTo>
                    <a:pt x="38" y="267"/>
                  </a:lnTo>
                  <a:lnTo>
                    <a:pt x="81" y="234"/>
                  </a:lnTo>
                  <a:lnTo>
                    <a:pt x="81" y="243"/>
                  </a:lnTo>
                  <a:lnTo>
                    <a:pt x="86" y="276"/>
                  </a:lnTo>
                  <a:lnTo>
                    <a:pt x="81" y="283"/>
                  </a:lnTo>
                  <a:lnTo>
                    <a:pt x="64" y="283"/>
                  </a:lnTo>
                  <a:lnTo>
                    <a:pt x="64" y="300"/>
                  </a:lnTo>
                  <a:lnTo>
                    <a:pt x="81" y="300"/>
                  </a:lnTo>
                  <a:lnTo>
                    <a:pt x="64" y="317"/>
                  </a:lnTo>
                  <a:lnTo>
                    <a:pt x="69" y="317"/>
                  </a:lnTo>
                  <a:lnTo>
                    <a:pt x="86" y="305"/>
                  </a:lnTo>
                  <a:lnTo>
                    <a:pt x="107" y="317"/>
                  </a:lnTo>
                  <a:lnTo>
                    <a:pt x="123" y="317"/>
                  </a:lnTo>
                  <a:lnTo>
                    <a:pt x="145" y="354"/>
                  </a:lnTo>
                  <a:lnTo>
                    <a:pt x="161" y="354"/>
                  </a:lnTo>
                  <a:lnTo>
                    <a:pt x="178" y="333"/>
                  </a:lnTo>
                  <a:lnTo>
                    <a:pt x="194" y="321"/>
                  </a:lnTo>
                  <a:lnTo>
                    <a:pt x="194" y="305"/>
                  </a:lnTo>
                  <a:lnTo>
                    <a:pt x="211" y="267"/>
                  </a:lnTo>
                  <a:lnTo>
                    <a:pt x="215" y="243"/>
                  </a:lnTo>
                  <a:lnTo>
                    <a:pt x="225" y="250"/>
                  </a:lnTo>
                  <a:lnTo>
                    <a:pt x="225" y="234"/>
                  </a:lnTo>
                  <a:lnTo>
                    <a:pt x="249" y="210"/>
                  </a:lnTo>
                  <a:lnTo>
                    <a:pt x="334" y="177"/>
                  </a:lnTo>
                  <a:lnTo>
                    <a:pt x="371" y="149"/>
                  </a:lnTo>
                  <a:lnTo>
                    <a:pt x="409" y="111"/>
                  </a:lnTo>
                  <a:lnTo>
                    <a:pt x="426" y="61"/>
                  </a:lnTo>
                  <a:lnTo>
                    <a:pt x="430" y="61"/>
                  </a:lnTo>
                  <a:lnTo>
                    <a:pt x="430" y="45"/>
                  </a:lnTo>
                  <a:lnTo>
                    <a:pt x="430" y="38"/>
                  </a:lnTo>
                  <a:lnTo>
                    <a:pt x="404" y="5"/>
                  </a:lnTo>
                  <a:lnTo>
                    <a:pt x="430" y="5"/>
                  </a:lnTo>
                  <a:lnTo>
                    <a:pt x="430" y="0"/>
                  </a:lnTo>
                  <a:lnTo>
                    <a:pt x="456" y="12"/>
                  </a:lnTo>
                  <a:lnTo>
                    <a:pt x="463" y="5"/>
                  </a:lnTo>
                  <a:lnTo>
                    <a:pt x="468" y="21"/>
                  </a:lnTo>
                  <a:lnTo>
                    <a:pt x="494" y="38"/>
                  </a:lnTo>
                  <a:lnTo>
                    <a:pt x="501" y="66"/>
                  </a:lnTo>
                  <a:lnTo>
                    <a:pt x="548" y="94"/>
                  </a:lnTo>
                  <a:lnTo>
                    <a:pt x="553" y="111"/>
                  </a:lnTo>
                  <a:lnTo>
                    <a:pt x="553" y="116"/>
                  </a:lnTo>
                  <a:lnTo>
                    <a:pt x="570" y="132"/>
                  </a:lnTo>
                  <a:lnTo>
                    <a:pt x="574" y="123"/>
                  </a:lnTo>
                  <a:lnTo>
                    <a:pt x="574" y="123"/>
                  </a:lnTo>
                  <a:lnTo>
                    <a:pt x="586" y="149"/>
                  </a:lnTo>
                  <a:lnTo>
                    <a:pt x="574" y="165"/>
                  </a:lnTo>
                  <a:lnTo>
                    <a:pt x="591" y="165"/>
                  </a:lnTo>
                  <a:lnTo>
                    <a:pt x="591" y="172"/>
                  </a:lnTo>
                  <a:lnTo>
                    <a:pt x="619" y="165"/>
                  </a:lnTo>
                  <a:lnTo>
                    <a:pt x="641" y="172"/>
                  </a:lnTo>
                  <a:lnTo>
                    <a:pt x="662" y="165"/>
                  </a:lnTo>
                  <a:lnTo>
                    <a:pt x="678" y="149"/>
                  </a:lnTo>
                  <a:lnTo>
                    <a:pt x="678" y="156"/>
                  </a:lnTo>
                  <a:lnTo>
                    <a:pt x="700" y="165"/>
                  </a:lnTo>
                  <a:lnTo>
                    <a:pt x="737" y="156"/>
                  </a:lnTo>
                  <a:lnTo>
                    <a:pt x="754" y="172"/>
                  </a:lnTo>
                  <a:lnTo>
                    <a:pt x="780" y="172"/>
                  </a:lnTo>
                  <a:lnTo>
                    <a:pt x="789" y="194"/>
                  </a:lnTo>
                  <a:lnTo>
                    <a:pt x="747" y="267"/>
                  </a:lnTo>
                  <a:lnTo>
                    <a:pt x="763" y="276"/>
                  </a:lnTo>
                  <a:lnTo>
                    <a:pt x="780" y="267"/>
                  </a:lnTo>
                  <a:lnTo>
                    <a:pt x="801" y="300"/>
                  </a:lnTo>
                  <a:lnTo>
                    <a:pt x="789" y="305"/>
                  </a:lnTo>
                  <a:lnTo>
                    <a:pt x="785" y="305"/>
                  </a:lnTo>
                  <a:lnTo>
                    <a:pt x="780" y="288"/>
                  </a:lnTo>
                  <a:lnTo>
                    <a:pt x="747" y="288"/>
                  </a:lnTo>
                  <a:lnTo>
                    <a:pt x="730" y="305"/>
                  </a:lnTo>
                  <a:lnTo>
                    <a:pt x="716" y="305"/>
                  </a:lnTo>
                  <a:lnTo>
                    <a:pt x="662" y="321"/>
                  </a:lnTo>
                  <a:lnTo>
                    <a:pt x="603" y="359"/>
                  </a:lnTo>
                  <a:lnTo>
                    <a:pt x="591" y="399"/>
                  </a:lnTo>
                  <a:lnTo>
                    <a:pt x="570" y="432"/>
                  </a:lnTo>
                  <a:lnTo>
                    <a:pt x="574" y="454"/>
                  </a:lnTo>
                  <a:lnTo>
                    <a:pt x="537" y="487"/>
                  </a:lnTo>
                  <a:lnTo>
                    <a:pt x="532" y="503"/>
                  </a:lnTo>
                  <a:lnTo>
                    <a:pt x="537" y="522"/>
                  </a:lnTo>
                  <a:lnTo>
                    <a:pt x="523" y="527"/>
                  </a:lnTo>
                  <a:lnTo>
                    <a:pt x="515" y="539"/>
                  </a:lnTo>
                  <a:lnTo>
                    <a:pt x="537" y="555"/>
                  </a:lnTo>
                  <a:lnTo>
                    <a:pt x="532" y="565"/>
                  </a:lnTo>
                  <a:lnTo>
                    <a:pt x="548" y="576"/>
                  </a:lnTo>
                  <a:lnTo>
                    <a:pt x="553" y="598"/>
                  </a:lnTo>
                  <a:lnTo>
                    <a:pt x="591" y="638"/>
                  </a:lnTo>
                  <a:lnTo>
                    <a:pt x="591" y="654"/>
                  </a:lnTo>
                  <a:lnTo>
                    <a:pt x="570" y="671"/>
                  </a:lnTo>
                  <a:lnTo>
                    <a:pt x="629" y="676"/>
                  </a:lnTo>
                  <a:lnTo>
                    <a:pt x="645" y="720"/>
                  </a:lnTo>
                  <a:lnTo>
                    <a:pt x="709" y="720"/>
                  </a:lnTo>
                  <a:lnTo>
                    <a:pt x="763" y="676"/>
                  </a:lnTo>
                  <a:lnTo>
                    <a:pt x="754" y="704"/>
                  </a:lnTo>
                  <a:lnTo>
                    <a:pt x="754" y="787"/>
                  </a:lnTo>
                  <a:lnTo>
                    <a:pt x="763" y="782"/>
                  </a:lnTo>
                  <a:lnTo>
                    <a:pt x="780" y="798"/>
                  </a:lnTo>
                  <a:lnTo>
                    <a:pt x="801" y="782"/>
                  </a:lnTo>
                  <a:lnTo>
                    <a:pt x="834" y="787"/>
                  </a:lnTo>
                  <a:lnTo>
                    <a:pt x="834" y="787"/>
                  </a:lnTo>
                  <a:lnTo>
                    <a:pt x="834" y="78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0" name="Freeform 533">
              <a:extLst>
                <a:ext uri="{FF2B5EF4-FFF2-40B4-BE49-F238E27FC236}">
                  <a16:creationId xmlns:a16="http://schemas.microsoft.com/office/drawing/2014/main" id="{0A3BCC96-99BE-44B0-A916-8D8DFDA9A282}"/>
                </a:ext>
              </a:extLst>
            </p:cNvPr>
            <p:cNvSpPr>
              <a:spLocks noEditPoints="1"/>
            </p:cNvSpPr>
            <p:nvPr/>
          </p:nvSpPr>
          <p:spPr bwMode="gray">
            <a:xfrm>
              <a:off x="4328257" y="3779743"/>
              <a:ext cx="169197" cy="69991"/>
            </a:xfrm>
            <a:custGeom>
              <a:avLst/>
              <a:gdLst>
                <a:gd name="T0" fmla="*/ 4 w 411"/>
                <a:gd name="T1" fmla="*/ 94 h 170"/>
                <a:gd name="T2" fmla="*/ 16 w 411"/>
                <a:gd name="T3" fmla="*/ 78 h 170"/>
                <a:gd name="T4" fmla="*/ 21 w 411"/>
                <a:gd name="T5" fmla="*/ 45 h 170"/>
                <a:gd name="T6" fmla="*/ 4 w 411"/>
                <a:gd name="T7" fmla="*/ 5 h 170"/>
                <a:gd name="T8" fmla="*/ 33 w 411"/>
                <a:gd name="T9" fmla="*/ 5 h 170"/>
                <a:gd name="T10" fmla="*/ 42 w 411"/>
                <a:gd name="T11" fmla="*/ 16 h 170"/>
                <a:gd name="T12" fmla="*/ 87 w 411"/>
                <a:gd name="T13" fmla="*/ 45 h 170"/>
                <a:gd name="T14" fmla="*/ 108 w 411"/>
                <a:gd name="T15" fmla="*/ 54 h 170"/>
                <a:gd name="T16" fmla="*/ 205 w 411"/>
                <a:gd name="T17" fmla="*/ 28 h 170"/>
                <a:gd name="T18" fmla="*/ 286 w 411"/>
                <a:gd name="T19" fmla="*/ 5 h 170"/>
                <a:gd name="T20" fmla="*/ 314 w 411"/>
                <a:gd name="T21" fmla="*/ 16 h 170"/>
                <a:gd name="T22" fmla="*/ 385 w 411"/>
                <a:gd name="T23" fmla="*/ 61 h 170"/>
                <a:gd name="T24" fmla="*/ 394 w 411"/>
                <a:gd name="T25" fmla="*/ 78 h 170"/>
                <a:gd name="T26" fmla="*/ 411 w 411"/>
                <a:gd name="T27" fmla="*/ 116 h 170"/>
                <a:gd name="T28" fmla="*/ 401 w 411"/>
                <a:gd name="T29" fmla="*/ 137 h 170"/>
                <a:gd name="T30" fmla="*/ 368 w 411"/>
                <a:gd name="T31" fmla="*/ 132 h 170"/>
                <a:gd name="T32" fmla="*/ 368 w 411"/>
                <a:gd name="T33" fmla="*/ 153 h 170"/>
                <a:gd name="T34" fmla="*/ 340 w 411"/>
                <a:gd name="T35" fmla="*/ 149 h 170"/>
                <a:gd name="T36" fmla="*/ 340 w 411"/>
                <a:gd name="T37" fmla="*/ 111 h 170"/>
                <a:gd name="T38" fmla="*/ 347 w 411"/>
                <a:gd name="T39" fmla="*/ 82 h 170"/>
                <a:gd name="T40" fmla="*/ 368 w 411"/>
                <a:gd name="T41" fmla="*/ 99 h 170"/>
                <a:gd name="T42" fmla="*/ 347 w 411"/>
                <a:gd name="T43" fmla="*/ 82 h 170"/>
                <a:gd name="T44" fmla="*/ 314 w 411"/>
                <a:gd name="T45" fmla="*/ 71 h 170"/>
                <a:gd name="T46" fmla="*/ 286 w 411"/>
                <a:gd name="T47" fmla="*/ 28 h 170"/>
                <a:gd name="T48" fmla="*/ 248 w 411"/>
                <a:gd name="T49" fmla="*/ 45 h 170"/>
                <a:gd name="T50" fmla="*/ 231 w 411"/>
                <a:gd name="T51" fmla="*/ 54 h 170"/>
                <a:gd name="T52" fmla="*/ 217 w 411"/>
                <a:gd name="T53" fmla="*/ 82 h 170"/>
                <a:gd name="T54" fmla="*/ 184 w 411"/>
                <a:gd name="T55" fmla="*/ 111 h 170"/>
                <a:gd name="T56" fmla="*/ 193 w 411"/>
                <a:gd name="T57" fmla="*/ 153 h 170"/>
                <a:gd name="T58" fmla="*/ 146 w 411"/>
                <a:gd name="T59" fmla="*/ 170 h 170"/>
                <a:gd name="T60" fmla="*/ 139 w 411"/>
                <a:gd name="T61" fmla="*/ 127 h 170"/>
                <a:gd name="T62" fmla="*/ 130 w 411"/>
                <a:gd name="T63" fmla="*/ 137 h 170"/>
                <a:gd name="T64" fmla="*/ 92 w 411"/>
                <a:gd name="T65" fmla="*/ 99 h 170"/>
                <a:gd name="T66" fmla="*/ 54 w 411"/>
                <a:gd name="T67" fmla="*/ 94 h 170"/>
                <a:gd name="T68" fmla="*/ 16 w 411"/>
                <a:gd name="T69" fmla="*/ 94 h 170"/>
                <a:gd name="T70" fmla="*/ 4 w 411"/>
                <a:gd name="T71" fmla="*/ 111 h 170"/>
                <a:gd name="T72" fmla="*/ 54 w 411"/>
                <a:gd name="T73" fmla="*/ 16 h 170"/>
                <a:gd name="T74" fmla="*/ 54 w 411"/>
                <a:gd name="T75" fmla="*/ 16 h 170"/>
                <a:gd name="T76" fmla="*/ 54 w 411"/>
                <a:gd name="T77" fmla="*/ 16 h 170"/>
                <a:gd name="T78" fmla="*/ 293 w 411"/>
                <a:gd name="T79" fmla="*/ 82 h 170"/>
                <a:gd name="T80" fmla="*/ 293 w 411"/>
                <a:gd name="T81" fmla="*/ 94 h 170"/>
                <a:gd name="T82" fmla="*/ 293 w 411"/>
                <a:gd name="T83" fmla="*/ 82 h 170"/>
                <a:gd name="T84" fmla="*/ 293 w 411"/>
                <a:gd name="T85" fmla="*/ 82 h 170"/>
                <a:gd name="T86" fmla="*/ 92 w 411"/>
                <a:gd name="T87" fmla="*/ 153 h 170"/>
                <a:gd name="T88" fmla="*/ 87 w 411"/>
                <a:gd name="T89" fmla="*/ 153 h 170"/>
                <a:gd name="T90" fmla="*/ 92 w 411"/>
                <a:gd name="T91" fmla="*/ 137 h 170"/>
                <a:gd name="T92" fmla="*/ 92 w 411"/>
                <a:gd name="T93" fmla="*/ 13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1" h="170">
                  <a:moveTo>
                    <a:pt x="4" y="111"/>
                  </a:moveTo>
                  <a:lnTo>
                    <a:pt x="4" y="94"/>
                  </a:lnTo>
                  <a:lnTo>
                    <a:pt x="0" y="94"/>
                  </a:lnTo>
                  <a:lnTo>
                    <a:pt x="16" y="78"/>
                  </a:lnTo>
                  <a:lnTo>
                    <a:pt x="4" y="61"/>
                  </a:lnTo>
                  <a:lnTo>
                    <a:pt x="21" y="45"/>
                  </a:lnTo>
                  <a:lnTo>
                    <a:pt x="4" y="38"/>
                  </a:lnTo>
                  <a:lnTo>
                    <a:pt x="4" y="5"/>
                  </a:lnTo>
                  <a:lnTo>
                    <a:pt x="16" y="0"/>
                  </a:lnTo>
                  <a:lnTo>
                    <a:pt x="33" y="5"/>
                  </a:lnTo>
                  <a:lnTo>
                    <a:pt x="33" y="0"/>
                  </a:lnTo>
                  <a:lnTo>
                    <a:pt x="42" y="16"/>
                  </a:lnTo>
                  <a:lnTo>
                    <a:pt x="54" y="45"/>
                  </a:lnTo>
                  <a:lnTo>
                    <a:pt x="87" y="45"/>
                  </a:lnTo>
                  <a:lnTo>
                    <a:pt x="87" y="28"/>
                  </a:lnTo>
                  <a:lnTo>
                    <a:pt x="108" y="54"/>
                  </a:lnTo>
                  <a:lnTo>
                    <a:pt x="130" y="61"/>
                  </a:lnTo>
                  <a:lnTo>
                    <a:pt x="205" y="28"/>
                  </a:lnTo>
                  <a:lnTo>
                    <a:pt x="238" y="0"/>
                  </a:lnTo>
                  <a:lnTo>
                    <a:pt x="286" y="5"/>
                  </a:lnTo>
                  <a:lnTo>
                    <a:pt x="276" y="16"/>
                  </a:lnTo>
                  <a:lnTo>
                    <a:pt x="314" y="16"/>
                  </a:lnTo>
                  <a:lnTo>
                    <a:pt x="356" y="21"/>
                  </a:lnTo>
                  <a:lnTo>
                    <a:pt x="385" y="61"/>
                  </a:lnTo>
                  <a:lnTo>
                    <a:pt x="401" y="71"/>
                  </a:lnTo>
                  <a:lnTo>
                    <a:pt x="394" y="78"/>
                  </a:lnTo>
                  <a:lnTo>
                    <a:pt x="411" y="111"/>
                  </a:lnTo>
                  <a:lnTo>
                    <a:pt x="411" y="116"/>
                  </a:lnTo>
                  <a:lnTo>
                    <a:pt x="401" y="132"/>
                  </a:lnTo>
                  <a:lnTo>
                    <a:pt x="401" y="137"/>
                  </a:lnTo>
                  <a:lnTo>
                    <a:pt x="385" y="149"/>
                  </a:lnTo>
                  <a:lnTo>
                    <a:pt x="368" y="132"/>
                  </a:lnTo>
                  <a:lnTo>
                    <a:pt x="368" y="149"/>
                  </a:lnTo>
                  <a:lnTo>
                    <a:pt x="368" y="153"/>
                  </a:lnTo>
                  <a:lnTo>
                    <a:pt x="364" y="170"/>
                  </a:lnTo>
                  <a:lnTo>
                    <a:pt x="340" y="149"/>
                  </a:lnTo>
                  <a:lnTo>
                    <a:pt x="323" y="111"/>
                  </a:lnTo>
                  <a:lnTo>
                    <a:pt x="340" y="111"/>
                  </a:lnTo>
                  <a:lnTo>
                    <a:pt x="330" y="94"/>
                  </a:lnTo>
                  <a:lnTo>
                    <a:pt x="347" y="82"/>
                  </a:lnTo>
                  <a:lnTo>
                    <a:pt x="356" y="94"/>
                  </a:lnTo>
                  <a:lnTo>
                    <a:pt x="368" y="99"/>
                  </a:lnTo>
                  <a:lnTo>
                    <a:pt x="356" y="94"/>
                  </a:lnTo>
                  <a:lnTo>
                    <a:pt x="347" y="82"/>
                  </a:lnTo>
                  <a:lnTo>
                    <a:pt x="323" y="94"/>
                  </a:lnTo>
                  <a:lnTo>
                    <a:pt x="314" y="71"/>
                  </a:lnTo>
                  <a:lnTo>
                    <a:pt x="276" y="45"/>
                  </a:lnTo>
                  <a:lnTo>
                    <a:pt x="286" y="28"/>
                  </a:lnTo>
                  <a:lnTo>
                    <a:pt x="276" y="38"/>
                  </a:lnTo>
                  <a:lnTo>
                    <a:pt x="248" y="45"/>
                  </a:lnTo>
                  <a:lnTo>
                    <a:pt x="248" y="45"/>
                  </a:lnTo>
                  <a:lnTo>
                    <a:pt x="231" y="54"/>
                  </a:lnTo>
                  <a:lnTo>
                    <a:pt x="231" y="71"/>
                  </a:lnTo>
                  <a:lnTo>
                    <a:pt x="217" y="82"/>
                  </a:lnTo>
                  <a:lnTo>
                    <a:pt x="179" y="99"/>
                  </a:lnTo>
                  <a:lnTo>
                    <a:pt x="184" y="111"/>
                  </a:lnTo>
                  <a:lnTo>
                    <a:pt x="217" y="149"/>
                  </a:lnTo>
                  <a:lnTo>
                    <a:pt x="193" y="153"/>
                  </a:lnTo>
                  <a:lnTo>
                    <a:pt x="184" y="170"/>
                  </a:lnTo>
                  <a:lnTo>
                    <a:pt x="146" y="170"/>
                  </a:lnTo>
                  <a:lnTo>
                    <a:pt x="151" y="165"/>
                  </a:lnTo>
                  <a:lnTo>
                    <a:pt x="139" y="127"/>
                  </a:lnTo>
                  <a:lnTo>
                    <a:pt x="130" y="127"/>
                  </a:lnTo>
                  <a:lnTo>
                    <a:pt x="130" y="137"/>
                  </a:lnTo>
                  <a:lnTo>
                    <a:pt x="108" y="137"/>
                  </a:lnTo>
                  <a:lnTo>
                    <a:pt x="92" y="99"/>
                  </a:lnTo>
                  <a:lnTo>
                    <a:pt x="59" y="99"/>
                  </a:lnTo>
                  <a:lnTo>
                    <a:pt x="54" y="94"/>
                  </a:lnTo>
                  <a:lnTo>
                    <a:pt x="21" y="94"/>
                  </a:lnTo>
                  <a:lnTo>
                    <a:pt x="16" y="94"/>
                  </a:lnTo>
                  <a:lnTo>
                    <a:pt x="4" y="111"/>
                  </a:lnTo>
                  <a:lnTo>
                    <a:pt x="4" y="111"/>
                  </a:lnTo>
                  <a:lnTo>
                    <a:pt x="4" y="111"/>
                  </a:lnTo>
                  <a:close/>
                  <a:moveTo>
                    <a:pt x="54" y="16"/>
                  </a:moveTo>
                  <a:lnTo>
                    <a:pt x="54" y="21"/>
                  </a:lnTo>
                  <a:lnTo>
                    <a:pt x="54" y="16"/>
                  </a:lnTo>
                  <a:lnTo>
                    <a:pt x="54" y="16"/>
                  </a:lnTo>
                  <a:lnTo>
                    <a:pt x="54" y="16"/>
                  </a:lnTo>
                  <a:lnTo>
                    <a:pt x="54" y="16"/>
                  </a:lnTo>
                  <a:close/>
                  <a:moveTo>
                    <a:pt x="293" y="82"/>
                  </a:moveTo>
                  <a:lnTo>
                    <a:pt x="293" y="94"/>
                  </a:lnTo>
                  <a:lnTo>
                    <a:pt x="293" y="94"/>
                  </a:lnTo>
                  <a:lnTo>
                    <a:pt x="286" y="82"/>
                  </a:lnTo>
                  <a:lnTo>
                    <a:pt x="293" y="82"/>
                  </a:lnTo>
                  <a:lnTo>
                    <a:pt x="293" y="82"/>
                  </a:lnTo>
                  <a:lnTo>
                    <a:pt x="293" y="82"/>
                  </a:lnTo>
                  <a:close/>
                  <a:moveTo>
                    <a:pt x="92" y="137"/>
                  </a:moveTo>
                  <a:lnTo>
                    <a:pt x="92" y="153"/>
                  </a:lnTo>
                  <a:lnTo>
                    <a:pt x="97" y="165"/>
                  </a:lnTo>
                  <a:lnTo>
                    <a:pt x="87" y="153"/>
                  </a:lnTo>
                  <a:lnTo>
                    <a:pt x="87" y="149"/>
                  </a:lnTo>
                  <a:lnTo>
                    <a:pt x="92" y="137"/>
                  </a:lnTo>
                  <a:lnTo>
                    <a:pt x="92" y="137"/>
                  </a:lnTo>
                  <a:lnTo>
                    <a:pt x="92" y="13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1" name="Freeform 547">
              <a:extLst>
                <a:ext uri="{FF2B5EF4-FFF2-40B4-BE49-F238E27FC236}">
                  <a16:creationId xmlns:a16="http://schemas.microsoft.com/office/drawing/2014/main" id="{3D4AB222-8832-459A-B19C-490CA6DF118B}"/>
                </a:ext>
              </a:extLst>
            </p:cNvPr>
            <p:cNvSpPr>
              <a:spLocks/>
            </p:cNvSpPr>
            <p:nvPr/>
          </p:nvSpPr>
          <p:spPr bwMode="gray">
            <a:xfrm>
              <a:off x="4912417" y="3544240"/>
              <a:ext cx="2058" cy="6999"/>
            </a:xfrm>
            <a:custGeom>
              <a:avLst/>
              <a:gdLst>
                <a:gd name="T0" fmla="*/ 5 w 5"/>
                <a:gd name="T1" fmla="*/ 17 h 17"/>
                <a:gd name="T2" fmla="*/ 0 w 5"/>
                <a:gd name="T3" fmla="*/ 0 h 17"/>
                <a:gd name="T4" fmla="*/ 5 w 5"/>
                <a:gd name="T5" fmla="*/ 0 h 17"/>
                <a:gd name="T6" fmla="*/ 5 w 5"/>
                <a:gd name="T7" fmla="*/ 17 h 17"/>
                <a:gd name="T8" fmla="*/ 5 w 5"/>
                <a:gd name="T9" fmla="*/ 17 h 17"/>
                <a:gd name="T10" fmla="*/ 5 w 5"/>
                <a:gd name="T11" fmla="*/ 17 h 17"/>
              </a:gdLst>
              <a:ahLst/>
              <a:cxnLst>
                <a:cxn ang="0">
                  <a:pos x="T0" y="T1"/>
                </a:cxn>
                <a:cxn ang="0">
                  <a:pos x="T2" y="T3"/>
                </a:cxn>
                <a:cxn ang="0">
                  <a:pos x="T4" y="T5"/>
                </a:cxn>
                <a:cxn ang="0">
                  <a:pos x="T6" y="T7"/>
                </a:cxn>
                <a:cxn ang="0">
                  <a:pos x="T8" y="T9"/>
                </a:cxn>
                <a:cxn ang="0">
                  <a:pos x="T10" y="T11"/>
                </a:cxn>
              </a:cxnLst>
              <a:rect l="0" t="0" r="r" b="b"/>
              <a:pathLst>
                <a:path w="5" h="17">
                  <a:moveTo>
                    <a:pt x="5" y="17"/>
                  </a:moveTo>
                  <a:lnTo>
                    <a:pt x="0" y="0"/>
                  </a:lnTo>
                  <a:lnTo>
                    <a:pt x="5" y="0"/>
                  </a:lnTo>
                  <a:lnTo>
                    <a:pt x="5" y="17"/>
                  </a:lnTo>
                  <a:lnTo>
                    <a:pt x="5" y="17"/>
                  </a:lnTo>
                  <a:lnTo>
                    <a:pt x="5"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2" name="Freeform 559">
              <a:extLst>
                <a:ext uri="{FF2B5EF4-FFF2-40B4-BE49-F238E27FC236}">
                  <a16:creationId xmlns:a16="http://schemas.microsoft.com/office/drawing/2014/main" id="{6AA31D58-DC60-4FA5-AE9E-7E14373B390E}"/>
                </a:ext>
              </a:extLst>
            </p:cNvPr>
            <p:cNvSpPr>
              <a:spLocks/>
            </p:cNvSpPr>
            <p:nvPr/>
          </p:nvSpPr>
          <p:spPr bwMode="gray">
            <a:xfrm>
              <a:off x="4964288" y="3645523"/>
              <a:ext cx="6587" cy="8646"/>
            </a:xfrm>
            <a:custGeom>
              <a:avLst/>
              <a:gdLst>
                <a:gd name="T0" fmla="*/ 4 w 16"/>
                <a:gd name="T1" fmla="*/ 21 h 21"/>
                <a:gd name="T2" fmla="*/ 0 w 16"/>
                <a:gd name="T3" fmla="*/ 16 h 21"/>
                <a:gd name="T4" fmla="*/ 4 w 16"/>
                <a:gd name="T5" fmla="*/ 0 h 21"/>
                <a:gd name="T6" fmla="*/ 16 w 16"/>
                <a:gd name="T7" fmla="*/ 9 h 21"/>
                <a:gd name="T8" fmla="*/ 4 w 16"/>
                <a:gd name="T9" fmla="*/ 21 h 21"/>
                <a:gd name="T10" fmla="*/ 4 w 16"/>
                <a:gd name="T11" fmla="*/ 21 h 21"/>
                <a:gd name="T12" fmla="*/ 4 w 16"/>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6" h="21">
                  <a:moveTo>
                    <a:pt x="4" y="21"/>
                  </a:moveTo>
                  <a:lnTo>
                    <a:pt x="0" y="16"/>
                  </a:lnTo>
                  <a:lnTo>
                    <a:pt x="4" y="0"/>
                  </a:lnTo>
                  <a:lnTo>
                    <a:pt x="16" y="9"/>
                  </a:lnTo>
                  <a:lnTo>
                    <a:pt x="4" y="21"/>
                  </a:lnTo>
                  <a:lnTo>
                    <a:pt x="4" y="21"/>
                  </a:lnTo>
                  <a:lnTo>
                    <a:pt x="4" y="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3" name="Freeform 569">
              <a:extLst>
                <a:ext uri="{FF2B5EF4-FFF2-40B4-BE49-F238E27FC236}">
                  <a16:creationId xmlns:a16="http://schemas.microsoft.com/office/drawing/2014/main" id="{CC6B2D18-5DA7-4F9A-BBF5-440FA87E6987}"/>
                </a:ext>
              </a:extLst>
            </p:cNvPr>
            <p:cNvSpPr>
              <a:spLocks noEditPoints="1"/>
            </p:cNvSpPr>
            <p:nvPr/>
          </p:nvSpPr>
          <p:spPr bwMode="gray">
            <a:xfrm>
              <a:off x="4646066" y="3403434"/>
              <a:ext cx="10704" cy="6588"/>
            </a:xfrm>
            <a:custGeom>
              <a:avLst/>
              <a:gdLst>
                <a:gd name="T0" fmla="*/ 14 w 26"/>
                <a:gd name="T1" fmla="*/ 11 h 16"/>
                <a:gd name="T2" fmla="*/ 0 w 26"/>
                <a:gd name="T3" fmla="*/ 0 h 16"/>
                <a:gd name="T4" fmla="*/ 5 w 26"/>
                <a:gd name="T5" fmla="*/ 0 h 16"/>
                <a:gd name="T6" fmla="*/ 14 w 26"/>
                <a:gd name="T7" fmla="*/ 11 h 16"/>
                <a:gd name="T8" fmla="*/ 14 w 26"/>
                <a:gd name="T9" fmla="*/ 11 h 16"/>
                <a:gd name="T10" fmla="*/ 14 w 26"/>
                <a:gd name="T11" fmla="*/ 11 h 16"/>
                <a:gd name="T12" fmla="*/ 26 w 26"/>
                <a:gd name="T13" fmla="*/ 16 h 16"/>
                <a:gd name="T14" fmla="*/ 14 w 26"/>
                <a:gd name="T15" fmla="*/ 16 h 16"/>
                <a:gd name="T16" fmla="*/ 14 w 26"/>
                <a:gd name="T17" fmla="*/ 11 h 16"/>
                <a:gd name="T18" fmla="*/ 21 w 26"/>
                <a:gd name="T19" fmla="*/ 11 h 16"/>
                <a:gd name="T20" fmla="*/ 26 w 26"/>
                <a:gd name="T21" fmla="*/ 16 h 16"/>
                <a:gd name="T22" fmla="*/ 26 w 26"/>
                <a:gd name="T23" fmla="*/ 16 h 16"/>
                <a:gd name="T24" fmla="*/ 26 w 26"/>
                <a:gd name="T2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6">
                  <a:moveTo>
                    <a:pt x="14" y="11"/>
                  </a:moveTo>
                  <a:lnTo>
                    <a:pt x="0" y="0"/>
                  </a:lnTo>
                  <a:lnTo>
                    <a:pt x="5" y="0"/>
                  </a:lnTo>
                  <a:lnTo>
                    <a:pt x="14" y="11"/>
                  </a:lnTo>
                  <a:lnTo>
                    <a:pt x="14" y="11"/>
                  </a:lnTo>
                  <a:lnTo>
                    <a:pt x="14" y="11"/>
                  </a:lnTo>
                  <a:close/>
                  <a:moveTo>
                    <a:pt x="26" y="16"/>
                  </a:moveTo>
                  <a:lnTo>
                    <a:pt x="14" y="16"/>
                  </a:lnTo>
                  <a:lnTo>
                    <a:pt x="14" y="11"/>
                  </a:lnTo>
                  <a:lnTo>
                    <a:pt x="21" y="11"/>
                  </a:lnTo>
                  <a:lnTo>
                    <a:pt x="26" y="16"/>
                  </a:lnTo>
                  <a:lnTo>
                    <a:pt x="26" y="16"/>
                  </a:lnTo>
                  <a:lnTo>
                    <a:pt x="26" y="1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4" name="Freeform 584">
              <a:extLst>
                <a:ext uri="{FF2B5EF4-FFF2-40B4-BE49-F238E27FC236}">
                  <a16:creationId xmlns:a16="http://schemas.microsoft.com/office/drawing/2014/main" id="{22703C0A-0E7D-487D-8158-DA936B083877}"/>
                </a:ext>
              </a:extLst>
            </p:cNvPr>
            <p:cNvSpPr>
              <a:spLocks/>
            </p:cNvSpPr>
            <p:nvPr/>
          </p:nvSpPr>
          <p:spPr bwMode="gray">
            <a:xfrm>
              <a:off x="5040035" y="4987718"/>
              <a:ext cx="153554" cy="159334"/>
            </a:xfrm>
            <a:custGeom>
              <a:avLst/>
              <a:gdLst>
                <a:gd name="T0" fmla="*/ 16 w 373"/>
                <a:gd name="T1" fmla="*/ 177 h 387"/>
                <a:gd name="T2" fmla="*/ 21 w 373"/>
                <a:gd name="T3" fmla="*/ 172 h 387"/>
                <a:gd name="T4" fmla="*/ 16 w 373"/>
                <a:gd name="T5" fmla="*/ 139 h 387"/>
                <a:gd name="T6" fmla="*/ 21 w 373"/>
                <a:gd name="T7" fmla="*/ 122 h 387"/>
                <a:gd name="T8" fmla="*/ 33 w 373"/>
                <a:gd name="T9" fmla="*/ 111 h 387"/>
                <a:gd name="T10" fmla="*/ 21 w 373"/>
                <a:gd name="T11" fmla="*/ 99 h 387"/>
                <a:gd name="T12" fmla="*/ 33 w 373"/>
                <a:gd name="T13" fmla="*/ 82 h 387"/>
                <a:gd name="T14" fmla="*/ 49 w 373"/>
                <a:gd name="T15" fmla="*/ 56 h 387"/>
                <a:gd name="T16" fmla="*/ 38 w 373"/>
                <a:gd name="T17" fmla="*/ 28 h 387"/>
                <a:gd name="T18" fmla="*/ 54 w 373"/>
                <a:gd name="T19" fmla="*/ 11 h 387"/>
                <a:gd name="T20" fmla="*/ 54 w 373"/>
                <a:gd name="T21" fmla="*/ 7 h 387"/>
                <a:gd name="T22" fmla="*/ 59 w 373"/>
                <a:gd name="T23" fmla="*/ 7 h 387"/>
                <a:gd name="T24" fmla="*/ 87 w 373"/>
                <a:gd name="T25" fmla="*/ 11 h 387"/>
                <a:gd name="T26" fmla="*/ 92 w 373"/>
                <a:gd name="T27" fmla="*/ 0 h 387"/>
                <a:gd name="T28" fmla="*/ 113 w 373"/>
                <a:gd name="T29" fmla="*/ 0 h 387"/>
                <a:gd name="T30" fmla="*/ 168 w 373"/>
                <a:gd name="T31" fmla="*/ 56 h 387"/>
                <a:gd name="T32" fmla="*/ 168 w 373"/>
                <a:gd name="T33" fmla="*/ 66 h 387"/>
                <a:gd name="T34" fmla="*/ 177 w 373"/>
                <a:gd name="T35" fmla="*/ 66 h 387"/>
                <a:gd name="T36" fmla="*/ 201 w 373"/>
                <a:gd name="T37" fmla="*/ 56 h 387"/>
                <a:gd name="T38" fmla="*/ 222 w 373"/>
                <a:gd name="T39" fmla="*/ 82 h 387"/>
                <a:gd name="T40" fmla="*/ 269 w 373"/>
                <a:gd name="T41" fmla="*/ 99 h 387"/>
                <a:gd name="T42" fmla="*/ 286 w 373"/>
                <a:gd name="T43" fmla="*/ 132 h 387"/>
                <a:gd name="T44" fmla="*/ 319 w 373"/>
                <a:gd name="T45" fmla="*/ 139 h 387"/>
                <a:gd name="T46" fmla="*/ 340 w 373"/>
                <a:gd name="T47" fmla="*/ 177 h 387"/>
                <a:gd name="T48" fmla="*/ 373 w 373"/>
                <a:gd name="T49" fmla="*/ 205 h 387"/>
                <a:gd name="T50" fmla="*/ 340 w 373"/>
                <a:gd name="T51" fmla="*/ 233 h 387"/>
                <a:gd name="T52" fmla="*/ 340 w 373"/>
                <a:gd name="T53" fmla="*/ 283 h 387"/>
                <a:gd name="T54" fmla="*/ 357 w 373"/>
                <a:gd name="T55" fmla="*/ 283 h 387"/>
                <a:gd name="T56" fmla="*/ 340 w 373"/>
                <a:gd name="T57" fmla="*/ 316 h 387"/>
                <a:gd name="T58" fmla="*/ 302 w 373"/>
                <a:gd name="T59" fmla="*/ 359 h 387"/>
                <a:gd name="T60" fmla="*/ 286 w 373"/>
                <a:gd name="T61" fmla="*/ 354 h 387"/>
                <a:gd name="T62" fmla="*/ 286 w 373"/>
                <a:gd name="T63" fmla="*/ 359 h 387"/>
                <a:gd name="T64" fmla="*/ 248 w 373"/>
                <a:gd name="T65" fmla="*/ 387 h 387"/>
                <a:gd name="T66" fmla="*/ 194 w 373"/>
                <a:gd name="T67" fmla="*/ 370 h 387"/>
                <a:gd name="T68" fmla="*/ 146 w 373"/>
                <a:gd name="T69" fmla="*/ 375 h 387"/>
                <a:gd name="T70" fmla="*/ 139 w 373"/>
                <a:gd name="T71" fmla="*/ 375 h 387"/>
                <a:gd name="T72" fmla="*/ 146 w 373"/>
                <a:gd name="T73" fmla="*/ 370 h 387"/>
                <a:gd name="T74" fmla="*/ 108 w 373"/>
                <a:gd name="T75" fmla="*/ 359 h 387"/>
                <a:gd name="T76" fmla="*/ 92 w 373"/>
                <a:gd name="T77" fmla="*/ 342 h 387"/>
                <a:gd name="T78" fmla="*/ 38 w 373"/>
                <a:gd name="T79" fmla="*/ 342 h 387"/>
                <a:gd name="T80" fmla="*/ 0 w 373"/>
                <a:gd name="T81" fmla="*/ 300 h 387"/>
                <a:gd name="T82" fmla="*/ 0 w 373"/>
                <a:gd name="T83" fmla="*/ 267 h 387"/>
                <a:gd name="T84" fmla="*/ 0 w 373"/>
                <a:gd name="T85" fmla="*/ 233 h 387"/>
                <a:gd name="T86" fmla="*/ 16 w 373"/>
                <a:gd name="T87" fmla="*/ 233 h 387"/>
                <a:gd name="T88" fmla="*/ 21 w 373"/>
                <a:gd name="T89" fmla="*/ 222 h 387"/>
                <a:gd name="T90" fmla="*/ 16 w 373"/>
                <a:gd name="T91" fmla="*/ 177 h 387"/>
                <a:gd name="T92" fmla="*/ 16 w 373"/>
                <a:gd name="T93" fmla="*/ 177 h 387"/>
                <a:gd name="T94" fmla="*/ 16 w 373"/>
                <a:gd name="T95" fmla="*/ 17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87">
                  <a:moveTo>
                    <a:pt x="16" y="177"/>
                  </a:moveTo>
                  <a:lnTo>
                    <a:pt x="21" y="172"/>
                  </a:lnTo>
                  <a:lnTo>
                    <a:pt x="16" y="139"/>
                  </a:lnTo>
                  <a:lnTo>
                    <a:pt x="21" y="122"/>
                  </a:lnTo>
                  <a:lnTo>
                    <a:pt x="33" y="111"/>
                  </a:lnTo>
                  <a:lnTo>
                    <a:pt x="21" y="99"/>
                  </a:lnTo>
                  <a:lnTo>
                    <a:pt x="33" y="82"/>
                  </a:lnTo>
                  <a:lnTo>
                    <a:pt x="49" y="56"/>
                  </a:lnTo>
                  <a:lnTo>
                    <a:pt x="38" y="28"/>
                  </a:lnTo>
                  <a:lnTo>
                    <a:pt x="54" y="11"/>
                  </a:lnTo>
                  <a:lnTo>
                    <a:pt x="54" y="7"/>
                  </a:lnTo>
                  <a:lnTo>
                    <a:pt x="59" y="7"/>
                  </a:lnTo>
                  <a:lnTo>
                    <a:pt x="87" y="11"/>
                  </a:lnTo>
                  <a:lnTo>
                    <a:pt x="92" y="0"/>
                  </a:lnTo>
                  <a:lnTo>
                    <a:pt x="113" y="0"/>
                  </a:lnTo>
                  <a:lnTo>
                    <a:pt x="168" y="56"/>
                  </a:lnTo>
                  <a:lnTo>
                    <a:pt x="168" y="66"/>
                  </a:lnTo>
                  <a:lnTo>
                    <a:pt x="177" y="66"/>
                  </a:lnTo>
                  <a:lnTo>
                    <a:pt x="201" y="56"/>
                  </a:lnTo>
                  <a:lnTo>
                    <a:pt x="222" y="82"/>
                  </a:lnTo>
                  <a:lnTo>
                    <a:pt x="269" y="99"/>
                  </a:lnTo>
                  <a:lnTo>
                    <a:pt x="286" y="132"/>
                  </a:lnTo>
                  <a:lnTo>
                    <a:pt x="319" y="139"/>
                  </a:lnTo>
                  <a:lnTo>
                    <a:pt x="340" y="177"/>
                  </a:lnTo>
                  <a:lnTo>
                    <a:pt x="373" y="205"/>
                  </a:lnTo>
                  <a:lnTo>
                    <a:pt x="340" y="233"/>
                  </a:lnTo>
                  <a:lnTo>
                    <a:pt x="340" y="283"/>
                  </a:lnTo>
                  <a:lnTo>
                    <a:pt x="357" y="283"/>
                  </a:lnTo>
                  <a:lnTo>
                    <a:pt x="340" y="316"/>
                  </a:lnTo>
                  <a:lnTo>
                    <a:pt x="302" y="359"/>
                  </a:lnTo>
                  <a:lnTo>
                    <a:pt x="286" y="354"/>
                  </a:lnTo>
                  <a:lnTo>
                    <a:pt x="286" y="359"/>
                  </a:lnTo>
                  <a:lnTo>
                    <a:pt x="248" y="387"/>
                  </a:lnTo>
                  <a:lnTo>
                    <a:pt x="194" y="370"/>
                  </a:lnTo>
                  <a:lnTo>
                    <a:pt x="146" y="375"/>
                  </a:lnTo>
                  <a:lnTo>
                    <a:pt x="139" y="375"/>
                  </a:lnTo>
                  <a:lnTo>
                    <a:pt x="146" y="370"/>
                  </a:lnTo>
                  <a:lnTo>
                    <a:pt x="108" y="359"/>
                  </a:lnTo>
                  <a:lnTo>
                    <a:pt x="92" y="342"/>
                  </a:lnTo>
                  <a:lnTo>
                    <a:pt x="38" y="342"/>
                  </a:lnTo>
                  <a:lnTo>
                    <a:pt x="0" y="300"/>
                  </a:lnTo>
                  <a:lnTo>
                    <a:pt x="0" y="267"/>
                  </a:lnTo>
                  <a:lnTo>
                    <a:pt x="0" y="233"/>
                  </a:lnTo>
                  <a:lnTo>
                    <a:pt x="16" y="233"/>
                  </a:lnTo>
                  <a:lnTo>
                    <a:pt x="21" y="222"/>
                  </a:lnTo>
                  <a:lnTo>
                    <a:pt x="16" y="177"/>
                  </a:lnTo>
                  <a:lnTo>
                    <a:pt x="16" y="177"/>
                  </a:lnTo>
                  <a:lnTo>
                    <a:pt x="16" y="17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5" name="Freeform 586">
              <a:extLst>
                <a:ext uri="{FF2B5EF4-FFF2-40B4-BE49-F238E27FC236}">
                  <a16:creationId xmlns:a16="http://schemas.microsoft.com/office/drawing/2014/main" id="{714B6056-FAC6-4CAD-8194-AB94AFA37216}"/>
                </a:ext>
              </a:extLst>
            </p:cNvPr>
            <p:cNvSpPr>
              <a:spLocks/>
            </p:cNvSpPr>
            <p:nvPr/>
          </p:nvSpPr>
          <p:spPr bwMode="gray">
            <a:xfrm>
              <a:off x="4957289" y="3666933"/>
              <a:ext cx="824" cy="8646"/>
            </a:xfrm>
            <a:custGeom>
              <a:avLst/>
              <a:gdLst>
                <a:gd name="T0" fmla="*/ 2 w 2"/>
                <a:gd name="T1" fmla="*/ 21 h 21"/>
                <a:gd name="T2" fmla="*/ 0 w 2"/>
                <a:gd name="T3" fmla="*/ 14 h 21"/>
                <a:gd name="T4" fmla="*/ 2 w 2"/>
                <a:gd name="T5" fmla="*/ 0 h 21"/>
                <a:gd name="T6" fmla="*/ 2 w 2"/>
                <a:gd name="T7" fmla="*/ 5 h 21"/>
                <a:gd name="T8" fmla="*/ 2 w 2"/>
                <a:gd name="T9" fmla="*/ 21 h 21"/>
                <a:gd name="T10" fmla="*/ 2 w 2"/>
                <a:gd name="T11" fmla="*/ 21 h 21"/>
                <a:gd name="T12" fmla="*/ 2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2" y="21"/>
                  </a:moveTo>
                  <a:lnTo>
                    <a:pt x="0" y="14"/>
                  </a:lnTo>
                  <a:lnTo>
                    <a:pt x="2" y="0"/>
                  </a:lnTo>
                  <a:lnTo>
                    <a:pt x="2" y="5"/>
                  </a:lnTo>
                  <a:lnTo>
                    <a:pt x="2" y="21"/>
                  </a:lnTo>
                  <a:lnTo>
                    <a:pt x="2" y="21"/>
                  </a:lnTo>
                  <a:lnTo>
                    <a:pt x="2" y="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6" name="Freeform 587">
              <a:extLst>
                <a:ext uri="{FF2B5EF4-FFF2-40B4-BE49-F238E27FC236}">
                  <a16:creationId xmlns:a16="http://schemas.microsoft.com/office/drawing/2014/main" id="{6A151056-2E2C-4BEB-BFF8-4898232A8E8A}"/>
                </a:ext>
              </a:extLst>
            </p:cNvPr>
            <p:cNvSpPr>
              <a:spLocks noEditPoints="1"/>
            </p:cNvSpPr>
            <p:nvPr/>
          </p:nvSpPr>
          <p:spPr bwMode="gray">
            <a:xfrm>
              <a:off x="4609016" y="3699870"/>
              <a:ext cx="388205" cy="348312"/>
            </a:xfrm>
            <a:custGeom>
              <a:avLst/>
              <a:gdLst>
                <a:gd name="T0" fmla="*/ 900 w 943"/>
                <a:gd name="T1" fmla="*/ 324 h 846"/>
                <a:gd name="T2" fmla="*/ 905 w 943"/>
                <a:gd name="T3" fmla="*/ 366 h 846"/>
                <a:gd name="T4" fmla="*/ 851 w 943"/>
                <a:gd name="T5" fmla="*/ 439 h 846"/>
                <a:gd name="T6" fmla="*/ 879 w 943"/>
                <a:gd name="T7" fmla="*/ 550 h 846"/>
                <a:gd name="T8" fmla="*/ 813 w 943"/>
                <a:gd name="T9" fmla="*/ 584 h 846"/>
                <a:gd name="T10" fmla="*/ 744 w 943"/>
                <a:gd name="T11" fmla="*/ 600 h 846"/>
                <a:gd name="T12" fmla="*/ 669 w 943"/>
                <a:gd name="T13" fmla="*/ 607 h 846"/>
                <a:gd name="T14" fmla="*/ 610 w 943"/>
                <a:gd name="T15" fmla="*/ 600 h 846"/>
                <a:gd name="T16" fmla="*/ 702 w 943"/>
                <a:gd name="T17" fmla="*/ 718 h 846"/>
                <a:gd name="T18" fmla="*/ 631 w 943"/>
                <a:gd name="T19" fmla="*/ 780 h 846"/>
                <a:gd name="T20" fmla="*/ 560 w 943"/>
                <a:gd name="T21" fmla="*/ 824 h 846"/>
                <a:gd name="T22" fmla="*/ 527 w 943"/>
                <a:gd name="T23" fmla="*/ 824 h 846"/>
                <a:gd name="T24" fmla="*/ 430 w 943"/>
                <a:gd name="T25" fmla="*/ 718 h 846"/>
                <a:gd name="T26" fmla="*/ 400 w 943"/>
                <a:gd name="T27" fmla="*/ 612 h 846"/>
                <a:gd name="T28" fmla="*/ 414 w 943"/>
                <a:gd name="T29" fmla="*/ 456 h 846"/>
                <a:gd name="T30" fmla="*/ 296 w 943"/>
                <a:gd name="T31" fmla="*/ 439 h 846"/>
                <a:gd name="T32" fmla="*/ 215 w 943"/>
                <a:gd name="T33" fmla="*/ 385 h 846"/>
                <a:gd name="T34" fmla="*/ 81 w 943"/>
                <a:gd name="T35" fmla="*/ 362 h 846"/>
                <a:gd name="T36" fmla="*/ 43 w 943"/>
                <a:gd name="T37" fmla="*/ 267 h 846"/>
                <a:gd name="T38" fmla="*/ 22 w 943"/>
                <a:gd name="T39" fmla="*/ 184 h 846"/>
                <a:gd name="T40" fmla="*/ 144 w 943"/>
                <a:gd name="T41" fmla="*/ 28 h 846"/>
                <a:gd name="T42" fmla="*/ 81 w 943"/>
                <a:gd name="T43" fmla="*/ 177 h 846"/>
                <a:gd name="T44" fmla="*/ 161 w 943"/>
                <a:gd name="T45" fmla="*/ 213 h 846"/>
                <a:gd name="T46" fmla="*/ 199 w 943"/>
                <a:gd name="T47" fmla="*/ 73 h 846"/>
                <a:gd name="T48" fmla="*/ 241 w 943"/>
                <a:gd name="T49" fmla="*/ 45 h 846"/>
                <a:gd name="T50" fmla="*/ 241 w 943"/>
                <a:gd name="T51" fmla="*/ 12 h 846"/>
                <a:gd name="T52" fmla="*/ 362 w 943"/>
                <a:gd name="T53" fmla="*/ 99 h 846"/>
                <a:gd name="T54" fmla="*/ 506 w 943"/>
                <a:gd name="T55" fmla="*/ 123 h 846"/>
                <a:gd name="T56" fmla="*/ 636 w 943"/>
                <a:gd name="T57" fmla="*/ 128 h 846"/>
                <a:gd name="T58" fmla="*/ 685 w 943"/>
                <a:gd name="T59" fmla="*/ 123 h 846"/>
                <a:gd name="T60" fmla="*/ 770 w 943"/>
                <a:gd name="T61" fmla="*/ 128 h 846"/>
                <a:gd name="T62" fmla="*/ 723 w 943"/>
                <a:gd name="T63" fmla="*/ 139 h 846"/>
                <a:gd name="T64" fmla="*/ 754 w 943"/>
                <a:gd name="T65" fmla="*/ 156 h 846"/>
                <a:gd name="T66" fmla="*/ 770 w 943"/>
                <a:gd name="T67" fmla="*/ 184 h 846"/>
                <a:gd name="T68" fmla="*/ 792 w 943"/>
                <a:gd name="T69" fmla="*/ 177 h 846"/>
                <a:gd name="T70" fmla="*/ 808 w 943"/>
                <a:gd name="T71" fmla="*/ 177 h 846"/>
                <a:gd name="T72" fmla="*/ 879 w 943"/>
                <a:gd name="T73" fmla="*/ 213 h 846"/>
                <a:gd name="T74" fmla="*/ 851 w 943"/>
                <a:gd name="T75" fmla="*/ 267 h 846"/>
                <a:gd name="T76" fmla="*/ 863 w 943"/>
                <a:gd name="T77" fmla="*/ 279 h 846"/>
                <a:gd name="T78" fmla="*/ 938 w 943"/>
                <a:gd name="T79" fmla="*/ 272 h 846"/>
                <a:gd name="T80" fmla="*/ 506 w 943"/>
                <a:gd name="T81" fmla="*/ 33 h 846"/>
                <a:gd name="T82" fmla="*/ 648 w 943"/>
                <a:gd name="T83" fmla="*/ 99 h 846"/>
                <a:gd name="T84" fmla="*/ 664 w 943"/>
                <a:gd name="T85" fmla="*/ 83 h 846"/>
                <a:gd name="T86" fmla="*/ 565 w 943"/>
                <a:gd name="T87" fmla="*/ 99 h 846"/>
                <a:gd name="T88" fmla="*/ 565 w 943"/>
                <a:gd name="T89" fmla="*/ 99 h 846"/>
                <a:gd name="T90" fmla="*/ 879 w 943"/>
                <a:gd name="T91" fmla="*/ 234 h 846"/>
                <a:gd name="T92" fmla="*/ 867 w 943"/>
                <a:gd name="T93" fmla="*/ 250 h 846"/>
                <a:gd name="T94" fmla="*/ 879 w 943"/>
                <a:gd name="T95" fmla="*/ 250 h 846"/>
                <a:gd name="T96" fmla="*/ 867 w 943"/>
                <a:gd name="T97" fmla="*/ 267 h 846"/>
                <a:gd name="T98" fmla="*/ 867 w 943"/>
                <a:gd name="T99" fmla="*/ 267 h 846"/>
                <a:gd name="T100" fmla="*/ 863 w 943"/>
                <a:gd name="T101" fmla="*/ 267 h 846"/>
                <a:gd name="T102" fmla="*/ 851 w 943"/>
                <a:gd name="T103" fmla="*/ 272 h 846"/>
                <a:gd name="T104" fmla="*/ 867 w 943"/>
                <a:gd name="T105" fmla="*/ 267 h 846"/>
                <a:gd name="T106" fmla="*/ 825 w 943"/>
                <a:gd name="T107" fmla="*/ 272 h 846"/>
                <a:gd name="T108" fmla="*/ 846 w 943"/>
                <a:gd name="T109" fmla="*/ 272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43" h="846">
                  <a:moveTo>
                    <a:pt x="938" y="272"/>
                  </a:moveTo>
                  <a:lnTo>
                    <a:pt x="943" y="295"/>
                  </a:lnTo>
                  <a:lnTo>
                    <a:pt x="938" y="295"/>
                  </a:lnTo>
                  <a:lnTo>
                    <a:pt x="933" y="307"/>
                  </a:lnTo>
                  <a:lnTo>
                    <a:pt x="900" y="324"/>
                  </a:lnTo>
                  <a:lnTo>
                    <a:pt x="884" y="345"/>
                  </a:lnTo>
                  <a:lnTo>
                    <a:pt x="889" y="362"/>
                  </a:lnTo>
                  <a:lnTo>
                    <a:pt x="889" y="366"/>
                  </a:lnTo>
                  <a:lnTo>
                    <a:pt x="900" y="378"/>
                  </a:lnTo>
                  <a:lnTo>
                    <a:pt x="905" y="366"/>
                  </a:lnTo>
                  <a:lnTo>
                    <a:pt x="917" y="378"/>
                  </a:lnTo>
                  <a:lnTo>
                    <a:pt x="884" y="402"/>
                  </a:lnTo>
                  <a:lnTo>
                    <a:pt x="851" y="402"/>
                  </a:lnTo>
                  <a:lnTo>
                    <a:pt x="851" y="418"/>
                  </a:lnTo>
                  <a:lnTo>
                    <a:pt x="851" y="439"/>
                  </a:lnTo>
                  <a:lnTo>
                    <a:pt x="837" y="463"/>
                  </a:lnTo>
                  <a:lnTo>
                    <a:pt x="884" y="513"/>
                  </a:lnTo>
                  <a:lnTo>
                    <a:pt x="889" y="517"/>
                  </a:lnTo>
                  <a:lnTo>
                    <a:pt x="889" y="534"/>
                  </a:lnTo>
                  <a:lnTo>
                    <a:pt x="879" y="550"/>
                  </a:lnTo>
                  <a:lnTo>
                    <a:pt x="867" y="558"/>
                  </a:lnTo>
                  <a:lnTo>
                    <a:pt x="846" y="567"/>
                  </a:lnTo>
                  <a:lnTo>
                    <a:pt x="830" y="574"/>
                  </a:lnTo>
                  <a:lnTo>
                    <a:pt x="825" y="584"/>
                  </a:lnTo>
                  <a:lnTo>
                    <a:pt x="813" y="584"/>
                  </a:lnTo>
                  <a:lnTo>
                    <a:pt x="808" y="591"/>
                  </a:lnTo>
                  <a:lnTo>
                    <a:pt x="782" y="591"/>
                  </a:lnTo>
                  <a:lnTo>
                    <a:pt x="761" y="591"/>
                  </a:lnTo>
                  <a:lnTo>
                    <a:pt x="754" y="600"/>
                  </a:lnTo>
                  <a:lnTo>
                    <a:pt x="744" y="600"/>
                  </a:lnTo>
                  <a:lnTo>
                    <a:pt x="744" y="624"/>
                  </a:lnTo>
                  <a:lnTo>
                    <a:pt x="728" y="628"/>
                  </a:lnTo>
                  <a:lnTo>
                    <a:pt x="702" y="607"/>
                  </a:lnTo>
                  <a:lnTo>
                    <a:pt x="690" y="612"/>
                  </a:lnTo>
                  <a:lnTo>
                    <a:pt x="669" y="607"/>
                  </a:lnTo>
                  <a:lnTo>
                    <a:pt x="652" y="607"/>
                  </a:lnTo>
                  <a:lnTo>
                    <a:pt x="648" y="591"/>
                  </a:lnTo>
                  <a:lnTo>
                    <a:pt x="615" y="591"/>
                  </a:lnTo>
                  <a:lnTo>
                    <a:pt x="598" y="584"/>
                  </a:lnTo>
                  <a:lnTo>
                    <a:pt x="610" y="600"/>
                  </a:lnTo>
                  <a:lnTo>
                    <a:pt x="636" y="628"/>
                  </a:lnTo>
                  <a:lnTo>
                    <a:pt x="636" y="662"/>
                  </a:lnTo>
                  <a:lnTo>
                    <a:pt x="652" y="695"/>
                  </a:lnTo>
                  <a:lnTo>
                    <a:pt x="652" y="711"/>
                  </a:lnTo>
                  <a:lnTo>
                    <a:pt x="702" y="718"/>
                  </a:lnTo>
                  <a:lnTo>
                    <a:pt x="702" y="735"/>
                  </a:lnTo>
                  <a:lnTo>
                    <a:pt x="652" y="751"/>
                  </a:lnTo>
                  <a:lnTo>
                    <a:pt x="648" y="773"/>
                  </a:lnTo>
                  <a:lnTo>
                    <a:pt x="636" y="780"/>
                  </a:lnTo>
                  <a:lnTo>
                    <a:pt x="631" y="780"/>
                  </a:lnTo>
                  <a:lnTo>
                    <a:pt x="610" y="796"/>
                  </a:lnTo>
                  <a:lnTo>
                    <a:pt x="598" y="796"/>
                  </a:lnTo>
                  <a:lnTo>
                    <a:pt x="577" y="806"/>
                  </a:lnTo>
                  <a:lnTo>
                    <a:pt x="565" y="824"/>
                  </a:lnTo>
                  <a:lnTo>
                    <a:pt x="560" y="824"/>
                  </a:lnTo>
                  <a:lnTo>
                    <a:pt x="544" y="846"/>
                  </a:lnTo>
                  <a:lnTo>
                    <a:pt x="544" y="841"/>
                  </a:lnTo>
                  <a:lnTo>
                    <a:pt x="544" y="824"/>
                  </a:lnTo>
                  <a:lnTo>
                    <a:pt x="544" y="824"/>
                  </a:lnTo>
                  <a:lnTo>
                    <a:pt x="527" y="824"/>
                  </a:lnTo>
                  <a:lnTo>
                    <a:pt x="506" y="841"/>
                  </a:lnTo>
                  <a:lnTo>
                    <a:pt x="489" y="841"/>
                  </a:lnTo>
                  <a:lnTo>
                    <a:pt x="452" y="806"/>
                  </a:lnTo>
                  <a:lnTo>
                    <a:pt x="430" y="723"/>
                  </a:lnTo>
                  <a:lnTo>
                    <a:pt x="430" y="718"/>
                  </a:lnTo>
                  <a:lnTo>
                    <a:pt x="400" y="685"/>
                  </a:lnTo>
                  <a:lnTo>
                    <a:pt x="383" y="685"/>
                  </a:lnTo>
                  <a:lnTo>
                    <a:pt x="421" y="645"/>
                  </a:lnTo>
                  <a:lnTo>
                    <a:pt x="404" y="624"/>
                  </a:lnTo>
                  <a:lnTo>
                    <a:pt x="400" y="612"/>
                  </a:lnTo>
                  <a:lnTo>
                    <a:pt x="383" y="558"/>
                  </a:lnTo>
                  <a:lnTo>
                    <a:pt x="383" y="501"/>
                  </a:lnTo>
                  <a:lnTo>
                    <a:pt x="400" y="489"/>
                  </a:lnTo>
                  <a:lnTo>
                    <a:pt x="400" y="473"/>
                  </a:lnTo>
                  <a:lnTo>
                    <a:pt x="414" y="456"/>
                  </a:lnTo>
                  <a:lnTo>
                    <a:pt x="414" y="439"/>
                  </a:lnTo>
                  <a:lnTo>
                    <a:pt x="383" y="435"/>
                  </a:lnTo>
                  <a:lnTo>
                    <a:pt x="378" y="439"/>
                  </a:lnTo>
                  <a:lnTo>
                    <a:pt x="329" y="444"/>
                  </a:lnTo>
                  <a:lnTo>
                    <a:pt x="296" y="439"/>
                  </a:lnTo>
                  <a:lnTo>
                    <a:pt x="291" y="444"/>
                  </a:lnTo>
                  <a:lnTo>
                    <a:pt x="279" y="444"/>
                  </a:lnTo>
                  <a:lnTo>
                    <a:pt x="274" y="444"/>
                  </a:lnTo>
                  <a:lnTo>
                    <a:pt x="227" y="385"/>
                  </a:lnTo>
                  <a:lnTo>
                    <a:pt x="215" y="385"/>
                  </a:lnTo>
                  <a:lnTo>
                    <a:pt x="182" y="378"/>
                  </a:lnTo>
                  <a:lnTo>
                    <a:pt x="152" y="385"/>
                  </a:lnTo>
                  <a:lnTo>
                    <a:pt x="119" y="378"/>
                  </a:lnTo>
                  <a:lnTo>
                    <a:pt x="90" y="385"/>
                  </a:lnTo>
                  <a:lnTo>
                    <a:pt x="81" y="362"/>
                  </a:lnTo>
                  <a:lnTo>
                    <a:pt x="59" y="345"/>
                  </a:lnTo>
                  <a:lnTo>
                    <a:pt x="59" y="312"/>
                  </a:lnTo>
                  <a:lnTo>
                    <a:pt x="64" y="307"/>
                  </a:lnTo>
                  <a:lnTo>
                    <a:pt x="64" y="279"/>
                  </a:lnTo>
                  <a:lnTo>
                    <a:pt x="43" y="267"/>
                  </a:lnTo>
                  <a:lnTo>
                    <a:pt x="38" y="234"/>
                  </a:lnTo>
                  <a:lnTo>
                    <a:pt x="26" y="222"/>
                  </a:lnTo>
                  <a:lnTo>
                    <a:pt x="22" y="217"/>
                  </a:lnTo>
                  <a:lnTo>
                    <a:pt x="0" y="222"/>
                  </a:lnTo>
                  <a:lnTo>
                    <a:pt x="22" y="184"/>
                  </a:lnTo>
                  <a:lnTo>
                    <a:pt x="26" y="128"/>
                  </a:lnTo>
                  <a:lnTo>
                    <a:pt x="59" y="83"/>
                  </a:lnTo>
                  <a:lnTo>
                    <a:pt x="81" y="73"/>
                  </a:lnTo>
                  <a:lnTo>
                    <a:pt x="97" y="45"/>
                  </a:lnTo>
                  <a:lnTo>
                    <a:pt x="144" y="28"/>
                  </a:lnTo>
                  <a:lnTo>
                    <a:pt x="135" y="33"/>
                  </a:lnTo>
                  <a:lnTo>
                    <a:pt x="97" y="50"/>
                  </a:lnTo>
                  <a:lnTo>
                    <a:pt x="119" y="111"/>
                  </a:lnTo>
                  <a:lnTo>
                    <a:pt x="119" y="128"/>
                  </a:lnTo>
                  <a:lnTo>
                    <a:pt x="81" y="177"/>
                  </a:lnTo>
                  <a:lnTo>
                    <a:pt x="114" y="213"/>
                  </a:lnTo>
                  <a:lnTo>
                    <a:pt x="114" y="222"/>
                  </a:lnTo>
                  <a:lnTo>
                    <a:pt x="119" y="234"/>
                  </a:lnTo>
                  <a:lnTo>
                    <a:pt x="144" y="222"/>
                  </a:lnTo>
                  <a:lnTo>
                    <a:pt x="161" y="213"/>
                  </a:lnTo>
                  <a:lnTo>
                    <a:pt x="161" y="177"/>
                  </a:lnTo>
                  <a:lnTo>
                    <a:pt x="128" y="123"/>
                  </a:lnTo>
                  <a:lnTo>
                    <a:pt x="128" y="106"/>
                  </a:lnTo>
                  <a:lnTo>
                    <a:pt x="128" y="99"/>
                  </a:lnTo>
                  <a:lnTo>
                    <a:pt x="199" y="73"/>
                  </a:lnTo>
                  <a:lnTo>
                    <a:pt x="227" y="57"/>
                  </a:lnTo>
                  <a:lnTo>
                    <a:pt x="227" y="50"/>
                  </a:lnTo>
                  <a:lnTo>
                    <a:pt x="241" y="57"/>
                  </a:lnTo>
                  <a:lnTo>
                    <a:pt x="253" y="57"/>
                  </a:lnTo>
                  <a:lnTo>
                    <a:pt x="241" y="45"/>
                  </a:lnTo>
                  <a:lnTo>
                    <a:pt x="215" y="45"/>
                  </a:lnTo>
                  <a:lnTo>
                    <a:pt x="215" y="28"/>
                  </a:lnTo>
                  <a:lnTo>
                    <a:pt x="220" y="12"/>
                  </a:lnTo>
                  <a:lnTo>
                    <a:pt x="237" y="0"/>
                  </a:lnTo>
                  <a:lnTo>
                    <a:pt x="241" y="12"/>
                  </a:lnTo>
                  <a:lnTo>
                    <a:pt x="258" y="57"/>
                  </a:lnTo>
                  <a:lnTo>
                    <a:pt x="279" y="50"/>
                  </a:lnTo>
                  <a:lnTo>
                    <a:pt x="312" y="57"/>
                  </a:lnTo>
                  <a:lnTo>
                    <a:pt x="345" y="83"/>
                  </a:lnTo>
                  <a:lnTo>
                    <a:pt x="362" y="99"/>
                  </a:lnTo>
                  <a:lnTo>
                    <a:pt x="350" y="106"/>
                  </a:lnTo>
                  <a:lnTo>
                    <a:pt x="350" y="123"/>
                  </a:lnTo>
                  <a:lnTo>
                    <a:pt x="367" y="128"/>
                  </a:lnTo>
                  <a:lnTo>
                    <a:pt x="501" y="123"/>
                  </a:lnTo>
                  <a:lnTo>
                    <a:pt x="506" y="123"/>
                  </a:lnTo>
                  <a:lnTo>
                    <a:pt x="506" y="128"/>
                  </a:lnTo>
                  <a:lnTo>
                    <a:pt x="527" y="144"/>
                  </a:lnTo>
                  <a:lnTo>
                    <a:pt x="577" y="161"/>
                  </a:lnTo>
                  <a:lnTo>
                    <a:pt x="598" y="161"/>
                  </a:lnTo>
                  <a:lnTo>
                    <a:pt x="636" y="128"/>
                  </a:lnTo>
                  <a:lnTo>
                    <a:pt x="674" y="128"/>
                  </a:lnTo>
                  <a:lnTo>
                    <a:pt x="652" y="123"/>
                  </a:lnTo>
                  <a:lnTo>
                    <a:pt x="636" y="128"/>
                  </a:lnTo>
                  <a:lnTo>
                    <a:pt x="636" y="111"/>
                  </a:lnTo>
                  <a:lnTo>
                    <a:pt x="685" y="123"/>
                  </a:lnTo>
                  <a:lnTo>
                    <a:pt x="716" y="111"/>
                  </a:lnTo>
                  <a:lnTo>
                    <a:pt x="799" y="111"/>
                  </a:lnTo>
                  <a:lnTo>
                    <a:pt x="799" y="111"/>
                  </a:lnTo>
                  <a:lnTo>
                    <a:pt x="778" y="123"/>
                  </a:lnTo>
                  <a:lnTo>
                    <a:pt x="770" y="128"/>
                  </a:lnTo>
                  <a:lnTo>
                    <a:pt x="728" y="128"/>
                  </a:lnTo>
                  <a:lnTo>
                    <a:pt x="723" y="128"/>
                  </a:lnTo>
                  <a:lnTo>
                    <a:pt x="740" y="128"/>
                  </a:lnTo>
                  <a:lnTo>
                    <a:pt x="740" y="139"/>
                  </a:lnTo>
                  <a:lnTo>
                    <a:pt x="723" y="139"/>
                  </a:lnTo>
                  <a:lnTo>
                    <a:pt x="723" y="144"/>
                  </a:lnTo>
                  <a:lnTo>
                    <a:pt x="728" y="144"/>
                  </a:lnTo>
                  <a:lnTo>
                    <a:pt x="728" y="139"/>
                  </a:lnTo>
                  <a:lnTo>
                    <a:pt x="740" y="139"/>
                  </a:lnTo>
                  <a:lnTo>
                    <a:pt x="754" y="156"/>
                  </a:lnTo>
                  <a:lnTo>
                    <a:pt x="723" y="161"/>
                  </a:lnTo>
                  <a:lnTo>
                    <a:pt x="740" y="161"/>
                  </a:lnTo>
                  <a:lnTo>
                    <a:pt x="754" y="161"/>
                  </a:lnTo>
                  <a:lnTo>
                    <a:pt x="754" y="144"/>
                  </a:lnTo>
                  <a:lnTo>
                    <a:pt x="770" y="184"/>
                  </a:lnTo>
                  <a:lnTo>
                    <a:pt x="778" y="168"/>
                  </a:lnTo>
                  <a:lnTo>
                    <a:pt x="778" y="168"/>
                  </a:lnTo>
                  <a:lnTo>
                    <a:pt x="778" y="194"/>
                  </a:lnTo>
                  <a:lnTo>
                    <a:pt x="782" y="177"/>
                  </a:lnTo>
                  <a:lnTo>
                    <a:pt x="792" y="177"/>
                  </a:lnTo>
                  <a:lnTo>
                    <a:pt x="778" y="168"/>
                  </a:lnTo>
                  <a:lnTo>
                    <a:pt x="782" y="161"/>
                  </a:lnTo>
                  <a:lnTo>
                    <a:pt x="799" y="168"/>
                  </a:lnTo>
                  <a:lnTo>
                    <a:pt x="813" y="194"/>
                  </a:lnTo>
                  <a:lnTo>
                    <a:pt x="808" y="177"/>
                  </a:lnTo>
                  <a:lnTo>
                    <a:pt x="825" y="177"/>
                  </a:lnTo>
                  <a:lnTo>
                    <a:pt x="825" y="168"/>
                  </a:lnTo>
                  <a:lnTo>
                    <a:pt x="846" y="194"/>
                  </a:lnTo>
                  <a:lnTo>
                    <a:pt x="863" y="194"/>
                  </a:lnTo>
                  <a:lnTo>
                    <a:pt x="879" y="213"/>
                  </a:lnTo>
                  <a:lnTo>
                    <a:pt x="879" y="217"/>
                  </a:lnTo>
                  <a:lnTo>
                    <a:pt x="863" y="234"/>
                  </a:lnTo>
                  <a:lnTo>
                    <a:pt x="863" y="234"/>
                  </a:lnTo>
                  <a:lnTo>
                    <a:pt x="867" y="222"/>
                  </a:lnTo>
                  <a:lnTo>
                    <a:pt x="851" y="267"/>
                  </a:lnTo>
                  <a:lnTo>
                    <a:pt x="825" y="267"/>
                  </a:lnTo>
                  <a:lnTo>
                    <a:pt x="825" y="272"/>
                  </a:lnTo>
                  <a:lnTo>
                    <a:pt x="837" y="279"/>
                  </a:lnTo>
                  <a:lnTo>
                    <a:pt x="863" y="272"/>
                  </a:lnTo>
                  <a:lnTo>
                    <a:pt x="863" y="279"/>
                  </a:lnTo>
                  <a:lnTo>
                    <a:pt x="867" y="267"/>
                  </a:lnTo>
                  <a:lnTo>
                    <a:pt x="900" y="272"/>
                  </a:lnTo>
                  <a:lnTo>
                    <a:pt x="905" y="267"/>
                  </a:lnTo>
                  <a:lnTo>
                    <a:pt x="917" y="267"/>
                  </a:lnTo>
                  <a:lnTo>
                    <a:pt x="938" y="272"/>
                  </a:lnTo>
                  <a:lnTo>
                    <a:pt x="938" y="272"/>
                  </a:lnTo>
                  <a:lnTo>
                    <a:pt x="938" y="272"/>
                  </a:lnTo>
                  <a:close/>
                  <a:moveTo>
                    <a:pt x="506" y="33"/>
                  </a:moveTo>
                  <a:lnTo>
                    <a:pt x="501" y="33"/>
                  </a:lnTo>
                  <a:lnTo>
                    <a:pt x="506" y="33"/>
                  </a:lnTo>
                  <a:lnTo>
                    <a:pt x="506" y="33"/>
                  </a:lnTo>
                  <a:lnTo>
                    <a:pt x="506" y="33"/>
                  </a:lnTo>
                  <a:lnTo>
                    <a:pt x="506" y="33"/>
                  </a:lnTo>
                  <a:close/>
                  <a:moveTo>
                    <a:pt x="652" y="106"/>
                  </a:moveTo>
                  <a:lnTo>
                    <a:pt x="648" y="99"/>
                  </a:lnTo>
                  <a:lnTo>
                    <a:pt x="631" y="99"/>
                  </a:lnTo>
                  <a:lnTo>
                    <a:pt x="631" y="90"/>
                  </a:lnTo>
                  <a:lnTo>
                    <a:pt x="636" y="83"/>
                  </a:lnTo>
                  <a:lnTo>
                    <a:pt x="652" y="90"/>
                  </a:lnTo>
                  <a:lnTo>
                    <a:pt x="664" y="83"/>
                  </a:lnTo>
                  <a:lnTo>
                    <a:pt x="669" y="90"/>
                  </a:lnTo>
                  <a:lnTo>
                    <a:pt x="652" y="106"/>
                  </a:lnTo>
                  <a:lnTo>
                    <a:pt x="652" y="106"/>
                  </a:lnTo>
                  <a:lnTo>
                    <a:pt x="652" y="106"/>
                  </a:lnTo>
                  <a:close/>
                  <a:moveTo>
                    <a:pt x="565" y="99"/>
                  </a:moveTo>
                  <a:lnTo>
                    <a:pt x="556" y="99"/>
                  </a:lnTo>
                  <a:lnTo>
                    <a:pt x="565" y="99"/>
                  </a:lnTo>
                  <a:lnTo>
                    <a:pt x="565" y="99"/>
                  </a:lnTo>
                  <a:lnTo>
                    <a:pt x="565" y="99"/>
                  </a:lnTo>
                  <a:lnTo>
                    <a:pt x="565" y="99"/>
                  </a:lnTo>
                  <a:close/>
                  <a:moveTo>
                    <a:pt x="879" y="234"/>
                  </a:moveTo>
                  <a:lnTo>
                    <a:pt x="867" y="234"/>
                  </a:lnTo>
                  <a:lnTo>
                    <a:pt x="879" y="222"/>
                  </a:lnTo>
                  <a:lnTo>
                    <a:pt x="879" y="234"/>
                  </a:lnTo>
                  <a:lnTo>
                    <a:pt x="879" y="234"/>
                  </a:lnTo>
                  <a:lnTo>
                    <a:pt x="879" y="234"/>
                  </a:lnTo>
                  <a:close/>
                  <a:moveTo>
                    <a:pt x="867" y="250"/>
                  </a:moveTo>
                  <a:lnTo>
                    <a:pt x="863" y="250"/>
                  </a:lnTo>
                  <a:lnTo>
                    <a:pt x="879" y="234"/>
                  </a:lnTo>
                  <a:lnTo>
                    <a:pt x="867" y="250"/>
                  </a:lnTo>
                  <a:lnTo>
                    <a:pt x="867" y="250"/>
                  </a:lnTo>
                  <a:lnTo>
                    <a:pt x="867" y="250"/>
                  </a:lnTo>
                  <a:close/>
                  <a:moveTo>
                    <a:pt x="851" y="255"/>
                  </a:moveTo>
                  <a:lnTo>
                    <a:pt x="863" y="250"/>
                  </a:lnTo>
                  <a:lnTo>
                    <a:pt x="879" y="250"/>
                  </a:lnTo>
                  <a:lnTo>
                    <a:pt x="867" y="255"/>
                  </a:lnTo>
                  <a:lnTo>
                    <a:pt x="851" y="255"/>
                  </a:lnTo>
                  <a:lnTo>
                    <a:pt x="851" y="255"/>
                  </a:lnTo>
                  <a:lnTo>
                    <a:pt x="851" y="255"/>
                  </a:lnTo>
                  <a:close/>
                  <a:moveTo>
                    <a:pt x="867" y="267"/>
                  </a:moveTo>
                  <a:lnTo>
                    <a:pt x="867" y="267"/>
                  </a:lnTo>
                  <a:lnTo>
                    <a:pt x="879" y="255"/>
                  </a:lnTo>
                  <a:lnTo>
                    <a:pt x="867" y="267"/>
                  </a:lnTo>
                  <a:lnTo>
                    <a:pt x="867" y="267"/>
                  </a:lnTo>
                  <a:lnTo>
                    <a:pt x="867" y="267"/>
                  </a:lnTo>
                  <a:close/>
                  <a:moveTo>
                    <a:pt x="863" y="267"/>
                  </a:moveTo>
                  <a:lnTo>
                    <a:pt x="851" y="267"/>
                  </a:lnTo>
                  <a:lnTo>
                    <a:pt x="867" y="255"/>
                  </a:lnTo>
                  <a:lnTo>
                    <a:pt x="863" y="267"/>
                  </a:lnTo>
                  <a:lnTo>
                    <a:pt x="863" y="267"/>
                  </a:lnTo>
                  <a:lnTo>
                    <a:pt x="863" y="267"/>
                  </a:lnTo>
                  <a:close/>
                  <a:moveTo>
                    <a:pt x="851" y="272"/>
                  </a:moveTo>
                  <a:lnTo>
                    <a:pt x="851" y="267"/>
                  </a:lnTo>
                  <a:lnTo>
                    <a:pt x="863" y="267"/>
                  </a:lnTo>
                  <a:lnTo>
                    <a:pt x="851" y="272"/>
                  </a:lnTo>
                  <a:lnTo>
                    <a:pt x="851" y="272"/>
                  </a:lnTo>
                  <a:lnTo>
                    <a:pt x="851" y="272"/>
                  </a:lnTo>
                  <a:close/>
                  <a:moveTo>
                    <a:pt x="851" y="272"/>
                  </a:moveTo>
                  <a:lnTo>
                    <a:pt x="846" y="272"/>
                  </a:lnTo>
                  <a:lnTo>
                    <a:pt x="867" y="267"/>
                  </a:lnTo>
                  <a:lnTo>
                    <a:pt x="851" y="272"/>
                  </a:lnTo>
                  <a:lnTo>
                    <a:pt x="851" y="272"/>
                  </a:lnTo>
                  <a:lnTo>
                    <a:pt x="851" y="272"/>
                  </a:lnTo>
                  <a:close/>
                  <a:moveTo>
                    <a:pt x="846" y="272"/>
                  </a:moveTo>
                  <a:lnTo>
                    <a:pt x="825" y="272"/>
                  </a:lnTo>
                  <a:lnTo>
                    <a:pt x="846" y="272"/>
                  </a:lnTo>
                  <a:lnTo>
                    <a:pt x="851" y="272"/>
                  </a:lnTo>
                  <a:lnTo>
                    <a:pt x="846" y="272"/>
                  </a:lnTo>
                  <a:lnTo>
                    <a:pt x="846" y="272"/>
                  </a:lnTo>
                  <a:lnTo>
                    <a:pt x="846" y="27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7" name="Freeform 589">
              <a:extLst>
                <a:ext uri="{FF2B5EF4-FFF2-40B4-BE49-F238E27FC236}">
                  <a16:creationId xmlns:a16="http://schemas.microsoft.com/office/drawing/2014/main" id="{42E8BC4A-E5F0-4D94-8ADA-7BFDE3491ADA}"/>
                </a:ext>
              </a:extLst>
            </p:cNvPr>
            <p:cNvSpPr>
              <a:spLocks noEditPoints="1"/>
            </p:cNvSpPr>
            <p:nvPr/>
          </p:nvSpPr>
          <p:spPr bwMode="gray">
            <a:xfrm>
              <a:off x="4852313" y="3514186"/>
              <a:ext cx="8645" cy="21409"/>
            </a:xfrm>
            <a:custGeom>
              <a:avLst/>
              <a:gdLst>
                <a:gd name="T0" fmla="*/ 16 w 21"/>
                <a:gd name="T1" fmla="*/ 0 h 52"/>
                <a:gd name="T2" fmla="*/ 7 w 21"/>
                <a:gd name="T3" fmla="*/ 0 h 52"/>
                <a:gd name="T4" fmla="*/ 16 w 21"/>
                <a:gd name="T5" fmla="*/ 0 h 52"/>
                <a:gd name="T6" fmla="*/ 16 w 21"/>
                <a:gd name="T7" fmla="*/ 0 h 52"/>
                <a:gd name="T8" fmla="*/ 16 w 21"/>
                <a:gd name="T9" fmla="*/ 0 h 52"/>
                <a:gd name="T10" fmla="*/ 16 w 21"/>
                <a:gd name="T11" fmla="*/ 0 h 52"/>
                <a:gd name="T12" fmla="*/ 0 w 21"/>
                <a:gd name="T13" fmla="*/ 52 h 52"/>
                <a:gd name="T14" fmla="*/ 0 w 21"/>
                <a:gd name="T15" fmla="*/ 40 h 52"/>
                <a:gd name="T16" fmla="*/ 21 w 21"/>
                <a:gd name="T17" fmla="*/ 52 h 52"/>
                <a:gd name="T18" fmla="*/ 0 w 21"/>
                <a:gd name="T19" fmla="*/ 52 h 52"/>
                <a:gd name="T20" fmla="*/ 0 w 21"/>
                <a:gd name="T21" fmla="*/ 52 h 52"/>
                <a:gd name="T22" fmla="*/ 0 w 21"/>
                <a:gd name="T23"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2">
                  <a:moveTo>
                    <a:pt x="16" y="0"/>
                  </a:moveTo>
                  <a:lnTo>
                    <a:pt x="7" y="0"/>
                  </a:lnTo>
                  <a:lnTo>
                    <a:pt x="16" y="0"/>
                  </a:lnTo>
                  <a:lnTo>
                    <a:pt x="16" y="0"/>
                  </a:lnTo>
                  <a:lnTo>
                    <a:pt x="16" y="0"/>
                  </a:lnTo>
                  <a:lnTo>
                    <a:pt x="16" y="0"/>
                  </a:lnTo>
                  <a:close/>
                  <a:moveTo>
                    <a:pt x="0" y="52"/>
                  </a:moveTo>
                  <a:lnTo>
                    <a:pt x="0" y="40"/>
                  </a:lnTo>
                  <a:lnTo>
                    <a:pt x="21" y="52"/>
                  </a:lnTo>
                  <a:lnTo>
                    <a:pt x="0" y="52"/>
                  </a:lnTo>
                  <a:lnTo>
                    <a:pt x="0" y="52"/>
                  </a:lnTo>
                  <a:lnTo>
                    <a:pt x="0" y="5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989" name="Freeform 452">
            <a:extLst>
              <a:ext uri="{FF2B5EF4-FFF2-40B4-BE49-F238E27FC236}">
                <a16:creationId xmlns:a16="http://schemas.microsoft.com/office/drawing/2014/main" id="{64071C49-6A82-4571-A509-C60EA069D228}"/>
              </a:ext>
            </a:extLst>
          </p:cNvPr>
          <p:cNvSpPr>
            <a:spLocks noEditPoints="1"/>
          </p:cNvSpPr>
          <p:nvPr/>
        </p:nvSpPr>
        <p:spPr bwMode="gray">
          <a:xfrm>
            <a:off x="10797201" y="420914"/>
            <a:ext cx="2020658" cy="1552046"/>
          </a:xfrm>
          <a:custGeom>
            <a:avLst/>
            <a:gdLst>
              <a:gd name="T0" fmla="*/ 1604 w 4263"/>
              <a:gd name="T1" fmla="*/ 2143 h 3274"/>
              <a:gd name="T2" fmla="*/ 1549 w 4263"/>
              <a:gd name="T3" fmla="*/ 1949 h 3274"/>
              <a:gd name="T4" fmla="*/ 1240 w 4263"/>
              <a:gd name="T5" fmla="*/ 1892 h 3274"/>
              <a:gd name="T6" fmla="*/ 1219 w 4263"/>
              <a:gd name="T7" fmla="*/ 1555 h 3274"/>
              <a:gd name="T8" fmla="*/ 756 w 4263"/>
              <a:gd name="T9" fmla="*/ 1205 h 3274"/>
              <a:gd name="T10" fmla="*/ 236 w 4263"/>
              <a:gd name="T11" fmla="*/ 1099 h 3274"/>
              <a:gd name="T12" fmla="*/ 16 w 4263"/>
              <a:gd name="T13" fmla="*/ 893 h 3274"/>
              <a:gd name="T14" fmla="*/ 718 w 4263"/>
              <a:gd name="T15" fmla="*/ 501 h 3274"/>
              <a:gd name="T16" fmla="*/ 1516 w 4263"/>
              <a:gd name="T17" fmla="*/ 305 h 3274"/>
              <a:gd name="T18" fmla="*/ 2315 w 4263"/>
              <a:gd name="T19" fmla="*/ 189 h 3274"/>
              <a:gd name="T20" fmla="*/ 2482 w 4263"/>
              <a:gd name="T21" fmla="*/ 24 h 3274"/>
              <a:gd name="T22" fmla="*/ 3439 w 4263"/>
              <a:gd name="T23" fmla="*/ 123 h 3274"/>
              <a:gd name="T24" fmla="*/ 3439 w 4263"/>
              <a:gd name="T25" fmla="*/ 506 h 3274"/>
              <a:gd name="T26" fmla="*/ 3633 w 4263"/>
              <a:gd name="T27" fmla="*/ 527 h 3274"/>
              <a:gd name="T28" fmla="*/ 3746 w 4263"/>
              <a:gd name="T29" fmla="*/ 749 h 3274"/>
              <a:gd name="T30" fmla="*/ 3789 w 4263"/>
              <a:gd name="T31" fmla="*/ 1054 h 3274"/>
              <a:gd name="T32" fmla="*/ 3734 w 4263"/>
              <a:gd name="T33" fmla="*/ 1259 h 3274"/>
              <a:gd name="T34" fmla="*/ 3578 w 4263"/>
              <a:gd name="T35" fmla="*/ 1489 h 3274"/>
              <a:gd name="T36" fmla="*/ 3297 w 4263"/>
              <a:gd name="T37" fmla="*/ 1637 h 3274"/>
              <a:gd name="T38" fmla="*/ 3493 w 4263"/>
              <a:gd name="T39" fmla="*/ 1814 h 3274"/>
              <a:gd name="T40" fmla="*/ 3531 w 4263"/>
              <a:gd name="T41" fmla="*/ 1982 h 3274"/>
              <a:gd name="T42" fmla="*/ 3137 w 4263"/>
              <a:gd name="T43" fmla="*/ 2015 h 3274"/>
              <a:gd name="T44" fmla="*/ 3326 w 4263"/>
              <a:gd name="T45" fmla="*/ 2197 h 3274"/>
              <a:gd name="T46" fmla="*/ 2839 w 4263"/>
              <a:gd name="T47" fmla="*/ 2275 h 3274"/>
              <a:gd name="T48" fmla="*/ 2532 w 4263"/>
              <a:gd name="T49" fmla="*/ 2592 h 3274"/>
              <a:gd name="T50" fmla="*/ 2272 w 4263"/>
              <a:gd name="T51" fmla="*/ 2670 h 3274"/>
              <a:gd name="T52" fmla="*/ 2154 w 4263"/>
              <a:gd name="T53" fmla="*/ 2941 h 3274"/>
              <a:gd name="T54" fmla="*/ 2067 w 4263"/>
              <a:gd name="T55" fmla="*/ 3163 h 3274"/>
              <a:gd name="T56" fmla="*/ 1927 w 4263"/>
              <a:gd name="T57" fmla="*/ 3203 h 3274"/>
              <a:gd name="T58" fmla="*/ 1743 w 4263"/>
              <a:gd name="T59" fmla="*/ 3163 h 3274"/>
              <a:gd name="T60" fmla="*/ 1672 w 4263"/>
              <a:gd name="T61" fmla="*/ 3031 h 3274"/>
              <a:gd name="T62" fmla="*/ 1511 w 4263"/>
              <a:gd name="T63" fmla="*/ 2821 h 3274"/>
              <a:gd name="T64" fmla="*/ 1533 w 4263"/>
              <a:gd name="T65" fmla="*/ 2736 h 3274"/>
              <a:gd name="T66" fmla="*/ 1424 w 4263"/>
              <a:gd name="T67" fmla="*/ 2632 h 3274"/>
              <a:gd name="T68" fmla="*/ 1353 w 4263"/>
              <a:gd name="T69" fmla="*/ 2514 h 3274"/>
              <a:gd name="T70" fmla="*/ 1566 w 4263"/>
              <a:gd name="T71" fmla="*/ 2393 h 3274"/>
              <a:gd name="T72" fmla="*/ 1386 w 4263"/>
              <a:gd name="T73" fmla="*/ 2320 h 3274"/>
              <a:gd name="T74" fmla="*/ 2272 w 4263"/>
              <a:gd name="T75" fmla="*/ 67 h 3274"/>
              <a:gd name="T76" fmla="*/ 2298 w 4263"/>
              <a:gd name="T77" fmla="*/ 173 h 3274"/>
              <a:gd name="T78" fmla="*/ 3666 w 4263"/>
              <a:gd name="T79" fmla="*/ 267 h 3274"/>
              <a:gd name="T80" fmla="*/ 3881 w 4263"/>
              <a:gd name="T81" fmla="*/ 749 h 3274"/>
              <a:gd name="T82" fmla="*/ 3649 w 4263"/>
              <a:gd name="T83" fmla="*/ 917 h 3274"/>
              <a:gd name="T84" fmla="*/ 3881 w 4263"/>
              <a:gd name="T85" fmla="*/ 962 h 3274"/>
              <a:gd name="T86" fmla="*/ 3741 w 4263"/>
              <a:gd name="T87" fmla="*/ 1127 h 3274"/>
              <a:gd name="T88" fmla="*/ 215 w 4263"/>
              <a:gd name="T89" fmla="*/ 1184 h 3274"/>
              <a:gd name="T90" fmla="*/ 3864 w 4263"/>
              <a:gd name="T91" fmla="*/ 1337 h 3274"/>
              <a:gd name="T92" fmla="*/ 1133 w 4263"/>
              <a:gd name="T93" fmla="*/ 1460 h 3274"/>
              <a:gd name="T94" fmla="*/ 1164 w 4263"/>
              <a:gd name="T95" fmla="*/ 1600 h 3274"/>
              <a:gd name="T96" fmla="*/ 1202 w 4263"/>
              <a:gd name="T97" fmla="*/ 1633 h 3274"/>
              <a:gd name="T98" fmla="*/ 1240 w 4263"/>
              <a:gd name="T99" fmla="*/ 1687 h 3274"/>
              <a:gd name="T100" fmla="*/ 1209 w 4263"/>
              <a:gd name="T101" fmla="*/ 1703 h 3274"/>
              <a:gd name="T102" fmla="*/ 1226 w 4263"/>
              <a:gd name="T103" fmla="*/ 1838 h 3274"/>
              <a:gd name="T104" fmla="*/ 3342 w 4263"/>
              <a:gd name="T105" fmla="*/ 1933 h 3274"/>
              <a:gd name="T106" fmla="*/ 1353 w 4263"/>
              <a:gd name="T107" fmla="*/ 2143 h 3274"/>
              <a:gd name="T108" fmla="*/ 3486 w 4263"/>
              <a:gd name="T109" fmla="*/ 2126 h 3274"/>
              <a:gd name="T110" fmla="*/ 1457 w 4263"/>
              <a:gd name="T111" fmla="*/ 2308 h 3274"/>
              <a:gd name="T112" fmla="*/ 1370 w 4263"/>
              <a:gd name="T113" fmla="*/ 2476 h 3274"/>
              <a:gd name="T114" fmla="*/ 2504 w 4263"/>
              <a:gd name="T115" fmla="*/ 2599 h 3274"/>
              <a:gd name="T116" fmla="*/ 1408 w 4263"/>
              <a:gd name="T117" fmla="*/ 2641 h 3274"/>
              <a:gd name="T118" fmla="*/ 1511 w 4263"/>
              <a:gd name="T119" fmla="*/ 2764 h 3274"/>
              <a:gd name="T120" fmla="*/ 1566 w 4263"/>
              <a:gd name="T121" fmla="*/ 2903 h 3274"/>
              <a:gd name="T122" fmla="*/ 1776 w 4263"/>
              <a:gd name="T123" fmla="*/ 3163 h 3274"/>
              <a:gd name="T124" fmla="*/ 2071 w 4263"/>
              <a:gd name="T125" fmla="*/ 3258 h 3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63" h="3274">
                <a:moveTo>
                  <a:pt x="1441" y="2308"/>
                </a:moveTo>
                <a:lnTo>
                  <a:pt x="1436" y="2299"/>
                </a:lnTo>
                <a:lnTo>
                  <a:pt x="1408" y="2299"/>
                </a:lnTo>
                <a:lnTo>
                  <a:pt x="1424" y="2292"/>
                </a:lnTo>
                <a:lnTo>
                  <a:pt x="1382" y="2299"/>
                </a:lnTo>
                <a:lnTo>
                  <a:pt x="1382" y="2292"/>
                </a:lnTo>
                <a:lnTo>
                  <a:pt x="1398" y="2292"/>
                </a:lnTo>
                <a:lnTo>
                  <a:pt x="1441" y="2259"/>
                </a:lnTo>
                <a:lnTo>
                  <a:pt x="1478" y="2259"/>
                </a:lnTo>
                <a:lnTo>
                  <a:pt x="1490" y="2259"/>
                </a:lnTo>
                <a:lnTo>
                  <a:pt x="1478" y="2259"/>
                </a:lnTo>
                <a:lnTo>
                  <a:pt x="1504" y="2266"/>
                </a:lnTo>
                <a:lnTo>
                  <a:pt x="1559" y="2254"/>
                </a:lnTo>
                <a:lnTo>
                  <a:pt x="1559" y="2242"/>
                </a:lnTo>
                <a:lnTo>
                  <a:pt x="1542" y="2237"/>
                </a:lnTo>
                <a:lnTo>
                  <a:pt x="1570" y="2225"/>
                </a:lnTo>
                <a:lnTo>
                  <a:pt x="1528" y="2237"/>
                </a:lnTo>
                <a:lnTo>
                  <a:pt x="1549" y="2209"/>
                </a:lnTo>
                <a:lnTo>
                  <a:pt x="1533" y="2209"/>
                </a:lnTo>
                <a:lnTo>
                  <a:pt x="1542" y="2188"/>
                </a:lnTo>
                <a:lnTo>
                  <a:pt x="1559" y="2188"/>
                </a:lnTo>
                <a:lnTo>
                  <a:pt x="1542" y="2204"/>
                </a:lnTo>
                <a:lnTo>
                  <a:pt x="1566" y="2197"/>
                </a:lnTo>
                <a:lnTo>
                  <a:pt x="1587" y="2221"/>
                </a:lnTo>
                <a:lnTo>
                  <a:pt x="1596" y="2209"/>
                </a:lnTo>
                <a:lnTo>
                  <a:pt x="1580" y="2204"/>
                </a:lnTo>
                <a:lnTo>
                  <a:pt x="1596" y="2197"/>
                </a:lnTo>
                <a:lnTo>
                  <a:pt x="1596" y="2204"/>
                </a:lnTo>
                <a:lnTo>
                  <a:pt x="1604" y="2209"/>
                </a:lnTo>
                <a:lnTo>
                  <a:pt x="1596" y="2197"/>
                </a:lnTo>
                <a:lnTo>
                  <a:pt x="1566" y="2188"/>
                </a:lnTo>
                <a:lnTo>
                  <a:pt x="1604" y="2181"/>
                </a:lnTo>
                <a:lnTo>
                  <a:pt x="1580" y="2181"/>
                </a:lnTo>
                <a:lnTo>
                  <a:pt x="1580" y="2164"/>
                </a:lnTo>
                <a:lnTo>
                  <a:pt x="1587" y="2164"/>
                </a:lnTo>
                <a:lnTo>
                  <a:pt x="1549" y="2181"/>
                </a:lnTo>
                <a:lnTo>
                  <a:pt x="1533" y="2181"/>
                </a:lnTo>
                <a:lnTo>
                  <a:pt x="1559" y="2148"/>
                </a:lnTo>
                <a:lnTo>
                  <a:pt x="1604" y="2143"/>
                </a:lnTo>
                <a:lnTo>
                  <a:pt x="1549" y="2143"/>
                </a:lnTo>
                <a:lnTo>
                  <a:pt x="1559" y="2126"/>
                </a:lnTo>
                <a:lnTo>
                  <a:pt x="1587" y="2131"/>
                </a:lnTo>
                <a:lnTo>
                  <a:pt x="1559" y="2114"/>
                </a:lnTo>
                <a:lnTo>
                  <a:pt x="1570" y="2110"/>
                </a:lnTo>
                <a:lnTo>
                  <a:pt x="1604" y="2110"/>
                </a:lnTo>
                <a:lnTo>
                  <a:pt x="1596" y="2093"/>
                </a:lnTo>
                <a:lnTo>
                  <a:pt x="1570" y="2086"/>
                </a:lnTo>
                <a:lnTo>
                  <a:pt x="1596" y="2077"/>
                </a:lnTo>
                <a:lnTo>
                  <a:pt x="1528" y="2086"/>
                </a:lnTo>
                <a:lnTo>
                  <a:pt x="1559" y="2077"/>
                </a:lnTo>
                <a:lnTo>
                  <a:pt x="1528" y="2070"/>
                </a:lnTo>
                <a:lnTo>
                  <a:pt x="1511" y="2086"/>
                </a:lnTo>
                <a:lnTo>
                  <a:pt x="1452" y="2070"/>
                </a:lnTo>
                <a:lnTo>
                  <a:pt x="1424" y="2044"/>
                </a:lnTo>
                <a:lnTo>
                  <a:pt x="1344" y="2032"/>
                </a:lnTo>
                <a:lnTo>
                  <a:pt x="1289" y="1987"/>
                </a:lnTo>
                <a:lnTo>
                  <a:pt x="1327" y="1966"/>
                </a:lnTo>
                <a:lnTo>
                  <a:pt x="1424" y="1982"/>
                </a:lnTo>
                <a:lnTo>
                  <a:pt x="1504" y="2020"/>
                </a:lnTo>
                <a:lnTo>
                  <a:pt x="1570" y="2037"/>
                </a:lnTo>
                <a:lnTo>
                  <a:pt x="1580" y="2032"/>
                </a:lnTo>
                <a:lnTo>
                  <a:pt x="1566" y="2020"/>
                </a:lnTo>
                <a:lnTo>
                  <a:pt x="1580" y="2015"/>
                </a:lnTo>
                <a:lnTo>
                  <a:pt x="1549" y="2020"/>
                </a:lnTo>
                <a:lnTo>
                  <a:pt x="1516" y="2003"/>
                </a:lnTo>
                <a:lnTo>
                  <a:pt x="1528" y="1999"/>
                </a:lnTo>
                <a:lnTo>
                  <a:pt x="1549" y="2015"/>
                </a:lnTo>
                <a:lnTo>
                  <a:pt x="1566" y="2003"/>
                </a:lnTo>
                <a:lnTo>
                  <a:pt x="1542" y="1999"/>
                </a:lnTo>
                <a:lnTo>
                  <a:pt x="1570" y="1999"/>
                </a:lnTo>
                <a:lnTo>
                  <a:pt x="1511" y="1982"/>
                </a:lnTo>
                <a:lnTo>
                  <a:pt x="1528" y="1975"/>
                </a:lnTo>
                <a:lnTo>
                  <a:pt x="1570" y="1982"/>
                </a:lnTo>
                <a:lnTo>
                  <a:pt x="1549" y="1975"/>
                </a:lnTo>
                <a:lnTo>
                  <a:pt x="1559" y="1966"/>
                </a:lnTo>
                <a:lnTo>
                  <a:pt x="1533" y="1966"/>
                </a:lnTo>
                <a:lnTo>
                  <a:pt x="1478" y="1942"/>
                </a:lnTo>
                <a:lnTo>
                  <a:pt x="1549" y="1949"/>
                </a:lnTo>
                <a:lnTo>
                  <a:pt x="1511" y="1942"/>
                </a:lnTo>
                <a:lnTo>
                  <a:pt x="1528" y="1926"/>
                </a:lnTo>
                <a:lnTo>
                  <a:pt x="1457" y="1933"/>
                </a:lnTo>
                <a:lnTo>
                  <a:pt x="1511" y="1909"/>
                </a:lnTo>
                <a:lnTo>
                  <a:pt x="1504" y="1904"/>
                </a:lnTo>
                <a:lnTo>
                  <a:pt x="1436" y="1926"/>
                </a:lnTo>
                <a:lnTo>
                  <a:pt x="1457" y="1909"/>
                </a:lnTo>
                <a:lnTo>
                  <a:pt x="1457" y="1904"/>
                </a:lnTo>
                <a:lnTo>
                  <a:pt x="1516" y="1888"/>
                </a:lnTo>
                <a:lnTo>
                  <a:pt x="1495" y="1876"/>
                </a:lnTo>
                <a:lnTo>
                  <a:pt x="1441" y="1892"/>
                </a:lnTo>
                <a:lnTo>
                  <a:pt x="1403" y="1892"/>
                </a:lnTo>
                <a:lnTo>
                  <a:pt x="1441" y="1871"/>
                </a:lnTo>
                <a:lnTo>
                  <a:pt x="1490" y="1871"/>
                </a:lnTo>
                <a:lnTo>
                  <a:pt x="1504" y="1855"/>
                </a:lnTo>
                <a:lnTo>
                  <a:pt x="1462" y="1864"/>
                </a:lnTo>
                <a:lnTo>
                  <a:pt x="1386" y="1855"/>
                </a:lnTo>
                <a:lnTo>
                  <a:pt x="1424" y="1814"/>
                </a:lnTo>
                <a:lnTo>
                  <a:pt x="1408" y="1822"/>
                </a:lnTo>
                <a:lnTo>
                  <a:pt x="1403" y="1831"/>
                </a:lnTo>
                <a:lnTo>
                  <a:pt x="1382" y="1838"/>
                </a:lnTo>
                <a:lnTo>
                  <a:pt x="1382" y="1810"/>
                </a:lnTo>
                <a:lnTo>
                  <a:pt x="1353" y="1798"/>
                </a:lnTo>
                <a:lnTo>
                  <a:pt x="1344" y="1765"/>
                </a:lnTo>
                <a:lnTo>
                  <a:pt x="1365" y="1765"/>
                </a:lnTo>
                <a:lnTo>
                  <a:pt x="1332" y="1765"/>
                </a:lnTo>
                <a:lnTo>
                  <a:pt x="1382" y="1831"/>
                </a:lnTo>
                <a:lnTo>
                  <a:pt x="1353" y="1848"/>
                </a:lnTo>
                <a:lnTo>
                  <a:pt x="1344" y="1848"/>
                </a:lnTo>
                <a:lnTo>
                  <a:pt x="1348" y="1855"/>
                </a:lnTo>
                <a:lnTo>
                  <a:pt x="1348" y="1864"/>
                </a:lnTo>
                <a:lnTo>
                  <a:pt x="1327" y="1855"/>
                </a:lnTo>
                <a:lnTo>
                  <a:pt x="1327" y="1864"/>
                </a:lnTo>
                <a:lnTo>
                  <a:pt x="1344" y="1871"/>
                </a:lnTo>
                <a:lnTo>
                  <a:pt x="1344" y="1888"/>
                </a:lnTo>
                <a:lnTo>
                  <a:pt x="1278" y="1904"/>
                </a:lnTo>
                <a:lnTo>
                  <a:pt x="1247" y="1876"/>
                </a:lnTo>
                <a:lnTo>
                  <a:pt x="1256" y="1892"/>
                </a:lnTo>
                <a:lnTo>
                  <a:pt x="1240" y="1892"/>
                </a:lnTo>
                <a:lnTo>
                  <a:pt x="1219" y="1864"/>
                </a:lnTo>
                <a:lnTo>
                  <a:pt x="1226" y="1864"/>
                </a:lnTo>
                <a:lnTo>
                  <a:pt x="1202" y="1855"/>
                </a:lnTo>
                <a:lnTo>
                  <a:pt x="1240" y="1831"/>
                </a:lnTo>
                <a:lnTo>
                  <a:pt x="1278" y="1822"/>
                </a:lnTo>
                <a:lnTo>
                  <a:pt x="1294" y="1810"/>
                </a:lnTo>
                <a:lnTo>
                  <a:pt x="1311" y="1781"/>
                </a:lnTo>
                <a:lnTo>
                  <a:pt x="1273" y="1822"/>
                </a:lnTo>
                <a:lnTo>
                  <a:pt x="1240" y="1822"/>
                </a:lnTo>
                <a:lnTo>
                  <a:pt x="1226" y="1814"/>
                </a:lnTo>
                <a:lnTo>
                  <a:pt x="1273" y="1781"/>
                </a:lnTo>
                <a:lnTo>
                  <a:pt x="1263" y="1765"/>
                </a:lnTo>
                <a:lnTo>
                  <a:pt x="1289" y="1765"/>
                </a:lnTo>
                <a:lnTo>
                  <a:pt x="1263" y="1760"/>
                </a:lnTo>
                <a:lnTo>
                  <a:pt x="1273" y="1760"/>
                </a:lnTo>
                <a:lnTo>
                  <a:pt x="1247" y="1765"/>
                </a:lnTo>
                <a:lnTo>
                  <a:pt x="1219" y="1748"/>
                </a:lnTo>
                <a:lnTo>
                  <a:pt x="1235" y="1744"/>
                </a:lnTo>
                <a:lnTo>
                  <a:pt x="1311" y="1748"/>
                </a:lnTo>
                <a:lnTo>
                  <a:pt x="1263" y="1744"/>
                </a:lnTo>
                <a:lnTo>
                  <a:pt x="1273" y="1727"/>
                </a:lnTo>
                <a:lnTo>
                  <a:pt x="1289" y="1727"/>
                </a:lnTo>
                <a:lnTo>
                  <a:pt x="1273" y="1727"/>
                </a:lnTo>
                <a:lnTo>
                  <a:pt x="1289" y="1711"/>
                </a:lnTo>
                <a:lnTo>
                  <a:pt x="1273" y="1711"/>
                </a:lnTo>
                <a:lnTo>
                  <a:pt x="1294" y="1703"/>
                </a:lnTo>
                <a:lnTo>
                  <a:pt x="1273" y="1670"/>
                </a:lnTo>
                <a:lnTo>
                  <a:pt x="1219" y="1666"/>
                </a:lnTo>
                <a:lnTo>
                  <a:pt x="1256" y="1649"/>
                </a:lnTo>
                <a:lnTo>
                  <a:pt x="1235" y="1637"/>
                </a:lnTo>
                <a:lnTo>
                  <a:pt x="1247" y="1626"/>
                </a:lnTo>
                <a:lnTo>
                  <a:pt x="1256" y="1626"/>
                </a:lnTo>
                <a:lnTo>
                  <a:pt x="1188" y="1583"/>
                </a:lnTo>
                <a:lnTo>
                  <a:pt x="1202" y="1583"/>
                </a:lnTo>
                <a:lnTo>
                  <a:pt x="1193" y="1583"/>
                </a:lnTo>
                <a:lnTo>
                  <a:pt x="1193" y="1571"/>
                </a:lnTo>
                <a:lnTo>
                  <a:pt x="1219" y="1576"/>
                </a:lnTo>
                <a:lnTo>
                  <a:pt x="1193" y="1559"/>
                </a:lnTo>
                <a:lnTo>
                  <a:pt x="1219" y="1555"/>
                </a:lnTo>
                <a:lnTo>
                  <a:pt x="1188" y="1538"/>
                </a:lnTo>
                <a:lnTo>
                  <a:pt x="1193" y="1538"/>
                </a:lnTo>
                <a:lnTo>
                  <a:pt x="1164" y="1526"/>
                </a:lnTo>
                <a:lnTo>
                  <a:pt x="1188" y="1498"/>
                </a:lnTo>
                <a:lnTo>
                  <a:pt x="1100" y="1522"/>
                </a:lnTo>
                <a:lnTo>
                  <a:pt x="1171" y="1498"/>
                </a:lnTo>
                <a:lnTo>
                  <a:pt x="1138" y="1489"/>
                </a:lnTo>
                <a:lnTo>
                  <a:pt x="1188" y="1481"/>
                </a:lnTo>
                <a:lnTo>
                  <a:pt x="1138" y="1472"/>
                </a:lnTo>
                <a:lnTo>
                  <a:pt x="1181" y="1472"/>
                </a:lnTo>
                <a:lnTo>
                  <a:pt x="1181" y="1460"/>
                </a:lnTo>
                <a:lnTo>
                  <a:pt x="1155" y="1460"/>
                </a:lnTo>
                <a:lnTo>
                  <a:pt x="1133" y="1444"/>
                </a:lnTo>
                <a:lnTo>
                  <a:pt x="1126" y="1444"/>
                </a:lnTo>
                <a:lnTo>
                  <a:pt x="1112" y="1427"/>
                </a:lnTo>
                <a:lnTo>
                  <a:pt x="1133" y="1427"/>
                </a:lnTo>
                <a:lnTo>
                  <a:pt x="1126" y="1411"/>
                </a:lnTo>
                <a:lnTo>
                  <a:pt x="1041" y="1387"/>
                </a:lnTo>
                <a:lnTo>
                  <a:pt x="1058" y="1370"/>
                </a:lnTo>
                <a:lnTo>
                  <a:pt x="1030" y="1354"/>
                </a:lnTo>
                <a:lnTo>
                  <a:pt x="1030" y="1337"/>
                </a:lnTo>
                <a:lnTo>
                  <a:pt x="1004" y="1349"/>
                </a:lnTo>
                <a:lnTo>
                  <a:pt x="1041" y="1333"/>
                </a:lnTo>
                <a:lnTo>
                  <a:pt x="1041" y="1321"/>
                </a:lnTo>
                <a:lnTo>
                  <a:pt x="1025" y="1316"/>
                </a:lnTo>
                <a:lnTo>
                  <a:pt x="1030" y="1300"/>
                </a:lnTo>
                <a:lnTo>
                  <a:pt x="1008" y="1300"/>
                </a:lnTo>
                <a:lnTo>
                  <a:pt x="1025" y="1295"/>
                </a:lnTo>
                <a:lnTo>
                  <a:pt x="975" y="1295"/>
                </a:lnTo>
                <a:lnTo>
                  <a:pt x="971" y="1283"/>
                </a:lnTo>
                <a:lnTo>
                  <a:pt x="971" y="1276"/>
                </a:lnTo>
                <a:lnTo>
                  <a:pt x="971" y="1266"/>
                </a:lnTo>
                <a:lnTo>
                  <a:pt x="933" y="1283"/>
                </a:lnTo>
                <a:lnTo>
                  <a:pt x="937" y="1259"/>
                </a:lnTo>
                <a:lnTo>
                  <a:pt x="878" y="1238"/>
                </a:lnTo>
                <a:lnTo>
                  <a:pt x="862" y="1250"/>
                </a:lnTo>
                <a:lnTo>
                  <a:pt x="857" y="1226"/>
                </a:lnTo>
                <a:lnTo>
                  <a:pt x="760" y="1222"/>
                </a:lnTo>
                <a:lnTo>
                  <a:pt x="756" y="1205"/>
                </a:lnTo>
                <a:lnTo>
                  <a:pt x="722" y="1210"/>
                </a:lnTo>
                <a:lnTo>
                  <a:pt x="718" y="1222"/>
                </a:lnTo>
                <a:lnTo>
                  <a:pt x="706" y="1205"/>
                </a:lnTo>
                <a:lnTo>
                  <a:pt x="680" y="1193"/>
                </a:lnTo>
                <a:lnTo>
                  <a:pt x="652" y="1222"/>
                </a:lnTo>
                <a:lnTo>
                  <a:pt x="630" y="1226"/>
                </a:lnTo>
                <a:lnTo>
                  <a:pt x="614" y="1222"/>
                </a:lnTo>
                <a:lnTo>
                  <a:pt x="626" y="1205"/>
                </a:lnTo>
                <a:lnTo>
                  <a:pt x="597" y="1193"/>
                </a:lnTo>
                <a:lnTo>
                  <a:pt x="609" y="1205"/>
                </a:lnTo>
                <a:lnTo>
                  <a:pt x="597" y="1222"/>
                </a:lnTo>
                <a:lnTo>
                  <a:pt x="588" y="1210"/>
                </a:lnTo>
                <a:lnTo>
                  <a:pt x="588" y="1226"/>
                </a:lnTo>
                <a:lnTo>
                  <a:pt x="593" y="1226"/>
                </a:lnTo>
                <a:lnTo>
                  <a:pt x="538" y="1226"/>
                </a:lnTo>
                <a:lnTo>
                  <a:pt x="538" y="1238"/>
                </a:lnTo>
                <a:lnTo>
                  <a:pt x="534" y="1243"/>
                </a:lnTo>
                <a:lnTo>
                  <a:pt x="500" y="1238"/>
                </a:lnTo>
                <a:lnTo>
                  <a:pt x="517" y="1222"/>
                </a:lnTo>
                <a:lnTo>
                  <a:pt x="508" y="1222"/>
                </a:lnTo>
                <a:lnTo>
                  <a:pt x="522" y="1210"/>
                </a:lnTo>
                <a:lnTo>
                  <a:pt x="508" y="1210"/>
                </a:lnTo>
                <a:lnTo>
                  <a:pt x="479" y="1205"/>
                </a:lnTo>
                <a:lnTo>
                  <a:pt x="463" y="1238"/>
                </a:lnTo>
                <a:lnTo>
                  <a:pt x="425" y="1210"/>
                </a:lnTo>
                <a:lnTo>
                  <a:pt x="399" y="1226"/>
                </a:lnTo>
                <a:lnTo>
                  <a:pt x="463" y="1259"/>
                </a:lnTo>
                <a:lnTo>
                  <a:pt x="311" y="1238"/>
                </a:lnTo>
                <a:lnTo>
                  <a:pt x="323" y="1226"/>
                </a:lnTo>
                <a:lnTo>
                  <a:pt x="290" y="1226"/>
                </a:lnTo>
                <a:lnTo>
                  <a:pt x="302" y="1222"/>
                </a:lnTo>
                <a:lnTo>
                  <a:pt x="236" y="1193"/>
                </a:lnTo>
                <a:lnTo>
                  <a:pt x="302" y="1165"/>
                </a:lnTo>
                <a:lnTo>
                  <a:pt x="356" y="1165"/>
                </a:lnTo>
                <a:lnTo>
                  <a:pt x="356" y="1148"/>
                </a:lnTo>
                <a:lnTo>
                  <a:pt x="269" y="1148"/>
                </a:lnTo>
                <a:lnTo>
                  <a:pt x="205" y="1132"/>
                </a:lnTo>
                <a:lnTo>
                  <a:pt x="248" y="1099"/>
                </a:lnTo>
                <a:lnTo>
                  <a:pt x="236" y="1099"/>
                </a:lnTo>
                <a:lnTo>
                  <a:pt x="177" y="1132"/>
                </a:lnTo>
                <a:lnTo>
                  <a:pt x="144" y="1115"/>
                </a:lnTo>
                <a:lnTo>
                  <a:pt x="160" y="1111"/>
                </a:lnTo>
                <a:lnTo>
                  <a:pt x="130" y="1111"/>
                </a:lnTo>
                <a:lnTo>
                  <a:pt x="113" y="1094"/>
                </a:lnTo>
                <a:lnTo>
                  <a:pt x="151" y="1077"/>
                </a:lnTo>
                <a:lnTo>
                  <a:pt x="144" y="1073"/>
                </a:lnTo>
                <a:lnTo>
                  <a:pt x="198" y="1061"/>
                </a:lnTo>
                <a:lnTo>
                  <a:pt x="463" y="1077"/>
                </a:lnTo>
                <a:lnTo>
                  <a:pt x="479" y="1073"/>
                </a:lnTo>
                <a:lnTo>
                  <a:pt x="432" y="1077"/>
                </a:lnTo>
                <a:lnTo>
                  <a:pt x="274" y="1061"/>
                </a:lnTo>
                <a:lnTo>
                  <a:pt x="378" y="1037"/>
                </a:lnTo>
                <a:lnTo>
                  <a:pt x="479" y="1061"/>
                </a:lnTo>
                <a:lnTo>
                  <a:pt x="446" y="1037"/>
                </a:lnTo>
                <a:lnTo>
                  <a:pt x="484" y="1021"/>
                </a:lnTo>
                <a:lnTo>
                  <a:pt x="470" y="1004"/>
                </a:lnTo>
                <a:lnTo>
                  <a:pt x="437" y="1000"/>
                </a:lnTo>
                <a:lnTo>
                  <a:pt x="415" y="1000"/>
                </a:lnTo>
                <a:lnTo>
                  <a:pt x="382" y="1021"/>
                </a:lnTo>
                <a:lnTo>
                  <a:pt x="328" y="1021"/>
                </a:lnTo>
                <a:lnTo>
                  <a:pt x="302" y="1000"/>
                </a:lnTo>
                <a:lnTo>
                  <a:pt x="290" y="1000"/>
                </a:lnTo>
                <a:lnTo>
                  <a:pt x="307" y="1021"/>
                </a:lnTo>
                <a:lnTo>
                  <a:pt x="257" y="1028"/>
                </a:lnTo>
                <a:lnTo>
                  <a:pt x="193" y="1016"/>
                </a:lnTo>
                <a:lnTo>
                  <a:pt x="248" y="1000"/>
                </a:lnTo>
                <a:lnTo>
                  <a:pt x="248" y="983"/>
                </a:lnTo>
                <a:lnTo>
                  <a:pt x="167" y="1000"/>
                </a:lnTo>
                <a:lnTo>
                  <a:pt x="215" y="971"/>
                </a:lnTo>
                <a:lnTo>
                  <a:pt x="122" y="983"/>
                </a:lnTo>
                <a:lnTo>
                  <a:pt x="113" y="983"/>
                </a:lnTo>
                <a:lnTo>
                  <a:pt x="130" y="966"/>
                </a:lnTo>
                <a:lnTo>
                  <a:pt x="75" y="966"/>
                </a:lnTo>
                <a:lnTo>
                  <a:pt x="42" y="945"/>
                </a:lnTo>
                <a:lnTo>
                  <a:pt x="54" y="945"/>
                </a:lnTo>
                <a:lnTo>
                  <a:pt x="0" y="917"/>
                </a:lnTo>
                <a:lnTo>
                  <a:pt x="37" y="905"/>
                </a:lnTo>
                <a:lnTo>
                  <a:pt x="16" y="893"/>
                </a:lnTo>
                <a:lnTo>
                  <a:pt x="30" y="877"/>
                </a:lnTo>
                <a:lnTo>
                  <a:pt x="30" y="872"/>
                </a:lnTo>
                <a:lnTo>
                  <a:pt x="30" y="860"/>
                </a:lnTo>
                <a:lnTo>
                  <a:pt x="97" y="851"/>
                </a:lnTo>
                <a:lnTo>
                  <a:pt x="151" y="851"/>
                </a:lnTo>
                <a:lnTo>
                  <a:pt x="160" y="839"/>
                </a:lnTo>
                <a:lnTo>
                  <a:pt x="269" y="806"/>
                </a:lnTo>
                <a:lnTo>
                  <a:pt x="302" y="815"/>
                </a:lnTo>
                <a:lnTo>
                  <a:pt x="269" y="799"/>
                </a:lnTo>
                <a:lnTo>
                  <a:pt x="328" y="778"/>
                </a:lnTo>
                <a:lnTo>
                  <a:pt x="371" y="782"/>
                </a:lnTo>
                <a:lnTo>
                  <a:pt x="382" y="766"/>
                </a:lnTo>
                <a:lnTo>
                  <a:pt x="491" y="778"/>
                </a:lnTo>
                <a:lnTo>
                  <a:pt x="576" y="704"/>
                </a:lnTo>
                <a:lnTo>
                  <a:pt x="555" y="655"/>
                </a:lnTo>
                <a:lnTo>
                  <a:pt x="559" y="638"/>
                </a:lnTo>
                <a:lnTo>
                  <a:pt x="555" y="629"/>
                </a:lnTo>
                <a:lnTo>
                  <a:pt x="647" y="600"/>
                </a:lnTo>
                <a:lnTo>
                  <a:pt x="626" y="600"/>
                </a:lnTo>
                <a:lnTo>
                  <a:pt x="614" y="584"/>
                </a:lnTo>
                <a:lnTo>
                  <a:pt x="609" y="600"/>
                </a:lnTo>
                <a:lnTo>
                  <a:pt x="571" y="617"/>
                </a:lnTo>
                <a:lnTo>
                  <a:pt x="415" y="617"/>
                </a:lnTo>
                <a:lnTo>
                  <a:pt x="408" y="600"/>
                </a:lnTo>
                <a:lnTo>
                  <a:pt x="382" y="596"/>
                </a:lnTo>
                <a:lnTo>
                  <a:pt x="394" y="572"/>
                </a:lnTo>
                <a:lnTo>
                  <a:pt x="437" y="555"/>
                </a:lnTo>
                <a:lnTo>
                  <a:pt x="437" y="539"/>
                </a:lnTo>
                <a:lnTo>
                  <a:pt x="522" y="518"/>
                </a:lnTo>
                <a:lnTo>
                  <a:pt x="517" y="506"/>
                </a:lnTo>
                <a:lnTo>
                  <a:pt x="555" y="501"/>
                </a:lnTo>
                <a:lnTo>
                  <a:pt x="559" y="489"/>
                </a:lnTo>
                <a:lnTo>
                  <a:pt x="559" y="485"/>
                </a:lnTo>
                <a:lnTo>
                  <a:pt x="588" y="473"/>
                </a:lnTo>
                <a:lnTo>
                  <a:pt x="576" y="461"/>
                </a:lnTo>
                <a:lnTo>
                  <a:pt x="652" y="433"/>
                </a:lnTo>
                <a:lnTo>
                  <a:pt x="668" y="444"/>
                </a:lnTo>
                <a:lnTo>
                  <a:pt x="680" y="466"/>
                </a:lnTo>
                <a:lnTo>
                  <a:pt x="718" y="501"/>
                </a:lnTo>
                <a:lnTo>
                  <a:pt x="722" y="501"/>
                </a:lnTo>
                <a:lnTo>
                  <a:pt x="685" y="466"/>
                </a:lnTo>
                <a:lnTo>
                  <a:pt x="680" y="433"/>
                </a:lnTo>
                <a:lnTo>
                  <a:pt x="718" y="416"/>
                </a:lnTo>
                <a:lnTo>
                  <a:pt x="803" y="449"/>
                </a:lnTo>
                <a:lnTo>
                  <a:pt x="841" y="444"/>
                </a:lnTo>
                <a:lnTo>
                  <a:pt x="848" y="433"/>
                </a:lnTo>
                <a:lnTo>
                  <a:pt x="824" y="395"/>
                </a:lnTo>
                <a:lnTo>
                  <a:pt x="862" y="374"/>
                </a:lnTo>
                <a:lnTo>
                  <a:pt x="810" y="333"/>
                </a:lnTo>
                <a:lnTo>
                  <a:pt x="857" y="305"/>
                </a:lnTo>
                <a:lnTo>
                  <a:pt x="911" y="300"/>
                </a:lnTo>
                <a:lnTo>
                  <a:pt x="992" y="305"/>
                </a:lnTo>
                <a:lnTo>
                  <a:pt x="1008" y="350"/>
                </a:lnTo>
                <a:lnTo>
                  <a:pt x="1079" y="355"/>
                </a:lnTo>
                <a:lnTo>
                  <a:pt x="1112" y="390"/>
                </a:lnTo>
                <a:lnTo>
                  <a:pt x="1155" y="407"/>
                </a:lnTo>
                <a:lnTo>
                  <a:pt x="1164" y="407"/>
                </a:lnTo>
                <a:lnTo>
                  <a:pt x="1046" y="350"/>
                </a:lnTo>
                <a:lnTo>
                  <a:pt x="1020" y="305"/>
                </a:lnTo>
                <a:lnTo>
                  <a:pt x="949" y="296"/>
                </a:lnTo>
                <a:lnTo>
                  <a:pt x="1155" y="244"/>
                </a:lnTo>
                <a:lnTo>
                  <a:pt x="1171" y="263"/>
                </a:lnTo>
                <a:lnTo>
                  <a:pt x="1202" y="244"/>
                </a:lnTo>
                <a:lnTo>
                  <a:pt x="1247" y="244"/>
                </a:lnTo>
                <a:lnTo>
                  <a:pt x="1240" y="251"/>
                </a:lnTo>
                <a:lnTo>
                  <a:pt x="1256" y="263"/>
                </a:lnTo>
                <a:lnTo>
                  <a:pt x="1247" y="239"/>
                </a:lnTo>
                <a:lnTo>
                  <a:pt x="1226" y="239"/>
                </a:lnTo>
                <a:lnTo>
                  <a:pt x="1301" y="222"/>
                </a:lnTo>
                <a:lnTo>
                  <a:pt x="1365" y="267"/>
                </a:lnTo>
                <a:lnTo>
                  <a:pt x="1370" y="305"/>
                </a:lnTo>
                <a:lnTo>
                  <a:pt x="1348" y="338"/>
                </a:lnTo>
                <a:lnTo>
                  <a:pt x="1348" y="362"/>
                </a:lnTo>
                <a:lnTo>
                  <a:pt x="1370" y="374"/>
                </a:lnTo>
                <a:lnTo>
                  <a:pt x="1365" y="350"/>
                </a:lnTo>
                <a:lnTo>
                  <a:pt x="1408" y="317"/>
                </a:lnTo>
                <a:lnTo>
                  <a:pt x="1403" y="284"/>
                </a:lnTo>
                <a:lnTo>
                  <a:pt x="1516" y="305"/>
                </a:lnTo>
                <a:lnTo>
                  <a:pt x="1618" y="355"/>
                </a:lnTo>
                <a:lnTo>
                  <a:pt x="1641" y="350"/>
                </a:lnTo>
                <a:lnTo>
                  <a:pt x="1542" y="300"/>
                </a:lnTo>
                <a:lnTo>
                  <a:pt x="1625" y="305"/>
                </a:lnTo>
                <a:lnTo>
                  <a:pt x="1656" y="300"/>
                </a:lnTo>
                <a:lnTo>
                  <a:pt x="1566" y="251"/>
                </a:lnTo>
                <a:lnTo>
                  <a:pt x="1533" y="194"/>
                </a:lnTo>
                <a:lnTo>
                  <a:pt x="1672" y="206"/>
                </a:lnTo>
                <a:lnTo>
                  <a:pt x="1785" y="263"/>
                </a:lnTo>
                <a:lnTo>
                  <a:pt x="1873" y="279"/>
                </a:lnTo>
                <a:lnTo>
                  <a:pt x="1894" y="284"/>
                </a:lnTo>
                <a:lnTo>
                  <a:pt x="1889" y="300"/>
                </a:lnTo>
                <a:lnTo>
                  <a:pt x="1991" y="333"/>
                </a:lnTo>
                <a:lnTo>
                  <a:pt x="2019" y="317"/>
                </a:lnTo>
                <a:lnTo>
                  <a:pt x="1982" y="300"/>
                </a:lnTo>
                <a:lnTo>
                  <a:pt x="2003" y="296"/>
                </a:lnTo>
                <a:lnTo>
                  <a:pt x="1974" y="296"/>
                </a:lnTo>
                <a:lnTo>
                  <a:pt x="1996" y="279"/>
                </a:lnTo>
                <a:lnTo>
                  <a:pt x="1982" y="251"/>
                </a:lnTo>
                <a:lnTo>
                  <a:pt x="1991" y="239"/>
                </a:lnTo>
                <a:lnTo>
                  <a:pt x="2154" y="251"/>
                </a:lnTo>
                <a:lnTo>
                  <a:pt x="2050" y="227"/>
                </a:lnTo>
                <a:lnTo>
                  <a:pt x="2045" y="222"/>
                </a:lnTo>
                <a:lnTo>
                  <a:pt x="2050" y="222"/>
                </a:lnTo>
                <a:lnTo>
                  <a:pt x="1911" y="152"/>
                </a:lnTo>
                <a:lnTo>
                  <a:pt x="2163" y="152"/>
                </a:lnTo>
                <a:lnTo>
                  <a:pt x="2175" y="156"/>
                </a:lnTo>
                <a:lnTo>
                  <a:pt x="2163" y="168"/>
                </a:lnTo>
                <a:lnTo>
                  <a:pt x="2192" y="173"/>
                </a:lnTo>
                <a:lnTo>
                  <a:pt x="2192" y="194"/>
                </a:lnTo>
                <a:lnTo>
                  <a:pt x="2196" y="206"/>
                </a:lnTo>
                <a:lnTo>
                  <a:pt x="2208" y="194"/>
                </a:lnTo>
                <a:lnTo>
                  <a:pt x="2208" y="173"/>
                </a:lnTo>
                <a:lnTo>
                  <a:pt x="2180" y="156"/>
                </a:lnTo>
                <a:lnTo>
                  <a:pt x="2208" y="156"/>
                </a:lnTo>
                <a:lnTo>
                  <a:pt x="2298" y="189"/>
                </a:lnTo>
                <a:lnTo>
                  <a:pt x="2322" y="222"/>
                </a:lnTo>
                <a:lnTo>
                  <a:pt x="2336" y="222"/>
                </a:lnTo>
                <a:lnTo>
                  <a:pt x="2315" y="189"/>
                </a:lnTo>
                <a:lnTo>
                  <a:pt x="2326" y="178"/>
                </a:lnTo>
                <a:lnTo>
                  <a:pt x="2322" y="173"/>
                </a:lnTo>
                <a:lnTo>
                  <a:pt x="2305" y="168"/>
                </a:lnTo>
                <a:lnTo>
                  <a:pt x="2159" y="135"/>
                </a:lnTo>
                <a:lnTo>
                  <a:pt x="1958" y="123"/>
                </a:lnTo>
                <a:lnTo>
                  <a:pt x="1974" y="135"/>
                </a:lnTo>
                <a:lnTo>
                  <a:pt x="1894" y="140"/>
                </a:lnTo>
                <a:lnTo>
                  <a:pt x="1835" y="116"/>
                </a:lnTo>
                <a:lnTo>
                  <a:pt x="1894" y="123"/>
                </a:lnTo>
                <a:lnTo>
                  <a:pt x="1840" y="111"/>
                </a:lnTo>
                <a:lnTo>
                  <a:pt x="1894" y="95"/>
                </a:lnTo>
                <a:lnTo>
                  <a:pt x="1958" y="123"/>
                </a:lnTo>
                <a:lnTo>
                  <a:pt x="2083" y="123"/>
                </a:lnTo>
                <a:lnTo>
                  <a:pt x="1974" y="111"/>
                </a:lnTo>
                <a:lnTo>
                  <a:pt x="1927" y="83"/>
                </a:lnTo>
                <a:lnTo>
                  <a:pt x="1937" y="83"/>
                </a:lnTo>
                <a:lnTo>
                  <a:pt x="2109" y="95"/>
                </a:lnTo>
                <a:lnTo>
                  <a:pt x="2033" y="67"/>
                </a:lnTo>
                <a:lnTo>
                  <a:pt x="2109" y="67"/>
                </a:lnTo>
                <a:lnTo>
                  <a:pt x="2083" y="67"/>
                </a:lnTo>
                <a:lnTo>
                  <a:pt x="2126" y="62"/>
                </a:lnTo>
                <a:lnTo>
                  <a:pt x="2196" y="78"/>
                </a:lnTo>
                <a:lnTo>
                  <a:pt x="2180" y="95"/>
                </a:lnTo>
                <a:lnTo>
                  <a:pt x="2208" y="83"/>
                </a:lnTo>
                <a:lnTo>
                  <a:pt x="2272" y="116"/>
                </a:lnTo>
                <a:lnTo>
                  <a:pt x="2352" y="116"/>
                </a:lnTo>
                <a:lnTo>
                  <a:pt x="2411" y="156"/>
                </a:lnTo>
                <a:lnTo>
                  <a:pt x="2423" y="140"/>
                </a:lnTo>
                <a:lnTo>
                  <a:pt x="2374" y="116"/>
                </a:lnTo>
                <a:lnTo>
                  <a:pt x="2504" y="111"/>
                </a:lnTo>
                <a:lnTo>
                  <a:pt x="2397" y="100"/>
                </a:lnTo>
                <a:lnTo>
                  <a:pt x="2537" y="83"/>
                </a:lnTo>
                <a:lnTo>
                  <a:pt x="2407" y="67"/>
                </a:lnTo>
                <a:lnTo>
                  <a:pt x="2397" y="62"/>
                </a:lnTo>
                <a:lnTo>
                  <a:pt x="2397" y="29"/>
                </a:lnTo>
                <a:lnTo>
                  <a:pt x="2466" y="45"/>
                </a:lnTo>
                <a:lnTo>
                  <a:pt x="2478" y="45"/>
                </a:lnTo>
                <a:lnTo>
                  <a:pt x="2449" y="29"/>
                </a:lnTo>
                <a:lnTo>
                  <a:pt x="2482" y="24"/>
                </a:lnTo>
                <a:lnTo>
                  <a:pt x="2570" y="45"/>
                </a:lnTo>
                <a:lnTo>
                  <a:pt x="2537" y="24"/>
                </a:lnTo>
                <a:lnTo>
                  <a:pt x="2714" y="0"/>
                </a:lnTo>
                <a:lnTo>
                  <a:pt x="2747" y="29"/>
                </a:lnTo>
                <a:lnTo>
                  <a:pt x="2752" y="24"/>
                </a:lnTo>
                <a:lnTo>
                  <a:pt x="2730" y="5"/>
                </a:lnTo>
                <a:lnTo>
                  <a:pt x="2990" y="0"/>
                </a:lnTo>
                <a:lnTo>
                  <a:pt x="3125" y="24"/>
                </a:lnTo>
                <a:lnTo>
                  <a:pt x="3092" y="24"/>
                </a:lnTo>
                <a:lnTo>
                  <a:pt x="3115" y="41"/>
                </a:lnTo>
                <a:lnTo>
                  <a:pt x="3200" y="24"/>
                </a:lnTo>
                <a:lnTo>
                  <a:pt x="3326" y="57"/>
                </a:lnTo>
                <a:lnTo>
                  <a:pt x="3233" y="83"/>
                </a:lnTo>
                <a:lnTo>
                  <a:pt x="3016" y="78"/>
                </a:lnTo>
                <a:lnTo>
                  <a:pt x="2882" y="100"/>
                </a:lnTo>
                <a:lnTo>
                  <a:pt x="2775" y="83"/>
                </a:lnTo>
                <a:lnTo>
                  <a:pt x="2844" y="100"/>
                </a:lnTo>
                <a:lnTo>
                  <a:pt x="2624" y="123"/>
                </a:lnTo>
                <a:lnTo>
                  <a:pt x="2645" y="135"/>
                </a:lnTo>
                <a:lnTo>
                  <a:pt x="2629" y="152"/>
                </a:lnTo>
                <a:lnTo>
                  <a:pt x="2638" y="156"/>
                </a:lnTo>
                <a:lnTo>
                  <a:pt x="2645" y="140"/>
                </a:lnTo>
                <a:lnTo>
                  <a:pt x="2676" y="123"/>
                </a:lnTo>
                <a:lnTo>
                  <a:pt x="2747" y="123"/>
                </a:lnTo>
                <a:lnTo>
                  <a:pt x="2752" y="140"/>
                </a:lnTo>
                <a:lnTo>
                  <a:pt x="2737" y="152"/>
                </a:lnTo>
                <a:lnTo>
                  <a:pt x="2747" y="152"/>
                </a:lnTo>
                <a:lnTo>
                  <a:pt x="2768" y="116"/>
                </a:lnTo>
                <a:lnTo>
                  <a:pt x="2877" y="111"/>
                </a:lnTo>
                <a:lnTo>
                  <a:pt x="2898" y="123"/>
                </a:lnTo>
                <a:lnTo>
                  <a:pt x="3016" y="83"/>
                </a:lnTo>
                <a:lnTo>
                  <a:pt x="3146" y="100"/>
                </a:lnTo>
                <a:lnTo>
                  <a:pt x="3352" y="78"/>
                </a:lnTo>
                <a:lnTo>
                  <a:pt x="3380" y="95"/>
                </a:lnTo>
                <a:lnTo>
                  <a:pt x="3368" y="95"/>
                </a:lnTo>
                <a:lnTo>
                  <a:pt x="3385" y="111"/>
                </a:lnTo>
                <a:lnTo>
                  <a:pt x="3352" y="140"/>
                </a:lnTo>
                <a:lnTo>
                  <a:pt x="3309" y="152"/>
                </a:lnTo>
                <a:lnTo>
                  <a:pt x="3439" y="123"/>
                </a:lnTo>
                <a:lnTo>
                  <a:pt x="3448" y="135"/>
                </a:lnTo>
                <a:lnTo>
                  <a:pt x="3439" y="135"/>
                </a:lnTo>
                <a:lnTo>
                  <a:pt x="3439" y="156"/>
                </a:lnTo>
                <a:lnTo>
                  <a:pt x="3477" y="135"/>
                </a:lnTo>
                <a:lnTo>
                  <a:pt x="3628" y="178"/>
                </a:lnTo>
                <a:lnTo>
                  <a:pt x="3545" y="227"/>
                </a:lnTo>
                <a:lnTo>
                  <a:pt x="3363" y="263"/>
                </a:lnTo>
                <a:lnTo>
                  <a:pt x="3028" y="267"/>
                </a:lnTo>
                <a:lnTo>
                  <a:pt x="2910" y="251"/>
                </a:lnTo>
                <a:lnTo>
                  <a:pt x="3023" y="267"/>
                </a:lnTo>
                <a:lnTo>
                  <a:pt x="2801" y="322"/>
                </a:lnTo>
                <a:lnTo>
                  <a:pt x="2806" y="350"/>
                </a:lnTo>
                <a:lnTo>
                  <a:pt x="2898" y="317"/>
                </a:lnTo>
                <a:lnTo>
                  <a:pt x="3040" y="300"/>
                </a:lnTo>
                <a:lnTo>
                  <a:pt x="3028" y="305"/>
                </a:lnTo>
                <a:lnTo>
                  <a:pt x="3044" y="305"/>
                </a:lnTo>
                <a:lnTo>
                  <a:pt x="3082" y="296"/>
                </a:lnTo>
                <a:lnTo>
                  <a:pt x="3352" y="296"/>
                </a:lnTo>
                <a:lnTo>
                  <a:pt x="3347" y="317"/>
                </a:lnTo>
                <a:lnTo>
                  <a:pt x="3342" y="333"/>
                </a:lnTo>
                <a:lnTo>
                  <a:pt x="3184" y="378"/>
                </a:lnTo>
                <a:lnTo>
                  <a:pt x="3217" y="390"/>
                </a:lnTo>
                <a:lnTo>
                  <a:pt x="3184" y="395"/>
                </a:lnTo>
                <a:lnTo>
                  <a:pt x="3205" y="395"/>
                </a:lnTo>
                <a:lnTo>
                  <a:pt x="3368" y="338"/>
                </a:lnTo>
                <a:lnTo>
                  <a:pt x="3422" y="338"/>
                </a:lnTo>
                <a:lnTo>
                  <a:pt x="3432" y="333"/>
                </a:lnTo>
                <a:lnTo>
                  <a:pt x="3432" y="300"/>
                </a:lnTo>
                <a:lnTo>
                  <a:pt x="3439" y="284"/>
                </a:lnTo>
                <a:lnTo>
                  <a:pt x="3557" y="279"/>
                </a:lnTo>
                <a:lnTo>
                  <a:pt x="3578" y="300"/>
                </a:lnTo>
                <a:lnTo>
                  <a:pt x="3578" y="333"/>
                </a:lnTo>
                <a:lnTo>
                  <a:pt x="3562" y="378"/>
                </a:lnTo>
                <a:lnTo>
                  <a:pt x="3541" y="407"/>
                </a:lnTo>
                <a:lnTo>
                  <a:pt x="3507" y="411"/>
                </a:lnTo>
                <a:lnTo>
                  <a:pt x="3524" y="411"/>
                </a:lnTo>
                <a:lnTo>
                  <a:pt x="3448" y="473"/>
                </a:lnTo>
                <a:lnTo>
                  <a:pt x="3456" y="489"/>
                </a:lnTo>
                <a:lnTo>
                  <a:pt x="3439" y="506"/>
                </a:lnTo>
                <a:lnTo>
                  <a:pt x="3406" y="518"/>
                </a:lnTo>
                <a:lnTo>
                  <a:pt x="3432" y="518"/>
                </a:lnTo>
                <a:lnTo>
                  <a:pt x="3401" y="539"/>
                </a:lnTo>
                <a:lnTo>
                  <a:pt x="3465" y="506"/>
                </a:lnTo>
                <a:lnTo>
                  <a:pt x="3470" y="489"/>
                </a:lnTo>
                <a:lnTo>
                  <a:pt x="3470" y="473"/>
                </a:lnTo>
                <a:lnTo>
                  <a:pt x="3524" y="461"/>
                </a:lnTo>
                <a:lnTo>
                  <a:pt x="3666" y="362"/>
                </a:lnTo>
                <a:lnTo>
                  <a:pt x="3725" y="338"/>
                </a:lnTo>
                <a:lnTo>
                  <a:pt x="3704" y="355"/>
                </a:lnTo>
                <a:lnTo>
                  <a:pt x="3692" y="378"/>
                </a:lnTo>
                <a:lnTo>
                  <a:pt x="3772" y="362"/>
                </a:lnTo>
                <a:lnTo>
                  <a:pt x="3796" y="378"/>
                </a:lnTo>
                <a:lnTo>
                  <a:pt x="3810" y="374"/>
                </a:lnTo>
                <a:lnTo>
                  <a:pt x="3855" y="378"/>
                </a:lnTo>
                <a:lnTo>
                  <a:pt x="3855" y="362"/>
                </a:lnTo>
                <a:lnTo>
                  <a:pt x="3885" y="355"/>
                </a:lnTo>
                <a:lnTo>
                  <a:pt x="3864" y="350"/>
                </a:lnTo>
                <a:lnTo>
                  <a:pt x="3871" y="333"/>
                </a:lnTo>
                <a:lnTo>
                  <a:pt x="3902" y="338"/>
                </a:lnTo>
                <a:lnTo>
                  <a:pt x="3897" y="333"/>
                </a:lnTo>
                <a:lnTo>
                  <a:pt x="3897" y="317"/>
                </a:lnTo>
                <a:lnTo>
                  <a:pt x="3935" y="317"/>
                </a:lnTo>
                <a:lnTo>
                  <a:pt x="3952" y="300"/>
                </a:lnTo>
                <a:lnTo>
                  <a:pt x="4086" y="300"/>
                </a:lnTo>
                <a:lnTo>
                  <a:pt x="4195" y="322"/>
                </a:lnTo>
                <a:lnTo>
                  <a:pt x="4263" y="355"/>
                </a:lnTo>
                <a:lnTo>
                  <a:pt x="4136" y="433"/>
                </a:lnTo>
                <a:lnTo>
                  <a:pt x="4070" y="433"/>
                </a:lnTo>
                <a:lnTo>
                  <a:pt x="4060" y="444"/>
                </a:lnTo>
                <a:lnTo>
                  <a:pt x="4098" y="466"/>
                </a:lnTo>
                <a:lnTo>
                  <a:pt x="4011" y="489"/>
                </a:lnTo>
                <a:lnTo>
                  <a:pt x="3994" y="506"/>
                </a:lnTo>
                <a:lnTo>
                  <a:pt x="3864" y="489"/>
                </a:lnTo>
                <a:lnTo>
                  <a:pt x="3855" y="506"/>
                </a:lnTo>
                <a:lnTo>
                  <a:pt x="3817" y="522"/>
                </a:lnTo>
                <a:lnTo>
                  <a:pt x="3708" y="518"/>
                </a:lnTo>
                <a:lnTo>
                  <a:pt x="3682" y="527"/>
                </a:lnTo>
                <a:lnTo>
                  <a:pt x="3633" y="527"/>
                </a:lnTo>
                <a:lnTo>
                  <a:pt x="3666" y="544"/>
                </a:lnTo>
                <a:lnTo>
                  <a:pt x="3720" y="522"/>
                </a:lnTo>
                <a:lnTo>
                  <a:pt x="3826" y="539"/>
                </a:lnTo>
                <a:lnTo>
                  <a:pt x="3897" y="522"/>
                </a:lnTo>
                <a:lnTo>
                  <a:pt x="3994" y="544"/>
                </a:lnTo>
                <a:lnTo>
                  <a:pt x="3961" y="560"/>
                </a:lnTo>
                <a:lnTo>
                  <a:pt x="3952" y="560"/>
                </a:lnTo>
                <a:lnTo>
                  <a:pt x="3956" y="572"/>
                </a:lnTo>
                <a:lnTo>
                  <a:pt x="3918" y="584"/>
                </a:lnTo>
                <a:lnTo>
                  <a:pt x="3741" y="577"/>
                </a:lnTo>
                <a:lnTo>
                  <a:pt x="3682" y="612"/>
                </a:lnTo>
                <a:lnTo>
                  <a:pt x="3692" y="612"/>
                </a:lnTo>
                <a:lnTo>
                  <a:pt x="3682" y="629"/>
                </a:lnTo>
                <a:lnTo>
                  <a:pt x="3687" y="629"/>
                </a:lnTo>
                <a:lnTo>
                  <a:pt x="3666" y="650"/>
                </a:lnTo>
                <a:lnTo>
                  <a:pt x="3687" y="650"/>
                </a:lnTo>
                <a:lnTo>
                  <a:pt x="3692" y="666"/>
                </a:lnTo>
                <a:lnTo>
                  <a:pt x="3725" y="650"/>
                </a:lnTo>
                <a:lnTo>
                  <a:pt x="3704" y="655"/>
                </a:lnTo>
                <a:lnTo>
                  <a:pt x="3704" y="650"/>
                </a:lnTo>
                <a:lnTo>
                  <a:pt x="3720" y="633"/>
                </a:lnTo>
                <a:lnTo>
                  <a:pt x="3772" y="612"/>
                </a:lnTo>
                <a:lnTo>
                  <a:pt x="3864" y="600"/>
                </a:lnTo>
                <a:lnTo>
                  <a:pt x="3897" y="617"/>
                </a:lnTo>
                <a:lnTo>
                  <a:pt x="3843" y="666"/>
                </a:lnTo>
                <a:lnTo>
                  <a:pt x="3772" y="655"/>
                </a:lnTo>
                <a:lnTo>
                  <a:pt x="3746" y="683"/>
                </a:lnTo>
                <a:lnTo>
                  <a:pt x="3746" y="695"/>
                </a:lnTo>
                <a:lnTo>
                  <a:pt x="3734" y="711"/>
                </a:lnTo>
                <a:lnTo>
                  <a:pt x="3741" y="728"/>
                </a:lnTo>
                <a:lnTo>
                  <a:pt x="3725" y="761"/>
                </a:lnTo>
                <a:lnTo>
                  <a:pt x="3746" y="740"/>
                </a:lnTo>
                <a:lnTo>
                  <a:pt x="3779" y="740"/>
                </a:lnTo>
                <a:lnTo>
                  <a:pt x="3772" y="749"/>
                </a:lnTo>
                <a:lnTo>
                  <a:pt x="3789" y="761"/>
                </a:lnTo>
                <a:lnTo>
                  <a:pt x="3763" y="761"/>
                </a:lnTo>
                <a:lnTo>
                  <a:pt x="3772" y="744"/>
                </a:lnTo>
                <a:lnTo>
                  <a:pt x="3763" y="744"/>
                </a:lnTo>
                <a:lnTo>
                  <a:pt x="3746" y="749"/>
                </a:lnTo>
                <a:lnTo>
                  <a:pt x="3746" y="766"/>
                </a:lnTo>
                <a:lnTo>
                  <a:pt x="3708" y="778"/>
                </a:lnTo>
                <a:lnTo>
                  <a:pt x="3725" y="794"/>
                </a:lnTo>
                <a:lnTo>
                  <a:pt x="3720" y="806"/>
                </a:lnTo>
                <a:lnTo>
                  <a:pt x="3633" y="815"/>
                </a:lnTo>
                <a:lnTo>
                  <a:pt x="3654" y="839"/>
                </a:lnTo>
                <a:lnTo>
                  <a:pt x="3616" y="851"/>
                </a:lnTo>
                <a:lnTo>
                  <a:pt x="3654" y="851"/>
                </a:lnTo>
                <a:lnTo>
                  <a:pt x="3628" y="905"/>
                </a:lnTo>
                <a:lnTo>
                  <a:pt x="3628" y="910"/>
                </a:lnTo>
                <a:lnTo>
                  <a:pt x="3595" y="926"/>
                </a:lnTo>
                <a:lnTo>
                  <a:pt x="3616" y="926"/>
                </a:lnTo>
                <a:lnTo>
                  <a:pt x="3595" y="945"/>
                </a:lnTo>
                <a:lnTo>
                  <a:pt x="3583" y="962"/>
                </a:lnTo>
                <a:lnTo>
                  <a:pt x="3611" y="950"/>
                </a:lnTo>
                <a:lnTo>
                  <a:pt x="3578" y="1000"/>
                </a:lnTo>
                <a:lnTo>
                  <a:pt x="3616" y="1000"/>
                </a:lnTo>
                <a:lnTo>
                  <a:pt x="3595" y="1016"/>
                </a:lnTo>
                <a:lnTo>
                  <a:pt x="3611" y="1016"/>
                </a:lnTo>
                <a:lnTo>
                  <a:pt x="3616" y="1004"/>
                </a:lnTo>
                <a:lnTo>
                  <a:pt x="3628" y="971"/>
                </a:lnTo>
                <a:lnTo>
                  <a:pt x="3654" y="945"/>
                </a:lnTo>
                <a:lnTo>
                  <a:pt x="3692" y="966"/>
                </a:lnTo>
                <a:lnTo>
                  <a:pt x="3772" y="983"/>
                </a:lnTo>
                <a:lnTo>
                  <a:pt x="3796" y="1004"/>
                </a:lnTo>
                <a:lnTo>
                  <a:pt x="3763" y="1016"/>
                </a:lnTo>
                <a:lnTo>
                  <a:pt x="3704" y="988"/>
                </a:lnTo>
                <a:lnTo>
                  <a:pt x="3654" y="1000"/>
                </a:lnTo>
                <a:lnTo>
                  <a:pt x="3704" y="1016"/>
                </a:lnTo>
                <a:lnTo>
                  <a:pt x="3670" y="1016"/>
                </a:lnTo>
                <a:lnTo>
                  <a:pt x="3692" y="1021"/>
                </a:lnTo>
                <a:lnTo>
                  <a:pt x="3649" y="1016"/>
                </a:lnTo>
                <a:lnTo>
                  <a:pt x="3720" y="1028"/>
                </a:lnTo>
                <a:lnTo>
                  <a:pt x="3666" y="1037"/>
                </a:lnTo>
                <a:lnTo>
                  <a:pt x="3741" y="1037"/>
                </a:lnTo>
                <a:lnTo>
                  <a:pt x="3763" y="1054"/>
                </a:lnTo>
                <a:lnTo>
                  <a:pt x="3758" y="1061"/>
                </a:lnTo>
                <a:lnTo>
                  <a:pt x="3789" y="1073"/>
                </a:lnTo>
                <a:lnTo>
                  <a:pt x="3789" y="1054"/>
                </a:lnTo>
                <a:lnTo>
                  <a:pt x="3796" y="1044"/>
                </a:lnTo>
                <a:lnTo>
                  <a:pt x="3833" y="1044"/>
                </a:lnTo>
                <a:lnTo>
                  <a:pt x="3843" y="1061"/>
                </a:lnTo>
                <a:lnTo>
                  <a:pt x="3848" y="1111"/>
                </a:lnTo>
                <a:lnTo>
                  <a:pt x="3843" y="1132"/>
                </a:lnTo>
                <a:lnTo>
                  <a:pt x="3826" y="1132"/>
                </a:lnTo>
                <a:lnTo>
                  <a:pt x="3826" y="1139"/>
                </a:lnTo>
                <a:lnTo>
                  <a:pt x="3796" y="1127"/>
                </a:lnTo>
                <a:lnTo>
                  <a:pt x="3670" y="1099"/>
                </a:lnTo>
                <a:lnTo>
                  <a:pt x="3649" y="1111"/>
                </a:lnTo>
                <a:lnTo>
                  <a:pt x="3682" y="1111"/>
                </a:lnTo>
                <a:lnTo>
                  <a:pt x="3595" y="1115"/>
                </a:lnTo>
                <a:lnTo>
                  <a:pt x="3654" y="1127"/>
                </a:lnTo>
                <a:lnTo>
                  <a:pt x="3628" y="1132"/>
                </a:lnTo>
                <a:lnTo>
                  <a:pt x="3611" y="1155"/>
                </a:lnTo>
                <a:lnTo>
                  <a:pt x="3562" y="1127"/>
                </a:lnTo>
                <a:lnTo>
                  <a:pt x="3545" y="1127"/>
                </a:lnTo>
                <a:lnTo>
                  <a:pt x="3545" y="1139"/>
                </a:lnTo>
                <a:lnTo>
                  <a:pt x="3524" y="1148"/>
                </a:lnTo>
                <a:lnTo>
                  <a:pt x="3557" y="1172"/>
                </a:lnTo>
                <a:lnTo>
                  <a:pt x="3557" y="1165"/>
                </a:lnTo>
                <a:lnTo>
                  <a:pt x="3562" y="1155"/>
                </a:lnTo>
                <a:lnTo>
                  <a:pt x="3595" y="1165"/>
                </a:lnTo>
                <a:lnTo>
                  <a:pt x="3600" y="1172"/>
                </a:lnTo>
                <a:lnTo>
                  <a:pt x="3578" y="1184"/>
                </a:lnTo>
                <a:lnTo>
                  <a:pt x="3600" y="1184"/>
                </a:lnTo>
                <a:lnTo>
                  <a:pt x="3541" y="1184"/>
                </a:lnTo>
                <a:lnTo>
                  <a:pt x="3611" y="1189"/>
                </a:lnTo>
                <a:lnTo>
                  <a:pt x="3600" y="1210"/>
                </a:lnTo>
                <a:lnTo>
                  <a:pt x="3637" y="1205"/>
                </a:lnTo>
                <a:lnTo>
                  <a:pt x="3682" y="1226"/>
                </a:lnTo>
                <a:lnTo>
                  <a:pt x="3687" y="1226"/>
                </a:lnTo>
                <a:lnTo>
                  <a:pt x="3637" y="1205"/>
                </a:lnTo>
                <a:lnTo>
                  <a:pt x="3734" y="1222"/>
                </a:lnTo>
                <a:lnTo>
                  <a:pt x="3741" y="1226"/>
                </a:lnTo>
                <a:lnTo>
                  <a:pt x="3741" y="1243"/>
                </a:lnTo>
                <a:lnTo>
                  <a:pt x="3692" y="1250"/>
                </a:lnTo>
                <a:lnTo>
                  <a:pt x="3578" y="1250"/>
                </a:lnTo>
                <a:lnTo>
                  <a:pt x="3734" y="1259"/>
                </a:lnTo>
                <a:lnTo>
                  <a:pt x="3746" y="1283"/>
                </a:lnTo>
                <a:lnTo>
                  <a:pt x="3746" y="1300"/>
                </a:lnTo>
                <a:lnTo>
                  <a:pt x="3763" y="1316"/>
                </a:lnTo>
                <a:lnTo>
                  <a:pt x="3763" y="1337"/>
                </a:lnTo>
                <a:lnTo>
                  <a:pt x="3758" y="1370"/>
                </a:lnTo>
                <a:lnTo>
                  <a:pt x="3725" y="1377"/>
                </a:lnTo>
                <a:lnTo>
                  <a:pt x="3720" y="1370"/>
                </a:lnTo>
                <a:lnTo>
                  <a:pt x="3725" y="1354"/>
                </a:lnTo>
                <a:lnTo>
                  <a:pt x="3708" y="1349"/>
                </a:lnTo>
                <a:lnTo>
                  <a:pt x="3670" y="1354"/>
                </a:lnTo>
                <a:lnTo>
                  <a:pt x="3616" y="1316"/>
                </a:lnTo>
                <a:lnTo>
                  <a:pt x="3562" y="1300"/>
                </a:lnTo>
                <a:lnTo>
                  <a:pt x="3616" y="1333"/>
                </a:lnTo>
                <a:lnTo>
                  <a:pt x="3541" y="1316"/>
                </a:lnTo>
                <a:lnTo>
                  <a:pt x="3616" y="1333"/>
                </a:lnTo>
                <a:lnTo>
                  <a:pt x="3682" y="1377"/>
                </a:lnTo>
                <a:lnTo>
                  <a:pt x="3633" y="1377"/>
                </a:lnTo>
                <a:lnTo>
                  <a:pt x="3595" y="1406"/>
                </a:lnTo>
                <a:lnTo>
                  <a:pt x="3545" y="1370"/>
                </a:lnTo>
                <a:lnTo>
                  <a:pt x="3595" y="1406"/>
                </a:lnTo>
                <a:lnTo>
                  <a:pt x="3637" y="1387"/>
                </a:lnTo>
                <a:lnTo>
                  <a:pt x="3670" y="1387"/>
                </a:lnTo>
                <a:lnTo>
                  <a:pt x="3666" y="1415"/>
                </a:lnTo>
                <a:lnTo>
                  <a:pt x="3682" y="1432"/>
                </a:lnTo>
                <a:lnTo>
                  <a:pt x="3637" y="1444"/>
                </a:lnTo>
                <a:lnTo>
                  <a:pt x="3704" y="1444"/>
                </a:lnTo>
                <a:lnTo>
                  <a:pt x="3734" y="1460"/>
                </a:lnTo>
                <a:lnTo>
                  <a:pt x="3763" y="1444"/>
                </a:lnTo>
                <a:lnTo>
                  <a:pt x="3772" y="1448"/>
                </a:lnTo>
                <a:lnTo>
                  <a:pt x="3772" y="1465"/>
                </a:lnTo>
                <a:lnTo>
                  <a:pt x="3789" y="1472"/>
                </a:lnTo>
                <a:lnTo>
                  <a:pt x="3763" y="1498"/>
                </a:lnTo>
                <a:lnTo>
                  <a:pt x="3741" y="1505"/>
                </a:lnTo>
                <a:lnTo>
                  <a:pt x="3708" y="1498"/>
                </a:lnTo>
                <a:lnTo>
                  <a:pt x="3692" y="1472"/>
                </a:lnTo>
                <a:lnTo>
                  <a:pt x="3600" y="1472"/>
                </a:lnTo>
                <a:lnTo>
                  <a:pt x="3574" y="1448"/>
                </a:lnTo>
                <a:lnTo>
                  <a:pt x="3595" y="1481"/>
                </a:lnTo>
                <a:lnTo>
                  <a:pt x="3578" y="1489"/>
                </a:lnTo>
                <a:lnTo>
                  <a:pt x="3545" y="1498"/>
                </a:lnTo>
                <a:lnTo>
                  <a:pt x="3574" y="1498"/>
                </a:lnTo>
                <a:lnTo>
                  <a:pt x="3562" y="1514"/>
                </a:lnTo>
                <a:lnTo>
                  <a:pt x="3562" y="1522"/>
                </a:lnTo>
                <a:lnTo>
                  <a:pt x="3541" y="1526"/>
                </a:lnTo>
                <a:lnTo>
                  <a:pt x="3578" y="1538"/>
                </a:lnTo>
                <a:lnTo>
                  <a:pt x="3595" y="1559"/>
                </a:lnTo>
                <a:lnTo>
                  <a:pt x="3595" y="1583"/>
                </a:lnTo>
                <a:lnTo>
                  <a:pt x="3600" y="1576"/>
                </a:lnTo>
                <a:lnTo>
                  <a:pt x="3583" y="1538"/>
                </a:lnTo>
                <a:lnTo>
                  <a:pt x="3595" y="1526"/>
                </a:lnTo>
                <a:lnTo>
                  <a:pt x="3704" y="1555"/>
                </a:lnTo>
                <a:lnTo>
                  <a:pt x="3704" y="1571"/>
                </a:lnTo>
                <a:lnTo>
                  <a:pt x="3682" y="1576"/>
                </a:lnTo>
                <a:lnTo>
                  <a:pt x="3687" y="1583"/>
                </a:lnTo>
                <a:lnTo>
                  <a:pt x="3682" y="1600"/>
                </a:lnTo>
                <a:lnTo>
                  <a:pt x="3692" y="1600"/>
                </a:lnTo>
                <a:lnTo>
                  <a:pt x="3687" y="1616"/>
                </a:lnTo>
                <a:lnTo>
                  <a:pt x="3611" y="1609"/>
                </a:lnTo>
                <a:lnTo>
                  <a:pt x="3600" y="1626"/>
                </a:lnTo>
                <a:lnTo>
                  <a:pt x="3557" y="1637"/>
                </a:lnTo>
                <a:lnTo>
                  <a:pt x="3470" y="1616"/>
                </a:lnTo>
                <a:lnTo>
                  <a:pt x="3439" y="1592"/>
                </a:lnTo>
                <a:lnTo>
                  <a:pt x="3439" y="1576"/>
                </a:lnTo>
                <a:lnTo>
                  <a:pt x="3470" y="1576"/>
                </a:lnTo>
                <a:lnTo>
                  <a:pt x="3531" y="1600"/>
                </a:lnTo>
                <a:lnTo>
                  <a:pt x="3562" y="1592"/>
                </a:lnTo>
                <a:lnTo>
                  <a:pt x="3524" y="1600"/>
                </a:lnTo>
                <a:lnTo>
                  <a:pt x="3432" y="1559"/>
                </a:lnTo>
                <a:lnTo>
                  <a:pt x="3406" y="1576"/>
                </a:lnTo>
                <a:lnTo>
                  <a:pt x="3406" y="1600"/>
                </a:lnTo>
                <a:lnTo>
                  <a:pt x="3368" y="1592"/>
                </a:lnTo>
                <a:lnTo>
                  <a:pt x="3368" y="1576"/>
                </a:lnTo>
                <a:lnTo>
                  <a:pt x="3314" y="1543"/>
                </a:lnTo>
                <a:lnTo>
                  <a:pt x="3330" y="1571"/>
                </a:lnTo>
                <a:lnTo>
                  <a:pt x="3394" y="1609"/>
                </a:lnTo>
                <a:lnTo>
                  <a:pt x="3347" y="1616"/>
                </a:lnTo>
                <a:lnTo>
                  <a:pt x="3314" y="1637"/>
                </a:lnTo>
                <a:lnTo>
                  <a:pt x="3297" y="1637"/>
                </a:lnTo>
                <a:lnTo>
                  <a:pt x="3238" y="1633"/>
                </a:lnTo>
                <a:lnTo>
                  <a:pt x="3200" y="1609"/>
                </a:lnTo>
                <a:lnTo>
                  <a:pt x="3191" y="1616"/>
                </a:lnTo>
                <a:lnTo>
                  <a:pt x="3271" y="1637"/>
                </a:lnTo>
                <a:lnTo>
                  <a:pt x="3243" y="1654"/>
                </a:lnTo>
                <a:lnTo>
                  <a:pt x="3222" y="1649"/>
                </a:lnTo>
                <a:lnTo>
                  <a:pt x="3179" y="1654"/>
                </a:lnTo>
                <a:lnTo>
                  <a:pt x="3200" y="1666"/>
                </a:lnTo>
                <a:lnTo>
                  <a:pt x="3200" y="1682"/>
                </a:lnTo>
                <a:lnTo>
                  <a:pt x="3191" y="1687"/>
                </a:lnTo>
                <a:lnTo>
                  <a:pt x="3205" y="1682"/>
                </a:lnTo>
                <a:lnTo>
                  <a:pt x="3205" y="1666"/>
                </a:lnTo>
                <a:lnTo>
                  <a:pt x="3255" y="1666"/>
                </a:lnTo>
                <a:lnTo>
                  <a:pt x="3271" y="1649"/>
                </a:lnTo>
                <a:lnTo>
                  <a:pt x="3363" y="1666"/>
                </a:lnTo>
                <a:lnTo>
                  <a:pt x="3368" y="1682"/>
                </a:lnTo>
                <a:lnTo>
                  <a:pt x="3352" y="1687"/>
                </a:lnTo>
                <a:lnTo>
                  <a:pt x="3314" y="1687"/>
                </a:lnTo>
                <a:lnTo>
                  <a:pt x="3293" y="1703"/>
                </a:lnTo>
                <a:lnTo>
                  <a:pt x="3243" y="1694"/>
                </a:lnTo>
                <a:lnTo>
                  <a:pt x="3200" y="1694"/>
                </a:lnTo>
                <a:lnTo>
                  <a:pt x="3271" y="1711"/>
                </a:lnTo>
                <a:lnTo>
                  <a:pt x="3243" y="1720"/>
                </a:lnTo>
                <a:lnTo>
                  <a:pt x="3276" y="1711"/>
                </a:lnTo>
                <a:lnTo>
                  <a:pt x="3259" y="1737"/>
                </a:lnTo>
                <a:lnTo>
                  <a:pt x="3330" y="1703"/>
                </a:lnTo>
                <a:lnTo>
                  <a:pt x="3380" y="1711"/>
                </a:lnTo>
                <a:lnTo>
                  <a:pt x="3385" y="1720"/>
                </a:lnTo>
                <a:lnTo>
                  <a:pt x="3385" y="1737"/>
                </a:lnTo>
                <a:lnTo>
                  <a:pt x="3394" y="1744"/>
                </a:lnTo>
                <a:lnTo>
                  <a:pt x="3297" y="1760"/>
                </a:lnTo>
                <a:lnTo>
                  <a:pt x="3347" y="1760"/>
                </a:lnTo>
                <a:lnTo>
                  <a:pt x="3330" y="1798"/>
                </a:lnTo>
                <a:lnTo>
                  <a:pt x="3342" y="1793"/>
                </a:lnTo>
                <a:lnTo>
                  <a:pt x="3342" y="1777"/>
                </a:lnTo>
                <a:lnTo>
                  <a:pt x="3352" y="1765"/>
                </a:lnTo>
                <a:lnTo>
                  <a:pt x="3394" y="1760"/>
                </a:lnTo>
                <a:lnTo>
                  <a:pt x="3503" y="1810"/>
                </a:lnTo>
                <a:lnTo>
                  <a:pt x="3493" y="1814"/>
                </a:lnTo>
                <a:lnTo>
                  <a:pt x="3541" y="1831"/>
                </a:lnTo>
                <a:lnTo>
                  <a:pt x="3503" y="1864"/>
                </a:lnTo>
                <a:lnTo>
                  <a:pt x="3545" y="1838"/>
                </a:lnTo>
                <a:lnTo>
                  <a:pt x="3531" y="1864"/>
                </a:lnTo>
                <a:lnTo>
                  <a:pt x="3531" y="1871"/>
                </a:lnTo>
                <a:lnTo>
                  <a:pt x="3562" y="1848"/>
                </a:lnTo>
                <a:lnTo>
                  <a:pt x="3583" y="1848"/>
                </a:lnTo>
                <a:lnTo>
                  <a:pt x="3562" y="1864"/>
                </a:lnTo>
                <a:lnTo>
                  <a:pt x="3574" y="1871"/>
                </a:lnTo>
                <a:lnTo>
                  <a:pt x="3541" y="1871"/>
                </a:lnTo>
                <a:lnTo>
                  <a:pt x="3545" y="1909"/>
                </a:lnTo>
                <a:lnTo>
                  <a:pt x="3557" y="1909"/>
                </a:lnTo>
                <a:lnTo>
                  <a:pt x="3557" y="1888"/>
                </a:lnTo>
                <a:lnTo>
                  <a:pt x="3595" y="1876"/>
                </a:lnTo>
                <a:lnTo>
                  <a:pt x="3600" y="1892"/>
                </a:lnTo>
                <a:lnTo>
                  <a:pt x="3595" y="1904"/>
                </a:lnTo>
                <a:lnTo>
                  <a:pt x="3611" y="1904"/>
                </a:lnTo>
                <a:lnTo>
                  <a:pt x="3578" y="1909"/>
                </a:lnTo>
                <a:lnTo>
                  <a:pt x="3595" y="1909"/>
                </a:lnTo>
                <a:lnTo>
                  <a:pt x="3600" y="1926"/>
                </a:lnTo>
                <a:lnTo>
                  <a:pt x="3557" y="1942"/>
                </a:lnTo>
                <a:lnTo>
                  <a:pt x="3600" y="1933"/>
                </a:lnTo>
                <a:lnTo>
                  <a:pt x="3611" y="1949"/>
                </a:lnTo>
                <a:lnTo>
                  <a:pt x="3600" y="1975"/>
                </a:lnTo>
                <a:lnTo>
                  <a:pt x="3583" y="1975"/>
                </a:lnTo>
                <a:lnTo>
                  <a:pt x="3600" y="1975"/>
                </a:lnTo>
                <a:lnTo>
                  <a:pt x="3611" y="1982"/>
                </a:lnTo>
                <a:lnTo>
                  <a:pt x="3595" y="1982"/>
                </a:lnTo>
                <a:lnTo>
                  <a:pt x="3600" y="1987"/>
                </a:lnTo>
                <a:lnTo>
                  <a:pt x="3595" y="2003"/>
                </a:lnTo>
                <a:lnTo>
                  <a:pt x="3616" y="2003"/>
                </a:lnTo>
                <a:lnTo>
                  <a:pt x="3578" y="2032"/>
                </a:lnTo>
                <a:lnTo>
                  <a:pt x="3583" y="2015"/>
                </a:lnTo>
                <a:lnTo>
                  <a:pt x="3578" y="2015"/>
                </a:lnTo>
                <a:lnTo>
                  <a:pt x="3557" y="2020"/>
                </a:lnTo>
                <a:lnTo>
                  <a:pt x="3545" y="1987"/>
                </a:lnTo>
                <a:lnTo>
                  <a:pt x="3545" y="1966"/>
                </a:lnTo>
                <a:lnTo>
                  <a:pt x="3541" y="1966"/>
                </a:lnTo>
                <a:lnTo>
                  <a:pt x="3531" y="1982"/>
                </a:lnTo>
                <a:lnTo>
                  <a:pt x="3541" y="2003"/>
                </a:lnTo>
                <a:lnTo>
                  <a:pt x="3531" y="2020"/>
                </a:lnTo>
                <a:lnTo>
                  <a:pt x="3486" y="2020"/>
                </a:lnTo>
                <a:lnTo>
                  <a:pt x="3439" y="1987"/>
                </a:lnTo>
                <a:lnTo>
                  <a:pt x="3422" y="1975"/>
                </a:lnTo>
                <a:lnTo>
                  <a:pt x="3422" y="1942"/>
                </a:lnTo>
                <a:lnTo>
                  <a:pt x="3385" y="1904"/>
                </a:lnTo>
                <a:lnTo>
                  <a:pt x="3363" y="1909"/>
                </a:lnTo>
                <a:lnTo>
                  <a:pt x="3326" y="1876"/>
                </a:lnTo>
                <a:lnTo>
                  <a:pt x="3233" y="1871"/>
                </a:lnTo>
                <a:lnTo>
                  <a:pt x="3179" y="1822"/>
                </a:lnTo>
                <a:lnTo>
                  <a:pt x="3115" y="1798"/>
                </a:lnTo>
                <a:lnTo>
                  <a:pt x="3108" y="1798"/>
                </a:lnTo>
                <a:lnTo>
                  <a:pt x="3130" y="1814"/>
                </a:lnTo>
                <a:lnTo>
                  <a:pt x="3125" y="1822"/>
                </a:lnTo>
                <a:lnTo>
                  <a:pt x="3167" y="1831"/>
                </a:lnTo>
                <a:lnTo>
                  <a:pt x="3205" y="1855"/>
                </a:lnTo>
                <a:lnTo>
                  <a:pt x="3200" y="1864"/>
                </a:lnTo>
                <a:lnTo>
                  <a:pt x="3125" y="1871"/>
                </a:lnTo>
                <a:lnTo>
                  <a:pt x="3200" y="1871"/>
                </a:lnTo>
                <a:lnTo>
                  <a:pt x="3217" y="1871"/>
                </a:lnTo>
                <a:lnTo>
                  <a:pt x="3205" y="1876"/>
                </a:lnTo>
                <a:lnTo>
                  <a:pt x="3205" y="1888"/>
                </a:lnTo>
                <a:lnTo>
                  <a:pt x="3309" y="1876"/>
                </a:lnTo>
                <a:lnTo>
                  <a:pt x="3342" y="1904"/>
                </a:lnTo>
                <a:lnTo>
                  <a:pt x="3330" y="1921"/>
                </a:lnTo>
                <a:lnTo>
                  <a:pt x="3314" y="1909"/>
                </a:lnTo>
                <a:lnTo>
                  <a:pt x="3326" y="1926"/>
                </a:lnTo>
                <a:lnTo>
                  <a:pt x="3259" y="1949"/>
                </a:lnTo>
                <a:lnTo>
                  <a:pt x="3191" y="1959"/>
                </a:lnTo>
                <a:lnTo>
                  <a:pt x="3167" y="1926"/>
                </a:lnTo>
                <a:lnTo>
                  <a:pt x="3163" y="1926"/>
                </a:lnTo>
                <a:lnTo>
                  <a:pt x="3184" y="1949"/>
                </a:lnTo>
                <a:lnTo>
                  <a:pt x="3130" y="1949"/>
                </a:lnTo>
                <a:lnTo>
                  <a:pt x="3163" y="1966"/>
                </a:lnTo>
                <a:lnTo>
                  <a:pt x="3137" y="2003"/>
                </a:lnTo>
                <a:lnTo>
                  <a:pt x="3070" y="2015"/>
                </a:lnTo>
                <a:lnTo>
                  <a:pt x="3070" y="2032"/>
                </a:lnTo>
                <a:lnTo>
                  <a:pt x="3137" y="2015"/>
                </a:lnTo>
                <a:lnTo>
                  <a:pt x="3130" y="2020"/>
                </a:lnTo>
                <a:lnTo>
                  <a:pt x="3137" y="2032"/>
                </a:lnTo>
                <a:lnTo>
                  <a:pt x="3243" y="2015"/>
                </a:lnTo>
                <a:lnTo>
                  <a:pt x="3276" y="2032"/>
                </a:lnTo>
                <a:lnTo>
                  <a:pt x="3243" y="2037"/>
                </a:lnTo>
                <a:lnTo>
                  <a:pt x="3233" y="2037"/>
                </a:lnTo>
                <a:lnTo>
                  <a:pt x="3167" y="2070"/>
                </a:lnTo>
                <a:lnTo>
                  <a:pt x="3115" y="2060"/>
                </a:lnTo>
                <a:lnTo>
                  <a:pt x="3125" y="2070"/>
                </a:lnTo>
                <a:lnTo>
                  <a:pt x="3191" y="2070"/>
                </a:lnTo>
                <a:lnTo>
                  <a:pt x="3191" y="2086"/>
                </a:lnTo>
                <a:lnTo>
                  <a:pt x="3200" y="2086"/>
                </a:lnTo>
                <a:lnTo>
                  <a:pt x="3217" y="2053"/>
                </a:lnTo>
                <a:lnTo>
                  <a:pt x="3233" y="2044"/>
                </a:lnTo>
                <a:lnTo>
                  <a:pt x="3276" y="2053"/>
                </a:lnTo>
                <a:lnTo>
                  <a:pt x="3352" y="2020"/>
                </a:lnTo>
                <a:lnTo>
                  <a:pt x="3347" y="2037"/>
                </a:lnTo>
                <a:lnTo>
                  <a:pt x="3363" y="2032"/>
                </a:lnTo>
                <a:lnTo>
                  <a:pt x="3470" y="2060"/>
                </a:lnTo>
                <a:lnTo>
                  <a:pt x="3574" y="2060"/>
                </a:lnTo>
                <a:lnTo>
                  <a:pt x="3557" y="2077"/>
                </a:lnTo>
                <a:lnTo>
                  <a:pt x="3486" y="2093"/>
                </a:lnTo>
                <a:lnTo>
                  <a:pt x="3519" y="2098"/>
                </a:lnTo>
                <a:lnTo>
                  <a:pt x="3507" y="2110"/>
                </a:lnTo>
                <a:lnTo>
                  <a:pt x="3486" y="2093"/>
                </a:lnTo>
                <a:lnTo>
                  <a:pt x="3493" y="2110"/>
                </a:lnTo>
                <a:lnTo>
                  <a:pt x="3439" y="2110"/>
                </a:lnTo>
                <a:lnTo>
                  <a:pt x="3470" y="2126"/>
                </a:lnTo>
                <a:lnTo>
                  <a:pt x="3448" y="2143"/>
                </a:lnTo>
                <a:lnTo>
                  <a:pt x="3418" y="2126"/>
                </a:lnTo>
                <a:lnTo>
                  <a:pt x="3432" y="2143"/>
                </a:lnTo>
                <a:lnTo>
                  <a:pt x="3406" y="2155"/>
                </a:lnTo>
                <a:lnTo>
                  <a:pt x="3394" y="2155"/>
                </a:lnTo>
                <a:lnTo>
                  <a:pt x="3394" y="2171"/>
                </a:lnTo>
                <a:lnTo>
                  <a:pt x="3352" y="2171"/>
                </a:lnTo>
                <a:lnTo>
                  <a:pt x="3347" y="2171"/>
                </a:lnTo>
                <a:lnTo>
                  <a:pt x="3368" y="2188"/>
                </a:lnTo>
                <a:lnTo>
                  <a:pt x="3347" y="2204"/>
                </a:lnTo>
                <a:lnTo>
                  <a:pt x="3326" y="2197"/>
                </a:lnTo>
                <a:lnTo>
                  <a:pt x="3342" y="2209"/>
                </a:lnTo>
                <a:lnTo>
                  <a:pt x="3314" y="2209"/>
                </a:lnTo>
                <a:lnTo>
                  <a:pt x="3326" y="2221"/>
                </a:lnTo>
                <a:lnTo>
                  <a:pt x="3271" y="2242"/>
                </a:lnTo>
                <a:lnTo>
                  <a:pt x="3200" y="2259"/>
                </a:lnTo>
                <a:lnTo>
                  <a:pt x="3205" y="2259"/>
                </a:lnTo>
                <a:lnTo>
                  <a:pt x="3184" y="2259"/>
                </a:lnTo>
                <a:lnTo>
                  <a:pt x="3179" y="2266"/>
                </a:lnTo>
                <a:lnTo>
                  <a:pt x="3184" y="2266"/>
                </a:lnTo>
                <a:lnTo>
                  <a:pt x="3153" y="2259"/>
                </a:lnTo>
                <a:lnTo>
                  <a:pt x="3153" y="2275"/>
                </a:lnTo>
                <a:lnTo>
                  <a:pt x="3125" y="2275"/>
                </a:lnTo>
                <a:lnTo>
                  <a:pt x="3099" y="2292"/>
                </a:lnTo>
                <a:lnTo>
                  <a:pt x="3078" y="2282"/>
                </a:lnTo>
                <a:lnTo>
                  <a:pt x="3078" y="2292"/>
                </a:lnTo>
                <a:lnTo>
                  <a:pt x="3061" y="2292"/>
                </a:lnTo>
                <a:lnTo>
                  <a:pt x="3061" y="2308"/>
                </a:lnTo>
                <a:lnTo>
                  <a:pt x="3028" y="2292"/>
                </a:lnTo>
                <a:lnTo>
                  <a:pt x="3028" y="2275"/>
                </a:lnTo>
                <a:lnTo>
                  <a:pt x="3002" y="2299"/>
                </a:lnTo>
                <a:lnTo>
                  <a:pt x="3016" y="2315"/>
                </a:lnTo>
                <a:lnTo>
                  <a:pt x="2990" y="2315"/>
                </a:lnTo>
                <a:lnTo>
                  <a:pt x="2990" y="2308"/>
                </a:lnTo>
                <a:lnTo>
                  <a:pt x="2969" y="2299"/>
                </a:lnTo>
                <a:lnTo>
                  <a:pt x="2964" y="2299"/>
                </a:lnTo>
                <a:lnTo>
                  <a:pt x="2985" y="2308"/>
                </a:lnTo>
                <a:lnTo>
                  <a:pt x="2985" y="2320"/>
                </a:lnTo>
                <a:lnTo>
                  <a:pt x="2948" y="2320"/>
                </a:lnTo>
                <a:lnTo>
                  <a:pt x="2915" y="2315"/>
                </a:lnTo>
                <a:lnTo>
                  <a:pt x="2919" y="2308"/>
                </a:lnTo>
                <a:lnTo>
                  <a:pt x="2910" y="2320"/>
                </a:lnTo>
                <a:lnTo>
                  <a:pt x="2898" y="2315"/>
                </a:lnTo>
                <a:lnTo>
                  <a:pt x="2893" y="2308"/>
                </a:lnTo>
                <a:lnTo>
                  <a:pt x="2910" y="2299"/>
                </a:lnTo>
                <a:lnTo>
                  <a:pt x="2877" y="2299"/>
                </a:lnTo>
                <a:lnTo>
                  <a:pt x="2844" y="2254"/>
                </a:lnTo>
                <a:lnTo>
                  <a:pt x="2844" y="2266"/>
                </a:lnTo>
                <a:lnTo>
                  <a:pt x="2839" y="2266"/>
                </a:lnTo>
                <a:lnTo>
                  <a:pt x="2839" y="2275"/>
                </a:lnTo>
                <a:lnTo>
                  <a:pt x="2860" y="2292"/>
                </a:lnTo>
                <a:lnTo>
                  <a:pt x="2865" y="2308"/>
                </a:lnTo>
                <a:lnTo>
                  <a:pt x="2844" y="2308"/>
                </a:lnTo>
                <a:lnTo>
                  <a:pt x="2877" y="2315"/>
                </a:lnTo>
                <a:lnTo>
                  <a:pt x="2865" y="2348"/>
                </a:lnTo>
                <a:lnTo>
                  <a:pt x="2839" y="2348"/>
                </a:lnTo>
                <a:lnTo>
                  <a:pt x="2822" y="2365"/>
                </a:lnTo>
                <a:lnTo>
                  <a:pt x="2789" y="2370"/>
                </a:lnTo>
                <a:lnTo>
                  <a:pt x="2806" y="2377"/>
                </a:lnTo>
                <a:lnTo>
                  <a:pt x="2789" y="2386"/>
                </a:lnTo>
                <a:lnTo>
                  <a:pt x="2789" y="2403"/>
                </a:lnTo>
                <a:lnTo>
                  <a:pt x="2768" y="2410"/>
                </a:lnTo>
                <a:lnTo>
                  <a:pt x="2785" y="2426"/>
                </a:lnTo>
                <a:lnTo>
                  <a:pt x="2752" y="2459"/>
                </a:lnTo>
                <a:lnTo>
                  <a:pt x="2737" y="2448"/>
                </a:lnTo>
                <a:lnTo>
                  <a:pt x="2730" y="2481"/>
                </a:lnTo>
                <a:lnTo>
                  <a:pt x="2714" y="2504"/>
                </a:lnTo>
                <a:lnTo>
                  <a:pt x="2704" y="2497"/>
                </a:lnTo>
                <a:lnTo>
                  <a:pt x="2704" y="2481"/>
                </a:lnTo>
                <a:lnTo>
                  <a:pt x="2704" y="2497"/>
                </a:lnTo>
                <a:lnTo>
                  <a:pt x="2704" y="2504"/>
                </a:lnTo>
                <a:lnTo>
                  <a:pt x="2683" y="2530"/>
                </a:lnTo>
                <a:lnTo>
                  <a:pt x="2667" y="2537"/>
                </a:lnTo>
                <a:lnTo>
                  <a:pt x="2662" y="2530"/>
                </a:lnTo>
                <a:lnTo>
                  <a:pt x="2662" y="2521"/>
                </a:lnTo>
                <a:lnTo>
                  <a:pt x="2650" y="2537"/>
                </a:lnTo>
                <a:lnTo>
                  <a:pt x="2662" y="2542"/>
                </a:lnTo>
                <a:lnTo>
                  <a:pt x="2650" y="2542"/>
                </a:lnTo>
                <a:lnTo>
                  <a:pt x="2607" y="2521"/>
                </a:lnTo>
                <a:lnTo>
                  <a:pt x="2629" y="2542"/>
                </a:lnTo>
                <a:lnTo>
                  <a:pt x="2624" y="2542"/>
                </a:lnTo>
                <a:lnTo>
                  <a:pt x="2624" y="2559"/>
                </a:lnTo>
                <a:lnTo>
                  <a:pt x="2574" y="2587"/>
                </a:lnTo>
                <a:lnTo>
                  <a:pt x="2570" y="2575"/>
                </a:lnTo>
                <a:lnTo>
                  <a:pt x="2574" y="2559"/>
                </a:lnTo>
                <a:lnTo>
                  <a:pt x="2558" y="2559"/>
                </a:lnTo>
                <a:lnTo>
                  <a:pt x="2558" y="2570"/>
                </a:lnTo>
                <a:lnTo>
                  <a:pt x="2558" y="2575"/>
                </a:lnTo>
                <a:lnTo>
                  <a:pt x="2532" y="2592"/>
                </a:lnTo>
                <a:lnTo>
                  <a:pt x="2520" y="2575"/>
                </a:lnTo>
                <a:lnTo>
                  <a:pt x="2520" y="2570"/>
                </a:lnTo>
                <a:lnTo>
                  <a:pt x="2515" y="2570"/>
                </a:lnTo>
                <a:lnTo>
                  <a:pt x="2520" y="2592"/>
                </a:lnTo>
                <a:lnTo>
                  <a:pt x="2515" y="2599"/>
                </a:lnTo>
                <a:lnTo>
                  <a:pt x="2478" y="2587"/>
                </a:lnTo>
                <a:lnTo>
                  <a:pt x="2466" y="2570"/>
                </a:lnTo>
                <a:lnTo>
                  <a:pt x="2515" y="2530"/>
                </a:lnTo>
                <a:lnTo>
                  <a:pt x="2449" y="2530"/>
                </a:lnTo>
                <a:lnTo>
                  <a:pt x="2445" y="2530"/>
                </a:lnTo>
                <a:lnTo>
                  <a:pt x="2478" y="2542"/>
                </a:lnTo>
                <a:lnTo>
                  <a:pt x="2461" y="2542"/>
                </a:lnTo>
                <a:lnTo>
                  <a:pt x="2466" y="2554"/>
                </a:lnTo>
                <a:lnTo>
                  <a:pt x="2449" y="2559"/>
                </a:lnTo>
                <a:lnTo>
                  <a:pt x="2461" y="2575"/>
                </a:lnTo>
                <a:lnTo>
                  <a:pt x="2449" y="2587"/>
                </a:lnTo>
                <a:lnTo>
                  <a:pt x="2445" y="2575"/>
                </a:lnTo>
                <a:lnTo>
                  <a:pt x="2445" y="2587"/>
                </a:lnTo>
                <a:lnTo>
                  <a:pt x="2435" y="2587"/>
                </a:lnTo>
                <a:lnTo>
                  <a:pt x="2423" y="2570"/>
                </a:lnTo>
                <a:lnTo>
                  <a:pt x="2423" y="2587"/>
                </a:lnTo>
                <a:lnTo>
                  <a:pt x="2449" y="2592"/>
                </a:lnTo>
                <a:lnTo>
                  <a:pt x="2435" y="2615"/>
                </a:lnTo>
                <a:lnTo>
                  <a:pt x="2407" y="2608"/>
                </a:lnTo>
                <a:lnTo>
                  <a:pt x="2411" y="2625"/>
                </a:lnTo>
                <a:lnTo>
                  <a:pt x="2381" y="2625"/>
                </a:lnTo>
                <a:lnTo>
                  <a:pt x="2359" y="2608"/>
                </a:lnTo>
                <a:lnTo>
                  <a:pt x="2374" y="2625"/>
                </a:lnTo>
                <a:lnTo>
                  <a:pt x="2359" y="2632"/>
                </a:lnTo>
                <a:lnTo>
                  <a:pt x="2336" y="2608"/>
                </a:lnTo>
                <a:lnTo>
                  <a:pt x="2326" y="2625"/>
                </a:lnTo>
                <a:lnTo>
                  <a:pt x="2326" y="2632"/>
                </a:lnTo>
                <a:lnTo>
                  <a:pt x="2305" y="2625"/>
                </a:lnTo>
                <a:lnTo>
                  <a:pt x="2298" y="2632"/>
                </a:lnTo>
                <a:lnTo>
                  <a:pt x="2326" y="2641"/>
                </a:lnTo>
                <a:lnTo>
                  <a:pt x="2322" y="2648"/>
                </a:lnTo>
                <a:lnTo>
                  <a:pt x="2336" y="2665"/>
                </a:lnTo>
                <a:lnTo>
                  <a:pt x="2298" y="2686"/>
                </a:lnTo>
                <a:lnTo>
                  <a:pt x="2272" y="2670"/>
                </a:lnTo>
                <a:lnTo>
                  <a:pt x="2267" y="2686"/>
                </a:lnTo>
                <a:lnTo>
                  <a:pt x="2246" y="2681"/>
                </a:lnTo>
                <a:lnTo>
                  <a:pt x="2234" y="2698"/>
                </a:lnTo>
                <a:lnTo>
                  <a:pt x="2272" y="2726"/>
                </a:lnTo>
                <a:lnTo>
                  <a:pt x="2272" y="2752"/>
                </a:lnTo>
                <a:lnTo>
                  <a:pt x="2289" y="2764"/>
                </a:lnTo>
                <a:lnTo>
                  <a:pt x="2260" y="2764"/>
                </a:lnTo>
                <a:lnTo>
                  <a:pt x="2208" y="2776"/>
                </a:lnTo>
                <a:lnTo>
                  <a:pt x="2218" y="2792"/>
                </a:lnTo>
                <a:lnTo>
                  <a:pt x="2272" y="2797"/>
                </a:lnTo>
                <a:lnTo>
                  <a:pt x="2260" y="2814"/>
                </a:lnTo>
                <a:lnTo>
                  <a:pt x="2272" y="2814"/>
                </a:lnTo>
                <a:lnTo>
                  <a:pt x="2284" y="2837"/>
                </a:lnTo>
                <a:lnTo>
                  <a:pt x="2251" y="2837"/>
                </a:lnTo>
                <a:lnTo>
                  <a:pt x="2213" y="2821"/>
                </a:lnTo>
                <a:lnTo>
                  <a:pt x="2208" y="2830"/>
                </a:lnTo>
                <a:lnTo>
                  <a:pt x="2251" y="2847"/>
                </a:lnTo>
                <a:lnTo>
                  <a:pt x="2267" y="2863"/>
                </a:lnTo>
                <a:lnTo>
                  <a:pt x="2246" y="2863"/>
                </a:lnTo>
                <a:lnTo>
                  <a:pt x="2246" y="2870"/>
                </a:lnTo>
                <a:lnTo>
                  <a:pt x="2234" y="2863"/>
                </a:lnTo>
                <a:lnTo>
                  <a:pt x="2246" y="2875"/>
                </a:lnTo>
                <a:lnTo>
                  <a:pt x="2234" y="2875"/>
                </a:lnTo>
                <a:lnTo>
                  <a:pt x="2218" y="2863"/>
                </a:lnTo>
                <a:lnTo>
                  <a:pt x="2230" y="2875"/>
                </a:lnTo>
                <a:lnTo>
                  <a:pt x="2208" y="2863"/>
                </a:lnTo>
                <a:lnTo>
                  <a:pt x="2234" y="2887"/>
                </a:lnTo>
                <a:lnTo>
                  <a:pt x="2196" y="2863"/>
                </a:lnTo>
                <a:lnTo>
                  <a:pt x="2180" y="2870"/>
                </a:lnTo>
                <a:lnTo>
                  <a:pt x="2213" y="2908"/>
                </a:lnTo>
                <a:lnTo>
                  <a:pt x="2208" y="2908"/>
                </a:lnTo>
                <a:lnTo>
                  <a:pt x="2175" y="2892"/>
                </a:lnTo>
                <a:lnTo>
                  <a:pt x="2208" y="2920"/>
                </a:lnTo>
                <a:lnTo>
                  <a:pt x="2196" y="2920"/>
                </a:lnTo>
                <a:lnTo>
                  <a:pt x="2163" y="2903"/>
                </a:lnTo>
                <a:lnTo>
                  <a:pt x="2175" y="2920"/>
                </a:lnTo>
                <a:lnTo>
                  <a:pt x="2208" y="2925"/>
                </a:lnTo>
                <a:lnTo>
                  <a:pt x="2192" y="2941"/>
                </a:lnTo>
                <a:lnTo>
                  <a:pt x="2154" y="2941"/>
                </a:lnTo>
                <a:lnTo>
                  <a:pt x="2154" y="2925"/>
                </a:lnTo>
                <a:lnTo>
                  <a:pt x="2142" y="2932"/>
                </a:lnTo>
                <a:lnTo>
                  <a:pt x="2142" y="2941"/>
                </a:lnTo>
                <a:lnTo>
                  <a:pt x="2137" y="2948"/>
                </a:lnTo>
                <a:lnTo>
                  <a:pt x="2100" y="2948"/>
                </a:lnTo>
                <a:lnTo>
                  <a:pt x="2100" y="2958"/>
                </a:lnTo>
                <a:lnTo>
                  <a:pt x="2154" y="2974"/>
                </a:lnTo>
                <a:lnTo>
                  <a:pt x="2154" y="2981"/>
                </a:lnTo>
                <a:lnTo>
                  <a:pt x="2137" y="2981"/>
                </a:lnTo>
                <a:lnTo>
                  <a:pt x="2163" y="2986"/>
                </a:lnTo>
                <a:lnTo>
                  <a:pt x="2104" y="2974"/>
                </a:lnTo>
                <a:lnTo>
                  <a:pt x="2159" y="3003"/>
                </a:lnTo>
                <a:lnTo>
                  <a:pt x="2154" y="3019"/>
                </a:lnTo>
                <a:lnTo>
                  <a:pt x="2137" y="3036"/>
                </a:lnTo>
                <a:lnTo>
                  <a:pt x="2163" y="3036"/>
                </a:lnTo>
                <a:lnTo>
                  <a:pt x="2159" y="3043"/>
                </a:lnTo>
                <a:lnTo>
                  <a:pt x="2142" y="3043"/>
                </a:lnTo>
                <a:lnTo>
                  <a:pt x="2159" y="3052"/>
                </a:lnTo>
                <a:lnTo>
                  <a:pt x="2154" y="3059"/>
                </a:lnTo>
                <a:lnTo>
                  <a:pt x="2109" y="3059"/>
                </a:lnTo>
                <a:lnTo>
                  <a:pt x="2154" y="3076"/>
                </a:lnTo>
                <a:lnTo>
                  <a:pt x="2142" y="3085"/>
                </a:lnTo>
                <a:lnTo>
                  <a:pt x="2100" y="3076"/>
                </a:lnTo>
                <a:lnTo>
                  <a:pt x="2137" y="3085"/>
                </a:lnTo>
                <a:lnTo>
                  <a:pt x="2142" y="3097"/>
                </a:lnTo>
                <a:lnTo>
                  <a:pt x="2142" y="3109"/>
                </a:lnTo>
                <a:lnTo>
                  <a:pt x="2126" y="3114"/>
                </a:lnTo>
                <a:lnTo>
                  <a:pt x="2088" y="3109"/>
                </a:lnTo>
                <a:lnTo>
                  <a:pt x="2126" y="3114"/>
                </a:lnTo>
                <a:lnTo>
                  <a:pt x="2137" y="3125"/>
                </a:lnTo>
                <a:lnTo>
                  <a:pt x="2100" y="3125"/>
                </a:lnTo>
                <a:lnTo>
                  <a:pt x="2126" y="3130"/>
                </a:lnTo>
                <a:lnTo>
                  <a:pt x="2067" y="3130"/>
                </a:lnTo>
                <a:lnTo>
                  <a:pt x="2126" y="3142"/>
                </a:lnTo>
                <a:lnTo>
                  <a:pt x="2126" y="3147"/>
                </a:lnTo>
                <a:lnTo>
                  <a:pt x="2104" y="3154"/>
                </a:lnTo>
                <a:lnTo>
                  <a:pt x="2071" y="3147"/>
                </a:lnTo>
                <a:lnTo>
                  <a:pt x="2121" y="3163"/>
                </a:lnTo>
                <a:lnTo>
                  <a:pt x="2067" y="3163"/>
                </a:lnTo>
                <a:lnTo>
                  <a:pt x="2121" y="3170"/>
                </a:lnTo>
                <a:lnTo>
                  <a:pt x="2100" y="3180"/>
                </a:lnTo>
                <a:lnTo>
                  <a:pt x="2121" y="3180"/>
                </a:lnTo>
                <a:lnTo>
                  <a:pt x="2109" y="3187"/>
                </a:lnTo>
                <a:lnTo>
                  <a:pt x="2121" y="3187"/>
                </a:lnTo>
                <a:lnTo>
                  <a:pt x="2100" y="3196"/>
                </a:lnTo>
                <a:lnTo>
                  <a:pt x="2083" y="3196"/>
                </a:lnTo>
                <a:lnTo>
                  <a:pt x="2100" y="3203"/>
                </a:lnTo>
                <a:lnTo>
                  <a:pt x="2088" y="3203"/>
                </a:lnTo>
                <a:lnTo>
                  <a:pt x="2067" y="3196"/>
                </a:lnTo>
                <a:lnTo>
                  <a:pt x="2057" y="3170"/>
                </a:lnTo>
                <a:lnTo>
                  <a:pt x="2057" y="3196"/>
                </a:lnTo>
                <a:lnTo>
                  <a:pt x="2019" y="3187"/>
                </a:lnTo>
                <a:lnTo>
                  <a:pt x="2083" y="3203"/>
                </a:lnTo>
                <a:lnTo>
                  <a:pt x="2067" y="3220"/>
                </a:lnTo>
                <a:lnTo>
                  <a:pt x="2100" y="3208"/>
                </a:lnTo>
                <a:lnTo>
                  <a:pt x="2100" y="3225"/>
                </a:lnTo>
                <a:lnTo>
                  <a:pt x="2083" y="3225"/>
                </a:lnTo>
                <a:lnTo>
                  <a:pt x="2100" y="3225"/>
                </a:lnTo>
                <a:lnTo>
                  <a:pt x="2100" y="3241"/>
                </a:lnTo>
                <a:lnTo>
                  <a:pt x="2029" y="3236"/>
                </a:lnTo>
                <a:lnTo>
                  <a:pt x="2033" y="3220"/>
                </a:lnTo>
                <a:lnTo>
                  <a:pt x="2029" y="3208"/>
                </a:lnTo>
                <a:lnTo>
                  <a:pt x="2029" y="3220"/>
                </a:lnTo>
                <a:lnTo>
                  <a:pt x="2003" y="3236"/>
                </a:lnTo>
                <a:lnTo>
                  <a:pt x="1991" y="3253"/>
                </a:lnTo>
                <a:lnTo>
                  <a:pt x="1948" y="3241"/>
                </a:lnTo>
                <a:lnTo>
                  <a:pt x="1958" y="3236"/>
                </a:lnTo>
                <a:lnTo>
                  <a:pt x="1974" y="3236"/>
                </a:lnTo>
                <a:lnTo>
                  <a:pt x="2003" y="3196"/>
                </a:lnTo>
                <a:lnTo>
                  <a:pt x="1974" y="3225"/>
                </a:lnTo>
                <a:lnTo>
                  <a:pt x="1948" y="3236"/>
                </a:lnTo>
                <a:lnTo>
                  <a:pt x="1991" y="3170"/>
                </a:lnTo>
                <a:lnTo>
                  <a:pt x="1948" y="3203"/>
                </a:lnTo>
                <a:lnTo>
                  <a:pt x="1944" y="3196"/>
                </a:lnTo>
                <a:lnTo>
                  <a:pt x="1958" y="3180"/>
                </a:lnTo>
                <a:lnTo>
                  <a:pt x="1927" y="3203"/>
                </a:lnTo>
                <a:lnTo>
                  <a:pt x="1944" y="3180"/>
                </a:lnTo>
                <a:lnTo>
                  <a:pt x="1927" y="3203"/>
                </a:lnTo>
                <a:lnTo>
                  <a:pt x="1911" y="3187"/>
                </a:lnTo>
                <a:lnTo>
                  <a:pt x="1920" y="3187"/>
                </a:lnTo>
                <a:lnTo>
                  <a:pt x="1894" y="3187"/>
                </a:lnTo>
                <a:lnTo>
                  <a:pt x="1920" y="3180"/>
                </a:lnTo>
                <a:lnTo>
                  <a:pt x="1906" y="3180"/>
                </a:lnTo>
                <a:lnTo>
                  <a:pt x="1948" y="3154"/>
                </a:lnTo>
                <a:lnTo>
                  <a:pt x="1937" y="3142"/>
                </a:lnTo>
                <a:lnTo>
                  <a:pt x="1920" y="3170"/>
                </a:lnTo>
                <a:lnTo>
                  <a:pt x="1906" y="3170"/>
                </a:lnTo>
                <a:lnTo>
                  <a:pt x="1911" y="3163"/>
                </a:lnTo>
                <a:lnTo>
                  <a:pt x="1906" y="3163"/>
                </a:lnTo>
                <a:lnTo>
                  <a:pt x="1889" y="3170"/>
                </a:lnTo>
                <a:lnTo>
                  <a:pt x="1882" y="3170"/>
                </a:lnTo>
                <a:lnTo>
                  <a:pt x="1894" y="3154"/>
                </a:lnTo>
                <a:lnTo>
                  <a:pt x="1927" y="3147"/>
                </a:lnTo>
                <a:lnTo>
                  <a:pt x="1948" y="3125"/>
                </a:lnTo>
                <a:lnTo>
                  <a:pt x="1937" y="3130"/>
                </a:lnTo>
                <a:lnTo>
                  <a:pt x="1927" y="3114"/>
                </a:lnTo>
                <a:lnTo>
                  <a:pt x="1927" y="3130"/>
                </a:lnTo>
                <a:lnTo>
                  <a:pt x="1920" y="3142"/>
                </a:lnTo>
                <a:lnTo>
                  <a:pt x="1889" y="3154"/>
                </a:lnTo>
                <a:lnTo>
                  <a:pt x="1889" y="3147"/>
                </a:lnTo>
                <a:lnTo>
                  <a:pt x="1920" y="3130"/>
                </a:lnTo>
                <a:lnTo>
                  <a:pt x="1906" y="3114"/>
                </a:lnTo>
                <a:lnTo>
                  <a:pt x="1911" y="3109"/>
                </a:lnTo>
                <a:lnTo>
                  <a:pt x="1894" y="3114"/>
                </a:lnTo>
                <a:lnTo>
                  <a:pt x="1906" y="3125"/>
                </a:lnTo>
                <a:lnTo>
                  <a:pt x="1906" y="3130"/>
                </a:lnTo>
                <a:lnTo>
                  <a:pt x="1882" y="3147"/>
                </a:lnTo>
                <a:lnTo>
                  <a:pt x="1868" y="3130"/>
                </a:lnTo>
                <a:lnTo>
                  <a:pt x="1856" y="3154"/>
                </a:lnTo>
                <a:lnTo>
                  <a:pt x="1835" y="3147"/>
                </a:lnTo>
                <a:lnTo>
                  <a:pt x="1840" y="3154"/>
                </a:lnTo>
                <a:lnTo>
                  <a:pt x="1835" y="3163"/>
                </a:lnTo>
                <a:lnTo>
                  <a:pt x="1830" y="3147"/>
                </a:lnTo>
                <a:lnTo>
                  <a:pt x="1764" y="3154"/>
                </a:lnTo>
                <a:lnTo>
                  <a:pt x="1802" y="3154"/>
                </a:lnTo>
                <a:lnTo>
                  <a:pt x="1797" y="3163"/>
                </a:lnTo>
                <a:lnTo>
                  <a:pt x="1743" y="3163"/>
                </a:lnTo>
                <a:lnTo>
                  <a:pt x="1731" y="3163"/>
                </a:lnTo>
                <a:lnTo>
                  <a:pt x="1776" y="3142"/>
                </a:lnTo>
                <a:lnTo>
                  <a:pt x="1726" y="3147"/>
                </a:lnTo>
                <a:lnTo>
                  <a:pt x="1764" y="3142"/>
                </a:lnTo>
                <a:lnTo>
                  <a:pt x="1764" y="3130"/>
                </a:lnTo>
                <a:lnTo>
                  <a:pt x="1748" y="3130"/>
                </a:lnTo>
                <a:lnTo>
                  <a:pt x="1743" y="3125"/>
                </a:lnTo>
                <a:lnTo>
                  <a:pt x="1759" y="3109"/>
                </a:lnTo>
                <a:lnTo>
                  <a:pt x="1748" y="3109"/>
                </a:lnTo>
                <a:lnTo>
                  <a:pt x="1731" y="3114"/>
                </a:lnTo>
                <a:lnTo>
                  <a:pt x="1743" y="3130"/>
                </a:lnTo>
                <a:lnTo>
                  <a:pt x="1726" y="3130"/>
                </a:lnTo>
                <a:lnTo>
                  <a:pt x="1726" y="3125"/>
                </a:lnTo>
                <a:lnTo>
                  <a:pt x="1731" y="3125"/>
                </a:lnTo>
                <a:lnTo>
                  <a:pt x="1710" y="3125"/>
                </a:lnTo>
                <a:lnTo>
                  <a:pt x="1726" y="3109"/>
                </a:lnTo>
                <a:lnTo>
                  <a:pt x="1679" y="3097"/>
                </a:lnTo>
                <a:lnTo>
                  <a:pt x="1743" y="3085"/>
                </a:lnTo>
                <a:lnTo>
                  <a:pt x="1726" y="3076"/>
                </a:lnTo>
                <a:lnTo>
                  <a:pt x="1689" y="3092"/>
                </a:lnTo>
                <a:lnTo>
                  <a:pt x="1667" y="3085"/>
                </a:lnTo>
                <a:lnTo>
                  <a:pt x="1710" y="3076"/>
                </a:lnTo>
                <a:lnTo>
                  <a:pt x="1689" y="3076"/>
                </a:lnTo>
                <a:lnTo>
                  <a:pt x="1679" y="3076"/>
                </a:lnTo>
                <a:lnTo>
                  <a:pt x="1679" y="3059"/>
                </a:lnTo>
                <a:lnTo>
                  <a:pt x="1672" y="3069"/>
                </a:lnTo>
                <a:lnTo>
                  <a:pt x="1679" y="3052"/>
                </a:lnTo>
                <a:lnTo>
                  <a:pt x="1705" y="3036"/>
                </a:lnTo>
                <a:lnTo>
                  <a:pt x="1689" y="3036"/>
                </a:lnTo>
                <a:lnTo>
                  <a:pt x="1672" y="3052"/>
                </a:lnTo>
                <a:lnTo>
                  <a:pt x="1667" y="3069"/>
                </a:lnTo>
                <a:lnTo>
                  <a:pt x="1656" y="3059"/>
                </a:lnTo>
                <a:lnTo>
                  <a:pt x="1672" y="3043"/>
                </a:lnTo>
                <a:lnTo>
                  <a:pt x="1656" y="3052"/>
                </a:lnTo>
                <a:lnTo>
                  <a:pt x="1656" y="3036"/>
                </a:lnTo>
                <a:lnTo>
                  <a:pt x="1693" y="3031"/>
                </a:lnTo>
                <a:lnTo>
                  <a:pt x="1679" y="3019"/>
                </a:lnTo>
                <a:lnTo>
                  <a:pt x="1679" y="3014"/>
                </a:lnTo>
                <a:lnTo>
                  <a:pt x="1672" y="3031"/>
                </a:lnTo>
                <a:lnTo>
                  <a:pt x="1634" y="3036"/>
                </a:lnTo>
                <a:lnTo>
                  <a:pt x="1634" y="3019"/>
                </a:lnTo>
                <a:lnTo>
                  <a:pt x="1656" y="3019"/>
                </a:lnTo>
                <a:lnTo>
                  <a:pt x="1667" y="3014"/>
                </a:lnTo>
                <a:lnTo>
                  <a:pt x="1641" y="3014"/>
                </a:lnTo>
                <a:lnTo>
                  <a:pt x="1656" y="3003"/>
                </a:lnTo>
                <a:lnTo>
                  <a:pt x="1625" y="3003"/>
                </a:lnTo>
                <a:lnTo>
                  <a:pt x="1596" y="2981"/>
                </a:lnTo>
                <a:lnTo>
                  <a:pt x="1596" y="2958"/>
                </a:lnTo>
                <a:lnTo>
                  <a:pt x="1618" y="2941"/>
                </a:lnTo>
                <a:lnTo>
                  <a:pt x="1596" y="2958"/>
                </a:lnTo>
                <a:lnTo>
                  <a:pt x="1604" y="2925"/>
                </a:lnTo>
                <a:lnTo>
                  <a:pt x="1634" y="2920"/>
                </a:lnTo>
                <a:lnTo>
                  <a:pt x="1604" y="2925"/>
                </a:lnTo>
                <a:lnTo>
                  <a:pt x="1587" y="2948"/>
                </a:lnTo>
                <a:lnTo>
                  <a:pt x="1587" y="2925"/>
                </a:lnTo>
                <a:lnTo>
                  <a:pt x="1604" y="2920"/>
                </a:lnTo>
                <a:lnTo>
                  <a:pt x="1570" y="2925"/>
                </a:lnTo>
                <a:lnTo>
                  <a:pt x="1570" y="2908"/>
                </a:lnTo>
                <a:lnTo>
                  <a:pt x="1613" y="2892"/>
                </a:lnTo>
                <a:lnTo>
                  <a:pt x="1549" y="2908"/>
                </a:lnTo>
                <a:lnTo>
                  <a:pt x="1559" y="2892"/>
                </a:lnTo>
                <a:lnTo>
                  <a:pt x="1542" y="2903"/>
                </a:lnTo>
                <a:lnTo>
                  <a:pt x="1533" y="2887"/>
                </a:lnTo>
                <a:lnTo>
                  <a:pt x="1596" y="2875"/>
                </a:lnTo>
                <a:lnTo>
                  <a:pt x="1542" y="2875"/>
                </a:lnTo>
                <a:lnTo>
                  <a:pt x="1528" y="2870"/>
                </a:lnTo>
                <a:lnTo>
                  <a:pt x="1566" y="2863"/>
                </a:lnTo>
                <a:lnTo>
                  <a:pt x="1542" y="2863"/>
                </a:lnTo>
                <a:lnTo>
                  <a:pt x="1533" y="2854"/>
                </a:lnTo>
                <a:lnTo>
                  <a:pt x="1570" y="2854"/>
                </a:lnTo>
                <a:lnTo>
                  <a:pt x="1580" y="2847"/>
                </a:lnTo>
                <a:lnTo>
                  <a:pt x="1542" y="2847"/>
                </a:lnTo>
                <a:lnTo>
                  <a:pt x="1533" y="2854"/>
                </a:lnTo>
                <a:lnTo>
                  <a:pt x="1533" y="2863"/>
                </a:lnTo>
                <a:lnTo>
                  <a:pt x="1504" y="2837"/>
                </a:lnTo>
                <a:lnTo>
                  <a:pt x="1549" y="2814"/>
                </a:lnTo>
                <a:lnTo>
                  <a:pt x="1511" y="2830"/>
                </a:lnTo>
                <a:lnTo>
                  <a:pt x="1511" y="2821"/>
                </a:lnTo>
                <a:lnTo>
                  <a:pt x="1516" y="2821"/>
                </a:lnTo>
                <a:lnTo>
                  <a:pt x="1516" y="2814"/>
                </a:lnTo>
                <a:lnTo>
                  <a:pt x="1495" y="2809"/>
                </a:lnTo>
                <a:lnTo>
                  <a:pt x="1613" y="2781"/>
                </a:lnTo>
                <a:lnTo>
                  <a:pt x="1570" y="2781"/>
                </a:lnTo>
                <a:lnTo>
                  <a:pt x="1580" y="2776"/>
                </a:lnTo>
                <a:lnTo>
                  <a:pt x="1511" y="2797"/>
                </a:lnTo>
                <a:lnTo>
                  <a:pt x="1495" y="2792"/>
                </a:lnTo>
                <a:lnTo>
                  <a:pt x="1516" y="2792"/>
                </a:lnTo>
                <a:lnTo>
                  <a:pt x="1490" y="2781"/>
                </a:lnTo>
                <a:lnTo>
                  <a:pt x="1549" y="2781"/>
                </a:lnTo>
                <a:lnTo>
                  <a:pt x="1559" y="2776"/>
                </a:lnTo>
                <a:lnTo>
                  <a:pt x="1542" y="2776"/>
                </a:lnTo>
                <a:lnTo>
                  <a:pt x="1559" y="2759"/>
                </a:lnTo>
                <a:lnTo>
                  <a:pt x="1587" y="2764"/>
                </a:lnTo>
                <a:lnTo>
                  <a:pt x="1604" y="2759"/>
                </a:lnTo>
                <a:lnTo>
                  <a:pt x="1570" y="2759"/>
                </a:lnTo>
                <a:lnTo>
                  <a:pt x="1570" y="2752"/>
                </a:lnTo>
                <a:lnTo>
                  <a:pt x="1580" y="2743"/>
                </a:lnTo>
                <a:lnTo>
                  <a:pt x="1549" y="2736"/>
                </a:lnTo>
                <a:lnTo>
                  <a:pt x="1580" y="2726"/>
                </a:lnTo>
                <a:lnTo>
                  <a:pt x="1566" y="2726"/>
                </a:lnTo>
                <a:lnTo>
                  <a:pt x="1580" y="2726"/>
                </a:lnTo>
                <a:lnTo>
                  <a:pt x="1596" y="2726"/>
                </a:lnTo>
                <a:lnTo>
                  <a:pt x="1604" y="2752"/>
                </a:lnTo>
                <a:lnTo>
                  <a:pt x="1641" y="2764"/>
                </a:lnTo>
                <a:lnTo>
                  <a:pt x="1613" y="2743"/>
                </a:lnTo>
                <a:lnTo>
                  <a:pt x="1604" y="2736"/>
                </a:lnTo>
                <a:lnTo>
                  <a:pt x="1618" y="2726"/>
                </a:lnTo>
                <a:lnTo>
                  <a:pt x="1596" y="2726"/>
                </a:lnTo>
                <a:lnTo>
                  <a:pt x="1613" y="2703"/>
                </a:lnTo>
                <a:lnTo>
                  <a:pt x="1596" y="2719"/>
                </a:lnTo>
                <a:lnTo>
                  <a:pt x="1570" y="2719"/>
                </a:lnTo>
                <a:lnTo>
                  <a:pt x="1566" y="2698"/>
                </a:lnTo>
                <a:lnTo>
                  <a:pt x="1549" y="2665"/>
                </a:lnTo>
                <a:lnTo>
                  <a:pt x="1549" y="2698"/>
                </a:lnTo>
                <a:lnTo>
                  <a:pt x="1566" y="2698"/>
                </a:lnTo>
                <a:lnTo>
                  <a:pt x="1570" y="2719"/>
                </a:lnTo>
                <a:lnTo>
                  <a:pt x="1533" y="2736"/>
                </a:lnTo>
                <a:lnTo>
                  <a:pt x="1528" y="2736"/>
                </a:lnTo>
                <a:lnTo>
                  <a:pt x="1542" y="2719"/>
                </a:lnTo>
                <a:lnTo>
                  <a:pt x="1528" y="2719"/>
                </a:lnTo>
                <a:lnTo>
                  <a:pt x="1495" y="2776"/>
                </a:lnTo>
                <a:lnTo>
                  <a:pt x="1474" y="2781"/>
                </a:lnTo>
                <a:lnTo>
                  <a:pt x="1474" y="2759"/>
                </a:lnTo>
                <a:lnTo>
                  <a:pt x="1462" y="2759"/>
                </a:lnTo>
                <a:lnTo>
                  <a:pt x="1474" y="2736"/>
                </a:lnTo>
                <a:lnTo>
                  <a:pt x="1462" y="2726"/>
                </a:lnTo>
                <a:lnTo>
                  <a:pt x="1504" y="2710"/>
                </a:lnTo>
                <a:lnTo>
                  <a:pt x="1528" y="2686"/>
                </a:lnTo>
                <a:lnTo>
                  <a:pt x="1495" y="2703"/>
                </a:lnTo>
                <a:lnTo>
                  <a:pt x="1504" y="2698"/>
                </a:lnTo>
                <a:lnTo>
                  <a:pt x="1495" y="2686"/>
                </a:lnTo>
                <a:lnTo>
                  <a:pt x="1478" y="2710"/>
                </a:lnTo>
                <a:lnTo>
                  <a:pt x="1462" y="2710"/>
                </a:lnTo>
                <a:lnTo>
                  <a:pt x="1478" y="2703"/>
                </a:lnTo>
                <a:lnTo>
                  <a:pt x="1474" y="2703"/>
                </a:lnTo>
                <a:lnTo>
                  <a:pt x="1457" y="2710"/>
                </a:lnTo>
                <a:lnTo>
                  <a:pt x="1457" y="2703"/>
                </a:lnTo>
                <a:lnTo>
                  <a:pt x="1474" y="2698"/>
                </a:lnTo>
                <a:lnTo>
                  <a:pt x="1457" y="2681"/>
                </a:lnTo>
                <a:lnTo>
                  <a:pt x="1462" y="2665"/>
                </a:lnTo>
                <a:lnTo>
                  <a:pt x="1452" y="2665"/>
                </a:lnTo>
                <a:lnTo>
                  <a:pt x="1457" y="2653"/>
                </a:lnTo>
                <a:lnTo>
                  <a:pt x="1441" y="2670"/>
                </a:lnTo>
                <a:lnTo>
                  <a:pt x="1436" y="2653"/>
                </a:lnTo>
                <a:lnTo>
                  <a:pt x="1495" y="2625"/>
                </a:lnTo>
                <a:lnTo>
                  <a:pt x="1478" y="2615"/>
                </a:lnTo>
                <a:lnTo>
                  <a:pt x="1495" y="2608"/>
                </a:lnTo>
                <a:lnTo>
                  <a:pt x="1528" y="2599"/>
                </a:lnTo>
                <a:lnTo>
                  <a:pt x="1580" y="2608"/>
                </a:lnTo>
                <a:lnTo>
                  <a:pt x="1511" y="2599"/>
                </a:lnTo>
                <a:lnTo>
                  <a:pt x="1478" y="2615"/>
                </a:lnTo>
                <a:lnTo>
                  <a:pt x="1478" y="2625"/>
                </a:lnTo>
                <a:lnTo>
                  <a:pt x="1441" y="2648"/>
                </a:lnTo>
                <a:lnTo>
                  <a:pt x="1436" y="2632"/>
                </a:lnTo>
                <a:lnTo>
                  <a:pt x="1441" y="2615"/>
                </a:lnTo>
                <a:lnTo>
                  <a:pt x="1424" y="2632"/>
                </a:lnTo>
                <a:lnTo>
                  <a:pt x="1419" y="2625"/>
                </a:lnTo>
                <a:lnTo>
                  <a:pt x="1436" y="2615"/>
                </a:lnTo>
                <a:lnTo>
                  <a:pt x="1419" y="2615"/>
                </a:lnTo>
                <a:lnTo>
                  <a:pt x="1424" y="2592"/>
                </a:lnTo>
                <a:lnTo>
                  <a:pt x="1419" y="2608"/>
                </a:lnTo>
                <a:lnTo>
                  <a:pt x="1386" y="2608"/>
                </a:lnTo>
                <a:lnTo>
                  <a:pt x="1408" y="2592"/>
                </a:lnTo>
                <a:lnTo>
                  <a:pt x="1386" y="2599"/>
                </a:lnTo>
                <a:lnTo>
                  <a:pt x="1424" y="2575"/>
                </a:lnTo>
                <a:lnTo>
                  <a:pt x="1452" y="2587"/>
                </a:lnTo>
                <a:lnTo>
                  <a:pt x="1478" y="2570"/>
                </a:lnTo>
                <a:lnTo>
                  <a:pt x="1490" y="2575"/>
                </a:lnTo>
                <a:lnTo>
                  <a:pt x="1490" y="2570"/>
                </a:lnTo>
                <a:lnTo>
                  <a:pt x="1452" y="2587"/>
                </a:lnTo>
                <a:lnTo>
                  <a:pt x="1436" y="2575"/>
                </a:lnTo>
                <a:lnTo>
                  <a:pt x="1398" y="2592"/>
                </a:lnTo>
                <a:lnTo>
                  <a:pt x="1386" y="2587"/>
                </a:lnTo>
                <a:lnTo>
                  <a:pt x="1408" y="2570"/>
                </a:lnTo>
                <a:lnTo>
                  <a:pt x="1386" y="2575"/>
                </a:lnTo>
                <a:lnTo>
                  <a:pt x="1370" y="2575"/>
                </a:lnTo>
                <a:lnTo>
                  <a:pt x="1398" y="2570"/>
                </a:lnTo>
                <a:lnTo>
                  <a:pt x="1370" y="2570"/>
                </a:lnTo>
                <a:lnTo>
                  <a:pt x="1474" y="2514"/>
                </a:lnTo>
                <a:lnTo>
                  <a:pt x="1478" y="2497"/>
                </a:lnTo>
                <a:lnTo>
                  <a:pt x="1528" y="2476"/>
                </a:lnTo>
                <a:lnTo>
                  <a:pt x="1587" y="2476"/>
                </a:lnTo>
                <a:lnTo>
                  <a:pt x="1542" y="2464"/>
                </a:lnTo>
                <a:lnTo>
                  <a:pt x="1566" y="2448"/>
                </a:lnTo>
                <a:lnTo>
                  <a:pt x="1613" y="2459"/>
                </a:lnTo>
                <a:lnTo>
                  <a:pt x="1570" y="2448"/>
                </a:lnTo>
                <a:lnTo>
                  <a:pt x="1587" y="2443"/>
                </a:lnTo>
                <a:lnTo>
                  <a:pt x="1533" y="2464"/>
                </a:lnTo>
                <a:lnTo>
                  <a:pt x="1403" y="2554"/>
                </a:lnTo>
                <a:lnTo>
                  <a:pt x="1370" y="2559"/>
                </a:lnTo>
                <a:lnTo>
                  <a:pt x="1353" y="2554"/>
                </a:lnTo>
                <a:lnTo>
                  <a:pt x="1398" y="2537"/>
                </a:lnTo>
                <a:lnTo>
                  <a:pt x="1365" y="2542"/>
                </a:lnTo>
                <a:lnTo>
                  <a:pt x="1353" y="2537"/>
                </a:lnTo>
                <a:lnTo>
                  <a:pt x="1353" y="2514"/>
                </a:lnTo>
                <a:lnTo>
                  <a:pt x="1441" y="2504"/>
                </a:lnTo>
                <a:lnTo>
                  <a:pt x="1386" y="2504"/>
                </a:lnTo>
                <a:lnTo>
                  <a:pt x="1370" y="2497"/>
                </a:lnTo>
                <a:lnTo>
                  <a:pt x="1436" y="2488"/>
                </a:lnTo>
                <a:lnTo>
                  <a:pt x="1386" y="2481"/>
                </a:lnTo>
                <a:lnTo>
                  <a:pt x="1419" y="2481"/>
                </a:lnTo>
                <a:lnTo>
                  <a:pt x="1398" y="2481"/>
                </a:lnTo>
                <a:lnTo>
                  <a:pt x="1403" y="2476"/>
                </a:lnTo>
                <a:lnTo>
                  <a:pt x="1457" y="2476"/>
                </a:lnTo>
                <a:lnTo>
                  <a:pt x="1441" y="2464"/>
                </a:lnTo>
                <a:lnTo>
                  <a:pt x="1353" y="2464"/>
                </a:lnTo>
                <a:lnTo>
                  <a:pt x="1348" y="2459"/>
                </a:lnTo>
                <a:lnTo>
                  <a:pt x="1386" y="2448"/>
                </a:lnTo>
                <a:lnTo>
                  <a:pt x="1348" y="2443"/>
                </a:lnTo>
                <a:lnTo>
                  <a:pt x="1382" y="2443"/>
                </a:lnTo>
                <a:lnTo>
                  <a:pt x="1332" y="2443"/>
                </a:lnTo>
                <a:lnTo>
                  <a:pt x="1348" y="2431"/>
                </a:lnTo>
                <a:lnTo>
                  <a:pt x="1382" y="2426"/>
                </a:lnTo>
                <a:lnTo>
                  <a:pt x="1365" y="2426"/>
                </a:lnTo>
                <a:lnTo>
                  <a:pt x="1462" y="2410"/>
                </a:lnTo>
                <a:lnTo>
                  <a:pt x="1511" y="2410"/>
                </a:lnTo>
                <a:lnTo>
                  <a:pt x="1533" y="2431"/>
                </a:lnTo>
                <a:lnTo>
                  <a:pt x="1587" y="2431"/>
                </a:lnTo>
                <a:lnTo>
                  <a:pt x="1533" y="2431"/>
                </a:lnTo>
                <a:lnTo>
                  <a:pt x="1511" y="2410"/>
                </a:lnTo>
                <a:lnTo>
                  <a:pt x="1533" y="2403"/>
                </a:lnTo>
                <a:lnTo>
                  <a:pt x="1386" y="2410"/>
                </a:lnTo>
                <a:lnTo>
                  <a:pt x="1348" y="2426"/>
                </a:lnTo>
                <a:lnTo>
                  <a:pt x="1344" y="2419"/>
                </a:lnTo>
                <a:lnTo>
                  <a:pt x="1353" y="2393"/>
                </a:lnTo>
                <a:lnTo>
                  <a:pt x="1408" y="2370"/>
                </a:lnTo>
                <a:lnTo>
                  <a:pt x="1398" y="2370"/>
                </a:lnTo>
                <a:lnTo>
                  <a:pt x="1403" y="2370"/>
                </a:lnTo>
                <a:lnTo>
                  <a:pt x="1436" y="2365"/>
                </a:lnTo>
                <a:lnTo>
                  <a:pt x="1419" y="2365"/>
                </a:lnTo>
                <a:lnTo>
                  <a:pt x="1441" y="2365"/>
                </a:lnTo>
                <a:lnTo>
                  <a:pt x="1490" y="2377"/>
                </a:lnTo>
                <a:lnTo>
                  <a:pt x="1516" y="2370"/>
                </a:lnTo>
                <a:lnTo>
                  <a:pt x="1566" y="2393"/>
                </a:lnTo>
                <a:lnTo>
                  <a:pt x="1604" y="2393"/>
                </a:lnTo>
                <a:lnTo>
                  <a:pt x="1613" y="2386"/>
                </a:lnTo>
                <a:lnTo>
                  <a:pt x="1570" y="2393"/>
                </a:lnTo>
                <a:lnTo>
                  <a:pt x="1559" y="2377"/>
                </a:lnTo>
                <a:lnTo>
                  <a:pt x="1596" y="2365"/>
                </a:lnTo>
                <a:lnTo>
                  <a:pt x="1618" y="2370"/>
                </a:lnTo>
                <a:lnTo>
                  <a:pt x="1596" y="2365"/>
                </a:lnTo>
                <a:lnTo>
                  <a:pt x="1542" y="2377"/>
                </a:lnTo>
                <a:lnTo>
                  <a:pt x="1528" y="2365"/>
                </a:lnTo>
                <a:lnTo>
                  <a:pt x="1587" y="2348"/>
                </a:lnTo>
                <a:lnTo>
                  <a:pt x="1559" y="2337"/>
                </a:lnTo>
                <a:lnTo>
                  <a:pt x="1559" y="2348"/>
                </a:lnTo>
                <a:lnTo>
                  <a:pt x="1566" y="2348"/>
                </a:lnTo>
                <a:lnTo>
                  <a:pt x="1533" y="2365"/>
                </a:lnTo>
                <a:lnTo>
                  <a:pt x="1516" y="2348"/>
                </a:lnTo>
                <a:lnTo>
                  <a:pt x="1549" y="2348"/>
                </a:lnTo>
                <a:lnTo>
                  <a:pt x="1542" y="2332"/>
                </a:lnTo>
                <a:lnTo>
                  <a:pt x="1504" y="2337"/>
                </a:lnTo>
                <a:lnTo>
                  <a:pt x="1516" y="2353"/>
                </a:lnTo>
                <a:lnTo>
                  <a:pt x="1495" y="2370"/>
                </a:lnTo>
                <a:lnTo>
                  <a:pt x="1490" y="2365"/>
                </a:lnTo>
                <a:lnTo>
                  <a:pt x="1504" y="2353"/>
                </a:lnTo>
                <a:lnTo>
                  <a:pt x="1452" y="2353"/>
                </a:lnTo>
                <a:lnTo>
                  <a:pt x="1504" y="2332"/>
                </a:lnTo>
                <a:lnTo>
                  <a:pt x="1403" y="2365"/>
                </a:lnTo>
                <a:lnTo>
                  <a:pt x="1365" y="2386"/>
                </a:lnTo>
                <a:lnTo>
                  <a:pt x="1353" y="2386"/>
                </a:lnTo>
                <a:lnTo>
                  <a:pt x="1348" y="2377"/>
                </a:lnTo>
                <a:lnTo>
                  <a:pt x="1365" y="2370"/>
                </a:lnTo>
                <a:lnTo>
                  <a:pt x="1353" y="2353"/>
                </a:lnTo>
                <a:lnTo>
                  <a:pt x="1382" y="2353"/>
                </a:lnTo>
                <a:lnTo>
                  <a:pt x="1370" y="2348"/>
                </a:lnTo>
                <a:lnTo>
                  <a:pt x="1386" y="2353"/>
                </a:lnTo>
                <a:lnTo>
                  <a:pt x="1403" y="2348"/>
                </a:lnTo>
                <a:lnTo>
                  <a:pt x="1386" y="2348"/>
                </a:lnTo>
                <a:lnTo>
                  <a:pt x="1386" y="2337"/>
                </a:lnTo>
                <a:lnTo>
                  <a:pt x="1408" y="2332"/>
                </a:lnTo>
                <a:lnTo>
                  <a:pt x="1386" y="2332"/>
                </a:lnTo>
                <a:lnTo>
                  <a:pt x="1386" y="2320"/>
                </a:lnTo>
                <a:lnTo>
                  <a:pt x="1457" y="2337"/>
                </a:lnTo>
                <a:lnTo>
                  <a:pt x="1474" y="2332"/>
                </a:lnTo>
                <a:lnTo>
                  <a:pt x="1424" y="2332"/>
                </a:lnTo>
                <a:lnTo>
                  <a:pt x="1398" y="2315"/>
                </a:lnTo>
                <a:lnTo>
                  <a:pt x="1370" y="2315"/>
                </a:lnTo>
                <a:lnTo>
                  <a:pt x="1382" y="2308"/>
                </a:lnTo>
                <a:lnTo>
                  <a:pt x="1452" y="2320"/>
                </a:lnTo>
                <a:lnTo>
                  <a:pt x="1419" y="2308"/>
                </a:lnTo>
                <a:lnTo>
                  <a:pt x="1490" y="2320"/>
                </a:lnTo>
                <a:lnTo>
                  <a:pt x="1533" y="2320"/>
                </a:lnTo>
                <a:lnTo>
                  <a:pt x="1570" y="2337"/>
                </a:lnTo>
                <a:lnTo>
                  <a:pt x="1604" y="2337"/>
                </a:lnTo>
                <a:lnTo>
                  <a:pt x="1511" y="2308"/>
                </a:lnTo>
                <a:lnTo>
                  <a:pt x="1549" y="2308"/>
                </a:lnTo>
                <a:lnTo>
                  <a:pt x="1528" y="2299"/>
                </a:lnTo>
                <a:lnTo>
                  <a:pt x="1533" y="2292"/>
                </a:lnTo>
                <a:lnTo>
                  <a:pt x="1533" y="2282"/>
                </a:lnTo>
                <a:lnTo>
                  <a:pt x="1559" y="2266"/>
                </a:lnTo>
                <a:lnTo>
                  <a:pt x="1504" y="2275"/>
                </a:lnTo>
                <a:lnTo>
                  <a:pt x="1528" y="2292"/>
                </a:lnTo>
                <a:lnTo>
                  <a:pt x="1441" y="2308"/>
                </a:lnTo>
                <a:lnTo>
                  <a:pt x="1441" y="2308"/>
                </a:lnTo>
                <a:lnTo>
                  <a:pt x="1441" y="2308"/>
                </a:lnTo>
                <a:close/>
                <a:moveTo>
                  <a:pt x="2343" y="45"/>
                </a:moveTo>
                <a:lnTo>
                  <a:pt x="2374" y="41"/>
                </a:lnTo>
                <a:lnTo>
                  <a:pt x="2390" y="57"/>
                </a:lnTo>
                <a:lnTo>
                  <a:pt x="2343" y="45"/>
                </a:lnTo>
                <a:lnTo>
                  <a:pt x="2343" y="45"/>
                </a:lnTo>
                <a:lnTo>
                  <a:pt x="2343" y="45"/>
                </a:lnTo>
                <a:close/>
                <a:moveTo>
                  <a:pt x="2390" y="83"/>
                </a:moveTo>
                <a:lnTo>
                  <a:pt x="2267" y="62"/>
                </a:lnTo>
                <a:lnTo>
                  <a:pt x="2298" y="45"/>
                </a:lnTo>
                <a:lnTo>
                  <a:pt x="2411" y="83"/>
                </a:lnTo>
                <a:lnTo>
                  <a:pt x="2390" y="83"/>
                </a:lnTo>
                <a:lnTo>
                  <a:pt x="2390" y="83"/>
                </a:lnTo>
                <a:lnTo>
                  <a:pt x="2390" y="83"/>
                </a:lnTo>
                <a:close/>
                <a:moveTo>
                  <a:pt x="2284" y="67"/>
                </a:moveTo>
                <a:lnTo>
                  <a:pt x="2315" y="67"/>
                </a:lnTo>
                <a:lnTo>
                  <a:pt x="2272" y="67"/>
                </a:lnTo>
                <a:lnTo>
                  <a:pt x="2284" y="67"/>
                </a:lnTo>
                <a:lnTo>
                  <a:pt x="2284" y="67"/>
                </a:lnTo>
                <a:lnTo>
                  <a:pt x="2284" y="67"/>
                </a:lnTo>
                <a:close/>
                <a:moveTo>
                  <a:pt x="2411" y="83"/>
                </a:moveTo>
                <a:lnTo>
                  <a:pt x="2411" y="78"/>
                </a:lnTo>
                <a:lnTo>
                  <a:pt x="2449" y="83"/>
                </a:lnTo>
                <a:lnTo>
                  <a:pt x="2411" y="83"/>
                </a:lnTo>
                <a:lnTo>
                  <a:pt x="2411" y="83"/>
                </a:lnTo>
                <a:lnTo>
                  <a:pt x="2411" y="83"/>
                </a:lnTo>
                <a:close/>
                <a:moveTo>
                  <a:pt x="2322" y="116"/>
                </a:moveTo>
                <a:lnTo>
                  <a:pt x="2213" y="78"/>
                </a:lnTo>
                <a:lnTo>
                  <a:pt x="2260" y="78"/>
                </a:lnTo>
                <a:lnTo>
                  <a:pt x="2322" y="116"/>
                </a:lnTo>
                <a:lnTo>
                  <a:pt x="2322" y="116"/>
                </a:lnTo>
                <a:lnTo>
                  <a:pt x="2322" y="116"/>
                </a:lnTo>
                <a:close/>
                <a:moveTo>
                  <a:pt x="2343" y="111"/>
                </a:moveTo>
                <a:lnTo>
                  <a:pt x="2272" y="83"/>
                </a:lnTo>
                <a:lnTo>
                  <a:pt x="2369" y="95"/>
                </a:lnTo>
                <a:lnTo>
                  <a:pt x="2343" y="111"/>
                </a:lnTo>
                <a:lnTo>
                  <a:pt x="2343" y="111"/>
                </a:lnTo>
                <a:lnTo>
                  <a:pt x="2343" y="111"/>
                </a:lnTo>
                <a:close/>
                <a:moveTo>
                  <a:pt x="1840" y="140"/>
                </a:moveTo>
                <a:lnTo>
                  <a:pt x="1802" y="123"/>
                </a:lnTo>
                <a:lnTo>
                  <a:pt x="1868" y="140"/>
                </a:lnTo>
                <a:lnTo>
                  <a:pt x="1840" y="140"/>
                </a:lnTo>
                <a:lnTo>
                  <a:pt x="1840" y="140"/>
                </a:lnTo>
                <a:lnTo>
                  <a:pt x="1840" y="140"/>
                </a:lnTo>
                <a:close/>
                <a:moveTo>
                  <a:pt x="1731" y="152"/>
                </a:moveTo>
                <a:lnTo>
                  <a:pt x="1726" y="135"/>
                </a:lnTo>
                <a:lnTo>
                  <a:pt x="1797" y="152"/>
                </a:lnTo>
                <a:lnTo>
                  <a:pt x="1731" y="152"/>
                </a:lnTo>
                <a:lnTo>
                  <a:pt x="1731" y="152"/>
                </a:lnTo>
                <a:lnTo>
                  <a:pt x="1731" y="152"/>
                </a:lnTo>
                <a:close/>
                <a:moveTo>
                  <a:pt x="2298" y="173"/>
                </a:moveTo>
                <a:lnTo>
                  <a:pt x="2284" y="168"/>
                </a:lnTo>
                <a:lnTo>
                  <a:pt x="2305" y="173"/>
                </a:lnTo>
                <a:lnTo>
                  <a:pt x="2298" y="173"/>
                </a:lnTo>
                <a:lnTo>
                  <a:pt x="2298" y="173"/>
                </a:lnTo>
                <a:lnTo>
                  <a:pt x="2298" y="173"/>
                </a:lnTo>
                <a:close/>
                <a:moveTo>
                  <a:pt x="1965" y="279"/>
                </a:moveTo>
                <a:lnTo>
                  <a:pt x="1937" y="251"/>
                </a:lnTo>
                <a:lnTo>
                  <a:pt x="1830" y="222"/>
                </a:lnTo>
                <a:lnTo>
                  <a:pt x="1776" y="178"/>
                </a:lnTo>
                <a:lnTo>
                  <a:pt x="1882" y="173"/>
                </a:lnTo>
                <a:lnTo>
                  <a:pt x="2003" y="222"/>
                </a:lnTo>
                <a:lnTo>
                  <a:pt x="1958" y="251"/>
                </a:lnTo>
                <a:lnTo>
                  <a:pt x="1982" y="267"/>
                </a:lnTo>
                <a:lnTo>
                  <a:pt x="1965" y="279"/>
                </a:lnTo>
                <a:lnTo>
                  <a:pt x="1965" y="279"/>
                </a:lnTo>
                <a:lnTo>
                  <a:pt x="1965" y="279"/>
                </a:lnTo>
                <a:close/>
                <a:moveTo>
                  <a:pt x="1731" y="211"/>
                </a:moveTo>
                <a:lnTo>
                  <a:pt x="1693" y="194"/>
                </a:lnTo>
                <a:lnTo>
                  <a:pt x="1748" y="206"/>
                </a:lnTo>
                <a:lnTo>
                  <a:pt x="1731" y="211"/>
                </a:lnTo>
                <a:lnTo>
                  <a:pt x="1731" y="211"/>
                </a:lnTo>
                <a:lnTo>
                  <a:pt x="1731" y="211"/>
                </a:lnTo>
                <a:close/>
                <a:moveTo>
                  <a:pt x="1528" y="296"/>
                </a:moveTo>
                <a:lnTo>
                  <a:pt x="1403" y="267"/>
                </a:lnTo>
                <a:lnTo>
                  <a:pt x="1382" y="244"/>
                </a:lnTo>
                <a:lnTo>
                  <a:pt x="1398" y="227"/>
                </a:lnTo>
                <a:lnTo>
                  <a:pt x="1419" y="239"/>
                </a:lnTo>
                <a:lnTo>
                  <a:pt x="1528" y="296"/>
                </a:lnTo>
                <a:lnTo>
                  <a:pt x="1528" y="296"/>
                </a:lnTo>
                <a:lnTo>
                  <a:pt x="1528" y="296"/>
                </a:lnTo>
                <a:close/>
                <a:moveTo>
                  <a:pt x="1462" y="251"/>
                </a:moveTo>
                <a:lnTo>
                  <a:pt x="1457" y="239"/>
                </a:lnTo>
                <a:lnTo>
                  <a:pt x="1490" y="251"/>
                </a:lnTo>
                <a:lnTo>
                  <a:pt x="1462" y="251"/>
                </a:lnTo>
                <a:lnTo>
                  <a:pt x="1462" y="251"/>
                </a:lnTo>
                <a:lnTo>
                  <a:pt x="1462" y="251"/>
                </a:lnTo>
                <a:close/>
                <a:moveTo>
                  <a:pt x="3789" y="284"/>
                </a:moveTo>
                <a:lnTo>
                  <a:pt x="3763" y="251"/>
                </a:lnTo>
                <a:lnTo>
                  <a:pt x="3800" y="296"/>
                </a:lnTo>
                <a:lnTo>
                  <a:pt x="3789" y="284"/>
                </a:lnTo>
                <a:lnTo>
                  <a:pt x="3789" y="284"/>
                </a:lnTo>
                <a:lnTo>
                  <a:pt x="3789" y="284"/>
                </a:lnTo>
                <a:close/>
                <a:moveTo>
                  <a:pt x="3704" y="305"/>
                </a:moveTo>
                <a:lnTo>
                  <a:pt x="3666" y="267"/>
                </a:lnTo>
                <a:lnTo>
                  <a:pt x="3692" y="267"/>
                </a:lnTo>
                <a:lnTo>
                  <a:pt x="3741" y="305"/>
                </a:lnTo>
                <a:lnTo>
                  <a:pt x="3704" y="305"/>
                </a:lnTo>
                <a:lnTo>
                  <a:pt x="3704" y="305"/>
                </a:lnTo>
                <a:lnTo>
                  <a:pt x="3704" y="305"/>
                </a:lnTo>
                <a:close/>
                <a:moveTo>
                  <a:pt x="3817" y="350"/>
                </a:moveTo>
                <a:lnTo>
                  <a:pt x="3772" y="322"/>
                </a:lnTo>
                <a:lnTo>
                  <a:pt x="3810" y="322"/>
                </a:lnTo>
                <a:lnTo>
                  <a:pt x="3843" y="350"/>
                </a:lnTo>
                <a:lnTo>
                  <a:pt x="3817" y="350"/>
                </a:lnTo>
                <a:lnTo>
                  <a:pt x="3817" y="350"/>
                </a:lnTo>
                <a:lnTo>
                  <a:pt x="3817" y="350"/>
                </a:lnTo>
                <a:close/>
                <a:moveTo>
                  <a:pt x="3654" y="355"/>
                </a:moveTo>
                <a:lnTo>
                  <a:pt x="3666" y="350"/>
                </a:lnTo>
                <a:lnTo>
                  <a:pt x="3649" y="338"/>
                </a:lnTo>
                <a:lnTo>
                  <a:pt x="3654" y="333"/>
                </a:lnTo>
                <a:lnTo>
                  <a:pt x="3708" y="338"/>
                </a:lnTo>
                <a:lnTo>
                  <a:pt x="3654" y="355"/>
                </a:lnTo>
                <a:lnTo>
                  <a:pt x="3654" y="355"/>
                </a:lnTo>
                <a:lnTo>
                  <a:pt x="3654" y="355"/>
                </a:lnTo>
                <a:close/>
                <a:moveTo>
                  <a:pt x="3789" y="600"/>
                </a:moveTo>
                <a:lnTo>
                  <a:pt x="3720" y="612"/>
                </a:lnTo>
                <a:lnTo>
                  <a:pt x="3741" y="584"/>
                </a:lnTo>
                <a:lnTo>
                  <a:pt x="3789" y="600"/>
                </a:lnTo>
                <a:lnTo>
                  <a:pt x="3789" y="600"/>
                </a:lnTo>
                <a:lnTo>
                  <a:pt x="3789" y="600"/>
                </a:lnTo>
                <a:close/>
                <a:moveTo>
                  <a:pt x="3763" y="749"/>
                </a:moveTo>
                <a:lnTo>
                  <a:pt x="3763" y="766"/>
                </a:lnTo>
                <a:lnTo>
                  <a:pt x="3758" y="761"/>
                </a:lnTo>
                <a:lnTo>
                  <a:pt x="3763" y="749"/>
                </a:lnTo>
                <a:lnTo>
                  <a:pt x="3763" y="749"/>
                </a:lnTo>
                <a:lnTo>
                  <a:pt x="3763" y="749"/>
                </a:lnTo>
                <a:close/>
                <a:moveTo>
                  <a:pt x="3881" y="749"/>
                </a:moveTo>
                <a:lnTo>
                  <a:pt x="3885" y="761"/>
                </a:lnTo>
                <a:lnTo>
                  <a:pt x="3848" y="794"/>
                </a:lnTo>
                <a:lnTo>
                  <a:pt x="3855" y="778"/>
                </a:lnTo>
                <a:lnTo>
                  <a:pt x="3881" y="749"/>
                </a:lnTo>
                <a:lnTo>
                  <a:pt x="3881" y="749"/>
                </a:lnTo>
                <a:lnTo>
                  <a:pt x="3881" y="749"/>
                </a:lnTo>
                <a:close/>
                <a:moveTo>
                  <a:pt x="3763" y="834"/>
                </a:moveTo>
                <a:lnTo>
                  <a:pt x="3734" y="822"/>
                </a:lnTo>
                <a:lnTo>
                  <a:pt x="3779" y="799"/>
                </a:lnTo>
                <a:lnTo>
                  <a:pt x="3763" y="815"/>
                </a:lnTo>
                <a:lnTo>
                  <a:pt x="3779" y="822"/>
                </a:lnTo>
                <a:lnTo>
                  <a:pt x="3758" y="822"/>
                </a:lnTo>
                <a:lnTo>
                  <a:pt x="3779" y="822"/>
                </a:lnTo>
                <a:lnTo>
                  <a:pt x="3763" y="834"/>
                </a:lnTo>
                <a:lnTo>
                  <a:pt x="3763" y="834"/>
                </a:lnTo>
                <a:lnTo>
                  <a:pt x="3763" y="834"/>
                </a:lnTo>
                <a:close/>
                <a:moveTo>
                  <a:pt x="3843" y="834"/>
                </a:moveTo>
                <a:lnTo>
                  <a:pt x="3843" y="806"/>
                </a:lnTo>
                <a:lnTo>
                  <a:pt x="3855" y="815"/>
                </a:lnTo>
                <a:lnTo>
                  <a:pt x="3843" y="834"/>
                </a:lnTo>
                <a:lnTo>
                  <a:pt x="3843" y="834"/>
                </a:lnTo>
                <a:lnTo>
                  <a:pt x="3843" y="834"/>
                </a:lnTo>
                <a:close/>
                <a:moveTo>
                  <a:pt x="3772" y="877"/>
                </a:moveTo>
                <a:lnTo>
                  <a:pt x="3789" y="889"/>
                </a:lnTo>
                <a:lnTo>
                  <a:pt x="3763" y="893"/>
                </a:lnTo>
                <a:lnTo>
                  <a:pt x="3763" y="889"/>
                </a:lnTo>
                <a:lnTo>
                  <a:pt x="3772" y="877"/>
                </a:lnTo>
                <a:lnTo>
                  <a:pt x="3772" y="877"/>
                </a:lnTo>
                <a:lnTo>
                  <a:pt x="3772" y="877"/>
                </a:lnTo>
                <a:close/>
                <a:moveTo>
                  <a:pt x="3746" y="889"/>
                </a:moveTo>
                <a:lnTo>
                  <a:pt x="3758" y="893"/>
                </a:lnTo>
                <a:lnTo>
                  <a:pt x="3741" y="905"/>
                </a:lnTo>
                <a:lnTo>
                  <a:pt x="3741" y="889"/>
                </a:lnTo>
                <a:lnTo>
                  <a:pt x="3746" y="889"/>
                </a:lnTo>
                <a:lnTo>
                  <a:pt x="3746" y="889"/>
                </a:lnTo>
                <a:lnTo>
                  <a:pt x="3746" y="889"/>
                </a:lnTo>
                <a:close/>
                <a:moveTo>
                  <a:pt x="3772" y="910"/>
                </a:moveTo>
                <a:lnTo>
                  <a:pt x="3763" y="905"/>
                </a:lnTo>
                <a:lnTo>
                  <a:pt x="3796" y="905"/>
                </a:lnTo>
                <a:lnTo>
                  <a:pt x="3772" y="910"/>
                </a:lnTo>
                <a:lnTo>
                  <a:pt x="3772" y="910"/>
                </a:lnTo>
                <a:lnTo>
                  <a:pt x="3772" y="910"/>
                </a:lnTo>
                <a:close/>
                <a:moveTo>
                  <a:pt x="3649" y="917"/>
                </a:moveTo>
                <a:lnTo>
                  <a:pt x="3654" y="917"/>
                </a:lnTo>
                <a:lnTo>
                  <a:pt x="3649" y="917"/>
                </a:lnTo>
                <a:lnTo>
                  <a:pt x="3649" y="917"/>
                </a:lnTo>
                <a:lnTo>
                  <a:pt x="3649" y="917"/>
                </a:lnTo>
                <a:close/>
                <a:moveTo>
                  <a:pt x="3796" y="917"/>
                </a:moveTo>
                <a:lnTo>
                  <a:pt x="3789" y="933"/>
                </a:lnTo>
                <a:lnTo>
                  <a:pt x="3779" y="926"/>
                </a:lnTo>
                <a:lnTo>
                  <a:pt x="3796" y="917"/>
                </a:lnTo>
                <a:lnTo>
                  <a:pt x="3796" y="917"/>
                </a:lnTo>
                <a:lnTo>
                  <a:pt x="3796" y="917"/>
                </a:lnTo>
                <a:close/>
                <a:moveTo>
                  <a:pt x="3772" y="926"/>
                </a:moveTo>
                <a:lnTo>
                  <a:pt x="3763" y="926"/>
                </a:lnTo>
                <a:lnTo>
                  <a:pt x="3772" y="917"/>
                </a:lnTo>
                <a:lnTo>
                  <a:pt x="3772" y="926"/>
                </a:lnTo>
                <a:lnTo>
                  <a:pt x="3772" y="926"/>
                </a:lnTo>
                <a:lnTo>
                  <a:pt x="3772" y="926"/>
                </a:lnTo>
                <a:close/>
                <a:moveTo>
                  <a:pt x="3637" y="945"/>
                </a:moveTo>
                <a:lnTo>
                  <a:pt x="3628" y="966"/>
                </a:lnTo>
                <a:lnTo>
                  <a:pt x="3616" y="962"/>
                </a:lnTo>
                <a:lnTo>
                  <a:pt x="3637" y="945"/>
                </a:lnTo>
                <a:lnTo>
                  <a:pt x="3637" y="945"/>
                </a:lnTo>
                <a:lnTo>
                  <a:pt x="3637" y="945"/>
                </a:lnTo>
                <a:close/>
                <a:moveTo>
                  <a:pt x="3734" y="966"/>
                </a:moveTo>
                <a:lnTo>
                  <a:pt x="3772" y="971"/>
                </a:lnTo>
                <a:lnTo>
                  <a:pt x="3687" y="950"/>
                </a:lnTo>
                <a:lnTo>
                  <a:pt x="3725" y="950"/>
                </a:lnTo>
                <a:lnTo>
                  <a:pt x="3720" y="950"/>
                </a:lnTo>
                <a:lnTo>
                  <a:pt x="3734" y="966"/>
                </a:lnTo>
                <a:lnTo>
                  <a:pt x="3734" y="966"/>
                </a:lnTo>
                <a:lnTo>
                  <a:pt x="3734" y="966"/>
                </a:lnTo>
                <a:close/>
                <a:moveTo>
                  <a:pt x="3746" y="962"/>
                </a:moveTo>
                <a:lnTo>
                  <a:pt x="3741" y="950"/>
                </a:lnTo>
                <a:lnTo>
                  <a:pt x="3746" y="962"/>
                </a:lnTo>
                <a:lnTo>
                  <a:pt x="3746" y="962"/>
                </a:lnTo>
                <a:lnTo>
                  <a:pt x="3746" y="962"/>
                </a:lnTo>
                <a:close/>
                <a:moveTo>
                  <a:pt x="3881" y="962"/>
                </a:moveTo>
                <a:lnTo>
                  <a:pt x="3885" y="971"/>
                </a:lnTo>
                <a:lnTo>
                  <a:pt x="3881" y="988"/>
                </a:lnTo>
                <a:lnTo>
                  <a:pt x="3843" y="1000"/>
                </a:lnTo>
                <a:lnTo>
                  <a:pt x="3864" y="966"/>
                </a:lnTo>
                <a:lnTo>
                  <a:pt x="3881" y="962"/>
                </a:lnTo>
                <a:lnTo>
                  <a:pt x="3881" y="962"/>
                </a:lnTo>
                <a:lnTo>
                  <a:pt x="3881" y="962"/>
                </a:lnTo>
                <a:close/>
                <a:moveTo>
                  <a:pt x="3708" y="1000"/>
                </a:moveTo>
                <a:lnTo>
                  <a:pt x="3720" y="1004"/>
                </a:lnTo>
                <a:lnTo>
                  <a:pt x="3687" y="1004"/>
                </a:lnTo>
                <a:lnTo>
                  <a:pt x="3708" y="1000"/>
                </a:lnTo>
                <a:lnTo>
                  <a:pt x="3708" y="1000"/>
                </a:lnTo>
                <a:lnTo>
                  <a:pt x="3708" y="1000"/>
                </a:lnTo>
                <a:close/>
                <a:moveTo>
                  <a:pt x="432" y="1004"/>
                </a:moveTo>
                <a:lnTo>
                  <a:pt x="425" y="1004"/>
                </a:lnTo>
                <a:lnTo>
                  <a:pt x="446" y="1004"/>
                </a:lnTo>
                <a:lnTo>
                  <a:pt x="432" y="1004"/>
                </a:lnTo>
                <a:lnTo>
                  <a:pt x="432" y="1004"/>
                </a:lnTo>
                <a:lnTo>
                  <a:pt x="432" y="1004"/>
                </a:lnTo>
                <a:close/>
                <a:moveTo>
                  <a:pt x="479" y="1028"/>
                </a:moveTo>
                <a:lnTo>
                  <a:pt x="437" y="1021"/>
                </a:lnTo>
                <a:lnTo>
                  <a:pt x="479" y="1021"/>
                </a:lnTo>
                <a:lnTo>
                  <a:pt x="479" y="1028"/>
                </a:lnTo>
                <a:lnTo>
                  <a:pt x="479" y="1028"/>
                </a:lnTo>
                <a:lnTo>
                  <a:pt x="479" y="1028"/>
                </a:lnTo>
                <a:close/>
                <a:moveTo>
                  <a:pt x="122" y="1028"/>
                </a:moveTo>
                <a:lnTo>
                  <a:pt x="205" y="1037"/>
                </a:lnTo>
                <a:lnTo>
                  <a:pt x="139" y="1044"/>
                </a:lnTo>
                <a:lnTo>
                  <a:pt x="122" y="1028"/>
                </a:lnTo>
                <a:lnTo>
                  <a:pt x="122" y="1028"/>
                </a:lnTo>
                <a:lnTo>
                  <a:pt x="122" y="1028"/>
                </a:lnTo>
                <a:close/>
                <a:moveTo>
                  <a:pt x="54" y="1028"/>
                </a:moveTo>
                <a:lnTo>
                  <a:pt x="113" y="1044"/>
                </a:lnTo>
                <a:lnTo>
                  <a:pt x="68" y="1054"/>
                </a:lnTo>
                <a:lnTo>
                  <a:pt x="30" y="1037"/>
                </a:lnTo>
                <a:lnTo>
                  <a:pt x="54" y="1028"/>
                </a:lnTo>
                <a:lnTo>
                  <a:pt x="54" y="1028"/>
                </a:lnTo>
                <a:lnTo>
                  <a:pt x="54" y="1028"/>
                </a:lnTo>
                <a:close/>
                <a:moveTo>
                  <a:pt x="3741" y="1127"/>
                </a:moveTo>
                <a:lnTo>
                  <a:pt x="3746" y="1127"/>
                </a:lnTo>
                <a:lnTo>
                  <a:pt x="3734" y="1132"/>
                </a:lnTo>
                <a:lnTo>
                  <a:pt x="3741" y="1127"/>
                </a:lnTo>
                <a:lnTo>
                  <a:pt x="3741" y="1127"/>
                </a:lnTo>
                <a:lnTo>
                  <a:pt x="3741" y="1127"/>
                </a:lnTo>
                <a:close/>
                <a:moveTo>
                  <a:pt x="3810" y="1226"/>
                </a:moveTo>
                <a:lnTo>
                  <a:pt x="3817" y="1243"/>
                </a:lnTo>
                <a:lnTo>
                  <a:pt x="3817" y="1266"/>
                </a:lnTo>
                <a:lnTo>
                  <a:pt x="3817" y="1250"/>
                </a:lnTo>
                <a:lnTo>
                  <a:pt x="3779" y="1172"/>
                </a:lnTo>
                <a:lnTo>
                  <a:pt x="3800" y="1165"/>
                </a:lnTo>
                <a:lnTo>
                  <a:pt x="3789" y="1155"/>
                </a:lnTo>
                <a:lnTo>
                  <a:pt x="3789" y="1139"/>
                </a:lnTo>
                <a:lnTo>
                  <a:pt x="3810" y="1155"/>
                </a:lnTo>
                <a:lnTo>
                  <a:pt x="3810" y="1172"/>
                </a:lnTo>
                <a:lnTo>
                  <a:pt x="3817" y="1222"/>
                </a:lnTo>
                <a:lnTo>
                  <a:pt x="3810" y="1226"/>
                </a:lnTo>
                <a:lnTo>
                  <a:pt x="3810" y="1226"/>
                </a:lnTo>
                <a:lnTo>
                  <a:pt x="3810" y="1226"/>
                </a:lnTo>
                <a:close/>
                <a:moveTo>
                  <a:pt x="3741" y="1139"/>
                </a:moveTo>
                <a:lnTo>
                  <a:pt x="3746" y="1139"/>
                </a:lnTo>
                <a:lnTo>
                  <a:pt x="3725" y="1139"/>
                </a:lnTo>
                <a:lnTo>
                  <a:pt x="3741" y="1139"/>
                </a:lnTo>
                <a:lnTo>
                  <a:pt x="3741" y="1139"/>
                </a:lnTo>
                <a:lnTo>
                  <a:pt x="3741" y="1139"/>
                </a:lnTo>
                <a:close/>
                <a:moveTo>
                  <a:pt x="3633" y="1165"/>
                </a:moveTo>
                <a:lnTo>
                  <a:pt x="3611" y="1155"/>
                </a:lnTo>
                <a:lnTo>
                  <a:pt x="3649" y="1155"/>
                </a:lnTo>
                <a:lnTo>
                  <a:pt x="3633" y="1165"/>
                </a:lnTo>
                <a:lnTo>
                  <a:pt x="3633" y="1165"/>
                </a:lnTo>
                <a:lnTo>
                  <a:pt x="3633" y="1165"/>
                </a:lnTo>
                <a:close/>
                <a:moveTo>
                  <a:pt x="236" y="1155"/>
                </a:moveTo>
                <a:lnTo>
                  <a:pt x="252" y="1165"/>
                </a:lnTo>
                <a:lnTo>
                  <a:pt x="205" y="1165"/>
                </a:lnTo>
                <a:lnTo>
                  <a:pt x="236" y="1155"/>
                </a:lnTo>
                <a:lnTo>
                  <a:pt x="236" y="1155"/>
                </a:lnTo>
                <a:lnTo>
                  <a:pt x="236" y="1155"/>
                </a:lnTo>
                <a:close/>
                <a:moveTo>
                  <a:pt x="3670" y="1172"/>
                </a:moveTo>
                <a:lnTo>
                  <a:pt x="3666" y="1189"/>
                </a:lnTo>
                <a:lnTo>
                  <a:pt x="3637" y="1184"/>
                </a:lnTo>
                <a:lnTo>
                  <a:pt x="3670" y="1172"/>
                </a:lnTo>
                <a:lnTo>
                  <a:pt x="3670" y="1172"/>
                </a:lnTo>
                <a:lnTo>
                  <a:pt x="3670" y="1172"/>
                </a:lnTo>
                <a:close/>
                <a:moveTo>
                  <a:pt x="215" y="1184"/>
                </a:moveTo>
                <a:lnTo>
                  <a:pt x="219" y="1189"/>
                </a:lnTo>
                <a:lnTo>
                  <a:pt x="198" y="1184"/>
                </a:lnTo>
                <a:lnTo>
                  <a:pt x="215" y="1184"/>
                </a:lnTo>
                <a:lnTo>
                  <a:pt x="215" y="1184"/>
                </a:lnTo>
                <a:lnTo>
                  <a:pt x="215" y="1184"/>
                </a:lnTo>
                <a:close/>
                <a:moveTo>
                  <a:pt x="3708" y="1193"/>
                </a:moveTo>
                <a:lnTo>
                  <a:pt x="3692" y="1210"/>
                </a:lnTo>
                <a:lnTo>
                  <a:pt x="3670" y="1193"/>
                </a:lnTo>
                <a:lnTo>
                  <a:pt x="3708" y="1193"/>
                </a:lnTo>
                <a:lnTo>
                  <a:pt x="3708" y="1193"/>
                </a:lnTo>
                <a:lnTo>
                  <a:pt x="3708" y="1193"/>
                </a:lnTo>
                <a:close/>
                <a:moveTo>
                  <a:pt x="630" y="1226"/>
                </a:moveTo>
                <a:lnTo>
                  <a:pt x="630" y="1243"/>
                </a:lnTo>
                <a:lnTo>
                  <a:pt x="626" y="1238"/>
                </a:lnTo>
                <a:lnTo>
                  <a:pt x="630" y="1226"/>
                </a:lnTo>
                <a:lnTo>
                  <a:pt x="630" y="1226"/>
                </a:lnTo>
                <a:lnTo>
                  <a:pt x="630" y="1226"/>
                </a:lnTo>
                <a:close/>
                <a:moveTo>
                  <a:pt x="559" y="1238"/>
                </a:moveTo>
                <a:lnTo>
                  <a:pt x="559" y="1243"/>
                </a:lnTo>
                <a:lnTo>
                  <a:pt x="545" y="1243"/>
                </a:lnTo>
                <a:lnTo>
                  <a:pt x="559" y="1238"/>
                </a:lnTo>
                <a:lnTo>
                  <a:pt x="559" y="1238"/>
                </a:lnTo>
                <a:lnTo>
                  <a:pt x="559" y="1238"/>
                </a:lnTo>
                <a:close/>
                <a:moveTo>
                  <a:pt x="3864" y="1337"/>
                </a:moveTo>
                <a:lnTo>
                  <a:pt x="3871" y="1354"/>
                </a:lnTo>
                <a:lnTo>
                  <a:pt x="3843" y="1361"/>
                </a:lnTo>
                <a:lnTo>
                  <a:pt x="3881" y="1387"/>
                </a:lnTo>
                <a:lnTo>
                  <a:pt x="3909" y="1377"/>
                </a:lnTo>
                <a:lnTo>
                  <a:pt x="3902" y="1394"/>
                </a:lnTo>
                <a:lnTo>
                  <a:pt x="3885" y="1406"/>
                </a:lnTo>
                <a:lnTo>
                  <a:pt x="3885" y="1394"/>
                </a:lnTo>
                <a:lnTo>
                  <a:pt x="3871" y="1394"/>
                </a:lnTo>
                <a:lnTo>
                  <a:pt x="3796" y="1394"/>
                </a:lnTo>
                <a:lnTo>
                  <a:pt x="3800" y="1349"/>
                </a:lnTo>
                <a:lnTo>
                  <a:pt x="3817" y="1337"/>
                </a:lnTo>
                <a:lnTo>
                  <a:pt x="3843" y="1354"/>
                </a:lnTo>
                <a:lnTo>
                  <a:pt x="3848" y="1333"/>
                </a:lnTo>
                <a:lnTo>
                  <a:pt x="3864" y="1337"/>
                </a:lnTo>
                <a:lnTo>
                  <a:pt x="3864" y="1337"/>
                </a:lnTo>
                <a:lnTo>
                  <a:pt x="3864" y="1337"/>
                </a:lnTo>
                <a:close/>
                <a:moveTo>
                  <a:pt x="3704" y="1387"/>
                </a:moveTo>
                <a:lnTo>
                  <a:pt x="3725" y="1394"/>
                </a:lnTo>
                <a:lnTo>
                  <a:pt x="3708" y="1411"/>
                </a:lnTo>
                <a:lnTo>
                  <a:pt x="3741" y="1415"/>
                </a:lnTo>
                <a:lnTo>
                  <a:pt x="3708" y="1444"/>
                </a:lnTo>
                <a:lnTo>
                  <a:pt x="3670" y="1427"/>
                </a:lnTo>
                <a:lnTo>
                  <a:pt x="3682" y="1411"/>
                </a:lnTo>
                <a:lnTo>
                  <a:pt x="3682" y="1394"/>
                </a:lnTo>
                <a:lnTo>
                  <a:pt x="3704" y="1387"/>
                </a:lnTo>
                <a:lnTo>
                  <a:pt x="3704" y="1387"/>
                </a:lnTo>
                <a:lnTo>
                  <a:pt x="3704" y="1387"/>
                </a:lnTo>
                <a:close/>
                <a:moveTo>
                  <a:pt x="1084" y="1432"/>
                </a:moveTo>
                <a:lnTo>
                  <a:pt x="1096" y="1432"/>
                </a:lnTo>
                <a:lnTo>
                  <a:pt x="1074" y="1432"/>
                </a:lnTo>
                <a:lnTo>
                  <a:pt x="1084" y="1432"/>
                </a:lnTo>
                <a:lnTo>
                  <a:pt x="1084" y="1432"/>
                </a:lnTo>
                <a:lnTo>
                  <a:pt x="1084" y="1432"/>
                </a:lnTo>
                <a:close/>
                <a:moveTo>
                  <a:pt x="3833" y="1444"/>
                </a:moveTo>
                <a:lnTo>
                  <a:pt x="3833" y="1448"/>
                </a:lnTo>
                <a:lnTo>
                  <a:pt x="3826" y="1448"/>
                </a:lnTo>
                <a:lnTo>
                  <a:pt x="3817" y="1432"/>
                </a:lnTo>
                <a:lnTo>
                  <a:pt x="3833" y="1444"/>
                </a:lnTo>
                <a:lnTo>
                  <a:pt x="3833" y="1444"/>
                </a:lnTo>
                <a:lnTo>
                  <a:pt x="3833" y="1444"/>
                </a:lnTo>
                <a:close/>
                <a:moveTo>
                  <a:pt x="3810" y="1448"/>
                </a:moveTo>
                <a:lnTo>
                  <a:pt x="3800" y="1460"/>
                </a:lnTo>
                <a:lnTo>
                  <a:pt x="3772" y="1460"/>
                </a:lnTo>
                <a:lnTo>
                  <a:pt x="3800" y="1444"/>
                </a:lnTo>
                <a:lnTo>
                  <a:pt x="3810" y="1448"/>
                </a:lnTo>
                <a:lnTo>
                  <a:pt x="3810" y="1448"/>
                </a:lnTo>
                <a:lnTo>
                  <a:pt x="3810" y="1448"/>
                </a:lnTo>
                <a:close/>
                <a:moveTo>
                  <a:pt x="1117" y="1448"/>
                </a:moveTo>
                <a:lnTo>
                  <a:pt x="1100" y="1460"/>
                </a:lnTo>
                <a:lnTo>
                  <a:pt x="1117" y="1448"/>
                </a:lnTo>
                <a:lnTo>
                  <a:pt x="1117" y="1448"/>
                </a:lnTo>
                <a:lnTo>
                  <a:pt x="1117" y="1448"/>
                </a:lnTo>
                <a:close/>
                <a:moveTo>
                  <a:pt x="1126" y="1448"/>
                </a:moveTo>
                <a:lnTo>
                  <a:pt x="1133" y="1460"/>
                </a:lnTo>
                <a:lnTo>
                  <a:pt x="1117" y="1460"/>
                </a:lnTo>
                <a:lnTo>
                  <a:pt x="1126" y="1448"/>
                </a:lnTo>
                <a:lnTo>
                  <a:pt x="1126" y="1448"/>
                </a:lnTo>
                <a:lnTo>
                  <a:pt x="1126" y="1448"/>
                </a:lnTo>
                <a:close/>
                <a:moveTo>
                  <a:pt x="1100" y="1465"/>
                </a:moveTo>
                <a:lnTo>
                  <a:pt x="1164" y="1465"/>
                </a:lnTo>
                <a:lnTo>
                  <a:pt x="1084" y="1465"/>
                </a:lnTo>
                <a:lnTo>
                  <a:pt x="1100" y="1465"/>
                </a:lnTo>
                <a:lnTo>
                  <a:pt x="1100" y="1465"/>
                </a:lnTo>
                <a:lnTo>
                  <a:pt x="1100" y="1465"/>
                </a:lnTo>
                <a:close/>
                <a:moveTo>
                  <a:pt x="3649" y="1472"/>
                </a:moveTo>
                <a:lnTo>
                  <a:pt x="3682" y="1481"/>
                </a:lnTo>
                <a:lnTo>
                  <a:pt x="3687" y="1498"/>
                </a:lnTo>
                <a:lnTo>
                  <a:pt x="3708" y="1514"/>
                </a:lnTo>
                <a:lnTo>
                  <a:pt x="3633" y="1526"/>
                </a:lnTo>
                <a:lnTo>
                  <a:pt x="3578" y="1505"/>
                </a:lnTo>
                <a:lnTo>
                  <a:pt x="3611" y="1481"/>
                </a:lnTo>
                <a:lnTo>
                  <a:pt x="3649" y="1472"/>
                </a:lnTo>
                <a:lnTo>
                  <a:pt x="3649" y="1472"/>
                </a:lnTo>
                <a:lnTo>
                  <a:pt x="3649" y="1472"/>
                </a:lnTo>
                <a:close/>
                <a:moveTo>
                  <a:pt x="3708" y="1543"/>
                </a:moveTo>
                <a:lnTo>
                  <a:pt x="3720" y="1555"/>
                </a:lnTo>
                <a:lnTo>
                  <a:pt x="3704" y="1555"/>
                </a:lnTo>
                <a:lnTo>
                  <a:pt x="3708" y="1543"/>
                </a:lnTo>
                <a:lnTo>
                  <a:pt x="3708" y="1543"/>
                </a:lnTo>
                <a:lnTo>
                  <a:pt x="3708" y="1543"/>
                </a:lnTo>
                <a:close/>
                <a:moveTo>
                  <a:pt x="1171" y="1571"/>
                </a:moveTo>
                <a:lnTo>
                  <a:pt x="1138" y="1555"/>
                </a:lnTo>
                <a:lnTo>
                  <a:pt x="1193" y="1559"/>
                </a:lnTo>
                <a:lnTo>
                  <a:pt x="1171" y="1571"/>
                </a:lnTo>
                <a:lnTo>
                  <a:pt x="1171" y="1571"/>
                </a:lnTo>
                <a:lnTo>
                  <a:pt x="1171" y="1571"/>
                </a:lnTo>
                <a:close/>
                <a:moveTo>
                  <a:pt x="1155" y="1583"/>
                </a:moveTo>
                <a:lnTo>
                  <a:pt x="1171" y="1583"/>
                </a:lnTo>
                <a:lnTo>
                  <a:pt x="1126" y="1583"/>
                </a:lnTo>
                <a:lnTo>
                  <a:pt x="1155" y="1583"/>
                </a:lnTo>
                <a:lnTo>
                  <a:pt x="1155" y="1583"/>
                </a:lnTo>
                <a:lnTo>
                  <a:pt x="1155" y="1583"/>
                </a:lnTo>
                <a:close/>
                <a:moveTo>
                  <a:pt x="1164" y="1600"/>
                </a:moveTo>
                <a:lnTo>
                  <a:pt x="1155" y="1600"/>
                </a:lnTo>
                <a:lnTo>
                  <a:pt x="1171" y="1583"/>
                </a:lnTo>
                <a:lnTo>
                  <a:pt x="1181" y="1592"/>
                </a:lnTo>
                <a:lnTo>
                  <a:pt x="1164" y="1600"/>
                </a:lnTo>
                <a:lnTo>
                  <a:pt x="1164" y="1600"/>
                </a:lnTo>
                <a:lnTo>
                  <a:pt x="1164" y="1600"/>
                </a:lnTo>
                <a:close/>
                <a:moveTo>
                  <a:pt x="1193" y="1600"/>
                </a:moveTo>
                <a:lnTo>
                  <a:pt x="1235" y="1616"/>
                </a:lnTo>
                <a:lnTo>
                  <a:pt x="1209" y="1626"/>
                </a:lnTo>
                <a:lnTo>
                  <a:pt x="1219" y="1609"/>
                </a:lnTo>
                <a:lnTo>
                  <a:pt x="1188" y="1600"/>
                </a:lnTo>
                <a:lnTo>
                  <a:pt x="1193" y="1600"/>
                </a:lnTo>
                <a:lnTo>
                  <a:pt x="1193" y="1600"/>
                </a:lnTo>
                <a:lnTo>
                  <a:pt x="1193" y="1600"/>
                </a:lnTo>
                <a:close/>
                <a:moveTo>
                  <a:pt x="1193" y="1609"/>
                </a:moveTo>
                <a:lnTo>
                  <a:pt x="1209" y="1616"/>
                </a:lnTo>
                <a:lnTo>
                  <a:pt x="1188" y="1616"/>
                </a:lnTo>
                <a:lnTo>
                  <a:pt x="1193" y="1609"/>
                </a:lnTo>
                <a:lnTo>
                  <a:pt x="1193" y="1609"/>
                </a:lnTo>
                <a:lnTo>
                  <a:pt x="1193" y="1609"/>
                </a:lnTo>
                <a:close/>
                <a:moveTo>
                  <a:pt x="3406" y="1616"/>
                </a:moveTo>
                <a:lnTo>
                  <a:pt x="3493" y="1649"/>
                </a:lnTo>
                <a:lnTo>
                  <a:pt x="3368" y="1633"/>
                </a:lnTo>
                <a:lnTo>
                  <a:pt x="3507" y="1654"/>
                </a:lnTo>
                <a:lnTo>
                  <a:pt x="3406" y="1670"/>
                </a:lnTo>
                <a:lnTo>
                  <a:pt x="3314" y="1649"/>
                </a:lnTo>
                <a:lnTo>
                  <a:pt x="3352" y="1626"/>
                </a:lnTo>
                <a:lnTo>
                  <a:pt x="3406" y="1616"/>
                </a:lnTo>
                <a:lnTo>
                  <a:pt x="3406" y="1616"/>
                </a:lnTo>
                <a:lnTo>
                  <a:pt x="3406" y="1616"/>
                </a:lnTo>
                <a:close/>
                <a:moveTo>
                  <a:pt x="1193" y="1626"/>
                </a:moveTo>
                <a:lnTo>
                  <a:pt x="1202" y="1626"/>
                </a:lnTo>
                <a:lnTo>
                  <a:pt x="1188" y="1633"/>
                </a:lnTo>
                <a:lnTo>
                  <a:pt x="1193" y="1626"/>
                </a:lnTo>
                <a:lnTo>
                  <a:pt x="1193" y="1626"/>
                </a:lnTo>
                <a:lnTo>
                  <a:pt x="1193" y="1626"/>
                </a:lnTo>
                <a:close/>
                <a:moveTo>
                  <a:pt x="1209" y="1626"/>
                </a:moveTo>
                <a:lnTo>
                  <a:pt x="1219" y="1633"/>
                </a:lnTo>
                <a:lnTo>
                  <a:pt x="1202" y="1633"/>
                </a:lnTo>
                <a:lnTo>
                  <a:pt x="1209" y="1626"/>
                </a:lnTo>
                <a:lnTo>
                  <a:pt x="1209" y="1626"/>
                </a:lnTo>
                <a:lnTo>
                  <a:pt x="1209" y="1626"/>
                </a:lnTo>
                <a:close/>
                <a:moveTo>
                  <a:pt x="1202" y="1637"/>
                </a:moveTo>
                <a:lnTo>
                  <a:pt x="1188" y="1666"/>
                </a:lnTo>
                <a:lnTo>
                  <a:pt x="1193" y="1649"/>
                </a:lnTo>
                <a:lnTo>
                  <a:pt x="1202" y="1637"/>
                </a:lnTo>
                <a:lnTo>
                  <a:pt x="1202" y="1637"/>
                </a:lnTo>
                <a:lnTo>
                  <a:pt x="1202" y="1637"/>
                </a:lnTo>
                <a:close/>
                <a:moveTo>
                  <a:pt x="1181" y="1649"/>
                </a:moveTo>
                <a:lnTo>
                  <a:pt x="1181" y="1654"/>
                </a:lnTo>
                <a:lnTo>
                  <a:pt x="1171" y="1654"/>
                </a:lnTo>
                <a:lnTo>
                  <a:pt x="1181" y="1649"/>
                </a:lnTo>
                <a:lnTo>
                  <a:pt x="1181" y="1649"/>
                </a:lnTo>
                <a:lnTo>
                  <a:pt x="1181" y="1649"/>
                </a:lnTo>
                <a:close/>
                <a:moveTo>
                  <a:pt x="3583" y="1720"/>
                </a:moveTo>
                <a:lnTo>
                  <a:pt x="3541" y="1720"/>
                </a:lnTo>
                <a:lnTo>
                  <a:pt x="3503" y="1694"/>
                </a:lnTo>
                <a:lnTo>
                  <a:pt x="3401" y="1687"/>
                </a:lnTo>
                <a:lnTo>
                  <a:pt x="3394" y="1682"/>
                </a:lnTo>
                <a:lnTo>
                  <a:pt x="3493" y="1670"/>
                </a:lnTo>
                <a:lnTo>
                  <a:pt x="3545" y="1682"/>
                </a:lnTo>
                <a:lnTo>
                  <a:pt x="3583" y="1687"/>
                </a:lnTo>
                <a:lnTo>
                  <a:pt x="3562" y="1703"/>
                </a:lnTo>
                <a:lnTo>
                  <a:pt x="3578" y="1711"/>
                </a:lnTo>
                <a:lnTo>
                  <a:pt x="3583" y="1720"/>
                </a:lnTo>
                <a:lnTo>
                  <a:pt x="3583" y="1720"/>
                </a:lnTo>
                <a:lnTo>
                  <a:pt x="3583" y="1720"/>
                </a:lnTo>
                <a:close/>
                <a:moveTo>
                  <a:pt x="1209" y="1670"/>
                </a:moveTo>
                <a:lnTo>
                  <a:pt x="1219" y="1670"/>
                </a:lnTo>
                <a:lnTo>
                  <a:pt x="1202" y="1670"/>
                </a:lnTo>
                <a:lnTo>
                  <a:pt x="1209" y="1670"/>
                </a:lnTo>
                <a:lnTo>
                  <a:pt x="1209" y="1670"/>
                </a:lnTo>
                <a:lnTo>
                  <a:pt x="1209" y="1670"/>
                </a:lnTo>
                <a:close/>
                <a:moveTo>
                  <a:pt x="1240" y="1687"/>
                </a:moveTo>
                <a:lnTo>
                  <a:pt x="1219" y="1682"/>
                </a:lnTo>
                <a:lnTo>
                  <a:pt x="1226" y="1670"/>
                </a:lnTo>
                <a:lnTo>
                  <a:pt x="1256" y="1682"/>
                </a:lnTo>
                <a:lnTo>
                  <a:pt x="1240" y="1687"/>
                </a:lnTo>
                <a:lnTo>
                  <a:pt x="1240" y="1687"/>
                </a:lnTo>
                <a:lnTo>
                  <a:pt x="1240" y="1687"/>
                </a:lnTo>
                <a:close/>
                <a:moveTo>
                  <a:pt x="3385" y="1687"/>
                </a:moveTo>
                <a:lnTo>
                  <a:pt x="3380" y="1711"/>
                </a:lnTo>
                <a:lnTo>
                  <a:pt x="3352" y="1703"/>
                </a:lnTo>
                <a:lnTo>
                  <a:pt x="3385" y="1687"/>
                </a:lnTo>
                <a:lnTo>
                  <a:pt x="3385" y="1687"/>
                </a:lnTo>
                <a:lnTo>
                  <a:pt x="3385" y="1687"/>
                </a:lnTo>
                <a:close/>
                <a:moveTo>
                  <a:pt x="1226" y="1694"/>
                </a:moveTo>
                <a:lnTo>
                  <a:pt x="1240" y="1694"/>
                </a:lnTo>
                <a:lnTo>
                  <a:pt x="1226" y="1703"/>
                </a:lnTo>
                <a:lnTo>
                  <a:pt x="1226" y="1694"/>
                </a:lnTo>
                <a:lnTo>
                  <a:pt x="1226" y="1694"/>
                </a:lnTo>
                <a:lnTo>
                  <a:pt x="1226" y="1694"/>
                </a:lnTo>
                <a:close/>
                <a:moveTo>
                  <a:pt x="3557" y="1798"/>
                </a:moveTo>
                <a:lnTo>
                  <a:pt x="3439" y="1748"/>
                </a:lnTo>
                <a:lnTo>
                  <a:pt x="3406" y="1737"/>
                </a:lnTo>
                <a:lnTo>
                  <a:pt x="3401" y="1703"/>
                </a:lnTo>
                <a:lnTo>
                  <a:pt x="3503" y="1694"/>
                </a:lnTo>
                <a:lnTo>
                  <a:pt x="3531" y="1727"/>
                </a:lnTo>
                <a:lnTo>
                  <a:pt x="3583" y="1748"/>
                </a:lnTo>
                <a:lnTo>
                  <a:pt x="3578" y="1760"/>
                </a:lnTo>
                <a:lnTo>
                  <a:pt x="3524" y="1748"/>
                </a:lnTo>
                <a:lnTo>
                  <a:pt x="3574" y="1777"/>
                </a:lnTo>
                <a:lnTo>
                  <a:pt x="3574" y="1793"/>
                </a:lnTo>
                <a:lnTo>
                  <a:pt x="3557" y="1798"/>
                </a:lnTo>
                <a:lnTo>
                  <a:pt x="3557" y="1798"/>
                </a:lnTo>
                <a:lnTo>
                  <a:pt x="3557" y="1798"/>
                </a:lnTo>
                <a:close/>
                <a:moveTo>
                  <a:pt x="1247" y="1694"/>
                </a:moveTo>
                <a:lnTo>
                  <a:pt x="1263" y="1703"/>
                </a:lnTo>
                <a:lnTo>
                  <a:pt x="1226" y="1737"/>
                </a:lnTo>
                <a:lnTo>
                  <a:pt x="1235" y="1727"/>
                </a:lnTo>
                <a:lnTo>
                  <a:pt x="1202" y="1727"/>
                </a:lnTo>
                <a:lnTo>
                  <a:pt x="1219" y="1711"/>
                </a:lnTo>
                <a:lnTo>
                  <a:pt x="1247" y="1694"/>
                </a:lnTo>
                <a:lnTo>
                  <a:pt x="1247" y="1694"/>
                </a:lnTo>
                <a:lnTo>
                  <a:pt x="1247" y="1694"/>
                </a:lnTo>
                <a:close/>
                <a:moveTo>
                  <a:pt x="1202" y="1703"/>
                </a:moveTo>
                <a:lnTo>
                  <a:pt x="1209" y="1703"/>
                </a:lnTo>
                <a:lnTo>
                  <a:pt x="1193" y="1703"/>
                </a:lnTo>
                <a:lnTo>
                  <a:pt x="1202" y="1703"/>
                </a:lnTo>
                <a:lnTo>
                  <a:pt x="1202" y="1703"/>
                </a:lnTo>
                <a:lnTo>
                  <a:pt x="1202" y="1703"/>
                </a:lnTo>
                <a:close/>
                <a:moveTo>
                  <a:pt x="1219" y="1711"/>
                </a:moveTo>
                <a:lnTo>
                  <a:pt x="1193" y="1727"/>
                </a:lnTo>
                <a:lnTo>
                  <a:pt x="1181" y="1720"/>
                </a:lnTo>
                <a:lnTo>
                  <a:pt x="1219" y="1711"/>
                </a:lnTo>
                <a:lnTo>
                  <a:pt x="1219" y="1711"/>
                </a:lnTo>
                <a:lnTo>
                  <a:pt x="1219" y="1711"/>
                </a:lnTo>
                <a:close/>
                <a:moveTo>
                  <a:pt x="1263" y="1711"/>
                </a:moveTo>
                <a:lnTo>
                  <a:pt x="1278" y="1720"/>
                </a:lnTo>
                <a:lnTo>
                  <a:pt x="1256" y="1720"/>
                </a:lnTo>
                <a:lnTo>
                  <a:pt x="1263" y="1711"/>
                </a:lnTo>
                <a:lnTo>
                  <a:pt x="1263" y="1711"/>
                </a:lnTo>
                <a:lnTo>
                  <a:pt x="1263" y="1711"/>
                </a:lnTo>
                <a:close/>
                <a:moveTo>
                  <a:pt x="1263" y="1720"/>
                </a:moveTo>
                <a:lnTo>
                  <a:pt x="1263" y="1727"/>
                </a:lnTo>
                <a:lnTo>
                  <a:pt x="1247" y="1737"/>
                </a:lnTo>
                <a:lnTo>
                  <a:pt x="1247" y="1720"/>
                </a:lnTo>
                <a:lnTo>
                  <a:pt x="1263" y="1720"/>
                </a:lnTo>
                <a:lnTo>
                  <a:pt x="1263" y="1720"/>
                </a:lnTo>
                <a:lnTo>
                  <a:pt x="1263" y="1720"/>
                </a:lnTo>
                <a:close/>
                <a:moveTo>
                  <a:pt x="1202" y="1737"/>
                </a:moveTo>
                <a:lnTo>
                  <a:pt x="1193" y="1737"/>
                </a:lnTo>
                <a:lnTo>
                  <a:pt x="1219" y="1737"/>
                </a:lnTo>
                <a:lnTo>
                  <a:pt x="1202" y="1737"/>
                </a:lnTo>
                <a:lnTo>
                  <a:pt x="1202" y="1737"/>
                </a:lnTo>
                <a:lnTo>
                  <a:pt x="1202" y="1737"/>
                </a:lnTo>
                <a:close/>
                <a:moveTo>
                  <a:pt x="1263" y="1760"/>
                </a:moveTo>
                <a:lnTo>
                  <a:pt x="1263" y="1777"/>
                </a:lnTo>
                <a:lnTo>
                  <a:pt x="1240" y="1793"/>
                </a:lnTo>
                <a:lnTo>
                  <a:pt x="1219" y="1793"/>
                </a:lnTo>
                <a:lnTo>
                  <a:pt x="1263" y="1760"/>
                </a:lnTo>
                <a:lnTo>
                  <a:pt x="1263" y="1760"/>
                </a:lnTo>
                <a:lnTo>
                  <a:pt x="1263" y="1760"/>
                </a:lnTo>
                <a:close/>
                <a:moveTo>
                  <a:pt x="1226" y="1822"/>
                </a:moveTo>
                <a:lnTo>
                  <a:pt x="1235" y="1831"/>
                </a:lnTo>
                <a:lnTo>
                  <a:pt x="1226" y="1838"/>
                </a:lnTo>
                <a:lnTo>
                  <a:pt x="1209" y="1831"/>
                </a:lnTo>
                <a:lnTo>
                  <a:pt x="1226" y="1822"/>
                </a:lnTo>
                <a:lnTo>
                  <a:pt x="1226" y="1822"/>
                </a:lnTo>
                <a:lnTo>
                  <a:pt x="1226" y="1822"/>
                </a:lnTo>
                <a:close/>
                <a:moveTo>
                  <a:pt x="1386" y="1876"/>
                </a:moveTo>
                <a:lnTo>
                  <a:pt x="1370" y="1871"/>
                </a:lnTo>
                <a:lnTo>
                  <a:pt x="1370" y="1864"/>
                </a:lnTo>
                <a:lnTo>
                  <a:pt x="1419" y="1864"/>
                </a:lnTo>
                <a:lnTo>
                  <a:pt x="1386" y="1876"/>
                </a:lnTo>
                <a:lnTo>
                  <a:pt x="1386" y="1876"/>
                </a:lnTo>
                <a:lnTo>
                  <a:pt x="1386" y="1876"/>
                </a:lnTo>
                <a:close/>
                <a:moveTo>
                  <a:pt x="1398" y="1904"/>
                </a:moveTo>
                <a:lnTo>
                  <a:pt x="1441" y="1904"/>
                </a:lnTo>
                <a:lnTo>
                  <a:pt x="1452" y="1909"/>
                </a:lnTo>
                <a:lnTo>
                  <a:pt x="1408" y="1926"/>
                </a:lnTo>
                <a:lnTo>
                  <a:pt x="1398" y="1921"/>
                </a:lnTo>
                <a:lnTo>
                  <a:pt x="1398" y="1904"/>
                </a:lnTo>
                <a:lnTo>
                  <a:pt x="1398" y="1904"/>
                </a:lnTo>
                <a:lnTo>
                  <a:pt x="1398" y="1904"/>
                </a:lnTo>
                <a:close/>
                <a:moveTo>
                  <a:pt x="1365" y="1909"/>
                </a:moveTo>
                <a:lnTo>
                  <a:pt x="1382" y="1926"/>
                </a:lnTo>
                <a:lnTo>
                  <a:pt x="1370" y="1942"/>
                </a:lnTo>
                <a:lnTo>
                  <a:pt x="1353" y="1942"/>
                </a:lnTo>
                <a:lnTo>
                  <a:pt x="1332" y="1933"/>
                </a:lnTo>
                <a:lnTo>
                  <a:pt x="1365" y="1909"/>
                </a:lnTo>
                <a:lnTo>
                  <a:pt x="1365" y="1909"/>
                </a:lnTo>
                <a:lnTo>
                  <a:pt x="1365" y="1909"/>
                </a:lnTo>
                <a:close/>
                <a:moveTo>
                  <a:pt x="3347" y="1921"/>
                </a:moveTo>
                <a:lnTo>
                  <a:pt x="3347" y="1926"/>
                </a:lnTo>
                <a:lnTo>
                  <a:pt x="3330" y="1926"/>
                </a:lnTo>
                <a:lnTo>
                  <a:pt x="3347" y="1921"/>
                </a:lnTo>
                <a:lnTo>
                  <a:pt x="3347" y="1921"/>
                </a:lnTo>
                <a:lnTo>
                  <a:pt x="3347" y="1921"/>
                </a:lnTo>
                <a:close/>
                <a:moveTo>
                  <a:pt x="3342" y="1933"/>
                </a:moveTo>
                <a:lnTo>
                  <a:pt x="3347" y="1942"/>
                </a:lnTo>
                <a:lnTo>
                  <a:pt x="3326" y="1933"/>
                </a:lnTo>
                <a:lnTo>
                  <a:pt x="3342" y="1933"/>
                </a:lnTo>
                <a:lnTo>
                  <a:pt x="3342" y="1933"/>
                </a:lnTo>
                <a:lnTo>
                  <a:pt x="3342" y="1933"/>
                </a:lnTo>
                <a:close/>
                <a:moveTo>
                  <a:pt x="3288" y="2003"/>
                </a:moveTo>
                <a:lnTo>
                  <a:pt x="3146" y="2020"/>
                </a:lnTo>
                <a:lnTo>
                  <a:pt x="3153" y="1999"/>
                </a:lnTo>
                <a:lnTo>
                  <a:pt x="3179" y="1987"/>
                </a:lnTo>
                <a:lnTo>
                  <a:pt x="3217" y="1966"/>
                </a:lnTo>
                <a:lnTo>
                  <a:pt x="3276" y="1959"/>
                </a:lnTo>
                <a:lnTo>
                  <a:pt x="3314" y="1933"/>
                </a:lnTo>
                <a:lnTo>
                  <a:pt x="3314" y="1949"/>
                </a:lnTo>
                <a:lnTo>
                  <a:pt x="3342" y="1959"/>
                </a:lnTo>
                <a:lnTo>
                  <a:pt x="3347" y="1987"/>
                </a:lnTo>
                <a:lnTo>
                  <a:pt x="3288" y="2003"/>
                </a:lnTo>
                <a:lnTo>
                  <a:pt x="3288" y="2003"/>
                </a:lnTo>
                <a:lnTo>
                  <a:pt x="3288" y="2003"/>
                </a:lnTo>
                <a:close/>
                <a:moveTo>
                  <a:pt x="1478" y="1949"/>
                </a:moveTo>
                <a:lnTo>
                  <a:pt x="1504" y="1966"/>
                </a:lnTo>
                <a:lnTo>
                  <a:pt x="1462" y="1959"/>
                </a:lnTo>
                <a:lnTo>
                  <a:pt x="1478" y="1949"/>
                </a:lnTo>
                <a:lnTo>
                  <a:pt x="1478" y="1949"/>
                </a:lnTo>
                <a:lnTo>
                  <a:pt x="1478" y="1949"/>
                </a:lnTo>
                <a:close/>
                <a:moveTo>
                  <a:pt x="3205" y="1966"/>
                </a:moveTo>
                <a:lnTo>
                  <a:pt x="3179" y="1982"/>
                </a:lnTo>
                <a:lnTo>
                  <a:pt x="3179" y="1966"/>
                </a:lnTo>
                <a:lnTo>
                  <a:pt x="3205" y="1966"/>
                </a:lnTo>
                <a:lnTo>
                  <a:pt x="3205" y="1966"/>
                </a:lnTo>
                <a:lnTo>
                  <a:pt x="3205" y="1966"/>
                </a:lnTo>
                <a:close/>
                <a:moveTo>
                  <a:pt x="1263" y="2015"/>
                </a:moveTo>
                <a:lnTo>
                  <a:pt x="1289" y="2032"/>
                </a:lnTo>
                <a:lnTo>
                  <a:pt x="1273" y="2032"/>
                </a:lnTo>
                <a:lnTo>
                  <a:pt x="1263" y="2020"/>
                </a:lnTo>
                <a:lnTo>
                  <a:pt x="1263" y="2015"/>
                </a:lnTo>
                <a:lnTo>
                  <a:pt x="1263" y="2015"/>
                </a:lnTo>
                <a:lnTo>
                  <a:pt x="1263" y="2015"/>
                </a:lnTo>
                <a:close/>
                <a:moveTo>
                  <a:pt x="1315" y="2155"/>
                </a:moveTo>
                <a:lnTo>
                  <a:pt x="1382" y="2148"/>
                </a:lnTo>
                <a:lnTo>
                  <a:pt x="1365" y="2148"/>
                </a:lnTo>
                <a:lnTo>
                  <a:pt x="1382" y="2131"/>
                </a:lnTo>
                <a:lnTo>
                  <a:pt x="1348" y="2148"/>
                </a:lnTo>
                <a:lnTo>
                  <a:pt x="1344" y="2148"/>
                </a:lnTo>
                <a:lnTo>
                  <a:pt x="1353" y="2143"/>
                </a:lnTo>
                <a:lnTo>
                  <a:pt x="1332" y="2143"/>
                </a:lnTo>
                <a:lnTo>
                  <a:pt x="1344" y="2131"/>
                </a:lnTo>
                <a:lnTo>
                  <a:pt x="1344" y="2126"/>
                </a:lnTo>
                <a:lnTo>
                  <a:pt x="1327" y="2131"/>
                </a:lnTo>
                <a:lnTo>
                  <a:pt x="1278" y="2126"/>
                </a:lnTo>
                <a:lnTo>
                  <a:pt x="1263" y="2114"/>
                </a:lnTo>
                <a:lnTo>
                  <a:pt x="1289" y="2110"/>
                </a:lnTo>
                <a:lnTo>
                  <a:pt x="1311" y="2114"/>
                </a:lnTo>
                <a:lnTo>
                  <a:pt x="1273" y="2098"/>
                </a:lnTo>
                <a:lnTo>
                  <a:pt x="1273" y="2086"/>
                </a:lnTo>
                <a:lnTo>
                  <a:pt x="1315" y="2086"/>
                </a:lnTo>
                <a:lnTo>
                  <a:pt x="1278" y="2070"/>
                </a:lnTo>
                <a:lnTo>
                  <a:pt x="1278" y="2053"/>
                </a:lnTo>
                <a:lnTo>
                  <a:pt x="1311" y="2037"/>
                </a:lnTo>
                <a:lnTo>
                  <a:pt x="1370" y="2044"/>
                </a:lnTo>
                <a:lnTo>
                  <a:pt x="1424" y="2086"/>
                </a:lnTo>
                <a:lnTo>
                  <a:pt x="1478" y="2098"/>
                </a:lnTo>
                <a:lnTo>
                  <a:pt x="1478" y="2110"/>
                </a:lnTo>
                <a:lnTo>
                  <a:pt x="1474" y="2114"/>
                </a:lnTo>
                <a:lnTo>
                  <a:pt x="1490" y="2126"/>
                </a:lnTo>
                <a:lnTo>
                  <a:pt x="1457" y="2148"/>
                </a:lnTo>
                <a:lnTo>
                  <a:pt x="1365" y="2171"/>
                </a:lnTo>
                <a:lnTo>
                  <a:pt x="1315" y="2155"/>
                </a:lnTo>
                <a:lnTo>
                  <a:pt x="1315" y="2155"/>
                </a:lnTo>
                <a:lnTo>
                  <a:pt x="1315" y="2155"/>
                </a:lnTo>
                <a:close/>
                <a:moveTo>
                  <a:pt x="1542" y="2086"/>
                </a:moveTo>
                <a:lnTo>
                  <a:pt x="1570" y="2098"/>
                </a:lnTo>
                <a:lnTo>
                  <a:pt x="1549" y="2114"/>
                </a:lnTo>
                <a:lnTo>
                  <a:pt x="1549" y="2131"/>
                </a:lnTo>
                <a:lnTo>
                  <a:pt x="1528" y="2143"/>
                </a:lnTo>
                <a:lnTo>
                  <a:pt x="1516" y="2114"/>
                </a:lnTo>
                <a:lnTo>
                  <a:pt x="1542" y="2093"/>
                </a:lnTo>
                <a:lnTo>
                  <a:pt x="1516" y="2093"/>
                </a:lnTo>
                <a:lnTo>
                  <a:pt x="1542" y="2086"/>
                </a:lnTo>
                <a:lnTo>
                  <a:pt x="1542" y="2086"/>
                </a:lnTo>
                <a:lnTo>
                  <a:pt x="1542" y="2086"/>
                </a:lnTo>
                <a:close/>
                <a:moveTo>
                  <a:pt x="3493" y="2110"/>
                </a:moveTo>
                <a:lnTo>
                  <a:pt x="3493" y="2114"/>
                </a:lnTo>
                <a:lnTo>
                  <a:pt x="3486" y="2126"/>
                </a:lnTo>
                <a:lnTo>
                  <a:pt x="3470" y="2114"/>
                </a:lnTo>
                <a:lnTo>
                  <a:pt x="3493" y="2110"/>
                </a:lnTo>
                <a:lnTo>
                  <a:pt x="3493" y="2110"/>
                </a:lnTo>
                <a:lnTo>
                  <a:pt x="3493" y="2110"/>
                </a:lnTo>
                <a:close/>
                <a:moveTo>
                  <a:pt x="1462" y="2242"/>
                </a:moveTo>
                <a:lnTo>
                  <a:pt x="1398" y="2259"/>
                </a:lnTo>
                <a:lnTo>
                  <a:pt x="1436" y="2242"/>
                </a:lnTo>
                <a:lnTo>
                  <a:pt x="1462" y="2242"/>
                </a:lnTo>
                <a:lnTo>
                  <a:pt x="1462" y="2242"/>
                </a:lnTo>
                <a:lnTo>
                  <a:pt x="1462" y="2242"/>
                </a:lnTo>
                <a:close/>
                <a:moveTo>
                  <a:pt x="1533" y="2242"/>
                </a:moveTo>
                <a:lnTo>
                  <a:pt x="1542" y="2254"/>
                </a:lnTo>
                <a:lnTo>
                  <a:pt x="1528" y="2254"/>
                </a:lnTo>
                <a:lnTo>
                  <a:pt x="1533" y="2242"/>
                </a:lnTo>
                <a:lnTo>
                  <a:pt x="1533" y="2242"/>
                </a:lnTo>
                <a:lnTo>
                  <a:pt x="1533" y="2242"/>
                </a:lnTo>
                <a:close/>
                <a:moveTo>
                  <a:pt x="1436" y="2259"/>
                </a:moveTo>
                <a:lnTo>
                  <a:pt x="1441" y="2259"/>
                </a:lnTo>
                <a:lnTo>
                  <a:pt x="1424" y="2259"/>
                </a:lnTo>
                <a:lnTo>
                  <a:pt x="1436" y="2259"/>
                </a:lnTo>
                <a:lnTo>
                  <a:pt x="1436" y="2259"/>
                </a:lnTo>
                <a:lnTo>
                  <a:pt x="1436" y="2259"/>
                </a:lnTo>
                <a:close/>
                <a:moveTo>
                  <a:pt x="1419" y="2259"/>
                </a:moveTo>
                <a:lnTo>
                  <a:pt x="1419" y="2266"/>
                </a:lnTo>
                <a:lnTo>
                  <a:pt x="1408" y="2259"/>
                </a:lnTo>
                <a:lnTo>
                  <a:pt x="1419" y="2259"/>
                </a:lnTo>
                <a:lnTo>
                  <a:pt x="1419" y="2259"/>
                </a:lnTo>
                <a:lnTo>
                  <a:pt x="1419" y="2259"/>
                </a:lnTo>
                <a:close/>
                <a:moveTo>
                  <a:pt x="1403" y="2266"/>
                </a:moveTo>
                <a:lnTo>
                  <a:pt x="1408" y="2275"/>
                </a:lnTo>
                <a:lnTo>
                  <a:pt x="1386" y="2282"/>
                </a:lnTo>
                <a:lnTo>
                  <a:pt x="1403" y="2266"/>
                </a:lnTo>
                <a:lnTo>
                  <a:pt x="1403" y="2266"/>
                </a:lnTo>
                <a:lnTo>
                  <a:pt x="1403" y="2266"/>
                </a:lnTo>
                <a:close/>
                <a:moveTo>
                  <a:pt x="1457" y="2308"/>
                </a:moveTo>
                <a:lnTo>
                  <a:pt x="1511" y="2299"/>
                </a:lnTo>
                <a:lnTo>
                  <a:pt x="1474" y="2315"/>
                </a:lnTo>
                <a:lnTo>
                  <a:pt x="1457" y="2308"/>
                </a:lnTo>
                <a:lnTo>
                  <a:pt x="1457" y="2308"/>
                </a:lnTo>
                <a:lnTo>
                  <a:pt x="1457" y="2308"/>
                </a:lnTo>
                <a:close/>
                <a:moveTo>
                  <a:pt x="3040" y="2299"/>
                </a:moveTo>
                <a:lnTo>
                  <a:pt x="3028" y="2315"/>
                </a:lnTo>
                <a:lnTo>
                  <a:pt x="3016" y="2308"/>
                </a:lnTo>
                <a:lnTo>
                  <a:pt x="3040" y="2299"/>
                </a:lnTo>
                <a:lnTo>
                  <a:pt x="3040" y="2299"/>
                </a:lnTo>
                <a:lnTo>
                  <a:pt x="3040" y="2299"/>
                </a:lnTo>
                <a:close/>
                <a:moveTo>
                  <a:pt x="2893" y="2308"/>
                </a:moveTo>
                <a:lnTo>
                  <a:pt x="2898" y="2308"/>
                </a:lnTo>
                <a:lnTo>
                  <a:pt x="2877" y="2308"/>
                </a:lnTo>
                <a:lnTo>
                  <a:pt x="2893" y="2308"/>
                </a:lnTo>
                <a:lnTo>
                  <a:pt x="2893" y="2308"/>
                </a:lnTo>
                <a:lnTo>
                  <a:pt x="2893" y="2308"/>
                </a:lnTo>
                <a:close/>
                <a:moveTo>
                  <a:pt x="1478" y="2315"/>
                </a:moveTo>
                <a:lnTo>
                  <a:pt x="1533" y="2315"/>
                </a:lnTo>
                <a:lnTo>
                  <a:pt x="1474" y="2320"/>
                </a:lnTo>
                <a:lnTo>
                  <a:pt x="1478" y="2315"/>
                </a:lnTo>
                <a:lnTo>
                  <a:pt x="1478" y="2315"/>
                </a:lnTo>
                <a:lnTo>
                  <a:pt x="1478" y="2315"/>
                </a:lnTo>
                <a:close/>
                <a:moveTo>
                  <a:pt x="1370" y="2320"/>
                </a:moveTo>
                <a:lnTo>
                  <a:pt x="1386" y="2320"/>
                </a:lnTo>
                <a:lnTo>
                  <a:pt x="1382" y="2332"/>
                </a:lnTo>
                <a:lnTo>
                  <a:pt x="1370" y="2320"/>
                </a:lnTo>
                <a:lnTo>
                  <a:pt x="1370" y="2320"/>
                </a:lnTo>
                <a:lnTo>
                  <a:pt x="1370" y="2320"/>
                </a:lnTo>
                <a:close/>
                <a:moveTo>
                  <a:pt x="1353" y="2370"/>
                </a:moveTo>
                <a:lnTo>
                  <a:pt x="1348" y="2353"/>
                </a:lnTo>
                <a:lnTo>
                  <a:pt x="1365" y="2365"/>
                </a:lnTo>
                <a:lnTo>
                  <a:pt x="1353" y="2370"/>
                </a:lnTo>
                <a:lnTo>
                  <a:pt x="1353" y="2370"/>
                </a:lnTo>
                <a:lnTo>
                  <a:pt x="1353" y="2370"/>
                </a:lnTo>
                <a:close/>
                <a:moveTo>
                  <a:pt x="2789" y="2410"/>
                </a:moveTo>
                <a:lnTo>
                  <a:pt x="2789" y="2419"/>
                </a:lnTo>
                <a:lnTo>
                  <a:pt x="2785" y="2410"/>
                </a:lnTo>
                <a:lnTo>
                  <a:pt x="2789" y="2410"/>
                </a:lnTo>
                <a:lnTo>
                  <a:pt x="2789" y="2410"/>
                </a:lnTo>
                <a:lnTo>
                  <a:pt x="2789" y="2410"/>
                </a:lnTo>
                <a:close/>
                <a:moveTo>
                  <a:pt x="1408" y="2464"/>
                </a:moveTo>
                <a:lnTo>
                  <a:pt x="1370" y="2476"/>
                </a:lnTo>
                <a:lnTo>
                  <a:pt x="1382" y="2464"/>
                </a:lnTo>
                <a:lnTo>
                  <a:pt x="1408" y="2464"/>
                </a:lnTo>
                <a:lnTo>
                  <a:pt x="1408" y="2464"/>
                </a:lnTo>
                <a:lnTo>
                  <a:pt x="1408" y="2464"/>
                </a:lnTo>
                <a:close/>
                <a:moveTo>
                  <a:pt x="2747" y="2464"/>
                </a:moveTo>
                <a:lnTo>
                  <a:pt x="2747" y="2476"/>
                </a:lnTo>
                <a:lnTo>
                  <a:pt x="2737" y="2481"/>
                </a:lnTo>
                <a:lnTo>
                  <a:pt x="2747" y="2464"/>
                </a:lnTo>
                <a:lnTo>
                  <a:pt x="2747" y="2464"/>
                </a:lnTo>
                <a:lnTo>
                  <a:pt x="2747" y="2464"/>
                </a:lnTo>
                <a:close/>
                <a:moveTo>
                  <a:pt x="2629" y="2554"/>
                </a:moveTo>
                <a:lnTo>
                  <a:pt x="2629" y="2542"/>
                </a:lnTo>
                <a:lnTo>
                  <a:pt x="2638" y="2542"/>
                </a:lnTo>
                <a:lnTo>
                  <a:pt x="2629" y="2554"/>
                </a:lnTo>
                <a:lnTo>
                  <a:pt x="2629" y="2554"/>
                </a:lnTo>
                <a:lnTo>
                  <a:pt x="2629" y="2554"/>
                </a:lnTo>
                <a:close/>
                <a:moveTo>
                  <a:pt x="1353" y="2570"/>
                </a:moveTo>
                <a:lnTo>
                  <a:pt x="1353" y="2559"/>
                </a:lnTo>
                <a:lnTo>
                  <a:pt x="1370" y="2559"/>
                </a:lnTo>
                <a:lnTo>
                  <a:pt x="1353" y="2570"/>
                </a:lnTo>
                <a:lnTo>
                  <a:pt x="1353" y="2570"/>
                </a:lnTo>
                <a:lnTo>
                  <a:pt x="1353" y="2570"/>
                </a:lnTo>
                <a:close/>
                <a:moveTo>
                  <a:pt x="2541" y="2599"/>
                </a:moveTo>
                <a:lnTo>
                  <a:pt x="2541" y="2587"/>
                </a:lnTo>
                <a:lnTo>
                  <a:pt x="2558" y="2575"/>
                </a:lnTo>
                <a:lnTo>
                  <a:pt x="2541" y="2599"/>
                </a:lnTo>
                <a:lnTo>
                  <a:pt x="2541" y="2599"/>
                </a:lnTo>
                <a:lnTo>
                  <a:pt x="2541" y="2599"/>
                </a:lnTo>
                <a:close/>
                <a:moveTo>
                  <a:pt x="2570" y="2592"/>
                </a:moveTo>
                <a:lnTo>
                  <a:pt x="2574" y="2587"/>
                </a:lnTo>
                <a:lnTo>
                  <a:pt x="2586" y="2587"/>
                </a:lnTo>
                <a:lnTo>
                  <a:pt x="2570" y="2592"/>
                </a:lnTo>
                <a:lnTo>
                  <a:pt x="2570" y="2592"/>
                </a:lnTo>
                <a:lnTo>
                  <a:pt x="2570" y="2592"/>
                </a:lnTo>
                <a:close/>
                <a:moveTo>
                  <a:pt x="2478" y="2625"/>
                </a:moveTo>
                <a:lnTo>
                  <a:pt x="2461" y="2625"/>
                </a:lnTo>
                <a:lnTo>
                  <a:pt x="2461" y="2599"/>
                </a:lnTo>
                <a:lnTo>
                  <a:pt x="2482" y="2587"/>
                </a:lnTo>
                <a:lnTo>
                  <a:pt x="2504" y="2599"/>
                </a:lnTo>
                <a:lnTo>
                  <a:pt x="2487" y="2592"/>
                </a:lnTo>
                <a:lnTo>
                  <a:pt x="2504" y="2608"/>
                </a:lnTo>
                <a:lnTo>
                  <a:pt x="2482" y="2625"/>
                </a:lnTo>
                <a:lnTo>
                  <a:pt x="2478" y="2615"/>
                </a:lnTo>
                <a:lnTo>
                  <a:pt x="2482" y="2625"/>
                </a:lnTo>
                <a:lnTo>
                  <a:pt x="2478" y="2625"/>
                </a:lnTo>
                <a:lnTo>
                  <a:pt x="2478" y="2625"/>
                </a:lnTo>
                <a:lnTo>
                  <a:pt x="2478" y="2625"/>
                </a:lnTo>
                <a:close/>
                <a:moveTo>
                  <a:pt x="2537" y="2608"/>
                </a:moveTo>
                <a:lnTo>
                  <a:pt x="2532" y="2592"/>
                </a:lnTo>
                <a:lnTo>
                  <a:pt x="2541" y="2592"/>
                </a:lnTo>
                <a:lnTo>
                  <a:pt x="2537" y="2608"/>
                </a:lnTo>
                <a:lnTo>
                  <a:pt x="2537" y="2608"/>
                </a:lnTo>
                <a:lnTo>
                  <a:pt x="2537" y="2608"/>
                </a:lnTo>
                <a:close/>
                <a:moveTo>
                  <a:pt x="2520" y="2625"/>
                </a:moveTo>
                <a:lnTo>
                  <a:pt x="2515" y="2608"/>
                </a:lnTo>
                <a:lnTo>
                  <a:pt x="2520" y="2608"/>
                </a:lnTo>
                <a:lnTo>
                  <a:pt x="2532" y="2615"/>
                </a:lnTo>
                <a:lnTo>
                  <a:pt x="2520" y="2625"/>
                </a:lnTo>
                <a:lnTo>
                  <a:pt x="2520" y="2625"/>
                </a:lnTo>
                <a:lnTo>
                  <a:pt x="2520" y="2625"/>
                </a:lnTo>
                <a:close/>
                <a:moveTo>
                  <a:pt x="1386" y="2625"/>
                </a:moveTo>
                <a:lnTo>
                  <a:pt x="1419" y="2615"/>
                </a:lnTo>
                <a:lnTo>
                  <a:pt x="1403" y="2625"/>
                </a:lnTo>
                <a:lnTo>
                  <a:pt x="1386" y="2625"/>
                </a:lnTo>
                <a:lnTo>
                  <a:pt x="1386" y="2625"/>
                </a:lnTo>
                <a:lnTo>
                  <a:pt x="1386" y="2625"/>
                </a:lnTo>
                <a:close/>
                <a:moveTo>
                  <a:pt x="2390" y="2632"/>
                </a:moveTo>
                <a:lnTo>
                  <a:pt x="2397" y="2625"/>
                </a:lnTo>
                <a:lnTo>
                  <a:pt x="2407" y="2625"/>
                </a:lnTo>
                <a:lnTo>
                  <a:pt x="2390" y="2632"/>
                </a:lnTo>
                <a:lnTo>
                  <a:pt x="2390" y="2632"/>
                </a:lnTo>
                <a:lnTo>
                  <a:pt x="2390" y="2632"/>
                </a:lnTo>
                <a:close/>
                <a:moveTo>
                  <a:pt x="1408" y="2641"/>
                </a:moveTo>
                <a:lnTo>
                  <a:pt x="1398" y="2632"/>
                </a:lnTo>
                <a:lnTo>
                  <a:pt x="1408" y="2632"/>
                </a:lnTo>
                <a:lnTo>
                  <a:pt x="1408" y="2641"/>
                </a:lnTo>
                <a:lnTo>
                  <a:pt x="1408" y="2641"/>
                </a:lnTo>
                <a:lnTo>
                  <a:pt x="1408" y="2641"/>
                </a:lnTo>
                <a:close/>
                <a:moveTo>
                  <a:pt x="2369" y="2641"/>
                </a:moveTo>
                <a:lnTo>
                  <a:pt x="2359" y="2632"/>
                </a:lnTo>
                <a:lnTo>
                  <a:pt x="2369" y="2632"/>
                </a:lnTo>
                <a:lnTo>
                  <a:pt x="2369" y="2641"/>
                </a:lnTo>
                <a:lnTo>
                  <a:pt x="2369" y="2641"/>
                </a:lnTo>
                <a:lnTo>
                  <a:pt x="2369" y="2641"/>
                </a:lnTo>
                <a:close/>
                <a:moveTo>
                  <a:pt x="2343" y="2653"/>
                </a:moveTo>
                <a:lnTo>
                  <a:pt x="2326" y="2648"/>
                </a:lnTo>
                <a:lnTo>
                  <a:pt x="2352" y="2653"/>
                </a:lnTo>
                <a:lnTo>
                  <a:pt x="2343" y="2653"/>
                </a:lnTo>
                <a:lnTo>
                  <a:pt x="2343" y="2653"/>
                </a:lnTo>
                <a:lnTo>
                  <a:pt x="2343" y="2653"/>
                </a:lnTo>
                <a:close/>
                <a:moveTo>
                  <a:pt x="2305" y="2759"/>
                </a:moveTo>
                <a:lnTo>
                  <a:pt x="2284" y="2752"/>
                </a:lnTo>
                <a:lnTo>
                  <a:pt x="2272" y="2726"/>
                </a:lnTo>
                <a:lnTo>
                  <a:pt x="2251" y="2703"/>
                </a:lnTo>
                <a:lnTo>
                  <a:pt x="2272" y="2710"/>
                </a:lnTo>
                <a:lnTo>
                  <a:pt x="2289" y="2743"/>
                </a:lnTo>
                <a:lnTo>
                  <a:pt x="2305" y="2752"/>
                </a:lnTo>
                <a:lnTo>
                  <a:pt x="2305" y="2759"/>
                </a:lnTo>
                <a:lnTo>
                  <a:pt x="2305" y="2759"/>
                </a:lnTo>
                <a:lnTo>
                  <a:pt x="2305" y="2759"/>
                </a:lnTo>
                <a:close/>
                <a:moveTo>
                  <a:pt x="1533" y="2743"/>
                </a:moveTo>
                <a:lnTo>
                  <a:pt x="1528" y="2759"/>
                </a:lnTo>
                <a:lnTo>
                  <a:pt x="1516" y="2759"/>
                </a:lnTo>
                <a:lnTo>
                  <a:pt x="1528" y="2743"/>
                </a:lnTo>
                <a:lnTo>
                  <a:pt x="1533" y="2743"/>
                </a:lnTo>
                <a:lnTo>
                  <a:pt x="1533" y="2743"/>
                </a:lnTo>
                <a:lnTo>
                  <a:pt x="1533" y="2743"/>
                </a:lnTo>
                <a:close/>
                <a:moveTo>
                  <a:pt x="1559" y="2752"/>
                </a:moveTo>
                <a:lnTo>
                  <a:pt x="1533" y="2776"/>
                </a:lnTo>
                <a:lnTo>
                  <a:pt x="1516" y="2781"/>
                </a:lnTo>
                <a:lnTo>
                  <a:pt x="1542" y="2743"/>
                </a:lnTo>
                <a:lnTo>
                  <a:pt x="1559" y="2752"/>
                </a:lnTo>
                <a:lnTo>
                  <a:pt x="1559" y="2752"/>
                </a:lnTo>
                <a:lnTo>
                  <a:pt x="1559" y="2752"/>
                </a:lnTo>
                <a:close/>
                <a:moveTo>
                  <a:pt x="1516" y="2764"/>
                </a:moveTo>
                <a:lnTo>
                  <a:pt x="1504" y="2776"/>
                </a:lnTo>
                <a:lnTo>
                  <a:pt x="1511" y="2764"/>
                </a:lnTo>
                <a:lnTo>
                  <a:pt x="1516" y="2764"/>
                </a:lnTo>
                <a:lnTo>
                  <a:pt x="1516" y="2764"/>
                </a:lnTo>
                <a:lnTo>
                  <a:pt x="1516" y="2764"/>
                </a:lnTo>
                <a:close/>
                <a:moveTo>
                  <a:pt x="2234" y="2776"/>
                </a:moveTo>
                <a:lnTo>
                  <a:pt x="2218" y="2776"/>
                </a:lnTo>
                <a:lnTo>
                  <a:pt x="2234" y="2776"/>
                </a:lnTo>
                <a:lnTo>
                  <a:pt x="2234" y="2776"/>
                </a:lnTo>
                <a:lnTo>
                  <a:pt x="2234" y="2776"/>
                </a:lnTo>
                <a:close/>
                <a:moveTo>
                  <a:pt x="2246" y="2781"/>
                </a:moveTo>
                <a:lnTo>
                  <a:pt x="2251" y="2776"/>
                </a:lnTo>
                <a:lnTo>
                  <a:pt x="2267" y="2776"/>
                </a:lnTo>
                <a:lnTo>
                  <a:pt x="2267" y="2781"/>
                </a:lnTo>
                <a:lnTo>
                  <a:pt x="2246" y="2781"/>
                </a:lnTo>
                <a:lnTo>
                  <a:pt x="2246" y="2781"/>
                </a:lnTo>
                <a:lnTo>
                  <a:pt x="2246" y="2781"/>
                </a:lnTo>
                <a:close/>
                <a:moveTo>
                  <a:pt x="2234" y="2903"/>
                </a:moveTo>
                <a:lnTo>
                  <a:pt x="2213" y="2892"/>
                </a:lnTo>
                <a:lnTo>
                  <a:pt x="2180" y="2870"/>
                </a:lnTo>
                <a:lnTo>
                  <a:pt x="2196" y="2863"/>
                </a:lnTo>
                <a:lnTo>
                  <a:pt x="2230" y="2887"/>
                </a:lnTo>
                <a:lnTo>
                  <a:pt x="2234" y="2903"/>
                </a:lnTo>
                <a:lnTo>
                  <a:pt x="2234" y="2903"/>
                </a:lnTo>
                <a:lnTo>
                  <a:pt x="2234" y="2903"/>
                </a:lnTo>
                <a:close/>
                <a:moveTo>
                  <a:pt x="2230" y="2908"/>
                </a:moveTo>
                <a:lnTo>
                  <a:pt x="2213" y="2903"/>
                </a:lnTo>
                <a:lnTo>
                  <a:pt x="2230" y="2903"/>
                </a:lnTo>
                <a:lnTo>
                  <a:pt x="2230" y="2908"/>
                </a:lnTo>
                <a:lnTo>
                  <a:pt x="2230" y="2908"/>
                </a:lnTo>
                <a:lnTo>
                  <a:pt x="2230" y="2908"/>
                </a:lnTo>
                <a:close/>
                <a:moveTo>
                  <a:pt x="1580" y="2903"/>
                </a:moveTo>
                <a:lnTo>
                  <a:pt x="1566" y="2908"/>
                </a:lnTo>
                <a:lnTo>
                  <a:pt x="1580" y="2903"/>
                </a:lnTo>
                <a:lnTo>
                  <a:pt x="1580" y="2903"/>
                </a:lnTo>
                <a:lnTo>
                  <a:pt x="1580" y="2903"/>
                </a:lnTo>
                <a:close/>
                <a:moveTo>
                  <a:pt x="1566" y="2903"/>
                </a:moveTo>
                <a:lnTo>
                  <a:pt x="1566" y="2908"/>
                </a:lnTo>
                <a:lnTo>
                  <a:pt x="1549" y="2908"/>
                </a:lnTo>
                <a:lnTo>
                  <a:pt x="1566" y="2903"/>
                </a:lnTo>
                <a:lnTo>
                  <a:pt x="1566" y="2903"/>
                </a:lnTo>
                <a:lnTo>
                  <a:pt x="1566" y="2903"/>
                </a:lnTo>
                <a:close/>
                <a:moveTo>
                  <a:pt x="2208" y="2932"/>
                </a:moveTo>
                <a:lnTo>
                  <a:pt x="2208" y="2920"/>
                </a:lnTo>
                <a:lnTo>
                  <a:pt x="2213" y="2920"/>
                </a:lnTo>
                <a:lnTo>
                  <a:pt x="2208" y="2932"/>
                </a:lnTo>
                <a:lnTo>
                  <a:pt x="2208" y="2932"/>
                </a:lnTo>
                <a:lnTo>
                  <a:pt x="2208" y="2932"/>
                </a:lnTo>
                <a:close/>
                <a:moveTo>
                  <a:pt x="2154" y="2958"/>
                </a:moveTo>
                <a:lnTo>
                  <a:pt x="2142" y="2948"/>
                </a:lnTo>
                <a:lnTo>
                  <a:pt x="2154" y="2941"/>
                </a:lnTo>
                <a:lnTo>
                  <a:pt x="2180" y="2948"/>
                </a:lnTo>
                <a:lnTo>
                  <a:pt x="2154" y="2958"/>
                </a:lnTo>
                <a:lnTo>
                  <a:pt x="2154" y="2958"/>
                </a:lnTo>
                <a:lnTo>
                  <a:pt x="2154" y="2958"/>
                </a:lnTo>
                <a:close/>
                <a:moveTo>
                  <a:pt x="2163" y="2981"/>
                </a:moveTo>
                <a:lnTo>
                  <a:pt x="2154" y="2965"/>
                </a:lnTo>
                <a:lnTo>
                  <a:pt x="2163" y="2974"/>
                </a:lnTo>
                <a:lnTo>
                  <a:pt x="2163" y="2981"/>
                </a:lnTo>
                <a:lnTo>
                  <a:pt x="2163" y="2981"/>
                </a:lnTo>
                <a:lnTo>
                  <a:pt x="2163" y="2981"/>
                </a:lnTo>
                <a:close/>
                <a:moveTo>
                  <a:pt x="2159" y="3059"/>
                </a:moveTo>
                <a:lnTo>
                  <a:pt x="2163" y="3043"/>
                </a:lnTo>
                <a:lnTo>
                  <a:pt x="2163" y="3059"/>
                </a:lnTo>
                <a:lnTo>
                  <a:pt x="2159" y="3059"/>
                </a:lnTo>
                <a:lnTo>
                  <a:pt x="2159" y="3059"/>
                </a:lnTo>
                <a:lnTo>
                  <a:pt x="2159" y="3059"/>
                </a:lnTo>
                <a:close/>
                <a:moveTo>
                  <a:pt x="1743" y="3130"/>
                </a:moveTo>
                <a:lnTo>
                  <a:pt x="1748" y="3142"/>
                </a:lnTo>
                <a:lnTo>
                  <a:pt x="1726" y="3130"/>
                </a:lnTo>
                <a:lnTo>
                  <a:pt x="1743" y="3130"/>
                </a:lnTo>
                <a:lnTo>
                  <a:pt x="1743" y="3130"/>
                </a:lnTo>
                <a:lnTo>
                  <a:pt x="1743" y="3130"/>
                </a:lnTo>
                <a:close/>
                <a:moveTo>
                  <a:pt x="1882" y="3154"/>
                </a:moveTo>
                <a:lnTo>
                  <a:pt x="1835" y="3170"/>
                </a:lnTo>
                <a:lnTo>
                  <a:pt x="1882" y="3147"/>
                </a:lnTo>
                <a:lnTo>
                  <a:pt x="1882" y="3154"/>
                </a:lnTo>
                <a:lnTo>
                  <a:pt x="1882" y="3154"/>
                </a:lnTo>
                <a:lnTo>
                  <a:pt x="1882" y="3154"/>
                </a:lnTo>
                <a:close/>
                <a:moveTo>
                  <a:pt x="1776" y="3163"/>
                </a:moveTo>
                <a:lnTo>
                  <a:pt x="1764" y="3170"/>
                </a:lnTo>
                <a:lnTo>
                  <a:pt x="1781" y="3170"/>
                </a:lnTo>
                <a:lnTo>
                  <a:pt x="1764" y="3180"/>
                </a:lnTo>
                <a:lnTo>
                  <a:pt x="1731" y="3163"/>
                </a:lnTo>
                <a:lnTo>
                  <a:pt x="1776" y="3163"/>
                </a:lnTo>
                <a:lnTo>
                  <a:pt x="1776" y="3163"/>
                </a:lnTo>
                <a:lnTo>
                  <a:pt x="1776" y="3163"/>
                </a:lnTo>
                <a:close/>
                <a:moveTo>
                  <a:pt x="1873" y="3170"/>
                </a:moveTo>
                <a:lnTo>
                  <a:pt x="1873" y="3180"/>
                </a:lnTo>
                <a:lnTo>
                  <a:pt x="1856" y="3180"/>
                </a:lnTo>
                <a:lnTo>
                  <a:pt x="1873" y="3170"/>
                </a:lnTo>
                <a:lnTo>
                  <a:pt x="1873" y="3170"/>
                </a:lnTo>
                <a:lnTo>
                  <a:pt x="1873" y="3170"/>
                </a:lnTo>
                <a:close/>
                <a:moveTo>
                  <a:pt x="1958" y="3208"/>
                </a:moveTo>
                <a:lnTo>
                  <a:pt x="1948" y="3225"/>
                </a:lnTo>
                <a:lnTo>
                  <a:pt x="1937" y="3236"/>
                </a:lnTo>
                <a:lnTo>
                  <a:pt x="1944" y="3208"/>
                </a:lnTo>
                <a:lnTo>
                  <a:pt x="1958" y="3208"/>
                </a:lnTo>
                <a:lnTo>
                  <a:pt x="1958" y="3208"/>
                </a:lnTo>
                <a:lnTo>
                  <a:pt x="1958" y="3208"/>
                </a:lnTo>
                <a:close/>
                <a:moveTo>
                  <a:pt x="2067" y="3258"/>
                </a:moveTo>
                <a:lnTo>
                  <a:pt x="2045" y="3253"/>
                </a:lnTo>
                <a:lnTo>
                  <a:pt x="2029" y="3236"/>
                </a:lnTo>
                <a:lnTo>
                  <a:pt x="2100" y="3241"/>
                </a:lnTo>
                <a:lnTo>
                  <a:pt x="2088" y="3253"/>
                </a:lnTo>
                <a:lnTo>
                  <a:pt x="2067" y="3241"/>
                </a:lnTo>
                <a:lnTo>
                  <a:pt x="2071" y="3253"/>
                </a:lnTo>
                <a:lnTo>
                  <a:pt x="2067" y="3258"/>
                </a:lnTo>
                <a:lnTo>
                  <a:pt x="2067" y="3258"/>
                </a:lnTo>
                <a:lnTo>
                  <a:pt x="2067" y="3258"/>
                </a:lnTo>
                <a:close/>
                <a:moveTo>
                  <a:pt x="2019" y="3241"/>
                </a:moveTo>
                <a:lnTo>
                  <a:pt x="2019" y="3253"/>
                </a:lnTo>
                <a:lnTo>
                  <a:pt x="2012" y="3258"/>
                </a:lnTo>
                <a:lnTo>
                  <a:pt x="1996" y="3253"/>
                </a:lnTo>
                <a:lnTo>
                  <a:pt x="2003" y="3236"/>
                </a:lnTo>
                <a:lnTo>
                  <a:pt x="2019" y="3241"/>
                </a:lnTo>
                <a:lnTo>
                  <a:pt x="2019" y="3241"/>
                </a:lnTo>
                <a:lnTo>
                  <a:pt x="2019" y="3241"/>
                </a:lnTo>
                <a:close/>
                <a:moveTo>
                  <a:pt x="2071" y="3258"/>
                </a:moveTo>
                <a:lnTo>
                  <a:pt x="2071" y="3253"/>
                </a:lnTo>
                <a:lnTo>
                  <a:pt x="2083" y="3253"/>
                </a:lnTo>
                <a:lnTo>
                  <a:pt x="2071" y="3258"/>
                </a:lnTo>
                <a:lnTo>
                  <a:pt x="2071" y="3258"/>
                </a:lnTo>
                <a:lnTo>
                  <a:pt x="2071" y="3258"/>
                </a:lnTo>
                <a:close/>
                <a:moveTo>
                  <a:pt x="2029" y="3265"/>
                </a:moveTo>
                <a:lnTo>
                  <a:pt x="2012" y="3258"/>
                </a:lnTo>
                <a:lnTo>
                  <a:pt x="2019" y="3253"/>
                </a:lnTo>
                <a:lnTo>
                  <a:pt x="2033" y="3253"/>
                </a:lnTo>
                <a:lnTo>
                  <a:pt x="2029" y="3265"/>
                </a:lnTo>
                <a:lnTo>
                  <a:pt x="2029" y="3265"/>
                </a:lnTo>
                <a:lnTo>
                  <a:pt x="2029" y="3265"/>
                </a:lnTo>
                <a:close/>
                <a:moveTo>
                  <a:pt x="2083" y="3258"/>
                </a:moveTo>
                <a:lnTo>
                  <a:pt x="2083" y="3253"/>
                </a:lnTo>
                <a:lnTo>
                  <a:pt x="2088" y="3258"/>
                </a:lnTo>
                <a:lnTo>
                  <a:pt x="2083" y="3258"/>
                </a:lnTo>
                <a:lnTo>
                  <a:pt x="2083" y="3258"/>
                </a:lnTo>
                <a:lnTo>
                  <a:pt x="2083" y="3258"/>
                </a:lnTo>
                <a:close/>
                <a:moveTo>
                  <a:pt x="2045" y="3274"/>
                </a:moveTo>
                <a:lnTo>
                  <a:pt x="2029" y="3265"/>
                </a:lnTo>
                <a:lnTo>
                  <a:pt x="2033" y="3258"/>
                </a:lnTo>
                <a:lnTo>
                  <a:pt x="2057" y="3265"/>
                </a:lnTo>
                <a:lnTo>
                  <a:pt x="2045" y="3274"/>
                </a:lnTo>
                <a:lnTo>
                  <a:pt x="2045" y="3274"/>
                </a:lnTo>
                <a:lnTo>
                  <a:pt x="2045" y="3274"/>
                </a:lnTo>
                <a:close/>
              </a:path>
            </a:pathLst>
          </a:custGeom>
          <a:pattFill prst="ltUpDiag">
            <a:fgClr>
              <a:schemeClr val="bg2">
                <a:lumMod val="90000"/>
              </a:schemeClr>
            </a:fgClr>
            <a:bgClr>
              <a:schemeClr val="bg1"/>
            </a:bgClr>
          </a:patt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3129" name="Gruppieren 3128">
            <a:extLst>
              <a:ext uri="{FF2B5EF4-FFF2-40B4-BE49-F238E27FC236}">
                <a16:creationId xmlns:a16="http://schemas.microsoft.com/office/drawing/2014/main" id="{5CAC58DD-B721-4807-AE6E-5657E8E66982}"/>
              </a:ext>
            </a:extLst>
          </p:cNvPr>
          <p:cNvGrpSpPr/>
          <p:nvPr/>
        </p:nvGrpSpPr>
        <p:grpSpPr bwMode="gray">
          <a:xfrm>
            <a:off x="7270750" y="1326268"/>
            <a:ext cx="3727450" cy="2122290"/>
            <a:chOff x="12192000" y="-155575"/>
            <a:chExt cx="5172075" cy="2944813"/>
          </a:xfrm>
          <a:pattFill prst="ltUpDiag">
            <a:fgClr>
              <a:schemeClr val="accent2"/>
            </a:fgClr>
            <a:bgClr>
              <a:schemeClr val="bg1"/>
            </a:bgClr>
          </a:pattFill>
        </p:grpSpPr>
        <p:sp>
          <p:nvSpPr>
            <p:cNvPr id="3130" name="Freeform 5">
              <a:extLst>
                <a:ext uri="{FF2B5EF4-FFF2-40B4-BE49-F238E27FC236}">
                  <a16:creationId xmlns:a16="http://schemas.microsoft.com/office/drawing/2014/main" id="{C62EB287-5BCF-48CC-AAAD-1665708FA59A}"/>
                </a:ext>
              </a:extLst>
            </p:cNvPr>
            <p:cNvSpPr>
              <a:spLocks/>
            </p:cNvSpPr>
            <p:nvPr/>
          </p:nvSpPr>
          <p:spPr bwMode="gray">
            <a:xfrm>
              <a:off x="12690475" y="-155575"/>
              <a:ext cx="1763713" cy="1243013"/>
            </a:xfrm>
            <a:custGeom>
              <a:avLst/>
              <a:gdLst>
                <a:gd name="T0" fmla="*/ 894 w 1111"/>
                <a:gd name="T1" fmla="*/ 606 h 783"/>
                <a:gd name="T2" fmla="*/ 986 w 1111"/>
                <a:gd name="T3" fmla="*/ 611 h 783"/>
                <a:gd name="T4" fmla="*/ 1099 w 1111"/>
                <a:gd name="T5" fmla="*/ 724 h 783"/>
                <a:gd name="T6" fmla="*/ 1097 w 1111"/>
                <a:gd name="T7" fmla="*/ 760 h 783"/>
                <a:gd name="T8" fmla="*/ 1050 w 1111"/>
                <a:gd name="T9" fmla="*/ 748 h 783"/>
                <a:gd name="T10" fmla="*/ 1031 w 1111"/>
                <a:gd name="T11" fmla="*/ 686 h 783"/>
                <a:gd name="T12" fmla="*/ 1007 w 1111"/>
                <a:gd name="T13" fmla="*/ 665 h 783"/>
                <a:gd name="T14" fmla="*/ 993 w 1111"/>
                <a:gd name="T15" fmla="*/ 627 h 783"/>
                <a:gd name="T16" fmla="*/ 955 w 1111"/>
                <a:gd name="T17" fmla="*/ 599 h 783"/>
                <a:gd name="T18" fmla="*/ 932 w 1111"/>
                <a:gd name="T19" fmla="*/ 599 h 783"/>
                <a:gd name="T20" fmla="*/ 927 w 1111"/>
                <a:gd name="T21" fmla="*/ 613 h 783"/>
                <a:gd name="T22" fmla="*/ 889 w 1111"/>
                <a:gd name="T23" fmla="*/ 618 h 783"/>
                <a:gd name="T24" fmla="*/ 842 w 1111"/>
                <a:gd name="T25" fmla="*/ 575 h 783"/>
                <a:gd name="T26" fmla="*/ 771 w 1111"/>
                <a:gd name="T27" fmla="*/ 559 h 783"/>
                <a:gd name="T28" fmla="*/ 646 w 1111"/>
                <a:gd name="T29" fmla="*/ 523 h 783"/>
                <a:gd name="T30" fmla="*/ 618 w 1111"/>
                <a:gd name="T31" fmla="*/ 514 h 783"/>
                <a:gd name="T32" fmla="*/ 573 w 1111"/>
                <a:gd name="T33" fmla="*/ 514 h 783"/>
                <a:gd name="T34" fmla="*/ 590 w 1111"/>
                <a:gd name="T35" fmla="*/ 538 h 783"/>
                <a:gd name="T36" fmla="*/ 545 w 1111"/>
                <a:gd name="T37" fmla="*/ 568 h 783"/>
                <a:gd name="T38" fmla="*/ 502 w 1111"/>
                <a:gd name="T39" fmla="*/ 590 h 783"/>
                <a:gd name="T40" fmla="*/ 491 w 1111"/>
                <a:gd name="T41" fmla="*/ 538 h 783"/>
                <a:gd name="T42" fmla="*/ 547 w 1111"/>
                <a:gd name="T43" fmla="*/ 488 h 783"/>
                <a:gd name="T44" fmla="*/ 450 w 1111"/>
                <a:gd name="T45" fmla="*/ 545 h 783"/>
                <a:gd name="T46" fmla="*/ 427 w 1111"/>
                <a:gd name="T47" fmla="*/ 575 h 783"/>
                <a:gd name="T48" fmla="*/ 403 w 1111"/>
                <a:gd name="T49" fmla="*/ 632 h 783"/>
                <a:gd name="T50" fmla="*/ 349 w 1111"/>
                <a:gd name="T51" fmla="*/ 667 h 783"/>
                <a:gd name="T52" fmla="*/ 302 w 1111"/>
                <a:gd name="T53" fmla="*/ 705 h 783"/>
                <a:gd name="T54" fmla="*/ 278 w 1111"/>
                <a:gd name="T55" fmla="*/ 726 h 783"/>
                <a:gd name="T56" fmla="*/ 224 w 1111"/>
                <a:gd name="T57" fmla="*/ 752 h 783"/>
                <a:gd name="T58" fmla="*/ 179 w 1111"/>
                <a:gd name="T59" fmla="*/ 764 h 783"/>
                <a:gd name="T60" fmla="*/ 153 w 1111"/>
                <a:gd name="T61" fmla="*/ 776 h 783"/>
                <a:gd name="T62" fmla="*/ 163 w 1111"/>
                <a:gd name="T63" fmla="*/ 752 h 783"/>
                <a:gd name="T64" fmla="*/ 278 w 1111"/>
                <a:gd name="T65" fmla="*/ 684 h 783"/>
                <a:gd name="T66" fmla="*/ 309 w 1111"/>
                <a:gd name="T67" fmla="*/ 627 h 783"/>
                <a:gd name="T68" fmla="*/ 276 w 1111"/>
                <a:gd name="T69" fmla="*/ 606 h 783"/>
                <a:gd name="T70" fmla="*/ 231 w 1111"/>
                <a:gd name="T71" fmla="*/ 604 h 783"/>
                <a:gd name="T72" fmla="*/ 189 w 1111"/>
                <a:gd name="T73" fmla="*/ 580 h 783"/>
                <a:gd name="T74" fmla="*/ 118 w 1111"/>
                <a:gd name="T75" fmla="*/ 566 h 783"/>
                <a:gd name="T76" fmla="*/ 108 w 1111"/>
                <a:gd name="T77" fmla="*/ 533 h 783"/>
                <a:gd name="T78" fmla="*/ 99 w 1111"/>
                <a:gd name="T79" fmla="*/ 507 h 783"/>
                <a:gd name="T80" fmla="*/ 75 w 1111"/>
                <a:gd name="T81" fmla="*/ 507 h 783"/>
                <a:gd name="T82" fmla="*/ 75 w 1111"/>
                <a:gd name="T83" fmla="*/ 474 h 783"/>
                <a:gd name="T84" fmla="*/ 106 w 1111"/>
                <a:gd name="T85" fmla="*/ 415 h 783"/>
                <a:gd name="T86" fmla="*/ 210 w 1111"/>
                <a:gd name="T87" fmla="*/ 363 h 783"/>
                <a:gd name="T88" fmla="*/ 163 w 1111"/>
                <a:gd name="T89" fmla="*/ 351 h 783"/>
                <a:gd name="T90" fmla="*/ 99 w 1111"/>
                <a:gd name="T91" fmla="*/ 351 h 783"/>
                <a:gd name="T92" fmla="*/ 23 w 1111"/>
                <a:gd name="T93" fmla="*/ 306 h 783"/>
                <a:gd name="T94" fmla="*/ 75 w 1111"/>
                <a:gd name="T95" fmla="*/ 269 h 783"/>
                <a:gd name="T96" fmla="*/ 186 w 1111"/>
                <a:gd name="T97" fmla="*/ 278 h 783"/>
                <a:gd name="T98" fmla="*/ 160 w 1111"/>
                <a:gd name="T99" fmla="*/ 231 h 783"/>
                <a:gd name="T100" fmla="*/ 196 w 1111"/>
                <a:gd name="T101" fmla="*/ 247 h 783"/>
                <a:gd name="T102" fmla="*/ 38 w 1111"/>
                <a:gd name="T103" fmla="*/ 155 h 783"/>
                <a:gd name="T104" fmla="*/ 186 w 1111"/>
                <a:gd name="T105" fmla="*/ 56 h 783"/>
                <a:gd name="T106" fmla="*/ 240 w 1111"/>
                <a:gd name="T107" fmla="*/ 40 h 783"/>
                <a:gd name="T108" fmla="*/ 368 w 1111"/>
                <a:gd name="T109" fmla="*/ 11 h 783"/>
                <a:gd name="T110" fmla="*/ 389 w 1111"/>
                <a:gd name="T111" fmla="*/ 11 h 783"/>
                <a:gd name="T112" fmla="*/ 469 w 1111"/>
                <a:gd name="T113" fmla="*/ 47 h 783"/>
                <a:gd name="T114" fmla="*/ 675 w 1111"/>
                <a:gd name="T115" fmla="*/ 75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11" h="783">
                  <a:moveTo>
                    <a:pt x="790" y="92"/>
                  </a:moveTo>
                  <a:lnTo>
                    <a:pt x="790" y="545"/>
                  </a:lnTo>
                  <a:lnTo>
                    <a:pt x="807" y="545"/>
                  </a:lnTo>
                  <a:lnTo>
                    <a:pt x="807" y="545"/>
                  </a:lnTo>
                  <a:lnTo>
                    <a:pt x="819" y="549"/>
                  </a:lnTo>
                  <a:lnTo>
                    <a:pt x="828" y="545"/>
                  </a:lnTo>
                  <a:lnTo>
                    <a:pt x="849" y="538"/>
                  </a:lnTo>
                  <a:lnTo>
                    <a:pt x="844" y="552"/>
                  </a:lnTo>
                  <a:lnTo>
                    <a:pt x="859" y="559"/>
                  </a:lnTo>
                  <a:lnTo>
                    <a:pt x="861" y="566"/>
                  </a:lnTo>
                  <a:lnTo>
                    <a:pt x="889" y="590"/>
                  </a:lnTo>
                  <a:lnTo>
                    <a:pt x="894" y="606"/>
                  </a:lnTo>
                  <a:lnTo>
                    <a:pt x="911" y="592"/>
                  </a:lnTo>
                  <a:lnTo>
                    <a:pt x="918" y="592"/>
                  </a:lnTo>
                  <a:lnTo>
                    <a:pt x="920" y="590"/>
                  </a:lnTo>
                  <a:lnTo>
                    <a:pt x="920" y="580"/>
                  </a:lnTo>
                  <a:lnTo>
                    <a:pt x="927" y="580"/>
                  </a:lnTo>
                  <a:lnTo>
                    <a:pt x="925" y="575"/>
                  </a:lnTo>
                  <a:lnTo>
                    <a:pt x="951" y="566"/>
                  </a:lnTo>
                  <a:lnTo>
                    <a:pt x="965" y="575"/>
                  </a:lnTo>
                  <a:lnTo>
                    <a:pt x="962" y="583"/>
                  </a:lnTo>
                  <a:lnTo>
                    <a:pt x="965" y="590"/>
                  </a:lnTo>
                  <a:lnTo>
                    <a:pt x="984" y="597"/>
                  </a:lnTo>
                  <a:lnTo>
                    <a:pt x="986" y="611"/>
                  </a:lnTo>
                  <a:lnTo>
                    <a:pt x="998" y="611"/>
                  </a:lnTo>
                  <a:lnTo>
                    <a:pt x="1010" y="625"/>
                  </a:lnTo>
                  <a:lnTo>
                    <a:pt x="1014" y="632"/>
                  </a:lnTo>
                  <a:lnTo>
                    <a:pt x="1045" y="679"/>
                  </a:lnTo>
                  <a:lnTo>
                    <a:pt x="1045" y="684"/>
                  </a:lnTo>
                  <a:lnTo>
                    <a:pt x="1052" y="686"/>
                  </a:lnTo>
                  <a:lnTo>
                    <a:pt x="1050" y="693"/>
                  </a:lnTo>
                  <a:lnTo>
                    <a:pt x="1054" y="698"/>
                  </a:lnTo>
                  <a:lnTo>
                    <a:pt x="1059" y="703"/>
                  </a:lnTo>
                  <a:lnTo>
                    <a:pt x="1066" y="703"/>
                  </a:lnTo>
                  <a:lnTo>
                    <a:pt x="1087" y="712"/>
                  </a:lnTo>
                  <a:lnTo>
                    <a:pt x="1099" y="724"/>
                  </a:lnTo>
                  <a:lnTo>
                    <a:pt x="1106" y="724"/>
                  </a:lnTo>
                  <a:lnTo>
                    <a:pt x="1111" y="734"/>
                  </a:lnTo>
                  <a:lnTo>
                    <a:pt x="1106" y="741"/>
                  </a:lnTo>
                  <a:lnTo>
                    <a:pt x="1111" y="760"/>
                  </a:lnTo>
                  <a:lnTo>
                    <a:pt x="1099" y="776"/>
                  </a:lnTo>
                  <a:lnTo>
                    <a:pt x="1090" y="783"/>
                  </a:lnTo>
                  <a:lnTo>
                    <a:pt x="1087" y="774"/>
                  </a:lnTo>
                  <a:lnTo>
                    <a:pt x="1087" y="778"/>
                  </a:lnTo>
                  <a:lnTo>
                    <a:pt x="1085" y="783"/>
                  </a:lnTo>
                  <a:lnTo>
                    <a:pt x="1080" y="774"/>
                  </a:lnTo>
                  <a:lnTo>
                    <a:pt x="1090" y="767"/>
                  </a:lnTo>
                  <a:lnTo>
                    <a:pt x="1097" y="760"/>
                  </a:lnTo>
                  <a:lnTo>
                    <a:pt x="1090" y="767"/>
                  </a:lnTo>
                  <a:lnTo>
                    <a:pt x="1080" y="767"/>
                  </a:lnTo>
                  <a:lnTo>
                    <a:pt x="1085" y="760"/>
                  </a:lnTo>
                  <a:lnTo>
                    <a:pt x="1095" y="760"/>
                  </a:lnTo>
                  <a:lnTo>
                    <a:pt x="1085" y="760"/>
                  </a:lnTo>
                  <a:lnTo>
                    <a:pt x="1085" y="743"/>
                  </a:lnTo>
                  <a:lnTo>
                    <a:pt x="1078" y="734"/>
                  </a:lnTo>
                  <a:lnTo>
                    <a:pt x="1080" y="726"/>
                  </a:lnTo>
                  <a:lnTo>
                    <a:pt x="1054" y="736"/>
                  </a:lnTo>
                  <a:lnTo>
                    <a:pt x="1059" y="736"/>
                  </a:lnTo>
                  <a:lnTo>
                    <a:pt x="1052" y="750"/>
                  </a:lnTo>
                  <a:lnTo>
                    <a:pt x="1050" y="748"/>
                  </a:lnTo>
                  <a:lnTo>
                    <a:pt x="1045" y="741"/>
                  </a:lnTo>
                  <a:lnTo>
                    <a:pt x="1052" y="729"/>
                  </a:lnTo>
                  <a:lnTo>
                    <a:pt x="1052" y="724"/>
                  </a:lnTo>
                  <a:lnTo>
                    <a:pt x="1059" y="719"/>
                  </a:lnTo>
                  <a:lnTo>
                    <a:pt x="1045" y="705"/>
                  </a:lnTo>
                  <a:lnTo>
                    <a:pt x="1045" y="703"/>
                  </a:lnTo>
                  <a:lnTo>
                    <a:pt x="1038" y="703"/>
                  </a:lnTo>
                  <a:lnTo>
                    <a:pt x="1045" y="693"/>
                  </a:lnTo>
                  <a:lnTo>
                    <a:pt x="1038" y="698"/>
                  </a:lnTo>
                  <a:lnTo>
                    <a:pt x="1031" y="693"/>
                  </a:lnTo>
                  <a:lnTo>
                    <a:pt x="1028" y="691"/>
                  </a:lnTo>
                  <a:lnTo>
                    <a:pt x="1031" y="686"/>
                  </a:lnTo>
                  <a:lnTo>
                    <a:pt x="1031" y="684"/>
                  </a:lnTo>
                  <a:lnTo>
                    <a:pt x="1028" y="686"/>
                  </a:lnTo>
                  <a:lnTo>
                    <a:pt x="1021" y="684"/>
                  </a:lnTo>
                  <a:lnTo>
                    <a:pt x="1017" y="682"/>
                  </a:lnTo>
                  <a:lnTo>
                    <a:pt x="1014" y="684"/>
                  </a:lnTo>
                  <a:lnTo>
                    <a:pt x="1007" y="682"/>
                  </a:lnTo>
                  <a:lnTo>
                    <a:pt x="1010" y="675"/>
                  </a:lnTo>
                  <a:lnTo>
                    <a:pt x="1021" y="672"/>
                  </a:lnTo>
                  <a:lnTo>
                    <a:pt x="1010" y="675"/>
                  </a:lnTo>
                  <a:lnTo>
                    <a:pt x="1007" y="667"/>
                  </a:lnTo>
                  <a:lnTo>
                    <a:pt x="1014" y="660"/>
                  </a:lnTo>
                  <a:lnTo>
                    <a:pt x="1007" y="665"/>
                  </a:lnTo>
                  <a:lnTo>
                    <a:pt x="1005" y="658"/>
                  </a:lnTo>
                  <a:lnTo>
                    <a:pt x="1024" y="665"/>
                  </a:lnTo>
                  <a:lnTo>
                    <a:pt x="1007" y="656"/>
                  </a:lnTo>
                  <a:lnTo>
                    <a:pt x="1007" y="649"/>
                  </a:lnTo>
                  <a:lnTo>
                    <a:pt x="1021" y="651"/>
                  </a:lnTo>
                  <a:lnTo>
                    <a:pt x="1007" y="649"/>
                  </a:lnTo>
                  <a:lnTo>
                    <a:pt x="1005" y="656"/>
                  </a:lnTo>
                  <a:lnTo>
                    <a:pt x="1000" y="644"/>
                  </a:lnTo>
                  <a:lnTo>
                    <a:pt x="1005" y="637"/>
                  </a:lnTo>
                  <a:lnTo>
                    <a:pt x="998" y="644"/>
                  </a:lnTo>
                  <a:lnTo>
                    <a:pt x="993" y="642"/>
                  </a:lnTo>
                  <a:lnTo>
                    <a:pt x="993" y="627"/>
                  </a:lnTo>
                  <a:lnTo>
                    <a:pt x="1000" y="620"/>
                  </a:lnTo>
                  <a:lnTo>
                    <a:pt x="993" y="620"/>
                  </a:lnTo>
                  <a:lnTo>
                    <a:pt x="986" y="634"/>
                  </a:lnTo>
                  <a:lnTo>
                    <a:pt x="972" y="627"/>
                  </a:lnTo>
                  <a:lnTo>
                    <a:pt x="965" y="613"/>
                  </a:lnTo>
                  <a:lnTo>
                    <a:pt x="965" y="611"/>
                  </a:lnTo>
                  <a:lnTo>
                    <a:pt x="962" y="611"/>
                  </a:lnTo>
                  <a:lnTo>
                    <a:pt x="960" y="611"/>
                  </a:lnTo>
                  <a:lnTo>
                    <a:pt x="953" y="590"/>
                  </a:lnTo>
                  <a:lnTo>
                    <a:pt x="955" y="580"/>
                  </a:lnTo>
                  <a:lnTo>
                    <a:pt x="953" y="590"/>
                  </a:lnTo>
                  <a:lnTo>
                    <a:pt x="955" y="599"/>
                  </a:lnTo>
                  <a:lnTo>
                    <a:pt x="951" y="592"/>
                  </a:lnTo>
                  <a:lnTo>
                    <a:pt x="960" y="613"/>
                  </a:lnTo>
                  <a:lnTo>
                    <a:pt x="962" y="627"/>
                  </a:lnTo>
                  <a:lnTo>
                    <a:pt x="962" y="634"/>
                  </a:lnTo>
                  <a:lnTo>
                    <a:pt x="955" y="634"/>
                  </a:lnTo>
                  <a:lnTo>
                    <a:pt x="951" y="625"/>
                  </a:lnTo>
                  <a:lnTo>
                    <a:pt x="939" y="627"/>
                  </a:lnTo>
                  <a:lnTo>
                    <a:pt x="939" y="620"/>
                  </a:lnTo>
                  <a:lnTo>
                    <a:pt x="934" y="611"/>
                  </a:lnTo>
                  <a:lnTo>
                    <a:pt x="944" y="606"/>
                  </a:lnTo>
                  <a:lnTo>
                    <a:pt x="934" y="606"/>
                  </a:lnTo>
                  <a:lnTo>
                    <a:pt x="932" y="599"/>
                  </a:lnTo>
                  <a:lnTo>
                    <a:pt x="934" y="611"/>
                  </a:lnTo>
                  <a:lnTo>
                    <a:pt x="927" y="611"/>
                  </a:lnTo>
                  <a:lnTo>
                    <a:pt x="918" y="604"/>
                  </a:lnTo>
                  <a:lnTo>
                    <a:pt x="915" y="606"/>
                  </a:lnTo>
                  <a:lnTo>
                    <a:pt x="906" y="599"/>
                  </a:lnTo>
                  <a:lnTo>
                    <a:pt x="908" y="606"/>
                  </a:lnTo>
                  <a:lnTo>
                    <a:pt x="903" y="611"/>
                  </a:lnTo>
                  <a:lnTo>
                    <a:pt x="908" y="606"/>
                  </a:lnTo>
                  <a:lnTo>
                    <a:pt x="918" y="611"/>
                  </a:lnTo>
                  <a:lnTo>
                    <a:pt x="920" y="611"/>
                  </a:lnTo>
                  <a:lnTo>
                    <a:pt x="918" y="611"/>
                  </a:lnTo>
                  <a:lnTo>
                    <a:pt x="927" y="613"/>
                  </a:lnTo>
                  <a:lnTo>
                    <a:pt x="920" y="618"/>
                  </a:lnTo>
                  <a:lnTo>
                    <a:pt x="927" y="613"/>
                  </a:lnTo>
                  <a:lnTo>
                    <a:pt x="934" y="627"/>
                  </a:lnTo>
                  <a:lnTo>
                    <a:pt x="927" y="632"/>
                  </a:lnTo>
                  <a:lnTo>
                    <a:pt x="920" y="625"/>
                  </a:lnTo>
                  <a:lnTo>
                    <a:pt x="920" y="627"/>
                  </a:lnTo>
                  <a:lnTo>
                    <a:pt x="925" y="632"/>
                  </a:lnTo>
                  <a:lnTo>
                    <a:pt x="918" y="627"/>
                  </a:lnTo>
                  <a:lnTo>
                    <a:pt x="920" y="632"/>
                  </a:lnTo>
                  <a:lnTo>
                    <a:pt x="918" y="634"/>
                  </a:lnTo>
                  <a:lnTo>
                    <a:pt x="911" y="627"/>
                  </a:lnTo>
                  <a:lnTo>
                    <a:pt x="889" y="618"/>
                  </a:lnTo>
                  <a:lnTo>
                    <a:pt x="894" y="613"/>
                  </a:lnTo>
                  <a:lnTo>
                    <a:pt x="887" y="613"/>
                  </a:lnTo>
                  <a:lnTo>
                    <a:pt x="873" y="599"/>
                  </a:lnTo>
                  <a:lnTo>
                    <a:pt x="861" y="597"/>
                  </a:lnTo>
                  <a:lnTo>
                    <a:pt x="866" y="592"/>
                  </a:lnTo>
                  <a:lnTo>
                    <a:pt x="861" y="597"/>
                  </a:lnTo>
                  <a:lnTo>
                    <a:pt x="828" y="580"/>
                  </a:lnTo>
                  <a:lnTo>
                    <a:pt x="835" y="573"/>
                  </a:lnTo>
                  <a:lnTo>
                    <a:pt x="830" y="561"/>
                  </a:lnTo>
                  <a:lnTo>
                    <a:pt x="835" y="557"/>
                  </a:lnTo>
                  <a:lnTo>
                    <a:pt x="837" y="561"/>
                  </a:lnTo>
                  <a:lnTo>
                    <a:pt x="842" y="575"/>
                  </a:lnTo>
                  <a:lnTo>
                    <a:pt x="842" y="573"/>
                  </a:lnTo>
                  <a:lnTo>
                    <a:pt x="842" y="566"/>
                  </a:lnTo>
                  <a:lnTo>
                    <a:pt x="852" y="566"/>
                  </a:lnTo>
                  <a:lnTo>
                    <a:pt x="835" y="557"/>
                  </a:lnTo>
                  <a:lnTo>
                    <a:pt x="821" y="566"/>
                  </a:lnTo>
                  <a:lnTo>
                    <a:pt x="809" y="568"/>
                  </a:lnTo>
                  <a:lnTo>
                    <a:pt x="781" y="561"/>
                  </a:lnTo>
                  <a:lnTo>
                    <a:pt x="783" y="557"/>
                  </a:lnTo>
                  <a:lnTo>
                    <a:pt x="781" y="549"/>
                  </a:lnTo>
                  <a:lnTo>
                    <a:pt x="778" y="552"/>
                  </a:lnTo>
                  <a:lnTo>
                    <a:pt x="781" y="557"/>
                  </a:lnTo>
                  <a:lnTo>
                    <a:pt x="771" y="559"/>
                  </a:lnTo>
                  <a:lnTo>
                    <a:pt x="741" y="552"/>
                  </a:lnTo>
                  <a:lnTo>
                    <a:pt x="708" y="557"/>
                  </a:lnTo>
                  <a:lnTo>
                    <a:pt x="696" y="549"/>
                  </a:lnTo>
                  <a:lnTo>
                    <a:pt x="686" y="549"/>
                  </a:lnTo>
                  <a:lnTo>
                    <a:pt x="675" y="545"/>
                  </a:lnTo>
                  <a:lnTo>
                    <a:pt x="682" y="531"/>
                  </a:lnTo>
                  <a:lnTo>
                    <a:pt x="686" y="523"/>
                  </a:lnTo>
                  <a:lnTo>
                    <a:pt x="665" y="538"/>
                  </a:lnTo>
                  <a:lnTo>
                    <a:pt x="649" y="533"/>
                  </a:lnTo>
                  <a:lnTo>
                    <a:pt x="656" y="528"/>
                  </a:lnTo>
                  <a:lnTo>
                    <a:pt x="637" y="528"/>
                  </a:lnTo>
                  <a:lnTo>
                    <a:pt x="646" y="523"/>
                  </a:lnTo>
                  <a:lnTo>
                    <a:pt x="642" y="521"/>
                  </a:lnTo>
                  <a:lnTo>
                    <a:pt x="627" y="528"/>
                  </a:lnTo>
                  <a:lnTo>
                    <a:pt x="625" y="523"/>
                  </a:lnTo>
                  <a:lnTo>
                    <a:pt x="642" y="521"/>
                  </a:lnTo>
                  <a:lnTo>
                    <a:pt x="642" y="514"/>
                  </a:lnTo>
                  <a:lnTo>
                    <a:pt x="630" y="521"/>
                  </a:lnTo>
                  <a:lnTo>
                    <a:pt x="625" y="514"/>
                  </a:lnTo>
                  <a:lnTo>
                    <a:pt x="627" y="507"/>
                  </a:lnTo>
                  <a:lnTo>
                    <a:pt x="642" y="507"/>
                  </a:lnTo>
                  <a:lnTo>
                    <a:pt x="637" y="507"/>
                  </a:lnTo>
                  <a:lnTo>
                    <a:pt x="627" y="507"/>
                  </a:lnTo>
                  <a:lnTo>
                    <a:pt x="618" y="514"/>
                  </a:lnTo>
                  <a:lnTo>
                    <a:pt x="613" y="512"/>
                  </a:lnTo>
                  <a:lnTo>
                    <a:pt x="606" y="514"/>
                  </a:lnTo>
                  <a:lnTo>
                    <a:pt x="601" y="514"/>
                  </a:lnTo>
                  <a:lnTo>
                    <a:pt x="601" y="505"/>
                  </a:lnTo>
                  <a:lnTo>
                    <a:pt x="599" y="514"/>
                  </a:lnTo>
                  <a:lnTo>
                    <a:pt x="592" y="521"/>
                  </a:lnTo>
                  <a:lnTo>
                    <a:pt x="585" y="514"/>
                  </a:lnTo>
                  <a:lnTo>
                    <a:pt x="594" y="500"/>
                  </a:lnTo>
                  <a:lnTo>
                    <a:pt x="585" y="512"/>
                  </a:lnTo>
                  <a:lnTo>
                    <a:pt x="583" y="507"/>
                  </a:lnTo>
                  <a:lnTo>
                    <a:pt x="575" y="512"/>
                  </a:lnTo>
                  <a:lnTo>
                    <a:pt x="573" y="514"/>
                  </a:lnTo>
                  <a:lnTo>
                    <a:pt x="583" y="512"/>
                  </a:lnTo>
                  <a:lnTo>
                    <a:pt x="575" y="521"/>
                  </a:lnTo>
                  <a:lnTo>
                    <a:pt x="566" y="521"/>
                  </a:lnTo>
                  <a:lnTo>
                    <a:pt x="573" y="521"/>
                  </a:lnTo>
                  <a:lnTo>
                    <a:pt x="566" y="528"/>
                  </a:lnTo>
                  <a:lnTo>
                    <a:pt x="580" y="523"/>
                  </a:lnTo>
                  <a:lnTo>
                    <a:pt x="583" y="531"/>
                  </a:lnTo>
                  <a:lnTo>
                    <a:pt x="566" y="538"/>
                  </a:lnTo>
                  <a:lnTo>
                    <a:pt x="573" y="533"/>
                  </a:lnTo>
                  <a:lnTo>
                    <a:pt x="580" y="538"/>
                  </a:lnTo>
                  <a:lnTo>
                    <a:pt x="585" y="531"/>
                  </a:lnTo>
                  <a:lnTo>
                    <a:pt x="590" y="538"/>
                  </a:lnTo>
                  <a:lnTo>
                    <a:pt x="575" y="549"/>
                  </a:lnTo>
                  <a:lnTo>
                    <a:pt x="585" y="545"/>
                  </a:lnTo>
                  <a:lnTo>
                    <a:pt x="580" y="552"/>
                  </a:lnTo>
                  <a:lnTo>
                    <a:pt x="580" y="549"/>
                  </a:lnTo>
                  <a:lnTo>
                    <a:pt x="575" y="559"/>
                  </a:lnTo>
                  <a:lnTo>
                    <a:pt x="559" y="559"/>
                  </a:lnTo>
                  <a:lnTo>
                    <a:pt x="559" y="552"/>
                  </a:lnTo>
                  <a:lnTo>
                    <a:pt x="552" y="561"/>
                  </a:lnTo>
                  <a:lnTo>
                    <a:pt x="552" y="557"/>
                  </a:lnTo>
                  <a:lnTo>
                    <a:pt x="547" y="552"/>
                  </a:lnTo>
                  <a:lnTo>
                    <a:pt x="540" y="566"/>
                  </a:lnTo>
                  <a:lnTo>
                    <a:pt x="545" y="568"/>
                  </a:lnTo>
                  <a:lnTo>
                    <a:pt x="538" y="559"/>
                  </a:lnTo>
                  <a:lnTo>
                    <a:pt x="538" y="573"/>
                  </a:lnTo>
                  <a:lnTo>
                    <a:pt x="528" y="566"/>
                  </a:lnTo>
                  <a:lnTo>
                    <a:pt x="531" y="568"/>
                  </a:lnTo>
                  <a:lnTo>
                    <a:pt x="528" y="573"/>
                  </a:lnTo>
                  <a:lnTo>
                    <a:pt x="517" y="580"/>
                  </a:lnTo>
                  <a:lnTo>
                    <a:pt x="521" y="568"/>
                  </a:lnTo>
                  <a:lnTo>
                    <a:pt x="514" y="580"/>
                  </a:lnTo>
                  <a:lnTo>
                    <a:pt x="514" y="575"/>
                  </a:lnTo>
                  <a:lnTo>
                    <a:pt x="514" y="580"/>
                  </a:lnTo>
                  <a:lnTo>
                    <a:pt x="514" y="583"/>
                  </a:lnTo>
                  <a:lnTo>
                    <a:pt x="502" y="590"/>
                  </a:lnTo>
                  <a:lnTo>
                    <a:pt x="495" y="590"/>
                  </a:lnTo>
                  <a:lnTo>
                    <a:pt x="495" y="592"/>
                  </a:lnTo>
                  <a:lnTo>
                    <a:pt x="486" y="590"/>
                  </a:lnTo>
                  <a:lnTo>
                    <a:pt x="479" y="597"/>
                  </a:lnTo>
                  <a:lnTo>
                    <a:pt x="469" y="590"/>
                  </a:lnTo>
                  <a:lnTo>
                    <a:pt x="474" y="583"/>
                  </a:lnTo>
                  <a:lnTo>
                    <a:pt x="486" y="580"/>
                  </a:lnTo>
                  <a:lnTo>
                    <a:pt x="500" y="566"/>
                  </a:lnTo>
                  <a:lnTo>
                    <a:pt x="486" y="573"/>
                  </a:lnTo>
                  <a:lnTo>
                    <a:pt x="474" y="568"/>
                  </a:lnTo>
                  <a:lnTo>
                    <a:pt x="479" y="557"/>
                  </a:lnTo>
                  <a:lnTo>
                    <a:pt x="491" y="538"/>
                  </a:lnTo>
                  <a:lnTo>
                    <a:pt x="493" y="533"/>
                  </a:lnTo>
                  <a:lnTo>
                    <a:pt x="491" y="523"/>
                  </a:lnTo>
                  <a:lnTo>
                    <a:pt x="517" y="512"/>
                  </a:lnTo>
                  <a:lnTo>
                    <a:pt x="521" y="514"/>
                  </a:lnTo>
                  <a:lnTo>
                    <a:pt x="535" y="514"/>
                  </a:lnTo>
                  <a:lnTo>
                    <a:pt x="559" y="521"/>
                  </a:lnTo>
                  <a:lnTo>
                    <a:pt x="554" y="514"/>
                  </a:lnTo>
                  <a:lnTo>
                    <a:pt x="540" y="514"/>
                  </a:lnTo>
                  <a:lnTo>
                    <a:pt x="528" y="505"/>
                  </a:lnTo>
                  <a:lnTo>
                    <a:pt x="538" y="493"/>
                  </a:lnTo>
                  <a:lnTo>
                    <a:pt x="552" y="490"/>
                  </a:lnTo>
                  <a:lnTo>
                    <a:pt x="547" y="488"/>
                  </a:lnTo>
                  <a:lnTo>
                    <a:pt x="538" y="490"/>
                  </a:lnTo>
                  <a:lnTo>
                    <a:pt x="528" y="500"/>
                  </a:lnTo>
                  <a:lnTo>
                    <a:pt x="514" y="500"/>
                  </a:lnTo>
                  <a:lnTo>
                    <a:pt x="500" y="505"/>
                  </a:lnTo>
                  <a:lnTo>
                    <a:pt x="495" y="512"/>
                  </a:lnTo>
                  <a:lnTo>
                    <a:pt x="483" y="514"/>
                  </a:lnTo>
                  <a:lnTo>
                    <a:pt x="476" y="521"/>
                  </a:lnTo>
                  <a:lnTo>
                    <a:pt x="479" y="523"/>
                  </a:lnTo>
                  <a:lnTo>
                    <a:pt x="474" y="523"/>
                  </a:lnTo>
                  <a:lnTo>
                    <a:pt x="465" y="533"/>
                  </a:lnTo>
                  <a:lnTo>
                    <a:pt x="458" y="545"/>
                  </a:lnTo>
                  <a:lnTo>
                    <a:pt x="450" y="545"/>
                  </a:lnTo>
                  <a:lnTo>
                    <a:pt x="439" y="545"/>
                  </a:lnTo>
                  <a:lnTo>
                    <a:pt x="446" y="545"/>
                  </a:lnTo>
                  <a:lnTo>
                    <a:pt x="455" y="552"/>
                  </a:lnTo>
                  <a:lnTo>
                    <a:pt x="450" y="559"/>
                  </a:lnTo>
                  <a:lnTo>
                    <a:pt x="434" y="566"/>
                  </a:lnTo>
                  <a:lnTo>
                    <a:pt x="441" y="566"/>
                  </a:lnTo>
                  <a:lnTo>
                    <a:pt x="441" y="568"/>
                  </a:lnTo>
                  <a:lnTo>
                    <a:pt x="434" y="573"/>
                  </a:lnTo>
                  <a:lnTo>
                    <a:pt x="427" y="573"/>
                  </a:lnTo>
                  <a:lnTo>
                    <a:pt x="434" y="568"/>
                  </a:lnTo>
                  <a:lnTo>
                    <a:pt x="427" y="566"/>
                  </a:lnTo>
                  <a:lnTo>
                    <a:pt x="427" y="575"/>
                  </a:lnTo>
                  <a:lnTo>
                    <a:pt x="420" y="580"/>
                  </a:lnTo>
                  <a:lnTo>
                    <a:pt x="420" y="583"/>
                  </a:lnTo>
                  <a:lnTo>
                    <a:pt x="410" y="585"/>
                  </a:lnTo>
                  <a:lnTo>
                    <a:pt x="413" y="585"/>
                  </a:lnTo>
                  <a:lnTo>
                    <a:pt x="406" y="597"/>
                  </a:lnTo>
                  <a:lnTo>
                    <a:pt x="406" y="599"/>
                  </a:lnTo>
                  <a:lnTo>
                    <a:pt x="422" y="599"/>
                  </a:lnTo>
                  <a:lnTo>
                    <a:pt x="434" y="611"/>
                  </a:lnTo>
                  <a:lnTo>
                    <a:pt x="427" y="618"/>
                  </a:lnTo>
                  <a:lnTo>
                    <a:pt x="410" y="625"/>
                  </a:lnTo>
                  <a:lnTo>
                    <a:pt x="413" y="627"/>
                  </a:lnTo>
                  <a:lnTo>
                    <a:pt x="403" y="632"/>
                  </a:lnTo>
                  <a:lnTo>
                    <a:pt x="410" y="632"/>
                  </a:lnTo>
                  <a:lnTo>
                    <a:pt x="406" y="637"/>
                  </a:lnTo>
                  <a:lnTo>
                    <a:pt x="401" y="637"/>
                  </a:lnTo>
                  <a:lnTo>
                    <a:pt x="396" y="644"/>
                  </a:lnTo>
                  <a:lnTo>
                    <a:pt x="382" y="644"/>
                  </a:lnTo>
                  <a:lnTo>
                    <a:pt x="382" y="649"/>
                  </a:lnTo>
                  <a:lnTo>
                    <a:pt x="375" y="656"/>
                  </a:lnTo>
                  <a:lnTo>
                    <a:pt x="366" y="656"/>
                  </a:lnTo>
                  <a:lnTo>
                    <a:pt x="361" y="665"/>
                  </a:lnTo>
                  <a:lnTo>
                    <a:pt x="351" y="665"/>
                  </a:lnTo>
                  <a:lnTo>
                    <a:pt x="351" y="667"/>
                  </a:lnTo>
                  <a:lnTo>
                    <a:pt x="349" y="667"/>
                  </a:lnTo>
                  <a:lnTo>
                    <a:pt x="337" y="675"/>
                  </a:lnTo>
                  <a:lnTo>
                    <a:pt x="344" y="675"/>
                  </a:lnTo>
                  <a:lnTo>
                    <a:pt x="344" y="682"/>
                  </a:lnTo>
                  <a:lnTo>
                    <a:pt x="337" y="686"/>
                  </a:lnTo>
                  <a:lnTo>
                    <a:pt x="328" y="686"/>
                  </a:lnTo>
                  <a:lnTo>
                    <a:pt x="321" y="698"/>
                  </a:lnTo>
                  <a:lnTo>
                    <a:pt x="314" y="693"/>
                  </a:lnTo>
                  <a:lnTo>
                    <a:pt x="307" y="701"/>
                  </a:lnTo>
                  <a:lnTo>
                    <a:pt x="309" y="703"/>
                  </a:lnTo>
                  <a:lnTo>
                    <a:pt x="304" y="701"/>
                  </a:lnTo>
                  <a:lnTo>
                    <a:pt x="290" y="705"/>
                  </a:lnTo>
                  <a:lnTo>
                    <a:pt x="302" y="705"/>
                  </a:lnTo>
                  <a:lnTo>
                    <a:pt x="302" y="710"/>
                  </a:lnTo>
                  <a:lnTo>
                    <a:pt x="290" y="705"/>
                  </a:lnTo>
                  <a:lnTo>
                    <a:pt x="285" y="710"/>
                  </a:lnTo>
                  <a:lnTo>
                    <a:pt x="278" y="719"/>
                  </a:lnTo>
                  <a:lnTo>
                    <a:pt x="283" y="719"/>
                  </a:lnTo>
                  <a:lnTo>
                    <a:pt x="285" y="717"/>
                  </a:lnTo>
                  <a:lnTo>
                    <a:pt x="290" y="717"/>
                  </a:lnTo>
                  <a:lnTo>
                    <a:pt x="288" y="724"/>
                  </a:lnTo>
                  <a:lnTo>
                    <a:pt x="295" y="719"/>
                  </a:lnTo>
                  <a:lnTo>
                    <a:pt x="285" y="724"/>
                  </a:lnTo>
                  <a:lnTo>
                    <a:pt x="283" y="729"/>
                  </a:lnTo>
                  <a:lnTo>
                    <a:pt x="278" y="726"/>
                  </a:lnTo>
                  <a:lnTo>
                    <a:pt x="283" y="724"/>
                  </a:lnTo>
                  <a:lnTo>
                    <a:pt x="278" y="724"/>
                  </a:lnTo>
                  <a:lnTo>
                    <a:pt x="278" y="734"/>
                  </a:lnTo>
                  <a:lnTo>
                    <a:pt x="271" y="729"/>
                  </a:lnTo>
                  <a:lnTo>
                    <a:pt x="269" y="734"/>
                  </a:lnTo>
                  <a:lnTo>
                    <a:pt x="255" y="736"/>
                  </a:lnTo>
                  <a:lnTo>
                    <a:pt x="248" y="748"/>
                  </a:lnTo>
                  <a:lnTo>
                    <a:pt x="250" y="736"/>
                  </a:lnTo>
                  <a:lnTo>
                    <a:pt x="243" y="736"/>
                  </a:lnTo>
                  <a:lnTo>
                    <a:pt x="233" y="743"/>
                  </a:lnTo>
                  <a:lnTo>
                    <a:pt x="226" y="748"/>
                  </a:lnTo>
                  <a:lnTo>
                    <a:pt x="224" y="752"/>
                  </a:lnTo>
                  <a:lnTo>
                    <a:pt x="219" y="750"/>
                  </a:lnTo>
                  <a:lnTo>
                    <a:pt x="217" y="750"/>
                  </a:lnTo>
                  <a:lnTo>
                    <a:pt x="217" y="752"/>
                  </a:lnTo>
                  <a:lnTo>
                    <a:pt x="210" y="750"/>
                  </a:lnTo>
                  <a:lnTo>
                    <a:pt x="203" y="757"/>
                  </a:lnTo>
                  <a:lnTo>
                    <a:pt x="196" y="757"/>
                  </a:lnTo>
                  <a:lnTo>
                    <a:pt x="196" y="752"/>
                  </a:lnTo>
                  <a:lnTo>
                    <a:pt x="198" y="748"/>
                  </a:lnTo>
                  <a:lnTo>
                    <a:pt x="203" y="750"/>
                  </a:lnTo>
                  <a:lnTo>
                    <a:pt x="193" y="748"/>
                  </a:lnTo>
                  <a:lnTo>
                    <a:pt x="186" y="760"/>
                  </a:lnTo>
                  <a:lnTo>
                    <a:pt x="179" y="764"/>
                  </a:lnTo>
                  <a:lnTo>
                    <a:pt x="181" y="767"/>
                  </a:lnTo>
                  <a:lnTo>
                    <a:pt x="174" y="771"/>
                  </a:lnTo>
                  <a:lnTo>
                    <a:pt x="174" y="767"/>
                  </a:lnTo>
                  <a:lnTo>
                    <a:pt x="172" y="767"/>
                  </a:lnTo>
                  <a:lnTo>
                    <a:pt x="172" y="771"/>
                  </a:lnTo>
                  <a:lnTo>
                    <a:pt x="165" y="771"/>
                  </a:lnTo>
                  <a:lnTo>
                    <a:pt x="163" y="760"/>
                  </a:lnTo>
                  <a:lnTo>
                    <a:pt x="160" y="764"/>
                  </a:lnTo>
                  <a:lnTo>
                    <a:pt x="163" y="767"/>
                  </a:lnTo>
                  <a:lnTo>
                    <a:pt x="163" y="774"/>
                  </a:lnTo>
                  <a:lnTo>
                    <a:pt x="160" y="774"/>
                  </a:lnTo>
                  <a:lnTo>
                    <a:pt x="153" y="776"/>
                  </a:lnTo>
                  <a:lnTo>
                    <a:pt x="144" y="767"/>
                  </a:lnTo>
                  <a:lnTo>
                    <a:pt x="144" y="771"/>
                  </a:lnTo>
                  <a:lnTo>
                    <a:pt x="151" y="774"/>
                  </a:lnTo>
                  <a:lnTo>
                    <a:pt x="141" y="778"/>
                  </a:lnTo>
                  <a:lnTo>
                    <a:pt x="141" y="776"/>
                  </a:lnTo>
                  <a:lnTo>
                    <a:pt x="144" y="774"/>
                  </a:lnTo>
                  <a:lnTo>
                    <a:pt x="141" y="767"/>
                  </a:lnTo>
                  <a:lnTo>
                    <a:pt x="151" y="767"/>
                  </a:lnTo>
                  <a:lnTo>
                    <a:pt x="153" y="760"/>
                  </a:lnTo>
                  <a:lnTo>
                    <a:pt x="163" y="757"/>
                  </a:lnTo>
                  <a:lnTo>
                    <a:pt x="165" y="757"/>
                  </a:lnTo>
                  <a:lnTo>
                    <a:pt x="163" y="752"/>
                  </a:lnTo>
                  <a:lnTo>
                    <a:pt x="172" y="743"/>
                  </a:lnTo>
                  <a:lnTo>
                    <a:pt x="186" y="734"/>
                  </a:lnTo>
                  <a:lnTo>
                    <a:pt x="207" y="734"/>
                  </a:lnTo>
                  <a:lnTo>
                    <a:pt x="217" y="743"/>
                  </a:lnTo>
                  <a:lnTo>
                    <a:pt x="214" y="736"/>
                  </a:lnTo>
                  <a:lnTo>
                    <a:pt x="231" y="741"/>
                  </a:lnTo>
                  <a:lnTo>
                    <a:pt x="231" y="736"/>
                  </a:lnTo>
                  <a:lnTo>
                    <a:pt x="219" y="729"/>
                  </a:lnTo>
                  <a:lnTo>
                    <a:pt x="226" y="717"/>
                  </a:lnTo>
                  <a:lnTo>
                    <a:pt x="264" y="698"/>
                  </a:lnTo>
                  <a:lnTo>
                    <a:pt x="278" y="698"/>
                  </a:lnTo>
                  <a:lnTo>
                    <a:pt x="278" y="684"/>
                  </a:lnTo>
                  <a:lnTo>
                    <a:pt x="297" y="667"/>
                  </a:lnTo>
                  <a:lnTo>
                    <a:pt x="304" y="665"/>
                  </a:lnTo>
                  <a:lnTo>
                    <a:pt x="307" y="667"/>
                  </a:lnTo>
                  <a:lnTo>
                    <a:pt x="314" y="667"/>
                  </a:lnTo>
                  <a:lnTo>
                    <a:pt x="314" y="665"/>
                  </a:lnTo>
                  <a:lnTo>
                    <a:pt x="309" y="667"/>
                  </a:lnTo>
                  <a:lnTo>
                    <a:pt x="304" y="660"/>
                  </a:lnTo>
                  <a:lnTo>
                    <a:pt x="307" y="642"/>
                  </a:lnTo>
                  <a:lnTo>
                    <a:pt x="314" y="634"/>
                  </a:lnTo>
                  <a:lnTo>
                    <a:pt x="321" y="637"/>
                  </a:lnTo>
                  <a:lnTo>
                    <a:pt x="309" y="634"/>
                  </a:lnTo>
                  <a:lnTo>
                    <a:pt x="309" y="627"/>
                  </a:lnTo>
                  <a:lnTo>
                    <a:pt x="323" y="611"/>
                  </a:lnTo>
                  <a:lnTo>
                    <a:pt x="332" y="597"/>
                  </a:lnTo>
                  <a:lnTo>
                    <a:pt x="323" y="606"/>
                  </a:lnTo>
                  <a:lnTo>
                    <a:pt x="290" y="618"/>
                  </a:lnTo>
                  <a:lnTo>
                    <a:pt x="278" y="611"/>
                  </a:lnTo>
                  <a:lnTo>
                    <a:pt x="283" y="604"/>
                  </a:lnTo>
                  <a:lnTo>
                    <a:pt x="290" y="604"/>
                  </a:lnTo>
                  <a:lnTo>
                    <a:pt x="297" y="606"/>
                  </a:lnTo>
                  <a:lnTo>
                    <a:pt x="283" y="592"/>
                  </a:lnTo>
                  <a:lnTo>
                    <a:pt x="283" y="599"/>
                  </a:lnTo>
                  <a:lnTo>
                    <a:pt x="278" y="606"/>
                  </a:lnTo>
                  <a:lnTo>
                    <a:pt x="276" y="606"/>
                  </a:lnTo>
                  <a:lnTo>
                    <a:pt x="276" y="604"/>
                  </a:lnTo>
                  <a:lnTo>
                    <a:pt x="271" y="604"/>
                  </a:lnTo>
                  <a:lnTo>
                    <a:pt x="276" y="611"/>
                  </a:lnTo>
                  <a:lnTo>
                    <a:pt x="271" y="611"/>
                  </a:lnTo>
                  <a:lnTo>
                    <a:pt x="271" y="611"/>
                  </a:lnTo>
                  <a:lnTo>
                    <a:pt x="269" y="611"/>
                  </a:lnTo>
                  <a:lnTo>
                    <a:pt x="276" y="620"/>
                  </a:lnTo>
                  <a:lnTo>
                    <a:pt x="269" y="627"/>
                  </a:lnTo>
                  <a:lnTo>
                    <a:pt x="264" y="625"/>
                  </a:lnTo>
                  <a:lnTo>
                    <a:pt x="250" y="604"/>
                  </a:lnTo>
                  <a:lnTo>
                    <a:pt x="240" y="611"/>
                  </a:lnTo>
                  <a:lnTo>
                    <a:pt x="231" y="604"/>
                  </a:lnTo>
                  <a:lnTo>
                    <a:pt x="226" y="599"/>
                  </a:lnTo>
                  <a:lnTo>
                    <a:pt x="193" y="618"/>
                  </a:lnTo>
                  <a:lnTo>
                    <a:pt x="174" y="613"/>
                  </a:lnTo>
                  <a:lnTo>
                    <a:pt x="181" y="613"/>
                  </a:lnTo>
                  <a:lnTo>
                    <a:pt x="189" y="611"/>
                  </a:lnTo>
                  <a:lnTo>
                    <a:pt x="186" y="606"/>
                  </a:lnTo>
                  <a:lnTo>
                    <a:pt x="186" y="599"/>
                  </a:lnTo>
                  <a:lnTo>
                    <a:pt x="193" y="597"/>
                  </a:lnTo>
                  <a:lnTo>
                    <a:pt x="181" y="599"/>
                  </a:lnTo>
                  <a:lnTo>
                    <a:pt x="179" y="597"/>
                  </a:lnTo>
                  <a:lnTo>
                    <a:pt x="181" y="585"/>
                  </a:lnTo>
                  <a:lnTo>
                    <a:pt x="189" y="580"/>
                  </a:lnTo>
                  <a:lnTo>
                    <a:pt x="172" y="552"/>
                  </a:lnTo>
                  <a:lnTo>
                    <a:pt x="174" y="545"/>
                  </a:lnTo>
                  <a:lnTo>
                    <a:pt x="170" y="549"/>
                  </a:lnTo>
                  <a:lnTo>
                    <a:pt x="170" y="545"/>
                  </a:lnTo>
                  <a:lnTo>
                    <a:pt x="172" y="531"/>
                  </a:lnTo>
                  <a:lnTo>
                    <a:pt x="181" y="528"/>
                  </a:lnTo>
                  <a:lnTo>
                    <a:pt x="172" y="531"/>
                  </a:lnTo>
                  <a:lnTo>
                    <a:pt x="163" y="545"/>
                  </a:lnTo>
                  <a:lnTo>
                    <a:pt x="165" y="549"/>
                  </a:lnTo>
                  <a:lnTo>
                    <a:pt x="165" y="557"/>
                  </a:lnTo>
                  <a:lnTo>
                    <a:pt x="141" y="566"/>
                  </a:lnTo>
                  <a:lnTo>
                    <a:pt x="118" y="566"/>
                  </a:lnTo>
                  <a:lnTo>
                    <a:pt x="115" y="559"/>
                  </a:lnTo>
                  <a:lnTo>
                    <a:pt x="118" y="557"/>
                  </a:lnTo>
                  <a:lnTo>
                    <a:pt x="108" y="552"/>
                  </a:lnTo>
                  <a:lnTo>
                    <a:pt x="104" y="545"/>
                  </a:lnTo>
                  <a:lnTo>
                    <a:pt x="89" y="538"/>
                  </a:lnTo>
                  <a:lnTo>
                    <a:pt x="92" y="533"/>
                  </a:lnTo>
                  <a:lnTo>
                    <a:pt x="82" y="533"/>
                  </a:lnTo>
                  <a:lnTo>
                    <a:pt x="104" y="514"/>
                  </a:lnTo>
                  <a:lnTo>
                    <a:pt x="104" y="521"/>
                  </a:lnTo>
                  <a:lnTo>
                    <a:pt x="115" y="523"/>
                  </a:lnTo>
                  <a:lnTo>
                    <a:pt x="115" y="528"/>
                  </a:lnTo>
                  <a:lnTo>
                    <a:pt x="108" y="533"/>
                  </a:lnTo>
                  <a:lnTo>
                    <a:pt x="122" y="523"/>
                  </a:lnTo>
                  <a:lnTo>
                    <a:pt x="127" y="523"/>
                  </a:lnTo>
                  <a:lnTo>
                    <a:pt x="127" y="531"/>
                  </a:lnTo>
                  <a:lnTo>
                    <a:pt x="130" y="531"/>
                  </a:lnTo>
                  <a:lnTo>
                    <a:pt x="137" y="523"/>
                  </a:lnTo>
                  <a:lnTo>
                    <a:pt x="125" y="521"/>
                  </a:lnTo>
                  <a:lnTo>
                    <a:pt x="134" y="514"/>
                  </a:lnTo>
                  <a:lnTo>
                    <a:pt x="127" y="514"/>
                  </a:lnTo>
                  <a:lnTo>
                    <a:pt x="122" y="521"/>
                  </a:lnTo>
                  <a:lnTo>
                    <a:pt x="89" y="514"/>
                  </a:lnTo>
                  <a:lnTo>
                    <a:pt x="85" y="514"/>
                  </a:lnTo>
                  <a:lnTo>
                    <a:pt x="99" y="507"/>
                  </a:lnTo>
                  <a:lnTo>
                    <a:pt x="89" y="507"/>
                  </a:lnTo>
                  <a:lnTo>
                    <a:pt x="89" y="500"/>
                  </a:lnTo>
                  <a:lnTo>
                    <a:pt x="85" y="505"/>
                  </a:lnTo>
                  <a:lnTo>
                    <a:pt x="82" y="505"/>
                  </a:lnTo>
                  <a:lnTo>
                    <a:pt x="89" y="493"/>
                  </a:lnTo>
                  <a:lnTo>
                    <a:pt x="97" y="490"/>
                  </a:lnTo>
                  <a:lnTo>
                    <a:pt x="104" y="483"/>
                  </a:lnTo>
                  <a:lnTo>
                    <a:pt x="82" y="498"/>
                  </a:lnTo>
                  <a:lnTo>
                    <a:pt x="82" y="505"/>
                  </a:lnTo>
                  <a:lnTo>
                    <a:pt x="82" y="505"/>
                  </a:lnTo>
                  <a:lnTo>
                    <a:pt x="82" y="512"/>
                  </a:lnTo>
                  <a:lnTo>
                    <a:pt x="75" y="507"/>
                  </a:lnTo>
                  <a:lnTo>
                    <a:pt x="75" y="500"/>
                  </a:lnTo>
                  <a:lnTo>
                    <a:pt x="68" y="498"/>
                  </a:lnTo>
                  <a:lnTo>
                    <a:pt x="68" y="493"/>
                  </a:lnTo>
                  <a:lnTo>
                    <a:pt x="71" y="490"/>
                  </a:lnTo>
                  <a:lnTo>
                    <a:pt x="71" y="488"/>
                  </a:lnTo>
                  <a:lnTo>
                    <a:pt x="61" y="490"/>
                  </a:lnTo>
                  <a:lnTo>
                    <a:pt x="59" y="483"/>
                  </a:lnTo>
                  <a:lnTo>
                    <a:pt x="59" y="481"/>
                  </a:lnTo>
                  <a:lnTo>
                    <a:pt x="61" y="483"/>
                  </a:lnTo>
                  <a:lnTo>
                    <a:pt x="71" y="481"/>
                  </a:lnTo>
                  <a:lnTo>
                    <a:pt x="61" y="474"/>
                  </a:lnTo>
                  <a:lnTo>
                    <a:pt x="75" y="474"/>
                  </a:lnTo>
                  <a:lnTo>
                    <a:pt x="71" y="467"/>
                  </a:lnTo>
                  <a:lnTo>
                    <a:pt x="75" y="460"/>
                  </a:lnTo>
                  <a:lnTo>
                    <a:pt x="85" y="446"/>
                  </a:lnTo>
                  <a:lnTo>
                    <a:pt x="92" y="441"/>
                  </a:lnTo>
                  <a:lnTo>
                    <a:pt x="104" y="448"/>
                  </a:lnTo>
                  <a:lnTo>
                    <a:pt x="97" y="441"/>
                  </a:lnTo>
                  <a:lnTo>
                    <a:pt x="108" y="431"/>
                  </a:lnTo>
                  <a:lnTo>
                    <a:pt x="99" y="436"/>
                  </a:lnTo>
                  <a:lnTo>
                    <a:pt x="97" y="429"/>
                  </a:lnTo>
                  <a:lnTo>
                    <a:pt x="104" y="420"/>
                  </a:lnTo>
                  <a:lnTo>
                    <a:pt x="113" y="420"/>
                  </a:lnTo>
                  <a:lnTo>
                    <a:pt x="106" y="415"/>
                  </a:lnTo>
                  <a:lnTo>
                    <a:pt x="108" y="408"/>
                  </a:lnTo>
                  <a:lnTo>
                    <a:pt x="122" y="408"/>
                  </a:lnTo>
                  <a:lnTo>
                    <a:pt x="141" y="420"/>
                  </a:lnTo>
                  <a:lnTo>
                    <a:pt x="148" y="420"/>
                  </a:lnTo>
                  <a:lnTo>
                    <a:pt x="163" y="408"/>
                  </a:lnTo>
                  <a:lnTo>
                    <a:pt x="170" y="396"/>
                  </a:lnTo>
                  <a:lnTo>
                    <a:pt x="179" y="396"/>
                  </a:lnTo>
                  <a:lnTo>
                    <a:pt x="174" y="398"/>
                  </a:lnTo>
                  <a:lnTo>
                    <a:pt x="203" y="396"/>
                  </a:lnTo>
                  <a:lnTo>
                    <a:pt x="214" y="384"/>
                  </a:lnTo>
                  <a:lnTo>
                    <a:pt x="214" y="380"/>
                  </a:lnTo>
                  <a:lnTo>
                    <a:pt x="210" y="363"/>
                  </a:lnTo>
                  <a:lnTo>
                    <a:pt x="203" y="354"/>
                  </a:lnTo>
                  <a:lnTo>
                    <a:pt x="196" y="354"/>
                  </a:lnTo>
                  <a:lnTo>
                    <a:pt x="198" y="346"/>
                  </a:lnTo>
                  <a:lnTo>
                    <a:pt x="207" y="351"/>
                  </a:lnTo>
                  <a:lnTo>
                    <a:pt x="214" y="344"/>
                  </a:lnTo>
                  <a:lnTo>
                    <a:pt x="214" y="339"/>
                  </a:lnTo>
                  <a:lnTo>
                    <a:pt x="203" y="330"/>
                  </a:lnTo>
                  <a:lnTo>
                    <a:pt x="207" y="328"/>
                  </a:lnTo>
                  <a:lnTo>
                    <a:pt x="203" y="328"/>
                  </a:lnTo>
                  <a:lnTo>
                    <a:pt x="196" y="337"/>
                  </a:lnTo>
                  <a:lnTo>
                    <a:pt x="174" y="339"/>
                  </a:lnTo>
                  <a:lnTo>
                    <a:pt x="163" y="351"/>
                  </a:lnTo>
                  <a:lnTo>
                    <a:pt x="163" y="354"/>
                  </a:lnTo>
                  <a:lnTo>
                    <a:pt x="158" y="356"/>
                  </a:lnTo>
                  <a:lnTo>
                    <a:pt x="153" y="351"/>
                  </a:lnTo>
                  <a:lnTo>
                    <a:pt x="148" y="339"/>
                  </a:lnTo>
                  <a:lnTo>
                    <a:pt x="141" y="346"/>
                  </a:lnTo>
                  <a:lnTo>
                    <a:pt x="151" y="351"/>
                  </a:lnTo>
                  <a:lnTo>
                    <a:pt x="148" y="354"/>
                  </a:lnTo>
                  <a:lnTo>
                    <a:pt x="137" y="346"/>
                  </a:lnTo>
                  <a:lnTo>
                    <a:pt x="127" y="344"/>
                  </a:lnTo>
                  <a:lnTo>
                    <a:pt x="97" y="346"/>
                  </a:lnTo>
                  <a:lnTo>
                    <a:pt x="97" y="351"/>
                  </a:lnTo>
                  <a:lnTo>
                    <a:pt x="99" y="351"/>
                  </a:lnTo>
                  <a:lnTo>
                    <a:pt x="92" y="354"/>
                  </a:lnTo>
                  <a:lnTo>
                    <a:pt x="61" y="346"/>
                  </a:lnTo>
                  <a:lnTo>
                    <a:pt x="52" y="339"/>
                  </a:lnTo>
                  <a:lnTo>
                    <a:pt x="47" y="337"/>
                  </a:lnTo>
                  <a:lnTo>
                    <a:pt x="52" y="330"/>
                  </a:lnTo>
                  <a:lnTo>
                    <a:pt x="35" y="316"/>
                  </a:lnTo>
                  <a:lnTo>
                    <a:pt x="38" y="309"/>
                  </a:lnTo>
                  <a:lnTo>
                    <a:pt x="35" y="316"/>
                  </a:lnTo>
                  <a:lnTo>
                    <a:pt x="45" y="321"/>
                  </a:lnTo>
                  <a:lnTo>
                    <a:pt x="52" y="309"/>
                  </a:lnTo>
                  <a:lnTo>
                    <a:pt x="61" y="313"/>
                  </a:lnTo>
                  <a:lnTo>
                    <a:pt x="23" y="306"/>
                  </a:lnTo>
                  <a:lnTo>
                    <a:pt x="0" y="292"/>
                  </a:lnTo>
                  <a:lnTo>
                    <a:pt x="9" y="287"/>
                  </a:lnTo>
                  <a:lnTo>
                    <a:pt x="2" y="292"/>
                  </a:lnTo>
                  <a:lnTo>
                    <a:pt x="19" y="292"/>
                  </a:lnTo>
                  <a:lnTo>
                    <a:pt x="19" y="287"/>
                  </a:lnTo>
                  <a:lnTo>
                    <a:pt x="19" y="285"/>
                  </a:lnTo>
                  <a:lnTo>
                    <a:pt x="30" y="283"/>
                  </a:lnTo>
                  <a:lnTo>
                    <a:pt x="38" y="283"/>
                  </a:lnTo>
                  <a:lnTo>
                    <a:pt x="35" y="278"/>
                  </a:lnTo>
                  <a:lnTo>
                    <a:pt x="54" y="269"/>
                  </a:lnTo>
                  <a:lnTo>
                    <a:pt x="71" y="271"/>
                  </a:lnTo>
                  <a:lnTo>
                    <a:pt x="75" y="269"/>
                  </a:lnTo>
                  <a:lnTo>
                    <a:pt x="68" y="264"/>
                  </a:lnTo>
                  <a:lnTo>
                    <a:pt x="75" y="259"/>
                  </a:lnTo>
                  <a:lnTo>
                    <a:pt x="113" y="247"/>
                  </a:lnTo>
                  <a:lnTo>
                    <a:pt x="130" y="247"/>
                  </a:lnTo>
                  <a:lnTo>
                    <a:pt x="125" y="247"/>
                  </a:lnTo>
                  <a:lnTo>
                    <a:pt x="127" y="252"/>
                  </a:lnTo>
                  <a:lnTo>
                    <a:pt x="125" y="259"/>
                  </a:lnTo>
                  <a:lnTo>
                    <a:pt x="125" y="262"/>
                  </a:lnTo>
                  <a:lnTo>
                    <a:pt x="115" y="269"/>
                  </a:lnTo>
                  <a:lnTo>
                    <a:pt x="130" y="276"/>
                  </a:lnTo>
                  <a:lnTo>
                    <a:pt x="179" y="276"/>
                  </a:lnTo>
                  <a:lnTo>
                    <a:pt x="186" y="278"/>
                  </a:lnTo>
                  <a:lnTo>
                    <a:pt x="196" y="264"/>
                  </a:lnTo>
                  <a:lnTo>
                    <a:pt x="207" y="264"/>
                  </a:lnTo>
                  <a:lnTo>
                    <a:pt x="203" y="271"/>
                  </a:lnTo>
                  <a:lnTo>
                    <a:pt x="207" y="264"/>
                  </a:lnTo>
                  <a:lnTo>
                    <a:pt x="203" y="259"/>
                  </a:lnTo>
                  <a:lnTo>
                    <a:pt x="196" y="254"/>
                  </a:lnTo>
                  <a:lnTo>
                    <a:pt x="181" y="259"/>
                  </a:lnTo>
                  <a:lnTo>
                    <a:pt x="181" y="262"/>
                  </a:lnTo>
                  <a:lnTo>
                    <a:pt x="181" y="247"/>
                  </a:lnTo>
                  <a:lnTo>
                    <a:pt x="172" y="240"/>
                  </a:lnTo>
                  <a:lnTo>
                    <a:pt x="165" y="238"/>
                  </a:lnTo>
                  <a:lnTo>
                    <a:pt x="160" y="231"/>
                  </a:lnTo>
                  <a:lnTo>
                    <a:pt x="170" y="228"/>
                  </a:lnTo>
                  <a:lnTo>
                    <a:pt x="174" y="236"/>
                  </a:lnTo>
                  <a:lnTo>
                    <a:pt x="179" y="245"/>
                  </a:lnTo>
                  <a:lnTo>
                    <a:pt x="193" y="254"/>
                  </a:lnTo>
                  <a:lnTo>
                    <a:pt x="203" y="247"/>
                  </a:lnTo>
                  <a:lnTo>
                    <a:pt x="214" y="259"/>
                  </a:lnTo>
                  <a:lnTo>
                    <a:pt x="231" y="259"/>
                  </a:lnTo>
                  <a:lnTo>
                    <a:pt x="231" y="245"/>
                  </a:lnTo>
                  <a:lnTo>
                    <a:pt x="219" y="247"/>
                  </a:lnTo>
                  <a:lnTo>
                    <a:pt x="203" y="245"/>
                  </a:lnTo>
                  <a:lnTo>
                    <a:pt x="203" y="247"/>
                  </a:lnTo>
                  <a:lnTo>
                    <a:pt x="196" y="247"/>
                  </a:lnTo>
                  <a:lnTo>
                    <a:pt x="181" y="240"/>
                  </a:lnTo>
                  <a:lnTo>
                    <a:pt x="189" y="228"/>
                  </a:lnTo>
                  <a:lnTo>
                    <a:pt x="196" y="228"/>
                  </a:lnTo>
                  <a:lnTo>
                    <a:pt x="181" y="226"/>
                  </a:lnTo>
                  <a:lnTo>
                    <a:pt x="165" y="226"/>
                  </a:lnTo>
                  <a:lnTo>
                    <a:pt x="170" y="219"/>
                  </a:lnTo>
                  <a:lnTo>
                    <a:pt x="163" y="226"/>
                  </a:lnTo>
                  <a:lnTo>
                    <a:pt x="127" y="221"/>
                  </a:lnTo>
                  <a:lnTo>
                    <a:pt x="127" y="207"/>
                  </a:lnTo>
                  <a:lnTo>
                    <a:pt x="118" y="195"/>
                  </a:lnTo>
                  <a:lnTo>
                    <a:pt x="82" y="172"/>
                  </a:lnTo>
                  <a:lnTo>
                    <a:pt x="38" y="155"/>
                  </a:lnTo>
                  <a:lnTo>
                    <a:pt x="54" y="153"/>
                  </a:lnTo>
                  <a:lnTo>
                    <a:pt x="59" y="146"/>
                  </a:lnTo>
                  <a:lnTo>
                    <a:pt x="59" y="129"/>
                  </a:lnTo>
                  <a:lnTo>
                    <a:pt x="113" y="127"/>
                  </a:lnTo>
                  <a:lnTo>
                    <a:pt x="130" y="118"/>
                  </a:lnTo>
                  <a:lnTo>
                    <a:pt x="144" y="101"/>
                  </a:lnTo>
                  <a:lnTo>
                    <a:pt x="144" y="108"/>
                  </a:lnTo>
                  <a:lnTo>
                    <a:pt x="148" y="103"/>
                  </a:lnTo>
                  <a:lnTo>
                    <a:pt x="153" y="87"/>
                  </a:lnTo>
                  <a:lnTo>
                    <a:pt x="151" y="84"/>
                  </a:lnTo>
                  <a:lnTo>
                    <a:pt x="181" y="54"/>
                  </a:lnTo>
                  <a:lnTo>
                    <a:pt x="186" y="56"/>
                  </a:lnTo>
                  <a:lnTo>
                    <a:pt x="174" y="63"/>
                  </a:lnTo>
                  <a:lnTo>
                    <a:pt x="203" y="56"/>
                  </a:lnTo>
                  <a:lnTo>
                    <a:pt x="240" y="40"/>
                  </a:lnTo>
                  <a:lnTo>
                    <a:pt x="240" y="47"/>
                  </a:lnTo>
                  <a:lnTo>
                    <a:pt x="233" y="47"/>
                  </a:lnTo>
                  <a:lnTo>
                    <a:pt x="238" y="47"/>
                  </a:lnTo>
                  <a:lnTo>
                    <a:pt x="243" y="56"/>
                  </a:lnTo>
                  <a:lnTo>
                    <a:pt x="240" y="54"/>
                  </a:lnTo>
                  <a:lnTo>
                    <a:pt x="243" y="47"/>
                  </a:lnTo>
                  <a:lnTo>
                    <a:pt x="259" y="42"/>
                  </a:lnTo>
                  <a:lnTo>
                    <a:pt x="248" y="47"/>
                  </a:lnTo>
                  <a:lnTo>
                    <a:pt x="240" y="40"/>
                  </a:lnTo>
                  <a:lnTo>
                    <a:pt x="233" y="40"/>
                  </a:lnTo>
                  <a:lnTo>
                    <a:pt x="262" y="25"/>
                  </a:lnTo>
                  <a:lnTo>
                    <a:pt x="255" y="25"/>
                  </a:lnTo>
                  <a:lnTo>
                    <a:pt x="262" y="25"/>
                  </a:lnTo>
                  <a:lnTo>
                    <a:pt x="255" y="30"/>
                  </a:lnTo>
                  <a:lnTo>
                    <a:pt x="259" y="33"/>
                  </a:lnTo>
                  <a:lnTo>
                    <a:pt x="269" y="30"/>
                  </a:lnTo>
                  <a:lnTo>
                    <a:pt x="302" y="25"/>
                  </a:lnTo>
                  <a:lnTo>
                    <a:pt x="335" y="0"/>
                  </a:lnTo>
                  <a:lnTo>
                    <a:pt x="342" y="2"/>
                  </a:lnTo>
                  <a:lnTo>
                    <a:pt x="366" y="9"/>
                  </a:lnTo>
                  <a:lnTo>
                    <a:pt x="368" y="11"/>
                  </a:lnTo>
                  <a:lnTo>
                    <a:pt x="361" y="18"/>
                  </a:lnTo>
                  <a:lnTo>
                    <a:pt x="349" y="23"/>
                  </a:lnTo>
                  <a:lnTo>
                    <a:pt x="354" y="23"/>
                  </a:lnTo>
                  <a:lnTo>
                    <a:pt x="354" y="33"/>
                  </a:lnTo>
                  <a:lnTo>
                    <a:pt x="366" y="25"/>
                  </a:lnTo>
                  <a:lnTo>
                    <a:pt x="373" y="18"/>
                  </a:lnTo>
                  <a:lnTo>
                    <a:pt x="380" y="18"/>
                  </a:lnTo>
                  <a:lnTo>
                    <a:pt x="375" y="11"/>
                  </a:lnTo>
                  <a:lnTo>
                    <a:pt x="382" y="9"/>
                  </a:lnTo>
                  <a:lnTo>
                    <a:pt x="382" y="16"/>
                  </a:lnTo>
                  <a:lnTo>
                    <a:pt x="382" y="11"/>
                  </a:lnTo>
                  <a:lnTo>
                    <a:pt x="389" y="11"/>
                  </a:lnTo>
                  <a:lnTo>
                    <a:pt x="396" y="18"/>
                  </a:lnTo>
                  <a:lnTo>
                    <a:pt x="394" y="23"/>
                  </a:lnTo>
                  <a:lnTo>
                    <a:pt x="394" y="25"/>
                  </a:lnTo>
                  <a:lnTo>
                    <a:pt x="406" y="30"/>
                  </a:lnTo>
                  <a:lnTo>
                    <a:pt x="417" y="23"/>
                  </a:lnTo>
                  <a:lnTo>
                    <a:pt x="434" y="23"/>
                  </a:lnTo>
                  <a:lnTo>
                    <a:pt x="465" y="25"/>
                  </a:lnTo>
                  <a:lnTo>
                    <a:pt x="458" y="35"/>
                  </a:lnTo>
                  <a:lnTo>
                    <a:pt x="467" y="42"/>
                  </a:lnTo>
                  <a:lnTo>
                    <a:pt x="450" y="42"/>
                  </a:lnTo>
                  <a:lnTo>
                    <a:pt x="479" y="42"/>
                  </a:lnTo>
                  <a:lnTo>
                    <a:pt x="469" y="47"/>
                  </a:lnTo>
                  <a:lnTo>
                    <a:pt x="493" y="54"/>
                  </a:lnTo>
                  <a:lnTo>
                    <a:pt x="495" y="47"/>
                  </a:lnTo>
                  <a:lnTo>
                    <a:pt x="507" y="47"/>
                  </a:lnTo>
                  <a:lnTo>
                    <a:pt x="517" y="47"/>
                  </a:lnTo>
                  <a:lnTo>
                    <a:pt x="517" y="47"/>
                  </a:lnTo>
                  <a:lnTo>
                    <a:pt x="531" y="47"/>
                  </a:lnTo>
                  <a:lnTo>
                    <a:pt x="554" y="47"/>
                  </a:lnTo>
                  <a:lnTo>
                    <a:pt x="573" y="54"/>
                  </a:lnTo>
                  <a:lnTo>
                    <a:pt x="583" y="54"/>
                  </a:lnTo>
                  <a:lnTo>
                    <a:pt x="594" y="61"/>
                  </a:lnTo>
                  <a:lnTo>
                    <a:pt x="649" y="63"/>
                  </a:lnTo>
                  <a:lnTo>
                    <a:pt x="675" y="75"/>
                  </a:lnTo>
                  <a:lnTo>
                    <a:pt x="724" y="63"/>
                  </a:lnTo>
                  <a:lnTo>
                    <a:pt x="741" y="70"/>
                  </a:lnTo>
                  <a:lnTo>
                    <a:pt x="781" y="92"/>
                  </a:lnTo>
                  <a:lnTo>
                    <a:pt x="790" y="92"/>
                  </a:lnTo>
                  <a:lnTo>
                    <a:pt x="790" y="92"/>
                  </a:lnTo>
                  <a:lnTo>
                    <a:pt x="790" y="92"/>
                  </a:lnTo>
                  <a:lnTo>
                    <a:pt x="790" y="92"/>
                  </a:lnTo>
                  <a:lnTo>
                    <a:pt x="790"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1" name="Freeform 6">
              <a:extLst>
                <a:ext uri="{FF2B5EF4-FFF2-40B4-BE49-F238E27FC236}">
                  <a16:creationId xmlns:a16="http://schemas.microsoft.com/office/drawing/2014/main" id="{688B7680-5CC7-49AA-8D51-154281A322E2}"/>
                </a:ext>
              </a:extLst>
            </p:cNvPr>
            <p:cNvSpPr>
              <a:spLocks/>
            </p:cNvSpPr>
            <p:nvPr/>
          </p:nvSpPr>
          <p:spPr bwMode="gray">
            <a:xfrm>
              <a:off x="12525375" y="450850"/>
              <a:ext cx="138113" cy="63500"/>
            </a:xfrm>
            <a:custGeom>
              <a:avLst/>
              <a:gdLst>
                <a:gd name="T0" fmla="*/ 85 w 87"/>
                <a:gd name="T1" fmla="*/ 31 h 40"/>
                <a:gd name="T2" fmla="*/ 73 w 87"/>
                <a:gd name="T3" fmla="*/ 31 h 40"/>
                <a:gd name="T4" fmla="*/ 61 w 87"/>
                <a:gd name="T5" fmla="*/ 40 h 40"/>
                <a:gd name="T6" fmla="*/ 59 w 87"/>
                <a:gd name="T7" fmla="*/ 40 h 40"/>
                <a:gd name="T8" fmla="*/ 54 w 87"/>
                <a:gd name="T9" fmla="*/ 33 h 40"/>
                <a:gd name="T10" fmla="*/ 45 w 87"/>
                <a:gd name="T11" fmla="*/ 31 h 40"/>
                <a:gd name="T12" fmla="*/ 45 w 87"/>
                <a:gd name="T13" fmla="*/ 23 h 40"/>
                <a:gd name="T14" fmla="*/ 38 w 87"/>
                <a:gd name="T15" fmla="*/ 19 h 40"/>
                <a:gd name="T16" fmla="*/ 21 w 87"/>
                <a:gd name="T17" fmla="*/ 16 h 40"/>
                <a:gd name="T18" fmla="*/ 45 w 87"/>
                <a:gd name="T19" fmla="*/ 26 h 40"/>
                <a:gd name="T20" fmla="*/ 24 w 87"/>
                <a:gd name="T21" fmla="*/ 16 h 40"/>
                <a:gd name="T22" fmla="*/ 7 w 87"/>
                <a:gd name="T23" fmla="*/ 23 h 40"/>
                <a:gd name="T24" fmla="*/ 0 w 87"/>
                <a:gd name="T25" fmla="*/ 19 h 40"/>
                <a:gd name="T26" fmla="*/ 0 w 87"/>
                <a:gd name="T27" fmla="*/ 14 h 40"/>
                <a:gd name="T28" fmla="*/ 2 w 87"/>
                <a:gd name="T29" fmla="*/ 0 h 40"/>
                <a:gd name="T30" fmla="*/ 7 w 87"/>
                <a:gd name="T31" fmla="*/ 9 h 40"/>
                <a:gd name="T32" fmla="*/ 24 w 87"/>
                <a:gd name="T33" fmla="*/ 9 h 40"/>
                <a:gd name="T34" fmla="*/ 45 w 87"/>
                <a:gd name="T35" fmla="*/ 2 h 40"/>
                <a:gd name="T36" fmla="*/ 66 w 87"/>
                <a:gd name="T37" fmla="*/ 19 h 40"/>
                <a:gd name="T38" fmla="*/ 87 w 87"/>
                <a:gd name="T39" fmla="*/ 23 h 40"/>
                <a:gd name="T40" fmla="*/ 85 w 87"/>
                <a:gd name="T41" fmla="*/ 31 h 40"/>
                <a:gd name="T42" fmla="*/ 85 w 87"/>
                <a:gd name="T43" fmla="*/ 31 h 40"/>
                <a:gd name="T44" fmla="*/ 85 w 87"/>
                <a:gd name="T45" fmla="*/ 31 h 40"/>
                <a:gd name="T46" fmla="*/ 85 w 87"/>
                <a:gd name="T47" fmla="*/ 31 h 40"/>
                <a:gd name="T48" fmla="*/ 85 w 87"/>
                <a:gd name="T49" fmla="*/ 3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0">
                  <a:moveTo>
                    <a:pt x="85" y="31"/>
                  </a:moveTo>
                  <a:lnTo>
                    <a:pt x="73" y="31"/>
                  </a:lnTo>
                  <a:lnTo>
                    <a:pt x="61" y="40"/>
                  </a:lnTo>
                  <a:lnTo>
                    <a:pt x="59" y="40"/>
                  </a:lnTo>
                  <a:lnTo>
                    <a:pt x="54" y="33"/>
                  </a:lnTo>
                  <a:lnTo>
                    <a:pt x="45" y="31"/>
                  </a:lnTo>
                  <a:lnTo>
                    <a:pt x="45" y="23"/>
                  </a:lnTo>
                  <a:lnTo>
                    <a:pt x="38" y="19"/>
                  </a:lnTo>
                  <a:lnTo>
                    <a:pt x="21" y="16"/>
                  </a:lnTo>
                  <a:lnTo>
                    <a:pt x="45" y="26"/>
                  </a:lnTo>
                  <a:lnTo>
                    <a:pt x="24" y="16"/>
                  </a:lnTo>
                  <a:lnTo>
                    <a:pt x="7" y="23"/>
                  </a:lnTo>
                  <a:lnTo>
                    <a:pt x="0" y="19"/>
                  </a:lnTo>
                  <a:lnTo>
                    <a:pt x="0" y="14"/>
                  </a:lnTo>
                  <a:lnTo>
                    <a:pt x="2" y="0"/>
                  </a:lnTo>
                  <a:lnTo>
                    <a:pt x="7" y="9"/>
                  </a:lnTo>
                  <a:lnTo>
                    <a:pt x="24" y="9"/>
                  </a:lnTo>
                  <a:lnTo>
                    <a:pt x="45" y="2"/>
                  </a:lnTo>
                  <a:lnTo>
                    <a:pt x="66" y="19"/>
                  </a:lnTo>
                  <a:lnTo>
                    <a:pt x="87" y="23"/>
                  </a:lnTo>
                  <a:lnTo>
                    <a:pt x="85" y="31"/>
                  </a:lnTo>
                  <a:lnTo>
                    <a:pt x="85" y="31"/>
                  </a:lnTo>
                  <a:lnTo>
                    <a:pt x="85" y="31"/>
                  </a:lnTo>
                  <a:lnTo>
                    <a:pt x="85" y="31"/>
                  </a:lnTo>
                  <a:lnTo>
                    <a:pt x="8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2" name="Freeform 7">
              <a:extLst>
                <a:ext uri="{FF2B5EF4-FFF2-40B4-BE49-F238E27FC236}">
                  <a16:creationId xmlns:a16="http://schemas.microsoft.com/office/drawing/2014/main" id="{1CD12693-3142-4E64-8835-F4A4FF6B0C16}"/>
                </a:ext>
              </a:extLst>
            </p:cNvPr>
            <p:cNvSpPr>
              <a:spLocks/>
            </p:cNvSpPr>
            <p:nvPr/>
          </p:nvSpPr>
          <p:spPr bwMode="gray">
            <a:xfrm>
              <a:off x="12944475" y="461963"/>
              <a:ext cx="15875" cy="3175"/>
            </a:xfrm>
            <a:custGeom>
              <a:avLst/>
              <a:gdLst>
                <a:gd name="T0" fmla="*/ 10 w 10"/>
                <a:gd name="T1" fmla="*/ 2 h 2"/>
                <a:gd name="T2" fmla="*/ 0 w 10"/>
                <a:gd name="T3" fmla="*/ 2 h 2"/>
                <a:gd name="T4" fmla="*/ 3 w 10"/>
                <a:gd name="T5" fmla="*/ 0 h 2"/>
                <a:gd name="T6" fmla="*/ 10 w 10"/>
                <a:gd name="T7" fmla="*/ 2 h 2"/>
                <a:gd name="T8" fmla="*/ 10 w 10"/>
                <a:gd name="T9" fmla="*/ 2 h 2"/>
                <a:gd name="T10" fmla="*/ 10 w 10"/>
                <a:gd name="T11" fmla="*/ 2 h 2"/>
                <a:gd name="T12" fmla="*/ 10 w 10"/>
                <a:gd name="T13" fmla="*/ 2 h 2"/>
                <a:gd name="T14" fmla="*/ 10 w 10"/>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
                  <a:moveTo>
                    <a:pt x="10" y="2"/>
                  </a:moveTo>
                  <a:lnTo>
                    <a:pt x="0" y="2"/>
                  </a:lnTo>
                  <a:lnTo>
                    <a:pt x="3" y="0"/>
                  </a:lnTo>
                  <a:lnTo>
                    <a:pt x="10" y="2"/>
                  </a:lnTo>
                  <a:lnTo>
                    <a:pt x="10" y="2"/>
                  </a:lnTo>
                  <a:lnTo>
                    <a:pt x="10" y="2"/>
                  </a:lnTo>
                  <a:lnTo>
                    <a:pt x="10" y="2"/>
                  </a:lnTo>
                  <a:lnTo>
                    <a:pt x="1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3" name="Freeform 8">
              <a:extLst>
                <a:ext uri="{FF2B5EF4-FFF2-40B4-BE49-F238E27FC236}">
                  <a16:creationId xmlns:a16="http://schemas.microsoft.com/office/drawing/2014/main" id="{8B9261CE-DC99-435F-9C6F-71A64E92067B}"/>
                </a:ext>
              </a:extLst>
            </p:cNvPr>
            <p:cNvSpPr>
              <a:spLocks/>
            </p:cNvSpPr>
            <p:nvPr/>
          </p:nvSpPr>
          <p:spPr bwMode="gray">
            <a:xfrm>
              <a:off x="13615988" y="660400"/>
              <a:ext cx="11113" cy="11113"/>
            </a:xfrm>
            <a:custGeom>
              <a:avLst/>
              <a:gdLst>
                <a:gd name="T0" fmla="*/ 2 w 7"/>
                <a:gd name="T1" fmla="*/ 0 h 7"/>
                <a:gd name="T2" fmla="*/ 7 w 7"/>
                <a:gd name="T3" fmla="*/ 7 h 7"/>
                <a:gd name="T4" fmla="*/ 0 w 7"/>
                <a:gd name="T5" fmla="*/ 7 h 7"/>
                <a:gd name="T6" fmla="*/ 2 w 7"/>
                <a:gd name="T7" fmla="*/ 0 h 7"/>
                <a:gd name="T8" fmla="*/ 2 w 7"/>
                <a:gd name="T9" fmla="*/ 0 h 7"/>
                <a:gd name="T10" fmla="*/ 2 w 7"/>
                <a:gd name="T11" fmla="*/ 0 h 7"/>
                <a:gd name="T12" fmla="*/ 2 w 7"/>
                <a:gd name="T13" fmla="*/ 0 h 7"/>
                <a:gd name="T14" fmla="*/ 2 w 7"/>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2" y="0"/>
                  </a:moveTo>
                  <a:lnTo>
                    <a:pt x="7" y="7"/>
                  </a:lnTo>
                  <a:lnTo>
                    <a:pt x="0" y="7"/>
                  </a:lnTo>
                  <a:lnTo>
                    <a:pt x="2" y="0"/>
                  </a:lnTo>
                  <a:lnTo>
                    <a:pt x="2" y="0"/>
                  </a:lnTo>
                  <a:lnTo>
                    <a:pt x="2"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4" name="Freeform 9">
              <a:extLst>
                <a:ext uri="{FF2B5EF4-FFF2-40B4-BE49-F238E27FC236}">
                  <a16:creationId xmlns:a16="http://schemas.microsoft.com/office/drawing/2014/main" id="{9794369A-D46B-42F2-A8AF-1EDEF9F36367}"/>
                </a:ext>
              </a:extLst>
            </p:cNvPr>
            <p:cNvSpPr>
              <a:spLocks/>
            </p:cNvSpPr>
            <p:nvPr/>
          </p:nvSpPr>
          <p:spPr bwMode="gray">
            <a:xfrm>
              <a:off x="13674725" y="660400"/>
              <a:ext cx="7938" cy="11113"/>
            </a:xfrm>
            <a:custGeom>
              <a:avLst/>
              <a:gdLst>
                <a:gd name="T0" fmla="*/ 5 w 5"/>
                <a:gd name="T1" fmla="*/ 0 h 7"/>
                <a:gd name="T2" fmla="*/ 5 w 5"/>
                <a:gd name="T3" fmla="*/ 7 h 7"/>
                <a:gd name="T4" fmla="*/ 0 w 5"/>
                <a:gd name="T5" fmla="*/ 7 h 7"/>
                <a:gd name="T6" fmla="*/ 5 w 5"/>
                <a:gd name="T7" fmla="*/ 0 h 7"/>
                <a:gd name="T8" fmla="*/ 5 w 5"/>
                <a:gd name="T9" fmla="*/ 0 h 7"/>
                <a:gd name="T10" fmla="*/ 5 w 5"/>
                <a:gd name="T11" fmla="*/ 0 h 7"/>
                <a:gd name="T12" fmla="*/ 5 w 5"/>
                <a:gd name="T13" fmla="*/ 0 h 7"/>
                <a:gd name="T14" fmla="*/ 5 w 5"/>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0"/>
                  </a:moveTo>
                  <a:lnTo>
                    <a:pt x="5" y="7"/>
                  </a:lnTo>
                  <a:lnTo>
                    <a:pt x="0" y="7"/>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5" name="Freeform 10">
              <a:extLst>
                <a:ext uri="{FF2B5EF4-FFF2-40B4-BE49-F238E27FC236}">
                  <a16:creationId xmlns:a16="http://schemas.microsoft.com/office/drawing/2014/main" id="{3D426D78-74D7-47D8-BBD3-B7FB95B1ADB4}"/>
                </a:ext>
              </a:extLst>
            </p:cNvPr>
            <p:cNvSpPr>
              <a:spLocks/>
            </p:cNvSpPr>
            <p:nvPr/>
          </p:nvSpPr>
          <p:spPr bwMode="gray">
            <a:xfrm>
              <a:off x="12836525" y="660400"/>
              <a:ext cx="7938" cy="11113"/>
            </a:xfrm>
            <a:custGeom>
              <a:avLst/>
              <a:gdLst>
                <a:gd name="T0" fmla="*/ 0 w 5"/>
                <a:gd name="T1" fmla="*/ 0 h 7"/>
                <a:gd name="T2" fmla="*/ 5 w 5"/>
                <a:gd name="T3" fmla="*/ 7 h 7"/>
                <a:gd name="T4" fmla="*/ 0 w 5"/>
                <a:gd name="T5" fmla="*/ 7 h 7"/>
                <a:gd name="T6" fmla="*/ 0 w 5"/>
                <a:gd name="T7" fmla="*/ 0 h 7"/>
                <a:gd name="T8" fmla="*/ 0 w 5"/>
                <a:gd name="T9" fmla="*/ 0 h 7"/>
                <a:gd name="T10" fmla="*/ 0 w 5"/>
                <a:gd name="T11" fmla="*/ 0 h 7"/>
                <a:gd name="T12" fmla="*/ 0 w 5"/>
                <a:gd name="T13" fmla="*/ 0 h 7"/>
                <a:gd name="T14" fmla="*/ 0 w 5"/>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0" y="0"/>
                  </a:moveTo>
                  <a:lnTo>
                    <a:pt x="5" y="7"/>
                  </a:lnTo>
                  <a:lnTo>
                    <a:pt x="0" y="7"/>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6" name="Freeform 11">
              <a:extLst>
                <a:ext uri="{FF2B5EF4-FFF2-40B4-BE49-F238E27FC236}">
                  <a16:creationId xmlns:a16="http://schemas.microsoft.com/office/drawing/2014/main" id="{461A34EC-E11B-4D95-A08E-014C0E01F4AD}"/>
                </a:ext>
              </a:extLst>
            </p:cNvPr>
            <p:cNvSpPr>
              <a:spLocks/>
            </p:cNvSpPr>
            <p:nvPr/>
          </p:nvSpPr>
          <p:spPr bwMode="gray">
            <a:xfrm>
              <a:off x="13611225" y="674688"/>
              <a:ext cx="4763" cy="7938"/>
            </a:xfrm>
            <a:custGeom>
              <a:avLst/>
              <a:gdLst>
                <a:gd name="T0" fmla="*/ 3 w 3"/>
                <a:gd name="T1" fmla="*/ 0 h 5"/>
                <a:gd name="T2" fmla="*/ 3 w 3"/>
                <a:gd name="T3" fmla="*/ 5 h 5"/>
                <a:gd name="T4" fmla="*/ 0 w 3"/>
                <a:gd name="T5" fmla="*/ 0 h 5"/>
                <a:gd name="T6" fmla="*/ 3 w 3"/>
                <a:gd name="T7" fmla="*/ 0 h 5"/>
                <a:gd name="T8" fmla="*/ 3 w 3"/>
                <a:gd name="T9" fmla="*/ 0 h 5"/>
                <a:gd name="T10" fmla="*/ 3 w 3"/>
                <a:gd name="T11" fmla="*/ 0 h 5"/>
                <a:gd name="T12" fmla="*/ 3 w 3"/>
                <a:gd name="T13" fmla="*/ 0 h 5"/>
                <a:gd name="T14" fmla="*/ 3 w 3"/>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0"/>
                  </a:moveTo>
                  <a:lnTo>
                    <a:pt x="3" y="5"/>
                  </a:lnTo>
                  <a:lnTo>
                    <a:pt x="0" y="0"/>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7" name="Freeform 12">
              <a:extLst>
                <a:ext uri="{FF2B5EF4-FFF2-40B4-BE49-F238E27FC236}">
                  <a16:creationId xmlns:a16="http://schemas.microsoft.com/office/drawing/2014/main" id="{C7033875-DB6B-4EFF-A333-A861929D83FB}"/>
                </a:ext>
              </a:extLst>
            </p:cNvPr>
            <p:cNvSpPr>
              <a:spLocks/>
            </p:cNvSpPr>
            <p:nvPr/>
          </p:nvSpPr>
          <p:spPr bwMode="gray">
            <a:xfrm>
              <a:off x="13619163" y="674688"/>
              <a:ext cx="11113" cy="7938"/>
            </a:xfrm>
            <a:custGeom>
              <a:avLst/>
              <a:gdLst>
                <a:gd name="T0" fmla="*/ 7 w 7"/>
                <a:gd name="T1" fmla="*/ 0 h 5"/>
                <a:gd name="T2" fmla="*/ 7 w 7"/>
                <a:gd name="T3" fmla="*/ 5 h 5"/>
                <a:gd name="T4" fmla="*/ 5 w 7"/>
                <a:gd name="T5" fmla="*/ 5 h 5"/>
                <a:gd name="T6" fmla="*/ 0 w 7"/>
                <a:gd name="T7" fmla="*/ 0 h 5"/>
                <a:gd name="T8" fmla="*/ 7 w 7"/>
                <a:gd name="T9" fmla="*/ 0 h 5"/>
                <a:gd name="T10" fmla="*/ 7 w 7"/>
                <a:gd name="T11" fmla="*/ 0 h 5"/>
                <a:gd name="T12" fmla="*/ 7 w 7"/>
                <a:gd name="T13" fmla="*/ 0 h 5"/>
                <a:gd name="T14" fmla="*/ 7 w 7"/>
                <a:gd name="T15" fmla="*/ 0 h 5"/>
                <a:gd name="T16" fmla="*/ 7 w 7"/>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5">
                  <a:moveTo>
                    <a:pt x="7" y="0"/>
                  </a:moveTo>
                  <a:lnTo>
                    <a:pt x="7" y="5"/>
                  </a:lnTo>
                  <a:lnTo>
                    <a:pt x="5" y="5"/>
                  </a:lnTo>
                  <a:lnTo>
                    <a:pt x="0" y="0"/>
                  </a:lnTo>
                  <a:lnTo>
                    <a:pt x="7" y="0"/>
                  </a:lnTo>
                  <a:lnTo>
                    <a:pt x="7" y="0"/>
                  </a:lnTo>
                  <a:lnTo>
                    <a:pt x="7"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8" name="Freeform 13">
              <a:extLst>
                <a:ext uri="{FF2B5EF4-FFF2-40B4-BE49-F238E27FC236}">
                  <a16:creationId xmlns:a16="http://schemas.microsoft.com/office/drawing/2014/main" id="{9CF723B8-7637-486F-B46D-BBFE40247BB4}"/>
                </a:ext>
              </a:extLst>
            </p:cNvPr>
            <p:cNvSpPr>
              <a:spLocks/>
            </p:cNvSpPr>
            <p:nvPr/>
          </p:nvSpPr>
          <p:spPr bwMode="gray">
            <a:xfrm>
              <a:off x="13644563" y="682625"/>
              <a:ext cx="7938" cy="4763"/>
            </a:xfrm>
            <a:custGeom>
              <a:avLst/>
              <a:gdLst>
                <a:gd name="T0" fmla="*/ 5 w 5"/>
                <a:gd name="T1" fmla="*/ 0 h 3"/>
                <a:gd name="T2" fmla="*/ 5 w 5"/>
                <a:gd name="T3" fmla="*/ 0 h 3"/>
                <a:gd name="T4" fmla="*/ 0 w 5"/>
                <a:gd name="T5" fmla="*/ 3 h 3"/>
                <a:gd name="T6" fmla="*/ 5 w 5"/>
                <a:gd name="T7" fmla="*/ 0 h 3"/>
                <a:gd name="T8" fmla="*/ 5 w 5"/>
                <a:gd name="T9" fmla="*/ 0 h 3"/>
                <a:gd name="T10" fmla="*/ 5 w 5"/>
                <a:gd name="T11" fmla="*/ 0 h 3"/>
                <a:gd name="T12" fmla="*/ 5 w 5"/>
                <a:gd name="T13" fmla="*/ 0 h 3"/>
                <a:gd name="T14" fmla="*/ 5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5" y="0"/>
                  </a:moveTo>
                  <a:lnTo>
                    <a:pt x="5" y="0"/>
                  </a:lnTo>
                  <a:lnTo>
                    <a:pt x="0" y="3"/>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9" name="Freeform 14">
              <a:extLst>
                <a:ext uri="{FF2B5EF4-FFF2-40B4-BE49-F238E27FC236}">
                  <a16:creationId xmlns:a16="http://schemas.microsoft.com/office/drawing/2014/main" id="{2DE99B68-5FB9-471C-A251-CE9F09370ECE}"/>
                </a:ext>
              </a:extLst>
            </p:cNvPr>
            <p:cNvSpPr>
              <a:spLocks/>
            </p:cNvSpPr>
            <p:nvPr/>
          </p:nvSpPr>
          <p:spPr bwMode="gray">
            <a:xfrm>
              <a:off x="12465050" y="687388"/>
              <a:ext cx="38100" cy="22225"/>
            </a:xfrm>
            <a:custGeom>
              <a:avLst/>
              <a:gdLst>
                <a:gd name="T0" fmla="*/ 24 w 24"/>
                <a:gd name="T1" fmla="*/ 14 h 14"/>
                <a:gd name="T2" fmla="*/ 14 w 24"/>
                <a:gd name="T3" fmla="*/ 14 h 14"/>
                <a:gd name="T4" fmla="*/ 0 w 24"/>
                <a:gd name="T5" fmla="*/ 2 h 14"/>
                <a:gd name="T6" fmla="*/ 5 w 24"/>
                <a:gd name="T7" fmla="*/ 0 h 14"/>
                <a:gd name="T8" fmla="*/ 7 w 24"/>
                <a:gd name="T9" fmla="*/ 7 h 14"/>
                <a:gd name="T10" fmla="*/ 24 w 24"/>
                <a:gd name="T11" fmla="*/ 14 h 14"/>
                <a:gd name="T12" fmla="*/ 24 w 24"/>
                <a:gd name="T13" fmla="*/ 14 h 14"/>
                <a:gd name="T14" fmla="*/ 24 w 24"/>
                <a:gd name="T15" fmla="*/ 14 h 14"/>
                <a:gd name="T16" fmla="*/ 24 w 24"/>
                <a:gd name="T17" fmla="*/ 14 h 14"/>
                <a:gd name="T18" fmla="*/ 24 w 24"/>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4">
                  <a:moveTo>
                    <a:pt x="24" y="14"/>
                  </a:moveTo>
                  <a:lnTo>
                    <a:pt x="14" y="14"/>
                  </a:lnTo>
                  <a:lnTo>
                    <a:pt x="0" y="2"/>
                  </a:lnTo>
                  <a:lnTo>
                    <a:pt x="5" y="0"/>
                  </a:lnTo>
                  <a:lnTo>
                    <a:pt x="7" y="7"/>
                  </a:lnTo>
                  <a:lnTo>
                    <a:pt x="24" y="14"/>
                  </a:lnTo>
                  <a:lnTo>
                    <a:pt x="24" y="14"/>
                  </a:lnTo>
                  <a:lnTo>
                    <a:pt x="24" y="14"/>
                  </a:lnTo>
                  <a:lnTo>
                    <a:pt x="24" y="14"/>
                  </a:lnTo>
                  <a:lnTo>
                    <a:pt x="24"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0" name="Freeform 15">
              <a:extLst>
                <a:ext uri="{FF2B5EF4-FFF2-40B4-BE49-F238E27FC236}">
                  <a16:creationId xmlns:a16="http://schemas.microsoft.com/office/drawing/2014/main" id="{C1F0191F-D706-4F19-A2DC-8E88FDCCE49D}"/>
                </a:ext>
              </a:extLst>
            </p:cNvPr>
            <p:cNvSpPr>
              <a:spLocks/>
            </p:cNvSpPr>
            <p:nvPr/>
          </p:nvSpPr>
          <p:spPr bwMode="gray">
            <a:xfrm>
              <a:off x="13435013" y="690563"/>
              <a:ext cx="7938" cy="7938"/>
            </a:xfrm>
            <a:custGeom>
              <a:avLst/>
              <a:gdLst>
                <a:gd name="T0" fmla="*/ 5 w 5"/>
                <a:gd name="T1" fmla="*/ 5 h 5"/>
                <a:gd name="T2" fmla="*/ 0 w 5"/>
                <a:gd name="T3" fmla="*/ 5 h 5"/>
                <a:gd name="T4" fmla="*/ 5 w 5"/>
                <a:gd name="T5" fmla="*/ 0 h 5"/>
                <a:gd name="T6" fmla="*/ 5 w 5"/>
                <a:gd name="T7" fmla="*/ 5 h 5"/>
                <a:gd name="T8" fmla="*/ 5 w 5"/>
                <a:gd name="T9" fmla="*/ 5 h 5"/>
                <a:gd name="T10" fmla="*/ 5 w 5"/>
                <a:gd name="T11" fmla="*/ 5 h 5"/>
                <a:gd name="T12" fmla="*/ 5 w 5"/>
                <a:gd name="T13" fmla="*/ 5 h 5"/>
                <a:gd name="T14" fmla="*/ 5 w 5"/>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5" y="5"/>
                  </a:moveTo>
                  <a:lnTo>
                    <a:pt x="0" y="5"/>
                  </a:lnTo>
                  <a:lnTo>
                    <a:pt x="5" y="0"/>
                  </a:lnTo>
                  <a:lnTo>
                    <a:pt x="5" y="5"/>
                  </a:lnTo>
                  <a:lnTo>
                    <a:pt x="5" y="5"/>
                  </a:lnTo>
                  <a:lnTo>
                    <a:pt x="5" y="5"/>
                  </a:lnTo>
                  <a:lnTo>
                    <a:pt x="5"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1" name="Freeform 16">
              <a:extLst>
                <a:ext uri="{FF2B5EF4-FFF2-40B4-BE49-F238E27FC236}">
                  <a16:creationId xmlns:a16="http://schemas.microsoft.com/office/drawing/2014/main" id="{56ED4588-80FC-4365-8BD1-07C1FB57084B}"/>
                </a:ext>
              </a:extLst>
            </p:cNvPr>
            <p:cNvSpPr>
              <a:spLocks/>
            </p:cNvSpPr>
            <p:nvPr/>
          </p:nvSpPr>
          <p:spPr bwMode="gray">
            <a:xfrm>
              <a:off x="13627100" y="690563"/>
              <a:ext cx="14288" cy="25400"/>
            </a:xfrm>
            <a:custGeom>
              <a:avLst/>
              <a:gdLst>
                <a:gd name="T0" fmla="*/ 9 w 9"/>
                <a:gd name="T1" fmla="*/ 5 h 16"/>
                <a:gd name="T2" fmla="*/ 4 w 9"/>
                <a:gd name="T3" fmla="*/ 5 h 16"/>
                <a:gd name="T4" fmla="*/ 9 w 9"/>
                <a:gd name="T5" fmla="*/ 5 h 16"/>
                <a:gd name="T6" fmla="*/ 4 w 9"/>
                <a:gd name="T7" fmla="*/ 16 h 16"/>
                <a:gd name="T8" fmla="*/ 0 w 9"/>
                <a:gd name="T9" fmla="*/ 12 h 16"/>
                <a:gd name="T10" fmla="*/ 4 w 9"/>
                <a:gd name="T11" fmla="*/ 5 h 16"/>
                <a:gd name="T12" fmla="*/ 4 w 9"/>
                <a:gd name="T13" fmla="*/ 0 h 16"/>
                <a:gd name="T14" fmla="*/ 9 w 9"/>
                <a:gd name="T15" fmla="*/ 5 h 16"/>
                <a:gd name="T16" fmla="*/ 9 w 9"/>
                <a:gd name="T17" fmla="*/ 5 h 16"/>
                <a:gd name="T18" fmla="*/ 9 w 9"/>
                <a:gd name="T19" fmla="*/ 5 h 16"/>
                <a:gd name="T20" fmla="*/ 9 w 9"/>
                <a:gd name="T21" fmla="*/ 5 h 16"/>
                <a:gd name="T22" fmla="*/ 9 w 9"/>
                <a:gd name="T23"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6">
                  <a:moveTo>
                    <a:pt x="9" y="5"/>
                  </a:moveTo>
                  <a:lnTo>
                    <a:pt x="4" y="5"/>
                  </a:lnTo>
                  <a:lnTo>
                    <a:pt x="9" y="5"/>
                  </a:lnTo>
                  <a:lnTo>
                    <a:pt x="4" y="16"/>
                  </a:lnTo>
                  <a:lnTo>
                    <a:pt x="0" y="12"/>
                  </a:lnTo>
                  <a:lnTo>
                    <a:pt x="4" y="5"/>
                  </a:lnTo>
                  <a:lnTo>
                    <a:pt x="4" y="0"/>
                  </a:lnTo>
                  <a:lnTo>
                    <a:pt x="9" y="5"/>
                  </a:lnTo>
                  <a:lnTo>
                    <a:pt x="9" y="5"/>
                  </a:lnTo>
                  <a:lnTo>
                    <a:pt x="9" y="5"/>
                  </a:lnTo>
                  <a:lnTo>
                    <a:pt x="9" y="5"/>
                  </a:lnTo>
                  <a:lnTo>
                    <a:pt x="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2" name="Freeform 17">
              <a:extLst>
                <a:ext uri="{FF2B5EF4-FFF2-40B4-BE49-F238E27FC236}">
                  <a16:creationId xmlns:a16="http://schemas.microsoft.com/office/drawing/2014/main" id="{F2ADC220-47A0-4D19-A0BA-3E1BEBAC4FAD}"/>
                </a:ext>
              </a:extLst>
            </p:cNvPr>
            <p:cNvSpPr>
              <a:spLocks/>
            </p:cNvSpPr>
            <p:nvPr/>
          </p:nvSpPr>
          <p:spPr bwMode="gray">
            <a:xfrm>
              <a:off x="13682663" y="698500"/>
              <a:ext cx="26988" cy="11113"/>
            </a:xfrm>
            <a:custGeom>
              <a:avLst/>
              <a:gdLst>
                <a:gd name="T0" fmla="*/ 17 w 17"/>
                <a:gd name="T1" fmla="*/ 0 h 7"/>
                <a:gd name="T2" fmla="*/ 2 w 17"/>
                <a:gd name="T3" fmla="*/ 7 h 7"/>
                <a:gd name="T4" fmla="*/ 2 w 17"/>
                <a:gd name="T5" fmla="*/ 7 h 7"/>
                <a:gd name="T6" fmla="*/ 5 w 17"/>
                <a:gd name="T7" fmla="*/ 0 h 7"/>
                <a:gd name="T8" fmla="*/ 0 w 17"/>
                <a:gd name="T9" fmla="*/ 0 h 7"/>
                <a:gd name="T10" fmla="*/ 2 w 17"/>
                <a:gd name="T11" fmla="*/ 0 h 7"/>
                <a:gd name="T12" fmla="*/ 17 w 17"/>
                <a:gd name="T13" fmla="*/ 0 h 7"/>
                <a:gd name="T14" fmla="*/ 17 w 17"/>
                <a:gd name="T15" fmla="*/ 0 h 7"/>
                <a:gd name="T16" fmla="*/ 17 w 17"/>
                <a:gd name="T17" fmla="*/ 0 h 7"/>
                <a:gd name="T18" fmla="*/ 17 w 17"/>
                <a:gd name="T19" fmla="*/ 0 h 7"/>
                <a:gd name="T20" fmla="*/ 17 w 17"/>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7">
                  <a:moveTo>
                    <a:pt x="17" y="0"/>
                  </a:moveTo>
                  <a:lnTo>
                    <a:pt x="2" y="7"/>
                  </a:lnTo>
                  <a:lnTo>
                    <a:pt x="2" y="7"/>
                  </a:lnTo>
                  <a:lnTo>
                    <a:pt x="5" y="0"/>
                  </a:lnTo>
                  <a:lnTo>
                    <a:pt x="0" y="0"/>
                  </a:lnTo>
                  <a:lnTo>
                    <a:pt x="2" y="0"/>
                  </a:lnTo>
                  <a:lnTo>
                    <a:pt x="17" y="0"/>
                  </a:lnTo>
                  <a:lnTo>
                    <a:pt x="17" y="0"/>
                  </a:lnTo>
                  <a:lnTo>
                    <a:pt x="17" y="0"/>
                  </a:lnTo>
                  <a:lnTo>
                    <a:pt x="17" y="0"/>
                  </a:lnTo>
                  <a:lnTo>
                    <a:pt x="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3" name="Freeform 18">
              <a:extLst>
                <a:ext uri="{FF2B5EF4-FFF2-40B4-BE49-F238E27FC236}">
                  <a16:creationId xmlns:a16="http://schemas.microsoft.com/office/drawing/2014/main" id="{76D3792C-9B0C-42E9-97EF-3397149F1E5A}"/>
                </a:ext>
              </a:extLst>
            </p:cNvPr>
            <p:cNvSpPr>
              <a:spLocks/>
            </p:cNvSpPr>
            <p:nvPr/>
          </p:nvSpPr>
          <p:spPr bwMode="gray">
            <a:xfrm>
              <a:off x="12726988" y="698500"/>
              <a:ext cx="82550" cy="47625"/>
            </a:xfrm>
            <a:custGeom>
              <a:avLst/>
              <a:gdLst>
                <a:gd name="T0" fmla="*/ 38 w 52"/>
                <a:gd name="T1" fmla="*/ 0 h 30"/>
                <a:gd name="T2" fmla="*/ 38 w 52"/>
                <a:gd name="T3" fmla="*/ 7 h 30"/>
                <a:gd name="T4" fmla="*/ 52 w 52"/>
                <a:gd name="T5" fmla="*/ 7 h 30"/>
                <a:gd name="T6" fmla="*/ 52 w 52"/>
                <a:gd name="T7" fmla="*/ 14 h 30"/>
                <a:gd name="T8" fmla="*/ 52 w 52"/>
                <a:gd name="T9" fmla="*/ 21 h 30"/>
                <a:gd name="T10" fmla="*/ 36 w 52"/>
                <a:gd name="T11" fmla="*/ 23 h 30"/>
                <a:gd name="T12" fmla="*/ 38 w 52"/>
                <a:gd name="T13" fmla="*/ 28 h 30"/>
                <a:gd name="T14" fmla="*/ 36 w 52"/>
                <a:gd name="T15" fmla="*/ 30 h 30"/>
                <a:gd name="T16" fmla="*/ 7 w 52"/>
                <a:gd name="T17" fmla="*/ 19 h 30"/>
                <a:gd name="T18" fmla="*/ 0 w 52"/>
                <a:gd name="T19" fmla="*/ 11 h 30"/>
                <a:gd name="T20" fmla="*/ 15 w 52"/>
                <a:gd name="T21" fmla="*/ 7 h 30"/>
                <a:gd name="T22" fmla="*/ 24 w 52"/>
                <a:gd name="T23" fmla="*/ 0 h 30"/>
                <a:gd name="T24" fmla="*/ 38 w 52"/>
                <a:gd name="T25" fmla="*/ 0 h 30"/>
                <a:gd name="T26" fmla="*/ 38 w 52"/>
                <a:gd name="T27" fmla="*/ 0 h 30"/>
                <a:gd name="T28" fmla="*/ 38 w 52"/>
                <a:gd name="T29" fmla="*/ 0 h 30"/>
                <a:gd name="T30" fmla="*/ 38 w 52"/>
                <a:gd name="T31" fmla="*/ 0 h 30"/>
                <a:gd name="T32" fmla="*/ 38 w 52"/>
                <a:gd name="T3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30">
                  <a:moveTo>
                    <a:pt x="38" y="0"/>
                  </a:moveTo>
                  <a:lnTo>
                    <a:pt x="38" y="7"/>
                  </a:lnTo>
                  <a:lnTo>
                    <a:pt x="52" y="7"/>
                  </a:lnTo>
                  <a:lnTo>
                    <a:pt x="52" y="14"/>
                  </a:lnTo>
                  <a:lnTo>
                    <a:pt x="52" y="21"/>
                  </a:lnTo>
                  <a:lnTo>
                    <a:pt x="36" y="23"/>
                  </a:lnTo>
                  <a:lnTo>
                    <a:pt x="38" y="28"/>
                  </a:lnTo>
                  <a:lnTo>
                    <a:pt x="36" y="30"/>
                  </a:lnTo>
                  <a:lnTo>
                    <a:pt x="7" y="19"/>
                  </a:lnTo>
                  <a:lnTo>
                    <a:pt x="0" y="11"/>
                  </a:lnTo>
                  <a:lnTo>
                    <a:pt x="15" y="7"/>
                  </a:lnTo>
                  <a:lnTo>
                    <a:pt x="24" y="0"/>
                  </a:lnTo>
                  <a:lnTo>
                    <a:pt x="38" y="0"/>
                  </a:lnTo>
                  <a:lnTo>
                    <a:pt x="38" y="0"/>
                  </a:lnTo>
                  <a:lnTo>
                    <a:pt x="38" y="0"/>
                  </a:lnTo>
                  <a:lnTo>
                    <a:pt x="38" y="0"/>
                  </a:ln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4" name="Freeform 19">
              <a:extLst>
                <a:ext uri="{FF2B5EF4-FFF2-40B4-BE49-F238E27FC236}">
                  <a16:creationId xmlns:a16="http://schemas.microsoft.com/office/drawing/2014/main" id="{943E6543-E8DC-4E53-92DE-E7179C4D7CC0}"/>
                </a:ext>
              </a:extLst>
            </p:cNvPr>
            <p:cNvSpPr>
              <a:spLocks/>
            </p:cNvSpPr>
            <p:nvPr/>
          </p:nvSpPr>
          <p:spPr bwMode="gray">
            <a:xfrm>
              <a:off x="13746163" y="698500"/>
              <a:ext cx="11113" cy="11113"/>
            </a:xfrm>
            <a:custGeom>
              <a:avLst/>
              <a:gdLst>
                <a:gd name="T0" fmla="*/ 7 w 7"/>
                <a:gd name="T1" fmla="*/ 0 h 7"/>
                <a:gd name="T2" fmla="*/ 7 w 7"/>
                <a:gd name="T3" fmla="*/ 7 h 7"/>
                <a:gd name="T4" fmla="*/ 0 w 7"/>
                <a:gd name="T5" fmla="*/ 7 h 7"/>
                <a:gd name="T6" fmla="*/ 7 w 7"/>
                <a:gd name="T7" fmla="*/ 0 h 7"/>
                <a:gd name="T8" fmla="*/ 7 w 7"/>
                <a:gd name="T9" fmla="*/ 0 h 7"/>
                <a:gd name="T10" fmla="*/ 7 w 7"/>
                <a:gd name="T11" fmla="*/ 0 h 7"/>
                <a:gd name="T12" fmla="*/ 7 w 7"/>
                <a:gd name="T13" fmla="*/ 0 h 7"/>
                <a:gd name="T14" fmla="*/ 7 w 7"/>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7" y="0"/>
                  </a:moveTo>
                  <a:lnTo>
                    <a:pt x="7" y="7"/>
                  </a:lnTo>
                  <a:lnTo>
                    <a:pt x="0" y="7"/>
                  </a:lnTo>
                  <a:lnTo>
                    <a:pt x="7" y="0"/>
                  </a:lnTo>
                  <a:lnTo>
                    <a:pt x="7" y="0"/>
                  </a:lnTo>
                  <a:lnTo>
                    <a:pt x="7"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5" name="Freeform 20">
              <a:extLst>
                <a:ext uri="{FF2B5EF4-FFF2-40B4-BE49-F238E27FC236}">
                  <a16:creationId xmlns:a16="http://schemas.microsoft.com/office/drawing/2014/main" id="{3BDFFDAF-FBAE-4DD0-8366-4074DE93A7AB}"/>
                </a:ext>
              </a:extLst>
            </p:cNvPr>
            <p:cNvSpPr>
              <a:spLocks/>
            </p:cNvSpPr>
            <p:nvPr/>
          </p:nvSpPr>
          <p:spPr bwMode="gray">
            <a:xfrm>
              <a:off x="13615988" y="698500"/>
              <a:ext cx="11113" cy="11113"/>
            </a:xfrm>
            <a:custGeom>
              <a:avLst/>
              <a:gdLst>
                <a:gd name="T0" fmla="*/ 7 w 7"/>
                <a:gd name="T1" fmla="*/ 0 h 7"/>
                <a:gd name="T2" fmla="*/ 2 w 7"/>
                <a:gd name="T3" fmla="*/ 7 h 7"/>
                <a:gd name="T4" fmla="*/ 0 w 7"/>
                <a:gd name="T5" fmla="*/ 7 h 7"/>
                <a:gd name="T6" fmla="*/ 7 w 7"/>
                <a:gd name="T7" fmla="*/ 0 h 7"/>
                <a:gd name="T8" fmla="*/ 7 w 7"/>
                <a:gd name="T9" fmla="*/ 0 h 7"/>
                <a:gd name="T10" fmla="*/ 7 w 7"/>
                <a:gd name="T11" fmla="*/ 0 h 7"/>
                <a:gd name="T12" fmla="*/ 7 w 7"/>
                <a:gd name="T13" fmla="*/ 0 h 7"/>
                <a:gd name="T14" fmla="*/ 7 w 7"/>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7" y="0"/>
                  </a:moveTo>
                  <a:lnTo>
                    <a:pt x="2" y="7"/>
                  </a:lnTo>
                  <a:lnTo>
                    <a:pt x="0" y="7"/>
                  </a:lnTo>
                  <a:lnTo>
                    <a:pt x="7" y="0"/>
                  </a:lnTo>
                  <a:lnTo>
                    <a:pt x="7" y="0"/>
                  </a:lnTo>
                  <a:lnTo>
                    <a:pt x="7"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6" name="Freeform 21">
              <a:extLst>
                <a:ext uri="{FF2B5EF4-FFF2-40B4-BE49-F238E27FC236}">
                  <a16:creationId xmlns:a16="http://schemas.microsoft.com/office/drawing/2014/main" id="{50067E72-ACBE-4289-B740-6909A6CDB212}"/>
                </a:ext>
              </a:extLst>
            </p:cNvPr>
            <p:cNvSpPr>
              <a:spLocks/>
            </p:cNvSpPr>
            <p:nvPr/>
          </p:nvSpPr>
          <p:spPr bwMode="gray">
            <a:xfrm>
              <a:off x="13627100" y="698500"/>
              <a:ext cx="44450" cy="44450"/>
            </a:xfrm>
            <a:custGeom>
              <a:avLst/>
              <a:gdLst>
                <a:gd name="T0" fmla="*/ 28 w 28"/>
                <a:gd name="T1" fmla="*/ 7 h 28"/>
                <a:gd name="T2" fmla="*/ 11 w 28"/>
                <a:gd name="T3" fmla="*/ 23 h 28"/>
                <a:gd name="T4" fmla="*/ 0 w 28"/>
                <a:gd name="T5" fmla="*/ 28 h 28"/>
                <a:gd name="T6" fmla="*/ 2 w 28"/>
                <a:gd name="T7" fmla="*/ 21 h 28"/>
                <a:gd name="T8" fmla="*/ 16 w 28"/>
                <a:gd name="T9" fmla="*/ 14 h 28"/>
                <a:gd name="T10" fmla="*/ 21 w 28"/>
                <a:gd name="T11" fmla="*/ 0 h 28"/>
                <a:gd name="T12" fmla="*/ 28 w 28"/>
                <a:gd name="T13" fmla="*/ 7 h 28"/>
                <a:gd name="T14" fmla="*/ 28 w 28"/>
                <a:gd name="T15" fmla="*/ 7 h 28"/>
                <a:gd name="T16" fmla="*/ 28 w 28"/>
                <a:gd name="T17" fmla="*/ 7 h 28"/>
                <a:gd name="T18" fmla="*/ 28 w 28"/>
                <a:gd name="T19" fmla="*/ 7 h 28"/>
                <a:gd name="T20" fmla="*/ 28 w 28"/>
                <a:gd name="T21"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8">
                  <a:moveTo>
                    <a:pt x="28" y="7"/>
                  </a:moveTo>
                  <a:lnTo>
                    <a:pt x="11" y="23"/>
                  </a:lnTo>
                  <a:lnTo>
                    <a:pt x="0" y="28"/>
                  </a:lnTo>
                  <a:lnTo>
                    <a:pt x="2" y="21"/>
                  </a:lnTo>
                  <a:lnTo>
                    <a:pt x="16" y="14"/>
                  </a:lnTo>
                  <a:lnTo>
                    <a:pt x="21" y="0"/>
                  </a:lnTo>
                  <a:lnTo>
                    <a:pt x="28" y="7"/>
                  </a:lnTo>
                  <a:lnTo>
                    <a:pt x="28" y="7"/>
                  </a:lnTo>
                  <a:lnTo>
                    <a:pt x="28" y="7"/>
                  </a:lnTo>
                  <a:lnTo>
                    <a:pt x="28" y="7"/>
                  </a:lnTo>
                  <a:lnTo>
                    <a:pt x="2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7" name="Freeform 22">
              <a:extLst>
                <a:ext uri="{FF2B5EF4-FFF2-40B4-BE49-F238E27FC236}">
                  <a16:creationId xmlns:a16="http://schemas.microsoft.com/office/drawing/2014/main" id="{ECA32F82-FA80-4AFE-8AB4-DF40359F44A5}"/>
                </a:ext>
              </a:extLst>
            </p:cNvPr>
            <p:cNvSpPr>
              <a:spLocks/>
            </p:cNvSpPr>
            <p:nvPr/>
          </p:nvSpPr>
          <p:spPr bwMode="gray">
            <a:xfrm>
              <a:off x="13611225" y="715963"/>
              <a:ext cx="7938" cy="12700"/>
            </a:xfrm>
            <a:custGeom>
              <a:avLst/>
              <a:gdLst>
                <a:gd name="T0" fmla="*/ 5 w 5"/>
                <a:gd name="T1" fmla="*/ 0 h 8"/>
                <a:gd name="T2" fmla="*/ 3 w 5"/>
                <a:gd name="T3" fmla="*/ 8 h 8"/>
                <a:gd name="T4" fmla="*/ 0 w 5"/>
                <a:gd name="T5" fmla="*/ 8 h 8"/>
                <a:gd name="T6" fmla="*/ 5 w 5"/>
                <a:gd name="T7" fmla="*/ 0 h 8"/>
                <a:gd name="T8" fmla="*/ 5 w 5"/>
                <a:gd name="T9" fmla="*/ 0 h 8"/>
                <a:gd name="T10" fmla="*/ 5 w 5"/>
                <a:gd name="T11" fmla="*/ 0 h 8"/>
                <a:gd name="T12" fmla="*/ 5 w 5"/>
                <a:gd name="T13" fmla="*/ 0 h 8"/>
                <a:gd name="T14" fmla="*/ 5 w 5"/>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8">
                  <a:moveTo>
                    <a:pt x="5" y="0"/>
                  </a:moveTo>
                  <a:lnTo>
                    <a:pt x="3" y="8"/>
                  </a:lnTo>
                  <a:lnTo>
                    <a:pt x="0" y="8"/>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8" name="Freeform 23">
              <a:extLst>
                <a:ext uri="{FF2B5EF4-FFF2-40B4-BE49-F238E27FC236}">
                  <a16:creationId xmlns:a16="http://schemas.microsoft.com/office/drawing/2014/main" id="{73655EAE-BDA3-42BE-BE14-01EBB24F9114}"/>
                </a:ext>
              </a:extLst>
            </p:cNvPr>
            <p:cNvSpPr>
              <a:spLocks/>
            </p:cNvSpPr>
            <p:nvPr/>
          </p:nvSpPr>
          <p:spPr bwMode="gray">
            <a:xfrm>
              <a:off x="13615988" y="715963"/>
              <a:ext cx="14288" cy="12700"/>
            </a:xfrm>
            <a:custGeom>
              <a:avLst/>
              <a:gdLst>
                <a:gd name="T0" fmla="*/ 9 w 9"/>
                <a:gd name="T1" fmla="*/ 3 h 8"/>
                <a:gd name="T2" fmla="*/ 0 w 9"/>
                <a:gd name="T3" fmla="*/ 8 h 8"/>
                <a:gd name="T4" fmla="*/ 7 w 9"/>
                <a:gd name="T5" fmla="*/ 0 h 8"/>
                <a:gd name="T6" fmla="*/ 9 w 9"/>
                <a:gd name="T7" fmla="*/ 3 h 8"/>
                <a:gd name="T8" fmla="*/ 9 w 9"/>
                <a:gd name="T9" fmla="*/ 3 h 8"/>
                <a:gd name="T10" fmla="*/ 9 w 9"/>
                <a:gd name="T11" fmla="*/ 3 h 8"/>
                <a:gd name="T12" fmla="*/ 9 w 9"/>
                <a:gd name="T13" fmla="*/ 3 h 8"/>
                <a:gd name="T14" fmla="*/ 9 w 9"/>
                <a:gd name="T15" fmla="*/ 3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8">
                  <a:moveTo>
                    <a:pt x="9" y="3"/>
                  </a:moveTo>
                  <a:lnTo>
                    <a:pt x="0" y="8"/>
                  </a:lnTo>
                  <a:lnTo>
                    <a:pt x="7" y="0"/>
                  </a:lnTo>
                  <a:lnTo>
                    <a:pt x="9" y="3"/>
                  </a:lnTo>
                  <a:lnTo>
                    <a:pt x="9" y="3"/>
                  </a:lnTo>
                  <a:lnTo>
                    <a:pt x="9" y="3"/>
                  </a:lnTo>
                  <a:lnTo>
                    <a:pt x="9" y="3"/>
                  </a:lnTo>
                  <a:lnTo>
                    <a:pt x="9"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9" name="Freeform 24">
              <a:extLst>
                <a:ext uri="{FF2B5EF4-FFF2-40B4-BE49-F238E27FC236}">
                  <a16:creationId xmlns:a16="http://schemas.microsoft.com/office/drawing/2014/main" id="{F09F58E0-001E-4859-AF7C-C85FBE90F0FE}"/>
                </a:ext>
              </a:extLst>
            </p:cNvPr>
            <p:cNvSpPr>
              <a:spLocks/>
            </p:cNvSpPr>
            <p:nvPr/>
          </p:nvSpPr>
          <p:spPr bwMode="gray">
            <a:xfrm>
              <a:off x="13368338" y="769938"/>
              <a:ext cx="11113" cy="3175"/>
            </a:xfrm>
            <a:custGeom>
              <a:avLst/>
              <a:gdLst>
                <a:gd name="T0" fmla="*/ 0 w 7"/>
                <a:gd name="T1" fmla="*/ 0 h 2"/>
                <a:gd name="T2" fmla="*/ 7 w 7"/>
                <a:gd name="T3" fmla="*/ 2 h 2"/>
                <a:gd name="T4" fmla="*/ 0 w 7"/>
                <a:gd name="T5" fmla="*/ 2 h 2"/>
                <a:gd name="T6" fmla="*/ 0 w 7"/>
                <a:gd name="T7" fmla="*/ 0 h 2"/>
                <a:gd name="T8" fmla="*/ 0 w 7"/>
                <a:gd name="T9" fmla="*/ 0 h 2"/>
                <a:gd name="T10" fmla="*/ 0 w 7"/>
                <a:gd name="T11" fmla="*/ 0 h 2"/>
                <a:gd name="T12" fmla="*/ 0 w 7"/>
                <a:gd name="T13" fmla="*/ 0 h 2"/>
                <a:gd name="T14" fmla="*/ 0 w 7"/>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2">
                  <a:moveTo>
                    <a:pt x="0" y="0"/>
                  </a:moveTo>
                  <a:lnTo>
                    <a:pt x="7" y="2"/>
                  </a:lnTo>
                  <a:lnTo>
                    <a:pt x="0" y="2"/>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0" name="Freeform 25">
              <a:extLst>
                <a:ext uri="{FF2B5EF4-FFF2-40B4-BE49-F238E27FC236}">
                  <a16:creationId xmlns:a16="http://schemas.microsoft.com/office/drawing/2014/main" id="{0B844C41-3F32-44A2-A7EC-45DE2E18E45A}"/>
                </a:ext>
              </a:extLst>
            </p:cNvPr>
            <p:cNvSpPr>
              <a:spLocks/>
            </p:cNvSpPr>
            <p:nvPr/>
          </p:nvSpPr>
          <p:spPr bwMode="gray">
            <a:xfrm>
              <a:off x="13012738" y="814388"/>
              <a:ext cx="22225" cy="14288"/>
            </a:xfrm>
            <a:custGeom>
              <a:avLst/>
              <a:gdLst>
                <a:gd name="T0" fmla="*/ 0 w 14"/>
                <a:gd name="T1" fmla="*/ 2 h 9"/>
                <a:gd name="T2" fmla="*/ 14 w 14"/>
                <a:gd name="T3" fmla="*/ 0 h 9"/>
                <a:gd name="T4" fmla="*/ 7 w 14"/>
                <a:gd name="T5" fmla="*/ 7 h 9"/>
                <a:gd name="T6" fmla="*/ 4 w 14"/>
                <a:gd name="T7" fmla="*/ 9 h 9"/>
                <a:gd name="T8" fmla="*/ 0 w 14"/>
                <a:gd name="T9" fmla="*/ 2 h 9"/>
                <a:gd name="T10" fmla="*/ 0 w 14"/>
                <a:gd name="T11" fmla="*/ 2 h 9"/>
                <a:gd name="T12" fmla="*/ 0 w 14"/>
                <a:gd name="T13" fmla="*/ 2 h 9"/>
                <a:gd name="T14" fmla="*/ 0 w 14"/>
                <a:gd name="T15" fmla="*/ 2 h 9"/>
                <a:gd name="T16" fmla="*/ 0 w 14"/>
                <a:gd name="T1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9">
                  <a:moveTo>
                    <a:pt x="0" y="2"/>
                  </a:moveTo>
                  <a:lnTo>
                    <a:pt x="14" y="0"/>
                  </a:lnTo>
                  <a:lnTo>
                    <a:pt x="7" y="7"/>
                  </a:lnTo>
                  <a:lnTo>
                    <a:pt x="4" y="9"/>
                  </a:lnTo>
                  <a:lnTo>
                    <a:pt x="0" y="2"/>
                  </a:lnTo>
                  <a:lnTo>
                    <a:pt x="0" y="2"/>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1" name="Freeform 26">
              <a:extLst>
                <a:ext uri="{FF2B5EF4-FFF2-40B4-BE49-F238E27FC236}">
                  <a16:creationId xmlns:a16="http://schemas.microsoft.com/office/drawing/2014/main" id="{74253BA1-DAE3-49E1-95E0-31B73916E137}"/>
                </a:ext>
              </a:extLst>
            </p:cNvPr>
            <p:cNvSpPr>
              <a:spLocks/>
            </p:cNvSpPr>
            <p:nvPr/>
          </p:nvSpPr>
          <p:spPr bwMode="gray">
            <a:xfrm>
              <a:off x="13404850" y="825500"/>
              <a:ext cx="15875" cy="11113"/>
            </a:xfrm>
            <a:custGeom>
              <a:avLst/>
              <a:gdLst>
                <a:gd name="T0" fmla="*/ 10 w 10"/>
                <a:gd name="T1" fmla="*/ 0 h 7"/>
                <a:gd name="T2" fmla="*/ 8 w 10"/>
                <a:gd name="T3" fmla="*/ 7 h 7"/>
                <a:gd name="T4" fmla="*/ 0 w 10"/>
                <a:gd name="T5" fmla="*/ 2 h 7"/>
                <a:gd name="T6" fmla="*/ 10 w 10"/>
                <a:gd name="T7" fmla="*/ 0 h 7"/>
                <a:gd name="T8" fmla="*/ 10 w 10"/>
                <a:gd name="T9" fmla="*/ 0 h 7"/>
                <a:gd name="T10" fmla="*/ 10 w 10"/>
                <a:gd name="T11" fmla="*/ 0 h 7"/>
                <a:gd name="T12" fmla="*/ 10 w 10"/>
                <a:gd name="T13" fmla="*/ 0 h 7"/>
                <a:gd name="T14" fmla="*/ 10 w 10"/>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7">
                  <a:moveTo>
                    <a:pt x="10" y="0"/>
                  </a:moveTo>
                  <a:lnTo>
                    <a:pt x="8" y="7"/>
                  </a:lnTo>
                  <a:lnTo>
                    <a:pt x="0" y="2"/>
                  </a:lnTo>
                  <a:lnTo>
                    <a:pt x="10" y="0"/>
                  </a:lnTo>
                  <a:lnTo>
                    <a:pt x="10" y="0"/>
                  </a:lnTo>
                  <a:lnTo>
                    <a:pt x="10" y="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2" name="Freeform 27">
              <a:extLst>
                <a:ext uri="{FF2B5EF4-FFF2-40B4-BE49-F238E27FC236}">
                  <a16:creationId xmlns:a16="http://schemas.microsoft.com/office/drawing/2014/main" id="{4179BDED-9142-44DA-A477-818317BAE2EF}"/>
                </a:ext>
              </a:extLst>
            </p:cNvPr>
            <p:cNvSpPr>
              <a:spLocks/>
            </p:cNvSpPr>
            <p:nvPr/>
          </p:nvSpPr>
          <p:spPr bwMode="gray">
            <a:xfrm>
              <a:off x="13379450" y="836613"/>
              <a:ext cx="55563" cy="30163"/>
            </a:xfrm>
            <a:custGeom>
              <a:avLst/>
              <a:gdLst>
                <a:gd name="T0" fmla="*/ 16 w 35"/>
                <a:gd name="T1" fmla="*/ 17 h 19"/>
                <a:gd name="T2" fmla="*/ 12 w 35"/>
                <a:gd name="T3" fmla="*/ 19 h 19"/>
                <a:gd name="T4" fmla="*/ 0 w 35"/>
                <a:gd name="T5" fmla="*/ 12 h 19"/>
                <a:gd name="T6" fmla="*/ 12 w 35"/>
                <a:gd name="T7" fmla="*/ 12 h 19"/>
                <a:gd name="T8" fmla="*/ 5 w 35"/>
                <a:gd name="T9" fmla="*/ 9 h 19"/>
                <a:gd name="T10" fmla="*/ 14 w 35"/>
                <a:gd name="T11" fmla="*/ 7 h 19"/>
                <a:gd name="T12" fmla="*/ 14 w 35"/>
                <a:gd name="T13" fmla="*/ 2 h 19"/>
                <a:gd name="T14" fmla="*/ 16 w 35"/>
                <a:gd name="T15" fmla="*/ 0 h 19"/>
                <a:gd name="T16" fmla="*/ 24 w 35"/>
                <a:gd name="T17" fmla="*/ 2 h 19"/>
                <a:gd name="T18" fmla="*/ 26 w 35"/>
                <a:gd name="T19" fmla="*/ 0 h 19"/>
                <a:gd name="T20" fmla="*/ 35 w 35"/>
                <a:gd name="T21" fmla="*/ 7 h 19"/>
                <a:gd name="T22" fmla="*/ 33 w 35"/>
                <a:gd name="T23" fmla="*/ 12 h 19"/>
                <a:gd name="T24" fmla="*/ 31 w 35"/>
                <a:gd name="T25" fmla="*/ 7 h 19"/>
                <a:gd name="T26" fmla="*/ 26 w 35"/>
                <a:gd name="T27" fmla="*/ 9 h 19"/>
                <a:gd name="T28" fmla="*/ 31 w 35"/>
                <a:gd name="T29" fmla="*/ 12 h 19"/>
                <a:gd name="T30" fmla="*/ 21 w 35"/>
                <a:gd name="T31" fmla="*/ 12 h 19"/>
                <a:gd name="T32" fmla="*/ 16 w 35"/>
                <a:gd name="T33" fmla="*/ 17 h 19"/>
                <a:gd name="T34" fmla="*/ 16 w 35"/>
                <a:gd name="T35" fmla="*/ 17 h 19"/>
                <a:gd name="T36" fmla="*/ 16 w 35"/>
                <a:gd name="T37" fmla="*/ 17 h 19"/>
                <a:gd name="T38" fmla="*/ 16 w 35"/>
                <a:gd name="T39" fmla="*/ 17 h 19"/>
                <a:gd name="T40" fmla="*/ 16 w 35"/>
                <a:gd name="T41"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19">
                  <a:moveTo>
                    <a:pt x="16" y="17"/>
                  </a:moveTo>
                  <a:lnTo>
                    <a:pt x="12" y="19"/>
                  </a:lnTo>
                  <a:lnTo>
                    <a:pt x="0" y="12"/>
                  </a:lnTo>
                  <a:lnTo>
                    <a:pt x="12" y="12"/>
                  </a:lnTo>
                  <a:lnTo>
                    <a:pt x="5" y="9"/>
                  </a:lnTo>
                  <a:lnTo>
                    <a:pt x="14" y="7"/>
                  </a:lnTo>
                  <a:lnTo>
                    <a:pt x="14" y="2"/>
                  </a:lnTo>
                  <a:lnTo>
                    <a:pt x="16" y="0"/>
                  </a:lnTo>
                  <a:lnTo>
                    <a:pt x="24" y="2"/>
                  </a:lnTo>
                  <a:lnTo>
                    <a:pt x="26" y="0"/>
                  </a:lnTo>
                  <a:lnTo>
                    <a:pt x="35" y="7"/>
                  </a:lnTo>
                  <a:lnTo>
                    <a:pt x="33" y="12"/>
                  </a:lnTo>
                  <a:lnTo>
                    <a:pt x="31" y="7"/>
                  </a:lnTo>
                  <a:lnTo>
                    <a:pt x="26" y="9"/>
                  </a:lnTo>
                  <a:lnTo>
                    <a:pt x="31" y="12"/>
                  </a:lnTo>
                  <a:lnTo>
                    <a:pt x="21" y="12"/>
                  </a:lnTo>
                  <a:lnTo>
                    <a:pt x="16" y="17"/>
                  </a:lnTo>
                  <a:lnTo>
                    <a:pt x="16" y="17"/>
                  </a:lnTo>
                  <a:lnTo>
                    <a:pt x="16" y="17"/>
                  </a:lnTo>
                  <a:lnTo>
                    <a:pt x="16" y="17"/>
                  </a:lnTo>
                  <a:lnTo>
                    <a:pt x="16"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3" name="Freeform 28">
              <a:extLst>
                <a:ext uri="{FF2B5EF4-FFF2-40B4-BE49-F238E27FC236}">
                  <a16:creationId xmlns:a16="http://schemas.microsoft.com/office/drawing/2014/main" id="{7C0E9AEE-3E53-47BE-BBC3-738B31D99AD5}"/>
                </a:ext>
              </a:extLst>
            </p:cNvPr>
            <p:cNvSpPr>
              <a:spLocks/>
            </p:cNvSpPr>
            <p:nvPr/>
          </p:nvSpPr>
          <p:spPr bwMode="gray">
            <a:xfrm>
              <a:off x="14222413" y="839788"/>
              <a:ext cx="52388" cy="93663"/>
            </a:xfrm>
            <a:custGeom>
              <a:avLst/>
              <a:gdLst>
                <a:gd name="T0" fmla="*/ 14 w 33"/>
                <a:gd name="T1" fmla="*/ 38 h 59"/>
                <a:gd name="T2" fmla="*/ 0 w 33"/>
                <a:gd name="T3" fmla="*/ 0 h 59"/>
                <a:gd name="T4" fmla="*/ 12 w 33"/>
                <a:gd name="T5" fmla="*/ 10 h 59"/>
                <a:gd name="T6" fmla="*/ 21 w 33"/>
                <a:gd name="T7" fmla="*/ 10 h 59"/>
                <a:gd name="T8" fmla="*/ 33 w 33"/>
                <a:gd name="T9" fmla="*/ 31 h 59"/>
                <a:gd name="T10" fmla="*/ 21 w 33"/>
                <a:gd name="T11" fmla="*/ 15 h 59"/>
                <a:gd name="T12" fmla="*/ 21 w 33"/>
                <a:gd name="T13" fmla="*/ 24 h 59"/>
                <a:gd name="T14" fmla="*/ 33 w 33"/>
                <a:gd name="T15" fmla="*/ 40 h 59"/>
                <a:gd name="T16" fmla="*/ 28 w 33"/>
                <a:gd name="T17" fmla="*/ 40 h 59"/>
                <a:gd name="T18" fmla="*/ 33 w 33"/>
                <a:gd name="T19" fmla="*/ 45 h 59"/>
                <a:gd name="T20" fmla="*/ 28 w 33"/>
                <a:gd name="T21" fmla="*/ 48 h 59"/>
                <a:gd name="T22" fmla="*/ 21 w 33"/>
                <a:gd name="T23" fmla="*/ 45 h 59"/>
                <a:gd name="T24" fmla="*/ 28 w 33"/>
                <a:gd name="T25" fmla="*/ 52 h 59"/>
                <a:gd name="T26" fmla="*/ 14 w 33"/>
                <a:gd name="T27" fmla="*/ 59 h 59"/>
                <a:gd name="T28" fmla="*/ 12 w 33"/>
                <a:gd name="T29" fmla="*/ 52 h 59"/>
                <a:gd name="T30" fmla="*/ 14 w 33"/>
                <a:gd name="T31" fmla="*/ 45 h 59"/>
                <a:gd name="T32" fmla="*/ 21 w 33"/>
                <a:gd name="T33" fmla="*/ 48 h 59"/>
                <a:gd name="T34" fmla="*/ 14 w 33"/>
                <a:gd name="T35" fmla="*/ 40 h 59"/>
                <a:gd name="T36" fmla="*/ 21 w 33"/>
                <a:gd name="T37" fmla="*/ 38 h 59"/>
                <a:gd name="T38" fmla="*/ 14 w 33"/>
                <a:gd name="T39" fmla="*/ 38 h 59"/>
                <a:gd name="T40" fmla="*/ 14 w 33"/>
                <a:gd name="T41" fmla="*/ 38 h 59"/>
                <a:gd name="T42" fmla="*/ 14 w 33"/>
                <a:gd name="T43" fmla="*/ 38 h 59"/>
                <a:gd name="T44" fmla="*/ 14 w 33"/>
                <a:gd name="T45" fmla="*/ 38 h 59"/>
                <a:gd name="T46" fmla="*/ 14 w 33"/>
                <a:gd name="T47" fmla="*/ 3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 h="59">
                  <a:moveTo>
                    <a:pt x="14" y="38"/>
                  </a:moveTo>
                  <a:lnTo>
                    <a:pt x="0" y="0"/>
                  </a:lnTo>
                  <a:lnTo>
                    <a:pt x="12" y="10"/>
                  </a:lnTo>
                  <a:lnTo>
                    <a:pt x="21" y="10"/>
                  </a:lnTo>
                  <a:lnTo>
                    <a:pt x="33" y="31"/>
                  </a:lnTo>
                  <a:lnTo>
                    <a:pt x="21" y="15"/>
                  </a:lnTo>
                  <a:lnTo>
                    <a:pt x="21" y="24"/>
                  </a:lnTo>
                  <a:lnTo>
                    <a:pt x="33" y="40"/>
                  </a:lnTo>
                  <a:lnTo>
                    <a:pt x="28" y="40"/>
                  </a:lnTo>
                  <a:lnTo>
                    <a:pt x="33" y="45"/>
                  </a:lnTo>
                  <a:lnTo>
                    <a:pt x="28" y="48"/>
                  </a:lnTo>
                  <a:lnTo>
                    <a:pt x="21" y="45"/>
                  </a:lnTo>
                  <a:lnTo>
                    <a:pt x="28" y="52"/>
                  </a:lnTo>
                  <a:lnTo>
                    <a:pt x="14" y="59"/>
                  </a:lnTo>
                  <a:lnTo>
                    <a:pt x="12" y="52"/>
                  </a:lnTo>
                  <a:lnTo>
                    <a:pt x="14" y="45"/>
                  </a:lnTo>
                  <a:lnTo>
                    <a:pt x="21" y="48"/>
                  </a:lnTo>
                  <a:lnTo>
                    <a:pt x="14" y="40"/>
                  </a:lnTo>
                  <a:lnTo>
                    <a:pt x="21" y="38"/>
                  </a:lnTo>
                  <a:lnTo>
                    <a:pt x="14" y="38"/>
                  </a:lnTo>
                  <a:lnTo>
                    <a:pt x="14" y="38"/>
                  </a:lnTo>
                  <a:lnTo>
                    <a:pt x="14" y="38"/>
                  </a:lnTo>
                  <a:lnTo>
                    <a:pt x="14" y="38"/>
                  </a:lnTo>
                  <a:lnTo>
                    <a:pt x="14"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4" name="Freeform 29">
              <a:extLst>
                <a:ext uri="{FF2B5EF4-FFF2-40B4-BE49-F238E27FC236}">
                  <a16:creationId xmlns:a16="http://schemas.microsoft.com/office/drawing/2014/main" id="{85E97CF5-42B7-4321-8EBD-1944FF302E8D}"/>
                </a:ext>
              </a:extLst>
            </p:cNvPr>
            <p:cNvSpPr>
              <a:spLocks/>
            </p:cNvSpPr>
            <p:nvPr/>
          </p:nvSpPr>
          <p:spPr bwMode="gray">
            <a:xfrm>
              <a:off x="14189075" y="839788"/>
              <a:ext cx="11113" cy="0"/>
            </a:xfrm>
            <a:custGeom>
              <a:avLst/>
              <a:gdLst>
                <a:gd name="T0" fmla="*/ 2 w 7"/>
                <a:gd name="T1" fmla="*/ 7 w 7"/>
                <a:gd name="T2" fmla="*/ 0 w 7"/>
                <a:gd name="T3" fmla="*/ 2 w 7"/>
                <a:gd name="T4" fmla="*/ 2 w 7"/>
                <a:gd name="T5" fmla="*/ 2 w 7"/>
                <a:gd name="T6" fmla="*/ 2 w 7"/>
                <a:gd name="T7" fmla="*/ 2 w 7"/>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7">
                  <a:moveTo>
                    <a:pt x="2" y="0"/>
                  </a:moveTo>
                  <a:lnTo>
                    <a:pt x="7" y="0"/>
                  </a:lnTo>
                  <a:lnTo>
                    <a:pt x="0" y="0"/>
                  </a:lnTo>
                  <a:lnTo>
                    <a:pt x="2" y="0"/>
                  </a:lnTo>
                  <a:lnTo>
                    <a:pt x="2" y="0"/>
                  </a:lnTo>
                  <a:lnTo>
                    <a:pt x="2"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5" name="Freeform 30">
              <a:extLst>
                <a:ext uri="{FF2B5EF4-FFF2-40B4-BE49-F238E27FC236}">
                  <a16:creationId xmlns:a16="http://schemas.microsoft.com/office/drawing/2014/main" id="{53A35D07-23BE-47E8-B0D8-E09AFC8BDF24}"/>
                </a:ext>
              </a:extLst>
            </p:cNvPr>
            <p:cNvSpPr>
              <a:spLocks/>
            </p:cNvSpPr>
            <p:nvPr/>
          </p:nvSpPr>
          <p:spPr bwMode="gray">
            <a:xfrm>
              <a:off x="14241463" y="839788"/>
              <a:ext cx="14288" cy="11113"/>
            </a:xfrm>
            <a:custGeom>
              <a:avLst/>
              <a:gdLst>
                <a:gd name="T0" fmla="*/ 2 w 9"/>
                <a:gd name="T1" fmla="*/ 0 h 7"/>
                <a:gd name="T2" fmla="*/ 9 w 9"/>
                <a:gd name="T3" fmla="*/ 7 h 7"/>
                <a:gd name="T4" fmla="*/ 0 w 9"/>
                <a:gd name="T5" fmla="*/ 5 h 7"/>
                <a:gd name="T6" fmla="*/ 2 w 9"/>
                <a:gd name="T7" fmla="*/ 0 h 7"/>
                <a:gd name="T8" fmla="*/ 2 w 9"/>
                <a:gd name="T9" fmla="*/ 0 h 7"/>
                <a:gd name="T10" fmla="*/ 2 w 9"/>
                <a:gd name="T11" fmla="*/ 0 h 7"/>
                <a:gd name="T12" fmla="*/ 2 w 9"/>
                <a:gd name="T13" fmla="*/ 0 h 7"/>
                <a:gd name="T14" fmla="*/ 2 w 9"/>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7">
                  <a:moveTo>
                    <a:pt x="2" y="0"/>
                  </a:moveTo>
                  <a:lnTo>
                    <a:pt x="9" y="7"/>
                  </a:lnTo>
                  <a:lnTo>
                    <a:pt x="0" y="5"/>
                  </a:lnTo>
                  <a:lnTo>
                    <a:pt x="2" y="0"/>
                  </a:lnTo>
                  <a:lnTo>
                    <a:pt x="2" y="0"/>
                  </a:lnTo>
                  <a:lnTo>
                    <a:pt x="2"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6" name="Freeform 31">
              <a:extLst>
                <a:ext uri="{FF2B5EF4-FFF2-40B4-BE49-F238E27FC236}">
                  <a16:creationId xmlns:a16="http://schemas.microsoft.com/office/drawing/2014/main" id="{0CB3BE59-A44F-4016-B8C1-5BDA98A21E68}"/>
                </a:ext>
              </a:extLst>
            </p:cNvPr>
            <p:cNvSpPr>
              <a:spLocks/>
            </p:cNvSpPr>
            <p:nvPr/>
          </p:nvSpPr>
          <p:spPr bwMode="gray">
            <a:xfrm>
              <a:off x="14158913" y="847725"/>
              <a:ext cx="71438" cy="63500"/>
            </a:xfrm>
            <a:custGeom>
              <a:avLst/>
              <a:gdLst>
                <a:gd name="T0" fmla="*/ 37 w 45"/>
                <a:gd name="T1" fmla="*/ 24 h 40"/>
                <a:gd name="T2" fmla="*/ 14 w 45"/>
                <a:gd name="T3" fmla="*/ 12 h 40"/>
                <a:gd name="T4" fmla="*/ 30 w 45"/>
                <a:gd name="T5" fmla="*/ 26 h 40"/>
                <a:gd name="T6" fmla="*/ 40 w 45"/>
                <a:gd name="T7" fmla="*/ 24 h 40"/>
                <a:gd name="T8" fmla="*/ 45 w 45"/>
                <a:gd name="T9" fmla="*/ 28 h 40"/>
                <a:gd name="T10" fmla="*/ 45 w 45"/>
                <a:gd name="T11" fmla="*/ 35 h 40"/>
                <a:gd name="T12" fmla="*/ 37 w 45"/>
                <a:gd name="T13" fmla="*/ 35 h 40"/>
                <a:gd name="T14" fmla="*/ 14 w 45"/>
                <a:gd name="T15" fmla="*/ 24 h 40"/>
                <a:gd name="T16" fmla="*/ 26 w 45"/>
                <a:gd name="T17" fmla="*/ 28 h 40"/>
                <a:gd name="T18" fmla="*/ 26 w 45"/>
                <a:gd name="T19" fmla="*/ 35 h 40"/>
                <a:gd name="T20" fmla="*/ 19 w 45"/>
                <a:gd name="T21" fmla="*/ 40 h 40"/>
                <a:gd name="T22" fmla="*/ 14 w 45"/>
                <a:gd name="T23" fmla="*/ 40 h 40"/>
                <a:gd name="T24" fmla="*/ 14 w 45"/>
                <a:gd name="T25" fmla="*/ 33 h 40"/>
                <a:gd name="T26" fmla="*/ 19 w 45"/>
                <a:gd name="T27" fmla="*/ 35 h 40"/>
                <a:gd name="T28" fmla="*/ 9 w 45"/>
                <a:gd name="T29" fmla="*/ 28 h 40"/>
                <a:gd name="T30" fmla="*/ 14 w 45"/>
                <a:gd name="T31" fmla="*/ 28 h 40"/>
                <a:gd name="T32" fmla="*/ 0 w 45"/>
                <a:gd name="T33" fmla="*/ 19 h 40"/>
                <a:gd name="T34" fmla="*/ 2 w 45"/>
                <a:gd name="T35" fmla="*/ 12 h 40"/>
                <a:gd name="T36" fmla="*/ 9 w 45"/>
                <a:gd name="T37" fmla="*/ 19 h 40"/>
                <a:gd name="T38" fmla="*/ 0 w 45"/>
                <a:gd name="T39" fmla="*/ 5 h 40"/>
                <a:gd name="T40" fmla="*/ 0 w 45"/>
                <a:gd name="T41" fmla="*/ 2 h 40"/>
                <a:gd name="T42" fmla="*/ 7 w 45"/>
                <a:gd name="T43" fmla="*/ 10 h 40"/>
                <a:gd name="T44" fmla="*/ 7 w 45"/>
                <a:gd name="T45" fmla="*/ 2 h 40"/>
                <a:gd name="T46" fmla="*/ 19 w 45"/>
                <a:gd name="T47" fmla="*/ 0 h 40"/>
                <a:gd name="T48" fmla="*/ 26 w 45"/>
                <a:gd name="T49" fmla="*/ 5 h 40"/>
                <a:gd name="T50" fmla="*/ 21 w 45"/>
                <a:gd name="T51" fmla="*/ 10 h 40"/>
                <a:gd name="T52" fmla="*/ 19 w 45"/>
                <a:gd name="T53" fmla="*/ 10 h 40"/>
                <a:gd name="T54" fmla="*/ 19 w 45"/>
                <a:gd name="T55" fmla="*/ 12 h 40"/>
                <a:gd name="T56" fmla="*/ 21 w 45"/>
                <a:gd name="T57" fmla="*/ 12 h 40"/>
                <a:gd name="T58" fmla="*/ 28 w 45"/>
                <a:gd name="T59" fmla="*/ 5 h 40"/>
                <a:gd name="T60" fmla="*/ 40 w 45"/>
                <a:gd name="T61" fmla="*/ 12 h 40"/>
                <a:gd name="T62" fmla="*/ 40 w 45"/>
                <a:gd name="T63" fmla="*/ 19 h 40"/>
                <a:gd name="T64" fmla="*/ 35 w 45"/>
                <a:gd name="T65" fmla="*/ 17 h 40"/>
                <a:gd name="T66" fmla="*/ 40 w 45"/>
                <a:gd name="T67" fmla="*/ 19 h 40"/>
                <a:gd name="T68" fmla="*/ 37 w 45"/>
                <a:gd name="T69" fmla="*/ 24 h 40"/>
                <a:gd name="T70" fmla="*/ 37 w 45"/>
                <a:gd name="T71" fmla="*/ 24 h 40"/>
                <a:gd name="T72" fmla="*/ 37 w 45"/>
                <a:gd name="T73" fmla="*/ 24 h 40"/>
                <a:gd name="T74" fmla="*/ 37 w 45"/>
                <a:gd name="T75" fmla="*/ 24 h 40"/>
                <a:gd name="T76" fmla="*/ 37 w 45"/>
                <a:gd name="T77"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 h="40">
                  <a:moveTo>
                    <a:pt x="37" y="24"/>
                  </a:moveTo>
                  <a:lnTo>
                    <a:pt x="14" y="12"/>
                  </a:lnTo>
                  <a:lnTo>
                    <a:pt x="30" y="26"/>
                  </a:lnTo>
                  <a:lnTo>
                    <a:pt x="40" y="24"/>
                  </a:lnTo>
                  <a:lnTo>
                    <a:pt x="45" y="28"/>
                  </a:lnTo>
                  <a:lnTo>
                    <a:pt x="45" y="35"/>
                  </a:lnTo>
                  <a:lnTo>
                    <a:pt x="37" y="35"/>
                  </a:lnTo>
                  <a:lnTo>
                    <a:pt x="14" y="24"/>
                  </a:lnTo>
                  <a:lnTo>
                    <a:pt x="26" y="28"/>
                  </a:lnTo>
                  <a:lnTo>
                    <a:pt x="26" y="35"/>
                  </a:lnTo>
                  <a:lnTo>
                    <a:pt x="19" y="40"/>
                  </a:lnTo>
                  <a:lnTo>
                    <a:pt x="14" y="40"/>
                  </a:lnTo>
                  <a:lnTo>
                    <a:pt x="14" y="33"/>
                  </a:lnTo>
                  <a:lnTo>
                    <a:pt x="19" y="35"/>
                  </a:lnTo>
                  <a:lnTo>
                    <a:pt x="9" y="28"/>
                  </a:lnTo>
                  <a:lnTo>
                    <a:pt x="14" y="28"/>
                  </a:lnTo>
                  <a:lnTo>
                    <a:pt x="0" y="19"/>
                  </a:lnTo>
                  <a:lnTo>
                    <a:pt x="2" y="12"/>
                  </a:lnTo>
                  <a:lnTo>
                    <a:pt x="9" y="19"/>
                  </a:lnTo>
                  <a:lnTo>
                    <a:pt x="0" y="5"/>
                  </a:lnTo>
                  <a:lnTo>
                    <a:pt x="0" y="2"/>
                  </a:lnTo>
                  <a:lnTo>
                    <a:pt x="7" y="10"/>
                  </a:lnTo>
                  <a:lnTo>
                    <a:pt x="7" y="2"/>
                  </a:lnTo>
                  <a:lnTo>
                    <a:pt x="19" y="0"/>
                  </a:lnTo>
                  <a:lnTo>
                    <a:pt x="26" y="5"/>
                  </a:lnTo>
                  <a:lnTo>
                    <a:pt x="21" y="10"/>
                  </a:lnTo>
                  <a:lnTo>
                    <a:pt x="19" y="10"/>
                  </a:lnTo>
                  <a:lnTo>
                    <a:pt x="19" y="12"/>
                  </a:lnTo>
                  <a:lnTo>
                    <a:pt x="21" y="12"/>
                  </a:lnTo>
                  <a:lnTo>
                    <a:pt x="28" y="5"/>
                  </a:lnTo>
                  <a:lnTo>
                    <a:pt x="40" y="12"/>
                  </a:lnTo>
                  <a:lnTo>
                    <a:pt x="40" y="19"/>
                  </a:lnTo>
                  <a:lnTo>
                    <a:pt x="35" y="17"/>
                  </a:lnTo>
                  <a:lnTo>
                    <a:pt x="40" y="19"/>
                  </a:lnTo>
                  <a:lnTo>
                    <a:pt x="37" y="24"/>
                  </a:lnTo>
                  <a:lnTo>
                    <a:pt x="37" y="24"/>
                  </a:lnTo>
                  <a:lnTo>
                    <a:pt x="37" y="24"/>
                  </a:lnTo>
                  <a:lnTo>
                    <a:pt x="37" y="24"/>
                  </a:lnTo>
                  <a:lnTo>
                    <a:pt x="37"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7" name="Freeform 32">
              <a:extLst>
                <a:ext uri="{FF2B5EF4-FFF2-40B4-BE49-F238E27FC236}">
                  <a16:creationId xmlns:a16="http://schemas.microsoft.com/office/drawing/2014/main" id="{7A36F713-F9D8-4898-8ED5-1FA2E19C2F7C}"/>
                </a:ext>
              </a:extLst>
            </p:cNvPr>
            <p:cNvSpPr>
              <a:spLocks/>
            </p:cNvSpPr>
            <p:nvPr/>
          </p:nvSpPr>
          <p:spPr bwMode="gray">
            <a:xfrm>
              <a:off x="13368338" y="855663"/>
              <a:ext cx="30163" cy="11113"/>
            </a:xfrm>
            <a:custGeom>
              <a:avLst/>
              <a:gdLst>
                <a:gd name="T0" fmla="*/ 7 w 19"/>
                <a:gd name="T1" fmla="*/ 0 h 7"/>
                <a:gd name="T2" fmla="*/ 19 w 19"/>
                <a:gd name="T3" fmla="*/ 7 h 7"/>
                <a:gd name="T4" fmla="*/ 0 w 19"/>
                <a:gd name="T5" fmla="*/ 5 h 7"/>
                <a:gd name="T6" fmla="*/ 7 w 19"/>
                <a:gd name="T7" fmla="*/ 0 h 7"/>
                <a:gd name="T8" fmla="*/ 7 w 19"/>
                <a:gd name="T9" fmla="*/ 0 h 7"/>
                <a:gd name="T10" fmla="*/ 7 w 19"/>
                <a:gd name="T11" fmla="*/ 0 h 7"/>
                <a:gd name="T12" fmla="*/ 7 w 19"/>
                <a:gd name="T13" fmla="*/ 0 h 7"/>
                <a:gd name="T14" fmla="*/ 7 w 19"/>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7">
                  <a:moveTo>
                    <a:pt x="7" y="0"/>
                  </a:moveTo>
                  <a:lnTo>
                    <a:pt x="19" y="7"/>
                  </a:lnTo>
                  <a:lnTo>
                    <a:pt x="0" y="5"/>
                  </a:lnTo>
                  <a:lnTo>
                    <a:pt x="7" y="0"/>
                  </a:lnTo>
                  <a:lnTo>
                    <a:pt x="7" y="0"/>
                  </a:lnTo>
                  <a:lnTo>
                    <a:pt x="7"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8" name="Freeform 33">
              <a:extLst>
                <a:ext uri="{FF2B5EF4-FFF2-40B4-BE49-F238E27FC236}">
                  <a16:creationId xmlns:a16="http://schemas.microsoft.com/office/drawing/2014/main" id="{E61FE8C3-5837-48FA-A40B-B379987B400C}"/>
                </a:ext>
              </a:extLst>
            </p:cNvPr>
            <p:cNvSpPr>
              <a:spLocks/>
            </p:cNvSpPr>
            <p:nvPr/>
          </p:nvSpPr>
          <p:spPr bwMode="gray">
            <a:xfrm>
              <a:off x="14150975" y="863600"/>
              <a:ext cx="11113" cy="14288"/>
            </a:xfrm>
            <a:custGeom>
              <a:avLst/>
              <a:gdLst>
                <a:gd name="T0" fmla="*/ 0 w 7"/>
                <a:gd name="T1" fmla="*/ 0 h 9"/>
                <a:gd name="T2" fmla="*/ 7 w 7"/>
                <a:gd name="T3" fmla="*/ 2 h 9"/>
                <a:gd name="T4" fmla="*/ 5 w 7"/>
                <a:gd name="T5" fmla="*/ 9 h 9"/>
                <a:gd name="T6" fmla="*/ 0 w 7"/>
                <a:gd name="T7" fmla="*/ 2 h 9"/>
                <a:gd name="T8" fmla="*/ 0 w 7"/>
                <a:gd name="T9" fmla="*/ 0 h 9"/>
                <a:gd name="T10" fmla="*/ 0 w 7"/>
                <a:gd name="T11" fmla="*/ 0 h 9"/>
                <a:gd name="T12" fmla="*/ 0 w 7"/>
                <a:gd name="T13" fmla="*/ 0 h 9"/>
                <a:gd name="T14" fmla="*/ 0 w 7"/>
                <a:gd name="T15" fmla="*/ 0 h 9"/>
                <a:gd name="T16" fmla="*/ 0 w 7"/>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0" y="0"/>
                  </a:moveTo>
                  <a:lnTo>
                    <a:pt x="7" y="2"/>
                  </a:lnTo>
                  <a:lnTo>
                    <a:pt x="5" y="9"/>
                  </a:lnTo>
                  <a:lnTo>
                    <a:pt x="0" y="2"/>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9" name="Freeform 34">
              <a:extLst>
                <a:ext uri="{FF2B5EF4-FFF2-40B4-BE49-F238E27FC236}">
                  <a16:creationId xmlns:a16="http://schemas.microsoft.com/office/drawing/2014/main" id="{4D7D9521-8CC0-4664-BC2B-5A2711C101F9}"/>
                </a:ext>
              </a:extLst>
            </p:cNvPr>
            <p:cNvSpPr>
              <a:spLocks/>
            </p:cNvSpPr>
            <p:nvPr/>
          </p:nvSpPr>
          <p:spPr bwMode="gray">
            <a:xfrm>
              <a:off x="13308013" y="866775"/>
              <a:ext cx="123825" cy="85725"/>
            </a:xfrm>
            <a:custGeom>
              <a:avLst/>
              <a:gdLst>
                <a:gd name="T0" fmla="*/ 38 w 78"/>
                <a:gd name="T1" fmla="*/ 16 h 54"/>
                <a:gd name="T2" fmla="*/ 28 w 78"/>
                <a:gd name="T3" fmla="*/ 14 h 54"/>
                <a:gd name="T4" fmla="*/ 28 w 78"/>
                <a:gd name="T5" fmla="*/ 7 h 54"/>
                <a:gd name="T6" fmla="*/ 31 w 78"/>
                <a:gd name="T7" fmla="*/ 5 h 54"/>
                <a:gd name="T8" fmla="*/ 38 w 78"/>
                <a:gd name="T9" fmla="*/ 7 h 54"/>
                <a:gd name="T10" fmla="*/ 38 w 78"/>
                <a:gd name="T11" fmla="*/ 16 h 54"/>
                <a:gd name="T12" fmla="*/ 45 w 78"/>
                <a:gd name="T13" fmla="*/ 14 h 54"/>
                <a:gd name="T14" fmla="*/ 38 w 78"/>
                <a:gd name="T15" fmla="*/ 7 h 54"/>
                <a:gd name="T16" fmla="*/ 52 w 78"/>
                <a:gd name="T17" fmla="*/ 7 h 54"/>
                <a:gd name="T18" fmla="*/ 45 w 78"/>
                <a:gd name="T19" fmla="*/ 0 h 54"/>
                <a:gd name="T20" fmla="*/ 59 w 78"/>
                <a:gd name="T21" fmla="*/ 5 h 54"/>
                <a:gd name="T22" fmla="*/ 57 w 78"/>
                <a:gd name="T23" fmla="*/ 7 h 54"/>
                <a:gd name="T24" fmla="*/ 57 w 78"/>
                <a:gd name="T25" fmla="*/ 14 h 54"/>
                <a:gd name="T26" fmla="*/ 59 w 78"/>
                <a:gd name="T27" fmla="*/ 7 h 54"/>
                <a:gd name="T28" fmla="*/ 69 w 78"/>
                <a:gd name="T29" fmla="*/ 5 h 54"/>
                <a:gd name="T30" fmla="*/ 71 w 78"/>
                <a:gd name="T31" fmla="*/ 7 h 54"/>
                <a:gd name="T32" fmla="*/ 66 w 78"/>
                <a:gd name="T33" fmla="*/ 14 h 54"/>
                <a:gd name="T34" fmla="*/ 69 w 78"/>
                <a:gd name="T35" fmla="*/ 16 h 54"/>
                <a:gd name="T36" fmla="*/ 78 w 78"/>
                <a:gd name="T37" fmla="*/ 16 h 54"/>
                <a:gd name="T38" fmla="*/ 71 w 78"/>
                <a:gd name="T39" fmla="*/ 28 h 54"/>
                <a:gd name="T40" fmla="*/ 59 w 78"/>
                <a:gd name="T41" fmla="*/ 21 h 54"/>
                <a:gd name="T42" fmla="*/ 52 w 78"/>
                <a:gd name="T43" fmla="*/ 23 h 54"/>
                <a:gd name="T44" fmla="*/ 66 w 78"/>
                <a:gd name="T45" fmla="*/ 28 h 54"/>
                <a:gd name="T46" fmla="*/ 61 w 78"/>
                <a:gd name="T47" fmla="*/ 31 h 54"/>
                <a:gd name="T48" fmla="*/ 50 w 78"/>
                <a:gd name="T49" fmla="*/ 31 h 54"/>
                <a:gd name="T50" fmla="*/ 52 w 78"/>
                <a:gd name="T51" fmla="*/ 35 h 54"/>
                <a:gd name="T52" fmla="*/ 31 w 78"/>
                <a:gd name="T53" fmla="*/ 40 h 54"/>
                <a:gd name="T54" fmla="*/ 38 w 78"/>
                <a:gd name="T55" fmla="*/ 42 h 54"/>
                <a:gd name="T56" fmla="*/ 24 w 78"/>
                <a:gd name="T57" fmla="*/ 54 h 54"/>
                <a:gd name="T58" fmla="*/ 21 w 78"/>
                <a:gd name="T59" fmla="*/ 54 h 54"/>
                <a:gd name="T60" fmla="*/ 31 w 78"/>
                <a:gd name="T61" fmla="*/ 42 h 54"/>
                <a:gd name="T62" fmla="*/ 24 w 78"/>
                <a:gd name="T63" fmla="*/ 47 h 54"/>
                <a:gd name="T64" fmla="*/ 31 w 78"/>
                <a:gd name="T65" fmla="*/ 38 h 54"/>
                <a:gd name="T66" fmla="*/ 21 w 78"/>
                <a:gd name="T67" fmla="*/ 47 h 54"/>
                <a:gd name="T68" fmla="*/ 24 w 78"/>
                <a:gd name="T69" fmla="*/ 40 h 54"/>
                <a:gd name="T70" fmla="*/ 12 w 78"/>
                <a:gd name="T71" fmla="*/ 38 h 54"/>
                <a:gd name="T72" fmla="*/ 12 w 78"/>
                <a:gd name="T73" fmla="*/ 40 h 54"/>
                <a:gd name="T74" fmla="*/ 21 w 78"/>
                <a:gd name="T75" fmla="*/ 40 h 54"/>
                <a:gd name="T76" fmla="*/ 14 w 78"/>
                <a:gd name="T77" fmla="*/ 49 h 54"/>
                <a:gd name="T78" fmla="*/ 7 w 78"/>
                <a:gd name="T79" fmla="*/ 42 h 54"/>
                <a:gd name="T80" fmla="*/ 5 w 78"/>
                <a:gd name="T81" fmla="*/ 35 h 54"/>
                <a:gd name="T82" fmla="*/ 0 w 78"/>
                <a:gd name="T83" fmla="*/ 31 h 54"/>
                <a:gd name="T84" fmla="*/ 5 w 78"/>
                <a:gd name="T85" fmla="*/ 21 h 54"/>
                <a:gd name="T86" fmla="*/ 17 w 78"/>
                <a:gd name="T87" fmla="*/ 14 h 54"/>
                <a:gd name="T88" fmla="*/ 24 w 78"/>
                <a:gd name="T89" fmla="*/ 16 h 54"/>
                <a:gd name="T90" fmla="*/ 28 w 78"/>
                <a:gd name="T91" fmla="*/ 28 h 54"/>
                <a:gd name="T92" fmla="*/ 33 w 78"/>
                <a:gd name="T93" fmla="*/ 35 h 54"/>
                <a:gd name="T94" fmla="*/ 31 w 78"/>
                <a:gd name="T95" fmla="*/ 28 h 54"/>
                <a:gd name="T96" fmla="*/ 28 w 78"/>
                <a:gd name="T97" fmla="*/ 16 h 54"/>
                <a:gd name="T98" fmla="*/ 38 w 78"/>
                <a:gd name="T99" fmla="*/ 16 h 54"/>
                <a:gd name="T100" fmla="*/ 38 w 78"/>
                <a:gd name="T101" fmla="*/ 16 h 54"/>
                <a:gd name="T102" fmla="*/ 38 w 78"/>
                <a:gd name="T103" fmla="*/ 16 h 54"/>
                <a:gd name="T104" fmla="*/ 38 w 78"/>
                <a:gd name="T105" fmla="*/ 16 h 54"/>
                <a:gd name="T106" fmla="*/ 38 w 78"/>
                <a:gd name="T107"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8" h="54">
                  <a:moveTo>
                    <a:pt x="38" y="16"/>
                  </a:moveTo>
                  <a:lnTo>
                    <a:pt x="28" y="14"/>
                  </a:lnTo>
                  <a:lnTo>
                    <a:pt x="28" y="7"/>
                  </a:lnTo>
                  <a:lnTo>
                    <a:pt x="31" y="5"/>
                  </a:lnTo>
                  <a:lnTo>
                    <a:pt x="38" y="7"/>
                  </a:lnTo>
                  <a:lnTo>
                    <a:pt x="38" y="16"/>
                  </a:lnTo>
                  <a:lnTo>
                    <a:pt x="45" y="14"/>
                  </a:lnTo>
                  <a:lnTo>
                    <a:pt x="38" y="7"/>
                  </a:lnTo>
                  <a:lnTo>
                    <a:pt x="52" y="7"/>
                  </a:lnTo>
                  <a:lnTo>
                    <a:pt x="45" y="0"/>
                  </a:lnTo>
                  <a:lnTo>
                    <a:pt x="59" y="5"/>
                  </a:lnTo>
                  <a:lnTo>
                    <a:pt x="57" y="7"/>
                  </a:lnTo>
                  <a:lnTo>
                    <a:pt x="57" y="14"/>
                  </a:lnTo>
                  <a:lnTo>
                    <a:pt x="59" y="7"/>
                  </a:lnTo>
                  <a:lnTo>
                    <a:pt x="69" y="5"/>
                  </a:lnTo>
                  <a:lnTo>
                    <a:pt x="71" y="7"/>
                  </a:lnTo>
                  <a:lnTo>
                    <a:pt x="66" y="14"/>
                  </a:lnTo>
                  <a:lnTo>
                    <a:pt x="69" y="16"/>
                  </a:lnTo>
                  <a:lnTo>
                    <a:pt x="78" y="16"/>
                  </a:lnTo>
                  <a:lnTo>
                    <a:pt x="71" y="28"/>
                  </a:lnTo>
                  <a:lnTo>
                    <a:pt x="59" y="21"/>
                  </a:lnTo>
                  <a:lnTo>
                    <a:pt x="52" y="23"/>
                  </a:lnTo>
                  <a:lnTo>
                    <a:pt x="66" y="28"/>
                  </a:lnTo>
                  <a:lnTo>
                    <a:pt x="61" y="31"/>
                  </a:lnTo>
                  <a:lnTo>
                    <a:pt x="50" y="31"/>
                  </a:lnTo>
                  <a:lnTo>
                    <a:pt x="52" y="35"/>
                  </a:lnTo>
                  <a:lnTo>
                    <a:pt x="31" y="40"/>
                  </a:lnTo>
                  <a:lnTo>
                    <a:pt x="38" y="42"/>
                  </a:lnTo>
                  <a:lnTo>
                    <a:pt x="24" y="54"/>
                  </a:lnTo>
                  <a:lnTo>
                    <a:pt x="21" y="54"/>
                  </a:lnTo>
                  <a:lnTo>
                    <a:pt x="31" y="42"/>
                  </a:lnTo>
                  <a:lnTo>
                    <a:pt x="24" y="47"/>
                  </a:lnTo>
                  <a:lnTo>
                    <a:pt x="31" y="38"/>
                  </a:lnTo>
                  <a:lnTo>
                    <a:pt x="21" y="47"/>
                  </a:lnTo>
                  <a:lnTo>
                    <a:pt x="24" y="40"/>
                  </a:lnTo>
                  <a:lnTo>
                    <a:pt x="12" y="38"/>
                  </a:lnTo>
                  <a:lnTo>
                    <a:pt x="12" y="40"/>
                  </a:lnTo>
                  <a:lnTo>
                    <a:pt x="21" y="40"/>
                  </a:lnTo>
                  <a:lnTo>
                    <a:pt x="14" y="49"/>
                  </a:lnTo>
                  <a:lnTo>
                    <a:pt x="7" y="42"/>
                  </a:lnTo>
                  <a:lnTo>
                    <a:pt x="5" y="35"/>
                  </a:lnTo>
                  <a:lnTo>
                    <a:pt x="0" y="31"/>
                  </a:lnTo>
                  <a:lnTo>
                    <a:pt x="5" y="21"/>
                  </a:lnTo>
                  <a:lnTo>
                    <a:pt x="17" y="14"/>
                  </a:lnTo>
                  <a:lnTo>
                    <a:pt x="24" y="16"/>
                  </a:lnTo>
                  <a:lnTo>
                    <a:pt x="28" y="28"/>
                  </a:lnTo>
                  <a:lnTo>
                    <a:pt x="33" y="35"/>
                  </a:lnTo>
                  <a:lnTo>
                    <a:pt x="31" y="28"/>
                  </a:lnTo>
                  <a:lnTo>
                    <a:pt x="28" y="16"/>
                  </a:lnTo>
                  <a:lnTo>
                    <a:pt x="38" y="16"/>
                  </a:lnTo>
                  <a:lnTo>
                    <a:pt x="38" y="16"/>
                  </a:lnTo>
                  <a:lnTo>
                    <a:pt x="38" y="16"/>
                  </a:lnTo>
                  <a:lnTo>
                    <a:pt x="38" y="16"/>
                  </a:lnTo>
                  <a:lnTo>
                    <a:pt x="38"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0" name="Freeform 35">
              <a:extLst>
                <a:ext uri="{FF2B5EF4-FFF2-40B4-BE49-F238E27FC236}">
                  <a16:creationId xmlns:a16="http://schemas.microsoft.com/office/drawing/2014/main" id="{66CCD620-85D8-45E8-9AAF-DCD8E1249F5C}"/>
                </a:ext>
              </a:extLst>
            </p:cNvPr>
            <p:cNvSpPr>
              <a:spLocks/>
            </p:cNvSpPr>
            <p:nvPr/>
          </p:nvSpPr>
          <p:spPr bwMode="gray">
            <a:xfrm>
              <a:off x="13417550" y="874713"/>
              <a:ext cx="3175" cy="0"/>
            </a:xfrm>
            <a:custGeom>
              <a:avLst/>
              <a:gdLst>
                <a:gd name="T0" fmla="*/ 2 w 2"/>
                <a:gd name="T1" fmla="*/ 0 w 2"/>
                <a:gd name="T2" fmla="*/ 2 w 2"/>
                <a:gd name="T3" fmla="*/ 2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0" y="0"/>
                  </a:lnTo>
                  <a:lnTo>
                    <a:pt x="2" y="0"/>
                  </a:lnTo>
                  <a:lnTo>
                    <a:pt x="2" y="0"/>
                  </a:lnTo>
                  <a:lnTo>
                    <a:pt x="2"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1" name="Freeform 36">
              <a:extLst>
                <a:ext uri="{FF2B5EF4-FFF2-40B4-BE49-F238E27FC236}">
                  <a16:creationId xmlns:a16="http://schemas.microsoft.com/office/drawing/2014/main" id="{F6681BF7-0114-4043-B9ED-A8A6445140AD}"/>
                </a:ext>
              </a:extLst>
            </p:cNvPr>
            <p:cNvSpPr>
              <a:spLocks/>
            </p:cNvSpPr>
            <p:nvPr/>
          </p:nvSpPr>
          <p:spPr bwMode="gray">
            <a:xfrm>
              <a:off x="13368338" y="866775"/>
              <a:ext cx="11113" cy="11113"/>
            </a:xfrm>
            <a:custGeom>
              <a:avLst/>
              <a:gdLst>
                <a:gd name="T0" fmla="*/ 0 w 7"/>
                <a:gd name="T1" fmla="*/ 0 h 7"/>
                <a:gd name="T2" fmla="*/ 7 w 7"/>
                <a:gd name="T3" fmla="*/ 7 h 7"/>
                <a:gd name="T4" fmla="*/ 0 w 7"/>
                <a:gd name="T5" fmla="*/ 5 h 7"/>
                <a:gd name="T6" fmla="*/ 0 w 7"/>
                <a:gd name="T7" fmla="*/ 0 h 7"/>
                <a:gd name="T8" fmla="*/ 0 w 7"/>
                <a:gd name="T9" fmla="*/ 0 h 7"/>
                <a:gd name="T10" fmla="*/ 0 w 7"/>
                <a:gd name="T11" fmla="*/ 0 h 7"/>
                <a:gd name="T12" fmla="*/ 0 w 7"/>
                <a:gd name="T13" fmla="*/ 0 h 7"/>
                <a:gd name="T14" fmla="*/ 0 w 7"/>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0" y="0"/>
                  </a:moveTo>
                  <a:lnTo>
                    <a:pt x="7" y="7"/>
                  </a:lnTo>
                  <a:lnTo>
                    <a:pt x="0" y="5"/>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2" name="Freeform 37">
              <a:extLst>
                <a:ext uri="{FF2B5EF4-FFF2-40B4-BE49-F238E27FC236}">
                  <a16:creationId xmlns:a16="http://schemas.microsoft.com/office/drawing/2014/main" id="{02A76013-CE0D-4E73-902E-81D51A9021D4}"/>
                </a:ext>
              </a:extLst>
            </p:cNvPr>
            <p:cNvSpPr>
              <a:spLocks/>
            </p:cNvSpPr>
            <p:nvPr/>
          </p:nvSpPr>
          <p:spPr bwMode="gray">
            <a:xfrm>
              <a:off x="14192250" y="900113"/>
              <a:ext cx="49213" cy="93663"/>
            </a:xfrm>
            <a:custGeom>
              <a:avLst/>
              <a:gdLst>
                <a:gd name="T0" fmla="*/ 31 w 31"/>
                <a:gd name="T1" fmla="*/ 40 h 59"/>
                <a:gd name="T2" fmla="*/ 31 w 31"/>
                <a:gd name="T3" fmla="*/ 59 h 59"/>
                <a:gd name="T4" fmla="*/ 16 w 31"/>
                <a:gd name="T5" fmla="*/ 40 h 59"/>
                <a:gd name="T6" fmla="*/ 24 w 31"/>
                <a:gd name="T7" fmla="*/ 36 h 59"/>
                <a:gd name="T8" fmla="*/ 16 w 31"/>
                <a:gd name="T9" fmla="*/ 38 h 59"/>
                <a:gd name="T10" fmla="*/ 14 w 31"/>
                <a:gd name="T11" fmla="*/ 36 h 59"/>
                <a:gd name="T12" fmla="*/ 16 w 31"/>
                <a:gd name="T13" fmla="*/ 28 h 59"/>
                <a:gd name="T14" fmla="*/ 7 w 31"/>
                <a:gd name="T15" fmla="*/ 28 h 59"/>
                <a:gd name="T16" fmla="*/ 7 w 31"/>
                <a:gd name="T17" fmla="*/ 17 h 59"/>
                <a:gd name="T18" fmla="*/ 9 w 31"/>
                <a:gd name="T19" fmla="*/ 14 h 59"/>
                <a:gd name="T20" fmla="*/ 5 w 31"/>
                <a:gd name="T21" fmla="*/ 14 h 59"/>
                <a:gd name="T22" fmla="*/ 0 w 31"/>
                <a:gd name="T23" fmla="*/ 7 h 59"/>
                <a:gd name="T24" fmla="*/ 5 w 31"/>
                <a:gd name="T25" fmla="*/ 7 h 59"/>
                <a:gd name="T26" fmla="*/ 5 w 31"/>
                <a:gd name="T27" fmla="*/ 0 h 59"/>
                <a:gd name="T28" fmla="*/ 7 w 31"/>
                <a:gd name="T29" fmla="*/ 0 h 59"/>
                <a:gd name="T30" fmla="*/ 19 w 31"/>
                <a:gd name="T31" fmla="*/ 7 h 59"/>
                <a:gd name="T32" fmla="*/ 26 w 31"/>
                <a:gd name="T33" fmla="*/ 17 h 59"/>
                <a:gd name="T34" fmla="*/ 31 w 31"/>
                <a:gd name="T35" fmla="*/ 40 h 59"/>
                <a:gd name="T36" fmla="*/ 31 w 31"/>
                <a:gd name="T37" fmla="*/ 40 h 59"/>
                <a:gd name="T38" fmla="*/ 31 w 31"/>
                <a:gd name="T39" fmla="*/ 40 h 59"/>
                <a:gd name="T40" fmla="*/ 31 w 31"/>
                <a:gd name="T41" fmla="*/ 40 h 59"/>
                <a:gd name="T42" fmla="*/ 31 w 31"/>
                <a:gd name="T43" fmla="*/ 4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59">
                  <a:moveTo>
                    <a:pt x="31" y="40"/>
                  </a:moveTo>
                  <a:lnTo>
                    <a:pt x="31" y="59"/>
                  </a:lnTo>
                  <a:lnTo>
                    <a:pt x="16" y="40"/>
                  </a:lnTo>
                  <a:lnTo>
                    <a:pt x="24" y="36"/>
                  </a:lnTo>
                  <a:lnTo>
                    <a:pt x="16" y="38"/>
                  </a:lnTo>
                  <a:lnTo>
                    <a:pt x="14" y="36"/>
                  </a:lnTo>
                  <a:lnTo>
                    <a:pt x="16" y="28"/>
                  </a:lnTo>
                  <a:lnTo>
                    <a:pt x="7" y="28"/>
                  </a:lnTo>
                  <a:lnTo>
                    <a:pt x="7" y="17"/>
                  </a:lnTo>
                  <a:lnTo>
                    <a:pt x="9" y="14"/>
                  </a:lnTo>
                  <a:lnTo>
                    <a:pt x="5" y="14"/>
                  </a:lnTo>
                  <a:lnTo>
                    <a:pt x="0" y="7"/>
                  </a:lnTo>
                  <a:lnTo>
                    <a:pt x="5" y="7"/>
                  </a:lnTo>
                  <a:lnTo>
                    <a:pt x="5" y="0"/>
                  </a:lnTo>
                  <a:lnTo>
                    <a:pt x="7" y="0"/>
                  </a:lnTo>
                  <a:lnTo>
                    <a:pt x="19" y="7"/>
                  </a:lnTo>
                  <a:lnTo>
                    <a:pt x="26" y="17"/>
                  </a:lnTo>
                  <a:lnTo>
                    <a:pt x="31" y="40"/>
                  </a:lnTo>
                  <a:lnTo>
                    <a:pt x="31" y="40"/>
                  </a:lnTo>
                  <a:lnTo>
                    <a:pt x="31" y="40"/>
                  </a:lnTo>
                  <a:lnTo>
                    <a:pt x="31" y="40"/>
                  </a:lnTo>
                  <a:lnTo>
                    <a:pt x="31"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3" name="Freeform 38">
              <a:extLst>
                <a:ext uri="{FF2B5EF4-FFF2-40B4-BE49-F238E27FC236}">
                  <a16:creationId xmlns:a16="http://schemas.microsoft.com/office/drawing/2014/main" id="{6E19FF0C-59EA-4BB8-B13A-CC86AE97D24D}"/>
                </a:ext>
              </a:extLst>
            </p:cNvPr>
            <p:cNvSpPr>
              <a:spLocks/>
            </p:cNvSpPr>
            <p:nvPr/>
          </p:nvSpPr>
          <p:spPr bwMode="gray">
            <a:xfrm>
              <a:off x="14222413" y="911225"/>
              <a:ext cx="11113" cy="4763"/>
            </a:xfrm>
            <a:custGeom>
              <a:avLst/>
              <a:gdLst>
                <a:gd name="T0" fmla="*/ 5 w 7"/>
                <a:gd name="T1" fmla="*/ 0 h 3"/>
                <a:gd name="T2" fmla="*/ 7 w 7"/>
                <a:gd name="T3" fmla="*/ 3 h 3"/>
                <a:gd name="T4" fmla="*/ 0 w 7"/>
                <a:gd name="T5" fmla="*/ 0 h 3"/>
                <a:gd name="T6" fmla="*/ 5 w 7"/>
                <a:gd name="T7" fmla="*/ 0 h 3"/>
                <a:gd name="T8" fmla="*/ 5 w 7"/>
                <a:gd name="T9" fmla="*/ 0 h 3"/>
                <a:gd name="T10" fmla="*/ 5 w 7"/>
                <a:gd name="T11" fmla="*/ 0 h 3"/>
                <a:gd name="T12" fmla="*/ 5 w 7"/>
                <a:gd name="T13" fmla="*/ 0 h 3"/>
                <a:gd name="T14" fmla="*/ 5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5" y="0"/>
                  </a:moveTo>
                  <a:lnTo>
                    <a:pt x="7" y="3"/>
                  </a:lnTo>
                  <a:lnTo>
                    <a:pt x="0" y="0"/>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4" name="Freeform 39">
              <a:extLst>
                <a:ext uri="{FF2B5EF4-FFF2-40B4-BE49-F238E27FC236}">
                  <a16:creationId xmlns:a16="http://schemas.microsoft.com/office/drawing/2014/main" id="{704BBB05-55C8-4925-A2E8-7E71A917EBC4}"/>
                </a:ext>
              </a:extLst>
            </p:cNvPr>
            <p:cNvSpPr>
              <a:spLocks/>
            </p:cNvSpPr>
            <p:nvPr/>
          </p:nvSpPr>
          <p:spPr bwMode="gray">
            <a:xfrm>
              <a:off x="14181138" y="915988"/>
              <a:ext cx="19050" cy="17463"/>
            </a:xfrm>
            <a:custGeom>
              <a:avLst/>
              <a:gdLst>
                <a:gd name="T0" fmla="*/ 5 w 12"/>
                <a:gd name="T1" fmla="*/ 0 h 11"/>
                <a:gd name="T2" fmla="*/ 12 w 12"/>
                <a:gd name="T3" fmla="*/ 4 h 11"/>
                <a:gd name="T4" fmla="*/ 12 w 12"/>
                <a:gd name="T5" fmla="*/ 7 h 11"/>
                <a:gd name="T6" fmla="*/ 7 w 12"/>
                <a:gd name="T7" fmla="*/ 11 h 11"/>
                <a:gd name="T8" fmla="*/ 0 w 12"/>
                <a:gd name="T9" fmla="*/ 11 h 11"/>
                <a:gd name="T10" fmla="*/ 5 w 12"/>
                <a:gd name="T11" fmla="*/ 7 h 11"/>
                <a:gd name="T12" fmla="*/ 0 w 12"/>
                <a:gd name="T13" fmla="*/ 7 h 11"/>
                <a:gd name="T14" fmla="*/ 0 w 12"/>
                <a:gd name="T15" fmla="*/ 0 h 11"/>
                <a:gd name="T16" fmla="*/ 5 w 12"/>
                <a:gd name="T17" fmla="*/ 0 h 11"/>
                <a:gd name="T18" fmla="*/ 5 w 12"/>
                <a:gd name="T19" fmla="*/ 0 h 11"/>
                <a:gd name="T20" fmla="*/ 5 w 12"/>
                <a:gd name="T21" fmla="*/ 0 h 11"/>
                <a:gd name="T22" fmla="*/ 5 w 12"/>
                <a:gd name="T23" fmla="*/ 0 h 11"/>
                <a:gd name="T24" fmla="*/ 5 w 12"/>
                <a:gd name="T2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1">
                  <a:moveTo>
                    <a:pt x="5" y="0"/>
                  </a:moveTo>
                  <a:lnTo>
                    <a:pt x="12" y="4"/>
                  </a:lnTo>
                  <a:lnTo>
                    <a:pt x="12" y="7"/>
                  </a:lnTo>
                  <a:lnTo>
                    <a:pt x="7" y="11"/>
                  </a:lnTo>
                  <a:lnTo>
                    <a:pt x="0" y="11"/>
                  </a:lnTo>
                  <a:lnTo>
                    <a:pt x="5" y="7"/>
                  </a:lnTo>
                  <a:lnTo>
                    <a:pt x="0" y="7"/>
                  </a:lnTo>
                  <a:lnTo>
                    <a:pt x="0" y="0"/>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5" name="Freeform 40">
              <a:extLst>
                <a:ext uri="{FF2B5EF4-FFF2-40B4-BE49-F238E27FC236}">
                  <a16:creationId xmlns:a16="http://schemas.microsoft.com/office/drawing/2014/main" id="{DEBF0FD6-5983-4D86-BCA8-813B4AB615F9}"/>
                </a:ext>
              </a:extLst>
            </p:cNvPr>
            <p:cNvSpPr>
              <a:spLocks/>
            </p:cNvSpPr>
            <p:nvPr/>
          </p:nvSpPr>
          <p:spPr bwMode="gray">
            <a:xfrm>
              <a:off x="12588875" y="922338"/>
              <a:ext cx="11113" cy="7938"/>
            </a:xfrm>
            <a:custGeom>
              <a:avLst/>
              <a:gdLst>
                <a:gd name="T0" fmla="*/ 5 w 7"/>
                <a:gd name="T1" fmla="*/ 5 h 5"/>
                <a:gd name="T2" fmla="*/ 0 w 7"/>
                <a:gd name="T3" fmla="*/ 3 h 5"/>
                <a:gd name="T4" fmla="*/ 7 w 7"/>
                <a:gd name="T5" fmla="*/ 0 h 5"/>
                <a:gd name="T6" fmla="*/ 5 w 7"/>
                <a:gd name="T7" fmla="*/ 5 h 5"/>
                <a:gd name="T8" fmla="*/ 5 w 7"/>
                <a:gd name="T9" fmla="*/ 5 h 5"/>
                <a:gd name="T10" fmla="*/ 5 w 7"/>
                <a:gd name="T11" fmla="*/ 5 h 5"/>
                <a:gd name="T12" fmla="*/ 5 w 7"/>
                <a:gd name="T13" fmla="*/ 5 h 5"/>
                <a:gd name="T14" fmla="*/ 5 w 7"/>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5" y="5"/>
                  </a:moveTo>
                  <a:lnTo>
                    <a:pt x="0" y="3"/>
                  </a:lnTo>
                  <a:lnTo>
                    <a:pt x="7" y="0"/>
                  </a:lnTo>
                  <a:lnTo>
                    <a:pt x="5" y="5"/>
                  </a:lnTo>
                  <a:lnTo>
                    <a:pt x="5" y="5"/>
                  </a:lnTo>
                  <a:lnTo>
                    <a:pt x="5" y="5"/>
                  </a:lnTo>
                  <a:lnTo>
                    <a:pt x="5"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6" name="Freeform 41">
              <a:extLst>
                <a:ext uri="{FF2B5EF4-FFF2-40B4-BE49-F238E27FC236}">
                  <a16:creationId xmlns:a16="http://schemas.microsoft.com/office/drawing/2014/main" id="{3BA33CF4-3150-4410-A2C4-794B726A830A}"/>
                </a:ext>
              </a:extLst>
            </p:cNvPr>
            <p:cNvSpPr>
              <a:spLocks/>
            </p:cNvSpPr>
            <p:nvPr/>
          </p:nvSpPr>
          <p:spPr bwMode="gray">
            <a:xfrm>
              <a:off x="13368338" y="922338"/>
              <a:ext cx="30163" cy="11113"/>
            </a:xfrm>
            <a:custGeom>
              <a:avLst/>
              <a:gdLst>
                <a:gd name="T0" fmla="*/ 19 w 19"/>
                <a:gd name="T1" fmla="*/ 3 h 7"/>
                <a:gd name="T2" fmla="*/ 7 w 19"/>
                <a:gd name="T3" fmla="*/ 7 h 7"/>
                <a:gd name="T4" fmla="*/ 0 w 19"/>
                <a:gd name="T5" fmla="*/ 5 h 7"/>
                <a:gd name="T6" fmla="*/ 7 w 19"/>
                <a:gd name="T7" fmla="*/ 0 h 7"/>
                <a:gd name="T8" fmla="*/ 19 w 19"/>
                <a:gd name="T9" fmla="*/ 3 h 7"/>
                <a:gd name="T10" fmla="*/ 19 w 19"/>
                <a:gd name="T11" fmla="*/ 3 h 7"/>
                <a:gd name="T12" fmla="*/ 19 w 19"/>
                <a:gd name="T13" fmla="*/ 3 h 7"/>
                <a:gd name="T14" fmla="*/ 19 w 19"/>
                <a:gd name="T15" fmla="*/ 3 h 7"/>
                <a:gd name="T16" fmla="*/ 19 w 1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7">
                  <a:moveTo>
                    <a:pt x="19" y="3"/>
                  </a:moveTo>
                  <a:lnTo>
                    <a:pt x="7" y="7"/>
                  </a:lnTo>
                  <a:lnTo>
                    <a:pt x="0" y="5"/>
                  </a:lnTo>
                  <a:lnTo>
                    <a:pt x="7" y="0"/>
                  </a:lnTo>
                  <a:lnTo>
                    <a:pt x="19" y="3"/>
                  </a:lnTo>
                  <a:lnTo>
                    <a:pt x="19" y="3"/>
                  </a:lnTo>
                  <a:lnTo>
                    <a:pt x="19" y="3"/>
                  </a:lnTo>
                  <a:lnTo>
                    <a:pt x="19" y="3"/>
                  </a:lnTo>
                  <a:lnTo>
                    <a:pt x="19"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7" name="Freeform 42">
              <a:extLst>
                <a:ext uri="{FF2B5EF4-FFF2-40B4-BE49-F238E27FC236}">
                  <a16:creationId xmlns:a16="http://schemas.microsoft.com/office/drawing/2014/main" id="{3BC834DB-41DC-4248-95E0-78D68CB30C96}"/>
                </a:ext>
              </a:extLst>
            </p:cNvPr>
            <p:cNvSpPr>
              <a:spLocks/>
            </p:cNvSpPr>
            <p:nvPr/>
          </p:nvSpPr>
          <p:spPr bwMode="gray">
            <a:xfrm>
              <a:off x="14266863" y="930275"/>
              <a:ext cx="55563" cy="41275"/>
            </a:xfrm>
            <a:custGeom>
              <a:avLst/>
              <a:gdLst>
                <a:gd name="T0" fmla="*/ 28 w 35"/>
                <a:gd name="T1" fmla="*/ 2 h 26"/>
                <a:gd name="T2" fmla="*/ 35 w 35"/>
                <a:gd name="T3" fmla="*/ 9 h 26"/>
                <a:gd name="T4" fmla="*/ 31 w 35"/>
                <a:gd name="T5" fmla="*/ 19 h 26"/>
                <a:gd name="T6" fmla="*/ 21 w 35"/>
                <a:gd name="T7" fmla="*/ 9 h 26"/>
                <a:gd name="T8" fmla="*/ 28 w 35"/>
                <a:gd name="T9" fmla="*/ 21 h 26"/>
                <a:gd name="T10" fmla="*/ 14 w 35"/>
                <a:gd name="T11" fmla="*/ 26 h 26"/>
                <a:gd name="T12" fmla="*/ 12 w 35"/>
                <a:gd name="T13" fmla="*/ 26 h 26"/>
                <a:gd name="T14" fmla="*/ 12 w 35"/>
                <a:gd name="T15" fmla="*/ 9 h 26"/>
                <a:gd name="T16" fmla="*/ 5 w 35"/>
                <a:gd name="T17" fmla="*/ 7 h 26"/>
                <a:gd name="T18" fmla="*/ 7 w 35"/>
                <a:gd name="T19" fmla="*/ 7 h 26"/>
                <a:gd name="T20" fmla="*/ 0 w 35"/>
                <a:gd name="T21" fmla="*/ 2 h 26"/>
                <a:gd name="T22" fmla="*/ 5 w 35"/>
                <a:gd name="T23" fmla="*/ 0 h 26"/>
                <a:gd name="T24" fmla="*/ 28 w 35"/>
                <a:gd name="T25" fmla="*/ 2 h 26"/>
                <a:gd name="T26" fmla="*/ 28 w 35"/>
                <a:gd name="T27" fmla="*/ 2 h 26"/>
                <a:gd name="T28" fmla="*/ 28 w 35"/>
                <a:gd name="T29" fmla="*/ 2 h 26"/>
                <a:gd name="T30" fmla="*/ 28 w 35"/>
                <a:gd name="T31" fmla="*/ 2 h 26"/>
                <a:gd name="T32" fmla="*/ 28 w 35"/>
                <a:gd name="T33"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26">
                  <a:moveTo>
                    <a:pt x="28" y="2"/>
                  </a:moveTo>
                  <a:lnTo>
                    <a:pt x="35" y="9"/>
                  </a:lnTo>
                  <a:lnTo>
                    <a:pt x="31" y="19"/>
                  </a:lnTo>
                  <a:lnTo>
                    <a:pt x="21" y="9"/>
                  </a:lnTo>
                  <a:lnTo>
                    <a:pt x="28" y="21"/>
                  </a:lnTo>
                  <a:lnTo>
                    <a:pt x="14" y="26"/>
                  </a:lnTo>
                  <a:lnTo>
                    <a:pt x="12" y="26"/>
                  </a:lnTo>
                  <a:lnTo>
                    <a:pt x="12" y="9"/>
                  </a:lnTo>
                  <a:lnTo>
                    <a:pt x="5" y="7"/>
                  </a:lnTo>
                  <a:lnTo>
                    <a:pt x="7" y="7"/>
                  </a:lnTo>
                  <a:lnTo>
                    <a:pt x="0" y="2"/>
                  </a:lnTo>
                  <a:lnTo>
                    <a:pt x="5" y="0"/>
                  </a:lnTo>
                  <a:lnTo>
                    <a:pt x="28" y="2"/>
                  </a:lnTo>
                  <a:lnTo>
                    <a:pt x="28" y="2"/>
                  </a:lnTo>
                  <a:lnTo>
                    <a:pt x="28" y="2"/>
                  </a:lnTo>
                  <a:lnTo>
                    <a:pt x="28" y="2"/>
                  </a:lnTo>
                  <a:lnTo>
                    <a:pt x="28"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8" name="Freeform 43">
              <a:extLst>
                <a:ext uri="{FF2B5EF4-FFF2-40B4-BE49-F238E27FC236}">
                  <a16:creationId xmlns:a16="http://schemas.microsoft.com/office/drawing/2014/main" id="{5C83F2DB-790A-4128-B33C-43C490B5D41D}"/>
                </a:ext>
              </a:extLst>
            </p:cNvPr>
            <p:cNvSpPr>
              <a:spLocks/>
            </p:cNvSpPr>
            <p:nvPr/>
          </p:nvSpPr>
          <p:spPr bwMode="gray">
            <a:xfrm>
              <a:off x="14252575" y="941388"/>
              <a:ext cx="33338" cy="60325"/>
            </a:xfrm>
            <a:custGeom>
              <a:avLst/>
              <a:gdLst>
                <a:gd name="T0" fmla="*/ 2 w 21"/>
                <a:gd name="T1" fmla="*/ 26 h 38"/>
                <a:gd name="T2" fmla="*/ 2 w 21"/>
                <a:gd name="T3" fmla="*/ 21 h 38"/>
                <a:gd name="T4" fmla="*/ 2 w 21"/>
                <a:gd name="T5" fmla="*/ 21 h 38"/>
                <a:gd name="T6" fmla="*/ 9 w 21"/>
                <a:gd name="T7" fmla="*/ 21 h 38"/>
                <a:gd name="T8" fmla="*/ 9 w 21"/>
                <a:gd name="T9" fmla="*/ 14 h 38"/>
                <a:gd name="T10" fmla="*/ 2 w 21"/>
                <a:gd name="T11" fmla="*/ 14 h 38"/>
                <a:gd name="T12" fmla="*/ 0 w 21"/>
                <a:gd name="T13" fmla="*/ 2 h 38"/>
                <a:gd name="T14" fmla="*/ 9 w 21"/>
                <a:gd name="T15" fmla="*/ 2 h 38"/>
                <a:gd name="T16" fmla="*/ 2 w 21"/>
                <a:gd name="T17" fmla="*/ 0 h 38"/>
                <a:gd name="T18" fmla="*/ 9 w 21"/>
                <a:gd name="T19" fmla="*/ 2 h 38"/>
                <a:gd name="T20" fmla="*/ 14 w 21"/>
                <a:gd name="T21" fmla="*/ 7 h 38"/>
                <a:gd name="T22" fmla="*/ 9 w 21"/>
                <a:gd name="T23" fmla="*/ 12 h 38"/>
                <a:gd name="T24" fmla="*/ 14 w 21"/>
                <a:gd name="T25" fmla="*/ 7 h 38"/>
                <a:gd name="T26" fmla="*/ 16 w 21"/>
                <a:gd name="T27" fmla="*/ 7 h 38"/>
                <a:gd name="T28" fmla="*/ 21 w 21"/>
                <a:gd name="T29" fmla="*/ 12 h 38"/>
                <a:gd name="T30" fmla="*/ 14 w 21"/>
                <a:gd name="T31" fmla="*/ 12 h 38"/>
                <a:gd name="T32" fmla="*/ 14 w 21"/>
                <a:gd name="T33" fmla="*/ 26 h 38"/>
                <a:gd name="T34" fmla="*/ 9 w 21"/>
                <a:gd name="T35" fmla="*/ 21 h 38"/>
                <a:gd name="T36" fmla="*/ 9 w 21"/>
                <a:gd name="T37" fmla="*/ 28 h 38"/>
                <a:gd name="T38" fmla="*/ 14 w 21"/>
                <a:gd name="T39" fmla="*/ 28 h 38"/>
                <a:gd name="T40" fmla="*/ 9 w 21"/>
                <a:gd name="T41" fmla="*/ 35 h 38"/>
                <a:gd name="T42" fmla="*/ 9 w 21"/>
                <a:gd name="T43" fmla="*/ 35 h 38"/>
                <a:gd name="T44" fmla="*/ 9 w 21"/>
                <a:gd name="T45" fmla="*/ 26 h 38"/>
                <a:gd name="T46" fmla="*/ 9 w 21"/>
                <a:gd name="T47" fmla="*/ 38 h 38"/>
                <a:gd name="T48" fmla="*/ 2 w 21"/>
                <a:gd name="T49" fmla="*/ 38 h 38"/>
                <a:gd name="T50" fmla="*/ 2 w 21"/>
                <a:gd name="T51" fmla="*/ 26 h 38"/>
                <a:gd name="T52" fmla="*/ 2 w 21"/>
                <a:gd name="T53" fmla="*/ 26 h 38"/>
                <a:gd name="T54" fmla="*/ 2 w 21"/>
                <a:gd name="T55" fmla="*/ 26 h 38"/>
                <a:gd name="T56" fmla="*/ 2 w 21"/>
                <a:gd name="T57" fmla="*/ 26 h 38"/>
                <a:gd name="T58" fmla="*/ 2 w 21"/>
                <a:gd name="T59"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38">
                  <a:moveTo>
                    <a:pt x="2" y="26"/>
                  </a:moveTo>
                  <a:lnTo>
                    <a:pt x="2" y="21"/>
                  </a:lnTo>
                  <a:lnTo>
                    <a:pt x="2" y="21"/>
                  </a:lnTo>
                  <a:lnTo>
                    <a:pt x="9" y="21"/>
                  </a:lnTo>
                  <a:lnTo>
                    <a:pt x="9" y="14"/>
                  </a:lnTo>
                  <a:lnTo>
                    <a:pt x="2" y="14"/>
                  </a:lnTo>
                  <a:lnTo>
                    <a:pt x="0" y="2"/>
                  </a:lnTo>
                  <a:lnTo>
                    <a:pt x="9" y="2"/>
                  </a:lnTo>
                  <a:lnTo>
                    <a:pt x="2" y="0"/>
                  </a:lnTo>
                  <a:lnTo>
                    <a:pt x="9" y="2"/>
                  </a:lnTo>
                  <a:lnTo>
                    <a:pt x="14" y="7"/>
                  </a:lnTo>
                  <a:lnTo>
                    <a:pt x="9" y="12"/>
                  </a:lnTo>
                  <a:lnTo>
                    <a:pt x="14" y="7"/>
                  </a:lnTo>
                  <a:lnTo>
                    <a:pt x="16" y="7"/>
                  </a:lnTo>
                  <a:lnTo>
                    <a:pt x="21" y="12"/>
                  </a:lnTo>
                  <a:lnTo>
                    <a:pt x="14" y="12"/>
                  </a:lnTo>
                  <a:lnTo>
                    <a:pt x="14" y="26"/>
                  </a:lnTo>
                  <a:lnTo>
                    <a:pt x="9" y="21"/>
                  </a:lnTo>
                  <a:lnTo>
                    <a:pt x="9" y="28"/>
                  </a:lnTo>
                  <a:lnTo>
                    <a:pt x="14" y="28"/>
                  </a:lnTo>
                  <a:lnTo>
                    <a:pt x="9" y="35"/>
                  </a:lnTo>
                  <a:lnTo>
                    <a:pt x="9" y="35"/>
                  </a:lnTo>
                  <a:lnTo>
                    <a:pt x="9" y="26"/>
                  </a:lnTo>
                  <a:lnTo>
                    <a:pt x="9" y="38"/>
                  </a:lnTo>
                  <a:lnTo>
                    <a:pt x="2" y="38"/>
                  </a:lnTo>
                  <a:lnTo>
                    <a:pt x="2" y="26"/>
                  </a:lnTo>
                  <a:lnTo>
                    <a:pt x="2" y="26"/>
                  </a:lnTo>
                  <a:lnTo>
                    <a:pt x="2" y="26"/>
                  </a:lnTo>
                  <a:lnTo>
                    <a:pt x="2" y="26"/>
                  </a:lnTo>
                  <a:lnTo>
                    <a:pt x="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9" name="Freeform 44">
              <a:extLst>
                <a:ext uri="{FF2B5EF4-FFF2-40B4-BE49-F238E27FC236}">
                  <a16:creationId xmlns:a16="http://schemas.microsoft.com/office/drawing/2014/main" id="{884E9362-F26F-4C71-B817-06F679F413FE}"/>
                </a:ext>
              </a:extLst>
            </p:cNvPr>
            <p:cNvSpPr>
              <a:spLocks/>
            </p:cNvSpPr>
            <p:nvPr/>
          </p:nvSpPr>
          <p:spPr bwMode="gray">
            <a:xfrm>
              <a:off x="14316075" y="952500"/>
              <a:ext cx="22225" cy="11113"/>
            </a:xfrm>
            <a:custGeom>
              <a:avLst/>
              <a:gdLst>
                <a:gd name="T0" fmla="*/ 7 w 14"/>
                <a:gd name="T1" fmla="*/ 0 h 7"/>
                <a:gd name="T2" fmla="*/ 14 w 14"/>
                <a:gd name="T3" fmla="*/ 7 h 7"/>
                <a:gd name="T4" fmla="*/ 0 w 14"/>
                <a:gd name="T5" fmla="*/ 7 h 7"/>
                <a:gd name="T6" fmla="*/ 4 w 14"/>
                <a:gd name="T7" fmla="*/ 0 h 7"/>
                <a:gd name="T8" fmla="*/ 7 w 14"/>
                <a:gd name="T9" fmla="*/ 0 h 7"/>
                <a:gd name="T10" fmla="*/ 7 w 14"/>
                <a:gd name="T11" fmla="*/ 0 h 7"/>
                <a:gd name="T12" fmla="*/ 7 w 14"/>
                <a:gd name="T13" fmla="*/ 0 h 7"/>
                <a:gd name="T14" fmla="*/ 7 w 14"/>
                <a:gd name="T15" fmla="*/ 0 h 7"/>
                <a:gd name="T16" fmla="*/ 7 w 1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7">
                  <a:moveTo>
                    <a:pt x="7" y="0"/>
                  </a:moveTo>
                  <a:lnTo>
                    <a:pt x="14" y="7"/>
                  </a:lnTo>
                  <a:lnTo>
                    <a:pt x="0" y="7"/>
                  </a:lnTo>
                  <a:lnTo>
                    <a:pt x="4" y="0"/>
                  </a:lnTo>
                  <a:lnTo>
                    <a:pt x="7" y="0"/>
                  </a:lnTo>
                  <a:lnTo>
                    <a:pt x="7" y="0"/>
                  </a:lnTo>
                  <a:lnTo>
                    <a:pt x="7"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70" name="Freeform 45">
              <a:extLst>
                <a:ext uri="{FF2B5EF4-FFF2-40B4-BE49-F238E27FC236}">
                  <a16:creationId xmlns:a16="http://schemas.microsoft.com/office/drawing/2014/main" id="{9D6A56CF-16F7-45D6-BFC1-E5C2502EE6AF}"/>
                </a:ext>
              </a:extLst>
            </p:cNvPr>
            <p:cNvSpPr>
              <a:spLocks/>
            </p:cNvSpPr>
            <p:nvPr/>
          </p:nvSpPr>
          <p:spPr bwMode="gray">
            <a:xfrm>
              <a:off x="12611100" y="960438"/>
              <a:ext cx="19050" cy="3175"/>
            </a:xfrm>
            <a:custGeom>
              <a:avLst/>
              <a:gdLst>
                <a:gd name="T0" fmla="*/ 7 w 12"/>
                <a:gd name="T1" fmla="*/ 2 h 2"/>
                <a:gd name="T2" fmla="*/ 0 w 12"/>
                <a:gd name="T3" fmla="*/ 0 h 2"/>
                <a:gd name="T4" fmla="*/ 12 w 12"/>
                <a:gd name="T5" fmla="*/ 0 h 2"/>
                <a:gd name="T6" fmla="*/ 7 w 12"/>
                <a:gd name="T7" fmla="*/ 2 h 2"/>
                <a:gd name="T8" fmla="*/ 7 w 12"/>
                <a:gd name="T9" fmla="*/ 2 h 2"/>
                <a:gd name="T10" fmla="*/ 7 w 12"/>
                <a:gd name="T11" fmla="*/ 2 h 2"/>
                <a:gd name="T12" fmla="*/ 7 w 12"/>
                <a:gd name="T13" fmla="*/ 2 h 2"/>
                <a:gd name="T14" fmla="*/ 7 w 1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2">
                  <a:moveTo>
                    <a:pt x="7" y="2"/>
                  </a:moveTo>
                  <a:lnTo>
                    <a:pt x="0" y="0"/>
                  </a:lnTo>
                  <a:lnTo>
                    <a:pt x="12" y="0"/>
                  </a:lnTo>
                  <a:lnTo>
                    <a:pt x="7" y="2"/>
                  </a:lnTo>
                  <a:lnTo>
                    <a:pt x="7" y="2"/>
                  </a:lnTo>
                  <a:lnTo>
                    <a:pt x="7" y="2"/>
                  </a:lnTo>
                  <a:lnTo>
                    <a:pt x="7" y="2"/>
                  </a:lnTo>
                  <a:lnTo>
                    <a:pt x="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71" name="Freeform 46">
              <a:extLst>
                <a:ext uri="{FF2B5EF4-FFF2-40B4-BE49-F238E27FC236}">
                  <a16:creationId xmlns:a16="http://schemas.microsoft.com/office/drawing/2014/main" id="{D2D15AD3-2D68-483A-9C7C-3A8BF33265F6}"/>
                </a:ext>
              </a:extLst>
            </p:cNvPr>
            <p:cNvSpPr>
              <a:spLocks/>
            </p:cNvSpPr>
            <p:nvPr/>
          </p:nvSpPr>
          <p:spPr bwMode="gray">
            <a:xfrm>
              <a:off x="13330238" y="960438"/>
              <a:ext cx="11113" cy="11113"/>
            </a:xfrm>
            <a:custGeom>
              <a:avLst/>
              <a:gdLst>
                <a:gd name="T0" fmla="*/ 7 w 7"/>
                <a:gd name="T1" fmla="*/ 0 h 7"/>
                <a:gd name="T2" fmla="*/ 3 w 7"/>
                <a:gd name="T3" fmla="*/ 7 h 7"/>
                <a:gd name="T4" fmla="*/ 0 w 7"/>
                <a:gd name="T5" fmla="*/ 2 h 7"/>
                <a:gd name="T6" fmla="*/ 7 w 7"/>
                <a:gd name="T7" fmla="*/ 0 h 7"/>
                <a:gd name="T8" fmla="*/ 7 w 7"/>
                <a:gd name="T9" fmla="*/ 0 h 7"/>
                <a:gd name="T10" fmla="*/ 7 w 7"/>
                <a:gd name="T11" fmla="*/ 0 h 7"/>
                <a:gd name="T12" fmla="*/ 7 w 7"/>
                <a:gd name="T13" fmla="*/ 0 h 7"/>
                <a:gd name="T14" fmla="*/ 7 w 7"/>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7" y="0"/>
                  </a:moveTo>
                  <a:lnTo>
                    <a:pt x="3" y="7"/>
                  </a:lnTo>
                  <a:lnTo>
                    <a:pt x="0" y="2"/>
                  </a:lnTo>
                  <a:lnTo>
                    <a:pt x="7" y="0"/>
                  </a:lnTo>
                  <a:lnTo>
                    <a:pt x="7" y="0"/>
                  </a:lnTo>
                  <a:lnTo>
                    <a:pt x="7"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72" name="Freeform 47">
              <a:extLst>
                <a:ext uri="{FF2B5EF4-FFF2-40B4-BE49-F238E27FC236}">
                  <a16:creationId xmlns:a16="http://schemas.microsoft.com/office/drawing/2014/main" id="{CCF4388F-DC3D-42AF-8C2B-EABCDCF7316D}"/>
                </a:ext>
              </a:extLst>
            </p:cNvPr>
            <p:cNvSpPr>
              <a:spLocks/>
            </p:cNvSpPr>
            <p:nvPr/>
          </p:nvSpPr>
          <p:spPr bwMode="gray">
            <a:xfrm>
              <a:off x="13308013" y="960438"/>
              <a:ext cx="19050" cy="14288"/>
            </a:xfrm>
            <a:custGeom>
              <a:avLst/>
              <a:gdLst>
                <a:gd name="T0" fmla="*/ 12 w 12"/>
                <a:gd name="T1" fmla="*/ 0 h 9"/>
                <a:gd name="T2" fmla="*/ 0 w 12"/>
                <a:gd name="T3" fmla="*/ 9 h 9"/>
                <a:gd name="T4" fmla="*/ 0 w 12"/>
                <a:gd name="T5" fmla="*/ 2 h 9"/>
                <a:gd name="T6" fmla="*/ 12 w 12"/>
                <a:gd name="T7" fmla="*/ 0 h 9"/>
                <a:gd name="T8" fmla="*/ 12 w 12"/>
                <a:gd name="T9" fmla="*/ 0 h 9"/>
                <a:gd name="T10" fmla="*/ 12 w 12"/>
                <a:gd name="T11" fmla="*/ 0 h 9"/>
                <a:gd name="T12" fmla="*/ 12 w 12"/>
                <a:gd name="T13" fmla="*/ 0 h 9"/>
                <a:gd name="T14" fmla="*/ 12 w 12"/>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9">
                  <a:moveTo>
                    <a:pt x="12" y="0"/>
                  </a:moveTo>
                  <a:lnTo>
                    <a:pt x="0" y="9"/>
                  </a:lnTo>
                  <a:lnTo>
                    <a:pt x="0" y="2"/>
                  </a:lnTo>
                  <a:lnTo>
                    <a:pt x="12" y="0"/>
                  </a:lnTo>
                  <a:lnTo>
                    <a:pt x="12" y="0"/>
                  </a:lnTo>
                  <a:lnTo>
                    <a:pt x="12" y="0"/>
                  </a:lnTo>
                  <a:lnTo>
                    <a:pt x="12"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73" name="Freeform 48">
              <a:extLst>
                <a:ext uri="{FF2B5EF4-FFF2-40B4-BE49-F238E27FC236}">
                  <a16:creationId xmlns:a16="http://schemas.microsoft.com/office/drawing/2014/main" id="{48B2E8EB-0348-4928-BBD4-E95691E1821A}"/>
                </a:ext>
              </a:extLst>
            </p:cNvPr>
            <p:cNvSpPr>
              <a:spLocks/>
            </p:cNvSpPr>
            <p:nvPr/>
          </p:nvSpPr>
          <p:spPr bwMode="gray">
            <a:xfrm>
              <a:off x="13192125" y="960438"/>
              <a:ext cx="19050" cy="3175"/>
            </a:xfrm>
            <a:custGeom>
              <a:avLst/>
              <a:gdLst>
                <a:gd name="T0" fmla="*/ 5 w 12"/>
                <a:gd name="T1" fmla="*/ 0 h 2"/>
                <a:gd name="T2" fmla="*/ 12 w 12"/>
                <a:gd name="T3" fmla="*/ 2 h 2"/>
                <a:gd name="T4" fmla="*/ 0 w 12"/>
                <a:gd name="T5" fmla="*/ 2 h 2"/>
                <a:gd name="T6" fmla="*/ 5 w 12"/>
                <a:gd name="T7" fmla="*/ 0 h 2"/>
                <a:gd name="T8" fmla="*/ 5 w 12"/>
                <a:gd name="T9" fmla="*/ 0 h 2"/>
                <a:gd name="T10" fmla="*/ 5 w 12"/>
                <a:gd name="T11" fmla="*/ 0 h 2"/>
                <a:gd name="T12" fmla="*/ 5 w 12"/>
                <a:gd name="T13" fmla="*/ 0 h 2"/>
                <a:gd name="T14" fmla="*/ 5 w 1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2">
                  <a:moveTo>
                    <a:pt x="5" y="0"/>
                  </a:moveTo>
                  <a:lnTo>
                    <a:pt x="12" y="2"/>
                  </a:lnTo>
                  <a:lnTo>
                    <a:pt x="0" y="2"/>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74" name="Freeform 49">
              <a:extLst>
                <a:ext uri="{FF2B5EF4-FFF2-40B4-BE49-F238E27FC236}">
                  <a16:creationId xmlns:a16="http://schemas.microsoft.com/office/drawing/2014/main" id="{D1C04037-EABE-4313-93E0-C89D1C378DC2}"/>
                </a:ext>
              </a:extLst>
            </p:cNvPr>
            <p:cNvSpPr>
              <a:spLocks/>
            </p:cNvSpPr>
            <p:nvPr/>
          </p:nvSpPr>
          <p:spPr bwMode="gray">
            <a:xfrm>
              <a:off x="14349413" y="971550"/>
              <a:ext cx="11113" cy="25400"/>
            </a:xfrm>
            <a:custGeom>
              <a:avLst/>
              <a:gdLst>
                <a:gd name="T0" fmla="*/ 5 w 7"/>
                <a:gd name="T1" fmla="*/ 16 h 16"/>
                <a:gd name="T2" fmla="*/ 0 w 7"/>
                <a:gd name="T3" fmla="*/ 7 h 16"/>
                <a:gd name="T4" fmla="*/ 0 w 7"/>
                <a:gd name="T5" fmla="*/ 0 h 16"/>
                <a:gd name="T6" fmla="*/ 7 w 7"/>
                <a:gd name="T7" fmla="*/ 7 h 16"/>
                <a:gd name="T8" fmla="*/ 7 w 7"/>
                <a:gd name="T9" fmla="*/ 9 h 16"/>
                <a:gd name="T10" fmla="*/ 5 w 7"/>
                <a:gd name="T11" fmla="*/ 16 h 16"/>
                <a:gd name="T12" fmla="*/ 5 w 7"/>
                <a:gd name="T13" fmla="*/ 16 h 16"/>
                <a:gd name="T14" fmla="*/ 5 w 7"/>
                <a:gd name="T15" fmla="*/ 16 h 16"/>
                <a:gd name="T16" fmla="*/ 5 w 7"/>
                <a:gd name="T17" fmla="*/ 16 h 16"/>
                <a:gd name="T18" fmla="*/ 5 w 7"/>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6">
                  <a:moveTo>
                    <a:pt x="5" y="16"/>
                  </a:moveTo>
                  <a:lnTo>
                    <a:pt x="0" y="7"/>
                  </a:lnTo>
                  <a:lnTo>
                    <a:pt x="0" y="0"/>
                  </a:lnTo>
                  <a:lnTo>
                    <a:pt x="7" y="7"/>
                  </a:lnTo>
                  <a:lnTo>
                    <a:pt x="7" y="9"/>
                  </a:lnTo>
                  <a:lnTo>
                    <a:pt x="5" y="16"/>
                  </a:lnTo>
                  <a:lnTo>
                    <a:pt x="5" y="16"/>
                  </a:lnTo>
                  <a:lnTo>
                    <a:pt x="5" y="16"/>
                  </a:lnTo>
                  <a:lnTo>
                    <a:pt x="5" y="16"/>
                  </a:lnTo>
                  <a:lnTo>
                    <a:pt x="5"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75" name="Freeform 50">
              <a:extLst>
                <a:ext uri="{FF2B5EF4-FFF2-40B4-BE49-F238E27FC236}">
                  <a16:creationId xmlns:a16="http://schemas.microsoft.com/office/drawing/2014/main" id="{234AD197-FA6B-4216-8D9B-0C2A21E40850}"/>
                </a:ext>
              </a:extLst>
            </p:cNvPr>
            <p:cNvSpPr>
              <a:spLocks/>
            </p:cNvSpPr>
            <p:nvPr/>
          </p:nvSpPr>
          <p:spPr bwMode="gray">
            <a:xfrm>
              <a:off x="14311313" y="971550"/>
              <a:ext cx="19050" cy="14288"/>
            </a:xfrm>
            <a:custGeom>
              <a:avLst/>
              <a:gdLst>
                <a:gd name="T0" fmla="*/ 7 w 12"/>
                <a:gd name="T1" fmla="*/ 9 h 9"/>
                <a:gd name="T2" fmla="*/ 0 w 12"/>
                <a:gd name="T3" fmla="*/ 7 h 9"/>
                <a:gd name="T4" fmla="*/ 7 w 12"/>
                <a:gd name="T5" fmla="*/ 0 h 9"/>
                <a:gd name="T6" fmla="*/ 12 w 12"/>
                <a:gd name="T7" fmla="*/ 0 h 9"/>
                <a:gd name="T8" fmla="*/ 12 w 12"/>
                <a:gd name="T9" fmla="*/ 7 h 9"/>
                <a:gd name="T10" fmla="*/ 7 w 12"/>
                <a:gd name="T11" fmla="*/ 9 h 9"/>
                <a:gd name="T12" fmla="*/ 7 w 12"/>
                <a:gd name="T13" fmla="*/ 9 h 9"/>
                <a:gd name="T14" fmla="*/ 7 w 12"/>
                <a:gd name="T15" fmla="*/ 9 h 9"/>
                <a:gd name="T16" fmla="*/ 7 w 12"/>
                <a:gd name="T17" fmla="*/ 9 h 9"/>
                <a:gd name="T18" fmla="*/ 7 w 12"/>
                <a:gd name="T1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9">
                  <a:moveTo>
                    <a:pt x="7" y="9"/>
                  </a:moveTo>
                  <a:lnTo>
                    <a:pt x="0" y="7"/>
                  </a:lnTo>
                  <a:lnTo>
                    <a:pt x="7" y="0"/>
                  </a:lnTo>
                  <a:lnTo>
                    <a:pt x="12" y="0"/>
                  </a:lnTo>
                  <a:lnTo>
                    <a:pt x="12" y="7"/>
                  </a:lnTo>
                  <a:lnTo>
                    <a:pt x="7" y="9"/>
                  </a:lnTo>
                  <a:lnTo>
                    <a:pt x="7" y="9"/>
                  </a:lnTo>
                  <a:lnTo>
                    <a:pt x="7" y="9"/>
                  </a:lnTo>
                  <a:lnTo>
                    <a:pt x="7" y="9"/>
                  </a:ln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76" name="Freeform 51">
              <a:extLst>
                <a:ext uri="{FF2B5EF4-FFF2-40B4-BE49-F238E27FC236}">
                  <a16:creationId xmlns:a16="http://schemas.microsoft.com/office/drawing/2014/main" id="{4E6ED462-C3A9-4406-BC50-5FD5CD932A5E}"/>
                </a:ext>
              </a:extLst>
            </p:cNvPr>
            <p:cNvSpPr>
              <a:spLocks/>
            </p:cNvSpPr>
            <p:nvPr/>
          </p:nvSpPr>
          <p:spPr bwMode="gray">
            <a:xfrm>
              <a:off x="14338300" y="971550"/>
              <a:ext cx="0" cy="3175"/>
            </a:xfrm>
            <a:custGeom>
              <a:avLst/>
              <a:gdLst>
                <a:gd name="T0" fmla="*/ 0 h 2"/>
                <a:gd name="T1" fmla="*/ 2 h 2"/>
                <a:gd name="T2" fmla="*/ 2 h 2"/>
                <a:gd name="T3" fmla="*/ 0 h 2"/>
                <a:gd name="T4" fmla="*/ 0 h 2"/>
                <a:gd name="T5" fmla="*/ 0 h 2"/>
                <a:gd name="T6" fmla="*/ 0 h 2"/>
                <a:gd name="T7" fmla="*/ 0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0"/>
                  </a:moveTo>
                  <a:lnTo>
                    <a:pt x="0" y="2"/>
                  </a:lnTo>
                  <a:lnTo>
                    <a:pt x="0" y="2"/>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77" name="Freeform 52">
              <a:extLst>
                <a:ext uri="{FF2B5EF4-FFF2-40B4-BE49-F238E27FC236}">
                  <a16:creationId xmlns:a16="http://schemas.microsoft.com/office/drawing/2014/main" id="{655AAEB1-65B1-4A9E-BDB6-CBA1D1AA0674}"/>
                </a:ext>
              </a:extLst>
            </p:cNvPr>
            <p:cNvSpPr>
              <a:spLocks/>
            </p:cNvSpPr>
            <p:nvPr/>
          </p:nvSpPr>
          <p:spPr bwMode="gray">
            <a:xfrm>
              <a:off x="14330363" y="974725"/>
              <a:ext cx="26988" cy="34925"/>
            </a:xfrm>
            <a:custGeom>
              <a:avLst/>
              <a:gdLst>
                <a:gd name="T0" fmla="*/ 12 w 17"/>
                <a:gd name="T1" fmla="*/ 22 h 22"/>
                <a:gd name="T2" fmla="*/ 5 w 17"/>
                <a:gd name="T3" fmla="*/ 14 h 22"/>
                <a:gd name="T4" fmla="*/ 0 w 17"/>
                <a:gd name="T5" fmla="*/ 14 h 22"/>
                <a:gd name="T6" fmla="*/ 0 w 17"/>
                <a:gd name="T7" fmla="*/ 7 h 22"/>
                <a:gd name="T8" fmla="*/ 5 w 17"/>
                <a:gd name="T9" fmla="*/ 0 h 22"/>
                <a:gd name="T10" fmla="*/ 5 w 17"/>
                <a:gd name="T11" fmla="*/ 7 h 22"/>
                <a:gd name="T12" fmla="*/ 17 w 17"/>
                <a:gd name="T13" fmla="*/ 14 h 22"/>
                <a:gd name="T14" fmla="*/ 17 w 17"/>
                <a:gd name="T15" fmla="*/ 22 h 22"/>
                <a:gd name="T16" fmla="*/ 12 w 17"/>
                <a:gd name="T17" fmla="*/ 22 h 22"/>
                <a:gd name="T18" fmla="*/ 12 w 17"/>
                <a:gd name="T19" fmla="*/ 22 h 22"/>
                <a:gd name="T20" fmla="*/ 12 w 17"/>
                <a:gd name="T21" fmla="*/ 22 h 22"/>
                <a:gd name="T22" fmla="*/ 12 w 17"/>
                <a:gd name="T23" fmla="*/ 22 h 22"/>
                <a:gd name="T24" fmla="*/ 12 w 17"/>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22">
                  <a:moveTo>
                    <a:pt x="12" y="22"/>
                  </a:moveTo>
                  <a:lnTo>
                    <a:pt x="5" y="14"/>
                  </a:lnTo>
                  <a:lnTo>
                    <a:pt x="0" y="14"/>
                  </a:lnTo>
                  <a:lnTo>
                    <a:pt x="0" y="7"/>
                  </a:lnTo>
                  <a:lnTo>
                    <a:pt x="5" y="0"/>
                  </a:lnTo>
                  <a:lnTo>
                    <a:pt x="5" y="7"/>
                  </a:lnTo>
                  <a:lnTo>
                    <a:pt x="17" y="14"/>
                  </a:lnTo>
                  <a:lnTo>
                    <a:pt x="17" y="22"/>
                  </a:lnTo>
                  <a:lnTo>
                    <a:pt x="12" y="22"/>
                  </a:lnTo>
                  <a:lnTo>
                    <a:pt x="12" y="22"/>
                  </a:lnTo>
                  <a:lnTo>
                    <a:pt x="12" y="22"/>
                  </a:lnTo>
                  <a:lnTo>
                    <a:pt x="12" y="22"/>
                  </a:lnTo>
                  <a:lnTo>
                    <a:pt x="12"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78" name="Freeform 53">
              <a:extLst>
                <a:ext uri="{FF2B5EF4-FFF2-40B4-BE49-F238E27FC236}">
                  <a16:creationId xmlns:a16="http://schemas.microsoft.com/office/drawing/2014/main" id="{0A962708-7C2A-498E-A7A2-0217A062E9DB}"/>
                </a:ext>
              </a:extLst>
            </p:cNvPr>
            <p:cNvSpPr>
              <a:spLocks/>
            </p:cNvSpPr>
            <p:nvPr/>
          </p:nvSpPr>
          <p:spPr bwMode="gray">
            <a:xfrm>
              <a:off x="14285913" y="982663"/>
              <a:ext cx="74613" cy="107950"/>
            </a:xfrm>
            <a:custGeom>
              <a:avLst/>
              <a:gdLst>
                <a:gd name="T0" fmla="*/ 45 w 47"/>
                <a:gd name="T1" fmla="*/ 35 h 68"/>
                <a:gd name="T2" fmla="*/ 33 w 47"/>
                <a:gd name="T3" fmla="*/ 31 h 68"/>
                <a:gd name="T4" fmla="*/ 33 w 47"/>
                <a:gd name="T5" fmla="*/ 33 h 68"/>
                <a:gd name="T6" fmla="*/ 40 w 47"/>
                <a:gd name="T7" fmla="*/ 35 h 68"/>
                <a:gd name="T8" fmla="*/ 45 w 47"/>
                <a:gd name="T9" fmla="*/ 43 h 68"/>
                <a:gd name="T10" fmla="*/ 40 w 47"/>
                <a:gd name="T11" fmla="*/ 47 h 68"/>
                <a:gd name="T12" fmla="*/ 47 w 47"/>
                <a:gd name="T13" fmla="*/ 43 h 68"/>
                <a:gd name="T14" fmla="*/ 47 w 47"/>
                <a:gd name="T15" fmla="*/ 50 h 68"/>
                <a:gd name="T16" fmla="*/ 40 w 47"/>
                <a:gd name="T17" fmla="*/ 57 h 68"/>
                <a:gd name="T18" fmla="*/ 47 w 47"/>
                <a:gd name="T19" fmla="*/ 54 h 68"/>
                <a:gd name="T20" fmla="*/ 47 w 47"/>
                <a:gd name="T21" fmla="*/ 68 h 68"/>
                <a:gd name="T22" fmla="*/ 40 w 47"/>
                <a:gd name="T23" fmla="*/ 66 h 68"/>
                <a:gd name="T24" fmla="*/ 40 w 47"/>
                <a:gd name="T25" fmla="*/ 61 h 68"/>
                <a:gd name="T26" fmla="*/ 33 w 47"/>
                <a:gd name="T27" fmla="*/ 57 h 68"/>
                <a:gd name="T28" fmla="*/ 33 w 47"/>
                <a:gd name="T29" fmla="*/ 57 h 68"/>
                <a:gd name="T30" fmla="*/ 33 w 47"/>
                <a:gd name="T31" fmla="*/ 50 h 68"/>
                <a:gd name="T32" fmla="*/ 28 w 47"/>
                <a:gd name="T33" fmla="*/ 43 h 68"/>
                <a:gd name="T34" fmla="*/ 28 w 47"/>
                <a:gd name="T35" fmla="*/ 50 h 68"/>
                <a:gd name="T36" fmla="*/ 26 w 47"/>
                <a:gd name="T37" fmla="*/ 47 h 68"/>
                <a:gd name="T38" fmla="*/ 19 w 47"/>
                <a:gd name="T39" fmla="*/ 47 h 68"/>
                <a:gd name="T40" fmla="*/ 23 w 47"/>
                <a:gd name="T41" fmla="*/ 43 h 68"/>
                <a:gd name="T42" fmla="*/ 12 w 47"/>
                <a:gd name="T43" fmla="*/ 43 h 68"/>
                <a:gd name="T44" fmla="*/ 12 w 47"/>
                <a:gd name="T45" fmla="*/ 40 h 68"/>
                <a:gd name="T46" fmla="*/ 23 w 47"/>
                <a:gd name="T47" fmla="*/ 40 h 68"/>
                <a:gd name="T48" fmla="*/ 16 w 47"/>
                <a:gd name="T49" fmla="*/ 33 h 68"/>
                <a:gd name="T50" fmla="*/ 23 w 47"/>
                <a:gd name="T51" fmla="*/ 31 h 68"/>
                <a:gd name="T52" fmla="*/ 9 w 47"/>
                <a:gd name="T53" fmla="*/ 31 h 68"/>
                <a:gd name="T54" fmla="*/ 9 w 47"/>
                <a:gd name="T55" fmla="*/ 24 h 68"/>
                <a:gd name="T56" fmla="*/ 12 w 47"/>
                <a:gd name="T57" fmla="*/ 24 h 68"/>
                <a:gd name="T58" fmla="*/ 16 w 47"/>
                <a:gd name="T59" fmla="*/ 17 h 68"/>
                <a:gd name="T60" fmla="*/ 12 w 47"/>
                <a:gd name="T61" fmla="*/ 17 h 68"/>
                <a:gd name="T62" fmla="*/ 12 w 47"/>
                <a:gd name="T63" fmla="*/ 7 h 68"/>
                <a:gd name="T64" fmla="*/ 0 w 47"/>
                <a:gd name="T65" fmla="*/ 2 h 68"/>
                <a:gd name="T66" fmla="*/ 0 w 47"/>
                <a:gd name="T67" fmla="*/ 0 h 68"/>
                <a:gd name="T68" fmla="*/ 12 w 47"/>
                <a:gd name="T69" fmla="*/ 0 h 68"/>
                <a:gd name="T70" fmla="*/ 19 w 47"/>
                <a:gd name="T71" fmla="*/ 7 h 68"/>
                <a:gd name="T72" fmla="*/ 16 w 47"/>
                <a:gd name="T73" fmla="*/ 7 h 68"/>
                <a:gd name="T74" fmla="*/ 16 w 47"/>
                <a:gd name="T75" fmla="*/ 9 h 68"/>
                <a:gd name="T76" fmla="*/ 28 w 47"/>
                <a:gd name="T77" fmla="*/ 17 h 68"/>
                <a:gd name="T78" fmla="*/ 45 w 47"/>
                <a:gd name="T79" fmla="*/ 35 h 68"/>
                <a:gd name="T80" fmla="*/ 45 w 47"/>
                <a:gd name="T81" fmla="*/ 35 h 68"/>
                <a:gd name="T82" fmla="*/ 45 w 47"/>
                <a:gd name="T83" fmla="*/ 35 h 68"/>
                <a:gd name="T84" fmla="*/ 45 w 47"/>
                <a:gd name="T85" fmla="*/ 35 h 68"/>
                <a:gd name="T86" fmla="*/ 45 w 47"/>
                <a:gd name="T87" fmla="*/ 3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 h="68">
                  <a:moveTo>
                    <a:pt x="45" y="35"/>
                  </a:moveTo>
                  <a:lnTo>
                    <a:pt x="33" y="31"/>
                  </a:lnTo>
                  <a:lnTo>
                    <a:pt x="33" y="33"/>
                  </a:lnTo>
                  <a:lnTo>
                    <a:pt x="40" y="35"/>
                  </a:lnTo>
                  <a:lnTo>
                    <a:pt x="45" y="43"/>
                  </a:lnTo>
                  <a:lnTo>
                    <a:pt x="40" y="47"/>
                  </a:lnTo>
                  <a:lnTo>
                    <a:pt x="47" y="43"/>
                  </a:lnTo>
                  <a:lnTo>
                    <a:pt x="47" y="50"/>
                  </a:lnTo>
                  <a:lnTo>
                    <a:pt x="40" y="57"/>
                  </a:lnTo>
                  <a:lnTo>
                    <a:pt x="47" y="54"/>
                  </a:lnTo>
                  <a:lnTo>
                    <a:pt x="47" y="68"/>
                  </a:lnTo>
                  <a:lnTo>
                    <a:pt x="40" y="66"/>
                  </a:lnTo>
                  <a:lnTo>
                    <a:pt x="40" y="61"/>
                  </a:lnTo>
                  <a:lnTo>
                    <a:pt x="33" y="57"/>
                  </a:lnTo>
                  <a:lnTo>
                    <a:pt x="33" y="57"/>
                  </a:lnTo>
                  <a:lnTo>
                    <a:pt x="33" y="50"/>
                  </a:lnTo>
                  <a:lnTo>
                    <a:pt x="28" y="43"/>
                  </a:lnTo>
                  <a:lnTo>
                    <a:pt x="28" y="50"/>
                  </a:lnTo>
                  <a:lnTo>
                    <a:pt x="26" y="47"/>
                  </a:lnTo>
                  <a:lnTo>
                    <a:pt x="19" y="47"/>
                  </a:lnTo>
                  <a:lnTo>
                    <a:pt x="23" y="43"/>
                  </a:lnTo>
                  <a:lnTo>
                    <a:pt x="12" y="43"/>
                  </a:lnTo>
                  <a:lnTo>
                    <a:pt x="12" y="40"/>
                  </a:lnTo>
                  <a:lnTo>
                    <a:pt x="23" y="40"/>
                  </a:lnTo>
                  <a:lnTo>
                    <a:pt x="16" y="33"/>
                  </a:lnTo>
                  <a:lnTo>
                    <a:pt x="23" y="31"/>
                  </a:lnTo>
                  <a:lnTo>
                    <a:pt x="9" y="31"/>
                  </a:lnTo>
                  <a:lnTo>
                    <a:pt x="9" y="24"/>
                  </a:lnTo>
                  <a:lnTo>
                    <a:pt x="12" y="24"/>
                  </a:lnTo>
                  <a:lnTo>
                    <a:pt x="16" y="17"/>
                  </a:lnTo>
                  <a:lnTo>
                    <a:pt x="12" y="17"/>
                  </a:lnTo>
                  <a:lnTo>
                    <a:pt x="12" y="7"/>
                  </a:lnTo>
                  <a:lnTo>
                    <a:pt x="0" y="2"/>
                  </a:lnTo>
                  <a:lnTo>
                    <a:pt x="0" y="0"/>
                  </a:lnTo>
                  <a:lnTo>
                    <a:pt x="12" y="0"/>
                  </a:lnTo>
                  <a:lnTo>
                    <a:pt x="19" y="7"/>
                  </a:lnTo>
                  <a:lnTo>
                    <a:pt x="16" y="7"/>
                  </a:lnTo>
                  <a:lnTo>
                    <a:pt x="16" y="9"/>
                  </a:lnTo>
                  <a:lnTo>
                    <a:pt x="28" y="17"/>
                  </a:lnTo>
                  <a:lnTo>
                    <a:pt x="45" y="35"/>
                  </a:lnTo>
                  <a:lnTo>
                    <a:pt x="45" y="35"/>
                  </a:lnTo>
                  <a:lnTo>
                    <a:pt x="45" y="35"/>
                  </a:lnTo>
                  <a:lnTo>
                    <a:pt x="45" y="35"/>
                  </a:lnTo>
                  <a:lnTo>
                    <a:pt x="45"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79" name="Freeform 54">
              <a:extLst>
                <a:ext uri="{FF2B5EF4-FFF2-40B4-BE49-F238E27FC236}">
                  <a16:creationId xmlns:a16="http://schemas.microsoft.com/office/drawing/2014/main" id="{1214A260-1677-4587-904A-AFDF15FB7D34}"/>
                </a:ext>
              </a:extLst>
            </p:cNvPr>
            <p:cNvSpPr>
              <a:spLocks/>
            </p:cNvSpPr>
            <p:nvPr/>
          </p:nvSpPr>
          <p:spPr bwMode="gray">
            <a:xfrm>
              <a:off x="14277975" y="993775"/>
              <a:ext cx="22225" cy="15875"/>
            </a:xfrm>
            <a:custGeom>
              <a:avLst/>
              <a:gdLst>
                <a:gd name="T0" fmla="*/ 14 w 14"/>
                <a:gd name="T1" fmla="*/ 0 h 10"/>
                <a:gd name="T2" fmla="*/ 14 w 14"/>
                <a:gd name="T3" fmla="*/ 5 h 10"/>
                <a:gd name="T4" fmla="*/ 0 w 14"/>
                <a:gd name="T5" fmla="*/ 10 h 10"/>
                <a:gd name="T6" fmla="*/ 7 w 14"/>
                <a:gd name="T7" fmla="*/ 0 h 10"/>
                <a:gd name="T8" fmla="*/ 14 w 14"/>
                <a:gd name="T9" fmla="*/ 0 h 10"/>
                <a:gd name="T10" fmla="*/ 14 w 14"/>
                <a:gd name="T11" fmla="*/ 0 h 10"/>
                <a:gd name="T12" fmla="*/ 14 w 14"/>
                <a:gd name="T13" fmla="*/ 0 h 10"/>
                <a:gd name="T14" fmla="*/ 14 w 14"/>
                <a:gd name="T15" fmla="*/ 0 h 10"/>
                <a:gd name="T16" fmla="*/ 14 w 14"/>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0">
                  <a:moveTo>
                    <a:pt x="14" y="0"/>
                  </a:moveTo>
                  <a:lnTo>
                    <a:pt x="14" y="5"/>
                  </a:lnTo>
                  <a:lnTo>
                    <a:pt x="0" y="10"/>
                  </a:lnTo>
                  <a:lnTo>
                    <a:pt x="7" y="0"/>
                  </a:lnTo>
                  <a:lnTo>
                    <a:pt x="14" y="0"/>
                  </a:lnTo>
                  <a:lnTo>
                    <a:pt x="14" y="0"/>
                  </a:lnTo>
                  <a:lnTo>
                    <a:pt x="14" y="0"/>
                  </a:lnTo>
                  <a:lnTo>
                    <a:pt x="14" y="0"/>
                  </a:ln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80" name="Freeform 55">
              <a:extLst>
                <a:ext uri="{FF2B5EF4-FFF2-40B4-BE49-F238E27FC236}">
                  <a16:creationId xmlns:a16="http://schemas.microsoft.com/office/drawing/2014/main" id="{734C63B3-1FB4-4002-A699-6E2E52033411}"/>
                </a:ext>
              </a:extLst>
            </p:cNvPr>
            <p:cNvSpPr>
              <a:spLocks/>
            </p:cNvSpPr>
            <p:nvPr/>
          </p:nvSpPr>
          <p:spPr bwMode="gray">
            <a:xfrm>
              <a:off x="14371638" y="1001713"/>
              <a:ext cx="41275" cy="55563"/>
            </a:xfrm>
            <a:custGeom>
              <a:avLst/>
              <a:gdLst>
                <a:gd name="T0" fmla="*/ 12 w 26"/>
                <a:gd name="T1" fmla="*/ 31 h 35"/>
                <a:gd name="T2" fmla="*/ 10 w 26"/>
                <a:gd name="T3" fmla="*/ 31 h 35"/>
                <a:gd name="T4" fmla="*/ 17 w 26"/>
                <a:gd name="T5" fmla="*/ 23 h 35"/>
                <a:gd name="T6" fmla="*/ 12 w 26"/>
                <a:gd name="T7" fmla="*/ 19 h 35"/>
                <a:gd name="T8" fmla="*/ 12 w 26"/>
                <a:gd name="T9" fmla="*/ 23 h 35"/>
                <a:gd name="T10" fmla="*/ 10 w 26"/>
                <a:gd name="T11" fmla="*/ 31 h 35"/>
                <a:gd name="T12" fmla="*/ 10 w 26"/>
                <a:gd name="T13" fmla="*/ 21 h 35"/>
                <a:gd name="T14" fmla="*/ 7 w 26"/>
                <a:gd name="T15" fmla="*/ 31 h 35"/>
                <a:gd name="T16" fmla="*/ 0 w 26"/>
                <a:gd name="T17" fmla="*/ 23 h 35"/>
                <a:gd name="T18" fmla="*/ 3 w 26"/>
                <a:gd name="T19" fmla="*/ 21 h 35"/>
                <a:gd name="T20" fmla="*/ 3 w 26"/>
                <a:gd name="T21" fmla="*/ 12 h 35"/>
                <a:gd name="T22" fmla="*/ 3 w 26"/>
                <a:gd name="T23" fmla="*/ 7 h 35"/>
                <a:gd name="T24" fmla="*/ 17 w 26"/>
                <a:gd name="T25" fmla="*/ 0 h 35"/>
                <a:gd name="T26" fmla="*/ 26 w 26"/>
                <a:gd name="T27" fmla="*/ 19 h 35"/>
                <a:gd name="T28" fmla="*/ 21 w 26"/>
                <a:gd name="T29" fmla="*/ 28 h 35"/>
                <a:gd name="T30" fmla="*/ 19 w 26"/>
                <a:gd name="T31" fmla="*/ 35 h 35"/>
                <a:gd name="T32" fmla="*/ 17 w 26"/>
                <a:gd name="T33" fmla="*/ 35 h 35"/>
                <a:gd name="T34" fmla="*/ 17 w 26"/>
                <a:gd name="T35" fmla="*/ 28 h 35"/>
                <a:gd name="T36" fmla="*/ 12 w 26"/>
                <a:gd name="T37" fmla="*/ 31 h 35"/>
                <a:gd name="T38" fmla="*/ 12 w 26"/>
                <a:gd name="T39" fmla="*/ 31 h 35"/>
                <a:gd name="T40" fmla="*/ 12 w 26"/>
                <a:gd name="T41" fmla="*/ 31 h 35"/>
                <a:gd name="T42" fmla="*/ 12 w 26"/>
                <a:gd name="T43" fmla="*/ 31 h 35"/>
                <a:gd name="T44" fmla="*/ 12 w 26"/>
                <a:gd name="T45"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35">
                  <a:moveTo>
                    <a:pt x="12" y="31"/>
                  </a:moveTo>
                  <a:lnTo>
                    <a:pt x="10" y="31"/>
                  </a:lnTo>
                  <a:lnTo>
                    <a:pt x="17" y="23"/>
                  </a:lnTo>
                  <a:lnTo>
                    <a:pt x="12" y="19"/>
                  </a:lnTo>
                  <a:lnTo>
                    <a:pt x="12" y="23"/>
                  </a:lnTo>
                  <a:lnTo>
                    <a:pt x="10" y="31"/>
                  </a:lnTo>
                  <a:lnTo>
                    <a:pt x="10" y="21"/>
                  </a:lnTo>
                  <a:lnTo>
                    <a:pt x="7" y="31"/>
                  </a:lnTo>
                  <a:lnTo>
                    <a:pt x="0" y="23"/>
                  </a:lnTo>
                  <a:lnTo>
                    <a:pt x="3" y="21"/>
                  </a:lnTo>
                  <a:lnTo>
                    <a:pt x="3" y="12"/>
                  </a:lnTo>
                  <a:lnTo>
                    <a:pt x="3" y="7"/>
                  </a:lnTo>
                  <a:lnTo>
                    <a:pt x="17" y="0"/>
                  </a:lnTo>
                  <a:lnTo>
                    <a:pt x="26" y="19"/>
                  </a:lnTo>
                  <a:lnTo>
                    <a:pt x="21" y="28"/>
                  </a:lnTo>
                  <a:lnTo>
                    <a:pt x="19" y="35"/>
                  </a:lnTo>
                  <a:lnTo>
                    <a:pt x="17" y="35"/>
                  </a:lnTo>
                  <a:lnTo>
                    <a:pt x="17" y="28"/>
                  </a:lnTo>
                  <a:lnTo>
                    <a:pt x="12" y="31"/>
                  </a:lnTo>
                  <a:lnTo>
                    <a:pt x="12" y="31"/>
                  </a:lnTo>
                  <a:lnTo>
                    <a:pt x="12" y="31"/>
                  </a:lnTo>
                  <a:lnTo>
                    <a:pt x="12" y="31"/>
                  </a:lnTo>
                  <a:lnTo>
                    <a:pt x="12"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81" name="Freeform 56">
              <a:extLst>
                <a:ext uri="{FF2B5EF4-FFF2-40B4-BE49-F238E27FC236}">
                  <a16:creationId xmlns:a16="http://schemas.microsoft.com/office/drawing/2014/main" id="{A7F1A9AE-923B-40CA-A7FC-5B5C2DDDA287}"/>
                </a:ext>
              </a:extLst>
            </p:cNvPr>
            <p:cNvSpPr>
              <a:spLocks/>
            </p:cNvSpPr>
            <p:nvPr/>
          </p:nvSpPr>
          <p:spPr bwMode="gray">
            <a:xfrm>
              <a:off x="14266863" y="1009650"/>
              <a:ext cx="7938" cy="3175"/>
            </a:xfrm>
            <a:custGeom>
              <a:avLst/>
              <a:gdLst>
                <a:gd name="T0" fmla="*/ 5 w 5"/>
                <a:gd name="T1" fmla="*/ 0 h 2"/>
                <a:gd name="T2" fmla="*/ 5 w 5"/>
                <a:gd name="T3" fmla="*/ 2 h 2"/>
                <a:gd name="T4" fmla="*/ 0 w 5"/>
                <a:gd name="T5" fmla="*/ 2 h 2"/>
                <a:gd name="T6" fmla="*/ 5 w 5"/>
                <a:gd name="T7" fmla="*/ 0 h 2"/>
                <a:gd name="T8" fmla="*/ 5 w 5"/>
                <a:gd name="T9" fmla="*/ 0 h 2"/>
                <a:gd name="T10" fmla="*/ 5 w 5"/>
                <a:gd name="T11" fmla="*/ 0 h 2"/>
                <a:gd name="T12" fmla="*/ 5 w 5"/>
                <a:gd name="T13" fmla="*/ 0 h 2"/>
                <a:gd name="T14" fmla="*/ 5 w 5"/>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5" y="0"/>
                  </a:moveTo>
                  <a:lnTo>
                    <a:pt x="5" y="2"/>
                  </a:lnTo>
                  <a:lnTo>
                    <a:pt x="0" y="2"/>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82" name="Freeform 57">
              <a:extLst>
                <a:ext uri="{FF2B5EF4-FFF2-40B4-BE49-F238E27FC236}">
                  <a16:creationId xmlns:a16="http://schemas.microsoft.com/office/drawing/2014/main" id="{8C218B6B-9DDA-4866-A84D-861CB4CBC20E}"/>
                </a:ext>
              </a:extLst>
            </p:cNvPr>
            <p:cNvSpPr>
              <a:spLocks/>
            </p:cNvSpPr>
            <p:nvPr/>
          </p:nvSpPr>
          <p:spPr bwMode="gray">
            <a:xfrm>
              <a:off x="14255750" y="1009650"/>
              <a:ext cx="11113" cy="3175"/>
            </a:xfrm>
            <a:custGeom>
              <a:avLst/>
              <a:gdLst>
                <a:gd name="T0" fmla="*/ 7 w 7"/>
                <a:gd name="T1" fmla="*/ 0 h 2"/>
                <a:gd name="T2" fmla="*/ 0 w 7"/>
                <a:gd name="T3" fmla="*/ 2 h 2"/>
                <a:gd name="T4" fmla="*/ 0 w 7"/>
                <a:gd name="T5" fmla="*/ 0 h 2"/>
                <a:gd name="T6" fmla="*/ 7 w 7"/>
                <a:gd name="T7" fmla="*/ 0 h 2"/>
                <a:gd name="T8" fmla="*/ 7 w 7"/>
                <a:gd name="T9" fmla="*/ 0 h 2"/>
                <a:gd name="T10" fmla="*/ 7 w 7"/>
                <a:gd name="T11" fmla="*/ 0 h 2"/>
                <a:gd name="T12" fmla="*/ 7 w 7"/>
                <a:gd name="T13" fmla="*/ 0 h 2"/>
                <a:gd name="T14" fmla="*/ 7 w 7"/>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2">
                  <a:moveTo>
                    <a:pt x="7" y="0"/>
                  </a:moveTo>
                  <a:lnTo>
                    <a:pt x="0" y="2"/>
                  </a:lnTo>
                  <a:lnTo>
                    <a:pt x="0" y="0"/>
                  </a:lnTo>
                  <a:lnTo>
                    <a:pt x="7" y="0"/>
                  </a:lnTo>
                  <a:lnTo>
                    <a:pt x="7" y="0"/>
                  </a:lnTo>
                  <a:lnTo>
                    <a:pt x="7"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83" name="Freeform 58">
              <a:extLst>
                <a:ext uri="{FF2B5EF4-FFF2-40B4-BE49-F238E27FC236}">
                  <a16:creationId xmlns:a16="http://schemas.microsoft.com/office/drawing/2014/main" id="{50AEC964-D1C7-427E-8825-DE4C82664A66}"/>
                </a:ext>
              </a:extLst>
            </p:cNvPr>
            <p:cNvSpPr>
              <a:spLocks/>
            </p:cNvSpPr>
            <p:nvPr/>
          </p:nvSpPr>
          <p:spPr bwMode="gray">
            <a:xfrm>
              <a:off x="13263563" y="1009650"/>
              <a:ext cx="11113" cy="11113"/>
            </a:xfrm>
            <a:custGeom>
              <a:avLst/>
              <a:gdLst>
                <a:gd name="T0" fmla="*/ 7 w 7"/>
                <a:gd name="T1" fmla="*/ 0 h 7"/>
                <a:gd name="T2" fmla="*/ 7 w 7"/>
                <a:gd name="T3" fmla="*/ 7 h 7"/>
                <a:gd name="T4" fmla="*/ 0 w 7"/>
                <a:gd name="T5" fmla="*/ 7 h 7"/>
                <a:gd name="T6" fmla="*/ 7 w 7"/>
                <a:gd name="T7" fmla="*/ 0 h 7"/>
                <a:gd name="T8" fmla="*/ 7 w 7"/>
                <a:gd name="T9" fmla="*/ 0 h 7"/>
                <a:gd name="T10" fmla="*/ 7 w 7"/>
                <a:gd name="T11" fmla="*/ 0 h 7"/>
                <a:gd name="T12" fmla="*/ 7 w 7"/>
                <a:gd name="T13" fmla="*/ 0 h 7"/>
                <a:gd name="T14" fmla="*/ 7 w 7"/>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7" y="0"/>
                  </a:moveTo>
                  <a:lnTo>
                    <a:pt x="7" y="7"/>
                  </a:lnTo>
                  <a:lnTo>
                    <a:pt x="0" y="7"/>
                  </a:lnTo>
                  <a:lnTo>
                    <a:pt x="7" y="0"/>
                  </a:lnTo>
                  <a:lnTo>
                    <a:pt x="7" y="0"/>
                  </a:lnTo>
                  <a:lnTo>
                    <a:pt x="7"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84" name="Freeform 59">
              <a:extLst>
                <a:ext uri="{FF2B5EF4-FFF2-40B4-BE49-F238E27FC236}">
                  <a16:creationId xmlns:a16="http://schemas.microsoft.com/office/drawing/2014/main" id="{5DD8BEF9-E514-4861-BE45-2549D91945F7}"/>
                </a:ext>
              </a:extLst>
            </p:cNvPr>
            <p:cNvSpPr>
              <a:spLocks/>
            </p:cNvSpPr>
            <p:nvPr/>
          </p:nvSpPr>
          <p:spPr bwMode="gray">
            <a:xfrm>
              <a:off x="14300200" y="1012825"/>
              <a:ext cx="4763" cy="7938"/>
            </a:xfrm>
            <a:custGeom>
              <a:avLst/>
              <a:gdLst>
                <a:gd name="T0" fmla="*/ 3 w 3"/>
                <a:gd name="T1" fmla="*/ 0 h 5"/>
                <a:gd name="T2" fmla="*/ 3 w 3"/>
                <a:gd name="T3" fmla="*/ 5 h 5"/>
                <a:gd name="T4" fmla="*/ 0 w 3"/>
                <a:gd name="T5" fmla="*/ 0 h 5"/>
                <a:gd name="T6" fmla="*/ 3 w 3"/>
                <a:gd name="T7" fmla="*/ 0 h 5"/>
                <a:gd name="T8" fmla="*/ 3 w 3"/>
                <a:gd name="T9" fmla="*/ 0 h 5"/>
                <a:gd name="T10" fmla="*/ 3 w 3"/>
                <a:gd name="T11" fmla="*/ 0 h 5"/>
                <a:gd name="T12" fmla="*/ 3 w 3"/>
                <a:gd name="T13" fmla="*/ 0 h 5"/>
                <a:gd name="T14" fmla="*/ 3 w 3"/>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0"/>
                  </a:moveTo>
                  <a:lnTo>
                    <a:pt x="3" y="5"/>
                  </a:lnTo>
                  <a:lnTo>
                    <a:pt x="0" y="0"/>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85" name="Freeform 60">
              <a:extLst>
                <a:ext uri="{FF2B5EF4-FFF2-40B4-BE49-F238E27FC236}">
                  <a16:creationId xmlns:a16="http://schemas.microsoft.com/office/drawing/2014/main" id="{CC57CCB9-55A1-4ADF-AE56-AEA899DD694A}"/>
                </a:ext>
              </a:extLst>
            </p:cNvPr>
            <p:cNvSpPr>
              <a:spLocks/>
            </p:cNvSpPr>
            <p:nvPr/>
          </p:nvSpPr>
          <p:spPr bwMode="gray">
            <a:xfrm>
              <a:off x="13117513" y="1009650"/>
              <a:ext cx="11113" cy="3175"/>
            </a:xfrm>
            <a:custGeom>
              <a:avLst/>
              <a:gdLst>
                <a:gd name="T0" fmla="*/ 2 w 7"/>
                <a:gd name="T1" fmla="*/ 0 h 2"/>
                <a:gd name="T2" fmla="*/ 7 w 7"/>
                <a:gd name="T3" fmla="*/ 2 h 2"/>
                <a:gd name="T4" fmla="*/ 0 w 7"/>
                <a:gd name="T5" fmla="*/ 2 h 2"/>
                <a:gd name="T6" fmla="*/ 2 w 7"/>
                <a:gd name="T7" fmla="*/ 0 h 2"/>
                <a:gd name="T8" fmla="*/ 2 w 7"/>
                <a:gd name="T9" fmla="*/ 0 h 2"/>
                <a:gd name="T10" fmla="*/ 2 w 7"/>
                <a:gd name="T11" fmla="*/ 0 h 2"/>
                <a:gd name="T12" fmla="*/ 2 w 7"/>
                <a:gd name="T13" fmla="*/ 0 h 2"/>
                <a:gd name="T14" fmla="*/ 2 w 7"/>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2">
                  <a:moveTo>
                    <a:pt x="2" y="0"/>
                  </a:moveTo>
                  <a:lnTo>
                    <a:pt x="7" y="2"/>
                  </a:lnTo>
                  <a:lnTo>
                    <a:pt x="0" y="2"/>
                  </a:lnTo>
                  <a:lnTo>
                    <a:pt x="2" y="0"/>
                  </a:lnTo>
                  <a:lnTo>
                    <a:pt x="2" y="0"/>
                  </a:lnTo>
                  <a:lnTo>
                    <a:pt x="2"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86" name="Freeform 61">
              <a:extLst>
                <a:ext uri="{FF2B5EF4-FFF2-40B4-BE49-F238E27FC236}">
                  <a16:creationId xmlns:a16="http://schemas.microsoft.com/office/drawing/2014/main" id="{1C0D68BD-A3D6-408C-BCBF-E1584FE51ACC}"/>
                </a:ext>
              </a:extLst>
            </p:cNvPr>
            <p:cNvSpPr>
              <a:spLocks/>
            </p:cNvSpPr>
            <p:nvPr/>
          </p:nvSpPr>
          <p:spPr bwMode="gray">
            <a:xfrm>
              <a:off x="14285913" y="1020763"/>
              <a:ext cx="14288" cy="3175"/>
            </a:xfrm>
            <a:custGeom>
              <a:avLst/>
              <a:gdLst>
                <a:gd name="T0" fmla="*/ 9 w 9"/>
                <a:gd name="T1" fmla="*/ 0 h 2"/>
                <a:gd name="T2" fmla="*/ 2 w 9"/>
                <a:gd name="T3" fmla="*/ 2 h 2"/>
                <a:gd name="T4" fmla="*/ 0 w 9"/>
                <a:gd name="T5" fmla="*/ 0 h 2"/>
                <a:gd name="T6" fmla="*/ 9 w 9"/>
                <a:gd name="T7" fmla="*/ 0 h 2"/>
                <a:gd name="T8" fmla="*/ 9 w 9"/>
                <a:gd name="T9" fmla="*/ 0 h 2"/>
                <a:gd name="T10" fmla="*/ 9 w 9"/>
                <a:gd name="T11" fmla="*/ 0 h 2"/>
                <a:gd name="T12" fmla="*/ 9 w 9"/>
                <a:gd name="T13" fmla="*/ 0 h 2"/>
                <a:gd name="T14" fmla="*/ 9 w 9"/>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2">
                  <a:moveTo>
                    <a:pt x="9" y="0"/>
                  </a:moveTo>
                  <a:lnTo>
                    <a:pt x="2" y="2"/>
                  </a:lnTo>
                  <a:lnTo>
                    <a:pt x="0" y="0"/>
                  </a:lnTo>
                  <a:lnTo>
                    <a:pt x="9" y="0"/>
                  </a:lnTo>
                  <a:lnTo>
                    <a:pt x="9" y="0"/>
                  </a:lnTo>
                  <a:lnTo>
                    <a:pt x="9" y="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87" name="Freeform 62">
              <a:extLst>
                <a:ext uri="{FF2B5EF4-FFF2-40B4-BE49-F238E27FC236}">
                  <a16:creationId xmlns:a16="http://schemas.microsoft.com/office/drawing/2014/main" id="{63138938-0D85-45D4-B184-9B8E37C44E7C}"/>
                </a:ext>
              </a:extLst>
            </p:cNvPr>
            <p:cNvSpPr>
              <a:spLocks/>
            </p:cNvSpPr>
            <p:nvPr/>
          </p:nvSpPr>
          <p:spPr bwMode="gray">
            <a:xfrm>
              <a:off x="14293850" y="1035050"/>
              <a:ext cx="6350" cy="3175"/>
            </a:xfrm>
            <a:custGeom>
              <a:avLst/>
              <a:gdLst>
                <a:gd name="T0" fmla="*/ 4 w 4"/>
                <a:gd name="T1" fmla="*/ 0 h 2"/>
                <a:gd name="T2" fmla="*/ 4 w 4"/>
                <a:gd name="T3" fmla="*/ 2 h 2"/>
                <a:gd name="T4" fmla="*/ 0 w 4"/>
                <a:gd name="T5" fmla="*/ 0 h 2"/>
                <a:gd name="T6" fmla="*/ 4 w 4"/>
                <a:gd name="T7" fmla="*/ 0 h 2"/>
                <a:gd name="T8" fmla="*/ 4 w 4"/>
                <a:gd name="T9" fmla="*/ 0 h 2"/>
                <a:gd name="T10" fmla="*/ 4 w 4"/>
                <a:gd name="T11" fmla="*/ 0 h 2"/>
                <a:gd name="T12" fmla="*/ 4 w 4"/>
                <a:gd name="T13" fmla="*/ 0 h 2"/>
                <a:gd name="T14" fmla="*/ 4 w 4"/>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4" y="0"/>
                  </a:moveTo>
                  <a:lnTo>
                    <a:pt x="4" y="2"/>
                  </a:lnTo>
                  <a:lnTo>
                    <a:pt x="0" y="0"/>
                  </a:lnTo>
                  <a:lnTo>
                    <a:pt x="4" y="0"/>
                  </a:lnTo>
                  <a:lnTo>
                    <a:pt x="4" y="0"/>
                  </a:lnTo>
                  <a:lnTo>
                    <a:pt x="4" y="0"/>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88" name="Freeform 63">
              <a:extLst>
                <a:ext uri="{FF2B5EF4-FFF2-40B4-BE49-F238E27FC236}">
                  <a16:creationId xmlns:a16="http://schemas.microsoft.com/office/drawing/2014/main" id="{96700E19-0795-4D3A-A8C0-07BE85B3B4F6}"/>
                </a:ext>
              </a:extLst>
            </p:cNvPr>
            <p:cNvSpPr>
              <a:spLocks/>
            </p:cNvSpPr>
            <p:nvPr/>
          </p:nvSpPr>
          <p:spPr bwMode="gray">
            <a:xfrm>
              <a:off x="14277975" y="1035050"/>
              <a:ext cx="11113" cy="3175"/>
            </a:xfrm>
            <a:custGeom>
              <a:avLst/>
              <a:gdLst>
                <a:gd name="T0" fmla="*/ 5 w 7"/>
                <a:gd name="T1" fmla="*/ 2 h 2"/>
                <a:gd name="T2" fmla="*/ 0 w 7"/>
                <a:gd name="T3" fmla="*/ 2 h 2"/>
                <a:gd name="T4" fmla="*/ 0 w 7"/>
                <a:gd name="T5" fmla="*/ 0 h 2"/>
                <a:gd name="T6" fmla="*/ 7 w 7"/>
                <a:gd name="T7" fmla="*/ 0 h 2"/>
                <a:gd name="T8" fmla="*/ 5 w 7"/>
                <a:gd name="T9" fmla="*/ 2 h 2"/>
                <a:gd name="T10" fmla="*/ 5 w 7"/>
                <a:gd name="T11" fmla="*/ 2 h 2"/>
                <a:gd name="T12" fmla="*/ 5 w 7"/>
                <a:gd name="T13" fmla="*/ 2 h 2"/>
                <a:gd name="T14" fmla="*/ 5 w 7"/>
                <a:gd name="T15" fmla="*/ 2 h 2"/>
                <a:gd name="T16" fmla="*/ 5 w 7"/>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2">
                  <a:moveTo>
                    <a:pt x="5" y="2"/>
                  </a:moveTo>
                  <a:lnTo>
                    <a:pt x="0" y="2"/>
                  </a:lnTo>
                  <a:lnTo>
                    <a:pt x="0" y="0"/>
                  </a:lnTo>
                  <a:lnTo>
                    <a:pt x="7" y="0"/>
                  </a:lnTo>
                  <a:lnTo>
                    <a:pt x="5" y="2"/>
                  </a:lnTo>
                  <a:lnTo>
                    <a:pt x="5" y="2"/>
                  </a:lnTo>
                  <a:lnTo>
                    <a:pt x="5" y="2"/>
                  </a:lnTo>
                  <a:lnTo>
                    <a:pt x="5" y="2"/>
                  </a:lnTo>
                  <a:lnTo>
                    <a:pt x="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89" name="Freeform 64">
              <a:extLst>
                <a:ext uri="{FF2B5EF4-FFF2-40B4-BE49-F238E27FC236}">
                  <a16:creationId xmlns:a16="http://schemas.microsoft.com/office/drawing/2014/main" id="{981B0892-F600-40CE-876D-6C711DA45A2A}"/>
                </a:ext>
              </a:extLst>
            </p:cNvPr>
            <p:cNvSpPr>
              <a:spLocks/>
            </p:cNvSpPr>
            <p:nvPr/>
          </p:nvSpPr>
          <p:spPr bwMode="gray">
            <a:xfrm>
              <a:off x="14285913" y="1035050"/>
              <a:ext cx="7938" cy="3175"/>
            </a:xfrm>
            <a:custGeom>
              <a:avLst/>
              <a:gdLst>
                <a:gd name="T0" fmla="*/ 5 w 5"/>
                <a:gd name="T1" fmla="*/ 0 h 2"/>
                <a:gd name="T2" fmla="*/ 5 w 5"/>
                <a:gd name="T3" fmla="*/ 2 h 2"/>
                <a:gd name="T4" fmla="*/ 0 w 5"/>
                <a:gd name="T5" fmla="*/ 2 h 2"/>
                <a:gd name="T6" fmla="*/ 5 w 5"/>
                <a:gd name="T7" fmla="*/ 0 h 2"/>
                <a:gd name="T8" fmla="*/ 5 w 5"/>
                <a:gd name="T9" fmla="*/ 0 h 2"/>
                <a:gd name="T10" fmla="*/ 5 w 5"/>
                <a:gd name="T11" fmla="*/ 0 h 2"/>
                <a:gd name="T12" fmla="*/ 5 w 5"/>
                <a:gd name="T13" fmla="*/ 0 h 2"/>
                <a:gd name="T14" fmla="*/ 5 w 5"/>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5" y="0"/>
                  </a:moveTo>
                  <a:lnTo>
                    <a:pt x="5" y="2"/>
                  </a:lnTo>
                  <a:lnTo>
                    <a:pt x="0" y="2"/>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90" name="Freeform 65">
              <a:extLst>
                <a:ext uri="{FF2B5EF4-FFF2-40B4-BE49-F238E27FC236}">
                  <a16:creationId xmlns:a16="http://schemas.microsoft.com/office/drawing/2014/main" id="{F04AC67B-FFE4-4A34-B117-646C3CF1486C}"/>
                </a:ext>
              </a:extLst>
            </p:cNvPr>
            <p:cNvSpPr>
              <a:spLocks/>
            </p:cNvSpPr>
            <p:nvPr/>
          </p:nvSpPr>
          <p:spPr bwMode="gray">
            <a:xfrm>
              <a:off x="14371638" y="1038225"/>
              <a:ext cx="4763" cy="23813"/>
            </a:xfrm>
            <a:custGeom>
              <a:avLst/>
              <a:gdLst>
                <a:gd name="T0" fmla="*/ 0 w 3"/>
                <a:gd name="T1" fmla="*/ 0 h 15"/>
                <a:gd name="T2" fmla="*/ 3 w 3"/>
                <a:gd name="T3" fmla="*/ 8 h 15"/>
                <a:gd name="T4" fmla="*/ 0 w 3"/>
                <a:gd name="T5" fmla="*/ 15 h 15"/>
                <a:gd name="T6" fmla="*/ 0 w 3"/>
                <a:gd name="T7" fmla="*/ 12 h 15"/>
                <a:gd name="T8" fmla="*/ 0 w 3"/>
                <a:gd name="T9" fmla="*/ 0 h 15"/>
                <a:gd name="T10" fmla="*/ 0 w 3"/>
                <a:gd name="T11" fmla="*/ 0 h 15"/>
                <a:gd name="T12" fmla="*/ 0 w 3"/>
                <a:gd name="T13" fmla="*/ 0 h 15"/>
                <a:gd name="T14" fmla="*/ 0 w 3"/>
                <a:gd name="T15" fmla="*/ 0 h 15"/>
                <a:gd name="T16" fmla="*/ 0 w 3"/>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5">
                  <a:moveTo>
                    <a:pt x="0" y="0"/>
                  </a:moveTo>
                  <a:lnTo>
                    <a:pt x="3" y="8"/>
                  </a:lnTo>
                  <a:lnTo>
                    <a:pt x="0" y="15"/>
                  </a:lnTo>
                  <a:lnTo>
                    <a:pt x="0" y="12"/>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91" name="Freeform 66">
              <a:extLst>
                <a:ext uri="{FF2B5EF4-FFF2-40B4-BE49-F238E27FC236}">
                  <a16:creationId xmlns:a16="http://schemas.microsoft.com/office/drawing/2014/main" id="{7831AFBC-CD35-43E2-816B-310DE512829B}"/>
                </a:ext>
              </a:extLst>
            </p:cNvPr>
            <p:cNvSpPr>
              <a:spLocks/>
            </p:cNvSpPr>
            <p:nvPr/>
          </p:nvSpPr>
          <p:spPr bwMode="gray">
            <a:xfrm>
              <a:off x="14285913" y="1038225"/>
              <a:ext cx="7938" cy="19050"/>
            </a:xfrm>
            <a:custGeom>
              <a:avLst/>
              <a:gdLst>
                <a:gd name="T0" fmla="*/ 5 w 5"/>
                <a:gd name="T1" fmla="*/ 5 h 12"/>
                <a:gd name="T2" fmla="*/ 0 w 5"/>
                <a:gd name="T3" fmla="*/ 12 h 12"/>
                <a:gd name="T4" fmla="*/ 0 w 5"/>
                <a:gd name="T5" fmla="*/ 8 h 12"/>
                <a:gd name="T6" fmla="*/ 2 w 5"/>
                <a:gd name="T7" fmla="*/ 0 h 12"/>
                <a:gd name="T8" fmla="*/ 5 w 5"/>
                <a:gd name="T9" fmla="*/ 5 h 12"/>
                <a:gd name="T10" fmla="*/ 5 w 5"/>
                <a:gd name="T11" fmla="*/ 5 h 12"/>
                <a:gd name="T12" fmla="*/ 5 w 5"/>
                <a:gd name="T13" fmla="*/ 5 h 12"/>
                <a:gd name="T14" fmla="*/ 5 w 5"/>
                <a:gd name="T15" fmla="*/ 5 h 12"/>
                <a:gd name="T16" fmla="*/ 5 w 5"/>
                <a:gd name="T17"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2">
                  <a:moveTo>
                    <a:pt x="5" y="5"/>
                  </a:moveTo>
                  <a:lnTo>
                    <a:pt x="0" y="12"/>
                  </a:lnTo>
                  <a:lnTo>
                    <a:pt x="0" y="8"/>
                  </a:lnTo>
                  <a:lnTo>
                    <a:pt x="2" y="0"/>
                  </a:lnTo>
                  <a:lnTo>
                    <a:pt x="5" y="5"/>
                  </a:lnTo>
                  <a:lnTo>
                    <a:pt x="5" y="5"/>
                  </a:lnTo>
                  <a:lnTo>
                    <a:pt x="5" y="5"/>
                  </a:lnTo>
                  <a:lnTo>
                    <a:pt x="5"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92" name="Freeform 67">
              <a:extLst>
                <a:ext uri="{FF2B5EF4-FFF2-40B4-BE49-F238E27FC236}">
                  <a16:creationId xmlns:a16="http://schemas.microsoft.com/office/drawing/2014/main" id="{BBAF6CAF-1D20-4B11-AD14-FD2A9C85FD64}"/>
                </a:ext>
              </a:extLst>
            </p:cNvPr>
            <p:cNvSpPr>
              <a:spLocks/>
            </p:cNvSpPr>
            <p:nvPr/>
          </p:nvSpPr>
          <p:spPr bwMode="gray">
            <a:xfrm>
              <a:off x="13030200" y="1046163"/>
              <a:ext cx="15875" cy="15875"/>
            </a:xfrm>
            <a:custGeom>
              <a:avLst/>
              <a:gdLst>
                <a:gd name="T0" fmla="*/ 3 w 10"/>
                <a:gd name="T1" fmla="*/ 0 h 10"/>
                <a:gd name="T2" fmla="*/ 5 w 10"/>
                <a:gd name="T3" fmla="*/ 0 h 10"/>
                <a:gd name="T4" fmla="*/ 5 w 10"/>
                <a:gd name="T5" fmla="*/ 7 h 10"/>
                <a:gd name="T6" fmla="*/ 10 w 10"/>
                <a:gd name="T7" fmla="*/ 7 h 10"/>
                <a:gd name="T8" fmla="*/ 0 w 10"/>
                <a:gd name="T9" fmla="*/ 10 h 10"/>
                <a:gd name="T10" fmla="*/ 0 w 10"/>
                <a:gd name="T11" fmla="*/ 3 h 10"/>
                <a:gd name="T12" fmla="*/ 3 w 10"/>
                <a:gd name="T13" fmla="*/ 0 h 10"/>
                <a:gd name="T14" fmla="*/ 3 w 10"/>
                <a:gd name="T15" fmla="*/ 0 h 10"/>
                <a:gd name="T16" fmla="*/ 3 w 10"/>
                <a:gd name="T17" fmla="*/ 0 h 10"/>
                <a:gd name="T18" fmla="*/ 3 w 10"/>
                <a:gd name="T19" fmla="*/ 0 h 10"/>
                <a:gd name="T20" fmla="*/ 3 w 10"/>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0">
                  <a:moveTo>
                    <a:pt x="3" y="0"/>
                  </a:moveTo>
                  <a:lnTo>
                    <a:pt x="5" y="0"/>
                  </a:lnTo>
                  <a:lnTo>
                    <a:pt x="5" y="7"/>
                  </a:lnTo>
                  <a:lnTo>
                    <a:pt x="10" y="7"/>
                  </a:lnTo>
                  <a:lnTo>
                    <a:pt x="0" y="10"/>
                  </a:lnTo>
                  <a:lnTo>
                    <a:pt x="0" y="3"/>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93" name="Freeform 68">
              <a:extLst>
                <a:ext uri="{FF2B5EF4-FFF2-40B4-BE49-F238E27FC236}">
                  <a16:creationId xmlns:a16="http://schemas.microsoft.com/office/drawing/2014/main" id="{B71E8851-B189-46AA-80CB-2D995481EA27}"/>
                </a:ext>
              </a:extLst>
            </p:cNvPr>
            <p:cNvSpPr>
              <a:spLocks/>
            </p:cNvSpPr>
            <p:nvPr/>
          </p:nvSpPr>
          <p:spPr bwMode="gray">
            <a:xfrm>
              <a:off x="13046075" y="1046163"/>
              <a:ext cx="3175" cy="11113"/>
            </a:xfrm>
            <a:custGeom>
              <a:avLst/>
              <a:gdLst>
                <a:gd name="T0" fmla="*/ 2 w 2"/>
                <a:gd name="T1" fmla="*/ 0 h 7"/>
                <a:gd name="T2" fmla="*/ 2 w 2"/>
                <a:gd name="T3" fmla="*/ 7 h 7"/>
                <a:gd name="T4" fmla="*/ 0 w 2"/>
                <a:gd name="T5" fmla="*/ 3 h 7"/>
                <a:gd name="T6" fmla="*/ 2 w 2"/>
                <a:gd name="T7" fmla="*/ 0 h 7"/>
                <a:gd name="T8" fmla="*/ 2 w 2"/>
                <a:gd name="T9" fmla="*/ 0 h 7"/>
                <a:gd name="T10" fmla="*/ 2 w 2"/>
                <a:gd name="T11" fmla="*/ 0 h 7"/>
                <a:gd name="T12" fmla="*/ 2 w 2"/>
                <a:gd name="T13" fmla="*/ 0 h 7"/>
                <a:gd name="T14" fmla="*/ 2 w 2"/>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7">
                  <a:moveTo>
                    <a:pt x="2" y="0"/>
                  </a:moveTo>
                  <a:lnTo>
                    <a:pt x="2" y="7"/>
                  </a:lnTo>
                  <a:lnTo>
                    <a:pt x="0" y="3"/>
                  </a:lnTo>
                  <a:lnTo>
                    <a:pt x="2" y="0"/>
                  </a:lnTo>
                  <a:lnTo>
                    <a:pt x="2" y="0"/>
                  </a:lnTo>
                  <a:lnTo>
                    <a:pt x="2"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94" name="Freeform 69">
              <a:extLst>
                <a:ext uri="{FF2B5EF4-FFF2-40B4-BE49-F238E27FC236}">
                  <a16:creationId xmlns:a16="http://schemas.microsoft.com/office/drawing/2014/main" id="{38D8B837-FBCC-42A9-BDB3-8257BEF27D7D}"/>
                </a:ext>
              </a:extLst>
            </p:cNvPr>
            <p:cNvSpPr>
              <a:spLocks/>
            </p:cNvSpPr>
            <p:nvPr/>
          </p:nvSpPr>
          <p:spPr bwMode="gray">
            <a:xfrm>
              <a:off x="14293850" y="1050925"/>
              <a:ext cx="11113" cy="6350"/>
            </a:xfrm>
            <a:custGeom>
              <a:avLst/>
              <a:gdLst>
                <a:gd name="T0" fmla="*/ 4 w 7"/>
                <a:gd name="T1" fmla="*/ 0 h 4"/>
                <a:gd name="T2" fmla="*/ 7 w 7"/>
                <a:gd name="T3" fmla="*/ 4 h 4"/>
                <a:gd name="T4" fmla="*/ 0 w 7"/>
                <a:gd name="T5" fmla="*/ 4 h 4"/>
                <a:gd name="T6" fmla="*/ 0 w 7"/>
                <a:gd name="T7" fmla="*/ 0 h 4"/>
                <a:gd name="T8" fmla="*/ 4 w 7"/>
                <a:gd name="T9" fmla="*/ 0 h 4"/>
                <a:gd name="T10" fmla="*/ 4 w 7"/>
                <a:gd name="T11" fmla="*/ 0 h 4"/>
                <a:gd name="T12" fmla="*/ 4 w 7"/>
                <a:gd name="T13" fmla="*/ 0 h 4"/>
                <a:gd name="T14" fmla="*/ 4 w 7"/>
                <a:gd name="T15" fmla="*/ 0 h 4"/>
                <a:gd name="T16" fmla="*/ 4 w 7"/>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
                  <a:moveTo>
                    <a:pt x="4" y="0"/>
                  </a:moveTo>
                  <a:lnTo>
                    <a:pt x="7" y="4"/>
                  </a:lnTo>
                  <a:lnTo>
                    <a:pt x="0" y="4"/>
                  </a:lnTo>
                  <a:lnTo>
                    <a:pt x="0" y="0"/>
                  </a:lnTo>
                  <a:lnTo>
                    <a:pt x="4" y="0"/>
                  </a:lnTo>
                  <a:lnTo>
                    <a:pt x="4" y="0"/>
                  </a:lnTo>
                  <a:lnTo>
                    <a:pt x="4" y="0"/>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95" name="Freeform 70">
              <a:extLst>
                <a:ext uri="{FF2B5EF4-FFF2-40B4-BE49-F238E27FC236}">
                  <a16:creationId xmlns:a16="http://schemas.microsoft.com/office/drawing/2014/main" id="{F71DD2F0-24A6-4918-818A-CF4A9C1D2516}"/>
                </a:ext>
              </a:extLst>
            </p:cNvPr>
            <p:cNvSpPr>
              <a:spLocks/>
            </p:cNvSpPr>
            <p:nvPr/>
          </p:nvSpPr>
          <p:spPr bwMode="gray">
            <a:xfrm>
              <a:off x="13057188" y="1050925"/>
              <a:ext cx="19050" cy="25400"/>
            </a:xfrm>
            <a:custGeom>
              <a:avLst/>
              <a:gdLst>
                <a:gd name="T0" fmla="*/ 12 w 12"/>
                <a:gd name="T1" fmla="*/ 0 h 16"/>
                <a:gd name="T2" fmla="*/ 12 w 12"/>
                <a:gd name="T3" fmla="*/ 7 h 16"/>
                <a:gd name="T4" fmla="*/ 0 w 12"/>
                <a:gd name="T5" fmla="*/ 16 h 16"/>
                <a:gd name="T6" fmla="*/ 2 w 12"/>
                <a:gd name="T7" fmla="*/ 11 h 16"/>
                <a:gd name="T8" fmla="*/ 2 w 12"/>
                <a:gd name="T9" fmla="*/ 7 h 16"/>
                <a:gd name="T10" fmla="*/ 7 w 12"/>
                <a:gd name="T11" fmla="*/ 7 h 16"/>
                <a:gd name="T12" fmla="*/ 12 w 12"/>
                <a:gd name="T13" fmla="*/ 0 h 16"/>
                <a:gd name="T14" fmla="*/ 12 w 12"/>
                <a:gd name="T15" fmla="*/ 0 h 16"/>
                <a:gd name="T16" fmla="*/ 12 w 12"/>
                <a:gd name="T17" fmla="*/ 0 h 16"/>
                <a:gd name="T18" fmla="*/ 12 w 12"/>
                <a:gd name="T19" fmla="*/ 0 h 16"/>
                <a:gd name="T20" fmla="*/ 12 w 12"/>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6">
                  <a:moveTo>
                    <a:pt x="12" y="0"/>
                  </a:moveTo>
                  <a:lnTo>
                    <a:pt x="12" y="7"/>
                  </a:lnTo>
                  <a:lnTo>
                    <a:pt x="0" y="16"/>
                  </a:lnTo>
                  <a:lnTo>
                    <a:pt x="2" y="11"/>
                  </a:lnTo>
                  <a:lnTo>
                    <a:pt x="2" y="7"/>
                  </a:lnTo>
                  <a:lnTo>
                    <a:pt x="7" y="7"/>
                  </a:lnTo>
                  <a:lnTo>
                    <a:pt x="12" y="0"/>
                  </a:lnTo>
                  <a:lnTo>
                    <a:pt x="12" y="0"/>
                  </a:lnTo>
                  <a:lnTo>
                    <a:pt x="12" y="0"/>
                  </a:lnTo>
                  <a:lnTo>
                    <a:pt x="12"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96" name="Freeform 71">
              <a:extLst>
                <a:ext uri="{FF2B5EF4-FFF2-40B4-BE49-F238E27FC236}">
                  <a16:creationId xmlns:a16="http://schemas.microsoft.com/office/drawing/2014/main" id="{94DB8BB1-507C-4015-87C1-C36AE6D4BAAF}"/>
                </a:ext>
              </a:extLst>
            </p:cNvPr>
            <p:cNvSpPr>
              <a:spLocks/>
            </p:cNvSpPr>
            <p:nvPr/>
          </p:nvSpPr>
          <p:spPr bwMode="gray">
            <a:xfrm>
              <a:off x="14382750" y="1050925"/>
              <a:ext cx="7938" cy="22225"/>
            </a:xfrm>
            <a:custGeom>
              <a:avLst/>
              <a:gdLst>
                <a:gd name="T0" fmla="*/ 3 w 5"/>
                <a:gd name="T1" fmla="*/ 4 h 14"/>
                <a:gd name="T2" fmla="*/ 5 w 5"/>
                <a:gd name="T3" fmla="*/ 4 h 14"/>
                <a:gd name="T4" fmla="*/ 5 w 5"/>
                <a:gd name="T5" fmla="*/ 11 h 14"/>
                <a:gd name="T6" fmla="*/ 0 w 5"/>
                <a:gd name="T7" fmla="*/ 14 h 14"/>
                <a:gd name="T8" fmla="*/ 0 w 5"/>
                <a:gd name="T9" fmla="*/ 0 h 14"/>
                <a:gd name="T10" fmla="*/ 3 w 5"/>
                <a:gd name="T11" fmla="*/ 4 h 14"/>
                <a:gd name="T12" fmla="*/ 3 w 5"/>
                <a:gd name="T13" fmla="*/ 4 h 14"/>
                <a:gd name="T14" fmla="*/ 3 w 5"/>
                <a:gd name="T15" fmla="*/ 4 h 14"/>
                <a:gd name="T16" fmla="*/ 3 w 5"/>
                <a:gd name="T17" fmla="*/ 4 h 14"/>
                <a:gd name="T18" fmla="*/ 3 w 5"/>
                <a:gd name="T19"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4">
                  <a:moveTo>
                    <a:pt x="3" y="4"/>
                  </a:moveTo>
                  <a:lnTo>
                    <a:pt x="5" y="4"/>
                  </a:lnTo>
                  <a:lnTo>
                    <a:pt x="5" y="11"/>
                  </a:lnTo>
                  <a:lnTo>
                    <a:pt x="0" y="14"/>
                  </a:lnTo>
                  <a:lnTo>
                    <a:pt x="0" y="0"/>
                  </a:lnTo>
                  <a:lnTo>
                    <a:pt x="3" y="4"/>
                  </a:lnTo>
                  <a:lnTo>
                    <a:pt x="3" y="4"/>
                  </a:lnTo>
                  <a:lnTo>
                    <a:pt x="3" y="4"/>
                  </a:lnTo>
                  <a:lnTo>
                    <a:pt x="3" y="4"/>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97" name="Freeform 72">
              <a:extLst>
                <a:ext uri="{FF2B5EF4-FFF2-40B4-BE49-F238E27FC236}">
                  <a16:creationId xmlns:a16="http://schemas.microsoft.com/office/drawing/2014/main" id="{0E0D3539-72A5-498D-A462-BA2D60FC86DD}"/>
                </a:ext>
              </a:extLst>
            </p:cNvPr>
            <p:cNvSpPr>
              <a:spLocks/>
            </p:cNvSpPr>
            <p:nvPr/>
          </p:nvSpPr>
          <p:spPr bwMode="gray">
            <a:xfrm>
              <a:off x="14304963" y="1057275"/>
              <a:ext cx="25400" cy="33338"/>
            </a:xfrm>
            <a:custGeom>
              <a:avLst/>
              <a:gdLst>
                <a:gd name="T0" fmla="*/ 4 w 16"/>
                <a:gd name="T1" fmla="*/ 0 h 21"/>
                <a:gd name="T2" fmla="*/ 16 w 16"/>
                <a:gd name="T3" fmla="*/ 21 h 21"/>
                <a:gd name="T4" fmla="*/ 11 w 16"/>
                <a:gd name="T5" fmla="*/ 21 h 21"/>
                <a:gd name="T6" fmla="*/ 4 w 16"/>
                <a:gd name="T7" fmla="*/ 10 h 21"/>
                <a:gd name="T8" fmla="*/ 0 w 16"/>
                <a:gd name="T9" fmla="*/ 7 h 21"/>
                <a:gd name="T10" fmla="*/ 0 w 16"/>
                <a:gd name="T11" fmla="*/ 0 h 21"/>
                <a:gd name="T12" fmla="*/ 4 w 16"/>
                <a:gd name="T13" fmla="*/ 0 h 21"/>
                <a:gd name="T14" fmla="*/ 4 w 16"/>
                <a:gd name="T15" fmla="*/ 0 h 21"/>
                <a:gd name="T16" fmla="*/ 4 w 16"/>
                <a:gd name="T17" fmla="*/ 0 h 21"/>
                <a:gd name="T18" fmla="*/ 4 w 16"/>
                <a:gd name="T19" fmla="*/ 0 h 21"/>
                <a:gd name="T20" fmla="*/ 4 w 16"/>
                <a:gd name="T2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1">
                  <a:moveTo>
                    <a:pt x="4" y="0"/>
                  </a:moveTo>
                  <a:lnTo>
                    <a:pt x="16" y="21"/>
                  </a:lnTo>
                  <a:lnTo>
                    <a:pt x="11" y="21"/>
                  </a:lnTo>
                  <a:lnTo>
                    <a:pt x="4" y="10"/>
                  </a:lnTo>
                  <a:lnTo>
                    <a:pt x="0" y="7"/>
                  </a:lnTo>
                  <a:lnTo>
                    <a:pt x="0" y="0"/>
                  </a:lnTo>
                  <a:lnTo>
                    <a:pt x="4" y="0"/>
                  </a:lnTo>
                  <a:lnTo>
                    <a:pt x="4" y="0"/>
                  </a:lnTo>
                  <a:lnTo>
                    <a:pt x="4" y="0"/>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98" name="Freeform 73">
              <a:extLst>
                <a:ext uri="{FF2B5EF4-FFF2-40B4-BE49-F238E27FC236}">
                  <a16:creationId xmlns:a16="http://schemas.microsoft.com/office/drawing/2014/main" id="{9953DA68-0189-4595-94A5-3910234C2115}"/>
                </a:ext>
              </a:extLst>
            </p:cNvPr>
            <p:cNvSpPr>
              <a:spLocks/>
            </p:cNvSpPr>
            <p:nvPr/>
          </p:nvSpPr>
          <p:spPr bwMode="gray">
            <a:xfrm>
              <a:off x="13087350" y="1057275"/>
              <a:ext cx="7938" cy="11113"/>
            </a:xfrm>
            <a:custGeom>
              <a:avLst/>
              <a:gdLst>
                <a:gd name="T0" fmla="*/ 5 w 5"/>
                <a:gd name="T1" fmla="*/ 0 h 7"/>
                <a:gd name="T2" fmla="*/ 5 w 5"/>
                <a:gd name="T3" fmla="*/ 7 h 7"/>
                <a:gd name="T4" fmla="*/ 0 w 5"/>
                <a:gd name="T5" fmla="*/ 7 h 7"/>
                <a:gd name="T6" fmla="*/ 5 w 5"/>
                <a:gd name="T7" fmla="*/ 0 h 7"/>
                <a:gd name="T8" fmla="*/ 5 w 5"/>
                <a:gd name="T9" fmla="*/ 0 h 7"/>
                <a:gd name="T10" fmla="*/ 5 w 5"/>
                <a:gd name="T11" fmla="*/ 0 h 7"/>
                <a:gd name="T12" fmla="*/ 5 w 5"/>
                <a:gd name="T13" fmla="*/ 0 h 7"/>
                <a:gd name="T14" fmla="*/ 5 w 5"/>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0"/>
                  </a:moveTo>
                  <a:lnTo>
                    <a:pt x="5" y="7"/>
                  </a:lnTo>
                  <a:lnTo>
                    <a:pt x="0" y="7"/>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99" name="Freeform 74">
              <a:extLst>
                <a:ext uri="{FF2B5EF4-FFF2-40B4-BE49-F238E27FC236}">
                  <a16:creationId xmlns:a16="http://schemas.microsoft.com/office/drawing/2014/main" id="{EE17B792-2F56-457B-B594-3A5563F74952}"/>
                </a:ext>
              </a:extLst>
            </p:cNvPr>
            <p:cNvSpPr>
              <a:spLocks/>
            </p:cNvSpPr>
            <p:nvPr/>
          </p:nvSpPr>
          <p:spPr bwMode="gray">
            <a:xfrm>
              <a:off x="14322425" y="1057275"/>
              <a:ext cx="7938" cy="11113"/>
            </a:xfrm>
            <a:custGeom>
              <a:avLst/>
              <a:gdLst>
                <a:gd name="T0" fmla="*/ 3 w 5"/>
                <a:gd name="T1" fmla="*/ 0 h 7"/>
                <a:gd name="T2" fmla="*/ 5 w 5"/>
                <a:gd name="T3" fmla="*/ 7 h 7"/>
                <a:gd name="T4" fmla="*/ 0 w 5"/>
                <a:gd name="T5" fmla="*/ 7 h 7"/>
                <a:gd name="T6" fmla="*/ 3 w 5"/>
                <a:gd name="T7" fmla="*/ 0 h 7"/>
                <a:gd name="T8" fmla="*/ 3 w 5"/>
                <a:gd name="T9" fmla="*/ 0 h 7"/>
                <a:gd name="T10" fmla="*/ 3 w 5"/>
                <a:gd name="T11" fmla="*/ 0 h 7"/>
                <a:gd name="T12" fmla="*/ 3 w 5"/>
                <a:gd name="T13" fmla="*/ 0 h 7"/>
                <a:gd name="T14" fmla="*/ 3 w 5"/>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3" y="0"/>
                  </a:moveTo>
                  <a:lnTo>
                    <a:pt x="5" y="7"/>
                  </a:lnTo>
                  <a:lnTo>
                    <a:pt x="0" y="7"/>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00" name="Freeform 75">
              <a:extLst>
                <a:ext uri="{FF2B5EF4-FFF2-40B4-BE49-F238E27FC236}">
                  <a16:creationId xmlns:a16="http://schemas.microsoft.com/office/drawing/2014/main" id="{95503D64-66E6-4F6B-87C2-694488FE54CC}"/>
                </a:ext>
              </a:extLst>
            </p:cNvPr>
            <p:cNvSpPr>
              <a:spLocks/>
            </p:cNvSpPr>
            <p:nvPr/>
          </p:nvSpPr>
          <p:spPr bwMode="gray">
            <a:xfrm>
              <a:off x="12977813" y="1062038"/>
              <a:ext cx="19050" cy="6350"/>
            </a:xfrm>
            <a:custGeom>
              <a:avLst/>
              <a:gdLst>
                <a:gd name="T0" fmla="*/ 8 w 12"/>
                <a:gd name="T1" fmla="*/ 0 h 4"/>
                <a:gd name="T2" fmla="*/ 12 w 12"/>
                <a:gd name="T3" fmla="*/ 0 h 4"/>
                <a:gd name="T4" fmla="*/ 5 w 12"/>
                <a:gd name="T5" fmla="*/ 4 h 4"/>
                <a:gd name="T6" fmla="*/ 0 w 12"/>
                <a:gd name="T7" fmla="*/ 0 h 4"/>
                <a:gd name="T8" fmla="*/ 8 w 12"/>
                <a:gd name="T9" fmla="*/ 0 h 4"/>
                <a:gd name="T10" fmla="*/ 8 w 12"/>
                <a:gd name="T11" fmla="*/ 0 h 4"/>
                <a:gd name="T12" fmla="*/ 8 w 12"/>
                <a:gd name="T13" fmla="*/ 0 h 4"/>
                <a:gd name="T14" fmla="*/ 8 w 12"/>
                <a:gd name="T15" fmla="*/ 0 h 4"/>
                <a:gd name="T16" fmla="*/ 8 w 12"/>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4">
                  <a:moveTo>
                    <a:pt x="8" y="0"/>
                  </a:moveTo>
                  <a:lnTo>
                    <a:pt x="12" y="0"/>
                  </a:lnTo>
                  <a:lnTo>
                    <a:pt x="5" y="4"/>
                  </a:lnTo>
                  <a:lnTo>
                    <a:pt x="0" y="0"/>
                  </a:lnTo>
                  <a:lnTo>
                    <a:pt x="8" y="0"/>
                  </a:lnTo>
                  <a:lnTo>
                    <a:pt x="8" y="0"/>
                  </a:lnTo>
                  <a:lnTo>
                    <a:pt x="8" y="0"/>
                  </a:lnTo>
                  <a:lnTo>
                    <a:pt x="8"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01" name="Freeform 76">
              <a:extLst>
                <a:ext uri="{FF2B5EF4-FFF2-40B4-BE49-F238E27FC236}">
                  <a16:creationId xmlns:a16="http://schemas.microsoft.com/office/drawing/2014/main" id="{AF00CC7F-2438-4FE1-9EB3-ECE1AE706D27}"/>
                </a:ext>
              </a:extLst>
            </p:cNvPr>
            <p:cNvSpPr>
              <a:spLocks/>
            </p:cNvSpPr>
            <p:nvPr/>
          </p:nvSpPr>
          <p:spPr bwMode="gray">
            <a:xfrm>
              <a:off x="12836525" y="1068388"/>
              <a:ext cx="93663" cy="38100"/>
            </a:xfrm>
            <a:custGeom>
              <a:avLst/>
              <a:gdLst>
                <a:gd name="T0" fmla="*/ 23 w 59"/>
                <a:gd name="T1" fmla="*/ 19 h 24"/>
                <a:gd name="T2" fmla="*/ 21 w 59"/>
                <a:gd name="T3" fmla="*/ 24 h 24"/>
                <a:gd name="T4" fmla="*/ 12 w 59"/>
                <a:gd name="T5" fmla="*/ 24 h 24"/>
                <a:gd name="T6" fmla="*/ 5 w 59"/>
                <a:gd name="T7" fmla="*/ 24 h 24"/>
                <a:gd name="T8" fmla="*/ 0 w 59"/>
                <a:gd name="T9" fmla="*/ 19 h 24"/>
                <a:gd name="T10" fmla="*/ 12 w 59"/>
                <a:gd name="T11" fmla="*/ 14 h 24"/>
                <a:gd name="T12" fmla="*/ 16 w 59"/>
                <a:gd name="T13" fmla="*/ 5 h 24"/>
                <a:gd name="T14" fmla="*/ 23 w 59"/>
                <a:gd name="T15" fmla="*/ 5 h 24"/>
                <a:gd name="T16" fmla="*/ 35 w 59"/>
                <a:gd name="T17" fmla="*/ 0 h 24"/>
                <a:gd name="T18" fmla="*/ 42 w 59"/>
                <a:gd name="T19" fmla="*/ 0 h 24"/>
                <a:gd name="T20" fmla="*/ 49 w 59"/>
                <a:gd name="T21" fmla="*/ 7 h 24"/>
                <a:gd name="T22" fmla="*/ 56 w 59"/>
                <a:gd name="T23" fmla="*/ 12 h 24"/>
                <a:gd name="T24" fmla="*/ 59 w 59"/>
                <a:gd name="T25" fmla="*/ 14 h 24"/>
                <a:gd name="T26" fmla="*/ 49 w 59"/>
                <a:gd name="T27" fmla="*/ 12 h 24"/>
                <a:gd name="T28" fmla="*/ 42 w 59"/>
                <a:gd name="T29" fmla="*/ 19 h 24"/>
                <a:gd name="T30" fmla="*/ 23 w 59"/>
                <a:gd name="T31" fmla="*/ 19 h 24"/>
                <a:gd name="T32" fmla="*/ 23 w 59"/>
                <a:gd name="T33" fmla="*/ 19 h 24"/>
                <a:gd name="T34" fmla="*/ 23 w 59"/>
                <a:gd name="T35" fmla="*/ 19 h 24"/>
                <a:gd name="T36" fmla="*/ 23 w 59"/>
                <a:gd name="T37" fmla="*/ 19 h 24"/>
                <a:gd name="T38" fmla="*/ 23 w 59"/>
                <a:gd name="T39"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24">
                  <a:moveTo>
                    <a:pt x="23" y="19"/>
                  </a:moveTo>
                  <a:lnTo>
                    <a:pt x="21" y="24"/>
                  </a:lnTo>
                  <a:lnTo>
                    <a:pt x="12" y="24"/>
                  </a:lnTo>
                  <a:lnTo>
                    <a:pt x="5" y="24"/>
                  </a:lnTo>
                  <a:lnTo>
                    <a:pt x="0" y="19"/>
                  </a:lnTo>
                  <a:lnTo>
                    <a:pt x="12" y="14"/>
                  </a:lnTo>
                  <a:lnTo>
                    <a:pt x="16" y="5"/>
                  </a:lnTo>
                  <a:lnTo>
                    <a:pt x="23" y="5"/>
                  </a:lnTo>
                  <a:lnTo>
                    <a:pt x="35" y="0"/>
                  </a:lnTo>
                  <a:lnTo>
                    <a:pt x="42" y="0"/>
                  </a:lnTo>
                  <a:lnTo>
                    <a:pt x="49" y="7"/>
                  </a:lnTo>
                  <a:lnTo>
                    <a:pt x="56" y="12"/>
                  </a:lnTo>
                  <a:lnTo>
                    <a:pt x="59" y="14"/>
                  </a:lnTo>
                  <a:lnTo>
                    <a:pt x="49" y="12"/>
                  </a:lnTo>
                  <a:lnTo>
                    <a:pt x="42" y="19"/>
                  </a:lnTo>
                  <a:lnTo>
                    <a:pt x="23" y="19"/>
                  </a:lnTo>
                  <a:lnTo>
                    <a:pt x="23" y="19"/>
                  </a:lnTo>
                  <a:lnTo>
                    <a:pt x="23" y="19"/>
                  </a:lnTo>
                  <a:lnTo>
                    <a:pt x="23" y="19"/>
                  </a:lnTo>
                  <a:lnTo>
                    <a:pt x="2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02" name="Freeform 77">
              <a:extLst>
                <a:ext uri="{FF2B5EF4-FFF2-40B4-BE49-F238E27FC236}">
                  <a16:creationId xmlns:a16="http://schemas.microsoft.com/office/drawing/2014/main" id="{F8EE457D-894B-405A-A481-653CCEA1966E}"/>
                </a:ext>
              </a:extLst>
            </p:cNvPr>
            <p:cNvSpPr>
              <a:spLocks/>
            </p:cNvSpPr>
            <p:nvPr/>
          </p:nvSpPr>
          <p:spPr bwMode="gray">
            <a:xfrm>
              <a:off x="13095288" y="1068388"/>
              <a:ext cx="0" cy="4763"/>
            </a:xfrm>
            <a:custGeom>
              <a:avLst/>
              <a:gdLst>
                <a:gd name="T0" fmla="*/ 0 h 3"/>
                <a:gd name="T1" fmla="*/ 3 h 3"/>
                <a:gd name="T2" fmla="*/ 3 h 3"/>
                <a:gd name="T3" fmla="*/ 0 h 3"/>
                <a:gd name="T4" fmla="*/ 0 h 3"/>
                <a:gd name="T5" fmla="*/ 0 h 3"/>
                <a:gd name="T6" fmla="*/ 0 h 3"/>
                <a:gd name="T7" fmla="*/ 0 h 3"/>
                <a:gd name="T8" fmla="*/ 0 h 3"/>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3">
                  <a:moveTo>
                    <a:pt x="0" y="0"/>
                  </a:moveTo>
                  <a:lnTo>
                    <a:pt x="0" y="3"/>
                  </a:lnTo>
                  <a:lnTo>
                    <a:pt x="0" y="3"/>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03" name="Freeform 78">
              <a:extLst>
                <a:ext uri="{FF2B5EF4-FFF2-40B4-BE49-F238E27FC236}">
                  <a16:creationId xmlns:a16="http://schemas.microsoft.com/office/drawing/2014/main" id="{97788562-75B6-48CB-BC8F-DAEB6C3DCEDC}"/>
                </a:ext>
              </a:extLst>
            </p:cNvPr>
            <p:cNvSpPr>
              <a:spLocks/>
            </p:cNvSpPr>
            <p:nvPr/>
          </p:nvSpPr>
          <p:spPr bwMode="gray">
            <a:xfrm>
              <a:off x="14387513" y="1073150"/>
              <a:ext cx="11113" cy="3175"/>
            </a:xfrm>
            <a:custGeom>
              <a:avLst/>
              <a:gdLst>
                <a:gd name="T0" fmla="*/ 7 w 7"/>
                <a:gd name="T1" fmla="*/ 0 h 2"/>
                <a:gd name="T2" fmla="*/ 7 w 7"/>
                <a:gd name="T3" fmla="*/ 2 h 2"/>
                <a:gd name="T4" fmla="*/ 0 w 7"/>
                <a:gd name="T5" fmla="*/ 2 h 2"/>
                <a:gd name="T6" fmla="*/ 7 w 7"/>
                <a:gd name="T7" fmla="*/ 0 h 2"/>
                <a:gd name="T8" fmla="*/ 7 w 7"/>
                <a:gd name="T9" fmla="*/ 0 h 2"/>
                <a:gd name="T10" fmla="*/ 7 w 7"/>
                <a:gd name="T11" fmla="*/ 0 h 2"/>
                <a:gd name="T12" fmla="*/ 7 w 7"/>
                <a:gd name="T13" fmla="*/ 0 h 2"/>
                <a:gd name="T14" fmla="*/ 7 w 7"/>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2">
                  <a:moveTo>
                    <a:pt x="7" y="0"/>
                  </a:moveTo>
                  <a:lnTo>
                    <a:pt x="7" y="2"/>
                  </a:lnTo>
                  <a:lnTo>
                    <a:pt x="0" y="2"/>
                  </a:lnTo>
                  <a:lnTo>
                    <a:pt x="7" y="0"/>
                  </a:lnTo>
                  <a:lnTo>
                    <a:pt x="7" y="0"/>
                  </a:lnTo>
                  <a:lnTo>
                    <a:pt x="7"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04" name="Freeform 79">
              <a:extLst>
                <a:ext uri="{FF2B5EF4-FFF2-40B4-BE49-F238E27FC236}">
                  <a16:creationId xmlns:a16="http://schemas.microsoft.com/office/drawing/2014/main" id="{325D27B0-8339-4D94-954E-C350EED41C5B}"/>
                </a:ext>
              </a:extLst>
            </p:cNvPr>
            <p:cNvSpPr>
              <a:spLocks/>
            </p:cNvSpPr>
            <p:nvPr/>
          </p:nvSpPr>
          <p:spPr bwMode="gray">
            <a:xfrm>
              <a:off x="12952413" y="1073150"/>
              <a:ext cx="11113" cy="6350"/>
            </a:xfrm>
            <a:custGeom>
              <a:avLst/>
              <a:gdLst>
                <a:gd name="T0" fmla="*/ 7 w 7"/>
                <a:gd name="T1" fmla="*/ 0 h 4"/>
                <a:gd name="T2" fmla="*/ 5 w 7"/>
                <a:gd name="T3" fmla="*/ 4 h 4"/>
                <a:gd name="T4" fmla="*/ 0 w 7"/>
                <a:gd name="T5" fmla="*/ 2 h 4"/>
                <a:gd name="T6" fmla="*/ 7 w 7"/>
                <a:gd name="T7" fmla="*/ 0 h 4"/>
                <a:gd name="T8" fmla="*/ 7 w 7"/>
                <a:gd name="T9" fmla="*/ 0 h 4"/>
                <a:gd name="T10" fmla="*/ 7 w 7"/>
                <a:gd name="T11" fmla="*/ 0 h 4"/>
                <a:gd name="T12" fmla="*/ 7 w 7"/>
                <a:gd name="T13" fmla="*/ 0 h 4"/>
                <a:gd name="T14" fmla="*/ 7 w 7"/>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7" y="0"/>
                  </a:moveTo>
                  <a:lnTo>
                    <a:pt x="5" y="4"/>
                  </a:lnTo>
                  <a:lnTo>
                    <a:pt x="0" y="2"/>
                  </a:lnTo>
                  <a:lnTo>
                    <a:pt x="7" y="0"/>
                  </a:lnTo>
                  <a:lnTo>
                    <a:pt x="7" y="0"/>
                  </a:lnTo>
                  <a:lnTo>
                    <a:pt x="7"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05" name="Freeform 80">
              <a:extLst>
                <a:ext uri="{FF2B5EF4-FFF2-40B4-BE49-F238E27FC236}">
                  <a16:creationId xmlns:a16="http://schemas.microsoft.com/office/drawing/2014/main" id="{40303227-47C0-4E2A-A950-E6C14FFA622F}"/>
                </a:ext>
              </a:extLst>
            </p:cNvPr>
            <p:cNvSpPr>
              <a:spLocks/>
            </p:cNvSpPr>
            <p:nvPr/>
          </p:nvSpPr>
          <p:spPr bwMode="gray">
            <a:xfrm>
              <a:off x="13101638" y="1073150"/>
              <a:ext cx="4763" cy="3175"/>
            </a:xfrm>
            <a:custGeom>
              <a:avLst/>
              <a:gdLst>
                <a:gd name="T0" fmla="*/ 0 w 3"/>
                <a:gd name="T1" fmla="*/ 0 h 2"/>
                <a:gd name="T2" fmla="*/ 3 w 3"/>
                <a:gd name="T3" fmla="*/ 2 h 2"/>
                <a:gd name="T4" fmla="*/ 0 w 3"/>
                <a:gd name="T5" fmla="*/ 2 h 2"/>
                <a:gd name="T6" fmla="*/ 0 w 3"/>
                <a:gd name="T7" fmla="*/ 0 h 2"/>
                <a:gd name="T8" fmla="*/ 0 w 3"/>
                <a:gd name="T9" fmla="*/ 0 h 2"/>
                <a:gd name="T10" fmla="*/ 0 w 3"/>
                <a:gd name="T11" fmla="*/ 0 h 2"/>
                <a:gd name="T12" fmla="*/ 0 w 3"/>
                <a:gd name="T13" fmla="*/ 0 h 2"/>
                <a:gd name="T14" fmla="*/ 0 w 3"/>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0" y="0"/>
                  </a:moveTo>
                  <a:lnTo>
                    <a:pt x="3" y="2"/>
                  </a:lnTo>
                  <a:lnTo>
                    <a:pt x="0" y="2"/>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06" name="Freeform 81">
              <a:extLst>
                <a:ext uri="{FF2B5EF4-FFF2-40B4-BE49-F238E27FC236}">
                  <a16:creationId xmlns:a16="http://schemas.microsoft.com/office/drawing/2014/main" id="{CA9F0EB5-A036-4E9A-AC6F-0D7C2D50E330}"/>
                </a:ext>
              </a:extLst>
            </p:cNvPr>
            <p:cNvSpPr>
              <a:spLocks/>
            </p:cNvSpPr>
            <p:nvPr/>
          </p:nvSpPr>
          <p:spPr bwMode="gray">
            <a:xfrm>
              <a:off x="14327188" y="1076325"/>
              <a:ext cx="3175" cy="11113"/>
            </a:xfrm>
            <a:custGeom>
              <a:avLst/>
              <a:gdLst>
                <a:gd name="T0" fmla="*/ 2 w 2"/>
                <a:gd name="T1" fmla="*/ 0 h 7"/>
                <a:gd name="T2" fmla="*/ 2 w 2"/>
                <a:gd name="T3" fmla="*/ 7 h 7"/>
                <a:gd name="T4" fmla="*/ 0 w 2"/>
                <a:gd name="T5" fmla="*/ 0 h 7"/>
                <a:gd name="T6" fmla="*/ 2 w 2"/>
                <a:gd name="T7" fmla="*/ 0 h 7"/>
                <a:gd name="T8" fmla="*/ 2 w 2"/>
                <a:gd name="T9" fmla="*/ 0 h 7"/>
                <a:gd name="T10" fmla="*/ 2 w 2"/>
                <a:gd name="T11" fmla="*/ 0 h 7"/>
                <a:gd name="T12" fmla="*/ 2 w 2"/>
                <a:gd name="T13" fmla="*/ 0 h 7"/>
                <a:gd name="T14" fmla="*/ 2 w 2"/>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7">
                  <a:moveTo>
                    <a:pt x="2" y="0"/>
                  </a:moveTo>
                  <a:lnTo>
                    <a:pt x="2" y="7"/>
                  </a:lnTo>
                  <a:lnTo>
                    <a:pt x="0" y="0"/>
                  </a:lnTo>
                  <a:lnTo>
                    <a:pt x="2" y="0"/>
                  </a:lnTo>
                  <a:lnTo>
                    <a:pt x="2" y="0"/>
                  </a:lnTo>
                  <a:lnTo>
                    <a:pt x="2"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07" name="Freeform 82">
              <a:extLst>
                <a:ext uri="{FF2B5EF4-FFF2-40B4-BE49-F238E27FC236}">
                  <a16:creationId xmlns:a16="http://schemas.microsoft.com/office/drawing/2014/main" id="{6CF2FAA3-D0B8-4E3B-9616-F8F833A11633}"/>
                </a:ext>
              </a:extLst>
            </p:cNvPr>
            <p:cNvSpPr>
              <a:spLocks/>
            </p:cNvSpPr>
            <p:nvPr/>
          </p:nvSpPr>
          <p:spPr bwMode="gray">
            <a:xfrm>
              <a:off x="12941300" y="1103313"/>
              <a:ext cx="7938" cy="6350"/>
            </a:xfrm>
            <a:custGeom>
              <a:avLst/>
              <a:gdLst>
                <a:gd name="T0" fmla="*/ 0 w 5"/>
                <a:gd name="T1" fmla="*/ 0 h 4"/>
                <a:gd name="T2" fmla="*/ 5 w 5"/>
                <a:gd name="T3" fmla="*/ 4 h 4"/>
                <a:gd name="T4" fmla="*/ 0 w 5"/>
                <a:gd name="T5" fmla="*/ 2 h 4"/>
                <a:gd name="T6" fmla="*/ 0 w 5"/>
                <a:gd name="T7" fmla="*/ 0 h 4"/>
                <a:gd name="T8" fmla="*/ 0 w 5"/>
                <a:gd name="T9" fmla="*/ 0 h 4"/>
                <a:gd name="T10" fmla="*/ 0 w 5"/>
                <a:gd name="T11" fmla="*/ 0 h 4"/>
                <a:gd name="T12" fmla="*/ 0 w 5"/>
                <a:gd name="T13" fmla="*/ 0 h 4"/>
                <a:gd name="T14" fmla="*/ 0 w 5"/>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0" y="0"/>
                  </a:moveTo>
                  <a:lnTo>
                    <a:pt x="5" y="4"/>
                  </a:lnTo>
                  <a:lnTo>
                    <a:pt x="0" y="2"/>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08" name="Freeform 83">
              <a:extLst>
                <a:ext uri="{FF2B5EF4-FFF2-40B4-BE49-F238E27FC236}">
                  <a16:creationId xmlns:a16="http://schemas.microsoft.com/office/drawing/2014/main" id="{8497B05E-44CF-41D8-A558-DE69556E3848}"/>
                </a:ext>
              </a:extLst>
            </p:cNvPr>
            <p:cNvSpPr>
              <a:spLocks/>
            </p:cNvSpPr>
            <p:nvPr/>
          </p:nvSpPr>
          <p:spPr bwMode="gray">
            <a:xfrm>
              <a:off x="12809538" y="1117600"/>
              <a:ext cx="11113" cy="11113"/>
            </a:xfrm>
            <a:custGeom>
              <a:avLst/>
              <a:gdLst>
                <a:gd name="T0" fmla="*/ 0 w 7"/>
                <a:gd name="T1" fmla="*/ 7 h 7"/>
                <a:gd name="T2" fmla="*/ 0 w 7"/>
                <a:gd name="T3" fmla="*/ 0 h 7"/>
                <a:gd name="T4" fmla="*/ 7 w 7"/>
                <a:gd name="T5" fmla="*/ 0 h 7"/>
                <a:gd name="T6" fmla="*/ 0 w 7"/>
                <a:gd name="T7" fmla="*/ 7 h 7"/>
                <a:gd name="T8" fmla="*/ 0 w 7"/>
                <a:gd name="T9" fmla="*/ 7 h 7"/>
                <a:gd name="T10" fmla="*/ 0 w 7"/>
                <a:gd name="T11" fmla="*/ 7 h 7"/>
                <a:gd name="T12" fmla="*/ 0 w 7"/>
                <a:gd name="T13" fmla="*/ 7 h 7"/>
                <a:gd name="T14" fmla="*/ 0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0" y="7"/>
                  </a:moveTo>
                  <a:lnTo>
                    <a:pt x="0" y="0"/>
                  </a:lnTo>
                  <a:lnTo>
                    <a:pt x="7" y="0"/>
                  </a:lnTo>
                  <a:lnTo>
                    <a:pt x="0" y="7"/>
                  </a:lnTo>
                  <a:lnTo>
                    <a:pt x="0" y="7"/>
                  </a:lnTo>
                  <a:lnTo>
                    <a:pt x="0" y="7"/>
                  </a:lnTo>
                  <a:lnTo>
                    <a:pt x="0" y="7"/>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09" name="Freeform 84">
              <a:extLst>
                <a:ext uri="{FF2B5EF4-FFF2-40B4-BE49-F238E27FC236}">
                  <a16:creationId xmlns:a16="http://schemas.microsoft.com/office/drawing/2014/main" id="{DB672170-3044-4F06-8E95-8CF9C5DA60E8}"/>
                </a:ext>
              </a:extLst>
            </p:cNvPr>
            <p:cNvSpPr>
              <a:spLocks/>
            </p:cNvSpPr>
            <p:nvPr/>
          </p:nvSpPr>
          <p:spPr bwMode="gray">
            <a:xfrm>
              <a:off x="12787313" y="1117600"/>
              <a:ext cx="22225" cy="14288"/>
            </a:xfrm>
            <a:custGeom>
              <a:avLst/>
              <a:gdLst>
                <a:gd name="T0" fmla="*/ 7 w 14"/>
                <a:gd name="T1" fmla="*/ 9 h 9"/>
                <a:gd name="T2" fmla="*/ 0 w 14"/>
                <a:gd name="T3" fmla="*/ 7 h 9"/>
                <a:gd name="T4" fmla="*/ 2 w 14"/>
                <a:gd name="T5" fmla="*/ 0 h 9"/>
                <a:gd name="T6" fmla="*/ 14 w 14"/>
                <a:gd name="T7" fmla="*/ 7 h 9"/>
                <a:gd name="T8" fmla="*/ 7 w 14"/>
                <a:gd name="T9" fmla="*/ 9 h 9"/>
                <a:gd name="T10" fmla="*/ 7 w 14"/>
                <a:gd name="T11" fmla="*/ 9 h 9"/>
                <a:gd name="T12" fmla="*/ 7 w 14"/>
                <a:gd name="T13" fmla="*/ 9 h 9"/>
                <a:gd name="T14" fmla="*/ 7 w 14"/>
                <a:gd name="T15" fmla="*/ 9 h 9"/>
                <a:gd name="T16" fmla="*/ 7 w 14"/>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9">
                  <a:moveTo>
                    <a:pt x="7" y="9"/>
                  </a:moveTo>
                  <a:lnTo>
                    <a:pt x="0" y="7"/>
                  </a:lnTo>
                  <a:lnTo>
                    <a:pt x="2" y="0"/>
                  </a:lnTo>
                  <a:lnTo>
                    <a:pt x="14" y="7"/>
                  </a:lnTo>
                  <a:lnTo>
                    <a:pt x="7" y="9"/>
                  </a:lnTo>
                  <a:lnTo>
                    <a:pt x="7" y="9"/>
                  </a:lnTo>
                  <a:lnTo>
                    <a:pt x="7" y="9"/>
                  </a:lnTo>
                  <a:lnTo>
                    <a:pt x="7" y="9"/>
                  </a:ln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10" name="Freeform 85">
              <a:extLst>
                <a:ext uri="{FF2B5EF4-FFF2-40B4-BE49-F238E27FC236}">
                  <a16:creationId xmlns:a16="http://schemas.microsoft.com/office/drawing/2014/main" id="{E28EC14B-4246-4A9C-A4A8-CCF863C3A0F9}"/>
                </a:ext>
              </a:extLst>
            </p:cNvPr>
            <p:cNvSpPr>
              <a:spLocks/>
            </p:cNvSpPr>
            <p:nvPr/>
          </p:nvSpPr>
          <p:spPr bwMode="gray">
            <a:xfrm>
              <a:off x="12820650" y="1128713"/>
              <a:ext cx="4763" cy="3175"/>
            </a:xfrm>
            <a:custGeom>
              <a:avLst/>
              <a:gdLst>
                <a:gd name="T0" fmla="*/ 0 w 3"/>
                <a:gd name="T1" fmla="*/ 2 h 2"/>
                <a:gd name="T2" fmla="*/ 0 w 3"/>
                <a:gd name="T3" fmla="*/ 0 h 2"/>
                <a:gd name="T4" fmla="*/ 3 w 3"/>
                <a:gd name="T5" fmla="*/ 0 h 2"/>
                <a:gd name="T6" fmla="*/ 0 w 3"/>
                <a:gd name="T7" fmla="*/ 2 h 2"/>
                <a:gd name="T8" fmla="*/ 0 w 3"/>
                <a:gd name="T9" fmla="*/ 2 h 2"/>
                <a:gd name="T10" fmla="*/ 0 w 3"/>
                <a:gd name="T11" fmla="*/ 2 h 2"/>
                <a:gd name="T12" fmla="*/ 0 w 3"/>
                <a:gd name="T13" fmla="*/ 2 h 2"/>
                <a:gd name="T14" fmla="*/ 0 w 3"/>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0" y="2"/>
                  </a:moveTo>
                  <a:lnTo>
                    <a:pt x="0" y="0"/>
                  </a:lnTo>
                  <a:lnTo>
                    <a:pt x="3" y="0"/>
                  </a:lnTo>
                  <a:lnTo>
                    <a:pt x="0" y="2"/>
                  </a:lnTo>
                  <a:lnTo>
                    <a:pt x="0" y="2"/>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11" name="Freeform 86">
              <a:extLst>
                <a:ext uri="{FF2B5EF4-FFF2-40B4-BE49-F238E27FC236}">
                  <a16:creationId xmlns:a16="http://schemas.microsoft.com/office/drawing/2014/main" id="{B5CBD531-894E-40C2-AFFC-06710162A621}"/>
                </a:ext>
              </a:extLst>
            </p:cNvPr>
            <p:cNvSpPr>
              <a:spLocks/>
            </p:cNvSpPr>
            <p:nvPr/>
          </p:nvSpPr>
          <p:spPr bwMode="gray">
            <a:xfrm>
              <a:off x="12704763" y="1131888"/>
              <a:ext cx="79375" cy="52388"/>
            </a:xfrm>
            <a:custGeom>
              <a:avLst/>
              <a:gdLst>
                <a:gd name="T0" fmla="*/ 21 w 50"/>
                <a:gd name="T1" fmla="*/ 17 h 33"/>
                <a:gd name="T2" fmla="*/ 26 w 50"/>
                <a:gd name="T3" fmla="*/ 15 h 33"/>
                <a:gd name="T4" fmla="*/ 31 w 50"/>
                <a:gd name="T5" fmla="*/ 15 h 33"/>
                <a:gd name="T6" fmla="*/ 21 w 50"/>
                <a:gd name="T7" fmla="*/ 10 h 33"/>
                <a:gd name="T8" fmla="*/ 26 w 50"/>
                <a:gd name="T9" fmla="*/ 5 h 33"/>
                <a:gd name="T10" fmla="*/ 36 w 50"/>
                <a:gd name="T11" fmla="*/ 0 h 33"/>
                <a:gd name="T12" fmla="*/ 36 w 50"/>
                <a:gd name="T13" fmla="*/ 8 h 33"/>
                <a:gd name="T14" fmla="*/ 45 w 50"/>
                <a:gd name="T15" fmla="*/ 0 h 33"/>
                <a:gd name="T16" fmla="*/ 50 w 50"/>
                <a:gd name="T17" fmla="*/ 5 h 33"/>
                <a:gd name="T18" fmla="*/ 38 w 50"/>
                <a:gd name="T19" fmla="*/ 15 h 33"/>
                <a:gd name="T20" fmla="*/ 45 w 50"/>
                <a:gd name="T21" fmla="*/ 10 h 33"/>
                <a:gd name="T22" fmla="*/ 45 w 50"/>
                <a:gd name="T23" fmla="*/ 15 h 33"/>
                <a:gd name="T24" fmla="*/ 38 w 50"/>
                <a:gd name="T25" fmla="*/ 17 h 33"/>
                <a:gd name="T26" fmla="*/ 31 w 50"/>
                <a:gd name="T27" fmla="*/ 24 h 33"/>
                <a:gd name="T28" fmla="*/ 7 w 50"/>
                <a:gd name="T29" fmla="*/ 33 h 33"/>
                <a:gd name="T30" fmla="*/ 0 w 50"/>
                <a:gd name="T31" fmla="*/ 31 h 33"/>
                <a:gd name="T32" fmla="*/ 21 w 50"/>
                <a:gd name="T33" fmla="*/ 24 h 33"/>
                <a:gd name="T34" fmla="*/ 21 w 50"/>
                <a:gd name="T35" fmla="*/ 22 h 33"/>
                <a:gd name="T36" fmla="*/ 21 w 50"/>
                <a:gd name="T37" fmla="*/ 17 h 33"/>
                <a:gd name="T38" fmla="*/ 21 w 50"/>
                <a:gd name="T39" fmla="*/ 17 h 33"/>
                <a:gd name="T40" fmla="*/ 21 w 50"/>
                <a:gd name="T41" fmla="*/ 17 h 33"/>
                <a:gd name="T42" fmla="*/ 21 w 50"/>
                <a:gd name="T43" fmla="*/ 17 h 33"/>
                <a:gd name="T44" fmla="*/ 21 w 50"/>
                <a:gd name="T45" fmla="*/ 17 h 33"/>
                <a:gd name="T46" fmla="*/ 21 w 50"/>
                <a:gd name="T47"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33">
                  <a:moveTo>
                    <a:pt x="21" y="17"/>
                  </a:moveTo>
                  <a:lnTo>
                    <a:pt x="26" y="15"/>
                  </a:lnTo>
                  <a:lnTo>
                    <a:pt x="31" y="15"/>
                  </a:lnTo>
                  <a:lnTo>
                    <a:pt x="21" y="10"/>
                  </a:lnTo>
                  <a:lnTo>
                    <a:pt x="26" y="5"/>
                  </a:lnTo>
                  <a:lnTo>
                    <a:pt x="36" y="0"/>
                  </a:lnTo>
                  <a:lnTo>
                    <a:pt x="36" y="8"/>
                  </a:lnTo>
                  <a:lnTo>
                    <a:pt x="45" y="0"/>
                  </a:lnTo>
                  <a:lnTo>
                    <a:pt x="50" y="5"/>
                  </a:lnTo>
                  <a:lnTo>
                    <a:pt x="38" y="15"/>
                  </a:lnTo>
                  <a:lnTo>
                    <a:pt x="45" y="10"/>
                  </a:lnTo>
                  <a:lnTo>
                    <a:pt x="45" y="15"/>
                  </a:lnTo>
                  <a:lnTo>
                    <a:pt x="38" y="17"/>
                  </a:lnTo>
                  <a:lnTo>
                    <a:pt x="31" y="24"/>
                  </a:lnTo>
                  <a:lnTo>
                    <a:pt x="7" y="33"/>
                  </a:lnTo>
                  <a:lnTo>
                    <a:pt x="0" y="31"/>
                  </a:lnTo>
                  <a:lnTo>
                    <a:pt x="21" y="24"/>
                  </a:lnTo>
                  <a:lnTo>
                    <a:pt x="21" y="22"/>
                  </a:lnTo>
                  <a:lnTo>
                    <a:pt x="21" y="17"/>
                  </a:lnTo>
                  <a:lnTo>
                    <a:pt x="21" y="17"/>
                  </a:lnTo>
                  <a:lnTo>
                    <a:pt x="21" y="17"/>
                  </a:lnTo>
                  <a:lnTo>
                    <a:pt x="21" y="17"/>
                  </a:lnTo>
                  <a:lnTo>
                    <a:pt x="21" y="17"/>
                  </a:lnTo>
                  <a:lnTo>
                    <a:pt x="21"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12" name="Freeform 87">
              <a:extLst>
                <a:ext uri="{FF2B5EF4-FFF2-40B4-BE49-F238E27FC236}">
                  <a16:creationId xmlns:a16="http://schemas.microsoft.com/office/drawing/2014/main" id="{9F1D5C9D-AD1B-4829-B2DE-C8CF7C5613E8}"/>
                </a:ext>
              </a:extLst>
            </p:cNvPr>
            <p:cNvSpPr>
              <a:spLocks/>
            </p:cNvSpPr>
            <p:nvPr/>
          </p:nvSpPr>
          <p:spPr bwMode="gray">
            <a:xfrm>
              <a:off x="12776200" y="1144588"/>
              <a:ext cx="11113" cy="11113"/>
            </a:xfrm>
            <a:custGeom>
              <a:avLst/>
              <a:gdLst>
                <a:gd name="T0" fmla="*/ 5 w 7"/>
                <a:gd name="T1" fmla="*/ 7 h 7"/>
                <a:gd name="T2" fmla="*/ 0 w 7"/>
                <a:gd name="T3" fmla="*/ 2 h 7"/>
                <a:gd name="T4" fmla="*/ 7 w 7"/>
                <a:gd name="T5" fmla="*/ 0 h 7"/>
                <a:gd name="T6" fmla="*/ 5 w 7"/>
                <a:gd name="T7" fmla="*/ 7 h 7"/>
                <a:gd name="T8" fmla="*/ 5 w 7"/>
                <a:gd name="T9" fmla="*/ 7 h 7"/>
                <a:gd name="T10" fmla="*/ 5 w 7"/>
                <a:gd name="T11" fmla="*/ 7 h 7"/>
                <a:gd name="T12" fmla="*/ 5 w 7"/>
                <a:gd name="T13" fmla="*/ 7 h 7"/>
                <a:gd name="T14" fmla="*/ 5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5" y="7"/>
                  </a:moveTo>
                  <a:lnTo>
                    <a:pt x="0" y="2"/>
                  </a:lnTo>
                  <a:lnTo>
                    <a:pt x="7" y="0"/>
                  </a:lnTo>
                  <a:lnTo>
                    <a:pt x="5" y="7"/>
                  </a:lnTo>
                  <a:lnTo>
                    <a:pt x="5" y="7"/>
                  </a:lnTo>
                  <a:lnTo>
                    <a:pt x="5" y="7"/>
                  </a:lnTo>
                  <a:lnTo>
                    <a:pt x="5" y="7"/>
                  </a:ln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13" name="Freeform 88">
              <a:extLst>
                <a:ext uri="{FF2B5EF4-FFF2-40B4-BE49-F238E27FC236}">
                  <a16:creationId xmlns:a16="http://schemas.microsoft.com/office/drawing/2014/main" id="{3288F45F-9809-4ABA-879A-42DB225CEC5E}"/>
                </a:ext>
              </a:extLst>
            </p:cNvPr>
            <p:cNvSpPr>
              <a:spLocks/>
            </p:cNvSpPr>
            <p:nvPr/>
          </p:nvSpPr>
          <p:spPr bwMode="gray">
            <a:xfrm>
              <a:off x="12649200" y="1166813"/>
              <a:ext cx="63500" cy="47625"/>
            </a:xfrm>
            <a:custGeom>
              <a:avLst/>
              <a:gdLst>
                <a:gd name="T0" fmla="*/ 40 w 40"/>
                <a:gd name="T1" fmla="*/ 2 h 30"/>
                <a:gd name="T2" fmla="*/ 35 w 40"/>
                <a:gd name="T3" fmla="*/ 7 h 30"/>
                <a:gd name="T4" fmla="*/ 21 w 40"/>
                <a:gd name="T5" fmla="*/ 11 h 30"/>
                <a:gd name="T6" fmla="*/ 16 w 40"/>
                <a:gd name="T7" fmla="*/ 19 h 30"/>
                <a:gd name="T8" fmla="*/ 0 w 40"/>
                <a:gd name="T9" fmla="*/ 30 h 30"/>
                <a:gd name="T10" fmla="*/ 7 w 40"/>
                <a:gd name="T11" fmla="*/ 23 h 30"/>
                <a:gd name="T12" fmla="*/ 7 w 40"/>
                <a:gd name="T13" fmla="*/ 16 h 30"/>
                <a:gd name="T14" fmla="*/ 14 w 40"/>
                <a:gd name="T15" fmla="*/ 9 h 30"/>
                <a:gd name="T16" fmla="*/ 19 w 40"/>
                <a:gd name="T17" fmla="*/ 9 h 30"/>
                <a:gd name="T18" fmla="*/ 19 w 40"/>
                <a:gd name="T19" fmla="*/ 7 h 30"/>
                <a:gd name="T20" fmla="*/ 19 w 40"/>
                <a:gd name="T21" fmla="*/ 2 h 30"/>
                <a:gd name="T22" fmla="*/ 33 w 40"/>
                <a:gd name="T23" fmla="*/ 0 h 30"/>
                <a:gd name="T24" fmla="*/ 40 w 40"/>
                <a:gd name="T25" fmla="*/ 2 h 30"/>
                <a:gd name="T26" fmla="*/ 40 w 40"/>
                <a:gd name="T27" fmla="*/ 2 h 30"/>
                <a:gd name="T28" fmla="*/ 40 w 40"/>
                <a:gd name="T29" fmla="*/ 2 h 30"/>
                <a:gd name="T30" fmla="*/ 40 w 40"/>
                <a:gd name="T31" fmla="*/ 2 h 30"/>
                <a:gd name="T32" fmla="*/ 40 w 40"/>
                <a:gd name="T33"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2"/>
                  </a:moveTo>
                  <a:lnTo>
                    <a:pt x="35" y="7"/>
                  </a:lnTo>
                  <a:lnTo>
                    <a:pt x="21" y="11"/>
                  </a:lnTo>
                  <a:lnTo>
                    <a:pt x="16" y="19"/>
                  </a:lnTo>
                  <a:lnTo>
                    <a:pt x="0" y="30"/>
                  </a:lnTo>
                  <a:lnTo>
                    <a:pt x="7" y="23"/>
                  </a:lnTo>
                  <a:lnTo>
                    <a:pt x="7" y="16"/>
                  </a:lnTo>
                  <a:lnTo>
                    <a:pt x="14" y="9"/>
                  </a:lnTo>
                  <a:lnTo>
                    <a:pt x="19" y="9"/>
                  </a:lnTo>
                  <a:lnTo>
                    <a:pt x="19" y="7"/>
                  </a:lnTo>
                  <a:lnTo>
                    <a:pt x="19" y="2"/>
                  </a:lnTo>
                  <a:lnTo>
                    <a:pt x="33" y="0"/>
                  </a:lnTo>
                  <a:lnTo>
                    <a:pt x="40" y="2"/>
                  </a:lnTo>
                  <a:lnTo>
                    <a:pt x="40" y="2"/>
                  </a:lnTo>
                  <a:lnTo>
                    <a:pt x="40" y="2"/>
                  </a:lnTo>
                  <a:lnTo>
                    <a:pt x="40" y="2"/>
                  </a:lnTo>
                  <a:lnTo>
                    <a:pt x="4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14" name="Freeform 89">
              <a:extLst>
                <a:ext uri="{FF2B5EF4-FFF2-40B4-BE49-F238E27FC236}">
                  <a16:creationId xmlns:a16="http://schemas.microsoft.com/office/drawing/2014/main" id="{68EE2697-D388-43D6-AC9D-9768AAC92279}"/>
                </a:ext>
              </a:extLst>
            </p:cNvPr>
            <p:cNvSpPr>
              <a:spLocks/>
            </p:cNvSpPr>
            <p:nvPr/>
          </p:nvSpPr>
          <p:spPr bwMode="gray">
            <a:xfrm>
              <a:off x="12619038" y="1196975"/>
              <a:ext cx="0" cy="6350"/>
            </a:xfrm>
            <a:custGeom>
              <a:avLst/>
              <a:gdLst>
                <a:gd name="T0" fmla="*/ 4 h 4"/>
                <a:gd name="T1" fmla="*/ 0 h 4"/>
                <a:gd name="T2" fmla="*/ 4 h 4"/>
                <a:gd name="T3" fmla="*/ 4 h 4"/>
                <a:gd name="T4" fmla="*/ 4 h 4"/>
                <a:gd name="T5" fmla="*/ 4 h 4"/>
                <a:gd name="T6" fmla="*/ 4 h 4"/>
              </a:gdLst>
              <a:ahLst/>
              <a:cxnLst>
                <a:cxn ang="0">
                  <a:pos x="0" y="T0"/>
                </a:cxn>
                <a:cxn ang="0">
                  <a:pos x="0" y="T1"/>
                </a:cxn>
                <a:cxn ang="0">
                  <a:pos x="0" y="T2"/>
                </a:cxn>
                <a:cxn ang="0">
                  <a:pos x="0" y="T3"/>
                </a:cxn>
                <a:cxn ang="0">
                  <a:pos x="0" y="T4"/>
                </a:cxn>
                <a:cxn ang="0">
                  <a:pos x="0" y="T5"/>
                </a:cxn>
                <a:cxn ang="0">
                  <a:pos x="0" y="T6"/>
                </a:cxn>
              </a:cxnLst>
              <a:rect l="0" t="0" r="r" b="b"/>
              <a:pathLst>
                <a:path h="4">
                  <a:moveTo>
                    <a:pt x="0" y="4"/>
                  </a:moveTo>
                  <a:lnTo>
                    <a:pt x="0" y="0"/>
                  </a:lnTo>
                  <a:lnTo>
                    <a:pt x="0" y="4"/>
                  </a:lnTo>
                  <a:lnTo>
                    <a:pt x="0" y="4"/>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15" name="Freeform 90">
              <a:extLst>
                <a:ext uri="{FF2B5EF4-FFF2-40B4-BE49-F238E27FC236}">
                  <a16:creationId xmlns:a16="http://schemas.microsoft.com/office/drawing/2014/main" id="{70CAB0DD-2D08-4F96-A820-62F7563AF74A}"/>
                </a:ext>
              </a:extLst>
            </p:cNvPr>
            <p:cNvSpPr>
              <a:spLocks/>
            </p:cNvSpPr>
            <p:nvPr/>
          </p:nvSpPr>
          <p:spPr bwMode="gray">
            <a:xfrm>
              <a:off x="12611100" y="1203325"/>
              <a:ext cx="7938" cy="11113"/>
            </a:xfrm>
            <a:custGeom>
              <a:avLst/>
              <a:gdLst>
                <a:gd name="T0" fmla="*/ 0 w 5"/>
                <a:gd name="T1" fmla="*/ 7 h 7"/>
                <a:gd name="T2" fmla="*/ 5 w 5"/>
                <a:gd name="T3" fmla="*/ 0 h 7"/>
                <a:gd name="T4" fmla="*/ 5 w 5"/>
                <a:gd name="T5" fmla="*/ 7 h 7"/>
                <a:gd name="T6" fmla="*/ 0 w 5"/>
                <a:gd name="T7" fmla="*/ 7 h 7"/>
                <a:gd name="T8" fmla="*/ 0 w 5"/>
                <a:gd name="T9" fmla="*/ 7 h 7"/>
                <a:gd name="T10" fmla="*/ 0 w 5"/>
                <a:gd name="T11" fmla="*/ 7 h 7"/>
                <a:gd name="T12" fmla="*/ 0 w 5"/>
                <a:gd name="T13" fmla="*/ 7 h 7"/>
                <a:gd name="T14" fmla="*/ 0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0" y="7"/>
                  </a:moveTo>
                  <a:lnTo>
                    <a:pt x="5" y="0"/>
                  </a:lnTo>
                  <a:lnTo>
                    <a:pt x="5" y="7"/>
                  </a:lnTo>
                  <a:lnTo>
                    <a:pt x="0" y="7"/>
                  </a:lnTo>
                  <a:lnTo>
                    <a:pt x="0" y="7"/>
                  </a:lnTo>
                  <a:lnTo>
                    <a:pt x="0" y="7"/>
                  </a:lnTo>
                  <a:lnTo>
                    <a:pt x="0" y="7"/>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16" name="Freeform 91">
              <a:extLst>
                <a:ext uri="{FF2B5EF4-FFF2-40B4-BE49-F238E27FC236}">
                  <a16:creationId xmlns:a16="http://schemas.microsoft.com/office/drawing/2014/main" id="{244934F5-6592-412E-8386-9158C7CAAF39}"/>
                </a:ext>
              </a:extLst>
            </p:cNvPr>
            <p:cNvSpPr>
              <a:spLocks/>
            </p:cNvSpPr>
            <p:nvPr/>
          </p:nvSpPr>
          <p:spPr bwMode="gray">
            <a:xfrm>
              <a:off x="12599988" y="1214438"/>
              <a:ext cx="4763" cy="0"/>
            </a:xfrm>
            <a:custGeom>
              <a:avLst/>
              <a:gdLst>
                <a:gd name="T0" fmla="*/ 0 w 3"/>
                <a:gd name="T1" fmla="*/ 0 w 3"/>
                <a:gd name="T2" fmla="*/ 3 w 3"/>
                <a:gd name="T3" fmla="*/ 0 w 3"/>
                <a:gd name="T4" fmla="*/ 0 w 3"/>
                <a:gd name="T5" fmla="*/ 0 w 3"/>
                <a:gd name="T6" fmla="*/ 0 w 3"/>
                <a:gd name="T7" fmla="*/ 0 w 3"/>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3">
                  <a:moveTo>
                    <a:pt x="0" y="0"/>
                  </a:moveTo>
                  <a:lnTo>
                    <a:pt x="0" y="0"/>
                  </a:lnTo>
                  <a:lnTo>
                    <a:pt x="3"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17" name="Freeform 92">
              <a:extLst>
                <a:ext uri="{FF2B5EF4-FFF2-40B4-BE49-F238E27FC236}">
                  <a16:creationId xmlns:a16="http://schemas.microsoft.com/office/drawing/2014/main" id="{DA1B90D2-FC47-45D3-AAFB-8E80E87722D2}"/>
                </a:ext>
              </a:extLst>
            </p:cNvPr>
            <p:cNvSpPr>
              <a:spLocks/>
            </p:cNvSpPr>
            <p:nvPr/>
          </p:nvSpPr>
          <p:spPr bwMode="gray">
            <a:xfrm>
              <a:off x="12569825" y="1219200"/>
              <a:ext cx="7938" cy="6350"/>
            </a:xfrm>
            <a:custGeom>
              <a:avLst/>
              <a:gdLst>
                <a:gd name="T0" fmla="*/ 0 w 5"/>
                <a:gd name="T1" fmla="*/ 4 h 4"/>
                <a:gd name="T2" fmla="*/ 3 w 5"/>
                <a:gd name="T3" fmla="*/ 0 h 4"/>
                <a:gd name="T4" fmla="*/ 5 w 5"/>
                <a:gd name="T5" fmla="*/ 0 h 4"/>
                <a:gd name="T6" fmla="*/ 0 w 5"/>
                <a:gd name="T7" fmla="*/ 4 h 4"/>
                <a:gd name="T8" fmla="*/ 0 w 5"/>
                <a:gd name="T9" fmla="*/ 4 h 4"/>
                <a:gd name="T10" fmla="*/ 0 w 5"/>
                <a:gd name="T11" fmla="*/ 4 h 4"/>
                <a:gd name="T12" fmla="*/ 0 w 5"/>
                <a:gd name="T13" fmla="*/ 4 h 4"/>
                <a:gd name="T14" fmla="*/ 0 w 5"/>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0" y="4"/>
                  </a:moveTo>
                  <a:lnTo>
                    <a:pt x="3" y="0"/>
                  </a:lnTo>
                  <a:lnTo>
                    <a:pt x="5" y="0"/>
                  </a:lnTo>
                  <a:lnTo>
                    <a:pt x="0" y="4"/>
                  </a:lnTo>
                  <a:lnTo>
                    <a:pt x="0" y="4"/>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18" name="Freeform 93">
              <a:extLst>
                <a:ext uri="{FF2B5EF4-FFF2-40B4-BE49-F238E27FC236}">
                  <a16:creationId xmlns:a16="http://schemas.microsoft.com/office/drawing/2014/main" id="{19601A4A-E713-43DD-A951-CAD389485D06}"/>
                </a:ext>
              </a:extLst>
            </p:cNvPr>
            <p:cNvSpPr>
              <a:spLocks/>
            </p:cNvSpPr>
            <p:nvPr/>
          </p:nvSpPr>
          <p:spPr bwMode="gray">
            <a:xfrm>
              <a:off x="12360275" y="1238250"/>
              <a:ext cx="60325" cy="25400"/>
            </a:xfrm>
            <a:custGeom>
              <a:avLst/>
              <a:gdLst>
                <a:gd name="T0" fmla="*/ 28 w 38"/>
                <a:gd name="T1" fmla="*/ 11 h 16"/>
                <a:gd name="T2" fmla="*/ 0 w 38"/>
                <a:gd name="T3" fmla="*/ 16 h 16"/>
                <a:gd name="T4" fmla="*/ 31 w 38"/>
                <a:gd name="T5" fmla="*/ 7 h 16"/>
                <a:gd name="T6" fmla="*/ 24 w 38"/>
                <a:gd name="T7" fmla="*/ 2 h 16"/>
                <a:gd name="T8" fmla="*/ 31 w 38"/>
                <a:gd name="T9" fmla="*/ 0 h 16"/>
                <a:gd name="T10" fmla="*/ 38 w 38"/>
                <a:gd name="T11" fmla="*/ 2 h 16"/>
                <a:gd name="T12" fmla="*/ 36 w 38"/>
                <a:gd name="T13" fmla="*/ 9 h 16"/>
                <a:gd name="T14" fmla="*/ 28 w 38"/>
                <a:gd name="T15" fmla="*/ 11 h 16"/>
                <a:gd name="T16" fmla="*/ 28 w 38"/>
                <a:gd name="T17" fmla="*/ 11 h 16"/>
                <a:gd name="T18" fmla="*/ 28 w 38"/>
                <a:gd name="T19" fmla="*/ 11 h 16"/>
                <a:gd name="T20" fmla="*/ 28 w 38"/>
                <a:gd name="T21" fmla="*/ 11 h 16"/>
                <a:gd name="T22" fmla="*/ 28 w 38"/>
                <a:gd name="T23"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6">
                  <a:moveTo>
                    <a:pt x="28" y="11"/>
                  </a:moveTo>
                  <a:lnTo>
                    <a:pt x="0" y="16"/>
                  </a:lnTo>
                  <a:lnTo>
                    <a:pt x="31" y="7"/>
                  </a:lnTo>
                  <a:lnTo>
                    <a:pt x="24" y="2"/>
                  </a:lnTo>
                  <a:lnTo>
                    <a:pt x="31" y="0"/>
                  </a:lnTo>
                  <a:lnTo>
                    <a:pt x="38" y="2"/>
                  </a:lnTo>
                  <a:lnTo>
                    <a:pt x="36" y="9"/>
                  </a:lnTo>
                  <a:lnTo>
                    <a:pt x="28" y="11"/>
                  </a:lnTo>
                  <a:lnTo>
                    <a:pt x="28" y="11"/>
                  </a:lnTo>
                  <a:lnTo>
                    <a:pt x="28" y="11"/>
                  </a:lnTo>
                  <a:lnTo>
                    <a:pt x="28" y="11"/>
                  </a:lnTo>
                  <a:lnTo>
                    <a:pt x="28"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19" name="Freeform 94">
              <a:extLst>
                <a:ext uri="{FF2B5EF4-FFF2-40B4-BE49-F238E27FC236}">
                  <a16:creationId xmlns:a16="http://schemas.microsoft.com/office/drawing/2014/main" id="{EBD6DA95-62D7-4DE6-88E2-23C5F250E22F}"/>
                </a:ext>
              </a:extLst>
            </p:cNvPr>
            <p:cNvSpPr>
              <a:spLocks/>
            </p:cNvSpPr>
            <p:nvPr/>
          </p:nvSpPr>
          <p:spPr bwMode="gray">
            <a:xfrm>
              <a:off x="12487275" y="1238250"/>
              <a:ext cx="15875" cy="11113"/>
            </a:xfrm>
            <a:custGeom>
              <a:avLst/>
              <a:gdLst>
                <a:gd name="T0" fmla="*/ 3 w 10"/>
                <a:gd name="T1" fmla="*/ 7 h 7"/>
                <a:gd name="T2" fmla="*/ 0 w 10"/>
                <a:gd name="T3" fmla="*/ 7 h 7"/>
                <a:gd name="T4" fmla="*/ 3 w 10"/>
                <a:gd name="T5" fmla="*/ 0 h 7"/>
                <a:gd name="T6" fmla="*/ 10 w 10"/>
                <a:gd name="T7" fmla="*/ 2 h 7"/>
                <a:gd name="T8" fmla="*/ 3 w 10"/>
                <a:gd name="T9" fmla="*/ 7 h 7"/>
                <a:gd name="T10" fmla="*/ 3 w 10"/>
                <a:gd name="T11" fmla="*/ 7 h 7"/>
                <a:gd name="T12" fmla="*/ 3 w 10"/>
                <a:gd name="T13" fmla="*/ 7 h 7"/>
                <a:gd name="T14" fmla="*/ 3 w 10"/>
                <a:gd name="T15" fmla="*/ 7 h 7"/>
                <a:gd name="T16" fmla="*/ 3 w 10"/>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7">
                  <a:moveTo>
                    <a:pt x="3" y="7"/>
                  </a:moveTo>
                  <a:lnTo>
                    <a:pt x="0" y="7"/>
                  </a:lnTo>
                  <a:lnTo>
                    <a:pt x="3" y="0"/>
                  </a:lnTo>
                  <a:lnTo>
                    <a:pt x="10" y="2"/>
                  </a:lnTo>
                  <a:lnTo>
                    <a:pt x="3" y="7"/>
                  </a:lnTo>
                  <a:lnTo>
                    <a:pt x="3" y="7"/>
                  </a:lnTo>
                  <a:lnTo>
                    <a:pt x="3" y="7"/>
                  </a:lnTo>
                  <a:lnTo>
                    <a:pt x="3" y="7"/>
                  </a:lnTo>
                  <a:lnTo>
                    <a:pt x="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20" name="Freeform 95">
              <a:extLst>
                <a:ext uri="{FF2B5EF4-FFF2-40B4-BE49-F238E27FC236}">
                  <a16:creationId xmlns:a16="http://schemas.microsoft.com/office/drawing/2014/main" id="{8F2E94B4-329E-45CA-A3A6-B3317A1DFA41}"/>
                </a:ext>
              </a:extLst>
            </p:cNvPr>
            <p:cNvSpPr>
              <a:spLocks/>
            </p:cNvSpPr>
            <p:nvPr/>
          </p:nvSpPr>
          <p:spPr bwMode="gray">
            <a:xfrm>
              <a:off x="12420600" y="1252538"/>
              <a:ext cx="52388" cy="11113"/>
            </a:xfrm>
            <a:custGeom>
              <a:avLst/>
              <a:gdLst>
                <a:gd name="T0" fmla="*/ 16 w 33"/>
                <a:gd name="T1" fmla="*/ 7 h 7"/>
                <a:gd name="T2" fmla="*/ 0 w 33"/>
                <a:gd name="T3" fmla="*/ 0 h 7"/>
                <a:gd name="T4" fmla="*/ 33 w 33"/>
                <a:gd name="T5" fmla="*/ 2 h 7"/>
                <a:gd name="T6" fmla="*/ 16 w 33"/>
                <a:gd name="T7" fmla="*/ 7 h 7"/>
                <a:gd name="T8" fmla="*/ 16 w 33"/>
                <a:gd name="T9" fmla="*/ 7 h 7"/>
                <a:gd name="T10" fmla="*/ 16 w 33"/>
                <a:gd name="T11" fmla="*/ 7 h 7"/>
                <a:gd name="T12" fmla="*/ 16 w 33"/>
                <a:gd name="T13" fmla="*/ 7 h 7"/>
                <a:gd name="T14" fmla="*/ 16 w 33"/>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7">
                  <a:moveTo>
                    <a:pt x="16" y="7"/>
                  </a:moveTo>
                  <a:lnTo>
                    <a:pt x="0" y="0"/>
                  </a:lnTo>
                  <a:lnTo>
                    <a:pt x="33" y="2"/>
                  </a:lnTo>
                  <a:lnTo>
                    <a:pt x="16" y="7"/>
                  </a:lnTo>
                  <a:lnTo>
                    <a:pt x="16" y="7"/>
                  </a:lnTo>
                  <a:lnTo>
                    <a:pt x="16" y="7"/>
                  </a:lnTo>
                  <a:lnTo>
                    <a:pt x="16" y="7"/>
                  </a:lnTo>
                  <a:lnTo>
                    <a:pt x="16"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21" name="Freeform 96">
              <a:extLst>
                <a:ext uri="{FF2B5EF4-FFF2-40B4-BE49-F238E27FC236}">
                  <a16:creationId xmlns:a16="http://schemas.microsoft.com/office/drawing/2014/main" id="{6E0C3C6E-B44A-4BD4-9133-9F2EB3F817BC}"/>
                </a:ext>
              </a:extLst>
            </p:cNvPr>
            <p:cNvSpPr>
              <a:spLocks/>
            </p:cNvSpPr>
            <p:nvPr/>
          </p:nvSpPr>
          <p:spPr bwMode="gray">
            <a:xfrm>
              <a:off x="12323763" y="1255713"/>
              <a:ext cx="3175" cy="7938"/>
            </a:xfrm>
            <a:custGeom>
              <a:avLst/>
              <a:gdLst>
                <a:gd name="T0" fmla="*/ 2 w 2"/>
                <a:gd name="T1" fmla="*/ 5 h 5"/>
                <a:gd name="T2" fmla="*/ 0 w 2"/>
                <a:gd name="T3" fmla="*/ 5 h 5"/>
                <a:gd name="T4" fmla="*/ 2 w 2"/>
                <a:gd name="T5" fmla="*/ 0 h 5"/>
                <a:gd name="T6" fmla="*/ 2 w 2"/>
                <a:gd name="T7" fmla="*/ 0 h 5"/>
                <a:gd name="T8" fmla="*/ 2 w 2"/>
                <a:gd name="T9" fmla="*/ 5 h 5"/>
                <a:gd name="T10" fmla="*/ 2 w 2"/>
                <a:gd name="T11" fmla="*/ 5 h 5"/>
                <a:gd name="T12" fmla="*/ 2 w 2"/>
                <a:gd name="T13" fmla="*/ 5 h 5"/>
                <a:gd name="T14" fmla="*/ 2 w 2"/>
                <a:gd name="T15" fmla="*/ 5 h 5"/>
                <a:gd name="T16" fmla="*/ 2 w 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2" y="5"/>
                  </a:moveTo>
                  <a:lnTo>
                    <a:pt x="0" y="5"/>
                  </a:lnTo>
                  <a:lnTo>
                    <a:pt x="2" y="0"/>
                  </a:lnTo>
                  <a:lnTo>
                    <a:pt x="2" y="0"/>
                  </a:lnTo>
                  <a:lnTo>
                    <a:pt x="2" y="5"/>
                  </a:lnTo>
                  <a:lnTo>
                    <a:pt x="2" y="5"/>
                  </a:lnTo>
                  <a:lnTo>
                    <a:pt x="2" y="5"/>
                  </a:lnTo>
                  <a:lnTo>
                    <a:pt x="2"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22" name="Freeform 97">
              <a:extLst>
                <a:ext uri="{FF2B5EF4-FFF2-40B4-BE49-F238E27FC236}">
                  <a16:creationId xmlns:a16="http://schemas.microsoft.com/office/drawing/2014/main" id="{CA2F2467-831B-4304-A91C-EEE7265B0A77}"/>
                </a:ext>
              </a:extLst>
            </p:cNvPr>
            <p:cNvSpPr>
              <a:spLocks/>
            </p:cNvSpPr>
            <p:nvPr/>
          </p:nvSpPr>
          <p:spPr bwMode="gray">
            <a:xfrm>
              <a:off x="12326938" y="1263650"/>
              <a:ext cx="11113" cy="0"/>
            </a:xfrm>
            <a:custGeom>
              <a:avLst/>
              <a:gdLst>
                <a:gd name="T0" fmla="*/ 5 w 7"/>
                <a:gd name="T1" fmla="*/ 0 w 7"/>
                <a:gd name="T2" fmla="*/ 7 w 7"/>
                <a:gd name="T3" fmla="*/ 5 w 7"/>
                <a:gd name="T4" fmla="*/ 5 w 7"/>
                <a:gd name="T5" fmla="*/ 5 w 7"/>
                <a:gd name="T6" fmla="*/ 5 w 7"/>
                <a:gd name="T7" fmla="*/ 5 w 7"/>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7">
                  <a:moveTo>
                    <a:pt x="5" y="0"/>
                  </a:moveTo>
                  <a:lnTo>
                    <a:pt x="0" y="0"/>
                  </a:lnTo>
                  <a:lnTo>
                    <a:pt x="7" y="0"/>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23" name="Freeform 98">
              <a:extLst>
                <a:ext uri="{FF2B5EF4-FFF2-40B4-BE49-F238E27FC236}">
                  <a16:creationId xmlns:a16="http://schemas.microsoft.com/office/drawing/2014/main" id="{3219A64A-0C38-4CD6-B0E5-0AC3A4C9C216}"/>
                </a:ext>
              </a:extLst>
            </p:cNvPr>
            <p:cNvSpPr>
              <a:spLocks/>
            </p:cNvSpPr>
            <p:nvPr/>
          </p:nvSpPr>
          <p:spPr bwMode="gray">
            <a:xfrm>
              <a:off x="12285663" y="1263650"/>
              <a:ext cx="25400" cy="26988"/>
            </a:xfrm>
            <a:custGeom>
              <a:avLst/>
              <a:gdLst>
                <a:gd name="T0" fmla="*/ 0 w 16"/>
                <a:gd name="T1" fmla="*/ 17 h 17"/>
                <a:gd name="T2" fmla="*/ 0 w 16"/>
                <a:gd name="T3" fmla="*/ 14 h 17"/>
                <a:gd name="T4" fmla="*/ 5 w 16"/>
                <a:gd name="T5" fmla="*/ 7 h 17"/>
                <a:gd name="T6" fmla="*/ 5 w 16"/>
                <a:gd name="T7" fmla="*/ 2 h 17"/>
                <a:gd name="T8" fmla="*/ 12 w 16"/>
                <a:gd name="T9" fmla="*/ 0 h 17"/>
                <a:gd name="T10" fmla="*/ 9 w 16"/>
                <a:gd name="T11" fmla="*/ 7 h 17"/>
                <a:gd name="T12" fmla="*/ 16 w 16"/>
                <a:gd name="T13" fmla="*/ 7 h 17"/>
                <a:gd name="T14" fmla="*/ 16 w 16"/>
                <a:gd name="T15" fmla="*/ 9 h 17"/>
                <a:gd name="T16" fmla="*/ 0 w 16"/>
                <a:gd name="T17" fmla="*/ 17 h 17"/>
                <a:gd name="T18" fmla="*/ 0 w 16"/>
                <a:gd name="T19" fmla="*/ 17 h 17"/>
                <a:gd name="T20" fmla="*/ 0 w 16"/>
                <a:gd name="T21" fmla="*/ 17 h 17"/>
                <a:gd name="T22" fmla="*/ 0 w 16"/>
                <a:gd name="T23" fmla="*/ 17 h 17"/>
                <a:gd name="T24" fmla="*/ 0 w 16"/>
                <a:gd name="T25"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7">
                  <a:moveTo>
                    <a:pt x="0" y="17"/>
                  </a:moveTo>
                  <a:lnTo>
                    <a:pt x="0" y="14"/>
                  </a:lnTo>
                  <a:lnTo>
                    <a:pt x="5" y="7"/>
                  </a:lnTo>
                  <a:lnTo>
                    <a:pt x="5" y="2"/>
                  </a:lnTo>
                  <a:lnTo>
                    <a:pt x="12" y="0"/>
                  </a:lnTo>
                  <a:lnTo>
                    <a:pt x="9" y="7"/>
                  </a:lnTo>
                  <a:lnTo>
                    <a:pt x="16" y="7"/>
                  </a:lnTo>
                  <a:lnTo>
                    <a:pt x="16" y="9"/>
                  </a:lnTo>
                  <a:lnTo>
                    <a:pt x="0" y="17"/>
                  </a:lnTo>
                  <a:lnTo>
                    <a:pt x="0" y="17"/>
                  </a:lnTo>
                  <a:lnTo>
                    <a:pt x="0" y="17"/>
                  </a:lnTo>
                  <a:lnTo>
                    <a:pt x="0" y="17"/>
                  </a:lnTo>
                  <a:lnTo>
                    <a:pt x="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24" name="Freeform 99">
              <a:extLst>
                <a:ext uri="{FF2B5EF4-FFF2-40B4-BE49-F238E27FC236}">
                  <a16:creationId xmlns:a16="http://schemas.microsoft.com/office/drawing/2014/main" id="{CCD16EF5-6862-483A-8823-5DE731748099}"/>
                </a:ext>
              </a:extLst>
            </p:cNvPr>
            <p:cNvSpPr>
              <a:spLocks/>
            </p:cNvSpPr>
            <p:nvPr/>
          </p:nvSpPr>
          <p:spPr bwMode="gray">
            <a:xfrm>
              <a:off x="12252325" y="1266825"/>
              <a:ext cx="25400" cy="19050"/>
            </a:xfrm>
            <a:custGeom>
              <a:avLst/>
              <a:gdLst>
                <a:gd name="T0" fmla="*/ 0 w 16"/>
                <a:gd name="T1" fmla="*/ 12 h 12"/>
                <a:gd name="T2" fmla="*/ 0 w 16"/>
                <a:gd name="T3" fmla="*/ 12 h 12"/>
                <a:gd name="T4" fmla="*/ 14 w 16"/>
                <a:gd name="T5" fmla="*/ 5 h 12"/>
                <a:gd name="T6" fmla="*/ 14 w 16"/>
                <a:gd name="T7" fmla="*/ 0 h 12"/>
                <a:gd name="T8" fmla="*/ 16 w 16"/>
                <a:gd name="T9" fmla="*/ 0 h 12"/>
                <a:gd name="T10" fmla="*/ 14 w 16"/>
                <a:gd name="T11" fmla="*/ 12 h 12"/>
                <a:gd name="T12" fmla="*/ 0 w 16"/>
                <a:gd name="T13" fmla="*/ 12 h 12"/>
                <a:gd name="T14" fmla="*/ 0 w 16"/>
                <a:gd name="T15" fmla="*/ 12 h 12"/>
                <a:gd name="T16" fmla="*/ 0 w 16"/>
                <a:gd name="T17" fmla="*/ 12 h 12"/>
                <a:gd name="T18" fmla="*/ 0 w 16"/>
                <a:gd name="T19" fmla="*/ 12 h 12"/>
                <a:gd name="T20" fmla="*/ 0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0" y="12"/>
                  </a:moveTo>
                  <a:lnTo>
                    <a:pt x="0" y="12"/>
                  </a:lnTo>
                  <a:lnTo>
                    <a:pt x="14" y="5"/>
                  </a:lnTo>
                  <a:lnTo>
                    <a:pt x="14" y="0"/>
                  </a:lnTo>
                  <a:lnTo>
                    <a:pt x="16" y="0"/>
                  </a:lnTo>
                  <a:lnTo>
                    <a:pt x="14" y="12"/>
                  </a:lnTo>
                  <a:lnTo>
                    <a:pt x="0" y="12"/>
                  </a:lnTo>
                  <a:lnTo>
                    <a:pt x="0" y="12"/>
                  </a:lnTo>
                  <a:lnTo>
                    <a:pt x="0" y="12"/>
                  </a:lnTo>
                  <a:lnTo>
                    <a:pt x="0" y="12"/>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25" name="Freeform 100">
              <a:extLst>
                <a:ext uri="{FF2B5EF4-FFF2-40B4-BE49-F238E27FC236}">
                  <a16:creationId xmlns:a16="http://schemas.microsoft.com/office/drawing/2014/main" id="{5A30634C-20B1-44FA-A7E7-73B02F67D295}"/>
                </a:ext>
              </a:extLst>
            </p:cNvPr>
            <p:cNvSpPr>
              <a:spLocks/>
            </p:cNvSpPr>
            <p:nvPr/>
          </p:nvSpPr>
          <p:spPr bwMode="gray">
            <a:xfrm>
              <a:off x="12230100" y="1266825"/>
              <a:ext cx="11113" cy="23813"/>
            </a:xfrm>
            <a:custGeom>
              <a:avLst/>
              <a:gdLst>
                <a:gd name="T0" fmla="*/ 7 w 7"/>
                <a:gd name="T1" fmla="*/ 15 h 15"/>
                <a:gd name="T2" fmla="*/ 2 w 7"/>
                <a:gd name="T3" fmla="*/ 12 h 15"/>
                <a:gd name="T4" fmla="*/ 7 w 7"/>
                <a:gd name="T5" fmla="*/ 7 h 15"/>
                <a:gd name="T6" fmla="*/ 0 w 7"/>
                <a:gd name="T7" fmla="*/ 0 h 15"/>
                <a:gd name="T8" fmla="*/ 7 w 7"/>
                <a:gd name="T9" fmla="*/ 0 h 15"/>
                <a:gd name="T10" fmla="*/ 7 w 7"/>
                <a:gd name="T11" fmla="*/ 5 h 15"/>
                <a:gd name="T12" fmla="*/ 7 w 7"/>
                <a:gd name="T13" fmla="*/ 15 h 15"/>
                <a:gd name="T14" fmla="*/ 7 w 7"/>
                <a:gd name="T15" fmla="*/ 15 h 15"/>
                <a:gd name="T16" fmla="*/ 7 w 7"/>
                <a:gd name="T17" fmla="*/ 15 h 15"/>
                <a:gd name="T18" fmla="*/ 7 w 7"/>
                <a:gd name="T19" fmla="*/ 15 h 15"/>
                <a:gd name="T20" fmla="*/ 7 w 7"/>
                <a:gd name="T2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5">
                  <a:moveTo>
                    <a:pt x="7" y="15"/>
                  </a:moveTo>
                  <a:lnTo>
                    <a:pt x="2" y="12"/>
                  </a:lnTo>
                  <a:lnTo>
                    <a:pt x="7" y="7"/>
                  </a:lnTo>
                  <a:lnTo>
                    <a:pt x="0" y="0"/>
                  </a:lnTo>
                  <a:lnTo>
                    <a:pt x="7" y="0"/>
                  </a:lnTo>
                  <a:lnTo>
                    <a:pt x="7" y="5"/>
                  </a:lnTo>
                  <a:lnTo>
                    <a:pt x="7" y="15"/>
                  </a:lnTo>
                  <a:lnTo>
                    <a:pt x="7" y="15"/>
                  </a:lnTo>
                  <a:lnTo>
                    <a:pt x="7" y="15"/>
                  </a:lnTo>
                  <a:lnTo>
                    <a:pt x="7" y="15"/>
                  </a:lnTo>
                  <a:lnTo>
                    <a:pt x="7"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26" name="Freeform 101">
              <a:extLst>
                <a:ext uri="{FF2B5EF4-FFF2-40B4-BE49-F238E27FC236}">
                  <a16:creationId xmlns:a16="http://schemas.microsoft.com/office/drawing/2014/main" id="{6030F23F-6F4B-4798-97E1-3DF67D40DCBC}"/>
                </a:ext>
              </a:extLst>
            </p:cNvPr>
            <p:cNvSpPr>
              <a:spLocks/>
            </p:cNvSpPr>
            <p:nvPr/>
          </p:nvSpPr>
          <p:spPr bwMode="gray">
            <a:xfrm>
              <a:off x="12323763" y="1266825"/>
              <a:ext cx="3175" cy="11113"/>
            </a:xfrm>
            <a:custGeom>
              <a:avLst/>
              <a:gdLst>
                <a:gd name="T0" fmla="*/ 2 w 2"/>
                <a:gd name="T1" fmla="*/ 7 h 7"/>
                <a:gd name="T2" fmla="*/ 0 w 2"/>
                <a:gd name="T3" fmla="*/ 0 h 7"/>
                <a:gd name="T4" fmla="*/ 2 w 2"/>
                <a:gd name="T5" fmla="*/ 5 h 7"/>
                <a:gd name="T6" fmla="*/ 2 w 2"/>
                <a:gd name="T7" fmla="*/ 7 h 7"/>
                <a:gd name="T8" fmla="*/ 2 w 2"/>
                <a:gd name="T9" fmla="*/ 7 h 7"/>
                <a:gd name="T10" fmla="*/ 2 w 2"/>
                <a:gd name="T11" fmla="*/ 7 h 7"/>
                <a:gd name="T12" fmla="*/ 2 w 2"/>
                <a:gd name="T13" fmla="*/ 7 h 7"/>
                <a:gd name="T14" fmla="*/ 2 w 2"/>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7">
                  <a:moveTo>
                    <a:pt x="2" y="7"/>
                  </a:moveTo>
                  <a:lnTo>
                    <a:pt x="0" y="0"/>
                  </a:lnTo>
                  <a:lnTo>
                    <a:pt x="2" y="5"/>
                  </a:lnTo>
                  <a:lnTo>
                    <a:pt x="2" y="7"/>
                  </a:lnTo>
                  <a:lnTo>
                    <a:pt x="2" y="7"/>
                  </a:lnTo>
                  <a:lnTo>
                    <a:pt x="2" y="7"/>
                  </a:lnTo>
                  <a:lnTo>
                    <a:pt x="2" y="7"/>
                  </a:ln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27" name="Freeform 102">
              <a:extLst>
                <a:ext uri="{FF2B5EF4-FFF2-40B4-BE49-F238E27FC236}">
                  <a16:creationId xmlns:a16="http://schemas.microsoft.com/office/drawing/2014/main" id="{72010B31-C2D6-4A6B-A177-C439FB882D8C}"/>
                </a:ext>
              </a:extLst>
            </p:cNvPr>
            <p:cNvSpPr>
              <a:spLocks/>
            </p:cNvSpPr>
            <p:nvPr/>
          </p:nvSpPr>
          <p:spPr bwMode="gray">
            <a:xfrm>
              <a:off x="12311063" y="1274763"/>
              <a:ext cx="4763" cy="3175"/>
            </a:xfrm>
            <a:custGeom>
              <a:avLst/>
              <a:gdLst>
                <a:gd name="T0" fmla="*/ 3 w 3"/>
                <a:gd name="T1" fmla="*/ 2 h 2"/>
                <a:gd name="T2" fmla="*/ 0 w 3"/>
                <a:gd name="T3" fmla="*/ 0 h 2"/>
                <a:gd name="T4" fmla="*/ 3 w 3"/>
                <a:gd name="T5" fmla="*/ 0 h 2"/>
                <a:gd name="T6" fmla="*/ 3 w 3"/>
                <a:gd name="T7" fmla="*/ 2 h 2"/>
                <a:gd name="T8" fmla="*/ 3 w 3"/>
                <a:gd name="T9" fmla="*/ 2 h 2"/>
                <a:gd name="T10" fmla="*/ 3 w 3"/>
                <a:gd name="T11" fmla="*/ 2 h 2"/>
                <a:gd name="T12" fmla="*/ 3 w 3"/>
                <a:gd name="T13" fmla="*/ 2 h 2"/>
                <a:gd name="T14" fmla="*/ 3 w 3"/>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3" y="2"/>
                  </a:moveTo>
                  <a:lnTo>
                    <a:pt x="0" y="0"/>
                  </a:lnTo>
                  <a:lnTo>
                    <a:pt x="3" y="0"/>
                  </a:lnTo>
                  <a:lnTo>
                    <a:pt x="3" y="2"/>
                  </a:lnTo>
                  <a:lnTo>
                    <a:pt x="3" y="2"/>
                  </a:lnTo>
                  <a:lnTo>
                    <a:pt x="3" y="2"/>
                  </a:lnTo>
                  <a:lnTo>
                    <a:pt x="3" y="2"/>
                  </a:lnTo>
                  <a:lnTo>
                    <a:pt x="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28" name="Freeform 103">
              <a:extLst>
                <a:ext uri="{FF2B5EF4-FFF2-40B4-BE49-F238E27FC236}">
                  <a16:creationId xmlns:a16="http://schemas.microsoft.com/office/drawing/2014/main" id="{0E6FB326-7925-40F6-884D-3C4C7F61E6E8}"/>
                </a:ext>
              </a:extLst>
            </p:cNvPr>
            <p:cNvSpPr>
              <a:spLocks/>
            </p:cNvSpPr>
            <p:nvPr/>
          </p:nvSpPr>
          <p:spPr bwMode="gray">
            <a:xfrm>
              <a:off x="12199938" y="1274763"/>
              <a:ext cx="3175" cy="3175"/>
            </a:xfrm>
            <a:custGeom>
              <a:avLst/>
              <a:gdLst>
                <a:gd name="T0" fmla="*/ 2 w 2"/>
                <a:gd name="T1" fmla="*/ 2 h 2"/>
                <a:gd name="T2" fmla="*/ 0 w 2"/>
                <a:gd name="T3" fmla="*/ 0 h 2"/>
                <a:gd name="T4" fmla="*/ 2 w 2"/>
                <a:gd name="T5" fmla="*/ 2 h 2"/>
                <a:gd name="T6" fmla="*/ 2 w 2"/>
                <a:gd name="T7" fmla="*/ 2 h 2"/>
                <a:gd name="T8" fmla="*/ 2 w 2"/>
                <a:gd name="T9" fmla="*/ 2 h 2"/>
                <a:gd name="T10" fmla="*/ 2 w 2"/>
                <a:gd name="T11" fmla="*/ 2 h 2"/>
                <a:gd name="T12" fmla="*/ 2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2"/>
                  </a:moveTo>
                  <a:lnTo>
                    <a:pt x="0" y="0"/>
                  </a:lnTo>
                  <a:lnTo>
                    <a:pt x="2" y="2"/>
                  </a:lnTo>
                  <a:lnTo>
                    <a:pt x="2" y="2"/>
                  </a:lnTo>
                  <a:lnTo>
                    <a:pt x="2" y="2"/>
                  </a:lnTo>
                  <a:lnTo>
                    <a:pt x="2" y="2"/>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29" name="Freeform 104">
              <a:extLst>
                <a:ext uri="{FF2B5EF4-FFF2-40B4-BE49-F238E27FC236}">
                  <a16:creationId xmlns:a16="http://schemas.microsoft.com/office/drawing/2014/main" id="{338B8697-C919-4DB4-A4D7-FF2ECB596808}"/>
                </a:ext>
              </a:extLst>
            </p:cNvPr>
            <p:cNvSpPr>
              <a:spLocks/>
            </p:cNvSpPr>
            <p:nvPr/>
          </p:nvSpPr>
          <p:spPr bwMode="gray">
            <a:xfrm>
              <a:off x="12192000" y="1301750"/>
              <a:ext cx="7938" cy="3175"/>
            </a:xfrm>
            <a:custGeom>
              <a:avLst/>
              <a:gdLst>
                <a:gd name="T0" fmla="*/ 0 w 5"/>
                <a:gd name="T1" fmla="*/ 2 h 2"/>
                <a:gd name="T2" fmla="*/ 0 w 5"/>
                <a:gd name="T3" fmla="*/ 0 h 2"/>
                <a:gd name="T4" fmla="*/ 5 w 5"/>
                <a:gd name="T5" fmla="*/ 2 h 2"/>
                <a:gd name="T6" fmla="*/ 0 w 5"/>
                <a:gd name="T7" fmla="*/ 2 h 2"/>
                <a:gd name="T8" fmla="*/ 0 w 5"/>
                <a:gd name="T9" fmla="*/ 2 h 2"/>
                <a:gd name="T10" fmla="*/ 0 w 5"/>
                <a:gd name="T11" fmla="*/ 2 h 2"/>
                <a:gd name="T12" fmla="*/ 0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lnTo>
                    <a:pt x="0" y="0"/>
                  </a:lnTo>
                  <a:lnTo>
                    <a:pt x="5" y="2"/>
                  </a:lnTo>
                  <a:lnTo>
                    <a:pt x="0" y="2"/>
                  </a:lnTo>
                  <a:lnTo>
                    <a:pt x="0" y="2"/>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30" name="Freeform 105">
              <a:extLst>
                <a:ext uri="{FF2B5EF4-FFF2-40B4-BE49-F238E27FC236}">
                  <a16:creationId xmlns:a16="http://schemas.microsoft.com/office/drawing/2014/main" id="{B1BD2DD8-BE9A-4ABD-9476-ABCED861AD9A}"/>
                </a:ext>
              </a:extLst>
            </p:cNvPr>
            <p:cNvSpPr>
              <a:spLocks/>
            </p:cNvSpPr>
            <p:nvPr/>
          </p:nvSpPr>
          <p:spPr bwMode="gray">
            <a:xfrm>
              <a:off x="14693900" y="1425575"/>
              <a:ext cx="2670175" cy="1328738"/>
            </a:xfrm>
            <a:custGeom>
              <a:avLst/>
              <a:gdLst>
                <a:gd name="T0" fmla="*/ 941 w 1682"/>
                <a:gd name="T1" fmla="*/ 40 h 837"/>
                <a:gd name="T2" fmla="*/ 1059 w 1682"/>
                <a:gd name="T3" fmla="*/ 42 h 837"/>
                <a:gd name="T4" fmla="*/ 1239 w 1682"/>
                <a:gd name="T5" fmla="*/ 214 h 837"/>
                <a:gd name="T6" fmla="*/ 1336 w 1682"/>
                <a:gd name="T7" fmla="*/ 243 h 837"/>
                <a:gd name="T8" fmla="*/ 1560 w 1682"/>
                <a:gd name="T9" fmla="*/ 158 h 837"/>
                <a:gd name="T10" fmla="*/ 1619 w 1682"/>
                <a:gd name="T11" fmla="*/ 82 h 837"/>
                <a:gd name="T12" fmla="*/ 1675 w 1682"/>
                <a:gd name="T13" fmla="*/ 169 h 837"/>
                <a:gd name="T14" fmla="*/ 1633 w 1682"/>
                <a:gd name="T15" fmla="*/ 188 h 837"/>
                <a:gd name="T16" fmla="*/ 1602 w 1682"/>
                <a:gd name="T17" fmla="*/ 210 h 837"/>
                <a:gd name="T18" fmla="*/ 1567 w 1682"/>
                <a:gd name="T19" fmla="*/ 250 h 837"/>
                <a:gd name="T20" fmla="*/ 1586 w 1682"/>
                <a:gd name="T21" fmla="*/ 271 h 837"/>
                <a:gd name="T22" fmla="*/ 1557 w 1682"/>
                <a:gd name="T23" fmla="*/ 287 h 837"/>
                <a:gd name="T24" fmla="*/ 1477 w 1682"/>
                <a:gd name="T25" fmla="*/ 335 h 837"/>
                <a:gd name="T26" fmla="*/ 1435 w 1682"/>
                <a:gd name="T27" fmla="*/ 365 h 837"/>
                <a:gd name="T28" fmla="*/ 1430 w 1682"/>
                <a:gd name="T29" fmla="*/ 431 h 837"/>
                <a:gd name="T30" fmla="*/ 1416 w 1682"/>
                <a:gd name="T31" fmla="*/ 396 h 837"/>
                <a:gd name="T32" fmla="*/ 1409 w 1682"/>
                <a:gd name="T33" fmla="*/ 380 h 837"/>
                <a:gd name="T34" fmla="*/ 1411 w 1682"/>
                <a:gd name="T35" fmla="*/ 363 h 837"/>
                <a:gd name="T36" fmla="*/ 1409 w 1682"/>
                <a:gd name="T37" fmla="*/ 405 h 837"/>
                <a:gd name="T38" fmla="*/ 1380 w 1682"/>
                <a:gd name="T39" fmla="*/ 403 h 837"/>
                <a:gd name="T40" fmla="*/ 1409 w 1682"/>
                <a:gd name="T41" fmla="*/ 434 h 837"/>
                <a:gd name="T42" fmla="*/ 1418 w 1682"/>
                <a:gd name="T43" fmla="*/ 450 h 837"/>
                <a:gd name="T44" fmla="*/ 1418 w 1682"/>
                <a:gd name="T45" fmla="*/ 479 h 837"/>
                <a:gd name="T46" fmla="*/ 1416 w 1682"/>
                <a:gd name="T47" fmla="*/ 495 h 837"/>
                <a:gd name="T48" fmla="*/ 1390 w 1682"/>
                <a:gd name="T49" fmla="*/ 498 h 837"/>
                <a:gd name="T50" fmla="*/ 1411 w 1682"/>
                <a:gd name="T51" fmla="*/ 516 h 837"/>
                <a:gd name="T52" fmla="*/ 1361 w 1682"/>
                <a:gd name="T53" fmla="*/ 547 h 837"/>
                <a:gd name="T54" fmla="*/ 1305 w 1682"/>
                <a:gd name="T55" fmla="*/ 592 h 837"/>
                <a:gd name="T56" fmla="*/ 1284 w 1682"/>
                <a:gd name="T57" fmla="*/ 608 h 837"/>
                <a:gd name="T58" fmla="*/ 1258 w 1682"/>
                <a:gd name="T59" fmla="*/ 656 h 837"/>
                <a:gd name="T60" fmla="*/ 1281 w 1682"/>
                <a:gd name="T61" fmla="*/ 734 h 837"/>
                <a:gd name="T62" fmla="*/ 1265 w 1682"/>
                <a:gd name="T63" fmla="*/ 819 h 837"/>
                <a:gd name="T64" fmla="*/ 1227 w 1682"/>
                <a:gd name="T65" fmla="*/ 769 h 837"/>
                <a:gd name="T66" fmla="*/ 1215 w 1682"/>
                <a:gd name="T67" fmla="*/ 708 h 837"/>
                <a:gd name="T68" fmla="*/ 1147 w 1682"/>
                <a:gd name="T69" fmla="*/ 686 h 837"/>
                <a:gd name="T70" fmla="*/ 1092 w 1682"/>
                <a:gd name="T71" fmla="*/ 670 h 837"/>
                <a:gd name="T72" fmla="*/ 1074 w 1682"/>
                <a:gd name="T73" fmla="*/ 663 h 837"/>
                <a:gd name="T74" fmla="*/ 1022 w 1682"/>
                <a:gd name="T75" fmla="*/ 677 h 837"/>
                <a:gd name="T76" fmla="*/ 1029 w 1682"/>
                <a:gd name="T77" fmla="*/ 717 h 837"/>
                <a:gd name="T78" fmla="*/ 1005 w 1682"/>
                <a:gd name="T79" fmla="*/ 708 h 837"/>
                <a:gd name="T80" fmla="*/ 949 w 1682"/>
                <a:gd name="T81" fmla="*/ 691 h 837"/>
                <a:gd name="T82" fmla="*/ 871 w 1682"/>
                <a:gd name="T83" fmla="*/ 703 h 837"/>
                <a:gd name="T84" fmla="*/ 826 w 1682"/>
                <a:gd name="T85" fmla="*/ 724 h 837"/>
                <a:gd name="T86" fmla="*/ 802 w 1682"/>
                <a:gd name="T87" fmla="*/ 745 h 837"/>
                <a:gd name="T88" fmla="*/ 802 w 1682"/>
                <a:gd name="T89" fmla="*/ 814 h 837"/>
                <a:gd name="T90" fmla="*/ 724 w 1682"/>
                <a:gd name="T91" fmla="*/ 757 h 837"/>
                <a:gd name="T92" fmla="*/ 623 w 1682"/>
                <a:gd name="T93" fmla="*/ 715 h 837"/>
                <a:gd name="T94" fmla="*/ 290 w 1682"/>
                <a:gd name="T95" fmla="*/ 599 h 837"/>
                <a:gd name="T96" fmla="*/ 165 w 1682"/>
                <a:gd name="T97" fmla="*/ 547 h 837"/>
                <a:gd name="T98" fmla="*/ 83 w 1682"/>
                <a:gd name="T99" fmla="*/ 448 h 837"/>
                <a:gd name="T100" fmla="*/ 90 w 1682"/>
                <a:gd name="T101" fmla="*/ 417 h 837"/>
                <a:gd name="T102" fmla="*/ 57 w 1682"/>
                <a:gd name="T103" fmla="*/ 413 h 837"/>
                <a:gd name="T104" fmla="*/ 21 w 1682"/>
                <a:gd name="T105" fmla="*/ 295 h 837"/>
                <a:gd name="T106" fmla="*/ 21 w 1682"/>
                <a:gd name="T107" fmla="*/ 169 h 837"/>
                <a:gd name="T108" fmla="*/ 28 w 1682"/>
                <a:gd name="T109" fmla="*/ 106 h 837"/>
                <a:gd name="T110" fmla="*/ 24 w 1682"/>
                <a:gd name="T111" fmla="*/ 44 h 837"/>
                <a:gd name="T112" fmla="*/ 50 w 1682"/>
                <a:gd name="T113" fmla="*/ 75 h 837"/>
                <a:gd name="T114" fmla="*/ 59 w 1682"/>
                <a:gd name="T115" fmla="*/ 85 h 837"/>
                <a:gd name="T116" fmla="*/ 69 w 1682"/>
                <a:gd name="T117" fmla="*/ 49 h 837"/>
                <a:gd name="T118" fmla="*/ 59 w 1682"/>
                <a:gd name="T119" fmla="*/ 1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837">
                  <a:moveTo>
                    <a:pt x="59" y="16"/>
                  </a:moveTo>
                  <a:lnTo>
                    <a:pt x="864" y="16"/>
                  </a:lnTo>
                  <a:lnTo>
                    <a:pt x="864" y="0"/>
                  </a:lnTo>
                  <a:lnTo>
                    <a:pt x="871" y="4"/>
                  </a:lnTo>
                  <a:lnTo>
                    <a:pt x="873" y="23"/>
                  </a:lnTo>
                  <a:lnTo>
                    <a:pt x="878" y="25"/>
                  </a:lnTo>
                  <a:lnTo>
                    <a:pt x="901" y="28"/>
                  </a:lnTo>
                  <a:lnTo>
                    <a:pt x="901" y="33"/>
                  </a:lnTo>
                  <a:lnTo>
                    <a:pt x="918" y="28"/>
                  </a:lnTo>
                  <a:lnTo>
                    <a:pt x="925" y="28"/>
                  </a:lnTo>
                  <a:lnTo>
                    <a:pt x="941" y="40"/>
                  </a:lnTo>
                  <a:lnTo>
                    <a:pt x="941" y="44"/>
                  </a:lnTo>
                  <a:lnTo>
                    <a:pt x="946" y="40"/>
                  </a:lnTo>
                  <a:lnTo>
                    <a:pt x="953" y="40"/>
                  </a:lnTo>
                  <a:lnTo>
                    <a:pt x="953" y="44"/>
                  </a:lnTo>
                  <a:lnTo>
                    <a:pt x="970" y="51"/>
                  </a:lnTo>
                  <a:lnTo>
                    <a:pt x="986" y="44"/>
                  </a:lnTo>
                  <a:lnTo>
                    <a:pt x="991" y="49"/>
                  </a:lnTo>
                  <a:lnTo>
                    <a:pt x="1005" y="49"/>
                  </a:lnTo>
                  <a:lnTo>
                    <a:pt x="1015" y="51"/>
                  </a:lnTo>
                  <a:lnTo>
                    <a:pt x="1031" y="54"/>
                  </a:lnTo>
                  <a:lnTo>
                    <a:pt x="1059" y="42"/>
                  </a:lnTo>
                  <a:lnTo>
                    <a:pt x="1163" y="96"/>
                  </a:lnTo>
                  <a:lnTo>
                    <a:pt x="1163" y="106"/>
                  </a:lnTo>
                  <a:lnTo>
                    <a:pt x="1170" y="113"/>
                  </a:lnTo>
                  <a:lnTo>
                    <a:pt x="1182" y="106"/>
                  </a:lnTo>
                  <a:lnTo>
                    <a:pt x="1182" y="118"/>
                  </a:lnTo>
                  <a:lnTo>
                    <a:pt x="1187" y="122"/>
                  </a:lnTo>
                  <a:lnTo>
                    <a:pt x="1199" y="122"/>
                  </a:lnTo>
                  <a:lnTo>
                    <a:pt x="1201" y="127"/>
                  </a:lnTo>
                  <a:lnTo>
                    <a:pt x="1199" y="134"/>
                  </a:lnTo>
                  <a:lnTo>
                    <a:pt x="1229" y="153"/>
                  </a:lnTo>
                  <a:lnTo>
                    <a:pt x="1239" y="214"/>
                  </a:lnTo>
                  <a:lnTo>
                    <a:pt x="1232" y="238"/>
                  </a:lnTo>
                  <a:lnTo>
                    <a:pt x="1229" y="252"/>
                  </a:lnTo>
                  <a:lnTo>
                    <a:pt x="1215" y="266"/>
                  </a:lnTo>
                  <a:lnTo>
                    <a:pt x="1210" y="271"/>
                  </a:lnTo>
                  <a:lnTo>
                    <a:pt x="1215" y="278"/>
                  </a:lnTo>
                  <a:lnTo>
                    <a:pt x="1222" y="285"/>
                  </a:lnTo>
                  <a:lnTo>
                    <a:pt x="1232" y="285"/>
                  </a:lnTo>
                  <a:lnTo>
                    <a:pt x="1265" y="266"/>
                  </a:lnTo>
                  <a:lnTo>
                    <a:pt x="1300" y="259"/>
                  </a:lnTo>
                  <a:lnTo>
                    <a:pt x="1333" y="245"/>
                  </a:lnTo>
                  <a:lnTo>
                    <a:pt x="1336" y="243"/>
                  </a:lnTo>
                  <a:lnTo>
                    <a:pt x="1328" y="236"/>
                  </a:lnTo>
                  <a:lnTo>
                    <a:pt x="1328" y="228"/>
                  </a:lnTo>
                  <a:lnTo>
                    <a:pt x="1326" y="221"/>
                  </a:lnTo>
                  <a:lnTo>
                    <a:pt x="1340" y="214"/>
                  </a:lnTo>
                  <a:lnTo>
                    <a:pt x="1397" y="214"/>
                  </a:lnTo>
                  <a:lnTo>
                    <a:pt x="1406" y="198"/>
                  </a:lnTo>
                  <a:lnTo>
                    <a:pt x="1446" y="167"/>
                  </a:lnTo>
                  <a:lnTo>
                    <a:pt x="1550" y="165"/>
                  </a:lnTo>
                  <a:lnTo>
                    <a:pt x="1553" y="158"/>
                  </a:lnTo>
                  <a:lnTo>
                    <a:pt x="1557" y="153"/>
                  </a:lnTo>
                  <a:lnTo>
                    <a:pt x="1560" y="158"/>
                  </a:lnTo>
                  <a:lnTo>
                    <a:pt x="1564" y="153"/>
                  </a:lnTo>
                  <a:lnTo>
                    <a:pt x="1567" y="158"/>
                  </a:lnTo>
                  <a:lnTo>
                    <a:pt x="1571" y="146"/>
                  </a:lnTo>
                  <a:lnTo>
                    <a:pt x="1571" y="144"/>
                  </a:lnTo>
                  <a:lnTo>
                    <a:pt x="1586" y="129"/>
                  </a:lnTo>
                  <a:lnTo>
                    <a:pt x="1586" y="120"/>
                  </a:lnTo>
                  <a:lnTo>
                    <a:pt x="1590" y="113"/>
                  </a:lnTo>
                  <a:lnTo>
                    <a:pt x="1595" y="101"/>
                  </a:lnTo>
                  <a:lnTo>
                    <a:pt x="1616" y="73"/>
                  </a:lnTo>
                  <a:lnTo>
                    <a:pt x="1619" y="75"/>
                  </a:lnTo>
                  <a:lnTo>
                    <a:pt x="1619" y="82"/>
                  </a:lnTo>
                  <a:lnTo>
                    <a:pt x="1626" y="85"/>
                  </a:lnTo>
                  <a:lnTo>
                    <a:pt x="1642" y="77"/>
                  </a:lnTo>
                  <a:lnTo>
                    <a:pt x="1661" y="89"/>
                  </a:lnTo>
                  <a:lnTo>
                    <a:pt x="1661" y="141"/>
                  </a:lnTo>
                  <a:lnTo>
                    <a:pt x="1668" y="144"/>
                  </a:lnTo>
                  <a:lnTo>
                    <a:pt x="1663" y="146"/>
                  </a:lnTo>
                  <a:lnTo>
                    <a:pt x="1668" y="153"/>
                  </a:lnTo>
                  <a:lnTo>
                    <a:pt x="1670" y="160"/>
                  </a:lnTo>
                  <a:lnTo>
                    <a:pt x="1675" y="160"/>
                  </a:lnTo>
                  <a:lnTo>
                    <a:pt x="1682" y="167"/>
                  </a:lnTo>
                  <a:lnTo>
                    <a:pt x="1675" y="169"/>
                  </a:lnTo>
                  <a:lnTo>
                    <a:pt x="1682" y="169"/>
                  </a:lnTo>
                  <a:lnTo>
                    <a:pt x="1675" y="174"/>
                  </a:lnTo>
                  <a:lnTo>
                    <a:pt x="1663" y="174"/>
                  </a:lnTo>
                  <a:lnTo>
                    <a:pt x="1663" y="181"/>
                  </a:lnTo>
                  <a:lnTo>
                    <a:pt x="1661" y="181"/>
                  </a:lnTo>
                  <a:lnTo>
                    <a:pt x="1649" y="188"/>
                  </a:lnTo>
                  <a:lnTo>
                    <a:pt x="1649" y="186"/>
                  </a:lnTo>
                  <a:lnTo>
                    <a:pt x="1642" y="186"/>
                  </a:lnTo>
                  <a:lnTo>
                    <a:pt x="1635" y="186"/>
                  </a:lnTo>
                  <a:lnTo>
                    <a:pt x="1635" y="188"/>
                  </a:lnTo>
                  <a:lnTo>
                    <a:pt x="1633" y="188"/>
                  </a:lnTo>
                  <a:lnTo>
                    <a:pt x="1626" y="188"/>
                  </a:lnTo>
                  <a:lnTo>
                    <a:pt x="1630" y="181"/>
                  </a:lnTo>
                  <a:lnTo>
                    <a:pt x="1623" y="186"/>
                  </a:lnTo>
                  <a:lnTo>
                    <a:pt x="1619" y="198"/>
                  </a:lnTo>
                  <a:lnTo>
                    <a:pt x="1614" y="205"/>
                  </a:lnTo>
                  <a:lnTo>
                    <a:pt x="1609" y="198"/>
                  </a:lnTo>
                  <a:lnTo>
                    <a:pt x="1609" y="205"/>
                  </a:lnTo>
                  <a:lnTo>
                    <a:pt x="1609" y="198"/>
                  </a:lnTo>
                  <a:lnTo>
                    <a:pt x="1604" y="205"/>
                  </a:lnTo>
                  <a:lnTo>
                    <a:pt x="1604" y="198"/>
                  </a:lnTo>
                  <a:lnTo>
                    <a:pt x="1602" y="210"/>
                  </a:lnTo>
                  <a:lnTo>
                    <a:pt x="1602" y="198"/>
                  </a:lnTo>
                  <a:lnTo>
                    <a:pt x="1597" y="205"/>
                  </a:lnTo>
                  <a:lnTo>
                    <a:pt x="1597" y="212"/>
                  </a:lnTo>
                  <a:lnTo>
                    <a:pt x="1595" y="205"/>
                  </a:lnTo>
                  <a:lnTo>
                    <a:pt x="1588" y="210"/>
                  </a:lnTo>
                  <a:lnTo>
                    <a:pt x="1586" y="214"/>
                  </a:lnTo>
                  <a:lnTo>
                    <a:pt x="1588" y="219"/>
                  </a:lnTo>
                  <a:lnTo>
                    <a:pt x="1578" y="226"/>
                  </a:lnTo>
                  <a:lnTo>
                    <a:pt x="1574" y="236"/>
                  </a:lnTo>
                  <a:lnTo>
                    <a:pt x="1571" y="233"/>
                  </a:lnTo>
                  <a:lnTo>
                    <a:pt x="1567" y="250"/>
                  </a:lnTo>
                  <a:lnTo>
                    <a:pt x="1574" y="252"/>
                  </a:lnTo>
                  <a:lnTo>
                    <a:pt x="1567" y="254"/>
                  </a:lnTo>
                  <a:lnTo>
                    <a:pt x="1564" y="262"/>
                  </a:lnTo>
                  <a:lnTo>
                    <a:pt x="1571" y="266"/>
                  </a:lnTo>
                  <a:lnTo>
                    <a:pt x="1571" y="273"/>
                  </a:lnTo>
                  <a:lnTo>
                    <a:pt x="1578" y="278"/>
                  </a:lnTo>
                  <a:lnTo>
                    <a:pt x="1578" y="280"/>
                  </a:lnTo>
                  <a:lnTo>
                    <a:pt x="1586" y="285"/>
                  </a:lnTo>
                  <a:lnTo>
                    <a:pt x="1595" y="280"/>
                  </a:lnTo>
                  <a:lnTo>
                    <a:pt x="1595" y="278"/>
                  </a:lnTo>
                  <a:lnTo>
                    <a:pt x="1586" y="271"/>
                  </a:lnTo>
                  <a:lnTo>
                    <a:pt x="1590" y="271"/>
                  </a:lnTo>
                  <a:lnTo>
                    <a:pt x="1595" y="278"/>
                  </a:lnTo>
                  <a:lnTo>
                    <a:pt x="1595" y="285"/>
                  </a:lnTo>
                  <a:lnTo>
                    <a:pt x="1581" y="287"/>
                  </a:lnTo>
                  <a:lnTo>
                    <a:pt x="1574" y="290"/>
                  </a:lnTo>
                  <a:lnTo>
                    <a:pt x="1574" y="285"/>
                  </a:lnTo>
                  <a:lnTo>
                    <a:pt x="1571" y="285"/>
                  </a:lnTo>
                  <a:lnTo>
                    <a:pt x="1560" y="295"/>
                  </a:lnTo>
                  <a:lnTo>
                    <a:pt x="1560" y="287"/>
                  </a:lnTo>
                  <a:lnTo>
                    <a:pt x="1564" y="280"/>
                  </a:lnTo>
                  <a:lnTo>
                    <a:pt x="1557" y="287"/>
                  </a:lnTo>
                  <a:lnTo>
                    <a:pt x="1553" y="280"/>
                  </a:lnTo>
                  <a:lnTo>
                    <a:pt x="1550" y="297"/>
                  </a:lnTo>
                  <a:lnTo>
                    <a:pt x="1508" y="302"/>
                  </a:lnTo>
                  <a:lnTo>
                    <a:pt x="1489" y="311"/>
                  </a:lnTo>
                  <a:lnTo>
                    <a:pt x="1475" y="321"/>
                  </a:lnTo>
                  <a:lnTo>
                    <a:pt x="1482" y="309"/>
                  </a:lnTo>
                  <a:lnTo>
                    <a:pt x="1477" y="297"/>
                  </a:lnTo>
                  <a:lnTo>
                    <a:pt x="1477" y="311"/>
                  </a:lnTo>
                  <a:lnTo>
                    <a:pt x="1470" y="328"/>
                  </a:lnTo>
                  <a:lnTo>
                    <a:pt x="1475" y="328"/>
                  </a:lnTo>
                  <a:lnTo>
                    <a:pt x="1477" y="335"/>
                  </a:lnTo>
                  <a:lnTo>
                    <a:pt x="1475" y="354"/>
                  </a:lnTo>
                  <a:lnTo>
                    <a:pt x="1475" y="344"/>
                  </a:lnTo>
                  <a:lnTo>
                    <a:pt x="1475" y="358"/>
                  </a:lnTo>
                  <a:lnTo>
                    <a:pt x="1468" y="363"/>
                  </a:lnTo>
                  <a:lnTo>
                    <a:pt x="1463" y="365"/>
                  </a:lnTo>
                  <a:lnTo>
                    <a:pt x="1456" y="370"/>
                  </a:lnTo>
                  <a:lnTo>
                    <a:pt x="1461" y="370"/>
                  </a:lnTo>
                  <a:lnTo>
                    <a:pt x="1456" y="377"/>
                  </a:lnTo>
                  <a:lnTo>
                    <a:pt x="1451" y="382"/>
                  </a:lnTo>
                  <a:lnTo>
                    <a:pt x="1451" y="372"/>
                  </a:lnTo>
                  <a:lnTo>
                    <a:pt x="1435" y="365"/>
                  </a:lnTo>
                  <a:lnTo>
                    <a:pt x="1430" y="358"/>
                  </a:lnTo>
                  <a:lnTo>
                    <a:pt x="1446" y="344"/>
                  </a:lnTo>
                  <a:lnTo>
                    <a:pt x="1430" y="358"/>
                  </a:lnTo>
                  <a:lnTo>
                    <a:pt x="1430" y="363"/>
                  </a:lnTo>
                  <a:lnTo>
                    <a:pt x="1444" y="389"/>
                  </a:lnTo>
                  <a:lnTo>
                    <a:pt x="1442" y="394"/>
                  </a:lnTo>
                  <a:lnTo>
                    <a:pt x="1446" y="396"/>
                  </a:lnTo>
                  <a:lnTo>
                    <a:pt x="1446" y="401"/>
                  </a:lnTo>
                  <a:lnTo>
                    <a:pt x="1437" y="413"/>
                  </a:lnTo>
                  <a:lnTo>
                    <a:pt x="1430" y="427"/>
                  </a:lnTo>
                  <a:lnTo>
                    <a:pt x="1430" y="431"/>
                  </a:lnTo>
                  <a:lnTo>
                    <a:pt x="1418" y="446"/>
                  </a:lnTo>
                  <a:lnTo>
                    <a:pt x="1418" y="439"/>
                  </a:lnTo>
                  <a:lnTo>
                    <a:pt x="1423" y="427"/>
                  </a:lnTo>
                  <a:lnTo>
                    <a:pt x="1430" y="420"/>
                  </a:lnTo>
                  <a:lnTo>
                    <a:pt x="1430" y="417"/>
                  </a:lnTo>
                  <a:lnTo>
                    <a:pt x="1423" y="417"/>
                  </a:lnTo>
                  <a:lnTo>
                    <a:pt x="1425" y="401"/>
                  </a:lnTo>
                  <a:lnTo>
                    <a:pt x="1418" y="405"/>
                  </a:lnTo>
                  <a:lnTo>
                    <a:pt x="1411" y="403"/>
                  </a:lnTo>
                  <a:lnTo>
                    <a:pt x="1409" y="401"/>
                  </a:lnTo>
                  <a:lnTo>
                    <a:pt x="1416" y="396"/>
                  </a:lnTo>
                  <a:lnTo>
                    <a:pt x="1411" y="396"/>
                  </a:lnTo>
                  <a:lnTo>
                    <a:pt x="1411" y="394"/>
                  </a:lnTo>
                  <a:lnTo>
                    <a:pt x="1418" y="396"/>
                  </a:lnTo>
                  <a:lnTo>
                    <a:pt x="1418" y="394"/>
                  </a:lnTo>
                  <a:lnTo>
                    <a:pt x="1411" y="389"/>
                  </a:lnTo>
                  <a:lnTo>
                    <a:pt x="1409" y="389"/>
                  </a:lnTo>
                  <a:lnTo>
                    <a:pt x="1411" y="387"/>
                  </a:lnTo>
                  <a:lnTo>
                    <a:pt x="1416" y="387"/>
                  </a:lnTo>
                  <a:lnTo>
                    <a:pt x="1411" y="380"/>
                  </a:lnTo>
                  <a:lnTo>
                    <a:pt x="1409" y="387"/>
                  </a:lnTo>
                  <a:lnTo>
                    <a:pt x="1409" y="380"/>
                  </a:lnTo>
                  <a:lnTo>
                    <a:pt x="1411" y="380"/>
                  </a:lnTo>
                  <a:lnTo>
                    <a:pt x="1418" y="377"/>
                  </a:lnTo>
                  <a:lnTo>
                    <a:pt x="1411" y="380"/>
                  </a:lnTo>
                  <a:lnTo>
                    <a:pt x="1411" y="372"/>
                  </a:lnTo>
                  <a:lnTo>
                    <a:pt x="1416" y="370"/>
                  </a:lnTo>
                  <a:lnTo>
                    <a:pt x="1418" y="365"/>
                  </a:lnTo>
                  <a:lnTo>
                    <a:pt x="1425" y="358"/>
                  </a:lnTo>
                  <a:lnTo>
                    <a:pt x="1416" y="358"/>
                  </a:lnTo>
                  <a:lnTo>
                    <a:pt x="1418" y="363"/>
                  </a:lnTo>
                  <a:lnTo>
                    <a:pt x="1411" y="365"/>
                  </a:lnTo>
                  <a:lnTo>
                    <a:pt x="1411" y="363"/>
                  </a:lnTo>
                  <a:lnTo>
                    <a:pt x="1409" y="365"/>
                  </a:lnTo>
                  <a:lnTo>
                    <a:pt x="1406" y="370"/>
                  </a:lnTo>
                  <a:lnTo>
                    <a:pt x="1406" y="372"/>
                  </a:lnTo>
                  <a:lnTo>
                    <a:pt x="1399" y="370"/>
                  </a:lnTo>
                  <a:lnTo>
                    <a:pt x="1406" y="380"/>
                  </a:lnTo>
                  <a:lnTo>
                    <a:pt x="1402" y="389"/>
                  </a:lnTo>
                  <a:lnTo>
                    <a:pt x="1409" y="403"/>
                  </a:lnTo>
                  <a:lnTo>
                    <a:pt x="1399" y="401"/>
                  </a:lnTo>
                  <a:lnTo>
                    <a:pt x="1399" y="394"/>
                  </a:lnTo>
                  <a:lnTo>
                    <a:pt x="1399" y="401"/>
                  </a:lnTo>
                  <a:lnTo>
                    <a:pt x="1409" y="405"/>
                  </a:lnTo>
                  <a:lnTo>
                    <a:pt x="1409" y="413"/>
                  </a:lnTo>
                  <a:lnTo>
                    <a:pt x="1402" y="405"/>
                  </a:lnTo>
                  <a:lnTo>
                    <a:pt x="1394" y="405"/>
                  </a:lnTo>
                  <a:lnTo>
                    <a:pt x="1390" y="401"/>
                  </a:lnTo>
                  <a:lnTo>
                    <a:pt x="1383" y="401"/>
                  </a:lnTo>
                  <a:lnTo>
                    <a:pt x="1383" y="396"/>
                  </a:lnTo>
                  <a:lnTo>
                    <a:pt x="1390" y="389"/>
                  </a:lnTo>
                  <a:lnTo>
                    <a:pt x="1387" y="382"/>
                  </a:lnTo>
                  <a:lnTo>
                    <a:pt x="1390" y="389"/>
                  </a:lnTo>
                  <a:lnTo>
                    <a:pt x="1383" y="394"/>
                  </a:lnTo>
                  <a:lnTo>
                    <a:pt x="1380" y="403"/>
                  </a:lnTo>
                  <a:lnTo>
                    <a:pt x="1387" y="403"/>
                  </a:lnTo>
                  <a:lnTo>
                    <a:pt x="1394" y="410"/>
                  </a:lnTo>
                  <a:lnTo>
                    <a:pt x="1402" y="410"/>
                  </a:lnTo>
                  <a:lnTo>
                    <a:pt x="1411" y="420"/>
                  </a:lnTo>
                  <a:lnTo>
                    <a:pt x="1409" y="427"/>
                  </a:lnTo>
                  <a:lnTo>
                    <a:pt x="1387" y="410"/>
                  </a:lnTo>
                  <a:lnTo>
                    <a:pt x="1394" y="413"/>
                  </a:lnTo>
                  <a:lnTo>
                    <a:pt x="1402" y="427"/>
                  </a:lnTo>
                  <a:lnTo>
                    <a:pt x="1409" y="427"/>
                  </a:lnTo>
                  <a:lnTo>
                    <a:pt x="1411" y="434"/>
                  </a:lnTo>
                  <a:lnTo>
                    <a:pt x="1409" y="434"/>
                  </a:lnTo>
                  <a:lnTo>
                    <a:pt x="1409" y="439"/>
                  </a:lnTo>
                  <a:lnTo>
                    <a:pt x="1399" y="434"/>
                  </a:lnTo>
                  <a:lnTo>
                    <a:pt x="1411" y="446"/>
                  </a:lnTo>
                  <a:lnTo>
                    <a:pt x="1409" y="450"/>
                  </a:lnTo>
                  <a:lnTo>
                    <a:pt x="1399" y="441"/>
                  </a:lnTo>
                  <a:lnTo>
                    <a:pt x="1383" y="439"/>
                  </a:lnTo>
                  <a:lnTo>
                    <a:pt x="1399" y="446"/>
                  </a:lnTo>
                  <a:lnTo>
                    <a:pt x="1406" y="450"/>
                  </a:lnTo>
                  <a:lnTo>
                    <a:pt x="1409" y="455"/>
                  </a:lnTo>
                  <a:lnTo>
                    <a:pt x="1409" y="450"/>
                  </a:lnTo>
                  <a:lnTo>
                    <a:pt x="1418" y="450"/>
                  </a:lnTo>
                  <a:lnTo>
                    <a:pt x="1430" y="493"/>
                  </a:lnTo>
                  <a:lnTo>
                    <a:pt x="1430" y="481"/>
                  </a:lnTo>
                  <a:lnTo>
                    <a:pt x="1423" y="457"/>
                  </a:lnTo>
                  <a:lnTo>
                    <a:pt x="1418" y="464"/>
                  </a:lnTo>
                  <a:lnTo>
                    <a:pt x="1423" y="469"/>
                  </a:lnTo>
                  <a:lnTo>
                    <a:pt x="1418" y="464"/>
                  </a:lnTo>
                  <a:lnTo>
                    <a:pt x="1425" y="481"/>
                  </a:lnTo>
                  <a:lnTo>
                    <a:pt x="1418" y="472"/>
                  </a:lnTo>
                  <a:lnTo>
                    <a:pt x="1423" y="479"/>
                  </a:lnTo>
                  <a:lnTo>
                    <a:pt x="1411" y="472"/>
                  </a:lnTo>
                  <a:lnTo>
                    <a:pt x="1418" y="479"/>
                  </a:lnTo>
                  <a:lnTo>
                    <a:pt x="1411" y="481"/>
                  </a:lnTo>
                  <a:lnTo>
                    <a:pt x="1409" y="479"/>
                  </a:lnTo>
                  <a:lnTo>
                    <a:pt x="1406" y="486"/>
                  </a:lnTo>
                  <a:lnTo>
                    <a:pt x="1399" y="481"/>
                  </a:lnTo>
                  <a:lnTo>
                    <a:pt x="1399" y="474"/>
                  </a:lnTo>
                  <a:lnTo>
                    <a:pt x="1397" y="486"/>
                  </a:lnTo>
                  <a:lnTo>
                    <a:pt x="1406" y="486"/>
                  </a:lnTo>
                  <a:lnTo>
                    <a:pt x="1411" y="486"/>
                  </a:lnTo>
                  <a:lnTo>
                    <a:pt x="1416" y="486"/>
                  </a:lnTo>
                  <a:lnTo>
                    <a:pt x="1418" y="495"/>
                  </a:lnTo>
                  <a:lnTo>
                    <a:pt x="1416" y="495"/>
                  </a:lnTo>
                  <a:lnTo>
                    <a:pt x="1418" y="495"/>
                  </a:lnTo>
                  <a:lnTo>
                    <a:pt x="1418" y="488"/>
                  </a:lnTo>
                  <a:lnTo>
                    <a:pt x="1423" y="486"/>
                  </a:lnTo>
                  <a:lnTo>
                    <a:pt x="1430" y="493"/>
                  </a:lnTo>
                  <a:lnTo>
                    <a:pt x="1425" y="498"/>
                  </a:lnTo>
                  <a:lnTo>
                    <a:pt x="1418" y="500"/>
                  </a:lnTo>
                  <a:lnTo>
                    <a:pt x="1416" y="505"/>
                  </a:lnTo>
                  <a:lnTo>
                    <a:pt x="1406" y="505"/>
                  </a:lnTo>
                  <a:lnTo>
                    <a:pt x="1402" y="498"/>
                  </a:lnTo>
                  <a:lnTo>
                    <a:pt x="1399" y="505"/>
                  </a:lnTo>
                  <a:lnTo>
                    <a:pt x="1390" y="498"/>
                  </a:lnTo>
                  <a:lnTo>
                    <a:pt x="1406" y="507"/>
                  </a:lnTo>
                  <a:lnTo>
                    <a:pt x="1399" y="512"/>
                  </a:lnTo>
                  <a:lnTo>
                    <a:pt x="1402" y="516"/>
                  </a:lnTo>
                  <a:lnTo>
                    <a:pt x="1397" y="516"/>
                  </a:lnTo>
                  <a:lnTo>
                    <a:pt x="1387" y="512"/>
                  </a:lnTo>
                  <a:lnTo>
                    <a:pt x="1390" y="516"/>
                  </a:lnTo>
                  <a:lnTo>
                    <a:pt x="1397" y="519"/>
                  </a:lnTo>
                  <a:lnTo>
                    <a:pt x="1406" y="516"/>
                  </a:lnTo>
                  <a:lnTo>
                    <a:pt x="1406" y="519"/>
                  </a:lnTo>
                  <a:lnTo>
                    <a:pt x="1409" y="516"/>
                  </a:lnTo>
                  <a:lnTo>
                    <a:pt x="1411" y="516"/>
                  </a:lnTo>
                  <a:lnTo>
                    <a:pt x="1409" y="519"/>
                  </a:lnTo>
                  <a:lnTo>
                    <a:pt x="1402" y="526"/>
                  </a:lnTo>
                  <a:lnTo>
                    <a:pt x="1399" y="526"/>
                  </a:lnTo>
                  <a:lnTo>
                    <a:pt x="1399" y="523"/>
                  </a:lnTo>
                  <a:lnTo>
                    <a:pt x="1387" y="526"/>
                  </a:lnTo>
                  <a:lnTo>
                    <a:pt x="1380" y="531"/>
                  </a:lnTo>
                  <a:lnTo>
                    <a:pt x="1378" y="526"/>
                  </a:lnTo>
                  <a:lnTo>
                    <a:pt x="1380" y="533"/>
                  </a:lnTo>
                  <a:lnTo>
                    <a:pt x="1371" y="540"/>
                  </a:lnTo>
                  <a:lnTo>
                    <a:pt x="1364" y="554"/>
                  </a:lnTo>
                  <a:lnTo>
                    <a:pt x="1361" y="547"/>
                  </a:lnTo>
                  <a:lnTo>
                    <a:pt x="1361" y="554"/>
                  </a:lnTo>
                  <a:lnTo>
                    <a:pt x="1345" y="554"/>
                  </a:lnTo>
                  <a:lnTo>
                    <a:pt x="1336" y="561"/>
                  </a:lnTo>
                  <a:lnTo>
                    <a:pt x="1326" y="578"/>
                  </a:lnTo>
                  <a:lnTo>
                    <a:pt x="1321" y="573"/>
                  </a:lnTo>
                  <a:lnTo>
                    <a:pt x="1326" y="571"/>
                  </a:lnTo>
                  <a:lnTo>
                    <a:pt x="1321" y="573"/>
                  </a:lnTo>
                  <a:lnTo>
                    <a:pt x="1326" y="580"/>
                  </a:lnTo>
                  <a:lnTo>
                    <a:pt x="1319" y="585"/>
                  </a:lnTo>
                  <a:lnTo>
                    <a:pt x="1317" y="585"/>
                  </a:lnTo>
                  <a:lnTo>
                    <a:pt x="1305" y="592"/>
                  </a:lnTo>
                  <a:lnTo>
                    <a:pt x="1305" y="590"/>
                  </a:lnTo>
                  <a:lnTo>
                    <a:pt x="1305" y="597"/>
                  </a:lnTo>
                  <a:lnTo>
                    <a:pt x="1295" y="604"/>
                  </a:lnTo>
                  <a:lnTo>
                    <a:pt x="1284" y="599"/>
                  </a:lnTo>
                  <a:lnTo>
                    <a:pt x="1288" y="604"/>
                  </a:lnTo>
                  <a:lnTo>
                    <a:pt x="1288" y="606"/>
                  </a:lnTo>
                  <a:lnTo>
                    <a:pt x="1284" y="608"/>
                  </a:lnTo>
                  <a:lnTo>
                    <a:pt x="1284" y="604"/>
                  </a:lnTo>
                  <a:lnTo>
                    <a:pt x="1281" y="606"/>
                  </a:lnTo>
                  <a:lnTo>
                    <a:pt x="1277" y="599"/>
                  </a:lnTo>
                  <a:lnTo>
                    <a:pt x="1284" y="608"/>
                  </a:lnTo>
                  <a:lnTo>
                    <a:pt x="1277" y="611"/>
                  </a:lnTo>
                  <a:lnTo>
                    <a:pt x="1277" y="616"/>
                  </a:lnTo>
                  <a:lnTo>
                    <a:pt x="1277" y="618"/>
                  </a:lnTo>
                  <a:lnTo>
                    <a:pt x="1272" y="625"/>
                  </a:lnTo>
                  <a:lnTo>
                    <a:pt x="1269" y="632"/>
                  </a:lnTo>
                  <a:lnTo>
                    <a:pt x="1265" y="632"/>
                  </a:lnTo>
                  <a:lnTo>
                    <a:pt x="1269" y="634"/>
                  </a:lnTo>
                  <a:lnTo>
                    <a:pt x="1265" y="642"/>
                  </a:lnTo>
                  <a:lnTo>
                    <a:pt x="1258" y="646"/>
                  </a:lnTo>
                  <a:lnTo>
                    <a:pt x="1262" y="649"/>
                  </a:lnTo>
                  <a:lnTo>
                    <a:pt x="1258" y="656"/>
                  </a:lnTo>
                  <a:lnTo>
                    <a:pt x="1265" y="691"/>
                  </a:lnTo>
                  <a:lnTo>
                    <a:pt x="1274" y="710"/>
                  </a:lnTo>
                  <a:lnTo>
                    <a:pt x="1288" y="731"/>
                  </a:lnTo>
                  <a:lnTo>
                    <a:pt x="1284" y="738"/>
                  </a:lnTo>
                  <a:lnTo>
                    <a:pt x="1291" y="752"/>
                  </a:lnTo>
                  <a:lnTo>
                    <a:pt x="1284" y="738"/>
                  </a:lnTo>
                  <a:lnTo>
                    <a:pt x="1284" y="726"/>
                  </a:lnTo>
                  <a:lnTo>
                    <a:pt x="1281" y="726"/>
                  </a:lnTo>
                  <a:lnTo>
                    <a:pt x="1281" y="724"/>
                  </a:lnTo>
                  <a:lnTo>
                    <a:pt x="1277" y="724"/>
                  </a:lnTo>
                  <a:lnTo>
                    <a:pt x="1281" y="734"/>
                  </a:lnTo>
                  <a:lnTo>
                    <a:pt x="1300" y="785"/>
                  </a:lnTo>
                  <a:lnTo>
                    <a:pt x="1298" y="816"/>
                  </a:lnTo>
                  <a:lnTo>
                    <a:pt x="1295" y="826"/>
                  </a:lnTo>
                  <a:lnTo>
                    <a:pt x="1291" y="837"/>
                  </a:lnTo>
                  <a:lnTo>
                    <a:pt x="1288" y="835"/>
                  </a:lnTo>
                  <a:lnTo>
                    <a:pt x="1272" y="837"/>
                  </a:lnTo>
                  <a:lnTo>
                    <a:pt x="1269" y="835"/>
                  </a:lnTo>
                  <a:lnTo>
                    <a:pt x="1274" y="837"/>
                  </a:lnTo>
                  <a:lnTo>
                    <a:pt x="1274" y="835"/>
                  </a:lnTo>
                  <a:lnTo>
                    <a:pt x="1269" y="830"/>
                  </a:lnTo>
                  <a:lnTo>
                    <a:pt x="1265" y="819"/>
                  </a:lnTo>
                  <a:lnTo>
                    <a:pt x="1253" y="814"/>
                  </a:lnTo>
                  <a:lnTo>
                    <a:pt x="1251" y="795"/>
                  </a:lnTo>
                  <a:lnTo>
                    <a:pt x="1246" y="795"/>
                  </a:lnTo>
                  <a:lnTo>
                    <a:pt x="1253" y="790"/>
                  </a:lnTo>
                  <a:lnTo>
                    <a:pt x="1246" y="795"/>
                  </a:lnTo>
                  <a:lnTo>
                    <a:pt x="1243" y="795"/>
                  </a:lnTo>
                  <a:lnTo>
                    <a:pt x="1243" y="783"/>
                  </a:lnTo>
                  <a:lnTo>
                    <a:pt x="1239" y="783"/>
                  </a:lnTo>
                  <a:lnTo>
                    <a:pt x="1239" y="785"/>
                  </a:lnTo>
                  <a:lnTo>
                    <a:pt x="1236" y="785"/>
                  </a:lnTo>
                  <a:lnTo>
                    <a:pt x="1227" y="769"/>
                  </a:lnTo>
                  <a:lnTo>
                    <a:pt x="1232" y="752"/>
                  </a:lnTo>
                  <a:lnTo>
                    <a:pt x="1232" y="750"/>
                  </a:lnTo>
                  <a:lnTo>
                    <a:pt x="1222" y="745"/>
                  </a:lnTo>
                  <a:lnTo>
                    <a:pt x="1222" y="750"/>
                  </a:lnTo>
                  <a:lnTo>
                    <a:pt x="1227" y="752"/>
                  </a:lnTo>
                  <a:lnTo>
                    <a:pt x="1222" y="762"/>
                  </a:lnTo>
                  <a:lnTo>
                    <a:pt x="1222" y="752"/>
                  </a:lnTo>
                  <a:lnTo>
                    <a:pt x="1227" y="734"/>
                  </a:lnTo>
                  <a:lnTo>
                    <a:pt x="1227" y="722"/>
                  </a:lnTo>
                  <a:lnTo>
                    <a:pt x="1222" y="710"/>
                  </a:lnTo>
                  <a:lnTo>
                    <a:pt x="1215" y="708"/>
                  </a:lnTo>
                  <a:lnTo>
                    <a:pt x="1206" y="698"/>
                  </a:lnTo>
                  <a:lnTo>
                    <a:pt x="1206" y="693"/>
                  </a:lnTo>
                  <a:lnTo>
                    <a:pt x="1194" y="684"/>
                  </a:lnTo>
                  <a:lnTo>
                    <a:pt x="1185" y="679"/>
                  </a:lnTo>
                  <a:lnTo>
                    <a:pt x="1177" y="679"/>
                  </a:lnTo>
                  <a:lnTo>
                    <a:pt x="1173" y="684"/>
                  </a:lnTo>
                  <a:lnTo>
                    <a:pt x="1177" y="686"/>
                  </a:lnTo>
                  <a:lnTo>
                    <a:pt x="1173" y="684"/>
                  </a:lnTo>
                  <a:lnTo>
                    <a:pt x="1161" y="691"/>
                  </a:lnTo>
                  <a:lnTo>
                    <a:pt x="1147" y="693"/>
                  </a:lnTo>
                  <a:lnTo>
                    <a:pt x="1147" y="686"/>
                  </a:lnTo>
                  <a:lnTo>
                    <a:pt x="1147" y="693"/>
                  </a:lnTo>
                  <a:lnTo>
                    <a:pt x="1147" y="686"/>
                  </a:lnTo>
                  <a:lnTo>
                    <a:pt x="1137" y="679"/>
                  </a:lnTo>
                  <a:lnTo>
                    <a:pt x="1147" y="679"/>
                  </a:lnTo>
                  <a:lnTo>
                    <a:pt x="1137" y="677"/>
                  </a:lnTo>
                  <a:lnTo>
                    <a:pt x="1133" y="677"/>
                  </a:lnTo>
                  <a:lnTo>
                    <a:pt x="1137" y="677"/>
                  </a:lnTo>
                  <a:lnTo>
                    <a:pt x="1118" y="670"/>
                  </a:lnTo>
                  <a:lnTo>
                    <a:pt x="1123" y="670"/>
                  </a:lnTo>
                  <a:lnTo>
                    <a:pt x="1121" y="670"/>
                  </a:lnTo>
                  <a:lnTo>
                    <a:pt x="1092" y="670"/>
                  </a:lnTo>
                  <a:lnTo>
                    <a:pt x="1102" y="670"/>
                  </a:lnTo>
                  <a:lnTo>
                    <a:pt x="1095" y="665"/>
                  </a:lnTo>
                  <a:lnTo>
                    <a:pt x="1090" y="670"/>
                  </a:lnTo>
                  <a:lnTo>
                    <a:pt x="1083" y="677"/>
                  </a:lnTo>
                  <a:lnTo>
                    <a:pt x="1090" y="670"/>
                  </a:lnTo>
                  <a:lnTo>
                    <a:pt x="1085" y="670"/>
                  </a:lnTo>
                  <a:lnTo>
                    <a:pt x="1083" y="677"/>
                  </a:lnTo>
                  <a:lnTo>
                    <a:pt x="1071" y="677"/>
                  </a:lnTo>
                  <a:lnTo>
                    <a:pt x="1076" y="677"/>
                  </a:lnTo>
                  <a:lnTo>
                    <a:pt x="1074" y="670"/>
                  </a:lnTo>
                  <a:lnTo>
                    <a:pt x="1074" y="663"/>
                  </a:lnTo>
                  <a:lnTo>
                    <a:pt x="1071" y="663"/>
                  </a:lnTo>
                  <a:lnTo>
                    <a:pt x="1067" y="670"/>
                  </a:lnTo>
                  <a:lnTo>
                    <a:pt x="1059" y="670"/>
                  </a:lnTo>
                  <a:lnTo>
                    <a:pt x="1057" y="670"/>
                  </a:lnTo>
                  <a:lnTo>
                    <a:pt x="1043" y="670"/>
                  </a:lnTo>
                  <a:lnTo>
                    <a:pt x="1026" y="677"/>
                  </a:lnTo>
                  <a:lnTo>
                    <a:pt x="1005" y="670"/>
                  </a:lnTo>
                  <a:lnTo>
                    <a:pt x="998" y="677"/>
                  </a:lnTo>
                  <a:lnTo>
                    <a:pt x="998" y="679"/>
                  </a:lnTo>
                  <a:lnTo>
                    <a:pt x="1005" y="679"/>
                  </a:lnTo>
                  <a:lnTo>
                    <a:pt x="1022" y="677"/>
                  </a:lnTo>
                  <a:lnTo>
                    <a:pt x="1015" y="679"/>
                  </a:lnTo>
                  <a:lnTo>
                    <a:pt x="1022" y="686"/>
                  </a:lnTo>
                  <a:lnTo>
                    <a:pt x="1029" y="679"/>
                  </a:lnTo>
                  <a:lnTo>
                    <a:pt x="1031" y="686"/>
                  </a:lnTo>
                  <a:lnTo>
                    <a:pt x="1029" y="691"/>
                  </a:lnTo>
                  <a:lnTo>
                    <a:pt x="1029" y="686"/>
                  </a:lnTo>
                  <a:lnTo>
                    <a:pt x="1019" y="693"/>
                  </a:lnTo>
                  <a:lnTo>
                    <a:pt x="1043" y="710"/>
                  </a:lnTo>
                  <a:lnTo>
                    <a:pt x="1038" y="715"/>
                  </a:lnTo>
                  <a:lnTo>
                    <a:pt x="1036" y="715"/>
                  </a:lnTo>
                  <a:lnTo>
                    <a:pt x="1029" y="717"/>
                  </a:lnTo>
                  <a:lnTo>
                    <a:pt x="1031" y="710"/>
                  </a:lnTo>
                  <a:lnTo>
                    <a:pt x="1029" y="715"/>
                  </a:lnTo>
                  <a:lnTo>
                    <a:pt x="1029" y="708"/>
                  </a:lnTo>
                  <a:lnTo>
                    <a:pt x="1019" y="703"/>
                  </a:lnTo>
                  <a:lnTo>
                    <a:pt x="1019" y="701"/>
                  </a:lnTo>
                  <a:lnTo>
                    <a:pt x="1005" y="698"/>
                  </a:lnTo>
                  <a:lnTo>
                    <a:pt x="1005" y="701"/>
                  </a:lnTo>
                  <a:lnTo>
                    <a:pt x="1012" y="701"/>
                  </a:lnTo>
                  <a:lnTo>
                    <a:pt x="1008" y="710"/>
                  </a:lnTo>
                  <a:lnTo>
                    <a:pt x="1005" y="715"/>
                  </a:lnTo>
                  <a:lnTo>
                    <a:pt x="1005" y="708"/>
                  </a:lnTo>
                  <a:lnTo>
                    <a:pt x="998" y="703"/>
                  </a:lnTo>
                  <a:lnTo>
                    <a:pt x="991" y="710"/>
                  </a:lnTo>
                  <a:lnTo>
                    <a:pt x="975" y="708"/>
                  </a:lnTo>
                  <a:lnTo>
                    <a:pt x="975" y="703"/>
                  </a:lnTo>
                  <a:lnTo>
                    <a:pt x="977" y="703"/>
                  </a:lnTo>
                  <a:lnTo>
                    <a:pt x="977" y="708"/>
                  </a:lnTo>
                  <a:lnTo>
                    <a:pt x="982" y="703"/>
                  </a:lnTo>
                  <a:lnTo>
                    <a:pt x="967" y="698"/>
                  </a:lnTo>
                  <a:lnTo>
                    <a:pt x="963" y="691"/>
                  </a:lnTo>
                  <a:lnTo>
                    <a:pt x="958" y="686"/>
                  </a:lnTo>
                  <a:lnTo>
                    <a:pt x="949" y="691"/>
                  </a:lnTo>
                  <a:lnTo>
                    <a:pt x="953" y="693"/>
                  </a:lnTo>
                  <a:lnTo>
                    <a:pt x="946" y="698"/>
                  </a:lnTo>
                  <a:lnTo>
                    <a:pt x="918" y="691"/>
                  </a:lnTo>
                  <a:lnTo>
                    <a:pt x="901" y="691"/>
                  </a:lnTo>
                  <a:lnTo>
                    <a:pt x="897" y="686"/>
                  </a:lnTo>
                  <a:lnTo>
                    <a:pt x="904" y="684"/>
                  </a:lnTo>
                  <a:lnTo>
                    <a:pt x="901" y="684"/>
                  </a:lnTo>
                  <a:lnTo>
                    <a:pt x="897" y="686"/>
                  </a:lnTo>
                  <a:lnTo>
                    <a:pt x="901" y="693"/>
                  </a:lnTo>
                  <a:lnTo>
                    <a:pt x="892" y="693"/>
                  </a:lnTo>
                  <a:lnTo>
                    <a:pt x="871" y="703"/>
                  </a:lnTo>
                  <a:lnTo>
                    <a:pt x="880" y="698"/>
                  </a:lnTo>
                  <a:lnTo>
                    <a:pt x="871" y="698"/>
                  </a:lnTo>
                  <a:lnTo>
                    <a:pt x="873" y="691"/>
                  </a:lnTo>
                  <a:lnTo>
                    <a:pt x="864" y="691"/>
                  </a:lnTo>
                  <a:lnTo>
                    <a:pt x="871" y="703"/>
                  </a:lnTo>
                  <a:lnTo>
                    <a:pt x="864" y="715"/>
                  </a:lnTo>
                  <a:lnTo>
                    <a:pt x="828" y="734"/>
                  </a:lnTo>
                  <a:lnTo>
                    <a:pt x="835" y="726"/>
                  </a:lnTo>
                  <a:lnTo>
                    <a:pt x="828" y="731"/>
                  </a:lnTo>
                  <a:lnTo>
                    <a:pt x="833" y="726"/>
                  </a:lnTo>
                  <a:lnTo>
                    <a:pt x="826" y="724"/>
                  </a:lnTo>
                  <a:lnTo>
                    <a:pt x="826" y="726"/>
                  </a:lnTo>
                  <a:lnTo>
                    <a:pt x="826" y="726"/>
                  </a:lnTo>
                  <a:lnTo>
                    <a:pt x="819" y="724"/>
                  </a:lnTo>
                  <a:lnTo>
                    <a:pt x="821" y="731"/>
                  </a:lnTo>
                  <a:lnTo>
                    <a:pt x="826" y="734"/>
                  </a:lnTo>
                  <a:lnTo>
                    <a:pt x="819" y="738"/>
                  </a:lnTo>
                  <a:lnTo>
                    <a:pt x="814" y="734"/>
                  </a:lnTo>
                  <a:lnTo>
                    <a:pt x="814" y="738"/>
                  </a:lnTo>
                  <a:lnTo>
                    <a:pt x="812" y="745"/>
                  </a:lnTo>
                  <a:lnTo>
                    <a:pt x="805" y="745"/>
                  </a:lnTo>
                  <a:lnTo>
                    <a:pt x="802" y="745"/>
                  </a:lnTo>
                  <a:lnTo>
                    <a:pt x="807" y="745"/>
                  </a:lnTo>
                  <a:lnTo>
                    <a:pt x="805" y="752"/>
                  </a:lnTo>
                  <a:lnTo>
                    <a:pt x="790" y="752"/>
                  </a:lnTo>
                  <a:lnTo>
                    <a:pt x="802" y="762"/>
                  </a:lnTo>
                  <a:lnTo>
                    <a:pt x="795" y="769"/>
                  </a:lnTo>
                  <a:lnTo>
                    <a:pt x="790" y="769"/>
                  </a:lnTo>
                  <a:lnTo>
                    <a:pt x="786" y="769"/>
                  </a:lnTo>
                  <a:lnTo>
                    <a:pt x="788" y="771"/>
                  </a:lnTo>
                  <a:lnTo>
                    <a:pt x="795" y="769"/>
                  </a:lnTo>
                  <a:lnTo>
                    <a:pt x="790" y="785"/>
                  </a:lnTo>
                  <a:lnTo>
                    <a:pt x="802" y="814"/>
                  </a:lnTo>
                  <a:lnTo>
                    <a:pt x="805" y="809"/>
                  </a:lnTo>
                  <a:lnTo>
                    <a:pt x="805" y="814"/>
                  </a:lnTo>
                  <a:lnTo>
                    <a:pt x="795" y="816"/>
                  </a:lnTo>
                  <a:lnTo>
                    <a:pt x="788" y="814"/>
                  </a:lnTo>
                  <a:lnTo>
                    <a:pt x="772" y="809"/>
                  </a:lnTo>
                  <a:lnTo>
                    <a:pt x="767" y="807"/>
                  </a:lnTo>
                  <a:lnTo>
                    <a:pt x="746" y="800"/>
                  </a:lnTo>
                  <a:lnTo>
                    <a:pt x="746" y="785"/>
                  </a:lnTo>
                  <a:lnTo>
                    <a:pt x="739" y="778"/>
                  </a:lnTo>
                  <a:lnTo>
                    <a:pt x="734" y="762"/>
                  </a:lnTo>
                  <a:lnTo>
                    <a:pt x="724" y="757"/>
                  </a:lnTo>
                  <a:lnTo>
                    <a:pt x="717" y="745"/>
                  </a:lnTo>
                  <a:lnTo>
                    <a:pt x="713" y="738"/>
                  </a:lnTo>
                  <a:lnTo>
                    <a:pt x="701" y="710"/>
                  </a:lnTo>
                  <a:lnTo>
                    <a:pt x="684" y="693"/>
                  </a:lnTo>
                  <a:lnTo>
                    <a:pt x="680" y="691"/>
                  </a:lnTo>
                  <a:lnTo>
                    <a:pt x="661" y="691"/>
                  </a:lnTo>
                  <a:lnTo>
                    <a:pt x="654" y="686"/>
                  </a:lnTo>
                  <a:lnTo>
                    <a:pt x="647" y="691"/>
                  </a:lnTo>
                  <a:lnTo>
                    <a:pt x="639" y="708"/>
                  </a:lnTo>
                  <a:lnTo>
                    <a:pt x="628" y="717"/>
                  </a:lnTo>
                  <a:lnTo>
                    <a:pt x="623" y="715"/>
                  </a:lnTo>
                  <a:lnTo>
                    <a:pt x="604" y="703"/>
                  </a:lnTo>
                  <a:lnTo>
                    <a:pt x="590" y="693"/>
                  </a:lnTo>
                  <a:lnTo>
                    <a:pt x="583" y="684"/>
                  </a:lnTo>
                  <a:lnTo>
                    <a:pt x="583" y="677"/>
                  </a:lnTo>
                  <a:lnTo>
                    <a:pt x="578" y="665"/>
                  </a:lnTo>
                  <a:lnTo>
                    <a:pt x="538" y="634"/>
                  </a:lnTo>
                  <a:lnTo>
                    <a:pt x="536" y="625"/>
                  </a:lnTo>
                  <a:lnTo>
                    <a:pt x="481" y="625"/>
                  </a:lnTo>
                  <a:lnTo>
                    <a:pt x="481" y="639"/>
                  </a:lnTo>
                  <a:lnTo>
                    <a:pt x="399" y="639"/>
                  </a:lnTo>
                  <a:lnTo>
                    <a:pt x="290" y="599"/>
                  </a:lnTo>
                  <a:lnTo>
                    <a:pt x="293" y="592"/>
                  </a:lnTo>
                  <a:lnTo>
                    <a:pt x="222" y="599"/>
                  </a:lnTo>
                  <a:lnTo>
                    <a:pt x="217" y="592"/>
                  </a:lnTo>
                  <a:lnTo>
                    <a:pt x="222" y="597"/>
                  </a:lnTo>
                  <a:lnTo>
                    <a:pt x="217" y="597"/>
                  </a:lnTo>
                  <a:lnTo>
                    <a:pt x="217" y="587"/>
                  </a:lnTo>
                  <a:lnTo>
                    <a:pt x="215" y="573"/>
                  </a:lnTo>
                  <a:lnTo>
                    <a:pt x="194" y="561"/>
                  </a:lnTo>
                  <a:lnTo>
                    <a:pt x="186" y="561"/>
                  </a:lnTo>
                  <a:lnTo>
                    <a:pt x="179" y="549"/>
                  </a:lnTo>
                  <a:lnTo>
                    <a:pt x="165" y="547"/>
                  </a:lnTo>
                  <a:lnTo>
                    <a:pt x="151" y="538"/>
                  </a:lnTo>
                  <a:lnTo>
                    <a:pt x="127" y="538"/>
                  </a:lnTo>
                  <a:lnTo>
                    <a:pt x="120" y="531"/>
                  </a:lnTo>
                  <a:lnTo>
                    <a:pt x="123" y="516"/>
                  </a:lnTo>
                  <a:lnTo>
                    <a:pt x="113" y="512"/>
                  </a:lnTo>
                  <a:lnTo>
                    <a:pt x="113" y="500"/>
                  </a:lnTo>
                  <a:lnTo>
                    <a:pt x="83" y="472"/>
                  </a:lnTo>
                  <a:lnTo>
                    <a:pt x="83" y="462"/>
                  </a:lnTo>
                  <a:lnTo>
                    <a:pt x="87" y="462"/>
                  </a:lnTo>
                  <a:lnTo>
                    <a:pt x="87" y="450"/>
                  </a:lnTo>
                  <a:lnTo>
                    <a:pt x="83" y="448"/>
                  </a:lnTo>
                  <a:lnTo>
                    <a:pt x="76" y="448"/>
                  </a:lnTo>
                  <a:lnTo>
                    <a:pt x="69" y="441"/>
                  </a:lnTo>
                  <a:lnTo>
                    <a:pt x="69" y="434"/>
                  </a:lnTo>
                  <a:lnTo>
                    <a:pt x="66" y="431"/>
                  </a:lnTo>
                  <a:lnTo>
                    <a:pt x="66" y="424"/>
                  </a:lnTo>
                  <a:lnTo>
                    <a:pt x="69" y="424"/>
                  </a:lnTo>
                  <a:lnTo>
                    <a:pt x="73" y="427"/>
                  </a:lnTo>
                  <a:lnTo>
                    <a:pt x="83" y="431"/>
                  </a:lnTo>
                  <a:lnTo>
                    <a:pt x="69" y="417"/>
                  </a:lnTo>
                  <a:lnTo>
                    <a:pt x="76" y="413"/>
                  </a:lnTo>
                  <a:lnTo>
                    <a:pt x="90" y="417"/>
                  </a:lnTo>
                  <a:lnTo>
                    <a:pt x="94" y="413"/>
                  </a:lnTo>
                  <a:lnTo>
                    <a:pt x="97" y="417"/>
                  </a:lnTo>
                  <a:lnTo>
                    <a:pt x="94" y="413"/>
                  </a:lnTo>
                  <a:lnTo>
                    <a:pt x="87" y="413"/>
                  </a:lnTo>
                  <a:lnTo>
                    <a:pt x="83" y="410"/>
                  </a:lnTo>
                  <a:lnTo>
                    <a:pt x="80" y="413"/>
                  </a:lnTo>
                  <a:lnTo>
                    <a:pt x="73" y="410"/>
                  </a:lnTo>
                  <a:lnTo>
                    <a:pt x="69" y="410"/>
                  </a:lnTo>
                  <a:lnTo>
                    <a:pt x="69" y="420"/>
                  </a:lnTo>
                  <a:lnTo>
                    <a:pt x="66" y="424"/>
                  </a:lnTo>
                  <a:lnTo>
                    <a:pt x="57" y="413"/>
                  </a:lnTo>
                  <a:lnTo>
                    <a:pt x="52" y="417"/>
                  </a:lnTo>
                  <a:lnTo>
                    <a:pt x="52" y="405"/>
                  </a:lnTo>
                  <a:lnTo>
                    <a:pt x="59" y="413"/>
                  </a:lnTo>
                  <a:lnTo>
                    <a:pt x="50" y="401"/>
                  </a:lnTo>
                  <a:lnTo>
                    <a:pt x="28" y="382"/>
                  </a:lnTo>
                  <a:lnTo>
                    <a:pt x="28" y="354"/>
                  </a:lnTo>
                  <a:lnTo>
                    <a:pt x="21" y="342"/>
                  </a:lnTo>
                  <a:lnTo>
                    <a:pt x="14" y="337"/>
                  </a:lnTo>
                  <a:lnTo>
                    <a:pt x="12" y="332"/>
                  </a:lnTo>
                  <a:lnTo>
                    <a:pt x="17" y="318"/>
                  </a:lnTo>
                  <a:lnTo>
                    <a:pt x="21" y="295"/>
                  </a:lnTo>
                  <a:lnTo>
                    <a:pt x="17" y="280"/>
                  </a:lnTo>
                  <a:lnTo>
                    <a:pt x="17" y="273"/>
                  </a:lnTo>
                  <a:lnTo>
                    <a:pt x="12" y="266"/>
                  </a:lnTo>
                  <a:lnTo>
                    <a:pt x="12" y="252"/>
                  </a:lnTo>
                  <a:lnTo>
                    <a:pt x="7" y="243"/>
                  </a:lnTo>
                  <a:lnTo>
                    <a:pt x="12" y="226"/>
                  </a:lnTo>
                  <a:lnTo>
                    <a:pt x="17" y="226"/>
                  </a:lnTo>
                  <a:lnTo>
                    <a:pt x="17" y="221"/>
                  </a:lnTo>
                  <a:lnTo>
                    <a:pt x="14" y="221"/>
                  </a:lnTo>
                  <a:lnTo>
                    <a:pt x="21" y="212"/>
                  </a:lnTo>
                  <a:lnTo>
                    <a:pt x="21" y="169"/>
                  </a:lnTo>
                  <a:lnTo>
                    <a:pt x="24" y="160"/>
                  </a:lnTo>
                  <a:lnTo>
                    <a:pt x="24" y="146"/>
                  </a:lnTo>
                  <a:lnTo>
                    <a:pt x="28" y="146"/>
                  </a:lnTo>
                  <a:lnTo>
                    <a:pt x="24" y="120"/>
                  </a:lnTo>
                  <a:lnTo>
                    <a:pt x="35" y="118"/>
                  </a:lnTo>
                  <a:lnTo>
                    <a:pt x="43" y="122"/>
                  </a:lnTo>
                  <a:lnTo>
                    <a:pt x="45" y="120"/>
                  </a:lnTo>
                  <a:lnTo>
                    <a:pt x="24" y="118"/>
                  </a:lnTo>
                  <a:lnTo>
                    <a:pt x="21" y="106"/>
                  </a:lnTo>
                  <a:lnTo>
                    <a:pt x="24" y="113"/>
                  </a:lnTo>
                  <a:lnTo>
                    <a:pt x="28" y="106"/>
                  </a:lnTo>
                  <a:lnTo>
                    <a:pt x="24" y="106"/>
                  </a:lnTo>
                  <a:lnTo>
                    <a:pt x="28" y="101"/>
                  </a:lnTo>
                  <a:lnTo>
                    <a:pt x="21" y="101"/>
                  </a:lnTo>
                  <a:lnTo>
                    <a:pt x="21" y="99"/>
                  </a:lnTo>
                  <a:lnTo>
                    <a:pt x="28" y="92"/>
                  </a:lnTo>
                  <a:lnTo>
                    <a:pt x="21" y="89"/>
                  </a:lnTo>
                  <a:lnTo>
                    <a:pt x="17" y="96"/>
                  </a:lnTo>
                  <a:lnTo>
                    <a:pt x="12" y="66"/>
                  </a:lnTo>
                  <a:lnTo>
                    <a:pt x="5" y="51"/>
                  </a:lnTo>
                  <a:lnTo>
                    <a:pt x="0" y="40"/>
                  </a:lnTo>
                  <a:lnTo>
                    <a:pt x="24" y="44"/>
                  </a:lnTo>
                  <a:lnTo>
                    <a:pt x="43" y="49"/>
                  </a:lnTo>
                  <a:lnTo>
                    <a:pt x="50" y="44"/>
                  </a:lnTo>
                  <a:lnTo>
                    <a:pt x="57" y="49"/>
                  </a:lnTo>
                  <a:lnTo>
                    <a:pt x="59" y="44"/>
                  </a:lnTo>
                  <a:lnTo>
                    <a:pt x="59" y="49"/>
                  </a:lnTo>
                  <a:lnTo>
                    <a:pt x="61" y="54"/>
                  </a:lnTo>
                  <a:lnTo>
                    <a:pt x="59" y="61"/>
                  </a:lnTo>
                  <a:lnTo>
                    <a:pt x="57" y="59"/>
                  </a:lnTo>
                  <a:lnTo>
                    <a:pt x="45" y="77"/>
                  </a:lnTo>
                  <a:lnTo>
                    <a:pt x="57" y="75"/>
                  </a:lnTo>
                  <a:lnTo>
                    <a:pt x="50" y="75"/>
                  </a:lnTo>
                  <a:lnTo>
                    <a:pt x="66" y="54"/>
                  </a:lnTo>
                  <a:lnTo>
                    <a:pt x="69" y="61"/>
                  </a:lnTo>
                  <a:lnTo>
                    <a:pt x="61" y="66"/>
                  </a:lnTo>
                  <a:lnTo>
                    <a:pt x="61" y="68"/>
                  </a:lnTo>
                  <a:lnTo>
                    <a:pt x="61" y="66"/>
                  </a:lnTo>
                  <a:lnTo>
                    <a:pt x="61" y="73"/>
                  </a:lnTo>
                  <a:lnTo>
                    <a:pt x="66" y="68"/>
                  </a:lnTo>
                  <a:lnTo>
                    <a:pt x="66" y="82"/>
                  </a:lnTo>
                  <a:lnTo>
                    <a:pt x="61" y="77"/>
                  </a:lnTo>
                  <a:lnTo>
                    <a:pt x="61" y="75"/>
                  </a:lnTo>
                  <a:lnTo>
                    <a:pt x="59" y="85"/>
                  </a:lnTo>
                  <a:lnTo>
                    <a:pt x="59" y="75"/>
                  </a:lnTo>
                  <a:lnTo>
                    <a:pt x="50" y="85"/>
                  </a:lnTo>
                  <a:lnTo>
                    <a:pt x="57" y="89"/>
                  </a:lnTo>
                  <a:lnTo>
                    <a:pt x="57" y="85"/>
                  </a:lnTo>
                  <a:lnTo>
                    <a:pt x="59" y="89"/>
                  </a:lnTo>
                  <a:lnTo>
                    <a:pt x="73" y="75"/>
                  </a:lnTo>
                  <a:lnTo>
                    <a:pt x="69" y="66"/>
                  </a:lnTo>
                  <a:lnTo>
                    <a:pt x="73" y="54"/>
                  </a:lnTo>
                  <a:lnTo>
                    <a:pt x="73" y="51"/>
                  </a:lnTo>
                  <a:lnTo>
                    <a:pt x="69" y="44"/>
                  </a:lnTo>
                  <a:lnTo>
                    <a:pt x="69" y="49"/>
                  </a:lnTo>
                  <a:lnTo>
                    <a:pt x="66" y="44"/>
                  </a:lnTo>
                  <a:lnTo>
                    <a:pt x="69" y="42"/>
                  </a:lnTo>
                  <a:lnTo>
                    <a:pt x="59" y="35"/>
                  </a:lnTo>
                  <a:lnTo>
                    <a:pt x="66" y="35"/>
                  </a:lnTo>
                  <a:lnTo>
                    <a:pt x="69" y="28"/>
                  </a:lnTo>
                  <a:lnTo>
                    <a:pt x="66" y="25"/>
                  </a:lnTo>
                  <a:lnTo>
                    <a:pt x="61" y="23"/>
                  </a:lnTo>
                  <a:lnTo>
                    <a:pt x="59" y="21"/>
                  </a:lnTo>
                  <a:lnTo>
                    <a:pt x="59" y="16"/>
                  </a:lnTo>
                  <a:lnTo>
                    <a:pt x="59" y="16"/>
                  </a:lnTo>
                  <a:lnTo>
                    <a:pt x="59" y="16"/>
                  </a:lnTo>
                  <a:lnTo>
                    <a:pt x="59" y="16"/>
                  </a:lnTo>
                  <a:lnTo>
                    <a:pt x="59"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31" name="Freeform 106">
              <a:extLst>
                <a:ext uri="{FF2B5EF4-FFF2-40B4-BE49-F238E27FC236}">
                  <a16:creationId xmlns:a16="http://schemas.microsoft.com/office/drawing/2014/main" id="{4436938E-6E7B-437B-8422-D2D6AECC92EF}"/>
                </a:ext>
              </a:extLst>
            </p:cNvPr>
            <p:cNvSpPr>
              <a:spLocks/>
            </p:cNvSpPr>
            <p:nvPr/>
          </p:nvSpPr>
          <p:spPr bwMode="gray">
            <a:xfrm>
              <a:off x="14776450" y="1465263"/>
              <a:ext cx="11113" cy="4763"/>
            </a:xfrm>
            <a:custGeom>
              <a:avLst/>
              <a:gdLst>
                <a:gd name="T0" fmla="*/ 5 w 7"/>
                <a:gd name="T1" fmla="*/ 0 h 3"/>
                <a:gd name="T2" fmla="*/ 7 w 7"/>
                <a:gd name="T3" fmla="*/ 3 h 3"/>
                <a:gd name="T4" fmla="*/ 0 w 7"/>
                <a:gd name="T5" fmla="*/ 3 h 3"/>
                <a:gd name="T6" fmla="*/ 5 w 7"/>
                <a:gd name="T7" fmla="*/ 0 h 3"/>
                <a:gd name="T8" fmla="*/ 5 w 7"/>
                <a:gd name="T9" fmla="*/ 0 h 3"/>
                <a:gd name="T10" fmla="*/ 5 w 7"/>
                <a:gd name="T11" fmla="*/ 0 h 3"/>
                <a:gd name="T12" fmla="*/ 5 w 7"/>
                <a:gd name="T13" fmla="*/ 0 h 3"/>
                <a:gd name="T14" fmla="*/ 5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5" y="0"/>
                  </a:moveTo>
                  <a:lnTo>
                    <a:pt x="7" y="3"/>
                  </a:lnTo>
                  <a:lnTo>
                    <a:pt x="0" y="3"/>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32" name="Freeform 107">
              <a:extLst>
                <a:ext uri="{FF2B5EF4-FFF2-40B4-BE49-F238E27FC236}">
                  <a16:creationId xmlns:a16="http://schemas.microsoft.com/office/drawing/2014/main" id="{CC202B68-E944-497F-9E1D-2AD3CBBABB22}"/>
                </a:ext>
              </a:extLst>
            </p:cNvPr>
            <p:cNvSpPr>
              <a:spLocks/>
            </p:cNvSpPr>
            <p:nvPr/>
          </p:nvSpPr>
          <p:spPr bwMode="gray">
            <a:xfrm>
              <a:off x="14765338" y="1470025"/>
              <a:ext cx="11113" cy="11113"/>
            </a:xfrm>
            <a:custGeom>
              <a:avLst/>
              <a:gdLst>
                <a:gd name="T0" fmla="*/ 5 w 7"/>
                <a:gd name="T1" fmla="*/ 0 h 7"/>
                <a:gd name="T2" fmla="*/ 7 w 7"/>
                <a:gd name="T3" fmla="*/ 7 h 7"/>
                <a:gd name="T4" fmla="*/ 0 w 7"/>
                <a:gd name="T5" fmla="*/ 7 h 7"/>
                <a:gd name="T6" fmla="*/ 0 w 7"/>
                <a:gd name="T7" fmla="*/ 0 h 7"/>
                <a:gd name="T8" fmla="*/ 5 w 7"/>
                <a:gd name="T9" fmla="*/ 0 h 7"/>
                <a:gd name="T10" fmla="*/ 5 w 7"/>
                <a:gd name="T11" fmla="*/ 0 h 7"/>
                <a:gd name="T12" fmla="*/ 5 w 7"/>
                <a:gd name="T13" fmla="*/ 0 h 7"/>
                <a:gd name="T14" fmla="*/ 5 w 7"/>
                <a:gd name="T15" fmla="*/ 0 h 7"/>
                <a:gd name="T16" fmla="*/ 5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5" y="0"/>
                  </a:moveTo>
                  <a:lnTo>
                    <a:pt x="7" y="7"/>
                  </a:lnTo>
                  <a:lnTo>
                    <a:pt x="0" y="7"/>
                  </a:lnTo>
                  <a:lnTo>
                    <a:pt x="0" y="0"/>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33" name="Freeform 108">
              <a:extLst>
                <a:ext uri="{FF2B5EF4-FFF2-40B4-BE49-F238E27FC236}">
                  <a16:creationId xmlns:a16="http://schemas.microsoft.com/office/drawing/2014/main" id="{BCF5E796-14CD-44F8-A18F-98B310A75266}"/>
                </a:ext>
              </a:extLst>
            </p:cNvPr>
            <p:cNvSpPr>
              <a:spLocks/>
            </p:cNvSpPr>
            <p:nvPr/>
          </p:nvSpPr>
          <p:spPr bwMode="gray">
            <a:xfrm>
              <a:off x="14776450" y="1477963"/>
              <a:ext cx="7938" cy="3175"/>
            </a:xfrm>
            <a:custGeom>
              <a:avLst/>
              <a:gdLst>
                <a:gd name="T0" fmla="*/ 5 w 5"/>
                <a:gd name="T1" fmla="*/ 0 h 2"/>
                <a:gd name="T2" fmla="*/ 5 w 5"/>
                <a:gd name="T3" fmla="*/ 2 h 2"/>
                <a:gd name="T4" fmla="*/ 0 w 5"/>
                <a:gd name="T5" fmla="*/ 2 h 2"/>
                <a:gd name="T6" fmla="*/ 5 w 5"/>
                <a:gd name="T7" fmla="*/ 0 h 2"/>
                <a:gd name="T8" fmla="*/ 5 w 5"/>
                <a:gd name="T9" fmla="*/ 0 h 2"/>
                <a:gd name="T10" fmla="*/ 5 w 5"/>
                <a:gd name="T11" fmla="*/ 0 h 2"/>
                <a:gd name="T12" fmla="*/ 5 w 5"/>
                <a:gd name="T13" fmla="*/ 0 h 2"/>
                <a:gd name="T14" fmla="*/ 5 w 5"/>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5" y="0"/>
                  </a:moveTo>
                  <a:lnTo>
                    <a:pt x="5" y="2"/>
                  </a:lnTo>
                  <a:lnTo>
                    <a:pt x="0" y="2"/>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34" name="Freeform 109">
              <a:extLst>
                <a:ext uri="{FF2B5EF4-FFF2-40B4-BE49-F238E27FC236}">
                  <a16:creationId xmlns:a16="http://schemas.microsoft.com/office/drawing/2014/main" id="{A613CE5C-76A1-4AE9-A914-126CF186E976}"/>
                </a:ext>
              </a:extLst>
            </p:cNvPr>
            <p:cNvSpPr>
              <a:spLocks/>
            </p:cNvSpPr>
            <p:nvPr/>
          </p:nvSpPr>
          <p:spPr bwMode="gray">
            <a:xfrm>
              <a:off x="14787563" y="1489075"/>
              <a:ext cx="22225" cy="22225"/>
            </a:xfrm>
            <a:custGeom>
              <a:avLst/>
              <a:gdLst>
                <a:gd name="T0" fmla="*/ 7 w 14"/>
                <a:gd name="T1" fmla="*/ 0 h 14"/>
                <a:gd name="T2" fmla="*/ 7 w 14"/>
                <a:gd name="T3" fmla="*/ 2 h 14"/>
                <a:gd name="T4" fmla="*/ 2 w 14"/>
                <a:gd name="T5" fmla="*/ 4 h 14"/>
                <a:gd name="T6" fmla="*/ 14 w 14"/>
                <a:gd name="T7" fmla="*/ 11 h 14"/>
                <a:gd name="T8" fmla="*/ 10 w 14"/>
                <a:gd name="T9" fmla="*/ 14 h 14"/>
                <a:gd name="T10" fmla="*/ 0 w 14"/>
                <a:gd name="T11" fmla="*/ 4 h 14"/>
                <a:gd name="T12" fmla="*/ 7 w 14"/>
                <a:gd name="T13" fmla="*/ 0 h 14"/>
                <a:gd name="T14" fmla="*/ 7 w 14"/>
                <a:gd name="T15" fmla="*/ 0 h 14"/>
                <a:gd name="T16" fmla="*/ 7 w 14"/>
                <a:gd name="T17" fmla="*/ 0 h 14"/>
                <a:gd name="T18" fmla="*/ 7 w 14"/>
                <a:gd name="T19" fmla="*/ 0 h 14"/>
                <a:gd name="T20" fmla="*/ 7 w 14"/>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4">
                  <a:moveTo>
                    <a:pt x="7" y="0"/>
                  </a:moveTo>
                  <a:lnTo>
                    <a:pt x="7" y="2"/>
                  </a:lnTo>
                  <a:lnTo>
                    <a:pt x="2" y="4"/>
                  </a:lnTo>
                  <a:lnTo>
                    <a:pt x="14" y="11"/>
                  </a:lnTo>
                  <a:lnTo>
                    <a:pt x="10" y="14"/>
                  </a:lnTo>
                  <a:lnTo>
                    <a:pt x="0" y="4"/>
                  </a:lnTo>
                  <a:lnTo>
                    <a:pt x="7" y="0"/>
                  </a:lnTo>
                  <a:lnTo>
                    <a:pt x="7" y="0"/>
                  </a:lnTo>
                  <a:lnTo>
                    <a:pt x="7"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35" name="Freeform 110">
              <a:extLst>
                <a:ext uri="{FF2B5EF4-FFF2-40B4-BE49-F238E27FC236}">
                  <a16:creationId xmlns:a16="http://schemas.microsoft.com/office/drawing/2014/main" id="{E1C3BF9D-BF45-40E3-8A8E-19951F97FED7}"/>
                </a:ext>
              </a:extLst>
            </p:cNvPr>
            <p:cNvSpPr>
              <a:spLocks/>
            </p:cNvSpPr>
            <p:nvPr/>
          </p:nvSpPr>
          <p:spPr bwMode="gray">
            <a:xfrm>
              <a:off x="14798675" y="1530350"/>
              <a:ext cx="0" cy="3175"/>
            </a:xfrm>
            <a:custGeom>
              <a:avLst/>
              <a:gdLst>
                <a:gd name="T0" fmla="*/ 0 h 2"/>
                <a:gd name="T1" fmla="*/ 2 h 2"/>
                <a:gd name="T2" fmla="*/ 0 h 2"/>
                <a:gd name="T3" fmla="*/ 0 h 2"/>
                <a:gd name="T4" fmla="*/ 0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2"/>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36" name="Freeform 111">
              <a:extLst>
                <a:ext uri="{FF2B5EF4-FFF2-40B4-BE49-F238E27FC236}">
                  <a16:creationId xmlns:a16="http://schemas.microsoft.com/office/drawing/2014/main" id="{85455822-E60A-4453-8599-8831A16DF78F}"/>
                </a:ext>
              </a:extLst>
            </p:cNvPr>
            <p:cNvSpPr>
              <a:spLocks/>
            </p:cNvSpPr>
            <p:nvPr/>
          </p:nvSpPr>
          <p:spPr bwMode="gray">
            <a:xfrm>
              <a:off x="14798675" y="1541463"/>
              <a:ext cx="4763" cy="6350"/>
            </a:xfrm>
            <a:custGeom>
              <a:avLst/>
              <a:gdLst>
                <a:gd name="T0" fmla="*/ 3 w 3"/>
                <a:gd name="T1" fmla="*/ 2 h 4"/>
                <a:gd name="T2" fmla="*/ 0 w 3"/>
                <a:gd name="T3" fmla="*/ 4 h 4"/>
                <a:gd name="T4" fmla="*/ 3 w 3"/>
                <a:gd name="T5" fmla="*/ 0 h 4"/>
                <a:gd name="T6" fmla="*/ 3 w 3"/>
                <a:gd name="T7" fmla="*/ 2 h 4"/>
                <a:gd name="T8" fmla="*/ 3 w 3"/>
                <a:gd name="T9" fmla="*/ 2 h 4"/>
                <a:gd name="T10" fmla="*/ 3 w 3"/>
                <a:gd name="T11" fmla="*/ 2 h 4"/>
                <a:gd name="T12" fmla="*/ 3 w 3"/>
                <a:gd name="T13" fmla="*/ 2 h 4"/>
                <a:gd name="T14" fmla="*/ 3 w 3"/>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3" y="2"/>
                  </a:moveTo>
                  <a:lnTo>
                    <a:pt x="0" y="4"/>
                  </a:lnTo>
                  <a:lnTo>
                    <a:pt x="3" y="0"/>
                  </a:lnTo>
                  <a:lnTo>
                    <a:pt x="3" y="2"/>
                  </a:lnTo>
                  <a:lnTo>
                    <a:pt x="3" y="2"/>
                  </a:lnTo>
                  <a:lnTo>
                    <a:pt x="3" y="2"/>
                  </a:lnTo>
                  <a:lnTo>
                    <a:pt x="3" y="2"/>
                  </a:lnTo>
                  <a:lnTo>
                    <a:pt x="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37" name="Freeform 112">
              <a:extLst>
                <a:ext uri="{FF2B5EF4-FFF2-40B4-BE49-F238E27FC236}">
                  <a16:creationId xmlns:a16="http://schemas.microsoft.com/office/drawing/2014/main" id="{21EC8F1F-782B-40A7-A2B1-819EC2A8BDAA}"/>
                </a:ext>
              </a:extLst>
            </p:cNvPr>
            <p:cNvSpPr>
              <a:spLocks/>
            </p:cNvSpPr>
            <p:nvPr/>
          </p:nvSpPr>
          <p:spPr bwMode="gray">
            <a:xfrm>
              <a:off x="14784388" y="1555750"/>
              <a:ext cx="0" cy="4763"/>
            </a:xfrm>
            <a:custGeom>
              <a:avLst/>
              <a:gdLst>
                <a:gd name="T0" fmla="*/ 0 h 3"/>
                <a:gd name="T1" fmla="*/ 3 h 3"/>
                <a:gd name="T2" fmla="*/ 0 h 3"/>
                <a:gd name="T3" fmla="*/ 0 h 3"/>
                <a:gd name="T4" fmla="*/ 0 h 3"/>
                <a:gd name="T5" fmla="*/ 0 h 3"/>
                <a:gd name="T6" fmla="*/ 0 h 3"/>
              </a:gdLst>
              <a:ahLst/>
              <a:cxnLst>
                <a:cxn ang="0">
                  <a:pos x="0" y="T0"/>
                </a:cxn>
                <a:cxn ang="0">
                  <a:pos x="0" y="T1"/>
                </a:cxn>
                <a:cxn ang="0">
                  <a:pos x="0" y="T2"/>
                </a:cxn>
                <a:cxn ang="0">
                  <a:pos x="0" y="T3"/>
                </a:cxn>
                <a:cxn ang="0">
                  <a:pos x="0" y="T4"/>
                </a:cxn>
                <a:cxn ang="0">
                  <a:pos x="0" y="T5"/>
                </a:cxn>
                <a:cxn ang="0">
                  <a:pos x="0" y="T6"/>
                </a:cxn>
              </a:cxnLst>
              <a:rect l="0" t="0" r="r" b="b"/>
              <a:pathLst>
                <a:path h="3">
                  <a:moveTo>
                    <a:pt x="0" y="0"/>
                  </a:moveTo>
                  <a:lnTo>
                    <a:pt x="0" y="3"/>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38" name="Freeform 113">
              <a:extLst>
                <a:ext uri="{FF2B5EF4-FFF2-40B4-BE49-F238E27FC236}">
                  <a16:creationId xmlns:a16="http://schemas.microsoft.com/office/drawing/2014/main" id="{E4ECA9E4-85C7-49F0-A46A-37248ECC09AC}"/>
                </a:ext>
              </a:extLst>
            </p:cNvPr>
            <p:cNvSpPr>
              <a:spLocks/>
            </p:cNvSpPr>
            <p:nvPr/>
          </p:nvSpPr>
          <p:spPr bwMode="gray">
            <a:xfrm>
              <a:off x="17297400" y="1720850"/>
              <a:ext cx="11113" cy="11113"/>
            </a:xfrm>
            <a:custGeom>
              <a:avLst/>
              <a:gdLst>
                <a:gd name="T0" fmla="*/ 7 w 7"/>
                <a:gd name="T1" fmla="*/ 0 h 7"/>
                <a:gd name="T2" fmla="*/ 7 w 7"/>
                <a:gd name="T3" fmla="*/ 2 h 7"/>
                <a:gd name="T4" fmla="*/ 2 w 7"/>
                <a:gd name="T5" fmla="*/ 7 h 7"/>
                <a:gd name="T6" fmla="*/ 0 w 7"/>
                <a:gd name="T7" fmla="*/ 7 h 7"/>
                <a:gd name="T8" fmla="*/ 0 w 7"/>
                <a:gd name="T9" fmla="*/ 0 h 7"/>
                <a:gd name="T10" fmla="*/ 7 w 7"/>
                <a:gd name="T11" fmla="*/ 0 h 7"/>
                <a:gd name="T12" fmla="*/ 7 w 7"/>
                <a:gd name="T13" fmla="*/ 0 h 7"/>
                <a:gd name="T14" fmla="*/ 7 w 7"/>
                <a:gd name="T15" fmla="*/ 0 h 7"/>
                <a:gd name="T16" fmla="*/ 7 w 7"/>
                <a:gd name="T17" fmla="*/ 0 h 7"/>
                <a:gd name="T18" fmla="*/ 7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7" y="0"/>
                  </a:moveTo>
                  <a:lnTo>
                    <a:pt x="7" y="2"/>
                  </a:lnTo>
                  <a:lnTo>
                    <a:pt x="2" y="7"/>
                  </a:lnTo>
                  <a:lnTo>
                    <a:pt x="0" y="7"/>
                  </a:lnTo>
                  <a:lnTo>
                    <a:pt x="0" y="0"/>
                  </a:lnTo>
                  <a:lnTo>
                    <a:pt x="7" y="0"/>
                  </a:lnTo>
                  <a:lnTo>
                    <a:pt x="7" y="0"/>
                  </a:lnTo>
                  <a:lnTo>
                    <a:pt x="7"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39" name="Freeform 114">
              <a:extLst>
                <a:ext uri="{FF2B5EF4-FFF2-40B4-BE49-F238E27FC236}">
                  <a16:creationId xmlns:a16="http://schemas.microsoft.com/office/drawing/2014/main" id="{1377D540-07B7-45CF-814D-D282407A1086}"/>
                </a:ext>
              </a:extLst>
            </p:cNvPr>
            <p:cNvSpPr>
              <a:spLocks/>
            </p:cNvSpPr>
            <p:nvPr/>
          </p:nvSpPr>
          <p:spPr bwMode="gray">
            <a:xfrm>
              <a:off x="17281525" y="1731963"/>
              <a:ext cx="4763" cy="3175"/>
            </a:xfrm>
            <a:custGeom>
              <a:avLst/>
              <a:gdLst>
                <a:gd name="T0" fmla="*/ 3 w 3"/>
                <a:gd name="T1" fmla="*/ 0 h 2"/>
                <a:gd name="T2" fmla="*/ 3 w 3"/>
                <a:gd name="T3" fmla="*/ 2 h 2"/>
                <a:gd name="T4" fmla="*/ 0 w 3"/>
                <a:gd name="T5" fmla="*/ 2 h 2"/>
                <a:gd name="T6" fmla="*/ 3 w 3"/>
                <a:gd name="T7" fmla="*/ 0 h 2"/>
                <a:gd name="T8" fmla="*/ 3 w 3"/>
                <a:gd name="T9" fmla="*/ 0 h 2"/>
                <a:gd name="T10" fmla="*/ 3 w 3"/>
                <a:gd name="T11" fmla="*/ 0 h 2"/>
                <a:gd name="T12" fmla="*/ 3 w 3"/>
                <a:gd name="T13" fmla="*/ 0 h 2"/>
                <a:gd name="T14" fmla="*/ 3 w 3"/>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3" y="0"/>
                  </a:moveTo>
                  <a:lnTo>
                    <a:pt x="3" y="2"/>
                  </a:lnTo>
                  <a:lnTo>
                    <a:pt x="0" y="2"/>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40" name="Freeform 115">
              <a:extLst>
                <a:ext uri="{FF2B5EF4-FFF2-40B4-BE49-F238E27FC236}">
                  <a16:creationId xmlns:a16="http://schemas.microsoft.com/office/drawing/2014/main" id="{F3162FA9-8901-45DC-A50C-5110D14D2068}"/>
                </a:ext>
              </a:extLst>
            </p:cNvPr>
            <p:cNvSpPr>
              <a:spLocks/>
            </p:cNvSpPr>
            <p:nvPr/>
          </p:nvSpPr>
          <p:spPr bwMode="gray">
            <a:xfrm>
              <a:off x="17275175" y="1735138"/>
              <a:ext cx="6350" cy="4763"/>
            </a:xfrm>
            <a:custGeom>
              <a:avLst/>
              <a:gdLst>
                <a:gd name="T0" fmla="*/ 4 w 4"/>
                <a:gd name="T1" fmla="*/ 3 h 3"/>
                <a:gd name="T2" fmla="*/ 0 w 4"/>
                <a:gd name="T3" fmla="*/ 3 h 3"/>
                <a:gd name="T4" fmla="*/ 0 w 4"/>
                <a:gd name="T5" fmla="*/ 0 h 3"/>
                <a:gd name="T6" fmla="*/ 4 w 4"/>
                <a:gd name="T7" fmla="*/ 3 h 3"/>
                <a:gd name="T8" fmla="*/ 4 w 4"/>
                <a:gd name="T9" fmla="*/ 3 h 3"/>
                <a:gd name="T10" fmla="*/ 4 w 4"/>
                <a:gd name="T11" fmla="*/ 3 h 3"/>
                <a:gd name="T12" fmla="*/ 4 w 4"/>
                <a:gd name="T13" fmla="*/ 3 h 3"/>
                <a:gd name="T14" fmla="*/ 4 w 4"/>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4" y="3"/>
                  </a:moveTo>
                  <a:lnTo>
                    <a:pt x="0" y="3"/>
                  </a:lnTo>
                  <a:lnTo>
                    <a:pt x="0" y="0"/>
                  </a:lnTo>
                  <a:lnTo>
                    <a:pt x="4" y="3"/>
                  </a:lnTo>
                  <a:lnTo>
                    <a:pt x="4" y="3"/>
                  </a:lnTo>
                  <a:lnTo>
                    <a:pt x="4" y="3"/>
                  </a:lnTo>
                  <a:lnTo>
                    <a:pt x="4" y="3"/>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41" name="Freeform 116">
              <a:extLst>
                <a:ext uri="{FF2B5EF4-FFF2-40B4-BE49-F238E27FC236}">
                  <a16:creationId xmlns:a16="http://schemas.microsoft.com/office/drawing/2014/main" id="{03582188-F5B5-4BA8-817E-AD13FEFBC2AE}"/>
                </a:ext>
              </a:extLst>
            </p:cNvPr>
            <p:cNvSpPr>
              <a:spLocks/>
            </p:cNvSpPr>
            <p:nvPr/>
          </p:nvSpPr>
          <p:spPr bwMode="gray">
            <a:xfrm>
              <a:off x="17159288" y="1881188"/>
              <a:ext cx="11113" cy="12700"/>
            </a:xfrm>
            <a:custGeom>
              <a:avLst/>
              <a:gdLst>
                <a:gd name="T0" fmla="*/ 7 w 7"/>
                <a:gd name="T1" fmla="*/ 0 h 8"/>
                <a:gd name="T2" fmla="*/ 4 w 7"/>
                <a:gd name="T3" fmla="*/ 3 h 8"/>
                <a:gd name="T4" fmla="*/ 0 w 7"/>
                <a:gd name="T5" fmla="*/ 8 h 8"/>
                <a:gd name="T6" fmla="*/ 7 w 7"/>
                <a:gd name="T7" fmla="*/ 0 h 8"/>
                <a:gd name="T8" fmla="*/ 7 w 7"/>
                <a:gd name="T9" fmla="*/ 0 h 8"/>
                <a:gd name="T10" fmla="*/ 7 w 7"/>
                <a:gd name="T11" fmla="*/ 0 h 8"/>
                <a:gd name="T12" fmla="*/ 7 w 7"/>
                <a:gd name="T13" fmla="*/ 0 h 8"/>
                <a:gd name="T14" fmla="*/ 7 w 7"/>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8">
                  <a:moveTo>
                    <a:pt x="7" y="0"/>
                  </a:moveTo>
                  <a:lnTo>
                    <a:pt x="4" y="3"/>
                  </a:lnTo>
                  <a:lnTo>
                    <a:pt x="0" y="8"/>
                  </a:lnTo>
                  <a:lnTo>
                    <a:pt x="7" y="0"/>
                  </a:lnTo>
                  <a:lnTo>
                    <a:pt x="7" y="0"/>
                  </a:lnTo>
                  <a:lnTo>
                    <a:pt x="7"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42" name="Freeform 117">
              <a:extLst>
                <a:ext uri="{FF2B5EF4-FFF2-40B4-BE49-F238E27FC236}">
                  <a16:creationId xmlns:a16="http://schemas.microsoft.com/office/drawing/2014/main" id="{EB97BE47-2EE1-4D50-9105-AD433540060E}"/>
                </a:ext>
              </a:extLst>
            </p:cNvPr>
            <p:cNvSpPr>
              <a:spLocks/>
            </p:cNvSpPr>
            <p:nvPr/>
          </p:nvSpPr>
          <p:spPr bwMode="gray">
            <a:xfrm>
              <a:off x="17181513" y="1893888"/>
              <a:ext cx="17463" cy="3175"/>
            </a:xfrm>
            <a:custGeom>
              <a:avLst/>
              <a:gdLst>
                <a:gd name="T0" fmla="*/ 11 w 11"/>
                <a:gd name="T1" fmla="*/ 0 h 2"/>
                <a:gd name="T2" fmla="*/ 11 w 11"/>
                <a:gd name="T3" fmla="*/ 2 h 2"/>
                <a:gd name="T4" fmla="*/ 0 w 11"/>
                <a:gd name="T5" fmla="*/ 2 h 2"/>
                <a:gd name="T6" fmla="*/ 11 w 11"/>
                <a:gd name="T7" fmla="*/ 0 h 2"/>
                <a:gd name="T8" fmla="*/ 11 w 11"/>
                <a:gd name="T9" fmla="*/ 0 h 2"/>
                <a:gd name="T10" fmla="*/ 11 w 11"/>
                <a:gd name="T11" fmla="*/ 0 h 2"/>
                <a:gd name="T12" fmla="*/ 11 w 11"/>
                <a:gd name="T13" fmla="*/ 0 h 2"/>
                <a:gd name="T14" fmla="*/ 11 w 11"/>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
                  <a:moveTo>
                    <a:pt x="11" y="0"/>
                  </a:moveTo>
                  <a:lnTo>
                    <a:pt x="11" y="2"/>
                  </a:lnTo>
                  <a:lnTo>
                    <a:pt x="0" y="2"/>
                  </a:lnTo>
                  <a:lnTo>
                    <a:pt x="11" y="0"/>
                  </a:lnTo>
                  <a:lnTo>
                    <a:pt x="11" y="0"/>
                  </a:lnTo>
                  <a:lnTo>
                    <a:pt x="11" y="0"/>
                  </a:lnTo>
                  <a:lnTo>
                    <a:pt x="11" y="0"/>
                  </a:ln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43" name="Freeform 118">
              <a:extLst>
                <a:ext uri="{FF2B5EF4-FFF2-40B4-BE49-F238E27FC236}">
                  <a16:creationId xmlns:a16="http://schemas.microsoft.com/office/drawing/2014/main" id="{263AF341-4560-42A8-93E7-4099E3F278C1}"/>
                </a:ext>
              </a:extLst>
            </p:cNvPr>
            <p:cNvSpPr>
              <a:spLocks/>
            </p:cNvSpPr>
            <p:nvPr/>
          </p:nvSpPr>
          <p:spPr bwMode="gray">
            <a:xfrm>
              <a:off x="17214850" y="1897063"/>
              <a:ext cx="11113" cy="7938"/>
            </a:xfrm>
            <a:custGeom>
              <a:avLst/>
              <a:gdLst>
                <a:gd name="T0" fmla="*/ 2 w 7"/>
                <a:gd name="T1" fmla="*/ 0 h 5"/>
                <a:gd name="T2" fmla="*/ 7 w 7"/>
                <a:gd name="T3" fmla="*/ 5 h 5"/>
                <a:gd name="T4" fmla="*/ 0 w 7"/>
                <a:gd name="T5" fmla="*/ 5 h 5"/>
                <a:gd name="T6" fmla="*/ 2 w 7"/>
                <a:gd name="T7" fmla="*/ 0 h 5"/>
                <a:gd name="T8" fmla="*/ 2 w 7"/>
                <a:gd name="T9" fmla="*/ 0 h 5"/>
                <a:gd name="T10" fmla="*/ 2 w 7"/>
                <a:gd name="T11" fmla="*/ 0 h 5"/>
                <a:gd name="T12" fmla="*/ 2 w 7"/>
                <a:gd name="T13" fmla="*/ 0 h 5"/>
                <a:gd name="T14" fmla="*/ 2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2" y="0"/>
                  </a:moveTo>
                  <a:lnTo>
                    <a:pt x="7" y="5"/>
                  </a:lnTo>
                  <a:lnTo>
                    <a:pt x="0" y="5"/>
                  </a:lnTo>
                  <a:lnTo>
                    <a:pt x="2" y="0"/>
                  </a:lnTo>
                  <a:lnTo>
                    <a:pt x="2" y="0"/>
                  </a:lnTo>
                  <a:lnTo>
                    <a:pt x="2"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44" name="Freeform 119">
              <a:extLst>
                <a:ext uri="{FF2B5EF4-FFF2-40B4-BE49-F238E27FC236}">
                  <a16:creationId xmlns:a16="http://schemas.microsoft.com/office/drawing/2014/main" id="{DF4B8D1A-F8D3-40AF-91DF-15496890A747}"/>
                </a:ext>
              </a:extLst>
            </p:cNvPr>
            <p:cNvSpPr>
              <a:spLocks/>
            </p:cNvSpPr>
            <p:nvPr/>
          </p:nvSpPr>
          <p:spPr bwMode="gray">
            <a:xfrm>
              <a:off x="17035463" y="1908175"/>
              <a:ext cx="104775" cy="33338"/>
            </a:xfrm>
            <a:custGeom>
              <a:avLst/>
              <a:gdLst>
                <a:gd name="T0" fmla="*/ 37 w 66"/>
                <a:gd name="T1" fmla="*/ 14 h 21"/>
                <a:gd name="T2" fmla="*/ 9 w 66"/>
                <a:gd name="T3" fmla="*/ 21 h 21"/>
                <a:gd name="T4" fmla="*/ 14 w 66"/>
                <a:gd name="T5" fmla="*/ 21 h 21"/>
                <a:gd name="T6" fmla="*/ 2 w 66"/>
                <a:gd name="T7" fmla="*/ 21 h 21"/>
                <a:gd name="T8" fmla="*/ 7 w 66"/>
                <a:gd name="T9" fmla="*/ 21 h 21"/>
                <a:gd name="T10" fmla="*/ 0 w 66"/>
                <a:gd name="T11" fmla="*/ 21 h 21"/>
                <a:gd name="T12" fmla="*/ 2 w 66"/>
                <a:gd name="T13" fmla="*/ 14 h 21"/>
                <a:gd name="T14" fmla="*/ 14 w 66"/>
                <a:gd name="T15" fmla="*/ 9 h 21"/>
                <a:gd name="T16" fmla="*/ 44 w 66"/>
                <a:gd name="T17" fmla="*/ 7 h 21"/>
                <a:gd name="T18" fmla="*/ 54 w 66"/>
                <a:gd name="T19" fmla="*/ 0 h 21"/>
                <a:gd name="T20" fmla="*/ 44 w 66"/>
                <a:gd name="T21" fmla="*/ 9 h 21"/>
                <a:gd name="T22" fmla="*/ 66 w 66"/>
                <a:gd name="T23" fmla="*/ 5 h 21"/>
                <a:gd name="T24" fmla="*/ 37 w 66"/>
                <a:gd name="T25" fmla="*/ 14 h 21"/>
                <a:gd name="T26" fmla="*/ 37 w 66"/>
                <a:gd name="T27" fmla="*/ 14 h 21"/>
                <a:gd name="T28" fmla="*/ 37 w 66"/>
                <a:gd name="T29" fmla="*/ 14 h 21"/>
                <a:gd name="T30" fmla="*/ 37 w 66"/>
                <a:gd name="T31" fmla="*/ 14 h 21"/>
                <a:gd name="T32" fmla="*/ 37 w 66"/>
                <a:gd name="T33" fmla="*/ 1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1">
                  <a:moveTo>
                    <a:pt x="37" y="14"/>
                  </a:moveTo>
                  <a:lnTo>
                    <a:pt x="9" y="21"/>
                  </a:lnTo>
                  <a:lnTo>
                    <a:pt x="14" y="21"/>
                  </a:lnTo>
                  <a:lnTo>
                    <a:pt x="2" y="21"/>
                  </a:lnTo>
                  <a:lnTo>
                    <a:pt x="7" y="21"/>
                  </a:lnTo>
                  <a:lnTo>
                    <a:pt x="0" y="21"/>
                  </a:lnTo>
                  <a:lnTo>
                    <a:pt x="2" y="14"/>
                  </a:lnTo>
                  <a:lnTo>
                    <a:pt x="14" y="9"/>
                  </a:lnTo>
                  <a:lnTo>
                    <a:pt x="44" y="7"/>
                  </a:lnTo>
                  <a:lnTo>
                    <a:pt x="54" y="0"/>
                  </a:lnTo>
                  <a:lnTo>
                    <a:pt x="44" y="9"/>
                  </a:lnTo>
                  <a:lnTo>
                    <a:pt x="66" y="5"/>
                  </a:lnTo>
                  <a:lnTo>
                    <a:pt x="37" y="14"/>
                  </a:lnTo>
                  <a:lnTo>
                    <a:pt x="37" y="14"/>
                  </a:lnTo>
                  <a:lnTo>
                    <a:pt x="37" y="14"/>
                  </a:lnTo>
                  <a:lnTo>
                    <a:pt x="37" y="14"/>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45" name="Freeform 120">
              <a:extLst>
                <a:ext uri="{FF2B5EF4-FFF2-40B4-BE49-F238E27FC236}">
                  <a16:creationId xmlns:a16="http://schemas.microsoft.com/office/drawing/2014/main" id="{AA189FAE-5157-4595-A634-22B0D2FAB681}"/>
                </a:ext>
              </a:extLst>
            </p:cNvPr>
            <p:cNvSpPr>
              <a:spLocks/>
            </p:cNvSpPr>
            <p:nvPr/>
          </p:nvSpPr>
          <p:spPr bwMode="gray">
            <a:xfrm>
              <a:off x="17027525" y="1941513"/>
              <a:ext cx="7938" cy="4763"/>
            </a:xfrm>
            <a:custGeom>
              <a:avLst/>
              <a:gdLst>
                <a:gd name="T0" fmla="*/ 5 w 5"/>
                <a:gd name="T1" fmla="*/ 0 h 3"/>
                <a:gd name="T2" fmla="*/ 0 w 5"/>
                <a:gd name="T3" fmla="*/ 3 h 3"/>
                <a:gd name="T4" fmla="*/ 5 w 5"/>
                <a:gd name="T5" fmla="*/ 0 h 3"/>
                <a:gd name="T6" fmla="*/ 5 w 5"/>
                <a:gd name="T7" fmla="*/ 0 h 3"/>
                <a:gd name="T8" fmla="*/ 5 w 5"/>
                <a:gd name="T9" fmla="*/ 0 h 3"/>
                <a:gd name="T10" fmla="*/ 5 w 5"/>
                <a:gd name="T11" fmla="*/ 0 h 3"/>
                <a:gd name="T12" fmla="*/ 5 w 5"/>
                <a:gd name="T13" fmla="*/ 0 h 3"/>
                <a:gd name="T14" fmla="*/ 5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5" y="0"/>
                  </a:moveTo>
                  <a:lnTo>
                    <a:pt x="0" y="3"/>
                  </a:lnTo>
                  <a:lnTo>
                    <a:pt x="5" y="0"/>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46" name="Freeform 121">
              <a:extLst>
                <a:ext uri="{FF2B5EF4-FFF2-40B4-BE49-F238E27FC236}">
                  <a16:creationId xmlns:a16="http://schemas.microsoft.com/office/drawing/2014/main" id="{2E6239E8-27F4-49E4-B876-3B0D3F20283C}"/>
                </a:ext>
              </a:extLst>
            </p:cNvPr>
            <p:cNvSpPr>
              <a:spLocks/>
            </p:cNvSpPr>
            <p:nvPr/>
          </p:nvSpPr>
          <p:spPr bwMode="gray">
            <a:xfrm>
              <a:off x="17016413" y="2001838"/>
              <a:ext cx="11113" cy="3175"/>
            </a:xfrm>
            <a:custGeom>
              <a:avLst/>
              <a:gdLst>
                <a:gd name="T0" fmla="*/ 5 w 7"/>
                <a:gd name="T1" fmla="*/ 2 h 2"/>
                <a:gd name="T2" fmla="*/ 0 w 7"/>
                <a:gd name="T3" fmla="*/ 2 h 2"/>
                <a:gd name="T4" fmla="*/ 7 w 7"/>
                <a:gd name="T5" fmla="*/ 0 h 2"/>
                <a:gd name="T6" fmla="*/ 5 w 7"/>
                <a:gd name="T7" fmla="*/ 2 h 2"/>
                <a:gd name="T8" fmla="*/ 5 w 7"/>
                <a:gd name="T9" fmla="*/ 2 h 2"/>
                <a:gd name="T10" fmla="*/ 5 w 7"/>
                <a:gd name="T11" fmla="*/ 2 h 2"/>
                <a:gd name="T12" fmla="*/ 5 w 7"/>
                <a:gd name="T13" fmla="*/ 2 h 2"/>
                <a:gd name="T14" fmla="*/ 5 w 7"/>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2">
                  <a:moveTo>
                    <a:pt x="5" y="2"/>
                  </a:moveTo>
                  <a:lnTo>
                    <a:pt x="0" y="2"/>
                  </a:lnTo>
                  <a:lnTo>
                    <a:pt x="7" y="0"/>
                  </a:lnTo>
                  <a:lnTo>
                    <a:pt x="5" y="2"/>
                  </a:lnTo>
                  <a:lnTo>
                    <a:pt x="5" y="2"/>
                  </a:lnTo>
                  <a:lnTo>
                    <a:pt x="5" y="2"/>
                  </a:lnTo>
                  <a:lnTo>
                    <a:pt x="5" y="2"/>
                  </a:lnTo>
                  <a:lnTo>
                    <a:pt x="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47" name="Freeform 122">
              <a:extLst>
                <a:ext uri="{FF2B5EF4-FFF2-40B4-BE49-F238E27FC236}">
                  <a16:creationId xmlns:a16="http://schemas.microsoft.com/office/drawing/2014/main" id="{7D91730A-8042-47E4-9FCF-A5A63E793B89}"/>
                </a:ext>
              </a:extLst>
            </p:cNvPr>
            <p:cNvSpPr>
              <a:spLocks/>
            </p:cNvSpPr>
            <p:nvPr/>
          </p:nvSpPr>
          <p:spPr bwMode="gray">
            <a:xfrm>
              <a:off x="16975138" y="2068513"/>
              <a:ext cx="11113" cy="23813"/>
            </a:xfrm>
            <a:custGeom>
              <a:avLst/>
              <a:gdLst>
                <a:gd name="T0" fmla="*/ 5 w 7"/>
                <a:gd name="T1" fmla="*/ 8 h 15"/>
                <a:gd name="T2" fmla="*/ 0 w 7"/>
                <a:gd name="T3" fmla="*/ 15 h 15"/>
                <a:gd name="T4" fmla="*/ 7 w 7"/>
                <a:gd name="T5" fmla="*/ 0 h 15"/>
                <a:gd name="T6" fmla="*/ 5 w 7"/>
                <a:gd name="T7" fmla="*/ 8 h 15"/>
                <a:gd name="T8" fmla="*/ 5 w 7"/>
                <a:gd name="T9" fmla="*/ 8 h 15"/>
                <a:gd name="T10" fmla="*/ 5 w 7"/>
                <a:gd name="T11" fmla="*/ 8 h 15"/>
                <a:gd name="T12" fmla="*/ 5 w 7"/>
                <a:gd name="T13" fmla="*/ 8 h 15"/>
                <a:gd name="T14" fmla="*/ 5 w 7"/>
                <a:gd name="T15" fmla="*/ 8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8"/>
                  </a:moveTo>
                  <a:lnTo>
                    <a:pt x="0" y="15"/>
                  </a:lnTo>
                  <a:lnTo>
                    <a:pt x="7" y="0"/>
                  </a:lnTo>
                  <a:lnTo>
                    <a:pt x="5" y="8"/>
                  </a:lnTo>
                  <a:lnTo>
                    <a:pt x="5" y="8"/>
                  </a:lnTo>
                  <a:lnTo>
                    <a:pt x="5" y="8"/>
                  </a:lnTo>
                  <a:lnTo>
                    <a:pt x="5" y="8"/>
                  </a:lnTo>
                  <a:lnTo>
                    <a:pt x="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48" name="Freeform 123">
              <a:extLst>
                <a:ext uri="{FF2B5EF4-FFF2-40B4-BE49-F238E27FC236}">
                  <a16:creationId xmlns:a16="http://schemas.microsoft.com/office/drawing/2014/main" id="{A13433F2-3D9A-410C-94F1-AF10F0400112}"/>
                </a:ext>
              </a:extLst>
            </p:cNvPr>
            <p:cNvSpPr>
              <a:spLocks/>
            </p:cNvSpPr>
            <p:nvPr/>
          </p:nvSpPr>
          <p:spPr bwMode="gray">
            <a:xfrm>
              <a:off x="16964025" y="2208213"/>
              <a:ext cx="7938" cy="30163"/>
            </a:xfrm>
            <a:custGeom>
              <a:avLst/>
              <a:gdLst>
                <a:gd name="T0" fmla="*/ 0 w 5"/>
                <a:gd name="T1" fmla="*/ 19 h 19"/>
                <a:gd name="T2" fmla="*/ 0 w 5"/>
                <a:gd name="T3" fmla="*/ 19 h 19"/>
                <a:gd name="T4" fmla="*/ 5 w 5"/>
                <a:gd name="T5" fmla="*/ 14 h 19"/>
                <a:gd name="T6" fmla="*/ 5 w 5"/>
                <a:gd name="T7" fmla="*/ 0 h 19"/>
                <a:gd name="T8" fmla="*/ 5 w 5"/>
                <a:gd name="T9" fmla="*/ 5 h 19"/>
                <a:gd name="T10" fmla="*/ 0 w 5"/>
                <a:gd name="T11" fmla="*/ 19 h 19"/>
                <a:gd name="T12" fmla="*/ 0 w 5"/>
                <a:gd name="T13" fmla="*/ 19 h 19"/>
                <a:gd name="T14" fmla="*/ 0 w 5"/>
                <a:gd name="T15" fmla="*/ 19 h 19"/>
                <a:gd name="T16" fmla="*/ 0 w 5"/>
                <a:gd name="T17" fmla="*/ 19 h 19"/>
                <a:gd name="T18" fmla="*/ 0 w 5"/>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9">
                  <a:moveTo>
                    <a:pt x="0" y="19"/>
                  </a:moveTo>
                  <a:lnTo>
                    <a:pt x="0" y="19"/>
                  </a:lnTo>
                  <a:lnTo>
                    <a:pt x="5" y="14"/>
                  </a:lnTo>
                  <a:lnTo>
                    <a:pt x="5" y="0"/>
                  </a:lnTo>
                  <a:lnTo>
                    <a:pt x="5" y="5"/>
                  </a:lnTo>
                  <a:lnTo>
                    <a:pt x="0" y="19"/>
                  </a:lnTo>
                  <a:lnTo>
                    <a:pt x="0" y="19"/>
                  </a:lnTo>
                  <a:lnTo>
                    <a:pt x="0" y="19"/>
                  </a:lnTo>
                  <a:lnTo>
                    <a:pt x="0" y="19"/>
                  </a:lnTo>
                  <a:lnTo>
                    <a:pt x="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49" name="Freeform 124">
              <a:extLst>
                <a:ext uri="{FF2B5EF4-FFF2-40B4-BE49-F238E27FC236}">
                  <a16:creationId xmlns:a16="http://schemas.microsoft.com/office/drawing/2014/main" id="{501B426F-A69C-4C9E-A785-0CF894245488}"/>
                </a:ext>
              </a:extLst>
            </p:cNvPr>
            <p:cNvSpPr>
              <a:spLocks/>
            </p:cNvSpPr>
            <p:nvPr/>
          </p:nvSpPr>
          <p:spPr bwMode="gray">
            <a:xfrm>
              <a:off x="14919325" y="2293938"/>
              <a:ext cx="22225" cy="11113"/>
            </a:xfrm>
            <a:custGeom>
              <a:avLst/>
              <a:gdLst>
                <a:gd name="T0" fmla="*/ 0 w 14"/>
                <a:gd name="T1" fmla="*/ 0 h 7"/>
                <a:gd name="T2" fmla="*/ 14 w 14"/>
                <a:gd name="T3" fmla="*/ 2 h 7"/>
                <a:gd name="T4" fmla="*/ 4 w 14"/>
                <a:gd name="T5" fmla="*/ 7 h 7"/>
                <a:gd name="T6" fmla="*/ 0 w 14"/>
                <a:gd name="T7" fmla="*/ 2 h 7"/>
                <a:gd name="T8" fmla="*/ 0 w 14"/>
                <a:gd name="T9" fmla="*/ 0 h 7"/>
                <a:gd name="T10" fmla="*/ 0 w 14"/>
                <a:gd name="T11" fmla="*/ 0 h 7"/>
                <a:gd name="T12" fmla="*/ 0 w 14"/>
                <a:gd name="T13" fmla="*/ 0 h 7"/>
                <a:gd name="T14" fmla="*/ 0 w 14"/>
                <a:gd name="T15" fmla="*/ 0 h 7"/>
                <a:gd name="T16" fmla="*/ 0 w 1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7">
                  <a:moveTo>
                    <a:pt x="0" y="0"/>
                  </a:moveTo>
                  <a:lnTo>
                    <a:pt x="14" y="2"/>
                  </a:lnTo>
                  <a:lnTo>
                    <a:pt x="4" y="7"/>
                  </a:lnTo>
                  <a:lnTo>
                    <a:pt x="0" y="2"/>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50" name="Freeform 125">
              <a:extLst>
                <a:ext uri="{FF2B5EF4-FFF2-40B4-BE49-F238E27FC236}">
                  <a16:creationId xmlns:a16="http://schemas.microsoft.com/office/drawing/2014/main" id="{91E5124F-C373-49BA-B110-509FC150BE07}"/>
                </a:ext>
              </a:extLst>
            </p:cNvPr>
            <p:cNvSpPr>
              <a:spLocks/>
            </p:cNvSpPr>
            <p:nvPr/>
          </p:nvSpPr>
          <p:spPr bwMode="gray">
            <a:xfrm>
              <a:off x="14908213" y="2297113"/>
              <a:ext cx="6350" cy="7938"/>
            </a:xfrm>
            <a:custGeom>
              <a:avLst/>
              <a:gdLst>
                <a:gd name="T0" fmla="*/ 4 w 4"/>
                <a:gd name="T1" fmla="*/ 0 h 5"/>
                <a:gd name="T2" fmla="*/ 0 w 4"/>
                <a:gd name="T3" fmla="*/ 5 h 5"/>
                <a:gd name="T4" fmla="*/ 0 w 4"/>
                <a:gd name="T5" fmla="*/ 0 h 5"/>
                <a:gd name="T6" fmla="*/ 4 w 4"/>
                <a:gd name="T7" fmla="*/ 0 h 5"/>
                <a:gd name="T8" fmla="*/ 4 w 4"/>
                <a:gd name="T9" fmla="*/ 0 h 5"/>
                <a:gd name="T10" fmla="*/ 4 w 4"/>
                <a:gd name="T11" fmla="*/ 0 h 5"/>
                <a:gd name="T12" fmla="*/ 4 w 4"/>
                <a:gd name="T13" fmla="*/ 0 h 5"/>
                <a:gd name="T14" fmla="*/ 4 w 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4" y="0"/>
                  </a:moveTo>
                  <a:lnTo>
                    <a:pt x="0" y="5"/>
                  </a:lnTo>
                  <a:lnTo>
                    <a:pt x="0" y="0"/>
                  </a:lnTo>
                  <a:lnTo>
                    <a:pt x="4" y="0"/>
                  </a:lnTo>
                  <a:lnTo>
                    <a:pt x="4" y="0"/>
                  </a:lnTo>
                  <a:lnTo>
                    <a:pt x="4" y="0"/>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51" name="Freeform 126">
              <a:extLst>
                <a:ext uri="{FF2B5EF4-FFF2-40B4-BE49-F238E27FC236}">
                  <a16:creationId xmlns:a16="http://schemas.microsoft.com/office/drawing/2014/main" id="{704BE045-BF14-4225-AA5B-7EEAB8A40988}"/>
                </a:ext>
              </a:extLst>
            </p:cNvPr>
            <p:cNvSpPr>
              <a:spLocks/>
            </p:cNvSpPr>
            <p:nvPr/>
          </p:nvSpPr>
          <p:spPr bwMode="gray">
            <a:xfrm>
              <a:off x="14978063" y="2324100"/>
              <a:ext cx="19050" cy="11113"/>
            </a:xfrm>
            <a:custGeom>
              <a:avLst/>
              <a:gdLst>
                <a:gd name="T0" fmla="*/ 5 w 12"/>
                <a:gd name="T1" fmla="*/ 5 h 7"/>
                <a:gd name="T2" fmla="*/ 12 w 12"/>
                <a:gd name="T3" fmla="*/ 7 h 7"/>
                <a:gd name="T4" fmla="*/ 5 w 12"/>
                <a:gd name="T5" fmla="*/ 7 h 7"/>
                <a:gd name="T6" fmla="*/ 0 w 12"/>
                <a:gd name="T7" fmla="*/ 0 h 7"/>
                <a:gd name="T8" fmla="*/ 5 w 12"/>
                <a:gd name="T9" fmla="*/ 5 h 7"/>
                <a:gd name="T10" fmla="*/ 5 w 12"/>
                <a:gd name="T11" fmla="*/ 5 h 7"/>
                <a:gd name="T12" fmla="*/ 5 w 12"/>
                <a:gd name="T13" fmla="*/ 5 h 7"/>
                <a:gd name="T14" fmla="*/ 5 w 12"/>
                <a:gd name="T15" fmla="*/ 5 h 7"/>
                <a:gd name="T16" fmla="*/ 5 w 12"/>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7">
                  <a:moveTo>
                    <a:pt x="5" y="5"/>
                  </a:moveTo>
                  <a:lnTo>
                    <a:pt x="12" y="7"/>
                  </a:lnTo>
                  <a:lnTo>
                    <a:pt x="5" y="7"/>
                  </a:lnTo>
                  <a:lnTo>
                    <a:pt x="0" y="0"/>
                  </a:lnTo>
                  <a:lnTo>
                    <a:pt x="5" y="5"/>
                  </a:lnTo>
                  <a:lnTo>
                    <a:pt x="5" y="5"/>
                  </a:lnTo>
                  <a:lnTo>
                    <a:pt x="5" y="5"/>
                  </a:lnTo>
                  <a:lnTo>
                    <a:pt x="5"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52" name="Freeform 127">
              <a:extLst>
                <a:ext uri="{FF2B5EF4-FFF2-40B4-BE49-F238E27FC236}">
                  <a16:creationId xmlns:a16="http://schemas.microsoft.com/office/drawing/2014/main" id="{6811D901-CA68-4451-B110-702242F3082B}"/>
                </a:ext>
              </a:extLst>
            </p:cNvPr>
            <p:cNvSpPr>
              <a:spLocks/>
            </p:cNvSpPr>
            <p:nvPr/>
          </p:nvSpPr>
          <p:spPr bwMode="gray">
            <a:xfrm>
              <a:off x="14933613" y="2343150"/>
              <a:ext cx="7938" cy="0"/>
            </a:xfrm>
            <a:custGeom>
              <a:avLst/>
              <a:gdLst>
                <a:gd name="T0" fmla="*/ 5 w 5"/>
                <a:gd name="T1" fmla="*/ 0 w 5"/>
                <a:gd name="T2" fmla="*/ 5 w 5"/>
                <a:gd name="T3" fmla="*/ 5 w 5"/>
                <a:gd name="T4" fmla="*/ 5 w 5"/>
                <a:gd name="T5" fmla="*/ 5 w 5"/>
                <a:gd name="T6" fmla="*/ 5 w 5"/>
              </a:gdLst>
              <a:ahLst/>
              <a:cxnLst>
                <a:cxn ang="0">
                  <a:pos x="T0" y="0"/>
                </a:cxn>
                <a:cxn ang="0">
                  <a:pos x="T1" y="0"/>
                </a:cxn>
                <a:cxn ang="0">
                  <a:pos x="T2" y="0"/>
                </a:cxn>
                <a:cxn ang="0">
                  <a:pos x="T3" y="0"/>
                </a:cxn>
                <a:cxn ang="0">
                  <a:pos x="T4" y="0"/>
                </a:cxn>
                <a:cxn ang="0">
                  <a:pos x="T5" y="0"/>
                </a:cxn>
                <a:cxn ang="0">
                  <a:pos x="T6" y="0"/>
                </a:cxn>
              </a:cxnLst>
              <a:rect l="0" t="0" r="r" b="b"/>
              <a:pathLst>
                <a:path w="5">
                  <a:moveTo>
                    <a:pt x="5" y="0"/>
                  </a:moveTo>
                  <a:lnTo>
                    <a:pt x="0" y="0"/>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53" name="Freeform 128">
              <a:extLst>
                <a:ext uri="{FF2B5EF4-FFF2-40B4-BE49-F238E27FC236}">
                  <a16:creationId xmlns:a16="http://schemas.microsoft.com/office/drawing/2014/main" id="{F0D34C8E-1172-44D3-A99C-DEB5F3E3EDA4}"/>
                </a:ext>
              </a:extLst>
            </p:cNvPr>
            <p:cNvSpPr>
              <a:spLocks/>
            </p:cNvSpPr>
            <p:nvPr/>
          </p:nvSpPr>
          <p:spPr bwMode="gray">
            <a:xfrm>
              <a:off x="14978063" y="2354263"/>
              <a:ext cx="11113" cy="7938"/>
            </a:xfrm>
            <a:custGeom>
              <a:avLst/>
              <a:gdLst>
                <a:gd name="T0" fmla="*/ 0 w 7"/>
                <a:gd name="T1" fmla="*/ 0 h 5"/>
                <a:gd name="T2" fmla="*/ 7 w 7"/>
                <a:gd name="T3" fmla="*/ 5 h 5"/>
                <a:gd name="T4" fmla="*/ 5 w 7"/>
                <a:gd name="T5" fmla="*/ 5 h 5"/>
                <a:gd name="T6" fmla="*/ 0 w 7"/>
                <a:gd name="T7" fmla="*/ 0 h 5"/>
                <a:gd name="T8" fmla="*/ 0 w 7"/>
                <a:gd name="T9" fmla="*/ 0 h 5"/>
                <a:gd name="T10" fmla="*/ 0 w 7"/>
                <a:gd name="T11" fmla="*/ 0 h 5"/>
                <a:gd name="T12" fmla="*/ 0 w 7"/>
                <a:gd name="T13" fmla="*/ 0 h 5"/>
                <a:gd name="T14" fmla="*/ 0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0" y="0"/>
                  </a:moveTo>
                  <a:lnTo>
                    <a:pt x="7" y="5"/>
                  </a:lnTo>
                  <a:lnTo>
                    <a:pt x="5" y="5"/>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54" name="Freeform 129">
              <a:extLst>
                <a:ext uri="{FF2B5EF4-FFF2-40B4-BE49-F238E27FC236}">
                  <a16:creationId xmlns:a16="http://schemas.microsoft.com/office/drawing/2014/main" id="{D75AC186-14FA-45EF-A5CF-3745FB05D1CD}"/>
                </a:ext>
              </a:extLst>
            </p:cNvPr>
            <p:cNvSpPr>
              <a:spLocks/>
            </p:cNvSpPr>
            <p:nvPr/>
          </p:nvSpPr>
          <p:spPr bwMode="gray">
            <a:xfrm>
              <a:off x="16690975" y="2462213"/>
              <a:ext cx="6350" cy="7938"/>
            </a:xfrm>
            <a:custGeom>
              <a:avLst/>
              <a:gdLst>
                <a:gd name="T0" fmla="*/ 4 w 4"/>
                <a:gd name="T1" fmla="*/ 0 h 5"/>
                <a:gd name="T2" fmla="*/ 0 w 4"/>
                <a:gd name="T3" fmla="*/ 5 h 5"/>
                <a:gd name="T4" fmla="*/ 0 w 4"/>
                <a:gd name="T5" fmla="*/ 3 h 5"/>
                <a:gd name="T6" fmla="*/ 4 w 4"/>
                <a:gd name="T7" fmla="*/ 0 h 5"/>
                <a:gd name="T8" fmla="*/ 4 w 4"/>
                <a:gd name="T9" fmla="*/ 0 h 5"/>
                <a:gd name="T10" fmla="*/ 4 w 4"/>
                <a:gd name="T11" fmla="*/ 0 h 5"/>
                <a:gd name="T12" fmla="*/ 4 w 4"/>
                <a:gd name="T13" fmla="*/ 0 h 5"/>
                <a:gd name="T14" fmla="*/ 4 w 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4" y="0"/>
                  </a:moveTo>
                  <a:lnTo>
                    <a:pt x="0" y="5"/>
                  </a:lnTo>
                  <a:lnTo>
                    <a:pt x="0" y="3"/>
                  </a:lnTo>
                  <a:lnTo>
                    <a:pt x="4" y="0"/>
                  </a:lnTo>
                  <a:lnTo>
                    <a:pt x="4" y="0"/>
                  </a:lnTo>
                  <a:lnTo>
                    <a:pt x="4" y="0"/>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55" name="Freeform 130">
              <a:extLst>
                <a:ext uri="{FF2B5EF4-FFF2-40B4-BE49-F238E27FC236}">
                  <a16:creationId xmlns:a16="http://schemas.microsoft.com/office/drawing/2014/main" id="{040678CF-7886-4205-821B-E86A4067511D}"/>
                </a:ext>
              </a:extLst>
            </p:cNvPr>
            <p:cNvSpPr>
              <a:spLocks/>
            </p:cNvSpPr>
            <p:nvPr/>
          </p:nvSpPr>
          <p:spPr bwMode="gray">
            <a:xfrm>
              <a:off x="16330613" y="2500313"/>
              <a:ext cx="7938" cy="3175"/>
            </a:xfrm>
            <a:custGeom>
              <a:avLst/>
              <a:gdLst>
                <a:gd name="T0" fmla="*/ 5 w 5"/>
                <a:gd name="T1" fmla="*/ 0 h 2"/>
                <a:gd name="T2" fmla="*/ 0 w 5"/>
                <a:gd name="T3" fmla="*/ 2 h 2"/>
                <a:gd name="T4" fmla="*/ 5 w 5"/>
                <a:gd name="T5" fmla="*/ 0 h 2"/>
                <a:gd name="T6" fmla="*/ 5 w 5"/>
                <a:gd name="T7" fmla="*/ 0 h 2"/>
                <a:gd name="T8" fmla="*/ 5 w 5"/>
                <a:gd name="T9" fmla="*/ 0 h 2"/>
                <a:gd name="T10" fmla="*/ 5 w 5"/>
                <a:gd name="T11" fmla="*/ 0 h 2"/>
                <a:gd name="T12" fmla="*/ 5 w 5"/>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5" h="2">
                  <a:moveTo>
                    <a:pt x="5" y="0"/>
                  </a:moveTo>
                  <a:lnTo>
                    <a:pt x="0" y="2"/>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56" name="Freeform 131">
              <a:extLst>
                <a:ext uri="{FF2B5EF4-FFF2-40B4-BE49-F238E27FC236}">
                  <a16:creationId xmlns:a16="http://schemas.microsoft.com/office/drawing/2014/main" id="{9957735A-51D4-4B5A-A0D7-554EB3EFE993}"/>
                </a:ext>
              </a:extLst>
            </p:cNvPr>
            <p:cNvSpPr>
              <a:spLocks/>
            </p:cNvSpPr>
            <p:nvPr/>
          </p:nvSpPr>
          <p:spPr bwMode="gray">
            <a:xfrm>
              <a:off x="16352838" y="2503488"/>
              <a:ext cx="4763" cy="19050"/>
            </a:xfrm>
            <a:custGeom>
              <a:avLst/>
              <a:gdLst>
                <a:gd name="T0" fmla="*/ 0 w 3"/>
                <a:gd name="T1" fmla="*/ 12 h 12"/>
                <a:gd name="T2" fmla="*/ 0 w 3"/>
                <a:gd name="T3" fmla="*/ 0 h 12"/>
                <a:gd name="T4" fmla="*/ 3 w 3"/>
                <a:gd name="T5" fmla="*/ 5 h 12"/>
                <a:gd name="T6" fmla="*/ 0 w 3"/>
                <a:gd name="T7" fmla="*/ 12 h 12"/>
                <a:gd name="T8" fmla="*/ 0 w 3"/>
                <a:gd name="T9" fmla="*/ 12 h 12"/>
                <a:gd name="T10" fmla="*/ 0 w 3"/>
                <a:gd name="T11" fmla="*/ 12 h 12"/>
                <a:gd name="T12" fmla="*/ 0 w 3"/>
                <a:gd name="T13" fmla="*/ 12 h 12"/>
                <a:gd name="T14" fmla="*/ 0 w 3"/>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2">
                  <a:moveTo>
                    <a:pt x="0" y="12"/>
                  </a:moveTo>
                  <a:lnTo>
                    <a:pt x="0" y="0"/>
                  </a:lnTo>
                  <a:lnTo>
                    <a:pt x="3" y="5"/>
                  </a:lnTo>
                  <a:lnTo>
                    <a:pt x="0" y="12"/>
                  </a:lnTo>
                  <a:lnTo>
                    <a:pt x="0" y="12"/>
                  </a:lnTo>
                  <a:lnTo>
                    <a:pt x="0" y="12"/>
                  </a:lnTo>
                  <a:lnTo>
                    <a:pt x="0" y="12"/>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57" name="Freeform 132">
              <a:extLst>
                <a:ext uri="{FF2B5EF4-FFF2-40B4-BE49-F238E27FC236}">
                  <a16:creationId xmlns:a16="http://schemas.microsoft.com/office/drawing/2014/main" id="{2F409DF7-F974-4F25-BEE8-C08BC22720BD}"/>
                </a:ext>
              </a:extLst>
            </p:cNvPr>
            <p:cNvSpPr>
              <a:spLocks/>
            </p:cNvSpPr>
            <p:nvPr/>
          </p:nvSpPr>
          <p:spPr bwMode="gray">
            <a:xfrm>
              <a:off x="16206788" y="2525713"/>
              <a:ext cx="11113" cy="12700"/>
            </a:xfrm>
            <a:custGeom>
              <a:avLst/>
              <a:gdLst>
                <a:gd name="T0" fmla="*/ 7 w 7"/>
                <a:gd name="T1" fmla="*/ 5 h 8"/>
                <a:gd name="T2" fmla="*/ 5 w 7"/>
                <a:gd name="T3" fmla="*/ 8 h 8"/>
                <a:gd name="T4" fmla="*/ 0 w 7"/>
                <a:gd name="T5" fmla="*/ 5 h 8"/>
                <a:gd name="T6" fmla="*/ 0 w 7"/>
                <a:gd name="T7" fmla="*/ 0 h 8"/>
                <a:gd name="T8" fmla="*/ 7 w 7"/>
                <a:gd name="T9" fmla="*/ 5 h 8"/>
                <a:gd name="T10" fmla="*/ 7 w 7"/>
                <a:gd name="T11" fmla="*/ 5 h 8"/>
                <a:gd name="T12" fmla="*/ 7 w 7"/>
                <a:gd name="T13" fmla="*/ 5 h 8"/>
                <a:gd name="T14" fmla="*/ 7 w 7"/>
                <a:gd name="T15" fmla="*/ 5 h 8"/>
                <a:gd name="T16" fmla="*/ 7 w 7"/>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7" y="5"/>
                  </a:moveTo>
                  <a:lnTo>
                    <a:pt x="5" y="8"/>
                  </a:lnTo>
                  <a:lnTo>
                    <a:pt x="0" y="5"/>
                  </a:lnTo>
                  <a:lnTo>
                    <a:pt x="0" y="0"/>
                  </a:lnTo>
                  <a:lnTo>
                    <a:pt x="7" y="5"/>
                  </a:lnTo>
                  <a:lnTo>
                    <a:pt x="7" y="5"/>
                  </a:lnTo>
                  <a:lnTo>
                    <a:pt x="7" y="5"/>
                  </a:lnTo>
                  <a:lnTo>
                    <a:pt x="7" y="5"/>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58" name="Freeform 133">
              <a:extLst>
                <a:ext uri="{FF2B5EF4-FFF2-40B4-BE49-F238E27FC236}">
                  <a16:creationId xmlns:a16="http://schemas.microsoft.com/office/drawing/2014/main" id="{50CAB227-0575-484C-BD0A-E54E9C69CBE5}"/>
                </a:ext>
              </a:extLst>
            </p:cNvPr>
            <p:cNvSpPr>
              <a:spLocks/>
            </p:cNvSpPr>
            <p:nvPr/>
          </p:nvSpPr>
          <p:spPr bwMode="gray">
            <a:xfrm>
              <a:off x="16065500" y="2541588"/>
              <a:ext cx="11113" cy="11113"/>
            </a:xfrm>
            <a:custGeom>
              <a:avLst/>
              <a:gdLst>
                <a:gd name="T0" fmla="*/ 7 w 7"/>
                <a:gd name="T1" fmla="*/ 5 h 7"/>
                <a:gd name="T2" fmla="*/ 0 w 7"/>
                <a:gd name="T3" fmla="*/ 7 h 7"/>
                <a:gd name="T4" fmla="*/ 7 w 7"/>
                <a:gd name="T5" fmla="*/ 0 h 7"/>
                <a:gd name="T6" fmla="*/ 7 w 7"/>
                <a:gd name="T7" fmla="*/ 5 h 7"/>
                <a:gd name="T8" fmla="*/ 7 w 7"/>
                <a:gd name="T9" fmla="*/ 5 h 7"/>
                <a:gd name="T10" fmla="*/ 7 w 7"/>
                <a:gd name="T11" fmla="*/ 5 h 7"/>
                <a:gd name="T12" fmla="*/ 7 w 7"/>
                <a:gd name="T13" fmla="*/ 5 h 7"/>
                <a:gd name="T14" fmla="*/ 7 w 7"/>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7" y="5"/>
                  </a:moveTo>
                  <a:lnTo>
                    <a:pt x="0" y="7"/>
                  </a:lnTo>
                  <a:lnTo>
                    <a:pt x="7" y="0"/>
                  </a:lnTo>
                  <a:lnTo>
                    <a:pt x="7" y="5"/>
                  </a:lnTo>
                  <a:lnTo>
                    <a:pt x="7" y="5"/>
                  </a:lnTo>
                  <a:lnTo>
                    <a:pt x="7" y="5"/>
                  </a:lnTo>
                  <a:lnTo>
                    <a:pt x="7" y="5"/>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59" name="Freeform 134">
              <a:extLst>
                <a:ext uri="{FF2B5EF4-FFF2-40B4-BE49-F238E27FC236}">
                  <a16:creationId xmlns:a16="http://schemas.microsoft.com/office/drawing/2014/main" id="{E855FB7D-7318-49E8-AB62-48E00AE782C0}"/>
                </a:ext>
              </a:extLst>
            </p:cNvPr>
            <p:cNvSpPr>
              <a:spLocks/>
            </p:cNvSpPr>
            <p:nvPr/>
          </p:nvSpPr>
          <p:spPr bwMode="gray">
            <a:xfrm>
              <a:off x="16727488" y="2578100"/>
              <a:ext cx="4763" cy="19050"/>
            </a:xfrm>
            <a:custGeom>
              <a:avLst/>
              <a:gdLst>
                <a:gd name="T0" fmla="*/ 3 w 3"/>
                <a:gd name="T1" fmla="*/ 12 h 12"/>
                <a:gd name="T2" fmla="*/ 3 w 3"/>
                <a:gd name="T3" fmla="*/ 12 h 12"/>
                <a:gd name="T4" fmla="*/ 0 w 3"/>
                <a:gd name="T5" fmla="*/ 8 h 12"/>
                <a:gd name="T6" fmla="*/ 3 w 3"/>
                <a:gd name="T7" fmla="*/ 0 h 12"/>
                <a:gd name="T8" fmla="*/ 3 w 3"/>
                <a:gd name="T9" fmla="*/ 12 h 12"/>
                <a:gd name="T10" fmla="*/ 3 w 3"/>
                <a:gd name="T11" fmla="*/ 12 h 12"/>
                <a:gd name="T12" fmla="*/ 3 w 3"/>
                <a:gd name="T13" fmla="*/ 12 h 12"/>
                <a:gd name="T14" fmla="*/ 3 w 3"/>
                <a:gd name="T15" fmla="*/ 12 h 12"/>
                <a:gd name="T16" fmla="*/ 3 w 3"/>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2">
                  <a:moveTo>
                    <a:pt x="3" y="12"/>
                  </a:moveTo>
                  <a:lnTo>
                    <a:pt x="3" y="12"/>
                  </a:lnTo>
                  <a:lnTo>
                    <a:pt x="0" y="8"/>
                  </a:lnTo>
                  <a:lnTo>
                    <a:pt x="3" y="0"/>
                  </a:lnTo>
                  <a:lnTo>
                    <a:pt x="3" y="12"/>
                  </a:lnTo>
                  <a:lnTo>
                    <a:pt x="3" y="12"/>
                  </a:lnTo>
                  <a:lnTo>
                    <a:pt x="3" y="12"/>
                  </a:lnTo>
                  <a:lnTo>
                    <a:pt x="3" y="12"/>
                  </a:lnTo>
                  <a:lnTo>
                    <a:pt x="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60" name="Freeform 135">
              <a:extLst>
                <a:ext uri="{FF2B5EF4-FFF2-40B4-BE49-F238E27FC236}">
                  <a16:creationId xmlns:a16="http://schemas.microsoft.com/office/drawing/2014/main" id="{0B428275-0778-4413-9A4D-B8CE03ABF742}"/>
                </a:ext>
              </a:extLst>
            </p:cNvPr>
            <p:cNvSpPr>
              <a:spLocks/>
            </p:cNvSpPr>
            <p:nvPr/>
          </p:nvSpPr>
          <p:spPr bwMode="gray">
            <a:xfrm>
              <a:off x="15986125" y="2590800"/>
              <a:ext cx="19050" cy="17463"/>
            </a:xfrm>
            <a:custGeom>
              <a:avLst/>
              <a:gdLst>
                <a:gd name="T0" fmla="*/ 0 w 12"/>
                <a:gd name="T1" fmla="*/ 4 h 11"/>
                <a:gd name="T2" fmla="*/ 12 w 12"/>
                <a:gd name="T3" fmla="*/ 0 h 11"/>
                <a:gd name="T4" fmla="*/ 0 w 12"/>
                <a:gd name="T5" fmla="*/ 11 h 11"/>
                <a:gd name="T6" fmla="*/ 0 w 12"/>
                <a:gd name="T7" fmla="*/ 4 h 11"/>
                <a:gd name="T8" fmla="*/ 0 w 12"/>
                <a:gd name="T9" fmla="*/ 4 h 11"/>
                <a:gd name="T10" fmla="*/ 0 w 12"/>
                <a:gd name="T11" fmla="*/ 4 h 11"/>
                <a:gd name="T12" fmla="*/ 0 w 12"/>
                <a:gd name="T13" fmla="*/ 4 h 11"/>
                <a:gd name="T14" fmla="*/ 0 w 12"/>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1">
                  <a:moveTo>
                    <a:pt x="0" y="4"/>
                  </a:moveTo>
                  <a:lnTo>
                    <a:pt x="12" y="0"/>
                  </a:lnTo>
                  <a:lnTo>
                    <a:pt x="0" y="11"/>
                  </a:lnTo>
                  <a:lnTo>
                    <a:pt x="0" y="4"/>
                  </a:lnTo>
                  <a:lnTo>
                    <a:pt x="0" y="4"/>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61" name="Freeform 136">
              <a:extLst>
                <a:ext uri="{FF2B5EF4-FFF2-40B4-BE49-F238E27FC236}">
                  <a16:creationId xmlns:a16="http://schemas.microsoft.com/office/drawing/2014/main" id="{DADC958E-EC40-435B-8345-D936261397A8}"/>
                </a:ext>
              </a:extLst>
            </p:cNvPr>
            <p:cNvSpPr>
              <a:spLocks/>
            </p:cNvSpPr>
            <p:nvPr/>
          </p:nvSpPr>
          <p:spPr bwMode="gray">
            <a:xfrm>
              <a:off x="15960725" y="2619375"/>
              <a:ext cx="14288" cy="30163"/>
            </a:xfrm>
            <a:custGeom>
              <a:avLst/>
              <a:gdLst>
                <a:gd name="T0" fmla="*/ 4 w 9"/>
                <a:gd name="T1" fmla="*/ 10 h 19"/>
                <a:gd name="T2" fmla="*/ 0 w 9"/>
                <a:gd name="T3" fmla="*/ 19 h 19"/>
                <a:gd name="T4" fmla="*/ 0 w 9"/>
                <a:gd name="T5" fmla="*/ 10 h 19"/>
                <a:gd name="T6" fmla="*/ 9 w 9"/>
                <a:gd name="T7" fmla="*/ 0 h 19"/>
                <a:gd name="T8" fmla="*/ 4 w 9"/>
                <a:gd name="T9" fmla="*/ 10 h 19"/>
                <a:gd name="T10" fmla="*/ 4 w 9"/>
                <a:gd name="T11" fmla="*/ 10 h 19"/>
                <a:gd name="T12" fmla="*/ 4 w 9"/>
                <a:gd name="T13" fmla="*/ 10 h 19"/>
                <a:gd name="T14" fmla="*/ 4 w 9"/>
                <a:gd name="T15" fmla="*/ 10 h 19"/>
                <a:gd name="T16" fmla="*/ 4 w 9"/>
                <a:gd name="T1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9">
                  <a:moveTo>
                    <a:pt x="4" y="10"/>
                  </a:moveTo>
                  <a:lnTo>
                    <a:pt x="0" y="19"/>
                  </a:lnTo>
                  <a:lnTo>
                    <a:pt x="0" y="10"/>
                  </a:lnTo>
                  <a:lnTo>
                    <a:pt x="9" y="0"/>
                  </a:lnTo>
                  <a:lnTo>
                    <a:pt x="4" y="10"/>
                  </a:lnTo>
                  <a:lnTo>
                    <a:pt x="4" y="10"/>
                  </a:lnTo>
                  <a:lnTo>
                    <a:pt x="4" y="10"/>
                  </a:lnTo>
                  <a:lnTo>
                    <a:pt x="4" y="10"/>
                  </a:lnTo>
                  <a:lnTo>
                    <a:pt x="4"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62" name="Freeform 137">
              <a:extLst>
                <a:ext uri="{FF2B5EF4-FFF2-40B4-BE49-F238E27FC236}">
                  <a16:creationId xmlns:a16="http://schemas.microsoft.com/office/drawing/2014/main" id="{984AD363-8C40-4346-BEE3-036B22EE8A30}"/>
                </a:ext>
              </a:extLst>
            </p:cNvPr>
            <p:cNvSpPr>
              <a:spLocks/>
            </p:cNvSpPr>
            <p:nvPr/>
          </p:nvSpPr>
          <p:spPr bwMode="gray">
            <a:xfrm>
              <a:off x="15960725" y="2649538"/>
              <a:ext cx="11113" cy="60325"/>
            </a:xfrm>
            <a:custGeom>
              <a:avLst/>
              <a:gdLst>
                <a:gd name="T0" fmla="*/ 0 w 7"/>
                <a:gd name="T1" fmla="*/ 19 h 38"/>
                <a:gd name="T2" fmla="*/ 0 w 7"/>
                <a:gd name="T3" fmla="*/ 0 h 38"/>
                <a:gd name="T4" fmla="*/ 7 w 7"/>
                <a:gd name="T5" fmla="*/ 38 h 38"/>
                <a:gd name="T6" fmla="*/ 0 w 7"/>
                <a:gd name="T7" fmla="*/ 19 h 38"/>
                <a:gd name="T8" fmla="*/ 0 w 7"/>
                <a:gd name="T9" fmla="*/ 19 h 38"/>
                <a:gd name="T10" fmla="*/ 0 w 7"/>
                <a:gd name="T11" fmla="*/ 19 h 38"/>
                <a:gd name="T12" fmla="*/ 0 w 7"/>
                <a:gd name="T13" fmla="*/ 19 h 38"/>
                <a:gd name="T14" fmla="*/ 0 w 7"/>
                <a:gd name="T15" fmla="*/ 19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8">
                  <a:moveTo>
                    <a:pt x="0" y="19"/>
                  </a:moveTo>
                  <a:lnTo>
                    <a:pt x="0" y="0"/>
                  </a:lnTo>
                  <a:lnTo>
                    <a:pt x="7" y="38"/>
                  </a:lnTo>
                  <a:lnTo>
                    <a:pt x="0" y="19"/>
                  </a:lnTo>
                  <a:lnTo>
                    <a:pt x="0" y="19"/>
                  </a:lnTo>
                  <a:lnTo>
                    <a:pt x="0" y="19"/>
                  </a:lnTo>
                  <a:lnTo>
                    <a:pt x="0" y="19"/>
                  </a:lnTo>
                  <a:lnTo>
                    <a:pt x="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63" name="Freeform 138">
              <a:extLst>
                <a:ext uri="{FF2B5EF4-FFF2-40B4-BE49-F238E27FC236}">
                  <a16:creationId xmlns:a16="http://schemas.microsoft.com/office/drawing/2014/main" id="{BFC74FA7-63DC-470A-ABF7-00FFF389C4C9}"/>
                </a:ext>
              </a:extLst>
            </p:cNvPr>
            <p:cNvSpPr>
              <a:spLocks/>
            </p:cNvSpPr>
            <p:nvPr/>
          </p:nvSpPr>
          <p:spPr bwMode="gray">
            <a:xfrm>
              <a:off x="16732250" y="2743200"/>
              <a:ext cx="17463" cy="22225"/>
            </a:xfrm>
            <a:custGeom>
              <a:avLst/>
              <a:gdLst>
                <a:gd name="T0" fmla="*/ 7 w 11"/>
                <a:gd name="T1" fmla="*/ 7 h 14"/>
                <a:gd name="T2" fmla="*/ 11 w 11"/>
                <a:gd name="T3" fmla="*/ 0 h 14"/>
                <a:gd name="T4" fmla="*/ 0 w 11"/>
                <a:gd name="T5" fmla="*/ 14 h 14"/>
                <a:gd name="T6" fmla="*/ 7 w 11"/>
                <a:gd name="T7" fmla="*/ 7 h 14"/>
                <a:gd name="T8" fmla="*/ 7 w 11"/>
                <a:gd name="T9" fmla="*/ 7 h 14"/>
                <a:gd name="T10" fmla="*/ 7 w 11"/>
                <a:gd name="T11" fmla="*/ 7 h 14"/>
                <a:gd name="T12" fmla="*/ 7 w 11"/>
                <a:gd name="T13" fmla="*/ 7 h 14"/>
                <a:gd name="T14" fmla="*/ 7 w 11"/>
                <a:gd name="T15" fmla="*/ 7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7" y="7"/>
                  </a:moveTo>
                  <a:lnTo>
                    <a:pt x="11" y="0"/>
                  </a:lnTo>
                  <a:lnTo>
                    <a:pt x="0" y="14"/>
                  </a:lnTo>
                  <a:lnTo>
                    <a:pt x="7" y="7"/>
                  </a:lnTo>
                  <a:lnTo>
                    <a:pt x="7" y="7"/>
                  </a:lnTo>
                  <a:lnTo>
                    <a:pt x="7" y="7"/>
                  </a:lnTo>
                  <a:lnTo>
                    <a:pt x="7" y="7"/>
                  </a:lnTo>
                  <a:lnTo>
                    <a:pt x="7"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64" name="Freeform 139">
              <a:extLst>
                <a:ext uri="{FF2B5EF4-FFF2-40B4-BE49-F238E27FC236}">
                  <a16:creationId xmlns:a16="http://schemas.microsoft.com/office/drawing/2014/main" id="{04E32E80-1231-4C6B-83C2-65F6966EB46E}"/>
                </a:ext>
              </a:extLst>
            </p:cNvPr>
            <p:cNvSpPr>
              <a:spLocks/>
            </p:cNvSpPr>
            <p:nvPr/>
          </p:nvSpPr>
          <p:spPr bwMode="gray">
            <a:xfrm>
              <a:off x="16686213" y="2781300"/>
              <a:ext cx="4763" cy="7938"/>
            </a:xfrm>
            <a:custGeom>
              <a:avLst/>
              <a:gdLst>
                <a:gd name="T0" fmla="*/ 3 w 3"/>
                <a:gd name="T1" fmla="*/ 0 h 5"/>
                <a:gd name="T2" fmla="*/ 0 w 3"/>
                <a:gd name="T3" fmla="*/ 5 h 5"/>
                <a:gd name="T4" fmla="*/ 3 w 3"/>
                <a:gd name="T5" fmla="*/ 0 h 5"/>
                <a:gd name="T6" fmla="*/ 3 w 3"/>
                <a:gd name="T7" fmla="*/ 0 h 5"/>
                <a:gd name="T8" fmla="*/ 3 w 3"/>
                <a:gd name="T9" fmla="*/ 0 h 5"/>
                <a:gd name="T10" fmla="*/ 3 w 3"/>
                <a:gd name="T11" fmla="*/ 0 h 5"/>
                <a:gd name="T12" fmla="*/ 3 w 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3" y="0"/>
                  </a:moveTo>
                  <a:lnTo>
                    <a:pt x="0" y="5"/>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Fußzeilenplatzhalter 1">
            <a:extLst>
              <a:ext uri="{FF2B5EF4-FFF2-40B4-BE49-F238E27FC236}">
                <a16:creationId xmlns:a16="http://schemas.microsoft.com/office/drawing/2014/main" id="{105213E3-872E-49B1-8354-62F5297D01D1}"/>
              </a:ext>
            </a:extLst>
          </p:cNvPr>
          <p:cNvSpPr>
            <a:spLocks noGrp="1"/>
          </p:cNvSpPr>
          <p:nvPr>
            <p:ph type="ftr" sz="quarter" idx="16"/>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2377C5E2-3024-4F90-A66B-18C683FDCAB6}"/>
              </a:ext>
            </a:extLst>
          </p:cNvPr>
          <p:cNvSpPr>
            <a:spLocks noGrp="1"/>
          </p:cNvSpPr>
          <p:nvPr>
            <p:ph type="sldNum" sz="quarter" idx="12"/>
          </p:nvPr>
        </p:nvSpPr>
        <p:spPr/>
        <p:txBody>
          <a:bodyPr/>
          <a:lstStyle/>
          <a:p>
            <a:fld id="{CE82B8A1-0CCE-4815-9668-383D7DE7D8B4}" type="slidenum">
              <a:rPr lang="en-US" noProof="0" smtClean="0"/>
              <a:pPr/>
              <a:t>74</a:t>
            </a:fld>
            <a:endParaRPr lang="en-US" noProof="0" dirty="0"/>
          </a:p>
        </p:txBody>
      </p:sp>
    </p:spTree>
    <p:extLst>
      <p:ext uri="{BB962C8B-B14F-4D97-AF65-F5344CB8AC3E}">
        <p14:creationId xmlns:p14="http://schemas.microsoft.com/office/powerpoint/2010/main" val="148656189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869" name="Gruppieren 10868">
            <a:extLst>
              <a:ext uri="{FF2B5EF4-FFF2-40B4-BE49-F238E27FC236}">
                <a16:creationId xmlns:a16="http://schemas.microsoft.com/office/drawing/2014/main" id="{E5E790DE-4869-416E-AEA5-FF8DF4D4FDDB}"/>
              </a:ext>
            </a:extLst>
          </p:cNvPr>
          <p:cNvGrpSpPr/>
          <p:nvPr/>
        </p:nvGrpSpPr>
        <p:grpSpPr bwMode="gray">
          <a:xfrm>
            <a:off x="5430133" y="1196976"/>
            <a:ext cx="1944000" cy="1548112"/>
            <a:chOff x="4007768" y="1016792"/>
            <a:chExt cx="1944000" cy="1548112"/>
          </a:xfrm>
        </p:grpSpPr>
        <p:sp>
          <p:nvSpPr>
            <p:cNvPr id="10870" name="Textplatzhalter 4">
              <a:extLst>
                <a:ext uri="{FF2B5EF4-FFF2-40B4-BE49-F238E27FC236}">
                  <a16:creationId xmlns:a16="http://schemas.microsoft.com/office/drawing/2014/main" id="{05D0ABB7-AA0F-46A0-BDBD-BEF6724CDD4A}"/>
                </a:ext>
              </a:extLst>
            </p:cNvPr>
            <p:cNvSpPr txBox="1">
              <a:spLocks/>
            </p:cNvSpPr>
            <p:nvPr/>
          </p:nvSpPr>
          <p:spPr bwMode="gray">
            <a:xfrm>
              <a:off x="4007768" y="1736835"/>
              <a:ext cx="1944000" cy="828069"/>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Lorem ipsum dolor sit amet, consectetuer adipiscing elit</a:t>
              </a:r>
            </a:p>
          </p:txBody>
        </p:sp>
        <p:sp>
          <p:nvSpPr>
            <p:cNvPr id="10871" name="Textplatzhalter 3">
              <a:extLst>
                <a:ext uri="{FF2B5EF4-FFF2-40B4-BE49-F238E27FC236}">
                  <a16:creationId xmlns:a16="http://schemas.microsoft.com/office/drawing/2014/main" id="{F1F41334-F82A-4D58-9D09-9007DE5175DA}"/>
                </a:ext>
              </a:extLst>
            </p:cNvPr>
            <p:cNvSpPr txBox="1">
              <a:spLocks/>
            </p:cNvSpPr>
            <p:nvPr/>
          </p:nvSpPr>
          <p:spPr bwMode="gray">
            <a:xfrm>
              <a:off x="4007768" y="1016792"/>
              <a:ext cx="194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dirty="0">
                  <a:solidFill>
                    <a:schemeClr val="accent5"/>
                  </a:solidFill>
                </a:rPr>
                <a:t>25%</a:t>
              </a:r>
            </a:p>
          </p:txBody>
        </p:sp>
        <p:cxnSp>
          <p:nvCxnSpPr>
            <p:cNvPr id="10872" name="Gerader Verbinder 10871">
              <a:extLst>
                <a:ext uri="{FF2B5EF4-FFF2-40B4-BE49-F238E27FC236}">
                  <a16:creationId xmlns:a16="http://schemas.microsoft.com/office/drawing/2014/main" id="{C302B75B-E543-4673-8625-E18F7370437E}"/>
                </a:ext>
              </a:extLst>
            </p:cNvPr>
            <p:cNvCxnSpPr/>
            <p:nvPr/>
          </p:nvCxnSpPr>
          <p:spPr bwMode="gray">
            <a:xfrm>
              <a:off x="5519936" y="1556792"/>
              <a:ext cx="4316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0873" name="Gruppieren 10872">
            <a:extLst>
              <a:ext uri="{FF2B5EF4-FFF2-40B4-BE49-F238E27FC236}">
                <a16:creationId xmlns:a16="http://schemas.microsoft.com/office/drawing/2014/main" id="{F6E402C3-FD9D-42DE-AB8F-31C021118FCD}"/>
              </a:ext>
            </a:extLst>
          </p:cNvPr>
          <p:cNvGrpSpPr/>
          <p:nvPr/>
        </p:nvGrpSpPr>
        <p:grpSpPr bwMode="gray">
          <a:xfrm>
            <a:off x="4160380" y="3768725"/>
            <a:ext cx="3240360" cy="3240360"/>
            <a:chOff x="4295800" y="4005064"/>
            <a:chExt cx="3240360" cy="3240360"/>
          </a:xfrm>
        </p:grpSpPr>
        <p:sp>
          <p:nvSpPr>
            <p:cNvPr id="10874" name="Ellipse 10873">
              <a:extLst>
                <a:ext uri="{FF2B5EF4-FFF2-40B4-BE49-F238E27FC236}">
                  <a16:creationId xmlns:a16="http://schemas.microsoft.com/office/drawing/2014/main" id="{5E60FF27-08FA-44A4-9304-B1995833D76D}"/>
                </a:ext>
              </a:extLst>
            </p:cNvPr>
            <p:cNvSpPr/>
            <p:nvPr/>
          </p:nvSpPr>
          <p:spPr bwMode="gray">
            <a:xfrm>
              <a:off x="4295800" y="4005064"/>
              <a:ext cx="3240360" cy="3240360"/>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75" name="Textplatzhalter 4">
              <a:extLst>
                <a:ext uri="{FF2B5EF4-FFF2-40B4-BE49-F238E27FC236}">
                  <a16:creationId xmlns:a16="http://schemas.microsoft.com/office/drawing/2014/main" id="{7DF782E6-843B-4646-A3E7-8874676516F9}"/>
                </a:ext>
              </a:extLst>
            </p:cNvPr>
            <p:cNvSpPr txBox="1">
              <a:spLocks/>
            </p:cNvSpPr>
            <p:nvPr/>
          </p:nvSpPr>
          <p:spPr bwMode="gray">
            <a:xfrm>
              <a:off x="5015880" y="5491063"/>
              <a:ext cx="1944000" cy="828069"/>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solidFill>
                    <a:schemeClr val="bg1"/>
                  </a:solidFill>
                </a:rPr>
                <a:t>Lorem ipsum dolor sit amet, consectetuer adipiscing elit</a:t>
              </a:r>
            </a:p>
          </p:txBody>
        </p:sp>
        <p:sp>
          <p:nvSpPr>
            <p:cNvPr id="10876" name="Textplatzhalter 3">
              <a:extLst>
                <a:ext uri="{FF2B5EF4-FFF2-40B4-BE49-F238E27FC236}">
                  <a16:creationId xmlns:a16="http://schemas.microsoft.com/office/drawing/2014/main" id="{95B0929E-3FD2-442D-9357-55014D32C710}"/>
                </a:ext>
              </a:extLst>
            </p:cNvPr>
            <p:cNvSpPr txBox="1">
              <a:spLocks/>
            </p:cNvSpPr>
            <p:nvPr/>
          </p:nvSpPr>
          <p:spPr bwMode="gray">
            <a:xfrm>
              <a:off x="5015880" y="4771020"/>
              <a:ext cx="194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dirty="0">
                  <a:solidFill>
                    <a:schemeClr val="bg1"/>
                  </a:solidFill>
                </a:rPr>
                <a:t>25%</a:t>
              </a:r>
            </a:p>
          </p:txBody>
        </p:sp>
      </p:grpSp>
      <p:grpSp>
        <p:nvGrpSpPr>
          <p:cNvPr id="10877" name="Gruppieren 10876">
            <a:extLst>
              <a:ext uri="{FF2B5EF4-FFF2-40B4-BE49-F238E27FC236}">
                <a16:creationId xmlns:a16="http://schemas.microsoft.com/office/drawing/2014/main" id="{D6EAA2A1-2364-426F-B45A-90C860C4FD4D}"/>
              </a:ext>
            </a:extLst>
          </p:cNvPr>
          <p:cNvGrpSpPr/>
          <p:nvPr/>
        </p:nvGrpSpPr>
        <p:grpSpPr bwMode="gray">
          <a:xfrm>
            <a:off x="8382143" y="4111625"/>
            <a:ext cx="1944000" cy="1548112"/>
            <a:chOff x="4007768" y="1016792"/>
            <a:chExt cx="1944000" cy="1548112"/>
          </a:xfrm>
        </p:grpSpPr>
        <p:sp>
          <p:nvSpPr>
            <p:cNvPr id="10878" name="Textplatzhalter 4">
              <a:extLst>
                <a:ext uri="{FF2B5EF4-FFF2-40B4-BE49-F238E27FC236}">
                  <a16:creationId xmlns:a16="http://schemas.microsoft.com/office/drawing/2014/main" id="{7F39D244-DDA5-401A-9B01-79D905D28D93}"/>
                </a:ext>
              </a:extLst>
            </p:cNvPr>
            <p:cNvSpPr txBox="1">
              <a:spLocks/>
            </p:cNvSpPr>
            <p:nvPr/>
          </p:nvSpPr>
          <p:spPr bwMode="gray">
            <a:xfrm>
              <a:off x="4007768" y="1736835"/>
              <a:ext cx="1944000" cy="828069"/>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Lorem ipsum dolor sit amet, consectetuer adipiscing elit</a:t>
              </a:r>
            </a:p>
          </p:txBody>
        </p:sp>
        <p:sp>
          <p:nvSpPr>
            <p:cNvPr id="10879" name="Textplatzhalter 3">
              <a:extLst>
                <a:ext uri="{FF2B5EF4-FFF2-40B4-BE49-F238E27FC236}">
                  <a16:creationId xmlns:a16="http://schemas.microsoft.com/office/drawing/2014/main" id="{D587C50B-65C4-4C15-8677-04A73837FFA9}"/>
                </a:ext>
              </a:extLst>
            </p:cNvPr>
            <p:cNvSpPr txBox="1">
              <a:spLocks/>
            </p:cNvSpPr>
            <p:nvPr/>
          </p:nvSpPr>
          <p:spPr bwMode="gray">
            <a:xfrm>
              <a:off x="4007768" y="1016792"/>
              <a:ext cx="1944000" cy="54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dirty="0">
                  <a:solidFill>
                    <a:schemeClr val="accent5"/>
                  </a:solidFill>
                </a:rPr>
                <a:t>25%</a:t>
              </a:r>
            </a:p>
          </p:txBody>
        </p:sp>
        <p:cxnSp>
          <p:nvCxnSpPr>
            <p:cNvPr id="10880" name="Gerader Verbinder 10879">
              <a:extLst>
                <a:ext uri="{FF2B5EF4-FFF2-40B4-BE49-F238E27FC236}">
                  <a16:creationId xmlns:a16="http://schemas.microsoft.com/office/drawing/2014/main" id="{3BFE54A9-30BF-4F45-9EB0-EF582624299D}"/>
                </a:ext>
              </a:extLst>
            </p:cNvPr>
            <p:cNvCxnSpPr/>
            <p:nvPr/>
          </p:nvCxnSpPr>
          <p:spPr bwMode="gray">
            <a:xfrm>
              <a:off x="5519936" y="1556792"/>
              <a:ext cx="431602"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4" name="Titel 3">
            <a:extLst>
              <a:ext uri="{FF2B5EF4-FFF2-40B4-BE49-F238E27FC236}">
                <a16:creationId xmlns:a16="http://schemas.microsoft.com/office/drawing/2014/main" id="{60EC8D8A-C876-4EC5-A94B-31EA320D0A60}"/>
              </a:ext>
            </a:extLst>
          </p:cNvPr>
          <p:cNvSpPr>
            <a:spLocks noGrp="1"/>
          </p:cNvSpPr>
          <p:nvPr>
            <p:ph type="title"/>
          </p:nvPr>
        </p:nvSpPr>
        <p:spPr bwMode="gray"/>
        <p:txBody>
          <a:bodyPr/>
          <a:lstStyle/>
          <a:p>
            <a:r>
              <a:rPr lang="en-US" dirty="0"/>
              <a:t>Central and South America (CSA)</a:t>
            </a:r>
          </a:p>
        </p:txBody>
      </p:sp>
      <p:sp>
        <p:nvSpPr>
          <p:cNvPr id="6" name="Textplatzhalter 5">
            <a:extLst>
              <a:ext uri="{FF2B5EF4-FFF2-40B4-BE49-F238E27FC236}">
                <a16:creationId xmlns:a16="http://schemas.microsoft.com/office/drawing/2014/main" id="{7F7AE1B9-C0DD-4C83-B513-C7D60B1F96A8}"/>
              </a:ext>
            </a:extLst>
          </p:cNvPr>
          <p:cNvSpPr>
            <a:spLocks noGrp="1"/>
          </p:cNvSpPr>
          <p:nvPr>
            <p:ph type="body" sz="quarter" idx="15"/>
          </p:nvPr>
        </p:nvSpPr>
        <p:spPr bwMode="gray"/>
        <p:txBody>
          <a:bodyPr/>
          <a:lstStyle/>
          <a:p>
            <a:r>
              <a:rPr lang="en-US" dirty="0"/>
              <a:t>Lorem ipsum dolor sit amet, consectetuer adipiscing elit.</a:t>
            </a:r>
          </a:p>
          <a:p>
            <a:pPr lvl="1"/>
            <a:r>
              <a:rPr lang="en-US" dirty="0"/>
              <a:t>Maecenas porttitor congue massa. Fusce posuere, magna sed pulvinar ultricies, purus lectus malesuada libero, sit amet commodo magna eros quis urna.</a:t>
            </a:r>
          </a:p>
          <a:p>
            <a:pPr lvl="1"/>
            <a:endParaRPr lang="en-US" dirty="0"/>
          </a:p>
          <a:p>
            <a:pPr lvl="1"/>
            <a:r>
              <a:rPr lang="en-US" dirty="0"/>
              <a:t>Nunc viverra imperdiet enim. Fusce est. Vivamus a tellus.</a:t>
            </a:r>
          </a:p>
        </p:txBody>
      </p:sp>
      <p:grpSp>
        <p:nvGrpSpPr>
          <p:cNvPr id="2801" name="Gruppieren 2800">
            <a:extLst>
              <a:ext uri="{FF2B5EF4-FFF2-40B4-BE49-F238E27FC236}">
                <a16:creationId xmlns:a16="http://schemas.microsoft.com/office/drawing/2014/main" id="{C6D0D6FB-D8E9-48F1-97A3-FE46E320D8BB}"/>
              </a:ext>
            </a:extLst>
          </p:cNvPr>
          <p:cNvGrpSpPr/>
          <p:nvPr/>
        </p:nvGrpSpPr>
        <p:grpSpPr bwMode="gray">
          <a:xfrm>
            <a:off x="9289882" y="3145292"/>
            <a:ext cx="2778111" cy="3298928"/>
            <a:chOff x="3308961" y="3058829"/>
            <a:chExt cx="2412800" cy="2865131"/>
          </a:xfrm>
          <a:pattFill prst="wdUpDiag">
            <a:fgClr>
              <a:schemeClr val="accent2"/>
            </a:fgClr>
            <a:bgClr>
              <a:schemeClr val="bg1"/>
            </a:bgClr>
          </a:pattFill>
        </p:grpSpPr>
        <p:sp>
          <p:nvSpPr>
            <p:cNvPr id="2802" name="Freeform 377">
              <a:extLst>
                <a:ext uri="{FF2B5EF4-FFF2-40B4-BE49-F238E27FC236}">
                  <a16:creationId xmlns:a16="http://schemas.microsoft.com/office/drawing/2014/main" id="{287E8A9E-0331-4194-8A35-36F04390BEA6}"/>
                </a:ext>
              </a:extLst>
            </p:cNvPr>
            <p:cNvSpPr>
              <a:spLocks/>
            </p:cNvSpPr>
            <p:nvPr/>
          </p:nvSpPr>
          <p:spPr bwMode="gray">
            <a:xfrm>
              <a:off x="4700407" y="3689166"/>
              <a:ext cx="6998" cy="6999"/>
            </a:xfrm>
            <a:custGeom>
              <a:avLst/>
              <a:gdLst>
                <a:gd name="T0" fmla="*/ 17 w 17"/>
                <a:gd name="T1" fmla="*/ 17 h 17"/>
                <a:gd name="T2" fmla="*/ 0 w 17"/>
                <a:gd name="T3" fmla="*/ 7 h 17"/>
                <a:gd name="T4" fmla="*/ 0 w 17"/>
                <a:gd name="T5" fmla="*/ 0 h 17"/>
                <a:gd name="T6" fmla="*/ 17 w 17"/>
                <a:gd name="T7" fmla="*/ 17 h 17"/>
                <a:gd name="T8" fmla="*/ 17 w 17"/>
                <a:gd name="T9" fmla="*/ 17 h 17"/>
                <a:gd name="T10" fmla="*/ 17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17" y="17"/>
                  </a:moveTo>
                  <a:lnTo>
                    <a:pt x="0" y="7"/>
                  </a:lnTo>
                  <a:lnTo>
                    <a:pt x="0" y="0"/>
                  </a:lnTo>
                  <a:lnTo>
                    <a:pt x="17" y="17"/>
                  </a:lnTo>
                  <a:lnTo>
                    <a:pt x="17" y="17"/>
                  </a:lnTo>
                  <a:lnTo>
                    <a:pt x="17"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3" name="Freeform 378">
              <a:extLst>
                <a:ext uri="{FF2B5EF4-FFF2-40B4-BE49-F238E27FC236}">
                  <a16:creationId xmlns:a16="http://schemas.microsoft.com/office/drawing/2014/main" id="{C50FEDF9-CADE-4870-84E9-5A0273DE70FB}"/>
                </a:ext>
              </a:extLst>
            </p:cNvPr>
            <p:cNvSpPr>
              <a:spLocks noEditPoints="1"/>
            </p:cNvSpPr>
            <p:nvPr/>
          </p:nvSpPr>
          <p:spPr bwMode="gray">
            <a:xfrm>
              <a:off x="4937941" y="3535595"/>
              <a:ext cx="6587" cy="23468"/>
            </a:xfrm>
            <a:custGeom>
              <a:avLst/>
              <a:gdLst>
                <a:gd name="T0" fmla="*/ 16 w 16"/>
                <a:gd name="T1" fmla="*/ 12 h 57"/>
                <a:gd name="T2" fmla="*/ 9 w 16"/>
                <a:gd name="T3" fmla="*/ 5 h 57"/>
                <a:gd name="T4" fmla="*/ 9 w 16"/>
                <a:gd name="T5" fmla="*/ 0 h 57"/>
                <a:gd name="T6" fmla="*/ 16 w 16"/>
                <a:gd name="T7" fmla="*/ 5 h 57"/>
                <a:gd name="T8" fmla="*/ 16 w 16"/>
                <a:gd name="T9" fmla="*/ 12 h 57"/>
                <a:gd name="T10" fmla="*/ 16 w 16"/>
                <a:gd name="T11" fmla="*/ 12 h 57"/>
                <a:gd name="T12" fmla="*/ 16 w 16"/>
                <a:gd name="T13" fmla="*/ 12 h 57"/>
                <a:gd name="T14" fmla="*/ 16 w 16"/>
                <a:gd name="T15" fmla="*/ 57 h 57"/>
                <a:gd name="T16" fmla="*/ 0 w 16"/>
                <a:gd name="T17" fmla="*/ 45 h 57"/>
                <a:gd name="T18" fmla="*/ 9 w 16"/>
                <a:gd name="T19" fmla="*/ 40 h 57"/>
                <a:gd name="T20" fmla="*/ 16 w 16"/>
                <a:gd name="T21" fmla="*/ 45 h 57"/>
                <a:gd name="T22" fmla="*/ 16 w 16"/>
                <a:gd name="T23" fmla="*/ 57 h 57"/>
                <a:gd name="T24" fmla="*/ 16 w 16"/>
                <a:gd name="T25" fmla="*/ 57 h 57"/>
                <a:gd name="T26" fmla="*/ 16 w 16"/>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57">
                  <a:moveTo>
                    <a:pt x="16" y="12"/>
                  </a:moveTo>
                  <a:lnTo>
                    <a:pt x="9" y="5"/>
                  </a:lnTo>
                  <a:lnTo>
                    <a:pt x="9" y="0"/>
                  </a:lnTo>
                  <a:lnTo>
                    <a:pt x="16" y="5"/>
                  </a:lnTo>
                  <a:lnTo>
                    <a:pt x="16" y="12"/>
                  </a:lnTo>
                  <a:lnTo>
                    <a:pt x="16" y="12"/>
                  </a:lnTo>
                  <a:lnTo>
                    <a:pt x="16" y="12"/>
                  </a:lnTo>
                  <a:close/>
                  <a:moveTo>
                    <a:pt x="16" y="57"/>
                  </a:moveTo>
                  <a:lnTo>
                    <a:pt x="0" y="45"/>
                  </a:lnTo>
                  <a:lnTo>
                    <a:pt x="9" y="40"/>
                  </a:lnTo>
                  <a:lnTo>
                    <a:pt x="16" y="45"/>
                  </a:lnTo>
                  <a:lnTo>
                    <a:pt x="16" y="57"/>
                  </a:lnTo>
                  <a:lnTo>
                    <a:pt x="16" y="57"/>
                  </a:lnTo>
                  <a:lnTo>
                    <a:pt x="16" y="5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4" name="Freeform 387">
              <a:extLst>
                <a:ext uri="{FF2B5EF4-FFF2-40B4-BE49-F238E27FC236}">
                  <a16:creationId xmlns:a16="http://schemas.microsoft.com/office/drawing/2014/main" id="{61E44A6C-12F5-4084-B2F2-95F2C4B34AFD}"/>
                </a:ext>
              </a:extLst>
            </p:cNvPr>
            <p:cNvSpPr>
              <a:spLocks noEditPoints="1"/>
            </p:cNvSpPr>
            <p:nvPr/>
          </p:nvSpPr>
          <p:spPr bwMode="gray">
            <a:xfrm>
              <a:off x="4601195" y="4722984"/>
              <a:ext cx="573045" cy="1164333"/>
            </a:xfrm>
            <a:custGeom>
              <a:avLst/>
              <a:gdLst>
                <a:gd name="T0" fmla="*/ 508 w 1392"/>
                <a:gd name="T1" fmla="*/ 21 h 2828"/>
                <a:gd name="T2" fmla="*/ 652 w 1392"/>
                <a:gd name="T3" fmla="*/ 54 h 2828"/>
                <a:gd name="T4" fmla="*/ 870 w 1392"/>
                <a:gd name="T5" fmla="*/ 132 h 2828"/>
                <a:gd name="T6" fmla="*/ 1118 w 1392"/>
                <a:gd name="T7" fmla="*/ 267 h 2828"/>
                <a:gd name="T8" fmla="*/ 1080 w 1392"/>
                <a:gd name="T9" fmla="*/ 333 h 2828"/>
                <a:gd name="T10" fmla="*/ 1170 w 1392"/>
                <a:gd name="T11" fmla="*/ 428 h 2828"/>
                <a:gd name="T12" fmla="*/ 1245 w 1392"/>
                <a:gd name="T13" fmla="*/ 428 h 2828"/>
                <a:gd name="T14" fmla="*/ 1333 w 1392"/>
                <a:gd name="T15" fmla="*/ 284 h 2828"/>
                <a:gd name="T16" fmla="*/ 1392 w 1392"/>
                <a:gd name="T17" fmla="*/ 350 h 2828"/>
                <a:gd name="T18" fmla="*/ 1278 w 1392"/>
                <a:gd name="T19" fmla="*/ 465 h 2828"/>
                <a:gd name="T20" fmla="*/ 1208 w 1392"/>
                <a:gd name="T21" fmla="*/ 539 h 2828"/>
                <a:gd name="T22" fmla="*/ 1118 w 1392"/>
                <a:gd name="T23" fmla="*/ 650 h 2828"/>
                <a:gd name="T24" fmla="*/ 1094 w 1392"/>
                <a:gd name="T25" fmla="*/ 754 h 2828"/>
                <a:gd name="T26" fmla="*/ 1063 w 1392"/>
                <a:gd name="T27" fmla="*/ 876 h 2828"/>
                <a:gd name="T28" fmla="*/ 1059 w 1392"/>
                <a:gd name="T29" fmla="*/ 997 h 2828"/>
                <a:gd name="T30" fmla="*/ 1156 w 1392"/>
                <a:gd name="T31" fmla="*/ 1141 h 2828"/>
                <a:gd name="T32" fmla="*/ 1068 w 1392"/>
                <a:gd name="T33" fmla="*/ 1321 h 2828"/>
                <a:gd name="T34" fmla="*/ 787 w 1392"/>
                <a:gd name="T35" fmla="*/ 1387 h 2828"/>
                <a:gd name="T36" fmla="*/ 787 w 1392"/>
                <a:gd name="T37" fmla="*/ 1465 h 2828"/>
                <a:gd name="T38" fmla="*/ 740 w 1392"/>
                <a:gd name="T39" fmla="*/ 1547 h 2828"/>
                <a:gd name="T40" fmla="*/ 593 w 1392"/>
                <a:gd name="T41" fmla="*/ 1547 h 2828"/>
                <a:gd name="T42" fmla="*/ 638 w 1392"/>
                <a:gd name="T43" fmla="*/ 1658 h 2828"/>
                <a:gd name="T44" fmla="*/ 702 w 1392"/>
                <a:gd name="T45" fmla="*/ 1668 h 2828"/>
                <a:gd name="T46" fmla="*/ 600 w 1392"/>
                <a:gd name="T47" fmla="*/ 1680 h 2828"/>
                <a:gd name="T48" fmla="*/ 584 w 1392"/>
                <a:gd name="T49" fmla="*/ 1791 h 2828"/>
                <a:gd name="T50" fmla="*/ 563 w 1392"/>
                <a:gd name="T51" fmla="*/ 1869 h 2828"/>
                <a:gd name="T52" fmla="*/ 421 w 1392"/>
                <a:gd name="T53" fmla="*/ 2013 h 2828"/>
                <a:gd name="T54" fmla="*/ 518 w 1392"/>
                <a:gd name="T55" fmla="*/ 2140 h 2828"/>
                <a:gd name="T56" fmla="*/ 421 w 1392"/>
                <a:gd name="T57" fmla="*/ 2251 h 2828"/>
                <a:gd name="T58" fmla="*/ 369 w 1392"/>
                <a:gd name="T59" fmla="*/ 2350 h 2828"/>
                <a:gd name="T60" fmla="*/ 315 w 1392"/>
                <a:gd name="T61" fmla="*/ 2391 h 2828"/>
                <a:gd name="T62" fmla="*/ 324 w 1392"/>
                <a:gd name="T63" fmla="*/ 2495 h 2828"/>
                <a:gd name="T64" fmla="*/ 93 w 1392"/>
                <a:gd name="T65" fmla="*/ 2502 h 2828"/>
                <a:gd name="T66" fmla="*/ 60 w 1392"/>
                <a:gd name="T67" fmla="*/ 2400 h 2828"/>
                <a:gd name="T68" fmla="*/ 8 w 1392"/>
                <a:gd name="T69" fmla="*/ 2322 h 2828"/>
                <a:gd name="T70" fmla="*/ 38 w 1392"/>
                <a:gd name="T71" fmla="*/ 2239 h 2828"/>
                <a:gd name="T72" fmla="*/ 83 w 1392"/>
                <a:gd name="T73" fmla="*/ 2112 h 2828"/>
                <a:gd name="T74" fmla="*/ 130 w 1392"/>
                <a:gd name="T75" fmla="*/ 1996 h 2828"/>
                <a:gd name="T76" fmla="*/ 147 w 1392"/>
                <a:gd name="T77" fmla="*/ 1923 h 2828"/>
                <a:gd name="T78" fmla="*/ 180 w 1392"/>
                <a:gd name="T79" fmla="*/ 1835 h 2828"/>
                <a:gd name="T80" fmla="*/ 130 w 1392"/>
                <a:gd name="T81" fmla="*/ 1769 h 2828"/>
                <a:gd name="T82" fmla="*/ 97 w 1392"/>
                <a:gd name="T83" fmla="*/ 1713 h 2828"/>
                <a:gd name="T84" fmla="*/ 130 w 1392"/>
                <a:gd name="T85" fmla="*/ 1625 h 2828"/>
                <a:gd name="T86" fmla="*/ 130 w 1392"/>
                <a:gd name="T87" fmla="*/ 1474 h 2828"/>
                <a:gd name="T88" fmla="*/ 152 w 1392"/>
                <a:gd name="T89" fmla="*/ 1354 h 2828"/>
                <a:gd name="T90" fmla="*/ 180 w 1392"/>
                <a:gd name="T91" fmla="*/ 1235 h 2828"/>
                <a:gd name="T92" fmla="*/ 201 w 1392"/>
                <a:gd name="T93" fmla="*/ 1132 h 2828"/>
                <a:gd name="T94" fmla="*/ 244 w 1392"/>
                <a:gd name="T95" fmla="*/ 976 h 2828"/>
                <a:gd name="T96" fmla="*/ 244 w 1392"/>
                <a:gd name="T97" fmla="*/ 888 h 2828"/>
                <a:gd name="T98" fmla="*/ 239 w 1392"/>
                <a:gd name="T99" fmla="*/ 782 h 2828"/>
                <a:gd name="T100" fmla="*/ 239 w 1392"/>
                <a:gd name="T101" fmla="*/ 666 h 2828"/>
                <a:gd name="T102" fmla="*/ 308 w 1392"/>
                <a:gd name="T103" fmla="*/ 477 h 2828"/>
                <a:gd name="T104" fmla="*/ 362 w 1392"/>
                <a:gd name="T105" fmla="*/ 333 h 2828"/>
                <a:gd name="T106" fmla="*/ 438 w 1392"/>
                <a:gd name="T107" fmla="*/ 165 h 2828"/>
                <a:gd name="T108" fmla="*/ 799 w 1392"/>
                <a:gd name="T109" fmla="*/ 1370 h 2828"/>
                <a:gd name="T110" fmla="*/ 345 w 1392"/>
                <a:gd name="T111" fmla="*/ 2589 h 2828"/>
                <a:gd name="T112" fmla="*/ 378 w 1392"/>
                <a:gd name="T113" fmla="*/ 2655 h 2828"/>
                <a:gd name="T114" fmla="*/ 593 w 1392"/>
                <a:gd name="T115" fmla="*/ 2790 h 2828"/>
                <a:gd name="T116" fmla="*/ 345 w 1392"/>
                <a:gd name="T117" fmla="*/ 2806 h 2828"/>
                <a:gd name="T118" fmla="*/ 686 w 1392"/>
                <a:gd name="T119" fmla="*/ 2794 h 2828"/>
                <a:gd name="T120" fmla="*/ 345 w 1392"/>
                <a:gd name="T121" fmla="*/ 2811 h 2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92" h="2828">
                  <a:moveTo>
                    <a:pt x="449" y="78"/>
                  </a:moveTo>
                  <a:lnTo>
                    <a:pt x="466" y="61"/>
                  </a:lnTo>
                  <a:lnTo>
                    <a:pt x="466" y="54"/>
                  </a:lnTo>
                  <a:lnTo>
                    <a:pt x="475" y="45"/>
                  </a:lnTo>
                  <a:lnTo>
                    <a:pt x="475" y="33"/>
                  </a:lnTo>
                  <a:lnTo>
                    <a:pt x="508" y="21"/>
                  </a:lnTo>
                  <a:lnTo>
                    <a:pt x="518" y="0"/>
                  </a:lnTo>
                  <a:lnTo>
                    <a:pt x="546" y="21"/>
                  </a:lnTo>
                  <a:lnTo>
                    <a:pt x="600" y="21"/>
                  </a:lnTo>
                  <a:lnTo>
                    <a:pt x="631" y="33"/>
                  </a:lnTo>
                  <a:lnTo>
                    <a:pt x="648" y="78"/>
                  </a:lnTo>
                  <a:lnTo>
                    <a:pt x="652" y="54"/>
                  </a:lnTo>
                  <a:lnTo>
                    <a:pt x="681" y="17"/>
                  </a:lnTo>
                  <a:lnTo>
                    <a:pt x="756" y="17"/>
                  </a:lnTo>
                  <a:lnTo>
                    <a:pt x="761" y="33"/>
                  </a:lnTo>
                  <a:lnTo>
                    <a:pt x="794" y="54"/>
                  </a:lnTo>
                  <a:lnTo>
                    <a:pt x="811" y="95"/>
                  </a:lnTo>
                  <a:lnTo>
                    <a:pt x="870" y="132"/>
                  </a:lnTo>
                  <a:lnTo>
                    <a:pt x="879" y="149"/>
                  </a:lnTo>
                  <a:lnTo>
                    <a:pt x="934" y="165"/>
                  </a:lnTo>
                  <a:lnTo>
                    <a:pt x="950" y="165"/>
                  </a:lnTo>
                  <a:lnTo>
                    <a:pt x="1030" y="227"/>
                  </a:lnTo>
                  <a:lnTo>
                    <a:pt x="1101" y="255"/>
                  </a:lnTo>
                  <a:lnTo>
                    <a:pt x="1118" y="267"/>
                  </a:lnTo>
                  <a:lnTo>
                    <a:pt x="1123" y="276"/>
                  </a:lnTo>
                  <a:lnTo>
                    <a:pt x="1123" y="284"/>
                  </a:lnTo>
                  <a:lnTo>
                    <a:pt x="1101" y="300"/>
                  </a:lnTo>
                  <a:lnTo>
                    <a:pt x="1101" y="317"/>
                  </a:lnTo>
                  <a:lnTo>
                    <a:pt x="1101" y="317"/>
                  </a:lnTo>
                  <a:lnTo>
                    <a:pt x="1080" y="333"/>
                  </a:lnTo>
                  <a:lnTo>
                    <a:pt x="1080" y="371"/>
                  </a:lnTo>
                  <a:lnTo>
                    <a:pt x="1047" y="411"/>
                  </a:lnTo>
                  <a:lnTo>
                    <a:pt x="1047" y="421"/>
                  </a:lnTo>
                  <a:lnTo>
                    <a:pt x="1111" y="421"/>
                  </a:lnTo>
                  <a:lnTo>
                    <a:pt x="1156" y="432"/>
                  </a:lnTo>
                  <a:lnTo>
                    <a:pt x="1170" y="428"/>
                  </a:lnTo>
                  <a:lnTo>
                    <a:pt x="1177" y="432"/>
                  </a:lnTo>
                  <a:lnTo>
                    <a:pt x="1193" y="432"/>
                  </a:lnTo>
                  <a:lnTo>
                    <a:pt x="1203" y="444"/>
                  </a:lnTo>
                  <a:lnTo>
                    <a:pt x="1224" y="421"/>
                  </a:lnTo>
                  <a:lnTo>
                    <a:pt x="1241" y="421"/>
                  </a:lnTo>
                  <a:lnTo>
                    <a:pt x="1245" y="428"/>
                  </a:lnTo>
                  <a:lnTo>
                    <a:pt x="1262" y="421"/>
                  </a:lnTo>
                  <a:lnTo>
                    <a:pt x="1262" y="404"/>
                  </a:lnTo>
                  <a:lnTo>
                    <a:pt x="1274" y="395"/>
                  </a:lnTo>
                  <a:lnTo>
                    <a:pt x="1300" y="378"/>
                  </a:lnTo>
                  <a:lnTo>
                    <a:pt x="1328" y="354"/>
                  </a:lnTo>
                  <a:lnTo>
                    <a:pt x="1333" y="284"/>
                  </a:lnTo>
                  <a:lnTo>
                    <a:pt x="1337" y="293"/>
                  </a:lnTo>
                  <a:lnTo>
                    <a:pt x="1366" y="276"/>
                  </a:lnTo>
                  <a:lnTo>
                    <a:pt x="1380" y="293"/>
                  </a:lnTo>
                  <a:lnTo>
                    <a:pt x="1387" y="317"/>
                  </a:lnTo>
                  <a:lnTo>
                    <a:pt x="1392" y="338"/>
                  </a:lnTo>
                  <a:lnTo>
                    <a:pt x="1392" y="350"/>
                  </a:lnTo>
                  <a:lnTo>
                    <a:pt x="1392" y="387"/>
                  </a:lnTo>
                  <a:lnTo>
                    <a:pt x="1387" y="404"/>
                  </a:lnTo>
                  <a:lnTo>
                    <a:pt x="1349" y="428"/>
                  </a:lnTo>
                  <a:lnTo>
                    <a:pt x="1316" y="432"/>
                  </a:lnTo>
                  <a:lnTo>
                    <a:pt x="1300" y="461"/>
                  </a:lnTo>
                  <a:lnTo>
                    <a:pt x="1278" y="465"/>
                  </a:lnTo>
                  <a:lnTo>
                    <a:pt x="1274" y="482"/>
                  </a:lnTo>
                  <a:lnTo>
                    <a:pt x="1245" y="489"/>
                  </a:lnTo>
                  <a:lnTo>
                    <a:pt x="1257" y="498"/>
                  </a:lnTo>
                  <a:lnTo>
                    <a:pt x="1257" y="506"/>
                  </a:lnTo>
                  <a:lnTo>
                    <a:pt x="1241" y="506"/>
                  </a:lnTo>
                  <a:lnTo>
                    <a:pt x="1208" y="539"/>
                  </a:lnTo>
                  <a:lnTo>
                    <a:pt x="1203" y="560"/>
                  </a:lnTo>
                  <a:lnTo>
                    <a:pt x="1186" y="560"/>
                  </a:lnTo>
                  <a:lnTo>
                    <a:pt x="1156" y="610"/>
                  </a:lnTo>
                  <a:lnTo>
                    <a:pt x="1139" y="614"/>
                  </a:lnTo>
                  <a:lnTo>
                    <a:pt x="1139" y="633"/>
                  </a:lnTo>
                  <a:lnTo>
                    <a:pt x="1118" y="650"/>
                  </a:lnTo>
                  <a:lnTo>
                    <a:pt x="1118" y="654"/>
                  </a:lnTo>
                  <a:lnTo>
                    <a:pt x="1101" y="671"/>
                  </a:lnTo>
                  <a:lnTo>
                    <a:pt x="1111" y="699"/>
                  </a:lnTo>
                  <a:lnTo>
                    <a:pt x="1094" y="725"/>
                  </a:lnTo>
                  <a:lnTo>
                    <a:pt x="1085" y="742"/>
                  </a:lnTo>
                  <a:lnTo>
                    <a:pt x="1094" y="754"/>
                  </a:lnTo>
                  <a:lnTo>
                    <a:pt x="1085" y="765"/>
                  </a:lnTo>
                  <a:lnTo>
                    <a:pt x="1080" y="782"/>
                  </a:lnTo>
                  <a:lnTo>
                    <a:pt x="1085" y="815"/>
                  </a:lnTo>
                  <a:lnTo>
                    <a:pt x="1080" y="820"/>
                  </a:lnTo>
                  <a:lnTo>
                    <a:pt x="1080" y="869"/>
                  </a:lnTo>
                  <a:lnTo>
                    <a:pt x="1063" y="876"/>
                  </a:lnTo>
                  <a:lnTo>
                    <a:pt x="1059" y="910"/>
                  </a:lnTo>
                  <a:lnTo>
                    <a:pt x="1059" y="926"/>
                  </a:lnTo>
                  <a:lnTo>
                    <a:pt x="1063" y="959"/>
                  </a:lnTo>
                  <a:lnTo>
                    <a:pt x="1063" y="964"/>
                  </a:lnTo>
                  <a:lnTo>
                    <a:pt x="1059" y="976"/>
                  </a:lnTo>
                  <a:lnTo>
                    <a:pt x="1059" y="997"/>
                  </a:lnTo>
                  <a:lnTo>
                    <a:pt x="1123" y="1037"/>
                  </a:lnTo>
                  <a:lnTo>
                    <a:pt x="1149" y="1058"/>
                  </a:lnTo>
                  <a:lnTo>
                    <a:pt x="1156" y="1070"/>
                  </a:lnTo>
                  <a:lnTo>
                    <a:pt x="1132" y="1091"/>
                  </a:lnTo>
                  <a:lnTo>
                    <a:pt x="1132" y="1108"/>
                  </a:lnTo>
                  <a:lnTo>
                    <a:pt x="1156" y="1141"/>
                  </a:lnTo>
                  <a:lnTo>
                    <a:pt x="1165" y="1141"/>
                  </a:lnTo>
                  <a:lnTo>
                    <a:pt x="1177" y="1141"/>
                  </a:lnTo>
                  <a:lnTo>
                    <a:pt x="1186" y="1186"/>
                  </a:lnTo>
                  <a:lnTo>
                    <a:pt x="1123" y="1264"/>
                  </a:lnTo>
                  <a:lnTo>
                    <a:pt x="1123" y="1292"/>
                  </a:lnTo>
                  <a:lnTo>
                    <a:pt x="1068" y="1321"/>
                  </a:lnTo>
                  <a:lnTo>
                    <a:pt x="960" y="1347"/>
                  </a:lnTo>
                  <a:lnTo>
                    <a:pt x="879" y="1363"/>
                  </a:lnTo>
                  <a:lnTo>
                    <a:pt x="825" y="1363"/>
                  </a:lnTo>
                  <a:lnTo>
                    <a:pt x="787" y="1347"/>
                  </a:lnTo>
                  <a:lnTo>
                    <a:pt x="794" y="1363"/>
                  </a:lnTo>
                  <a:lnTo>
                    <a:pt x="787" y="1387"/>
                  </a:lnTo>
                  <a:lnTo>
                    <a:pt x="811" y="1391"/>
                  </a:lnTo>
                  <a:lnTo>
                    <a:pt x="794" y="1391"/>
                  </a:lnTo>
                  <a:lnTo>
                    <a:pt x="811" y="1408"/>
                  </a:lnTo>
                  <a:lnTo>
                    <a:pt x="799" y="1432"/>
                  </a:lnTo>
                  <a:lnTo>
                    <a:pt x="794" y="1432"/>
                  </a:lnTo>
                  <a:lnTo>
                    <a:pt x="787" y="1465"/>
                  </a:lnTo>
                  <a:lnTo>
                    <a:pt x="778" y="1474"/>
                  </a:lnTo>
                  <a:lnTo>
                    <a:pt x="794" y="1498"/>
                  </a:lnTo>
                  <a:lnTo>
                    <a:pt x="787" y="1502"/>
                  </a:lnTo>
                  <a:lnTo>
                    <a:pt x="799" y="1502"/>
                  </a:lnTo>
                  <a:lnTo>
                    <a:pt x="787" y="1531"/>
                  </a:lnTo>
                  <a:lnTo>
                    <a:pt x="740" y="1547"/>
                  </a:lnTo>
                  <a:lnTo>
                    <a:pt x="686" y="1547"/>
                  </a:lnTo>
                  <a:lnTo>
                    <a:pt x="626" y="1519"/>
                  </a:lnTo>
                  <a:lnTo>
                    <a:pt x="615" y="1514"/>
                  </a:lnTo>
                  <a:lnTo>
                    <a:pt x="600" y="1514"/>
                  </a:lnTo>
                  <a:lnTo>
                    <a:pt x="593" y="1519"/>
                  </a:lnTo>
                  <a:lnTo>
                    <a:pt x="593" y="1547"/>
                  </a:lnTo>
                  <a:lnTo>
                    <a:pt x="600" y="1576"/>
                  </a:lnTo>
                  <a:lnTo>
                    <a:pt x="593" y="1613"/>
                  </a:lnTo>
                  <a:lnTo>
                    <a:pt x="600" y="1625"/>
                  </a:lnTo>
                  <a:lnTo>
                    <a:pt x="638" y="1642"/>
                  </a:lnTo>
                  <a:lnTo>
                    <a:pt x="631" y="1658"/>
                  </a:lnTo>
                  <a:lnTo>
                    <a:pt x="638" y="1658"/>
                  </a:lnTo>
                  <a:lnTo>
                    <a:pt x="664" y="1658"/>
                  </a:lnTo>
                  <a:lnTo>
                    <a:pt x="669" y="1642"/>
                  </a:lnTo>
                  <a:lnTo>
                    <a:pt x="648" y="1642"/>
                  </a:lnTo>
                  <a:lnTo>
                    <a:pt x="686" y="1625"/>
                  </a:lnTo>
                  <a:lnTo>
                    <a:pt x="702" y="1646"/>
                  </a:lnTo>
                  <a:lnTo>
                    <a:pt x="702" y="1668"/>
                  </a:lnTo>
                  <a:lnTo>
                    <a:pt x="690" y="1687"/>
                  </a:lnTo>
                  <a:lnTo>
                    <a:pt x="664" y="1696"/>
                  </a:lnTo>
                  <a:lnTo>
                    <a:pt x="652" y="1687"/>
                  </a:lnTo>
                  <a:lnTo>
                    <a:pt x="652" y="1668"/>
                  </a:lnTo>
                  <a:lnTo>
                    <a:pt x="648" y="1663"/>
                  </a:lnTo>
                  <a:lnTo>
                    <a:pt x="600" y="1680"/>
                  </a:lnTo>
                  <a:lnTo>
                    <a:pt x="600" y="1687"/>
                  </a:lnTo>
                  <a:lnTo>
                    <a:pt x="652" y="1703"/>
                  </a:lnTo>
                  <a:lnTo>
                    <a:pt x="610" y="1724"/>
                  </a:lnTo>
                  <a:lnTo>
                    <a:pt x="577" y="1769"/>
                  </a:lnTo>
                  <a:lnTo>
                    <a:pt x="577" y="1774"/>
                  </a:lnTo>
                  <a:lnTo>
                    <a:pt x="584" y="1791"/>
                  </a:lnTo>
                  <a:lnTo>
                    <a:pt x="577" y="1814"/>
                  </a:lnTo>
                  <a:lnTo>
                    <a:pt x="584" y="1824"/>
                  </a:lnTo>
                  <a:lnTo>
                    <a:pt x="577" y="1835"/>
                  </a:lnTo>
                  <a:lnTo>
                    <a:pt x="556" y="1852"/>
                  </a:lnTo>
                  <a:lnTo>
                    <a:pt x="556" y="1869"/>
                  </a:lnTo>
                  <a:lnTo>
                    <a:pt x="563" y="1869"/>
                  </a:lnTo>
                  <a:lnTo>
                    <a:pt x="563" y="1885"/>
                  </a:lnTo>
                  <a:lnTo>
                    <a:pt x="518" y="1880"/>
                  </a:lnTo>
                  <a:lnTo>
                    <a:pt x="466" y="1902"/>
                  </a:lnTo>
                  <a:lnTo>
                    <a:pt x="421" y="1975"/>
                  </a:lnTo>
                  <a:lnTo>
                    <a:pt x="416" y="1991"/>
                  </a:lnTo>
                  <a:lnTo>
                    <a:pt x="421" y="2013"/>
                  </a:lnTo>
                  <a:lnTo>
                    <a:pt x="475" y="2058"/>
                  </a:lnTo>
                  <a:lnTo>
                    <a:pt x="530" y="2069"/>
                  </a:lnTo>
                  <a:lnTo>
                    <a:pt x="546" y="2074"/>
                  </a:lnTo>
                  <a:lnTo>
                    <a:pt x="546" y="2107"/>
                  </a:lnTo>
                  <a:lnTo>
                    <a:pt x="541" y="2128"/>
                  </a:lnTo>
                  <a:lnTo>
                    <a:pt x="518" y="2140"/>
                  </a:lnTo>
                  <a:lnTo>
                    <a:pt x="530" y="2128"/>
                  </a:lnTo>
                  <a:lnTo>
                    <a:pt x="546" y="2145"/>
                  </a:lnTo>
                  <a:lnTo>
                    <a:pt x="530" y="2145"/>
                  </a:lnTo>
                  <a:lnTo>
                    <a:pt x="530" y="2161"/>
                  </a:lnTo>
                  <a:lnTo>
                    <a:pt x="454" y="2213"/>
                  </a:lnTo>
                  <a:lnTo>
                    <a:pt x="421" y="2251"/>
                  </a:lnTo>
                  <a:lnTo>
                    <a:pt x="416" y="2268"/>
                  </a:lnTo>
                  <a:lnTo>
                    <a:pt x="400" y="2280"/>
                  </a:lnTo>
                  <a:lnTo>
                    <a:pt x="416" y="2272"/>
                  </a:lnTo>
                  <a:lnTo>
                    <a:pt x="412" y="2329"/>
                  </a:lnTo>
                  <a:lnTo>
                    <a:pt x="400" y="2334"/>
                  </a:lnTo>
                  <a:lnTo>
                    <a:pt x="369" y="2350"/>
                  </a:lnTo>
                  <a:lnTo>
                    <a:pt x="345" y="2329"/>
                  </a:lnTo>
                  <a:lnTo>
                    <a:pt x="324" y="2334"/>
                  </a:lnTo>
                  <a:lnTo>
                    <a:pt x="345" y="2334"/>
                  </a:lnTo>
                  <a:lnTo>
                    <a:pt x="362" y="2350"/>
                  </a:lnTo>
                  <a:lnTo>
                    <a:pt x="324" y="2379"/>
                  </a:lnTo>
                  <a:lnTo>
                    <a:pt x="315" y="2391"/>
                  </a:lnTo>
                  <a:lnTo>
                    <a:pt x="308" y="2424"/>
                  </a:lnTo>
                  <a:lnTo>
                    <a:pt x="293" y="2440"/>
                  </a:lnTo>
                  <a:lnTo>
                    <a:pt x="308" y="2433"/>
                  </a:lnTo>
                  <a:lnTo>
                    <a:pt x="324" y="2490"/>
                  </a:lnTo>
                  <a:lnTo>
                    <a:pt x="277" y="2495"/>
                  </a:lnTo>
                  <a:lnTo>
                    <a:pt x="324" y="2495"/>
                  </a:lnTo>
                  <a:lnTo>
                    <a:pt x="362" y="2556"/>
                  </a:lnTo>
                  <a:lnTo>
                    <a:pt x="362" y="2568"/>
                  </a:lnTo>
                  <a:lnTo>
                    <a:pt x="256" y="2528"/>
                  </a:lnTo>
                  <a:lnTo>
                    <a:pt x="114" y="2528"/>
                  </a:lnTo>
                  <a:lnTo>
                    <a:pt x="114" y="2518"/>
                  </a:lnTo>
                  <a:lnTo>
                    <a:pt x="93" y="2502"/>
                  </a:lnTo>
                  <a:lnTo>
                    <a:pt x="83" y="2478"/>
                  </a:lnTo>
                  <a:lnTo>
                    <a:pt x="93" y="2457"/>
                  </a:lnTo>
                  <a:lnTo>
                    <a:pt x="83" y="2445"/>
                  </a:lnTo>
                  <a:lnTo>
                    <a:pt x="93" y="2433"/>
                  </a:lnTo>
                  <a:lnTo>
                    <a:pt x="93" y="2400"/>
                  </a:lnTo>
                  <a:lnTo>
                    <a:pt x="60" y="2400"/>
                  </a:lnTo>
                  <a:lnTo>
                    <a:pt x="29" y="2407"/>
                  </a:lnTo>
                  <a:lnTo>
                    <a:pt x="22" y="2367"/>
                  </a:lnTo>
                  <a:lnTo>
                    <a:pt x="8" y="2350"/>
                  </a:lnTo>
                  <a:lnTo>
                    <a:pt x="8" y="2334"/>
                  </a:lnTo>
                  <a:lnTo>
                    <a:pt x="0" y="2329"/>
                  </a:lnTo>
                  <a:lnTo>
                    <a:pt x="8" y="2322"/>
                  </a:lnTo>
                  <a:lnTo>
                    <a:pt x="0" y="2296"/>
                  </a:lnTo>
                  <a:lnTo>
                    <a:pt x="8" y="2272"/>
                  </a:lnTo>
                  <a:lnTo>
                    <a:pt x="29" y="2272"/>
                  </a:lnTo>
                  <a:lnTo>
                    <a:pt x="38" y="2272"/>
                  </a:lnTo>
                  <a:lnTo>
                    <a:pt x="29" y="2268"/>
                  </a:lnTo>
                  <a:lnTo>
                    <a:pt x="38" y="2239"/>
                  </a:lnTo>
                  <a:lnTo>
                    <a:pt x="71" y="2223"/>
                  </a:lnTo>
                  <a:lnTo>
                    <a:pt x="71" y="2197"/>
                  </a:lnTo>
                  <a:lnTo>
                    <a:pt x="93" y="2185"/>
                  </a:lnTo>
                  <a:lnTo>
                    <a:pt x="83" y="2161"/>
                  </a:lnTo>
                  <a:lnTo>
                    <a:pt x="76" y="2145"/>
                  </a:lnTo>
                  <a:lnTo>
                    <a:pt x="83" y="2112"/>
                  </a:lnTo>
                  <a:lnTo>
                    <a:pt x="83" y="2107"/>
                  </a:lnTo>
                  <a:lnTo>
                    <a:pt x="126" y="2086"/>
                  </a:lnTo>
                  <a:lnTo>
                    <a:pt x="114" y="2069"/>
                  </a:lnTo>
                  <a:lnTo>
                    <a:pt x="114" y="2046"/>
                  </a:lnTo>
                  <a:lnTo>
                    <a:pt x="130" y="2034"/>
                  </a:lnTo>
                  <a:lnTo>
                    <a:pt x="130" y="1996"/>
                  </a:lnTo>
                  <a:lnTo>
                    <a:pt x="114" y="1991"/>
                  </a:lnTo>
                  <a:lnTo>
                    <a:pt x="135" y="1975"/>
                  </a:lnTo>
                  <a:lnTo>
                    <a:pt x="130" y="1958"/>
                  </a:lnTo>
                  <a:lnTo>
                    <a:pt x="126" y="1942"/>
                  </a:lnTo>
                  <a:lnTo>
                    <a:pt x="130" y="1935"/>
                  </a:lnTo>
                  <a:lnTo>
                    <a:pt x="147" y="1923"/>
                  </a:lnTo>
                  <a:lnTo>
                    <a:pt x="163" y="1906"/>
                  </a:lnTo>
                  <a:lnTo>
                    <a:pt x="135" y="1880"/>
                  </a:lnTo>
                  <a:lnTo>
                    <a:pt x="109" y="1880"/>
                  </a:lnTo>
                  <a:lnTo>
                    <a:pt x="109" y="1864"/>
                  </a:lnTo>
                  <a:lnTo>
                    <a:pt x="163" y="1864"/>
                  </a:lnTo>
                  <a:lnTo>
                    <a:pt x="180" y="1835"/>
                  </a:lnTo>
                  <a:lnTo>
                    <a:pt x="168" y="1831"/>
                  </a:lnTo>
                  <a:lnTo>
                    <a:pt x="126" y="1831"/>
                  </a:lnTo>
                  <a:lnTo>
                    <a:pt x="126" y="1807"/>
                  </a:lnTo>
                  <a:lnTo>
                    <a:pt x="135" y="1791"/>
                  </a:lnTo>
                  <a:lnTo>
                    <a:pt x="126" y="1774"/>
                  </a:lnTo>
                  <a:lnTo>
                    <a:pt x="130" y="1769"/>
                  </a:lnTo>
                  <a:lnTo>
                    <a:pt x="130" y="1758"/>
                  </a:lnTo>
                  <a:lnTo>
                    <a:pt x="114" y="1741"/>
                  </a:lnTo>
                  <a:lnTo>
                    <a:pt x="114" y="1736"/>
                  </a:lnTo>
                  <a:lnTo>
                    <a:pt x="130" y="1736"/>
                  </a:lnTo>
                  <a:lnTo>
                    <a:pt x="130" y="1720"/>
                  </a:lnTo>
                  <a:lnTo>
                    <a:pt x="97" y="1713"/>
                  </a:lnTo>
                  <a:lnTo>
                    <a:pt x="97" y="1668"/>
                  </a:lnTo>
                  <a:lnTo>
                    <a:pt x="109" y="1646"/>
                  </a:lnTo>
                  <a:lnTo>
                    <a:pt x="97" y="1646"/>
                  </a:lnTo>
                  <a:lnTo>
                    <a:pt x="109" y="1630"/>
                  </a:lnTo>
                  <a:lnTo>
                    <a:pt x="114" y="1630"/>
                  </a:lnTo>
                  <a:lnTo>
                    <a:pt x="130" y="1625"/>
                  </a:lnTo>
                  <a:lnTo>
                    <a:pt x="114" y="1592"/>
                  </a:lnTo>
                  <a:lnTo>
                    <a:pt x="126" y="1585"/>
                  </a:lnTo>
                  <a:lnTo>
                    <a:pt x="126" y="1531"/>
                  </a:lnTo>
                  <a:lnTo>
                    <a:pt x="114" y="1514"/>
                  </a:lnTo>
                  <a:lnTo>
                    <a:pt x="126" y="1481"/>
                  </a:lnTo>
                  <a:lnTo>
                    <a:pt x="130" y="1474"/>
                  </a:lnTo>
                  <a:lnTo>
                    <a:pt x="126" y="1465"/>
                  </a:lnTo>
                  <a:lnTo>
                    <a:pt x="135" y="1441"/>
                  </a:lnTo>
                  <a:lnTo>
                    <a:pt x="130" y="1408"/>
                  </a:lnTo>
                  <a:lnTo>
                    <a:pt x="147" y="1420"/>
                  </a:lnTo>
                  <a:lnTo>
                    <a:pt x="152" y="1387"/>
                  </a:lnTo>
                  <a:lnTo>
                    <a:pt x="152" y="1354"/>
                  </a:lnTo>
                  <a:lnTo>
                    <a:pt x="185" y="1337"/>
                  </a:lnTo>
                  <a:lnTo>
                    <a:pt x="189" y="1330"/>
                  </a:lnTo>
                  <a:lnTo>
                    <a:pt x="185" y="1313"/>
                  </a:lnTo>
                  <a:lnTo>
                    <a:pt x="185" y="1280"/>
                  </a:lnTo>
                  <a:lnTo>
                    <a:pt x="168" y="1252"/>
                  </a:lnTo>
                  <a:lnTo>
                    <a:pt x="180" y="1235"/>
                  </a:lnTo>
                  <a:lnTo>
                    <a:pt x="168" y="1219"/>
                  </a:lnTo>
                  <a:lnTo>
                    <a:pt x="180" y="1202"/>
                  </a:lnTo>
                  <a:lnTo>
                    <a:pt x="168" y="1181"/>
                  </a:lnTo>
                  <a:lnTo>
                    <a:pt x="180" y="1153"/>
                  </a:lnTo>
                  <a:lnTo>
                    <a:pt x="201" y="1148"/>
                  </a:lnTo>
                  <a:lnTo>
                    <a:pt x="201" y="1132"/>
                  </a:lnTo>
                  <a:lnTo>
                    <a:pt x="223" y="1124"/>
                  </a:lnTo>
                  <a:lnTo>
                    <a:pt x="232" y="1098"/>
                  </a:lnTo>
                  <a:lnTo>
                    <a:pt x="223" y="1058"/>
                  </a:lnTo>
                  <a:lnTo>
                    <a:pt x="206" y="1054"/>
                  </a:lnTo>
                  <a:lnTo>
                    <a:pt x="223" y="1042"/>
                  </a:lnTo>
                  <a:lnTo>
                    <a:pt x="244" y="976"/>
                  </a:lnTo>
                  <a:lnTo>
                    <a:pt x="260" y="964"/>
                  </a:lnTo>
                  <a:lnTo>
                    <a:pt x="256" y="931"/>
                  </a:lnTo>
                  <a:lnTo>
                    <a:pt x="270" y="905"/>
                  </a:lnTo>
                  <a:lnTo>
                    <a:pt x="260" y="893"/>
                  </a:lnTo>
                  <a:lnTo>
                    <a:pt x="256" y="893"/>
                  </a:lnTo>
                  <a:lnTo>
                    <a:pt x="244" y="888"/>
                  </a:lnTo>
                  <a:lnTo>
                    <a:pt x="256" y="865"/>
                  </a:lnTo>
                  <a:lnTo>
                    <a:pt x="239" y="848"/>
                  </a:lnTo>
                  <a:lnTo>
                    <a:pt x="239" y="832"/>
                  </a:lnTo>
                  <a:lnTo>
                    <a:pt x="232" y="810"/>
                  </a:lnTo>
                  <a:lnTo>
                    <a:pt x="223" y="798"/>
                  </a:lnTo>
                  <a:lnTo>
                    <a:pt x="239" y="782"/>
                  </a:lnTo>
                  <a:lnTo>
                    <a:pt x="223" y="777"/>
                  </a:lnTo>
                  <a:lnTo>
                    <a:pt x="206" y="754"/>
                  </a:lnTo>
                  <a:lnTo>
                    <a:pt x="218" y="725"/>
                  </a:lnTo>
                  <a:lnTo>
                    <a:pt x="232" y="709"/>
                  </a:lnTo>
                  <a:lnTo>
                    <a:pt x="232" y="699"/>
                  </a:lnTo>
                  <a:lnTo>
                    <a:pt x="239" y="666"/>
                  </a:lnTo>
                  <a:lnTo>
                    <a:pt x="256" y="654"/>
                  </a:lnTo>
                  <a:lnTo>
                    <a:pt x="260" y="650"/>
                  </a:lnTo>
                  <a:lnTo>
                    <a:pt x="244" y="576"/>
                  </a:lnTo>
                  <a:lnTo>
                    <a:pt x="270" y="560"/>
                  </a:lnTo>
                  <a:lnTo>
                    <a:pt x="277" y="506"/>
                  </a:lnTo>
                  <a:lnTo>
                    <a:pt x="308" y="477"/>
                  </a:lnTo>
                  <a:lnTo>
                    <a:pt x="331" y="404"/>
                  </a:lnTo>
                  <a:lnTo>
                    <a:pt x="362" y="404"/>
                  </a:lnTo>
                  <a:lnTo>
                    <a:pt x="369" y="387"/>
                  </a:lnTo>
                  <a:lnTo>
                    <a:pt x="345" y="354"/>
                  </a:lnTo>
                  <a:lnTo>
                    <a:pt x="352" y="338"/>
                  </a:lnTo>
                  <a:lnTo>
                    <a:pt x="362" y="333"/>
                  </a:lnTo>
                  <a:lnTo>
                    <a:pt x="345" y="276"/>
                  </a:lnTo>
                  <a:lnTo>
                    <a:pt x="352" y="255"/>
                  </a:lnTo>
                  <a:lnTo>
                    <a:pt x="369" y="255"/>
                  </a:lnTo>
                  <a:lnTo>
                    <a:pt x="352" y="222"/>
                  </a:lnTo>
                  <a:lnTo>
                    <a:pt x="369" y="199"/>
                  </a:lnTo>
                  <a:lnTo>
                    <a:pt x="438" y="165"/>
                  </a:lnTo>
                  <a:lnTo>
                    <a:pt x="466" y="87"/>
                  </a:lnTo>
                  <a:lnTo>
                    <a:pt x="449" y="78"/>
                  </a:lnTo>
                  <a:lnTo>
                    <a:pt x="449" y="78"/>
                  </a:lnTo>
                  <a:lnTo>
                    <a:pt x="449" y="78"/>
                  </a:lnTo>
                  <a:close/>
                  <a:moveTo>
                    <a:pt x="815" y="1387"/>
                  </a:moveTo>
                  <a:lnTo>
                    <a:pt x="799" y="1370"/>
                  </a:lnTo>
                  <a:lnTo>
                    <a:pt x="815" y="1375"/>
                  </a:lnTo>
                  <a:lnTo>
                    <a:pt x="815" y="1387"/>
                  </a:lnTo>
                  <a:lnTo>
                    <a:pt x="815" y="1387"/>
                  </a:lnTo>
                  <a:lnTo>
                    <a:pt x="815" y="1387"/>
                  </a:lnTo>
                  <a:close/>
                  <a:moveTo>
                    <a:pt x="345" y="2806"/>
                  </a:moveTo>
                  <a:lnTo>
                    <a:pt x="345" y="2589"/>
                  </a:lnTo>
                  <a:lnTo>
                    <a:pt x="369" y="2622"/>
                  </a:lnTo>
                  <a:lnTo>
                    <a:pt x="378" y="2639"/>
                  </a:lnTo>
                  <a:lnTo>
                    <a:pt x="362" y="2629"/>
                  </a:lnTo>
                  <a:lnTo>
                    <a:pt x="352" y="2639"/>
                  </a:lnTo>
                  <a:lnTo>
                    <a:pt x="352" y="2646"/>
                  </a:lnTo>
                  <a:lnTo>
                    <a:pt x="378" y="2655"/>
                  </a:lnTo>
                  <a:lnTo>
                    <a:pt x="395" y="2683"/>
                  </a:lnTo>
                  <a:lnTo>
                    <a:pt x="421" y="2712"/>
                  </a:lnTo>
                  <a:lnTo>
                    <a:pt x="421" y="2717"/>
                  </a:lnTo>
                  <a:lnTo>
                    <a:pt x="518" y="2778"/>
                  </a:lnTo>
                  <a:lnTo>
                    <a:pt x="556" y="2790"/>
                  </a:lnTo>
                  <a:lnTo>
                    <a:pt x="593" y="2790"/>
                  </a:lnTo>
                  <a:lnTo>
                    <a:pt x="577" y="2823"/>
                  </a:lnTo>
                  <a:lnTo>
                    <a:pt x="541" y="2811"/>
                  </a:lnTo>
                  <a:lnTo>
                    <a:pt x="504" y="2828"/>
                  </a:lnTo>
                  <a:lnTo>
                    <a:pt x="466" y="2811"/>
                  </a:lnTo>
                  <a:lnTo>
                    <a:pt x="352" y="2811"/>
                  </a:lnTo>
                  <a:lnTo>
                    <a:pt x="345" y="2806"/>
                  </a:lnTo>
                  <a:lnTo>
                    <a:pt x="345" y="2806"/>
                  </a:lnTo>
                  <a:lnTo>
                    <a:pt x="345" y="2806"/>
                  </a:lnTo>
                  <a:close/>
                  <a:moveTo>
                    <a:pt x="626" y="2811"/>
                  </a:moveTo>
                  <a:lnTo>
                    <a:pt x="615" y="2806"/>
                  </a:lnTo>
                  <a:lnTo>
                    <a:pt x="626" y="2806"/>
                  </a:lnTo>
                  <a:lnTo>
                    <a:pt x="686" y="2794"/>
                  </a:lnTo>
                  <a:lnTo>
                    <a:pt x="681" y="2806"/>
                  </a:lnTo>
                  <a:lnTo>
                    <a:pt x="648" y="2806"/>
                  </a:lnTo>
                  <a:lnTo>
                    <a:pt x="626" y="2811"/>
                  </a:lnTo>
                  <a:lnTo>
                    <a:pt x="626" y="2811"/>
                  </a:lnTo>
                  <a:lnTo>
                    <a:pt x="626" y="2811"/>
                  </a:lnTo>
                  <a:close/>
                  <a:moveTo>
                    <a:pt x="345" y="2811"/>
                  </a:moveTo>
                  <a:lnTo>
                    <a:pt x="345" y="2806"/>
                  </a:lnTo>
                  <a:lnTo>
                    <a:pt x="352" y="2811"/>
                  </a:lnTo>
                  <a:lnTo>
                    <a:pt x="345" y="2811"/>
                  </a:lnTo>
                  <a:lnTo>
                    <a:pt x="345" y="2811"/>
                  </a:lnTo>
                  <a:lnTo>
                    <a:pt x="345" y="281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5" name="Freeform 391">
              <a:extLst>
                <a:ext uri="{FF2B5EF4-FFF2-40B4-BE49-F238E27FC236}">
                  <a16:creationId xmlns:a16="http://schemas.microsoft.com/office/drawing/2014/main" id="{B4098820-A065-49D6-8C13-4CB0785D5852}"/>
                </a:ext>
              </a:extLst>
            </p:cNvPr>
            <p:cNvSpPr>
              <a:spLocks/>
            </p:cNvSpPr>
            <p:nvPr/>
          </p:nvSpPr>
          <p:spPr bwMode="gray">
            <a:xfrm>
              <a:off x="5005042" y="3667755"/>
              <a:ext cx="4940" cy="7823"/>
            </a:xfrm>
            <a:custGeom>
              <a:avLst/>
              <a:gdLst>
                <a:gd name="T0" fmla="*/ 7 w 12"/>
                <a:gd name="T1" fmla="*/ 19 h 19"/>
                <a:gd name="T2" fmla="*/ 0 w 12"/>
                <a:gd name="T3" fmla="*/ 19 h 19"/>
                <a:gd name="T4" fmla="*/ 0 w 12"/>
                <a:gd name="T5" fmla="*/ 0 h 19"/>
                <a:gd name="T6" fmla="*/ 12 w 12"/>
                <a:gd name="T7" fmla="*/ 12 h 19"/>
                <a:gd name="T8" fmla="*/ 7 w 12"/>
                <a:gd name="T9" fmla="*/ 19 h 19"/>
                <a:gd name="T10" fmla="*/ 7 w 12"/>
                <a:gd name="T11" fmla="*/ 19 h 19"/>
                <a:gd name="T12" fmla="*/ 7 w 12"/>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2" h="19">
                  <a:moveTo>
                    <a:pt x="7" y="19"/>
                  </a:moveTo>
                  <a:lnTo>
                    <a:pt x="0" y="19"/>
                  </a:lnTo>
                  <a:lnTo>
                    <a:pt x="0" y="0"/>
                  </a:lnTo>
                  <a:lnTo>
                    <a:pt x="12" y="12"/>
                  </a:lnTo>
                  <a:lnTo>
                    <a:pt x="7" y="19"/>
                  </a:lnTo>
                  <a:lnTo>
                    <a:pt x="7" y="19"/>
                  </a:lnTo>
                  <a:lnTo>
                    <a:pt x="7" y="1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6" name="Freeform 396">
              <a:extLst>
                <a:ext uri="{FF2B5EF4-FFF2-40B4-BE49-F238E27FC236}">
                  <a16:creationId xmlns:a16="http://schemas.microsoft.com/office/drawing/2014/main" id="{A90414F2-C0D4-48DE-85B6-8DEA4B7ADBB5}"/>
                </a:ext>
              </a:extLst>
            </p:cNvPr>
            <p:cNvSpPr>
              <a:spLocks noEditPoints="1"/>
            </p:cNvSpPr>
            <p:nvPr/>
          </p:nvSpPr>
          <p:spPr bwMode="gray">
            <a:xfrm>
              <a:off x="4149181" y="3513362"/>
              <a:ext cx="39108" cy="76579"/>
            </a:xfrm>
            <a:custGeom>
              <a:avLst/>
              <a:gdLst>
                <a:gd name="T0" fmla="*/ 24 w 95"/>
                <a:gd name="T1" fmla="*/ 186 h 186"/>
                <a:gd name="T2" fmla="*/ 0 w 95"/>
                <a:gd name="T3" fmla="*/ 186 h 186"/>
                <a:gd name="T4" fmla="*/ 7 w 95"/>
                <a:gd name="T5" fmla="*/ 42 h 186"/>
                <a:gd name="T6" fmla="*/ 7 w 95"/>
                <a:gd name="T7" fmla="*/ 37 h 186"/>
                <a:gd name="T8" fmla="*/ 17 w 95"/>
                <a:gd name="T9" fmla="*/ 26 h 186"/>
                <a:gd name="T10" fmla="*/ 24 w 95"/>
                <a:gd name="T11" fmla="*/ 37 h 186"/>
                <a:gd name="T12" fmla="*/ 57 w 95"/>
                <a:gd name="T13" fmla="*/ 0 h 186"/>
                <a:gd name="T14" fmla="*/ 62 w 95"/>
                <a:gd name="T15" fmla="*/ 0 h 186"/>
                <a:gd name="T16" fmla="*/ 62 w 95"/>
                <a:gd name="T17" fmla="*/ 4 h 186"/>
                <a:gd name="T18" fmla="*/ 78 w 95"/>
                <a:gd name="T19" fmla="*/ 4 h 186"/>
                <a:gd name="T20" fmla="*/ 78 w 95"/>
                <a:gd name="T21" fmla="*/ 9 h 186"/>
                <a:gd name="T22" fmla="*/ 62 w 95"/>
                <a:gd name="T23" fmla="*/ 59 h 186"/>
                <a:gd name="T24" fmla="*/ 62 w 95"/>
                <a:gd name="T25" fmla="*/ 92 h 186"/>
                <a:gd name="T26" fmla="*/ 73 w 95"/>
                <a:gd name="T27" fmla="*/ 111 h 186"/>
                <a:gd name="T28" fmla="*/ 62 w 95"/>
                <a:gd name="T29" fmla="*/ 137 h 186"/>
                <a:gd name="T30" fmla="*/ 62 w 95"/>
                <a:gd name="T31" fmla="*/ 132 h 186"/>
                <a:gd name="T32" fmla="*/ 45 w 95"/>
                <a:gd name="T33" fmla="*/ 153 h 186"/>
                <a:gd name="T34" fmla="*/ 33 w 95"/>
                <a:gd name="T35" fmla="*/ 165 h 186"/>
                <a:gd name="T36" fmla="*/ 24 w 95"/>
                <a:gd name="T37" fmla="*/ 177 h 186"/>
                <a:gd name="T38" fmla="*/ 24 w 95"/>
                <a:gd name="T39" fmla="*/ 186 h 186"/>
                <a:gd name="T40" fmla="*/ 24 w 95"/>
                <a:gd name="T41" fmla="*/ 186 h 186"/>
                <a:gd name="T42" fmla="*/ 24 w 95"/>
                <a:gd name="T43" fmla="*/ 186 h 186"/>
                <a:gd name="T44" fmla="*/ 95 w 95"/>
                <a:gd name="T45" fmla="*/ 26 h 186"/>
                <a:gd name="T46" fmla="*/ 90 w 95"/>
                <a:gd name="T47" fmla="*/ 37 h 186"/>
                <a:gd name="T48" fmla="*/ 95 w 95"/>
                <a:gd name="T49" fmla="*/ 21 h 186"/>
                <a:gd name="T50" fmla="*/ 95 w 95"/>
                <a:gd name="T51" fmla="*/ 26 h 186"/>
                <a:gd name="T52" fmla="*/ 95 w 95"/>
                <a:gd name="T53" fmla="*/ 26 h 186"/>
                <a:gd name="T54" fmla="*/ 95 w 95"/>
                <a:gd name="T55" fmla="*/ 2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5" h="186">
                  <a:moveTo>
                    <a:pt x="24" y="186"/>
                  </a:moveTo>
                  <a:lnTo>
                    <a:pt x="0" y="186"/>
                  </a:lnTo>
                  <a:lnTo>
                    <a:pt x="7" y="42"/>
                  </a:lnTo>
                  <a:lnTo>
                    <a:pt x="7" y="37"/>
                  </a:lnTo>
                  <a:lnTo>
                    <a:pt x="17" y="26"/>
                  </a:lnTo>
                  <a:lnTo>
                    <a:pt x="24" y="37"/>
                  </a:lnTo>
                  <a:lnTo>
                    <a:pt x="57" y="0"/>
                  </a:lnTo>
                  <a:lnTo>
                    <a:pt x="62" y="0"/>
                  </a:lnTo>
                  <a:lnTo>
                    <a:pt x="62" y="4"/>
                  </a:lnTo>
                  <a:lnTo>
                    <a:pt x="78" y="4"/>
                  </a:lnTo>
                  <a:lnTo>
                    <a:pt x="78" y="9"/>
                  </a:lnTo>
                  <a:lnTo>
                    <a:pt x="62" y="59"/>
                  </a:lnTo>
                  <a:lnTo>
                    <a:pt x="62" y="92"/>
                  </a:lnTo>
                  <a:lnTo>
                    <a:pt x="73" y="111"/>
                  </a:lnTo>
                  <a:lnTo>
                    <a:pt x="62" y="137"/>
                  </a:lnTo>
                  <a:lnTo>
                    <a:pt x="62" y="132"/>
                  </a:lnTo>
                  <a:lnTo>
                    <a:pt x="45" y="153"/>
                  </a:lnTo>
                  <a:lnTo>
                    <a:pt x="33" y="165"/>
                  </a:lnTo>
                  <a:lnTo>
                    <a:pt x="24" y="177"/>
                  </a:lnTo>
                  <a:lnTo>
                    <a:pt x="24" y="186"/>
                  </a:lnTo>
                  <a:lnTo>
                    <a:pt x="24" y="186"/>
                  </a:lnTo>
                  <a:lnTo>
                    <a:pt x="24" y="186"/>
                  </a:lnTo>
                  <a:close/>
                  <a:moveTo>
                    <a:pt x="95" y="26"/>
                  </a:moveTo>
                  <a:lnTo>
                    <a:pt x="90" y="37"/>
                  </a:lnTo>
                  <a:lnTo>
                    <a:pt x="95" y="21"/>
                  </a:lnTo>
                  <a:lnTo>
                    <a:pt x="95" y="26"/>
                  </a:lnTo>
                  <a:lnTo>
                    <a:pt x="95" y="26"/>
                  </a:lnTo>
                  <a:lnTo>
                    <a:pt x="95" y="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7" name="Freeform 398">
              <a:extLst>
                <a:ext uri="{FF2B5EF4-FFF2-40B4-BE49-F238E27FC236}">
                  <a16:creationId xmlns:a16="http://schemas.microsoft.com/office/drawing/2014/main" id="{A859A89E-D2C1-4532-80B4-3A56A652FE6A}"/>
                </a:ext>
              </a:extLst>
            </p:cNvPr>
            <p:cNvSpPr>
              <a:spLocks/>
            </p:cNvSpPr>
            <p:nvPr/>
          </p:nvSpPr>
          <p:spPr bwMode="gray">
            <a:xfrm>
              <a:off x="4715228" y="4353263"/>
              <a:ext cx="349097" cy="401836"/>
            </a:xfrm>
            <a:custGeom>
              <a:avLst/>
              <a:gdLst>
                <a:gd name="T0" fmla="*/ 482 w 848"/>
                <a:gd name="T1" fmla="*/ 915 h 976"/>
                <a:gd name="T2" fmla="*/ 378 w 848"/>
                <a:gd name="T3" fmla="*/ 952 h 976"/>
                <a:gd name="T4" fmla="*/ 357 w 848"/>
                <a:gd name="T5" fmla="*/ 931 h 976"/>
                <a:gd name="T6" fmla="*/ 269 w 848"/>
                <a:gd name="T7" fmla="*/ 919 h 976"/>
                <a:gd name="T8" fmla="*/ 231 w 848"/>
                <a:gd name="T9" fmla="*/ 919 h 976"/>
                <a:gd name="T10" fmla="*/ 198 w 848"/>
                <a:gd name="T11" fmla="*/ 943 h 976"/>
                <a:gd name="T12" fmla="*/ 189 w 848"/>
                <a:gd name="T13" fmla="*/ 959 h 976"/>
                <a:gd name="T14" fmla="*/ 144 w 848"/>
                <a:gd name="T15" fmla="*/ 976 h 976"/>
                <a:gd name="T16" fmla="*/ 123 w 848"/>
                <a:gd name="T17" fmla="*/ 952 h 976"/>
                <a:gd name="T18" fmla="*/ 106 w 848"/>
                <a:gd name="T19" fmla="*/ 915 h 976"/>
                <a:gd name="T20" fmla="*/ 101 w 848"/>
                <a:gd name="T21" fmla="*/ 858 h 976"/>
                <a:gd name="T22" fmla="*/ 75 w 848"/>
                <a:gd name="T23" fmla="*/ 825 h 976"/>
                <a:gd name="T24" fmla="*/ 85 w 848"/>
                <a:gd name="T25" fmla="*/ 808 h 976"/>
                <a:gd name="T26" fmla="*/ 64 w 848"/>
                <a:gd name="T27" fmla="*/ 787 h 976"/>
                <a:gd name="T28" fmla="*/ 75 w 848"/>
                <a:gd name="T29" fmla="*/ 759 h 976"/>
                <a:gd name="T30" fmla="*/ 64 w 848"/>
                <a:gd name="T31" fmla="*/ 737 h 976"/>
                <a:gd name="T32" fmla="*/ 47 w 848"/>
                <a:gd name="T33" fmla="*/ 681 h 976"/>
                <a:gd name="T34" fmla="*/ 38 w 848"/>
                <a:gd name="T35" fmla="*/ 610 h 976"/>
                <a:gd name="T36" fmla="*/ 9 w 848"/>
                <a:gd name="T37" fmla="*/ 572 h 976"/>
                <a:gd name="T38" fmla="*/ 0 w 848"/>
                <a:gd name="T39" fmla="*/ 556 h 976"/>
                <a:gd name="T40" fmla="*/ 47 w 848"/>
                <a:gd name="T41" fmla="*/ 511 h 976"/>
                <a:gd name="T42" fmla="*/ 54 w 848"/>
                <a:gd name="T43" fmla="*/ 482 h 976"/>
                <a:gd name="T44" fmla="*/ 31 w 848"/>
                <a:gd name="T45" fmla="*/ 478 h 976"/>
                <a:gd name="T46" fmla="*/ 21 w 848"/>
                <a:gd name="T47" fmla="*/ 416 h 976"/>
                <a:gd name="T48" fmla="*/ 16 w 848"/>
                <a:gd name="T49" fmla="*/ 388 h 976"/>
                <a:gd name="T50" fmla="*/ 47 w 848"/>
                <a:gd name="T51" fmla="*/ 345 h 976"/>
                <a:gd name="T52" fmla="*/ 54 w 848"/>
                <a:gd name="T53" fmla="*/ 334 h 976"/>
                <a:gd name="T54" fmla="*/ 47 w 848"/>
                <a:gd name="T55" fmla="*/ 277 h 976"/>
                <a:gd name="T56" fmla="*/ 68 w 848"/>
                <a:gd name="T57" fmla="*/ 206 h 976"/>
                <a:gd name="T58" fmla="*/ 54 w 848"/>
                <a:gd name="T59" fmla="*/ 95 h 976"/>
                <a:gd name="T60" fmla="*/ 68 w 848"/>
                <a:gd name="T61" fmla="*/ 107 h 976"/>
                <a:gd name="T62" fmla="*/ 106 w 848"/>
                <a:gd name="T63" fmla="*/ 74 h 976"/>
                <a:gd name="T64" fmla="*/ 144 w 848"/>
                <a:gd name="T65" fmla="*/ 57 h 976"/>
                <a:gd name="T66" fmla="*/ 177 w 848"/>
                <a:gd name="T67" fmla="*/ 41 h 976"/>
                <a:gd name="T68" fmla="*/ 248 w 848"/>
                <a:gd name="T69" fmla="*/ 12 h 976"/>
                <a:gd name="T70" fmla="*/ 302 w 848"/>
                <a:gd name="T71" fmla="*/ 0 h 976"/>
                <a:gd name="T72" fmla="*/ 298 w 848"/>
                <a:gd name="T73" fmla="*/ 57 h 976"/>
                <a:gd name="T74" fmla="*/ 302 w 848"/>
                <a:gd name="T75" fmla="*/ 111 h 976"/>
                <a:gd name="T76" fmla="*/ 319 w 848"/>
                <a:gd name="T77" fmla="*/ 145 h 976"/>
                <a:gd name="T78" fmla="*/ 323 w 848"/>
                <a:gd name="T79" fmla="*/ 152 h 976"/>
                <a:gd name="T80" fmla="*/ 340 w 848"/>
                <a:gd name="T81" fmla="*/ 168 h 976"/>
                <a:gd name="T82" fmla="*/ 361 w 848"/>
                <a:gd name="T83" fmla="*/ 185 h 976"/>
                <a:gd name="T84" fmla="*/ 404 w 848"/>
                <a:gd name="T85" fmla="*/ 206 h 976"/>
                <a:gd name="T86" fmla="*/ 444 w 848"/>
                <a:gd name="T87" fmla="*/ 223 h 976"/>
                <a:gd name="T88" fmla="*/ 465 w 848"/>
                <a:gd name="T89" fmla="*/ 234 h 976"/>
                <a:gd name="T90" fmla="*/ 486 w 848"/>
                <a:gd name="T91" fmla="*/ 239 h 976"/>
                <a:gd name="T92" fmla="*/ 524 w 848"/>
                <a:gd name="T93" fmla="*/ 256 h 976"/>
                <a:gd name="T94" fmla="*/ 605 w 848"/>
                <a:gd name="T95" fmla="*/ 277 h 976"/>
                <a:gd name="T96" fmla="*/ 649 w 848"/>
                <a:gd name="T97" fmla="*/ 317 h 976"/>
                <a:gd name="T98" fmla="*/ 659 w 848"/>
                <a:gd name="T99" fmla="*/ 362 h 976"/>
                <a:gd name="T100" fmla="*/ 633 w 848"/>
                <a:gd name="T101" fmla="*/ 400 h 976"/>
                <a:gd name="T102" fmla="*/ 664 w 848"/>
                <a:gd name="T103" fmla="*/ 482 h 976"/>
                <a:gd name="T104" fmla="*/ 794 w 848"/>
                <a:gd name="T105" fmla="*/ 499 h 976"/>
                <a:gd name="T106" fmla="*/ 789 w 848"/>
                <a:gd name="T107" fmla="*/ 556 h 976"/>
                <a:gd name="T108" fmla="*/ 838 w 848"/>
                <a:gd name="T109" fmla="*/ 605 h 976"/>
                <a:gd name="T110" fmla="*/ 838 w 848"/>
                <a:gd name="T111" fmla="*/ 681 h 976"/>
                <a:gd name="T112" fmla="*/ 838 w 848"/>
                <a:gd name="T113" fmla="*/ 693 h 976"/>
                <a:gd name="T114" fmla="*/ 827 w 848"/>
                <a:gd name="T115" fmla="*/ 759 h 976"/>
                <a:gd name="T116" fmla="*/ 805 w 848"/>
                <a:gd name="T117" fmla="*/ 749 h 976"/>
                <a:gd name="T118" fmla="*/ 675 w 848"/>
                <a:gd name="T119" fmla="*/ 704 h 976"/>
                <a:gd name="T120" fmla="*/ 541 w 848"/>
                <a:gd name="T121" fmla="*/ 771 h 976"/>
                <a:gd name="T122" fmla="*/ 520 w 848"/>
                <a:gd name="T123" fmla="*/ 841 h 976"/>
                <a:gd name="T124" fmla="*/ 486 w 848"/>
                <a:gd name="T125" fmla="*/ 931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8" h="976">
                  <a:moveTo>
                    <a:pt x="486" y="931"/>
                  </a:moveTo>
                  <a:lnTo>
                    <a:pt x="482" y="915"/>
                  </a:lnTo>
                  <a:lnTo>
                    <a:pt x="404" y="915"/>
                  </a:lnTo>
                  <a:lnTo>
                    <a:pt x="378" y="952"/>
                  </a:lnTo>
                  <a:lnTo>
                    <a:pt x="373" y="976"/>
                  </a:lnTo>
                  <a:lnTo>
                    <a:pt x="357" y="931"/>
                  </a:lnTo>
                  <a:lnTo>
                    <a:pt x="323" y="919"/>
                  </a:lnTo>
                  <a:lnTo>
                    <a:pt x="269" y="919"/>
                  </a:lnTo>
                  <a:lnTo>
                    <a:pt x="243" y="898"/>
                  </a:lnTo>
                  <a:lnTo>
                    <a:pt x="231" y="919"/>
                  </a:lnTo>
                  <a:lnTo>
                    <a:pt x="198" y="931"/>
                  </a:lnTo>
                  <a:lnTo>
                    <a:pt x="198" y="943"/>
                  </a:lnTo>
                  <a:lnTo>
                    <a:pt x="189" y="952"/>
                  </a:lnTo>
                  <a:lnTo>
                    <a:pt x="189" y="959"/>
                  </a:lnTo>
                  <a:lnTo>
                    <a:pt x="172" y="976"/>
                  </a:lnTo>
                  <a:lnTo>
                    <a:pt x="144" y="976"/>
                  </a:lnTo>
                  <a:lnTo>
                    <a:pt x="123" y="976"/>
                  </a:lnTo>
                  <a:lnTo>
                    <a:pt x="123" y="952"/>
                  </a:lnTo>
                  <a:lnTo>
                    <a:pt x="118" y="919"/>
                  </a:lnTo>
                  <a:lnTo>
                    <a:pt x="106" y="915"/>
                  </a:lnTo>
                  <a:lnTo>
                    <a:pt x="101" y="882"/>
                  </a:lnTo>
                  <a:lnTo>
                    <a:pt x="101" y="858"/>
                  </a:lnTo>
                  <a:lnTo>
                    <a:pt x="85" y="832"/>
                  </a:lnTo>
                  <a:lnTo>
                    <a:pt x="75" y="825"/>
                  </a:lnTo>
                  <a:lnTo>
                    <a:pt x="75" y="820"/>
                  </a:lnTo>
                  <a:lnTo>
                    <a:pt x="85" y="808"/>
                  </a:lnTo>
                  <a:lnTo>
                    <a:pt x="64" y="792"/>
                  </a:lnTo>
                  <a:lnTo>
                    <a:pt x="64" y="787"/>
                  </a:lnTo>
                  <a:lnTo>
                    <a:pt x="64" y="771"/>
                  </a:lnTo>
                  <a:lnTo>
                    <a:pt x="75" y="759"/>
                  </a:lnTo>
                  <a:lnTo>
                    <a:pt x="75" y="754"/>
                  </a:lnTo>
                  <a:lnTo>
                    <a:pt x="64" y="737"/>
                  </a:lnTo>
                  <a:lnTo>
                    <a:pt x="85" y="716"/>
                  </a:lnTo>
                  <a:lnTo>
                    <a:pt x="47" y="681"/>
                  </a:lnTo>
                  <a:lnTo>
                    <a:pt x="31" y="622"/>
                  </a:lnTo>
                  <a:lnTo>
                    <a:pt x="38" y="610"/>
                  </a:lnTo>
                  <a:lnTo>
                    <a:pt x="21" y="610"/>
                  </a:lnTo>
                  <a:lnTo>
                    <a:pt x="9" y="572"/>
                  </a:lnTo>
                  <a:lnTo>
                    <a:pt x="9" y="565"/>
                  </a:lnTo>
                  <a:lnTo>
                    <a:pt x="0" y="556"/>
                  </a:lnTo>
                  <a:lnTo>
                    <a:pt x="0" y="556"/>
                  </a:lnTo>
                  <a:lnTo>
                    <a:pt x="47" y="511"/>
                  </a:lnTo>
                  <a:lnTo>
                    <a:pt x="38" y="499"/>
                  </a:lnTo>
                  <a:lnTo>
                    <a:pt x="54" y="482"/>
                  </a:lnTo>
                  <a:lnTo>
                    <a:pt x="47" y="478"/>
                  </a:lnTo>
                  <a:lnTo>
                    <a:pt x="31" y="478"/>
                  </a:lnTo>
                  <a:lnTo>
                    <a:pt x="16" y="437"/>
                  </a:lnTo>
                  <a:lnTo>
                    <a:pt x="21" y="416"/>
                  </a:lnTo>
                  <a:lnTo>
                    <a:pt x="31" y="404"/>
                  </a:lnTo>
                  <a:lnTo>
                    <a:pt x="16" y="388"/>
                  </a:lnTo>
                  <a:lnTo>
                    <a:pt x="16" y="371"/>
                  </a:lnTo>
                  <a:lnTo>
                    <a:pt x="47" y="345"/>
                  </a:lnTo>
                  <a:lnTo>
                    <a:pt x="47" y="334"/>
                  </a:lnTo>
                  <a:lnTo>
                    <a:pt x="54" y="334"/>
                  </a:lnTo>
                  <a:lnTo>
                    <a:pt x="38" y="293"/>
                  </a:lnTo>
                  <a:lnTo>
                    <a:pt x="47" y="277"/>
                  </a:lnTo>
                  <a:lnTo>
                    <a:pt x="47" y="234"/>
                  </a:lnTo>
                  <a:lnTo>
                    <a:pt x="68" y="206"/>
                  </a:lnTo>
                  <a:lnTo>
                    <a:pt x="9" y="95"/>
                  </a:lnTo>
                  <a:lnTo>
                    <a:pt x="54" y="95"/>
                  </a:lnTo>
                  <a:lnTo>
                    <a:pt x="64" y="107"/>
                  </a:lnTo>
                  <a:lnTo>
                    <a:pt x="68" y="107"/>
                  </a:lnTo>
                  <a:lnTo>
                    <a:pt x="92" y="95"/>
                  </a:lnTo>
                  <a:lnTo>
                    <a:pt x="106" y="74"/>
                  </a:lnTo>
                  <a:lnTo>
                    <a:pt x="135" y="74"/>
                  </a:lnTo>
                  <a:lnTo>
                    <a:pt x="144" y="57"/>
                  </a:lnTo>
                  <a:lnTo>
                    <a:pt x="161" y="50"/>
                  </a:lnTo>
                  <a:lnTo>
                    <a:pt x="177" y="41"/>
                  </a:lnTo>
                  <a:lnTo>
                    <a:pt x="210" y="17"/>
                  </a:lnTo>
                  <a:lnTo>
                    <a:pt x="248" y="12"/>
                  </a:lnTo>
                  <a:lnTo>
                    <a:pt x="286" y="12"/>
                  </a:lnTo>
                  <a:lnTo>
                    <a:pt x="302" y="0"/>
                  </a:lnTo>
                  <a:lnTo>
                    <a:pt x="302" y="41"/>
                  </a:lnTo>
                  <a:lnTo>
                    <a:pt x="298" y="57"/>
                  </a:lnTo>
                  <a:lnTo>
                    <a:pt x="302" y="95"/>
                  </a:lnTo>
                  <a:lnTo>
                    <a:pt x="302" y="111"/>
                  </a:lnTo>
                  <a:lnTo>
                    <a:pt x="302" y="128"/>
                  </a:lnTo>
                  <a:lnTo>
                    <a:pt x="319" y="145"/>
                  </a:lnTo>
                  <a:lnTo>
                    <a:pt x="307" y="152"/>
                  </a:lnTo>
                  <a:lnTo>
                    <a:pt x="323" y="152"/>
                  </a:lnTo>
                  <a:lnTo>
                    <a:pt x="323" y="168"/>
                  </a:lnTo>
                  <a:lnTo>
                    <a:pt x="340" y="168"/>
                  </a:lnTo>
                  <a:lnTo>
                    <a:pt x="340" y="185"/>
                  </a:lnTo>
                  <a:lnTo>
                    <a:pt x="361" y="185"/>
                  </a:lnTo>
                  <a:lnTo>
                    <a:pt x="373" y="206"/>
                  </a:lnTo>
                  <a:lnTo>
                    <a:pt x="404" y="206"/>
                  </a:lnTo>
                  <a:lnTo>
                    <a:pt x="416" y="206"/>
                  </a:lnTo>
                  <a:lnTo>
                    <a:pt x="444" y="223"/>
                  </a:lnTo>
                  <a:lnTo>
                    <a:pt x="465" y="218"/>
                  </a:lnTo>
                  <a:lnTo>
                    <a:pt x="465" y="234"/>
                  </a:lnTo>
                  <a:lnTo>
                    <a:pt x="482" y="251"/>
                  </a:lnTo>
                  <a:lnTo>
                    <a:pt x="486" y="239"/>
                  </a:lnTo>
                  <a:lnTo>
                    <a:pt x="512" y="256"/>
                  </a:lnTo>
                  <a:lnTo>
                    <a:pt x="524" y="256"/>
                  </a:lnTo>
                  <a:lnTo>
                    <a:pt x="550" y="289"/>
                  </a:lnTo>
                  <a:lnTo>
                    <a:pt x="605" y="277"/>
                  </a:lnTo>
                  <a:lnTo>
                    <a:pt x="642" y="305"/>
                  </a:lnTo>
                  <a:lnTo>
                    <a:pt x="649" y="317"/>
                  </a:lnTo>
                  <a:lnTo>
                    <a:pt x="642" y="326"/>
                  </a:lnTo>
                  <a:lnTo>
                    <a:pt x="659" y="362"/>
                  </a:lnTo>
                  <a:lnTo>
                    <a:pt x="659" y="400"/>
                  </a:lnTo>
                  <a:lnTo>
                    <a:pt x="633" y="400"/>
                  </a:lnTo>
                  <a:lnTo>
                    <a:pt x="659" y="421"/>
                  </a:lnTo>
                  <a:lnTo>
                    <a:pt x="664" y="482"/>
                  </a:lnTo>
                  <a:lnTo>
                    <a:pt x="794" y="482"/>
                  </a:lnTo>
                  <a:lnTo>
                    <a:pt x="794" y="499"/>
                  </a:lnTo>
                  <a:lnTo>
                    <a:pt x="784" y="515"/>
                  </a:lnTo>
                  <a:lnTo>
                    <a:pt x="789" y="556"/>
                  </a:lnTo>
                  <a:lnTo>
                    <a:pt x="838" y="582"/>
                  </a:lnTo>
                  <a:lnTo>
                    <a:pt x="838" y="605"/>
                  </a:lnTo>
                  <a:lnTo>
                    <a:pt x="848" y="626"/>
                  </a:lnTo>
                  <a:lnTo>
                    <a:pt x="838" y="681"/>
                  </a:lnTo>
                  <a:lnTo>
                    <a:pt x="838" y="693"/>
                  </a:lnTo>
                  <a:lnTo>
                    <a:pt x="838" y="693"/>
                  </a:lnTo>
                  <a:lnTo>
                    <a:pt x="810" y="737"/>
                  </a:lnTo>
                  <a:lnTo>
                    <a:pt x="827" y="759"/>
                  </a:lnTo>
                  <a:lnTo>
                    <a:pt x="805" y="771"/>
                  </a:lnTo>
                  <a:lnTo>
                    <a:pt x="805" y="749"/>
                  </a:lnTo>
                  <a:lnTo>
                    <a:pt x="742" y="716"/>
                  </a:lnTo>
                  <a:lnTo>
                    <a:pt x="675" y="704"/>
                  </a:lnTo>
                  <a:lnTo>
                    <a:pt x="557" y="733"/>
                  </a:lnTo>
                  <a:lnTo>
                    <a:pt x="541" y="771"/>
                  </a:lnTo>
                  <a:lnTo>
                    <a:pt x="520" y="804"/>
                  </a:lnTo>
                  <a:lnTo>
                    <a:pt x="520" y="841"/>
                  </a:lnTo>
                  <a:lnTo>
                    <a:pt x="486" y="931"/>
                  </a:lnTo>
                  <a:lnTo>
                    <a:pt x="486" y="931"/>
                  </a:lnTo>
                  <a:lnTo>
                    <a:pt x="486" y="93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8" name="Freeform 403">
              <a:extLst>
                <a:ext uri="{FF2B5EF4-FFF2-40B4-BE49-F238E27FC236}">
                  <a16:creationId xmlns:a16="http://schemas.microsoft.com/office/drawing/2014/main" id="{3CAC0561-038B-466C-A9E6-53C377BF865A}"/>
                </a:ext>
              </a:extLst>
            </p:cNvPr>
            <p:cNvSpPr>
              <a:spLocks noEditPoints="1"/>
            </p:cNvSpPr>
            <p:nvPr/>
          </p:nvSpPr>
          <p:spPr bwMode="gray">
            <a:xfrm>
              <a:off x="4587610" y="3909845"/>
              <a:ext cx="1134151" cy="1194389"/>
            </a:xfrm>
            <a:custGeom>
              <a:avLst/>
              <a:gdLst>
                <a:gd name="T0" fmla="*/ 291 w 2755"/>
                <a:gd name="T1" fmla="*/ 255 h 2901"/>
                <a:gd name="T2" fmla="*/ 593 w 2755"/>
                <a:gd name="T3" fmla="*/ 312 h 2901"/>
                <a:gd name="T4" fmla="*/ 702 w 2755"/>
                <a:gd name="T5" fmla="*/ 201 h 2901"/>
                <a:gd name="T6" fmla="*/ 794 w 2755"/>
                <a:gd name="T7" fmla="*/ 90 h 2901"/>
                <a:gd name="T8" fmla="*/ 967 w 2755"/>
                <a:gd name="T9" fmla="*/ 0 h 2901"/>
                <a:gd name="T10" fmla="*/ 1009 w 2755"/>
                <a:gd name="T11" fmla="*/ 246 h 2901"/>
                <a:gd name="T12" fmla="*/ 1172 w 2755"/>
                <a:gd name="T13" fmla="*/ 239 h 2901"/>
                <a:gd name="T14" fmla="*/ 1366 w 2755"/>
                <a:gd name="T15" fmla="*/ 206 h 2901"/>
                <a:gd name="T16" fmla="*/ 1604 w 2755"/>
                <a:gd name="T17" fmla="*/ 95 h 2901"/>
                <a:gd name="T18" fmla="*/ 1600 w 2755"/>
                <a:gd name="T19" fmla="*/ 390 h 2901"/>
                <a:gd name="T20" fmla="*/ 1637 w 2755"/>
                <a:gd name="T21" fmla="*/ 506 h 2901"/>
                <a:gd name="T22" fmla="*/ 1637 w 2755"/>
                <a:gd name="T23" fmla="*/ 539 h 2901"/>
                <a:gd name="T24" fmla="*/ 1784 w 2755"/>
                <a:gd name="T25" fmla="*/ 485 h 2901"/>
                <a:gd name="T26" fmla="*/ 1869 w 2755"/>
                <a:gd name="T27" fmla="*/ 423 h 2901"/>
                <a:gd name="T28" fmla="*/ 1982 w 2755"/>
                <a:gd name="T29" fmla="*/ 461 h 2901"/>
                <a:gd name="T30" fmla="*/ 2063 w 2755"/>
                <a:gd name="T31" fmla="*/ 506 h 2901"/>
                <a:gd name="T32" fmla="*/ 2091 w 2755"/>
                <a:gd name="T33" fmla="*/ 577 h 2901"/>
                <a:gd name="T34" fmla="*/ 2301 w 2755"/>
                <a:gd name="T35" fmla="*/ 589 h 2901"/>
                <a:gd name="T36" fmla="*/ 2750 w 2755"/>
                <a:gd name="T37" fmla="*/ 884 h 2901"/>
                <a:gd name="T38" fmla="*/ 2594 w 2755"/>
                <a:gd name="T39" fmla="*/ 1172 h 2901"/>
                <a:gd name="T40" fmla="*/ 2469 w 2755"/>
                <a:gd name="T41" fmla="*/ 1309 h 2901"/>
                <a:gd name="T42" fmla="*/ 2448 w 2755"/>
                <a:gd name="T43" fmla="*/ 1625 h 2901"/>
                <a:gd name="T44" fmla="*/ 2322 w 2755"/>
                <a:gd name="T45" fmla="*/ 1937 h 2901"/>
                <a:gd name="T46" fmla="*/ 2117 w 2755"/>
                <a:gd name="T47" fmla="*/ 2053 h 2901"/>
                <a:gd name="T48" fmla="*/ 1944 w 2755"/>
                <a:gd name="T49" fmla="*/ 2143 h 2901"/>
                <a:gd name="T50" fmla="*/ 1777 w 2755"/>
                <a:gd name="T51" fmla="*/ 2287 h 2901"/>
                <a:gd name="T52" fmla="*/ 1767 w 2755"/>
                <a:gd name="T53" fmla="*/ 2476 h 2901"/>
                <a:gd name="T54" fmla="*/ 1600 w 2755"/>
                <a:gd name="T55" fmla="*/ 2719 h 2901"/>
                <a:gd name="T56" fmla="*/ 1604 w 2755"/>
                <a:gd name="T57" fmla="*/ 2625 h 2901"/>
                <a:gd name="T58" fmla="*/ 1496 w 2755"/>
                <a:gd name="T59" fmla="*/ 2851 h 2901"/>
                <a:gd name="T60" fmla="*/ 1210 w 2755"/>
                <a:gd name="T61" fmla="*/ 2620 h 2901"/>
                <a:gd name="T62" fmla="*/ 1281 w 2755"/>
                <a:gd name="T63" fmla="*/ 2464 h 2901"/>
                <a:gd name="T64" fmla="*/ 1366 w 2755"/>
                <a:gd name="T65" fmla="*/ 2259 h 2901"/>
                <a:gd name="T66" fmla="*/ 1238 w 2755"/>
                <a:gd name="T67" fmla="*/ 1992 h 2901"/>
                <a:gd name="T68" fmla="*/ 1146 w 2755"/>
                <a:gd name="T69" fmla="*/ 1659 h 2901"/>
                <a:gd name="T70" fmla="*/ 858 w 2755"/>
                <a:gd name="T71" fmla="*/ 1366 h 2901"/>
                <a:gd name="T72" fmla="*/ 631 w 2755"/>
                <a:gd name="T73" fmla="*/ 1243 h 2901"/>
                <a:gd name="T74" fmla="*/ 471 w 2755"/>
                <a:gd name="T75" fmla="*/ 1127 h 2901"/>
                <a:gd name="T76" fmla="*/ 248 w 2755"/>
                <a:gd name="T77" fmla="*/ 1061 h 2901"/>
                <a:gd name="T78" fmla="*/ 17 w 2755"/>
                <a:gd name="T79" fmla="*/ 888 h 2901"/>
                <a:gd name="T80" fmla="*/ 286 w 2755"/>
                <a:gd name="T81" fmla="*/ 683 h 2901"/>
                <a:gd name="T82" fmla="*/ 1685 w 2755"/>
                <a:gd name="T83" fmla="*/ 312 h 2901"/>
                <a:gd name="T84" fmla="*/ 1685 w 2755"/>
                <a:gd name="T85" fmla="*/ 333 h 2901"/>
                <a:gd name="T86" fmla="*/ 1706 w 2755"/>
                <a:gd name="T87" fmla="*/ 357 h 2901"/>
                <a:gd name="T88" fmla="*/ 1706 w 2755"/>
                <a:gd name="T89" fmla="*/ 390 h 2901"/>
                <a:gd name="T90" fmla="*/ 1621 w 2755"/>
                <a:gd name="T91" fmla="*/ 383 h 2901"/>
                <a:gd name="T92" fmla="*/ 1637 w 2755"/>
                <a:gd name="T93" fmla="*/ 411 h 2901"/>
                <a:gd name="T94" fmla="*/ 1685 w 2755"/>
                <a:gd name="T95" fmla="*/ 501 h 2901"/>
                <a:gd name="T96" fmla="*/ 1621 w 2755"/>
                <a:gd name="T97" fmla="*/ 407 h 2901"/>
                <a:gd name="T98" fmla="*/ 1630 w 2755"/>
                <a:gd name="T99" fmla="*/ 407 h 2901"/>
                <a:gd name="T100" fmla="*/ 1550 w 2755"/>
                <a:gd name="T101" fmla="*/ 485 h 2901"/>
                <a:gd name="T102" fmla="*/ 1831 w 2755"/>
                <a:gd name="T103" fmla="*/ 428 h 2901"/>
                <a:gd name="T104" fmla="*/ 1928 w 2755"/>
                <a:gd name="T105" fmla="*/ 449 h 2901"/>
                <a:gd name="T106" fmla="*/ 2037 w 2755"/>
                <a:gd name="T107" fmla="*/ 468 h 2901"/>
                <a:gd name="T108" fmla="*/ 1529 w 2755"/>
                <a:gd name="T109" fmla="*/ 501 h 2901"/>
                <a:gd name="T110" fmla="*/ 1760 w 2755"/>
                <a:gd name="T111" fmla="*/ 506 h 2901"/>
                <a:gd name="T112" fmla="*/ 2247 w 2755"/>
                <a:gd name="T113" fmla="*/ 577 h 2901"/>
                <a:gd name="T114" fmla="*/ 2485 w 2755"/>
                <a:gd name="T115" fmla="*/ 1309 h 2901"/>
                <a:gd name="T116" fmla="*/ 2464 w 2755"/>
                <a:gd name="T117" fmla="*/ 1370 h 2901"/>
                <a:gd name="T118" fmla="*/ 2020 w 2755"/>
                <a:gd name="T119" fmla="*/ 2143 h 2901"/>
                <a:gd name="T120" fmla="*/ 1777 w 2755"/>
                <a:gd name="T121" fmla="*/ 2313 h 2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55" h="2901">
                  <a:moveTo>
                    <a:pt x="286" y="683"/>
                  </a:moveTo>
                  <a:lnTo>
                    <a:pt x="324" y="477"/>
                  </a:lnTo>
                  <a:lnTo>
                    <a:pt x="324" y="449"/>
                  </a:lnTo>
                  <a:lnTo>
                    <a:pt x="308" y="428"/>
                  </a:lnTo>
                  <a:lnTo>
                    <a:pt x="308" y="411"/>
                  </a:lnTo>
                  <a:lnTo>
                    <a:pt x="274" y="390"/>
                  </a:lnTo>
                  <a:lnTo>
                    <a:pt x="274" y="333"/>
                  </a:lnTo>
                  <a:lnTo>
                    <a:pt x="324" y="329"/>
                  </a:lnTo>
                  <a:lnTo>
                    <a:pt x="329" y="333"/>
                  </a:lnTo>
                  <a:lnTo>
                    <a:pt x="345" y="333"/>
                  </a:lnTo>
                  <a:lnTo>
                    <a:pt x="341" y="317"/>
                  </a:lnTo>
                  <a:lnTo>
                    <a:pt x="329" y="300"/>
                  </a:lnTo>
                  <a:lnTo>
                    <a:pt x="291" y="300"/>
                  </a:lnTo>
                  <a:lnTo>
                    <a:pt x="291" y="255"/>
                  </a:lnTo>
                  <a:lnTo>
                    <a:pt x="319" y="246"/>
                  </a:lnTo>
                  <a:lnTo>
                    <a:pt x="411" y="255"/>
                  </a:lnTo>
                  <a:lnTo>
                    <a:pt x="400" y="246"/>
                  </a:lnTo>
                  <a:lnTo>
                    <a:pt x="411" y="239"/>
                  </a:lnTo>
                  <a:lnTo>
                    <a:pt x="433" y="255"/>
                  </a:lnTo>
                  <a:lnTo>
                    <a:pt x="466" y="222"/>
                  </a:lnTo>
                  <a:lnTo>
                    <a:pt x="471" y="222"/>
                  </a:lnTo>
                  <a:lnTo>
                    <a:pt x="487" y="263"/>
                  </a:lnTo>
                  <a:lnTo>
                    <a:pt x="487" y="296"/>
                  </a:lnTo>
                  <a:lnTo>
                    <a:pt x="504" y="296"/>
                  </a:lnTo>
                  <a:lnTo>
                    <a:pt x="541" y="329"/>
                  </a:lnTo>
                  <a:lnTo>
                    <a:pt x="556" y="329"/>
                  </a:lnTo>
                  <a:lnTo>
                    <a:pt x="579" y="312"/>
                  </a:lnTo>
                  <a:lnTo>
                    <a:pt x="593" y="312"/>
                  </a:lnTo>
                  <a:lnTo>
                    <a:pt x="593" y="329"/>
                  </a:lnTo>
                  <a:lnTo>
                    <a:pt x="593" y="333"/>
                  </a:lnTo>
                  <a:lnTo>
                    <a:pt x="610" y="312"/>
                  </a:lnTo>
                  <a:lnTo>
                    <a:pt x="617" y="312"/>
                  </a:lnTo>
                  <a:lnTo>
                    <a:pt x="626" y="296"/>
                  </a:lnTo>
                  <a:lnTo>
                    <a:pt x="648" y="284"/>
                  </a:lnTo>
                  <a:lnTo>
                    <a:pt x="659" y="284"/>
                  </a:lnTo>
                  <a:lnTo>
                    <a:pt x="681" y="267"/>
                  </a:lnTo>
                  <a:lnTo>
                    <a:pt x="685" y="267"/>
                  </a:lnTo>
                  <a:lnTo>
                    <a:pt x="697" y="263"/>
                  </a:lnTo>
                  <a:lnTo>
                    <a:pt x="702" y="239"/>
                  </a:lnTo>
                  <a:lnTo>
                    <a:pt x="752" y="222"/>
                  </a:lnTo>
                  <a:lnTo>
                    <a:pt x="752" y="206"/>
                  </a:lnTo>
                  <a:lnTo>
                    <a:pt x="702" y="201"/>
                  </a:lnTo>
                  <a:lnTo>
                    <a:pt x="702" y="185"/>
                  </a:lnTo>
                  <a:lnTo>
                    <a:pt x="685" y="152"/>
                  </a:lnTo>
                  <a:lnTo>
                    <a:pt x="685" y="118"/>
                  </a:lnTo>
                  <a:lnTo>
                    <a:pt x="659" y="90"/>
                  </a:lnTo>
                  <a:lnTo>
                    <a:pt x="648" y="74"/>
                  </a:lnTo>
                  <a:lnTo>
                    <a:pt x="664" y="78"/>
                  </a:lnTo>
                  <a:lnTo>
                    <a:pt x="697" y="78"/>
                  </a:lnTo>
                  <a:lnTo>
                    <a:pt x="702" y="95"/>
                  </a:lnTo>
                  <a:lnTo>
                    <a:pt x="719" y="95"/>
                  </a:lnTo>
                  <a:lnTo>
                    <a:pt x="740" y="102"/>
                  </a:lnTo>
                  <a:lnTo>
                    <a:pt x="752" y="95"/>
                  </a:lnTo>
                  <a:lnTo>
                    <a:pt x="778" y="118"/>
                  </a:lnTo>
                  <a:lnTo>
                    <a:pt x="794" y="111"/>
                  </a:lnTo>
                  <a:lnTo>
                    <a:pt x="794" y="90"/>
                  </a:lnTo>
                  <a:lnTo>
                    <a:pt x="806" y="90"/>
                  </a:lnTo>
                  <a:lnTo>
                    <a:pt x="811" y="78"/>
                  </a:lnTo>
                  <a:lnTo>
                    <a:pt x="832" y="78"/>
                  </a:lnTo>
                  <a:lnTo>
                    <a:pt x="858" y="78"/>
                  </a:lnTo>
                  <a:lnTo>
                    <a:pt x="865" y="74"/>
                  </a:lnTo>
                  <a:lnTo>
                    <a:pt x="874" y="74"/>
                  </a:lnTo>
                  <a:lnTo>
                    <a:pt x="882" y="62"/>
                  </a:lnTo>
                  <a:lnTo>
                    <a:pt x="896" y="57"/>
                  </a:lnTo>
                  <a:lnTo>
                    <a:pt x="919" y="45"/>
                  </a:lnTo>
                  <a:lnTo>
                    <a:pt x="929" y="40"/>
                  </a:lnTo>
                  <a:lnTo>
                    <a:pt x="941" y="24"/>
                  </a:lnTo>
                  <a:lnTo>
                    <a:pt x="941" y="7"/>
                  </a:lnTo>
                  <a:lnTo>
                    <a:pt x="933" y="0"/>
                  </a:lnTo>
                  <a:lnTo>
                    <a:pt x="967" y="0"/>
                  </a:lnTo>
                  <a:lnTo>
                    <a:pt x="971" y="0"/>
                  </a:lnTo>
                  <a:lnTo>
                    <a:pt x="983" y="7"/>
                  </a:lnTo>
                  <a:lnTo>
                    <a:pt x="988" y="17"/>
                  </a:lnTo>
                  <a:lnTo>
                    <a:pt x="983" y="40"/>
                  </a:lnTo>
                  <a:lnTo>
                    <a:pt x="971" y="57"/>
                  </a:lnTo>
                  <a:lnTo>
                    <a:pt x="1004" y="62"/>
                  </a:lnTo>
                  <a:lnTo>
                    <a:pt x="1004" y="74"/>
                  </a:lnTo>
                  <a:lnTo>
                    <a:pt x="1009" y="95"/>
                  </a:lnTo>
                  <a:lnTo>
                    <a:pt x="995" y="128"/>
                  </a:lnTo>
                  <a:lnTo>
                    <a:pt x="988" y="185"/>
                  </a:lnTo>
                  <a:lnTo>
                    <a:pt x="995" y="206"/>
                  </a:lnTo>
                  <a:lnTo>
                    <a:pt x="1004" y="211"/>
                  </a:lnTo>
                  <a:lnTo>
                    <a:pt x="1004" y="246"/>
                  </a:lnTo>
                  <a:lnTo>
                    <a:pt x="1009" y="246"/>
                  </a:lnTo>
                  <a:lnTo>
                    <a:pt x="1009" y="255"/>
                  </a:lnTo>
                  <a:lnTo>
                    <a:pt x="1021" y="255"/>
                  </a:lnTo>
                  <a:lnTo>
                    <a:pt x="1037" y="279"/>
                  </a:lnTo>
                  <a:lnTo>
                    <a:pt x="1059" y="284"/>
                  </a:lnTo>
                  <a:lnTo>
                    <a:pt x="1063" y="296"/>
                  </a:lnTo>
                  <a:lnTo>
                    <a:pt x="1075" y="284"/>
                  </a:lnTo>
                  <a:lnTo>
                    <a:pt x="1092" y="284"/>
                  </a:lnTo>
                  <a:lnTo>
                    <a:pt x="1092" y="267"/>
                  </a:lnTo>
                  <a:lnTo>
                    <a:pt x="1101" y="263"/>
                  </a:lnTo>
                  <a:lnTo>
                    <a:pt x="1130" y="267"/>
                  </a:lnTo>
                  <a:lnTo>
                    <a:pt x="1130" y="263"/>
                  </a:lnTo>
                  <a:lnTo>
                    <a:pt x="1146" y="255"/>
                  </a:lnTo>
                  <a:lnTo>
                    <a:pt x="1156" y="255"/>
                  </a:lnTo>
                  <a:lnTo>
                    <a:pt x="1172" y="239"/>
                  </a:lnTo>
                  <a:lnTo>
                    <a:pt x="1189" y="229"/>
                  </a:lnTo>
                  <a:lnTo>
                    <a:pt x="1210" y="246"/>
                  </a:lnTo>
                  <a:lnTo>
                    <a:pt x="1238" y="239"/>
                  </a:lnTo>
                  <a:lnTo>
                    <a:pt x="1264" y="246"/>
                  </a:lnTo>
                  <a:lnTo>
                    <a:pt x="1276" y="239"/>
                  </a:lnTo>
                  <a:lnTo>
                    <a:pt x="1276" y="229"/>
                  </a:lnTo>
                  <a:lnTo>
                    <a:pt x="1259" y="211"/>
                  </a:lnTo>
                  <a:lnTo>
                    <a:pt x="1264" y="201"/>
                  </a:lnTo>
                  <a:lnTo>
                    <a:pt x="1290" y="206"/>
                  </a:lnTo>
                  <a:lnTo>
                    <a:pt x="1335" y="189"/>
                  </a:lnTo>
                  <a:lnTo>
                    <a:pt x="1345" y="201"/>
                  </a:lnTo>
                  <a:lnTo>
                    <a:pt x="1361" y="201"/>
                  </a:lnTo>
                  <a:lnTo>
                    <a:pt x="1361" y="206"/>
                  </a:lnTo>
                  <a:lnTo>
                    <a:pt x="1366" y="206"/>
                  </a:lnTo>
                  <a:lnTo>
                    <a:pt x="1399" y="222"/>
                  </a:lnTo>
                  <a:lnTo>
                    <a:pt x="1420" y="206"/>
                  </a:lnTo>
                  <a:lnTo>
                    <a:pt x="1437" y="211"/>
                  </a:lnTo>
                  <a:lnTo>
                    <a:pt x="1453" y="206"/>
                  </a:lnTo>
                  <a:lnTo>
                    <a:pt x="1458" y="222"/>
                  </a:lnTo>
                  <a:lnTo>
                    <a:pt x="1479" y="222"/>
                  </a:lnTo>
                  <a:lnTo>
                    <a:pt x="1507" y="201"/>
                  </a:lnTo>
                  <a:lnTo>
                    <a:pt x="1524" y="152"/>
                  </a:lnTo>
                  <a:lnTo>
                    <a:pt x="1567" y="90"/>
                  </a:lnTo>
                  <a:lnTo>
                    <a:pt x="1578" y="78"/>
                  </a:lnTo>
                  <a:lnTo>
                    <a:pt x="1583" y="90"/>
                  </a:lnTo>
                  <a:lnTo>
                    <a:pt x="1578" y="62"/>
                  </a:lnTo>
                  <a:lnTo>
                    <a:pt x="1600" y="78"/>
                  </a:lnTo>
                  <a:lnTo>
                    <a:pt x="1604" y="95"/>
                  </a:lnTo>
                  <a:lnTo>
                    <a:pt x="1616" y="95"/>
                  </a:lnTo>
                  <a:lnTo>
                    <a:pt x="1616" y="152"/>
                  </a:lnTo>
                  <a:lnTo>
                    <a:pt x="1637" y="222"/>
                  </a:lnTo>
                  <a:lnTo>
                    <a:pt x="1654" y="246"/>
                  </a:lnTo>
                  <a:lnTo>
                    <a:pt x="1675" y="246"/>
                  </a:lnTo>
                  <a:lnTo>
                    <a:pt x="1692" y="255"/>
                  </a:lnTo>
                  <a:lnTo>
                    <a:pt x="1692" y="284"/>
                  </a:lnTo>
                  <a:lnTo>
                    <a:pt x="1675" y="296"/>
                  </a:lnTo>
                  <a:lnTo>
                    <a:pt x="1692" y="284"/>
                  </a:lnTo>
                  <a:lnTo>
                    <a:pt x="1692" y="296"/>
                  </a:lnTo>
                  <a:lnTo>
                    <a:pt x="1654" y="333"/>
                  </a:lnTo>
                  <a:lnTo>
                    <a:pt x="1630" y="366"/>
                  </a:lnTo>
                  <a:lnTo>
                    <a:pt x="1621" y="366"/>
                  </a:lnTo>
                  <a:lnTo>
                    <a:pt x="1600" y="390"/>
                  </a:lnTo>
                  <a:lnTo>
                    <a:pt x="1567" y="428"/>
                  </a:lnTo>
                  <a:lnTo>
                    <a:pt x="1567" y="449"/>
                  </a:lnTo>
                  <a:lnTo>
                    <a:pt x="1550" y="461"/>
                  </a:lnTo>
                  <a:lnTo>
                    <a:pt x="1550" y="477"/>
                  </a:lnTo>
                  <a:lnTo>
                    <a:pt x="1545" y="485"/>
                  </a:lnTo>
                  <a:lnTo>
                    <a:pt x="1529" y="477"/>
                  </a:lnTo>
                  <a:lnTo>
                    <a:pt x="1496" y="494"/>
                  </a:lnTo>
                  <a:lnTo>
                    <a:pt x="1529" y="494"/>
                  </a:lnTo>
                  <a:lnTo>
                    <a:pt x="1529" y="501"/>
                  </a:lnTo>
                  <a:lnTo>
                    <a:pt x="1600" y="468"/>
                  </a:lnTo>
                  <a:lnTo>
                    <a:pt x="1616" y="444"/>
                  </a:lnTo>
                  <a:lnTo>
                    <a:pt x="1630" y="444"/>
                  </a:lnTo>
                  <a:lnTo>
                    <a:pt x="1630" y="485"/>
                  </a:lnTo>
                  <a:lnTo>
                    <a:pt x="1637" y="506"/>
                  </a:lnTo>
                  <a:lnTo>
                    <a:pt x="1630" y="518"/>
                  </a:lnTo>
                  <a:lnTo>
                    <a:pt x="1604" y="506"/>
                  </a:lnTo>
                  <a:lnTo>
                    <a:pt x="1588" y="501"/>
                  </a:lnTo>
                  <a:lnTo>
                    <a:pt x="1583" y="522"/>
                  </a:lnTo>
                  <a:lnTo>
                    <a:pt x="1583" y="539"/>
                  </a:lnTo>
                  <a:lnTo>
                    <a:pt x="1588" y="551"/>
                  </a:lnTo>
                  <a:lnTo>
                    <a:pt x="1583" y="522"/>
                  </a:lnTo>
                  <a:lnTo>
                    <a:pt x="1600" y="506"/>
                  </a:lnTo>
                  <a:lnTo>
                    <a:pt x="1616" y="522"/>
                  </a:lnTo>
                  <a:lnTo>
                    <a:pt x="1616" y="551"/>
                  </a:lnTo>
                  <a:lnTo>
                    <a:pt x="1630" y="555"/>
                  </a:lnTo>
                  <a:lnTo>
                    <a:pt x="1616" y="551"/>
                  </a:lnTo>
                  <a:lnTo>
                    <a:pt x="1621" y="522"/>
                  </a:lnTo>
                  <a:lnTo>
                    <a:pt x="1637" y="539"/>
                  </a:lnTo>
                  <a:lnTo>
                    <a:pt x="1630" y="518"/>
                  </a:lnTo>
                  <a:lnTo>
                    <a:pt x="1637" y="506"/>
                  </a:lnTo>
                  <a:lnTo>
                    <a:pt x="1654" y="506"/>
                  </a:lnTo>
                  <a:lnTo>
                    <a:pt x="1659" y="518"/>
                  </a:lnTo>
                  <a:lnTo>
                    <a:pt x="1685" y="506"/>
                  </a:lnTo>
                  <a:lnTo>
                    <a:pt x="1696" y="518"/>
                  </a:lnTo>
                  <a:lnTo>
                    <a:pt x="1713" y="518"/>
                  </a:lnTo>
                  <a:lnTo>
                    <a:pt x="1739" y="501"/>
                  </a:lnTo>
                  <a:lnTo>
                    <a:pt x="1722" y="539"/>
                  </a:lnTo>
                  <a:lnTo>
                    <a:pt x="1722" y="560"/>
                  </a:lnTo>
                  <a:lnTo>
                    <a:pt x="1744" y="518"/>
                  </a:lnTo>
                  <a:lnTo>
                    <a:pt x="1760" y="506"/>
                  </a:lnTo>
                  <a:lnTo>
                    <a:pt x="1777" y="485"/>
                  </a:lnTo>
                  <a:lnTo>
                    <a:pt x="1784" y="485"/>
                  </a:lnTo>
                  <a:lnTo>
                    <a:pt x="1798" y="501"/>
                  </a:lnTo>
                  <a:lnTo>
                    <a:pt x="1798" y="485"/>
                  </a:lnTo>
                  <a:lnTo>
                    <a:pt x="1815" y="485"/>
                  </a:lnTo>
                  <a:lnTo>
                    <a:pt x="1793" y="485"/>
                  </a:lnTo>
                  <a:lnTo>
                    <a:pt x="1793" y="468"/>
                  </a:lnTo>
                  <a:lnTo>
                    <a:pt x="1805" y="477"/>
                  </a:lnTo>
                  <a:lnTo>
                    <a:pt x="1805" y="444"/>
                  </a:lnTo>
                  <a:lnTo>
                    <a:pt x="1822" y="428"/>
                  </a:lnTo>
                  <a:lnTo>
                    <a:pt x="1831" y="440"/>
                  </a:lnTo>
                  <a:lnTo>
                    <a:pt x="1848" y="423"/>
                  </a:lnTo>
                  <a:lnTo>
                    <a:pt x="1848" y="440"/>
                  </a:lnTo>
                  <a:lnTo>
                    <a:pt x="1859" y="423"/>
                  </a:lnTo>
                  <a:lnTo>
                    <a:pt x="1869" y="440"/>
                  </a:lnTo>
                  <a:lnTo>
                    <a:pt x="1869" y="423"/>
                  </a:lnTo>
                  <a:lnTo>
                    <a:pt x="1890" y="428"/>
                  </a:lnTo>
                  <a:lnTo>
                    <a:pt x="1902" y="428"/>
                  </a:lnTo>
                  <a:lnTo>
                    <a:pt x="1902" y="444"/>
                  </a:lnTo>
                  <a:lnTo>
                    <a:pt x="1907" y="428"/>
                  </a:lnTo>
                  <a:lnTo>
                    <a:pt x="1911" y="440"/>
                  </a:lnTo>
                  <a:lnTo>
                    <a:pt x="1923" y="440"/>
                  </a:lnTo>
                  <a:lnTo>
                    <a:pt x="1923" y="449"/>
                  </a:lnTo>
                  <a:lnTo>
                    <a:pt x="1956" y="444"/>
                  </a:lnTo>
                  <a:lnTo>
                    <a:pt x="1944" y="461"/>
                  </a:lnTo>
                  <a:lnTo>
                    <a:pt x="1961" y="461"/>
                  </a:lnTo>
                  <a:lnTo>
                    <a:pt x="1961" y="468"/>
                  </a:lnTo>
                  <a:lnTo>
                    <a:pt x="1966" y="449"/>
                  </a:lnTo>
                  <a:lnTo>
                    <a:pt x="1978" y="468"/>
                  </a:lnTo>
                  <a:lnTo>
                    <a:pt x="1982" y="461"/>
                  </a:lnTo>
                  <a:lnTo>
                    <a:pt x="1994" y="477"/>
                  </a:lnTo>
                  <a:lnTo>
                    <a:pt x="1994" y="468"/>
                  </a:lnTo>
                  <a:lnTo>
                    <a:pt x="2011" y="477"/>
                  </a:lnTo>
                  <a:lnTo>
                    <a:pt x="2011" y="494"/>
                  </a:lnTo>
                  <a:lnTo>
                    <a:pt x="2015" y="477"/>
                  </a:lnTo>
                  <a:lnTo>
                    <a:pt x="2015" y="501"/>
                  </a:lnTo>
                  <a:lnTo>
                    <a:pt x="2020" y="501"/>
                  </a:lnTo>
                  <a:lnTo>
                    <a:pt x="2020" y="485"/>
                  </a:lnTo>
                  <a:lnTo>
                    <a:pt x="2037" y="485"/>
                  </a:lnTo>
                  <a:lnTo>
                    <a:pt x="2048" y="485"/>
                  </a:lnTo>
                  <a:lnTo>
                    <a:pt x="2037" y="494"/>
                  </a:lnTo>
                  <a:lnTo>
                    <a:pt x="2053" y="494"/>
                  </a:lnTo>
                  <a:lnTo>
                    <a:pt x="2053" y="501"/>
                  </a:lnTo>
                  <a:lnTo>
                    <a:pt x="2063" y="506"/>
                  </a:lnTo>
                  <a:lnTo>
                    <a:pt x="2070" y="506"/>
                  </a:lnTo>
                  <a:lnTo>
                    <a:pt x="2074" y="522"/>
                  </a:lnTo>
                  <a:lnTo>
                    <a:pt x="2063" y="551"/>
                  </a:lnTo>
                  <a:lnTo>
                    <a:pt x="2074" y="534"/>
                  </a:lnTo>
                  <a:lnTo>
                    <a:pt x="2086" y="551"/>
                  </a:lnTo>
                  <a:lnTo>
                    <a:pt x="2070" y="560"/>
                  </a:lnTo>
                  <a:lnTo>
                    <a:pt x="2063" y="596"/>
                  </a:lnTo>
                  <a:lnTo>
                    <a:pt x="2053" y="617"/>
                  </a:lnTo>
                  <a:lnTo>
                    <a:pt x="2074" y="589"/>
                  </a:lnTo>
                  <a:lnTo>
                    <a:pt x="2086" y="560"/>
                  </a:lnTo>
                  <a:lnTo>
                    <a:pt x="2100" y="551"/>
                  </a:lnTo>
                  <a:lnTo>
                    <a:pt x="2107" y="560"/>
                  </a:lnTo>
                  <a:lnTo>
                    <a:pt x="2086" y="577"/>
                  </a:lnTo>
                  <a:lnTo>
                    <a:pt x="2091" y="577"/>
                  </a:lnTo>
                  <a:lnTo>
                    <a:pt x="2091" y="589"/>
                  </a:lnTo>
                  <a:lnTo>
                    <a:pt x="2117" y="560"/>
                  </a:lnTo>
                  <a:lnTo>
                    <a:pt x="2145" y="560"/>
                  </a:lnTo>
                  <a:lnTo>
                    <a:pt x="2145" y="551"/>
                  </a:lnTo>
                  <a:lnTo>
                    <a:pt x="2155" y="551"/>
                  </a:lnTo>
                  <a:lnTo>
                    <a:pt x="2200" y="560"/>
                  </a:lnTo>
                  <a:lnTo>
                    <a:pt x="2230" y="577"/>
                  </a:lnTo>
                  <a:lnTo>
                    <a:pt x="2252" y="577"/>
                  </a:lnTo>
                  <a:lnTo>
                    <a:pt x="2247" y="577"/>
                  </a:lnTo>
                  <a:lnTo>
                    <a:pt x="2263" y="572"/>
                  </a:lnTo>
                  <a:lnTo>
                    <a:pt x="2268" y="589"/>
                  </a:lnTo>
                  <a:lnTo>
                    <a:pt x="2289" y="589"/>
                  </a:lnTo>
                  <a:lnTo>
                    <a:pt x="2301" y="596"/>
                  </a:lnTo>
                  <a:lnTo>
                    <a:pt x="2301" y="589"/>
                  </a:lnTo>
                  <a:lnTo>
                    <a:pt x="2356" y="577"/>
                  </a:lnTo>
                  <a:lnTo>
                    <a:pt x="2389" y="577"/>
                  </a:lnTo>
                  <a:lnTo>
                    <a:pt x="2495" y="645"/>
                  </a:lnTo>
                  <a:lnTo>
                    <a:pt x="2556" y="704"/>
                  </a:lnTo>
                  <a:lnTo>
                    <a:pt x="2578" y="716"/>
                  </a:lnTo>
                  <a:lnTo>
                    <a:pt x="2587" y="728"/>
                  </a:lnTo>
                  <a:lnTo>
                    <a:pt x="2608" y="740"/>
                  </a:lnTo>
                  <a:lnTo>
                    <a:pt x="2615" y="744"/>
                  </a:lnTo>
                  <a:lnTo>
                    <a:pt x="2670" y="744"/>
                  </a:lnTo>
                  <a:lnTo>
                    <a:pt x="2712" y="756"/>
                  </a:lnTo>
                  <a:lnTo>
                    <a:pt x="2738" y="839"/>
                  </a:lnTo>
                  <a:lnTo>
                    <a:pt x="2750" y="884"/>
                  </a:lnTo>
                  <a:lnTo>
                    <a:pt x="2750" y="893"/>
                  </a:lnTo>
                  <a:lnTo>
                    <a:pt x="2750" y="884"/>
                  </a:lnTo>
                  <a:lnTo>
                    <a:pt x="2755" y="922"/>
                  </a:lnTo>
                  <a:lnTo>
                    <a:pt x="2750" y="922"/>
                  </a:lnTo>
                  <a:lnTo>
                    <a:pt x="2755" y="926"/>
                  </a:lnTo>
                  <a:lnTo>
                    <a:pt x="2750" y="943"/>
                  </a:lnTo>
                  <a:lnTo>
                    <a:pt x="2750" y="950"/>
                  </a:lnTo>
                  <a:lnTo>
                    <a:pt x="2750" y="959"/>
                  </a:lnTo>
                  <a:lnTo>
                    <a:pt x="2717" y="1037"/>
                  </a:lnTo>
                  <a:lnTo>
                    <a:pt x="2684" y="1077"/>
                  </a:lnTo>
                  <a:lnTo>
                    <a:pt x="2641" y="1132"/>
                  </a:lnTo>
                  <a:lnTo>
                    <a:pt x="2608" y="1160"/>
                  </a:lnTo>
                  <a:lnTo>
                    <a:pt x="2594" y="1165"/>
                  </a:lnTo>
                  <a:lnTo>
                    <a:pt x="2587" y="1160"/>
                  </a:lnTo>
                  <a:lnTo>
                    <a:pt x="2594" y="1165"/>
                  </a:lnTo>
                  <a:lnTo>
                    <a:pt x="2594" y="1172"/>
                  </a:lnTo>
                  <a:lnTo>
                    <a:pt x="2587" y="1181"/>
                  </a:lnTo>
                  <a:lnTo>
                    <a:pt x="2578" y="1172"/>
                  </a:lnTo>
                  <a:lnTo>
                    <a:pt x="2587" y="1181"/>
                  </a:lnTo>
                  <a:lnTo>
                    <a:pt x="2587" y="1188"/>
                  </a:lnTo>
                  <a:lnTo>
                    <a:pt x="2570" y="1205"/>
                  </a:lnTo>
                  <a:lnTo>
                    <a:pt x="2578" y="1188"/>
                  </a:lnTo>
                  <a:lnTo>
                    <a:pt x="2570" y="1188"/>
                  </a:lnTo>
                  <a:lnTo>
                    <a:pt x="2556" y="1243"/>
                  </a:lnTo>
                  <a:lnTo>
                    <a:pt x="2523" y="1292"/>
                  </a:lnTo>
                  <a:lnTo>
                    <a:pt x="2495" y="1325"/>
                  </a:lnTo>
                  <a:lnTo>
                    <a:pt x="2495" y="1300"/>
                  </a:lnTo>
                  <a:lnTo>
                    <a:pt x="2485" y="1300"/>
                  </a:lnTo>
                  <a:lnTo>
                    <a:pt x="2481" y="1292"/>
                  </a:lnTo>
                  <a:lnTo>
                    <a:pt x="2469" y="1309"/>
                  </a:lnTo>
                  <a:lnTo>
                    <a:pt x="2469" y="1292"/>
                  </a:lnTo>
                  <a:lnTo>
                    <a:pt x="2464" y="1300"/>
                  </a:lnTo>
                  <a:lnTo>
                    <a:pt x="2469" y="1309"/>
                  </a:lnTo>
                  <a:lnTo>
                    <a:pt x="2481" y="1309"/>
                  </a:lnTo>
                  <a:lnTo>
                    <a:pt x="2464" y="1349"/>
                  </a:lnTo>
                  <a:lnTo>
                    <a:pt x="2452" y="1349"/>
                  </a:lnTo>
                  <a:lnTo>
                    <a:pt x="2452" y="1354"/>
                  </a:lnTo>
                  <a:lnTo>
                    <a:pt x="2464" y="1370"/>
                  </a:lnTo>
                  <a:lnTo>
                    <a:pt x="2452" y="1403"/>
                  </a:lnTo>
                  <a:lnTo>
                    <a:pt x="2464" y="1394"/>
                  </a:lnTo>
                  <a:lnTo>
                    <a:pt x="2464" y="1387"/>
                  </a:lnTo>
                  <a:lnTo>
                    <a:pt x="2452" y="1444"/>
                  </a:lnTo>
                  <a:lnTo>
                    <a:pt x="2469" y="1531"/>
                  </a:lnTo>
                  <a:lnTo>
                    <a:pt x="2448" y="1625"/>
                  </a:lnTo>
                  <a:lnTo>
                    <a:pt x="2448" y="1666"/>
                  </a:lnTo>
                  <a:lnTo>
                    <a:pt x="2415" y="1703"/>
                  </a:lnTo>
                  <a:lnTo>
                    <a:pt x="2410" y="1744"/>
                  </a:lnTo>
                  <a:lnTo>
                    <a:pt x="2410" y="1793"/>
                  </a:lnTo>
                  <a:lnTo>
                    <a:pt x="2398" y="1810"/>
                  </a:lnTo>
                  <a:lnTo>
                    <a:pt x="2389" y="1814"/>
                  </a:lnTo>
                  <a:lnTo>
                    <a:pt x="2372" y="1864"/>
                  </a:lnTo>
                  <a:lnTo>
                    <a:pt x="2360" y="1855"/>
                  </a:lnTo>
                  <a:lnTo>
                    <a:pt x="2360" y="1864"/>
                  </a:lnTo>
                  <a:lnTo>
                    <a:pt x="2372" y="1864"/>
                  </a:lnTo>
                  <a:lnTo>
                    <a:pt x="2360" y="1888"/>
                  </a:lnTo>
                  <a:lnTo>
                    <a:pt x="2344" y="1904"/>
                  </a:lnTo>
                  <a:lnTo>
                    <a:pt x="2334" y="1904"/>
                  </a:lnTo>
                  <a:lnTo>
                    <a:pt x="2322" y="1937"/>
                  </a:lnTo>
                  <a:lnTo>
                    <a:pt x="2318" y="1959"/>
                  </a:lnTo>
                  <a:lnTo>
                    <a:pt x="2322" y="1992"/>
                  </a:lnTo>
                  <a:lnTo>
                    <a:pt x="2263" y="2015"/>
                  </a:lnTo>
                  <a:lnTo>
                    <a:pt x="2247" y="2032"/>
                  </a:lnTo>
                  <a:lnTo>
                    <a:pt x="2247" y="2065"/>
                  </a:lnTo>
                  <a:lnTo>
                    <a:pt x="2171" y="2065"/>
                  </a:lnTo>
                  <a:lnTo>
                    <a:pt x="2176" y="2048"/>
                  </a:lnTo>
                  <a:lnTo>
                    <a:pt x="2171" y="2036"/>
                  </a:lnTo>
                  <a:lnTo>
                    <a:pt x="2162" y="2048"/>
                  </a:lnTo>
                  <a:lnTo>
                    <a:pt x="2171" y="2065"/>
                  </a:lnTo>
                  <a:lnTo>
                    <a:pt x="2162" y="2065"/>
                  </a:lnTo>
                  <a:lnTo>
                    <a:pt x="2107" y="2070"/>
                  </a:lnTo>
                  <a:lnTo>
                    <a:pt x="2138" y="2070"/>
                  </a:lnTo>
                  <a:lnTo>
                    <a:pt x="2117" y="2053"/>
                  </a:lnTo>
                  <a:lnTo>
                    <a:pt x="2091" y="2070"/>
                  </a:lnTo>
                  <a:lnTo>
                    <a:pt x="2086" y="2065"/>
                  </a:lnTo>
                  <a:lnTo>
                    <a:pt x="2063" y="2070"/>
                  </a:lnTo>
                  <a:lnTo>
                    <a:pt x="2063" y="2086"/>
                  </a:lnTo>
                  <a:lnTo>
                    <a:pt x="2070" y="2086"/>
                  </a:lnTo>
                  <a:lnTo>
                    <a:pt x="2070" y="2093"/>
                  </a:lnTo>
                  <a:lnTo>
                    <a:pt x="2048" y="2093"/>
                  </a:lnTo>
                  <a:lnTo>
                    <a:pt x="2032" y="2103"/>
                  </a:lnTo>
                  <a:lnTo>
                    <a:pt x="2011" y="2110"/>
                  </a:lnTo>
                  <a:lnTo>
                    <a:pt x="2011" y="2126"/>
                  </a:lnTo>
                  <a:lnTo>
                    <a:pt x="1978" y="2126"/>
                  </a:lnTo>
                  <a:lnTo>
                    <a:pt x="1956" y="2131"/>
                  </a:lnTo>
                  <a:lnTo>
                    <a:pt x="1961" y="2131"/>
                  </a:lnTo>
                  <a:lnTo>
                    <a:pt x="1944" y="2143"/>
                  </a:lnTo>
                  <a:lnTo>
                    <a:pt x="1940" y="2131"/>
                  </a:lnTo>
                  <a:lnTo>
                    <a:pt x="1940" y="2143"/>
                  </a:lnTo>
                  <a:lnTo>
                    <a:pt x="1822" y="2221"/>
                  </a:lnTo>
                  <a:lnTo>
                    <a:pt x="1836" y="2221"/>
                  </a:lnTo>
                  <a:lnTo>
                    <a:pt x="1831" y="2230"/>
                  </a:lnTo>
                  <a:lnTo>
                    <a:pt x="1815" y="2254"/>
                  </a:lnTo>
                  <a:lnTo>
                    <a:pt x="1815" y="2242"/>
                  </a:lnTo>
                  <a:lnTo>
                    <a:pt x="1815" y="2237"/>
                  </a:lnTo>
                  <a:lnTo>
                    <a:pt x="1798" y="2242"/>
                  </a:lnTo>
                  <a:lnTo>
                    <a:pt x="1793" y="2254"/>
                  </a:lnTo>
                  <a:lnTo>
                    <a:pt x="1777" y="2254"/>
                  </a:lnTo>
                  <a:lnTo>
                    <a:pt x="1798" y="2259"/>
                  </a:lnTo>
                  <a:lnTo>
                    <a:pt x="1793" y="2275"/>
                  </a:lnTo>
                  <a:lnTo>
                    <a:pt x="1777" y="2287"/>
                  </a:lnTo>
                  <a:lnTo>
                    <a:pt x="1784" y="2287"/>
                  </a:lnTo>
                  <a:lnTo>
                    <a:pt x="1784" y="2308"/>
                  </a:lnTo>
                  <a:lnTo>
                    <a:pt x="1777" y="2313"/>
                  </a:lnTo>
                  <a:lnTo>
                    <a:pt x="1767" y="2296"/>
                  </a:lnTo>
                  <a:lnTo>
                    <a:pt x="1777" y="2313"/>
                  </a:lnTo>
                  <a:lnTo>
                    <a:pt x="1784" y="2329"/>
                  </a:lnTo>
                  <a:lnTo>
                    <a:pt x="1777" y="2348"/>
                  </a:lnTo>
                  <a:lnTo>
                    <a:pt x="1784" y="2381"/>
                  </a:lnTo>
                  <a:lnTo>
                    <a:pt x="1793" y="2386"/>
                  </a:lnTo>
                  <a:lnTo>
                    <a:pt x="1784" y="2386"/>
                  </a:lnTo>
                  <a:lnTo>
                    <a:pt x="1784" y="2419"/>
                  </a:lnTo>
                  <a:lnTo>
                    <a:pt x="1784" y="2440"/>
                  </a:lnTo>
                  <a:lnTo>
                    <a:pt x="1777" y="2492"/>
                  </a:lnTo>
                  <a:lnTo>
                    <a:pt x="1767" y="2476"/>
                  </a:lnTo>
                  <a:lnTo>
                    <a:pt x="1777" y="2492"/>
                  </a:lnTo>
                  <a:lnTo>
                    <a:pt x="1730" y="2530"/>
                  </a:lnTo>
                  <a:lnTo>
                    <a:pt x="1706" y="2551"/>
                  </a:lnTo>
                  <a:lnTo>
                    <a:pt x="1685" y="2592"/>
                  </a:lnTo>
                  <a:lnTo>
                    <a:pt x="1668" y="2641"/>
                  </a:lnTo>
                  <a:lnTo>
                    <a:pt x="1637" y="2686"/>
                  </a:lnTo>
                  <a:lnTo>
                    <a:pt x="1583" y="2740"/>
                  </a:lnTo>
                  <a:lnTo>
                    <a:pt x="1550" y="2757"/>
                  </a:lnTo>
                  <a:lnTo>
                    <a:pt x="1545" y="2773"/>
                  </a:lnTo>
                  <a:lnTo>
                    <a:pt x="1545" y="2757"/>
                  </a:lnTo>
                  <a:lnTo>
                    <a:pt x="1533" y="2752"/>
                  </a:lnTo>
                  <a:lnTo>
                    <a:pt x="1562" y="2752"/>
                  </a:lnTo>
                  <a:lnTo>
                    <a:pt x="1588" y="2731"/>
                  </a:lnTo>
                  <a:lnTo>
                    <a:pt x="1600" y="2719"/>
                  </a:lnTo>
                  <a:lnTo>
                    <a:pt x="1604" y="2686"/>
                  </a:lnTo>
                  <a:lnTo>
                    <a:pt x="1621" y="2696"/>
                  </a:lnTo>
                  <a:lnTo>
                    <a:pt x="1621" y="2679"/>
                  </a:lnTo>
                  <a:lnTo>
                    <a:pt x="1637" y="2662"/>
                  </a:lnTo>
                  <a:lnTo>
                    <a:pt x="1637" y="2641"/>
                  </a:lnTo>
                  <a:lnTo>
                    <a:pt x="1642" y="2641"/>
                  </a:lnTo>
                  <a:lnTo>
                    <a:pt x="1654" y="2625"/>
                  </a:lnTo>
                  <a:lnTo>
                    <a:pt x="1642" y="2625"/>
                  </a:lnTo>
                  <a:lnTo>
                    <a:pt x="1637" y="2629"/>
                  </a:lnTo>
                  <a:lnTo>
                    <a:pt x="1621" y="2629"/>
                  </a:lnTo>
                  <a:lnTo>
                    <a:pt x="1621" y="2641"/>
                  </a:lnTo>
                  <a:lnTo>
                    <a:pt x="1616" y="2641"/>
                  </a:lnTo>
                  <a:lnTo>
                    <a:pt x="1616" y="2625"/>
                  </a:lnTo>
                  <a:lnTo>
                    <a:pt x="1604" y="2625"/>
                  </a:lnTo>
                  <a:lnTo>
                    <a:pt x="1600" y="2608"/>
                  </a:lnTo>
                  <a:lnTo>
                    <a:pt x="1600" y="2620"/>
                  </a:lnTo>
                  <a:lnTo>
                    <a:pt x="1604" y="2641"/>
                  </a:lnTo>
                  <a:lnTo>
                    <a:pt x="1600" y="2674"/>
                  </a:lnTo>
                  <a:lnTo>
                    <a:pt x="1588" y="2658"/>
                  </a:lnTo>
                  <a:lnTo>
                    <a:pt x="1583" y="2686"/>
                  </a:lnTo>
                  <a:lnTo>
                    <a:pt x="1550" y="2712"/>
                  </a:lnTo>
                  <a:lnTo>
                    <a:pt x="1545" y="2736"/>
                  </a:lnTo>
                  <a:lnTo>
                    <a:pt x="1529" y="2740"/>
                  </a:lnTo>
                  <a:lnTo>
                    <a:pt x="1533" y="2757"/>
                  </a:lnTo>
                  <a:lnTo>
                    <a:pt x="1529" y="2769"/>
                  </a:lnTo>
                  <a:lnTo>
                    <a:pt x="1533" y="2773"/>
                  </a:lnTo>
                  <a:lnTo>
                    <a:pt x="1524" y="2807"/>
                  </a:lnTo>
                  <a:lnTo>
                    <a:pt x="1496" y="2851"/>
                  </a:lnTo>
                  <a:lnTo>
                    <a:pt x="1453" y="2901"/>
                  </a:lnTo>
                  <a:lnTo>
                    <a:pt x="1437" y="2901"/>
                  </a:lnTo>
                  <a:lnTo>
                    <a:pt x="1437" y="2851"/>
                  </a:lnTo>
                  <a:lnTo>
                    <a:pt x="1470" y="2823"/>
                  </a:lnTo>
                  <a:lnTo>
                    <a:pt x="1437" y="2797"/>
                  </a:lnTo>
                  <a:lnTo>
                    <a:pt x="1415" y="2757"/>
                  </a:lnTo>
                  <a:lnTo>
                    <a:pt x="1382" y="2752"/>
                  </a:lnTo>
                  <a:lnTo>
                    <a:pt x="1366" y="2719"/>
                  </a:lnTo>
                  <a:lnTo>
                    <a:pt x="1319" y="2703"/>
                  </a:lnTo>
                  <a:lnTo>
                    <a:pt x="1297" y="2674"/>
                  </a:lnTo>
                  <a:lnTo>
                    <a:pt x="1276" y="2686"/>
                  </a:lnTo>
                  <a:lnTo>
                    <a:pt x="1264" y="2686"/>
                  </a:lnTo>
                  <a:lnTo>
                    <a:pt x="1264" y="2674"/>
                  </a:lnTo>
                  <a:lnTo>
                    <a:pt x="1210" y="2620"/>
                  </a:lnTo>
                  <a:lnTo>
                    <a:pt x="1189" y="2620"/>
                  </a:lnTo>
                  <a:lnTo>
                    <a:pt x="1184" y="2629"/>
                  </a:lnTo>
                  <a:lnTo>
                    <a:pt x="1156" y="2625"/>
                  </a:lnTo>
                  <a:lnTo>
                    <a:pt x="1151" y="2625"/>
                  </a:lnTo>
                  <a:lnTo>
                    <a:pt x="1172" y="2608"/>
                  </a:lnTo>
                  <a:lnTo>
                    <a:pt x="1172" y="2592"/>
                  </a:lnTo>
                  <a:lnTo>
                    <a:pt x="1189" y="2585"/>
                  </a:lnTo>
                  <a:lnTo>
                    <a:pt x="1222" y="2535"/>
                  </a:lnTo>
                  <a:lnTo>
                    <a:pt x="1238" y="2535"/>
                  </a:lnTo>
                  <a:lnTo>
                    <a:pt x="1243" y="2514"/>
                  </a:lnTo>
                  <a:lnTo>
                    <a:pt x="1276" y="2481"/>
                  </a:lnTo>
                  <a:lnTo>
                    <a:pt x="1290" y="2481"/>
                  </a:lnTo>
                  <a:lnTo>
                    <a:pt x="1290" y="2476"/>
                  </a:lnTo>
                  <a:lnTo>
                    <a:pt x="1281" y="2464"/>
                  </a:lnTo>
                  <a:lnTo>
                    <a:pt x="1307" y="2457"/>
                  </a:lnTo>
                  <a:lnTo>
                    <a:pt x="1314" y="2440"/>
                  </a:lnTo>
                  <a:lnTo>
                    <a:pt x="1335" y="2436"/>
                  </a:lnTo>
                  <a:lnTo>
                    <a:pt x="1352" y="2407"/>
                  </a:lnTo>
                  <a:lnTo>
                    <a:pt x="1382" y="2403"/>
                  </a:lnTo>
                  <a:lnTo>
                    <a:pt x="1420" y="2381"/>
                  </a:lnTo>
                  <a:lnTo>
                    <a:pt x="1427" y="2365"/>
                  </a:lnTo>
                  <a:lnTo>
                    <a:pt x="1427" y="2325"/>
                  </a:lnTo>
                  <a:lnTo>
                    <a:pt x="1427" y="2313"/>
                  </a:lnTo>
                  <a:lnTo>
                    <a:pt x="1420" y="2292"/>
                  </a:lnTo>
                  <a:lnTo>
                    <a:pt x="1415" y="2270"/>
                  </a:lnTo>
                  <a:lnTo>
                    <a:pt x="1399" y="2254"/>
                  </a:lnTo>
                  <a:lnTo>
                    <a:pt x="1373" y="2270"/>
                  </a:lnTo>
                  <a:lnTo>
                    <a:pt x="1366" y="2259"/>
                  </a:lnTo>
                  <a:lnTo>
                    <a:pt x="1361" y="2254"/>
                  </a:lnTo>
                  <a:lnTo>
                    <a:pt x="1373" y="2230"/>
                  </a:lnTo>
                  <a:lnTo>
                    <a:pt x="1373" y="2221"/>
                  </a:lnTo>
                  <a:lnTo>
                    <a:pt x="1389" y="2164"/>
                  </a:lnTo>
                  <a:lnTo>
                    <a:pt x="1382" y="2148"/>
                  </a:lnTo>
                  <a:lnTo>
                    <a:pt x="1389" y="2148"/>
                  </a:lnTo>
                  <a:lnTo>
                    <a:pt x="1361" y="2126"/>
                  </a:lnTo>
                  <a:lnTo>
                    <a:pt x="1335" y="2143"/>
                  </a:lnTo>
                  <a:lnTo>
                    <a:pt x="1307" y="2143"/>
                  </a:lnTo>
                  <a:lnTo>
                    <a:pt x="1290" y="2053"/>
                  </a:lnTo>
                  <a:lnTo>
                    <a:pt x="1290" y="2036"/>
                  </a:lnTo>
                  <a:lnTo>
                    <a:pt x="1276" y="2015"/>
                  </a:lnTo>
                  <a:lnTo>
                    <a:pt x="1252" y="2008"/>
                  </a:lnTo>
                  <a:lnTo>
                    <a:pt x="1238" y="1992"/>
                  </a:lnTo>
                  <a:lnTo>
                    <a:pt x="1222" y="2008"/>
                  </a:lnTo>
                  <a:lnTo>
                    <a:pt x="1205" y="2008"/>
                  </a:lnTo>
                  <a:lnTo>
                    <a:pt x="1130" y="1999"/>
                  </a:lnTo>
                  <a:lnTo>
                    <a:pt x="1130" y="1954"/>
                  </a:lnTo>
                  <a:lnTo>
                    <a:pt x="1134" y="1942"/>
                  </a:lnTo>
                  <a:lnTo>
                    <a:pt x="1134" y="1909"/>
                  </a:lnTo>
                  <a:lnTo>
                    <a:pt x="1113" y="1848"/>
                  </a:lnTo>
                  <a:lnTo>
                    <a:pt x="1134" y="1836"/>
                  </a:lnTo>
                  <a:lnTo>
                    <a:pt x="1118" y="1814"/>
                  </a:lnTo>
                  <a:lnTo>
                    <a:pt x="1146" y="1770"/>
                  </a:lnTo>
                  <a:lnTo>
                    <a:pt x="1146" y="1760"/>
                  </a:lnTo>
                  <a:lnTo>
                    <a:pt x="1156" y="1703"/>
                  </a:lnTo>
                  <a:lnTo>
                    <a:pt x="1146" y="1682"/>
                  </a:lnTo>
                  <a:lnTo>
                    <a:pt x="1146" y="1659"/>
                  </a:lnTo>
                  <a:lnTo>
                    <a:pt x="1096" y="1633"/>
                  </a:lnTo>
                  <a:lnTo>
                    <a:pt x="1092" y="1592"/>
                  </a:lnTo>
                  <a:lnTo>
                    <a:pt x="1101" y="1576"/>
                  </a:lnTo>
                  <a:lnTo>
                    <a:pt x="1101" y="1559"/>
                  </a:lnTo>
                  <a:lnTo>
                    <a:pt x="971" y="1559"/>
                  </a:lnTo>
                  <a:lnTo>
                    <a:pt x="967" y="1498"/>
                  </a:lnTo>
                  <a:lnTo>
                    <a:pt x="941" y="1477"/>
                  </a:lnTo>
                  <a:lnTo>
                    <a:pt x="967" y="1477"/>
                  </a:lnTo>
                  <a:lnTo>
                    <a:pt x="967" y="1437"/>
                  </a:lnTo>
                  <a:lnTo>
                    <a:pt x="950" y="1403"/>
                  </a:lnTo>
                  <a:lnTo>
                    <a:pt x="957" y="1394"/>
                  </a:lnTo>
                  <a:lnTo>
                    <a:pt x="950" y="1382"/>
                  </a:lnTo>
                  <a:lnTo>
                    <a:pt x="912" y="1354"/>
                  </a:lnTo>
                  <a:lnTo>
                    <a:pt x="858" y="1366"/>
                  </a:lnTo>
                  <a:lnTo>
                    <a:pt x="832" y="1333"/>
                  </a:lnTo>
                  <a:lnTo>
                    <a:pt x="820" y="1333"/>
                  </a:lnTo>
                  <a:lnTo>
                    <a:pt x="794" y="1316"/>
                  </a:lnTo>
                  <a:lnTo>
                    <a:pt x="789" y="1325"/>
                  </a:lnTo>
                  <a:lnTo>
                    <a:pt x="773" y="1309"/>
                  </a:lnTo>
                  <a:lnTo>
                    <a:pt x="773" y="1292"/>
                  </a:lnTo>
                  <a:lnTo>
                    <a:pt x="752" y="1300"/>
                  </a:lnTo>
                  <a:lnTo>
                    <a:pt x="723" y="1283"/>
                  </a:lnTo>
                  <a:lnTo>
                    <a:pt x="714" y="1283"/>
                  </a:lnTo>
                  <a:lnTo>
                    <a:pt x="681" y="1283"/>
                  </a:lnTo>
                  <a:lnTo>
                    <a:pt x="669" y="1259"/>
                  </a:lnTo>
                  <a:lnTo>
                    <a:pt x="648" y="1259"/>
                  </a:lnTo>
                  <a:lnTo>
                    <a:pt x="648" y="1243"/>
                  </a:lnTo>
                  <a:lnTo>
                    <a:pt x="631" y="1243"/>
                  </a:lnTo>
                  <a:lnTo>
                    <a:pt x="631" y="1226"/>
                  </a:lnTo>
                  <a:lnTo>
                    <a:pt x="617" y="1226"/>
                  </a:lnTo>
                  <a:lnTo>
                    <a:pt x="626" y="1222"/>
                  </a:lnTo>
                  <a:lnTo>
                    <a:pt x="610" y="1205"/>
                  </a:lnTo>
                  <a:lnTo>
                    <a:pt x="610" y="1188"/>
                  </a:lnTo>
                  <a:lnTo>
                    <a:pt x="610" y="1172"/>
                  </a:lnTo>
                  <a:lnTo>
                    <a:pt x="605" y="1132"/>
                  </a:lnTo>
                  <a:lnTo>
                    <a:pt x="610" y="1115"/>
                  </a:lnTo>
                  <a:lnTo>
                    <a:pt x="610" y="1077"/>
                  </a:lnTo>
                  <a:lnTo>
                    <a:pt x="593" y="1087"/>
                  </a:lnTo>
                  <a:lnTo>
                    <a:pt x="556" y="1087"/>
                  </a:lnTo>
                  <a:lnTo>
                    <a:pt x="518" y="1094"/>
                  </a:lnTo>
                  <a:lnTo>
                    <a:pt x="487" y="1115"/>
                  </a:lnTo>
                  <a:lnTo>
                    <a:pt x="471" y="1127"/>
                  </a:lnTo>
                  <a:lnTo>
                    <a:pt x="454" y="1132"/>
                  </a:lnTo>
                  <a:lnTo>
                    <a:pt x="442" y="1148"/>
                  </a:lnTo>
                  <a:lnTo>
                    <a:pt x="416" y="1148"/>
                  </a:lnTo>
                  <a:lnTo>
                    <a:pt x="400" y="1172"/>
                  </a:lnTo>
                  <a:lnTo>
                    <a:pt x="378" y="1181"/>
                  </a:lnTo>
                  <a:lnTo>
                    <a:pt x="374" y="1181"/>
                  </a:lnTo>
                  <a:lnTo>
                    <a:pt x="362" y="1172"/>
                  </a:lnTo>
                  <a:lnTo>
                    <a:pt x="319" y="1172"/>
                  </a:lnTo>
                  <a:lnTo>
                    <a:pt x="286" y="1165"/>
                  </a:lnTo>
                  <a:lnTo>
                    <a:pt x="265" y="1181"/>
                  </a:lnTo>
                  <a:lnTo>
                    <a:pt x="248" y="1165"/>
                  </a:lnTo>
                  <a:lnTo>
                    <a:pt x="237" y="1172"/>
                  </a:lnTo>
                  <a:lnTo>
                    <a:pt x="237" y="1087"/>
                  </a:lnTo>
                  <a:lnTo>
                    <a:pt x="248" y="1061"/>
                  </a:lnTo>
                  <a:lnTo>
                    <a:pt x="194" y="1106"/>
                  </a:lnTo>
                  <a:lnTo>
                    <a:pt x="130" y="1106"/>
                  </a:lnTo>
                  <a:lnTo>
                    <a:pt x="114" y="1061"/>
                  </a:lnTo>
                  <a:lnTo>
                    <a:pt x="55" y="1054"/>
                  </a:lnTo>
                  <a:lnTo>
                    <a:pt x="76" y="1037"/>
                  </a:lnTo>
                  <a:lnTo>
                    <a:pt x="76" y="1021"/>
                  </a:lnTo>
                  <a:lnTo>
                    <a:pt x="38" y="983"/>
                  </a:lnTo>
                  <a:lnTo>
                    <a:pt x="33" y="959"/>
                  </a:lnTo>
                  <a:lnTo>
                    <a:pt x="17" y="950"/>
                  </a:lnTo>
                  <a:lnTo>
                    <a:pt x="22" y="938"/>
                  </a:lnTo>
                  <a:lnTo>
                    <a:pt x="0" y="922"/>
                  </a:lnTo>
                  <a:lnTo>
                    <a:pt x="5" y="910"/>
                  </a:lnTo>
                  <a:lnTo>
                    <a:pt x="22" y="905"/>
                  </a:lnTo>
                  <a:lnTo>
                    <a:pt x="17" y="888"/>
                  </a:lnTo>
                  <a:lnTo>
                    <a:pt x="22" y="872"/>
                  </a:lnTo>
                  <a:lnTo>
                    <a:pt x="59" y="839"/>
                  </a:lnTo>
                  <a:lnTo>
                    <a:pt x="55" y="815"/>
                  </a:lnTo>
                  <a:lnTo>
                    <a:pt x="76" y="782"/>
                  </a:lnTo>
                  <a:lnTo>
                    <a:pt x="85" y="744"/>
                  </a:lnTo>
                  <a:lnTo>
                    <a:pt x="147" y="704"/>
                  </a:lnTo>
                  <a:lnTo>
                    <a:pt x="199" y="688"/>
                  </a:lnTo>
                  <a:lnTo>
                    <a:pt x="215" y="688"/>
                  </a:lnTo>
                  <a:lnTo>
                    <a:pt x="232" y="671"/>
                  </a:lnTo>
                  <a:lnTo>
                    <a:pt x="265" y="671"/>
                  </a:lnTo>
                  <a:lnTo>
                    <a:pt x="270" y="688"/>
                  </a:lnTo>
                  <a:lnTo>
                    <a:pt x="274" y="688"/>
                  </a:lnTo>
                  <a:lnTo>
                    <a:pt x="286" y="683"/>
                  </a:lnTo>
                  <a:lnTo>
                    <a:pt x="286" y="683"/>
                  </a:lnTo>
                  <a:lnTo>
                    <a:pt x="286" y="683"/>
                  </a:lnTo>
                  <a:close/>
                  <a:moveTo>
                    <a:pt x="1654" y="222"/>
                  </a:moveTo>
                  <a:lnTo>
                    <a:pt x="1659" y="222"/>
                  </a:lnTo>
                  <a:lnTo>
                    <a:pt x="1654" y="222"/>
                  </a:lnTo>
                  <a:lnTo>
                    <a:pt x="1654" y="222"/>
                  </a:lnTo>
                  <a:lnTo>
                    <a:pt x="1654" y="222"/>
                  </a:lnTo>
                  <a:close/>
                  <a:moveTo>
                    <a:pt x="1659" y="246"/>
                  </a:moveTo>
                  <a:lnTo>
                    <a:pt x="1654" y="229"/>
                  </a:lnTo>
                  <a:lnTo>
                    <a:pt x="1659" y="222"/>
                  </a:lnTo>
                  <a:lnTo>
                    <a:pt x="1668" y="239"/>
                  </a:lnTo>
                  <a:lnTo>
                    <a:pt x="1659" y="246"/>
                  </a:lnTo>
                  <a:lnTo>
                    <a:pt x="1659" y="246"/>
                  </a:lnTo>
                  <a:lnTo>
                    <a:pt x="1659" y="246"/>
                  </a:lnTo>
                  <a:close/>
                  <a:moveTo>
                    <a:pt x="1685" y="312"/>
                  </a:moveTo>
                  <a:lnTo>
                    <a:pt x="1692" y="300"/>
                  </a:lnTo>
                  <a:lnTo>
                    <a:pt x="1685" y="312"/>
                  </a:lnTo>
                  <a:lnTo>
                    <a:pt x="1685" y="312"/>
                  </a:lnTo>
                  <a:lnTo>
                    <a:pt x="1685" y="312"/>
                  </a:lnTo>
                  <a:close/>
                  <a:moveTo>
                    <a:pt x="1668" y="329"/>
                  </a:moveTo>
                  <a:lnTo>
                    <a:pt x="1675" y="317"/>
                  </a:lnTo>
                  <a:lnTo>
                    <a:pt x="1685" y="312"/>
                  </a:lnTo>
                  <a:lnTo>
                    <a:pt x="1685" y="317"/>
                  </a:lnTo>
                  <a:lnTo>
                    <a:pt x="1668" y="329"/>
                  </a:lnTo>
                  <a:lnTo>
                    <a:pt x="1668" y="329"/>
                  </a:lnTo>
                  <a:lnTo>
                    <a:pt x="1668" y="329"/>
                  </a:lnTo>
                  <a:close/>
                  <a:moveTo>
                    <a:pt x="1668" y="357"/>
                  </a:moveTo>
                  <a:lnTo>
                    <a:pt x="1668" y="338"/>
                  </a:lnTo>
                  <a:lnTo>
                    <a:pt x="1685" y="333"/>
                  </a:lnTo>
                  <a:lnTo>
                    <a:pt x="1685" y="338"/>
                  </a:lnTo>
                  <a:lnTo>
                    <a:pt x="1668" y="357"/>
                  </a:lnTo>
                  <a:lnTo>
                    <a:pt x="1668" y="357"/>
                  </a:lnTo>
                  <a:lnTo>
                    <a:pt x="1668" y="357"/>
                  </a:lnTo>
                  <a:close/>
                  <a:moveTo>
                    <a:pt x="1654" y="366"/>
                  </a:moveTo>
                  <a:lnTo>
                    <a:pt x="1659" y="333"/>
                  </a:lnTo>
                  <a:lnTo>
                    <a:pt x="1668" y="357"/>
                  </a:lnTo>
                  <a:lnTo>
                    <a:pt x="1654" y="366"/>
                  </a:lnTo>
                  <a:lnTo>
                    <a:pt x="1654" y="366"/>
                  </a:lnTo>
                  <a:lnTo>
                    <a:pt x="1654" y="366"/>
                  </a:lnTo>
                  <a:close/>
                  <a:moveTo>
                    <a:pt x="1685" y="383"/>
                  </a:moveTo>
                  <a:lnTo>
                    <a:pt x="1659" y="374"/>
                  </a:lnTo>
                  <a:lnTo>
                    <a:pt x="1659" y="366"/>
                  </a:lnTo>
                  <a:lnTo>
                    <a:pt x="1706" y="357"/>
                  </a:lnTo>
                  <a:lnTo>
                    <a:pt x="1713" y="366"/>
                  </a:lnTo>
                  <a:lnTo>
                    <a:pt x="1685" y="383"/>
                  </a:lnTo>
                  <a:lnTo>
                    <a:pt x="1685" y="383"/>
                  </a:lnTo>
                  <a:lnTo>
                    <a:pt x="1685" y="383"/>
                  </a:lnTo>
                  <a:close/>
                  <a:moveTo>
                    <a:pt x="1654" y="383"/>
                  </a:moveTo>
                  <a:lnTo>
                    <a:pt x="1642" y="366"/>
                  </a:lnTo>
                  <a:lnTo>
                    <a:pt x="1654" y="366"/>
                  </a:lnTo>
                  <a:lnTo>
                    <a:pt x="1654" y="383"/>
                  </a:lnTo>
                  <a:lnTo>
                    <a:pt x="1654" y="383"/>
                  </a:lnTo>
                  <a:lnTo>
                    <a:pt x="1654" y="383"/>
                  </a:lnTo>
                  <a:close/>
                  <a:moveTo>
                    <a:pt x="1730" y="383"/>
                  </a:moveTo>
                  <a:lnTo>
                    <a:pt x="1730" y="390"/>
                  </a:lnTo>
                  <a:lnTo>
                    <a:pt x="1722" y="390"/>
                  </a:lnTo>
                  <a:lnTo>
                    <a:pt x="1706" y="390"/>
                  </a:lnTo>
                  <a:lnTo>
                    <a:pt x="1696" y="383"/>
                  </a:lnTo>
                  <a:lnTo>
                    <a:pt x="1713" y="374"/>
                  </a:lnTo>
                  <a:lnTo>
                    <a:pt x="1730" y="383"/>
                  </a:lnTo>
                  <a:lnTo>
                    <a:pt x="1730" y="383"/>
                  </a:lnTo>
                  <a:lnTo>
                    <a:pt x="1730" y="383"/>
                  </a:lnTo>
                  <a:close/>
                  <a:moveTo>
                    <a:pt x="1621" y="383"/>
                  </a:moveTo>
                  <a:lnTo>
                    <a:pt x="1630" y="374"/>
                  </a:lnTo>
                  <a:lnTo>
                    <a:pt x="1637" y="374"/>
                  </a:lnTo>
                  <a:lnTo>
                    <a:pt x="1621" y="383"/>
                  </a:lnTo>
                  <a:lnTo>
                    <a:pt x="1621" y="383"/>
                  </a:lnTo>
                  <a:lnTo>
                    <a:pt x="1621" y="383"/>
                  </a:lnTo>
                  <a:close/>
                  <a:moveTo>
                    <a:pt x="1630" y="395"/>
                  </a:moveTo>
                  <a:lnTo>
                    <a:pt x="1616" y="395"/>
                  </a:lnTo>
                  <a:lnTo>
                    <a:pt x="1621" y="383"/>
                  </a:lnTo>
                  <a:lnTo>
                    <a:pt x="1637" y="383"/>
                  </a:lnTo>
                  <a:lnTo>
                    <a:pt x="1642" y="383"/>
                  </a:lnTo>
                  <a:lnTo>
                    <a:pt x="1630" y="395"/>
                  </a:lnTo>
                  <a:lnTo>
                    <a:pt x="1630" y="395"/>
                  </a:lnTo>
                  <a:lnTo>
                    <a:pt x="1630" y="395"/>
                  </a:lnTo>
                  <a:close/>
                  <a:moveTo>
                    <a:pt x="1630" y="485"/>
                  </a:moveTo>
                  <a:lnTo>
                    <a:pt x="1630" y="461"/>
                  </a:lnTo>
                  <a:lnTo>
                    <a:pt x="1642" y="449"/>
                  </a:lnTo>
                  <a:lnTo>
                    <a:pt x="1630" y="449"/>
                  </a:lnTo>
                  <a:lnTo>
                    <a:pt x="1630" y="428"/>
                  </a:lnTo>
                  <a:lnTo>
                    <a:pt x="1637" y="423"/>
                  </a:lnTo>
                  <a:lnTo>
                    <a:pt x="1654" y="428"/>
                  </a:lnTo>
                  <a:lnTo>
                    <a:pt x="1637" y="423"/>
                  </a:lnTo>
                  <a:lnTo>
                    <a:pt x="1637" y="411"/>
                  </a:lnTo>
                  <a:lnTo>
                    <a:pt x="1637" y="395"/>
                  </a:lnTo>
                  <a:lnTo>
                    <a:pt x="1654" y="390"/>
                  </a:lnTo>
                  <a:lnTo>
                    <a:pt x="1659" y="390"/>
                  </a:lnTo>
                  <a:lnTo>
                    <a:pt x="1713" y="395"/>
                  </a:lnTo>
                  <a:lnTo>
                    <a:pt x="1744" y="390"/>
                  </a:lnTo>
                  <a:lnTo>
                    <a:pt x="1798" y="395"/>
                  </a:lnTo>
                  <a:lnTo>
                    <a:pt x="1793" y="444"/>
                  </a:lnTo>
                  <a:lnTo>
                    <a:pt x="1760" y="485"/>
                  </a:lnTo>
                  <a:lnTo>
                    <a:pt x="1744" y="494"/>
                  </a:lnTo>
                  <a:lnTo>
                    <a:pt x="1722" y="494"/>
                  </a:lnTo>
                  <a:lnTo>
                    <a:pt x="1706" y="506"/>
                  </a:lnTo>
                  <a:lnTo>
                    <a:pt x="1706" y="494"/>
                  </a:lnTo>
                  <a:lnTo>
                    <a:pt x="1696" y="506"/>
                  </a:lnTo>
                  <a:lnTo>
                    <a:pt x="1685" y="501"/>
                  </a:lnTo>
                  <a:lnTo>
                    <a:pt x="1659" y="506"/>
                  </a:lnTo>
                  <a:lnTo>
                    <a:pt x="1642" y="506"/>
                  </a:lnTo>
                  <a:lnTo>
                    <a:pt x="1630" y="485"/>
                  </a:lnTo>
                  <a:lnTo>
                    <a:pt x="1630" y="485"/>
                  </a:lnTo>
                  <a:lnTo>
                    <a:pt x="1630" y="485"/>
                  </a:lnTo>
                  <a:close/>
                  <a:moveTo>
                    <a:pt x="1588" y="411"/>
                  </a:moveTo>
                  <a:lnTo>
                    <a:pt x="1600" y="390"/>
                  </a:lnTo>
                  <a:lnTo>
                    <a:pt x="1604" y="390"/>
                  </a:lnTo>
                  <a:lnTo>
                    <a:pt x="1604" y="395"/>
                  </a:lnTo>
                  <a:lnTo>
                    <a:pt x="1588" y="411"/>
                  </a:lnTo>
                  <a:lnTo>
                    <a:pt x="1588" y="411"/>
                  </a:lnTo>
                  <a:lnTo>
                    <a:pt x="1588" y="411"/>
                  </a:lnTo>
                  <a:close/>
                  <a:moveTo>
                    <a:pt x="1630" y="407"/>
                  </a:moveTo>
                  <a:lnTo>
                    <a:pt x="1621" y="407"/>
                  </a:lnTo>
                  <a:lnTo>
                    <a:pt x="1637" y="395"/>
                  </a:lnTo>
                  <a:lnTo>
                    <a:pt x="1630" y="407"/>
                  </a:lnTo>
                  <a:lnTo>
                    <a:pt x="1630" y="407"/>
                  </a:lnTo>
                  <a:lnTo>
                    <a:pt x="1630" y="407"/>
                  </a:lnTo>
                  <a:close/>
                  <a:moveTo>
                    <a:pt x="1604" y="423"/>
                  </a:moveTo>
                  <a:lnTo>
                    <a:pt x="1604" y="407"/>
                  </a:lnTo>
                  <a:lnTo>
                    <a:pt x="1616" y="395"/>
                  </a:lnTo>
                  <a:lnTo>
                    <a:pt x="1621" y="407"/>
                  </a:lnTo>
                  <a:lnTo>
                    <a:pt x="1604" y="423"/>
                  </a:lnTo>
                  <a:lnTo>
                    <a:pt x="1604" y="423"/>
                  </a:lnTo>
                  <a:lnTo>
                    <a:pt x="1604" y="423"/>
                  </a:lnTo>
                  <a:close/>
                  <a:moveTo>
                    <a:pt x="1621" y="423"/>
                  </a:moveTo>
                  <a:lnTo>
                    <a:pt x="1621" y="407"/>
                  </a:lnTo>
                  <a:lnTo>
                    <a:pt x="1630" y="407"/>
                  </a:lnTo>
                  <a:lnTo>
                    <a:pt x="1630" y="411"/>
                  </a:lnTo>
                  <a:lnTo>
                    <a:pt x="1621" y="423"/>
                  </a:lnTo>
                  <a:lnTo>
                    <a:pt x="1621" y="423"/>
                  </a:lnTo>
                  <a:lnTo>
                    <a:pt x="1621" y="423"/>
                  </a:lnTo>
                  <a:close/>
                  <a:moveTo>
                    <a:pt x="1550" y="485"/>
                  </a:moveTo>
                  <a:lnTo>
                    <a:pt x="1550" y="461"/>
                  </a:lnTo>
                  <a:lnTo>
                    <a:pt x="1567" y="449"/>
                  </a:lnTo>
                  <a:lnTo>
                    <a:pt x="1578" y="428"/>
                  </a:lnTo>
                  <a:lnTo>
                    <a:pt x="1588" y="423"/>
                  </a:lnTo>
                  <a:lnTo>
                    <a:pt x="1604" y="411"/>
                  </a:lnTo>
                  <a:lnTo>
                    <a:pt x="1604" y="428"/>
                  </a:lnTo>
                  <a:lnTo>
                    <a:pt x="1600" y="449"/>
                  </a:lnTo>
                  <a:lnTo>
                    <a:pt x="1583" y="468"/>
                  </a:lnTo>
                  <a:lnTo>
                    <a:pt x="1550" y="485"/>
                  </a:lnTo>
                  <a:lnTo>
                    <a:pt x="1550" y="485"/>
                  </a:lnTo>
                  <a:lnTo>
                    <a:pt x="1550" y="485"/>
                  </a:lnTo>
                  <a:close/>
                  <a:moveTo>
                    <a:pt x="1604" y="444"/>
                  </a:moveTo>
                  <a:lnTo>
                    <a:pt x="1616" y="428"/>
                  </a:lnTo>
                  <a:lnTo>
                    <a:pt x="1630" y="423"/>
                  </a:lnTo>
                  <a:lnTo>
                    <a:pt x="1630" y="428"/>
                  </a:lnTo>
                  <a:lnTo>
                    <a:pt x="1604" y="444"/>
                  </a:lnTo>
                  <a:lnTo>
                    <a:pt x="1604" y="444"/>
                  </a:lnTo>
                  <a:lnTo>
                    <a:pt x="1604" y="444"/>
                  </a:lnTo>
                  <a:close/>
                  <a:moveTo>
                    <a:pt x="1831" y="428"/>
                  </a:moveTo>
                  <a:lnTo>
                    <a:pt x="1831" y="423"/>
                  </a:lnTo>
                  <a:lnTo>
                    <a:pt x="1836" y="428"/>
                  </a:lnTo>
                  <a:lnTo>
                    <a:pt x="1831" y="428"/>
                  </a:lnTo>
                  <a:lnTo>
                    <a:pt x="1831" y="428"/>
                  </a:lnTo>
                  <a:lnTo>
                    <a:pt x="1831" y="428"/>
                  </a:lnTo>
                  <a:close/>
                  <a:moveTo>
                    <a:pt x="1621" y="440"/>
                  </a:moveTo>
                  <a:lnTo>
                    <a:pt x="1621" y="428"/>
                  </a:lnTo>
                  <a:lnTo>
                    <a:pt x="1630" y="428"/>
                  </a:lnTo>
                  <a:lnTo>
                    <a:pt x="1621" y="440"/>
                  </a:lnTo>
                  <a:lnTo>
                    <a:pt x="1621" y="440"/>
                  </a:lnTo>
                  <a:lnTo>
                    <a:pt x="1621" y="440"/>
                  </a:lnTo>
                  <a:close/>
                  <a:moveTo>
                    <a:pt x="1588" y="468"/>
                  </a:moveTo>
                  <a:lnTo>
                    <a:pt x="1604" y="440"/>
                  </a:lnTo>
                  <a:lnTo>
                    <a:pt x="1600" y="461"/>
                  </a:lnTo>
                  <a:lnTo>
                    <a:pt x="1588" y="468"/>
                  </a:lnTo>
                  <a:lnTo>
                    <a:pt x="1588" y="468"/>
                  </a:lnTo>
                  <a:lnTo>
                    <a:pt x="1588" y="468"/>
                  </a:lnTo>
                  <a:close/>
                  <a:moveTo>
                    <a:pt x="1928" y="449"/>
                  </a:moveTo>
                  <a:lnTo>
                    <a:pt x="1940" y="444"/>
                  </a:lnTo>
                  <a:lnTo>
                    <a:pt x="1940" y="449"/>
                  </a:lnTo>
                  <a:lnTo>
                    <a:pt x="1928" y="449"/>
                  </a:lnTo>
                  <a:lnTo>
                    <a:pt x="1928" y="449"/>
                  </a:lnTo>
                  <a:lnTo>
                    <a:pt x="1928" y="449"/>
                  </a:lnTo>
                  <a:close/>
                  <a:moveTo>
                    <a:pt x="1798" y="468"/>
                  </a:moveTo>
                  <a:lnTo>
                    <a:pt x="1793" y="461"/>
                  </a:lnTo>
                  <a:lnTo>
                    <a:pt x="1798" y="449"/>
                  </a:lnTo>
                  <a:lnTo>
                    <a:pt x="1805" y="449"/>
                  </a:lnTo>
                  <a:lnTo>
                    <a:pt x="1798" y="468"/>
                  </a:lnTo>
                  <a:lnTo>
                    <a:pt x="1798" y="468"/>
                  </a:lnTo>
                  <a:lnTo>
                    <a:pt x="1798" y="468"/>
                  </a:lnTo>
                  <a:close/>
                  <a:moveTo>
                    <a:pt x="2037" y="477"/>
                  </a:moveTo>
                  <a:lnTo>
                    <a:pt x="2037" y="468"/>
                  </a:lnTo>
                  <a:lnTo>
                    <a:pt x="2048" y="468"/>
                  </a:lnTo>
                  <a:lnTo>
                    <a:pt x="2037" y="477"/>
                  </a:lnTo>
                  <a:lnTo>
                    <a:pt x="2037" y="477"/>
                  </a:lnTo>
                  <a:lnTo>
                    <a:pt x="2037" y="477"/>
                  </a:lnTo>
                  <a:close/>
                  <a:moveTo>
                    <a:pt x="1512" y="485"/>
                  </a:moveTo>
                  <a:lnTo>
                    <a:pt x="1533" y="477"/>
                  </a:lnTo>
                  <a:lnTo>
                    <a:pt x="1512" y="485"/>
                  </a:lnTo>
                  <a:lnTo>
                    <a:pt x="1512" y="485"/>
                  </a:lnTo>
                  <a:lnTo>
                    <a:pt x="1512" y="485"/>
                  </a:lnTo>
                  <a:close/>
                  <a:moveTo>
                    <a:pt x="1529" y="501"/>
                  </a:moveTo>
                  <a:lnTo>
                    <a:pt x="1533" y="485"/>
                  </a:lnTo>
                  <a:lnTo>
                    <a:pt x="1545" y="485"/>
                  </a:lnTo>
                  <a:lnTo>
                    <a:pt x="1550" y="485"/>
                  </a:lnTo>
                  <a:lnTo>
                    <a:pt x="1529" y="501"/>
                  </a:lnTo>
                  <a:lnTo>
                    <a:pt x="1529" y="501"/>
                  </a:lnTo>
                  <a:lnTo>
                    <a:pt x="1529" y="501"/>
                  </a:lnTo>
                  <a:close/>
                  <a:moveTo>
                    <a:pt x="2053" y="501"/>
                  </a:moveTo>
                  <a:lnTo>
                    <a:pt x="2063" y="494"/>
                  </a:lnTo>
                  <a:lnTo>
                    <a:pt x="2063" y="501"/>
                  </a:lnTo>
                  <a:lnTo>
                    <a:pt x="2053" y="501"/>
                  </a:lnTo>
                  <a:lnTo>
                    <a:pt x="2053" y="501"/>
                  </a:lnTo>
                  <a:lnTo>
                    <a:pt x="2053" y="501"/>
                  </a:lnTo>
                  <a:close/>
                  <a:moveTo>
                    <a:pt x="1760" y="506"/>
                  </a:moveTo>
                  <a:lnTo>
                    <a:pt x="1751" y="501"/>
                  </a:lnTo>
                  <a:lnTo>
                    <a:pt x="1760" y="494"/>
                  </a:lnTo>
                  <a:lnTo>
                    <a:pt x="1760" y="506"/>
                  </a:lnTo>
                  <a:lnTo>
                    <a:pt x="1760" y="506"/>
                  </a:lnTo>
                  <a:lnTo>
                    <a:pt x="1760" y="506"/>
                  </a:lnTo>
                  <a:close/>
                  <a:moveTo>
                    <a:pt x="1744" y="518"/>
                  </a:moveTo>
                  <a:lnTo>
                    <a:pt x="1751" y="501"/>
                  </a:lnTo>
                  <a:lnTo>
                    <a:pt x="1751" y="506"/>
                  </a:lnTo>
                  <a:lnTo>
                    <a:pt x="1744" y="518"/>
                  </a:lnTo>
                  <a:lnTo>
                    <a:pt x="1744" y="518"/>
                  </a:lnTo>
                  <a:lnTo>
                    <a:pt x="1744" y="518"/>
                  </a:lnTo>
                  <a:close/>
                  <a:moveTo>
                    <a:pt x="1630" y="522"/>
                  </a:moveTo>
                  <a:lnTo>
                    <a:pt x="1616" y="522"/>
                  </a:lnTo>
                  <a:lnTo>
                    <a:pt x="1604" y="506"/>
                  </a:lnTo>
                  <a:lnTo>
                    <a:pt x="1630" y="518"/>
                  </a:lnTo>
                  <a:lnTo>
                    <a:pt x="1630" y="522"/>
                  </a:lnTo>
                  <a:lnTo>
                    <a:pt x="1630" y="522"/>
                  </a:lnTo>
                  <a:lnTo>
                    <a:pt x="1630" y="522"/>
                  </a:lnTo>
                  <a:close/>
                  <a:moveTo>
                    <a:pt x="2247" y="577"/>
                  </a:moveTo>
                  <a:lnTo>
                    <a:pt x="2237" y="572"/>
                  </a:lnTo>
                  <a:lnTo>
                    <a:pt x="2247" y="572"/>
                  </a:lnTo>
                  <a:lnTo>
                    <a:pt x="2247" y="577"/>
                  </a:lnTo>
                  <a:lnTo>
                    <a:pt x="2247" y="577"/>
                  </a:lnTo>
                  <a:lnTo>
                    <a:pt x="2247" y="577"/>
                  </a:lnTo>
                  <a:close/>
                  <a:moveTo>
                    <a:pt x="2070" y="596"/>
                  </a:moveTo>
                  <a:lnTo>
                    <a:pt x="2070" y="577"/>
                  </a:lnTo>
                  <a:lnTo>
                    <a:pt x="2074" y="572"/>
                  </a:lnTo>
                  <a:lnTo>
                    <a:pt x="2070" y="589"/>
                  </a:lnTo>
                  <a:lnTo>
                    <a:pt x="2070" y="596"/>
                  </a:lnTo>
                  <a:lnTo>
                    <a:pt x="2070" y="596"/>
                  </a:lnTo>
                  <a:lnTo>
                    <a:pt x="2070" y="596"/>
                  </a:lnTo>
                  <a:close/>
                  <a:moveTo>
                    <a:pt x="2469" y="1333"/>
                  </a:moveTo>
                  <a:lnTo>
                    <a:pt x="2485" y="1309"/>
                  </a:lnTo>
                  <a:lnTo>
                    <a:pt x="2485" y="1316"/>
                  </a:lnTo>
                  <a:lnTo>
                    <a:pt x="2469" y="1333"/>
                  </a:lnTo>
                  <a:lnTo>
                    <a:pt x="2469" y="1333"/>
                  </a:lnTo>
                  <a:lnTo>
                    <a:pt x="2469" y="1333"/>
                  </a:lnTo>
                  <a:close/>
                  <a:moveTo>
                    <a:pt x="2464" y="1366"/>
                  </a:moveTo>
                  <a:lnTo>
                    <a:pt x="2452" y="1349"/>
                  </a:lnTo>
                  <a:lnTo>
                    <a:pt x="2464" y="1349"/>
                  </a:lnTo>
                  <a:lnTo>
                    <a:pt x="2464" y="1366"/>
                  </a:lnTo>
                  <a:lnTo>
                    <a:pt x="2464" y="1366"/>
                  </a:lnTo>
                  <a:lnTo>
                    <a:pt x="2464" y="1366"/>
                  </a:lnTo>
                  <a:close/>
                  <a:moveTo>
                    <a:pt x="2464" y="1370"/>
                  </a:moveTo>
                  <a:lnTo>
                    <a:pt x="2464" y="1366"/>
                  </a:lnTo>
                  <a:lnTo>
                    <a:pt x="2464" y="1370"/>
                  </a:lnTo>
                  <a:lnTo>
                    <a:pt x="2464" y="1370"/>
                  </a:lnTo>
                  <a:lnTo>
                    <a:pt x="2464" y="1370"/>
                  </a:lnTo>
                  <a:close/>
                  <a:moveTo>
                    <a:pt x="2086" y="2086"/>
                  </a:moveTo>
                  <a:lnTo>
                    <a:pt x="2086" y="2074"/>
                  </a:lnTo>
                  <a:lnTo>
                    <a:pt x="2091" y="2070"/>
                  </a:lnTo>
                  <a:lnTo>
                    <a:pt x="2100" y="2074"/>
                  </a:lnTo>
                  <a:lnTo>
                    <a:pt x="2086" y="2086"/>
                  </a:lnTo>
                  <a:lnTo>
                    <a:pt x="2086" y="2086"/>
                  </a:lnTo>
                  <a:lnTo>
                    <a:pt x="2086" y="2086"/>
                  </a:lnTo>
                  <a:close/>
                  <a:moveTo>
                    <a:pt x="2020" y="2143"/>
                  </a:moveTo>
                  <a:lnTo>
                    <a:pt x="2011" y="2131"/>
                  </a:lnTo>
                  <a:lnTo>
                    <a:pt x="2015" y="2119"/>
                  </a:lnTo>
                  <a:lnTo>
                    <a:pt x="2020" y="2126"/>
                  </a:lnTo>
                  <a:lnTo>
                    <a:pt x="2020" y="2143"/>
                  </a:lnTo>
                  <a:lnTo>
                    <a:pt x="2020" y="2143"/>
                  </a:lnTo>
                  <a:lnTo>
                    <a:pt x="2020" y="2143"/>
                  </a:lnTo>
                  <a:close/>
                  <a:moveTo>
                    <a:pt x="1836" y="2221"/>
                  </a:moveTo>
                  <a:lnTo>
                    <a:pt x="1836" y="2214"/>
                  </a:lnTo>
                  <a:lnTo>
                    <a:pt x="1852" y="2202"/>
                  </a:lnTo>
                  <a:lnTo>
                    <a:pt x="1836" y="2221"/>
                  </a:lnTo>
                  <a:lnTo>
                    <a:pt x="1836" y="2221"/>
                  </a:lnTo>
                  <a:lnTo>
                    <a:pt x="1836" y="2221"/>
                  </a:lnTo>
                  <a:close/>
                  <a:moveTo>
                    <a:pt x="1805" y="2254"/>
                  </a:moveTo>
                  <a:lnTo>
                    <a:pt x="1805" y="2242"/>
                  </a:lnTo>
                  <a:lnTo>
                    <a:pt x="1805" y="2254"/>
                  </a:lnTo>
                  <a:lnTo>
                    <a:pt x="1805" y="2254"/>
                  </a:lnTo>
                  <a:lnTo>
                    <a:pt x="1805" y="2254"/>
                  </a:lnTo>
                  <a:close/>
                  <a:moveTo>
                    <a:pt x="1784" y="2329"/>
                  </a:moveTo>
                  <a:lnTo>
                    <a:pt x="1777" y="2313"/>
                  </a:lnTo>
                  <a:lnTo>
                    <a:pt x="1793" y="2308"/>
                  </a:lnTo>
                  <a:lnTo>
                    <a:pt x="1793" y="2313"/>
                  </a:lnTo>
                  <a:lnTo>
                    <a:pt x="1784" y="2329"/>
                  </a:lnTo>
                  <a:lnTo>
                    <a:pt x="1784" y="2329"/>
                  </a:lnTo>
                  <a:lnTo>
                    <a:pt x="1784" y="2329"/>
                  </a:lnTo>
                  <a:close/>
                  <a:moveTo>
                    <a:pt x="1793" y="2436"/>
                  </a:moveTo>
                  <a:lnTo>
                    <a:pt x="1793" y="2403"/>
                  </a:lnTo>
                  <a:lnTo>
                    <a:pt x="1798" y="2403"/>
                  </a:lnTo>
                  <a:lnTo>
                    <a:pt x="1798" y="2419"/>
                  </a:lnTo>
                  <a:lnTo>
                    <a:pt x="1793" y="2436"/>
                  </a:lnTo>
                  <a:lnTo>
                    <a:pt x="1793" y="2436"/>
                  </a:lnTo>
                  <a:lnTo>
                    <a:pt x="1793" y="243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9" name="Freeform 415">
              <a:extLst>
                <a:ext uri="{FF2B5EF4-FFF2-40B4-BE49-F238E27FC236}">
                  <a16:creationId xmlns:a16="http://schemas.microsoft.com/office/drawing/2014/main" id="{4893C9BC-ACA6-4D02-BF26-BF1B797E8A33}"/>
                </a:ext>
              </a:extLst>
            </p:cNvPr>
            <p:cNvSpPr>
              <a:spLocks noEditPoints="1"/>
            </p:cNvSpPr>
            <p:nvPr/>
          </p:nvSpPr>
          <p:spPr bwMode="gray">
            <a:xfrm>
              <a:off x="3566668" y="4588765"/>
              <a:ext cx="1242009" cy="1335195"/>
            </a:xfrm>
            <a:custGeom>
              <a:avLst/>
              <a:gdLst>
                <a:gd name="T0" fmla="*/ 2915 w 3017"/>
                <a:gd name="T1" fmla="*/ 404 h 3243"/>
                <a:gd name="T2" fmla="*/ 2736 w 3017"/>
                <a:gd name="T3" fmla="*/ 1103 h 3243"/>
                <a:gd name="T4" fmla="*/ 2698 w 3017"/>
                <a:gd name="T5" fmla="*/ 1609 h 3243"/>
                <a:gd name="T6" fmla="*/ 2643 w 3017"/>
                <a:gd name="T7" fmla="*/ 2086 h 3243"/>
                <a:gd name="T8" fmla="*/ 2596 w 3017"/>
                <a:gd name="T9" fmla="*/ 2490 h 3243"/>
                <a:gd name="T10" fmla="*/ 2811 w 3017"/>
                <a:gd name="T11" fmla="*/ 2877 h 3243"/>
                <a:gd name="T12" fmla="*/ 2651 w 3017"/>
                <a:gd name="T13" fmla="*/ 2939 h 3243"/>
                <a:gd name="T14" fmla="*/ 2596 w 3017"/>
                <a:gd name="T15" fmla="*/ 2917 h 3243"/>
                <a:gd name="T16" fmla="*/ 2551 w 3017"/>
                <a:gd name="T17" fmla="*/ 2877 h 3243"/>
                <a:gd name="T18" fmla="*/ 2537 w 3017"/>
                <a:gd name="T19" fmla="*/ 2872 h 3243"/>
                <a:gd name="T20" fmla="*/ 2466 w 3017"/>
                <a:gd name="T21" fmla="*/ 2712 h 3243"/>
                <a:gd name="T22" fmla="*/ 2483 w 3017"/>
                <a:gd name="T23" fmla="*/ 2580 h 3243"/>
                <a:gd name="T24" fmla="*/ 2504 w 3017"/>
                <a:gd name="T25" fmla="*/ 2457 h 3243"/>
                <a:gd name="T26" fmla="*/ 2407 w 3017"/>
                <a:gd name="T27" fmla="*/ 2358 h 3243"/>
                <a:gd name="T28" fmla="*/ 2483 w 3017"/>
                <a:gd name="T29" fmla="*/ 2346 h 3243"/>
                <a:gd name="T30" fmla="*/ 2542 w 3017"/>
                <a:gd name="T31" fmla="*/ 2069 h 3243"/>
                <a:gd name="T32" fmla="*/ 2483 w 3017"/>
                <a:gd name="T33" fmla="*/ 1857 h 3243"/>
                <a:gd name="T34" fmla="*/ 2665 w 3017"/>
                <a:gd name="T35" fmla="*/ 1165 h 3243"/>
                <a:gd name="T36" fmla="*/ 2736 w 3017"/>
                <a:gd name="T37" fmla="*/ 421 h 3243"/>
                <a:gd name="T38" fmla="*/ 2462 w 3017"/>
                <a:gd name="T39" fmla="*/ 2053 h 3243"/>
                <a:gd name="T40" fmla="*/ 2513 w 3017"/>
                <a:gd name="T41" fmla="*/ 2029 h 3243"/>
                <a:gd name="T42" fmla="*/ 2445 w 3017"/>
                <a:gd name="T43" fmla="*/ 2086 h 3243"/>
                <a:gd name="T44" fmla="*/ 2483 w 3017"/>
                <a:gd name="T45" fmla="*/ 2135 h 3243"/>
                <a:gd name="T46" fmla="*/ 2499 w 3017"/>
                <a:gd name="T47" fmla="*/ 2152 h 3243"/>
                <a:gd name="T48" fmla="*/ 2537 w 3017"/>
                <a:gd name="T49" fmla="*/ 2173 h 3243"/>
                <a:gd name="T50" fmla="*/ 2483 w 3017"/>
                <a:gd name="T51" fmla="*/ 2173 h 3243"/>
                <a:gd name="T52" fmla="*/ 2466 w 3017"/>
                <a:gd name="T53" fmla="*/ 2190 h 3243"/>
                <a:gd name="T54" fmla="*/ 2483 w 3017"/>
                <a:gd name="T55" fmla="*/ 2197 h 3243"/>
                <a:gd name="T56" fmla="*/ 2504 w 3017"/>
                <a:gd name="T57" fmla="*/ 2235 h 3243"/>
                <a:gd name="T58" fmla="*/ 2450 w 3017"/>
                <a:gd name="T59" fmla="*/ 2263 h 3243"/>
                <a:gd name="T60" fmla="*/ 2450 w 3017"/>
                <a:gd name="T61" fmla="*/ 2272 h 3243"/>
                <a:gd name="T62" fmla="*/ 2488 w 3017"/>
                <a:gd name="T63" fmla="*/ 2301 h 3243"/>
                <a:gd name="T64" fmla="*/ 2488 w 3017"/>
                <a:gd name="T65" fmla="*/ 2395 h 3243"/>
                <a:gd name="T66" fmla="*/ 2488 w 3017"/>
                <a:gd name="T67" fmla="*/ 2473 h 3243"/>
                <a:gd name="T68" fmla="*/ 2395 w 3017"/>
                <a:gd name="T69" fmla="*/ 2490 h 3243"/>
                <a:gd name="T70" fmla="*/ 2450 w 3017"/>
                <a:gd name="T71" fmla="*/ 2511 h 3243"/>
                <a:gd name="T72" fmla="*/ 2395 w 3017"/>
                <a:gd name="T73" fmla="*/ 2551 h 3243"/>
                <a:gd name="T74" fmla="*/ 2412 w 3017"/>
                <a:gd name="T75" fmla="*/ 2622 h 3243"/>
                <a:gd name="T76" fmla="*/ 2407 w 3017"/>
                <a:gd name="T77" fmla="*/ 2561 h 3243"/>
                <a:gd name="T78" fmla="*/ 2424 w 3017"/>
                <a:gd name="T79" fmla="*/ 2601 h 3243"/>
                <a:gd name="T80" fmla="*/ 2428 w 3017"/>
                <a:gd name="T81" fmla="*/ 2679 h 3243"/>
                <a:gd name="T82" fmla="*/ 2391 w 3017"/>
                <a:gd name="T83" fmla="*/ 2745 h 3243"/>
                <a:gd name="T84" fmla="*/ 2462 w 3017"/>
                <a:gd name="T85" fmla="*/ 2745 h 3243"/>
                <a:gd name="T86" fmla="*/ 2424 w 3017"/>
                <a:gd name="T87" fmla="*/ 2790 h 3243"/>
                <a:gd name="T88" fmla="*/ 2391 w 3017"/>
                <a:gd name="T89" fmla="*/ 2823 h 3243"/>
                <a:gd name="T90" fmla="*/ 2488 w 3017"/>
                <a:gd name="T91" fmla="*/ 2823 h 3243"/>
                <a:gd name="T92" fmla="*/ 2504 w 3017"/>
                <a:gd name="T93" fmla="*/ 2877 h 3243"/>
                <a:gd name="T94" fmla="*/ 2445 w 3017"/>
                <a:gd name="T95" fmla="*/ 2877 h 3243"/>
                <a:gd name="T96" fmla="*/ 2731 w 3017"/>
                <a:gd name="T97" fmla="*/ 3116 h 3243"/>
                <a:gd name="T98" fmla="*/ 2752 w 3017"/>
                <a:gd name="T99" fmla="*/ 3106 h 3243"/>
                <a:gd name="T100" fmla="*/ 2736 w 3017"/>
                <a:gd name="T101" fmla="*/ 2950 h 3243"/>
                <a:gd name="T102" fmla="*/ 2530 w 3017"/>
                <a:gd name="T103" fmla="*/ 2983 h 3243"/>
                <a:gd name="T104" fmla="*/ 2537 w 3017"/>
                <a:gd name="T105" fmla="*/ 3012 h 3243"/>
                <a:gd name="T106" fmla="*/ 2499 w 3017"/>
                <a:gd name="T107" fmla="*/ 3012 h 3243"/>
                <a:gd name="T108" fmla="*/ 2643 w 3017"/>
                <a:gd name="T109" fmla="*/ 3045 h 3243"/>
                <a:gd name="T110" fmla="*/ 2747 w 3017"/>
                <a:gd name="T111" fmla="*/ 3078 h 3243"/>
                <a:gd name="T112" fmla="*/ 2714 w 3017"/>
                <a:gd name="T113" fmla="*/ 3139 h 3243"/>
                <a:gd name="T114" fmla="*/ 2953 w 3017"/>
                <a:gd name="T115" fmla="*/ 3149 h 3243"/>
                <a:gd name="T116" fmla="*/ 2891 w 3017"/>
                <a:gd name="T117" fmla="*/ 3177 h 3243"/>
                <a:gd name="T118" fmla="*/ 2967 w 3017"/>
                <a:gd name="T119" fmla="*/ 3156 h 3243"/>
                <a:gd name="T120" fmla="*/ 2785 w 3017"/>
                <a:gd name="T121" fmla="*/ 3194 h 3243"/>
                <a:gd name="T122" fmla="*/ 2929 w 3017"/>
                <a:gd name="T123" fmla="*/ 3243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17" h="3243">
                  <a:moveTo>
                    <a:pt x="2736" y="66"/>
                  </a:moveTo>
                  <a:lnTo>
                    <a:pt x="2769" y="54"/>
                  </a:lnTo>
                  <a:lnTo>
                    <a:pt x="2785" y="38"/>
                  </a:lnTo>
                  <a:lnTo>
                    <a:pt x="2773" y="17"/>
                  </a:lnTo>
                  <a:lnTo>
                    <a:pt x="2790" y="17"/>
                  </a:lnTo>
                  <a:lnTo>
                    <a:pt x="2802" y="0"/>
                  </a:lnTo>
                  <a:lnTo>
                    <a:pt x="2811" y="38"/>
                  </a:lnTo>
                  <a:lnTo>
                    <a:pt x="2828" y="38"/>
                  </a:lnTo>
                  <a:lnTo>
                    <a:pt x="2823" y="50"/>
                  </a:lnTo>
                  <a:lnTo>
                    <a:pt x="2839" y="111"/>
                  </a:lnTo>
                  <a:lnTo>
                    <a:pt x="2877" y="144"/>
                  </a:lnTo>
                  <a:lnTo>
                    <a:pt x="2854" y="165"/>
                  </a:lnTo>
                  <a:lnTo>
                    <a:pt x="2865" y="182"/>
                  </a:lnTo>
                  <a:lnTo>
                    <a:pt x="2865" y="189"/>
                  </a:lnTo>
                  <a:lnTo>
                    <a:pt x="2854" y="199"/>
                  </a:lnTo>
                  <a:lnTo>
                    <a:pt x="2854" y="215"/>
                  </a:lnTo>
                  <a:lnTo>
                    <a:pt x="2854" y="222"/>
                  </a:lnTo>
                  <a:lnTo>
                    <a:pt x="2877" y="239"/>
                  </a:lnTo>
                  <a:lnTo>
                    <a:pt x="2865" y="250"/>
                  </a:lnTo>
                  <a:lnTo>
                    <a:pt x="2865" y="255"/>
                  </a:lnTo>
                  <a:lnTo>
                    <a:pt x="2877" y="260"/>
                  </a:lnTo>
                  <a:lnTo>
                    <a:pt x="2891" y="288"/>
                  </a:lnTo>
                  <a:lnTo>
                    <a:pt x="2891" y="310"/>
                  </a:lnTo>
                  <a:lnTo>
                    <a:pt x="2899" y="343"/>
                  </a:lnTo>
                  <a:lnTo>
                    <a:pt x="2908" y="350"/>
                  </a:lnTo>
                  <a:lnTo>
                    <a:pt x="2915" y="383"/>
                  </a:lnTo>
                  <a:lnTo>
                    <a:pt x="2915" y="404"/>
                  </a:lnTo>
                  <a:lnTo>
                    <a:pt x="2936" y="404"/>
                  </a:lnTo>
                  <a:lnTo>
                    <a:pt x="2962" y="404"/>
                  </a:lnTo>
                  <a:lnTo>
                    <a:pt x="2979" y="416"/>
                  </a:lnTo>
                  <a:lnTo>
                    <a:pt x="2953" y="494"/>
                  </a:lnTo>
                  <a:lnTo>
                    <a:pt x="2882" y="527"/>
                  </a:lnTo>
                  <a:lnTo>
                    <a:pt x="2865" y="548"/>
                  </a:lnTo>
                  <a:lnTo>
                    <a:pt x="2882" y="581"/>
                  </a:lnTo>
                  <a:lnTo>
                    <a:pt x="2865" y="581"/>
                  </a:lnTo>
                  <a:lnTo>
                    <a:pt x="2861" y="605"/>
                  </a:lnTo>
                  <a:lnTo>
                    <a:pt x="2877" y="659"/>
                  </a:lnTo>
                  <a:lnTo>
                    <a:pt x="2865" y="666"/>
                  </a:lnTo>
                  <a:lnTo>
                    <a:pt x="2861" y="683"/>
                  </a:lnTo>
                  <a:lnTo>
                    <a:pt x="2882" y="716"/>
                  </a:lnTo>
                  <a:lnTo>
                    <a:pt x="2877" y="732"/>
                  </a:lnTo>
                  <a:lnTo>
                    <a:pt x="2844" y="732"/>
                  </a:lnTo>
                  <a:lnTo>
                    <a:pt x="2823" y="803"/>
                  </a:lnTo>
                  <a:lnTo>
                    <a:pt x="2790" y="832"/>
                  </a:lnTo>
                  <a:lnTo>
                    <a:pt x="2785" y="886"/>
                  </a:lnTo>
                  <a:lnTo>
                    <a:pt x="2757" y="905"/>
                  </a:lnTo>
                  <a:lnTo>
                    <a:pt x="2773" y="976"/>
                  </a:lnTo>
                  <a:lnTo>
                    <a:pt x="2769" y="980"/>
                  </a:lnTo>
                  <a:lnTo>
                    <a:pt x="2752" y="992"/>
                  </a:lnTo>
                  <a:lnTo>
                    <a:pt x="2747" y="1025"/>
                  </a:lnTo>
                  <a:lnTo>
                    <a:pt x="2747" y="1037"/>
                  </a:lnTo>
                  <a:lnTo>
                    <a:pt x="2731" y="1054"/>
                  </a:lnTo>
                  <a:lnTo>
                    <a:pt x="2719" y="1082"/>
                  </a:lnTo>
                  <a:lnTo>
                    <a:pt x="2736" y="1103"/>
                  </a:lnTo>
                  <a:lnTo>
                    <a:pt x="2752" y="1108"/>
                  </a:lnTo>
                  <a:lnTo>
                    <a:pt x="2736" y="1124"/>
                  </a:lnTo>
                  <a:lnTo>
                    <a:pt x="2747" y="1136"/>
                  </a:lnTo>
                  <a:lnTo>
                    <a:pt x="2752" y="1160"/>
                  </a:lnTo>
                  <a:lnTo>
                    <a:pt x="2752" y="1176"/>
                  </a:lnTo>
                  <a:lnTo>
                    <a:pt x="2769" y="1193"/>
                  </a:lnTo>
                  <a:lnTo>
                    <a:pt x="2757" y="1214"/>
                  </a:lnTo>
                  <a:lnTo>
                    <a:pt x="2769" y="1219"/>
                  </a:lnTo>
                  <a:lnTo>
                    <a:pt x="2773" y="1219"/>
                  </a:lnTo>
                  <a:lnTo>
                    <a:pt x="2785" y="1231"/>
                  </a:lnTo>
                  <a:lnTo>
                    <a:pt x="2769" y="1259"/>
                  </a:lnTo>
                  <a:lnTo>
                    <a:pt x="2773" y="1292"/>
                  </a:lnTo>
                  <a:lnTo>
                    <a:pt x="2757" y="1304"/>
                  </a:lnTo>
                  <a:lnTo>
                    <a:pt x="2736" y="1370"/>
                  </a:lnTo>
                  <a:lnTo>
                    <a:pt x="2719" y="1380"/>
                  </a:lnTo>
                  <a:lnTo>
                    <a:pt x="2736" y="1387"/>
                  </a:lnTo>
                  <a:lnTo>
                    <a:pt x="2747" y="1424"/>
                  </a:lnTo>
                  <a:lnTo>
                    <a:pt x="2736" y="1453"/>
                  </a:lnTo>
                  <a:lnTo>
                    <a:pt x="2714" y="1458"/>
                  </a:lnTo>
                  <a:lnTo>
                    <a:pt x="2714" y="1474"/>
                  </a:lnTo>
                  <a:lnTo>
                    <a:pt x="2693" y="1481"/>
                  </a:lnTo>
                  <a:lnTo>
                    <a:pt x="2681" y="1507"/>
                  </a:lnTo>
                  <a:lnTo>
                    <a:pt x="2693" y="1531"/>
                  </a:lnTo>
                  <a:lnTo>
                    <a:pt x="2681" y="1547"/>
                  </a:lnTo>
                  <a:lnTo>
                    <a:pt x="2693" y="1564"/>
                  </a:lnTo>
                  <a:lnTo>
                    <a:pt x="2681" y="1580"/>
                  </a:lnTo>
                  <a:lnTo>
                    <a:pt x="2698" y="1609"/>
                  </a:lnTo>
                  <a:lnTo>
                    <a:pt x="2698" y="1642"/>
                  </a:lnTo>
                  <a:lnTo>
                    <a:pt x="2702" y="1658"/>
                  </a:lnTo>
                  <a:lnTo>
                    <a:pt x="2698" y="1663"/>
                  </a:lnTo>
                  <a:lnTo>
                    <a:pt x="2665" y="1680"/>
                  </a:lnTo>
                  <a:lnTo>
                    <a:pt x="2665" y="1713"/>
                  </a:lnTo>
                  <a:lnTo>
                    <a:pt x="2660" y="1746"/>
                  </a:lnTo>
                  <a:lnTo>
                    <a:pt x="2643" y="1736"/>
                  </a:lnTo>
                  <a:lnTo>
                    <a:pt x="2651" y="1769"/>
                  </a:lnTo>
                  <a:lnTo>
                    <a:pt x="2639" y="1791"/>
                  </a:lnTo>
                  <a:lnTo>
                    <a:pt x="2643" y="1802"/>
                  </a:lnTo>
                  <a:lnTo>
                    <a:pt x="2639" y="1807"/>
                  </a:lnTo>
                  <a:lnTo>
                    <a:pt x="2627" y="1840"/>
                  </a:lnTo>
                  <a:lnTo>
                    <a:pt x="2639" y="1857"/>
                  </a:lnTo>
                  <a:lnTo>
                    <a:pt x="2639" y="1913"/>
                  </a:lnTo>
                  <a:lnTo>
                    <a:pt x="2627" y="1918"/>
                  </a:lnTo>
                  <a:lnTo>
                    <a:pt x="2643" y="1951"/>
                  </a:lnTo>
                  <a:lnTo>
                    <a:pt x="2627" y="1958"/>
                  </a:lnTo>
                  <a:lnTo>
                    <a:pt x="2622" y="1958"/>
                  </a:lnTo>
                  <a:lnTo>
                    <a:pt x="2613" y="1975"/>
                  </a:lnTo>
                  <a:lnTo>
                    <a:pt x="2622" y="1975"/>
                  </a:lnTo>
                  <a:lnTo>
                    <a:pt x="2613" y="1996"/>
                  </a:lnTo>
                  <a:lnTo>
                    <a:pt x="2613" y="2041"/>
                  </a:lnTo>
                  <a:lnTo>
                    <a:pt x="2643" y="2046"/>
                  </a:lnTo>
                  <a:lnTo>
                    <a:pt x="2643" y="2062"/>
                  </a:lnTo>
                  <a:lnTo>
                    <a:pt x="2627" y="2062"/>
                  </a:lnTo>
                  <a:lnTo>
                    <a:pt x="2627" y="2069"/>
                  </a:lnTo>
                  <a:lnTo>
                    <a:pt x="2643" y="2086"/>
                  </a:lnTo>
                  <a:lnTo>
                    <a:pt x="2643" y="2095"/>
                  </a:lnTo>
                  <a:lnTo>
                    <a:pt x="2639" y="2102"/>
                  </a:lnTo>
                  <a:lnTo>
                    <a:pt x="2651" y="2119"/>
                  </a:lnTo>
                  <a:lnTo>
                    <a:pt x="2639" y="2135"/>
                  </a:lnTo>
                  <a:lnTo>
                    <a:pt x="2639" y="2157"/>
                  </a:lnTo>
                  <a:lnTo>
                    <a:pt x="2681" y="2157"/>
                  </a:lnTo>
                  <a:lnTo>
                    <a:pt x="2693" y="2161"/>
                  </a:lnTo>
                  <a:lnTo>
                    <a:pt x="2676" y="2190"/>
                  </a:lnTo>
                  <a:lnTo>
                    <a:pt x="2622" y="2190"/>
                  </a:lnTo>
                  <a:lnTo>
                    <a:pt x="2622" y="2206"/>
                  </a:lnTo>
                  <a:lnTo>
                    <a:pt x="2651" y="2206"/>
                  </a:lnTo>
                  <a:lnTo>
                    <a:pt x="2676" y="2235"/>
                  </a:lnTo>
                  <a:lnTo>
                    <a:pt x="2660" y="2251"/>
                  </a:lnTo>
                  <a:lnTo>
                    <a:pt x="2643" y="2263"/>
                  </a:lnTo>
                  <a:lnTo>
                    <a:pt x="2639" y="2268"/>
                  </a:lnTo>
                  <a:lnTo>
                    <a:pt x="2643" y="2284"/>
                  </a:lnTo>
                  <a:lnTo>
                    <a:pt x="2651" y="2301"/>
                  </a:lnTo>
                  <a:lnTo>
                    <a:pt x="2627" y="2317"/>
                  </a:lnTo>
                  <a:lnTo>
                    <a:pt x="2643" y="2324"/>
                  </a:lnTo>
                  <a:lnTo>
                    <a:pt x="2643" y="2362"/>
                  </a:lnTo>
                  <a:lnTo>
                    <a:pt x="2627" y="2374"/>
                  </a:lnTo>
                  <a:lnTo>
                    <a:pt x="2627" y="2395"/>
                  </a:lnTo>
                  <a:lnTo>
                    <a:pt x="2639" y="2412"/>
                  </a:lnTo>
                  <a:lnTo>
                    <a:pt x="2596" y="2433"/>
                  </a:lnTo>
                  <a:lnTo>
                    <a:pt x="2596" y="2440"/>
                  </a:lnTo>
                  <a:lnTo>
                    <a:pt x="2589" y="2473"/>
                  </a:lnTo>
                  <a:lnTo>
                    <a:pt x="2596" y="2490"/>
                  </a:lnTo>
                  <a:lnTo>
                    <a:pt x="2606" y="2511"/>
                  </a:lnTo>
                  <a:lnTo>
                    <a:pt x="2584" y="2523"/>
                  </a:lnTo>
                  <a:lnTo>
                    <a:pt x="2584" y="2551"/>
                  </a:lnTo>
                  <a:lnTo>
                    <a:pt x="2551" y="2568"/>
                  </a:lnTo>
                  <a:lnTo>
                    <a:pt x="2542" y="2596"/>
                  </a:lnTo>
                  <a:lnTo>
                    <a:pt x="2551" y="2601"/>
                  </a:lnTo>
                  <a:lnTo>
                    <a:pt x="2542" y="2601"/>
                  </a:lnTo>
                  <a:lnTo>
                    <a:pt x="2521" y="2601"/>
                  </a:lnTo>
                  <a:lnTo>
                    <a:pt x="2513" y="2622"/>
                  </a:lnTo>
                  <a:lnTo>
                    <a:pt x="2521" y="2650"/>
                  </a:lnTo>
                  <a:lnTo>
                    <a:pt x="2513" y="2655"/>
                  </a:lnTo>
                  <a:lnTo>
                    <a:pt x="2521" y="2662"/>
                  </a:lnTo>
                  <a:lnTo>
                    <a:pt x="2521" y="2679"/>
                  </a:lnTo>
                  <a:lnTo>
                    <a:pt x="2537" y="2695"/>
                  </a:lnTo>
                  <a:lnTo>
                    <a:pt x="2542" y="2733"/>
                  </a:lnTo>
                  <a:lnTo>
                    <a:pt x="2575" y="2728"/>
                  </a:lnTo>
                  <a:lnTo>
                    <a:pt x="2606" y="2728"/>
                  </a:lnTo>
                  <a:lnTo>
                    <a:pt x="2606" y="2761"/>
                  </a:lnTo>
                  <a:lnTo>
                    <a:pt x="2596" y="2773"/>
                  </a:lnTo>
                  <a:lnTo>
                    <a:pt x="2606" y="2783"/>
                  </a:lnTo>
                  <a:lnTo>
                    <a:pt x="2596" y="2806"/>
                  </a:lnTo>
                  <a:lnTo>
                    <a:pt x="2606" y="2828"/>
                  </a:lnTo>
                  <a:lnTo>
                    <a:pt x="2627" y="2844"/>
                  </a:lnTo>
                  <a:lnTo>
                    <a:pt x="2627" y="2856"/>
                  </a:lnTo>
                  <a:lnTo>
                    <a:pt x="2769" y="2856"/>
                  </a:lnTo>
                  <a:lnTo>
                    <a:pt x="2877" y="2894"/>
                  </a:lnTo>
                  <a:lnTo>
                    <a:pt x="2811" y="2877"/>
                  </a:lnTo>
                  <a:lnTo>
                    <a:pt x="2802" y="2884"/>
                  </a:lnTo>
                  <a:lnTo>
                    <a:pt x="2802" y="2894"/>
                  </a:lnTo>
                  <a:lnTo>
                    <a:pt x="2790" y="2910"/>
                  </a:lnTo>
                  <a:lnTo>
                    <a:pt x="2773" y="2901"/>
                  </a:lnTo>
                  <a:lnTo>
                    <a:pt x="2702" y="2927"/>
                  </a:lnTo>
                  <a:lnTo>
                    <a:pt x="2702" y="2950"/>
                  </a:lnTo>
                  <a:lnTo>
                    <a:pt x="2698" y="2988"/>
                  </a:lnTo>
                  <a:lnTo>
                    <a:pt x="2698" y="3028"/>
                  </a:lnTo>
                  <a:lnTo>
                    <a:pt x="2676" y="3045"/>
                  </a:lnTo>
                  <a:lnTo>
                    <a:pt x="2613" y="3021"/>
                  </a:lnTo>
                  <a:lnTo>
                    <a:pt x="2589" y="2995"/>
                  </a:lnTo>
                  <a:lnTo>
                    <a:pt x="2606" y="2983"/>
                  </a:lnTo>
                  <a:lnTo>
                    <a:pt x="2613" y="2983"/>
                  </a:lnTo>
                  <a:lnTo>
                    <a:pt x="2622" y="2988"/>
                  </a:lnTo>
                  <a:lnTo>
                    <a:pt x="2606" y="2995"/>
                  </a:lnTo>
                  <a:lnTo>
                    <a:pt x="2613" y="2995"/>
                  </a:lnTo>
                  <a:lnTo>
                    <a:pt x="2622" y="2988"/>
                  </a:lnTo>
                  <a:lnTo>
                    <a:pt x="2622" y="2972"/>
                  </a:lnTo>
                  <a:lnTo>
                    <a:pt x="2639" y="2972"/>
                  </a:lnTo>
                  <a:lnTo>
                    <a:pt x="2639" y="2995"/>
                  </a:lnTo>
                  <a:lnTo>
                    <a:pt x="2622" y="3012"/>
                  </a:lnTo>
                  <a:lnTo>
                    <a:pt x="2639" y="3005"/>
                  </a:lnTo>
                  <a:lnTo>
                    <a:pt x="2643" y="2972"/>
                  </a:lnTo>
                  <a:lnTo>
                    <a:pt x="2665" y="2967"/>
                  </a:lnTo>
                  <a:lnTo>
                    <a:pt x="2681" y="2939"/>
                  </a:lnTo>
                  <a:lnTo>
                    <a:pt x="2681" y="2934"/>
                  </a:lnTo>
                  <a:lnTo>
                    <a:pt x="2651" y="2939"/>
                  </a:lnTo>
                  <a:lnTo>
                    <a:pt x="2622" y="2967"/>
                  </a:lnTo>
                  <a:lnTo>
                    <a:pt x="2606" y="2955"/>
                  </a:lnTo>
                  <a:lnTo>
                    <a:pt x="2584" y="2967"/>
                  </a:lnTo>
                  <a:lnTo>
                    <a:pt x="2613" y="2972"/>
                  </a:lnTo>
                  <a:lnTo>
                    <a:pt x="2589" y="2972"/>
                  </a:lnTo>
                  <a:lnTo>
                    <a:pt x="2596" y="2983"/>
                  </a:lnTo>
                  <a:lnTo>
                    <a:pt x="2589" y="2988"/>
                  </a:lnTo>
                  <a:lnTo>
                    <a:pt x="2575" y="2988"/>
                  </a:lnTo>
                  <a:lnTo>
                    <a:pt x="2596" y="3005"/>
                  </a:lnTo>
                  <a:lnTo>
                    <a:pt x="2537" y="2972"/>
                  </a:lnTo>
                  <a:lnTo>
                    <a:pt x="2537" y="2967"/>
                  </a:lnTo>
                  <a:lnTo>
                    <a:pt x="2558" y="2972"/>
                  </a:lnTo>
                  <a:lnTo>
                    <a:pt x="2575" y="2983"/>
                  </a:lnTo>
                  <a:lnTo>
                    <a:pt x="2568" y="2972"/>
                  </a:lnTo>
                  <a:lnTo>
                    <a:pt x="2575" y="2967"/>
                  </a:lnTo>
                  <a:lnTo>
                    <a:pt x="2558" y="2967"/>
                  </a:lnTo>
                  <a:lnTo>
                    <a:pt x="2568" y="2955"/>
                  </a:lnTo>
                  <a:lnTo>
                    <a:pt x="2558" y="2939"/>
                  </a:lnTo>
                  <a:lnTo>
                    <a:pt x="2575" y="2927"/>
                  </a:lnTo>
                  <a:lnTo>
                    <a:pt x="2589" y="2934"/>
                  </a:lnTo>
                  <a:lnTo>
                    <a:pt x="2613" y="2917"/>
                  </a:lnTo>
                  <a:lnTo>
                    <a:pt x="2639" y="2927"/>
                  </a:lnTo>
                  <a:lnTo>
                    <a:pt x="2660" y="2917"/>
                  </a:lnTo>
                  <a:lnTo>
                    <a:pt x="2660" y="2910"/>
                  </a:lnTo>
                  <a:lnTo>
                    <a:pt x="2613" y="2910"/>
                  </a:lnTo>
                  <a:lnTo>
                    <a:pt x="2596" y="2910"/>
                  </a:lnTo>
                  <a:lnTo>
                    <a:pt x="2596" y="2917"/>
                  </a:lnTo>
                  <a:lnTo>
                    <a:pt x="2584" y="2917"/>
                  </a:lnTo>
                  <a:lnTo>
                    <a:pt x="2596" y="2910"/>
                  </a:lnTo>
                  <a:lnTo>
                    <a:pt x="2568" y="2910"/>
                  </a:lnTo>
                  <a:lnTo>
                    <a:pt x="2558" y="2917"/>
                  </a:lnTo>
                  <a:lnTo>
                    <a:pt x="2575" y="2917"/>
                  </a:lnTo>
                  <a:lnTo>
                    <a:pt x="2551" y="2939"/>
                  </a:lnTo>
                  <a:lnTo>
                    <a:pt x="2558" y="2955"/>
                  </a:lnTo>
                  <a:lnTo>
                    <a:pt x="2542" y="2967"/>
                  </a:lnTo>
                  <a:lnTo>
                    <a:pt x="2521" y="2955"/>
                  </a:lnTo>
                  <a:lnTo>
                    <a:pt x="2537" y="2939"/>
                  </a:lnTo>
                  <a:lnTo>
                    <a:pt x="2513" y="2934"/>
                  </a:lnTo>
                  <a:lnTo>
                    <a:pt x="2537" y="2934"/>
                  </a:lnTo>
                  <a:lnTo>
                    <a:pt x="2542" y="2910"/>
                  </a:lnTo>
                  <a:lnTo>
                    <a:pt x="2558" y="2910"/>
                  </a:lnTo>
                  <a:lnTo>
                    <a:pt x="2542" y="2901"/>
                  </a:lnTo>
                  <a:lnTo>
                    <a:pt x="2537" y="2927"/>
                  </a:lnTo>
                  <a:lnTo>
                    <a:pt x="2530" y="2917"/>
                  </a:lnTo>
                  <a:lnTo>
                    <a:pt x="2504" y="2927"/>
                  </a:lnTo>
                  <a:lnTo>
                    <a:pt x="2504" y="2917"/>
                  </a:lnTo>
                  <a:lnTo>
                    <a:pt x="2513" y="2910"/>
                  </a:lnTo>
                  <a:lnTo>
                    <a:pt x="2504" y="2901"/>
                  </a:lnTo>
                  <a:lnTo>
                    <a:pt x="2513" y="2884"/>
                  </a:lnTo>
                  <a:lnTo>
                    <a:pt x="2504" y="2861"/>
                  </a:lnTo>
                  <a:lnTo>
                    <a:pt x="2513" y="2877"/>
                  </a:lnTo>
                  <a:lnTo>
                    <a:pt x="2530" y="2877"/>
                  </a:lnTo>
                  <a:lnTo>
                    <a:pt x="2551" y="2861"/>
                  </a:lnTo>
                  <a:lnTo>
                    <a:pt x="2551" y="2877"/>
                  </a:lnTo>
                  <a:lnTo>
                    <a:pt x="2568" y="2884"/>
                  </a:lnTo>
                  <a:lnTo>
                    <a:pt x="2568" y="2861"/>
                  </a:lnTo>
                  <a:lnTo>
                    <a:pt x="2558" y="2877"/>
                  </a:lnTo>
                  <a:lnTo>
                    <a:pt x="2558" y="2861"/>
                  </a:lnTo>
                  <a:lnTo>
                    <a:pt x="2568" y="2856"/>
                  </a:lnTo>
                  <a:lnTo>
                    <a:pt x="2575" y="2856"/>
                  </a:lnTo>
                  <a:lnTo>
                    <a:pt x="2589" y="2877"/>
                  </a:lnTo>
                  <a:lnTo>
                    <a:pt x="2584" y="2884"/>
                  </a:lnTo>
                  <a:lnTo>
                    <a:pt x="2558" y="2901"/>
                  </a:lnTo>
                  <a:lnTo>
                    <a:pt x="2589" y="2884"/>
                  </a:lnTo>
                  <a:lnTo>
                    <a:pt x="2589" y="2877"/>
                  </a:lnTo>
                  <a:lnTo>
                    <a:pt x="2575" y="2856"/>
                  </a:lnTo>
                  <a:lnTo>
                    <a:pt x="2589" y="2856"/>
                  </a:lnTo>
                  <a:lnTo>
                    <a:pt x="2589" y="2839"/>
                  </a:lnTo>
                  <a:lnTo>
                    <a:pt x="2575" y="2816"/>
                  </a:lnTo>
                  <a:lnTo>
                    <a:pt x="2537" y="2806"/>
                  </a:lnTo>
                  <a:lnTo>
                    <a:pt x="2584" y="2839"/>
                  </a:lnTo>
                  <a:lnTo>
                    <a:pt x="2575" y="2839"/>
                  </a:lnTo>
                  <a:lnTo>
                    <a:pt x="2537" y="2823"/>
                  </a:lnTo>
                  <a:lnTo>
                    <a:pt x="2537" y="2828"/>
                  </a:lnTo>
                  <a:lnTo>
                    <a:pt x="2551" y="2839"/>
                  </a:lnTo>
                  <a:lnTo>
                    <a:pt x="2542" y="2844"/>
                  </a:lnTo>
                  <a:lnTo>
                    <a:pt x="2558" y="2844"/>
                  </a:lnTo>
                  <a:lnTo>
                    <a:pt x="2542" y="2856"/>
                  </a:lnTo>
                  <a:lnTo>
                    <a:pt x="2537" y="2861"/>
                  </a:lnTo>
                  <a:lnTo>
                    <a:pt x="2530" y="2823"/>
                  </a:lnTo>
                  <a:lnTo>
                    <a:pt x="2537" y="2872"/>
                  </a:lnTo>
                  <a:lnTo>
                    <a:pt x="2513" y="2861"/>
                  </a:lnTo>
                  <a:lnTo>
                    <a:pt x="2504" y="2839"/>
                  </a:lnTo>
                  <a:lnTo>
                    <a:pt x="2530" y="2861"/>
                  </a:lnTo>
                  <a:lnTo>
                    <a:pt x="2513" y="2828"/>
                  </a:lnTo>
                  <a:lnTo>
                    <a:pt x="2521" y="2828"/>
                  </a:lnTo>
                  <a:lnTo>
                    <a:pt x="2504" y="2839"/>
                  </a:lnTo>
                  <a:lnTo>
                    <a:pt x="2499" y="2823"/>
                  </a:lnTo>
                  <a:lnTo>
                    <a:pt x="2488" y="2823"/>
                  </a:lnTo>
                  <a:lnTo>
                    <a:pt x="2488" y="2799"/>
                  </a:lnTo>
                  <a:lnTo>
                    <a:pt x="2513" y="2823"/>
                  </a:lnTo>
                  <a:lnTo>
                    <a:pt x="2499" y="2783"/>
                  </a:lnTo>
                  <a:lnTo>
                    <a:pt x="2504" y="2790"/>
                  </a:lnTo>
                  <a:lnTo>
                    <a:pt x="2504" y="2773"/>
                  </a:lnTo>
                  <a:lnTo>
                    <a:pt x="2488" y="2783"/>
                  </a:lnTo>
                  <a:lnTo>
                    <a:pt x="2476" y="2783"/>
                  </a:lnTo>
                  <a:lnTo>
                    <a:pt x="2466" y="2761"/>
                  </a:lnTo>
                  <a:lnTo>
                    <a:pt x="2476" y="2750"/>
                  </a:lnTo>
                  <a:lnTo>
                    <a:pt x="2499" y="2750"/>
                  </a:lnTo>
                  <a:lnTo>
                    <a:pt x="2504" y="2728"/>
                  </a:lnTo>
                  <a:lnTo>
                    <a:pt x="2521" y="2733"/>
                  </a:lnTo>
                  <a:lnTo>
                    <a:pt x="2521" y="2728"/>
                  </a:lnTo>
                  <a:lnTo>
                    <a:pt x="2504" y="2717"/>
                  </a:lnTo>
                  <a:lnTo>
                    <a:pt x="2513" y="2707"/>
                  </a:lnTo>
                  <a:lnTo>
                    <a:pt x="2499" y="2717"/>
                  </a:lnTo>
                  <a:lnTo>
                    <a:pt x="2499" y="2745"/>
                  </a:lnTo>
                  <a:lnTo>
                    <a:pt x="2483" y="2745"/>
                  </a:lnTo>
                  <a:lnTo>
                    <a:pt x="2466" y="2712"/>
                  </a:lnTo>
                  <a:lnTo>
                    <a:pt x="2488" y="2717"/>
                  </a:lnTo>
                  <a:lnTo>
                    <a:pt x="2466" y="2707"/>
                  </a:lnTo>
                  <a:lnTo>
                    <a:pt x="2433" y="2688"/>
                  </a:lnTo>
                  <a:lnTo>
                    <a:pt x="2445" y="2679"/>
                  </a:lnTo>
                  <a:lnTo>
                    <a:pt x="2462" y="2672"/>
                  </a:lnTo>
                  <a:lnTo>
                    <a:pt x="2466" y="2688"/>
                  </a:lnTo>
                  <a:lnTo>
                    <a:pt x="2499" y="2695"/>
                  </a:lnTo>
                  <a:lnTo>
                    <a:pt x="2476" y="2688"/>
                  </a:lnTo>
                  <a:lnTo>
                    <a:pt x="2462" y="2662"/>
                  </a:lnTo>
                  <a:lnTo>
                    <a:pt x="2466" y="2662"/>
                  </a:lnTo>
                  <a:lnTo>
                    <a:pt x="2488" y="2672"/>
                  </a:lnTo>
                  <a:lnTo>
                    <a:pt x="2466" y="2655"/>
                  </a:lnTo>
                  <a:lnTo>
                    <a:pt x="2462" y="2650"/>
                  </a:lnTo>
                  <a:lnTo>
                    <a:pt x="2483" y="2639"/>
                  </a:lnTo>
                  <a:lnTo>
                    <a:pt x="2466" y="2639"/>
                  </a:lnTo>
                  <a:lnTo>
                    <a:pt x="2462" y="2634"/>
                  </a:lnTo>
                  <a:lnTo>
                    <a:pt x="2488" y="2622"/>
                  </a:lnTo>
                  <a:lnTo>
                    <a:pt x="2504" y="2639"/>
                  </a:lnTo>
                  <a:lnTo>
                    <a:pt x="2499" y="2634"/>
                  </a:lnTo>
                  <a:lnTo>
                    <a:pt x="2488" y="2622"/>
                  </a:lnTo>
                  <a:lnTo>
                    <a:pt x="2476" y="2617"/>
                  </a:lnTo>
                  <a:lnTo>
                    <a:pt x="2483" y="2601"/>
                  </a:lnTo>
                  <a:lnTo>
                    <a:pt x="2499" y="2606"/>
                  </a:lnTo>
                  <a:lnTo>
                    <a:pt x="2483" y="2601"/>
                  </a:lnTo>
                  <a:lnTo>
                    <a:pt x="2483" y="2584"/>
                  </a:lnTo>
                  <a:lnTo>
                    <a:pt x="2499" y="2580"/>
                  </a:lnTo>
                  <a:lnTo>
                    <a:pt x="2483" y="2580"/>
                  </a:lnTo>
                  <a:lnTo>
                    <a:pt x="2466" y="2622"/>
                  </a:lnTo>
                  <a:lnTo>
                    <a:pt x="2462" y="2617"/>
                  </a:lnTo>
                  <a:lnTo>
                    <a:pt x="2450" y="2551"/>
                  </a:lnTo>
                  <a:lnTo>
                    <a:pt x="2462" y="2544"/>
                  </a:lnTo>
                  <a:lnTo>
                    <a:pt x="2483" y="2551"/>
                  </a:lnTo>
                  <a:lnTo>
                    <a:pt x="2462" y="2544"/>
                  </a:lnTo>
                  <a:lnTo>
                    <a:pt x="2462" y="2539"/>
                  </a:lnTo>
                  <a:lnTo>
                    <a:pt x="2466" y="2523"/>
                  </a:lnTo>
                  <a:lnTo>
                    <a:pt x="2483" y="2528"/>
                  </a:lnTo>
                  <a:lnTo>
                    <a:pt x="2483" y="2523"/>
                  </a:lnTo>
                  <a:lnTo>
                    <a:pt x="2466" y="2511"/>
                  </a:lnTo>
                  <a:lnTo>
                    <a:pt x="2476" y="2511"/>
                  </a:lnTo>
                  <a:lnTo>
                    <a:pt x="2433" y="2485"/>
                  </a:lnTo>
                  <a:lnTo>
                    <a:pt x="2450" y="2485"/>
                  </a:lnTo>
                  <a:lnTo>
                    <a:pt x="2466" y="2506"/>
                  </a:lnTo>
                  <a:lnTo>
                    <a:pt x="2462" y="2485"/>
                  </a:lnTo>
                  <a:lnTo>
                    <a:pt x="2499" y="2485"/>
                  </a:lnTo>
                  <a:lnTo>
                    <a:pt x="2513" y="2506"/>
                  </a:lnTo>
                  <a:lnTo>
                    <a:pt x="2521" y="2495"/>
                  </a:lnTo>
                  <a:lnTo>
                    <a:pt x="2530" y="2495"/>
                  </a:lnTo>
                  <a:lnTo>
                    <a:pt x="2537" y="2490"/>
                  </a:lnTo>
                  <a:lnTo>
                    <a:pt x="2530" y="2495"/>
                  </a:lnTo>
                  <a:lnTo>
                    <a:pt x="2521" y="2490"/>
                  </a:lnTo>
                  <a:lnTo>
                    <a:pt x="2504" y="2473"/>
                  </a:lnTo>
                  <a:lnTo>
                    <a:pt x="2537" y="2485"/>
                  </a:lnTo>
                  <a:lnTo>
                    <a:pt x="2521" y="2473"/>
                  </a:lnTo>
                  <a:lnTo>
                    <a:pt x="2504" y="2457"/>
                  </a:lnTo>
                  <a:lnTo>
                    <a:pt x="2504" y="2452"/>
                  </a:lnTo>
                  <a:lnTo>
                    <a:pt x="2504" y="2433"/>
                  </a:lnTo>
                  <a:lnTo>
                    <a:pt x="2499" y="2457"/>
                  </a:lnTo>
                  <a:lnTo>
                    <a:pt x="2488" y="2469"/>
                  </a:lnTo>
                  <a:lnTo>
                    <a:pt x="2433" y="2457"/>
                  </a:lnTo>
                  <a:lnTo>
                    <a:pt x="2445" y="2440"/>
                  </a:lnTo>
                  <a:lnTo>
                    <a:pt x="2462" y="2440"/>
                  </a:lnTo>
                  <a:lnTo>
                    <a:pt x="2466" y="2457"/>
                  </a:lnTo>
                  <a:lnTo>
                    <a:pt x="2476" y="2457"/>
                  </a:lnTo>
                  <a:lnTo>
                    <a:pt x="2466" y="2457"/>
                  </a:lnTo>
                  <a:lnTo>
                    <a:pt x="2466" y="2452"/>
                  </a:lnTo>
                  <a:lnTo>
                    <a:pt x="2483" y="2440"/>
                  </a:lnTo>
                  <a:lnTo>
                    <a:pt x="2462" y="2440"/>
                  </a:lnTo>
                  <a:lnTo>
                    <a:pt x="2445" y="2428"/>
                  </a:lnTo>
                  <a:lnTo>
                    <a:pt x="2462" y="2412"/>
                  </a:lnTo>
                  <a:lnTo>
                    <a:pt x="2476" y="2412"/>
                  </a:lnTo>
                  <a:lnTo>
                    <a:pt x="2476" y="2417"/>
                  </a:lnTo>
                  <a:lnTo>
                    <a:pt x="2476" y="2412"/>
                  </a:lnTo>
                  <a:lnTo>
                    <a:pt x="2488" y="2395"/>
                  </a:lnTo>
                  <a:lnTo>
                    <a:pt x="2476" y="2384"/>
                  </a:lnTo>
                  <a:lnTo>
                    <a:pt x="2466" y="2374"/>
                  </a:lnTo>
                  <a:lnTo>
                    <a:pt x="2445" y="2374"/>
                  </a:lnTo>
                  <a:lnTo>
                    <a:pt x="2450" y="2379"/>
                  </a:lnTo>
                  <a:lnTo>
                    <a:pt x="2412" y="2374"/>
                  </a:lnTo>
                  <a:lnTo>
                    <a:pt x="2407" y="2358"/>
                  </a:lnTo>
                  <a:lnTo>
                    <a:pt x="2424" y="2341"/>
                  </a:lnTo>
                  <a:lnTo>
                    <a:pt x="2407" y="2358"/>
                  </a:lnTo>
                  <a:lnTo>
                    <a:pt x="2369" y="2374"/>
                  </a:lnTo>
                  <a:lnTo>
                    <a:pt x="2379" y="2362"/>
                  </a:lnTo>
                  <a:lnTo>
                    <a:pt x="2391" y="2379"/>
                  </a:lnTo>
                  <a:lnTo>
                    <a:pt x="2379" y="2384"/>
                  </a:lnTo>
                  <a:lnTo>
                    <a:pt x="2374" y="2384"/>
                  </a:lnTo>
                  <a:lnTo>
                    <a:pt x="2369" y="2362"/>
                  </a:lnTo>
                  <a:lnTo>
                    <a:pt x="2369" y="2346"/>
                  </a:lnTo>
                  <a:lnTo>
                    <a:pt x="2395" y="2329"/>
                  </a:lnTo>
                  <a:lnTo>
                    <a:pt x="2395" y="2341"/>
                  </a:lnTo>
                  <a:lnTo>
                    <a:pt x="2407" y="2317"/>
                  </a:lnTo>
                  <a:lnTo>
                    <a:pt x="2428" y="2308"/>
                  </a:lnTo>
                  <a:lnTo>
                    <a:pt x="2433" y="2284"/>
                  </a:lnTo>
                  <a:lnTo>
                    <a:pt x="2462" y="2284"/>
                  </a:lnTo>
                  <a:lnTo>
                    <a:pt x="2476" y="2284"/>
                  </a:lnTo>
                  <a:lnTo>
                    <a:pt x="2483" y="2301"/>
                  </a:lnTo>
                  <a:lnTo>
                    <a:pt x="2476" y="2308"/>
                  </a:lnTo>
                  <a:lnTo>
                    <a:pt x="2483" y="2301"/>
                  </a:lnTo>
                  <a:lnTo>
                    <a:pt x="2488" y="2308"/>
                  </a:lnTo>
                  <a:lnTo>
                    <a:pt x="2462" y="2324"/>
                  </a:lnTo>
                  <a:lnTo>
                    <a:pt x="2450" y="2317"/>
                  </a:lnTo>
                  <a:lnTo>
                    <a:pt x="2462" y="2324"/>
                  </a:lnTo>
                  <a:lnTo>
                    <a:pt x="2483" y="2317"/>
                  </a:lnTo>
                  <a:lnTo>
                    <a:pt x="2499" y="2329"/>
                  </a:lnTo>
                  <a:lnTo>
                    <a:pt x="2483" y="2317"/>
                  </a:lnTo>
                  <a:lnTo>
                    <a:pt x="2488" y="2317"/>
                  </a:lnTo>
                  <a:lnTo>
                    <a:pt x="2499" y="2324"/>
                  </a:lnTo>
                  <a:lnTo>
                    <a:pt x="2483" y="2346"/>
                  </a:lnTo>
                  <a:lnTo>
                    <a:pt x="2499" y="2358"/>
                  </a:lnTo>
                  <a:lnTo>
                    <a:pt x="2521" y="2308"/>
                  </a:lnTo>
                  <a:lnTo>
                    <a:pt x="2504" y="2329"/>
                  </a:lnTo>
                  <a:lnTo>
                    <a:pt x="2504" y="2301"/>
                  </a:lnTo>
                  <a:lnTo>
                    <a:pt x="2530" y="2272"/>
                  </a:lnTo>
                  <a:lnTo>
                    <a:pt x="2542" y="2268"/>
                  </a:lnTo>
                  <a:lnTo>
                    <a:pt x="2530" y="2268"/>
                  </a:lnTo>
                  <a:lnTo>
                    <a:pt x="2513" y="2272"/>
                  </a:lnTo>
                  <a:lnTo>
                    <a:pt x="2521" y="2251"/>
                  </a:lnTo>
                  <a:lnTo>
                    <a:pt x="2537" y="2235"/>
                  </a:lnTo>
                  <a:lnTo>
                    <a:pt x="2551" y="2251"/>
                  </a:lnTo>
                  <a:lnTo>
                    <a:pt x="2568" y="2247"/>
                  </a:lnTo>
                  <a:lnTo>
                    <a:pt x="2537" y="2230"/>
                  </a:lnTo>
                  <a:lnTo>
                    <a:pt x="2521" y="2235"/>
                  </a:lnTo>
                  <a:lnTo>
                    <a:pt x="2521" y="2230"/>
                  </a:lnTo>
                  <a:lnTo>
                    <a:pt x="2537" y="2218"/>
                  </a:lnTo>
                  <a:lnTo>
                    <a:pt x="2530" y="2206"/>
                  </a:lnTo>
                  <a:lnTo>
                    <a:pt x="2568" y="2190"/>
                  </a:lnTo>
                  <a:lnTo>
                    <a:pt x="2584" y="2161"/>
                  </a:lnTo>
                  <a:lnTo>
                    <a:pt x="2584" y="2157"/>
                  </a:lnTo>
                  <a:lnTo>
                    <a:pt x="2575" y="2161"/>
                  </a:lnTo>
                  <a:lnTo>
                    <a:pt x="2537" y="2135"/>
                  </a:lnTo>
                  <a:lnTo>
                    <a:pt x="2551" y="2102"/>
                  </a:lnTo>
                  <a:lnTo>
                    <a:pt x="2568" y="2102"/>
                  </a:lnTo>
                  <a:lnTo>
                    <a:pt x="2568" y="2095"/>
                  </a:lnTo>
                  <a:lnTo>
                    <a:pt x="2551" y="2095"/>
                  </a:lnTo>
                  <a:lnTo>
                    <a:pt x="2542" y="2069"/>
                  </a:lnTo>
                  <a:lnTo>
                    <a:pt x="2551" y="2062"/>
                  </a:lnTo>
                  <a:lnTo>
                    <a:pt x="2558" y="2053"/>
                  </a:lnTo>
                  <a:lnTo>
                    <a:pt x="2568" y="2041"/>
                  </a:lnTo>
                  <a:lnTo>
                    <a:pt x="2575" y="2041"/>
                  </a:lnTo>
                  <a:lnTo>
                    <a:pt x="2568" y="1996"/>
                  </a:lnTo>
                  <a:lnTo>
                    <a:pt x="2568" y="1991"/>
                  </a:lnTo>
                  <a:lnTo>
                    <a:pt x="2589" y="1996"/>
                  </a:lnTo>
                  <a:lnTo>
                    <a:pt x="2568" y="1968"/>
                  </a:lnTo>
                  <a:lnTo>
                    <a:pt x="2584" y="1958"/>
                  </a:lnTo>
                  <a:lnTo>
                    <a:pt x="2596" y="1984"/>
                  </a:lnTo>
                  <a:lnTo>
                    <a:pt x="2589" y="1942"/>
                  </a:lnTo>
                  <a:lnTo>
                    <a:pt x="2575" y="1942"/>
                  </a:lnTo>
                  <a:lnTo>
                    <a:pt x="2568" y="1935"/>
                  </a:lnTo>
                  <a:lnTo>
                    <a:pt x="2575" y="1930"/>
                  </a:lnTo>
                  <a:lnTo>
                    <a:pt x="2596" y="1918"/>
                  </a:lnTo>
                  <a:lnTo>
                    <a:pt x="2606" y="1897"/>
                  </a:lnTo>
                  <a:lnTo>
                    <a:pt x="2596" y="1918"/>
                  </a:lnTo>
                  <a:lnTo>
                    <a:pt x="2584" y="1918"/>
                  </a:lnTo>
                  <a:lnTo>
                    <a:pt x="2558" y="1902"/>
                  </a:lnTo>
                  <a:lnTo>
                    <a:pt x="2551" y="1902"/>
                  </a:lnTo>
                  <a:lnTo>
                    <a:pt x="2551" y="1918"/>
                  </a:lnTo>
                  <a:lnTo>
                    <a:pt x="2537" y="1930"/>
                  </a:lnTo>
                  <a:lnTo>
                    <a:pt x="2504" y="1930"/>
                  </a:lnTo>
                  <a:lnTo>
                    <a:pt x="2521" y="1902"/>
                  </a:lnTo>
                  <a:lnTo>
                    <a:pt x="2504" y="1913"/>
                  </a:lnTo>
                  <a:lnTo>
                    <a:pt x="2488" y="1902"/>
                  </a:lnTo>
                  <a:lnTo>
                    <a:pt x="2483" y="1857"/>
                  </a:lnTo>
                  <a:lnTo>
                    <a:pt x="2504" y="1819"/>
                  </a:lnTo>
                  <a:lnTo>
                    <a:pt x="2504" y="1791"/>
                  </a:lnTo>
                  <a:lnTo>
                    <a:pt x="2504" y="1786"/>
                  </a:lnTo>
                  <a:lnTo>
                    <a:pt x="2504" y="1774"/>
                  </a:lnTo>
                  <a:lnTo>
                    <a:pt x="2530" y="1769"/>
                  </a:lnTo>
                  <a:lnTo>
                    <a:pt x="2537" y="1729"/>
                  </a:lnTo>
                  <a:lnTo>
                    <a:pt x="2513" y="1642"/>
                  </a:lnTo>
                  <a:lnTo>
                    <a:pt x="2521" y="1609"/>
                  </a:lnTo>
                  <a:lnTo>
                    <a:pt x="2504" y="1585"/>
                  </a:lnTo>
                  <a:lnTo>
                    <a:pt x="2513" y="1564"/>
                  </a:lnTo>
                  <a:lnTo>
                    <a:pt x="2504" y="1552"/>
                  </a:lnTo>
                  <a:lnTo>
                    <a:pt x="2513" y="1535"/>
                  </a:lnTo>
                  <a:lnTo>
                    <a:pt x="2530" y="1535"/>
                  </a:lnTo>
                  <a:lnTo>
                    <a:pt x="2542" y="1531"/>
                  </a:lnTo>
                  <a:lnTo>
                    <a:pt x="2542" y="1498"/>
                  </a:lnTo>
                  <a:lnTo>
                    <a:pt x="2551" y="1498"/>
                  </a:lnTo>
                  <a:lnTo>
                    <a:pt x="2568" y="1436"/>
                  </a:lnTo>
                  <a:lnTo>
                    <a:pt x="2584" y="1424"/>
                  </a:lnTo>
                  <a:lnTo>
                    <a:pt x="2584" y="1403"/>
                  </a:lnTo>
                  <a:lnTo>
                    <a:pt x="2606" y="1363"/>
                  </a:lnTo>
                  <a:lnTo>
                    <a:pt x="2627" y="1309"/>
                  </a:lnTo>
                  <a:lnTo>
                    <a:pt x="2622" y="1287"/>
                  </a:lnTo>
                  <a:lnTo>
                    <a:pt x="2639" y="1259"/>
                  </a:lnTo>
                  <a:lnTo>
                    <a:pt x="2651" y="1252"/>
                  </a:lnTo>
                  <a:lnTo>
                    <a:pt x="2643" y="1202"/>
                  </a:lnTo>
                  <a:lnTo>
                    <a:pt x="2651" y="1198"/>
                  </a:lnTo>
                  <a:lnTo>
                    <a:pt x="2665" y="1165"/>
                  </a:lnTo>
                  <a:lnTo>
                    <a:pt x="2665" y="1148"/>
                  </a:lnTo>
                  <a:lnTo>
                    <a:pt x="2660" y="1136"/>
                  </a:lnTo>
                  <a:lnTo>
                    <a:pt x="2660" y="1091"/>
                  </a:lnTo>
                  <a:lnTo>
                    <a:pt x="2643" y="1013"/>
                  </a:lnTo>
                  <a:lnTo>
                    <a:pt x="2643" y="980"/>
                  </a:lnTo>
                  <a:lnTo>
                    <a:pt x="2665" y="976"/>
                  </a:lnTo>
                  <a:lnTo>
                    <a:pt x="2676" y="954"/>
                  </a:lnTo>
                  <a:lnTo>
                    <a:pt x="2676" y="914"/>
                  </a:lnTo>
                  <a:lnTo>
                    <a:pt x="2660" y="898"/>
                  </a:lnTo>
                  <a:lnTo>
                    <a:pt x="2660" y="869"/>
                  </a:lnTo>
                  <a:lnTo>
                    <a:pt x="2681" y="827"/>
                  </a:lnTo>
                  <a:lnTo>
                    <a:pt x="2693" y="787"/>
                  </a:lnTo>
                  <a:lnTo>
                    <a:pt x="2698" y="770"/>
                  </a:lnTo>
                  <a:lnTo>
                    <a:pt x="2698" y="737"/>
                  </a:lnTo>
                  <a:lnTo>
                    <a:pt x="2702" y="721"/>
                  </a:lnTo>
                  <a:lnTo>
                    <a:pt x="2702" y="716"/>
                  </a:lnTo>
                  <a:lnTo>
                    <a:pt x="2719" y="666"/>
                  </a:lnTo>
                  <a:lnTo>
                    <a:pt x="2719" y="643"/>
                  </a:lnTo>
                  <a:lnTo>
                    <a:pt x="2714" y="626"/>
                  </a:lnTo>
                  <a:lnTo>
                    <a:pt x="2736" y="593"/>
                  </a:lnTo>
                  <a:lnTo>
                    <a:pt x="2719" y="548"/>
                  </a:lnTo>
                  <a:lnTo>
                    <a:pt x="2731" y="482"/>
                  </a:lnTo>
                  <a:lnTo>
                    <a:pt x="2736" y="461"/>
                  </a:lnTo>
                  <a:lnTo>
                    <a:pt x="2731" y="454"/>
                  </a:lnTo>
                  <a:lnTo>
                    <a:pt x="2719" y="454"/>
                  </a:lnTo>
                  <a:lnTo>
                    <a:pt x="2719" y="421"/>
                  </a:lnTo>
                  <a:lnTo>
                    <a:pt x="2736" y="421"/>
                  </a:lnTo>
                  <a:lnTo>
                    <a:pt x="2747" y="404"/>
                  </a:lnTo>
                  <a:lnTo>
                    <a:pt x="2752" y="317"/>
                  </a:lnTo>
                  <a:lnTo>
                    <a:pt x="2757" y="293"/>
                  </a:lnTo>
                  <a:lnTo>
                    <a:pt x="2752" y="250"/>
                  </a:lnTo>
                  <a:lnTo>
                    <a:pt x="2757" y="189"/>
                  </a:lnTo>
                  <a:lnTo>
                    <a:pt x="2747" y="104"/>
                  </a:lnTo>
                  <a:lnTo>
                    <a:pt x="2747" y="71"/>
                  </a:lnTo>
                  <a:lnTo>
                    <a:pt x="2736" y="66"/>
                  </a:lnTo>
                  <a:lnTo>
                    <a:pt x="2736" y="66"/>
                  </a:lnTo>
                  <a:lnTo>
                    <a:pt x="2736" y="66"/>
                  </a:lnTo>
                  <a:close/>
                  <a:moveTo>
                    <a:pt x="0" y="737"/>
                  </a:moveTo>
                  <a:lnTo>
                    <a:pt x="0" y="732"/>
                  </a:lnTo>
                  <a:lnTo>
                    <a:pt x="17" y="732"/>
                  </a:lnTo>
                  <a:lnTo>
                    <a:pt x="0" y="737"/>
                  </a:lnTo>
                  <a:lnTo>
                    <a:pt x="0" y="737"/>
                  </a:lnTo>
                  <a:lnTo>
                    <a:pt x="0" y="737"/>
                  </a:lnTo>
                  <a:close/>
                  <a:moveTo>
                    <a:pt x="2138" y="1252"/>
                  </a:moveTo>
                  <a:lnTo>
                    <a:pt x="2143" y="1247"/>
                  </a:lnTo>
                  <a:lnTo>
                    <a:pt x="2152" y="1247"/>
                  </a:lnTo>
                  <a:lnTo>
                    <a:pt x="2138" y="1252"/>
                  </a:lnTo>
                  <a:lnTo>
                    <a:pt x="2138" y="1252"/>
                  </a:lnTo>
                  <a:lnTo>
                    <a:pt x="2138" y="1252"/>
                  </a:lnTo>
                  <a:close/>
                  <a:moveTo>
                    <a:pt x="2513" y="2029"/>
                  </a:moveTo>
                  <a:lnTo>
                    <a:pt x="2521" y="2046"/>
                  </a:lnTo>
                  <a:lnTo>
                    <a:pt x="2499" y="2046"/>
                  </a:lnTo>
                  <a:lnTo>
                    <a:pt x="2504" y="2069"/>
                  </a:lnTo>
                  <a:lnTo>
                    <a:pt x="2462" y="2053"/>
                  </a:lnTo>
                  <a:lnTo>
                    <a:pt x="2476" y="2024"/>
                  </a:lnTo>
                  <a:lnTo>
                    <a:pt x="2476" y="1996"/>
                  </a:lnTo>
                  <a:lnTo>
                    <a:pt x="2466" y="1991"/>
                  </a:lnTo>
                  <a:lnTo>
                    <a:pt x="2476" y="1968"/>
                  </a:lnTo>
                  <a:lnTo>
                    <a:pt x="2483" y="1951"/>
                  </a:lnTo>
                  <a:lnTo>
                    <a:pt x="2483" y="1930"/>
                  </a:lnTo>
                  <a:lnTo>
                    <a:pt x="2488" y="1930"/>
                  </a:lnTo>
                  <a:lnTo>
                    <a:pt x="2483" y="1935"/>
                  </a:lnTo>
                  <a:lnTo>
                    <a:pt x="2488" y="1935"/>
                  </a:lnTo>
                  <a:lnTo>
                    <a:pt x="2504" y="1930"/>
                  </a:lnTo>
                  <a:lnTo>
                    <a:pt x="2521" y="1935"/>
                  </a:lnTo>
                  <a:lnTo>
                    <a:pt x="2521" y="1942"/>
                  </a:lnTo>
                  <a:lnTo>
                    <a:pt x="2521" y="1951"/>
                  </a:lnTo>
                  <a:lnTo>
                    <a:pt x="2521" y="1958"/>
                  </a:lnTo>
                  <a:lnTo>
                    <a:pt x="2530" y="1968"/>
                  </a:lnTo>
                  <a:lnTo>
                    <a:pt x="2530" y="1975"/>
                  </a:lnTo>
                  <a:lnTo>
                    <a:pt x="2504" y="1975"/>
                  </a:lnTo>
                  <a:lnTo>
                    <a:pt x="2513" y="1991"/>
                  </a:lnTo>
                  <a:lnTo>
                    <a:pt x="2504" y="1991"/>
                  </a:lnTo>
                  <a:lnTo>
                    <a:pt x="2499" y="1984"/>
                  </a:lnTo>
                  <a:lnTo>
                    <a:pt x="2499" y="1991"/>
                  </a:lnTo>
                  <a:lnTo>
                    <a:pt x="2499" y="1996"/>
                  </a:lnTo>
                  <a:lnTo>
                    <a:pt x="2521" y="2013"/>
                  </a:lnTo>
                  <a:lnTo>
                    <a:pt x="2521" y="2024"/>
                  </a:lnTo>
                  <a:lnTo>
                    <a:pt x="2504" y="2024"/>
                  </a:lnTo>
                  <a:lnTo>
                    <a:pt x="2513" y="2029"/>
                  </a:lnTo>
                  <a:lnTo>
                    <a:pt x="2513" y="2029"/>
                  </a:lnTo>
                  <a:lnTo>
                    <a:pt x="2513" y="2029"/>
                  </a:lnTo>
                  <a:close/>
                  <a:moveTo>
                    <a:pt x="2589" y="1958"/>
                  </a:moveTo>
                  <a:lnTo>
                    <a:pt x="2584" y="1958"/>
                  </a:lnTo>
                  <a:lnTo>
                    <a:pt x="2589" y="1951"/>
                  </a:lnTo>
                  <a:lnTo>
                    <a:pt x="2589" y="1958"/>
                  </a:lnTo>
                  <a:lnTo>
                    <a:pt x="2589" y="1958"/>
                  </a:lnTo>
                  <a:lnTo>
                    <a:pt x="2589" y="1958"/>
                  </a:lnTo>
                  <a:close/>
                  <a:moveTo>
                    <a:pt x="2542" y="1975"/>
                  </a:moveTo>
                  <a:lnTo>
                    <a:pt x="2542" y="1968"/>
                  </a:lnTo>
                  <a:lnTo>
                    <a:pt x="2551" y="1968"/>
                  </a:lnTo>
                  <a:lnTo>
                    <a:pt x="2542" y="1975"/>
                  </a:lnTo>
                  <a:lnTo>
                    <a:pt x="2542" y="1975"/>
                  </a:lnTo>
                  <a:lnTo>
                    <a:pt x="2542" y="1975"/>
                  </a:lnTo>
                  <a:close/>
                  <a:moveTo>
                    <a:pt x="2521" y="1996"/>
                  </a:moveTo>
                  <a:lnTo>
                    <a:pt x="2504" y="1984"/>
                  </a:lnTo>
                  <a:lnTo>
                    <a:pt x="2521" y="1984"/>
                  </a:lnTo>
                  <a:lnTo>
                    <a:pt x="2521" y="1996"/>
                  </a:lnTo>
                  <a:lnTo>
                    <a:pt x="2521" y="1996"/>
                  </a:lnTo>
                  <a:lnTo>
                    <a:pt x="2521" y="1996"/>
                  </a:lnTo>
                  <a:close/>
                  <a:moveTo>
                    <a:pt x="2513" y="1996"/>
                  </a:moveTo>
                  <a:lnTo>
                    <a:pt x="2504" y="1996"/>
                  </a:lnTo>
                  <a:lnTo>
                    <a:pt x="2513" y="1996"/>
                  </a:lnTo>
                  <a:lnTo>
                    <a:pt x="2513" y="1996"/>
                  </a:lnTo>
                  <a:lnTo>
                    <a:pt x="2513" y="1996"/>
                  </a:lnTo>
                  <a:close/>
                  <a:moveTo>
                    <a:pt x="2428" y="2095"/>
                  </a:moveTo>
                  <a:lnTo>
                    <a:pt x="2424" y="2086"/>
                  </a:lnTo>
                  <a:lnTo>
                    <a:pt x="2445" y="2086"/>
                  </a:lnTo>
                  <a:lnTo>
                    <a:pt x="2428" y="2095"/>
                  </a:lnTo>
                  <a:lnTo>
                    <a:pt x="2428" y="2095"/>
                  </a:lnTo>
                  <a:lnTo>
                    <a:pt x="2428" y="2095"/>
                  </a:lnTo>
                  <a:close/>
                  <a:moveTo>
                    <a:pt x="2483" y="2119"/>
                  </a:moveTo>
                  <a:lnTo>
                    <a:pt x="2476" y="2107"/>
                  </a:lnTo>
                  <a:lnTo>
                    <a:pt x="2476" y="2102"/>
                  </a:lnTo>
                  <a:lnTo>
                    <a:pt x="2499" y="2102"/>
                  </a:lnTo>
                  <a:lnTo>
                    <a:pt x="2499" y="2107"/>
                  </a:lnTo>
                  <a:lnTo>
                    <a:pt x="2488" y="2107"/>
                  </a:lnTo>
                  <a:lnTo>
                    <a:pt x="2483" y="2119"/>
                  </a:lnTo>
                  <a:lnTo>
                    <a:pt x="2483" y="2119"/>
                  </a:lnTo>
                  <a:lnTo>
                    <a:pt x="2483" y="2119"/>
                  </a:lnTo>
                  <a:close/>
                  <a:moveTo>
                    <a:pt x="2542" y="2124"/>
                  </a:moveTo>
                  <a:lnTo>
                    <a:pt x="2537" y="2119"/>
                  </a:lnTo>
                  <a:lnTo>
                    <a:pt x="2537" y="2107"/>
                  </a:lnTo>
                  <a:lnTo>
                    <a:pt x="2542" y="2107"/>
                  </a:lnTo>
                  <a:lnTo>
                    <a:pt x="2542" y="2124"/>
                  </a:lnTo>
                  <a:lnTo>
                    <a:pt x="2542" y="2124"/>
                  </a:lnTo>
                  <a:lnTo>
                    <a:pt x="2542" y="2124"/>
                  </a:lnTo>
                  <a:close/>
                  <a:moveTo>
                    <a:pt x="2504" y="2135"/>
                  </a:moveTo>
                  <a:lnTo>
                    <a:pt x="2504" y="2119"/>
                  </a:lnTo>
                  <a:lnTo>
                    <a:pt x="2513" y="2124"/>
                  </a:lnTo>
                  <a:lnTo>
                    <a:pt x="2504" y="2135"/>
                  </a:lnTo>
                  <a:lnTo>
                    <a:pt x="2504" y="2135"/>
                  </a:lnTo>
                  <a:lnTo>
                    <a:pt x="2504" y="2135"/>
                  </a:lnTo>
                  <a:close/>
                  <a:moveTo>
                    <a:pt x="2488" y="2140"/>
                  </a:moveTo>
                  <a:lnTo>
                    <a:pt x="2483" y="2135"/>
                  </a:lnTo>
                  <a:lnTo>
                    <a:pt x="2488" y="2135"/>
                  </a:lnTo>
                  <a:lnTo>
                    <a:pt x="2488" y="2140"/>
                  </a:lnTo>
                  <a:lnTo>
                    <a:pt x="2488" y="2140"/>
                  </a:lnTo>
                  <a:lnTo>
                    <a:pt x="2488" y="2140"/>
                  </a:lnTo>
                  <a:close/>
                  <a:moveTo>
                    <a:pt x="2462" y="2140"/>
                  </a:moveTo>
                  <a:lnTo>
                    <a:pt x="2462" y="2135"/>
                  </a:lnTo>
                  <a:lnTo>
                    <a:pt x="2466" y="2135"/>
                  </a:lnTo>
                  <a:lnTo>
                    <a:pt x="2462" y="2140"/>
                  </a:lnTo>
                  <a:lnTo>
                    <a:pt x="2462" y="2140"/>
                  </a:lnTo>
                  <a:lnTo>
                    <a:pt x="2462" y="2140"/>
                  </a:lnTo>
                  <a:close/>
                  <a:moveTo>
                    <a:pt x="2483" y="2152"/>
                  </a:moveTo>
                  <a:lnTo>
                    <a:pt x="2476" y="2140"/>
                  </a:lnTo>
                  <a:lnTo>
                    <a:pt x="2483" y="2135"/>
                  </a:lnTo>
                  <a:lnTo>
                    <a:pt x="2488" y="2140"/>
                  </a:lnTo>
                  <a:lnTo>
                    <a:pt x="2483" y="2152"/>
                  </a:lnTo>
                  <a:lnTo>
                    <a:pt x="2483" y="2152"/>
                  </a:lnTo>
                  <a:lnTo>
                    <a:pt x="2483" y="2152"/>
                  </a:lnTo>
                  <a:close/>
                  <a:moveTo>
                    <a:pt x="2504" y="2152"/>
                  </a:moveTo>
                  <a:lnTo>
                    <a:pt x="2499" y="2140"/>
                  </a:lnTo>
                  <a:lnTo>
                    <a:pt x="2504" y="2140"/>
                  </a:lnTo>
                  <a:lnTo>
                    <a:pt x="2504" y="2152"/>
                  </a:lnTo>
                  <a:lnTo>
                    <a:pt x="2504" y="2152"/>
                  </a:lnTo>
                  <a:lnTo>
                    <a:pt x="2504" y="2152"/>
                  </a:lnTo>
                  <a:close/>
                  <a:moveTo>
                    <a:pt x="2499" y="2152"/>
                  </a:moveTo>
                  <a:lnTo>
                    <a:pt x="2488" y="2152"/>
                  </a:lnTo>
                  <a:lnTo>
                    <a:pt x="2499" y="2140"/>
                  </a:lnTo>
                  <a:lnTo>
                    <a:pt x="2499" y="2152"/>
                  </a:lnTo>
                  <a:lnTo>
                    <a:pt x="2499" y="2152"/>
                  </a:lnTo>
                  <a:lnTo>
                    <a:pt x="2499" y="2152"/>
                  </a:lnTo>
                  <a:close/>
                  <a:moveTo>
                    <a:pt x="2537" y="2157"/>
                  </a:moveTo>
                  <a:lnTo>
                    <a:pt x="2537" y="2152"/>
                  </a:lnTo>
                  <a:lnTo>
                    <a:pt x="2542" y="2157"/>
                  </a:lnTo>
                  <a:lnTo>
                    <a:pt x="2537" y="2157"/>
                  </a:lnTo>
                  <a:lnTo>
                    <a:pt x="2537" y="2157"/>
                  </a:lnTo>
                  <a:lnTo>
                    <a:pt x="2537" y="2157"/>
                  </a:lnTo>
                  <a:close/>
                  <a:moveTo>
                    <a:pt x="2488" y="2157"/>
                  </a:moveTo>
                  <a:lnTo>
                    <a:pt x="2476" y="2152"/>
                  </a:lnTo>
                  <a:lnTo>
                    <a:pt x="2488" y="2152"/>
                  </a:lnTo>
                  <a:lnTo>
                    <a:pt x="2488" y="2157"/>
                  </a:lnTo>
                  <a:lnTo>
                    <a:pt x="2488" y="2157"/>
                  </a:lnTo>
                  <a:lnTo>
                    <a:pt x="2488" y="2157"/>
                  </a:lnTo>
                  <a:close/>
                  <a:moveTo>
                    <a:pt x="2504" y="2157"/>
                  </a:moveTo>
                  <a:lnTo>
                    <a:pt x="2499" y="2157"/>
                  </a:lnTo>
                  <a:lnTo>
                    <a:pt x="2504" y="2152"/>
                  </a:lnTo>
                  <a:lnTo>
                    <a:pt x="2504" y="2157"/>
                  </a:lnTo>
                  <a:lnTo>
                    <a:pt x="2504" y="2157"/>
                  </a:lnTo>
                  <a:lnTo>
                    <a:pt x="2504" y="2157"/>
                  </a:lnTo>
                  <a:close/>
                  <a:moveTo>
                    <a:pt x="2568" y="2190"/>
                  </a:moveTo>
                  <a:lnTo>
                    <a:pt x="2537" y="2206"/>
                  </a:lnTo>
                  <a:lnTo>
                    <a:pt x="2530" y="2197"/>
                  </a:lnTo>
                  <a:lnTo>
                    <a:pt x="2537" y="2190"/>
                  </a:lnTo>
                  <a:lnTo>
                    <a:pt x="2530" y="2190"/>
                  </a:lnTo>
                  <a:lnTo>
                    <a:pt x="2521" y="2180"/>
                  </a:lnTo>
                  <a:lnTo>
                    <a:pt x="2537" y="2173"/>
                  </a:lnTo>
                  <a:lnTo>
                    <a:pt x="2537" y="2157"/>
                  </a:lnTo>
                  <a:lnTo>
                    <a:pt x="2551" y="2157"/>
                  </a:lnTo>
                  <a:lnTo>
                    <a:pt x="2575" y="2161"/>
                  </a:lnTo>
                  <a:lnTo>
                    <a:pt x="2568" y="2180"/>
                  </a:lnTo>
                  <a:lnTo>
                    <a:pt x="2551" y="2173"/>
                  </a:lnTo>
                  <a:lnTo>
                    <a:pt x="2568" y="2180"/>
                  </a:lnTo>
                  <a:lnTo>
                    <a:pt x="2568" y="2190"/>
                  </a:lnTo>
                  <a:lnTo>
                    <a:pt x="2568" y="2190"/>
                  </a:lnTo>
                  <a:lnTo>
                    <a:pt x="2568" y="2190"/>
                  </a:lnTo>
                  <a:close/>
                  <a:moveTo>
                    <a:pt x="2488" y="2161"/>
                  </a:moveTo>
                  <a:lnTo>
                    <a:pt x="2488" y="2157"/>
                  </a:lnTo>
                  <a:lnTo>
                    <a:pt x="2499" y="2157"/>
                  </a:lnTo>
                  <a:lnTo>
                    <a:pt x="2488" y="2161"/>
                  </a:lnTo>
                  <a:lnTo>
                    <a:pt x="2488" y="2161"/>
                  </a:lnTo>
                  <a:lnTo>
                    <a:pt x="2488" y="2161"/>
                  </a:lnTo>
                  <a:close/>
                  <a:moveTo>
                    <a:pt x="2462" y="2173"/>
                  </a:moveTo>
                  <a:lnTo>
                    <a:pt x="2445" y="2161"/>
                  </a:lnTo>
                  <a:lnTo>
                    <a:pt x="2462" y="2157"/>
                  </a:lnTo>
                  <a:lnTo>
                    <a:pt x="2466" y="2161"/>
                  </a:lnTo>
                  <a:lnTo>
                    <a:pt x="2462" y="2173"/>
                  </a:lnTo>
                  <a:lnTo>
                    <a:pt x="2462" y="2173"/>
                  </a:lnTo>
                  <a:lnTo>
                    <a:pt x="2462" y="2173"/>
                  </a:lnTo>
                  <a:close/>
                  <a:moveTo>
                    <a:pt x="2483" y="2173"/>
                  </a:moveTo>
                  <a:lnTo>
                    <a:pt x="2476" y="2157"/>
                  </a:lnTo>
                  <a:lnTo>
                    <a:pt x="2488" y="2161"/>
                  </a:lnTo>
                  <a:lnTo>
                    <a:pt x="2488" y="2173"/>
                  </a:lnTo>
                  <a:lnTo>
                    <a:pt x="2483" y="2173"/>
                  </a:lnTo>
                  <a:lnTo>
                    <a:pt x="2483" y="2173"/>
                  </a:lnTo>
                  <a:lnTo>
                    <a:pt x="2483" y="2173"/>
                  </a:lnTo>
                  <a:close/>
                  <a:moveTo>
                    <a:pt x="2462" y="2173"/>
                  </a:moveTo>
                  <a:lnTo>
                    <a:pt x="2462" y="2161"/>
                  </a:lnTo>
                  <a:lnTo>
                    <a:pt x="2466" y="2161"/>
                  </a:lnTo>
                  <a:lnTo>
                    <a:pt x="2476" y="2173"/>
                  </a:lnTo>
                  <a:lnTo>
                    <a:pt x="2462" y="2173"/>
                  </a:lnTo>
                  <a:lnTo>
                    <a:pt x="2462" y="2173"/>
                  </a:lnTo>
                  <a:lnTo>
                    <a:pt x="2462" y="2173"/>
                  </a:lnTo>
                  <a:close/>
                  <a:moveTo>
                    <a:pt x="2504" y="2190"/>
                  </a:moveTo>
                  <a:lnTo>
                    <a:pt x="2499" y="2173"/>
                  </a:lnTo>
                  <a:lnTo>
                    <a:pt x="2504" y="2173"/>
                  </a:lnTo>
                  <a:lnTo>
                    <a:pt x="2513" y="2180"/>
                  </a:lnTo>
                  <a:lnTo>
                    <a:pt x="2504" y="2190"/>
                  </a:lnTo>
                  <a:lnTo>
                    <a:pt x="2504" y="2190"/>
                  </a:lnTo>
                  <a:lnTo>
                    <a:pt x="2504" y="2190"/>
                  </a:lnTo>
                  <a:close/>
                  <a:moveTo>
                    <a:pt x="2428" y="2180"/>
                  </a:moveTo>
                  <a:lnTo>
                    <a:pt x="2428" y="2173"/>
                  </a:lnTo>
                  <a:lnTo>
                    <a:pt x="2433" y="2173"/>
                  </a:lnTo>
                  <a:lnTo>
                    <a:pt x="2428" y="2180"/>
                  </a:lnTo>
                  <a:lnTo>
                    <a:pt x="2428" y="2180"/>
                  </a:lnTo>
                  <a:lnTo>
                    <a:pt x="2428" y="2180"/>
                  </a:lnTo>
                  <a:close/>
                  <a:moveTo>
                    <a:pt x="2466" y="2190"/>
                  </a:moveTo>
                  <a:lnTo>
                    <a:pt x="2462" y="2180"/>
                  </a:lnTo>
                  <a:lnTo>
                    <a:pt x="2483" y="2173"/>
                  </a:lnTo>
                  <a:lnTo>
                    <a:pt x="2488" y="2180"/>
                  </a:lnTo>
                  <a:lnTo>
                    <a:pt x="2466" y="2190"/>
                  </a:lnTo>
                  <a:lnTo>
                    <a:pt x="2466" y="2190"/>
                  </a:lnTo>
                  <a:lnTo>
                    <a:pt x="2466" y="2190"/>
                  </a:lnTo>
                  <a:close/>
                  <a:moveTo>
                    <a:pt x="2450" y="2180"/>
                  </a:moveTo>
                  <a:lnTo>
                    <a:pt x="2433" y="2180"/>
                  </a:lnTo>
                  <a:lnTo>
                    <a:pt x="2445" y="2173"/>
                  </a:lnTo>
                  <a:lnTo>
                    <a:pt x="2450" y="2180"/>
                  </a:lnTo>
                  <a:lnTo>
                    <a:pt x="2450" y="2180"/>
                  </a:lnTo>
                  <a:lnTo>
                    <a:pt x="2450" y="2180"/>
                  </a:lnTo>
                  <a:close/>
                  <a:moveTo>
                    <a:pt x="2462" y="2197"/>
                  </a:moveTo>
                  <a:lnTo>
                    <a:pt x="2445" y="2190"/>
                  </a:lnTo>
                  <a:lnTo>
                    <a:pt x="2450" y="2190"/>
                  </a:lnTo>
                  <a:lnTo>
                    <a:pt x="2462" y="2197"/>
                  </a:lnTo>
                  <a:lnTo>
                    <a:pt x="2462" y="2197"/>
                  </a:lnTo>
                  <a:lnTo>
                    <a:pt x="2462" y="2197"/>
                  </a:lnTo>
                  <a:close/>
                  <a:moveTo>
                    <a:pt x="2504" y="2197"/>
                  </a:moveTo>
                  <a:lnTo>
                    <a:pt x="2504" y="2190"/>
                  </a:lnTo>
                  <a:lnTo>
                    <a:pt x="2513" y="2190"/>
                  </a:lnTo>
                  <a:lnTo>
                    <a:pt x="2504" y="2197"/>
                  </a:lnTo>
                  <a:lnTo>
                    <a:pt x="2504" y="2197"/>
                  </a:lnTo>
                  <a:lnTo>
                    <a:pt x="2504" y="2197"/>
                  </a:lnTo>
                  <a:close/>
                  <a:moveTo>
                    <a:pt x="2499" y="2206"/>
                  </a:moveTo>
                  <a:lnTo>
                    <a:pt x="2488" y="2197"/>
                  </a:lnTo>
                  <a:lnTo>
                    <a:pt x="2488" y="2190"/>
                  </a:lnTo>
                  <a:lnTo>
                    <a:pt x="2499" y="2206"/>
                  </a:lnTo>
                  <a:lnTo>
                    <a:pt x="2499" y="2206"/>
                  </a:lnTo>
                  <a:lnTo>
                    <a:pt x="2499" y="2206"/>
                  </a:lnTo>
                  <a:close/>
                  <a:moveTo>
                    <a:pt x="2483" y="2197"/>
                  </a:moveTo>
                  <a:lnTo>
                    <a:pt x="2476" y="2197"/>
                  </a:lnTo>
                  <a:lnTo>
                    <a:pt x="2488" y="2190"/>
                  </a:lnTo>
                  <a:lnTo>
                    <a:pt x="2483" y="2197"/>
                  </a:lnTo>
                  <a:lnTo>
                    <a:pt x="2483" y="2197"/>
                  </a:lnTo>
                  <a:lnTo>
                    <a:pt x="2483" y="2197"/>
                  </a:lnTo>
                  <a:close/>
                  <a:moveTo>
                    <a:pt x="2407" y="2206"/>
                  </a:moveTo>
                  <a:lnTo>
                    <a:pt x="2407" y="2197"/>
                  </a:lnTo>
                  <a:lnTo>
                    <a:pt x="2407" y="2190"/>
                  </a:lnTo>
                  <a:lnTo>
                    <a:pt x="2412" y="2197"/>
                  </a:lnTo>
                  <a:lnTo>
                    <a:pt x="2407" y="2206"/>
                  </a:lnTo>
                  <a:lnTo>
                    <a:pt x="2407" y="2206"/>
                  </a:lnTo>
                  <a:lnTo>
                    <a:pt x="2407" y="2206"/>
                  </a:lnTo>
                  <a:close/>
                  <a:moveTo>
                    <a:pt x="2466" y="2213"/>
                  </a:moveTo>
                  <a:lnTo>
                    <a:pt x="2462" y="2213"/>
                  </a:lnTo>
                  <a:lnTo>
                    <a:pt x="2476" y="2197"/>
                  </a:lnTo>
                  <a:lnTo>
                    <a:pt x="2488" y="2206"/>
                  </a:lnTo>
                  <a:lnTo>
                    <a:pt x="2466" y="2213"/>
                  </a:lnTo>
                  <a:lnTo>
                    <a:pt x="2466" y="2213"/>
                  </a:lnTo>
                  <a:lnTo>
                    <a:pt x="2466" y="2213"/>
                  </a:lnTo>
                  <a:close/>
                  <a:moveTo>
                    <a:pt x="2504" y="2235"/>
                  </a:moveTo>
                  <a:lnTo>
                    <a:pt x="2466" y="2230"/>
                  </a:lnTo>
                  <a:lnTo>
                    <a:pt x="2466" y="2218"/>
                  </a:lnTo>
                  <a:lnTo>
                    <a:pt x="2499" y="2213"/>
                  </a:lnTo>
                  <a:lnTo>
                    <a:pt x="2504" y="2218"/>
                  </a:lnTo>
                  <a:lnTo>
                    <a:pt x="2504" y="2235"/>
                  </a:lnTo>
                  <a:lnTo>
                    <a:pt x="2504" y="2235"/>
                  </a:lnTo>
                  <a:lnTo>
                    <a:pt x="2504" y="2235"/>
                  </a:lnTo>
                  <a:close/>
                  <a:moveTo>
                    <a:pt x="2462" y="2235"/>
                  </a:moveTo>
                  <a:lnTo>
                    <a:pt x="2450" y="2230"/>
                  </a:lnTo>
                  <a:lnTo>
                    <a:pt x="2462" y="2218"/>
                  </a:lnTo>
                  <a:lnTo>
                    <a:pt x="2466" y="2230"/>
                  </a:lnTo>
                  <a:lnTo>
                    <a:pt x="2462" y="2235"/>
                  </a:lnTo>
                  <a:lnTo>
                    <a:pt x="2462" y="2235"/>
                  </a:lnTo>
                  <a:lnTo>
                    <a:pt x="2462" y="2235"/>
                  </a:lnTo>
                  <a:close/>
                  <a:moveTo>
                    <a:pt x="2483" y="2247"/>
                  </a:moveTo>
                  <a:lnTo>
                    <a:pt x="2476" y="2230"/>
                  </a:lnTo>
                  <a:lnTo>
                    <a:pt x="2483" y="2230"/>
                  </a:lnTo>
                  <a:lnTo>
                    <a:pt x="2499" y="2235"/>
                  </a:lnTo>
                  <a:lnTo>
                    <a:pt x="2483" y="2247"/>
                  </a:lnTo>
                  <a:lnTo>
                    <a:pt x="2483" y="2247"/>
                  </a:lnTo>
                  <a:lnTo>
                    <a:pt x="2483" y="2247"/>
                  </a:lnTo>
                  <a:close/>
                  <a:moveTo>
                    <a:pt x="2462" y="2247"/>
                  </a:moveTo>
                  <a:lnTo>
                    <a:pt x="2445" y="2235"/>
                  </a:lnTo>
                  <a:lnTo>
                    <a:pt x="2462" y="2235"/>
                  </a:lnTo>
                  <a:lnTo>
                    <a:pt x="2462" y="2247"/>
                  </a:lnTo>
                  <a:lnTo>
                    <a:pt x="2462" y="2247"/>
                  </a:lnTo>
                  <a:lnTo>
                    <a:pt x="2462" y="2247"/>
                  </a:lnTo>
                  <a:close/>
                  <a:moveTo>
                    <a:pt x="2488" y="2251"/>
                  </a:moveTo>
                  <a:lnTo>
                    <a:pt x="2483" y="2247"/>
                  </a:lnTo>
                  <a:lnTo>
                    <a:pt x="2499" y="2247"/>
                  </a:lnTo>
                  <a:lnTo>
                    <a:pt x="2488" y="2251"/>
                  </a:lnTo>
                  <a:lnTo>
                    <a:pt x="2488" y="2251"/>
                  </a:lnTo>
                  <a:lnTo>
                    <a:pt x="2488" y="2251"/>
                  </a:lnTo>
                  <a:close/>
                  <a:moveTo>
                    <a:pt x="2450" y="2263"/>
                  </a:moveTo>
                  <a:lnTo>
                    <a:pt x="2445" y="2263"/>
                  </a:lnTo>
                  <a:lnTo>
                    <a:pt x="2450" y="2247"/>
                  </a:lnTo>
                  <a:lnTo>
                    <a:pt x="2450" y="2263"/>
                  </a:lnTo>
                  <a:lnTo>
                    <a:pt x="2450" y="2263"/>
                  </a:lnTo>
                  <a:lnTo>
                    <a:pt x="2450" y="2263"/>
                  </a:lnTo>
                  <a:close/>
                  <a:moveTo>
                    <a:pt x="2476" y="2263"/>
                  </a:moveTo>
                  <a:lnTo>
                    <a:pt x="2483" y="2247"/>
                  </a:lnTo>
                  <a:lnTo>
                    <a:pt x="2499" y="2251"/>
                  </a:lnTo>
                  <a:lnTo>
                    <a:pt x="2499" y="2263"/>
                  </a:lnTo>
                  <a:lnTo>
                    <a:pt x="2483" y="2251"/>
                  </a:lnTo>
                  <a:lnTo>
                    <a:pt x="2476" y="2263"/>
                  </a:lnTo>
                  <a:lnTo>
                    <a:pt x="2476" y="2263"/>
                  </a:lnTo>
                  <a:lnTo>
                    <a:pt x="2476" y="2263"/>
                  </a:lnTo>
                  <a:close/>
                  <a:moveTo>
                    <a:pt x="2504" y="2272"/>
                  </a:moveTo>
                  <a:lnTo>
                    <a:pt x="2499" y="2268"/>
                  </a:lnTo>
                  <a:lnTo>
                    <a:pt x="2504" y="2251"/>
                  </a:lnTo>
                  <a:lnTo>
                    <a:pt x="2513" y="2251"/>
                  </a:lnTo>
                  <a:lnTo>
                    <a:pt x="2504" y="2272"/>
                  </a:lnTo>
                  <a:lnTo>
                    <a:pt x="2504" y="2272"/>
                  </a:lnTo>
                  <a:lnTo>
                    <a:pt x="2504" y="2272"/>
                  </a:lnTo>
                  <a:close/>
                  <a:moveTo>
                    <a:pt x="2450" y="2272"/>
                  </a:moveTo>
                  <a:lnTo>
                    <a:pt x="2450" y="2263"/>
                  </a:lnTo>
                  <a:lnTo>
                    <a:pt x="2462" y="2251"/>
                  </a:lnTo>
                  <a:lnTo>
                    <a:pt x="2466" y="2268"/>
                  </a:lnTo>
                  <a:lnTo>
                    <a:pt x="2450" y="2272"/>
                  </a:lnTo>
                  <a:lnTo>
                    <a:pt x="2450" y="2272"/>
                  </a:lnTo>
                  <a:lnTo>
                    <a:pt x="2450" y="2272"/>
                  </a:lnTo>
                  <a:close/>
                  <a:moveTo>
                    <a:pt x="2483" y="2272"/>
                  </a:moveTo>
                  <a:lnTo>
                    <a:pt x="2476" y="2263"/>
                  </a:lnTo>
                  <a:lnTo>
                    <a:pt x="2483" y="2263"/>
                  </a:lnTo>
                  <a:lnTo>
                    <a:pt x="2488" y="2268"/>
                  </a:lnTo>
                  <a:lnTo>
                    <a:pt x="2483" y="2272"/>
                  </a:lnTo>
                  <a:lnTo>
                    <a:pt x="2483" y="2272"/>
                  </a:lnTo>
                  <a:lnTo>
                    <a:pt x="2483" y="2272"/>
                  </a:lnTo>
                  <a:close/>
                  <a:moveTo>
                    <a:pt x="2433" y="2272"/>
                  </a:moveTo>
                  <a:lnTo>
                    <a:pt x="2433" y="2268"/>
                  </a:lnTo>
                  <a:lnTo>
                    <a:pt x="2445" y="2263"/>
                  </a:lnTo>
                  <a:lnTo>
                    <a:pt x="2445" y="2272"/>
                  </a:lnTo>
                  <a:lnTo>
                    <a:pt x="2433" y="2272"/>
                  </a:lnTo>
                  <a:lnTo>
                    <a:pt x="2433" y="2272"/>
                  </a:lnTo>
                  <a:lnTo>
                    <a:pt x="2433" y="2272"/>
                  </a:lnTo>
                  <a:close/>
                  <a:moveTo>
                    <a:pt x="2483" y="2289"/>
                  </a:moveTo>
                  <a:lnTo>
                    <a:pt x="2476" y="2284"/>
                  </a:lnTo>
                  <a:lnTo>
                    <a:pt x="2483" y="2272"/>
                  </a:lnTo>
                  <a:lnTo>
                    <a:pt x="2488" y="2284"/>
                  </a:lnTo>
                  <a:lnTo>
                    <a:pt x="2483" y="2289"/>
                  </a:lnTo>
                  <a:lnTo>
                    <a:pt x="2483" y="2289"/>
                  </a:lnTo>
                  <a:lnTo>
                    <a:pt x="2483" y="2289"/>
                  </a:lnTo>
                  <a:close/>
                  <a:moveTo>
                    <a:pt x="2488" y="2301"/>
                  </a:moveTo>
                  <a:lnTo>
                    <a:pt x="2488" y="2289"/>
                  </a:lnTo>
                  <a:lnTo>
                    <a:pt x="2504" y="2284"/>
                  </a:lnTo>
                  <a:lnTo>
                    <a:pt x="2504" y="2289"/>
                  </a:lnTo>
                  <a:lnTo>
                    <a:pt x="2488" y="2301"/>
                  </a:lnTo>
                  <a:lnTo>
                    <a:pt x="2488" y="2301"/>
                  </a:lnTo>
                  <a:lnTo>
                    <a:pt x="2488" y="2301"/>
                  </a:lnTo>
                  <a:close/>
                  <a:moveTo>
                    <a:pt x="2412" y="2308"/>
                  </a:moveTo>
                  <a:lnTo>
                    <a:pt x="2407" y="2301"/>
                  </a:lnTo>
                  <a:lnTo>
                    <a:pt x="2424" y="2301"/>
                  </a:lnTo>
                  <a:lnTo>
                    <a:pt x="2412" y="2301"/>
                  </a:lnTo>
                  <a:lnTo>
                    <a:pt x="2407" y="2289"/>
                  </a:lnTo>
                  <a:lnTo>
                    <a:pt x="2424" y="2289"/>
                  </a:lnTo>
                  <a:lnTo>
                    <a:pt x="2433" y="2284"/>
                  </a:lnTo>
                  <a:lnTo>
                    <a:pt x="2428" y="2301"/>
                  </a:lnTo>
                  <a:lnTo>
                    <a:pt x="2412" y="2308"/>
                  </a:lnTo>
                  <a:lnTo>
                    <a:pt x="2412" y="2308"/>
                  </a:lnTo>
                  <a:lnTo>
                    <a:pt x="2412" y="2308"/>
                  </a:lnTo>
                  <a:close/>
                  <a:moveTo>
                    <a:pt x="2504" y="2301"/>
                  </a:moveTo>
                  <a:lnTo>
                    <a:pt x="2499" y="2301"/>
                  </a:lnTo>
                  <a:lnTo>
                    <a:pt x="2499" y="2289"/>
                  </a:lnTo>
                  <a:lnTo>
                    <a:pt x="2504" y="2301"/>
                  </a:lnTo>
                  <a:lnTo>
                    <a:pt x="2504" y="2301"/>
                  </a:lnTo>
                  <a:lnTo>
                    <a:pt x="2504" y="2301"/>
                  </a:lnTo>
                  <a:close/>
                  <a:moveTo>
                    <a:pt x="2499" y="2317"/>
                  </a:moveTo>
                  <a:lnTo>
                    <a:pt x="2488" y="2301"/>
                  </a:lnTo>
                  <a:lnTo>
                    <a:pt x="2504" y="2308"/>
                  </a:lnTo>
                  <a:lnTo>
                    <a:pt x="2499" y="2317"/>
                  </a:lnTo>
                  <a:lnTo>
                    <a:pt x="2499" y="2317"/>
                  </a:lnTo>
                  <a:lnTo>
                    <a:pt x="2499" y="2317"/>
                  </a:lnTo>
                  <a:close/>
                  <a:moveTo>
                    <a:pt x="2476" y="2400"/>
                  </a:moveTo>
                  <a:lnTo>
                    <a:pt x="2476" y="2395"/>
                  </a:lnTo>
                  <a:lnTo>
                    <a:pt x="2488" y="2395"/>
                  </a:lnTo>
                  <a:lnTo>
                    <a:pt x="2476" y="2400"/>
                  </a:lnTo>
                  <a:lnTo>
                    <a:pt x="2476" y="2400"/>
                  </a:lnTo>
                  <a:lnTo>
                    <a:pt x="2476" y="2400"/>
                  </a:lnTo>
                  <a:close/>
                  <a:moveTo>
                    <a:pt x="2450" y="2400"/>
                  </a:moveTo>
                  <a:lnTo>
                    <a:pt x="2450" y="2395"/>
                  </a:lnTo>
                  <a:lnTo>
                    <a:pt x="2462" y="2395"/>
                  </a:lnTo>
                  <a:lnTo>
                    <a:pt x="2450" y="2400"/>
                  </a:lnTo>
                  <a:lnTo>
                    <a:pt x="2450" y="2400"/>
                  </a:lnTo>
                  <a:lnTo>
                    <a:pt x="2450" y="2400"/>
                  </a:lnTo>
                  <a:close/>
                  <a:moveTo>
                    <a:pt x="2412" y="2457"/>
                  </a:moveTo>
                  <a:lnTo>
                    <a:pt x="2407" y="2452"/>
                  </a:lnTo>
                  <a:lnTo>
                    <a:pt x="2424" y="2457"/>
                  </a:lnTo>
                  <a:lnTo>
                    <a:pt x="2412" y="2457"/>
                  </a:lnTo>
                  <a:lnTo>
                    <a:pt x="2412" y="2457"/>
                  </a:lnTo>
                  <a:lnTo>
                    <a:pt x="2412" y="2457"/>
                  </a:lnTo>
                  <a:close/>
                  <a:moveTo>
                    <a:pt x="2407" y="2469"/>
                  </a:moveTo>
                  <a:lnTo>
                    <a:pt x="2391" y="2457"/>
                  </a:lnTo>
                  <a:lnTo>
                    <a:pt x="2407" y="2452"/>
                  </a:lnTo>
                  <a:lnTo>
                    <a:pt x="2412" y="2469"/>
                  </a:lnTo>
                  <a:lnTo>
                    <a:pt x="2407" y="2469"/>
                  </a:lnTo>
                  <a:lnTo>
                    <a:pt x="2407" y="2469"/>
                  </a:lnTo>
                  <a:lnTo>
                    <a:pt x="2407" y="2469"/>
                  </a:lnTo>
                  <a:close/>
                  <a:moveTo>
                    <a:pt x="2462" y="2485"/>
                  </a:moveTo>
                  <a:lnTo>
                    <a:pt x="2450" y="2473"/>
                  </a:lnTo>
                  <a:lnTo>
                    <a:pt x="2466" y="2469"/>
                  </a:lnTo>
                  <a:lnTo>
                    <a:pt x="2499" y="2473"/>
                  </a:lnTo>
                  <a:lnTo>
                    <a:pt x="2488" y="2473"/>
                  </a:lnTo>
                  <a:lnTo>
                    <a:pt x="2462" y="2485"/>
                  </a:lnTo>
                  <a:lnTo>
                    <a:pt x="2462" y="2485"/>
                  </a:lnTo>
                  <a:lnTo>
                    <a:pt x="2462" y="2485"/>
                  </a:lnTo>
                  <a:close/>
                  <a:moveTo>
                    <a:pt x="2424" y="2490"/>
                  </a:moveTo>
                  <a:lnTo>
                    <a:pt x="2412" y="2485"/>
                  </a:lnTo>
                  <a:lnTo>
                    <a:pt x="2395" y="2485"/>
                  </a:lnTo>
                  <a:lnTo>
                    <a:pt x="2428" y="2469"/>
                  </a:lnTo>
                  <a:lnTo>
                    <a:pt x="2428" y="2485"/>
                  </a:lnTo>
                  <a:lnTo>
                    <a:pt x="2424" y="2490"/>
                  </a:lnTo>
                  <a:lnTo>
                    <a:pt x="2424" y="2490"/>
                  </a:lnTo>
                  <a:lnTo>
                    <a:pt x="2424" y="2490"/>
                  </a:lnTo>
                  <a:close/>
                  <a:moveTo>
                    <a:pt x="2395" y="2544"/>
                  </a:moveTo>
                  <a:lnTo>
                    <a:pt x="2395" y="2539"/>
                  </a:lnTo>
                  <a:lnTo>
                    <a:pt x="2391" y="2523"/>
                  </a:lnTo>
                  <a:lnTo>
                    <a:pt x="2374" y="2523"/>
                  </a:lnTo>
                  <a:lnTo>
                    <a:pt x="2391" y="2506"/>
                  </a:lnTo>
                  <a:lnTo>
                    <a:pt x="2374" y="2511"/>
                  </a:lnTo>
                  <a:lnTo>
                    <a:pt x="2374" y="2490"/>
                  </a:lnTo>
                  <a:lnTo>
                    <a:pt x="2379" y="2485"/>
                  </a:lnTo>
                  <a:lnTo>
                    <a:pt x="2391" y="2485"/>
                  </a:lnTo>
                  <a:lnTo>
                    <a:pt x="2407" y="2528"/>
                  </a:lnTo>
                  <a:lnTo>
                    <a:pt x="2407" y="2539"/>
                  </a:lnTo>
                  <a:lnTo>
                    <a:pt x="2395" y="2544"/>
                  </a:lnTo>
                  <a:lnTo>
                    <a:pt x="2395" y="2544"/>
                  </a:lnTo>
                  <a:lnTo>
                    <a:pt x="2395" y="2544"/>
                  </a:lnTo>
                  <a:close/>
                  <a:moveTo>
                    <a:pt x="2412" y="2523"/>
                  </a:moveTo>
                  <a:lnTo>
                    <a:pt x="2395" y="2490"/>
                  </a:lnTo>
                  <a:lnTo>
                    <a:pt x="2428" y="2495"/>
                  </a:lnTo>
                  <a:lnTo>
                    <a:pt x="2428" y="2511"/>
                  </a:lnTo>
                  <a:lnTo>
                    <a:pt x="2412" y="2523"/>
                  </a:lnTo>
                  <a:lnTo>
                    <a:pt x="2412" y="2523"/>
                  </a:lnTo>
                  <a:lnTo>
                    <a:pt x="2412" y="2523"/>
                  </a:lnTo>
                  <a:close/>
                  <a:moveTo>
                    <a:pt x="2445" y="2511"/>
                  </a:moveTo>
                  <a:lnTo>
                    <a:pt x="2445" y="2506"/>
                  </a:lnTo>
                  <a:lnTo>
                    <a:pt x="2445" y="2490"/>
                  </a:lnTo>
                  <a:lnTo>
                    <a:pt x="2462" y="2506"/>
                  </a:lnTo>
                  <a:lnTo>
                    <a:pt x="2445" y="2511"/>
                  </a:lnTo>
                  <a:lnTo>
                    <a:pt x="2445" y="2511"/>
                  </a:lnTo>
                  <a:lnTo>
                    <a:pt x="2445" y="2511"/>
                  </a:lnTo>
                  <a:close/>
                  <a:moveTo>
                    <a:pt x="2445" y="2544"/>
                  </a:moveTo>
                  <a:lnTo>
                    <a:pt x="2412" y="2539"/>
                  </a:lnTo>
                  <a:lnTo>
                    <a:pt x="2412" y="2528"/>
                  </a:lnTo>
                  <a:lnTo>
                    <a:pt x="2424" y="2523"/>
                  </a:lnTo>
                  <a:lnTo>
                    <a:pt x="2433" y="2523"/>
                  </a:lnTo>
                  <a:lnTo>
                    <a:pt x="2428" y="2511"/>
                  </a:lnTo>
                  <a:lnTo>
                    <a:pt x="2433" y="2490"/>
                  </a:lnTo>
                  <a:lnTo>
                    <a:pt x="2445" y="2523"/>
                  </a:lnTo>
                  <a:lnTo>
                    <a:pt x="2445" y="2539"/>
                  </a:lnTo>
                  <a:lnTo>
                    <a:pt x="2450" y="2539"/>
                  </a:lnTo>
                  <a:lnTo>
                    <a:pt x="2445" y="2544"/>
                  </a:lnTo>
                  <a:lnTo>
                    <a:pt x="2445" y="2544"/>
                  </a:lnTo>
                  <a:lnTo>
                    <a:pt x="2445" y="2544"/>
                  </a:lnTo>
                  <a:close/>
                  <a:moveTo>
                    <a:pt x="2466" y="2523"/>
                  </a:moveTo>
                  <a:lnTo>
                    <a:pt x="2450" y="2511"/>
                  </a:lnTo>
                  <a:lnTo>
                    <a:pt x="2462" y="2506"/>
                  </a:lnTo>
                  <a:lnTo>
                    <a:pt x="2466" y="2523"/>
                  </a:lnTo>
                  <a:lnTo>
                    <a:pt x="2466" y="2523"/>
                  </a:lnTo>
                  <a:lnTo>
                    <a:pt x="2466" y="2523"/>
                  </a:lnTo>
                  <a:close/>
                  <a:moveTo>
                    <a:pt x="2483" y="2528"/>
                  </a:moveTo>
                  <a:lnTo>
                    <a:pt x="2466" y="2511"/>
                  </a:lnTo>
                  <a:lnTo>
                    <a:pt x="2483" y="2523"/>
                  </a:lnTo>
                  <a:lnTo>
                    <a:pt x="2483" y="2528"/>
                  </a:lnTo>
                  <a:lnTo>
                    <a:pt x="2483" y="2528"/>
                  </a:lnTo>
                  <a:lnTo>
                    <a:pt x="2483" y="2528"/>
                  </a:lnTo>
                  <a:close/>
                  <a:moveTo>
                    <a:pt x="2450" y="2528"/>
                  </a:moveTo>
                  <a:lnTo>
                    <a:pt x="2450" y="2523"/>
                  </a:lnTo>
                  <a:lnTo>
                    <a:pt x="2466" y="2523"/>
                  </a:lnTo>
                  <a:lnTo>
                    <a:pt x="2450" y="2528"/>
                  </a:lnTo>
                  <a:lnTo>
                    <a:pt x="2450" y="2528"/>
                  </a:lnTo>
                  <a:lnTo>
                    <a:pt x="2450" y="2528"/>
                  </a:lnTo>
                  <a:close/>
                  <a:moveTo>
                    <a:pt x="2374" y="2544"/>
                  </a:moveTo>
                  <a:lnTo>
                    <a:pt x="2379" y="2539"/>
                  </a:lnTo>
                  <a:lnTo>
                    <a:pt x="2369" y="2539"/>
                  </a:lnTo>
                  <a:lnTo>
                    <a:pt x="2374" y="2523"/>
                  </a:lnTo>
                  <a:lnTo>
                    <a:pt x="2391" y="2523"/>
                  </a:lnTo>
                  <a:lnTo>
                    <a:pt x="2391" y="2539"/>
                  </a:lnTo>
                  <a:lnTo>
                    <a:pt x="2374" y="2544"/>
                  </a:lnTo>
                  <a:lnTo>
                    <a:pt x="2374" y="2544"/>
                  </a:lnTo>
                  <a:lnTo>
                    <a:pt x="2374" y="2544"/>
                  </a:lnTo>
                  <a:close/>
                  <a:moveTo>
                    <a:pt x="2407" y="2561"/>
                  </a:moveTo>
                  <a:lnTo>
                    <a:pt x="2395" y="2551"/>
                  </a:lnTo>
                  <a:lnTo>
                    <a:pt x="2412" y="2539"/>
                  </a:lnTo>
                  <a:lnTo>
                    <a:pt x="2407" y="2561"/>
                  </a:lnTo>
                  <a:lnTo>
                    <a:pt x="2407" y="2561"/>
                  </a:lnTo>
                  <a:lnTo>
                    <a:pt x="2407" y="2561"/>
                  </a:lnTo>
                  <a:close/>
                  <a:moveTo>
                    <a:pt x="2374" y="2551"/>
                  </a:moveTo>
                  <a:lnTo>
                    <a:pt x="2369" y="2544"/>
                  </a:lnTo>
                  <a:lnTo>
                    <a:pt x="2391" y="2539"/>
                  </a:lnTo>
                  <a:lnTo>
                    <a:pt x="2395" y="2544"/>
                  </a:lnTo>
                  <a:lnTo>
                    <a:pt x="2374" y="2551"/>
                  </a:lnTo>
                  <a:lnTo>
                    <a:pt x="2374" y="2551"/>
                  </a:lnTo>
                  <a:lnTo>
                    <a:pt x="2374" y="2551"/>
                  </a:lnTo>
                  <a:close/>
                  <a:moveTo>
                    <a:pt x="2412" y="2551"/>
                  </a:moveTo>
                  <a:lnTo>
                    <a:pt x="2412" y="2539"/>
                  </a:lnTo>
                  <a:lnTo>
                    <a:pt x="2428" y="2544"/>
                  </a:lnTo>
                  <a:lnTo>
                    <a:pt x="2412" y="2551"/>
                  </a:lnTo>
                  <a:lnTo>
                    <a:pt x="2412" y="2551"/>
                  </a:lnTo>
                  <a:lnTo>
                    <a:pt x="2412" y="2551"/>
                  </a:lnTo>
                  <a:close/>
                  <a:moveTo>
                    <a:pt x="2428" y="2672"/>
                  </a:moveTo>
                  <a:lnTo>
                    <a:pt x="2424" y="2662"/>
                  </a:lnTo>
                  <a:lnTo>
                    <a:pt x="2433" y="2662"/>
                  </a:lnTo>
                  <a:lnTo>
                    <a:pt x="2433" y="2655"/>
                  </a:lnTo>
                  <a:lnTo>
                    <a:pt x="2424" y="2662"/>
                  </a:lnTo>
                  <a:lnTo>
                    <a:pt x="2424" y="2639"/>
                  </a:lnTo>
                  <a:lnTo>
                    <a:pt x="2424" y="2622"/>
                  </a:lnTo>
                  <a:lnTo>
                    <a:pt x="2433" y="2606"/>
                  </a:lnTo>
                  <a:lnTo>
                    <a:pt x="2424" y="2622"/>
                  </a:lnTo>
                  <a:lnTo>
                    <a:pt x="2412" y="2622"/>
                  </a:lnTo>
                  <a:lnTo>
                    <a:pt x="2412" y="2655"/>
                  </a:lnTo>
                  <a:lnTo>
                    <a:pt x="2407" y="2655"/>
                  </a:lnTo>
                  <a:lnTo>
                    <a:pt x="2391" y="2634"/>
                  </a:lnTo>
                  <a:lnTo>
                    <a:pt x="2395" y="2617"/>
                  </a:lnTo>
                  <a:lnTo>
                    <a:pt x="2379" y="2617"/>
                  </a:lnTo>
                  <a:lnTo>
                    <a:pt x="2379" y="2601"/>
                  </a:lnTo>
                  <a:lnTo>
                    <a:pt x="2391" y="2601"/>
                  </a:lnTo>
                  <a:lnTo>
                    <a:pt x="2407" y="2617"/>
                  </a:lnTo>
                  <a:lnTo>
                    <a:pt x="2391" y="2601"/>
                  </a:lnTo>
                  <a:lnTo>
                    <a:pt x="2407" y="2606"/>
                  </a:lnTo>
                  <a:lnTo>
                    <a:pt x="2407" y="2596"/>
                  </a:lnTo>
                  <a:lnTo>
                    <a:pt x="2424" y="2601"/>
                  </a:lnTo>
                  <a:lnTo>
                    <a:pt x="2428" y="2584"/>
                  </a:lnTo>
                  <a:lnTo>
                    <a:pt x="2412" y="2561"/>
                  </a:lnTo>
                  <a:lnTo>
                    <a:pt x="2428" y="2544"/>
                  </a:lnTo>
                  <a:lnTo>
                    <a:pt x="2450" y="2544"/>
                  </a:lnTo>
                  <a:lnTo>
                    <a:pt x="2450" y="2601"/>
                  </a:lnTo>
                  <a:lnTo>
                    <a:pt x="2445" y="2639"/>
                  </a:lnTo>
                  <a:lnTo>
                    <a:pt x="2450" y="2634"/>
                  </a:lnTo>
                  <a:lnTo>
                    <a:pt x="2462" y="2639"/>
                  </a:lnTo>
                  <a:lnTo>
                    <a:pt x="2450" y="2662"/>
                  </a:lnTo>
                  <a:lnTo>
                    <a:pt x="2428" y="2672"/>
                  </a:lnTo>
                  <a:lnTo>
                    <a:pt x="2428" y="2672"/>
                  </a:lnTo>
                  <a:lnTo>
                    <a:pt x="2428" y="2672"/>
                  </a:lnTo>
                  <a:close/>
                  <a:moveTo>
                    <a:pt x="2395" y="2568"/>
                  </a:moveTo>
                  <a:lnTo>
                    <a:pt x="2391" y="2551"/>
                  </a:lnTo>
                  <a:lnTo>
                    <a:pt x="2407" y="2561"/>
                  </a:lnTo>
                  <a:lnTo>
                    <a:pt x="2412" y="2568"/>
                  </a:lnTo>
                  <a:lnTo>
                    <a:pt x="2395" y="2568"/>
                  </a:lnTo>
                  <a:lnTo>
                    <a:pt x="2395" y="2568"/>
                  </a:lnTo>
                  <a:lnTo>
                    <a:pt x="2395" y="2568"/>
                  </a:lnTo>
                  <a:close/>
                  <a:moveTo>
                    <a:pt x="2395" y="2584"/>
                  </a:moveTo>
                  <a:lnTo>
                    <a:pt x="2391" y="2568"/>
                  </a:lnTo>
                  <a:lnTo>
                    <a:pt x="2379" y="2580"/>
                  </a:lnTo>
                  <a:lnTo>
                    <a:pt x="2369" y="2561"/>
                  </a:lnTo>
                  <a:lnTo>
                    <a:pt x="2391" y="2561"/>
                  </a:lnTo>
                  <a:lnTo>
                    <a:pt x="2395" y="2580"/>
                  </a:lnTo>
                  <a:lnTo>
                    <a:pt x="2395" y="2584"/>
                  </a:lnTo>
                  <a:lnTo>
                    <a:pt x="2395" y="2584"/>
                  </a:lnTo>
                  <a:lnTo>
                    <a:pt x="2395" y="2584"/>
                  </a:lnTo>
                  <a:close/>
                  <a:moveTo>
                    <a:pt x="2374" y="2601"/>
                  </a:moveTo>
                  <a:lnTo>
                    <a:pt x="2369" y="2596"/>
                  </a:lnTo>
                  <a:lnTo>
                    <a:pt x="2391" y="2568"/>
                  </a:lnTo>
                  <a:lnTo>
                    <a:pt x="2395" y="2584"/>
                  </a:lnTo>
                  <a:lnTo>
                    <a:pt x="2374" y="2601"/>
                  </a:lnTo>
                  <a:lnTo>
                    <a:pt x="2374" y="2601"/>
                  </a:lnTo>
                  <a:lnTo>
                    <a:pt x="2374" y="2601"/>
                  </a:lnTo>
                  <a:close/>
                  <a:moveTo>
                    <a:pt x="2424" y="2601"/>
                  </a:moveTo>
                  <a:lnTo>
                    <a:pt x="2395" y="2584"/>
                  </a:lnTo>
                  <a:lnTo>
                    <a:pt x="2407" y="2580"/>
                  </a:lnTo>
                  <a:lnTo>
                    <a:pt x="2412" y="2580"/>
                  </a:lnTo>
                  <a:lnTo>
                    <a:pt x="2424" y="2584"/>
                  </a:lnTo>
                  <a:lnTo>
                    <a:pt x="2424" y="2601"/>
                  </a:lnTo>
                  <a:lnTo>
                    <a:pt x="2424" y="2601"/>
                  </a:lnTo>
                  <a:lnTo>
                    <a:pt x="2424" y="2601"/>
                  </a:lnTo>
                  <a:close/>
                  <a:moveTo>
                    <a:pt x="2450" y="2634"/>
                  </a:moveTo>
                  <a:lnTo>
                    <a:pt x="2450" y="2617"/>
                  </a:lnTo>
                  <a:lnTo>
                    <a:pt x="2466" y="2622"/>
                  </a:lnTo>
                  <a:lnTo>
                    <a:pt x="2450" y="2634"/>
                  </a:lnTo>
                  <a:lnTo>
                    <a:pt x="2450" y="2634"/>
                  </a:lnTo>
                  <a:lnTo>
                    <a:pt x="2450" y="2634"/>
                  </a:lnTo>
                  <a:close/>
                  <a:moveTo>
                    <a:pt x="2407" y="2655"/>
                  </a:moveTo>
                  <a:lnTo>
                    <a:pt x="2379" y="2650"/>
                  </a:lnTo>
                  <a:lnTo>
                    <a:pt x="2374" y="2650"/>
                  </a:lnTo>
                  <a:lnTo>
                    <a:pt x="2374" y="2634"/>
                  </a:lnTo>
                  <a:lnTo>
                    <a:pt x="2391" y="2634"/>
                  </a:lnTo>
                  <a:lnTo>
                    <a:pt x="2407" y="2655"/>
                  </a:lnTo>
                  <a:lnTo>
                    <a:pt x="2407" y="2655"/>
                  </a:lnTo>
                  <a:lnTo>
                    <a:pt x="2407" y="2655"/>
                  </a:lnTo>
                  <a:close/>
                  <a:moveTo>
                    <a:pt x="2412" y="2695"/>
                  </a:moveTo>
                  <a:lnTo>
                    <a:pt x="2395" y="2712"/>
                  </a:lnTo>
                  <a:lnTo>
                    <a:pt x="2391" y="2707"/>
                  </a:lnTo>
                  <a:lnTo>
                    <a:pt x="2395" y="2695"/>
                  </a:lnTo>
                  <a:lnTo>
                    <a:pt x="2379" y="2707"/>
                  </a:lnTo>
                  <a:lnTo>
                    <a:pt x="2391" y="2679"/>
                  </a:lnTo>
                  <a:lnTo>
                    <a:pt x="2407" y="2688"/>
                  </a:lnTo>
                  <a:lnTo>
                    <a:pt x="2391" y="2672"/>
                  </a:lnTo>
                  <a:lnTo>
                    <a:pt x="2407" y="2672"/>
                  </a:lnTo>
                  <a:lnTo>
                    <a:pt x="2412" y="2679"/>
                  </a:lnTo>
                  <a:lnTo>
                    <a:pt x="2412" y="2688"/>
                  </a:lnTo>
                  <a:lnTo>
                    <a:pt x="2428" y="2679"/>
                  </a:lnTo>
                  <a:lnTo>
                    <a:pt x="2428" y="2688"/>
                  </a:lnTo>
                  <a:lnTo>
                    <a:pt x="2412" y="2695"/>
                  </a:lnTo>
                  <a:lnTo>
                    <a:pt x="2412" y="2695"/>
                  </a:lnTo>
                  <a:lnTo>
                    <a:pt x="2412" y="2695"/>
                  </a:lnTo>
                  <a:close/>
                  <a:moveTo>
                    <a:pt x="2428" y="2712"/>
                  </a:moveTo>
                  <a:lnTo>
                    <a:pt x="2428" y="2707"/>
                  </a:lnTo>
                  <a:lnTo>
                    <a:pt x="2445" y="2707"/>
                  </a:lnTo>
                  <a:lnTo>
                    <a:pt x="2428" y="2712"/>
                  </a:lnTo>
                  <a:lnTo>
                    <a:pt x="2428" y="2712"/>
                  </a:lnTo>
                  <a:lnTo>
                    <a:pt x="2428" y="2712"/>
                  </a:lnTo>
                  <a:close/>
                  <a:moveTo>
                    <a:pt x="2466" y="2745"/>
                  </a:moveTo>
                  <a:lnTo>
                    <a:pt x="2445" y="2728"/>
                  </a:lnTo>
                  <a:lnTo>
                    <a:pt x="2450" y="2717"/>
                  </a:lnTo>
                  <a:lnTo>
                    <a:pt x="2433" y="2712"/>
                  </a:lnTo>
                  <a:lnTo>
                    <a:pt x="2445" y="2707"/>
                  </a:lnTo>
                  <a:lnTo>
                    <a:pt x="2462" y="2712"/>
                  </a:lnTo>
                  <a:lnTo>
                    <a:pt x="2476" y="2745"/>
                  </a:lnTo>
                  <a:lnTo>
                    <a:pt x="2466" y="2745"/>
                  </a:lnTo>
                  <a:lnTo>
                    <a:pt x="2466" y="2745"/>
                  </a:lnTo>
                  <a:lnTo>
                    <a:pt x="2466" y="2745"/>
                  </a:lnTo>
                  <a:close/>
                  <a:moveTo>
                    <a:pt x="2391" y="2745"/>
                  </a:moveTo>
                  <a:lnTo>
                    <a:pt x="2374" y="2728"/>
                  </a:lnTo>
                  <a:lnTo>
                    <a:pt x="2391" y="2728"/>
                  </a:lnTo>
                  <a:lnTo>
                    <a:pt x="2379" y="2712"/>
                  </a:lnTo>
                  <a:lnTo>
                    <a:pt x="2407" y="2712"/>
                  </a:lnTo>
                  <a:lnTo>
                    <a:pt x="2395" y="2717"/>
                  </a:lnTo>
                  <a:lnTo>
                    <a:pt x="2391" y="2745"/>
                  </a:lnTo>
                  <a:lnTo>
                    <a:pt x="2391" y="2745"/>
                  </a:lnTo>
                  <a:lnTo>
                    <a:pt x="2391" y="2745"/>
                  </a:lnTo>
                  <a:close/>
                  <a:moveTo>
                    <a:pt x="2433" y="2717"/>
                  </a:moveTo>
                  <a:lnTo>
                    <a:pt x="2433" y="2712"/>
                  </a:lnTo>
                  <a:lnTo>
                    <a:pt x="2445" y="2717"/>
                  </a:lnTo>
                  <a:lnTo>
                    <a:pt x="2433" y="2717"/>
                  </a:lnTo>
                  <a:lnTo>
                    <a:pt x="2433" y="2717"/>
                  </a:lnTo>
                  <a:lnTo>
                    <a:pt x="2433" y="2717"/>
                  </a:lnTo>
                  <a:close/>
                  <a:moveTo>
                    <a:pt x="2412" y="2745"/>
                  </a:moveTo>
                  <a:lnTo>
                    <a:pt x="2407" y="2733"/>
                  </a:lnTo>
                  <a:lnTo>
                    <a:pt x="2412" y="2728"/>
                  </a:lnTo>
                  <a:lnTo>
                    <a:pt x="2412" y="2745"/>
                  </a:lnTo>
                  <a:lnTo>
                    <a:pt x="2412" y="2745"/>
                  </a:lnTo>
                  <a:lnTo>
                    <a:pt x="2412" y="2745"/>
                  </a:lnTo>
                  <a:close/>
                  <a:moveTo>
                    <a:pt x="2433" y="2750"/>
                  </a:moveTo>
                  <a:lnTo>
                    <a:pt x="2424" y="2750"/>
                  </a:lnTo>
                  <a:lnTo>
                    <a:pt x="2424" y="2733"/>
                  </a:lnTo>
                  <a:lnTo>
                    <a:pt x="2428" y="2733"/>
                  </a:lnTo>
                  <a:lnTo>
                    <a:pt x="2433" y="2750"/>
                  </a:lnTo>
                  <a:lnTo>
                    <a:pt x="2433" y="2750"/>
                  </a:lnTo>
                  <a:lnTo>
                    <a:pt x="2433" y="2750"/>
                  </a:lnTo>
                  <a:close/>
                  <a:moveTo>
                    <a:pt x="2433" y="2773"/>
                  </a:moveTo>
                  <a:lnTo>
                    <a:pt x="2424" y="2766"/>
                  </a:lnTo>
                  <a:lnTo>
                    <a:pt x="2424" y="2750"/>
                  </a:lnTo>
                  <a:lnTo>
                    <a:pt x="2445" y="2750"/>
                  </a:lnTo>
                  <a:lnTo>
                    <a:pt x="2433" y="2733"/>
                  </a:lnTo>
                  <a:lnTo>
                    <a:pt x="2462" y="2745"/>
                  </a:lnTo>
                  <a:lnTo>
                    <a:pt x="2462" y="2766"/>
                  </a:lnTo>
                  <a:lnTo>
                    <a:pt x="2450" y="2761"/>
                  </a:lnTo>
                  <a:lnTo>
                    <a:pt x="2433" y="2773"/>
                  </a:lnTo>
                  <a:lnTo>
                    <a:pt x="2433" y="2773"/>
                  </a:lnTo>
                  <a:lnTo>
                    <a:pt x="2433" y="2773"/>
                  </a:lnTo>
                  <a:close/>
                  <a:moveTo>
                    <a:pt x="2466" y="2783"/>
                  </a:moveTo>
                  <a:lnTo>
                    <a:pt x="2462" y="2750"/>
                  </a:lnTo>
                  <a:lnTo>
                    <a:pt x="2476" y="2783"/>
                  </a:lnTo>
                  <a:lnTo>
                    <a:pt x="2466" y="2783"/>
                  </a:lnTo>
                  <a:lnTo>
                    <a:pt x="2466" y="2783"/>
                  </a:lnTo>
                  <a:lnTo>
                    <a:pt x="2466" y="2783"/>
                  </a:lnTo>
                  <a:close/>
                  <a:moveTo>
                    <a:pt x="2450" y="2783"/>
                  </a:moveTo>
                  <a:lnTo>
                    <a:pt x="2445" y="2766"/>
                  </a:lnTo>
                  <a:lnTo>
                    <a:pt x="2450" y="2766"/>
                  </a:lnTo>
                  <a:lnTo>
                    <a:pt x="2462" y="2773"/>
                  </a:lnTo>
                  <a:lnTo>
                    <a:pt x="2450" y="2783"/>
                  </a:lnTo>
                  <a:lnTo>
                    <a:pt x="2450" y="2783"/>
                  </a:lnTo>
                  <a:lnTo>
                    <a:pt x="2450" y="2783"/>
                  </a:lnTo>
                  <a:close/>
                  <a:moveTo>
                    <a:pt x="2412" y="2773"/>
                  </a:moveTo>
                  <a:lnTo>
                    <a:pt x="2424" y="2766"/>
                  </a:lnTo>
                  <a:lnTo>
                    <a:pt x="2424" y="2773"/>
                  </a:lnTo>
                  <a:lnTo>
                    <a:pt x="2412" y="2773"/>
                  </a:lnTo>
                  <a:lnTo>
                    <a:pt x="2412" y="2773"/>
                  </a:lnTo>
                  <a:lnTo>
                    <a:pt x="2412" y="2773"/>
                  </a:lnTo>
                  <a:close/>
                  <a:moveTo>
                    <a:pt x="2412" y="2806"/>
                  </a:moveTo>
                  <a:lnTo>
                    <a:pt x="2428" y="2790"/>
                  </a:lnTo>
                  <a:lnTo>
                    <a:pt x="2424" y="2790"/>
                  </a:lnTo>
                  <a:lnTo>
                    <a:pt x="2428" y="2783"/>
                  </a:lnTo>
                  <a:lnTo>
                    <a:pt x="2445" y="2783"/>
                  </a:lnTo>
                  <a:lnTo>
                    <a:pt x="2445" y="2790"/>
                  </a:lnTo>
                  <a:lnTo>
                    <a:pt x="2445" y="2799"/>
                  </a:lnTo>
                  <a:lnTo>
                    <a:pt x="2433" y="2790"/>
                  </a:lnTo>
                  <a:lnTo>
                    <a:pt x="2412" y="2806"/>
                  </a:lnTo>
                  <a:lnTo>
                    <a:pt x="2412" y="2806"/>
                  </a:lnTo>
                  <a:lnTo>
                    <a:pt x="2412" y="2806"/>
                  </a:lnTo>
                  <a:close/>
                  <a:moveTo>
                    <a:pt x="2483" y="2799"/>
                  </a:moveTo>
                  <a:lnTo>
                    <a:pt x="2476" y="2783"/>
                  </a:lnTo>
                  <a:lnTo>
                    <a:pt x="2488" y="2783"/>
                  </a:lnTo>
                  <a:lnTo>
                    <a:pt x="2488" y="2790"/>
                  </a:lnTo>
                  <a:lnTo>
                    <a:pt x="2483" y="2799"/>
                  </a:lnTo>
                  <a:lnTo>
                    <a:pt x="2483" y="2799"/>
                  </a:lnTo>
                  <a:lnTo>
                    <a:pt x="2483" y="2799"/>
                  </a:lnTo>
                  <a:close/>
                  <a:moveTo>
                    <a:pt x="2499" y="2799"/>
                  </a:moveTo>
                  <a:lnTo>
                    <a:pt x="2488" y="2790"/>
                  </a:lnTo>
                  <a:lnTo>
                    <a:pt x="2499" y="2783"/>
                  </a:lnTo>
                  <a:lnTo>
                    <a:pt x="2499" y="2799"/>
                  </a:lnTo>
                  <a:lnTo>
                    <a:pt x="2499" y="2799"/>
                  </a:lnTo>
                  <a:lnTo>
                    <a:pt x="2499" y="2799"/>
                  </a:lnTo>
                  <a:close/>
                  <a:moveTo>
                    <a:pt x="2391" y="2823"/>
                  </a:moveTo>
                  <a:lnTo>
                    <a:pt x="2395" y="2790"/>
                  </a:lnTo>
                  <a:lnTo>
                    <a:pt x="2412" y="2790"/>
                  </a:lnTo>
                  <a:lnTo>
                    <a:pt x="2407" y="2816"/>
                  </a:lnTo>
                  <a:lnTo>
                    <a:pt x="2391" y="2823"/>
                  </a:lnTo>
                  <a:lnTo>
                    <a:pt x="2391" y="2823"/>
                  </a:lnTo>
                  <a:lnTo>
                    <a:pt x="2391" y="2823"/>
                  </a:lnTo>
                  <a:close/>
                  <a:moveTo>
                    <a:pt x="2476" y="2806"/>
                  </a:moveTo>
                  <a:lnTo>
                    <a:pt x="2466" y="2799"/>
                  </a:lnTo>
                  <a:lnTo>
                    <a:pt x="2466" y="2790"/>
                  </a:lnTo>
                  <a:lnTo>
                    <a:pt x="2476" y="2790"/>
                  </a:lnTo>
                  <a:lnTo>
                    <a:pt x="2476" y="2806"/>
                  </a:lnTo>
                  <a:lnTo>
                    <a:pt x="2476" y="2806"/>
                  </a:lnTo>
                  <a:lnTo>
                    <a:pt x="2476" y="2806"/>
                  </a:lnTo>
                  <a:close/>
                  <a:moveTo>
                    <a:pt x="2483" y="2839"/>
                  </a:moveTo>
                  <a:lnTo>
                    <a:pt x="2466" y="2828"/>
                  </a:lnTo>
                  <a:lnTo>
                    <a:pt x="2476" y="2816"/>
                  </a:lnTo>
                  <a:lnTo>
                    <a:pt x="2488" y="2828"/>
                  </a:lnTo>
                  <a:lnTo>
                    <a:pt x="2483" y="2839"/>
                  </a:lnTo>
                  <a:lnTo>
                    <a:pt x="2483" y="2839"/>
                  </a:lnTo>
                  <a:lnTo>
                    <a:pt x="2483" y="2839"/>
                  </a:lnTo>
                  <a:close/>
                  <a:moveTo>
                    <a:pt x="2412" y="2872"/>
                  </a:moveTo>
                  <a:lnTo>
                    <a:pt x="2412" y="2856"/>
                  </a:lnTo>
                  <a:lnTo>
                    <a:pt x="2424" y="2839"/>
                  </a:lnTo>
                  <a:lnTo>
                    <a:pt x="2428" y="2839"/>
                  </a:lnTo>
                  <a:lnTo>
                    <a:pt x="2424" y="2823"/>
                  </a:lnTo>
                  <a:lnTo>
                    <a:pt x="2428" y="2823"/>
                  </a:lnTo>
                  <a:lnTo>
                    <a:pt x="2428" y="2839"/>
                  </a:lnTo>
                  <a:lnTo>
                    <a:pt x="2412" y="2872"/>
                  </a:lnTo>
                  <a:lnTo>
                    <a:pt x="2412" y="2872"/>
                  </a:lnTo>
                  <a:lnTo>
                    <a:pt x="2412" y="2872"/>
                  </a:lnTo>
                  <a:close/>
                  <a:moveTo>
                    <a:pt x="2499" y="2839"/>
                  </a:moveTo>
                  <a:lnTo>
                    <a:pt x="2488" y="2823"/>
                  </a:lnTo>
                  <a:lnTo>
                    <a:pt x="2499" y="2828"/>
                  </a:lnTo>
                  <a:lnTo>
                    <a:pt x="2499" y="2839"/>
                  </a:lnTo>
                  <a:lnTo>
                    <a:pt x="2499" y="2839"/>
                  </a:lnTo>
                  <a:lnTo>
                    <a:pt x="2499" y="2839"/>
                  </a:lnTo>
                  <a:close/>
                  <a:moveTo>
                    <a:pt x="2476" y="2856"/>
                  </a:moveTo>
                  <a:lnTo>
                    <a:pt x="2462" y="2844"/>
                  </a:lnTo>
                  <a:lnTo>
                    <a:pt x="2450" y="2828"/>
                  </a:lnTo>
                  <a:lnTo>
                    <a:pt x="2476" y="2844"/>
                  </a:lnTo>
                  <a:lnTo>
                    <a:pt x="2476" y="2856"/>
                  </a:lnTo>
                  <a:lnTo>
                    <a:pt x="2476" y="2856"/>
                  </a:lnTo>
                  <a:lnTo>
                    <a:pt x="2476" y="2856"/>
                  </a:lnTo>
                  <a:close/>
                  <a:moveTo>
                    <a:pt x="2407" y="2844"/>
                  </a:moveTo>
                  <a:lnTo>
                    <a:pt x="2412" y="2828"/>
                  </a:lnTo>
                  <a:lnTo>
                    <a:pt x="2407" y="2844"/>
                  </a:lnTo>
                  <a:lnTo>
                    <a:pt x="2407" y="2844"/>
                  </a:lnTo>
                  <a:lnTo>
                    <a:pt x="2407" y="2844"/>
                  </a:lnTo>
                  <a:close/>
                  <a:moveTo>
                    <a:pt x="2424" y="2872"/>
                  </a:moveTo>
                  <a:lnTo>
                    <a:pt x="2428" y="2839"/>
                  </a:lnTo>
                  <a:lnTo>
                    <a:pt x="2445" y="2839"/>
                  </a:lnTo>
                  <a:lnTo>
                    <a:pt x="2424" y="2872"/>
                  </a:lnTo>
                  <a:lnTo>
                    <a:pt x="2424" y="2872"/>
                  </a:lnTo>
                  <a:lnTo>
                    <a:pt x="2424" y="2872"/>
                  </a:lnTo>
                  <a:close/>
                  <a:moveTo>
                    <a:pt x="2504" y="2877"/>
                  </a:moveTo>
                  <a:lnTo>
                    <a:pt x="2476" y="2856"/>
                  </a:lnTo>
                  <a:lnTo>
                    <a:pt x="2476" y="2844"/>
                  </a:lnTo>
                  <a:lnTo>
                    <a:pt x="2499" y="2861"/>
                  </a:lnTo>
                  <a:lnTo>
                    <a:pt x="2504" y="2877"/>
                  </a:lnTo>
                  <a:lnTo>
                    <a:pt x="2504" y="2877"/>
                  </a:lnTo>
                  <a:lnTo>
                    <a:pt x="2504" y="2877"/>
                  </a:lnTo>
                  <a:close/>
                  <a:moveTo>
                    <a:pt x="2428" y="2877"/>
                  </a:moveTo>
                  <a:lnTo>
                    <a:pt x="2428" y="2872"/>
                  </a:lnTo>
                  <a:lnTo>
                    <a:pt x="2445" y="2861"/>
                  </a:lnTo>
                  <a:lnTo>
                    <a:pt x="2428" y="2877"/>
                  </a:lnTo>
                  <a:lnTo>
                    <a:pt x="2428" y="2877"/>
                  </a:lnTo>
                  <a:lnTo>
                    <a:pt x="2428" y="2877"/>
                  </a:lnTo>
                  <a:close/>
                  <a:moveTo>
                    <a:pt x="2476" y="2894"/>
                  </a:moveTo>
                  <a:lnTo>
                    <a:pt x="2466" y="2877"/>
                  </a:lnTo>
                  <a:lnTo>
                    <a:pt x="2476" y="2877"/>
                  </a:lnTo>
                  <a:lnTo>
                    <a:pt x="2450" y="2872"/>
                  </a:lnTo>
                  <a:lnTo>
                    <a:pt x="2466" y="2861"/>
                  </a:lnTo>
                  <a:lnTo>
                    <a:pt x="2488" y="2884"/>
                  </a:lnTo>
                  <a:lnTo>
                    <a:pt x="2476" y="2894"/>
                  </a:lnTo>
                  <a:lnTo>
                    <a:pt x="2476" y="2894"/>
                  </a:lnTo>
                  <a:lnTo>
                    <a:pt x="2476" y="2894"/>
                  </a:lnTo>
                  <a:close/>
                  <a:moveTo>
                    <a:pt x="2499" y="2894"/>
                  </a:moveTo>
                  <a:lnTo>
                    <a:pt x="2476" y="2872"/>
                  </a:lnTo>
                  <a:lnTo>
                    <a:pt x="2499" y="2884"/>
                  </a:lnTo>
                  <a:lnTo>
                    <a:pt x="2504" y="2894"/>
                  </a:lnTo>
                  <a:lnTo>
                    <a:pt x="2499" y="2894"/>
                  </a:lnTo>
                  <a:lnTo>
                    <a:pt x="2499" y="2894"/>
                  </a:lnTo>
                  <a:lnTo>
                    <a:pt x="2499" y="2894"/>
                  </a:lnTo>
                  <a:close/>
                  <a:moveTo>
                    <a:pt x="2428" y="2884"/>
                  </a:moveTo>
                  <a:lnTo>
                    <a:pt x="2428" y="2877"/>
                  </a:lnTo>
                  <a:lnTo>
                    <a:pt x="2445" y="2877"/>
                  </a:lnTo>
                  <a:lnTo>
                    <a:pt x="2428" y="2884"/>
                  </a:lnTo>
                  <a:lnTo>
                    <a:pt x="2428" y="2884"/>
                  </a:lnTo>
                  <a:lnTo>
                    <a:pt x="2428" y="2884"/>
                  </a:lnTo>
                  <a:close/>
                  <a:moveTo>
                    <a:pt x="2488" y="2927"/>
                  </a:moveTo>
                  <a:lnTo>
                    <a:pt x="2483" y="2910"/>
                  </a:lnTo>
                  <a:lnTo>
                    <a:pt x="2504" y="2894"/>
                  </a:lnTo>
                  <a:lnTo>
                    <a:pt x="2504" y="2901"/>
                  </a:lnTo>
                  <a:lnTo>
                    <a:pt x="2504" y="2917"/>
                  </a:lnTo>
                  <a:lnTo>
                    <a:pt x="2488" y="2927"/>
                  </a:lnTo>
                  <a:lnTo>
                    <a:pt x="2488" y="2927"/>
                  </a:lnTo>
                  <a:lnTo>
                    <a:pt x="2488" y="2927"/>
                  </a:lnTo>
                  <a:close/>
                  <a:moveTo>
                    <a:pt x="2861" y="2917"/>
                  </a:moveTo>
                  <a:lnTo>
                    <a:pt x="2861" y="3132"/>
                  </a:lnTo>
                  <a:lnTo>
                    <a:pt x="2861" y="3139"/>
                  </a:lnTo>
                  <a:lnTo>
                    <a:pt x="2844" y="3132"/>
                  </a:lnTo>
                  <a:lnTo>
                    <a:pt x="2854" y="3139"/>
                  </a:lnTo>
                  <a:lnTo>
                    <a:pt x="2828" y="3149"/>
                  </a:lnTo>
                  <a:lnTo>
                    <a:pt x="2790" y="3132"/>
                  </a:lnTo>
                  <a:lnTo>
                    <a:pt x="2790" y="3123"/>
                  </a:lnTo>
                  <a:lnTo>
                    <a:pt x="2785" y="3132"/>
                  </a:lnTo>
                  <a:lnTo>
                    <a:pt x="2747" y="3139"/>
                  </a:lnTo>
                  <a:lnTo>
                    <a:pt x="2747" y="3132"/>
                  </a:lnTo>
                  <a:lnTo>
                    <a:pt x="2747" y="3123"/>
                  </a:lnTo>
                  <a:lnTo>
                    <a:pt x="2736" y="3132"/>
                  </a:lnTo>
                  <a:lnTo>
                    <a:pt x="2714" y="3139"/>
                  </a:lnTo>
                  <a:lnTo>
                    <a:pt x="2702" y="3132"/>
                  </a:lnTo>
                  <a:lnTo>
                    <a:pt x="2731" y="3116"/>
                  </a:lnTo>
                  <a:lnTo>
                    <a:pt x="2693" y="3132"/>
                  </a:lnTo>
                  <a:lnTo>
                    <a:pt x="2698" y="3116"/>
                  </a:lnTo>
                  <a:lnTo>
                    <a:pt x="2676" y="3123"/>
                  </a:lnTo>
                  <a:lnTo>
                    <a:pt x="2665" y="3106"/>
                  </a:lnTo>
                  <a:lnTo>
                    <a:pt x="2660" y="3123"/>
                  </a:lnTo>
                  <a:lnTo>
                    <a:pt x="2643" y="3116"/>
                  </a:lnTo>
                  <a:lnTo>
                    <a:pt x="2627" y="3116"/>
                  </a:lnTo>
                  <a:lnTo>
                    <a:pt x="2622" y="3099"/>
                  </a:lnTo>
                  <a:lnTo>
                    <a:pt x="2627" y="3099"/>
                  </a:lnTo>
                  <a:lnTo>
                    <a:pt x="2643" y="3106"/>
                  </a:lnTo>
                  <a:lnTo>
                    <a:pt x="2651" y="3106"/>
                  </a:lnTo>
                  <a:lnTo>
                    <a:pt x="2639" y="3095"/>
                  </a:lnTo>
                  <a:lnTo>
                    <a:pt x="2643" y="3095"/>
                  </a:lnTo>
                  <a:lnTo>
                    <a:pt x="2651" y="3099"/>
                  </a:lnTo>
                  <a:lnTo>
                    <a:pt x="2660" y="3099"/>
                  </a:lnTo>
                  <a:lnTo>
                    <a:pt x="2651" y="3095"/>
                  </a:lnTo>
                  <a:lnTo>
                    <a:pt x="2665" y="3095"/>
                  </a:lnTo>
                  <a:lnTo>
                    <a:pt x="2698" y="3099"/>
                  </a:lnTo>
                  <a:lnTo>
                    <a:pt x="2698" y="3083"/>
                  </a:lnTo>
                  <a:lnTo>
                    <a:pt x="2702" y="3083"/>
                  </a:lnTo>
                  <a:lnTo>
                    <a:pt x="2719" y="3083"/>
                  </a:lnTo>
                  <a:lnTo>
                    <a:pt x="2714" y="3106"/>
                  </a:lnTo>
                  <a:lnTo>
                    <a:pt x="2719" y="3116"/>
                  </a:lnTo>
                  <a:lnTo>
                    <a:pt x="2714" y="3106"/>
                  </a:lnTo>
                  <a:lnTo>
                    <a:pt x="2719" y="3095"/>
                  </a:lnTo>
                  <a:lnTo>
                    <a:pt x="2747" y="3106"/>
                  </a:lnTo>
                  <a:lnTo>
                    <a:pt x="2752" y="3106"/>
                  </a:lnTo>
                  <a:lnTo>
                    <a:pt x="2736" y="3095"/>
                  </a:lnTo>
                  <a:lnTo>
                    <a:pt x="2719" y="3083"/>
                  </a:lnTo>
                  <a:lnTo>
                    <a:pt x="2702" y="3078"/>
                  </a:lnTo>
                  <a:lnTo>
                    <a:pt x="2702" y="3066"/>
                  </a:lnTo>
                  <a:lnTo>
                    <a:pt x="2752" y="3095"/>
                  </a:lnTo>
                  <a:lnTo>
                    <a:pt x="2757" y="3095"/>
                  </a:lnTo>
                  <a:lnTo>
                    <a:pt x="2752" y="3083"/>
                  </a:lnTo>
                  <a:lnTo>
                    <a:pt x="2757" y="3078"/>
                  </a:lnTo>
                  <a:lnTo>
                    <a:pt x="2785" y="3106"/>
                  </a:lnTo>
                  <a:lnTo>
                    <a:pt x="2773" y="3083"/>
                  </a:lnTo>
                  <a:lnTo>
                    <a:pt x="2823" y="3099"/>
                  </a:lnTo>
                  <a:lnTo>
                    <a:pt x="2806" y="3116"/>
                  </a:lnTo>
                  <a:lnTo>
                    <a:pt x="2806" y="3123"/>
                  </a:lnTo>
                  <a:lnTo>
                    <a:pt x="2811" y="3106"/>
                  </a:lnTo>
                  <a:lnTo>
                    <a:pt x="2823" y="3106"/>
                  </a:lnTo>
                  <a:lnTo>
                    <a:pt x="2823" y="3099"/>
                  </a:lnTo>
                  <a:lnTo>
                    <a:pt x="2839" y="3095"/>
                  </a:lnTo>
                  <a:lnTo>
                    <a:pt x="2757" y="3061"/>
                  </a:lnTo>
                  <a:lnTo>
                    <a:pt x="2752" y="3038"/>
                  </a:lnTo>
                  <a:lnTo>
                    <a:pt x="2769" y="3021"/>
                  </a:lnTo>
                  <a:lnTo>
                    <a:pt x="2811" y="3005"/>
                  </a:lnTo>
                  <a:lnTo>
                    <a:pt x="2806" y="2988"/>
                  </a:lnTo>
                  <a:lnTo>
                    <a:pt x="2773" y="2988"/>
                  </a:lnTo>
                  <a:lnTo>
                    <a:pt x="2752" y="2995"/>
                  </a:lnTo>
                  <a:lnTo>
                    <a:pt x="2736" y="2988"/>
                  </a:lnTo>
                  <a:lnTo>
                    <a:pt x="2736" y="2955"/>
                  </a:lnTo>
                  <a:lnTo>
                    <a:pt x="2736" y="2950"/>
                  </a:lnTo>
                  <a:lnTo>
                    <a:pt x="2747" y="2955"/>
                  </a:lnTo>
                  <a:lnTo>
                    <a:pt x="2752" y="2955"/>
                  </a:lnTo>
                  <a:lnTo>
                    <a:pt x="2757" y="2939"/>
                  </a:lnTo>
                  <a:lnTo>
                    <a:pt x="2736" y="2934"/>
                  </a:lnTo>
                  <a:lnTo>
                    <a:pt x="2752" y="2927"/>
                  </a:lnTo>
                  <a:lnTo>
                    <a:pt x="2769" y="2934"/>
                  </a:lnTo>
                  <a:lnTo>
                    <a:pt x="2785" y="2934"/>
                  </a:lnTo>
                  <a:lnTo>
                    <a:pt x="2790" y="2910"/>
                  </a:lnTo>
                  <a:lnTo>
                    <a:pt x="2806" y="2901"/>
                  </a:lnTo>
                  <a:lnTo>
                    <a:pt x="2823" y="2927"/>
                  </a:lnTo>
                  <a:lnTo>
                    <a:pt x="2844" y="2910"/>
                  </a:lnTo>
                  <a:lnTo>
                    <a:pt x="2861" y="2917"/>
                  </a:lnTo>
                  <a:lnTo>
                    <a:pt x="2861" y="2917"/>
                  </a:lnTo>
                  <a:lnTo>
                    <a:pt x="2861" y="2917"/>
                  </a:lnTo>
                  <a:close/>
                  <a:moveTo>
                    <a:pt x="2530" y="2983"/>
                  </a:moveTo>
                  <a:lnTo>
                    <a:pt x="2551" y="2988"/>
                  </a:lnTo>
                  <a:lnTo>
                    <a:pt x="2521" y="2988"/>
                  </a:lnTo>
                  <a:lnTo>
                    <a:pt x="2488" y="2955"/>
                  </a:lnTo>
                  <a:lnTo>
                    <a:pt x="2462" y="2967"/>
                  </a:lnTo>
                  <a:lnTo>
                    <a:pt x="2433" y="2934"/>
                  </a:lnTo>
                  <a:lnTo>
                    <a:pt x="2433" y="2927"/>
                  </a:lnTo>
                  <a:lnTo>
                    <a:pt x="2462" y="2950"/>
                  </a:lnTo>
                  <a:lnTo>
                    <a:pt x="2513" y="2955"/>
                  </a:lnTo>
                  <a:lnTo>
                    <a:pt x="2521" y="2983"/>
                  </a:lnTo>
                  <a:lnTo>
                    <a:pt x="2521" y="2967"/>
                  </a:lnTo>
                  <a:lnTo>
                    <a:pt x="2537" y="2983"/>
                  </a:lnTo>
                  <a:lnTo>
                    <a:pt x="2530" y="2983"/>
                  </a:lnTo>
                  <a:lnTo>
                    <a:pt x="2530" y="2983"/>
                  </a:lnTo>
                  <a:lnTo>
                    <a:pt x="2530" y="2983"/>
                  </a:lnTo>
                  <a:close/>
                  <a:moveTo>
                    <a:pt x="2530" y="2950"/>
                  </a:moveTo>
                  <a:lnTo>
                    <a:pt x="2504" y="2939"/>
                  </a:lnTo>
                  <a:lnTo>
                    <a:pt x="2521" y="2939"/>
                  </a:lnTo>
                  <a:lnTo>
                    <a:pt x="2530" y="2950"/>
                  </a:lnTo>
                  <a:lnTo>
                    <a:pt x="2530" y="2950"/>
                  </a:lnTo>
                  <a:lnTo>
                    <a:pt x="2530" y="2950"/>
                  </a:lnTo>
                  <a:close/>
                  <a:moveTo>
                    <a:pt x="2521" y="2995"/>
                  </a:moveTo>
                  <a:lnTo>
                    <a:pt x="2530" y="3005"/>
                  </a:lnTo>
                  <a:lnTo>
                    <a:pt x="2521" y="3012"/>
                  </a:lnTo>
                  <a:lnTo>
                    <a:pt x="2499" y="2995"/>
                  </a:lnTo>
                  <a:lnTo>
                    <a:pt x="2513" y="2995"/>
                  </a:lnTo>
                  <a:lnTo>
                    <a:pt x="2521" y="2995"/>
                  </a:lnTo>
                  <a:lnTo>
                    <a:pt x="2513" y="2988"/>
                  </a:lnTo>
                  <a:lnTo>
                    <a:pt x="2521" y="2995"/>
                  </a:lnTo>
                  <a:lnTo>
                    <a:pt x="2521" y="2995"/>
                  </a:lnTo>
                  <a:lnTo>
                    <a:pt x="2521" y="2995"/>
                  </a:lnTo>
                  <a:close/>
                  <a:moveTo>
                    <a:pt x="2537" y="3038"/>
                  </a:moveTo>
                  <a:lnTo>
                    <a:pt x="2537" y="3021"/>
                  </a:lnTo>
                  <a:lnTo>
                    <a:pt x="2513" y="3028"/>
                  </a:lnTo>
                  <a:lnTo>
                    <a:pt x="2521" y="3021"/>
                  </a:lnTo>
                  <a:lnTo>
                    <a:pt x="2513" y="3012"/>
                  </a:lnTo>
                  <a:lnTo>
                    <a:pt x="2521" y="3012"/>
                  </a:lnTo>
                  <a:lnTo>
                    <a:pt x="2537" y="3021"/>
                  </a:lnTo>
                  <a:lnTo>
                    <a:pt x="2558" y="3021"/>
                  </a:lnTo>
                  <a:lnTo>
                    <a:pt x="2537" y="3012"/>
                  </a:lnTo>
                  <a:lnTo>
                    <a:pt x="2521" y="2995"/>
                  </a:lnTo>
                  <a:lnTo>
                    <a:pt x="2542" y="3005"/>
                  </a:lnTo>
                  <a:lnTo>
                    <a:pt x="2542" y="2995"/>
                  </a:lnTo>
                  <a:lnTo>
                    <a:pt x="2551" y="2995"/>
                  </a:lnTo>
                  <a:lnTo>
                    <a:pt x="2558" y="2995"/>
                  </a:lnTo>
                  <a:lnTo>
                    <a:pt x="2558" y="3021"/>
                  </a:lnTo>
                  <a:lnTo>
                    <a:pt x="2568" y="2995"/>
                  </a:lnTo>
                  <a:lnTo>
                    <a:pt x="2575" y="3012"/>
                  </a:lnTo>
                  <a:lnTo>
                    <a:pt x="2589" y="3012"/>
                  </a:lnTo>
                  <a:lnTo>
                    <a:pt x="2589" y="3028"/>
                  </a:lnTo>
                  <a:lnTo>
                    <a:pt x="2596" y="3021"/>
                  </a:lnTo>
                  <a:lnTo>
                    <a:pt x="2613" y="3038"/>
                  </a:lnTo>
                  <a:lnTo>
                    <a:pt x="2596" y="3045"/>
                  </a:lnTo>
                  <a:lnTo>
                    <a:pt x="2596" y="3061"/>
                  </a:lnTo>
                  <a:lnTo>
                    <a:pt x="2568" y="3066"/>
                  </a:lnTo>
                  <a:lnTo>
                    <a:pt x="2551" y="3061"/>
                  </a:lnTo>
                  <a:lnTo>
                    <a:pt x="2568" y="3050"/>
                  </a:lnTo>
                  <a:lnTo>
                    <a:pt x="2575" y="3038"/>
                  </a:lnTo>
                  <a:lnTo>
                    <a:pt x="2551" y="3038"/>
                  </a:lnTo>
                  <a:lnTo>
                    <a:pt x="2542" y="3050"/>
                  </a:lnTo>
                  <a:lnTo>
                    <a:pt x="2537" y="3038"/>
                  </a:lnTo>
                  <a:lnTo>
                    <a:pt x="2537" y="3038"/>
                  </a:lnTo>
                  <a:lnTo>
                    <a:pt x="2537" y="3038"/>
                  </a:lnTo>
                  <a:close/>
                  <a:moveTo>
                    <a:pt x="2499" y="3012"/>
                  </a:moveTo>
                  <a:lnTo>
                    <a:pt x="2499" y="2995"/>
                  </a:lnTo>
                  <a:lnTo>
                    <a:pt x="2504" y="3005"/>
                  </a:lnTo>
                  <a:lnTo>
                    <a:pt x="2499" y="3012"/>
                  </a:lnTo>
                  <a:lnTo>
                    <a:pt x="2499" y="3012"/>
                  </a:lnTo>
                  <a:lnTo>
                    <a:pt x="2499" y="3012"/>
                  </a:lnTo>
                  <a:close/>
                  <a:moveTo>
                    <a:pt x="2731" y="3078"/>
                  </a:moveTo>
                  <a:lnTo>
                    <a:pt x="2702" y="3061"/>
                  </a:lnTo>
                  <a:lnTo>
                    <a:pt x="2698" y="3038"/>
                  </a:lnTo>
                  <a:lnTo>
                    <a:pt x="2719" y="3038"/>
                  </a:lnTo>
                  <a:lnTo>
                    <a:pt x="2714" y="3021"/>
                  </a:lnTo>
                  <a:lnTo>
                    <a:pt x="2731" y="3012"/>
                  </a:lnTo>
                  <a:lnTo>
                    <a:pt x="2736" y="3050"/>
                  </a:lnTo>
                  <a:lnTo>
                    <a:pt x="2731" y="3050"/>
                  </a:lnTo>
                  <a:lnTo>
                    <a:pt x="2719" y="3045"/>
                  </a:lnTo>
                  <a:lnTo>
                    <a:pt x="2731" y="3078"/>
                  </a:lnTo>
                  <a:lnTo>
                    <a:pt x="2731" y="3078"/>
                  </a:lnTo>
                  <a:lnTo>
                    <a:pt x="2731" y="3078"/>
                  </a:lnTo>
                  <a:close/>
                  <a:moveTo>
                    <a:pt x="2643" y="3045"/>
                  </a:moveTo>
                  <a:lnTo>
                    <a:pt x="2651" y="3061"/>
                  </a:lnTo>
                  <a:lnTo>
                    <a:pt x="2643" y="3066"/>
                  </a:lnTo>
                  <a:lnTo>
                    <a:pt x="2627" y="3050"/>
                  </a:lnTo>
                  <a:lnTo>
                    <a:pt x="2643" y="3078"/>
                  </a:lnTo>
                  <a:lnTo>
                    <a:pt x="2639" y="3083"/>
                  </a:lnTo>
                  <a:lnTo>
                    <a:pt x="2613" y="3061"/>
                  </a:lnTo>
                  <a:lnTo>
                    <a:pt x="2606" y="3045"/>
                  </a:lnTo>
                  <a:lnTo>
                    <a:pt x="2622" y="3050"/>
                  </a:lnTo>
                  <a:lnTo>
                    <a:pt x="2627" y="3038"/>
                  </a:lnTo>
                  <a:lnTo>
                    <a:pt x="2643" y="3045"/>
                  </a:lnTo>
                  <a:lnTo>
                    <a:pt x="2643" y="3045"/>
                  </a:lnTo>
                  <a:lnTo>
                    <a:pt x="2643" y="3045"/>
                  </a:lnTo>
                  <a:close/>
                  <a:moveTo>
                    <a:pt x="2676" y="3050"/>
                  </a:moveTo>
                  <a:lnTo>
                    <a:pt x="2693" y="3061"/>
                  </a:lnTo>
                  <a:lnTo>
                    <a:pt x="2698" y="3078"/>
                  </a:lnTo>
                  <a:lnTo>
                    <a:pt x="2681" y="3095"/>
                  </a:lnTo>
                  <a:lnTo>
                    <a:pt x="2665" y="3083"/>
                  </a:lnTo>
                  <a:lnTo>
                    <a:pt x="2660" y="3066"/>
                  </a:lnTo>
                  <a:lnTo>
                    <a:pt x="2665" y="3061"/>
                  </a:lnTo>
                  <a:lnTo>
                    <a:pt x="2660" y="3078"/>
                  </a:lnTo>
                  <a:lnTo>
                    <a:pt x="2643" y="3066"/>
                  </a:lnTo>
                  <a:lnTo>
                    <a:pt x="2651" y="3045"/>
                  </a:lnTo>
                  <a:lnTo>
                    <a:pt x="2676" y="3050"/>
                  </a:lnTo>
                  <a:lnTo>
                    <a:pt x="2676" y="3050"/>
                  </a:lnTo>
                  <a:lnTo>
                    <a:pt x="2676" y="3050"/>
                  </a:lnTo>
                  <a:close/>
                  <a:moveTo>
                    <a:pt x="2537" y="3066"/>
                  </a:moveTo>
                  <a:lnTo>
                    <a:pt x="2521" y="3061"/>
                  </a:lnTo>
                  <a:lnTo>
                    <a:pt x="2542" y="3061"/>
                  </a:lnTo>
                  <a:lnTo>
                    <a:pt x="2537" y="3066"/>
                  </a:lnTo>
                  <a:lnTo>
                    <a:pt x="2537" y="3066"/>
                  </a:lnTo>
                  <a:lnTo>
                    <a:pt x="2537" y="3066"/>
                  </a:lnTo>
                  <a:close/>
                  <a:moveTo>
                    <a:pt x="2606" y="3061"/>
                  </a:moveTo>
                  <a:lnTo>
                    <a:pt x="2613" y="3066"/>
                  </a:lnTo>
                  <a:lnTo>
                    <a:pt x="2606" y="3078"/>
                  </a:lnTo>
                  <a:lnTo>
                    <a:pt x="2589" y="3078"/>
                  </a:lnTo>
                  <a:lnTo>
                    <a:pt x="2606" y="3061"/>
                  </a:lnTo>
                  <a:lnTo>
                    <a:pt x="2606" y="3061"/>
                  </a:lnTo>
                  <a:lnTo>
                    <a:pt x="2606" y="3061"/>
                  </a:lnTo>
                  <a:close/>
                  <a:moveTo>
                    <a:pt x="2747" y="3078"/>
                  </a:moveTo>
                  <a:lnTo>
                    <a:pt x="2731" y="3066"/>
                  </a:lnTo>
                  <a:lnTo>
                    <a:pt x="2752" y="3078"/>
                  </a:lnTo>
                  <a:lnTo>
                    <a:pt x="2747" y="3078"/>
                  </a:lnTo>
                  <a:lnTo>
                    <a:pt x="2747" y="3078"/>
                  </a:lnTo>
                  <a:lnTo>
                    <a:pt x="2747" y="3078"/>
                  </a:lnTo>
                  <a:close/>
                  <a:moveTo>
                    <a:pt x="2589" y="3095"/>
                  </a:moveTo>
                  <a:lnTo>
                    <a:pt x="2589" y="3083"/>
                  </a:lnTo>
                  <a:lnTo>
                    <a:pt x="2606" y="3083"/>
                  </a:lnTo>
                  <a:lnTo>
                    <a:pt x="2589" y="3095"/>
                  </a:lnTo>
                  <a:lnTo>
                    <a:pt x="2589" y="3095"/>
                  </a:lnTo>
                  <a:lnTo>
                    <a:pt x="2589" y="3095"/>
                  </a:lnTo>
                  <a:close/>
                  <a:moveTo>
                    <a:pt x="2627" y="3132"/>
                  </a:moveTo>
                  <a:lnTo>
                    <a:pt x="2622" y="3116"/>
                  </a:lnTo>
                  <a:lnTo>
                    <a:pt x="2627" y="3123"/>
                  </a:lnTo>
                  <a:lnTo>
                    <a:pt x="2627" y="3132"/>
                  </a:lnTo>
                  <a:lnTo>
                    <a:pt x="2627" y="3132"/>
                  </a:lnTo>
                  <a:lnTo>
                    <a:pt x="2627" y="3132"/>
                  </a:lnTo>
                  <a:close/>
                  <a:moveTo>
                    <a:pt x="2693" y="3149"/>
                  </a:moveTo>
                  <a:lnTo>
                    <a:pt x="2660" y="3139"/>
                  </a:lnTo>
                  <a:lnTo>
                    <a:pt x="2665" y="3132"/>
                  </a:lnTo>
                  <a:lnTo>
                    <a:pt x="2698" y="3149"/>
                  </a:lnTo>
                  <a:lnTo>
                    <a:pt x="2693" y="3149"/>
                  </a:lnTo>
                  <a:lnTo>
                    <a:pt x="2693" y="3149"/>
                  </a:lnTo>
                  <a:lnTo>
                    <a:pt x="2693" y="3149"/>
                  </a:lnTo>
                  <a:close/>
                  <a:moveTo>
                    <a:pt x="2731" y="3139"/>
                  </a:moveTo>
                  <a:lnTo>
                    <a:pt x="2736" y="3139"/>
                  </a:lnTo>
                  <a:lnTo>
                    <a:pt x="2714" y="3139"/>
                  </a:lnTo>
                  <a:lnTo>
                    <a:pt x="2731" y="3139"/>
                  </a:lnTo>
                  <a:lnTo>
                    <a:pt x="2731" y="3139"/>
                  </a:lnTo>
                  <a:lnTo>
                    <a:pt x="2731" y="3139"/>
                  </a:lnTo>
                  <a:close/>
                  <a:moveTo>
                    <a:pt x="2769" y="3156"/>
                  </a:moveTo>
                  <a:lnTo>
                    <a:pt x="2769" y="3149"/>
                  </a:lnTo>
                  <a:lnTo>
                    <a:pt x="2773" y="3139"/>
                  </a:lnTo>
                  <a:lnTo>
                    <a:pt x="2823" y="3149"/>
                  </a:lnTo>
                  <a:lnTo>
                    <a:pt x="2769" y="3156"/>
                  </a:lnTo>
                  <a:lnTo>
                    <a:pt x="2769" y="3156"/>
                  </a:lnTo>
                  <a:lnTo>
                    <a:pt x="2769" y="3156"/>
                  </a:lnTo>
                  <a:close/>
                  <a:moveTo>
                    <a:pt x="2736" y="3139"/>
                  </a:moveTo>
                  <a:lnTo>
                    <a:pt x="2714" y="3156"/>
                  </a:lnTo>
                  <a:lnTo>
                    <a:pt x="2747" y="3156"/>
                  </a:lnTo>
                  <a:lnTo>
                    <a:pt x="2747" y="3161"/>
                  </a:lnTo>
                  <a:lnTo>
                    <a:pt x="2736" y="3161"/>
                  </a:lnTo>
                  <a:lnTo>
                    <a:pt x="2736" y="3172"/>
                  </a:lnTo>
                  <a:lnTo>
                    <a:pt x="2731" y="3172"/>
                  </a:lnTo>
                  <a:lnTo>
                    <a:pt x="2719" y="3161"/>
                  </a:lnTo>
                  <a:lnTo>
                    <a:pt x="2714" y="3161"/>
                  </a:lnTo>
                  <a:lnTo>
                    <a:pt x="2693" y="3156"/>
                  </a:lnTo>
                  <a:lnTo>
                    <a:pt x="2698" y="3149"/>
                  </a:lnTo>
                  <a:lnTo>
                    <a:pt x="2719" y="3149"/>
                  </a:lnTo>
                  <a:lnTo>
                    <a:pt x="2736" y="3139"/>
                  </a:lnTo>
                  <a:lnTo>
                    <a:pt x="2736" y="3139"/>
                  </a:lnTo>
                  <a:lnTo>
                    <a:pt x="2736" y="3139"/>
                  </a:lnTo>
                  <a:close/>
                  <a:moveTo>
                    <a:pt x="2899" y="3139"/>
                  </a:moveTo>
                  <a:lnTo>
                    <a:pt x="2953" y="3149"/>
                  </a:lnTo>
                  <a:lnTo>
                    <a:pt x="2967" y="3161"/>
                  </a:lnTo>
                  <a:lnTo>
                    <a:pt x="2962" y="3177"/>
                  </a:lnTo>
                  <a:lnTo>
                    <a:pt x="2946" y="3177"/>
                  </a:lnTo>
                  <a:lnTo>
                    <a:pt x="2946" y="3172"/>
                  </a:lnTo>
                  <a:lnTo>
                    <a:pt x="2936" y="3172"/>
                  </a:lnTo>
                  <a:lnTo>
                    <a:pt x="2929" y="3177"/>
                  </a:lnTo>
                  <a:lnTo>
                    <a:pt x="2915" y="3177"/>
                  </a:lnTo>
                  <a:lnTo>
                    <a:pt x="2915" y="3172"/>
                  </a:lnTo>
                  <a:lnTo>
                    <a:pt x="2899" y="3177"/>
                  </a:lnTo>
                  <a:lnTo>
                    <a:pt x="2891" y="3149"/>
                  </a:lnTo>
                  <a:lnTo>
                    <a:pt x="2877" y="3149"/>
                  </a:lnTo>
                  <a:lnTo>
                    <a:pt x="2899" y="3139"/>
                  </a:lnTo>
                  <a:lnTo>
                    <a:pt x="2899" y="3139"/>
                  </a:lnTo>
                  <a:lnTo>
                    <a:pt x="2899" y="3139"/>
                  </a:lnTo>
                  <a:close/>
                  <a:moveTo>
                    <a:pt x="2802" y="3189"/>
                  </a:moveTo>
                  <a:lnTo>
                    <a:pt x="2785" y="3177"/>
                  </a:lnTo>
                  <a:lnTo>
                    <a:pt x="2802" y="3172"/>
                  </a:lnTo>
                  <a:lnTo>
                    <a:pt x="2773" y="3177"/>
                  </a:lnTo>
                  <a:lnTo>
                    <a:pt x="2757" y="3161"/>
                  </a:lnTo>
                  <a:lnTo>
                    <a:pt x="2773" y="3156"/>
                  </a:lnTo>
                  <a:lnTo>
                    <a:pt x="2865" y="3149"/>
                  </a:lnTo>
                  <a:lnTo>
                    <a:pt x="2882" y="3156"/>
                  </a:lnTo>
                  <a:lnTo>
                    <a:pt x="2861" y="3172"/>
                  </a:lnTo>
                  <a:lnTo>
                    <a:pt x="2828" y="3156"/>
                  </a:lnTo>
                  <a:lnTo>
                    <a:pt x="2854" y="3172"/>
                  </a:lnTo>
                  <a:lnTo>
                    <a:pt x="2882" y="3172"/>
                  </a:lnTo>
                  <a:lnTo>
                    <a:pt x="2891" y="3177"/>
                  </a:lnTo>
                  <a:lnTo>
                    <a:pt x="2854" y="3177"/>
                  </a:lnTo>
                  <a:lnTo>
                    <a:pt x="2891" y="3194"/>
                  </a:lnTo>
                  <a:lnTo>
                    <a:pt x="2908" y="3210"/>
                  </a:lnTo>
                  <a:lnTo>
                    <a:pt x="2899" y="3227"/>
                  </a:lnTo>
                  <a:lnTo>
                    <a:pt x="2877" y="3206"/>
                  </a:lnTo>
                  <a:lnTo>
                    <a:pt x="2844" y="3206"/>
                  </a:lnTo>
                  <a:lnTo>
                    <a:pt x="2839" y="3194"/>
                  </a:lnTo>
                  <a:lnTo>
                    <a:pt x="2854" y="3189"/>
                  </a:lnTo>
                  <a:lnTo>
                    <a:pt x="2844" y="3189"/>
                  </a:lnTo>
                  <a:lnTo>
                    <a:pt x="2844" y="3172"/>
                  </a:lnTo>
                  <a:lnTo>
                    <a:pt x="2828" y="3177"/>
                  </a:lnTo>
                  <a:lnTo>
                    <a:pt x="2823" y="3161"/>
                  </a:lnTo>
                  <a:lnTo>
                    <a:pt x="2806" y="3172"/>
                  </a:lnTo>
                  <a:lnTo>
                    <a:pt x="2811" y="3172"/>
                  </a:lnTo>
                  <a:lnTo>
                    <a:pt x="2806" y="3177"/>
                  </a:lnTo>
                  <a:lnTo>
                    <a:pt x="2811" y="3194"/>
                  </a:lnTo>
                  <a:lnTo>
                    <a:pt x="2823" y="3194"/>
                  </a:lnTo>
                  <a:lnTo>
                    <a:pt x="2823" y="3206"/>
                  </a:lnTo>
                  <a:lnTo>
                    <a:pt x="2806" y="3206"/>
                  </a:lnTo>
                  <a:lnTo>
                    <a:pt x="2802" y="3194"/>
                  </a:lnTo>
                  <a:lnTo>
                    <a:pt x="2806" y="3189"/>
                  </a:lnTo>
                  <a:lnTo>
                    <a:pt x="2802" y="3189"/>
                  </a:lnTo>
                  <a:lnTo>
                    <a:pt x="2802" y="3189"/>
                  </a:lnTo>
                  <a:lnTo>
                    <a:pt x="2802" y="3189"/>
                  </a:lnTo>
                  <a:close/>
                  <a:moveTo>
                    <a:pt x="2979" y="3156"/>
                  </a:moveTo>
                  <a:lnTo>
                    <a:pt x="2988" y="3161"/>
                  </a:lnTo>
                  <a:lnTo>
                    <a:pt x="2967" y="3156"/>
                  </a:lnTo>
                  <a:lnTo>
                    <a:pt x="2979" y="3156"/>
                  </a:lnTo>
                  <a:lnTo>
                    <a:pt x="2979" y="3156"/>
                  </a:lnTo>
                  <a:lnTo>
                    <a:pt x="2979" y="3156"/>
                  </a:lnTo>
                  <a:close/>
                  <a:moveTo>
                    <a:pt x="3005" y="3177"/>
                  </a:moveTo>
                  <a:lnTo>
                    <a:pt x="3000" y="3172"/>
                  </a:lnTo>
                  <a:lnTo>
                    <a:pt x="3017" y="3172"/>
                  </a:lnTo>
                  <a:lnTo>
                    <a:pt x="3005" y="3177"/>
                  </a:lnTo>
                  <a:lnTo>
                    <a:pt x="3005" y="3177"/>
                  </a:lnTo>
                  <a:lnTo>
                    <a:pt x="3005" y="3177"/>
                  </a:lnTo>
                  <a:close/>
                  <a:moveTo>
                    <a:pt x="2984" y="3177"/>
                  </a:moveTo>
                  <a:lnTo>
                    <a:pt x="2984" y="3189"/>
                  </a:lnTo>
                  <a:lnTo>
                    <a:pt x="2967" y="3189"/>
                  </a:lnTo>
                  <a:lnTo>
                    <a:pt x="2979" y="3177"/>
                  </a:lnTo>
                  <a:lnTo>
                    <a:pt x="2984" y="3177"/>
                  </a:lnTo>
                  <a:lnTo>
                    <a:pt x="2984" y="3177"/>
                  </a:lnTo>
                  <a:lnTo>
                    <a:pt x="2984" y="3177"/>
                  </a:lnTo>
                  <a:close/>
                  <a:moveTo>
                    <a:pt x="2769" y="3189"/>
                  </a:moveTo>
                  <a:lnTo>
                    <a:pt x="2757" y="3177"/>
                  </a:lnTo>
                  <a:lnTo>
                    <a:pt x="2769" y="3177"/>
                  </a:lnTo>
                  <a:lnTo>
                    <a:pt x="2769" y="3189"/>
                  </a:lnTo>
                  <a:lnTo>
                    <a:pt x="2769" y="3189"/>
                  </a:lnTo>
                  <a:lnTo>
                    <a:pt x="2769" y="3189"/>
                  </a:lnTo>
                  <a:close/>
                  <a:moveTo>
                    <a:pt x="2785" y="3194"/>
                  </a:moveTo>
                  <a:lnTo>
                    <a:pt x="2785" y="3189"/>
                  </a:lnTo>
                  <a:lnTo>
                    <a:pt x="2790" y="3189"/>
                  </a:lnTo>
                  <a:lnTo>
                    <a:pt x="2785" y="3194"/>
                  </a:lnTo>
                  <a:lnTo>
                    <a:pt x="2785" y="3194"/>
                  </a:lnTo>
                  <a:lnTo>
                    <a:pt x="2785" y="3194"/>
                  </a:lnTo>
                  <a:close/>
                  <a:moveTo>
                    <a:pt x="2925" y="3210"/>
                  </a:moveTo>
                  <a:lnTo>
                    <a:pt x="2929" y="3206"/>
                  </a:lnTo>
                  <a:lnTo>
                    <a:pt x="2936" y="3206"/>
                  </a:lnTo>
                  <a:lnTo>
                    <a:pt x="2925" y="3210"/>
                  </a:lnTo>
                  <a:lnTo>
                    <a:pt x="2925" y="3210"/>
                  </a:lnTo>
                  <a:lnTo>
                    <a:pt x="2925" y="3210"/>
                  </a:lnTo>
                  <a:close/>
                  <a:moveTo>
                    <a:pt x="2953" y="3234"/>
                  </a:moveTo>
                  <a:lnTo>
                    <a:pt x="2936" y="3227"/>
                  </a:lnTo>
                  <a:lnTo>
                    <a:pt x="2936" y="3217"/>
                  </a:lnTo>
                  <a:lnTo>
                    <a:pt x="2953" y="3210"/>
                  </a:lnTo>
                  <a:lnTo>
                    <a:pt x="2962" y="3227"/>
                  </a:lnTo>
                  <a:lnTo>
                    <a:pt x="2953" y="3234"/>
                  </a:lnTo>
                  <a:lnTo>
                    <a:pt x="2953" y="3234"/>
                  </a:lnTo>
                  <a:lnTo>
                    <a:pt x="2953" y="3234"/>
                  </a:lnTo>
                  <a:close/>
                  <a:moveTo>
                    <a:pt x="2967" y="3243"/>
                  </a:moveTo>
                  <a:lnTo>
                    <a:pt x="2962" y="3243"/>
                  </a:lnTo>
                  <a:lnTo>
                    <a:pt x="2967" y="3234"/>
                  </a:lnTo>
                  <a:lnTo>
                    <a:pt x="2967" y="3243"/>
                  </a:lnTo>
                  <a:lnTo>
                    <a:pt x="2967" y="3243"/>
                  </a:lnTo>
                  <a:lnTo>
                    <a:pt x="2967" y="3243"/>
                  </a:lnTo>
                  <a:close/>
                  <a:moveTo>
                    <a:pt x="2929" y="3243"/>
                  </a:moveTo>
                  <a:lnTo>
                    <a:pt x="2915" y="3234"/>
                  </a:lnTo>
                  <a:lnTo>
                    <a:pt x="2936" y="3234"/>
                  </a:lnTo>
                  <a:lnTo>
                    <a:pt x="2929" y="3243"/>
                  </a:lnTo>
                  <a:lnTo>
                    <a:pt x="2929" y="3243"/>
                  </a:lnTo>
                  <a:lnTo>
                    <a:pt x="2929" y="3243"/>
                  </a:lnTo>
                  <a:close/>
                  <a:moveTo>
                    <a:pt x="2962" y="3243"/>
                  </a:moveTo>
                  <a:lnTo>
                    <a:pt x="2946" y="3234"/>
                  </a:lnTo>
                  <a:lnTo>
                    <a:pt x="2962" y="3234"/>
                  </a:lnTo>
                  <a:lnTo>
                    <a:pt x="2962" y="3243"/>
                  </a:lnTo>
                  <a:lnTo>
                    <a:pt x="2962" y="3243"/>
                  </a:lnTo>
                  <a:lnTo>
                    <a:pt x="2962" y="324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0" name="Freeform 418">
              <a:extLst>
                <a:ext uri="{FF2B5EF4-FFF2-40B4-BE49-F238E27FC236}">
                  <a16:creationId xmlns:a16="http://schemas.microsoft.com/office/drawing/2014/main" id="{73C4FD50-EE0E-42F1-B010-1DBF19EC5D95}"/>
                </a:ext>
              </a:extLst>
            </p:cNvPr>
            <p:cNvSpPr>
              <a:spLocks noEditPoints="1"/>
            </p:cNvSpPr>
            <p:nvPr/>
          </p:nvSpPr>
          <p:spPr bwMode="gray">
            <a:xfrm>
              <a:off x="4441054" y="3696164"/>
              <a:ext cx="352801" cy="494883"/>
            </a:xfrm>
            <a:custGeom>
              <a:avLst/>
              <a:gdLst>
                <a:gd name="T0" fmla="*/ 92 w 857"/>
                <a:gd name="T1" fmla="*/ 337 h 1202"/>
                <a:gd name="T2" fmla="*/ 134 w 857"/>
                <a:gd name="T3" fmla="*/ 321 h 1202"/>
                <a:gd name="T4" fmla="*/ 146 w 857"/>
                <a:gd name="T5" fmla="*/ 304 h 1202"/>
                <a:gd name="T6" fmla="*/ 163 w 857"/>
                <a:gd name="T7" fmla="*/ 288 h 1202"/>
                <a:gd name="T8" fmla="*/ 243 w 857"/>
                <a:gd name="T9" fmla="*/ 212 h 1202"/>
                <a:gd name="T10" fmla="*/ 269 w 857"/>
                <a:gd name="T11" fmla="*/ 122 h 1202"/>
                <a:gd name="T12" fmla="*/ 323 w 857"/>
                <a:gd name="T13" fmla="*/ 101 h 1202"/>
                <a:gd name="T14" fmla="*/ 335 w 857"/>
                <a:gd name="T15" fmla="*/ 122 h 1202"/>
                <a:gd name="T16" fmla="*/ 479 w 857"/>
                <a:gd name="T17" fmla="*/ 40 h 1202"/>
                <a:gd name="T18" fmla="*/ 496 w 857"/>
                <a:gd name="T19" fmla="*/ 11 h 1202"/>
                <a:gd name="T20" fmla="*/ 517 w 857"/>
                <a:gd name="T21" fmla="*/ 0 h 1202"/>
                <a:gd name="T22" fmla="*/ 503 w 857"/>
                <a:gd name="T23" fmla="*/ 56 h 1202"/>
                <a:gd name="T24" fmla="*/ 427 w 857"/>
                <a:gd name="T25" fmla="*/ 193 h 1202"/>
                <a:gd name="T26" fmla="*/ 441 w 857"/>
                <a:gd name="T27" fmla="*/ 245 h 1202"/>
                <a:gd name="T28" fmla="*/ 465 w 857"/>
                <a:gd name="T29" fmla="*/ 321 h 1202"/>
                <a:gd name="T30" fmla="*/ 524 w 857"/>
                <a:gd name="T31" fmla="*/ 389 h 1202"/>
                <a:gd name="T32" fmla="*/ 630 w 857"/>
                <a:gd name="T33" fmla="*/ 394 h 1202"/>
                <a:gd name="T34" fmla="*/ 701 w 857"/>
                <a:gd name="T35" fmla="*/ 448 h 1202"/>
                <a:gd name="T36" fmla="*/ 819 w 857"/>
                <a:gd name="T37" fmla="*/ 448 h 1202"/>
                <a:gd name="T38" fmla="*/ 789 w 857"/>
                <a:gd name="T39" fmla="*/ 510 h 1202"/>
                <a:gd name="T40" fmla="*/ 827 w 857"/>
                <a:gd name="T41" fmla="*/ 654 h 1202"/>
                <a:gd name="T42" fmla="*/ 836 w 857"/>
                <a:gd name="T43" fmla="*/ 732 h 1202"/>
                <a:gd name="T44" fmla="*/ 827 w 857"/>
                <a:gd name="T45" fmla="*/ 744 h 1202"/>
                <a:gd name="T46" fmla="*/ 756 w 857"/>
                <a:gd name="T47" fmla="*/ 765 h 1202"/>
                <a:gd name="T48" fmla="*/ 647 w 857"/>
                <a:gd name="T49" fmla="*/ 819 h 1202"/>
                <a:gd name="T50" fmla="*/ 685 w 857"/>
                <a:gd name="T51" fmla="*/ 852 h 1202"/>
                <a:gd name="T52" fmla="*/ 664 w 857"/>
                <a:gd name="T53" fmla="*/ 930 h 1202"/>
                <a:gd name="T54" fmla="*/ 642 w 857"/>
                <a:gd name="T55" fmla="*/ 1202 h 1202"/>
                <a:gd name="T56" fmla="*/ 630 w 857"/>
                <a:gd name="T57" fmla="*/ 1098 h 1202"/>
                <a:gd name="T58" fmla="*/ 541 w 857"/>
                <a:gd name="T59" fmla="*/ 1070 h 1202"/>
                <a:gd name="T60" fmla="*/ 479 w 857"/>
                <a:gd name="T61" fmla="*/ 1074 h 1202"/>
                <a:gd name="T62" fmla="*/ 415 w 857"/>
                <a:gd name="T63" fmla="*/ 1070 h 1202"/>
                <a:gd name="T64" fmla="*/ 411 w 857"/>
                <a:gd name="T65" fmla="*/ 1037 h 1202"/>
                <a:gd name="T66" fmla="*/ 340 w 857"/>
                <a:gd name="T67" fmla="*/ 970 h 1202"/>
                <a:gd name="T68" fmla="*/ 297 w 857"/>
                <a:gd name="T69" fmla="*/ 914 h 1202"/>
                <a:gd name="T70" fmla="*/ 215 w 857"/>
                <a:gd name="T71" fmla="*/ 876 h 1202"/>
                <a:gd name="T72" fmla="*/ 177 w 857"/>
                <a:gd name="T73" fmla="*/ 888 h 1202"/>
                <a:gd name="T74" fmla="*/ 101 w 857"/>
                <a:gd name="T75" fmla="*/ 836 h 1202"/>
                <a:gd name="T76" fmla="*/ 16 w 857"/>
                <a:gd name="T77" fmla="*/ 786 h 1202"/>
                <a:gd name="T78" fmla="*/ 38 w 857"/>
                <a:gd name="T79" fmla="*/ 760 h 1202"/>
                <a:gd name="T80" fmla="*/ 54 w 857"/>
                <a:gd name="T81" fmla="*/ 720 h 1202"/>
                <a:gd name="T82" fmla="*/ 87 w 857"/>
                <a:gd name="T83" fmla="*/ 708 h 1202"/>
                <a:gd name="T84" fmla="*/ 118 w 857"/>
                <a:gd name="T85" fmla="*/ 654 h 1202"/>
                <a:gd name="T86" fmla="*/ 125 w 857"/>
                <a:gd name="T87" fmla="*/ 616 h 1202"/>
                <a:gd name="T88" fmla="*/ 118 w 857"/>
                <a:gd name="T89" fmla="*/ 609 h 1202"/>
                <a:gd name="T90" fmla="*/ 125 w 857"/>
                <a:gd name="T91" fmla="*/ 567 h 1202"/>
                <a:gd name="T92" fmla="*/ 134 w 857"/>
                <a:gd name="T93" fmla="*/ 482 h 1202"/>
                <a:gd name="T94" fmla="*/ 125 w 857"/>
                <a:gd name="T95" fmla="*/ 427 h 1202"/>
                <a:gd name="T96" fmla="*/ 118 w 857"/>
                <a:gd name="T97" fmla="*/ 583 h 1202"/>
                <a:gd name="T98" fmla="*/ 118 w 857"/>
                <a:gd name="T99" fmla="*/ 583 h 1202"/>
                <a:gd name="T100" fmla="*/ 118 w 857"/>
                <a:gd name="T101" fmla="*/ 609 h 1202"/>
                <a:gd name="T102" fmla="*/ 118 w 857"/>
                <a:gd name="T103" fmla="*/ 666 h 1202"/>
                <a:gd name="T104" fmla="*/ 118 w 857"/>
                <a:gd name="T105" fmla="*/ 666 h 1202"/>
                <a:gd name="T106" fmla="*/ 108 w 857"/>
                <a:gd name="T107" fmla="*/ 675 h 1202"/>
                <a:gd name="T108" fmla="*/ 108 w 857"/>
                <a:gd name="T109" fmla="*/ 671 h 1202"/>
                <a:gd name="T110" fmla="*/ 87 w 857"/>
                <a:gd name="T111" fmla="*/ 708 h 1202"/>
                <a:gd name="T112" fmla="*/ 71 w 857"/>
                <a:gd name="T113" fmla="*/ 708 h 1202"/>
                <a:gd name="T114" fmla="*/ 80 w 857"/>
                <a:gd name="T115" fmla="*/ 720 h 1202"/>
                <a:gd name="T116" fmla="*/ 71 w 857"/>
                <a:gd name="T117" fmla="*/ 720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7" h="1202">
                  <a:moveTo>
                    <a:pt x="87" y="378"/>
                  </a:moveTo>
                  <a:lnTo>
                    <a:pt x="92" y="361"/>
                  </a:lnTo>
                  <a:lnTo>
                    <a:pt x="92" y="354"/>
                  </a:lnTo>
                  <a:lnTo>
                    <a:pt x="92" y="337"/>
                  </a:lnTo>
                  <a:lnTo>
                    <a:pt x="108" y="354"/>
                  </a:lnTo>
                  <a:lnTo>
                    <a:pt x="125" y="345"/>
                  </a:lnTo>
                  <a:lnTo>
                    <a:pt x="125" y="337"/>
                  </a:lnTo>
                  <a:lnTo>
                    <a:pt x="134" y="321"/>
                  </a:lnTo>
                  <a:lnTo>
                    <a:pt x="134" y="316"/>
                  </a:lnTo>
                  <a:lnTo>
                    <a:pt x="118" y="283"/>
                  </a:lnTo>
                  <a:lnTo>
                    <a:pt x="125" y="278"/>
                  </a:lnTo>
                  <a:lnTo>
                    <a:pt x="146" y="304"/>
                  </a:lnTo>
                  <a:lnTo>
                    <a:pt x="156" y="316"/>
                  </a:lnTo>
                  <a:lnTo>
                    <a:pt x="156" y="321"/>
                  </a:lnTo>
                  <a:lnTo>
                    <a:pt x="163" y="333"/>
                  </a:lnTo>
                  <a:lnTo>
                    <a:pt x="163" y="288"/>
                  </a:lnTo>
                  <a:lnTo>
                    <a:pt x="156" y="283"/>
                  </a:lnTo>
                  <a:lnTo>
                    <a:pt x="193" y="250"/>
                  </a:lnTo>
                  <a:lnTo>
                    <a:pt x="210" y="229"/>
                  </a:lnTo>
                  <a:lnTo>
                    <a:pt x="243" y="212"/>
                  </a:lnTo>
                  <a:lnTo>
                    <a:pt x="248" y="205"/>
                  </a:lnTo>
                  <a:lnTo>
                    <a:pt x="243" y="193"/>
                  </a:lnTo>
                  <a:lnTo>
                    <a:pt x="252" y="134"/>
                  </a:lnTo>
                  <a:lnTo>
                    <a:pt x="269" y="122"/>
                  </a:lnTo>
                  <a:lnTo>
                    <a:pt x="269" y="118"/>
                  </a:lnTo>
                  <a:lnTo>
                    <a:pt x="286" y="111"/>
                  </a:lnTo>
                  <a:lnTo>
                    <a:pt x="297" y="94"/>
                  </a:lnTo>
                  <a:lnTo>
                    <a:pt x="323" y="101"/>
                  </a:lnTo>
                  <a:lnTo>
                    <a:pt x="340" y="101"/>
                  </a:lnTo>
                  <a:lnTo>
                    <a:pt x="319" y="111"/>
                  </a:lnTo>
                  <a:lnTo>
                    <a:pt x="319" y="118"/>
                  </a:lnTo>
                  <a:lnTo>
                    <a:pt x="335" y="122"/>
                  </a:lnTo>
                  <a:lnTo>
                    <a:pt x="352" y="78"/>
                  </a:lnTo>
                  <a:lnTo>
                    <a:pt x="411" y="85"/>
                  </a:lnTo>
                  <a:lnTo>
                    <a:pt x="449" y="56"/>
                  </a:lnTo>
                  <a:lnTo>
                    <a:pt x="479" y="40"/>
                  </a:lnTo>
                  <a:lnTo>
                    <a:pt x="486" y="23"/>
                  </a:lnTo>
                  <a:lnTo>
                    <a:pt x="486" y="11"/>
                  </a:lnTo>
                  <a:lnTo>
                    <a:pt x="503" y="11"/>
                  </a:lnTo>
                  <a:lnTo>
                    <a:pt x="496" y="11"/>
                  </a:lnTo>
                  <a:lnTo>
                    <a:pt x="503" y="23"/>
                  </a:lnTo>
                  <a:lnTo>
                    <a:pt x="524" y="0"/>
                  </a:lnTo>
                  <a:lnTo>
                    <a:pt x="517" y="0"/>
                  </a:lnTo>
                  <a:lnTo>
                    <a:pt x="517" y="0"/>
                  </a:lnTo>
                  <a:lnTo>
                    <a:pt x="555" y="7"/>
                  </a:lnTo>
                  <a:lnTo>
                    <a:pt x="555" y="28"/>
                  </a:lnTo>
                  <a:lnTo>
                    <a:pt x="550" y="40"/>
                  </a:lnTo>
                  <a:lnTo>
                    <a:pt x="503" y="56"/>
                  </a:lnTo>
                  <a:lnTo>
                    <a:pt x="486" y="85"/>
                  </a:lnTo>
                  <a:lnTo>
                    <a:pt x="465" y="94"/>
                  </a:lnTo>
                  <a:lnTo>
                    <a:pt x="432" y="139"/>
                  </a:lnTo>
                  <a:lnTo>
                    <a:pt x="427" y="193"/>
                  </a:lnTo>
                  <a:lnTo>
                    <a:pt x="404" y="234"/>
                  </a:lnTo>
                  <a:lnTo>
                    <a:pt x="427" y="229"/>
                  </a:lnTo>
                  <a:lnTo>
                    <a:pt x="432" y="234"/>
                  </a:lnTo>
                  <a:lnTo>
                    <a:pt x="441" y="245"/>
                  </a:lnTo>
                  <a:lnTo>
                    <a:pt x="449" y="278"/>
                  </a:lnTo>
                  <a:lnTo>
                    <a:pt x="470" y="288"/>
                  </a:lnTo>
                  <a:lnTo>
                    <a:pt x="470" y="316"/>
                  </a:lnTo>
                  <a:lnTo>
                    <a:pt x="465" y="321"/>
                  </a:lnTo>
                  <a:lnTo>
                    <a:pt x="465" y="354"/>
                  </a:lnTo>
                  <a:lnTo>
                    <a:pt x="486" y="373"/>
                  </a:lnTo>
                  <a:lnTo>
                    <a:pt x="496" y="394"/>
                  </a:lnTo>
                  <a:lnTo>
                    <a:pt x="524" y="389"/>
                  </a:lnTo>
                  <a:lnTo>
                    <a:pt x="555" y="394"/>
                  </a:lnTo>
                  <a:lnTo>
                    <a:pt x="588" y="389"/>
                  </a:lnTo>
                  <a:lnTo>
                    <a:pt x="621" y="394"/>
                  </a:lnTo>
                  <a:lnTo>
                    <a:pt x="630" y="394"/>
                  </a:lnTo>
                  <a:lnTo>
                    <a:pt x="680" y="456"/>
                  </a:lnTo>
                  <a:lnTo>
                    <a:pt x="685" y="456"/>
                  </a:lnTo>
                  <a:lnTo>
                    <a:pt x="697" y="456"/>
                  </a:lnTo>
                  <a:lnTo>
                    <a:pt x="701" y="448"/>
                  </a:lnTo>
                  <a:lnTo>
                    <a:pt x="734" y="456"/>
                  </a:lnTo>
                  <a:lnTo>
                    <a:pt x="782" y="448"/>
                  </a:lnTo>
                  <a:lnTo>
                    <a:pt x="789" y="444"/>
                  </a:lnTo>
                  <a:lnTo>
                    <a:pt x="819" y="448"/>
                  </a:lnTo>
                  <a:lnTo>
                    <a:pt x="819" y="465"/>
                  </a:lnTo>
                  <a:lnTo>
                    <a:pt x="805" y="482"/>
                  </a:lnTo>
                  <a:lnTo>
                    <a:pt x="805" y="498"/>
                  </a:lnTo>
                  <a:lnTo>
                    <a:pt x="789" y="510"/>
                  </a:lnTo>
                  <a:lnTo>
                    <a:pt x="789" y="567"/>
                  </a:lnTo>
                  <a:lnTo>
                    <a:pt x="805" y="621"/>
                  </a:lnTo>
                  <a:lnTo>
                    <a:pt x="810" y="633"/>
                  </a:lnTo>
                  <a:lnTo>
                    <a:pt x="827" y="654"/>
                  </a:lnTo>
                  <a:lnTo>
                    <a:pt x="789" y="692"/>
                  </a:lnTo>
                  <a:lnTo>
                    <a:pt x="805" y="692"/>
                  </a:lnTo>
                  <a:lnTo>
                    <a:pt x="836" y="727"/>
                  </a:lnTo>
                  <a:lnTo>
                    <a:pt x="836" y="732"/>
                  </a:lnTo>
                  <a:lnTo>
                    <a:pt x="857" y="815"/>
                  </a:lnTo>
                  <a:lnTo>
                    <a:pt x="843" y="815"/>
                  </a:lnTo>
                  <a:lnTo>
                    <a:pt x="843" y="782"/>
                  </a:lnTo>
                  <a:lnTo>
                    <a:pt x="827" y="744"/>
                  </a:lnTo>
                  <a:lnTo>
                    <a:pt x="819" y="744"/>
                  </a:lnTo>
                  <a:lnTo>
                    <a:pt x="789" y="777"/>
                  </a:lnTo>
                  <a:lnTo>
                    <a:pt x="767" y="760"/>
                  </a:lnTo>
                  <a:lnTo>
                    <a:pt x="756" y="765"/>
                  </a:lnTo>
                  <a:lnTo>
                    <a:pt x="767" y="777"/>
                  </a:lnTo>
                  <a:lnTo>
                    <a:pt x="675" y="765"/>
                  </a:lnTo>
                  <a:lnTo>
                    <a:pt x="647" y="777"/>
                  </a:lnTo>
                  <a:lnTo>
                    <a:pt x="647" y="819"/>
                  </a:lnTo>
                  <a:lnTo>
                    <a:pt x="685" y="819"/>
                  </a:lnTo>
                  <a:lnTo>
                    <a:pt x="697" y="836"/>
                  </a:lnTo>
                  <a:lnTo>
                    <a:pt x="701" y="852"/>
                  </a:lnTo>
                  <a:lnTo>
                    <a:pt x="685" y="852"/>
                  </a:lnTo>
                  <a:lnTo>
                    <a:pt x="680" y="848"/>
                  </a:lnTo>
                  <a:lnTo>
                    <a:pt x="630" y="852"/>
                  </a:lnTo>
                  <a:lnTo>
                    <a:pt x="630" y="909"/>
                  </a:lnTo>
                  <a:lnTo>
                    <a:pt x="664" y="930"/>
                  </a:lnTo>
                  <a:lnTo>
                    <a:pt x="664" y="947"/>
                  </a:lnTo>
                  <a:lnTo>
                    <a:pt x="680" y="970"/>
                  </a:lnTo>
                  <a:lnTo>
                    <a:pt x="680" y="996"/>
                  </a:lnTo>
                  <a:lnTo>
                    <a:pt x="642" y="1202"/>
                  </a:lnTo>
                  <a:lnTo>
                    <a:pt x="621" y="1169"/>
                  </a:lnTo>
                  <a:lnTo>
                    <a:pt x="604" y="1181"/>
                  </a:lnTo>
                  <a:lnTo>
                    <a:pt x="588" y="1169"/>
                  </a:lnTo>
                  <a:lnTo>
                    <a:pt x="630" y="1098"/>
                  </a:lnTo>
                  <a:lnTo>
                    <a:pt x="621" y="1074"/>
                  </a:lnTo>
                  <a:lnTo>
                    <a:pt x="593" y="1074"/>
                  </a:lnTo>
                  <a:lnTo>
                    <a:pt x="578" y="1058"/>
                  </a:lnTo>
                  <a:lnTo>
                    <a:pt x="541" y="1070"/>
                  </a:lnTo>
                  <a:lnTo>
                    <a:pt x="517" y="1058"/>
                  </a:lnTo>
                  <a:lnTo>
                    <a:pt x="517" y="1053"/>
                  </a:lnTo>
                  <a:lnTo>
                    <a:pt x="503" y="1070"/>
                  </a:lnTo>
                  <a:lnTo>
                    <a:pt x="479" y="1074"/>
                  </a:lnTo>
                  <a:lnTo>
                    <a:pt x="458" y="1070"/>
                  </a:lnTo>
                  <a:lnTo>
                    <a:pt x="432" y="1074"/>
                  </a:lnTo>
                  <a:lnTo>
                    <a:pt x="432" y="1070"/>
                  </a:lnTo>
                  <a:lnTo>
                    <a:pt x="415" y="1070"/>
                  </a:lnTo>
                  <a:lnTo>
                    <a:pt x="427" y="1053"/>
                  </a:lnTo>
                  <a:lnTo>
                    <a:pt x="415" y="1025"/>
                  </a:lnTo>
                  <a:lnTo>
                    <a:pt x="415" y="1025"/>
                  </a:lnTo>
                  <a:lnTo>
                    <a:pt x="411" y="1037"/>
                  </a:lnTo>
                  <a:lnTo>
                    <a:pt x="394" y="1020"/>
                  </a:lnTo>
                  <a:lnTo>
                    <a:pt x="394" y="1013"/>
                  </a:lnTo>
                  <a:lnTo>
                    <a:pt x="389" y="996"/>
                  </a:lnTo>
                  <a:lnTo>
                    <a:pt x="340" y="970"/>
                  </a:lnTo>
                  <a:lnTo>
                    <a:pt x="335" y="942"/>
                  </a:lnTo>
                  <a:lnTo>
                    <a:pt x="307" y="926"/>
                  </a:lnTo>
                  <a:lnTo>
                    <a:pt x="302" y="909"/>
                  </a:lnTo>
                  <a:lnTo>
                    <a:pt x="297" y="914"/>
                  </a:lnTo>
                  <a:lnTo>
                    <a:pt x="269" y="904"/>
                  </a:lnTo>
                  <a:lnTo>
                    <a:pt x="269" y="909"/>
                  </a:lnTo>
                  <a:lnTo>
                    <a:pt x="231" y="893"/>
                  </a:lnTo>
                  <a:lnTo>
                    <a:pt x="215" y="876"/>
                  </a:lnTo>
                  <a:lnTo>
                    <a:pt x="201" y="869"/>
                  </a:lnTo>
                  <a:lnTo>
                    <a:pt x="189" y="869"/>
                  </a:lnTo>
                  <a:lnTo>
                    <a:pt x="189" y="876"/>
                  </a:lnTo>
                  <a:lnTo>
                    <a:pt x="177" y="888"/>
                  </a:lnTo>
                  <a:lnTo>
                    <a:pt x="125" y="869"/>
                  </a:lnTo>
                  <a:lnTo>
                    <a:pt x="118" y="852"/>
                  </a:lnTo>
                  <a:lnTo>
                    <a:pt x="101" y="848"/>
                  </a:lnTo>
                  <a:lnTo>
                    <a:pt x="101" y="836"/>
                  </a:lnTo>
                  <a:lnTo>
                    <a:pt x="87" y="836"/>
                  </a:lnTo>
                  <a:lnTo>
                    <a:pt x="71" y="831"/>
                  </a:lnTo>
                  <a:lnTo>
                    <a:pt x="26" y="798"/>
                  </a:lnTo>
                  <a:lnTo>
                    <a:pt x="16" y="786"/>
                  </a:lnTo>
                  <a:lnTo>
                    <a:pt x="0" y="782"/>
                  </a:lnTo>
                  <a:lnTo>
                    <a:pt x="16" y="765"/>
                  </a:lnTo>
                  <a:lnTo>
                    <a:pt x="38" y="777"/>
                  </a:lnTo>
                  <a:lnTo>
                    <a:pt x="38" y="760"/>
                  </a:lnTo>
                  <a:lnTo>
                    <a:pt x="33" y="744"/>
                  </a:lnTo>
                  <a:lnTo>
                    <a:pt x="38" y="727"/>
                  </a:lnTo>
                  <a:lnTo>
                    <a:pt x="49" y="720"/>
                  </a:lnTo>
                  <a:lnTo>
                    <a:pt x="54" y="720"/>
                  </a:lnTo>
                  <a:lnTo>
                    <a:pt x="64" y="720"/>
                  </a:lnTo>
                  <a:lnTo>
                    <a:pt x="80" y="720"/>
                  </a:lnTo>
                  <a:lnTo>
                    <a:pt x="80" y="704"/>
                  </a:lnTo>
                  <a:lnTo>
                    <a:pt x="87" y="708"/>
                  </a:lnTo>
                  <a:lnTo>
                    <a:pt x="92" y="708"/>
                  </a:lnTo>
                  <a:lnTo>
                    <a:pt x="92" y="704"/>
                  </a:lnTo>
                  <a:lnTo>
                    <a:pt x="118" y="666"/>
                  </a:lnTo>
                  <a:lnTo>
                    <a:pt x="118" y="654"/>
                  </a:lnTo>
                  <a:lnTo>
                    <a:pt x="139" y="633"/>
                  </a:lnTo>
                  <a:lnTo>
                    <a:pt x="146" y="616"/>
                  </a:lnTo>
                  <a:lnTo>
                    <a:pt x="134" y="621"/>
                  </a:lnTo>
                  <a:lnTo>
                    <a:pt x="125" y="616"/>
                  </a:lnTo>
                  <a:lnTo>
                    <a:pt x="134" y="609"/>
                  </a:lnTo>
                  <a:lnTo>
                    <a:pt x="134" y="600"/>
                  </a:lnTo>
                  <a:lnTo>
                    <a:pt x="125" y="616"/>
                  </a:lnTo>
                  <a:lnTo>
                    <a:pt x="118" y="609"/>
                  </a:lnTo>
                  <a:lnTo>
                    <a:pt x="118" y="600"/>
                  </a:lnTo>
                  <a:lnTo>
                    <a:pt x="134" y="593"/>
                  </a:lnTo>
                  <a:lnTo>
                    <a:pt x="118" y="583"/>
                  </a:lnTo>
                  <a:lnTo>
                    <a:pt x="125" y="567"/>
                  </a:lnTo>
                  <a:lnTo>
                    <a:pt x="125" y="522"/>
                  </a:lnTo>
                  <a:lnTo>
                    <a:pt x="118" y="505"/>
                  </a:lnTo>
                  <a:lnTo>
                    <a:pt x="108" y="498"/>
                  </a:lnTo>
                  <a:lnTo>
                    <a:pt x="134" y="482"/>
                  </a:lnTo>
                  <a:lnTo>
                    <a:pt x="118" y="448"/>
                  </a:lnTo>
                  <a:lnTo>
                    <a:pt x="118" y="444"/>
                  </a:lnTo>
                  <a:lnTo>
                    <a:pt x="118" y="448"/>
                  </a:lnTo>
                  <a:lnTo>
                    <a:pt x="125" y="427"/>
                  </a:lnTo>
                  <a:lnTo>
                    <a:pt x="87" y="378"/>
                  </a:lnTo>
                  <a:lnTo>
                    <a:pt x="87" y="378"/>
                  </a:lnTo>
                  <a:lnTo>
                    <a:pt x="87" y="378"/>
                  </a:lnTo>
                  <a:close/>
                  <a:moveTo>
                    <a:pt x="118" y="583"/>
                  </a:moveTo>
                  <a:lnTo>
                    <a:pt x="125" y="593"/>
                  </a:lnTo>
                  <a:lnTo>
                    <a:pt x="108" y="593"/>
                  </a:lnTo>
                  <a:lnTo>
                    <a:pt x="118" y="583"/>
                  </a:lnTo>
                  <a:lnTo>
                    <a:pt x="118" y="583"/>
                  </a:lnTo>
                  <a:lnTo>
                    <a:pt x="118" y="583"/>
                  </a:lnTo>
                  <a:close/>
                  <a:moveTo>
                    <a:pt x="108" y="600"/>
                  </a:moveTo>
                  <a:lnTo>
                    <a:pt x="118" y="600"/>
                  </a:lnTo>
                  <a:lnTo>
                    <a:pt x="118" y="609"/>
                  </a:lnTo>
                  <a:lnTo>
                    <a:pt x="108" y="600"/>
                  </a:lnTo>
                  <a:lnTo>
                    <a:pt x="108" y="600"/>
                  </a:lnTo>
                  <a:lnTo>
                    <a:pt x="108" y="600"/>
                  </a:lnTo>
                  <a:close/>
                  <a:moveTo>
                    <a:pt x="118" y="666"/>
                  </a:moveTo>
                  <a:lnTo>
                    <a:pt x="108" y="666"/>
                  </a:lnTo>
                  <a:lnTo>
                    <a:pt x="118" y="666"/>
                  </a:lnTo>
                  <a:lnTo>
                    <a:pt x="118" y="666"/>
                  </a:lnTo>
                  <a:lnTo>
                    <a:pt x="118" y="666"/>
                  </a:lnTo>
                  <a:lnTo>
                    <a:pt x="118" y="666"/>
                  </a:lnTo>
                  <a:close/>
                  <a:moveTo>
                    <a:pt x="108" y="671"/>
                  </a:moveTo>
                  <a:lnTo>
                    <a:pt x="108" y="666"/>
                  </a:lnTo>
                  <a:lnTo>
                    <a:pt x="108" y="675"/>
                  </a:lnTo>
                  <a:lnTo>
                    <a:pt x="101" y="675"/>
                  </a:lnTo>
                  <a:lnTo>
                    <a:pt x="108" y="671"/>
                  </a:lnTo>
                  <a:lnTo>
                    <a:pt x="108" y="671"/>
                  </a:lnTo>
                  <a:lnTo>
                    <a:pt x="108" y="671"/>
                  </a:lnTo>
                  <a:close/>
                  <a:moveTo>
                    <a:pt x="87" y="708"/>
                  </a:moveTo>
                  <a:lnTo>
                    <a:pt x="87" y="704"/>
                  </a:lnTo>
                  <a:lnTo>
                    <a:pt x="92" y="708"/>
                  </a:lnTo>
                  <a:lnTo>
                    <a:pt x="87" y="708"/>
                  </a:lnTo>
                  <a:lnTo>
                    <a:pt x="87" y="708"/>
                  </a:lnTo>
                  <a:lnTo>
                    <a:pt x="87" y="708"/>
                  </a:lnTo>
                  <a:close/>
                  <a:moveTo>
                    <a:pt x="80" y="720"/>
                  </a:moveTo>
                  <a:lnTo>
                    <a:pt x="71" y="708"/>
                  </a:lnTo>
                  <a:lnTo>
                    <a:pt x="80" y="704"/>
                  </a:lnTo>
                  <a:lnTo>
                    <a:pt x="80" y="720"/>
                  </a:lnTo>
                  <a:lnTo>
                    <a:pt x="80" y="720"/>
                  </a:lnTo>
                  <a:lnTo>
                    <a:pt x="80" y="720"/>
                  </a:lnTo>
                  <a:close/>
                  <a:moveTo>
                    <a:pt x="71" y="720"/>
                  </a:moveTo>
                  <a:lnTo>
                    <a:pt x="64" y="708"/>
                  </a:lnTo>
                  <a:lnTo>
                    <a:pt x="71" y="708"/>
                  </a:lnTo>
                  <a:lnTo>
                    <a:pt x="71" y="720"/>
                  </a:lnTo>
                  <a:lnTo>
                    <a:pt x="71" y="720"/>
                  </a:lnTo>
                  <a:lnTo>
                    <a:pt x="71" y="72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1" name="Freeform 420">
              <a:extLst>
                <a:ext uri="{FF2B5EF4-FFF2-40B4-BE49-F238E27FC236}">
                  <a16:creationId xmlns:a16="http://schemas.microsoft.com/office/drawing/2014/main" id="{40708105-30B3-4DB0-A0F2-08103D96E008}"/>
                </a:ext>
              </a:extLst>
            </p:cNvPr>
            <p:cNvSpPr>
              <a:spLocks/>
            </p:cNvSpPr>
            <p:nvPr/>
          </p:nvSpPr>
          <p:spPr bwMode="gray">
            <a:xfrm>
              <a:off x="4246335" y="3729925"/>
              <a:ext cx="95508" cy="95519"/>
            </a:xfrm>
            <a:custGeom>
              <a:avLst/>
              <a:gdLst>
                <a:gd name="T0" fmla="*/ 232 w 232"/>
                <a:gd name="T1" fmla="*/ 121 h 232"/>
                <a:gd name="T2" fmla="*/ 232 w 232"/>
                <a:gd name="T3" fmla="*/ 128 h 232"/>
                <a:gd name="T4" fmla="*/ 215 w 232"/>
                <a:gd name="T5" fmla="*/ 121 h 232"/>
                <a:gd name="T6" fmla="*/ 206 w 232"/>
                <a:gd name="T7" fmla="*/ 128 h 232"/>
                <a:gd name="T8" fmla="*/ 206 w 232"/>
                <a:gd name="T9" fmla="*/ 161 h 232"/>
                <a:gd name="T10" fmla="*/ 222 w 232"/>
                <a:gd name="T11" fmla="*/ 166 h 232"/>
                <a:gd name="T12" fmla="*/ 206 w 232"/>
                <a:gd name="T13" fmla="*/ 182 h 232"/>
                <a:gd name="T14" fmla="*/ 215 w 232"/>
                <a:gd name="T15" fmla="*/ 199 h 232"/>
                <a:gd name="T16" fmla="*/ 201 w 232"/>
                <a:gd name="T17" fmla="*/ 215 h 232"/>
                <a:gd name="T18" fmla="*/ 206 w 232"/>
                <a:gd name="T19" fmla="*/ 215 h 232"/>
                <a:gd name="T20" fmla="*/ 206 w 232"/>
                <a:gd name="T21" fmla="*/ 232 h 232"/>
                <a:gd name="T22" fmla="*/ 206 w 232"/>
                <a:gd name="T23" fmla="*/ 220 h 232"/>
                <a:gd name="T24" fmla="*/ 189 w 232"/>
                <a:gd name="T25" fmla="*/ 203 h 232"/>
                <a:gd name="T26" fmla="*/ 201 w 232"/>
                <a:gd name="T27" fmla="*/ 203 h 232"/>
                <a:gd name="T28" fmla="*/ 189 w 232"/>
                <a:gd name="T29" fmla="*/ 194 h 232"/>
                <a:gd name="T30" fmla="*/ 180 w 232"/>
                <a:gd name="T31" fmla="*/ 182 h 232"/>
                <a:gd name="T32" fmla="*/ 168 w 232"/>
                <a:gd name="T33" fmla="*/ 182 h 232"/>
                <a:gd name="T34" fmla="*/ 185 w 232"/>
                <a:gd name="T35" fmla="*/ 199 h 232"/>
                <a:gd name="T36" fmla="*/ 185 w 232"/>
                <a:gd name="T37" fmla="*/ 203 h 232"/>
                <a:gd name="T38" fmla="*/ 151 w 232"/>
                <a:gd name="T39" fmla="*/ 194 h 232"/>
                <a:gd name="T40" fmla="*/ 163 w 232"/>
                <a:gd name="T41" fmla="*/ 177 h 232"/>
                <a:gd name="T42" fmla="*/ 163 w 232"/>
                <a:gd name="T43" fmla="*/ 161 h 232"/>
                <a:gd name="T44" fmla="*/ 114 w 232"/>
                <a:gd name="T45" fmla="*/ 128 h 232"/>
                <a:gd name="T46" fmla="*/ 92 w 232"/>
                <a:gd name="T47" fmla="*/ 121 h 232"/>
                <a:gd name="T48" fmla="*/ 81 w 232"/>
                <a:gd name="T49" fmla="*/ 95 h 232"/>
                <a:gd name="T50" fmla="*/ 43 w 232"/>
                <a:gd name="T51" fmla="*/ 83 h 232"/>
                <a:gd name="T52" fmla="*/ 43 w 232"/>
                <a:gd name="T53" fmla="*/ 88 h 232"/>
                <a:gd name="T54" fmla="*/ 71 w 232"/>
                <a:gd name="T55" fmla="*/ 104 h 232"/>
                <a:gd name="T56" fmla="*/ 55 w 232"/>
                <a:gd name="T57" fmla="*/ 121 h 232"/>
                <a:gd name="T58" fmla="*/ 38 w 232"/>
                <a:gd name="T59" fmla="*/ 104 h 232"/>
                <a:gd name="T60" fmla="*/ 17 w 232"/>
                <a:gd name="T61" fmla="*/ 95 h 232"/>
                <a:gd name="T62" fmla="*/ 0 w 232"/>
                <a:gd name="T63" fmla="*/ 66 h 232"/>
                <a:gd name="T64" fmla="*/ 22 w 232"/>
                <a:gd name="T65" fmla="*/ 50 h 232"/>
                <a:gd name="T66" fmla="*/ 17 w 232"/>
                <a:gd name="T67" fmla="*/ 33 h 232"/>
                <a:gd name="T68" fmla="*/ 0 w 232"/>
                <a:gd name="T69" fmla="*/ 29 h 232"/>
                <a:gd name="T70" fmla="*/ 17 w 232"/>
                <a:gd name="T71" fmla="*/ 29 h 232"/>
                <a:gd name="T72" fmla="*/ 17 w 232"/>
                <a:gd name="T73" fmla="*/ 17 h 232"/>
                <a:gd name="T74" fmla="*/ 22 w 232"/>
                <a:gd name="T75" fmla="*/ 0 h 232"/>
                <a:gd name="T76" fmla="*/ 71 w 232"/>
                <a:gd name="T77" fmla="*/ 29 h 232"/>
                <a:gd name="T78" fmla="*/ 81 w 232"/>
                <a:gd name="T79" fmla="*/ 17 h 232"/>
                <a:gd name="T80" fmla="*/ 135 w 232"/>
                <a:gd name="T81" fmla="*/ 38 h 232"/>
                <a:gd name="T82" fmla="*/ 151 w 232"/>
                <a:gd name="T83" fmla="*/ 33 h 232"/>
                <a:gd name="T84" fmla="*/ 163 w 232"/>
                <a:gd name="T85" fmla="*/ 29 h 232"/>
                <a:gd name="T86" fmla="*/ 180 w 232"/>
                <a:gd name="T87" fmla="*/ 71 h 232"/>
                <a:gd name="T88" fmla="*/ 222 w 232"/>
                <a:gd name="T89" fmla="*/ 121 h 232"/>
                <a:gd name="T90" fmla="*/ 232 w 232"/>
                <a:gd name="T91" fmla="*/ 121 h 232"/>
                <a:gd name="T92" fmla="*/ 232 w 232"/>
                <a:gd name="T93" fmla="*/ 121 h 232"/>
                <a:gd name="T94" fmla="*/ 232 w 232"/>
                <a:gd name="T95" fmla="*/ 12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2" h="232">
                  <a:moveTo>
                    <a:pt x="232" y="121"/>
                  </a:moveTo>
                  <a:lnTo>
                    <a:pt x="232" y="128"/>
                  </a:lnTo>
                  <a:lnTo>
                    <a:pt x="215" y="121"/>
                  </a:lnTo>
                  <a:lnTo>
                    <a:pt x="206" y="128"/>
                  </a:lnTo>
                  <a:lnTo>
                    <a:pt x="206" y="161"/>
                  </a:lnTo>
                  <a:lnTo>
                    <a:pt x="222" y="166"/>
                  </a:lnTo>
                  <a:lnTo>
                    <a:pt x="206" y="182"/>
                  </a:lnTo>
                  <a:lnTo>
                    <a:pt x="215" y="199"/>
                  </a:lnTo>
                  <a:lnTo>
                    <a:pt x="201" y="215"/>
                  </a:lnTo>
                  <a:lnTo>
                    <a:pt x="206" y="215"/>
                  </a:lnTo>
                  <a:lnTo>
                    <a:pt x="206" y="232"/>
                  </a:lnTo>
                  <a:lnTo>
                    <a:pt x="206" y="220"/>
                  </a:lnTo>
                  <a:lnTo>
                    <a:pt x="189" y="203"/>
                  </a:lnTo>
                  <a:lnTo>
                    <a:pt x="201" y="203"/>
                  </a:lnTo>
                  <a:lnTo>
                    <a:pt x="189" y="194"/>
                  </a:lnTo>
                  <a:lnTo>
                    <a:pt x="180" y="182"/>
                  </a:lnTo>
                  <a:lnTo>
                    <a:pt x="168" y="182"/>
                  </a:lnTo>
                  <a:lnTo>
                    <a:pt x="185" y="199"/>
                  </a:lnTo>
                  <a:lnTo>
                    <a:pt x="185" y="203"/>
                  </a:lnTo>
                  <a:lnTo>
                    <a:pt x="151" y="194"/>
                  </a:lnTo>
                  <a:lnTo>
                    <a:pt x="163" y="177"/>
                  </a:lnTo>
                  <a:lnTo>
                    <a:pt x="163" y="161"/>
                  </a:lnTo>
                  <a:lnTo>
                    <a:pt x="114" y="128"/>
                  </a:lnTo>
                  <a:lnTo>
                    <a:pt x="92" y="121"/>
                  </a:lnTo>
                  <a:lnTo>
                    <a:pt x="81" y="95"/>
                  </a:lnTo>
                  <a:lnTo>
                    <a:pt x="43" y="83"/>
                  </a:lnTo>
                  <a:lnTo>
                    <a:pt x="43" y="88"/>
                  </a:lnTo>
                  <a:lnTo>
                    <a:pt x="71" y="104"/>
                  </a:lnTo>
                  <a:lnTo>
                    <a:pt x="55" y="121"/>
                  </a:lnTo>
                  <a:lnTo>
                    <a:pt x="38" y="104"/>
                  </a:lnTo>
                  <a:lnTo>
                    <a:pt x="17" y="95"/>
                  </a:lnTo>
                  <a:lnTo>
                    <a:pt x="0" y="66"/>
                  </a:lnTo>
                  <a:lnTo>
                    <a:pt x="22" y="50"/>
                  </a:lnTo>
                  <a:lnTo>
                    <a:pt x="17" y="33"/>
                  </a:lnTo>
                  <a:lnTo>
                    <a:pt x="0" y="29"/>
                  </a:lnTo>
                  <a:lnTo>
                    <a:pt x="17" y="29"/>
                  </a:lnTo>
                  <a:lnTo>
                    <a:pt x="17" y="17"/>
                  </a:lnTo>
                  <a:lnTo>
                    <a:pt x="22" y="0"/>
                  </a:lnTo>
                  <a:lnTo>
                    <a:pt x="71" y="29"/>
                  </a:lnTo>
                  <a:lnTo>
                    <a:pt x="81" y="17"/>
                  </a:lnTo>
                  <a:lnTo>
                    <a:pt x="135" y="38"/>
                  </a:lnTo>
                  <a:lnTo>
                    <a:pt x="151" y="33"/>
                  </a:lnTo>
                  <a:lnTo>
                    <a:pt x="163" y="29"/>
                  </a:lnTo>
                  <a:lnTo>
                    <a:pt x="180" y="71"/>
                  </a:lnTo>
                  <a:lnTo>
                    <a:pt x="222" y="121"/>
                  </a:lnTo>
                  <a:lnTo>
                    <a:pt x="232" y="121"/>
                  </a:lnTo>
                  <a:lnTo>
                    <a:pt x="232" y="121"/>
                  </a:lnTo>
                  <a:lnTo>
                    <a:pt x="232" y="1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2" name="Freeform 422">
              <a:extLst>
                <a:ext uri="{FF2B5EF4-FFF2-40B4-BE49-F238E27FC236}">
                  <a16:creationId xmlns:a16="http://schemas.microsoft.com/office/drawing/2014/main" id="{09A65186-72E5-4CD4-A763-DEAC3419A89D}"/>
                </a:ext>
              </a:extLst>
            </p:cNvPr>
            <p:cNvSpPr>
              <a:spLocks noEditPoints="1"/>
            </p:cNvSpPr>
            <p:nvPr/>
          </p:nvSpPr>
          <p:spPr bwMode="gray">
            <a:xfrm>
              <a:off x="4274740" y="3364322"/>
              <a:ext cx="311223" cy="106223"/>
            </a:xfrm>
            <a:custGeom>
              <a:avLst/>
              <a:gdLst>
                <a:gd name="T0" fmla="*/ 685 w 756"/>
                <a:gd name="T1" fmla="*/ 241 h 258"/>
                <a:gd name="T2" fmla="*/ 605 w 756"/>
                <a:gd name="T3" fmla="*/ 241 h 258"/>
                <a:gd name="T4" fmla="*/ 545 w 756"/>
                <a:gd name="T5" fmla="*/ 217 h 258"/>
                <a:gd name="T6" fmla="*/ 475 w 756"/>
                <a:gd name="T7" fmla="*/ 196 h 258"/>
                <a:gd name="T8" fmla="*/ 432 w 756"/>
                <a:gd name="T9" fmla="*/ 123 h 258"/>
                <a:gd name="T10" fmla="*/ 314 w 756"/>
                <a:gd name="T11" fmla="*/ 95 h 258"/>
                <a:gd name="T12" fmla="*/ 281 w 756"/>
                <a:gd name="T13" fmla="*/ 90 h 258"/>
                <a:gd name="T14" fmla="*/ 243 w 756"/>
                <a:gd name="T15" fmla="*/ 83 h 258"/>
                <a:gd name="T16" fmla="*/ 227 w 756"/>
                <a:gd name="T17" fmla="*/ 57 h 258"/>
                <a:gd name="T18" fmla="*/ 151 w 756"/>
                <a:gd name="T19" fmla="*/ 40 h 258"/>
                <a:gd name="T20" fmla="*/ 59 w 756"/>
                <a:gd name="T21" fmla="*/ 95 h 258"/>
                <a:gd name="T22" fmla="*/ 28 w 756"/>
                <a:gd name="T23" fmla="*/ 95 h 258"/>
                <a:gd name="T24" fmla="*/ 28 w 756"/>
                <a:gd name="T25" fmla="*/ 90 h 258"/>
                <a:gd name="T26" fmla="*/ 54 w 756"/>
                <a:gd name="T27" fmla="*/ 50 h 258"/>
                <a:gd name="T28" fmla="*/ 189 w 756"/>
                <a:gd name="T29" fmla="*/ 0 h 258"/>
                <a:gd name="T30" fmla="*/ 260 w 756"/>
                <a:gd name="T31" fmla="*/ 0 h 258"/>
                <a:gd name="T32" fmla="*/ 297 w 756"/>
                <a:gd name="T33" fmla="*/ 12 h 258"/>
                <a:gd name="T34" fmla="*/ 368 w 756"/>
                <a:gd name="T35" fmla="*/ 33 h 258"/>
                <a:gd name="T36" fmla="*/ 444 w 756"/>
                <a:gd name="T37" fmla="*/ 66 h 258"/>
                <a:gd name="T38" fmla="*/ 524 w 756"/>
                <a:gd name="T39" fmla="*/ 111 h 258"/>
                <a:gd name="T40" fmla="*/ 508 w 756"/>
                <a:gd name="T41" fmla="*/ 106 h 258"/>
                <a:gd name="T42" fmla="*/ 545 w 756"/>
                <a:gd name="T43" fmla="*/ 123 h 258"/>
                <a:gd name="T44" fmla="*/ 545 w 756"/>
                <a:gd name="T45" fmla="*/ 123 h 258"/>
                <a:gd name="T46" fmla="*/ 567 w 756"/>
                <a:gd name="T47" fmla="*/ 140 h 258"/>
                <a:gd name="T48" fmla="*/ 595 w 756"/>
                <a:gd name="T49" fmla="*/ 151 h 258"/>
                <a:gd name="T50" fmla="*/ 621 w 756"/>
                <a:gd name="T51" fmla="*/ 163 h 258"/>
                <a:gd name="T52" fmla="*/ 647 w 756"/>
                <a:gd name="T53" fmla="*/ 180 h 258"/>
                <a:gd name="T54" fmla="*/ 701 w 756"/>
                <a:gd name="T55" fmla="*/ 196 h 258"/>
                <a:gd name="T56" fmla="*/ 744 w 756"/>
                <a:gd name="T57" fmla="*/ 241 h 258"/>
                <a:gd name="T58" fmla="*/ 685 w 756"/>
                <a:gd name="T59" fmla="*/ 253 h 258"/>
                <a:gd name="T60" fmla="*/ 437 w 756"/>
                <a:gd name="T61" fmla="*/ 50 h 258"/>
                <a:gd name="T62" fmla="*/ 453 w 756"/>
                <a:gd name="T63" fmla="*/ 57 h 258"/>
                <a:gd name="T64" fmla="*/ 486 w 756"/>
                <a:gd name="T65" fmla="*/ 73 h 258"/>
                <a:gd name="T66" fmla="*/ 486 w 756"/>
                <a:gd name="T67" fmla="*/ 73 h 258"/>
                <a:gd name="T68" fmla="*/ 491 w 756"/>
                <a:gd name="T69" fmla="*/ 83 h 258"/>
                <a:gd name="T70" fmla="*/ 491 w 756"/>
                <a:gd name="T71" fmla="*/ 73 h 258"/>
                <a:gd name="T72" fmla="*/ 491 w 756"/>
                <a:gd name="T73" fmla="*/ 83 h 258"/>
                <a:gd name="T74" fmla="*/ 508 w 756"/>
                <a:gd name="T75" fmla="*/ 90 h 258"/>
                <a:gd name="T76" fmla="*/ 508 w 756"/>
                <a:gd name="T77" fmla="*/ 95 h 258"/>
                <a:gd name="T78" fmla="*/ 120 w 756"/>
                <a:gd name="T79" fmla="*/ 123 h 258"/>
                <a:gd name="T80" fmla="*/ 130 w 756"/>
                <a:gd name="T81" fmla="*/ 106 h 258"/>
                <a:gd name="T82" fmla="*/ 168 w 756"/>
                <a:gd name="T83" fmla="*/ 123 h 258"/>
                <a:gd name="T84" fmla="*/ 134 w 756"/>
                <a:gd name="T85" fmla="*/ 14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56" h="258">
                  <a:moveTo>
                    <a:pt x="685" y="253"/>
                  </a:moveTo>
                  <a:lnTo>
                    <a:pt x="685" y="253"/>
                  </a:lnTo>
                  <a:lnTo>
                    <a:pt x="685" y="241"/>
                  </a:lnTo>
                  <a:lnTo>
                    <a:pt x="685" y="253"/>
                  </a:lnTo>
                  <a:lnTo>
                    <a:pt x="675" y="253"/>
                  </a:lnTo>
                  <a:lnTo>
                    <a:pt x="605" y="241"/>
                  </a:lnTo>
                  <a:lnTo>
                    <a:pt x="496" y="258"/>
                  </a:lnTo>
                  <a:lnTo>
                    <a:pt x="512" y="241"/>
                  </a:lnTo>
                  <a:lnTo>
                    <a:pt x="545" y="217"/>
                  </a:lnTo>
                  <a:lnTo>
                    <a:pt x="545" y="208"/>
                  </a:lnTo>
                  <a:lnTo>
                    <a:pt x="541" y="196"/>
                  </a:lnTo>
                  <a:lnTo>
                    <a:pt x="475" y="196"/>
                  </a:lnTo>
                  <a:lnTo>
                    <a:pt x="444" y="168"/>
                  </a:lnTo>
                  <a:lnTo>
                    <a:pt x="437" y="128"/>
                  </a:lnTo>
                  <a:lnTo>
                    <a:pt x="432" y="123"/>
                  </a:lnTo>
                  <a:lnTo>
                    <a:pt x="399" y="128"/>
                  </a:lnTo>
                  <a:lnTo>
                    <a:pt x="345" y="111"/>
                  </a:lnTo>
                  <a:lnTo>
                    <a:pt x="314" y="95"/>
                  </a:lnTo>
                  <a:lnTo>
                    <a:pt x="307" y="83"/>
                  </a:lnTo>
                  <a:lnTo>
                    <a:pt x="297" y="90"/>
                  </a:lnTo>
                  <a:lnTo>
                    <a:pt x="281" y="90"/>
                  </a:lnTo>
                  <a:lnTo>
                    <a:pt x="260" y="83"/>
                  </a:lnTo>
                  <a:lnTo>
                    <a:pt x="243" y="90"/>
                  </a:lnTo>
                  <a:lnTo>
                    <a:pt x="243" y="83"/>
                  </a:lnTo>
                  <a:lnTo>
                    <a:pt x="217" y="83"/>
                  </a:lnTo>
                  <a:lnTo>
                    <a:pt x="189" y="66"/>
                  </a:lnTo>
                  <a:lnTo>
                    <a:pt x="227" y="57"/>
                  </a:lnTo>
                  <a:lnTo>
                    <a:pt x="227" y="50"/>
                  </a:lnTo>
                  <a:lnTo>
                    <a:pt x="217" y="40"/>
                  </a:lnTo>
                  <a:lnTo>
                    <a:pt x="151" y="40"/>
                  </a:lnTo>
                  <a:lnTo>
                    <a:pt x="108" y="73"/>
                  </a:lnTo>
                  <a:lnTo>
                    <a:pt x="66" y="83"/>
                  </a:lnTo>
                  <a:lnTo>
                    <a:pt x="59" y="95"/>
                  </a:lnTo>
                  <a:lnTo>
                    <a:pt x="45" y="95"/>
                  </a:lnTo>
                  <a:lnTo>
                    <a:pt x="28" y="111"/>
                  </a:lnTo>
                  <a:lnTo>
                    <a:pt x="28" y="95"/>
                  </a:lnTo>
                  <a:lnTo>
                    <a:pt x="7" y="106"/>
                  </a:lnTo>
                  <a:lnTo>
                    <a:pt x="0" y="106"/>
                  </a:lnTo>
                  <a:lnTo>
                    <a:pt x="28" y="90"/>
                  </a:lnTo>
                  <a:lnTo>
                    <a:pt x="38" y="90"/>
                  </a:lnTo>
                  <a:lnTo>
                    <a:pt x="28" y="73"/>
                  </a:lnTo>
                  <a:lnTo>
                    <a:pt x="54" y="50"/>
                  </a:lnTo>
                  <a:lnTo>
                    <a:pt x="113" y="17"/>
                  </a:lnTo>
                  <a:lnTo>
                    <a:pt x="134" y="17"/>
                  </a:lnTo>
                  <a:lnTo>
                    <a:pt x="189" y="0"/>
                  </a:lnTo>
                  <a:lnTo>
                    <a:pt x="227" y="0"/>
                  </a:lnTo>
                  <a:lnTo>
                    <a:pt x="238" y="12"/>
                  </a:lnTo>
                  <a:lnTo>
                    <a:pt x="260" y="0"/>
                  </a:lnTo>
                  <a:lnTo>
                    <a:pt x="255" y="12"/>
                  </a:lnTo>
                  <a:lnTo>
                    <a:pt x="260" y="17"/>
                  </a:lnTo>
                  <a:lnTo>
                    <a:pt x="297" y="12"/>
                  </a:lnTo>
                  <a:lnTo>
                    <a:pt x="323" y="21"/>
                  </a:lnTo>
                  <a:lnTo>
                    <a:pt x="335" y="17"/>
                  </a:lnTo>
                  <a:lnTo>
                    <a:pt x="368" y="33"/>
                  </a:lnTo>
                  <a:lnTo>
                    <a:pt x="390" y="66"/>
                  </a:lnTo>
                  <a:lnTo>
                    <a:pt x="420" y="66"/>
                  </a:lnTo>
                  <a:lnTo>
                    <a:pt x="444" y="66"/>
                  </a:lnTo>
                  <a:lnTo>
                    <a:pt x="475" y="90"/>
                  </a:lnTo>
                  <a:lnTo>
                    <a:pt x="496" y="106"/>
                  </a:lnTo>
                  <a:lnTo>
                    <a:pt x="524" y="111"/>
                  </a:lnTo>
                  <a:lnTo>
                    <a:pt x="524" y="123"/>
                  </a:lnTo>
                  <a:lnTo>
                    <a:pt x="529" y="123"/>
                  </a:lnTo>
                  <a:lnTo>
                    <a:pt x="508" y="106"/>
                  </a:lnTo>
                  <a:lnTo>
                    <a:pt x="512" y="95"/>
                  </a:lnTo>
                  <a:lnTo>
                    <a:pt x="545" y="123"/>
                  </a:lnTo>
                  <a:lnTo>
                    <a:pt x="545" y="123"/>
                  </a:lnTo>
                  <a:lnTo>
                    <a:pt x="529" y="123"/>
                  </a:lnTo>
                  <a:lnTo>
                    <a:pt x="541" y="128"/>
                  </a:lnTo>
                  <a:lnTo>
                    <a:pt x="545" y="123"/>
                  </a:lnTo>
                  <a:lnTo>
                    <a:pt x="562" y="140"/>
                  </a:lnTo>
                  <a:lnTo>
                    <a:pt x="562" y="147"/>
                  </a:lnTo>
                  <a:lnTo>
                    <a:pt x="567" y="140"/>
                  </a:lnTo>
                  <a:lnTo>
                    <a:pt x="579" y="147"/>
                  </a:lnTo>
                  <a:lnTo>
                    <a:pt x="583" y="151"/>
                  </a:lnTo>
                  <a:lnTo>
                    <a:pt x="595" y="151"/>
                  </a:lnTo>
                  <a:lnTo>
                    <a:pt x="595" y="147"/>
                  </a:lnTo>
                  <a:lnTo>
                    <a:pt x="600" y="147"/>
                  </a:lnTo>
                  <a:lnTo>
                    <a:pt x="621" y="163"/>
                  </a:lnTo>
                  <a:lnTo>
                    <a:pt x="647" y="163"/>
                  </a:lnTo>
                  <a:lnTo>
                    <a:pt x="654" y="168"/>
                  </a:lnTo>
                  <a:lnTo>
                    <a:pt x="647" y="180"/>
                  </a:lnTo>
                  <a:lnTo>
                    <a:pt x="638" y="184"/>
                  </a:lnTo>
                  <a:lnTo>
                    <a:pt x="638" y="196"/>
                  </a:lnTo>
                  <a:lnTo>
                    <a:pt x="701" y="196"/>
                  </a:lnTo>
                  <a:lnTo>
                    <a:pt x="730" y="217"/>
                  </a:lnTo>
                  <a:lnTo>
                    <a:pt x="756" y="225"/>
                  </a:lnTo>
                  <a:lnTo>
                    <a:pt x="744" y="241"/>
                  </a:lnTo>
                  <a:lnTo>
                    <a:pt x="706" y="241"/>
                  </a:lnTo>
                  <a:lnTo>
                    <a:pt x="685" y="253"/>
                  </a:lnTo>
                  <a:lnTo>
                    <a:pt x="685" y="253"/>
                  </a:lnTo>
                  <a:lnTo>
                    <a:pt x="685" y="253"/>
                  </a:lnTo>
                  <a:close/>
                  <a:moveTo>
                    <a:pt x="453" y="57"/>
                  </a:moveTo>
                  <a:lnTo>
                    <a:pt x="437" y="50"/>
                  </a:lnTo>
                  <a:lnTo>
                    <a:pt x="453" y="50"/>
                  </a:lnTo>
                  <a:lnTo>
                    <a:pt x="458" y="57"/>
                  </a:lnTo>
                  <a:lnTo>
                    <a:pt x="453" y="57"/>
                  </a:lnTo>
                  <a:lnTo>
                    <a:pt x="453" y="57"/>
                  </a:lnTo>
                  <a:lnTo>
                    <a:pt x="453" y="57"/>
                  </a:lnTo>
                  <a:close/>
                  <a:moveTo>
                    <a:pt x="486" y="73"/>
                  </a:moveTo>
                  <a:lnTo>
                    <a:pt x="458" y="57"/>
                  </a:lnTo>
                  <a:lnTo>
                    <a:pt x="475" y="57"/>
                  </a:lnTo>
                  <a:lnTo>
                    <a:pt x="486" y="73"/>
                  </a:lnTo>
                  <a:lnTo>
                    <a:pt x="486" y="73"/>
                  </a:lnTo>
                  <a:lnTo>
                    <a:pt x="486" y="73"/>
                  </a:lnTo>
                  <a:close/>
                  <a:moveTo>
                    <a:pt x="491" y="83"/>
                  </a:moveTo>
                  <a:lnTo>
                    <a:pt x="475" y="83"/>
                  </a:lnTo>
                  <a:lnTo>
                    <a:pt x="486" y="73"/>
                  </a:lnTo>
                  <a:lnTo>
                    <a:pt x="491" y="73"/>
                  </a:lnTo>
                  <a:lnTo>
                    <a:pt x="491" y="83"/>
                  </a:lnTo>
                  <a:lnTo>
                    <a:pt x="491" y="83"/>
                  </a:lnTo>
                  <a:lnTo>
                    <a:pt x="491" y="83"/>
                  </a:lnTo>
                  <a:close/>
                  <a:moveTo>
                    <a:pt x="508" y="95"/>
                  </a:moveTo>
                  <a:lnTo>
                    <a:pt x="486" y="83"/>
                  </a:lnTo>
                  <a:lnTo>
                    <a:pt x="508" y="90"/>
                  </a:lnTo>
                  <a:lnTo>
                    <a:pt x="508" y="95"/>
                  </a:lnTo>
                  <a:lnTo>
                    <a:pt x="508" y="95"/>
                  </a:lnTo>
                  <a:lnTo>
                    <a:pt x="508" y="95"/>
                  </a:lnTo>
                  <a:close/>
                  <a:moveTo>
                    <a:pt x="134" y="140"/>
                  </a:moveTo>
                  <a:lnTo>
                    <a:pt x="130" y="140"/>
                  </a:lnTo>
                  <a:lnTo>
                    <a:pt x="120" y="123"/>
                  </a:lnTo>
                  <a:lnTo>
                    <a:pt x="130" y="128"/>
                  </a:lnTo>
                  <a:lnTo>
                    <a:pt x="134" y="123"/>
                  </a:lnTo>
                  <a:lnTo>
                    <a:pt x="130" y="106"/>
                  </a:lnTo>
                  <a:lnTo>
                    <a:pt x="134" y="95"/>
                  </a:lnTo>
                  <a:lnTo>
                    <a:pt x="151" y="95"/>
                  </a:lnTo>
                  <a:lnTo>
                    <a:pt x="168" y="123"/>
                  </a:lnTo>
                  <a:lnTo>
                    <a:pt x="134" y="140"/>
                  </a:lnTo>
                  <a:lnTo>
                    <a:pt x="134" y="140"/>
                  </a:lnTo>
                  <a:lnTo>
                    <a:pt x="134" y="14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3" name="Freeform 427">
              <a:extLst>
                <a:ext uri="{FF2B5EF4-FFF2-40B4-BE49-F238E27FC236}">
                  <a16:creationId xmlns:a16="http://schemas.microsoft.com/office/drawing/2014/main" id="{46DD4D78-7629-46C3-B167-F3DFB646BDF9}"/>
                </a:ext>
              </a:extLst>
            </p:cNvPr>
            <p:cNvSpPr>
              <a:spLocks/>
            </p:cNvSpPr>
            <p:nvPr/>
          </p:nvSpPr>
          <p:spPr bwMode="gray">
            <a:xfrm>
              <a:off x="4949467" y="3597764"/>
              <a:ext cx="7822" cy="10705"/>
            </a:xfrm>
            <a:custGeom>
              <a:avLst/>
              <a:gdLst>
                <a:gd name="T0" fmla="*/ 7 w 19"/>
                <a:gd name="T1" fmla="*/ 26 h 26"/>
                <a:gd name="T2" fmla="*/ 0 w 19"/>
                <a:gd name="T3" fmla="*/ 5 h 26"/>
                <a:gd name="T4" fmla="*/ 0 w 19"/>
                <a:gd name="T5" fmla="*/ 0 h 26"/>
                <a:gd name="T6" fmla="*/ 19 w 19"/>
                <a:gd name="T7" fmla="*/ 14 h 26"/>
                <a:gd name="T8" fmla="*/ 19 w 19"/>
                <a:gd name="T9" fmla="*/ 26 h 26"/>
                <a:gd name="T10" fmla="*/ 7 w 19"/>
                <a:gd name="T11" fmla="*/ 26 h 26"/>
                <a:gd name="T12" fmla="*/ 7 w 19"/>
                <a:gd name="T13" fmla="*/ 26 h 26"/>
                <a:gd name="T14" fmla="*/ 7 w 19"/>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26">
                  <a:moveTo>
                    <a:pt x="7" y="26"/>
                  </a:moveTo>
                  <a:lnTo>
                    <a:pt x="0" y="5"/>
                  </a:lnTo>
                  <a:lnTo>
                    <a:pt x="0" y="0"/>
                  </a:lnTo>
                  <a:lnTo>
                    <a:pt x="19" y="14"/>
                  </a:lnTo>
                  <a:lnTo>
                    <a:pt x="19" y="26"/>
                  </a:lnTo>
                  <a:lnTo>
                    <a:pt x="7" y="26"/>
                  </a:lnTo>
                  <a:lnTo>
                    <a:pt x="7" y="26"/>
                  </a:lnTo>
                  <a:lnTo>
                    <a:pt x="7" y="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4" name="Freeform 428">
              <a:extLst>
                <a:ext uri="{FF2B5EF4-FFF2-40B4-BE49-F238E27FC236}">
                  <a16:creationId xmlns:a16="http://schemas.microsoft.com/office/drawing/2014/main" id="{9D056B7A-6150-4116-AA1D-72CB6AFD1A96}"/>
                </a:ext>
              </a:extLst>
            </p:cNvPr>
            <p:cNvSpPr>
              <a:spLocks noEditPoints="1"/>
            </p:cNvSpPr>
            <p:nvPr/>
          </p:nvSpPr>
          <p:spPr bwMode="gray">
            <a:xfrm>
              <a:off x="4646066" y="3466426"/>
              <a:ext cx="106212" cy="74933"/>
            </a:xfrm>
            <a:custGeom>
              <a:avLst/>
              <a:gdLst>
                <a:gd name="T0" fmla="*/ 21 w 258"/>
                <a:gd name="T1" fmla="*/ 142 h 182"/>
                <a:gd name="T2" fmla="*/ 21 w 258"/>
                <a:gd name="T3" fmla="*/ 118 h 182"/>
                <a:gd name="T4" fmla="*/ 5 w 258"/>
                <a:gd name="T5" fmla="*/ 114 h 182"/>
                <a:gd name="T6" fmla="*/ 0 w 258"/>
                <a:gd name="T7" fmla="*/ 102 h 182"/>
                <a:gd name="T8" fmla="*/ 17 w 258"/>
                <a:gd name="T9" fmla="*/ 97 h 182"/>
                <a:gd name="T10" fmla="*/ 21 w 258"/>
                <a:gd name="T11" fmla="*/ 85 h 182"/>
                <a:gd name="T12" fmla="*/ 17 w 258"/>
                <a:gd name="T13" fmla="*/ 69 h 182"/>
                <a:gd name="T14" fmla="*/ 26 w 258"/>
                <a:gd name="T15" fmla="*/ 57 h 182"/>
                <a:gd name="T16" fmla="*/ 21 w 258"/>
                <a:gd name="T17" fmla="*/ 45 h 182"/>
                <a:gd name="T18" fmla="*/ 21 w 258"/>
                <a:gd name="T19" fmla="*/ 29 h 182"/>
                <a:gd name="T20" fmla="*/ 21 w 258"/>
                <a:gd name="T21" fmla="*/ 12 h 182"/>
                <a:gd name="T22" fmla="*/ 21 w 258"/>
                <a:gd name="T23" fmla="*/ 0 h 182"/>
                <a:gd name="T24" fmla="*/ 52 w 258"/>
                <a:gd name="T25" fmla="*/ 7 h 182"/>
                <a:gd name="T26" fmla="*/ 76 w 258"/>
                <a:gd name="T27" fmla="*/ 0 h 182"/>
                <a:gd name="T28" fmla="*/ 97 w 258"/>
                <a:gd name="T29" fmla="*/ 12 h 182"/>
                <a:gd name="T30" fmla="*/ 106 w 258"/>
                <a:gd name="T31" fmla="*/ 7 h 182"/>
                <a:gd name="T32" fmla="*/ 123 w 258"/>
                <a:gd name="T33" fmla="*/ 24 h 182"/>
                <a:gd name="T34" fmla="*/ 144 w 258"/>
                <a:gd name="T35" fmla="*/ 12 h 182"/>
                <a:gd name="T36" fmla="*/ 161 w 258"/>
                <a:gd name="T37" fmla="*/ 45 h 182"/>
                <a:gd name="T38" fmla="*/ 199 w 258"/>
                <a:gd name="T39" fmla="*/ 40 h 182"/>
                <a:gd name="T40" fmla="*/ 199 w 258"/>
                <a:gd name="T41" fmla="*/ 45 h 182"/>
                <a:gd name="T42" fmla="*/ 199 w 258"/>
                <a:gd name="T43" fmla="*/ 57 h 182"/>
                <a:gd name="T44" fmla="*/ 166 w 258"/>
                <a:gd name="T45" fmla="*/ 57 h 182"/>
                <a:gd name="T46" fmla="*/ 166 w 258"/>
                <a:gd name="T47" fmla="*/ 64 h 182"/>
                <a:gd name="T48" fmla="*/ 215 w 258"/>
                <a:gd name="T49" fmla="*/ 69 h 182"/>
                <a:gd name="T50" fmla="*/ 258 w 258"/>
                <a:gd name="T51" fmla="*/ 102 h 182"/>
                <a:gd name="T52" fmla="*/ 253 w 258"/>
                <a:gd name="T53" fmla="*/ 118 h 182"/>
                <a:gd name="T54" fmla="*/ 236 w 258"/>
                <a:gd name="T55" fmla="*/ 118 h 182"/>
                <a:gd name="T56" fmla="*/ 236 w 258"/>
                <a:gd name="T57" fmla="*/ 125 h 182"/>
                <a:gd name="T58" fmla="*/ 229 w 258"/>
                <a:gd name="T59" fmla="*/ 125 h 182"/>
                <a:gd name="T60" fmla="*/ 220 w 258"/>
                <a:gd name="T61" fmla="*/ 114 h 182"/>
                <a:gd name="T62" fmla="*/ 149 w 258"/>
                <a:gd name="T63" fmla="*/ 114 h 182"/>
                <a:gd name="T64" fmla="*/ 128 w 258"/>
                <a:gd name="T65" fmla="*/ 125 h 182"/>
                <a:gd name="T66" fmla="*/ 106 w 258"/>
                <a:gd name="T67" fmla="*/ 125 h 182"/>
                <a:gd name="T68" fmla="*/ 97 w 258"/>
                <a:gd name="T69" fmla="*/ 114 h 182"/>
                <a:gd name="T70" fmla="*/ 90 w 258"/>
                <a:gd name="T71" fmla="*/ 114 h 182"/>
                <a:gd name="T72" fmla="*/ 76 w 258"/>
                <a:gd name="T73" fmla="*/ 125 h 182"/>
                <a:gd name="T74" fmla="*/ 69 w 258"/>
                <a:gd name="T75" fmla="*/ 118 h 182"/>
                <a:gd name="T76" fmla="*/ 69 w 258"/>
                <a:gd name="T77" fmla="*/ 137 h 182"/>
                <a:gd name="T78" fmla="*/ 43 w 258"/>
                <a:gd name="T79" fmla="*/ 175 h 182"/>
                <a:gd name="T80" fmla="*/ 21 w 258"/>
                <a:gd name="T81" fmla="*/ 142 h 182"/>
                <a:gd name="T82" fmla="*/ 21 w 258"/>
                <a:gd name="T83" fmla="*/ 142 h 182"/>
                <a:gd name="T84" fmla="*/ 21 w 258"/>
                <a:gd name="T85" fmla="*/ 142 h 182"/>
                <a:gd name="T86" fmla="*/ 38 w 258"/>
                <a:gd name="T87" fmla="*/ 182 h 182"/>
                <a:gd name="T88" fmla="*/ 38 w 258"/>
                <a:gd name="T89" fmla="*/ 175 h 182"/>
                <a:gd name="T90" fmla="*/ 38 w 258"/>
                <a:gd name="T91" fmla="*/ 175 h 182"/>
                <a:gd name="T92" fmla="*/ 38 w 258"/>
                <a:gd name="T93" fmla="*/ 182 h 182"/>
                <a:gd name="T94" fmla="*/ 38 w 258"/>
                <a:gd name="T95" fmla="*/ 182 h 182"/>
                <a:gd name="T96" fmla="*/ 38 w 258"/>
                <a:gd name="T9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8" h="182">
                  <a:moveTo>
                    <a:pt x="21" y="142"/>
                  </a:moveTo>
                  <a:lnTo>
                    <a:pt x="21" y="118"/>
                  </a:lnTo>
                  <a:lnTo>
                    <a:pt x="5" y="114"/>
                  </a:lnTo>
                  <a:lnTo>
                    <a:pt x="0" y="102"/>
                  </a:lnTo>
                  <a:lnTo>
                    <a:pt x="17" y="97"/>
                  </a:lnTo>
                  <a:lnTo>
                    <a:pt x="21" y="85"/>
                  </a:lnTo>
                  <a:lnTo>
                    <a:pt x="17" y="69"/>
                  </a:lnTo>
                  <a:lnTo>
                    <a:pt x="26" y="57"/>
                  </a:lnTo>
                  <a:lnTo>
                    <a:pt x="21" y="45"/>
                  </a:lnTo>
                  <a:lnTo>
                    <a:pt x="21" y="29"/>
                  </a:lnTo>
                  <a:lnTo>
                    <a:pt x="21" y="12"/>
                  </a:lnTo>
                  <a:lnTo>
                    <a:pt x="21" y="0"/>
                  </a:lnTo>
                  <a:lnTo>
                    <a:pt x="52" y="7"/>
                  </a:lnTo>
                  <a:lnTo>
                    <a:pt x="76" y="0"/>
                  </a:lnTo>
                  <a:lnTo>
                    <a:pt x="97" y="12"/>
                  </a:lnTo>
                  <a:lnTo>
                    <a:pt x="106" y="7"/>
                  </a:lnTo>
                  <a:lnTo>
                    <a:pt x="123" y="24"/>
                  </a:lnTo>
                  <a:lnTo>
                    <a:pt x="144" y="12"/>
                  </a:lnTo>
                  <a:lnTo>
                    <a:pt x="161" y="45"/>
                  </a:lnTo>
                  <a:lnTo>
                    <a:pt x="199" y="40"/>
                  </a:lnTo>
                  <a:lnTo>
                    <a:pt x="199" y="45"/>
                  </a:lnTo>
                  <a:lnTo>
                    <a:pt x="199" y="57"/>
                  </a:lnTo>
                  <a:lnTo>
                    <a:pt x="166" y="57"/>
                  </a:lnTo>
                  <a:lnTo>
                    <a:pt x="166" y="64"/>
                  </a:lnTo>
                  <a:lnTo>
                    <a:pt x="215" y="69"/>
                  </a:lnTo>
                  <a:lnTo>
                    <a:pt x="258" y="102"/>
                  </a:lnTo>
                  <a:lnTo>
                    <a:pt x="253" y="118"/>
                  </a:lnTo>
                  <a:lnTo>
                    <a:pt x="236" y="118"/>
                  </a:lnTo>
                  <a:lnTo>
                    <a:pt x="236" y="125"/>
                  </a:lnTo>
                  <a:lnTo>
                    <a:pt x="229" y="125"/>
                  </a:lnTo>
                  <a:lnTo>
                    <a:pt x="220" y="114"/>
                  </a:lnTo>
                  <a:lnTo>
                    <a:pt x="149" y="114"/>
                  </a:lnTo>
                  <a:lnTo>
                    <a:pt x="128" y="125"/>
                  </a:lnTo>
                  <a:lnTo>
                    <a:pt x="106" y="125"/>
                  </a:lnTo>
                  <a:lnTo>
                    <a:pt x="97" y="114"/>
                  </a:lnTo>
                  <a:lnTo>
                    <a:pt x="90" y="114"/>
                  </a:lnTo>
                  <a:lnTo>
                    <a:pt x="76" y="125"/>
                  </a:lnTo>
                  <a:lnTo>
                    <a:pt x="69" y="118"/>
                  </a:lnTo>
                  <a:lnTo>
                    <a:pt x="69" y="137"/>
                  </a:lnTo>
                  <a:lnTo>
                    <a:pt x="43" y="175"/>
                  </a:lnTo>
                  <a:lnTo>
                    <a:pt x="21" y="142"/>
                  </a:lnTo>
                  <a:lnTo>
                    <a:pt x="21" y="142"/>
                  </a:lnTo>
                  <a:lnTo>
                    <a:pt x="21" y="142"/>
                  </a:lnTo>
                  <a:close/>
                  <a:moveTo>
                    <a:pt x="38" y="182"/>
                  </a:moveTo>
                  <a:lnTo>
                    <a:pt x="38" y="175"/>
                  </a:lnTo>
                  <a:lnTo>
                    <a:pt x="38" y="175"/>
                  </a:lnTo>
                  <a:lnTo>
                    <a:pt x="38" y="182"/>
                  </a:lnTo>
                  <a:lnTo>
                    <a:pt x="38" y="182"/>
                  </a:lnTo>
                  <a:lnTo>
                    <a:pt x="38" y="18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5" name="Freeform 429">
              <a:extLst>
                <a:ext uri="{FF2B5EF4-FFF2-40B4-BE49-F238E27FC236}">
                  <a16:creationId xmlns:a16="http://schemas.microsoft.com/office/drawing/2014/main" id="{B91C5D83-FF44-42B8-A29C-0E3F068E16B4}"/>
                </a:ext>
              </a:extLst>
            </p:cNvPr>
            <p:cNvSpPr>
              <a:spLocks noEditPoints="1"/>
            </p:cNvSpPr>
            <p:nvPr/>
          </p:nvSpPr>
          <p:spPr bwMode="gray">
            <a:xfrm>
              <a:off x="4079196" y="4024713"/>
              <a:ext cx="473420" cy="189801"/>
            </a:xfrm>
            <a:custGeom>
              <a:avLst/>
              <a:gdLst>
                <a:gd name="T0" fmla="*/ 966 w 1150"/>
                <a:gd name="T1" fmla="*/ 40 h 461"/>
                <a:gd name="T2" fmla="*/ 999 w 1150"/>
                <a:gd name="T3" fmla="*/ 57 h 461"/>
                <a:gd name="T4" fmla="*/ 1068 w 1150"/>
                <a:gd name="T5" fmla="*/ 78 h 461"/>
                <a:gd name="T6" fmla="*/ 1096 w 1150"/>
                <a:gd name="T7" fmla="*/ 78 h 461"/>
                <a:gd name="T8" fmla="*/ 1122 w 1150"/>
                <a:gd name="T9" fmla="*/ 111 h 461"/>
                <a:gd name="T10" fmla="*/ 1150 w 1150"/>
                <a:gd name="T11" fmla="*/ 168 h 461"/>
                <a:gd name="T12" fmla="*/ 1089 w 1150"/>
                <a:gd name="T13" fmla="*/ 255 h 461"/>
                <a:gd name="T14" fmla="*/ 945 w 1150"/>
                <a:gd name="T15" fmla="*/ 338 h 461"/>
                <a:gd name="T16" fmla="*/ 928 w 1150"/>
                <a:gd name="T17" fmla="*/ 371 h 461"/>
                <a:gd name="T18" fmla="*/ 895 w 1150"/>
                <a:gd name="T19" fmla="*/ 437 h 461"/>
                <a:gd name="T20" fmla="*/ 841 w 1150"/>
                <a:gd name="T21" fmla="*/ 421 h 461"/>
                <a:gd name="T22" fmla="*/ 787 w 1150"/>
                <a:gd name="T23" fmla="*/ 421 h 461"/>
                <a:gd name="T24" fmla="*/ 782 w 1150"/>
                <a:gd name="T25" fmla="*/ 404 h 461"/>
                <a:gd name="T26" fmla="*/ 803 w 1150"/>
                <a:gd name="T27" fmla="*/ 383 h 461"/>
                <a:gd name="T28" fmla="*/ 820 w 1150"/>
                <a:gd name="T29" fmla="*/ 333 h 461"/>
                <a:gd name="T30" fmla="*/ 836 w 1150"/>
                <a:gd name="T31" fmla="*/ 243 h 461"/>
                <a:gd name="T32" fmla="*/ 810 w 1150"/>
                <a:gd name="T33" fmla="*/ 284 h 461"/>
                <a:gd name="T34" fmla="*/ 798 w 1150"/>
                <a:gd name="T35" fmla="*/ 293 h 461"/>
                <a:gd name="T36" fmla="*/ 765 w 1150"/>
                <a:gd name="T37" fmla="*/ 255 h 461"/>
                <a:gd name="T38" fmla="*/ 765 w 1150"/>
                <a:gd name="T39" fmla="*/ 201 h 461"/>
                <a:gd name="T40" fmla="*/ 772 w 1150"/>
                <a:gd name="T41" fmla="*/ 168 h 461"/>
                <a:gd name="T42" fmla="*/ 787 w 1150"/>
                <a:gd name="T43" fmla="*/ 144 h 461"/>
                <a:gd name="T44" fmla="*/ 820 w 1150"/>
                <a:gd name="T45" fmla="*/ 73 h 461"/>
                <a:gd name="T46" fmla="*/ 891 w 1150"/>
                <a:gd name="T47" fmla="*/ 17 h 461"/>
                <a:gd name="T48" fmla="*/ 907 w 1150"/>
                <a:gd name="T49" fmla="*/ 0 h 461"/>
                <a:gd name="T50" fmla="*/ 895 w 1150"/>
                <a:gd name="T51" fmla="*/ 0 h 461"/>
                <a:gd name="T52" fmla="*/ 891 w 1150"/>
                <a:gd name="T53" fmla="*/ 7 h 461"/>
                <a:gd name="T54" fmla="*/ 80 w 1150"/>
                <a:gd name="T55" fmla="*/ 73 h 461"/>
                <a:gd name="T56" fmla="*/ 80 w 1150"/>
                <a:gd name="T57" fmla="*/ 78 h 461"/>
                <a:gd name="T58" fmla="*/ 14 w 1150"/>
                <a:gd name="T59" fmla="*/ 172 h 461"/>
                <a:gd name="T60" fmla="*/ 31 w 1150"/>
                <a:gd name="T61" fmla="*/ 151 h 461"/>
                <a:gd name="T62" fmla="*/ 14 w 1150"/>
                <a:gd name="T63" fmla="*/ 106 h 461"/>
                <a:gd name="T64" fmla="*/ 31 w 1150"/>
                <a:gd name="T65" fmla="*/ 106 h 461"/>
                <a:gd name="T66" fmla="*/ 47 w 1150"/>
                <a:gd name="T67" fmla="*/ 144 h 461"/>
                <a:gd name="T68" fmla="*/ 31 w 1150"/>
                <a:gd name="T69" fmla="*/ 172 h 461"/>
                <a:gd name="T70" fmla="*/ 69 w 1150"/>
                <a:gd name="T71" fmla="*/ 128 h 461"/>
                <a:gd name="T72" fmla="*/ 69 w 1150"/>
                <a:gd name="T73" fmla="*/ 118 h 461"/>
                <a:gd name="T74" fmla="*/ 69 w 1150"/>
                <a:gd name="T75" fmla="*/ 128 h 461"/>
                <a:gd name="T76" fmla="*/ 0 w 1150"/>
                <a:gd name="T77" fmla="*/ 128 h 461"/>
                <a:gd name="T78" fmla="*/ 9 w 1150"/>
                <a:gd name="T79" fmla="*/ 135 h 461"/>
                <a:gd name="T80" fmla="*/ 97 w 1150"/>
                <a:gd name="T81" fmla="*/ 161 h 461"/>
                <a:gd name="T82" fmla="*/ 102 w 1150"/>
                <a:gd name="T83" fmla="*/ 144 h 461"/>
                <a:gd name="T84" fmla="*/ 97 w 1150"/>
                <a:gd name="T85" fmla="*/ 161 h 461"/>
                <a:gd name="T86" fmla="*/ 139 w 1150"/>
                <a:gd name="T87" fmla="*/ 168 h 461"/>
                <a:gd name="T88" fmla="*/ 151 w 1150"/>
                <a:gd name="T89" fmla="*/ 168 h 461"/>
                <a:gd name="T90" fmla="*/ 85 w 1150"/>
                <a:gd name="T91" fmla="*/ 201 h 461"/>
                <a:gd name="T92" fmla="*/ 85 w 1150"/>
                <a:gd name="T93" fmla="*/ 189 h 461"/>
                <a:gd name="T94" fmla="*/ 85 w 1150"/>
                <a:gd name="T95" fmla="*/ 201 h 461"/>
                <a:gd name="T96" fmla="*/ 803 w 1150"/>
                <a:gd name="T97" fmla="*/ 293 h 461"/>
                <a:gd name="T98" fmla="*/ 803 w 1150"/>
                <a:gd name="T99" fmla="*/ 317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50" h="461">
                  <a:moveTo>
                    <a:pt x="907" y="0"/>
                  </a:moveTo>
                  <a:lnTo>
                    <a:pt x="950" y="33"/>
                  </a:lnTo>
                  <a:lnTo>
                    <a:pt x="966" y="40"/>
                  </a:lnTo>
                  <a:lnTo>
                    <a:pt x="983" y="40"/>
                  </a:lnTo>
                  <a:lnTo>
                    <a:pt x="983" y="50"/>
                  </a:lnTo>
                  <a:lnTo>
                    <a:pt x="999" y="57"/>
                  </a:lnTo>
                  <a:lnTo>
                    <a:pt x="1004" y="73"/>
                  </a:lnTo>
                  <a:lnTo>
                    <a:pt x="1058" y="90"/>
                  </a:lnTo>
                  <a:lnTo>
                    <a:pt x="1068" y="78"/>
                  </a:lnTo>
                  <a:lnTo>
                    <a:pt x="1068" y="73"/>
                  </a:lnTo>
                  <a:lnTo>
                    <a:pt x="1080" y="73"/>
                  </a:lnTo>
                  <a:lnTo>
                    <a:pt x="1096" y="78"/>
                  </a:lnTo>
                  <a:lnTo>
                    <a:pt x="1113" y="95"/>
                  </a:lnTo>
                  <a:lnTo>
                    <a:pt x="1150" y="111"/>
                  </a:lnTo>
                  <a:lnTo>
                    <a:pt x="1122" y="111"/>
                  </a:lnTo>
                  <a:lnTo>
                    <a:pt x="1150" y="144"/>
                  </a:lnTo>
                  <a:lnTo>
                    <a:pt x="1150" y="151"/>
                  </a:lnTo>
                  <a:lnTo>
                    <a:pt x="1150" y="168"/>
                  </a:lnTo>
                  <a:lnTo>
                    <a:pt x="1143" y="168"/>
                  </a:lnTo>
                  <a:lnTo>
                    <a:pt x="1127" y="217"/>
                  </a:lnTo>
                  <a:lnTo>
                    <a:pt x="1089" y="255"/>
                  </a:lnTo>
                  <a:lnTo>
                    <a:pt x="1051" y="284"/>
                  </a:lnTo>
                  <a:lnTo>
                    <a:pt x="966" y="317"/>
                  </a:lnTo>
                  <a:lnTo>
                    <a:pt x="945" y="338"/>
                  </a:lnTo>
                  <a:lnTo>
                    <a:pt x="945" y="354"/>
                  </a:lnTo>
                  <a:lnTo>
                    <a:pt x="933" y="350"/>
                  </a:lnTo>
                  <a:lnTo>
                    <a:pt x="928" y="371"/>
                  </a:lnTo>
                  <a:lnTo>
                    <a:pt x="912" y="411"/>
                  </a:lnTo>
                  <a:lnTo>
                    <a:pt x="912" y="428"/>
                  </a:lnTo>
                  <a:lnTo>
                    <a:pt x="895" y="437"/>
                  </a:lnTo>
                  <a:lnTo>
                    <a:pt x="879" y="461"/>
                  </a:lnTo>
                  <a:lnTo>
                    <a:pt x="862" y="461"/>
                  </a:lnTo>
                  <a:lnTo>
                    <a:pt x="841" y="421"/>
                  </a:lnTo>
                  <a:lnTo>
                    <a:pt x="824" y="421"/>
                  </a:lnTo>
                  <a:lnTo>
                    <a:pt x="803" y="411"/>
                  </a:lnTo>
                  <a:lnTo>
                    <a:pt x="787" y="421"/>
                  </a:lnTo>
                  <a:lnTo>
                    <a:pt x="782" y="421"/>
                  </a:lnTo>
                  <a:lnTo>
                    <a:pt x="798" y="404"/>
                  </a:lnTo>
                  <a:lnTo>
                    <a:pt x="782" y="404"/>
                  </a:lnTo>
                  <a:lnTo>
                    <a:pt x="782" y="387"/>
                  </a:lnTo>
                  <a:lnTo>
                    <a:pt x="798" y="387"/>
                  </a:lnTo>
                  <a:lnTo>
                    <a:pt x="803" y="383"/>
                  </a:lnTo>
                  <a:lnTo>
                    <a:pt x="798" y="350"/>
                  </a:lnTo>
                  <a:lnTo>
                    <a:pt x="798" y="338"/>
                  </a:lnTo>
                  <a:lnTo>
                    <a:pt x="820" y="333"/>
                  </a:lnTo>
                  <a:lnTo>
                    <a:pt x="836" y="284"/>
                  </a:lnTo>
                  <a:lnTo>
                    <a:pt x="824" y="272"/>
                  </a:lnTo>
                  <a:lnTo>
                    <a:pt x="836" y="243"/>
                  </a:lnTo>
                  <a:lnTo>
                    <a:pt x="824" y="255"/>
                  </a:lnTo>
                  <a:lnTo>
                    <a:pt x="824" y="284"/>
                  </a:lnTo>
                  <a:lnTo>
                    <a:pt x="810" y="284"/>
                  </a:lnTo>
                  <a:lnTo>
                    <a:pt x="820" y="272"/>
                  </a:lnTo>
                  <a:lnTo>
                    <a:pt x="820" y="272"/>
                  </a:lnTo>
                  <a:lnTo>
                    <a:pt x="798" y="293"/>
                  </a:lnTo>
                  <a:lnTo>
                    <a:pt x="756" y="272"/>
                  </a:lnTo>
                  <a:lnTo>
                    <a:pt x="749" y="255"/>
                  </a:lnTo>
                  <a:lnTo>
                    <a:pt x="765" y="255"/>
                  </a:lnTo>
                  <a:lnTo>
                    <a:pt x="765" y="239"/>
                  </a:lnTo>
                  <a:lnTo>
                    <a:pt x="756" y="217"/>
                  </a:lnTo>
                  <a:lnTo>
                    <a:pt x="765" y="201"/>
                  </a:lnTo>
                  <a:lnTo>
                    <a:pt x="749" y="172"/>
                  </a:lnTo>
                  <a:lnTo>
                    <a:pt x="756" y="168"/>
                  </a:lnTo>
                  <a:lnTo>
                    <a:pt x="772" y="168"/>
                  </a:lnTo>
                  <a:lnTo>
                    <a:pt x="787" y="144"/>
                  </a:lnTo>
                  <a:lnTo>
                    <a:pt x="798" y="144"/>
                  </a:lnTo>
                  <a:lnTo>
                    <a:pt x="787" y="144"/>
                  </a:lnTo>
                  <a:lnTo>
                    <a:pt x="782" y="128"/>
                  </a:lnTo>
                  <a:lnTo>
                    <a:pt x="810" y="95"/>
                  </a:lnTo>
                  <a:lnTo>
                    <a:pt x="820" y="73"/>
                  </a:lnTo>
                  <a:lnTo>
                    <a:pt x="810" y="50"/>
                  </a:lnTo>
                  <a:lnTo>
                    <a:pt x="810" y="40"/>
                  </a:lnTo>
                  <a:lnTo>
                    <a:pt x="891" y="17"/>
                  </a:lnTo>
                  <a:lnTo>
                    <a:pt x="907" y="0"/>
                  </a:lnTo>
                  <a:lnTo>
                    <a:pt x="907" y="0"/>
                  </a:lnTo>
                  <a:lnTo>
                    <a:pt x="907" y="0"/>
                  </a:lnTo>
                  <a:close/>
                  <a:moveTo>
                    <a:pt x="891" y="7"/>
                  </a:moveTo>
                  <a:lnTo>
                    <a:pt x="891" y="7"/>
                  </a:lnTo>
                  <a:lnTo>
                    <a:pt x="895" y="0"/>
                  </a:lnTo>
                  <a:lnTo>
                    <a:pt x="891" y="7"/>
                  </a:lnTo>
                  <a:lnTo>
                    <a:pt x="891" y="7"/>
                  </a:lnTo>
                  <a:lnTo>
                    <a:pt x="891" y="7"/>
                  </a:lnTo>
                  <a:close/>
                  <a:moveTo>
                    <a:pt x="80" y="78"/>
                  </a:moveTo>
                  <a:lnTo>
                    <a:pt x="80" y="78"/>
                  </a:lnTo>
                  <a:lnTo>
                    <a:pt x="80" y="73"/>
                  </a:lnTo>
                  <a:lnTo>
                    <a:pt x="85" y="78"/>
                  </a:lnTo>
                  <a:lnTo>
                    <a:pt x="80" y="78"/>
                  </a:lnTo>
                  <a:lnTo>
                    <a:pt x="80" y="78"/>
                  </a:lnTo>
                  <a:lnTo>
                    <a:pt x="80" y="78"/>
                  </a:lnTo>
                  <a:close/>
                  <a:moveTo>
                    <a:pt x="31" y="172"/>
                  </a:moveTo>
                  <a:lnTo>
                    <a:pt x="14" y="172"/>
                  </a:lnTo>
                  <a:lnTo>
                    <a:pt x="9" y="168"/>
                  </a:lnTo>
                  <a:lnTo>
                    <a:pt x="26" y="151"/>
                  </a:lnTo>
                  <a:lnTo>
                    <a:pt x="31" y="151"/>
                  </a:lnTo>
                  <a:lnTo>
                    <a:pt x="43" y="144"/>
                  </a:lnTo>
                  <a:lnTo>
                    <a:pt x="14" y="118"/>
                  </a:lnTo>
                  <a:lnTo>
                    <a:pt x="14" y="106"/>
                  </a:lnTo>
                  <a:lnTo>
                    <a:pt x="0" y="106"/>
                  </a:lnTo>
                  <a:lnTo>
                    <a:pt x="14" y="90"/>
                  </a:lnTo>
                  <a:lnTo>
                    <a:pt x="31" y="106"/>
                  </a:lnTo>
                  <a:lnTo>
                    <a:pt x="31" y="118"/>
                  </a:lnTo>
                  <a:lnTo>
                    <a:pt x="47" y="128"/>
                  </a:lnTo>
                  <a:lnTo>
                    <a:pt x="47" y="144"/>
                  </a:lnTo>
                  <a:lnTo>
                    <a:pt x="52" y="151"/>
                  </a:lnTo>
                  <a:lnTo>
                    <a:pt x="47" y="168"/>
                  </a:lnTo>
                  <a:lnTo>
                    <a:pt x="31" y="172"/>
                  </a:lnTo>
                  <a:lnTo>
                    <a:pt x="31" y="172"/>
                  </a:lnTo>
                  <a:lnTo>
                    <a:pt x="31" y="172"/>
                  </a:lnTo>
                  <a:close/>
                  <a:moveTo>
                    <a:pt x="69" y="128"/>
                  </a:moveTo>
                  <a:lnTo>
                    <a:pt x="52" y="128"/>
                  </a:lnTo>
                  <a:lnTo>
                    <a:pt x="52" y="111"/>
                  </a:lnTo>
                  <a:lnTo>
                    <a:pt x="69" y="118"/>
                  </a:lnTo>
                  <a:lnTo>
                    <a:pt x="80" y="118"/>
                  </a:lnTo>
                  <a:lnTo>
                    <a:pt x="69" y="128"/>
                  </a:lnTo>
                  <a:lnTo>
                    <a:pt x="69" y="128"/>
                  </a:lnTo>
                  <a:lnTo>
                    <a:pt x="69" y="128"/>
                  </a:lnTo>
                  <a:close/>
                  <a:moveTo>
                    <a:pt x="9" y="135"/>
                  </a:moveTo>
                  <a:lnTo>
                    <a:pt x="0" y="128"/>
                  </a:lnTo>
                  <a:lnTo>
                    <a:pt x="9" y="118"/>
                  </a:lnTo>
                  <a:lnTo>
                    <a:pt x="14" y="135"/>
                  </a:lnTo>
                  <a:lnTo>
                    <a:pt x="9" y="135"/>
                  </a:lnTo>
                  <a:lnTo>
                    <a:pt x="9" y="135"/>
                  </a:lnTo>
                  <a:lnTo>
                    <a:pt x="9" y="135"/>
                  </a:lnTo>
                  <a:close/>
                  <a:moveTo>
                    <a:pt x="97" y="161"/>
                  </a:moveTo>
                  <a:lnTo>
                    <a:pt x="80" y="151"/>
                  </a:lnTo>
                  <a:lnTo>
                    <a:pt x="80" y="135"/>
                  </a:lnTo>
                  <a:lnTo>
                    <a:pt x="102" y="144"/>
                  </a:lnTo>
                  <a:lnTo>
                    <a:pt x="102" y="151"/>
                  </a:lnTo>
                  <a:lnTo>
                    <a:pt x="97" y="161"/>
                  </a:lnTo>
                  <a:lnTo>
                    <a:pt x="97" y="161"/>
                  </a:lnTo>
                  <a:lnTo>
                    <a:pt x="97" y="161"/>
                  </a:lnTo>
                  <a:close/>
                  <a:moveTo>
                    <a:pt x="151" y="168"/>
                  </a:moveTo>
                  <a:lnTo>
                    <a:pt x="139" y="168"/>
                  </a:lnTo>
                  <a:lnTo>
                    <a:pt x="172" y="151"/>
                  </a:lnTo>
                  <a:lnTo>
                    <a:pt x="156" y="168"/>
                  </a:lnTo>
                  <a:lnTo>
                    <a:pt x="151" y="168"/>
                  </a:lnTo>
                  <a:lnTo>
                    <a:pt x="151" y="168"/>
                  </a:lnTo>
                  <a:lnTo>
                    <a:pt x="151" y="168"/>
                  </a:lnTo>
                  <a:close/>
                  <a:moveTo>
                    <a:pt x="85" y="201"/>
                  </a:moveTo>
                  <a:lnTo>
                    <a:pt x="80" y="189"/>
                  </a:lnTo>
                  <a:lnTo>
                    <a:pt x="80" y="189"/>
                  </a:lnTo>
                  <a:lnTo>
                    <a:pt x="85" y="189"/>
                  </a:lnTo>
                  <a:lnTo>
                    <a:pt x="85" y="201"/>
                  </a:lnTo>
                  <a:lnTo>
                    <a:pt x="85" y="201"/>
                  </a:lnTo>
                  <a:lnTo>
                    <a:pt x="85" y="201"/>
                  </a:lnTo>
                  <a:close/>
                  <a:moveTo>
                    <a:pt x="803" y="317"/>
                  </a:moveTo>
                  <a:lnTo>
                    <a:pt x="798" y="317"/>
                  </a:lnTo>
                  <a:lnTo>
                    <a:pt x="803" y="293"/>
                  </a:lnTo>
                  <a:lnTo>
                    <a:pt x="820" y="293"/>
                  </a:lnTo>
                  <a:lnTo>
                    <a:pt x="824" y="293"/>
                  </a:lnTo>
                  <a:lnTo>
                    <a:pt x="803" y="317"/>
                  </a:lnTo>
                  <a:lnTo>
                    <a:pt x="803" y="317"/>
                  </a:lnTo>
                  <a:lnTo>
                    <a:pt x="803" y="3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6" name="Freeform 435">
              <a:extLst>
                <a:ext uri="{FF2B5EF4-FFF2-40B4-BE49-F238E27FC236}">
                  <a16:creationId xmlns:a16="http://schemas.microsoft.com/office/drawing/2014/main" id="{EBBBCF4A-C980-480E-B0EC-6D4908F247F9}"/>
                </a:ext>
              </a:extLst>
            </p:cNvPr>
            <p:cNvSpPr>
              <a:spLocks/>
            </p:cNvSpPr>
            <p:nvPr/>
          </p:nvSpPr>
          <p:spPr bwMode="gray">
            <a:xfrm>
              <a:off x="4122834" y="3636878"/>
              <a:ext cx="72865" cy="36644"/>
            </a:xfrm>
            <a:custGeom>
              <a:avLst/>
              <a:gdLst>
                <a:gd name="T0" fmla="*/ 0 w 177"/>
                <a:gd name="T1" fmla="*/ 44 h 89"/>
                <a:gd name="T2" fmla="*/ 12 w 177"/>
                <a:gd name="T3" fmla="*/ 33 h 89"/>
                <a:gd name="T4" fmla="*/ 45 w 177"/>
                <a:gd name="T5" fmla="*/ 4 h 89"/>
                <a:gd name="T6" fmla="*/ 45 w 177"/>
                <a:gd name="T7" fmla="*/ 0 h 89"/>
                <a:gd name="T8" fmla="*/ 55 w 177"/>
                <a:gd name="T9" fmla="*/ 0 h 89"/>
                <a:gd name="T10" fmla="*/ 83 w 177"/>
                <a:gd name="T11" fmla="*/ 0 h 89"/>
                <a:gd name="T12" fmla="*/ 100 w 177"/>
                <a:gd name="T13" fmla="*/ 21 h 89"/>
                <a:gd name="T14" fmla="*/ 100 w 177"/>
                <a:gd name="T15" fmla="*/ 16 h 89"/>
                <a:gd name="T16" fmla="*/ 111 w 177"/>
                <a:gd name="T17" fmla="*/ 33 h 89"/>
                <a:gd name="T18" fmla="*/ 121 w 177"/>
                <a:gd name="T19" fmla="*/ 37 h 89"/>
                <a:gd name="T20" fmla="*/ 144 w 177"/>
                <a:gd name="T21" fmla="*/ 33 h 89"/>
                <a:gd name="T22" fmla="*/ 154 w 177"/>
                <a:gd name="T23" fmla="*/ 37 h 89"/>
                <a:gd name="T24" fmla="*/ 166 w 177"/>
                <a:gd name="T25" fmla="*/ 33 h 89"/>
                <a:gd name="T26" fmla="*/ 177 w 177"/>
                <a:gd name="T27" fmla="*/ 37 h 89"/>
                <a:gd name="T28" fmla="*/ 166 w 177"/>
                <a:gd name="T29" fmla="*/ 61 h 89"/>
                <a:gd name="T30" fmla="*/ 177 w 177"/>
                <a:gd name="T31" fmla="*/ 61 h 89"/>
                <a:gd name="T32" fmla="*/ 166 w 177"/>
                <a:gd name="T33" fmla="*/ 73 h 89"/>
                <a:gd name="T34" fmla="*/ 161 w 177"/>
                <a:gd name="T35" fmla="*/ 73 h 89"/>
                <a:gd name="T36" fmla="*/ 166 w 177"/>
                <a:gd name="T37" fmla="*/ 78 h 89"/>
                <a:gd name="T38" fmla="*/ 161 w 177"/>
                <a:gd name="T39" fmla="*/ 89 h 89"/>
                <a:gd name="T40" fmla="*/ 100 w 177"/>
                <a:gd name="T41" fmla="*/ 78 h 89"/>
                <a:gd name="T42" fmla="*/ 111 w 177"/>
                <a:gd name="T43" fmla="*/ 89 h 89"/>
                <a:gd name="T44" fmla="*/ 55 w 177"/>
                <a:gd name="T45" fmla="*/ 61 h 89"/>
                <a:gd name="T46" fmla="*/ 29 w 177"/>
                <a:gd name="T47" fmla="*/ 61 h 89"/>
                <a:gd name="T48" fmla="*/ 0 w 177"/>
                <a:gd name="T49" fmla="*/ 44 h 89"/>
                <a:gd name="T50" fmla="*/ 0 w 177"/>
                <a:gd name="T51" fmla="*/ 44 h 89"/>
                <a:gd name="T52" fmla="*/ 0 w 177"/>
                <a:gd name="T53"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7" h="89">
                  <a:moveTo>
                    <a:pt x="0" y="44"/>
                  </a:moveTo>
                  <a:lnTo>
                    <a:pt x="12" y="33"/>
                  </a:lnTo>
                  <a:lnTo>
                    <a:pt x="45" y="4"/>
                  </a:lnTo>
                  <a:lnTo>
                    <a:pt x="45" y="0"/>
                  </a:lnTo>
                  <a:lnTo>
                    <a:pt x="55" y="0"/>
                  </a:lnTo>
                  <a:lnTo>
                    <a:pt x="83" y="0"/>
                  </a:lnTo>
                  <a:lnTo>
                    <a:pt x="100" y="21"/>
                  </a:lnTo>
                  <a:lnTo>
                    <a:pt x="100" y="16"/>
                  </a:lnTo>
                  <a:lnTo>
                    <a:pt x="111" y="33"/>
                  </a:lnTo>
                  <a:lnTo>
                    <a:pt x="121" y="37"/>
                  </a:lnTo>
                  <a:lnTo>
                    <a:pt x="144" y="33"/>
                  </a:lnTo>
                  <a:lnTo>
                    <a:pt x="154" y="37"/>
                  </a:lnTo>
                  <a:lnTo>
                    <a:pt x="166" y="33"/>
                  </a:lnTo>
                  <a:lnTo>
                    <a:pt x="177" y="37"/>
                  </a:lnTo>
                  <a:lnTo>
                    <a:pt x="166" y="61"/>
                  </a:lnTo>
                  <a:lnTo>
                    <a:pt x="177" y="61"/>
                  </a:lnTo>
                  <a:lnTo>
                    <a:pt x="166" y="73"/>
                  </a:lnTo>
                  <a:lnTo>
                    <a:pt x="161" y="73"/>
                  </a:lnTo>
                  <a:lnTo>
                    <a:pt x="166" y="78"/>
                  </a:lnTo>
                  <a:lnTo>
                    <a:pt x="161" y="89"/>
                  </a:lnTo>
                  <a:lnTo>
                    <a:pt x="100" y="78"/>
                  </a:lnTo>
                  <a:lnTo>
                    <a:pt x="111" y="89"/>
                  </a:lnTo>
                  <a:lnTo>
                    <a:pt x="55" y="61"/>
                  </a:lnTo>
                  <a:lnTo>
                    <a:pt x="29" y="61"/>
                  </a:lnTo>
                  <a:lnTo>
                    <a:pt x="0" y="44"/>
                  </a:lnTo>
                  <a:lnTo>
                    <a:pt x="0" y="44"/>
                  </a:lnTo>
                  <a:lnTo>
                    <a:pt x="0" y="4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7" name="Freeform 438">
              <a:extLst>
                <a:ext uri="{FF2B5EF4-FFF2-40B4-BE49-F238E27FC236}">
                  <a16:creationId xmlns:a16="http://schemas.microsoft.com/office/drawing/2014/main" id="{B167BBF2-5B23-4A5A-B744-ADE37F9C9506}"/>
                </a:ext>
              </a:extLst>
            </p:cNvPr>
            <p:cNvSpPr>
              <a:spLocks/>
            </p:cNvSpPr>
            <p:nvPr/>
          </p:nvSpPr>
          <p:spPr bwMode="gray">
            <a:xfrm>
              <a:off x="5150774" y="3894612"/>
              <a:ext cx="81922" cy="107870"/>
            </a:xfrm>
            <a:custGeom>
              <a:avLst/>
              <a:gdLst>
                <a:gd name="T0" fmla="*/ 0 w 199"/>
                <a:gd name="T1" fmla="*/ 245 h 262"/>
                <a:gd name="T2" fmla="*/ 17 w 199"/>
                <a:gd name="T3" fmla="*/ 238 h 262"/>
                <a:gd name="T4" fmla="*/ 21 w 199"/>
                <a:gd name="T5" fmla="*/ 212 h 262"/>
                <a:gd name="T6" fmla="*/ 21 w 199"/>
                <a:gd name="T7" fmla="*/ 189 h 262"/>
                <a:gd name="T8" fmla="*/ 33 w 199"/>
                <a:gd name="T9" fmla="*/ 184 h 262"/>
                <a:gd name="T10" fmla="*/ 38 w 199"/>
                <a:gd name="T11" fmla="*/ 155 h 262"/>
                <a:gd name="T12" fmla="*/ 17 w 199"/>
                <a:gd name="T13" fmla="*/ 127 h 262"/>
                <a:gd name="T14" fmla="*/ 7 w 199"/>
                <a:gd name="T15" fmla="*/ 73 h 262"/>
                <a:gd name="T16" fmla="*/ 7 w 199"/>
                <a:gd name="T17" fmla="*/ 54 h 262"/>
                <a:gd name="T18" fmla="*/ 33 w 199"/>
                <a:gd name="T19" fmla="*/ 28 h 262"/>
                <a:gd name="T20" fmla="*/ 38 w 199"/>
                <a:gd name="T21" fmla="*/ 4 h 262"/>
                <a:gd name="T22" fmla="*/ 50 w 199"/>
                <a:gd name="T23" fmla="*/ 0 h 262"/>
                <a:gd name="T24" fmla="*/ 76 w 199"/>
                <a:gd name="T25" fmla="*/ 16 h 262"/>
                <a:gd name="T26" fmla="*/ 114 w 199"/>
                <a:gd name="T27" fmla="*/ 21 h 262"/>
                <a:gd name="T28" fmla="*/ 177 w 199"/>
                <a:gd name="T29" fmla="*/ 77 h 262"/>
                <a:gd name="T30" fmla="*/ 182 w 199"/>
                <a:gd name="T31" fmla="*/ 94 h 262"/>
                <a:gd name="T32" fmla="*/ 177 w 199"/>
                <a:gd name="T33" fmla="*/ 99 h 262"/>
                <a:gd name="T34" fmla="*/ 182 w 199"/>
                <a:gd name="T35" fmla="*/ 99 h 262"/>
                <a:gd name="T36" fmla="*/ 182 w 199"/>
                <a:gd name="T37" fmla="*/ 77 h 262"/>
                <a:gd name="T38" fmla="*/ 194 w 199"/>
                <a:gd name="T39" fmla="*/ 82 h 262"/>
                <a:gd name="T40" fmla="*/ 199 w 199"/>
                <a:gd name="T41" fmla="*/ 111 h 262"/>
                <a:gd name="T42" fmla="*/ 199 w 199"/>
                <a:gd name="T43" fmla="*/ 127 h 262"/>
                <a:gd name="T44" fmla="*/ 156 w 199"/>
                <a:gd name="T45" fmla="*/ 189 h 262"/>
                <a:gd name="T46" fmla="*/ 139 w 199"/>
                <a:gd name="T47" fmla="*/ 238 h 262"/>
                <a:gd name="T48" fmla="*/ 114 w 199"/>
                <a:gd name="T49" fmla="*/ 262 h 262"/>
                <a:gd name="T50" fmla="*/ 92 w 199"/>
                <a:gd name="T51" fmla="*/ 262 h 262"/>
                <a:gd name="T52" fmla="*/ 85 w 199"/>
                <a:gd name="T53" fmla="*/ 245 h 262"/>
                <a:gd name="T54" fmla="*/ 71 w 199"/>
                <a:gd name="T55" fmla="*/ 250 h 262"/>
                <a:gd name="T56" fmla="*/ 54 w 199"/>
                <a:gd name="T57" fmla="*/ 245 h 262"/>
                <a:gd name="T58" fmla="*/ 33 w 199"/>
                <a:gd name="T59" fmla="*/ 262 h 262"/>
                <a:gd name="T60" fmla="*/ 0 w 199"/>
                <a:gd name="T61" fmla="*/ 245 h 262"/>
                <a:gd name="T62" fmla="*/ 0 w 199"/>
                <a:gd name="T63" fmla="*/ 245 h 262"/>
                <a:gd name="T64" fmla="*/ 0 w 199"/>
                <a:gd name="T65" fmla="*/ 24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9" h="262">
                  <a:moveTo>
                    <a:pt x="0" y="245"/>
                  </a:moveTo>
                  <a:lnTo>
                    <a:pt x="17" y="238"/>
                  </a:lnTo>
                  <a:lnTo>
                    <a:pt x="21" y="212"/>
                  </a:lnTo>
                  <a:lnTo>
                    <a:pt x="21" y="189"/>
                  </a:lnTo>
                  <a:lnTo>
                    <a:pt x="33" y="184"/>
                  </a:lnTo>
                  <a:lnTo>
                    <a:pt x="38" y="155"/>
                  </a:lnTo>
                  <a:lnTo>
                    <a:pt x="17" y="127"/>
                  </a:lnTo>
                  <a:lnTo>
                    <a:pt x="7" y="73"/>
                  </a:lnTo>
                  <a:lnTo>
                    <a:pt x="7" y="54"/>
                  </a:lnTo>
                  <a:lnTo>
                    <a:pt x="33" y="28"/>
                  </a:lnTo>
                  <a:lnTo>
                    <a:pt x="38" y="4"/>
                  </a:lnTo>
                  <a:lnTo>
                    <a:pt x="50" y="0"/>
                  </a:lnTo>
                  <a:lnTo>
                    <a:pt x="76" y="16"/>
                  </a:lnTo>
                  <a:lnTo>
                    <a:pt x="114" y="21"/>
                  </a:lnTo>
                  <a:lnTo>
                    <a:pt x="177" y="77"/>
                  </a:lnTo>
                  <a:lnTo>
                    <a:pt x="182" y="94"/>
                  </a:lnTo>
                  <a:lnTo>
                    <a:pt x="177" y="99"/>
                  </a:lnTo>
                  <a:lnTo>
                    <a:pt x="182" y="99"/>
                  </a:lnTo>
                  <a:lnTo>
                    <a:pt x="182" y="77"/>
                  </a:lnTo>
                  <a:lnTo>
                    <a:pt x="194" y="82"/>
                  </a:lnTo>
                  <a:lnTo>
                    <a:pt x="199" y="111"/>
                  </a:lnTo>
                  <a:lnTo>
                    <a:pt x="199" y="127"/>
                  </a:lnTo>
                  <a:lnTo>
                    <a:pt x="156" y="189"/>
                  </a:lnTo>
                  <a:lnTo>
                    <a:pt x="139" y="238"/>
                  </a:lnTo>
                  <a:lnTo>
                    <a:pt x="114" y="262"/>
                  </a:lnTo>
                  <a:lnTo>
                    <a:pt x="92" y="262"/>
                  </a:lnTo>
                  <a:lnTo>
                    <a:pt x="85" y="245"/>
                  </a:lnTo>
                  <a:lnTo>
                    <a:pt x="71" y="250"/>
                  </a:lnTo>
                  <a:lnTo>
                    <a:pt x="54" y="245"/>
                  </a:lnTo>
                  <a:lnTo>
                    <a:pt x="33" y="262"/>
                  </a:lnTo>
                  <a:lnTo>
                    <a:pt x="0" y="245"/>
                  </a:lnTo>
                  <a:lnTo>
                    <a:pt x="0" y="245"/>
                  </a:lnTo>
                  <a:lnTo>
                    <a:pt x="0" y="24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8" name="Freeform 451">
              <a:extLst>
                <a:ext uri="{FF2B5EF4-FFF2-40B4-BE49-F238E27FC236}">
                  <a16:creationId xmlns:a16="http://schemas.microsoft.com/office/drawing/2014/main" id="{C740CC27-ADF4-4A26-86A5-D79EB991099E}"/>
                </a:ext>
              </a:extLst>
            </p:cNvPr>
            <p:cNvSpPr>
              <a:spLocks/>
            </p:cNvSpPr>
            <p:nvPr/>
          </p:nvSpPr>
          <p:spPr bwMode="gray">
            <a:xfrm>
              <a:off x="4940822" y="3699870"/>
              <a:ext cx="6587" cy="6999"/>
            </a:xfrm>
            <a:custGeom>
              <a:avLst/>
              <a:gdLst>
                <a:gd name="T0" fmla="*/ 16 w 16"/>
                <a:gd name="T1" fmla="*/ 0 h 17"/>
                <a:gd name="T2" fmla="*/ 16 w 16"/>
                <a:gd name="T3" fmla="*/ 17 h 17"/>
                <a:gd name="T4" fmla="*/ 0 w 16"/>
                <a:gd name="T5" fmla="*/ 17 h 17"/>
                <a:gd name="T6" fmla="*/ 7 w 16"/>
                <a:gd name="T7" fmla="*/ 0 h 17"/>
                <a:gd name="T8" fmla="*/ 16 w 16"/>
                <a:gd name="T9" fmla="*/ 0 h 17"/>
                <a:gd name="T10" fmla="*/ 16 w 16"/>
                <a:gd name="T11" fmla="*/ 0 h 17"/>
                <a:gd name="T12" fmla="*/ 16 w 16"/>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16" y="0"/>
                  </a:moveTo>
                  <a:lnTo>
                    <a:pt x="16" y="17"/>
                  </a:lnTo>
                  <a:lnTo>
                    <a:pt x="0" y="17"/>
                  </a:lnTo>
                  <a:lnTo>
                    <a:pt x="7" y="0"/>
                  </a:lnTo>
                  <a:lnTo>
                    <a:pt x="16" y="0"/>
                  </a:lnTo>
                  <a:lnTo>
                    <a:pt x="16" y="0"/>
                  </a:lnTo>
                  <a:lnTo>
                    <a:pt x="16"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9" name="Freeform 454">
              <a:extLst>
                <a:ext uri="{FF2B5EF4-FFF2-40B4-BE49-F238E27FC236}">
                  <a16:creationId xmlns:a16="http://schemas.microsoft.com/office/drawing/2014/main" id="{9D80B759-3C9C-4DFD-AA7C-E08D09DF464C}"/>
                </a:ext>
              </a:extLst>
            </p:cNvPr>
            <p:cNvSpPr>
              <a:spLocks noEditPoints="1"/>
            </p:cNvSpPr>
            <p:nvPr/>
          </p:nvSpPr>
          <p:spPr bwMode="gray">
            <a:xfrm>
              <a:off x="4903771" y="3522008"/>
              <a:ext cx="54341" cy="67933"/>
            </a:xfrm>
            <a:custGeom>
              <a:avLst/>
              <a:gdLst>
                <a:gd name="T0" fmla="*/ 5 w 132"/>
                <a:gd name="T1" fmla="*/ 5 h 165"/>
                <a:gd name="T2" fmla="*/ 0 w 132"/>
                <a:gd name="T3" fmla="*/ 5 h 165"/>
                <a:gd name="T4" fmla="*/ 5 w 132"/>
                <a:gd name="T5" fmla="*/ 0 h 165"/>
                <a:gd name="T6" fmla="*/ 5 w 132"/>
                <a:gd name="T7" fmla="*/ 5 h 165"/>
                <a:gd name="T8" fmla="*/ 5 w 132"/>
                <a:gd name="T9" fmla="*/ 5 h 165"/>
                <a:gd name="T10" fmla="*/ 5 w 132"/>
                <a:gd name="T11" fmla="*/ 5 h 165"/>
                <a:gd name="T12" fmla="*/ 21 w 132"/>
                <a:gd name="T13" fmla="*/ 16 h 165"/>
                <a:gd name="T14" fmla="*/ 12 w 132"/>
                <a:gd name="T15" fmla="*/ 16 h 165"/>
                <a:gd name="T16" fmla="*/ 21 w 132"/>
                <a:gd name="T17" fmla="*/ 16 h 165"/>
                <a:gd name="T18" fmla="*/ 21 w 132"/>
                <a:gd name="T19" fmla="*/ 16 h 165"/>
                <a:gd name="T20" fmla="*/ 21 w 132"/>
                <a:gd name="T21" fmla="*/ 16 h 165"/>
                <a:gd name="T22" fmla="*/ 21 w 132"/>
                <a:gd name="T23" fmla="*/ 16 h 165"/>
                <a:gd name="T24" fmla="*/ 111 w 132"/>
                <a:gd name="T25" fmla="*/ 132 h 165"/>
                <a:gd name="T26" fmla="*/ 111 w 132"/>
                <a:gd name="T27" fmla="*/ 116 h 165"/>
                <a:gd name="T28" fmla="*/ 118 w 132"/>
                <a:gd name="T29" fmla="*/ 132 h 165"/>
                <a:gd name="T30" fmla="*/ 132 w 132"/>
                <a:gd name="T31" fmla="*/ 132 h 165"/>
                <a:gd name="T32" fmla="*/ 106 w 132"/>
                <a:gd name="T33" fmla="*/ 144 h 165"/>
                <a:gd name="T34" fmla="*/ 106 w 132"/>
                <a:gd name="T35" fmla="*/ 156 h 165"/>
                <a:gd name="T36" fmla="*/ 97 w 132"/>
                <a:gd name="T37" fmla="*/ 156 h 165"/>
                <a:gd name="T38" fmla="*/ 90 w 132"/>
                <a:gd name="T39" fmla="*/ 132 h 165"/>
                <a:gd name="T40" fmla="*/ 111 w 132"/>
                <a:gd name="T41" fmla="*/ 132 h 165"/>
                <a:gd name="T42" fmla="*/ 111 w 132"/>
                <a:gd name="T43" fmla="*/ 132 h 165"/>
                <a:gd name="T44" fmla="*/ 111 w 132"/>
                <a:gd name="T45" fmla="*/ 132 h 165"/>
                <a:gd name="T46" fmla="*/ 128 w 132"/>
                <a:gd name="T47" fmla="*/ 165 h 165"/>
                <a:gd name="T48" fmla="*/ 118 w 132"/>
                <a:gd name="T49" fmla="*/ 165 h 165"/>
                <a:gd name="T50" fmla="*/ 128 w 132"/>
                <a:gd name="T51" fmla="*/ 156 h 165"/>
                <a:gd name="T52" fmla="*/ 132 w 132"/>
                <a:gd name="T53" fmla="*/ 165 h 165"/>
                <a:gd name="T54" fmla="*/ 128 w 132"/>
                <a:gd name="T55" fmla="*/ 165 h 165"/>
                <a:gd name="T56" fmla="*/ 128 w 132"/>
                <a:gd name="T57" fmla="*/ 165 h 165"/>
                <a:gd name="T58" fmla="*/ 128 w 132"/>
                <a:gd name="T59"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2" h="165">
                  <a:moveTo>
                    <a:pt x="5" y="5"/>
                  </a:moveTo>
                  <a:lnTo>
                    <a:pt x="0" y="5"/>
                  </a:lnTo>
                  <a:lnTo>
                    <a:pt x="5" y="0"/>
                  </a:lnTo>
                  <a:lnTo>
                    <a:pt x="5" y="5"/>
                  </a:lnTo>
                  <a:lnTo>
                    <a:pt x="5" y="5"/>
                  </a:lnTo>
                  <a:lnTo>
                    <a:pt x="5" y="5"/>
                  </a:lnTo>
                  <a:close/>
                  <a:moveTo>
                    <a:pt x="21" y="16"/>
                  </a:moveTo>
                  <a:lnTo>
                    <a:pt x="12" y="16"/>
                  </a:lnTo>
                  <a:lnTo>
                    <a:pt x="21" y="16"/>
                  </a:lnTo>
                  <a:lnTo>
                    <a:pt x="21" y="16"/>
                  </a:lnTo>
                  <a:lnTo>
                    <a:pt x="21" y="16"/>
                  </a:lnTo>
                  <a:lnTo>
                    <a:pt x="21" y="16"/>
                  </a:lnTo>
                  <a:close/>
                  <a:moveTo>
                    <a:pt x="111" y="132"/>
                  </a:moveTo>
                  <a:lnTo>
                    <a:pt x="111" y="116"/>
                  </a:lnTo>
                  <a:lnTo>
                    <a:pt x="118" y="132"/>
                  </a:lnTo>
                  <a:lnTo>
                    <a:pt x="132" y="132"/>
                  </a:lnTo>
                  <a:lnTo>
                    <a:pt x="106" y="144"/>
                  </a:lnTo>
                  <a:lnTo>
                    <a:pt x="106" y="156"/>
                  </a:lnTo>
                  <a:lnTo>
                    <a:pt x="97" y="156"/>
                  </a:lnTo>
                  <a:lnTo>
                    <a:pt x="90" y="132"/>
                  </a:lnTo>
                  <a:lnTo>
                    <a:pt x="111" y="132"/>
                  </a:lnTo>
                  <a:lnTo>
                    <a:pt x="111" y="132"/>
                  </a:lnTo>
                  <a:lnTo>
                    <a:pt x="111" y="132"/>
                  </a:lnTo>
                  <a:close/>
                  <a:moveTo>
                    <a:pt x="128" y="165"/>
                  </a:moveTo>
                  <a:lnTo>
                    <a:pt x="118" y="165"/>
                  </a:lnTo>
                  <a:lnTo>
                    <a:pt x="128" y="156"/>
                  </a:lnTo>
                  <a:lnTo>
                    <a:pt x="132" y="165"/>
                  </a:lnTo>
                  <a:lnTo>
                    <a:pt x="128" y="165"/>
                  </a:lnTo>
                  <a:lnTo>
                    <a:pt x="128" y="165"/>
                  </a:lnTo>
                  <a:lnTo>
                    <a:pt x="128" y="16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0" name="Freeform 457">
              <a:extLst>
                <a:ext uri="{FF2B5EF4-FFF2-40B4-BE49-F238E27FC236}">
                  <a16:creationId xmlns:a16="http://schemas.microsoft.com/office/drawing/2014/main" id="{DFC5AB82-9C98-4A2E-A804-38F9C4634D17}"/>
                </a:ext>
              </a:extLst>
            </p:cNvPr>
            <p:cNvSpPr>
              <a:spLocks/>
            </p:cNvSpPr>
            <p:nvPr/>
          </p:nvSpPr>
          <p:spPr bwMode="gray">
            <a:xfrm>
              <a:off x="4060672" y="3530655"/>
              <a:ext cx="118561" cy="123515"/>
            </a:xfrm>
            <a:custGeom>
              <a:avLst/>
              <a:gdLst>
                <a:gd name="T0" fmla="*/ 0 w 288"/>
                <a:gd name="T1" fmla="*/ 239 h 300"/>
                <a:gd name="T2" fmla="*/ 17 w 288"/>
                <a:gd name="T3" fmla="*/ 206 h 300"/>
                <a:gd name="T4" fmla="*/ 7 w 288"/>
                <a:gd name="T5" fmla="*/ 189 h 300"/>
                <a:gd name="T6" fmla="*/ 40 w 288"/>
                <a:gd name="T7" fmla="*/ 128 h 300"/>
                <a:gd name="T8" fmla="*/ 132 w 288"/>
                <a:gd name="T9" fmla="*/ 128 h 300"/>
                <a:gd name="T10" fmla="*/ 132 w 288"/>
                <a:gd name="T11" fmla="*/ 104 h 300"/>
                <a:gd name="T12" fmla="*/ 116 w 288"/>
                <a:gd name="T13" fmla="*/ 104 h 300"/>
                <a:gd name="T14" fmla="*/ 109 w 288"/>
                <a:gd name="T15" fmla="*/ 78 h 300"/>
                <a:gd name="T16" fmla="*/ 62 w 288"/>
                <a:gd name="T17" fmla="*/ 38 h 300"/>
                <a:gd name="T18" fmla="*/ 95 w 288"/>
                <a:gd name="T19" fmla="*/ 38 h 300"/>
                <a:gd name="T20" fmla="*/ 95 w 288"/>
                <a:gd name="T21" fmla="*/ 0 h 300"/>
                <a:gd name="T22" fmla="*/ 225 w 288"/>
                <a:gd name="T23" fmla="*/ 0 h 300"/>
                <a:gd name="T24" fmla="*/ 217 w 288"/>
                <a:gd name="T25" fmla="*/ 144 h 300"/>
                <a:gd name="T26" fmla="*/ 241 w 288"/>
                <a:gd name="T27" fmla="*/ 144 h 300"/>
                <a:gd name="T28" fmla="*/ 255 w 288"/>
                <a:gd name="T29" fmla="*/ 161 h 300"/>
                <a:gd name="T30" fmla="*/ 272 w 288"/>
                <a:gd name="T31" fmla="*/ 144 h 300"/>
                <a:gd name="T32" fmla="*/ 262 w 288"/>
                <a:gd name="T33" fmla="*/ 132 h 300"/>
                <a:gd name="T34" fmla="*/ 288 w 288"/>
                <a:gd name="T35" fmla="*/ 161 h 300"/>
                <a:gd name="T36" fmla="*/ 225 w 288"/>
                <a:gd name="T37" fmla="*/ 206 h 300"/>
                <a:gd name="T38" fmla="*/ 217 w 288"/>
                <a:gd name="T39" fmla="*/ 222 h 300"/>
                <a:gd name="T40" fmla="*/ 225 w 288"/>
                <a:gd name="T41" fmla="*/ 234 h 300"/>
                <a:gd name="T42" fmla="*/ 208 w 288"/>
                <a:gd name="T43" fmla="*/ 255 h 300"/>
                <a:gd name="T44" fmla="*/ 196 w 288"/>
                <a:gd name="T45" fmla="*/ 255 h 300"/>
                <a:gd name="T46" fmla="*/ 196 w 288"/>
                <a:gd name="T47" fmla="*/ 260 h 300"/>
                <a:gd name="T48" fmla="*/ 163 w 288"/>
                <a:gd name="T49" fmla="*/ 288 h 300"/>
                <a:gd name="T50" fmla="*/ 154 w 288"/>
                <a:gd name="T51" fmla="*/ 300 h 300"/>
                <a:gd name="T52" fmla="*/ 116 w 288"/>
                <a:gd name="T53" fmla="*/ 288 h 300"/>
                <a:gd name="T54" fmla="*/ 62 w 288"/>
                <a:gd name="T55" fmla="*/ 288 h 300"/>
                <a:gd name="T56" fmla="*/ 0 w 288"/>
                <a:gd name="T57" fmla="*/ 239 h 300"/>
                <a:gd name="T58" fmla="*/ 0 w 288"/>
                <a:gd name="T59" fmla="*/ 239 h 300"/>
                <a:gd name="T60" fmla="*/ 0 w 288"/>
                <a:gd name="T61" fmla="*/ 23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8" h="300">
                  <a:moveTo>
                    <a:pt x="0" y="239"/>
                  </a:moveTo>
                  <a:lnTo>
                    <a:pt x="17" y="206"/>
                  </a:lnTo>
                  <a:lnTo>
                    <a:pt x="7" y="189"/>
                  </a:lnTo>
                  <a:lnTo>
                    <a:pt x="40" y="128"/>
                  </a:lnTo>
                  <a:lnTo>
                    <a:pt x="132" y="128"/>
                  </a:lnTo>
                  <a:lnTo>
                    <a:pt x="132" y="104"/>
                  </a:lnTo>
                  <a:lnTo>
                    <a:pt x="116" y="104"/>
                  </a:lnTo>
                  <a:lnTo>
                    <a:pt x="109" y="78"/>
                  </a:lnTo>
                  <a:lnTo>
                    <a:pt x="62" y="38"/>
                  </a:lnTo>
                  <a:lnTo>
                    <a:pt x="95" y="38"/>
                  </a:lnTo>
                  <a:lnTo>
                    <a:pt x="95" y="0"/>
                  </a:lnTo>
                  <a:lnTo>
                    <a:pt x="225" y="0"/>
                  </a:lnTo>
                  <a:lnTo>
                    <a:pt x="217" y="144"/>
                  </a:lnTo>
                  <a:lnTo>
                    <a:pt x="241" y="144"/>
                  </a:lnTo>
                  <a:lnTo>
                    <a:pt x="255" y="161"/>
                  </a:lnTo>
                  <a:lnTo>
                    <a:pt x="272" y="144"/>
                  </a:lnTo>
                  <a:lnTo>
                    <a:pt x="262" y="132"/>
                  </a:lnTo>
                  <a:lnTo>
                    <a:pt x="288" y="161"/>
                  </a:lnTo>
                  <a:lnTo>
                    <a:pt x="225" y="206"/>
                  </a:lnTo>
                  <a:lnTo>
                    <a:pt x="217" y="222"/>
                  </a:lnTo>
                  <a:lnTo>
                    <a:pt x="225" y="234"/>
                  </a:lnTo>
                  <a:lnTo>
                    <a:pt x="208" y="255"/>
                  </a:lnTo>
                  <a:lnTo>
                    <a:pt x="196" y="255"/>
                  </a:lnTo>
                  <a:lnTo>
                    <a:pt x="196" y="260"/>
                  </a:lnTo>
                  <a:lnTo>
                    <a:pt x="163" y="288"/>
                  </a:lnTo>
                  <a:lnTo>
                    <a:pt x="154" y="300"/>
                  </a:lnTo>
                  <a:lnTo>
                    <a:pt x="116" y="288"/>
                  </a:lnTo>
                  <a:lnTo>
                    <a:pt x="62" y="288"/>
                  </a:lnTo>
                  <a:lnTo>
                    <a:pt x="0" y="239"/>
                  </a:lnTo>
                  <a:lnTo>
                    <a:pt x="0" y="239"/>
                  </a:lnTo>
                  <a:lnTo>
                    <a:pt x="0" y="23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1" name="Freeform 459">
              <a:extLst>
                <a:ext uri="{FF2B5EF4-FFF2-40B4-BE49-F238E27FC236}">
                  <a16:creationId xmlns:a16="http://schemas.microsoft.com/office/drawing/2014/main" id="{3114C6B5-06E0-4D19-93B3-57A011B7A5E8}"/>
                </a:ext>
              </a:extLst>
            </p:cNvPr>
            <p:cNvSpPr>
              <a:spLocks/>
            </p:cNvSpPr>
            <p:nvPr/>
          </p:nvSpPr>
          <p:spPr bwMode="gray">
            <a:xfrm>
              <a:off x="4953584" y="3811857"/>
              <a:ext cx="142849" cy="218622"/>
            </a:xfrm>
            <a:custGeom>
              <a:avLst/>
              <a:gdLst>
                <a:gd name="T0" fmla="*/ 85 w 347"/>
                <a:gd name="T1" fmla="*/ 236 h 531"/>
                <a:gd name="T2" fmla="*/ 47 w 347"/>
                <a:gd name="T3" fmla="*/ 236 h 531"/>
                <a:gd name="T4" fmla="*/ 16 w 347"/>
                <a:gd name="T5" fmla="*/ 165 h 531"/>
                <a:gd name="T6" fmla="*/ 16 w 347"/>
                <a:gd name="T7" fmla="*/ 127 h 531"/>
                <a:gd name="T8" fmla="*/ 80 w 347"/>
                <a:gd name="T9" fmla="*/ 104 h 531"/>
                <a:gd name="T10" fmla="*/ 63 w 347"/>
                <a:gd name="T11" fmla="*/ 104 h 531"/>
                <a:gd name="T12" fmla="*/ 54 w 347"/>
                <a:gd name="T13" fmla="*/ 87 h 531"/>
                <a:gd name="T14" fmla="*/ 63 w 347"/>
                <a:gd name="T15" fmla="*/ 49 h 531"/>
                <a:gd name="T16" fmla="*/ 101 w 347"/>
                <a:gd name="T17" fmla="*/ 21 h 531"/>
                <a:gd name="T18" fmla="*/ 101 w 347"/>
                <a:gd name="T19" fmla="*/ 0 h 531"/>
                <a:gd name="T20" fmla="*/ 118 w 347"/>
                <a:gd name="T21" fmla="*/ 4 h 531"/>
                <a:gd name="T22" fmla="*/ 203 w 347"/>
                <a:gd name="T23" fmla="*/ 87 h 531"/>
                <a:gd name="T24" fmla="*/ 203 w 347"/>
                <a:gd name="T25" fmla="*/ 115 h 531"/>
                <a:gd name="T26" fmla="*/ 207 w 347"/>
                <a:gd name="T27" fmla="*/ 115 h 531"/>
                <a:gd name="T28" fmla="*/ 241 w 347"/>
                <a:gd name="T29" fmla="*/ 127 h 531"/>
                <a:gd name="T30" fmla="*/ 267 w 347"/>
                <a:gd name="T31" fmla="*/ 165 h 531"/>
                <a:gd name="T32" fmla="*/ 293 w 347"/>
                <a:gd name="T33" fmla="*/ 170 h 531"/>
                <a:gd name="T34" fmla="*/ 293 w 347"/>
                <a:gd name="T35" fmla="*/ 219 h 531"/>
                <a:gd name="T36" fmla="*/ 293 w 347"/>
                <a:gd name="T37" fmla="*/ 243 h 531"/>
                <a:gd name="T38" fmla="*/ 283 w 347"/>
                <a:gd name="T39" fmla="*/ 253 h 531"/>
                <a:gd name="T40" fmla="*/ 241 w 347"/>
                <a:gd name="T41" fmla="*/ 271 h 531"/>
                <a:gd name="T42" fmla="*/ 229 w 347"/>
                <a:gd name="T43" fmla="*/ 314 h 531"/>
                <a:gd name="T44" fmla="*/ 262 w 347"/>
                <a:gd name="T45" fmla="*/ 364 h 531"/>
                <a:gd name="T46" fmla="*/ 283 w 347"/>
                <a:gd name="T47" fmla="*/ 371 h 531"/>
                <a:gd name="T48" fmla="*/ 330 w 347"/>
                <a:gd name="T49" fmla="*/ 465 h 531"/>
                <a:gd name="T50" fmla="*/ 321 w 347"/>
                <a:gd name="T51" fmla="*/ 482 h 531"/>
                <a:gd name="T52" fmla="*/ 283 w 347"/>
                <a:gd name="T53" fmla="*/ 475 h 531"/>
                <a:gd name="T54" fmla="*/ 257 w 347"/>
                <a:gd name="T55" fmla="*/ 491 h 531"/>
                <a:gd name="T56" fmla="*/ 241 w 347"/>
                <a:gd name="T57" fmla="*/ 503 h 531"/>
                <a:gd name="T58" fmla="*/ 203 w 347"/>
                <a:gd name="T59" fmla="*/ 503 h 531"/>
                <a:gd name="T60" fmla="*/ 186 w 347"/>
                <a:gd name="T61" fmla="*/ 519 h 531"/>
                <a:gd name="T62" fmla="*/ 170 w 347"/>
                <a:gd name="T63" fmla="*/ 519 h 531"/>
                <a:gd name="T64" fmla="*/ 132 w 347"/>
                <a:gd name="T65" fmla="*/ 491 h 531"/>
                <a:gd name="T66" fmla="*/ 122 w 347"/>
                <a:gd name="T67" fmla="*/ 482 h 531"/>
                <a:gd name="T68" fmla="*/ 118 w 347"/>
                <a:gd name="T69" fmla="*/ 449 h 531"/>
                <a:gd name="T70" fmla="*/ 101 w 347"/>
                <a:gd name="T71" fmla="*/ 420 h 531"/>
                <a:gd name="T72" fmla="*/ 122 w 347"/>
                <a:gd name="T73" fmla="*/ 330 h 531"/>
                <a:gd name="T74" fmla="*/ 118 w 347"/>
                <a:gd name="T75" fmla="*/ 297 h 531"/>
                <a:gd name="T76" fmla="*/ 96 w 347"/>
                <a:gd name="T77" fmla="*/ 276 h 531"/>
                <a:gd name="T78" fmla="*/ 96 w 347"/>
                <a:gd name="T79" fmla="*/ 243 h 531"/>
                <a:gd name="T80" fmla="*/ 96 w 347"/>
                <a:gd name="T81" fmla="*/ 243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7" h="531">
                  <a:moveTo>
                    <a:pt x="96" y="243"/>
                  </a:moveTo>
                  <a:lnTo>
                    <a:pt x="85" y="236"/>
                  </a:lnTo>
                  <a:lnTo>
                    <a:pt x="80" y="236"/>
                  </a:lnTo>
                  <a:lnTo>
                    <a:pt x="47" y="236"/>
                  </a:lnTo>
                  <a:lnTo>
                    <a:pt x="0" y="186"/>
                  </a:lnTo>
                  <a:lnTo>
                    <a:pt x="16" y="165"/>
                  </a:lnTo>
                  <a:lnTo>
                    <a:pt x="16" y="144"/>
                  </a:lnTo>
                  <a:lnTo>
                    <a:pt x="16" y="127"/>
                  </a:lnTo>
                  <a:lnTo>
                    <a:pt x="47" y="127"/>
                  </a:lnTo>
                  <a:lnTo>
                    <a:pt x="80" y="104"/>
                  </a:lnTo>
                  <a:lnTo>
                    <a:pt x="68" y="92"/>
                  </a:lnTo>
                  <a:lnTo>
                    <a:pt x="63" y="104"/>
                  </a:lnTo>
                  <a:lnTo>
                    <a:pt x="54" y="92"/>
                  </a:lnTo>
                  <a:lnTo>
                    <a:pt x="54" y="87"/>
                  </a:lnTo>
                  <a:lnTo>
                    <a:pt x="47" y="71"/>
                  </a:lnTo>
                  <a:lnTo>
                    <a:pt x="63" y="49"/>
                  </a:lnTo>
                  <a:lnTo>
                    <a:pt x="96" y="33"/>
                  </a:lnTo>
                  <a:lnTo>
                    <a:pt x="101" y="21"/>
                  </a:lnTo>
                  <a:lnTo>
                    <a:pt x="106" y="21"/>
                  </a:lnTo>
                  <a:lnTo>
                    <a:pt x="101" y="0"/>
                  </a:lnTo>
                  <a:lnTo>
                    <a:pt x="106" y="4"/>
                  </a:lnTo>
                  <a:lnTo>
                    <a:pt x="118" y="4"/>
                  </a:lnTo>
                  <a:lnTo>
                    <a:pt x="160" y="33"/>
                  </a:lnTo>
                  <a:lnTo>
                    <a:pt x="203" y="87"/>
                  </a:lnTo>
                  <a:lnTo>
                    <a:pt x="203" y="108"/>
                  </a:lnTo>
                  <a:lnTo>
                    <a:pt x="203" y="115"/>
                  </a:lnTo>
                  <a:lnTo>
                    <a:pt x="191" y="149"/>
                  </a:lnTo>
                  <a:lnTo>
                    <a:pt x="207" y="115"/>
                  </a:lnTo>
                  <a:lnTo>
                    <a:pt x="212" y="115"/>
                  </a:lnTo>
                  <a:lnTo>
                    <a:pt x="241" y="127"/>
                  </a:lnTo>
                  <a:lnTo>
                    <a:pt x="262" y="149"/>
                  </a:lnTo>
                  <a:lnTo>
                    <a:pt x="267" y="165"/>
                  </a:lnTo>
                  <a:lnTo>
                    <a:pt x="278" y="160"/>
                  </a:lnTo>
                  <a:lnTo>
                    <a:pt x="293" y="170"/>
                  </a:lnTo>
                  <a:lnTo>
                    <a:pt x="300" y="182"/>
                  </a:lnTo>
                  <a:lnTo>
                    <a:pt x="293" y="219"/>
                  </a:lnTo>
                  <a:lnTo>
                    <a:pt x="283" y="227"/>
                  </a:lnTo>
                  <a:lnTo>
                    <a:pt x="293" y="243"/>
                  </a:lnTo>
                  <a:lnTo>
                    <a:pt x="283" y="243"/>
                  </a:lnTo>
                  <a:lnTo>
                    <a:pt x="283" y="253"/>
                  </a:lnTo>
                  <a:lnTo>
                    <a:pt x="262" y="253"/>
                  </a:lnTo>
                  <a:lnTo>
                    <a:pt x="241" y="271"/>
                  </a:lnTo>
                  <a:lnTo>
                    <a:pt x="245" y="276"/>
                  </a:lnTo>
                  <a:lnTo>
                    <a:pt x="229" y="314"/>
                  </a:lnTo>
                  <a:lnTo>
                    <a:pt x="229" y="326"/>
                  </a:lnTo>
                  <a:lnTo>
                    <a:pt x="262" y="364"/>
                  </a:lnTo>
                  <a:lnTo>
                    <a:pt x="262" y="371"/>
                  </a:lnTo>
                  <a:lnTo>
                    <a:pt x="283" y="371"/>
                  </a:lnTo>
                  <a:lnTo>
                    <a:pt x="293" y="408"/>
                  </a:lnTo>
                  <a:lnTo>
                    <a:pt x="330" y="465"/>
                  </a:lnTo>
                  <a:lnTo>
                    <a:pt x="347" y="475"/>
                  </a:lnTo>
                  <a:lnTo>
                    <a:pt x="321" y="482"/>
                  </a:lnTo>
                  <a:lnTo>
                    <a:pt x="300" y="465"/>
                  </a:lnTo>
                  <a:lnTo>
                    <a:pt x="283" y="475"/>
                  </a:lnTo>
                  <a:lnTo>
                    <a:pt x="267" y="491"/>
                  </a:lnTo>
                  <a:lnTo>
                    <a:pt x="257" y="491"/>
                  </a:lnTo>
                  <a:lnTo>
                    <a:pt x="241" y="498"/>
                  </a:lnTo>
                  <a:lnTo>
                    <a:pt x="241" y="503"/>
                  </a:lnTo>
                  <a:lnTo>
                    <a:pt x="212" y="498"/>
                  </a:lnTo>
                  <a:lnTo>
                    <a:pt x="203" y="503"/>
                  </a:lnTo>
                  <a:lnTo>
                    <a:pt x="203" y="519"/>
                  </a:lnTo>
                  <a:lnTo>
                    <a:pt x="186" y="519"/>
                  </a:lnTo>
                  <a:lnTo>
                    <a:pt x="177" y="531"/>
                  </a:lnTo>
                  <a:lnTo>
                    <a:pt x="170" y="519"/>
                  </a:lnTo>
                  <a:lnTo>
                    <a:pt x="148" y="515"/>
                  </a:lnTo>
                  <a:lnTo>
                    <a:pt x="132" y="491"/>
                  </a:lnTo>
                  <a:lnTo>
                    <a:pt x="122" y="491"/>
                  </a:lnTo>
                  <a:lnTo>
                    <a:pt x="122" y="482"/>
                  </a:lnTo>
                  <a:lnTo>
                    <a:pt x="118" y="482"/>
                  </a:lnTo>
                  <a:lnTo>
                    <a:pt x="118" y="449"/>
                  </a:lnTo>
                  <a:lnTo>
                    <a:pt x="106" y="441"/>
                  </a:lnTo>
                  <a:lnTo>
                    <a:pt x="101" y="420"/>
                  </a:lnTo>
                  <a:lnTo>
                    <a:pt x="106" y="364"/>
                  </a:lnTo>
                  <a:lnTo>
                    <a:pt x="122" y="330"/>
                  </a:lnTo>
                  <a:lnTo>
                    <a:pt x="118" y="309"/>
                  </a:lnTo>
                  <a:lnTo>
                    <a:pt x="118" y="297"/>
                  </a:lnTo>
                  <a:lnTo>
                    <a:pt x="85" y="293"/>
                  </a:lnTo>
                  <a:lnTo>
                    <a:pt x="96" y="276"/>
                  </a:lnTo>
                  <a:lnTo>
                    <a:pt x="101" y="253"/>
                  </a:lnTo>
                  <a:lnTo>
                    <a:pt x="96" y="243"/>
                  </a:lnTo>
                  <a:lnTo>
                    <a:pt x="96" y="243"/>
                  </a:lnTo>
                  <a:lnTo>
                    <a:pt x="96" y="24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2" name="Freeform 461">
              <a:extLst>
                <a:ext uri="{FF2B5EF4-FFF2-40B4-BE49-F238E27FC236}">
                  <a16:creationId xmlns:a16="http://schemas.microsoft.com/office/drawing/2014/main" id="{A3004783-C192-461D-8DBF-8B0F2A553F40}"/>
                </a:ext>
              </a:extLst>
            </p:cNvPr>
            <p:cNvSpPr>
              <a:spLocks noEditPoints="1"/>
            </p:cNvSpPr>
            <p:nvPr/>
          </p:nvSpPr>
          <p:spPr bwMode="gray">
            <a:xfrm>
              <a:off x="4575260" y="3463545"/>
              <a:ext cx="81511" cy="61346"/>
            </a:xfrm>
            <a:custGeom>
              <a:avLst/>
              <a:gdLst>
                <a:gd name="T0" fmla="*/ 134 w 198"/>
                <a:gd name="T1" fmla="*/ 10 h 149"/>
                <a:gd name="T2" fmla="*/ 106 w 198"/>
                <a:gd name="T3" fmla="*/ 0 h 149"/>
                <a:gd name="T4" fmla="*/ 118 w 198"/>
                <a:gd name="T5" fmla="*/ 0 h 149"/>
                <a:gd name="T6" fmla="*/ 134 w 198"/>
                <a:gd name="T7" fmla="*/ 10 h 149"/>
                <a:gd name="T8" fmla="*/ 134 w 198"/>
                <a:gd name="T9" fmla="*/ 10 h 149"/>
                <a:gd name="T10" fmla="*/ 134 w 198"/>
                <a:gd name="T11" fmla="*/ 10 h 149"/>
                <a:gd name="T12" fmla="*/ 191 w 198"/>
                <a:gd name="T13" fmla="*/ 21 h 149"/>
                <a:gd name="T14" fmla="*/ 191 w 198"/>
                <a:gd name="T15" fmla="*/ 38 h 149"/>
                <a:gd name="T16" fmla="*/ 191 w 198"/>
                <a:gd name="T17" fmla="*/ 54 h 149"/>
                <a:gd name="T18" fmla="*/ 198 w 198"/>
                <a:gd name="T19" fmla="*/ 66 h 149"/>
                <a:gd name="T20" fmla="*/ 186 w 198"/>
                <a:gd name="T21" fmla="*/ 78 h 149"/>
                <a:gd name="T22" fmla="*/ 191 w 198"/>
                <a:gd name="T23" fmla="*/ 95 h 149"/>
                <a:gd name="T24" fmla="*/ 186 w 198"/>
                <a:gd name="T25" fmla="*/ 104 h 149"/>
                <a:gd name="T26" fmla="*/ 170 w 198"/>
                <a:gd name="T27" fmla="*/ 111 h 149"/>
                <a:gd name="T28" fmla="*/ 177 w 198"/>
                <a:gd name="T29" fmla="*/ 121 h 149"/>
                <a:gd name="T30" fmla="*/ 191 w 198"/>
                <a:gd name="T31" fmla="*/ 128 h 149"/>
                <a:gd name="T32" fmla="*/ 191 w 198"/>
                <a:gd name="T33" fmla="*/ 149 h 149"/>
                <a:gd name="T34" fmla="*/ 170 w 198"/>
                <a:gd name="T35" fmla="*/ 132 h 149"/>
                <a:gd name="T36" fmla="*/ 118 w 198"/>
                <a:gd name="T37" fmla="*/ 144 h 149"/>
                <a:gd name="T38" fmla="*/ 80 w 198"/>
                <a:gd name="T39" fmla="*/ 132 h 149"/>
                <a:gd name="T40" fmla="*/ 47 w 198"/>
                <a:gd name="T41" fmla="*/ 144 h 149"/>
                <a:gd name="T42" fmla="*/ 47 w 198"/>
                <a:gd name="T43" fmla="*/ 149 h 149"/>
                <a:gd name="T44" fmla="*/ 38 w 198"/>
                <a:gd name="T45" fmla="*/ 149 h 149"/>
                <a:gd name="T46" fmla="*/ 26 w 198"/>
                <a:gd name="T47" fmla="*/ 132 h 149"/>
                <a:gd name="T48" fmla="*/ 0 w 198"/>
                <a:gd name="T49" fmla="*/ 128 h 149"/>
                <a:gd name="T50" fmla="*/ 0 w 198"/>
                <a:gd name="T51" fmla="*/ 121 h 149"/>
                <a:gd name="T52" fmla="*/ 0 w 198"/>
                <a:gd name="T53" fmla="*/ 104 h 149"/>
                <a:gd name="T54" fmla="*/ 16 w 198"/>
                <a:gd name="T55" fmla="*/ 104 h 149"/>
                <a:gd name="T56" fmla="*/ 47 w 198"/>
                <a:gd name="T57" fmla="*/ 111 h 149"/>
                <a:gd name="T58" fmla="*/ 63 w 198"/>
                <a:gd name="T59" fmla="*/ 111 h 149"/>
                <a:gd name="T60" fmla="*/ 54 w 198"/>
                <a:gd name="T61" fmla="*/ 111 h 149"/>
                <a:gd name="T62" fmla="*/ 54 w 198"/>
                <a:gd name="T63" fmla="*/ 121 h 149"/>
                <a:gd name="T64" fmla="*/ 123 w 198"/>
                <a:gd name="T65" fmla="*/ 121 h 149"/>
                <a:gd name="T66" fmla="*/ 134 w 198"/>
                <a:gd name="T67" fmla="*/ 111 h 149"/>
                <a:gd name="T68" fmla="*/ 144 w 198"/>
                <a:gd name="T69" fmla="*/ 111 h 149"/>
                <a:gd name="T70" fmla="*/ 144 w 198"/>
                <a:gd name="T71" fmla="*/ 104 h 149"/>
                <a:gd name="T72" fmla="*/ 118 w 198"/>
                <a:gd name="T73" fmla="*/ 71 h 149"/>
                <a:gd name="T74" fmla="*/ 123 w 198"/>
                <a:gd name="T75" fmla="*/ 50 h 149"/>
                <a:gd name="T76" fmla="*/ 92 w 198"/>
                <a:gd name="T77" fmla="*/ 33 h 149"/>
                <a:gd name="T78" fmla="*/ 80 w 198"/>
                <a:gd name="T79" fmla="*/ 33 h 149"/>
                <a:gd name="T80" fmla="*/ 80 w 198"/>
                <a:gd name="T81" fmla="*/ 17 h 149"/>
                <a:gd name="T82" fmla="*/ 118 w 198"/>
                <a:gd name="T83" fmla="*/ 10 h 149"/>
                <a:gd name="T84" fmla="*/ 156 w 198"/>
                <a:gd name="T85" fmla="*/ 21 h 149"/>
                <a:gd name="T86" fmla="*/ 191 w 198"/>
                <a:gd name="T87" fmla="*/ 21 h 149"/>
                <a:gd name="T88" fmla="*/ 191 w 198"/>
                <a:gd name="T89" fmla="*/ 21 h 149"/>
                <a:gd name="T90" fmla="*/ 191 w 198"/>
                <a:gd name="T91" fmla="*/ 21 h 149"/>
                <a:gd name="T92" fmla="*/ 118 w 198"/>
                <a:gd name="T93" fmla="*/ 104 h 149"/>
                <a:gd name="T94" fmla="*/ 85 w 198"/>
                <a:gd name="T95" fmla="*/ 88 h 149"/>
                <a:gd name="T96" fmla="*/ 92 w 198"/>
                <a:gd name="T97" fmla="*/ 78 h 149"/>
                <a:gd name="T98" fmla="*/ 118 w 198"/>
                <a:gd name="T99" fmla="*/ 88 h 149"/>
                <a:gd name="T100" fmla="*/ 118 w 198"/>
                <a:gd name="T101" fmla="*/ 104 h 149"/>
                <a:gd name="T102" fmla="*/ 118 w 198"/>
                <a:gd name="T103" fmla="*/ 104 h 149"/>
                <a:gd name="T104" fmla="*/ 118 w 198"/>
                <a:gd name="T105" fmla="*/ 104 h 149"/>
                <a:gd name="T106" fmla="*/ 54 w 198"/>
                <a:gd name="T107" fmla="*/ 111 h 149"/>
                <a:gd name="T108" fmla="*/ 47 w 198"/>
                <a:gd name="T109" fmla="*/ 104 h 149"/>
                <a:gd name="T110" fmla="*/ 54 w 198"/>
                <a:gd name="T111" fmla="*/ 104 h 149"/>
                <a:gd name="T112" fmla="*/ 54 w 198"/>
                <a:gd name="T113" fmla="*/ 111 h 149"/>
                <a:gd name="T114" fmla="*/ 54 w 198"/>
                <a:gd name="T115" fmla="*/ 111 h 149"/>
                <a:gd name="T116" fmla="*/ 54 w 198"/>
                <a:gd name="T117" fmla="*/ 11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 h="149">
                  <a:moveTo>
                    <a:pt x="134" y="10"/>
                  </a:moveTo>
                  <a:lnTo>
                    <a:pt x="106" y="0"/>
                  </a:lnTo>
                  <a:lnTo>
                    <a:pt x="118" y="0"/>
                  </a:lnTo>
                  <a:lnTo>
                    <a:pt x="134" y="10"/>
                  </a:lnTo>
                  <a:lnTo>
                    <a:pt x="134" y="10"/>
                  </a:lnTo>
                  <a:lnTo>
                    <a:pt x="134" y="10"/>
                  </a:lnTo>
                  <a:close/>
                  <a:moveTo>
                    <a:pt x="191" y="21"/>
                  </a:moveTo>
                  <a:lnTo>
                    <a:pt x="191" y="38"/>
                  </a:lnTo>
                  <a:lnTo>
                    <a:pt x="191" y="54"/>
                  </a:lnTo>
                  <a:lnTo>
                    <a:pt x="198" y="66"/>
                  </a:lnTo>
                  <a:lnTo>
                    <a:pt x="186" y="78"/>
                  </a:lnTo>
                  <a:lnTo>
                    <a:pt x="191" y="95"/>
                  </a:lnTo>
                  <a:lnTo>
                    <a:pt x="186" y="104"/>
                  </a:lnTo>
                  <a:lnTo>
                    <a:pt x="170" y="111"/>
                  </a:lnTo>
                  <a:lnTo>
                    <a:pt x="177" y="121"/>
                  </a:lnTo>
                  <a:lnTo>
                    <a:pt x="191" y="128"/>
                  </a:lnTo>
                  <a:lnTo>
                    <a:pt x="191" y="149"/>
                  </a:lnTo>
                  <a:lnTo>
                    <a:pt x="170" y="132"/>
                  </a:lnTo>
                  <a:lnTo>
                    <a:pt x="118" y="144"/>
                  </a:lnTo>
                  <a:lnTo>
                    <a:pt x="80" y="132"/>
                  </a:lnTo>
                  <a:lnTo>
                    <a:pt x="47" y="144"/>
                  </a:lnTo>
                  <a:lnTo>
                    <a:pt x="47" y="149"/>
                  </a:lnTo>
                  <a:lnTo>
                    <a:pt x="38" y="149"/>
                  </a:lnTo>
                  <a:lnTo>
                    <a:pt x="26" y="132"/>
                  </a:lnTo>
                  <a:lnTo>
                    <a:pt x="0" y="128"/>
                  </a:lnTo>
                  <a:lnTo>
                    <a:pt x="0" y="121"/>
                  </a:lnTo>
                  <a:lnTo>
                    <a:pt x="0" y="104"/>
                  </a:lnTo>
                  <a:lnTo>
                    <a:pt x="16" y="104"/>
                  </a:lnTo>
                  <a:lnTo>
                    <a:pt x="47" y="111"/>
                  </a:lnTo>
                  <a:lnTo>
                    <a:pt x="63" y="111"/>
                  </a:lnTo>
                  <a:lnTo>
                    <a:pt x="54" y="111"/>
                  </a:lnTo>
                  <a:lnTo>
                    <a:pt x="54" y="121"/>
                  </a:lnTo>
                  <a:lnTo>
                    <a:pt x="123" y="121"/>
                  </a:lnTo>
                  <a:lnTo>
                    <a:pt x="134" y="111"/>
                  </a:lnTo>
                  <a:lnTo>
                    <a:pt x="144" y="111"/>
                  </a:lnTo>
                  <a:lnTo>
                    <a:pt x="144" y="104"/>
                  </a:lnTo>
                  <a:lnTo>
                    <a:pt x="118" y="71"/>
                  </a:lnTo>
                  <a:lnTo>
                    <a:pt x="123" y="50"/>
                  </a:lnTo>
                  <a:lnTo>
                    <a:pt x="92" y="33"/>
                  </a:lnTo>
                  <a:lnTo>
                    <a:pt x="80" y="33"/>
                  </a:lnTo>
                  <a:lnTo>
                    <a:pt x="80" y="17"/>
                  </a:lnTo>
                  <a:lnTo>
                    <a:pt x="118" y="10"/>
                  </a:lnTo>
                  <a:lnTo>
                    <a:pt x="156" y="21"/>
                  </a:lnTo>
                  <a:lnTo>
                    <a:pt x="191" y="21"/>
                  </a:lnTo>
                  <a:lnTo>
                    <a:pt x="191" y="21"/>
                  </a:lnTo>
                  <a:lnTo>
                    <a:pt x="191" y="21"/>
                  </a:lnTo>
                  <a:close/>
                  <a:moveTo>
                    <a:pt x="118" y="104"/>
                  </a:moveTo>
                  <a:lnTo>
                    <a:pt x="85" y="88"/>
                  </a:lnTo>
                  <a:lnTo>
                    <a:pt x="92" y="78"/>
                  </a:lnTo>
                  <a:lnTo>
                    <a:pt x="118" y="88"/>
                  </a:lnTo>
                  <a:lnTo>
                    <a:pt x="118" y="104"/>
                  </a:lnTo>
                  <a:lnTo>
                    <a:pt x="118" y="104"/>
                  </a:lnTo>
                  <a:lnTo>
                    <a:pt x="118" y="104"/>
                  </a:lnTo>
                  <a:close/>
                  <a:moveTo>
                    <a:pt x="54" y="111"/>
                  </a:moveTo>
                  <a:lnTo>
                    <a:pt x="47" y="104"/>
                  </a:lnTo>
                  <a:lnTo>
                    <a:pt x="54" y="104"/>
                  </a:lnTo>
                  <a:lnTo>
                    <a:pt x="54" y="111"/>
                  </a:lnTo>
                  <a:lnTo>
                    <a:pt x="54" y="111"/>
                  </a:lnTo>
                  <a:lnTo>
                    <a:pt x="54" y="11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3" name="Freeform 463">
              <a:extLst>
                <a:ext uri="{FF2B5EF4-FFF2-40B4-BE49-F238E27FC236}">
                  <a16:creationId xmlns:a16="http://schemas.microsoft.com/office/drawing/2014/main" id="{1C6D03DA-CEF0-4749-B029-B180F3DFB82D}"/>
                </a:ext>
              </a:extLst>
            </p:cNvPr>
            <p:cNvSpPr>
              <a:spLocks noEditPoints="1"/>
            </p:cNvSpPr>
            <p:nvPr/>
          </p:nvSpPr>
          <p:spPr bwMode="gray">
            <a:xfrm>
              <a:off x="4146299" y="3574296"/>
              <a:ext cx="177842" cy="102106"/>
            </a:xfrm>
            <a:custGeom>
              <a:avLst/>
              <a:gdLst>
                <a:gd name="T0" fmla="*/ 206 w 432"/>
                <a:gd name="T1" fmla="*/ 0 h 248"/>
                <a:gd name="T2" fmla="*/ 189 w 432"/>
                <a:gd name="T3" fmla="*/ 5 h 248"/>
                <a:gd name="T4" fmla="*/ 189 w 432"/>
                <a:gd name="T5" fmla="*/ 5 h 248"/>
                <a:gd name="T6" fmla="*/ 43 w 432"/>
                <a:gd name="T7" fmla="*/ 166 h 248"/>
                <a:gd name="T8" fmla="*/ 26 w 432"/>
                <a:gd name="T9" fmla="*/ 149 h 248"/>
                <a:gd name="T10" fmla="*/ 17 w 432"/>
                <a:gd name="T11" fmla="*/ 128 h 248"/>
                <a:gd name="T12" fmla="*/ 17 w 432"/>
                <a:gd name="T13" fmla="*/ 100 h 248"/>
                <a:gd name="T14" fmla="*/ 85 w 432"/>
                <a:gd name="T15" fmla="*/ 57 h 248"/>
                <a:gd name="T16" fmla="*/ 135 w 432"/>
                <a:gd name="T17" fmla="*/ 45 h 248"/>
                <a:gd name="T18" fmla="*/ 210 w 432"/>
                <a:gd name="T19" fmla="*/ 45 h 248"/>
                <a:gd name="T20" fmla="*/ 243 w 432"/>
                <a:gd name="T21" fmla="*/ 29 h 248"/>
                <a:gd name="T22" fmla="*/ 269 w 432"/>
                <a:gd name="T23" fmla="*/ 38 h 248"/>
                <a:gd name="T24" fmla="*/ 324 w 432"/>
                <a:gd name="T25" fmla="*/ 38 h 248"/>
                <a:gd name="T26" fmla="*/ 340 w 432"/>
                <a:gd name="T27" fmla="*/ 45 h 248"/>
                <a:gd name="T28" fmla="*/ 357 w 432"/>
                <a:gd name="T29" fmla="*/ 45 h 248"/>
                <a:gd name="T30" fmla="*/ 357 w 432"/>
                <a:gd name="T31" fmla="*/ 62 h 248"/>
                <a:gd name="T32" fmla="*/ 390 w 432"/>
                <a:gd name="T33" fmla="*/ 83 h 248"/>
                <a:gd name="T34" fmla="*/ 378 w 432"/>
                <a:gd name="T35" fmla="*/ 74 h 248"/>
                <a:gd name="T36" fmla="*/ 411 w 432"/>
                <a:gd name="T37" fmla="*/ 83 h 248"/>
                <a:gd name="T38" fmla="*/ 406 w 432"/>
                <a:gd name="T39" fmla="*/ 95 h 248"/>
                <a:gd name="T40" fmla="*/ 406 w 432"/>
                <a:gd name="T41" fmla="*/ 78 h 248"/>
                <a:gd name="T42" fmla="*/ 428 w 432"/>
                <a:gd name="T43" fmla="*/ 100 h 248"/>
                <a:gd name="T44" fmla="*/ 411 w 432"/>
                <a:gd name="T45" fmla="*/ 100 h 248"/>
                <a:gd name="T46" fmla="*/ 340 w 432"/>
                <a:gd name="T47" fmla="*/ 133 h 248"/>
                <a:gd name="T48" fmla="*/ 298 w 432"/>
                <a:gd name="T49" fmla="*/ 149 h 248"/>
                <a:gd name="T50" fmla="*/ 260 w 432"/>
                <a:gd name="T51" fmla="*/ 182 h 248"/>
                <a:gd name="T52" fmla="*/ 231 w 432"/>
                <a:gd name="T53" fmla="*/ 173 h 248"/>
                <a:gd name="T54" fmla="*/ 177 w 432"/>
                <a:gd name="T55" fmla="*/ 194 h 248"/>
                <a:gd name="T56" fmla="*/ 172 w 432"/>
                <a:gd name="T57" fmla="*/ 239 h 248"/>
                <a:gd name="T58" fmla="*/ 139 w 432"/>
                <a:gd name="T59" fmla="*/ 248 h 248"/>
                <a:gd name="T60" fmla="*/ 135 w 432"/>
                <a:gd name="T61" fmla="*/ 222 h 248"/>
                <a:gd name="T62" fmla="*/ 118 w 432"/>
                <a:gd name="T63" fmla="*/ 222 h 248"/>
                <a:gd name="T64" fmla="*/ 109 w 432"/>
                <a:gd name="T65" fmla="*/ 222 h 248"/>
                <a:gd name="T66" fmla="*/ 109 w 432"/>
                <a:gd name="T67" fmla="*/ 211 h 248"/>
                <a:gd name="T68" fmla="*/ 109 w 432"/>
                <a:gd name="T69" fmla="*/ 182 h 248"/>
                <a:gd name="T70" fmla="*/ 85 w 432"/>
                <a:gd name="T71" fmla="*/ 182 h 248"/>
                <a:gd name="T72" fmla="*/ 54 w 432"/>
                <a:gd name="T73" fmla="*/ 182 h 248"/>
                <a:gd name="T74" fmla="*/ 54 w 432"/>
                <a:gd name="T75" fmla="*/ 182 h 248"/>
                <a:gd name="T76" fmla="*/ 118 w 432"/>
                <a:gd name="T77" fmla="*/ 222 h 248"/>
                <a:gd name="T78" fmla="*/ 123 w 432"/>
                <a:gd name="T79" fmla="*/ 227 h 248"/>
                <a:gd name="T80" fmla="*/ 123 w 432"/>
                <a:gd name="T81" fmla="*/ 2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2" h="248">
                  <a:moveTo>
                    <a:pt x="189" y="5"/>
                  </a:moveTo>
                  <a:lnTo>
                    <a:pt x="206" y="0"/>
                  </a:lnTo>
                  <a:lnTo>
                    <a:pt x="215" y="0"/>
                  </a:lnTo>
                  <a:lnTo>
                    <a:pt x="189" y="5"/>
                  </a:lnTo>
                  <a:lnTo>
                    <a:pt x="189" y="5"/>
                  </a:lnTo>
                  <a:lnTo>
                    <a:pt x="189" y="5"/>
                  </a:lnTo>
                  <a:close/>
                  <a:moveTo>
                    <a:pt x="54" y="182"/>
                  </a:moveTo>
                  <a:lnTo>
                    <a:pt x="43" y="166"/>
                  </a:lnTo>
                  <a:lnTo>
                    <a:pt x="43" y="173"/>
                  </a:lnTo>
                  <a:lnTo>
                    <a:pt x="26" y="149"/>
                  </a:lnTo>
                  <a:lnTo>
                    <a:pt x="0" y="149"/>
                  </a:lnTo>
                  <a:lnTo>
                    <a:pt x="17" y="128"/>
                  </a:lnTo>
                  <a:lnTo>
                    <a:pt x="9" y="116"/>
                  </a:lnTo>
                  <a:lnTo>
                    <a:pt x="17" y="100"/>
                  </a:lnTo>
                  <a:lnTo>
                    <a:pt x="80" y="57"/>
                  </a:lnTo>
                  <a:lnTo>
                    <a:pt x="85" y="57"/>
                  </a:lnTo>
                  <a:lnTo>
                    <a:pt x="118" y="38"/>
                  </a:lnTo>
                  <a:lnTo>
                    <a:pt x="135" y="45"/>
                  </a:lnTo>
                  <a:lnTo>
                    <a:pt x="139" y="38"/>
                  </a:lnTo>
                  <a:lnTo>
                    <a:pt x="210" y="45"/>
                  </a:lnTo>
                  <a:lnTo>
                    <a:pt x="243" y="38"/>
                  </a:lnTo>
                  <a:lnTo>
                    <a:pt x="243" y="29"/>
                  </a:lnTo>
                  <a:lnTo>
                    <a:pt x="231" y="29"/>
                  </a:lnTo>
                  <a:lnTo>
                    <a:pt x="269" y="38"/>
                  </a:lnTo>
                  <a:lnTo>
                    <a:pt x="302" y="29"/>
                  </a:lnTo>
                  <a:lnTo>
                    <a:pt x="324" y="38"/>
                  </a:lnTo>
                  <a:lnTo>
                    <a:pt x="335" y="45"/>
                  </a:lnTo>
                  <a:lnTo>
                    <a:pt x="340" y="45"/>
                  </a:lnTo>
                  <a:lnTo>
                    <a:pt x="340" y="38"/>
                  </a:lnTo>
                  <a:lnTo>
                    <a:pt x="357" y="45"/>
                  </a:lnTo>
                  <a:lnTo>
                    <a:pt x="390" y="74"/>
                  </a:lnTo>
                  <a:lnTo>
                    <a:pt x="357" y="62"/>
                  </a:lnTo>
                  <a:lnTo>
                    <a:pt x="373" y="78"/>
                  </a:lnTo>
                  <a:lnTo>
                    <a:pt x="390" y="83"/>
                  </a:lnTo>
                  <a:lnTo>
                    <a:pt x="373" y="78"/>
                  </a:lnTo>
                  <a:lnTo>
                    <a:pt x="378" y="74"/>
                  </a:lnTo>
                  <a:lnTo>
                    <a:pt x="394" y="83"/>
                  </a:lnTo>
                  <a:lnTo>
                    <a:pt x="411" y="83"/>
                  </a:lnTo>
                  <a:lnTo>
                    <a:pt x="406" y="83"/>
                  </a:lnTo>
                  <a:lnTo>
                    <a:pt x="406" y="95"/>
                  </a:lnTo>
                  <a:lnTo>
                    <a:pt x="411" y="83"/>
                  </a:lnTo>
                  <a:lnTo>
                    <a:pt x="406" y="78"/>
                  </a:lnTo>
                  <a:lnTo>
                    <a:pt x="423" y="83"/>
                  </a:lnTo>
                  <a:lnTo>
                    <a:pt x="428" y="100"/>
                  </a:lnTo>
                  <a:lnTo>
                    <a:pt x="432" y="100"/>
                  </a:lnTo>
                  <a:lnTo>
                    <a:pt x="411" y="100"/>
                  </a:lnTo>
                  <a:lnTo>
                    <a:pt x="390" y="116"/>
                  </a:lnTo>
                  <a:lnTo>
                    <a:pt x="340" y="133"/>
                  </a:lnTo>
                  <a:lnTo>
                    <a:pt x="314" y="116"/>
                  </a:lnTo>
                  <a:lnTo>
                    <a:pt x="298" y="149"/>
                  </a:lnTo>
                  <a:lnTo>
                    <a:pt x="298" y="149"/>
                  </a:lnTo>
                  <a:lnTo>
                    <a:pt x="260" y="182"/>
                  </a:lnTo>
                  <a:lnTo>
                    <a:pt x="260" y="189"/>
                  </a:lnTo>
                  <a:lnTo>
                    <a:pt x="231" y="173"/>
                  </a:lnTo>
                  <a:lnTo>
                    <a:pt x="210" y="194"/>
                  </a:lnTo>
                  <a:lnTo>
                    <a:pt x="177" y="194"/>
                  </a:lnTo>
                  <a:lnTo>
                    <a:pt x="189" y="227"/>
                  </a:lnTo>
                  <a:lnTo>
                    <a:pt x="172" y="239"/>
                  </a:lnTo>
                  <a:lnTo>
                    <a:pt x="161" y="248"/>
                  </a:lnTo>
                  <a:lnTo>
                    <a:pt x="139" y="248"/>
                  </a:lnTo>
                  <a:lnTo>
                    <a:pt x="123" y="227"/>
                  </a:lnTo>
                  <a:lnTo>
                    <a:pt x="135" y="222"/>
                  </a:lnTo>
                  <a:lnTo>
                    <a:pt x="123" y="227"/>
                  </a:lnTo>
                  <a:lnTo>
                    <a:pt x="118" y="222"/>
                  </a:lnTo>
                  <a:lnTo>
                    <a:pt x="118" y="222"/>
                  </a:lnTo>
                  <a:lnTo>
                    <a:pt x="109" y="222"/>
                  </a:lnTo>
                  <a:lnTo>
                    <a:pt x="118" y="211"/>
                  </a:lnTo>
                  <a:lnTo>
                    <a:pt x="109" y="211"/>
                  </a:lnTo>
                  <a:lnTo>
                    <a:pt x="118" y="189"/>
                  </a:lnTo>
                  <a:lnTo>
                    <a:pt x="109" y="182"/>
                  </a:lnTo>
                  <a:lnTo>
                    <a:pt x="97" y="189"/>
                  </a:lnTo>
                  <a:lnTo>
                    <a:pt x="85" y="182"/>
                  </a:lnTo>
                  <a:lnTo>
                    <a:pt x="64" y="189"/>
                  </a:lnTo>
                  <a:lnTo>
                    <a:pt x="54" y="182"/>
                  </a:lnTo>
                  <a:lnTo>
                    <a:pt x="54" y="182"/>
                  </a:lnTo>
                  <a:lnTo>
                    <a:pt x="54" y="182"/>
                  </a:lnTo>
                  <a:close/>
                  <a:moveTo>
                    <a:pt x="123" y="227"/>
                  </a:moveTo>
                  <a:lnTo>
                    <a:pt x="118" y="222"/>
                  </a:lnTo>
                  <a:lnTo>
                    <a:pt x="123" y="222"/>
                  </a:lnTo>
                  <a:lnTo>
                    <a:pt x="123" y="227"/>
                  </a:lnTo>
                  <a:lnTo>
                    <a:pt x="123" y="227"/>
                  </a:lnTo>
                  <a:lnTo>
                    <a:pt x="123" y="22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4" name="Freeform 500">
              <a:extLst>
                <a:ext uri="{FF2B5EF4-FFF2-40B4-BE49-F238E27FC236}">
                  <a16:creationId xmlns:a16="http://schemas.microsoft.com/office/drawing/2014/main" id="{70EEBBFD-69AD-481F-84B2-AF468AA54F65}"/>
                </a:ext>
              </a:extLst>
            </p:cNvPr>
            <p:cNvSpPr>
              <a:spLocks/>
            </p:cNvSpPr>
            <p:nvPr/>
          </p:nvSpPr>
          <p:spPr bwMode="gray">
            <a:xfrm>
              <a:off x="4957289" y="3619997"/>
              <a:ext cx="13585" cy="16880"/>
            </a:xfrm>
            <a:custGeom>
              <a:avLst/>
              <a:gdLst>
                <a:gd name="T0" fmla="*/ 33 w 33"/>
                <a:gd name="T1" fmla="*/ 41 h 41"/>
                <a:gd name="T2" fmla="*/ 17 w 33"/>
                <a:gd name="T3" fmla="*/ 29 h 41"/>
                <a:gd name="T4" fmla="*/ 0 w 33"/>
                <a:gd name="T5" fmla="*/ 7 h 41"/>
                <a:gd name="T6" fmla="*/ 5 w 33"/>
                <a:gd name="T7" fmla="*/ 0 h 41"/>
                <a:gd name="T8" fmla="*/ 21 w 33"/>
                <a:gd name="T9" fmla="*/ 17 h 41"/>
                <a:gd name="T10" fmla="*/ 33 w 33"/>
                <a:gd name="T11" fmla="*/ 24 h 41"/>
                <a:gd name="T12" fmla="*/ 33 w 33"/>
                <a:gd name="T13" fmla="*/ 41 h 41"/>
                <a:gd name="T14" fmla="*/ 33 w 33"/>
                <a:gd name="T15" fmla="*/ 41 h 41"/>
                <a:gd name="T16" fmla="*/ 33 w 33"/>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1">
                  <a:moveTo>
                    <a:pt x="33" y="41"/>
                  </a:moveTo>
                  <a:lnTo>
                    <a:pt x="17" y="29"/>
                  </a:lnTo>
                  <a:lnTo>
                    <a:pt x="0" y="7"/>
                  </a:lnTo>
                  <a:lnTo>
                    <a:pt x="5" y="0"/>
                  </a:lnTo>
                  <a:lnTo>
                    <a:pt x="21" y="17"/>
                  </a:lnTo>
                  <a:lnTo>
                    <a:pt x="33" y="24"/>
                  </a:lnTo>
                  <a:lnTo>
                    <a:pt x="33" y="41"/>
                  </a:lnTo>
                  <a:lnTo>
                    <a:pt x="33" y="41"/>
                  </a:lnTo>
                  <a:lnTo>
                    <a:pt x="33" y="4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5" name="Freeform 504">
              <a:extLst>
                <a:ext uri="{FF2B5EF4-FFF2-40B4-BE49-F238E27FC236}">
                  <a16:creationId xmlns:a16="http://schemas.microsoft.com/office/drawing/2014/main" id="{2B24034B-782C-4BE7-A1AB-EBA2AEEC647F}"/>
                </a:ext>
              </a:extLst>
            </p:cNvPr>
            <p:cNvSpPr>
              <a:spLocks/>
            </p:cNvSpPr>
            <p:nvPr/>
          </p:nvSpPr>
          <p:spPr bwMode="gray">
            <a:xfrm>
              <a:off x="4928061" y="3560710"/>
              <a:ext cx="2058" cy="6999"/>
            </a:xfrm>
            <a:custGeom>
              <a:avLst/>
              <a:gdLst>
                <a:gd name="T0" fmla="*/ 5 w 5"/>
                <a:gd name="T1" fmla="*/ 17 h 17"/>
                <a:gd name="T2" fmla="*/ 0 w 5"/>
                <a:gd name="T3" fmla="*/ 5 h 17"/>
                <a:gd name="T4" fmla="*/ 5 w 5"/>
                <a:gd name="T5" fmla="*/ 0 h 17"/>
                <a:gd name="T6" fmla="*/ 5 w 5"/>
                <a:gd name="T7" fmla="*/ 17 h 17"/>
                <a:gd name="T8" fmla="*/ 5 w 5"/>
                <a:gd name="T9" fmla="*/ 17 h 17"/>
                <a:gd name="T10" fmla="*/ 5 w 5"/>
                <a:gd name="T11" fmla="*/ 17 h 17"/>
              </a:gdLst>
              <a:ahLst/>
              <a:cxnLst>
                <a:cxn ang="0">
                  <a:pos x="T0" y="T1"/>
                </a:cxn>
                <a:cxn ang="0">
                  <a:pos x="T2" y="T3"/>
                </a:cxn>
                <a:cxn ang="0">
                  <a:pos x="T4" y="T5"/>
                </a:cxn>
                <a:cxn ang="0">
                  <a:pos x="T6" y="T7"/>
                </a:cxn>
                <a:cxn ang="0">
                  <a:pos x="T8" y="T9"/>
                </a:cxn>
                <a:cxn ang="0">
                  <a:pos x="T10" y="T11"/>
                </a:cxn>
              </a:cxnLst>
              <a:rect l="0" t="0" r="r" b="b"/>
              <a:pathLst>
                <a:path w="5" h="17">
                  <a:moveTo>
                    <a:pt x="5" y="17"/>
                  </a:moveTo>
                  <a:lnTo>
                    <a:pt x="0" y="5"/>
                  </a:lnTo>
                  <a:lnTo>
                    <a:pt x="5" y="0"/>
                  </a:lnTo>
                  <a:lnTo>
                    <a:pt x="5" y="17"/>
                  </a:lnTo>
                  <a:lnTo>
                    <a:pt x="5" y="17"/>
                  </a:lnTo>
                  <a:lnTo>
                    <a:pt x="5"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6" name="Freeform 514">
              <a:extLst>
                <a:ext uri="{FF2B5EF4-FFF2-40B4-BE49-F238E27FC236}">
                  <a16:creationId xmlns:a16="http://schemas.microsoft.com/office/drawing/2014/main" id="{8C389DF2-7B32-425C-ACA4-B203FF80905B}"/>
                </a:ext>
              </a:extLst>
            </p:cNvPr>
            <p:cNvSpPr>
              <a:spLocks noEditPoints="1"/>
            </p:cNvSpPr>
            <p:nvPr/>
          </p:nvSpPr>
          <p:spPr bwMode="gray">
            <a:xfrm>
              <a:off x="3308961" y="3058829"/>
              <a:ext cx="909379" cy="570227"/>
            </a:xfrm>
            <a:custGeom>
              <a:avLst/>
              <a:gdLst>
                <a:gd name="T0" fmla="*/ 1918 w 2209"/>
                <a:gd name="T1" fmla="*/ 1146 h 1385"/>
                <a:gd name="T2" fmla="*/ 1864 w 2209"/>
                <a:gd name="T3" fmla="*/ 1274 h 1385"/>
                <a:gd name="T4" fmla="*/ 1708 w 2209"/>
                <a:gd name="T5" fmla="*/ 1274 h 1385"/>
                <a:gd name="T6" fmla="*/ 1649 w 2209"/>
                <a:gd name="T7" fmla="*/ 1269 h 1385"/>
                <a:gd name="T8" fmla="*/ 1481 w 2209"/>
                <a:gd name="T9" fmla="*/ 1293 h 1385"/>
                <a:gd name="T10" fmla="*/ 1217 w 2209"/>
                <a:gd name="T11" fmla="*/ 1186 h 1385"/>
                <a:gd name="T12" fmla="*/ 900 w 2209"/>
                <a:gd name="T13" fmla="*/ 993 h 1385"/>
                <a:gd name="T14" fmla="*/ 900 w 2209"/>
                <a:gd name="T15" fmla="*/ 865 h 1385"/>
                <a:gd name="T16" fmla="*/ 754 w 2209"/>
                <a:gd name="T17" fmla="*/ 648 h 1385"/>
                <a:gd name="T18" fmla="*/ 728 w 2209"/>
                <a:gd name="T19" fmla="*/ 610 h 1385"/>
                <a:gd name="T20" fmla="*/ 695 w 2209"/>
                <a:gd name="T21" fmla="*/ 586 h 1385"/>
                <a:gd name="T22" fmla="*/ 673 w 2209"/>
                <a:gd name="T23" fmla="*/ 544 h 1385"/>
                <a:gd name="T24" fmla="*/ 624 w 2209"/>
                <a:gd name="T25" fmla="*/ 475 h 1385"/>
                <a:gd name="T26" fmla="*/ 548 w 2209"/>
                <a:gd name="T27" fmla="*/ 388 h 1385"/>
                <a:gd name="T28" fmla="*/ 430 w 2209"/>
                <a:gd name="T29" fmla="*/ 298 h 1385"/>
                <a:gd name="T30" fmla="*/ 371 w 2209"/>
                <a:gd name="T31" fmla="*/ 116 h 1385"/>
                <a:gd name="T32" fmla="*/ 253 w 2209"/>
                <a:gd name="T33" fmla="*/ 88 h 1385"/>
                <a:gd name="T34" fmla="*/ 345 w 2209"/>
                <a:gd name="T35" fmla="*/ 298 h 1385"/>
                <a:gd name="T36" fmla="*/ 392 w 2209"/>
                <a:gd name="T37" fmla="*/ 388 h 1385"/>
                <a:gd name="T38" fmla="*/ 458 w 2209"/>
                <a:gd name="T39" fmla="*/ 459 h 1385"/>
                <a:gd name="T40" fmla="*/ 522 w 2209"/>
                <a:gd name="T41" fmla="*/ 593 h 1385"/>
                <a:gd name="T42" fmla="*/ 569 w 2209"/>
                <a:gd name="T43" fmla="*/ 664 h 1385"/>
                <a:gd name="T44" fmla="*/ 593 w 2209"/>
                <a:gd name="T45" fmla="*/ 766 h 1385"/>
                <a:gd name="T46" fmla="*/ 442 w 2209"/>
                <a:gd name="T47" fmla="*/ 626 h 1385"/>
                <a:gd name="T48" fmla="*/ 397 w 2209"/>
                <a:gd name="T49" fmla="*/ 504 h 1385"/>
                <a:gd name="T50" fmla="*/ 307 w 2209"/>
                <a:gd name="T51" fmla="*/ 449 h 1385"/>
                <a:gd name="T52" fmla="*/ 300 w 2209"/>
                <a:gd name="T53" fmla="*/ 393 h 1385"/>
                <a:gd name="T54" fmla="*/ 182 w 2209"/>
                <a:gd name="T55" fmla="*/ 239 h 1385"/>
                <a:gd name="T56" fmla="*/ 140 w 2209"/>
                <a:gd name="T57" fmla="*/ 116 h 1385"/>
                <a:gd name="T58" fmla="*/ 510 w 2209"/>
                <a:gd name="T59" fmla="*/ 111 h 1385"/>
                <a:gd name="T60" fmla="*/ 952 w 2209"/>
                <a:gd name="T61" fmla="*/ 222 h 1385"/>
                <a:gd name="T62" fmla="*/ 1125 w 2209"/>
                <a:gd name="T63" fmla="*/ 227 h 1385"/>
                <a:gd name="T64" fmla="*/ 1292 w 2209"/>
                <a:gd name="T65" fmla="*/ 393 h 1385"/>
                <a:gd name="T66" fmla="*/ 1448 w 2209"/>
                <a:gd name="T67" fmla="*/ 532 h 1385"/>
                <a:gd name="T68" fmla="*/ 1472 w 2209"/>
                <a:gd name="T69" fmla="*/ 870 h 1385"/>
                <a:gd name="T70" fmla="*/ 1536 w 2209"/>
                <a:gd name="T71" fmla="*/ 997 h 1385"/>
                <a:gd name="T72" fmla="*/ 1649 w 2209"/>
                <a:gd name="T73" fmla="*/ 1092 h 1385"/>
                <a:gd name="T74" fmla="*/ 1762 w 2209"/>
                <a:gd name="T75" fmla="*/ 1108 h 1385"/>
                <a:gd name="T76" fmla="*/ 1864 w 2209"/>
                <a:gd name="T77" fmla="*/ 1104 h 1385"/>
                <a:gd name="T78" fmla="*/ 1935 w 2209"/>
                <a:gd name="T79" fmla="*/ 1037 h 1385"/>
                <a:gd name="T80" fmla="*/ 2095 w 2209"/>
                <a:gd name="T81" fmla="*/ 870 h 1385"/>
                <a:gd name="T82" fmla="*/ 2209 w 2209"/>
                <a:gd name="T83" fmla="*/ 893 h 1385"/>
                <a:gd name="T84" fmla="*/ 2150 w 2209"/>
                <a:gd name="T85" fmla="*/ 1021 h 1385"/>
                <a:gd name="T86" fmla="*/ 2133 w 2209"/>
                <a:gd name="T87" fmla="*/ 1104 h 1385"/>
                <a:gd name="T88" fmla="*/ 359 w 2209"/>
                <a:gd name="T89" fmla="*/ 293 h 1385"/>
                <a:gd name="T90" fmla="*/ 359 w 2209"/>
                <a:gd name="T91" fmla="*/ 293 h 1385"/>
                <a:gd name="T92" fmla="*/ 425 w 2209"/>
                <a:gd name="T93" fmla="*/ 315 h 1385"/>
                <a:gd name="T94" fmla="*/ 0 w 2209"/>
                <a:gd name="T95" fmla="*/ 298 h 1385"/>
                <a:gd name="T96" fmla="*/ 225 w 2209"/>
                <a:gd name="T97" fmla="*/ 371 h 1385"/>
                <a:gd name="T98" fmla="*/ 501 w 2209"/>
                <a:gd name="T99" fmla="*/ 544 h 1385"/>
                <a:gd name="T100" fmla="*/ 442 w 2209"/>
                <a:gd name="T101" fmla="*/ 586 h 1385"/>
                <a:gd name="T102" fmla="*/ 539 w 2209"/>
                <a:gd name="T103" fmla="*/ 598 h 1385"/>
                <a:gd name="T104" fmla="*/ 463 w 2209"/>
                <a:gd name="T105" fmla="*/ 655 h 1385"/>
                <a:gd name="T106" fmla="*/ 825 w 2209"/>
                <a:gd name="T107" fmla="*/ 870 h 1385"/>
                <a:gd name="T108" fmla="*/ 855 w 2209"/>
                <a:gd name="T109" fmla="*/ 886 h 1385"/>
                <a:gd name="T110" fmla="*/ 2204 w 2209"/>
                <a:gd name="T111" fmla="*/ 943 h 1385"/>
                <a:gd name="T112" fmla="*/ 517 w 2209"/>
                <a:gd name="T113" fmla="*/ 1071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9" h="1385">
                  <a:moveTo>
                    <a:pt x="2103" y="1104"/>
                  </a:moveTo>
                  <a:lnTo>
                    <a:pt x="2095" y="1104"/>
                  </a:lnTo>
                  <a:lnTo>
                    <a:pt x="2065" y="1141"/>
                  </a:lnTo>
                  <a:lnTo>
                    <a:pt x="2058" y="1130"/>
                  </a:lnTo>
                  <a:lnTo>
                    <a:pt x="2048" y="1141"/>
                  </a:lnTo>
                  <a:lnTo>
                    <a:pt x="2048" y="1146"/>
                  </a:lnTo>
                  <a:lnTo>
                    <a:pt x="1918" y="1146"/>
                  </a:lnTo>
                  <a:lnTo>
                    <a:pt x="1918" y="1186"/>
                  </a:lnTo>
                  <a:lnTo>
                    <a:pt x="1885" y="1186"/>
                  </a:lnTo>
                  <a:lnTo>
                    <a:pt x="1935" y="1224"/>
                  </a:lnTo>
                  <a:lnTo>
                    <a:pt x="1940" y="1252"/>
                  </a:lnTo>
                  <a:lnTo>
                    <a:pt x="1956" y="1252"/>
                  </a:lnTo>
                  <a:lnTo>
                    <a:pt x="1956" y="1274"/>
                  </a:lnTo>
                  <a:lnTo>
                    <a:pt x="1864" y="1274"/>
                  </a:lnTo>
                  <a:lnTo>
                    <a:pt x="1831" y="1335"/>
                  </a:lnTo>
                  <a:lnTo>
                    <a:pt x="1843" y="1352"/>
                  </a:lnTo>
                  <a:lnTo>
                    <a:pt x="1826" y="1385"/>
                  </a:lnTo>
                  <a:lnTo>
                    <a:pt x="1793" y="1352"/>
                  </a:lnTo>
                  <a:lnTo>
                    <a:pt x="1793" y="1347"/>
                  </a:lnTo>
                  <a:lnTo>
                    <a:pt x="1779" y="1335"/>
                  </a:lnTo>
                  <a:lnTo>
                    <a:pt x="1708" y="1274"/>
                  </a:lnTo>
                  <a:lnTo>
                    <a:pt x="1682" y="1257"/>
                  </a:lnTo>
                  <a:lnTo>
                    <a:pt x="1682" y="1269"/>
                  </a:lnTo>
                  <a:lnTo>
                    <a:pt x="1703" y="1281"/>
                  </a:lnTo>
                  <a:lnTo>
                    <a:pt x="1654" y="1269"/>
                  </a:lnTo>
                  <a:lnTo>
                    <a:pt x="1666" y="1257"/>
                  </a:lnTo>
                  <a:lnTo>
                    <a:pt x="1654" y="1257"/>
                  </a:lnTo>
                  <a:lnTo>
                    <a:pt x="1649" y="1269"/>
                  </a:lnTo>
                  <a:lnTo>
                    <a:pt x="1649" y="1252"/>
                  </a:lnTo>
                  <a:lnTo>
                    <a:pt x="1632" y="1257"/>
                  </a:lnTo>
                  <a:lnTo>
                    <a:pt x="1649" y="1269"/>
                  </a:lnTo>
                  <a:lnTo>
                    <a:pt x="1616" y="1269"/>
                  </a:lnTo>
                  <a:lnTo>
                    <a:pt x="1611" y="1281"/>
                  </a:lnTo>
                  <a:lnTo>
                    <a:pt x="1536" y="1309"/>
                  </a:lnTo>
                  <a:lnTo>
                    <a:pt x="1481" y="1293"/>
                  </a:lnTo>
                  <a:lnTo>
                    <a:pt x="1439" y="1281"/>
                  </a:lnTo>
                  <a:lnTo>
                    <a:pt x="1417" y="1269"/>
                  </a:lnTo>
                  <a:lnTo>
                    <a:pt x="1384" y="1257"/>
                  </a:lnTo>
                  <a:lnTo>
                    <a:pt x="1373" y="1241"/>
                  </a:lnTo>
                  <a:lnTo>
                    <a:pt x="1309" y="1224"/>
                  </a:lnTo>
                  <a:lnTo>
                    <a:pt x="1292" y="1219"/>
                  </a:lnTo>
                  <a:lnTo>
                    <a:pt x="1217" y="1186"/>
                  </a:lnTo>
                  <a:lnTo>
                    <a:pt x="1169" y="1158"/>
                  </a:lnTo>
                  <a:lnTo>
                    <a:pt x="1148" y="1130"/>
                  </a:lnTo>
                  <a:lnTo>
                    <a:pt x="1132" y="1141"/>
                  </a:lnTo>
                  <a:lnTo>
                    <a:pt x="1051" y="1108"/>
                  </a:lnTo>
                  <a:lnTo>
                    <a:pt x="1006" y="1071"/>
                  </a:lnTo>
                  <a:lnTo>
                    <a:pt x="943" y="1037"/>
                  </a:lnTo>
                  <a:lnTo>
                    <a:pt x="900" y="993"/>
                  </a:lnTo>
                  <a:lnTo>
                    <a:pt x="888" y="959"/>
                  </a:lnTo>
                  <a:lnTo>
                    <a:pt x="914" y="943"/>
                  </a:lnTo>
                  <a:lnTo>
                    <a:pt x="910" y="926"/>
                  </a:lnTo>
                  <a:lnTo>
                    <a:pt x="893" y="926"/>
                  </a:lnTo>
                  <a:lnTo>
                    <a:pt x="914" y="903"/>
                  </a:lnTo>
                  <a:lnTo>
                    <a:pt x="926" y="882"/>
                  </a:lnTo>
                  <a:lnTo>
                    <a:pt x="900" y="865"/>
                  </a:lnTo>
                  <a:lnTo>
                    <a:pt x="893" y="837"/>
                  </a:lnTo>
                  <a:lnTo>
                    <a:pt x="893" y="808"/>
                  </a:lnTo>
                  <a:lnTo>
                    <a:pt x="879" y="782"/>
                  </a:lnTo>
                  <a:lnTo>
                    <a:pt x="841" y="742"/>
                  </a:lnTo>
                  <a:lnTo>
                    <a:pt x="791" y="688"/>
                  </a:lnTo>
                  <a:lnTo>
                    <a:pt x="749" y="648"/>
                  </a:lnTo>
                  <a:lnTo>
                    <a:pt x="754" y="648"/>
                  </a:lnTo>
                  <a:lnTo>
                    <a:pt x="754" y="643"/>
                  </a:lnTo>
                  <a:lnTo>
                    <a:pt x="749" y="648"/>
                  </a:lnTo>
                  <a:lnTo>
                    <a:pt x="732" y="631"/>
                  </a:lnTo>
                  <a:lnTo>
                    <a:pt x="737" y="643"/>
                  </a:lnTo>
                  <a:lnTo>
                    <a:pt x="728" y="631"/>
                  </a:lnTo>
                  <a:lnTo>
                    <a:pt x="728" y="610"/>
                  </a:lnTo>
                  <a:lnTo>
                    <a:pt x="728" y="610"/>
                  </a:lnTo>
                  <a:lnTo>
                    <a:pt x="728" y="615"/>
                  </a:lnTo>
                  <a:lnTo>
                    <a:pt x="716" y="615"/>
                  </a:lnTo>
                  <a:lnTo>
                    <a:pt x="711" y="598"/>
                  </a:lnTo>
                  <a:lnTo>
                    <a:pt x="728" y="610"/>
                  </a:lnTo>
                  <a:lnTo>
                    <a:pt x="728" y="598"/>
                  </a:lnTo>
                  <a:lnTo>
                    <a:pt x="699" y="593"/>
                  </a:lnTo>
                  <a:lnTo>
                    <a:pt x="695" y="586"/>
                  </a:lnTo>
                  <a:lnTo>
                    <a:pt x="678" y="577"/>
                  </a:lnTo>
                  <a:lnTo>
                    <a:pt x="673" y="560"/>
                  </a:lnTo>
                  <a:lnTo>
                    <a:pt x="662" y="560"/>
                  </a:lnTo>
                  <a:lnTo>
                    <a:pt x="662" y="570"/>
                  </a:lnTo>
                  <a:lnTo>
                    <a:pt x="645" y="560"/>
                  </a:lnTo>
                  <a:lnTo>
                    <a:pt x="657" y="560"/>
                  </a:lnTo>
                  <a:lnTo>
                    <a:pt x="673" y="544"/>
                  </a:lnTo>
                  <a:lnTo>
                    <a:pt x="645" y="560"/>
                  </a:lnTo>
                  <a:lnTo>
                    <a:pt x="631" y="544"/>
                  </a:lnTo>
                  <a:lnTo>
                    <a:pt x="624" y="532"/>
                  </a:lnTo>
                  <a:lnTo>
                    <a:pt x="640" y="504"/>
                  </a:lnTo>
                  <a:lnTo>
                    <a:pt x="645" y="515"/>
                  </a:lnTo>
                  <a:lnTo>
                    <a:pt x="645" y="504"/>
                  </a:lnTo>
                  <a:lnTo>
                    <a:pt x="624" y="475"/>
                  </a:lnTo>
                  <a:lnTo>
                    <a:pt x="619" y="466"/>
                  </a:lnTo>
                  <a:lnTo>
                    <a:pt x="603" y="475"/>
                  </a:lnTo>
                  <a:lnTo>
                    <a:pt x="586" y="442"/>
                  </a:lnTo>
                  <a:lnTo>
                    <a:pt x="565" y="442"/>
                  </a:lnTo>
                  <a:lnTo>
                    <a:pt x="548" y="426"/>
                  </a:lnTo>
                  <a:lnTo>
                    <a:pt x="539" y="404"/>
                  </a:lnTo>
                  <a:lnTo>
                    <a:pt x="548" y="388"/>
                  </a:lnTo>
                  <a:lnTo>
                    <a:pt x="532" y="376"/>
                  </a:lnTo>
                  <a:lnTo>
                    <a:pt x="522" y="388"/>
                  </a:lnTo>
                  <a:lnTo>
                    <a:pt x="510" y="376"/>
                  </a:lnTo>
                  <a:lnTo>
                    <a:pt x="484" y="350"/>
                  </a:lnTo>
                  <a:lnTo>
                    <a:pt x="468" y="338"/>
                  </a:lnTo>
                  <a:lnTo>
                    <a:pt x="458" y="310"/>
                  </a:lnTo>
                  <a:lnTo>
                    <a:pt x="430" y="298"/>
                  </a:lnTo>
                  <a:lnTo>
                    <a:pt x="430" y="265"/>
                  </a:lnTo>
                  <a:lnTo>
                    <a:pt x="414" y="260"/>
                  </a:lnTo>
                  <a:lnTo>
                    <a:pt x="414" y="260"/>
                  </a:lnTo>
                  <a:lnTo>
                    <a:pt x="392" y="222"/>
                  </a:lnTo>
                  <a:lnTo>
                    <a:pt x="392" y="199"/>
                  </a:lnTo>
                  <a:lnTo>
                    <a:pt x="371" y="166"/>
                  </a:lnTo>
                  <a:lnTo>
                    <a:pt x="371" y="116"/>
                  </a:lnTo>
                  <a:lnTo>
                    <a:pt x="333" y="111"/>
                  </a:lnTo>
                  <a:lnTo>
                    <a:pt x="333" y="95"/>
                  </a:lnTo>
                  <a:lnTo>
                    <a:pt x="307" y="88"/>
                  </a:lnTo>
                  <a:lnTo>
                    <a:pt x="300" y="100"/>
                  </a:lnTo>
                  <a:lnTo>
                    <a:pt x="291" y="95"/>
                  </a:lnTo>
                  <a:lnTo>
                    <a:pt x="232" y="60"/>
                  </a:lnTo>
                  <a:lnTo>
                    <a:pt x="253" y="88"/>
                  </a:lnTo>
                  <a:lnTo>
                    <a:pt x="248" y="128"/>
                  </a:lnTo>
                  <a:lnTo>
                    <a:pt x="253" y="145"/>
                  </a:lnTo>
                  <a:lnTo>
                    <a:pt x="262" y="204"/>
                  </a:lnTo>
                  <a:lnTo>
                    <a:pt x="269" y="222"/>
                  </a:lnTo>
                  <a:lnTo>
                    <a:pt x="333" y="277"/>
                  </a:lnTo>
                  <a:lnTo>
                    <a:pt x="338" y="310"/>
                  </a:lnTo>
                  <a:lnTo>
                    <a:pt x="345" y="298"/>
                  </a:lnTo>
                  <a:lnTo>
                    <a:pt x="354" y="310"/>
                  </a:lnTo>
                  <a:lnTo>
                    <a:pt x="359" y="310"/>
                  </a:lnTo>
                  <a:lnTo>
                    <a:pt x="371" y="338"/>
                  </a:lnTo>
                  <a:lnTo>
                    <a:pt x="388" y="338"/>
                  </a:lnTo>
                  <a:lnTo>
                    <a:pt x="388" y="355"/>
                  </a:lnTo>
                  <a:lnTo>
                    <a:pt x="392" y="371"/>
                  </a:lnTo>
                  <a:lnTo>
                    <a:pt x="392" y="388"/>
                  </a:lnTo>
                  <a:lnTo>
                    <a:pt x="409" y="404"/>
                  </a:lnTo>
                  <a:lnTo>
                    <a:pt x="425" y="409"/>
                  </a:lnTo>
                  <a:lnTo>
                    <a:pt x="458" y="475"/>
                  </a:lnTo>
                  <a:lnTo>
                    <a:pt x="463" y="487"/>
                  </a:lnTo>
                  <a:lnTo>
                    <a:pt x="468" y="482"/>
                  </a:lnTo>
                  <a:lnTo>
                    <a:pt x="458" y="466"/>
                  </a:lnTo>
                  <a:lnTo>
                    <a:pt x="458" y="459"/>
                  </a:lnTo>
                  <a:lnTo>
                    <a:pt x="480" y="475"/>
                  </a:lnTo>
                  <a:lnTo>
                    <a:pt x="480" y="482"/>
                  </a:lnTo>
                  <a:lnTo>
                    <a:pt x="484" y="504"/>
                  </a:lnTo>
                  <a:lnTo>
                    <a:pt x="496" y="544"/>
                  </a:lnTo>
                  <a:lnTo>
                    <a:pt x="501" y="560"/>
                  </a:lnTo>
                  <a:lnTo>
                    <a:pt x="517" y="570"/>
                  </a:lnTo>
                  <a:lnTo>
                    <a:pt x="522" y="593"/>
                  </a:lnTo>
                  <a:lnTo>
                    <a:pt x="539" y="615"/>
                  </a:lnTo>
                  <a:lnTo>
                    <a:pt x="532" y="643"/>
                  </a:lnTo>
                  <a:lnTo>
                    <a:pt x="539" y="655"/>
                  </a:lnTo>
                  <a:lnTo>
                    <a:pt x="565" y="664"/>
                  </a:lnTo>
                  <a:lnTo>
                    <a:pt x="555" y="664"/>
                  </a:lnTo>
                  <a:lnTo>
                    <a:pt x="565" y="671"/>
                  </a:lnTo>
                  <a:lnTo>
                    <a:pt x="569" y="664"/>
                  </a:lnTo>
                  <a:lnTo>
                    <a:pt x="565" y="655"/>
                  </a:lnTo>
                  <a:lnTo>
                    <a:pt x="569" y="655"/>
                  </a:lnTo>
                  <a:lnTo>
                    <a:pt x="603" y="681"/>
                  </a:lnTo>
                  <a:lnTo>
                    <a:pt x="607" y="704"/>
                  </a:lnTo>
                  <a:lnTo>
                    <a:pt x="624" y="721"/>
                  </a:lnTo>
                  <a:lnTo>
                    <a:pt x="619" y="754"/>
                  </a:lnTo>
                  <a:lnTo>
                    <a:pt x="593" y="766"/>
                  </a:lnTo>
                  <a:lnTo>
                    <a:pt x="586" y="766"/>
                  </a:lnTo>
                  <a:lnTo>
                    <a:pt x="565" y="709"/>
                  </a:lnTo>
                  <a:lnTo>
                    <a:pt x="484" y="655"/>
                  </a:lnTo>
                  <a:lnTo>
                    <a:pt x="468" y="643"/>
                  </a:lnTo>
                  <a:lnTo>
                    <a:pt x="463" y="643"/>
                  </a:lnTo>
                  <a:lnTo>
                    <a:pt x="447" y="626"/>
                  </a:lnTo>
                  <a:lnTo>
                    <a:pt x="442" y="626"/>
                  </a:lnTo>
                  <a:lnTo>
                    <a:pt x="442" y="598"/>
                  </a:lnTo>
                  <a:lnTo>
                    <a:pt x="430" y="615"/>
                  </a:lnTo>
                  <a:lnTo>
                    <a:pt x="442" y="560"/>
                  </a:lnTo>
                  <a:lnTo>
                    <a:pt x="442" y="570"/>
                  </a:lnTo>
                  <a:lnTo>
                    <a:pt x="442" y="544"/>
                  </a:lnTo>
                  <a:lnTo>
                    <a:pt x="414" y="504"/>
                  </a:lnTo>
                  <a:lnTo>
                    <a:pt x="397" y="504"/>
                  </a:lnTo>
                  <a:lnTo>
                    <a:pt x="359" y="475"/>
                  </a:lnTo>
                  <a:lnTo>
                    <a:pt x="371" y="459"/>
                  </a:lnTo>
                  <a:lnTo>
                    <a:pt x="354" y="466"/>
                  </a:lnTo>
                  <a:lnTo>
                    <a:pt x="345" y="466"/>
                  </a:lnTo>
                  <a:lnTo>
                    <a:pt x="333" y="475"/>
                  </a:lnTo>
                  <a:lnTo>
                    <a:pt x="317" y="449"/>
                  </a:lnTo>
                  <a:lnTo>
                    <a:pt x="307" y="449"/>
                  </a:lnTo>
                  <a:lnTo>
                    <a:pt x="291" y="442"/>
                  </a:lnTo>
                  <a:lnTo>
                    <a:pt x="269" y="433"/>
                  </a:lnTo>
                  <a:lnTo>
                    <a:pt x="269" y="421"/>
                  </a:lnTo>
                  <a:lnTo>
                    <a:pt x="236" y="393"/>
                  </a:lnTo>
                  <a:lnTo>
                    <a:pt x="232" y="388"/>
                  </a:lnTo>
                  <a:lnTo>
                    <a:pt x="307" y="393"/>
                  </a:lnTo>
                  <a:lnTo>
                    <a:pt x="300" y="393"/>
                  </a:lnTo>
                  <a:lnTo>
                    <a:pt x="291" y="393"/>
                  </a:lnTo>
                  <a:lnTo>
                    <a:pt x="286" y="388"/>
                  </a:lnTo>
                  <a:lnTo>
                    <a:pt x="291" y="371"/>
                  </a:lnTo>
                  <a:lnTo>
                    <a:pt x="300" y="331"/>
                  </a:lnTo>
                  <a:lnTo>
                    <a:pt x="236" y="265"/>
                  </a:lnTo>
                  <a:lnTo>
                    <a:pt x="225" y="260"/>
                  </a:lnTo>
                  <a:lnTo>
                    <a:pt x="182" y="239"/>
                  </a:lnTo>
                  <a:lnTo>
                    <a:pt x="177" y="187"/>
                  </a:lnTo>
                  <a:lnTo>
                    <a:pt x="173" y="182"/>
                  </a:lnTo>
                  <a:lnTo>
                    <a:pt x="173" y="187"/>
                  </a:lnTo>
                  <a:lnTo>
                    <a:pt x="161" y="182"/>
                  </a:lnTo>
                  <a:lnTo>
                    <a:pt x="161" y="154"/>
                  </a:lnTo>
                  <a:lnTo>
                    <a:pt x="144" y="145"/>
                  </a:lnTo>
                  <a:lnTo>
                    <a:pt x="140" y="116"/>
                  </a:lnTo>
                  <a:lnTo>
                    <a:pt x="118" y="95"/>
                  </a:lnTo>
                  <a:lnTo>
                    <a:pt x="123" y="71"/>
                  </a:lnTo>
                  <a:lnTo>
                    <a:pt x="106" y="60"/>
                  </a:lnTo>
                  <a:lnTo>
                    <a:pt x="85" y="17"/>
                  </a:lnTo>
                  <a:lnTo>
                    <a:pt x="253" y="0"/>
                  </a:lnTo>
                  <a:lnTo>
                    <a:pt x="248" y="17"/>
                  </a:lnTo>
                  <a:lnTo>
                    <a:pt x="510" y="111"/>
                  </a:lnTo>
                  <a:lnTo>
                    <a:pt x="711" y="111"/>
                  </a:lnTo>
                  <a:lnTo>
                    <a:pt x="711" y="76"/>
                  </a:lnTo>
                  <a:lnTo>
                    <a:pt x="841" y="76"/>
                  </a:lnTo>
                  <a:lnTo>
                    <a:pt x="846" y="100"/>
                  </a:lnTo>
                  <a:lnTo>
                    <a:pt x="943" y="171"/>
                  </a:lnTo>
                  <a:lnTo>
                    <a:pt x="952" y="204"/>
                  </a:lnTo>
                  <a:lnTo>
                    <a:pt x="952" y="222"/>
                  </a:lnTo>
                  <a:lnTo>
                    <a:pt x="969" y="244"/>
                  </a:lnTo>
                  <a:lnTo>
                    <a:pt x="1002" y="265"/>
                  </a:lnTo>
                  <a:lnTo>
                    <a:pt x="1051" y="293"/>
                  </a:lnTo>
                  <a:lnTo>
                    <a:pt x="1061" y="298"/>
                  </a:lnTo>
                  <a:lnTo>
                    <a:pt x="1089" y="277"/>
                  </a:lnTo>
                  <a:lnTo>
                    <a:pt x="1103" y="239"/>
                  </a:lnTo>
                  <a:lnTo>
                    <a:pt x="1125" y="227"/>
                  </a:lnTo>
                  <a:lnTo>
                    <a:pt x="1141" y="239"/>
                  </a:lnTo>
                  <a:lnTo>
                    <a:pt x="1186" y="239"/>
                  </a:lnTo>
                  <a:lnTo>
                    <a:pt x="1195" y="244"/>
                  </a:lnTo>
                  <a:lnTo>
                    <a:pt x="1238" y="282"/>
                  </a:lnTo>
                  <a:lnTo>
                    <a:pt x="1266" y="355"/>
                  </a:lnTo>
                  <a:lnTo>
                    <a:pt x="1276" y="367"/>
                  </a:lnTo>
                  <a:lnTo>
                    <a:pt x="1292" y="393"/>
                  </a:lnTo>
                  <a:lnTo>
                    <a:pt x="1321" y="409"/>
                  </a:lnTo>
                  <a:lnTo>
                    <a:pt x="1325" y="449"/>
                  </a:lnTo>
                  <a:lnTo>
                    <a:pt x="1342" y="466"/>
                  </a:lnTo>
                  <a:lnTo>
                    <a:pt x="1347" y="499"/>
                  </a:lnTo>
                  <a:lnTo>
                    <a:pt x="1396" y="515"/>
                  </a:lnTo>
                  <a:lnTo>
                    <a:pt x="1410" y="520"/>
                  </a:lnTo>
                  <a:lnTo>
                    <a:pt x="1448" y="532"/>
                  </a:lnTo>
                  <a:lnTo>
                    <a:pt x="1465" y="537"/>
                  </a:lnTo>
                  <a:lnTo>
                    <a:pt x="1486" y="532"/>
                  </a:lnTo>
                  <a:lnTo>
                    <a:pt x="1448" y="643"/>
                  </a:lnTo>
                  <a:lnTo>
                    <a:pt x="1439" y="766"/>
                  </a:lnTo>
                  <a:lnTo>
                    <a:pt x="1434" y="792"/>
                  </a:lnTo>
                  <a:lnTo>
                    <a:pt x="1448" y="837"/>
                  </a:lnTo>
                  <a:lnTo>
                    <a:pt x="1472" y="870"/>
                  </a:lnTo>
                  <a:lnTo>
                    <a:pt x="1465" y="886"/>
                  </a:lnTo>
                  <a:lnTo>
                    <a:pt x="1465" y="882"/>
                  </a:lnTo>
                  <a:lnTo>
                    <a:pt x="1472" y="870"/>
                  </a:lnTo>
                  <a:lnTo>
                    <a:pt x="1439" y="832"/>
                  </a:lnTo>
                  <a:lnTo>
                    <a:pt x="1448" y="865"/>
                  </a:lnTo>
                  <a:lnTo>
                    <a:pt x="1486" y="936"/>
                  </a:lnTo>
                  <a:lnTo>
                    <a:pt x="1536" y="997"/>
                  </a:lnTo>
                  <a:lnTo>
                    <a:pt x="1545" y="1037"/>
                  </a:lnTo>
                  <a:lnTo>
                    <a:pt x="1573" y="1059"/>
                  </a:lnTo>
                  <a:lnTo>
                    <a:pt x="1573" y="1071"/>
                  </a:lnTo>
                  <a:lnTo>
                    <a:pt x="1578" y="1075"/>
                  </a:lnTo>
                  <a:lnTo>
                    <a:pt x="1628" y="1087"/>
                  </a:lnTo>
                  <a:lnTo>
                    <a:pt x="1632" y="1092"/>
                  </a:lnTo>
                  <a:lnTo>
                    <a:pt x="1649" y="1092"/>
                  </a:lnTo>
                  <a:lnTo>
                    <a:pt x="1670" y="1125"/>
                  </a:lnTo>
                  <a:lnTo>
                    <a:pt x="1720" y="1113"/>
                  </a:lnTo>
                  <a:lnTo>
                    <a:pt x="1734" y="1104"/>
                  </a:lnTo>
                  <a:lnTo>
                    <a:pt x="1720" y="1108"/>
                  </a:lnTo>
                  <a:lnTo>
                    <a:pt x="1734" y="1104"/>
                  </a:lnTo>
                  <a:lnTo>
                    <a:pt x="1762" y="1104"/>
                  </a:lnTo>
                  <a:lnTo>
                    <a:pt x="1762" y="1108"/>
                  </a:lnTo>
                  <a:lnTo>
                    <a:pt x="1805" y="1087"/>
                  </a:lnTo>
                  <a:lnTo>
                    <a:pt x="1847" y="1075"/>
                  </a:lnTo>
                  <a:lnTo>
                    <a:pt x="1859" y="1087"/>
                  </a:lnTo>
                  <a:lnTo>
                    <a:pt x="1843" y="1092"/>
                  </a:lnTo>
                  <a:lnTo>
                    <a:pt x="1859" y="1092"/>
                  </a:lnTo>
                  <a:lnTo>
                    <a:pt x="1859" y="1108"/>
                  </a:lnTo>
                  <a:lnTo>
                    <a:pt x="1864" y="1104"/>
                  </a:lnTo>
                  <a:lnTo>
                    <a:pt x="1880" y="1104"/>
                  </a:lnTo>
                  <a:lnTo>
                    <a:pt x="1885" y="1092"/>
                  </a:lnTo>
                  <a:lnTo>
                    <a:pt x="1902" y="1087"/>
                  </a:lnTo>
                  <a:lnTo>
                    <a:pt x="1885" y="1075"/>
                  </a:lnTo>
                  <a:lnTo>
                    <a:pt x="1897" y="1071"/>
                  </a:lnTo>
                  <a:lnTo>
                    <a:pt x="1885" y="1071"/>
                  </a:lnTo>
                  <a:lnTo>
                    <a:pt x="1935" y="1037"/>
                  </a:lnTo>
                  <a:lnTo>
                    <a:pt x="1940" y="1002"/>
                  </a:lnTo>
                  <a:lnTo>
                    <a:pt x="1956" y="993"/>
                  </a:lnTo>
                  <a:lnTo>
                    <a:pt x="1951" y="943"/>
                  </a:lnTo>
                  <a:lnTo>
                    <a:pt x="1965" y="910"/>
                  </a:lnTo>
                  <a:lnTo>
                    <a:pt x="1994" y="886"/>
                  </a:lnTo>
                  <a:lnTo>
                    <a:pt x="2065" y="882"/>
                  </a:lnTo>
                  <a:lnTo>
                    <a:pt x="2095" y="870"/>
                  </a:lnTo>
                  <a:lnTo>
                    <a:pt x="2128" y="865"/>
                  </a:lnTo>
                  <a:lnTo>
                    <a:pt x="2183" y="882"/>
                  </a:lnTo>
                  <a:lnTo>
                    <a:pt x="2188" y="870"/>
                  </a:lnTo>
                  <a:lnTo>
                    <a:pt x="2166" y="870"/>
                  </a:lnTo>
                  <a:lnTo>
                    <a:pt x="2192" y="865"/>
                  </a:lnTo>
                  <a:lnTo>
                    <a:pt x="2209" y="882"/>
                  </a:lnTo>
                  <a:lnTo>
                    <a:pt x="2209" y="893"/>
                  </a:lnTo>
                  <a:lnTo>
                    <a:pt x="2204" y="926"/>
                  </a:lnTo>
                  <a:lnTo>
                    <a:pt x="2166" y="964"/>
                  </a:lnTo>
                  <a:lnTo>
                    <a:pt x="2166" y="997"/>
                  </a:lnTo>
                  <a:lnTo>
                    <a:pt x="2166" y="993"/>
                  </a:lnTo>
                  <a:lnTo>
                    <a:pt x="2154" y="997"/>
                  </a:lnTo>
                  <a:lnTo>
                    <a:pt x="2138" y="1002"/>
                  </a:lnTo>
                  <a:lnTo>
                    <a:pt x="2150" y="1021"/>
                  </a:lnTo>
                  <a:lnTo>
                    <a:pt x="2166" y="1014"/>
                  </a:lnTo>
                  <a:lnTo>
                    <a:pt x="2166" y="1030"/>
                  </a:lnTo>
                  <a:lnTo>
                    <a:pt x="2150" y="1037"/>
                  </a:lnTo>
                  <a:lnTo>
                    <a:pt x="2150" y="1047"/>
                  </a:lnTo>
                  <a:lnTo>
                    <a:pt x="2166" y="1037"/>
                  </a:lnTo>
                  <a:lnTo>
                    <a:pt x="2133" y="1113"/>
                  </a:lnTo>
                  <a:lnTo>
                    <a:pt x="2133" y="1104"/>
                  </a:lnTo>
                  <a:lnTo>
                    <a:pt x="2117" y="1092"/>
                  </a:lnTo>
                  <a:lnTo>
                    <a:pt x="2128" y="1087"/>
                  </a:lnTo>
                  <a:lnTo>
                    <a:pt x="2128" y="1071"/>
                  </a:lnTo>
                  <a:lnTo>
                    <a:pt x="2103" y="1104"/>
                  </a:lnTo>
                  <a:lnTo>
                    <a:pt x="2103" y="1104"/>
                  </a:lnTo>
                  <a:lnTo>
                    <a:pt x="2103" y="1104"/>
                  </a:lnTo>
                  <a:close/>
                  <a:moveTo>
                    <a:pt x="359" y="293"/>
                  </a:moveTo>
                  <a:lnTo>
                    <a:pt x="333" y="260"/>
                  </a:lnTo>
                  <a:lnTo>
                    <a:pt x="333" y="256"/>
                  </a:lnTo>
                  <a:lnTo>
                    <a:pt x="345" y="260"/>
                  </a:lnTo>
                  <a:lnTo>
                    <a:pt x="345" y="265"/>
                  </a:lnTo>
                  <a:lnTo>
                    <a:pt x="359" y="277"/>
                  </a:lnTo>
                  <a:lnTo>
                    <a:pt x="359" y="293"/>
                  </a:lnTo>
                  <a:lnTo>
                    <a:pt x="359" y="293"/>
                  </a:lnTo>
                  <a:lnTo>
                    <a:pt x="359" y="293"/>
                  </a:lnTo>
                  <a:close/>
                  <a:moveTo>
                    <a:pt x="425" y="315"/>
                  </a:moveTo>
                  <a:lnTo>
                    <a:pt x="409" y="310"/>
                  </a:lnTo>
                  <a:lnTo>
                    <a:pt x="414" y="282"/>
                  </a:lnTo>
                  <a:lnTo>
                    <a:pt x="425" y="277"/>
                  </a:lnTo>
                  <a:lnTo>
                    <a:pt x="430" y="298"/>
                  </a:lnTo>
                  <a:lnTo>
                    <a:pt x="425" y="315"/>
                  </a:lnTo>
                  <a:lnTo>
                    <a:pt x="425" y="315"/>
                  </a:lnTo>
                  <a:lnTo>
                    <a:pt x="425" y="315"/>
                  </a:lnTo>
                  <a:close/>
                  <a:moveTo>
                    <a:pt x="0" y="298"/>
                  </a:moveTo>
                  <a:lnTo>
                    <a:pt x="0" y="282"/>
                  </a:lnTo>
                  <a:lnTo>
                    <a:pt x="0" y="282"/>
                  </a:lnTo>
                  <a:lnTo>
                    <a:pt x="10" y="293"/>
                  </a:lnTo>
                  <a:lnTo>
                    <a:pt x="0" y="298"/>
                  </a:lnTo>
                  <a:lnTo>
                    <a:pt x="0" y="298"/>
                  </a:lnTo>
                  <a:lnTo>
                    <a:pt x="0" y="298"/>
                  </a:lnTo>
                  <a:close/>
                  <a:moveTo>
                    <a:pt x="225" y="371"/>
                  </a:moveTo>
                  <a:lnTo>
                    <a:pt x="215" y="367"/>
                  </a:lnTo>
                  <a:lnTo>
                    <a:pt x="215" y="350"/>
                  </a:lnTo>
                  <a:lnTo>
                    <a:pt x="225" y="367"/>
                  </a:lnTo>
                  <a:lnTo>
                    <a:pt x="225" y="371"/>
                  </a:lnTo>
                  <a:lnTo>
                    <a:pt x="225" y="371"/>
                  </a:lnTo>
                  <a:lnTo>
                    <a:pt x="225" y="371"/>
                  </a:lnTo>
                  <a:close/>
                  <a:moveTo>
                    <a:pt x="501" y="544"/>
                  </a:moveTo>
                  <a:lnTo>
                    <a:pt x="501" y="532"/>
                  </a:lnTo>
                  <a:lnTo>
                    <a:pt x="510" y="520"/>
                  </a:lnTo>
                  <a:lnTo>
                    <a:pt x="501" y="544"/>
                  </a:lnTo>
                  <a:lnTo>
                    <a:pt x="501" y="544"/>
                  </a:lnTo>
                  <a:lnTo>
                    <a:pt x="501" y="544"/>
                  </a:lnTo>
                  <a:close/>
                  <a:moveTo>
                    <a:pt x="442" y="586"/>
                  </a:moveTo>
                  <a:lnTo>
                    <a:pt x="430" y="615"/>
                  </a:lnTo>
                  <a:lnTo>
                    <a:pt x="442" y="643"/>
                  </a:lnTo>
                  <a:lnTo>
                    <a:pt x="430" y="615"/>
                  </a:lnTo>
                  <a:lnTo>
                    <a:pt x="442" y="586"/>
                  </a:lnTo>
                  <a:lnTo>
                    <a:pt x="442" y="586"/>
                  </a:lnTo>
                  <a:lnTo>
                    <a:pt x="442" y="586"/>
                  </a:lnTo>
                  <a:close/>
                  <a:moveTo>
                    <a:pt x="539" y="598"/>
                  </a:moveTo>
                  <a:lnTo>
                    <a:pt x="548" y="598"/>
                  </a:lnTo>
                  <a:lnTo>
                    <a:pt x="548" y="615"/>
                  </a:lnTo>
                  <a:lnTo>
                    <a:pt x="539" y="610"/>
                  </a:lnTo>
                  <a:lnTo>
                    <a:pt x="539" y="598"/>
                  </a:lnTo>
                  <a:lnTo>
                    <a:pt x="539" y="598"/>
                  </a:lnTo>
                  <a:lnTo>
                    <a:pt x="539" y="598"/>
                  </a:lnTo>
                  <a:close/>
                  <a:moveTo>
                    <a:pt x="463" y="655"/>
                  </a:moveTo>
                  <a:lnTo>
                    <a:pt x="447" y="643"/>
                  </a:lnTo>
                  <a:lnTo>
                    <a:pt x="458" y="643"/>
                  </a:lnTo>
                  <a:lnTo>
                    <a:pt x="463" y="655"/>
                  </a:lnTo>
                  <a:lnTo>
                    <a:pt x="463" y="655"/>
                  </a:lnTo>
                  <a:lnTo>
                    <a:pt x="463" y="655"/>
                  </a:lnTo>
                  <a:close/>
                  <a:moveTo>
                    <a:pt x="825" y="870"/>
                  </a:moveTo>
                  <a:lnTo>
                    <a:pt x="817" y="853"/>
                  </a:lnTo>
                  <a:lnTo>
                    <a:pt x="834" y="853"/>
                  </a:lnTo>
                  <a:lnTo>
                    <a:pt x="834" y="870"/>
                  </a:lnTo>
                  <a:lnTo>
                    <a:pt x="825" y="870"/>
                  </a:lnTo>
                  <a:lnTo>
                    <a:pt x="825" y="870"/>
                  </a:lnTo>
                  <a:lnTo>
                    <a:pt x="825" y="870"/>
                  </a:lnTo>
                  <a:close/>
                  <a:moveTo>
                    <a:pt x="841" y="882"/>
                  </a:moveTo>
                  <a:lnTo>
                    <a:pt x="834" y="882"/>
                  </a:lnTo>
                  <a:lnTo>
                    <a:pt x="841" y="870"/>
                  </a:lnTo>
                  <a:lnTo>
                    <a:pt x="841" y="882"/>
                  </a:lnTo>
                  <a:lnTo>
                    <a:pt x="841" y="882"/>
                  </a:lnTo>
                  <a:lnTo>
                    <a:pt x="841" y="882"/>
                  </a:lnTo>
                  <a:close/>
                  <a:moveTo>
                    <a:pt x="855" y="886"/>
                  </a:moveTo>
                  <a:lnTo>
                    <a:pt x="846" y="886"/>
                  </a:lnTo>
                  <a:lnTo>
                    <a:pt x="855" y="886"/>
                  </a:lnTo>
                  <a:lnTo>
                    <a:pt x="855" y="886"/>
                  </a:lnTo>
                  <a:lnTo>
                    <a:pt x="855" y="886"/>
                  </a:lnTo>
                  <a:lnTo>
                    <a:pt x="855" y="886"/>
                  </a:lnTo>
                  <a:close/>
                  <a:moveTo>
                    <a:pt x="2192" y="964"/>
                  </a:moveTo>
                  <a:lnTo>
                    <a:pt x="2204" y="943"/>
                  </a:lnTo>
                  <a:lnTo>
                    <a:pt x="2209" y="943"/>
                  </a:lnTo>
                  <a:lnTo>
                    <a:pt x="2192" y="964"/>
                  </a:lnTo>
                  <a:lnTo>
                    <a:pt x="2192" y="964"/>
                  </a:lnTo>
                  <a:lnTo>
                    <a:pt x="2192" y="964"/>
                  </a:lnTo>
                  <a:close/>
                  <a:moveTo>
                    <a:pt x="517" y="1075"/>
                  </a:moveTo>
                  <a:lnTo>
                    <a:pt x="510" y="1075"/>
                  </a:lnTo>
                  <a:lnTo>
                    <a:pt x="517" y="1071"/>
                  </a:lnTo>
                  <a:lnTo>
                    <a:pt x="522" y="1075"/>
                  </a:lnTo>
                  <a:lnTo>
                    <a:pt x="517" y="1075"/>
                  </a:lnTo>
                  <a:lnTo>
                    <a:pt x="517" y="1075"/>
                  </a:lnTo>
                  <a:lnTo>
                    <a:pt x="517" y="107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7" name="Freeform 525">
              <a:extLst>
                <a:ext uri="{FF2B5EF4-FFF2-40B4-BE49-F238E27FC236}">
                  <a16:creationId xmlns:a16="http://schemas.microsoft.com/office/drawing/2014/main" id="{C6502FA0-042F-477E-AFBF-1A2704F9F9A3}"/>
                </a:ext>
              </a:extLst>
            </p:cNvPr>
            <p:cNvSpPr>
              <a:spLocks/>
            </p:cNvSpPr>
            <p:nvPr/>
          </p:nvSpPr>
          <p:spPr bwMode="gray">
            <a:xfrm>
              <a:off x="5048680" y="3887613"/>
              <a:ext cx="116914" cy="123515"/>
            </a:xfrm>
            <a:custGeom>
              <a:avLst/>
              <a:gdLst>
                <a:gd name="T0" fmla="*/ 279 w 284"/>
                <a:gd name="T1" fmla="*/ 198 h 300"/>
                <a:gd name="T2" fmla="*/ 267 w 284"/>
                <a:gd name="T3" fmla="*/ 206 h 300"/>
                <a:gd name="T4" fmla="*/ 267 w 284"/>
                <a:gd name="T5" fmla="*/ 227 h 300"/>
                <a:gd name="T6" fmla="*/ 262 w 284"/>
                <a:gd name="T7" fmla="*/ 255 h 300"/>
                <a:gd name="T8" fmla="*/ 246 w 284"/>
                <a:gd name="T9" fmla="*/ 260 h 300"/>
                <a:gd name="T10" fmla="*/ 241 w 284"/>
                <a:gd name="T11" fmla="*/ 260 h 300"/>
                <a:gd name="T12" fmla="*/ 241 w 284"/>
                <a:gd name="T13" fmla="*/ 255 h 300"/>
                <a:gd name="T14" fmla="*/ 225 w 284"/>
                <a:gd name="T15" fmla="*/ 255 h 300"/>
                <a:gd name="T16" fmla="*/ 213 w 284"/>
                <a:gd name="T17" fmla="*/ 243 h 300"/>
                <a:gd name="T18" fmla="*/ 170 w 284"/>
                <a:gd name="T19" fmla="*/ 260 h 300"/>
                <a:gd name="T20" fmla="*/ 144 w 284"/>
                <a:gd name="T21" fmla="*/ 255 h 300"/>
                <a:gd name="T22" fmla="*/ 139 w 284"/>
                <a:gd name="T23" fmla="*/ 267 h 300"/>
                <a:gd name="T24" fmla="*/ 156 w 284"/>
                <a:gd name="T25" fmla="*/ 283 h 300"/>
                <a:gd name="T26" fmla="*/ 156 w 284"/>
                <a:gd name="T27" fmla="*/ 293 h 300"/>
                <a:gd name="T28" fmla="*/ 144 w 284"/>
                <a:gd name="T29" fmla="*/ 300 h 300"/>
                <a:gd name="T30" fmla="*/ 118 w 284"/>
                <a:gd name="T31" fmla="*/ 293 h 300"/>
                <a:gd name="T32" fmla="*/ 102 w 284"/>
                <a:gd name="T33" fmla="*/ 283 h 300"/>
                <a:gd name="T34" fmla="*/ 64 w 284"/>
                <a:gd name="T35" fmla="*/ 227 h 300"/>
                <a:gd name="T36" fmla="*/ 54 w 284"/>
                <a:gd name="T37" fmla="*/ 189 h 300"/>
                <a:gd name="T38" fmla="*/ 33 w 284"/>
                <a:gd name="T39" fmla="*/ 189 h 300"/>
                <a:gd name="T40" fmla="*/ 33 w 284"/>
                <a:gd name="T41" fmla="*/ 182 h 300"/>
                <a:gd name="T42" fmla="*/ 0 w 284"/>
                <a:gd name="T43" fmla="*/ 144 h 300"/>
                <a:gd name="T44" fmla="*/ 0 w 284"/>
                <a:gd name="T45" fmla="*/ 132 h 300"/>
                <a:gd name="T46" fmla="*/ 17 w 284"/>
                <a:gd name="T47" fmla="*/ 94 h 300"/>
                <a:gd name="T48" fmla="*/ 12 w 284"/>
                <a:gd name="T49" fmla="*/ 87 h 300"/>
                <a:gd name="T50" fmla="*/ 33 w 284"/>
                <a:gd name="T51" fmla="*/ 71 h 300"/>
                <a:gd name="T52" fmla="*/ 54 w 284"/>
                <a:gd name="T53" fmla="*/ 71 h 300"/>
                <a:gd name="T54" fmla="*/ 54 w 284"/>
                <a:gd name="T55" fmla="*/ 61 h 300"/>
                <a:gd name="T56" fmla="*/ 64 w 284"/>
                <a:gd name="T57" fmla="*/ 61 h 300"/>
                <a:gd name="T58" fmla="*/ 54 w 284"/>
                <a:gd name="T59" fmla="*/ 43 h 300"/>
                <a:gd name="T60" fmla="*/ 64 w 284"/>
                <a:gd name="T61" fmla="*/ 38 h 300"/>
                <a:gd name="T62" fmla="*/ 64 w 284"/>
                <a:gd name="T63" fmla="*/ 33 h 300"/>
                <a:gd name="T64" fmla="*/ 69 w 284"/>
                <a:gd name="T65" fmla="*/ 5 h 300"/>
                <a:gd name="T66" fmla="*/ 80 w 284"/>
                <a:gd name="T67" fmla="*/ 0 h 300"/>
                <a:gd name="T68" fmla="*/ 144 w 284"/>
                <a:gd name="T69" fmla="*/ 17 h 300"/>
                <a:gd name="T70" fmla="*/ 156 w 284"/>
                <a:gd name="T71" fmla="*/ 17 h 300"/>
                <a:gd name="T72" fmla="*/ 156 w 284"/>
                <a:gd name="T73" fmla="*/ 21 h 300"/>
                <a:gd name="T74" fmla="*/ 156 w 284"/>
                <a:gd name="T75" fmla="*/ 5 h 300"/>
                <a:gd name="T76" fmla="*/ 156 w 284"/>
                <a:gd name="T77" fmla="*/ 0 h 300"/>
                <a:gd name="T78" fmla="*/ 191 w 284"/>
                <a:gd name="T79" fmla="*/ 0 h 300"/>
                <a:gd name="T80" fmla="*/ 208 w 284"/>
                <a:gd name="T81" fmla="*/ 5 h 300"/>
                <a:gd name="T82" fmla="*/ 208 w 284"/>
                <a:gd name="T83" fmla="*/ 17 h 300"/>
                <a:gd name="T84" fmla="*/ 225 w 284"/>
                <a:gd name="T85" fmla="*/ 5 h 300"/>
                <a:gd name="T86" fmla="*/ 208 w 284"/>
                <a:gd name="T87" fmla="*/ 0 h 300"/>
                <a:gd name="T88" fmla="*/ 213 w 284"/>
                <a:gd name="T89" fmla="*/ 0 h 300"/>
                <a:gd name="T90" fmla="*/ 284 w 284"/>
                <a:gd name="T91" fmla="*/ 17 h 300"/>
                <a:gd name="T92" fmla="*/ 284 w 284"/>
                <a:gd name="T93" fmla="*/ 33 h 300"/>
                <a:gd name="T94" fmla="*/ 279 w 284"/>
                <a:gd name="T95" fmla="*/ 43 h 300"/>
                <a:gd name="T96" fmla="*/ 250 w 284"/>
                <a:gd name="T97" fmla="*/ 71 h 300"/>
                <a:gd name="T98" fmla="*/ 250 w 284"/>
                <a:gd name="T99" fmla="*/ 87 h 300"/>
                <a:gd name="T100" fmla="*/ 262 w 284"/>
                <a:gd name="T101" fmla="*/ 144 h 300"/>
                <a:gd name="T102" fmla="*/ 284 w 284"/>
                <a:gd name="T103" fmla="*/ 172 h 300"/>
                <a:gd name="T104" fmla="*/ 279 w 284"/>
                <a:gd name="T105" fmla="*/ 198 h 300"/>
                <a:gd name="T106" fmla="*/ 279 w 284"/>
                <a:gd name="T107" fmla="*/ 198 h 300"/>
                <a:gd name="T108" fmla="*/ 279 w 284"/>
                <a:gd name="T109" fmla="*/ 19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4" h="300">
                  <a:moveTo>
                    <a:pt x="279" y="198"/>
                  </a:moveTo>
                  <a:lnTo>
                    <a:pt x="267" y="206"/>
                  </a:lnTo>
                  <a:lnTo>
                    <a:pt x="267" y="227"/>
                  </a:lnTo>
                  <a:lnTo>
                    <a:pt x="262" y="255"/>
                  </a:lnTo>
                  <a:lnTo>
                    <a:pt x="246" y="260"/>
                  </a:lnTo>
                  <a:lnTo>
                    <a:pt x="241" y="260"/>
                  </a:lnTo>
                  <a:lnTo>
                    <a:pt x="241" y="255"/>
                  </a:lnTo>
                  <a:lnTo>
                    <a:pt x="225" y="255"/>
                  </a:lnTo>
                  <a:lnTo>
                    <a:pt x="213" y="243"/>
                  </a:lnTo>
                  <a:lnTo>
                    <a:pt x="170" y="260"/>
                  </a:lnTo>
                  <a:lnTo>
                    <a:pt x="144" y="255"/>
                  </a:lnTo>
                  <a:lnTo>
                    <a:pt x="139" y="267"/>
                  </a:lnTo>
                  <a:lnTo>
                    <a:pt x="156" y="283"/>
                  </a:lnTo>
                  <a:lnTo>
                    <a:pt x="156" y="293"/>
                  </a:lnTo>
                  <a:lnTo>
                    <a:pt x="144" y="300"/>
                  </a:lnTo>
                  <a:lnTo>
                    <a:pt x="118" y="293"/>
                  </a:lnTo>
                  <a:lnTo>
                    <a:pt x="102" y="283"/>
                  </a:lnTo>
                  <a:lnTo>
                    <a:pt x="64" y="227"/>
                  </a:lnTo>
                  <a:lnTo>
                    <a:pt x="54" y="189"/>
                  </a:lnTo>
                  <a:lnTo>
                    <a:pt x="33" y="189"/>
                  </a:lnTo>
                  <a:lnTo>
                    <a:pt x="33" y="182"/>
                  </a:lnTo>
                  <a:lnTo>
                    <a:pt x="0" y="144"/>
                  </a:lnTo>
                  <a:lnTo>
                    <a:pt x="0" y="132"/>
                  </a:lnTo>
                  <a:lnTo>
                    <a:pt x="17" y="94"/>
                  </a:lnTo>
                  <a:lnTo>
                    <a:pt x="12" y="87"/>
                  </a:lnTo>
                  <a:lnTo>
                    <a:pt x="33" y="71"/>
                  </a:lnTo>
                  <a:lnTo>
                    <a:pt x="54" y="71"/>
                  </a:lnTo>
                  <a:lnTo>
                    <a:pt x="54" y="61"/>
                  </a:lnTo>
                  <a:lnTo>
                    <a:pt x="64" y="61"/>
                  </a:lnTo>
                  <a:lnTo>
                    <a:pt x="54" y="43"/>
                  </a:lnTo>
                  <a:lnTo>
                    <a:pt x="64" y="38"/>
                  </a:lnTo>
                  <a:lnTo>
                    <a:pt x="64" y="33"/>
                  </a:lnTo>
                  <a:lnTo>
                    <a:pt x="69" y="5"/>
                  </a:lnTo>
                  <a:lnTo>
                    <a:pt x="80" y="0"/>
                  </a:lnTo>
                  <a:lnTo>
                    <a:pt x="144" y="17"/>
                  </a:lnTo>
                  <a:lnTo>
                    <a:pt x="156" y="17"/>
                  </a:lnTo>
                  <a:lnTo>
                    <a:pt x="156" y="21"/>
                  </a:lnTo>
                  <a:lnTo>
                    <a:pt x="156" y="5"/>
                  </a:lnTo>
                  <a:lnTo>
                    <a:pt x="156" y="0"/>
                  </a:lnTo>
                  <a:lnTo>
                    <a:pt x="191" y="0"/>
                  </a:lnTo>
                  <a:lnTo>
                    <a:pt x="208" y="5"/>
                  </a:lnTo>
                  <a:lnTo>
                    <a:pt x="208" y="17"/>
                  </a:lnTo>
                  <a:lnTo>
                    <a:pt x="225" y="5"/>
                  </a:lnTo>
                  <a:lnTo>
                    <a:pt x="208" y="0"/>
                  </a:lnTo>
                  <a:lnTo>
                    <a:pt x="213" y="0"/>
                  </a:lnTo>
                  <a:lnTo>
                    <a:pt x="284" y="17"/>
                  </a:lnTo>
                  <a:lnTo>
                    <a:pt x="284" y="33"/>
                  </a:lnTo>
                  <a:lnTo>
                    <a:pt x="279" y="43"/>
                  </a:lnTo>
                  <a:lnTo>
                    <a:pt x="250" y="71"/>
                  </a:lnTo>
                  <a:lnTo>
                    <a:pt x="250" y="87"/>
                  </a:lnTo>
                  <a:lnTo>
                    <a:pt x="262" y="144"/>
                  </a:lnTo>
                  <a:lnTo>
                    <a:pt x="284" y="172"/>
                  </a:lnTo>
                  <a:lnTo>
                    <a:pt x="279" y="198"/>
                  </a:lnTo>
                  <a:lnTo>
                    <a:pt x="279" y="198"/>
                  </a:lnTo>
                  <a:lnTo>
                    <a:pt x="279" y="19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8" name="Freeform 526">
              <a:extLst>
                <a:ext uri="{FF2B5EF4-FFF2-40B4-BE49-F238E27FC236}">
                  <a16:creationId xmlns:a16="http://schemas.microsoft.com/office/drawing/2014/main" id="{FB7D387B-D1D9-489C-ADF8-4D126AB9C64F}"/>
                </a:ext>
              </a:extLst>
            </p:cNvPr>
            <p:cNvSpPr>
              <a:spLocks noEditPoints="1"/>
            </p:cNvSpPr>
            <p:nvPr/>
          </p:nvSpPr>
          <p:spPr bwMode="gray">
            <a:xfrm>
              <a:off x="4728812" y="3697812"/>
              <a:ext cx="27993" cy="9058"/>
            </a:xfrm>
            <a:custGeom>
              <a:avLst/>
              <a:gdLst>
                <a:gd name="T0" fmla="*/ 33 w 68"/>
                <a:gd name="T1" fmla="*/ 22 h 22"/>
                <a:gd name="T2" fmla="*/ 5 w 68"/>
                <a:gd name="T3" fmla="*/ 7 h 22"/>
                <a:gd name="T4" fmla="*/ 0 w 68"/>
                <a:gd name="T5" fmla="*/ 0 h 22"/>
                <a:gd name="T6" fmla="*/ 33 w 68"/>
                <a:gd name="T7" fmla="*/ 22 h 22"/>
                <a:gd name="T8" fmla="*/ 33 w 68"/>
                <a:gd name="T9" fmla="*/ 22 h 22"/>
                <a:gd name="T10" fmla="*/ 33 w 68"/>
                <a:gd name="T11" fmla="*/ 22 h 22"/>
                <a:gd name="T12" fmla="*/ 68 w 68"/>
                <a:gd name="T13" fmla="*/ 22 h 22"/>
                <a:gd name="T14" fmla="*/ 54 w 68"/>
                <a:gd name="T15" fmla="*/ 0 h 22"/>
                <a:gd name="T16" fmla="*/ 68 w 68"/>
                <a:gd name="T17" fmla="*/ 7 h 22"/>
                <a:gd name="T18" fmla="*/ 68 w 68"/>
                <a:gd name="T19" fmla="*/ 22 h 22"/>
                <a:gd name="T20" fmla="*/ 68 w 68"/>
                <a:gd name="T21" fmla="*/ 22 h 22"/>
                <a:gd name="T22" fmla="*/ 68 w 68"/>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22">
                  <a:moveTo>
                    <a:pt x="33" y="22"/>
                  </a:moveTo>
                  <a:lnTo>
                    <a:pt x="5" y="7"/>
                  </a:lnTo>
                  <a:lnTo>
                    <a:pt x="0" y="0"/>
                  </a:lnTo>
                  <a:lnTo>
                    <a:pt x="33" y="22"/>
                  </a:lnTo>
                  <a:lnTo>
                    <a:pt x="33" y="22"/>
                  </a:lnTo>
                  <a:lnTo>
                    <a:pt x="33" y="22"/>
                  </a:lnTo>
                  <a:close/>
                  <a:moveTo>
                    <a:pt x="68" y="22"/>
                  </a:moveTo>
                  <a:lnTo>
                    <a:pt x="54" y="0"/>
                  </a:lnTo>
                  <a:lnTo>
                    <a:pt x="68" y="7"/>
                  </a:lnTo>
                  <a:lnTo>
                    <a:pt x="68" y="22"/>
                  </a:lnTo>
                  <a:lnTo>
                    <a:pt x="68" y="22"/>
                  </a:lnTo>
                  <a:lnTo>
                    <a:pt x="68" y="2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9" name="Freeform 527">
              <a:extLst>
                <a:ext uri="{FF2B5EF4-FFF2-40B4-BE49-F238E27FC236}">
                  <a16:creationId xmlns:a16="http://schemas.microsoft.com/office/drawing/2014/main" id="{5A33AB1A-8F13-433F-A09B-BDE2BF343079}"/>
                </a:ext>
              </a:extLst>
            </p:cNvPr>
            <p:cNvSpPr>
              <a:spLocks/>
            </p:cNvSpPr>
            <p:nvPr/>
          </p:nvSpPr>
          <p:spPr bwMode="gray">
            <a:xfrm>
              <a:off x="4195699" y="3615469"/>
              <a:ext cx="128441" cy="130103"/>
            </a:xfrm>
            <a:custGeom>
              <a:avLst/>
              <a:gdLst>
                <a:gd name="T0" fmla="*/ 22 w 312"/>
                <a:gd name="T1" fmla="*/ 151 h 316"/>
                <a:gd name="T2" fmla="*/ 43 w 312"/>
                <a:gd name="T3" fmla="*/ 151 h 316"/>
                <a:gd name="T4" fmla="*/ 52 w 312"/>
                <a:gd name="T5" fmla="*/ 139 h 316"/>
                <a:gd name="T6" fmla="*/ 69 w 312"/>
                <a:gd name="T7" fmla="*/ 127 h 316"/>
                <a:gd name="T8" fmla="*/ 60 w 312"/>
                <a:gd name="T9" fmla="*/ 94 h 316"/>
                <a:gd name="T10" fmla="*/ 90 w 312"/>
                <a:gd name="T11" fmla="*/ 94 h 316"/>
                <a:gd name="T12" fmla="*/ 114 w 312"/>
                <a:gd name="T13" fmla="*/ 73 h 316"/>
                <a:gd name="T14" fmla="*/ 140 w 312"/>
                <a:gd name="T15" fmla="*/ 89 h 316"/>
                <a:gd name="T16" fmla="*/ 140 w 312"/>
                <a:gd name="T17" fmla="*/ 82 h 316"/>
                <a:gd name="T18" fmla="*/ 178 w 312"/>
                <a:gd name="T19" fmla="*/ 49 h 316"/>
                <a:gd name="T20" fmla="*/ 178 w 312"/>
                <a:gd name="T21" fmla="*/ 49 h 316"/>
                <a:gd name="T22" fmla="*/ 194 w 312"/>
                <a:gd name="T23" fmla="*/ 16 h 316"/>
                <a:gd name="T24" fmla="*/ 220 w 312"/>
                <a:gd name="T25" fmla="*/ 33 h 316"/>
                <a:gd name="T26" fmla="*/ 270 w 312"/>
                <a:gd name="T27" fmla="*/ 16 h 316"/>
                <a:gd name="T28" fmla="*/ 291 w 312"/>
                <a:gd name="T29" fmla="*/ 0 h 316"/>
                <a:gd name="T30" fmla="*/ 312 w 312"/>
                <a:gd name="T31" fmla="*/ 0 h 316"/>
                <a:gd name="T32" fmla="*/ 303 w 312"/>
                <a:gd name="T33" fmla="*/ 16 h 316"/>
                <a:gd name="T34" fmla="*/ 308 w 312"/>
                <a:gd name="T35" fmla="*/ 28 h 316"/>
                <a:gd name="T36" fmla="*/ 312 w 312"/>
                <a:gd name="T37" fmla="*/ 54 h 316"/>
                <a:gd name="T38" fmla="*/ 303 w 312"/>
                <a:gd name="T39" fmla="*/ 82 h 316"/>
                <a:gd name="T40" fmla="*/ 286 w 312"/>
                <a:gd name="T41" fmla="*/ 122 h 316"/>
                <a:gd name="T42" fmla="*/ 291 w 312"/>
                <a:gd name="T43" fmla="*/ 193 h 316"/>
                <a:gd name="T44" fmla="*/ 286 w 312"/>
                <a:gd name="T45" fmla="*/ 193 h 316"/>
                <a:gd name="T46" fmla="*/ 291 w 312"/>
                <a:gd name="T47" fmla="*/ 167 h 316"/>
                <a:gd name="T48" fmla="*/ 286 w 312"/>
                <a:gd name="T49" fmla="*/ 160 h 316"/>
                <a:gd name="T50" fmla="*/ 286 w 312"/>
                <a:gd name="T51" fmla="*/ 177 h 316"/>
                <a:gd name="T52" fmla="*/ 274 w 312"/>
                <a:gd name="T53" fmla="*/ 193 h 316"/>
                <a:gd name="T54" fmla="*/ 274 w 312"/>
                <a:gd name="T55" fmla="*/ 222 h 316"/>
                <a:gd name="T56" fmla="*/ 270 w 312"/>
                <a:gd name="T57" fmla="*/ 233 h 316"/>
                <a:gd name="T58" fmla="*/ 270 w 312"/>
                <a:gd name="T59" fmla="*/ 238 h 316"/>
                <a:gd name="T60" fmla="*/ 274 w 312"/>
                <a:gd name="T61" fmla="*/ 233 h 316"/>
                <a:gd name="T62" fmla="*/ 286 w 312"/>
                <a:gd name="T63" fmla="*/ 255 h 316"/>
                <a:gd name="T64" fmla="*/ 270 w 312"/>
                <a:gd name="T65" fmla="*/ 271 h 316"/>
                <a:gd name="T66" fmla="*/ 270 w 312"/>
                <a:gd name="T67" fmla="*/ 290 h 316"/>
                <a:gd name="T68" fmla="*/ 286 w 312"/>
                <a:gd name="T69" fmla="*/ 307 h 316"/>
                <a:gd name="T70" fmla="*/ 274 w 312"/>
                <a:gd name="T71" fmla="*/ 311 h 316"/>
                <a:gd name="T72" fmla="*/ 258 w 312"/>
                <a:gd name="T73" fmla="*/ 316 h 316"/>
                <a:gd name="T74" fmla="*/ 204 w 312"/>
                <a:gd name="T75" fmla="*/ 295 h 316"/>
                <a:gd name="T76" fmla="*/ 194 w 312"/>
                <a:gd name="T77" fmla="*/ 307 h 316"/>
                <a:gd name="T78" fmla="*/ 145 w 312"/>
                <a:gd name="T79" fmla="*/ 278 h 316"/>
                <a:gd name="T80" fmla="*/ 140 w 312"/>
                <a:gd name="T81" fmla="*/ 295 h 316"/>
                <a:gd name="T82" fmla="*/ 86 w 312"/>
                <a:gd name="T83" fmla="*/ 238 h 316"/>
                <a:gd name="T84" fmla="*/ 60 w 312"/>
                <a:gd name="T85" fmla="*/ 205 h 316"/>
                <a:gd name="T86" fmla="*/ 0 w 312"/>
                <a:gd name="T87" fmla="*/ 160 h 316"/>
                <a:gd name="T88" fmla="*/ 5 w 312"/>
                <a:gd name="T89" fmla="*/ 144 h 316"/>
                <a:gd name="T90" fmla="*/ 22 w 312"/>
                <a:gd name="T91" fmla="*/ 160 h 316"/>
                <a:gd name="T92" fmla="*/ 22 w 312"/>
                <a:gd name="T93" fmla="*/ 160 h 316"/>
                <a:gd name="T94" fmla="*/ 22 w 312"/>
                <a:gd name="T95" fmla="*/ 151 h 316"/>
                <a:gd name="T96" fmla="*/ 22 w 312"/>
                <a:gd name="T97" fmla="*/ 151 h 316"/>
                <a:gd name="T98" fmla="*/ 22 w 312"/>
                <a:gd name="T99" fmla="*/ 15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2" h="316">
                  <a:moveTo>
                    <a:pt x="22" y="151"/>
                  </a:moveTo>
                  <a:lnTo>
                    <a:pt x="43" y="151"/>
                  </a:lnTo>
                  <a:lnTo>
                    <a:pt x="52" y="139"/>
                  </a:lnTo>
                  <a:lnTo>
                    <a:pt x="69" y="127"/>
                  </a:lnTo>
                  <a:lnTo>
                    <a:pt x="60" y="94"/>
                  </a:lnTo>
                  <a:lnTo>
                    <a:pt x="90" y="94"/>
                  </a:lnTo>
                  <a:lnTo>
                    <a:pt x="114" y="73"/>
                  </a:lnTo>
                  <a:lnTo>
                    <a:pt x="140" y="89"/>
                  </a:lnTo>
                  <a:lnTo>
                    <a:pt x="140" y="82"/>
                  </a:lnTo>
                  <a:lnTo>
                    <a:pt x="178" y="49"/>
                  </a:lnTo>
                  <a:lnTo>
                    <a:pt x="178" y="49"/>
                  </a:lnTo>
                  <a:lnTo>
                    <a:pt x="194" y="16"/>
                  </a:lnTo>
                  <a:lnTo>
                    <a:pt x="220" y="33"/>
                  </a:lnTo>
                  <a:lnTo>
                    <a:pt x="270" y="16"/>
                  </a:lnTo>
                  <a:lnTo>
                    <a:pt x="291" y="0"/>
                  </a:lnTo>
                  <a:lnTo>
                    <a:pt x="312" y="0"/>
                  </a:lnTo>
                  <a:lnTo>
                    <a:pt x="303" y="16"/>
                  </a:lnTo>
                  <a:lnTo>
                    <a:pt x="308" y="28"/>
                  </a:lnTo>
                  <a:lnTo>
                    <a:pt x="312" y="54"/>
                  </a:lnTo>
                  <a:lnTo>
                    <a:pt x="303" y="82"/>
                  </a:lnTo>
                  <a:lnTo>
                    <a:pt x="286" y="122"/>
                  </a:lnTo>
                  <a:lnTo>
                    <a:pt x="291" y="193"/>
                  </a:lnTo>
                  <a:lnTo>
                    <a:pt x="286" y="193"/>
                  </a:lnTo>
                  <a:lnTo>
                    <a:pt x="291" y="167"/>
                  </a:lnTo>
                  <a:lnTo>
                    <a:pt x="286" y="160"/>
                  </a:lnTo>
                  <a:lnTo>
                    <a:pt x="286" y="177"/>
                  </a:lnTo>
                  <a:lnTo>
                    <a:pt x="274" y="193"/>
                  </a:lnTo>
                  <a:lnTo>
                    <a:pt x="274" y="222"/>
                  </a:lnTo>
                  <a:lnTo>
                    <a:pt x="270" y="233"/>
                  </a:lnTo>
                  <a:lnTo>
                    <a:pt x="270" y="238"/>
                  </a:lnTo>
                  <a:lnTo>
                    <a:pt x="274" y="233"/>
                  </a:lnTo>
                  <a:lnTo>
                    <a:pt x="286" y="255"/>
                  </a:lnTo>
                  <a:lnTo>
                    <a:pt x="270" y="271"/>
                  </a:lnTo>
                  <a:lnTo>
                    <a:pt x="270" y="290"/>
                  </a:lnTo>
                  <a:lnTo>
                    <a:pt x="286" y="307"/>
                  </a:lnTo>
                  <a:lnTo>
                    <a:pt x="274" y="311"/>
                  </a:lnTo>
                  <a:lnTo>
                    <a:pt x="258" y="316"/>
                  </a:lnTo>
                  <a:lnTo>
                    <a:pt x="204" y="295"/>
                  </a:lnTo>
                  <a:lnTo>
                    <a:pt x="194" y="307"/>
                  </a:lnTo>
                  <a:lnTo>
                    <a:pt x="145" y="278"/>
                  </a:lnTo>
                  <a:lnTo>
                    <a:pt x="140" y="295"/>
                  </a:lnTo>
                  <a:lnTo>
                    <a:pt x="86" y="238"/>
                  </a:lnTo>
                  <a:lnTo>
                    <a:pt x="60" y="205"/>
                  </a:lnTo>
                  <a:lnTo>
                    <a:pt x="0" y="160"/>
                  </a:lnTo>
                  <a:lnTo>
                    <a:pt x="5" y="144"/>
                  </a:lnTo>
                  <a:lnTo>
                    <a:pt x="22" y="160"/>
                  </a:lnTo>
                  <a:lnTo>
                    <a:pt x="22" y="160"/>
                  </a:lnTo>
                  <a:lnTo>
                    <a:pt x="22" y="151"/>
                  </a:lnTo>
                  <a:lnTo>
                    <a:pt x="22" y="151"/>
                  </a:lnTo>
                  <a:lnTo>
                    <a:pt x="22" y="15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0" name="Freeform 529">
              <a:extLst>
                <a:ext uri="{FF2B5EF4-FFF2-40B4-BE49-F238E27FC236}">
                  <a16:creationId xmlns:a16="http://schemas.microsoft.com/office/drawing/2014/main" id="{170CE3E0-50E4-4EB1-BB92-39B128A078A1}"/>
                </a:ext>
              </a:extLst>
            </p:cNvPr>
            <p:cNvSpPr>
              <a:spLocks/>
            </p:cNvSpPr>
            <p:nvPr/>
          </p:nvSpPr>
          <p:spPr bwMode="gray">
            <a:xfrm>
              <a:off x="4914476" y="4643111"/>
              <a:ext cx="244943" cy="261852"/>
            </a:xfrm>
            <a:custGeom>
              <a:avLst/>
              <a:gdLst>
                <a:gd name="T0" fmla="*/ 343 w 595"/>
                <a:gd name="T1" fmla="*/ 449 h 636"/>
                <a:gd name="T2" fmla="*/ 189 w 595"/>
                <a:gd name="T3" fmla="*/ 359 h 636"/>
                <a:gd name="T4" fmla="*/ 118 w 595"/>
                <a:gd name="T5" fmla="*/ 343 h 636"/>
                <a:gd name="T6" fmla="*/ 50 w 595"/>
                <a:gd name="T7" fmla="*/ 289 h 636"/>
                <a:gd name="T8" fmla="*/ 0 w 595"/>
                <a:gd name="T9" fmla="*/ 227 h 636"/>
                <a:gd name="T10" fmla="*/ 33 w 595"/>
                <a:gd name="T11" fmla="*/ 100 h 636"/>
                <a:gd name="T12" fmla="*/ 71 w 595"/>
                <a:gd name="T13" fmla="*/ 29 h 636"/>
                <a:gd name="T14" fmla="*/ 255 w 595"/>
                <a:gd name="T15" fmla="*/ 12 h 636"/>
                <a:gd name="T16" fmla="*/ 319 w 595"/>
                <a:gd name="T17" fmla="*/ 67 h 636"/>
                <a:gd name="T18" fmla="*/ 343 w 595"/>
                <a:gd name="T19" fmla="*/ 161 h 636"/>
                <a:gd name="T20" fmla="*/ 336 w 595"/>
                <a:gd name="T21" fmla="*/ 215 h 636"/>
                <a:gd name="T22" fmla="*/ 428 w 595"/>
                <a:gd name="T23" fmla="*/ 227 h 636"/>
                <a:gd name="T24" fmla="*/ 461 w 595"/>
                <a:gd name="T25" fmla="*/ 227 h 636"/>
                <a:gd name="T26" fmla="*/ 499 w 595"/>
                <a:gd name="T27" fmla="*/ 255 h 636"/>
                <a:gd name="T28" fmla="*/ 515 w 595"/>
                <a:gd name="T29" fmla="*/ 359 h 636"/>
                <a:gd name="T30" fmla="*/ 569 w 595"/>
                <a:gd name="T31" fmla="*/ 343 h 636"/>
                <a:gd name="T32" fmla="*/ 591 w 595"/>
                <a:gd name="T33" fmla="*/ 364 h 636"/>
                <a:gd name="T34" fmla="*/ 581 w 595"/>
                <a:gd name="T35" fmla="*/ 437 h 636"/>
                <a:gd name="T36" fmla="*/ 569 w 595"/>
                <a:gd name="T37" fmla="*/ 470 h 636"/>
                <a:gd name="T38" fmla="*/ 569 w 595"/>
                <a:gd name="T39" fmla="*/ 548 h 636"/>
                <a:gd name="T40" fmla="*/ 515 w 595"/>
                <a:gd name="T41" fmla="*/ 586 h 636"/>
                <a:gd name="T42" fmla="*/ 503 w 595"/>
                <a:gd name="T43" fmla="*/ 615 h 636"/>
                <a:gd name="T44" fmla="*/ 482 w 595"/>
                <a:gd name="T45" fmla="*/ 615 h 636"/>
                <a:gd name="T46" fmla="*/ 444 w 595"/>
                <a:gd name="T47" fmla="*/ 636 h 636"/>
                <a:gd name="T48" fmla="*/ 418 w 595"/>
                <a:gd name="T49" fmla="*/ 624 h 636"/>
                <a:gd name="T50" fmla="*/ 397 w 595"/>
                <a:gd name="T51" fmla="*/ 624 h 636"/>
                <a:gd name="T52" fmla="*/ 288 w 595"/>
                <a:gd name="T53" fmla="*/ 615 h 636"/>
                <a:gd name="T54" fmla="*/ 319 w 595"/>
                <a:gd name="T55" fmla="*/ 565 h 636"/>
                <a:gd name="T56" fmla="*/ 343 w 595"/>
                <a:gd name="T57" fmla="*/ 508 h 636"/>
                <a:gd name="T58" fmla="*/ 343 w 595"/>
                <a:gd name="T59" fmla="*/ 492 h 636"/>
                <a:gd name="T60" fmla="*/ 364 w 595"/>
                <a:gd name="T61" fmla="*/ 470 h 636"/>
                <a:gd name="T62" fmla="*/ 357 w 595"/>
                <a:gd name="T63" fmla="*/ 45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5" h="636">
                  <a:moveTo>
                    <a:pt x="357" y="459"/>
                  </a:moveTo>
                  <a:lnTo>
                    <a:pt x="343" y="449"/>
                  </a:lnTo>
                  <a:lnTo>
                    <a:pt x="272" y="421"/>
                  </a:lnTo>
                  <a:lnTo>
                    <a:pt x="189" y="359"/>
                  </a:lnTo>
                  <a:lnTo>
                    <a:pt x="173" y="359"/>
                  </a:lnTo>
                  <a:lnTo>
                    <a:pt x="118" y="343"/>
                  </a:lnTo>
                  <a:lnTo>
                    <a:pt x="109" y="326"/>
                  </a:lnTo>
                  <a:lnTo>
                    <a:pt x="50" y="289"/>
                  </a:lnTo>
                  <a:lnTo>
                    <a:pt x="33" y="248"/>
                  </a:lnTo>
                  <a:lnTo>
                    <a:pt x="0" y="227"/>
                  </a:lnTo>
                  <a:lnTo>
                    <a:pt x="33" y="140"/>
                  </a:lnTo>
                  <a:lnTo>
                    <a:pt x="33" y="100"/>
                  </a:lnTo>
                  <a:lnTo>
                    <a:pt x="54" y="67"/>
                  </a:lnTo>
                  <a:lnTo>
                    <a:pt x="71" y="29"/>
                  </a:lnTo>
                  <a:lnTo>
                    <a:pt x="189" y="0"/>
                  </a:lnTo>
                  <a:lnTo>
                    <a:pt x="255" y="12"/>
                  </a:lnTo>
                  <a:lnTo>
                    <a:pt x="319" y="45"/>
                  </a:lnTo>
                  <a:lnTo>
                    <a:pt x="319" y="67"/>
                  </a:lnTo>
                  <a:lnTo>
                    <a:pt x="343" y="128"/>
                  </a:lnTo>
                  <a:lnTo>
                    <a:pt x="343" y="161"/>
                  </a:lnTo>
                  <a:lnTo>
                    <a:pt x="336" y="173"/>
                  </a:lnTo>
                  <a:lnTo>
                    <a:pt x="336" y="215"/>
                  </a:lnTo>
                  <a:lnTo>
                    <a:pt x="411" y="227"/>
                  </a:lnTo>
                  <a:lnTo>
                    <a:pt x="428" y="227"/>
                  </a:lnTo>
                  <a:lnTo>
                    <a:pt x="444" y="211"/>
                  </a:lnTo>
                  <a:lnTo>
                    <a:pt x="461" y="227"/>
                  </a:lnTo>
                  <a:lnTo>
                    <a:pt x="482" y="232"/>
                  </a:lnTo>
                  <a:lnTo>
                    <a:pt x="499" y="255"/>
                  </a:lnTo>
                  <a:lnTo>
                    <a:pt x="499" y="272"/>
                  </a:lnTo>
                  <a:lnTo>
                    <a:pt x="515" y="359"/>
                  </a:lnTo>
                  <a:lnTo>
                    <a:pt x="541" y="359"/>
                  </a:lnTo>
                  <a:lnTo>
                    <a:pt x="569" y="343"/>
                  </a:lnTo>
                  <a:lnTo>
                    <a:pt x="595" y="364"/>
                  </a:lnTo>
                  <a:lnTo>
                    <a:pt x="591" y="364"/>
                  </a:lnTo>
                  <a:lnTo>
                    <a:pt x="595" y="381"/>
                  </a:lnTo>
                  <a:lnTo>
                    <a:pt x="581" y="437"/>
                  </a:lnTo>
                  <a:lnTo>
                    <a:pt x="581" y="449"/>
                  </a:lnTo>
                  <a:lnTo>
                    <a:pt x="569" y="470"/>
                  </a:lnTo>
                  <a:lnTo>
                    <a:pt x="574" y="475"/>
                  </a:lnTo>
                  <a:lnTo>
                    <a:pt x="569" y="548"/>
                  </a:lnTo>
                  <a:lnTo>
                    <a:pt x="541" y="570"/>
                  </a:lnTo>
                  <a:lnTo>
                    <a:pt x="515" y="586"/>
                  </a:lnTo>
                  <a:lnTo>
                    <a:pt x="503" y="598"/>
                  </a:lnTo>
                  <a:lnTo>
                    <a:pt x="503" y="615"/>
                  </a:lnTo>
                  <a:lnTo>
                    <a:pt x="489" y="619"/>
                  </a:lnTo>
                  <a:lnTo>
                    <a:pt x="482" y="615"/>
                  </a:lnTo>
                  <a:lnTo>
                    <a:pt x="465" y="615"/>
                  </a:lnTo>
                  <a:lnTo>
                    <a:pt x="444" y="636"/>
                  </a:lnTo>
                  <a:lnTo>
                    <a:pt x="435" y="624"/>
                  </a:lnTo>
                  <a:lnTo>
                    <a:pt x="418" y="624"/>
                  </a:lnTo>
                  <a:lnTo>
                    <a:pt x="411" y="619"/>
                  </a:lnTo>
                  <a:lnTo>
                    <a:pt x="397" y="624"/>
                  </a:lnTo>
                  <a:lnTo>
                    <a:pt x="352" y="615"/>
                  </a:lnTo>
                  <a:lnTo>
                    <a:pt x="288" y="615"/>
                  </a:lnTo>
                  <a:lnTo>
                    <a:pt x="288" y="603"/>
                  </a:lnTo>
                  <a:lnTo>
                    <a:pt x="319" y="565"/>
                  </a:lnTo>
                  <a:lnTo>
                    <a:pt x="319" y="525"/>
                  </a:lnTo>
                  <a:lnTo>
                    <a:pt x="343" y="508"/>
                  </a:lnTo>
                  <a:lnTo>
                    <a:pt x="343" y="508"/>
                  </a:lnTo>
                  <a:lnTo>
                    <a:pt x="343" y="492"/>
                  </a:lnTo>
                  <a:lnTo>
                    <a:pt x="364" y="475"/>
                  </a:lnTo>
                  <a:lnTo>
                    <a:pt x="364" y="470"/>
                  </a:lnTo>
                  <a:lnTo>
                    <a:pt x="357" y="459"/>
                  </a:lnTo>
                  <a:lnTo>
                    <a:pt x="357" y="459"/>
                  </a:lnTo>
                  <a:lnTo>
                    <a:pt x="357" y="45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1" name="Freeform 530">
              <a:extLst>
                <a:ext uri="{FF2B5EF4-FFF2-40B4-BE49-F238E27FC236}">
                  <a16:creationId xmlns:a16="http://schemas.microsoft.com/office/drawing/2014/main" id="{AB17606D-1A77-4723-A79B-2EC1BFC7136E}"/>
                </a:ext>
              </a:extLst>
            </p:cNvPr>
            <p:cNvSpPr>
              <a:spLocks/>
            </p:cNvSpPr>
            <p:nvPr/>
          </p:nvSpPr>
          <p:spPr bwMode="gray">
            <a:xfrm>
              <a:off x="4375599" y="4067532"/>
              <a:ext cx="367621" cy="547583"/>
            </a:xfrm>
            <a:custGeom>
              <a:avLst/>
              <a:gdLst>
                <a:gd name="T0" fmla="*/ 872 w 893"/>
                <a:gd name="T1" fmla="*/ 926 h 1330"/>
                <a:gd name="T2" fmla="*/ 877 w 893"/>
                <a:gd name="T3" fmla="*/ 1025 h 1330"/>
                <a:gd name="T4" fmla="*/ 839 w 893"/>
                <a:gd name="T5" fmla="*/ 1063 h 1330"/>
                <a:gd name="T6" fmla="*/ 844 w 893"/>
                <a:gd name="T7" fmla="*/ 1108 h 1330"/>
                <a:gd name="T8" fmla="*/ 872 w 893"/>
                <a:gd name="T9" fmla="*/ 1169 h 1330"/>
                <a:gd name="T10" fmla="*/ 872 w 893"/>
                <a:gd name="T11" fmla="*/ 1202 h 1330"/>
                <a:gd name="T12" fmla="*/ 834 w 893"/>
                <a:gd name="T13" fmla="*/ 1259 h 1330"/>
                <a:gd name="T14" fmla="*/ 806 w 893"/>
                <a:gd name="T15" fmla="*/ 1280 h 1330"/>
                <a:gd name="T16" fmla="*/ 768 w 893"/>
                <a:gd name="T17" fmla="*/ 1330 h 1330"/>
                <a:gd name="T18" fmla="*/ 671 w 893"/>
                <a:gd name="T19" fmla="*/ 1242 h 1330"/>
                <a:gd name="T20" fmla="*/ 515 w 893"/>
                <a:gd name="T21" fmla="*/ 1153 h 1330"/>
                <a:gd name="T22" fmla="*/ 388 w 893"/>
                <a:gd name="T23" fmla="*/ 1058 h 1330"/>
                <a:gd name="T24" fmla="*/ 350 w 893"/>
                <a:gd name="T25" fmla="*/ 1004 h 1330"/>
                <a:gd name="T26" fmla="*/ 360 w 893"/>
                <a:gd name="T27" fmla="*/ 964 h 1330"/>
                <a:gd name="T28" fmla="*/ 300 w 893"/>
                <a:gd name="T29" fmla="*/ 869 h 1330"/>
                <a:gd name="T30" fmla="*/ 263 w 893"/>
                <a:gd name="T31" fmla="*/ 782 h 1330"/>
                <a:gd name="T32" fmla="*/ 194 w 893"/>
                <a:gd name="T33" fmla="*/ 647 h 1330"/>
                <a:gd name="T34" fmla="*/ 145 w 893"/>
                <a:gd name="T35" fmla="*/ 565 h 1330"/>
                <a:gd name="T36" fmla="*/ 17 w 893"/>
                <a:gd name="T37" fmla="*/ 432 h 1330"/>
                <a:gd name="T38" fmla="*/ 38 w 893"/>
                <a:gd name="T39" fmla="*/ 399 h 1330"/>
                <a:gd name="T40" fmla="*/ 26 w 893"/>
                <a:gd name="T41" fmla="*/ 354 h 1330"/>
                <a:gd name="T42" fmla="*/ 38 w 893"/>
                <a:gd name="T43" fmla="*/ 267 h 1330"/>
                <a:gd name="T44" fmla="*/ 86 w 893"/>
                <a:gd name="T45" fmla="*/ 276 h 1330"/>
                <a:gd name="T46" fmla="*/ 64 w 893"/>
                <a:gd name="T47" fmla="*/ 300 h 1330"/>
                <a:gd name="T48" fmla="*/ 69 w 893"/>
                <a:gd name="T49" fmla="*/ 317 h 1330"/>
                <a:gd name="T50" fmla="*/ 123 w 893"/>
                <a:gd name="T51" fmla="*/ 317 h 1330"/>
                <a:gd name="T52" fmla="*/ 178 w 893"/>
                <a:gd name="T53" fmla="*/ 333 h 1330"/>
                <a:gd name="T54" fmla="*/ 211 w 893"/>
                <a:gd name="T55" fmla="*/ 267 h 1330"/>
                <a:gd name="T56" fmla="*/ 225 w 893"/>
                <a:gd name="T57" fmla="*/ 234 h 1330"/>
                <a:gd name="T58" fmla="*/ 371 w 893"/>
                <a:gd name="T59" fmla="*/ 149 h 1330"/>
                <a:gd name="T60" fmla="*/ 430 w 893"/>
                <a:gd name="T61" fmla="*/ 61 h 1330"/>
                <a:gd name="T62" fmla="*/ 404 w 893"/>
                <a:gd name="T63" fmla="*/ 5 h 1330"/>
                <a:gd name="T64" fmla="*/ 456 w 893"/>
                <a:gd name="T65" fmla="*/ 12 h 1330"/>
                <a:gd name="T66" fmla="*/ 494 w 893"/>
                <a:gd name="T67" fmla="*/ 38 h 1330"/>
                <a:gd name="T68" fmla="*/ 553 w 893"/>
                <a:gd name="T69" fmla="*/ 111 h 1330"/>
                <a:gd name="T70" fmla="*/ 574 w 893"/>
                <a:gd name="T71" fmla="*/ 123 h 1330"/>
                <a:gd name="T72" fmla="*/ 574 w 893"/>
                <a:gd name="T73" fmla="*/ 165 h 1330"/>
                <a:gd name="T74" fmla="*/ 619 w 893"/>
                <a:gd name="T75" fmla="*/ 165 h 1330"/>
                <a:gd name="T76" fmla="*/ 678 w 893"/>
                <a:gd name="T77" fmla="*/ 149 h 1330"/>
                <a:gd name="T78" fmla="*/ 737 w 893"/>
                <a:gd name="T79" fmla="*/ 156 h 1330"/>
                <a:gd name="T80" fmla="*/ 789 w 893"/>
                <a:gd name="T81" fmla="*/ 194 h 1330"/>
                <a:gd name="T82" fmla="*/ 780 w 893"/>
                <a:gd name="T83" fmla="*/ 267 h 1330"/>
                <a:gd name="T84" fmla="*/ 785 w 893"/>
                <a:gd name="T85" fmla="*/ 305 h 1330"/>
                <a:gd name="T86" fmla="*/ 730 w 893"/>
                <a:gd name="T87" fmla="*/ 305 h 1330"/>
                <a:gd name="T88" fmla="*/ 603 w 893"/>
                <a:gd name="T89" fmla="*/ 359 h 1330"/>
                <a:gd name="T90" fmla="*/ 574 w 893"/>
                <a:gd name="T91" fmla="*/ 454 h 1330"/>
                <a:gd name="T92" fmla="*/ 537 w 893"/>
                <a:gd name="T93" fmla="*/ 522 h 1330"/>
                <a:gd name="T94" fmla="*/ 537 w 893"/>
                <a:gd name="T95" fmla="*/ 555 h 1330"/>
                <a:gd name="T96" fmla="*/ 553 w 893"/>
                <a:gd name="T97" fmla="*/ 598 h 1330"/>
                <a:gd name="T98" fmla="*/ 570 w 893"/>
                <a:gd name="T99" fmla="*/ 671 h 1330"/>
                <a:gd name="T100" fmla="*/ 709 w 893"/>
                <a:gd name="T101" fmla="*/ 720 h 1330"/>
                <a:gd name="T102" fmla="*/ 754 w 893"/>
                <a:gd name="T103" fmla="*/ 787 h 1330"/>
                <a:gd name="T104" fmla="*/ 801 w 893"/>
                <a:gd name="T105" fmla="*/ 782 h 1330"/>
                <a:gd name="T106" fmla="*/ 834 w 893"/>
                <a:gd name="T107" fmla="*/ 787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3" h="1330">
                  <a:moveTo>
                    <a:pt x="834" y="787"/>
                  </a:moveTo>
                  <a:lnTo>
                    <a:pt x="893" y="898"/>
                  </a:lnTo>
                  <a:lnTo>
                    <a:pt x="872" y="926"/>
                  </a:lnTo>
                  <a:lnTo>
                    <a:pt x="872" y="971"/>
                  </a:lnTo>
                  <a:lnTo>
                    <a:pt x="860" y="987"/>
                  </a:lnTo>
                  <a:lnTo>
                    <a:pt x="877" y="1025"/>
                  </a:lnTo>
                  <a:lnTo>
                    <a:pt x="872" y="1025"/>
                  </a:lnTo>
                  <a:lnTo>
                    <a:pt x="872" y="1037"/>
                  </a:lnTo>
                  <a:lnTo>
                    <a:pt x="839" y="1063"/>
                  </a:lnTo>
                  <a:lnTo>
                    <a:pt x="839" y="1082"/>
                  </a:lnTo>
                  <a:lnTo>
                    <a:pt x="856" y="1098"/>
                  </a:lnTo>
                  <a:lnTo>
                    <a:pt x="844" y="1108"/>
                  </a:lnTo>
                  <a:lnTo>
                    <a:pt x="839" y="1131"/>
                  </a:lnTo>
                  <a:lnTo>
                    <a:pt x="856" y="1169"/>
                  </a:lnTo>
                  <a:lnTo>
                    <a:pt x="872" y="1169"/>
                  </a:lnTo>
                  <a:lnTo>
                    <a:pt x="877" y="1174"/>
                  </a:lnTo>
                  <a:lnTo>
                    <a:pt x="860" y="1191"/>
                  </a:lnTo>
                  <a:lnTo>
                    <a:pt x="872" y="1202"/>
                  </a:lnTo>
                  <a:lnTo>
                    <a:pt x="823" y="1247"/>
                  </a:lnTo>
                  <a:lnTo>
                    <a:pt x="823" y="1247"/>
                  </a:lnTo>
                  <a:lnTo>
                    <a:pt x="834" y="1259"/>
                  </a:lnTo>
                  <a:lnTo>
                    <a:pt x="834" y="1264"/>
                  </a:lnTo>
                  <a:lnTo>
                    <a:pt x="823" y="1280"/>
                  </a:lnTo>
                  <a:lnTo>
                    <a:pt x="806" y="1280"/>
                  </a:lnTo>
                  <a:lnTo>
                    <a:pt x="818" y="1302"/>
                  </a:lnTo>
                  <a:lnTo>
                    <a:pt x="801" y="1318"/>
                  </a:lnTo>
                  <a:lnTo>
                    <a:pt x="768" y="1330"/>
                  </a:lnTo>
                  <a:lnTo>
                    <a:pt x="709" y="1280"/>
                  </a:lnTo>
                  <a:lnTo>
                    <a:pt x="693" y="1247"/>
                  </a:lnTo>
                  <a:lnTo>
                    <a:pt x="671" y="1242"/>
                  </a:lnTo>
                  <a:lnTo>
                    <a:pt x="624" y="1207"/>
                  </a:lnTo>
                  <a:lnTo>
                    <a:pt x="532" y="1169"/>
                  </a:lnTo>
                  <a:lnTo>
                    <a:pt x="515" y="1153"/>
                  </a:lnTo>
                  <a:lnTo>
                    <a:pt x="447" y="1115"/>
                  </a:lnTo>
                  <a:lnTo>
                    <a:pt x="409" y="1075"/>
                  </a:lnTo>
                  <a:lnTo>
                    <a:pt x="388" y="1058"/>
                  </a:lnTo>
                  <a:lnTo>
                    <a:pt x="360" y="1020"/>
                  </a:lnTo>
                  <a:lnTo>
                    <a:pt x="355" y="1004"/>
                  </a:lnTo>
                  <a:lnTo>
                    <a:pt x="350" y="1004"/>
                  </a:lnTo>
                  <a:lnTo>
                    <a:pt x="355" y="997"/>
                  </a:lnTo>
                  <a:lnTo>
                    <a:pt x="360" y="997"/>
                  </a:lnTo>
                  <a:lnTo>
                    <a:pt x="360" y="964"/>
                  </a:lnTo>
                  <a:lnTo>
                    <a:pt x="350" y="942"/>
                  </a:lnTo>
                  <a:lnTo>
                    <a:pt x="322" y="893"/>
                  </a:lnTo>
                  <a:lnTo>
                    <a:pt x="300" y="869"/>
                  </a:lnTo>
                  <a:lnTo>
                    <a:pt x="296" y="836"/>
                  </a:lnTo>
                  <a:lnTo>
                    <a:pt x="263" y="815"/>
                  </a:lnTo>
                  <a:lnTo>
                    <a:pt x="263" y="782"/>
                  </a:lnTo>
                  <a:lnTo>
                    <a:pt x="232" y="742"/>
                  </a:lnTo>
                  <a:lnTo>
                    <a:pt x="199" y="654"/>
                  </a:lnTo>
                  <a:lnTo>
                    <a:pt x="194" y="647"/>
                  </a:lnTo>
                  <a:lnTo>
                    <a:pt x="189" y="614"/>
                  </a:lnTo>
                  <a:lnTo>
                    <a:pt x="173" y="593"/>
                  </a:lnTo>
                  <a:lnTo>
                    <a:pt x="145" y="565"/>
                  </a:lnTo>
                  <a:lnTo>
                    <a:pt x="119" y="503"/>
                  </a:lnTo>
                  <a:lnTo>
                    <a:pt x="102" y="482"/>
                  </a:lnTo>
                  <a:lnTo>
                    <a:pt x="17" y="432"/>
                  </a:lnTo>
                  <a:lnTo>
                    <a:pt x="17" y="416"/>
                  </a:lnTo>
                  <a:lnTo>
                    <a:pt x="31" y="416"/>
                  </a:lnTo>
                  <a:lnTo>
                    <a:pt x="38" y="399"/>
                  </a:lnTo>
                  <a:lnTo>
                    <a:pt x="31" y="387"/>
                  </a:lnTo>
                  <a:lnTo>
                    <a:pt x="17" y="371"/>
                  </a:lnTo>
                  <a:lnTo>
                    <a:pt x="26" y="354"/>
                  </a:lnTo>
                  <a:lnTo>
                    <a:pt x="0" y="333"/>
                  </a:lnTo>
                  <a:lnTo>
                    <a:pt x="10" y="305"/>
                  </a:lnTo>
                  <a:lnTo>
                    <a:pt x="38" y="267"/>
                  </a:lnTo>
                  <a:lnTo>
                    <a:pt x="81" y="234"/>
                  </a:lnTo>
                  <a:lnTo>
                    <a:pt x="81" y="243"/>
                  </a:lnTo>
                  <a:lnTo>
                    <a:pt x="86" y="276"/>
                  </a:lnTo>
                  <a:lnTo>
                    <a:pt x="81" y="283"/>
                  </a:lnTo>
                  <a:lnTo>
                    <a:pt x="64" y="283"/>
                  </a:lnTo>
                  <a:lnTo>
                    <a:pt x="64" y="300"/>
                  </a:lnTo>
                  <a:lnTo>
                    <a:pt x="81" y="300"/>
                  </a:lnTo>
                  <a:lnTo>
                    <a:pt x="64" y="317"/>
                  </a:lnTo>
                  <a:lnTo>
                    <a:pt x="69" y="317"/>
                  </a:lnTo>
                  <a:lnTo>
                    <a:pt x="86" y="305"/>
                  </a:lnTo>
                  <a:lnTo>
                    <a:pt x="107" y="317"/>
                  </a:lnTo>
                  <a:lnTo>
                    <a:pt x="123" y="317"/>
                  </a:lnTo>
                  <a:lnTo>
                    <a:pt x="145" y="354"/>
                  </a:lnTo>
                  <a:lnTo>
                    <a:pt x="161" y="354"/>
                  </a:lnTo>
                  <a:lnTo>
                    <a:pt x="178" y="333"/>
                  </a:lnTo>
                  <a:lnTo>
                    <a:pt x="194" y="321"/>
                  </a:lnTo>
                  <a:lnTo>
                    <a:pt x="194" y="305"/>
                  </a:lnTo>
                  <a:lnTo>
                    <a:pt x="211" y="267"/>
                  </a:lnTo>
                  <a:lnTo>
                    <a:pt x="215" y="243"/>
                  </a:lnTo>
                  <a:lnTo>
                    <a:pt x="225" y="250"/>
                  </a:lnTo>
                  <a:lnTo>
                    <a:pt x="225" y="234"/>
                  </a:lnTo>
                  <a:lnTo>
                    <a:pt x="249" y="210"/>
                  </a:lnTo>
                  <a:lnTo>
                    <a:pt x="334" y="177"/>
                  </a:lnTo>
                  <a:lnTo>
                    <a:pt x="371" y="149"/>
                  </a:lnTo>
                  <a:lnTo>
                    <a:pt x="409" y="111"/>
                  </a:lnTo>
                  <a:lnTo>
                    <a:pt x="426" y="61"/>
                  </a:lnTo>
                  <a:lnTo>
                    <a:pt x="430" y="61"/>
                  </a:lnTo>
                  <a:lnTo>
                    <a:pt x="430" y="45"/>
                  </a:lnTo>
                  <a:lnTo>
                    <a:pt x="430" y="38"/>
                  </a:lnTo>
                  <a:lnTo>
                    <a:pt x="404" y="5"/>
                  </a:lnTo>
                  <a:lnTo>
                    <a:pt x="430" y="5"/>
                  </a:lnTo>
                  <a:lnTo>
                    <a:pt x="430" y="0"/>
                  </a:lnTo>
                  <a:lnTo>
                    <a:pt x="456" y="12"/>
                  </a:lnTo>
                  <a:lnTo>
                    <a:pt x="463" y="5"/>
                  </a:lnTo>
                  <a:lnTo>
                    <a:pt x="468" y="21"/>
                  </a:lnTo>
                  <a:lnTo>
                    <a:pt x="494" y="38"/>
                  </a:lnTo>
                  <a:lnTo>
                    <a:pt x="501" y="66"/>
                  </a:lnTo>
                  <a:lnTo>
                    <a:pt x="548" y="94"/>
                  </a:lnTo>
                  <a:lnTo>
                    <a:pt x="553" y="111"/>
                  </a:lnTo>
                  <a:lnTo>
                    <a:pt x="553" y="116"/>
                  </a:lnTo>
                  <a:lnTo>
                    <a:pt x="570" y="132"/>
                  </a:lnTo>
                  <a:lnTo>
                    <a:pt x="574" y="123"/>
                  </a:lnTo>
                  <a:lnTo>
                    <a:pt x="574" y="123"/>
                  </a:lnTo>
                  <a:lnTo>
                    <a:pt x="586" y="149"/>
                  </a:lnTo>
                  <a:lnTo>
                    <a:pt x="574" y="165"/>
                  </a:lnTo>
                  <a:lnTo>
                    <a:pt x="591" y="165"/>
                  </a:lnTo>
                  <a:lnTo>
                    <a:pt x="591" y="172"/>
                  </a:lnTo>
                  <a:lnTo>
                    <a:pt x="619" y="165"/>
                  </a:lnTo>
                  <a:lnTo>
                    <a:pt x="641" y="172"/>
                  </a:lnTo>
                  <a:lnTo>
                    <a:pt x="662" y="165"/>
                  </a:lnTo>
                  <a:lnTo>
                    <a:pt x="678" y="149"/>
                  </a:lnTo>
                  <a:lnTo>
                    <a:pt x="678" y="156"/>
                  </a:lnTo>
                  <a:lnTo>
                    <a:pt x="700" y="165"/>
                  </a:lnTo>
                  <a:lnTo>
                    <a:pt x="737" y="156"/>
                  </a:lnTo>
                  <a:lnTo>
                    <a:pt x="754" y="172"/>
                  </a:lnTo>
                  <a:lnTo>
                    <a:pt x="780" y="172"/>
                  </a:lnTo>
                  <a:lnTo>
                    <a:pt x="789" y="194"/>
                  </a:lnTo>
                  <a:lnTo>
                    <a:pt x="747" y="267"/>
                  </a:lnTo>
                  <a:lnTo>
                    <a:pt x="763" y="276"/>
                  </a:lnTo>
                  <a:lnTo>
                    <a:pt x="780" y="267"/>
                  </a:lnTo>
                  <a:lnTo>
                    <a:pt x="801" y="300"/>
                  </a:lnTo>
                  <a:lnTo>
                    <a:pt x="789" y="305"/>
                  </a:lnTo>
                  <a:lnTo>
                    <a:pt x="785" y="305"/>
                  </a:lnTo>
                  <a:lnTo>
                    <a:pt x="780" y="288"/>
                  </a:lnTo>
                  <a:lnTo>
                    <a:pt x="747" y="288"/>
                  </a:lnTo>
                  <a:lnTo>
                    <a:pt x="730" y="305"/>
                  </a:lnTo>
                  <a:lnTo>
                    <a:pt x="716" y="305"/>
                  </a:lnTo>
                  <a:lnTo>
                    <a:pt x="662" y="321"/>
                  </a:lnTo>
                  <a:lnTo>
                    <a:pt x="603" y="359"/>
                  </a:lnTo>
                  <a:lnTo>
                    <a:pt x="591" y="399"/>
                  </a:lnTo>
                  <a:lnTo>
                    <a:pt x="570" y="432"/>
                  </a:lnTo>
                  <a:lnTo>
                    <a:pt x="574" y="454"/>
                  </a:lnTo>
                  <a:lnTo>
                    <a:pt x="537" y="487"/>
                  </a:lnTo>
                  <a:lnTo>
                    <a:pt x="532" y="503"/>
                  </a:lnTo>
                  <a:lnTo>
                    <a:pt x="537" y="522"/>
                  </a:lnTo>
                  <a:lnTo>
                    <a:pt x="523" y="527"/>
                  </a:lnTo>
                  <a:lnTo>
                    <a:pt x="515" y="539"/>
                  </a:lnTo>
                  <a:lnTo>
                    <a:pt x="537" y="555"/>
                  </a:lnTo>
                  <a:lnTo>
                    <a:pt x="532" y="565"/>
                  </a:lnTo>
                  <a:lnTo>
                    <a:pt x="548" y="576"/>
                  </a:lnTo>
                  <a:lnTo>
                    <a:pt x="553" y="598"/>
                  </a:lnTo>
                  <a:lnTo>
                    <a:pt x="591" y="638"/>
                  </a:lnTo>
                  <a:lnTo>
                    <a:pt x="591" y="654"/>
                  </a:lnTo>
                  <a:lnTo>
                    <a:pt x="570" y="671"/>
                  </a:lnTo>
                  <a:lnTo>
                    <a:pt x="629" y="676"/>
                  </a:lnTo>
                  <a:lnTo>
                    <a:pt x="645" y="720"/>
                  </a:lnTo>
                  <a:lnTo>
                    <a:pt x="709" y="720"/>
                  </a:lnTo>
                  <a:lnTo>
                    <a:pt x="763" y="676"/>
                  </a:lnTo>
                  <a:lnTo>
                    <a:pt x="754" y="704"/>
                  </a:lnTo>
                  <a:lnTo>
                    <a:pt x="754" y="787"/>
                  </a:lnTo>
                  <a:lnTo>
                    <a:pt x="763" y="782"/>
                  </a:lnTo>
                  <a:lnTo>
                    <a:pt x="780" y="798"/>
                  </a:lnTo>
                  <a:lnTo>
                    <a:pt x="801" y="782"/>
                  </a:lnTo>
                  <a:lnTo>
                    <a:pt x="834" y="787"/>
                  </a:lnTo>
                  <a:lnTo>
                    <a:pt x="834" y="787"/>
                  </a:lnTo>
                  <a:lnTo>
                    <a:pt x="834" y="78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2" name="Freeform 533">
              <a:extLst>
                <a:ext uri="{FF2B5EF4-FFF2-40B4-BE49-F238E27FC236}">
                  <a16:creationId xmlns:a16="http://schemas.microsoft.com/office/drawing/2014/main" id="{ED4B1E2B-15DD-4F55-9E7D-4C42A67FFBD6}"/>
                </a:ext>
              </a:extLst>
            </p:cNvPr>
            <p:cNvSpPr>
              <a:spLocks noEditPoints="1"/>
            </p:cNvSpPr>
            <p:nvPr/>
          </p:nvSpPr>
          <p:spPr bwMode="gray">
            <a:xfrm>
              <a:off x="4328257" y="3779743"/>
              <a:ext cx="169197" cy="69991"/>
            </a:xfrm>
            <a:custGeom>
              <a:avLst/>
              <a:gdLst>
                <a:gd name="T0" fmla="*/ 4 w 411"/>
                <a:gd name="T1" fmla="*/ 94 h 170"/>
                <a:gd name="T2" fmla="*/ 16 w 411"/>
                <a:gd name="T3" fmla="*/ 78 h 170"/>
                <a:gd name="T4" fmla="*/ 21 w 411"/>
                <a:gd name="T5" fmla="*/ 45 h 170"/>
                <a:gd name="T6" fmla="*/ 4 w 411"/>
                <a:gd name="T7" fmla="*/ 5 h 170"/>
                <a:gd name="T8" fmla="*/ 33 w 411"/>
                <a:gd name="T9" fmla="*/ 5 h 170"/>
                <a:gd name="T10" fmla="*/ 42 w 411"/>
                <a:gd name="T11" fmla="*/ 16 h 170"/>
                <a:gd name="T12" fmla="*/ 87 w 411"/>
                <a:gd name="T13" fmla="*/ 45 h 170"/>
                <a:gd name="T14" fmla="*/ 108 w 411"/>
                <a:gd name="T15" fmla="*/ 54 h 170"/>
                <a:gd name="T16" fmla="*/ 205 w 411"/>
                <a:gd name="T17" fmla="*/ 28 h 170"/>
                <a:gd name="T18" fmla="*/ 286 w 411"/>
                <a:gd name="T19" fmla="*/ 5 h 170"/>
                <a:gd name="T20" fmla="*/ 314 w 411"/>
                <a:gd name="T21" fmla="*/ 16 h 170"/>
                <a:gd name="T22" fmla="*/ 385 w 411"/>
                <a:gd name="T23" fmla="*/ 61 h 170"/>
                <a:gd name="T24" fmla="*/ 394 w 411"/>
                <a:gd name="T25" fmla="*/ 78 h 170"/>
                <a:gd name="T26" fmla="*/ 411 w 411"/>
                <a:gd name="T27" fmla="*/ 116 h 170"/>
                <a:gd name="T28" fmla="*/ 401 w 411"/>
                <a:gd name="T29" fmla="*/ 137 h 170"/>
                <a:gd name="T30" fmla="*/ 368 w 411"/>
                <a:gd name="T31" fmla="*/ 132 h 170"/>
                <a:gd name="T32" fmla="*/ 368 w 411"/>
                <a:gd name="T33" fmla="*/ 153 h 170"/>
                <a:gd name="T34" fmla="*/ 340 w 411"/>
                <a:gd name="T35" fmla="*/ 149 h 170"/>
                <a:gd name="T36" fmla="*/ 340 w 411"/>
                <a:gd name="T37" fmla="*/ 111 h 170"/>
                <a:gd name="T38" fmla="*/ 347 w 411"/>
                <a:gd name="T39" fmla="*/ 82 h 170"/>
                <a:gd name="T40" fmla="*/ 368 w 411"/>
                <a:gd name="T41" fmla="*/ 99 h 170"/>
                <a:gd name="T42" fmla="*/ 347 w 411"/>
                <a:gd name="T43" fmla="*/ 82 h 170"/>
                <a:gd name="T44" fmla="*/ 314 w 411"/>
                <a:gd name="T45" fmla="*/ 71 h 170"/>
                <a:gd name="T46" fmla="*/ 286 w 411"/>
                <a:gd name="T47" fmla="*/ 28 h 170"/>
                <a:gd name="T48" fmla="*/ 248 w 411"/>
                <a:gd name="T49" fmla="*/ 45 h 170"/>
                <a:gd name="T50" fmla="*/ 231 w 411"/>
                <a:gd name="T51" fmla="*/ 54 h 170"/>
                <a:gd name="T52" fmla="*/ 217 w 411"/>
                <a:gd name="T53" fmla="*/ 82 h 170"/>
                <a:gd name="T54" fmla="*/ 184 w 411"/>
                <a:gd name="T55" fmla="*/ 111 h 170"/>
                <a:gd name="T56" fmla="*/ 193 w 411"/>
                <a:gd name="T57" fmla="*/ 153 h 170"/>
                <a:gd name="T58" fmla="*/ 146 w 411"/>
                <a:gd name="T59" fmla="*/ 170 h 170"/>
                <a:gd name="T60" fmla="*/ 139 w 411"/>
                <a:gd name="T61" fmla="*/ 127 h 170"/>
                <a:gd name="T62" fmla="*/ 130 w 411"/>
                <a:gd name="T63" fmla="*/ 137 h 170"/>
                <a:gd name="T64" fmla="*/ 92 w 411"/>
                <a:gd name="T65" fmla="*/ 99 h 170"/>
                <a:gd name="T66" fmla="*/ 54 w 411"/>
                <a:gd name="T67" fmla="*/ 94 h 170"/>
                <a:gd name="T68" fmla="*/ 16 w 411"/>
                <a:gd name="T69" fmla="*/ 94 h 170"/>
                <a:gd name="T70" fmla="*/ 4 w 411"/>
                <a:gd name="T71" fmla="*/ 111 h 170"/>
                <a:gd name="T72" fmla="*/ 54 w 411"/>
                <a:gd name="T73" fmla="*/ 16 h 170"/>
                <a:gd name="T74" fmla="*/ 54 w 411"/>
                <a:gd name="T75" fmla="*/ 16 h 170"/>
                <a:gd name="T76" fmla="*/ 54 w 411"/>
                <a:gd name="T77" fmla="*/ 16 h 170"/>
                <a:gd name="T78" fmla="*/ 293 w 411"/>
                <a:gd name="T79" fmla="*/ 82 h 170"/>
                <a:gd name="T80" fmla="*/ 293 w 411"/>
                <a:gd name="T81" fmla="*/ 94 h 170"/>
                <a:gd name="T82" fmla="*/ 293 w 411"/>
                <a:gd name="T83" fmla="*/ 82 h 170"/>
                <a:gd name="T84" fmla="*/ 293 w 411"/>
                <a:gd name="T85" fmla="*/ 82 h 170"/>
                <a:gd name="T86" fmla="*/ 92 w 411"/>
                <a:gd name="T87" fmla="*/ 153 h 170"/>
                <a:gd name="T88" fmla="*/ 87 w 411"/>
                <a:gd name="T89" fmla="*/ 153 h 170"/>
                <a:gd name="T90" fmla="*/ 92 w 411"/>
                <a:gd name="T91" fmla="*/ 137 h 170"/>
                <a:gd name="T92" fmla="*/ 92 w 411"/>
                <a:gd name="T93" fmla="*/ 13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1" h="170">
                  <a:moveTo>
                    <a:pt x="4" y="111"/>
                  </a:moveTo>
                  <a:lnTo>
                    <a:pt x="4" y="94"/>
                  </a:lnTo>
                  <a:lnTo>
                    <a:pt x="0" y="94"/>
                  </a:lnTo>
                  <a:lnTo>
                    <a:pt x="16" y="78"/>
                  </a:lnTo>
                  <a:lnTo>
                    <a:pt x="4" y="61"/>
                  </a:lnTo>
                  <a:lnTo>
                    <a:pt x="21" y="45"/>
                  </a:lnTo>
                  <a:lnTo>
                    <a:pt x="4" y="38"/>
                  </a:lnTo>
                  <a:lnTo>
                    <a:pt x="4" y="5"/>
                  </a:lnTo>
                  <a:lnTo>
                    <a:pt x="16" y="0"/>
                  </a:lnTo>
                  <a:lnTo>
                    <a:pt x="33" y="5"/>
                  </a:lnTo>
                  <a:lnTo>
                    <a:pt x="33" y="0"/>
                  </a:lnTo>
                  <a:lnTo>
                    <a:pt x="42" y="16"/>
                  </a:lnTo>
                  <a:lnTo>
                    <a:pt x="54" y="45"/>
                  </a:lnTo>
                  <a:lnTo>
                    <a:pt x="87" y="45"/>
                  </a:lnTo>
                  <a:lnTo>
                    <a:pt x="87" y="28"/>
                  </a:lnTo>
                  <a:lnTo>
                    <a:pt x="108" y="54"/>
                  </a:lnTo>
                  <a:lnTo>
                    <a:pt x="130" y="61"/>
                  </a:lnTo>
                  <a:lnTo>
                    <a:pt x="205" y="28"/>
                  </a:lnTo>
                  <a:lnTo>
                    <a:pt x="238" y="0"/>
                  </a:lnTo>
                  <a:lnTo>
                    <a:pt x="286" y="5"/>
                  </a:lnTo>
                  <a:lnTo>
                    <a:pt x="276" y="16"/>
                  </a:lnTo>
                  <a:lnTo>
                    <a:pt x="314" y="16"/>
                  </a:lnTo>
                  <a:lnTo>
                    <a:pt x="356" y="21"/>
                  </a:lnTo>
                  <a:lnTo>
                    <a:pt x="385" y="61"/>
                  </a:lnTo>
                  <a:lnTo>
                    <a:pt x="401" y="71"/>
                  </a:lnTo>
                  <a:lnTo>
                    <a:pt x="394" y="78"/>
                  </a:lnTo>
                  <a:lnTo>
                    <a:pt x="411" y="111"/>
                  </a:lnTo>
                  <a:lnTo>
                    <a:pt x="411" y="116"/>
                  </a:lnTo>
                  <a:lnTo>
                    <a:pt x="401" y="132"/>
                  </a:lnTo>
                  <a:lnTo>
                    <a:pt x="401" y="137"/>
                  </a:lnTo>
                  <a:lnTo>
                    <a:pt x="385" y="149"/>
                  </a:lnTo>
                  <a:lnTo>
                    <a:pt x="368" y="132"/>
                  </a:lnTo>
                  <a:lnTo>
                    <a:pt x="368" y="149"/>
                  </a:lnTo>
                  <a:lnTo>
                    <a:pt x="368" y="153"/>
                  </a:lnTo>
                  <a:lnTo>
                    <a:pt x="364" y="170"/>
                  </a:lnTo>
                  <a:lnTo>
                    <a:pt x="340" y="149"/>
                  </a:lnTo>
                  <a:lnTo>
                    <a:pt x="323" y="111"/>
                  </a:lnTo>
                  <a:lnTo>
                    <a:pt x="340" y="111"/>
                  </a:lnTo>
                  <a:lnTo>
                    <a:pt x="330" y="94"/>
                  </a:lnTo>
                  <a:lnTo>
                    <a:pt x="347" y="82"/>
                  </a:lnTo>
                  <a:lnTo>
                    <a:pt x="356" y="94"/>
                  </a:lnTo>
                  <a:lnTo>
                    <a:pt x="368" y="99"/>
                  </a:lnTo>
                  <a:lnTo>
                    <a:pt x="356" y="94"/>
                  </a:lnTo>
                  <a:lnTo>
                    <a:pt x="347" y="82"/>
                  </a:lnTo>
                  <a:lnTo>
                    <a:pt x="323" y="94"/>
                  </a:lnTo>
                  <a:lnTo>
                    <a:pt x="314" y="71"/>
                  </a:lnTo>
                  <a:lnTo>
                    <a:pt x="276" y="45"/>
                  </a:lnTo>
                  <a:lnTo>
                    <a:pt x="286" y="28"/>
                  </a:lnTo>
                  <a:lnTo>
                    <a:pt x="276" y="38"/>
                  </a:lnTo>
                  <a:lnTo>
                    <a:pt x="248" y="45"/>
                  </a:lnTo>
                  <a:lnTo>
                    <a:pt x="248" y="45"/>
                  </a:lnTo>
                  <a:lnTo>
                    <a:pt x="231" y="54"/>
                  </a:lnTo>
                  <a:lnTo>
                    <a:pt x="231" y="71"/>
                  </a:lnTo>
                  <a:lnTo>
                    <a:pt x="217" y="82"/>
                  </a:lnTo>
                  <a:lnTo>
                    <a:pt x="179" y="99"/>
                  </a:lnTo>
                  <a:lnTo>
                    <a:pt x="184" y="111"/>
                  </a:lnTo>
                  <a:lnTo>
                    <a:pt x="217" y="149"/>
                  </a:lnTo>
                  <a:lnTo>
                    <a:pt x="193" y="153"/>
                  </a:lnTo>
                  <a:lnTo>
                    <a:pt x="184" y="170"/>
                  </a:lnTo>
                  <a:lnTo>
                    <a:pt x="146" y="170"/>
                  </a:lnTo>
                  <a:lnTo>
                    <a:pt x="151" y="165"/>
                  </a:lnTo>
                  <a:lnTo>
                    <a:pt x="139" y="127"/>
                  </a:lnTo>
                  <a:lnTo>
                    <a:pt x="130" y="127"/>
                  </a:lnTo>
                  <a:lnTo>
                    <a:pt x="130" y="137"/>
                  </a:lnTo>
                  <a:lnTo>
                    <a:pt x="108" y="137"/>
                  </a:lnTo>
                  <a:lnTo>
                    <a:pt x="92" y="99"/>
                  </a:lnTo>
                  <a:lnTo>
                    <a:pt x="59" y="99"/>
                  </a:lnTo>
                  <a:lnTo>
                    <a:pt x="54" y="94"/>
                  </a:lnTo>
                  <a:lnTo>
                    <a:pt x="21" y="94"/>
                  </a:lnTo>
                  <a:lnTo>
                    <a:pt x="16" y="94"/>
                  </a:lnTo>
                  <a:lnTo>
                    <a:pt x="4" y="111"/>
                  </a:lnTo>
                  <a:lnTo>
                    <a:pt x="4" y="111"/>
                  </a:lnTo>
                  <a:lnTo>
                    <a:pt x="4" y="111"/>
                  </a:lnTo>
                  <a:close/>
                  <a:moveTo>
                    <a:pt x="54" y="16"/>
                  </a:moveTo>
                  <a:lnTo>
                    <a:pt x="54" y="21"/>
                  </a:lnTo>
                  <a:lnTo>
                    <a:pt x="54" y="16"/>
                  </a:lnTo>
                  <a:lnTo>
                    <a:pt x="54" y="16"/>
                  </a:lnTo>
                  <a:lnTo>
                    <a:pt x="54" y="16"/>
                  </a:lnTo>
                  <a:lnTo>
                    <a:pt x="54" y="16"/>
                  </a:lnTo>
                  <a:close/>
                  <a:moveTo>
                    <a:pt x="293" y="82"/>
                  </a:moveTo>
                  <a:lnTo>
                    <a:pt x="293" y="94"/>
                  </a:lnTo>
                  <a:lnTo>
                    <a:pt x="293" y="94"/>
                  </a:lnTo>
                  <a:lnTo>
                    <a:pt x="286" y="82"/>
                  </a:lnTo>
                  <a:lnTo>
                    <a:pt x="293" y="82"/>
                  </a:lnTo>
                  <a:lnTo>
                    <a:pt x="293" y="82"/>
                  </a:lnTo>
                  <a:lnTo>
                    <a:pt x="293" y="82"/>
                  </a:lnTo>
                  <a:close/>
                  <a:moveTo>
                    <a:pt x="92" y="137"/>
                  </a:moveTo>
                  <a:lnTo>
                    <a:pt x="92" y="153"/>
                  </a:lnTo>
                  <a:lnTo>
                    <a:pt x="97" y="165"/>
                  </a:lnTo>
                  <a:lnTo>
                    <a:pt x="87" y="153"/>
                  </a:lnTo>
                  <a:lnTo>
                    <a:pt x="87" y="149"/>
                  </a:lnTo>
                  <a:lnTo>
                    <a:pt x="92" y="137"/>
                  </a:lnTo>
                  <a:lnTo>
                    <a:pt x="92" y="137"/>
                  </a:lnTo>
                  <a:lnTo>
                    <a:pt x="92" y="13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3" name="Freeform 547">
              <a:extLst>
                <a:ext uri="{FF2B5EF4-FFF2-40B4-BE49-F238E27FC236}">
                  <a16:creationId xmlns:a16="http://schemas.microsoft.com/office/drawing/2014/main" id="{C89289E3-1685-493C-839A-16F5988798FB}"/>
                </a:ext>
              </a:extLst>
            </p:cNvPr>
            <p:cNvSpPr>
              <a:spLocks/>
            </p:cNvSpPr>
            <p:nvPr/>
          </p:nvSpPr>
          <p:spPr bwMode="gray">
            <a:xfrm>
              <a:off x="4912417" y="3544240"/>
              <a:ext cx="2058" cy="6999"/>
            </a:xfrm>
            <a:custGeom>
              <a:avLst/>
              <a:gdLst>
                <a:gd name="T0" fmla="*/ 5 w 5"/>
                <a:gd name="T1" fmla="*/ 17 h 17"/>
                <a:gd name="T2" fmla="*/ 0 w 5"/>
                <a:gd name="T3" fmla="*/ 0 h 17"/>
                <a:gd name="T4" fmla="*/ 5 w 5"/>
                <a:gd name="T5" fmla="*/ 0 h 17"/>
                <a:gd name="T6" fmla="*/ 5 w 5"/>
                <a:gd name="T7" fmla="*/ 17 h 17"/>
                <a:gd name="T8" fmla="*/ 5 w 5"/>
                <a:gd name="T9" fmla="*/ 17 h 17"/>
                <a:gd name="T10" fmla="*/ 5 w 5"/>
                <a:gd name="T11" fmla="*/ 17 h 17"/>
              </a:gdLst>
              <a:ahLst/>
              <a:cxnLst>
                <a:cxn ang="0">
                  <a:pos x="T0" y="T1"/>
                </a:cxn>
                <a:cxn ang="0">
                  <a:pos x="T2" y="T3"/>
                </a:cxn>
                <a:cxn ang="0">
                  <a:pos x="T4" y="T5"/>
                </a:cxn>
                <a:cxn ang="0">
                  <a:pos x="T6" y="T7"/>
                </a:cxn>
                <a:cxn ang="0">
                  <a:pos x="T8" y="T9"/>
                </a:cxn>
                <a:cxn ang="0">
                  <a:pos x="T10" y="T11"/>
                </a:cxn>
              </a:cxnLst>
              <a:rect l="0" t="0" r="r" b="b"/>
              <a:pathLst>
                <a:path w="5" h="17">
                  <a:moveTo>
                    <a:pt x="5" y="17"/>
                  </a:moveTo>
                  <a:lnTo>
                    <a:pt x="0" y="0"/>
                  </a:lnTo>
                  <a:lnTo>
                    <a:pt x="5" y="0"/>
                  </a:lnTo>
                  <a:lnTo>
                    <a:pt x="5" y="17"/>
                  </a:lnTo>
                  <a:lnTo>
                    <a:pt x="5" y="17"/>
                  </a:lnTo>
                  <a:lnTo>
                    <a:pt x="5"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4" name="Freeform 559">
              <a:extLst>
                <a:ext uri="{FF2B5EF4-FFF2-40B4-BE49-F238E27FC236}">
                  <a16:creationId xmlns:a16="http://schemas.microsoft.com/office/drawing/2014/main" id="{C56618BC-DC4A-48D9-8A27-E0DF1EBEE2AD}"/>
                </a:ext>
              </a:extLst>
            </p:cNvPr>
            <p:cNvSpPr>
              <a:spLocks/>
            </p:cNvSpPr>
            <p:nvPr/>
          </p:nvSpPr>
          <p:spPr bwMode="gray">
            <a:xfrm>
              <a:off x="4964288" y="3645523"/>
              <a:ext cx="6587" cy="8646"/>
            </a:xfrm>
            <a:custGeom>
              <a:avLst/>
              <a:gdLst>
                <a:gd name="T0" fmla="*/ 4 w 16"/>
                <a:gd name="T1" fmla="*/ 21 h 21"/>
                <a:gd name="T2" fmla="*/ 0 w 16"/>
                <a:gd name="T3" fmla="*/ 16 h 21"/>
                <a:gd name="T4" fmla="*/ 4 w 16"/>
                <a:gd name="T5" fmla="*/ 0 h 21"/>
                <a:gd name="T6" fmla="*/ 16 w 16"/>
                <a:gd name="T7" fmla="*/ 9 h 21"/>
                <a:gd name="T8" fmla="*/ 4 w 16"/>
                <a:gd name="T9" fmla="*/ 21 h 21"/>
                <a:gd name="T10" fmla="*/ 4 w 16"/>
                <a:gd name="T11" fmla="*/ 21 h 21"/>
                <a:gd name="T12" fmla="*/ 4 w 16"/>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6" h="21">
                  <a:moveTo>
                    <a:pt x="4" y="21"/>
                  </a:moveTo>
                  <a:lnTo>
                    <a:pt x="0" y="16"/>
                  </a:lnTo>
                  <a:lnTo>
                    <a:pt x="4" y="0"/>
                  </a:lnTo>
                  <a:lnTo>
                    <a:pt x="16" y="9"/>
                  </a:lnTo>
                  <a:lnTo>
                    <a:pt x="4" y="21"/>
                  </a:lnTo>
                  <a:lnTo>
                    <a:pt x="4" y="21"/>
                  </a:lnTo>
                  <a:lnTo>
                    <a:pt x="4" y="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5" name="Freeform 569">
              <a:extLst>
                <a:ext uri="{FF2B5EF4-FFF2-40B4-BE49-F238E27FC236}">
                  <a16:creationId xmlns:a16="http://schemas.microsoft.com/office/drawing/2014/main" id="{73F96D14-8AD4-40DE-B6B2-EDD259A1090C}"/>
                </a:ext>
              </a:extLst>
            </p:cNvPr>
            <p:cNvSpPr>
              <a:spLocks noEditPoints="1"/>
            </p:cNvSpPr>
            <p:nvPr/>
          </p:nvSpPr>
          <p:spPr bwMode="gray">
            <a:xfrm>
              <a:off x="4646066" y="3403434"/>
              <a:ext cx="10704" cy="6588"/>
            </a:xfrm>
            <a:custGeom>
              <a:avLst/>
              <a:gdLst>
                <a:gd name="T0" fmla="*/ 14 w 26"/>
                <a:gd name="T1" fmla="*/ 11 h 16"/>
                <a:gd name="T2" fmla="*/ 0 w 26"/>
                <a:gd name="T3" fmla="*/ 0 h 16"/>
                <a:gd name="T4" fmla="*/ 5 w 26"/>
                <a:gd name="T5" fmla="*/ 0 h 16"/>
                <a:gd name="T6" fmla="*/ 14 w 26"/>
                <a:gd name="T7" fmla="*/ 11 h 16"/>
                <a:gd name="T8" fmla="*/ 14 w 26"/>
                <a:gd name="T9" fmla="*/ 11 h 16"/>
                <a:gd name="T10" fmla="*/ 14 w 26"/>
                <a:gd name="T11" fmla="*/ 11 h 16"/>
                <a:gd name="T12" fmla="*/ 26 w 26"/>
                <a:gd name="T13" fmla="*/ 16 h 16"/>
                <a:gd name="T14" fmla="*/ 14 w 26"/>
                <a:gd name="T15" fmla="*/ 16 h 16"/>
                <a:gd name="T16" fmla="*/ 14 w 26"/>
                <a:gd name="T17" fmla="*/ 11 h 16"/>
                <a:gd name="T18" fmla="*/ 21 w 26"/>
                <a:gd name="T19" fmla="*/ 11 h 16"/>
                <a:gd name="T20" fmla="*/ 26 w 26"/>
                <a:gd name="T21" fmla="*/ 16 h 16"/>
                <a:gd name="T22" fmla="*/ 26 w 26"/>
                <a:gd name="T23" fmla="*/ 16 h 16"/>
                <a:gd name="T24" fmla="*/ 26 w 26"/>
                <a:gd name="T2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6">
                  <a:moveTo>
                    <a:pt x="14" y="11"/>
                  </a:moveTo>
                  <a:lnTo>
                    <a:pt x="0" y="0"/>
                  </a:lnTo>
                  <a:lnTo>
                    <a:pt x="5" y="0"/>
                  </a:lnTo>
                  <a:lnTo>
                    <a:pt x="14" y="11"/>
                  </a:lnTo>
                  <a:lnTo>
                    <a:pt x="14" y="11"/>
                  </a:lnTo>
                  <a:lnTo>
                    <a:pt x="14" y="11"/>
                  </a:lnTo>
                  <a:close/>
                  <a:moveTo>
                    <a:pt x="26" y="16"/>
                  </a:moveTo>
                  <a:lnTo>
                    <a:pt x="14" y="16"/>
                  </a:lnTo>
                  <a:lnTo>
                    <a:pt x="14" y="11"/>
                  </a:lnTo>
                  <a:lnTo>
                    <a:pt x="21" y="11"/>
                  </a:lnTo>
                  <a:lnTo>
                    <a:pt x="26" y="16"/>
                  </a:lnTo>
                  <a:lnTo>
                    <a:pt x="26" y="16"/>
                  </a:lnTo>
                  <a:lnTo>
                    <a:pt x="26" y="1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6" name="Freeform 584">
              <a:extLst>
                <a:ext uri="{FF2B5EF4-FFF2-40B4-BE49-F238E27FC236}">
                  <a16:creationId xmlns:a16="http://schemas.microsoft.com/office/drawing/2014/main" id="{FF9DA355-8B43-4D70-B442-4F84185AF247}"/>
                </a:ext>
              </a:extLst>
            </p:cNvPr>
            <p:cNvSpPr>
              <a:spLocks/>
            </p:cNvSpPr>
            <p:nvPr/>
          </p:nvSpPr>
          <p:spPr bwMode="gray">
            <a:xfrm>
              <a:off x="5040035" y="4987718"/>
              <a:ext cx="153554" cy="159334"/>
            </a:xfrm>
            <a:custGeom>
              <a:avLst/>
              <a:gdLst>
                <a:gd name="T0" fmla="*/ 16 w 373"/>
                <a:gd name="T1" fmla="*/ 177 h 387"/>
                <a:gd name="T2" fmla="*/ 21 w 373"/>
                <a:gd name="T3" fmla="*/ 172 h 387"/>
                <a:gd name="T4" fmla="*/ 16 w 373"/>
                <a:gd name="T5" fmla="*/ 139 h 387"/>
                <a:gd name="T6" fmla="*/ 21 w 373"/>
                <a:gd name="T7" fmla="*/ 122 h 387"/>
                <a:gd name="T8" fmla="*/ 33 w 373"/>
                <a:gd name="T9" fmla="*/ 111 h 387"/>
                <a:gd name="T10" fmla="*/ 21 w 373"/>
                <a:gd name="T11" fmla="*/ 99 h 387"/>
                <a:gd name="T12" fmla="*/ 33 w 373"/>
                <a:gd name="T13" fmla="*/ 82 h 387"/>
                <a:gd name="T14" fmla="*/ 49 w 373"/>
                <a:gd name="T15" fmla="*/ 56 h 387"/>
                <a:gd name="T16" fmla="*/ 38 w 373"/>
                <a:gd name="T17" fmla="*/ 28 h 387"/>
                <a:gd name="T18" fmla="*/ 54 w 373"/>
                <a:gd name="T19" fmla="*/ 11 h 387"/>
                <a:gd name="T20" fmla="*/ 54 w 373"/>
                <a:gd name="T21" fmla="*/ 7 h 387"/>
                <a:gd name="T22" fmla="*/ 59 w 373"/>
                <a:gd name="T23" fmla="*/ 7 h 387"/>
                <a:gd name="T24" fmla="*/ 87 w 373"/>
                <a:gd name="T25" fmla="*/ 11 h 387"/>
                <a:gd name="T26" fmla="*/ 92 w 373"/>
                <a:gd name="T27" fmla="*/ 0 h 387"/>
                <a:gd name="T28" fmla="*/ 113 w 373"/>
                <a:gd name="T29" fmla="*/ 0 h 387"/>
                <a:gd name="T30" fmla="*/ 168 w 373"/>
                <a:gd name="T31" fmla="*/ 56 h 387"/>
                <a:gd name="T32" fmla="*/ 168 w 373"/>
                <a:gd name="T33" fmla="*/ 66 h 387"/>
                <a:gd name="T34" fmla="*/ 177 w 373"/>
                <a:gd name="T35" fmla="*/ 66 h 387"/>
                <a:gd name="T36" fmla="*/ 201 w 373"/>
                <a:gd name="T37" fmla="*/ 56 h 387"/>
                <a:gd name="T38" fmla="*/ 222 w 373"/>
                <a:gd name="T39" fmla="*/ 82 h 387"/>
                <a:gd name="T40" fmla="*/ 269 w 373"/>
                <a:gd name="T41" fmla="*/ 99 h 387"/>
                <a:gd name="T42" fmla="*/ 286 w 373"/>
                <a:gd name="T43" fmla="*/ 132 h 387"/>
                <a:gd name="T44" fmla="*/ 319 w 373"/>
                <a:gd name="T45" fmla="*/ 139 h 387"/>
                <a:gd name="T46" fmla="*/ 340 w 373"/>
                <a:gd name="T47" fmla="*/ 177 h 387"/>
                <a:gd name="T48" fmla="*/ 373 w 373"/>
                <a:gd name="T49" fmla="*/ 205 h 387"/>
                <a:gd name="T50" fmla="*/ 340 w 373"/>
                <a:gd name="T51" fmla="*/ 233 h 387"/>
                <a:gd name="T52" fmla="*/ 340 w 373"/>
                <a:gd name="T53" fmla="*/ 283 h 387"/>
                <a:gd name="T54" fmla="*/ 357 w 373"/>
                <a:gd name="T55" fmla="*/ 283 h 387"/>
                <a:gd name="T56" fmla="*/ 340 w 373"/>
                <a:gd name="T57" fmla="*/ 316 h 387"/>
                <a:gd name="T58" fmla="*/ 302 w 373"/>
                <a:gd name="T59" fmla="*/ 359 h 387"/>
                <a:gd name="T60" fmla="*/ 286 w 373"/>
                <a:gd name="T61" fmla="*/ 354 h 387"/>
                <a:gd name="T62" fmla="*/ 286 w 373"/>
                <a:gd name="T63" fmla="*/ 359 h 387"/>
                <a:gd name="T64" fmla="*/ 248 w 373"/>
                <a:gd name="T65" fmla="*/ 387 h 387"/>
                <a:gd name="T66" fmla="*/ 194 w 373"/>
                <a:gd name="T67" fmla="*/ 370 h 387"/>
                <a:gd name="T68" fmla="*/ 146 w 373"/>
                <a:gd name="T69" fmla="*/ 375 h 387"/>
                <a:gd name="T70" fmla="*/ 139 w 373"/>
                <a:gd name="T71" fmla="*/ 375 h 387"/>
                <a:gd name="T72" fmla="*/ 146 w 373"/>
                <a:gd name="T73" fmla="*/ 370 h 387"/>
                <a:gd name="T74" fmla="*/ 108 w 373"/>
                <a:gd name="T75" fmla="*/ 359 h 387"/>
                <a:gd name="T76" fmla="*/ 92 w 373"/>
                <a:gd name="T77" fmla="*/ 342 h 387"/>
                <a:gd name="T78" fmla="*/ 38 w 373"/>
                <a:gd name="T79" fmla="*/ 342 h 387"/>
                <a:gd name="T80" fmla="*/ 0 w 373"/>
                <a:gd name="T81" fmla="*/ 300 h 387"/>
                <a:gd name="T82" fmla="*/ 0 w 373"/>
                <a:gd name="T83" fmla="*/ 267 h 387"/>
                <a:gd name="T84" fmla="*/ 0 w 373"/>
                <a:gd name="T85" fmla="*/ 233 h 387"/>
                <a:gd name="T86" fmla="*/ 16 w 373"/>
                <a:gd name="T87" fmla="*/ 233 h 387"/>
                <a:gd name="T88" fmla="*/ 21 w 373"/>
                <a:gd name="T89" fmla="*/ 222 h 387"/>
                <a:gd name="T90" fmla="*/ 16 w 373"/>
                <a:gd name="T91" fmla="*/ 177 h 387"/>
                <a:gd name="T92" fmla="*/ 16 w 373"/>
                <a:gd name="T93" fmla="*/ 177 h 387"/>
                <a:gd name="T94" fmla="*/ 16 w 373"/>
                <a:gd name="T95" fmla="*/ 17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87">
                  <a:moveTo>
                    <a:pt x="16" y="177"/>
                  </a:moveTo>
                  <a:lnTo>
                    <a:pt x="21" y="172"/>
                  </a:lnTo>
                  <a:lnTo>
                    <a:pt x="16" y="139"/>
                  </a:lnTo>
                  <a:lnTo>
                    <a:pt x="21" y="122"/>
                  </a:lnTo>
                  <a:lnTo>
                    <a:pt x="33" y="111"/>
                  </a:lnTo>
                  <a:lnTo>
                    <a:pt x="21" y="99"/>
                  </a:lnTo>
                  <a:lnTo>
                    <a:pt x="33" y="82"/>
                  </a:lnTo>
                  <a:lnTo>
                    <a:pt x="49" y="56"/>
                  </a:lnTo>
                  <a:lnTo>
                    <a:pt x="38" y="28"/>
                  </a:lnTo>
                  <a:lnTo>
                    <a:pt x="54" y="11"/>
                  </a:lnTo>
                  <a:lnTo>
                    <a:pt x="54" y="7"/>
                  </a:lnTo>
                  <a:lnTo>
                    <a:pt x="59" y="7"/>
                  </a:lnTo>
                  <a:lnTo>
                    <a:pt x="87" y="11"/>
                  </a:lnTo>
                  <a:lnTo>
                    <a:pt x="92" y="0"/>
                  </a:lnTo>
                  <a:lnTo>
                    <a:pt x="113" y="0"/>
                  </a:lnTo>
                  <a:lnTo>
                    <a:pt x="168" y="56"/>
                  </a:lnTo>
                  <a:lnTo>
                    <a:pt x="168" y="66"/>
                  </a:lnTo>
                  <a:lnTo>
                    <a:pt x="177" y="66"/>
                  </a:lnTo>
                  <a:lnTo>
                    <a:pt x="201" y="56"/>
                  </a:lnTo>
                  <a:lnTo>
                    <a:pt x="222" y="82"/>
                  </a:lnTo>
                  <a:lnTo>
                    <a:pt x="269" y="99"/>
                  </a:lnTo>
                  <a:lnTo>
                    <a:pt x="286" y="132"/>
                  </a:lnTo>
                  <a:lnTo>
                    <a:pt x="319" y="139"/>
                  </a:lnTo>
                  <a:lnTo>
                    <a:pt x="340" y="177"/>
                  </a:lnTo>
                  <a:lnTo>
                    <a:pt x="373" y="205"/>
                  </a:lnTo>
                  <a:lnTo>
                    <a:pt x="340" y="233"/>
                  </a:lnTo>
                  <a:lnTo>
                    <a:pt x="340" y="283"/>
                  </a:lnTo>
                  <a:lnTo>
                    <a:pt x="357" y="283"/>
                  </a:lnTo>
                  <a:lnTo>
                    <a:pt x="340" y="316"/>
                  </a:lnTo>
                  <a:lnTo>
                    <a:pt x="302" y="359"/>
                  </a:lnTo>
                  <a:lnTo>
                    <a:pt x="286" y="354"/>
                  </a:lnTo>
                  <a:lnTo>
                    <a:pt x="286" y="359"/>
                  </a:lnTo>
                  <a:lnTo>
                    <a:pt x="248" y="387"/>
                  </a:lnTo>
                  <a:lnTo>
                    <a:pt x="194" y="370"/>
                  </a:lnTo>
                  <a:lnTo>
                    <a:pt x="146" y="375"/>
                  </a:lnTo>
                  <a:lnTo>
                    <a:pt x="139" y="375"/>
                  </a:lnTo>
                  <a:lnTo>
                    <a:pt x="146" y="370"/>
                  </a:lnTo>
                  <a:lnTo>
                    <a:pt x="108" y="359"/>
                  </a:lnTo>
                  <a:lnTo>
                    <a:pt x="92" y="342"/>
                  </a:lnTo>
                  <a:lnTo>
                    <a:pt x="38" y="342"/>
                  </a:lnTo>
                  <a:lnTo>
                    <a:pt x="0" y="300"/>
                  </a:lnTo>
                  <a:lnTo>
                    <a:pt x="0" y="267"/>
                  </a:lnTo>
                  <a:lnTo>
                    <a:pt x="0" y="233"/>
                  </a:lnTo>
                  <a:lnTo>
                    <a:pt x="16" y="233"/>
                  </a:lnTo>
                  <a:lnTo>
                    <a:pt x="21" y="222"/>
                  </a:lnTo>
                  <a:lnTo>
                    <a:pt x="16" y="177"/>
                  </a:lnTo>
                  <a:lnTo>
                    <a:pt x="16" y="177"/>
                  </a:lnTo>
                  <a:lnTo>
                    <a:pt x="16" y="17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7" name="Freeform 586">
              <a:extLst>
                <a:ext uri="{FF2B5EF4-FFF2-40B4-BE49-F238E27FC236}">
                  <a16:creationId xmlns:a16="http://schemas.microsoft.com/office/drawing/2014/main" id="{EEC1038F-E25D-4C8D-9065-6423DA4AE26D}"/>
                </a:ext>
              </a:extLst>
            </p:cNvPr>
            <p:cNvSpPr>
              <a:spLocks/>
            </p:cNvSpPr>
            <p:nvPr/>
          </p:nvSpPr>
          <p:spPr bwMode="gray">
            <a:xfrm>
              <a:off x="4957289" y="3666933"/>
              <a:ext cx="824" cy="8646"/>
            </a:xfrm>
            <a:custGeom>
              <a:avLst/>
              <a:gdLst>
                <a:gd name="T0" fmla="*/ 2 w 2"/>
                <a:gd name="T1" fmla="*/ 21 h 21"/>
                <a:gd name="T2" fmla="*/ 0 w 2"/>
                <a:gd name="T3" fmla="*/ 14 h 21"/>
                <a:gd name="T4" fmla="*/ 2 w 2"/>
                <a:gd name="T5" fmla="*/ 0 h 21"/>
                <a:gd name="T6" fmla="*/ 2 w 2"/>
                <a:gd name="T7" fmla="*/ 5 h 21"/>
                <a:gd name="T8" fmla="*/ 2 w 2"/>
                <a:gd name="T9" fmla="*/ 21 h 21"/>
                <a:gd name="T10" fmla="*/ 2 w 2"/>
                <a:gd name="T11" fmla="*/ 21 h 21"/>
                <a:gd name="T12" fmla="*/ 2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2" y="21"/>
                  </a:moveTo>
                  <a:lnTo>
                    <a:pt x="0" y="14"/>
                  </a:lnTo>
                  <a:lnTo>
                    <a:pt x="2" y="0"/>
                  </a:lnTo>
                  <a:lnTo>
                    <a:pt x="2" y="5"/>
                  </a:lnTo>
                  <a:lnTo>
                    <a:pt x="2" y="21"/>
                  </a:lnTo>
                  <a:lnTo>
                    <a:pt x="2" y="21"/>
                  </a:lnTo>
                  <a:lnTo>
                    <a:pt x="2" y="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8" name="Freeform 587">
              <a:extLst>
                <a:ext uri="{FF2B5EF4-FFF2-40B4-BE49-F238E27FC236}">
                  <a16:creationId xmlns:a16="http://schemas.microsoft.com/office/drawing/2014/main" id="{DB49785B-D41A-4515-A6AB-E5BC3B9B9817}"/>
                </a:ext>
              </a:extLst>
            </p:cNvPr>
            <p:cNvSpPr>
              <a:spLocks noEditPoints="1"/>
            </p:cNvSpPr>
            <p:nvPr/>
          </p:nvSpPr>
          <p:spPr bwMode="gray">
            <a:xfrm>
              <a:off x="4609016" y="3699870"/>
              <a:ext cx="388205" cy="348312"/>
            </a:xfrm>
            <a:custGeom>
              <a:avLst/>
              <a:gdLst>
                <a:gd name="T0" fmla="*/ 900 w 943"/>
                <a:gd name="T1" fmla="*/ 324 h 846"/>
                <a:gd name="T2" fmla="*/ 905 w 943"/>
                <a:gd name="T3" fmla="*/ 366 h 846"/>
                <a:gd name="T4" fmla="*/ 851 w 943"/>
                <a:gd name="T5" fmla="*/ 439 h 846"/>
                <a:gd name="T6" fmla="*/ 879 w 943"/>
                <a:gd name="T7" fmla="*/ 550 h 846"/>
                <a:gd name="T8" fmla="*/ 813 w 943"/>
                <a:gd name="T9" fmla="*/ 584 h 846"/>
                <a:gd name="T10" fmla="*/ 744 w 943"/>
                <a:gd name="T11" fmla="*/ 600 h 846"/>
                <a:gd name="T12" fmla="*/ 669 w 943"/>
                <a:gd name="T13" fmla="*/ 607 h 846"/>
                <a:gd name="T14" fmla="*/ 610 w 943"/>
                <a:gd name="T15" fmla="*/ 600 h 846"/>
                <a:gd name="T16" fmla="*/ 702 w 943"/>
                <a:gd name="T17" fmla="*/ 718 h 846"/>
                <a:gd name="T18" fmla="*/ 631 w 943"/>
                <a:gd name="T19" fmla="*/ 780 h 846"/>
                <a:gd name="T20" fmla="*/ 560 w 943"/>
                <a:gd name="T21" fmla="*/ 824 h 846"/>
                <a:gd name="T22" fmla="*/ 527 w 943"/>
                <a:gd name="T23" fmla="*/ 824 h 846"/>
                <a:gd name="T24" fmla="*/ 430 w 943"/>
                <a:gd name="T25" fmla="*/ 718 h 846"/>
                <a:gd name="T26" fmla="*/ 400 w 943"/>
                <a:gd name="T27" fmla="*/ 612 h 846"/>
                <a:gd name="T28" fmla="*/ 414 w 943"/>
                <a:gd name="T29" fmla="*/ 456 h 846"/>
                <a:gd name="T30" fmla="*/ 296 w 943"/>
                <a:gd name="T31" fmla="*/ 439 h 846"/>
                <a:gd name="T32" fmla="*/ 215 w 943"/>
                <a:gd name="T33" fmla="*/ 385 h 846"/>
                <a:gd name="T34" fmla="*/ 81 w 943"/>
                <a:gd name="T35" fmla="*/ 362 h 846"/>
                <a:gd name="T36" fmla="*/ 43 w 943"/>
                <a:gd name="T37" fmla="*/ 267 h 846"/>
                <a:gd name="T38" fmla="*/ 22 w 943"/>
                <a:gd name="T39" fmla="*/ 184 h 846"/>
                <a:gd name="T40" fmla="*/ 144 w 943"/>
                <a:gd name="T41" fmla="*/ 28 h 846"/>
                <a:gd name="T42" fmla="*/ 81 w 943"/>
                <a:gd name="T43" fmla="*/ 177 h 846"/>
                <a:gd name="T44" fmla="*/ 161 w 943"/>
                <a:gd name="T45" fmla="*/ 213 h 846"/>
                <a:gd name="T46" fmla="*/ 199 w 943"/>
                <a:gd name="T47" fmla="*/ 73 h 846"/>
                <a:gd name="T48" fmla="*/ 241 w 943"/>
                <a:gd name="T49" fmla="*/ 45 h 846"/>
                <a:gd name="T50" fmla="*/ 241 w 943"/>
                <a:gd name="T51" fmla="*/ 12 h 846"/>
                <a:gd name="T52" fmla="*/ 362 w 943"/>
                <a:gd name="T53" fmla="*/ 99 h 846"/>
                <a:gd name="T54" fmla="*/ 506 w 943"/>
                <a:gd name="T55" fmla="*/ 123 h 846"/>
                <a:gd name="T56" fmla="*/ 636 w 943"/>
                <a:gd name="T57" fmla="*/ 128 h 846"/>
                <a:gd name="T58" fmla="*/ 685 w 943"/>
                <a:gd name="T59" fmla="*/ 123 h 846"/>
                <a:gd name="T60" fmla="*/ 770 w 943"/>
                <a:gd name="T61" fmla="*/ 128 h 846"/>
                <a:gd name="T62" fmla="*/ 723 w 943"/>
                <a:gd name="T63" fmla="*/ 139 h 846"/>
                <a:gd name="T64" fmla="*/ 754 w 943"/>
                <a:gd name="T65" fmla="*/ 156 h 846"/>
                <a:gd name="T66" fmla="*/ 770 w 943"/>
                <a:gd name="T67" fmla="*/ 184 h 846"/>
                <a:gd name="T68" fmla="*/ 792 w 943"/>
                <a:gd name="T69" fmla="*/ 177 h 846"/>
                <a:gd name="T70" fmla="*/ 808 w 943"/>
                <a:gd name="T71" fmla="*/ 177 h 846"/>
                <a:gd name="T72" fmla="*/ 879 w 943"/>
                <a:gd name="T73" fmla="*/ 213 h 846"/>
                <a:gd name="T74" fmla="*/ 851 w 943"/>
                <a:gd name="T75" fmla="*/ 267 h 846"/>
                <a:gd name="T76" fmla="*/ 863 w 943"/>
                <a:gd name="T77" fmla="*/ 279 h 846"/>
                <a:gd name="T78" fmla="*/ 938 w 943"/>
                <a:gd name="T79" fmla="*/ 272 h 846"/>
                <a:gd name="T80" fmla="*/ 506 w 943"/>
                <a:gd name="T81" fmla="*/ 33 h 846"/>
                <a:gd name="T82" fmla="*/ 648 w 943"/>
                <a:gd name="T83" fmla="*/ 99 h 846"/>
                <a:gd name="T84" fmla="*/ 664 w 943"/>
                <a:gd name="T85" fmla="*/ 83 h 846"/>
                <a:gd name="T86" fmla="*/ 565 w 943"/>
                <a:gd name="T87" fmla="*/ 99 h 846"/>
                <a:gd name="T88" fmla="*/ 565 w 943"/>
                <a:gd name="T89" fmla="*/ 99 h 846"/>
                <a:gd name="T90" fmla="*/ 879 w 943"/>
                <a:gd name="T91" fmla="*/ 234 h 846"/>
                <a:gd name="T92" fmla="*/ 867 w 943"/>
                <a:gd name="T93" fmla="*/ 250 h 846"/>
                <a:gd name="T94" fmla="*/ 879 w 943"/>
                <a:gd name="T95" fmla="*/ 250 h 846"/>
                <a:gd name="T96" fmla="*/ 867 w 943"/>
                <a:gd name="T97" fmla="*/ 267 h 846"/>
                <a:gd name="T98" fmla="*/ 867 w 943"/>
                <a:gd name="T99" fmla="*/ 267 h 846"/>
                <a:gd name="T100" fmla="*/ 863 w 943"/>
                <a:gd name="T101" fmla="*/ 267 h 846"/>
                <a:gd name="T102" fmla="*/ 851 w 943"/>
                <a:gd name="T103" fmla="*/ 272 h 846"/>
                <a:gd name="T104" fmla="*/ 867 w 943"/>
                <a:gd name="T105" fmla="*/ 267 h 846"/>
                <a:gd name="T106" fmla="*/ 825 w 943"/>
                <a:gd name="T107" fmla="*/ 272 h 846"/>
                <a:gd name="T108" fmla="*/ 846 w 943"/>
                <a:gd name="T109" fmla="*/ 272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43" h="846">
                  <a:moveTo>
                    <a:pt x="938" y="272"/>
                  </a:moveTo>
                  <a:lnTo>
                    <a:pt x="943" y="295"/>
                  </a:lnTo>
                  <a:lnTo>
                    <a:pt x="938" y="295"/>
                  </a:lnTo>
                  <a:lnTo>
                    <a:pt x="933" y="307"/>
                  </a:lnTo>
                  <a:lnTo>
                    <a:pt x="900" y="324"/>
                  </a:lnTo>
                  <a:lnTo>
                    <a:pt x="884" y="345"/>
                  </a:lnTo>
                  <a:lnTo>
                    <a:pt x="889" y="362"/>
                  </a:lnTo>
                  <a:lnTo>
                    <a:pt x="889" y="366"/>
                  </a:lnTo>
                  <a:lnTo>
                    <a:pt x="900" y="378"/>
                  </a:lnTo>
                  <a:lnTo>
                    <a:pt x="905" y="366"/>
                  </a:lnTo>
                  <a:lnTo>
                    <a:pt x="917" y="378"/>
                  </a:lnTo>
                  <a:lnTo>
                    <a:pt x="884" y="402"/>
                  </a:lnTo>
                  <a:lnTo>
                    <a:pt x="851" y="402"/>
                  </a:lnTo>
                  <a:lnTo>
                    <a:pt x="851" y="418"/>
                  </a:lnTo>
                  <a:lnTo>
                    <a:pt x="851" y="439"/>
                  </a:lnTo>
                  <a:lnTo>
                    <a:pt x="837" y="463"/>
                  </a:lnTo>
                  <a:lnTo>
                    <a:pt x="884" y="513"/>
                  </a:lnTo>
                  <a:lnTo>
                    <a:pt x="889" y="517"/>
                  </a:lnTo>
                  <a:lnTo>
                    <a:pt x="889" y="534"/>
                  </a:lnTo>
                  <a:lnTo>
                    <a:pt x="879" y="550"/>
                  </a:lnTo>
                  <a:lnTo>
                    <a:pt x="867" y="558"/>
                  </a:lnTo>
                  <a:lnTo>
                    <a:pt x="846" y="567"/>
                  </a:lnTo>
                  <a:lnTo>
                    <a:pt x="830" y="574"/>
                  </a:lnTo>
                  <a:lnTo>
                    <a:pt x="825" y="584"/>
                  </a:lnTo>
                  <a:lnTo>
                    <a:pt x="813" y="584"/>
                  </a:lnTo>
                  <a:lnTo>
                    <a:pt x="808" y="591"/>
                  </a:lnTo>
                  <a:lnTo>
                    <a:pt x="782" y="591"/>
                  </a:lnTo>
                  <a:lnTo>
                    <a:pt x="761" y="591"/>
                  </a:lnTo>
                  <a:lnTo>
                    <a:pt x="754" y="600"/>
                  </a:lnTo>
                  <a:lnTo>
                    <a:pt x="744" y="600"/>
                  </a:lnTo>
                  <a:lnTo>
                    <a:pt x="744" y="624"/>
                  </a:lnTo>
                  <a:lnTo>
                    <a:pt x="728" y="628"/>
                  </a:lnTo>
                  <a:lnTo>
                    <a:pt x="702" y="607"/>
                  </a:lnTo>
                  <a:lnTo>
                    <a:pt x="690" y="612"/>
                  </a:lnTo>
                  <a:lnTo>
                    <a:pt x="669" y="607"/>
                  </a:lnTo>
                  <a:lnTo>
                    <a:pt x="652" y="607"/>
                  </a:lnTo>
                  <a:lnTo>
                    <a:pt x="648" y="591"/>
                  </a:lnTo>
                  <a:lnTo>
                    <a:pt x="615" y="591"/>
                  </a:lnTo>
                  <a:lnTo>
                    <a:pt x="598" y="584"/>
                  </a:lnTo>
                  <a:lnTo>
                    <a:pt x="610" y="600"/>
                  </a:lnTo>
                  <a:lnTo>
                    <a:pt x="636" y="628"/>
                  </a:lnTo>
                  <a:lnTo>
                    <a:pt x="636" y="662"/>
                  </a:lnTo>
                  <a:lnTo>
                    <a:pt x="652" y="695"/>
                  </a:lnTo>
                  <a:lnTo>
                    <a:pt x="652" y="711"/>
                  </a:lnTo>
                  <a:lnTo>
                    <a:pt x="702" y="718"/>
                  </a:lnTo>
                  <a:lnTo>
                    <a:pt x="702" y="735"/>
                  </a:lnTo>
                  <a:lnTo>
                    <a:pt x="652" y="751"/>
                  </a:lnTo>
                  <a:lnTo>
                    <a:pt x="648" y="773"/>
                  </a:lnTo>
                  <a:lnTo>
                    <a:pt x="636" y="780"/>
                  </a:lnTo>
                  <a:lnTo>
                    <a:pt x="631" y="780"/>
                  </a:lnTo>
                  <a:lnTo>
                    <a:pt x="610" y="796"/>
                  </a:lnTo>
                  <a:lnTo>
                    <a:pt x="598" y="796"/>
                  </a:lnTo>
                  <a:lnTo>
                    <a:pt x="577" y="806"/>
                  </a:lnTo>
                  <a:lnTo>
                    <a:pt x="565" y="824"/>
                  </a:lnTo>
                  <a:lnTo>
                    <a:pt x="560" y="824"/>
                  </a:lnTo>
                  <a:lnTo>
                    <a:pt x="544" y="846"/>
                  </a:lnTo>
                  <a:lnTo>
                    <a:pt x="544" y="841"/>
                  </a:lnTo>
                  <a:lnTo>
                    <a:pt x="544" y="824"/>
                  </a:lnTo>
                  <a:lnTo>
                    <a:pt x="544" y="824"/>
                  </a:lnTo>
                  <a:lnTo>
                    <a:pt x="527" y="824"/>
                  </a:lnTo>
                  <a:lnTo>
                    <a:pt x="506" y="841"/>
                  </a:lnTo>
                  <a:lnTo>
                    <a:pt x="489" y="841"/>
                  </a:lnTo>
                  <a:lnTo>
                    <a:pt x="452" y="806"/>
                  </a:lnTo>
                  <a:lnTo>
                    <a:pt x="430" y="723"/>
                  </a:lnTo>
                  <a:lnTo>
                    <a:pt x="430" y="718"/>
                  </a:lnTo>
                  <a:lnTo>
                    <a:pt x="400" y="685"/>
                  </a:lnTo>
                  <a:lnTo>
                    <a:pt x="383" y="685"/>
                  </a:lnTo>
                  <a:lnTo>
                    <a:pt x="421" y="645"/>
                  </a:lnTo>
                  <a:lnTo>
                    <a:pt x="404" y="624"/>
                  </a:lnTo>
                  <a:lnTo>
                    <a:pt x="400" y="612"/>
                  </a:lnTo>
                  <a:lnTo>
                    <a:pt x="383" y="558"/>
                  </a:lnTo>
                  <a:lnTo>
                    <a:pt x="383" y="501"/>
                  </a:lnTo>
                  <a:lnTo>
                    <a:pt x="400" y="489"/>
                  </a:lnTo>
                  <a:lnTo>
                    <a:pt x="400" y="473"/>
                  </a:lnTo>
                  <a:lnTo>
                    <a:pt x="414" y="456"/>
                  </a:lnTo>
                  <a:lnTo>
                    <a:pt x="414" y="439"/>
                  </a:lnTo>
                  <a:lnTo>
                    <a:pt x="383" y="435"/>
                  </a:lnTo>
                  <a:lnTo>
                    <a:pt x="378" y="439"/>
                  </a:lnTo>
                  <a:lnTo>
                    <a:pt x="329" y="444"/>
                  </a:lnTo>
                  <a:lnTo>
                    <a:pt x="296" y="439"/>
                  </a:lnTo>
                  <a:lnTo>
                    <a:pt x="291" y="444"/>
                  </a:lnTo>
                  <a:lnTo>
                    <a:pt x="279" y="444"/>
                  </a:lnTo>
                  <a:lnTo>
                    <a:pt x="274" y="444"/>
                  </a:lnTo>
                  <a:lnTo>
                    <a:pt x="227" y="385"/>
                  </a:lnTo>
                  <a:lnTo>
                    <a:pt x="215" y="385"/>
                  </a:lnTo>
                  <a:lnTo>
                    <a:pt x="182" y="378"/>
                  </a:lnTo>
                  <a:lnTo>
                    <a:pt x="152" y="385"/>
                  </a:lnTo>
                  <a:lnTo>
                    <a:pt x="119" y="378"/>
                  </a:lnTo>
                  <a:lnTo>
                    <a:pt x="90" y="385"/>
                  </a:lnTo>
                  <a:lnTo>
                    <a:pt x="81" y="362"/>
                  </a:lnTo>
                  <a:lnTo>
                    <a:pt x="59" y="345"/>
                  </a:lnTo>
                  <a:lnTo>
                    <a:pt x="59" y="312"/>
                  </a:lnTo>
                  <a:lnTo>
                    <a:pt x="64" y="307"/>
                  </a:lnTo>
                  <a:lnTo>
                    <a:pt x="64" y="279"/>
                  </a:lnTo>
                  <a:lnTo>
                    <a:pt x="43" y="267"/>
                  </a:lnTo>
                  <a:lnTo>
                    <a:pt x="38" y="234"/>
                  </a:lnTo>
                  <a:lnTo>
                    <a:pt x="26" y="222"/>
                  </a:lnTo>
                  <a:lnTo>
                    <a:pt x="22" y="217"/>
                  </a:lnTo>
                  <a:lnTo>
                    <a:pt x="0" y="222"/>
                  </a:lnTo>
                  <a:lnTo>
                    <a:pt x="22" y="184"/>
                  </a:lnTo>
                  <a:lnTo>
                    <a:pt x="26" y="128"/>
                  </a:lnTo>
                  <a:lnTo>
                    <a:pt x="59" y="83"/>
                  </a:lnTo>
                  <a:lnTo>
                    <a:pt x="81" y="73"/>
                  </a:lnTo>
                  <a:lnTo>
                    <a:pt x="97" y="45"/>
                  </a:lnTo>
                  <a:lnTo>
                    <a:pt x="144" y="28"/>
                  </a:lnTo>
                  <a:lnTo>
                    <a:pt x="135" y="33"/>
                  </a:lnTo>
                  <a:lnTo>
                    <a:pt x="97" y="50"/>
                  </a:lnTo>
                  <a:lnTo>
                    <a:pt x="119" y="111"/>
                  </a:lnTo>
                  <a:lnTo>
                    <a:pt x="119" y="128"/>
                  </a:lnTo>
                  <a:lnTo>
                    <a:pt x="81" y="177"/>
                  </a:lnTo>
                  <a:lnTo>
                    <a:pt x="114" y="213"/>
                  </a:lnTo>
                  <a:lnTo>
                    <a:pt x="114" y="222"/>
                  </a:lnTo>
                  <a:lnTo>
                    <a:pt x="119" y="234"/>
                  </a:lnTo>
                  <a:lnTo>
                    <a:pt x="144" y="222"/>
                  </a:lnTo>
                  <a:lnTo>
                    <a:pt x="161" y="213"/>
                  </a:lnTo>
                  <a:lnTo>
                    <a:pt x="161" y="177"/>
                  </a:lnTo>
                  <a:lnTo>
                    <a:pt x="128" y="123"/>
                  </a:lnTo>
                  <a:lnTo>
                    <a:pt x="128" y="106"/>
                  </a:lnTo>
                  <a:lnTo>
                    <a:pt x="128" y="99"/>
                  </a:lnTo>
                  <a:lnTo>
                    <a:pt x="199" y="73"/>
                  </a:lnTo>
                  <a:lnTo>
                    <a:pt x="227" y="57"/>
                  </a:lnTo>
                  <a:lnTo>
                    <a:pt x="227" y="50"/>
                  </a:lnTo>
                  <a:lnTo>
                    <a:pt x="241" y="57"/>
                  </a:lnTo>
                  <a:lnTo>
                    <a:pt x="253" y="57"/>
                  </a:lnTo>
                  <a:lnTo>
                    <a:pt x="241" y="45"/>
                  </a:lnTo>
                  <a:lnTo>
                    <a:pt x="215" y="45"/>
                  </a:lnTo>
                  <a:lnTo>
                    <a:pt x="215" y="28"/>
                  </a:lnTo>
                  <a:lnTo>
                    <a:pt x="220" y="12"/>
                  </a:lnTo>
                  <a:lnTo>
                    <a:pt x="237" y="0"/>
                  </a:lnTo>
                  <a:lnTo>
                    <a:pt x="241" y="12"/>
                  </a:lnTo>
                  <a:lnTo>
                    <a:pt x="258" y="57"/>
                  </a:lnTo>
                  <a:lnTo>
                    <a:pt x="279" y="50"/>
                  </a:lnTo>
                  <a:lnTo>
                    <a:pt x="312" y="57"/>
                  </a:lnTo>
                  <a:lnTo>
                    <a:pt x="345" y="83"/>
                  </a:lnTo>
                  <a:lnTo>
                    <a:pt x="362" y="99"/>
                  </a:lnTo>
                  <a:lnTo>
                    <a:pt x="350" y="106"/>
                  </a:lnTo>
                  <a:lnTo>
                    <a:pt x="350" y="123"/>
                  </a:lnTo>
                  <a:lnTo>
                    <a:pt x="367" y="128"/>
                  </a:lnTo>
                  <a:lnTo>
                    <a:pt x="501" y="123"/>
                  </a:lnTo>
                  <a:lnTo>
                    <a:pt x="506" y="123"/>
                  </a:lnTo>
                  <a:lnTo>
                    <a:pt x="506" y="128"/>
                  </a:lnTo>
                  <a:lnTo>
                    <a:pt x="527" y="144"/>
                  </a:lnTo>
                  <a:lnTo>
                    <a:pt x="577" y="161"/>
                  </a:lnTo>
                  <a:lnTo>
                    <a:pt x="598" y="161"/>
                  </a:lnTo>
                  <a:lnTo>
                    <a:pt x="636" y="128"/>
                  </a:lnTo>
                  <a:lnTo>
                    <a:pt x="674" y="128"/>
                  </a:lnTo>
                  <a:lnTo>
                    <a:pt x="652" y="123"/>
                  </a:lnTo>
                  <a:lnTo>
                    <a:pt x="636" y="128"/>
                  </a:lnTo>
                  <a:lnTo>
                    <a:pt x="636" y="111"/>
                  </a:lnTo>
                  <a:lnTo>
                    <a:pt x="685" y="123"/>
                  </a:lnTo>
                  <a:lnTo>
                    <a:pt x="716" y="111"/>
                  </a:lnTo>
                  <a:lnTo>
                    <a:pt x="799" y="111"/>
                  </a:lnTo>
                  <a:lnTo>
                    <a:pt x="799" y="111"/>
                  </a:lnTo>
                  <a:lnTo>
                    <a:pt x="778" y="123"/>
                  </a:lnTo>
                  <a:lnTo>
                    <a:pt x="770" y="128"/>
                  </a:lnTo>
                  <a:lnTo>
                    <a:pt x="728" y="128"/>
                  </a:lnTo>
                  <a:lnTo>
                    <a:pt x="723" y="128"/>
                  </a:lnTo>
                  <a:lnTo>
                    <a:pt x="740" y="128"/>
                  </a:lnTo>
                  <a:lnTo>
                    <a:pt x="740" y="139"/>
                  </a:lnTo>
                  <a:lnTo>
                    <a:pt x="723" y="139"/>
                  </a:lnTo>
                  <a:lnTo>
                    <a:pt x="723" y="144"/>
                  </a:lnTo>
                  <a:lnTo>
                    <a:pt x="728" y="144"/>
                  </a:lnTo>
                  <a:lnTo>
                    <a:pt x="728" y="139"/>
                  </a:lnTo>
                  <a:lnTo>
                    <a:pt x="740" y="139"/>
                  </a:lnTo>
                  <a:lnTo>
                    <a:pt x="754" y="156"/>
                  </a:lnTo>
                  <a:lnTo>
                    <a:pt x="723" y="161"/>
                  </a:lnTo>
                  <a:lnTo>
                    <a:pt x="740" y="161"/>
                  </a:lnTo>
                  <a:lnTo>
                    <a:pt x="754" y="161"/>
                  </a:lnTo>
                  <a:lnTo>
                    <a:pt x="754" y="144"/>
                  </a:lnTo>
                  <a:lnTo>
                    <a:pt x="770" y="184"/>
                  </a:lnTo>
                  <a:lnTo>
                    <a:pt x="778" y="168"/>
                  </a:lnTo>
                  <a:lnTo>
                    <a:pt x="778" y="168"/>
                  </a:lnTo>
                  <a:lnTo>
                    <a:pt x="778" y="194"/>
                  </a:lnTo>
                  <a:lnTo>
                    <a:pt x="782" y="177"/>
                  </a:lnTo>
                  <a:lnTo>
                    <a:pt x="792" y="177"/>
                  </a:lnTo>
                  <a:lnTo>
                    <a:pt x="778" y="168"/>
                  </a:lnTo>
                  <a:lnTo>
                    <a:pt x="782" y="161"/>
                  </a:lnTo>
                  <a:lnTo>
                    <a:pt x="799" y="168"/>
                  </a:lnTo>
                  <a:lnTo>
                    <a:pt x="813" y="194"/>
                  </a:lnTo>
                  <a:lnTo>
                    <a:pt x="808" y="177"/>
                  </a:lnTo>
                  <a:lnTo>
                    <a:pt x="825" y="177"/>
                  </a:lnTo>
                  <a:lnTo>
                    <a:pt x="825" y="168"/>
                  </a:lnTo>
                  <a:lnTo>
                    <a:pt x="846" y="194"/>
                  </a:lnTo>
                  <a:lnTo>
                    <a:pt x="863" y="194"/>
                  </a:lnTo>
                  <a:lnTo>
                    <a:pt x="879" y="213"/>
                  </a:lnTo>
                  <a:lnTo>
                    <a:pt x="879" y="217"/>
                  </a:lnTo>
                  <a:lnTo>
                    <a:pt x="863" y="234"/>
                  </a:lnTo>
                  <a:lnTo>
                    <a:pt x="863" y="234"/>
                  </a:lnTo>
                  <a:lnTo>
                    <a:pt x="867" y="222"/>
                  </a:lnTo>
                  <a:lnTo>
                    <a:pt x="851" y="267"/>
                  </a:lnTo>
                  <a:lnTo>
                    <a:pt x="825" y="267"/>
                  </a:lnTo>
                  <a:lnTo>
                    <a:pt x="825" y="272"/>
                  </a:lnTo>
                  <a:lnTo>
                    <a:pt x="837" y="279"/>
                  </a:lnTo>
                  <a:lnTo>
                    <a:pt x="863" y="272"/>
                  </a:lnTo>
                  <a:lnTo>
                    <a:pt x="863" y="279"/>
                  </a:lnTo>
                  <a:lnTo>
                    <a:pt x="867" y="267"/>
                  </a:lnTo>
                  <a:lnTo>
                    <a:pt x="900" y="272"/>
                  </a:lnTo>
                  <a:lnTo>
                    <a:pt x="905" y="267"/>
                  </a:lnTo>
                  <a:lnTo>
                    <a:pt x="917" y="267"/>
                  </a:lnTo>
                  <a:lnTo>
                    <a:pt x="938" y="272"/>
                  </a:lnTo>
                  <a:lnTo>
                    <a:pt x="938" y="272"/>
                  </a:lnTo>
                  <a:lnTo>
                    <a:pt x="938" y="272"/>
                  </a:lnTo>
                  <a:close/>
                  <a:moveTo>
                    <a:pt x="506" y="33"/>
                  </a:moveTo>
                  <a:lnTo>
                    <a:pt x="501" y="33"/>
                  </a:lnTo>
                  <a:lnTo>
                    <a:pt x="506" y="33"/>
                  </a:lnTo>
                  <a:lnTo>
                    <a:pt x="506" y="33"/>
                  </a:lnTo>
                  <a:lnTo>
                    <a:pt x="506" y="33"/>
                  </a:lnTo>
                  <a:lnTo>
                    <a:pt x="506" y="33"/>
                  </a:lnTo>
                  <a:close/>
                  <a:moveTo>
                    <a:pt x="652" y="106"/>
                  </a:moveTo>
                  <a:lnTo>
                    <a:pt x="648" y="99"/>
                  </a:lnTo>
                  <a:lnTo>
                    <a:pt x="631" y="99"/>
                  </a:lnTo>
                  <a:lnTo>
                    <a:pt x="631" y="90"/>
                  </a:lnTo>
                  <a:lnTo>
                    <a:pt x="636" y="83"/>
                  </a:lnTo>
                  <a:lnTo>
                    <a:pt x="652" y="90"/>
                  </a:lnTo>
                  <a:lnTo>
                    <a:pt x="664" y="83"/>
                  </a:lnTo>
                  <a:lnTo>
                    <a:pt x="669" y="90"/>
                  </a:lnTo>
                  <a:lnTo>
                    <a:pt x="652" y="106"/>
                  </a:lnTo>
                  <a:lnTo>
                    <a:pt x="652" y="106"/>
                  </a:lnTo>
                  <a:lnTo>
                    <a:pt x="652" y="106"/>
                  </a:lnTo>
                  <a:close/>
                  <a:moveTo>
                    <a:pt x="565" y="99"/>
                  </a:moveTo>
                  <a:lnTo>
                    <a:pt x="556" y="99"/>
                  </a:lnTo>
                  <a:lnTo>
                    <a:pt x="565" y="99"/>
                  </a:lnTo>
                  <a:lnTo>
                    <a:pt x="565" y="99"/>
                  </a:lnTo>
                  <a:lnTo>
                    <a:pt x="565" y="99"/>
                  </a:lnTo>
                  <a:lnTo>
                    <a:pt x="565" y="99"/>
                  </a:lnTo>
                  <a:close/>
                  <a:moveTo>
                    <a:pt x="879" y="234"/>
                  </a:moveTo>
                  <a:lnTo>
                    <a:pt x="867" y="234"/>
                  </a:lnTo>
                  <a:lnTo>
                    <a:pt x="879" y="222"/>
                  </a:lnTo>
                  <a:lnTo>
                    <a:pt x="879" y="234"/>
                  </a:lnTo>
                  <a:lnTo>
                    <a:pt x="879" y="234"/>
                  </a:lnTo>
                  <a:lnTo>
                    <a:pt x="879" y="234"/>
                  </a:lnTo>
                  <a:close/>
                  <a:moveTo>
                    <a:pt x="867" y="250"/>
                  </a:moveTo>
                  <a:lnTo>
                    <a:pt x="863" y="250"/>
                  </a:lnTo>
                  <a:lnTo>
                    <a:pt x="879" y="234"/>
                  </a:lnTo>
                  <a:lnTo>
                    <a:pt x="867" y="250"/>
                  </a:lnTo>
                  <a:lnTo>
                    <a:pt x="867" y="250"/>
                  </a:lnTo>
                  <a:lnTo>
                    <a:pt x="867" y="250"/>
                  </a:lnTo>
                  <a:close/>
                  <a:moveTo>
                    <a:pt x="851" y="255"/>
                  </a:moveTo>
                  <a:lnTo>
                    <a:pt x="863" y="250"/>
                  </a:lnTo>
                  <a:lnTo>
                    <a:pt x="879" y="250"/>
                  </a:lnTo>
                  <a:lnTo>
                    <a:pt x="867" y="255"/>
                  </a:lnTo>
                  <a:lnTo>
                    <a:pt x="851" y="255"/>
                  </a:lnTo>
                  <a:lnTo>
                    <a:pt x="851" y="255"/>
                  </a:lnTo>
                  <a:lnTo>
                    <a:pt x="851" y="255"/>
                  </a:lnTo>
                  <a:close/>
                  <a:moveTo>
                    <a:pt x="867" y="267"/>
                  </a:moveTo>
                  <a:lnTo>
                    <a:pt x="867" y="267"/>
                  </a:lnTo>
                  <a:lnTo>
                    <a:pt x="879" y="255"/>
                  </a:lnTo>
                  <a:lnTo>
                    <a:pt x="867" y="267"/>
                  </a:lnTo>
                  <a:lnTo>
                    <a:pt x="867" y="267"/>
                  </a:lnTo>
                  <a:lnTo>
                    <a:pt x="867" y="267"/>
                  </a:lnTo>
                  <a:close/>
                  <a:moveTo>
                    <a:pt x="863" y="267"/>
                  </a:moveTo>
                  <a:lnTo>
                    <a:pt x="851" y="267"/>
                  </a:lnTo>
                  <a:lnTo>
                    <a:pt x="867" y="255"/>
                  </a:lnTo>
                  <a:lnTo>
                    <a:pt x="863" y="267"/>
                  </a:lnTo>
                  <a:lnTo>
                    <a:pt x="863" y="267"/>
                  </a:lnTo>
                  <a:lnTo>
                    <a:pt x="863" y="267"/>
                  </a:lnTo>
                  <a:close/>
                  <a:moveTo>
                    <a:pt x="851" y="272"/>
                  </a:moveTo>
                  <a:lnTo>
                    <a:pt x="851" y="267"/>
                  </a:lnTo>
                  <a:lnTo>
                    <a:pt x="863" y="267"/>
                  </a:lnTo>
                  <a:lnTo>
                    <a:pt x="851" y="272"/>
                  </a:lnTo>
                  <a:lnTo>
                    <a:pt x="851" y="272"/>
                  </a:lnTo>
                  <a:lnTo>
                    <a:pt x="851" y="272"/>
                  </a:lnTo>
                  <a:close/>
                  <a:moveTo>
                    <a:pt x="851" y="272"/>
                  </a:moveTo>
                  <a:lnTo>
                    <a:pt x="846" y="272"/>
                  </a:lnTo>
                  <a:lnTo>
                    <a:pt x="867" y="267"/>
                  </a:lnTo>
                  <a:lnTo>
                    <a:pt x="851" y="272"/>
                  </a:lnTo>
                  <a:lnTo>
                    <a:pt x="851" y="272"/>
                  </a:lnTo>
                  <a:lnTo>
                    <a:pt x="851" y="272"/>
                  </a:lnTo>
                  <a:close/>
                  <a:moveTo>
                    <a:pt x="846" y="272"/>
                  </a:moveTo>
                  <a:lnTo>
                    <a:pt x="825" y="272"/>
                  </a:lnTo>
                  <a:lnTo>
                    <a:pt x="846" y="272"/>
                  </a:lnTo>
                  <a:lnTo>
                    <a:pt x="851" y="272"/>
                  </a:lnTo>
                  <a:lnTo>
                    <a:pt x="846" y="272"/>
                  </a:lnTo>
                  <a:lnTo>
                    <a:pt x="846" y="272"/>
                  </a:lnTo>
                  <a:lnTo>
                    <a:pt x="846" y="27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9" name="Freeform 589">
              <a:extLst>
                <a:ext uri="{FF2B5EF4-FFF2-40B4-BE49-F238E27FC236}">
                  <a16:creationId xmlns:a16="http://schemas.microsoft.com/office/drawing/2014/main" id="{59A7E36C-758C-40E1-81AC-3E7AA61AF09F}"/>
                </a:ext>
              </a:extLst>
            </p:cNvPr>
            <p:cNvSpPr>
              <a:spLocks noEditPoints="1"/>
            </p:cNvSpPr>
            <p:nvPr/>
          </p:nvSpPr>
          <p:spPr bwMode="gray">
            <a:xfrm>
              <a:off x="4852313" y="3514186"/>
              <a:ext cx="8645" cy="21409"/>
            </a:xfrm>
            <a:custGeom>
              <a:avLst/>
              <a:gdLst>
                <a:gd name="T0" fmla="*/ 16 w 21"/>
                <a:gd name="T1" fmla="*/ 0 h 52"/>
                <a:gd name="T2" fmla="*/ 7 w 21"/>
                <a:gd name="T3" fmla="*/ 0 h 52"/>
                <a:gd name="T4" fmla="*/ 16 w 21"/>
                <a:gd name="T5" fmla="*/ 0 h 52"/>
                <a:gd name="T6" fmla="*/ 16 w 21"/>
                <a:gd name="T7" fmla="*/ 0 h 52"/>
                <a:gd name="T8" fmla="*/ 16 w 21"/>
                <a:gd name="T9" fmla="*/ 0 h 52"/>
                <a:gd name="T10" fmla="*/ 16 w 21"/>
                <a:gd name="T11" fmla="*/ 0 h 52"/>
                <a:gd name="T12" fmla="*/ 0 w 21"/>
                <a:gd name="T13" fmla="*/ 52 h 52"/>
                <a:gd name="T14" fmla="*/ 0 w 21"/>
                <a:gd name="T15" fmla="*/ 40 h 52"/>
                <a:gd name="T16" fmla="*/ 21 w 21"/>
                <a:gd name="T17" fmla="*/ 52 h 52"/>
                <a:gd name="T18" fmla="*/ 0 w 21"/>
                <a:gd name="T19" fmla="*/ 52 h 52"/>
                <a:gd name="T20" fmla="*/ 0 w 21"/>
                <a:gd name="T21" fmla="*/ 52 h 52"/>
                <a:gd name="T22" fmla="*/ 0 w 21"/>
                <a:gd name="T23"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2">
                  <a:moveTo>
                    <a:pt x="16" y="0"/>
                  </a:moveTo>
                  <a:lnTo>
                    <a:pt x="7" y="0"/>
                  </a:lnTo>
                  <a:lnTo>
                    <a:pt x="16" y="0"/>
                  </a:lnTo>
                  <a:lnTo>
                    <a:pt x="16" y="0"/>
                  </a:lnTo>
                  <a:lnTo>
                    <a:pt x="16" y="0"/>
                  </a:lnTo>
                  <a:lnTo>
                    <a:pt x="16" y="0"/>
                  </a:lnTo>
                  <a:close/>
                  <a:moveTo>
                    <a:pt x="0" y="52"/>
                  </a:moveTo>
                  <a:lnTo>
                    <a:pt x="0" y="40"/>
                  </a:lnTo>
                  <a:lnTo>
                    <a:pt x="21" y="52"/>
                  </a:lnTo>
                  <a:lnTo>
                    <a:pt x="0" y="52"/>
                  </a:lnTo>
                  <a:lnTo>
                    <a:pt x="0" y="52"/>
                  </a:lnTo>
                  <a:lnTo>
                    <a:pt x="0" y="5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840" name="Freeform 452">
            <a:extLst>
              <a:ext uri="{FF2B5EF4-FFF2-40B4-BE49-F238E27FC236}">
                <a16:creationId xmlns:a16="http://schemas.microsoft.com/office/drawing/2014/main" id="{7EF375D7-4B76-4770-AC57-4050EDE10813}"/>
              </a:ext>
            </a:extLst>
          </p:cNvPr>
          <p:cNvSpPr>
            <a:spLocks noEditPoints="1"/>
          </p:cNvSpPr>
          <p:nvPr/>
        </p:nvSpPr>
        <p:spPr bwMode="gray">
          <a:xfrm>
            <a:off x="10797201" y="420914"/>
            <a:ext cx="2020658" cy="1552046"/>
          </a:xfrm>
          <a:custGeom>
            <a:avLst/>
            <a:gdLst>
              <a:gd name="T0" fmla="*/ 1604 w 4263"/>
              <a:gd name="T1" fmla="*/ 2143 h 3274"/>
              <a:gd name="T2" fmla="*/ 1549 w 4263"/>
              <a:gd name="T3" fmla="*/ 1949 h 3274"/>
              <a:gd name="T4" fmla="*/ 1240 w 4263"/>
              <a:gd name="T5" fmla="*/ 1892 h 3274"/>
              <a:gd name="T6" fmla="*/ 1219 w 4263"/>
              <a:gd name="T7" fmla="*/ 1555 h 3274"/>
              <a:gd name="T8" fmla="*/ 756 w 4263"/>
              <a:gd name="T9" fmla="*/ 1205 h 3274"/>
              <a:gd name="T10" fmla="*/ 236 w 4263"/>
              <a:gd name="T11" fmla="*/ 1099 h 3274"/>
              <a:gd name="T12" fmla="*/ 16 w 4263"/>
              <a:gd name="T13" fmla="*/ 893 h 3274"/>
              <a:gd name="T14" fmla="*/ 718 w 4263"/>
              <a:gd name="T15" fmla="*/ 501 h 3274"/>
              <a:gd name="T16" fmla="*/ 1516 w 4263"/>
              <a:gd name="T17" fmla="*/ 305 h 3274"/>
              <a:gd name="T18" fmla="*/ 2315 w 4263"/>
              <a:gd name="T19" fmla="*/ 189 h 3274"/>
              <a:gd name="T20" fmla="*/ 2482 w 4263"/>
              <a:gd name="T21" fmla="*/ 24 h 3274"/>
              <a:gd name="T22" fmla="*/ 3439 w 4263"/>
              <a:gd name="T23" fmla="*/ 123 h 3274"/>
              <a:gd name="T24" fmla="*/ 3439 w 4263"/>
              <a:gd name="T25" fmla="*/ 506 h 3274"/>
              <a:gd name="T26" fmla="*/ 3633 w 4263"/>
              <a:gd name="T27" fmla="*/ 527 h 3274"/>
              <a:gd name="T28" fmla="*/ 3746 w 4263"/>
              <a:gd name="T29" fmla="*/ 749 h 3274"/>
              <a:gd name="T30" fmla="*/ 3789 w 4263"/>
              <a:gd name="T31" fmla="*/ 1054 h 3274"/>
              <a:gd name="T32" fmla="*/ 3734 w 4263"/>
              <a:gd name="T33" fmla="*/ 1259 h 3274"/>
              <a:gd name="T34" fmla="*/ 3578 w 4263"/>
              <a:gd name="T35" fmla="*/ 1489 h 3274"/>
              <a:gd name="T36" fmla="*/ 3297 w 4263"/>
              <a:gd name="T37" fmla="*/ 1637 h 3274"/>
              <a:gd name="T38" fmla="*/ 3493 w 4263"/>
              <a:gd name="T39" fmla="*/ 1814 h 3274"/>
              <a:gd name="T40" fmla="*/ 3531 w 4263"/>
              <a:gd name="T41" fmla="*/ 1982 h 3274"/>
              <a:gd name="T42" fmla="*/ 3137 w 4263"/>
              <a:gd name="T43" fmla="*/ 2015 h 3274"/>
              <a:gd name="T44" fmla="*/ 3326 w 4263"/>
              <a:gd name="T45" fmla="*/ 2197 h 3274"/>
              <a:gd name="T46" fmla="*/ 2839 w 4263"/>
              <a:gd name="T47" fmla="*/ 2275 h 3274"/>
              <a:gd name="T48" fmla="*/ 2532 w 4263"/>
              <a:gd name="T49" fmla="*/ 2592 h 3274"/>
              <a:gd name="T50" fmla="*/ 2272 w 4263"/>
              <a:gd name="T51" fmla="*/ 2670 h 3274"/>
              <a:gd name="T52" fmla="*/ 2154 w 4263"/>
              <a:gd name="T53" fmla="*/ 2941 h 3274"/>
              <a:gd name="T54" fmla="*/ 2067 w 4263"/>
              <a:gd name="T55" fmla="*/ 3163 h 3274"/>
              <a:gd name="T56" fmla="*/ 1927 w 4263"/>
              <a:gd name="T57" fmla="*/ 3203 h 3274"/>
              <a:gd name="T58" fmla="*/ 1743 w 4263"/>
              <a:gd name="T59" fmla="*/ 3163 h 3274"/>
              <a:gd name="T60" fmla="*/ 1672 w 4263"/>
              <a:gd name="T61" fmla="*/ 3031 h 3274"/>
              <a:gd name="T62" fmla="*/ 1511 w 4263"/>
              <a:gd name="T63" fmla="*/ 2821 h 3274"/>
              <a:gd name="T64" fmla="*/ 1533 w 4263"/>
              <a:gd name="T65" fmla="*/ 2736 h 3274"/>
              <a:gd name="T66" fmla="*/ 1424 w 4263"/>
              <a:gd name="T67" fmla="*/ 2632 h 3274"/>
              <a:gd name="T68" fmla="*/ 1353 w 4263"/>
              <a:gd name="T69" fmla="*/ 2514 h 3274"/>
              <a:gd name="T70" fmla="*/ 1566 w 4263"/>
              <a:gd name="T71" fmla="*/ 2393 h 3274"/>
              <a:gd name="T72" fmla="*/ 1386 w 4263"/>
              <a:gd name="T73" fmla="*/ 2320 h 3274"/>
              <a:gd name="T74" fmla="*/ 2272 w 4263"/>
              <a:gd name="T75" fmla="*/ 67 h 3274"/>
              <a:gd name="T76" fmla="*/ 2298 w 4263"/>
              <a:gd name="T77" fmla="*/ 173 h 3274"/>
              <a:gd name="T78" fmla="*/ 3666 w 4263"/>
              <a:gd name="T79" fmla="*/ 267 h 3274"/>
              <a:gd name="T80" fmla="*/ 3881 w 4263"/>
              <a:gd name="T81" fmla="*/ 749 h 3274"/>
              <a:gd name="T82" fmla="*/ 3649 w 4263"/>
              <a:gd name="T83" fmla="*/ 917 h 3274"/>
              <a:gd name="T84" fmla="*/ 3881 w 4263"/>
              <a:gd name="T85" fmla="*/ 962 h 3274"/>
              <a:gd name="T86" fmla="*/ 3741 w 4263"/>
              <a:gd name="T87" fmla="*/ 1127 h 3274"/>
              <a:gd name="T88" fmla="*/ 215 w 4263"/>
              <a:gd name="T89" fmla="*/ 1184 h 3274"/>
              <a:gd name="T90" fmla="*/ 3864 w 4263"/>
              <a:gd name="T91" fmla="*/ 1337 h 3274"/>
              <a:gd name="T92" fmla="*/ 1133 w 4263"/>
              <a:gd name="T93" fmla="*/ 1460 h 3274"/>
              <a:gd name="T94" fmla="*/ 1164 w 4263"/>
              <a:gd name="T95" fmla="*/ 1600 h 3274"/>
              <a:gd name="T96" fmla="*/ 1202 w 4263"/>
              <a:gd name="T97" fmla="*/ 1633 h 3274"/>
              <a:gd name="T98" fmla="*/ 1240 w 4263"/>
              <a:gd name="T99" fmla="*/ 1687 h 3274"/>
              <a:gd name="T100" fmla="*/ 1209 w 4263"/>
              <a:gd name="T101" fmla="*/ 1703 h 3274"/>
              <a:gd name="T102" fmla="*/ 1226 w 4263"/>
              <a:gd name="T103" fmla="*/ 1838 h 3274"/>
              <a:gd name="T104" fmla="*/ 3342 w 4263"/>
              <a:gd name="T105" fmla="*/ 1933 h 3274"/>
              <a:gd name="T106" fmla="*/ 1353 w 4263"/>
              <a:gd name="T107" fmla="*/ 2143 h 3274"/>
              <a:gd name="T108" fmla="*/ 3486 w 4263"/>
              <a:gd name="T109" fmla="*/ 2126 h 3274"/>
              <a:gd name="T110" fmla="*/ 1457 w 4263"/>
              <a:gd name="T111" fmla="*/ 2308 h 3274"/>
              <a:gd name="T112" fmla="*/ 1370 w 4263"/>
              <a:gd name="T113" fmla="*/ 2476 h 3274"/>
              <a:gd name="T114" fmla="*/ 2504 w 4263"/>
              <a:gd name="T115" fmla="*/ 2599 h 3274"/>
              <a:gd name="T116" fmla="*/ 1408 w 4263"/>
              <a:gd name="T117" fmla="*/ 2641 h 3274"/>
              <a:gd name="T118" fmla="*/ 1511 w 4263"/>
              <a:gd name="T119" fmla="*/ 2764 h 3274"/>
              <a:gd name="T120" fmla="*/ 1566 w 4263"/>
              <a:gd name="T121" fmla="*/ 2903 h 3274"/>
              <a:gd name="T122" fmla="*/ 1776 w 4263"/>
              <a:gd name="T123" fmla="*/ 3163 h 3274"/>
              <a:gd name="T124" fmla="*/ 2071 w 4263"/>
              <a:gd name="T125" fmla="*/ 3258 h 3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63" h="3274">
                <a:moveTo>
                  <a:pt x="1441" y="2308"/>
                </a:moveTo>
                <a:lnTo>
                  <a:pt x="1436" y="2299"/>
                </a:lnTo>
                <a:lnTo>
                  <a:pt x="1408" y="2299"/>
                </a:lnTo>
                <a:lnTo>
                  <a:pt x="1424" y="2292"/>
                </a:lnTo>
                <a:lnTo>
                  <a:pt x="1382" y="2299"/>
                </a:lnTo>
                <a:lnTo>
                  <a:pt x="1382" y="2292"/>
                </a:lnTo>
                <a:lnTo>
                  <a:pt x="1398" y="2292"/>
                </a:lnTo>
                <a:lnTo>
                  <a:pt x="1441" y="2259"/>
                </a:lnTo>
                <a:lnTo>
                  <a:pt x="1478" y="2259"/>
                </a:lnTo>
                <a:lnTo>
                  <a:pt x="1490" y="2259"/>
                </a:lnTo>
                <a:lnTo>
                  <a:pt x="1478" y="2259"/>
                </a:lnTo>
                <a:lnTo>
                  <a:pt x="1504" y="2266"/>
                </a:lnTo>
                <a:lnTo>
                  <a:pt x="1559" y="2254"/>
                </a:lnTo>
                <a:lnTo>
                  <a:pt x="1559" y="2242"/>
                </a:lnTo>
                <a:lnTo>
                  <a:pt x="1542" y="2237"/>
                </a:lnTo>
                <a:lnTo>
                  <a:pt x="1570" y="2225"/>
                </a:lnTo>
                <a:lnTo>
                  <a:pt x="1528" y="2237"/>
                </a:lnTo>
                <a:lnTo>
                  <a:pt x="1549" y="2209"/>
                </a:lnTo>
                <a:lnTo>
                  <a:pt x="1533" y="2209"/>
                </a:lnTo>
                <a:lnTo>
                  <a:pt x="1542" y="2188"/>
                </a:lnTo>
                <a:lnTo>
                  <a:pt x="1559" y="2188"/>
                </a:lnTo>
                <a:lnTo>
                  <a:pt x="1542" y="2204"/>
                </a:lnTo>
                <a:lnTo>
                  <a:pt x="1566" y="2197"/>
                </a:lnTo>
                <a:lnTo>
                  <a:pt x="1587" y="2221"/>
                </a:lnTo>
                <a:lnTo>
                  <a:pt x="1596" y="2209"/>
                </a:lnTo>
                <a:lnTo>
                  <a:pt x="1580" y="2204"/>
                </a:lnTo>
                <a:lnTo>
                  <a:pt x="1596" y="2197"/>
                </a:lnTo>
                <a:lnTo>
                  <a:pt x="1596" y="2204"/>
                </a:lnTo>
                <a:lnTo>
                  <a:pt x="1604" y="2209"/>
                </a:lnTo>
                <a:lnTo>
                  <a:pt x="1596" y="2197"/>
                </a:lnTo>
                <a:lnTo>
                  <a:pt x="1566" y="2188"/>
                </a:lnTo>
                <a:lnTo>
                  <a:pt x="1604" y="2181"/>
                </a:lnTo>
                <a:lnTo>
                  <a:pt x="1580" y="2181"/>
                </a:lnTo>
                <a:lnTo>
                  <a:pt x="1580" y="2164"/>
                </a:lnTo>
                <a:lnTo>
                  <a:pt x="1587" y="2164"/>
                </a:lnTo>
                <a:lnTo>
                  <a:pt x="1549" y="2181"/>
                </a:lnTo>
                <a:lnTo>
                  <a:pt x="1533" y="2181"/>
                </a:lnTo>
                <a:lnTo>
                  <a:pt x="1559" y="2148"/>
                </a:lnTo>
                <a:lnTo>
                  <a:pt x="1604" y="2143"/>
                </a:lnTo>
                <a:lnTo>
                  <a:pt x="1549" y="2143"/>
                </a:lnTo>
                <a:lnTo>
                  <a:pt x="1559" y="2126"/>
                </a:lnTo>
                <a:lnTo>
                  <a:pt x="1587" y="2131"/>
                </a:lnTo>
                <a:lnTo>
                  <a:pt x="1559" y="2114"/>
                </a:lnTo>
                <a:lnTo>
                  <a:pt x="1570" y="2110"/>
                </a:lnTo>
                <a:lnTo>
                  <a:pt x="1604" y="2110"/>
                </a:lnTo>
                <a:lnTo>
                  <a:pt x="1596" y="2093"/>
                </a:lnTo>
                <a:lnTo>
                  <a:pt x="1570" y="2086"/>
                </a:lnTo>
                <a:lnTo>
                  <a:pt x="1596" y="2077"/>
                </a:lnTo>
                <a:lnTo>
                  <a:pt x="1528" y="2086"/>
                </a:lnTo>
                <a:lnTo>
                  <a:pt x="1559" y="2077"/>
                </a:lnTo>
                <a:lnTo>
                  <a:pt x="1528" y="2070"/>
                </a:lnTo>
                <a:lnTo>
                  <a:pt x="1511" y="2086"/>
                </a:lnTo>
                <a:lnTo>
                  <a:pt x="1452" y="2070"/>
                </a:lnTo>
                <a:lnTo>
                  <a:pt x="1424" y="2044"/>
                </a:lnTo>
                <a:lnTo>
                  <a:pt x="1344" y="2032"/>
                </a:lnTo>
                <a:lnTo>
                  <a:pt x="1289" y="1987"/>
                </a:lnTo>
                <a:lnTo>
                  <a:pt x="1327" y="1966"/>
                </a:lnTo>
                <a:lnTo>
                  <a:pt x="1424" y="1982"/>
                </a:lnTo>
                <a:lnTo>
                  <a:pt x="1504" y="2020"/>
                </a:lnTo>
                <a:lnTo>
                  <a:pt x="1570" y="2037"/>
                </a:lnTo>
                <a:lnTo>
                  <a:pt x="1580" y="2032"/>
                </a:lnTo>
                <a:lnTo>
                  <a:pt x="1566" y="2020"/>
                </a:lnTo>
                <a:lnTo>
                  <a:pt x="1580" y="2015"/>
                </a:lnTo>
                <a:lnTo>
                  <a:pt x="1549" y="2020"/>
                </a:lnTo>
                <a:lnTo>
                  <a:pt x="1516" y="2003"/>
                </a:lnTo>
                <a:lnTo>
                  <a:pt x="1528" y="1999"/>
                </a:lnTo>
                <a:lnTo>
                  <a:pt x="1549" y="2015"/>
                </a:lnTo>
                <a:lnTo>
                  <a:pt x="1566" y="2003"/>
                </a:lnTo>
                <a:lnTo>
                  <a:pt x="1542" y="1999"/>
                </a:lnTo>
                <a:lnTo>
                  <a:pt x="1570" y="1999"/>
                </a:lnTo>
                <a:lnTo>
                  <a:pt x="1511" y="1982"/>
                </a:lnTo>
                <a:lnTo>
                  <a:pt x="1528" y="1975"/>
                </a:lnTo>
                <a:lnTo>
                  <a:pt x="1570" y="1982"/>
                </a:lnTo>
                <a:lnTo>
                  <a:pt x="1549" y="1975"/>
                </a:lnTo>
                <a:lnTo>
                  <a:pt x="1559" y="1966"/>
                </a:lnTo>
                <a:lnTo>
                  <a:pt x="1533" y="1966"/>
                </a:lnTo>
                <a:lnTo>
                  <a:pt x="1478" y="1942"/>
                </a:lnTo>
                <a:lnTo>
                  <a:pt x="1549" y="1949"/>
                </a:lnTo>
                <a:lnTo>
                  <a:pt x="1511" y="1942"/>
                </a:lnTo>
                <a:lnTo>
                  <a:pt x="1528" y="1926"/>
                </a:lnTo>
                <a:lnTo>
                  <a:pt x="1457" y="1933"/>
                </a:lnTo>
                <a:lnTo>
                  <a:pt x="1511" y="1909"/>
                </a:lnTo>
                <a:lnTo>
                  <a:pt x="1504" y="1904"/>
                </a:lnTo>
                <a:lnTo>
                  <a:pt x="1436" y="1926"/>
                </a:lnTo>
                <a:lnTo>
                  <a:pt x="1457" y="1909"/>
                </a:lnTo>
                <a:lnTo>
                  <a:pt x="1457" y="1904"/>
                </a:lnTo>
                <a:lnTo>
                  <a:pt x="1516" y="1888"/>
                </a:lnTo>
                <a:lnTo>
                  <a:pt x="1495" y="1876"/>
                </a:lnTo>
                <a:lnTo>
                  <a:pt x="1441" y="1892"/>
                </a:lnTo>
                <a:lnTo>
                  <a:pt x="1403" y="1892"/>
                </a:lnTo>
                <a:lnTo>
                  <a:pt x="1441" y="1871"/>
                </a:lnTo>
                <a:lnTo>
                  <a:pt x="1490" y="1871"/>
                </a:lnTo>
                <a:lnTo>
                  <a:pt x="1504" y="1855"/>
                </a:lnTo>
                <a:lnTo>
                  <a:pt x="1462" y="1864"/>
                </a:lnTo>
                <a:lnTo>
                  <a:pt x="1386" y="1855"/>
                </a:lnTo>
                <a:lnTo>
                  <a:pt x="1424" y="1814"/>
                </a:lnTo>
                <a:lnTo>
                  <a:pt x="1408" y="1822"/>
                </a:lnTo>
                <a:lnTo>
                  <a:pt x="1403" y="1831"/>
                </a:lnTo>
                <a:lnTo>
                  <a:pt x="1382" y="1838"/>
                </a:lnTo>
                <a:lnTo>
                  <a:pt x="1382" y="1810"/>
                </a:lnTo>
                <a:lnTo>
                  <a:pt x="1353" y="1798"/>
                </a:lnTo>
                <a:lnTo>
                  <a:pt x="1344" y="1765"/>
                </a:lnTo>
                <a:lnTo>
                  <a:pt x="1365" y="1765"/>
                </a:lnTo>
                <a:lnTo>
                  <a:pt x="1332" y="1765"/>
                </a:lnTo>
                <a:lnTo>
                  <a:pt x="1382" y="1831"/>
                </a:lnTo>
                <a:lnTo>
                  <a:pt x="1353" y="1848"/>
                </a:lnTo>
                <a:lnTo>
                  <a:pt x="1344" y="1848"/>
                </a:lnTo>
                <a:lnTo>
                  <a:pt x="1348" y="1855"/>
                </a:lnTo>
                <a:lnTo>
                  <a:pt x="1348" y="1864"/>
                </a:lnTo>
                <a:lnTo>
                  <a:pt x="1327" y="1855"/>
                </a:lnTo>
                <a:lnTo>
                  <a:pt x="1327" y="1864"/>
                </a:lnTo>
                <a:lnTo>
                  <a:pt x="1344" y="1871"/>
                </a:lnTo>
                <a:lnTo>
                  <a:pt x="1344" y="1888"/>
                </a:lnTo>
                <a:lnTo>
                  <a:pt x="1278" y="1904"/>
                </a:lnTo>
                <a:lnTo>
                  <a:pt x="1247" y="1876"/>
                </a:lnTo>
                <a:lnTo>
                  <a:pt x="1256" y="1892"/>
                </a:lnTo>
                <a:lnTo>
                  <a:pt x="1240" y="1892"/>
                </a:lnTo>
                <a:lnTo>
                  <a:pt x="1219" y="1864"/>
                </a:lnTo>
                <a:lnTo>
                  <a:pt x="1226" y="1864"/>
                </a:lnTo>
                <a:lnTo>
                  <a:pt x="1202" y="1855"/>
                </a:lnTo>
                <a:lnTo>
                  <a:pt x="1240" y="1831"/>
                </a:lnTo>
                <a:lnTo>
                  <a:pt x="1278" y="1822"/>
                </a:lnTo>
                <a:lnTo>
                  <a:pt x="1294" y="1810"/>
                </a:lnTo>
                <a:lnTo>
                  <a:pt x="1311" y="1781"/>
                </a:lnTo>
                <a:lnTo>
                  <a:pt x="1273" y="1822"/>
                </a:lnTo>
                <a:lnTo>
                  <a:pt x="1240" y="1822"/>
                </a:lnTo>
                <a:lnTo>
                  <a:pt x="1226" y="1814"/>
                </a:lnTo>
                <a:lnTo>
                  <a:pt x="1273" y="1781"/>
                </a:lnTo>
                <a:lnTo>
                  <a:pt x="1263" y="1765"/>
                </a:lnTo>
                <a:lnTo>
                  <a:pt x="1289" y="1765"/>
                </a:lnTo>
                <a:lnTo>
                  <a:pt x="1263" y="1760"/>
                </a:lnTo>
                <a:lnTo>
                  <a:pt x="1273" y="1760"/>
                </a:lnTo>
                <a:lnTo>
                  <a:pt x="1247" y="1765"/>
                </a:lnTo>
                <a:lnTo>
                  <a:pt x="1219" y="1748"/>
                </a:lnTo>
                <a:lnTo>
                  <a:pt x="1235" y="1744"/>
                </a:lnTo>
                <a:lnTo>
                  <a:pt x="1311" y="1748"/>
                </a:lnTo>
                <a:lnTo>
                  <a:pt x="1263" y="1744"/>
                </a:lnTo>
                <a:lnTo>
                  <a:pt x="1273" y="1727"/>
                </a:lnTo>
                <a:lnTo>
                  <a:pt x="1289" y="1727"/>
                </a:lnTo>
                <a:lnTo>
                  <a:pt x="1273" y="1727"/>
                </a:lnTo>
                <a:lnTo>
                  <a:pt x="1289" y="1711"/>
                </a:lnTo>
                <a:lnTo>
                  <a:pt x="1273" y="1711"/>
                </a:lnTo>
                <a:lnTo>
                  <a:pt x="1294" y="1703"/>
                </a:lnTo>
                <a:lnTo>
                  <a:pt x="1273" y="1670"/>
                </a:lnTo>
                <a:lnTo>
                  <a:pt x="1219" y="1666"/>
                </a:lnTo>
                <a:lnTo>
                  <a:pt x="1256" y="1649"/>
                </a:lnTo>
                <a:lnTo>
                  <a:pt x="1235" y="1637"/>
                </a:lnTo>
                <a:lnTo>
                  <a:pt x="1247" y="1626"/>
                </a:lnTo>
                <a:lnTo>
                  <a:pt x="1256" y="1626"/>
                </a:lnTo>
                <a:lnTo>
                  <a:pt x="1188" y="1583"/>
                </a:lnTo>
                <a:lnTo>
                  <a:pt x="1202" y="1583"/>
                </a:lnTo>
                <a:lnTo>
                  <a:pt x="1193" y="1583"/>
                </a:lnTo>
                <a:lnTo>
                  <a:pt x="1193" y="1571"/>
                </a:lnTo>
                <a:lnTo>
                  <a:pt x="1219" y="1576"/>
                </a:lnTo>
                <a:lnTo>
                  <a:pt x="1193" y="1559"/>
                </a:lnTo>
                <a:lnTo>
                  <a:pt x="1219" y="1555"/>
                </a:lnTo>
                <a:lnTo>
                  <a:pt x="1188" y="1538"/>
                </a:lnTo>
                <a:lnTo>
                  <a:pt x="1193" y="1538"/>
                </a:lnTo>
                <a:lnTo>
                  <a:pt x="1164" y="1526"/>
                </a:lnTo>
                <a:lnTo>
                  <a:pt x="1188" y="1498"/>
                </a:lnTo>
                <a:lnTo>
                  <a:pt x="1100" y="1522"/>
                </a:lnTo>
                <a:lnTo>
                  <a:pt x="1171" y="1498"/>
                </a:lnTo>
                <a:lnTo>
                  <a:pt x="1138" y="1489"/>
                </a:lnTo>
                <a:lnTo>
                  <a:pt x="1188" y="1481"/>
                </a:lnTo>
                <a:lnTo>
                  <a:pt x="1138" y="1472"/>
                </a:lnTo>
                <a:lnTo>
                  <a:pt x="1181" y="1472"/>
                </a:lnTo>
                <a:lnTo>
                  <a:pt x="1181" y="1460"/>
                </a:lnTo>
                <a:lnTo>
                  <a:pt x="1155" y="1460"/>
                </a:lnTo>
                <a:lnTo>
                  <a:pt x="1133" y="1444"/>
                </a:lnTo>
                <a:lnTo>
                  <a:pt x="1126" y="1444"/>
                </a:lnTo>
                <a:lnTo>
                  <a:pt x="1112" y="1427"/>
                </a:lnTo>
                <a:lnTo>
                  <a:pt x="1133" y="1427"/>
                </a:lnTo>
                <a:lnTo>
                  <a:pt x="1126" y="1411"/>
                </a:lnTo>
                <a:lnTo>
                  <a:pt x="1041" y="1387"/>
                </a:lnTo>
                <a:lnTo>
                  <a:pt x="1058" y="1370"/>
                </a:lnTo>
                <a:lnTo>
                  <a:pt x="1030" y="1354"/>
                </a:lnTo>
                <a:lnTo>
                  <a:pt x="1030" y="1337"/>
                </a:lnTo>
                <a:lnTo>
                  <a:pt x="1004" y="1349"/>
                </a:lnTo>
                <a:lnTo>
                  <a:pt x="1041" y="1333"/>
                </a:lnTo>
                <a:lnTo>
                  <a:pt x="1041" y="1321"/>
                </a:lnTo>
                <a:lnTo>
                  <a:pt x="1025" y="1316"/>
                </a:lnTo>
                <a:lnTo>
                  <a:pt x="1030" y="1300"/>
                </a:lnTo>
                <a:lnTo>
                  <a:pt x="1008" y="1300"/>
                </a:lnTo>
                <a:lnTo>
                  <a:pt x="1025" y="1295"/>
                </a:lnTo>
                <a:lnTo>
                  <a:pt x="975" y="1295"/>
                </a:lnTo>
                <a:lnTo>
                  <a:pt x="971" y="1283"/>
                </a:lnTo>
                <a:lnTo>
                  <a:pt x="971" y="1276"/>
                </a:lnTo>
                <a:lnTo>
                  <a:pt x="971" y="1266"/>
                </a:lnTo>
                <a:lnTo>
                  <a:pt x="933" y="1283"/>
                </a:lnTo>
                <a:lnTo>
                  <a:pt x="937" y="1259"/>
                </a:lnTo>
                <a:lnTo>
                  <a:pt x="878" y="1238"/>
                </a:lnTo>
                <a:lnTo>
                  <a:pt x="862" y="1250"/>
                </a:lnTo>
                <a:lnTo>
                  <a:pt x="857" y="1226"/>
                </a:lnTo>
                <a:lnTo>
                  <a:pt x="760" y="1222"/>
                </a:lnTo>
                <a:lnTo>
                  <a:pt x="756" y="1205"/>
                </a:lnTo>
                <a:lnTo>
                  <a:pt x="722" y="1210"/>
                </a:lnTo>
                <a:lnTo>
                  <a:pt x="718" y="1222"/>
                </a:lnTo>
                <a:lnTo>
                  <a:pt x="706" y="1205"/>
                </a:lnTo>
                <a:lnTo>
                  <a:pt x="680" y="1193"/>
                </a:lnTo>
                <a:lnTo>
                  <a:pt x="652" y="1222"/>
                </a:lnTo>
                <a:lnTo>
                  <a:pt x="630" y="1226"/>
                </a:lnTo>
                <a:lnTo>
                  <a:pt x="614" y="1222"/>
                </a:lnTo>
                <a:lnTo>
                  <a:pt x="626" y="1205"/>
                </a:lnTo>
                <a:lnTo>
                  <a:pt x="597" y="1193"/>
                </a:lnTo>
                <a:lnTo>
                  <a:pt x="609" y="1205"/>
                </a:lnTo>
                <a:lnTo>
                  <a:pt x="597" y="1222"/>
                </a:lnTo>
                <a:lnTo>
                  <a:pt x="588" y="1210"/>
                </a:lnTo>
                <a:lnTo>
                  <a:pt x="588" y="1226"/>
                </a:lnTo>
                <a:lnTo>
                  <a:pt x="593" y="1226"/>
                </a:lnTo>
                <a:lnTo>
                  <a:pt x="538" y="1226"/>
                </a:lnTo>
                <a:lnTo>
                  <a:pt x="538" y="1238"/>
                </a:lnTo>
                <a:lnTo>
                  <a:pt x="534" y="1243"/>
                </a:lnTo>
                <a:lnTo>
                  <a:pt x="500" y="1238"/>
                </a:lnTo>
                <a:lnTo>
                  <a:pt x="517" y="1222"/>
                </a:lnTo>
                <a:lnTo>
                  <a:pt x="508" y="1222"/>
                </a:lnTo>
                <a:lnTo>
                  <a:pt x="522" y="1210"/>
                </a:lnTo>
                <a:lnTo>
                  <a:pt x="508" y="1210"/>
                </a:lnTo>
                <a:lnTo>
                  <a:pt x="479" y="1205"/>
                </a:lnTo>
                <a:lnTo>
                  <a:pt x="463" y="1238"/>
                </a:lnTo>
                <a:lnTo>
                  <a:pt x="425" y="1210"/>
                </a:lnTo>
                <a:lnTo>
                  <a:pt x="399" y="1226"/>
                </a:lnTo>
                <a:lnTo>
                  <a:pt x="463" y="1259"/>
                </a:lnTo>
                <a:lnTo>
                  <a:pt x="311" y="1238"/>
                </a:lnTo>
                <a:lnTo>
                  <a:pt x="323" y="1226"/>
                </a:lnTo>
                <a:lnTo>
                  <a:pt x="290" y="1226"/>
                </a:lnTo>
                <a:lnTo>
                  <a:pt x="302" y="1222"/>
                </a:lnTo>
                <a:lnTo>
                  <a:pt x="236" y="1193"/>
                </a:lnTo>
                <a:lnTo>
                  <a:pt x="302" y="1165"/>
                </a:lnTo>
                <a:lnTo>
                  <a:pt x="356" y="1165"/>
                </a:lnTo>
                <a:lnTo>
                  <a:pt x="356" y="1148"/>
                </a:lnTo>
                <a:lnTo>
                  <a:pt x="269" y="1148"/>
                </a:lnTo>
                <a:lnTo>
                  <a:pt x="205" y="1132"/>
                </a:lnTo>
                <a:lnTo>
                  <a:pt x="248" y="1099"/>
                </a:lnTo>
                <a:lnTo>
                  <a:pt x="236" y="1099"/>
                </a:lnTo>
                <a:lnTo>
                  <a:pt x="177" y="1132"/>
                </a:lnTo>
                <a:lnTo>
                  <a:pt x="144" y="1115"/>
                </a:lnTo>
                <a:lnTo>
                  <a:pt x="160" y="1111"/>
                </a:lnTo>
                <a:lnTo>
                  <a:pt x="130" y="1111"/>
                </a:lnTo>
                <a:lnTo>
                  <a:pt x="113" y="1094"/>
                </a:lnTo>
                <a:lnTo>
                  <a:pt x="151" y="1077"/>
                </a:lnTo>
                <a:lnTo>
                  <a:pt x="144" y="1073"/>
                </a:lnTo>
                <a:lnTo>
                  <a:pt x="198" y="1061"/>
                </a:lnTo>
                <a:lnTo>
                  <a:pt x="463" y="1077"/>
                </a:lnTo>
                <a:lnTo>
                  <a:pt x="479" y="1073"/>
                </a:lnTo>
                <a:lnTo>
                  <a:pt x="432" y="1077"/>
                </a:lnTo>
                <a:lnTo>
                  <a:pt x="274" y="1061"/>
                </a:lnTo>
                <a:lnTo>
                  <a:pt x="378" y="1037"/>
                </a:lnTo>
                <a:lnTo>
                  <a:pt x="479" y="1061"/>
                </a:lnTo>
                <a:lnTo>
                  <a:pt x="446" y="1037"/>
                </a:lnTo>
                <a:lnTo>
                  <a:pt x="484" y="1021"/>
                </a:lnTo>
                <a:lnTo>
                  <a:pt x="470" y="1004"/>
                </a:lnTo>
                <a:lnTo>
                  <a:pt x="437" y="1000"/>
                </a:lnTo>
                <a:lnTo>
                  <a:pt x="415" y="1000"/>
                </a:lnTo>
                <a:lnTo>
                  <a:pt x="382" y="1021"/>
                </a:lnTo>
                <a:lnTo>
                  <a:pt x="328" y="1021"/>
                </a:lnTo>
                <a:lnTo>
                  <a:pt x="302" y="1000"/>
                </a:lnTo>
                <a:lnTo>
                  <a:pt x="290" y="1000"/>
                </a:lnTo>
                <a:lnTo>
                  <a:pt x="307" y="1021"/>
                </a:lnTo>
                <a:lnTo>
                  <a:pt x="257" y="1028"/>
                </a:lnTo>
                <a:lnTo>
                  <a:pt x="193" y="1016"/>
                </a:lnTo>
                <a:lnTo>
                  <a:pt x="248" y="1000"/>
                </a:lnTo>
                <a:lnTo>
                  <a:pt x="248" y="983"/>
                </a:lnTo>
                <a:lnTo>
                  <a:pt x="167" y="1000"/>
                </a:lnTo>
                <a:lnTo>
                  <a:pt x="215" y="971"/>
                </a:lnTo>
                <a:lnTo>
                  <a:pt x="122" y="983"/>
                </a:lnTo>
                <a:lnTo>
                  <a:pt x="113" y="983"/>
                </a:lnTo>
                <a:lnTo>
                  <a:pt x="130" y="966"/>
                </a:lnTo>
                <a:lnTo>
                  <a:pt x="75" y="966"/>
                </a:lnTo>
                <a:lnTo>
                  <a:pt x="42" y="945"/>
                </a:lnTo>
                <a:lnTo>
                  <a:pt x="54" y="945"/>
                </a:lnTo>
                <a:lnTo>
                  <a:pt x="0" y="917"/>
                </a:lnTo>
                <a:lnTo>
                  <a:pt x="37" y="905"/>
                </a:lnTo>
                <a:lnTo>
                  <a:pt x="16" y="893"/>
                </a:lnTo>
                <a:lnTo>
                  <a:pt x="30" y="877"/>
                </a:lnTo>
                <a:lnTo>
                  <a:pt x="30" y="872"/>
                </a:lnTo>
                <a:lnTo>
                  <a:pt x="30" y="860"/>
                </a:lnTo>
                <a:lnTo>
                  <a:pt x="97" y="851"/>
                </a:lnTo>
                <a:lnTo>
                  <a:pt x="151" y="851"/>
                </a:lnTo>
                <a:lnTo>
                  <a:pt x="160" y="839"/>
                </a:lnTo>
                <a:lnTo>
                  <a:pt x="269" y="806"/>
                </a:lnTo>
                <a:lnTo>
                  <a:pt x="302" y="815"/>
                </a:lnTo>
                <a:lnTo>
                  <a:pt x="269" y="799"/>
                </a:lnTo>
                <a:lnTo>
                  <a:pt x="328" y="778"/>
                </a:lnTo>
                <a:lnTo>
                  <a:pt x="371" y="782"/>
                </a:lnTo>
                <a:lnTo>
                  <a:pt x="382" y="766"/>
                </a:lnTo>
                <a:lnTo>
                  <a:pt x="491" y="778"/>
                </a:lnTo>
                <a:lnTo>
                  <a:pt x="576" y="704"/>
                </a:lnTo>
                <a:lnTo>
                  <a:pt x="555" y="655"/>
                </a:lnTo>
                <a:lnTo>
                  <a:pt x="559" y="638"/>
                </a:lnTo>
                <a:lnTo>
                  <a:pt x="555" y="629"/>
                </a:lnTo>
                <a:lnTo>
                  <a:pt x="647" y="600"/>
                </a:lnTo>
                <a:lnTo>
                  <a:pt x="626" y="600"/>
                </a:lnTo>
                <a:lnTo>
                  <a:pt x="614" y="584"/>
                </a:lnTo>
                <a:lnTo>
                  <a:pt x="609" y="600"/>
                </a:lnTo>
                <a:lnTo>
                  <a:pt x="571" y="617"/>
                </a:lnTo>
                <a:lnTo>
                  <a:pt x="415" y="617"/>
                </a:lnTo>
                <a:lnTo>
                  <a:pt x="408" y="600"/>
                </a:lnTo>
                <a:lnTo>
                  <a:pt x="382" y="596"/>
                </a:lnTo>
                <a:lnTo>
                  <a:pt x="394" y="572"/>
                </a:lnTo>
                <a:lnTo>
                  <a:pt x="437" y="555"/>
                </a:lnTo>
                <a:lnTo>
                  <a:pt x="437" y="539"/>
                </a:lnTo>
                <a:lnTo>
                  <a:pt x="522" y="518"/>
                </a:lnTo>
                <a:lnTo>
                  <a:pt x="517" y="506"/>
                </a:lnTo>
                <a:lnTo>
                  <a:pt x="555" y="501"/>
                </a:lnTo>
                <a:lnTo>
                  <a:pt x="559" y="489"/>
                </a:lnTo>
                <a:lnTo>
                  <a:pt x="559" y="485"/>
                </a:lnTo>
                <a:lnTo>
                  <a:pt x="588" y="473"/>
                </a:lnTo>
                <a:lnTo>
                  <a:pt x="576" y="461"/>
                </a:lnTo>
                <a:lnTo>
                  <a:pt x="652" y="433"/>
                </a:lnTo>
                <a:lnTo>
                  <a:pt x="668" y="444"/>
                </a:lnTo>
                <a:lnTo>
                  <a:pt x="680" y="466"/>
                </a:lnTo>
                <a:lnTo>
                  <a:pt x="718" y="501"/>
                </a:lnTo>
                <a:lnTo>
                  <a:pt x="722" y="501"/>
                </a:lnTo>
                <a:lnTo>
                  <a:pt x="685" y="466"/>
                </a:lnTo>
                <a:lnTo>
                  <a:pt x="680" y="433"/>
                </a:lnTo>
                <a:lnTo>
                  <a:pt x="718" y="416"/>
                </a:lnTo>
                <a:lnTo>
                  <a:pt x="803" y="449"/>
                </a:lnTo>
                <a:lnTo>
                  <a:pt x="841" y="444"/>
                </a:lnTo>
                <a:lnTo>
                  <a:pt x="848" y="433"/>
                </a:lnTo>
                <a:lnTo>
                  <a:pt x="824" y="395"/>
                </a:lnTo>
                <a:lnTo>
                  <a:pt x="862" y="374"/>
                </a:lnTo>
                <a:lnTo>
                  <a:pt x="810" y="333"/>
                </a:lnTo>
                <a:lnTo>
                  <a:pt x="857" y="305"/>
                </a:lnTo>
                <a:lnTo>
                  <a:pt x="911" y="300"/>
                </a:lnTo>
                <a:lnTo>
                  <a:pt x="992" y="305"/>
                </a:lnTo>
                <a:lnTo>
                  <a:pt x="1008" y="350"/>
                </a:lnTo>
                <a:lnTo>
                  <a:pt x="1079" y="355"/>
                </a:lnTo>
                <a:lnTo>
                  <a:pt x="1112" y="390"/>
                </a:lnTo>
                <a:lnTo>
                  <a:pt x="1155" y="407"/>
                </a:lnTo>
                <a:lnTo>
                  <a:pt x="1164" y="407"/>
                </a:lnTo>
                <a:lnTo>
                  <a:pt x="1046" y="350"/>
                </a:lnTo>
                <a:lnTo>
                  <a:pt x="1020" y="305"/>
                </a:lnTo>
                <a:lnTo>
                  <a:pt x="949" y="296"/>
                </a:lnTo>
                <a:lnTo>
                  <a:pt x="1155" y="244"/>
                </a:lnTo>
                <a:lnTo>
                  <a:pt x="1171" y="263"/>
                </a:lnTo>
                <a:lnTo>
                  <a:pt x="1202" y="244"/>
                </a:lnTo>
                <a:lnTo>
                  <a:pt x="1247" y="244"/>
                </a:lnTo>
                <a:lnTo>
                  <a:pt x="1240" y="251"/>
                </a:lnTo>
                <a:lnTo>
                  <a:pt x="1256" y="263"/>
                </a:lnTo>
                <a:lnTo>
                  <a:pt x="1247" y="239"/>
                </a:lnTo>
                <a:lnTo>
                  <a:pt x="1226" y="239"/>
                </a:lnTo>
                <a:lnTo>
                  <a:pt x="1301" y="222"/>
                </a:lnTo>
                <a:lnTo>
                  <a:pt x="1365" y="267"/>
                </a:lnTo>
                <a:lnTo>
                  <a:pt x="1370" y="305"/>
                </a:lnTo>
                <a:lnTo>
                  <a:pt x="1348" y="338"/>
                </a:lnTo>
                <a:lnTo>
                  <a:pt x="1348" y="362"/>
                </a:lnTo>
                <a:lnTo>
                  <a:pt x="1370" y="374"/>
                </a:lnTo>
                <a:lnTo>
                  <a:pt x="1365" y="350"/>
                </a:lnTo>
                <a:lnTo>
                  <a:pt x="1408" y="317"/>
                </a:lnTo>
                <a:lnTo>
                  <a:pt x="1403" y="284"/>
                </a:lnTo>
                <a:lnTo>
                  <a:pt x="1516" y="305"/>
                </a:lnTo>
                <a:lnTo>
                  <a:pt x="1618" y="355"/>
                </a:lnTo>
                <a:lnTo>
                  <a:pt x="1641" y="350"/>
                </a:lnTo>
                <a:lnTo>
                  <a:pt x="1542" y="300"/>
                </a:lnTo>
                <a:lnTo>
                  <a:pt x="1625" y="305"/>
                </a:lnTo>
                <a:lnTo>
                  <a:pt x="1656" y="300"/>
                </a:lnTo>
                <a:lnTo>
                  <a:pt x="1566" y="251"/>
                </a:lnTo>
                <a:lnTo>
                  <a:pt x="1533" y="194"/>
                </a:lnTo>
                <a:lnTo>
                  <a:pt x="1672" y="206"/>
                </a:lnTo>
                <a:lnTo>
                  <a:pt x="1785" y="263"/>
                </a:lnTo>
                <a:lnTo>
                  <a:pt x="1873" y="279"/>
                </a:lnTo>
                <a:lnTo>
                  <a:pt x="1894" y="284"/>
                </a:lnTo>
                <a:lnTo>
                  <a:pt x="1889" y="300"/>
                </a:lnTo>
                <a:lnTo>
                  <a:pt x="1991" y="333"/>
                </a:lnTo>
                <a:lnTo>
                  <a:pt x="2019" y="317"/>
                </a:lnTo>
                <a:lnTo>
                  <a:pt x="1982" y="300"/>
                </a:lnTo>
                <a:lnTo>
                  <a:pt x="2003" y="296"/>
                </a:lnTo>
                <a:lnTo>
                  <a:pt x="1974" y="296"/>
                </a:lnTo>
                <a:lnTo>
                  <a:pt x="1996" y="279"/>
                </a:lnTo>
                <a:lnTo>
                  <a:pt x="1982" y="251"/>
                </a:lnTo>
                <a:lnTo>
                  <a:pt x="1991" y="239"/>
                </a:lnTo>
                <a:lnTo>
                  <a:pt x="2154" y="251"/>
                </a:lnTo>
                <a:lnTo>
                  <a:pt x="2050" y="227"/>
                </a:lnTo>
                <a:lnTo>
                  <a:pt x="2045" y="222"/>
                </a:lnTo>
                <a:lnTo>
                  <a:pt x="2050" y="222"/>
                </a:lnTo>
                <a:lnTo>
                  <a:pt x="1911" y="152"/>
                </a:lnTo>
                <a:lnTo>
                  <a:pt x="2163" y="152"/>
                </a:lnTo>
                <a:lnTo>
                  <a:pt x="2175" y="156"/>
                </a:lnTo>
                <a:lnTo>
                  <a:pt x="2163" y="168"/>
                </a:lnTo>
                <a:lnTo>
                  <a:pt x="2192" y="173"/>
                </a:lnTo>
                <a:lnTo>
                  <a:pt x="2192" y="194"/>
                </a:lnTo>
                <a:lnTo>
                  <a:pt x="2196" y="206"/>
                </a:lnTo>
                <a:lnTo>
                  <a:pt x="2208" y="194"/>
                </a:lnTo>
                <a:lnTo>
                  <a:pt x="2208" y="173"/>
                </a:lnTo>
                <a:lnTo>
                  <a:pt x="2180" y="156"/>
                </a:lnTo>
                <a:lnTo>
                  <a:pt x="2208" y="156"/>
                </a:lnTo>
                <a:lnTo>
                  <a:pt x="2298" y="189"/>
                </a:lnTo>
                <a:lnTo>
                  <a:pt x="2322" y="222"/>
                </a:lnTo>
                <a:lnTo>
                  <a:pt x="2336" y="222"/>
                </a:lnTo>
                <a:lnTo>
                  <a:pt x="2315" y="189"/>
                </a:lnTo>
                <a:lnTo>
                  <a:pt x="2326" y="178"/>
                </a:lnTo>
                <a:lnTo>
                  <a:pt x="2322" y="173"/>
                </a:lnTo>
                <a:lnTo>
                  <a:pt x="2305" y="168"/>
                </a:lnTo>
                <a:lnTo>
                  <a:pt x="2159" y="135"/>
                </a:lnTo>
                <a:lnTo>
                  <a:pt x="1958" y="123"/>
                </a:lnTo>
                <a:lnTo>
                  <a:pt x="1974" y="135"/>
                </a:lnTo>
                <a:lnTo>
                  <a:pt x="1894" y="140"/>
                </a:lnTo>
                <a:lnTo>
                  <a:pt x="1835" y="116"/>
                </a:lnTo>
                <a:lnTo>
                  <a:pt x="1894" y="123"/>
                </a:lnTo>
                <a:lnTo>
                  <a:pt x="1840" y="111"/>
                </a:lnTo>
                <a:lnTo>
                  <a:pt x="1894" y="95"/>
                </a:lnTo>
                <a:lnTo>
                  <a:pt x="1958" y="123"/>
                </a:lnTo>
                <a:lnTo>
                  <a:pt x="2083" y="123"/>
                </a:lnTo>
                <a:lnTo>
                  <a:pt x="1974" y="111"/>
                </a:lnTo>
                <a:lnTo>
                  <a:pt x="1927" y="83"/>
                </a:lnTo>
                <a:lnTo>
                  <a:pt x="1937" y="83"/>
                </a:lnTo>
                <a:lnTo>
                  <a:pt x="2109" y="95"/>
                </a:lnTo>
                <a:lnTo>
                  <a:pt x="2033" y="67"/>
                </a:lnTo>
                <a:lnTo>
                  <a:pt x="2109" y="67"/>
                </a:lnTo>
                <a:lnTo>
                  <a:pt x="2083" y="67"/>
                </a:lnTo>
                <a:lnTo>
                  <a:pt x="2126" y="62"/>
                </a:lnTo>
                <a:lnTo>
                  <a:pt x="2196" y="78"/>
                </a:lnTo>
                <a:lnTo>
                  <a:pt x="2180" y="95"/>
                </a:lnTo>
                <a:lnTo>
                  <a:pt x="2208" y="83"/>
                </a:lnTo>
                <a:lnTo>
                  <a:pt x="2272" y="116"/>
                </a:lnTo>
                <a:lnTo>
                  <a:pt x="2352" y="116"/>
                </a:lnTo>
                <a:lnTo>
                  <a:pt x="2411" y="156"/>
                </a:lnTo>
                <a:lnTo>
                  <a:pt x="2423" y="140"/>
                </a:lnTo>
                <a:lnTo>
                  <a:pt x="2374" y="116"/>
                </a:lnTo>
                <a:lnTo>
                  <a:pt x="2504" y="111"/>
                </a:lnTo>
                <a:lnTo>
                  <a:pt x="2397" y="100"/>
                </a:lnTo>
                <a:lnTo>
                  <a:pt x="2537" y="83"/>
                </a:lnTo>
                <a:lnTo>
                  <a:pt x="2407" y="67"/>
                </a:lnTo>
                <a:lnTo>
                  <a:pt x="2397" y="62"/>
                </a:lnTo>
                <a:lnTo>
                  <a:pt x="2397" y="29"/>
                </a:lnTo>
                <a:lnTo>
                  <a:pt x="2466" y="45"/>
                </a:lnTo>
                <a:lnTo>
                  <a:pt x="2478" y="45"/>
                </a:lnTo>
                <a:lnTo>
                  <a:pt x="2449" y="29"/>
                </a:lnTo>
                <a:lnTo>
                  <a:pt x="2482" y="24"/>
                </a:lnTo>
                <a:lnTo>
                  <a:pt x="2570" y="45"/>
                </a:lnTo>
                <a:lnTo>
                  <a:pt x="2537" y="24"/>
                </a:lnTo>
                <a:lnTo>
                  <a:pt x="2714" y="0"/>
                </a:lnTo>
                <a:lnTo>
                  <a:pt x="2747" y="29"/>
                </a:lnTo>
                <a:lnTo>
                  <a:pt x="2752" y="24"/>
                </a:lnTo>
                <a:lnTo>
                  <a:pt x="2730" y="5"/>
                </a:lnTo>
                <a:lnTo>
                  <a:pt x="2990" y="0"/>
                </a:lnTo>
                <a:lnTo>
                  <a:pt x="3125" y="24"/>
                </a:lnTo>
                <a:lnTo>
                  <a:pt x="3092" y="24"/>
                </a:lnTo>
                <a:lnTo>
                  <a:pt x="3115" y="41"/>
                </a:lnTo>
                <a:lnTo>
                  <a:pt x="3200" y="24"/>
                </a:lnTo>
                <a:lnTo>
                  <a:pt x="3326" y="57"/>
                </a:lnTo>
                <a:lnTo>
                  <a:pt x="3233" y="83"/>
                </a:lnTo>
                <a:lnTo>
                  <a:pt x="3016" y="78"/>
                </a:lnTo>
                <a:lnTo>
                  <a:pt x="2882" y="100"/>
                </a:lnTo>
                <a:lnTo>
                  <a:pt x="2775" y="83"/>
                </a:lnTo>
                <a:lnTo>
                  <a:pt x="2844" y="100"/>
                </a:lnTo>
                <a:lnTo>
                  <a:pt x="2624" y="123"/>
                </a:lnTo>
                <a:lnTo>
                  <a:pt x="2645" y="135"/>
                </a:lnTo>
                <a:lnTo>
                  <a:pt x="2629" y="152"/>
                </a:lnTo>
                <a:lnTo>
                  <a:pt x="2638" y="156"/>
                </a:lnTo>
                <a:lnTo>
                  <a:pt x="2645" y="140"/>
                </a:lnTo>
                <a:lnTo>
                  <a:pt x="2676" y="123"/>
                </a:lnTo>
                <a:lnTo>
                  <a:pt x="2747" y="123"/>
                </a:lnTo>
                <a:lnTo>
                  <a:pt x="2752" y="140"/>
                </a:lnTo>
                <a:lnTo>
                  <a:pt x="2737" y="152"/>
                </a:lnTo>
                <a:lnTo>
                  <a:pt x="2747" y="152"/>
                </a:lnTo>
                <a:lnTo>
                  <a:pt x="2768" y="116"/>
                </a:lnTo>
                <a:lnTo>
                  <a:pt x="2877" y="111"/>
                </a:lnTo>
                <a:lnTo>
                  <a:pt x="2898" y="123"/>
                </a:lnTo>
                <a:lnTo>
                  <a:pt x="3016" y="83"/>
                </a:lnTo>
                <a:lnTo>
                  <a:pt x="3146" y="100"/>
                </a:lnTo>
                <a:lnTo>
                  <a:pt x="3352" y="78"/>
                </a:lnTo>
                <a:lnTo>
                  <a:pt x="3380" y="95"/>
                </a:lnTo>
                <a:lnTo>
                  <a:pt x="3368" y="95"/>
                </a:lnTo>
                <a:lnTo>
                  <a:pt x="3385" y="111"/>
                </a:lnTo>
                <a:lnTo>
                  <a:pt x="3352" y="140"/>
                </a:lnTo>
                <a:lnTo>
                  <a:pt x="3309" y="152"/>
                </a:lnTo>
                <a:lnTo>
                  <a:pt x="3439" y="123"/>
                </a:lnTo>
                <a:lnTo>
                  <a:pt x="3448" y="135"/>
                </a:lnTo>
                <a:lnTo>
                  <a:pt x="3439" y="135"/>
                </a:lnTo>
                <a:lnTo>
                  <a:pt x="3439" y="156"/>
                </a:lnTo>
                <a:lnTo>
                  <a:pt x="3477" y="135"/>
                </a:lnTo>
                <a:lnTo>
                  <a:pt x="3628" y="178"/>
                </a:lnTo>
                <a:lnTo>
                  <a:pt x="3545" y="227"/>
                </a:lnTo>
                <a:lnTo>
                  <a:pt x="3363" y="263"/>
                </a:lnTo>
                <a:lnTo>
                  <a:pt x="3028" y="267"/>
                </a:lnTo>
                <a:lnTo>
                  <a:pt x="2910" y="251"/>
                </a:lnTo>
                <a:lnTo>
                  <a:pt x="3023" y="267"/>
                </a:lnTo>
                <a:lnTo>
                  <a:pt x="2801" y="322"/>
                </a:lnTo>
                <a:lnTo>
                  <a:pt x="2806" y="350"/>
                </a:lnTo>
                <a:lnTo>
                  <a:pt x="2898" y="317"/>
                </a:lnTo>
                <a:lnTo>
                  <a:pt x="3040" y="300"/>
                </a:lnTo>
                <a:lnTo>
                  <a:pt x="3028" y="305"/>
                </a:lnTo>
                <a:lnTo>
                  <a:pt x="3044" y="305"/>
                </a:lnTo>
                <a:lnTo>
                  <a:pt x="3082" y="296"/>
                </a:lnTo>
                <a:lnTo>
                  <a:pt x="3352" y="296"/>
                </a:lnTo>
                <a:lnTo>
                  <a:pt x="3347" y="317"/>
                </a:lnTo>
                <a:lnTo>
                  <a:pt x="3342" y="333"/>
                </a:lnTo>
                <a:lnTo>
                  <a:pt x="3184" y="378"/>
                </a:lnTo>
                <a:lnTo>
                  <a:pt x="3217" y="390"/>
                </a:lnTo>
                <a:lnTo>
                  <a:pt x="3184" y="395"/>
                </a:lnTo>
                <a:lnTo>
                  <a:pt x="3205" y="395"/>
                </a:lnTo>
                <a:lnTo>
                  <a:pt x="3368" y="338"/>
                </a:lnTo>
                <a:lnTo>
                  <a:pt x="3422" y="338"/>
                </a:lnTo>
                <a:lnTo>
                  <a:pt x="3432" y="333"/>
                </a:lnTo>
                <a:lnTo>
                  <a:pt x="3432" y="300"/>
                </a:lnTo>
                <a:lnTo>
                  <a:pt x="3439" y="284"/>
                </a:lnTo>
                <a:lnTo>
                  <a:pt x="3557" y="279"/>
                </a:lnTo>
                <a:lnTo>
                  <a:pt x="3578" y="300"/>
                </a:lnTo>
                <a:lnTo>
                  <a:pt x="3578" y="333"/>
                </a:lnTo>
                <a:lnTo>
                  <a:pt x="3562" y="378"/>
                </a:lnTo>
                <a:lnTo>
                  <a:pt x="3541" y="407"/>
                </a:lnTo>
                <a:lnTo>
                  <a:pt x="3507" y="411"/>
                </a:lnTo>
                <a:lnTo>
                  <a:pt x="3524" y="411"/>
                </a:lnTo>
                <a:lnTo>
                  <a:pt x="3448" y="473"/>
                </a:lnTo>
                <a:lnTo>
                  <a:pt x="3456" y="489"/>
                </a:lnTo>
                <a:lnTo>
                  <a:pt x="3439" y="506"/>
                </a:lnTo>
                <a:lnTo>
                  <a:pt x="3406" y="518"/>
                </a:lnTo>
                <a:lnTo>
                  <a:pt x="3432" y="518"/>
                </a:lnTo>
                <a:lnTo>
                  <a:pt x="3401" y="539"/>
                </a:lnTo>
                <a:lnTo>
                  <a:pt x="3465" y="506"/>
                </a:lnTo>
                <a:lnTo>
                  <a:pt x="3470" y="489"/>
                </a:lnTo>
                <a:lnTo>
                  <a:pt x="3470" y="473"/>
                </a:lnTo>
                <a:lnTo>
                  <a:pt x="3524" y="461"/>
                </a:lnTo>
                <a:lnTo>
                  <a:pt x="3666" y="362"/>
                </a:lnTo>
                <a:lnTo>
                  <a:pt x="3725" y="338"/>
                </a:lnTo>
                <a:lnTo>
                  <a:pt x="3704" y="355"/>
                </a:lnTo>
                <a:lnTo>
                  <a:pt x="3692" y="378"/>
                </a:lnTo>
                <a:lnTo>
                  <a:pt x="3772" y="362"/>
                </a:lnTo>
                <a:lnTo>
                  <a:pt x="3796" y="378"/>
                </a:lnTo>
                <a:lnTo>
                  <a:pt x="3810" y="374"/>
                </a:lnTo>
                <a:lnTo>
                  <a:pt x="3855" y="378"/>
                </a:lnTo>
                <a:lnTo>
                  <a:pt x="3855" y="362"/>
                </a:lnTo>
                <a:lnTo>
                  <a:pt x="3885" y="355"/>
                </a:lnTo>
                <a:lnTo>
                  <a:pt x="3864" y="350"/>
                </a:lnTo>
                <a:lnTo>
                  <a:pt x="3871" y="333"/>
                </a:lnTo>
                <a:lnTo>
                  <a:pt x="3902" y="338"/>
                </a:lnTo>
                <a:lnTo>
                  <a:pt x="3897" y="333"/>
                </a:lnTo>
                <a:lnTo>
                  <a:pt x="3897" y="317"/>
                </a:lnTo>
                <a:lnTo>
                  <a:pt x="3935" y="317"/>
                </a:lnTo>
                <a:lnTo>
                  <a:pt x="3952" y="300"/>
                </a:lnTo>
                <a:lnTo>
                  <a:pt x="4086" y="300"/>
                </a:lnTo>
                <a:lnTo>
                  <a:pt x="4195" y="322"/>
                </a:lnTo>
                <a:lnTo>
                  <a:pt x="4263" y="355"/>
                </a:lnTo>
                <a:lnTo>
                  <a:pt x="4136" y="433"/>
                </a:lnTo>
                <a:lnTo>
                  <a:pt x="4070" y="433"/>
                </a:lnTo>
                <a:lnTo>
                  <a:pt x="4060" y="444"/>
                </a:lnTo>
                <a:lnTo>
                  <a:pt x="4098" y="466"/>
                </a:lnTo>
                <a:lnTo>
                  <a:pt x="4011" y="489"/>
                </a:lnTo>
                <a:lnTo>
                  <a:pt x="3994" y="506"/>
                </a:lnTo>
                <a:lnTo>
                  <a:pt x="3864" y="489"/>
                </a:lnTo>
                <a:lnTo>
                  <a:pt x="3855" y="506"/>
                </a:lnTo>
                <a:lnTo>
                  <a:pt x="3817" y="522"/>
                </a:lnTo>
                <a:lnTo>
                  <a:pt x="3708" y="518"/>
                </a:lnTo>
                <a:lnTo>
                  <a:pt x="3682" y="527"/>
                </a:lnTo>
                <a:lnTo>
                  <a:pt x="3633" y="527"/>
                </a:lnTo>
                <a:lnTo>
                  <a:pt x="3666" y="544"/>
                </a:lnTo>
                <a:lnTo>
                  <a:pt x="3720" y="522"/>
                </a:lnTo>
                <a:lnTo>
                  <a:pt x="3826" y="539"/>
                </a:lnTo>
                <a:lnTo>
                  <a:pt x="3897" y="522"/>
                </a:lnTo>
                <a:lnTo>
                  <a:pt x="3994" y="544"/>
                </a:lnTo>
                <a:lnTo>
                  <a:pt x="3961" y="560"/>
                </a:lnTo>
                <a:lnTo>
                  <a:pt x="3952" y="560"/>
                </a:lnTo>
                <a:lnTo>
                  <a:pt x="3956" y="572"/>
                </a:lnTo>
                <a:lnTo>
                  <a:pt x="3918" y="584"/>
                </a:lnTo>
                <a:lnTo>
                  <a:pt x="3741" y="577"/>
                </a:lnTo>
                <a:lnTo>
                  <a:pt x="3682" y="612"/>
                </a:lnTo>
                <a:lnTo>
                  <a:pt x="3692" y="612"/>
                </a:lnTo>
                <a:lnTo>
                  <a:pt x="3682" y="629"/>
                </a:lnTo>
                <a:lnTo>
                  <a:pt x="3687" y="629"/>
                </a:lnTo>
                <a:lnTo>
                  <a:pt x="3666" y="650"/>
                </a:lnTo>
                <a:lnTo>
                  <a:pt x="3687" y="650"/>
                </a:lnTo>
                <a:lnTo>
                  <a:pt x="3692" y="666"/>
                </a:lnTo>
                <a:lnTo>
                  <a:pt x="3725" y="650"/>
                </a:lnTo>
                <a:lnTo>
                  <a:pt x="3704" y="655"/>
                </a:lnTo>
                <a:lnTo>
                  <a:pt x="3704" y="650"/>
                </a:lnTo>
                <a:lnTo>
                  <a:pt x="3720" y="633"/>
                </a:lnTo>
                <a:lnTo>
                  <a:pt x="3772" y="612"/>
                </a:lnTo>
                <a:lnTo>
                  <a:pt x="3864" y="600"/>
                </a:lnTo>
                <a:lnTo>
                  <a:pt x="3897" y="617"/>
                </a:lnTo>
                <a:lnTo>
                  <a:pt x="3843" y="666"/>
                </a:lnTo>
                <a:lnTo>
                  <a:pt x="3772" y="655"/>
                </a:lnTo>
                <a:lnTo>
                  <a:pt x="3746" y="683"/>
                </a:lnTo>
                <a:lnTo>
                  <a:pt x="3746" y="695"/>
                </a:lnTo>
                <a:lnTo>
                  <a:pt x="3734" y="711"/>
                </a:lnTo>
                <a:lnTo>
                  <a:pt x="3741" y="728"/>
                </a:lnTo>
                <a:lnTo>
                  <a:pt x="3725" y="761"/>
                </a:lnTo>
                <a:lnTo>
                  <a:pt x="3746" y="740"/>
                </a:lnTo>
                <a:lnTo>
                  <a:pt x="3779" y="740"/>
                </a:lnTo>
                <a:lnTo>
                  <a:pt x="3772" y="749"/>
                </a:lnTo>
                <a:lnTo>
                  <a:pt x="3789" y="761"/>
                </a:lnTo>
                <a:lnTo>
                  <a:pt x="3763" y="761"/>
                </a:lnTo>
                <a:lnTo>
                  <a:pt x="3772" y="744"/>
                </a:lnTo>
                <a:lnTo>
                  <a:pt x="3763" y="744"/>
                </a:lnTo>
                <a:lnTo>
                  <a:pt x="3746" y="749"/>
                </a:lnTo>
                <a:lnTo>
                  <a:pt x="3746" y="766"/>
                </a:lnTo>
                <a:lnTo>
                  <a:pt x="3708" y="778"/>
                </a:lnTo>
                <a:lnTo>
                  <a:pt x="3725" y="794"/>
                </a:lnTo>
                <a:lnTo>
                  <a:pt x="3720" y="806"/>
                </a:lnTo>
                <a:lnTo>
                  <a:pt x="3633" y="815"/>
                </a:lnTo>
                <a:lnTo>
                  <a:pt x="3654" y="839"/>
                </a:lnTo>
                <a:lnTo>
                  <a:pt x="3616" y="851"/>
                </a:lnTo>
                <a:lnTo>
                  <a:pt x="3654" y="851"/>
                </a:lnTo>
                <a:lnTo>
                  <a:pt x="3628" y="905"/>
                </a:lnTo>
                <a:lnTo>
                  <a:pt x="3628" y="910"/>
                </a:lnTo>
                <a:lnTo>
                  <a:pt x="3595" y="926"/>
                </a:lnTo>
                <a:lnTo>
                  <a:pt x="3616" y="926"/>
                </a:lnTo>
                <a:lnTo>
                  <a:pt x="3595" y="945"/>
                </a:lnTo>
                <a:lnTo>
                  <a:pt x="3583" y="962"/>
                </a:lnTo>
                <a:lnTo>
                  <a:pt x="3611" y="950"/>
                </a:lnTo>
                <a:lnTo>
                  <a:pt x="3578" y="1000"/>
                </a:lnTo>
                <a:lnTo>
                  <a:pt x="3616" y="1000"/>
                </a:lnTo>
                <a:lnTo>
                  <a:pt x="3595" y="1016"/>
                </a:lnTo>
                <a:lnTo>
                  <a:pt x="3611" y="1016"/>
                </a:lnTo>
                <a:lnTo>
                  <a:pt x="3616" y="1004"/>
                </a:lnTo>
                <a:lnTo>
                  <a:pt x="3628" y="971"/>
                </a:lnTo>
                <a:lnTo>
                  <a:pt x="3654" y="945"/>
                </a:lnTo>
                <a:lnTo>
                  <a:pt x="3692" y="966"/>
                </a:lnTo>
                <a:lnTo>
                  <a:pt x="3772" y="983"/>
                </a:lnTo>
                <a:lnTo>
                  <a:pt x="3796" y="1004"/>
                </a:lnTo>
                <a:lnTo>
                  <a:pt x="3763" y="1016"/>
                </a:lnTo>
                <a:lnTo>
                  <a:pt x="3704" y="988"/>
                </a:lnTo>
                <a:lnTo>
                  <a:pt x="3654" y="1000"/>
                </a:lnTo>
                <a:lnTo>
                  <a:pt x="3704" y="1016"/>
                </a:lnTo>
                <a:lnTo>
                  <a:pt x="3670" y="1016"/>
                </a:lnTo>
                <a:lnTo>
                  <a:pt x="3692" y="1021"/>
                </a:lnTo>
                <a:lnTo>
                  <a:pt x="3649" y="1016"/>
                </a:lnTo>
                <a:lnTo>
                  <a:pt x="3720" y="1028"/>
                </a:lnTo>
                <a:lnTo>
                  <a:pt x="3666" y="1037"/>
                </a:lnTo>
                <a:lnTo>
                  <a:pt x="3741" y="1037"/>
                </a:lnTo>
                <a:lnTo>
                  <a:pt x="3763" y="1054"/>
                </a:lnTo>
                <a:lnTo>
                  <a:pt x="3758" y="1061"/>
                </a:lnTo>
                <a:lnTo>
                  <a:pt x="3789" y="1073"/>
                </a:lnTo>
                <a:lnTo>
                  <a:pt x="3789" y="1054"/>
                </a:lnTo>
                <a:lnTo>
                  <a:pt x="3796" y="1044"/>
                </a:lnTo>
                <a:lnTo>
                  <a:pt x="3833" y="1044"/>
                </a:lnTo>
                <a:lnTo>
                  <a:pt x="3843" y="1061"/>
                </a:lnTo>
                <a:lnTo>
                  <a:pt x="3848" y="1111"/>
                </a:lnTo>
                <a:lnTo>
                  <a:pt x="3843" y="1132"/>
                </a:lnTo>
                <a:lnTo>
                  <a:pt x="3826" y="1132"/>
                </a:lnTo>
                <a:lnTo>
                  <a:pt x="3826" y="1139"/>
                </a:lnTo>
                <a:lnTo>
                  <a:pt x="3796" y="1127"/>
                </a:lnTo>
                <a:lnTo>
                  <a:pt x="3670" y="1099"/>
                </a:lnTo>
                <a:lnTo>
                  <a:pt x="3649" y="1111"/>
                </a:lnTo>
                <a:lnTo>
                  <a:pt x="3682" y="1111"/>
                </a:lnTo>
                <a:lnTo>
                  <a:pt x="3595" y="1115"/>
                </a:lnTo>
                <a:lnTo>
                  <a:pt x="3654" y="1127"/>
                </a:lnTo>
                <a:lnTo>
                  <a:pt x="3628" y="1132"/>
                </a:lnTo>
                <a:lnTo>
                  <a:pt x="3611" y="1155"/>
                </a:lnTo>
                <a:lnTo>
                  <a:pt x="3562" y="1127"/>
                </a:lnTo>
                <a:lnTo>
                  <a:pt x="3545" y="1127"/>
                </a:lnTo>
                <a:lnTo>
                  <a:pt x="3545" y="1139"/>
                </a:lnTo>
                <a:lnTo>
                  <a:pt x="3524" y="1148"/>
                </a:lnTo>
                <a:lnTo>
                  <a:pt x="3557" y="1172"/>
                </a:lnTo>
                <a:lnTo>
                  <a:pt x="3557" y="1165"/>
                </a:lnTo>
                <a:lnTo>
                  <a:pt x="3562" y="1155"/>
                </a:lnTo>
                <a:lnTo>
                  <a:pt x="3595" y="1165"/>
                </a:lnTo>
                <a:lnTo>
                  <a:pt x="3600" y="1172"/>
                </a:lnTo>
                <a:lnTo>
                  <a:pt x="3578" y="1184"/>
                </a:lnTo>
                <a:lnTo>
                  <a:pt x="3600" y="1184"/>
                </a:lnTo>
                <a:lnTo>
                  <a:pt x="3541" y="1184"/>
                </a:lnTo>
                <a:lnTo>
                  <a:pt x="3611" y="1189"/>
                </a:lnTo>
                <a:lnTo>
                  <a:pt x="3600" y="1210"/>
                </a:lnTo>
                <a:lnTo>
                  <a:pt x="3637" y="1205"/>
                </a:lnTo>
                <a:lnTo>
                  <a:pt x="3682" y="1226"/>
                </a:lnTo>
                <a:lnTo>
                  <a:pt x="3687" y="1226"/>
                </a:lnTo>
                <a:lnTo>
                  <a:pt x="3637" y="1205"/>
                </a:lnTo>
                <a:lnTo>
                  <a:pt x="3734" y="1222"/>
                </a:lnTo>
                <a:lnTo>
                  <a:pt x="3741" y="1226"/>
                </a:lnTo>
                <a:lnTo>
                  <a:pt x="3741" y="1243"/>
                </a:lnTo>
                <a:lnTo>
                  <a:pt x="3692" y="1250"/>
                </a:lnTo>
                <a:lnTo>
                  <a:pt x="3578" y="1250"/>
                </a:lnTo>
                <a:lnTo>
                  <a:pt x="3734" y="1259"/>
                </a:lnTo>
                <a:lnTo>
                  <a:pt x="3746" y="1283"/>
                </a:lnTo>
                <a:lnTo>
                  <a:pt x="3746" y="1300"/>
                </a:lnTo>
                <a:lnTo>
                  <a:pt x="3763" y="1316"/>
                </a:lnTo>
                <a:lnTo>
                  <a:pt x="3763" y="1337"/>
                </a:lnTo>
                <a:lnTo>
                  <a:pt x="3758" y="1370"/>
                </a:lnTo>
                <a:lnTo>
                  <a:pt x="3725" y="1377"/>
                </a:lnTo>
                <a:lnTo>
                  <a:pt x="3720" y="1370"/>
                </a:lnTo>
                <a:lnTo>
                  <a:pt x="3725" y="1354"/>
                </a:lnTo>
                <a:lnTo>
                  <a:pt x="3708" y="1349"/>
                </a:lnTo>
                <a:lnTo>
                  <a:pt x="3670" y="1354"/>
                </a:lnTo>
                <a:lnTo>
                  <a:pt x="3616" y="1316"/>
                </a:lnTo>
                <a:lnTo>
                  <a:pt x="3562" y="1300"/>
                </a:lnTo>
                <a:lnTo>
                  <a:pt x="3616" y="1333"/>
                </a:lnTo>
                <a:lnTo>
                  <a:pt x="3541" y="1316"/>
                </a:lnTo>
                <a:lnTo>
                  <a:pt x="3616" y="1333"/>
                </a:lnTo>
                <a:lnTo>
                  <a:pt x="3682" y="1377"/>
                </a:lnTo>
                <a:lnTo>
                  <a:pt x="3633" y="1377"/>
                </a:lnTo>
                <a:lnTo>
                  <a:pt x="3595" y="1406"/>
                </a:lnTo>
                <a:lnTo>
                  <a:pt x="3545" y="1370"/>
                </a:lnTo>
                <a:lnTo>
                  <a:pt x="3595" y="1406"/>
                </a:lnTo>
                <a:lnTo>
                  <a:pt x="3637" y="1387"/>
                </a:lnTo>
                <a:lnTo>
                  <a:pt x="3670" y="1387"/>
                </a:lnTo>
                <a:lnTo>
                  <a:pt x="3666" y="1415"/>
                </a:lnTo>
                <a:lnTo>
                  <a:pt x="3682" y="1432"/>
                </a:lnTo>
                <a:lnTo>
                  <a:pt x="3637" y="1444"/>
                </a:lnTo>
                <a:lnTo>
                  <a:pt x="3704" y="1444"/>
                </a:lnTo>
                <a:lnTo>
                  <a:pt x="3734" y="1460"/>
                </a:lnTo>
                <a:lnTo>
                  <a:pt x="3763" y="1444"/>
                </a:lnTo>
                <a:lnTo>
                  <a:pt x="3772" y="1448"/>
                </a:lnTo>
                <a:lnTo>
                  <a:pt x="3772" y="1465"/>
                </a:lnTo>
                <a:lnTo>
                  <a:pt x="3789" y="1472"/>
                </a:lnTo>
                <a:lnTo>
                  <a:pt x="3763" y="1498"/>
                </a:lnTo>
                <a:lnTo>
                  <a:pt x="3741" y="1505"/>
                </a:lnTo>
                <a:lnTo>
                  <a:pt x="3708" y="1498"/>
                </a:lnTo>
                <a:lnTo>
                  <a:pt x="3692" y="1472"/>
                </a:lnTo>
                <a:lnTo>
                  <a:pt x="3600" y="1472"/>
                </a:lnTo>
                <a:lnTo>
                  <a:pt x="3574" y="1448"/>
                </a:lnTo>
                <a:lnTo>
                  <a:pt x="3595" y="1481"/>
                </a:lnTo>
                <a:lnTo>
                  <a:pt x="3578" y="1489"/>
                </a:lnTo>
                <a:lnTo>
                  <a:pt x="3545" y="1498"/>
                </a:lnTo>
                <a:lnTo>
                  <a:pt x="3574" y="1498"/>
                </a:lnTo>
                <a:lnTo>
                  <a:pt x="3562" y="1514"/>
                </a:lnTo>
                <a:lnTo>
                  <a:pt x="3562" y="1522"/>
                </a:lnTo>
                <a:lnTo>
                  <a:pt x="3541" y="1526"/>
                </a:lnTo>
                <a:lnTo>
                  <a:pt x="3578" y="1538"/>
                </a:lnTo>
                <a:lnTo>
                  <a:pt x="3595" y="1559"/>
                </a:lnTo>
                <a:lnTo>
                  <a:pt x="3595" y="1583"/>
                </a:lnTo>
                <a:lnTo>
                  <a:pt x="3600" y="1576"/>
                </a:lnTo>
                <a:lnTo>
                  <a:pt x="3583" y="1538"/>
                </a:lnTo>
                <a:lnTo>
                  <a:pt x="3595" y="1526"/>
                </a:lnTo>
                <a:lnTo>
                  <a:pt x="3704" y="1555"/>
                </a:lnTo>
                <a:lnTo>
                  <a:pt x="3704" y="1571"/>
                </a:lnTo>
                <a:lnTo>
                  <a:pt x="3682" y="1576"/>
                </a:lnTo>
                <a:lnTo>
                  <a:pt x="3687" y="1583"/>
                </a:lnTo>
                <a:lnTo>
                  <a:pt x="3682" y="1600"/>
                </a:lnTo>
                <a:lnTo>
                  <a:pt x="3692" y="1600"/>
                </a:lnTo>
                <a:lnTo>
                  <a:pt x="3687" y="1616"/>
                </a:lnTo>
                <a:lnTo>
                  <a:pt x="3611" y="1609"/>
                </a:lnTo>
                <a:lnTo>
                  <a:pt x="3600" y="1626"/>
                </a:lnTo>
                <a:lnTo>
                  <a:pt x="3557" y="1637"/>
                </a:lnTo>
                <a:lnTo>
                  <a:pt x="3470" y="1616"/>
                </a:lnTo>
                <a:lnTo>
                  <a:pt x="3439" y="1592"/>
                </a:lnTo>
                <a:lnTo>
                  <a:pt x="3439" y="1576"/>
                </a:lnTo>
                <a:lnTo>
                  <a:pt x="3470" y="1576"/>
                </a:lnTo>
                <a:lnTo>
                  <a:pt x="3531" y="1600"/>
                </a:lnTo>
                <a:lnTo>
                  <a:pt x="3562" y="1592"/>
                </a:lnTo>
                <a:lnTo>
                  <a:pt x="3524" y="1600"/>
                </a:lnTo>
                <a:lnTo>
                  <a:pt x="3432" y="1559"/>
                </a:lnTo>
                <a:lnTo>
                  <a:pt x="3406" y="1576"/>
                </a:lnTo>
                <a:lnTo>
                  <a:pt x="3406" y="1600"/>
                </a:lnTo>
                <a:lnTo>
                  <a:pt x="3368" y="1592"/>
                </a:lnTo>
                <a:lnTo>
                  <a:pt x="3368" y="1576"/>
                </a:lnTo>
                <a:lnTo>
                  <a:pt x="3314" y="1543"/>
                </a:lnTo>
                <a:lnTo>
                  <a:pt x="3330" y="1571"/>
                </a:lnTo>
                <a:lnTo>
                  <a:pt x="3394" y="1609"/>
                </a:lnTo>
                <a:lnTo>
                  <a:pt x="3347" y="1616"/>
                </a:lnTo>
                <a:lnTo>
                  <a:pt x="3314" y="1637"/>
                </a:lnTo>
                <a:lnTo>
                  <a:pt x="3297" y="1637"/>
                </a:lnTo>
                <a:lnTo>
                  <a:pt x="3238" y="1633"/>
                </a:lnTo>
                <a:lnTo>
                  <a:pt x="3200" y="1609"/>
                </a:lnTo>
                <a:lnTo>
                  <a:pt x="3191" y="1616"/>
                </a:lnTo>
                <a:lnTo>
                  <a:pt x="3271" y="1637"/>
                </a:lnTo>
                <a:lnTo>
                  <a:pt x="3243" y="1654"/>
                </a:lnTo>
                <a:lnTo>
                  <a:pt x="3222" y="1649"/>
                </a:lnTo>
                <a:lnTo>
                  <a:pt x="3179" y="1654"/>
                </a:lnTo>
                <a:lnTo>
                  <a:pt x="3200" y="1666"/>
                </a:lnTo>
                <a:lnTo>
                  <a:pt x="3200" y="1682"/>
                </a:lnTo>
                <a:lnTo>
                  <a:pt x="3191" y="1687"/>
                </a:lnTo>
                <a:lnTo>
                  <a:pt x="3205" y="1682"/>
                </a:lnTo>
                <a:lnTo>
                  <a:pt x="3205" y="1666"/>
                </a:lnTo>
                <a:lnTo>
                  <a:pt x="3255" y="1666"/>
                </a:lnTo>
                <a:lnTo>
                  <a:pt x="3271" y="1649"/>
                </a:lnTo>
                <a:lnTo>
                  <a:pt x="3363" y="1666"/>
                </a:lnTo>
                <a:lnTo>
                  <a:pt x="3368" y="1682"/>
                </a:lnTo>
                <a:lnTo>
                  <a:pt x="3352" y="1687"/>
                </a:lnTo>
                <a:lnTo>
                  <a:pt x="3314" y="1687"/>
                </a:lnTo>
                <a:lnTo>
                  <a:pt x="3293" y="1703"/>
                </a:lnTo>
                <a:lnTo>
                  <a:pt x="3243" y="1694"/>
                </a:lnTo>
                <a:lnTo>
                  <a:pt x="3200" y="1694"/>
                </a:lnTo>
                <a:lnTo>
                  <a:pt x="3271" y="1711"/>
                </a:lnTo>
                <a:lnTo>
                  <a:pt x="3243" y="1720"/>
                </a:lnTo>
                <a:lnTo>
                  <a:pt x="3276" y="1711"/>
                </a:lnTo>
                <a:lnTo>
                  <a:pt x="3259" y="1737"/>
                </a:lnTo>
                <a:lnTo>
                  <a:pt x="3330" y="1703"/>
                </a:lnTo>
                <a:lnTo>
                  <a:pt x="3380" y="1711"/>
                </a:lnTo>
                <a:lnTo>
                  <a:pt x="3385" y="1720"/>
                </a:lnTo>
                <a:lnTo>
                  <a:pt x="3385" y="1737"/>
                </a:lnTo>
                <a:lnTo>
                  <a:pt x="3394" y="1744"/>
                </a:lnTo>
                <a:lnTo>
                  <a:pt x="3297" y="1760"/>
                </a:lnTo>
                <a:lnTo>
                  <a:pt x="3347" y="1760"/>
                </a:lnTo>
                <a:lnTo>
                  <a:pt x="3330" y="1798"/>
                </a:lnTo>
                <a:lnTo>
                  <a:pt x="3342" y="1793"/>
                </a:lnTo>
                <a:lnTo>
                  <a:pt x="3342" y="1777"/>
                </a:lnTo>
                <a:lnTo>
                  <a:pt x="3352" y="1765"/>
                </a:lnTo>
                <a:lnTo>
                  <a:pt x="3394" y="1760"/>
                </a:lnTo>
                <a:lnTo>
                  <a:pt x="3503" y="1810"/>
                </a:lnTo>
                <a:lnTo>
                  <a:pt x="3493" y="1814"/>
                </a:lnTo>
                <a:lnTo>
                  <a:pt x="3541" y="1831"/>
                </a:lnTo>
                <a:lnTo>
                  <a:pt x="3503" y="1864"/>
                </a:lnTo>
                <a:lnTo>
                  <a:pt x="3545" y="1838"/>
                </a:lnTo>
                <a:lnTo>
                  <a:pt x="3531" y="1864"/>
                </a:lnTo>
                <a:lnTo>
                  <a:pt x="3531" y="1871"/>
                </a:lnTo>
                <a:lnTo>
                  <a:pt x="3562" y="1848"/>
                </a:lnTo>
                <a:lnTo>
                  <a:pt x="3583" y="1848"/>
                </a:lnTo>
                <a:lnTo>
                  <a:pt x="3562" y="1864"/>
                </a:lnTo>
                <a:lnTo>
                  <a:pt x="3574" y="1871"/>
                </a:lnTo>
                <a:lnTo>
                  <a:pt x="3541" y="1871"/>
                </a:lnTo>
                <a:lnTo>
                  <a:pt x="3545" y="1909"/>
                </a:lnTo>
                <a:lnTo>
                  <a:pt x="3557" y="1909"/>
                </a:lnTo>
                <a:lnTo>
                  <a:pt x="3557" y="1888"/>
                </a:lnTo>
                <a:lnTo>
                  <a:pt x="3595" y="1876"/>
                </a:lnTo>
                <a:lnTo>
                  <a:pt x="3600" y="1892"/>
                </a:lnTo>
                <a:lnTo>
                  <a:pt x="3595" y="1904"/>
                </a:lnTo>
                <a:lnTo>
                  <a:pt x="3611" y="1904"/>
                </a:lnTo>
                <a:lnTo>
                  <a:pt x="3578" y="1909"/>
                </a:lnTo>
                <a:lnTo>
                  <a:pt x="3595" y="1909"/>
                </a:lnTo>
                <a:lnTo>
                  <a:pt x="3600" y="1926"/>
                </a:lnTo>
                <a:lnTo>
                  <a:pt x="3557" y="1942"/>
                </a:lnTo>
                <a:lnTo>
                  <a:pt x="3600" y="1933"/>
                </a:lnTo>
                <a:lnTo>
                  <a:pt x="3611" y="1949"/>
                </a:lnTo>
                <a:lnTo>
                  <a:pt x="3600" y="1975"/>
                </a:lnTo>
                <a:lnTo>
                  <a:pt x="3583" y="1975"/>
                </a:lnTo>
                <a:lnTo>
                  <a:pt x="3600" y="1975"/>
                </a:lnTo>
                <a:lnTo>
                  <a:pt x="3611" y="1982"/>
                </a:lnTo>
                <a:lnTo>
                  <a:pt x="3595" y="1982"/>
                </a:lnTo>
                <a:lnTo>
                  <a:pt x="3600" y="1987"/>
                </a:lnTo>
                <a:lnTo>
                  <a:pt x="3595" y="2003"/>
                </a:lnTo>
                <a:lnTo>
                  <a:pt x="3616" y="2003"/>
                </a:lnTo>
                <a:lnTo>
                  <a:pt x="3578" y="2032"/>
                </a:lnTo>
                <a:lnTo>
                  <a:pt x="3583" y="2015"/>
                </a:lnTo>
                <a:lnTo>
                  <a:pt x="3578" y="2015"/>
                </a:lnTo>
                <a:lnTo>
                  <a:pt x="3557" y="2020"/>
                </a:lnTo>
                <a:lnTo>
                  <a:pt x="3545" y="1987"/>
                </a:lnTo>
                <a:lnTo>
                  <a:pt x="3545" y="1966"/>
                </a:lnTo>
                <a:lnTo>
                  <a:pt x="3541" y="1966"/>
                </a:lnTo>
                <a:lnTo>
                  <a:pt x="3531" y="1982"/>
                </a:lnTo>
                <a:lnTo>
                  <a:pt x="3541" y="2003"/>
                </a:lnTo>
                <a:lnTo>
                  <a:pt x="3531" y="2020"/>
                </a:lnTo>
                <a:lnTo>
                  <a:pt x="3486" y="2020"/>
                </a:lnTo>
                <a:lnTo>
                  <a:pt x="3439" y="1987"/>
                </a:lnTo>
                <a:lnTo>
                  <a:pt x="3422" y="1975"/>
                </a:lnTo>
                <a:lnTo>
                  <a:pt x="3422" y="1942"/>
                </a:lnTo>
                <a:lnTo>
                  <a:pt x="3385" y="1904"/>
                </a:lnTo>
                <a:lnTo>
                  <a:pt x="3363" y="1909"/>
                </a:lnTo>
                <a:lnTo>
                  <a:pt x="3326" y="1876"/>
                </a:lnTo>
                <a:lnTo>
                  <a:pt x="3233" y="1871"/>
                </a:lnTo>
                <a:lnTo>
                  <a:pt x="3179" y="1822"/>
                </a:lnTo>
                <a:lnTo>
                  <a:pt x="3115" y="1798"/>
                </a:lnTo>
                <a:lnTo>
                  <a:pt x="3108" y="1798"/>
                </a:lnTo>
                <a:lnTo>
                  <a:pt x="3130" y="1814"/>
                </a:lnTo>
                <a:lnTo>
                  <a:pt x="3125" y="1822"/>
                </a:lnTo>
                <a:lnTo>
                  <a:pt x="3167" y="1831"/>
                </a:lnTo>
                <a:lnTo>
                  <a:pt x="3205" y="1855"/>
                </a:lnTo>
                <a:lnTo>
                  <a:pt x="3200" y="1864"/>
                </a:lnTo>
                <a:lnTo>
                  <a:pt x="3125" y="1871"/>
                </a:lnTo>
                <a:lnTo>
                  <a:pt x="3200" y="1871"/>
                </a:lnTo>
                <a:lnTo>
                  <a:pt x="3217" y="1871"/>
                </a:lnTo>
                <a:lnTo>
                  <a:pt x="3205" y="1876"/>
                </a:lnTo>
                <a:lnTo>
                  <a:pt x="3205" y="1888"/>
                </a:lnTo>
                <a:lnTo>
                  <a:pt x="3309" y="1876"/>
                </a:lnTo>
                <a:lnTo>
                  <a:pt x="3342" y="1904"/>
                </a:lnTo>
                <a:lnTo>
                  <a:pt x="3330" y="1921"/>
                </a:lnTo>
                <a:lnTo>
                  <a:pt x="3314" y="1909"/>
                </a:lnTo>
                <a:lnTo>
                  <a:pt x="3326" y="1926"/>
                </a:lnTo>
                <a:lnTo>
                  <a:pt x="3259" y="1949"/>
                </a:lnTo>
                <a:lnTo>
                  <a:pt x="3191" y="1959"/>
                </a:lnTo>
                <a:lnTo>
                  <a:pt x="3167" y="1926"/>
                </a:lnTo>
                <a:lnTo>
                  <a:pt x="3163" y="1926"/>
                </a:lnTo>
                <a:lnTo>
                  <a:pt x="3184" y="1949"/>
                </a:lnTo>
                <a:lnTo>
                  <a:pt x="3130" y="1949"/>
                </a:lnTo>
                <a:lnTo>
                  <a:pt x="3163" y="1966"/>
                </a:lnTo>
                <a:lnTo>
                  <a:pt x="3137" y="2003"/>
                </a:lnTo>
                <a:lnTo>
                  <a:pt x="3070" y="2015"/>
                </a:lnTo>
                <a:lnTo>
                  <a:pt x="3070" y="2032"/>
                </a:lnTo>
                <a:lnTo>
                  <a:pt x="3137" y="2015"/>
                </a:lnTo>
                <a:lnTo>
                  <a:pt x="3130" y="2020"/>
                </a:lnTo>
                <a:lnTo>
                  <a:pt x="3137" y="2032"/>
                </a:lnTo>
                <a:lnTo>
                  <a:pt x="3243" y="2015"/>
                </a:lnTo>
                <a:lnTo>
                  <a:pt x="3276" y="2032"/>
                </a:lnTo>
                <a:lnTo>
                  <a:pt x="3243" y="2037"/>
                </a:lnTo>
                <a:lnTo>
                  <a:pt x="3233" y="2037"/>
                </a:lnTo>
                <a:lnTo>
                  <a:pt x="3167" y="2070"/>
                </a:lnTo>
                <a:lnTo>
                  <a:pt x="3115" y="2060"/>
                </a:lnTo>
                <a:lnTo>
                  <a:pt x="3125" y="2070"/>
                </a:lnTo>
                <a:lnTo>
                  <a:pt x="3191" y="2070"/>
                </a:lnTo>
                <a:lnTo>
                  <a:pt x="3191" y="2086"/>
                </a:lnTo>
                <a:lnTo>
                  <a:pt x="3200" y="2086"/>
                </a:lnTo>
                <a:lnTo>
                  <a:pt x="3217" y="2053"/>
                </a:lnTo>
                <a:lnTo>
                  <a:pt x="3233" y="2044"/>
                </a:lnTo>
                <a:lnTo>
                  <a:pt x="3276" y="2053"/>
                </a:lnTo>
                <a:lnTo>
                  <a:pt x="3352" y="2020"/>
                </a:lnTo>
                <a:lnTo>
                  <a:pt x="3347" y="2037"/>
                </a:lnTo>
                <a:lnTo>
                  <a:pt x="3363" y="2032"/>
                </a:lnTo>
                <a:lnTo>
                  <a:pt x="3470" y="2060"/>
                </a:lnTo>
                <a:lnTo>
                  <a:pt x="3574" y="2060"/>
                </a:lnTo>
                <a:lnTo>
                  <a:pt x="3557" y="2077"/>
                </a:lnTo>
                <a:lnTo>
                  <a:pt x="3486" y="2093"/>
                </a:lnTo>
                <a:lnTo>
                  <a:pt x="3519" y="2098"/>
                </a:lnTo>
                <a:lnTo>
                  <a:pt x="3507" y="2110"/>
                </a:lnTo>
                <a:lnTo>
                  <a:pt x="3486" y="2093"/>
                </a:lnTo>
                <a:lnTo>
                  <a:pt x="3493" y="2110"/>
                </a:lnTo>
                <a:lnTo>
                  <a:pt x="3439" y="2110"/>
                </a:lnTo>
                <a:lnTo>
                  <a:pt x="3470" y="2126"/>
                </a:lnTo>
                <a:lnTo>
                  <a:pt x="3448" y="2143"/>
                </a:lnTo>
                <a:lnTo>
                  <a:pt x="3418" y="2126"/>
                </a:lnTo>
                <a:lnTo>
                  <a:pt x="3432" y="2143"/>
                </a:lnTo>
                <a:lnTo>
                  <a:pt x="3406" y="2155"/>
                </a:lnTo>
                <a:lnTo>
                  <a:pt x="3394" y="2155"/>
                </a:lnTo>
                <a:lnTo>
                  <a:pt x="3394" y="2171"/>
                </a:lnTo>
                <a:lnTo>
                  <a:pt x="3352" y="2171"/>
                </a:lnTo>
                <a:lnTo>
                  <a:pt x="3347" y="2171"/>
                </a:lnTo>
                <a:lnTo>
                  <a:pt x="3368" y="2188"/>
                </a:lnTo>
                <a:lnTo>
                  <a:pt x="3347" y="2204"/>
                </a:lnTo>
                <a:lnTo>
                  <a:pt x="3326" y="2197"/>
                </a:lnTo>
                <a:lnTo>
                  <a:pt x="3342" y="2209"/>
                </a:lnTo>
                <a:lnTo>
                  <a:pt x="3314" y="2209"/>
                </a:lnTo>
                <a:lnTo>
                  <a:pt x="3326" y="2221"/>
                </a:lnTo>
                <a:lnTo>
                  <a:pt x="3271" y="2242"/>
                </a:lnTo>
                <a:lnTo>
                  <a:pt x="3200" y="2259"/>
                </a:lnTo>
                <a:lnTo>
                  <a:pt x="3205" y="2259"/>
                </a:lnTo>
                <a:lnTo>
                  <a:pt x="3184" y="2259"/>
                </a:lnTo>
                <a:lnTo>
                  <a:pt x="3179" y="2266"/>
                </a:lnTo>
                <a:lnTo>
                  <a:pt x="3184" y="2266"/>
                </a:lnTo>
                <a:lnTo>
                  <a:pt x="3153" y="2259"/>
                </a:lnTo>
                <a:lnTo>
                  <a:pt x="3153" y="2275"/>
                </a:lnTo>
                <a:lnTo>
                  <a:pt x="3125" y="2275"/>
                </a:lnTo>
                <a:lnTo>
                  <a:pt x="3099" y="2292"/>
                </a:lnTo>
                <a:lnTo>
                  <a:pt x="3078" y="2282"/>
                </a:lnTo>
                <a:lnTo>
                  <a:pt x="3078" y="2292"/>
                </a:lnTo>
                <a:lnTo>
                  <a:pt x="3061" y="2292"/>
                </a:lnTo>
                <a:lnTo>
                  <a:pt x="3061" y="2308"/>
                </a:lnTo>
                <a:lnTo>
                  <a:pt x="3028" y="2292"/>
                </a:lnTo>
                <a:lnTo>
                  <a:pt x="3028" y="2275"/>
                </a:lnTo>
                <a:lnTo>
                  <a:pt x="3002" y="2299"/>
                </a:lnTo>
                <a:lnTo>
                  <a:pt x="3016" y="2315"/>
                </a:lnTo>
                <a:lnTo>
                  <a:pt x="2990" y="2315"/>
                </a:lnTo>
                <a:lnTo>
                  <a:pt x="2990" y="2308"/>
                </a:lnTo>
                <a:lnTo>
                  <a:pt x="2969" y="2299"/>
                </a:lnTo>
                <a:lnTo>
                  <a:pt x="2964" y="2299"/>
                </a:lnTo>
                <a:lnTo>
                  <a:pt x="2985" y="2308"/>
                </a:lnTo>
                <a:lnTo>
                  <a:pt x="2985" y="2320"/>
                </a:lnTo>
                <a:lnTo>
                  <a:pt x="2948" y="2320"/>
                </a:lnTo>
                <a:lnTo>
                  <a:pt x="2915" y="2315"/>
                </a:lnTo>
                <a:lnTo>
                  <a:pt x="2919" y="2308"/>
                </a:lnTo>
                <a:lnTo>
                  <a:pt x="2910" y="2320"/>
                </a:lnTo>
                <a:lnTo>
                  <a:pt x="2898" y="2315"/>
                </a:lnTo>
                <a:lnTo>
                  <a:pt x="2893" y="2308"/>
                </a:lnTo>
                <a:lnTo>
                  <a:pt x="2910" y="2299"/>
                </a:lnTo>
                <a:lnTo>
                  <a:pt x="2877" y="2299"/>
                </a:lnTo>
                <a:lnTo>
                  <a:pt x="2844" y="2254"/>
                </a:lnTo>
                <a:lnTo>
                  <a:pt x="2844" y="2266"/>
                </a:lnTo>
                <a:lnTo>
                  <a:pt x="2839" y="2266"/>
                </a:lnTo>
                <a:lnTo>
                  <a:pt x="2839" y="2275"/>
                </a:lnTo>
                <a:lnTo>
                  <a:pt x="2860" y="2292"/>
                </a:lnTo>
                <a:lnTo>
                  <a:pt x="2865" y="2308"/>
                </a:lnTo>
                <a:lnTo>
                  <a:pt x="2844" y="2308"/>
                </a:lnTo>
                <a:lnTo>
                  <a:pt x="2877" y="2315"/>
                </a:lnTo>
                <a:lnTo>
                  <a:pt x="2865" y="2348"/>
                </a:lnTo>
                <a:lnTo>
                  <a:pt x="2839" y="2348"/>
                </a:lnTo>
                <a:lnTo>
                  <a:pt x="2822" y="2365"/>
                </a:lnTo>
                <a:lnTo>
                  <a:pt x="2789" y="2370"/>
                </a:lnTo>
                <a:lnTo>
                  <a:pt x="2806" y="2377"/>
                </a:lnTo>
                <a:lnTo>
                  <a:pt x="2789" y="2386"/>
                </a:lnTo>
                <a:lnTo>
                  <a:pt x="2789" y="2403"/>
                </a:lnTo>
                <a:lnTo>
                  <a:pt x="2768" y="2410"/>
                </a:lnTo>
                <a:lnTo>
                  <a:pt x="2785" y="2426"/>
                </a:lnTo>
                <a:lnTo>
                  <a:pt x="2752" y="2459"/>
                </a:lnTo>
                <a:lnTo>
                  <a:pt x="2737" y="2448"/>
                </a:lnTo>
                <a:lnTo>
                  <a:pt x="2730" y="2481"/>
                </a:lnTo>
                <a:lnTo>
                  <a:pt x="2714" y="2504"/>
                </a:lnTo>
                <a:lnTo>
                  <a:pt x="2704" y="2497"/>
                </a:lnTo>
                <a:lnTo>
                  <a:pt x="2704" y="2481"/>
                </a:lnTo>
                <a:lnTo>
                  <a:pt x="2704" y="2497"/>
                </a:lnTo>
                <a:lnTo>
                  <a:pt x="2704" y="2504"/>
                </a:lnTo>
                <a:lnTo>
                  <a:pt x="2683" y="2530"/>
                </a:lnTo>
                <a:lnTo>
                  <a:pt x="2667" y="2537"/>
                </a:lnTo>
                <a:lnTo>
                  <a:pt x="2662" y="2530"/>
                </a:lnTo>
                <a:lnTo>
                  <a:pt x="2662" y="2521"/>
                </a:lnTo>
                <a:lnTo>
                  <a:pt x="2650" y="2537"/>
                </a:lnTo>
                <a:lnTo>
                  <a:pt x="2662" y="2542"/>
                </a:lnTo>
                <a:lnTo>
                  <a:pt x="2650" y="2542"/>
                </a:lnTo>
                <a:lnTo>
                  <a:pt x="2607" y="2521"/>
                </a:lnTo>
                <a:lnTo>
                  <a:pt x="2629" y="2542"/>
                </a:lnTo>
                <a:lnTo>
                  <a:pt x="2624" y="2542"/>
                </a:lnTo>
                <a:lnTo>
                  <a:pt x="2624" y="2559"/>
                </a:lnTo>
                <a:lnTo>
                  <a:pt x="2574" y="2587"/>
                </a:lnTo>
                <a:lnTo>
                  <a:pt x="2570" y="2575"/>
                </a:lnTo>
                <a:lnTo>
                  <a:pt x="2574" y="2559"/>
                </a:lnTo>
                <a:lnTo>
                  <a:pt x="2558" y="2559"/>
                </a:lnTo>
                <a:lnTo>
                  <a:pt x="2558" y="2570"/>
                </a:lnTo>
                <a:lnTo>
                  <a:pt x="2558" y="2575"/>
                </a:lnTo>
                <a:lnTo>
                  <a:pt x="2532" y="2592"/>
                </a:lnTo>
                <a:lnTo>
                  <a:pt x="2520" y="2575"/>
                </a:lnTo>
                <a:lnTo>
                  <a:pt x="2520" y="2570"/>
                </a:lnTo>
                <a:lnTo>
                  <a:pt x="2515" y="2570"/>
                </a:lnTo>
                <a:lnTo>
                  <a:pt x="2520" y="2592"/>
                </a:lnTo>
                <a:lnTo>
                  <a:pt x="2515" y="2599"/>
                </a:lnTo>
                <a:lnTo>
                  <a:pt x="2478" y="2587"/>
                </a:lnTo>
                <a:lnTo>
                  <a:pt x="2466" y="2570"/>
                </a:lnTo>
                <a:lnTo>
                  <a:pt x="2515" y="2530"/>
                </a:lnTo>
                <a:lnTo>
                  <a:pt x="2449" y="2530"/>
                </a:lnTo>
                <a:lnTo>
                  <a:pt x="2445" y="2530"/>
                </a:lnTo>
                <a:lnTo>
                  <a:pt x="2478" y="2542"/>
                </a:lnTo>
                <a:lnTo>
                  <a:pt x="2461" y="2542"/>
                </a:lnTo>
                <a:lnTo>
                  <a:pt x="2466" y="2554"/>
                </a:lnTo>
                <a:lnTo>
                  <a:pt x="2449" y="2559"/>
                </a:lnTo>
                <a:lnTo>
                  <a:pt x="2461" y="2575"/>
                </a:lnTo>
                <a:lnTo>
                  <a:pt x="2449" y="2587"/>
                </a:lnTo>
                <a:lnTo>
                  <a:pt x="2445" y="2575"/>
                </a:lnTo>
                <a:lnTo>
                  <a:pt x="2445" y="2587"/>
                </a:lnTo>
                <a:lnTo>
                  <a:pt x="2435" y="2587"/>
                </a:lnTo>
                <a:lnTo>
                  <a:pt x="2423" y="2570"/>
                </a:lnTo>
                <a:lnTo>
                  <a:pt x="2423" y="2587"/>
                </a:lnTo>
                <a:lnTo>
                  <a:pt x="2449" y="2592"/>
                </a:lnTo>
                <a:lnTo>
                  <a:pt x="2435" y="2615"/>
                </a:lnTo>
                <a:lnTo>
                  <a:pt x="2407" y="2608"/>
                </a:lnTo>
                <a:lnTo>
                  <a:pt x="2411" y="2625"/>
                </a:lnTo>
                <a:lnTo>
                  <a:pt x="2381" y="2625"/>
                </a:lnTo>
                <a:lnTo>
                  <a:pt x="2359" y="2608"/>
                </a:lnTo>
                <a:lnTo>
                  <a:pt x="2374" y="2625"/>
                </a:lnTo>
                <a:lnTo>
                  <a:pt x="2359" y="2632"/>
                </a:lnTo>
                <a:lnTo>
                  <a:pt x="2336" y="2608"/>
                </a:lnTo>
                <a:lnTo>
                  <a:pt x="2326" y="2625"/>
                </a:lnTo>
                <a:lnTo>
                  <a:pt x="2326" y="2632"/>
                </a:lnTo>
                <a:lnTo>
                  <a:pt x="2305" y="2625"/>
                </a:lnTo>
                <a:lnTo>
                  <a:pt x="2298" y="2632"/>
                </a:lnTo>
                <a:lnTo>
                  <a:pt x="2326" y="2641"/>
                </a:lnTo>
                <a:lnTo>
                  <a:pt x="2322" y="2648"/>
                </a:lnTo>
                <a:lnTo>
                  <a:pt x="2336" y="2665"/>
                </a:lnTo>
                <a:lnTo>
                  <a:pt x="2298" y="2686"/>
                </a:lnTo>
                <a:lnTo>
                  <a:pt x="2272" y="2670"/>
                </a:lnTo>
                <a:lnTo>
                  <a:pt x="2267" y="2686"/>
                </a:lnTo>
                <a:lnTo>
                  <a:pt x="2246" y="2681"/>
                </a:lnTo>
                <a:lnTo>
                  <a:pt x="2234" y="2698"/>
                </a:lnTo>
                <a:lnTo>
                  <a:pt x="2272" y="2726"/>
                </a:lnTo>
                <a:lnTo>
                  <a:pt x="2272" y="2752"/>
                </a:lnTo>
                <a:lnTo>
                  <a:pt x="2289" y="2764"/>
                </a:lnTo>
                <a:lnTo>
                  <a:pt x="2260" y="2764"/>
                </a:lnTo>
                <a:lnTo>
                  <a:pt x="2208" y="2776"/>
                </a:lnTo>
                <a:lnTo>
                  <a:pt x="2218" y="2792"/>
                </a:lnTo>
                <a:lnTo>
                  <a:pt x="2272" y="2797"/>
                </a:lnTo>
                <a:lnTo>
                  <a:pt x="2260" y="2814"/>
                </a:lnTo>
                <a:lnTo>
                  <a:pt x="2272" y="2814"/>
                </a:lnTo>
                <a:lnTo>
                  <a:pt x="2284" y="2837"/>
                </a:lnTo>
                <a:lnTo>
                  <a:pt x="2251" y="2837"/>
                </a:lnTo>
                <a:lnTo>
                  <a:pt x="2213" y="2821"/>
                </a:lnTo>
                <a:lnTo>
                  <a:pt x="2208" y="2830"/>
                </a:lnTo>
                <a:lnTo>
                  <a:pt x="2251" y="2847"/>
                </a:lnTo>
                <a:lnTo>
                  <a:pt x="2267" y="2863"/>
                </a:lnTo>
                <a:lnTo>
                  <a:pt x="2246" y="2863"/>
                </a:lnTo>
                <a:lnTo>
                  <a:pt x="2246" y="2870"/>
                </a:lnTo>
                <a:lnTo>
                  <a:pt x="2234" y="2863"/>
                </a:lnTo>
                <a:lnTo>
                  <a:pt x="2246" y="2875"/>
                </a:lnTo>
                <a:lnTo>
                  <a:pt x="2234" y="2875"/>
                </a:lnTo>
                <a:lnTo>
                  <a:pt x="2218" y="2863"/>
                </a:lnTo>
                <a:lnTo>
                  <a:pt x="2230" y="2875"/>
                </a:lnTo>
                <a:lnTo>
                  <a:pt x="2208" y="2863"/>
                </a:lnTo>
                <a:lnTo>
                  <a:pt x="2234" y="2887"/>
                </a:lnTo>
                <a:lnTo>
                  <a:pt x="2196" y="2863"/>
                </a:lnTo>
                <a:lnTo>
                  <a:pt x="2180" y="2870"/>
                </a:lnTo>
                <a:lnTo>
                  <a:pt x="2213" y="2908"/>
                </a:lnTo>
                <a:lnTo>
                  <a:pt x="2208" y="2908"/>
                </a:lnTo>
                <a:lnTo>
                  <a:pt x="2175" y="2892"/>
                </a:lnTo>
                <a:lnTo>
                  <a:pt x="2208" y="2920"/>
                </a:lnTo>
                <a:lnTo>
                  <a:pt x="2196" y="2920"/>
                </a:lnTo>
                <a:lnTo>
                  <a:pt x="2163" y="2903"/>
                </a:lnTo>
                <a:lnTo>
                  <a:pt x="2175" y="2920"/>
                </a:lnTo>
                <a:lnTo>
                  <a:pt x="2208" y="2925"/>
                </a:lnTo>
                <a:lnTo>
                  <a:pt x="2192" y="2941"/>
                </a:lnTo>
                <a:lnTo>
                  <a:pt x="2154" y="2941"/>
                </a:lnTo>
                <a:lnTo>
                  <a:pt x="2154" y="2925"/>
                </a:lnTo>
                <a:lnTo>
                  <a:pt x="2142" y="2932"/>
                </a:lnTo>
                <a:lnTo>
                  <a:pt x="2142" y="2941"/>
                </a:lnTo>
                <a:lnTo>
                  <a:pt x="2137" y="2948"/>
                </a:lnTo>
                <a:lnTo>
                  <a:pt x="2100" y="2948"/>
                </a:lnTo>
                <a:lnTo>
                  <a:pt x="2100" y="2958"/>
                </a:lnTo>
                <a:lnTo>
                  <a:pt x="2154" y="2974"/>
                </a:lnTo>
                <a:lnTo>
                  <a:pt x="2154" y="2981"/>
                </a:lnTo>
                <a:lnTo>
                  <a:pt x="2137" y="2981"/>
                </a:lnTo>
                <a:lnTo>
                  <a:pt x="2163" y="2986"/>
                </a:lnTo>
                <a:lnTo>
                  <a:pt x="2104" y="2974"/>
                </a:lnTo>
                <a:lnTo>
                  <a:pt x="2159" y="3003"/>
                </a:lnTo>
                <a:lnTo>
                  <a:pt x="2154" y="3019"/>
                </a:lnTo>
                <a:lnTo>
                  <a:pt x="2137" y="3036"/>
                </a:lnTo>
                <a:lnTo>
                  <a:pt x="2163" y="3036"/>
                </a:lnTo>
                <a:lnTo>
                  <a:pt x="2159" y="3043"/>
                </a:lnTo>
                <a:lnTo>
                  <a:pt x="2142" y="3043"/>
                </a:lnTo>
                <a:lnTo>
                  <a:pt x="2159" y="3052"/>
                </a:lnTo>
                <a:lnTo>
                  <a:pt x="2154" y="3059"/>
                </a:lnTo>
                <a:lnTo>
                  <a:pt x="2109" y="3059"/>
                </a:lnTo>
                <a:lnTo>
                  <a:pt x="2154" y="3076"/>
                </a:lnTo>
                <a:lnTo>
                  <a:pt x="2142" y="3085"/>
                </a:lnTo>
                <a:lnTo>
                  <a:pt x="2100" y="3076"/>
                </a:lnTo>
                <a:lnTo>
                  <a:pt x="2137" y="3085"/>
                </a:lnTo>
                <a:lnTo>
                  <a:pt x="2142" y="3097"/>
                </a:lnTo>
                <a:lnTo>
                  <a:pt x="2142" y="3109"/>
                </a:lnTo>
                <a:lnTo>
                  <a:pt x="2126" y="3114"/>
                </a:lnTo>
                <a:lnTo>
                  <a:pt x="2088" y="3109"/>
                </a:lnTo>
                <a:lnTo>
                  <a:pt x="2126" y="3114"/>
                </a:lnTo>
                <a:lnTo>
                  <a:pt x="2137" y="3125"/>
                </a:lnTo>
                <a:lnTo>
                  <a:pt x="2100" y="3125"/>
                </a:lnTo>
                <a:lnTo>
                  <a:pt x="2126" y="3130"/>
                </a:lnTo>
                <a:lnTo>
                  <a:pt x="2067" y="3130"/>
                </a:lnTo>
                <a:lnTo>
                  <a:pt x="2126" y="3142"/>
                </a:lnTo>
                <a:lnTo>
                  <a:pt x="2126" y="3147"/>
                </a:lnTo>
                <a:lnTo>
                  <a:pt x="2104" y="3154"/>
                </a:lnTo>
                <a:lnTo>
                  <a:pt x="2071" y="3147"/>
                </a:lnTo>
                <a:lnTo>
                  <a:pt x="2121" y="3163"/>
                </a:lnTo>
                <a:lnTo>
                  <a:pt x="2067" y="3163"/>
                </a:lnTo>
                <a:lnTo>
                  <a:pt x="2121" y="3170"/>
                </a:lnTo>
                <a:lnTo>
                  <a:pt x="2100" y="3180"/>
                </a:lnTo>
                <a:lnTo>
                  <a:pt x="2121" y="3180"/>
                </a:lnTo>
                <a:lnTo>
                  <a:pt x="2109" y="3187"/>
                </a:lnTo>
                <a:lnTo>
                  <a:pt x="2121" y="3187"/>
                </a:lnTo>
                <a:lnTo>
                  <a:pt x="2100" y="3196"/>
                </a:lnTo>
                <a:lnTo>
                  <a:pt x="2083" y="3196"/>
                </a:lnTo>
                <a:lnTo>
                  <a:pt x="2100" y="3203"/>
                </a:lnTo>
                <a:lnTo>
                  <a:pt x="2088" y="3203"/>
                </a:lnTo>
                <a:lnTo>
                  <a:pt x="2067" y="3196"/>
                </a:lnTo>
                <a:lnTo>
                  <a:pt x="2057" y="3170"/>
                </a:lnTo>
                <a:lnTo>
                  <a:pt x="2057" y="3196"/>
                </a:lnTo>
                <a:lnTo>
                  <a:pt x="2019" y="3187"/>
                </a:lnTo>
                <a:lnTo>
                  <a:pt x="2083" y="3203"/>
                </a:lnTo>
                <a:lnTo>
                  <a:pt x="2067" y="3220"/>
                </a:lnTo>
                <a:lnTo>
                  <a:pt x="2100" y="3208"/>
                </a:lnTo>
                <a:lnTo>
                  <a:pt x="2100" y="3225"/>
                </a:lnTo>
                <a:lnTo>
                  <a:pt x="2083" y="3225"/>
                </a:lnTo>
                <a:lnTo>
                  <a:pt x="2100" y="3225"/>
                </a:lnTo>
                <a:lnTo>
                  <a:pt x="2100" y="3241"/>
                </a:lnTo>
                <a:lnTo>
                  <a:pt x="2029" y="3236"/>
                </a:lnTo>
                <a:lnTo>
                  <a:pt x="2033" y="3220"/>
                </a:lnTo>
                <a:lnTo>
                  <a:pt x="2029" y="3208"/>
                </a:lnTo>
                <a:lnTo>
                  <a:pt x="2029" y="3220"/>
                </a:lnTo>
                <a:lnTo>
                  <a:pt x="2003" y="3236"/>
                </a:lnTo>
                <a:lnTo>
                  <a:pt x="1991" y="3253"/>
                </a:lnTo>
                <a:lnTo>
                  <a:pt x="1948" y="3241"/>
                </a:lnTo>
                <a:lnTo>
                  <a:pt x="1958" y="3236"/>
                </a:lnTo>
                <a:lnTo>
                  <a:pt x="1974" y="3236"/>
                </a:lnTo>
                <a:lnTo>
                  <a:pt x="2003" y="3196"/>
                </a:lnTo>
                <a:lnTo>
                  <a:pt x="1974" y="3225"/>
                </a:lnTo>
                <a:lnTo>
                  <a:pt x="1948" y="3236"/>
                </a:lnTo>
                <a:lnTo>
                  <a:pt x="1991" y="3170"/>
                </a:lnTo>
                <a:lnTo>
                  <a:pt x="1948" y="3203"/>
                </a:lnTo>
                <a:lnTo>
                  <a:pt x="1944" y="3196"/>
                </a:lnTo>
                <a:lnTo>
                  <a:pt x="1958" y="3180"/>
                </a:lnTo>
                <a:lnTo>
                  <a:pt x="1927" y="3203"/>
                </a:lnTo>
                <a:lnTo>
                  <a:pt x="1944" y="3180"/>
                </a:lnTo>
                <a:lnTo>
                  <a:pt x="1927" y="3203"/>
                </a:lnTo>
                <a:lnTo>
                  <a:pt x="1911" y="3187"/>
                </a:lnTo>
                <a:lnTo>
                  <a:pt x="1920" y="3187"/>
                </a:lnTo>
                <a:lnTo>
                  <a:pt x="1894" y="3187"/>
                </a:lnTo>
                <a:lnTo>
                  <a:pt x="1920" y="3180"/>
                </a:lnTo>
                <a:lnTo>
                  <a:pt x="1906" y="3180"/>
                </a:lnTo>
                <a:lnTo>
                  <a:pt x="1948" y="3154"/>
                </a:lnTo>
                <a:lnTo>
                  <a:pt x="1937" y="3142"/>
                </a:lnTo>
                <a:lnTo>
                  <a:pt x="1920" y="3170"/>
                </a:lnTo>
                <a:lnTo>
                  <a:pt x="1906" y="3170"/>
                </a:lnTo>
                <a:lnTo>
                  <a:pt x="1911" y="3163"/>
                </a:lnTo>
                <a:lnTo>
                  <a:pt x="1906" y="3163"/>
                </a:lnTo>
                <a:lnTo>
                  <a:pt x="1889" y="3170"/>
                </a:lnTo>
                <a:lnTo>
                  <a:pt x="1882" y="3170"/>
                </a:lnTo>
                <a:lnTo>
                  <a:pt x="1894" y="3154"/>
                </a:lnTo>
                <a:lnTo>
                  <a:pt x="1927" y="3147"/>
                </a:lnTo>
                <a:lnTo>
                  <a:pt x="1948" y="3125"/>
                </a:lnTo>
                <a:lnTo>
                  <a:pt x="1937" y="3130"/>
                </a:lnTo>
                <a:lnTo>
                  <a:pt x="1927" y="3114"/>
                </a:lnTo>
                <a:lnTo>
                  <a:pt x="1927" y="3130"/>
                </a:lnTo>
                <a:lnTo>
                  <a:pt x="1920" y="3142"/>
                </a:lnTo>
                <a:lnTo>
                  <a:pt x="1889" y="3154"/>
                </a:lnTo>
                <a:lnTo>
                  <a:pt x="1889" y="3147"/>
                </a:lnTo>
                <a:lnTo>
                  <a:pt x="1920" y="3130"/>
                </a:lnTo>
                <a:lnTo>
                  <a:pt x="1906" y="3114"/>
                </a:lnTo>
                <a:lnTo>
                  <a:pt x="1911" y="3109"/>
                </a:lnTo>
                <a:lnTo>
                  <a:pt x="1894" y="3114"/>
                </a:lnTo>
                <a:lnTo>
                  <a:pt x="1906" y="3125"/>
                </a:lnTo>
                <a:lnTo>
                  <a:pt x="1906" y="3130"/>
                </a:lnTo>
                <a:lnTo>
                  <a:pt x="1882" y="3147"/>
                </a:lnTo>
                <a:lnTo>
                  <a:pt x="1868" y="3130"/>
                </a:lnTo>
                <a:lnTo>
                  <a:pt x="1856" y="3154"/>
                </a:lnTo>
                <a:lnTo>
                  <a:pt x="1835" y="3147"/>
                </a:lnTo>
                <a:lnTo>
                  <a:pt x="1840" y="3154"/>
                </a:lnTo>
                <a:lnTo>
                  <a:pt x="1835" y="3163"/>
                </a:lnTo>
                <a:lnTo>
                  <a:pt x="1830" y="3147"/>
                </a:lnTo>
                <a:lnTo>
                  <a:pt x="1764" y="3154"/>
                </a:lnTo>
                <a:lnTo>
                  <a:pt x="1802" y="3154"/>
                </a:lnTo>
                <a:lnTo>
                  <a:pt x="1797" y="3163"/>
                </a:lnTo>
                <a:lnTo>
                  <a:pt x="1743" y="3163"/>
                </a:lnTo>
                <a:lnTo>
                  <a:pt x="1731" y="3163"/>
                </a:lnTo>
                <a:lnTo>
                  <a:pt x="1776" y="3142"/>
                </a:lnTo>
                <a:lnTo>
                  <a:pt x="1726" y="3147"/>
                </a:lnTo>
                <a:lnTo>
                  <a:pt x="1764" y="3142"/>
                </a:lnTo>
                <a:lnTo>
                  <a:pt x="1764" y="3130"/>
                </a:lnTo>
                <a:lnTo>
                  <a:pt x="1748" y="3130"/>
                </a:lnTo>
                <a:lnTo>
                  <a:pt x="1743" y="3125"/>
                </a:lnTo>
                <a:lnTo>
                  <a:pt x="1759" y="3109"/>
                </a:lnTo>
                <a:lnTo>
                  <a:pt x="1748" y="3109"/>
                </a:lnTo>
                <a:lnTo>
                  <a:pt x="1731" y="3114"/>
                </a:lnTo>
                <a:lnTo>
                  <a:pt x="1743" y="3130"/>
                </a:lnTo>
                <a:lnTo>
                  <a:pt x="1726" y="3130"/>
                </a:lnTo>
                <a:lnTo>
                  <a:pt x="1726" y="3125"/>
                </a:lnTo>
                <a:lnTo>
                  <a:pt x="1731" y="3125"/>
                </a:lnTo>
                <a:lnTo>
                  <a:pt x="1710" y="3125"/>
                </a:lnTo>
                <a:lnTo>
                  <a:pt x="1726" y="3109"/>
                </a:lnTo>
                <a:lnTo>
                  <a:pt x="1679" y="3097"/>
                </a:lnTo>
                <a:lnTo>
                  <a:pt x="1743" y="3085"/>
                </a:lnTo>
                <a:lnTo>
                  <a:pt x="1726" y="3076"/>
                </a:lnTo>
                <a:lnTo>
                  <a:pt x="1689" y="3092"/>
                </a:lnTo>
                <a:lnTo>
                  <a:pt x="1667" y="3085"/>
                </a:lnTo>
                <a:lnTo>
                  <a:pt x="1710" y="3076"/>
                </a:lnTo>
                <a:lnTo>
                  <a:pt x="1689" y="3076"/>
                </a:lnTo>
                <a:lnTo>
                  <a:pt x="1679" y="3076"/>
                </a:lnTo>
                <a:lnTo>
                  <a:pt x="1679" y="3059"/>
                </a:lnTo>
                <a:lnTo>
                  <a:pt x="1672" y="3069"/>
                </a:lnTo>
                <a:lnTo>
                  <a:pt x="1679" y="3052"/>
                </a:lnTo>
                <a:lnTo>
                  <a:pt x="1705" y="3036"/>
                </a:lnTo>
                <a:lnTo>
                  <a:pt x="1689" y="3036"/>
                </a:lnTo>
                <a:lnTo>
                  <a:pt x="1672" y="3052"/>
                </a:lnTo>
                <a:lnTo>
                  <a:pt x="1667" y="3069"/>
                </a:lnTo>
                <a:lnTo>
                  <a:pt x="1656" y="3059"/>
                </a:lnTo>
                <a:lnTo>
                  <a:pt x="1672" y="3043"/>
                </a:lnTo>
                <a:lnTo>
                  <a:pt x="1656" y="3052"/>
                </a:lnTo>
                <a:lnTo>
                  <a:pt x="1656" y="3036"/>
                </a:lnTo>
                <a:lnTo>
                  <a:pt x="1693" y="3031"/>
                </a:lnTo>
                <a:lnTo>
                  <a:pt x="1679" y="3019"/>
                </a:lnTo>
                <a:lnTo>
                  <a:pt x="1679" y="3014"/>
                </a:lnTo>
                <a:lnTo>
                  <a:pt x="1672" y="3031"/>
                </a:lnTo>
                <a:lnTo>
                  <a:pt x="1634" y="3036"/>
                </a:lnTo>
                <a:lnTo>
                  <a:pt x="1634" y="3019"/>
                </a:lnTo>
                <a:lnTo>
                  <a:pt x="1656" y="3019"/>
                </a:lnTo>
                <a:lnTo>
                  <a:pt x="1667" y="3014"/>
                </a:lnTo>
                <a:lnTo>
                  <a:pt x="1641" y="3014"/>
                </a:lnTo>
                <a:lnTo>
                  <a:pt x="1656" y="3003"/>
                </a:lnTo>
                <a:lnTo>
                  <a:pt x="1625" y="3003"/>
                </a:lnTo>
                <a:lnTo>
                  <a:pt x="1596" y="2981"/>
                </a:lnTo>
                <a:lnTo>
                  <a:pt x="1596" y="2958"/>
                </a:lnTo>
                <a:lnTo>
                  <a:pt x="1618" y="2941"/>
                </a:lnTo>
                <a:lnTo>
                  <a:pt x="1596" y="2958"/>
                </a:lnTo>
                <a:lnTo>
                  <a:pt x="1604" y="2925"/>
                </a:lnTo>
                <a:lnTo>
                  <a:pt x="1634" y="2920"/>
                </a:lnTo>
                <a:lnTo>
                  <a:pt x="1604" y="2925"/>
                </a:lnTo>
                <a:lnTo>
                  <a:pt x="1587" y="2948"/>
                </a:lnTo>
                <a:lnTo>
                  <a:pt x="1587" y="2925"/>
                </a:lnTo>
                <a:lnTo>
                  <a:pt x="1604" y="2920"/>
                </a:lnTo>
                <a:lnTo>
                  <a:pt x="1570" y="2925"/>
                </a:lnTo>
                <a:lnTo>
                  <a:pt x="1570" y="2908"/>
                </a:lnTo>
                <a:lnTo>
                  <a:pt x="1613" y="2892"/>
                </a:lnTo>
                <a:lnTo>
                  <a:pt x="1549" y="2908"/>
                </a:lnTo>
                <a:lnTo>
                  <a:pt x="1559" y="2892"/>
                </a:lnTo>
                <a:lnTo>
                  <a:pt x="1542" y="2903"/>
                </a:lnTo>
                <a:lnTo>
                  <a:pt x="1533" y="2887"/>
                </a:lnTo>
                <a:lnTo>
                  <a:pt x="1596" y="2875"/>
                </a:lnTo>
                <a:lnTo>
                  <a:pt x="1542" y="2875"/>
                </a:lnTo>
                <a:lnTo>
                  <a:pt x="1528" y="2870"/>
                </a:lnTo>
                <a:lnTo>
                  <a:pt x="1566" y="2863"/>
                </a:lnTo>
                <a:lnTo>
                  <a:pt x="1542" y="2863"/>
                </a:lnTo>
                <a:lnTo>
                  <a:pt x="1533" y="2854"/>
                </a:lnTo>
                <a:lnTo>
                  <a:pt x="1570" y="2854"/>
                </a:lnTo>
                <a:lnTo>
                  <a:pt x="1580" y="2847"/>
                </a:lnTo>
                <a:lnTo>
                  <a:pt x="1542" y="2847"/>
                </a:lnTo>
                <a:lnTo>
                  <a:pt x="1533" y="2854"/>
                </a:lnTo>
                <a:lnTo>
                  <a:pt x="1533" y="2863"/>
                </a:lnTo>
                <a:lnTo>
                  <a:pt x="1504" y="2837"/>
                </a:lnTo>
                <a:lnTo>
                  <a:pt x="1549" y="2814"/>
                </a:lnTo>
                <a:lnTo>
                  <a:pt x="1511" y="2830"/>
                </a:lnTo>
                <a:lnTo>
                  <a:pt x="1511" y="2821"/>
                </a:lnTo>
                <a:lnTo>
                  <a:pt x="1516" y="2821"/>
                </a:lnTo>
                <a:lnTo>
                  <a:pt x="1516" y="2814"/>
                </a:lnTo>
                <a:lnTo>
                  <a:pt x="1495" y="2809"/>
                </a:lnTo>
                <a:lnTo>
                  <a:pt x="1613" y="2781"/>
                </a:lnTo>
                <a:lnTo>
                  <a:pt x="1570" y="2781"/>
                </a:lnTo>
                <a:lnTo>
                  <a:pt x="1580" y="2776"/>
                </a:lnTo>
                <a:lnTo>
                  <a:pt x="1511" y="2797"/>
                </a:lnTo>
                <a:lnTo>
                  <a:pt x="1495" y="2792"/>
                </a:lnTo>
                <a:lnTo>
                  <a:pt x="1516" y="2792"/>
                </a:lnTo>
                <a:lnTo>
                  <a:pt x="1490" y="2781"/>
                </a:lnTo>
                <a:lnTo>
                  <a:pt x="1549" y="2781"/>
                </a:lnTo>
                <a:lnTo>
                  <a:pt x="1559" y="2776"/>
                </a:lnTo>
                <a:lnTo>
                  <a:pt x="1542" y="2776"/>
                </a:lnTo>
                <a:lnTo>
                  <a:pt x="1559" y="2759"/>
                </a:lnTo>
                <a:lnTo>
                  <a:pt x="1587" y="2764"/>
                </a:lnTo>
                <a:lnTo>
                  <a:pt x="1604" y="2759"/>
                </a:lnTo>
                <a:lnTo>
                  <a:pt x="1570" y="2759"/>
                </a:lnTo>
                <a:lnTo>
                  <a:pt x="1570" y="2752"/>
                </a:lnTo>
                <a:lnTo>
                  <a:pt x="1580" y="2743"/>
                </a:lnTo>
                <a:lnTo>
                  <a:pt x="1549" y="2736"/>
                </a:lnTo>
                <a:lnTo>
                  <a:pt x="1580" y="2726"/>
                </a:lnTo>
                <a:lnTo>
                  <a:pt x="1566" y="2726"/>
                </a:lnTo>
                <a:lnTo>
                  <a:pt x="1580" y="2726"/>
                </a:lnTo>
                <a:lnTo>
                  <a:pt x="1596" y="2726"/>
                </a:lnTo>
                <a:lnTo>
                  <a:pt x="1604" y="2752"/>
                </a:lnTo>
                <a:lnTo>
                  <a:pt x="1641" y="2764"/>
                </a:lnTo>
                <a:lnTo>
                  <a:pt x="1613" y="2743"/>
                </a:lnTo>
                <a:lnTo>
                  <a:pt x="1604" y="2736"/>
                </a:lnTo>
                <a:lnTo>
                  <a:pt x="1618" y="2726"/>
                </a:lnTo>
                <a:lnTo>
                  <a:pt x="1596" y="2726"/>
                </a:lnTo>
                <a:lnTo>
                  <a:pt x="1613" y="2703"/>
                </a:lnTo>
                <a:lnTo>
                  <a:pt x="1596" y="2719"/>
                </a:lnTo>
                <a:lnTo>
                  <a:pt x="1570" y="2719"/>
                </a:lnTo>
                <a:lnTo>
                  <a:pt x="1566" y="2698"/>
                </a:lnTo>
                <a:lnTo>
                  <a:pt x="1549" y="2665"/>
                </a:lnTo>
                <a:lnTo>
                  <a:pt x="1549" y="2698"/>
                </a:lnTo>
                <a:lnTo>
                  <a:pt x="1566" y="2698"/>
                </a:lnTo>
                <a:lnTo>
                  <a:pt x="1570" y="2719"/>
                </a:lnTo>
                <a:lnTo>
                  <a:pt x="1533" y="2736"/>
                </a:lnTo>
                <a:lnTo>
                  <a:pt x="1528" y="2736"/>
                </a:lnTo>
                <a:lnTo>
                  <a:pt x="1542" y="2719"/>
                </a:lnTo>
                <a:lnTo>
                  <a:pt x="1528" y="2719"/>
                </a:lnTo>
                <a:lnTo>
                  <a:pt x="1495" y="2776"/>
                </a:lnTo>
                <a:lnTo>
                  <a:pt x="1474" y="2781"/>
                </a:lnTo>
                <a:lnTo>
                  <a:pt x="1474" y="2759"/>
                </a:lnTo>
                <a:lnTo>
                  <a:pt x="1462" y="2759"/>
                </a:lnTo>
                <a:lnTo>
                  <a:pt x="1474" y="2736"/>
                </a:lnTo>
                <a:lnTo>
                  <a:pt x="1462" y="2726"/>
                </a:lnTo>
                <a:lnTo>
                  <a:pt x="1504" y="2710"/>
                </a:lnTo>
                <a:lnTo>
                  <a:pt x="1528" y="2686"/>
                </a:lnTo>
                <a:lnTo>
                  <a:pt x="1495" y="2703"/>
                </a:lnTo>
                <a:lnTo>
                  <a:pt x="1504" y="2698"/>
                </a:lnTo>
                <a:lnTo>
                  <a:pt x="1495" y="2686"/>
                </a:lnTo>
                <a:lnTo>
                  <a:pt x="1478" y="2710"/>
                </a:lnTo>
                <a:lnTo>
                  <a:pt x="1462" y="2710"/>
                </a:lnTo>
                <a:lnTo>
                  <a:pt x="1478" y="2703"/>
                </a:lnTo>
                <a:lnTo>
                  <a:pt x="1474" y="2703"/>
                </a:lnTo>
                <a:lnTo>
                  <a:pt x="1457" y="2710"/>
                </a:lnTo>
                <a:lnTo>
                  <a:pt x="1457" y="2703"/>
                </a:lnTo>
                <a:lnTo>
                  <a:pt x="1474" y="2698"/>
                </a:lnTo>
                <a:lnTo>
                  <a:pt x="1457" y="2681"/>
                </a:lnTo>
                <a:lnTo>
                  <a:pt x="1462" y="2665"/>
                </a:lnTo>
                <a:lnTo>
                  <a:pt x="1452" y="2665"/>
                </a:lnTo>
                <a:lnTo>
                  <a:pt x="1457" y="2653"/>
                </a:lnTo>
                <a:lnTo>
                  <a:pt x="1441" y="2670"/>
                </a:lnTo>
                <a:lnTo>
                  <a:pt x="1436" y="2653"/>
                </a:lnTo>
                <a:lnTo>
                  <a:pt x="1495" y="2625"/>
                </a:lnTo>
                <a:lnTo>
                  <a:pt x="1478" y="2615"/>
                </a:lnTo>
                <a:lnTo>
                  <a:pt x="1495" y="2608"/>
                </a:lnTo>
                <a:lnTo>
                  <a:pt x="1528" y="2599"/>
                </a:lnTo>
                <a:lnTo>
                  <a:pt x="1580" y="2608"/>
                </a:lnTo>
                <a:lnTo>
                  <a:pt x="1511" y="2599"/>
                </a:lnTo>
                <a:lnTo>
                  <a:pt x="1478" y="2615"/>
                </a:lnTo>
                <a:lnTo>
                  <a:pt x="1478" y="2625"/>
                </a:lnTo>
                <a:lnTo>
                  <a:pt x="1441" y="2648"/>
                </a:lnTo>
                <a:lnTo>
                  <a:pt x="1436" y="2632"/>
                </a:lnTo>
                <a:lnTo>
                  <a:pt x="1441" y="2615"/>
                </a:lnTo>
                <a:lnTo>
                  <a:pt x="1424" y="2632"/>
                </a:lnTo>
                <a:lnTo>
                  <a:pt x="1419" y="2625"/>
                </a:lnTo>
                <a:lnTo>
                  <a:pt x="1436" y="2615"/>
                </a:lnTo>
                <a:lnTo>
                  <a:pt x="1419" y="2615"/>
                </a:lnTo>
                <a:lnTo>
                  <a:pt x="1424" y="2592"/>
                </a:lnTo>
                <a:lnTo>
                  <a:pt x="1419" y="2608"/>
                </a:lnTo>
                <a:lnTo>
                  <a:pt x="1386" y="2608"/>
                </a:lnTo>
                <a:lnTo>
                  <a:pt x="1408" y="2592"/>
                </a:lnTo>
                <a:lnTo>
                  <a:pt x="1386" y="2599"/>
                </a:lnTo>
                <a:lnTo>
                  <a:pt x="1424" y="2575"/>
                </a:lnTo>
                <a:lnTo>
                  <a:pt x="1452" y="2587"/>
                </a:lnTo>
                <a:lnTo>
                  <a:pt x="1478" y="2570"/>
                </a:lnTo>
                <a:lnTo>
                  <a:pt x="1490" y="2575"/>
                </a:lnTo>
                <a:lnTo>
                  <a:pt x="1490" y="2570"/>
                </a:lnTo>
                <a:lnTo>
                  <a:pt x="1452" y="2587"/>
                </a:lnTo>
                <a:lnTo>
                  <a:pt x="1436" y="2575"/>
                </a:lnTo>
                <a:lnTo>
                  <a:pt x="1398" y="2592"/>
                </a:lnTo>
                <a:lnTo>
                  <a:pt x="1386" y="2587"/>
                </a:lnTo>
                <a:lnTo>
                  <a:pt x="1408" y="2570"/>
                </a:lnTo>
                <a:lnTo>
                  <a:pt x="1386" y="2575"/>
                </a:lnTo>
                <a:lnTo>
                  <a:pt x="1370" y="2575"/>
                </a:lnTo>
                <a:lnTo>
                  <a:pt x="1398" y="2570"/>
                </a:lnTo>
                <a:lnTo>
                  <a:pt x="1370" y="2570"/>
                </a:lnTo>
                <a:lnTo>
                  <a:pt x="1474" y="2514"/>
                </a:lnTo>
                <a:lnTo>
                  <a:pt x="1478" y="2497"/>
                </a:lnTo>
                <a:lnTo>
                  <a:pt x="1528" y="2476"/>
                </a:lnTo>
                <a:lnTo>
                  <a:pt x="1587" y="2476"/>
                </a:lnTo>
                <a:lnTo>
                  <a:pt x="1542" y="2464"/>
                </a:lnTo>
                <a:lnTo>
                  <a:pt x="1566" y="2448"/>
                </a:lnTo>
                <a:lnTo>
                  <a:pt x="1613" y="2459"/>
                </a:lnTo>
                <a:lnTo>
                  <a:pt x="1570" y="2448"/>
                </a:lnTo>
                <a:lnTo>
                  <a:pt x="1587" y="2443"/>
                </a:lnTo>
                <a:lnTo>
                  <a:pt x="1533" y="2464"/>
                </a:lnTo>
                <a:lnTo>
                  <a:pt x="1403" y="2554"/>
                </a:lnTo>
                <a:lnTo>
                  <a:pt x="1370" y="2559"/>
                </a:lnTo>
                <a:lnTo>
                  <a:pt x="1353" y="2554"/>
                </a:lnTo>
                <a:lnTo>
                  <a:pt x="1398" y="2537"/>
                </a:lnTo>
                <a:lnTo>
                  <a:pt x="1365" y="2542"/>
                </a:lnTo>
                <a:lnTo>
                  <a:pt x="1353" y="2537"/>
                </a:lnTo>
                <a:lnTo>
                  <a:pt x="1353" y="2514"/>
                </a:lnTo>
                <a:lnTo>
                  <a:pt x="1441" y="2504"/>
                </a:lnTo>
                <a:lnTo>
                  <a:pt x="1386" y="2504"/>
                </a:lnTo>
                <a:lnTo>
                  <a:pt x="1370" y="2497"/>
                </a:lnTo>
                <a:lnTo>
                  <a:pt x="1436" y="2488"/>
                </a:lnTo>
                <a:lnTo>
                  <a:pt x="1386" y="2481"/>
                </a:lnTo>
                <a:lnTo>
                  <a:pt x="1419" y="2481"/>
                </a:lnTo>
                <a:lnTo>
                  <a:pt x="1398" y="2481"/>
                </a:lnTo>
                <a:lnTo>
                  <a:pt x="1403" y="2476"/>
                </a:lnTo>
                <a:lnTo>
                  <a:pt x="1457" y="2476"/>
                </a:lnTo>
                <a:lnTo>
                  <a:pt x="1441" y="2464"/>
                </a:lnTo>
                <a:lnTo>
                  <a:pt x="1353" y="2464"/>
                </a:lnTo>
                <a:lnTo>
                  <a:pt x="1348" y="2459"/>
                </a:lnTo>
                <a:lnTo>
                  <a:pt x="1386" y="2448"/>
                </a:lnTo>
                <a:lnTo>
                  <a:pt x="1348" y="2443"/>
                </a:lnTo>
                <a:lnTo>
                  <a:pt x="1382" y="2443"/>
                </a:lnTo>
                <a:lnTo>
                  <a:pt x="1332" y="2443"/>
                </a:lnTo>
                <a:lnTo>
                  <a:pt x="1348" y="2431"/>
                </a:lnTo>
                <a:lnTo>
                  <a:pt x="1382" y="2426"/>
                </a:lnTo>
                <a:lnTo>
                  <a:pt x="1365" y="2426"/>
                </a:lnTo>
                <a:lnTo>
                  <a:pt x="1462" y="2410"/>
                </a:lnTo>
                <a:lnTo>
                  <a:pt x="1511" y="2410"/>
                </a:lnTo>
                <a:lnTo>
                  <a:pt x="1533" y="2431"/>
                </a:lnTo>
                <a:lnTo>
                  <a:pt x="1587" y="2431"/>
                </a:lnTo>
                <a:lnTo>
                  <a:pt x="1533" y="2431"/>
                </a:lnTo>
                <a:lnTo>
                  <a:pt x="1511" y="2410"/>
                </a:lnTo>
                <a:lnTo>
                  <a:pt x="1533" y="2403"/>
                </a:lnTo>
                <a:lnTo>
                  <a:pt x="1386" y="2410"/>
                </a:lnTo>
                <a:lnTo>
                  <a:pt x="1348" y="2426"/>
                </a:lnTo>
                <a:lnTo>
                  <a:pt x="1344" y="2419"/>
                </a:lnTo>
                <a:lnTo>
                  <a:pt x="1353" y="2393"/>
                </a:lnTo>
                <a:lnTo>
                  <a:pt x="1408" y="2370"/>
                </a:lnTo>
                <a:lnTo>
                  <a:pt x="1398" y="2370"/>
                </a:lnTo>
                <a:lnTo>
                  <a:pt x="1403" y="2370"/>
                </a:lnTo>
                <a:lnTo>
                  <a:pt x="1436" y="2365"/>
                </a:lnTo>
                <a:lnTo>
                  <a:pt x="1419" y="2365"/>
                </a:lnTo>
                <a:lnTo>
                  <a:pt x="1441" y="2365"/>
                </a:lnTo>
                <a:lnTo>
                  <a:pt x="1490" y="2377"/>
                </a:lnTo>
                <a:lnTo>
                  <a:pt x="1516" y="2370"/>
                </a:lnTo>
                <a:lnTo>
                  <a:pt x="1566" y="2393"/>
                </a:lnTo>
                <a:lnTo>
                  <a:pt x="1604" y="2393"/>
                </a:lnTo>
                <a:lnTo>
                  <a:pt x="1613" y="2386"/>
                </a:lnTo>
                <a:lnTo>
                  <a:pt x="1570" y="2393"/>
                </a:lnTo>
                <a:lnTo>
                  <a:pt x="1559" y="2377"/>
                </a:lnTo>
                <a:lnTo>
                  <a:pt x="1596" y="2365"/>
                </a:lnTo>
                <a:lnTo>
                  <a:pt x="1618" y="2370"/>
                </a:lnTo>
                <a:lnTo>
                  <a:pt x="1596" y="2365"/>
                </a:lnTo>
                <a:lnTo>
                  <a:pt x="1542" y="2377"/>
                </a:lnTo>
                <a:lnTo>
                  <a:pt x="1528" y="2365"/>
                </a:lnTo>
                <a:lnTo>
                  <a:pt x="1587" y="2348"/>
                </a:lnTo>
                <a:lnTo>
                  <a:pt x="1559" y="2337"/>
                </a:lnTo>
                <a:lnTo>
                  <a:pt x="1559" y="2348"/>
                </a:lnTo>
                <a:lnTo>
                  <a:pt x="1566" y="2348"/>
                </a:lnTo>
                <a:lnTo>
                  <a:pt x="1533" y="2365"/>
                </a:lnTo>
                <a:lnTo>
                  <a:pt x="1516" y="2348"/>
                </a:lnTo>
                <a:lnTo>
                  <a:pt x="1549" y="2348"/>
                </a:lnTo>
                <a:lnTo>
                  <a:pt x="1542" y="2332"/>
                </a:lnTo>
                <a:lnTo>
                  <a:pt x="1504" y="2337"/>
                </a:lnTo>
                <a:lnTo>
                  <a:pt x="1516" y="2353"/>
                </a:lnTo>
                <a:lnTo>
                  <a:pt x="1495" y="2370"/>
                </a:lnTo>
                <a:lnTo>
                  <a:pt x="1490" y="2365"/>
                </a:lnTo>
                <a:lnTo>
                  <a:pt x="1504" y="2353"/>
                </a:lnTo>
                <a:lnTo>
                  <a:pt x="1452" y="2353"/>
                </a:lnTo>
                <a:lnTo>
                  <a:pt x="1504" y="2332"/>
                </a:lnTo>
                <a:lnTo>
                  <a:pt x="1403" y="2365"/>
                </a:lnTo>
                <a:lnTo>
                  <a:pt x="1365" y="2386"/>
                </a:lnTo>
                <a:lnTo>
                  <a:pt x="1353" y="2386"/>
                </a:lnTo>
                <a:lnTo>
                  <a:pt x="1348" y="2377"/>
                </a:lnTo>
                <a:lnTo>
                  <a:pt x="1365" y="2370"/>
                </a:lnTo>
                <a:lnTo>
                  <a:pt x="1353" y="2353"/>
                </a:lnTo>
                <a:lnTo>
                  <a:pt x="1382" y="2353"/>
                </a:lnTo>
                <a:lnTo>
                  <a:pt x="1370" y="2348"/>
                </a:lnTo>
                <a:lnTo>
                  <a:pt x="1386" y="2353"/>
                </a:lnTo>
                <a:lnTo>
                  <a:pt x="1403" y="2348"/>
                </a:lnTo>
                <a:lnTo>
                  <a:pt x="1386" y="2348"/>
                </a:lnTo>
                <a:lnTo>
                  <a:pt x="1386" y="2337"/>
                </a:lnTo>
                <a:lnTo>
                  <a:pt x="1408" y="2332"/>
                </a:lnTo>
                <a:lnTo>
                  <a:pt x="1386" y="2332"/>
                </a:lnTo>
                <a:lnTo>
                  <a:pt x="1386" y="2320"/>
                </a:lnTo>
                <a:lnTo>
                  <a:pt x="1457" y="2337"/>
                </a:lnTo>
                <a:lnTo>
                  <a:pt x="1474" y="2332"/>
                </a:lnTo>
                <a:lnTo>
                  <a:pt x="1424" y="2332"/>
                </a:lnTo>
                <a:lnTo>
                  <a:pt x="1398" y="2315"/>
                </a:lnTo>
                <a:lnTo>
                  <a:pt x="1370" y="2315"/>
                </a:lnTo>
                <a:lnTo>
                  <a:pt x="1382" y="2308"/>
                </a:lnTo>
                <a:lnTo>
                  <a:pt x="1452" y="2320"/>
                </a:lnTo>
                <a:lnTo>
                  <a:pt x="1419" y="2308"/>
                </a:lnTo>
                <a:lnTo>
                  <a:pt x="1490" y="2320"/>
                </a:lnTo>
                <a:lnTo>
                  <a:pt x="1533" y="2320"/>
                </a:lnTo>
                <a:lnTo>
                  <a:pt x="1570" y="2337"/>
                </a:lnTo>
                <a:lnTo>
                  <a:pt x="1604" y="2337"/>
                </a:lnTo>
                <a:lnTo>
                  <a:pt x="1511" y="2308"/>
                </a:lnTo>
                <a:lnTo>
                  <a:pt x="1549" y="2308"/>
                </a:lnTo>
                <a:lnTo>
                  <a:pt x="1528" y="2299"/>
                </a:lnTo>
                <a:lnTo>
                  <a:pt x="1533" y="2292"/>
                </a:lnTo>
                <a:lnTo>
                  <a:pt x="1533" y="2282"/>
                </a:lnTo>
                <a:lnTo>
                  <a:pt x="1559" y="2266"/>
                </a:lnTo>
                <a:lnTo>
                  <a:pt x="1504" y="2275"/>
                </a:lnTo>
                <a:lnTo>
                  <a:pt x="1528" y="2292"/>
                </a:lnTo>
                <a:lnTo>
                  <a:pt x="1441" y="2308"/>
                </a:lnTo>
                <a:lnTo>
                  <a:pt x="1441" y="2308"/>
                </a:lnTo>
                <a:lnTo>
                  <a:pt x="1441" y="2308"/>
                </a:lnTo>
                <a:close/>
                <a:moveTo>
                  <a:pt x="2343" y="45"/>
                </a:moveTo>
                <a:lnTo>
                  <a:pt x="2374" y="41"/>
                </a:lnTo>
                <a:lnTo>
                  <a:pt x="2390" y="57"/>
                </a:lnTo>
                <a:lnTo>
                  <a:pt x="2343" y="45"/>
                </a:lnTo>
                <a:lnTo>
                  <a:pt x="2343" y="45"/>
                </a:lnTo>
                <a:lnTo>
                  <a:pt x="2343" y="45"/>
                </a:lnTo>
                <a:close/>
                <a:moveTo>
                  <a:pt x="2390" y="83"/>
                </a:moveTo>
                <a:lnTo>
                  <a:pt x="2267" y="62"/>
                </a:lnTo>
                <a:lnTo>
                  <a:pt x="2298" y="45"/>
                </a:lnTo>
                <a:lnTo>
                  <a:pt x="2411" y="83"/>
                </a:lnTo>
                <a:lnTo>
                  <a:pt x="2390" y="83"/>
                </a:lnTo>
                <a:lnTo>
                  <a:pt x="2390" y="83"/>
                </a:lnTo>
                <a:lnTo>
                  <a:pt x="2390" y="83"/>
                </a:lnTo>
                <a:close/>
                <a:moveTo>
                  <a:pt x="2284" y="67"/>
                </a:moveTo>
                <a:lnTo>
                  <a:pt x="2315" y="67"/>
                </a:lnTo>
                <a:lnTo>
                  <a:pt x="2272" y="67"/>
                </a:lnTo>
                <a:lnTo>
                  <a:pt x="2284" y="67"/>
                </a:lnTo>
                <a:lnTo>
                  <a:pt x="2284" y="67"/>
                </a:lnTo>
                <a:lnTo>
                  <a:pt x="2284" y="67"/>
                </a:lnTo>
                <a:close/>
                <a:moveTo>
                  <a:pt x="2411" y="83"/>
                </a:moveTo>
                <a:lnTo>
                  <a:pt x="2411" y="78"/>
                </a:lnTo>
                <a:lnTo>
                  <a:pt x="2449" y="83"/>
                </a:lnTo>
                <a:lnTo>
                  <a:pt x="2411" y="83"/>
                </a:lnTo>
                <a:lnTo>
                  <a:pt x="2411" y="83"/>
                </a:lnTo>
                <a:lnTo>
                  <a:pt x="2411" y="83"/>
                </a:lnTo>
                <a:close/>
                <a:moveTo>
                  <a:pt x="2322" y="116"/>
                </a:moveTo>
                <a:lnTo>
                  <a:pt x="2213" y="78"/>
                </a:lnTo>
                <a:lnTo>
                  <a:pt x="2260" y="78"/>
                </a:lnTo>
                <a:lnTo>
                  <a:pt x="2322" y="116"/>
                </a:lnTo>
                <a:lnTo>
                  <a:pt x="2322" y="116"/>
                </a:lnTo>
                <a:lnTo>
                  <a:pt x="2322" y="116"/>
                </a:lnTo>
                <a:close/>
                <a:moveTo>
                  <a:pt x="2343" y="111"/>
                </a:moveTo>
                <a:lnTo>
                  <a:pt x="2272" y="83"/>
                </a:lnTo>
                <a:lnTo>
                  <a:pt x="2369" y="95"/>
                </a:lnTo>
                <a:lnTo>
                  <a:pt x="2343" y="111"/>
                </a:lnTo>
                <a:lnTo>
                  <a:pt x="2343" y="111"/>
                </a:lnTo>
                <a:lnTo>
                  <a:pt x="2343" y="111"/>
                </a:lnTo>
                <a:close/>
                <a:moveTo>
                  <a:pt x="1840" y="140"/>
                </a:moveTo>
                <a:lnTo>
                  <a:pt x="1802" y="123"/>
                </a:lnTo>
                <a:lnTo>
                  <a:pt x="1868" y="140"/>
                </a:lnTo>
                <a:lnTo>
                  <a:pt x="1840" y="140"/>
                </a:lnTo>
                <a:lnTo>
                  <a:pt x="1840" y="140"/>
                </a:lnTo>
                <a:lnTo>
                  <a:pt x="1840" y="140"/>
                </a:lnTo>
                <a:close/>
                <a:moveTo>
                  <a:pt x="1731" y="152"/>
                </a:moveTo>
                <a:lnTo>
                  <a:pt x="1726" y="135"/>
                </a:lnTo>
                <a:lnTo>
                  <a:pt x="1797" y="152"/>
                </a:lnTo>
                <a:lnTo>
                  <a:pt x="1731" y="152"/>
                </a:lnTo>
                <a:lnTo>
                  <a:pt x="1731" y="152"/>
                </a:lnTo>
                <a:lnTo>
                  <a:pt x="1731" y="152"/>
                </a:lnTo>
                <a:close/>
                <a:moveTo>
                  <a:pt x="2298" y="173"/>
                </a:moveTo>
                <a:lnTo>
                  <a:pt x="2284" y="168"/>
                </a:lnTo>
                <a:lnTo>
                  <a:pt x="2305" y="173"/>
                </a:lnTo>
                <a:lnTo>
                  <a:pt x="2298" y="173"/>
                </a:lnTo>
                <a:lnTo>
                  <a:pt x="2298" y="173"/>
                </a:lnTo>
                <a:lnTo>
                  <a:pt x="2298" y="173"/>
                </a:lnTo>
                <a:close/>
                <a:moveTo>
                  <a:pt x="1965" y="279"/>
                </a:moveTo>
                <a:lnTo>
                  <a:pt x="1937" y="251"/>
                </a:lnTo>
                <a:lnTo>
                  <a:pt x="1830" y="222"/>
                </a:lnTo>
                <a:lnTo>
                  <a:pt x="1776" y="178"/>
                </a:lnTo>
                <a:lnTo>
                  <a:pt x="1882" y="173"/>
                </a:lnTo>
                <a:lnTo>
                  <a:pt x="2003" y="222"/>
                </a:lnTo>
                <a:lnTo>
                  <a:pt x="1958" y="251"/>
                </a:lnTo>
                <a:lnTo>
                  <a:pt x="1982" y="267"/>
                </a:lnTo>
                <a:lnTo>
                  <a:pt x="1965" y="279"/>
                </a:lnTo>
                <a:lnTo>
                  <a:pt x="1965" y="279"/>
                </a:lnTo>
                <a:lnTo>
                  <a:pt x="1965" y="279"/>
                </a:lnTo>
                <a:close/>
                <a:moveTo>
                  <a:pt x="1731" y="211"/>
                </a:moveTo>
                <a:lnTo>
                  <a:pt x="1693" y="194"/>
                </a:lnTo>
                <a:lnTo>
                  <a:pt x="1748" y="206"/>
                </a:lnTo>
                <a:lnTo>
                  <a:pt x="1731" y="211"/>
                </a:lnTo>
                <a:lnTo>
                  <a:pt x="1731" y="211"/>
                </a:lnTo>
                <a:lnTo>
                  <a:pt x="1731" y="211"/>
                </a:lnTo>
                <a:close/>
                <a:moveTo>
                  <a:pt x="1528" y="296"/>
                </a:moveTo>
                <a:lnTo>
                  <a:pt x="1403" y="267"/>
                </a:lnTo>
                <a:lnTo>
                  <a:pt x="1382" y="244"/>
                </a:lnTo>
                <a:lnTo>
                  <a:pt x="1398" y="227"/>
                </a:lnTo>
                <a:lnTo>
                  <a:pt x="1419" y="239"/>
                </a:lnTo>
                <a:lnTo>
                  <a:pt x="1528" y="296"/>
                </a:lnTo>
                <a:lnTo>
                  <a:pt x="1528" y="296"/>
                </a:lnTo>
                <a:lnTo>
                  <a:pt x="1528" y="296"/>
                </a:lnTo>
                <a:close/>
                <a:moveTo>
                  <a:pt x="1462" y="251"/>
                </a:moveTo>
                <a:lnTo>
                  <a:pt x="1457" y="239"/>
                </a:lnTo>
                <a:lnTo>
                  <a:pt x="1490" y="251"/>
                </a:lnTo>
                <a:lnTo>
                  <a:pt x="1462" y="251"/>
                </a:lnTo>
                <a:lnTo>
                  <a:pt x="1462" y="251"/>
                </a:lnTo>
                <a:lnTo>
                  <a:pt x="1462" y="251"/>
                </a:lnTo>
                <a:close/>
                <a:moveTo>
                  <a:pt x="3789" y="284"/>
                </a:moveTo>
                <a:lnTo>
                  <a:pt x="3763" y="251"/>
                </a:lnTo>
                <a:lnTo>
                  <a:pt x="3800" y="296"/>
                </a:lnTo>
                <a:lnTo>
                  <a:pt x="3789" y="284"/>
                </a:lnTo>
                <a:lnTo>
                  <a:pt x="3789" y="284"/>
                </a:lnTo>
                <a:lnTo>
                  <a:pt x="3789" y="284"/>
                </a:lnTo>
                <a:close/>
                <a:moveTo>
                  <a:pt x="3704" y="305"/>
                </a:moveTo>
                <a:lnTo>
                  <a:pt x="3666" y="267"/>
                </a:lnTo>
                <a:lnTo>
                  <a:pt x="3692" y="267"/>
                </a:lnTo>
                <a:lnTo>
                  <a:pt x="3741" y="305"/>
                </a:lnTo>
                <a:lnTo>
                  <a:pt x="3704" y="305"/>
                </a:lnTo>
                <a:lnTo>
                  <a:pt x="3704" y="305"/>
                </a:lnTo>
                <a:lnTo>
                  <a:pt x="3704" y="305"/>
                </a:lnTo>
                <a:close/>
                <a:moveTo>
                  <a:pt x="3817" y="350"/>
                </a:moveTo>
                <a:lnTo>
                  <a:pt x="3772" y="322"/>
                </a:lnTo>
                <a:lnTo>
                  <a:pt x="3810" y="322"/>
                </a:lnTo>
                <a:lnTo>
                  <a:pt x="3843" y="350"/>
                </a:lnTo>
                <a:lnTo>
                  <a:pt x="3817" y="350"/>
                </a:lnTo>
                <a:lnTo>
                  <a:pt x="3817" y="350"/>
                </a:lnTo>
                <a:lnTo>
                  <a:pt x="3817" y="350"/>
                </a:lnTo>
                <a:close/>
                <a:moveTo>
                  <a:pt x="3654" y="355"/>
                </a:moveTo>
                <a:lnTo>
                  <a:pt x="3666" y="350"/>
                </a:lnTo>
                <a:lnTo>
                  <a:pt x="3649" y="338"/>
                </a:lnTo>
                <a:lnTo>
                  <a:pt x="3654" y="333"/>
                </a:lnTo>
                <a:lnTo>
                  <a:pt x="3708" y="338"/>
                </a:lnTo>
                <a:lnTo>
                  <a:pt x="3654" y="355"/>
                </a:lnTo>
                <a:lnTo>
                  <a:pt x="3654" y="355"/>
                </a:lnTo>
                <a:lnTo>
                  <a:pt x="3654" y="355"/>
                </a:lnTo>
                <a:close/>
                <a:moveTo>
                  <a:pt x="3789" y="600"/>
                </a:moveTo>
                <a:lnTo>
                  <a:pt x="3720" y="612"/>
                </a:lnTo>
                <a:lnTo>
                  <a:pt x="3741" y="584"/>
                </a:lnTo>
                <a:lnTo>
                  <a:pt x="3789" y="600"/>
                </a:lnTo>
                <a:lnTo>
                  <a:pt x="3789" y="600"/>
                </a:lnTo>
                <a:lnTo>
                  <a:pt x="3789" y="600"/>
                </a:lnTo>
                <a:close/>
                <a:moveTo>
                  <a:pt x="3763" y="749"/>
                </a:moveTo>
                <a:lnTo>
                  <a:pt x="3763" y="766"/>
                </a:lnTo>
                <a:lnTo>
                  <a:pt x="3758" y="761"/>
                </a:lnTo>
                <a:lnTo>
                  <a:pt x="3763" y="749"/>
                </a:lnTo>
                <a:lnTo>
                  <a:pt x="3763" y="749"/>
                </a:lnTo>
                <a:lnTo>
                  <a:pt x="3763" y="749"/>
                </a:lnTo>
                <a:close/>
                <a:moveTo>
                  <a:pt x="3881" y="749"/>
                </a:moveTo>
                <a:lnTo>
                  <a:pt x="3885" y="761"/>
                </a:lnTo>
                <a:lnTo>
                  <a:pt x="3848" y="794"/>
                </a:lnTo>
                <a:lnTo>
                  <a:pt x="3855" y="778"/>
                </a:lnTo>
                <a:lnTo>
                  <a:pt x="3881" y="749"/>
                </a:lnTo>
                <a:lnTo>
                  <a:pt x="3881" y="749"/>
                </a:lnTo>
                <a:lnTo>
                  <a:pt x="3881" y="749"/>
                </a:lnTo>
                <a:close/>
                <a:moveTo>
                  <a:pt x="3763" y="834"/>
                </a:moveTo>
                <a:lnTo>
                  <a:pt x="3734" y="822"/>
                </a:lnTo>
                <a:lnTo>
                  <a:pt x="3779" y="799"/>
                </a:lnTo>
                <a:lnTo>
                  <a:pt x="3763" y="815"/>
                </a:lnTo>
                <a:lnTo>
                  <a:pt x="3779" y="822"/>
                </a:lnTo>
                <a:lnTo>
                  <a:pt x="3758" y="822"/>
                </a:lnTo>
                <a:lnTo>
                  <a:pt x="3779" y="822"/>
                </a:lnTo>
                <a:lnTo>
                  <a:pt x="3763" y="834"/>
                </a:lnTo>
                <a:lnTo>
                  <a:pt x="3763" y="834"/>
                </a:lnTo>
                <a:lnTo>
                  <a:pt x="3763" y="834"/>
                </a:lnTo>
                <a:close/>
                <a:moveTo>
                  <a:pt x="3843" y="834"/>
                </a:moveTo>
                <a:lnTo>
                  <a:pt x="3843" y="806"/>
                </a:lnTo>
                <a:lnTo>
                  <a:pt x="3855" y="815"/>
                </a:lnTo>
                <a:lnTo>
                  <a:pt x="3843" y="834"/>
                </a:lnTo>
                <a:lnTo>
                  <a:pt x="3843" y="834"/>
                </a:lnTo>
                <a:lnTo>
                  <a:pt x="3843" y="834"/>
                </a:lnTo>
                <a:close/>
                <a:moveTo>
                  <a:pt x="3772" y="877"/>
                </a:moveTo>
                <a:lnTo>
                  <a:pt x="3789" y="889"/>
                </a:lnTo>
                <a:lnTo>
                  <a:pt x="3763" y="893"/>
                </a:lnTo>
                <a:lnTo>
                  <a:pt x="3763" y="889"/>
                </a:lnTo>
                <a:lnTo>
                  <a:pt x="3772" y="877"/>
                </a:lnTo>
                <a:lnTo>
                  <a:pt x="3772" y="877"/>
                </a:lnTo>
                <a:lnTo>
                  <a:pt x="3772" y="877"/>
                </a:lnTo>
                <a:close/>
                <a:moveTo>
                  <a:pt x="3746" y="889"/>
                </a:moveTo>
                <a:lnTo>
                  <a:pt x="3758" y="893"/>
                </a:lnTo>
                <a:lnTo>
                  <a:pt x="3741" y="905"/>
                </a:lnTo>
                <a:lnTo>
                  <a:pt x="3741" y="889"/>
                </a:lnTo>
                <a:lnTo>
                  <a:pt x="3746" y="889"/>
                </a:lnTo>
                <a:lnTo>
                  <a:pt x="3746" y="889"/>
                </a:lnTo>
                <a:lnTo>
                  <a:pt x="3746" y="889"/>
                </a:lnTo>
                <a:close/>
                <a:moveTo>
                  <a:pt x="3772" y="910"/>
                </a:moveTo>
                <a:lnTo>
                  <a:pt x="3763" y="905"/>
                </a:lnTo>
                <a:lnTo>
                  <a:pt x="3796" y="905"/>
                </a:lnTo>
                <a:lnTo>
                  <a:pt x="3772" y="910"/>
                </a:lnTo>
                <a:lnTo>
                  <a:pt x="3772" y="910"/>
                </a:lnTo>
                <a:lnTo>
                  <a:pt x="3772" y="910"/>
                </a:lnTo>
                <a:close/>
                <a:moveTo>
                  <a:pt x="3649" y="917"/>
                </a:moveTo>
                <a:lnTo>
                  <a:pt x="3654" y="917"/>
                </a:lnTo>
                <a:lnTo>
                  <a:pt x="3649" y="917"/>
                </a:lnTo>
                <a:lnTo>
                  <a:pt x="3649" y="917"/>
                </a:lnTo>
                <a:lnTo>
                  <a:pt x="3649" y="917"/>
                </a:lnTo>
                <a:close/>
                <a:moveTo>
                  <a:pt x="3796" y="917"/>
                </a:moveTo>
                <a:lnTo>
                  <a:pt x="3789" y="933"/>
                </a:lnTo>
                <a:lnTo>
                  <a:pt x="3779" y="926"/>
                </a:lnTo>
                <a:lnTo>
                  <a:pt x="3796" y="917"/>
                </a:lnTo>
                <a:lnTo>
                  <a:pt x="3796" y="917"/>
                </a:lnTo>
                <a:lnTo>
                  <a:pt x="3796" y="917"/>
                </a:lnTo>
                <a:close/>
                <a:moveTo>
                  <a:pt x="3772" y="926"/>
                </a:moveTo>
                <a:lnTo>
                  <a:pt x="3763" y="926"/>
                </a:lnTo>
                <a:lnTo>
                  <a:pt x="3772" y="917"/>
                </a:lnTo>
                <a:lnTo>
                  <a:pt x="3772" y="926"/>
                </a:lnTo>
                <a:lnTo>
                  <a:pt x="3772" y="926"/>
                </a:lnTo>
                <a:lnTo>
                  <a:pt x="3772" y="926"/>
                </a:lnTo>
                <a:close/>
                <a:moveTo>
                  <a:pt x="3637" y="945"/>
                </a:moveTo>
                <a:lnTo>
                  <a:pt x="3628" y="966"/>
                </a:lnTo>
                <a:lnTo>
                  <a:pt x="3616" y="962"/>
                </a:lnTo>
                <a:lnTo>
                  <a:pt x="3637" y="945"/>
                </a:lnTo>
                <a:lnTo>
                  <a:pt x="3637" y="945"/>
                </a:lnTo>
                <a:lnTo>
                  <a:pt x="3637" y="945"/>
                </a:lnTo>
                <a:close/>
                <a:moveTo>
                  <a:pt x="3734" y="966"/>
                </a:moveTo>
                <a:lnTo>
                  <a:pt x="3772" y="971"/>
                </a:lnTo>
                <a:lnTo>
                  <a:pt x="3687" y="950"/>
                </a:lnTo>
                <a:lnTo>
                  <a:pt x="3725" y="950"/>
                </a:lnTo>
                <a:lnTo>
                  <a:pt x="3720" y="950"/>
                </a:lnTo>
                <a:lnTo>
                  <a:pt x="3734" y="966"/>
                </a:lnTo>
                <a:lnTo>
                  <a:pt x="3734" y="966"/>
                </a:lnTo>
                <a:lnTo>
                  <a:pt x="3734" y="966"/>
                </a:lnTo>
                <a:close/>
                <a:moveTo>
                  <a:pt x="3746" y="962"/>
                </a:moveTo>
                <a:lnTo>
                  <a:pt x="3741" y="950"/>
                </a:lnTo>
                <a:lnTo>
                  <a:pt x="3746" y="962"/>
                </a:lnTo>
                <a:lnTo>
                  <a:pt x="3746" y="962"/>
                </a:lnTo>
                <a:lnTo>
                  <a:pt x="3746" y="962"/>
                </a:lnTo>
                <a:close/>
                <a:moveTo>
                  <a:pt x="3881" y="962"/>
                </a:moveTo>
                <a:lnTo>
                  <a:pt x="3885" y="971"/>
                </a:lnTo>
                <a:lnTo>
                  <a:pt x="3881" y="988"/>
                </a:lnTo>
                <a:lnTo>
                  <a:pt x="3843" y="1000"/>
                </a:lnTo>
                <a:lnTo>
                  <a:pt x="3864" y="966"/>
                </a:lnTo>
                <a:lnTo>
                  <a:pt x="3881" y="962"/>
                </a:lnTo>
                <a:lnTo>
                  <a:pt x="3881" y="962"/>
                </a:lnTo>
                <a:lnTo>
                  <a:pt x="3881" y="962"/>
                </a:lnTo>
                <a:close/>
                <a:moveTo>
                  <a:pt x="3708" y="1000"/>
                </a:moveTo>
                <a:lnTo>
                  <a:pt x="3720" y="1004"/>
                </a:lnTo>
                <a:lnTo>
                  <a:pt x="3687" y="1004"/>
                </a:lnTo>
                <a:lnTo>
                  <a:pt x="3708" y="1000"/>
                </a:lnTo>
                <a:lnTo>
                  <a:pt x="3708" y="1000"/>
                </a:lnTo>
                <a:lnTo>
                  <a:pt x="3708" y="1000"/>
                </a:lnTo>
                <a:close/>
                <a:moveTo>
                  <a:pt x="432" y="1004"/>
                </a:moveTo>
                <a:lnTo>
                  <a:pt x="425" y="1004"/>
                </a:lnTo>
                <a:lnTo>
                  <a:pt x="446" y="1004"/>
                </a:lnTo>
                <a:lnTo>
                  <a:pt x="432" y="1004"/>
                </a:lnTo>
                <a:lnTo>
                  <a:pt x="432" y="1004"/>
                </a:lnTo>
                <a:lnTo>
                  <a:pt x="432" y="1004"/>
                </a:lnTo>
                <a:close/>
                <a:moveTo>
                  <a:pt x="479" y="1028"/>
                </a:moveTo>
                <a:lnTo>
                  <a:pt x="437" y="1021"/>
                </a:lnTo>
                <a:lnTo>
                  <a:pt x="479" y="1021"/>
                </a:lnTo>
                <a:lnTo>
                  <a:pt x="479" y="1028"/>
                </a:lnTo>
                <a:lnTo>
                  <a:pt x="479" y="1028"/>
                </a:lnTo>
                <a:lnTo>
                  <a:pt x="479" y="1028"/>
                </a:lnTo>
                <a:close/>
                <a:moveTo>
                  <a:pt x="122" y="1028"/>
                </a:moveTo>
                <a:lnTo>
                  <a:pt x="205" y="1037"/>
                </a:lnTo>
                <a:lnTo>
                  <a:pt x="139" y="1044"/>
                </a:lnTo>
                <a:lnTo>
                  <a:pt x="122" y="1028"/>
                </a:lnTo>
                <a:lnTo>
                  <a:pt x="122" y="1028"/>
                </a:lnTo>
                <a:lnTo>
                  <a:pt x="122" y="1028"/>
                </a:lnTo>
                <a:close/>
                <a:moveTo>
                  <a:pt x="54" y="1028"/>
                </a:moveTo>
                <a:lnTo>
                  <a:pt x="113" y="1044"/>
                </a:lnTo>
                <a:lnTo>
                  <a:pt x="68" y="1054"/>
                </a:lnTo>
                <a:lnTo>
                  <a:pt x="30" y="1037"/>
                </a:lnTo>
                <a:lnTo>
                  <a:pt x="54" y="1028"/>
                </a:lnTo>
                <a:lnTo>
                  <a:pt x="54" y="1028"/>
                </a:lnTo>
                <a:lnTo>
                  <a:pt x="54" y="1028"/>
                </a:lnTo>
                <a:close/>
                <a:moveTo>
                  <a:pt x="3741" y="1127"/>
                </a:moveTo>
                <a:lnTo>
                  <a:pt x="3746" y="1127"/>
                </a:lnTo>
                <a:lnTo>
                  <a:pt x="3734" y="1132"/>
                </a:lnTo>
                <a:lnTo>
                  <a:pt x="3741" y="1127"/>
                </a:lnTo>
                <a:lnTo>
                  <a:pt x="3741" y="1127"/>
                </a:lnTo>
                <a:lnTo>
                  <a:pt x="3741" y="1127"/>
                </a:lnTo>
                <a:close/>
                <a:moveTo>
                  <a:pt x="3810" y="1226"/>
                </a:moveTo>
                <a:lnTo>
                  <a:pt x="3817" y="1243"/>
                </a:lnTo>
                <a:lnTo>
                  <a:pt x="3817" y="1266"/>
                </a:lnTo>
                <a:lnTo>
                  <a:pt x="3817" y="1250"/>
                </a:lnTo>
                <a:lnTo>
                  <a:pt x="3779" y="1172"/>
                </a:lnTo>
                <a:lnTo>
                  <a:pt x="3800" y="1165"/>
                </a:lnTo>
                <a:lnTo>
                  <a:pt x="3789" y="1155"/>
                </a:lnTo>
                <a:lnTo>
                  <a:pt x="3789" y="1139"/>
                </a:lnTo>
                <a:lnTo>
                  <a:pt x="3810" y="1155"/>
                </a:lnTo>
                <a:lnTo>
                  <a:pt x="3810" y="1172"/>
                </a:lnTo>
                <a:lnTo>
                  <a:pt x="3817" y="1222"/>
                </a:lnTo>
                <a:lnTo>
                  <a:pt x="3810" y="1226"/>
                </a:lnTo>
                <a:lnTo>
                  <a:pt x="3810" y="1226"/>
                </a:lnTo>
                <a:lnTo>
                  <a:pt x="3810" y="1226"/>
                </a:lnTo>
                <a:close/>
                <a:moveTo>
                  <a:pt x="3741" y="1139"/>
                </a:moveTo>
                <a:lnTo>
                  <a:pt x="3746" y="1139"/>
                </a:lnTo>
                <a:lnTo>
                  <a:pt x="3725" y="1139"/>
                </a:lnTo>
                <a:lnTo>
                  <a:pt x="3741" y="1139"/>
                </a:lnTo>
                <a:lnTo>
                  <a:pt x="3741" y="1139"/>
                </a:lnTo>
                <a:lnTo>
                  <a:pt x="3741" y="1139"/>
                </a:lnTo>
                <a:close/>
                <a:moveTo>
                  <a:pt x="3633" y="1165"/>
                </a:moveTo>
                <a:lnTo>
                  <a:pt x="3611" y="1155"/>
                </a:lnTo>
                <a:lnTo>
                  <a:pt x="3649" y="1155"/>
                </a:lnTo>
                <a:lnTo>
                  <a:pt x="3633" y="1165"/>
                </a:lnTo>
                <a:lnTo>
                  <a:pt x="3633" y="1165"/>
                </a:lnTo>
                <a:lnTo>
                  <a:pt x="3633" y="1165"/>
                </a:lnTo>
                <a:close/>
                <a:moveTo>
                  <a:pt x="236" y="1155"/>
                </a:moveTo>
                <a:lnTo>
                  <a:pt x="252" y="1165"/>
                </a:lnTo>
                <a:lnTo>
                  <a:pt x="205" y="1165"/>
                </a:lnTo>
                <a:lnTo>
                  <a:pt x="236" y="1155"/>
                </a:lnTo>
                <a:lnTo>
                  <a:pt x="236" y="1155"/>
                </a:lnTo>
                <a:lnTo>
                  <a:pt x="236" y="1155"/>
                </a:lnTo>
                <a:close/>
                <a:moveTo>
                  <a:pt x="3670" y="1172"/>
                </a:moveTo>
                <a:lnTo>
                  <a:pt x="3666" y="1189"/>
                </a:lnTo>
                <a:lnTo>
                  <a:pt x="3637" y="1184"/>
                </a:lnTo>
                <a:lnTo>
                  <a:pt x="3670" y="1172"/>
                </a:lnTo>
                <a:lnTo>
                  <a:pt x="3670" y="1172"/>
                </a:lnTo>
                <a:lnTo>
                  <a:pt x="3670" y="1172"/>
                </a:lnTo>
                <a:close/>
                <a:moveTo>
                  <a:pt x="215" y="1184"/>
                </a:moveTo>
                <a:lnTo>
                  <a:pt x="219" y="1189"/>
                </a:lnTo>
                <a:lnTo>
                  <a:pt x="198" y="1184"/>
                </a:lnTo>
                <a:lnTo>
                  <a:pt x="215" y="1184"/>
                </a:lnTo>
                <a:lnTo>
                  <a:pt x="215" y="1184"/>
                </a:lnTo>
                <a:lnTo>
                  <a:pt x="215" y="1184"/>
                </a:lnTo>
                <a:close/>
                <a:moveTo>
                  <a:pt x="3708" y="1193"/>
                </a:moveTo>
                <a:lnTo>
                  <a:pt x="3692" y="1210"/>
                </a:lnTo>
                <a:lnTo>
                  <a:pt x="3670" y="1193"/>
                </a:lnTo>
                <a:lnTo>
                  <a:pt x="3708" y="1193"/>
                </a:lnTo>
                <a:lnTo>
                  <a:pt x="3708" y="1193"/>
                </a:lnTo>
                <a:lnTo>
                  <a:pt x="3708" y="1193"/>
                </a:lnTo>
                <a:close/>
                <a:moveTo>
                  <a:pt x="630" y="1226"/>
                </a:moveTo>
                <a:lnTo>
                  <a:pt x="630" y="1243"/>
                </a:lnTo>
                <a:lnTo>
                  <a:pt x="626" y="1238"/>
                </a:lnTo>
                <a:lnTo>
                  <a:pt x="630" y="1226"/>
                </a:lnTo>
                <a:lnTo>
                  <a:pt x="630" y="1226"/>
                </a:lnTo>
                <a:lnTo>
                  <a:pt x="630" y="1226"/>
                </a:lnTo>
                <a:close/>
                <a:moveTo>
                  <a:pt x="559" y="1238"/>
                </a:moveTo>
                <a:lnTo>
                  <a:pt x="559" y="1243"/>
                </a:lnTo>
                <a:lnTo>
                  <a:pt x="545" y="1243"/>
                </a:lnTo>
                <a:lnTo>
                  <a:pt x="559" y="1238"/>
                </a:lnTo>
                <a:lnTo>
                  <a:pt x="559" y="1238"/>
                </a:lnTo>
                <a:lnTo>
                  <a:pt x="559" y="1238"/>
                </a:lnTo>
                <a:close/>
                <a:moveTo>
                  <a:pt x="3864" y="1337"/>
                </a:moveTo>
                <a:lnTo>
                  <a:pt x="3871" y="1354"/>
                </a:lnTo>
                <a:lnTo>
                  <a:pt x="3843" y="1361"/>
                </a:lnTo>
                <a:lnTo>
                  <a:pt x="3881" y="1387"/>
                </a:lnTo>
                <a:lnTo>
                  <a:pt x="3909" y="1377"/>
                </a:lnTo>
                <a:lnTo>
                  <a:pt x="3902" y="1394"/>
                </a:lnTo>
                <a:lnTo>
                  <a:pt x="3885" y="1406"/>
                </a:lnTo>
                <a:lnTo>
                  <a:pt x="3885" y="1394"/>
                </a:lnTo>
                <a:lnTo>
                  <a:pt x="3871" y="1394"/>
                </a:lnTo>
                <a:lnTo>
                  <a:pt x="3796" y="1394"/>
                </a:lnTo>
                <a:lnTo>
                  <a:pt x="3800" y="1349"/>
                </a:lnTo>
                <a:lnTo>
                  <a:pt x="3817" y="1337"/>
                </a:lnTo>
                <a:lnTo>
                  <a:pt x="3843" y="1354"/>
                </a:lnTo>
                <a:lnTo>
                  <a:pt x="3848" y="1333"/>
                </a:lnTo>
                <a:lnTo>
                  <a:pt x="3864" y="1337"/>
                </a:lnTo>
                <a:lnTo>
                  <a:pt x="3864" y="1337"/>
                </a:lnTo>
                <a:lnTo>
                  <a:pt x="3864" y="1337"/>
                </a:lnTo>
                <a:close/>
                <a:moveTo>
                  <a:pt x="3704" y="1387"/>
                </a:moveTo>
                <a:lnTo>
                  <a:pt x="3725" y="1394"/>
                </a:lnTo>
                <a:lnTo>
                  <a:pt x="3708" y="1411"/>
                </a:lnTo>
                <a:lnTo>
                  <a:pt x="3741" y="1415"/>
                </a:lnTo>
                <a:lnTo>
                  <a:pt x="3708" y="1444"/>
                </a:lnTo>
                <a:lnTo>
                  <a:pt x="3670" y="1427"/>
                </a:lnTo>
                <a:lnTo>
                  <a:pt x="3682" y="1411"/>
                </a:lnTo>
                <a:lnTo>
                  <a:pt x="3682" y="1394"/>
                </a:lnTo>
                <a:lnTo>
                  <a:pt x="3704" y="1387"/>
                </a:lnTo>
                <a:lnTo>
                  <a:pt x="3704" y="1387"/>
                </a:lnTo>
                <a:lnTo>
                  <a:pt x="3704" y="1387"/>
                </a:lnTo>
                <a:close/>
                <a:moveTo>
                  <a:pt x="1084" y="1432"/>
                </a:moveTo>
                <a:lnTo>
                  <a:pt x="1096" y="1432"/>
                </a:lnTo>
                <a:lnTo>
                  <a:pt x="1074" y="1432"/>
                </a:lnTo>
                <a:lnTo>
                  <a:pt x="1084" y="1432"/>
                </a:lnTo>
                <a:lnTo>
                  <a:pt x="1084" y="1432"/>
                </a:lnTo>
                <a:lnTo>
                  <a:pt x="1084" y="1432"/>
                </a:lnTo>
                <a:close/>
                <a:moveTo>
                  <a:pt x="3833" y="1444"/>
                </a:moveTo>
                <a:lnTo>
                  <a:pt x="3833" y="1448"/>
                </a:lnTo>
                <a:lnTo>
                  <a:pt x="3826" y="1448"/>
                </a:lnTo>
                <a:lnTo>
                  <a:pt x="3817" y="1432"/>
                </a:lnTo>
                <a:lnTo>
                  <a:pt x="3833" y="1444"/>
                </a:lnTo>
                <a:lnTo>
                  <a:pt x="3833" y="1444"/>
                </a:lnTo>
                <a:lnTo>
                  <a:pt x="3833" y="1444"/>
                </a:lnTo>
                <a:close/>
                <a:moveTo>
                  <a:pt x="3810" y="1448"/>
                </a:moveTo>
                <a:lnTo>
                  <a:pt x="3800" y="1460"/>
                </a:lnTo>
                <a:lnTo>
                  <a:pt x="3772" y="1460"/>
                </a:lnTo>
                <a:lnTo>
                  <a:pt x="3800" y="1444"/>
                </a:lnTo>
                <a:lnTo>
                  <a:pt x="3810" y="1448"/>
                </a:lnTo>
                <a:lnTo>
                  <a:pt x="3810" y="1448"/>
                </a:lnTo>
                <a:lnTo>
                  <a:pt x="3810" y="1448"/>
                </a:lnTo>
                <a:close/>
                <a:moveTo>
                  <a:pt x="1117" y="1448"/>
                </a:moveTo>
                <a:lnTo>
                  <a:pt x="1100" y="1460"/>
                </a:lnTo>
                <a:lnTo>
                  <a:pt x="1117" y="1448"/>
                </a:lnTo>
                <a:lnTo>
                  <a:pt x="1117" y="1448"/>
                </a:lnTo>
                <a:lnTo>
                  <a:pt x="1117" y="1448"/>
                </a:lnTo>
                <a:close/>
                <a:moveTo>
                  <a:pt x="1126" y="1448"/>
                </a:moveTo>
                <a:lnTo>
                  <a:pt x="1133" y="1460"/>
                </a:lnTo>
                <a:lnTo>
                  <a:pt x="1117" y="1460"/>
                </a:lnTo>
                <a:lnTo>
                  <a:pt x="1126" y="1448"/>
                </a:lnTo>
                <a:lnTo>
                  <a:pt x="1126" y="1448"/>
                </a:lnTo>
                <a:lnTo>
                  <a:pt x="1126" y="1448"/>
                </a:lnTo>
                <a:close/>
                <a:moveTo>
                  <a:pt x="1100" y="1465"/>
                </a:moveTo>
                <a:lnTo>
                  <a:pt x="1164" y="1465"/>
                </a:lnTo>
                <a:lnTo>
                  <a:pt x="1084" y="1465"/>
                </a:lnTo>
                <a:lnTo>
                  <a:pt x="1100" y="1465"/>
                </a:lnTo>
                <a:lnTo>
                  <a:pt x="1100" y="1465"/>
                </a:lnTo>
                <a:lnTo>
                  <a:pt x="1100" y="1465"/>
                </a:lnTo>
                <a:close/>
                <a:moveTo>
                  <a:pt x="3649" y="1472"/>
                </a:moveTo>
                <a:lnTo>
                  <a:pt x="3682" y="1481"/>
                </a:lnTo>
                <a:lnTo>
                  <a:pt x="3687" y="1498"/>
                </a:lnTo>
                <a:lnTo>
                  <a:pt x="3708" y="1514"/>
                </a:lnTo>
                <a:lnTo>
                  <a:pt x="3633" y="1526"/>
                </a:lnTo>
                <a:lnTo>
                  <a:pt x="3578" y="1505"/>
                </a:lnTo>
                <a:lnTo>
                  <a:pt x="3611" y="1481"/>
                </a:lnTo>
                <a:lnTo>
                  <a:pt x="3649" y="1472"/>
                </a:lnTo>
                <a:lnTo>
                  <a:pt x="3649" y="1472"/>
                </a:lnTo>
                <a:lnTo>
                  <a:pt x="3649" y="1472"/>
                </a:lnTo>
                <a:close/>
                <a:moveTo>
                  <a:pt x="3708" y="1543"/>
                </a:moveTo>
                <a:lnTo>
                  <a:pt x="3720" y="1555"/>
                </a:lnTo>
                <a:lnTo>
                  <a:pt x="3704" y="1555"/>
                </a:lnTo>
                <a:lnTo>
                  <a:pt x="3708" y="1543"/>
                </a:lnTo>
                <a:lnTo>
                  <a:pt x="3708" y="1543"/>
                </a:lnTo>
                <a:lnTo>
                  <a:pt x="3708" y="1543"/>
                </a:lnTo>
                <a:close/>
                <a:moveTo>
                  <a:pt x="1171" y="1571"/>
                </a:moveTo>
                <a:lnTo>
                  <a:pt x="1138" y="1555"/>
                </a:lnTo>
                <a:lnTo>
                  <a:pt x="1193" y="1559"/>
                </a:lnTo>
                <a:lnTo>
                  <a:pt x="1171" y="1571"/>
                </a:lnTo>
                <a:lnTo>
                  <a:pt x="1171" y="1571"/>
                </a:lnTo>
                <a:lnTo>
                  <a:pt x="1171" y="1571"/>
                </a:lnTo>
                <a:close/>
                <a:moveTo>
                  <a:pt x="1155" y="1583"/>
                </a:moveTo>
                <a:lnTo>
                  <a:pt x="1171" y="1583"/>
                </a:lnTo>
                <a:lnTo>
                  <a:pt x="1126" y="1583"/>
                </a:lnTo>
                <a:lnTo>
                  <a:pt x="1155" y="1583"/>
                </a:lnTo>
                <a:lnTo>
                  <a:pt x="1155" y="1583"/>
                </a:lnTo>
                <a:lnTo>
                  <a:pt x="1155" y="1583"/>
                </a:lnTo>
                <a:close/>
                <a:moveTo>
                  <a:pt x="1164" y="1600"/>
                </a:moveTo>
                <a:lnTo>
                  <a:pt x="1155" y="1600"/>
                </a:lnTo>
                <a:lnTo>
                  <a:pt x="1171" y="1583"/>
                </a:lnTo>
                <a:lnTo>
                  <a:pt x="1181" y="1592"/>
                </a:lnTo>
                <a:lnTo>
                  <a:pt x="1164" y="1600"/>
                </a:lnTo>
                <a:lnTo>
                  <a:pt x="1164" y="1600"/>
                </a:lnTo>
                <a:lnTo>
                  <a:pt x="1164" y="1600"/>
                </a:lnTo>
                <a:close/>
                <a:moveTo>
                  <a:pt x="1193" y="1600"/>
                </a:moveTo>
                <a:lnTo>
                  <a:pt x="1235" y="1616"/>
                </a:lnTo>
                <a:lnTo>
                  <a:pt x="1209" y="1626"/>
                </a:lnTo>
                <a:lnTo>
                  <a:pt x="1219" y="1609"/>
                </a:lnTo>
                <a:lnTo>
                  <a:pt x="1188" y="1600"/>
                </a:lnTo>
                <a:lnTo>
                  <a:pt x="1193" y="1600"/>
                </a:lnTo>
                <a:lnTo>
                  <a:pt x="1193" y="1600"/>
                </a:lnTo>
                <a:lnTo>
                  <a:pt x="1193" y="1600"/>
                </a:lnTo>
                <a:close/>
                <a:moveTo>
                  <a:pt x="1193" y="1609"/>
                </a:moveTo>
                <a:lnTo>
                  <a:pt x="1209" y="1616"/>
                </a:lnTo>
                <a:lnTo>
                  <a:pt x="1188" y="1616"/>
                </a:lnTo>
                <a:lnTo>
                  <a:pt x="1193" y="1609"/>
                </a:lnTo>
                <a:lnTo>
                  <a:pt x="1193" y="1609"/>
                </a:lnTo>
                <a:lnTo>
                  <a:pt x="1193" y="1609"/>
                </a:lnTo>
                <a:close/>
                <a:moveTo>
                  <a:pt x="3406" y="1616"/>
                </a:moveTo>
                <a:lnTo>
                  <a:pt x="3493" y="1649"/>
                </a:lnTo>
                <a:lnTo>
                  <a:pt x="3368" y="1633"/>
                </a:lnTo>
                <a:lnTo>
                  <a:pt x="3507" y="1654"/>
                </a:lnTo>
                <a:lnTo>
                  <a:pt x="3406" y="1670"/>
                </a:lnTo>
                <a:lnTo>
                  <a:pt x="3314" y="1649"/>
                </a:lnTo>
                <a:lnTo>
                  <a:pt x="3352" y="1626"/>
                </a:lnTo>
                <a:lnTo>
                  <a:pt x="3406" y="1616"/>
                </a:lnTo>
                <a:lnTo>
                  <a:pt x="3406" y="1616"/>
                </a:lnTo>
                <a:lnTo>
                  <a:pt x="3406" y="1616"/>
                </a:lnTo>
                <a:close/>
                <a:moveTo>
                  <a:pt x="1193" y="1626"/>
                </a:moveTo>
                <a:lnTo>
                  <a:pt x="1202" y="1626"/>
                </a:lnTo>
                <a:lnTo>
                  <a:pt x="1188" y="1633"/>
                </a:lnTo>
                <a:lnTo>
                  <a:pt x="1193" y="1626"/>
                </a:lnTo>
                <a:lnTo>
                  <a:pt x="1193" y="1626"/>
                </a:lnTo>
                <a:lnTo>
                  <a:pt x="1193" y="1626"/>
                </a:lnTo>
                <a:close/>
                <a:moveTo>
                  <a:pt x="1209" y="1626"/>
                </a:moveTo>
                <a:lnTo>
                  <a:pt x="1219" y="1633"/>
                </a:lnTo>
                <a:lnTo>
                  <a:pt x="1202" y="1633"/>
                </a:lnTo>
                <a:lnTo>
                  <a:pt x="1209" y="1626"/>
                </a:lnTo>
                <a:lnTo>
                  <a:pt x="1209" y="1626"/>
                </a:lnTo>
                <a:lnTo>
                  <a:pt x="1209" y="1626"/>
                </a:lnTo>
                <a:close/>
                <a:moveTo>
                  <a:pt x="1202" y="1637"/>
                </a:moveTo>
                <a:lnTo>
                  <a:pt x="1188" y="1666"/>
                </a:lnTo>
                <a:lnTo>
                  <a:pt x="1193" y="1649"/>
                </a:lnTo>
                <a:lnTo>
                  <a:pt x="1202" y="1637"/>
                </a:lnTo>
                <a:lnTo>
                  <a:pt x="1202" y="1637"/>
                </a:lnTo>
                <a:lnTo>
                  <a:pt x="1202" y="1637"/>
                </a:lnTo>
                <a:close/>
                <a:moveTo>
                  <a:pt x="1181" y="1649"/>
                </a:moveTo>
                <a:lnTo>
                  <a:pt x="1181" y="1654"/>
                </a:lnTo>
                <a:lnTo>
                  <a:pt x="1171" y="1654"/>
                </a:lnTo>
                <a:lnTo>
                  <a:pt x="1181" y="1649"/>
                </a:lnTo>
                <a:lnTo>
                  <a:pt x="1181" y="1649"/>
                </a:lnTo>
                <a:lnTo>
                  <a:pt x="1181" y="1649"/>
                </a:lnTo>
                <a:close/>
                <a:moveTo>
                  <a:pt x="3583" y="1720"/>
                </a:moveTo>
                <a:lnTo>
                  <a:pt x="3541" y="1720"/>
                </a:lnTo>
                <a:lnTo>
                  <a:pt x="3503" y="1694"/>
                </a:lnTo>
                <a:lnTo>
                  <a:pt x="3401" y="1687"/>
                </a:lnTo>
                <a:lnTo>
                  <a:pt x="3394" y="1682"/>
                </a:lnTo>
                <a:lnTo>
                  <a:pt x="3493" y="1670"/>
                </a:lnTo>
                <a:lnTo>
                  <a:pt x="3545" y="1682"/>
                </a:lnTo>
                <a:lnTo>
                  <a:pt x="3583" y="1687"/>
                </a:lnTo>
                <a:lnTo>
                  <a:pt x="3562" y="1703"/>
                </a:lnTo>
                <a:lnTo>
                  <a:pt x="3578" y="1711"/>
                </a:lnTo>
                <a:lnTo>
                  <a:pt x="3583" y="1720"/>
                </a:lnTo>
                <a:lnTo>
                  <a:pt x="3583" y="1720"/>
                </a:lnTo>
                <a:lnTo>
                  <a:pt x="3583" y="1720"/>
                </a:lnTo>
                <a:close/>
                <a:moveTo>
                  <a:pt x="1209" y="1670"/>
                </a:moveTo>
                <a:lnTo>
                  <a:pt x="1219" y="1670"/>
                </a:lnTo>
                <a:lnTo>
                  <a:pt x="1202" y="1670"/>
                </a:lnTo>
                <a:lnTo>
                  <a:pt x="1209" y="1670"/>
                </a:lnTo>
                <a:lnTo>
                  <a:pt x="1209" y="1670"/>
                </a:lnTo>
                <a:lnTo>
                  <a:pt x="1209" y="1670"/>
                </a:lnTo>
                <a:close/>
                <a:moveTo>
                  <a:pt x="1240" y="1687"/>
                </a:moveTo>
                <a:lnTo>
                  <a:pt x="1219" y="1682"/>
                </a:lnTo>
                <a:lnTo>
                  <a:pt x="1226" y="1670"/>
                </a:lnTo>
                <a:lnTo>
                  <a:pt x="1256" y="1682"/>
                </a:lnTo>
                <a:lnTo>
                  <a:pt x="1240" y="1687"/>
                </a:lnTo>
                <a:lnTo>
                  <a:pt x="1240" y="1687"/>
                </a:lnTo>
                <a:lnTo>
                  <a:pt x="1240" y="1687"/>
                </a:lnTo>
                <a:close/>
                <a:moveTo>
                  <a:pt x="3385" y="1687"/>
                </a:moveTo>
                <a:lnTo>
                  <a:pt x="3380" y="1711"/>
                </a:lnTo>
                <a:lnTo>
                  <a:pt x="3352" y="1703"/>
                </a:lnTo>
                <a:lnTo>
                  <a:pt x="3385" y="1687"/>
                </a:lnTo>
                <a:lnTo>
                  <a:pt x="3385" y="1687"/>
                </a:lnTo>
                <a:lnTo>
                  <a:pt x="3385" y="1687"/>
                </a:lnTo>
                <a:close/>
                <a:moveTo>
                  <a:pt x="1226" y="1694"/>
                </a:moveTo>
                <a:lnTo>
                  <a:pt x="1240" y="1694"/>
                </a:lnTo>
                <a:lnTo>
                  <a:pt x="1226" y="1703"/>
                </a:lnTo>
                <a:lnTo>
                  <a:pt x="1226" y="1694"/>
                </a:lnTo>
                <a:lnTo>
                  <a:pt x="1226" y="1694"/>
                </a:lnTo>
                <a:lnTo>
                  <a:pt x="1226" y="1694"/>
                </a:lnTo>
                <a:close/>
                <a:moveTo>
                  <a:pt x="3557" y="1798"/>
                </a:moveTo>
                <a:lnTo>
                  <a:pt x="3439" y="1748"/>
                </a:lnTo>
                <a:lnTo>
                  <a:pt x="3406" y="1737"/>
                </a:lnTo>
                <a:lnTo>
                  <a:pt x="3401" y="1703"/>
                </a:lnTo>
                <a:lnTo>
                  <a:pt x="3503" y="1694"/>
                </a:lnTo>
                <a:lnTo>
                  <a:pt x="3531" y="1727"/>
                </a:lnTo>
                <a:lnTo>
                  <a:pt x="3583" y="1748"/>
                </a:lnTo>
                <a:lnTo>
                  <a:pt x="3578" y="1760"/>
                </a:lnTo>
                <a:lnTo>
                  <a:pt x="3524" y="1748"/>
                </a:lnTo>
                <a:lnTo>
                  <a:pt x="3574" y="1777"/>
                </a:lnTo>
                <a:lnTo>
                  <a:pt x="3574" y="1793"/>
                </a:lnTo>
                <a:lnTo>
                  <a:pt x="3557" y="1798"/>
                </a:lnTo>
                <a:lnTo>
                  <a:pt x="3557" y="1798"/>
                </a:lnTo>
                <a:lnTo>
                  <a:pt x="3557" y="1798"/>
                </a:lnTo>
                <a:close/>
                <a:moveTo>
                  <a:pt x="1247" y="1694"/>
                </a:moveTo>
                <a:lnTo>
                  <a:pt x="1263" y="1703"/>
                </a:lnTo>
                <a:lnTo>
                  <a:pt x="1226" y="1737"/>
                </a:lnTo>
                <a:lnTo>
                  <a:pt x="1235" y="1727"/>
                </a:lnTo>
                <a:lnTo>
                  <a:pt x="1202" y="1727"/>
                </a:lnTo>
                <a:lnTo>
                  <a:pt x="1219" y="1711"/>
                </a:lnTo>
                <a:lnTo>
                  <a:pt x="1247" y="1694"/>
                </a:lnTo>
                <a:lnTo>
                  <a:pt x="1247" y="1694"/>
                </a:lnTo>
                <a:lnTo>
                  <a:pt x="1247" y="1694"/>
                </a:lnTo>
                <a:close/>
                <a:moveTo>
                  <a:pt x="1202" y="1703"/>
                </a:moveTo>
                <a:lnTo>
                  <a:pt x="1209" y="1703"/>
                </a:lnTo>
                <a:lnTo>
                  <a:pt x="1193" y="1703"/>
                </a:lnTo>
                <a:lnTo>
                  <a:pt x="1202" y="1703"/>
                </a:lnTo>
                <a:lnTo>
                  <a:pt x="1202" y="1703"/>
                </a:lnTo>
                <a:lnTo>
                  <a:pt x="1202" y="1703"/>
                </a:lnTo>
                <a:close/>
                <a:moveTo>
                  <a:pt x="1219" y="1711"/>
                </a:moveTo>
                <a:lnTo>
                  <a:pt x="1193" y="1727"/>
                </a:lnTo>
                <a:lnTo>
                  <a:pt x="1181" y="1720"/>
                </a:lnTo>
                <a:lnTo>
                  <a:pt x="1219" y="1711"/>
                </a:lnTo>
                <a:lnTo>
                  <a:pt x="1219" y="1711"/>
                </a:lnTo>
                <a:lnTo>
                  <a:pt x="1219" y="1711"/>
                </a:lnTo>
                <a:close/>
                <a:moveTo>
                  <a:pt x="1263" y="1711"/>
                </a:moveTo>
                <a:lnTo>
                  <a:pt x="1278" y="1720"/>
                </a:lnTo>
                <a:lnTo>
                  <a:pt x="1256" y="1720"/>
                </a:lnTo>
                <a:lnTo>
                  <a:pt x="1263" y="1711"/>
                </a:lnTo>
                <a:lnTo>
                  <a:pt x="1263" y="1711"/>
                </a:lnTo>
                <a:lnTo>
                  <a:pt x="1263" y="1711"/>
                </a:lnTo>
                <a:close/>
                <a:moveTo>
                  <a:pt x="1263" y="1720"/>
                </a:moveTo>
                <a:lnTo>
                  <a:pt x="1263" y="1727"/>
                </a:lnTo>
                <a:lnTo>
                  <a:pt x="1247" y="1737"/>
                </a:lnTo>
                <a:lnTo>
                  <a:pt x="1247" y="1720"/>
                </a:lnTo>
                <a:lnTo>
                  <a:pt x="1263" y="1720"/>
                </a:lnTo>
                <a:lnTo>
                  <a:pt x="1263" y="1720"/>
                </a:lnTo>
                <a:lnTo>
                  <a:pt x="1263" y="1720"/>
                </a:lnTo>
                <a:close/>
                <a:moveTo>
                  <a:pt x="1202" y="1737"/>
                </a:moveTo>
                <a:lnTo>
                  <a:pt x="1193" y="1737"/>
                </a:lnTo>
                <a:lnTo>
                  <a:pt x="1219" y="1737"/>
                </a:lnTo>
                <a:lnTo>
                  <a:pt x="1202" y="1737"/>
                </a:lnTo>
                <a:lnTo>
                  <a:pt x="1202" y="1737"/>
                </a:lnTo>
                <a:lnTo>
                  <a:pt x="1202" y="1737"/>
                </a:lnTo>
                <a:close/>
                <a:moveTo>
                  <a:pt x="1263" y="1760"/>
                </a:moveTo>
                <a:lnTo>
                  <a:pt x="1263" y="1777"/>
                </a:lnTo>
                <a:lnTo>
                  <a:pt x="1240" y="1793"/>
                </a:lnTo>
                <a:lnTo>
                  <a:pt x="1219" y="1793"/>
                </a:lnTo>
                <a:lnTo>
                  <a:pt x="1263" y="1760"/>
                </a:lnTo>
                <a:lnTo>
                  <a:pt x="1263" y="1760"/>
                </a:lnTo>
                <a:lnTo>
                  <a:pt x="1263" y="1760"/>
                </a:lnTo>
                <a:close/>
                <a:moveTo>
                  <a:pt x="1226" y="1822"/>
                </a:moveTo>
                <a:lnTo>
                  <a:pt x="1235" y="1831"/>
                </a:lnTo>
                <a:lnTo>
                  <a:pt x="1226" y="1838"/>
                </a:lnTo>
                <a:lnTo>
                  <a:pt x="1209" y="1831"/>
                </a:lnTo>
                <a:lnTo>
                  <a:pt x="1226" y="1822"/>
                </a:lnTo>
                <a:lnTo>
                  <a:pt x="1226" y="1822"/>
                </a:lnTo>
                <a:lnTo>
                  <a:pt x="1226" y="1822"/>
                </a:lnTo>
                <a:close/>
                <a:moveTo>
                  <a:pt x="1386" y="1876"/>
                </a:moveTo>
                <a:lnTo>
                  <a:pt x="1370" y="1871"/>
                </a:lnTo>
                <a:lnTo>
                  <a:pt x="1370" y="1864"/>
                </a:lnTo>
                <a:lnTo>
                  <a:pt x="1419" y="1864"/>
                </a:lnTo>
                <a:lnTo>
                  <a:pt x="1386" y="1876"/>
                </a:lnTo>
                <a:lnTo>
                  <a:pt x="1386" y="1876"/>
                </a:lnTo>
                <a:lnTo>
                  <a:pt x="1386" y="1876"/>
                </a:lnTo>
                <a:close/>
                <a:moveTo>
                  <a:pt x="1398" y="1904"/>
                </a:moveTo>
                <a:lnTo>
                  <a:pt x="1441" y="1904"/>
                </a:lnTo>
                <a:lnTo>
                  <a:pt x="1452" y="1909"/>
                </a:lnTo>
                <a:lnTo>
                  <a:pt x="1408" y="1926"/>
                </a:lnTo>
                <a:lnTo>
                  <a:pt x="1398" y="1921"/>
                </a:lnTo>
                <a:lnTo>
                  <a:pt x="1398" y="1904"/>
                </a:lnTo>
                <a:lnTo>
                  <a:pt x="1398" y="1904"/>
                </a:lnTo>
                <a:lnTo>
                  <a:pt x="1398" y="1904"/>
                </a:lnTo>
                <a:close/>
                <a:moveTo>
                  <a:pt x="1365" y="1909"/>
                </a:moveTo>
                <a:lnTo>
                  <a:pt x="1382" y="1926"/>
                </a:lnTo>
                <a:lnTo>
                  <a:pt x="1370" y="1942"/>
                </a:lnTo>
                <a:lnTo>
                  <a:pt x="1353" y="1942"/>
                </a:lnTo>
                <a:lnTo>
                  <a:pt x="1332" y="1933"/>
                </a:lnTo>
                <a:lnTo>
                  <a:pt x="1365" y="1909"/>
                </a:lnTo>
                <a:lnTo>
                  <a:pt x="1365" y="1909"/>
                </a:lnTo>
                <a:lnTo>
                  <a:pt x="1365" y="1909"/>
                </a:lnTo>
                <a:close/>
                <a:moveTo>
                  <a:pt x="3347" y="1921"/>
                </a:moveTo>
                <a:lnTo>
                  <a:pt x="3347" y="1926"/>
                </a:lnTo>
                <a:lnTo>
                  <a:pt x="3330" y="1926"/>
                </a:lnTo>
                <a:lnTo>
                  <a:pt x="3347" y="1921"/>
                </a:lnTo>
                <a:lnTo>
                  <a:pt x="3347" y="1921"/>
                </a:lnTo>
                <a:lnTo>
                  <a:pt x="3347" y="1921"/>
                </a:lnTo>
                <a:close/>
                <a:moveTo>
                  <a:pt x="3342" y="1933"/>
                </a:moveTo>
                <a:lnTo>
                  <a:pt x="3347" y="1942"/>
                </a:lnTo>
                <a:lnTo>
                  <a:pt x="3326" y="1933"/>
                </a:lnTo>
                <a:lnTo>
                  <a:pt x="3342" y="1933"/>
                </a:lnTo>
                <a:lnTo>
                  <a:pt x="3342" y="1933"/>
                </a:lnTo>
                <a:lnTo>
                  <a:pt x="3342" y="1933"/>
                </a:lnTo>
                <a:close/>
                <a:moveTo>
                  <a:pt x="3288" y="2003"/>
                </a:moveTo>
                <a:lnTo>
                  <a:pt x="3146" y="2020"/>
                </a:lnTo>
                <a:lnTo>
                  <a:pt x="3153" y="1999"/>
                </a:lnTo>
                <a:lnTo>
                  <a:pt x="3179" y="1987"/>
                </a:lnTo>
                <a:lnTo>
                  <a:pt x="3217" y="1966"/>
                </a:lnTo>
                <a:lnTo>
                  <a:pt x="3276" y="1959"/>
                </a:lnTo>
                <a:lnTo>
                  <a:pt x="3314" y="1933"/>
                </a:lnTo>
                <a:lnTo>
                  <a:pt x="3314" y="1949"/>
                </a:lnTo>
                <a:lnTo>
                  <a:pt x="3342" y="1959"/>
                </a:lnTo>
                <a:lnTo>
                  <a:pt x="3347" y="1987"/>
                </a:lnTo>
                <a:lnTo>
                  <a:pt x="3288" y="2003"/>
                </a:lnTo>
                <a:lnTo>
                  <a:pt x="3288" y="2003"/>
                </a:lnTo>
                <a:lnTo>
                  <a:pt x="3288" y="2003"/>
                </a:lnTo>
                <a:close/>
                <a:moveTo>
                  <a:pt x="1478" y="1949"/>
                </a:moveTo>
                <a:lnTo>
                  <a:pt x="1504" y="1966"/>
                </a:lnTo>
                <a:lnTo>
                  <a:pt x="1462" y="1959"/>
                </a:lnTo>
                <a:lnTo>
                  <a:pt x="1478" y="1949"/>
                </a:lnTo>
                <a:lnTo>
                  <a:pt x="1478" y="1949"/>
                </a:lnTo>
                <a:lnTo>
                  <a:pt x="1478" y="1949"/>
                </a:lnTo>
                <a:close/>
                <a:moveTo>
                  <a:pt x="3205" y="1966"/>
                </a:moveTo>
                <a:lnTo>
                  <a:pt x="3179" y="1982"/>
                </a:lnTo>
                <a:lnTo>
                  <a:pt x="3179" y="1966"/>
                </a:lnTo>
                <a:lnTo>
                  <a:pt x="3205" y="1966"/>
                </a:lnTo>
                <a:lnTo>
                  <a:pt x="3205" y="1966"/>
                </a:lnTo>
                <a:lnTo>
                  <a:pt x="3205" y="1966"/>
                </a:lnTo>
                <a:close/>
                <a:moveTo>
                  <a:pt x="1263" y="2015"/>
                </a:moveTo>
                <a:lnTo>
                  <a:pt x="1289" y="2032"/>
                </a:lnTo>
                <a:lnTo>
                  <a:pt x="1273" y="2032"/>
                </a:lnTo>
                <a:lnTo>
                  <a:pt x="1263" y="2020"/>
                </a:lnTo>
                <a:lnTo>
                  <a:pt x="1263" y="2015"/>
                </a:lnTo>
                <a:lnTo>
                  <a:pt x="1263" y="2015"/>
                </a:lnTo>
                <a:lnTo>
                  <a:pt x="1263" y="2015"/>
                </a:lnTo>
                <a:close/>
                <a:moveTo>
                  <a:pt x="1315" y="2155"/>
                </a:moveTo>
                <a:lnTo>
                  <a:pt x="1382" y="2148"/>
                </a:lnTo>
                <a:lnTo>
                  <a:pt x="1365" y="2148"/>
                </a:lnTo>
                <a:lnTo>
                  <a:pt x="1382" y="2131"/>
                </a:lnTo>
                <a:lnTo>
                  <a:pt x="1348" y="2148"/>
                </a:lnTo>
                <a:lnTo>
                  <a:pt x="1344" y="2148"/>
                </a:lnTo>
                <a:lnTo>
                  <a:pt x="1353" y="2143"/>
                </a:lnTo>
                <a:lnTo>
                  <a:pt x="1332" y="2143"/>
                </a:lnTo>
                <a:lnTo>
                  <a:pt x="1344" y="2131"/>
                </a:lnTo>
                <a:lnTo>
                  <a:pt x="1344" y="2126"/>
                </a:lnTo>
                <a:lnTo>
                  <a:pt x="1327" y="2131"/>
                </a:lnTo>
                <a:lnTo>
                  <a:pt x="1278" y="2126"/>
                </a:lnTo>
                <a:lnTo>
                  <a:pt x="1263" y="2114"/>
                </a:lnTo>
                <a:lnTo>
                  <a:pt x="1289" y="2110"/>
                </a:lnTo>
                <a:lnTo>
                  <a:pt x="1311" y="2114"/>
                </a:lnTo>
                <a:lnTo>
                  <a:pt x="1273" y="2098"/>
                </a:lnTo>
                <a:lnTo>
                  <a:pt x="1273" y="2086"/>
                </a:lnTo>
                <a:lnTo>
                  <a:pt x="1315" y="2086"/>
                </a:lnTo>
                <a:lnTo>
                  <a:pt x="1278" y="2070"/>
                </a:lnTo>
                <a:lnTo>
                  <a:pt x="1278" y="2053"/>
                </a:lnTo>
                <a:lnTo>
                  <a:pt x="1311" y="2037"/>
                </a:lnTo>
                <a:lnTo>
                  <a:pt x="1370" y="2044"/>
                </a:lnTo>
                <a:lnTo>
                  <a:pt x="1424" y="2086"/>
                </a:lnTo>
                <a:lnTo>
                  <a:pt x="1478" y="2098"/>
                </a:lnTo>
                <a:lnTo>
                  <a:pt x="1478" y="2110"/>
                </a:lnTo>
                <a:lnTo>
                  <a:pt x="1474" y="2114"/>
                </a:lnTo>
                <a:lnTo>
                  <a:pt x="1490" y="2126"/>
                </a:lnTo>
                <a:lnTo>
                  <a:pt x="1457" y="2148"/>
                </a:lnTo>
                <a:lnTo>
                  <a:pt x="1365" y="2171"/>
                </a:lnTo>
                <a:lnTo>
                  <a:pt x="1315" y="2155"/>
                </a:lnTo>
                <a:lnTo>
                  <a:pt x="1315" y="2155"/>
                </a:lnTo>
                <a:lnTo>
                  <a:pt x="1315" y="2155"/>
                </a:lnTo>
                <a:close/>
                <a:moveTo>
                  <a:pt x="1542" y="2086"/>
                </a:moveTo>
                <a:lnTo>
                  <a:pt x="1570" y="2098"/>
                </a:lnTo>
                <a:lnTo>
                  <a:pt x="1549" y="2114"/>
                </a:lnTo>
                <a:lnTo>
                  <a:pt x="1549" y="2131"/>
                </a:lnTo>
                <a:lnTo>
                  <a:pt x="1528" y="2143"/>
                </a:lnTo>
                <a:lnTo>
                  <a:pt x="1516" y="2114"/>
                </a:lnTo>
                <a:lnTo>
                  <a:pt x="1542" y="2093"/>
                </a:lnTo>
                <a:lnTo>
                  <a:pt x="1516" y="2093"/>
                </a:lnTo>
                <a:lnTo>
                  <a:pt x="1542" y="2086"/>
                </a:lnTo>
                <a:lnTo>
                  <a:pt x="1542" y="2086"/>
                </a:lnTo>
                <a:lnTo>
                  <a:pt x="1542" y="2086"/>
                </a:lnTo>
                <a:close/>
                <a:moveTo>
                  <a:pt x="3493" y="2110"/>
                </a:moveTo>
                <a:lnTo>
                  <a:pt x="3493" y="2114"/>
                </a:lnTo>
                <a:lnTo>
                  <a:pt x="3486" y="2126"/>
                </a:lnTo>
                <a:lnTo>
                  <a:pt x="3470" y="2114"/>
                </a:lnTo>
                <a:lnTo>
                  <a:pt x="3493" y="2110"/>
                </a:lnTo>
                <a:lnTo>
                  <a:pt x="3493" y="2110"/>
                </a:lnTo>
                <a:lnTo>
                  <a:pt x="3493" y="2110"/>
                </a:lnTo>
                <a:close/>
                <a:moveTo>
                  <a:pt x="1462" y="2242"/>
                </a:moveTo>
                <a:lnTo>
                  <a:pt x="1398" y="2259"/>
                </a:lnTo>
                <a:lnTo>
                  <a:pt x="1436" y="2242"/>
                </a:lnTo>
                <a:lnTo>
                  <a:pt x="1462" y="2242"/>
                </a:lnTo>
                <a:lnTo>
                  <a:pt x="1462" y="2242"/>
                </a:lnTo>
                <a:lnTo>
                  <a:pt x="1462" y="2242"/>
                </a:lnTo>
                <a:close/>
                <a:moveTo>
                  <a:pt x="1533" y="2242"/>
                </a:moveTo>
                <a:lnTo>
                  <a:pt x="1542" y="2254"/>
                </a:lnTo>
                <a:lnTo>
                  <a:pt x="1528" y="2254"/>
                </a:lnTo>
                <a:lnTo>
                  <a:pt x="1533" y="2242"/>
                </a:lnTo>
                <a:lnTo>
                  <a:pt x="1533" y="2242"/>
                </a:lnTo>
                <a:lnTo>
                  <a:pt x="1533" y="2242"/>
                </a:lnTo>
                <a:close/>
                <a:moveTo>
                  <a:pt x="1436" y="2259"/>
                </a:moveTo>
                <a:lnTo>
                  <a:pt x="1441" y="2259"/>
                </a:lnTo>
                <a:lnTo>
                  <a:pt x="1424" y="2259"/>
                </a:lnTo>
                <a:lnTo>
                  <a:pt x="1436" y="2259"/>
                </a:lnTo>
                <a:lnTo>
                  <a:pt x="1436" y="2259"/>
                </a:lnTo>
                <a:lnTo>
                  <a:pt x="1436" y="2259"/>
                </a:lnTo>
                <a:close/>
                <a:moveTo>
                  <a:pt x="1419" y="2259"/>
                </a:moveTo>
                <a:lnTo>
                  <a:pt x="1419" y="2266"/>
                </a:lnTo>
                <a:lnTo>
                  <a:pt x="1408" y="2259"/>
                </a:lnTo>
                <a:lnTo>
                  <a:pt x="1419" y="2259"/>
                </a:lnTo>
                <a:lnTo>
                  <a:pt x="1419" y="2259"/>
                </a:lnTo>
                <a:lnTo>
                  <a:pt x="1419" y="2259"/>
                </a:lnTo>
                <a:close/>
                <a:moveTo>
                  <a:pt x="1403" y="2266"/>
                </a:moveTo>
                <a:lnTo>
                  <a:pt x="1408" y="2275"/>
                </a:lnTo>
                <a:lnTo>
                  <a:pt x="1386" y="2282"/>
                </a:lnTo>
                <a:lnTo>
                  <a:pt x="1403" y="2266"/>
                </a:lnTo>
                <a:lnTo>
                  <a:pt x="1403" y="2266"/>
                </a:lnTo>
                <a:lnTo>
                  <a:pt x="1403" y="2266"/>
                </a:lnTo>
                <a:close/>
                <a:moveTo>
                  <a:pt x="1457" y="2308"/>
                </a:moveTo>
                <a:lnTo>
                  <a:pt x="1511" y="2299"/>
                </a:lnTo>
                <a:lnTo>
                  <a:pt x="1474" y="2315"/>
                </a:lnTo>
                <a:lnTo>
                  <a:pt x="1457" y="2308"/>
                </a:lnTo>
                <a:lnTo>
                  <a:pt x="1457" y="2308"/>
                </a:lnTo>
                <a:lnTo>
                  <a:pt x="1457" y="2308"/>
                </a:lnTo>
                <a:close/>
                <a:moveTo>
                  <a:pt x="3040" y="2299"/>
                </a:moveTo>
                <a:lnTo>
                  <a:pt x="3028" y="2315"/>
                </a:lnTo>
                <a:lnTo>
                  <a:pt x="3016" y="2308"/>
                </a:lnTo>
                <a:lnTo>
                  <a:pt x="3040" y="2299"/>
                </a:lnTo>
                <a:lnTo>
                  <a:pt x="3040" y="2299"/>
                </a:lnTo>
                <a:lnTo>
                  <a:pt x="3040" y="2299"/>
                </a:lnTo>
                <a:close/>
                <a:moveTo>
                  <a:pt x="2893" y="2308"/>
                </a:moveTo>
                <a:lnTo>
                  <a:pt x="2898" y="2308"/>
                </a:lnTo>
                <a:lnTo>
                  <a:pt x="2877" y="2308"/>
                </a:lnTo>
                <a:lnTo>
                  <a:pt x="2893" y="2308"/>
                </a:lnTo>
                <a:lnTo>
                  <a:pt x="2893" y="2308"/>
                </a:lnTo>
                <a:lnTo>
                  <a:pt x="2893" y="2308"/>
                </a:lnTo>
                <a:close/>
                <a:moveTo>
                  <a:pt x="1478" y="2315"/>
                </a:moveTo>
                <a:lnTo>
                  <a:pt x="1533" y="2315"/>
                </a:lnTo>
                <a:lnTo>
                  <a:pt x="1474" y="2320"/>
                </a:lnTo>
                <a:lnTo>
                  <a:pt x="1478" y="2315"/>
                </a:lnTo>
                <a:lnTo>
                  <a:pt x="1478" y="2315"/>
                </a:lnTo>
                <a:lnTo>
                  <a:pt x="1478" y="2315"/>
                </a:lnTo>
                <a:close/>
                <a:moveTo>
                  <a:pt x="1370" y="2320"/>
                </a:moveTo>
                <a:lnTo>
                  <a:pt x="1386" y="2320"/>
                </a:lnTo>
                <a:lnTo>
                  <a:pt x="1382" y="2332"/>
                </a:lnTo>
                <a:lnTo>
                  <a:pt x="1370" y="2320"/>
                </a:lnTo>
                <a:lnTo>
                  <a:pt x="1370" y="2320"/>
                </a:lnTo>
                <a:lnTo>
                  <a:pt x="1370" y="2320"/>
                </a:lnTo>
                <a:close/>
                <a:moveTo>
                  <a:pt x="1353" y="2370"/>
                </a:moveTo>
                <a:lnTo>
                  <a:pt x="1348" y="2353"/>
                </a:lnTo>
                <a:lnTo>
                  <a:pt x="1365" y="2365"/>
                </a:lnTo>
                <a:lnTo>
                  <a:pt x="1353" y="2370"/>
                </a:lnTo>
                <a:lnTo>
                  <a:pt x="1353" y="2370"/>
                </a:lnTo>
                <a:lnTo>
                  <a:pt x="1353" y="2370"/>
                </a:lnTo>
                <a:close/>
                <a:moveTo>
                  <a:pt x="2789" y="2410"/>
                </a:moveTo>
                <a:lnTo>
                  <a:pt x="2789" y="2419"/>
                </a:lnTo>
                <a:lnTo>
                  <a:pt x="2785" y="2410"/>
                </a:lnTo>
                <a:lnTo>
                  <a:pt x="2789" y="2410"/>
                </a:lnTo>
                <a:lnTo>
                  <a:pt x="2789" y="2410"/>
                </a:lnTo>
                <a:lnTo>
                  <a:pt x="2789" y="2410"/>
                </a:lnTo>
                <a:close/>
                <a:moveTo>
                  <a:pt x="1408" y="2464"/>
                </a:moveTo>
                <a:lnTo>
                  <a:pt x="1370" y="2476"/>
                </a:lnTo>
                <a:lnTo>
                  <a:pt x="1382" y="2464"/>
                </a:lnTo>
                <a:lnTo>
                  <a:pt x="1408" y="2464"/>
                </a:lnTo>
                <a:lnTo>
                  <a:pt x="1408" y="2464"/>
                </a:lnTo>
                <a:lnTo>
                  <a:pt x="1408" y="2464"/>
                </a:lnTo>
                <a:close/>
                <a:moveTo>
                  <a:pt x="2747" y="2464"/>
                </a:moveTo>
                <a:lnTo>
                  <a:pt x="2747" y="2476"/>
                </a:lnTo>
                <a:lnTo>
                  <a:pt x="2737" y="2481"/>
                </a:lnTo>
                <a:lnTo>
                  <a:pt x="2747" y="2464"/>
                </a:lnTo>
                <a:lnTo>
                  <a:pt x="2747" y="2464"/>
                </a:lnTo>
                <a:lnTo>
                  <a:pt x="2747" y="2464"/>
                </a:lnTo>
                <a:close/>
                <a:moveTo>
                  <a:pt x="2629" y="2554"/>
                </a:moveTo>
                <a:lnTo>
                  <a:pt x="2629" y="2542"/>
                </a:lnTo>
                <a:lnTo>
                  <a:pt x="2638" y="2542"/>
                </a:lnTo>
                <a:lnTo>
                  <a:pt x="2629" y="2554"/>
                </a:lnTo>
                <a:lnTo>
                  <a:pt x="2629" y="2554"/>
                </a:lnTo>
                <a:lnTo>
                  <a:pt x="2629" y="2554"/>
                </a:lnTo>
                <a:close/>
                <a:moveTo>
                  <a:pt x="1353" y="2570"/>
                </a:moveTo>
                <a:lnTo>
                  <a:pt x="1353" y="2559"/>
                </a:lnTo>
                <a:lnTo>
                  <a:pt x="1370" y="2559"/>
                </a:lnTo>
                <a:lnTo>
                  <a:pt x="1353" y="2570"/>
                </a:lnTo>
                <a:lnTo>
                  <a:pt x="1353" y="2570"/>
                </a:lnTo>
                <a:lnTo>
                  <a:pt x="1353" y="2570"/>
                </a:lnTo>
                <a:close/>
                <a:moveTo>
                  <a:pt x="2541" y="2599"/>
                </a:moveTo>
                <a:lnTo>
                  <a:pt x="2541" y="2587"/>
                </a:lnTo>
                <a:lnTo>
                  <a:pt x="2558" y="2575"/>
                </a:lnTo>
                <a:lnTo>
                  <a:pt x="2541" y="2599"/>
                </a:lnTo>
                <a:lnTo>
                  <a:pt x="2541" y="2599"/>
                </a:lnTo>
                <a:lnTo>
                  <a:pt x="2541" y="2599"/>
                </a:lnTo>
                <a:close/>
                <a:moveTo>
                  <a:pt x="2570" y="2592"/>
                </a:moveTo>
                <a:lnTo>
                  <a:pt x="2574" y="2587"/>
                </a:lnTo>
                <a:lnTo>
                  <a:pt x="2586" y="2587"/>
                </a:lnTo>
                <a:lnTo>
                  <a:pt x="2570" y="2592"/>
                </a:lnTo>
                <a:lnTo>
                  <a:pt x="2570" y="2592"/>
                </a:lnTo>
                <a:lnTo>
                  <a:pt x="2570" y="2592"/>
                </a:lnTo>
                <a:close/>
                <a:moveTo>
                  <a:pt x="2478" y="2625"/>
                </a:moveTo>
                <a:lnTo>
                  <a:pt x="2461" y="2625"/>
                </a:lnTo>
                <a:lnTo>
                  <a:pt x="2461" y="2599"/>
                </a:lnTo>
                <a:lnTo>
                  <a:pt x="2482" y="2587"/>
                </a:lnTo>
                <a:lnTo>
                  <a:pt x="2504" y="2599"/>
                </a:lnTo>
                <a:lnTo>
                  <a:pt x="2487" y="2592"/>
                </a:lnTo>
                <a:lnTo>
                  <a:pt x="2504" y="2608"/>
                </a:lnTo>
                <a:lnTo>
                  <a:pt x="2482" y="2625"/>
                </a:lnTo>
                <a:lnTo>
                  <a:pt x="2478" y="2615"/>
                </a:lnTo>
                <a:lnTo>
                  <a:pt x="2482" y="2625"/>
                </a:lnTo>
                <a:lnTo>
                  <a:pt x="2478" y="2625"/>
                </a:lnTo>
                <a:lnTo>
                  <a:pt x="2478" y="2625"/>
                </a:lnTo>
                <a:lnTo>
                  <a:pt x="2478" y="2625"/>
                </a:lnTo>
                <a:close/>
                <a:moveTo>
                  <a:pt x="2537" y="2608"/>
                </a:moveTo>
                <a:lnTo>
                  <a:pt x="2532" y="2592"/>
                </a:lnTo>
                <a:lnTo>
                  <a:pt x="2541" y="2592"/>
                </a:lnTo>
                <a:lnTo>
                  <a:pt x="2537" y="2608"/>
                </a:lnTo>
                <a:lnTo>
                  <a:pt x="2537" y="2608"/>
                </a:lnTo>
                <a:lnTo>
                  <a:pt x="2537" y="2608"/>
                </a:lnTo>
                <a:close/>
                <a:moveTo>
                  <a:pt x="2520" y="2625"/>
                </a:moveTo>
                <a:lnTo>
                  <a:pt x="2515" y="2608"/>
                </a:lnTo>
                <a:lnTo>
                  <a:pt x="2520" y="2608"/>
                </a:lnTo>
                <a:lnTo>
                  <a:pt x="2532" y="2615"/>
                </a:lnTo>
                <a:lnTo>
                  <a:pt x="2520" y="2625"/>
                </a:lnTo>
                <a:lnTo>
                  <a:pt x="2520" y="2625"/>
                </a:lnTo>
                <a:lnTo>
                  <a:pt x="2520" y="2625"/>
                </a:lnTo>
                <a:close/>
                <a:moveTo>
                  <a:pt x="1386" y="2625"/>
                </a:moveTo>
                <a:lnTo>
                  <a:pt x="1419" y="2615"/>
                </a:lnTo>
                <a:lnTo>
                  <a:pt x="1403" y="2625"/>
                </a:lnTo>
                <a:lnTo>
                  <a:pt x="1386" y="2625"/>
                </a:lnTo>
                <a:lnTo>
                  <a:pt x="1386" y="2625"/>
                </a:lnTo>
                <a:lnTo>
                  <a:pt x="1386" y="2625"/>
                </a:lnTo>
                <a:close/>
                <a:moveTo>
                  <a:pt x="2390" y="2632"/>
                </a:moveTo>
                <a:lnTo>
                  <a:pt x="2397" y="2625"/>
                </a:lnTo>
                <a:lnTo>
                  <a:pt x="2407" y="2625"/>
                </a:lnTo>
                <a:lnTo>
                  <a:pt x="2390" y="2632"/>
                </a:lnTo>
                <a:lnTo>
                  <a:pt x="2390" y="2632"/>
                </a:lnTo>
                <a:lnTo>
                  <a:pt x="2390" y="2632"/>
                </a:lnTo>
                <a:close/>
                <a:moveTo>
                  <a:pt x="1408" y="2641"/>
                </a:moveTo>
                <a:lnTo>
                  <a:pt x="1398" y="2632"/>
                </a:lnTo>
                <a:lnTo>
                  <a:pt x="1408" y="2632"/>
                </a:lnTo>
                <a:lnTo>
                  <a:pt x="1408" y="2641"/>
                </a:lnTo>
                <a:lnTo>
                  <a:pt x="1408" y="2641"/>
                </a:lnTo>
                <a:lnTo>
                  <a:pt x="1408" y="2641"/>
                </a:lnTo>
                <a:close/>
                <a:moveTo>
                  <a:pt x="2369" y="2641"/>
                </a:moveTo>
                <a:lnTo>
                  <a:pt x="2359" y="2632"/>
                </a:lnTo>
                <a:lnTo>
                  <a:pt x="2369" y="2632"/>
                </a:lnTo>
                <a:lnTo>
                  <a:pt x="2369" y="2641"/>
                </a:lnTo>
                <a:lnTo>
                  <a:pt x="2369" y="2641"/>
                </a:lnTo>
                <a:lnTo>
                  <a:pt x="2369" y="2641"/>
                </a:lnTo>
                <a:close/>
                <a:moveTo>
                  <a:pt x="2343" y="2653"/>
                </a:moveTo>
                <a:lnTo>
                  <a:pt x="2326" y="2648"/>
                </a:lnTo>
                <a:lnTo>
                  <a:pt x="2352" y="2653"/>
                </a:lnTo>
                <a:lnTo>
                  <a:pt x="2343" y="2653"/>
                </a:lnTo>
                <a:lnTo>
                  <a:pt x="2343" y="2653"/>
                </a:lnTo>
                <a:lnTo>
                  <a:pt x="2343" y="2653"/>
                </a:lnTo>
                <a:close/>
                <a:moveTo>
                  <a:pt x="2305" y="2759"/>
                </a:moveTo>
                <a:lnTo>
                  <a:pt x="2284" y="2752"/>
                </a:lnTo>
                <a:lnTo>
                  <a:pt x="2272" y="2726"/>
                </a:lnTo>
                <a:lnTo>
                  <a:pt x="2251" y="2703"/>
                </a:lnTo>
                <a:lnTo>
                  <a:pt x="2272" y="2710"/>
                </a:lnTo>
                <a:lnTo>
                  <a:pt x="2289" y="2743"/>
                </a:lnTo>
                <a:lnTo>
                  <a:pt x="2305" y="2752"/>
                </a:lnTo>
                <a:lnTo>
                  <a:pt x="2305" y="2759"/>
                </a:lnTo>
                <a:lnTo>
                  <a:pt x="2305" y="2759"/>
                </a:lnTo>
                <a:lnTo>
                  <a:pt x="2305" y="2759"/>
                </a:lnTo>
                <a:close/>
                <a:moveTo>
                  <a:pt x="1533" y="2743"/>
                </a:moveTo>
                <a:lnTo>
                  <a:pt x="1528" y="2759"/>
                </a:lnTo>
                <a:lnTo>
                  <a:pt x="1516" y="2759"/>
                </a:lnTo>
                <a:lnTo>
                  <a:pt x="1528" y="2743"/>
                </a:lnTo>
                <a:lnTo>
                  <a:pt x="1533" y="2743"/>
                </a:lnTo>
                <a:lnTo>
                  <a:pt x="1533" y="2743"/>
                </a:lnTo>
                <a:lnTo>
                  <a:pt x="1533" y="2743"/>
                </a:lnTo>
                <a:close/>
                <a:moveTo>
                  <a:pt x="1559" y="2752"/>
                </a:moveTo>
                <a:lnTo>
                  <a:pt x="1533" y="2776"/>
                </a:lnTo>
                <a:lnTo>
                  <a:pt x="1516" y="2781"/>
                </a:lnTo>
                <a:lnTo>
                  <a:pt x="1542" y="2743"/>
                </a:lnTo>
                <a:lnTo>
                  <a:pt x="1559" y="2752"/>
                </a:lnTo>
                <a:lnTo>
                  <a:pt x="1559" y="2752"/>
                </a:lnTo>
                <a:lnTo>
                  <a:pt x="1559" y="2752"/>
                </a:lnTo>
                <a:close/>
                <a:moveTo>
                  <a:pt x="1516" y="2764"/>
                </a:moveTo>
                <a:lnTo>
                  <a:pt x="1504" y="2776"/>
                </a:lnTo>
                <a:lnTo>
                  <a:pt x="1511" y="2764"/>
                </a:lnTo>
                <a:lnTo>
                  <a:pt x="1516" y="2764"/>
                </a:lnTo>
                <a:lnTo>
                  <a:pt x="1516" y="2764"/>
                </a:lnTo>
                <a:lnTo>
                  <a:pt x="1516" y="2764"/>
                </a:lnTo>
                <a:close/>
                <a:moveTo>
                  <a:pt x="2234" y="2776"/>
                </a:moveTo>
                <a:lnTo>
                  <a:pt x="2218" y="2776"/>
                </a:lnTo>
                <a:lnTo>
                  <a:pt x="2234" y="2776"/>
                </a:lnTo>
                <a:lnTo>
                  <a:pt x="2234" y="2776"/>
                </a:lnTo>
                <a:lnTo>
                  <a:pt x="2234" y="2776"/>
                </a:lnTo>
                <a:close/>
                <a:moveTo>
                  <a:pt x="2246" y="2781"/>
                </a:moveTo>
                <a:lnTo>
                  <a:pt x="2251" y="2776"/>
                </a:lnTo>
                <a:lnTo>
                  <a:pt x="2267" y="2776"/>
                </a:lnTo>
                <a:lnTo>
                  <a:pt x="2267" y="2781"/>
                </a:lnTo>
                <a:lnTo>
                  <a:pt x="2246" y="2781"/>
                </a:lnTo>
                <a:lnTo>
                  <a:pt x="2246" y="2781"/>
                </a:lnTo>
                <a:lnTo>
                  <a:pt x="2246" y="2781"/>
                </a:lnTo>
                <a:close/>
                <a:moveTo>
                  <a:pt x="2234" y="2903"/>
                </a:moveTo>
                <a:lnTo>
                  <a:pt x="2213" y="2892"/>
                </a:lnTo>
                <a:lnTo>
                  <a:pt x="2180" y="2870"/>
                </a:lnTo>
                <a:lnTo>
                  <a:pt x="2196" y="2863"/>
                </a:lnTo>
                <a:lnTo>
                  <a:pt x="2230" y="2887"/>
                </a:lnTo>
                <a:lnTo>
                  <a:pt x="2234" y="2903"/>
                </a:lnTo>
                <a:lnTo>
                  <a:pt x="2234" y="2903"/>
                </a:lnTo>
                <a:lnTo>
                  <a:pt x="2234" y="2903"/>
                </a:lnTo>
                <a:close/>
                <a:moveTo>
                  <a:pt x="2230" y="2908"/>
                </a:moveTo>
                <a:lnTo>
                  <a:pt x="2213" y="2903"/>
                </a:lnTo>
                <a:lnTo>
                  <a:pt x="2230" y="2903"/>
                </a:lnTo>
                <a:lnTo>
                  <a:pt x="2230" y="2908"/>
                </a:lnTo>
                <a:lnTo>
                  <a:pt x="2230" y="2908"/>
                </a:lnTo>
                <a:lnTo>
                  <a:pt x="2230" y="2908"/>
                </a:lnTo>
                <a:close/>
                <a:moveTo>
                  <a:pt x="1580" y="2903"/>
                </a:moveTo>
                <a:lnTo>
                  <a:pt x="1566" y="2908"/>
                </a:lnTo>
                <a:lnTo>
                  <a:pt x="1580" y="2903"/>
                </a:lnTo>
                <a:lnTo>
                  <a:pt x="1580" y="2903"/>
                </a:lnTo>
                <a:lnTo>
                  <a:pt x="1580" y="2903"/>
                </a:lnTo>
                <a:close/>
                <a:moveTo>
                  <a:pt x="1566" y="2903"/>
                </a:moveTo>
                <a:lnTo>
                  <a:pt x="1566" y="2908"/>
                </a:lnTo>
                <a:lnTo>
                  <a:pt x="1549" y="2908"/>
                </a:lnTo>
                <a:lnTo>
                  <a:pt x="1566" y="2903"/>
                </a:lnTo>
                <a:lnTo>
                  <a:pt x="1566" y="2903"/>
                </a:lnTo>
                <a:lnTo>
                  <a:pt x="1566" y="2903"/>
                </a:lnTo>
                <a:close/>
                <a:moveTo>
                  <a:pt x="2208" y="2932"/>
                </a:moveTo>
                <a:lnTo>
                  <a:pt x="2208" y="2920"/>
                </a:lnTo>
                <a:lnTo>
                  <a:pt x="2213" y="2920"/>
                </a:lnTo>
                <a:lnTo>
                  <a:pt x="2208" y="2932"/>
                </a:lnTo>
                <a:lnTo>
                  <a:pt x="2208" y="2932"/>
                </a:lnTo>
                <a:lnTo>
                  <a:pt x="2208" y="2932"/>
                </a:lnTo>
                <a:close/>
                <a:moveTo>
                  <a:pt x="2154" y="2958"/>
                </a:moveTo>
                <a:lnTo>
                  <a:pt x="2142" y="2948"/>
                </a:lnTo>
                <a:lnTo>
                  <a:pt x="2154" y="2941"/>
                </a:lnTo>
                <a:lnTo>
                  <a:pt x="2180" y="2948"/>
                </a:lnTo>
                <a:lnTo>
                  <a:pt x="2154" y="2958"/>
                </a:lnTo>
                <a:lnTo>
                  <a:pt x="2154" y="2958"/>
                </a:lnTo>
                <a:lnTo>
                  <a:pt x="2154" y="2958"/>
                </a:lnTo>
                <a:close/>
                <a:moveTo>
                  <a:pt x="2163" y="2981"/>
                </a:moveTo>
                <a:lnTo>
                  <a:pt x="2154" y="2965"/>
                </a:lnTo>
                <a:lnTo>
                  <a:pt x="2163" y="2974"/>
                </a:lnTo>
                <a:lnTo>
                  <a:pt x="2163" y="2981"/>
                </a:lnTo>
                <a:lnTo>
                  <a:pt x="2163" y="2981"/>
                </a:lnTo>
                <a:lnTo>
                  <a:pt x="2163" y="2981"/>
                </a:lnTo>
                <a:close/>
                <a:moveTo>
                  <a:pt x="2159" y="3059"/>
                </a:moveTo>
                <a:lnTo>
                  <a:pt x="2163" y="3043"/>
                </a:lnTo>
                <a:lnTo>
                  <a:pt x="2163" y="3059"/>
                </a:lnTo>
                <a:lnTo>
                  <a:pt x="2159" y="3059"/>
                </a:lnTo>
                <a:lnTo>
                  <a:pt x="2159" y="3059"/>
                </a:lnTo>
                <a:lnTo>
                  <a:pt x="2159" y="3059"/>
                </a:lnTo>
                <a:close/>
                <a:moveTo>
                  <a:pt x="1743" y="3130"/>
                </a:moveTo>
                <a:lnTo>
                  <a:pt x="1748" y="3142"/>
                </a:lnTo>
                <a:lnTo>
                  <a:pt x="1726" y="3130"/>
                </a:lnTo>
                <a:lnTo>
                  <a:pt x="1743" y="3130"/>
                </a:lnTo>
                <a:lnTo>
                  <a:pt x="1743" y="3130"/>
                </a:lnTo>
                <a:lnTo>
                  <a:pt x="1743" y="3130"/>
                </a:lnTo>
                <a:close/>
                <a:moveTo>
                  <a:pt x="1882" y="3154"/>
                </a:moveTo>
                <a:lnTo>
                  <a:pt x="1835" y="3170"/>
                </a:lnTo>
                <a:lnTo>
                  <a:pt x="1882" y="3147"/>
                </a:lnTo>
                <a:lnTo>
                  <a:pt x="1882" y="3154"/>
                </a:lnTo>
                <a:lnTo>
                  <a:pt x="1882" y="3154"/>
                </a:lnTo>
                <a:lnTo>
                  <a:pt x="1882" y="3154"/>
                </a:lnTo>
                <a:close/>
                <a:moveTo>
                  <a:pt x="1776" y="3163"/>
                </a:moveTo>
                <a:lnTo>
                  <a:pt x="1764" y="3170"/>
                </a:lnTo>
                <a:lnTo>
                  <a:pt x="1781" y="3170"/>
                </a:lnTo>
                <a:lnTo>
                  <a:pt x="1764" y="3180"/>
                </a:lnTo>
                <a:lnTo>
                  <a:pt x="1731" y="3163"/>
                </a:lnTo>
                <a:lnTo>
                  <a:pt x="1776" y="3163"/>
                </a:lnTo>
                <a:lnTo>
                  <a:pt x="1776" y="3163"/>
                </a:lnTo>
                <a:lnTo>
                  <a:pt x="1776" y="3163"/>
                </a:lnTo>
                <a:close/>
                <a:moveTo>
                  <a:pt x="1873" y="3170"/>
                </a:moveTo>
                <a:lnTo>
                  <a:pt x="1873" y="3180"/>
                </a:lnTo>
                <a:lnTo>
                  <a:pt x="1856" y="3180"/>
                </a:lnTo>
                <a:lnTo>
                  <a:pt x="1873" y="3170"/>
                </a:lnTo>
                <a:lnTo>
                  <a:pt x="1873" y="3170"/>
                </a:lnTo>
                <a:lnTo>
                  <a:pt x="1873" y="3170"/>
                </a:lnTo>
                <a:close/>
                <a:moveTo>
                  <a:pt x="1958" y="3208"/>
                </a:moveTo>
                <a:lnTo>
                  <a:pt x="1948" y="3225"/>
                </a:lnTo>
                <a:lnTo>
                  <a:pt x="1937" y="3236"/>
                </a:lnTo>
                <a:lnTo>
                  <a:pt x="1944" y="3208"/>
                </a:lnTo>
                <a:lnTo>
                  <a:pt x="1958" y="3208"/>
                </a:lnTo>
                <a:lnTo>
                  <a:pt x="1958" y="3208"/>
                </a:lnTo>
                <a:lnTo>
                  <a:pt x="1958" y="3208"/>
                </a:lnTo>
                <a:close/>
                <a:moveTo>
                  <a:pt x="2067" y="3258"/>
                </a:moveTo>
                <a:lnTo>
                  <a:pt x="2045" y="3253"/>
                </a:lnTo>
                <a:lnTo>
                  <a:pt x="2029" y="3236"/>
                </a:lnTo>
                <a:lnTo>
                  <a:pt x="2100" y="3241"/>
                </a:lnTo>
                <a:lnTo>
                  <a:pt x="2088" y="3253"/>
                </a:lnTo>
                <a:lnTo>
                  <a:pt x="2067" y="3241"/>
                </a:lnTo>
                <a:lnTo>
                  <a:pt x="2071" y="3253"/>
                </a:lnTo>
                <a:lnTo>
                  <a:pt x="2067" y="3258"/>
                </a:lnTo>
                <a:lnTo>
                  <a:pt x="2067" y="3258"/>
                </a:lnTo>
                <a:lnTo>
                  <a:pt x="2067" y="3258"/>
                </a:lnTo>
                <a:close/>
                <a:moveTo>
                  <a:pt x="2019" y="3241"/>
                </a:moveTo>
                <a:lnTo>
                  <a:pt x="2019" y="3253"/>
                </a:lnTo>
                <a:lnTo>
                  <a:pt x="2012" y="3258"/>
                </a:lnTo>
                <a:lnTo>
                  <a:pt x="1996" y="3253"/>
                </a:lnTo>
                <a:lnTo>
                  <a:pt x="2003" y="3236"/>
                </a:lnTo>
                <a:lnTo>
                  <a:pt x="2019" y="3241"/>
                </a:lnTo>
                <a:lnTo>
                  <a:pt x="2019" y="3241"/>
                </a:lnTo>
                <a:lnTo>
                  <a:pt x="2019" y="3241"/>
                </a:lnTo>
                <a:close/>
                <a:moveTo>
                  <a:pt x="2071" y="3258"/>
                </a:moveTo>
                <a:lnTo>
                  <a:pt x="2071" y="3253"/>
                </a:lnTo>
                <a:lnTo>
                  <a:pt x="2083" y="3253"/>
                </a:lnTo>
                <a:lnTo>
                  <a:pt x="2071" y="3258"/>
                </a:lnTo>
                <a:lnTo>
                  <a:pt x="2071" y="3258"/>
                </a:lnTo>
                <a:lnTo>
                  <a:pt x="2071" y="3258"/>
                </a:lnTo>
                <a:close/>
                <a:moveTo>
                  <a:pt x="2029" y="3265"/>
                </a:moveTo>
                <a:lnTo>
                  <a:pt x="2012" y="3258"/>
                </a:lnTo>
                <a:lnTo>
                  <a:pt x="2019" y="3253"/>
                </a:lnTo>
                <a:lnTo>
                  <a:pt x="2033" y="3253"/>
                </a:lnTo>
                <a:lnTo>
                  <a:pt x="2029" y="3265"/>
                </a:lnTo>
                <a:lnTo>
                  <a:pt x="2029" y="3265"/>
                </a:lnTo>
                <a:lnTo>
                  <a:pt x="2029" y="3265"/>
                </a:lnTo>
                <a:close/>
                <a:moveTo>
                  <a:pt x="2083" y="3258"/>
                </a:moveTo>
                <a:lnTo>
                  <a:pt x="2083" y="3253"/>
                </a:lnTo>
                <a:lnTo>
                  <a:pt x="2088" y="3258"/>
                </a:lnTo>
                <a:lnTo>
                  <a:pt x="2083" y="3258"/>
                </a:lnTo>
                <a:lnTo>
                  <a:pt x="2083" y="3258"/>
                </a:lnTo>
                <a:lnTo>
                  <a:pt x="2083" y="3258"/>
                </a:lnTo>
                <a:close/>
                <a:moveTo>
                  <a:pt x="2045" y="3274"/>
                </a:moveTo>
                <a:lnTo>
                  <a:pt x="2029" y="3265"/>
                </a:lnTo>
                <a:lnTo>
                  <a:pt x="2033" y="3258"/>
                </a:lnTo>
                <a:lnTo>
                  <a:pt x="2057" y="3265"/>
                </a:lnTo>
                <a:lnTo>
                  <a:pt x="2045" y="3274"/>
                </a:lnTo>
                <a:lnTo>
                  <a:pt x="2045" y="3274"/>
                </a:lnTo>
                <a:lnTo>
                  <a:pt x="2045" y="3274"/>
                </a:lnTo>
                <a:close/>
              </a:path>
            </a:pathLst>
          </a:custGeom>
          <a:pattFill prst="ltUpDiag">
            <a:fgClr>
              <a:schemeClr val="bg2">
                <a:lumMod val="90000"/>
              </a:schemeClr>
            </a:fgClr>
            <a:bgClr>
              <a:schemeClr val="bg1"/>
            </a:bgClr>
          </a:patt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5" name="Gruppieren 4">
            <a:extLst>
              <a:ext uri="{FF2B5EF4-FFF2-40B4-BE49-F238E27FC236}">
                <a16:creationId xmlns:a16="http://schemas.microsoft.com/office/drawing/2014/main" id="{1A594DA8-CFAB-4055-A6D0-FFB4DE5BE36D}"/>
              </a:ext>
            </a:extLst>
          </p:cNvPr>
          <p:cNvGrpSpPr/>
          <p:nvPr/>
        </p:nvGrpSpPr>
        <p:grpSpPr bwMode="gray">
          <a:xfrm>
            <a:off x="7270750" y="461209"/>
            <a:ext cx="4204744" cy="2987349"/>
            <a:chOff x="7270750" y="461209"/>
            <a:chExt cx="4204744" cy="2987349"/>
          </a:xfrm>
          <a:pattFill prst="ltUpDiag">
            <a:fgClr>
              <a:schemeClr val="bg2">
                <a:lumMod val="90000"/>
              </a:schemeClr>
            </a:fgClr>
            <a:bgClr>
              <a:schemeClr val="bg1"/>
            </a:bgClr>
          </a:pattFill>
        </p:grpSpPr>
        <p:sp>
          <p:nvSpPr>
            <p:cNvPr id="2800" name="Freeform 408">
              <a:extLst>
                <a:ext uri="{FF2B5EF4-FFF2-40B4-BE49-F238E27FC236}">
                  <a16:creationId xmlns:a16="http://schemas.microsoft.com/office/drawing/2014/main" id="{94F8D370-9791-4FF0-AE54-8874ABDD67C5}"/>
                </a:ext>
              </a:extLst>
            </p:cNvPr>
            <p:cNvSpPr>
              <a:spLocks noEditPoints="1"/>
            </p:cNvSpPr>
            <p:nvPr/>
          </p:nvSpPr>
          <p:spPr bwMode="gray">
            <a:xfrm>
              <a:off x="8536225" y="461209"/>
              <a:ext cx="2939269" cy="2331389"/>
            </a:xfrm>
            <a:custGeom>
              <a:avLst/>
              <a:gdLst>
                <a:gd name="T0" fmla="*/ 3990 w 6201"/>
                <a:gd name="T1" fmla="*/ 834 h 4918"/>
                <a:gd name="T2" fmla="*/ 4108 w 6201"/>
                <a:gd name="T3" fmla="*/ 345 h 4918"/>
                <a:gd name="T4" fmla="*/ 4805 w 6201"/>
                <a:gd name="T5" fmla="*/ 74 h 4918"/>
                <a:gd name="T6" fmla="*/ 4465 w 6201"/>
                <a:gd name="T7" fmla="*/ 629 h 4918"/>
                <a:gd name="T8" fmla="*/ 3418 w 6201"/>
                <a:gd name="T9" fmla="*/ 638 h 4918"/>
                <a:gd name="T10" fmla="*/ 3721 w 6201"/>
                <a:gd name="T11" fmla="*/ 711 h 4918"/>
                <a:gd name="T12" fmla="*/ 3239 w 6201"/>
                <a:gd name="T13" fmla="*/ 806 h 4918"/>
                <a:gd name="T14" fmla="*/ 3352 w 6201"/>
                <a:gd name="T15" fmla="*/ 905 h 4918"/>
                <a:gd name="T16" fmla="*/ 3504 w 6201"/>
                <a:gd name="T17" fmla="*/ 978 h 4918"/>
                <a:gd name="T18" fmla="*/ 3440 w 6201"/>
                <a:gd name="T19" fmla="*/ 1292 h 4918"/>
                <a:gd name="T20" fmla="*/ 3078 w 6201"/>
                <a:gd name="T21" fmla="*/ 1044 h 4918"/>
                <a:gd name="T22" fmla="*/ 2327 w 6201"/>
                <a:gd name="T23" fmla="*/ 1292 h 4918"/>
                <a:gd name="T24" fmla="*/ 2899 w 6201"/>
                <a:gd name="T25" fmla="*/ 1222 h 4918"/>
                <a:gd name="T26" fmla="*/ 1276 w 6201"/>
                <a:gd name="T27" fmla="*/ 1160 h 4918"/>
                <a:gd name="T28" fmla="*/ 3062 w 6201"/>
                <a:gd name="T29" fmla="*/ 1366 h 4918"/>
                <a:gd name="T30" fmla="*/ 2948 w 6201"/>
                <a:gd name="T31" fmla="*/ 1486 h 4918"/>
                <a:gd name="T32" fmla="*/ 3910 w 6201"/>
                <a:gd name="T33" fmla="*/ 1992 h 4918"/>
                <a:gd name="T34" fmla="*/ 3990 w 6201"/>
                <a:gd name="T35" fmla="*/ 1526 h 4918"/>
                <a:gd name="T36" fmla="*/ 4729 w 6201"/>
                <a:gd name="T37" fmla="*/ 1826 h 4918"/>
                <a:gd name="T38" fmla="*/ 5138 w 6201"/>
                <a:gd name="T39" fmla="*/ 2119 h 4918"/>
                <a:gd name="T40" fmla="*/ 5490 w 6201"/>
                <a:gd name="T41" fmla="*/ 2374 h 4918"/>
                <a:gd name="T42" fmla="*/ 5183 w 6201"/>
                <a:gd name="T43" fmla="*/ 2452 h 4918"/>
                <a:gd name="T44" fmla="*/ 5145 w 6201"/>
                <a:gd name="T45" fmla="*/ 2847 h 4918"/>
                <a:gd name="T46" fmla="*/ 4611 w 6201"/>
                <a:gd name="T47" fmla="*/ 2613 h 4918"/>
                <a:gd name="T48" fmla="*/ 4460 w 6201"/>
                <a:gd name="T49" fmla="*/ 1515 h 4918"/>
                <a:gd name="T50" fmla="*/ 1928 w 6201"/>
                <a:gd name="T51" fmla="*/ 2115 h 4918"/>
                <a:gd name="T52" fmla="*/ 2301 w 6201"/>
                <a:gd name="T53" fmla="*/ 1737 h 4918"/>
                <a:gd name="T54" fmla="*/ 4318 w 6201"/>
                <a:gd name="T55" fmla="*/ 1682 h 4918"/>
                <a:gd name="T56" fmla="*/ 1226 w 6201"/>
                <a:gd name="T57" fmla="*/ 4222 h 4918"/>
                <a:gd name="T58" fmla="*/ 898 w 6201"/>
                <a:gd name="T59" fmla="*/ 3933 h 4918"/>
                <a:gd name="T60" fmla="*/ 600 w 6201"/>
                <a:gd name="T61" fmla="*/ 2025 h 4918"/>
                <a:gd name="T62" fmla="*/ 1167 w 6201"/>
                <a:gd name="T63" fmla="*/ 2070 h 4918"/>
                <a:gd name="T64" fmla="*/ 2500 w 6201"/>
                <a:gd name="T65" fmla="*/ 2181 h 4918"/>
                <a:gd name="T66" fmla="*/ 3310 w 6201"/>
                <a:gd name="T67" fmla="*/ 2103 h 4918"/>
                <a:gd name="T68" fmla="*/ 3693 w 6201"/>
                <a:gd name="T69" fmla="*/ 2252 h 4918"/>
                <a:gd name="T70" fmla="*/ 3801 w 6201"/>
                <a:gd name="T71" fmla="*/ 2429 h 4918"/>
                <a:gd name="T72" fmla="*/ 3239 w 6201"/>
                <a:gd name="T73" fmla="*/ 3263 h 4918"/>
                <a:gd name="T74" fmla="*/ 4378 w 6201"/>
                <a:gd name="T75" fmla="*/ 3279 h 4918"/>
                <a:gd name="T76" fmla="*/ 5124 w 6201"/>
                <a:gd name="T77" fmla="*/ 3317 h 4918"/>
                <a:gd name="T78" fmla="*/ 5544 w 6201"/>
                <a:gd name="T79" fmla="*/ 3506 h 4918"/>
                <a:gd name="T80" fmla="*/ 5939 w 6201"/>
                <a:gd name="T81" fmla="*/ 3832 h 4918"/>
                <a:gd name="T82" fmla="*/ 5544 w 6201"/>
                <a:gd name="T83" fmla="*/ 4552 h 4918"/>
                <a:gd name="T84" fmla="*/ 4772 w 6201"/>
                <a:gd name="T85" fmla="*/ 1781 h 4918"/>
                <a:gd name="T86" fmla="*/ 3019 w 6201"/>
                <a:gd name="T87" fmla="*/ 2065 h 4918"/>
                <a:gd name="T88" fmla="*/ 378 w 6201"/>
                <a:gd name="T89" fmla="*/ 2119 h 4918"/>
                <a:gd name="T90" fmla="*/ 3563 w 6201"/>
                <a:gd name="T91" fmla="*/ 2115 h 4918"/>
                <a:gd name="T92" fmla="*/ 2861 w 6201"/>
                <a:gd name="T93" fmla="*/ 2209 h 4918"/>
                <a:gd name="T94" fmla="*/ 2306 w 6201"/>
                <a:gd name="T95" fmla="*/ 2308 h 4918"/>
                <a:gd name="T96" fmla="*/ 4016 w 6201"/>
                <a:gd name="T97" fmla="*/ 2502 h 4918"/>
                <a:gd name="T98" fmla="*/ 5523 w 6201"/>
                <a:gd name="T99" fmla="*/ 2523 h 4918"/>
                <a:gd name="T100" fmla="*/ 4422 w 6201"/>
                <a:gd name="T101" fmla="*/ 2724 h 4918"/>
                <a:gd name="T102" fmla="*/ 4125 w 6201"/>
                <a:gd name="T103" fmla="*/ 2840 h 4918"/>
                <a:gd name="T104" fmla="*/ 5365 w 6201"/>
                <a:gd name="T105" fmla="*/ 3135 h 4918"/>
                <a:gd name="T106" fmla="*/ 4285 w 6201"/>
                <a:gd name="T107" fmla="*/ 3499 h 4918"/>
                <a:gd name="T108" fmla="*/ 763 w 6201"/>
                <a:gd name="T109" fmla="*/ 3683 h 4918"/>
                <a:gd name="T110" fmla="*/ 832 w 6201"/>
                <a:gd name="T111" fmla="*/ 3848 h 4918"/>
                <a:gd name="T112" fmla="*/ 811 w 6201"/>
                <a:gd name="T113" fmla="*/ 3860 h 4918"/>
                <a:gd name="T114" fmla="*/ 903 w 6201"/>
                <a:gd name="T115" fmla="*/ 3966 h 4918"/>
                <a:gd name="T116" fmla="*/ 5970 w 6201"/>
                <a:gd name="T117" fmla="*/ 4387 h 4918"/>
                <a:gd name="T118" fmla="*/ 6116 w 6201"/>
                <a:gd name="T119" fmla="*/ 4316 h 4918"/>
                <a:gd name="T120" fmla="*/ 1016 w 6201"/>
                <a:gd name="T121" fmla="*/ 4111 h 4918"/>
                <a:gd name="T122" fmla="*/ 6041 w 6201"/>
                <a:gd name="T123" fmla="*/ 4210 h 4918"/>
                <a:gd name="T124" fmla="*/ 5377 w 6201"/>
                <a:gd name="T125" fmla="*/ 4481 h 4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01" h="4918">
                  <a:moveTo>
                    <a:pt x="4389" y="1099"/>
                  </a:moveTo>
                  <a:lnTo>
                    <a:pt x="4368" y="1082"/>
                  </a:lnTo>
                  <a:lnTo>
                    <a:pt x="4323" y="1122"/>
                  </a:lnTo>
                  <a:lnTo>
                    <a:pt x="4205" y="1144"/>
                  </a:lnTo>
                  <a:lnTo>
                    <a:pt x="4205" y="1139"/>
                  </a:lnTo>
                  <a:lnTo>
                    <a:pt x="4226" y="1106"/>
                  </a:lnTo>
                  <a:lnTo>
                    <a:pt x="4189" y="1087"/>
                  </a:lnTo>
                  <a:lnTo>
                    <a:pt x="4172" y="1099"/>
                  </a:lnTo>
                  <a:lnTo>
                    <a:pt x="4134" y="1087"/>
                  </a:lnTo>
                  <a:lnTo>
                    <a:pt x="4141" y="1082"/>
                  </a:lnTo>
                  <a:lnTo>
                    <a:pt x="4134" y="1070"/>
                  </a:lnTo>
                  <a:lnTo>
                    <a:pt x="4158" y="1066"/>
                  </a:lnTo>
                  <a:lnTo>
                    <a:pt x="4120" y="1070"/>
                  </a:lnTo>
                  <a:lnTo>
                    <a:pt x="4087" y="1044"/>
                  </a:lnTo>
                  <a:lnTo>
                    <a:pt x="4104" y="1070"/>
                  </a:lnTo>
                  <a:lnTo>
                    <a:pt x="4134" y="1082"/>
                  </a:lnTo>
                  <a:lnTo>
                    <a:pt x="4120" y="1087"/>
                  </a:lnTo>
                  <a:lnTo>
                    <a:pt x="4125" y="1099"/>
                  </a:lnTo>
                  <a:lnTo>
                    <a:pt x="4066" y="1106"/>
                  </a:lnTo>
                  <a:lnTo>
                    <a:pt x="4044" y="1049"/>
                  </a:lnTo>
                  <a:lnTo>
                    <a:pt x="4033" y="1066"/>
                  </a:lnTo>
                  <a:lnTo>
                    <a:pt x="4049" y="1082"/>
                  </a:lnTo>
                  <a:lnTo>
                    <a:pt x="4054" y="1106"/>
                  </a:lnTo>
                  <a:lnTo>
                    <a:pt x="4016" y="1106"/>
                  </a:lnTo>
                  <a:lnTo>
                    <a:pt x="3978" y="1066"/>
                  </a:lnTo>
                  <a:lnTo>
                    <a:pt x="3990" y="1070"/>
                  </a:lnTo>
                  <a:lnTo>
                    <a:pt x="3978" y="1087"/>
                  </a:lnTo>
                  <a:lnTo>
                    <a:pt x="3990" y="1099"/>
                  </a:lnTo>
                  <a:lnTo>
                    <a:pt x="3957" y="1106"/>
                  </a:lnTo>
                  <a:lnTo>
                    <a:pt x="3924" y="1082"/>
                  </a:lnTo>
                  <a:lnTo>
                    <a:pt x="3936" y="1106"/>
                  </a:lnTo>
                  <a:lnTo>
                    <a:pt x="3974" y="1122"/>
                  </a:lnTo>
                  <a:lnTo>
                    <a:pt x="3936" y="1122"/>
                  </a:lnTo>
                  <a:lnTo>
                    <a:pt x="3834" y="1111"/>
                  </a:lnTo>
                  <a:lnTo>
                    <a:pt x="3827" y="1099"/>
                  </a:lnTo>
                  <a:lnTo>
                    <a:pt x="3839" y="1087"/>
                  </a:lnTo>
                  <a:lnTo>
                    <a:pt x="3818" y="1070"/>
                  </a:lnTo>
                  <a:lnTo>
                    <a:pt x="3834" y="1087"/>
                  </a:lnTo>
                  <a:lnTo>
                    <a:pt x="3811" y="1099"/>
                  </a:lnTo>
                  <a:lnTo>
                    <a:pt x="3811" y="1111"/>
                  </a:lnTo>
                  <a:lnTo>
                    <a:pt x="3759" y="1099"/>
                  </a:lnTo>
                  <a:lnTo>
                    <a:pt x="3747" y="1070"/>
                  </a:lnTo>
                  <a:lnTo>
                    <a:pt x="3747" y="1099"/>
                  </a:lnTo>
                  <a:lnTo>
                    <a:pt x="3759" y="1111"/>
                  </a:lnTo>
                  <a:lnTo>
                    <a:pt x="3688" y="1106"/>
                  </a:lnTo>
                  <a:lnTo>
                    <a:pt x="3693" y="1087"/>
                  </a:lnTo>
                  <a:lnTo>
                    <a:pt x="3676" y="1070"/>
                  </a:lnTo>
                  <a:lnTo>
                    <a:pt x="3688" y="1044"/>
                  </a:lnTo>
                  <a:lnTo>
                    <a:pt x="3671" y="1054"/>
                  </a:lnTo>
                  <a:lnTo>
                    <a:pt x="3676" y="1082"/>
                  </a:lnTo>
                  <a:lnTo>
                    <a:pt x="3671" y="1106"/>
                  </a:lnTo>
                  <a:lnTo>
                    <a:pt x="3671" y="1082"/>
                  </a:lnTo>
                  <a:lnTo>
                    <a:pt x="3655" y="1106"/>
                  </a:lnTo>
                  <a:lnTo>
                    <a:pt x="3600" y="1082"/>
                  </a:lnTo>
                  <a:lnTo>
                    <a:pt x="3617" y="1066"/>
                  </a:lnTo>
                  <a:lnTo>
                    <a:pt x="3612" y="1044"/>
                  </a:lnTo>
                  <a:lnTo>
                    <a:pt x="3688" y="1000"/>
                  </a:lnTo>
                  <a:lnTo>
                    <a:pt x="3676" y="1000"/>
                  </a:lnTo>
                  <a:lnTo>
                    <a:pt x="3801" y="988"/>
                  </a:lnTo>
                  <a:lnTo>
                    <a:pt x="3773" y="988"/>
                  </a:lnTo>
                  <a:lnTo>
                    <a:pt x="3796" y="978"/>
                  </a:lnTo>
                  <a:lnTo>
                    <a:pt x="3773" y="971"/>
                  </a:lnTo>
                  <a:lnTo>
                    <a:pt x="3796" y="962"/>
                  </a:lnTo>
                  <a:lnTo>
                    <a:pt x="3742" y="962"/>
                  </a:lnTo>
                  <a:lnTo>
                    <a:pt x="3730" y="955"/>
                  </a:lnTo>
                  <a:lnTo>
                    <a:pt x="3742" y="943"/>
                  </a:lnTo>
                  <a:lnTo>
                    <a:pt x="3742" y="933"/>
                  </a:lnTo>
                  <a:lnTo>
                    <a:pt x="3704" y="917"/>
                  </a:lnTo>
                  <a:lnTo>
                    <a:pt x="3709" y="889"/>
                  </a:lnTo>
                  <a:lnTo>
                    <a:pt x="3773" y="884"/>
                  </a:lnTo>
                  <a:lnTo>
                    <a:pt x="3827" y="889"/>
                  </a:lnTo>
                  <a:lnTo>
                    <a:pt x="3855" y="905"/>
                  </a:lnTo>
                  <a:lnTo>
                    <a:pt x="3881" y="943"/>
                  </a:lnTo>
                  <a:lnTo>
                    <a:pt x="3872" y="955"/>
                  </a:lnTo>
                  <a:lnTo>
                    <a:pt x="3886" y="943"/>
                  </a:lnTo>
                  <a:lnTo>
                    <a:pt x="3962" y="971"/>
                  </a:lnTo>
                  <a:lnTo>
                    <a:pt x="3957" y="955"/>
                  </a:lnTo>
                  <a:lnTo>
                    <a:pt x="4033" y="962"/>
                  </a:lnTo>
                  <a:lnTo>
                    <a:pt x="4011" y="943"/>
                  </a:lnTo>
                  <a:lnTo>
                    <a:pt x="4049" y="933"/>
                  </a:lnTo>
                  <a:lnTo>
                    <a:pt x="4104" y="877"/>
                  </a:lnTo>
                  <a:lnTo>
                    <a:pt x="4096" y="860"/>
                  </a:lnTo>
                  <a:lnTo>
                    <a:pt x="4120" y="851"/>
                  </a:lnTo>
                  <a:lnTo>
                    <a:pt x="4082" y="860"/>
                  </a:lnTo>
                  <a:lnTo>
                    <a:pt x="4087" y="877"/>
                  </a:lnTo>
                  <a:lnTo>
                    <a:pt x="4044" y="922"/>
                  </a:lnTo>
                  <a:lnTo>
                    <a:pt x="4000" y="938"/>
                  </a:lnTo>
                  <a:lnTo>
                    <a:pt x="3941" y="938"/>
                  </a:lnTo>
                  <a:lnTo>
                    <a:pt x="3936" y="933"/>
                  </a:lnTo>
                  <a:lnTo>
                    <a:pt x="3962" y="905"/>
                  </a:lnTo>
                  <a:lnTo>
                    <a:pt x="3936" y="922"/>
                  </a:lnTo>
                  <a:lnTo>
                    <a:pt x="3903" y="905"/>
                  </a:lnTo>
                  <a:lnTo>
                    <a:pt x="3924" y="889"/>
                  </a:lnTo>
                  <a:lnTo>
                    <a:pt x="3903" y="889"/>
                  </a:lnTo>
                  <a:lnTo>
                    <a:pt x="3974" y="884"/>
                  </a:lnTo>
                  <a:lnTo>
                    <a:pt x="3893" y="884"/>
                  </a:lnTo>
                  <a:lnTo>
                    <a:pt x="3881" y="877"/>
                  </a:lnTo>
                  <a:lnTo>
                    <a:pt x="3924" y="851"/>
                  </a:lnTo>
                  <a:lnTo>
                    <a:pt x="3978" y="851"/>
                  </a:lnTo>
                  <a:lnTo>
                    <a:pt x="3919" y="851"/>
                  </a:lnTo>
                  <a:lnTo>
                    <a:pt x="3924" y="834"/>
                  </a:lnTo>
                  <a:lnTo>
                    <a:pt x="3990" y="834"/>
                  </a:lnTo>
                  <a:lnTo>
                    <a:pt x="3936" y="827"/>
                  </a:lnTo>
                  <a:lnTo>
                    <a:pt x="3941" y="811"/>
                  </a:lnTo>
                  <a:lnTo>
                    <a:pt x="3957" y="811"/>
                  </a:lnTo>
                  <a:lnTo>
                    <a:pt x="3936" y="806"/>
                  </a:lnTo>
                  <a:lnTo>
                    <a:pt x="3957" y="773"/>
                  </a:lnTo>
                  <a:lnTo>
                    <a:pt x="3924" y="794"/>
                  </a:lnTo>
                  <a:lnTo>
                    <a:pt x="3936" y="811"/>
                  </a:lnTo>
                  <a:lnTo>
                    <a:pt x="3893" y="844"/>
                  </a:lnTo>
                  <a:lnTo>
                    <a:pt x="3839" y="851"/>
                  </a:lnTo>
                  <a:lnTo>
                    <a:pt x="3839" y="834"/>
                  </a:lnTo>
                  <a:lnTo>
                    <a:pt x="3865" y="827"/>
                  </a:lnTo>
                  <a:lnTo>
                    <a:pt x="3872" y="806"/>
                  </a:lnTo>
                  <a:lnTo>
                    <a:pt x="3848" y="827"/>
                  </a:lnTo>
                  <a:lnTo>
                    <a:pt x="3801" y="844"/>
                  </a:lnTo>
                  <a:lnTo>
                    <a:pt x="3747" y="844"/>
                  </a:lnTo>
                  <a:lnTo>
                    <a:pt x="3780" y="827"/>
                  </a:lnTo>
                  <a:lnTo>
                    <a:pt x="3747" y="827"/>
                  </a:lnTo>
                  <a:lnTo>
                    <a:pt x="3747" y="794"/>
                  </a:lnTo>
                  <a:lnTo>
                    <a:pt x="3780" y="778"/>
                  </a:lnTo>
                  <a:lnTo>
                    <a:pt x="3796" y="778"/>
                  </a:lnTo>
                  <a:lnTo>
                    <a:pt x="3780" y="773"/>
                  </a:lnTo>
                  <a:lnTo>
                    <a:pt x="3796" y="749"/>
                  </a:lnTo>
                  <a:lnTo>
                    <a:pt x="3924" y="716"/>
                  </a:lnTo>
                  <a:lnTo>
                    <a:pt x="4016" y="733"/>
                  </a:lnTo>
                  <a:lnTo>
                    <a:pt x="4108" y="773"/>
                  </a:lnTo>
                  <a:lnTo>
                    <a:pt x="4120" y="773"/>
                  </a:lnTo>
                  <a:lnTo>
                    <a:pt x="4096" y="756"/>
                  </a:lnTo>
                  <a:lnTo>
                    <a:pt x="4125" y="749"/>
                  </a:lnTo>
                  <a:lnTo>
                    <a:pt x="4082" y="749"/>
                  </a:lnTo>
                  <a:lnTo>
                    <a:pt x="4049" y="733"/>
                  </a:lnTo>
                  <a:lnTo>
                    <a:pt x="4158" y="733"/>
                  </a:lnTo>
                  <a:lnTo>
                    <a:pt x="4158" y="711"/>
                  </a:lnTo>
                  <a:lnTo>
                    <a:pt x="4172" y="700"/>
                  </a:lnTo>
                  <a:lnTo>
                    <a:pt x="4104" y="723"/>
                  </a:lnTo>
                  <a:lnTo>
                    <a:pt x="3945" y="700"/>
                  </a:lnTo>
                  <a:lnTo>
                    <a:pt x="3941" y="695"/>
                  </a:lnTo>
                  <a:lnTo>
                    <a:pt x="3962" y="683"/>
                  </a:lnTo>
                  <a:lnTo>
                    <a:pt x="4000" y="700"/>
                  </a:lnTo>
                  <a:lnTo>
                    <a:pt x="4044" y="700"/>
                  </a:lnTo>
                  <a:lnTo>
                    <a:pt x="3995" y="678"/>
                  </a:lnTo>
                  <a:lnTo>
                    <a:pt x="4000" y="667"/>
                  </a:lnTo>
                  <a:lnTo>
                    <a:pt x="3974" y="678"/>
                  </a:lnTo>
                  <a:lnTo>
                    <a:pt x="3962" y="638"/>
                  </a:lnTo>
                  <a:lnTo>
                    <a:pt x="3936" y="629"/>
                  </a:lnTo>
                  <a:lnTo>
                    <a:pt x="3924" y="605"/>
                  </a:lnTo>
                  <a:lnTo>
                    <a:pt x="3827" y="584"/>
                  </a:lnTo>
                  <a:lnTo>
                    <a:pt x="3827" y="556"/>
                  </a:lnTo>
                  <a:lnTo>
                    <a:pt x="3834" y="551"/>
                  </a:lnTo>
                  <a:lnTo>
                    <a:pt x="3910" y="556"/>
                  </a:lnTo>
                  <a:lnTo>
                    <a:pt x="3827" y="544"/>
                  </a:lnTo>
                  <a:lnTo>
                    <a:pt x="3811" y="527"/>
                  </a:lnTo>
                  <a:lnTo>
                    <a:pt x="3818" y="494"/>
                  </a:lnTo>
                  <a:lnTo>
                    <a:pt x="4011" y="501"/>
                  </a:lnTo>
                  <a:lnTo>
                    <a:pt x="4125" y="567"/>
                  </a:lnTo>
                  <a:lnTo>
                    <a:pt x="4141" y="589"/>
                  </a:lnTo>
                  <a:lnTo>
                    <a:pt x="4163" y="605"/>
                  </a:lnTo>
                  <a:lnTo>
                    <a:pt x="4151" y="605"/>
                  </a:lnTo>
                  <a:lnTo>
                    <a:pt x="4158" y="612"/>
                  </a:lnTo>
                  <a:lnTo>
                    <a:pt x="4179" y="605"/>
                  </a:lnTo>
                  <a:lnTo>
                    <a:pt x="4233" y="612"/>
                  </a:lnTo>
                  <a:lnTo>
                    <a:pt x="4285" y="600"/>
                  </a:lnTo>
                  <a:lnTo>
                    <a:pt x="4297" y="589"/>
                  </a:lnTo>
                  <a:lnTo>
                    <a:pt x="4217" y="600"/>
                  </a:lnTo>
                  <a:lnTo>
                    <a:pt x="4172" y="589"/>
                  </a:lnTo>
                  <a:lnTo>
                    <a:pt x="4163" y="556"/>
                  </a:lnTo>
                  <a:lnTo>
                    <a:pt x="4179" y="551"/>
                  </a:lnTo>
                  <a:lnTo>
                    <a:pt x="4125" y="544"/>
                  </a:lnTo>
                  <a:lnTo>
                    <a:pt x="4054" y="494"/>
                  </a:lnTo>
                  <a:lnTo>
                    <a:pt x="4264" y="456"/>
                  </a:lnTo>
                  <a:lnTo>
                    <a:pt x="4422" y="444"/>
                  </a:lnTo>
                  <a:lnTo>
                    <a:pt x="4281" y="440"/>
                  </a:lnTo>
                  <a:lnTo>
                    <a:pt x="4378" y="416"/>
                  </a:lnTo>
                  <a:lnTo>
                    <a:pt x="4529" y="400"/>
                  </a:lnTo>
                  <a:lnTo>
                    <a:pt x="4352" y="400"/>
                  </a:lnTo>
                  <a:lnTo>
                    <a:pt x="4352" y="378"/>
                  </a:lnTo>
                  <a:lnTo>
                    <a:pt x="4389" y="350"/>
                  </a:lnTo>
                  <a:lnTo>
                    <a:pt x="4503" y="307"/>
                  </a:lnTo>
                  <a:lnTo>
                    <a:pt x="4406" y="329"/>
                  </a:lnTo>
                  <a:lnTo>
                    <a:pt x="4356" y="362"/>
                  </a:lnTo>
                  <a:lnTo>
                    <a:pt x="4314" y="345"/>
                  </a:lnTo>
                  <a:lnTo>
                    <a:pt x="4340" y="362"/>
                  </a:lnTo>
                  <a:lnTo>
                    <a:pt x="4323" y="378"/>
                  </a:lnTo>
                  <a:lnTo>
                    <a:pt x="4335" y="383"/>
                  </a:lnTo>
                  <a:lnTo>
                    <a:pt x="4302" y="407"/>
                  </a:lnTo>
                  <a:lnTo>
                    <a:pt x="4210" y="435"/>
                  </a:lnTo>
                  <a:lnTo>
                    <a:pt x="4066" y="456"/>
                  </a:lnTo>
                  <a:lnTo>
                    <a:pt x="4054" y="444"/>
                  </a:lnTo>
                  <a:lnTo>
                    <a:pt x="4158" y="407"/>
                  </a:lnTo>
                  <a:lnTo>
                    <a:pt x="4044" y="435"/>
                  </a:lnTo>
                  <a:lnTo>
                    <a:pt x="4028" y="423"/>
                  </a:lnTo>
                  <a:lnTo>
                    <a:pt x="4054" y="407"/>
                  </a:lnTo>
                  <a:lnTo>
                    <a:pt x="4049" y="407"/>
                  </a:lnTo>
                  <a:lnTo>
                    <a:pt x="4011" y="416"/>
                  </a:lnTo>
                  <a:lnTo>
                    <a:pt x="4016" y="440"/>
                  </a:lnTo>
                  <a:lnTo>
                    <a:pt x="4011" y="456"/>
                  </a:lnTo>
                  <a:lnTo>
                    <a:pt x="3924" y="461"/>
                  </a:lnTo>
                  <a:lnTo>
                    <a:pt x="3865" y="456"/>
                  </a:lnTo>
                  <a:lnTo>
                    <a:pt x="3886" y="440"/>
                  </a:lnTo>
                  <a:lnTo>
                    <a:pt x="3848" y="456"/>
                  </a:lnTo>
                  <a:lnTo>
                    <a:pt x="3801" y="444"/>
                  </a:lnTo>
                  <a:lnTo>
                    <a:pt x="3886" y="383"/>
                  </a:lnTo>
                  <a:lnTo>
                    <a:pt x="4108" y="345"/>
                  </a:lnTo>
                  <a:lnTo>
                    <a:pt x="3881" y="367"/>
                  </a:lnTo>
                  <a:lnTo>
                    <a:pt x="3834" y="390"/>
                  </a:lnTo>
                  <a:lnTo>
                    <a:pt x="3773" y="440"/>
                  </a:lnTo>
                  <a:lnTo>
                    <a:pt x="3747" y="440"/>
                  </a:lnTo>
                  <a:lnTo>
                    <a:pt x="3617" y="390"/>
                  </a:lnTo>
                  <a:lnTo>
                    <a:pt x="3811" y="378"/>
                  </a:lnTo>
                  <a:lnTo>
                    <a:pt x="3945" y="329"/>
                  </a:lnTo>
                  <a:lnTo>
                    <a:pt x="3763" y="362"/>
                  </a:lnTo>
                  <a:lnTo>
                    <a:pt x="3584" y="378"/>
                  </a:lnTo>
                  <a:lnTo>
                    <a:pt x="3558" y="350"/>
                  </a:lnTo>
                  <a:lnTo>
                    <a:pt x="3579" y="333"/>
                  </a:lnTo>
                  <a:lnTo>
                    <a:pt x="3650" y="333"/>
                  </a:lnTo>
                  <a:lnTo>
                    <a:pt x="3579" y="324"/>
                  </a:lnTo>
                  <a:lnTo>
                    <a:pt x="3655" y="291"/>
                  </a:lnTo>
                  <a:lnTo>
                    <a:pt x="3773" y="296"/>
                  </a:lnTo>
                  <a:lnTo>
                    <a:pt x="3693" y="279"/>
                  </a:lnTo>
                  <a:lnTo>
                    <a:pt x="3546" y="312"/>
                  </a:lnTo>
                  <a:lnTo>
                    <a:pt x="3515" y="307"/>
                  </a:lnTo>
                  <a:lnTo>
                    <a:pt x="3612" y="272"/>
                  </a:lnTo>
                  <a:lnTo>
                    <a:pt x="3558" y="256"/>
                  </a:lnTo>
                  <a:lnTo>
                    <a:pt x="3478" y="291"/>
                  </a:lnTo>
                  <a:lnTo>
                    <a:pt x="3478" y="279"/>
                  </a:lnTo>
                  <a:lnTo>
                    <a:pt x="3440" y="267"/>
                  </a:lnTo>
                  <a:lnTo>
                    <a:pt x="3546" y="222"/>
                  </a:lnTo>
                  <a:lnTo>
                    <a:pt x="3600" y="218"/>
                  </a:lnTo>
                  <a:lnTo>
                    <a:pt x="3622" y="239"/>
                  </a:lnTo>
                  <a:lnTo>
                    <a:pt x="3633" y="222"/>
                  </a:lnTo>
                  <a:lnTo>
                    <a:pt x="3617" y="218"/>
                  </a:lnTo>
                  <a:lnTo>
                    <a:pt x="3650" y="218"/>
                  </a:lnTo>
                  <a:lnTo>
                    <a:pt x="3638" y="213"/>
                  </a:lnTo>
                  <a:lnTo>
                    <a:pt x="3709" y="185"/>
                  </a:lnTo>
                  <a:lnTo>
                    <a:pt x="3763" y="196"/>
                  </a:lnTo>
                  <a:lnTo>
                    <a:pt x="3773" y="201"/>
                  </a:lnTo>
                  <a:lnTo>
                    <a:pt x="3763" y="213"/>
                  </a:lnTo>
                  <a:lnTo>
                    <a:pt x="3801" y="222"/>
                  </a:lnTo>
                  <a:lnTo>
                    <a:pt x="3780" y="213"/>
                  </a:lnTo>
                  <a:lnTo>
                    <a:pt x="3796" y="196"/>
                  </a:lnTo>
                  <a:lnTo>
                    <a:pt x="3834" y="196"/>
                  </a:lnTo>
                  <a:lnTo>
                    <a:pt x="3893" y="234"/>
                  </a:lnTo>
                  <a:lnTo>
                    <a:pt x="3881" y="213"/>
                  </a:lnTo>
                  <a:lnTo>
                    <a:pt x="3919" y="213"/>
                  </a:lnTo>
                  <a:lnTo>
                    <a:pt x="3941" y="222"/>
                  </a:lnTo>
                  <a:lnTo>
                    <a:pt x="3924" y="213"/>
                  </a:lnTo>
                  <a:lnTo>
                    <a:pt x="3936" y="213"/>
                  </a:lnTo>
                  <a:lnTo>
                    <a:pt x="3957" y="222"/>
                  </a:lnTo>
                  <a:lnTo>
                    <a:pt x="3936" y="201"/>
                  </a:lnTo>
                  <a:lnTo>
                    <a:pt x="3811" y="185"/>
                  </a:lnTo>
                  <a:lnTo>
                    <a:pt x="3796" y="168"/>
                  </a:lnTo>
                  <a:lnTo>
                    <a:pt x="3903" y="156"/>
                  </a:lnTo>
                  <a:lnTo>
                    <a:pt x="3893" y="140"/>
                  </a:lnTo>
                  <a:lnTo>
                    <a:pt x="3865" y="128"/>
                  </a:lnTo>
                  <a:lnTo>
                    <a:pt x="3924" y="123"/>
                  </a:lnTo>
                  <a:lnTo>
                    <a:pt x="4033" y="144"/>
                  </a:lnTo>
                  <a:lnTo>
                    <a:pt x="4070" y="185"/>
                  </a:lnTo>
                  <a:lnTo>
                    <a:pt x="4054" y="196"/>
                  </a:lnTo>
                  <a:lnTo>
                    <a:pt x="4151" y="201"/>
                  </a:lnTo>
                  <a:lnTo>
                    <a:pt x="4096" y="185"/>
                  </a:lnTo>
                  <a:lnTo>
                    <a:pt x="4066" y="163"/>
                  </a:lnTo>
                  <a:lnTo>
                    <a:pt x="4096" y="156"/>
                  </a:lnTo>
                  <a:lnTo>
                    <a:pt x="4335" y="234"/>
                  </a:lnTo>
                  <a:lnTo>
                    <a:pt x="4285" y="201"/>
                  </a:lnTo>
                  <a:lnTo>
                    <a:pt x="4226" y="196"/>
                  </a:lnTo>
                  <a:lnTo>
                    <a:pt x="4210" y="185"/>
                  </a:lnTo>
                  <a:lnTo>
                    <a:pt x="4217" y="180"/>
                  </a:lnTo>
                  <a:lnTo>
                    <a:pt x="4151" y="163"/>
                  </a:lnTo>
                  <a:lnTo>
                    <a:pt x="4087" y="140"/>
                  </a:lnTo>
                  <a:lnTo>
                    <a:pt x="4104" y="111"/>
                  </a:lnTo>
                  <a:lnTo>
                    <a:pt x="4172" y="111"/>
                  </a:lnTo>
                  <a:lnTo>
                    <a:pt x="4108" y="95"/>
                  </a:lnTo>
                  <a:lnTo>
                    <a:pt x="4125" y="90"/>
                  </a:lnTo>
                  <a:lnTo>
                    <a:pt x="4233" y="107"/>
                  </a:lnTo>
                  <a:lnTo>
                    <a:pt x="4163" y="69"/>
                  </a:lnTo>
                  <a:lnTo>
                    <a:pt x="4172" y="57"/>
                  </a:lnTo>
                  <a:lnTo>
                    <a:pt x="4248" y="69"/>
                  </a:lnTo>
                  <a:lnTo>
                    <a:pt x="4285" y="90"/>
                  </a:lnTo>
                  <a:lnTo>
                    <a:pt x="4297" y="90"/>
                  </a:lnTo>
                  <a:lnTo>
                    <a:pt x="4281" y="85"/>
                  </a:lnTo>
                  <a:lnTo>
                    <a:pt x="4378" y="85"/>
                  </a:lnTo>
                  <a:lnTo>
                    <a:pt x="4285" y="74"/>
                  </a:lnTo>
                  <a:lnTo>
                    <a:pt x="4281" y="69"/>
                  </a:lnTo>
                  <a:lnTo>
                    <a:pt x="4302" y="57"/>
                  </a:lnTo>
                  <a:lnTo>
                    <a:pt x="4248" y="52"/>
                  </a:lnTo>
                  <a:lnTo>
                    <a:pt x="4285" y="36"/>
                  </a:lnTo>
                  <a:lnTo>
                    <a:pt x="4318" y="36"/>
                  </a:lnTo>
                  <a:lnTo>
                    <a:pt x="4340" y="52"/>
                  </a:lnTo>
                  <a:lnTo>
                    <a:pt x="4373" y="36"/>
                  </a:lnTo>
                  <a:lnTo>
                    <a:pt x="4378" y="41"/>
                  </a:lnTo>
                  <a:lnTo>
                    <a:pt x="4378" y="57"/>
                  </a:lnTo>
                  <a:lnTo>
                    <a:pt x="4411" y="57"/>
                  </a:lnTo>
                  <a:lnTo>
                    <a:pt x="4406" y="52"/>
                  </a:lnTo>
                  <a:lnTo>
                    <a:pt x="4432" y="41"/>
                  </a:lnTo>
                  <a:lnTo>
                    <a:pt x="4567" y="95"/>
                  </a:lnTo>
                  <a:lnTo>
                    <a:pt x="4541" y="128"/>
                  </a:lnTo>
                  <a:lnTo>
                    <a:pt x="4604" y="95"/>
                  </a:lnTo>
                  <a:lnTo>
                    <a:pt x="4536" y="74"/>
                  </a:lnTo>
                  <a:lnTo>
                    <a:pt x="4557" y="69"/>
                  </a:lnTo>
                  <a:lnTo>
                    <a:pt x="4460" y="29"/>
                  </a:lnTo>
                  <a:lnTo>
                    <a:pt x="4474" y="17"/>
                  </a:lnTo>
                  <a:lnTo>
                    <a:pt x="4663" y="17"/>
                  </a:lnTo>
                  <a:lnTo>
                    <a:pt x="4713" y="52"/>
                  </a:lnTo>
                  <a:lnTo>
                    <a:pt x="4798" y="85"/>
                  </a:lnTo>
                  <a:lnTo>
                    <a:pt x="4805" y="74"/>
                  </a:lnTo>
                  <a:lnTo>
                    <a:pt x="4718" y="41"/>
                  </a:lnTo>
                  <a:lnTo>
                    <a:pt x="4798" y="12"/>
                  </a:lnTo>
                  <a:lnTo>
                    <a:pt x="4859" y="12"/>
                  </a:lnTo>
                  <a:lnTo>
                    <a:pt x="4864" y="12"/>
                  </a:lnTo>
                  <a:lnTo>
                    <a:pt x="4852" y="29"/>
                  </a:lnTo>
                  <a:lnTo>
                    <a:pt x="4918" y="52"/>
                  </a:lnTo>
                  <a:lnTo>
                    <a:pt x="4874" y="29"/>
                  </a:lnTo>
                  <a:lnTo>
                    <a:pt x="4961" y="0"/>
                  </a:lnTo>
                  <a:lnTo>
                    <a:pt x="5020" y="17"/>
                  </a:lnTo>
                  <a:lnTo>
                    <a:pt x="5015" y="29"/>
                  </a:lnTo>
                  <a:lnTo>
                    <a:pt x="5053" y="17"/>
                  </a:lnTo>
                  <a:lnTo>
                    <a:pt x="5107" y="29"/>
                  </a:lnTo>
                  <a:lnTo>
                    <a:pt x="5107" y="41"/>
                  </a:lnTo>
                  <a:lnTo>
                    <a:pt x="5237" y="41"/>
                  </a:lnTo>
                  <a:lnTo>
                    <a:pt x="5074" y="95"/>
                  </a:lnTo>
                  <a:lnTo>
                    <a:pt x="5162" y="90"/>
                  </a:lnTo>
                  <a:lnTo>
                    <a:pt x="5275" y="57"/>
                  </a:lnTo>
                  <a:lnTo>
                    <a:pt x="5322" y="69"/>
                  </a:lnTo>
                  <a:lnTo>
                    <a:pt x="5306" y="69"/>
                  </a:lnTo>
                  <a:lnTo>
                    <a:pt x="5322" y="57"/>
                  </a:lnTo>
                  <a:lnTo>
                    <a:pt x="5306" y="52"/>
                  </a:lnTo>
                  <a:lnTo>
                    <a:pt x="5355" y="41"/>
                  </a:lnTo>
                  <a:lnTo>
                    <a:pt x="5339" y="52"/>
                  </a:lnTo>
                  <a:lnTo>
                    <a:pt x="5365" y="69"/>
                  </a:lnTo>
                  <a:lnTo>
                    <a:pt x="5436" y="57"/>
                  </a:lnTo>
                  <a:lnTo>
                    <a:pt x="5448" y="69"/>
                  </a:lnTo>
                  <a:lnTo>
                    <a:pt x="5415" y="85"/>
                  </a:lnTo>
                  <a:lnTo>
                    <a:pt x="5474" y="107"/>
                  </a:lnTo>
                  <a:lnTo>
                    <a:pt x="5462" y="123"/>
                  </a:lnTo>
                  <a:lnTo>
                    <a:pt x="5448" y="128"/>
                  </a:lnTo>
                  <a:lnTo>
                    <a:pt x="5528" y="111"/>
                  </a:lnTo>
                  <a:lnTo>
                    <a:pt x="5516" y="123"/>
                  </a:lnTo>
                  <a:lnTo>
                    <a:pt x="5575" y="123"/>
                  </a:lnTo>
                  <a:lnTo>
                    <a:pt x="5608" y="144"/>
                  </a:lnTo>
                  <a:lnTo>
                    <a:pt x="5599" y="163"/>
                  </a:lnTo>
                  <a:lnTo>
                    <a:pt x="5523" y="201"/>
                  </a:lnTo>
                  <a:lnTo>
                    <a:pt x="5415" y="239"/>
                  </a:lnTo>
                  <a:lnTo>
                    <a:pt x="5377" y="234"/>
                  </a:lnTo>
                  <a:lnTo>
                    <a:pt x="5393" y="251"/>
                  </a:lnTo>
                  <a:lnTo>
                    <a:pt x="5377" y="251"/>
                  </a:lnTo>
                  <a:lnTo>
                    <a:pt x="5313" y="251"/>
                  </a:lnTo>
                  <a:lnTo>
                    <a:pt x="5259" y="256"/>
                  </a:lnTo>
                  <a:lnTo>
                    <a:pt x="5306" y="256"/>
                  </a:lnTo>
                  <a:lnTo>
                    <a:pt x="5275" y="272"/>
                  </a:lnTo>
                  <a:lnTo>
                    <a:pt x="5107" y="279"/>
                  </a:lnTo>
                  <a:lnTo>
                    <a:pt x="5025" y="256"/>
                  </a:lnTo>
                  <a:lnTo>
                    <a:pt x="5096" y="279"/>
                  </a:lnTo>
                  <a:lnTo>
                    <a:pt x="5058" y="279"/>
                  </a:lnTo>
                  <a:lnTo>
                    <a:pt x="5079" y="291"/>
                  </a:lnTo>
                  <a:lnTo>
                    <a:pt x="5214" y="291"/>
                  </a:lnTo>
                  <a:lnTo>
                    <a:pt x="4966" y="345"/>
                  </a:lnTo>
                  <a:lnTo>
                    <a:pt x="5004" y="345"/>
                  </a:lnTo>
                  <a:lnTo>
                    <a:pt x="4973" y="362"/>
                  </a:lnTo>
                  <a:lnTo>
                    <a:pt x="4982" y="362"/>
                  </a:lnTo>
                  <a:lnTo>
                    <a:pt x="5285" y="291"/>
                  </a:lnTo>
                  <a:lnTo>
                    <a:pt x="5360" y="279"/>
                  </a:lnTo>
                  <a:lnTo>
                    <a:pt x="5365" y="296"/>
                  </a:lnTo>
                  <a:lnTo>
                    <a:pt x="5176" y="383"/>
                  </a:lnTo>
                  <a:lnTo>
                    <a:pt x="5145" y="390"/>
                  </a:lnTo>
                  <a:lnTo>
                    <a:pt x="5150" y="390"/>
                  </a:lnTo>
                  <a:lnTo>
                    <a:pt x="5053" y="444"/>
                  </a:lnTo>
                  <a:lnTo>
                    <a:pt x="5020" y="478"/>
                  </a:lnTo>
                  <a:lnTo>
                    <a:pt x="4961" y="489"/>
                  </a:lnTo>
                  <a:lnTo>
                    <a:pt x="4966" y="473"/>
                  </a:lnTo>
                  <a:lnTo>
                    <a:pt x="4961" y="473"/>
                  </a:lnTo>
                  <a:lnTo>
                    <a:pt x="4918" y="444"/>
                  </a:lnTo>
                  <a:lnTo>
                    <a:pt x="4944" y="473"/>
                  </a:lnTo>
                  <a:lnTo>
                    <a:pt x="4949" y="489"/>
                  </a:lnTo>
                  <a:lnTo>
                    <a:pt x="4982" y="501"/>
                  </a:lnTo>
                  <a:lnTo>
                    <a:pt x="4966" y="511"/>
                  </a:lnTo>
                  <a:lnTo>
                    <a:pt x="4859" y="527"/>
                  </a:lnTo>
                  <a:lnTo>
                    <a:pt x="4810" y="511"/>
                  </a:lnTo>
                  <a:lnTo>
                    <a:pt x="4843" y="527"/>
                  </a:lnTo>
                  <a:lnTo>
                    <a:pt x="4810" y="527"/>
                  </a:lnTo>
                  <a:lnTo>
                    <a:pt x="4810" y="534"/>
                  </a:lnTo>
                  <a:lnTo>
                    <a:pt x="4944" y="527"/>
                  </a:lnTo>
                  <a:lnTo>
                    <a:pt x="4874" y="556"/>
                  </a:lnTo>
                  <a:lnTo>
                    <a:pt x="4911" y="567"/>
                  </a:lnTo>
                  <a:lnTo>
                    <a:pt x="4897" y="584"/>
                  </a:lnTo>
                  <a:lnTo>
                    <a:pt x="4822" y="600"/>
                  </a:lnTo>
                  <a:lnTo>
                    <a:pt x="4772" y="589"/>
                  </a:lnTo>
                  <a:lnTo>
                    <a:pt x="4767" y="572"/>
                  </a:lnTo>
                  <a:lnTo>
                    <a:pt x="4772" y="572"/>
                  </a:lnTo>
                  <a:lnTo>
                    <a:pt x="4680" y="567"/>
                  </a:lnTo>
                  <a:lnTo>
                    <a:pt x="4642" y="567"/>
                  </a:lnTo>
                  <a:lnTo>
                    <a:pt x="4746" y="584"/>
                  </a:lnTo>
                  <a:lnTo>
                    <a:pt x="4755" y="612"/>
                  </a:lnTo>
                  <a:lnTo>
                    <a:pt x="4718" y="629"/>
                  </a:lnTo>
                  <a:lnTo>
                    <a:pt x="4696" y="612"/>
                  </a:lnTo>
                  <a:lnTo>
                    <a:pt x="4701" y="629"/>
                  </a:lnTo>
                  <a:lnTo>
                    <a:pt x="4692" y="638"/>
                  </a:lnTo>
                  <a:lnTo>
                    <a:pt x="4637" y="622"/>
                  </a:lnTo>
                  <a:lnTo>
                    <a:pt x="4626" y="629"/>
                  </a:lnTo>
                  <a:lnTo>
                    <a:pt x="4637" y="638"/>
                  </a:lnTo>
                  <a:lnTo>
                    <a:pt x="4626" y="645"/>
                  </a:lnTo>
                  <a:lnTo>
                    <a:pt x="4481" y="612"/>
                  </a:lnTo>
                  <a:lnTo>
                    <a:pt x="4474" y="622"/>
                  </a:lnTo>
                  <a:lnTo>
                    <a:pt x="4541" y="629"/>
                  </a:lnTo>
                  <a:lnTo>
                    <a:pt x="4550" y="645"/>
                  </a:lnTo>
                  <a:lnTo>
                    <a:pt x="4567" y="645"/>
                  </a:lnTo>
                  <a:lnTo>
                    <a:pt x="4498" y="645"/>
                  </a:lnTo>
                  <a:lnTo>
                    <a:pt x="4465" y="629"/>
                  </a:lnTo>
                  <a:lnTo>
                    <a:pt x="4481" y="655"/>
                  </a:lnTo>
                  <a:lnTo>
                    <a:pt x="4411" y="645"/>
                  </a:lnTo>
                  <a:lnTo>
                    <a:pt x="4465" y="662"/>
                  </a:lnTo>
                  <a:lnTo>
                    <a:pt x="4460" y="667"/>
                  </a:lnTo>
                  <a:lnTo>
                    <a:pt x="4663" y="667"/>
                  </a:lnTo>
                  <a:lnTo>
                    <a:pt x="4642" y="678"/>
                  </a:lnTo>
                  <a:lnTo>
                    <a:pt x="4663" y="695"/>
                  </a:lnTo>
                  <a:lnTo>
                    <a:pt x="4583" y="695"/>
                  </a:lnTo>
                  <a:lnTo>
                    <a:pt x="4550" y="678"/>
                  </a:lnTo>
                  <a:lnTo>
                    <a:pt x="4432" y="667"/>
                  </a:lnTo>
                  <a:lnTo>
                    <a:pt x="4406" y="678"/>
                  </a:lnTo>
                  <a:lnTo>
                    <a:pt x="4550" y="695"/>
                  </a:lnTo>
                  <a:lnTo>
                    <a:pt x="4448" y="700"/>
                  </a:lnTo>
                  <a:lnTo>
                    <a:pt x="4356" y="695"/>
                  </a:lnTo>
                  <a:lnTo>
                    <a:pt x="4444" y="700"/>
                  </a:lnTo>
                  <a:lnTo>
                    <a:pt x="4406" y="740"/>
                  </a:lnTo>
                  <a:lnTo>
                    <a:pt x="4432" y="711"/>
                  </a:lnTo>
                  <a:lnTo>
                    <a:pt x="4512" y="700"/>
                  </a:lnTo>
                  <a:lnTo>
                    <a:pt x="4583" y="711"/>
                  </a:lnTo>
                  <a:lnTo>
                    <a:pt x="4529" y="733"/>
                  </a:lnTo>
                  <a:lnTo>
                    <a:pt x="4604" y="723"/>
                  </a:lnTo>
                  <a:lnTo>
                    <a:pt x="4642" y="733"/>
                  </a:lnTo>
                  <a:lnTo>
                    <a:pt x="4649" y="749"/>
                  </a:lnTo>
                  <a:lnTo>
                    <a:pt x="4637" y="756"/>
                  </a:lnTo>
                  <a:lnTo>
                    <a:pt x="4642" y="773"/>
                  </a:lnTo>
                  <a:lnTo>
                    <a:pt x="4626" y="778"/>
                  </a:lnTo>
                  <a:lnTo>
                    <a:pt x="4512" y="778"/>
                  </a:lnTo>
                  <a:lnTo>
                    <a:pt x="4595" y="794"/>
                  </a:lnTo>
                  <a:lnTo>
                    <a:pt x="4626" y="811"/>
                  </a:lnTo>
                  <a:lnTo>
                    <a:pt x="4588" y="834"/>
                  </a:lnTo>
                  <a:lnTo>
                    <a:pt x="4498" y="834"/>
                  </a:lnTo>
                  <a:lnTo>
                    <a:pt x="4588" y="844"/>
                  </a:lnTo>
                  <a:lnTo>
                    <a:pt x="4567" y="867"/>
                  </a:lnTo>
                  <a:lnTo>
                    <a:pt x="4541" y="860"/>
                  </a:lnTo>
                  <a:lnTo>
                    <a:pt x="4498" y="877"/>
                  </a:lnTo>
                  <a:lnTo>
                    <a:pt x="4406" y="867"/>
                  </a:lnTo>
                  <a:lnTo>
                    <a:pt x="4389" y="877"/>
                  </a:lnTo>
                  <a:lnTo>
                    <a:pt x="4422" y="889"/>
                  </a:lnTo>
                  <a:lnTo>
                    <a:pt x="4422" y="905"/>
                  </a:lnTo>
                  <a:lnTo>
                    <a:pt x="4432" y="922"/>
                  </a:lnTo>
                  <a:lnTo>
                    <a:pt x="4406" y="962"/>
                  </a:lnTo>
                  <a:lnTo>
                    <a:pt x="4335" y="971"/>
                  </a:lnTo>
                  <a:lnTo>
                    <a:pt x="4248" y="971"/>
                  </a:lnTo>
                  <a:lnTo>
                    <a:pt x="4189" y="955"/>
                  </a:lnTo>
                  <a:lnTo>
                    <a:pt x="4141" y="917"/>
                  </a:lnTo>
                  <a:lnTo>
                    <a:pt x="4141" y="922"/>
                  </a:lnTo>
                  <a:lnTo>
                    <a:pt x="4163" y="938"/>
                  </a:lnTo>
                  <a:lnTo>
                    <a:pt x="4158" y="955"/>
                  </a:lnTo>
                  <a:lnTo>
                    <a:pt x="4196" y="971"/>
                  </a:lnTo>
                  <a:lnTo>
                    <a:pt x="4125" y="971"/>
                  </a:lnTo>
                  <a:lnTo>
                    <a:pt x="4151" y="995"/>
                  </a:lnTo>
                  <a:lnTo>
                    <a:pt x="4196" y="978"/>
                  </a:lnTo>
                  <a:lnTo>
                    <a:pt x="4271" y="988"/>
                  </a:lnTo>
                  <a:lnTo>
                    <a:pt x="4248" y="1000"/>
                  </a:lnTo>
                  <a:lnTo>
                    <a:pt x="4297" y="978"/>
                  </a:lnTo>
                  <a:lnTo>
                    <a:pt x="4335" y="988"/>
                  </a:lnTo>
                  <a:lnTo>
                    <a:pt x="4352" y="1000"/>
                  </a:lnTo>
                  <a:lnTo>
                    <a:pt x="4318" y="1028"/>
                  </a:lnTo>
                  <a:lnTo>
                    <a:pt x="4356" y="1028"/>
                  </a:lnTo>
                  <a:lnTo>
                    <a:pt x="4356" y="1044"/>
                  </a:lnTo>
                  <a:lnTo>
                    <a:pt x="4368" y="1044"/>
                  </a:lnTo>
                  <a:lnTo>
                    <a:pt x="4394" y="1016"/>
                  </a:lnTo>
                  <a:lnTo>
                    <a:pt x="4427" y="1028"/>
                  </a:lnTo>
                  <a:lnTo>
                    <a:pt x="4432" y="1066"/>
                  </a:lnTo>
                  <a:lnTo>
                    <a:pt x="4389" y="1099"/>
                  </a:lnTo>
                  <a:lnTo>
                    <a:pt x="4389" y="1099"/>
                  </a:lnTo>
                  <a:lnTo>
                    <a:pt x="4389" y="1099"/>
                  </a:lnTo>
                  <a:close/>
                  <a:moveTo>
                    <a:pt x="3456" y="279"/>
                  </a:moveTo>
                  <a:lnTo>
                    <a:pt x="3440" y="272"/>
                  </a:lnTo>
                  <a:lnTo>
                    <a:pt x="3461" y="279"/>
                  </a:lnTo>
                  <a:lnTo>
                    <a:pt x="3456" y="279"/>
                  </a:lnTo>
                  <a:lnTo>
                    <a:pt x="3456" y="279"/>
                  </a:lnTo>
                  <a:lnTo>
                    <a:pt x="3456" y="279"/>
                  </a:lnTo>
                  <a:close/>
                  <a:moveTo>
                    <a:pt x="3655" y="844"/>
                  </a:moveTo>
                  <a:lnTo>
                    <a:pt x="3633" y="827"/>
                  </a:lnTo>
                  <a:lnTo>
                    <a:pt x="3579" y="766"/>
                  </a:lnTo>
                  <a:lnTo>
                    <a:pt x="3570" y="778"/>
                  </a:lnTo>
                  <a:lnTo>
                    <a:pt x="3579" y="794"/>
                  </a:lnTo>
                  <a:lnTo>
                    <a:pt x="3596" y="806"/>
                  </a:lnTo>
                  <a:lnTo>
                    <a:pt x="3617" y="834"/>
                  </a:lnTo>
                  <a:lnTo>
                    <a:pt x="3563" y="811"/>
                  </a:lnTo>
                  <a:lnTo>
                    <a:pt x="3525" y="811"/>
                  </a:lnTo>
                  <a:lnTo>
                    <a:pt x="3558" y="834"/>
                  </a:lnTo>
                  <a:lnTo>
                    <a:pt x="3546" y="844"/>
                  </a:lnTo>
                  <a:lnTo>
                    <a:pt x="3433" y="827"/>
                  </a:lnTo>
                  <a:lnTo>
                    <a:pt x="3402" y="811"/>
                  </a:lnTo>
                  <a:lnTo>
                    <a:pt x="3369" y="789"/>
                  </a:lnTo>
                  <a:lnTo>
                    <a:pt x="3461" y="778"/>
                  </a:lnTo>
                  <a:lnTo>
                    <a:pt x="3381" y="766"/>
                  </a:lnTo>
                  <a:lnTo>
                    <a:pt x="3348" y="773"/>
                  </a:lnTo>
                  <a:lnTo>
                    <a:pt x="3310" y="740"/>
                  </a:lnTo>
                  <a:lnTo>
                    <a:pt x="3364" y="740"/>
                  </a:lnTo>
                  <a:lnTo>
                    <a:pt x="3310" y="733"/>
                  </a:lnTo>
                  <a:lnTo>
                    <a:pt x="3277" y="711"/>
                  </a:lnTo>
                  <a:lnTo>
                    <a:pt x="3348" y="678"/>
                  </a:lnTo>
                  <a:lnTo>
                    <a:pt x="3546" y="667"/>
                  </a:lnTo>
                  <a:lnTo>
                    <a:pt x="3418" y="667"/>
                  </a:lnTo>
                  <a:lnTo>
                    <a:pt x="3385" y="662"/>
                  </a:lnTo>
                  <a:lnTo>
                    <a:pt x="3504" y="645"/>
                  </a:lnTo>
                  <a:lnTo>
                    <a:pt x="3423" y="655"/>
                  </a:lnTo>
                  <a:lnTo>
                    <a:pt x="3395" y="645"/>
                  </a:lnTo>
                  <a:lnTo>
                    <a:pt x="3418" y="638"/>
                  </a:lnTo>
                  <a:lnTo>
                    <a:pt x="3381" y="638"/>
                  </a:lnTo>
                  <a:lnTo>
                    <a:pt x="3364" y="629"/>
                  </a:lnTo>
                  <a:lnTo>
                    <a:pt x="3352" y="629"/>
                  </a:lnTo>
                  <a:lnTo>
                    <a:pt x="3364" y="645"/>
                  </a:lnTo>
                  <a:lnTo>
                    <a:pt x="3348" y="645"/>
                  </a:lnTo>
                  <a:lnTo>
                    <a:pt x="3348" y="638"/>
                  </a:lnTo>
                  <a:lnTo>
                    <a:pt x="3343" y="638"/>
                  </a:lnTo>
                  <a:lnTo>
                    <a:pt x="3310" y="662"/>
                  </a:lnTo>
                  <a:lnTo>
                    <a:pt x="3289" y="662"/>
                  </a:lnTo>
                  <a:lnTo>
                    <a:pt x="3293" y="645"/>
                  </a:lnTo>
                  <a:lnTo>
                    <a:pt x="3272" y="638"/>
                  </a:lnTo>
                  <a:lnTo>
                    <a:pt x="3260" y="638"/>
                  </a:lnTo>
                  <a:lnTo>
                    <a:pt x="3272" y="645"/>
                  </a:lnTo>
                  <a:lnTo>
                    <a:pt x="3260" y="655"/>
                  </a:lnTo>
                  <a:lnTo>
                    <a:pt x="3222" y="662"/>
                  </a:lnTo>
                  <a:lnTo>
                    <a:pt x="3208" y="645"/>
                  </a:lnTo>
                  <a:lnTo>
                    <a:pt x="3170" y="638"/>
                  </a:lnTo>
                  <a:lnTo>
                    <a:pt x="3180" y="622"/>
                  </a:lnTo>
                  <a:lnTo>
                    <a:pt x="3244" y="605"/>
                  </a:lnTo>
                  <a:lnTo>
                    <a:pt x="3277" y="584"/>
                  </a:lnTo>
                  <a:lnTo>
                    <a:pt x="3170" y="600"/>
                  </a:lnTo>
                  <a:lnTo>
                    <a:pt x="3116" y="567"/>
                  </a:lnTo>
                  <a:lnTo>
                    <a:pt x="3147" y="556"/>
                  </a:lnTo>
                  <a:lnTo>
                    <a:pt x="3109" y="544"/>
                  </a:lnTo>
                  <a:lnTo>
                    <a:pt x="3133" y="534"/>
                  </a:lnTo>
                  <a:lnTo>
                    <a:pt x="3100" y="527"/>
                  </a:lnTo>
                  <a:lnTo>
                    <a:pt x="3133" y="518"/>
                  </a:lnTo>
                  <a:lnTo>
                    <a:pt x="3272" y="551"/>
                  </a:lnTo>
                  <a:lnTo>
                    <a:pt x="3244" y="527"/>
                  </a:lnTo>
                  <a:lnTo>
                    <a:pt x="3293" y="518"/>
                  </a:lnTo>
                  <a:lnTo>
                    <a:pt x="3201" y="527"/>
                  </a:lnTo>
                  <a:lnTo>
                    <a:pt x="3180" y="518"/>
                  </a:lnTo>
                  <a:lnTo>
                    <a:pt x="3208" y="501"/>
                  </a:lnTo>
                  <a:lnTo>
                    <a:pt x="3163" y="511"/>
                  </a:lnTo>
                  <a:lnTo>
                    <a:pt x="3109" y="489"/>
                  </a:lnTo>
                  <a:lnTo>
                    <a:pt x="3192" y="489"/>
                  </a:lnTo>
                  <a:lnTo>
                    <a:pt x="3170" y="473"/>
                  </a:lnTo>
                  <a:lnTo>
                    <a:pt x="3154" y="444"/>
                  </a:lnTo>
                  <a:lnTo>
                    <a:pt x="3310" y="456"/>
                  </a:lnTo>
                  <a:lnTo>
                    <a:pt x="3244" y="435"/>
                  </a:lnTo>
                  <a:lnTo>
                    <a:pt x="3289" y="423"/>
                  </a:lnTo>
                  <a:lnTo>
                    <a:pt x="3185" y="407"/>
                  </a:lnTo>
                  <a:lnTo>
                    <a:pt x="3218" y="400"/>
                  </a:lnTo>
                  <a:lnTo>
                    <a:pt x="3192" y="390"/>
                  </a:lnTo>
                  <a:lnTo>
                    <a:pt x="3218" y="378"/>
                  </a:lnTo>
                  <a:lnTo>
                    <a:pt x="3244" y="367"/>
                  </a:lnTo>
                  <a:lnTo>
                    <a:pt x="3272" y="383"/>
                  </a:lnTo>
                  <a:lnTo>
                    <a:pt x="3298" y="367"/>
                  </a:lnTo>
                  <a:lnTo>
                    <a:pt x="3277" y="362"/>
                  </a:lnTo>
                  <a:lnTo>
                    <a:pt x="3348" y="362"/>
                  </a:lnTo>
                  <a:lnTo>
                    <a:pt x="3364" y="350"/>
                  </a:lnTo>
                  <a:lnTo>
                    <a:pt x="3272" y="329"/>
                  </a:lnTo>
                  <a:lnTo>
                    <a:pt x="3289" y="312"/>
                  </a:lnTo>
                  <a:lnTo>
                    <a:pt x="3331" y="324"/>
                  </a:lnTo>
                  <a:lnTo>
                    <a:pt x="3331" y="312"/>
                  </a:lnTo>
                  <a:lnTo>
                    <a:pt x="3449" y="345"/>
                  </a:lnTo>
                  <a:lnTo>
                    <a:pt x="3456" y="362"/>
                  </a:lnTo>
                  <a:lnTo>
                    <a:pt x="3440" y="367"/>
                  </a:lnTo>
                  <a:lnTo>
                    <a:pt x="3470" y="378"/>
                  </a:lnTo>
                  <a:lnTo>
                    <a:pt x="3504" y="416"/>
                  </a:lnTo>
                  <a:lnTo>
                    <a:pt x="3532" y="440"/>
                  </a:lnTo>
                  <a:lnTo>
                    <a:pt x="3525" y="444"/>
                  </a:lnTo>
                  <a:lnTo>
                    <a:pt x="3596" y="473"/>
                  </a:lnTo>
                  <a:lnTo>
                    <a:pt x="3596" y="456"/>
                  </a:lnTo>
                  <a:lnTo>
                    <a:pt x="3633" y="456"/>
                  </a:lnTo>
                  <a:lnTo>
                    <a:pt x="3638" y="473"/>
                  </a:lnTo>
                  <a:lnTo>
                    <a:pt x="3633" y="478"/>
                  </a:lnTo>
                  <a:lnTo>
                    <a:pt x="3638" y="478"/>
                  </a:lnTo>
                  <a:lnTo>
                    <a:pt x="3633" y="494"/>
                  </a:lnTo>
                  <a:lnTo>
                    <a:pt x="3667" y="527"/>
                  </a:lnTo>
                  <a:lnTo>
                    <a:pt x="3709" y="527"/>
                  </a:lnTo>
                  <a:lnTo>
                    <a:pt x="3704" y="511"/>
                  </a:lnTo>
                  <a:lnTo>
                    <a:pt x="3671" y="501"/>
                  </a:lnTo>
                  <a:lnTo>
                    <a:pt x="3671" y="478"/>
                  </a:lnTo>
                  <a:lnTo>
                    <a:pt x="3742" y="478"/>
                  </a:lnTo>
                  <a:lnTo>
                    <a:pt x="3747" y="511"/>
                  </a:lnTo>
                  <a:lnTo>
                    <a:pt x="3709" y="527"/>
                  </a:lnTo>
                  <a:lnTo>
                    <a:pt x="3773" y="534"/>
                  </a:lnTo>
                  <a:lnTo>
                    <a:pt x="3785" y="551"/>
                  </a:lnTo>
                  <a:lnTo>
                    <a:pt x="3759" y="572"/>
                  </a:lnTo>
                  <a:lnTo>
                    <a:pt x="3785" y="556"/>
                  </a:lnTo>
                  <a:lnTo>
                    <a:pt x="3780" y="605"/>
                  </a:lnTo>
                  <a:lnTo>
                    <a:pt x="3759" y="622"/>
                  </a:lnTo>
                  <a:lnTo>
                    <a:pt x="3785" y="605"/>
                  </a:lnTo>
                  <a:lnTo>
                    <a:pt x="3801" y="622"/>
                  </a:lnTo>
                  <a:lnTo>
                    <a:pt x="3811" y="612"/>
                  </a:lnTo>
                  <a:lnTo>
                    <a:pt x="3801" y="605"/>
                  </a:lnTo>
                  <a:lnTo>
                    <a:pt x="3834" y="605"/>
                  </a:lnTo>
                  <a:lnTo>
                    <a:pt x="3855" y="612"/>
                  </a:lnTo>
                  <a:lnTo>
                    <a:pt x="3855" y="629"/>
                  </a:lnTo>
                  <a:lnTo>
                    <a:pt x="3848" y="629"/>
                  </a:lnTo>
                  <a:lnTo>
                    <a:pt x="3855" y="638"/>
                  </a:lnTo>
                  <a:lnTo>
                    <a:pt x="3872" y="605"/>
                  </a:lnTo>
                  <a:lnTo>
                    <a:pt x="3881" y="605"/>
                  </a:lnTo>
                  <a:lnTo>
                    <a:pt x="3936" y="662"/>
                  </a:lnTo>
                  <a:lnTo>
                    <a:pt x="3827" y="695"/>
                  </a:lnTo>
                  <a:lnTo>
                    <a:pt x="3811" y="711"/>
                  </a:lnTo>
                  <a:lnTo>
                    <a:pt x="3785" y="695"/>
                  </a:lnTo>
                  <a:lnTo>
                    <a:pt x="3785" y="716"/>
                  </a:lnTo>
                  <a:lnTo>
                    <a:pt x="3747" y="766"/>
                  </a:lnTo>
                  <a:lnTo>
                    <a:pt x="3721" y="733"/>
                  </a:lnTo>
                  <a:lnTo>
                    <a:pt x="3721" y="711"/>
                  </a:lnTo>
                  <a:lnTo>
                    <a:pt x="3742" y="695"/>
                  </a:lnTo>
                  <a:lnTo>
                    <a:pt x="3709" y="711"/>
                  </a:lnTo>
                  <a:lnTo>
                    <a:pt x="3704" y="740"/>
                  </a:lnTo>
                  <a:lnTo>
                    <a:pt x="3726" y="778"/>
                  </a:lnTo>
                  <a:lnTo>
                    <a:pt x="3704" y="794"/>
                  </a:lnTo>
                  <a:lnTo>
                    <a:pt x="3676" y="773"/>
                  </a:lnTo>
                  <a:lnTo>
                    <a:pt x="3667" y="766"/>
                  </a:lnTo>
                  <a:lnTo>
                    <a:pt x="3676" y="794"/>
                  </a:lnTo>
                  <a:lnTo>
                    <a:pt x="3655" y="844"/>
                  </a:lnTo>
                  <a:lnTo>
                    <a:pt x="3655" y="844"/>
                  </a:lnTo>
                  <a:lnTo>
                    <a:pt x="3655" y="844"/>
                  </a:lnTo>
                  <a:close/>
                  <a:moveTo>
                    <a:pt x="3222" y="435"/>
                  </a:moveTo>
                  <a:lnTo>
                    <a:pt x="3234" y="440"/>
                  </a:lnTo>
                  <a:lnTo>
                    <a:pt x="3147" y="435"/>
                  </a:lnTo>
                  <a:lnTo>
                    <a:pt x="3222" y="435"/>
                  </a:lnTo>
                  <a:lnTo>
                    <a:pt x="3222" y="435"/>
                  </a:lnTo>
                  <a:lnTo>
                    <a:pt x="3222" y="435"/>
                  </a:lnTo>
                  <a:close/>
                  <a:moveTo>
                    <a:pt x="2965" y="600"/>
                  </a:moveTo>
                  <a:lnTo>
                    <a:pt x="2920" y="584"/>
                  </a:lnTo>
                  <a:lnTo>
                    <a:pt x="2920" y="567"/>
                  </a:lnTo>
                  <a:lnTo>
                    <a:pt x="2868" y="567"/>
                  </a:lnTo>
                  <a:lnTo>
                    <a:pt x="2861" y="534"/>
                  </a:lnTo>
                  <a:lnTo>
                    <a:pt x="2894" y="518"/>
                  </a:lnTo>
                  <a:lnTo>
                    <a:pt x="2953" y="534"/>
                  </a:lnTo>
                  <a:lnTo>
                    <a:pt x="2970" y="551"/>
                  </a:lnTo>
                  <a:lnTo>
                    <a:pt x="2970" y="572"/>
                  </a:lnTo>
                  <a:lnTo>
                    <a:pt x="2965" y="600"/>
                  </a:lnTo>
                  <a:lnTo>
                    <a:pt x="2965" y="600"/>
                  </a:lnTo>
                  <a:lnTo>
                    <a:pt x="2965" y="600"/>
                  </a:lnTo>
                  <a:close/>
                  <a:moveTo>
                    <a:pt x="2608" y="749"/>
                  </a:moveTo>
                  <a:lnTo>
                    <a:pt x="2613" y="740"/>
                  </a:lnTo>
                  <a:lnTo>
                    <a:pt x="2587" y="740"/>
                  </a:lnTo>
                  <a:lnTo>
                    <a:pt x="2608" y="723"/>
                  </a:lnTo>
                  <a:lnTo>
                    <a:pt x="2587" y="711"/>
                  </a:lnTo>
                  <a:lnTo>
                    <a:pt x="2521" y="740"/>
                  </a:lnTo>
                  <a:lnTo>
                    <a:pt x="2542" y="700"/>
                  </a:lnTo>
                  <a:lnTo>
                    <a:pt x="2483" y="700"/>
                  </a:lnTo>
                  <a:lnTo>
                    <a:pt x="2483" y="678"/>
                  </a:lnTo>
                  <a:lnTo>
                    <a:pt x="2490" y="655"/>
                  </a:lnTo>
                  <a:lnTo>
                    <a:pt x="2596" y="645"/>
                  </a:lnTo>
                  <a:lnTo>
                    <a:pt x="2663" y="662"/>
                  </a:lnTo>
                  <a:lnTo>
                    <a:pt x="2693" y="695"/>
                  </a:lnTo>
                  <a:lnTo>
                    <a:pt x="2684" y="716"/>
                  </a:lnTo>
                  <a:lnTo>
                    <a:pt x="2700" y="723"/>
                  </a:lnTo>
                  <a:lnTo>
                    <a:pt x="2705" y="700"/>
                  </a:lnTo>
                  <a:lnTo>
                    <a:pt x="2759" y="695"/>
                  </a:lnTo>
                  <a:lnTo>
                    <a:pt x="2807" y="716"/>
                  </a:lnTo>
                  <a:lnTo>
                    <a:pt x="2793" y="740"/>
                  </a:lnTo>
                  <a:lnTo>
                    <a:pt x="2856" y="733"/>
                  </a:lnTo>
                  <a:lnTo>
                    <a:pt x="2882" y="756"/>
                  </a:lnTo>
                  <a:lnTo>
                    <a:pt x="2878" y="766"/>
                  </a:lnTo>
                  <a:lnTo>
                    <a:pt x="2911" y="773"/>
                  </a:lnTo>
                  <a:lnTo>
                    <a:pt x="2882" y="794"/>
                  </a:lnTo>
                  <a:lnTo>
                    <a:pt x="2894" y="806"/>
                  </a:lnTo>
                  <a:lnTo>
                    <a:pt x="2894" y="822"/>
                  </a:lnTo>
                  <a:lnTo>
                    <a:pt x="2911" y="822"/>
                  </a:lnTo>
                  <a:lnTo>
                    <a:pt x="2948" y="851"/>
                  </a:lnTo>
                  <a:lnTo>
                    <a:pt x="2937" y="867"/>
                  </a:lnTo>
                  <a:lnTo>
                    <a:pt x="2948" y="884"/>
                  </a:lnTo>
                  <a:lnTo>
                    <a:pt x="2882" y="900"/>
                  </a:lnTo>
                  <a:lnTo>
                    <a:pt x="2830" y="884"/>
                  </a:lnTo>
                  <a:lnTo>
                    <a:pt x="2807" y="834"/>
                  </a:lnTo>
                  <a:lnTo>
                    <a:pt x="2731" y="822"/>
                  </a:lnTo>
                  <a:lnTo>
                    <a:pt x="2693" y="827"/>
                  </a:lnTo>
                  <a:lnTo>
                    <a:pt x="2679" y="822"/>
                  </a:lnTo>
                  <a:lnTo>
                    <a:pt x="2693" y="806"/>
                  </a:lnTo>
                  <a:lnTo>
                    <a:pt x="2679" y="806"/>
                  </a:lnTo>
                  <a:lnTo>
                    <a:pt x="2596" y="827"/>
                  </a:lnTo>
                  <a:lnTo>
                    <a:pt x="2570" y="822"/>
                  </a:lnTo>
                  <a:lnTo>
                    <a:pt x="2521" y="789"/>
                  </a:lnTo>
                  <a:lnTo>
                    <a:pt x="2542" y="773"/>
                  </a:lnTo>
                  <a:lnTo>
                    <a:pt x="2630" y="789"/>
                  </a:lnTo>
                  <a:lnTo>
                    <a:pt x="2641" y="766"/>
                  </a:lnTo>
                  <a:lnTo>
                    <a:pt x="2592" y="766"/>
                  </a:lnTo>
                  <a:lnTo>
                    <a:pt x="2646" y="749"/>
                  </a:lnTo>
                  <a:lnTo>
                    <a:pt x="2608" y="749"/>
                  </a:lnTo>
                  <a:lnTo>
                    <a:pt x="2608" y="749"/>
                  </a:lnTo>
                  <a:lnTo>
                    <a:pt x="2608" y="749"/>
                  </a:lnTo>
                  <a:close/>
                  <a:moveTo>
                    <a:pt x="3865" y="695"/>
                  </a:moveTo>
                  <a:lnTo>
                    <a:pt x="3919" y="700"/>
                  </a:lnTo>
                  <a:lnTo>
                    <a:pt x="3827" y="723"/>
                  </a:lnTo>
                  <a:lnTo>
                    <a:pt x="3865" y="695"/>
                  </a:lnTo>
                  <a:lnTo>
                    <a:pt x="3865" y="695"/>
                  </a:lnTo>
                  <a:lnTo>
                    <a:pt x="3865" y="695"/>
                  </a:lnTo>
                  <a:close/>
                  <a:moveTo>
                    <a:pt x="3100" y="900"/>
                  </a:moveTo>
                  <a:lnTo>
                    <a:pt x="3078" y="889"/>
                  </a:lnTo>
                  <a:lnTo>
                    <a:pt x="3078" y="884"/>
                  </a:lnTo>
                  <a:lnTo>
                    <a:pt x="3083" y="877"/>
                  </a:lnTo>
                  <a:lnTo>
                    <a:pt x="3029" y="860"/>
                  </a:lnTo>
                  <a:lnTo>
                    <a:pt x="3100" y="844"/>
                  </a:lnTo>
                  <a:lnTo>
                    <a:pt x="3019" y="822"/>
                  </a:lnTo>
                  <a:lnTo>
                    <a:pt x="3019" y="806"/>
                  </a:lnTo>
                  <a:lnTo>
                    <a:pt x="2986" y="789"/>
                  </a:lnTo>
                  <a:lnTo>
                    <a:pt x="3019" y="778"/>
                  </a:lnTo>
                  <a:lnTo>
                    <a:pt x="2991" y="766"/>
                  </a:lnTo>
                  <a:lnTo>
                    <a:pt x="2991" y="740"/>
                  </a:lnTo>
                  <a:lnTo>
                    <a:pt x="3029" y="733"/>
                  </a:lnTo>
                  <a:lnTo>
                    <a:pt x="3078" y="749"/>
                  </a:lnTo>
                  <a:lnTo>
                    <a:pt x="3147" y="766"/>
                  </a:lnTo>
                  <a:lnTo>
                    <a:pt x="3147" y="778"/>
                  </a:lnTo>
                  <a:lnTo>
                    <a:pt x="3192" y="778"/>
                  </a:lnTo>
                  <a:lnTo>
                    <a:pt x="3239" y="806"/>
                  </a:lnTo>
                  <a:lnTo>
                    <a:pt x="3201" y="827"/>
                  </a:lnTo>
                  <a:lnTo>
                    <a:pt x="3234" y="844"/>
                  </a:lnTo>
                  <a:lnTo>
                    <a:pt x="3218" y="867"/>
                  </a:lnTo>
                  <a:lnTo>
                    <a:pt x="3116" y="884"/>
                  </a:lnTo>
                  <a:lnTo>
                    <a:pt x="3109" y="884"/>
                  </a:lnTo>
                  <a:lnTo>
                    <a:pt x="3126" y="889"/>
                  </a:lnTo>
                  <a:lnTo>
                    <a:pt x="3100" y="900"/>
                  </a:lnTo>
                  <a:lnTo>
                    <a:pt x="3100" y="900"/>
                  </a:lnTo>
                  <a:lnTo>
                    <a:pt x="3100" y="900"/>
                  </a:lnTo>
                  <a:close/>
                  <a:moveTo>
                    <a:pt x="4675" y="756"/>
                  </a:moveTo>
                  <a:lnTo>
                    <a:pt x="4649" y="749"/>
                  </a:lnTo>
                  <a:lnTo>
                    <a:pt x="4692" y="749"/>
                  </a:lnTo>
                  <a:lnTo>
                    <a:pt x="4675" y="756"/>
                  </a:lnTo>
                  <a:lnTo>
                    <a:pt x="4675" y="756"/>
                  </a:lnTo>
                  <a:lnTo>
                    <a:pt x="4675" y="756"/>
                  </a:lnTo>
                  <a:close/>
                  <a:moveTo>
                    <a:pt x="2067" y="822"/>
                  </a:moveTo>
                  <a:lnTo>
                    <a:pt x="2030" y="806"/>
                  </a:lnTo>
                  <a:lnTo>
                    <a:pt x="1949" y="822"/>
                  </a:lnTo>
                  <a:lnTo>
                    <a:pt x="1944" y="811"/>
                  </a:lnTo>
                  <a:lnTo>
                    <a:pt x="1961" y="794"/>
                  </a:lnTo>
                  <a:lnTo>
                    <a:pt x="2143" y="740"/>
                  </a:lnTo>
                  <a:lnTo>
                    <a:pt x="2230" y="789"/>
                  </a:lnTo>
                  <a:lnTo>
                    <a:pt x="2214" y="822"/>
                  </a:lnTo>
                  <a:lnTo>
                    <a:pt x="2143" y="822"/>
                  </a:lnTo>
                  <a:lnTo>
                    <a:pt x="2100" y="806"/>
                  </a:lnTo>
                  <a:lnTo>
                    <a:pt x="2067" y="822"/>
                  </a:lnTo>
                  <a:lnTo>
                    <a:pt x="2067" y="822"/>
                  </a:lnTo>
                  <a:lnTo>
                    <a:pt x="2067" y="822"/>
                  </a:lnTo>
                  <a:close/>
                  <a:moveTo>
                    <a:pt x="3721" y="794"/>
                  </a:moveTo>
                  <a:lnTo>
                    <a:pt x="3704" y="827"/>
                  </a:lnTo>
                  <a:lnTo>
                    <a:pt x="3688" y="822"/>
                  </a:lnTo>
                  <a:lnTo>
                    <a:pt x="3704" y="794"/>
                  </a:lnTo>
                  <a:lnTo>
                    <a:pt x="3721" y="794"/>
                  </a:lnTo>
                  <a:lnTo>
                    <a:pt x="3721" y="794"/>
                  </a:lnTo>
                  <a:lnTo>
                    <a:pt x="3721" y="794"/>
                  </a:lnTo>
                  <a:close/>
                  <a:moveTo>
                    <a:pt x="3260" y="822"/>
                  </a:moveTo>
                  <a:lnTo>
                    <a:pt x="3277" y="834"/>
                  </a:lnTo>
                  <a:lnTo>
                    <a:pt x="3244" y="822"/>
                  </a:lnTo>
                  <a:lnTo>
                    <a:pt x="3260" y="822"/>
                  </a:lnTo>
                  <a:lnTo>
                    <a:pt x="3260" y="822"/>
                  </a:lnTo>
                  <a:lnTo>
                    <a:pt x="3260" y="822"/>
                  </a:lnTo>
                  <a:close/>
                  <a:moveTo>
                    <a:pt x="2679" y="822"/>
                  </a:moveTo>
                  <a:lnTo>
                    <a:pt x="2684" y="827"/>
                  </a:lnTo>
                  <a:lnTo>
                    <a:pt x="2663" y="844"/>
                  </a:lnTo>
                  <a:lnTo>
                    <a:pt x="2646" y="834"/>
                  </a:lnTo>
                  <a:lnTo>
                    <a:pt x="2679" y="822"/>
                  </a:lnTo>
                  <a:lnTo>
                    <a:pt x="2679" y="822"/>
                  </a:lnTo>
                  <a:lnTo>
                    <a:pt x="2679" y="822"/>
                  </a:lnTo>
                  <a:close/>
                  <a:moveTo>
                    <a:pt x="2759" y="827"/>
                  </a:moveTo>
                  <a:lnTo>
                    <a:pt x="2759" y="834"/>
                  </a:lnTo>
                  <a:lnTo>
                    <a:pt x="2748" y="834"/>
                  </a:lnTo>
                  <a:lnTo>
                    <a:pt x="2759" y="827"/>
                  </a:lnTo>
                  <a:lnTo>
                    <a:pt x="2759" y="827"/>
                  </a:lnTo>
                  <a:lnTo>
                    <a:pt x="2759" y="827"/>
                  </a:lnTo>
                  <a:close/>
                  <a:moveTo>
                    <a:pt x="2030" y="971"/>
                  </a:moveTo>
                  <a:lnTo>
                    <a:pt x="1949" y="938"/>
                  </a:lnTo>
                  <a:lnTo>
                    <a:pt x="1949" y="905"/>
                  </a:lnTo>
                  <a:lnTo>
                    <a:pt x="1944" y="889"/>
                  </a:lnTo>
                  <a:lnTo>
                    <a:pt x="1949" y="877"/>
                  </a:lnTo>
                  <a:lnTo>
                    <a:pt x="2084" y="851"/>
                  </a:lnTo>
                  <a:lnTo>
                    <a:pt x="2209" y="851"/>
                  </a:lnTo>
                  <a:lnTo>
                    <a:pt x="2193" y="867"/>
                  </a:lnTo>
                  <a:lnTo>
                    <a:pt x="2112" y="889"/>
                  </a:lnTo>
                  <a:lnTo>
                    <a:pt x="2129" y="900"/>
                  </a:lnTo>
                  <a:lnTo>
                    <a:pt x="2167" y="900"/>
                  </a:lnTo>
                  <a:lnTo>
                    <a:pt x="2176" y="922"/>
                  </a:lnTo>
                  <a:lnTo>
                    <a:pt x="2159" y="938"/>
                  </a:lnTo>
                  <a:lnTo>
                    <a:pt x="2030" y="971"/>
                  </a:lnTo>
                  <a:lnTo>
                    <a:pt x="2030" y="971"/>
                  </a:lnTo>
                  <a:lnTo>
                    <a:pt x="2030" y="971"/>
                  </a:lnTo>
                  <a:close/>
                  <a:moveTo>
                    <a:pt x="1878" y="905"/>
                  </a:moveTo>
                  <a:lnTo>
                    <a:pt x="1815" y="867"/>
                  </a:lnTo>
                  <a:lnTo>
                    <a:pt x="1874" y="851"/>
                  </a:lnTo>
                  <a:lnTo>
                    <a:pt x="1923" y="889"/>
                  </a:lnTo>
                  <a:lnTo>
                    <a:pt x="1878" y="905"/>
                  </a:lnTo>
                  <a:lnTo>
                    <a:pt x="1878" y="905"/>
                  </a:lnTo>
                  <a:lnTo>
                    <a:pt x="1878" y="905"/>
                  </a:lnTo>
                  <a:close/>
                  <a:moveTo>
                    <a:pt x="2759" y="884"/>
                  </a:moveTo>
                  <a:lnTo>
                    <a:pt x="2807" y="905"/>
                  </a:lnTo>
                  <a:lnTo>
                    <a:pt x="2731" y="917"/>
                  </a:lnTo>
                  <a:lnTo>
                    <a:pt x="2705" y="905"/>
                  </a:lnTo>
                  <a:lnTo>
                    <a:pt x="2700" y="889"/>
                  </a:lnTo>
                  <a:lnTo>
                    <a:pt x="2759" y="884"/>
                  </a:lnTo>
                  <a:lnTo>
                    <a:pt x="2759" y="884"/>
                  </a:lnTo>
                  <a:lnTo>
                    <a:pt x="2759" y="884"/>
                  </a:lnTo>
                  <a:close/>
                  <a:moveTo>
                    <a:pt x="4444" y="884"/>
                  </a:moveTo>
                  <a:lnTo>
                    <a:pt x="4448" y="889"/>
                  </a:lnTo>
                  <a:lnTo>
                    <a:pt x="4422" y="889"/>
                  </a:lnTo>
                  <a:lnTo>
                    <a:pt x="4444" y="884"/>
                  </a:lnTo>
                  <a:lnTo>
                    <a:pt x="4444" y="884"/>
                  </a:lnTo>
                  <a:lnTo>
                    <a:pt x="4444" y="884"/>
                  </a:lnTo>
                  <a:close/>
                  <a:moveTo>
                    <a:pt x="3352" y="905"/>
                  </a:moveTo>
                  <a:lnTo>
                    <a:pt x="3364" y="917"/>
                  </a:lnTo>
                  <a:lnTo>
                    <a:pt x="3343" y="922"/>
                  </a:lnTo>
                  <a:lnTo>
                    <a:pt x="3326" y="943"/>
                  </a:lnTo>
                  <a:lnTo>
                    <a:pt x="3163" y="943"/>
                  </a:lnTo>
                  <a:lnTo>
                    <a:pt x="3133" y="922"/>
                  </a:lnTo>
                  <a:lnTo>
                    <a:pt x="3137" y="917"/>
                  </a:lnTo>
                  <a:lnTo>
                    <a:pt x="3192" y="889"/>
                  </a:lnTo>
                  <a:lnTo>
                    <a:pt x="3201" y="905"/>
                  </a:lnTo>
                  <a:lnTo>
                    <a:pt x="3326" y="900"/>
                  </a:lnTo>
                  <a:lnTo>
                    <a:pt x="3352" y="905"/>
                  </a:lnTo>
                  <a:lnTo>
                    <a:pt x="3352" y="905"/>
                  </a:lnTo>
                  <a:lnTo>
                    <a:pt x="3352" y="905"/>
                  </a:lnTo>
                  <a:close/>
                  <a:moveTo>
                    <a:pt x="2483" y="900"/>
                  </a:moveTo>
                  <a:lnTo>
                    <a:pt x="2521" y="933"/>
                  </a:lnTo>
                  <a:lnTo>
                    <a:pt x="2533" y="943"/>
                  </a:lnTo>
                  <a:lnTo>
                    <a:pt x="2521" y="955"/>
                  </a:lnTo>
                  <a:lnTo>
                    <a:pt x="2542" y="955"/>
                  </a:lnTo>
                  <a:lnTo>
                    <a:pt x="2570" y="988"/>
                  </a:lnTo>
                  <a:lnTo>
                    <a:pt x="2542" y="1000"/>
                  </a:lnTo>
                  <a:lnTo>
                    <a:pt x="2504" y="988"/>
                  </a:lnTo>
                  <a:lnTo>
                    <a:pt x="2483" y="971"/>
                  </a:lnTo>
                  <a:lnTo>
                    <a:pt x="2469" y="922"/>
                  </a:lnTo>
                  <a:lnTo>
                    <a:pt x="2452" y="905"/>
                  </a:lnTo>
                  <a:lnTo>
                    <a:pt x="2483" y="900"/>
                  </a:lnTo>
                  <a:lnTo>
                    <a:pt x="2483" y="900"/>
                  </a:lnTo>
                  <a:lnTo>
                    <a:pt x="2483" y="900"/>
                  </a:lnTo>
                  <a:close/>
                  <a:moveTo>
                    <a:pt x="3546" y="988"/>
                  </a:moveTo>
                  <a:lnTo>
                    <a:pt x="3494" y="962"/>
                  </a:lnTo>
                  <a:lnTo>
                    <a:pt x="3494" y="933"/>
                  </a:lnTo>
                  <a:lnTo>
                    <a:pt x="3515" y="917"/>
                  </a:lnTo>
                  <a:lnTo>
                    <a:pt x="3563" y="922"/>
                  </a:lnTo>
                  <a:lnTo>
                    <a:pt x="3596" y="943"/>
                  </a:lnTo>
                  <a:lnTo>
                    <a:pt x="3600" y="962"/>
                  </a:lnTo>
                  <a:lnTo>
                    <a:pt x="3546" y="988"/>
                  </a:lnTo>
                  <a:lnTo>
                    <a:pt x="3546" y="988"/>
                  </a:lnTo>
                  <a:lnTo>
                    <a:pt x="3546" y="988"/>
                  </a:lnTo>
                  <a:close/>
                  <a:moveTo>
                    <a:pt x="3910" y="933"/>
                  </a:moveTo>
                  <a:lnTo>
                    <a:pt x="3941" y="938"/>
                  </a:lnTo>
                  <a:lnTo>
                    <a:pt x="3919" y="943"/>
                  </a:lnTo>
                  <a:lnTo>
                    <a:pt x="3886" y="933"/>
                  </a:lnTo>
                  <a:lnTo>
                    <a:pt x="3910" y="933"/>
                  </a:lnTo>
                  <a:lnTo>
                    <a:pt x="3910" y="933"/>
                  </a:lnTo>
                  <a:lnTo>
                    <a:pt x="3910" y="933"/>
                  </a:lnTo>
                  <a:close/>
                  <a:moveTo>
                    <a:pt x="1734" y="1082"/>
                  </a:moveTo>
                  <a:lnTo>
                    <a:pt x="1680" y="1087"/>
                  </a:lnTo>
                  <a:lnTo>
                    <a:pt x="1692" y="1111"/>
                  </a:lnTo>
                  <a:lnTo>
                    <a:pt x="1654" y="1127"/>
                  </a:lnTo>
                  <a:lnTo>
                    <a:pt x="1609" y="1106"/>
                  </a:lnTo>
                  <a:lnTo>
                    <a:pt x="1621" y="1066"/>
                  </a:lnTo>
                  <a:lnTo>
                    <a:pt x="1637" y="1049"/>
                  </a:lnTo>
                  <a:lnTo>
                    <a:pt x="1588" y="1049"/>
                  </a:lnTo>
                  <a:lnTo>
                    <a:pt x="1583" y="1054"/>
                  </a:lnTo>
                  <a:lnTo>
                    <a:pt x="1588" y="1082"/>
                  </a:lnTo>
                  <a:lnTo>
                    <a:pt x="1545" y="1087"/>
                  </a:lnTo>
                  <a:lnTo>
                    <a:pt x="1571" y="1111"/>
                  </a:lnTo>
                  <a:lnTo>
                    <a:pt x="1550" y="1127"/>
                  </a:lnTo>
                  <a:lnTo>
                    <a:pt x="1545" y="1144"/>
                  </a:lnTo>
                  <a:lnTo>
                    <a:pt x="1529" y="1155"/>
                  </a:lnTo>
                  <a:lnTo>
                    <a:pt x="1503" y="1122"/>
                  </a:lnTo>
                  <a:lnTo>
                    <a:pt x="1496" y="1122"/>
                  </a:lnTo>
                  <a:lnTo>
                    <a:pt x="1503" y="1144"/>
                  </a:lnTo>
                  <a:lnTo>
                    <a:pt x="1491" y="1155"/>
                  </a:lnTo>
                  <a:lnTo>
                    <a:pt x="1512" y="1160"/>
                  </a:lnTo>
                  <a:lnTo>
                    <a:pt x="1512" y="1165"/>
                  </a:lnTo>
                  <a:lnTo>
                    <a:pt x="1448" y="1193"/>
                  </a:lnTo>
                  <a:lnTo>
                    <a:pt x="1441" y="1193"/>
                  </a:lnTo>
                  <a:lnTo>
                    <a:pt x="1441" y="1165"/>
                  </a:lnTo>
                  <a:lnTo>
                    <a:pt x="1427" y="1165"/>
                  </a:lnTo>
                  <a:lnTo>
                    <a:pt x="1420" y="1144"/>
                  </a:lnTo>
                  <a:lnTo>
                    <a:pt x="1411" y="1139"/>
                  </a:lnTo>
                  <a:lnTo>
                    <a:pt x="1404" y="1144"/>
                  </a:lnTo>
                  <a:lnTo>
                    <a:pt x="1411" y="1165"/>
                  </a:lnTo>
                  <a:lnTo>
                    <a:pt x="1404" y="1177"/>
                  </a:lnTo>
                  <a:lnTo>
                    <a:pt x="1328" y="1160"/>
                  </a:lnTo>
                  <a:lnTo>
                    <a:pt x="1297" y="1177"/>
                  </a:lnTo>
                  <a:lnTo>
                    <a:pt x="1281" y="1165"/>
                  </a:lnTo>
                  <a:lnTo>
                    <a:pt x="1302" y="1155"/>
                  </a:lnTo>
                  <a:lnTo>
                    <a:pt x="1281" y="1155"/>
                  </a:lnTo>
                  <a:lnTo>
                    <a:pt x="1297" y="1144"/>
                  </a:lnTo>
                  <a:lnTo>
                    <a:pt x="1285" y="1139"/>
                  </a:lnTo>
                  <a:lnTo>
                    <a:pt x="1259" y="1155"/>
                  </a:lnTo>
                  <a:lnTo>
                    <a:pt x="1285" y="1111"/>
                  </a:lnTo>
                  <a:lnTo>
                    <a:pt x="1366" y="1106"/>
                  </a:lnTo>
                  <a:lnTo>
                    <a:pt x="1389" y="1070"/>
                  </a:lnTo>
                  <a:lnTo>
                    <a:pt x="1441" y="1049"/>
                  </a:lnTo>
                  <a:lnTo>
                    <a:pt x="1465" y="1016"/>
                  </a:lnTo>
                  <a:lnTo>
                    <a:pt x="1517" y="988"/>
                  </a:lnTo>
                  <a:lnTo>
                    <a:pt x="1533" y="971"/>
                  </a:lnTo>
                  <a:lnTo>
                    <a:pt x="1621" y="955"/>
                  </a:lnTo>
                  <a:lnTo>
                    <a:pt x="1680" y="971"/>
                  </a:lnTo>
                  <a:lnTo>
                    <a:pt x="1675" y="962"/>
                  </a:lnTo>
                  <a:lnTo>
                    <a:pt x="1696" y="971"/>
                  </a:lnTo>
                  <a:lnTo>
                    <a:pt x="1713" y="955"/>
                  </a:lnTo>
                  <a:lnTo>
                    <a:pt x="1675" y="943"/>
                  </a:lnTo>
                  <a:lnTo>
                    <a:pt x="1718" y="933"/>
                  </a:lnTo>
                  <a:lnTo>
                    <a:pt x="1798" y="971"/>
                  </a:lnTo>
                  <a:lnTo>
                    <a:pt x="1734" y="988"/>
                  </a:lnTo>
                  <a:lnTo>
                    <a:pt x="1734" y="1000"/>
                  </a:lnTo>
                  <a:lnTo>
                    <a:pt x="1734" y="1011"/>
                  </a:lnTo>
                  <a:lnTo>
                    <a:pt x="1772" y="1028"/>
                  </a:lnTo>
                  <a:lnTo>
                    <a:pt x="1730" y="1028"/>
                  </a:lnTo>
                  <a:lnTo>
                    <a:pt x="1751" y="1049"/>
                  </a:lnTo>
                  <a:lnTo>
                    <a:pt x="1760" y="1066"/>
                  </a:lnTo>
                  <a:lnTo>
                    <a:pt x="1734" y="1082"/>
                  </a:lnTo>
                  <a:lnTo>
                    <a:pt x="1734" y="1082"/>
                  </a:lnTo>
                  <a:lnTo>
                    <a:pt x="1734" y="1082"/>
                  </a:lnTo>
                  <a:close/>
                  <a:moveTo>
                    <a:pt x="3504" y="978"/>
                  </a:moveTo>
                  <a:lnTo>
                    <a:pt x="3525" y="988"/>
                  </a:lnTo>
                  <a:lnTo>
                    <a:pt x="3508" y="995"/>
                  </a:lnTo>
                  <a:lnTo>
                    <a:pt x="3487" y="988"/>
                  </a:lnTo>
                  <a:lnTo>
                    <a:pt x="3504" y="978"/>
                  </a:lnTo>
                  <a:lnTo>
                    <a:pt x="3504" y="978"/>
                  </a:lnTo>
                  <a:lnTo>
                    <a:pt x="3504" y="978"/>
                  </a:lnTo>
                  <a:close/>
                  <a:moveTo>
                    <a:pt x="3201" y="978"/>
                  </a:moveTo>
                  <a:lnTo>
                    <a:pt x="3208" y="988"/>
                  </a:lnTo>
                  <a:lnTo>
                    <a:pt x="3185" y="978"/>
                  </a:lnTo>
                  <a:lnTo>
                    <a:pt x="3201" y="978"/>
                  </a:lnTo>
                  <a:lnTo>
                    <a:pt x="3201" y="978"/>
                  </a:lnTo>
                  <a:lnTo>
                    <a:pt x="3201" y="978"/>
                  </a:lnTo>
                  <a:close/>
                  <a:moveTo>
                    <a:pt x="2592" y="995"/>
                  </a:moveTo>
                  <a:lnTo>
                    <a:pt x="2596" y="1000"/>
                  </a:lnTo>
                  <a:lnTo>
                    <a:pt x="2570" y="1000"/>
                  </a:lnTo>
                  <a:lnTo>
                    <a:pt x="2592" y="995"/>
                  </a:lnTo>
                  <a:lnTo>
                    <a:pt x="2592" y="995"/>
                  </a:lnTo>
                  <a:lnTo>
                    <a:pt x="2592" y="995"/>
                  </a:lnTo>
                  <a:close/>
                  <a:moveTo>
                    <a:pt x="1911" y="1000"/>
                  </a:moveTo>
                  <a:lnTo>
                    <a:pt x="1895" y="995"/>
                  </a:lnTo>
                  <a:lnTo>
                    <a:pt x="1923" y="995"/>
                  </a:lnTo>
                  <a:lnTo>
                    <a:pt x="1911" y="1000"/>
                  </a:lnTo>
                  <a:lnTo>
                    <a:pt x="1911" y="1000"/>
                  </a:lnTo>
                  <a:lnTo>
                    <a:pt x="1911" y="1000"/>
                  </a:lnTo>
                  <a:close/>
                  <a:moveTo>
                    <a:pt x="3818" y="1267"/>
                  </a:moveTo>
                  <a:lnTo>
                    <a:pt x="3881" y="1255"/>
                  </a:lnTo>
                  <a:lnTo>
                    <a:pt x="3848" y="1238"/>
                  </a:lnTo>
                  <a:lnTo>
                    <a:pt x="3903" y="1233"/>
                  </a:lnTo>
                  <a:lnTo>
                    <a:pt x="3924" y="1215"/>
                  </a:lnTo>
                  <a:lnTo>
                    <a:pt x="3962" y="1222"/>
                  </a:lnTo>
                  <a:lnTo>
                    <a:pt x="3945" y="1215"/>
                  </a:lnTo>
                  <a:lnTo>
                    <a:pt x="4000" y="1193"/>
                  </a:lnTo>
                  <a:lnTo>
                    <a:pt x="4054" y="1210"/>
                  </a:lnTo>
                  <a:lnTo>
                    <a:pt x="4120" y="1193"/>
                  </a:lnTo>
                  <a:lnTo>
                    <a:pt x="4172" y="1193"/>
                  </a:lnTo>
                  <a:lnTo>
                    <a:pt x="4196" y="1198"/>
                  </a:lnTo>
                  <a:lnTo>
                    <a:pt x="4189" y="1215"/>
                  </a:lnTo>
                  <a:lnTo>
                    <a:pt x="4243" y="1215"/>
                  </a:lnTo>
                  <a:lnTo>
                    <a:pt x="4281" y="1233"/>
                  </a:lnTo>
                  <a:lnTo>
                    <a:pt x="4248" y="1250"/>
                  </a:lnTo>
                  <a:lnTo>
                    <a:pt x="4314" y="1250"/>
                  </a:lnTo>
                  <a:lnTo>
                    <a:pt x="4302" y="1250"/>
                  </a:lnTo>
                  <a:lnTo>
                    <a:pt x="4314" y="1267"/>
                  </a:lnTo>
                  <a:lnTo>
                    <a:pt x="4302" y="1271"/>
                  </a:lnTo>
                  <a:lnTo>
                    <a:pt x="4318" y="1271"/>
                  </a:lnTo>
                  <a:lnTo>
                    <a:pt x="4314" y="1288"/>
                  </a:lnTo>
                  <a:lnTo>
                    <a:pt x="4248" y="1304"/>
                  </a:lnTo>
                  <a:lnTo>
                    <a:pt x="4264" y="1309"/>
                  </a:lnTo>
                  <a:lnTo>
                    <a:pt x="4259" y="1321"/>
                  </a:lnTo>
                  <a:lnTo>
                    <a:pt x="4302" y="1309"/>
                  </a:lnTo>
                  <a:lnTo>
                    <a:pt x="4323" y="1326"/>
                  </a:lnTo>
                  <a:lnTo>
                    <a:pt x="4281" y="1342"/>
                  </a:lnTo>
                  <a:lnTo>
                    <a:pt x="4259" y="1321"/>
                  </a:lnTo>
                  <a:lnTo>
                    <a:pt x="4248" y="1326"/>
                  </a:lnTo>
                  <a:lnTo>
                    <a:pt x="4271" y="1333"/>
                  </a:lnTo>
                  <a:lnTo>
                    <a:pt x="4264" y="1378"/>
                  </a:lnTo>
                  <a:lnTo>
                    <a:pt x="4196" y="1378"/>
                  </a:lnTo>
                  <a:lnTo>
                    <a:pt x="4151" y="1387"/>
                  </a:lnTo>
                  <a:lnTo>
                    <a:pt x="4070" y="1378"/>
                  </a:lnTo>
                  <a:lnTo>
                    <a:pt x="4054" y="1359"/>
                  </a:lnTo>
                  <a:lnTo>
                    <a:pt x="4066" y="1342"/>
                  </a:lnTo>
                  <a:lnTo>
                    <a:pt x="4066" y="1333"/>
                  </a:lnTo>
                  <a:lnTo>
                    <a:pt x="4033" y="1326"/>
                  </a:lnTo>
                  <a:lnTo>
                    <a:pt x="4033" y="1333"/>
                  </a:lnTo>
                  <a:lnTo>
                    <a:pt x="4049" y="1342"/>
                  </a:lnTo>
                  <a:lnTo>
                    <a:pt x="4033" y="1378"/>
                  </a:lnTo>
                  <a:lnTo>
                    <a:pt x="3978" y="1382"/>
                  </a:lnTo>
                  <a:lnTo>
                    <a:pt x="3936" y="1382"/>
                  </a:lnTo>
                  <a:lnTo>
                    <a:pt x="3924" y="1359"/>
                  </a:lnTo>
                  <a:lnTo>
                    <a:pt x="3924" y="1366"/>
                  </a:lnTo>
                  <a:lnTo>
                    <a:pt x="3924" y="1382"/>
                  </a:lnTo>
                  <a:lnTo>
                    <a:pt x="3910" y="1382"/>
                  </a:lnTo>
                  <a:lnTo>
                    <a:pt x="3903" y="1382"/>
                  </a:lnTo>
                  <a:lnTo>
                    <a:pt x="3886" y="1359"/>
                  </a:lnTo>
                  <a:lnTo>
                    <a:pt x="3893" y="1378"/>
                  </a:lnTo>
                  <a:lnTo>
                    <a:pt x="3886" y="1382"/>
                  </a:lnTo>
                  <a:lnTo>
                    <a:pt x="3848" y="1387"/>
                  </a:lnTo>
                  <a:lnTo>
                    <a:pt x="3848" y="1378"/>
                  </a:lnTo>
                  <a:lnTo>
                    <a:pt x="3839" y="1366"/>
                  </a:lnTo>
                  <a:lnTo>
                    <a:pt x="3827" y="1387"/>
                  </a:lnTo>
                  <a:lnTo>
                    <a:pt x="3801" y="1366"/>
                  </a:lnTo>
                  <a:lnTo>
                    <a:pt x="3811" y="1387"/>
                  </a:lnTo>
                  <a:lnTo>
                    <a:pt x="3676" y="1382"/>
                  </a:lnTo>
                  <a:lnTo>
                    <a:pt x="3676" y="1366"/>
                  </a:lnTo>
                  <a:lnTo>
                    <a:pt x="3693" y="1342"/>
                  </a:lnTo>
                  <a:lnTo>
                    <a:pt x="3676" y="1326"/>
                  </a:lnTo>
                  <a:lnTo>
                    <a:pt x="3655" y="1359"/>
                  </a:lnTo>
                  <a:lnTo>
                    <a:pt x="3655" y="1342"/>
                  </a:lnTo>
                  <a:lnTo>
                    <a:pt x="3638" y="1333"/>
                  </a:lnTo>
                  <a:lnTo>
                    <a:pt x="3650" y="1342"/>
                  </a:lnTo>
                  <a:lnTo>
                    <a:pt x="3638" y="1349"/>
                  </a:lnTo>
                  <a:lnTo>
                    <a:pt x="3622" y="1349"/>
                  </a:lnTo>
                  <a:lnTo>
                    <a:pt x="3638" y="1359"/>
                  </a:lnTo>
                  <a:lnTo>
                    <a:pt x="3638" y="1366"/>
                  </a:lnTo>
                  <a:lnTo>
                    <a:pt x="3612" y="1378"/>
                  </a:lnTo>
                  <a:lnTo>
                    <a:pt x="3579" y="1382"/>
                  </a:lnTo>
                  <a:lnTo>
                    <a:pt x="3532" y="1366"/>
                  </a:lnTo>
                  <a:lnTo>
                    <a:pt x="3525" y="1349"/>
                  </a:lnTo>
                  <a:lnTo>
                    <a:pt x="3504" y="1359"/>
                  </a:lnTo>
                  <a:lnTo>
                    <a:pt x="3525" y="1326"/>
                  </a:lnTo>
                  <a:lnTo>
                    <a:pt x="3494" y="1349"/>
                  </a:lnTo>
                  <a:lnTo>
                    <a:pt x="3504" y="1366"/>
                  </a:lnTo>
                  <a:lnTo>
                    <a:pt x="3470" y="1366"/>
                  </a:lnTo>
                  <a:lnTo>
                    <a:pt x="3433" y="1342"/>
                  </a:lnTo>
                  <a:lnTo>
                    <a:pt x="3440" y="1326"/>
                  </a:lnTo>
                  <a:lnTo>
                    <a:pt x="3423" y="1304"/>
                  </a:lnTo>
                  <a:lnTo>
                    <a:pt x="3440" y="1292"/>
                  </a:lnTo>
                  <a:lnTo>
                    <a:pt x="3433" y="1288"/>
                  </a:lnTo>
                  <a:lnTo>
                    <a:pt x="3402" y="1276"/>
                  </a:lnTo>
                  <a:lnTo>
                    <a:pt x="3407" y="1250"/>
                  </a:lnTo>
                  <a:lnTo>
                    <a:pt x="3440" y="1222"/>
                  </a:lnTo>
                  <a:lnTo>
                    <a:pt x="3423" y="1210"/>
                  </a:lnTo>
                  <a:lnTo>
                    <a:pt x="3433" y="1181"/>
                  </a:lnTo>
                  <a:lnTo>
                    <a:pt x="3395" y="1165"/>
                  </a:lnTo>
                  <a:lnTo>
                    <a:pt x="3395" y="1155"/>
                  </a:lnTo>
                  <a:lnTo>
                    <a:pt x="3364" y="1111"/>
                  </a:lnTo>
                  <a:lnTo>
                    <a:pt x="3310" y="1127"/>
                  </a:lnTo>
                  <a:lnTo>
                    <a:pt x="3201" y="1127"/>
                  </a:lnTo>
                  <a:lnTo>
                    <a:pt x="3201" y="1122"/>
                  </a:lnTo>
                  <a:lnTo>
                    <a:pt x="3239" y="1122"/>
                  </a:lnTo>
                  <a:lnTo>
                    <a:pt x="3170" y="1106"/>
                  </a:lnTo>
                  <a:lnTo>
                    <a:pt x="3147" y="1087"/>
                  </a:lnTo>
                  <a:lnTo>
                    <a:pt x="3185" y="1070"/>
                  </a:lnTo>
                  <a:lnTo>
                    <a:pt x="3154" y="1082"/>
                  </a:lnTo>
                  <a:lnTo>
                    <a:pt x="3095" y="1054"/>
                  </a:lnTo>
                  <a:lnTo>
                    <a:pt x="3100" y="1044"/>
                  </a:lnTo>
                  <a:lnTo>
                    <a:pt x="3133" y="1054"/>
                  </a:lnTo>
                  <a:lnTo>
                    <a:pt x="3100" y="1033"/>
                  </a:lnTo>
                  <a:lnTo>
                    <a:pt x="3095" y="1028"/>
                  </a:lnTo>
                  <a:lnTo>
                    <a:pt x="3109" y="1028"/>
                  </a:lnTo>
                  <a:lnTo>
                    <a:pt x="3100" y="1016"/>
                  </a:lnTo>
                  <a:lnTo>
                    <a:pt x="3180" y="1011"/>
                  </a:lnTo>
                  <a:lnTo>
                    <a:pt x="3277" y="1033"/>
                  </a:lnTo>
                  <a:lnTo>
                    <a:pt x="3315" y="1028"/>
                  </a:lnTo>
                  <a:lnTo>
                    <a:pt x="3352" y="1054"/>
                  </a:lnTo>
                  <a:lnTo>
                    <a:pt x="3348" y="1087"/>
                  </a:lnTo>
                  <a:lnTo>
                    <a:pt x="3326" y="1099"/>
                  </a:lnTo>
                  <a:lnTo>
                    <a:pt x="3331" y="1111"/>
                  </a:lnTo>
                  <a:lnTo>
                    <a:pt x="3364" y="1070"/>
                  </a:lnTo>
                  <a:lnTo>
                    <a:pt x="3508" y="1070"/>
                  </a:lnTo>
                  <a:lnTo>
                    <a:pt x="3546" y="1099"/>
                  </a:lnTo>
                  <a:lnTo>
                    <a:pt x="3470" y="1087"/>
                  </a:lnTo>
                  <a:lnTo>
                    <a:pt x="3633" y="1127"/>
                  </a:lnTo>
                  <a:lnTo>
                    <a:pt x="3546" y="1144"/>
                  </a:lnTo>
                  <a:lnTo>
                    <a:pt x="3570" y="1144"/>
                  </a:lnTo>
                  <a:lnTo>
                    <a:pt x="3461" y="1127"/>
                  </a:lnTo>
                  <a:lnTo>
                    <a:pt x="3532" y="1155"/>
                  </a:lnTo>
                  <a:lnTo>
                    <a:pt x="3515" y="1160"/>
                  </a:lnTo>
                  <a:lnTo>
                    <a:pt x="3563" y="1160"/>
                  </a:lnTo>
                  <a:lnTo>
                    <a:pt x="3494" y="1160"/>
                  </a:lnTo>
                  <a:lnTo>
                    <a:pt x="3508" y="1177"/>
                  </a:lnTo>
                  <a:lnTo>
                    <a:pt x="3504" y="1177"/>
                  </a:lnTo>
                  <a:lnTo>
                    <a:pt x="3504" y="1193"/>
                  </a:lnTo>
                  <a:lnTo>
                    <a:pt x="3525" y="1165"/>
                  </a:lnTo>
                  <a:lnTo>
                    <a:pt x="3546" y="1165"/>
                  </a:lnTo>
                  <a:lnTo>
                    <a:pt x="3541" y="1181"/>
                  </a:lnTo>
                  <a:lnTo>
                    <a:pt x="3579" y="1165"/>
                  </a:lnTo>
                  <a:lnTo>
                    <a:pt x="3600" y="1181"/>
                  </a:lnTo>
                  <a:lnTo>
                    <a:pt x="3596" y="1198"/>
                  </a:lnTo>
                  <a:lnTo>
                    <a:pt x="3612" y="1181"/>
                  </a:lnTo>
                  <a:lnTo>
                    <a:pt x="3633" y="1198"/>
                  </a:lnTo>
                  <a:lnTo>
                    <a:pt x="3633" y="1222"/>
                  </a:lnTo>
                  <a:lnTo>
                    <a:pt x="3596" y="1233"/>
                  </a:lnTo>
                  <a:lnTo>
                    <a:pt x="3612" y="1233"/>
                  </a:lnTo>
                  <a:lnTo>
                    <a:pt x="3600" y="1233"/>
                  </a:lnTo>
                  <a:lnTo>
                    <a:pt x="3633" y="1222"/>
                  </a:lnTo>
                  <a:lnTo>
                    <a:pt x="3650" y="1250"/>
                  </a:lnTo>
                  <a:lnTo>
                    <a:pt x="3667" y="1250"/>
                  </a:lnTo>
                  <a:lnTo>
                    <a:pt x="3655" y="1222"/>
                  </a:lnTo>
                  <a:lnTo>
                    <a:pt x="3667" y="1215"/>
                  </a:lnTo>
                  <a:lnTo>
                    <a:pt x="3704" y="1233"/>
                  </a:lnTo>
                  <a:lnTo>
                    <a:pt x="3704" y="1238"/>
                  </a:lnTo>
                  <a:lnTo>
                    <a:pt x="3742" y="1233"/>
                  </a:lnTo>
                  <a:lnTo>
                    <a:pt x="3759" y="1238"/>
                  </a:lnTo>
                  <a:lnTo>
                    <a:pt x="3747" y="1250"/>
                  </a:lnTo>
                  <a:lnTo>
                    <a:pt x="3759" y="1238"/>
                  </a:lnTo>
                  <a:lnTo>
                    <a:pt x="3759" y="1233"/>
                  </a:lnTo>
                  <a:lnTo>
                    <a:pt x="3763" y="1222"/>
                  </a:lnTo>
                  <a:lnTo>
                    <a:pt x="3773" y="1222"/>
                  </a:lnTo>
                  <a:lnTo>
                    <a:pt x="3834" y="1250"/>
                  </a:lnTo>
                  <a:lnTo>
                    <a:pt x="3818" y="1267"/>
                  </a:lnTo>
                  <a:lnTo>
                    <a:pt x="3818" y="1267"/>
                  </a:lnTo>
                  <a:lnTo>
                    <a:pt x="3818" y="1267"/>
                  </a:lnTo>
                  <a:close/>
                  <a:moveTo>
                    <a:pt x="3071" y="1011"/>
                  </a:moveTo>
                  <a:lnTo>
                    <a:pt x="3078" y="1016"/>
                  </a:lnTo>
                  <a:lnTo>
                    <a:pt x="3057" y="1016"/>
                  </a:lnTo>
                  <a:lnTo>
                    <a:pt x="3071" y="1011"/>
                  </a:lnTo>
                  <a:lnTo>
                    <a:pt x="3071" y="1011"/>
                  </a:lnTo>
                  <a:lnTo>
                    <a:pt x="3071" y="1011"/>
                  </a:lnTo>
                  <a:close/>
                  <a:moveTo>
                    <a:pt x="2230" y="1028"/>
                  </a:moveTo>
                  <a:lnTo>
                    <a:pt x="2235" y="1033"/>
                  </a:lnTo>
                  <a:lnTo>
                    <a:pt x="2219" y="1028"/>
                  </a:lnTo>
                  <a:lnTo>
                    <a:pt x="2230" y="1028"/>
                  </a:lnTo>
                  <a:lnTo>
                    <a:pt x="2230" y="1028"/>
                  </a:lnTo>
                  <a:lnTo>
                    <a:pt x="2230" y="1028"/>
                  </a:lnTo>
                  <a:close/>
                  <a:moveTo>
                    <a:pt x="1890" y="1066"/>
                  </a:moveTo>
                  <a:lnTo>
                    <a:pt x="1836" y="1049"/>
                  </a:lnTo>
                  <a:lnTo>
                    <a:pt x="1852" y="1033"/>
                  </a:lnTo>
                  <a:lnTo>
                    <a:pt x="1907" y="1033"/>
                  </a:lnTo>
                  <a:lnTo>
                    <a:pt x="1933" y="1049"/>
                  </a:lnTo>
                  <a:lnTo>
                    <a:pt x="1890" y="1066"/>
                  </a:lnTo>
                  <a:lnTo>
                    <a:pt x="1890" y="1066"/>
                  </a:lnTo>
                  <a:lnTo>
                    <a:pt x="1890" y="1066"/>
                  </a:lnTo>
                  <a:close/>
                  <a:moveTo>
                    <a:pt x="3078" y="1044"/>
                  </a:moveTo>
                  <a:lnTo>
                    <a:pt x="3083" y="1044"/>
                  </a:lnTo>
                  <a:lnTo>
                    <a:pt x="3071" y="1044"/>
                  </a:lnTo>
                  <a:lnTo>
                    <a:pt x="3078" y="1044"/>
                  </a:lnTo>
                  <a:lnTo>
                    <a:pt x="3078" y="1044"/>
                  </a:lnTo>
                  <a:lnTo>
                    <a:pt x="3078" y="1044"/>
                  </a:lnTo>
                  <a:close/>
                  <a:moveTo>
                    <a:pt x="2058" y="1309"/>
                  </a:moveTo>
                  <a:lnTo>
                    <a:pt x="2112" y="1276"/>
                  </a:lnTo>
                  <a:lnTo>
                    <a:pt x="2004" y="1292"/>
                  </a:lnTo>
                  <a:lnTo>
                    <a:pt x="2015" y="1276"/>
                  </a:lnTo>
                  <a:lnTo>
                    <a:pt x="1987" y="1288"/>
                  </a:lnTo>
                  <a:lnTo>
                    <a:pt x="1987" y="1271"/>
                  </a:lnTo>
                  <a:lnTo>
                    <a:pt x="1982" y="1292"/>
                  </a:lnTo>
                  <a:lnTo>
                    <a:pt x="1978" y="1292"/>
                  </a:lnTo>
                  <a:lnTo>
                    <a:pt x="1895" y="1304"/>
                  </a:lnTo>
                  <a:lnTo>
                    <a:pt x="1895" y="1292"/>
                  </a:lnTo>
                  <a:lnTo>
                    <a:pt x="1907" y="1267"/>
                  </a:lnTo>
                  <a:lnTo>
                    <a:pt x="1944" y="1255"/>
                  </a:lnTo>
                  <a:lnTo>
                    <a:pt x="1895" y="1255"/>
                  </a:lnTo>
                  <a:lnTo>
                    <a:pt x="1890" y="1250"/>
                  </a:lnTo>
                  <a:lnTo>
                    <a:pt x="1890" y="1267"/>
                  </a:lnTo>
                  <a:lnTo>
                    <a:pt x="1878" y="1276"/>
                  </a:lnTo>
                  <a:lnTo>
                    <a:pt x="1852" y="1271"/>
                  </a:lnTo>
                  <a:lnTo>
                    <a:pt x="1874" y="1288"/>
                  </a:lnTo>
                  <a:lnTo>
                    <a:pt x="1869" y="1304"/>
                  </a:lnTo>
                  <a:lnTo>
                    <a:pt x="1819" y="1321"/>
                  </a:lnTo>
                  <a:lnTo>
                    <a:pt x="1815" y="1309"/>
                  </a:lnTo>
                  <a:lnTo>
                    <a:pt x="1815" y="1292"/>
                  </a:lnTo>
                  <a:lnTo>
                    <a:pt x="1803" y="1288"/>
                  </a:lnTo>
                  <a:lnTo>
                    <a:pt x="1798" y="1292"/>
                  </a:lnTo>
                  <a:lnTo>
                    <a:pt x="1782" y="1292"/>
                  </a:lnTo>
                  <a:lnTo>
                    <a:pt x="1789" y="1309"/>
                  </a:lnTo>
                  <a:lnTo>
                    <a:pt x="1772" y="1321"/>
                  </a:lnTo>
                  <a:lnTo>
                    <a:pt x="1744" y="1304"/>
                  </a:lnTo>
                  <a:lnTo>
                    <a:pt x="1734" y="1292"/>
                  </a:lnTo>
                  <a:lnTo>
                    <a:pt x="1734" y="1276"/>
                  </a:lnTo>
                  <a:lnTo>
                    <a:pt x="1706" y="1292"/>
                  </a:lnTo>
                  <a:lnTo>
                    <a:pt x="1637" y="1276"/>
                  </a:lnTo>
                  <a:lnTo>
                    <a:pt x="1663" y="1238"/>
                  </a:lnTo>
                  <a:lnTo>
                    <a:pt x="1751" y="1238"/>
                  </a:lnTo>
                  <a:lnTo>
                    <a:pt x="1826" y="1210"/>
                  </a:lnTo>
                  <a:lnTo>
                    <a:pt x="1730" y="1233"/>
                  </a:lnTo>
                  <a:lnTo>
                    <a:pt x="1663" y="1222"/>
                  </a:lnTo>
                  <a:lnTo>
                    <a:pt x="1696" y="1198"/>
                  </a:lnTo>
                  <a:lnTo>
                    <a:pt x="1836" y="1181"/>
                  </a:lnTo>
                  <a:lnTo>
                    <a:pt x="1706" y="1177"/>
                  </a:lnTo>
                  <a:lnTo>
                    <a:pt x="1718" y="1165"/>
                  </a:lnTo>
                  <a:lnTo>
                    <a:pt x="1706" y="1160"/>
                  </a:lnTo>
                  <a:lnTo>
                    <a:pt x="1713" y="1155"/>
                  </a:lnTo>
                  <a:lnTo>
                    <a:pt x="1734" y="1139"/>
                  </a:lnTo>
                  <a:lnTo>
                    <a:pt x="1852" y="1144"/>
                  </a:lnTo>
                  <a:lnTo>
                    <a:pt x="1760" y="1122"/>
                  </a:lnTo>
                  <a:lnTo>
                    <a:pt x="1789" y="1099"/>
                  </a:lnTo>
                  <a:lnTo>
                    <a:pt x="1826" y="1087"/>
                  </a:lnTo>
                  <a:lnTo>
                    <a:pt x="1878" y="1099"/>
                  </a:lnTo>
                  <a:lnTo>
                    <a:pt x="1878" y="1122"/>
                  </a:lnTo>
                  <a:lnTo>
                    <a:pt x="1895" y="1139"/>
                  </a:lnTo>
                  <a:lnTo>
                    <a:pt x="1966" y="1127"/>
                  </a:lnTo>
                  <a:lnTo>
                    <a:pt x="2004" y="1139"/>
                  </a:lnTo>
                  <a:lnTo>
                    <a:pt x="1999" y="1155"/>
                  </a:lnTo>
                  <a:lnTo>
                    <a:pt x="2004" y="1160"/>
                  </a:lnTo>
                  <a:lnTo>
                    <a:pt x="2053" y="1177"/>
                  </a:lnTo>
                  <a:lnTo>
                    <a:pt x="2020" y="1193"/>
                  </a:lnTo>
                  <a:lnTo>
                    <a:pt x="2074" y="1193"/>
                  </a:lnTo>
                  <a:lnTo>
                    <a:pt x="2084" y="1210"/>
                  </a:lnTo>
                  <a:lnTo>
                    <a:pt x="2074" y="1222"/>
                  </a:lnTo>
                  <a:lnTo>
                    <a:pt x="2091" y="1238"/>
                  </a:lnTo>
                  <a:lnTo>
                    <a:pt x="2143" y="1233"/>
                  </a:lnTo>
                  <a:lnTo>
                    <a:pt x="2252" y="1238"/>
                  </a:lnTo>
                  <a:lnTo>
                    <a:pt x="2263" y="1215"/>
                  </a:lnTo>
                  <a:lnTo>
                    <a:pt x="2167" y="1181"/>
                  </a:lnTo>
                  <a:lnTo>
                    <a:pt x="2197" y="1177"/>
                  </a:lnTo>
                  <a:lnTo>
                    <a:pt x="2219" y="1155"/>
                  </a:lnTo>
                  <a:lnTo>
                    <a:pt x="2155" y="1122"/>
                  </a:lnTo>
                  <a:lnTo>
                    <a:pt x="2143" y="1106"/>
                  </a:lnTo>
                  <a:lnTo>
                    <a:pt x="2197" y="1087"/>
                  </a:lnTo>
                  <a:lnTo>
                    <a:pt x="2181" y="1087"/>
                  </a:lnTo>
                  <a:lnTo>
                    <a:pt x="2219" y="1049"/>
                  </a:lnTo>
                  <a:lnTo>
                    <a:pt x="2263" y="1044"/>
                  </a:lnTo>
                  <a:lnTo>
                    <a:pt x="2285" y="1054"/>
                  </a:lnTo>
                  <a:lnTo>
                    <a:pt x="2268" y="1070"/>
                  </a:lnTo>
                  <a:lnTo>
                    <a:pt x="2273" y="1106"/>
                  </a:lnTo>
                  <a:lnTo>
                    <a:pt x="2306" y="1122"/>
                  </a:lnTo>
                  <a:lnTo>
                    <a:pt x="2285" y="1144"/>
                  </a:lnTo>
                  <a:lnTo>
                    <a:pt x="2289" y="1160"/>
                  </a:lnTo>
                  <a:lnTo>
                    <a:pt x="2327" y="1160"/>
                  </a:lnTo>
                  <a:lnTo>
                    <a:pt x="2344" y="1165"/>
                  </a:lnTo>
                  <a:lnTo>
                    <a:pt x="2318" y="1198"/>
                  </a:lnTo>
                  <a:lnTo>
                    <a:pt x="2339" y="1181"/>
                  </a:lnTo>
                  <a:lnTo>
                    <a:pt x="2377" y="1181"/>
                  </a:lnTo>
                  <a:lnTo>
                    <a:pt x="2393" y="1210"/>
                  </a:lnTo>
                  <a:lnTo>
                    <a:pt x="2415" y="1198"/>
                  </a:lnTo>
                  <a:lnTo>
                    <a:pt x="2393" y="1193"/>
                  </a:lnTo>
                  <a:lnTo>
                    <a:pt x="2393" y="1165"/>
                  </a:lnTo>
                  <a:lnTo>
                    <a:pt x="2431" y="1160"/>
                  </a:lnTo>
                  <a:lnTo>
                    <a:pt x="2483" y="1177"/>
                  </a:lnTo>
                  <a:lnTo>
                    <a:pt x="2490" y="1193"/>
                  </a:lnTo>
                  <a:lnTo>
                    <a:pt x="2500" y="1215"/>
                  </a:lnTo>
                  <a:lnTo>
                    <a:pt x="2478" y="1238"/>
                  </a:lnTo>
                  <a:lnTo>
                    <a:pt x="2483" y="1250"/>
                  </a:lnTo>
                  <a:lnTo>
                    <a:pt x="2478" y="1267"/>
                  </a:lnTo>
                  <a:lnTo>
                    <a:pt x="2462" y="1276"/>
                  </a:lnTo>
                  <a:lnTo>
                    <a:pt x="2462" y="1292"/>
                  </a:lnTo>
                  <a:lnTo>
                    <a:pt x="2452" y="1292"/>
                  </a:lnTo>
                  <a:lnTo>
                    <a:pt x="2452" y="1304"/>
                  </a:lnTo>
                  <a:lnTo>
                    <a:pt x="2393" y="1326"/>
                  </a:lnTo>
                  <a:lnTo>
                    <a:pt x="2339" y="1321"/>
                  </a:lnTo>
                  <a:lnTo>
                    <a:pt x="2327" y="1292"/>
                  </a:lnTo>
                  <a:lnTo>
                    <a:pt x="2322" y="1321"/>
                  </a:lnTo>
                  <a:lnTo>
                    <a:pt x="2289" y="1326"/>
                  </a:lnTo>
                  <a:lnTo>
                    <a:pt x="2263" y="1309"/>
                  </a:lnTo>
                  <a:lnTo>
                    <a:pt x="2285" y="1321"/>
                  </a:lnTo>
                  <a:lnTo>
                    <a:pt x="2263" y="1304"/>
                  </a:lnTo>
                  <a:lnTo>
                    <a:pt x="2209" y="1333"/>
                  </a:lnTo>
                  <a:lnTo>
                    <a:pt x="2155" y="1333"/>
                  </a:lnTo>
                  <a:lnTo>
                    <a:pt x="2122" y="1359"/>
                  </a:lnTo>
                  <a:lnTo>
                    <a:pt x="2058" y="1382"/>
                  </a:lnTo>
                  <a:lnTo>
                    <a:pt x="1982" y="1399"/>
                  </a:lnTo>
                  <a:lnTo>
                    <a:pt x="1911" y="1387"/>
                  </a:lnTo>
                  <a:lnTo>
                    <a:pt x="1869" y="1359"/>
                  </a:lnTo>
                  <a:lnTo>
                    <a:pt x="1978" y="1321"/>
                  </a:lnTo>
                  <a:lnTo>
                    <a:pt x="2058" y="1309"/>
                  </a:lnTo>
                  <a:lnTo>
                    <a:pt x="2058" y="1309"/>
                  </a:lnTo>
                  <a:lnTo>
                    <a:pt x="2058" y="1309"/>
                  </a:lnTo>
                  <a:close/>
                  <a:moveTo>
                    <a:pt x="3579" y="1099"/>
                  </a:moveTo>
                  <a:lnTo>
                    <a:pt x="3532" y="1054"/>
                  </a:lnTo>
                  <a:lnTo>
                    <a:pt x="3579" y="1044"/>
                  </a:lnTo>
                  <a:lnTo>
                    <a:pt x="3600" y="1054"/>
                  </a:lnTo>
                  <a:lnTo>
                    <a:pt x="3584" y="1070"/>
                  </a:lnTo>
                  <a:lnTo>
                    <a:pt x="3600" y="1087"/>
                  </a:lnTo>
                  <a:lnTo>
                    <a:pt x="3579" y="1099"/>
                  </a:lnTo>
                  <a:lnTo>
                    <a:pt x="3579" y="1099"/>
                  </a:lnTo>
                  <a:lnTo>
                    <a:pt x="3579" y="1099"/>
                  </a:lnTo>
                  <a:close/>
                  <a:moveTo>
                    <a:pt x="2856" y="1054"/>
                  </a:moveTo>
                  <a:lnTo>
                    <a:pt x="2785" y="1082"/>
                  </a:lnTo>
                  <a:lnTo>
                    <a:pt x="2759" y="1082"/>
                  </a:lnTo>
                  <a:lnTo>
                    <a:pt x="2823" y="1054"/>
                  </a:lnTo>
                  <a:lnTo>
                    <a:pt x="2856" y="1054"/>
                  </a:lnTo>
                  <a:lnTo>
                    <a:pt x="2856" y="1054"/>
                  </a:lnTo>
                  <a:lnTo>
                    <a:pt x="2856" y="1054"/>
                  </a:lnTo>
                  <a:close/>
                  <a:moveTo>
                    <a:pt x="1404" y="1054"/>
                  </a:moveTo>
                  <a:lnTo>
                    <a:pt x="1411" y="1054"/>
                  </a:lnTo>
                  <a:lnTo>
                    <a:pt x="1389" y="1054"/>
                  </a:lnTo>
                  <a:lnTo>
                    <a:pt x="1404" y="1054"/>
                  </a:lnTo>
                  <a:lnTo>
                    <a:pt x="1404" y="1054"/>
                  </a:lnTo>
                  <a:lnTo>
                    <a:pt x="1404" y="1054"/>
                  </a:lnTo>
                  <a:close/>
                  <a:moveTo>
                    <a:pt x="2911" y="1054"/>
                  </a:moveTo>
                  <a:lnTo>
                    <a:pt x="2915" y="1066"/>
                  </a:lnTo>
                  <a:lnTo>
                    <a:pt x="2868" y="1054"/>
                  </a:lnTo>
                  <a:lnTo>
                    <a:pt x="2911" y="1054"/>
                  </a:lnTo>
                  <a:lnTo>
                    <a:pt x="2911" y="1054"/>
                  </a:lnTo>
                  <a:lnTo>
                    <a:pt x="2911" y="1054"/>
                  </a:lnTo>
                  <a:close/>
                  <a:moveTo>
                    <a:pt x="2899" y="1155"/>
                  </a:moveTo>
                  <a:lnTo>
                    <a:pt x="2915" y="1144"/>
                  </a:lnTo>
                  <a:lnTo>
                    <a:pt x="2844" y="1139"/>
                  </a:lnTo>
                  <a:lnTo>
                    <a:pt x="2840" y="1127"/>
                  </a:lnTo>
                  <a:lnTo>
                    <a:pt x="2882" y="1122"/>
                  </a:lnTo>
                  <a:lnTo>
                    <a:pt x="2830" y="1111"/>
                  </a:lnTo>
                  <a:lnTo>
                    <a:pt x="2807" y="1087"/>
                  </a:lnTo>
                  <a:lnTo>
                    <a:pt x="2856" y="1070"/>
                  </a:lnTo>
                  <a:lnTo>
                    <a:pt x="2899" y="1070"/>
                  </a:lnTo>
                  <a:lnTo>
                    <a:pt x="2937" y="1106"/>
                  </a:lnTo>
                  <a:lnTo>
                    <a:pt x="2937" y="1099"/>
                  </a:lnTo>
                  <a:lnTo>
                    <a:pt x="2953" y="1106"/>
                  </a:lnTo>
                  <a:lnTo>
                    <a:pt x="2948" y="1087"/>
                  </a:lnTo>
                  <a:lnTo>
                    <a:pt x="2948" y="1070"/>
                  </a:lnTo>
                  <a:lnTo>
                    <a:pt x="2986" y="1070"/>
                  </a:lnTo>
                  <a:lnTo>
                    <a:pt x="2953" y="1066"/>
                  </a:lnTo>
                  <a:lnTo>
                    <a:pt x="2970" y="1066"/>
                  </a:lnTo>
                  <a:lnTo>
                    <a:pt x="3029" y="1087"/>
                  </a:lnTo>
                  <a:lnTo>
                    <a:pt x="3041" y="1106"/>
                  </a:lnTo>
                  <a:lnTo>
                    <a:pt x="3029" y="1111"/>
                  </a:lnTo>
                  <a:lnTo>
                    <a:pt x="3041" y="1127"/>
                  </a:lnTo>
                  <a:lnTo>
                    <a:pt x="3057" y="1144"/>
                  </a:lnTo>
                  <a:lnTo>
                    <a:pt x="3041" y="1165"/>
                  </a:lnTo>
                  <a:lnTo>
                    <a:pt x="3045" y="1193"/>
                  </a:lnTo>
                  <a:lnTo>
                    <a:pt x="3024" y="1210"/>
                  </a:lnTo>
                  <a:lnTo>
                    <a:pt x="3062" y="1215"/>
                  </a:lnTo>
                  <a:lnTo>
                    <a:pt x="3057" y="1238"/>
                  </a:lnTo>
                  <a:lnTo>
                    <a:pt x="3071" y="1255"/>
                  </a:lnTo>
                  <a:lnTo>
                    <a:pt x="3041" y="1233"/>
                  </a:lnTo>
                  <a:lnTo>
                    <a:pt x="3029" y="1233"/>
                  </a:lnTo>
                  <a:lnTo>
                    <a:pt x="3029" y="1250"/>
                  </a:lnTo>
                  <a:lnTo>
                    <a:pt x="3019" y="1238"/>
                  </a:lnTo>
                  <a:lnTo>
                    <a:pt x="3029" y="1250"/>
                  </a:lnTo>
                  <a:lnTo>
                    <a:pt x="3019" y="1255"/>
                  </a:lnTo>
                  <a:lnTo>
                    <a:pt x="3024" y="1255"/>
                  </a:lnTo>
                  <a:lnTo>
                    <a:pt x="3007" y="1255"/>
                  </a:lnTo>
                  <a:lnTo>
                    <a:pt x="3007" y="1271"/>
                  </a:lnTo>
                  <a:lnTo>
                    <a:pt x="3045" y="1288"/>
                  </a:lnTo>
                  <a:lnTo>
                    <a:pt x="3024" y="1292"/>
                  </a:lnTo>
                  <a:lnTo>
                    <a:pt x="3019" y="1276"/>
                  </a:lnTo>
                  <a:lnTo>
                    <a:pt x="3007" y="1288"/>
                  </a:lnTo>
                  <a:lnTo>
                    <a:pt x="3019" y="1292"/>
                  </a:lnTo>
                  <a:lnTo>
                    <a:pt x="3019" y="1309"/>
                  </a:lnTo>
                  <a:lnTo>
                    <a:pt x="2915" y="1309"/>
                  </a:lnTo>
                  <a:lnTo>
                    <a:pt x="2920" y="1292"/>
                  </a:lnTo>
                  <a:lnTo>
                    <a:pt x="2911" y="1309"/>
                  </a:lnTo>
                  <a:lnTo>
                    <a:pt x="2915" y="1309"/>
                  </a:lnTo>
                  <a:lnTo>
                    <a:pt x="2868" y="1309"/>
                  </a:lnTo>
                  <a:lnTo>
                    <a:pt x="2844" y="1309"/>
                  </a:lnTo>
                  <a:lnTo>
                    <a:pt x="2844" y="1288"/>
                  </a:lnTo>
                  <a:lnTo>
                    <a:pt x="2840" y="1288"/>
                  </a:lnTo>
                  <a:lnTo>
                    <a:pt x="2878" y="1276"/>
                  </a:lnTo>
                  <a:lnTo>
                    <a:pt x="2823" y="1267"/>
                  </a:lnTo>
                  <a:lnTo>
                    <a:pt x="2844" y="1255"/>
                  </a:lnTo>
                  <a:lnTo>
                    <a:pt x="2830" y="1250"/>
                  </a:lnTo>
                  <a:lnTo>
                    <a:pt x="2878" y="1250"/>
                  </a:lnTo>
                  <a:lnTo>
                    <a:pt x="2856" y="1238"/>
                  </a:lnTo>
                  <a:lnTo>
                    <a:pt x="2899" y="1222"/>
                  </a:lnTo>
                  <a:lnTo>
                    <a:pt x="2882" y="1222"/>
                  </a:lnTo>
                  <a:lnTo>
                    <a:pt x="2894" y="1215"/>
                  </a:lnTo>
                  <a:lnTo>
                    <a:pt x="2953" y="1210"/>
                  </a:lnTo>
                  <a:lnTo>
                    <a:pt x="2700" y="1238"/>
                  </a:lnTo>
                  <a:lnTo>
                    <a:pt x="2679" y="1222"/>
                  </a:lnTo>
                  <a:lnTo>
                    <a:pt x="2700" y="1210"/>
                  </a:lnTo>
                  <a:lnTo>
                    <a:pt x="2738" y="1210"/>
                  </a:lnTo>
                  <a:lnTo>
                    <a:pt x="2731" y="1198"/>
                  </a:lnTo>
                  <a:lnTo>
                    <a:pt x="2705" y="1198"/>
                  </a:lnTo>
                  <a:lnTo>
                    <a:pt x="2722" y="1181"/>
                  </a:lnTo>
                  <a:lnTo>
                    <a:pt x="2793" y="1198"/>
                  </a:lnTo>
                  <a:lnTo>
                    <a:pt x="2785" y="1198"/>
                  </a:lnTo>
                  <a:lnTo>
                    <a:pt x="2785" y="1193"/>
                  </a:lnTo>
                  <a:lnTo>
                    <a:pt x="2769" y="1177"/>
                  </a:lnTo>
                  <a:lnTo>
                    <a:pt x="2785" y="1160"/>
                  </a:lnTo>
                  <a:lnTo>
                    <a:pt x="2759" y="1165"/>
                  </a:lnTo>
                  <a:lnTo>
                    <a:pt x="2748" y="1155"/>
                  </a:lnTo>
                  <a:lnTo>
                    <a:pt x="2776" y="1127"/>
                  </a:lnTo>
                  <a:lnTo>
                    <a:pt x="2722" y="1127"/>
                  </a:lnTo>
                  <a:lnTo>
                    <a:pt x="2731" y="1127"/>
                  </a:lnTo>
                  <a:lnTo>
                    <a:pt x="2731" y="1106"/>
                  </a:lnTo>
                  <a:lnTo>
                    <a:pt x="2748" y="1099"/>
                  </a:lnTo>
                  <a:lnTo>
                    <a:pt x="2785" y="1106"/>
                  </a:lnTo>
                  <a:lnTo>
                    <a:pt x="2878" y="1181"/>
                  </a:lnTo>
                  <a:lnTo>
                    <a:pt x="2915" y="1165"/>
                  </a:lnTo>
                  <a:lnTo>
                    <a:pt x="2882" y="1177"/>
                  </a:lnTo>
                  <a:lnTo>
                    <a:pt x="2861" y="1144"/>
                  </a:lnTo>
                  <a:lnTo>
                    <a:pt x="2899" y="1155"/>
                  </a:lnTo>
                  <a:lnTo>
                    <a:pt x="2899" y="1155"/>
                  </a:lnTo>
                  <a:lnTo>
                    <a:pt x="2899" y="1155"/>
                  </a:lnTo>
                  <a:close/>
                  <a:moveTo>
                    <a:pt x="2587" y="1066"/>
                  </a:moveTo>
                  <a:lnTo>
                    <a:pt x="2596" y="1070"/>
                  </a:lnTo>
                  <a:lnTo>
                    <a:pt x="2592" y="1082"/>
                  </a:lnTo>
                  <a:lnTo>
                    <a:pt x="2608" y="1070"/>
                  </a:lnTo>
                  <a:lnTo>
                    <a:pt x="2667" y="1106"/>
                  </a:lnTo>
                  <a:lnTo>
                    <a:pt x="2630" y="1122"/>
                  </a:lnTo>
                  <a:lnTo>
                    <a:pt x="2570" y="1122"/>
                  </a:lnTo>
                  <a:lnTo>
                    <a:pt x="2575" y="1111"/>
                  </a:lnTo>
                  <a:lnTo>
                    <a:pt x="2570" y="1099"/>
                  </a:lnTo>
                  <a:lnTo>
                    <a:pt x="2542" y="1082"/>
                  </a:lnTo>
                  <a:lnTo>
                    <a:pt x="2587" y="1066"/>
                  </a:lnTo>
                  <a:lnTo>
                    <a:pt x="2587" y="1066"/>
                  </a:lnTo>
                  <a:lnTo>
                    <a:pt x="2587" y="1066"/>
                  </a:lnTo>
                  <a:close/>
                  <a:moveTo>
                    <a:pt x="3990" y="1087"/>
                  </a:moveTo>
                  <a:lnTo>
                    <a:pt x="4000" y="1099"/>
                  </a:lnTo>
                  <a:lnTo>
                    <a:pt x="3990" y="1099"/>
                  </a:lnTo>
                  <a:lnTo>
                    <a:pt x="3990" y="1087"/>
                  </a:lnTo>
                  <a:lnTo>
                    <a:pt x="3990" y="1087"/>
                  </a:lnTo>
                  <a:lnTo>
                    <a:pt x="3990" y="1087"/>
                  </a:lnTo>
                  <a:close/>
                  <a:moveTo>
                    <a:pt x="3612" y="1099"/>
                  </a:moveTo>
                  <a:lnTo>
                    <a:pt x="3617" y="1099"/>
                  </a:lnTo>
                  <a:lnTo>
                    <a:pt x="3600" y="1099"/>
                  </a:lnTo>
                  <a:lnTo>
                    <a:pt x="3612" y="1099"/>
                  </a:lnTo>
                  <a:lnTo>
                    <a:pt x="3612" y="1099"/>
                  </a:lnTo>
                  <a:lnTo>
                    <a:pt x="3612" y="1099"/>
                  </a:lnTo>
                  <a:close/>
                  <a:moveTo>
                    <a:pt x="2693" y="1122"/>
                  </a:moveTo>
                  <a:lnTo>
                    <a:pt x="2700" y="1139"/>
                  </a:lnTo>
                  <a:lnTo>
                    <a:pt x="2693" y="1144"/>
                  </a:lnTo>
                  <a:lnTo>
                    <a:pt x="2646" y="1160"/>
                  </a:lnTo>
                  <a:lnTo>
                    <a:pt x="2596" y="1160"/>
                  </a:lnTo>
                  <a:lnTo>
                    <a:pt x="2608" y="1160"/>
                  </a:lnTo>
                  <a:lnTo>
                    <a:pt x="2559" y="1144"/>
                  </a:lnTo>
                  <a:lnTo>
                    <a:pt x="2575" y="1139"/>
                  </a:lnTo>
                  <a:lnTo>
                    <a:pt x="2693" y="1122"/>
                  </a:lnTo>
                  <a:lnTo>
                    <a:pt x="2693" y="1122"/>
                  </a:lnTo>
                  <a:lnTo>
                    <a:pt x="2693" y="1122"/>
                  </a:lnTo>
                  <a:close/>
                  <a:moveTo>
                    <a:pt x="3239" y="1144"/>
                  </a:moveTo>
                  <a:lnTo>
                    <a:pt x="3234" y="1160"/>
                  </a:lnTo>
                  <a:lnTo>
                    <a:pt x="3218" y="1155"/>
                  </a:lnTo>
                  <a:lnTo>
                    <a:pt x="3239" y="1144"/>
                  </a:lnTo>
                  <a:lnTo>
                    <a:pt x="3239" y="1144"/>
                  </a:lnTo>
                  <a:lnTo>
                    <a:pt x="3239" y="1144"/>
                  </a:lnTo>
                  <a:close/>
                  <a:moveTo>
                    <a:pt x="4356" y="1155"/>
                  </a:moveTo>
                  <a:lnTo>
                    <a:pt x="4368" y="1155"/>
                  </a:lnTo>
                  <a:lnTo>
                    <a:pt x="4335" y="1177"/>
                  </a:lnTo>
                  <a:lnTo>
                    <a:pt x="4356" y="1193"/>
                  </a:lnTo>
                  <a:lnTo>
                    <a:pt x="4323" y="1181"/>
                  </a:lnTo>
                  <a:lnTo>
                    <a:pt x="4318" y="1193"/>
                  </a:lnTo>
                  <a:lnTo>
                    <a:pt x="4297" y="1181"/>
                  </a:lnTo>
                  <a:lnTo>
                    <a:pt x="4356" y="1155"/>
                  </a:lnTo>
                  <a:lnTo>
                    <a:pt x="4356" y="1155"/>
                  </a:lnTo>
                  <a:lnTo>
                    <a:pt x="4356" y="1155"/>
                  </a:lnTo>
                  <a:close/>
                  <a:moveTo>
                    <a:pt x="1642" y="1155"/>
                  </a:moveTo>
                  <a:lnTo>
                    <a:pt x="1654" y="1155"/>
                  </a:lnTo>
                  <a:lnTo>
                    <a:pt x="1588" y="1233"/>
                  </a:lnTo>
                  <a:lnTo>
                    <a:pt x="1571" y="1238"/>
                  </a:lnTo>
                  <a:lnTo>
                    <a:pt x="1512" y="1222"/>
                  </a:lnTo>
                  <a:lnTo>
                    <a:pt x="1571" y="1177"/>
                  </a:lnTo>
                  <a:lnTo>
                    <a:pt x="1642" y="1155"/>
                  </a:lnTo>
                  <a:lnTo>
                    <a:pt x="1642" y="1155"/>
                  </a:lnTo>
                  <a:lnTo>
                    <a:pt x="1642" y="1155"/>
                  </a:lnTo>
                  <a:close/>
                  <a:moveTo>
                    <a:pt x="2717" y="1155"/>
                  </a:moveTo>
                  <a:lnTo>
                    <a:pt x="2705" y="1165"/>
                  </a:lnTo>
                  <a:lnTo>
                    <a:pt x="2646" y="1177"/>
                  </a:lnTo>
                  <a:lnTo>
                    <a:pt x="2596" y="1177"/>
                  </a:lnTo>
                  <a:lnTo>
                    <a:pt x="2717" y="1155"/>
                  </a:lnTo>
                  <a:lnTo>
                    <a:pt x="2717" y="1155"/>
                  </a:lnTo>
                  <a:lnTo>
                    <a:pt x="2717" y="1155"/>
                  </a:lnTo>
                  <a:close/>
                  <a:moveTo>
                    <a:pt x="1276" y="1160"/>
                  </a:moveTo>
                  <a:lnTo>
                    <a:pt x="1285" y="1160"/>
                  </a:lnTo>
                  <a:lnTo>
                    <a:pt x="1276" y="1165"/>
                  </a:lnTo>
                  <a:lnTo>
                    <a:pt x="1276" y="1160"/>
                  </a:lnTo>
                  <a:lnTo>
                    <a:pt x="1276" y="1160"/>
                  </a:lnTo>
                  <a:lnTo>
                    <a:pt x="1276" y="1160"/>
                  </a:lnTo>
                  <a:close/>
                  <a:moveTo>
                    <a:pt x="2738" y="1177"/>
                  </a:moveTo>
                  <a:lnTo>
                    <a:pt x="2693" y="1198"/>
                  </a:lnTo>
                  <a:lnTo>
                    <a:pt x="2641" y="1198"/>
                  </a:lnTo>
                  <a:lnTo>
                    <a:pt x="2684" y="1177"/>
                  </a:lnTo>
                  <a:lnTo>
                    <a:pt x="2738" y="1177"/>
                  </a:lnTo>
                  <a:lnTo>
                    <a:pt x="2738" y="1177"/>
                  </a:lnTo>
                  <a:lnTo>
                    <a:pt x="2738" y="1177"/>
                  </a:lnTo>
                  <a:close/>
                  <a:moveTo>
                    <a:pt x="3260" y="1165"/>
                  </a:moveTo>
                  <a:lnTo>
                    <a:pt x="3277" y="1198"/>
                  </a:lnTo>
                  <a:lnTo>
                    <a:pt x="3244" y="1198"/>
                  </a:lnTo>
                  <a:lnTo>
                    <a:pt x="3234" y="1177"/>
                  </a:lnTo>
                  <a:lnTo>
                    <a:pt x="3260" y="1165"/>
                  </a:lnTo>
                  <a:lnTo>
                    <a:pt x="3260" y="1165"/>
                  </a:lnTo>
                  <a:lnTo>
                    <a:pt x="3260" y="1165"/>
                  </a:lnTo>
                  <a:close/>
                  <a:moveTo>
                    <a:pt x="3170" y="1181"/>
                  </a:moveTo>
                  <a:lnTo>
                    <a:pt x="3163" y="1177"/>
                  </a:lnTo>
                  <a:lnTo>
                    <a:pt x="3180" y="1165"/>
                  </a:lnTo>
                  <a:lnTo>
                    <a:pt x="3170" y="1181"/>
                  </a:lnTo>
                  <a:lnTo>
                    <a:pt x="3170" y="1181"/>
                  </a:lnTo>
                  <a:lnTo>
                    <a:pt x="3170" y="1181"/>
                  </a:lnTo>
                  <a:close/>
                  <a:moveTo>
                    <a:pt x="1411" y="1177"/>
                  </a:moveTo>
                  <a:lnTo>
                    <a:pt x="1404" y="1210"/>
                  </a:lnTo>
                  <a:lnTo>
                    <a:pt x="1382" y="1198"/>
                  </a:lnTo>
                  <a:lnTo>
                    <a:pt x="1404" y="1193"/>
                  </a:lnTo>
                  <a:lnTo>
                    <a:pt x="1404" y="1177"/>
                  </a:lnTo>
                  <a:lnTo>
                    <a:pt x="1411" y="1177"/>
                  </a:lnTo>
                  <a:lnTo>
                    <a:pt x="1411" y="1177"/>
                  </a:lnTo>
                  <a:lnTo>
                    <a:pt x="1411" y="1177"/>
                  </a:lnTo>
                  <a:close/>
                  <a:moveTo>
                    <a:pt x="1285" y="1177"/>
                  </a:moveTo>
                  <a:lnTo>
                    <a:pt x="1314" y="1181"/>
                  </a:lnTo>
                  <a:lnTo>
                    <a:pt x="1285" y="1177"/>
                  </a:lnTo>
                  <a:lnTo>
                    <a:pt x="1285" y="1177"/>
                  </a:lnTo>
                  <a:lnTo>
                    <a:pt x="1285" y="1177"/>
                  </a:lnTo>
                  <a:close/>
                  <a:moveTo>
                    <a:pt x="3154" y="1222"/>
                  </a:moveTo>
                  <a:lnTo>
                    <a:pt x="3163" y="1233"/>
                  </a:lnTo>
                  <a:lnTo>
                    <a:pt x="3137" y="1250"/>
                  </a:lnTo>
                  <a:lnTo>
                    <a:pt x="3126" y="1233"/>
                  </a:lnTo>
                  <a:lnTo>
                    <a:pt x="3116" y="1238"/>
                  </a:lnTo>
                  <a:lnTo>
                    <a:pt x="3126" y="1250"/>
                  </a:lnTo>
                  <a:lnTo>
                    <a:pt x="3100" y="1267"/>
                  </a:lnTo>
                  <a:lnTo>
                    <a:pt x="3083" y="1238"/>
                  </a:lnTo>
                  <a:lnTo>
                    <a:pt x="3133" y="1215"/>
                  </a:lnTo>
                  <a:lnTo>
                    <a:pt x="3154" y="1222"/>
                  </a:lnTo>
                  <a:lnTo>
                    <a:pt x="3154" y="1222"/>
                  </a:lnTo>
                  <a:lnTo>
                    <a:pt x="3154" y="1222"/>
                  </a:lnTo>
                  <a:close/>
                  <a:moveTo>
                    <a:pt x="3154" y="1326"/>
                  </a:moveTo>
                  <a:lnTo>
                    <a:pt x="3147" y="1321"/>
                  </a:lnTo>
                  <a:lnTo>
                    <a:pt x="3154" y="1309"/>
                  </a:lnTo>
                  <a:lnTo>
                    <a:pt x="3133" y="1326"/>
                  </a:lnTo>
                  <a:lnTo>
                    <a:pt x="3133" y="1309"/>
                  </a:lnTo>
                  <a:lnTo>
                    <a:pt x="3116" y="1309"/>
                  </a:lnTo>
                  <a:lnTo>
                    <a:pt x="3116" y="1304"/>
                  </a:lnTo>
                  <a:lnTo>
                    <a:pt x="3126" y="1288"/>
                  </a:lnTo>
                  <a:lnTo>
                    <a:pt x="3163" y="1271"/>
                  </a:lnTo>
                  <a:lnTo>
                    <a:pt x="3154" y="1267"/>
                  </a:lnTo>
                  <a:lnTo>
                    <a:pt x="3170" y="1255"/>
                  </a:lnTo>
                  <a:lnTo>
                    <a:pt x="3147" y="1255"/>
                  </a:lnTo>
                  <a:lnTo>
                    <a:pt x="3180" y="1255"/>
                  </a:lnTo>
                  <a:lnTo>
                    <a:pt x="3170" y="1250"/>
                  </a:lnTo>
                  <a:lnTo>
                    <a:pt x="3234" y="1215"/>
                  </a:lnTo>
                  <a:lnTo>
                    <a:pt x="3272" y="1222"/>
                  </a:lnTo>
                  <a:lnTo>
                    <a:pt x="3331" y="1271"/>
                  </a:lnTo>
                  <a:lnTo>
                    <a:pt x="3343" y="1326"/>
                  </a:lnTo>
                  <a:lnTo>
                    <a:pt x="3326" y="1359"/>
                  </a:lnTo>
                  <a:lnTo>
                    <a:pt x="3256" y="1366"/>
                  </a:lnTo>
                  <a:lnTo>
                    <a:pt x="3154" y="1326"/>
                  </a:lnTo>
                  <a:lnTo>
                    <a:pt x="3154" y="1326"/>
                  </a:lnTo>
                  <a:lnTo>
                    <a:pt x="3154" y="1326"/>
                  </a:lnTo>
                  <a:close/>
                  <a:moveTo>
                    <a:pt x="2844" y="1233"/>
                  </a:moveTo>
                  <a:lnTo>
                    <a:pt x="2856" y="1222"/>
                  </a:lnTo>
                  <a:lnTo>
                    <a:pt x="2802" y="1233"/>
                  </a:lnTo>
                  <a:lnTo>
                    <a:pt x="2861" y="1222"/>
                  </a:lnTo>
                  <a:lnTo>
                    <a:pt x="2844" y="1233"/>
                  </a:lnTo>
                  <a:lnTo>
                    <a:pt x="2844" y="1233"/>
                  </a:lnTo>
                  <a:lnTo>
                    <a:pt x="2844" y="1233"/>
                  </a:lnTo>
                  <a:close/>
                  <a:moveTo>
                    <a:pt x="2587" y="1250"/>
                  </a:moveTo>
                  <a:lnTo>
                    <a:pt x="2608" y="1267"/>
                  </a:lnTo>
                  <a:lnTo>
                    <a:pt x="2625" y="1288"/>
                  </a:lnTo>
                  <a:lnTo>
                    <a:pt x="2575" y="1309"/>
                  </a:lnTo>
                  <a:lnTo>
                    <a:pt x="2537" y="1292"/>
                  </a:lnTo>
                  <a:lnTo>
                    <a:pt x="2542" y="1267"/>
                  </a:lnTo>
                  <a:lnTo>
                    <a:pt x="2587" y="1250"/>
                  </a:lnTo>
                  <a:lnTo>
                    <a:pt x="2587" y="1250"/>
                  </a:lnTo>
                  <a:lnTo>
                    <a:pt x="2587" y="1250"/>
                  </a:lnTo>
                  <a:close/>
                  <a:moveTo>
                    <a:pt x="3071" y="1267"/>
                  </a:moveTo>
                  <a:lnTo>
                    <a:pt x="3078" y="1276"/>
                  </a:lnTo>
                  <a:lnTo>
                    <a:pt x="3071" y="1267"/>
                  </a:lnTo>
                  <a:lnTo>
                    <a:pt x="3071" y="1267"/>
                  </a:lnTo>
                  <a:lnTo>
                    <a:pt x="3071" y="1267"/>
                  </a:lnTo>
                  <a:close/>
                  <a:moveTo>
                    <a:pt x="3185" y="1366"/>
                  </a:moveTo>
                  <a:lnTo>
                    <a:pt x="3208" y="1382"/>
                  </a:lnTo>
                  <a:lnTo>
                    <a:pt x="3163" y="1378"/>
                  </a:lnTo>
                  <a:lnTo>
                    <a:pt x="3185" y="1366"/>
                  </a:lnTo>
                  <a:lnTo>
                    <a:pt x="3185" y="1366"/>
                  </a:lnTo>
                  <a:lnTo>
                    <a:pt x="3185" y="1366"/>
                  </a:lnTo>
                  <a:close/>
                  <a:moveTo>
                    <a:pt x="3062" y="1366"/>
                  </a:moveTo>
                  <a:lnTo>
                    <a:pt x="3071" y="1378"/>
                  </a:lnTo>
                  <a:lnTo>
                    <a:pt x="3045" y="1387"/>
                  </a:lnTo>
                  <a:lnTo>
                    <a:pt x="3029" y="1382"/>
                  </a:lnTo>
                  <a:lnTo>
                    <a:pt x="3062" y="1366"/>
                  </a:lnTo>
                  <a:lnTo>
                    <a:pt x="3062" y="1366"/>
                  </a:lnTo>
                  <a:lnTo>
                    <a:pt x="3062" y="1366"/>
                  </a:lnTo>
                  <a:close/>
                  <a:moveTo>
                    <a:pt x="1205" y="1493"/>
                  </a:moveTo>
                  <a:lnTo>
                    <a:pt x="1210" y="1486"/>
                  </a:lnTo>
                  <a:lnTo>
                    <a:pt x="1205" y="1477"/>
                  </a:lnTo>
                  <a:lnTo>
                    <a:pt x="1177" y="1470"/>
                  </a:lnTo>
                  <a:lnTo>
                    <a:pt x="1167" y="1437"/>
                  </a:lnTo>
                  <a:lnTo>
                    <a:pt x="1139" y="1404"/>
                  </a:lnTo>
                  <a:lnTo>
                    <a:pt x="1366" y="1378"/>
                  </a:lnTo>
                  <a:lnTo>
                    <a:pt x="1503" y="1420"/>
                  </a:lnTo>
                  <a:lnTo>
                    <a:pt x="1491" y="1444"/>
                  </a:lnTo>
                  <a:lnTo>
                    <a:pt x="1491" y="1453"/>
                  </a:lnTo>
                  <a:lnTo>
                    <a:pt x="1512" y="1420"/>
                  </a:lnTo>
                  <a:lnTo>
                    <a:pt x="1533" y="1420"/>
                  </a:lnTo>
                  <a:lnTo>
                    <a:pt x="1545" y="1437"/>
                  </a:lnTo>
                  <a:lnTo>
                    <a:pt x="1533" y="1453"/>
                  </a:lnTo>
                  <a:lnTo>
                    <a:pt x="1545" y="1453"/>
                  </a:lnTo>
                  <a:lnTo>
                    <a:pt x="1555" y="1437"/>
                  </a:lnTo>
                  <a:lnTo>
                    <a:pt x="1550" y="1432"/>
                  </a:lnTo>
                  <a:lnTo>
                    <a:pt x="1567" y="1420"/>
                  </a:lnTo>
                  <a:lnTo>
                    <a:pt x="1654" y="1420"/>
                  </a:lnTo>
                  <a:lnTo>
                    <a:pt x="1782" y="1498"/>
                  </a:lnTo>
                  <a:lnTo>
                    <a:pt x="1803" y="1526"/>
                  </a:lnTo>
                  <a:lnTo>
                    <a:pt x="1533" y="1642"/>
                  </a:lnTo>
                  <a:lnTo>
                    <a:pt x="1517" y="1682"/>
                  </a:lnTo>
                  <a:lnTo>
                    <a:pt x="1491" y="1699"/>
                  </a:lnTo>
                  <a:lnTo>
                    <a:pt x="1458" y="1692"/>
                  </a:lnTo>
                  <a:lnTo>
                    <a:pt x="1465" y="1708"/>
                  </a:lnTo>
                  <a:lnTo>
                    <a:pt x="1441" y="1737"/>
                  </a:lnTo>
                  <a:lnTo>
                    <a:pt x="1448" y="1770"/>
                  </a:lnTo>
                  <a:lnTo>
                    <a:pt x="1437" y="1793"/>
                  </a:lnTo>
                  <a:lnTo>
                    <a:pt x="1373" y="1810"/>
                  </a:lnTo>
                  <a:lnTo>
                    <a:pt x="1352" y="1803"/>
                  </a:lnTo>
                  <a:lnTo>
                    <a:pt x="1281" y="1848"/>
                  </a:lnTo>
                  <a:lnTo>
                    <a:pt x="1243" y="1843"/>
                  </a:lnTo>
                  <a:lnTo>
                    <a:pt x="1193" y="1770"/>
                  </a:lnTo>
                  <a:lnTo>
                    <a:pt x="1101" y="1737"/>
                  </a:lnTo>
                  <a:lnTo>
                    <a:pt x="1125" y="1732"/>
                  </a:lnTo>
                  <a:lnTo>
                    <a:pt x="1059" y="1732"/>
                  </a:lnTo>
                  <a:lnTo>
                    <a:pt x="1070" y="1732"/>
                  </a:lnTo>
                  <a:lnTo>
                    <a:pt x="1070" y="1708"/>
                  </a:lnTo>
                  <a:lnTo>
                    <a:pt x="1096" y="1675"/>
                  </a:lnTo>
                  <a:lnTo>
                    <a:pt x="1118" y="1654"/>
                  </a:lnTo>
                  <a:lnTo>
                    <a:pt x="1125" y="1637"/>
                  </a:lnTo>
                  <a:lnTo>
                    <a:pt x="1118" y="1621"/>
                  </a:lnTo>
                  <a:lnTo>
                    <a:pt x="1156" y="1604"/>
                  </a:lnTo>
                  <a:lnTo>
                    <a:pt x="1134" y="1581"/>
                  </a:lnTo>
                  <a:lnTo>
                    <a:pt x="1167" y="1531"/>
                  </a:lnTo>
                  <a:lnTo>
                    <a:pt x="1189" y="1515"/>
                  </a:lnTo>
                  <a:lnTo>
                    <a:pt x="1189" y="1498"/>
                  </a:lnTo>
                  <a:lnTo>
                    <a:pt x="1205" y="1493"/>
                  </a:lnTo>
                  <a:lnTo>
                    <a:pt x="1205" y="1493"/>
                  </a:lnTo>
                  <a:lnTo>
                    <a:pt x="1205" y="1493"/>
                  </a:lnTo>
                  <a:close/>
                  <a:moveTo>
                    <a:pt x="2974" y="1404"/>
                  </a:moveTo>
                  <a:lnTo>
                    <a:pt x="2953" y="1415"/>
                  </a:lnTo>
                  <a:lnTo>
                    <a:pt x="2974" y="1404"/>
                  </a:lnTo>
                  <a:lnTo>
                    <a:pt x="2974" y="1404"/>
                  </a:lnTo>
                  <a:lnTo>
                    <a:pt x="2974" y="1404"/>
                  </a:lnTo>
                  <a:close/>
                  <a:moveTo>
                    <a:pt x="3494" y="1548"/>
                  </a:moveTo>
                  <a:lnTo>
                    <a:pt x="3449" y="1609"/>
                  </a:lnTo>
                  <a:lnTo>
                    <a:pt x="3423" y="1637"/>
                  </a:lnTo>
                  <a:lnTo>
                    <a:pt x="3343" y="1621"/>
                  </a:lnTo>
                  <a:lnTo>
                    <a:pt x="3277" y="1626"/>
                  </a:lnTo>
                  <a:lnTo>
                    <a:pt x="3277" y="1637"/>
                  </a:lnTo>
                  <a:lnTo>
                    <a:pt x="3310" y="1637"/>
                  </a:lnTo>
                  <a:lnTo>
                    <a:pt x="3310" y="1642"/>
                  </a:lnTo>
                  <a:lnTo>
                    <a:pt x="3326" y="1654"/>
                  </a:lnTo>
                  <a:lnTo>
                    <a:pt x="3331" y="1666"/>
                  </a:lnTo>
                  <a:lnTo>
                    <a:pt x="3289" y="1725"/>
                  </a:lnTo>
                  <a:lnTo>
                    <a:pt x="3293" y="1732"/>
                  </a:lnTo>
                  <a:lnTo>
                    <a:pt x="3218" y="1732"/>
                  </a:lnTo>
                  <a:lnTo>
                    <a:pt x="3218" y="1715"/>
                  </a:lnTo>
                  <a:lnTo>
                    <a:pt x="3244" y="1708"/>
                  </a:lnTo>
                  <a:lnTo>
                    <a:pt x="3218" y="1708"/>
                  </a:lnTo>
                  <a:lnTo>
                    <a:pt x="3218" y="1666"/>
                  </a:lnTo>
                  <a:lnTo>
                    <a:pt x="3201" y="1642"/>
                  </a:lnTo>
                  <a:lnTo>
                    <a:pt x="3185" y="1637"/>
                  </a:lnTo>
                  <a:lnTo>
                    <a:pt x="3180" y="1581"/>
                  </a:lnTo>
                  <a:lnTo>
                    <a:pt x="3185" y="1571"/>
                  </a:lnTo>
                  <a:lnTo>
                    <a:pt x="3180" y="1515"/>
                  </a:lnTo>
                  <a:lnTo>
                    <a:pt x="3185" y="1510"/>
                  </a:lnTo>
                  <a:lnTo>
                    <a:pt x="3180" y="1493"/>
                  </a:lnTo>
                  <a:lnTo>
                    <a:pt x="3192" y="1486"/>
                  </a:lnTo>
                  <a:lnTo>
                    <a:pt x="3256" y="1498"/>
                  </a:lnTo>
                  <a:lnTo>
                    <a:pt x="3222" y="1486"/>
                  </a:lnTo>
                  <a:lnTo>
                    <a:pt x="3234" y="1477"/>
                  </a:lnTo>
                  <a:lnTo>
                    <a:pt x="3218" y="1477"/>
                  </a:lnTo>
                  <a:lnTo>
                    <a:pt x="3201" y="1460"/>
                  </a:lnTo>
                  <a:lnTo>
                    <a:pt x="3272" y="1437"/>
                  </a:lnTo>
                  <a:lnTo>
                    <a:pt x="3348" y="1432"/>
                  </a:lnTo>
                  <a:lnTo>
                    <a:pt x="3395" y="1437"/>
                  </a:lnTo>
                  <a:lnTo>
                    <a:pt x="3418" y="1453"/>
                  </a:lnTo>
                  <a:lnTo>
                    <a:pt x="3418" y="1460"/>
                  </a:lnTo>
                  <a:lnTo>
                    <a:pt x="3470" y="1453"/>
                  </a:lnTo>
                  <a:lnTo>
                    <a:pt x="3563" y="1470"/>
                  </a:lnTo>
                  <a:lnTo>
                    <a:pt x="3494" y="1548"/>
                  </a:lnTo>
                  <a:lnTo>
                    <a:pt x="3494" y="1548"/>
                  </a:lnTo>
                  <a:lnTo>
                    <a:pt x="3494" y="1548"/>
                  </a:lnTo>
                  <a:close/>
                  <a:moveTo>
                    <a:pt x="3041" y="1437"/>
                  </a:moveTo>
                  <a:lnTo>
                    <a:pt x="3029" y="1453"/>
                  </a:lnTo>
                  <a:lnTo>
                    <a:pt x="2991" y="1477"/>
                  </a:lnTo>
                  <a:lnTo>
                    <a:pt x="2948" y="1486"/>
                  </a:lnTo>
                  <a:lnTo>
                    <a:pt x="2915" y="1470"/>
                  </a:lnTo>
                  <a:lnTo>
                    <a:pt x="3041" y="1437"/>
                  </a:lnTo>
                  <a:lnTo>
                    <a:pt x="3041" y="1437"/>
                  </a:lnTo>
                  <a:lnTo>
                    <a:pt x="3041" y="1437"/>
                  </a:lnTo>
                  <a:close/>
                  <a:moveTo>
                    <a:pt x="3579" y="1453"/>
                  </a:moveTo>
                  <a:lnTo>
                    <a:pt x="3558" y="1453"/>
                  </a:lnTo>
                  <a:lnTo>
                    <a:pt x="3584" y="1444"/>
                  </a:lnTo>
                  <a:lnTo>
                    <a:pt x="3579" y="1453"/>
                  </a:lnTo>
                  <a:lnTo>
                    <a:pt x="3579" y="1453"/>
                  </a:lnTo>
                  <a:lnTo>
                    <a:pt x="3579" y="1453"/>
                  </a:lnTo>
                  <a:close/>
                  <a:moveTo>
                    <a:pt x="2807" y="1708"/>
                  </a:moveTo>
                  <a:lnTo>
                    <a:pt x="2793" y="1682"/>
                  </a:lnTo>
                  <a:lnTo>
                    <a:pt x="2755" y="1692"/>
                  </a:lnTo>
                  <a:lnTo>
                    <a:pt x="2738" y="1666"/>
                  </a:lnTo>
                  <a:lnTo>
                    <a:pt x="2693" y="1637"/>
                  </a:lnTo>
                  <a:lnTo>
                    <a:pt x="2684" y="1621"/>
                  </a:lnTo>
                  <a:lnTo>
                    <a:pt x="2700" y="1588"/>
                  </a:lnTo>
                  <a:lnTo>
                    <a:pt x="2722" y="1581"/>
                  </a:lnTo>
                  <a:lnTo>
                    <a:pt x="2769" y="1609"/>
                  </a:lnTo>
                  <a:lnTo>
                    <a:pt x="2785" y="1637"/>
                  </a:lnTo>
                  <a:lnTo>
                    <a:pt x="2844" y="1626"/>
                  </a:lnTo>
                  <a:lnTo>
                    <a:pt x="2856" y="1621"/>
                  </a:lnTo>
                  <a:lnTo>
                    <a:pt x="2840" y="1597"/>
                  </a:lnTo>
                  <a:lnTo>
                    <a:pt x="2844" y="1588"/>
                  </a:lnTo>
                  <a:lnTo>
                    <a:pt x="2856" y="1588"/>
                  </a:lnTo>
                  <a:lnTo>
                    <a:pt x="2844" y="1604"/>
                  </a:lnTo>
                  <a:lnTo>
                    <a:pt x="2856" y="1609"/>
                  </a:lnTo>
                  <a:lnTo>
                    <a:pt x="2878" y="1604"/>
                  </a:lnTo>
                  <a:lnTo>
                    <a:pt x="2861" y="1571"/>
                  </a:lnTo>
                  <a:lnTo>
                    <a:pt x="2844" y="1581"/>
                  </a:lnTo>
                  <a:lnTo>
                    <a:pt x="2840" y="1571"/>
                  </a:lnTo>
                  <a:lnTo>
                    <a:pt x="2844" y="1555"/>
                  </a:lnTo>
                  <a:lnTo>
                    <a:pt x="2878" y="1564"/>
                  </a:lnTo>
                  <a:lnTo>
                    <a:pt x="2894" y="1564"/>
                  </a:lnTo>
                  <a:lnTo>
                    <a:pt x="2844" y="1543"/>
                  </a:lnTo>
                  <a:lnTo>
                    <a:pt x="2840" y="1555"/>
                  </a:lnTo>
                  <a:lnTo>
                    <a:pt x="2814" y="1555"/>
                  </a:lnTo>
                  <a:lnTo>
                    <a:pt x="2759" y="1526"/>
                  </a:lnTo>
                  <a:lnTo>
                    <a:pt x="2814" y="1510"/>
                  </a:lnTo>
                  <a:lnTo>
                    <a:pt x="2844" y="1531"/>
                  </a:lnTo>
                  <a:lnTo>
                    <a:pt x="2830" y="1526"/>
                  </a:lnTo>
                  <a:lnTo>
                    <a:pt x="2840" y="1510"/>
                  </a:lnTo>
                  <a:lnTo>
                    <a:pt x="2802" y="1493"/>
                  </a:lnTo>
                  <a:lnTo>
                    <a:pt x="2807" y="1486"/>
                  </a:lnTo>
                  <a:lnTo>
                    <a:pt x="2840" y="1477"/>
                  </a:lnTo>
                  <a:lnTo>
                    <a:pt x="2868" y="1486"/>
                  </a:lnTo>
                  <a:lnTo>
                    <a:pt x="2882" y="1470"/>
                  </a:lnTo>
                  <a:lnTo>
                    <a:pt x="2856" y="1477"/>
                  </a:lnTo>
                  <a:lnTo>
                    <a:pt x="2878" y="1460"/>
                  </a:lnTo>
                  <a:lnTo>
                    <a:pt x="2932" y="1493"/>
                  </a:lnTo>
                  <a:lnTo>
                    <a:pt x="3003" y="1486"/>
                  </a:lnTo>
                  <a:lnTo>
                    <a:pt x="3029" y="1470"/>
                  </a:lnTo>
                  <a:lnTo>
                    <a:pt x="3071" y="1477"/>
                  </a:lnTo>
                  <a:lnTo>
                    <a:pt x="3095" y="1498"/>
                  </a:lnTo>
                  <a:lnTo>
                    <a:pt x="3071" y="1515"/>
                  </a:lnTo>
                  <a:lnTo>
                    <a:pt x="3041" y="1515"/>
                  </a:lnTo>
                  <a:lnTo>
                    <a:pt x="3041" y="1531"/>
                  </a:lnTo>
                  <a:lnTo>
                    <a:pt x="3071" y="1526"/>
                  </a:lnTo>
                  <a:lnTo>
                    <a:pt x="3078" y="1543"/>
                  </a:lnTo>
                  <a:lnTo>
                    <a:pt x="3029" y="1555"/>
                  </a:lnTo>
                  <a:lnTo>
                    <a:pt x="2986" y="1588"/>
                  </a:lnTo>
                  <a:lnTo>
                    <a:pt x="2986" y="1609"/>
                  </a:lnTo>
                  <a:lnTo>
                    <a:pt x="3019" y="1588"/>
                  </a:lnTo>
                  <a:lnTo>
                    <a:pt x="3062" y="1597"/>
                  </a:lnTo>
                  <a:lnTo>
                    <a:pt x="3071" y="1604"/>
                  </a:lnTo>
                  <a:lnTo>
                    <a:pt x="3071" y="1609"/>
                  </a:lnTo>
                  <a:lnTo>
                    <a:pt x="3083" y="1626"/>
                  </a:lnTo>
                  <a:lnTo>
                    <a:pt x="3071" y="1642"/>
                  </a:lnTo>
                  <a:lnTo>
                    <a:pt x="3116" y="1626"/>
                  </a:lnTo>
                  <a:lnTo>
                    <a:pt x="3137" y="1675"/>
                  </a:lnTo>
                  <a:lnTo>
                    <a:pt x="3095" y="1682"/>
                  </a:lnTo>
                  <a:lnTo>
                    <a:pt x="3116" y="1692"/>
                  </a:lnTo>
                  <a:lnTo>
                    <a:pt x="3126" y="1715"/>
                  </a:lnTo>
                  <a:lnTo>
                    <a:pt x="3095" y="1725"/>
                  </a:lnTo>
                  <a:lnTo>
                    <a:pt x="3126" y="1725"/>
                  </a:lnTo>
                  <a:lnTo>
                    <a:pt x="3126" y="1737"/>
                  </a:lnTo>
                  <a:lnTo>
                    <a:pt x="3100" y="1737"/>
                  </a:lnTo>
                  <a:lnTo>
                    <a:pt x="3126" y="1737"/>
                  </a:lnTo>
                  <a:lnTo>
                    <a:pt x="3116" y="1753"/>
                  </a:lnTo>
                  <a:lnTo>
                    <a:pt x="3100" y="1753"/>
                  </a:lnTo>
                  <a:lnTo>
                    <a:pt x="3057" y="1781"/>
                  </a:lnTo>
                  <a:lnTo>
                    <a:pt x="3007" y="1781"/>
                  </a:lnTo>
                  <a:lnTo>
                    <a:pt x="2991" y="1765"/>
                  </a:lnTo>
                  <a:lnTo>
                    <a:pt x="3003" y="1748"/>
                  </a:lnTo>
                  <a:lnTo>
                    <a:pt x="3003" y="1737"/>
                  </a:lnTo>
                  <a:lnTo>
                    <a:pt x="2986" y="1770"/>
                  </a:lnTo>
                  <a:lnTo>
                    <a:pt x="3019" y="1793"/>
                  </a:lnTo>
                  <a:lnTo>
                    <a:pt x="2970" y="1826"/>
                  </a:lnTo>
                  <a:lnTo>
                    <a:pt x="2948" y="1810"/>
                  </a:lnTo>
                  <a:lnTo>
                    <a:pt x="2932" y="1819"/>
                  </a:lnTo>
                  <a:lnTo>
                    <a:pt x="2899" y="1765"/>
                  </a:lnTo>
                  <a:lnTo>
                    <a:pt x="2868" y="1748"/>
                  </a:lnTo>
                  <a:lnTo>
                    <a:pt x="2830" y="1708"/>
                  </a:lnTo>
                  <a:lnTo>
                    <a:pt x="2807" y="1708"/>
                  </a:lnTo>
                  <a:lnTo>
                    <a:pt x="2807" y="1708"/>
                  </a:lnTo>
                  <a:lnTo>
                    <a:pt x="2807" y="1708"/>
                  </a:lnTo>
                  <a:close/>
                  <a:moveTo>
                    <a:pt x="4096" y="2008"/>
                  </a:moveTo>
                  <a:lnTo>
                    <a:pt x="4066" y="1992"/>
                  </a:lnTo>
                  <a:lnTo>
                    <a:pt x="4016" y="2003"/>
                  </a:lnTo>
                  <a:lnTo>
                    <a:pt x="3903" y="1975"/>
                  </a:lnTo>
                  <a:lnTo>
                    <a:pt x="3865" y="1987"/>
                  </a:lnTo>
                  <a:lnTo>
                    <a:pt x="3910" y="1992"/>
                  </a:lnTo>
                  <a:lnTo>
                    <a:pt x="3872" y="1992"/>
                  </a:lnTo>
                  <a:lnTo>
                    <a:pt x="3818" y="1959"/>
                  </a:lnTo>
                  <a:lnTo>
                    <a:pt x="3818" y="1947"/>
                  </a:lnTo>
                  <a:lnTo>
                    <a:pt x="3839" y="1930"/>
                  </a:lnTo>
                  <a:lnTo>
                    <a:pt x="3834" y="1921"/>
                  </a:lnTo>
                  <a:lnTo>
                    <a:pt x="3811" y="1954"/>
                  </a:lnTo>
                  <a:lnTo>
                    <a:pt x="3796" y="1954"/>
                  </a:lnTo>
                  <a:lnTo>
                    <a:pt x="3785" y="1930"/>
                  </a:lnTo>
                  <a:lnTo>
                    <a:pt x="3773" y="1947"/>
                  </a:lnTo>
                  <a:lnTo>
                    <a:pt x="3785" y="1947"/>
                  </a:lnTo>
                  <a:lnTo>
                    <a:pt x="3785" y="1954"/>
                  </a:lnTo>
                  <a:lnTo>
                    <a:pt x="3742" y="1954"/>
                  </a:lnTo>
                  <a:lnTo>
                    <a:pt x="3747" y="1954"/>
                  </a:lnTo>
                  <a:lnTo>
                    <a:pt x="3730" y="1959"/>
                  </a:lnTo>
                  <a:lnTo>
                    <a:pt x="3704" y="1954"/>
                  </a:lnTo>
                  <a:lnTo>
                    <a:pt x="3726" y="1954"/>
                  </a:lnTo>
                  <a:lnTo>
                    <a:pt x="3709" y="1947"/>
                  </a:lnTo>
                  <a:lnTo>
                    <a:pt x="3667" y="1930"/>
                  </a:lnTo>
                  <a:lnTo>
                    <a:pt x="3617" y="1876"/>
                  </a:lnTo>
                  <a:lnTo>
                    <a:pt x="3633" y="1864"/>
                  </a:lnTo>
                  <a:lnTo>
                    <a:pt x="3612" y="1848"/>
                  </a:lnTo>
                  <a:lnTo>
                    <a:pt x="3721" y="1876"/>
                  </a:lnTo>
                  <a:lnTo>
                    <a:pt x="3785" y="1864"/>
                  </a:lnTo>
                  <a:lnTo>
                    <a:pt x="3742" y="1843"/>
                  </a:lnTo>
                  <a:lnTo>
                    <a:pt x="3726" y="1843"/>
                  </a:lnTo>
                  <a:lnTo>
                    <a:pt x="3726" y="1826"/>
                  </a:lnTo>
                  <a:lnTo>
                    <a:pt x="3676" y="1836"/>
                  </a:lnTo>
                  <a:lnTo>
                    <a:pt x="3584" y="1819"/>
                  </a:lnTo>
                  <a:lnTo>
                    <a:pt x="3579" y="1786"/>
                  </a:lnTo>
                  <a:lnTo>
                    <a:pt x="3596" y="1765"/>
                  </a:lnTo>
                  <a:lnTo>
                    <a:pt x="3570" y="1737"/>
                  </a:lnTo>
                  <a:lnTo>
                    <a:pt x="3579" y="1725"/>
                  </a:lnTo>
                  <a:lnTo>
                    <a:pt x="3612" y="1708"/>
                  </a:lnTo>
                  <a:lnTo>
                    <a:pt x="3584" y="1708"/>
                  </a:lnTo>
                  <a:lnTo>
                    <a:pt x="3579" y="1682"/>
                  </a:lnTo>
                  <a:lnTo>
                    <a:pt x="3596" y="1642"/>
                  </a:lnTo>
                  <a:lnTo>
                    <a:pt x="3617" y="1637"/>
                  </a:lnTo>
                  <a:lnTo>
                    <a:pt x="3612" y="1637"/>
                  </a:lnTo>
                  <a:lnTo>
                    <a:pt x="3612" y="1621"/>
                  </a:lnTo>
                  <a:lnTo>
                    <a:pt x="3622" y="1626"/>
                  </a:lnTo>
                  <a:lnTo>
                    <a:pt x="3622" y="1597"/>
                  </a:lnTo>
                  <a:lnTo>
                    <a:pt x="3633" y="1571"/>
                  </a:lnTo>
                  <a:lnTo>
                    <a:pt x="3671" y="1531"/>
                  </a:lnTo>
                  <a:lnTo>
                    <a:pt x="3747" y="1493"/>
                  </a:lnTo>
                  <a:lnTo>
                    <a:pt x="3839" y="1477"/>
                  </a:lnTo>
                  <a:lnTo>
                    <a:pt x="3941" y="1493"/>
                  </a:lnTo>
                  <a:lnTo>
                    <a:pt x="3865" y="1548"/>
                  </a:lnTo>
                  <a:lnTo>
                    <a:pt x="3811" y="1609"/>
                  </a:lnTo>
                  <a:lnTo>
                    <a:pt x="3801" y="1637"/>
                  </a:lnTo>
                  <a:lnTo>
                    <a:pt x="3839" y="1675"/>
                  </a:lnTo>
                  <a:lnTo>
                    <a:pt x="3827" y="1692"/>
                  </a:lnTo>
                  <a:lnTo>
                    <a:pt x="3827" y="1732"/>
                  </a:lnTo>
                  <a:lnTo>
                    <a:pt x="3893" y="1793"/>
                  </a:lnTo>
                  <a:lnTo>
                    <a:pt x="3936" y="1810"/>
                  </a:lnTo>
                  <a:lnTo>
                    <a:pt x="3941" y="1826"/>
                  </a:lnTo>
                  <a:lnTo>
                    <a:pt x="3865" y="1843"/>
                  </a:lnTo>
                  <a:lnTo>
                    <a:pt x="3801" y="1864"/>
                  </a:lnTo>
                  <a:lnTo>
                    <a:pt x="3936" y="1836"/>
                  </a:lnTo>
                  <a:lnTo>
                    <a:pt x="3941" y="1843"/>
                  </a:lnTo>
                  <a:lnTo>
                    <a:pt x="3936" y="1848"/>
                  </a:lnTo>
                  <a:lnTo>
                    <a:pt x="3919" y="1848"/>
                  </a:lnTo>
                  <a:lnTo>
                    <a:pt x="3936" y="1848"/>
                  </a:lnTo>
                  <a:lnTo>
                    <a:pt x="3936" y="1876"/>
                  </a:lnTo>
                  <a:lnTo>
                    <a:pt x="3941" y="1876"/>
                  </a:lnTo>
                  <a:lnTo>
                    <a:pt x="3941" y="1810"/>
                  </a:lnTo>
                  <a:lnTo>
                    <a:pt x="3962" y="1803"/>
                  </a:lnTo>
                  <a:lnTo>
                    <a:pt x="3945" y="1786"/>
                  </a:lnTo>
                  <a:lnTo>
                    <a:pt x="3957" y="1770"/>
                  </a:lnTo>
                  <a:lnTo>
                    <a:pt x="3910" y="1770"/>
                  </a:lnTo>
                  <a:lnTo>
                    <a:pt x="3886" y="1765"/>
                  </a:lnTo>
                  <a:lnTo>
                    <a:pt x="3893" y="1753"/>
                  </a:lnTo>
                  <a:lnTo>
                    <a:pt x="3886" y="1737"/>
                  </a:lnTo>
                  <a:lnTo>
                    <a:pt x="3855" y="1732"/>
                  </a:lnTo>
                  <a:lnTo>
                    <a:pt x="3893" y="1725"/>
                  </a:lnTo>
                  <a:lnTo>
                    <a:pt x="3893" y="1715"/>
                  </a:lnTo>
                  <a:lnTo>
                    <a:pt x="3893" y="1692"/>
                  </a:lnTo>
                  <a:lnTo>
                    <a:pt x="3936" y="1699"/>
                  </a:lnTo>
                  <a:lnTo>
                    <a:pt x="3990" y="1737"/>
                  </a:lnTo>
                  <a:lnTo>
                    <a:pt x="3990" y="1732"/>
                  </a:lnTo>
                  <a:lnTo>
                    <a:pt x="3936" y="1692"/>
                  </a:lnTo>
                  <a:lnTo>
                    <a:pt x="3962" y="1675"/>
                  </a:lnTo>
                  <a:lnTo>
                    <a:pt x="3936" y="1682"/>
                  </a:lnTo>
                  <a:lnTo>
                    <a:pt x="3941" y="1666"/>
                  </a:lnTo>
                  <a:lnTo>
                    <a:pt x="3919" y="1682"/>
                  </a:lnTo>
                  <a:lnTo>
                    <a:pt x="3886" y="1666"/>
                  </a:lnTo>
                  <a:lnTo>
                    <a:pt x="3886" y="1659"/>
                  </a:lnTo>
                  <a:lnTo>
                    <a:pt x="3893" y="1654"/>
                  </a:lnTo>
                  <a:lnTo>
                    <a:pt x="3881" y="1642"/>
                  </a:lnTo>
                  <a:lnTo>
                    <a:pt x="3881" y="1609"/>
                  </a:lnTo>
                  <a:lnTo>
                    <a:pt x="3910" y="1597"/>
                  </a:lnTo>
                  <a:lnTo>
                    <a:pt x="4000" y="1626"/>
                  </a:lnTo>
                  <a:lnTo>
                    <a:pt x="3886" y="1588"/>
                  </a:lnTo>
                  <a:lnTo>
                    <a:pt x="3903" y="1571"/>
                  </a:lnTo>
                  <a:lnTo>
                    <a:pt x="3919" y="1588"/>
                  </a:lnTo>
                  <a:lnTo>
                    <a:pt x="3910" y="1581"/>
                  </a:lnTo>
                  <a:lnTo>
                    <a:pt x="3919" y="1571"/>
                  </a:lnTo>
                  <a:lnTo>
                    <a:pt x="4028" y="1597"/>
                  </a:lnTo>
                  <a:lnTo>
                    <a:pt x="3919" y="1564"/>
                  </a:lnTo>
                  <a:lnTo>
                    <a:pt x="3941" y="1543"/>
                  </a:lnTo>
                  <a:lnTo>
                    <a:pt x="3974" y="1564"/>
                  </a:lnTo>
                  <a:lnTo>
                    <a:pt x="3945" y="1543"/>
                  </a:lnTo>
                  <a:lnTo>
                    <a:pt x="3990" y="1526"/>
                  </a:lnTo>
                  <a:lnTo>
                    <a:pt x="4016" y="1531"/>
                  </a:lnTo>
                  <a:lnTo>
                    <a:pt x="4028" y="1548"/>
                  </a:lnTo>
                  <a:lnTo>
                    <a:pt x="4028" y="1531"/>
                  </a:lnTo>
                  <a:lnTo>
                    <a:pt x="3995" y="1526"/>
                  </a:lnTo>
                  <a:lnTo>
                    <a:pt x="4082" y="1493"/>
                  </a:lnTo>
                  <a:lnTo>
                    <a:pt x="4172" y="1493"/>
                  </a:lnTo>
                  <a:lnTo>
                    <a:pt x="4196" y="1526"/>
                  </a:lnTo>
                  <a:lnTo>
                    <a:pt x="4196" y="1555"/>
                  </a:lnTo>
                  <a:lnTo>
                    <a:pt x="4243" y="1581"/>
                  </a:lnTo>
                  <a:lnTo>
                    <a:pt x="4233" y="1604"/>
                  </a:lnTo>
                  <a:lnTo>
                    <a:pt x="4259" y="1626"/>
                  </a:lnTo>
                  <a:lnTo>
                    <a:pt x="4179" y="1699"/>
                  </a:lnTo>
                  <a:lnTo>
                    <a:pt x="4243" y="1659"/>
                  </a:lnTo>
                  <a:lnTo>
                    <a:pt x="4243" y="1675"/>
                  </a:lnTo>
                  <a:lnTo>
                    <a:pt x="4210" y="1708"/>
                  </a:lnTo>
                  <a:lnTo>
                    <a:pt x="4243" y="1725"/>
                  </a:lnTo>
                  <a:lnTo>
                    <a:pt x="4205" y="1725"/>
                  </a:lnTo>
                  <a:lnTo>
                    <a:pt x="4226" y="1725"/>
                  </a:lnTo>
                  <a:lnTo>
                    <a:pt x="4210" y="1748"/>
                  </a:lnTo>
                  <a:lnTo>
                    <a:pt x="4248" y="1725"/>
                  </a:lnTo>
                  <a:lnTo>
                    <a:pt x="4243" y="1708"/>
                  </a:lnTo>
                  <a:lnTo>
                    <a:pt x="4264" y="1699"/>
                  </a:lnTo>
                  <a:lnTo>
                    <a:pt x="4259" y="1692"/>
                  </a:lnTo>
                  <a:lnTo>
                    <a:pt x="4302" y="1715"/>
                  </a:lnTo>
                  <a:lnTo>
                    <a:pt x="4264" y="1682"/>
                  </a:lnTo>
                  <a:lnTo>
                    <a:pt x="4297" y="1659"/>
                  </a:lnTo>
                  <a:lnTo>
                    <a:pt x="4302" y="1682"/>
                  </a:lnTo>
                  <a:lnTo>
                    <a:pt x="4297" y="1699"/>
                  </a:lnTo>
                  <a:lnTo>
                    <a:pt x="4323" y="1675"/>
                  </a:lnTo>
                  <a:lnTo>
                    <a:pt x="4352" y="1692"/>
                  </a:lnTo>
                  <a:lnTo>
                    <a:pt x="4352" y="1708"/>
                  </a:lnTo>
                  <a:lnTo>
                    <a:pt x="4335" y="1732"/>
                  </a:lnTo>
                  <a:lnTo>
                    <a:pt x="4378" y="1748"/>
                  </a:lnTo>
                  <a:lnTo>
                    <a:pt x="4356" y="1732"/>
                  </a:lnTo>
                  <a:lnTo>
                    <a:pt x="4356" y="1708"/>
                  </a:lnTo>
                  <a:lnTo>
                    <a:pt x="4389" y="1715"/>
                  </a:lnTo>
                  <a:lnTo>
                    <a:pt x="4406" y="1753"/>
                  </a:lnTo>
                  <a:lnTo>
                    <a:pt x="4427" y="1765"/>
                  </a:lnTo>
                  <a:lnTo>
                    <a:pt x="4394" y="1737"/>
                  </a:lnTo>
                  <a:lnTo>
                    <a:pt x="4411" y="1732"/>
                  </a:lnTo>
                  <a:lnTo>
                    <a:pt x="4432" y="1753"/>
                  </a:lnTo>
                  <a:lnTo>
                    <a:pt x="4411" y="1732"/>
                  </a:lnTo>
                  <a:lnTo>
                    <a:pt x="4394" y="1732"/>
                  </a:lnTo>
                  <a:lnTo>
                    <a:pt x="4389" y="1715"/>
                  </a:lnTo>
                  <a:lnTo>
                    <a:pt x="4356" y="1699"/>
                  </a:lnTo>
                  <a:lnTo>
                    <a:pt x="4373" y="1682"/>
                  </a:lnTo>
                  <a:lnTo>
                    <a:pt x="4389" y="1708"/>
                  </a:lnTo>
                  <a:lnTo>
                    <a:pt x="4389" y="1682"/>
                  </a:lnTo>
                  <a:lnTo>
                    <a:pt x="4486" y="1715"/>
                  </a:lnTo>
                  <a:lnTo>
                    <a:pt x="4378" y="1666"/>
                  </a:lnTo>
                  <a:lnTo>
                    <a:pt x="4389" y="1654"/>
                  </a:lnTo>
                  <a:lnTo>
                    <a:pt x="4444" y="1626"/>
                  </a:lnTo>
                  <a:lnTo>
                    <a:pt x="4503" y="1626"/>
                  </a:lnTo>
                  <a:lnTo>
                    <a:pt x="4512" y="1642"/>
                  </a:lnTo>
                  <a:lnTo>
                    <a:pt x="4550" y="1654"/>
                  </a:lnTo>
                  <a:lnTo>
                    <a:pt x="4550" y="1666"/>
                  </a:lnTo>
                  <a:lnTo>
                    <a:pt x="4567" y="1654"/>
                  </a:lnTo>
                  <a:lnTo>
                    <a:pt x="4611" y="1659"/>
                  </a:lnTo>
                  <a:lnTo>
                    <a:pt x="4637" y="1699"/>
                  </a:lnTo>
                  <a:lnTo>
                    <a:pt x="4611" y="1715"/>
                  </a:lnTo>
                  <a:lnTo>
                    <a:pt x="4557" y="1715"/>
                  </a:lnTo>
                  <a:lnTo>
                    <a:pt x="4536" y="1748"/>
                  </a:lnTo>
                  <a:lnTo>
                    <a:pt x="4574" y="1715"/>
                  </a:lnTo>
                  <a:lnTo>
                    <a:pt x="4611" y="1725"/>
                  </a:lnTo>
                  <a:lnTo>
                    <a:pt x="4588" y="1732"/>
                  </a:lnTo>
                  <a:lnTo>
                    <a:pt x="4574" y="1765"/>
                  </a:lnTo>
                  <a:lnTo>
                    <a:pt x="4550" y="1770"/>
                  </a:lnTo>
                  <a:lnTo>
                    <a:pt x="4574" y="1765"/>
                  </a:lnTo>
                  <a:lnTo>
                    <a:pt x="4588" y="1732"/>
                  </a:lnTo>
                  <a:lnTo>
                    <a:pt x="4626" y="1715"/>
                  </a:lnTo>
                  <a:lnTo>
                    <a:pt x="4680" y="1725"/>
                  </a:lnTo>
                  <a:lnTo>
                    <a:pt x="4692" y="1732"/>
                  </a:lnTo>
                  <a:lnTo>
                    <a:pt x="4680" y="1753"/>
                  </a:lnTo>
                  <a:lnTo>
                    <a:pt x="4604" y="1770"/>
                  </a:lnTo>
                  <a:lnTo>
                    <a:pt x="4637" y="1781"/>
                  </a:lnTo>
                  <a:lnTo>
                    <a:pt x="4595" y="1793"/>
                  </a:lnTo>
                  <a:lnTo>
                    <a:pt x="4659" y="1781"/>
                  </a:lnTo>
                  <a:lnTo>
                    <a:pt x="4621" y="1803"/>
                  </a:lnTo>
                  <a:lnTo>
                    <a:pt x="4642" y="1793"/>
                  </a:lnTo>
                  <a:lnTo>
                    <a:pt x="4649" y="1810"/>
                  </a:lnTo>
                  <a:lnTo>
                    <a:pt x="4621" y="1843"/>
                  </a:lnTo>
                  <a:lnTo>
                    <a:pt x="4649" y="1810"/>
                  </a:lnTo>
                  <a:lnTo>
                    <a:pt x="4649" y="1793"/>
                  </a:lnTo>
                  <a:lnTo>
                    <a:pt x="4659" y="1781"/>
                  </a:lnTo>
                  <a:lnTo>
                    <a:pt x="4692" y="1765"/>
                  </a:lnTo>
                  <a:lnTo>
                    <a:pt x="4680" y="1781"/>
                  </a:lnTo>
                  <a:lnTo>
                    <a:pt x="4692" y="1793"/>
                  </a:lnTo>
                  <a:lnTo>
                    <a:pt x="4696" y="1765"/>
                  </a:lnTo>
                  <a:lnTo>
                    <a:pt x="4718" y="1765"/>
                  </a:lnTo>
                  <a:lnTo>
                    <a:pt x="4729" y="1765"/>
                  </a:lnTo>
                  <a:lnTo>
                    <a:pt x="4696" y="1793"/>
                  </a:lnTo>
                  <a:lnTo>
                    <a:pt x="4675" y="1810"/>
                  </a:lnTo>
                  <a:lnTo>
                    <a:pt x="4696" y="1803"/>
                  </a:lnTo>
                  <a:lnTo>
                    <a:pt x="4692" y="1826"/>
                  </a:lnTo>
                  <a:lnTo>
                    <a:pt x="4680" y="1836"/>
                  </a:lnTo>
                  <a:lnTo>
                    <a:pt x="4696" y="1826"/>
                  </a:lnTo>
                  <a:lnTo>
                    <a:pt x="4713" y="1793"/>
                  </a:lnTo>
                  <a:lnTo>
                    <a:pt x="4729" y="1786"/>
                  </a:lnTo>
                  <a:lnTo>
                    <a:pt x="4729" y="1819"/>
                  </a:lnTo>
                  <a:lnTo>
                    <a:pt x="4734" y="1803"/>
                  </a:lnTo>
                  <a:lnTo>
                    <a:pt x="4746" y="1810"/>
                  </a:lnTo>
                  <a:lnTo>
                    <a:pt x="4729" y="1826"/>
                  </a:lnTo>
                  <a:lnTo>
                    <a:pt x="4718" y="1848"/>
                  </a:lnTo>
                  <a:lnTo>
                    <a:pt x="4701" y="1859"/>
                  </a:lnTo>
                  <a:lnTo>
                    <a:pt x="4718" y="1848"/>
                  </a:lnTo>
                  <a:lnTo>
                    <a:pt x="4729" y="1836"/>
                  </a:lnTo>
                  <a:lnTo>
                    <a:pt x="4734" y="1819"/>
                  </a:lnTo>
                  <a:lnTo>
                    <a:pt x="4767" y="1826"/>
                  </a:lnTo>
                  <a:lnTo>
                    <a:pt x="4751" y="1836"/>
                  </a:lnTo>
                  <a:lnTo>
                    <a:pt x="4751" y="1848"/>
                  </a:lnTo>
                  <a:lnTo>
                    <a:pt x="4734" y="1859"/>
                  </a:lnTo>
                  <a:lnTo>
                    <a:pt x="4746" y="1864"/>
                  </a:lnTo>
                  <a:lnTo>
                    <a:pt x="4755" y="1836"/>
                  </a:lnTo>
                  <a:lnTo>
                    <a:pt x="4767" y="1826"/>
                  </a:lnTo>
                  <a:lnTo>
                    <a:pt x="4767" y="1810"/>
                  </a:lnTo>
                  <a:lnTo>
                    <a:pt x="4789" y="1810"/>
                  </a:lnTo>
                  <a:lnTo>
                    <a:pt x="4805" y="1781"/>
                  </a:lnTo>
                  <a:lnTo>
                    <a:pt x="4864" y="1793"/>
                  </a:lnTo>
                  <a:lnTo>
                    <a:pt x="4897" y="1826"/>
                  </a:lnTo>
                  <a:lnTo>
                    <a:pt x="4874" y="1859"/>
                  </a:lnTo>
                  <a:lnTo>
                    <a:pt x="4843" y="1848"/>
                  </a:lnTo>
                  <a:lnTo>
                    <a:pt x="4810" y="1881"/>
                  </a:lnTo>
                  <a:lnTo>
                    <a:pt x="4789" y="1881"/>
                  </a:lnTo>
                  <a:lnTo>
                    <a:pt x="4826" y="1881"/>
                  </a:lnTo>
                  <a:lnTo>
                    <a:pt x="4810" y="1904"/>
                  </a:lnTo>
                  <a:lnTo>
                    <a:pt x="4798" y="1914"/>
                  </a:lnTo>
                  <a:lnTo>
                    <a:pt x="4826" y="1892"/>
                  </a:lnTo>
                  <a:lnTo>
                    <a:pt x="4881" y="1881"/>
                  </a:lnTo>
                  <a:lnTo>
                    <a:pt x="4897" y="1859"/>
                  </a:lnTo>
                  <a:lnTo>
                    <a:pt x="4918" y="1848"/>
                  </a:lnTo>
                  <a:lnTo>
                    <a:pt x="4935" y="1859"/>
                  </a:lnTo>
                  <a:lnTo>
                    <a:pt x="4944" y="1876"/>
                  </a:lnTo>
                  <a:lnTo>
                    <a:pt x="4928" y="1897"/>
                  </a:lnTo>
                  <a:lnTo>
                    <a:pt x="4897" y="1914"/>
                  </a:lnTo>
                  <a:lnTo>
                    <a:pt x="4864" y="1914"/>
                  </a:lnTo>
                  <a:lnTo>
                    <a:pt x="4852" y="1937"/>
                  </a:lnTo>
                  <a:lnTo>
                    <a:pt x="4859" y="1937"/>
                  </a:lnTo>
                  <a:lnTo>
                    <a:pt x="4859" y="1947"/>
                  </a:lnTo>
                  <a:lnTo>
                    <a:pt x="4852" y="1954"/>
                  </a:lnTo>
                  <a:lnTo>
                    <a:pt x="4859" y="1954"/>
                  </a:lnTo>
                  <a:lnTo>
                    <a:pt x="4874" y="1921"/>
                  </a:lnTo>
                  <a:lnTo>
                    <a:pt x="4897" y="1921"/>
                  </a:lnTo>
                  <a:lnTo>
                    <a:pt x="4890" y="1954"/>
                  </a:lnTo>
                  <a:lnTo>
                    <a:pt x="4890" y="1959"/>
                  </a:lnTo>
                  <a:lnTo>
                    <a:pt x="4874" y="1992"/>
                  </a:lnTo>
                  <a:lnTo>
                    <a:pt x="4897" y="1959"/>
                  </a:lnTo>
                  <a:lnTo>
                    <a:pt x="4911" y="1914"/>
                  </a:lnTo>
                  <a:lnTo>
                    <a:pt x="4987" y="1881"/>
                  </a:lnTo>
                  <a:lnTo>
                    <a:pt x="4999" y="1881"/>
                  </a:lnTo>
                  <a:lnTo>
                    <a:pt x="4973" y="1904"/>
                  </a:lnTo>
                  <a:lnTo>
                    <a:pt x="4944" y="1914"/>
                  </a:lnTo>
                  <a:lnTo>
                    <a:pt x="4949" y="1921"/>
                  </a:lnTo>
                  <a:lnTo>
                    <a:pt x="4944" y="1930"/>
                  </a:lnTo>
                  <a:lnTo>
                    <a:pt x="4961" y="1930"/>
                  </a:lnTo>
                  <a:lnTo>
                    <a:pt x="4961" y="1914"/>
                  </a:lnTo>
                  <a:lnTo>
                    <a:pt x="4973" y="1914"/>
                  </a:lnTo>
                  <a:lnTo>
                    <a:pt x="5020" y="1892"/>
                  </a:lnTo>
                  <a:lnTo>
                    <a:pt x="5096" y="1921"/>
                  </a:lnTo>
                  <a:lnTo>
                    <a:pt x="5096" y="1930"/>
                  </a:lnTo>
                  <a:lnTo>
                    <a:pt x="5091" y="1947"/>
                  </a:lnTo>
                  <a:lnTo>
                    <a:pt x="5074" y="1930"/>
                  </a:lnTo>
                  <a:lnTo>
                    <a:pt x="5074" y="1954"/>
                  </a:lnTo>
                  <a:lnTo>
                    <a:pt x="5004" y="1970"/>
                  </a:lnTo>
                  <a:lnTo>
                    <a:pt x="4966" y="1992"/>
                  </a:lnTo>
                  <a:lnTo>
                    <a:pt x="4987" y="1992"/>
                  </a:lnTo>
                  <a:lnTo>
                    <a:pt x="4944" y="2013"/>
                  </a:lnTo>
                  <a:lnTo>
                    <a:pt x="4999" y="1992"/>
                  </a:lnTo>
                  <a:lnTo>
                    <a:pt x="4999" y="1987"/>
                  </a:lnTo>
                  <a:lnTo>
                    <a:pt x="5004" y="1975"/>
                  </a:lnTo>
                  <a:lnTo>
                    <a:pt x="5058" y="1970"/>
                  </a:lnTo>
                  <a:lnTo>
                    <a:pt x="5074" y="1975"/>
                  </a:lnTo>
                  <a:lnTo>
                    <a:pt x="5020" y="2013"/>
                  </a:lnTo>
                  <a:lnTo>
                    <a:pt x="4987" y="2013"/>
                  </a:lnTo>
                  <a:lnTo>
                    <a:pt x="4982" y="2041"/>
                  </a:lnTo>
                  <a:lnTo>
                    <a:pt x="4999" y="2013"/>
                  </a:lnTo>
                  <a:lnTo>
                    <a:pt x="5020" y="2025"/>
                  </a:lnTo>
                  <a:lnTo>
                    <a:pt x="5041" y="2003"/>
                  </a:lnTo>
                  <a:lnTo>
                    <a:pt x="5107" y="1975"/>
                  </a:lnTo>
                  <a:lnTo>
                    <a:pt x="5096" y="1970"/>
                  </a:lnTo>
                  <a:lnTo>
                    <a:pt x="5107" y="1954"/>
                  </a:lnTo>
                  <a:lnTo>
                    <a:pt x="5138" y="1959"/>
                  </a:lnTo>
                  <a:lnTo>
                    <a:pt x="5176" y="2003"/>
                  </a:lnTo>
                  <a:lnTo>
                    <a:pt x="5183" y="2025"/>
                  </a:lnTo>
                  <a:lnTo>
                    <a:pt x="5124" y="2025"/>
                  </a:lnTo>
                  <a:lnTo>
                    <a:pt x="5096" y="2041"/>
                  </a:lnTo>
                  <a:lnTo>
                    <a:pt x="4973" y="2058"/>
                  </a:lnTo>
                  <a:lnTo>
                    <a:pt x="5025" y="2058"/>
                  </a:lnTo>
                  <a:lnTo>
                    <a:pt x="5074" y="2048"/>
                  </a:lnTo>
                  <a:lnTo>
                    <a:pt x="5124" y="2065"/>
                  </a:lnTo>
                  <a:lnTo>
                    <a:pt x="5176" y="2065"/>
                  </a:lnTo>
                  <a:lnTo>
                    <a:pt x="5204" y="2081"/>
                  </a:lnTo>
                  <a:lnTo>
                    <a:pt x="5214" y="2098"/>
                  </a:lnTo>
                  <a:lnTo>
                    <a:pt x="5204" y="2103"/>
                  </a:lnTo>
                  <a:lnTo>
                    <a:pt x="5053" y="2070"/>
                  </a:lnTo>
                  <a:lnTo>
                    <a:pt x="5025" y="2086"/>
                  </a:lnTo>
                  <a:lnTo>
                    <a:pt x="5053" y="2081"/>
                  </a:lnTo>
                  <a:lnTo>
                    <a:pt x="5112" y="2098"/>
                  </a:lnTo>
                  <a:lnTo>
                    <a:pt x="5053" y="2098"/>
                  </a:lnTo>
                  <a:lnTo>
                    <a:pt x="5079" y="2098"/>
                  </a:lnTo>
                  <a:lnTo>
                    <a:pt x="5053" y="2115"/>
                  </a:lnTo>
                  <a:lnTo>
                    <a:pt x="5053" y="2124"/>
                  </a:lnTo>
                  <a:lnTo>
                    <a:pt x="5058" y="2115"/>
                  </a:lnTo>
                  <a:lnTo>
                    <a:pt x="5107" y="2103"/>
                  </a:lnTo>
                  <a:lnTo>
                    <a:pt x="5138" y="2119"/>
                  </a:lnTo>
                  <a:lnTo>
                    <a:pt x="5079" y="2124"/>
                  </a:lnTo>
                  <a:lnTo>
                    <a:pt x="5112" y="2124"/>
                  </a:lnTo>
                  <a:lnTo>
                    <a:pt x="5124" y="2136"/>
                  </a:lnTo>
                  <a:lnTo>
                    <a:pt x="5079" y="2136"/>
                  </a:lnTo>
                  <a:lnTo>
                    <a:pt x="5138" y="2152"/>
                  </a:lnTo>
                  <a:lnTo>
                    <a:pt x="5020" y="2136"/>
                  </a:lnTo>
                  <a:lnTo>
                    <a:pt x="5112" y="2157"/>
                  </a:lnTo>
                  <a:lnTo>
                    <a:pt x="5058" y="2169"/>
                  </a:lnTo>
                  <a:lnTo>
                    <a:pt x="5091" y="2169"/>
                  </a:lnTo>
                  <a:lnTo>
                    <a:pt x="5070" y="2176"/>
                  </a:lnTo>
                  <a:lnTo>
                    <a:pt x="5150" y="2176"/>
                  </a:lnTo>
                  <a:lnTo>
                    <a:pt x="5145" y="2181"/>
                  </a:lnTo>
                  <a:lnTo>
                    <a:pt x="5145" y="2197"/>
                  </a:lnTo>
                  <a:lnTo>
                    <a:pt x="5162" y="2181"/>
                  </a:lnTo>
                  <a:lnTo>
                    <a:pt x="5176" y="2192"/>
                  </a:lnTo>
                  <a:lnTo>
                    <a:pt x="5167" y="2192"/>
                  </a:lnTo>
                  <a:lnTo>
                    <a:pt x="5183" y="2192"/>
                  </a:lnTo>
                  <a:lnTo>
                    <a:pt x="5183" y="2181"/>
                  </a:lnTo>
                  <a:lnTo>
                    <a:pt x="5214" y="2192"/>
                  </a:lnTo>
                  <a:lnTo>
                    <a:pt x="5192" y="2197"/>
                  </a:lnTo>
                  <a:lnTo>
                    <a:pt x="5138" y="2209"/>
                  </a:lnTo>
                  <a:lnTo>
                    <a:pt x="5129" y="2214"/>
                  </a:lnTo>
                  <a:lnTo>
                    <a:pt x="5145" y="2209"/>
                  </a:lnTo>
                  <a:lnTo>
                    <a:pt x="5150" y="2214"/>
                  </a:lnTo>
                  <a:lnTo>
                    <a:pt x="5145" y="2214"/>
                  </a:lnTo>
                  <a:lnTo>
                    <a:pt x="5150" y="2214"/>
                  </a:lnTo>
                  <a:lnTo>
                    <a:pt x="5176" y="2197"/>
                  </a:lnTo>
                  <a:lnTo>
                    <a:pt x="5192" y="2209"/>
                  </a:lnTo>
                  <a:lnTo>
                    <a:pt x="5176" y="2209"/>
                  </a:lnTo>
                  <a:lnTo>
                    <a:pt x="5162" y="2230"/>
                  </a:lnTo>
                  <a:lnTo>
                    <a:pt x="5145" y="2226"/>
                  </a:lnTo>
                  <a:lnTo>
                    <a:pt x="5162" y="2230"/>
                  </a:lnTo>
                  <a:lnTo>
                    <a:pt x="5167" y="2214"/>
                  </a:lnTo>
                  <a:lnTo>
                    <a:pt x="5192" y="2209"/>
                  </a:lnTo>
                  <a:lnTo>
                    <a:pt x="5204" y="2214"/>
                  </a:lnTo>
                  <a:lnTo>
                    <a:pt x="5192" y="2247"/>
                  </a:lnTo>
                  <a:lnTo>
                    <a:pt x="5214" y="2230"/>
                  </a:lnTo>
                  <a:lnTo>
                    <a:pt x="5214" y="2247"/>
                  </a:lnTo>
                  <a:lnTo>
                    <a:pt x="5221" y="2230"/>
                  </a:lnTo>
                  <a:lnTo>
                    <a:pt x="5237" y="2230"/>
                  </a:lnTo>
                  <a:lnTo>
                    <a:pt x="5230" y="2235"/>
                  </a:lnTo>
                  <a:lnTo>
                    <a:pt x="5247" y="2247"/>
                  </a:lnTo>
                  <a:lnTo>
                    <a:pt x="5230" y="2263"/>
                  </a:lnTo>
                  <a:lnTo>
                    <a:pt x="5204" y="2263"/>
                  </a:lnTo>
                  <a:lnTo>
                    <a:pt x="5237" y="2268"/>
                  </a:lnTo>
                  <a:lnTo>
                    <a:pt x="5237" y="2252"/>
                  </a:lnTo>
                  <a:lnTo>
                    <a:pt x="5268" y="2235"/>
                  </a:lnTo>
                  <a:lnTo>
                    <a:pt x="5268" y="2226"/>
                  </a:lnTo>
                  <a:lnTo>
                    <a:pt x="5268" y="2235"/>
                  </a:lnTo>
                  <a:lnTo>
                    <a:pt x="5259" y="2252"/>
                  </a:lnTo>
                  <a:lnTo>
                    <a:pt x="5259" y="2263"/>
                  </a:lnTo>
                  <a:lnTo>
                    <a:pt x="5259" y="2292"/>
                  </a:lnTo>
                  <a:lnTo>
                    <a:pt x="5259" y="2268"/>
                  </a:lnTo>
                  <a:lnTo>
                    <a:pt x="5275" y="2252"/>
                  </a:lnTo>
                  <a:lnTo>
                    <a:pt x="5275" y="2247"/>
                  </a:lnTo>
                  <a:lnTo>
                    <a:pt x="5301" y="2247"/>
                  </a:lnTo>
                  <a:lnTo>
                    <a:pt x="5285" y="2268"/>
                  </a:lnTo>
                  <a:lnTo>
                    <a:pt x="5306" y="2292"/>
                  </a:lnTo>
                  <a:lnTo>
                    <a:pt x="5306" y="2285"/>
                  </a:lnTo>
                  <a:lnTo>
                    <a:pt x="5289" y="2268"/>
                  </a:lnTo>
                  <a:lnTo>
                    <a:pt x="5301" y="2252"/>
                  </a:lnTo>
                  <a:lnTo>
                    <a:pt x="5327" y="2235"/>
                  </a:lnTo>
                  <a:lnTo>
                    <a:pt x="5355" y="2247"/>
                  </a:lnTo>
                  <a:lnTo>
                    <a:pt x="5327" y="2263"/>
                  </a:lnTo>
                  <a:lnTo>
                    <a:pt x="5327" y="2268"/>
                  </a:lnTo>
                  <a:lnTo>
                    <a:pt x="5313" y="2285"/>
                  </a:lnTo>
                  <a:lnTo>
                    <a:pt x="5339" y="2268"/>
                  </a:lnTo>
                  <a:lnTo>
                    <a:pt x="5344" y="2268"/>
                  </a:lnTo>
                  <a:lnTo>
                    <a:pt x="5344" y="2285"/>
                  </a:lnTo>
                  <a:lnTo>
                    <a:pt x="5344" y="2268"/>
                  </a:lnTo>
                  <a:lnTo>
                    <a:pt x="5365" y="2268"/>
                  </a:lnTo>
                  <a:lnTo>
                    <a:pt x="5377" y="2280"/>
                  </a:lnTo>
                  <a:lnTo>
                    <a:pt x="5355" y="2285"/>
                  </a:lnTo>
                  <a:lnTo>
                    <a:pt x="5377" y="2280"/>
                  </a:lnTo>
                  <a:lnTo>
                    <a:pt x="5398" y="2303"/>
                  </a:lnTo>
                  <a:lnTo>
                    <a:pt x="5365" y="2308"/>
                  </a:lnTo>
                  <a:lnTo>
                    <a:pt x="5398" y="2308"/>
                  </a:lnTo>
                  <a:lnTo>
                    <a:pt x="5410" y="2337"/>
                  </a:lnTo>
                  <a:lnTo>
                    <a:pt x="5344" y="2325"/>
                  </a:lnTo>
                  <a:lnTo>
                    <a:pt x="5381" y="2337"/>
                  </a:lnTo>
                  <a:lnTo>
                    <a:pt x="5344" y="2341"/>
                  </a:lnTo>
                  <a:lnTo>
                    <a:pt x="5398" y="2337"/>
                  </a:lnTo>
                  <a:lnTo>
                    <a:pt x="5360" y="2346"/>
                  </a:lnTo>
                  <a:lnTo>
                    <a:pt x="5355" y="2363"/>
                  </a:lnTo>
                  <a:lnTo>
                    <a:pt x="5365" y="2346"/>
                  </a:lnTo>
                  <a:lnTo>
                    <a:pt x="5436" y="2341"/>
                  </a:lnTo>
                  <a:lnTo>
                    <a:pt x="5415" y="2374"/>
                  </a:lnTo>
                  <a:lnTo>
                    <a:pt x="5448" y="2346"/>
                  </a:lnTo>
                  <a:lnTo>
                    <a:pt x="5448" y="2337"/>
                  </a:lnTo>
                  <a:lnTo>
                    <a:pt x="5462" y="2325"/>
                  </a:lnTo>
                  <a:lnTo>
                    <a:pt x="5474" y="2341"/>
                  </a:lnTo>
                  <a:lnTo>
                    <a:pt x="5452" y="2358"/>
                  </a:lnTo>
                  <a:lnTo>
                    <a:pt x="5452" y="2374"/>
                  </a:lnTo>
                  <a:lnTo>
                    <a:pt x="5415" y="2391"/>
                  </a:lnTo>
                  <a:lnTo>
                    <a:pt x="5436" y="2391"/>
                  </a:lnTo>
                  <a:lnTo>
                    <a:pt x="5436" y="2379"/>
                  </a:lnTo>
                  <a:lnTo>
                    <a:pt x="5436" y="2403"/>
                  </a:lnTo>
                  <a:lnTo>
                    <a:pt x="5452" y="2379"/>
                  </a:lnTo>
                  <a:lnTo>
                    <a:pt x="5485" y="2374"/>
                  </a:lnTo>
                  <a:lnTo>
                    <a:pt x="5474" y="2412"/>
                  </a:lnTo>
                  <a:lnTo>
                    <a:pt x="5490" y="2396"/>
                  </a:lnTo>
                  <a:lnTo>
                    <a:pt x="5490" y="2374"/>
                  </a:lnTo>
                  <a:lnTo>
                    <a:pt x="5500" y="2374"/>
                  </a:lnTo>
                  <a:lnTo>
                    <a:pt x="5523" y="2403"/>
                  </a:lnTo>
                  <a:lnTo>
                    <a:pt x="5507" y="2379"/>
                  </a:lnTo>
                  <a:lnTo>
                    <a:pt x="5528" y="2363"/>
                  </a:lnTo>
                  <a:lnTo>
                    <a:pt x="5537" y="2363"/>
                  </a:lnTo>
                  <a:lnTo>
                    <a:pt x="5528" y="2379"/>
                  </a:lnTo>
                  <a:lnTo>
                    <a:pt x="5561" y="2374"/>
                  </a:lnTo>
                  <a:lnTo>
                    <a:pt x="5592" y="2412"/>
                  </a:lnTo>
                  <a:lnTo>
                    <a:pt x="5575" y="2419"/>
                  </a:lnTo>
                  <a:lnTo>
                    <a:pt x="5544" y="2403"/>
                  </a:lnTo>
                  <a:lnTo>
                    <a:pt x="5528" y="2412"/>
                  </a:lnTo>
                  <a:lnTo>
                    <a:pt x="5554" y="2412"/>
                  </a:lnTo>
                  <a:lnTo>
                    <a:pt x="5570" y="2429"/>
                  </a:lnTo>
                  <a:lnTo>
                    <a:pt x="5544" y="2436"/>
                  </a:lnTo>
                  <a:lnTo>
                    <a:pt x="5575" y="2448"/>
                  </a:lnTo>
                  <a:lnTo>
                    <a:pt x="5544" y="2452"/>
                  </a:lnTo>
                  <a:lnTo>
                    <a:pt x="5507" y="2436"/>
                  </a:lnTo>
                  <a:lnTo>
                    <a:pt x="5490" y="2436"/>
                  </a:lnTo>
                  <a:lnTo>
                    <a:pt x="5516" y="2452"/>
                  </a:lnTo>
                  <a:lnTo>
                    <a:pt x="5490" y="2457"/>
                  </a:lnTo>
                  <a:lnTo>
                    <a:pt x="5474" y="2452"/>
                  </a:lnTo>
                  <a:lnTo>
                    <a:pt x="5490" y="2469"/>
                  </a:lnTo>
                  <a:lnTo>
                    <a:pt x="5528" y="2469"/>
                  </a:lnTo>
                  <a:lnTo>
                    <a:pt x="5544" y="2485"/>
                  </a:lnTo>
                  <a:lnTo>
                    <a:pt x="5485" y="2485"/>
                  </a:lnTo>
                  <a:lnTo>
                    <a:pt x="5474" y="2469"/>
                  </a:lnTo>
                  <a:lnTo>
                    <a:pt x="5469" y="2474"/>
                  </a:lnTo>
                  <a:lnTo>
                    <a:pt x="5516" y="2490"/>
                  </a:lnTo>
                  <a:lnTo>
                    <a:pt x="5516" y="2507"/>
                  </a:lnTo>
                  <a:lnTo>
                    <a:pt x="5500" y="2507"/>
                  </a:lnTo>
                  <a:lnTo>
                    <a:pt x="5474" y="2502"/>
                  </a:lnTo>
                  <a:lnTo>
                    <a:pt x="5500" y="2514"/>
                  </a:lnTo>
                  <a:lnTo>
                    <a:pt x="5485" y="2514"/>
                  </a:lnTo>
                  <a:lnTo>
                    <a:pt x="5500" y="2523"/>
                  </a:lnTo>
                  <a:lnTo>
                    <a:pt x="5490" y="2540"/>
                  </a:lnTo>
                  <a:lnTo>
                    <a:pt x="5485" y="2540"/>
                  </a:lnTo>
                  <a:lnTo>
                    <a:pt x="5474" y="2514"/>
                  </a:lnTo>
                  <a:lnTo>
                    <a:pt x="5474" y="2530"/>
                  </a:lnTo>
                  <a:lnTo>
                    <a:pt x="5474" y="2540"/>
                  </a:lnTo>
                  <a:lnTo>
                    <a:pt x="5452" y="2530"/>
                  </a:lnTo>
                  <a:lnTo>
                    <a:pt x="5436" y="2507"/>
                  </a:lnTo>
                  <a:lnTo>
                    <a:pt x="5448" y="2530"/>
                  </a:lnTo>
                  <a:lnTo>
                    <a:pt x="5419" y="2523"/>
                  </a:lnTo>
                  <a:lnTo>
                    <a:pt x="5448" y="2540"/>
                  </a:lnTo>
                  <a:lnTo>
                    <a:pt x="5431" y="2540"/>
                  </a:lnTo>
                  <a:lnTo>
                    <a:pt x="5452" y="2556"/>
                  </a:lnTo>
                  <a:lnTo>
                    <a:pt x="5419" y="2547"/>
                  </a:lnTo>
                  <a:lnTo>
                    <a:pt x="5448" y="2568"/>
                  </a:lnTo>
                  <a:lnTo>
                    <a:pt x="5436" y="2585"/>
                  </a:lnTo>
                  <a:lnTo>
                    <a:pt x="5448" y="2596"/>
                  </a:lnTo>
                  <a:lnTo>
                    <a:pt x="5431" y="2618"/>
                  </a:lnTo>
                  <a:lnTo>
                    <a:pt x="5415" y="2613"/>
                  </a:lnTo>
                  <a:lnTo>
                    <a:pt x="5419" y="2601"/>
                  </a:lnTo>
                  <a:lnTo>
                    <a:pt x="5410" y="2596"/>
                  </a:lnTo>
                  <a:lnTo>
                    <a:pt x="5393" y="2601"/>
                  </a:lnTo>
                  <a:lnTo>
                    <a:pt x="5381" y="2596"/>
                  </a:lnTo>
                  <a:lnTo>
                    <a:pt x="5393" y="2585"/>
                  </a:lnTo>
                  <a:lnTo>
                    <a:pt x="5377" y="2585"/>
                  </a:lnTo>
                  <a:lnTo>
                    <a:pt x="5377" y="2568"/>
                  </a:lnTo>
                  <a:lnTo>
                    <a:pt x="5381" y="2556"/>
                  </a:lnTo>
                  <a:lnTo>
                    <a:pt x="5365" y="2568"/>
                  </a:lnTo>
                  <a:lnTo>
                    <a:pt x="5360" y="2596"/>
                  </a:lnTo>
                  <a:lnTo>
                    <a:pt x="5339" y="2568"/>
                  </a:lnTo>
                  <a:lnTo>
                    <a:pt x="5355" y="2563"/>
                  </a:lnTo>
                  <a:lnTo>
                    <a:pt x="5339" y="2563"/>
                  </a:lnTo>
                  <a:lnTo>
                    <a:pt x="5365" y="2547"/>
                  </a:lnTo>
                  <a:lnTo>
                    <a:pt x="5327" y="2563"/>
                  </a:lnTo>
                  <a:lnTo>
                    <a:pt x="5322" y="2556"/>
                  </a:lnTo>
                  <a:lnTo>
                    <a:pt x="5355" y="2530"/>
                  </a:lnTo>
                  <a:lnTo>
                    <a:pt x="5327" y="2540"/>
                  </a:lnTo>
                  <a:lnTo>
                    <a:pt x="5306" y="2540"/>
                  </a:lnTo>
                  <a:lnTo>
                    <a:pt x="5344" y="2523"/>
                  </a:lnTo>
                  <a:lnTo>
                    <a:pt x="5322" y="2530"/>
                  </a:lnTo>
                  <a:lnTo>
                    <a:pt x="5289" y="2514"/>
                  </a:lnTo>
                  <a:lnTo>
                    <a:pt x="5306" y="2502"/>
                  </a:lnTo>
                  <a:lnTo>
                    <a:pt x="5355" y="2490"/>
                  </a:lnTo>
                  <a:lnTo>
                    <a:pt x="5344" y="2485"/>
                  </a:lnTo>
                  <a:lnTo>
                    <a:pt x="5355" y="2457"/>
                  </a:lnTo>
                  <a:lnTo>
                    <a:pt x="5377" y="2448"/>
                  </a:lnTo>
                  <a:lnTo>
                    <a:pt x="5355" y="2452"/>
                  </a:lnTo>
                  <a:lnTo>
                    <a:pt x="5339" y="2474"/>
                  </a:lnTo>
                  <a:lnTo>
                    <a:pt x="5268" y="2490"/>
                  </a:lnTo>
                  <a:lnTo>
                    <a:pt x="5259" y="2485"/>
                  </a:lnTo>
                  <a:lnTo>
                    <a:pt x="5285" y="2469"/>
                  </a:lnTo>
                  <a:lnTo>
                    <a:pt x="5301" y="2448"/>
                  </a:lnTo>
                  <a:lnTo>
                    <a:pt x="5285" y="2469"/>
                  </a:lnTo>
                  <a:lnTo>
                    <a:pt x="5252" y="2474"/>
                  </a:lnTo>
                  <a:lnTo>
                    <a:pt x="5247" y="2457"/>
                  </a:lnTo>
                  <a:lnTo>
                    <a:pt x="5221" y="2457"/>
                  </a:lnTo>
                  <a:lnTo>
                    <a:pt x="5221" y="2448"/>
                  </a:lnTo>
                  <a:lnTo>
                    <a:pt x="5230" y="2436"/>
                  </a:lnTo>
                  <a:lnTo>
                    <a:pt x="5204" y="2448"/>
                  </a:lnTo>
                  <a:lnTo>
                    <a:pt x="5200" y="2419"/>
                  </a:lnTo>
                  <a:lnTo>
                    <a:pt x="5183" y="2412"/>
                  </a:lnTo>
                  <a:lnTo>
                    <a:pt x="5200" y="2419"/>
                  </a:lnTo>
                  <a:lnTo>
                    <a:pt x="5183" y="2429"/>
                  </a:lnTo>
                  <a:lnTo>
                    <a:pt x="5167" y="2419"/>
                  </a:lnTo>
                  <a:lnTo>
                    <a:pt x="5138" y="2419"/>
                  </a:lnTo>
                  <a:lnTo>
                    <a:pt x="5183" y="2436"/>
                  </a:lnTo>
                  <a:lnTo>
                    <a:pt x="5176" y="2448"/>
                  </a:lnTo>
                  <a:lnTo>
                    <a:pt x="5162" y="2436"/>
                  </a:lnTo>
                  <a:lnTo>
                    <a:pt x="5183" y="2452"/>
                  </a:lnTo>
                  <a:lnTo>
                    <a:pt x="5167" y="2452"/>
                  </a:lnTo>
                  <a:lnTo>
                    <a:pt x="5124" y="2429"/>
                  </a:lnTo>
                  <a:lnTo>
                    <a:pt x="5145" y="2457"/>
                  </a:lnTo>
                  <a:lnTo>
                    <a:pt x="5176" y="2485"/>
                  </a:lnTo>
                  <a:lnTo>
                    <a:pt x="5176" y="2490"/>
                  </a:lnTo>
                  <a:lnTo>
                    <a:pt x="5176" y="2502"/>
                  </a:lnTo>
                  <a:lnTo>
                    <a:pt x="5129" y="2502"/>
                  </a:lnTo>
                  <a:lnTo>
                    <a:pt x="5107" y="2469"/>
                  </a:lnTo>
                  <a:lnTo>
                    <a:pt x="5058" y="2469"/>
                  </a:lnTo>
                  <a:lnTo>
                    <a:pt x="5112" y="2485"/>
                  </a:lnTo>
                  <a:lnTo>
                    <a:pt x="5112" y="2490"/>
                  </a:lnTo>
                  <a:lnTo>
                    <a:pt x="5096" y="2485"/>
                  </a:lnTo>
                  <a:lnTo>
                    <a:pt x="5096" y="2502"/>
                  </a:lnTo>
                  <a:lnTo>
                    <a:pt x="5112" y="2502"/>
                  </a:lnTo>
                  <a:lnTo>
                    <a:pt x="5107" y="2514"/>
                  </a:lnTo>
                  <a:lnTo>
                    <a:pt x="5129" y="2514"/>
                  </a:lnTo>
                  <a:lnTo>
                    <a:pt x="5112" y="2540"/>
                  </a:lnTo>
                  <a:lnTo>
                    <a:pt x="5124" y="2540"/>
                  </a:lnTo>
                  <a:lnTo>
                    <a:pt x="5124" y="2547"/>
                  </a:lnTo>
                  <a:lnTo>
                    <a:pt x="5138" y="2530"/>
                  </a:lnTo>
                  <a:lnTo>
                    <a:pt x="5167" y="2530"/>
                  </a:lnTo>
                  <a:lnTo>
                    <a:pt x="5162" y="2547"/>
                  </a:lnTo>
                  <a:lnTo>
                    <a:pt x="5183" y="2556"/>
                  </a:lnTo>
                  <a:lnTo>
                    <a:pt x="5162" y="2563"/>
                  </a:lnTo>
                  <a:lnTo>
                    <a:pt x="5200" y="2580"/>
                  </a:lnTo>
                  <a:lnTo>
                    <a:pt x="5192" y="2596"/>
                  </a:lnTo>
                  <a:lnTo>
                    <a:pt x="5183" y="2601"/>
                  </a:lnTo>
                  <a:lnTo>
                    <a:pt x="5204" y="2585"/>
                  </a:lnTo>
                  <a:lnTo>
                    <a:pt x="5204" y="2601"/>
                  </a:lnTo>
                  <a:lnTo>
                    <a:pt x="5214" y="2634"/>
                  </a:lnTo>
                  <a:lnTo>
                    <a:pt x="5214" y="2601"/>
                  </a:lnTo>
                  <a:lnTo>
                    <a:pt x="5252" y="2618"/>
                  </a:lnTo>
                  <a:lnTo>
                    <a:pt x="5247" y="2641"/>
                  </a:lnTo>
                  <a:lnTo>
                    <a:pt x="5259" y="2625"/>
                  </a:lnTo>
                  <a:lnTo>
                    <a:pt x="5259" y="2641"/>
                  </a:lnTo>
                  <a:lnTo>
                    <a:pt x="5268" y="2641"/>
                  </a:lnTo>
                  <a:lnTo>
                    <a:pt x="5259" y="2618"/>
                  </a:lnTo>
                  <a:lnTo>
                    <a:pt x="5285" y="2625"/>
                  </a:lnTo>
                  <a:lnTo>
                    <a:pt x="5285" y="2641"/>
                  </a:lnTo>
                  <a:lnTo>
                    <a:pt x="5285" y="2634"/>
                  </a:lnTo>
                  <a:lnTo>
                    <a:pt x="5289" y="2641"/>
                  </a:lnTo>
                  <a:lnTo>
                    <a:pt x="5285" y="2667"/>
                  </a:lnTo>
                  <a:lnTo>
                    <a:pt x="5313" y="2658"/>
                  </a:lnTo>
                  <a:lnTo>
                    <a:pt x="5322" y="2674"/>
                  </a:lnTo>
                  <a:lnTo>
                    <a:pt x="5313" y="2691"/>
                  </a:lnTo>
                  <a:lnTo>
                    <a:pt x="5285" y="2691"/>
                  </a:lnTo>
                  <a:lnTo>
                    <a:pt x="5301" y="2691"/>
                  </a:lnTo>
                  <a:lnTo>
                    <a:pt x="5327" y="2712"/>
                  </a:lnTo>
                  <a:lnTo>
                    <a:pt x="5313" y="2724"/>
                  </a:lnTo>
                  <a:lnTo>
                    <a:pt x="5355" y="2724"/>
                  </a:lnTo>
                  <a:lnTo>
                    <a:pt x="5327" y="2745"/>
                  </a:lnTo>
                  <a:lnTo>
                    <a:pt x="5360" y="2762"/>
                  </a:lnTo>
                  <a:lnTo>
                    <a:pt x="5365" y="2802"/>
                  </a:lnTo>
                  <a:lnTo>
                    <a:pt x="5360" y="2802"/>
                  </a:lnTo>
                  <a:lnTo>
                    <a:pt x="5365" y="2802"/>
                  </a:lnTo>
                  <a:lnTo>
                    <a:pt x="5360" y="2807"/>
                  </a:lnTo>
                  <a:lnTo>
                    <a:pt x="5344" y="2802"/>
                  </a:lnTo>
                  <a:lnTo>
                    <a:pt x="5339" y="2762"/>
                  </a:lnTo>
                  <a:lnTo>
                    <a:pt x="5306" y="2745"/>
                  </a:lnTo>
                  <a:lnTo>
                    <a:pt x="5327" y="2762"/>
                  </a:lnTo>
                  <a:lnTo>
                    <a:pt x="5322" y="2778"/>
                  </a:lnTo>
                  <a:lnTo>
                    <a:pt x="5339" y="2807"/>
                  </a:lnTo>
                  <a:lnTo>
                    <a:pt x="5322" y="2802"/>
                  </a:lnTo>
                  <a:lnTo>
                    <a:pt x="5327" y="2818"/>
                  </a:lnTo>
                  <a:lnTo>
                    <a:pt x="5344" y="2823"/>
                  </a:lnTo>
                  <a:lnTo>
                    <a:pt x="5344" y="2840"/>
                  </a:lnTo>
                  <a:lnTo>
                    <a:pt x="5355" y="2847"/>
                  </a:lnTo>
                  <a:lnTo>
                    <a:pt x="5339" y="2847"/>
                  </a:lnTo>
                  <a:lnTo>
                    <a:pt x="5313" y="2840"/>
                  </a:lnTo>
                  <a:lnTo>
                    <a:pt x="5339" y="2873"/>
                  </a:lnTo>
                  <a:lnTo>
                    <a:pt x="5313" y="2889"/>
                  </a:lnTo>
                  <a:lnTo>
                    <a:pt x="5313" y="2873"/>
                  </a:lnTo>
                  <a:lnTo>
                    <a:pt x="5306" y="2873"/>
                  </a:lnTo>
                  <a:lnTo>
                    <a:pt x="5306" y="2856"/>
                  </a:lnTo>
                  <a:lnTo>
                    <a:pt x="5289" y="2856"/>
                  </a:lnTo>
                  <a:lnTo>
                    <a:pt x="5268" y="2847"/>
                  </a:lnTo>
                  <a:lnTo>
                    <a:pt x="5268" y="2835"/>
                  </a:lnTo>
                  <a:lnTo>
                    <a:pt x="5259" y="2840"/>
                  </a:lnTo>
                  <a:lnTo>
                    <a:pt x="5237" y="2823"/>
                  </a:lnTo>
                  <a:lnTo>
                    <a:pt x="5252" y="2840"/>
                  </a:lnTo>
                  <a:lnTo>
                    <a:pt x="5230" y="2835"/>
                  </a:lnTo>
                  <a:lnTo>
                    <a:pt x="5214" y="2790"/>
                  </a:lnTo>
                  <a:lnTo>
                    <a:pt x="5204" y="2802"/>
                  </a:lnTo>
                  <a:lnTo>
                    <a:pt x="5221" y="2818"/>
                  </a:lnTo>
                  <a:lnTo>
                    <a:pt x="5221" y="2840"/>
                  </a:lnTo>
                  <a:lnTo>
                    <a:pt x="5204" y="2823"/>
                  </a:lnTo>
                  <a:lnTo>
                    <a:pt x="5204" y="2807"/>
                  </a:lnTo>
                  <a:lnTo>
                    <a:pt x="5200" y="2818"/>
                  </a:lnTo>
                  <a:lnTo>
                    <a:pt x="5192" y="2807"/>
                  </a:lnTo>
                  <a:lnTo>
                    <a:pt x="5192" y="2790"/>
                  </a:lnTo>
                  <a:lnTo>
                    <a:pt x="5192" y="2802"/>
                  </a:lnTo>
                  <a:lnTo>
                    <a:pt x="5176" y="2807"/>
                  </a:lnTo>
                  <a:lnTo>
                    <a:pt x="5129" y="2752"/>
                  </a:lnTo>
                  <a:lnTo>
                    <a:pt x="5145" y="2790"/>
                  </a:lnTo>
                  <a:lnTo>
                    <a:pt x="5079" y="2752"/>
                  </a:lnTo>
                  <a:lnTo>
                    <a:pt x="5053" y="2752"/>
                  </a:lnTo>
                  <a:lnTo>
                    <a:pt x="5107" y="2818"/>
                  </a:lnTo>
                  <a:lnTo>
                    <a:pt x="5145" y="2823"/>
                  </a:lnTo>
                  <a:lnTo>
                    <a:pt x="5138" y="2835"/>
                  </a:lnTo>
                  <a:lnTo>
                    <a:pt x="5138" y="2840"/>
                  </a:lnTo>
                  <a:lnTo>
                    <a:pt x="5150" y="2835"/>
                  </a:lnTo>
                  <a:lnTo>
                    <a:pt x="5145" y="2847"/>
                  </a:lnTo>
                  <a:lnTo>
                    <a:pt x="5162" y="2840"/>
                  </a:lnTo>
                  <a:lnTo>
                    <a:pt x="5192" y="2873"/>
                  </a:lnTo>
                  <a:lnTo>
                    <a:pt x="5204" y="2873"/>
                  </a:lnTo>
                  <a:lnTo>
                    <a:pt x="5204" y="2880"/>
                  </a:lnTo>
                  <a:lnTo>
                    <a:pt x="5237" y="2896"/>
                  </a:lnTo>
                  <a:lnTo>
                    <a:pt x="5237" y="2901"/>
                  </a:lnTo>
                  <a:lnTo>
                    <a:pt x="5230" y="2913"/>
                  </a:lnTo>
                  <a:lnTo>
                    <a:pt x="5237" y="2918"/>
                  </a:lnTo>
                  <a:lnTo>
                    <a:pt x="5237" y="2913"/>
                  </a:lnTo>
                  <a:lnTo>
                    <a:pt x="5247" y="2913"/>
                  </a:lnTo>
                  <a:lnTo>
                    <a:pt x="5247" y="2918"/>
                  </a:lnTo>
                  <a:lnTo>
                    <a:pt x="5268" y="2929"/>
                  </a:lnTo>
                  <a:lnTo>
                    <a:pt x="5252" y="2934"/>
                  </a:lnTo>
                  <a:lnTo>
                    <a:pt x="5259" y="2955"/>
                  </a:lnTo>
                  <a:lnTo>
                    <a:pt x="5230" y="2955"/>
                  </a:lnTo>
                  <a:lnTo>
                    <a:pt x="5204" y="2946"/>
                  </a:lnTo>
                  <a:lnTo>
                    <a:pt x="5041" y="2901"/>
                  </a:lnTo>
                  <a:lnTo>
                    <a:pt x="5004" y="2873"/>
                  </a:lnTo>
                  <a:lnTo>
                    <a:pt x="5015" y="2863"/>
                  </a:lnTo>
                  <a:lnTo>
                    <a:pt x="4966" y="2863"/>
                  </a:lnTo>
                  <a:lnTo>
                    <a:pt x="4897" y="2840"/>
                  </a:lnTo>
                  <a:lnTo>
                    <a:pt x="4918" y="2823"/>
                  </a:lnTo>
                  <a:lnTo>
                    <a:pt x="4911" y="2818"/>
                  </a:lnTo>
                  <a:lnTo>
                    <a:pt x="4890" y="2835"/>
                  </a:lnTo>
                  <a:lnTo>
                    <a:pt x="4864" y="2818"/>
                  </a:lnTo>
                  <a:lnTo>
                    <a:pt x="4852" y="2790"/>
                  </a:lnTo>
                  <a:lnTo>
                    <a:pt x="4826" y="2785"/>
                  </a:lnTo>
                  <a:lnTo>
                    <a:pt x="4864" y="2785"/>
                  </a:lnTo>
                  <a:lnTo>
                    <a:pt x="4890" y="2769"/>
                  </a:lnTo>
                  <a:lnTo>
                    <a:pt x="4864" y="2769"/>
                  </a:lnTo>
                  <a:lnTo>
                    <a:pt x="4864" y="2752"/>
                  </a:lnTo>
                  <a:lnTo>
                    <a:pt x="4843" y="2745"/>
                  </a:lnTo>
                  <a:lnTo>
                    <a:pt x="4836" y="2752"/>
                  </a:lnTo>
                  <a:lnTo>
                    <a:pt x="4852" y="2752"/>
                  </a:lnTo>
                  <a:lnTo>
                    <a:pt x="4843" y="2762"/>
                  </a:lnTo>
                  <a:lnTo>
                    <a:pt x="4826" y="2752"/>
                  </a:lnTo>
                  <a:lnTo>
                    <a:pt x="4810" y="2762"/>
                  </a:lnTo>
                  <a:lnTo>
                    <a:pt x="4810" y="2752"/>
                  </a:lnTo>
                  <a:lnTo>
                    <a:pt x="4822" y="2736"/>
                  </a:lnTo>
                  <a:lnTo>
                    <a:pt x="4822" y="2729"/>
                  </a:lnTo>
                  <a:lnTo>
                    <a:pt x="4810" y="2745"/>
                  </a:lnTo>
                  <a:lnTo>
                    <a:pt x="4805" y="2745"/>
                  </a:lnTo>
                  <a:lnTo>
                    <a:pt x="4798" y="2736"/>
                  </a:lnTo>
                  <a:lnTo>
                    <a:pt x="4798" y="2724"/>
                  </a:lnTo>
                  <a:lnTo>
                    <a:pt x="4789" y="2712"/>
                  </a:lnTo>
                  <a:lnTo>
                    <a:pt x="4789" y="2729"/>
                  </a:lnTo>
                  <a:lnTo>
                    <a:pt x="4772" y="2712"/>
                  </a:lnTo>
                  <a:lnTo>
                    <a:pt x="4784" y="2712"/>
                  </a:lnTo>
                  <a:lnTo>
                    <a:pt x="4772" y="2707"/>
                  </a:lnTo>
                  <a:lnTo>
                    <a:pt x="4751" y="2691"/>
                  </a:lnTo>
                  <a:lnTo>
                    <a:pt x="4746" y="2691"/>
                  </a:lnTo>
                  <a:lnTo>
                    <a:pt x="4746" y="2674"/>
                  </a:lnTo>
                  <a:lnTo>
                    <a:pt x="4755" y="2658"/>
                  </a:lnTo>
                  <a:lnTo>
                    <a:pt x="4751" y="2641"/>
                  </a:lnTo>
                  <a:lnTo>
                    <a:pt x="4751" y="2658"/>
                  </a:lnTo>
                  <a:lnTo>
                    <a:pt x="4734" y="2667"/>
                  </a:lnTo>
                  <a:lnTo>
                    <a:pt x="4734" y="2651"/>
                  </a:lnTo>
                  <a:lnTo>
                    <a:pt x="4718" y="2651"/>
                  </a:lnTo>
                  <a:lnTo>
                    <a:pt x="4718" y="2658"/>
                  </a:lnTo>
                  <a:lnTo>
                    <a:pt x="4701" y="2651"/>
                  </a:lnTo>
                  <a:lnTo>
                    <a:pt x="4713" y="2667"/>
                  </a:lnTo>
                  <a:lnTo>
                    <a:pt x="4696" y="2679"/>
                  </a:lnTo>
                  <a:lnTo>
                    <a:pt x="4692" y="2658"/>
                  </a:lnTo>
                  <a:lnTo>
                    <a:pt x="4696" y="2658"/>
                  </a:lnTo>
                  <a:lnTo>
                    <a:pt x="4696" y="2634"/>
                  </a:lnTo>
                  <a:lnTo>
                    <a:pt x="4680" y="2658"/>
                  </a:lnTo>
                  <a:lnTo>
                    <a:pt x="4675" y="2658"/>
                  </a:lnTo>
                  <a:lnTo>
                    <a:pt x="4649" y="2634"/>
                  </a:lnTo>
                  <a:lnTo>
                    <a:pt x="4663" y="2625"/>
                  </a:lnTo>
                  <a:lnTo>
                    <a:pt x="4649" y="2618"/>
                  </a:lnTo>
                  <a:lnTo>
                    <a:pt x="4649" y="2634"/>
                  </a:lnTo>
                  <a:lnTo>
                    <a:pt x="4626" y="2625"/>
                  </a:lnTo>
                  <a:lnTo>
                    <a:pt x="4663" y="2658"/>
                  </a:lnTo>
                  <a:lnTo>
                    <a:pt x="4649" y="2679"/>
                  </a:lnTo>
                  <a:lnTo>
                    <a:pt x="4574" y="2651"/>
                  </a:lnTo>
                  <a:lnTo>
                    <a:pt x="4574" y="2658"/>
                  </a:lnTo>
                  <a:lnTo>
                    <a:pt x="4583" y="2667"/>
                  </a:lnTo>
                  <a:lnTo>
                    <a:pt x="4567" y="2667"/>
                  </a:lnTo>
                  <a:lnTo>
                    <a:pt x="4583" y="2679"/>
                  </a:lnTo>
                  <a:lnTo>
                    <a:pt x="4503" y="2691"/>
                  </a:lnTo>
                  <a:lnTo>
                    <a:pt x="4512" y="2696"/>
                  </a:lnTo>
                  <a:lnTo>
                    <a:pt x="4481" y="2691"/>
                  </a:lnTo>
                  <a:lnTo>
                    <a:pt x="4465" y="2696"/>
                  </a:lnTo>
                  <a:lnTo>
                    <a:pt x="4444" y="2674"/>
                  </a:lnTo>
                  <a:lnTo>
                    <a:pt x="4432" y="2679"/>
                  </a:lnTo>
                  <a:lnTo>
                    <a:pt x="4406" y="2658"/>
                  </a:lnTo>
                  <a:lnTo>
                    <a:pt x="4406" y="2634"/>
                  </a:lnTo>
                  <a:lnTo>
                    <a:pt x="4411" y="2625"/>
                  </a:lnTo>
                  <a:lnTo>
                    <a:pt x="4411" y="2613"/>
                  </a:lnTo>
                  <a:lnTo>
                    <a:pt x="4465" y="2585"/>
                  </a:lnTo>
                  <a:lnTo>
                    <a:pt x="4448" y="2568"/>
                  </a:lnTo>
                  <a:lnTo>
                    <a:pt x="4465" y="2563"/>
                  </a:lnTo>
                  <a:lnTo>
                    <a:pt x="4460" y="2556"/>
                  </a:lnTo>
                  <a:lnTo>
                    <a:pt x="4574" y="2580"/>
                  </a:lnTo>
                  <a:lnTo>
                    <a:pt x="4595" y="2601"/>
                  </a:lnTo>
                  <a:lnTo>
                    <a:pt x="4595" y="2613"/>
                  </a:lnTo>
                  <a:lnTo>
                    <a:pt x="4583" y="2613"/>
                  </a:lnTo>
                  <a:lnTo>
                    <a:pt x="4604" y="2641"/>
                  </a:lnTo>
                  <a:lnTo>
                    <a:pt x="4611" y="2634"/>
                  </a:lnTo>
                  <a:lnTo>
                    <a:pt x="4604" y="2618"/>
                  </a:lnTo>
                  <a:lnTo>
                    <a:pt x="4588" y="2618"/>
                  </a:lnTo>
                  <a:lnTo>
                    <a:pt x="4611" y="2613"/>
                  </a:lnTo>
                  <a:lnTo>
                    <a:pt x="4611" y="2596"/>
                  </a:lnTo>
                  <a:lnTo>
                    <a:pt x="4604" y="2601"/>
                  </a:lnTo>
                  <a:lnTo>
                    <a:pt x="4567" y="2568"/>
                  </a:lnTo>
                  <a:lnTo>
                    <a:pt x="4611" y="2580"/>
                  </a:lnTo>
                  <a:lnTo>
                    <a:pt x="4621" y="2568"/>
                  </a:lnTo>
                  <a:lnTo>
                    <a:pt x="4621" y="2563"/>
                  </a:lnTo>
                  <a:lnTo>
                    <a:pt x="4663" y="2568"/>
                  </a:lnTo>
                  <a:lnTo>
                    <a:pt x="4692" y="2547"/>
                  </a:lnTo>
                  <a:lnTo>
                    <a:pt x="4734" y="2547"/>
                  </a:lnTo>
                  <a:lnTo>
                    <a:pt x="4718" y="2514"/>
                  </a:lnTo>
                  <a:lnTo>
                    <a:pt x="4696" y="2502"/>
                  </a:lnTo>
                  <a:lnTo>
                    <a:pt x="4663" y="2469"/>
                  </a:lnTo>
                  <a:lnTo>
                    <a:pt x="4734" y="2419"/>
                  </a:lnTo>
                  <a:lnTo>
                    <a:pt x="4755" y="2403"/>
                  </a:lnTo>
                  <a:lnTo>
                    <a:pt x="4784" y="2363"/>
                  </a:lnTo>
                  <a:lnTo>
                    <a:pt x="4810" y="2358"/>
                  </a:lnTo>
                  <a:lnTo>
                    <a:pt x="4822" y="2341"/>
                  </a:lnTo>
                  <a:lnTo>
                    <a:pt x="4805" y="2292"/>
                  </a:lnTo>
                  <a:lnTo>
                    <a:pt x="4789" y="2285"/>
                  </a:lnTo>
                  <a:lnTo>
                    <a:pt x="4798" y="2268"/>
                  </a:lnTo>
                  <a:lnTo>
                    <a:pt x="4772" y="2252"/>
                  </a:lnTo>
                  <a:lnTo>
                    <a:pt x="4772" y="2247"/>
                  </a:lnTo>
                  <a:lnTo>
                    <a:pt x="4767" y="2226"/>
                  </a:lnTo>
                  <a:lnTo>
                    <a:pt x="4734" y="2214"/>
                  </a:lnTo>
                  <a:lnTo>
                    <a:pt x="4751" y="2197"/>
                  </a:lnTo>
                  <a:lnTo>
                    <a:pt x="4729" y="2214"/>
                  </a:lnTo>
                  <a:lnTo>
                    <a:pt x="4713" y="2209"/>
                  </a:lnTo>
                  <a:lnTo>
                    <a:pt x="4701" y="2181"/>
                  </a:lnTo>
                  <a:lnTo>
                    <a:pt x="4718" y="2181"/>
                  </a:lnTo>
                  <a:lnTo>
                    <a:pt x="4718" y="2157"/>
                  </a:lnTo>
                  <a:lnTo>
                    <a:pt x="4692" y="2157"/>
                  </a:lnTo>
                  <a:lnTo>
                    <a:pt x="4701" y="2176"/>
                  </a:lnTo>
                  <a:lnTo>
                    <a:pt x="4696" y="2181"/>
                  </a:lnTo>
                  <a:lnTo>
                    <a:pt x="4675" y="2176"/>
                  </a:lnTo>
                  <a:lnTo>
                    <a:pt x="4649" y="2152"/>
                  </a:lnTo>
                  <a:lnTo>
                    <a:pt x="4659" y="2140"/>
                  </a:lnTo>
                  <a:lnTo>
                    <a:pt x="4637" y="2140"/>
                  </a:lnTo>
                  <a:lnTo>
                    <a:pt x="4649" y="2124"/>
                  </a:lnTo>
                  <a:lnTo>
                    <a:pt x="4626" y="2124"/>
                  </a:lnTo>
                  <a:lnTo>
                    <a:pt x="4649" y="2119"/>
                  </a:lnTo>
                  <a:lnTo>
                    <a:pt x="4642" y="2115"/>
                  </a:lnTo>
                  <a:lnTo>
                    <a:pt x="4626" y="2119"/>
                  </a:lnTo>
                  <a:lnTo>
                    <a:pt x="4621" y="2136"/>
                  </a:lnTo>
                  <a:lnTo>
                    <a:pt x="4595" y="2119"/>
                  </a:lnTo>
                  <a:lnTo>
                    <a:pt x="4588" y="2136"/>
                  </a:lnTo>
                  <a:lnTo>
                    <a:pt x="4512" y="2157"/>
                  </a:lnTo>
                  <a:lnTo>
                    <a:pt x="4512" y="2152"/>
                  </a:lnTo>
                  <a:lnTo>
                    <a:pt x="4519" y="2136"/>
                  </a:lnTo>
                  <a:lnTo>
                    <a:pt x="4512" y="2124"/>
                  </a:lnTo>
                  <a:lnTo>
                    <a:pt x="4512" y="2119"/>
                  </a:lnTo>
                  <a:lnTo>
                    <a:pt x="4557" y="2119"/>
                  </a:lnTo>
                  <a:lnTo>
                    <a:pt x="4588" y="2115"/>
                  </a:lnTo>
                  <a:lnTo>
                    <a:pt x="4588" y="2098"/>
                  </a:lnTo>
                  <a:lnTo>
                    <a:pt x="4512" y="2048"/>
                  </a:lnTo>
                  <a:lnTo>
                    <a:pt x="4529" y="2041"/>
                  </a:lnTo>
                  <a:lnTo>
                    <a:pt x="4541" y="2029"/>
                  </a:lnTo>
                  <a:lnTo>
                    <a:pt x="4512" y="2029"/>
                  </a:lnTo>
                  <a:lnTo>
                    <a:pt x="4519" y="2041"/>
                  </a:lnTo>
                  <a:lnTo>
                    <a:pt x="4512" y="2048"/>
                  </a:lnTo>
                  <a:lnTo>
                    <a:pt x="4474" y="2041"/>
                  </a:lnTo>
                  <a:lnTo>
                    <a:pt x="4503" y="2029"/>
                  </a:lnTo>
                  <a:lnTo>
                    <a:pt x="4498" y="2013"/>
                  </a:lnTo>
                  <a:lnTo>
                    <a:pt x="4465" y="2013"/>
                  </a:lnTo>
                  <a:lnTo>
                    <a:pt x="4486" y="2003"/>
                  </a:lnTo>
                  <a:lnTo>
                    <a:pt x="4444" y="2025"/>
                  </a:lnTo>
                  <a:lnTo>
                    <a:pt x="4444" y="1970"/>
                  </a:lnTo>
                  <a:lnTo>
                    <a:pt x="4427" y="1959"/>
                  </a:lnTo>
                  <a:lnTo>
                    <a:pt x="4389" y="1970"/>
                  </a:lnTo>
                  <a:lnTo>
                    <a:pt x="4389" y="1954"/>
                  </a:lnTo>
                  <a:lnTo>
                    <a:pt x="4389" y="1947"/>
                  </a:lnTo>
                  <a:lnTo>
                    <a:pt x="4378" y="1954"/>
                  </a:lnTo>
                  <a:lnTo>
                    <a:pt x="4368" y="1937"/>
                  </a:lnTo>
                  <a:lnTo>
                    <a:pt x="4340" y="1930"/>
                  </a:lnTo>
                  <a:lnTo>
                    <a:pt x="4340" y="1921"/>
                  </a:lnTo>
                  <a:lnTo>
                    <a:pt x="4356" y="1914"/>
                  </a:lnTo>
                  <a:lnTo>
                    <a:pt x="4368" y="1921"/>
                  </a:lnTo>
                  <a:lnTo>
                    <a:pt x="4352" y="1904"/>
                  </a:lnTo>
                  <a:lnTo>
                    <a:pt x="4335" y="1914"/>
                  </a:lnTo>
                  <a:lnTo>
                    <a:pt x="4340" y="1914"/>
                  </a:lnTo>
                  <a:lnTo>
                    <a:pt x="4335" y="1937"/>
                  </a:lnTo>
                  <a:lnTo>
                    <a:pt x="4318" y="1930"/>
                  </a:lnTo>
                  <a:lnTo>
                    <a:pt x="4302" y="1947"/>
                  </a:lnTo>
                  <a:lnTo>
                    <a:pt x="4356" y="1954"/>
                  </a:lnTo>
                  <a:lnTo>
                    <a:pt x="4373" y="1992"/>
                  </a:lnTo>
                  <a:lnTo>
                    <a:pt x="4368" y="2008"/>
                  </a:lnTo>
                  <a:lnTo>
                    <a:pt x="4302" y="2008"/>
                  </a:lnTo>
                  <a:lnTo>
                    <a:pt x="4271" y="1992"/>
                  </a:lnTo>
                  <a:lnTo>
                    <a:pt x="4158" y="1975"/>
                  </a:lnTo>
                  <a:lnTo>
                    <a:pt x="4196" y="1992"/>
                  </a:lnTo>
                  <a:lnTo>
                    <a:pt x="4226" y="2025"/>
                  </a:lnTo>
                  <a:lnTo>
                    <a:pt x="4210" y="2029"/>
                  </a:lnTo>
                  <a:lnTo>
                    <a:pt x="4134" y="1975"/>
                  </a:lnTo>
                  <a:lnTo>
                    <a:pt x="4066" y="1954"/>
                  </a:lnTo>
                  <a:lnTo>
                    <a:pt x="4158" y="2003"/>
                  </a:lnTo>
                  <a:lnTo>
                    <a:pt x="4125" y="2025"/>
                  </a:lnTo>
                  <a:lnTo>
                    <a:pt x="4096" y="2008"/>
                  </a:lnTo>
                  <a:lnTo>
                    <a:pt x="4096" y="2008"/>
                  </a:lnTo>
                  <a:lnTo>
                    <a:pt x="4096" y="2008"/>
                  </a:lnTo>
                  <a:close/>
                  <a:moveTo>
                    <a:pt x="4226" y="1493"/>
                  </a:moveTo>
                  <a:lnTo>
                    <a:pt x="4318" y="1510"/>
                  </a:lnTo>
                  <a:lnTo>
                    <a:pt x="4406" y="1498"/>
                  </a:lnTo>
                  <a:lnTo>
                    <a:pt x="4460" y="1515"/>
                  </a:lnTo>
                  <a:lnTo>
                    <a:pt x="4474" y="1526"/>
                  </a:lnTo>
                  <a:lnTo>
                    <a:pt x="4486" y="1543"/>
                  </a:lnTo>
                  <a:lnTo>
                    <a:pt x="4512" y="1548"/>
                  </a:lnTo>
                  <a:lnTo>
                    <a:pt x="4519" y="1571"/>
                  </a:lnTo>
                  <a:lnTo>
                    <a:pt x="4536" y="1581"/>
                  </a:lnTo>
                  <a:lnTo>
                    <a:pt x="4536" y="1597"/>
                  </a:lnTo>
                  <a:lnTo>
                    <a:pt x="4557" y="1604"/>
                  </a:lnTo>
                  <a:lnTo>
                    <a:pt x="4519" y="1621"/>
                  </a:lnTo>
                  <a:lnTo>
                    <a:pt x="4406" y="1609"/>
                  </a:lnTo>
                  <a:lnTo>
                    <a:pt x="4314" y="1626"/>
                  </a:lnTo>
                  <a:lnTo>
                    <a:pt x="4281" y="1609"/>
                  </a:lnTo>
                  <a:lnTo>
                    <a:pt x="4264" y="1588"/>
                  </a:lnTo>
                  <a:lnTo>
                    <a:pt x="4264" y="1564"/>
                  </a:lnTo>
                  <a:lnTo>
                    <a:pt x="4217" y="1548"/>
                  </a:lnTo>
                  <a:lnTo>
                    <a:pt x="4217" y="1493"/>
                  </a:lnTo>
                  <a:lnTo>
                    <a:pt x="4226" y="1493"/>
                  </a:lnTo>
                  <a:lnTo>
                    <a:pt x="4226" y="1493"/>
                  </a:lnTo>
                  <a:lnTo>
                    <a:pt x="4226" y="1493"/>
                  </a:lnTo>
                  <a:close/>
                  <a:moveTo>
                    <a:pt x="2504" y="1604"/>
                  </a:moveTo>
                  <a:lnTo>
                    <a:pt x="2500" y="1604"/>
                  </a:lnTo>
                  <a:lnTo>
                    <a:pt x="2516" y="1609"/>
                  </a:lnTo>
                  <a:lnTo>
                    <a:pt x="2500" y="1609"/>
                  </a:lnTo>
                  <a:lnTo>
                    <a:pt x="2424" y="1543"/>
                  </a:lnTo>
                  <a:lnTo>
                    <a:pt x="2381" y="1526"/>
                  </a:lnTo>
                  <a:lnTo>
                    <a:pt x="2415" y="1493"/>
                  </a:lnTo>
                  <a:lnTo>
                    <a:pt x="2490" y="1486"/>
                  </a:lnTo>
                  <a:lnTo>
                    <a:pt x="2516" y="1486"/>
                  </a:lnTo>
                  <a:lnTo>
                    <a:pt x="2559" y="1515"/>
                  </a:lnTo>
                  <a:lnTo>
                    <a:pt x="2554" y="1548"/>
                  </a:lnTo>
                  <a:lnTo>
                    <a:pt x="2504" y="1604"/>
                  </a:lnTo>
                  <a:lnTo>
                    <a:pt x="2504" y="1604"/>
                  </a:lnTo>
                  <a:lnTo>
                    <a:pt x="2504" y="1604"/>
                  </a:lnTo>
                  <a:close/>
                  <a:moveTo>
                    <a:pt x="1151" y="1493"/>
                  </a:moveTo>
                  <a:lnTo>
                    <a:pt x="1156" y="1498"/>
                  </a:lnTo>
                  <a:lnTo>
                    <a:pt x="1139" y="1493"/>
                  </a:lnTo>
                  <a:lnTo>
                    <a:pt x="1151" y="1493"/>
                  </a:lnTo>
                  <a:lnTo>
                    <a:pt x="1151" y="1493"/>
                  </a:lnTo>
                  <a:lnTo>
                    <a:pt x="1151" y="1493"/>
                  </a:lnTo>
                  <a:close/>
                  <a:moveTo>
                    <a:pt x="1172" y="1510"/>
                  </a:moveTo>
                  <a:lnTo>
                    <a:pt x="1189" y="1515"/>
                  </a:lnTo>
                  <a:lnTo>
                    <a:pt x="1172" y="1515"/>
                  </a:lnTo>
                  <a:lnTo>
                    <a:pt x="1172" y="1510"/>
                  </a:lnTo>
                  <a:lnTo>
                    <a:pt x="1172" y="1510"/>
                  </a:lnTo>
                  <a:lnTo>
                    <a:pt x="1172" y="1510"/>
                  </a:lnTo>
                  <a:close/>
                  <a:moveTo>
                    <a:pt x="2339" y="1515"/>
                  </a:moveTo>
                  <a:lnTo>
                    <a:pt x="2306" y="1510"/>
                  </a:lnTo>
                  <a:lnTo>
                    <a:pt x="2344" y="1510"/>
                  </a:lnTo>
                  <a:lnTo>
                    <a:pt x="2339" y="1515"/>
                  </a:lnTo>
                  <a:lnTo>
                    <a:pt x="2339" y="1515"/>
                  </a:lnTo>
                  <a:lnTo>
                    <a:pt x="2339" y="1515"/>
                  </a:lnTo>
                  <a:close/>
                  <a:moveTo>
                    <a:pt x="2814" y="2025"/>
                  </a:moveTo>
                  <a:lnTo>
                    <a:pt x="2807" y="2041"/>
                  </a:lnTo>
                  <a:lnTo>
                    <a:pt x="2785" y="2029"/>
                  </a:lnTo>
                  <a:lnTo>
                    <a:pt x="2776" y="2013"/>
                  </a:lnTo>
                  <a:lnTo>
                    <a:pt x="2776" y="2008"/>
                  </a:lnTo>
                  <a:lnTo>
                    <a:pt x="2759" y="2029"/>
                  </a:lnTo>
                  <a:lnTo>
                    <a:pt x="2722" y="2003"/>
                  </a:lnTo>
                  <a:lnTo>
                    <a:pt x="2700" y="2025"/>
                  </a:lnTo>
                  <a:lnTo>
                    <a:pt x="2693" y="2025"/>
                  </a:lnTo>
                  <a:lnTo>
                    <a:pt x="2700" y="2029"/>
                  </a:lnTo>
                  <a:lnTo>
                    <a:pt x="2700" y="2048"/>
                  </a:lnTo>
                  <a:lnTo>
                    <a:pt x="2693" y="2048"/>
                  </a:lnTo>
                  <a:lnTo>
                    <a:pt x="2630" y="2029"/>
                  </a:lnTo>
                  <a:lnTo>
                    <a:pt x="2630" y="2041"/>
                  </a:lnTo>
                  <a:lnTo>
                    <a:pt x="2663" y="2058"/>
                  </a:lnTo>
                  <a:lnTo>
                    <a:pt x="2663" y="2086"/>
                  </a:lnTo>
                  <a:lnTo>
                    <a:pt x="2651" y="2098"/>
                  </a:lnTo>
                  <a:lnTo>
                    <a:pt x="2651" y="2103"/>
                  </a:lnTo>
                  <a:lnTo>
                    <a:pt x="2679" y="2070"/>
                  </a:lnTo>
                  <a:lnTo>
                    <a:pt x="2717" y="2058"/>
                  </a:lnTo>
                  <a:lnTo>
                    <a:pt x="2738" y="2065"/>
                  </a:lnTo>
                  <a:lnTo>
                    <a:pt x="2722" y="2086"/>
                  </a:lnTo>
                  <a:lnTo>
                    <a:pt x="2731" y="2098"/>
                  </a:lnTo>
                  <a:lnTo>
                    <a:pt x="2738" y="2086"/>
                  </a:lnTo>
                  <a:lnTo>
                    <a:pt x="2755" y="2098"/>
                  </a:lnTo>
                  <a:lnTo>
                    <a:pt x="2748" y="2119"/>
                  </a:lnTo>
                  <a:lnTo>
                    <a:pt x="2679" y="2140"/>
                  </a:lnTo>
                  <a:lnTo>
                    <a:pt x="2651" y="2140"/>
                  </a:lnTo>
                  <a:lnTo>
                    <a:pt x="2641" y="2152"/>
                  </a:lnTo>
                  <a:lnTo>
                    <a:pt x="2559" y="2124"/>
                  </a:lnTo>
                  <a:lnTo>
                    <a:pt x="2554" y="2136"/>
                  </a:lnTo>
                  <a:lnTo>
                    <a:pt x="2516" y="2136"/>
                  </a:lnTo>
                  <a:lnTo>
                    <a:pt x="2504" y="2124"/>
                  </a:lnTo>
                  <a:lnTo>
                    <a:pt x="2533" y="2115"/>
                  </a:lnTo>
                  <a:lnTo>
                    <a:pt x="2431" y="2098"/>
                  </a:lnTo>
                  <a:lnTo>
                    <a:pt x="2436" y="2081"/>
                  </a:lnTo>
                  <a:lnTo>
                    <a:pt x="2431" y="2070"/>
                  </a:lnTo>
                  <a:lnTo>
                    <a:pt x="2415" y="2058"/>
                  </a:lnTo>
                  <a:lnTo>
                    <a:pt x="2381" y="2081"/>
                  </a:lnTo>
                  <a:lnTo>
                    <a:pt x="2393" y="2098"/>
                  </a:lnTo>
                  <a:lnTo>
                    <a:pt x="2360" y="2119"/>
                  </a:lnTo>
                  <a:lnTo>
                    <a:pt x="2273" y="2124"/>
                  </a:lnTo>
                  <a:lnTo>
                    <a:pt x="2273" y="2136"/>
                  </a:lnTo>
                  <a:lnTo>
                    <a:pt x="2235" y="2157"/>
                  </a:lnTo>
                  <a:lnTo>
                    <a:pt x="2155" y="2176"/>
                  </a:lnTo>
                  <a:lnTo>
                    <a:pt x="2074" y="2176"/>
                  </a:lnTo>
                  <a:lnTo>
                    <a:pt x="2091" y="2181"/>
                  </a:lnTo>
                  <a:lnTo>
                    <a:pt x="1944" y="2192"/>
                  </a:lnTo>
                  <a:lnTo>
                    <a:pt x="1961" y="2181"/>
                  </a:lnTo>
                  <a:lnTo>
                    <a:pt x="1933" y="2176"/>
                  </a:lnTo>
                  <a:lnTo>
                    <a:pt x="1923" y="2140"/>
                  </a:lnTo>
                  <a:lnTo>
                    <a:pt x="1928" y="2115"/>
                  </a:lnTo>
                  <a:lnTo>
                    <a:pt x="1911" y="2098"/>
                  </a:lnTo>
                  <a:lnTo>
                    <a:pt x="1928" y="2098"/>
                  </a:lnTo>
                  <a:lnTo>
                    <a:pt x="1874" y="2086"/>
                  </a:lnTo>
                  <a:lnTo>
                    <a:pt x="1760" y="2081"/>
                  </a:lnTo>
                  <a:lnTo>
                    <a:pt x="1718" y="2070"/>
                  </a:lnTo>
                  <a:lnTo>
                    <a:pt x="1713" y="2065"/>
                  </a:lnTo>
                  <a:lnTo>
                    <a:pt x="1713" y="2048"/>
                  </a:lnTo>
                  <a:lnTo>
                    <a:pt x="1692" y="2048"/>
                  </a:lnTo>
                  <a:lnTo>
                    <a:pt x="1696" y="2041"/>
                  </a:lnTo>
                  <a:lnTo>
                    <a:pt x="1663" y="2025"/>
                  </a:lnTo>
                  <a:lnTo>
                    <a:pt x="1654" y="1992"/>
                  </a:lnTo>
                  <a:lnTo>
                    <a:pt x="1680" y="1975"/>
                  </a:lnTo>
                  <a:lnTo>
                    <a:pt x="1815" y="1959"/>
                  </a:lnTo>
                  <a:lnTo>
                    <a:pt x="1874" y="1954"/>
                  </a:lnTo>
                  <a:lnTo>
                    <a:pt x="1999" y="1970"/>
                  </a:lnTo>
                  <a:lnTo>
                    <a:pt x="2030" y="1959"/>
                  </a:lnTo>
                  <a:lnTo>
                    <a:pt x="2015" y="1954"/>
                  </a:lnTo>
                  <a:lnTo>
                    <a:pt x="2074" y="1954"/>
                  </a:lnTo>
                  <a:lnTo>
                    <a:pt x="2067" y="1954"/>
                  </a:lnTo>
                  <a:lnTo>
                    <a:pt x="2037" y="1947"/>
                  </a:lnTo>
                  <a:lnTo>
                    <a:pt x="2020" y="1930"/>
                  </a:lnTo>
                  <a:lnTo>
                    <a:pt x="1895" y="1897"/>
                  </a:lnTo>
                  <a:lnTo>
                    <a:pt x="1815" y="1914"/>
                  </a:lnTo>
                  <a:lnTo>
                    <a:pt x="1642" y="1914"/>
                  </a:lnTo>
                  <a:lnTo>
                    <a:pt x="1583" y="1864"/>
                  </a:lnTo>
                  <a:lnTo>
                    <a:pt x="1626" y="1843"/>
                  </a:lnTo>
                  <a:lnTo>
                    <a:pt x="1772" y="1810"/>
                  </a:lnTo>
                  <a:lnTo>
                    <a:pt x="1751" y="1803"/>
                  </a:lnTo>
                  <a:lnTo>
                    <a:pt x="1765" y="1803"/>
                  </a:lnTo>
                  <a:lnTo>
                    <a:pt x="1798" y="1803"/>
                  </a:lnTo>
                  <a:lnTo>
                    <a:pt x="1819" y="1793"/>
                  </a:lnTo>
                  <a:lnTo>
                    <a:pt x="1772" y="1786"/>
                  </a:lnTo>
                  <a:lnTo>
                    <a:pt x="1659" y="1810"/>
                  </a:lnTo>
                  <a:lnTo>
                    <a:pt x="1659" y="1803"/>
                  </a:lnTo>
                  <a:lnTo>
                    <a:pt x="1642" y="1793"/>
                  </a:lnTo>
                  <a:lnTo>
                    <a:pt x="1642" y="1803"/>
                  </a:lnTo>
                  <a:lnTo>
                    <a:pt x="1654" y="1803"/>
                  </a:lnTo>
                  <a:lnTo>
                    <a:pt x="1642" y="1810"/>
                  </a:lnTo>
                  <a:lnTo>
                    <a:pt x="1604" y="1810"/>
                  </a:lnTo>
                  <a:lnTo>
                    <a:pt x="1588" y="1803"/>
                  </a:lnTo>
                  <a:lnTo>
                    <a:pt x="1637" y="1786"/>
                  </a:lnTo>
                  <a:lnTo>
                    <a:pt x="1621" y="1781"/>
                  </a:lnTo>
                  <a:lnTo>
                    <a:pt x="1637" y="1770"/>
                  </a:lnTo>
                  <a:lnTo>
                    <a:pt x="1588" y="1786"/>
                  </a:lnTo>
                  <a:lnTo>
                    <a:pt x="1555" y="1770"/>
                  </a:lnTo>
                  <a:lnTo>
                    <a:pt x="1550" y="1786"/>
                  </a:lnTo>
                  <a:lnTo>
                    <a:pt x="1533" y="1781"/>
                  </a:lnTo>
                  <a:lnTo>
                    <a:pt x="1533" y="1765"/>
                  </a:lnTo>
                  <a:lnTo>
                    <a:pt x="1533" y="1737"/>
                  </a:lnTo>
                  <a:lnTo>
                    <a:pt x="1567" y="1715"/>
                  </a:lnTo>
                  <a:lnTo>
                    <a:pt x="1604" y="1699"/>
                  </a:lnTo>
                  <a:lnTo>
                    <a:pt x="1604" y="1682"/>
                  </a:lnTo>
                  <a:lnTo>
                    <a:pt x="1571" y="1675"/>
                  </a:lnTo>
                  <a:lnTo>
                    <a:pt x="1571" y="1659"/>
                  </a:lnTo>
                  <a:lnTo>
                    <a:pt x="1659" y="1604"/>
                  </a:lnTo>
                  <a:lnTo>
                    <a:pt x="1852" y="1543"/>
                  </a:lnTo>
                  <a:lnTo>
                    <a:pt x="1878" y="1548"/>
                  </a:lnTo>
                  <a:lnTo>
                    <a:pt x="1895" y="1571"/>
                  </a:lnTo>
                  <a:lnTo>
                    <a:pt x="1890" y="1609"/>
                  </a:lnTo>
                  <a:lnTo>
                    <a:pt x="1895" y="1621"/>
                  </a:lnTo>
                  <a:lnTo>
                    <a:pt x="1869" y="1626"/>
                  </a:lnTo>
                  <a:lnTo>
                    <a:pt x="1869" y="1642"/>
                  </a:lnTo>
                  <a:lnTo>
                    <a:pt x="1852" y="1654"/>
                  </a:lnTo>
                  <a:lnTo>
                    <a:pt x="1857" y="1654"/>
                  </a:lnTo>
                  <a:lnTo>
                    <a:pt x="1928" y="1637"/>
                  </a:lnTo>
                  <a:lnTo>
                    <a:pt x="1933" y="1626"/>
                  </a:lnTo>
                  <a:lnTo>
                    <a:pt x="1923" y="1621"/>
                  </a:lnTo>
                  <a:lnTo>
                    <a:pt x="1961" y="1597"/>
                  </a:lnTo>
                  <a:lnTo>
                    <a:pt x="2091" y="1637"/>
                  </a:lnTo>
                  <a:lnTo>
                    <a:pt x="2084" y="1654"/>
                  </a:lnTo>
                  <a:lnTo>
                    <a:pt x="2046" y="1682"/>
                  </a:lnTo>
                  <a:lnTo>
                    <a:pt x="2058" y="1692"/>
                  </a:lnTo>
                  <a:lnTo>
                    <a:pt x="2074" y="1682"/>
                  </a:lnTo>
                  <a:lnTo>
                    <a:pt x="2058" y="1682"/>
                  </a:lnTo>
                  <a:lnTo>
                    <a:pt x="2084" y="1666"/>
                  </a:lnTo>
                  <a:lnTo>
                    <a:pt x="2091" y="1666"/>
                  </a:lnTo>
                  <a:lnTo>
                    <a:pt x="2084" y="1682"/>
                  </a:lnTo>
                  <a:lnTo>
                    <a:pt x="2100" y="1682"/>
                  </a:lnTo>
                  <a:lnTo>
                    <a:pt x="2105" y="1666"/>
                  </a:lnTo>
                  <a:lnTo>
                    <a:pt x="2129" y="1654"/>
                  </a:lnTo>
                  <a:lnTo>
                    <a:pt x="2155" y="1666"/>
                  </a:lnTo>
                  <a:lnTo>
                    <a:pt x="2138" y="1659"/>
                  </a:lnTo>
                  <a:lnTo>
                    <a:pt x="2155" y="1654"/>
                  </a:lnTo>
                  <a:lnTo>
                    <a:pt x="2193" y="1666"/>
                  </a:lnTo>
                  <a:lnTo>
                    <a:pt x="2159" y="1654"/>
                  </a:lnTo>
                  <a:lnTo>
                    <a:pt x="2193" y="1659"/>
                  </a:lnTo>
                  <a:lnTo>
                    <a:pt x="2176" y="1642"/>
                  </a:lnTo>
                  <a:lnTo>
                    <a:pt x="2155" y="1637"/>
                  </a:lnTo>
                  <a:lnTo>
                    <a:pt x="2193" y="1626"/>
                  </a:lnTo>
                  <a:lnTo>
                    <a:pt x="2138" y="1609"/>
                  </a:lnTo>
                  <a:lnTo>
                    <a:pt x="2122" y="1597"/>
                  </a:lnTo>
                  <a:lnTo>
                    <a:pt x="2143" y="1588"/>
                  </a:lnTo>
                  <a:lnTo>
                    <a:pt x="2197" y="1604"/>
                  </a:lnTo>
                  <a:lnTo>
                    <a:pt x="2193" y="1609"/>
                  </a:lnTo>
                  <a:lnTo>
                    <a:pt x="2230" y="1626"/>
                  </a:lnTo>
                  <a:lnTo>
                    <a:pt x="2247" y="1637"/>
                  </a:lnTo>
                  <a:lnTo>
                    <a:pt x="2247" y="1654"/>
                  </a:lnTo>
                  <a:lnTo>
                    <a:pt x="2273" y="1654"/>
                  </a:lnTo>
                  <a:lnTo>
                    <a:pt x="2268" y="1682"/>
                  </a:lnTo>
                  <a:lnTo>
                    <a:pt x="2285" y="1708"/>
                  </a:lnTo>
                  <a:lnTo>
                    <a:pt x="2289" y="1725"/>
                  </a:lnTo>
                  <a:lnTo>
                    <a:pt x="2301" y="1737"/>
                  </a:lnTo>
                  <a:lnTo>
                    <a:pt x="2301" y="1748"/>
                  </a:lnTo>
                  <a:lnTo>
                    <a:pt x="2301" y="1770"/>
                  </a:lnTo>
                  <a:lnTo>
                    <a:pt x="2327" y="1781"/>
                  </a:lnTo>
                  <a:lnTo>
                    <a:pt x="2327" y="1770"/>
                  </a:lnTo>
                  <a:lnTo>
                    <a:pt x="2370" y="1748"/>
                  </a:lnTo>
                  <a:lnTo>
                    <a:pt x="2327" y="1708"/>
                  </a:lnTo>
                  <a:lnTo>
                    <a:pt x="2322" y="1654"/>
                  </a:lnTo>
                  <a:lnTo>
                    <a:pt x="2318" y="1642"/>
                  </a:lnTo>
                  <a:lnTo>
                    <a:pt x="2289" y="1571"/>
                  </a:lnTo>
                  <a:lnTo>
                    <a:pt x="2322" y="1564"/>
                  </a:lnTo>
                  <a:lnTo>
                    <a:pt x="2306" y="1555"/>
                  </a:lnTo>
                  <a:lnTo>
                    <a:pt x="2318" y="1548"/>
                  </a:lnTo>
                  <a:lnTo>
                    <a:pt x="2381" y="1571"/>
                  </a:lnTo>
                  <a:lnTo>
                    <a:pt x="2381" y="1564"/>
                  </a:lnTo>
                  <a:lnTo>
                    <a:pt x="2377" y="1555"/>
                  </a:lnTo>
                  <a:lnTo>
                    <a:pt x="2398" y="1548"/>
                  </a:lnTo>
                  <a:lnTo>
                    <a:pt x="2436" y="1581"/>
                  </a:lnTo>
                  <a:lnTo>
                    <a:pt x="2469" y="1588"/>
                  </a:lnTo>
                  <a:lnTo>
                    <a:pt x="2500" y="1626"/>
                  </a:lnTo>
                  <a:lnTo>
                    <a:pt x="2490" y="1626"/>
                  </a:lnTo>
                  <a:lnTo>
                    <a:pt x="2516" y="1666"/>
                  </a:lnTo>
                  <a:lnTo>
                    <a:pt x="2504" y="1666"/>
                  </a:lnTo>
                  <a:lnTo>
                    <a:pt x="2533" y="1708"/>
                  </a:lnTo>
                  <a:lnTo>
                    <a:pt x="2521" y="1725"/>
                  </a:lnTo>
                  <a:lnTo>
                    <a:pt x="2570" y="1786"/>
                  </a:lnTo>
                  <a:lnTo>
                    <a:pt x="2570" y="1793"/>
                  </a:lnTo>
                  <a:lnTo>
                    <a:pt x="2570" y="1810"/>
                  </a:lnTo>
                  <a:lnTo>
                    <a:pt x="2559" y="1819"/>
                  </a:lnTo>
                  <a:lnTo>
                    <a:pt x="2570" y="1836"/>
                  </a:lnTo>
                  <a:lnTo>
                    <a:pt x="2554" y="1848"/>
                  </a:lnTo>
                  <a:lnTo>
                    <a:pt x="2630" y="1914"/>
                  </a:lnTo>
                  <a:lnTo>
                    <a:pt x="2667" y="1930"/>
                  </a:lnTo>
                  <a:lnTo>
                    <a:pt x="2651" y="1921"/>
                  </a:lnTo>
                  <a:lnTo>
                    <a:pt x="2651" y="1904"/>
                  </a:lnTo>
                  <a:lnTo>
                    <a:pt x="2663" y="1904"/>
                  </a:lnTo>
                  <a:lnTo>
                    <a:pt x="2684" y="1930"/>
                  </a:lnTo>
                  <a:lnTo>
                    <a:pt x="2738" y="1959"/>
                  </a:lnTo>
                  <a:lnTo>
                    <a:pt x="2759" y="1959"/>
                  </a:lnTo>
                  <a:lnTo>
                    <a:pt x="2759" y="1970"/>
                  </a:lnTo>
                  <a:lnTo>
                    <a:pt x="2769" y="1975"/>
                  </a:lnTo>
                  <a:lnTo>
                    <a:pt x="2807" y="1970"/>
                  </a:lnTo>
                  <a:lnTo>
                    <a:pt x="2814" y="2025"/>
                  </a:lnTo>
                  <a:lnTo>
                    <a:pt x="2814" y="2025"/>
                  </a:lnTo>
                  <a:lnTo>
                    <a:pt x="2814" y="2025"/>
                  </a:lnTo>
                  <a:close/>
                  <a:moveTo>
                    <a:pt x="3083" y="1555"/>
                  </a:moveTo>
                  <a:lnTo>
                    <a:pt x="3095" y="1564"/>
                  </a:lnTo>
                  <a:lnTo>
                    <a:pt x="3078" y="1555"/>
                  </a:lnTo>
                  <a:lnTo>
                    <a:pt x="3083" y="1555"/>
                  </a:lnTo>
                  <a:lnTo>
                    <a:pt x="3083" y="1555"/>
                  </a:lnTo>
                  <a:lnTo>
                    <a:pt x="3083" y="1555"/>
                  </a:lnTo>
                  <a:close/>
                  <a:moveTo>
                    <a:pt x="3100" y="1564"/>
                  </a:moveTo>
                  <a:lnTo>
                    <a:pt x="3116" y="1581"/>
                  </a:lnTo>
                  <a:lnTo>
                    <a:pt x="3109" y="1597"/>
                  </a:lnTo>
                  <a:lnTo>
                    <a:pt x="3095" y="1604"/>
                  </a:lnTo>
                  <a:lnTo>
                    <a:pt x="3078" y="1588"/>
                  </a:lnTo>
                  <a:lnTo>
                    <a:pt x="3083" y="1571"/>
                  </a:lnTo>
                  <a:lnTo>
                    <a:pt x="3100" y="1564"/>
                  </a:lnTo>
                  <a:lnTo>
                    <a:pt x="3100" y="1564"/>
                  </a:lnTo>
                  <a:lnTo>
                    <a:pt x="3100" y="1564"/>
                  </a:lnTo>
                  <a:close/>
                  <a:moveTo>
                    <a:pt x="3180" y="1571"/>
                  </a:moveTo>
                  <a:lnTo>
                    <a:pt x="3180" y="1588"/>
                  </a:lnTo>
                  <a:lnTo>
                    <a:pt x="3163" y="1581"/>
                  </a:lnTo>
                  <a:lnTo>
                    <a:pt x="3180" y="1571"/>
                  </a:lnTo>
                  <a:lnTo>
                    <a:pt x="3180" y="1571"/>
                  </a:lnTo>
                  <a:lnTo>
                    <a:pt x="3180" y="1571"/>
                  </a:lnTo>
                  <a:close/>
                  <a:moveTo>
                    <a:pt x="3170" y="1597"/>
                  </a:moveTo>
                  <a:lnTo>
                    <a:pt x="3180" y="1604"/>
                  </a:lnTo>
                  <a:lnTo>
                    <a:pt x="3170" y="1604"/>
                  </a:lnTo>
                  <a:lnTo>
                    <a:pt x="3170" y="1597"/>
                  </a:lnTo>
                  <a:lnTo>
                    <a:pt x="3170" y="1597"/>
                  </a:lnTo>
                  <a:lnTo>
                    <a:pt x="3170" y="1597"/>
                  </a:lnTo>
                  <a:close/>
                  <a:moveTo>
                    <a:pt x="3109" y="1609"/>
                  </a:moveTo>
                  <a:lnTo>
                    <a:pt x="3109" y="1621"/>
                  </a:lnTo>
                  <a:lnTo>
                    <a:pt x="3109" y="1626"/>
                  </a:lnTo>
                  <a:lnTo>
                    <a:pt x="3083" y="1626"/>
                  </a:lnTo>
                  <a:lnTo>
                    <a:pt x="3109" y="1609"/>
                  </a:lnTo>
                  <a:lnTo>
                    <a:pt x="3109" y="1609"/>
                  </a:lnTo>
                  <a:lnTo>
                    <a:pt x="3109" y="1609"/>
                  </a:lnTo>
                  <a:close/>
                  <a:moveTo>
                    <a:pt x="3170" y="1609"/>
                  </a:moveTo>
                  <a:lnTo>
                    <a:pt x="3180" y="1621"/>
                  </a:lnTo>
                  <a:lnTo>
                    <a:pt x="3170" y="1609"/>
                  </a:lnTo>
                  <a:lnTo>
                    <a:pt x="3170" y="1609"/>
                  </a:lnTo>
                  <a:lnTo>
                    <a:pt x="3170" y="1609"/>
                  </a:lnTo>
                  <a:close/>
                  <a:moveTo>
                    <a:pt x="2219" y="1621"/>
                  </a:moveTo>
                  <a:lnTo>
                    <a:pt x="2230" y="1621"/>
                  </a:lnTo>
                  <a:lnTo>
                    <a:pt x="2214" y="1621"/>
                  </a:lnTo>
                  <a:lnTo>
                    <a:pt x="2219" y="1621"/>
                  </a:lnTo>
                  <a:lnTo>
                    <a:pt x="2219" y="1621"/>
                  </a:lnTo>
                  <a:lnTo>
                    <a:pt x="2219" y="1621"/>
                  </a:lnTo>
                  <a:close/>
                  <a:moveTo>
                    <a:pt x="2143" y="1642"/>
                  </a:moveTo>
                  <a:lnTo>
                    <a:pt x="2155" y="1642"/>
                  </a:lnTo>
                  <a:lnTo>
                    <a:pt x="2143" y="1642"/>
                  </a:lnTo>
                  <a:lnTo>
                    <a:pt x="2143" y="1642"/>
                  </a:lnTo>
                  <a:lnTo>
                    <a:pt x="2143" y="1642"/>
                  </a:lnTo>
                  <a:close/>
                  <a:moveTo>
                    <a:pt x="4271" y="1659"/>
                  </a:moveTo>
                  <a:lnTo>
                    <a:pt x="4281" y="1666"/>
                  </a:lnTo>
                  <a:lnTo>
                    <a:pt x="4281" y="1675"/>
                  </a:lnTo>
                  <a:lnTo>
                    <a:pt x="4271" y="1659"/>
                  </a:lnTo>
                  <a:lnTo>
                    <a:pt x="4271" y="1659"/>
                  </a:lnTo>
                  <a:lnTo>
                    <a:pt x="4271" y="1659"/>
                  </a:lnTo>
                  <a:close/>
                  <a:moveTo>
                    <a:pt x="4314" y="1666"/>
                  </a:moveTo>
                  <a:lnTo>
                    <a:pt x="4318" y="1682"/>
                  </a:lnTo>
                  <a:lnTo>
                    <a:pt x="4302" y="1666"/>
                  </a:lnTo>
                  <a:lnTo>
                    <a:pt x="4314" y="1666"/>
                  </a:lnTo>
                  <a:lnTo>
                    <a:pt x="4314" y="1666"/>
                  </a:lnTo>
                  <a:lnTo>
                    <a:pt x="4314" y="1666"/>
                  </a:lnTo>
                  <a:close/>
                  <a:moveTo>
                    <a:pt x="4352" y="1666"/>
                  </a:moveTo>
                  <a:lnTo>
                    <a:pt x="4368" y="1682"/>
                  </a:lnTo>
                  <a:lnTo>
                    <a:pt x="4352" y="1682"/>
                  </a:lnTo>
                  <a:lnTo>
                    <a:pt x="4340" y="1675"/>
                  </a:lnTo>
                  <a:lnTo>
                    <a:pt x="4352" y="1666"/>
                  </a:lnTo>
                  <a:lnTo>
                    <a:pt x="4352" y="1666"/>
                  </a:lnTo>
                  <a:lnTo>
                    <a:pt x="4352" y="1666"/>
                  </a:lnTo>
                  <a:close/>
                  <a:moveTo>
                    <a:pt x="2306" y="1725"/>
                  </a:moveTo>
                  <a:lnTo>
                    <a:pt x="2318" y="1732"/>
                  </a:lnTo>
                  <a:lnTo>
                    <a:pt x="2301" y="1732"/>
                  </a:lnTo>
                  <a:lnTo>
                    <a:pt x="2306" y="1725"/>
                  </a:lnTo>
                  <a:lnTo>
                    <a:pt x="2306" y="1725"/>
                  </a:lnTo>
                  <a:lnTo>
                    <a:pt x="2306" y="1725"/>
                  </a:lnTo>
                  <a:close/>
                  <a:moveTo>
                    <a:pt x="5176" y="4614"/>
                  </a:moveTo>
                  <a:lnTo>
                    <a:pt x="5167" y="4614"/>
                  </a:lnTo>
                  <a:lnTo>
                    <a:pt x="5162" y="4597"/>
                  </a:lnTo>
                  <a:lnTo>
                    <a:pt x="5150" y="4581"/>
                  </a:lnTo>
                  <a:lnTo>
                    <a:pt x="5162" y="4576"/>
                  </a:lnTo>
                  <a:lnTo>
                    <a:pt x="5138" y="4569"/>
                  </a:lnTo>
                  <a:lnTo>
                    <a:pt x="5138" y="4441"/>
                  </a:lnTo>
                  <a:lnTo>
                    <a:pt x="5096" y="4415"/>
                  </a:lnTo>
                  <a:lnTo>
                    <a:pt x="5058" y="4432"/>
                  </a:lnTo>
                  <a:lnTo>
                    <a:pt x="5041" y="4425"/>
                  </a:lnTo>
                  <a:lnTo>
                    <a:pt x="5041" y="4408"/>
                  </a:lnTo>
                  <a:lnTo>
                    <a:pt x="5037" y="4403"/>
                  </a:lnTo>
                  <a:lnTo>
                    <a:pt x="4982" y="4470"/>
                  </a:lnTo>
                  <a:lnTo>
                    <a:pt x="4973" y="4498"/>
                  </a:lnTo>
                  <a:lnTo>
                    <a:pt x="4961" y="4519"/>
                  </a:lnTo>
                  <a:lnTo>
                    <a:pt x="4961" y="4543"/>
                  </a:lnTo>
                  <a:lnTo>
                    <a:pt x="4928" y="4576"/>
                  </a:lnTo>
                  <a:lnTo>
                    <a:pt x="4928" y="4581"/>
                  </a:lnTo>
                  <a:lnTo>
                    <a:pt x="4918" y="4609"/>
                  </a:lnTo>
                  <a:lnTo>
                    <a:pt x="4907" y="4597"/>
                  </a:lnTo>
                  <a:lnTo>
                    <a:pt x="4897" y="4609"/>
                  </a:lnTo>
                  <a:lnTo>
                    <a:pt x="4890" y="4597"/>
                  </a:lnTo>
                  <a:lnTo>
                    <a:pt x="4881" y="4609"/>
                  </a:lnTo>
                  <a:lnTo>
                    <a:pt x="4874" y="4625"/>
                  </a:lnTo>
                  <a:lnTo>
                    <a:pt x="4626" y="4630"/>
                  </a:lnTo>
                  <a:lnTo>
                    <a:pt x="4529" y="4708"/>
                  </a:lnTo>
                  <a:lnTo>
                    <a:pt x="4503" y="4748"/>
                  </a:lnTo>
                  <a:lnTo>
                    <a:pt x="4368" y="4748"/>
                  </a:lnTo>
                  <a:lnTo>
                    <a:pt x="4335" y="4765"/>
                  </a:lnTo>
                  <a:lnTo>
                    <a:pt x="4340" y="4781"/>
                  </a:lnTo>
                  <a:lnTo>
                    <a:pt x="4340" y="4798"/>
                  </a:lnTo>
                  <a:lnTo>
                    <a:pt x="4356" y="4814"/>
                  </a:lnTo>
                  <a:lnTo>
                    <a:pt x="4352" y="4819"/>
                  </a:lnTo>
                  <a:lnTo>
                    <a:pt x="4271" y="4852"/>
                  </a:lnTo>
                  <a:lnTo>
                    <a:pt x="4189" y="4869"/>
                  </a:lnTo>
                  <a:lnTo>
                    <a:pt x="4108" y="4918"/>
                  </a:lnTo>
                  <a:lnTo>
                    <a:pt x="4087" y="4918"/>
                  </a:lnTo>
                  <a:lnTo>
                    <a:pt x="4066" y="4902"/>
                  </a:lnTo>
                  <a:lnTo>
                    <a:pt x="4054" y="4885"/>
                  </a:lnTo>
                  <a:lnTo>
                    <a:pt x="4066" y="4869"/>
                  </a:lnTo>
                  <a:lnTo>
                    <a:pt x="4104" y="4836"/>
                  </a:lnTo>
                  <a:lnTo>
                    <a:pt x="4108" y="4803"/>
                  </a:lnTo>
                  <a:lnTo>
                    <a:pt x="4125" y="4748"/>
                  </a:lnTo>
                  <a:lnTo>
                    <a:pt x="4104" y="4597"/>
                  </a:lnTo>
                  <a:lnTo>
                    <a:pt x="4028" y="4552"/>
                  </a:lnTo>
                  <a:lnTo>
                    <a:pt x="4033" y="4536"/>
                  </a:lnTo>
                  <a:lnTo>
                    <a:pt x="4028" y="4526"/>
                  </a:lnTo>
                  <a:lnTo>
                    <a:pt x="4000" y="4526"/>
                  </a:lnTo>
                  <a:lnTo>
                    <a:pt x="3990" y="4514"/>
                  </a:lnTo>
                  <a:lnTo>
                    <a:pt x="3990" y="4486"/>
                  </a:lnTo>
                  <a:lnTo>
                    <a:pt x="3957" y="4498"/>
                  </a:lnTo>
                  <a:lnTo>
                    <a:pt x="3941" y="4481"/>
                  </a:lnTo>
                  <a:lnTo>
                    <a:pt x="3941" y="4460"/>
                  </a:lnTo>
                  <a:lnTo>
                    <a:pt x="3693" y="4333"/>
                  </a:lnTo>
                  <a:lnTo>
                    <a:pt x="3622" y="4359"/>
                  </a:lnTo>
                  <a:lnTo>
                    <a:pt x="3584" y="4354"/>
                  </a:lnTo>
                  <a:lnTo>
                    <a:pt x="3563" y="4349"/>
                  </a:lnTo>
                  <a:lnTo>
                    <a:pt x="3525" y="4349"/>
                  </a:lnTo>
                  <a:lnTo>
                    <a:pt x="3515" y="4337"/>
                  </a:lnTo>
                  <a:lnTo>
                    <a:pt x="3478" y="4354"/>
                  </a:lnTo>
                  <a:lnTo>
                    <a:pt x="3440" y="4337"/>
                  </a:lnTo>
                  <a:lnTo>
                    <a:pt x="3433" y="4321"/>
                  </a:lnTo>
                  <a:lnTo>
                    <a:pt x="3418" y="4321"/>
                  </a:lnTo>
                  <a:lnTo>
                    <a:pt x="3407" y="4337"/>
                  </a:lnTo>
                  <a:lnTo>
                    <a:pt x="3407" y="4321"/>
                  </a:lnTo>
                  <a:lnTo>
                    <a:pt x="3369" y="4297"/>
                  </a:lnTo>
                  <a:lnTo>
                    <a:pt x="3348" y="4297"/>
                  </a:lnTo>
                  <a:lnTo>
                    <a:pt x="3310" y="4304"/>
                  </a:lnTo>
                  <a:lnTo>
                    <a:pt x="3310" y="4297"/>
                  </a:lnTo>
                  <a:lnTo>
                    <a:pt x="3256" y="4292"/>
                  </a:lnTo>
                  <a:lnTo>
                    <a:pt x="3244" y="4281"/>
                  </a:lnTo>
                  <a:lnTo>
                    <a:pt x="3239" y="4238"/>
                  </a:lnTo>
                  <a:lnTo>
                    <a:pt x="3218" y="4226"/>
                  </a:lnTo>
                  <a:lnTo>
                    <a:pt x="3218" y="4264"/>
                  </a:lnTo>
                  <a:lnTo>
                    <a:pt x="1281" y="4264"/>
                  </a:lnTo>
                  <a:lnTo>
                    <a:pt x="1276" y="4259"/>
                  </a:lnTo>
                  <a:lnTo>
                    <a:pt x="1259" y="4264"/>
                  </a:lnTo>
                  <a:lnTo>
                    <a:pt x="1248" y="4238"/>
                  </a:lnTo>
                  <a:lnTo>
                    <a:pt x="1264" y="4238"/>
                  </a:lnTo>
                  <a:lnTo>
                    <a:pt x="1276" y="4226"/>
                  </a:lnTo>
                  <a:lnTo>
                    <a:pt x="1264" y="4238"/>
                  </a:lnTo>
                  <a:lnTo>
                    <a:pt x="1248" y="4238"/>
                  </a:lnTo>
                  <a:lnTo>
                    <a:pt x="1243" y="4222"/>
                  </a:lnTo>
                  <a:lnTo>
                    <a:pt x="1248" y="4193"/>
                  </a:lnTo>
                  <a:lnTo>
                    <a:pt x="1226" y="4222"/>
                  </a:lnTo>
                  <a:lnTo>
                    <a:pt x="1226" y="4226"/>
                  </a:lnTo>
                  <a:lnTo>
                    <a:pt x="1205" y="4222"/>
                  </a:lnTo>
                  <a:lnTo>
                    <a:pt x="1189" y="4205"/>
                  </a:lnTo>
                  <a:lnTo>
                    <a:pt x="1193" y="4193"/>
                  </a:lnTo>
                  <a:lnTo>
                    <a:pt x="1210" y="4222"/>
                  </a:lnTo>
                  <a:lnTo>
                    <a:pt x="1210" y="4210"/>
                  </a:lnTo>
                  <a:lnTo>
                    <a:pt x="1226" y="4205"/>
                  </a:lnTo>
                  <a:lnTo>
                    <a:pt x="1210" y="4205"/>
                  </a:lnTo>
                  <a:lnTo>
                    <a:pt x="1193" y="4193"/>
                  </a:lnTo>
                  <a:lnTo>
                    <a:pt x="1205" y="4181"/>
                  </a:lnTo>
                  <a:lnTo>
                    <a:pt x="1193" y="4170"/>
                  </a:lnTo>
                  <a:lnTo>
                    <a:pt x="1210" y="4165"/>
                  </a:lnTo>
                  <a:lnTo>
                    <a:pt x="1205" y="4153"/>
                  </a:lnTo>
                  <a:lnTo>
                    <a:pt x="1193" y="4148"/>
                  </a:lnTo>
                  <a:lnTo>
                    <a:pt x="1205" y="4165"/>
                  </a:lnTo>
                  <a:lnTo>
                    <a:pt x="1193" y="4170"/>
                  </a:lnTo>
                  <a:lnTo>
                    <a:pt x="1193" y="4188"/>
                  </a:lnTo>
                  <a:lnTo>
                    <a:pt x="1189" y="4181"/>
                  </a:lnTo>
                  <a:lnTo>
                    <a:pt x="1189" y="4188"/>
                  </a:lnTo>
                  <a:lnTo>
                    <a:pt x="1167" y="4193"/>
                  </a:lnTo>
                  <a:lnTo>
                    <a:pt x="1134" y="4165"/>
                  </a:lnTo>
                  <a:lnTo>
                    <a:pt x="1139" y="4170"/>
                  </a:lnTo>
                  <a:lnTo>
                    <a:pt x="1151" y="4148"/>
                  </a:lnTo>
                  <a:lnTo>
                    <a:pt x="1139" y="4137"/>
                  </a:lnTo>
                  <a:lnTo>
                    <a:pt x="1172" y="4127"/>
                  </a:lnTo>
                  <a:lnTo>
                    <a:pt x="1134" y="4137"/>
                  </a:lnTo>
                  <a:lnTo>
                    <a:pt x="1118" y="4137"/>
                  </a:lnTo>
                  <a:lnTo>
                    <a:pt x="1118" y="4127"/>
                  </a:lnTo>
                  <a:lnTo>
                    <a:pt x="1134" y="4115"/>
                  </a:lnTo>
                  <a:lnTo>
                    <a:pt x="1134" y="4082"/>
                  </a:lnTo>
                  <a:lnTo>
                    <a:pt x="1125" y="4099"/>
                  </a:lnTo>
                  <a:lnTo>
                    <a:pt x="1134" y="4111"/>
                  </a:lnTo>
                  <a:lnTo>
                    <a:pt x="1118" y="4132"/>
                  </a:lnTo>
                  <a:lnTo>
                    <a:pt x="1087" y="4127"/>
                  </a:lnTo>
                  <a:lnTo>
                    <a:pt x="1096" y="4099"/>
                  </a:lnTo>
                  <a:lnTo>
                    <a:pt x="1070" y="4132"/>
                  </a:lnTo>
                  <a:lnTo>
                    <a:pt x="1063" y="4127"/>
                  </a:lnTo>
                  <a:lnTo>
                    <a:pt x="1033" y="4127"/>
                  </a:lnTo>
                  <a:lnTo>
                    <a:pt x="1042" y="4115"/>
                  </a:lnTo>
                  <a:lnTo>
                    <a:pt x="1033" y="4111"/>
                  </a:lnTo>
                  <a:lnTo>
                    <a:pt x="1080" y="4099"/>
                  </a:lnTo>
                  <a:lnTo>
                    <a:pt x="1087" y="4082"/>
                  </a:lnTo>
                  <a:lnTo>
                    <a:pt x="1080" y="4070"/>
                  </a:lnTo>
                  <a:lnTo>
                    <a:pt x="1080" y="4077"/>
                  </a:lnTo>
                  <a:lnTo>
                    <a:pt x="1070" y="4099"/>
                  </a:lnTo>
                  <a:lnTo>
                    <a:pt x="1042" y="4111"/>
                  </a:lnTo>
                  <a:lnTo>
                    <a:pt x="1049" y="4099"/>
                  </a:lnTo>
                  <a:lnTo>
                    <a:pt x="1042" y="4094"/>
                  </a:lnTo>
                  <a:lnTo>
                    <a:pt x="1011" y="4094"/>
                  </a:lnTo>
                  <a:lnTo>
                    <a:pt x="1042" y="4082"/>
                  </a:lnTo>
                  <a:lnTo>
                    <a:pt x="1004" y="4094"/>
                  </a:lnTo>
                  <a:lnTo>
                    <a:pt x="974" y="4082"/>
                  </a:lnTo>
                  <a:lnTo>
                    <a:pt x="990" y="4094"/>
                  </a:lnTo>
                  <a:lnTo>
                    <a:pt x="978" y="4094"/>
                  </a:lnTo>
                  <a:lnTo>
                    <a:pt x="952" y="4077"/>
                  </a:lnTo>
                  <a:lnTo>
                    <a:pt x="952" y="4070"/>
                  </a:lnTo>
                  <a:lnTo>
                    <a:pt x="995" y="4070"/>
                  </a:lnTo>
                  <a:lnTo>
                    <a:pt x="1004" y="4061"/>
                  </a:lnTo>
                  <a:lnTo>
                    <a:pt x="974" y="4070"/>
                  </a:lnTo>
                  <a:lnTo>
                    <a:pt x="924" y="4061"/>
                  </a:lnTo>
                  <a:lnTo>
                    <a:pt x="924" y="4054"/>
                  </a:lnTo>
                  <a:lnTo>
                    <a:pt x="941" y="4044"/>
                  </a:lnTo>
                  <a:lnTo>
                    <a:pt x="974" y="4044"/>
                  </a:lnTo>
                  <a:lnTo>
                    <a:pt x="974" y="4037"/>
                  </a:lnTo>
                  <a:lnTo>
                    <a:pt x="962" y="4044"/>
                  </a:lnTo>
                  <a:lnTo>
                    <a:pt x="924" y="4044"/>
                  </a:lnTo>
                  <a:lnTo>
                    <a:pt x="941" y="4025"/>
                  </a:lnTo>
                  <a:lnTo>
                    <a:pt x="952" y="4016"/>
                  </a:lnTo>
                  <a:lnTo>
                    <a:pt x="1011" y="4016"/>
                  </a:lnTo>
                  <a:lnTo>
                    <a:pt x="1011" y="4000"/>
                  </a:lnTo>
                  <a:lnTo>
                    <a:pt x="1004" y="4016"/>
                  </a:lnTo>
                  <a:lnTo>
                    <a:pt x="952" y="4016"/>
                  </a:lnTo>
                  <a:lnTo>
                    <a:pt x="957" y="4000"/>
                  </a:lnTo>
                  <a:lnTo>
                    <a:pt x="941" y="4004"/>
                  </a:lnTo>
                  <a:lnTo>
                    <a:pt x="941" y="4021"/>
                  </a:lnTo>
                  <a:lnTo>
                    <a:pt x="936" y="4025"/>
                  </a:lnTo>
                  <a:lnTo>
                    <a:pt x="919" y="4016"/>
                  </a:lnTo>
                  <a:lnTo>
                    <a:pt x="924" y="3988"/>
                  </a:lnTo>
                  <a:lnTo>
                    <a:pt x="936" y="3983"/>
                  </a:lnTo>
                  <a:lnTo>
                    <a:pt x="941" y="3966"/>
                  </a:lnTo>
                  <a:lnTo>
                    <a:pt x="952" y="3971"/>
                  </a:lnTo>
                  <a:lnTo>
                    <a:pt x="941" y="3971"/>
                  </a:lnTo>
                  <a:lnTo>
                    <a:pt x="974" y="3950"/>
                  </a:lnTo>
                  <a:lnTo>
                    <a:pt x="978" y="3950"/>
                  </a:lnTo>
                  <a:lnTo>
                    <a:pt x="1004" y="3983"/>
                  </a:lnTo>
                  <a:lnTo>
                    <a:pt x="990" y="3950"/>
                  </a:lnTo>
                  <a:lnTo>
                    <a:pt x="1004" y="3943"/>
                  </a:lnTo>
                  <a:lnTo>
                    <a:pt x="974" y="3943"/>
                  </a:lnTo>
                  <a:lnTo>
                    <a:pt x="962" y="3933"/>
                  </a:lnTo>
                  <a:lnTo>
                    <a:pt x="990" y="3910"/>
                  </a:lnTo>
                  <a:lnTo>
                    <a:pt x="978" y="3905"/>
                  </a:lnTo>
                  <a:lnTo>
                    <a:pt x="978" y="3917"/>
                  </a:lnTo>
                  <a:lnTo>
                    <a:pt x="941" y="3950"/>
                  </a:lnTo>
                  <a:lnTo>
                    <a:pt x="924" y="3959"/>
                  </a:lnTo>
                  <a:lnTo>
                    <a:pt x="919" y="3933"/>
                  </a:lnTo>
                  <a:lnTo>
                    <a:pt x="908" y="3950"/>
                  </a:lnTo>
                  <a:lnTo>
                    <a:pt x="908" y="3933"/>
                  </a:lnTo>
                  <a:lnTo>
                    <a:pt x="919" y="3926"/>
                  </a:lnTo>
                  <a:lnTo>
                    <a:pt x="903" y="3933"/>
                  </a:lnTo>
                  <a:lnTo>
                    <a:pt x="898" y="3959"/>
                  </a:lnTo>
                  <a:lnTo>
                    <a:pt x="886" y="3950"/>
                  </a:lnTo>
                  <a:lnTo>
                    <a:pt x="898" y="3933"/>
                  </a:lnTo>
                  <a:lnTo>
                    <a:pt x="903" y="3893"/>
                  </a:lnTo>
                  <a:lnTo>
                    <a:pt x="882" y="3905"/>
                  </a:lnTo>
                  <a:lnTo>
                    <a:pt x="870" y="3872"/>
                  </a:lnTo>
                  <a:lnTo>
                    <a:pt x="853" y="3855"/>
                  </a:lnTo>
                  <a:lnTo>
                    <a:pt x="848" y="3832"/>
                  </a:lnTo>
                  <a:lnTo>
                    <a:pt x="853" y="3832"/>
                  </a:lnTo>
                  <a:lnTo>
                    <a:pt x="882" y="3848"/>
                  </a:lnTo>
                  <a:lnTo>
                    <a:pt x="903" y="3839"/>
                  </a:lnTo>
                  <a:lnTo>
                    <a:pt x="924" y="3860"/>
                  </a:lnTo>
                  <a:lnTo>
                    <a:pt x="903" y="3839"/>
                  </a:lnTo>
                  <a:lnTo>
                    <a:pt x="870" y="3839"/>
                  </a:lnTo>
                  <a:lnTo>
                    <a:pt x="853" y="3822"/>
                  </a:lnTo>
                  <a:lnTo>
                    <a:pt x="853" y="3806"/>
                  </a:lnTo>
                  <a:lnTo>
                    <a:pt x="882" y="3799"/>
                  </a:lnTo>
                  <a:lnTo>
                    <a:pt x="865" y="3794"/>
                  </a:lnTo>
                  <a:lnTo>
                    <a:pt x="870" y="3782"/>
                  </a:lnTo>
                  <a:lnTo>
                    <a:pt x="827" y="3822"/>
                  </a:lnTo>
                  <a:lnTo>
                    <a:pt x="827" y="3848"/>
                  </a:lnTo>
                  <a:lnTo>
                    <a:pt x="773" y="3799"/>
                  </a:lnTo>
                  <a:lnTo>
                    <a:pt x="773" y="3766"/>
                  </a:lnTo>
                  <a:lnTo>
                    <a:pt x="811" y="3761"/>
                  </a:lnTo>
                  <a:lnTo>
                    <a:pt x="763" y="3766"/>
                  </a:lnTo>
                  <a:lnTo>
                    <a:pt x="756" y="3749"/>
                  </a:lnTo>
                  <a:lnTo>
                    <a:pt x="740" y="3749"/>
                  </a:lnTo>
                  <a:lnTo>
                    <a:pt x="740" y="3721"/>
                  </a:lnTo>
                  <a:lnTo>
                    <a:pt x="778" y="3749"/>
                  </a:lnTo>
                  <a:lnTo>
                    <a:pt x="747" y="3721"/>
                  </a:lnTo>
                  <a:lnTo>
                    <a:pt x="763" y="3711"/>
                  </a:lnTo>
                  <a:lnTo>
                    <a:pt x="778" y="3728"/>
                  </a:lnTo>
                  <a:lnTo>
                    <a:pt x="756" y="3711"/>
                  </a:lnTo>
                  <a:lnTo>
                    <a:pt x="763" y="3704"/>
                  </a:lnTo>
                  <a:lnTo>
                    <a:pt x="773" y="3688"/>
                  </a:lnTo>
                  <a:lnTo>
                    <a:pt x="801" y="3688"/>
                  </a:lnTo>
                  <a:lnTo>
                    <a:pt x="773" y="3683"/>
                  </a:lnTo>
                  <a:lnTo>
                    <a:pt x="794" y="3638"/>
                  </a:lnTo>
                  <a:lnTo>
                    <a:pt x="811" y="3638"/>
                  </a:lnTo>
                  <a:lnTo>
                    <a:pt x="794" y="3638"/>
                  </a:lnTo>
                  <a:lnTo>
                    <a:pt x="789" y="3633"/>
                  </a:lnTo>
                  <a:lnTo>
                    <a:pt x="789" y="3655"/>
                  </a:lnTo>
                  <a:lnTo>
                    <a:pt x="763" y="3688"/>
                  </a:lnTo>
                  <a:lnTo>
                    <a:pt x="763" y="3683"/>
                  </a:lnTo>
                  <a:lnTo>
                    <a:pt x="778" y="3655"/>
                  </a:lnTo>
                  <a:lnTo>
                    <a:pt x="763" y="3617"/>
                  </a:lnTo>
                  <a:lnTo>
                    <a:pt x="773" y="3593"/>
                  </a:lnTo>
                  <a:lnTo>
                    <a:pt x="763" y="3572"/>
                  </a:lnTo>
                  <a:lnTo>
                    <a:pt x="747" y="3572"/>
                  </a:lnTo>
                  <a:lnTo>
                    <a:pt x="719" y="3544"/>
                  </a:lnTo>
                  <a:lnTo>
                    <a:pt x="664" y="3522"/>
                  </a:lnTo>
                  <a:lnTo>
                    <a:pt x="650" y="3522"/>
                  </a:lnTo>
                  <a:lnTo>
                    <a:pt x="638" y="3506"/>
                  </a:lnTo>
                  <a:lnTo>
                    <a:pt x="626" y="3499"/>
                  </a:lnTo>
                  <a:lnTo>
                    <a:pt x="633" y="3482"/>
                  </a:lnTo>
                  <a:lnTo>
                    <a:pt x="612" y="3473"/>
                  </a:lnTo>
                  <a:lnTo>
                    <a:pt x="617" y="3461"/>
                  </a:lnTo>
                  <a:lnTo>
                    <a:pt x="541" y="3350"/>
                  </a:lnTo>
                  <a:lnTo>
                    <a:pt x="530" y="3333"/>
                  </a:lnTo>
                  <a:lnTo>
                    <a:pt x="504" y="3300"/>
                  </a:lnTo>
                  <a:lnTo>
                    <a:pt x="475" y="3296"/>
                  </a:lnTo>
                  <a:lnTo>
                    <a:pt x="466" y="3263"/>
                  </a:lnTo>
                  <a:lnTo>
                    <a:pt x="423" y="3246"/>
                  </a:lnTo>
                  <a:lnTo>
                    <a:pt x="416" y="3227"/>
                  </a:lnTo>
                  <a:lnTo>
                    <a:pt x="423" y="3211"/>
                  </a:lnTo>
                  <a:lnTo>
                    <a:pt x="385" y="3189"/>
                  </a:lnTo>
                  <a:lnTo>
                    <a:pt x="324" y="3211"/>
                  </a:lnTo>
                  <a:lnTo>
                    <a:pt x="331" y="3222"/>
                  </a:lnTo>
                  <a:lnTo>
                    <a:pt x="315" y="3222"/>
                  </a:lnTo>
                  <a:lnTo>
                    <a:pt x="315" y="3246"/>
                  </a:lnTo>
                  <a:lnTo>
                    <a:pt x="310" y="3251"/>
                  </a:lnTo>
                  <a:lnTo>
                    <a:pt x="293" y="3251"/>
                  </a:lnTo>
                  <a:lnTo>
                    <a:pt x="251" y="3284"/>
                  </a:lnTo>
                  <a:lnTo>
                    <a:pt x="239" y="3246"/>
                  </a:lnTo>
                  <a:lnTo>
                    <a:pt x="168" y="3189"/>
                  </a:lnTo>
                  <a:lnTo>
                    <a:pt x="163" y="3173"/>
                  </a:lnTo>
                  <a:lnTo>
                    <a:pt x="130" y="3156"/>
                  </a:lnTo>
                  <a:lnTo>
                    <a:pt x="142" y="3123"/>
                  </a:lnTo>
                  <a:lnTo>
                    <a:pt x="93" y="3135"/>
                  </a:lnTo>
                  <a:lnTo>
                    <a:pt x="71" y="3151"/>
                  </a:lnTo>
                  <a:lnTo>
                    <a:pt x="38" y="3135"/>
                  </a:lnTo>
                  <a:lnTo>
                    <a:pt x="38" y="3140"/>
                  </a:lnTo>
                  <a:lnTo>
                    <a:pt x="0" y="3135"/>
                  </a:lnTo>
                  <a:lnTo>
                    <a:pt x="0" y="2041"/>
                  </a:lnTo>
                  <a:lnTo>
                    <a:pt x="130" y="2058"/>
                  </a:lnTo>
                  <a:lnTo>
                    <a:pt x="168" y="2086"/>
                  </a:lnTo>
                  <a:lnTo>
                    <a:pt x="260" y="2124"/>
                  </a:lnTo>
                  <a:lnTo>
                    <a:pt x="348" y="2136"/>
                  </a:lnTo>
                  <a:lnTo>
                    <a:pt x="395" y="2157"/>
                  </a:lnTo>
                  <a:lnTo>
                    <a:pt x="411" y="2157"/>
                  </a:lnTo>
                  <a:lnTo>
                    <a:pt x="385" y="2140"/>
                  </a:lnTo>
                  <a:lnTo>
                    <a:pt x="400" y="2140"/>
                  </a:lnTo>
                  <a:lnTo>
                    <a:pt x="378" y="2136"/>
                  </a:lnTo>
                  <a:lnTo>
                    <a:pt x="433" y="2124"/>
                  </a:lnTo>
                  <a:lnTo>
                    <a:pt x="471" y="2157"/>
                  </a:lnTo>
                  <a:lnTo>
                    <a:pt x="475" y="2157"/>
                  </a:lnTo>
                  <a:lnTo>
                    <a:pt x="449" y="2119"/>
                  </a:lnTo>
                  <a:lnTo>
                    <a:pt x="454" y="2115"/>
                  </a:lnTo>
                  <a:lnTo>
                    <a:pt x="520" y="2070"/>
                  </a:lnTo>
                  <a:lnTo>
                    <a:pt x="558" y="2065"/>
                  </a:lnTo>
                  <a:lnTo>
                    <a:pt x="574" y="2041"/>
                  </a:lnTo>
                  <a:lnTo>
                    <a:pt x="600" y="2041"/>
                  </a:lnTo>
                  <a:lnTo>
                    <a:pt x="612" y="2029"/>
                  </a:lnTo>
                  <a:lnTo>
                    <a:pt x="596" y="2029"/>
                  </a:lnTo>
                  <a:lnTo>
                    <a:pt x="600" y="2025"/>
                  </a:lnTo>
                  <a:lnTo>
                    <a:pt x="626" y="2029"/>
                  </a:lnTo>
                  <a:lnTo>
                    <a:pt x="671" y="2003"/>
                  </a:lnTo>
                  <a:lnTo>
                    <a:pt x="688" y="2003"/>
                  </a:lnTo>
                  <a:lnTo>
                    <a:pt x="688" y="2013"/>
                  </a:lnTo>
                  <a:lnTo>
                    <a:pt x="709" y="1987"/>
                  </a:lnTo>
                  <a:lnTo>
                    <a:pt x="735" y="1970"/>
                  </a:lnTo>
                  <a:lnTo>
                    <a:pt x="740" y="1970"/>
                  </a:lnTo>
                  <a:lnTo>
                    <a:pt x="740" y="1975"/>
                  </a:lnTo>
                  <a:lnTo>
                    <a:pt x="773" y="1987"/>
                  </a:lnTo>
                  <a:lnTo>
                    <a:pt x="794" y="1959"/>
                  </a:lnTo>
                  <a:lnTo>
                    <a:pt x="815" y="1975"/>
                  </a:lnTo>
                  <a:lnTo>
                    <a:pt x="811" y="1992"/>
                  </a:lnTo>
                  <a:lnTo>
                    <a:pt x="740" y="2025"/>
                  </a:lnTo>
                  <a:lnTo>
                    <a:pt x="709" y="2048"/>
                  </a:lnTo>
                  <a:lnTo>
                    <a:pt x="702" y="2041"/>
                  </a:lnTo>
                  <a:lnTo>
                    <a:pt x="633" y="2058"/>
                  </a:lnTo>
                  <a:lnTo>
                    <a:pt x="626" y="2065"/>
                  </a:lnTo>
                  <a:lnTo>
                    <a:pt x="626" y="2070"/>
                  </a:lnTo>
                  <a:lnTo>
                    <a:pt x="579" y="2086"/>
                  </a:lnTo>
                  <a:lnTo>
                    <a:pt x="574" y="2115"/>
                  </a:lnTo>
                  <a:lnTo>
                    <a:pt x="546" y="2119"/>
                  </a:lnTo>
                  <a:lnTo>
                    <a:pt x="546" y="2124"/>
                  </a:lnTo>
                  <a:lnTo>
                    <a:pt x="525" y="2140"/>
                  </a:lnTo>
                  <a:lnTo>
                    <a:pt x="574" y="2157"/>
                  </a:lnTo>
                  <a:lnTo>
                    <a:pt x="541" y="2140"/>
                  </a:lnTo>
                  <a:lnTo>
                    <a:pt x="600" y="2140"/>
                  </a:lnTo>
                  <a:lnTo>
                    <a:pt x="600" y="2136"/>
                  </a:lnTo>
                  <a:lnTo>
                    <a:pt x="596" y="2136"/>
                  </a:lnTo>
                  <a:lnTo>
                    <a:pt x="579" y="2136"/>
                  </a:lnTo>
                  <a:lnTo>
                    <a:pt x="574" y="2115"/>
                  </a:lnTo>
                  <a:lnTo>
                    <a:pt x="600" y="2103"/>
                  </a:lnTo>
                  <a:lnTo>
                    <a:pt x="612" y="2086"/>
                  </a:lnTo>
                  <a:lnTo>
                    <a:pt x="617" y="2103"/>
                  </a:lnTo>
                  <a:lnTo>
                    <a:pt x="655" y="2070"/>
                  </a:lnTo>
                  <a:lnTo>
                    <a:pt x="633" y="2070"/>
                  </a:lnTo>
                  <a:lnTo>
                    <a:pt x="655" y="2065"/>
                  </a:lnTo>
                  <a:lnTo>
                    <a:pt x="671" y="2065"/>
                  </a:lnTo>
                  <a:lnTo>
                    <a:pt x="664" y="2081"/>
                  </a:lnTo>
                  <a:lnTo>
                    <a:pt x="688" y="2058"/>
                  </a:lnTo>
                  <a:lnTo>
                    <a:pt x="688" y="2070"/>
                  </a:lnTo>
                  <a:lnTo>
                    <a:pt x="671" y="2081"/>
                  </a:lnTo>
                  <a:lnTo>
                    <a:pt x="681" y="2081"/>
                  </a:lnTo>
                  <a:lnTo>
                    <a:pt x="693" y="2070"/>
                  </a:lnTo>
                  <a:lnTo>
                    <a:pt x="688" y="2048"/>
                  </a:lnTo>
                  <a:lnTo>
                    <a:pt x="693" y="2058"/>
                  </a:lnTo>
                  <a:lnTo>
                    <a:pt x="693" y="2070"/>
                  </a:lnTo>
                  <a:lnTo>
                    <a:pt x="702" y="2065"/>
                  </a:lnTo>
                  <a:lnTo>
                    <a:pt x="688" y="2048"/>
                  </a:lnTo>
                  <a:lnTo>
                    <a:pt x="693" y="2041"/>
                  </a:lnTo>
                  <a:lnTo>
                    <a:pt x="702" y="2065"/>
                  </a:lnTo>
                  <a:lnTo>
                    <a:pt x="693" y="2081"/>
                  </a:lnTo>
                  <a:lnTo>
                    <a:pt x="709" y="2058"/>
                  </a:lnTo>
                  <a:lnTo>
                    <a:pt x="702" y="2081"/>
                  </a:lnTo>
                  <a:lnTo>
                    <a:pt x="709" y="2070"/>
                  </a:lnTo>
                  <a:lnTo>
                    <a:pt x="702" y="2098"/>
                  </a:lnTo>
                  <a:lnTo>
                    <a:pt x="709" y="2103"/>
                  </a:lnTo>
                  <a:lnTo>
                    <a:pt x="709" y="2086"/>
                  </a:lnTo>
                  <a:lnTo>
                    <a:pt x="747" y="2029"/>
                  </a:lnTo>
                  <a:lnTo>
                    <a:pt x="832" y="2008"/>
                  </a:lnTo>
                  <a:lnTo>
                    <a:pt x="848" y="2003"/>
                  </a:lnTo>
                  <a:lnTo>
                    <a:pt x="848" y="2013"/>
                  </a:lnTo>
                  <a:lnTo>
                    <a:pt x="832" y="2013"/>
                  </a:lnTo>
                  <a:lnTo>
                    <a:pt x="832" y="2029"/>
                  </a:lnTo>
                  <a:lnTo>
                    <a:pt x="848" y="2029"/>
                  </a:lnTo>
                  <a:lnTo>
                    <a:pt x="886" y="2003"/>
                  </a:lnTo>
                  <a:lnTo>
                    <a:pt x="886" y="1975"/>
                  </a:lnTo>
                  <a:lnTo>
                    <a:pt x="952" y="1959"/>
                  </a:lnTo>
                  <a:lnTo>
                    <a:pt x="908" y="1954"/>
                  </a:lnTo>
                  <a:lnTo>
                    <a:pt x="919" y="1947"/>
                  </a:lnTo>
                  <a:lnTo>
                    <a:pt x="903" y="1947"/>
                  </a:lnTo>
                  <a:lnTo>
                    <a:pt x="908" y="1914"/>
                  </a:lnTo>
                  <a:lnTo>
                    <a:pt x="974" y="1959"/>
                  </a:lnTo>
                  <a:lnTo>
                    <a:pt x="1004" y="2025"/>
                  </a:lnTo>
                  <a:lnTo>
                    <a:pt x="1033" y="2058"/>
                  </a:lnTo>
                  <a:lnTo>
                    <a:pt x="1096" y="2081"/>
                  </a:lnTo>
                  <a:lnTo>
                    <a:pt x="1096" y="2070"/>
                  </a:lnTo>
                  <a:lnTo>
                    <a:pt x="1118" y="2065"/>
                  </a:lnTo>
                  <a:lnTo>
                    <a:pt x="1080" y="2065"/>
                  </a:lnTo>
                  <a:lnTo>
                    <a:pt x="1087" y="2058"/>
                  </a:lnTo>
                  <a:lnTo>
                    <a:pt x="1118" y="2058"/>
                  </a:lnTo>
                  <a:lnTo>
                    <a:pt x="1096" y="2041"/>
                  </a:lnTo>
                  <a:lnTo>
                    <a:pt x="1096" y="2029"/>
                  </a:lnTo>
                  <a:lnTo>
                    <a:pt x="1118" y="2025"/>
                  </a:lnTo>
                  <a:lnTo>
                    <a:pt x="1125" y="2041"/>
                  </a:lnTo>
                  <a:lnTo>
                    <a:pt x="1134" y="2029"/>
                  </a:lnTo>
                  <a:lnTo>
                    <a:pt x="1101" y="2013"/>
                  </a:lnTo>
                  <a:lnTo>
                    <a:pt x="1118" y="2013"/>
                  </a:lnTo>
                  <a:lnTo>
                    <a:pt x="1134" y="1992"/>
                  </a:lnTo>
                  <a:lnTo>
                    <a:pt x="1113" y="2003"/>
                  </a:lnTo>
                  <a:lnTo>
                    <a:pt x="1113" y="1992"/>
                  </a:lnTo>
                  <a:lnTo>
                    <a:pt x="1125" y="1987"/>
                  </a:lnTo>
                  <a:lnTo>
                    <a:pt x="1118" y="1992"/>
                  </a:lnTo>
                  <a:lnTo>
                    <a:pt x="1151" y="1987"/>
                  </a:lnTo>
                  <a:lnTo>
                    <a:pt x="1156" y="1992"/>
                  </a:lnTo>
                  <a:lnTo>
                    <a:pt x="1167" y="1987"/>
                  </a:lnTo>
                  <a:lnTo>
                    <a:pt x="1139" y="1975"/>
                  </a:lnTo>
                  <a:lnTo>
                    <a:pt x="1167" y="1975"/>
                  </a:lnTo>
                  <a:lnTo>
                    <a:pt x="1167" y="1987"/>
                  </a:lnTo>
                  <a:lnTo>
                    <a:pt x="1156" y="2025"/>
                  </a:lnTo>
                  <a:lnTo>
                    <a:pt x="1189" y="2029"/>
                  </a:lnTo>
                  <a:lnTo>
                    <a:pt x="1156" y="2070"/>
                  </a:lnTo>
                  <a:lnTo>
                    <a:pt x="1167" y="2070"/>
                  </a:lnTo>
                  <a:lnTo>
                    <a:pt x="1231" y="2070"/>
                  </a:lnTo>
                  <a:lnTo>
                    <a:pt x="1231" y="2058"/>
                  </a:lnTo>
                  <a:lnTo>
                    <a:pt x="1248" y="2058"/>
                  </a:lnTo>
                  <a:lnTo>
                    <a:pt x="1259" y="2025"/>
                  </a:lnTo>
                  <a:lnTo>
                    <a:pt x="1264" y="2013"/>
                  </a:lnTo>
                  <a:lnTo>
                    <a:pt x="1356" y="2013"/>
                  </a:lnTo>
                  <a:lnTo>
                    <a:pt x="1420" y="2041"/>
                  </a:lnTo>
                  <a:lnTo>
                    <a:pt x="1458" y="2070"/>
                  </a:lnTo>
                  <a:lnTo>
                    <a:pt x="1555" y="2086"/>
                  </a:lnTo>
                  <a:lnTo>
                    <a:pt x="1609" y="2119"/>
                  </a:lnTo>
                  <a:lnTo>
                    <a:pt x="1675" y="2136"/>
                  </a:lnTo>
                  <a:lnTo>
                    <a:pt x="1760" y="2140"/>
                  </a:lnTo>
                  <a:lnTo>
                    <a:pt x="1730" y="2124"/>
                  </a:lnTo>
                  <a:lnTo>
                    <a:pt x="1782" y="2124"/>
                  </a:lnTo>
                  <a:lnTo>
                    <a:pt x="1869" y="2157"/>
                  </a:lnTo>
                  <a:lnTo>
                    <a:pt x="1890" y="2181"/>
                  </a:lnTo>
                  <a:lnTo>
                    <a:pt x="1890" y="2214"/>
                  </a:lnTo>
                  <a:lnTo>
                    <a:pt x="1803" y="2226"/>
                  </a:lnTo>
                  <a:lnTo>
                    <a:pt x="1803" y="2235"/>
                  </a:lnTo>
                  <a:lnTo>
                    <a:pt x="1819" y="2247"/>
                  </a:lnTo>
                  <a:lnTo>
                    <a:pt x="1789" y="2252"/>
                  </a:lnTo>
                  <a:lnTo>
                    <a:pt x="1819" y="2268"/>
                  </a:lnTo>
                  <a:lnTo>
                    <a:pt x="2004" y="2285"/>
                  </a:lnTo>
                  <a:lnTo>
                    <a:pt x="2091" y="2263"/>
                  </a:lnTo>
                  <a:lnTo>
                    <a:pt x="2105" y="2280"/>
                  </a:lnTo>
                  <a:lnTo>
                    <a:pt x="2167" y="2247"/>
                  </a:lnTo>
                  <a:lnTo>
                    <a:pt x="2176" y="2252"/>
                  </a:lnTo>
                  <a:lnTo>
                    <a:pt x="2176" y="2263"/>
                  </a:lnTo>
                  <a:lnTo>
                    <a:pt x="2193" y="2263"/>
                  </a:lnTo>
                  <a:lnTo>
                    <a:pt x="2193" y="2280"/>
                  </a:lnTo>
                  <a:lnTo>
                    <a:pt x="2235" y="2280"/>
                  </a:lnTo>
                  <a:lnTo>
                    <a:pt x="2252" y="2303"/>
                  </a:lnTo>
                  <a:lnTo>
                    <a:pt x="2247" y="2308"/>
                  </a:lnTo>
                  <a:lnTo>
                    <a:pt x="2263" y="2325"/>
                  </a:lnTo>
                  <a:lnTo>
                    <a:pt x="2263" y="2292"/>
                  </a:lnTo>
                  <a:lnTo>
                    <a:pt x="2268" y="2292"/>
                  </a:lnTo>
                  <a:lnTo>
                    <a:pt x="2285" y="2325"/>
                  </a:lnTo>
                  <a:lnTo>
                    <a:pt x="2289" y="2320"/>
                  </a:lnTo>
                  <a:lnTo>
                    <a:pt x="2318" y="2337"/>
                  </a:lnTo>
                  <a:lnTo>
                    <a:pt x="2322" y="2363"/>
                  </a:lnTo>
                  <a:lnTo>
                    <a:pt x="2301" y="2363"/>
                  </a:lnTo>
                  <a:lnTo>
                    <a:pt x="2268" y="2346"/>
                  </a:lnTo>
                  <a:lnTo>
                    <a:pt x="2273" y="2363"/>
                  </a:lnTo>
                  <a:lnTo>
                    <a:pt x="2306" y="2374"/>
                  </a:lnTo>
                  <a:lnTo>
                    <a:pt x="2322" y="2412"/>
                  </a:lnTo>
                  <a:lnTo>
                    <a:pt x="2322" y="2396"/>
                  </a:lnTo>
                  <a:lnTo>
                    <a:pt x="2370" y="2448"/>
                  </a:lnTo>
                  <a:lnTo>
                    <a:pt x="2344" y="2412"/>
                  </a:lnTo>
                  <a:lnTo>
                    <a:pt x="2327" y="2379"/>
                  </a:lnTo>
                  <a:lnTo>
                    <a:pt x="2339" y="2358"/>
                  </a:lnTo>
                  <a:lnTo>
                    <a:pt x="2356" y="2374"/>
                  </a:lnTo>
                  <a:lnTo>
                    <a:pt x="2339" y="2374"/>
                  </a:lnTo>
                  <a:lnTo>
                    <a:pt x="2344" y="2391"/>
                  </a:lnTo>
                  <a:lnTo>
                    <a:pt x="2360" y="2391"/>
                  </a:lnTo>
                  <a:lnTo>
                    <a:pt x="2356" y="2374"/>
                  </a:lnTo>
                  <a:lnTo>
                    <a:pt x="2381" y="2391"/>
                  </a:lnTo>
                  <a:lnTo>
                    <a:pt x="2360" y="2363"/>
                  </a:lnTo>
                  <a:lnTo>
                    <a:pt x="2360" y="2346"/>
                  </a:lnTo>
                  <a:lnTo>
                    <a:pt x="2356" y="2341"/>
                  </a:lnTo>
                  <a:lnTo>
                    <a:pt x="2339" y="2325"/>
                  </a:lnTo>
                  <a:lnTo>
                    <a:pt x="2344" y="2308"/>
                  </a:lnTo>
                  <a:lnTo>
                    <a:pt x="2318" y="2280"/>
                  </a:lnTo>
                  <a:lnTo>
                    <a:pt x="2322" y="2263"/>
                  </a:lnTo>
                  <a:lnTo>
                    <a:pt x="2339" y="2252"/>
                  </a:lnTo>
                  <a:lnTo>
                    <a:pt x="2322" y="2247"/>
                  </a:lnTo>
                  <a:lnTo>
                    <a:pt x="2322" y="2235"/>
                  </a:lnTo>
                  <a:lnTo>
                    <a:pt x="2339" y="2235"/>
                  </a:lnTo>
                  <a:lnTo>
                    <a:pt x="2327" y="2235"/>
                  </a:lnTo>
                  <a:lnTo>
                    <a:pt x="2327" y="2247"/>
                  </a:lnTo>
                  <a:lnTo>
                    <a:pt x="2360" y="2235"/>
                  </a:lnTo>
                  <a:lnTo>
                    <a:pt x="2398" y="2230"/>
                  </a:lnTo>
                  <a:lnTo>
                    <a:pt x="2398" y="2226"/>
                  </a:lnTo>
                  <a:lnTo>
                    <a:pt x="2415" y="2214"/>
                  </a:lnTo>
                  <a:lnTo>
                    <a:pt x="2424" y="2230"/>
                  </a:lnTo>
                  <a:lnTo>
                    <a:pt x="2431" y="2226"/>
                  </a:lnTo>
                  <a:lnTo>
                    <a:pt x="2424" y="2214"/>
                  </a:lnTo>
                  <a:lnTo>
                    <a:pt x="2424" y="2209"/>
                  </a:lnTo>
                  <a:lnTo>
                    <a:pt x="2478" y="2192"/>
                  </a:lnTo>
                  <a:lnTo>
                    <a:pt x="2478" y="2176"/>
                  </a:lnTo>
                  <a:lnTo>
                    <a:pt x="2483" y="2169"/>
                  </a:lnTo>
                  <a:lnTo>
                    <a:pt x="2415" y="2181"/>
                  </a:lnTo>
                  <a:lnTo>
                    <a:pt x="2415" y="2192"/>
                  </a:lnTo>
                  <a:lnTo>
                    <a:pt x="2424" y="2197"/>
                  </a:lnTo>
                  <a:lnTo>
                    <a:pt x="2415" y="2209"/>
                  </a:lnTo>
                  <a:lnTo>
                    <a:pt x="2398" y="2192"/>
                  </a:lnTo>
                  <a:lnTo>
                    <a:pt x="2370" y="2214"/>
                  </a:lnTo>
                  <a:lnTo>
                    <a:pt x="2344" y="2197"/>
                  </a:lnTo>
                  <a:lnTo>
                    <a:pt x="2327" y="2209"/>
                  </a:lnTo>
                  <a:lnTo>
                    <a:pt x="2322" y="2214"/>
                  </a:lnTo>
                  <a:lnTo>
                    <a:pt x="2344" y="2226"/>
                  </a:lnTo>
                  <a:lnTo>
                    <a:pt x="2289" y="2230"/>
                  </a:lnTo>
                  <a:lnTo>
                    <a:pt x="2285" y="2226"/>
                  </a:lnTo>
                  <a:lnTo>
                    <a:pt x="2289" y="2226"/>
                  </a:lnTo>
                  <a:lnTo>
                    <a:pt x="2289" y="2209"/>
                  </a:lnTo>
                  <a:lnTo>
                    <a:pt x="2263" y="2214"/>
                  </a:lnTo>
                  <a:lnTo>
                    <a:pt x="2289" y="2169"/>
                  </a:lnTo>
                  <a:lnTo>
                    <a:pt x="2370" y="2157"/>
                  </a:lnTo>
                  <a:lnTo>
                    <a:pt x="2436" y="2124"/>
                  </a:lnTo>
                  <a:lnTo>
                    <a:pt x="2469" y="2136"/>
                  </a:lnTo>
                  <a:lnTo>
                    <a:pt x="2490" y="2152"/>
                  </a:lnTo>
                  <a:lnTo>
                    <a:pt x="2490" y="2169"/>
                  </a:lnTo>
                  <a:lnTo>
                    <a:pt x="2500" y="2181"/>
                  </a:lnTo>
                  <a:lnTo>
                    <a:pt x="2483" y="2192"/>
                  </a:lnTo>
                  <a:lnTo>
                    <a:pt x="2521" y="2214"/>
                  </a:lnTo>
                  <a:lnTo>
                    <a:pt x="2537" y="2209"/>
                  </a:lnTo>
                  <a:lnTo>
                    <a:pt x="2533" y="2214"/>
                  </a:lnTo>
                  <a:lnTo>
                    <a:pt x="2554" y="2214"/>
                  </a:lnTo>
                  <a:lnTo>
                    <a:pt x="2542" y="2230"/>
                  </a:lnTo>
                  <a:lnTo>
                    <a:pt x="2559" y="2235"/>
                  </a:lnTo>
                  <a:lnTo>
                    <a:pt x="2613" y="2235"/>
                  </a:lnTo>
                  <a:lnTo>
                    <a:pt x="2641" y="2226"/>
                  </a:lnTo>
                  <a:lnTo>
                    <a:pt x="2646" y="2230"/>
                  </a:lnTo>
                  <a:lnTo>
                    <a:pt x="2641" y="2247"/>
                  </a:lnTo>
                  <a:lnTo>
                    <a:pt x="2717" y="2280"/>
                  </a:lnTo>
                  <a:lnTo>
                    <a:pt x="2738" y="2280"/>
                  </a:lnTo>
                  <a:lnTo>
                    <a:pt x="2769" y="2285"/>
                  </a:lnTo>
                  <a:lnTo>
                    <a:pt x="2844" y="2263"/>
                  </a:lnTo>
                  <a:lnTo>
                    <a:pt x="2911" y="2268"/>
                  </a:lnTo>
                  <a:lnTo>
                    <a:pt x="2932" y="2280"/>
                  </a:lnTo>
                  <a:lnTo>
                    <a:pt x="2991" y="2268"/>
                  </a:lnTo>
                  <a:lnTo>
                    <a:pt x="2965" y="2252"/>
                  </a:lnTo>
                  <a:lnTo>
                    <a:pt x="2965" y="2235"/>
                  </a:lnTo>
                  <a:lnTo>
                    <a:pt x="2970" y="2235"/>
                  </a:lnTo>
                  <a:lnTo>
                    <a:pt x="3007" y="2280"/>
                  </a:lnTo>
                  <a:lnTo>
                    <a:pt x="3057" y="2292"/>
                  </a:lnTo>
                  <a:lnTo>
                    <a:pt x="3078" y="2285"/>
                  </a:lnTo>
                  <a:lnTo>
                    <a:pt x="3078" y="2268"/>
                  </a:lnTo>
                  <a:lnTo>
                    <a:pt x="3071" y="2252"/>
                  </a:lnTo>
                  <a:lnTo>
                    <a:pt x="3062" y="2263"/>
                  </a:lnTo>
                  <a:lnTo>
                    <a:pt x="3041" y="2247"/>
                  </a:lnTo>
                  <a:lnTo>
                    <a:pt x="3019" y="2252"/>
                  </a:lnTo>
                  <a:lnTo>
                    <a:pt x="3007" y="2263"/>
                  </a:lnTo>
                  <a:lnTo>
                    <a:pt x="2974" y="2230"/>
                  </a:lnTo>
                  <a:lnTo>
                    <a:pt x="2986" y="2226"/>
                  </a:lnTo>
                  <a:lnTo>
                    <a:pt x="2991" y="2235"/>
                  </a:lnTo>
                  <a:lnTo>
                    <a:pt x="2991" y="2226"/>
                  </a:lnTo>
                  <a:lnTo>
                    <a:pt x="2970" y="2197"/>
                  </a:lnTo>
                  <a:lnTo>
                    <a:pt x="2974" y="2209"/>
                  </a:lnTo>
                  <a:lnTo>
                    <a:pt x="2986" y="2192"/>
                  </a:lnTo>
                  <a:lnTo>
                    <a:pt x="3003" y="2209"/>
                  </a:lnTo>
                  <a:lnTo>
                    <a:pt x="3029" y="2197"/>
                  </a:lnTo>
                  <a:lnTo>
                    <a:pt x="3019" y="2181"/>
                  </a:lnTo>
                  <a:lnTo>
                    <a:pt x="3024" y="2176"/>
                  </a:lnTo>
                  <a:lnTo>
                    <a:pt x="3045" y="2192"/>
                  </a:lnTo>
                  <a:lnTo>
                    <a:pt x="3071" y="2192"/>
                  </a:lnTo>
                  <a:lnTo>
                    <a:pt x="3083" y="2197"/>
                  </a:lnTo>
                  <a:lnTo>
                    <a:pt x="3078" y="2214"/>
                  </a:lnTo>
                  <a:lnTo>
                    <a:pt x="3133" y="2209"/>
                  </a:lnTo>
                  <a:lnTo>
                    <a:pt x="3100" y="2235"/>
                  </a:lnTo>
                  <a:lnTo>
                    <a:pt x="3109" y="2247"/>
                  </a:lnTo>
                  <a:lnTo>
                    <a:pt x="3154" y="2214"/>
                  </a:lnTo>
                  <a:lnTo>
                    <a:pt x="3137" y="2268"/>
                  </a:lnTo>
                  <a:lnTo>
                    <a:pt x="3147" y="2285"/>
                  </a:lnTo>
                  <a:lnTo>
                    <a:pt x="3126" y="2308"/>
                  </a:lnTo>
                  <a:lnTo>
                    <a:pt x="3147" y="2308"/>
                  </a:lnTo>
                  <a:lnTo>
                    <a:pt x="3137" y="2341"/>
                  </a:lnTo>
                  <a:lnTo>
                    <a:pt x="3147" y="2341"/>
                  </a:lnTo>
                  <a:lnTo>
                    <a:pt x="3185" y="2325"/>
                  </a:lnTo>
                  <a:lnTo>
                    <a:pt x="3185" y="2337"/>
                  </a:lnTo>
                  <a:lnTo>
                    <a:pt x="3170" y="2346"/>
                  </a:lnTo>
                  <a:lnTo>
                    <a:pt x="3192" y="2341"/>
                  </a:lnTo>
                  <a:lnTo>
                    <a:pt x="3201" y="2374"/>
                  </a:lnTo>
                  <a:lnTo>
                    <a:pt x="3163" y="2374"/>
                  </a:lnTo>
                  <a:lnTo>
                    <a:pt x="3154" y="2363"/>
                  </a:lnTo>
                  <a:lnTo>
                    <a:pt x="3163" y="2358"/>
                  </a:lnTo>
                  <a:lnTo>
                    <a:pt x="3147" y="2374"/>
                  </a:lnTo>
                  <a:lnTo>
                    <a:pt x="3137" y="2358"/>
                  </a:lnTo>
                  <a:lnTo>
                    <a:pt x="3126" y="2358"/>
                  </a:lnTo>
                  <a:lnTo>
                    <a:pt x="3170" y="2396"/>
                  </a:lnTo>
                  <a:lnTo>
                    <a:pt x="3170" y="2412"/>
                  </a:lnTo>
                  <a:lnTo>
                    <a:pt x="3180" y="2412"/>
                  </a:lnTo>
                  <a:lnTo>
                    <a:pt x="3147" y="2379"/>
                  </a:lnTo>
                  <a:lnTo>
                    <a:pt x="3208" y="2379"/>
                  </a:lnTo>
                  <a:lnTo>
                    <a:pt x="3208" y="2374"/>
                  </a:lnTo>
                  <a:lnTo>
                    <a:pt x="3201" y="2346"/>
                  </a:lnTo>
                  <a:lnTo>
                    <a:pt x="3218" y="2337"/>
                  </a:lnTo>
                  <a:lnTo>
                    <a:pt x="3201" y="2325"/>
                  </a:lnTo>
                  <a:lnTo>
                    <a:pt x="3201" y="2303"/>
                  </a:lnTo>
                  <a:lnTo>
                    <a:pt x="3180" y="2280"/>
                  </a:lnTo>
                  <a:lnTo>
                    <a:pt x="3185" y="2268"/>
                  </a:lnTo>
                  <a:lnTo>
                    <a:pt x="3201" y="2235"/>
                  </a:lnTo>
                  <a:lnTo>
                    <a:pt x="3192" y="2235"/>
                  </a:lnTo>
                  <a:lnTo>
                    <a:pt x="3244" y="2235"/>
                  </a:lnTo>
                  <a:lnTo>
                    <a:pt x="3289" y="2214"/>
                  </a:lnTo>
                  <a:lnTo>
                    <a:pt x="3289" y="2192"/>
                  </a:lnTo>
                  <a:lnTo>
                    <a:pt x="3326" y="2176"/>
                  </a:lnTo>
                  <a:lnTo>
                    <a:pt x="3326" y="2169"/>
                  </a:lnTo>
                  <a:lnTo>
                    <a:pt x="3315" y="2169"/>
                  </a:lnTo>
                  <a:lnTo>
                    <a:pt x="3326" y="2140"/>
                  </a:lnTo>
                  <a:lnTo>
                    <a:pt x="3326" y="2124"/>
                  </a:lnTo>
                  <a:lnTo>
                    <a:pt x="3298" y="2124"/>
                  </a:lnTo>
                  <a:lnTo>
                    <a:pt x="3293" y="2140"/>
                  </a:lnTo>
                  <a:lnTo>
                    <a:pt x="3310" y="2136"/>
                  </a:lnTo>
                  <a:lnTo>
                    <a:pt x="3293" y="2152"/>
                  </a:lnTo>
                  <a:lnTo>
                    <a:pt x="3260" y="2152"/>
                  </a:lnTo>
                  <a:lnTo>
                    <a:pt x="3256" y="2152"/>
                  </a:lnTo>
                  <a:lnTo>
                    <a:pt x="3256" y="2136"/>
                  </a:lnTo>
                  <a:lnTo>
                    <a:pt x="3256" y="2124"/>
                  </a:lnTo>
                  <a:lnTo>
                    <a:pt x="3293" y="2103"/>
                  </a:lnTo>
                  <a:lnTo>
                    <a:pt x="3277" y="2103"/>
                  </a:lnTo>
                  <a:lnTo>
                    <a:pt x="3277" y="2081"/>
                  </a:lnTo>
                  <a:lnTo>
                    <a:pt x="3331" y="2065"/>
                  </a:lnTo>
                  <a:lnTo>
                    <a:pt x="3310" y="2086"/>
                  </a:lnTo>
                  <a:lnTo>
                    <a:pt x="3310" y="2103"/>
                  </a:lnTo>
                  <a:lnTo>
                    <a:pt x="3343" y="2070"/>
                  </a:lnTo>
                  <a:lnTo>
                    <a:pt x="3326" y="2070"/>
                  </a:lnTo>
                  <a:lnTo>
                    <a:pt x="3343" y="2065"/>
                  </a:lnTo>
                  <a:lnTo>
                    <a:pt x="3331" y="2058"/>
                  </a:lnTo>
                  <a:lnTo>
                    <a:pt x="3277" y="2065"/>
                  </a:lnTo>
                  <a:lnTo>
                    <a:pt x="3256" y="2029"/>
                  </a:lnTo>
                  <a:lnTo>
                    <a:pt x="3239" y="2048"/>
                  </a:lnTo>
                  <a:lnTo>
                    <a:pt x="3180" y="2025"/>
                  </a:lnTo>
                  <a:lnTo>
                    <a:pt x="3163" y="2025"/>
                  </a:lnTo>
                  <a:lnTo>
                    <a:pt x="3147" y="2003"/>
                  </a:lnTo>
                  <a:lnTo>
                    <a:pt x="3116" y="1975"/>
                  </a:lnTo>
                  <a:lnTo>
                    <a:pt x="3116" y="1954"/>
                  </a:lnTo>
                  <a:lnTo>
                    <a:pt x="3137" y="1921"/>
                  </a:lnTo>
                  <a:lnTo>
                    <a:pt x="3170" y="1921"/>
                  </a:lnTo>
                  <a:lnTo>
                    <a:pt x="3154" y="1914"/>
                  </a:lnTo>
                  <a:lnTo>
                    <a:pt x="3170" y="1897"/>
                  </a:lnTo>
                  <a:lnTo>
                    <a:pt x="3147" y="1914"/>
                  </a:lnTo>
                  <a:lnTo>
                    <a:pt x="3116" y="1892"/>
                  </a:lnTo>
                  <a:lnTo>
                    <a:pt x="3126" y="1859"/>
                  </a:lnTo>
                  <a:lnTo>
                    <a:pt x="3133" y="1848"/>
                  </a:lnTo>
                  <a:lnTo>
                    <a:pt x="3116" y="1843"/>
                  </a:lnTo>
                  <a:lnTo>
                    <a:pt x="3126" y="1843"/>
                  </a:lnTo>
                  <a:lnTo>
                    <a:pt x="3126" y="1826"/>
                  </a:lnTo>
                  <a:lnTo>
                    <a:pt x="3154" y="1810"/>
                  </a:lnTo>
                  <a:lnTo>
                    <a:pt x="3185" y="1826"/>
                  </a:lnTo>
                  <a:lnTo>
                    <a:pt x="3192" y="1810"/>
                  </a:lnTo>
                  <a:lnTo>
                    <a:pt x="3185" y="1803"/>
                  </a:lnTo>
                  <a:lnTo>
                    <a:pt x="3163" y="1786"/>
                  </a:lnTo>
                  <a:lnTo>
                    <a:pt x="3208" y="1770"/>
                  </a:lnTo>
                  <a:lnTo>
                    <a:pt x="3208" y="1753"/>
                  </a:lnTo>
                  <a:lnTo>
                    <a:pt x="3256" y="1748"/>
                  </a:lnTo>
                  <a:lnTo>
                    <a:pt x="3208" y="1748"/>
                  </a:lnTo>
                  <a:lnTo>
                    <a:pt x="3218" y="1737"/>
                  </a:lnTo>
                  <a:lnTo>
                    <a:pt x="3260" y="1732"/>
                  </a:lnTo>
                  <a:lnTo>
                    <a:pt x="3272" y="1737"/>
                  </a:lnTo>
                  <a:lnTo>
                    <a:pt x="3256" y="1753"/>
                  </a:lnTo>
                  <a:lnTo>
                    <a:pt x="3256" y="1765"/>
                  </a:lnTo>
                  <a:lnTo>
                    <a:pt x="3260" y="1753"/>
                  </a:lnTo>
                  <a:lnTo>
                    <a:pt x="3272" y="1753"/>
                  </a:lnTo>
                  <a:lnTo>
                    <a:pt x="3272" y="1781"/>
                  </a:lnTo>
                  <a:lnTo>
                    <a:pt x="3289" y="1753"/>
                  </a:lnTo>
                  <a:lnTo>
                    <a:pt x="3315" y="1765"/>
                  </a:lnTo>
                  <a:lnTo>
                    <a:pt x="3310" y="1781"/>
                  </a:lnTo>
                  <a:lnTo>
                    <a:pt x="3369" y="1819"/>
                  </a:lnTo>
                  <a:lnTo>
                    <a:pt x="3381" y="1843"/>
                  </a:lnTo>
                  <a:lnTo>
                    <a:pt x="3369" y="1876"/>
                  </a:lnTo>
                  <a:lnTo>
                    <a:pt x="3364" y="1881"/>
                  </a:lnTo>
                  <a:lnTo>
                    <a:pt x="3423" y="1914"/>
                  </a:lnTo>
                  <a:lnTo>
                    <a:pt x="3418" y="1930"/>
                  </a:lnTo>
                  <a:lnTo>
                    <a:pt x="3440" y="1947"/>
                  </a:lnTo>
                  <a:lnTo>
                    <a:pt x="3440" y="1959"/>
                  </a:lnTo>
                  <a:lnTo>
                    <a:pt x="3449" y="1947"/>
                  </a:lnTo>
                  <a:lnTo>
                    <a:pt x="3456" y="1947"/>
                  </a:lnTo>
                  <a:lnTo>
                    <a:pt x="3470" y="1970"/>
                  </a:lnTo>
                  <a:lnTo>
                    <a:pt x="3440" y="1975"/>
                  </a:lnTo>
                  <a:lnTo>
                    <a:pt x="3418" y="1970"/>
                  </a:lnTo>
                  <a:lnTo>
                    <a:pt x="3407" y="1987"/>
                  </a:lnTo>
                  <a:lnTo>
                    <a:pt x="3440" y="1992"/>
                  </a:lnTo>
                  <a:lnTo>
                    <a:pt x="3385" y="2029"/>
                  </a:lnTo>
                  <a:lnTo>
                    <a:pt x="3402" y="2029"/>
                  </a:lnTo>
                  <a:lnTo>
                    <a:pt x="3369" y="2029"/>
                  </a:lnTo>
                  <a:lnTo>
                    <a:pt x="3418" y="2029"/>
                  </a:lnTo>
                  <a:lnTo>
                    <a:pt x="3433" y="2041"/>
                  </a:lnTo>
                  <a:lnTo>
                    <a:pt x="3418" y="2041"/>
                  </a:lnTo>
                  <a:lnTo>
                    <a:pt x="3433" y="2048"/>
                  </a:lnTo>
                  <a:lnTo>
                    <a:pt x="3449" y="2058"/>
                  </a:lnTo>
                  <a:lnTo>
                    <a:pt x="3470" y="2041"/>
                  </a:lnTo>
                  <a:lnTo>
                    <a:pt x="3494" y="2041"/>
                  </a:lnTo>
                  <a:lnTo>
                    <a:pt x="3504" y="2041"/>
                  </a:lnTo>
                  <a:lnTo>
                    <a:pt x="3470" y="2058"/>
                  </a:lnTo>
                  <a:lnTo>
                    <a:pt x="3494" y="2048"/>
                  </a:lnTo>
                  <a:lnTo>
                    <a:pt x="3525" y="2058"/>
                  </a:lnTo>
                  <a:lnTo>
                    <a:pt x="3525" y="2048"/>
                  </a:lnTo>
                  <a:lnTo>
                    <a:pt x="3558" y="2065"/>
                  </a:lnTo>
                  <a:lnTo>
                    <a:pt x="3525" y="2065"/>
                  </a:lnTo>
                  <a:lnTo>
                    <a:pt x="3541" y="2065"/>
                  </a:lnTo>
                  <a:lnTo>
                    <a:pt x="3525" y="2070"/>
                  </a:lnTo>
                  <a:lnTo>
                    <a:pt x="3515" y="2086"/>
                  </a:lnTo>
                  <a:lnTo>
                    <a:pt x="3478" y="2070"/>
                  </a:lnTo>
                  <a:lnTo>
                    <a:pt x="3532" y="2115"/>
                  </a:lnTo>
                  <a:lnTo>
                    <a:pt x="3532" y="2124"/>
                  </a:lnTo>
                  <a:lnTo>
                    <a:pt x="3546" y="2136"/>
                  </a:lnTo>
                  <a:lnTo>
                    <a:pt x="3541" y="2152"/>
                  </a:lnTo>
                  <a:lnTo>
                    <a:pt x="3541" y="2181"/>
                  </a:lnTo>
                  <a:lnTo>
                    <a:pt x="3532" y="2192"/>
                  </a:lnTo>
                  <a:lnTo>
                    <a:pt x="3558" y="2197"/>
                  </a:lnTo>
                  <a:lnTo>
                    <a:pt x="3546" y="2209"/>
                  </a:lnTo>
                  <a:lnTo>
                    <a:pt x="3558" y="2214"/>
                  </a:lnTo>
                  <a:lnTo>
                    <a:pt x="3570" y="2214"/>
                  </a:lnTo>
                  <a:lnTo>
                    <a:pt x="3584" y="2192"/>
                  </a:lnTo>
                  <a:lnTo>
                    <a:pt x="3579" y="2169"/>
                  </a:lnTo>
                  <a:lnTo>
                    <a:pt x="3596" y="2157"/>
                  </a:lnTo>
                  <a:lnTo>
                    <a:pt x="3596" y="2119"/>
                  </a:lnTo>
                  <a:lnTo>
                    <a:pt x="3622" y="2086"/>
                  </a:lnTo>
                  <a:lnTo>
                    <a:pt x="3650" y="2086"/>
                  </a:lnTo>
                  <a:lnTo>
                    <a:pt x="3721" y="2140"/>
                  </a:lnTo>
                  <a:lnTo>
                    <a:pt x="3730" y="2209"/>
                  </a:lnTo>
                  <a:lnTo>
                    <a:pt x="3726" y="2226"/>
                  </a:lnTo>
                  <a:lnTo>
                    <a:pt x="3704" y="2197"/>
                  </a:lnTo>
                  <a:lnTo>
                    <a:pt x="3688" y="2209"/>
                  </a:lnTo>
                  <a:lnTo>
                    <a:pt x="3693" y="2230"/>
                  </a:lnTo>
                  <a:lnTo>
                    <a:pt x="3693" y="2252"/>
                  </a:lnTo>
                  <a:lnTo>
                    <a:pt x="3709" y="2285"/>
                  </a:lnTo>
                  <a:lnTo>
                    <a:pt x="3763" y="2337"/>
                  </a:lnTo>
                  <a:lnTo>
                    <a:pt x="3747" y="2358"/>
                  </a:lnTo>
                  <a:lnTo>
                    <a:pt x="3785" y="2341"/>
                  </a:lnTo>
                  <a:lnTo>
                    <a:pt x="3780" y="2325"/>
                  </a:lnTo>
                  <a:lnTo>
                    <a:pt x="3796" y="2320"/>
                  </a:lnTo>
                  <a:lnTo>
                    <a:pt x="3818" y="2325"/>
                  </a:lnTo>
                  <a:lnTo>
                    <a:pt x="3827" y="2292"/>
                  </a:lnTo>
                  <a:lnTo>
                    <a:pt x="3818" y="2285"/>
                  </a:lnTo>
                  <a:lnTo>
                    <a:pt x="3865" y="2235"/>
                  </a:lnTo>
                  <a:lnTo>
                    <a:pt x="3872" y="2209"/>
                  </a:lnTo>
                  <a:lnTo>
                    <a:pt x="3881" y="2192"/>
                  </a:lnTo>
                  <a:lnTo>
                    <a:pt x="3881" y="2152"/>
                  </a:lnTo>
                  <a:lnTo>
                    <a:pt x="3893" y="2152"/>
                  </a:lnTo>
                  <a:lnTo>
                    <a:pt x="3941" y="2152"/>
                  </a:lnTo>
                  <a:lnTo>
                    <a:pt x="3941" y="2140"/>
                  </a:lnTo>
                  <a:lnTo>
                    <a:pt x="3910" y="2136"/>
                  </a:lnTo>
                  <a:lnTo>
                    <a:pt x="3924" y="2136"/>
                  </a:lnTo>
                  <a:lnTo>
                    <a:pt x="3919" y="2124"/>
                  </a:lnTo>
                  <a:lnTo>
                    <a:pt x="3941" y="2124"/>
                  </a:lnTo>
                  <a:lnTo>
                    <a:pt x="3936" y="2119"/>
                  </a:lnTo>
                  <a:lnTo>
                    <a:pt x="3962" y="2119"/>
                  </a:lnTo>
                  <a:lnTo>
                    <a:pt x="3919" y="2103"/>
                  </a:lnTo>
                  <a:lnTo>
                    <a:pt x="3924" y="2098"/>
                  </a:lnTo>
                  <a:lnTo>
                    <a:pt x="3903" y="2103"/>
                  </a:lnTo>
                  <a:lnTo>
                    <a:pt x="3910" y="2098"/>
                  </a:lnTo>
                  <a:lnTo>
                    <a:pt x="3893" y="2086"/>
                  </a:lnTo>
                  <a:lnTo>
                    <a:pt x="3893" y="2070"/>
                  </a:lnTo>
                  <a:lnTo>
                    <a:pt x="3903" y="2065"/>
                  </a:lnTo>
                  <a:lnTo>
                    <a:pt x="3886" y="2065"/>
                  </a:lnTo>
                  <a:lnTo>
                    <a:pt x="3893" y="2025"/>
                  </a:lnTo>
                  <a:lnTo>
                    <a:pt x="3903" y="2025"/>
                  </a:lnTo>
                  <a:lnTo>
                    <a:pt x="3886" y="2008"/>
                  </a:lnTo>
                  <a:lnTo>
                    <a:pt x="3924" y="2025"/>
                  </a:lnTo>
                  <a:lnTo>
                    <a:pt x="3974" y="2008"/>
                  </a:lnTo>
                  <a:lnTo>
                    <a:pt x="4016" y="2029"/>
                  </a:lnTo>
                  <a:lnTo>
                    <a:pt x="4120" y="2041"/>
                  </a:lnTo>
                  <a:lnTo>
                    <a:pt x="4096" y="2041"/>
                  </a:lnTo>
                  <a:lnTo>
                    <a:pt x="4104" y="2058"/>
                  </a:lnTo>
                  <a:lnTo>
                    <a:pt x="4049" y="2048"/>
                  </a:lnTo>
                  <a:lnTo>
                    <a:pt x="4120" y="2070"/>
                  </a:lnTo>
                  <a:lnTo>
                    <a:pt x="4120" y="2086"/>
                  </a:lnTo>
                  <a:lnTo>
                    <a:pt x="4158" y="2086"/>
                  </a:lnTo>
                  <a:lnTo>
                    <a:pt x="4189" y="2098"/>
                  </a:lnTo>
                  <a:lnTo>
                    <a:pt x="4189" y="2103"/>
                  </a:lnTo>
                  <a:lnTo>
                    <a:pt x="4163" y="2119"/>
                  </a:lnTo>
                  <a:lnTo>
                    <a:pt x="4134" y="2136"/>
                  </a:lnTo>
                  <a:lnTo>
                    <a:pt x="4179" y="2136"/>
                  </a:lnTo>
                  <a:lnTo>
                    <a:pt x="4189" y="2152"/>
                  </a:lnTo>
                  <a:lnTo>
                    <a:pt x="4189" y="2169"/>
                  </a:lnTo>
                  <a:lnTo>
                    <a:pt x="4141" y="2192"/>
                  </a:lnTo>
                  <a:lnTo>
                    <a:pt x="4120" y="2181"/>
                  </a:lnTo>
                  <a:lnTo>
                    <a:pt x="4125" y="2181"/>
                  </a:lnTo>
                  <a:lnTo>
                    <a:pt x="4120" y="2192"/>
                  </a:lnTo>
                  <a:lnTo>
                    <a:pt x="4096" y="2181"/>
                  </a:lnTo>
                  <a:lnTo>
                    <a:pt x="4108" y="2209"/>
                  </a:lnTo>
                  <a:lnTo>
                    <a:pt x="4104" y="2209"/>
                  </a:lnTo>
                  <a:lnTo>
                    <a:pt x="4120" y="2209"/>
                  </a:lnTo>
                  <a:lnTo>
                    <a:pt x="4108" y="2226"/>
                  </a:lnTo>
                  <a:lnTo>
                    <a:pt x="4125" y="2230"/>
                  </a:lnTo>
                  <a:lnTo>
                    <a:pt x="4141" y="2226"/>
                  </a:lnTo>
                  <a:lnTo>
                    <a:pt x="4125" y="2247"/>
                  </a:lnTo>
                  <a:lnTo>
                    <a:pt x="4134" y="2252"/>
                  </a:lnTo>
                  <a:lnTo>
                    <a:pt x="4189" y="2308"/>
                  </a:lnTo>
                  <a:lnTo>
                    <a:pt x="4172" y="2363"/>
                  </a:lnTo>
                  <a:lnTo>
                    <a:pt x="4141" y="2374"/>
                  </a:lnTo>
                  <a:lnTo>
                    <a:pt x="4096" y="2419"/>
                  </a:lnTo>
                  <a:lnTo>
                    <a:pt x="4066" y="2419"/>
                  </a:lnTo>
                  <a:lnTo>
                    <a:pt x="4033" y="2448"/>
                  </a:lnTo>
                  <a:lnTo>
                    <a:pt x="4028" y="2436"/>
                  </a:lnTo>
                  <a:lnTo>
                    <a:pt x="4033" y="2448"/>
                  </a:lnTo>
                  <a:lnTo>
                    <a:pt x="4016" y="2429"/>
                  </a:lnTo>
                  <a:lnTo>
                    <a:pt x="4000" y="2419"/>
                  </a:lnTo>
                  <a:lnTo>
                    <a:pt x="3995" y="2403"/>
                  </a:lnTo>
                  <a:lnTo>
                    <a:pt x="4000" y="2391"/>
                  </a:lnTo>
                  <a:lnTo>
                    <a:pt x="4000" y="2379"/>
                  </a:lnTo>
                  <a:lnTo>
                    <a:pt x="3990" y="2403"/>
                  </a:lnTo>
                  <a:lnTo>
                    <a:pt x="3978" y="2403"/>
                  </a:lnTo>
                  <a:lnTo>
                    <a:pt x="3962" y="2391"/>
                  </a:lnTo>
                  <a:lnTo>
                    <a:pt x="3974" y="2374"/>
                  </a:lnTo>
                  <a:lnTo>
                    <a:pt x="3936" y="2358"/>
                  </a:lnTo>
                  <a:lnTo>
                    <a:pt x="3936" y="2374"/>
                  </a:lnTo>
                  <a:lnTo>
                    <a:pt x="3957" y="2374"/>
                  </a:lnTo>
                  <a:lnTo>
                    <a:pt x="3924" y="2374"/>
                  </a:lnTo>
                  <a:lnTo>
                    <a:pt x="3910" y="2379"/>
                  </a:lnTo>
                  <a:lnTo>
                    <a:pt x="3957" y="2374"/>
                  </a:lnTo>
                  <a:lnTo>
                    <a:pt x="3945" y="2379"/>
                  </a:lnTo>
                  <a:lnTo>
                    <a:pt x="3962" y="2391"/>
                  </a:lnTo>
                  <a:lnTo>
                    <a:pt x="3945" y="2391"/>
                  </a:lnTo>
                  <a:lnTo>
                    <a:pt x="3962" y="2396"/>
                  </a:lnTo>
                  <a:lnTo>
                    <a:pt x="3962" y="2403"/>
                  </a:lnTo>
                  <a:lnTo>
                    <a:pt x="3990" y="2403"/>
                  </a:lnTo>
                  <a:lnTo>
                    <a:pt x="3990" y="2412"/>
                  </a:lnTo>
                  <a:lnTo>
                    <a:pt x="4016" y="2469"/>
                  </a:lnTo>
                  <a:lnTo>
                    <a:pt x="4011" y="2469"/>
                  </a:lnTo>
                  <a:lnTo>
                    <a:pt x="3962" y="2436"/>
                  </a:lnTo>
                  <a:lnTo>
                    <a:pt x="3957" y="2452"/>
                  </a:lnTo>
                  <a:lnTo>
                    <a:pt x="3974" y="2469"/>
                  </a:lnTo>
                  <a:lnTo>
                    <a:pt x="3910" y="2457"/>
                  </a:lnTo>
                  <a:lnTo>
                    <a:pt x="3893" y="2419"/>
                  </a:lnTo>
                  <a:lnTo>
                    <a:pt x="3872" y="2429"/>
                  </a:lnTo>
                  <a:lnTo>
                    <a:pt x="3801" y="2429"/>
                  </a:lnTo>
                  <a:lnTo>
                    <a:pt x="3811" y="2436"/>
                  </a:lnTo>
                  <a:lnTo>
                    <a:pt x="3801" y="2436"/>
                  </a:lnTo>
                  <a:lnTo>
                    <a:pt x="3811" y="2452"/>
                  </a:lnTo>
                  <a:lnTo>
                    <a:pt x="3865" y="2469"/>
                  </a:lnTo>
                  <a:lnTo>
                    <a:pt x="3855" y="2485"/>
                  </a:lnTo>
                  <a:lnTo>
                    <a:pt x="3827" y="2502"/>
                  </a:lnTo>
                  <a:lnTo>
                    <a:pt x="3818" y="2523"/>
                  </a:lnTo>
                  <a:lnTo>
                    <a:pt x="3763" y="2568"/>
                  </a:lnTo>
                  <a:lnTo>
                    <a:pt x="3721" y="2563"/>
                  </a:lnTo>
                  <a:lnTo>
                    <a:pt x="3655" y="2530"/>
                  </a:lnTo>
                  <a:lnTo>
                    <a:pt x="3676" y="2530"/>
                  </a:lnTo>
                  <a:lnTo>
                    <a:pt x="3650" y="2523"/>
                  </a:lnTo>
                  <a:lnTo>
                    <a:pt x="3600" y="2490"/>
                  </a:lnTo>
                  <a:lnTo>
                    <a:pt x="3579" y="2490"/>
                  </a:lnTo>
                  <a:lnTo>
                    <a:pt x="3596" y="2502"/>
                  </a:lnTo>
                  <a:lnTo>
                    <a:pt x="3596" y="2507"/>
                  </a:lnTo>
                  <a:lnTo>
                    <a:pt x="3546" y="2502"/>
                  </a:lnTo>
                  <a:lnTo>
                    <a:pt x="3563" y="2502"/>
                  </a:lnTo>
                  <a:lnTo>
                    <a:pt x="3478" y="2490"/>
                  </a:lnTo>
                  <a:lnTo>
                    <a:pt x="3508" y="2507"/>
                  </a:lnTo>
                  <a:lnTo>
                    <a:pt x="3504" y="2502"/>
                  </a:lnTo>
                  <a:lnTo>
                    <a:pt x="3579" y="2514"/>
                  </a:lnTo>
                  <a:lnTo>
                    <a:pt x="3638" y="2568"/>
                  </a:lnTo>
                  <a:lnTo>
                    <a:pt x="3763" y="2568"/>
                  </a:lnTo>
                  <a:lnTo>
                    <a:pt x="3796" y="2585"/>
                  </a:lnTo>
                  <a:lnTo>
                    <a:pt x="3747" y="2658"/>
                  </a:lnTo>
                  <a:lnTo>
                    <a:pt x="3730" y="2667"/>
                  </a:lnTo>
                  <a:lnTo>
                    <a:pt x="3721" y="2696"/>
                  </a:lnTo>
                  <a:lnTo>
                    <a:pt x="3709" y="2707"/>
                  </a:lnTo>
                  <a:lnTo>
                    <a:pt x="3667" y="2729"/>
                  </a:lnTo>
                  <a:lnTo>
                    <a:pt x="3638" y="2724"/>
                  </a:lnTo>
                  <a:lnTo>
                    <a:pt x="3633" y="2707"/>
                  </a:lnTo>
                  <a:lnTo>
                    <a:pt x="3650" y="2729"/>
                  </a:lnTo>
                  <a:lnTo>
                    <a:pt x="3612" y="2712"/>
                  </a:lnTo>
                  <a:lnTo>
                    <a:pt x="3612" y="2729"/>
                  </a:lnTo>
                  <a:lnTo>
                    <a:pt x="3584" y="2712"/>
                  </a:lnTo>
                  <a:lnTo>
                    <a:pt x="3596" y="2707"/>
                  </a:lnTo>
                  <a:lnTo>
                    <a:pt x="3596" y="2696"/>
                  </a:lnTo>
                  <a:lnTo>
                    <a:pt x="3584" y="2707"/>
                  </a:lnTo>
                  <a:lnTo>
                    <a:pt x="3570" y="2707"/>
                  </a:lnTo>
                  <a:lnTo>
                    <a:pt x="3579" y="2712"/>
                  </a:lnTo>
                  <a:lnTo>
                    <a:pt x="3584" y="2729"/>
                  </a:lnTo>
                  <a:lnTo>
                    <a:pt x="3558" y="2724"/>
                  </a:lnTo>
                  <a:lnTo>
                    <a:pt x="3579" y="2745"/>
                  </a:lnTo>
                  <a:lnTo>
                    <a:pt x="3563" y="2769"/>
                  </a:lnTo>
                  <a:lnTo>
                    <a:pt x="3532" y="2752"/>
                  </a:lnTo>
                  <a:lnTo>
                    <a:pt x="3525" y="2762"/>
                  </a:lnTo>
                  <a:lnTo>
                    <a:pt x="3532" y="2762"/>
                  </a:lnTo>
                  <a:lnTo>
                    <a:pt x="3541" y="2769"/>
                  </a:lnTo>
                  <a:lnTo>
                    <a:pt x="3508" y="2769"/>
                  </a:lnTo>
                  <a:lnTo>
                    <a:pt x="3470" y="2752"/>
                  </a:lnTo>
                  <a:lnTo>
                    <a:pt x="3423" y="2752"/>
                  </a:lnTo>
                  <a:lnTo>
                    <a:pt x="3343" y="2724"/>
                  </a:lnTo>
                  <a:lnTo>
                    <a:pt x="3310" y="2696"/>
                  </a:lnTo>
                  <a:lnTo>
                    <a:pt x="3326" y="2712"/>
                  </a:lnTo>
                  <a:lnTo>
                    <a:pt x="3315" y="2729"/>
                  </a:lnTo>
                  <a:lnTo>
                    <a:pt x="3331" y="2736"/>
                  </a:lnTo>
                  <a:lnTo>
                    <a:pt x="3352" y="2736"/>
                  </a:lnTo>
                  <a:lnTo>
                    <a:pt x="3331" y="2729"/>
                  </a:lnTo>
                  <a:lnTo>
                    <a:pt x="3343" y="2729"/>
                  </a:lnTo>
                  <a:lnTo>
                    <a:pt x="3433" y="2752"/>
                  </a:lnTo>
                  <a:lnTo>
                    <a:pt x="3402" y="2778"/>
                  </a:lnTo>
                  <a:lnTo>
                    <a:pt x="3456" y="2752"/>
                  </a:lnTo>
                  <a:lnTo>
                    <a:pt x="3461" y="2769"/>
                  </a:lnTo>
                  <a:lnTo>
                    <a:pt x="3515" y="2790"/>
                  </a:lnTo>
                  <a:lnTo>
                    <a:pt x="3508" y="2785"/>
                  </a:lnTo>
                  <a:lnTo>
                    <a:pt x="3525" y="2790"/>
                  </a:lnTo>
                  <a:lnTo>
                    <a:pt x="3532" y="2835"/>
                  </a:lnTo>
                  <a:lnTo>
                    <a:pt x="3525" y="2840"/>
                  </a:lnTo>
                  <a:lnTo>
                    <a:pt x="3504" y="2840"/>
                  </a:lnTo>
                  <a:lnTo>
                    <a:pt x="3478" y="2856"/>
                  </a:lnTo>
                  <a:lnTo>
                    <a:pt x="3407" y="2856"/>
                  </a:lnTo>
                  <a:lnTo>
                    <a:pt x="3418" y="2873"/>
                  </a:lnTo>
                  <a:lnTo>
                    <a:pt x="3449" y="2880"/>
                  </a:lnTo>
                  <a:lnTo>
                    <a:pt x="3433" y="2889"/>
                  </a:lnTo>
                  <a:lnTo>
                    <a:pt x="3418" y="2880"/>
                  </a:lnTo>
                  <a:lnTo>
                    <a:pt x="3385" y="2896"/>
                  </a:lnTo>
                  <a:lnTo>
                    <a:pt x="3385" y="2913"/>
                  </a:lnTo>
                  <a:lnTo>
                    <a:pt x="3402" y="2934"/>
                  </a:lnTo>
                  <a:lnTo>
                    <a:pt x="3385" y="2918"/>
                  </a:lnTo>
                  <a:lnTo>
                    <a:pt x="3352" y="2913"/>
                  </a:lnTo>
                  <a:lnTo>
                    <a:pt x="3385" y="2929"/>
                  </a:lnTo>
                  <a:lnTo>
                    <a:pt x="3364" y="2929"/>
                  </a:lnTo>
                  <a:lnTo>
                    <a:pt x="3369" y="2934"/>
                  </a:lnTo>
                  <a:lnTo>
                    <a:pt x="3352" y="2946"/>
                  </a:lnTo>
                  <a:lnTo>
                    <a:pt x="3343" y="2946"/>
                  </a:lnTo>
                  <a:lnTo>
                    <a:pt x="3352" y="2951"/>
                  </a:lnTo>
                  <a:lnTo>
                    <a:pt x="3348" y="2955"/>
                  </a:lnTo>
                  <a:lnTo>
                    <a:pt x="3326" y="2951"/>
                  </a:lnTo>
                  <a:lnTo>
                    <a:pt x="3326" y="2967"/>
                  </a:lnTo>
                  <a:lnTo>
                    <a:pt x="3348" y="2974"/>
                  </a:lnTo>
                  <a:lnTo>
                    <a:pt x="3298" y="3007"/>
                  </a:lnTo>
                  <a:lnTo>
                    <a:pt x="3310" y="3024"/>
                  </a:lnTo>
                  <a:lnTo>
                    <a:pt x="3272" y="3078"/>
                  </a:lnTo>
                  <a:lnTo>
                    <a:pt x="3260" y="3111"/>
                  </a:lnTo>
                  <a:lnTo>
                    <a:pt x="3244" y="3111"/>
                  </a:lnTo>
                  <a:lnTo>
                    <a:pt x="3256" y="3123"/>
                  </a:lnTo>
                  <a:lnTo>
                    <a:pt x="3239" y="3173"/>
                  </a:lnTo>
                  <a:lnTo>
                    <a:pt x="3239" y="3206"/>
                  </a:lnTo>
                  <a:lnTo>
                    <a:pt x="3244" y="3234"/>
                  </a:lnTo>
                  <a:lnTo>
                    <a:pt x="3239" y="3246"/>
                  </a:lnTo>
                  <a:lnTo>
                    <a:pt x="3239" y="3263"/>
                  </a:lnTo>
                  <a:lnTo>
                    <a:pt x="3260" y="3300"/>
                  </a:lnTo>
                  <a:lnTo>
                    <a:pt x="3277" y="3300"/>
                  </a:lnTo>
                  <a:lnTo>
                    <a:pt x="3272" y="3355"/>
                  </a:lnTo>
                  <a:lnTo>
                    <a:pt x="3277" y="3338"/>
                  </a:lnTo>
                  <a:lnTo>
                    <a:pt x="3277" y="3317"/>
                  </a:lnTo>
                  <a:lnTo>
                    <a:pt x="3289" y="3300"/>
                  </a:lnTo>
                  <a:lnTo>
                    <a:pt x="3352" y="3300"/>
                  </a:lnTo>
                  <a:lnTo>
                    <a:pt x="3407" y="3449"/>
                  </a:lnTo>
                  <a:lnTo>
                    <a:pt x="3395" y="3473"/>
                  </a:lnTo>
                  <a:lnTo>
                    <a:pt x="3381" y="3489"/>
                  </a:lnTo>
                  <a:lnTo>
                    <a:pt x="3407" y="3473"/>
                  </a:lnTo>
                  <a:lnTo>
                    <a:pt x="3423" y="3473"/>
                  </a:lnTo>
                  <a:lnTo>
                    <a:pt x="3402" y="3489"/>
                  </a:lnTo>
                  <a:lnTo>
                    <a:pt x="3508" y="3461"/>
                  </a:lnTo>
                  <a:lnTo>
                    <a:pt x="3667" y="3499"/>
                  </a:lnTo>
                  <a:lnTo>
                    <a:pt x="3721" y="3539"/>
                  </a:lnTo>
                  <a:lnTo>
                    <a:pt x="3742" y="3572"/>
                  </a:lnTo>
                  <a:lnTo>
                    <a:pt x="3763" y="3584"/>
                  </a:lnTo>
                  <a:lnTo>
                    <a:pt x="3881" y="3626"/>
                  </a:lnTo>
                  <a:lnTo>
                    <a:pt x="3903" y="3650"/>
                  </a:lnTo>
                  <a:lnTo>
                    <a:pt x="3919" y="3650"/>
                  </a:lnTo>
                  <a:lnTo>
                    <a:pt x="3893" y="3688"/>
                  </a:lnTo>
                  <a:lnTo>
                    <a:pt x="3910" y="3666"/>
                  </a:lnTo>
                  <a:lnTo>
                    <a:pt x="3924" y="3655"/>
                  </a:lnTo>
                  <a:lnTo>
                    <a:pt x="3957" y="3666"/>
                  </a:lnTo>
                  <a:lnTo>
                    <a:pt x="4000" y="3655"/>
                  </a:lnTo>
                  <a:lnTo>
                    <a:pt x="4028" y="3671"/>
                  </a:lnTo>
                  <a:lnTo>
                    <a:pt x="4016" y="3655"/>
                  </a:lnTo>
                  <a:lnTo>
                    <a:pt x="4070" y="3666"/>
                  </a:lnTo>
                  <a:lnTo>
                    <a:pt x="4108" y="3683"/>
                  </a:lnTo>
                  <a:lnTo>
                    <a:pt x="4120" y="3671"/>
                  </a:lnTo>
                  <a:lnTo>
                    <a:pt x="4125" y="3704"/>
                  </a:lnTo>
                  <a:lnTo>
                    <a:pt x="4108" y="3749"/>
                  </a:lnTo>
                  <a:lnTo>
                    <a:pt x="4108" y="3766"/>
                  </a:lnTo>
                  <a:lnTo>
                    <a:pt x="4120" y="3777"/>
                  </a:lnTo>
                  <a:lnTo>
                    <a:pt x="4125" y="3806"/>
                  </a:lnTo>
                  <a:lnTo>
                    <a:pt x="4125" y="3822"/>
                  </a:lnTo>
                  <a:lnTo>
                    <a:pt x="4125" y="3855"/>
                  </a:lnTo>
                  <a:lnTo>
                    <a:pt x="4120" y="3872"/>
                  </a:lnTo>
                  <a:lnTo>
                    <a:pt x="4120" y="3877"/>
                  </a:lnTo>
                  <a:lnTo>
                    <a:pt x="4172" y="3943"/>
                  </a:lnTo>
                  <a:lnTo>
                    <a:pt x="4172" y="3950"/>
                  </a:lnTo>
                  <a:lnTo>
                    <a:pt x="4151" y="3966"/>
                  </a:lnTo>
                  <a:lnTo>
                    <a:pt x="4172" y="3959"/>
                  </a:lnTo>
                  <a:lnTo>
                    <a:pt x="4179" y="3971"/>
                  </a:lnTo>
                  <a:lnTo>
                    <a:pt x="4210" y="3983"/>
                  </a:lnTo>
                  <a:lnTo>
                    <a:pt x="4233" y="4016"/>
                  </a:lnTo>
                  <a:lnTo>
                    <a:pt x="4248" y="4044"/>
                  </a:lnTo>
                  <a:lnTo>
                    <a:pt x="4205" y="4077"/>
                  </a:lnTo>
                  <a:lnTo>
                    <a:pt x="4248" y="4044"/>
                  </a:lnTo>
                  <a:lnTo>
                    <a:pt x="4271" y="4044"/>
                  </a:lnTo>
                  <a:lnTo>
                    <a:pt x="4297" y="4061"/>
                  </a:lnTo>
                  <a:lnTo>
                    <a:pt x="4323" y="4099"/>
                  </a:lnTo>
                  <a:lnTo>
                    <a:pt x="4297" y="4061"/>
                  </a:lnTo>
                  <a:lnTo>
                    <a:pt x="4302" y="4037"/>
                  </a:lnTo>
                  <a:lnTo>
                    <a:pt x="4323" y="4016"/>
                  </a:lnTo>
                  <a:lnTo>
                    <a:pt x="4335" y="4016"/>
                  </a:lnTo>
                  <a:lnTo>
                    <a:pt x="4323" y="4025"/>
                  </a:lnTo>
                  <a:lnTo>
                    <a:pt x="4352" y="4025"/>
                  </a:lnTo>
                  <a:lnTo>
                    <a:pt x="4352" y="4054"/>
                  </a:lnTo>
                  <a:lnTo>
                    <a:pt x="4356" y="4061"/>
                  </a:lnTo>
                  <a:lnTo>
                    <a:pt x="4356" y="4054"/>
                  </a:lnTo>
                  <a:lnTo>
                    <a:pt x="4368" y="4025"/>
                  </a:lnTo>
                  <a:lnTo>
                    <a:pt x="4368" y="4021"/>
                  </a:lnTo>
                  <a:lnTo>
                    <a:pt x="4340" y="4004"/>
                  </a:lnTo>
                  <a:lnTo>
                    <a:pt x="4356" y="4000"/>
                  </a:lnTo>
                  <a:lnTo>
                    <a:pt x="4356" y="3988"/>
                  </a:lnTo>
                  <a:lnTo>
                    <a:pt x="4378" y="3971"/>
                  </a:lnTo>
                  <a:lnTo>
                    <a:pt x="4378" y="3933"/>
                  </a:lnTo>
                  <a:lnTo>
                    <a:pt x="4368" y="3926"/>
                  </a:lnTo>
                  <a:lnTo>
                    <a:pt x="4373" y="3926"/>
                  </a:lnTo>
                  <a:lnTo>
                    <a:pt x="4368" y="3905"/>
                  </a:lnTo>
                  <a:lnTo>
                    <a:pt x="4368" y="3893"/>
                  </a:lnTo>
                  <a:lnTo>
                    <a:pt x="4356" y="3893"/>
                  </a:lnTo>
                  <a:lnTo>
                    <a:pt x="4356" y="3855"/>
                  </a:lnTo>
                  <a:lnTo>
                    <a:pt x="4340" y="3832"/>
                  </a:lnTo>
                  <a:lnTo>
                    <a:pt x="4356" y="3832"/>
                  </a:lnTo>
                  <a:lnTo>
                    <a:pt x="4335" y="3815"/>
                  </a:lnTo>
                  <a:lnTo>
                    <a:pt x="4340" y="3799"/>
                  </a:lnTo>
                  <a:lnTo>
                    <a:pt x="4356" y="3806"/>
                  </a:lnTo>
                  <a:lnTo>
                    <a:pt x="4340" y="3794"/>
                  </a:lnTo>
                  <a:lnTo>
                    <a:pt x="4340" y="3782"/>
                  </a:lnTo>
                  <a:lnTo>
                    <a:pt x="4352" y="3782"/>
                  </a:lnTo>
                  <a:lnTo>
                    <a:pt x="4340" y="3777"/>
                  </a:lnTo>
                  <a:lnTo>
                    <a:pt x="4340" y="3766"/>
                  </a:lnTo>
                  <a:lnTo>
                    <a:pt x="4323" y="3766"/>
                  </a:lnTo>
                  <a:lnTo>
                    <a:pt x="4314" y="3728"/>
                  </a:lnTo>
                  <a:lnTo>
                    <a:pt x="4297" y="3721"/>
                  </a:lnTo>
                  <a:lnTo>
                    <a:pt x="4394" y="3683"/>
                  </a:lnTo>
                  <a:lnTo>
                    <a:pt x="4432" y="3655"/>
                  </a:lnTo>
                  <a:lnTo>
                    <a:pt x="4474" y="3626"/>
                  </a:lnTo>
                  <a:lnTo>
                    <a:pt x="4512" y="3584"/>
                  </a:lnTo>
                  <a:lnTo>
                    <a:pt x="4519" y="3544"/>
                  </a:lnTo>
                  <a:lnTo>
                    <a:pt x="4519" y="3473"/>
                  </a:lnTo>
                  <a:lnTo>
                    <a:pt x="4498" y="3407"/>
                  </a:lnTo>
                  <a:lnTo>
                    <a:pt x="4460" y="3355"/>
                  </a:lnTo>
                  <a:lnTo>
                    <a:pt x="4422" y="3338"/>
                  </a:lnTo>
                  <a:lnTo>
                    <a:pt x="4389" y="3317"/>
                  </a:lnTo>
                  <a:lnTo>
                    <a:pt x="4394" y="3322"/>
                  </a:lnTo>
                  <a:lnTo>
                    <a:pt x="4378" y="3317"/>
                  </a:lnTo>
                  <a:lnTo>
                    <a:pt x="4389" y="3305"/>
                  </a:lnTo>
                  <a:lnTo>
                    <a:pt x="4378" y="3279"/>
                  </a:lnTo>
                  <a:lnTo>
                    <a:pt x="4394" y="3284"/>
                  </a:lnTo>
                  <a:lnTo>
                    <a:pt x="4411" y="3251"/>
                  </a:lnTo>
                  <a:lnTo>
                    <a:pt x="4444" y="3227"/>
                  </a:lnTo>
                  <a:lnTo>
                    <a:pt x="4427" y="3227"/>
                  </a:lnTo>
                  <a:lnTo>
                    <a:pt x="4432" y="3211"/>
                  </a:lnTo>
                  <a:lnTo>
                    <a:pt x="4432" y="3194"/>
                  </a:lnTo>
                  <a:lnTo>
                    <a:pt x="4465" y="3211"/>
                  </a:lnTo>
                  <a:lnTo>
                    <a:pt x="4448" y="3194"/>
                  </a:lnTo>
                  <a:lnTo>
                    <a:pt x="4465" y="3189"/>
                  </a:lnTo>
                  <a:lnTo>
                    <a:pt x="4460" y="3173"/>
                  </a:lnTo>
                  <a:lnTo>
                    <a:pt x="4503" y="3151"/>
                  </a:lnTo>
                  <a:lnTo>
                    <a:pt x="4474" y="3151"/>
                  </a:lnTo>
                  <a:lnTo>
                    <a:pt x="4465" y="3168"/>
                  </a:lnTo>
                  <a:lnTo>
                    <a:pt x="4448" y="3156"/>
                  </a:lnTo>
                  <a:lnTo>
                    <a:pt x="4460" y="3140"/>
                  </a:lnTo>
                  <a:lnTo>
                    <a:pt x="4432" y="3123"/>
                  </a:lnTo>
                  <a:lnTo>
                    <a:pt x="4460" y="3111"/>
                  </a:lnTo>
                  <a:lnTo>
                    <a:pt x="4427" y="3095"/>
                  </a:lnTo>
                  <a:lnTo>
                    <a:pt x="4448" y="3078"/>
                  </a:lnTo>
                  <a:lnTo>
                    <a:pt x="4406" y="3078"/>
                  </a:lnTo>
                  <a:lnTo>
                    <a:pt x="4444" y="3029"/>
                  </a:lnTo>
                  <a:lnTo>
                    <a:pt x="4432" y="3012"/>
                  </a:lnTo>
                  <a:lnTo>
                    <a:pt x="4448" y="3007"/>
                  </a:lnTo>
                  <a:lnTo>
                    <a:pt x="4448" y="3000"/>
                  </a:lnTo>
                  <a:lnTo>
                    <a:pt x="4460" y="3000"/>
                  </a:lnTo>
                  <a:lnTo>
                    <a:pt x="4422" y="2974"/>
                  </a:lnTo>
                  <a:lnTo>
                    <a:pt x="4406" y="2929"/>
                  </a:lnTo>
                  <a:lnTo>
                    <a:pt x="4422" y="2901"/>
                  </a:lnTo>
                  <a:lnTo>
                    <a:pt x="4448" y="2889"/>
                  </a:lnTo>
                  <a:lnTo>
                    <a:pt x="4498" y="2889"/>
                  </a:lnTo>
                  <a:lnTo>
                    <a:pt x="4583" y="2913"/>
                  </a:lnTo>
                  <a:lnTo>
                    <a:pt x="4567" y="2929"/>
                  </a:lnTo>
                  <a:lnTo>
                    <a:pt x="4604" y="2913"/>
                  </a:lnTo>
                  <a:lnTo>
                    <a:pt x="4659" y="2934"/>
                  </a:lnTo>
                  <a:lnTo>
                    <a:pt x="4642" y="2929"/>
                  </a:lnTo>
                  <a:lnTo>
                    <a:pt x="4718" y="2896"/>
                  </a:lnTo>
                  <a:lnTo>
                    <a:pt x="4772" y="2934"/>
                  </a:lnTo>
                  <a:lnTo>
                    <a:pt x="4798" y="2934"/>
                  </a:lnTo>
                  <a:lnTo>
                    <a:pt x="4798" y="2951"/>
                  </a:lnTo>
                  <a:lnTo>
                    <a:pt x="4789" y="2967"/>
                  </a:lnTo>
                  <a:lnTo>
                    <a:pt x="4798" y="2967"/>
                  </a:lnTo>
                  <a:lnTo>
                    <a:pt x="4798" y="2955"/>
                  </a:lnTo>
                  <a:lnTo>
                    <a:pt x="4822" y="2955"/>
                  </a:lnTo>
                  <a:lnTo>
                    <a:pt x="4836" y="2984"/>
                  </a:lnTo>
                  <a:lnTo>
                    <a:pt x="4822" y="3000"/>
                  </a:lnTo>
                  <a:lnTo>
                    <a:pt x="4843" y="2991"/>
                  </a:lnTo>
                  <a:lnTo>
                    <a:pt x="4843" y="2984"/>
                  </a:lnTo>
                  <a:lnTo>
                    <a:pt x="4864" y="2991"/>
                  </a:lnTo>
                  <a:lnTo>
                    <a:pt x="4874" y="3000"/>
                  </a:lnTo>
                  <a:lnTo>
                    <a:pt x="4843" y="3012"/>
                  </a:lnTo>
                  <a:lnTo>
                    <a:pt x="4859" y="3012"/>
                  </a:lnTo>
                  <a:lnTo>
                    <a:pt x="4881" y="3045"/>
                  </a:lnTo>
                  <a:lnTo>
                    <a:pt x="4944" y="3057"/>
                  </a:lnTo>
                  <a:lnTo>
                    <a:pt x="4966" y="3045"/>
                  </a:lnTo>
                  <a:lnTo>
                    <a:pt x="4973" y="3066"/>
                  </a:lnTo>
                  <a:lnTo>
                    <a:pt x="4982" y="3078"/>
                  </a:lnTo>
                  <a:lnTo>
                    <a:pt x="4999" y="3066"/>
                  </a:lnTo>
                  <a:lnTo>
                    <a:pt x="5004" y="3066"/>
                  </a:lnTo>
                  <a:lnTo>
                    <a:pt x="5004" y="3057"/>
                  </a:lnTo>
                  <a:lnTo>
                    <a:pt x="5015" y="3045"/>
                  </a:lnTo>
                  <a:lnTo>
                    <a:pt x="5020" y="3078"/>
                  </a:lnTo>
                  <a:lnTo>
                    <a:pt x="4999" y="3095"/>
                  </a:lnTo>
                  <a:lnTo>
                    <a:pt x="5004" y="3100"/>
                  </a:lnTo>
                  <a:lnTo>
                    <a:pt x="4987" y="3111"/>
                  </a:lnTo>
                  <a:lnTo>
                    <a:pt x="4999" y="3123"/>
                  </a:lnTo>
                  <a:lnTo>
                    <a:pt x="4999" y="3135"/>
                  </a:lnTo>
                  <a:lnTo>
                    <a:pt x="5004" y="3140"/>
                  </a:lnTo>
                  <a:lnTo>
                    <a:pt x="5004" y="3156"/>
                  </a:lnTo>
                  <a:lnTo>
                    <a:pt x="4944" y="3168"/>
                  </a:lnTo>
                  <a:lnTo>
                    <a:pt x="4911" y="3156"/>
                  </a:lnTo>
                  <a:lnTo>
                    <a:pt x="4935" y="3173"/>
                  </a:lnTo>
                  <a:lnTo>
                    <a:pt x="4999" y="3173"/>
                  </a:lnTo>
                  <a:lnTo>
                    <a:pt x="5004" y="3177"/>
                  </a:lnTo>
                  <a:lnTo>
                    <a:pt x="5015" y="3206"/>
                  </a:lnTo>
                  <a:lnTo>
                    <a:pt x="4999" y="3222"/>
                  </a:lnTo>
                  <a:lnTo>
                    <a:pt x="5004" y="3234"/>
                  </a:lnTo>
                  <a:lnTo>
                    <a:pt x="4999" y="3234"/>
                  </a:lnTo>
                  <a:lnTo>
                    <a:pt x="5020" y="3234"/>
                  </a:lnTo>
                  <a:lnTo>
                    <a:pt x="5025" y="3234"/>
                  </a:lnTo>
                  <a:lnTo>
                    <a:pt x="5037" y="3251"/>
                  </a:lnTo>
                  <a:lnTo>
                    <a:pt x="5015" y="3251"/>
                  </a:lnTo>
                  <a:lnTo>
                    <a:pt x="5015" y="3263"/>
                  </a:lnTo>
                  <a:lnTo>
                    <a:pt x="5025" y="3263"/>
                  </a:lnTo>
                  <a:lnTo>
                    <a:pt x="5015" y="3267"/>
                  </a:lnTo>
                  <a:lnTo>
                    <a:pt x="5020" y="3284"/>
                  </a:lnTo>
                  <a:lnTo>
                    <a:pt x="5015" y="3296"/>
                  </a:lnTo>
                  <a:lnTo>
                    <a:pt x="5004" y="3296"/>
                  </a:lnTo>
                  <a:lnTo>
                    <a:pt x="5004" y="3284"/>
                  </a:lnTo>
                  <a:lnTo>
                    <a:pt x="4987" y="3267"/>
                  </a:lnTo>
                  <a:lnTo>
                    <a:pt x="4987" y="3296"/>
                  </a:lnTo>
                  <a:lnTo>
                    <a:pt x="4966" y="3300"/>
                  </a:lnTo>
                  <a:lnTo>
                    <a:pt x="4982" y="3300"/>
                  </a:lnTo>
                  <a:lnTo>
                    <a:pt x="4987" y="3317"/>
                  </a:lnTo>
                  <a:lnTo>
                    <a:pt x="5025" y="3284"/>
                  </a:lnTo>
                  <a:lnTo>
                    <a:pt x="5070" y="3284"/>
                  </a:lnTo>
                  <a:lnTo>
                    <a:pt x="5096" y="3300"/>
                  </a:lnTo>
                  <a:lnTo>
                    <a:pt x="5107" y="3333"/>
                  </a:lnTo>
                  <a:lnTo>
                    <a:pt x="5096" y="3362"/>
                  </a:lnTo>
                  <a:lnTo>
                    <a:pt x="5020" y="3407"/>
                  </a:lnTo>
                  <a:lnTo>
                    <a:pt x="5091" y="3374"/>
                  </a:lnTo>
                  <a:lnTo>
                    <a:pt x="5107" y="3333"/>
                  </a:lnTo>
                  <a:lnTo>
                    <a:pt x="5124" y="3317"/>
                  </a:lnTo>
                  <a:lnTo>
                    <a:pt x="5129" y="3322"/>
                  </a:lnTo>
                  <a:lnTo>
                    <a:pt x="5129" y="3350"/>
                  </a:lnTo>
                  <a:lnTo>
                    <a:pt x="5112" y="3374"/>
                  </a:lnTo>
                  <a:lnTo>
                    <a:pt x="5138" y="3350"/>
                  </a:lnTo>
                  <a:lnTo>
                    <a:pt x="5129" y="3333"/>
                  </a:lnTo>
                  <a:lnTo>
                    <a:pt x="5138" y="3333"/>
                  </a:lnTo>
                  <a:lnTo>
                    <a:pt x="5145" y="3333"/>
                  </a:lnTo>
                  <a:lnTo>
                    <a:pt x="5138" y="3350"/>
                  </a:lnTo>
                  <a:lnTo>
                    <a:pt x="5145" y="3355"/>
                  </a:lnTo>
                  <a:lnTo>
                    <a:pt x="5138" y="3390"/>
                  </a:lnTo>
                  <a:lnTo>
                    <a:pt x="5150" y="3355"/>
                  </a:lnTo>
                  <a:lnTo>
                    <a:pt x="5183" y="3338"/>
                  </a:lnTo>
                  <a:lnTo>
                    <a:pt x="5192" y="3322"/>
                  </a:lnTo>
                  <a:lnTo>
                    <a:pt x="5214" y="3322"/>
                  </a:lnTo>
                  <a:lnTo>
                    <a:pt x="5221" y="3305"/>
                  </a:lnTo>
                  <a:lnTo>
                    <a:pt x="5230" y="3296"/>
                  </a:lnTo>
                  <a:lnTo>
                    <a:pt x="5268" y="3317"/>
                  </a:lnTo>
                  <a:lnTo>
                    <a:pt x="5252" y="3350"/>
                  </a:lnTo>
                  <a:lnTo>
                    <a:pt x="5268" y="3333"/>
                  </a:lnTo>
                  <a:lnTo>
                    <a:pt x="5259" y="3333"/>
                  </a:lnTo>
                  <a:lnTo>
                    <a:pt x="5268" y="3317"/>
                  </a:lnTo>
                  <a:lnTo>
                    <a:pt x="5252" y="3300"/>
                  </a:lnTo>
                  <a:lnTo>
                    <a:pt x="5259" y="3296"/>
                  </a:lnTo>
                  <a:lnTo>
                    <a:pt x="5275" y="3296"/>
                  </a:lnTo>
                  <a:lnTo>
                    <a:pt x="5259" y="3284"/>
                  </a:lnTo>
                  <a:lnTo>
                    <a:pt x="5275" y="3267"/>
                  </a:lnTo>
                  <a:lnTo>
                    <a:pt x="5306" y="3267"/>
                  </a:lnTo>
                  <a:lnTo>
                    <a:pt x="5285" y="3263"/>
                  </a:lnTo>
                  <a:lnTo>
                    <a:pt x="5275" y="3246"/>
                  </a:lnTo>
                  <a:lnTo>
                    <a:pt x="5289" y="3251"/>
                  </a:lnTo>
                  <a:lnTo>
                    <a:pt x="5289" y="3234"/>
                  </a:lnTo>
                  <a:lnTo>
                    <a:pt x="5306" y="3246"/>
                  </a:lnTo>
                  <a:lnTo>
                    <a:pt x="5289" y="3222"/>
                  </a:lnTo>
                  <a:lnTo>
                    <a:pt x="5327" y="3234"/>
                  </a:lnTo>
                  <a:lnTo>
                    <a:pt x="5301" y="3222"/>
                  </a:lnTo>
                  <a:lnTo>
                    <a:pt x="5289" y="3194"/>
                  </a:lnTo>
                  <a:lnTo>
                    <a:pt x="5306" y="3177"/>
                  </a:lnTo>
                  <a:lnTo>
                    <a:pt x="5327" y="3189"/>
                  </a:lnTo>
                  <a:lnTo>
                    <a:pt x="5313" y="3177"/>
                  </a:lnTo>
                  <a:lnTo>
                    <a:pt x="5339" y="3123"/>
                  </a:lnTo>
                  <a:lnTo>
                    <a:pt x="5365" y="3135"/>
                  </a:lnTo>
                  <a:lnTo>
                    <a:pt x="5344" y="3140"/>
                  </a:lnTo>
                  <a:lnTo>
                    <a:pt x="5365" y="3140"/>
                  </a:lnTo>
                  <a:lnTo>
                    <a:pt x="5377" y="3151"/>
                  </a:lnTo>
                  <a:lnTo>
                    <a:pt x="5365" y="3156"/>
                  </a:lnTo>
                  <a:lnTo>
                    <a:pt x="5344" y="3168"/>
                  </a:lnTo>
                  <a:lnTo>
                    <a:pt x="5377" y="3156"/>
                  </a:lnTo>
                  <a:lnTo>
                    <a:pt x="5377" y="3173"/>
                  </a:lnTo>
                  <a:lnTo>
                    <a:pt x="5365" y="3177"/>
                  </a:lnTo>
                  <a:lnTo>
                    <a:pt x="5377" y="3173"/>
                  </a:lnTo>
                  <a:lnTo>
                    <a:pt x="5377" y="3168"/>
                  </a:lnTo>
                  <a:lnTo>
                    <a:pt x="5393" y="3168"/>
                  </a:lnTo>
                  <a:lnTo>
                    <a:pt x="5393" y="3189"/>
                  </a:lnTo>
                  <a:lnTo>
                    <a:pt x="5381" y="3189"/>
                  </a:lnTo>
                  <a:lnTo>
                    <a:pt x="5398" y="3206"/>
                  </a:lnTo>
                  <a:lnTo>
                    <a:pt x="5393" y="3222"/>
                  </a:lnTo>
                  <a:lnTo>
                    <a:pt x="5398" y="3206"/>
                  </a:lnTo>
                  <a:lnTo>
                    <a:pt x="5419" y="3222"/>
                  </a:lnTo>
                  <a:lnTo>
                    <a:pt x="5415" y="3227"/>
                  </a:lnTo>
                  <a:lnTo>
                    <a:pt x="5398" y="3234"/>
                  </a:lnTo>
                  <a:lnTo>
                    <a:pt x="5415" y="3234"/>
                  </a:lnTo>
                  <a:lnTo>
                    <a:pt x="5415" y="3246"/>
                  </a:lnTo>
                  <a:lnTo>
                    <a:pt x="5431" y="3234"/>
                  </a:lnTo>
                  <a:lnTo>
                    <a:pt x="5448" y="3251"/>
                  </a:lnTo>
                  <a:lnTo>
                    <a:pt x="5431" y="3267"/>
                  </a:lnTo>
                  <a:lnTo>
                    <a:pt x="5398" y="3267"/>
                  </a:lnTo>
                  <a:lnTo>
                    <a:pt x="5462" y="3267"/>
                  </a:lnTo>
                  <a:lnTo>
                    <a:pt x="5448" y="3267"/>
                  </a:lnTo>
                  <a:lnTo>
                    <a:pt x="5462" y="3284"/>
                  </a:lnTo>
                  <a:lnTo>
                    <a:pt x="5448" y="3296"/>
                  </a:lnTo>
                  <a:lnTo>
                    <a:pt x="5469" y="3284"/>
                  </a:lnTo>
                  <a:lnTo>
                    <a:pt x="5485" y="3305"/>
                  </a:lnTo>
                  <a:lnTo>
                    <a:pt x="5431" y="3350"/>
                  </a:lnTo>
                  <a:lnTo>
                    <a:pt x="5452" y="3333"/>
                  </a:lnTo>
                  <a:lnTo>
                    <a:pt x="5500" y="3333"/>
                  </a:lnTo>
                  <a:lnTo>
                    <a:pt x="5500" y="3350"/>
                  </a:lnTo>
                  <a:lnTo>
                    <a:pt x="5485" y="3355"/>
                  </a:lnTo>
                  <a:lnTo>
                    <a:pt x="5500" y="3355"/>
                  </a:lnTo>
                  <a:lnTo>
                    <a:pt x="5474" y="3362"/>
                  </a:lnTo>
                  <a:lnTo>
                    <a:pt x="5448" y="3378"/>
                  </a:lnTo>
                  <a:lnTo>
                    <a:pt x="5462" y="3378"/>
                  </a:lnTo>
                  <a:lnTo>
                    <a:pt x="5474" y="3362"/>
                  </a:lnTo>
                  <a:lnTo>
                    <a:pt x="5507" y="3362"/>
                  </a:lnTo>
                  <a:lnTo>
                    <a:pt x="5507" y="3374"/>
                  </a:lnTo>
                  <a:lnTo>
                    <a:pt x="5516" y="3362"/>
                  </a:lnTo>
                  <a:lnTo>
                    <a:pt x="5523" y="3378"/>
                  </a:lnTo>
                  <a:lnTo>
                    <a:pt x="5490" y="3390"/>
                  </a:lnTo>
                  <a:lnTo>
                    <a:pt x="5528" y="3378"/>
                  </a:lnTo>
                  <a:lnTo>
                    <a:pt x="5537" y="3390"/>
                  </a:lnTo>
                  <a:lnTo>
                    <a:pt x="5528" y="3407"/>
                  </a:lnTo>
                  <a:lnTo>
                    <a:pt x="5544" y="3416"/>
                  </a:lnTo>
                  <a:lnTo>
                    <a:pt x="5523" y="3433"/>
                  </a:lnTo>
                  <a:lnTo>
                    <a:pt x="5500" y="3433"/>
                  </a:lnTo>
                  <a:lnTo>
                    <a:pt x="5516" y="3444"/>
                  </a:lnTo>
                  <a:lnTo>
                    <a:pt x="5544" y="3444"/>
                  </a:lnTo>
                  <a:lnTo>
                    <a:pt x="5554" y="3444"/>
                  </a:lnTo>
                  <a:lnTo>
                    <a:pt x="5537" y="3461"/>
                  </a:lnTo>
                  <a:lnTo>
                    <a:pt x="5582" y="3473"/>
                  </a:lnTo>
                  <a:lnTo>
                    <a:pt x="5582" y="3482"/>
                  </a:lnTo>
                  <a:lnTo>
                    <a:pt x="5575" y="3489"/>
                  </a:lnTo>
                  <a:lnTo>
                    <a:pt x="5561" y="3506"/>
                  </a:lnTo>
                  <a:lnTo>
                    <a:pt x="5544" y="3506"/>
                  </a:lnTo>
                  <a:lnTo>
                    <a:pt x="5544" y="3518"/>
                  </a:lnTo>
                  <a:lnTo>
                    <a:pt x="5561" y="3518"/>
                  </a:lnTo>
                  <a:lnTo>
                    <a:pt x="5554" y="3518"/>
                  </a:lnTo>
                  <a:lnTo>
                    <a:pt x="5561" y="3522"/>
                  </a:lnTo>
                  <a:lnTo>
                    <a:pt x="5507" y="3506"/>
                  </a:lnTo>
                  <a:lnTo>
                    <a:pt x="5537" y="3499"/>
                  </a:lnTo>
                  <a:lnTo>
                    <a:pt x="5500" y="3506"/>
                  </a:lnTo>
                  <a:lnTo>
                    <a:pt x="5537" y="3522"/>
                  </a:lnTo>
                  <a:lnTo>
                    <a:pt x="5523" y="3522"/>
                  </a:lnTo>
                  <a:lnTo>
                    <a:pt x="5561" y="3527"/>
                  </a:lnTo>
                  <a:lnTo>
                    <a:pt x="5528" y="3539"/>
                  </a:lnTo>
                  <a:lnTo>
                    <a:pt x="5554" y="3544"/>
                  </a:lnTo>
                  <a:lnTo>
                    <a:pt x="5561" y="3560"/>
                  </a:lnTo>
                  <a:lnTo>
                    <a:pt x="5537" y="3555"/>
                  </a:lnTo>
                  <a:lnTo>
                    <a:pt x="5537" y="3560"/>
                  </a:lnTo>
                  <a:lnTo>
                    <a:pt x="5582" y="3560"/>
                  </a:lnTo>
                  <a:lnTo>
                    <a:pt x="5575" y="3577"/>
                  </a:lnTo>
                  <a:lnTo>
                    <a:pt x="5592" y="3577"/>
                  </a:lnTo>
                  <a:lnTo>
                    <a:pt x="5575" y="3584"/>
                  </a:lnTo>
                  <a:lnTo>
                    <a:pt x="5599" y="3584"/>
                  </a:lnTo>
                  <a:lnTo>
                    <a:pt x="5608" y="3593"/>
                  </a:lnTo>
                  <a:lnTo>
                    <a:pt x="5599" y="3593"/>
                  </a:lnTo>
                  <a:lnTo>
                    <a:pt x="5608" y="3600"/>
                  </a:lnTo>
                  <a:lnTo>
                    <a:pt x="5629" y="3600"/>
                  </a:lnTo>
                  <a:lnTo>
                    <a:pt x="5625" y="3610"/>
                  </a:lnTo>
                  <a:lnTo>
                    <a:pt x="5637" y="3600"/>
                  </a:lnTo>
                  <a:lnTo>
                    <a:pt x="5629" y="3626"/>
                  </a:lnTo>
                  <a:lnTo>
                    <a:pt x="5646" y="3600"/>
                  </a:lnTo>
                  <a:lnTo>
                    <a:pt x="5663" y="3610"/>
                  </a:lnTo>
                  <a:lnTo>
                    <a:pt x="5646" y="3626"/>
                  </a:lnTo>
                  <a:lnTo>
                    <a:pt x="5663" y="3626"/>
                  </a:lnTo>
                  <a:lnTo>
                    <a:pt x="5646" y="3650"/>
                  </a:lnTo>
                  <a:lnTo>
                    <a:pt x="5663" y="3633"/>
                  </a:lnTo>
                  <a:lnTo>
                    <a:pt x="5667" y="3638"/>
                  </a:lnTo>
                  <a:lnTo>
                    <a:pt x="5651" y="3650"/>
                  </a:lnTo>
                  <a:lnTo>
                    <a:pt x="5646" y="3666"/>
                  </a:lnTo>
                  <a:lnTo>
                    <a:pt x="5651" y="3655"/>
                  </a:lnTo>
                  <a:lnTo>
                    <a:pt x="5629" y="3688"/>
                  </a:lnTo>
                  <a:lnTo>
                    <a:pt x="5663" y="3666"/>
                  </a:lnTo>
                  <a:lnTo>
                    <a:pt x="5679" y="3666"/>
                  </a:lnTo>
                  <a:lnTo>
                    <a:pt x="5663" y="3683"/>
                  </a:lnTo>
                  <a:lnTo>
                    <a:pt x="5700" y="3655"/>
                  </a:lnTo>
                  <a:lnTo>
                    <a:pt x="5700" y="3666"/>
                  </a:lnTo>
                  <a:lnTo>
                    <a:pt x="5684" y="3671"/>
                  </a:lnTo>
                  <a:lnTo>
                    <a:pt x="5722" y="3671"/>
                  </a:lnTo>
                  <a:lnTo>
                    <a:pt x="5684" y="3711"/>
                  </a:lnTo>
                  <a:lnTo>
                    <a:pt x="5738" y="3666"/>
                  </a:lnTo>
                  <a:lnTo>
                    <a:pt x="5722" y="3688"/>
                  </a:lnTo>
                  <a:lnTo>
                    <a:pt x="5743" y="3671"/>
                  </a:lnTo>
                  <a:lnTo>
                    <a:pt x="5755" y="3671"/>
                  </a:lnTo>
                  <a:lnTo>
                    <a:pt x="5755" y="3683"/>
                  </a:lnTo>
                  <a:lnTo>
                    <a:pt x="5759" y="3688"/>
                  </a:lnTo>
                  <a:lnTo>
                    <a:pt x="5743" y="3695"/>
                  </a:lnTo>
                  <a:lnTo>
                    <a:pt x="5755" y="3704"/>
                  </a:lnTo>
                  <a:lnTo>
                    <a:pt x="5830" y="3711"/>
                  </a:lnTo>
                  <a:lnTo>
                    <a:pt x="5868" y="3728"/>
                  </a:lnTo>
                  <a:lnTo>
                    <a:pt x="5863" y="3737"/>
                  </a:lnTo>
                  <a:lnTo>
                    <a:pt x="5840" y="3737"/>
                  </a:lnTo>
                  <a:lnTo>
                    <a:pt x="5863" y="3744"/>
                  </a:lnTo>
                  <a:lnTo>
                    <a:pt x="5847" y="3749"/>
                  </a:lnTo>
                  <a:lnTo>
                    <a:pt x="5809" y="3749"/>
                  </a:lnTo>
                  <a:lnTo>
                    <a:pt x="5797" y="3749"/>
                  </a:lnTo>
                  <a:lnTo>
                    <a:pt x="5814" y="3749"/>
                  </a:lnTo>
                  <a:lnTo>
                    <a:pt x="5809" y="3761"/>
                  </a:lnTo>
                  <a:lnTo>
                    <a:pt x="5771" y="3766"/>
                  </a:lnTo>
                  <a:lnTo>
                    <a:pt x="5705" y="3782"/>
                  </a:lnTo>
                  <a:lnTo>
                    <a:pt x="5733" y="3782"/>
                  </a:lnTo>
                  <a:lnTo>
                    <a:pt x="5792" y="3761"/>
                  </a:lnTo>
                  <a:lnTo>
                    <a:pt x="5776" y="3782"/>
                  </a:lnTo>
                  <a:lnTo>
                    <a:pt x="5743" y="3782"/>
                  </a:lnTo>
                  <a:lnTo>
                    <a:pt x="5755" y="3782"/>
                  </a:lnTo>
                  <a:lnTo>
                    <a:pt x="5717" y="3799"/>
                  </a:lnTo>
                  <a:lnTo>
                    <a:pt x="5679" y="3806"/>
                  </a:lnTo>
                  <a:lnTo>
                    <a:pt x="5679" y="3832"/>
                  </a:lnTo>
                  <a:lnTo>
                    <a:pt x="5667" y="3832"/>
                  </a:lnTo>
                  <a:lnTo>
                    <a:pt x="5625" y="3806"/>
                  </a:lnTo>
                  <a:lnTo>
                    <a:pt x="5625" y="3815"/>
                  </a:lnTo>
                  <a:lnTo>
                    <a:pt x="5646" y="3815"/>
                  </a:lnTo>
                  <a:lnTo>
                    <a:pt x="5679" y="3832"/>
                  </a:lnTo>
                  <a:lnTo>
                    <a:pt x="5651" y="3848"/>
                  </a:lnTo>
                  <a:lnTo>
                    <a:pt x="5667" y="3855"/>
                  </a:lnTo>
                  <a:lnTo>
                    <a:pt x="5651" y="3855"/>
                  </a:lnTo>
                  <a:lnTo>
                    <a:pt x="5667" y="3855"/>
                  </a:lnTo>
                  <a:lnTo>
                    <a:pt x="5700" y="3839"/>
                  </a:lnTo>
                  <a:lnTo>
                    <a:pt x="5689" y="3832"/>
                  </a:lnTo>
                  <a:lnTo>
                    <a:pt x="5743" y="3815"/>
                  </a:lnTo>
                  <a:lnTo>
                    <a:pt x="5743" y="3806"/>
                  </a:lnTo>
                  <a:lnTo>
                    <a:pt x="5788" y="3782"/>
                  </a:lnTo>
                  <a:lnTo>
                    <a:pt x="5840" y="3777"/>
                  </a:lnTo>
                  <a:lnTo>
                    <a:pt x="5792" y="3777"/>
                  </a:lnTo>
                  <a:lnTo>
                    <a:pt x="5792" y="3766"/>
                  </a:lnTo>
                  <a:lnTo>
                    <a:pt x="5863" y="3766"/>
                  </a:lnTo>
                  <a:lnTo>
                    <a:pt x="5885" y="3799"/>
                  </a:lnTo>
                  <a:lnTo>
                    <a:pt x="5852" y="3822"/>
                  </a:lnTo>
                  <a:lnTo>
                    <a:pt x="5868" y="3832"/>
                  </a:lnTo>
                  <a:lnTo>
                    <a:pt x="5868" y="3839"/>
                  </a:lnTo>
                  <a:lnTo>
                    <a:pt x="5894" y="3815"/>
                  </a:lnTo>
                  <a:lnTo>
                    <a:pt x="5932" y="3806"/>
                  </a:lnTo>
                  <a:lnTo>
                    <a:pt x="5932" y="3815"/>
                  </a:lnTo>
                  <a:lnTo>
                    <a:pt x="5915" y="3815"/>
                  </a:lnTo>
                  <a:lnTo>
                    <a:pt x="5960" y="3832"/>
                  </a:lnTo>
                  <a:lnTo>
                    <a:pt x="5939" y="3832"/>
                  </a:lnTo>
                  <a:lnTo>
                    <a:pt x="5960" y="3848"/>
                  </a:lnTo>
                  <a:lnTo>
                    <a:pt x="5977" y="3848"/>
                  </a:lnTo>
                  <a:lnTo>
                    <a:pt x="5977" y="3872"/>
                  </a:lnTo>
                  <a:lnTo>
                    <a:pt x="5970" y="3877"/>
                  </a:lnTo>
                  <a:lnTo>
                    <a:pt x="5948" y="3877"/>
                  </a:lnTo>
                  <a:lnTo>
                    <a:pt x="5970" y="3893"/>
                  </a:lnTo>
                  <a:lnTo>
                    <a:pt x="5977" y="3905"/>
                  </a:lnTo>
                  <a:lnTo>
                    <a:pt x="5953" y="3910"/>
                  </a:lnTo>
                  <a:lnTo>
                    <a:pt x="5977" y="3917"/>
                  </a:lnTo>
                  <a:lnTo>
                    <a:pt x="5953" y="3917"/>
                  </a:lnTo>
                  <a:lnTo>
                    <a:pt x="5960" y="3917"/>
                  </a:lnTo>
                  <a:lnTo>
                    <a:pt x="5948" y="3926"/>
                  </a:lnTo>
                  <a:lnTo>
                    <a:pt x="5922" y="3926"/>
                  </a:lnTo>
                  <a:lnTo>
                    <a:pt x="5986" y="3943"/>
                  </a:lnTo>
                  <a:lnTo>
                    <a:pt x="5986" y="3950"/>
                  </a:lnTo>
                  <a:lnTo>
                    <a:pt x="5977" y="3950"/>
                  </a:lnTo>
                  <a:lnTo>
                    <a:pt x="5948" y="3943"/>
                  </a:lnTo>
                  <a:lnTo>
                    <a:pt x="5986" y="3959"/>
                  </a:lnTo>
                  <a:lnTo>
                    <a:pt x="5986" y="3971"/>
                  </a:lnTo>
                  <a:lnTo>
                    <a:pt x="5894" y="4037"/>
                  </a:lnTo>
                  <a:lnTo>
                    <a:pt x="5878" y="4025"/>
                  </a:lnTo>
                  <a:lnTo>
                    <a:pt x="5840" y="4025"/>
                  </a:lnTo>
                  <a:lnTo>
                    <a:pt x="5826" y="4044"/>
                  </a:lnTo>
                  <a:lnTo>
                    <a:pt x="5776" y="4054"/>
                  </a:lnTo>
                  <a:lnTo>
                    <a:pt x="5776" y="4061"/>
                  </a:lnTo>
                  <a:lnTo>
                    <a:pt x="5755" y="4077"/>
                  </a:lnTo>
                  <a:lnTo>
                    <a:pt x="5755" y="4094"/>
                  </a:lnTo>
                  <a:lnTo>
                    <a:pt x="5743" y="4099"/>
                  </a:lnTo>
                  <a:lnTo>
                    <a:pt x="5743" y="4094"/>
                  </a:lnTo>
                  <a:lnTo>
                    <a:pt x="5705" y="4127"/>
                  </a:lnTo>
                  <a:lnTo>
                    <a:pt x="5689" y="4132"/>
                  </a:lnTo>
                  <a:lnTo>
                    <a:pt x="5689" y="4137"/>
                  </a:lnTo>
                  <a:lnTo>
                    <a:pt x="5684" y="4148"/>
                  </a:lnTo>
                  <a:lnTo>
                    <a:pt x="5592" y="4153"/>
                  </a:lnTo>
                  <a:lnTo>
                    <a:pt x="5561" y="4165"/>
                  </a:lnTo>
                  <a:lnTo>
                    <a:pt x="5570" y="4153"/>
                  </a:lnTo>
                  <a:lnTo>
                    <a:pt x="5561" y="4153"/>
                  </a:lnTo>
                  <a:lnTo>
                    <a:pt x="5554" y="4148"/>
                  </a:lnTo>
                  <a:lnTo>
                    <a:pt x="5516" y="4137"/>
                  </a:lnTo>
                  <a:lnTo>
                    <a:pt x="5452" y="4148"/>
                  </a:lnTo>
                  <a:lnTo>
                    <a:pt x="5415" y="4137"/>
                  </a:lnTo>
                  <a:lnTo>
                    <a:pt x="5313" y="4137"/>
                  </a:lnTo>
                  <a:lnTo>
                    <a:pt x="5259" y="4137"/>
                  </a:lnTo>
                  <a:lnTo>
                    <a:pt x="5252" y="4153"/>
                  </a:lnTo>
                  <a:lnTo>
                    <a:pt x="5230" y="4148"/>
                  </a:lnTo>
                  <a:lnTo>
                    <a:pt x="5183" y="4188"/>
                  </a:lnTo>
                  <a:lnTo>
                    <a:pt x="5176" y="4222"/>
                  </a:lnTo>
                  <a:lnTo>
                    <a:pt x="5162" y="4238"/>
                  </a:lnTo>
                  <a:lnTo>
                    <a:pt x="5112" y="4243"/>
                  </a:lnTo>
                  <a:lnTo>
                    <a:pt x="5107" y="4248"/>
                  </a:lnTo>
                  <a:lnTo>
                    <a:pt x="5074" y="4259"/>
                  </a:lnTo>
                  <a:lnTo>
                    <a:pt x="5041" y="4281"/>
                  </a:lnTo>
                  <a:lnTo>
                    <a:pt x="5037" y="4297"/>
                  </a:lnTo>
                  <a:lnTo>
                    <a:pt x="5004" y="4349"/>
                  </a:lnTo>
                  <a:lnTo>
                    <a:pt x="4982" y="4333"/>
                  </a:lnTo>
                  <a:lnTo>
                    <a:pt x="4907" y="4316"/>
                  </a:lnTo>
                  <a:lnTo>
                    <a:pt x="4982" y="4337"/>
                  </a:lnTo>
                  <a:lnTo>
                    <a:pt x="4999" y="4349"/>
                  </a:lnTo>
                  <a:lnTo>
                    <a:pt x="4982" y="4375"/>
                  </a:lnTo>
                  <a:lnTo>
                    <a:pt x="4966" y="4403"/>
                  </a:lnTo>
                  <a:lnTo>
                    <a:pt x="4944" y="4408"/>
                  </a:lnTo>
                  <a:lnTo>
                    <a:pt x="4928" y="4441"/>
                  </a:lnTo>
                  <a:lnTo>
                    <a:pt x="4890" y="4470"/>
                  </a:lnTo>
                  <a:lnTo>
                    <a:pt x="4944" y="4448"/>
                  </a:lnTo>
                  <a:lnTo>
                    <a:pt x="5020" y="4354"/>
                  </a:lnTo>
                  <a:lnTo>
                    <a:pt x="5107" y="4297"/>
                  </a:lnTo>
                  <a:lnTo>
                    <a:pt x="5247" y="4243"/>
                  </a:lnTo>
                  <a:lnTo>
                    <a:pt x="5301" y="4243"/>
                  </a:lnTo>
                  <a:lnTo>
                    <a:pt x="5344" y="4248"/>
                  </a:lnTo>
                  <a:lnTo>
                    <a:pt x="5381" y="4276"/>
                  </a:lnTo>
                  <a:lnTo>
                    <a:pt x="5393" y="4292"/>
                  </a:lnTo>
                  <a:lnTo>
                    <a:pt x="5360" y="4276"/>
                  </a:lnTo>
                  <a:lnTo>
                    <a:pt x="5393" y="4297"/>
                  </a:lnTo>
                  <a:lnTo>
                    <a:pt x="5381" y="4297"/>
                  </a:lnTo>
                  <a:lnTo>
                    <a:pt x="5381" y="4316"/>
                  </a:lnTo>
                  <a:lnTo>
                    <a:pt x="5306" y="4354"/>
                  </a:lnTo>
                  <a:lnTo>
                    <a:pt x="5268" y="4337"/>
                  </a:lnTo>
                  <a:lnTo>
                    <a:pt x="5200" y="4354"/>
                  </a:lnTo>
                  <a:lnTo>
                    <a:pt x="5237" y="4354"/>
                  </a:lnTo>
                  <a:lnTo>
                    <a:pt x="5275" y="4370"/>
                  </a:lnTo>
                  <a:lnTo>
                    <a:pt x="5285" y="4392"/>
                  </a:lnTo>
                  <a:lnTo>
                    <a:pt x="5313" y="4370"/>
                  </a:lnTo>
                  <a:lnTo>
                    <a:pt x="5344" y="4375"/>
                  </a:lnTo>
                  <a:lnTo>
                    <a:pt x="5355" y="4387"/>
                  </a:lnTo>
                  <a:lnTo>
                    <a:pt x="5339" y="4392"/>
                  </a:lnTo>
                  <a:lnTo>
                    <a:pt x="5339" y="4415"/>
                  </a:lnTo>
                  <a:lnTo>
                    <a:pt x="5306" y="4441"/>
                  </a:lnTo>
                  <a:lnTo>
                    <a:pt x="5344" y="4441"/>
                  </a:lnTo>
                  <a:lnTo>
                    <a:pt x="5339" y="4465"/>
                  </a:lnTo>
                  <a:lnTo>
                    <a:pt x="5355" y="4481"/>
                  </a:lnTo>
                  <a:lnTo>
                    <a:pt x="5365" y="4519"/>
                  </a:lnTo>
                  <a:lnTo>
                    <a:pt x="5415" y="4526"/>
                  </a:lnTo>
                  <a:lnTo>
                    <a:pt x="5393" y="4536"/>
                  </a:lnTo>
                  <a:lnTo>
                    <a:pt x="5419" y="4552"/>
                  </a:lnTo>
                  <a:lnTo>
                    <a:pt x="5436" y="4552"/>
                  </a:lnTo>
                  <a:lnTo>
                    <a:pt x="5448" y="4552"/>
                  </a:lnTo>
                  <a:lnTo>
                    <a:pt x="5431" y="4552"/>
                  </a:lnTo>
                  <a:lnTo>
                    <a:pt x="5452" y="4559"/>
                  </a:lnTo>
                  <a:lnTo>
                    <a:pt x="5448" y="4559"/>
                  </a:lnTo>
                  <a:lnTo>
                    <a:pt x="5490" y="4559"/>
                  </a:lnTo>
                  <a:lnTo>
                    <a:pt x="5507" y="4576"/>
                  </a:lnTo>
                  <a:lnTo>
                    <a:pt x="5544" y="4552"/>
                  </a:lnTo>
                  <a:lnTo>
                    <a:pt x="5544" y="4569"/>
                  </a:lnTo>
                  <a:lnTo>
                    <a:pt x="5570" y="4576"/>
                  </a:lnTo>
                  <a:lnTo>
                    <a:pt x="5575" y="4569"/>
                  </a:lnTo>
                  <a:lnTo>
                    <a:pt x="5592" y="4581"/>
                  </a:lnTo>
                  <a:lnTo>
                    <a:pt x="5575" y="4597"/>
                  </a:lnTo>
                  <a:lnTo>
                    <a:pt x="5613" y="4597"/>
                  </a:lnTo>
                  <a:lnTo>
                    <a:pt x="5608" y="4609"/>
                  </a:lnTo>
                  <a:lnTo>
                    <a:pt x="5592" y="4609"/>
                  </a:lnTo>
                  <a:lnTo>
                    <a:pt x="5582" y="4614"/>
                  </a:lnTo>
                  <a:lnTo>
                    <a:pt x="5507" y="4637"/>
                  </a:lnTo>
                  <a:lnTo>
                    <a:pt x="5485" y="4654"/>
                  </a:lnTo>
                  <a:lnTo>
                    <a:pt x="5469" y="4647"/>
                  </a:lnTo>
                  <a:lnTo>
                    <a:pt x="5469" y="4654"/>
                  </a:lnTo>
                  <a:lnTo>
                    <a:pt x="5462" y="4647"/>
                  </a:lnTo>
                  <a:lnTo>
                    <a:pt x="5436" y="4663"/>
                  </a:lnTo>
                  <a:lnTo>
                    <a:pt x="5419" y="4654"/>
                  </a:lnTo>
                  <a:lnTo>
                    <a:pt x="5436" y="4670"/>
                  </a:lnTo>
                  <a:lnTo>
                    <a:pt x="5431" y="4680"/>
                  </a:lnTo>
                  <a:lnTo>
                    <a:pt x="5410" y="4670"/>
                  </a:lnTo>
                  <a:lnTo>
                    <a:pt x="5410" y="4654"/>
                  </a:lnTo>
                  <a:lnTo>
                    <a:pt x="5398" y="4663"/>
                  </a:lnTo>
                  <a:lnTo>
                    <a:pt x="5398" y="4670"/>
                  </a:lnTo>
                  <a:lnTo>
                    <a:pt x="5393" y="4680"/>
                  </a:lnTo>
                  <a:lnTo>
                    <a:pt x="5381" y="4663"/>
                  </a:lnTo>
                  <a:lnTo>
                    <a:pt x="5377" y="4680"/>
                  </a:lnTo>
                  <a:lnTo>
                    <a:pt x="5381" y="4692"/>
                  </a:lnTo>
                  <a:lnTo>
                    <a:pt x="5360" y="4703"/>
                  </a:lnTo>
                  <a:lnTo>
                    <a:pt x="5355" y="4720"/>
                  </a:lnTo>
                  <a:lnTo>
                    <a:pt x="5344" y="4720"/>
                  </a:lnTo>
                  <a:lnTo>
                    <a:pt x="5327" y="4741"/>
                  </a:lnTo>
                  <a:lnTo>
                    <a:pt x="5306" y="4741"/>
                  </a:lnTo>
                  <a:lnTo>
                    <a:pt x="5301" y="4765"/>
                  </a:lnTo>
                  <a:lnTo>
                    <a:pt x="5289" y="4758"/>
                  </a:lnTo>
                  <a:lnTo>
                    <a:pt x="5275" y="4758"/>
                  </a:lnTo>
                  <a:lnTo>
                    <a:pt x="5268" y="4736"/>
                  </a:lnTo>
                  <a:lnTo>
                    <a:pt x="5259" y="4741"/>
                  </a:lnTo>
                  <a:lnTo>
                    <a:pt x="5247" y="4725"/>
                  </a:lnTo>
                  <a:lnTo>
                    <a:pt x="5247" y="4708"/>
                  </a:lnTo>
                  <a:lnTo>
                    <a:pt x="5252" y="4687"/>
                  </a:lnTo>
                  <a:lnTo>
                    <a:pt x="5268" y="4663"/>
                  </a:lnTo>
                  <a:lnTo>
                    <a:pt x="5247" y="4680"/>
                  </a:lnTo>
                  <a:lnTo>
                    <a:pt x="5259" y="4663"/>
                  </a:lnTo>
                  <a:lnTo>
                    <a:pt x="5285" y="4663"/>
                  </a:lnTo>
                  <a:lnTo>
                    <a:pt x="5289" y="4654"/>
                  </a:lnTo>
                  <a:lnTo>
                    <a:pt x="5285" y="4654"/>
                  </a:lnTo>
                  <a:lnTo>
                    <a:pt x="5285" y="4647"/>
                  </a:lnTo>
                  <a:lnTo>
                    <a:pt x="5377" y="4597"/>
                  </a:lnTo>
                  <a:lnTo>
                    <a:pt x="5365" y="4597"/>
                  </a:lnTo>
                  <a:lnTo>
                    <a:pt x="5377" y="4597"/>
                  </a:lnTo>
                  <a:lnTo>
                    <a:pt x="5377" y="4614"/>
                  </a:lnTo>
                  <a:lnTo>
                    <a:pt x="5381" y="4614"/>
                  </a:lnTo>
                  <a:lnTo>
                    <a:pt x="5393" y="4630"/>
                  </a:lnTo>
                  <a:lnTo>
                    <a:pt x="5393" y="4609"/>
                  </a:lnTo>
                  <a:lnTo>
                    <a:pt x="5448" y="4597"/>
                  </a:lnTo>
                  <a:lnTo>
                    <a:pt x="5360" y="4592"/>
                  </a:lnTo>
                  <a:lnTo>
                    <a:pt x="5339" y="4597"/>
                  </a:lnTo>
                  <a:lnTo>
                    <a:pt x="5344" y="4581"/>
                  </a:lnTo>
                  <a:lnTo>
                    <a:pt x="5381" y="4559"/>
                  </a:lnTo>
                  <a:lnTo>
                    <a:pt x="5377" y="4552"/>
                  </a:lnTo>
                  <a:lnTo>
                    <a:pt x="5365" y="4559"/>
                  </a:lnTo>
                  <a:lnTo>
                    <a:pt x="5344" y="4526"/>
                  </a:lnTo>
                  <a:lnTo>
                    <a:pt x="5360" y="4552"/>
                  </a:lnTo>
                  <a:lnTo>
                    <a:pt x="5344" y="4576"/>
                  </a:lnTo>
                  <a:lnTo>
                    <a:pt x="5339" y="4576"/>
                  </a:lnTo>
                  <a:lnTo>
                    <a:pt x="5268" y="4609"/>
                  </a:lnTo>
                  <a:lnTo>
                    <a:pt x="5252" y="4597"/>
                  </a:lnTo>
                  <a:lnTo>
                    <a:pt x="5259" y="4581"/>
                  </a:lnTo>
                  <a:lnTo>
                    <a:pt x="5247" y="4597"/>
                  </a:lnTo>
                  <a:lnTo>
                    <a:pt x="5252" y="4609"/>
                  </a:lnTo>
                  <a:lnTo>
                    <a:pt x="5230" y="4625"/>
                  </a:lnTo>
                  <a:lnTo>
                    <a:pt x="5221" y="4614"/>
                  </a:lnTo>
                  <a:lnTo>
                    <a:pt x="5204" y="4625"/>
                  </a:lnTo>
                  <a:lnTo>
                    <a:pt x="5192" y="4614"/>
                  </a:lnTo>
                  <a:lnTo>
                    <a:pt x="5176" y="4614"/>
                  </a:lnTo>
                  <a:lnTo>
                    <a:pt x="5176" y="4614"/>
                  </a:lnTo>
                  <a:lnTo>
                    <a:pt x="5176" y="4614"/>
                  </a:lnTo>
                  <a:close/>
                  <a:moveTo>
                    <a:pt x="3201" y="1748"/>
                  </a:moveTo>
                  <a:lnTo>
                    <a:pt x="3208" y="1753"/>
                  </a:lnTo>
                  <a:lnTo>
                    <a:pt x="3208" y="1765"/>
                  </a:lnTo>
                  <a:lnTo>
                    <a:pt x="3192" y="1765"/>
                  </a:lnTo>
                  <a:lnTo>
                    <a:pt x="3201" y="1748"/>
                  </a:lnTo>
                  <a:lnTo>
                    <a:pt x="3201" y="1748"/>
                  </a:lnTo>
                  <a:lnTo>
                    <a:pt x="3201" y="1748"/>
                  </a:lnTo>
                  <a:close/>
                  <a:moveTo>
                    <a:pt x="3095" y="1765"/>
                  </a:moveTo>
                  <a:lnTo>
                    <a:pt x="3100" y="1765"/>
                  </a:lnTo>
                  <a:lnTo>
                    <a:pt x="3083" y="1770"/>
                  </a:lnTo>
                  <a:lnTo>
                    <a:pt x="3095" y="1765"/>
                  </a:lnTo>
                  <a:lnTo>
                    <a:pt x="3095" y="1765"/>
                  </a:lnTo>
                  <a:lnTo>
                    <a:pt x="3095" y="1765"/>
                  </a:lnTo>
                  <a:close/>
                  <a:moveTo>
                    <a:pt x="4751" y="1770"/>
                  </a:moveTo>
                  <a:lnTo>
                    <a:pt x="4755" y="1770"/>
                  </a:lnTo>
                  <a:lnTo>
                    <a:pt x="4734" y="1786"/>
                  </a:lnTo>
                  <a:lnTo>
                    <a:pt x="4751" y="1770"/>
                  </a:lnTo>
                  <a:lnTo>
                    <a:pt x="4751" y="1770"/>
                  </a:lnTo>
                  <a:lnTo>
                    <a:pt x="4751" y="1770"/>
                  </a:lnTo>
                  <a:close/>
                  <a:moveTo>
                    <a:pt x="4772" y="1781"/>
                  </a:moveTo>
                  <a:lnTo>
                    <a:pt x="4789" y="1786"/>
                  </a:lnTo>
                  <a:lnTo>
                    <a:pt x="4784" y="1793"/>
                  </a:lnTo>
                  <a:lnTo>
                    <a:pt x="4767" y="1786"/>
                  </a:lnTo>
                  <a:lnTo>
                    <a:pt x="4772" y="1781"/>
                  </a:lnTo>
                  <a:lnTo>
                    <a:pt x="4772" y="1781"/>
                  </a:lnTo>
                  <a:lnTo>
                    <a:pt x="4772" y="1781"/>
                  </a:lnTo>
                  <a:close/>
                  <a:moveTo>
                    <a:pt x="4767" y="1826"/>
                  </a:moveTo>
                  <a:lnTo>
                    <a:pt x="4751" y="1819"/>
                  </a:lnTo>
                  <a:lnTo>
                    <a:pt x="4746" y="1793"/>
                  </a:lnTo>
                  <a:lnTo>
                    <a:pt x="4755" y="1786"/>
                  </a:lnTo>
                  <a:lnTo>
                    <a:pt x="4767" y="1793"/>
                  </a:lnTo>
                  <a:lnTo>
                    <a:pt x="4755" y="1803"/>
                  </a:lnTo>
                  <a:lnTo>
                    <a:pt x="4772" y="1793"/>
                  </a:lnTo>
                  <a:lnTo>
                    <a:pt x="4784" y="1803"/>
                  </a:lnTo>
                  <a:lnTo>
                    <a:pt x="4767" y="1810"/>
                  </a:lnTo>
                  <a:lnTo>
                    <a:pt x="4772" y="1819"/>
                  </a:lnTo>
                  <a:lnTo>
                    <a:pt x="4767" y="1826"/>
                  </a:lnTo>
                  <a:lnTo>
                    <a:pt x="4767" y="1826"/>
                  </a:lnTo>
                  <a:lnTo>
                    <a:pt x="4767" y="1826"/>
                  </a:lnTo>
                  <a:close/>
                  <a:moveTo>
                    <a:pt x="2953" y="1826"/>
                  </a:moveTo>
                  <a:lnTo>
                    <a:pt x="2948" y="1819"/>
                  </a:lnTo>
                  <a:lnTo>
                    <a:pt x="2953" y="1819"/>
                  </a:lnTo>
                  <a:lnTo>
                    <a:pt x="2953" y="1826"/>
                  </a:lnTo>
                  <a:lnTo>
                    <a:pt x="2953" y="1826"/>
                  </a:lnTo>
                  <a:lnTo>
                    <a:pt x="2953" y="1826"/>
                  </a:lnTo>
                  <a:close/>
                  <a:moveTo>
                    <a:pt x="3116" y="1826"/>
                  </a:moveTo>
                  <a:lnTo>
                    <a:pt x="3126" y="1836"/>
                  </a:lnTo>
                  <a:lnTo>
                    <a:pt x="3116" y="1836"/>
                  </a:lnTo>
                  <a:lnTo>
                    <a:pt x="3116" y="1826"/>
                  </a:lnTo>
                  <a:lnTo>
                    <a:pt x="3116" y="1826"/>
                  </a:lnTo>
                  <a:lnTo>
                    <a:pt x="3116" y="1826"/>
                  </a:lnTo>
                  <a:close/>
                  <a:moveTo>
                    <a:pt x="4852" y="1859"/>
                  </a:moveTo>
                  <a:lnTo>
                    <a:pt x="4881" y="1864"/>
                  </a:lnTo>
                  <a:lnTo>
                    <a:pt x="4881" y="1876"/>
                  </a:lnTo>
                  <a:lnTo>
                    <a:pt x="4843" y="1892"/>
                  </a:lnTo>
                  <a:lnTo>
                    <a:pt x="4822" y="1876"/>
                  </a:lnTo>
                  <a:lnTo>
                    <a:pt x="4836" y="1876"/>
                  </a:lnTo>
                  <a:lnTo>
                    <a:pt x="4836" y="1859"/>
                  </a:lnTo>
                  <a:lnTo>
                    <a:pt x="4852" y="1859"/>
                  </a:lnTo>
                  <a:lnTo>
                    <a:pt x="4852" y="1859"/>
                  </a:lnTo>
                  <a:lnTo>
                    <a:pt x="4852" y="1859"/>
                  </a:lnTo>
                  <a:close/>
                  <a:moveTo>
                    <a:pt x="2844" y="1904"/>
                  </a:moveTo>
                  <a:lnTo>
                    <a:pt x="2861" y="1921"/>
                  </a:lnTo>
                  <a:lnTo>
                    <a:pt x="2861" y="1937"/>
                  </a:lnTo>
                  <a:lnTo>
                    <a:pt x="2830" y="1921"/>
                  </a:lnTo>
                  <a:lnTo>
                    <a:pt x="2830" y="1904"/>
                  </a:lnTo>
                  <a:lnTo>
                    <a:pt x="2844" y="1904"/>
                  </a:lnTo>
                  <a:lnTo>
                    <a:pt x="2844" y="1904"/>
                  </a:lnTo>
                  <a:lnTo>
                    <a:pt x="2844" y="1904"/>
                  </a:lnTo>
                  <a:close/>
                  <a:moveTo>
                    <a:pt x="903" y="1914"/>
                  </a:moveTo>
                  <a:lnTo>
                    <a:pt x="886" y="1921"/>
                  </a:lnTo>
                  <a:lnTo>
                    <a:pt x="898" y="1904"/>
                  </a:lnTo>
                  <a:lnTo>
                    <a:pt x="903" y="1914"/>
                  </a:lnTo>
                  <a:lnTo>
                    <a:pt x="903" y="1914"/>
                  </a:lnTo>
                  <a:lnTo>
                    <a:pt x="903" y="1914"/>
                  </a:lnTo>
                  <a:close/>
                  <a:moveTo>
                    <a:pt x="1675" y="1921"/>
                  </a:moveTo>
                  <a:lnTo>
                    <a:pt x="1663" y="1921"/>
                  </a:lnTo>
                  <a:lnTo>
                    <a:pt x="1692" y="1921"/>
                  </a:lnTo>
                  <a:lnTo>
                    <a:pt x="1675" y="1921"/>
                  </a:lnTo>
                  <a:lnTo>
                    <a:pt x="1675" y="1921"/>
                  </a:lnTo>
                  <a:lnTo>
                    <a:pt x="1675" y="1921"/>
                  </a:lnTo>
                  <a:close/>
                  <a:moveTo>
                    <a:pt x="1760" y="1921"/>
                  </a:moveTo>
                  <a:lnTo>
                    <a:pt x="1765" y="1921"/>
                  </a:lnTo>
                  <a:lnTo>
                    <a:pt x="1751" y="1921"/>
                  </a:lnTo>
                  <a:lnTo>
                    <a:pt x="1760" y="1921"/>
                  </a:lnTo>
                  <a:lnTo>
                    <a:pt x="1760" y="1921"/>
                  </a:lnTo>
                  <a:lnTo>
                    <a:pt x="1760" y="1921"/>
                  </a:lnTo>
                  <a:close/>
                  <a:moveTo>
                    <a:pt x="1734" y="1921"/>
                  </a:moveTo>
                  <a:lnTo>
                    <a:pt x="1744" y="1921"/>
                  </a:lnTo>
                  <a:lnTo>
                    <a:pt x="1718" y="1921"/>
                  </a:lnTo>
                  <a:lnTo>
                    <a:pt x="1734" y="1921"/>
                  </a:lnTo>
                  <a:lnTo>
                    <a:pt x="1734" y="1921"/>
                  </a:lnTo>
                  <a:lnTo>
                    <a:pt x="1734" y="1921"/>
                  </a:lnTo>
                  <a:close/>
                  <a:moveTo>
                    <a:pt x="2823" y="1954"/>
                  </a:moveTo>
                  <a:lnTo>
                    <a:pt x="2823" y="1959"/>
                  </a:lnTo>
                  <a:lnTo>
                    <a:pt x="2814" y="1954"/>
                  </a:lnTo>
                  <a:lnTo>
                    <a:pt x="2823" y="1954"/>
                  </a:lnTo>
                  <a:lnTo>
                    <a:pt x="2823" y="1954"/>
                  </a:lnTo>
                  <a:lnTo>
                    <a:pt x="2823" y="1954"/>
                  </a:lnTo>
                  <a:close/>
                  <a:moveTo>
                    <a:pt x="1966" y="1954"/>
                  </a:moveTo>
                  <a:lnTo>
                    <a:pt x="1949" y="1954"/>
                  </a:lnTo>
                  <a:lnTo>
                    <a:pt x="1966" y="1954"/>
                  </a:lnTo>
                  <a:lnTo>
                    <a:pt x="1966" y="1954"/>
                  </a:lnTo>
                  <a:lnTo>
                    <a:pt x="1966" y="1954"/>
                  </a:lnTo>
                  <a:close/>
                  <a:moveTo>
                    <a:pt x="3773" y="1975"/>
                  </a:moveTo>
                  <a:lnTo>
                    <a:pt x="3811" y="1975"/>
                  </a:lnTo>
                  <a:lnTo>
                    <a:pt x="3827" y="1992"/>
                  </a:lnTo>
                  <a:lnTo>
                    <a:pt x="3780" y="1992"/>
                  </a:lnTo>
                  <a:lnTo>
                    <a:pt x="3763" y="1975"/>
                  </a:lnTo>
                  <a:lnTo>
                    <a:pt x="3773" y="1975"/>
                  </a:lnTo>
                  <a:lnTo>
                    <a:pt x="3773" y="1975"/>
                  </a:lnTo>
                  <a:lnTo>
                    <a:pt x="3773" y="1975"/>
                  </a:lnTo>
                  <a:close/>
                  <a:moveTo>
                    <a:pt x="3062" y="2003"/>
                  </a:moveTo>
                  <a:lnTo>
                    <a:pt x="3071" y="2008"/>
                  </a:lnTo>
                  <a:lnTo>
                    <a:pt x="3057" y="2003"/>
                  </a:lnTo>
                  <a:lnTo>
                    <a:pt x="3062" y="2003"/>
                  </a:lnTo>
                  <a:lnTo>
                    <a:pt x="3062" y="2003"/>
                  </a:lnTo>
                  <a:lnTo>
                    <a:pt x="3062" y="2003"/>
                  </a:lnTo>
                  <a:close/>
                  <a:moveTo>
                    <a:pt x="2932" y="2140"/>
                  </a:moveTo>
                  <a:lnTo>
                    <a:pt x="2911" y="2119"/>
                  </a:lnTo>
                  <a:lnTo>
                    <a:pt x="2915" y="2103"/>
                  </a:lnTo>
                  <a:lnTo>
                    <a:pt x="2948" y="2103"/>
                  </a:lnTo>
                  <a:lnTo>
                    <a:pt x="2991" y="2081"/>
                  </a:lnTo>
                  <a:lnTo>
                    <a:pt x="2974" y="2065"/>
                  </a:lnTo>
                  <a:lnTo>
                    <a:pt x="2986" y="2065"/>
                  </a:lnTo>
                  <a:lnTo>
                    <a:pt x="2974" y="2058"/>
                  </a:lnTo>
                  <a:lnTo>
                    <a:pt x="2974" y="2048"/>
                  </a:lnTo>
                  <a:lnTo>
                    <a:pt x="3019" y="2065"/>
                  </a:lnTo>
                  <a:lnTo>
                    <a:pt x="2991" y="2041"/>
                  </a:lnTo>
                  <a:lnTo>
                    <a:pt x="3003" y="2013"/>
                  </a:lnTo>
                  <a:lnTo>
                    <a:pt x="3024" y="2008"/>
                  </a:lnTo>
                  <a:lnTo>
                    <a:pt x="3062" y="2029"/>
                  </a:lnTo>
                  <a:lnTo>
                    <a:pt x="3057" y="2029"/>
                  </a:lnTo>
                  <a:lnTo>
                    <a:pt x="3062" y="2048"/>
                  </a:lnTo>
                  <a:lnTo>
                    <a:pt x="3071" y="2029"/>
                  </a:lnTo>
                  <a:lnTo>
                    <a:pt x="3095" y="2058"/>
                  </a:lnTo>
                  <a:lnTo>
                    <a:pt x="3137" y="2081"/>
                  </a:lnTo>
                  <a:lnTo>
                    <a:pt x="3137" y="2115"/>
                  </a:lnTo>
                  <a:lnTo>
                    <a:pt x="3147" y="2119"/>
                  </a:lnTo>
                  <a:lnTo>
                    <a:pt x="3147" y="2098"/>
                  </a:lnTo>
                  <a:lnTo>
                    <a:pt x="3154" y="2086"/>
                  </a:lnTo>
                  <a:lnTo>
                    <a:pt x="3170" y="2136"/>
                  </a:lnTo>
                  <a:lnTo>
                    <a:pt x="3208" y="2140"/>
                  </a:lnTo>
                  <a:lnTo>
                    <a:pt x="3192" y="2157"/>
                  </a:lnTo>
                  <a:lnTo>
                    <a:pt x="3170" y="2152"/>
                  </a:lnTo>
                  <a:lnTo>
                    <a:pt x="3137" y="2181"/>
                  </a:lnTo>
                  <a:lnTo>
                    <a:pt x="3116" y="2192"/>
                  </a:lnTo>
                  <a:lnTo>
                    <a:pt x="3007" y="2157"/>
                  </a:lnTo>
                  <a:lnTo>
                    <a:pt x="2991" y="2136"/>
                  </a:lnTo>
                  <a:lnTo>
                    <a:pt x="2986" y="2152"/>
                  </a:lnTo>
                  <a:lnTo>
                    <a:pt x="2974" y="2152"/>
                  </a:lnTo>
                  <a:lnTo>
                    <a:pt x="2953" y="2140"/>
                  </a:lnTo>
                  <a:lnTo>
                    <a:pt x="2953" y="2124"/>
                  </a:lnTo>
                  <a:lnTo>
                    <a:pt x="2932" y="2140"/>
                  </a:lnTo>
                  <a:lnTo>
                    <a:pt x="2932" y="2140"/>
                  </a:lnTo>
                  <a:lnTo>
                    <a:pt x="2932" y="2140"/>
                  </a:lnTo>
                  <a:close/>
                  <a:moveTo>
                    <a:pt x="3470" y="2025"/>
                  </a:moveTo>
                  <a:lnTo>
                    <a:pt x="3456" y="2013"/>
                  </a:lnTo>
                  <a:lnTo>
                    <a:pt x="3478" y="2008"/>
                  </a:lnTo>
                  <a:lnTo>
                    <a:pt x="3470" y="2025"/>
                  </a:lnTo>
                  <a:lnTo>
                    <a:pt x="3470" y="2025"/>
                  </a:lnTo>
                  <a:lnTo>
                    <a:pt x="3470" y="2025"/>
                  </a:lnTo>
                  <a:close/>
                  <a:moveTo>
                    <a:pt x="4096" y="2008"/>
                  </a:moveTo>
                  <a:lnTo>
                    <a:pt x="4108" y="2013"/>
                  </a:lnTo>
                  <a:lnTo>
                    <a:pt x="4087" y="2008"/>
                  </a:lnTo>
                  <a:lnTo>
                    <a:pt x="4096" y="2008"/>
                  </a:lnTo>
                  <a:lnTo>
                    <a:pt x="4096" y="2008"/>
                  </a:lnTo>
                  <a:lnTo>
                    <a:pt x="4096" y="2008"/>
                  </a:lnTo>
                  <a:close/>
                  <a:moveTo>
                    <a:pt x="4028" y="2025"/>
                  </a:moveTo>
                  <a:lnTo>
                    <a:pt x="4016" y="2029"/>
                  </a:lnTo>
                  <a:lnTo>
                    <a:pt x="4000" y="2025"/>
                  </a:lnTo>
                  <a:lnTo>
                    <a:pt x="4028" y="2025"/>
                  </a:lnTo>
                  <a:lnTo>
                    <a:pt x="4028" y="2025"/>
                  </a:lnTo>
                  <a:lnTo>
                    <a:pt x="4028" y="2025"/>
                  </a:lnTo>
                  <a:close/>
                  <a:moveTo>
                    <a:pt x="4297" y="2025"/>
                  </a:moveTo>
                  <a:lnTo>
                    <a:pt x="4314" y="2013"/>
                  </a:lnTo>
                  <a:lnTo>
                    <a:pt x="4323" y="2029"/>
                  </a:lnTo>
                  <a:lnTo>
                    <a:pt x="4302" y="2041"/>
                  </a:lnTo>
                  <a:lnTo>
                    <a:pt x="4271" y="2041"/>
                  </a:lnTo>
                  <a:lnTo>
                    <a:pt x="4281" y="2058"/>
                  </a:lnTo>
                  <a:lnTo>
                    <a:pt x="4243" y="2029"/>
                  </a:lnTo>
                  <a:lnTo>
                    <a:pt x="4217" y="2029"/>
                  </a:lnTo>
                  <a:lnTo>
                    <a:pt x="4248" y="2013"/>
                  </a:lnTo>
                  <a:lnTo>
                    <a:pt x="4297" y="2025"/>
                  </a:lnTo>
                  <a:lnTo>
                    <a:pt x="4297" y="2025"/>
                  </a:lnTo>
                  <a:lnTo>
                    <a:pt x="4297" y="2025"/>
                  </a:lnTo>
                  <a:close/>
                  <a:moveTo>
                    <a:pt x="4082" y="2013"/>
                  </a:moveTo>
                  <a:lnTo>
                    <a:pt x="4104" y="2029"/>
                  </a:lnTo>
                  <a:lnTo>
                    <a:pt x="4082" y="2025"/>
                  </a:lnTo>
                  <a:lnTo>
                    <a:pt x="4082" y="2013"/>
                  </a:lnTo>
                  <a:lnTo>
                    <a:pt x="4082" y="2013"/>
                  </a:lnTo>
                  <a:lnTo>
                    <a:pt x="4082" y="2013"/>
                  </a:lnTo>
                  <a:close/>
                  <a:moveTo>
                    <a:pt x="4411" y="2025"/>
                  </a:moveTo>
                  <a:lnTo>
                    <a:pt x="4422" y="2041"/>
                  </a:lnTo>
                  <a:lnTo>
                    <a:pt x="4356" y="2065"/>
                  </a:lnTo>
                  <a:lnTo>
                    <a:pt x="4411" y="2025"/>
                  </a:lnTo>
                  <a:lnTo>
                    <a:pt x="4411" y="2025"/>
                  </a:lnTo>
                  <a:lnTo>
                    <a:pt x="4411" y="2025"/>
                  </a:lnTo>
                  <a:close/>
                  <a:moveTo>
                    <a:pt x="2731" y="2029"/>
                  </a:moveTo>
                  <a:lnTo>
                    <a:pt x="2731" y="2041"/>
                  </a:lnTo>
                  <a:lnTo>
                    <a:pt x="2722" y="2029"/>
                  </a:lnTo>
                  <a:lnTo>
                    <a:pt x="2731" y="2029"/>
                  </a:lnTo>
                  <a:lnTo>
                    <a:pt x="2731" y="2029"/>
                  </a:lnTo>
                  <a:lnTo>
                    <a:pt x="2731" y="2029"/>
                  </a:lnTo>
                  <a:close/>
                  <a:moveTo>
                    <a:pt x="378" y="2119"/>
                  </a:moveTo>
                  <a:lnTo>
                    <a:pt x="385" y="2119"/>
                  </a:lnTo>
                  <a:lnTo>
                    <a:pt x="357" y="2115"/>
                  </a:lnTo>
                  <a:lnTo>
                    <a:pt x="357" y="2086"/>
                  </a:lnTo>
                  <a:lnTo>
                    <a:pt x="385" y="2103"/>
                  </a:lnTo>
                  <a:lnTo>
                    <a:pt x="362" y="2086"/>
                  </a:lnTo>
                  <a:lnTo>
                    <a:pt x="385" y="2081"/>
                  </a:lnTo>
                  <a:lnTo>
                    <a:pt x="411" y="2086"/>
                  </a:lnTo>
                  <a:lnTo>
                    <a:pt x="400" y="2065"/>
                  </a:lnTo>
                  <a:lnTo>
                    <a:pt x="411" y="2065"/>
                  </a:lnTo>
                  <a:lnTo>
                    <a:pt x="466" y="2065"/>
                  </a:lnTo>
                  <a:lnTo>
                    <a:pt x="466" y="2041"/>
                  </a:lnTo>
                  <a:lnTo>
                    <a:pt x="454" y="2029"/>
                  </a:lnTo>
                  <a:lnTo>
                    <a:pt x="475" y="2029"/>
                  </a:lnTo>
                  <a:lnTo>
                    <a:pt x="475" y="2048"/>
                  </a:lnTo>
                  <a:lnTo>
                    <a:pt x="508" y="2048"/>
                  </a:lnTo>
                  <a:lnTo>
                    <a:pt x="466" y="2103"/>
                  </a:lnTo>
                  <a:lnTo>
                    <a:pt x="449" y="2119"/>
                  </a:lnTo>
                  <a:lnTo>
                    <a:pt x="475" y="2157"/>
                  </a:lnTo>
                  <a:lnTo>
                    <a:pt x="466" y="2157"/>
                  </a:lnTo>
                  <a:lnTo>
                    <a:pt x="433" y="2119"/>
                  </a:lnTo>
                  <a:lnTo>
                    <a:pt x="423" y="2136"/>
                  </a:lnTo>
                  <a:lnTo>
                    <a:pt x="357" y="2124"/>
                  </a:lnTo>
                  <a:lnTo>
                    <a:pt x="357" y="2115"/>
                  </a:lnTo>
                  <a:lnTo>
                    <a:pt x="378" y="2119"/>
                  </a:lnTo>
                  <a:lnTo>
                    <a:pt x="378" y="2119"/>
                  </a:lnTo>
                  <a:lnTo>
                    <a:pt x="378" y="2119"/>
                  </a:lnTo>
                  <a:close/>
                  <a:moveTo>
                    <a:pt x="5129" y="2029"/>
                  </a:moveTo>
                  <a:lnTo>
                    <a:pt x="5129" y="2041"/>
                  </a:lnTo>
                  <a:lnTo>
                    <a:pt x="5129" y="2058"/>
                  </a:lnTo>
                  <a:lnTo>
                    <a:pt x="5107" y="2048"/>
                  </a:lnTo>
                  <a:lnTo>
                    <a:pt x="5129" y="2029"/>
                  </a:lnTo>
                  <a:lnTo>
                    <a:pt x="5129" y="2029"/>
                  </a:lnTo>
                  <a:lnTo>
                    <a:pt x="5129" y="2029"/>
                  </a:lnTo>
                  <a:close/>
                  <a:moveTo>
                    <a:pt x="130" y="2058"/>
                  </a:moveTo>
                  <a:lnTo>
                    <a:pt x="114" y="2048"/>
                  </a:lnTo>
                  <a:lnTo>
                    <a:pt x="130" y="2041"/>
                  </a:lnTo>
                  <a:lnTo>
                    <a:pt x="152" y="2048"/>
                  </a:lnTo>
                  <a:lnTo>
                    <a:pt x="130" y="2058"/>
                  </a:lnTo>
                  <a:lnTo>
                    <a:pt x="130" y="2058"/>
                  </a:lnTo>
                  <a:lnTo>
                    <a:pt x="130" y="2058"/>
                  </a:lnTo>
                  <a:close/>
                  <a:moveTo>
                    <a:pt x="3192" y="2048"/>
                  </a:moveTo>
                  <a:lnTo>
                    <a:pt x="3201" y="2058"/>
                  </a:lnTo>
                  <a:lnTo>
                    <a:pt x="3192" y="2081"/>
                  </a:lnTo>
                  <a:lnTo>
                    <a:pt x="3180" y="2081"/>
                  </a:lnTo>
                  <a:lnTo>
                    <a:pt x="3180" y="2070"/>
                  </a:lnTo>
                  <a:lnTo>
                    <a:pt x="3180" y="2058"/>
                  </a:lnTo>
                  <a:lnTo>
                    <a:pt x="3170" y="2048"/>
                  </a:lnTo>
                  <a:lnTo>
                    <a:pt x="3163" y="2081"/>
                  </a:lnTo>
                  <a:lnTo>
                    <a:pt x="3154" y="2070"/>
                  </a:lnTo>
                  <a:lnTo>
                    <a:pt x="3154" y="2058"/>
                  </a:lnTo>
                  <a:lnTo>
                    <a:pt x="3163" y="2048"/>
                  </a:lnTo>
                  <a:lnTo>
                    <a:pt x="3192" y="2048"/>
                  </a:lnTo>
                  <a:lnTo>
                    <a:pt x="3192" y="2048"/>
                  </a:lnTo>
                  <a:lnTo>
                    <a:pt x="3192" y="2048"/>
                  </a:lnTo>
                  <a:close/>
                  <a:moveTo>
                    <a:pt x="5150" y="2058"/>
                  </a:moveTo>
                  <a:lnTo>
                    <a:pt x="5138" y="2058"/>
                  </a:lnTo>
                  <a:lnTo>
                    <a:pt x="5167" y="2048"/>
                  </a:lnTo>
                  <a:lnTo>
                    <a:pt x="5150" y="2058"/>
                  </a:lnTo>
                  <a:lnTo>
                    <a:pt x="5150" y="2058"/>
                  </a:lnTo>
                  <a:lnTo>
                    <a:pt x="5150" y="2058"/>
                  </a:lnTo>
                  <a:close/>
                  <a:moveTo>
                    <a:pt x="3147" y="2048"/>
                  </a:moveTo>
                  <a:lnTo>
                    <a:pt x="3147" y="2081"/>
                  </a:lnTo>
                  <a:lnTo>
                    <a:pt x="3109" y="2048"/>
                  </a:lnTo>
                  <a:lnTo>
                    <a:pt x="3147" y="2048"/>
                  </a:lnTo>
                  <a:lnTo>
                    <a:pt x="3147" y="2048"/>
                  </a:lnTo>
                  <a:lnTo>
                    <a:pt x="3147" y="2048"/>
                  </a:lnTo>
                  <a:close/>
                  <a:moveTo>
                    <a:pt x="2802" y="2058"/>
                  </a:moveTo>
                  <a:lnTo>
                    <a:pt x="2807" y="2065"/>
                  </a:lnTo>
                  <a:lnTo>
                    <a:pt x="2793" y="2070"/>
                  </a:lnTo>
                  <a:lnTo>
                    <a:pt x="2793" y="2065"/>
                  </a:lnTo>
                  <a:lnTo>
                    <a:pt x="2776" y="2058"/>
                  </a:lnTo>
                  <a:lnTo>
                    <a:pt x="2785" y="2048"/>
                  </a:lnTo>
                  <a:lnTo>
                    <a:pt x="2802" y="2058"/>
                  </a:lnTo>
                  <a:lnTo>
                    <a:pt x="2802" y="2058"/>
                  </a:lnTo>
                  <a:lnTo>
                    <a:pt x="2802" y="2058"/>
                  </a:lnTo>
                  <a:close/>
                  <a:moveTo>
                    <a:pt x="3563" y="2065"/>
                  </a:moveTo>
                  <a:lnTo>
                    <a:pt x="3563" y="2081"/>
                  </a:lnTo>
                  <a:lnTo>
                    <a:pt x="3558" y="2086"/>
                  </a:lnTo>
                  <a:lnTo>
                    <a:pt x="3541" y="2081"/>
                  </a:lnTo>
                  <a:lnTo>
                    <a:pt x="3563" y="2065"/>
                  </a:lnTo>
                  <a:lnTo>
                    <a:pt x="3563" y="2065"/>
                  </a:lnTo>
                  <a:lnTo>
                    <a:pt x="3563" y="2065"/>
                  </a:lnTo>
                  <a:close/>
                  <a:moveTo>
                    <a:pt x="4481" y="2065"/>
                  </a:moveTo>
                  <a:lnTo>
                    <a:pt x="4512" y="2065"/>
                  </a:lnTo>
                  <a:lnTo>
                    <a:pt x="4512" y="2081"/>
                  </a:lnTo>
                  <a:lnTo>
                    <a:pt x="4486" y="2103"/>
                  </a:lnTo>
                  <a:lnTo>
                    <a:pt x="4465" y="2103"/>
                  </a:lnTo>
                  <a:lnTo>
                    <a:pt x="4460" y="2086"/>
                  </a:lnTo>
                  <a:lnTo>
                    <a:pt x="4465" y="2070"/>
                  </a:lnTo>
                  <a:lnTo>
                    <a:pt x="4481" y="2065"/>
                  </a:lnTo>
                  <a:lnTo>
                    <a:pt x="4481" y="2065"/>
                  </a:lnTo>
                  <a:lnTo>
                    <a:pt x="4481" y="2065"/>
                  </a:lnTo>
                  <a:close/>
                  <a:moveTo>
                    <a:pt x="400" y="2081"/>
                  </a:moveTo>
                  <a:lnTo>
                    <a:pt x="385" y="2070"/>
                  </a:lnTo>
                  <a:lnTo>
                    <a:pt x="400" y="2070"/>
                  </a:lnTo>
                  <a:lnTo>
                    <a:pt x="400" y="2081"/>
                  </a:lnTo>
                  <a:lnTo>
                    <a:pt x="400" y="2081"/>
                  </a:lnTo>
                  <a:lnTo>
                    <a:pt x="400" y="2081"/>
                  </a:lnTo>
                  <a:close/>
                  <a:moveTo>
                    <a:pt x="4389" y="2070"/>
                  </a:moveTo>
                  <a:lnTo>
                    <a:pt x="4406" y="2081"/>
                  </a:lnTo>
                  <a:lnTo>
                    <a:pt x="4356" y="2136"/>
                  </a:lnTo>
                  <a:lnTo>
                    <a:pt x="4335" y="2140"/>
                  </a:lnTo>
                  <a:lnTo>
                    <a:pt x="4318" y="2136"/>
                  </a:lnTo>
                  <a:lnTo>
                    <a:pt x="4335" y="2115"/>
                  </a:lnTo>
                  <a:lnTo>
                    <a:pt x="4356" y="2103"/>
                  </a:lnTo>
                  <a:lnTo>
                    <a:pt x="4368" y="2081"/>
                  </a:lnTo>
                  <a:lnTo>
                    <a:pt x="4389" y="2070"/>
                  </a:lnTo>
                  <a:lnTo>
                    <a:pt x="4389" y="2070"/>
                  </a:lnTo>
                  <a:lnTo>
                    <a:pt x="4389" y="2070"/>
                  </a:lnTo>
                  <a:close/>
                  <a:moveTo>
                    <a:pt x="3541" y="2098"/>
                  </a:moveTo>
                  <a:lnTo>
                    <a:pt x="3525" y="2081"/>
                  </a:lnTo>
                  <a:lnTo>
                    <a:pt x="3532" y="2070"/>
                  </a:lnTo>
                  <a:lnTo>
                    <a:pt x="3546" y="2086"/>
                  </a:lnTo>
                  <a:lnTo>
                    <a:pt x="3541" y="2098"/>
                  </a:lnTo>
                  <a:lnTo>
                    <a:pt x="3541" y="2098"/>
                  </a:lnTo>
                  <a:lnTo>
                    <a:pt x="3541" y="2098"/>
                  </a:lnTo>
                  <a:close/>
                  <a:moveTo>
                    <a:pt x="2769" y="2098"/>
                  </a:moveTo>
                  <a:lnTo>
                    <a:pt x="2769" y="2115"/>
                  </a:lnTo>
                  <a:lnTo>
                    <a:pt x="2755" y="2115"/>
                  </a:lnTo>
                  <a:lnTo>
                    <a:pt x="2759" y="2098"/>
                  </a:lnTo>
                  <a:lnTo>
                    <a:pt x="2769" y="2098"/>
                  </a:lnTo>
                  <a:lnTo>
                    <a:pt x="2769" y="2098"/>
                  </a:lnTo>
                  <a:lnTo>
                    <a:pt x="2769" y="2098"/>
                  </a:lnTo>
                  <a:close/>
                  <a:moveTo>
                    <a:pt x="3563" y="2115"/>
                  </a:moveTo>
                  <a:lnTo>
                    <a:pt x="3570" y="2115"/>
                  </a:lnTo>
                  <a:lnTo>
                    <a:pt x="3558" y="2115"/>
                  </a:lnTo>
                  <a:lnTo>
                    <a:pt x="3563" y="2115"/>
                  </a:lnTo>
                  <a:lnTo>
                    <a:pt x="3563" y="2115"/>
                  </a:lnTo>
                  <a:lnTo>
                    <a:pt x="3563" y="2115"/>
                  </a:lnTo>
                  <a:close/>
                  <a:moveTo>
                    <a:pt x="2868" y="2103"/>
                  </a:moveTo>
                  <a:lnTo>
                    <a:pt x="2878" y="2119"/>
                  </a:lnTo>
                  <a:lnTo>
                    <a:pt x="2878" y="2124"/>
                  </a:lnTo>
                  <a:lnTo>
                    <a:pt x="2861" y="2119"/>
                  </a:lnTo>
                  <a:lnTo>
                    <a:pt x="2868" y="2103"/>
                  </a:lnTo>
                  <a:lnTo>
                    <a:pt x="2868" y="2103"/>
                  </a:lnTo>
                  <a:lnTo>
                    <a:pt x="2868" y="2103"/>
                  </a:lnTo>
                  <a:close/>
                  <a:moveTo>
                    <a:pt x="2856" y="2119"/>
                  </a:moveTo>
                  <a:lnTo>
                    <a:pt x="2868" y="2136"/>
                  </a:lnTo>
                  <a:lnTo>
                    <a:pt x="2861" y="2140"/>
                  </a:lnTo>
                  <a:lnTo>
                    <a:pt x="2856" y="2157"/>
                  </a:lnTo>
                  <a:lnTo>
                    <a:pt x="2830" y="2152"/>
                  </a:lnTo>
                  <a:lnTo>
                    <a:pt x="2830" y="2119"/>
                  </a:lnTo>
                  <a:lnTo>
                    <a:pt x="2856" y="2119"/>
                  </a:lnTo>
                  <a:lnTo>
                    <a:pt x="2856" y="2119"/>
                  </a:lnTo>
                  <a:lnTo>
                    <a:pt x="2856" y="2119"/>
                  </a:lnTo>
                  <a:close/>
                  <a:moveTo>
                    <a:pt x="3584" y="2124"/>
                  </a:moveTo>
                  <a:lnTo>
                    <a:pt x="3570" y="2119"/>
                  </a:lnTo>
                  <a:lnTo>
                    <a:pt x="3584" y="2119"/>
                  </a:lnTo>
                  <a:lnTo>
                    <a:pt x="3584" y="2124"/>
                  </a:lnTo>
                  <a:lnTo>
                    <a:pt x="3584" y="2124"/>
                  </a:lnTo>
                  <a:lnTo>
                    <a:pt x="3584" y="2124"/>
                  </a:lnTo>
                  <a:close/>
                  <a:moveTo>
                    <a:pt x="5129" y="2124"/>
                  </a:moveTo>
                  <a:lnTo>
                    <a:pt x="5129" y="2136"/>
                  </a:lnTo>
                  <a:lnTo>
                    <a:pt x="5124" y="2124"/>
                  </a:lnTo>
                  <a:lnTo>
                    <a:pt x="5129" y="2124"/>
                  </a:lnTo>
                  <a:lnTo>
                    <a:pt x="5129" y="2124"/>
                  </a:lnTo>
                  <a:lnTo>
                    <a:pt x="5129" y="2124"/>
                  </a:lnTo>
                  <a:close/>
                  <a:moveTo>
                    <a:pt x="3579" y="2157"/>
                  </a:moveTo>
                  <a:lnTo>
                    <a:pt x="3579" y="2152"/>
                  </a:lnTo>
                  <a:lnTo>
                    <a:pt x="3579" y="2140"/>
                  </a:lnTo>
                  <a:lnTo>
                    <a:pt x="3596" y="2152"/>
                  </a:lnTo>
                  <a:lnTo>
                    <a:pt x="3579" y="2157"/>
                  </a:lnTo>
                  <a:lnTo>
                    <a:pt x="3579" y="2157"/>
                  </a:lnTo>
                  <a:lnTo>
                    <a:pt x="3579" y="2157"/>
                  </a:lnTo>
                  <a:close/>
                  <a:moveTo>
                    <a:pt x="2759" y="2152"/>
                  </a:moveTo>
                  <a:lnTo>
                    <a:pt x="2759" y="2157"/>
                  </a:lnTo>
                  <a:lnTo>
                    <a:pt x="2748" y="2176"/>
                  </a:lnTo>
                  <a:lnTo>
                    <a:pt x="2717" y="2157"/>
                  </a:lnTo>
                  <a:lnTo>
                    <a:pt x="2738" y="2140"/>
                  </a:lnTo>
                  <a:lnTo>
                    <a:pt x="2759" y="2152"/>
                  </a:lnTo>
                  <a:lnTo>
                    <a:pt x="2759" y="2152"/>
                  </a:lnTo>
                  <a:lnTo>
                    <a:pt x="2759" y="2152"/>
                  </a:lnTo>
                  <a:close/>
                  <a:moveTo>
                    <a:pt x="4626" y="2157"/>
                  </a:moveTo>
                  <a:lnTo>
                    <a:pt x="4642" y="2181"/>
                  </a:lnTo>
                  <a:lnTo>
                    <a:pt x="4642" y="2209"/>
                  </a:lnTo>
                  <a:lnTo>
                    <a:pt x="4595" y="2181"/>
                  </a:lnTo>
                  <a:lnTo>
                    <a:pt x="4611" y="2157"/>
                  </a:lnTo>
                  <a:lnTo>
                    <a:pt x="4626" y="2157"/>
                  </a:lnTo>
                  <a:lnTo>
                    <a:pt x="4626" y="2157"/>
                  </a:lnTo>
                  <a:lnTo>
                    <a:pt x="4626" y="2157"/>
                  </a:lnTo>
                  <a:close/>
                  <a:moveTo>
                    <a:pt x="4642" y="2157"/>
                  </a:moveTo>
                  <a:lnTo>
                    <a:pt x="4663" y="2176"/>
                  </a:lnTo>
                  <a:lnTo>
                    <a:pt x="4637" y="2169"/>
                  </a:lnTo>
                  <a:lnTo>
                    <a:pt x="4642" y="2157"/>
                  </a:lnTo>
                  <a:lnTo>
                    <a:pt x="4642" y="2157"/>
                  </a:lnTo>
                  <a:lnTo>
                    <a:pt x="4642" y="2157"/>
                  </a:lnTo>
                  <a:close/>
                  <a:moveTo>
                    <a:pt x="4368" y="2192"/>
                  </a:moveTo>
                  <a:lnTo>
                    <a:pt x="4352" y="2181"/>
                  </a:lnTo>
                  <a:lnTo>
                    <a:pt x="4373" y="2176"/>
                  </a:lnTo>
                  <a:lnTo>
                    <a:pt x="4356" y="2169"/>
                  </a:lnTo>
                  <a:lnTo>
                    <a:pt x="4389" y="2169"/>
                  </a:lnTo>
                  <a:lnTo>
                    <a:pt x="4368" y="2192"/>
                  </a:lnTo>
                  <a:lnTo>
                    <a:pt x="4368" y="2192"/>
                  </a:lnTo>
                  <a:lnTo>
                    <a:pt x="4368" y="2192"/>
                  </a:lnTo>
                  <a:close/>
                  <a:moveTo>
                    <a:pt x="2516" y="2176"/>
                  </a:moveTo>
                  <a:lnTo>
                    <a:pt x="2521" y="2181"/>
                  </a:lnTo>
                  <a:lnTo>
                    <a:pt x="2504" y="2176"/>
                  </a:lnTo>
                  <a:lnTo>
                    <a:pt x="2516" y="2176"/>
                  </a:lnTo>
                  <a:lnTo>
                    <a:pt x="2516" y="2176"/>
                  </a:lnTo>
                  <a:lnTo>
                    <a:pt x="2516" y="2176"/>
                  </a:lnTo>
                  <a:close/>
                  <a:moveTo>
                    <a:pt x="2542" y="2176"/>
                  </a:moveTo>
                  <a:lnTo>
                    <a:pt x="2570" y="2192"/>
                  </a:lnTo>
                  <a:lnTo>
                    <a:pt x="2542" y="2197"/>
                  </a:lnTo>
                  <a:lnTo>
                    <a:pt x="2521" y="2176"/>
                  </a:lnTo>
                  <a:lnTo>
                    <a:pt x="2542" y="2176"/>
                  </a:lnTo>
                  <a:lnTo>
                    <a:pt x="2542" y="2176"/>
                  </a:lnTo>
                  <a:lnTo>
                    <a:pt x="2542" y="2176"/>
                  </a:lnTo>
                  <a:close/>
                  <a:moveTo>
                    <a:pt x="2129" y="2176"/>
                  </a:moveTo>
                  <a:lnTo>
                    <a:pt x="2138" y="2176"/>
                  </a:lnTo>
                  <a:lnTo>
                    <a:pt x="2122" y="2176"/>
                  </a:lnTo>
                  <a:lnTo>
                    <a:pt x="2129" y="2176"/>
                  </a:lnTo>
                  <a:lnTo>
                    <a:pt x="2129" y="2176"/>
                  </a:lnTo>
                  <a:lnTo>
                    <a:pt x="2129" y="2176"/>
                  </a:lnTo>
                  <a:close/>
                  <a:moveTo>
                    <a:pt x="2122" y="2181"/>
                  </a:moveTo>
                  <a:lnTo>
                    <a:pt x="2100" y="2181"/>
                  </a:lnTo>
                  <a:lnTo>
                    <a:pt x="2122" y="2176"/>
                  </a:lnTo>
                  <a:lnTo>
                    <a:pt x="2122" y="2181"/>
                  </a:lnTo>
                  <a:lnTo>
                    <a:pt x="2122" y="2181"/>
                  </a:lnTo>
                  <a:lnTo>
                    <a:pt x="2122" y="2181"/>
                  </a:lnTo>
                  <a:close/>
                  <a:moveTo>
                    <a:pt x="4675" y="2192"/>
                  </a:moveTo>
                  <a:lnTo>
                    <a:pt x="4696" y="2209"/>
                  </a:lnTo>
                  <a:lnTo>
                    <a:pt x="4680" y="2214"/>
                  </a:lnTo>
                  <a:lnTo>
                    <a:pt x="4675" y="2197"/>
                  </a:lnTo>
                  <a:lnTo>
                    <a:pt x="4675" y="2192"/>
                  </a:lnTo>
                  <a:lnTo>
                    <a:pt x="4675" y="2192"/>
                  </a:lnTo>
                  <a:lnTo>
                    <a:pt x="4675" y="2192"/>
                  </a:lnTo>
                  <a:close/>
                  <a:moveTo>
                    <a:pt x="2868" y="2197"/>
                  </a:moveTo>
                  <a:lnTo>
                    <a:pt x="2868" y="2214"/>
                  </a:lnTo>
                  <a:lnTo>
                    <a:pt x="2861" y="2209"/>
                  </a:lnTo>
                  <a:lnTo>
                    <a:pt x="2868" y="2197"/>
                  </a:lnTo>
                  <a:lnTo>
                    <a:pt x="2868" y="2197"/>
                  </a:lnTo>
                  <a:lnTo>
                    <a:pt x="2868" y="2197"/>
                  </a:lnTo>
                  <a:close/>
                  <a:moveTo>
                    <a:pt x="4340" y="2197"/>
                  </a:moveTo>
                  <a:lnTo>
                    <a:pt x="4368" y="2214"/>
                  </a:lnTo>
                  <a:lnTo>
                    <a:pt x="4340" y="2226"/>
                  </a:lnTo>
                  <a:lnTo>
                    <a:pt x="4335" y="2214"/>
                  </a:lnTo>
                  <a:lnTo>
                    <a:pt x="4340" y="2197"/>
                  </a:lnTo>
                  <a:lnTo>
                    <a:pt x="4340" y="2197"/>
                  </a:lnTo>
                  <a:lnTo>
                    <a:pt x="4340" y="2197"/>
                  </a:lnTo>
                  <a:close/>
                  <a:moveTo>
                    <a:pt x="4512" y="2341"/>
                  </a:moveTo>
                  <a:lnTo>
                    <a:pt x="4481" y="2337"/>
                  </a:lnTo>
                  <a:lnTo>
                    <a:pt x="4474" y="2308"/>
                  </a:lnTo>
                  <a:lnTo>
                    <a:pt x="4465" y="2285"/>
                  </a:lnTo>
                  <a:lnTo>
                    <a:pt x="4503" y="2214"/>
                  </a:lnTo>
                  <a:lnTo>
                    <a:pt x="4574" y="2209"/>
                  </a:lnTo>
                  <a:lnTo>
                    <a:pt x="4621" y="2214"/>
                  </a:lnTo>
                  <a:lnTo>
                    <a:pt x="4626" y="2230"/>
                  </a:lnTo>
                  <a:lnTo>
                    <a:pt x="4621" y="2252"/>
                  </a:lnTo>
                  <a:lnTo>
                    <a:pt x="4626" y="2292"/>
                  </a:lnTo>
                  <a:lnTo>
                    <a:pt x="4621" y="2308"/>
                  </a:lnTo>
                  <a:lnTo>
                    <a:pt x="4567" y="2337"/>
                  </a:lnTo>
                  <a:lnTo>
                    <a:pt x="4512" y="2341"/>
                  </a:lnTo>
                  <a:lnTo>
                    <a:pt x="4512" y="2341"/>
                  </a:lnTo>
                  <a:lnTo>
                    <a:pt x="4512" y="2341"/>
                  </a:lnTo>
                  <a:close/>
                  <a:moveTo>
                    <a:pt x="3827" y="2226"/>
                  </a:moveTo>
                  <a:lnTo>
                    <a:pt x="3834" y="2263"/>
                  </a:lnTo>
                  <a:lnTo>
                    <a:pt x="3818" y="2280"/>
                  </a:lnTo>
                  <a:lnTo>
                    <a:pt x="3796" y="2268"/>
                  </a:lnTo>
                  <a:lnTo>
                    <a:pt x="3796" y="2252"/>
                  </a:lnTo>
                  <a:lnTo>
                    <a:pt x="3801" y="2247"/>
                  </a:lnTo>
                  <a:lnTo>
                    <a:pt x="3785" y="2235"/>
                  </a:lnTo>
                  <a:lnTo>
                    <a:pt x="3811" y="2209"/>
                  </a:lnTo>
                  <a:lnTo>
                    <a:pt x="3827" y="2214"/>
                  </a:lnTo>
                  <a:lnTo>
                    <a:pt x="3827" y="2226"/>
                  </a:lnTo>
                  <a:lnTo>
                    <a:pt x="3827" y="2226"/>
                  </a:lnTo>
                  <a:lnTo>
                    <a:pt x="3827" y="2226"/>
                  </a:lnTo>
                  <a:close/>
                  <a:moveTo>
                    <a:pt x="5237" y="2230"/>
                  </a:moveTo>
                  <a:lnTo>
                    <a:pt x="5214" y="2226"/>
                  </a:lnTo>
                  <a:lnTo>
                    <a:pt x="5247" y="2214"/>
                  </a:lnTo>
                  <a:lnTo>
                    <a:pt x="5237" y="2230"/>
                  </a:lnTo>
                  <a:lnTo>
                    <a:pt x="5237" y="2230"/>
                  </a:lnTo>
                  <a:lnTo>
                    <a:pt x="5237" y="2230"/>
                  </a:lnTo>
                  <a:close/>
                  <a:moveTo>
                    <a:pt x="4696" y="2214"/>
                  </a:moveTo>
                  <a:lnTo>
                    <a:pt x="4696" y="2230"/>
                  </a:lnTo>
                  <a:lnTo>
                    <a:pt x="4692" y="2226"/>
                  </a:lnTo>
                  <a:lnTo>
                    <a:pt x="4696" y="2214"/>
                  </a:lnTo>
                  <a:lnTo>
                    <a:pt x="4696" y="2214"/>
                  </a:lnTo>
                  <a:lnTo>
                    <a:pt x="4696" y="2214"/>
                  </a:lnTo>
                  <a:close/>
                  <a:moveTo>
                    <a:pt x="2570" y="2226"/>
                  </a:moveTo>
                  <a:lnTo>
                    <a:pt x="2559" y="2235"/>
                  </a:lnTo>
                  <a:lnTo>
                    <a:pt x="2554" y="2230"/>
                  </a:lnTo>
                  <a:lnTo>
                    <a:pt x="2570" y="2226"/>
                  </a:lnTo>
                  <a:lnTo>
                    <a:pt x="2570" y="2226"/>
                  </a:lnTo>
                  <a:lnTo>
                    <a:pt x="2570" y="2226"/>
                  </a:lnTo>
                  <a:close/>
                  <a:moveTo>
                    <a:pt x="5285" y="2226"/>
                  </a:moveTo>
                  <a:lnTo>
                    <a:pt x="5301" y="2230"/>
                  </a:lnTo>
                  <a:lnTo>
                    <a:pt x="5285" y="2230"/>
                  </a:lnTo>
                  <a:lnTo>
                    <a:pt x="5285" y="2226"/>
                  </a:lnTo>
                  <a:lnTo>
                    <a:pt x="5285" y="2226"/>
                  </a:lnTo>
                  <a:lnTo>
                    <a:pt x="5285" y="2226"/>
                  </a:lnTo>
                  <a:close/>
                  <a:moveTo>
                    <a:pt x="4718" y="2247"/>
                  </a:moveTo>
                  <a:lnTo>
                    <a:pt x="4746" y="2247"/>
                  </a:lnTo>
                  <a:lnTo>
                    <a:pt x="4746" y="2268"/>
                  </a:lnTo>
                  <a:lnTo>
                    <a:pt x="4734" y="2280"/>
                  </a:lnTo>
                  <a:lnTo>
                    <a:pt x="4675" y="2268"/>
                  </a:lnTo>
                  <a:lnTo>
                    <a:pt x="4649" y="2263"/>
                  </a:lnTo>
                  <a:lnTo>
                    <a:pt x="4642" y="2247"/>
                  </a:lnTo>
                  <a:lnTo>
                    <a:pt x="4675" y="2226"/>
                  </a:lnTo>
                  <a:lnTo>
                    <a:pt x="4692" y="2235"/>
                  </a:lnTo>
                  <a:lnTo>
                    <a:pt x="4718" y="2247"/>
                  </a:lnTo>
                  <a:lnTo>
                    <a:pt x="4718" y="2247"/>
                  </a:lnTo>
                  <a:lnTo>
                    <a:pt x="4718" y="2247"/>
                  </a:lnTo>
                  <a:close/>
                  <a:moveTo>
                    <a:pt x="2214" y="2230"/>
                  </a:moveTo>
                  <a:lnTo>
                    <a:pt x="2219" y="2247"/>
                  </a:lnTo>
                  <a:lnTo>
                    <a:pt x="2209" y="2235"/>
                  </a:lnTo>
                  <a:lnTo>
                    <a:pt x="2214" y="2230"/>
                  </a:lnTo>
                  <a:lnTo>
                    <a:pt x="2214" y="2230"/>
                  </a:lnTo>
                  <a:lnTo>
                    <a:pt x="2214" y="2230"/>
                  </a:lnTo>
                  <a:close/>
                  <a:moveTo>
                    <a:pt x="2948" y="2235"/>
                  </a:moveTo>
                  <a:lnTo>
                    <a:pt x="2948" y="2247"/>
                  </a:lnTo>
                  <a:lnTo>
                    <a:pt x="2937" y="2235"/>
                  </a:lnTo>
                  <a:lnTo>
                    <a:pt x="2948" y="2235"/>
                  </a:lnTo>
                  <a:lnTo>
                    <a:pt x="2948" y="2235"/>
                  </a:lnTo>
                  <a:lnTo>
                    <a:pt x="2948" y="2235"/>
                  </a:lnTo>
                  <a:close/>
                  <a:moveTo>
                    <a:pt x="2252" y="2247"/>
                  </a:moveTo>
                  <a:lnTo>
                    <a:pt x="2252" y="2263"/>
                  </a:lnTo>
                  <a:lnTo>
                    <a:pt x="2230" y="2247"/>
                  </a:lnTo>
                  <a:lnTo>
                    <a:pt x="2252" y="2247"/>
                  </a:lnTo>
                  <a:lnTo>
                    <a:pt x="2252" y="2247"/>
                  </a:lnTo>
                  <a:lnTo>
                    <a:pt x="2252" y="2247"/>
                  </a:lnTo>
                  <a:close/>
                  <a:moveTo>
                    <a:pt x="3024" y="2263"/>
                  </a:moveTo>
                  <a:lnTo>
                    <a:pt x="3019" y="2263"/>
                  </a:lnTo>
                  <a:lnTo>
                    <a:pt x="3024" y="2263"/>
                  </a:lnTo>
                  <a:lnTo>
                    <a:pt x="3024" y="2263"/>
                  </a:lnTo>
                  <a:lnTo>
                    <a:pt x="3024" y="2263"/>
                  </a:lnTo>
                  <a:close/>
                  <a:moveTo>
                    <a:pt x="1895" y="2263"/>
                  </a:moveTo>
                  <a:lnTo>
                    <a:pt x="1874" y="2263"/>
                  </a:lnTo>
                  <a:lnTo>
                    <a:pt x="1895" y="2263"/>
                  </a:lnTo>
                  <a:lnTo>
                    <a:pt x="1895" y="2263"/>
                  </a:lnTo>
                  <a:lnTo>
                    <a:pt x="1895" y="2263"/>
                  </a:lnTo>
                  <a:close/>
                  <a:moveTo>
                    <a:pt x="2306" y="2308"/>
                  </a:moveTo>
                  <a:lnTo>
                    <a:pt x="2306" y="2285"/>
                  </a:lnTo>
                  <a:lnTo>
                    <a:pt x="2318" y="2285"/>
                  </a:lnTo>
                  <a:lnTo>
                    <a:pt x="2322" y="2303"/>
                  </a:lnTo>
                  <a:lnTo>
                    <a:pt x="2306" y="2308"/>
                  </a:lnTo>
                  <a:lnTo>
                    <a:pt x="2306" y="2308"/>
                  </a:lnTo>
                  <a:lnTo>
                    <a:pt x="2306" y="2308"/>
                  </a:lnTo>
                  <a:close/>
                  <a:moveTo>
                    <a:pt x="5410" y="2292"/>
                  </a:moveTo>
                  <a:lnTo>
                    <a:pt x="5415" y="2303"/>
                  </a:lnTo>
                  <a:lnTo>
                    <a:pt x="5398" y="2303"/>
                  </a:lnTo>
                  <a:lnTo>
                    <a:pt x="5410" y="2292"/>
                  </a:lnTo>
                  <a:lnTo>
                    <a:pt x="5410" y="2292"/>
                  </a:lnTo>
                  <a:lnTo>
                    <a:pt x="5410" y="2292"/>
                  </a:lnTo>
                  <a:close/>
                  <a:moveTo>
                    <a:pt x="2285" y="2292"/>
                  </a:moveTo>
                  <a:lnTo>
                    <a:pt x="2289" y="2292"/>
                  </a:lnTo>
                  <a:lnTo>
                    <a:pt x="2285" y="2292"/>
                  </a:lnTo>
                  <a:lnTo>
                    <a:pt x="2285" y="2292"/>
                  </a:lnTo>
                  <a:lnTo>
                    <a:pt x="2285" y="2292"/>
                  </a:lnTo>
                  <a:close/>
                  <a:moveTo>
                    <a:pt x="2306" y="2308"/>
                  </a:moveTo>
                  <a:lnTo>
                    <a:pt x="2301" y="2308"/>
                  </a:lnTo>
                  <a:lnTo>
                    <a:pt x="2301" y="2303"/>
                  </a:lnTo>
                  <a:lnTo>
                    <a:pt x="2306" y="2308"/>
                  </a:lnTo>
                  <a:lnTo>
                    <a:pt x="2306" y="2308"/>
                  </a:lnTo>
                  <a:lnTo>
                    <a:pt x="2306" y="2308"/>
                  </a:lnTo>
                  <a:close/>
                  <a:moveTo>
                    <a:pt x="2289" y="2308"/>
                  </a:moveTo>
                  <a:lnTo>
                    <a:pt x="2285" y="2303"/>
                  </a:lnTo>
                  <a:lnTo>
                    <a:pt x="2289" y="2303"/>
                  </a:lnTo>
                  <a:lnTo>
                    <a:pt x="2289" y="2308"/>
                  </a:lnTo>
                  <a:lnTo>
                    <a:pt x="2289" y="2308"/>
                  </a:lnTo>
                  <a:lnTo>
                    <a:pt x="2289" y="2308"/>
                  </a:lnTo>
                  <a:close/>
                  <a:moveTo>
                    <a:pt x="2322" y="2308"/>
                  </a:moveTo>
                  <a:lnTo>
                    <a:pt x="2322" y="2337"/>
                  </a:lnTo>
                  <a:lnTo>
                    <a:pt x="2306" y="2320"/>
                  </a:lnTo>
                  <a:lnTo>
                    <a:pt x="2322" y="2308"/>
                  </a:lnTo>
                  <a:lnTo>
                    <a:pt x="2322" y="2308"/>
                  </a:lnTo>
                  <a:lnTo>
                    <a:pt x="2322" y="2308"/>
                  </a:lnTo>
                  <a:close/>
                  <a:moveTo>
                    <a:pt x="5436" y="2337"/>
                  </a:moveTo>
                  <a:lnTo>
                    <a:pt x="5415" y="2337"/>
                  </a:lnTo>
                  <a:lnTo>
                    <a:pt x="5431" y="2325"/>
                  </a:lnTo>
                  <a:lnTo>
                    <a:pt x="5448" y="2337"/>
                  </a:lnTo>
                  <a:lnTo>
                    <a:pt x="5436" y="2337"/>
                  </a:lnTo>
                  <a:lnTo>
                    <a:pt x="5436" y="2337"/>
                  </a:lnTo>
                  <a:lnTo>
                    <a:pt x="5436" y="2337"/>
                  </a:lnTo>
                  <a:close/>
                  <a:moveTo>
                    <a:pt x="2339" y="2337"/>
                  </a:moveTo>
                  <a:lnTo>
                    <a:pt x="2339" y="2341"/>
                  </a:lnTo>
                  <a:lnTo>
                    <a:pt x="2339" y="2337"/>
                  </a:lnTo>
                  <a:lnTo>
                    <a:pt x="2339" y="2337"/>
                  </a:lnTo>
                  <a:lnTo>
                    <a:pt x="2339" y="2337"/>
                  </a:lnTo>
                  <a:close/>
                  <a:moveTo>
                    <a:pt x="2344" y="2341"/>
                  </a:moveTo>
                  <a:lnTo>
                    <a:pt x="2360" y="2358"/>
                  </a:lnTo>
                  <a:lnTo>
                    <a:pt x="2344" y="2358"/>
                  </a:lnTo>
                  <a:lnTo>
                    <a:pt x="2344" y="2341"/>
                  </a:lnTo>
                  <a:lnTo>
                    <a:pt x="2344" y="2341"/>
                  </a:lnTo>
                  <a:lnTo>
                    <a:pt x="2344" y="2341"/>
                  </a:lnTo>
                  <a:close/>
                  <a:moveTo>
                    <a:pt x="5474" y="2358"/>
                  </a:moveTo>
                  <a:lnTo>
                    <a:pt x="5500" y="2346"/>
                  </a:lnTo>
                  <a:lnTo>
                    <a:pt x="5516" y="2346"/>
                  </a:lnTo>
                  <a:lnTo>
                    <a:pt x="5490" y="2363"/>
                  </a:lnTo>
                  <a:lnTo>
                    <a:pt x="5474" y="2358"/>
                  </a:lnTo>
                  <a:lnTo>
                    <a:pt x="5474" y="2358"/>
                  </a:lnTo>
                  <a:lnTo>
                    <a:pt x="5474" y="2358"/>
                  </a:lnTo>
                  <a:close/>
                  <a:moveTo>
                    <a:pt x="5474" y="2363"/>
                  </a:moveTo>
                  <a:lnTo>
                    <a:pt x="5462" y="2358"/>
                  </a:lnTo>
                  <a:lnTo>
                    <a:pt x="5474" y="2363"/>
                  </a:lnTo>
                  <a:lnTo>
                    <a:pt x="5474" y="2363"/>
                  </a:lnTo>
                  <a:lnTo>
                    <a:pt x="5474" y="2363"/>
                  </a:lnTo>
                  <a:close/>
                  <a:moveTo>
                    <a:pt x="5462" y="2363"/>
                  </a:moveTo>
                  <a:lnTo>
                    <a:pt x="5469" y="2374"/>
                  </a:lnTo>
                  <a:lnTo>
                    <a:pt x="5462" y="2363"/>
                  </a:lnTo>
                  <a:lnTo>
                    <a:pt x="5462" y="2363"/>
                  </a:lnTo>
                  <a:lnTo>
                    <a:pt x="5462" y="2363"/>
                  </a:lnTo>
                  <a:close/>
                  <a:moveTo>
                    <a:pt x="2306" y="2363"/>
                  </a:moveTo>
                  <a:lnTo>
                    <a:pt x="2322" y="2374"/>
                  </a:lnTo>
                  <a:lnTo>
                    <a:pt x="2318" y="2379"/>
                  </a:lnTo>
                  <a:lnTo>
                    <a:pt x="2306" y="2363"/>
                  </a:lnTo>
                  <a:lnTo>
                    <a:pt x="2306" y="2363"/>
                  </a:lnTo>
                  <a:lnTo>
                    <a:pt x="2306" y="2363"/>
                  </a:lnTo>
                  <a:close/>
                  <a:moveTo>
                    <a:pt x="5192" y="2429"/>
                  </a:moveTo>
                  <a:lnTo>
                    <a:pt x="5200" y="2436"/>
                  </a:lnTo>
                  <a:lnTo>
                    <a:pt x="5192" y="2436"/>
                  </a:lnTo>
                  <a:lnTo>
                    <a:pt x="5192" y="2429"/>
                  </a:lnTo>
                  <a:lnTo>
                    <a:pt x="5192" y="2429"/>
                  </a:lnTo>
                  <a:lnTo>
                    <a:pt x="5192" y="2429"/>
                  </a:lnTo>
                  <a:close/>
                  <a:moveTo>
                    <a:pt x="5204" y="2448"/>
                  </a:moveTo>
                  <a:lnTo>
                    <a:pt x="5221" y="2452"/>
                  </a:lnTo>
                  <a:lnTo>
                    <a:pt x="5192" y="2436"/>
                  </a:lnTo>
                  <a:lnTo>
                    <a:pt x="5204" y="2448"/>
                  </a:lnTo>
                  <a:lnTo>
                    <a:pt x="5204" y="2448"/>
                  </a:lnTo>
                  <a:lnTo>
                    <a:pt x="5204" y="2448"/>
                  </a:lnTo>
                  <a:close/>
                  <a:moveTo>
                    <a:pt x="4070" y="2457"/>
                  </a:moveTo>
                  <a:lnTo>
                    <a:pt x="4066" y="2469"/>
                  </a:lnTo>
                  <a:lnTo>
                    <a:pt x="4049" y="2452"/>
                  </a:lnTo>
                  <a:lnTo>
                    <a:pt x="4070" y="2457"/>
                  </a:lnTo>
                  <a:lnTo>
                    <a:pt x="4070" y="2457"/>
                  </a:lnTo>
                  <a:lnTo>
                    <a:pt x="4070" y="2457"/>
                  </a:lnTo>
                  <a:close/>
                  <a:moveTo>
                    <a:pt x="5523" y="2457"/>
                  </a:moveTo>
                  <a:lnTo>
                    <a:pt x="5528" y="2457"/>
                  </a:lnTo>
                  <a:lnTo>
                    <a:pt x="5507" y="2457"/>
                  </a:lnTo>
                  <a:lnTo>
                    <a:pt x="5523" y="2457"/>
                  </a:lnTo>
                  <a:lnTo>
                    <a:pt x="5523" y="2457"/>
                  </a:lnTo>
                  <a:lnTo>
                    <a:pt x="5523" y="2457"/>
                  </a:lnTo>
                  <a:close/>
                  <a:moveTo>
                    <a:pt x="4000" y="2485"/>
                  </a:moveTo>
                  <a:lnTo>
                    <a:pt x="4016" y="2502"/>
                  </a:lnTo>
                  <a:lnTo>
                    <a:pt x="4016" y="2514"/>
                  </a:lnTo>
                  <a:lnTo>
                    <a:pt x="4054" y="2523"/>
                  </a:lnTo>
                  <a:lnTo>
                    <a:pt x="4044" y="2530"/>
                  </a:lnTo>
                  <a:lnTo>
                    <a:pt x="4011" y="2530"/>
                  </a:lnTo>
                  <a:lnTo>
                    <a:pt x="4016" y="2514"/>
                  </a:lnTo>
                  <a:lnTo>
                    <a:pt x="3990" y="2514"/>
                  </a:lnTo>
                  <a:lnTo>
                    <a:pt x="3990" y="2502"/>
                  </a:lnTo>
                  <a:lnTo>
                    <a:pt x="3974" y="2485"/>
                  </a:lnTo>
                  <a:lnTo>
                    <a:pt x="3962" y="2474"/>
                  </a:lnTo>
                  <a:lnTo>
                    <a:pt x="4000" y="2485"/>
                  </a:lnTo>
                  <a:lnTo>
                    <a:pt x="4000" y="2485"/>
                  </a:lnTo>
                  <a:lnTo>
                    <a:pt x="4000" y="2485"/>
                  </a:lnTo>
                  <a:close/>
                  <a:moveTo>
                    <a:pt x="3936" y="2490"/>
                  </a:moveTo>
                  <a:lnTo>
                    <a:pt x="3957" y="2523"/>
                  </a:lnTo>
                  <a:lnTo>
                    <a:pt x="3945" y="2540"/>
                  </a:lnTo>
                  <a:lnTo>
                    <a:pt x="3919" y="2514"/>
                  </a:lnTo>
                  <a:lnTo>
                    <a:pt x="3919" y="2490"/>
                  </a:lnTo>
                  <a:lnTo>
                    <a:pt x="3936" y="2490"/>
                  </a:lnTo>
                  <a:lnTo>
                    <a:pt x="3936" y="2490"/>
                  </a:lnTo>
                  <a:lnTo>
                    <a:pt x="3936" y="2490"/>
                  </a:lnTo>
                  <a:close/>
                  <a:moveTo>
                    <a:pt x="5528" y="2502"/>
                  </a:moveTo>
                  <a:lnTo>
                    <a:pt x="5528" y="2507"/>
                  </a:lnTo>
                  <a:lnTo>
                    <a:pt x="5523" y="2490"/>
                  </a:lnTo>
                  <a:lnTo>
                    <a:pt x="5528" y="2502"/>
                  </a:lnTo>
                  <a:lnTo>
                    <a:pt x="5528" y="2502"/>
                  </a:lnTo>
                  <a:lnTo>
                    <a:pt x="5528" y="2502"/>
                  </a:lnTo>
                  <a:close/>
                  <a:moveTo>
                    <a:pt x="4264" y="2745"/>
                  </a:moveTo>
                  <a:lnTo>
                    <a:pt x="4205" y="2785"/>
                  </a:lnTo>
                  <a:lnTo>
                    <a:pt x="4134" y="2762"/>
                  </a:lnTo>
                  <a:lnTo>
                    <a:pt x="4104" y="2762"/>
                  </a:lnTo>
                  <a:lnTo>
                    <a:pt x="4104" y="2752"/>
                  </a:lnTo>
                  <a:lnTo>
                    <a:pt x="4108" y="2745"/>
                  </a:lnTo>
                  <a:lnTo>
                    <a:pt x="4108" y="2729"/>
                  </a:lnTo>
                  <a:lnTo>
                    <a:pt x="4066" y="2729"/>
                  </a:lnTo>
                  <a:lnTo>
                    <a:pt x="4054" y="2724"/>
                  </a:lnTo>
                  <a:lnTo>
                    <a:pt x="4070" y="2707"/>
                  </a:lnTo>
                  <a:lnTo>
                    <a:pt x="4066" y="2696"/>
                  </a:lnTo>
                  <a:lnTo>
                    <a:pt x="4028" y="2712"/>
                  </a:lnTo>
                  <a:lnTo>
                    <a:pt x="4016" y="2724"/>
                  </a:lnTo>
                  <a:lnTo>
                    <a:pt x="4028" y="2729"/>
                  </a:lnTo>
                  <a:lnTo>
                    <a:pt x="4028" y="2745"/>
                  </a:lnTo>
                  <a:lnTo>
                    <a:pt x="3978" y="2769"/>
                  </a:lnTo>
                  <a:lnTo>
                    <a:pt x="3957" y="2802"/>
                  </a:lnTo>
                  <a:lnTo>
                    <a:pt x="3910" y="2823"/>
                  </a:lnTo>
                  <a:lnTo>
                    <a:pt x="3886" y="2818"/>
                  </a:lnTo>
                  <a:lnTo>
                    <a:pt x="3881" y="2790"/>
                  </a:lnTo>
                  <a:lnTo>
                    <a:pt x="3886" y="2762"/>
                  </a:lnTo>
                  <a:lnTo>
                    <a:pt x="3881" y="2752"/>
                  </a:lnTo>
                  <a:lnTo>
                    <a:pt x="3818" y="2762"/>
                  </a:lnTo>
                  <a:lnTo>
                    <a:pt x="3796" y="2778"/>
                  </a:lnTo>
                  <a:lnTo>
                    <a:pt x="3773" y="2762"/>
                  </a:lnTo>
                  <a:lnTo>
                    <a:pt x="3796" y="2729"/>
                  </a:lnTo>
                  <a:lnTo>
                    <a:pt x="3839" y="2712"/>
                  </a:lnTo>
                  <a:lnTo>
                    <a:pt x="3834" y="2674"/>
                  </a:lnTo>
                  <a:lnTo>
                    <a:pt x="3834" y="2651"/>
                  </a:lnTo>
                  <a:lnTo>
                    <a:pt x="3848" y="2625"/>
                  </a:lnTo>
                  <a:lnTo>
                    <a:pt x="3839" y="2613"/>
                  </a:lnTo>
                  <a:lnTo>
                    <a:pt x="3848" y="2596"/>
                  </a:lnTo>
                  <a:lnTo>
                    <a:pt x="3848" y="2563"/>
                  </a:lnTo>
                  <a:lnTo>
                    <a:pt x="3855" y="2514"/>
                  </a:lnTo>
                  <a:lnTo>
                    <a:pt x="3893" y="2502"/>
                  </a:lnTo>
                  <a:lnTo>
                    <a:pt x="3893" y="2514"/>
                  </a:lnTo>
                  <a:lnTo>
                    <a:pt x="3919" y="2514"/>
                  </a:lnTo>
                  <a:lnTo>
                    <a:pt x="3924" y="2530"/>
                  </a:lnTo>
                  <a:lnTo>
                    <a:pt x="3903" y="2540"/>
                  </a:lnTo>
                  <a:lnTo>
                    <a:pt x="3924" y="2556"/>
                  </a:lnTo>
                  <a:lnTo>
                    <a:pt x="3936" y="2580"/>
                  </a:lnTo>
                  <a:lnTo>
                    <a:pt x="3941" y="2580"/>
                  </a:lnTo>
                  <a:lnTo>
                    <a:pt x="3957" y="2547"/>
                  </a:lnTo>
                  <a:lnTo>
                    <a:pt x="3962" y="2556"/>
                  </a:lnTo>
                  <a:lnTo>
                    <a:pt x="3990" y="2563"/>
                  </a:lnTo>
                  <a:lnTo>
                    <a:pt x="3978" y="2568"/>
                  </a:lnTo>
                  <a:lnTo>
                    <a:pt x="3990" y="2580"/>
                  </a:lnTo>
                  <a:lnTo>
                    <a:pt x="4044" y="2585"/>
                  </a:lnTo>
                  <a:lnTo>
                    <a:pt x="4054" y="2613"/>
                  </a:lnTo>
                  <a:lnTo>
                    <a:pt x="4125" y="2641"/>
                  </a:lnTo>
                  <a:lnTo>
                    <a:pt x="4158" y="2667"/>
                  </a:lnTo>
                  <a:lnTo>
                    <a:pt x="4158" y="2691"/>
                  </a:lnTo>
                  <a:lnTo>
                    <a:pt x="4163" y="2707"/>
                  </a:lnTo>
                  <a:lnTo>
                    <a:pt x="4141" y="2724"/>
                  </a:lnTo>
                  <a:lnTo>
                    <a:pt x="4179" y="2712"/>
                  </a:lnTo>
                  <a:lnTo>
                    <a:pt x="4210" y="2724"/>
                  </a:lnTo>
                  <a:lnTo>
                    <a:pt x="4210" y="2712"/>
                  </a:lnTo>
                  <a:lnTo>
                    <a:pt x="4217" y="2707"/>
                  </a:lnTo>
                  <a:lnTo>
                    <a:pt x="4243" y="2724"/>
                  </a:lnTo>
                  <a:lnTo>
                    <a:pt x="4243" y="2729"/>
                  </a:lnTo>
                  <a:lnTo>
                    <a:pt x="4243" y="2736"/>
                  </a:lnTo>
                  <a:lnTo>
                    <a:pt x="4264" y="2745"/>
                  </a:lnTo>
                  <a:lnTo>
                    <a:pt x="4264" y="2745"/>
                  </a:lnTo>
                  <a:lnTo>
                    <a:pt x="4264" y="2745"/>
                  </a:lnTo>
                  <a:close/>
                  <a:moveTo>
                    <a:pt x="4044" y="2507"/>
                  </a:moveTo>
                  <a:lnTo>
                    <a:pt x="4028" y="2507"/>
                  </a:lnTo>
                  <a:lnTo>
                    <a:pt x="4049" y="2507"/>
                  </a:lnTo>
                  <a:lnTo>
                    <a:pt x="4044" y="2507"/>
                  </a:lnTo>
                  <a:lnTo>
                    <a:pt x="4044" y="2507"/>
                  </a:lnTo>
                  <a:lnTo>
                    <a:pt x="4044" y="2507"/>
                  </a:lnTo>
                  <a:close/>
                  <a:moveTo>
                    <a:pt x="5523" y="2523"/>
                  </a:moveTo>
                  <a:lnTo>
                    <a:pt x="5528" y="2530"/>
                  </a:lnTo>
                  <a:lnTo>
                    <a:pt x="5523" y="2530"/>
                  </a:lnTo>
                  <a:lnTo>
                    <a:pt x="5507" y="2523"/>
                  </a:lnTo>
                  <a:lnTo>
                    <a:pt x="5523" y="2523"/>
                  </a:lnTo>
                  <a:lnTo>
                    <a:pt x="5523" y="2523"/>
                  </a:lnTo>
                  <a:lnTo>
                    <a:pt x="5523" y="2523"/>
                  </a:lnTo>
                  <a:close/>
                  <a:moveTo>
                    <a:pt x="5485" y="2530"/>
                  </a:moveTo>
                  <a:lnTo>
                    <a:pt x="5490" y="2540"/>
                  </a:lnTo>
                  <a:lnTo>
                    <a:pt x="5474" y="2540"/>
                  </a:lnTo>
                  <a:lnTo>
                    <a:pt x="5485" y="2530"/>
                  </a:lnTo>
                  <a:lnTo>
                    <a:pt x="5485" y="2530"/>
                  </a:lnTo>
                  <a:lnTo>
                    <a:pt x="5485" y="2530"/>
                  </a:lnTo>
                  <a:close/>
                  <a:moveTo>
                    <a:pt x="5452" y="2568"/>
                  </a:moveTo>
                  <a:lnTo>
                    <a:pt x="5462" y="2568"/>
                  </a:lnTo>
                  <a:lnTo>
                    <a:pt x="5448" y="2568"/>
                  </a:lnTo>
                  <a:lnTo>
                    <a:pt x="5452" y="2568"/>
                  </a:lnTo>
                  <a:lnTo>
                    <a:pt x="5452" y="2568"/>
                  </a:lnTo>
                  <a:lnTo>
                    <a:pt x="5452" y="2568"/>
                  </a:lnTo>
                  <a:close/>
                  <a:moveTo>
                    <a:pt x="5448" y="2613"/>
                  </a:moveTo>
                  <a:lnTo>
                    <a:pt x="5452" y="2618"/>
                  </a:lnTo>
                  <a:lnTo>
                    <a:pt x="5436" y="2613"/>
                  </a:lnTo>
                  <a:lnTo>
                    <a:pt x="5448" y="2613"/>
                  </a:lnTo>
                  <a:lnTo>
                    <a:pt x="5448" y="2613"/>
                  </a:lnTo>
                  <a:lnTo>
                    <a:pt x="5448" y="2613"/>
                  </a:lnTo>
                  <a:close/>
                  <a:moveTo>
                    <a:pt x="5313" y="2641"/>
                  </a:moveTo>
                  <a:lnTo>
                    <a:pt x="5313" y="2651"/>
                  </a:lnTo>
                  <a:lnTo>
                    <a:pt x="5301" y="2667"/>
                  </a:lnTo>
                  <a:lnTo>
                    <a:pt x="5285" y="2667"/>
                  </a:lnTo>
                  <a:lnTo>
                    <a:pt x="5301" y="2641"/>
                  </a:lnTo>
                  <a:lnTo>
                    <a:pt x="5313" y="2641"/>
                  </a:lnTo>
                  <a:lnTo>
                    <a:pt x="5313" y="2641"/>
                  </a:lnTo>
                  <a:lnTo>
                    <a:pt x="5313" y="2641"/>
                  </a:lnTo>
                  <a:close/>
                  <a:moveTo>
                    <a:pt x="4734" y="2658"/>
                  </a:moveTo>
                  <a:lnTo>
                    <a:pt x="4729" y="2679"/>
                  </a:lnTo>
                  <a:lnTo>
                    <a:pt x="4718" y="2679"/>
                  </a:lnTo>
                  <a:lnTo>
                    <a:pt x="4729" y="2667"/>
                  </a:lnTo>
                  <a:lnTo>
                    <a:pt x="4718" y="2658"/>
                  </a:lnTo>
                  <a:lnTo>
                    <a:pt x="4734" y="2658"/>
                  </a:lnTo>
                  <a:lnTo>
                    <a:pt x="4734" y="2658"/>
                  </a:lnTo>
                  <a:lnTo>
                    <a:pt x="4734" y="2658"/>
                  </a:lnTo>
                  <a:close/>
                  <a:moveTo>
                    <a:pt x="4680" y="2658"/>
                  </a:moveTo>
                  <a:lnTo>
                    <a:pt x="4692" y="2667"/>
                  </a:lnTo>
                  <a:lnTo>
                    <a:pt x="4675" y="2658"/>
                  </a:lnTo>
                  <a:lnTo>
                    <a:pt x="4680" y="2658"/>
                  </a:lnTo>
                  <a:lnTo>
                    <a:pt x="4680" y="2658"/>
                  </a:lnTo>
                  <a:lnTo>
                    <a:pt x="4680" y="2658"/>
                  </a:lnTo>
                  <a:close/>
                  <a:moveTo>
                    <a:pt x="4718" y="2667"/>
                  </a:moveTo>
                  <a:lnTo>
                    <a:pt x="4713" y="2674"/>
                  </a:lnTo>
                  <a:lnTo>
                    <a:pt x="4718" y="2667"/>
                  </a:lnTo>
                  <a:lnTo>
                    <a:pt x="4718" y="2667"/>
                  </a:lnTo>
                  <a:lnTo>
                    <a:pt x="4718" y="2667"/>
                  </a:lnTo>
                  <a:close/>
                  <a:moveTo>
                    <a:pt x="4675" y="2667"/>
                  </a:moveTo>
                  <a:lnTo>
                    <a:pt x="4692" y="2674"/>
                  </a:lnTo>
                  <a:lnTo>
                    <a:pt x="4663" y="2667"/>
                  </a:lnTo>
                  <a:lnTo>
                    <a:pt x="4675" y="2667"/>
                  </a:lnTo>
                  <a:lnTo>
                    <a:pt x="4675" y="2667"/>
                  </a:lnTo>
                  <a:lnTo>
                    <a:pt x="4675" y="2667"/>
                  </a:lnTo>
                  <a:close/>
                  <a:moveTo>
                    <a:pt x="5339" y="2674"/>
                  </a:moveTo>
                  <a:lnTo>
                    <a:pt x="5344" y="2679"/>
                  </a:lnTo>
                  <a:lnTo>
                    <a:pt x="5339" y="2691"/>
                  </a:lnTo>
                  <a:lnTo>
                    <a:pt x="5327" y="2674"/>
                  </a:lnTo>
                  <a:lnTo>
                    <a:pt x="5339" y="2674"/>
                  </a:lnTo>
                  <a:lnTo>
                    <a:pt x="5339" y="2674"/>
                  </a:lnTo>
                  <a:lnTo>
                    <a:pt x="5339" y="2674"/>
                  </a:lnTo>
                  <a:close/>
                  <a:moveTo>
                    <a:pt x="4718" y="2674"/>
                  </a:moveTo>
                  <a:lnTo>
                    <a:pt x="4718" y="2691"/>
                  </a:lnTo>
                  <a:lnTo>
                    <a:pt x="4713" y="2679"/>
                  </a:lnTo>
                  <a:lnTo>
                    <a:pt x="4718" y="2674"/>
                  </a:lnTo>
                  <a:lnTo>
                    <a:pt x="4718" y="2674"/>
                  </a:lnTo>
                  <a:lnTo>
                    <a:pt x="4718" y="2674"/>
                  </a:lnTo>
                  <a:close/>
                  <a:moveTo>
                    <a:pt x="4701" y="2679"/>
                  </a:moveTo>
                  <a:lnTo>
                    <a:pt x="4701" y="2691"/>
                  </a:lnTo>
                  <a:lnTo>
                    <a:pt x="4701" y="2679"/>
                  </a:lnTo>
                  <a:lnTo>
                    <a:pt x="4701" y="2679"/>
                  </a:lnTo>
                  <a:lnTo>
                    <a:pt x="4701" y="2679"/>
                  </a:lnTo>
                  <a:close/>
                  <a:moveTo>
                    <a:pt x="5327" y="2679"/>
                  </a:moveTo>
                  <a:lnTo>
                    <a:pt x="5339" y="2691"/>
                  </a:lnTo>
                  <a:lnTo>
                    <a:pt x="5327" y="2696"/>
                  </a:lnTo>
                  <a:lnTo>
                    <a:pt x="5322" y="2679"/>
                  </a:lnTo>
                  <a:lnTo>
                    <a:pt x="5327" y="2679"/>
                  </a:lnTo>
                  <a:lnTo>
                    <a:pt x="5327" y="2679"/>
                  </a:lnTo>
                  <a:lnTo>
                    <a:pt x="5327" y="2679"/>
                  </a:lnTo>
                  <a:close/>
                  <a:moveTo>
                    <a:pt x="4583" y="2679"/>
                  </a:moveTo>
                  <a:lnTo>
                    <a:pt x="4595" y="2679"/>
                  </a:lnTo>
                  <a:lnTo>
                    <a:pt x="4583" y="2691"/>
                  </a:lnTo>
                  <a:lnTo>
                    <a:pt x="4583" y="2679"/>
                  </a:lnTo>
                  <a:lnTo>
                    <a:pt x="4583" y="2679"/>
                  </a:lnTo>
                  <a:lnTo>
                    <a:pt x="4583" y="2679"/>
                  </a:lnTo>
                  <a:close/>
                  <a:moveTo>
                    <a:pt x="5360" y="2691"/>
                  </a:moveTo>
                  <a:lnTo>
                    <a:pt x="5365" y="2696"/>
                  </a:lnTo>
                  <a:lnTo>
                    <a:pt x="5355" y="2691"/>
                  </a:lnTo>
                  <a:lnTo>
                    <a:pt x="5360" y="2691"/>
                  </a:lnTo>
                  <a:lnTo>
                    <a:pt x="5360" y="2691"/>
                  </a:lnTo>
                  <a:lnTo>
                    <a:pt x="5360" y="2691"/>
                  </a:lnTo>
                  <a:close/>
                  <a:moveTo>
                    <a:pt x="5365" y="2707"/>
                  </a:moveTo>
                  <a:lnTo>
                    <a:pt x="5360" y="2707"/>
                  </a:lnTo>
                  <a:lnTo>
                    <a:pt x="5365" y="2707"/>
                  </a:lnTo>
                  <a:lnTo>
                    <a:pt x="5365" y="2707"/>
                  </a:lnTo>
                  <a:lnTo>
                    <a:pt x="5365" y="2707"/>
                  </a:lnTo>
                  <a:close/>
                  <a:moveTo>
                    <a:pt x="5327" y="2707"/>
                  </a:moveTo>
                  <a:lnTo>
                    <a:pt x="5339" y="2712"/>
                  </a:lnTo>
                  <a:lnTo>
                    <a:pt x="5327" y="2707"/>
                  </a:lnTo>
                  <a:lnTo>
                    <a:pt x="5327" y="2707"/>
                  </a:lnTo>
                  <a:lnTo>
                    <a:pt x="5327" y="2707"/>
                  </a:lnTo>
                  <a:close/>
                  <a:moveTo>
                    <a:pt x="4444" y="2724"/>
                  </a:moveTo>
                  <a:lnTo>
                    <a:pt x="4432" y="2729"/>
                  </a:lnTo>
                  <a:lnTo>
                    <a:pt x="4422" y="2724"/>
                  </a:lnTo>
                  <a:lnTo>
                    <a:pt x="4448" y="2724"/>
                  </a:lnTo>
                  <a:lnTo>
                    <a:pt x="4444" y="2724"/>
                  </a:lnTo>
                  <a:lnTo>
                    <a:pt x="4444" y="2724"/>
                  </a:lnTo>
                  <a:lnTo>
                    <a:pt x="4444" y="2724"/>
                  </a:lnTo>
                  <a:close/>
                  <a:moveTo>
                    <a:pt x="5360" y="2736"/>
                  </a:moveTo>
                  <a:lnTo>
                    <a:pt x="5360" y="2745"/>
                  </a:lnTo>
                  <a:lnTo>
                    <a:pt x="5365" y="2745"/>
                  </a:lnTo>
                  <a:lnTo>
                    <a:pt x="5377" y="2752"/>
                  </a:lnTo>
                  <a:lnTo>
                    <a:pt x="5339" y="2745"/>
                  </a:lnTo>
                  <a:lnTo>
                    <a:pt x="5360" y="2736"/>
                  </a:lnTo>
                  <a:lnTo>
                    <a:pt x="5360" y="2736"/>
                  </a:lnTo>
                  <a:lnTo>
                    <a:pt x="5360" y="2736"/>
                  </a:lnTo>
                  <a:close/>
                  <a:moveTo>
                    <a:pt x="5377" y="2736"/>
                  </a:moveTo>
                  <a:lnTo>
                    <a:pt x="5393" y="2736"/>
                  </a:lnTo>
                  <a:lnTo>
                    <a:pt x="5393" y="2745"/>
                  </a:lnTo>
                  <a:lnTo>
                    <a:pt x="5377" y="2736"/>
                  </a:lnTo>
                  <a:lnTo>
                    <a:pt x="5377" y="2736"/>
                  </a:lnTo>
                  <a:lnTo>
                    <a:pt x="5377" y="2736"/>
                  </a:lnTo>
                  <a:close/>
                  <a:moveTo>
                    <a:pt x="5377" y="2745"/>
                  </a:moveTo>
                  <a:lnTo>
                    <a:pt x="5381" y="2752"/>
                  </a:lnTo>
                  <a:lnTo>
                    <a:pt x="5377" y="2752"/>
                  </a:lnTo>
                  <a:lnTo>
                    <a:pt x="5377" y="2745"/>
                  </a:lnTo>
                  <a:lnTo>
                    <a:pt x="5377" y="2745"/>
                  </a:lnTo>
                  <a:lnTo>
                    <a:pt x="5377" y="2745"/>
                  </a:lnTo>
                  <a:close/>
                  <a:moveTo>
                    <a:pt x="4789" y="2752"/>
                  </a:moveTo>
                  <a:lnTo>
                    <a:pt x="4798" y="2752"/>
                  </a:lnTo>
                  <a:lnTo>
                    <a:pt x="4789" y="2752"/>
                  </a:lnTo>
                  <a:lnTo>
                    <a:pt x="4789" y="2752"/>
                  </a:lnTo>
                  <a:lnTo>
                    <a:pt x="4789" y="2752"/>
                  </a:lnTo>
                  <a:close/>
                  <a:moveTo>
                    <a:pt x="4512" y="2785"/>
                  </a:moveTo>
                  <a:lnTo>
                    <a:pt x="4519" y="2785"/>
                  </a:lnTo>
                  <a:lnTo>
                    <a:pt x="4512" y="2790"/>
                  </a:lnTo>
                  <a:lnTo>
                    <a:pt x="4486" y="2790"/>
                  </a:lnTo>
                  <a:lnTo>
                    <a:pt x="4460" y="2762"/>
                  </a:lnTo>
                  <a:lnTo>
                    <a:pt x="4481" y="2762"/>
                  </a:lnTo>
                  <a:lnTo>
                    <a:pt x="4512" y="2769"/>
                  </a:lnTo>
                  <a:lnTo>
                    <a:pt x="4512" y="2785"/>
                  </a:lnTo>
                  <a:lnTo>
                    <a:pt x="4512" y="2785"/>
                  </a:lnTo>
                  <a:lnTo>
                    <a:pt x="4512" y="2785"/>
                  </a:lnTo>
                  <a:close/>
                  <a:moveTo>
                    <a:pt x="5377" y="2762"/>
                  </a:moveTo>
                  <a:lnTo>
                    <a:pt x="5381" y="2785"/>
                  </a:lnTo>
                  <a:lnTo>
                    <a:pt x="5398" y="2807"/>
                  </a:lnTo>
                  <a:lnTo>
                    <a:pt x="5365" y="2785"/>
                  </a:lnTo>
                  <a:lnTo>
                    <a:pt x="5365" y="2769"/>
                  </a:lnTo>
                  <a:lnTo>
                    <a:pt x="5377" y="2762"/>
                  </a:lnTo>
                  <a:lnTo>
                    <a:pt x="5377" y="2762"/>
                  </a:lnTo>
                  <a:lnTo>
                    <a:pt x="5377" y="2762"/>
                  </a:lnTo>
                  <a:close/>
                  <a:moveTo>
                    <a:pt x="5393" y="2762"/>
                  </a:moveTo>
                  <a:lnTo>
                    <a:pt x="5393" y="2785"/>
                  </a:lnTo>
                  <a:lnTo>
                    <a:pt x="5381" y="2769"/>
                  </a:lnTo>
                  <a:lnTo>
                    <a:pt x="5393" y="2762"/>
                  </a:lnTo>
                  <a:lnTo>
                    <a:pt x="5393" y="2762"/>
                  </a:lnTo>
                  <a:lnTo>
                    <a:pt x="5393" y="2762"/>
                  </a:lnTo>
                  <a:close/>
                  <a:moveTo>
                    <a:pt x="3470" y="2769"/>
                  </a:moveTo>
                  <a:lnTo>
                    <a:pt x="3487" y="2769"/>
                  </a:lnTo>
                  <a:lnTo>
                    <a:pt x="3470" y="2769"/>
                  </a:lnTo>
                  <a:lnTo>
                    <a:pt x="3470" y="2769"/>
                  </a:lnTo>
                  <a:lnTo>
                    <a:pt x="3470" y="2769"/>
                  </a:lnTo>
                  <a:close/>
                  <a:moveTo>
                    <a:pt x="4822" y="2769"/>
                  </a:moveTo>
                  <a:lnTo>
                    <a:pt x="4826" y="2778"/>
                  </a:lnTo>
                  <a:lnTo>
                    <a:pt x="4822" y="2778"/>
                  </a:lnTo>
                  <a:lnTo>
                    <a:pt x="4822" y="2769"/>
                  </a:lnTo>
                  <a:lnTo>
                    <a:pt x="4822" y="2769"/>
                  </a:lnTo>
                  <a:lnTo>
                    <a:pt x="4822" y="2769"/>
                  </a:lnTo>
                  <a:close/>
                  <a:moveTo>
                    <a:pt x="5339" y="2778"/>
                  </a:moveTo>
                  <a:lnTo>
                    <a:pt x="5339" y="2790"/>
                  </a:lnTo>
                  <a:lnTo>
                    <a:pt x="5327" y="2778"/>
                  </a:lnTo>
                  <a:lnTo>
                    <a:pt x="5339" y="2778"/>
                  </a:lnTo>
                  <a:lnTo>
                    <a:pt x="5339" y="2778"/>
                  </a:lnTo>
                  <a:lnTo>
                    <a:pt x="5339" y="2778"/>
                  </a:lnTo>
                  <a:close/>
                  <a:moveTo>
                    <a:pt x="4406" y="2778"/>
                  </a:moveTo>
                  <a:lnTo>
                    <a:pt x="4444" y="2785"/>
                  </a:lnTo>
                  <a:lnTo>
                    <a:pt x="4448" y="2807"/>
                  </a:lnTo>
                  <a:lnTo>
                    <a:pt x="4422" y="2823"/>
                  </a:lnTo>
                  <a:lnTo>
                    <a:pt x="4378" y="2785"/>
                  </a:lnTo>
                  <a:lnTo>
                    <a:pt x="4406" y="2778"/>
                  </a:lnTo>
                  <a:lnTo>
                    <a:pt x="4406" y="2778"/>
                  </a:lnTo>
                  <a:lnTo>
                    <a:pt x="4406" y="2778"/>
                  </a:lnTo>
                  <a:close/>
                  <a:moveTo>
                    <a:pt x="5129" y="2807"/>
                  </a:moveTo>
                  <a:lnTo>
                    <a:pt x="5138" y="2818"/>
                  </a:lnTo>
                  <a:lnTo>
                    <a:pt x="5129" y="2807"/>
                  </a:lnTo>
                  <a:lnTo>
                    <a:pt x="5129" y="2807"/>
                  </a:lnTo>
                  <a:lnTo>
                    <a:pt x="5129" y="2807"/>
                  </a:lnTo>
                  <a:close/>
                  <a:moveTo>
                    <a:pt x="5192" y="2823"/>
                  </a:moveTo>
                  <a:lnTo>
                    <a:pt x="5200" y="2840"/>
                  </a:lnTo>
                  <a:lnTo>
                    <a:pt x="5183" y="2823"/>
                  </a:lnTo>
                  <a:lnTo>
                    <a:pt x="5192" y="2823"/>
                  </a:lnTo>
                  <a:lnTo>
                    <a:pt x="5192" y="2823"/>
                  </a:lnTo>
                  <a:lnTo>
                    <a:pt x="5192" y="2823"/>
                  </a:lnTo>
                  <a:close/>
                  <a:moveTo>
                    <a:pt x="4125" y="2840"/>
                  </a:moveTo>
                  <a:lnTo>
                    <a:pt x="4151" y="2847"/>
                  </a:lnTo>
                  <a:lnTo>
                    <a:pt x="4141" y="2873"/>
                  </a:lnTo>
                  <a:lnTo>
                    <a:pt x="4066" y="2929"/>
                  </a:lnTo>
                  <a:lnTo>
                    <a:pt x="4044" y="2918"/>
                  </a:lnTo>
                  <a:lnTo>
                    <a:pt x="4016" y="2934"/>
                  </a:lnTo>
                  <a:lnTo>
                    <a:pt x="4016" y="2913"/>
                  </a:lnTo>
                  <a:lnTo>
                    <a:pt x="4000" y="2901"/>
                  </a:lnTo>
                  <a:lnTo>
                    <a:pt x="4044" y="2847"/>
                  </a:lnTo>
                  <a:lnTo>
                    <a:pt x="4066" y="2856"/>
                  </a:lnTo>
                  <a:lnTo>
                    <a:pt x="4125" y="2840"/>
                  </a:lnTo>
                  <a:lnTo>
                    <a:pt x="4125" y="2840"/>
                  </a:lnTo>
                  <a:lnTo>
                    <a:pt x="4125" y="2840"/>
                  </a:lnTo>
                  <a:close/>
                  <a:moveTo>
                    <a:pt x="5221" y="2847"/>
                  </a:moveTo>
                  <a:lnTo>
                    <a:pt x="5237" y="2856"/>
                  </a:lnTo>
                  <a:lnTo>
                    <a:pt x="5221" y="2847"/>
                  </a:lnTo>
                  <a:lnTo>
                    <a:pt x="5221" y="2847"/>
                  </a:lnTo>
                  <a:lnTo>
                    <a:pt x="5221" y="2847"/>
                  </a:lnTo>
                  <a:close/>
                  <a:moveTo>
                    <a:pt x="4935" y="2863"/>
                  </a:moveTo>
                  <a:lnTo>
                    <a:pt x="4966" y="2880"/>
                  </a:lnTo>
                  <a:lnTo>
                    <a:pt x="4928" y="2889"/>
                  </a:lnTo>
                  <a:lnTo>
                    <a:pt x="4918" y="2863"/>
                  </a:lnTo>
                  <a:lnTo>
                    <a:pt x="4897" y="2856"/>
                  </a:lnTo>
                  <a:lnTo>
                    <a:pt x="4890" y="2847"/>
                  </a:lnTo>
                  <a:lnTo>
                    <a:pt x="4935" y="2863"/>
                  </a:lnTo>
                  <a:lnTo>
                    <a:pt x="4935" y="2863"/>
                  </a:lnTo>
                  <a:lnTo>
                    <a:pt x="4935" y="2863"/>
                  </a:lnTo>
                  <a:close/>
                  <a:moveTo>
                    <a:pt x="4663" y="2863"/>
                  </a:moveTo>
                  <a:lnTo>
                    <a:pt x="4701" y="2880"/>
                  </a:lnTo>
                  <a:lnTo>
                    <a:pt x="4649" y="2863"/>
                  </a:lnTo>
                  <a:lnTo>
                    <a:pt x="4663" y="2863"/>
                  </a:lnTo>
                  <a:lnTo>
                    <a:pt x="4663" y="2863"/>
                  </a:lnTo>
                  <a:lnTo>
                    <a:pt x="4663" y="2863"/>
                  </a:lnTo>
                  <a:close/>
                  <a:moveTo>
                    <a:pt x="4432" y="2880"/>
                  </a:moveTo>
                  <a:lnTo>
                    <a:pt x="4444" y="2880"/>
                  </a:lnTo>
                  <a:lnTo>
                    <a:pt x="4432" y="2889"/>
                  </a:lnTo>
                  <a:lnTo>
                    <a:pt x="4432" y="2880"/>
                  </a:lnTo>
                  <a:lnTo>
                    <a:pt x="4432" y="2880"/>
                  </a:lnTo>
                  <a:lnTo>
                    <a:pt x="4432" y="2880"/>
                  </a:lnTo>
                  <a:close/>
                  <a:moveTo>
                    <a:pt x="4422" y="2880"/>
                  </a:moveTo>
                  <a:lnTo>
                    <a:pt x="4427" y="2889"/>
                  </a:lnTo>
                  <a:lnTo>
                    <a:pt x="4411" y="2889"/>
                  </a:lnTo>
                  <a:lnTo>
                    <a:pt x="4422" y="2880"/>
                  </a:lnTo>
                  <a:lnTo>
                    <a:pt x="4422" y="2880"/>
                  </a:lnTo>
                  <a:lnTo>
                    <a:pt x="4422" y="2880"/>
                  </a:lnTo>
                  <a:close/>
                  <a:moveTo>
                    <a:pt x="5377" y="2889"/>
                  </a:moveTo>
                  <a:lnTo>
                    <a:pt x="5360" y="2901"/>
                  </a:lnTo>
                  <a:lnTo>
                    <a:pt x="5327" y="2896"/>
                  </a:lnTo>
                  <a:lnTo>
                    <a:pt x="5344" y="2889"/>
                  </a:lnTo>
                  <a:lnTo>
                    <a:pt x="5377" y="2889"/>
                  </a:lnTo>
                  <a:lnTo>
                    <a:pt x="5377" y="2889"/>
                  </a:lnTo>
                  <a:lnTo>
                    <a:pt x="5377" y="2889"/>
                  </a:lnTo>
                  <a:close/>
                  <a:moveTo>
                    <a:pt x="4314" y="2967"/>
                  </a:moveTo>
                  <a:lnTo>
                    <a:pt x="4302" y="2991"/>
                  </a:lnTo>
                  <a:lnTo>
                    <a:pt x="4285" y="3000"/>
                  </a:lnTo>
                  <a:lnTo>
                    <a:pt x="4259" y="2967"/>
                  </a:lnTo>
                  <a:lnTo>
                    <a:pt x="4259" y="2934"/>
                  </a:lnTo>
                  <a:lnTo>
                    <a:pt x="4281" y="2901"/>
                  </a:lnTo>
                  <a:lnTo>
                    <a:pt x="4318" y="2901"/>
                  </a:lnTo>
                  <a:lnTo>
                    <a:pt x="4323" y="2918"/>
                  </a:lnTo>
                  <a:lnTo>
                    <a:pt x="4323" y="2929"/>
                  </a:lnTo>
                  <a:lnTo>
                    <a:pt x="4314" y="2967"/>
                  </a:lnTo>
                  <a:lnTo>
                    <a:pt x="4314" y="2967"/>
                  </a:lnTo>
                  <a:lnTo>
                    <a:pt x="4314" y="2967"/>
                  </a:lnTo>
                  <a:close/>
                  <a:moveTo>
                    <a:pt x="5268" y="2934"/>
                  </a:moveTo>
                  <a:lnTo>
                    <a:pt x="5259" y="2934"/>
                  </a:lnTo>
                  <a:lnTo>
                    <a:pt x="5268" y="2929"/>
                  </a:lnTo>
                  <a:lnTo>
                    <a:pt x="5268" y="2934"/>
                  </a:lnTo>
                  <a:lnTo>
                    <a:pt x="5268" y="2934"/>
                  </a:lnTo>
                  <a:lnTo>
                    <a:pt x="5268" y="2934"/>
                  </a:lnTo>
                  <a:close/>
                  <a:moveTo>
                    <a:pt x="5322" y="2955"/>
                  </a:moveTo>
                  <a:lnTo>
                    <a:pt x="5344" y="2974"/>
                  </a:lnTo>
                  <a:lnTo>
                    <a:pt x="5339" y="2974"/>
                  </a:lnTo>
                  <a:lnTo>
                    <a:pt x="5313" y="2955"/>
                  </a:lnTo>
                  <a:lnTo>
                    <a:pt x="5313" y="2951"/>
                  </a:lnTo>
                  <a:lnTo>
                    <a:pt x="5322" y="2955"/>
                  </a:lnTo>
                  <a:lnTo>
                    <a:pt x="5322" y="2955"/>
                  </a:lnTo>
                  <a:lnTo>
                    <a:pt x="5322" y="2955"/>
                  </a:lnTo>
                  <a:close/>
                  <a:moveTo>
                    <a:pt x="3364" y="2967"/>
                  </a:moveTo>
                  <a:lnTo>
                    <a:pt x="3352" y="2955"/>
                  </a:lnTo>
                  <a:lnTo>
                    <a:pt x="3369" y="2955"/>
                  </a:lnTo>
                  <a:lnTo>
                    <a:pt x="3364" y="2967"/>
                  </a:lnTo>
                  <a:lnTo>
                    <a:pt x="3364" y="2967"/>
                  </a:lnTo>
                  <a:lnTo>
                    <a:pt x="3364" y="2967"/>
                  </a:lnTo>
                  <a:close/>
                  <a:moveTo>
                    <a:pt x="5285" y="2967"/>
                  </a:moveTo>
                  <a:lnTo>
                    <a:pt x="5285" y="2974"/>
                  </a:lnTo>
                  <a:lnTo>
                    <a:pt x="5259" y="2974"/>
                  </a:lnTo>
                  <a:lnTo>
                    <a:pt x="5285" y="2967"/>
                  </a:lnTo>
                  <a:lnTo>
                    <a:pt x="5285" y="2967"/>
                  </a:lnTo>
                  <a:lnTo>
                    <a:pt x="5285" y="2967"/>
                  </a:lnTo>
                  <a:close/>
                  <a:moveTo>
                    <a:pt x="5355" y="2991"/>
                  </a:moveTo>
                  <a:lnTo>
                    <a:pt x="5355" y="3000"/>
                  </a:lnTo>
                  <a:lnTo>
                    <a:pt x="5355" y="3007"/>
                  </a:lnTo>
                  <a:lnTo>
                    <a:pt x="5339" y="3024"/>
                  </a:lnTo>
                  <a:lnTo>
                    <a:pt x="5301" y="2991"/>
                  </a:lnTo>
                  <a:lnTo>
                    <a:pt x="5327" y="2984"/>
                  </a:lnTo>
                  <a:lnTo>
                    <a:pt x="5355" y="2991"/>
                  </a:lnTo>
                  <a:lnTo>
                    <a:pt x="5355" y="2991"/>
                  </a:lnTo>
                  <a:lnTo>
                    <a:pt x="5355" y="2991"/>
                  </a:lnTo>
                  <a:close/>
                  <a:moveTo>
                    <a:pt x="4982" y="3057"/>
                  </a:moveTo>
                  <a:lnTo>
                    <a:pt x="4982" y="3062"/>
                  </a:lnTo>
                  <a:lnTo>
                    <a:pt x="4973" y="3057"/>
                  </a:lnTo>
                  <a:lnTo>
                    <a:pt x="4982" y="3057"/>
                  </a:lnTo>
                  <a:lnTo>
                    <a:pt x="4982" y="3057"/>
                  </a:lnTo>
                  <a:lnTo>
                    <a:pt x="4982" y="3057"/>
                  </a:lnTo>
                  <a:close/>
                  <a:moveTo>
                    <a:pt x="5124" y="3111"/>
                  </a:moveTo>
                  <a:lnTo>
                    <a:pt x="5138" y="3118"/>
                  </a:lnTo>
                  <a:lnTo>
                    <a:pt x="5129" y="3123"/>
                  </a:lnTo>
                  <a:lnTo>
                    <a:pt x="5091" y="3140"/>
                  </a:lnTo>
                  <a:lnTo>
                    <a:pt x="5112" y="3100"/>
                  </a:lnTo>
                  <a:lnTo>
                    <a:pt x="5124" y="3111"/>
                  </a:lnTo>
                  <a:lnTo>
                    <a:pt x="5124" y="3111"/>
                  </a:lnTo>
                  <a:lnTo>
                    <a:pt x="5124" y="3111"/>
                  </a:lnTo>
                  <a:close/>
                  <a:moveTo>
                    <a:pt x="5365" y="3123"/>
                  </a:moveTo>
                  <a:lnTo>
                    <a:pt x="5365" y="3135"/>
                  </a:lnTo>
                  <a:lnTo>
                    <a:pt x="5339" y="3118"/>
                  </a:lnTo>
                  <a:lnTo>
                    <a:pt x="5355" y="3118"/>
                  </a:lnTo>
                  <a:lnTo>
                    <a:pt x="5365" y="3123"/>
                  </a:lnTo>
                  <a:lnTo>
                    <a:pt x="5365" y="3123"/>
                  </a:lnTo>
                  <a:lnTo>
                    <a:pt x="5365" y="3123"/>
                  </a:lnTo>
                  <a:close/>
                  <a:moveTo>
                    <a:pt x="4281" y="3177"/>
                  </a:moveTo>
                  <a:lnTo>
                    <a:pt x="4281" y="3189"/>
                  </a:lnTo>
                  <a:lnTo>
                    <a:pt x="4264" y="3194"/>
                  </a:lnTo>
                  <a:lnTo>
                    <a:pt x="4281" y="3177"/>
                  </a:lnTo>
                  <a:lnTo>
                    <a:pt x="4281" y="3177"/>
                  </a:lnTo>
                  <a:lnTo>
                    <a:pt x="4281" y="3177"/>
                  </a:lnTo>
                  <a:close/>
                  <a:moveTo>
                    <a:pt x="5398" y="3177"/>
                  </a:moveTo>
                  <a:lnTo>
                    <a:pt x="5398" y="3194"/>
                  </a:lnTo>
                  <a:lnTo>
                    <a:pt x="5381" y="3194"/>
                  </a:lnTo>
                  <a:lnTo>
                    <a:pt x="5398" y="3177"/>
                  </a:lnTo>
                  <a:lnTo>
                    <a:pt x="5398" y="3177"/>
                  </a:lnTo>
                  <a:lnTo>
                    <a:pt x="5398" y="3177"/>
                  </a:lnTo>
                  <a:close/>
                  <a:moveTo>
                    <a:pt x="4264" y="3206"/>
                  </a:moveTo>
                  <a:lnTo>
                    <a:pt x="4259" y="3206"/>
                  </a:lnTo>
                  <a:lnTo>
                    <a:pt x="4264" y="3194"/>
                  </a:lnTo>
                  <a:lnTo>
                    <a:pt x="4264" y="3206"/>
                  </a:lnTo>
                  <a:lnTo>
                    <a:pt x="4264" y="3206"/>
                  </a:lnTo>
                  <a:lnTo>
                    <a:pt x="4264" y="3206"/>
                  </a:lnTo>
                  <a:close/>
                  <a:moveTo>
                    <a:pt x="5037" y="3263"/>
                  </a:moveTo>
                  <a:lnTo>
                    <a:pt x="5037" y="3279"/>
                  </a:lnTo>
                  <a:lnTo>
                    <a:pt x="5025" y="3279"/>
                  </a:lnTo>
                  <a:lnTo>
                    <a:pt x="5020" y="3263"/>
                  </a:lnTo>
                  <a:lnTo>
                    <a:pt x="5037" y="3263"/>
                  </a:lnTo>
                  <a:lnTo>
                    <a:pt x="5037" y="3263"/>
                  </a:lnTo>
                  <a:lnTo>
                    <a:pt x="5037" y="3263"/>
                  </a:lnTo>
                  <a:close/>
                  <a:moveTo>
                    <a:pt x="4373" y="3305"/>
                  </a:moveTo>
                  <a:lnTo>
                    <a:pt x="4389" y="3322"/>
                  </a:lnTo>
                  <a:lnTo>
                    <a:pt x="4373" y="3317"/>
                  </a:lnTo>
                  <a:lnTo>
                    <a:pt x="4373" y="3305"/>
                  </a:lnTo>
                  <a:lnTo>
                    <a:pt x="4373" y="3305"/>
                  </a:lnTo>
                  <a:lnTo>
                    <a:pt x="4373" y="3305"/>
                  </a:lnTo>
                  <a:close/>
                  <a:moveTo>
                    <a:pt x="5150" y="3338"/>
                  </a:moveTo>
                  <a:lnTo>
                    <a:pt x="5150" y="3350"/>
                  </a:lnTo>
                  <a:lnTo>
                    <a:pt x="5145" y="3350"/>
                  </a:lnTo>
                  <a:lnTo>
                    <a:pt x="5150" y="3338"/>
                  </a:lnTo>
                  <a:lnTo>
                    <a:pt x="5150" y="3338"/>
                  </a:lnTo>
                  <a:lnTo>
                    <a:pt x="5150" y="3338"/>
                  </a:lnTo>
                  <a:close/>
                  <a:moveTo>
                    <a:pt x="5544" y="3395"/>
                  </a:moveTo>
                  <a:lnTo>
                    <a:pt x="5544" y="3407"/>
                  </a:lnTo>
                  <a:lnTo>
                    <a:pt x="5528" y="3395"/>
                  </a:lnTo>
                  <a:lnTo>
                    <a:pt x="5537" y="3390"/>
                  </a:lnTo>
                  <a:lnTo>
                    <a:pt x="5544" y="3395"/>
                  </a:lnTo>
                  <a:lnTo>
                    <a:pt x="5544" y="3395"/>
                  </a:lnTo>
                  <a:lnTo>
                    <a:pt x="5544" y="3395"/>
                  </a:lnTo>
                  <a:close/>
                  <a:moveTo>
                    <a:pt x="5570" y="3407"/>
                  </a:moveTo>
                  <a:lnTo>
                    <a:pt x="5561" y="3411"/>
                  </a:lnTo>
                  <a:lnTo>
                    <a:pt x="5544" y="3407"/>
                  </a:lnTo>
                  <a:lnTo>
                    <a:pt x="5554" y="3395"/>
                  </a:lnTo>
                  <a:lnTo>
                    <a:pt x="5570" y="3407"/>
                  </a:lnTo>
                  <a:lnTo>
                    <a:pt x="5570" y="3407"/>
                  </a:lnTo>
                  <a:lnTo>
                    <a:pt x="5570" y="3407"/>
                  </a:lnTo>
                  <a:close/>
                  <a:moveTo>
                    <a:pt x="4297" y="3416"/>
                  </a:moveTo>
                  <a:lnTo>
                    <a:pt x="4285" y="3444"/>
                  </a:lnTo>
                  <a:lnTo>
                    <a:pt x="4285" y="3428"/>
                  </a:lnTo>
                  <a:lnTo>
                    <a:pt x="4297" y="3416"/>
                  </a:lnTo>
                  <a:lnTo>
                    <a:pt x="4297" y="3416"/>
                  </a:lnTo>
                  <a:lnTo>
                    <a:pt x="4297" y="3416"/>
                  </a:lnTo>
                  <a:close/>
                  <a:moveTo>
                    <a:pt x="5544" y="3433"/>
                  </a:moveTo>
                  <a:lnTo>
                    <a:pt x="5537" y="3428"/>
                  </a:lnTo>
                  <a:lnTo>
                    <a:pt x="5544" y="3416"/>
                  </a:lnTo>
                  <a:lnTo>
                    <a:pt x="5554" y="3428"/>
                  </a:lnTo>
                  <a:lnTo>
                    <a:pt x="5544" y="3433"/>
                  </a:lnTo>
                  <a:lnTo>
                    <a:pt x="5544" y="3433"/>
                  </a:lnTo>
                  <a:lnTo>
                    <a:pt x="5544" y="3433"/>
                  </a:lnTo>
                  <a:close/>
                  <a:moveTo>
                    <a:pt x="5570" y="3428"/>
                  </a:moveTo>
                  <a:lnTo>
                    <a:pt x="5570" y="3444"/>
                  </a:lnTo>
                  <a:lnTo>
                    <a:pt x="5544" y="3433"/>
                  </a:lnTo>
                  <a:lnTo>
                    <a:pt x="5570" y="3428"/>
                  </a:lnTo>
                  <a:lnTo>
                    <a:pt x="5570" y="3428"/>
                  </a:lnTo>
                  <a:lnTo>
                    <a:pt x="5570" y="3428"/>
                  </a:lnTo>
                  <a:close/>
                  <a:moveTo>
                    <a:pt x="4503" y="3444"/>
                  </a:moveTo>
                  <a:lnTo>
                    <a:pt x="4512" y="3449"/>
                  </a:lnTo>
                  <a:lnTo>
                    <a:pt x="4503" y="3444"/>
                  </a:lnTo>
                  <a:lnTo>
                    <a:pt x="4503" y="3444"/>
                  </a:lnTo>
                  <a:lnTo>
                    <a:pt x="4503" y="3444"/>
                  </a:lnTo>
                  <a:close/>
                  <a:moveTo>
                    <a:pt x="5561" y="3444"/>
                  </a:moveTo>
                  <a:lnTo>
                    <a:pt x="5570" y="3449"/>
                  </a:lnTo>
                  <a:lnTo>
                    <a:pt x="5554" y="3449"/>
                  </a:lnTo>
                  <a:lnTo>
                    <a:pt x="5561" y="3444"/>
                  </a:lnTo>
                  <a:lnTo>
                    <a:pt x="5561" y="3444"/>
                  </a:lnTo>
                  <a:lnTo>
                    <a:pt x="5561" y="3444"/>
                  </a:lnTo>
                  <a:close/>
                  <a:moveTo>
                    <a:pt x="5582" y="3489"/>
                  </a:moveTo>
                  <a:lnTo>
                    <a:pt x="5570" y="3506"/>
                  </a:lnTo>
                  <a:lnTo>
                    <a:pt x="5582" y="3506"/>
                  </a:lnTo>
                  <a:lnTo>
                    <a:pt x="5582" y="3522"/>
                  </a:lnTo>
                  <a:lnTo>
                    <a:pt x="5570" y="3506"/>
                  </a:lnTo>
                  <a:lnTo>
                    <a:pt x="5575" y="3489"/>
                  </a:lnTo>
                  <a:lnTo>
                    <a:pt x="5582" y="3489"/>
                  </a:lnTo>
                  <a:lnTo>
                    <a:pt x="5582" y="3489"/>
                  </a:lnTo>
                  <a:lnTo>
                    <a:pt x="5582" y="3489"/>
                  </a:lnTo>
                  <a:close/>
                  <a:moveTo>
                    <a:pt x="4297" y="3489"/>
                  </a:moveTo>
                  <a:lnTo>
                    <a:pt x="4297" y="3506"/>
                  </a:lnTo>
                  <a:lnTo>
                    <a:pt x="4285" y="3499"/>
                  </a:lnTo>
                  <a:lnTo>
                    <a:pt x="4297" y="3489"/>
                  </a:lnTo>
                  <a:lnTo>
                    <a:pt x="4297" y="3489"/>
                  </a:lnTo>
                  <a:lnTo>
                    <a:pt x="4297" y="3489"/>
                  </a:lnTo>
                  <a:close/>
                  <a:moveTo>
                    <a:pt x="4285" y="3499"/>
                  </a:moveTo>
                  <a:lnTo>
                    <a:pt x="4285" y="3506"/>
                  </a:lnTo>
                  <a:lnTo>
                    <a:pt x="4281" y="3506"/>
                  </a:lnTo>
                  <a:lnTo>
                    <a:pt x="4285" y="3499"/>
                  </a:lnTo>
                  <a:lnTo>
                    <a:pt x="4285" y="3499"/>
                  </a:lnTo>
                  <a:lnTo>
                    <a:pt x="4285" y="3499"/>
                  </a:lnTo>
                  <a:close/>
                  <a:moveTo>
                    <a:pt x="4314" y="3506"/>
                  </a:moveTo>
                  <a:lnTo>
                    <a:pt x="4314" y="3518"/>
                  </a:lnTo>
                  <a:lnTo>
                    <a:pt x="4314" y="3522"/>
                  </a:lnTo>
                  <a:lnTo>
                    <a:pt x="4314" y="3506"/>
                  </a:lnTo>
                  <a:lnTo>
                    <a:pt x="4314" y="3506"/>
                  </a:lnTo>
                  <a:lnTo>
                    <a:pt x="4314" y="3506"/>
                  </a:lnTo>
                  <a:close/>
                  <a:moveTo>
                    <a:pt x="5599" y="3522"/>
                  </a:moveTo>
                  <a:lnTo>
                    <a:pt x="5599" y="3518"/>
                  </a:lnTo>
                  <a:lnTo>
                    <a:pt x="5608" y="3518"/>
                  </a:lnTo>
                  <a:lnTo>
                    <a:pt x="5599" y="3522"/>
                  </a:lnTo>
                  <a:lnTo>
                    <a:pt x="5599" y="3522"/>
                  </a:lnTo>
                  <a:lnTo>
                    <a:pt x="5599" y="3522"/>
                  </a:lnTo>
                  <a:close/>
                  <a:moveTo>
                    <a:pt x="4335" y="3518"/>
                  </a:moveTo>
                  <a:lnTo>
                    <a:pt x="4340" y="3522"/>
                  </a:lnTo>
                  <a:lnTo>
                    <a:pt x="4323" y="3522"/>
                  </a:lnTo>
                  <a:lnTo>
                    <a:pt x="4335" y="3518"/>
                  </a:lnTo>
                  <a:lnTo>
                    <a:pt x="4335" y="3518"/>
                  </a:lnTo>
                  <a:lnTo>
                    <a:pt x="4335" y="3518"/>
                  </a:lnTo>
                  <a:close/>
                  <a:moveTo>
                    <a:pt x="4297" y="3610"/>
                  </a:moveTo>
                  <a:lnTo>
                    <a:pt x="4314" y="3572"/>
                  </a:lnTo>
                  <a:lnTo>
                    <a:pt x="4285" y="3600"/>
                  </a:lnTo>
                  <a:lnTo>
                    <a:pt x="4281" y="3593"/>
                  </a:lnTo>
                  <a:lnTo>
                    <a:pt x="4281" y="3584"/>
                  </a:lnTo>
                  <a:lnTo>
                    <a:pt x="4302" y="3560"/>
                  </a:lnTo>
                  <a:lnTo>
                    <a:pt x="4318" y="3527"/>
                  </a:lnTo>
                  <a:lnTo>
                    <a:pt x="4318" y="3539"/>
                  </a:lnTo>
                  <a:lnTo>
                    <a:pt x="4314" y="3572"/>
                  </a:lnTo>
                  <a:lnTo>
                    <a:pt x="4318" y="3560"/>
                  </a:lnTo>
                  <a:lnTo>
                    <a:pt x="4323" y="3527"/>
                  </a:lnTo>
                  <a:lnTo>
                    <a:pt x="4352" y="3539"/>
                  </a:lnTo>
                  <a:lnTo>
                    <a:pt x="4335" y="3593"/>
                  </a:lnTo>
                  <a:lnTo>
                    <a:pt x="4352" y="3544"/>
                  </a:lnTo>
                  <a:lnTo>
                    <a:pt x="4323" y="3600"/>
                  </a:lnTo>
                  <a:lnTo>
                    <a:pt x="4335" y="3560"/>
                  </a:lnTo>
                  <a:lnTo>
                    <a:pt x="4318" y="3600"/>
                  </a:lnTo>
                  <a:lnTo>
                    <a:pt x="4297" y="3610"/>
                  </a:lnTo>
                  <a:lnTo>
                    <a:pt x="4297" y="3610"/>
                  </a:lnTo>
                  <a:lnTo>
                    <a:pt x="4297" y="3610"/>
                  </a:lnTo>
                  <a:close/>
                  <a:moveTo>
                    <a:pt x="5570" y="3527"/>
                  </a:moveTo>
                  <a:lnTo>
                    <a:pt x="5599" y="3539"/>
                  </a:lnTo>
                  <a:lnTo>
                    <a:pt x="5570" y="3539"/>
                  </a:lnTo>
                  <a:lnTo>
                    <a:pt x="5582" y="3539"/>
                  </a:lnTo>
                  <a:lnTo>
                    <a:pt x="5570" y="3527"/>
                  </a:lnTo>
                  <a:lnTo>
                    <a:pt x="5570" y="3527"/>
                  </a:lnTo>
                  <a:lnTo>
                    <a:pt x="5570" y="3527"/>
                  </a:lnTo>
                  <a:close/>
                  <a:moveTo>
                    <a:pt x="4271" y="3572"/>
                  </a:moveTo>
                  <a:lnTo>
                    <a:pt x="4271" y="3555"/>
                  </a:lnTo>
                  <a:lnTo>
                    <a:pt x="4297" y="3544"/>
                  </a:lnTo>
                  <a:lnTo>
                    <a:pt x="4314" y="3527"/>
                  </a:lnTo>
                  <a:lnTo>
                    <a:pt x="4302" y="3555"/>
                  </a:lnTo>
                  <a:lnTo>
                    <a:pt x="4271" y="3572"/>
                  </a:lnTo>
                  <a:lnTo>
                    <a:pt x="4271" y="3572"/>
                  </a:lnTo>
                  <a:lnTo>
                    <a:pt x="4271" y="3572"/>
                  </a:lnTo>
                  <a:close/>
                  <a:moveTo>
                    <a:pt x="4352" y="3572"/>
                  </a:moveTo>
                  <a:lnTo>
                    <a:pt x="4356" y="3544"/>
                  </a:lnTo>
                  <a:lnTo>
                    <a:pt x="4373" y="3539"/>
                  </a:lnTo>
                  <a:lnTo>
                    <a:pt x="4373" y="3572"/>
                  </a:lnTo>
                  <a:lnTo>
                    <a:pt x="4352" y="3572"/>
                  </a:lnTo>
                  <a:lnTo>
                    <a:pt x="4352" y="3572"/>
                  </a:lnTo>
                  <a:lnTo>
                    <a:pt x="4352" y="3572"/>
                  </a:lnTo>
                  <a:close/>
                  <a:moveTo>
                    <a:pt x="5570" y="3544"/>
                  </a:moveTo>
                  <a:lnTo>
                    <a:pt x="5582" y="3555"/>
                  </a:lnTo>
                  <a:lnTo>
                    <a:pt x="5554" y="3544"/>
                  </a:lnTo>
                  <a:lnTo>
                    <a:pt x="5570" y="3544"/>
                  </a:lnTo>
                  <a:lnTo>
                    <a:pt x="5570" y="3544"/>
                  </a:lnTo>
                  <a:lnTo>
                    <a:pt x="5570" y="3544"/>
                  </a:lnTo>
                  <a:close/>
                  <a:moveTo>
                    <a:pt x="5608" y="3572"/>
                  </a:moveTo>
                  <a:lnTo>
                    <a:pt x="5613" y="3584"/>
                  </a:lnTo>
                  <a:lnTo>
                    <a:pt x="5592" y="3577"/>
                  </a:lnTo>
                  <a:lnTo>
                    <a:pt x="5608" y="3572"/>
                  </a:lnTo>
                  <a:lnTo>
                    <a:pt x="5608" y="3572"/>
                  </a:lnTo>
                  <a:lnTo>
                    <a:pt x="5608" y="3572"/>
                  </a:lnTo>
                  <a:close/>
                  <a:moveTo>
                    <a:pt x="4352" y="3577"/>
                  </a:moveTo>
                  <a:lnTo>
                    <a:pt x="4352" y="3584"/>
                  </a:lnTo>
                  <a:lnTo>
                    <a:pt x="4340" y="3610"/>
                  </a:lnTo>
                  <a:lnTo>
                    <a:pt x="4352" y="3577"/>
                  </a:lnTo>
                  <a:lnTo>
                    <a:pt x="4352" y="3577"/>
                  </a:lnTo>
                  <a:lnTo>
                    <a:pt x="4352" y="3577"/>
                  </a:lnTo>
                  <a:close/>
                  <a:moveTo>
                    <a:pt x="5629" y="3593"/>
                  </a:moveTo>
                  <a:lnTo>
                    <a:pt x="5613" y="3600"/>
                  </a:lnTo>
                  <a:lnTo>
                    <a:pt x="5625" y="3593"/>
                  </a:lnTo>
                  <a:lnTo>
                    <a:pt x="5629" y="3593"/>
                  </a:lnTo>
                  <a:lnTo>
                    <a:pt x="5629" y="3593"/>
                  </a:lnTo>
                  <a:lnTo>
                    <a:pt x="5629" y="3593"/>
                  </a:lnTo>
                  <a:close/>
                  <a:moveTo>
                    <a:pt x="5613" y="3593"/>
                  </a:moveTo>
                  <a:lnTo>
                    <a:pt x="5608" y="3600"/>
                  </a:lnTo>
                  <a:lnTo>
                    <a:pt x="5608" y="3593"/>
                  </a:lnTo>
                  <a:lnTo>
                    <a:pt x="5613" y="3593"/>
                  </a:lnTo>
                  <a:lnTo>
                    <a:pt x="5613" y="3593"/>
                  </a:lnTo>
                  <a:lnTo>
                    <a:pt x="5613" y="3593"/>
                  </a:lnTo>
                  <a:close/>
                  <a:moveTo>
                    <a:pt x="763" y="3683"/>
                  </a:moveTo>
                  <a:lnTo>
                    <a:pt x="756" y="3704"/>
                  </a:lnTo>
                  <a:lnTo>
                    <a:pt x="747" y="3711"/>
                  </a:lnTo>
                  <a:lnTo>
                    <a:pt x="740" y="3704"/>
                  </a:lnTo>
                  <a:lnTo>
                    <a:pt x="763" y="3683"/>
                  </a:lnTo>
                  <a:lnTo>
                    <a:pt x="763" y="3683"/>
                  </a:lnTo>
                  <a:lnTo>
                    <a:pt x="763" y="3683"/>
                  </a:lnTo>
                  <a:close/>
                  <a:moveTo>
                    <a:pt x="5826" y="3695"/>
                  </a:moveTo>
                  <a:lnTo>
                    <a:pt x="5826" y="3704"/>
                  </a:lnTo>
                  <a:lnTo>
                    <a:pt x="5830" y="3704"/>
                  </a:lnTo>
                  <a:lnTo>
                    <a:pt x="5814" y="3711"/>
                  </a:lnTo>
                  <a:lnTo>
                    <a:pt x="5809" y="3704"/>
                  </a:lnTo>
                  <a:lnTo>
                    <a:pt x="5826" y="3695"/>
                  </a:lnTo>
                  <a:lnTo>
                    <a:pt x="5826" y="3695"/>
                  </a:lnTo>
                  <a:lnTo>
                    <a:pt x="5826" y="3695"/>
                  </a:lnTo>
                  <a:close/>
                  <a:moveTo>
                    <a:pt x="740" y="3704"/>
                  </a:moveTo>
                  <a:lnTo>
                    <a:pt x="740" y="3711"/>
                  </a:lnTo>
                  <a:lnTo>
                    <a:pt x="735" y="3711"/>
                  </a:lnTo>
                  <a:lnTo>
                    <a:pt x="740" y="3704"/>
                  </a:lnTo>
                  <a:lnTo>
                    <a:pt x="740" y="3704"/>
                  </a:lnTo>
                  <a:lnTo>
                    <a:pt x="740" y="3704"/>
                  </a:lnTo>
                  <a:close/>
                  <a:moveTo>
                    <a:pt x="719" y="3728"/>
                  </a:moveTo>
                  <a:lnTo>
                    <a:pt x="702" y="3744"/>
                  </a:lnTo>
                  <a:lnTo>
                    <a:pt x="709" y="3721"/>
                  </a:lnTo>
                  <a:lnTo>
                    <a:pt x="719" y="3728"/>
                  </a:lnTo>
                  <a:lnTo>
                    <a:pt x="719" y="3728"/>
                  </a:lnTo>
                  <a:lnTo>
                    <a:pt x="719" y="3728"/>
                  </a:lnTo>
                  <a:close/>
                  <a:moveTo>
                    <a:pt x="5868" y="3728"/>
                  </a:moveTo>
                  <a:lnTo>
                    <a:pt x="5878" y="3737"/>
                  </a:lnTo>
                  <a:lnTo>
                    <a:pt x="5868" y="3737"/>
                  </a:lnTo>
                  <a:lnTo>
                    <a:pt x="5868" y="3728"/>
                  </a:lnTo>
                  <a:lnTo>
                    <a:pt x="5868" y="3728"/>
                  </a:lnTo>
                  <a:lnTo>
                    <a:pt x="5868" y="3728"/>
                  </a:lnTo>
                  <a:close/>
                  <a:moveTo>
                    <a:pt x="719" y="3766"/>
                  </a:moveTo>
                  <a:lnTo>
                    <a:pt x="726" y="3777"/>
                  </a:lnTo>
                  <a:lnTo>
                    <a:pt x="719" y="3766"/>
                  </a:lnTo>
                  <a:lnTo>
                    <a:pt x="719" y="3766"/>
                  </a:lnTo>
                  <a:lnTo>
                    <a:pt x="719" y="3766"/>
                  </a:lnTo>
                  <a:close/>
                  <a:moveTo>
                    <a:pt x="756" y="3766"/>
                  </a:moveTo>
                  <a:lnTo>
                    <a:pt x="763" y="3766"/>
                  </a:lnTo>
                  <a:lnTo>
                    <a:pt x="756" y="3777"/>
                  </a:lnTo>
                  <a:lnTo>
                    <a:pt x="756" y="3766"/>
                  </a:lnTo>
                  <a:lnTo>
                    <a:pt x="756" y="3766"/>
                  </a:lnTo>
                  <a:lnTo>
                    <a:pt x="756" y="3766"/>
                  </a:lnTo>
                  <a:close/>
                  <a:moveTo>
                    <a:pt x="563" y="3815"/>
                  </a:moveTo>
                  <a:lnTo>
                    <a:pt x="558" y="3799"/>
                  </a:lnTo>
                  <a:lnTo>
                    <a:pt x="558" y="3782"/>
                  </a:lnTo>
                  <a:lnTo>
                    <a:pt x="558" y="3766"/>
                  </a:lnTo>
                  <a:lnTo>
                    <a:pt x="596" y="3777"/>
                  </a:lnTo>
                  <a:lnTo>
                    <a:pt x="584" y="3794"/>
                  </a:lnTo>
                  <a:lnTo>
                    <a:pt x="600" y="3777"/>
                  </a:lnTo>
                  <a:lnTo>
                    <a:pt x="617" y="3777"/>
                  </a:lnTo>
                  <a:lnTo>
                    <a:pt x="626" y="3799"/>
                  </a:lnTo>
                  <a:lnTo>
                    <a:pt x="584" y="3815"/>
                  </a:lnTo>
                  <a:lnTo>
                    <a:pt x="600" y="3822"/>
                  </a:lnTo>
                  <a:lnTo>
                    <a:pt x="626" y="3815"/>
                  </a:lnTo>
                  <a:lnTo>
                    <a:pt x="626" y="3782"/>
                  </a:lnTo>
                  <a:lnTo>
                    <a:pt x="655" y="3766"/>
                  </a:lnTo>
                  <a:lnTo>
                    <a:pt x="638" y="3822"/>
                  </a:lnTo>
                  <a:lnTo>
                    <a:pt x="638" y="3848"/>
                  </a:lnTo>
                  <a:lnTo>
                    <a:pt x="633" y="3860"/>
                  </a:lnTo>
                  <a:lnTo>
                    <a:pt x="612" y="3860"/>
                  </a:lnTo>
                  <a:lnTo>
                    <a:pt x="626" y="3872"/>
                  </a:lnTo>
                  <a:lnTo>
                    <a:pt x="600" y="3872"/>
                  </a:lnTo>
                  <a:lnTo>
                    <a:pt x="584" y="3855"/>
                  </a:lnTo>
                  <a:lnTo>
                    <a:pt x="596" y="3855"/>
                  </a:lnTo>
                  <a:lnTo>
                    <a:pt x="579" y="3855"/>
                  </a:lnTo>
                  <a:lnTo>
                    <a:pt x="584" y="3848"/>
                  </a:lnTo>
                  <a:lnTo>
                    <a:pt x="600" y="3855"/>
                  </a:lnTo>
                  <a:lnTo>
                    <a:pt x="574" y="3839"/>
                  </a:lnTo>
                  <a:lnTo>
                    <a:pt x="563" y="3822"/>
                  </a:lnTo>
                  <a:lnTo>
                    <a:pt x="574" y="3822"/>
                  </a:lnTo>
                  <a:lnTo>
                    <a:pt x="563" y="3815"/>
                  </a:lnTo>
                  <a:lnTo>
                    <a:pt x="563" y="3815"/>
                  </a:lnTo>
                  <a:lnTo>
                    <a:pt x="563" y="3815"/>
                  </a:lnTo>
                  <a:close/>
                  <a:moveTo>
                    <a:pt x="747" y="3777"/>
                  </a:moveTo>
                  <a:lnTo>
                    <a:pt x="756" y="3794"/>
                  </a:lnTo>
                  <a:lnTo>
                    <a:pt x="747" y="3799"/>
                  </a:lnTo>
                  <a:lnTo>
                    <a:pt x="740" y="3799"/>
                  </a:lnTo>
                  <a:lnTo>
                    <a:pt x="747" y="3782"/>
                  </a:lnTo>
                  <a:lnTo>
                    <a:pt x="735" y="3794"/>
                  </a:lnTo>
                  <a:lnTo>
                    <a:pt x="726" y="3794"/>
                  </a:lnTo>
                  <a:lnTo>
                    <a:pt x="735" y="3799"/>
                  </a:lnTo>
                  <a:lnTo>
                    <a:pt x="726" y="3799"/>
                  </a:lnTo>
                  <a:lnTo>
                    <a:pt x="726" y="3782"/>
                  </a:lnTo>
                  <a:lnTo>
                    <a:pt x="747" y="3777"/>
                  </a:lnTo>
                  <a:lnTo>
                    <a:pt x="747" y="3777"/>
                  </a:lnTo>
                  <a:lnTo>
                    <a:pt x="747" y="3777"/>
                  </a:lnTo>
                  <a:close/>
                  <a:moveTo>
                    <a:pt x="801" y="3860"/>
                  </a:moveTo>
                  <a:lnTo>
                    <a:pt x="789" y="3848"/>
                  </a:lnTo>
                  <a:lnTo>
                    <a:pt x="778" y="3832"/>
                  </a:lnTo>
                  <a:lnTo>
                    <a:pt x="773" y="3822"/>
                  </a:lnTo>
                  <a:lnTo>
                    <a:pt x="778" y="3822"/>
                  </a:lnTo>
                  <a:lnTo>
                    <a:pt x="763" y="3815"/>
                  </a:lnTo>
                  <a:lnTo>
                    <a:pt x="756" y="3799"/>
                  </a:lnTo>
                  <a:lnTo>
                    <a:pt x="773" y="3806"/>
                  </a:lnTo>
                  <a:lnTo>
                    <a:pt x="811" y="3848"/>
                  </a:lnTo>
                  <a:lnTo>
                    <a:pt x="811" y="3860"/>
                  </a:lnTo>
                  <a:lnTo>
                    <a:pt x="801" y="3860"/>
                  </a:lnTo>
                  <a:lnTo>
                    <a:pt x="801" y="3860"/>
                  </a:lnTo>
                  <a:lnTo>
                    <a:pt x="801" y="3860"/>
                  </a:lnTo>
                  <a:close/>
                  <a:moveTo>
                    <a:pt x="756" y="3806"/>
                  </a:moveTo>
                  <a:lnTo>
                    <a:pt x="763" y="3832"/>
                  </a:lnTo>
                  <a:lnTo>
                    <a:pt x="747" y="3815"/>
                  </a:lnTo>
                  <a:lnTo>
                    <a:pt x="756" y="3806"/>
                  </a:lnTo>
                  <a:lnTo>
                    <a:pt x="756" y="3806"/>
                  </a:lnTo>
                  <a:lnTo>
                    <a:pt x="756" y="3806"/>
                  </a:lnTo>
                  <a:close/>
                  <a:moveTo>
                    <a:pt x="853" y="3815"/>
                  </a:moveTo>
                  <a:lnTo>
                    <a:pt x="832" y="3848"/>
                  </a:lnTo>
                  <a:lnTo>
                    <a:pt x="832" y="3822"/>
                  </a:lnTo>
                  <a:lnTo>
                    <a:pt x="853" y="3815"/>
                  </a:lnTo>
                  <a:lnTo>
                    <a:pt x="853" y="3815"/>
                  </a:lnTo>
                  <a:lnTo>
                    <a:pt x="853" y="3815"/>
                  </a:lnTo>
                  <a:close/>
                  <a:moveTo>
                    <a:pt x="747" y="3822"/>
                  </a:moveTo>
                  <a:lnTo>
                    <a:pt x="778" y="3839"/>
                  </a:lnTo>
                  <a:lnTo>
                    <a:pt x="794" y="3860"/>
                  </a:lnTo>
                  <a:lnTo>
                    <a:pt x="778" y="3872"/>
                  </a:lnTo>
                  <a:lnTo>
                    <a:pt x="735" y="3832"/>
                  </a:lnTo>
                  <a:lnTo>
                    <a:pt x="740" y="3822"/>
                  </a:lnTo>
                  <a:lnTo>
                    <a:pt x="747" y="3822"/>
                  </a:lnTo>
                  <a:lnTo>
                    <a:pt x="747" y="3822"/>
                  </a:lnTo>
                  <a:lnTo>
                    <a:pt x="747" y="3822"/>
                  </a:lnTo>
                  <a:close/>
                  <a:moveTo>
                    <a:pt x="844" y="3832"/>
                  </a:moveTo>
                  <a:lnTo>
                    <a:pt x="848" y="3855"/>
                  </a:lnTo>
                  <a:lnTo>
                    <a:pt x="832" y="3855"/>
                  </a:lnTo>
                  <a:lnTo>
                    <a:pt x="844" y="3832"/>
                  </a:lnTo>
                  <a:lnTo>
                    <a:pt x="844" y="3832"/>
                  </a:lnTo>
                  <a:lnTo>
                    <a:pt x="844" y="3832"/>
                  </a:lnTo>
                  <a:close/>
                  <a:moveTo>
                    <a:pt x="5970" y="3839"/>
                  </a:moveTo>
                  <a:lnTo>
                    <a:pt x="5977" y="3839"/>
                  </a:lnTo>
                  <a:lnTo>
                    <a:pt x="5977" y="3848"/>
                  </a:lnTo>
                  <a:lnTo>
                    <a:pt x="5960" y="3839"/>
                  </a:lnTo>
                  <a:lnTo>
                    <a:pt x="5970" y="3839"/>
                  </a:lnTo>
                  <a:lnTo>
                    <a:pt x="5970" y="3839"/>
                  </a:lnTo>
                  <a:lnTo>
                    <a:pt x="5970" y="3839"/>
                  </a:lnTo>
                  <a:close/>
                  <a:moveTo>
                    <a:pt x="815" y="3848"/>
                  </a:moveTo>
                  <a:lnTo>
                    <a:pt x="815" y="3855"/>
                  </a:lnTo>
                  <a:lnTo>
                    <a:pt x="811" y="3848"/>
                  </a:lnTo>
                  <a:lnTo>
                    <a:pt x="815" y="3848"/>
                  </a:lnTo>
                  <a:lnTo>
                    <a:pt x="815" y="3848"/>
                  </a:lnTo>
                  <a:lnTo>
                    <a:pt x="815" y="3848"/>
                  </a:lnTo>
                  <a:close/>
                  <a:moveTo>
                    <a:pt x="4281" y="3848"/>
                  </a:moveTo>
                  <a:lnTo>
                    <a:pt x="4281" y="3855"/>
                  </a:lnTo>
                  <a:lnTo>
                    <a:pt x="4271" y="3855"/>
                  </a:lnTo>
                  <a:lnTo>
                    <a:pt x="4281" y="3848"/>
                  </a:lnTo>
                  <a:lnTo>
                    <a:pt x="4281" y="3848"/>
                  </a:lnTo>
                  <a:lnTo>
                    <a:pt x="4281" y="3848"/>
                  </a:lnTo>
                  <a:close/>
                  <a:moveTo>
                    <a:pt x="827" y="3855"/>
                  </a:moveTo>
                  <a:lnTo>
                    <a:pt x="832" y="3872"/>
                  </a:lnTo>
                  <a:lnTo>
                    <a:pt x="815" y="3872"/>
                  </a:lnTo>
                  <a:lnTo>
                    <a:pt x="827" y="3855"/>
                  </a:lnTo>
                  <a:lnTo>
                    <a:pt x="827" y="3855"/>
                  </a:lnTo>
                  <a:lnTo>
                    <a:pt x="827" y="3855"/>
                  </a:lnTo>
                  <a:close/>
                  <a:moveTo>
                    <a:pt x="832" y="3905"/>
                  </a:moveTo>
                  <a:lnTo>
                    <a:pt x="853" y="3877"/>
                  </a:lnTo>
                  <a:lnTo>
                    <a:pt x="844" y="3872"/>
                  </a:lnTo>
                  <a:lnTo>
                    <a:pt x="853" y="3877"/>
                  </a:lnTo>
                  <a:lnTo>
                    <a:pt x="832" y="3893"/>
                  </a:lnTo>
                  <a:lnTo>
                    <a:pt x="844" y="3855"/>
                  </a:lnTo>
                  <a:lnTo>
                    <a:pt x="870" y="3872"/>
                  </a:lnTo>
                  <a:lnTo>
                    <a:pt x="870" y="3877"/>
                  </a:lnTo>
                  <a:lnTo>
                    <a:pt x="870" y="3917"/>
                  </a:lnTo>
                  <a:lnTo>
                    <a:pt x="865" y="3926"/>
                  </a:lnTo>
                  <a:lnTo>
                    <a:pt x="865" y="3888"/>
                  </a:lnTo>
                  <a:lnTo>
                    <a:pt x="853" y="3917"/>
                  </a:lnTo>
                  <a:lnTo>
                    <a:pt x="844" y="3910"/>
                  </a:lnTo>
                  <a:lnTo>
                    <a:pt x="832" y="3905"/>
                  </a:lnTo>
                  <a:lnTo>
                    <a:pt x="832" y="3905"/>
                  </a:lnTo>
                  <a:lnTo>
                    <a:pt x="832" y="3905"/>
                  </a:lnTo>
                  <a:close/>
                  <a:moveTo>
                    <a:pt x="617" y="3893"/>
                  </a:moveTo>
                  <a:lnTo>
                    <a:pt x="626" y="3888"/>
                  </a:lnTo>
                  <a:lnTo>
                    <a:pt x="600" y="3877"/>
                  </a:lnTo>
                  <a:lnTo>
                    <a:pt x="596" y="3872"/>
                  </a:lnTo>
                  <a:lnTo>
                    <a:pt x="626" y="3872"/>
                  </a:lnTo>
                  <a:lnTo>
                    <a:pt x="650" y="3860"/>
                  </a:lnTo>
                  <a:lnTo>
                    <a:pt x="664" y="3877"/>
                  </a:lnTo>
                  <a:lnTo>
                    <a:pt x="633" y="3877"/>
                  </a:lnTo>
                  <a:lnTo>
                    <a:pt x="655" y="3888"/>
                  </a:lnTo>
                  <a:lnTo>
                    <a:pt x="655" y="3893"/>
                  </a:lnTo>
                  <a:lnTo>
                    <a:pt x="633" y="3893"/>
                  </a:lnTo>
                  <a:lnTo>
                    <a:pt x="638" y="3893"/>
                  </a:lnTo>
                  <a:lnTo>
                    <a:pt x="671" y="3943"/>
                  </a:lnTo>
                  <a:lnTo>
                    <a:pt x="688" y="3943"/>
                  </a:lnTo>
                  <a:lnTo>
                    <a:pt x="681" y="3950"/>
                  </a:lnTo>
                  <a:lnTo>
                    <a:pt x="693" y="3950"/>
                  </a:lnTo>
                  <a:lnTo>
                    <a:pt x="702" y="3966"/>
                  </a:lnTo>
                  <a:lnTo>
                    <a:pt x="688" y="3966"/>
                  </a:lnTo>
                  <a:lnTo>
                    <a:pt x="664" y="3950"/>
                  </a:lnTo>
                  <a:lnTo>
                    <a:pt x="664" y="3943"/>
                  </a:lnTo>
                  <a:lnTo>
                    <a:pt x="626" y="3910"/>
                  </a:lnTo>
                  <a:lnTo>
                    <a:pt x="638" y="3910"/>
                  </a:lnTo>
                  <a:lnTo>
                    <a:pt x="633" y="3905"/>
                  </a:lnTo>
                  <a:lnTo>
                    <a:pt x="626" y="3910"/>
                  </a:lnTo>
                  <a:lnTo>
                    <a:pt x="612" y="3888"/>
                  </a:lnTo>
                  <a:lnTo>
                    <a:pt x="617" y="3893"/>
                  </a:lnTo>
                  <a:lnTo>
                    <a:pt x="617" y="3893"/>
                  </a:lnTo>
                  <a:lnTo>
                    <a:pt x="617" y="3893"/>
                  </a:lnTo>
                  <a:close/>
                  <a:moveTo>
                    <a:pt x="4205" y="3860"/>
                  </a:moveTo>
                  <a:lnTo>
                    <a:pt x="4226" y="3893"/>
                  </a:lnTo>
                  <a:lnTo>
                    <a:pt x="4226" y="3910"/>
                  </a:lnTo>
                  <a:lnTo>
                    <a:pt x="4134" y="3877"/>
                  </a:lnTo>
                  <a:lnTo>
                    <a:pt x="4151" y="3860"/>
                  </a:lnTo>
                  <a:lnTo>
                    <a:pt x="4205" y="3860"/>
                  </a:lnTo>
                  <a:lnTo>
                    <a:pt x="4205" y="3860"/>
                  </a:lnTo>
                  <a:lnTo>
                    <a:pt x="4205" y="3860"/>
                  </a:lnTo>
                  <a:close/>
                  <a:moveTo>
                    <a:pt x="811" y="3860"/>
                  </a:moveTo>
                  <a:lnTo>
                    <a:pt x="827" y="3888"/>
                  </a:lnTo>
                  <a:lnTo>
                    <a:pt x="801" y="3872"/>
                  </a:lnTo>
                  <a:lnTo>
                    <a:pt x="811" y="3860"/>
                  </a:lnTo>
                  <a:lnTo>
                    <a:pt x="811" y="3860"/>
                  </a:lnTo>
                  <a:lnTo>
                    <a:pt x="811" y="3860"/>
                  </a:lnTo>
                  <a:close/>
                  <a:moveTo>
                    <a:pt x="4285" y="3872"/>
                  </a:moveTo>
                  <a:lnTo>
                    <a:pt x="4297" y="3872"/>
                  </a:lnTo>
                  <a:lnTo>
                    <a:pt x="4281" y="3877"/>
                  </a:lnTo>
                  <a:lnTo>
                    <a:pt x="4285" y="3872"/>
                  </a:lnTo>
                  <a:lnTo>
                    <a:pt x="4285" y="3872"/>
                  </a:lnTo>
                  <a:lnTo>
                    <a:pt x="4285" y="3872"/>
                  </a:lnTo>
                  <a:close/>
                  <a:moveTo>
                    <a:pt x="794" y="3872"/>
                  </a:moveTo>
                  <a:lnTo>
                    <a:pt x="801" y="3877"/>
                  </a:lnTo>
                  <a:lnTo>
                    <a:pt x="794" y="3872"/>
                  </a:lnTo>
                  <a:lnTo>
                    <a:pt x="794" y="3872"/>
                  </a:lnTo>
                  <a:lnTo>
                    <a:pt x="794" y="3872"/>
                  </a:lnTo>
                  <a:close/>
                  <a:moveTo>
                    <a:pt x="5977" y="3877"/>
                  </a:moveTo>
                  <a:lnTo>
                    <a:pt x="5970" y="3877"/>
                  </a:lnTo>
                  <a:lnTo>
                    <a:pt x="5977" y="3877"/>
                  </a:lnTo>
                  <a:lnTo>
                    <a:pt x="5977" y="3877"/>
                  </a:lnTo>
                  <a:lnTo>
                    <a:pt x="5977" y="3877"/>
                  </a:lnTo>
                  <a:close/>
                  <a:moveTo>
                    <a:pt x="801" y="3877"/>
                  </a:moveTo>
                  <a:lnTo>
                    <a:pt x="811" y="3877"/>
                  </a:lnTo>
                  <a:lnTo>
                    <a:pt x="794" y="3877"/>
                  </a:lnTo>
                  <a:lnTo>
                    <a:pt x="801" y="3877"/>
                  </a:lnTo>
                  <a:lnTo>
                    <a:pt x="801" y="3877"/>
                  </a:lnTo>
                  <a:lnTo>
                    <a:pt x="801" y="3877"/>
                  </a:lnTo>
                  <a:close/>
                  <a:moveTo>
                    <a:pt x="801" y="3888"/>
                  </a:moveTo>
                  <a:lnTo>
                    <a:pt x="794" y="3877"/>
                  </a:lnTo>
                  <a:lnTo>
                    <a:pt x="801" y="3888"/>
                  </a:lnTo>
                  <a:lnTo>
                    <a:pt x="801" y="3888"/>
                  </a:lnTo>
                  <a:lnTo>
                    <a:pt x="801" y="3888"/>
                  </a:lnTo>
                  <a:close/>
                  <a:moveTo>
                    <a:pt x="903" y="3905"/>
                  </a:moveTo>
                  <a:lnTo>
                    <a:pt x="898" y="3926"/>
                  </a:lnTo>
                  <a:lnTo>
                    <a:pt x="886" y="3905"/>
                  </a:lnTo>
                  <a:lnTo>
                    <a:pt x="903" y="3905"/>
                  </a:lnTo>
                  <a:lnTo>
                    <a:pt x="903" y="3905"/>
                  </a:lnTo>
                  <a:lnTo>
                    <a:pt x="903" y="3905"/>
                  </a:lnTo>
                  <a:close/>
                  <a:moveTo>
                    <a:pt x="827" y="3905"/>
                  </a:moveTo>
                  <a:lnTo>
                    <a:pt x="848" y="3917"/>
                  </a:lnTo>
                  <a:lnTo>
                    <a:pt x="848" y="3933"/>
                  </a:lnTo>
                  <a:lnTo>
                    <a:pt x="827" y="3910"/>
                  </a:lnTo>
                  <a:lnTo>
                    <a:pt x="827" y="3905"/>
                  </a:lnTo>
                  <a:lnTo>
                    <a:pt x="827" y="3905"/>
                  </a:lnTo>
                  <a:lnTo>
                    <a:pt x="827" y="3905"/>
                  </a:lnTo>
                  <a:close/>
                  <a:moveTo>
                    <a:pt x="886" y="3905"/>
                  </a:moveTo>
                  <a:lnTo>
                    <a:pt x="898" y="3933"/>
                  </a:lnTo>
                  <a:lnTo>
                    <a:pt x="882" y="3943"/>
                  </a:lnTo>
                  <a:lnTo>
                    <a:pt x="882" y="3910"/>
                  </a:lnTo>
                  <a:lnTo>
                    <a:pt x="886" y="3905"/>
                  </a:lnTo>
                  <a:lnTo>
                    <a:pt x="886" y="3905"/>
                  </a:lnTo>
                  <a:lnTo>
                    <a:pt x="886" y="3905"/>
                  </a:lnTo>
                  <a:close/>
                  <a:moveTo>
                    <a:pt x="671" y="3910"/>
                  </a:moveTo>
                  <a:lnTo>
                    <a:pt x="671" y="3917"/>
                  </a:lnTo>
                  <a:lnTo>
                    <a:pt x="664" y="3926"/>
                  </a:lnTo>
                  <a:lnTo>
                    <a:pt x="655" y="3910"/>
                  </a:lnTo>
                  <a:lnTo>
                    <a:pt x="671" y="3910"/>
                  </a:lnTo>
                  <a:lnTo>
                    <a:pt x="671" y="3910"/>
                  </a:lnTo>
                  <a:lnTo>
                    <a:pt x="671" y="3910"/>
                  </a:lnTo>
                  <a:close/>
                  <a:moveTo>
                    <a:pt x="870" y="3917"/>
                  </a:moveTo>
                  <a:lnTo>
                    <a:pt x="882" y="3943"/>
                  </a:lnTo>
                  <a:lnTo>
                    <a:pt x="853" y="3926"/>
                  </a:lnTo>
                  <a:lnTo>
                    <a:pt x="870" y="3917"/>
                  </a:lnTo>
                  <a:lnTo>
                    <a:pt x="870" y="3917"/>
                  </a:lnTo>
                  <a:lnTo>
                    <a:pt x="870" y="3917"/>
                  </a:lnTo>
                  <a:close/>
                  <a:moveTo>
                    <a:pt x="870" y="3933"/>
                  </a:moveTo>
                  <a:lnTo>
                    <a:pt x="865" y="3959"/>
                  </a:lnTo>
                  <a:lnTo>
                    <a:pt x="853" y="3933"/>
                  </a:lnTo>
                  <a:lnTo>
                    <a:pt x="870" y="3933"/>
                  </a:lnTo>
                  <a:lnTo>
                    <a:pt x="870" y="3933"/>
                  </a:lnTo>
                  <a:lnTo>
                    <a:pt x="870" y="3933"/>
                  </a:lnTo>
                  <a:close/>
                  <a:moveTo>
                    <a:pt x="941" y="3966"/>
                  </a:moveTo>
                  <a:lnTo>
                    <a:pt x="936" y="3983"/>
                  </a:lnTo>
                  <a:lnTo>
                    <a:pt x="919" y="3983"/>
                  </a:lnTo>
                  <a:lnTo>
                    <a:pt x="924" y="3959"/>
                  </a:lnTo>
                  <a:lnTo>
                    <a:pt x="962" y="3943"/>
                  </a:lnTo>
                  <a:lnTo>
                    <a:pt x="962" y="3950"/>
                  </a:lnTo>
                  <a:lnTo>
                    <a:pt x="941" y="3966"/>
                  </a:lnTo>
                  <a:lnTo>
                    <a:pt x="941" y="3966"/>
                  </a:lnTo>
                  <a:lnTo>
                    <a:pt x="941" y="3966"/>
                  </a:lnTo>
                  <a:close/>
                  <a:moveTo>
                    <a:pt x="903" y="3943"/>
                  </a:moveTo>
                  <a:lnTo>
                    <a:pt x="908" y="3950"/>
                  </a:lnTo>
                  <a:lnTo>
                    <a:pt x="898" y="3950"/>
                  </a:lnTo>
                  <a:lnTo>
                    <a:pt x="903" y="3943"/>
                  </a:lnTo>
                  <a:lnTo>
                    <a:pt x="903" y="3943"/>
                  </a:lnTo>
                  <a:lnTo>
                    <a:pt x="903" y="3943"/>
                  </a:lnTo>
                  <a:close/>
                  <a:moveTo>
                    <a:pt x="919" y="3950"/>
                  </a:moveTo>
                  <a:lnTo>
                    <a:pt x="919" y="3966"/>
                  </a:lnTo>
                  <a:lnTo>
                    <a:pt x="903" y="3959"/>
                  </a:lnTo>
                  <a:lnTo>
                    <a:pt x="919" y="3950"/>
                  </a:lnTo>
                  <a:lnTo>
                    <a:pt x="919" y="3950"/>
                  </a:lnTo>
                  <a:lnTo>
                    <a:pt x="919" y="3950"/>
                  </a:lnTo>
                  <a:close/>
                  <a:moveTo>
                    <a:pt x="898" y="3966"/>
                  </a:moveTo>
                  <a:lnTo>
                    <a:pt x="886" y="3959"/>
                  </a:lnTo>
                  <a:lnTo>
                    <a:pt x="898" y="3959"/>
                  </a:lnTo>
                  <a:lnTo>
                    <a:pt x="898" y="3966"/>
                  </a:lnTo>
                  <a:lnTo>
                    <a:pt x="898" y="3966"/>
                  </a:lnTo>
                  <a:lnTo>
                    <a:pt x="898" y="3966"/>
                  </a:lnTo>
                  <a:close/>
                  <a:moveTo>
                    <a:pt x="886" y="3959"/>
                  </a:moveTo>
                  <a:lnTo>
                    <a:pt x="882" y="3966"/>
                  </a:lnTo>
                  <a:lnTo>
                    <a:pt x="886" y="3959"/>
                  </a:lnTo>
                  <a:lnTo>
                    <a:pt x="886" y="3959"/>
                  </a:lnTo>
                  <a:lnTo>
                    <a:pt x="886" y="3959"/>
                  </a:lnTo>
                  <a:close/>
                  <a:moveTo>
                    <a:pt x="903" y="3966"/>
                  </a:moveTo>
                  <a:lnTo>
                    <a:pt x="898" y="3983"/>
                  </a:lnTo>
                  <a:lnTo>
                    <a:pt x="898" y="3966"/>
                  </a:lnTo>
                  <a:lnTo>
                    <a:pt x="903" y="3966"/>
                  </a:lnTo>
                  <a:lnTo>
                    <a:pt x="903" y="3966"/>
                  </a:lnTo>
                  <a:lnTo>
                    <a:pt x="903" y="3966"/>
                  </a:lnTo>
                  <a:close/>
                  <a:moveTo>
                    <a:pt x="908" y="3966"/>
                  </a:moveTo>
                  <a:lnTo>
                    <a:pt x="919" y="3966"/>
                  </a:lnTo>
                  <a:lnTo>
                    <a:pt x="919" y="3971"/>
                  </a:lnTo>
                  <a:lnTo>
                    <a:pt x="903" y="3971"/>
                  </a:lnTo>
                  <a:lnTo>
                    <a:pt x="908" y="3966"/>
                  </a:lnTo>
                  <a:lnTo>
                    <a:pt x="908" y="3966"/>
                  </a:lnTo>
                  <a:lnTo>
                    <a:pt x="908" y="3966"/>
                  </a:lnTo>
                  <a:close/>
                  <a:moveTo>
                    <a:pt x="693" y="3966"/>
                  </a:moveTo>
                  <a:lnTo>
                    <a:pt x="702" y="3971"/>
                  </a:lnTo>
                  <a:lnTo>
                    <a:pt x="702" y="3988"/>
                  </a:lnTo>
                  <a:lnTo>
                    <a:pt x="693" y="3971"/>
                  </a:lnTo>
                  <a:lnTo>
                    <a:pt x="693" y="3966"/>
                  </a:lnTo>
                  <a:lnTo>
                    <a:pt x="693" y="3966"/>
                  </a:lnTo>
                  <a:lnTo>
                    <a:pt x="693" y="3966"/>
                  </a:lnTo>
                  <a:close/>
                  <a:moveTo>
                    <a:pt x="4323" y="3971"/>
                  </a:moveTo>
                  <a:lnTo>
                    <a:pt x="4318" y="3988"/>
                  </a:lnTo>
                  <a:lnTo>
                    <a:pt x="4302" y="3988"/>
                  </a:lnTo>
                  <a:lnTo>
                    <a:pt x="4302" y="3983"/>
                  </a:lnTo>
                  <a:lnTo>
                    <a:pt x="4323" y="3971"/>
                  </a:lnTo>
                  <a:lnTo>
                    <a:pt x="4323" y="3971"/>
                  </a:lnTo>
                  <a:lnTo>
                    <a:pt x="4323" y="3971"/>
                  </a:lnTo>
                  <a:close/>
                  <a:moveTo>
                    <a:pt x="919" y="3971"/>
                  </a:moveTo>
                  <a:lnTo>
                    <a:pt x="908" y="4004"/>
                  </a:lnTo>
                  <a:lnTo>
                    <a:pt x="903" y="4004"/>
                  </a:lnTo>
                  <a:lnTo>
                    <a:pt x="898" y="4000"/>
                  </a:lnTo>
                  <a:lnTo>
                    <a:pt x="903" y="3971"/>
                  </a:lnTo>
                  <a:lnTo>
                    <a:pt x="919" y="3971"/>
                  </a:lnTo>
                  <a:lnTo>
                    <a:pt x="919" y="3971"/>
                  </a:lnTo>
                  <a:lnTo>
                    <a:pt x="919" y="3971"/>
                  </a:lnTo>
                  <a:close/>
                  <a:moveTo>
                    <a:pt x="908" y="4004"/>
                  </a:moveTo>
                  <a:lnTo>
                    <a:pt x="919" y="4037"/>
                  </a:lnTo>
                  <a:lnTo>
                    <a:pt x="903" y="4021"/>
                  </a:lnTo>
                  <a:lnTo>
                    <a:pt x="908" y="4004"/>
                  </a:lnTo>
                  <a:lnTo>
                    <a:pt x="908" y="4004"/>
                  </a:lnTo>
                  <a:lnTo>
                    <a:pt x="908" y="4004"/>
                  </a:lnTo>
                  <a:close/>
                  <a:moveTo>
                    <a:pt x="6116" y="4316"/>
                  </a:moveTo>
                  <a:lnTo>
                    <a:pt x="6133" y="4304"/>
                  </a:lnTo>
                  <a:lnTo>
                    <a:pt x="6133" y="4316"/>
                  </a:lnTo>
                  <a:lnTo>
                    <a:pt x="6137" y="4297"/>
                  </a:lnTo>
                  <a:lnTo>
                    <a:pt x="6154" y="4304"/>
                  </a:lnTo>
                  <a:lnTo>
                    <a:pt x="6170" y="4292"/>
                  </a:lnTo>
                  <a:lnTo>
                    <a:pt x="6170" y="4297"/>
                  </a:lnTo>
                  <a:lnTo>
                    <a:pt x="6154" y="4321"/>
                  </a:lnTo>
                  <a:lnTo>
                    <a:pt x="6149" y="4321"/>
                  </a:lnTo>
                  <a:lnTo>
                    <a:pt x="6121" y="4337"/>
                  </a:lnTo>
                  <a:lnTo>
                    <a:pt x="6111" y="4337"/>
                  </a:lnTo>
                  <a:lnTo>
                    <a:pt x="6111" y="4349"/>
                  </a:lnTo>
                  <a:lnTo>
                    <a:pt x="6121" y="4354"/>
                  </a:lnTo>
                  <a:lnTo>
                    <a:pt x="6111" y="4354"/>
                  </a:lnTo>
                  <a:lnTo>
                    <a:pt x="6133" y="4354"/>
                  </a:lnTo>
                  <a:lnTo>
                    <a:pt x="6111" y="4375"/>
                  </a:lnTo>
                  <a:lnTo>
                    <a:pt x="6116" y="4392"/>
                  </a:lnTo>
                  <a:lnTo>
                    <a:pt x="6133" y="4403"/>
                  </a:lnTo>
                  <a:lnTo>
                    <a:pt x="6137" y="4375"/>
                  </a:lnTo>
                  <a:lnTo>
                    <a:pt x="6154" y="4354"/>
                  </a:lnTo>
                  <a:lnTo>
                    <a:pt x="6170" y="4354"/>
                  </a:lnTo>
                  <a:lnTo>
                    <a:pt x="6175" y="4337"/>
                  </a:lnTo>
                  <a:lnTo>
                    <a:pt x="6187" y="4349"/>
                  </a:lnTo>
                  <a:lnTo>
                    <a:pt x="6175" y="4354"/>
                  </a:lnTo>
                  <a:lnTo>
                    <a:pt x="6154" y="4392"/>
                  </a:lnTo>
                  <a:lnTo>
                    <a:pt x="6163" y="4408"/>
                  </a:lnTo>
                  <a:lnTo>
                    <a:pt x="6175" y="4392"/>
                  </a:lnTo>
                  <a:lnTo>
                    <a:pt x="6187" y="4375"/>
                  </a:lnTo>
                  <a:lnTo>
                    <a:pt x="6201" y="4403"/>
                  </a:lnTo>
                  <a:lnTo>
                    <a:pt x="6187" y="4415"/>
                  </a:lnTo>
                  <a:lnTo>
                    <a:pt x="6175" y="4465"/>
                  </a:lnTo>
                  <a:lnTo>
                    <a:pt x="6163" y="4481"/>
                  </a:lnTo>
                  <a:lnTo>
                    <a:pt x="6149" y="4470"/>
                  </a:lnTo>
                  <a:lnTo>
                    <a:pt x="6133" y="4481"/>
                  </a:lnTo>
                  <a:lnTo>
                    <a:pt x="6133" y="4432"/>
                  </a:lnTo>
                  <a:lnTo>
                    <a:pt x="6100" y="4465"/>
                  </a:lnTo>
                  <a:lnTo>
                    <a:pt x="6083" y="4465"/>
                  </a:lnTo>
                  <a:lnTo>
                    <a:pt x="6095" y="4448"/>
                  </a:lnTo>
                  <a:lnTo>
                    <a:pt x="6111" y="4408"/>
                  </a:lnTo>
                  <a:lnTo>
                    <a:pt x="6100" y="4375"/>
                  </a:lnTo>
                  <a:lnTo>
                    <a:pt x="6083" y="4370"/>
                  </a:lnTo>
                  <a:lnTo>
                    <a:pt x="6066" y="4408"/>
                  </a:lnTo>
                  <a:lnTo>
                    <a:pt x="6057" y="4415"/>
                  </a:lnTo>
                  <a:lnTo>
                    <a:pt x="6066" y="4392"/>
                  </a:lnTo>
                  <a:lnTo>
                    <a:pt x="6057" y="4408"/>
                  </a:lnTo>
                  <a:lnTo>
                    <a:pt x="6041" y="4408"/>
                  </a:lnTo>
                  <a:lnTo>
                    <a:pt x="6015" y="4460"/>
                  </a:lnTo>
                  <a:lnTo>
                    <a:pt x="5986" y="4465"/>
                  </a:lnTo>
                  <a:lnTo>
                    <a:pt x="5960" y="4448"/>
                  </a:lnTo>
                  <a:lnTo>
                    <a:pt x="5970" y="4441"/>
                  </a:lnTo>
                  <a:lnTo>
                    <a:pt x="6003" y="4432"/>
                  </a:lnTo>
                  <a:lnTo>
                    <a:pt x="6015" y="4408"/>
                  </a:lnTo>
                  <a:lnTo>
                    <a:pt x="6041" y="4392"/>
                  </a:lnTo>
                  <a:lnTo>
                    <a:pt x="6029" y="4392"/>
                  </a:lnTo>
                  <a:lnTo>
                    <a:pt x="6041" y="4375"/>
                  </a:lnTo>
                  <a:lnTo>
                    <a:pt x="6024" y="4392"/>
                  </a:lnTo>
                  <a:lnTo>
                    <a:pt x="6003" y="4387"/>
                  </a:lnTo>
                  <a:lnTo>
                    <a:pt x="6003" y="4403"/>
                  </a:lnTo>
                  <a:lnTo>
                    <a:pt x="5991" y="4408"/>
                  </a:lnTo>
                  <a:lnTo>
                    <a:pt x="5986" y="4403"/>
                  </a:lnTo>
                  <a:lnTo>
                    <a:pt x="5970" y="4408"/>
                  </a:lnTo>
                  <a:lnTo>
                    <a:pt x="5977" y="4392"/>
                  </a:lnTo>
                  <a:lnTo>
                    <a:pt x="5948" y="4403"/>
                  </a:lnTo>
                  <a:lnTo>
                    <a:pt x="5986" y="4387"/>
                  </a:lnTo>
                  <a:lnTo>
                    <a:pt x="5970" y="4387"/>
                  </a:lnTo>
                  <a:lnTo>
                    <a:pt x="5977" y="4359"/>
                  </a:lnTo>
                  <a:lnTo>
                    <a:pt x="5970" y="4375"/>
                  </a:lnTo>
                  <a:lnTo>
                    <a:pt x="5953" y="4387"/>
                  </a:lnTo>
                  <a:lnTo>
                    <a:pt x="5953" y="4375"/>
                  </a:lnTo>
                  <a:lnTo>
                    <a:pt x="5948" y="4392"/>
                  </a:lnTo>
                  <a:lnTo>
                    <a:pt x="5901" y="4403"/>
                  </a:lnTo>
                  <a:lnTo>
                    <a:pt x="5814" y="4387"/>
                  </a:lnTo>
                  <a:lnTo>
                    <a:pt x="5738" y="4392"/>
                  </a:lnTo>
                  <a:lnTo>
                    <a:pt x="5733" y="4392"/>
                  </a:lnTo>
                  <a:lnTo>
                    <a:pt x="5722" y="4370"/>
                  </a:lnTo>
                  <a:lnTo>
                    <a:pt x="5792" y="4316"/>
                  </a:lnTo>
                  <a:lnTo>
                    <a:pt x="5776" y="4304"/>
                  </a:lnTo>
                  <a:lnTo>
                    <a:pt x="5733" y="4316"/>
                  </a:lnTo>
                  <a:lnTo>
                    <a:pt x="5771" y="4281"/>
                  </a:lnTo>
                  <a:lnTo>
                    <a:pt x="5755" y="4297"/>
                  </a:lnTo>
                  <a:lnTo>
                    <a:pt x="5771" y="4304"/>
                  </a:lnTo>
                  <a:lnTo>
                    <a:pt x="5792" y="4248"/>
                  </a:lnTo>
                  <a:lnTo>
                    <a:pt x="5792" y="4259"/>
                  </a:lnTo>
                  <a:lnTo>
                    <a:pt x="5830" y="4264"/>
                  </a:lnTo>
                  <a:lnTo>
                    <a:pt x="5814" y="4264"/>
                  </a:lnTo>
                  <a:lnTo>
                    <a:pt x="5809" y="4248"/>
                  </a:lnTo>
                  <a:lnTo>
                    <a:pt x="5826" y="4248"/>
                  </a:lnTo>
                  <a:lnTo>
                    <a:pt x="5830" y="4248"/>
                  </a:lnTo>
                  <a:lnTo>
                    <a:pt x="5814" y="4248"/>
                  </a:lnTo>
                  <a:lnTo>
                    <a:pt x="5826" y="4243"/>
                  </a:lnTo>
                  <a:lnTo>
                    <a:pt x="5809" y="4243"/>
                  </a:lnTo>
                  <a:lnTo>
                    <a:pt x="5809" y="4226"/>
                  </a:lnTo>
                  <a:lnTo>
                    <a:pt x="5826" y="4210"/>
                  </a:lnTo>
                  <a:lnTo>
                    <a:pt x="5840" y="4222"/>
                  </a:lnTo>
                  <a:lnTo>
                    <a:pt x="5830" y="4210"/>
                  </a:lnTo>
                  <a:lnTo>
                    <a:pt x="5826" y="4205"/>
                  </a:lnTo>
                  <a:lnTo>
                    <a:pt x="5863" y="4115"/>
                  </a:lnTo>
                  <a:lnTo>
                    <a:pt x="5878" y="4111"/>
                  </a:lnTo>
                  <a:lnTo>
                    <a:pt x="5863" y="4111"/>
                  </a:lnTo>
                  <a:lnTo>
                    <a:pt x="5894" y="4082"/>
                  </a:lnTo>
                  <a:lnTo>
                    <a:pt x="5901" y="4077"/>
                  </a:lnTo>
                  <a:lnTo>
                    <a:pt x="5894" y="4070"/>
                  </a:lnTo>
                  <a:lnTo>
                    <a:pt x="5906" y="4061"/>
                  </a:lnTo>
                  <a:lnTo>
                    <a:pt x="5906" y="4054"/>
                  </a:lnTo>
                  <a:lnTo>
                    <a:pt x="5915" y="4044"/>
                  </a:lnTo>
                  <a:lnTo>
                    <a:pt x="5970" y="4016"/>
                  </a:lnTo>
                  <a:lnTo>
                    <a:pt x="5970" y="4025"/>
                  </a:lnTo>
                  <a:lnTo>
                    <a:pt x="5986" y="4025"/>
                  </a:lnTo>
                  <a:lnTo>
                    <a:pt x="5977" y="4021"/>
                  </a:lnTo>
                  <a:lnTo>
                    <a:pt x="6003" y="4021"/>
                  </a:lnTo>
                  <a:lnTo>
                    <a:pt x="5991" y="4044"/>
                  </a:lnTo>
                  <a:lnTo>
                    <a:pt x="5953" y="4044"/>
                  </a:lnTo>
                  <a:lnTo>
                    <a:pt x="5960" y="4061"/>
                  </a:lnTo>
                  <a:lnTo>
                    <a:pt x="5977" y="4054"/>
                  </a:lnTo>
                  <a:lnTo>
                    <a:pt x="5977" y="4070"/>
                  </a:lnTo>
                  <a:lnTo>
                    <a:pt x="5953" y="4099"/>
                  </a:lnTo>
                  <a:lnTo>
                    <a:pt x="5953" y="4082"/>
                  </a:lnTo>
                  <a:lnTo>
                    <a:pt x="5948" y="4115"/>
                  </a:lnTo>
                  <a:lnTo>
                    <a:pt x="5906" y="4170"/>
                  </a:lnTo>
                  <a:lnTo>
                    <a:pt x="5906" y="4188"/>
                  </a:lnTo>
                  <a:lnTo>
                    <a:pt x="5901" y="4193"/>
                  </a:lnTo>
                  <a:lnTo>
                    <a:pt x="5906" y="4193"/>
                  </a:lnTo>
                  <a:lnTo>
                    <a:pt x="5901" y="4210"/>
                  </a:lnTo>
                  <a:lnTo>
                    <a:pt x="5953" y="4153"/>
                  </a:lnTo>
                  <a:lnTo>
                    <a:pt x="5977" y="4181"/>
                  </a:lnTo>
                  <a:lnTo>
                    <a:pt x="6003" y="4170"/>
                  </a:lnTo>
                  <a:lnTo>
                    <a:pt x="6003" y="4181"/>
                  </a:lnTo>
                  <a:lnTo>
                    <a:pt x="5953" y="4205"/>
                  </a:lnTo>
                  <a:lnTo>
                    <a:pt x="5970" y="4205"/>
                  </a:lnTo>
                  <a:lnTo>
                    <a:pt x="5953" y="4226"/>
                  </a:lnTo>
                  <a:lnTo>
                    <a:pt x="5970" y="4222"/>
                  </a:lnTo>
                  <a:lnTo>
                    <a:pt x="5986" y="4226"/>
                  </a:lnTo>
                  <a:lnTo>
                    <a:pt x="5991" y="4222"/>
                  </a:lnTo>
                  <a:lnTo>
                    <a:pt x="5991" y="4226"/>
                  </a:lnTo>
                  <a:lnTo>
                    <a:pt x="6007" y="4222"/>
                  </a:lnTo>
                  <a:lnTo>
                    <a:pt x="6007" y="4238"/>
                  </a:lnTo>
                  <a:lnTo>
                    <a:pt x="6007" y="4210"/>
                  </a:lnTo>
                  <a:lnTo>
                    <a:pt x="6024" y="4210"/>
                  </a:lnTo>
                  <a:lnTo>
                    <a:pt x="6007" y="4259"/>
                  </a:lnTo>
                  <a:lnTo>
                    <a:pt x="6024" y="4226"/>
                  </a:lnTo>
                  <a:lnTo>
                    <a:pt x="6045" y="4243"/>
                  </a:lnTo>
                  <a:lnTo>
                    <a:pt x="6062" y="4210"/>
                  </a:lnTo>
                  <a:lnTo>
                    <a:pt x="6066" y="4222"/>
                  </a:lnTo>
                  <a:lnTo>
                    <a:pt x="6066" y="4243"/>
                  </a:lnTo>
                  <a:lnTo>
                    <a:pt x="6078" y="4226"/>
                  </a:lnTo>
                  <a:lnTo>
                    <a:pt x="6083" y="4226"/>
                  </a:lnTo>
                  <a:lnTo>
                    <a:pt x="6100" y="4222"/>
                  </a:lnTo>
                  <a:lnTo>
                    <a:pt x="6116" y="4226"/>
                  </a:lnTo>
                  <a:lnTo>
                    <a:pt x="6137" y="4243"/>
                  </a:lnTo>
                  <a:lnTo>
                    <a:pt x="6133" y="4259"/>
                  </a:lnTo>
                  <a:lnTo>
                    <a:pt x="6116" y="4259"/>
                  </a:lnTo>
                  <a:lnTo>
                    <a:pt x="6121" y="4264"/>
                  </a:lnTo>
                  <a:lnTo>
                    <a:pt x="6095" y="4281"/>
                  </a:lnTo>
                  <a:lnTo>
                    <a:pt x="6116" y="4281"/>
                  </a:lnTo>
                  <a:lnTo>
                    <a:pt x="6111" y="4297"/>
                  </a:lnTo>
                  <a:lnTo>
                    <a:pt x="6116" y="4292"/>
                  </a:lnTo>
                  <a:lnTo>
                    <a:pt x="6111" y="4297"/>
                  </a:lnTo>
                  <a:lnTo>
                    <a:pt x="6111" y="4292"/>
                  </a:lnTo>
                  <a:lnTo>
                    <a:pt x="6133" y="4292"/>
                  </a:lnTo>
                  <a:lnTo>
                    <a:pt x="6100" y="4304"/>
                  </a:lnTo>
                  <a:lnTo>
                    <a:pt x="6116" y="4304"/>
                  </a:lnTo>
                  <a:lnTo>
                    <a:pt x="6116" y="4316"/>
                  </a:lnTo>
                  <a:lnTo>
                    <a:pt x="6116" y="4316"/>
                  </a:lnTo>
                  <a:lnTo>
                    <a:pt x="6116" y="4316"/>
                  </a:lnTo>
                  <a:close/>
                  <a:moveTo>
                    <a:pt x="6100" y="4316"/>
                  </a:moveTo>
                  <a:lnTo>
                    <a:pt x="6095" y="4321"/>
                  </a:lnTo>
                  <a:lnTo>
                    <a:pt x="6116" y="4316"/>
                  </a:lnTo>
                  <a:lnTo>
                    <a:pt x="6100" y="4316"/>
                  </a:lnTo>
                  <a:lnTo>
                    <a:pt x="6100" y="4316"/>
                  </a:lnTo>
                  <a:lnTo>
                    <a:pt x="6100" y="4316"/>
                  </a:lnTo>
                  <a:close/>
                  <a:moveTo>
                    <a:pt x="5991" y="4077"/>
                  </a:moveTo>
                  <a:lnTo>
                    <a:pt x="5991" y="4082"/>
                  </a:lnTo>
                  <a:lnTo>
                    <a:pt x="5986" y="4082"/>
                  </a:lnTo>
                  <a:lnTo>
                    <a:pt x="5991" y="4077"/>
                  </a:lnTo>
                  <a:lnTo>
                    <a:pt x="5991" y="4077"/>
                  </a:lnTo>
                  <a:lnTo>
                    <a:pt x="5991" y="4077"/>
                  </a:lnTo>
                  <a:close/>
                  <a:moveTo>
                    <a:pt x="936" y="4082"/>
                  </a:moveTo>
                  <a:lnTo>
                    <a:pt x="936" y="4094"/>
                  </a:lnTo>
                  <a:lnTo>
                    <a:pt x="924" y="4082"/>
                  </a:lnTo>
                  <a:lnTo>
                    <a:pt x="936" y="4082"/>
                  </a:lnTo>
                  <a:lnTo>
                    <a:pt x="936" y="4082"/>
                  </a:lnTo>
                  <a:lnTo>
                    <a:pt x="936" y="4082"/>
                  </a:lnTo>
                  <a:close/>
                  <a:moveTo>
                    <a:pt x="1096" y="4137"/>
                  </a:moveTo>
                  <a:lnTo>
                    <a:pt x="1113" y="4181"/>
                  </a:lnTo>
                  <a:lnTo>
                    <a:pt x="1134" y="4193"/>
                  </a:lnTo>
                  <a:lnTo>
                    <a:pt x="1125" y="4205"/>
                  </a:lnTo>
                  <a:lnTo>
                    <a:pt x="1139" y="4222"/>
                  </a:lnTo>
                  <a:lnTo>
                    <a:pt x="1193" y="4243"/>
                  </a:lnTo>
                  <a:lnTo>
                    <a:pt x="1222" y="4281"/>
                  </a:lnTo>
                  <a:lnTo>
                    <a:pt x="1226" y="4297"/>
                  </a:lnTo>
                  <a:lnTo>
                    <a:pt x="1231" y="4292"/>
                  </a:lnTo>
                  <a:lnTo>
                    <a:pt x="1243" y="4321"/>
                  </a:lnTo>
                  <a:lnTo>
                    <a:pt x="1231" y="4316"/>
                  </a:lnTo>
                  <a:lnTo>
                    <a:pt x="1222" y="4333"/>
                  </a:lnTo>
                  <a:lnTo>
                    <a:pt x="1118" y="4292"/>
                  </a:lnTo>
                  <a:lnTo>
                    <a:pt x="1113" y="4281"/>
                  </a:lnTo>
                  <a:lnTo>
                    <a:pt x="1134" y="4259"/>
                  </a:lnTo>
                  <a:lnTo>
                    <a:pt x="1134" y="4243"/>
                  </a:lnTo>
                  <a:lnTo>
                    <a:pt x="1125" y="4264"/>
                  </a:lnTo>
                  <a:lnTo>
                    <a:pt x="1087" y="4276"/>
                  </a:lnTo>
                  <a:lnTo>
                    <a:pt x="1070" y="4259"/>
                  </a:lnTo>
                  <a:lnTo>
                    <a:pt x="1080" y="4243"/>
                  </a:lnTo>
                  <a:lnTo>
                    <a:pt x="1070" y="4248"/>
                  </a:lnTo>
                  <a:lnTo>
                    <a:pt x="1063" y="4238"/>
                  </a:lnTo>
                  <a:lnTo>
                    <a:pt x="1049" y="4243"/>
                  </a:lnTo>
                  <a:lnTo>
                    <a:pt x="1059" y="4226"/>
                  </a:lnTo>
                  <a:lnTo>
                    <a:pt x="1059" y="4238"/>
                  </a:lnTo>
                  <a:lnTo>
                    <a:pt x="1042" y="4226"/>
                  </a:lnTo>
                  <a:lnTo>
                    <a:pt x="1016" y="4226"/>
                  </a:lnTo>
                  <a:lnTo>
                    <a:pt x="1011" y="4210"/>
                  </a:lnTo>
                  <a:lnTo>
                    <a:pt x="1049" y="4205"/>
                  </a:lnTo>
                  <a:lnTo>
                    <a:pt x="1011" y="4193"/>
                  </a:lnTo>
                  <a:lnTo>
                    <a:pt x="1004" y="4181"/>
                  </a:lnTo>
                  <a:lnTo>
                    <a:pt x="995" y="4181"/>
                  </a:lnTo>
                  <a:lnTo>
                    <a:pt x="974" y="4188"/>
                  </a:lnTo>
                  <a:lnTo>
                    <a:pt x="962" y="4170"/>
                  </a:lnTo>
                  <a:lnTo>
                    <a:pt x="974" y="4165"/>
                  </a:lnTo>
                  <a:lnTo>
                    <a:pt x="957" y="4170"/>
                  </a:lnTo>
                  <a:lnTo>
                    <a:pt x="941" y="4153"/>
                  </a:lnTo>
                  <a:lnTo>
                    <a:pt x="919" y="4165"/>
                  </a:lnTo>
                  <a:lnTo>
                    <a:pt x="924" y="4148"/>
                  </a:lnTo>
                  <a:lnTo>
                    <a:pt x="924" y="4137"/>
                  </a:lnTo>
                  <a:lnTo>
                    <a:pt x="919" y="4137"/>
                  </a:lnTo>
                  <a:lnTo>
                    <a:pt x="919" y="4127"/>
                  </a:lnTo>
                  <a:lnTo>
                    <a:pt x="941" y="4127"/>
                  </a:lnTo>
                  <a:lnTo>
                    <a:pt x="952" y="4132"/>
                  </a:lnTo>
                  <a:lnTo>
                    <a:pt x="941" y="4127"/>
                  </a:lnTo>
                  <a:lnTo>
                    <a:pt x="957" y="4115"/>
                  </a:lnTo>
                  <a:lnTo>
                    <a:pt x="919" y="4111"/>
                  </a:lnTo>
                  <a:lnTo>
                    <a:pt x="941" y="4115"/>
                  </a:lnTo>
                  <a:lnTo>
                    <a:pt x="908" y="4132"/>
                  </a:lnTo>
                  <a:lnTo>
                    <a:pt x="886" y="4115"/>
                  </a:lnTo>
                  <a:lnTo>
                    <a:pt x="886" y="4099"/>
                  </a:lnTo>
                  <a:lnTo>
                    <a:pt x="919" y="4094"/>
                  </a:lnTo>
                  <a:lnTo>
                    <a:pt x="962" y="4111"/>
                  </a:lnTo>
                  <a:lnTo>
                    <a:pt x="1096" y="4137"/>
                  </a:lnTo>
                  <a:lnTo>
                    <a:pt x="1096" y="4137"/>
                  </a:lnTo>
                  <a:lnTo>
                    <a:pt x="1096" y="4137"/>
                  </a:lnTo>
                  <a:close/>
                  <a:moveTo>
                    <a:pt x="995" y="4099"/>
                  </a:moveTo>
                  <a:lnTo>
                    <a:pt x="990" y="4094"/>
                  </a:lnTo>
                  <a:lnTo>
                    <a:pt x="1011" y="4094"/>
                  </a:lnTo>
                  <a:lnTo>
                    <a:pt x="995" y="4099"/>
                  </a:lnTo>
                  <a:lnTo>
                    <a:pt x="995" y="4099"/>
                  </a:lnTo>
                  <a:lnTo>
                    <a:pt x="995" y="4099"/>
                  </a:lnTo>
                  <a:close/>
                  <a:moveTo>
                    <a:pt x="1033" y="4094"/>
                  </a:moveTo>
                  <a:lnTo>
                    <a:pt x="1042" y="4099"/>
                  </a:lnTo>
                  <a:lnTo>
                    <a:pt x="1033" y="4111"/>
                  </a:lnTo>
                  <a:lnTo>
                    <a:pt x="1011" y="4111"/>
                  </a:lnTo>
                  <a:lnTo>
                    <a:pt x="1033" y="4094"/>
                  </a:lnTo>
                  <a:lnTo>
                    <a:pt x="1033" y="4094"/>
                  </a:lnTo>
                  <a:lnTo>
                    <a:pt x="1033" y="4094"/>
                  </a:lnTo>
                  <a:close/>
                  <a:moveTo>
                    <a:pt x="1004" y="4099"/>
                  </a:moveTo>
                  <a:lnTo>
                    <a:pt x="1016" y="4099"/>
                  </a:lnTo>
                  <a:lnTo>
                    <a:pt x="1011" y="4111"/>
                  </a:lnTo>
                  <a:lnTo>
                    <a:pt x="1004" y="4099"/>
                  </a:lnTo>
                  <a:lnTo>
                    <a:pt x="1004" y="4099"/>
                  </a:lnTo>
                  <a:lnTo>
                    <a:pt x="1004" y="4099"/>
                  </a:lnTo>
                  <a:close/>
                  <a:moveTo>
                    <a:pt x="990" y="4115"/>
                  </a:moveTo>
                  <a:lnTo>
                    <a:pt x="974" y="4111"/>
                  </a:lnTo>
                  <a:lnTo>
                    <a:pt x="995" y="4111"/>
                  </a:lnTo>
                  <a:lnTo>
                    <a:pt x="990" y="4115"/>
                  </a:lnTo>
                  <a:lnTo>
                    <a:pt x="990" y="4115"/>
                  </a:lnTo>
                  <a:lnTo>
                    <a:pt x="990" y="4115"/>
                  </a:lnTo>
                  <a:close/>
                  <a:moveTo>
                    <a:pt x="1016" y="4111"/>
                  </a:moveTo>
                  <a:lnTo>
                    <a:pt x="1026" y="4115"/>
                  </a:lnTo>
                  <a:lnTo>
                    <a:pt x="1011" y="4115"/>
                  </a:lnTo>
                  <a:lnTo>
                    <a:pt x="1016" y="4111"/>
                  </a:lnTo>
                  <a:lnTo>
                    <a:pt x="1016" y="4111"/>
                  </a:lnTo>
                  <a:lnTo>
                    <a:pt x="1016" y="4111"/>
                  </a:lnTo>
                  <a:close/>
                  <a:moveTo>
                    <a:pt x="1033" y="4115"/>
                  </a:moveTo>
                  <a:lnTo>
                    <a:pt x="1011" y="4127"/>
                  </a:lnTo>
                  <a:lnTo>
                    <a:pt x="1033" y="4115"/>
                  </a:lnTo>
                  <a:lnTo>
                    <a:pt x="1033" y="4115"/>
                  </a:lnTo>
                  <a:lnTo>
                    <a:pt x="1033" y="4115"/>
                  </a:lnTo>
                  <a:close/>
                  <a:moveTo>
                    <a:pt x="1063" y="4127"/>
                  </a:moveTo>
                  <a:lnTo>
                    <a:pt x="1070" y="4132"/>
                  </a:lnTo>
                  <a:lnTo>
                    <a:pt x="1059" y="4132"/>
                  </a:lnTo>
                  <a:lnTo>
                    <a:pt x="1063" y="4127"/>
                  </a:lnTo>
                  <a:lnTo>
                    <a:pt x="1063" y="4127"/>
                  </a:lnTo>
                  <a:lnTo>
                    <a:pt x="1063" y="4127"/>
                  </a:lnTo>
                  <a:close/>
                  <a:moveTo>
                    <a:pt x="1096" y="4127"/>
                  </a:moveTo>
                  <a:lnTo>
                    <a:pt x="1096" y="4132"/>
                  </a:lnTo>
                  <a:lnTo>
                    <a:pt x="1087" y="4132"/>
                  </a:lnTo>
                  <a:lnTo>
                    <a:pt x="1096" y="4127"/>
                  </a:lnTo>
                  <a:lnTo>
                    <a:pt x="1096" y="4127"/>
                  </a:lnTo>
                  <a:lnTo>
                    <a:pt x="1096" y="4127"/>
                  </a:lnTo>
                  <a:close/>
                  <a:moveTo>
                    <a:pt x="1101" y="4132"/>
                  </a:moveTo>
                  <a:lnTo>
                    <a:pt x="1118" y="4148"/>
                  </a:lnTo>
                  <a:lnTo>
                    <a:pt x="1113" y="4153"/>
                  </a:lnTo>
                  <a:lnTo>
                    <a:pt x="1113" y="4137"/>
                  </a:lnTo>
                  <a:lnTo>
                    <a:pt x="1096" y="4137"/>
                  </a:lnTo>
                  <a:lnTo>
                    <a:pt x="1101" y="4132"/>
                  </a:lnTo>
                  <a:lnTo>
                    <a:pt x="1101" y="4132"/>
                  </a:lnTo>
                  <a:lnTo>
                    <a:pt x="1101" y="4132"/>
                  </a:lnTo>
                  <a:close/>
                  <a:moveTo>
                    <a:pt x="1080" y="4132"/>
                  </a:moveTo>
                  <a:lnTo>
                    <a:pt x="1070" y="4132"/>
                  </a:lnTo>
                  <a:lnTo>
                    <a:pt x="1087" y="4132"/>
                  </a:lnTo>
                  <a:lnTo>
                    <a:pt x="1080" y="4132"/>
                  </a:lnTo>
                  <a:lnTo>
                    <a:pt x="1080" y="4132"/>
                  </a:lnTo>
                  <a:lnTo>
                    <a:pt x="1080" y="4132"/>
                  </a:lnTo>
                  <a:close/>
                  <a:moveTo>
                    <a:pt x="1139" y="4137"/>
                  </a:moveTo>
                  <a:lnTo>
                    <a:pt x="1151" y="4148"/>
                  </a:lnTo>
                  <a:lnTo>
                    <a:pt x="1139" y="4153"/>
                  </a:lnTo>
                  <a:lnTo>
                    <a:pt x="1134" y="4148"/>
                  </a:lnTo>
                  <a:lnTo>
                    <a:pt x="1139" y="4137"/>
                  </a:lnTo>
                  <a:lnTo>
                    <a:pt x="1139" y="4137"/>
                  </a:lnTo>
                  <a:lnTo>
                    <a:pt x="1139" y="4137"/>
                  </a:lnTo>
                  <a:close/>
                  <a:moveTo>
                    <a:pt x="1134" y="4137"/>
                  </a:moveTo>
                  <a:lnTo>
                    <a:pt x="1139" y="4153"/>
                  </a:lnTo>
                  <a:lnTo>
                    <a:pt x="1134" y="4165"/>
                  </a:lnTo>
                  <a:lnTo>
                    <a:pt x="1125" y="4148"/>
                  </a:lnTo>
                  <a:lnTo>
                    <a:pt x="1134" y="4137"/>
                  </a:lnTo>
                  <a:lnTo>
                    <a:pt x="1134" y="4137"/>
                  </a:lnTo>
                  <a:lnTo>
                    <a:pt x="1134" y="4137"/>
                  </a:lnTo>
                  <a:close/>
                  <a:moveTo>
                    <a:pt x="1096" y="4148"/>
                  </a:moveTo>
                  <a:lnTo>
                    <a:pt x="1113" y="4148"/>
                  </a:lnTo>
                  <a:lnTo>
                    <a:pt x="1113" y="4170"/>
                  </a:lnTo>
                  <a:lnTo>
                    <a:pt x="1096" y="4148"/>
                  </a:lnTo>
                  <a:lnTo>
                    <a:pt x="1096" y="4148"/>
                  </a:lnTo>
                  <a:lnTo>
                    <a:pt x="1096" y="4148"/>
                  </a:lnTo>
                  <a:close/>
                  <a:moveTo>
                    <a:pt x="1125" y="4148"/>
                  </a:moveTo>
                  <a:lnTo>
                    <a:pt x="1134" y="4165"/>
                  </a:lnTo>
                  <a:lnTo>
                    <a:pt x="1125" y="4165"/>
                  </a:lnTo>
                  <a:lnTo>
                    <a:pt x="1118" y="4165"/>
                  </a:lnTo>
                  <a:lnTo>
                    <a:pt x="1125" y="4148"/>
                  </a:lnTo>
                  <a:lnTo>
                    <a:pt x="1125" y="4148"/>
                  </a:lnTo>
                  <a:lnTo>
                    <a:pt x="1125" y="4148"/>
                  </a:lnTo>
                  <a:close/>
                  <a:moveTo>
                    <a:pt x="5436" y="4188"/>
                  </a:moveTo>
                  <a:lnTo>
                    <a:pt x="5500" y="4210"/>
                  </a:lnTo>
                  <a:lnTo>
                    <a:pt x="5523" y="4226"/>
                  </a:lnTo>
                  <a:lnTo>
                    <a:pt x="5544" y="4238"/>
                  </a:lnTo>
                  <a:lnTo>
                    <a:pt x="5561" y="4248"/>
                  </a:lnTo>
                  <a:lnTo>
                    <a:pt x="5528" y="4259"/>
                  </a:lnTo>
                  <a:lnTo>
                    <a:pt x="5462" y="4243"/>
                  </a:lnTo>
                  <a:lnTo>
                    <a:pt x="5431" y="4226"/>
                  </a:lnTo>
                  <a:lnTo>
                    <a:pt x="5410" y="4205"/>
                  </a:lnTo>
                  <a:lnTo>
                    <a:pt x="5365" y="4188"/>
                  </a:lnTo>
                  <a:lnTo>
                    <a:pt x="5381" y="4170"/>
                  </a:lnTo>
                  <a:lnTo>
                    <a:pt x="5436" y="4188"/>
                  </a:lnTo>
                  <a:lnTo>
                    <a:pt x="5436" y="4188"/>
                  </a:lnTo>
                  <a:lnTo>
                    <a:pt x="5436" y="4188"/>
                  </a:lnTo>
                  <a:close/>
                  <a:moveTo>
                    <a:pt x="1004" y="4181"/>
                  </a:moveTo>
                  <a:lnTo>
                    <a:pt x="1011" y="4193"/>
                  </a:lnTo>
                  <a:lnTo>
                    <a:pt x="1011" y="4210"/>
                  </a:lnTo>
                  <a:lnTo>
                    <a:pt x="990" y="4193"/>
                  </a:lnTo>
                  <a:lnTo>
                    <a:pt x="990" y="4188"/>
                  </a:lnTo>
                  <a:lnTo>
                    <a:pt x="1004" y="4181"/>
                  </a:lnTo>
                  <a:lnTo>
                    <a:pt x="1004" y="4181"/>
                  </a:lnTo>
                  <a:lnTo>
                    <a:pt x="1004" y="4181"/>
                  </a:lnTo>
                  <a:close/>
                  <a:moveTo>
                    <a:pt x="1189" y="4222"/>
                  </a:moveTo>
                  <a:lnTo>
                    <a:pt x="1151" y="4188"/>
                  </a:lnTo>
                  <a:lnTo>
                    <a:pt x="1172" y="4193"/>
                  </a:lnTo>
                  <a:lnTo>
                    <a:pt x="1189" y="4222"/>
                  </a:lnTo>
                  <a:lnTo>
                    <a:pt x="1189" y="4222"/>
                  </a:lnTo>
                  <a:lnTo>
                    <a:pt x="1189" y="4222"/>
                  </a:lnTo>
                  <a:close/>
                  <a:moveTo>
                    <a:pt x="1193" y="4193"/>
                  </a:moveTo>
                  <a:lnTo>
                    <a:pt x="1189" y="4205"/>
                  </a:lnTo>
                  <a:lnTo>
                    <a:pt x="1177" y="4205"/>
                  </a:lnTo>
                  <a:lnTo>
                    <a:pt x="1193" y="4193"/>
                  </a:lnTo>
                  <a:lnTo>
                    <a:pt x="1193" y="4193"/>
                  </a:lnTo>
                  <a:lnTo>
                    <a:pt x="1193" y="4193"/>
                  </a:lnTo>
                  <a:close/>
                  <a:moveTo>
                    <a:pt x="6095" y="4193"/>
                  </a:moveTo>
                  <a:lnTo>
                    <a:pt x="6100" y="4205"/>
                  </a:lnTo>
                  <a:lnTo>
                    <a:pt x="6078" y="4210"/>
                  </a:lnTo>
                  <a:lnTo>
                    <a:pt x="6078" y="4193"/>
                  </a:lnTo>
                  <a:lnTo>
                    <a:pt x="6095" y="4193"/>
                  </a:lnTo>
                  <a:lnTo>
                    <a:pt x="6095" y="4193"/>
                  </a:lnTo>
                  <a:lnTo>
                    <a:pt x="6095" y="4193"/>
                  </a:lnTo>
                  <a:close/>
                  <a:moveTo>
                    <a:pt x="6062" y="4205"/>
                  </a:moveTo>
                  <a:lnTo>
                    <a:pt x="6041" y="4222"/>
                  </a:lnTo>
                  <a:lnTo>
                    <a:pt x="6041" y="4210"/>
                  </a:lnTo>
                  <a:lnTo>
                    <a:pt x="6045" y="4210"/>
                  </a:lnTo>
                  <a:lnTo>
                    <a:pt x="6062" y="4205"/>
                  </a:lnTo>
                  <a:lnTo>
                    <a:pt x="6062" y="4205"/>
                  </a:lnTo>
                  <a:lnTo>
                    <a:pt x="6062" y="4205"/>
                  </a:lnTo>
                  <a:close/>
                  <a:moveTo>
                    <a:pt x="5986" y="4205"/>
                  </a:moveTo>
                  <a:lnTo>
                    <a:pt x="5991" y="4210"/>
                  </a:lnTo>
                  <a:lnTo>
                    <a:pt x="5977" y="4210"/>
                  </a:lnTo>
                  <a:lnTo>
                    <a:pt x="5986" y="4205"/>
                  </a:lnTo>
                  <a:lnTo>
                    <a:pt x="5986" y="4205"/>
                  </a:lnTo>
                  <a:lnTo>
                    <a:pt x="5986" y="4205"/>
                  </a:lnTo>
                  <a:close/>
                  <a:moveTo>
                    <a:pt x="1243" y="4222"/>
                  </a:moveTo>
                  <a:lnTo>
                    <a:pt x="1231" y="4226"/>
                  </a:lnTo>
                  <a:lnTo>
                    <a:pt x="1231" y="4222"/>
                  </a:lnTo>
                  <a:lnTo>
                    <a:pt x="1243" y="4222"/>
                  </a:lnTo>
                  <a:lnTo>
                    <a:pt x="1243" y="4222"/>
                  </a:lnTo>
                  <a:lnTo>
                    <a:pt x="1243" y="4222"/>
                  </a:lnTo>
                  <a:close/>
                  <a:moveTo>
                    <a:pt x="1042" y="4226"/>
                  </a:moveTo>
                  <a:lnTo>
                    <a:pt x="1049" y="4243"/>
                  </a:lnTo>
                  <a:lnTo>
                    <a:pt x="1033" y="4238"/>
                  </a:lnTo>
                  <a:lnTo>
                    <a:pt x="1033" y="4226"/>
                  </a:lnTo>
                  <a:lnTo>
                    <a:pt x="1042" y="4226"/>
                  </a:lnTo>
                  <a:lnTo>
                    <a:pt x="1042" y="4226"/>
                  </a:lnTo>
                  <a:lnTo>
                    <a:pt x="1042" y="4226"/>
                  </a:lnTo>
                  <a:close/>
                  <a:moveTo>
                    <a:pt x="1063" y="4243"/>
                  </a:moveTo>
                  <a:lnTo>
                    <a:pt x="1063" y="4248"/>
                  </a:lnTo>
                  <a:lnTo>
                    <a:pt x="1059" y="4243"/>
                  </a:lnTo>
                  <a:lnTo>
                    <a:pt x="1063" y="4243"/>
                  </a:lnTo>
                  <a:lnTo>
                    <a:pt x="1063" y="4243"/>
                  </a:lnTo>
                  <a:lnTo>
                    <a:pt x="1063" y="4243"/>
                  </a:lnTo>
                  <a:close/>
                  <a:moveTo>
                    <a:pt x="1205" y="4248"/>
                  </a:moveTo>
                  <a:lnTo>
                    <a:pt x="1210" y="4248"/>
                  </a:lnTo>
                  <a:lnTo>
                    <a:pt x="1205" y="4248"/>
                  </a:lnTo>
                  <a:lnTo>
                    <a:pt x="1205" y="4248"/>
                  </a:lnTo>
                  <a:lnTo>
                    <a:pt x="1205" y="4248"/>
                  </a:lnTo>
                  <a:close/>
                  <a:moveTo>
                    <a:pt x="1222" y="4259"/>
                  </a:moveTo>
                  <a:lnTo>
                    <a:pt x="1243" y="4276"/>
                  </a:lnTo>
                  <a:lnTo>
                    <a:pt x="1226" y="4264"/>
                  </a:lnTo>
                  <a:lnTo>
                    <a:pt x="1222" y="4259"/>
                  </a:lnTo>
                  <a:lnTo>
                    <a:pt x="1222" y="4259"/>
                  </a:lnTo>
                  <a:lnTo>
                    <a:pt x="1222" y="4259"/>
                  </a:lnTo>
                  <a:close/>
                  <a:moveTo>
                    <a:pt x="1226" y="4276"/>
                  </a:moveTo>
                  <a:lnTo>
                    <a:pt x="1231" y="4292"/>
                  </a:lnTo>
                  <a:lnTo>
                    <a:pt x="1226" y="4292"/>
                  </a:lnTo>
                  <a:lnTo>
                    <a:pt x="1226" y="4276"/>
                  </a:lnTo>
                  <a:lnTo>
                    <a:pt x="1226" y="4276"/>
                  </a:lnTo>
                  <a:lnTo>
                    <a:pt x="1226" y="4276"/>
                  </a:lnTo>
                  <a:close/>
                  <a:moveTo>
                    <a:pt x="6133" y="4337"/>
                  </a:moveTo>
                  <a:lnTo>
                    <a:pt x="6133" y="4349"/>
                  </a:lnTo>
                  <a:lnTo>
                    <a:pt x="6121" y="4354"/>
                  </a:lnTo>
                  <a:lnTo>
                    <a:pt x="6111" y="4337"/>
                  </a:lnTo>
                  <a:lnTo>
                    <a:pt x="6133" y="4337"/>
                  </a:lnTo>
                  <a:lnTo>
                    <a:pt x="6133" y="4337"/>
                  </a:lnTo>
                  <a:lnTo>
                    <a:pt x="6133" y="4337"/>
                  </a:lnTo>
                  <a:close/>
                  <a:moveTo>
                    <a:pt x="5365" y="4354"/>
                  </a:moveTo>
                  <a:lnTo>
                    <a:pt x="5365" y="4359"/>
                  </a:lnTo>
                  <a:lnTo>
                    <a:pt x="5360" y="4359"/>
                  </a:lnTo>
                  <a:lnTo>
                    <a:pt x="5365" y="4354"/>
                  </a:lnTo>
                  <a:lnTo>
                    <a:pt x="5365" y="4354"/>
                  </a:lnTo>
                  <a:lnTo>
                    <a:pt x="5365" y="4354"/>
                  </a:lnTo>
                  <a:close/>
                  <a:moveTo>
                    <a:pt x="5365" y="4359"/>
                  </a:moveTo>
                  <a:lnTo>
                    <a:pt x="5360" y="4375"/>
                  </a:lnTo>
                  <a:lnTo>
                    <a:pt x="5355" y="4375"/>
                  </a:lnTo>
                  <a:lnTo>
                    <a:pt x="5355" y="4370"/>
                  </a:lnTo>
                  <a:lnTo>
                    <a:pt x="5365" y="4359"/>
                  </a:lnTo>
                  <a:lnTo>
                    <a:pt x="5365" y="4359"/>
                  </a:lnTo>
                  <a:lnTo>
                    <a:pt x="5365" y="4359"/>
                  </a:lnTo>
                  <a:close/>
                  <a:moveTo>
                    <a:pt x="5970" y="4387"/>
                  </a:moveTo>
                  <a:lnTo>
                    <a:pt x="5970" y="4392"/>
                  </a:lnTo>
                  <a:lnTo>
                    <a:pt x="5953" y="4387"/>
                  </a:lnTo>
                  <a:lnTo>
                    <a:pt x="5970" y="4387"/>
                  </a:lnTo>
                  <a:lnTo>
                    <a:pt x="5970" y="4387"/>
                  </a:lnTo>
                  <a:lnTo>
                    <a:pt x="5970" y="4387"/>
                  </a:lnTo>
                  <a:close/>
                  <a:moveTo>
                    <a:pt x="6095" y="4392"/>
                  </a:moveTo>
                  <a:lnTo>
                    <a:pt x="6083" y="4408"/>
                  </a:lnTo>
                  <a:lnTo>
                    <a:pt x="6078" y="4408"/>
                  </a:lnTo>
                  <a:lnTo>
                    <a:pt x="6095" y="4392"/>
                  </a:lnTo>
                  <a:lnTo>
                    <a:pt x="6095" y="4392"/>
                  </a:lnTo>
                  <a:lnTo>
                    <a:pt x="6095" y="4392"/>
                  </a:lnTo>
                  <a:close/>
                  <a:moveTo>
                    <a:pt x="5582" y="4392"/>
                  </a:moveTo>
                  <a:lnTo>
                    <a:pt x="5570" y="4403"/>
                  </a:lnTo>
                  <a:lnTo>
                    <a:pt x="5544" y="4425"/>
                  </a:lnTo>
                  <a:lnTo>
                    <a:pt x="5554" y="4425"/>
                  </a:lnTo>
                  <a:lnTo>
                    <a:pt x="5537" y="4425"/>
                  </a:lnTo>
                  <a:lnTo>
                    <a:pt x="5544" y="4408"/>
                  </a:lnTo>
                  <a:lnTo>
                    <a:pt x="5582" y="4392"/>
                  </a:lnTo>
                  <a:lnTo>
                    <a:pt x="5582" y="4392"/>
                  </a:lnTo>
                  <a:lnTo>
                    <a:pt x="5582" y="4392"/>
                  </a:lnTo>
                  <a:close/>
                  <a:moveTo>
                    <a:pt x="5523" y="4503"/>
                  </a:moveTo>
                  <a:lnTo>
                    <a:pt x="5500" y="4519"/>
                  </a:lnTo>
                  <a:lnTo>
                    <a:pt x="5507" y="4526"/>
                  </a:lnTo>
                  <a:lnTo>
                    <a:pt x="5507" y="4536"/>
                  </a:lnTo>
                  <a:lnTo>
                    <a:pt x="5485" y="4543"/>
                  </a:lnTo>
                  <a:lnTo>
                    <a:pt x="5474" y="4526"/>
                  </a:lnTo>
                  <a:lnTo>
                    <a:pt x="5462" y="4519"/>
                  </a:lnTo>
                  <a:lnTo>
                    <a:pt x="5474" y="4514"/>
                  </a:lnTo>
                  <a:lnTo>
                    <a:pt x="5452" y="4526"/>
                  </a:lnTo>
                  <a:lnTo>
                    <a:pt x="5419" y="4519"/>
                  </a:lnTo>
                  <a:lnTo>
                    <a:pt x="5415" y="4514"/>
                  </a:lnTo>
                  <a:lnTo>
                    <a:pt x="5415" y="4503"/>
                  </a:lnTo>
                  <a:lnTo>
                    <a:pt x="5393" y="4503"/>
                  </a:lnTo>
                  <a:lnTo>
                    <a:pt x="5393" y="4481"/>
                  </a:lnTo>
                  <a:lnTo>
                    <a:pt x="5377" y="4481"/>
                  </a:lnTo>
                  <a:lnTo>
                    <a:pt x="5365" y="4470"/>
                  </a:lnTo>
                  <a:lnTo>
                    <a:pt x="5398" y="4441"/>
                  </a:lnTo>
                  <a:lnTo>
                    <a:pt x="5398" y="4460"/>
                  </a:lnTo>
                  <a:lnTo>
                    <a:pt x="5393" y="4465"/>
                  </a:lnTo>
                  <a:lnTo>
                    <a:pt x="5415" y="4481"/>
                  </a:lnTo>
                  <a:lnTo>
                    <a:pt x="5415" y="4498"/>
                  </a:lnTo>
                  <a:lnTo>
                    <a:pt x="5419" y="4498"/>
                  </a:lnTo>
                  <a:lnTo>
                    <a:pt x="5419" y="4486"/>
                  </a:lnTo>
                  <a:lnTo>
                    <a:pt x="5452" y="4503"/>
                  </a:lnTo>
                  <a:lnTo>
                    <a:pt x="5544" y="4498"/>
                  </a:lnTo>
                  <a:lnTo>
                    <a:pt x="5523" y="4503"/>
                  </a:lnTo>
                  <a:lnTo>
                    <a:pt x="5523" y="4503"/>
                  </a:lnTo>
                  <a:lnTo>
                    <a:pt x="5523" y="4503"/>
                  </a:lnTo>
                  <a:close/>
                  <a:moveTo>
                    <a:pt x="5608" y="4552"/>
                  </a:moveTo>
                  <a:lnTo>
                    <a:pt x="5599" y="4569"/>
                  </a:lnTo>
                  <a:lnTo>
                    <a:pt x="5625" y="4569"/>
                  </a:lnTo>
                  <a:lnTo>
                    <a:pt x="5646" y="4543"/>
                  </a:lnTo>
                  <a:lnTo>
                    <a:pt x="5651" y="4536"/>
                  </a:lnTo>
                  <a:lnTo>
                    <a:pt x="5629" y="4552"/>
                  </a:lnTo>
                  <a:lnTo>
                    <a:pt x="5625" y="4543"/>
                  </a:lnTo>
                  <a:lnTo>
                    <a:pt x="5663" y="4519"/>
                  </a:lnTo>
                  <a:lnTo>
                    <a:pt x="5637" y="4536"/>
                  </a:lnTo>
                  <a:lnTo>
                    <a:pt x="5663" y="4514"/>
                  </a:lnTo>
                  <a:lnTo>
                    <a:pt x="5689" y="4519"/>
                  </a:lnTo>
                  <a:lnTo>
                    <a:pt x="5689" y="4526"/>
                  </a:lnTo>
                  <a:lnTo>
                    <a:pt x="5689" y="4543"/>
                  </a:lnTo>
                  <a:lnTo>
                    <a:pt x="5667" y="4552"/>
                  </a:lnTo>
                  <a:lnTo>
                    <a:pt x="5663" y="4569"/>
                  </a:lnTo>
                  <a:lnTo>
                    <a:pt x="5646" y="4576"/>
                  </a:lnTo>
                  <a:lnTo>
                    <a:pt x="5599" y="4576"/>
                  </a:lnTo>
                  <a:lnTo>
                    <a:pt x="5582" y="4576"/>
                  </a:lnTo>
                  <a:lnTo>
                    <a:pt x="5575" y="4569"/>
                  </a:lnTo>
                  <a:lnTo>
                    <a:pt x="5575" y="4536"/>
                  </a:lnTo>
                  <a:lnTo>
                    <a:pt x="5575" y="4526"/>
                  </a:lnTo>
                  <a:lnTo>
                    <a:pt x="5592" y="4519"/>
                  </a:lnTo>
                  <a:lnTo>
                    <a:pt x="5637" y="4448"/>
                  </a:lnTo>
                  <a:lnTo>
                    <a:pt x="5646" y="4448"/>
                  </a:lnTo>
                  <a:lnTo>
                    <a:pt x="5646" y="4460"/>
                  </a:lnTo>
                  <a:lnTo>
                    <a:pt x="5663" y="4465"/>
                  </a:lnTo>
                  <a:lnTo>
                    <a:pt x="5637" y="4519"/>
                  </a:lnTo>
                  <a:lnTo>
                    <a:pt x="5651" y="4514"/>
                  </a:lnTo>
                  <a:lnTo>
                    <a:pt x="5637" y="4526"/>
                  </a:lnTo>
                  <a:lnTo>
                    <a:pt x="5599" y="4543"/>
                  </a:lnTo>
                  <a:lnTo>
                    <a:pt x="5629" y="4536"/>
                  </a:lnTo>
                  <a:lnTo>
                    <a:pt x="5625" y="4543"/>
                  </a:lnTo>
                  <a:lnTo>
                    <a:pt x="5608" y="4552"/>
                  </a:lnTo>
                  <a:lnTo>
                    <a:pt x="5613" y="4552"/>
                  </a:lnTo>
                  <a:lnTo>
                    <a:pt x="5608" y="4552"/>
                  </a:lnTo>
                  <a:lnTo>
                    <a:pt x="5608" y="4552"/>
                  </a:lnTo>
                  <a:lnTo>
                    <a:pt x="5608" y="4552"/>
                  </a:lnTo>
                  <a:close/>
                  <a:moveTo>
                    <a:pt x="5613" y="4576"/>
                  </a:moveTo>
                  <a:lnTo>
                    <a:pt x="5608" y="4581"/>
                  </a:lnTo>
                  <a:lnTo>
                    <a:pt x="5599" y="4581"/>
                  </a:lnTo>
                  <a:lnTo>
                    <a:pt x="5613" y="4576"/>
                  </a:lnTo>
                  <a:lnTo>
                    <a:pt x="5613" y="4576"/>
                  </a:lnTo>
                  <a:lnTo>
                    <a:pt x="5613" y="4576"/>
                  </a:lnTo>
                  <a:close/>
                  <a:moveTo>
                    <a:pt x="5204" y="4647"/>
                  </a:moveTo>
                  <a:lnTo>
                    <a:pt x="5204" y="4654"/>
                  </a:lnTo>
                  <a:lnTo>
                    <a:pt x="5200" y="4663"/>
                  </a:lnTo>
                  <a:lnTo>
                    <a:pt x="5204" y="4647"/>
                  </a:lnTo>
                  <a:lnTo>
                    <a:pt x="5204" y="4647"/>
                  </a:lnTo>
                  <a:lnTo>
                    <a:pt x="5204" y="4647"/>
                  </a:lnTo>
                  <a:close/>
                  <a:moveTo>
                    <a:pt x="5679" y="4720"/>
                  </a:moveTo>
                  <a:lnTo>
                    <a:pt x="5700" y="4720"/>
                  </a:lnTo>
                  <a:lnTo>
                    <a:pt x="5689" y="4725"/>
                  </a:lnTo>
                  <a:lnTo>
                    <a:pt x="5679" y="4720"/>
                  </a:lnTo>
                  <a:lnTo>
                    <a:pt x="5679" y="4720"/>
                  </a:lnTo>
                  <a:lnTo>
                    <a:pt x="5679" y="472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2841" name="Gruppieren 2840">
              <a:extLst>
                <a:ext uri="{FF2B5EF4-FFF2-40B4-BE49-F238E27FC236}">
                  <a16:creationId xmlns:a16="http://schemas.microsoft.com/office/drawing/2014/main" id="{31F0A435-64D3-4DFC-B8AC-D2FFD5993DBD}"/>
                </a:ext>
              </a:extLst>
            </p:cNvPr>
            <p:cNvGrpSpPr/>
            <p:nvPr/>
          </p:nvGrpSpPr>
          <p:grpSpPr bwMode="gray">
            <a:xfrm>
              <a:off x="7270750" y="1326268"/>
              <a:ext cx="3727450" cy="2122290"/>
              <a:chOff x="12192000" y="-155575"/>
              <a:chExt cx="5172075" cy="2944813"/>
            </a:xfrm>
            <a:grpFill/>
          </p:grpSpPr>
          <p:sp>
            <p:nvSpPr>
              <p:cNvPr id="2842" name="Freeform 5">
                <a:extLst>
                  <a:ext uri="{FF2B5EF4-FFF2-40B4-BE49-F238E27FC236}">
                    <a16:creationId xmlns:a16="http://schemas.microsoft.com/office/drawing/2014/main" id="{A57C7154-A8A6-443D-93F0-3D4CEED37309}"/>
                  </a:ext>
                </a:extLst>
              </p:cNvPr>
              <p:cNvSpPr>
                <a:spLocks/>
              </p:cNvSpPr>
              <p:nvPr/>
            </p:nvSpPr>
            <p:spPr bwMode="gray">
              <a:xfrm>
                <a:off x="12690475" y="-155575"/>
                <a:ext cx="1763713" cy="1243013"/>
              </a:xfrm>
              <a:custGeom>
                <a:avLst/>
                <a:gdLst>
                  <a:gd name="T0" fmla="*/ 894 w 1111"/>
                  <a:gd name="T1" fmla="*/ 606 h 783"/>
                  <a:gd name="T2" fmla="*/ 986 w 1111"/>
                  <a:gd name="T3" fmla="*/ 611 h 783"/>
                  <a:gd name="T4" fmla="*/ 1099 w 1111"/>
                  <a:gd name="T5" fmla="*/ 724 h 783"/>
                  <a:gd name="T6" fmla="*/ 1097 w 1111"/>
                  <a:gd name="T7" fmla="*/ 760 h 783"/>
                  <a:gd name="T8" fmla="*/ 1050 w 1111"/>
                  <a:gd name="T9" fmla="*/ 748 h 783"/>
                  <a:gd name="T10" fmla="*/ 1031 w 1111"/>
                  <a:gd name="T11" fmla="*/ 686 h 783"/>
                  <a:gd name="T12" fmla="*/ 1007 w 1111"/>
                  <a:gd name="T13" fmla="*/ 665 h 783"/>
                  <a:gd name="T14" fmla="*/ 993 w 1111"/>
                  <a:gd name="T15" fmla="*/ 627 h 783"/>
                  <a:gd name="T16" fmla="*/ 955 w 1111"/>
                  <a:gd name="T17" fmla="*/ 599 h 783"/>
                  <a:gd name="T18" fmla="*/ 932 w 1111"/>
                  <a:gd name="T19" fmla="*/ 599 h 783"/>
                  <a:gd name="T20" fmla="*/ 927 w 1111"/>
                  <a:gd name="T21" fmla="*/ 613 h 783"/>
                  <a:gd name="T22" fmla="*/ 889 w 1111"/>
                  <a:gd name="T23" fmla="*/ 618 h 783"/>
                  <a:gd name="T24" fmla="*/ 842 w 1111"/>
                  <a:gd name="T25" fmla="*/ 575 h 783"/>
                  <a:gd name="T26" fmla="*/ 771 w 1111"/>
                  <a:gd name="T27" fmla="*/ 559 h 783"/>
                  <a:gd name="T28" fmla="*/ 646 w 1111"/>
                  <a:gd name="T29" fmla="*/ 523 h 783"/>
                  <a:gd name="T30" fmla="*/ 618 w 1111"/>
                  <a:gd name="T31" fmla="*/ 514 h 783"/>
                  <a:gd name="T32" fmla="*/ 573 w 1111"/>
                  <a:gd name="T33" fmla="*/ 514 h 783"/>
                  <a:gd name="T34" fmla="*/ 590 w 1111"/>
                  <a:gd name="T35" fmla="*/ 538 h 783"/>
                  <a:gd name="T36" fmla="*/ 545 w 1111"/>
                  <a:gd name="T37" fmla="*/ 568 h 783"/>
                  <a:gd name="T38" fmla="*/ 502 w 1111"/>
                  <a:gd name="T39" fmla="*/ 590 h 783"/>
                  <a:gd name="T40" fmla="*/ 491 w 1111"/>
                  <a:gd name="T41" fmla="*/ 538 h 783"/>
                  <a:gd name="T42" fmla="*/ 547 w 1111"/>
                  <a:gd name="T43" fmla="*/ 488 h 783"/>
                  <a:gd name="T44" fmla="*/ 450 w 1111"/>
                  <a:gd name="T45" fmla="*/ 545 h 783"/>
                  <a:gd name="T46" fmla="*/ 427 w 1111"/>
                  <a:gd name="T47" fmla="*/ 575 h 783"/>
                  <a:gd name="T48" fmla="*/ 403 w 1111"/>
                  <a:gd name="T49" fmla="*/ 632 h 783"/>
                  <a:gd name="T50" fmla="*/ 349 w 1111"/>
                  <a:gd name="T51" fmla="*/ 667 h 783"/>
                  <a:gd name="T52" fmla="*/ 302 w 1111"/>
                  <a:gd name="T53" fmla="*/ 705 h 783"/>
                  <a:gd name="T54" fmla="*/ 278 w 1111"/>
                  <a:gd name="T55" fmla="*/ 726 h 783"/>
                  <a:gd name="T56" fmla="*/ 224 w 1111"/>
                  <a:gd name="T57" fmla="*/ 752 h 783"/>
                  <a:gd name="T58" fmla="*/ 179 w 1111"/>
                  <a:gd name="T59" fmla="*/ 764 h 783"/>
                  <a:gd name="T60" fmla="*/ 153 w 1111"/>
                  <a:gd name="T61" fmla="*/ 776 h 783"/>
                  <a:gd name="T62" fmla="*/ 163 w 1111"/>
                  <a:gd name="T63" fmla="*/ 752 h 783"/>
                  <a:gd name="T64" fmla="*/ 278 w 1111"/>
                  <a:gd name="T65" fmla="*/ 684 h 783"/>
                  <a:gd name="T66" fmla="*/ 309 w 1111"/>
                  <a:gd name="T67" fmla="*/ 627 h 783"/>
                  <a:gd name="T68" fmla="*/ 276 w 1111"/>
                  <a:gd name="T69" fmla="*/ 606 h 783"/>
                  <a:gd name="T70" fmla="*/ 231 w 1111"/>
                  <a:gd name="T71" fmla="*/ 604 h 783"/>
                  <a:gd name="T72" fmla="*/ 189 w 1111"/>
                  <a:gd name="T73" fmla="*/ 580 h 783"/>
                  <a:gd name="T74" fmla="*/ 118 w 1111"/>
                  <a:gd name="T75" fmla="*/ 566 h 783"/>
                  <a:gd name="T76" fmla="*/ 108 w 1111"/>
                  <a:gd name="T77" fmla="*/ 533 h 783"/>
                  <a:gd name="T78" fmla="*/ 99 w 1111"/>
                  <a:gd name="T79" fmla="*/ 507 h 783"/>
                  <a:gd name="T80" fmla="*/ 75 w 1111"/>
                  <a:gd name="T81" fmla="*/ 507 h 783"/>
                  <a:gd name="T82" fmla="*/ 75 w 1111"/>
                  <a:gd name="T83" fmla="*/ 474 h 783"/>
                  <a:gd name="T84" fmla="*/ 106 w 1111"/>
                  <a:gd name="T85" fmla="*/ 415 h 783"/>
                  <a:gd name="T86" fmla="*/ 210 w 1111"/>
                  <a:gd name="T87" fmla="*/ 363 h 783"/>
                  <a:gd name="T88" fmla="*/ 163 w 1111"/>
                  <a:gd name="T89" fmla="*/ 351 h 783"/>
                  <a:gd name="T90" fmla="*/ 99 w 1111"/>
                  <a:gd name="T91" fmla="*/ 351 h 783"/>
                  <a:gd name="T92" fmla="*/ 23 w 1111"/>
                  <a:gd name="T93" fmla="*/ 306 h 783"/>
                  <a:gd name="T94" fmla="*/ 75 w 1111"/>
                  <a:gd name="T95" fmla="*/ 269 h 783"/>
                  <a:gd name="T96" fmla="*/ 186 w 1111"/>
                  <a:gd name="T97" fmla="*/ 278 h 783"/>
                  <a:gd name="T98" fmla="*/ 160 w 1111"/>
                  <a:gd name="T99" fmla="*/ 231 h 783"/>
                  <a:gd name="T100" fmla="*/ 196 w 1111"/>
                  <a:gd name="T101" fmla="*/ 247 h 783"/>
                  <a:gd name="T102" fmla="*/ 38 w 1111"/>
                  <a:gd name="T103" fmla="*/ 155 h 783"/>
                  <a:gd name="T104" fmla="*/ 186 w 1111"/>
                  <a:gd name="T105" fmla="*/ 56 h 783"/>
                  <a:gd name="T106" fmla="*/ 240 w 1111"/>
                  <a:gd name="T107" fmla="*/ 40 h 783"/>
                  <a:gd name="T108" fmla="*/ 368 w 1111"/>
                  <a:gd name="T109" fmla="*/ 11 h 783"/>
                  <a:gd name="T110" fmla="*/ 389 w 1111"/>
                  <a:gd name="T111" fmla="*/ 11 h 783"/>
                  <a:gd name="T112" fmla="*/ 469 w 1111"/>
                  <a:gd name="T113" fmla="*/ 47 h 783"/>
                  <a:gd name="T114" fmla="*/ 675 w 1111"/>
                  <a:gd name="T115" fmla="*/ 75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11" h="783">
                    <a:moveTo>
                      <a:pt x="790" y="92"/>
                    </a:moveTo>
                    <a:lnTo>
                      <a:pt x="790" y="545"/>
                    </a:lnTo>
                    <a:lnTo>
                      <a:pt x="807" y="545"/>
                    </a:lnTo>
                    <a:lnTo>
                      <a:pt x="807" y="545"/>
                    </a:lnTo>
                    <a:lnTo>
                      <a:pt x="819" y="549"/>
                    </a:lnTo>
                    <a:lnTo>
                      <a:pt x="828" y="545"/>
                    </a:lnTo>
                    <a:lnTo>
                      <a:pt x="849" y="538"/>
                    </a:lnTo>
                    <a:lnTo>
                      <a:pt x="844" y="552"/>
                    </a:lnTo>
                    <a:lnTo>
                      <a:pt x="859" y="559"/>
                    </a:lnTo>
                    <a:lnTo>
                      <a:pt x="861" y="566"/>
                    </a:lnTo>
                    <a:lnTo>
                      <a:pt x="889" y="590"/>
                    </a:lnTo>
                    <a:lnTo>
                      <a:pt x="894" y="606"/>
                    </a:lnTo>
                    <a:lnTo>
                      <a:pt x="911" y="592"/>
                    </a:lnTo>
                    <a:lnTo>
                      <a:pt x="918" y="592"/>
                    </a:lnTo>
                    <a:lnTo>
                      <a:pt x="920" y="590"/>
                    </a:lnTo>
                    <a:lnTo>
                      <a:pt x="920" y="580"/>
                    </a:lnTo>
                    <a:lnTo>
                      <a:pt x="927" y="580"/>
                    </a:lnTo>
                    <a:lnTo>
                      <a:pt x="925" y="575"/>
                    </a:lnTo>
                    <a:lnTo>
                      <a:pt x="951" y="566"/>
                    </a:lnTo>
                    <a:lnTo>
                      <a:pt x="965" y="575"/>
                    </a:lnTo>
                    <a:lnTo>
                      <a:pt x="962" y="583"/>
                    </a:lnTo>
                    <a:lnTo>
                      <a:pt x="965" y="590"/>
                    </a:lnTo>
                    <a:lnTo>
                      <a:pt x="984" y="597"/>
                    </a:lnTo>
                    <a:lnTo>
                      <a:pt x="986" y="611"/>
                    </a:lnTo>
                    <a:lnTo>
                      <a:pt x="998" y="611"/>
                    </a:lnTo>
                    <a:lnTo>
                      <a:pt x="1010" y="625"/>
                    </a:lnTo>
                    <a:lnTo>
                      <a:pt x="1014" y="632"/>
                    </a:lnTo>
                    <a:lnTo>
                      <a:pt x="1045" y="679"/>
                    </a:lnTo>
                    <a:lnTo>
                      <a:pt x="1045" y="684"/>
                    </a:lnTo>
                    <a:lnTo>
                      <a:pt x="1052" y="686"/>
                    </a:lnTo>
                    <a:lnTo>
                      <a:pt x="1050" y="693"/>
                    </a:lnTo>
                    <a:lnTo>
                      <a:pt x="1054" y="698"/>
                    </a:lnTo>
                    <a:lnTo>
                      <a:pt x="1059" y="703"/>
                    </a:lnTo>
                    <a:lnTo>
                      <a:pt x="1066" y="703"/>
                    </a:lnTo>
                    <a:lnTo>
                      <a:pt x="1087" y="712"/>
                    </a:lnTo>
                    <a:lnTo>
                      <a:pt x="1099" y="724"/>
                    </a:lnTo>
                    <a:lnTo>
                      <a:pt x="1106" y="724"/>
                    </a:lnTo>
                    <a:lnTo>
                      <a:pt x="1111" y="734"/>
                    </a:lnTo>
                    <a:lnTo>
                      <a:pt x="1106" y="741"/>
                    </a:lnTo>
                    <a:lnTo>
                      <a:pt x="1111" y="760"/>
                    </a:lnTo>
                    <a:lnTo>
                      <a:pt x="1099" y="776"/>
                    </a:lnTo>
                    <a:lnTo>
                      <a:pt x="1090" y="783"/>
                    </a:lnTo>
                    <a:lnTo>
                      <a:pt x="1087" y="774"/>
                    </a:lnTo>
                    <a:lnTo>
                      <a:pt x="1087" y="778"/>
                    </a:lnTo>
                    <a:lnTo>
                      <a:pt x="1085" y="783"/>
                    </a:lnTo>
                    <a:lnTo>
                      <a:pt x="1080" y="774"/>
                    </a:lnTo>
                    <a:lnTo>
                      <a:pt x="1090" y="767"/>
                    </a:lnTo>
                    <a:lnTo>
                      <a:pt x="1097" y="760"/>
                    </a:lnTo>
                    <a:lnTo>
                      <a:pt x="1090" y="767"/>
                    </a:lnTo>
                    <a:lnTo>
                      <a:pt x="1080" y="767"/>
                    </a:lnTo>
                    <a:lnTo>
                      <a:pt x="1085" y="760"/>
                    </a:lnTo>
                    <a:lnTo>
                      <a:pt x="1095" y="760"/>
                    </a:lnTo>
                    <a:lnTo>
                      <a:pt x="1085" y="760"/>
                    </a:lnTo>
                    <a:lnTo>
                      <a:pt x="1085" y="743"/>
                    </a:lnTo>
                    <a:lnTo>
                      <a:pt x="1078" y="734"/>
                    </a:lnTo>
                    <a:lnTo>
                      <a:pt x="1080" y="726"/>
                    </a:lnTo>
                    <a:lnTo>
                      <a:pt x="1054" y="736"/>
                    </a:lnTo>
                    <a:lnTo>
                      <a:pt x="1059" y="736"/>
                    </a:lnTo>
                    <a:lnTo>
                      <a:pt x="1052" y="750"/>
                    </a:lnTo>
                    <a:lnTo>
                      <a:pt x="1050" y="748"/>
                    </a:lnTo>
                    <a:lnTo>
                      <a:pt x="1045" y="741"/>
                    </a:lnTo>
                    <a:lnTo>
                      <a:pt x="1052" y="729"/>
                    </a:lnTo>
                    <a:lnTo>
                      <a:pt x="1052" y="724"/>
                    </a:lnTo>
                    <a:lnTo>
                      <a:pt x="1059" y="719"/>
                    </a:lnTo>
                    <a:lnTo>
                      <a:pt x="1045" y="705"/>
                    </a:lnTo>
                    <a:lnTo>
                      <a:pt x="1045" y="703"/>
                    </a:lnTo>
                    <a:lnTo>
                      <a:pt x="1038" y="703"/>
                    </a:lnTo>
                    <a:lnTo>
                      <a:pt x="1045" y="693"/>
                    </a:lnTo>
                    <a:lnTo>
                      <a:pt x="1038" y="698"/>
                    </a:lnTo>
                    <a:lnTo>
                      <a:pt x="1031" y="693"/>
                    </a:lnTo>
                    <a:lnTo>
                      <a:pt x="1028" y="691"/>
                    </a:lnTo>
                    <a:lnTo>
                      <a:pt x="1031" y="686"/>
                    </a:lnTo>
                    <a:lnTo>
                      <a:pt x="1031" y="684"/>
                    </a:lnTo>
                    <a:lnTo>
                      <a:pt x="1028" y="686"/>
                    </a:lnTo>
                    <a:lnTo>
                      <a:pt x="1021" y="684"/>
                    </a:lnTo>
                    <a:lnTo>
                      <a:pt x="1017" y="682"/>
                    </a:lnTo>
                    <a:lnTo>
                      <a:pt x="1014" y="684"/>
                    </a:lnTo>
                    <a:lnTo>
                      <a:pt x="1007" y="682"/>
                    </a:lnTo>
                    <a:lnTo>
                      <a:pt x="1010" y="675"/>
                    </a:lnTo>
                    <a:lnTo>
                      <a:pt x="1021" y="672"/>
                    </a:lnTo>
                    <a:lnTo>
                      <a:pt x="1010" y="675"/>
                    </a:lnTo>
                    <a:lnTo>
                      <a:pt x="1007" y="667"/>
                    </a:lnTo>
                    <a:lnTo>
                      <a:pt x="1014" y="660"/>
                    </a:lnTo>
                    <a:lnTo>
                      <a:pt x="1007" y="665"/>
                    </a:lnTo>
                    <a:lnTo>
                      <a:pt x="1005" y="658"/>
                    </a:lnTo>
                    <a:lnTo>
                      <a:pt x="1024" y="665"/>
                    </a:lnTo>
                    <a:lnTo>
                      <a:pt x="1007" y="656"/>
                    </a:lnTo>
                    <a:lnTo>
                      <a:pt x="1007" y="649"/>
                    </a:lnTo>
                    <a:lnTo>
                      <a:pt x="1021" y="651"/>
                    </a:lnTo>
                    <a:lnTo>
                      <a:pt x="1007" y="649"/>
                    </a:lnTo>
                    <a:lnTo>
                      <a:pt x="1005" y="656"/>
                    </a:lnTo>
                    <a:lnTo>
                      <a:pt x="1000" y="644"/>
                    </a:lnTo>
                    <a:lnTo>
                      <a:pt x="1005" y="637"/>
                    </a:lnTo>
                    <a:lnTo>
                      <a:pt x="998" y="644"/>
                    </a:lnTo>
                    <a:lnTo>
                      <a:pt x="993" y="642"/>
                    </a:lnTo>
                    <a:lnTo>
                      <a:pt x="993" y="627"/>
                    </a:lnTo>
                    <a:lnTo>
                      <a:pt x="1000" y="620"/>
                    </a:lnTo>
                    <a:lnTo>
                      <a:pt x="993" y="620"/>
                    </a:lnTo>
                    <a:lnTo>
                      <a:pt x="986" y="634"/>
                    </a:lnTo>
                    <a:lnTo>
                      <a:pt x="972" y="627"/>
                    </a:lnTo>
                    <a:lnTo>
                      <a:pt x="965" y="613"/>
                    </a:lnTo>
                    <a:lnTo>
                      <a:pt x="965" y="611"/>
                    </a:lnTo>
                    <a:lnTo>
                      <a:pt x="962" y="611"/>
                    </a:lnTo>
                    <a:lnTo>
                      <a:pt x="960" y="611"/>
                    </a:lnTo>
                    <a:lnTo>
                      <a:pt x="953" y="590"/>
                    </a:lnTo>
                    <a:lnTo>
                      <a:pt x="955" y="580"/>
                    </a:lnTo>
                    <a:lnTo>
                      <a:pt x="953" y="590"/>
                    </a:lnTo>
                    <a:lnTo>
                      <a:pt x="955" y="599"/>
                    </a:lnTo>
                    <a:lnTo>
                      <a:pt x="951" y="592"/>
                    </a:lnTo>
                    <a:lnTo>
                      <a:pt x="960" y="613"/>
                    </a:lnTo>
                    <a:lnTo>
                      <a:pt x="962" y="627"/>
                    </a:lnTo>
                    <a:lnTo>
                      <a:pt x="962" y="634"/>
                    </a:lnTo>
                    <a:lnTo>
                      <a:pt x="955" y="634"/>
                    </a:lnTo>
                    <a:lnTo>
                      <a:pt x="951" y="625"/>
                    </a:lnTo>
                    <a:lnTo>
                      <a:pt x="939" y="627"/>
                    </a:lnTo>
                    <a:lnTo>
                      <a:pt x="939" y="620"/>
                    </a:lnTo>
                    <a:lnTo>
                      <a:pt x="934" y="611"/>
                    </a:lnTo>
                    <a:lnTo>
                      <a:pt x="944" y="606"/>
                    </a:lnTo>
                    <a:lnTo>
                      <a:pt x="934" y="606"/>
                    </a:lnTo>
                    <a:lnTo>
                      <a:pt x="932" y="599"/>
                    </a:lnTo>
                    <a:lnTo>
                      <a:pt x="934" y="611"/>
                    </a:lnTo>
                    <a:lnTo>
                      <a:pt x="927" y="611"/>
                    </a:lnTo>
                    <a:lnTo>
                      <a:pt x="918" y="604"/>
                    </a:lnTo>
                    <a:lnTo>
                      <a:pt x="915" y="606"/>
                    </a:lnTo>
                    <a:lnTo>
                      <a:pt x="906" y="599"/>
                    </a:lnTo>
                    <a:lnTo>
                      <a:pt x="908" y="606"/>
                    </a:lnTo>
                    <a:lnTo>
                      <a:pt x="903" y="611"/>
                    </a:lnTo>
                    <a:lnTo>
                      <a:pt x="908" y="606"/>
                    </a:lnTo>
                    <a:lnTo>
                      <a:pt x="918" y="611"/>
                    </a:lnTo>
                    <a:lnTo>
                      <a:pt x="920" y="611"/>
                    </a:lnTo>
                    <a:lnTo>
                      <a:pt x="918" y="611"/>
                    </a:lnTo>
                    <a:lnTo>
                      <a:pt x="927" y="613"/>
                    </a:lnTo>
                    <a:lnTo>
                      <a:pt x="920" y="618"/>
                    </a:lnTo>
                    <a:lnTo>
                      <a:pt x="927" y="613"/>
                    </a:lnTo>
                    <a:lnTo>
                      <a:pt x="934" y="627"/>
                    </a:lnTo>
                    <a:lnTo>
                      <a:pt x="927" y="632"/>
                    </a:lnTo>
                    <a:lnTo>
                      <a:pt x="920" y="625"/>
                    </a:lnTo>
                    <a:lnTo>
                      <a:pt x="920" y="627"/>
                    </a:lnTo>
                    <a:lnTo>
                      <a:pt x="925" y="632"/>
                    </a:lnTo>
                    <a:lnTo>
                      <a:pt x="918" y="627"/>
                    </a:lnTo>
                    <a:lnTo>
                      <a:pt x="920" y="632"/>
                    </a:lnTo>
                    <a:lnTo>
                      <a:pt x="918" y="634"/>
                    </a:lnTo>
                    <a:lnTo>
                      <a:pt x="911" y="627"/>
                    </a:lnTo>
                    <a:lnTo>
                      <a:pt x="889" y="618"/>
                    </a:lnTo>
                    <a:lnTo>
                      <a:pt x="894" y="613"/>
                    </a:lnTo>
                    <a:lnTo>
                      <a:pt x="887" y="613"/>
                    </a:lnTo>
                    <a:lnTo>
                      <a:pt x="873" y="599"/>
                    </a:lnTo>
                    <a:lnTo>
                      <a:pt x="861" y="597"/>
                    </a:lnTo>
                    <a:lnTo>
                      <a:pt x="866" y="592"/>
                    </a:lnTo>
                    <a:lnTo>
                      <a:pt x="861" y="597"/>
                    </a:lnTo>
                    <a:lnTo>
                      <a:pt x="828" y="580"/>
                    </a:lnTo>
                    <a:lnTo>
                      <a:pt x="835" y="573"/>
                    </a:lnTo>
                    <a:lnTo>
                      <a:pt x="830" y="561"/>
                    </a:lnTo>
                    <a:lnTo>
                      <a:pt x="835" y="557"/>
                    </a:lnTo>
                    <a:lnTo>
                      <a:pt x="837" y="561"/>
                    </a:lnTo>
                    <a:lnTo>
                      <a:pt x="842" y="575"/>
                    </a:lnTo>
                    <a:lnTo>
                      <a:pt x="842" y="573"/>
                    </a:lnTo>
                    <a:lnTo>
                      <a:pt x="842" y="566"/>
                    </a:lnTo>
                    <a:lnTo>
                      <a:pt x="852" y="566"/>
                    </a:lnTo>
                    <a:lnTo>
                      <a:pt x="835" y="557"/>
                    </a:lnTo>
                    <a:lnTo>
                      <a:pt x="821" y="566"/>
                    </a:lnTo>
                    <a:lnTo>
                      <a:pt x="809" y="568"/>
                    </a:lnTo>
                    <a:lnTo>
                      <a:pt x="781" y="561"/>
                    </a:lnTo>
                    <a:lnTo>
                      <a:pt x="783" y="557"/>
                    </a:lnTo>
                    <a:lnTo>
                      <a:pt x="781" y="549"/>
                    </a:lnTo>
                    <a:lnTo>
                      <a:pt x="778" y="552"/>
                    </a:lnTo>
                    <a:lnTo>
                      <a:pt x="781" y="557"/>
                    </a:lnTo>
                    <a:lnTo>
                      <a:pt x="771" y="559"/>
                    </a:lnTo>
                    <a:lnTo>
                      <a:pt x="741" y="552"/>
                    </a:lnTo>
                    <a:lnTo>
                      <a:pt x="708" y="557"/>
                    </a:lnTo>
                    <a:lnTo>
                      <a:pt x="696" y="549"/>
                    </a:lnTo>
                    <a:lnTo>
                      <a:pt x="686" y="549"/>
                    </a:lnTo>
                    <a:lnTo>
                      <a:pt x="675" y="545"/>
                    </a:lnTo>
                    <a:lnTo>
                      <a:pt x="682" y="531"/>
                    </a:lnTo>
                    <a:lnTo>
                      <a:pt x="686" y="523"/>
                    </a:lnTo>
                    <a:lnTo>
                      <a:pt x="665" y="538"/>
                    </a:lnTo>
                    <a:lnTo>
                      <a:pt x="649" y="533"/>
                    </a:lnTo>
                    <a:lnTo>
                      <a:pt x="656" y="528"/>
                    </a:lnTo>
                    <a:lnTo>
                      <a:pt x="637" y="528"/>
                    </a:lnTo>
                    <a:lnTo>
                      <a:pt x="646" y="523"/>
                    </a:lnTo>
                    <a:lnTo>
                      <a:pt x="642" y="521"/>
                    </a:lnTo>
                    <a:lnTo>
                      <a:pt x="627" y="528"/>
                    </a:lnTo>
                    <a:lnTo>
                      <a:pt x="625" y="523"/>
                    </a:lnTo>
                    <a:lnTo>
                      <a:pt x="642" y="521"/>
                    </a:lnTo>
                    <a:lnTo>
                      <a:pt x="642" y="514"/>
                    </a:lnTo>
                    <a:lnTo>
                      <a:pt x="630" y="521"/>
                    </a:lnTo>
                    <a:lnTo>
                      <a:pt x="625" y="514"/>
                    </a:lnTo>
                    <a:lnTo>
                      <a:pt x="627" y="507"/>
                    </a:lnTo>
                    <a:lnTo>
                      <a:pt x="642" y="507"/>
                    </a:lnTo>
                    <a:lnTo>
                      <a:pt x="637" y="507"/>
                    </a:lnTo>
                    <a:lnTo>
                      <a:pt x="627" y="507"/>
                    </a:lnTo>
                    <a:lnTo>
                      <a:pt x="618" y="514"/>
                    </a:lnTo>
                    <a:lnTo>
                      <a:pt x="613" y="512"/>
                    </a:lnTo>
                    <a:lnTo>
                      <a:pt x="606" y="514"/>
                    </a:lnTo>
                    <a:lnTo>
                      <a:pt x="601" y="514"/>
                    </a:lnTo>
                    <a:lnTo>
                      <a:pt x="601" y="505"/>
                    </a:lnTo>
                    <a:lnTo>
                      <a:pt x="599" y="514"/>
                    </a:lnTo>
                    <a:lnTo>
                      <a:pt x="592" y="521"/>
                    </a:lnTo>
                    <a:lnTo>
                      <a:pt x="585" y="514"/>
                    </a:lnTo>
                    <a:lnTo>
                      <a:pt x="594" y="500"/>
                    </a:lnTo>
                    <a:lnTo>
                      <a:pt x="585" y="512"/>
                    </a:lnTo>
                    <a:lnTo>
                      <a:pt x="583" y="507"/>
                    </a:lnTo>
                    <a:lnTo>
                      <a:pt x="575" y="512"/>
                    </a:lnTo>
                    <a:lnTo>
                      <a:pt x="573" y="514"/>
                    </a:lnTo>
                    <a:lnTo>
                      <a:pt x="583" y="512"/>
                    </a:lnTo>
                    <a:lnTo>
                      <a:pt x="575" y="521"/>
                    </a:lnTo>
                    <a:lnTo>
                      <a:pt x="566" y="521"/>
                    </a:lnTo>
                    <a:lnTo>
                      <a:pt x="573" y="521"/>
                    </a:lnTo>
                    <a:lnTo>
                      <a:pt x="566" y="528"/>
                    </a:lnTo>
                    <a:lnTo>
                      <a:pt x="580" y="523"/>
                    </a:lnTo>
                    <a:lnTo>
                      <a:pt x="583" y="531"/>
                    </a:lnTo>
                    <a:lnTo>
                      <a:pt x="566" y="538"/>
                    </a:lnTo>
                    <a:lnTo>
                      <a:pt x="573" y="533"/>
                    </a:lnTo>
                    <a:lnTo>
                      <a:pt x="580" y="538"/>
                    </a:lnTo>
                    <a:lnTo>
                      <a:pt x="585" y="531"/>
                    </a:lnTo>
                    <a:lnTo>
                      <a:pt x="590" y="538"/>
                    </a:lnTo>
                    <a:lnTo>
                      <a:pt x="575" y="549"/>
                    </a:lnTo>
                    <a:lnTo>
                      <a:pt x="585" y="545"/>
                    </a:lnTo>
                    <a:lnTo>
                      <a:pt x="580" y="552"/>
                    </a:lnTo>
                    <a:lnTo>
                      <a:pt x="580" y="549"/>
                    </a:lnTo>
                    <a:lnTo>
                      <a:pt x="575" y="559"/>
                    </a:lnTo>
                    <a:lnTo>
                      <a:pt x="559" y="559"/>
                    </a:lnTo>
                    <a:lnTo>
                      <a:pt x="559" y="552"/>
                    </a:lnTo>
                    <a:lnTo>
                      <a:pt x="552" y="561"/>
                    </a:lnTo>
                    <a:lnTo>
                      <a:pt x="552" y="557"/>
                    </a:lnTo>
                    <a:lnTo>
                      <a:pt x="547" y="552"/>
                    </a:lnTo>
                    <a:lnTo>
                      <a:pt x="540" y="566"/>
                    </a:lnTo>
                    <a:lnTo>
                      <a:pt x="545" y="568"/>
                    </a:lnTo>
                    <a:lnTo>
                      <a:pt x="538" y="559"/>
                    </a:lnTo>
                    <a:lnTo>
                      <a:pt x="538" y="573"/>
                    </a:lnTo>
                    <a:lnTo>
                      <a:pt x="528" y="566"/>
                    </a:lnTo>
                    <a:lnTo>
                      <a:pt x="531" y="568"/>
                    </a:lnTo>
                    <a:lnTo>
                      <a:pt x="528" y="573"/>
                    </a:lnTo>
                    <a:lnTo>
                      <a:pt x="517" y="580"/>
                    </a:lnTo>
                    <a:lnTo>
                      <a:pt x="521" y="568"/>
                    </a:lnTo>
                    <a:lnTo>
                      <a:pt x="514" y="580"/>
                    </a:lnTo>
                    <a:lnTo>
                      <a:pt x="514" y="575"/>
                    </a:lnTo>
                    <a:lnTo>
                      <a:pt x="514" y="580"/>
                    </a:lnTo>
                    <a:lnTo>
                      <a:pt x="514" y="583"/>
                    </a:lnTo>
                    <a:lnTo>
                      <a:pt x="502" y="590"/>
                    </a:lnTo>
                    <a:lnTo>
                      <a:pt x="495" y="590"/>
                    </a:lnTo>
                    <a:lnTo>
                      <a:pt x="495" y="592"/>
                    </a:lnTo>
                    <a:lnTo>
                      <a:pt x="486" y="590"/>
                    </a:lnTo>
                    <a:lnTo>
                      <a:pt x="479" y="597"/>
                    </a:lnTo>
                    <a:lnTo>
                      <a:pt x="469" y="590"/>
                    </a:lnTo>
                    <a:lnTo>
                      <a:pt x="474" y="583"/>
                    </a:lnTo>
                    <a:lnTo>
                      <a:pt x="486" y="580"/>
                    </a:lnTo>
                    <a:lnTo>
                      <a:pt x="500" y="566"/>
                    </a:lnTo>
                    <a:lnTo>
                      <a:pt x="486" y="573"/>
                    </a:lnTo>
                    <a:lnTo>
                      <a:pt x="474" y="568"/>
                    </a:lnTo>
                    <a:lnTo>
                      <a:pt x="479" y="557"/>
                    </a:lnTo>
                    <a:lnTo>
                      <a:pt x="491" y="538"/>
                    </a:lnTo>
                    <a:lnTo>
                      <a:pt x="493" y="533"/>
                    </a:lnTo>
                    <a:lnTo>
                      <a:pt x="491" y="523"/>
                    </a:lnTo>
                    <a:lnTo>
                      <a:pt x="517" y="512"/>
                    </a:lnTo>
                    <a:lnTo>
                      <a:pt x="521" y="514"/>
                    </a:lnTo>
                    <a:lnTo>
                      <a:pt x="535" y="514"/>
                    </a:lnTo>
                    <a:lnTo>
                      <a:pt x="559" y="521"/>
                    </a:lnTo>
                    <a:lnTo>
                      <a:pt x="554" y="514"/>
                    </a:lnTo>
                    <a:lnTo>
                      <a:pt x="540" y="514"/>
                    </a:lnTo>
                    <a:lnTo>
                      <a:pt x="528" y="505"/>
                    </a:lnTo>
                    <a:lnTo>
                      <a:pt x="538" y="493"/>
                    </a:lnTo>
                    <a:lnTo>
                      <a:pt x="552" y="490"/>
                    </a:lnTo>
                    <a:lnTo>
                      <a:pt x="547" y="488"/>
                    </a:lnTo>
                    <a:lnTo>
                      <a:pt x="538" y="490"/>
                    </a:lnTo>
                    <a:lnTo>
                      <a:pt x="528" y="500"/>
                    </a:lnTo>
                    <a:lnTo>
                      <a:pt x="514" y="500"/>
                    </a:lnTo>
                    <a:lnTo>
                      <a:pt x="500" y="505"/>
                    </a:lnTo>
                    <a:lnTo>
                      <a:pt x="495" y="512"/>
                    </a:lnTo>
                    <a:lnTo>
                      <a:pt x="483" y="514"/>
                    </a:lnTo>
                    <a:lnTo>
                      <a:pt x="476" y="521"/>
                    </a:lnTo>
                    <a:lnTo>
                      <a:pt x="479" y="523"/>
                    </a:lnTo>
                    <a:lnTo>
                      <a:pt x="474" y="523"/>
                    </a:lnTo>
                    <a:lnTo>
                      <a:pt x="465" y="533"/>
                    </a:lnTo>
                    <a:lnTo>
                      <a:pt x="458" y="545"/>
                    </a:lnTo>
                    <a:lnTo>
                      <a:pt x="450" y="545"/>
                    </a:lnTo>
                    <a:lnTo>
                      <a:pt x="439" y="545"/>
                    </a:lnTo>
                    <a:lnTo>
                      <a:pt x="446" y="545"/>
                    </a:lnTo>
                    <a:lnTo>
                      <a:pt x="455" y="552"/>
                    </a:lnTo>
                    <a:lnTo>
                      <a:pt x="450" y="559"/>
                    </a:lnTo>
                    <a:lnTo>
                      <a:pt x="434" y="566"/>
                    </a:lnTo>
                    <a:lnTo>
                      <a:pt x="441" y="566"/>
                    </a:lnTo>
                    <a:lnTo>
                      <a:pt x="441" y="568"/>
                    </a:lnTo>
                    <a:lnTo>
                      <a:pt x="434" y="573"/>
                    </a:lnTo>
                    <a:lnTo>
                      <a:pt x="427" y="573"/>
                    </a:lnTo>
                    <a:lnTo>
                      <a:pt x="434" y="568"/>
                    </a:lnTo>
                    <a:lnTo>
                      <a:pt x="427" y="566"/>
                    </a:lnTo>
                    <a:lnTo>
                      <a:pt x="427" y="575"/>
                    </a:lnTo>
                    <a:lnTo>
                      <a:pt x="420" y="580"/>
                    </a:lnTo>
                    <a:lnTo>
                      <a:pt x="420" y="583"/>
                    </a:lnTo>
                    <a:lnTo>
                      <a:pt x="410" y="585"/>
                    </a:lnTo>
                    <a:lnTo>
                      <a:pt x="413" y="585"/>
                    </a:lnTo>
                    <a:lnTo>
                      <a:pt x="406" y="597"/>
                    </a:lnTo>
                    <a:lnTo>
                      <a:pt x="406" y="599"/>
                    </a:lnTo>
                    <a:lnTo>
                      <a:pt x="422" y="599"/>
                    </a:lnTo>
                    <a:lnTo>
                      <a:pt x="434" y="611"/>
                    </a:lnTo>
                    <a:lnTo>
                      <a:pt x="427" y="618"/>
                    </a:lnTo>
                    <a:lnTo>
                      <a:pt x="410" y="625"/>
                    </a:lnTo>
                    <a:lnTo>
                      <a:pt x="413" y="627"/>
                    </a:lnTo>
                    <a:lnTo>
                      <a:pt x="403" y="632"/>
                    </a:lnTo>
                    <a:lnTo>
                      <a:pt x="410" y="632"/>
                    </a:lnTo>
                    <a:lnTo>
                      <a:pt x="406" y="637"/>
                    </a:lnTo>
                    <a:lnTo>
                      <a:pt x="401" y="637"/>
                    </a:lnTo>
                    <a:lnTo>
                      <a:pt x="396" y="644"/>
                    </a:lnTo>
                    <a:lnTo>
                      <a:pt x="382" y="644"/>
                    </a:lnTo>
                    <a:lnTo>
                      <a:pt x="382" y="649"/>
                    </a:lnTo>
                    <a:lnTo>
                      <a:pt x="375" y="656"/>
                    </a:lnTo>
                    <a:lnTo>
                      <a:pt x="366" y="656"/>
                    </a:lnTo>
                    <a:lnTo>
                      <a:pt x="361" y="665"/>
                    </a:lnTo>
                    <a:lnTo>
                      <a:pt x="351" y="665"/>
                    </a:lnTo>
                    <a:lnTo>
                      <a:pt x="351" y="667"/>
                    </a:lnTo>
                    <a:lnTo>
                      <a:pt x="349" y="667"/>
                    </a:lnTo>
                    <a:lnTo>
                      <a:pt x="337" y="675"/>
                    </a:lnTo>
                    <a:lnTo>
                      <a:pt x="344" y="675"/>
                    </a:lnTo>
                    <a:lnTo>
                      <a:pt x="344" y="682"/>
                    </a:lnTo>
                    <a:lnTo>
                      <a:pt x="337" y="686"/>
                    </a:lnTo>
                    <a:lnTo>
                      <a:pt x="328" y="686"/>
                    </a:lnTo>
                    <a:lnTo>
                      <a:pt x="321" y="698"/>
                    </a:lnTo>
                    <a:lnTo>
                      <a:pt x="314" y="693"/>
                    </a:lnTo>
                    <a:lnTo>
                      <a:pt x="307" y="701"/>
                    </a:lnTo>
                    <a:lnTo>
                      <a:pt x="309" y="703"/>
                    </a:lnTo>
                    <a:lnTo>
                      <a:pt x="304" y="701"/>
                    </a:lnTo>
                    <a:lnTo>
                      <a:pt x="290" y="705"/>
                    </a:lnTo>
                    <a:lnTo>
                      <a:pt x="302" y="705"/>
                    </a:lnTo>
                    <a:lnTo>
                      <a:pt x="302" y="710"/>
                    </a:lnTo>
                    <a:lnTo>
                      <a:pt x="290" y="705"/>
                    </a:lnTo>
                    <a:lnTo>
                      <a:pt x="285" y="710"/>
                    </a:lnTo>
                    <a:lnTo>
                      <a:pt x="278" y="719"/>
                    </a:lnTo>
                    <a:lnTo>
                      <a:pt x="283" y="719"/>
                    </a:lnTo>
                    <a:lnTo>
                      <a:pt x="285" y="717"/>
                    </a:lnTo>
                    <a:lnTo>
                      <a:pt x="290" y="717"/>
                    </a:lnTo>
                    <a:lnTo>
                      <a:pt x="288" y="724"/>
                    </a:lnTo>
                    <a:lnTo>
                      <a:pt x="295" y="719"/>
                    </a:lnTo>
                    <a:lnTo>
                      <a:pt x="285" y="724"/>
                    </a:lnTo>
                    <a:lnTo>
                      <a:pt x="283" y="729"/>
                    </a:lnTo>
                    <a:lnTo>
                      <a:pt x="278" y="726"/>
                    </a:lnTo>
                    <a:lnTo>
                      <a:pt x="283" y="724"/>
                    </a:lnTo>
                    <a:lnTo>
                      <a:pt x="278" y="724"/>
                    </a:lnTo>
                    <a:lnTo>
                      <a:pt x="278" y="734"/>
                    </a:lnTo>
                    <a:lnTo>
                      <a:pt x="271" y="729"/>
                    </a:lnTo>
                    <a:lnTo>
                      <a:pt x="269" y="734"/>
                    </a:lnTo>
                    <a:lnTo>
                      <a:pt x="255" y="736"/>
                    </a:lnTo>
                    <a:lnTo>
                      <a:pt x="248" y="748"/>
                    </a:lnTo>
                    <a:lnTo>
                      <a:pt x="250" y="736"/>
                    </a:lnTo>
                    <a:lnTo>
                      <a:pt x="243" y="736"/>
                    </a:lnTo>
                    <a:lnTo>
                      <a:pt x="233" y="743"/>
                    </a:lnTo>
                    <a:lnTo>
                      <a:pt x="226" y="748"/>
                    </a:lnTo>
                    <a:lnTo>
                      <a:pt x="224" y="752"/>
                    </a:lnTo>
                    <a:lnTo>
                      <a:pt x="219" y="750"/>
                    </a:lnTo>
                    <a:lnTo>
                      <a:pt x="217" y="750"/>
                    </a:lnTo>
                    <a:lnTo>
                      <a:pt x="217" y="752"/>
                    </a:lnTo>
                    <a:lnTo>
                      <a:pt x="210" y="750"/>
                    </a:lnTo>
                    <a:lnTo>
                      <a:pt x="203" y="757"/>
                    </a:lnTo>
                    <a:lnTo>
                      <a:pt x="196" y="757"/>
                    </a:lnTo>
                    <a:lnTo>
                      <a:pt x="196" y="752"/>
                    </a:lnTo>
                    <a:lnTo>
                      <a:pt x="198" y="748"/>
                    </a:lnTo>
                    <a:lnTo>
                      <a:pt x="203" y="750"/>
                    </a:lnTo>
                    <a:lnTo>
                      <a:pt x="193" y="748"/>
                    </a:lnTo>
                    <a:lnTo>
                      <a:pt x="186" y="760"/>
                    </a:lnTo>
                    <a:lnTo>
                      <a:pt x="179" y="764"/>
                    </a:lnTo>
                    <a:lnTo>
                      <a:pt x="181" y="767"/>
                    </a:lnTo>
                    <a:lnTo>
                      <a:pt x="174" y="771"/>
                    </a:lnTo>
                    <a:lnTo>
                      <a:pt x="174" y="767"/>
                    </a:lnTo>
                    <a:lnTo>
                      <a:pt x="172" y="767"/>
                    </a:lnTo>
                    <a:lnTo>
                      <a:pt x="172" y="771"/>
                    </a:lnTo>
                    <a:lnTo>
                      <a:pt x="165" y="771"/>
                    </a:lnTo>
                    <a:lnTo>
                      <a:pt x="163" y="760"/>
                    </a:lnTo>
                    <a:lnTo>
                      <a:pt x="160" y="764"/>
                    </a:lnTo>
                    <a:lnTo>
                      <a:pt x="163" y="767"/>
                    </a:lnTo>
                    <a:lnTo>
                      <a:pt x="163" y="774"/>
                    </a:lnTo>
                    <a:lnTo>
                      <a:pt x="160" y="774"/>
                    </a:lnTo>
                    <a:lnTo>
                      <a:pt x="153" y="776"/>
                    </a:lnTo>
                    <a:lnTo>
                      <a:pt x="144" y="767"/>
                    </a:lnTo>
                    <a:lnTo>
                      <a:pt x="144" y="771"/>
                    </a:lnTo>
                    <a:lnTo>
                      <a:pt x="151" y="774"/>
                    </a:lnTo>
                    <a:lnTo>
                      <a:pt x="141" y="778"/>
                    </a:lnTo>
                    <a:lnTo>
                      <a:pt x="141" y="776"/>
                    </a:lnTo>
                    <a:lnTo>
                      <a:pt x="144" y="774"/>
                    </a:lnTo>
                    <a:lnTo>
                      <a:pt x="141" y="767"/>
                    </a:lnTo>
                    <a:lnTo>
                      <a:pt x="151" y="767"/>
                    </a:lnTo>
                    <a:lnTo>
                      <a:pt x="153" y="760"/>
                    </a:lnTo>
                    <a:lnTo>
                      <a:pt x="163" y="757"/>
                    </a:lnTo>
                    <a:lnTo>
                      <a:pt x="165" y="757"/>
                    </a:lnTo>
                    <a:lnTo>
                      <a:pt x="163" y="752"/>
                    </a:lnTo>
                    <a:lnTo>
                      <a:pt x="172" y="743"/>
                    </a:lnTo>
                    <a:lnTo>
                      <a:pt x="186" y="734"/>
                    </a:lnTo>
                    <a:lnTo>
                      <a:pt x="207" y="734"/>
                    </a:lnTo>
                    <a:lnTo>
                      <a:pt x="217" y="743"/>
                    </a:lnTo>
                    <a:lnTo>
                      <a:pt x="214" y="736"/>
                    </a:lnTo>
                    <a:lnTo>
                      <a:pt x="231" y="741"/>
                    </a:lnTo>
                    <a:lnTo>
                      <a:pt x="231" y="736"/>
                    </a:lnTo>
                    <a:lnTo>
                      <a:pt x="219" y="729"/>
                    </a:lnTo>
                    <a:lnTo>
                      <a:pt x="226" y="717"/>
                    </a:lnTo>
                    <a:lnTo>
                      <a:pt x="264" y="698"/>
                    </a:lnTo>
                    <a:lnTo>
                      <a:pt x="278" y="698"/>
                    </a:lnTo>
                    <a:lnTo>
                      <a:pt x="278" y="684"/>
                    </a:lnTo>
                    <a:lnTo>
                      <a:pt x="297" y="667"/>
                    </a:lnTo>
                    <a:lnTo>
                      <a:pt x="304" y="665"/>
                    </a:lnTo>
                    <a:lnTo>
                      <a:pt x="307" y="667"/>
                    </a:lnTo>
                    <a:lnTo>
                      <a:pt x="314" y="667"/>
                    </a:lnTo>
                    <a:lnTo>
                      <a:pt x="314" y="665"/>
                    </a:lnTo>
                    <a:lnTo>
                      <a:pt x="309" y="667"/>
                    </a:lnTo>
                    <a:lnTo>
                      <a:pt x="304" y="660"/>
                    </a:lnTo>
                    <a:lnTo>
                      <a:pt x="307" y="642"/>
                    </a:lnTo>
                    <a:lnTo>
                      <a:pt x="314" y="634"/>
                    </a:lnTo>
                    <a:lnTo>
                      <a:pt x="321" y="637"/>
                    </a:lnTo>
                    <a:lnTo>
                      <a:pt x="309" y="634"/>
                    </a:lnTo>
                    <a:lnTo>
                      <a:pt x="309" y="627"/>
                    </a:lnTo>
                    <a:lnTo>
                      <a:pt x="323" y="611"/>
                    </a:lnTo>
                    <a:lnTo>
                      <a:pt x="332" y="597"/>
                    </a:lnTo>
                    <a:lnTo>
                      <a:pt x="323" y="606"/>
                    </a:lnTo>
                    <a:lnTo>
                      <a:pt x="290" y="618"/>
                    </a:lnTo>
                    <a:lnTo>
                      <a:pt x="278" y="611"/>
                    </a:lnTo>
                    <a:lnTo>
                      <a:pt x="283" y="604"/>
                    </a:lnTo>
                    <a:lnTo>
                      <a:pt x="290" y="604"/>
                    </a:lnTo>
                    <a:lnTo>
                      <a:pt x="297" y="606"/>
                    </a:lnTo>
                    <a:lnTo>
                      <a:pt x="283" y="592"/>
                    </a:lnTo>
                    <a:lnTo>
                      <a:pt x="283" y="599"/>
                    </a:lnTo>
                    <a:lnTo>
                      <a:pt x="278" y="606"/>
                    </a:lnTo>
                    <a:lnTo>
                      <a:pt x="276" y="606"/>
                    </a:lnTo>
                    <a:lnTo>
                      <a:pt x="276" y="604"/>
                    </a:lnTo>
                    <a:lnTo>
                      <a:pt x="271" y="604"/>
                    </a:lnTo>
                    <a:lnTo>
                      <a:pt x="276" y="611"/>
                    </a:lnTo>
                    <a:lnTo>
                      <a:pt x="271" y="611"/>
                    </a:lnTo>
                    <a:lnTo>
                      <a:pt x="271" y="611"/>
                    </a:lnTo>
                    <a:lnTo>
                      <a:pt x="269" y="611"/>
                    </a:lnTo>
                    <a:lnTo>
                      <a:pt x="276" y="620"/>
                    </a:lnTo>
                    <a:lnTo>
                      <a:pt x="269" y="627"/>
                    </a:lnTo>
                    <a:lnTo>
                      <a:pt x="264" y="625"/>
                    </a:lnTo>
                    <a:lnTo>
                      <a:pt x="250" y="604"/>
                    </a:lnTo>
                    <a:lnTo>
                      <a:pt x="240" y="611"/>
                    </a:lnTo>
                    <a:lnTo>
                      <a:pt x="231" y="604"/>
                    </a:lnTo>
                    <a:lnTo>
                      <a:pt x="226" y="599"/>
                    </a:lnTo>
                    <a:lnTo>
                      <a:pt x="193" y="618"/>
                    </a:lnTo>
                    <a:lnTo>
                      <a:pt x="174" y="613"/>
                    </a:lnTo>
                    <a:lnTo>
                      <a:pt x="181" y="613"/>
                    </a:lnTo>
                    <a:lnTo>
                      <a:pt x="189" y="611"/>
                    </a:lnTo>
                    <a:lnTo>
                      <a:pt x="186" y="606"/>
                    </a:lnTo>
                    <a:lnTo>
                      <a:pt x="186" y="599"/>
                    </a:lnTo>
                    <a:lnTo>
                      <a:pt x="193" y="597"/>
                    </a:lnTo>
                    <a:lnTo>
                      <a:pt x="181" y="599"/>
                    </a:lnTo>
                    <a:lnTo>
                      <a:pt x="179" y="597"/>
                    </a:lnTo>
                    <a:lnTo>
                      <a:pt x="181" y="585"/>
                    </a:lnTo>
                    <a:lnTo>
                      <a:pt x="189" y="580"/>
                    </a:lnTo>
                    <a:lnTo>
                      <a:pt x="172" y="552"/>
                    </a:lnTo>
                    <a:lnTo>
                      <a:pt x="174" y="545"/>
                    </a:lnTo>
                    <a:lnTo>
                      <a:pt x="170" y="549"/>
                    </a:lnTo>
                    <a:lnTo>
                      <a:pt x="170" y="545"/>
                    </a:lnTo>
                    <a:lnTo>
                      <a:pt x="172" y="531"/>
                    </a:lnTo>
                    <a:lnTo>
                      <a:pt x="181" y="528"/>
                    </a:lnTo>
                    <a:lnTo>
                      <a:pt x="172" y="531"/>
                    </a:lnTo>
                    <a:lnTo>
                      <a:pt x="163" y="545"/>
                    </a:lnTo>
                    <a:lnTo>
                      <a:pt x="165" y="549"/>
                    </a:lnTo>
                    <a:lnTo>
                      <a:pt x="165" y="557"/>
                    </a:lnTo>
                    <a:lnTo>
                      <a:pt x="141" y="566"/>
                    </a:lnTo>
                    <a:lnTo>
                      <a:pt x="118" y="566"/>
                    </a:lnTo>
                    <a:lnTo>
                      <a:pt x="115" y="559"/>
                    </a:lnTo>
                    <a:lnTo>
                      <a:pt x="118" y="557"/>
                    </a:lnTo>
                    <a:lnTo>
                      <a:pt x="108" y="552"/>
                    </a:lnTo>
                    <a:lnTo>
                      <a:pt x="104" y="545"/>
                    </a:lnTo>
                    <a:lnTo>
                      <a:pt x="89" y="538"/>
                    </a:lnTo>
                    <a:lnTo>
                      <a:pt x="92" y="533"/>
                    </a:lnTo>
                    <a:lnTo>
                      <a:pt x="82" y="533"/>
                    </a:lnTo>
                    <a:lnTo>
                      <a:pt x="104" y="514"/>
                    </a:lnTo>
                    <a:lnTo>
                      <a:pt x="104" y="521"/>
                    </a:lnTo>
                    <a:lnTo>
                      <a:pt x="115" y="523"/>
                    </a:lnTo>
                    <a:lnTo>
                      <a:pt x="115" y="528"/>
                    </a:lnTo>
                    <a:lnTo>
                      <a:pt x="108" y="533"/>
                    </a:lnTo>
                    <a:lnTo>
                      <a:pt x="122" y="523"/>
                    </a:lnTo>
                    <a:lnTo>
                      <a:pt x="127" y="523"/>
                    </a:lnTo>
                    <a:lnTo>
                      <a:pt x="127" y="531"/>
                    </a:lnTo>
                    <a:lnTo>
                      <a:pt x="130" y="531"/>
                    </a:lnTo>
                    <a:lnTo>
                      <a:pt x="137" y="523"/>
                    </a:lnTo>
                    <a:lnTo>
                      <a:pt x="125" y="521"/>
                    </a:lnTo>
                    <a:lnTo>
                      <a:pt x="134" y="514"/>
                    </a:lnTo>
                    <a:lnTo>
                      <a:pt x="127" y="514"/>
                    </a:lnTo>
                    <a:lnTo>
                      <a:pt x="122" y="521"/>
                    </a:lnTo>
                    <a:lnTo>
                      <a:pt x="89" y="514"/>
                    </a:lnTo>
                    <a:lnTo>
                      <a:pt x="85" y="514"/>
                    </a:lnTo>
                    <a:lnTo>
                      <a:pt x="99" y="507"/>
                    </a:lnTo>
                    <a:lnTo>
                      <a:pt x="89" y="507"/>
                    </a:lnTo>
                    <a:lnTo>
                      <a:pt x="89" y="500"/>
                    </a:lnTo>
                    <a:lnTo>
                      <a:pt x="85" y="505"/>
                    </a:lnTo>
                    <a:lnTo>
                      <a:pt x="82" y="505"/>
                    </a:lnTo>
                    <a:lnTo>
                      <a:pt x="89" y="493"/>
                    </a:lnTo>
                    <a:lnTo>
                      <a:pt x="97" y="490"/>
                    </a:lnTo>
                    <a:lnTo>
                      <a:pt x="104" y="483"/>
                    </a:lnTo>
                    <a:lnTo>
                      <a:pt x="82" y="498"/>
                    </a:lnTo>
                    <a:lnTo>
                      <a:pt x="82" y="505"/>
                    </a:lnTo>
                    <a:lnTo>
                      <a:pt x="82" y="505"/>
                    </a:lnTo>
                    <a:lnTo>
                      <a:pt x="82" y="512"/>
                    </a:lnTo>
                    <a:lnTo>
                      <a:pt x="75" y="507"/>
                    </a:lnTo>
                    <a:lnTo>
                      <a:pt x="75" y="500"/>
                    </a:lnTo>
                    <a:lnTo>
                      <a:pt x="68" y="498"/>
                    </a:lnTo>
                    <a:lnTo>
                      <a:pt x="68" y="493"/>
                    </a:lnTo>
                    <a:lnTo>
                      <a:pt x="71" y="490"/>
                    </a:lnTo>
                    <a:lnTo>
                      <a:pt x="71" y="488"/>
                    </a:lnTo>
                    <a:lnTo>
                      <a:pt x="61" y="490"/>
                    </a:lnTo>
                    <a:lnTo>
                      <a:pt x="59" y="483"/>
                    </a:lnTo>
                    <a:lnTo>
                      <a:pt x="59" y="481"/>
                    </a:lnTo>
                    <a:lnTo>
                      <a:pt x="61" y="483"/>
                    </a:lnTo>
                    <a:lnTo>
                      <a:pt x="71" y="481"/>
                    </a:lnTo>
                    <a:lnTo>
                      <a:pt x="61" y="474"/>
                    </a:lnTo>
                    <a:lnTo>
                      <a:pt x="75" y="474"/>
                    </a:lnTo>
                    <a:lnTo>
                      <a:pt x="71" y="467"/>
                    </a:lnTo>
                    <a:lnTo>
                      <a:pt x="75" y="460"/>
                    </a:lnTo>
                    <a:lnTo>
                      <a:pt x="85" y="446"/>
                    </a:lnTo>
                    <a:lnTo>
                      <a:pt x="92" y="441"/>
                    </a:lnTo>
                    <a:lnTo>
                      <a:pt x="104" y="448"/>
                    </a:lnTo>
                    <a:lnTo>
                      <a:pt x="97" y="441"/>
                    </a:lnTo>
                    <a:lnTo>
                      <a:pt x="108" y="431"/>
                    </a:lnTo>
                    <a:lnTo>
                      <a:pt x="99" y="436"/>
                    </a:lnTo>
                    <a:lnTo>
                      <a:pt x="97" y="429"/>
                    </a:lnTo>
                    <a:lnTo>
                      <a:pt x="104" y="420"/>
                    </a:lnTo>
                    <a:lnTo>
                      <a:pt x="113" y="420"/>
                    </a:lnTo>
                    <a:lnTo>
                      <a:pt x="106" y="415"/>
                    </a:lnTo>
                    <a:lnTo>
                      <a:pt x="108" y="408"/>
                    </a:lnTo>
                    <a:lnTo>
                      <a:pt x="122" y="408"/>
                    </a:lnTo>
                    <a:lnTo>
                      <a:pt x="141" y="420"/>
                    </a:lnTo>
                    <a:lnTo>
                      <a:pt x="148" y="420"/>
                    </a:lnTo>
                    <a:lnTo>
                      <a:pt x="163" y="408"/>
                    </a:lnTo>
                    <a:lnTo>
                      <a:pt x="170" y="396"/>
                    </a:lnTo>
                    <a:lnTo>
                      <a:pt x="179" y="396"/>
                    </a:lnTo>
                    <a:lnTo>
                      <a:pt x="174" y="398"/>
                    </a:lnTo>
                    <a:lnTo>
                      <a:pt x="203" y="396"/>
                    </a:lnTo>
                    <a:lnTo>
                      <a:pt x="214" y="384"/>
                    </a:lnTo>
                    <a:lnTo>
                      <a:pt x="214" y="380"/>
                    </a:lnTo>
                    <a:lnTo>
                      <a:pt x="210" y="363"/>
                    </a:lnTo>
                    <a:lnTo>
                      <a:pt x="203" y="354"/>
                    </a:lnTo>
                    <a:lnTo>
                      <a:pt x="196" y="354"/>
                    </a:lnTo>
                    <a:lnTo>
                      <a:pt x="198" y="346"/>
                    </a:lnTo>
                    <a:lnTo>
                      <a:pt x="207" y="351"/>
                    </a:lnTo>
                    <a:lnTo>
                      <a:pt x="214" y="344"/>
                    </a:lnTo>
                    <a:lnTo>
                      <a:pt x="214" y="339"/>
                    </a:lnTo>
                    <a:lnTo>
                      <a:pt x="203" y="330"/>
                    </a:lnTo>
                    <a:lnTo>
                      <a:pt x="207" y="328"/>
                    </a:lnTo>
                    <a:lnTo>
                      <a:pt x="203" y="328"/>
                    </a:lnTo>
                    <a:lnTo>
                      <a:pt x="196" y="337"/>
                    </a:lnTo>
                    <a:lnTo>
                      <a:pt x="174" y="339"/>
                    </a:lnTo>
                    <a:lnTo>
                      <a:pt x="163" y="351"/>
                    </a:lnTo>
                    <a:lnTo>
                      <a:pt x="163" y="354"/>
                    </a:lnTo>
                    <a:lnTo>
                      <a:pt x="158" y="356"/>
                    </a:lnTo>
                    <a:lnTo>
                      <a:pt x="153" y="351"/>
                    </a:lnTo>
                    <a:lnTo>
                      <a:pt x="148" y="339"/>
                    </a:lnTo>
                    <a:lnTo>
                      <a:pt x="141" y="346"/>
                    </a:lnTo>
                    <a:lnTo>
                      <a:pt x="151" y="351"/>
                    </a:lnTo>
                    <a:lnTo>
                      <a:pt x="148" y="354"/>
                    </a:lnTo>
                    <a:lnTo>
                      <a:pt x="137" y="346"/>
                    </a:lnTo>
                    <a:lnTo>
                      <a:pt x="127" y="344"/>
                    </a:lnTo>
                    <a:lnTo>
                      <a:pt x="97" y="346"/>
                    </a:lnTo>
                    <a:lnTo>
                      <a:pt x="97" y="351"/>
                    </a:lnTo>
                    <a:lnTo>
                      <a:pt x="99" y="351"/>
                    </a:lnTo>
                    <a:lnTo>
                      <a:pt x="92" y="354"/>
                    </a:lnTo>
                    <a:lnTo>
                      <a:pt x="61" y="346"/>
                    </a:lnTo>
                    <a:lnTo>
                      <a:pt x="52" y="339"/>
                    </a:lnTo>
                    <a:lnTo>
                      <a:pt x="47" y="337"/>
                    </a:lnTo>
                    <a:lnTo>
                      <a:pt x="52" y="330"/>
                    </a:lnTo>
                    <a:lnTo>
                      <a:pt x="35" y="316"/>
                    </a:lnTo>
                    <a:lnTo>
                      <a:pt x="38" y="309"/>
                    </a:lnTo>
                    <a:lnTo>
                      <a:pt x="35" y="316"/>
                    </a:lnTo>
                    <a:lnTo>
                      <a:pt x="45" y="321"/>
                    </a:lnTo>
                    <a:lnTo>
                      <a:pt x="52" y="309"/>
                    </a:lnTo>
                    <a:lnTo>
                      <a:pt x="61" y="313"/>
                    </a:lnTo>
                    <a:lnTo>
                      <a:pt x="23" y="306"/>
                    </a:lnTo>
                    <a:lnTo>
                      <a:pt x="0" y="292"/>
                    </a:lnTo>
                    <a:lnTo>
                      <a:pt x="9" y="287"/>
                    </a:lnTo>
                    <a:lnTo>
                      <a:pt x="2" y="292"/>
                    </a:lnTo>
                    <a:lnTo>
                      <a:pt x="19" y="292"/>
                    </a:lnTo>
                    <a:lnTo>
                      <a:pt x="19" y="287"/>
                    </a:lnTo>
                    <a:lnTo>
                      <a:pt x="19" y="285"/>
                    </a:lnTo>
                    <a:lnTo>
                      <a:pt x="30" y="283"/>
                    </a:lnTo>
                    <a:lnTo>
                      <a:pt x="38" y="283"/>
                    </a:lnTo>
                    <a:lnTo>
                      <a:pt x="35" y="278"/>
                    </a:lnTo>
                    <a:lnTo>
                      <a:pt x="54" y="269"/>
                    </a:lnTo>
                    <a:lnTo>
                      <a:pt x="71" y="271"/>
                    </a:lnTo>
                    <a:lnTo>
                      <a:pt x="75" y="269"/>
                    </a:lnTo>
                    <a:lnTo>
                      <a:pt x="68" y="264"/>
                    </a:lnTo>
                    <a:lnTo>
                      <a:pt x="75" y="259"/>
                    </a:lnTo>
                    <a:lnTo>
                      <a:pt x="113" y="247"/>
                    </a:lnTo>
                    <a:lnTo>
                      <a:pt x="130" y="247"/>
                    </a:lnTo>
                    <a:lnTo>
                      <a:pt x="125" y="247"/>
                    </a:lnTo>
                    <a:lnTo>
                      <a:pt x="127" y="252"/>
                    </a:lnTo>
                    <a:lnTo>
                      <a:pt x="125" y="259"/>
                    </a:lnTo>
                    <a:lnTo>
                      <a:pt x="125" y="262"/>
                    </a:lnTo>
                    <a:lnTo>
                      <a:pt x="115" y="269"/>
                    </a:lnTo>
                    <a:lnTo>
                      <a:pt x="130" y="276"/>
                    </a:lnTo>
                    <a:lnTo>
                      <a:pt x="179" y="276"/>
                    </a:lnTo>
                    <a:lnTo>
                      <a:pt x="186" y="278"/>
                    </a:lnTo>
                    <a:lnTo>
                      <a:pt x="196" y="264"/>
                    </a:lnTo>
                    <a:lnTo>
                      <a:pt x="207" y="264"/>
                    </a:lnTo>
                    <a:lnTo>
                      <a:pt x="203" y="271"/>
                    </a:lnTo>
                    <a:lnTo>
                      <a:pt x="207" y="264"/>
                    </a:lnTo>
                    <a:lnTo>
                      <a:pt x="203" y="259"/>
                    </a:lnTo>
                    <a:lnTo>
                      <a:pt x="196" y="254"/>
                    </a:lnTo>
                    <a:lnTo>
                      <a:pt x="181" y="259"/>
                    </a:lnTo>
                    <a:lnTo>
                      <a:pt x="181" y="262"/>
                    </a:lnTo>
                    <a:lnTo>
                      <a:pt x="181" y="247"/>
                    </a:lnTo>
                    <a:lnTo>
                      <a:pt x="172" y="240"/>
                    </a:lnTo>
                    <a:lnTo>
                      <a:pt x="165" y="238"/>
                    </a:lnTo>
                    <a:lnTo>
                      <a:pt x="160" y="231"/>
                    </a:lnTo>
                    <a:lnTo>
                      <a:pt x="170" y="228"/>
                    </a:lnTo>
                    <a:lnTo>
                      <a:pt x="174" y="236"/>
                    </a:lnTo>
                    <a:lnTo>
                      <a:pt x="179" y="245"/>
                    </a:lnTo>
                    <a:lnTo>
                      <a:pt x="193" y="254"/>
                    </a:lnTo>
                    <a:lnTo>
                      <a:pt x="203" y="247"/>
                    </a:lnTo>
                    <a:lnTo>
                      <a:pt x="214" y="259"/>
                    </a:lnTo>
                    <a:lnTo>
                      <a:pt x="231" y="259"/>
                    </a:lnTo>
                    <a:lnTo>
                      <a:pt x="231" y="245"/>
                    </a:lnTo>
                    <a:lnTo>
                      <a:pt x="219" y="247"/>
                    </a:lnTo>
                    <a:lnTo>
                      <a:pt x="203" y="245"/>
                    </a:lnTo>
                    <a:lnTo>
                      <a:pt x="203" y="247"/>
                    </a:lnTo>
                    <a:lnTo>
                      <a:pt x="196" y="247"/>
                    </a:lnTo>
                    <a:lnTo>
                      <a:pt x="181" y="240"/>
                    </a:lnTo>
                    <a:lnTo>
                      <a:pt x="189" y="228"/>
                    </a:lnTo>
                    <a:lnTo>
                      <a:pt x="196" y="228"/>
                    </a:lnTo>
                    <a:lnTo>
                      <a:pt x="181" y="226"/>
                    </a:lnTo>
                    <a:lnTo>
                      <a:pt x="165" y="226"/>
                    </a:lnTo>
                    <a:lnTo>
                      <a:pt x="170" y="219"/>
                    </a:lnTo>
                    <a:lnTo>
                      <a:pt x="163" y="226"/>
                    </a:lnTo>
                    <a:lnTo>
                      <a:pt x="127" y="221"/>
                    </a:lnTo>
                    <a:lnTo>
                      <a:pt x="127" y="207"/>
                    </a:lnTo>
                    <a:lnTo>
                      <a:pt x="118" y="195"/>
                    </a:lnTo>
                    <a:lnTo>
                      <a:pt x="82" y="172"/>
                    </a:lnTo>
                    <a:lnTo>
                      <a:pt x="38" y="155"/>
                    </a:lnTo>
                    <a:lnTo>
                      <a:pt x="54" y="153"/>
                    </a:lnTo>
                    <a:lnTo>
                      <a:pt x="59" y="146"/>
                    </a:lnTo>
                    <a:lnTo>
                      <a:pt x="59" y="129"/>
                    </a:lnTo>
                    <a:lnTo>
                      <a:pt x="113" y="127"/>
                    </a:lnTo>
                    <a:lnTo>
                      <a:pt x="130" y="118"/>
                    </a:lnTo>
                    <a:lnTo>
                      <a:pt x="144" y="101"/>
                    </a:lnTo>
                    <a:lnTo>
                      <a:pt x="144" y="108"/>
                    </a:lnTo>
                    <a:lnTo>
                      <a:pt x="148" y="103"/>
                    </a:lnTo>
                    <a:lnTo>
                      <a:pt x="153" y="87"/>
                    </a:lnTo>
                    <a:lnTo>
                      <a:pt x="151" y="84"/>
                    </a:lnTo>
                    <a:lnTo>
                      <a:pt x="181" y="54"/>
                    </a:lnTo>
                    <a:lnTo>
                      <a:pt x="186" y="56"/>
                    </a:lnTo>
                    <a:lnTo>
                      <a:pt x="174" y="63"/>
                    </a:lnTo>
                    <a:lnTo>
                      <a:pt x="203" y="56"/>
                    </a:lnTo>
                    <a:lnTo>
                      <a:pt x="240" y="40"/>
                    </a:lnTo>
                    <a:lnTo>
                      <a:pt x="240" y="47"/>
                    </a:lnTo>
                    <a:lnTo>
                      <a:pt x="233" y="47"/>
                    </a:lnTo>
                    <a:lnTo>
                      <a:pt x="238" y="47"/>
                    </a:lnTo>
                    <a:lnTo>
                      <a:pt x="243" y="56"/>
                    </a:lnTo>
                    <a:lnTo>
                      <a:pt x="240" y="54"/>
                    </a:lnTo>
                    <a:lnTo>
                      <a:pt x="243" y="47"/>
                    </a:lnTo>
                    <a:lnTo>
                      <a:pt x="259" y="42"/>
                    </a:lnTo>
                    <a:lnTo>
                      <a:pt x="248" y="47"/>
                    </a:lnTo>
                    <a:lnTo>
                      <a:pt x="240" y="40"/>
                    </a:lnTo>
                    <a:lnTo>
                      <a:pt x="233" y="40"/>
                    </a:lnTo>
                    <a:lnTo>
                      <a:pt x="262" y="25"/>
                    </a:lnTo>
                    <a:lnTo>
                      <a:pt x="255" y="25"/>
                    </a:lnTo>
                    <a:lnTo>
                      <a:pt x="262" y="25"/>
                    </a:lnTo>
                    <a:lnTo>
                      <a:pt x="255" y="30"/>
                    </a:lnTo>
                    <a:lnTo>
                      <a:pt x="259" y="33"/>
                    </a:lnTo>
                    <a:lnTo>
                      <a:pt x="269" y="30"/>
                    </a:lnTo>
                    <a:lnTo>
                      <a:pt x="302" y="25"/>
                    </a:lnTo>
                    <a:lnTo>
                      <a:pt x="335" y="0"/>
                    </a:lnTo>
                    <a:lnTo>
                      <a:pt x="342" y="2"/>
                    </a:lnTo>
                    <a:lnTo>
                      <a:pt x="366" y="9"/>
                    </a:lnTo>
                    <a:lnTo>
                      <a:pt x="368" y="11"/>
                    </a:lnTo>
                    <a:lnTo>
                      <a:pt x="361" y="18"/>
                    </a:lnTo>
                    <a:lnTo>
                      <a:pt x="349" y="23"/>
                    </a:lnTo>
                    <a:lnTo>
                      <a:pt x="354" y="23"/>
                    </a:lnTo>
                    <a:lnTo>
                      <a:pt x="354" y="33"/>
                    </a:lnTo>
                    <a:lnTo>
                      <a:pt x="366" y="25"/>
                    </a:lnTo>
                    <a:lnTo>
                      <a:pt x="373" y="18"/>
                    </a:lnTo>
                    <a:lnTo>
                      <a:pt x="380" y="18"/>
                    </a:lnTo>
                    <a:lnTo>
                      <a:pt x="375" y="11"/>
                    </a:lnTo>
                    <a:lnTo>
                      <a:pt x="382" y="9"/>
                    </a:lnTo>
                    <a:lnTo>
                      <a:pt x="382" y="16"/>
                    </a:lnTo>
                    <a:lnTo>
                      <a:pt x="382" y="11"/>
                    </a:lnTo>
                    <a:lnTo>
                      <a:pt x="389" y="11"/>
                    </a:lnTo>
                    <a:lnTo>
                      <a:pt x="396" y="18"/>
                    </a:lnTo>
                    <a:lnTo>
                      <a:pt x="394" y="23"/>
                    </a:lnTo>
                    <a:lnTo>
                      <a:pt x="394" y="25"/>
                    </a:lnTo>
                    <a:lnTo>
                      <a:pt x="406" y="30"/>
                    </a:lnTo>
                    <a:lnTo>
                      <a:pt x="417" y="23"/>
                    </a:lnTo>
                    <a:lnTo>
                      <a:pt x="434" y="23"/>
                    </a:lnTo>
                    <a:lnTo>
                      <a:pt x="465" y="25"/>
                    </a:lnTo>
                    <a:lnTo>
                      <a:pt x="458" y="35"/>
                    </a:lnTo>
                    <a:lnTo>
                      <a:pt x="467" y="42"/>
                    </a:lnTo>
                    <a:lnTo>
                      <a:pt x="450" y="42"/>
                    </a:lnTo>
                    <a:lnTo>
                      <a:pt x="479" y="42"/>
                    </a:lnTo>
                    <a:lnTo>
                      <a:pt x="469" y="47"/>
                    </a:lnTo>
                    <a:lnTo>
                      <a:pt x="493" y="54"/>
                    </a:lnTo>
                    <a:lnTo>
                      <a:pt x="495" y="47"/>
                    </a:lnTo>
                    <a:lnTo>
                      <a:pt x="507" y="47"/>
                    </a:lnTo>
                    <a:lnTo>
                      <a:pt x="517" y="47"/>
                    </a:lnTo>
                    <a:lnTo>
                      <a:pt x="517" y="47"/>
                    </a:lnTo>
                    <a:lnTo>
                      <a:pt x="531" y="47"/>
                    </a:lnTo>
                    <a:lnTo>
                      <a:pt x="554" y="47"/>
                    </a:lnTo>
                    <a:lnTo>
                      <a:pt x="573" y="54"/>
                    </a:lnTo>
                    <a:lnTo>
                      <a:pt x="583" y="54"/>
                    </a:lnTo>
                    <a:lnTo>
                      <a:pt x="594" y="61"/>
                    </a:lnTo>
                    <a:lnTo>
                      <a:pt x="649" y="63"/>
                    </a:lnTo>
                    <a:lnTo>
                      <a:pt x="675" y="75"/>
                    </a:lnTo>
                    <a:lnTo>
                      <a:pt x="724" y="63"/>
                    </a:lnTo>
                    <a:lnTo>
                      <a:pt x="741" y="70"/>
                    </a:lnTo>
                    <a:lnTo>
                      <a:pt x="781" y="92"/>
                    </a:lnTo>
                    <a:lnTo>
                      <a:pt x="790" y="92"/>
                    </a:lnTo>
                    <a:lnTo>
                      <a:pt x="790" y="92"/>
                    </a:lnTo>
                    <a:lnTo>
                      <a:pt x="790" y="92"/>
                    </a:lnTo>
                    <a:lnTo>
                      <a:pt x="790" y="92"/>
                    </a:lnTo>
                    <a:lnTo>
                      <a:pt x="790"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43" name="Freeform 6">
                <a:extLst>
                  <a:ext uri="{FF2B5EF4-FFF2-40B4-BE49-F238E27FC236}">
                    <a16:creationId xmlns:a16="http://schemas.microsoft.com/office/drawing/2014/main" id="{26955948-B014-4B78-B8F3-8F3160C60B65}"/>
                  </a:ext>
                </a:extLst>
              </p:cNvPr>
              <p:cNvSpPr>
                <a:spLocks/>
              </p:cNvSpPr>
              <p:nvPr/>
            </p:nvSpPr>
            <p:spPr bwMode="gray">
              <a:xfrm>
                <a:off x="12525375" y="450850"/>
                <a:ext cx="138113" cy="63500"/>
              </a:xfrm>
              <a:custGeom>
                <a:avLst/>
                <a:gdLst>
                  <a:gd name="T0" fmla="*/ 85 w 87"/>
                  <a:gd name="T1" fmla="*/ 31 h 40"/>
                  <a:gd name="T2" fmla="*/ 73 w 87"/>
                  <a:gd name="T3" fmla="*/ 31 h 40"/>
                  <a:gd name="T4" fmla="*/ 61 w 87"/>
                  <a:gd name="T5" fmla="*/ 40 h 40"/>
                  <a:gd name="T6" fmla="*/ 59 w 87"/>
                  <a:gd name="T7" fmla="*/ 40 h 40"/>
                  <a:gd name="T8" fmla="*/ 54 w 87"/>
                  <a:gd name="T9" fmla="*/ 33 h 40"/>
                  <a:gd name="T10" fmla="*/ 45 w 87"/>
                  <a:gd name="T11" fmla="*/ 31 h 40"/>
                  <a:gd name="T12" fmla="*/ 45 w 87"/>
                  <a:gd name="T13" fmla="*/ 23 h 40"/>
                  <a:gd name="T14" fmla="*/ 38 w 87"/>
                  <a:gd name="T15" fmla="*/ 19 h 40"/>
                  <a:gd name="T16" fmla="*/ 21 w 87"/>
                  <a:gd name="T17" fmla="*/ 16 h 40"/>
                  <a:gd name="T18" fmla="*/ 45 w 87"/>
                  <a:gd name="T19" fmla="*/ 26 h 40"/>
                  <a:gd name="T20" fmla="*/ 24 w 87"/>
                  <a:gd name="T21" fmla="*/ 16 h 40"/>
                  <a:gd name="T22" fmla="*/ 7 w 87"/>
                  <a:gd name="T23" fmla="*/ 23 h 40"/>
                  <a:gd name="T24" fmla="*/ 0 w 87"/>
                  <a:gd name="T25" fmla="*/ 19 h 40"/>
                  <a:gd name="T26" fmla="*/ 0 w 87"/>
                  <a:gd name="T27" fmla="*/ 14 h 40"/>
                  <a:gd name="T28" fmla="*/ 2 w 87"/>
                  <a:gd name="T29" fmla="*/ 0 h 40"/>
                  <a:gd name="T30" fmla="*/ 7 w 87"/>
                  <a:gd name="T31" fmla="*/ 9 h 40"/>
                  <a:gd name="T32" fmla="*/ 24 w 87"/>
                  <a:gd name="T33" fmla="*/ 9 h 40"/>
                  <a:gd name="T34" fmla="*/ 45 w 87"/>
                  <a:gd name="T35" fmla="*/ 2 h 40"/>
                  <a:gd name="T36" fmla="*/ 66 w 87"/>
                  <a:gd name="T37" fmla="*/ 19 h 40"/>
                  <a:gd name="T38" fmla="*/ 87 w 87"/>
                  <a:gd name="T39" fmla="*/ 23 h 40"/>
                  <a:gd name="T40" fmla="*/ 85 w 87"/>
                  <a:gd name="T41" fmla="*/ 31 h 40"/>
                  <a:gd name="T42" fmla="*/ 85 w 87"/>
                  <a:gd name="T43" fmla="*/ 31 h 40"/>
                  <a:gd name="T44" fmla="*/ 85 w 87"/>
                  <a:gd name="T45" fmla="*/ 31 h 40"/>
                  <a:gd name="T46" fmla="*/ 85 w 87"/>
                  <a:gd name="T47" fmla="*/ 31 h 40"/>
                  <a:gd name="T48" fmla="*/ 85 w 87"/>
                  <a:gd name="T49" fmla="*/ 3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0">
                    <a:moveTo>
                      <a:pt x="85" y="31"/>
                    </a:moveTo>
                    <a:lnTo>
                      <a:pt x="73" y="31"/>
                    </a:lnTo>
                    <a:lnTo>
                      <a:pt x="61" y="40"/>
                    </a:lnTo>
                    <a:lnTo>
                      <a:pt x="59" y="40"/>
                    </a:lnTo>
                    <a:lnTo>
                      <a:pt x="54" y="33"/>
                    </a:lnTo>
                    <a:lnTo>
                      <a:pt x="45" y="31"/>
                    </a:lnTo>
                    <a:lnTo>
                      <a:pt x="45" y="23"/>
                    </a:lnTo>
                    <a:lnTo>
                      <a:pt x="38" y="19"/>
                    </a:lnTo>
                    <a:lnTo>
                      <a:pt x="21" y="16"/>
                    </a:lnTo>
                    <a:lnTo>
                      <a:pt x="45" y="26"/>
                    </a:lnTo>
                    <a:lnTo>
                      <a:pt x="24" y="16"/>
                    </a:lnTo>
                    <a:lnTo>
                      <a:pt x="7" y="23"/>
                    </a:lnTo>
                    <a:lnTo>
                      <a:pt x="0" y="19"/>
                    </a:lnTo>
                    <a:lnTo>
                      <a:pt x="0" y="14"/>
                    </a:lnTo>
                    <a:lnTo>
                      <a:pt x="2" y="0"/>
                    </a:lnTo>
                    <a:lnTo>
                      <a:pt x="7" y="9"/>
                    </a:lnTo>
                    <a:lnTo>
                      <a:pt x="24" y="9"/>
                    </a:lnTo>
                    <a:lnTo>
                      <a:pt x="45" y="2"/>
                    </a:lnTo>
                    <a:lnTo>
                      <a:pt x="66" y="19"/>
                    </a:lnTo>
                    <a:lnTo>
                      <a:pt x="87" y="23"/>
                    </a:lnTo>
                    <a:lnTo>
                      <a:pt x="85" y="31"/>
                    </a:lnTo>
                    <a:lnTo>
                      <a:pt x="85" y="31"/>
                    </a:lnTo>
                    <a:lnTo>
                      <a:pt x="85" y="31"/>
                    </a:lnTo>
                    <a:lnTo>
                      <a:pt x="85" y="31"/>
                    </a:lnTo>
                    <a:lnTo>
                      <a:pt x="8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44" name="Freeform 7">
                <a:extLst>
                  <a:ext uri="{FF2B5EF4-FFF2-40B4-BE49-F238E27FC236}">
                    <a16:creationId xmlns:a16="http://schemas.microsoft.com/office/drawing/2014/main" id="{CA46A48A-347E-4C52-B06C-E6460E62E1F5}"/>
                  </a:ext>
                </a:extLst>
              </p:cNvPr>
              <p:cNvSpPr>
                <a:spLocks/>
              </p:cNvSpPr>
              <p:nvPr/>
            </p:nvSpPr>
            <p:spPr bwMode="gray">
              <a:xfrm>
                <a:off x="12944475" y="461963"/>
                <a:ext cx="15875" cy="3175"/>
              </a:xfrm>
              <a:custGeom>
                <a:avLst/>
                <a:gdLst>
                  <a:gd name="T0" fmla="*/ 10 w 10"/>
                  <a:gd name="T1" fmla="*/ 2 h 2"/>
                  <a:gd name="T2" fmla="*/ 0 w 10"/>
                  <a:gd name="T3" fmla="*/ 2 h 2"/>
                  <a:gd name="T4" fmla="*/ 3 w 10"/>
                  <a:gd name="T5" fmla="*/ 0 h 2"/>
                  <a:gd name="T6" fmla="*/ 10 w 10"/>
                  <a:gd name="T7" fmla="*/ 2 h 2"/>
                  <a:gd name="T8" fmla="*/ 10 w 10"/>
                  <a:gd name="T9" fmla="*/ 2 h 2"/>
                  <a:gd name="T10" fmla="*/ 10 w 10"/>
                  <a:gd name="T11" fmla="*/ 2 h 2"/>
                  <a:gd name="T12" fmla="*/ 10 w 10"/>
                  <a:gd name="T13" fmla="*/ 2 h 2"/>
                  <a:gd name="T14" fmla="*/ 10 w 10"/>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
                    <a:moveTo>
                      <a:pt x="10" y="2"/>
                    </a:moveTo>
                    <a:lnTo>
                      <a:pt x="0" y="2"/>
                    </a:lnTo>
                    <a:lnTo>
                      <a:pt x="3" y="0"/>
                    </a:lnTo>
                    <a:lnTo>
                      <a:pt x="10" y="2"/>
                    </a:lnTo>
                    <a:lnTo>
                      <a:pt x="10" y="2"/>
                    </a:lnTo>
                    <a:lnTo>
                      <a:pt x="10" y="2"/>
                    </a:lnTo>
                    <a:lnTo>
                      <a:pt x="10" y="2"/>
                    </a:lnTo>
                    <a:lnTo>
                      <a:pt x="1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45" name="Freeform 8">
                <a:extLst>
                  <a:ext uri="{FF2B5EF4-FFF2-40B4-BE49-F238E27FC236}">
                    <a16:creationId xmlns:a16="http://schemas.microsoft.com/office/drawing/2014/main" id="{20C805E0-9918-4EDF-A7FD-6A1F5503A46A}"/>
                  </a:ext>
                </a:extLst>
              </p:cNvPr>
              <p:cNvSpPr>
                <a:spLocks/>
              </p:cNvSpPr>
              <p:nvPr/>
            </p:nvSpPr>
            <p:spPr bwMode="gray">
              <a:xfrm>
                <a:off x="13615988" y="660400"/>
                <a:ext cx="11113" cy="11113"/>
              </a:xfrm>
              <a:custGeom>
                <a:avLst/>
                <a:gdLst>
                  <a:gd name="T0" fmla="*/ 2 w 7"/>
                  <a:gd name="T1" fmla="*/ 0 h 7"/>
                  <a:gd name="T2" fmla="*/ 7 w 7"/>
                  <a:gd name="T3" fmla="*/ 7 h 7"/>
                  <a:gd name="T4" fmla="*/ 0 w 7"/>
                  <a:gd name="T5" fmla="*/ 7 h 7"/>
                  <a:gd name="T6" fmla="*/ 2 w 7"/>
                  <a:gd name="T7" fmla="*/ 0 h 7"/>
                  <a:gd name="T8" fmla="*/ 2 w 7"/>
                  <a:gd name="T9" fmla="*/ 0 h 7"/>
                  <a:gd name="T10" fmla="*/ 2 w 7"/>
                  <a:gd name="T11" fmla="*/ 0 h 7"/>
                  <a:gd name="T12" fmla="*/ 2 w 7"/>
                  <a:gd name="T13" fmla="*/ 0 h 7"/>
                  <a:gd name="T14" fmla="*/ 2 w 7"/>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2" y="0"/>
                    </a:moveTo>
                    <a:lnTo>
                      <a:pt x="7" y="7"/>
                    </a:lnTo>
                    <a:lnTo>
                      <a:pt x="0" y="7"/>
                    </a:lnTo>
                    <a:lnTo>
                      <a:pt x="2" y="0"/>
                    </a:lnTo>
                    <a:lnTo>
                      <a:pt x="2" y="0"/>
                    </a:lnTo>
                    <a:lnTo>
                      <a:pt x="2"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46" name="Freeform 9">
                <a:extLst>
                  <a:ext uri="{FF2B5EF4-FFF2-40B4-BE49-F238E27FC236}">
                    <a16:creationId xmlns:a16="http://schemas.microsoft.com/office/drawing/2014/main" id="{7A6C953A-25E5-4CA8-B1C2-2973E259B12D}"/>
                  </a:ext>
                </a:extLst>
              </p:cNvPr>
              <p:cNvSpPr>
                <a:spLocks/>
              </p:cNvSpPr>
              <p:nvPr/>
            </p:nvSpPr>
            <p:spPr bwMode="gray">
              <a:xfrm>
                <a:off x="13674725" y="660400"/>
                <a:ext cx="7938" cy="11113"/>
              </a:xfrm>
              <a:custGeom>
                <a:avLst/>
                <a:gdLst>
                  <a:gd name="T0" fmla="*/ 5 w 5"/>
                  <a:gd name="T1" fmla="*/ 0 h 7"/>
                  <a:gd name="T2" fmla="*/ 5 w 5"/>
                  <a:gd name="T3" fmla="*/ 7 h 7"/>
                  <a:gd name="T4" fmla="*/ 0 w 5"/>
                  <a:gd name="T5" fmla="*/ 7 h 7"/>
                  <a:gd name="T6" fmla="*/ 5 w 5"/>
                  <a:gd name="T7" fmla="*/ 0 h 7"/>
                  <a:gd name="T8" fmla="*/ 5 w 5"/>
                  <a:gd name="T9" fmla="*/ 0 h 7"/>
                  <a:gd name="T10" fmla="*/ 5 w 5"/>
                  <a:gd name="T11" fmla="*/ 0 h 7"/>
                  <a:gd name="T12" fmla="*/ 5 w 5"/>
                  <a:gd name="T13" fmla="*/ 0 h 7"/>
                  <a:gd name="T14" fmla="*/ 5 w 5"/>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0"/>
                    </a:moveTo>
                    <a:lnTo>
                      <a:pt x="5" y="7"/>
                    </a:lnTo>
                    <a:lnTo>
                      <a:pt x="0" y="7"/>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47" name="Freeform 10">
                <a:extLst>
                  <a:ext uri="{FF2B5EF4-FFF2-40B4-BE49-F238E27FC236}">
                    <a16:creationId xmlns:a16="http://schemas.microsoft.com/office/drawing/2014/main" id="{B1E31A90-53EB-46DF-A7AC-8B7D78EF41B9}"/>
                  </a:ext>
                </a:extLst>
              </p:cNvPr>
              <p:cNvSpPr>
                <a:spLocks/>
              </p:cNvSpPr>
              <p:nvPr/>
            </p:nvSpPr>
            <p:spPr bwMode="gray">
              <a:xfrm>
                <a:off x="12836525" y="660400"/>
                <a:ext cx="7938" cy="11113"/>
              </a:xfrm>
              <a:custGeom>
                <a:avLst/>
                <a:gdLst>
                  <a:gd name="T0" fmla="*/ 0 w 5"/>
                  <a:gd name="T1" fmla="*/ 0 h 7"/>
                  <a:gd name="T2" fmla="*/ 5 w 5"/>
                  <a:gd name="T3" fmla="*/ 7 h 7"/>
                  <a:gd name="T4" fmla="*/ 0 w 5"/>
                  <a:gd name="T5" fmla="*/ 7 h 7"/>
                  <a:gd name="T6" fmla="*/ 0 w 5"/>
                  <a:gd name="T7" fmla="*/ 0 h 7"/>
                  <a:gd name="T8" fmla="*/ 0 w 5"/>
                  <a:gd name="T9" fmla="*/ 0 h 7"/>
                  <a:gd name="T10" fmla="*/ 0 w 5"/>
                  <a:gd name="T11" fmla="*/ 0 h 7"/>
                  <a:gd name="T12" fmla="*/ 0 w 5"/>
                  <a:gd name="T13" fmla="*/ 0 h 7"/>
                  <a:gd name="T14" fmla="*/ 0 w 5"/>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0" y="0"/>
                    </a:moveTo>
                    <a:lnTo>
                      <a:pt x="5" y="7"/>
                    </a:lnTo>
                    <a:lnTo>
                      <a:pt x="0" y="7"/>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48" name="Freeform 11">
                <a:extLst>
                  <a:ext uri="{FF2B5EF4-FFF2-40B4-BE49-F238E27FC236}">
                    <a16:creationId xmlns:a16="http://schemas.microsoft.com/office/drawing/2014/main" id="{87F0082E-2BFB-4230-B869-C38814D97A26}"/>
                  </a:ext>
                </a:extLst>
              </p:cNvPr>
              <p:cNvSpPr>
                <a:spLocks/>
              </p:cNvSpPr>
              <p:nvPr/>
            </p:nvSpPr>
            <p:spPr bwMode="gray">
              <a:xfrm>
                <a:off x="13611225" y="674688"/>
                <a:ext cx="4763" cy="7938"/>
              </a:xfrm>
              <a:custGeom>
                <a:avLst/>
                <a:gdLst>
                  <a:gd name="T0" fmla="*/ 3 w 3"/>
                  <a:gd name="T1" fmla="*/ 0 h 5"/>
                  <a:gd name="T2" fmla="*/ 3 w 3"/>
                  <a:gd name="T3" fmla="*/ 5 h 5"/>
                  <a:gd name="T4" fmla="*/ 0 w 3"/>
                  <a:gd name="T5" fmla="*/ 0 h 5"/>
                  <a:gd name="T6" fmla="*/ 3 w 3"/>
                  <a:gd name="T7" fmla="*/ 0 h 5"/>
                  <a:gd name="T8" fmla="*/ 3 w 3"/>
                  <a:gd name="T9" fmla="*/ 0 h 5"/>
                  <a:gd name="T10" fmla="*/ 3 w 3"/>
                  <a:gd name="T11" fmla="*/ 0 h 5"/>
                  <a:gd name="T12" fmla="*/ 3 w 3"/>
                  <a:gd name="T13" fmla="*/ 0 h 5"/>
                  <a:gd name="T14" fmla="*/ 3 w 3"/>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0"/>
                    </a:moveTo>
                    <a:lnTo>
                      <a:pt x="3" y="5"/>
                    </a:lnTo>
                    <a:lnTo>
                      <a:pt x="0" y="0"/>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49" name="Freeform 12">
                <a:extLst>
                  <a:ext uri="{FF2B5EF4-FFF2-40B4-BE49-F238E27FC236}">
                    <a16:creationId xmlns:a16="http://schemas.microsoft.com/office/drawing/2014/main" id="{AA3AF50B-8ACF-4959-AC05-897EE2B1D7E2}"/>
                  </a:ext>
                </a:extLst>
              </p:cNvPr>
              <p:cNvSpPr>
                <a:spLocks/>
              </p:cNvSpPr>
              <p:nvPr/>
            </p:nvSpPr>
            <p:spPr bwMode="gray">
              <a:xfrm>
                <a:off x="13619163" y="674688"/>
                <a:ext cx="11113" cy="7938"/>
              </a:xfrm>
              <a:custGeom>
                <a:avLst/>
                <a:gdLst>
                  <a:gd name="T0" fmla="*/ 7 w 7"/>
                  <a:gd name="T1" fmla="*/ 0 h 5"/>
                  <a:gd name="T2" fmla="*/ 7 w 7"/>
                  <a:gd name="T3" fmla="*/ 5 h 5"/>
                  <a:gd name="T4" fmla="*/ 5 w 7"/>
                  <a:gd name="T5" fmla="*/ 5 h 5"/>
                  <a:gd name="T6" fmla="*/ 0 w 7"/>
                  <a:gd name="T7" fmla="*/ 0 h 5"/>
                  <a:gd name="T8" fmla="*/ 7 w 7"/>
                  <a:gd name="T9" fmla="*/ 0 h 5"/>
                  <a:gd name="T10" fmla="*/ 7 w 7"/>
                  <a:gd name="T11" fmla="*/ 0 h 5"/>
                  <a:gd name="T12" fmla="*/ 7 w 7"/>
                  <a:gd name="T13" fmla="*/ 0 h 5"/>
                  <a:gd name="T14" fmla="*/ 7 w 7"/>
                  <a:gd name="T15" fmla="*/ 0 h 5"/>
                  <a:gd name="T16" fmla="*/ 7 w 7"/>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5">
                    <a:moveTo>
                      <a:pt x="7" y="0"/>
                    </a:moveTo>
                    <a:lnTo>
                      <a:pt x="7" y="5"/>
                    </a:lnTo>
                    <a:lnTo>
                      <a:pt x="5" y="5"/>
                    </a:lnTo>
                    <a:lnTo>
                      <a:pt x="0" y="0"/>
                    </a:lnTo>
                    <a:lnTo>
                      <a:pt x="7" y="0"/>
                    </a:lnTo>
                    <a:lnTo>
                      <a:pt x="7" y="0"/>
                    </a:lnTo>
                    <a:lnTo>
                      <a:pt x="7"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50" name="Freeform 13">
                <a:extLst>
                  <a:ext uri="{FF2B5EF4-FFF2-40B4-BE49-F238E27FC236}">
                    <a16:creationId xmlns:a16="http://schemas.microsoft.com/office/drawing/2014/main" id="{0A730BE6-58AC-40AD-AFB1-9E392A97B619}"/>
                  </a:ext>
                </a:extLst>
              </p:cNvPr>
              <p:cNvSpPr>
                <a:spLocks/>
              </p:cNvSpPr>
              <p:nvPr/>
            </p:nvSpPr>
            <p:spPr bwMode="gray">
              <a:xfrm>
                <a:off x="13644563" y="682625"/>
                <a:ext cx="7938" cy="4763"/>
              </a:xfrm>
              <a:custGeom>
                <a:avLst/>
                <a:gdLst>
                  <a:gd name="T0" fmla="*/ 5 w 5"/>
                  <a:gd name="T1" fmla="*/ 0 h 3"/>
                  <a:gd name="T2" fmla="*/ 5 w 5"/>
                  <a:gd name="T3" fmla="*/ 0 h 3"/>
                  <a:gd name="T4" fmla="*/ 0 w 5"/>
                  <a:gd name="T5" fmla="*/ 3 h 3"/>
                  <a:gd name="T6" fmla="*/ 5 w 5"/>
                  <a:gd name="T7" fmla="*/ 0 h 3"/>
                  <a:gd name="T8" fmla="*/ 5 w 5"/>
                  <a:gd name="T9" fmla="*/ 0 h 3"/>
                  <a:gd name="T10" fmla="*/ 5 w 5"/>
                  <a:gd name="T11" fmla="*/ 0 h 3"/>
                  <a:gd name="T12" fmla="*/ 5 w 5"/>
                  <a:gd name="T13" fmla="*/ 0 h 3"/>
                  <a:gd name="T14" fmla="*/ 5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5" y="0"/>
                    </a:moveTo>
                    <a:lnTo>
                      <a:pt x="5" y="0"/>
                    </a:lnTo>
                    <a:lnTo>
                      <a:pt x="0" y="3"/>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51" name="Freeform 14">
                <a:extLst>
                  <a:ext uri="{FF2B5EF4-FFF2-40B4-BE49-F238E27FC236}">
                    <a16:creationId xmlns:a16="http://schemas.microsoft.com/office/drawing/2014/main" id="{B64D7513-E9D3-4A12-A7C7-62056E6FCEC8}"/>
                  </a:ext>
                </a:extLst>
              </p:cNvPr>
              <p:cNvSpPr>
                <a:spLocks/>
              </p:cNvSpPr>
              <p:nvPr/>
            </p:nvSpPr>
            <p:spPr bwMode="gray">
              <a:xfrm>
                <a:off x="12465050" y="687388"/>
                <a:ext cx="38100" cy="22225"/>
              </a:xfrm>
              <a:custGeom>
                <a:avLst/>
                <a:gdLst>
                  <a:gd name="T0" fmla="*/ 24 w 24"/>
                  <a:gd name="T1" fmla="*/ 14 h 14"/>
                  <a:gd name="T2" fmla="*/ 14 w 24"/>
                  <a:gd name="T3" fmla="*/ 14 h 14"/>
                  <a:gd name="T4" fmla="*/ 0 w 24"/>
                  <a:gd name="T5" fmla="*/ 2 h 14"/>
                  <a:gd name="T6" fmla="*/ 5 w 24"/>
                  <a:gd name="T7" fmla="*/ 0 h 14"/>
                  <a:gd name="T8" fmla="*/ 7 w 24"/>
                  <a:gd name="T9" fmla="*/ 7 h 14"/>
                  <a:gd name="T10" fmla="*/ 24 w 24"/>
                  <a:gd name="T11" fmla="*/ 14 h 14"/>
                  <a:gd name="T12" fmla="*/ 24 w 24"/>
                  <a:gd name="T13" fmla="*/ 14 h 14"/>
                  <a:gd name="T14" fmla="*/ 24 w 24"/>
                  <a:gd name="T15" fmla="*/ 14 h 14"/>
                  <a:gd name="T16" fmla="*/ 24 w 24"/>
                  <a:gd name="T17" fmla="*/ 14 h 14"/>
                  <a:gd name="T18" fmla="*/ 24 w 24"/>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4">
                    <a:moveTo>
                      <a:pt x="24" y="14"/>
                    </a:moveTo>
                    <a:lnTo>
                      <a:pt x="14" y="14"/>
                    </a:lnTo>
                    <a:lnTo>
                      <a:pt x="0" y="2"/>
                    </a:lnTo>
                    <a:lnTo>
                      <a:pt x="5" y="0"/>
                    </a:lnTo>
                    <a:lnTo>
                      <a:pt x="7" y="7"/>
                    </a:lnTo>
                    <a:lnTo>
                      <a:pt x="24" y="14"/>
                    </a:lnTo>
                    <a:lnTo>
                      <a:pt x="24" y="14"/>
                    </a:lnTo>
                    <a:lnTo>
                      <a:pt x="24" y="14"/>
                    </a:lnTo>
                    <a:lnTo>
                      <a:pt x="24" y="14"/>
                    </a:lnTo>
                    <a:lnTo>
                      <a:pt x="24"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52" name="Freeform 15">
                <a:extLst>
                  <a:ext uri="{FF2B5EF4-FFF2-40B4-BE49-F238E27FC236}">
                    <a16:creationId xmlns:a16="http://schemas.microsoft.com/office/drawing/2014/main" id="{2404F87C-EA37-4DB1-98A9-4BD660B65DE1}"/>
                  </a:ext>
                </a:extLst>
              </p:cNvPr>
              <p:cNvSpPr>
                <a:spLocks/>
              </p:cNvSpPr>
              <p:nvPr/>
            </p:nvSpPr>
            <p:spPr bwMode="gray">
              <a:xfrm>
                <a:off x="13435013" y="690563"/>
                <a:ext cx="7938" cy="7938"/>
              </a:xfrm>
              <a:custGeom>
                <a:avLst/>
                <a:gdLst>
                  <a:gd name="T0" fmla="*/ 5 w 5"/>
                  <a:gd name="T1" fmla="*/ 5 h 5"/>
                  <a:gd name="T2" fmla="*/ 0 w 5"/>
                  <a:gd name="T3" fmla="*/ 5 h 5"/>
                  <a:gd name="T4" fmla="*/ 5 w 5"/>
                  <a:gd name="T5" fmla="*/ 0 h 5"/>
                  <a:gd name="T6" fmla="*/ 5 w 5"/>
                  <a:gd name="T7" fmla="*/ 5 h 5"/>
                  <a:gd name="T8" fmla="*/ 5 w 5"/>
                  <a:gd name="T9" fmla="*/ 5 h 5"/>
                  <a:gd name="T10" fmla="*/ 5 w 5"/>
                  <a:gd name="T11" fmla="*/ 5 h 5"/>
                  <a:gd name="T12" fmla="*/ 5 w 5"/>
                  <a:gd name="T13" fmla="*/ 5 h 5"/>
                  <a:gd name="T14" fmla="*/ 5 w 5"/>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5" y="5"/>
                    </a:moveTo>
                    <a:lnTo>
                      <a:pt x="0" y="5"/>
                    </a:lnTo>
                    <a:lnTo>
                      <a:pt x="5" y="0"/>
                    </a:lnTo>
                    <a:lnTo>
                      <a:pt x="5" y="5"/>
                    </a:lnTo>
                    <a:lnTo>
                      <a:pt x="5" y="5"/>
                    </a:lnTo>
                    <a:lnTo>
                      <a:pt x="5" y="5"/>
                    </a:lnTo>
                    <a:lnTo>
                      <a:pt x="5"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53" name="Freeform 16">
                <a:extLst>
                  <a:ext uri="{FF2B5EF4-FFF2-40B4-BE49-F238E27FC236}">
                    <a16:creationId xmlns:a16="http://schemas.microsoft.com/office/drawing/2014/main" id="{E4312731-FEBB-4499-9F54-EB8877195E3A}"/>
                  </a:ext>
                </a:extLst>
              </p:cNvPr>
              <p:cNvSpPr>
                <a:spLocks/>
              </p:cNvSpPr>
              <p:nvPr/>
            </p:nvSpPr>
            <p:spPr bwMode="gray">
              <a:xfrm>
                <a:off x="13627100" y="690563"/>
                <a:ext cx="14288" cy="25400"/>
              </a:xfrm>
              <a:custGeom>
                <a:avLst/>
                <a:gdLst>
                  <a:gd name="T0" fmla="*/ 9 w 9"/>
                  <a:gd name="T1" fmla="*/ 5 h 16"/>
                  <a:gd name="T2" fmla="*/ 4 w 9"/>
                  <a:gd name="T3" fmla="*/ 5 h 16"/>
                  <a:gd name="T4" fmla="*/ 9 w 9"/>
                  <a:gd name="T5" fmla="*/ 5 h 16"/>
                  <a:gd name="T6" fmla="*/ 4 w 9"/>
                  <a:gd name="T7" fmla="*/ 16 h 16"/>
                  <a:gd name="T8" fmla="*/ 0 w 9"/>
                  <a:gd name="T9" fmla="*/ 12 h 16"/>
                  <a:gd name="T10" fmla="*/ 4 w 9"/>
                  <a:gd name="T11" fmla="*/ 5 h 16"/>
                  <a:gd name="T12" fmla="*/ 4 w 9"/>
                  <a:gd name="T13" fmla="*/ 0 h 16"/>
                  <a:gd name="T14" fmla="*/ 9 w 9"/>
                  <a:gd name="T15" fmla="*/ 5 h 16"/>
                  <a:gd name="T16" fmla="*/ 9 w 9"/>
                  <a:gd name="T17" fmla="*/ 5 h 16"/>
                  <a:gd name="T18" fmla="*/ 9 w 9"/>
                  <a:gd name="T19" fmla="*/ 5 h 16"/>
                  <a:gd name="T20" fmla="*/ 9 w 9"/>
                  <a:gd name="T21" fmla="*/ 5 h 16"/>
                  <a:gd name="T22" fmla="*/ 9 w 9"/>
                  <a:gd name="T23"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6">
                    <a:moveTo>
                      <a:pt x="9" y="5"/>
                    </a:moveTo>
                    <a:lnTo>
                      <a:pt x="4" y="5"/>
                    </a:lnTo>
                    <a:lnTo>
                      <a:pt x="9" y="5"/>
                    </a:lnTo>
                    <a:lnTo>
                      <a:pt x="4" y="16"/>
                    </a:lnTo>
                    <a:lnTo>
                      <a:pt x="0" y="12"/>
                    </a:lnTo>
                    <a:lnTo>
                      <a:pt x="4" y="5"/>
                    </a:lnTo>
                    <a:lnTo>
                      <a:pt x="4" y="0"/>
                    </a:lnTo>
                    <a:lnTo>
                      <a:pt x="9" y="5"/>
                    </a:lnTo>
                    <a:lnTo>
                      <a:pt x="9" y="5"/>
                    </a:lnTo>
                    <a:lnTo>
                      <a:pt x="9" y="5"/>
                    </a:lnTo>
                    <a:lnTo>
                      <a:pt x="9" y="5"/>
                    </a:lnTo>
                    <a:lnTo>
                      <a:pt x="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54" name="Freeform 17">
                <a:extLst>
                  <a:ext uri="{FF2B5EF4-FFF2-40B4-BE49-F238E27FC236}">
                    <a16:creationId xmlns:a16="http://schemas.microsoft.com/office/drawing/2014/main" id="{BDE0650F-12BF-4DB6-890F-F757C4AE48C6}"/>
                  </a:ext>
                </a:extLst>
              </p:cNvPr>
              <p:cNvSpPr>
                <a:spLocks/>
              </p:cNvSpPr>
              <p:nvPr/>
            </p:nvSpPr>
            <p:spPr bwMode="gray">
              <a:xfrm>
                <a:off x="13682663" y="698500"/>
                <a:ext cx="26988" cy="11113"/>
              </a:xfrm>
              <a:custGeom>
                <a:avLst/>
                <a:gdLst>
                  <a:gd name="T0" fmla="*/ 17 w 17"/>
                  <a:gd name="T1" fmla="*/ 0 h 7"/>
                  <a:gd name="T2" fmla="*/ 2 w 17"/>
                  <a:gd name="T3" fmla="*/ 7 h 7"/>
                  <a:gd name="T4" fmla="*/ 2 w 17"/>
                  <a:gd name="T5" fmla="*/ 7 h 7"/>
                  <a:gd name="T6" fmla="*/ 5 w 17"/>
                  <a:gd name="T7" fmla="*/ 0 h 7"/>
                  <a:gd name="T8" fmla="*/ 0 w 17"/>
                  <a:gd name="T9" fmla="*/ 0 h 7"/>
                  <a:gd name="T10" fmla="*/ 2 w 17"/>
                  <a:gd name="T11" fmla="*/ 0 h 7"/>
                  <a:gd name="T12" fmla="*/ 17 w 17"/>
                  <a:gd name="T13" fmla="*/ 0 h 7"/>
                  <a:gd name="T14" fmla="*/ 17 w 17"/>
                  <a:gd name="T15" fmla="*/ 0 h 7"/>
                  <a:gd name="T16" fmla="*/ 17 w 17"/>
                  <a:gd name="T17" fmla="*/ 0 h 7"/>
                  <a:gd name="T18" fmla="*/ 17 w 17"/>
                  <a:gd name="T19" fmla="*/ 0 h 7"/>
                  <a:gd name="T20" fmla="*/ 17 w 17"/>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7">
                    <a:moveTo>
                      <a:pt x="17" y="0"/>
                    </a:moveTo>
                    <a:lnTo>
                      <a:pt x="2" y="7"/>
                    </a:lnTo>
                    <a:lnTo>
                      <a:pt x="2" y="7"/>
                    </a:lnTo>
                    <a:lnTo>
                      <a:pt x="5" y="0"/>
                    </a:lnTo>
                    <a:lnTo>
                      <a:pt x="0" y="0"/>
                    </a:lnTo>
                    <a:lnTo>
                      <a:pt x="2" y="0"/>
                    </a:lnTo>
                    <a:lnTo>
                      <a:pt x="17" y="0"/>
                    </a:lnTo>
                    <a:lnTo>
                      <a:pt x="17" y="0"/>
                    </a:lnTo>
                    <a:lnTo>
                      <a:pt x="17" y="0"/>
                    </a:lnTo>
                    <a:lnTo>
                      <a:pt x="17" y="0"/>
                    </a:lnTo>
                    <a:lnTo>
                      <a:pt x="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55" name="Freeform 18">
                <a:extLst>
                  <a:ext uri="{FF2B5EF4-FFF2-40B4-BE49-F238E27FC236}">
                    <a16:creationId xmlns:a16="http://schemas.microsoft.com/office/drawing/2014/main" id="{C14E14FF-1E3A-4681-9F35-CDB7622E327F}"/>
                  </a:ext>
                </a:extLst>
              </p:cNvPr>
              <p:cNvSpPr>
                <a:spLocks/>
              </p:cNvSpPr>
              <p:nvPr/>
            </p:nvSpPr>
            <p:spPr bwMode="gray">
              <a:xfrm>
                <a:off x="12726988" y="698500"/>
                <a:ext cx="82550" cy="47625"/>
              </a:xfrm>
              <a:custGeom>
                <a:avLst/>
                <a:gdLst>
                  <a:gd name="T0" fmla="*/ 38 w 52"/>
                  <a:gd name="T1" fmla="*/ 0 h 30"/>
                  <a:gd name="T2" fmla="*/ 38 w 52"/>
                  <a:gd name="T3" fmla="*/ 7 h 30"/>
                  <a:gd name="T4" fmla="*/ 52 w 52"/>
                  <a:gd name="T5" fmla="*/ 7 h 30"/>
                  <a:gd name="T6" fmla="*/ 52 w 52"/>
                  <a:gd name="T7" fmla="*/ 14 h 30"/>
                  <a:gd name="T8" fmla="*/ 52 w 52"/>
                  <a:gd name="T9" fmla="*/ 21 h 30"/>
                  <a:gd name="T10" fmla="*/ 36 w 52"/>
                  <a:gd name="T11" fmla="*/ 23 h 30"/>
                  <a:gd name="T12" fmla="*/ 38 w 52"/>
                  <a:gd name="T13" fmla="*/ 28 h 30"/>
                  <a:gd name="T14" fmla="*/ 36 w 52"/>
                  <a:gd name="T15" fmla="*/ 30 h 30"/>
                  <a:gd name="T16" fmla="*/ 7 w 52"/>
                  <a:gd name="T17" fmla="*/ 19 h 30"/>
                  <a:gd name="T18" fmla="*/ 0 w 52"/>
                  <a:gd name="T19" fmla="*/ 11 h 30"/>
                  <a:gd name="T20" fmla="*/ 15 w 52"/>
                  <a:gd name="T21" fmla="*/ 7 h 30"/>
                  <a:gd name="T22" fmla="*/ 24 w 52"/>
                  <a:gd name="T23" fmla="*/ 0 h 30"/>
                  <a:gd name="T24" fmla="*/ 38 w 52"/>
                  <a:gd name="T25" fmla="*/ 0 h 30"/>
                  <a:gd name="T26" fmla="*/ 38 w 52"/>
                  <a:gd name="T27" fmla="*/ 0 h 30"/>
                  <a:gd name="T28" fmla="*/ 38 w 52"/>
                  <a:gd name="T29" fmla="*/ 0 h 30"/>
                  <a:gd name="T30" fmla="*/ 38 w 52"/>
                  <a:gd name="T31" fmla="*/ 0 h 30"/>
                  <a:gd name="T32" fmla="*/ 38 w 52"/>
                  <a:gd name="T3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30">
                    <a:moveTo>
                      <a:pt x="38" y="0"/>
                    </a:moveTo>
                    <a:lnTo>
                      <a:pt x="38" y="7"/>
                    </a:lnTo>
                    <a:lnTo>
                      <a:pt x="52" y="7"/>
                    </a:lnTo>
                    <a:lnTo>
                      <a:pt x="52" y="14"/>
                    </a:lnTo>
                    <a:lnTo>
                      <a:pt x="52" y="21"/>
                    </a:lnTo>
                    <a:lnTo>
                      <a:pt x="36" y="23"/>
                    </a:lnTo>
                    <a:lnTo>
                      <a:pt x="38" y="28"/>
                    </a:lnTo>
                    <a:lnTo>
                      <a:pt x="36" y="30"/>
                    </a:lnTo>
                    <a:lnTo>
                      <a:pt x="7" y="19"/>
                    </a:lnTo>
                    <a:lnTo>
                      <a:pt x="0" y="11"/>
                    </a:lnTo>
                    <a:lnTo>
                      <a:pt x="15" y="7"/>
                    </a:lnTo>
                    <a:lnTo>
                      <a:pt x="24" y="0"/>
                    </a:lnTo>
                    <a:lnTo>
                      <a:pt x="38" y="0"/>
                    </a:lnTo>
                    <a:lnTo>
                      <a:pt x="38" y="0"/>
                    </a:lnTo>
                    <a:lnTo>
                      <a:pt x="38" y="0"/>
                    </a:lnTo>
                    <a:lnTo>
                      <a:pt x="38" y="0"/>
                    </a:ln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56" name="Freeform 19">
                <a:extLst>
                  <a:ext uri="{FF2B5EF4-FFF2-40B4-BE49-F238E27FC236}">
                    <a16:creationId xmlns:a16="http://schemas.microsoft.com/office/drawing/2014/main" id="{48EFD745-2115-4F01-8F52-B12D14049683}"/>
                  </a:ext>
                </a:extLst>
              </p:cNvPr>
              <p:cNvSpPr>
                <a:spLocks/>
              </p:cNvSpPr>
              <p:nvPr/>
            </p:nvSpPr>
            <p:spPr bwMode="gray">
              <a:xfrm>
                <a:off x="13746163" y="698500"/>
                <a:ext cx="11113" cy="11113"/>
              </a:xfrm>
              <a:custGeom>
                <a:avLst/>
                <a:gdLst>
                  <a:gd name="T0" fmla="*/ 7 w 7"/>
                  <a:gd name="T1" fmla="*/ 0 h 7"/>
                  <a:gd name="T2" fmla="*/ 7 w 7"/>
                  <a:gd name="T3" fmla="*/ 7 h 7"/>
                  <a:gd name="T4" fmla="*/ 0 w 7"/>
                  <a:gd name="T5" fmla="*/ 7 h 7"/>
                  <a:gd name="T6" fmla="*/ 7 w 7"/>
                  <a:gd name="T7" fmla="*/ 0 h 7"/>
                  <a:gd name="T8" fmla="*/ 7 w 7"/>
                  <a:gd name="T9" fmla="*/ 0 h 7"/>
                  <a:gd name="T10" fmla="*/ 7 w 7"/>
                  <a:gd name="T11" fmla="*/ 0 h 7"/>
                  <a:gd name="T12" fmla="*/ 7 w 7"/>
                  <a:gd name="T13" fmla="*/ 0 h 7"/>
                  <a:gd name="T14" fmla="*/ 7 w 7"/>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7" y="0"/>
                    </a:moveTo>
                    <a:lnTo>
                      <a:pt x="7" y="7"/>
                    </a:lnTo>
                    <a:lnTo>
                      <a:pt x="0" y="7"/>
                    </a:lnTo>
                    <a:lnTo>
                      <a:pt x="7" y="0"/>
                    </a:lnTo>
                    <a:lnTo>
                      <a:pt x="7" y="0"/>
                    </a:lnTo>
                    <a:lnTo>
                      <a:pt x="7"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57" name="Freeform 20">
                <a:extLst>
                  <a:ext uri="{FF2B5EF4-FFF2-40B4-BE49-F238E27FC236}">
                    <a16:creationId xmlns:a16="http://schemas.microsoft.com/office/drawing/2014/main" id="{BDCFF63D-5C0E-4BB4-BEFB-E04072EA41F6}"/>
                  </a:ext>
                </a:extLst>
              </p:cNvPr>
              <p:cNvSpPr>
                <a:spLocks/>
              </p:cNvSpPr>
              <p:nvPr/>
            </p:nvSpPr>
            <p:spPr bwMode="gray">
              <a:xfrm>
                <a:off x="13615988" y="698500"/>
                <a:ext cx="11113" cy="11113"/>
              </a:xfrm>
              <a:custGeom>
                <a:avLst/>
                <a:gdLst>
                  <a:gd name="T0" fmla="*/ 7 w 7"/>
                  <a:gd name="T1" fmla="*/ 0 h 7"/>
                  <a:gd name="T2" fmla="*/ 2 w 7"/>
                  <a:gd name="T3" fmla="*/ 7 h 7"/>
                  <a:gd name="T4" fmla="*/ 0 w 7"/>
                  <a:gd name="T5" fmla="*/ 7 h 7"/>
                  <a:gd name="T6" fmla="*/ 7 w 7"/>
                  <a:gd name="T7" fmla="*/ 0 h 7"/>
                  <a:gd name="T8" fmla="*/ 7 w 7"/>
                  <a:gd name="T9" fmla="*/ 0 h 7"/>
                  <a:gd name="T10" fmla="*/ 7 w 7"/>
                  <a:gd name="T11" fmla="*/ 0 h 7"/>
                  <a:gd name="T12" fmla="*/ 7 w 7"/>
                  <a:gd name="T13" fmla="*/ 0 h 7"/>
                  <a:gd name="T14" fmla="*/ 7 w 7"/>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7" y="0"/>
                    </a:moveTo>
                    <a:lnTo>
                      <a:pt x="2" y="7"/>
                    </a:lnTo>
                    <a:lnTo>
                      <a:pt x="0" y="7"/>
                    </a:lnTo>
                    <a:lnTo>
                      <a:pt x="7" y="0"/>
                    </a:lnTo>
                    <a:lnTo>
                      <a:pt x="7" y="0"/>
                    </a:lnTo>
                    <a:lnTo>
                      <a:pt x="7"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58" name="Freeform 21">
                <a:extLst>
                  <a:ext uri="{FF2B5EF4-FFF2-40B4-BE49-F238E27FC236}">
                    <a16:creationId xmlns:a16="http://schemas.microsoft.com/office/drawing/2014/main" id="{0E26F47D-BD7F-4DAE-BB93-F06F85F96538}"/>
                  </a:ext>
                </a:extLst>
              </p:cNvPr>
              <p:cNvSpPr>
                <a:spLocks/>
              </p:cNvSpPr>
              <p:nvPr/>
            </p:nvSpPr>
            <p:spPr bwMode="gray">
              <a:xfrm>
                <a:off x="13627100" y="698500"/>
                <a:ext cx="44450" cy="44450"/>
              </a:xfrm>
              <a:custGeom>
                <a:avLst/>
                <a:gdLst>
                  <a:gd name="T0" fmla="*/ 28 w 28"/>
                  <a:gd name="T1" fmla="*/ 7 h 28"/>
                  <a:gd name="T2" fmla="*/ 11 w 28"/>
                  <a:gd name="T3" fmla="*/ 23 h 28"/>
                  <a:gd name="T4" fmla="*/ 0 w 28"/>
                  <a:gd name="T5" fmla="*/ 28 h 28"/>
                  <a:gd name="T6" fmla="*/ 2 w 28"/>
                  <a:gd name="T7" fmla="*/ 21 h 28"/>
                  <a:gd name="T8" fmla="*/ 16 w 28"/>
                  <a:gd name="T9" fmla="*/ 14 h 28"/>
                  <a:gd name="T10" fmla="*/ 21 w 28"/>
                  <a:gd name="T11" fmla="*/ 0 h 28"/>
                  <a:gd name="T12" fmla="*/ 28 w 28"/>
                  <a:gd name="T13" fmla="*/ 7 h 28"/>
                  <a:gd name="T14" fmla="*/ 28 w 28"/>
                  <a:gd name="T15" fmla="*/ 7 h 28"/>
                  <a:gd name="T16" fmla="*/ 28 w 28"/>
                  <a:gd name="T17" fmla="*/ 7 h 28"/>
                  <a:gd name="T18" fmla="*/ 28 w 28"/>
                  <a:gd name="T19" fmla="*/ 7 h 28"/>
                  <a:gd name="T20" fmla="*/ 28 w 28"/>
                  <a:gd name="T21"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8">
                    <a:moveTo>
                      <a:pt x="28" y="7"/>
                    </a:moveTo>
                    <a:lnTo>
                      <a:pt x="11" y="23"/>
                    </a:lnTo>
                    <a:lnTo>
                      <a:pt x="0" y="28"/>
                    </a:lnTo>
                    <a:lnTo>
                      <a:pt x="2" y="21"/>
                    </a:lnTo>
                    <a:lnTo>
                      <a:pt x="16" y="14"/>
                    </a:lnTo>
                    <a:lnTo>
                      <a:pt x="21" y="0"/>
                    </a:lnTo>
                    <a:lnTo>
                      <a:pt x="28" y="7"/>
                    </a:lnTo>
                    <a:lnTo>
                      <a:pt x="28" y="7"/>
                    </a:lnTo>
                    <a:lnTo>
                      <a:pt x="28" y="7"/>
                    </a:lnTo>
                    <a:lnTo>
                      <a:pt x="28" y="7"/>
                    </a:lnTo>
                    <a:lnTo>
                      <a:pt x="2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59" name="Freeform 22">
                <a:extLst>
                  <a:ext uri="{FF2B5EF4-FFF2-40B4-BE49-F238E27FC236}">
                    <a16:creationId xmlns:a16="http://schemas.microsoft.com/office/drawing/2014/main" id="{FE00D7B3-3782-43FC-9EC4-40992639A838}"/>
                  </a:ext>
                </a:extLst>
              </p:cNvPr>
              <p:cNvSpPr>
                <a:spLocks/>
              </p:cNvSpPr>
              <p:nvPr/>
            </p:nvSpPr>
            <p:spPr bwMode="gray">
              <a:xfrm>
                <a:off x="13611225" y="715963"/>
                <a:ext cx="7938" cy="12700"/>
              </a:xfrm>
              <a:custGeom>
                <a:avLst/>
                <a:gdLst>
                  <a:gd name="T0" fmla="*/ 5 w 5"/>
                  <a:gd name="T1" fmla="*/ 0 h 8"/>
                  <a:gd name="T2" fmla="*/ 3 w 5"/>
                  <a:gd name="T3" fmla="*/ 8 h 8"/>
                  <a:gd name="T4" fmla="*/ 0 w 5"/>
                  <a:gd name="T5" fmla="*/ 8 h 8"/>
                  <a:gd name="T6" fmla="*/ 5 w 5"/>
                  <a:gd name="T7" fmla="*/ 0 h 8"/>
                  <a:gd name="T8" fmla="*/ 5 w 5"/>
                  <a:gd name="T9" fmla="*/ 0 h 8"/>
                  <a:gd name="T10" fmla="*/ 5 w 5"/>
                  <a:gd name="T11" fmla="*/ 0 h 8"/>
                  <a:gd name="T12" fmla="*/ 5 w 5"/>
                  <a:gd name="T13" fmla="*/ 0 h 8"/>
                  <a:gd name="T14" fmla="*/ 5 w 5"/>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8">
                    <a:moveTo>
                      <a:pt x="5" y="0"/>
                    </a:moveTo>
                    <a:lnTo>
                      <a:pt x="3" y="8"/>
                    </a:lnTo>
                    <a:lnTo>
                      <a:pt x="0" y="8"/>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60" name="Freeform 23">
                <a:extLst>
                  <a:ext uri="{FF2B5EF4-FFF2-40B4-BE49-F238E27FC236}">
                    <a16:creationId xmlns:a16="http://schemas.microsoft.com/office/drawing/2014/main" id="{5A76A475-17A2-49BB-9FB1-4F89C02B6C60}"/>
                  </a:ext>
                </a:extLst>
              </p:cNvPr>
              <p:cNvSpPr>
                <a:spLocks/>
              </p:cNvSpPr>
              <p:nvPr/>
            </p:nvSpPr>
            <p:spPr bwMode="gray">
              <a:xfrm>
                <a:off x="13615988" y="715963"/>
                <a:ext cx="14288" cy="12700"/>
              </a:xfrm>
              <a:custGeom>
                <a:avLst/>
                <a:gdLst>
                  <a:gd name="T0" fmla="*/ 9 w 9"/>
                  <a:gd name="T1" fmla="*/ 3 h 8"/>
                  <a:gd name="T2" fmla="*/ 0 w 9"/>
                  <a:gd name="T3" fmla="*/ 8 h 8"/>
                  <a:gd name="T4" fmla="*/ 7 w 9"/>
                  <a:gd name="T5" fmla="*/ 0 h 8"/>
                  <a:gd name="T6" fmla="*/ 9 w 9"/>
                  <a:gd name="T7" fmla="*/ 3 h 8"/>
                  <a:gd name="T8" fmla="*/ 9 w 9"/>
                  <a:gd name="T9" fmla="*/ 3 h 8"/>
                  <a:gd name="T10" fmla="*/ 9 w 9"/>
                  <a:gd name="T11" fmla="*/ 3 h 8"/>
                  <a:gd name="T12" fmla="*/ 9 w 9"/>
                  <a:gd name="T13" fmla="*/ 3 h 8"/>
                  <a:gd name="T14" fmla="*/ 9 w 9"/>
                  <a:gd name="T15" fmla="*/ 3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8">
                    <a:moveTo>
                      <a:pt x="9" y="3"/>
                    </a:moveTo>
                    <a:lnTo>
                      <a:pt x="0" y="8"/>
                    </a:lnTo>
                    <a:lnTo>
                      <a:pt x="7" y="0"/>
                    </a:lnTo>
                    <a:lnTo>
                      <a:pt x="9" y="3"/>
                    </a:lnTo>
                    <a:lnTo>
                      <a:pt x="9" y="3"/>
                    </a:lnTo>
                    <a:lnTo>
                      <a:pt x="9" y="3"/>
                    </a:lnTo>
                    <a:lnTo>
                      <a:pt x="9" y="3"/>
                    </a:lnTo>
                    <a:lnTo>
                      <a:pt x="9"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61" name="Freeform 24">
                <a:extLst>
                  <a:ext uri="{FF2B5EF4-FFF2-40B4-BE49-F238E27FC236}">
                    <a16:creationId xmlns:a16="http://schemas.microsoft.com/office/drawing/2014/main" id="{13DEFE77-71DF-41E9-AFE2-B987AD9DDB41}"/>
                  </a:ext>
                </a:extLst>
              </p:cNvPr>
              <p:cNvSpPr>
                <a:spLocks/>
              </p:cNvSpPr>
              <p:nvPr/>
            </p:nvSpPr>
            <p:spPr bwMode="gray">
              <a:xfrm>
                <a:off x="13368338" y="769938"/>
                <a:ext cx="11113" cy="3175"/>
              </a:xfrm>
              <a:custGeom>
                <a:avLst/>
                <a:gdLst>
                  <a:gd name="T0" fmla="*/ 0 w 7"/>
                  <a:gd name="T1" fmla="*/ 0 h 2"/>
                  <a:gd name="T2" fmla="*/ 7 w 7"/>
                  <a:gd name="T3" fmla="*/ 2 h 2"/>
                  <a:gd name="T4" fmla="*/ 0 w 7"/>
                  <a:gd name="T5" fmla="*/ 2 h 2"/>
                  <a:gd name="T6" fmla="*/ 0 w 7"/>
                  <a:gd name="T7" fmla="*/ 0 h 2"/>
                  <a:gd name="T8" fmla="*/ 0 w 7"/>
                  <a:gd name="T9" fmla="*/ 0 h 2"/>
                  <a:gd name="T10" fmla="*/ 0 w 7"/>
                  <a:gd name="T11" fmla="*/ 0 h 2"/>
                  <a:gd name="T12" fmla="*/ 0 w 7"/>
                  <a:gd name="T13" fmla="*/ 0 h 2"/>
                  <a:gd name="T14" fmla="*/ 0 w 7"/>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2">
                    <a:moveTo>
                      <a:pt x="0" y="0"/>
                    </a:moveTo>
                    <a:lnTo>
                      <a:pt x="7" y="2"/>
                    </a:lnTo>
                    <a:lnTo>
                      <a:pt x="0" y="2"/>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62" name="Freeform 25">
                <a:extLst>
                  <a:ext uri="{FF2B5EF4-FFF2-40B4-BE49-F238E27FC236}">
                    <a16:creationId xmlns:a16="http://schemas.microsoft.com/office/drawing/2014/main" id="{D15FFC9F-9960-4E43-847D-9E723926AA4E}"/>
                  </a:ext>
                </a:extLst>
              </p:cNvPr>
              <p:cNvSpPr>
                <a:spLocks/>
              </p:cNvSpPr>
              <p:nvPr/>
            </p:nvSpPr>
            <p:spPr bwMode="gray">
              <a:xfrm>
                <a:off x="13012738" y="814388"/>
                <a:ext cx="22225" cy="14288"/>
              </a:xfrm>
              <a:custGeom>
                <a:avLst/>
                <a:gdLst>
                  <a:gd name="T0" fmla="*/ 0 w 14"/>
                  <a:gd name="T1" fmla="*/ 2 h 9"/>
                  <a:gd name="T2" fmla="*/ 14 w 14"/>
                  <a:gd name="T3" fmla="*/ 0 h 9"/>
                  <a:gd name="T4" fmla="*/ 7 w 14"/>
                  <a:gd name="T5" fmla="*/ 7 h 9"/>
                  <a:gd name="T6" fmla="*/ 4 w 14"/>
                  <a:gd name="T7" fmla="*/ 9 h 9"/>
                  <a:gd name="T8" fmla="*/ 0 w 14"/>
                  <a:gd name="T9" fmla="*/ 2 h 9"/>
                  <a:gd name="T10" fmla="*/ 0 w 14"/>
                  <a:gd name="T11" fmla="*/ 2 h 9"/>
                  <a:gd name="T12" fmla="*/ 0 w 14"/>
                  <a:gd name="T13" fmla="*/ 2 h 9"/>
                  <a:gd name="T14" fmla="*/ 0 w 14"/>
                  <a:gd name="T15" fmla="*/ 2 h 9"/>
                  <a:gd name="T16" fmla="*/ 0 w 14"/>
                  <a:gd name="T1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9">
                    <a:moveTo>
                      <a:pt x="0" y="2"/>
                    </a:moveTo>
                    <a:lnTo>
                      <a:pt x="14" y="0"/>
                    </a:lnTo>
                    <a:lnTo>
                      <a:pt x="7" y="7"/>
                    </a:lnTo>
                    <a:lnTo>
                      <a:pt x="4" y="9"/>
                    </a:lnTo>
                    <a:lnTo>
                      <a:pt x="0" y="2"/>
                    </a:lnTo>
                    <a:lnTo>
                      <a:pt x="0" y="2"/>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63" name="Freeform 26">
                <a:extLst>
                  <a:ext uri="{FF2B5EF4-FFF2-40B4-BE49-F238E27FC236}">
                    <a16:creationId xmlns:a16="http://schemas.microsoft.com/office/drawing/2014/main" id="{C3B4214A-7FDA-4B9D-BE0D-178DF3B0B2F2}"/>
                  </a:ext>
                </a:extLst>
              </p:cNvPr>
              <p:cNvSpPr>
                <a:spLocks/>
              </p:cNvSpPr>
              <p:nvPr/>
            </p:nvSpPr>
            <p:spPr bwMode="gray">
              <a:xfrm>
                <a:off x="13404850" y="825500"/>
                <a:ext cx="15875" cy="11113"/>
              </a:xfrm>
              <a:custGeom>
                <a:avLst/>
                <a:gdLst>
                  <a:gd name="T0" fmla="*/ 10 w 10"/>
                  <a:gd name="T1" fmla="*/ 0 h 7"/>
                  <a:gd name="T2" fmla="*/ 8 w 10"/>
                  <a:gd name="T3" fmla="*/ 7 h 7"/>
                  <a:gd name="T4" fmla="*/ 0 w 10"/>
                  <a:gd name="T5" fmla="*/ 2 h 7"/>
                  <a:gd name="T6" fmla="*/ 10 w 10"/>
                  <a:gd name="T7" fmla="*/ 0 h 7"/>
                  <a:gd name="T8" fmla="*/ 10 w 10"/>
                  <a:gd name="T9" fmla="*/ 0 h 7"/>
                  <a:gd name="T10" fmla="*/ 10 w 10"/>
                  <a:gd name="T11" fmla="*/ 0 h 7"/>
                  <a:gd name="T12" fmla="*/ 10 w 10"/>
                  <a:gd name="T13" fmla="*/ 0 h 7"/>
                  <a:gd name="T14" fmla="*/ 10 w 10"/>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7">
                    <a:moveTo>
                      <a:pt x="10" y="0"/>
                    </a:moveTo>
                    <a:lnTo>
                      <a:pt x="8" y="7"/>
                    </a:lnTo>
                    <a:lnTo>
                      <a:pt x="0" y="2"/>
                    </a:lnTo>
                    <a:lnTo>
                      <a:pt x="10" y="0"/>
                    </a:lnTo>
                    <a:lnTo>
                      <a:pt x="10" y="0"/>
                    </a:lnTo>
                    <a:lnTo>
                      <a:pt x="10" y="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64" name="Freeform 27">
                <a:extLst>
                  <a:ext uri="{FF2B5EF4-FFF2-40B4-BE49-F238E27FC236}">
                    <a16:creationId xmlns:a16="http://schemas.microsoft.com/office/drawing/2014/main" id="{DF79F0DB-8936-42E9-A9B9-7B2B83F51328}"/>
                  </a:ext>
                </a:extLst>
              </p:cNvPr>
              <p:cNvSpPr>
                <a:spLocks/>
              </p:cNvSpPr>
              <p:nvPr/>
            </p:nvSpPr>
            <p:spPr bwMode="gray">
              <a:xfrm>
                <a:off x="13379450" y="836613"/>
                <a:ext cx="55563" cy="30163"/>
              </a:xfrm>
              <a:custGeom>
                <a:avLst/>
                <a:gdLst>
                  <a:gd name="T0" fmla="*/ 16 w 35"/>
                  <a:gd name="T1" fmla="*/ 17 h 19"/>
                  <a:gd name="T2" fmla="*/ 12 w 35"/>
                  <a:gd name="T3" fmla="*/ 19 h 19"/>
                  <a:gd name="T4" fmla="*/ 0 w 35"/>
                  <a:gd name="T5" fmla="*/ 12 h 19"/>
                  <a:gd name="T6" fmla="*/ 12 w 35"/>
                  <a:gd name="T7" fmla="*/ 12 h 19"/>
                  <a:gd name="T8" fmla="*/ 5 w 35"/>
                  <a:gd name="T9" fmla="*/ 9 h 19"/>
                  <a:gd name="T10" fmla="*/ 14 w 35"/>
                  <a:gd name="T11" fmla="*/ 7 h 19"/>
                  <a:gd name="T12" fmla="*/ 14 w 35"/>
                  <a:gd name="T13" fmla="*/ 2 h 19"/>
                  <a:gd name="T14" fmla="*/ 16 w 35"/>
                  <a:gd name="T15" fmla="*/ 0 h 19"/>
                  <a:gd name="T16" fmla="*/ 24 w 35"/>
                  <a:gd name="T17" fmla="*/ 2 h 19"/>
                  <a:gd name="T18" fmla="*/ 26 w 35"/>
                  <a:gd name="T19" fmla="*/ 0 h 19"/>
                  <a:gd name="T20" fmla="*/ 35 w 35"/>
                  <a:gd name="T21" fmla="*/ 7 h 19"/>
                  <a:gd name="T22" fmla="*/ 33 w 35"/>
                  <a:gd name="T23" fmla="*/ 12 h 19"/>
                  <a:gd name="T24" fmla="*/ 31 w 35"/>
                  <a:gd name="T25" fmla="*/ 7 h 19"/>
                  <a:gd name="T26" fmla="*/ 26 w 35"/>
                  <a:gd name="T27" fmla="*/ 9 h 19"/>
                  <a:gd name="T28" fmla="*/ 31 w 35"/>
                  <a:gd name="T29" fmla="*/ 12 h 19"/>
                  <a:gd name="T30" fmla="*/ 21 w 35"/>
                  <a:gd name="T31" fmla="*/ 12 h 19"/>
                  <a:gd name="T32" fmla="*/ 16 w 35"/>
                  <a:gd name="T33" fmla="*/ 17 h 19"/>
                  <a:gd name="T34" fmla="*/ 16 w 35"/>
                  <a:gd name="T35" fmla="*/ 17 h 19"/>
                  <a:gd name="T36" fmla="*/ 16 w 35"/>
                  <a:gd name="T37" fmla="*/ 17 h 19"/>
                  <a:gd name="T38" fmla="*/ 16 w 35"/>
                  <a:gd name="T39" fmla="*/ 17 h 19"/>
                  <a:gd name="T40" fmla="*/ 16 w 35"/>
                  <a:gd name="T41"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19">
                    <a:moveTo>
                      <a:pt x="16" y="17"/>
                    </a:moveTo>
                    <a:lnTo>
                      <a:pt x="12" y="19"/>
                    </a:lnTo>
                    <a:lnTo>
                      <a:pt x="0" y="12"/>
                    </a:lnTo>
                    <a:lnTo>
                      <a:pt x="12" y="12"/>
                    </a:lnTo>
                    <a:lnTo>
                      <a:pt x="5" y="9"/>
                    </a:lnTo>
                    <a:lnTo>
                      <a:pt x="14" y="7"/>
                    </a:lnTo>
                    <a:lnTo>
                      <a:pt x="14" y="2"/>
                    </a:lnTo>
                    <a:lnTo>
                      <a:pt x="16" y="0"/>
                    </a:lnTo>
                    <a:lnTo>
                      <a:pt x="24" y="2"/>
                    </a:lnTo>
                    <a:lnTo>
                      <a:pt x="26" y="0"/>
                    </a:lnTo>
                    <a:lnTo>
                      <a:pt x="35" y="7"/>
                    </a:lnTo>
                    <a:lnTo>
                      <a:pt x="33" y="12"/>
                    </a:lnTo>
                    <a:lnTo>
                      <a:pt x="31" y="7"/>
                    </a:lnTo>
                    <a:lnTo>
                      <a:pt x="26" y="9"/>
                    </a:lnTo>
                    <a:lnTo>
                      <a:pt x="31" y="12"/>
                    </a:lnTo>
                    <a:lnTo>
                      <a:pt x="21" y="12"/>
                    </a:lnTo>
                    <a:lnTo>
                      <a:pt x="16" y="17"/>
                    </a:lnTo>
                    <a:lnTo>
                      <a:pt x="16" y="17"/>
                    </a:lnTo>
                    <a:lnTo>
                      <a:pt x="16" y="17"/>
                    </a:lnTo>
                    <a:lnTo>
                      <a:pt x="16" y="17"/>
                    </a:lnTo>
                    <a:lnTo>
                      <a:pt x="16"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65" name="Freeform 28">
                <a:extLst>
                  <a:ext uri="{FF2B5EF4-FFF2-40B4-BE49-F238E27FC236}">
                    <a16:creationId xmlns:a16="http://schemas.microsoft.com/office/drawing/2014/main" id="{FBDF5936-72AE-434B-8CBA-850BC0B2C62C}"/>
                  </a:ext>
                </a:extLst>
              </p:cNvPr>
              <p:cNvSpPr>
                <a:spLocks/>
              </p:cNvSpPr>
              <p:nvPr/>
            </p:nvSpPr>
            <p:spPr bwMode="gray">
              <a:xfrm>
                <a:off x="14222413" y="839788"/>
                <a:ext cx="52388" cy="93663"/>
              </a:xfrm>
              <a:custGeom>
                <a:avLst/>
                <a:gdLst>
                  <a:gd name="T0" fmla="*/ 14 w 33"/>
                  <a:gd name="T1" fmla="*/ 38 h 59"/>
                  <a:gd name="T2" fmla="*/ 0 w 33"/>
                  <a:gd name="T3" fmla="*/ 0 h 59"/>
                  <a:gd name="T4" fmla="*/ 12 w 33"/>
                  <a:gd name="T5" fmla="*/ 10 h 59"/>
                  <a:gd name="T6" fmla="*/ 21 w 33"/>
                  <a:gd name="T7" fmla="*/ 10 h 59"/>
                  <a:gd name="T8" fmla="*/ 33 w 33"/>
                  <a:gd name="T9" fmla="*/ 31 h 59"/>
                  <a:gd name="T10" fmla="*/ 21 w 33"/>
                  <a:gd name="T11" fmla="*/ 15 h 59"/>
                  <a:gd name="T12" fmla="*/ 21 w 33"/>
                  <a:gd name="T13" fmla="*/ 24 h 59"/>
                  <a:gd name="T14" fmla="*/ 33 w 33"/>
                  <a:gd name="T15" fmla="*/ 40 h 59"/>
                  <a:gd name="T16" fmla="*/ 28 w 33"/>
                  <a:gd name="T17" fmla="*/ 40 h 59"/>
                  <a:gd name="T18" fmla="*/ 33 w 33"/>
                  <a:gd name="T19" fmla="*/ 45 h 59"/>
                  <a:gd name="T20" fmla="*/ 28 w 33"/>
                  <a:gd name="T21" fmla="*/ 48 h 59"/>
                  <a:gd name="T22" fmla="*/ 21 w 33"/>
                  <a:gd name="T23" fmla="*/ 45 h 59"/>
                  <a:gd name="T24" fmla="*/ 28 w 33"/>
                  <a:gd name="T25" fmla="*/ 52 h 59"/>
                  <a:gd name="T26" fmla="*/ 14 w 33"/>
                  <a:gd name="T27" fmla="*/ 59 h 59"/>
                  <a:gd name="T28" fmla="*/ 12 w 33"/>
                  <a:gd name="T29" fmla="*/ 52 h 59"/>
                  <a:gd name="T30" fmla="*/ 14 w 33"/>
                  <a:gd name="T31" fmla="*/ 45 h 59"/>
                  <a:gd name="T32" fmla="*/ 21 w 33"/>
                  <a:gd name="T33" fmla="*/ 48 h 59"/>
                  <a:gd name="T34" fmla="*/ 14 w 33"/>
                  <a:gd name="T35" fmla="*/ 40 h 59"/>
                  <a:gd name="T36" fmla="*/ 21 w 33"/>
                  <a:gd name="T37" fmla="*/ 38 h 59"/>
                  <a:gd name="T38" fmla="*/ 14 w 33"/>
                  <a:gd name="T39" fmla="*/ 38 h 59"/>
                  <a:gd name="T40" fmla="*/ 14 w 33"/>
                  <a:gd name="T41" fmla="*/ 38 h 59"/>
                  <a:gd name="T42" fmla="*/ 14 w 33"/>
                  <a:gd name="T43" fmla="*/ 38 h 59"/>
                  <a:gd name="T44" fmla="*/ 14 w 33"/>
                  <a:gd name="T45" fmla="*/ 38 h 59"/>
                  <a:gd name="T46" fmla="*/ 14 w 33"/>
                  <a:gd name="T47" fmla="*/ 3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 h="59">
                    <a:moveTo>
                      <a:pt x="14" y="38"/>
                    </a:moveTo>
                    <a:lnTo>
                      <a:pt x="0" y="0"/>
                    </a:lnTo>
                    <a:lnTo>
                      <a:pt x="12" y="10"/>
                    </a:lnTo>
                    <a:lnTo>
                      <a:pt x="21" y="10"/>
                    </a:lnTo>
                    <a:lnTo>
                      <a:pt x="33" y="31"/>
                    </a:lnTo>
                    <a:lnTo>
                      <a:pt x="21" y="15"/>
                    </a:lnTo>
                    <a:lnTo>
                      <a:pt x="21" y="24"/>
                    </a:lnTo>
                    <a:lnTo>
                      <a:pt x="33" y="40"/>
                    </a:lnTo>
                    <a:lnTo>
                      <a:pt x="28" y="40"/>
                    </a:lnTo>
                    <a:lnTo>
                      <a:pt x="33" y="45"/>
                    </a:lnTo>
                    <a:lnTo>
                      <a:pt x="28" y="48"/>
                    </a:lnTo>
                    <a:lnTo>
                      <a:pt x="21" y="45"/>
                    </a:lnTo>
                    <a:lnTo>
                      <a:pt x="28" y="52"/>
                    </a:lnTo>
                    <a:lnTo>
                      <a:pt x="14" y="59"/>
                    </a:lnTo>
                    <a:lnTo>
                      <a:pt x="12" y="52"/>
                    </a:lnTo>
                    <a:lnTo>
                      <a:pt x="14" y="45"/>
                    </a:lnTo>
                    <a:lnTo>
                      <a:pt x="21" y="48"/>
                    </a:lnTo>
                    <a:lnTo>
                      <a:pt x="14" y="40"/>
                    </a:lnTo>
                    <a:lnTo>
                      <a:pt x="21" y="38"/>
                    </a:lnTo>
                    <a:lnTo>
                      <a:pt x="14" y="38"/>
                    </a:lnTo>
                    <a:lnTo>
                      <a:pt x="14" y="38"/>
                    </a:lnTo>
                    <a:lnTo>
                      <a:pt x="14" y="38"/>
                    </a:lnTo>
                    <a:lnTo>
                      <a:pt x="14" y="38"/>
                    </a:lnTo>
                    <a:lnTo>
                      <a:pt x="14"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66" name="Freeform 29">
                <a:extLst>
                  <a:ext uri="{FF2B5EF4-FFF2-40B4-BE49-F238E27FC236}">
                    <a16:creationId xmlns:a16="http://schemas.microsoft.com/office/drawing/2014/main" id="{CC3D38BD-4CCC-4575-87B5-09C92EC79FCC}"/>
                  </a:ext>
                </a:extLst>
              </p:cNvPr>
              <p:cNvSpPr>
                <a:spLocks/>
              </p:cNvSpPr>
              <p:nvPr/>
            </p:nvSpPr>
            <p:spPr bwMode="gray">
              <a:xfrm>
                <a:off x="14189075" y="839788"/>
                <a:ext cx="11113" cy="0"/>
              </a:xfrm>
              <a:custGeom>
                <a:avLst/>
                <a:gdLst>
                  <a:gd name="T0" fmla="*/ 2 w 7"/>
                  <a:gd name="T1" fmla="*/ 7 w 7"/>
                  <a:gd name="T2" fmla="*/ 0 w 7"/>
                  <a:gd name="T3" fmla="*/ 2 w 7"/>
                  <a:gd name="T4" fmla="*/ 2 w 7"/>
                  <a:gd name="T5" fmla="*/ 2 w 7"/>
                  <a:gd name="T6" fmla="*/ 2 w 7"/>
                  <a:gd name="T7" fmla="*/ 2 w 7"/>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7">
                    <a:moveTo>
                      <a:pt x="2" y="0"/>
                    </a:moveTo>
                    <a:lnTo>
                      <a:pt x="7" y="0"/>
                    </a:lnTo>
                    <a:lnTo>
                      <a:pt x="0" y="0"/>
                    </a:lnTo>
                    <a:lnTo>
                      <a:pt x="2" y="0"/>
                    </a:lnTo>
                    <a:lnTo>
                      <a:pt x="2" y="0"/>
                    </a:lnTo>
                    <a:lnTo>
                      <a:pt x="2"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67" name="Freeform 30">
                <a:extLst>
                  <a:ext uri="{FF2B5EF4-FFF2-40B4-BE49-F238E27FC236}">
                    <a16:creationId xmlns:a16="http://schemas.microsoft.com/office/drawing/2014/main" id="{288031CF-4D02-410B-AB2D-4E1869FCB1FA}"/>
                  </a:ext>
                </a:extLst>
              </p:cNvPr>
              <p:cNvSpPr>
                <a:spLocks/>
              </p:cNvSpPr>
              <p:nvPr/>
            </p:nvSpPr>
            <p:spPr bwMode="gray">
              <a:xfrm>
                <a:off x="14241463" y="839788"/>
                <a:ext cx="14288" cy="11113"/>
              </a:xfrm>
              <a:custGeom>
                <a:avLst/>
                <a:gdLst>
                  <a:gd name="T0" fmla="*/ 2 w 9"/>
                  <a:gd name="T1" fmla="*/ 0 h 7"/>
                  <a:gd name="T2" fmla="*/ 9 w 9"/>
                  <a:gd name="T3" fmla="*/ 7 h 7"/>
                  <a:gd name="T4" fmla="*/ 0 w 9"/>
                  <a:gd name="T5" fmla="*/ 5 h 7"/>
                  <a:gd name="T6" fmla="*/ 2 w 9"/>
                  <a:gd name="T7" fmla="*/ 0 h 7"/>
                  <a:gd name="T8" fmla="*/ 2 w 9"/>
                  <a:gd name="T9" fmla="*/ 0 h 7"/>
                  <a:gd name="T10" fmla="*/ 2 w 9"/>
                  <a:gd name="T11" fmla="*/ 0 h 7"/>
                  <a:gd name="T12" fmla="*/ 2 w 9"/>
                  <a:gd name="T13" fmla="*/ 0 h 7"/>
                  <a:gd name="T14" fmla="*/ 2 w 9"/>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7">
                    <a:moveTo>
                      <a:pt x="2" y="0"/>
                    </a:moveTo>
                    <a:lnTo>
                      <a:pt x="9" y="7"/>
                    </a:lnTo>
                    <a:lnTo>
                      <a:pt x="0" y="5"/>
                    </a:lnTo>
                    <a:lnTo>
                      <a:pt x="2" y="0"/>
                    </a:lnTo>
                    <a:lnTo>
                      <a:pt x="2" y="0"/>
                    </a:lnTo>
                    <a:lnTo>
                      <a:pt x="2"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68" name="Freeform 31">
                <a:extLst>
                  <a:ext uri="{FF2B5EF4-FFF2-40B4-BE49-F238E27FC236}">
                    <a16:creationId xmlns:a16="http://schemas.microsoft.com/office/drawing/2014/main" id="{5BEF1AF3-918E-4202-AA12-FACED75E39F9}"/>
                  </a:ext>
                </a:extLst>
              </p:cNvPr>
              <p:cNvSpPr>
                <a:spLocks/>
              </p:cNvSpPr>
              <p:nvPr/>
            </p:nvSpPr>
            <p:spPr bwMode="gray">
              <a:xfrm>
                <a:off x="14158913" y="847725"/>
                <a:ext cx="71438" cy="63500"/>
              </a:xfrm>
              <a:custGeom>
                <a:avLst/>
                <a:gdLst>
                  <a:gd name="T0" fmla="*/ 37 w 45"/>
                  <a:gd name="T1" fmla="*/ 24 h 40"/>
                  <a:gd name="T2" fmla="*/ 14 w 45"/>
                  <a:gd name="T3" fmla="*/ 12 h 40"/>
                  <a:gd name="T4" fmla="*/ 30 w 45"/>
                  <a:gd name="T5" fmla="*/ 26 h 40"/>
                  <a:gd name="T6" fmla="*/ 40 w 45"/>
                  <a:gd name="T7" fmla="*/ 24 h 40"/>
                  <a:gd name="T8" fmla="*/ 45 w 45"/>
                  <a:gd name="T9" fmla="*/ 28 h 40"/>
                  <a:gd name="T10" fmla="*/ 45 w 45"/>
                  <a:gd name="T11" fmla="*/ 35 h 40"/>
                  <a:gd name="T12" fmla="*/ 37 w 45"/>
                  <a:gd name="T13" fmla="*/ 35 h 40"/>
                  <a:gd name="T14" fmla="*/ 14 w 45"/>
                  <a:gd name="T15" fmla="*/ 24 h 40"/>
                  <a:gd name="T16" fmla="*/ 26 w 45"/>
                  <a:gd name="T17" fmla="*/ 28 h 40"/>
                  <a:gd name="T18" fmla="*/ 26 w 45"/>
                  <a:gd name="T19" fmla="*/ 35 h 40"/>
                  <a:gd name="T20" fmla="*/ 19 w 45"/>
                  <a:gd name="T21" fmla="*/ 40 h 40"/>
                  <a:gd name="T22" fmla="*/ 14 w 45"/>
                  <a:gd name="T23" fmla="*/ 40 h 40"/>
                  <a:gd name="T24" fmla="*/ 14 w 45"/>
                  <a:gd name="T25" fmla="*/ 33 h 40"/>
                  <a:gd name="T26" fmla="*/ 19 w 45"/>
                  <a:gd name="T27" fmla="*/ 35 h 40"/>
                  <a:gd name="T28" fmla="*/ 9 w 45"/>
                  <a:gd name="T29" fmla="*/ 28 h 40"/>
                  <a:gd name="T30" fmla="*/ 14 w 45"/>
                  <a:gd name="T31" fmla="*/ 28 h 40"/>
                  <a:gd name="T32" fmla="*/ 0 w 45"/>
                  <a:gd name="T33" fmla="*/ 19 h 40"/>
                  <a:gd name="T34" fmla="*/ 2 w 45"/>
                  <a:gd name="T35" fmla="*/ 12 h 40"/>
                  <a:gd name="T36" fmla="*/ 9 w 45"/>
                  <a:gd name="T37" fmla="*/ 19 h 40"/>
                  <a:gd name="T38" fmla="*/ 0 w 45"/>
                  <a:gd name="T39" fmla="*/ 5 h 40"/>
                  <a:gd name="T40" fmla="*/ 0 w 45"/>
                  <a:gd name="T41" fmla="*/ 2 h 40"/>
                  <a:gd name="T42" fmla="*/ 7 w 45"/>
                  <a:gd name="T43" fmla="*/ 10 h 40"/>
                  <a:gd name="T44" fmla="*/ 7 w 45"/>
                  <a:gd name="T45" fmla="*/ 2 h 40"/>
                  <a:gd name="T46" fmla="*/ 19 w 45"/>
                  <a:gd name="T47" fmla="*/ 0 h 40"/>
                  <a:gd name="T48" fmla="*/ 26 w 45"/>
                  <a:gd name="T49" fmla="*/ 5 h 40"/>
                  <a:gd name="T50" fmla="*/ 21 w 45"/>
                  <a:gd name="T51" fmla="*/ 10 h 40"/>
                  <a:gd name="T52" fmla="*/ 19 w 45"/>
                  <a:gd name="T53" fmla="*/ 10 h 40"/>
                  <a:gd name="T54" fmla="*/ 19 w 45"/>
                  <a:gd name="T55" fmla="*/ 12 h 40"/>
                  <a:gd name="T56" fmla="*/ 21 w 45"/>
                  <a:gd name="T57" fmla="*/ 12 h 40"/>
                  <a:gd name="T58" fmla="*/ 28 w 45"/>
                  <a:gd name="T59" fmla="*/ 5 h 40"/>
                  <a:gd name="T60" fmla="*/ 40 w 45"/>
                  <a:gd name="T61" fmla="*/ 12 h 40"/>
                  <a:gd name="T62" fmla="*/ 40 w 45"/>
                  <a:gd name="T63" fmla="*/ 19 h 40"/>
                  <a:gd name="T64" fmla="*/ 35 w 45"/>
                  <a:gd name="T65" fmla="*/ 17 h 40"/>
                  <a:gd name="T66" fmla="*/ 40 w 45"/>
                  <a:gd name="T67" fmla="*/ 19 h 40"/>
                  <a:gd name="T68" fmla="*/ 37 w 45"/>
                  <a:gd name="T69" fmla="*/ 24 h 40"/>
                  <a:gd name="T70" fmla="*/ 37 w 45"/>
                  <a:gd name="T71" fmla="*/ 24 h 40"/>
                  <a:gd name="T72" fmla="*/ 37 w 45"/>
                  <a:gd name="T73" fmla="*/ 24 h 40"/>
                  <a:gd name="T74" fmla="*/ 37 w 45"/>
                  <a:gd name="T75" fmla="*/ 24 h 40"/>
                  <a:gd name="T76" fmla="*/ 37 w 45"/>
                  <a:gd name="T77"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 h="40">
                    <a:moveTo>
                      <a:pt x="37" y="24"/>
                    </a:moveTo>
                    <a:lnTo>
                      <a:pt x="14" y="12"/>
                    </a:lnTo>
                    <a:lnTo>
                      <a:pt x="30" y="26"/>
                    </a:lnTo>
                    <a:lnTo>
                      <a:pt x="40" y="24"/>
                    </a:lnTo>
                    <a:lnTo>
                      <a:pt x="45" y="28"/>
                    </a:lnTo>
                    <a:lnTo>
                      <a:pt x="45" y="35"/>
                    </a:lnTo>
                    <a:lnTo>
                      <a:pt x="37" y="35"/>
                    </a:lnTo>
                    <a:lnTo>
                      <a:pt x="14" y="24"/>
                    </a:lnTo>
                    <a:lnTo>
                      <a:pt x="26" y="28"/>
                    </a:lnTo>
                    <a:lnTo>
                      <a:pt x="26" y="35"/>
                    </a:lnTo>
                    <a:lnTo>
                      <a:pt x="19" y="40"/>
                    </a:lnTo>
                    <a:lnTo>
                      <a:pt x="14" y="40"/>
                    </a:lnTo>
                    <a:lnTo>
                      <a:pt x="14" y="33"/>
                    </a:lnTo>
                    <a:lnTo>
                      <a:pt x="19" y="35"/>
                    </a:lnTo>
                    <a:lnTo>
                      <a:pt x="9" y="28"/>
                    </a:lnTo>
                    <a:lnTo>
                      <a:pt x="14" y="28"/>
                    </a:lnTo>
                    <a:lnTo>
                      <a:pt x="0" y="19"/>
                    </a:lnTo>
                    <a:lnTo>
                      <a:pt x="2" y="12"/>
                    </a:lnTo>
                    <a:lnTo>
                      <a:pt x="9" y="19"/>
                    </a:lnTo>
                    <a:lnTo>
                      <a:pt x="0" y="5"/>
                    </a:lnTo>
                    <a:lnTo>
                      <a:pt x="0" y="2"/>
                    </a:lnTo>
                    <a:lnTo>
                      <a:pt x="7" y="10"/>
                    </a:lnTo>
                    <a:lnTo>
                      <a:pt x="7" y="2"/>
                    </a:lnTo>
                    <a:lnTo>
                      <a:pt x="19" y="0"/>
                    </a:lnTo>
                    <a:lnTo>
                      <a:pt x="26" y="5"/>
                    </a:lnTo>
                    <a:lnTo>
                      <a:pt x="21" y="10"/>
                    </a:lnTo>
                    <a:lnTo>
                      <a:pt x="19" y="10"/>
                    </a:lnTo>
                    <a:lnTo>
                      <a:pt x="19" y="12"/>
                    </a:lnTo>
                    <a:lnTo>
                      <a:pt x="21" y="12"/>
                    </a:lnTo>
                    <a:lnTo>
                      <a:pt x="28" y="5"/>
                    </a:lnTo>
                    <a:lnTo>
                      <a:pt x="40" y="12"/>
                    </a:lnTo>
                    <a:lnTo>
                      <a:pt x="40" y="19"/>
                    </a:lnTo>
                    <a:lnTo>
                      <a:pt x="35" y="17"/>
                    </a:lnTo>
                    <a:lnTo>
                      <a:pt x="40" y="19"/>
                    </a:lnTo>
                    <a:lnTo>
                      <a:pt x="37" y="24"/>
                    </a:lnTo>
                    <a:lnTo>
                      <a:pt x="37" y="24"/>
                    </a:lnTo>
                    <a:lnTo>
                      <a:pt x="37" y="24"/>
                    </a:lnTo>
                    <a:lnTo>
                      <a:pt x="37" y="24"/>
                    </a:lnTo>
                    <a:lnTo>
                      <a:pt x="37"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69" name="Freeform 32">
                <a:extLst>
                  <a:ext uri="{FF2B5EF4-FFF2-40B4-BE49-F238E27FC236}">
                    <a16:creationId xmlns:a16="http://schemas.microsoft.com/office/drawing/2014/main" id="{F7EDBC9C-454F-4EAD-8D44-96D140790765}"/>
                  </a:ext>
                </a:extLst>
              </p:cNvPr>
              <p:cNvSpPr>
                <a:spLocks/>
              </p:cNvSpPr>
              <p:nvPr/>
            </p:nvSpPr>
            <p:spPr bwMode="gray">
              <a:xfrm>
                <a:off x="13368338" y="855663"/>
                <a:ext cx="30163" cy="11113"/>
              </a:xfrm>
              <a:custGeom>
                <a:avLst/>
                <a:gdLst>
                  <a:gd name="T0" fmla="*/ 7 w 19"/>
                  <a:gd name="T1" fmla="*/ 0 h 7"/>
                  <a:gd name="T2" fmla="*/ 19 w 19"/>
                  <a:gd name="T3" fmla="*/ 7 h 7"/>
                  <a:gd name="T4" fmla="*/ 0 w 19"/>
                  <a:gd name="T5" fmla="*/ 5 h 7"/>
                  <a:gd name="T6" fmla="*/ 7 w 19"/>
                  <a:gd name="T7" fmla="*/ 0 h 7"/>
                  <a:gd name="T8" fmla="*/ 7 w 19"/>
                  <a:gd name="T9" fmla="*/ 0 h 7"/>
                  <a:gd name="T10" fmla="*/ 7 w 19"/>
                  <a:gd name="T11" fmla="*/ 0 h 7"/>
                  <a:gd name="T12" fmla="*/ 7 w 19"/>
                  <a:gd name="T13" fmla="*/ 0 h 7"/>
                  <a:gd name="T14" fmla="*/ 7 w 19"/>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7">
                    <a:moveTo>
                      <a:pt x="7" y="0"/>
                    </a:moveTo>
                    <a:lnTo>
                      <a:pt x="19" y="7"/>
                    </a:lnTo>
                    <a:lnTo>
                      <a:pt x="0" y="5"/>
                    </a:lnTo>
                    <a:lnTo>
                      <a:pt x="7" y="0"/>
                    </a:lnTo>
                    <a:lnTo>
                      <a:pt x="7" y="0"/>
                    </a:lnTo>
                    <a:lnTo>
                      <a:pt x="7"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70" name="Freeform 33">
                <a:extLst>
                  <a:ext uri="{FF2B5EF4-FFF2-40B4-BE49-F238E27FC236}">
                    <a16:creationId xmlns:a16="http://schemas.microsoft.com/office/drawing/2014/main" id="{B0CB4799-5956-4F8F-A2D5-775AD6AA6EFE}"/>
                  </a:ext>
                </a:extLst>
              </p:cNvPr>
              <p:cNvSpPr>
                <a:spLocks/>
              </p:cNvSpPr>
              <p:nvPr/>
            </p:nvSpPr>
            <p:spPr bwMode="gray">
              <a:xfrm>
                <a:off x="14150975" y="863600"/>
                <a:ext cx="11113" cy="14288"/>
              </a:xfrm>
              <a:custGeom>
                <a:avLst/>
                <a:gdLst>
                  <a:gd name="T0" fmla="*/ 0 w 7"/>
                  <a:gd name="T1" fmla="*/ 0 h 9"/>
                  <a:gd name="T2" fmla="*/ 7 w 7"/>
                  <a:gd name="T3" fmla="*/ 2 h 9"/>
                  <a:gd name="T4" fmla="*/ 5 w 7"/>
                  <a:gd name="T5" fmla="*/ 9 h 9"/>
                  <a:gd name="T6" fmla="*/ 0 w 7"/>
                  <a:gd name="T7" fmla="*/ 2 h 9"/>
                  <a:gd name="T8" fmla="*/ 0 w 7"/>
                  <a:gd name="T9" fmla="*/ 0 h 9"/>
                  <a:gd name="T10" fmla="*/ 0 w 7"/>
                  <a:gd name="T11" fmla="*/ 0 h 9"/>
                  <a:gd name="T12" fmla="*/ 0 w 7"/>
                  <a:gd name="T13" fmla="*/ 0 h 9"/>
                  <a:gd name="T14" fmla="*/ 0 w 7"/>
                  <a:gd name="T15" fmla="*/ 0 h 9"/>
                  <a:gd name="T16" fmla="*/ 0 w 7"/>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0" y="0"/>
                    </a:moveTo>
                    <a:lnTo>
                      <a:pt x="7" y="2"/>
                    </a:lnTo>
                    <a:lnTo>
                      <a:pt x="5" y="9"/>
                    </a:lnTo>
                    <a:lnTo>
                      <a:pt x="0" y="2"/>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71" name="Freeform 34">
                <a:extLst>
                  <a:ext uri="{FF2B5EF4-FFF2-40B4-BE49-F238E27FC236}">
                    <a16:creationId xmlns:a16="http://schemas.microsoft.com/office/drawing/2014/main" id="{02198DD6-25F4-43D7-920A-551922C6F7A6}"/>
                  </a:ext>
                </a:extLst>
              </p:cNvPr>
              <p:cNvSpPr>
                <a:spLocks/>
              </p:cNvSpPr>
              <p:nvPr/>
            </p:nvSpPr>
            <p:spPr bwMode="gray">
              <a:xfrm>
                <a:off x="13308013" y="866775"/>
                <a:ext cx="123825" cy="85725"/>
              </a:xfrm>
              <a:custGeom>
                <a:avLst/>
                <a:gdLst>
                  <a:gd name="T0" fmla="*/ 38 w 78"/>
                  <a:gd name="T1" fmla="*/ 16 h 54"/>
                  <a:gd name="T2" fmla="*/ 28 w 78"/>
                  <a:gd name="T3" fmla="*/ 14 h 54"/>
                  <a:gd name="T4" fmla="*/ 28 w 78"/>
                  <a:gd name="T5" fmla="*/ 7 h 54"/>
                  <a:gd name="T6" fmla="*/ 31 w 78"/>
                  <a:gd name="T7" fmla="*/ 5 h 54"/>
                  <a:gd name="T8" fmla="*/ 38 w 78"/>
                  <a:gd name="T9" fmla="*/ 7 h 54"/>
                  <a:gd name="T10" fmla="*/ 38 w 78"/>
                  <a:gd name="T11" fmla="*/ 16 h 54"/>
                  <a:gd name="T12" fmla="*/ 45 w 78"/>
                  <a:gd name="T13" fmla="*/ 14 h 54"/>
                  <a:gd name="T14" fmla="*/ 38 w 78"/>
                  <a:gd name="T15" fmla="*/ 7 h 54"/>
                  <a:gd name="T16" fmla="*/ 52 w 78"/>
                  <a:gd name="T17" fmla="*/ 7 h 54"/>
                  <a:gd name="T18" fmla="*/ 45 w 78"/>
                  <a:gd name="T19" fmla="*/ 0 h 54"/>
                  <a:gd name="T20" fmla="*/ 59 w 78"/>
                  <a:gd name="T21" fmla="*/ 5 h 54"/>
                  <a:gd name="T22" fmla="*/ 57 w 78"/>
                  <a:gd name="T23" fmla="*/ 7 h 54"/>
                  <a:gd name="T24" fmla="*/ 57 w 78"/>
                  <a:gd name="T25" fmla="*/ 14 h 54"/>
                  <a:gd name="T26" fmla="*/ 59 w 78"/>
                  <a:gd name="T27" fmla="*/ 7 h 54"/>
                  <a:gd name="T28" fmla="*/ 69 w 78"/>
                  <a:gd name="T29" fmla="*/ 5 h 54"/>
                  <a:gd name="T30" fmla="*/ 71 w 78"/>
                  <a:gd name="T31" fmla="*/ 7 h 54"/>
                  <a:gd name="T32" fmla="*/ 66 w 78"/>
                  <a:gd name="T33" fmla="*/ 14 h 54"/>
                  <a:gd name="T34" fmla="*/ 69 w 78"/>
                  <a:gd name="T35" fmla="*/ 16 h 54"/>
                  <a:gd name="T36" fmla="*/ 78 w 78"/>
                  <a:gd name="T37" fmla="*/ 16 h 54"/>
                  <a:gd name="T38" fmla="*/ 71 w 78"/>
                  <a:gd name="T39" fmla="*/ 28 h 54"/>
                  <a:gd name="T40" fmla="*/ 59 w 78"/>
                  <a:gd name="T41" fmla="*/ 21 h 54"/>
                  <a:gd name="T42" fmla="*/ 52 w 78"/>
                  <a:gd name="T43" fmla="*/ 23 h 54"/>
                  <a:gd name="T44" fmla="*/ 66 w 78"/>
                  <a:gd name="T45" fmla="*/ 28 h 54"/>
                  <a:gd name="T46" fmla="*/ 61 w 78"/>
                  <a:gd name="T47" fmla="*/ 31 h 54"/>
                  <a:gd name="T48" fmla="*/ 50 w 78"/>
                  <a:gd name="T49" fmla="*/ 31 h 54"/>
                  <a:gd name="T50" fmla="*/ 52 w 78"/>
                  <a:gd name="T51" fmla="*/ 35 h 54"/>
                  <a:gd name="T52" fmla="*/ 31 w 78"/>
                  <a:gd name="T53" fmla="*/ 40 h 54"/>
                  <a:gd name="T54" fmla="*/ 38 w 78"/>
                  <a:gd name="T55" fmla="*/ 42 h 54"/>
                  <a:gd name="T56" fmla="*/ 24 w 78"/>
                  <a:gd name="T57" fmla="*/ 54 h 54"/>
                  <a:gd name="T58" fmla="*/ 21 w 78"/>
                  <a:gd name="T59" fmla="*/ 54 h 54"/>
                  <a:gd name="T60" fmla="*/ 31 w 78"/>
                  <a:gd name="T61" fmla="*/ 42 h 54"/>
                  <a:gd name="T62" fmla="*/ 24 w 78"/>
                  <a:gd name="T63" fmla="*/ 47 h 54"/>
                  <a:gd name="T64" fmla="*/ 31 w 78"/>
                  <a:gd name="T65" fmla="*/ 38 h 54"/>
                  <a:gd name="T66" fmla="*/ 21 w 78"/>
                  <a:gd name="T67" fmla="*/ 47 h 54"/>
                  <a:gd name="T68" fmla="*/ 24 w 78"/>
                  <a:gd name="T69" fmla="*/ 40 h 54"/>
                  <a:gd name="T70" fmla="*/ 12 w 78"/>
                  <a:gd name="T71" fmla="*/ 38 h 54"/>
                  <a:gd name="T72" fmla="*/ 12 w 78"/>
                  <a:gd name="T73" fmla="*/ 40 h 54"/>
                  <a:gd name="T74" fmla="*/ 21 w 78"/>
                  <a:gd name="T75" fmla="*/ 40 h 54"/>
                  <a:gd name="T76" fmla="*/ 14 w 78"/>
                  <a:gd name="T77" fmla="*/ 49 h 54"/>
                  <a:gd name="T78" fmla="*/ 7 w 78"/>
                  <a:gd name="T79" fmla="*/ 42 h 54"/>
                  <a:gd name="T80" fmla="*/ 5 w 78"/>
                  <a:gd name="T81" fmla="*/ 35 h 54"/>
                  <a:gd name="T82" fmla="*/ 0 w 78"/>
                  <a:gd name="T83" fmla="*/ 31 h 54"/>
                  <a:gd name="T84" fmla="*/ 5 w 78"/>
                  <a:gd name="T85" fmla="*/ 21 h 54"/>
                  <a:gd name="T86" fmla="*/ 17 w 78"/>
                  <a:gd name="T87" fmla="*/ 14 h 54"/>
                  <a:gd name="T88" fmla="*/ 24 w 78"/>
                  <a:gd name="T89" fmla="*/ 16 h 54"/>
                  <a:gd name="T90" fmla="*/ 28 w 78"/>
                  <a:gd name="T91" fmla="*/ 28 h 54"/>
                  <a:gd name="T92" fmla="*/ 33 w 78"/>
                  <a:gd name="T93" fmla="*/ 35 h 54"/>
                  <a:gd name="T94" fmla="*/ 31 w 78"/>
                  <a:gd name="T95" fmla="*/ 28 h 54"/>
                  <a:gd name="T96" fmla="*/ 28 w 78"/>
                  <a:gd name="T97" fmla="*/ 16 h 54"/>
                  <a:gd name="T98" fmla="*/ 38 w 78"/>
                  <a:gd name="T99" fmla="*/ 16 h 54"/>
                  <a:gd name="T100" fmla="*/ 38 w 78"/>
                  <a:gd name="T101" fmla="*/ 16 h 54"/>
                  <a:gd name="T102" fmla="*/ 38 w 78"/>
                  <a:gd name="T103" fmla="*/ 16 h 54"/>
                  <a:gd name="T104" fmla="*/ 38 w 78"/>
                  <a:gd name="T105" fmla="*/ 16 h 54"/>
                  <a:gd name="T106" fmla="*/ 38 w 78"/>
                  <a:gd name="T107"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8" h="54">
                    <a:moveTo>
                      <a:pt x="38" y="16"/>
                    </a:moveTo>
                    <a:lnTo>
                      <a:pt x="28" y="14"/>
                    </a:lnTo>
                    <a:lnTo>
                      <a:pt x="28" y="7"/>
                    </a:lnTo>
                    <a:lnTo>
                      <a:pt x="31" y="5"/>
                    </a:lnTo>
                    <a:lnTo>
                      <a:pt x="38" y="7"/>
                    </a:lnTo>
                    <a:lnTo>
                      <a:pt x="38" y="16"/>
                    </a:lnTo>
                    <a:lnTo>
                      <a:pt x="45" y="14"/>
                    </a:lnTo>
                    <a:lnTo>
                      <a:pt x="38" y="7"/>
                    </a:lnTo>
                    <a:lnTo>
                      <a:pt x="52" y="7"/>
                    </a:lnTo>
                    <a:lnTo>
                      <a:pt x="45" y="0"/>
                    </a:lnTo>
                    <a:lnTo>
                      <a:pt x="59" y="5"/>
                    </a:lnTo>
                    <a:lnTo>
                      <a:pt x="57" y="7"/>
                    </a:lnTo>
                    <a:lnTo>
                      <a:pt x="57" y="14"/>
                    </a:lnTo>
                    <a:lnTo>
                      <a:pt x="59" y="7"/>
                    </a:lnTo>
                    <a:lnTo>
                      <a:pt x="69" y="5"/>
                    </a:lnTo>
                    <a:lnTo>
                      <a:pt x="71" y="7"/>
                    </a:lnTo>
                    <a:lnTo>
                      <a:pt x="66" y="14"/>
                    </a:lnTo>
                    <a:lnTo>
                      <a:pt x="69" y="16"/>
                    </a:lnTo>
                    <a:lnTo>
                      <a:pt x="78" y="16"/>
                    </a:lnTo>
                    <a:lnTo>
                      <a:pt x="71" y="28"/>
                    </a:lnTo>
                    <a:lnTo>
                      <a:pt x="59" y="21"/>
                    </a:lnTo>
                    <a:lnTo>
                      <a:pt x="52" y="23"/>
                    </a:lnTo>
                    <a:lnTo>
                      <a:pt x="66" y="28"/>
                    </a:lnTo>
                    <a:lnTo>
                      <a:pt x="61" y="31"/>
                    </a:lnTo>
                    <a:lnTo>
                      <a:pt x="50" y="31"/>
                    </a:lnTo>
                    <a:lnTo>
                      <a:pt x="52" y="35"/>
                    </a:lnTo>
                    <a:lnTo>
                      <a:pt x="31" y="40"/>
                    </a:lnTo>
                    <a:lnTo>
                      <a:pt x="38" y="42"/>
                    </a:lnTo>
                    <a:lnTo>
                      <a:pt x="24" y="54"/>
                    </a:lnTo>
                    <a:lnTo>
                      <a:pt x="21" y="54"/>
                    </a:lnTo>
                    <a:lnTo>
                      <a:pt x="31" y="42"/>
                    </a:lnTo>
                    <a:lnTo>
                      <a:pt x="24" y="47"/>
                    </a:lnTo>
                    <a:lnTo>
                      <a:pt x="31" y="38"/>
                    </a:lnTo>
                    <a:lnTo>
                      <a:pt x="21" y="47"/>
                    </a:lnTo>
                    <a:lnTo>
                      <a:pt x="24" y="40"/>
                    </a:lnTo>
                    <a:lnTo>
                      <a:pt x="12" y="38"/>
                    </a:lnTo>
                    <a:lnTo>
                      <a:pt x="12" y="40"/>
                    </a:lnTo>
                    <a:lnTo>
                      <a:pt x="21" y="40"/>
                    </a:lnTo>
                    <a:lnTo>
                      <a:pt x="14" y="49"/>
                    </a:lnTo>
                    <a:lnTo>
                      <a:pt x="7" y="42"/>
                    </a:lnTo>
                    <a:lnTo>
                      <a:pt x="5" y="35"/>
                    </a:lnTo>
                    <a:lnTo>
                      <a:pt x="0" y="31"/>
                    </a:lnTo>
                    <a:lnTo>
                      <a:pt x="5" y="21"/>
                    </a:lnTo>
                    <a:lnTo>
                      <a:pt x="17" y="14"/>
                    </a:lnTo>
                    <a:lnTo>
                      <a:pt x="24" y="16"/>
                    </a:lnTo>
                    <a:lnTo>
                      <a:pt x="28" y="28"/>
                    </a:lnTo>
                    <a:lnTo>
                      <a:pt x="33" y="35"/>
                    </a:lnTo>
                    <a:lnTo>
                      <a:pt x="31" y="28"/>
                    </a:lnTo>
                    <a:lnTo>
                      <a:pt x="28" y="16"/>
                    </a:lnTo>
                    <a:lnTo>
                      <a:pt x="38" y="16"/>
                    </a:lnTo>
                    <a:lnTo>
                      <a:pt x="38" y="16"/>
                    </a:lnTo>
                    <a:lnTo>
                      <a:pt x="38" y="16"/>
                    </a:lnTo>
                    <a:lnTo>
                      <a:pt x="38" y="16"/>
                    </a:lnTo>
                    <a:lnTo>
                      <a:pt x="38"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72" name="Freeform 35">
                <a:extLst>
                  <a:ext uri="{FF2B5EF4-FFF2-40B4-BE49-F238E27FC236}">
                    <a16:creationId xmlns:a16="http://schemas.microsoft.com/office/drawing/2014/main" id="{FFF7CA03-26B9-4D8A-BA83-A6AC1893CD45}"/>
                  </a:ext>
                </a:extLst>
              </p:cNvPr>
              <p:cNvSpPr>
                <a:spLocks/>
              </p:cNvSpPr>
              <p:nvPr/>
            </p:nvSpPr>
            <p:spPr bwMode="gray">
              <a:xfrm>
                <a:off x="13417550" y="874713"/>
                <a:ext cx="3175" cy="0"/>
              </a:xfrm>
              <a:custGeom>
                <a:avLst/>
                <a:gdLst>
                  <a:gd name="T0" fmla="*/ 2 w 2"/>
                  <a:gd name="T1" fmla="*/ 0 w 2"/>
                  <a:gd name="T2" fmla="*/ 2 w 2"/>
                  <a:gd name="T3" fmla="*/ 2 w 2"/>
                  <a:gd name="T4" fmla="*/ 2 w 2"/>
                  <a:gd name="T5" fmla="*/ 2 w 2"/>
                  <a:gd name="T6" fmla="*/ 2 w 2"/>
                </a:gdLst>
                <a:ahLst/>
                <a:cxnLst>
                  <a:cxn ang="0">
                    <a:pos x="T0" y="0"/>
                  </a:cxn>
                  <a:cxn ang="0">
                    <a:pos x="T1" y="0"/>
                  </a:cxn>
                  <a:cxn ang="0">
                    <a:pos x="T2" y="0"/>
                  </a:cxn>
                  <a:cxn ang="0">
                    <a:pos x="T3" y="0"/>
                  </a:cxn>
                  <a:cxn ang="0">
                    <a:pos x="T4" y="0"/>
                  </a:cxn>
                  <a:cxn ang="0">
                    <a:pos x="T5" y="0"/>
                  </a:cxn>
                  <a:cxn ang="0">
                    <a:pos x="T6" y="0"/>
                  </a:cxn>
                </a:cxnLst>
                <a:rect l="0" t="0" r="r" b="b"/>
                <a:pathLst>
                  <a:path w="2">
                    <a:moveTo>
                      <a:pt x="2" y="0"/>
                    </a:moveTo>
                    <a:lnTo>
                      <a:pt x="0" y="0"/>
                    </a:lnTo>
                    <a:lnTo>
                      <a:pt x="2" y="0"/>
                    </a:lnTo>
                    <a:lnTo>
                      <a:pt x="2" y="0"/>
                    </a:lnTo>
                    <a:lnTo>
                      <a:pt x="2"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73" name="Freeform 36">
                <a:extLst>
                  <a:ext uri="{FF2B5EF4-FFF2-40B4-BE49-F238E27FC236}">
                    <a16:creationId xmlns:a16="http://schemas.microsoft.com/office/drawing/2014/main" id="{A423C02A-8FC8-42E7-9938-A6FAB9AC3044}"/>
                  </a:ext>
                </a:extLst>
              </p:cNvPr>
              <p:cNvSpPr>
                <a:spLocks/>
              </p:cNvSpPr>
              <p:nvPr/>
            </p:nvSpPr>
            <p:spPr bwMode="gray">
              <a:xfrm>
                <a:off x="13368338" y="866775"/>
                <a:ext cx="11113" cy="11113"/>
              </a:xfrm>
              <a:custGeom>
                <a:avLst/>
                <a:gdLst>
                  <a:gd name="T0" fmla="*/ 0 w 7"/>
                  <a:gd name="T1" fmla="*/ 0 h 7"/>
                  <a:gd name="T2" fmla="*/ 7 w 7"/>
                  <a:gd name="T3" fmla="*/ 7 h 7"/>
                  <a:gd name="T4" fmla="*/ 0 w 7"/>
                  <a:gd name="T5" fmla="*/ 5 h 7"/>
                  <a:gd name="T6" fmla="*/ 0 w 7"/>
                  <a:gd name="T7" fmla="*/ 0 h 7"/>
                  <a:gd name="T8" fmla="*/ 0 w 7"/>
                  <a:gd name="T9" fmla="*/ 0 h 7"/>
                  <a:gd name="T10" fmla="*/ 0 w 7"/>
                  <a:gd name="T11" fmla="*/ 0 h 7"/>
                  <a:gd name="T12" fmla="*/ 0 w 7"/>
                  <a:gd name="T13" fmla="*/ 0 h 7"/>
                  <a:gd name="T14" fmla="*/ 0 w 7"/>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0" y="0"/>
                    </a:moveTo>
                    <a:lnTo>
                      <a:pt x="7" y="7"/>
                    </a:lnTo>
                    <a:lnTo>
                      <a:pt x="0" y="5"/>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74" name="Freeform 37">
                <a:extLst>
                  <a:ext uri="{FF2B5EF4-FFF2-40B4-BE49-F238E27FC236}">
                    <a16:creationId xmlns:a16="http://schemas.microsoft.com/office/drawing/2014/main" id="{E4611C3D-5838-4987-8008-5F27B3B8B39E}"/>
                  </a:ext>
                </a:extLst>
              </p:cNvPr>
              <p:cNvSpPr>
                <a:spLocks/>
              </p:cNvSpPr>
              <p:nvPr/>
            </p:nvSpPr>
            <p:spPr bwMode="gray">
              <a:xfrm>
                <a:off x="14192250" y="900113"/>
                <a:ext cx="49213" cy="93663"/>
              </a:xfrm>
              <a:custGeom>
                <a:avLst/>
                <a:gdLst>
                  <a:gd name="T0" fmla="*/ 31 w 31"/>
                  <a:gd name="T1" fmla="*/ 40 h 59"/>
                  <a:gd name="T2" fmla="*/ 31 w 31"/>
                  <a:gd name="T3" fmla="*/ 59 h 59"/>
                  <a:gd name="T4" fmla="*/ 16 w 31"/>
                  <a:gd name="T5" fmla="*/ 40 h 59"/>
                  <a:gd name="T6" fmla="*/ 24 w 31"/>
                  <a:gd name="T7" fmla="*/ 36 h 59"/>
                  <a:gd name="T8" fmla="*/ 16 w 31"/>
                  <a:gd name="T9" fmla="*/ 38 h 59"/>
                  <a:gd name="T10" fmla="*/ 14 w 31"/>
                  <a:gd name="T11" fmla="*/ 36 h 59"/>
                  <a:gd name="T12" fmla="*/ 16 w 31"/>
                  <a:gd name="T13" fmla="*/ 28 h 59"/>
                  <a:gd name="T14" fmla="*/ 7 w 31"/>
                  <a:gd name="T15" fmla="*/ 28 h 59"/>
                  <a:gd name="T16" fmla="*/ 7 w 31"/>
                  <a:gd name="T17" fmla="*/ 17 h 59"/>
                  <a:gd name="T18" fmla="*/ 9 w 31"/>
                  <a:gd name="T19" fmla="*/ 14 h 59"/>
                  <a:gd name="T20" fmla="*/ 5 w 31"/>
                  <a:gd name="T21" fmla="*/ 14 h 59"/>
                  <a:gd name="T22" fmla="*/ 0 w 31"/>
                  <a:gd name="T23" fmla="*/ 7 h 59"/>
                  <a:gd name="T24" fmla="*/ 5 w 31"/>
                  <a:gd name="T25" fmla="*/ 7 h 59"/>
                  <a:gd name="T26" fmla="*/ 5 w 31"/>
                  <a:gd name="T27" fmla="*/ 0 h 59"/>
                  <a:gd name="T28" fmla="*/ 7 w 31"/>
                  <a:gd name="T29" fmla="*/ 0 h 59"/>
                  <a:gd name="T30" fmla="*/ 19 w 31"/>
                  <a:gd name="T31" fmla="*/ 7 h 59"/>
                  <a:gd name="T32" fmla="*/ 26 w 31"/>
                  <a:gd name="T33" fmla="*/ 17 h 59"/>
                  <a:gd name="T34" fmla="*/ 31 w 31"/>
                  <a:gd name="T35" fmla="*/ 40 h 59"/>
                  <a:gd name="T36" fmla="*/ 31 w 31"/>
                  <a:gd name="T37" fmla="*/ 40 h 59"/>
                  <a:gd name="T38" fmla="*/ 31 w 31"/>
                  <a:gd name="T39" fmla="*/ 40 h 59"/>
                  <a:gd name="T40" fmla="*/ 31 w 31"/>
                  <a:gd name="T41" fmla="*/ 40 h 59"/>
                  <a:gd name="T42" fmla="*/ 31 w 31"/>
                  <a:gd name="T43" fmla="*/ 4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59">
                    <a:moveTo>
                      <a:pt x="31" y="40"/>
                    </a:moveTo>
                    <a:lnTo>
                      <a:pt x="31" y="59"/>
                    </a:lnTo>
                    <a:lnTo>
                      <a:pt x="16" y="40"/>
                    </a:lnTo>
                    <a:lnTo>
                      <a:pt x="24" y="36"/>
                    </a:lnTo>
                    <a:lnTo>
                      <a:pt x="16" y="38"/>
                    </a:lnTo>
                    <a:lnTo>
                      <a:pt x="14" y="36"/>
                    </a:lnTo>
                    <a:lnTo>
                      <a:pt x="16" y="28"/>
                    </a:lnTo>
                    <a:lnTo>
                      <a:pt x="7" y="28"/>
                    </a:lnTo>
                    <a:lnTo>
                      <a:pt x="7" y="17"/>
                    </a:lnTo>
                    <a:lnTo>
                      <a:pt x="9" y="14"/>
                    </a:lnTo>
                    <a:lnTo>
                      <a:pt x="5" y="14"/>
                    </a:lnTo>
                    <a:lnTo>
                      <a:pt x="0" y="7"/>
                    </a:lnTo>
                    <a:lnTo>
                      <a:pt x="5" y="7"/>
                    </a:lnTo>
                    <a:lnTo>
                      <a:pt x="5" y="0"/>
                    </a:lnTo>
                    <a:lnTo>
                      <a:pt x="7" y="0"/>
                    </a:lnTo>
                    <a:lnTo>
                      <a:pt x="19" y="7"/>
                    </a:lnTo>
                    <a:lnTo>
                      <a:pt x="26" y="17"/>
                    </a:lnTo>
                    <a:lnTo>
                      <a:pt x="31" y="40"/>
                    </a:lnTo>
                    <a:lnTo>
                      <a:pt x="31" y="40"/>
                    </a:lnTo>
                    <a:lnTo>
                      <a:pt x="31" y="40"/>
                    </a:lnTo>
                    <a:lnTo>
                      <a:pt x="31" y="40"/>
                    </a:lnTo>
                    <a:lnTo>
                      <a:pt x="31"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75" name="Freeform 38">
                <a:extLst>
                  <a:ext uri="{FF2B5EF4-FFF2-40B4-BE49-F238E27FC236}">
                    <a16:creationId xmlns:a16="http://schemas.microsoft.com/office/drawing/2014/main" id="{E964EA1E-C563-4D85-B589-B62819E0CCE0}"/>
                  </a:ext>
                </a:extLst>
              </p:cNvPr>
              <p:cNvSpPr>
                <a:spLocks/>
              </p:cNvSpPr>
              <p:nvPr/>
            </p:nvSpPr>
            <p:spPr bwMode="gray">
              <a:xfrm>
                <a:off x="14222413" y="911225"/>
                <a:ext cx="11113" cy="4763"/>
              </a:xfrm>
              <a:custGeom>
                <a:avLst/>
                <a:gdLst>
                  <a:gd name="T0" fmla="*/ 5 w 7"/>
                  <a:gd name="T1" fmla="*/ 0 h 3"/>
                  <a:gd name="T2" fmla="*/ 7 w 7"/>
                  <a:gd name="T3" fmla="*/ 3 h 3"/>
                  <a:gd name="T4" fmla="*/ 0 w 7"/>
                  <a:gd name="T5" fmla="*/ 0 h 3"/>
                  <a:gd name="T6" fmla="*/ 5 w 7"/>
                  <a:gd name="T7" fmla="*/ 0 h 3"/>
                  <a:gd name="T8" fmla="*/ 5 w 7"/>
                  <a:gd name="T9" fmla="*/ 0 h 3"/>
                  <a:gd name="T10" fmla="*/ 5 w 7"/>
                  <a:gd name="T11" fmla="*/ 0 h 3"/>
                  <a:gd name="T12" fmla="*/ 5 w 7"/>
                  <a:gd name="T13" fmla="*/ 0 h 3"/>
                  <a:gd name="T14" fmla="*/ 5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5" y="0"/>
                    </a:moveTo>
                    <a:lnTo>
                      <a:pt x="7" y="3"/>
                    </a:lnTo>
                    <a:lnTo>
                      <a:pt x="0" y="0"/>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76" name="Freeform 39">
                <a:extLst>
                  <a:ext uri="{FF2B5EF4-FFF2-40B4-BE49-F238E27FC236}">
                    <a16:creationId xmlns:a16="http://schemas.microsoft.com/office/drawing/2014/main" id="{5A8E3383-7B2D-4947-A9F9-F0AFFC54DDDA}"/>
                  </a:ext>
                </a:extLst>
              </p:cNvPr>
              <p:cNvSpPr>
                <a:spLocks/>
              </p:cNvSpPr>
              <p:nvPr/>
            </p:nvSpPr>
            <p:spPr bwMode="gray">
              <a:xfrm>
                <a:off x="14181138" y="915988"/>
                <a:ext cx="19050" cy="17463"/>
              </a:xfrm>
              <a:custGeom>
                <a:avLst/>
                <a:gdLst>
                  <a:gd name="T0" fmla="*/ 5 w 12"/>
                  <a:gd name="T1" fmla="*/ 0 h 11"/>
                  <a:gd name="T2" fmla="*/ 12 w 12"/>
                  <a:gd name="T3" fmla="*/ 4 h 11"/>
                  <a:gd name="T4" fmla="*/ 12 w 12"/>
                  <a:gd name="T5" fmla="*/ 7 h 11"/>
                  <a:gd name="T6" fmla="*/ 7 w 12"/>
                  <a:gd name="T7" fmla="*/ 11 h 11"/>
                  <a:gd name="T8" fmla="*/ 0 w 12"/>
                  <a:gd name="T9" fmla="*/ 11 h 11"/>
                  <a:gd name="T10" fmla="*/ 5 w 12"/>
                  <a:gd name="T11" fmla="*/ 7 h 11"/>
                  <a:gd name="T12" fmla="*/ 0 w 12"/>
                  <a:gd name="T13" fmla="*/ 7 h 11"/>
                  <a:gd name="T14" fmla="*/ 0 w 12"/>
                  <a:gd name="T15" fmla="*/ 0 h 11"/>
                  <a:gd name="T16" fmla="*/ 5 w 12"/>
                  <a:gd name="T17" fmla="*/ 0 h 11"/>
                  <a:gd name="T18" fmla="*/ 5 w 12"/>
                  <a:gd name="T19" fmla="*/ 0 h 11"/>
                  <a:gd name="T20" fmla="*/ 5 w 12"/>
                  <a:gd name="T21" fmla="*/ 0 h 11"/>
                  <a:gd name="T22" fmla="*/ 5 w 12"/>
                  <a:gd name="T23" fmla="*/ 0 h 11"/>
                  <a:gd name="T24" fmla="*/ 5 w 12"/>
                  <a:gd name="T2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1">
                    <a:moveTo>
                      <a:pt x="5" y="0"/>
                    </a:moveTo>
                    <a:lnTo>
                      <a:pt x="12" y="4"/>
                    </a:lnTo>
                    <a:lnTo>
                      <a:pt x="12" y="7"/>
                    </a:lnTo>
                    <a:lnTo>
                      <a:pt x="7" y="11"/>
                    </a:lnTo>
                    <a:lnTo>
                      <a:pt x="0" y="11"/>
                    </a:lnTo>
                    <a:lnTo>
                      <a:pt x="5" y="7"/>
                    </a:lnTo>
                    <a:lnTo>
                      <a:pt x="0" y="7"/>
                    </a:lnTo>
                    <a:lnTo>
                      <a:pt x="0" y="0"/>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77" name="Freeform 40">
                <a:extLst>
                  <a:ext uri="{FF2B5EF4-FFF2-40B4-BE49-F238E27FC236}">
                    <a16:creationId xmlns:a16="http://schemas.microsoft.com/office/drawing/2014/main" id="{7F04DDF4-5E65-4815-B090-422E58D93717}"/>
                  </a:ext>
                </a:extLst>
              </p:cNvPr>
              <p:cNvSpPr>
                <a:spLocks/>
              </p:cNvSpPr>
              <p:nvPr/>
            </p:nvSpPr>
            <p:spPr bwMode="gray">
              <a:xfrm>
                <a:off x="12588875" y="922338"/>
                <a:ext cx="11113" cy="7938"/>
              </a:xfrm>
              <a:custGeom>
                <a:avLst/>
                <a:gdLst>
                  <a:gd name="T0" fmla="*/ 5 w 7"/>
                  <a:gd name="T1" fmla="*/ 5 h 5"/>
                  <a:gd name="T2" fmla="*/ 0 w 7"/>
                  <a:gd name="T3" fmla="*/ 3 h 5"/>
                  <a:gd name="T4" fmla="*/ 7 w 7"/>
                  <a:gd name="T5" fmla="*/ 0 h 5"/>
                  <a:gd name="T6" fmla="*/ 5 w 7"/>
                  <a:gd name="T7" fmla="*/ 5 h 5"/>
                  <a:gd name="T8" fmla="*/ 5 w 7"/>
                  <a:gd name="T9" fmla="*/ 5 h 5"/>
                  <a:gd name="T10" fmla="*/ 5 w 7"/>
                  <a:gd name="T11" fmla="*/ 5 h 5"/>
                  <a:gd name="T12" fmla="*/ 5 w 7"/>
                  <a:gd name="T13" fmla="*/ 5 h 5"/>
                  <a:gd name="T14" fmla="*/ 5 w 7"/>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5" y="5"/>
                    </a:moveTo>
                    <a:lnTo>
                      <a:pt x="0" y="3"/>
                    </a:lnTo>
                    <a:lnTo>
                      <a:pt x="7" y="0"/>
                    </a:lnTo>
                    <a:lnTo>
                      <a:pt x="5" y="5"/>
                    </a:lnTo>
                    <a:lnTo>
                      <a:pt x="5" y="5"/>
                    </a:lnTo>
                    <a:lnTo>
                      <a:pt x="5" y="5"/>
                    </a:lnTo>
                    <a:lnTo>
                      <a:pt x="5"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78" name="Freeform 41">
                <a:extLst>
                  <a:ext uri="{FF2B5EF4-FFF2-40B4-BE49-F238E27FC236}">
                    <a16:creationId xmlns:a16="http://schemas.microsoft.com/office/drawing/2014/main" id="{FAE41209-12B0-480D-9106-9EC2FB3D00FF}"/>
                  </a:ext>
                </a:extLst>
              </p:cNvPr>
              <p:cNvSpPr>
                <a:spLocks/>
              </p:cNvSpPr>
              <p:nvPr/>
            </p:nvSpPr>
            <p:spPr bwMode="gray">
              <a:xfrm>
                <a:off x="13368338" y="922338"/>
                <a:ext cx="30163" cy="11113"/>
              </a:xfrm>
              <a:custGeom>
                <a:avLst/>
                <a:gdLst>
                  <a:gd name="T0" fmla="*/ 19 w 19"/>
                  <a:gd name="T1" fmla="*/ 3 h 7"/>
                  <a:gd name="T2" fmla="*/ 7 w 19"/>
                  <a:gd name="T3" fmla="*/ 7 h 7"/>
                  <a:gd name="T4" fmla="*/ 0 w 19"/>
                  <a:gd name="T5" fmla="*/ 5 h 7"/>
                  <a:gd name="T6" fmla="*/ 7 w 19"/>
                  <a:gd name="T7" fmla="*/ 0 h 7"/>
                  <a:gd name="T8" fmla="*/ 19 w 19"/>
                  <a:gd name="T9" fmla="*/ 3 h 7"/>
                  <a:gd name="T10" fmla="*/ 19 w 19"/>
                  <a:gd name="T11" fmla="*/ 3 h 7"/>
                  <a:gd name="T12" fmla="*/ 19 w 19"/>
                  <a:gd name="T13" fmla="*/ 3 h 7"/>
                  <a:gd name="T14" fmla="*/ 19 w 19"/>
                  <a:gd name="T15" fmla="*/ 3 h 7"/>
                  <a:gd name="T16" fmla="*/ 19 w 1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7">
                    <a:moveTo>
                      <a:pt x="19" y="3"/>
                    </a:moveTo>
                    <a:lnTo>
                      <a:pt x="7" y="7"/>
                    </a:lnTo>
                    <a:lnTo>
                      <a:pt x="0" y="5"/>
                    </a:lnTo>
                    <a:lnTo>
                      <a:pt x="7" y="0"/>
                    </a:lnTo>
                    <a:lnTo>
                      <a:pt x="19" y="3"/>
                    </a:lnTo>
                    <a:lnTo>
                      <a:pt x="19" y="3"/>
                    </a:lnTo>
                    <a:lnTo>
                      <a:pt x="19" y="3"/>
                    </a:lnTo>
                    <a:lnTo>
                      <a:pt x="19" y="3"/>
                    </a:lnTo>
                    <a:lnTo>
                      <a:pt x="19"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79" name="Freeform 42">
                <a:extLst>
                  <a:ext uri="{FF2B5EF4-FFF2-40B4-BE49-F238E27FC236}">
                    <a16:creationId xmlns:a16="http://schemas.microsoft.com/office/drawing/2014/main" id="{833A21B0-0969-4E47-ACCC-E94CEED54488}"/>
                  </a:ext>
                </a:extLst>
              </p:cNvPr>
              <p:cNvSpPr>
                <a:spLocks/>
              </p:cNvSpPr>
              <p:nvPr/>
            </p:nvSpPr>
            <p:spPr bwMode="gray">
              <a:xfrm>
                <a:off x="14266863" y="930275"/>
                <a:ext cx="55563" cy="41275"/>
              </a:xfrm>
              <a:custGeom>
                <a:avLst/>
                <a:gdLst>
                  <a:gd name="T0" fmla="*/ 28 w 35"/>
                  <a:gd name="T1" fmla="*/ 2 h 26"/>
                  <a:gd name="T2" fmla="*/ 35 w 35"/>
                  <a:gd name="T3" fmla="*/ 9 h 26"/>
                  <a:gd name="T4" fmla="*/ 31 w 35"/>
                  <a:gd name="T5" fmla="*/ 19 h 26"/>
                  <a:gd name="T6" fmla="*/ 21 w 35"/>
                  <a:gd name="T7" fmla="*/ 9 h 26"/>
                  <a:gd name="T8" fmla="*/ 28 w 35"/>
                  <a:gd name="T9" fmla="*/ 21 h 26"/>
                  <a:gd name="T10" fmla="*/ 14 w 35"/>
                  <a:gd name="T11" fmla="*/ 26 h 26"/>
                  <a:gd name="T12" fmla="*/ 12 w 35"/>
                  <a:gd name="T13" fmla="*/ 26 h 26"/>
                  <a:gd name="T14" fmla="*/ 12 w 35"/>
                  <a:gd name="T15" fmla="*/ 9 h 26"/>
                  <a:gd name="T16" fmla="*/ 5 w 35"/>
                  <a:gd name="T17" fmla="*/ 7 h 26"/>
                  <a:gd name="T18" fmla="*/ 7 w 35"/>
                  <a:gd name="T19" fmla="*/ 7 h 26"/>
                  <a:gd name="T20" fmla="*/ 0 w 35"/>
                  <a:gd name="T21" fmla="*/ 2 h 26"/>
                  <a:gd name="T22" fmla="*/ 5 w 35"/>
                  <a:gd name="T23" fmla="*/ 0 h 26"/>
                  <a:gd name="T24" fmla="*/ 28 w 35"/>
                  <a:gd name="T25" fmla="*/ 2 h 26"/>
                  <a:gd name="T26" fmla="*/ 28 w 35"/>
                  <a:gd name="T27" fmla="*/ 2 h 26"/>
                  <a:gd name="T28" fmla="*/ 28 w 35"/>
                  <a:gd name="T29" fmla="*/ 2 h 26"/>
                  <a:gd name="T30" fmla="*/ 28 w 35"/>
                  <a:gd name="T31" fmla="*/ 2 h 26"/>
                  <a:gd name="T32" fmla="*/ 28 w 35"/>
                  <a:gd name="T33"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26">
                    <a:moveTo>
                      <a:pt x="28" y="2"/>
                    </a:moveTo>
                    <a:lnTo>
                      <a:pt x="35" y="9"/>
                    </a:lnTo>
                    <a:lnTo>
                      <a:pt x="31" y="19"/>
                    </a:lnTo>
                    <a:lnTo>
                      <a:pt x="21" y="9"/>
                    </a:lnTo>
                    <a:lnTo>
                      <a:pt x="28" y="21"/>
                    </a:lnTo>
                    <a:lnTo>
                      <a:pt x="14" y="26"/>
                    </a:lnTo>
                    <a:lnTo>
                      <a:pt x="12" y="26"/>
                    </a:lnTo>
                    <a:lnTo>
                      <a:pt x="12" y="9"/>
                    </a:lnTo>
                    <a:lnTo>
                      <a:pt x="5" y="7"/>
                    </a:lnTo>
                    <a:lnTo>
                      <a:pt x="7" y="7"/>
                    </a:lnTo>
                    <a:lnTo>
                      <a:pt x="0" y="2"/>
                    </a:lnTo>
                    <a:lnTo>
                      <a:pt x="5" y="0"/>
                    </a:lnTo>
                    <a:lnTo>
                      <a:pt x="28" y="2"/>
                    </a:lnTo>
                    <a:lnTo>
                      <a:pt x="28" y="2"/>
                    </a:lnTo>
                    <a:lnTo>
                      <a:pt x="28" y="2"/>
                    </a:lnTo>
                    <a:lnTo>
                      <a:pt x="28" y="2"/>
                    </a:lnTo>
                    <a:lnTo>
                      <a:pt x="28"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80" name="Freeform 43">
                <a:extLst>
                  <a:ext uri="{FF2B5EF4-FFF2-40B4-BE49-F238E27FC236}">
                    <a16:creationId xmlns:a16="http://schemas.microsoft.com/office/drawing/2014/main" id="{3DF12421-ADFE-4284-8DDF-2575645CD854}"/>
                  </a:ext>
                </a:extLst>
              </p:cNvPr>
              <p:cNvSpPr>
                <a:spLocks/>
              </p:cNvSpPr>
              <p:nvPr/>
            </p:nvSpPr>
            <p:spPr bwMode="gray">
              <a:xfrm>
                <a:off x="14252575" y="941388"/>
                <a:ext cx="33338" cy="60325"/>
              </a:xfrm>
              <a:custGeom>
                <a:avLst/>
                <a:gdLst>
                  <a:gd name="T0" fmla="*/ 2 w 21"/>
                  <a:gd name="T1" fmla="*/ 26 h 38"/>
                  <a:gd name="T2" fmla="*/ 2 w 21"/>
                  <a:gd name="T3" fmla="*/ 21 h 38"/>
                  <a:gd name="T4" fmla="*/ 2 w 21"/>
                  <a:gd name="T5" fmla="*/ 21 h 38"/>
                  <a:gd name="T6" fmla="*/ 9 w 21"/>
                  <a:gd name="T7" fmla="*/ 21 h 38"/>
                  <a:gd name="T8" fmla="*/ 9 w 21"/>
                  <a:gd name="T9" fmla="*/ 14 h 38"/>
                  <a:gd name="T10" fmla="*/ 2 w 21"/>
                  <a:gd name="T11" fmla="*/ 14 h 38"/>
                  <a:gd name="T12" fmla="*/ 0 w 21"/>
                  <a:gd name="T13" fmla="*/ 2 h 38"/>
                  <a:gd name="T14" fmla="*/ 9 w 21"/>
                  <a:gd name="T15" fmla="*/ 2 h 38"/>
                  <a:gd name="T16" fmla="*/ 2 w 21"/>
                  <a:gd name="T17" fmla="*/ 0 h 38"/>
                  <a:gd name="T18" fmla="*/ 9 w 21"/>
                  <a:gd name="T19" fmla="*/ 2 h 38"/>
                  <a:gd name="T20" fmla="*/ 14 w 21"/>
                  <a:gd name="T21" fmla="*/ 7 h 38"/>
                  <a:gd name="T22" fmla="*/ 9 w 21"/>
                  <a:gd name="T23" fmla="*/ 12 h 38"/>
                  <a:gd name="T24" fmla="*/ 14 w 21"/>
                  <a:gd name="T25" fmla="*/ 7 h 38"/>
                  <a:gd name="T26" fmla="*/ 16 w 21"/>
                  <a:gd name="T27" fmla="*/ 7 h 38"/>
                  <a:gd name="T28" fmla="*/ 21 w 21"/>
                  <a:gd name="T29" fmla="*/ 12 h 38"/>
                  <a:gd name="T30" fmla="*/ 14 w 21"/>
                  <a:gd name="T31" fmla="*/ 12 h 38"/>
                  <a:gd name="T32" fmla="*/ 14 w 21"/>
                  <a:gd name="T33" fmla="*/ 26 h 38"/>
                  <a:gd name="T34" fmla="*/ 9 w 21"/>
                  <a:gd name="T35" fmla="*/ 21 h 38"/>
                  <a:gd name="T36" fmla="*/ 9 w 21"/>
                  <a:gd name="T37" fmla="*/ 28 h 38"/>
                  <a:gd name="T38" fmla="*/ 14 w 21"/>
                  <a:gd name="T39" fmla="*/ 28 h 38"/>
                  <a:gd name="T40" fmla="*/ 9 w 21"/>
                  <a:gd name="T41" fmla="*/ 35 h 38"/>
                  <a:gd name="T42" fmla="*/ 9 w 21"/>
                  <a:gd name="T43" fmla="*/ 35 h 38"/>
                  <a:gd name="T44" fmla="*/ 9 w 21"/>
                  <a:gd name="T45" fmla="*/ 26 h 38"/>
                  <a:gd name="T46" fmla="*/ 9 w 21"/>
                  <a:gd name="T47" fmla="*/ 38 h 38"/>
                  <a:gd name="T48" fmla="*/ 2 w 21"/>
                  <a:gd name="T49" fmla="*/ 38 h 38"/>
                  <a:gd name="T50" fmla="*/ 2 w 21"/>
                  <a:gd name="T51" fmla="*/ 26 h 38"/>
                  <a:gd name="T52" fmla="*/ 2 w 21"/>
                  <a:gd name="T53" fmla="*/ 26 h 38"/>
                  <a:gd name="T54" fmla="*/ 2 w 21"/>
                  <a:gd name="T55" fmla="*/ 26 h 38"/>
                  <a:gd name="T56" fmla="*/ 2 w 21"/>
                  <a:gd name="T57" fmla="*/ 26 h 38"/>
                  <a:gd name="T58" fmla="*/ 2 w 21"/>
                  <a:gd name="T59"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38">
                    <a:moveTo>
                      <a:pt x="2" y="26"/>
                    </a:moveTo>
                    <a:lnTo>
                      <a:pt x="2" y="21"/>
                    </a:lnTo>
                    <a:lnTo>
                      <a:pt x="2" y="21"/>
                    </a:lnTo>
                    <a:lnTo>
                      <a:pt x="9" y="21"/>
                    </a:lnTo>
                    <a:lnTo>
                      <a:pt x="9" y="14"/>
                    </a:lnTo>
                    <a:lnTo>
                      <a:pt x="2" y="14"/>
                    </a:lnTo>
                    <a:lnTo>
                      <a:pt x="0" y="2"/>
                    </a:lnTo>
                    <a:lnTo>
                      <a:pt x="9" y="2"/>
                    </a:lnTo>
                    <a:lnTo>
                      <a:pt x="2" y="0"/>
                    </a:lnTo>
                    <a:lnTo>
                      <a:pt x="9" y="2"/>
                    </a:lnTo>
                    <a:lnTo>
                      <a:pt x="14" y="7"/>
                    </a:lnTo>
                    <a:lnTo>
                      <a:pt x="9" y="12"/>
                    </a:lnTo>
                    <a:lnTo>
                      <a:pt x="14" y="7"/>
                    </a:lnTo>
                    <a:lnTo>
                      <a:pt x="16" y="7"/>
                    </a:lnTo>
                    <a:lnTo>
                      <a:pt x="21" y="12"/>
                    </a:lnTo>
                    <a:lnTo>
                      <a:pt x="14" y="12"/>
                    </a:lnTo>
                    <a:lnTo>
                      <a:pt x="14" y="26"/>
                    </a:lnTo>
                    <a:lnTo>
                      <a:pt x="9" y="21"/>
                    </a:lnTo>
                    <a:lnTo>
                      <a:pt x="9" y="28"/>
                    </a:lnTo>
                    <a:lnTo>
                      <a:pt x="14" y="28"/>
                    </a:lnTo>
                    <a:lnTo>
                      <a:pt x="9" y="35"/>
                    </a:lnTo>
                    <a:lnTo>
                      <a:pt x="9" y="35"/>
                    </a:lnTo>
                    <a:lnTo>
                      <a:pt x="9" y="26"/>
                    </a:lnTo>
                    <a:lnTo>
                      <a:pt x="9" y="38"/>
                    </a:lnTo>
                    <a:lnTo>
                      <a:pt x="2" y="38"/>
                    </a:lnTo>
                    <a:lnTo>
                      <a:pt x="2" y="26"/>
                    </a:lnTo>
                    <a:lnTo>
                      <a:pt x="2" y="26"/>
                    </a:lnTo>
                    <a:lnTo>
                      <a:pt x="2" y="26"/>
                    </a:lnTo>
                    <a:lnTo>
                      <a:pt x="2" y="26"/>
                    </a:lnTo>
                    <a:lnTo>
                      <a:pt x="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81" name="Freeform 44">
                <a:extLst>
                  <a:ext uri="{FF2B5EF4-FFF2-40B4-BE49-F238E27FC236}">
                    <a16:creationId xmlns:a16="http://schemas.microsoft.com/office/drawing/2014/main" id="{33074297-B3C5-4996-B70C-263954F85732}"/>
                  </a:ext>
                </a:extLst>
              </p:cNvPr>
              <p:cNvSpPr>
                <a:spLocks/>
              </p:cNvSpPr>
              <p:nvPr/>
            </p:nvSpPr>
            <p:spPr bwMode="gray">
              <a:xfrm>
                <a:off x="14316075" y="952500"/>
                <a:ext cx="22225" cy="11113"/>
              </a:xfrm>
              <a:custGeom>
                <a:avLst/>
                <a:gdLst>
                  <a:gd name="T0" fmla="*/ 7 w 14"/>
                  <a:gd name="T1" fmla="*/ 0 h 7"/>
                  <a:gd name="T2" fmla="*/ 14 w 14"/>
                  <a:gd name="T3" fmla="*/ 7 h 7"/>
                  <a:gd name="T4" fmla="*/ 0 w 14"/>
                  <a:gd name="T5" fmla="*/ 7 h 7"/>
                  <a:gd name="T6" fmla="*/ 4 w 14"/>
                  <a:gd name="T7" fmla="*/ 0 h 7"/>
                  <a:gd name="T8" fmla="*/ 7 w 14"/>
                  <a:gd name="T9" fmla="*/ 0 h 7"/>
                  <a:gd name="T10" fmla="*/ 7 w 14"/>
                  <a:gd name="T11" fmla="*/ 0 h 7"/>
                  <a:gd name="T12" fmla="*/ 7 w 14"/>
                  <a:gd name="T13" fmla="*/ 0 h 7"/>
                  <a:gd name="T14" fmla="*/ 7 w 14"/>
                  <a:gd name="T15" fmla="*/ 0 h 7"/>
                  <a:gd name="T16" fmla="*/ 7 w 1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7">
                    <a:moveTo>
                      <a:pt x="7" y="0"/>
                    </a:moveTo>
                    <a:lnTo>
                      <a:pt x="14" y="7"/>
                    </a:lnTo>
                    <a:lnTo>
                      <a:pt x="0" y="7"/>
                    </a:lnTo>
                    <a:lnTo>
                      <a:pt x="4" y="0"/>
                    </a:lnTo>
                    <a:lnTo>
                      <a:pt x="7" y="0"/>
                    </a:lnTo>
                    <a:lnTo>
                      <a:pt x="7" y="0"/>
                    </a:lnTo>
                    <a:lnTo>
                      <a:pt x="7"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82" name="Freeform 45">
                <a:extLst>
                  <a:ext uri="{FF2B5EF4-FFF2-40B4-BE49-F238E27FC236}">
                    <a16:creationId xmlns:a16="http://schemas.microsoft.com/office/drawing/2014/main" id="{5C677146-8388-454A-BF21-6F82E373A341}"/>
                  </a:ext>
                </a:extLst>
              </p:cNvPr>
              <p:cNvSpPr>
                <a:spLocks/>
              </p:cNvSpPr>
              <p:nvPr/>
            </p:nvSpPr>
            <p:spPr bwMode="gray">
              <a:xfrm>
                <a:off x="12611100" y="960438"/>
                <a:ext cx="19050" cy="3175"/>
              </a:xfrm>
              <a:custGeom>
                <a:avLst/>
                <a:gdLst>
                  <a:gd name="T0" fmla="*/ 7 w 12"/>
                  <a:gd name="T1" fmla="*/ 2 h 2"/>
                  <a:gd name="T2" fmla="*/ 0 w 12"/>
                  <a:gd name="T3" fmla="*/ 0 h 2"/>
                  <a:gd name="T4" fmla="*/ 12 w 12"/>
                  <a:gd name="T5" fmla="*/ 0 h 2"/>
                  <a:gd name="T6" fmla="*/ 7 w 12"/>
                  <a:gd name="T7" fmla="*/ 2 h 2"/>
                  <a:gd name="T8" fmla="*/ 7 w 12"/>
                  <a:gd name="T9" fmla="*/ 2 h 2"/>
                  <a:gd name="T10" fmla="*/ 7 w 12"/>
                  <a:gd name="T11" fmla="*/ 2 h 2"/>
                  <a:gd name="T12" fmla="*/ 7 w 12"/>
                  <a:gd name="T13" fmla="*/ 2 h 2"/>
                  <a:gd name="T14" fmla="*/ 7 w 1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2">
                    <a:moveTo>
                      <a:pt x="7" y="2"/>
                    </a:moveTo>
                    <a:lnTo>
                      <a:pt x="0" y="0"/>
                    </a:lnTo>
                    <a:lnTo>
                      <a:pt x="12" y="0"/>
                    </a:lnTo>
                    <a:lnTo>
                      <a:pt x="7" y="2"/>
                    </a:lnTo>
                    <a:lnTo>
                      <a:pt x="7" y="2"/>
                    </a:lnTo>
                    <a:lnTo>
                      <a:pt x="7" y="2"/>
                    </a:lnTo>
                    <a:lnTo>
                      <a:pt x="7" y="2"/>
                    </a:lnTo>
                    <a:lnTo>
                      <a:pt x="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83" name="Freeform 46">
                <a:extLst>
                  <a:ext uri="{FF2B5EF4-FFF2-40B4-BE49-F238E27FC236}">
                    <a16:creationId xmlns:a16="http://schemas.microsoft.com/office/drawing/2014/main" id="{0A85723C-7C45-4B6B-BE06-E5311644F4DB}"/>
                  </a:ext>
                </a:extLst>
              </p:cNvPr>
              <p:cNvSpPr>
                <a:spLocks/>
              </p:cNvSpPr>
              <p:nvPr/>
            </p:nvSpPr>
            <p:spPr bwMode="gray">
              <a:xfrm>
                <a:off x="13330238" y="960438"/>
                <a:ext cx="11113" cy="11113"/>
              </a:xfrm>
              <a:custGeom>
                <a:avLst/>
                <a:gdLst>
                  <a:gd name="T0" fmla="*/ 7 w 7"/>
                  <a:gd name="T1" fmla="*/ 0 h 7"/>
                  <a:gd name="T2" fmla="*/ 3 w 7"/>
                  <a:gd name="T3" fmla="*/ 7 h 7"/>
                  <a:gd name="T4" fmla="*/ 0 w 7"/>
                  <a:gd name="T5" fmla="*/ 2 h 7"/>
                  <a:gd name="T6" fmla="*/ 7 w 7"/>
                  <a:gd name="T7" fmla="*/ 0 h 7"/>
                  <a:gd name="T8" fmla="*/ 7 w 7"/>
                  <a:gd name="T9" fmla="*/ 0 h 7"/>
                  <a:gd name="T10" fmla="*/ 7 w 7"/>
                  <a:gd name="T11" fmla="*/ 0 h 7"/>
                  <a:gd name="T12" fmla="*/ 7 w 7"/>
                  <a:gd name="T13" fmla="*/ 0 h 7"/>
                  <a:gd name="T14" fmla="*/ 7 w 7"/>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7" y="0"/>
                    </a:moveTo>
                    <a:lnTo>
                      <a:pt x="3" y="7"/>
                    </a:lnTo>
                    <a:lnTo>
                      <a:pt x="0" y="2"/>
                    </a:lnTo>
                    <a:lnTo>
                      <a:pt x="7" y="0"/>
                    </a:lnTo>
                    <a:lnTo>
                      <a:pt x="7" y="0"/>
                    </a:lnTo>
                    <a:lnTo>
                      <a:pt x="7"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84" name="Freeform 47">
                <a:extLst>
                  <a:ext uri="{FF2B5EF4-FFF2-40B4-BE49-F238E27FC236}">
                    <a16:creationId xmlns:a16="http://schemas.microsoft.com/office/drawing/2014/main" id="{8E8C3E97-D69C-40F5-9685-32E6028AF3FF}"/>
                  </a:ext>
                </a:extLst>
              </p:cNvPr>
              <p:cNvSpPr>
                <a:spLocks/>
              </p:cNvSpPr>
              <p:nvPr/>
            </p:nvSpPr>
            <p:spPr bwMode="gray">
              <a:xfrm>
                <a:off x="13308013" y="960438"/>
                <a:ext cx="19050" cy="14288"/>
              </a:xfrm>
              <a:custGeom>
                <a:avLst/>
                <a:gdLst>
                  <a:gd name="T0" fmla="*/ 12 w 12"/>
                  <a:gd name="T1" fmla="*/ 0 h 9"/>
                  <a:gd name="T2" fmla="*/ 0 w 12"/>
                  <a:gd name="T3" fmla="*/ 9 h 9"/>
                  <a:gd name="T4" fmla="*/ 0 w 12"/>
                  <a:gd name="T5" fmla="*/ 2 h 9"/>
                  <a:gd name="T6" fmla="*/ 12 w 12"/>
                  <a:gd name="T7" fmla="*/ 0 h 9"/>
                  <a:gd name="T8" fmla="*/ 12 w 12"/>
                  <a:gd name="T9" fmla="*/ 0 h 9"/>
                  <a:gd name="T10" fmla="*/ 12 w 12"/>
                  <a:gd name="T11" fmla="*/ 0 h 9"/>
                  <a:gd name="T12" fmla="*/ 12 w 12"/>
                  <a:gd name="T13" fmla="*/ 0 h 9"/>
                  <a:gd name="T14" fmla="*/ 12 w 12"/>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9">
                    <a:moveTo>
                      <a:pt x="12" y="0"/>
                    </a:moveTo>
                    <a:lnTo>
                      <a:pt x="0" y="9"/>
                    </a:lnTo>
                    <a:lnTo>
                      <a:pt x="0" y="2"/>
                    </a:lnTo>
                    <a:lnTo>
                      <a:pt x="12" y="0"/>
                    </a:lnTo>
                    <a:lnTo>
                      <a:pt x="12" y="0"/>
                    </a:lnTo>
                    <a:lnTo>
                      <a:pt x="12" y="0"/>
                    </a:lnTo>
                    <a:lnTo>
                      <a:pt x="12"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85" name="Freeform 48">
                <a:extLst>
                  <a:ext uri="{FF2B5EF4-FFF2-40B4-BE49-F238E27FC236}">
                    <a16:creationId xmlns:a16="http://schemas.microsoft.com/office/drawing/2014/main" id="{BCF0AB93-5583-4DE4-ACA2-18E11E991EB8}"/>
                  </a:ext>
                </a:extLst>
              </p:cNvPr>
              <p:cNvSpPr>
                <a:spLocks/>
              </p:cNvSpPr>
              <p:nvPr/>
            </p:nvSpPr>
            <p:spPr bwMode="gray">
              <a:xfrm>
                <a:off x="13192125" y="960438"/>
                <a:ext cx="19050" cy="3175"/>
              </a:xfrm>
              <a:custGeom>
                <a:avLst/>
                <a:gdLst>
                  <a:gd name="T0" fmla="*/ 5 w 12"/>
                  <a:gd name="T1" fmla="*/ 0 h 2"/>
                  <a:gd name="T2" fmla="*/ 12 w 12"/>
                  <a:gd name="T3" fmla="*/ 2 h 2"/>
                  <a:gd name="T4" fmla="*/ 0 w 12"/>
                  <a:gd name="T5" fmla="*/ 2 h 2"/>
                  <a:gd name="T6" fmla="*/ 5 w 12"/>
                  <a:gd name="T7" fmla="*/ 0 h 2"/>
                  <a:gd name="T8" fmla="*/ 5 w 12"/>
                  <a:gd name="T9" fmla="*/ 0 h 2"/>
                  <a:gd name="T10" fmla="*/ 5 w 12"/>
                  <a:gd name="T11" fmla="*/ 0 h 2"/>
                  <a:gd name="T12" fmla="*/ 5 w 12"/>
                  <a:gd name="T13" fmla="*/ 0 h 2"/>
                  <a:gd name="T14" fmla="*/ 5 w 1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2">
                    <a:moveTo>
                      <a:pt x="5" y="0"/>
                    </a:moveTo>
                    <a:lnTo>
                      <a:pt x="12" y="2"/>
                    </a:lnTo>
                    <a:lnTo>
                      <a:pt x="0" y="2"/>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86" name="Freeform 49">
                <a:extLst>
                  <a:ext uri="{FF2B5EF4-FFF2-40B4-BE49-F238E27FC236}">
                    <a16:creationId xmlns:a16="http://schemas.microsoft.com/office/drawing/2014/main" id="{B61F30D2-CFE8-44B0-952A-24EDC70E4E06}"/>
                  </a:ext>
                </a:extLst>
              </p:cNvPr>
              <p:cNvSpPr>
                <a:spLocks/>
              </p:cNvSpPr>
              <p:nvPr/>
            </p:nvSpPr>
            <p:spPr bwMode="gray">
              <a:xfrm>
                <a:off x="14349413" y="971550"/>
                <a:ext cx="11113" cy="25400"/>
              </a:xfrm>
              <a:custGeom>
                <a:avLst/>
                <a:gdLst>
                  <a:gd name="T0" fmla="*/ 5 w 7"/>
                  <a:gd name="T1" fmla="*/ 16 h 16"/>
                  <a:gd name="T2" fmla="*/ 0 w 7"/>
                  <a:gd name="T3" fmla="*/ 7 h 16"/>
                  <a:gd name="T4" fmla="*/ 0 w 7"/>
                  <a:gd name="T5" fmla="*/ 0 h 16"/>
                  <a:gd name="T6" fmla="*/ 7 w 7"/>
                  <a:gd name="T7" fmla="*/ 7 h 16"/>
                  <a:gd name="T8" fmla="*/ 7 w 7"/>
                  <a:gd name="T9" fmla="*/ 9 h 16"/>
                  <a:gd name="T10" fmla="*/ 5 w 7"/>
                  <a:gd name="T11" fmla="*/ 16 h 16"/>
                  <a:gd name="T12" fmla="*/ 5 w 7"/>
                  <a:gd name="T13" fmla="*/ 16 h 16"/>
                  <a:gd name="T14" fmla="*/ 5 w 7"/>
                  <a:gd name="T15" fmla="*/ 16 h 16"/>
                  <a:gd name="T16" fmla="*/ 5 w 7"/>
                  <a:gd name="T17" fmla="*/ 16 h 16"/>
                  <a:gd name="T18" fmla="*/ 5 w 7"/>
                  <a:gd name="T1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6">
                    <a:moveTo>
                      <a:pt x="5" y="16"/>
                    </a:moveTo>
                    <a:lnTo>
                      <a:pt x="0" y="7"/>
                    </a:lnTo>
                    <a:lnTo>
                      <a:pt x="0" y="0"/>
                    </a:lnTo>
                    <a:lnTo>
                      <a:pt x="7" y="7"/>
                    </a:lnTo>
                    <a:lnTo>
                      <a:pt x="7" y="9"/>
                    </a:lnTo>
                    <a:lnTo>
                      <a:pt x="5" y="16"/>
                    </a:lnTo>
                    <a:lnTo>
                      <a:pt x="5" y="16"/>
                    </a:lnTo>
                    <a:lnTo>
                      <a:pt x="5" y="16"/>
                    </a:lnTo>
                    <a:lnTo>
                      <a:pt x="5" y="16"/>
                    </a:lnTo>
                    <a:lnTo>
                      <a:pt x="5"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87" name="Freeform 50">
                <a:extLst>
                  <a:ext uri="{FF2B5EF4-FFF2-40B4-BE49-F238E27FC236}">
                    <a16:creationId xmlns:a16="http://schemas.microsoft.com/office/drawing/2014/main" id="{DFCB5A2B-8103-45B4-A7E8-D144EDA5D1E7}"/>
                  </a:ext>
                </a:extLst>
              </p:cNvPr>
              <p:cNvSpPr>
                <a:spLocks/>
              </p:cNvSpPr>
              <p:nvPr/>
            </p:nvSpPr>
            <p:spPr bwMode="gray">
              <a:xfrm>
                <a:off x="14311313" y="971550"/>
                <a:ext cx="19050" cy="14288"/>
              </a:xfrm>
              <a:custGeom>
                <a:avLst/>
                <a:gdLst>
                  <a:gd name="T0" fmla="*/ 7 w 12"/>
                  <a:gd name="T1" fmla="*/ 9 h 9"/>
                  <a:gd name="T2" fmla="*/ 0 w 12"/>
                  <a:gd name="T3" fmla="*/ 7 h 9"/>
                  <a:gd name="T4" fmla="*/ 7 w 12"/>
                  <a:gd name="T5" fmla="*/ 0 h 9"/>
                  <a:gd name="T6" fmla="*/ 12 w 12"/>
                  <a:gd name="T7" fmla="*/ 0 h 9"/>
                  <a:gd name="T8" fmla="*/ 12 w 12"/>
                  <a:gd name="T9" fmla="*/ 7 h 9"/>
                  <a:gd name="T10" fmla="*/ 7 w 12"/>
                  <a:gd name="T11" fmla="*/ 9 h 9"/>
                  <a:gd name="T12" fmla="*/ 7 w 12"/>
                  <a:gd name="T13" fmla="*/ 9 h 9"/>
                  <a:gd name="T14" fmla="*/ 7 w 12"/>
                  <a:gd name="T15" fmla="*/ 9 h 9"/>
                  <a:gd name="T16" fmla="*/ 7 w 12"/>
                  <a:gd name="T17" fmla="*/ 9 h 9"/>
                  <a:gd name="T18" fmla="*/ 7 w 12"/>
                  <a:gd name="T1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9">
                    <a:moveTo>
                      <a:pt x="7" y="9"/>
                    </a:moveTo>
                    <a:lnTo>
                      <a:pt x="0" y="7"/>
                    </a:lnTo>
                    <a:lnTo>
                      <a:pt x="7" y="0"/>
                    </a:lnTo>
                    <a:lnTo>
                      <a:pt x="12" y="0"/>
                    </a:lnTo>
                    <a:lnTo>
                      <a:pt x="12" y="7"/>
                    </a:lnTo>
                    <a:lnTo>
                      <a:pt x="7" y="9"/>
                    </a:lnTo>
                    <a:lnTo>
                      <a:pt x="7" y="9"/>
                    </a:lnTo>
                    <a:lnTo>
                      <a:pt x="7" y="9"/>
                    </a:lnTo>
                    <a:lnTo>
                      <a:pt x="7" y="9"/>
                    </a:ln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88" name="Freeform 51">
                <a:extLst>
                  <a:ext uri="{FF2B5EF4-FFF2-40B4-BE49-F238E27FC236}">
                    <a16:creationId xmlns:a16="http://schemas.microsoft.com/office/drawing/2014/main" id="{CB7792AD-0CEA-4339-9860-9E3E5B20A182}"/>
                  </a:ext>
                </a:extLst>
              </p:cNvPr>
              <p:cNvSpPr>
                <a:spLocks/>
              </p:cNvSpPr>
              <p:nvPr/>
            </p:nvSpPr>
            <p:spPr bwMode="gray">
              <a:xfrm>
                <a:off x="14338300" y="971550"/>
                <a:ext cx="0" cy="3175"/>
              </a:xfrm>
              <a:custGeom>
                <a:avLst/>
                <a:gdLst>
                  <a:gd name="T0" fmla="*/ 0 h 2"/>
                  <a:gd name="T1" fmla="*/ 2 h 2"/>
                  <a:gd name="T2" fmla="*/ 2 h 2"/>
                  <a:gd name="T3" fmla="*/ 0 h 2"/>
                  <a:gd name="T4" fmla="*/ 0 h 2"/>
                  <a:gd name="T5" fmla="*/ 0 h 2"/>
                  <a:gd name="T6" fmla="*/ 0 h 2"/>
                  <a:gd name="T7" fmla="*/ 0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0"/>
                    </a:moveTo>
                    <a:lnTo>
                      <a:pt x="0" y="2"/>
                    </a:lnTo>
                    <a:lnTo>
                      <a:pt x="0" y="2"/>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89" name="Freeform 52">
                <a:extLst>
                  <a:ext uri="{FF2B5EF4-FFF2-40B4-BE49-F238E27FC236}">
                    <a16:creationId xmlns:a16="http://schemas.microsoft.com/office/drawing/2014/main" id="{13CD4F31-7195-4B21-B124-2009831BADE2}"/>
                  </a:ext>
                </a:extLst>
              </p:cNvPr>
              <p:cNvSpPr>
                <a:spLocks/>
              </p:cNvSpPr>
              <p:nvPr/>
            </p:nvSpPr>
            <p:spPr bwMode="gray">
              <a:xfrm>
                <a:off x="14330363" y="974725"/>
                <a:ext cx="26988" cy="34925"/>
              </a:xfrm>
              <a:custGeom>
                <a:avLst/>
                <a:gdLst>
                  <a:gd name="T0" fmla="*/ 12 w 17"/>
                  <a:gd name="T1" fmla="*/ 22 h 22"/>
                  <a:gd name="T2" fmla="*/ 5 w 17"/>
                  <a:gd name="T3" fmla="*/ 14 h 22"/>
                  <a:gd name="T4" fmla="*/ 0 w 17"/>
                  <a:gd name="T5" fmla="*/ 14 h 22"/>
                  <a:gd name="T6" fmla="*/ 0 w 17"/>
                  <a:gd name="T7" fmla="*/ 7 h 22"/>
                  <a:gd name="T8" fmla="*/ 5 w 17"/>
                  <a:gd name="T9" fmla="*/ 0 h 22"/>
                  <a:gd name="T10" fmla="*/ 5 w 17"/>
                  <a:gd name="T11" fmla="*/ 7 h 22"/>
                  <a:gd name="T12" fmla="*/ 17 w 17"/>
                  <a:gd name="T13" fmla="*/ 14 h 22"/>
                  <a:gd name="T14" fmla="*/ 17 w 17"/>
                  <a:gd name="T15" fmla="*/ 22 h 22"/>
                  <a:gd name="T16" fmla="*/ 12 w 17"/>
                  <a:gd name="T17" fmla="*/ 22 h 22"/>
                  <a:gd name="T18" fmla="*/ 12 w 17"/>
                  <a:gd name="T19" fmla="*/ 22 h 22"/>
                  <a:gd name="T20" fmla="*/ 12 w 17"/>
                  <a:gd name="T21" fmla="*/ 22 h 22"/>
                  <a:gd name="T22" fmla="*/ 12 w 17"/>
                  <a:gd name="T23" fmla="*/ 22 h 22"/>
                  <a:gd name="T24" fmla="*/ 12 w 17"/>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22">
                    <a:moveTo>
                      <a:pt x="12" y="22"/>
                    </a:moveTo>
                    <a:lnTo>
                      <a:pt x="5" y="14"/>
                    </a:lnTo>
                    <a:lnTo>
                      <a:pt x="0" y="14"/>
                    </a:lnTo>
                    <a:lnTo>
                      <a:pt x="0" y="7"/>
                    </a:lnTo>
                    <a:lnTo>
                      <a:pt x="5" y="0"/>
                    </a:lnTo>
                    <a:lnTo>
                      <a:pt x="5" y="7"/>
                    </a:lnTo>
                    <a:lnTo>
                      <a:pt x="17" y="14"/>
                    </a:lnTo>
                    <a:lnTo>
                      <a:pt x="17" y="22"/>
                    </a:lnTo>
                    <a:lnTo>
                      <a:pt x="12" y="22"/>
                    </a:lnTo>
                    <a:lnTo>
                      <a:pt x="12" y="22"/>
                    </a:lnTo>
                    <a:lnTo>
                      <a:pt x="12" y="22"/>
                    </a:lnTo>
                    <a:lnTo>
                      <a:pt x="12" y="22"/>
                    </a:lnTo>
                    <a:lnTo>
                      <a:pt x="12"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90" name="Freeform 53">
                <a:extLst>
                  <a:ext uri="{FF2B5EF4-FFF2-40B4-BE49-F238E27FC236}">
                    <a16:creationId xmlns:a16="http://schemas.microsoft.com/office/drawing/2014/main" id="{FCC17E98-6F05-4263-827C-B6C224408EE5}"/>
                  </a:ext>
                </a:extLst>
              </p:cNvPr>
              <p:cNvSpPr>
                <a:spLocks/>
              </p:cNvSpPr>
              <p:nvPr/>
            </p:nvSpPr>
            <p:spPr bwMode="gray">
              <a:xfrm>
                <a:off x="14285913" y="982663"/>
                <a:ext cx="74613" cy="107950"/>
              </a:xfrm>
              <a:custGeom>
                <a:avLst/>
                <a:gdLst>
                  <a:gd name="T0" fmla="*/ 45 w 47"/>
                  <a:gd name="T1" fmla="*/ 35 h 68"/>
                  <a:gd name="T2" fmla="*/ 33 w 47"/>
                  <a:gd name="T3" fmla="*/ 31 h 68"/>
                  <a:gd name="T4" fmla="*/ 33 w 47"/>
                  <a:gd name="T5" fmla="*/ 33 h 68"/>
                  <a:gd name="T6" fmla="*/ 40 w 47"/>
                  <a:gd name="T7" fmla="*/ 35 h 68"/>
                  <a:gd name="T8" fmla="*/ 45 w 47"/>
                  <a:gd name="T9" fmla="*/ 43 h 68"/>
                  <a:gd name="T10" fmla="*/ 40 w 47"/>
                  <a:gd name="T11" fmla="*/ 47 h 68"/>
                  <a:gd name="T12" fmla="*/ 47 w 47"/>
                  <a:gd name="T13" fmla="*/ 43 h 68"/>
                  <a:gd name="T14" fmla="*/ 47 w 47"/>
                  <a:gd name="T15" fmla="*/ 50 h 68"/>
                  <a:gd name="T16" fmla="*/ 40 w 47"/>
                  <a:gd name="T17" fmla="*/ 57 h 68"/>
                  <a:gd name="T18" fmla="*/ 47 w 47"/>
                  <a:gd name="T19" fmla="*/ 54 h 68"/>
                  <a:gd name="T20" fmla="*/ 47 w 47"/>
                  <a:gd name="T21" fmla="*/ 68 h 68"/>
                  <a:gd name="T22" fmla="*/ 40 w 47"/>
                  <a:gd name="T23" fmla="*/ 66 h 68"/>
                  <a:gd name="T24" fmla="*/ 40 w 47"/>
                  <a:gd name="T25" fmla="*/ 61 h 68"/>
                  <a:gd name="T26" fmla="*/ 33 w 47"/>
                  <a:gd name="T27" fmla="*/ 57 h 68"/>
                  <a:gd name="T28" fmla="*/ 33 w 47"/>
                  <a:gd name="T29" fmla="*/ 57 h 68"/>
                  <a:gd name="T30" fmla="*/ 33 w 47"/>
                  <a:gd name="T31" fmla="*/ 50 h 68"/>
                  <a:gd name="T32" fmla="*/ 28 w 47"/>
                  <a:gd name="T33" fmla="*/ 43 h 68"/>
                  <a:gd name="T34" fmla="*/ 28 w 47"/>
                  <a:gd name="T35" fmla="*/ 50 h 68"/>
                  <a:gd name="T36" fmla="*/ 26 w 47"/>
                  <a:gd name="T37" fmla="*/ 47 h 68"/>
                  <a:gd name="T38" fmla="*/ 19 w 47"/>
                  <a:gd name="T39" fmla="*/ 47 h 68"/>
                  <a:gd name="T40" fmla="*/ 23 w 47"/>
                  <a:gd name="T41" fmla="*/ 43 h 68"/>
                  <a:gd name="T42" fmla="*/ 12 w 47"/>
                  <a:gd name="T43" fmla="*/ 43 h 68"/>
                  <a:gd name="T44" fmla="*/ 12 w 47"/>
                  <a:gd name="T45" fmla="*/ 40 h 68"/>
                  <a:gd name="T46" fmla="*/ 23 w 47"/>
                  <a:gd name="T47" fmla="*/ 40 h 68"/>
                  <a:gd name="T48" fmla="*/ 16 w 47"/>
                  <a:gd name="T49" fmla="*/ 33 h 68"/>
                  <a:gd name="T50" fmla="*/ 23 w 47"/>
                  <a:gd name="T51" fmla="*/ 31 h 68"/>
                  <a:gd name="T52" fmla="*/ 9 w 47"/>
                  <a:gd name="T53" fmla="*/ 31 h 68"/>
                  <a:gd name="T54" fmla="*/ 9 w 47"/>
                  <a:gd name="T55" fmla="*/ 24 h 68"/>
                  <a:gd name="T56" fmla="*/ 12 w 47"/>
                  <a:gd name="T57" fmla="*/ 24 h 68"/>
                  <a:gd name="T58" fmla="*/ 16 w 47"/>
                  <a:gd name="T59" fmla="*/ 17 h 68"/>
                  <a:gd name="T60" fmla="*/ 12 w 47"/>
                  <a:gd name="T61" fmla="*/ 17 h 68"/>
                  <a:gd name="T62" fmla="*/ 12 w 47"/>
                  <a:gd name="T63" fmla="*/ 7 h 68"/>
                  <a:gd name="T64" fmla="*/ 0 w 47"/>
                  <a:gd name="T65" fmla="*/ 2 h 68"/>
                  <a:gd name="T66" fmla="*/ 0 w 47"/>
                  <a:gd name="T67" fmla="*/ 0 h 68"/>
                  <a:gd name="T68" fmla="*/ 12 w 47"/>
                  <a:gd name="T69" fmla="*/ 0 h 68"/>
                  <a:gd name="T70" fmla="*/ 19 w 47"/>
                  <a:gd name="T71" fmla="*/ 7 h 68"/>
                  <a:gd name="T72" fmla="*/ 16 w 47"/>
                  <a:gd name="T73" fmla="*/ 7 h 68"/>
                  <a:gd name="T74" fmla="*/ 16 w 47"/>
                  <a:gd name="T75" fmla="*/ 9 h 68"/>
                  <a:gd name="T76" fmla="*/ 28 w 47"/>
                  <a:gd name="T77" fmla="*/ 17 h 68"/>
                  <a:gd name="T78" fmla="*/ 45 w 47"/>
                  <a:gd name="T79" fmla="*/ 35 h 68"/>
                  <a:gd name="T80" fmla="*/ 45 w 47"/>
                  <a:gd name="T81" fmla="*/ 35 h 68"/>
                  <a:gd name="T82" fmla="*/ 45 w 47"/>
                  <a:gd name="T83" fmla="*/ 35 h 68"/>
                  <a:gd name="T84" fmla="*/ 45 w 47"/>
                  <a:gd name="T85" fmla="*/ 35 h 68"/>
                  <a:gd name="T86" fmla="*/ 45 w 47"/>
                  <a:gd name="T87" fmla="*/ 3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 h="68">
                    <a:moveTo>
                      <a:pt x="45" y="35"/>
                    </a:moveTo>
                    <a:lnTo>
                      <a:pt x="33" y="31"/>
                    </a:lnTo>
                    <a:lnTo>
                      <a:pt x="33" y="33"/>
                    </a:lnTo>
                    <a:lnTo>
                      <a:pt x="40" y="35"/>
                    </a:lnTo>
                    <a:lnTo>
                      <a:pt x="45" y="43"/>
                    </a:lnTo>
                    <a:lnTo>
                      <a:pt x="40" y="47"/>
                    </a:lnTo>
                    <a:lnTo>
                      <a:pt x="47" y="43"/>
                    </a:lnTo>
                    <a:lnTo>
                      <a:pt x="47" y="50"/>
                    </a:lnTo>
                    <a:lnTo>
                      <a:pt x="40" y="57"/>
                    </a:lnTo>
                    <a:lnTo>
                      <a:pt x="47" y="54"/>
                    </a:lnTo>
                    <a:lnTo>
                      <a:pt x="47" y="68"/>
                    </a:lnTo>
                    <a:lnTo>
                      <a:pt x="40" y="66"/>
                    </a:lnTo>
                    <a:lnTo>
                      <a:pt x="40" y="61"/>
                    </a:lnTo>
                    <a:lnTo>
                      <a:pt x="33" y="57"/>
                    </a:lnTo>
                    <a:lnTo>
                      <a:pt x="33" y="57"/>
                    </a:lnTo>
                    <a:lnTo>
                      <a:pt x="33" y="50"/>
                    </a:lnTo>
                    <a:lnTo>
                      <a:pt x="28" y="43"/>
                    </a:lnTo>
                    <a:lnTo>
                      <a:pt x="28" y="50"/>
                    </a:lnTo>
                    <a:lnTo>
                      <a:pt x="26" y="47"/>
                    </a:lnTo>
                    <a:lnTo>
                      <a:pt x="19" y="47"/>
                    </a:lnTo>
                    <a:lnTo>
                      <a:pt x="23" y="43"/>
                    </a:lnTo>
                    <a:lnTo>
                      <a:pt x="12" y="43"/>
                    </a:lnTo>
                    <a:lnTo>
                      <a:pt x="12" y="40"/>
                    </a:lnTo>
                    <a:lnTo>
                      <a:pt x="23" y="40"/>
                    </a:lnTo>
                    <a:lnTo>
                      <a:pt x="16" y="33"/>
                    </a:lnTo>
                    <a:lnTo>
                      <a:pt x="23" y="31"/>
                    </a:lnTo>
                    <a:lnTo>
                      <a:pt x="9" y="31"/>
                    </a:lnTo>
                    <a:lnTo>
                      <a:pt x="9" y="24"/>
                    </a:lnTo>
                    <a:lnTo>
                      <a:pt x="12" y="24"/>
                    </a:lnTo>
                    <a:lnTo>
                      <a:pt x="16" y="17"/>
                    </a:lnTo>
                    <a:lnTo>
                      <a:pt x="12" y="17"/>
                    </a:lnTo>
                    <a:lnTo>
                      <a:pt x="12" y="7"/>
                    </a:lnTo>
                    <a:lnTo>
                      <a:pt x="0" y="2"/>
                    </a:lnTo>
                    <a:lnTo>
                      <a:pt x="0" y="0"/>
                    </a:lnTo>
                    <a:lnTo>
                      <a:pt x="12" y="0"/>
                    </a:lnTo>
                    <a:lnTo>
                      <a:pt x="19" y="7"/>
                    </a:lnTo>
                    <a:lnTo>
                      <a:pt x="16" y="7"/>
                    </a:lnTo>
                    <a:lnTo>
                      <a:pt x="16" y="9"/>
                    </a:lnTo>
                    <a:lnTo>
                      <a:pt x="28" y="17"/>
                    </a:lnTo>
                    <a:lnTo>
                      <a:pt x="45" y="35"/>
                    </a:lnTo>
                    <a:lnTo>
                      <a:pt x="45" y="35"/>
                    </a:lnTo>
                    <a:lnTo>
                      <a:pt x="45" y="35"/>
                    </a:lnTo>
                    <a:lnTo>
                      <a:pt x="45" y="35"/>
                    </a:lnTo>
                    <a:lnTo>
                      <a:pt x="45"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91" name="Freeform 54">
                <a:extLst>
                  <a:ext uri="{FF2B5EF4-FFF2-40B4-BE49-F238E27FC236}">
                    <a16:creationId xmlns:a16="http://schemas.microsoft.com/office/drawing/2014/main" id="{08CA4027-855B-4735-BB6F-B61A1434C3CA}"/>
                  </a:ext>
                </a:extLst>
              </p:cNvPr>
              <p:cNvSpPr>
                <a:spLocks/>
              </p:cNvSpPr>
              <p:nvPr/>
            </p:nvSpPr>
            <p:spPr bwMode="gray">
              <a:xfrm>
                <a:off x="14277975" y="993775"/>
                <a:ext cx="22225" cy="15875"/>
              </a:xfrm>
              <a:custGeom>
                <a:avLst/>
                <a:gdLst>
                  <a:gd name="T0" fmla="*/ 14 w 14"/>
                  <a:gd name="T1" fmla="*/ 0 h 10"/>
                  <a:gd name="T2" fmla="*/ 14 w 14"/>
                  <a:gd name="T3" fmla="*/ 5 h 10"/>
                  <a:gd name="T4" fmla="*/ 0 w 14"/>
                  <a:gd name="T5" fmla="*/ 10 h 10"/>
                  <a:gd name="T6" fmla="*/ 7 w 14"/>
                  <a:gd name="T7" fmla="*/ 0 h 10"/>
                  <a:gd name="T8" fmla="*/ 14 w 14"/>
                  <a:gd name="T9" fmla="*/ 0 h 10"/>
                  <a:gd name="T10" fmla="*/ 14 w 14"/>
                  <a:gd name="T11" fmla="*/ 0 h 10"/>
                  <a:gd name="T12" fmla="*/ 14 w 14"/>
                  <a:gd name="T13" fmla="*/ 0 h 10"/>
                  <a:gd name="T14" fmla="*/ 14 w 14"/>
                  <a:gd name="T15" fmla="*/ 0 h 10"/>
                  <a:gd name="T16" fmla="*/ 14 w 14"/>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0">
                    <a:moveTo>
                      <a:pt x="14" y="0"/>
                    </a:moveTo>
                    <a:lnTo>
                      <a:pt x="14" y="5"/>
                    </a:lnTo>
                    <a:lnTo>
                      <a:pt x="0" y="10"/>
                    </a:lnTo>
                    <a:lnTo>
                      <a:pt x="7" y="0"/>
                    </a:lnTo>
                    <a:lnTo>
                      <a:pt x="14" y="0"/>
                    </a:lnTo>
                    <a:lnTo>
                      <a:pt x="14" y="0"/>
                    </a:lnTo>
                    <a:lnTo>
                      <a:pt x="14" y="0"/>
                    </a:lnTo>
                    <a:lnTo>
                      <a:pt x="14" y="0"/>
                    </a:ln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92" name="Freeform 55">
                <a:extLst>
                  <a:ext uri="{FF2B5EF4-FFF2-40B4-BE49-F238E27FC236}">
                    <a16:creationId xmlns:a16="http://schemas.microsoft.com/office/drawing/2014/main" id="{05D185FC-CB3A-4414-A08A-7B381B5BC5E3}"/>
                  </a:ext>
                </a:extLst>
              </p:cNvPr>
              <p:cNvSpPr>
                <a:spLocks/>
              </p:cNvSpPr>
              <p:nvPr/>
            </p:nvSpPr>
            <p:spPr bwMode="gray">
              <a:xfrm>
                <a:off x="14371638" y="1001713"/>
                <a:ext cx="41275" cy="55563"/>
              </a:xfrm>
              <a:custGeom>
                <a:avLst/>
                <a:gdLst>
                  <a:gd name="T0" fmla="*/ 12 w 26"/>
                  <a:gd name="T1" fmla="*/ 31 h 35"/>
                  <a:gd name="T2" fmla="*/ 10 w 26"/>
                  <a:gd name="T3" fmla="*/ 31 h 35"/>
                  <a:gd name="T4" fmla="*/ 17 w 26"/>
                  <a:gd name="T5" fmla="*/ 23 h 35"/>
                  <a:gd name="T6" fmla="*/ 12 w 26"/>
                  <a:gd name="T7" fmla="*/ 19 h 35"/>
                  <a:gd name="T8" fmla="*/ 12 w 26"/>
                  <a:gd name="T9" fmla="*/ 23 h 35"/>
                  <a:gd name="T10" fmla="*/ 10 w 26"/>
                  <a:gd name="T11" fmla="*/ 31 h 35"/>
                  <a:gd name="T12" fmla="*/ 10 w 26"/>
                  <a:gd name="T13" fmla="*/ 21 h 35"/>
                  <a:gd name="T14" fmla="*/ 7 w 26"/>
                  <a:gd name="T15" fmla="*/ 31 h 35"/>
                  <a:gd name="T16" fmla="*/ 0 w 26"/>
                  <a:gd name="T17" fmla="*/ 23 h 35"/>
                  <a:gd name="T18" fmla="*/ 3 w 26"/>
                  <a:gd name="T19" fmla="*/ 21 h 35"/>
                  <a:gd name="T20" fmla="*/ 3 w 26"/>
                  <a:gd name="T21" fmla="*/ 12 h 35"/>
                  <a:gd name="T22" fmla="*/ 3 w 26"/>
                  <a:gd name="T23" fmla="*/ 7 h 35"/>
                  <a:gd name="T24" fmla="*/ 17 w 26"/>
                  <a:gd name="T25" fmla="*/ 0 h 35"/>
                  <a:gd name="T26" fmla="*/ 26 w 26"/>
                  <a:gd name="T27" fmla="*/ 19 h 35"/>
                  <a:gd name="T28" fmla="*/ 21 w 26"/>
                  <a:gd name="T29" fmla="*/ 28 h 35"/>
                  <a:gd name="T30" fmla="*/ 19 w 26"/>
                  <a:gd name="T31" fmla="*/ 35 h 35"/>
                  <a:gd name="T32" fmla="*/ 17 w 26"/>
                  <a:gd name="T33" fmla="*/ 35 h 35"/>
                  <a:gd name="T34" fmla="*/ 17 w 26"/>
                  <a:gd name="T35" fmla="*/ 28 h 35"/>
                  <a:gd name="T36" fmla="*/ 12 w 26"/>
                  <a:gd name="T37" fmla="*/ 31 h 35"/>
                  <a:gd name="T38" fmla="*/ 12 w 26"/>
                  <a:gd name="T39" fmla="*/ 31 h 35"/>
                  <a:gd name="T40" fmla="*/ 12 w 26"/>
                  <a:gd name="T41" fmla="*/ 31 h 35"/>
                  <a:gd name="T42" fmla="*/ 12 w 26"/>
                  <a:gd name="T43" fmla="*/ 31 h 35"/>
                  <a:gd name="T44" fmla="*/ 12 w 26"/>
                  <a:gd name="T45"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35">
                    <a:moveTo>
                      <a:pt x="12" y="31"/>
                    </a:moveTo>
                    <a:lnTo>
                      <a:pt x="10" y="31"/>
                    </a:lnTo>
                    <a:lnTo>
                      <a:pt x="17" y="23"/>
                    </a:lnTo>
                    <a:lnTo>
                      <a:pt x="12" y="19"/>
                    </a:lnTo>
                    <a:lnTo>
                      <a:pt x="12" y="23"/>
                    </a:lnTo>
                    <a:lnTo>
                      <a:pt x="10" y="31"/>
                    </a:lnTo>
                    <a:lnTo>
                      <a:pt x="10" y="21"/>
                    </a:lnTo>
                    <a:lnTo>
                      <a:pt x="7" y="31"/>
                    </a:lnTo>
                    <a:lnTo>
                      <a:pt x="0" y="23"/>
                    </a:lnTo>
                    <a:lnTo>
                      <a:pt x="3" y="21"/>
                    </a:lnTo>
                    <a:lnTo>
                      <a:pt x="3" y="12"/>
                    </a:lnTo>
                    <a:lnTo>
                      <a:pt x="3" y="7"/>
                    </a:lnTo>
                    <a:lnTo>
                      <a:pt x="17" y="0"/>
                    </a:lnTo>
                    <a:lnTo>
                      <a:pt x="26" y="19"/>
                    </a:lnTo>
                    <a:lnTo>
                      <a:pt x="21" y="28"/>
                    </a:lnTo>
                    <a:lnTo>
                      <a:pt x="19" y="35"/>
                    </a:lnTo>
                    <a:lnTo>
                      <a:pt x="17" y="35"/>
                    </a:lnTo>
                    <a:lnTo>
                      <a:pt x="17" y="28"/>
                    </a:lnTo>
                    <a:lnTo>
                      <a:pt x="12" y="31"/>
                    </a:lnTo>
                    <a:lnTo>
                      <a:pt x="12" y="31"/>
                    </a:lnTo>
                    <a:lnTo>
                      <a:pt x="12" y="31"/>
                    </a:lnTo>
                    <a:lnTo>
                      <a:pt x="12" y="31"/>
                    </a:lnTo>
                    <a:lnTo>
                      <a:pt x="12"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93" name="Freeform 56">
                <a:extLst>
                  <a:ext uri="{FF2B5EF4-FFF2-40B4-BE49-F238E27FC236}">
                    <a16:creationId xmlns:a16="http://schemas.microsoft.com/office/drawing/2014/main" id="{D94271A6-F0A1-46A5-80B9-2CDBA17566E9}"/>
                  </a:ext>
                </a:extLst>
              </p:cNvPr>
              <p:cNvSpPr>
                <a:spLocks/>
              </p:cNvSpPr>
              <p:nvPr/>
            </p:nvSpPr>
            <p:spPr bwMode="gray">
              <a:xfrm>
                <a:off x="14266863" y="1009650"/>
                <a:ext cx="7938" cy="3175"/>
              </a:xfrm>
              <a:custGeom>
                <a:avLst/>
                <a:gdLst>
                  <a:gd name="T0" fmla="*/ 5 w 5"/>
                  <a:gd name="T1" fmla="*/ 0 h 2"/>
                  <a:gd name="T2" fmla="*/ 5 w 5"/>
                  <a:gd name="T3" fmla="*/ 2 h 2"/>
                  <a:gd name="T4" fmla="*/ 0 w 5"/>
                  <a:gd name="T5" fmla="*/ 2 h 2"/>
                  <a:gd name="T6" fmla="*/ 5 w 5"/>
                  <a:gd name="T7" fmla="*/ 0 h 2"/>
                  <a:gd name="T8" fmla="*/ 5 w 5"/>
                  <a:gd name="T9" fmla="*/ 0 h 2"/>
                  <a:gd name="T10" fmla="*/ 5 w 5"/>
                  <a:gd name="T11" fmla="*/ 0 h 2"/>
                  <a:gd name="T12" fmla="*/ 5 w 5"/>
                  <a:gd name="T13" fmla="*/ 0 h 2"/>
                  <a:gd name="T14" fmla="*/ 5 w 5"/>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5" y="0"/>
                    </a:moveTo>
                    <a:lnTo>
                      <a:pt x="5" y="2"/>
                    </a:lnTo>
                    <a:lnTo>
                      <a:pt x="0" y="2"/>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94" name="Freeform 57">
                <a:extLst>
                  <a:ext uri="{FF2B5EF4-FFF2-40B4-BE49-F238E27FC236}">
                    <a16:creationId xmlns:a16="http://schemas.microsoft.com/office/drawing/2014/main" id="{47C209DD-37F4-4142-A223-95DEF639F2A2}"/>
                  </a:ext>
                </a:extLst>
              </p:cNvPr>
              <p:cNvSpPr>
                <a:spLocks/>
              </p:cNvSpPr>
              <p:nvPr/>
            </p:nvSpPr>
            <p:spPr bwMode="gray">
              <a:xfrm>
                <a:off x="14255750" y="1009650"/>
                <a:ext cx="11113" cy="3175"/>
              </a:xfrm>
              <a:custGeom>
                <a:avLst/>
                <a:gdLst>
                  <a:gd name="T0" fmla="*/ 7 w 7"/>
                  <a:gd name="T1" fmla="*/ 0 h 2"/>
                  <a:gd name="T2" fmla="*/ 0 w 7"/>
                  <a:gd name="T3" fmla="*/ 2 h 2"/>
                  <a:gd name="T4" fmla="*/ 0 w 7"/>
                  <a:gd name="T5" fmla="*/ 0 h 2"/>
                  <a:gd name="T6" fmla="*/ 7 w 7"/>
                  <a:gd name="T7" fmla="*/ 0 h 2"/>
                  <a:gd name="T8" fmla="*/ 7 w 7"/>
                  <a:gd name="T9" fmla="*/ 0 h 2"/>
                  <a:gd name="T10" fmla="*/ 7 w 7"/>
                  <a:gd name="T11" fmla="*/ 0 h 2"/>
                  <a:gd name="T12" fmla="*/ 7 w 7"/>
                  <a:gd name="T13" fmla="*/ 0 h 2"/>
                  <a:gd name="T14" fmla="*/ 7 w 7"/>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2">
                    <a:moveTo>
                      <a:pt x="7" y="0"/>
                    </a:moveTo>
                    <a:lnTo>
                      <a:pt x="0" y="2"/>
                    </a:lnTo>
                    <a:lnTo>
                      <a:pt x="0" y="0"/>
                    </a:lnTo>
                    <a:lnTo>
                      <a:pt x="7" y="0"/>
                    </a:lnTo>
                    <a:lnTo>
                      <a:pt x="7" y="0"/>
                    </a:lnTo>
                    <a:lnTo>
                      <a:pt x="7"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95" name="Freeform 58">
                <a:extLst>
                  <a:ext uri="{FF2B5EF4-FFF2-40B4-BE49-F238E27FC236}">
                    <a16:creationId xmlns:a16="http://schemas.microsoft.com/office/drawing/2014/main" id="{CC8BD546-2FD9-40D7-942E-93F53D4B47EE}"/>
                  </a:ext>
                </a:extLst>
              </p:cNvPr>
              <p:cNvSpPr>
                <a:spLocks/>
              </p:cNvSpPr>
              <p:nvPr/>
            </p:nvSpPr>
            <p:spPr bwMode="gray">
              <a:xfrm>
                <a:off x="13263563" y="1009650"/>
                <a:ext cx="11113" cy="11113"/>
              </a:xfrm>
              <a:custGeom>
                <a:avLst/>
                <a:gdLst>
                  <a:gd name="T0" fmla="*/ 7 w 7"/>
                  <a:gd name="T1" fmla="*/ 0 h 7"/>
                  <a:gd name="T2" fmla="*/ 7 w 7"/>
                  <a:gd name="T3" fmla="*/ 7 h 7"/>
                  <a:gd name="T4" fmla="*/ 0 w 7"/>
                  <a:gd name="T5" fmla="*/ 7 h 7"/>
                  <a:gd name="T6" fmla="*/ 7 w 7"/>
                  <a:gd name="T7" fmla="*/ 0 h 7"/>
                  <a:gd name="T8" fmla="*/ 7 w 7"/>
                  <a:gd name="T9" fmla="*/ 0 h 7"/>
                  <a:gd name="T10" fmla="*/ 7 w 7"/>
                  <a:gd name="T11" fmla="*/ 0 h 7"/>
                  <a:gd name="T12" fmla="*/ 7 w 7"/>
                  <a:gd name="T13" fmla="*/ 0 h 7"/>
                  <a:gd name="T14" fmla="*/ 7 w 7"/>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7" y="0"/>
                    </a:moveTo>
                    <a:lnTo>
                      <a:pt x="7" y="7"/>
                    </a:lnTo>
                    <a:lnTo>
                      <a:pt x="0" y="7"/>
                    </a:lnTo>
                    <a:lnTo>
                      <a:pt x="7" y="0"/>
                    </a:lnTo>
                    <a:lnTo>
                      <a:pt x="7" y="0"/>
                    </a:lnTo>
                    <a:lnTo>
                      <a:pt x="7"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96" name="Freeform 59">
                <a:extLst>
                  <a:ext uri="{FF2B5EF4-FFF2-40B4-BE49-F238E27FC236}">
                    <a16:creationId xmlns:a16="http://schemas.microsoft.com/office/drawing/2014/main" id="{7A361FB4-1E49-4621-945A-D6A1191AD69A}"/>
                  </a:ext>
                </a:extLst>
              </p:cNvPr>
              <p:cNvSpPr>
                <a:spLocks/>
              </p:cNvSpPr>
              <p:nvPr/>
            </p:nvSpPr>
            <p:spPr bwMode="gray">
              <a:xfrm>
                <a:off x="14300200" y="1012825"/>
                <a:ext cx="4763" cy="7938"/>
              </a:xfrm>
              <a:custGeom>
                <a:avLst/>
                <a:gdLst>
                  <a:gd name="T0" fmla="*/ 3 w 3"/>
                  <a:gd name="T1" fmla="*/ 0 h 5"/>
                  <a:gd name="T2" fmla="*/ 3 w 3"/>
                  <a:gd name="T3" fmla="*/ 5 h 5"/>
                  <a:gd name="T4" fmla="*/ 0 w 3"/>
                  <a:gd name="T5" fmla="*/ 0 h 5"/>
                  <a:gd name="T6" fmla="*/ 3 w 3"/>
                  <a:gd name="T7" fmla="*/ 0 h 5"/>
                  <a:gd name="T8" fmla="*/ 3 w 3"/>
                  <a:gd name="T9" fmla="*/ 0 h 5"/>
                  <a:gd name="T10" fmla="*/ 3 w 3"/>
                  <a:gd name="T11" fmla="*/ 0 h 5"/>
                  <a:gd name="T12" fmla="*/ 3 w 3"/>
                  <a:gd name="T13" fmla="*/ 0 h 5"/>
                  <a:gd name="T14" fmla="*/ 3 w 3"/>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0"/>
                    </a:moveTo>
                    <a:lnTo>
                      <a:pt x="3" y="5"/>
                    </a:lnTo>
                    <a:lnTo>
                      <a:pt x="0" y="0"/>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97" name="Freeform 60">
                <a:extLst>
                  <a:ext uri="{FF2B5EF4-FFF2-40B4-BE49-F238E27FC236}">
                    <a16:creationId xmlns:a16="http://schemas.microsoft.com/office/drawing/2014/main" id="{9F0D1141-F93C-4C17-B76C-2FAB87D8E84D}"/>
                  </a:ext>
                </a:extLst>
              </p:cNvPr>
              <p:cNvSpPr>
                <a:spLocks/>
              </p:cNvSpPr>
              <p:nvPr/>
            </p:nvSpPr>
            <p:spPr bwMode="gray">
              <a:xfrm>
                <a:off x="13117513" y="1009650"/>
                <a:ext cx="11113" cy="3175"/>
              </a:xfrm>
              <a:custGeom>
                <a:avLst/>
                <a:gdLst>
                  <a:gd name="T0" fmla="*/ 2 w 7"/>
                  <a:gd name="T1" fmla="*/ 0 h 2"/>
                  <a:gd name="T2" fmla="*/ 7 w 7"/>
                  <a:gd name="T3" fmla="*/ 2 h 2"/>
                  <a:gd name="T4" fmla="*/ 0 w 7"/>
                  <a:gd name="T5" fmla="*/ 2 h 2"/>
                  <a:gd name="T6" fmla="*/ 2 w 7"/>
                  <a:gd name="T7" fmla="*/ 0 h 2"/>
                  <a:gd name="T8" fmla="*/ 2 w 7"/>
                  <a:gd name="T9" fmla="*/ 0 h 2"/>
                  <a:gd name="T10" fmla="*/ 2 w 7"/>
                  <a:gd name="T11" fmla="*/ 0 h 2"/>
                  <a:gd name="T12" fmla="*/ 2 w 7"/>
                  <a:gd name="T13" fmla="*/ 0 h 2"/>
                  <a:gd name="T14" fmla="*/ 2 w 7"/>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2">
                    <a:moveTo>
                      <a:pt x="2" y="0"/>
                    </a:moveTo>
                    <a:lnTo>
                      <a:pt x="7" y="2"/>
                    </a:lnTo>
                    <a:lnTo>
                      <a:pt x="0" y="2"/>
                    </a:lnTo>
                    <a:lnTo>
                      <a:pt x="2" y="0"/>
                    </a:lnTo>
                    <a:lnTo>
                      <a:pt x="2" y="0"/>
                    </a:lnTo>
                    <a:lnTo>
                      <a:pt x="2"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98" name="Freeform 61">
                <a:extLst>
                  <a:ext uri="{FF2B5EF4-FFF2-40B4-BE49-F238E27FC236}">
                    <a16:creationId xmlns:a16="http://schemas.microsoft.com/office/drawing/2014/main" id="{A452050B-772C-4676-9CF7-BAA1C70665E8}"/>
                  </a:ext>
                </a:extLst>
              </p:cNvPr>
              <p:cNvSpPr>
                <a:spLocks/>
              </p:cNvSpPr>
              <p:nvPr/>
            </p:nvSpPr>
            <p:spPr bwMode="gray">
              <a:xfrm>
                <a:off x="14285913" y="1020763"/>
                <a:ext cx="14288" cy="3175"/>
              </a:xfrm>
              <a:custGeom>
                <a:avLst/>
                <a:gdLst>
                  <a:gd name="T0" fmla="*/ 9 w 9"/>
                  <a:gd name="T1" fmla="*/ 0 h 2"/>
                  <a:gd name="T2" fmla="*/ 2 w 9"/>
                  <a:gd name="T3" fmla="*/ 2 h 2"/>
                  <a:gd name="T4" fmla="*/ 0 w 9"/>
                  <a:gd name="T5" fmla="*/ 0 h 2"/>
                  <a:gd name="T6" fmla="*/ 9 w 9"/>
                  <a:gd name="T7" fmla="*/ 0 h 2"/>
                  <a:gd name="T8" fmla="*/ 9 w 9"/>
                  <a:gd name="T9" fmla="*/ 0 h 2"/>
                  <a:gd name="T10" fmla="*/ 9 w 9"/>
                  <a:gd name="T11" fmla="*/ 0 h 2"/>
                  <a:gd name="T12" fmla="*/ 9 w 9"/>
                  <a:gd name="T13" fmla="*/ 0 h 2"/>
                  <a:gd name="T14" fmla="*/ 9 w 9"/>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2">
                    <a:moveTo>
                      <a:pt x="9" y="0"/>
                    </a:moveTo>
                    <a:lnTo>
                      <a:pt x="2" y="2"/>
                    </a:lnTo>
                    <a:lnTo>
                      <a:pt x="0" y="0"/>
                    </a:lnTo>
                    <a:lnTo>
                      <a:pt x="9" y="0"/>
                    </a:lnTo>
                    <a:lnTo>
                      <a:pt x="9" y="0"/>
                    </a:lnTo>
                    <a:lnTo>
                      <a:pt x="9" y="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99" name="Freeform 62">
                <a:extLst>
                  <a:ext uri="{FF2B5EF4-FFF2-40B4-BE49-F238E27FC236}">
                    <a16:creationId xmlns:a16="http://schemas.microsoft.com/office/drawing/2014/main" id="{27A14971-2E18-4158-A34F-6630EC53BA78}"/>
                  </a:ext>
                </a:extLst>
              </p:cNvPr>
              <p:cNvSpPr>
                <a:spLocks/>
              </p:cNvSpPr>
              <p:nvPr/>
            </p:nvSpPr>
            <p:spPr bwMode="gray">
              <a:xfrm>
                <a:off x="14293850" y="1035050"/>
                <a:ext cx="6350" cy="3175"/>
              </a:xfrm>
              <a:custGeom>
                <a:avLst/>
                <a:gdLst>
                  <a:gd name="T0" fmla="*/ 4 w 4"/>
                  <a:gd name="T1" fmla="*/ 0 h 2"/>
                  <a:gd name="T2" fmla="*/ 4 w 4"/>
                  <a:gd name="T3" fmla="*/ 2 h 2"/>
                  <a:gd name="T4" fmla="*/ 0 w 4"/>
                  <a:gd name="T5" fmla="*/ 0 h 2"/>
                  <a:gd name="T6" fmla="*/ 4 w 4"/>
                  <a:gd name="T7" fmla="*/ 0 h 2"/>
                  <a:gd name="T8" fmla="*/ 4 w 4"/>
                  <a:gd name="T9" fmla="*/ 0 h 2"/>
                  <a:gd name="T10" fmla="*/ 4 w 4"/>
                  <a:gd name="T11" fmla="*/ 0 h 2"/>
                  <a:gd name="T12" fmla="*/ 4 w 4"/>
                  <a:gd name="T13" fmla="*/ 0 h 2"/>
                  <a:gd name="T14" fmla="*/ 4 w 4"/>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4" y="0"/>
                    </a:moveTo>
                    <a:lnTo>
                      <a:pt x="4" y="2"/>
                    </a:lnTo>
                    <a:lnTo>
                      <a:pt x="0" y="0"/>
                    </a:lnTo>
                    <a:lnTo>
                      <a:pt x="4" y="0"/>
                    </a:lnTo>
                    <a:lnTo>
                      <a:pt x="4" y="0"/>
                    </a:lnTo>
                    <a:lnTo>
                      <a:pt x="4" y="0"/>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00" name="Freeform 63">
                <a:extLst>
                  <a:ext uri="{FF2B5EF4-FFF2-40B4-BE49-F238E27FC236}">
                    <a16:creationId xmlns:a16="http://schemas.microsoft.com/office/drawing/2014/main" id="{C16CF02C-4AA6-48CC-9658-57A6F0A5CB81}"/>
                  </a:ext>
                </a:extLst>
              </p:cNvPr>
              <p:cNvSpPr>
                <a:spLocks/>
              </p:cNvSpPr>
              <p:nvPr/>
            </p:nvSpPr>
            <p:spPr bwMode="gray">
              <a:xfrm>
                <a:off x="14277975" y="1035050"/>
                <a:ext cx="11113" cy="3175"/>
              </a:xfrm>
              <a:custGeom>
                <a:avLst/>
                <a:gdLst>
                  <a:gd name="T0" fmla="*/ 5 w 7"/>
                  <a:gd name="T1" fmla="*/ 2 h 2"/>
                  <a:gd name="T2" fmla="*/ 0 w 7"/>
                  <a:gd name="T3" fmla="*/ 2 h 2"/>
                  <a:gd name="T4" fmla="*/ 0 w 7"/>
                  <a:gd name="T5" fmla="*/ 0 h 2"/>
                  <a:gd name="T6" fmla="*/ 7 w 7"/>
                  <a:gd name="T7" fmla="*/ 0 h 2"/>
                  <a:gd name="T8" fmla="*/ 5 w 7"/>
                  <a:gd name="T9" fmla="*/ 2 h 2"/>
                  <a:gd name="T10" fmla="*/ 5 w 7"/>
                  <a:gd name="T11" fmla="*/ 2 h 2"/>
                  <a:gd name="T12" fmla="*/ 5 w 7"/>
                  <a:gd name="T13" fmla="*/ 2 h 2"/>
                  <a:gd name="T14" fmla="*/ 5 w 7"/>
                  <a:gd name="T15" fmla="*/ 2 h 2"/>
                  <a:gd name="T16" fmla="*/ 5 w 7"/>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2">
                    <a:moveTo>
                      <a:pt x="5" y="2"/>
                    </a:moveTo>
                    <a:lnTo>
                      <a:pt x="0" y="2"/>
                    </a:lnTo>
                    <a:lnTo>
                      <a:pt x="0" y="0"/>
                    </a:lnTo>
                    <a:lnTo>
                      <a:pt x="7" y="0"/>
                    </a:lnTo>
                    <a:lnTo>
                      <a:pt x="5" y="2"/>
                    </a:lnTo>
                    <a:lnTo>
                      <a:pt x="5" y="2"/>
                    </a:lnTo>
                    <a:lnTo>
                      <a:pt x="5" y="2"/>
                    </a:lnTo>
                    <a:lnTo>
                      <a:pt x="5" y="2"/>
                    </a:lnTo>
                    <a:lnTo>
                      <a:pt x="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01" name="Freeform 64">
                <a:extLst>
                  <a:ext uri="{FF2B5EF4-FFF2-40B4-BE49-F238E27FC236}">
                    <a16:creationId xmlns:a16="http://schemas.microsoft.com/office/drawing/2014/main" id="{51FDA1B8-64D9-4DEB-AEB6-0D3D0972B4FF}"/>
                  </a:ext>
                </a:extLst>
              </p:cNvPr>
              <p:cNvSpPr>
                <a:spLocks/>
              </p:cNvSpPr>
              <p:nvPr/>
            </p:nvSpPr>
            <p:spPr bwMode="gray">
              <a:xfrm>
                <a:off x="14285913" y="1035050"/>
                <a:ext cx="7938" cy="3175"/>
              </a:xfrm>
              <a:custGeom>
                <a:avLst/>
                <a:gdLst>
                  <a:gd name="T0" fmla="*/ 5 w 5"/>
                  <a:gd name="T1" fmla="*/ 0 h 2"/>
                  <a:gd name="T2" fmla="*/ 5 w 5"/>
                  <a:gd name="T3" fmla="*/ 2 h 2"/>
                  <a:gd name="T4" fmla="*/ 0 w 5"/>
                  <a:gd name="T5" fmla="*/ 2 h 2"/>
                  <a:gd name="T6" fmla="*/ 5 w 5"/>
                  <a:gd name="T7" fmla="*/ 0 h 2"/>
                  <a:gd name="T8" fmla="*/ 5 w 5"/>
                  <a:gd name="T9" fmla="*/ 0 h 2"/>
                  <a:gd name="T10" fmla="*/ 5 w 5"/>
                  <a:gd name="T11" fmla="*/ 0 h 2"/>
                  <a:gd name="T12" fmla="*/ 5 w 5"/>
                  <a:gd name="T13" fmla="*/ 0 h 2"/>
                  <a:gd name="T14" fmla="*/ 5 w 5"/>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5" y="0"/>
                    </a:moveTo>
                    <a:lnTo>
                      <a:pt x="5" y="2"/>
                    </a:lnTo>
                    <a:lnTo>
                      <a:pt x="0" y="2"/>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02" name="Freeform 65">
                <a:extLst>
                  <a:ext uri="{FF2B5EF4-FFF2-40B4-BE49-F238E27FC236}">
                    <a16:creationId xmlns:a16="http://schemas.microsoft.com/office/drawing/2014/main" id="{5FD7BFCB-C007-4482-89D9-F62FA7AF1822}"/>
                  </a:ext>
                </a:extLst>
              </p:cNvPr>
              <p:cNvSpPr>
                <a:spLocks/>
              </p:cNvSpPr>
              <p:nvPr/>
            </p:nvSpPr>
            <p:spPr bwMode="gray">
              <a:xfrm>
                <a:off x="14371638" y="1038225"/>
                <a:ext cx="4763" cy="23813"/>
              </a:xfrm>
              <a:custGeom>
                <a:avLst/>
                <a:gdLst>
                  <a:gd name="T0" fmla="*/ 0 w 3"/>
                  <a:gd name="T1" fmla="*/ 0 h 15"/>
                  <a:gd name="T2" fmla="*/ 3 w 3"/>
                  <a:gd name="T3" fmla="*/ 8 h 15"/>
                  <a:gd name="T4" fmla="*/ 0 w 3"/>
                  <a:gd name="T5" fmla="*/ 15 h 15"/>
                  <a:gd name="T6" fmla="*/ 0 w 3"/>
                  <a:gd name="T7" fmla="*/ 12 h 15"/>
                  <a:gd name="T8" fmla="*/ 0 w 3"/>
                  <a:gd name="T9" fmla="*/ 0 h 15"/>
                  <a:gd name="T10" fmla="*/ 0 w 3"/>
                  <a:gd name="T11" fmla="*/ 0 h 15"/>
                  <a:gd name="T12" fmla="*/ 0 w 3"/>
                  <a:gd name="T13" fmla="*/ 0 h 15"/>
                  <a:gd name="T14" fmla="*/ 0 w 3"/>
                  <a:gd name="T15" fmla="*/ 0 h 15"/>
                  <a:gd name="T16" fmla="*/ 0 w 3"/>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5">
                    <a:moveTo>
                      <a:pt x="0" y="0"/>
                    </a:moveTo>
                    <a:lnTo>
                      <a:pt x="3" y="8"/>
                    </a:lnTo>
                    <a:lnTo>
                      <a:pt x="0" y="15"/>
                    </a:lnTo>
                    <a:lnTo>
                      <a:pt x="0" y="12"/>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03" name="Freeform 66">
                <a:extLst>
                  <a:ext uri="{FF2B5EF4-FFF2-40B4-BE49-F238E27FC236}">
                    <a16:creationId xmlns:a16="http://schemas.microsoft.com/office/drawing/2014/main" id="{8362014C-9712-4191-96F3-E6FA73B76E1C}"/>
                  </a:ext>
                </a:extLst>
              </p:cNvPr>
              <p:cNvSpPr>
                <a:spLocks/>
              </p:cNvSpPr>
              <p:nvPr/>
            </p:nvSpPr>
            <p:spPr bwMode="gray">
              <a:xfrm>
                <a:off x="14285913" y="1038225"/>
                <a:ext cx="7938" cy="19050"/>
              </a:xfrm>
              <a:custGeom>
                <a:avLst/>
                <a:gdLst>
                  <a:gd name="T0" fmla="*/ 5 w 5"/>
                  <a:gd name="T1" fmla="*/ 5 h 12"/>
                  <a:gd name="T2" fmla="*/ 0 w 5"/>
                  <a:gd name="T3" fmla="*/ 12 h 12"/>
                  <a:gd name="T4" fmla="*/ 0 w 5"/>
                  <a:gd name="T5" fmla="*/ 8 h 12"/>
                  <a:gd name="T6" fmla="*/ 2 w 5"/>
                  <a:gd name="T7" fmla="*/ 0 h 12"/>
                  <a:gd name="T8" fmla="*/ 5 w 5"/>
                  <a:gd name="T9" fmla="*/ 5 h 12"/>
                  <a:gd name="T10" fmla="*/ 5 w 5"/>
                  <a:gd name="T11" fmla="*/ 5 h 12"/>
                  <a:gd name="T12" fmla="*/ 5 w 5"/>
                  <a:gd name="T13" fmla="*/ 5 h 12"/>
                  <a:gd name="T14" fmla="*/ 5 w 5"/>
                  <a:gd name="T15" fmla="*/ 5 h 12"/>
                  <a:gd name="T16" fmla="*/ 5 w 5"/>
                  <a:gd name="T17"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2">
                    <a:moveTo>
                      <a:pt x="5" y="5"/>
                    </a:moveTo>
                    <a:lnTo>
                      <a:pt x="0" y="12"/>
                    </a:lnTo>
                    <a:lnTo>
                      <a:pt x="0" y="8"/>
                    </a:lnTo>
                    <a:lnTo>
                      <a:pt x="2" y="0"/>
                    </a:lnTo>
                    <a:lnTo>
                      <a:pt x="5" y="5"/>
                    </a:lnTo>
                    <a:lnTo>
                      <a:pt x="5" y="5"/>
                    </a:lnTo>
                    <a:lnTo>
                      <a:pt x="5" y="5"/>
                    </a:lnTo>
                    <a:lnTo>
                      <a:pt x="5"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04" name="Freeform 67">
                <a:extLst>
                  <a:ext uri="{FF2B5EF4-FFF2-40B4-BE49-F238E27FC236}">
                    <a16:creationId xmlns:a16="http://schemas.microsoft.com/office/drawing/2014/main" id="{84C59C7C-8F88-46D8-82E2-C2E3912903EA}"/>
                  </a:ext>
                </a:extLst>
              </p:cNvPr>
              <p:cNvSpPr>
                <a:spLocks/>
              </p:cNvSpPr>
              <p:nvPr/>
            </p:nvSpPr>
            <p:spPr bwMode="gray">
              <a:xfrm>
                <a:off x="13030200" y="1046163"/>
                <a:ext cx="15875" cy="15875"/>
              </a:xfrm>
              <a:custGeom>
                <a:avLst/>
                <a:gdLst>
                  <a:gd name="T0" fmla="*/ 3 w 10"/>
                  <a:gd name="T1" fmla="*/ 0 h 10"/>
                  <a:gd name="T2" fmla="*/ 5 w 10"/>
                  <a:gd name="T3" fmla="*/ 0 h 10"/>
                  <a:gd name="T4" fmla="*/ 5 w 10"/>
                  <a:gd name="T5" fmla="*/ 7 h 10"/>
                  <a:gd name="T6" fmla="*/ 10 w 10"/>
                  <a:gd name="T7" fmla="*/ 7 h 10"/>
                  <a:gd name="T8" fmla="*/ 0 w 10"/>
                  <a:gd name="T9" fmla="*/ 10 h 10"/>
                  <a:gd name="T10" fmla="*/ 0 w 10"/>
                  <a:gd name="T11" fmla="*/ 3 h 10"/>
                  <a:gd name="T12" fmla="*/ 3 w 10"/>
                  <a:gd name="T13" fmla="*/ 0 h 10"/>
                  <a:gd name="T14" fmla="*/ 3 w 10"/>
                  <a:gd name="T15" fmla="*/ 0 h 10"/>
                  <a:gd name="T16" fmla="*/ 3 w 10"/>
                  <a:gd name="T17" fmla="*/ 0 h 10"/>
                  <a:gd name="T18" fmla="*/ 3 w 10"/>
                  <a:gd name="T19" fmla="*/ 0 h 10"/>
                  <a:gd name="T20" fmla="*/ 3 w 10"/>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0">
                    <a:moveTo>
                      <a:pt x="3" y="0"/>
                    </a:moveTo>
                    <a:lnTo>
                      <a:pt x="5" y="0"/>
                    </a:lnTo>
                    <a:lnTo>
                      <a:pt x="5" y="7"/>
                    </a:lnTo>
                    <a:lnTo>
                      <a:pt x="10" y="7"/>
                    </a:lnTo>
                    <a:lnTo>
                      <a:pt x="0" y="10"/>
                    </a:lnTo>
                    <a:lnTo>
                      <a:pt x="0" y="3"/>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05" name="Freeform 68">
                <a:extLst>
                  <a:ext uri="{FF2B5EF4-FFF2-40B4-BE49-F238E27FC236}">
                    <a16:creationId xmlns:a16="http://schemas.microsoft.com/office/drawing/2014/main" id="{E0EDC253-618D-42B5-8F7B-C17D14165DAA}"/>
                  </a:ext>
                </a:extLst>
              </p:cNvPr>
              <p:cNvSpPr>
                <a:spLocks/>
              </p:cNvSpPr>
              <p:nvPr/>
            </p:nvSpPr>
            <p:spPr bwMode="gray">
              <a:xfrm>
                <a:off x="13046075" y="1046163"/>
                <a:ext cx="3175" cy="11113"/>
              </a:xfrm>
              <a:custGeom>
                <a:avLst/>
                <a:gdLst>
                  <a:gd name="T0" fmla="*/ 2 w 2"/>
                  <a:gd name="T1" fmla="*/ 0 h 7"/>
                  <a:gd name="T2" fmla="*/ 2 w 2"/>
                  <a:gd name="T3" fmla="*/ 7 h 7"/>
                  <a:gd name="T4" fmla="*/ 0 w 2"/>
                  <a:gd name="T5" fmla="*/ 3 h 7"/>
                  <a:gd name="T6" fmla="*/ 2 w 2"/>
                  <a:gd name="T7" fmla="*/ 0 h 7"/>
                  <a:gd name="T8" fmla="*/ 2 w 2"/>
                  <a:gd name="T9" fmla="*/ 0 h 7"/>
                  <a:gd name="T10" fmla="*/ 2 w 2"/>
                  <a:gd name="T11" fmla="*/ 0 h 7"/>
                  <a:gd name="T12" fmla="*/ 2 w 2"/>
                  <a:gd name="T13" fmla="*/ 0 h 7"/>
                  <a:gd name="T14" fmla="*/ 2 w 2"/>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7">
                    <a:moveTo>
                      <a:pt x="2" y="0"/>
                    </a:moveTo>
                    <a:lnTo>
                      <a:pt x="2" y="7"/>
                    </a:lnTo>
                    <a:lnTo>
                      <a:pt x="0" y="3"/>
                    </a:lnTo>
                    <a:lnTo>
                      <a:pt x="2" y="0"/>
                    </a:lnTo>
                    <a:lnTo>
                      <a:pt x="2" y="0"/>
                    </a:lnTo>
                    <a:lnTo>
                      <a:pt x="2"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06" name="Freeform 69">
                <a:extLst>
                  <a:ext uri="{FF2B5EF4-FFF2-40B4-BE49-F238E27FC236}">
                    <a16:creationId xmlns:a16="http://schemas.microsoft.com/office/drawing/2014/main" id="{48B1FEF0-3ED6-4464-B3CB-FFD68B4BEFA8}"/>
                  </a:ext>
                </a:extLst>
              </p:cNvPr>
              <p:cNvSpPr>
                <a:spLocks/>
              </p:cNvSpPr>
              <p:nvPr/>
            </p:nvSpPr>
            <p:spPr bwMode="gray">
              <a:xfrm>
                <a:off x="14293850" y="1050925"/>
                <a:ext cx="11113" cy="6350"/>
              </a:xfrm>
              <a:custGeom>
                <a:avLst/>
                <a:gdLst>
                  <a:gd name="T0" fmla="*/ 4 w 7"/>
                  <a:gd name="T1" fmla="*/ 0 h 4"/>
                  <a:gd name="T2" fmla="*/ 7 w 7"/>
                  <a:gd name="T3" fmla="*/ 4 h 4"/>
                  <a:gd name="T4" fmla="*/ 0 w 7"/>
                  <a:gd name="T5" fmla="*/ 4 h 4"/>
                  <a:gd name="T6" fmla="*/ 0 w 7"/>
                  <a:gd name="T7" fmla="*/ 0 h 4"/>
                  <a:gd name="T8" fmla="*/ 4 w 7"/>
                  <a:gd name="T9" fmla="*/ 0 h 4"/>
                  <a:gd name="T10" fmla="*/ 4 w 7"/>
                  <a:gd name="T11" fmla="*/ 0 h 4"/>
                  <a:gd name="T12" fmla="*/ 4 w 7"/>
                  <a:gd name="T13" fmla="*/ 0 h 4"/>
                  <a:gd name="T14" fmla="*/ 4 w 7"/>
                  <a:gd name="T15" fmla="*/ 0 h 4"/>
                  <a:gd name="T16" fmla="*/ 4 w 7"/>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
                    <a:moveTo>
                      <a:pt x="4" y="0"/>
                    </a:moveTo>
                    <a:lnTo>
                      <a:pt x="7" y="4"/>
                    </a:lnTo>
                    <a:lnTo>
                      <a:pt x="0" y="4"/>
                    </a:lnTo>
                    <a:lnTo>
                      <a:pt x="0" y="0"/>
                    </a:lnTo>
                    <a:lnTo>
                      <a:pt x="4" y="0"/>
                    </a:lnTo>
                    <a:lnTo>
                      <a:pt x="4" y="0"/>
                    </a:lnTo>
                    <a:lnTo>
                      <a:pt x="4" y="0"/>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07" name="Freeform 70">
                <a:extLst>
                  <a:ext uri="{FF2B5EF4-FFF2-40B4-BE49-F238E27FC236}">
                    <a16:creationId xmlns:a16="http://schemas.microsoft.com/office/drawing/2014/main" id="{69513AA7-3E0B-4939-81A8-494C7FFF983E}"/>
                  </a:ext>
                </a:extLst>
              </p:cNvPr>
              <p:cNvSpPr>
                <a:spLocks/>
              </p:cNvSpPr>
              <p:nvPr/>
            </p:nvSpPr>
            <p:spPr bwMode="gray">
              <a:xfrm>
                <a:off x="13057188" y="1050925"/>
                <a:ext cx="19050" cy="25400"/>
              </a:xfrm>
              <a:custGeom>
                <a:avLst/>
                <a:gdLst>
                  <a:gd name="T0" fmla="*/ 12 w 12"/>
                  <a:gd name="T1" fmla="*/ 0 h 16"/>
                  <a:gd name="T2" fmla="*/ 12 w 12"/>
                  <a:gd name="T3" fmla="*/ 7 h 16"/>
                  <a:gd name="T4" fmla="*/ 0 w 12"/>
                  <a:gd name="T5" fmla="*/ 16 h 16"/>
                  <a:gd name="T6" fmla="*/ 2 w 12"/>
                  <a:gd name="T7" fmla="*/ 11 h 16"/>
                  <a:gd name="T8" fmla="*/ 2 w 12"/>
                  <a:gd name="T9" fmla="*/ 7 h 16"/>
                  <a:gd name="T10" fmla="*/ 7 w 12"/>
                  <a:gd name="T11" fmla="*/ 7 h 16"/>
                  <a:gd name="T12" fmla="*/ 12 w 12"/>
                  <a:gd name="T13" fmla="*/ 0 h 16"/>
                  <a:gd name="T14" fmla="*/ 12 w 12"/>
                  <a:gd name="T15" fmla="*/ 0 h 16"/>
                  <a:gd name="T16" fmla="*/ 12 w 12"/>
                  <a:gd name="T17" fmla="*/ 0 h 16"/>
                  <a:gd name="T18" fmla="*/ 12 w 12"/>
                  <a:gd name="T19" fmla="*/ 0 h 16"/>
                  <a:gd name="T20" fmla="*/ 12 w 12"/>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6">
                    <a:moveTo>
                      <a:pt x="12" y="0"/>
                    </a:moveTo>
                    <a:lnTo>
                      <a:pt x="12" y="7"/>
                    </a:lnTo>
                    <a:lnTo>
                      <a:pt x="0" y="16"/>
                    </a:lnTo>
                    <a:lnTo>
                      <a:pt x="2" y="11"/>
                    </a:lnTo>
                    <a:lnTo>
                      <a:pt x="2" y="7"/>
                    </a:lnTo>
                    <a:lnTo>
                      <a:pt x="7" y="7"/>
                    </a:lnTo>
                    <a:lnTo>
                      <a:pt x="12" y="0"/>
                    </a:lnTo>
                    <a:lnTo>
                      <a:pt x="12" y="0"/>
                    </a:lnTo>
                    <a:lnTo>
                      <a:pt x="12" y="0"/>
                    </a:lnTo>
                    <a:lnTo>
                      <a:pt x="12"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08" name="Freeform 71">
                <a:extLst>
                  <a:ext uri="{FF2B5EF4-FFF2-40B4-BE49-F238E27FC236}">
                    <a16:creationId xmlns:a16="http://schemas.microsoft.com/office/drawing/2014/main" id="{CAABE161-674B-4079-AE70-D8FA605C3025}"/>
                  </a:ext>
                </a:extLst>
              </p:cNvPr>
              <p:cNvSpPr>
                <a:spLocks/>
              </p:cNvSpPr>
              <p:nvPr/>
            </p:nvSpPr>
            <p:spPr bwMode="gray">
              <a:xfrm>
                <a:off x="14382750" y="1050925"/>
                <a:ext cx="7938" cy="22225"/>
              </a:xfrm>
              <a:custGeom>
                <a:avLst/>
                <a:gdLst>
                  <a:gd name="T0" fmla="*/ 3 w 5"/>
                  <a:gd name="T1" fmla="*/ 4 h 14"/>
                  <a:gd name="T2" fmla="*/ 5 w 5"/>
                  <a:gd name="T3" fmla="*/ 4 h 14"/>
                  <a:gd name="T4" fmla="*/ 5 w 5"/>
                  <a:gd name="T5" fmla="*/ 11 h 14"/>
                  <a:gd name="T6" fmla="*/ 0 w 5"/>
                  <a:gd name="T7" fmla="*/ 14 h 14"/>
                  <a:gd name="T8" fmla="*/ 0 w 5"/>
                  <a:gd name="T9" fmla="*/ 0 h 14"/>
                  <a:gd name="T10" fmla="*/ 3 w 5"/>
                  <a:gd name="T11" fmla="*/ 4 h 14"/>
                  <a:gd name="T12" fmla="*/ 3 w 5"/>
                  <a:gd name="T13" fmla="*/ 4 h 14"/>
                  <a:gd name="T14" fmla="*/ 3 w 5"/>
                  <a:gd name="T15" fmla="*/ 4 h 14"/>
                  <a:gd name="T16" fmla="*/ 3 w 5"/>
                  <a:gd name="T17" fmla="*/ 4 h 14"/>
                  <a:gd name="T18" fmla="*/ 3 w 5"/>
                  <a:gd name="T19"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4">
                    <a:moveTo>
                      <a:pt x="3" y="4"/>
                    </a:moveTo>
                    <a:lnTo>
                      <a:pt x="5" y="4"/>
                    </a:lnTo>
                    <a:lnTo>
                      <a:pt x="5" y="11"/>
                    </a:lnTo>
                    <a:lnTo>
                      <a:pt x="0" y="14"/>
                    </a:lnTo>
                    <a:lnTo>
                      <a:pt x="0" y="0"/>
                    </a:lnTo>
                    <a:lnTo>
                      <a:pt x="3" y="4"/>
                    </a:lnTo>
                    <a:lnTo>
                      <a:pt x="3" y="4"/>
                    </a:lnTo>
                    <a:lnTo>
                      <a:pt x="3" y="4"/>
                    </a:lnTo>
                    <a:lnTo>
                      <a:pt x="3" y="4"/>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09" name="Freeform 72">
                <a:extLst>
                  <a:ext uri="{FF2B5EF4-FFF2-40B4-BE49-F238E27FC236}">
                    <a16:creationId xmlns:a16="http://schemas.microsoft.com/office/drawing/2014/main" id="{7BEC2C6E-B394-4C56-AA79-7A42D41CFC5D}"/>
                  </a:ext>
                </a:extLst>
              </p:cNvPr>
              <p:cNvSpPr>
                <a:spLocks/>
              </p:cNvSpPr>
              <p:nvPr/>
            </p:nvSpPr>
            <p:spPr bwMode="gray">
              <a:xfrm>
                <a:off x="14304963" y="1057275"/>
                <a:ext cx="25400" cy="33338"/>
              </a:xfrm>
              <a:custGeom>
                <a:avLst/>
                <a:gdLst>
                  <a:gd name="T0" fmla="*/ 4 w 16"/>
                  <a:gd name="T1" fmla="*/ 0 h 21"/>
                  <a:gd name="T2" fmla="*/ 16 w 16"/>
                  <a:gd name="T3" fmla="*/ 21 h 21"/>
                  <a:gd name="T4" fmla="*/ 11 w 16"/>
                  <a:gd name="T5" fmla="*/ 21 h 21"/>
                  <a:gd name="T6" fmla="*/ 4 w 16"/>
                  <a:gd name="T7" fmla="*/ 10 h 21"/>
                  <a:gd name="T8" fmla="*/ 0 w 16"/>
                  <a:gd name="T9" fmla="*/ 7 h 21"/>
                  <a:gd name="T10" fmla="*/ 0 w 16"/>
                  <a:gd name="T11" fmla="*/ 0 h 21"/>
                  <a:gd name="T12" fmla="*/ 4 w 16"/>
                  <a:gd name="T13" fmla="*/ 0 h 21"/>
                  <a:gd name="T14" fmla="*/ 4 w 16"/>
                  <a:gd name="T15" fmla="*/ 0 h 21"/>
                  <a:gd name="T16" fmla="*/ 4 w 16"/>
                  <a:gd name="T17" fmla="*/ 0 h 21"/>
                  <a:gd name="T18" fmla="*/ 4 w 16"/>
                  <a:gd name="T19" fmla="*/ 0 h 21"/>
                  <a:gd name="T20" fmla="*/ 4 w 16"/>
                  <a:gd name="T2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1">
                    <a:moveTo>
                      <a:pt x="4" y="0"/>
                    </a:moveTo>
                    <a:lnTo>
                      <a:pt x="16" y="21"/>
                    </a:lnTo>
                    <a:lnTo>
                      <a:pt x="11" y="21"/>
                    </a:lnTo>
                    <a:lnTo>
                      <a:pt x="4" y="10"/>
                    </a:lnTo>
                    <a:lnTo>
                      <a:pt x="0" y="7"/>
                    </a:lnTo>
                    <a:lnTo>
                      <a:pt x="0" y="0"/>
                    </a:lnTo>
                    <a:lnTo>
                      <a:pt x="4" y="0"/>
                    </a:lnTo>
                    <a:lnTo>
                      <a:pt x="4" y="0"/>
                    </a:lnTo>
                    <a:lnTo>
                      <a:pt x="4" y="0"/>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10" name="Freeform 73">
                <a:extLst>
                  <a:ext uri="{FF2B5EF4-FFF2-40B4-BE49-F238E27FC236}">
                    <a16:creationId xmlns:a16="http://schemas.microsoft.com/office/drawing/2014/main" id="{21542549-D13B-4382-8969-795FF0865559}"/>
                  </a:ext>
                </a:extLst>
              </p:cNvPr>
              <p:cNvSpPr>
                <a:spLocks/>
              </p:cNvSpPr>
              <p:nvPr/>
            </p:nvSpPr>
            <p:spPr bwMode="gray">
              <a:xfrm>
                <a:off x="13087350" y="1057275"/>
                <a:ext cx="7938" cy="11113"/>
              </a:xfrm>
              <a:custGeom>
                <a:avLst/>
                <a:gdLst>
                  <a:gd name="T0" fmla="*/ 5 w 5"/>
                  <a:gd name="T1" fmla="*/ 0 h 7"/>
                  <a:gd name="T2" fmla="*/ 5 w 5"/>
                  <a:gd name="T3" fmla="*/ 7 h 7"/>
                  <a:gd name="T4" fmla="*/ 0 w 5"/>
                  <a:gd name="T5" fmla="*/ 7 h 7"/>
                  <a:gd name="T6" fmla="*/ 5 w 5"/>
                  <a:gd name="T7" fmla="*/ 0 h 7"/>
                  <a:gd name="T8" fmla="*/ 5 w 5"/>
                  <a:gd name="T9" fmla="*/ 0 h 7"/>
                  <a:gd name="T10" fmla="*/ 5 w 5"/>
                  <a:gd name="T11" fmla="*/ 0 h 7"/>
                  <a:gd name="T12" fmla="*/ 5 w 5"/>
                  <a:gd name="T13" fmla="*/ 0 h 7"/>
                  <a:gd name="T14" fmla="*/ 5 w 5"/>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0"/>
                    </a:moveTo>
                    <a:lnTo>
                      <a:pt x="5" y="7"/>
                    </a:lnTo>
                    <a:lnTo>
                      <a:pt x="0" y="7"/>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11" name="Freeform 74">
                <a:extLst>
                  <a:ext uri="{FF2B5EF4-FFF2-40B4-BE49-F238E27FC236}">
                    <a16:creationId xmlns:a16="http://schemas.microsoft.com/office/drawing/2014/main" id="{36A72990-FA30-4F8D-B2CF-613AD94785DC}"/>
                  </a:ext>
                </a:extLst>
              </p:cNvPr>
              <p:cNvSpPr>
                <a:spLocks/>
              </p:cNvSpPr>
              <p:nvPr/>
            </p:nvSpPr>
            <p:spPr bwMode="gray">
              <a:xfrm>
                <a:off x="14322425" y="1057275"/>
                <a:ext cx="7938" cy="11113"/>
              </a:xfrm>
              <a:custGeom>
                <a:avLst/>
                <a:gdLst>
                  <a:gd name="T0" fmla="*/ 3 w 5"/>
                  <a:gd name="T1" fmla="*/ 0 h 7"/>
                  <a:gd name="T2" fmla="*/ 5 w 5"/>
                  <a:gd name="T3" fmla="*/ 7 h 7"/>
                  <a:gd name="T4" fmla="*/ 0 w 5"/>
                  <a:gd name="T5" fmla="*/ 7 h 7"/>
                  <a:gd name="T6" fmla="*/ 3 w 5"/>
                  <a:gd name="T7" fmla="*/ 0 h 7"/>
                  <a:gd name="T8" fmla="*/ 3 w 5"/>
                  <a:gd name="T9" fmla="*/ 0 h 7"/>
                  <a:gd name="T10" fmla="*/ 3 w 5"/>
                  <a:gd name="T11" fmla="*/ 0 h 7"/>
                  <a:gd name="T12" fmla="*/ 3 w 5"/>
                  <a:gd name="T13" fmla="*/ 0 h 7"/>
                  <a:gd name="T14" fmla="*/ 3 w 5"/>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3" y="0"/>
                    </a:moveTo>
                    <a:lnTo>
                      <a:pt x="5" y="7"/>
                    </a:lnTo>
                    <a:lnTo>
                      <a:pt x="0" y="7"/>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12" name="Freeform 75">
                <a:extLst>
                  <a:ext uri="{FF2B5EF4-FFF2-40B4-BE49-F238E27FC236}">
                    <a16:creationId xmlns:a16="http://schemas.microsoft.com/office/drawing/2014/main" id="{0B626D85-3597-4CC6-B5A9-DC089ECEEA8E}"/>
                  </a:ext>
                </a:extLst>
              </p:cNvPr>
              <p:cNvSpPr>
                <a:spLocks/>
              </p:cNvSpPr>
              <p:nvPr/>
            </p:nvSpPr>
            <p:spPr bwMode="gray">
              <a:xfrm>
                <a:off x="12977813" y="1062038"/>
                <a:ext cx="19050" cy="6350"/>
              </a:xfrm>
              <a:custGeom>
                <a:avLst/>
                <a:gdLst>
                  <a:gd name="T0" fmla="*/ 8 w 12"/>
                  <a:gd name="T1" fmla="*/ 0 h 4"/>
                  <a:gd name="T2" fmla="*/ 12 w 12"/>
                  <a:gd name="T3" fmla="*/ 0 h 4"/>
                  <a:gd name="T4" fmla="*/ 5 w 12"/>
                  <a:gd name="T5" fmla="*/ 4 h 4"/>
                  <a:gd name="T6" fmla="*/ 0 w 12"/>
                  <a:gd name="T7" fmla="*/ 0 h 4"/>
                  <a:gd name="T8" fmla="*/ 8 w 12"/>
                  <a:gd name="T9" fmla="*/ 0 h 4"/>
                  <a:gd name="T10" fmla="*/ 8 w 12"/>
                  <a:gd name="T11" fmla="*/ 0 h 4"/>
                  <a:gd name="T12" fmla="*/ 8 w 12"/>
                  <a:gd name="T13" fmla="*/ 0 h 4"/>
                  <a:gd name="T14" fmla="*/ 8 w 12"/>
                  <a:gd name="T15" fmla="*/ 0 h 4"/>
                  <a:gd name="T16" fmla="*/ 8 w 12"/>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4">
                    <a:moveTo>
                      <a:pt x="8" y="0"/>
                    </a:moveTo>
                    <a:lnTo>
                      <a:pt x="12" y="0"/>
                    </a:lnTo>
                    <a:lnTo>
                      <a:pt x="5" y="4"/>
                    </a:lnTo>
                    <a:lnTo>
                      <a:pt x="0" y="0"/>
                    </a:lnTo>
                    <a:lnTo>
                      <a:pt x="8" y="0"/>
                    </a:lnTo>
                    <a:lnTo>
                      <a:pt x="8" y="0"/>
                    </a:lnTo>
                    <a:lnTo>
                      <a:pt x="8" y="0"/>
                    </a:lnTo>
                    <a:lnTo>
                      <a:pt x="8"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13" name="Freeform 76">
                <a:extLst>
                  <a:ext uri="{FF2B5EF4-FFF2-40B4-BE49-F238E27FC236}">
                    <a16:creationId xmlns:a16="http://schemas.microsoft.com/office/drawing/2014/main" id="{12E84B35-81BF-4508-8AEA-BF0C265A84CA}"/>
                  </a:ext>
                </a:extLst>
              </p:cNvPr>
              <p:cNvSpPr>
                <a:spLocks/>
              </p:cNvSpPr>
              <p:nvPr/>
            </p:nvSpPr>
            <p:spPr bwMode="gray">
              <a:xfrm>
                <a:off x="12836525" y="1068388"/>
                <a:ext cx="93663" cy="38100"/>
              </a:xfrm>
              <a:custGeom>
                <a:avLst/>
                <a:gdLst>
                  <a:gd name="T0" fmla="*/ 23 w 59"/>
                  <a:gd name="T1" fmla="*/ 19 h 24"/>
                  <a:gd name="T2" fmla="*/ 21 w 59"/>
                  <a:gd name="T3" fmla="*/ 24 h 24"/>
                  <a:gd name="T4" fmla="*/ 12 w 59"/>
                  <a:gd name="T5" fmla="*/ 24 h 24"/>
                  <a:gd name="T6" fmla="*/ 5 w 59"/>
                  <a:gd name="T7" fmla="*/ 24 h 24"/>
                  <a:gd name="T8" fmla="*/ 0 w 59"/>
                  <a:gd name="T9" fmla="*/ 19 h 24"/>
                  <a:gd name="T10" fmla="*/ 12 w 59"/>
                  <a:gd name="T11" fmla="*/ 14 h 24"/>
                  <a:gd name="T12" fmla="*/ 16 w 59"/>
                  <a:gd name="T13" fmla="*/ 5 h 24"/>
                  <a:gd name="T14" fmla="*/ 23 w 59"/>
                  <a:gd name="T15" fmla="*/ 5 h 24"/>
                  <a:gd name="T16" fmla="*/ 35 w 59"/>
                  <a:gd name="T17" fmla="*/ 0 h 24"/>
                  <a:gd name="T18" fmla="*/ 42 w 59"/>
                  <a:gd name="T19" fmla="*/ 0 h 24"/>
                  <a:gd name="T20" fmla="*/ 49 w 59"/>
                  <a:gd name="T21" fmla="*/ 7 h 24"/>
                  <a:gd name="T22" fmla="*/ 56 w 59"/>
                  <a:gd name="T23" fmla="*/ 12 h 24"/>
                  <a:gd name="T24" fmla="*/ 59 w 59"/>
                  <a:gd name="T25" fmla="*/ 14 h 24"/>
                  <a:gd name="T26" fmla="*/ 49 w 59"/>
                  <a:gd name="T27" fmla="*/ 12 h 24"/>
                  <a:gd name="T28" fmla="*/ 42 w 59"/>
                  <a:gd name="T29" fmla="*/ 19 h 24"/>
                  <a:gd name="T30" fmla="*/ 23 w 59"/>
                  <a:gd name="T31" fmla="*/ 19 h 24"/>
                  <a:gd name="T32" fmla="*/ 23 w 59"/>
                  <a:gd name="T33" fmla="*/ 19 h 24"/>
                  <a:gd name="T34" fmla="*/ 23 w 59"/>
                  <a:gd name="T35" fmla="*/ 19 h 24"/>
                  <a:gd name="T36" fmla="*/ 23 w 59"/>
                  <a:gd name="T37" fmla="*/ 19 h 24"/>
                  <a:gd name="T38" fmla="*/ 23 w 59"/>
                  <a:gd name="T39"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24">
                    <a:moveTo>
                      <a:pt x="23" y="19"/>
                    </a:moveTo>
                    <a:lnTo>
                      <a:pt x="21" y="24"/>
                    </a:lnTo>
                    <a:lnTo>
                      <a:pt x="12" y="24"/>
                    </a:lnTo>
                    <a:lnTo>
                      <a:pt x="5" y="24"/>
                    </a:lnTo>
                    <a:lnTo>
                      <a:pt x="0" y="19"/>
                    </a:lnTo>
                    <a:lnTo>
                      <a:pt x="12" y="14"/>
                    </a:lnTo>
                    <a:lnTo>
                      <a:pt x="16" y="5"/>
                    </a:lnTo>
                    <a:lnTo>
                      <a:pt x="23" y="5"/>
                    </a:lnTo>
                    <a:lnTo>
                      <a:pt x="35" y="0"/>
                    </a:lnTo>
                    <a:lnTo>
                      <a:pt x="42" y="0"/>
                    </a:lnTo>
                    <a:lnTo>
                      <a:pt x="49" y="7"/>
                    </a:lnTo>
                    <a:lnTo>
                      <a:pt x="56" y="12"/>
                    </a:lnTo>
                    <a:lnTo>
                      <a:pt x="59" y="14"/>
                    </a:lnTo>
                    <a:lnTo>
                      <a:pt x="49" y="12"/>
                    </a:lnTo>
                    <a:lnTo>
                      <a:pt x="42" y="19"/>
                    </a:lnTo>
                    <a:lnTo>
                      <a:pt x="23" y="19"/>
                    </a:lnTo>
                    <a:lnTo>
                      <a:pt x="23" y="19"/>
                    </a:lnTo>
                    <a:lnTo>
                      <a:pt x="23" y="19"/>
                    </a:lnTo>
                    <a:lnTo>
                      <a:pt x="23" y="19"/>
                    </a:lnTo>
                    <a:lnTo>
                      <a:pt x="23"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14" name="Freeform 77">
                <a:extLst>
                  <a:ext uri="{FF2B5EF4-FFF2-40B4-BE49-F238E27FC236}">
                    <a16:creationId xmlns:a16="http://schemas.microsoft.com/office/drawing/2014/main" id="{1F01D20E-3257-4871-96BC-CB86FD9AD6D0}"/>
                  </a:ext>
                </a:extLst>
              </p:cNvPr>
              <p:cNvSpPr>
                <a:spLocks/>
              </p:cNvSpPr>
              <p:nvPr/>
            </p:nvSpPr>
            <p:spPr bwMode="gray">
              <a:xfrm>
                <a:off x="13095288" y="1068388"/>
                <a:ext cx="0" cy="4763"/>
              </a:xfrm>
              <a:custGeom>
                <a:avLst/>
                <a:gdLst>
                  <a:gd name="T0" fmla="*/ 0 h 3"/>
                  <a:gd name="T1" fmla="*/ 3 h 3"/>
                  <a:gd name="T2" fmla="*/ 3 h 3"/>
                  <a:gd name="T3" fmla="*/ 0 h 3"/>
                  <a:gd name="T4" fmla="*/ 0 h 3"/>
                  <a:gd name="T5" fmla="*/ 0 h 3"/>
                  <a:gd name="T6" fmla="*/ 0 h 3"/>
                  <a:gd name="T7" fmla="*/ 0 h 3"/>
                  <a:gd name="T8" fmla="*/ 0 h 3"/>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3">
                    <a:moveTo>
                      <a:pt x="0" y="0"/>
                    </a:moveTo>
                    <a:lnTo>
                      <a:pt x="0" y="3"/>
                    </a:lnTo>
                    <a:lnTo>
                      <a:pt x="0" y="3"/>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15" name="Freeform 78">
                <a:extLst>
                  <a:ext uri="{FF2B5EF4-FFF2-40B4-BE49-F238E27FC236}">
                    <a16:creationId xmlns:a16="http://schemas.microsoft.com/office/drawing/2014/main" id="{6E849FD6-E24B-4614-A584-DF0716B084A4}"/>
                  </a:ext>
                </a:extLst>
              </p:cNvPr>
              <p:cNvSpPr>
                <a:spLocks/>
              </p:cNvSpPr>
              <p:nvPr/>
            </p:nvSpPr>
            <p:spPr bwMode="gray">
              <a:xfrm>
                <a:off x="14387513" y="1073150"/>
                <a:ext cx="11113" cy="3175"/>
              </a:xfrm>
              <a:custGeom>
                <a:avLst/>
                <a:gdLst>
                  <a:gd name="T0" fmla="*/ 7 w 7"/>
                  <a:gd name="T1" fmla="*/ 0 h 2"/>
                  <a:gd name="T2" fmla="*/ 7 w 7"/>
                  <a:gd name="T3" fmla="*/ 2 h 2"/>
                  <a:gd name="T4" fmla="*/ 0 w 7"/>
                  <a:gd name="T5" fmla="*/ 2 h 2"/>
                  <a:gd name="T6" fmla="*/ 7 w 7"/>
                  <a:gd name="T7" fmla="*/ 0 h 2"/>
                  <a:gd name="T8" fmla="*/ 7 w 7"/>
                  <a:gd name="T9" fmla="*/ 0 h 2"/>
                  <a:gd name="T10" fmla="*/ 7 w 7"/>
                  <a:gd name="T11" fmla="*/ 0 h 2"/>
                  <a:gd name="T12" fmla="*/ 7 w 7"/>
                  <a:gd name="T13" fmla="*/ 0 h 2"/>
                  <a:gd name="T14" fmla="*/ 7 w 7"/>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2">
                    <a:moveTo>
                      <a:pt x="7" y="0"/>
                    </a:moveTo>
                    <a:lnTo>
                      <a:pt x="7" y="2"/>
                    </a:lnTo>
                    <a:lnTo>
                      <a:pt x="0" y="2"/>
                    </a:lnTo>
                    <a:lnTo>
                      <a:pt x="7" y="0"/>
                    </a:lnTo>
                    <a:lnTo>
                      <a:pt x="7" y="0"/>
                    </a:lnTo>
                    <a:lnTo>
                      <a:pt x="7"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16" name="Freeform 79">
                <a:extLst>
                  <a:ext uri="{FF2B5EF4-FFF2-40B4-BE49-F238E27FC236}">
                    <a16:creationId xmlns:a16="http://schemas.microsoft.com/office/drawing/2014/main" id="{6594AFF0-7DFF-4214-A43A-BE91D9B9F731}"/>
                  </a:ext>
                </a:extLst>
              </p:cNvPr>
              <p:cNvSpPr>
                <a:spLocks/>
              </p:cNvSpPr>
              <p:nvPr/>
            </p:nvSpPr>
            <p:spPr bwMode="gray">
              <a:xfrm>
                <a:off x="12952413" y="1073150"/>
                <a:ext cx="11113" cy="6350"/>
              </a:xfrm>
              <a:custGeom>
                <a:avLst/>
                <a:gdLst>
                  <a:gd name="T0" fmla="*/ 7 w 7"/>
                  <a:gd name="T1" fmla="*/ 0 h 4"/>
                  <a:gd name="T2" fmla="*/ 5 w 7"/>
                  <a:gd name="T3" fmla="*/ 4 h 4"/>
                  <a:gd name="T4" fmla="*/ 0 w 7"/>
                  <a:gd name="T5" fmla="*/ 2 h 4"/>
                  <a:gd name="T6" fmla="*/ 7 w 7"/>
                  <a:gd name="T7" fmla="*/ 0 h 4"/>
                  <a:gd name="T8" fmla="*/ 7 w 7"/>
                  <a:gd name="T9" fmla="*/ 0 h 4"/>
                  <a:gd name="T10" fmla="*/ 7 w 7"/>
                  <a:gd name="T11" fmla="*/ 0 h 4"/>
                  <a:gd name="T12" fmla="*/ 7 w 7"/>
                  <a:gd name="T13" fmla="*/ 0 h 4"/>
                  <a:gd name="T14" fmla="*/ 7 w 7"/>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7" y="0"/>
                    </a:moveTo>
                    <a:lnTo>
                      <a:pt x="5" y="4"/>
                    </a:lnTo>
                    <a:lnTo>
                      <a:pt x="0" y="2"/>
                    </a:lnTo>
                    <a:lnTo>
                      <a:pt x="7" y="0"/>
                    </a:lnTo>
                    <a:lnTo>
                      <a:pt x="7" y="0"/>
                    </a:lnTo>
                    <a:lnTo>
                      <a:pt x="7"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17" name="Freeform 80">
                <a:extLst>
                  <a:ext uri="{FF2B5EF4-FFF2-40B4-BE49-F238E27FC236}">
                    <a16:creationId xmlns:a16="http://schemas.microsoft.com/office/drawing/2014/main" id="{29F4264F-9D59-4330-BC18-89DE3EF8E5AD}"/>
                  </a:ext>
                </a:extLst>
              </p:cNvPr>
              <p:cNvSpPr>
                <a:spLocks/>
              </p:cNvSpPr>
              <p:nvPr/>
            </p:nvSpPr>
            <p:spPr bwMode="gray">
              <a:xfrm>
                <a:off x="13101638" y="1073150"/>
                <a:ext cx="4763" cy="3175"/>
              </a:xfrm>
              <a:custGeom>
                <a:avLst/>
                <a:gdLst>
                  <a:gd name="T0" fmla="*/ 0 w 3"/>
                  <a:gd name="T1" fmla="*/ 0 h 2"/>
                  <a:gd name="T2" fmla="*/ 3 w 3"/>
                  <a:gd name="T3" fmla="*/ 2 h 2"/>
                  <a:gd name="T4" fmla="*/ 0 w 3"/>
                  <a:gd name="T5" fmla="*/ 2 h 2"/>
                  <a:gd name="T6" fmla="*/ 0 w 3"/>
                  <a:gd name="T7" fmla="*/ 0 h 2"/>
                  <a:gd name="T8" fmla="*/ 0 w 3"/>
                  <a:gd name="T9" fmla="*/ 0 h 2"/>
                  <a:gd name="T10" fmla="*/ 0 w 3"/>
                  <a:gd name="T11" fmla="*/ 0 h 2"/>
                  <a:gd name="T12" fmla="*/ 0 w 3"/>
                  <a:gd name="T13" fmla="*/ 0 h 2"/>
                  <a:gd name="T14" fmla="*/ 0 w 3"/>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0" y="0"/>
                    </a:moveTo>
                    <a:lnTo>
                      <a:pt x="3" y="2"/>
                    </a:lnTo>
                    <a:lnTo>
                      <a:pt x="0" y="2"/>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18" name="Freeform 81">
                <a:extLst>
                  <a:ext uri="{FF2B5EF4-FFF2-40B4-BE49-F238E27FC236}">
                    <a16:creationId xmlns:a16="http://schemas.microsoft.com/office/drawing/2014/main" id="{12D0AA0B-B857-48F8-8B5B-4384EBD0F090}"/>
                  </a:ext>
                </a:extLst>
              </p:cNvPr>
              <p:cNvSpPr>
                <a:spLocks/>
              </p:cNvSpPr>
              <p:nvPr/>
            </p:nvSpPr>
            <p:spPr bwMode="gray">
              <a:xfrm>
                <a:off x="14327188" y="1076325"/>
                <a:ext cx="3175" cy="11113"/>
              </a:xfrm>
              <a:custGeom>
                <a:avLst/>
                <a:gdLst>
                  <a:gd name="T0" fmla="*/ 2 w 2"/>
                  <a:gd name="T1" fmla="*/ 0 h 7"/>
                  <a:gd name="T2" fmla="*/ 2 w 2"/>
                  <a:gd name="T3" fmla="*/ 7 h 7"/>
                  <a:gd name="T4" fmla="*/ 0 w 2"/>
                  <a:gd name="T5" fmla="*/ 0 h 7"/>
                  <a:gd name="T6" fmla="*/ 2 w 2"/>
                  <a:gd name="T7" fmla="*/ 0 h 7"/>
                  <a:gd name="T8" fmla="*/ 2 w 2"/>
                  <a:gd name="T9" fmla="*/ 0 h 7"/>
                  <a:gd name="T10" fmla="*/ 2 w 2"/>
                  <a:gd name="T11" fmla="*/ 0 h 7"/>
                  <a:gd name="T12" fmla="*/ 2 w 2"/>
                  <a:gd name="T13" fmla="*/ 0 h 7"/>
                  <a:gd name="T14" fmla="*/ 2 w 2"/>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7">
                    <a:moveTo>
                      <a:pt x="2" y="0"/>
                    </a:moveTo>
                    <a:lnTo>
                      <a:pt x="2" y="7"/>
                    </a:lnTo>
                    <a:lnTo>
                      <a:pt x="0" y="0"/>
                    </a:lnTo>
                    <a:lnTo>
                      <a:pt x="2" y="0"/>
                    </a:lnTo>
                    <a:lnTo>
                      <a:pt x="2" y="0"/>
                    </a:lnTo>
                    <a:lnTo>
                      <a:pt x="2"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19" name="Freeform 82">
                <a:extLst>
                  <a:ext uri="{FF2B5EF4-FFF2-40B4-BE49-F238E27FC236}">
                    <a16:creationId xmlns:a16="http://schemas.microsoft.com/office/drawing/2014/main" id="{08C93BFB-4C17-445D-9F89-70B3589FD6F7}"/>
                  </a:ext>
                </a:extLst>
              </p:cNvPr>
              <p:cNvSpPr>
                <a:spLocks/>
              </p:cNvSpPr>
              <p:nvPr/>
            </p:nvSpPr>
            <p:spPr bwMode="gray">
              <a:xfrm>
                <a:off x="12941300" y="1103313"/>
                <a:ext cx="7938" cy="6350"/>
              </a:xfrm>
              <a:custGeom>
                <a:avLst/>
                <a:gdLst>
                  <a:gd name="T0" fmla="*/ 0 w 5"/>
                  <a:gd name="T1" fmla="*/ 0 h 4"/>
                  <a:gd name="T2" fmla="*/ 5 w 5"/>
                  <a:gd name="T3" fmla="*/ 4 h 4"/>
                  <a:gd name="T4" fmla="*/ 0 w 5"/>
                  <a:gd name="T5" fmla="*/ 2 h 4"/>
                  <a:gd name="T6" fmla="*/ 0 w 5"/>
                  <a:gd name="T7" fmla="*/ 0 h 4"/>
                  <a:gd name="T8" fmla="*/ 0 w 5"/>
                  <a:gd name="T9" fmla="*/ 0 h 4"/>
                  <a:gd name="T10" fmla="*/ 0 w 5"/>
                  <a:gd name="T11" fmla="*/ 0 h 4"/>
                  <a:gd name="T12" fmla="*/ 0 w 5"/>
                  <a:gd name="T13" fmla="*/ 0 h 4"/>
                  <a:gd name="T14" fmla="*/ 0 w 5"/>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0" y="0"/>
                    </a:moveTo>
                    <a:lnTo>
                      <a:pt x="5" y="4"/>
                    </a:lnTo>
                    <a:lnTo>
                      <a:pt x="0" y="2"/>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20" name="Freeform 83">
                <a:extLst>
                  <a:ext uri="{FF2B5EF4-FFF2-40B4-BE49-F238E27FC236}">
                    <a16:creationId xmlns:a16="http://schemas.microsoft.com/office/drawing/2014/main" id="{83256292-63E5-46C5-B15C-FB49906334E5}"/>
                  </a:ext>
                </a:extLst>
              </p:cNvPr>
              <p:cNvSpPr>
                <a:spLocks/>
              </p:cNvSpPr>
              <p:nvPr/>
            </p:nvSpPr>
            <p:spPr bwMode="gray">
              <a:xfrm>
                <a:off x="12809538" y="1117600"/>
                <a:ext cx="11113" cy="11113"/>
              </a:xfrm>
              <a:custGeom>
                <a:avLst/>
                <a:gdLst>
                  <a:gd name="T0" fmla="*/ 0 w 7"/>
                  <a:gd name="T1" fmla="*/ 7 h 7"/>
                  <a:gd name="T2" fmla="*/ 0 w 7"/>
                  <a:gd name="T3" fmla="*/ 0 h 7"/>
                  <a:gd name="T4" fmla="*/ 7 w 7"/>
                  <a:gd name="T5" fmla="*/ 0 h 7"/>
                  <a:gd name="T6" fmla="*/ 0 w 7"/>
                  <a:gd name="T7" fmla="*/ 7 h 7"/>
                  <a:gd name="T8" fmla="*/ 0 w 7"/>
                  <a:gd name="T9" fmla="*/ 7 h 7"/>
                  <a:gd name="T10" fmla="*/ 0 w 7"/>
                  <a:gd name="T11" fmla="*/ 7 h 7"/>
                  <a:gd name="T12" fmla="*/ 0 w 7"/>
                  <a:gd name="T13" fmla="*/ 7 h 7"/>
                  <a:gd name="T14" fmla="*/ 0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0" y="7"/>
                    </a:moveTo>
                    <a:lnTo>
                      <a:pt x="0" y="0"/>
                    </a:lnTo>
                    <a:lnTo>
                      <a:pt x="7" y="0"/>
                    </a:lnTo>
                    <a:lnTo>
                      <a:pt x="0" y="7"/>
                    </a:lnTo>
                    <a:lnTo>
                      <a:pt x="0" y="7"/>
                    </a:lnTo>
                    <a:lnTo>
                      <a:pt x="0" y="7"/>
                    </a:lnTo>
                    <a:lnTo>
                      <a:pt x="0" y="7"/>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21" name="Freeform 84">
                <a:extLst>
                  <a:ext uri="{FF2B5EF4-FFF2-40B4-BE49-F238E27FC236}">
                    <a16:creationId xmlns:a16="http://schemas.microsoft.com/office/drawing/2014/main" id="{AA7E544D-5E05-4E0B-BCB0-5EE86BF2460F}"/>
                  </a:ext>
                </a:extLst>
              </p:cNvPr>
              <p:cNvSpPr>
                <a:spLocks/>
              </p:cNvSpPr>
              <p:nvPr/>
            </p:nvSpPr>
            <p:spPr bwMode="gray">
              <a:xfrm>
                <a:off x="12787313" y="1117600"/>
                <a:ext cx="22225" cy="14288"/>
              </a:xfrm>
              <a:custGeom>
                <a:avLst/>
                <a:gdLst>
                  <a:gd name="T0" fmla="*/ 7 w 14"/>
                  <a:gd name="T1" fmla="*/ 9 h 9"/>
                  <a:gd name="T2" fmla="*/ 0 w 14"/>
                  <a:gd name="T3" fmla="*/ 7 h 9"/>
                  <a:gd name="T4" fmla="*/ 2 w 14"/>
                  <a:gd name="T5" fmla="*/ 0 h 9"/>
                  <a:gd name="T6" fmla="*/ 14 w 14"/>
                  <a:gd name="T7" fmla="*/ 7 h 9"/>
                  <a:gd name="T8" fmla="*/ 7 w 14"/>
                  <a:gd name="T9" fmla="*/ 9 h 9"/>
                  <a:gd name="T10" fmla="*/ 7 w 14"/>
                  <a:gd name="T11" fmla="*/ 9 h 9"/>
                  <a:gd name="T12" fmla="*/ 7 w 14"/>
                  <a:gd name="T13" fmla="*/ 9 h 9"/>
                  <a:gd name="T14" fmla="*/ 7 w 14"/>
                  <a:gd name="T15" fmla="*/ 9 h 9"/>
                  <a:gd name="T16" fmla="*/ 7 w 14"/>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9">
                    <a:moveTo>
                      <a:pt x="7" y="9"/>
                    </a:moveTo>
                    <a:lnTo>
                      <a:pt x="0" y="7"/>
                    </a:lnTo>
                    <a:lnTo>
                      <a:pt x="2" y="0"/>
                    </a:lnTo>
                    <a:lnTo>
                      <a:pt x="14" y="7"/>
                    </a:lnTo>
                    <a:lnTo>
                      <a:pt x="7" y="9"/>
                    </a:lnTo>
                    <a:lnTo>
                      <a:pt x="7" y="9"/>
                    </a:lnTo>
                    <a:lnTo>
                      <a:pt x="7" y="9"/>
                    </a:lnTo>
                    <a:lnTo>
                      <a:pt x="7" y="9"/>
                    </a:ln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22" name="Freeform 85">
                <a:extLst>
                  <a:ext uri="{FF2B5EF4-FFF2-40B4-BE49-F238E27FC236}">
                    <a16:creationId xmlns:a16="http://schemas.microsoft.com/office/drawing/2014/main" id="{9EBD80D6-02ED-4FD7-BBCB-9B18BE5F5E0E}"/>
                  </a:ext>
                </a:extLst>
              </p:cNvPr>
              <p:cNvSpPr>
                <a:spLocks/>
              </p:cNvSpPr>
              <p:nvPr/>
            </p:nvSpPr>
            <p:spPr bwMode="gray">
              <a:xfrm>
                <a:off x="12820650" y="1128713"/>
                <a:ext cx="4763" cy="3175"/>
              </a:xfrm>
              <a:custGeom>
                <a:avLst/>
                <a:gdLst>
                  <a:gd name="T0" fmla="*/ 0 w 3"/>
                  <a:gd name="T1" fmla="*/ 2 h 2"/>
                  <a:gd name="T2" fmla="*/ 0 w 3"/>
                  <a:gd name="T3" fmla="*/ 0 h 2"/>
                  <a:gd name="T4" fmla="*/ 3 w 3"/>
                  <a:gd name="T5" fmla="*/ 0 h 2"/>
                  <a:gd name="T6" fmla="*/ 0 w 3"/>
                  <a:gd name="T7" fmla="*/ 2 h 2"/>
                  <a:gd name="T8" fmla="*/ 0 w 3"/>
                  <a:gd name="T9" fmla="*/ 2 h 2"/>
                  <a:gd name="T10" fmla="*/ 0 w 3"/>
                  <a:gd name="T11" fmla="*/ 2 h 2"/>
                  <a:gd name="T12" fmla="*/ 0 w 3"/>
                  <a:gd name="T13" fmla="*/ 2 h 2"/>
                  <a:gd name="T14" fmla="*/ 0 w 3"/>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0" y="2"/>
                    </a:moveTo>
                    <a:lnTo>
                      <a:pt x="0" y="0"/>
                    </a:lnTo>
                    <a:lnTo>
                      <a:pt x="3" y="0"/>
                    </a:lnTo>
                    <a:lnTo>
                      <a:pt x="0" y="2"/>
                    </a:lnTo>
                    <a:lnTo>
                      <a:pt x="0" y="2"/>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23" name="Freeform 86">
                <a:extLst>
                  <a:ext uri="{FF2B5EF4-FFF2-40B4-BE49-F238E27FC236}">
                    <a16:creationId xmlns:a16="http://schemas.microsoft.com/office/drawing/2014/main" id="{29EF2FC1-1986-4990-9DE4-4CE2FC5FDC5C}"/>
                  </a:ext>
                </a:extLst>
              </p:cNvPr>
              <p:cNvSpPr>
                <a:spLocks/>
              </p:cNvSpPr>
              <p:nvPr/>
            </p:nvSpPr>
            <p:spPr bwMode="gray">
              <a:xfrm>
                <a:off x="12704763" y="1131888"/>
                <a:ext cx="79375" cy="52388"/>
              </a:xfrm>
              <a:custGeom>
                <a:avLst/>
                <a:gdLst>
                  <a:gd name="T0" fmla="*/ 21 w 50"/>
                  <a:gd name="T1" fmla="*/ 17 h 33"/>
                  <a:gd name="T2" fmla="*/ 26 w 50"/>
                  <a:gd name="T3" fmla="*/ 15 h 33"/>
                  <a:gd name="T4" fmla="*/ 31 w 50"/>
                  <a:gd name="T5" fmla="*/ 15 h 33"/>
                  <a:gd name="T6" fmla="*/ 21 w 50"/>
                  <a:gd name="T7" fmla="*/ 10 h 33"/>
                  <a:gd name="T8" fmla="*/ 26 w 50"/>
                  <a:gd name="T9" fmla="*/ 5 h 33"/>
                  <a:gd name="T10" fmla="*/ 36 w 50"/>
                  <a:gd name="T11" fmla="*/ 0 h 33"/>
                  <a:gd name="T12" fmla="*/ 36 w 50"/>
                  <a:gd name="T13" fmla="*/ 8 h 33"/>
                  <a:gd name="T14" fmla="*/ 45 w 50"/>
                  <a:gd name="T15" fmla="*/ 0 h 33"/>
                  <a:gd name="T16" fmla="*/ 50 w 50"/>
                  <a:gd name="T17" fmla="*/ 5 h 33"/>
                  <a:gd name="T18" fmla="*/ 38 w 50"/>
                  <a:gd name="T19" fmla="*/ 15 h 33"/>
                  <a:gd name="T20" fmla="*/ 45 w 50"/>
                  <a:gd name="T21" fmla="*/ 10 h 33"/>
                  <a:gd name="T22" fmla="*/ 45 w 50"/>
                  <a:gd name="T23" fmla="*/ 15 h 33"/>
                  <a:gd name="T24" fmla="*/ 38 w 50"/>
                  <a:gd name="T25" fmla="*/ 17 h 33"/>
                  <a:gd name="T26" fmla="*/ 31 w 50"/>
                  <a:gd name="T27" fmla="*/ 24 h 33"/>
                  <a:gd name="T28" fmla="*/ 7 w 50"/>
                  <a:gd name="T29" fmla="*/ 33 h 33"/>
                  <a:gd name="T30" fmla="*/ 0 w 50"/>
                  <a:gd name="T31" fmla="*/ 31 h 33"/>
                  <a:gd name="T32" fmla="*/ 21 w 50"/>
                  <a:gd name="T33" fmla="*/ 24 h 33"/>
                  <a:gd name="T34" fmla="*/ 21 w 50"/>
                  <a:gd name="T35" fmla="*/ 22 h 33"/>
                  <a:gd name="T36" fmla="*/ 21 w 50"/>
                  <a:gd name="T37" fmla="*/ 17 h 33"/>
                  <a:gd name="T38" fmla="*/ 21 w 50"/>
                  <a:gd name="T39" fmla="*/ 17 h 33"/>
                  <a:gd name="T40" fmla="*/ 21 w 50"/>
                  <a:gd name="T41" fmla="*/ 17 h 33"/>
                  <a:gd name="T42" fmla="*/ 21 w 50"/>
                  <a:gd name="T43" fmla="*/ 17 h 33"/>
                  <a:gd name="T44" fmla="*/ 21 w 50"/>
                  <a:gd name="T45" fmla="*/ 17 h 33"/>
                  <a:gd name="T46" fmla="*/ 21 w 50"/>
                  <a:gd name="T47"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33">
                    <a:moveTo>
                      <a:pt x="21" y="17"/>
                    </a:moveTo>
                    <a:lnTo>
                      <a:pt x="26" y="15"/>
                    </a:lnTo>
                    <a:lnTo>
                      <a:pt x="31" y="15"/>
                    </a:lnTo>
                    <a:lnTo>
                      <a:pt x="21" y="10"/>
                    </a:lnTo>
                    <a:lnTo>
                      <a:pt x="26" y="5"/>
                    </a:lnTo>
                    <a:lnTo>
                      <a:pt x="36" y="0"/>
                    </a:lnTo>
                    <a:lnTo>
                      <a:pt x="36" y="8"/>
                    </a:lnTo>
                    <a:lnTo>
                      <a:pt x="45" y="0"/>
                    </a:lnTo>
                    <a:lnTo>
                      <a:pt x="50" y="5"/>
                    </a:lnTo>
                    <a:lnTo>
                      <a:pt x="38" y="15"/>
                    </a:lnTo>
                    <a:lnTo>
                      <a:pt x="45" y="10"/>
                    </a:lnTo>
                    <a:lnTo>
                      <a:pt x="45" y="15"/>
                    </a:lnTo>
                    <a:lnTo>
                      <a:pt x="38" y="17"/>
                    </a:lnTo>
                    <a:lnTo>
                      <a:pt x="31" y="24"/>
                    </a:lnTo>
                    <a:lnTo>
                      <a:pt x="7" y="33"/>
                    </a:lnTo>
                    <a:lnTo>
                      <a:pt x="0" y="31"/>
                    </a:lnTo>
                    <a:lnTo>
                      <a:pt x="21" y="24"/>
                    </a:lnTo>
                    <a:lnTo>
                      <a:pt x="21" y="22"/>
                    </a:lnTo>
                    <a:lnTo>
                      <a:pt x="21" y="17"/>
                    </a:lnTo>
                    <a:lnTo>
                      <a:pt x="21" y="17"/>
                    </a:lnTo>
                    <a:lnTo>
                      <a:pt x="21" y="17"/>
                    </a:lnTo>
                    <a:lnTo>
                      <a:pt x="21" y="17"/>
                    </a:lnTo>
                    <a:lnTo>
                      <a:pt x="21" y="17"/>
                    </a:lnTo>
                    <a:lnTo>
                      <a:pt x="21"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24" name="Freeform 87">
                <a:extLst>
                  <a:ext uri="{FF2B5EF4-FFF2-40B4-BE49-F238E27FC236}">
                    <a16:creationId xmlns:a16="http://schemas.microsoft.com/office/drawing/2014/main" id="{76961FF6-2335-473D-A405-B93859B03DE1}"/>
                  </a:ext>
                </a:extLst>
              </p:cNvPr>
              <p:cNvSpPr>
                <a:spLocks/>
              </p:cNvSpPr>
              <p:nvPr/>
            </p:nvSpPr>
            <p:spPr bwMode="gray">
              <a:xfrm>
                <a:off x="12776200" y="1144588"/>
                <a:ext cx="11113" cy="11113"/>
              </a:xfrm>
              <a:custGeom>
                <a:avLst/>
                <a:gdLst>
                  <a:gd name="T0" fmla="*/ 5 w 7"/>
                  <a:gd name="T1" fmla="*/ 7 h 7"/>
                  <a:gd name="T2" fmla="*/ 0 w 7"/>
                  <a:gd name="T3" fmla="*/ 2 h 7"/>
                  <a:gd name="T4" fmla="*/ 7 w 7"/>
                  <a:gd name="T5" fmla="*/ 0 h 7"/>
                  <a:gd name="T6" fmla="*/ 5 w 7"/>
                  <a:gd name="T7" fmla="*/ 7 h 7"/>
                  <a:gd name="T8" fmla="*/ 5 w 7"/>
                  <a:gd name="T9" fmla="*/ 7 h 7"/>
                  <a:gd name="T10" fmla="*/ 5 w 7"/>
                  <a:gd name="T11" fmla="*/ 7 h 7"/>
                  <a:gd name="T12" fmla="*/ 5 w 7"/>
                  <a:gd name="T13" fmla="*/ 7 h 7"/>
                  <a:gd name="T14" fmla="*/ 5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5" y="7"/>
                    </a:moveTo>
                    <a:lnTo>
                      <a:pt x="0" y="2"/>
                    </a:lnTo>
                    <a:lnTo>
                      <a:pt x="7" y="0"/>
                    </a:lnTo>
                    <a:lnTo>
                      <a:pt x="5" y="7"/>
                    </a:lnTo>
                    <a:lnTo>
                      <a:pt x="5" y="7"/>
                    </a:lnTo>
                    <a:lnTo>
                      <a:pt x="5" y="7"/>
                    </a:lnTo>
                    <a:lnTo>
                      <a:pt x="5" y="7"/>
                    </a:ln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25" name="Freeform 88">
                <a:extLst>
                  <a:ext uri="{FF2B5EF4-FFF2-40B4-BE49-F238E27FC236}">
                    <a16:creationId xmlns:a16="http://schemas.microsoft.com/office/drawing/2014/main" id="{AD1610EE-0B59-4756-9BC5-DBAB437FC6D8}"/>
                  </a:ext>
                </a:extLst>
              </p:cNvPr>
              <p:cNvSpPr>
                <a:spLocks/>
              </p:cNvSpPr>
              <p:nvPr/>
            </p:nvSpPr>
            <p:spPr bwMode="gray">
              <a:xfrm>
                <a:off x="12649200" y="1166813"/>
                <a:ext cx="63500" cy="47625"/>
              </a:xfrm>
              <a:custGeom>
                <a:avLst/>
                <a:gdLst>
                  <a:gd name="T0" fmla="*/ 40 w 40"/>
                  <a:gd name="T1" fmla="*/ 2 h 30"/>
                  <a:gd name="T2" fmla="*/ 35 w 40"/>
                  <a:gd name="T3" fmla="*/ 7 h 30"/>
                  <a:gd name="T4" fmla="*/ 21 w 40"/>
                  <a:gd name="T5" fmla="*/ 11 h 30"/>
                  <a:gd name="T6" fmla="*/ 16 w 40"/>
                  <a:gd name="T7" fmla="*/ 19 h 30"/>
                  <a:gd name="T8" fmla="*/ 0 w 40"/>
                  <a:gd name="T9" fmla="*/ 30 h 30"/>
                  <a:gd name="T10" fmla="*/ 7 w 40"/>
                  <a:gd name="T11" fmla="*/ 23 h 30"/>
                  <a:gd name="T12" fmla="*/ 7 w 40"/>
                  <a:gd name="T13" fmla="*/ 16 h 30"/>
                  <a:gd name="T14" fmla="*/ 14 w 40"/>
                  <a:gd name="T15" fmla="*/ 9 h 30"/>
                  <a:gd name="T16" fmla="*/ 19 w 40"/>
                  <a:gd name="T17" fmla="*/ 9 h 30"/>
                  <a:gd name="T18" fmla="*/ 19 w 40"/>
                  <a:gd name="T19" fmla="*/ 7 h 30"/>
                  <a:gd name="T20" fmla="*/ 19 w 40"/>
                  <a:gd name="T21" fmla="*/ 2 h 30"/>
                  <a:gd name="T22" fmla="*/ 33 w 40"/>
                  <a:gd name="T23" fmla="*/ 0 h 30"/>
                  <a:gd name="T24" fmla="*/ 40 w 40"/>
                  <a:gd name="T25" fmla="*/ 2 h 30"/>
                  <a:gd name="T26" fmla="*/ 40 w 40"/>
                  <a:gd name="T27" fmla="*/ 2 h 30"/>
                  <a:gd name="T28" fmla="*/ 40 w 40"/>
                  <a:gd name="T29" fmla="*/ 2 h 30"/>
                  <a:gd name="T30" fmla="*/ 40 w 40"/>
                  <a:gd name="T31" fmla="*/ 2 h 30"/>
                  <a:gd name="T32" fmla="*/ 40 w 40"/>
                  <a:gd name="T33"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2"/>
                    </a:moveTo>
                    <a:lnTo>
                      <a:pt x="35" y="7"/>
                    </a:lnTo>
                    <a:lnTo>
                      <a:pt x="21" y="11"/>
                    </a:lnTo>
                    <a:lnTo>
                      <a:pt x="16" y="19"/>
                    </a:lnTo>
                    <a:lnTo>
                      <a:pt x="0" y="30"/>
                    </a:lnTo>
                    <a:lnTo>
                      <a:pt x="7" y="23"/>
                    </a:lnTo>
                    <a:lnTo>
                      <a:pt x="7" y="16"/>
                    </a:lnTo>
                    <a:lnTo>
                      <a:pt x="14" y="9"/>
                    </a:lnTo>
                    <a:lnTo>
                      <a:pt x="19" y="9"/>
                    </a:lnTo>
                    <a:lnTo>
                      <a:pt x="19" y="7"/>
                    </a:lnTo>
                    <a:lnTo>
                      <a:pt x="19" y="2"/>
                    </a:lnTo>
                    <a:lnTo>
                      <a:pt x="33" y="0"/>
                    </a:lnTo>
                    <a:lnTo>
                      <a:pt x="40" y="2"/>
                    </a:lnTo>
                    <a:lnTo>
                      <a:pt x="40" y="2"/>
                    </a:lnTo>
                    <a:lnTo>
                      <a:pt x="40" y="2"/>
                    </a:lnTo>
                    <a:lnTo>
                      <a:pt x="40" y="2"/>
                    </a:lnTo>
                    <a:lnTo>
                      <a:pt x="4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26" name="Freeform 89">
                <a:extLst>
                  <a:ext uri="{FF2B5EF4-FFF2-40B4-BE49-F238E27FC236}">
                    <a16:creationId xmlns:a16="http://schemas.microsoft.com/office/drawing/2014/main" id="{EF7817AD-C4FD-4915-89CD-E24386E46102}"/>
                  </a:ext>
                </a:extLst>
              </p:cNvPr>
              <p:cNvSpPr>
                <a:spLocks/>
              </p:cNvSpPr>
              <p:nvPr/>
            </p:nvSpPr>
            <p:spPr bwMode="gray">
              <a:xfrm>
                <a:off x="12619038" y="1196975"/>
                <a:ext cx="0" cy="6350"/>
              </a:xfrm>
              <a:custGeom>
                <a:avLst/>
                <a:gdLst>
                  <a:gd name="T0" fmla="*/ 4 h 4"/>
                  <a:gd name="T1" fmla="*/ 0 h 4"/>
                  <a:gd name="T2" fmla="*/ 4 h 4"/>
                  <a:gd name="T3" fmla="*/ 4 h 4"/>
                  <a:gd name="T4" fmla="*/ 4 h 4"/>
                  <a:gd name="T5" fmla="*/ 4 h 4"/>
                  <a:gd name="T6" fmla="*/ 4 h 4"/>
                </a:gdLst>
                <a:ahLst/>
                <a:cxnLst>
                  <a:cxn ang="0">
                    <a:pos x="0" y="T0"/>
                  </a:cxn>
                  <a:cxn ang="0">
                    <a:pos x="0" y="T1"/>
                  </a:cxn>
                  <a:cxn ang="0">
                    <a:pos x="0" y="T2"/>
                  </a:cxn>
                  <a:cxn ang="0">
                    <a:pos x="0" y="T3"/>
                  </a:cxn>
                  <a:cxn ang="0">
                    <a:pos x="0" y="T4"/>
                  </a:cxn>
                  <a:cxn ang="0">
                    <a:pos x="0" y="T5"/>
                  </a:cxn>
                  <a:cxn ang="0">
                    <a:pos x="0" y="T6"/>
                  </a:cxn>
                </a:cxnLst>
                <a:rect l="0" t="0" r="r" b="b"/>
                <a:pathLst>
                  <a:path h="4">
                    <a:moveTo>
                      <a:pt x="0" y="4"/>
                    </a:moveTo>
                    <a:lnTo>
                      <a:pt x="0" y="0"/>
                    </a:lnTo>
                    <a:lnTo>
                      <a:pt x="0" y="4"/>
                    </a:lnTo>
                    <a:lnTo>
                      <a:pt x="0" y="4"/>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27" name="Freeform 90">
                <a:extLst>
                  <a:ext uri="{FF2B5EF4-FFF2-40B4-BE49-F238E27FC236}">
                    <a16:creationId xmlns:a16="http://schemas.microsoft.com/office/drawing/2014/main" id="{B7AF746F-0FD8-4DB1-9C96-A787368F8A00}"/>
                  </a:ext>
                </a:extLst>
              </p:cNvPr>
              <p:cNvSpPr>
                <a:spLocks/>
              </p:cNvSpPr>
              <p:nvPr/>
            </p:nvSpPr>
            <p:spPr bwMode="gray">
              <a:xfrm>
                <a:off x="12611100" y="1203325"/>
                <a:ext cx="7938" cy="11113"/>
              </a:xfrm>
              <a:custGeom>
                <a:avLst/>
                <a:gdLst>
                  <a:gd name="T0" fmla="*/ 0 w 5"/>
                  <a:gd name="T1" fmla="*/ 7 h 7"/>
                  <a:gd name="T2" fmla="*/ 5 w 5"/>
                  <a:gd name="T3" fmla="*/ 0 h 7"/>
                  <a:gd name="T4" fmla="*/ 5 w 5"/>
                  <a:gd name="T5" fmla="*/ 7 h 7"/>
                  <a:gd name="T6" fmla="*/ 0 w 5"/>
                  <a:gd name="T7" fmla="*/ 7 h 7"/>
                  <a:gd name="T8" fmla="*/ 0 w 5"/>
                  <a:gd name="T9" fmla="*/ 7 h 7"/>
                  <a:gd name="T10" fmla="*/ 0 w 5"/>
                  <a:gd name="T11" fmla="*/ 7 h 7"/>
                  <a:gd name="T12" fmla="*/ 0 w 5"/>
                  <a:gd name="T13" fmla="*/ 7 h 7"/>
                  <a:gd name="T14" fmla="*/ 0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0" y="7"/>
                    </a:moveTo>
                    <a:lnTo>
                      <a:pt x="5" y="0"/>
                    </a:lnTo>
                    <a:lnTo>
                      <a:pt x="5" y="7"/>
                    </a:lnTo>
                    <a:lnTo>
                      <a:pt x="0" y="7"/>
                    </a:lnTo>
                    <a:lnTo>
                      <a:pt x="0" y="7"/>
                    </a:lnTo>
                    <a:lnTo>
                      <a:pt x="0" y="7"/>
                    </a:lnTo>
                    <a:lnTo>
                      <a:pt x="0" y="7"/>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28" name="Freeform 91">
                <a:extLst>
                  <a:ext uri="{FF2B5EF4-FFF2-40B4-BE49-F238E27FC236}">
                    <a16:creationId xmlns:a16="http://schemas.microsoft.com/office/drawing/2014/main" id="{07E6DB9C-7928-4F7F-B56E-1A92CCDFBC79}"/>
                  </a:ext>
                </a:extLst>
              </p:cNvPr>
              <p:cNvSpPr>
                <a:spLocks/>
              </p:cNvSpPr>
              <p:nvPr/>
            </p:nvSpPr>
            <p:spPr bwMode="gray">
              <a:xfrm>
                <a:off x="12599988" y="1214438"/>
                <a:ext cx="4763" cy="0"/>
              </a:xfrm>
              <a:custGeom>
                <a:avLst/>
                <a:gdLst>
                  <a:gd name="T0" fmla="*/ 0 w 3"/>
                  <a:gd name="T1" fmla="*/ 0 w 3"/>
                  <a:gd name="T2" fmla="*/ 3 w 3"/>
                  <a:gd name="T3" fmla="*/ 0 w 3"/>
                  <a:gd name="T4" fmla="*/ 0 w 3"/>
                  <a:gd name="T5" fmla="*/ 0 w 3"/>
                  <a:gd name="T6" fmla="*/ 0 w 3"/>
                  <a:gd name="T7" fmla="*/ 0 w 3"/>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3">
                    <a:moveTo>
                      <a:pt x="0" y="0"/>
                    </a:moveTo>
                    <a:lnTo>
                      <a:pt x="0" y="0"/>
                    </a:lnTo>
                    <a:lnTo>
                      <a:pt x="3"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29" name="Freeform 92">
                <a:extLst>
                  <a:ext uri="{FF2B5EF4-FFF2-40B4-BE49-F238E27FC236}">
                    <a16:creationId xmlns:a16="http://schemas.microsoft.com/office/drawing/2014/main" id="{4C9673F8-DB09-46C2-9E3C-BD0E60C187BF}"/>
                  </a:ext>
                </a:extLst>
              </p:cNvPr>
              <p:cNvSpPr>
                <a:spLocks/>
              </p:cNvSpPr>
              <p:nvPr/>
            </p:nvSpPr>
            <p:spPr bwMode="gray">
              <a:xfrm>
                <a:off x="12569825" y="1219200"/>
                <a:ext cx="7938" cy="6350"/>
              </a:xfrm>
              <a:custGeom>
                <a:avLst/>
                <a:gdLst>
                  <a:gd name="T0" fmla="*/ 0 w 5"/>
                  <a:gd name="T1" fmla="*/ 4 h 4"/>
                  <a:gd name="T2" fmla="*/ 3 w 5"/>
                  <a:gd name="T3" fmla="*/ 0 h 4"/>
                  <a:gd name="T4" fmla="*/ 5 w 5"/>
                  <a:gd name="T5" fmla="*/ 0 h 4"/>
                  <a:gd name="T6" fmla="*/ 0 w 5"/>
                  <a:gd name="T7" fmla="*/ 4 h 4"/>
                  <a:gd name="T8" fmla="*/ 0 w 5"/>
                  <a:gd name="T9" fmla="*/ 4 h 4"/>
                  <a:gd name="T10" fmla="*/ 0 w 5"/>
                  <a:gd name="T11" fmla="*/ 4 h 4"/>
                  <a:gd name="T12" fmla="*/ 0 w 5"/>
                  <a:gd name="T13" fmla="*/ 4 h 4"/>
                  <a:gd name="T14" fmla="*/ 0 w 5"/>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0" y="4"/>
                    </a:moveTo>
                    <a:lnTo>
                      <a:pt x="3" y="0"/>
                    </a:lnTo>
                    <a:lnTo>
                      <a:pt x="5" y="0"/>
                    </a:lnTo>
                    <a:lnTo>
                      <a:pt x="0" y="4"/>
                    </a:lnTo>
                    <a:lnTo>
                      <a:pt x="0" y="4"/>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30" name="Freeform 93">
                <a:extLst>
                  <a:ext uri="{FF2B5EF4-FFF2-40B4-BE49-F238E27FC236}">
                    <a16:creationId xmlns:a16="http://schemas.microsoft.com/office/drawing/2014/main" id="{2F720AAB-E229-4CB7-89B3-9767F8FE2559}"/>
                  </a:ext>
                </a:extLst>
              </p:cNvPr>
              <p:cNvSpPr>
                <a:spLocks/>
              </p:cNvSpPr>
              <p:nvPr/>
            </p:nvSpPr>
            <p:spPr bwMode="gray">
              <a:xfrm>
                <a:off x="12360275" y="1238250"/>
                <a:ext cx="60325" cy="25400"/>
              </a:xfrm>
              <a:custGeom>
                <a:avLst/>
                <a:gdLst>
                  <a:gd name="T0" fmla="*/ 28 w 38"/>
                  <a:gd name="T1" fmla="*/ 11 h 16"/>
                  <a:gd name="T2" fmla="*/ 0 w 38"/>
                  <a:gd name="T3" fmla="*/ 16 h 16"/>
                  <a:gd name="T4" fmla="*/ 31 w 38"/>
                  <a:gd name="T5" fmla="*/ 7 h 16"/>
                  <a:gd name="T6" fmla="*/ 24 w 38"/>
                  <a:gd name="T7" fmla="*/ 2 h 16"/>
                  <a:gd name="T8" fmla="*/ 31 w 38"/>
                  <a:gd name="T9" fmla="*/ 0 h 16"/>
                  <a:gd name="T10" fmla="*/ 38 w 38"/>
                  <a:gd name="T11" fmla="*/ 2 h 16"/>
                  <a:gd name="T12" fmla="*/ 36 w 38"/>
                  <a:gd name="T13" fmla="*/ 9 h 16"/>
                  <a:gd name="T14" fmla="*/ 28 w 38"/>
                  <a:gd name="T15" fmla="*/ 11 h 16"/>
                  <a:gd name="T16" fmla="*/ 28 w 38"/>
                  <a:gd name="T17" fmla="*/ 11 h 16"/>
                  <a:gd name="T18" fmla="*/ 28 w 38"/>
                  <a:gd name="T19" fmla="*/ 11 h 16"/>
                  <a:gd name="T20" fmla="*/ 28 w 38"/>
                  <a:gd name="T21" fmla="*/ 11 h 16"/>
                  <a:gd name="T22" fmla="*/ 28 w 38"/>
                  <a:gd name="T23"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6">
                    <a:moveTo>
                      <a:pt x="28" y="11"/>
                    </a:moveTo>
                    <a:lnTo>
                      <a:pt x="0" y="16"/>
                    </a:lnTo>
                    <a:lnTo>
                      <a:pt x="31" y="7"/>
                    </a:lnTo>
                    <a:lnTo>
                      <a:pt x="24" y="2"/>
                    </a:lnTo>
                    <a:lnTo>
                      <a:pt x="31" y="0"/>
                    </a:lnTo>
                    <a:lnTo>
                      <a:pt x="38" y="2"/>
                    </a:lnTo>
                    <a:lnTo>
                      <a:pt x="36" y="9"/>
                    </a:lnTo>
                    <a:lnTo>
                      <a:pt x="28" y="11"/>
                    </a:lnTo>
                    <a:lnTo>
                      <a:pt x="28" y="11"/>
                    </a:lnTo>
                    <a:lnTo>
                      <a:pt x="28" y="11"/>
                    </a:lnTo>
                    <a:lnTo>
                      <a:pt x="28" y="11"/>
                    </a:lnTo>
                    <a:lnTo>
                      <a:pt x="28"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31" name="Freeform 94">
                <a:extLst>
                  <a:ext uri="{FF2B5EF4-FFF2-40B4-BE49-F238E27FC236}">
                    <a16:creationId xmlns:a16="http://schemas.microsoft.com/office/drawing/2014/main" id="{4C173217-F5E6-413A-AF20-EC676353DCF7}"/>
                  </a:ext>
                </a:extLst>
              </p:cNvPr>
              <p:cNvSpPr>
                <a:spLocks/>
              </p:cNvSpPr>
              <p:nvPr/>
            </p:nvSpPr>
            <p:spPr bwMode="gray">
              <a:xfrm>
                <a:off x="12487275" y="1238250"/>
                <a:ext cx="15875" cy="11113"/>
              </a:xfrm>
              <a:custGeom>
                <a:avLst/>
                <a:gdLst>
                  <a:gd name="T0" fmla="*/ 3 w 10"/>
                  <a:gd name="T1" fmla="*/ 7 h 7"/>
                  <a:gd name="T2" fmla="*/ 0 w 10"/>
                  <a:gd name="T3" fmla="*/ 7 h 7"/>
                  <a:gd name="T4" fmla="*/ 3 w 10"/>
                  <a:gd name="T5" fmla="*/ 0 h 7"/>
                  <a:gd name="T6" fmla="*/ 10 w 10"/>
                  <a:gd name="T7" fmla="*/ 2 h 7"/>
                  <a:gd name="T8" fmla="*/ 3 w 10"/>
                  <a:gd name="T9" fmla="*/ 7 h 7"/>
                  <a:gd name="T10" fmla="*/ 3 w 10"/>
                  <a:gd name="T11" fmla="*/ 7 h 7"/>
                  <a:gd name="T12" fmla="*/ 3 w 10"/>
                  <a:gd name="T13" fmla="*/ 7 h 7"/>
                  <a:gd name="T14" fmla="*/ 3 w 10"/>
                  <a:gd name="T15" fmla="*/ 7 h 7"/>
                  <a:gd name="T16" fmla="*/ 3 w 10"/>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7">
                    <a:moveTo>
                      <a:pt x="3" y="7"/>
                    </a:moveTo>
                    <a:lnTo>
                      <a:pt x="0" y="7"/>
                    </a:lnTo>
                    <a:lnTo>
                      <a:pt x="3" y="0"/>
                    </a:lnTo>
                    <a:lnTo>
                      <a:pt x="10" y="2"/>
                    </a:lnTo>
                    <a:lnTo>
                      <a:pt x="3" y="7"/>
                    </a:lnTo>
                    <a:lnTo>
                      <a:pt x="3" y="7"/>
                    </a:lnTo>
                    <a:lnTo>
                      <a:pt x="3" y="7"/>
                    </a:lnTo>
                    <a:lnTo>
                      <a:pt x="3" y="7"/>
                    </a:lnTo>
                    <a:lnTo>
                      <a:pt x="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32" name="Freeform 95">
                <a:extLst>
                  <a:ext uri="{FF2B5EF4-FFF2-40B4-BE49-F238E27FC236}">
                    <a16:creationId xmlns:a16="http://schemas.microsoft.com/office/drawing/2014/main" id="{154D7458-67EA-4C04-AD05-E27A4F789478}"/>
                  </a:ext>
                </a:extLst>
              </p:cNvPr>
              <p:cNvSpPr>
                <a:spLocks/>
              </p:cNvSpPr>
              <p:nvPr/>
            </p:nvSpPr>
            <p:spPr bwMode="gray">
              <a:xfrm>
                <a:off x="12420600" y="1252538"/>
                <a:ext cx="52388" cy="11113"/>
              </a:xfrm>
              <a:custGeom>
                <a:avLst/>
                <a:gdLst>
                  <a:gd name="T0" fmla="*/ 16 w 33"/>
                  <a:gd name="T1" fmla="*/ 7 h 7"/>
                  <a:gd name="T2" fmla="*/ 0 w 33"/>
                  <a:gd name="T3" fmla="*/ 0 h 7"/>
                  <a:gd name="T4" fmla="*/ 33 w 33"/>
                  <a:gd name="T5" fmla="*/ 2 h 7"/>
                  <a:gd name="T6" fmla="*/ 16 w 33"/>
                  <a:gd name="T7" fmla="*/ 7 h 7"/>
                  <a:gd name="T8" fmla="*/ 16 w 33"/>
                  <a:gd name="T9" fmla="*/ 7 h 7"/>
                  <a:gd name="T10" fmla="*/ 16 w 33"/>
                  <a:gd name="T11" fmla="*/ 7 h 7"/>
                  <a:gd name="T12" fmla="*/ 16 w 33"/>
                  <a:gd name="T13" fmla="*/ 7 h 7"/>
                  <a:gd name="T14" fmla="*/ 16 w 33"/>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7">
                    <a:moveTo>
                      <a:pt x="16" y="7"/>
                    </a:moveTo>
                    <a:lnTo>
                      <a:pt x="0" y="0"/>
                    </a:lnTo>
                    <a:lnTo>
                      <a:pt x="33" y="2"/>
                    </a:lnTo>
                    <a:lnTo>
                      <a:pt x="16" y="7"/>
                    </a:lnTo>
                    <a:lnTo>
                      <a:pt x="16" y="7"/>
                    </a:lnTo>
                    <a:lnTo>
                      <a:pt x="16" y="7"/>
                    </a:lnTo>
                    <a:lnTo>
                      <a:pt x="16" y="7"/>
                    </a:lnTo>
                    <a:lnTo>
                      <a:pt x="16"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33" name="Freeform 96">
                <a:extLst>
                  <a:ext uri="{FF2B5EF4-FFF2-40B4-BE49-F238E27FC236}">
                    <a16:creationId xmlns:a16="http://schemas.microsoft.com/office/drawing/2014/main" id="{37D17304-D6B1-4B48-A55C-FE8E0004B7A1}"/>
                  </a:ext>
                </a:extLst>
              </p:cNvPr>
              <p:cNvSpPr>
                <a:spLocks/>
              </p:cNvSpPr>
              <p:nvPr/>
            </p:nvSpPr>
            <p:spPr bwMode="gray">
              <a:xfrm>
                <a:off x="12323763" y="1255713"/>
                <a:ext cx="3175" cy="7938"/>
              </a:xfrm>
              <a:custGeom>
                <a:avLst/>
                <a:gdLst>
                  <a:gd name="T0" fmla="*/ 2 w 2"/>
                  <a:gd name="T1" fmla="*/ 5 h 5"/>
                  <a:gd name="T2" fmla="*/ 0 w 2"/>
                  <a:gd name="T3" fmla="*/ 5 h 5"/>
                  <a:gd name="T4" fmla="*/ 2 w 2"/>
                  <a:gd name="T5" fmla="*/ 0 h 5"/>
                  <a:gd name="T6" fmla="*/ 2 w 2"/>
                  <a:gd name="T7" fmla="*/ 0 h 5"/>
                  <a:gd name="T8" fmla="*/ 2 w 2"/>
                  <a:gd name="T9" fmla="*/ 5 h 5"/>
                  <a:gd name="T10" fmla="*/ 2 w 2"/>
                  <a:gd name="T11" fmla="*/ 5 h 5"/>
                  <a:gd name="T12" fmla="*/ 2 w 2"/>
                  <a:gd name="T13" fmla="*/ 5 h 5"/>
                  <a:gd name="T14" fmla="*/ 2 w 2"/>
                  <a:gd name="T15" fmla="*/ 5 h 5"/>
                  <a:gd name="T16" fmla="*/ 2 w 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2" y="5"/>
                    </a:moveTo>
                    <a:lnTo>
                      <a:pt x="0" y="5"/>
                    </a:lnTo>
                    <a:lnTo>
                      <a:pt x="2" y="0"/>
                    </a:lnTo>
                    <a:lnTo>
                      <a:pt x="2" y="0"/>
                    </a:lnTo>
                    <a:lnTo>
                      <a:pt x="2" y="5"/>
                    </a:lnTo>
                    <a:lnTo>
                      <a:pt x="2" y="5"/>
                    </a:lnTo>
                    <a:lnTo>
                      <a:pt x="2" y="5"/>
                    </a:lnTo>
                    <a:lnTo>
                      <a:pt x="2"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34" name="Freeform 97">
                <a:extLst>
                  <a:ext uri="{FF2B5EF4-FFF2-40B4-BE49-F238E27FC236}">
                    <a16:creationId xmlns:a16="http://schemas.microsoft.com/office/drawing/2014/main" id="{68014A36-579A-4AE1-B78E-6E48327C3407}"/>
                  </a:ext>
                </a:extLst>
              </p:cNvPr>
              <p:cNvSpPr>
                <a:spLocks/>
              </p:cNvSpPr>
              <p:nvPr/>
            </p:nvSpPr>
            <p:spPr bwMode="gray">
              <a:xfrm>
                <a:off x="12326938" y="1263650"/>
                <a:ext cx="11113" cy="0"/>
              </a:xfrm>
              <a:custGeom>
                <a:avLst/>
                <a:gdLst>
                  <a:gd name="T0" fmla="*/ 5 w 7"/>
                  <a:gd name="T1" fmla="*/ 0 w 7"/>
                  <a:gd name="T2" fmla="*/ 7 w 7"/>
                  <a:gd name="T3" fmla="*/ 5 w 7"/>
                  <a:gd name="T4" fmla="*/ 5 w 7"/>
                  <a:gd name="T5" fmla="*/ 5 w 7"/>
                  <a:gd name="T6" fmla="*/ 5 w 7"/>
                  <a:gd name="T7" fmla="*/ 5 w 7"/>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7">
                    <a:moveTo>
                      <a:pt x="5" y="0"/>
                    </a:moveTo>
                    <a:lnTo>
                      <a:pt x="0" y="0"/>
                    </a:lnTo>
                    <a:lnTo>
                      <a:pt x="7" y="0"/>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35" name="Freeform 98">
                <a:extLst>
                  <a:ext uri="{FF2B5EF4-FFF2-40B4-BE49-F238E27FC236}">
                    <a16:creationId xmlns:a16="http://schemas.microsoft.com/office/drawing/2014/main" id="{60E3A80A-964B-46B7-9A25-A7FBDC774C97}"/>
                  </a:ext>
                </a:extLst>
              </p:cNvPr>
              <p:cNvSpPr>
                <a:spLocks/>
              </p:cNvSpPr>
              <p:nvPr/>
            </p:nvSpPr>
            <p:spPr bwMode="gray">
              <a:xfrm>
                <a:off x="12285663" y="1263650"/>
                <a:ext cx="25400" cy="26988"/>
              </a:xfrm>
              <a:custGeom>
                <a:avLst/>
                <a:gdLst>
                  <a:gd name="T0" fmla="*/ 0 w 16"/>
                  <a:gd name="T1" fmla="*/ 17 h 17"/>
                  <a:gd name="T2" fmla="*/ 0 w 16"/>
                  <a:gd name="T3" fmla="*/ 14 h 17"/>
                  <a:gd name="T4" fmla="*/ 5 w 16"/>
                  <a:gd name="T5" fmla="*/ 7 h 17"/>
                  <a:gd name="T6" fmla="*/ 5 w 16"/>
                  <a:gd name="T7" fmla="*/ 2 h 17"/>
                  <a:gd name="T8" fmla="*/ 12 w 16"/>
                  <a:gd name="T9" fmla="*/ 0 h 17"/>
                  <a:gd name="T10" fmla="*/ 9 w 16"/>
                  <a:gd name="T11" fmla="*/ 7 h 17"/>
                  <a:gd name="T12" fmla="*/ 16 w 16"/>
                  <a:gd name="T13" fmla="*/ 7 h 17"/>
                  <a:gd name="T14" fmla="*/ 16 w 16"/>
                  <a:gd name="T15" fmla="*/ 9 h 17"/>
                  <a:gd name="T16" fmla="*/ 0 w 16"/>
                  <a:gd name="T17" fmla="*/ 17 h 17"/>
                  <a:gd name="T18" fmla="*/ 0 w 16"/>
                  <a:gd name="T19" fmla="*/ 17 h 17"/>
                  <a:gd name="T20" fmla="*/ 0 w 16"/>
                  <a:gd name="T21" fmla="*/ 17 h 17"/>
                  <a:gd name="T22" fmla="*/ 0 w 16"/>
                  <a:gd name="T23" fmla="*/ 17 h 17"/>
                  <a:gd name="T24" fmla="*/ 0 w 16"/>
                  <a:gd name="T25"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7">
                    <a:moveTo>
                      <a:pt x="0" y="17"/>
                    </a:moveTo>
                    <a:lnTo>
                      <a:pt x="0" y="14"/>
                    </a:lnTo>
                    <a:lnTo>
                      <a:pt x="5" y="7"/>
                    </a:lnTo>
                    <a:lnTo>
                      <a:pt x="5" y="2"/>
                    </a:lnTo>
                    <a:lnTo>
                      <a:pt x="12" y="0"/>
                    </a:lnTo>
                    <a:lnTo>
                      <a:pt x="9" y="7"/>
                    </a:lnTo>
                    <a:lnTo>
                      <a:pt x="16" y="7"/>
                    </a:lnTo>
                    <a:lnTo>
                      <a:pt x="16" y="9"/>
                    </a:lnTo>
                    <a:lnTo>
                      <a:pt x="0" y="17"/>
                    </a:lnTo>
                    <a:lnTo>
                      <a:pt x="0" y="17"/>
                    </a:lnTo>
                    <a:lnTo>
                      <a:pt x="0" y="17"/>
                    </a:lnTo>
                    <a:lnTo>
                      <a:pt x="0" y="17"/>
                    </a:lnTo>
                    <a:lnTo>
                      <a:pt x="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36" name="Freeform 99">
                <a:extLst>
                  <a:ext uri="{FF2B5EF4-FFF2-40B4-BE49-F238E27FC236}">
                    <a16:creationId xmlns:a16="http://schemas.microsoft.com/office/drawing/2014/main" id="{CBBB834B-2104-42CB-AB47-A3CCF570993C}"/>
                  </a:ext>
                </a:extLst>
              </p:cNvPr>
              <p:cNvSpPr>
                <a:spLocks/>
              </p:cNvSpPr>
              <p:nvPr/>
            </p:nvSpPr>
            <p:spPr bwMode="gray">
              <a:xfrm>
                <a:off x="12252325" y="1266825"/>
                <a:ext cx="25400" cy="19050"/>
              </a:xfrm>
              <a:custGeom>
                <a:avLst/>
                <a:gdLst>
                  <a:gd name="T0" fmla="*/ 0 w 16"/>
                  <a:gd name="T1" fmla="*/ 12 h 12"/>
                  <a:gd name="T2" fmla="*/ 0 w 16"/>
                  <a:gd name="T3" fmla="*/ 12 h 12"/>
                  <a:gd name="T4" fmla="*/ 14 w 16"/>
                  <a:gd name="T5" fmla="*/ 5 h 12"/>
                  <a:gd name="T6" fmla="*/ 14 w 16"/>
                  <a:gd name="T7" fmla="*/ 0 h 12"/>
                  <a:gd name="T8" fmla="*/ 16 w 16"/>
                  <a:gd name="T9" fmla="*/ 0 h 12"/>
                  <a:gd name="T10" fmla="*/ 14 w 16"/>
                  <a:gd name="T11" fmla="*/ 12 h 12"/>
                  <a:gd name="T12" fmla="*/ 0 w 16"/>
                  <a:gd name="T13" fmla="*/ 12 h 12"/>
                  <a:gd name="T14" fmla="*/ 0 w 16"/>
                  <a:gd name="T15" fmla="*/ 12 h 12"/>
                  <a:gd name="T16" fmla="*/ 0 w 16"/>
                  <a:gd name="T17" fmla="*/ 12 h 12"/>
                  <a:gd name="T18" fmla="*/ 0 w 16"/>
                  <a:gd name="T19" fmla="*/ 12 h 12"/>
                  <a:gd name="T20" fmla="*/ 0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0" y="12"/>
                    </a:moveTo>
                    <a:lnTo>
                      <a:pt x="0" y="12"/>
                    </a:lnTo>
                    <a:lnTo>
                      <a:pt x="14" y="5"/>
                    </a:lnTo>
                    <a:lnTo>
                      <a:pt x="14" y="0"/>
                    </a:lnTo>
                    <a:lnTo>
                      <a:pt x="16" y="0"/>
                    </a:lnTo>
                    <a:lnTo>
                      <a:pt x="14" y="12"/>
                    </a:lnTo>
                    <a:lnTo>
                      <a:pt x="0" y="12"/>
                    </a:lnTo>
                    <a:lnTo>
                      <a:pt x="0" y="12"/>
                    </a:lnTo>
                    <a:lnTo>
                      <a:pt x="0" y="12"/>
                    </a:lnTo>
                    <a:lnTo>
                      <a:pt x="0" y="12"/>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37" name="Freeform 100">
                <a:extLst>
                  <a:ext uri="{FF2B5EF4-FFF2-40B4-BE49-F238E27FC236}">
                    <a16:creationId xmlns:a16="http://schemas.microsoft.com/office/drawing/2014/main" id="{3C26325E-FCE2-4817-92FB-E9FBF95B081B}"/>
                  </a:ext>
                </a:extLst>
              </p:cNvPr>
              <p:cNvSpPr>
                <a:spLocks/>
              </p:cNvSpPr>
              <p:nvPr/>
            </p:nvSpPr>
            <p:spPr bwMode="gray">
              <a:xfrm>
                <a:off x="12230100" y="1266825"/>
                <a:ext cx="11113" cy="23813"/>
              </a:xfrm>
              <a:custGeom>
                <a:avLst/>
                <a:gdLst>
                  <a:gd name="T0" fmla="*/ 7 w 7"/>
                  <a:gd name="T1" fmla="*/ 15 h 15"/>
                  <a:gd name="T2" fmla="*/ 2 w 7"/>
                  <a:gd name="T3" fmla="*/ 12 h 15"/>
                  <a:gd name="T4" fmla="*/ 7 w 7"/>
                  <a:gd name="T5" fmla="*/ 7 h 15"/>
                  <a:gd name="T6" fmla="*/ 0 w 7"/>
                  <a:gd name="T7" fmla="*/ 0 h 15"/>
                  <a:gd name="T8" fmla="*/ 7 w 7"/>
                  <a:gd name="T9" fmla="*/ 0 h 15"/>
                  <a:gd name="T10" fmla="*/ 7 w 7"/>
                  <a:gd name="T11" fmla="*/ 5 h 15"/>
                  <a:gd name="T12" fmla="*/ 7 w 7"/>
                  <a:gd name="T13" fmla="*/ 15 h 15"/>
                  <a:gd name="T14" fmla="*/ 7 w 7"/>
                  <a:gd name="T15" fmla="*/ 15 h 15"/>
                  <a:gd name="T16" fmla="*/ 7 w 7"/>
                  <a:gd name="T17" fmla="*/ 15 h 15"/>
                  <a:gd name="T18" fmla="*/ 7 w 7"/>
                  <a:gd name="T19" fmla="*/ 15 h 15"/>
                  <a:gd name="T20" fmla="*/ 7 w 7"/>
                  <a:gd name="T2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5">
                    <a:moveTo>
                      <a:pt x="7" y="15"/>
                    </a:moveTo>
                    <a:lnTo>
                      <a:pt x="2" y="12"/>
                    </a:lnTo>
                    <a:lnTo>
                      <a:pt x="7" y="7"/>
                    </a:lnTo>
                    <a:lnTo>
                      <a:pt x="0" y="0"/>
                    </a:lnTo>
                    <a:lnTo>
                      <a:pt x="7" y="0"/>
                    </a:lnTo>
                    <a:lnTo>
                      <a:pt x="7" y="5"/>
                    </a:lnTo>
                    <a:lnTo>
                      <a:pt x="7" y="15"/>
                    </a:lnTo>
                    <a:lnTo>
                      <a:pt x="7" y="15"/>
                    </a:lnTo>
                    <a:lnTo>
                      <a:pt x="7" y="15"/>
                    </a:lnTo>
                    <a:lnTo>
                      <a:pt x="7" y="15"/>
                    </a:lnTo>
                    <a:lnTo>
                      <a:pt x="7"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38" name="Freeform 101">
                <a:extLst>
                  <a:ext uri="{FF2B5EF4-FFF2-40B4-BE49-F238E27FC236}">
                    <a16:creationId xmlns:a16="http://schemas.microsoft.com/office/drawing/2014/main" id="{58DD84A0-BAA2-4C1D-A788-FB52BF7A473D}"/>
                  </a:ext>
                </a:extLst>
              </p:cNvPr>
              <p:cNvSpPr>
                <a:spLocks/>
              </p:cNvSpPr>
              <p:nvPr/>
            </p:nvSpPr>
            <p:spPr bwMode="gray">
              <a:xfrm>
                <a:off x="12323763" y="1266825"/>
                <a:ext cx="3175" cy="11113"/>
              </a:xfrm>
              <a:custGeom>
                <a:avLst/>
                <a:gdLst>
                  <a:gd name="T0" fmla="*/ 2 w 2"/>
                  <a:gd name="T1" fmla="*/ 7 h 7"/>
                  <a:gd name="T2" fmla="*/ 0 w 2"/>
                  <a:gd name="T3" fmla="*/ 0 h 7"/>
                  <a:gd name="T4" fmla="*/ 2 w 2"/>
                  <a:gd name="T5" fmla="*/ 5 h 7"/>
                  <a:gd name="T6" fmla="*/ 2 w 2"/>
                  <a:gd name="T7" fmla="*/ 7 h 7"/>
                  <a:gd name="T8" fmla="*/ 2 w 2"/>
                  <a:gd name="T9" fmla="*/ 7 h 7"/>
                  <a:gd name="T10" fmla="*/ 2 w 2"/>
                  <a:gd name="T11" fmla="*/ 7 h 7"/>
                  <a:gd name="T12" fmla="*/ 2 w 2"/>
                  <a:gd name="T13" fmla="*/ 7 h 7"/>
                  <a:gd name="T14" fmla="*/ 2 w 2"/>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7">
                    <a:moveTo>
                      <a:pt x="2" y="7"/>
                    </a:moveTo>
                    <a:lnTo>
                      <a:pt x="0" y="0"/>
                    </a:lnTo>
                    <a:lnTo>
                      <a:pt x="2" y="5"/>
                    </a:lnTo>
                    <a:lnTo>
                      <a:pt x="2" y="7"/>
                    </a:lnTo>
                    <a:lnTo>
                      <a:pt x="2" y="7"/>
                    </a:lnTo>
                    <a:lnTo>
                      <a:pt x="2" y="7"/>
                    </a:lnTo>
                    <a:lnTo>
                      <a:pt x="2" y="7"/>
                    </a:ln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39" name="Freeform 102">
                <a:extLst>
                  <a:ext uri="{FF2B5EF4-FFF2-40B4-BE49-F238E27FC236}">
                    <a16:creationId xmlns:a16="http://schemas.microsoft.com/office/drawing/2014/main" id="{D9D862BA-8620-48CF-98AD-2AC4DEF2DE53}"/>
                  </a:ext>
                </a:extLst>
              </p:cNvPr>
              <p:cNvSpPr>
                <a:spLocks/>
              </p:cNvSpPr>
              <p:nvPr/>
            </p:nvSpPr>
            <p:spPr bwMode="gray">
              <a:xfrm>
                <a:off x="12311063" y="1274763"/>
                <a:ext cx="4763" cy="3175"/>
              </a:xfrm>
              <a:custGeom>
                <a:avLst/>
                <a:gdLst>
                  <a:gd name="T0" fmla="*/ 3 w 3"/>
                  <a:gd name="T1" fmla="*/ 2 h 2"/>
                  <a:gd name="T2" fmla="*/ 0 w 3"/>
                  <a:gd name="T3" fmla="*/ 0 h 2"/>
                  <a:gd name="T4" fmla="*/ 3 w 3"/>
                  <a:gd name="T5" fmla="*/ 0 h 2"/>
                  <a:gd name="T6" fmla="*/ 3 w 3"/>
                  <a:gd name="T7" fmla="*/ 2 h 2"/>
                  <a:gd name="T8" fmla="*/ 3 w 3"/>
                  <a:gd name="T9" fmla="*/ 2 h 2"/>
                  <a:gd name="T10" fmla="*/ 3 w 3"/>
                  <a:gd name="T11" fmla="*/ 2 h 2"/>
                  <a:gd name="T12" fmla="*/ 3 w 3"/>
                  <a:gd name="T13" fmla="*/ 2 h 2"/>
                  <a:gd name="T14" fmla="*/ 3 w 3"/>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3" y="2"/>
                    </a:moveTo>
                    <a:lnTo>
                      <a:pt x="0" y="0"/>
                    </a:lnTo>
                    <a:lnTo>
                      <a:pt x="3" y="0"/>
                    </a:lnTo>
                    <a:lnTo>
                      <a:pt x="3" y="2"/>
                    </a:lnTo>
                    <a:lnTo>
                      <a:pt x="3" y="2"/>
                    </a:lnTo>
                    <a:lnTo>
                      <a:pt x="3" y="2"/>
                    </a:lnTo>
                    <a:lnTo>
                      <a:pt x="3" y="2"/>
                    </a:lnTo>
                    <a:lnTo>
                      <a:pt x="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40" name="Freeform 103">
                <a:extLst>
                  <a:ext uri="{FF2B5EF4-FFF2-40B4-BE49-F238E27FC236}">
                    <a16:creationId xmlns:a16="http://schemas.microsoft.com/office/drawing/2014/main" id="{B274694C-415A-408B-949A-4D0CB04AE373}"/>
                  </a:ext>
                </a:extLst>
              </p:cNvPr>
              <p:cNvSpPr>
                <a:spLocks/>
              </p:cNvSpPr>
              <p:nvPr/>
            </p:nvSpPr>
            <p:spPr bwMode="gray">
              <a:xfrm>
                <a:off x="12199938" y="1274763"/>
                <a:ext cx="3175" cy="3175"/>
              </a:xfrm>
              <a:custGeom>
                <a:avLst/>
                <a:gdLst>
                  <a:gd name="T0" fmla="*/ 2 w 2"/>
                  <a:gd name="T1" fmla="*/ 2 h 2"/>
                  <a:gd name="T2" fmla="*/ 0 w 2"/>
                  <a:gd name="T3" fmla="*/ 0 h 2"/>
                  <a:gd name="T4" fmla="*/ 2 w 2"/>
                  <a:gd name="T5" fmla="*/ 2 h 2"/>
                  <a:gd name="T6" fmla="*/ 2 w 2"/>
                  <a:gd name="T7" fmla="*/ 2 h 2"/>
                  <a:gd name="T8" fmla="*/ 2 w 2"/>
                  <a:gd name="T9" fmla="*/ 2 h 2"/>
                  <a:gd name="T10" fmla="*/ 2 w 2"/>
                  <a:gd name="T11" fmla="*/ 2 h 2"/>
                  <a:gd name="T12" fmla="*/ 2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2"/>
                    </a:moveTo>
                    <a:lnTo>
                      <a:pt x="0" y="0"/>
                    </a:lnTo>
                    <a:lnTo>
                      <a:pt x="2" y="2"/>
                    </a:lnTo>
                    <a:lnTo>
                      <a:pt x="2" y="2"/>
                    </a:lnTo>
                    <a:lnTo>
                      <a:pt x="2" y="2"/>
                    </a:lnTo>
                    <a:lnTo>
                      <a:pt x="2" y="2"/>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41" name="Freeform 104">
                <a:extLst>
                  <a:ext uri="{FF2B5EF4-FFF2-40B4-BE49-F238E27FC236}">
                    <a16:creationId xmlns:a16="http://schemas.microsoft.com/office/drawing/2014/main" id="{E48ED2F2-73C8-4789-BEB3-E252A25E2BE5}"/>
                  </a:ext>
                </a:extLst>
              </p:cNvPr>
              <p:cNvSpPr>
                <a:spLocks/>
              </p:cNvSpPr>
              <p:nvPr/>
            </p:nvSpPr>
            <p:spPr bwMode="gray">
              <a:xfrm>
                <a:off x="12192000" y="1301750"/>
                <a:ext cx="7938" cy="3175"/>
              </a:xfrm>
              <a:custGeom>
                <a:avLst/>
                <a:gdLst>
                  <a:gd name="T0" fmla="*/ 0 w 5"/>
                  <a:gd name="T1" fmla="*/ 2 h 2"/>
                  <a:gd name="T2" fmla="*/ 0 w 5"/>
                  <a:gd name="T3" fmla="*/ 0 h 2"/>
                  <a:gd name="T4" fmla="*/ 5 w 5"/>
                  <a:gd name="T5" fmla="*/ 2 h 2"/>
                  <a:gd name="T6" fmla="*/ 0 w 5"/>
                  <a:gd name="T7" fmla="*/ 2 h 2"/>
                  <a:gd name="T8" fmla="*/ 0 w 5"/>
                  <a:gd name="T9" fmla="*/ 2 h 2"/>
                  <a:gd name="T10" fmla="*/ 0 w 5"/>
                  <a:gd name="T11" fmla="*/ 2 h 2"/>
                  <a:gd name="T12" fmla="*/ 0 w 5"/>
                  <a:gd name="T13" fmla="*/ 2 h 2"/>
                  <a:gd name="T14" fmla="*/ 0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0" y="2"/>
                    </a:moveTo>
                    <a:lnTo>
                      <a:pt x="0" y="0"/>
                    </a:lnTo>
                    <a:lnTo>
                      <a:pt x="5" y="2"/>
                    </a:lnTo>
                    <a:lnTo>
                      <a:pt x="0" y="2"/>
                    </a:lnTo>
                    <a:lnTo>
                      <a:pt x="0" y="2"/>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42" name="Freeform 105">
                <a:extLst>
                  <a:ext uri="{FF2B5EF4-FFF2-40B4-BE49-F238E27FC236}">
                    <a16:creationId xmlns:a16="http://schemas.microsoft.com/office/drawing/2014/main" id="{E0CDC992-DD5A-4C5F-A0F1-330DBF1D24D8}"/>
                  </a:ext>
                </a:extLst>
              </p:cNvPr>
              <p:cNvSpPr>
                <a:spLocks/>
              </p:cNvSpPr>
              <p:nvPr/>
            </p:nvSpPr>
            <p:spPr bwMode="gray">
              <a:xfrm>
                <a:off x="14693900" y="1425575"/>
                <a:ext cx="2670175" cy="1328738"/>
              </a:xfrm>
              <a:custGeom>
                <a:avLst/>
                <a:gdLst>
                  <a:gd name="T0" fmla="*/ 941 w 1682"/>
                  <a:gd name="T1" fmla="*/ 40 h 837"/>
                  <a:gd name="T2" fmla="*/ 1059 w 1682"/>
                  <a:gd name="T3" fmla="*/ 42 h 837"/>
                  <a:gd name="T4" fmla="*/ 1239 w 1682"/>
                  <a:gd name="T5" fmla="*/ 214 h 837"/>
                  <a:gd name="T6" fmla="*/ 1336 w 1682"/>
                  <a:gd name="T7" fmla="*/ 243 h 837"/>
                  <a:gd name="T8" fmla="*/ 1560 w 1682"/>
                  <a:gd name="T9" fmla="*/ 158 h 837"/>
                  <a:gd name="T10" fmla="*/ 1619 w 1682"/>
                  <a:gd name="T11" fmla="*/ 82 h 837"/>
                  <a:gd name="T12" fmla="*/ 1675 w 1682"/>
                  <a:gd name="T13" fmla="*/ 169 h 837"/>
                  <a:gd name="T14" fmla="*/ 1633 w 1682"/>
                  <a:gd name="T15" fmla="*/ 188 h 837"/>
                  <a:gd name="T16" fmla="*/ 1602 w 1682"/>
                  <a:gd name="T17" fmla="*/ 210 h 837"/>
                  <a:gd name="T18" fmla="*/ 1567 w 1682"/>
                  <a:gd name="T19" fmla="*/ 250 h 837"/>
                  <a:gd name="T20" fmla="*/ 1586 w 1682"/>
                  <a:gd name="T21" fmla="*/ 271 h 837"/>
                  <a:gd name="T22" fmla="*/ 1557 w 1682"/>
                  <a:gd name="T23" fmla="*/ 287 h 837"/>
                  <a:gd name="T24" fmla="*/ 1477 w 1682"/>
                  <a:gd name="T25" fmla="*/ 335 h 837"/>
                  <a:gd name="T26" fmla="*/ 1435 w 1682"/>
                  <a:gd name="T27" fmla="*/ 365 h 837"/>
                  <a:gd name="T28" fmla="*/ 1430 w 1682"/>
                  <a:gd name="T29" fmla="*/ 431 h 837"/>
                  <a:gd name="T30" fmla="*/ 1416 w 1682"/>
                  <a:gd name="T31" fmla="*/ 396 h 837"/>
                  <a:gd name="T32" fmla="*/ 1409 w 1682"/>
                  <a:gd name="T33" fmla="*/ 380 h 837"/>
                  <a:gd name="T34" fmla="*/ 1411 w 1682"/>
                  <a:gd name="T35" fmla="*/ 363 h 837"/>
                  <a:gd name="T36" fmla="*/ 1409 w 1682"/>
                  <a:gd name="T37" fmla="*/ 405 h 837"/>
                  <a:gd name="T38" fmla="*/ 1380 w 1682"/>
                  <a:gd name="T39" fmla="*/ 403 h 837"/>
                  <a:gd name="T40" fmla="*/ 1409 w 1682"/>
                  <a:gd name="T41" fmla="*/ 434 h 837"/>
                  <a:gd name="T42" fmla="*/ 1418 w 1682"/>
                  <a:gd name="T43" fmla="*/ 450 h 837"/>
                  <a:gd name="T44" fmla="*/ 1418 w 1682"/>
                  <a:gd name="T45" fmla="*/ 479 h 837"/>
                  <a:gd name="T46" fmla="*/ 1416 w 1682"/>
                  <a:gd name="T47" fmla="*/ 495 h 837"/>
                  <a:gd name="T48" fmla="*/ 1390 w 1682"/>
                  <a:gd name="T49" fmla="*/ 498 h 837"/>
                  <a:gd name="T50" fmla="*/ 1411 w 1682"/>
                  <a:gd name="T51" fmla="*/ 516 h 837"/>
                  <a:gd name="T52" fmla="*/ 1361 w 1682"/>
                  <a:gd name="T53" fmla="*/ 547 h 837"/>
                  <a:gd name="T54" fmla="*/ 1305 w 1682"/>
                  <a:gd name="T55" fmla="*/ 592 h 837"/>
                  <a:gd name="T56" fmla="*/ 1284 w 1682"/>
                  <a:gd name="T57" fmla="*/ 608 h 837"/>
                  <a:gd name="T58" fmla="*/ 1258 w 1682"/>
                  <a:gd name="T59" fmla="*/ 656 h 837"/>
                  <a:gd name="T60" fmla="*/ 1281 w 1682"/>
                  <a:gd name="T61" fmla="*/ 734 h 837"/>
                  <a:gd name="T62" fmla="*/ 1265 w 1682"/>
                  <a:gd name="T63" fmla="*/ 819 h 837"/>
                  <a:gd name="T64" fmla="*/ 1227 w 1682"/>
                  <a:gd name="T65" fmla="*/ 769 h 837"/>
                  <a:gd name="T66" fmla="*/ 1215 w 1682"/>
                  <a:gd name="T67" fmla="*/ 708 h 837"/>
                  <a:gd name="T68" fmla="*/ 1147 w 1682"/>
                  <a:gd name="T69" fmla="*/ 686 h 837"/>
                  <a:gd name="T70" fmla="*/ 1092 w 1682"/>
                  <a:gd name="T71" fmla="*/ 670 h 837"/>
                  <a:gd name="T72" fmla="*/ 1074 w 1682"/>
                  <a:gd name="T73" fmla="*/ 663 h 837"/>
                  <a:gd name="T74" fmla="*/ 1022 w 1682"/>
                  <a:gd name="T75" fmla="*/ 677 h 837"/>
                  <a:gd name="T76" fmla="*/ 1029 w 1682"/>
                  <a:gd name="T77" fmla="*/ 717 h 837"/>
                  <a:gd name="T78" fmla="*/ 1005 w 1682"/>
                  <a:gd name="T79" fmla="*/ 708 h 837"/>
                  <a:gd name="T80" fmla="*/ 949 w 1682"/>
                  <a:gd name="T81" fmla="*/ 691 h 837"/>
                  <a:gd name="T82" fmla="*/ 871 w 1682"/>
                  <a:gd name="T83" fmla="*/ 703 h 837"/>
                  <a:gd name="T84" fmla="*/ 826 w 1682"/>
                  <a:gd name="T85" fmla="*/ 724 h 837"/>
                  <a:gd name="T86" fmla="*/ 802 w 1682"/>
                  <a:gd name="T87" fmla="*/ 745 h 837"/>
                  <a:gd name="T88" fmla="*/ 802 w 1682"/>
                  <a:gd name="T89" fmla="*/ 814 h 837"/>
                  <a:gd name="T90" fmla="*/ 724 w 1682"/>
                  <a:gd name="T91" fmla="*/ 757 h 837"/>
                  <a:gd name="T92" fmla="*/ 623 w 1682"/>
                  <a:gd name="T93" fmla="*/ 715 h 837"/>
                  <a:gd name="T94" fmla="*/ 290 w 1682"/>
                  <a:gd name="T95" fmla="*/ 599 h 837"/>
                  <a:gd name="T96" fmla="*/ 165 w 1682"/>
                  <a:gd name="T97" fmla="*/ 547 h 837"/>
                  <a:gd name="T98" fmla="*/ 83 w 1682"/>
                  <a:gd name="T99" fmla="*/ 448 h 837"/>
                  <a:gd name="T100" fmla="*/ 90 w 1682"/>
                  <a:gd name="T101" fmla="*/ 417 h 837"/>
                  <a:gd name="T102" fmla="*/ 57 w 1682"/>
                  <a:gd name="T103" fmla="*/ 413 h 837"/>
                  <a:gd name="T104" fmla="*/ 21 w 1682"/>
                  <a:gd name="T105" fmla="*/ 295 h 837"/>
                  <a:gd name="T106" fmla="*/ 21 w 1682"/>
                  <a:gd name="T107" fmla="*/ 169 h 837"/>
                  <a:gd name="T108" fmla="*/ 28 w 1682"/>
                  <a:gd name="T109" fmla="*/ 106 h 837"/>
                  <a:gd name="T110" fmla="*/ 24 w 1682"/>
                  <a:gd name="T111" fmla="*/ 44 h 837"/>
                  <a:gd name="T112" fmla="*/ 50 w 1682"/>
                  <a:gd name="T113" fmla="*/ 75 h 837"/>
                  <a:gd name="T114" fmla="*/ 59 w 1682"/>
                  <a:gd name="T115" fmla="*/ 85 h 837"/>
                  <a:gd name="T116" fmla="*/ 69 w 1682"/>
                  <a:gd name="T117" fmla="*/ 49 h 837"/>
                  <a:gd name="T118" fmla="*/ 59 w 1682"/>
                  <a:gd name="T119" fmla="*/ 1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2" h="837">
                    <a:moveTo>
                      <a:pt x="59" y="16"/>
                    </a:moveTo>
                    <a:lnTo>
                      <a:pt x="864" y="16"/>
                    </a:lnTo>
                    <a:lnTo>
                      <a:pt x="864" y="0"/>
                    </a:lnTo>
                    <a:lnTo>
                      <a:pt x="871" y="4"/>
                    </a:lnTo>
                    <a:lnTo>
                      <a:pt x="873" y="23"/>
                    </a:lnTo>
                    <a:lnTo>
                      <a:pt x="878" y="25"/>
                    </a:lnTo>
                    <a:lnTo>
                      <a:pt x="901" y="28"/>
                    </a:lnTo>
                    <a:lnTo>
                      <a:pt x="901" y="33"/>
                    </a:lnTo>
                    <a:lnTo>
                      <a:pt x="918" y="28"/>
                    </a:lnTo>
                    <a:lnTo>
                      <a:pt x="925" y="28"/>
                    </a:lnTo>
                    <a:lnTo>
                      <a:pt x="941" y="40"/>
                    </a:lnTo>
                    <a:lnTo>
                      <a:pt x="941" y="44"/>
                    </a:lnTo>
                    <a:lnTo>
                      <a:pt x="946" y="40"/>
                    </a:lnTo>
                    <a:lnTo>
                      <a:pt x="953" y="40"/>
                    </a:lnTo>
                    <a:lnTo>
                      <a:pt x="953" y="44"/>
                    </a:lnTo>
                    <a:lnTo>
                      <a:pt x="970" y="51"/>
                    </a:lnTo>
                    <a:lnTo>
                      <a:pt x="986" y="44"/>
                    </a:lnTo>
                    <a:lnTo>
                      <a:pt x="991" y="49"/>
                    </a:lnTo>
                    <a:lnTo>
                      <a:pt x="1005" y="49"/>
                    </a:lnTo>
                    <a:lnTo>
                      <a:pt x="1015" y="51"/>
                    </a:lnTo>
                    <a:lnTo>
                      <a:pt x="1031" y="54"/>
                    </a:lnTo>
                    <a:lnTo>
                      <a:pt x="1059" y="42"/>
                    </a:lnTo>
                    <a:lnTo>
                      <a:pt x="1163" y="96"/>
                    </a:lnTo>
                    <a:lnTo>
                      <a:pt x="1163" y="106"/>
                    </a:lnTo>
                    <a:lnTo>
                      <a:pt x="1170" y="113"/>
                    </a:lnTo>
                    <a:lnTo>
                      <a:pt x="1182" y="106"/>
                    </a:lnTo>
                    <a:lnTo>
                      <a:pt x="1182" y="118"/>
                    </a:lnTo>
                    <a:lnTo>
                      <a:pt x="1187" y="122"/>
                    </a:lnTo>
                    <a:lnTo>
                      <a:pt x="1199" y="122"/>
                    </a:lnTo>
                    <a:lnTo>
                      <a:pt x="1201" y="127"/>
                    </a:lnTo>
                    <a:lnTo>
                      <a:pt x="1199" y="134"/>
                    </a:lnTo>
                    <a:lnTo>
                      <a:pt x="1229" y="153"/>
                    </a:lnTo>
                    <a:lnTo>
                      <a:pt x="1239" y="214"/>
                    </a:lnTo>
                    <a:lnTo>
                      <a:pt x="1232" y="238"/>
                    </a:lnTo>
                    <a:lnTo>
                      <a:pt x="1229" y="252"/>
                    </a:lnTo>
                    <a:lnTo>
                      <a:pt x="1215" y="266"/>
                    </a:lnTo>
                    <a:lnTo>
                      <a:pt x="1210" y="271"/>
                    </a:lnTo>
                    <a:lnTo>
                      <a:pt x="1215" y="278"/>
                    </a:lnTo>
                    <a:lnTo>
                      <a:pt x="1222" y="285"/>
                    </a:lnTo>
                    <a:lnTo>
                      <a:pt x="1232" y="285"/>
                    </a:lnTo>
                    <a:lnTo>
                      <a:pt x="1265" y="266"/>
                    </a:lnTo>
                    <a:lnTo>
                      <a:pt x="1300" y="259"/>
                    </a:lnTo>
                    <a:lnTo>
                      <a:pt x="1333" y="245"/>
                    </a:lnTo>
                    <a:lnTo>
                      <a:pt x="1336" y="243"/>
                    </a:lnTo>
                    <a:lnTo>
                      <a:pt x="1328" y="236"/>
                    </a:lnTo>
                    <a:lnTo>
                      <a:pt x="1328" y="228"/>
                    </a:lnTo>
                    <a:lnTo>
                      <a:pt x="1326" y="221"/>
                    </a:lnTo>
                    <a:lnTo>
                      <a:pt x="1340" y="214"/>
                    </a:lnTo>
                    <a:lnTo>
                      <a:pt x="1397" y="214"/>
                    </a:lnTo>
                    <a:lnTo>
                      <a:pt x="1406" y="198"/>
                    </a:lnTo>
                    <a:lnTo>
                      <a:pt x="1446" y="167"/>
                    </a:lnTo>
                    <a:lnTo>
                      <a:pt x="1550" y="165"/>
                    </a:lnTo>
                    <a:lnTo>
                      <a:pt x="1553" y="158"/>
                    </a:lnTo>
                    <a:lnTo>
                      <a:pt x="1557" y="153"/>
                    </a:lnTo>
                    <a:lnTo>
                      <a:pt x="1560" y="158"/>
                    </a:lnTo>
                    <a:lnTo>
                      <a:pt x="1564" y="153"/>
                    </a:lnTo>
                    <a:lnTo>
                      <a:pt x="1567" y="158"/>
                    </a:lnTo>
                    <a:lnTo>
                      <a:pt x="1571" y="146"/>
                    </a:lnTo>
                    <a:lnTo>
                      <a:pt x="1571" y="144"/>
                    </a:lnTo>
                    <a:lnTo>
                      <a:pt x="1586" y="129"/>
                    </a:lnTo>
                    <a:lnTo>
                      <a:pt x="1586" y="120"/>
                    </a:lnTo>
                    <a:lnTo>
                      <a:pt x="1590" y="113"/>
                    </a:lnTo>
                    <a:lnTo>
                      <a:pt x="1595" y="101"/>
                    </a:lnTo>
                    <a:lnTo>
                      <a:pt x="1616" y="73"/>
                    </a:lnTo>
                    <a:lnTo>
                      <a:pt x="1619" y="75"/>
                    </a:lnTo>
                    <a:lnTo>
                      <a:pt x="1619" y="82"/>
                    </a:lnTo>
                    <a:lnTo>
                      <a:pt x="1626" y="85"/>
                    </a:lnTo>
                    <a:lnTo>
                      <a:pt x="1642" y="77"/>
                    </a:lnTo>
                    <a:lnTo>
                      <a:pt x="1661" y="89"/>
                    </a:lnTo>
                    <a:lnTo>
                      <a:pt x="1661" y="141"/>
                    </a:lnTo>
                    <a:lnTo>
                      <a:pt x="1668" y="144"/>
                    </a:lnTo>
                    <a:lnTo>
                      <a:pt x="1663" y="146"/>
                    </a:lnTo>
                    <a:lnTo>
                      <a:pt x="1668" y="153"/>
                    </a:lnTo>
                    <a:lnTo>
                      <a:pt x="1670" y="160"/>
                    </a:lnTo>
                    <a:lnTo>
                      <a:pt x="1675" y="160"/>
                    </a:lnTo>
                    <a:lnTo>
                      <a:pt x="1682" y="167"/>
                    </a:lnTo>
                    <a:lnTo>
                      <a:pt x="1675" y="169"/>
                    </a:lnTo>
                    <a:lnTo>
                      <a:pt x="1682" y="169"/>
                    </a:lnTo>
                    <a:lnTo>
                      <a:pt x="1675" y="174"/>
                    </a:lnTo>
                    <a:lnTo>
                      <a:pt x="1663" y="174"/>
                    </a:lnTo>
                    <a:lnTo>
                      <a:pt x="1663" y="181"/>
                    </a:lnTo>
                    <a:lnTo>
                      <a:pt x="1661" y="181"/>
                    </a:lnTo>
                    <a:lnTo>
                      <a:pt x="1649" y="188"/>
                    </a:lnTo>
                    <a:lnTo>
                      <a:pt x="1649" y="186"/>
                    </a:lnTo>
                    <a:lnTo>
                      <a:pt x="1642" y="186"/>
                    </a:lnTo>
                    <a:lnTo>
                      <a:pt x="1635" y="186"/>
                    </a:lnTo>
                    <a:lnTo>
                      <a:pt x="1635" y="188"/>
                    </a:lnTo>
                    <a:lnTo>
                      <a:pt x="1633" y="188"/>
                    </a:lnTo>
                    <a:lnTo>
                      <a:pt x="1626" y="188"/>
                    </a:lnTo>
                    <a:lnTo>
                      <a:pt x="1630" y="181"/>
                    </a:lnTo>
                    <a:lnTo>
                      <a:pt x="1623" y="186"/>
                    </a:lnTo>
                    <a:lnTo>
                      <a:pt x="1619" y="198"/>
                    </a:lnTo>
                    <a:lnTo>
                      <a:pt x="1614" y="205"/>
                    </a:lnTo>
                    <a:lnTo>
                      <a:pt x="1609" y="198"/>
                    </a:lnTo>
                    <a:lnTo>
                      <a:pt x="1609" y="205"/>
                    </a:lnTo>
                    <a:lnTo>
                      <a:pt x="1609" y="198"/>
                    </a:lnTo>
                    <a:lnTo>
                      <a:pt x="1604" y="205"/>
                    </a:lnTo>
                    <a:lnTo>
                      <a:pt x="1604" y="198"/>
                    </a:lnTo>
                    <a:lnTo>
                      <a:pt x="1602" y="210"/>
                    </a:lnTo>
                    <a:lnTo>
                      <a:pt x="1602" y="198"/>
                    </a:lnTo>
                    <a:lnTo>
                      <a:pt x="1597" y="205"/>
                    </a:lnTo>
                    <a:lnTo>
                      <a:pt x="1597" y="212"/>
                    </a:lnTo>
                    <a:lnTo>
                      <a:pt x="1595" y="205"/>
                    </a:lnTo>
                    <a:lnTo>
                      <a:pt x="1588" y="210"/>
                    </a:lnTo>
                    <a:lnTo>
                      <a:pt x="1586" y="214"/>
                    </a:lnTo>
                    <a:lnTo>
                      <a:pt x="1588" y="219"/>
                    </a:lnTo>
                    <a:lnTo>
                      <a:pt x="1578" y="226"/>
                    </a:lnTo>
                    <a:lnTo>
                      <a:pt x="1574" y="236"/>
                    </a:lnTo>
                    <a:lnTo>
                      <a:pt x="1571" y="233"/>
                    </a:lnTo>
                    <a:lnTo>
                      <a:pt x="1567" y="250"/>
                    </a:lnTo>
                    <a:lnTo>
                      <a:pt x="1574" y="252"/>
                    </a:lnTo>
                    <a:lnTo>
                      <a:pt x="1567" y="254"/>
                    </a:lnTo>
                    <a:lnTo>
                      <a:pt x="1564" y="262"/>
                    </a:lnTo>
                    <a:lnTo>
                      <a:pt x="1571" y="266"/>
                    </a:lnTo>
                    <a:lnTo>
                      <a:pt x="1571" y="273"/>
                    </a:lnTo>
                    <a:lnTo>
                      <a:pt x="1578" y="278"/>
                    </a:lnTo>
                    <a:lnTo>
                      <a:pt x="1578" y="280"/>
                    </a:lnTo>
                    <a:lnTo>
                      <a:pt x="1586" y="285"/>
                    </a:lnTo>
                    <a:lnTo>
                      <a:pt x="1595" y="280"/>
                    </a:lnTo>
                    <a:lnTo>
                      <a:pt x="1595" y="278"/>
                    </a:lnTo>
                    <a:lnTo>
                      <a:pt x="1586" y="271"/>
                    </a:lnTo>
                    <a:lnTo>
                      <a:pt x="1590" y="271"/>
                    </a:lnTo>
                    <a:lnTo>
                      <a:pt x="1595" y="278"/>
                    </a:lnTo>
                    <a:lnTo>
                      <a:pt x="1595" y="285"/>
                    </a:lnTo>
                    <a:lnTo>
                      <a:pt x="1581" y="287"/>
                    </a:lnTo>
                    <a:lnTo>
                      <a:pt x="1574" y="290"/>
                    </a:lnTo>
                    <a:lnTo>
                      <a:pt x="1574" y="285"/>
                    </a:lnTo>
                    <a:lnTo>
                      <a:pt x="1571" y="285"/>
                    </a:lnTo>
                    <a:lnTo>
                      <a:pt x="1560" y="295"/>
                    </a:lnTo>
                    <a:lnTo>
                      <a:pt x="1560" y="287"/>
                    </a:lnTo>
                    <a:lnTo>
                      <a:pt x="1564" y="280"/>
                    </a:lnTo>
                    <a:lnTo>
                      <a:pt x="1557" y="287"/>
                    </a:lnTo>
                    <a:lnTo>
                      <a:pt x="1553" y="280"/>
                    </a:lnTo>
                    <a:lnTo>
                      <a:pt x="1550" y="297"/>
                    </a:lnTo>
                    <a:lnTo>
                      <a:pt x="1508" y="302"/>
                    </a:lnTo>
                    <a:lnTo>
                      <a:pt x="1489" y="311"/>
                    </a:lnTo>
                    <a:lnTo>
                      <a:pt x="1475" y="321"/>
                    </a:lnTo>
                    <a:lnTo>
                      <a:pt x="1482" y="309"/>
                    </a:lnTo>
                    <a:lnTo>
                      <a:pt x="1477" y="297"/>
                    </a:lnTo>
                    <a:lnTo>
                      <a:pt x="1477" y="311"/>
                    </a:lnTo>
                    <a:lnTo>
                      <a:pt x="1470" y="328"/>
                    </a:lnTo>
                    <a:lnTo>
                      <a:pt x="1475" y="328"/>
                    </a:lnTo>
                    <a:lnTo>
                      <a:pt x="1477" y="335"/>
                    </a:lnTo>
                    <a:lnTo>
                      <a:pt x="1475" y="354"/>
                    </a:lnTo>
                    <a:lnTo>
                      <a:pt x="1475" y="344"/>
                    </a:lnTo>
                    <a:lnTo>
                      <a:pt x="1475" y="358"/>
                    </a:lnTo>
                    <a:lnTo>
                      <a:pt x="1468" y="363"/>
                    </a:lnTo>
                    <a:lnTo>
                      <a:pt x="1463" y="365"/>
                    </a:lnTo>
                    <a:lnTo>
                      <a:pt x="1456" y="370"/>
                    </a:lnTo>
                    <a:lnTo>
                      <a:pt x="1461" y="370"/>
                    </a:lnTo>
                    <a:lnTo>
                      <a:pt x="1456" y="377"/>
                    </a:lnTo>
                    <a:lnTo>
                      <a:pt x="1451" y="382"/>
                    </a:lnTo>
                    <a:lnTo>
                      <a:pt x="1451" y="372"/>
                    </a:lnTo>
                    <a:lnTo>
                      <a:pt x="1435" y="365"/>
                    </a:lnTo>
                    <a:lnTo>
                      <a:pt x="1430" y="358"/>
                    </a:lnTo>
                    <a:lnTo>
                      <a:pt x="1446" y="344"/>
                    </a:lnTo>
                    <a:lnTo>
                      <a:pt x="1430" y="358"/>
                    </a:lnTo>
                    <a:lnTo>
                      <a:pt x="1430" y="363"/>
                    </a:lnTo>
                    <a:lnTo>
                      <a:pt x="1444" y="389"/>
                    </a:lnTo>
                    <a:lnTo>
                      <a:pt x="1442" y="394"/>
                    </a:lnTo>
                    <a:lnTo>
                      <a:pt x="1446" y="396"/>
                    </a:lnTo>
                    <a:lnTo>
                      <a:pt x="1446" y="401"/>
                    </a:lnTo>
                    <a:lnTo>
                      <a:pt x="1437" y="413"/>
                    </a:lnTo>
                    <a:lnTo>
                      <a:pt x="1430" y="427"/>
                    </a:lnTo>
                    <a:lnTo>
                      <a:pt x="1430" y="431"/>
                    </a:lnTo>
                    <a:lnTo>
                      <a:pt x="1418" y="446"/>
                    </a:lnTo>
                    <a:lnTo>
                      <a:pt x="1418" y="439"/>
                    </a:lnTo>
                    <a:lnTo>
                      <a:pt x="1423" y="427"/>
                    </a:lnTo>
                    <a:lnTo>
                      <a:pt x="1430" y="420"/>
                    </a:lnTo>
                    <a:lnTo>
                      <a:pt x="1430" y="417"/>
                    </a:lnTo>
                    <a:lnTo>
                      <a:pt x="1423" y="417"/>
                    </a:lnTo>
                    <a:lnTo>
                      <a:pt x="1425" y="401"/>
                    </a:lnTo>
                    <a:lnTo>
                      <a:pt x="1418" y="405"/>
                    </a:lnTo>
                    <a:lnTo>
                      <a:pt x="1411" y="403"/>
                    </a:lnTo>
                    <a:lnTo>
                      <a:pt x="1409" y="401"/>
                    </a:lnTo>
                    <a:lnTo>
                      <a:pt x="1416" y="396"/>
                    </a:lnTo>
                    <a:lnTo>
                      <a:pt x="1411" y="396"/>
                    </a:lnTo>
                    <a:lnTo>
                      <a:pt x="1411" y="394"/>
                    </a:lnTo>
                    <a:lnTo>
                      <a:pt x="1418" y="396"/>
                    </a:lnTo>
                    <a:lnTo>
                      <a:pt x="1418" y="394"/>
                    </a:lnTo>
                    <a:lnTo>
                      <a:pt x="1411" y="389"/>
                    </a:lnTo>
                    <a:lnTo>
                      <a:pt x="1409" y="389"/>
                    </a:lnTo>
                    <a:lnTo>
                      <a:pt x="1411" y="387"/>
                    </a:lnTo>
                    <a:lnTo>
                      <a:pt x="1416" y="387"/>
                    </a:lnTo>
                    <a:lnTo>
                      <a:pt x="1411" y="380"/>
                    </a:lnTo>
                    <a:lnTo>
                      <a:pt x="1409" y="387"/>
                    </a:lnTo>
                    <a:lnTo>
                      <a:pt x="1409" y="380"/>
                    </a:lnTo>
                    <a:lnTo>
                      <a:pt x="1411" y="380"/>
                    </a:lnTo>
                    <a:lnTo>
                      <a:pt x="1418" y="377"/>
                    </a:lnTo>
                    <a:lnTo>
                      <a:pt x="1411" y="380"/>
                    </a:lnTo>
                    <a:lnTo>
                      <a:pt x="1411" y="372"/>
                    </a:lnTo>
                    <a:lnTo>
                      <a:pt x="1416" y="370"/>
                    </a:lnTo>
                    <a:lnTo>
                      <a:pt x="1418" y="365"/>
                    </a:lnTo>
                    <a:lnTo>
                      <a:pt x="1425" y="358"/>
                    </a:lnTo>
                    <a:lnTo>
                      <a:pt x="1416" y="358"/>
                    </a:lnTo>
                    <a:lnTo>
                      <a:pt x="1418" y="363"/>
                    </a:lnTo>
                    <a:lnTo>
                      <a:pt x="1411" y="365"/>
                    </a:lnTo>
                    <a:lnTo>
                      <a:pt x="1411" y="363"/>
                    </a:lnTo>
                    <a:lnTo>
                      <a:pt x="1409" y="365"/>
                    </a:lnTo>
                    <a:lnTo>
                      <a:pt x="1406" y="370"/>
                    </a:lnTo>
                    <a:lnTo>
                      <a:pt x="1406" y="372"/>
                    </a:lnTo>
                    <a:lnTo>
                      <a:pt x="1399" y="370"/>
                    </a:lnTo>
                    <a:lnTo>
                      <a:pt x="1406" y="380"/>
                    </a:lnTo>
                    <a:lnTo>
                      <a:pt x="1402" y="389"/>
                    </a:lnTo>
                    <a:lnTo>
                      <a:pt x="1409" y="403"/>
                    </a:lnTo>
                    <a:lnTo>
                      <a:pt x="1399" y="401"/>
                    </a:lnTo>
                    <a:lnTo>
                      <a:pt x="1399" y="394"/>
                    </a:lnTo>
                    <a:lnTo>
                      <a:pt x="1399" y="401"/>
                    </a:lnTo>
                    <a:lnTo>
                      <a:pt x="1409" y="405"/>
                    </a:lnTo>
                    <a:lnTo>
                      <a:pt x="1409" y="413"/>
                    </a:lnTo>
                    <a:lnTo>
                      <a:pt x="1402" y="405"/>
                    </a:lnTo>
                    <a:lnTo>
                      <a:pt x="1394" y="405"/>
                    </a:lnTo>
                    <a:lnTo>
                      <a:pt x="1390" y="401"/>
                    </a:lnTo>
                    <a:lnTo>
                      <a:pt x="1383" y="401"/>
                    </a:lnTo>
                    <a:lnTo>
                      <a:pt x="1383" y="396"/>
                    </a:lnTo>
                    <a:lnTo>
                      <a:pt x="1390" y="389"/>
                    </a:lnTo>
                    <a:lnTo>
                      <a:pt x="1387" y="382"/>
                    </a:lnTo>
                    <a:lnTo>
                      <a:pt x="1390" y="389"/>
                    </a:lnTo>
                    <a:lnTo>
                      <a:pt x="1383" y="394"/>
                    </a:lnTo>
                    <a:lnTo>
                      <a:pt x="1380" y="403"/>
                    </a:lnTo>
                    <a:lnTo>
                      <a:pt x="1387" y="403"/>
                    </a:lnTo>
                    <a:lnTo>
                      <a:pt x="1394" y="410"/>
                    </a:lnTo>
                    <a:lnTo>
                      <a:pt x="1402" y="410"/>
                    </a:lnTo>
                    <a:lnTo>
                      <a:pt x="1411" y="420"/>
                    </a:lnTo>
                    <a:lnTo>
                      <a:pt x="1409" y="427"/>
                    </a:lnTo>
                    <a:lnTo>
                      <a:pt x="1387" y="410"/>
                    </a:lnTo>
                    <a:lnTo>
                      <a:pt x="1394" y="413"/>
                    </a:lnTo>
                    <a:lnTo>
                      <a:pt x="1402" y="427"/>
                    </a:lnTo>
                    <a:lnTo>
                      <a:pt x="1409" y="427"/>
                    </a:lnTo>
                    <a:lnTo>
                      <a:pt x="1411" y="434"/>
                    </a:lnTo>
                    <a:lnTo>
                      <a:pt x="1409" y="434"/>
                    </a:lnTo>
                    <a:lnTo>
                      <a:pt x="1409" y="439"/>
                    </a:lnTo>
                    <a:lnTo>
                      <a:pt x="1399" y="434"/>
                    </a:lnTo>
                    <a:lnTo>
                      <a:pt x="1411" y="446"/>
                    </a:lnTo>
                    <a:lnTo>
                      <a:pt x="1409" y="450"/>
                    </a:lnTo>
                    <a:lnTo>
                      <a:pt x="1399" y="441"/>
                    </a:lnTo>
                    <a:lnTo>
                      <a:pt x="1383" y="439"/>
                    </a:lnTo>
                    <a:lnTo>
                      <a:pt x="1399" y="446"/>
                    </a:lnTo>
                    <a:lnTo>
                      <a:pt x="1406" y="450"/>
                    </a:lnTo>
                    <a:lnTo>
                      <a:pt x="1409" y="455"/>
                    </a:lnTo>
                    <a:lnTo>
                      <a:pt x="1409" y="450"/>
                    </a:lnTo>
                    <a:lnTo>
                      <a:pt x="1418" y="450"/>
                    </a:lnTo>
                    <a:lnTo>
                      <a:pt x="1430" y="493"/>
                    </a:lnTo>
                    <a:lnTo>
                      <a:pt x="1430" y="481"/>
                    </a:lnTo>
                    <a:lnTo>
                      <a:pt x="1423" y="457"/>
                    </a:lnTo>
                    <a:lnTo>
                      <a:pt x="1418" y="464"/>
                    </a:lnTo>
                    <a:lnTo>
                      <a:pt x="1423" y="469"/>
                    </a:lnTo>
                    <a:lnTo>
                      <a:pt x="1418" y="464"/>
                    </a:lnTo>
                    <a:lnTo>
                      <a:pt x="1425" y="481"/>
                    </a:lnTo>
                    <a:lnTo>
                      <a:pt x="1418" y="472"/>
                    </a:lnTo>
                    <a:lnTo>
                      <a:pt x="1423" y="479"/>
                    </a:lnTo>
                    <a:lnTo>
                      <a:pt x="1411" y="472"/>
                    </a:lnTo>
                    <a:lnTo>
                      <a:pt x="1418" y="479"/>
                    </a:lnTo>
                    <a:lnTo>
                      <a:pt x="1411" y="481"/>
                    </a:lnTo>
                    <a:lnTo>
                      <a:pt x="1409" y="479"/>
                    </a:lnTo>
                    <a:lnTo>
                      <a:pt x="1406" y="486"/>
                    </a:lnTo>
                    <a:lnTo>
                      <a:pt x="1399" y="481"/>
                    </a:lnTo>
                    <a:lnTo>
                      <a:pt x="1399" y="474"/>
                    </a:lnTo>
                    <a:lnTo>
                      <a:pt x="1397" y="486"/>
                    </a:lnTo>
                    <a:lnTo>
                      <a:pt x="1406" y="486"/>
                    </a:lnTo>
                    <a:lnTo>
                      <a:pt x="1411" y="486"/>
                    </a:lnTo>
                    <a:lnTo>
                      <a:pt x="1416" y="486"/>
                    </a:lnTo>
                    <a:lnTo>
                      <a:pt x="1418" y="495"/>
                    </a:lnTo>
                    <a:lnTo>
                      <a:pt x="1416" y="495"/>
                    </a:lnTo>
                    <a:lnTo>
                      <a:pt x="1418" y="495"/>
                    </a:lnTo>
                    <a:lnTo>
                      <a:pt x="1418" y="488"/>
                    </a:lnTo>
                    <a:lnTo>
                      <a:pt x="1423" y="486"/>
                    </a:lnTo>
                    <a:lnTo>
                      <a:pt x="1430" y="493"/>
                    </a:lnTo>
                    <a:lnTo>
                      <a:pt x="1425" y="498"/>
                    </a:lnTo>
                    <a:lnTo>
                      <a:pt x="1418" y="500"/>
                    </a:lnTo>
                    <a:lnTo>
                      <a:pt x="1416" y="505"/>
                    </a:lnTo>
                    <a:lnTo>
                      <a:pt x="1406" y="505"/>
                    </a:lnTo>
                    <a:lnTo>
                      <a:pt x="1402" y="498"/>
                    </a:lnTo>
                    <a:lnTo>
                      <a:pt x="1399" y="505"/>
                    </a:lnTo>
                    <a:lnTo>
                      <a:pt x="1390" y="498"/>
                    </a:lnTo>
                    <a:lnTo>
                      <a:pt x="1406" y="507"/>
                    </a:lnTo>
                    <a:lnTo>
                      <a:pt x="1399" y="512"/>
                    </a:lnTo>
                    <a:lnTo>
                      <a:pt x="1402" y="516"/>
                    </a:lnTo>
                    <a:lnTo>
                      <a:pt x="1397" y="516"/>
                    </a:lnTo>
                    <a:lnTo>
                      <a:pt x="1387" y="512"/>
                    </a:lnTo>
                    <a:lnTo>
                      <a:pt x="1390" y="516"/>
                    </a:lnTo>
                    <a:lnTo>
                      <a:pt x="1397" y="519"/>
                    </a:lnTo>
                    <a:lnTo>
                      <a:pt x="1406" y="516"/>
                    </a:lnTo>
                    <a:lnTo>
                      <a:pt x="1406" y="519"/>
                    </a:lnTo>
                    <a:lnTo>
                      <a:pt x="1409" y="516"/>
                    </a:lnTo>
                    <a:lnTo>
                      <a:pt x="1411" y="516"/>
                    </a:lnTo>
                    <a:lnTo>
                      <a:pt x="1409" y="519"/>
                    </a:lnTo>
                    <a:lnTo>
                      <a:pt x="1402" y="526"/>
                    </a:lnTo>
                    <a:lnTo>
                      <a:pt x="1399" y="526"/>
                    </a:lnTo>
                    <a:lnTo>
                      <a:pt x="1399" y="523"/>
                    </a:lnTo>
                    <a:lnTo>
                      <a:pt x="1387" y="526"/>
                    </a:lnTo>
                    <a:lnTo>
                      <a:pt x="1380" y="531"/>
                    </a:lnTo>
                    <a:lnTo>
                      <a:pt x="1378" y="526"/>
                    </a:lnTo>
                    <a:lnTo>
                      <a:pt x="1380" y="533"/>
                    </a:lnTo>
                    <a:lnTo>
                      <a:pt x="1371" y="540"/>
                    </a:lnTo>
                    <a:lnTo>
                      <a:pt x="1364" y="554"/>
                    </a:lnTo>
                    <a:lnTo>
                      <a:pt x="1361" y="547"/>
                    </a:lnTo>
                    <a:lnTo>
                      <a:pt x="1361" y="554"/>
                    </a:lnTo>
                    <a:lnTo>
                      <a:pt x="1345" y="554"/>
                    </a:lnTo>
                    <a:lnTo>
                      <a:pt x="1336" y="561"/>
                    </a:lnTo>
                    <a:lnTo>
                      <a:pt x="1326" y="578"/>
                    </a:lnTo>
                    <a:lnTo>
                      <a:pt x="1321" y="573"/>
                    </a:lnTo>
                    <a:lnTo>
                      <a:pt x="1326" y="571"/>
                    </a:lnTo>
                    <a:lnTo>
                      <a:pt x="1321" y="573"/>
                    </a:lnTo>
                    <a:lnTo>
                      <a:pt x="1326" y="580"/>
                    </a:lnTo>
                    <a:lnTo>
                      <a:pt x="1319" y="585"/>
                    </a:lnTo>
                    <a:lnTo>
                      <a:pt x="1317" y="585"/>
                    </a:lnTo>
                    <a:lnTo>
                      <a:pt x="1305" y="592"/>
                    </a:lnTo>
                    <a:lnTo>
                      <a:pt x="1305" y="590"/>
                    </a:lnTo>
                    <a:lnTo>
                      <a:pt x="1305" y="597"/>
                    </a:lnTo>
                    <a:lnTo>
                      <a:pt x="1295" y="604"/>
                    </a:lnTo>
                    <a:lnTo>
                      <a:pt x="1284" y="599"/>
                    </a:lnTo>
                    <a:lnTo>
                      <a:pt x="1288" y="604"/>
                    </a:lnTo>
                    <a:lnTo>
                      <a:pt x="1288" y="606"/>
                    </a:lnTo>
                    <a:lnTo>
                      <a:pt x="1284" y="608"/>
                    </a:lnTo>
                    <a:lnTo>
                      <a:pt x="1284" y="604"/>
                    </a:lnTo>
                    <a:lnTo>
                      <a:pt x="1281" y="606"/>
                    </a:lnTo>
                    <a:lnTo>
                      <a:pt x="1277" y="599"/>
                    </a:lnTo>
                    <a:lnTo>
                      <a:pt x="1284" y="608"/>
                    </a:lnTo>
                    <a:lnTo>
                      <a:pt x="1277" y="611"/>
                    </a:lnTo>
                    <a:lnTo>
                      <a:pt x="1277" y="616"/>
                    </a:lnTo>
                    <a:lnTo>
                      <a:pt x="1277" y="618"/>
                    </a:lnTo>
                    <a:lnTo>
                      <a:pt x="1272" y="625"/>
                    </a:lnTo>
                    <a:lnTo>
                      <a:pt x="1269" y="632"/>
                    </a:lnTo>
                    <a:lnTo>
                      <a:pt x="1265" y="632"/>
                    </a:lnTo>
                    <a:lnTo>
                      <a:pt x="1269" y="634"/>
                    </a:lnTo>
                    <a:lnTo>
                      <a:pt x="1265" y="642"/>
                    </a:lnTo>
                    <a:lnTo>
                      <a:pt x="1258" y="646"/>
                    </a:lnTo>
                    <a:lnTo>
                      <a:pt x="1262" y="649"/>
                    </a:lnTo>
                    <a:lnTo>
                      <a:pt x="1258" y="656"/>
                    </a:lnTo>
                    <a:lnTo>
                      <a:pt x="1265" y="691"/>
                    </a:lnTo>
                    <a:lnTo>
                      <a:pt x="1274" y="710"/>
                    </a:lnTo>
                    <a:lnTo>
                      <a:pt x="1288" y="731"/>
                    </a:lnTo>
                    <a:lnTo>
                      <a:pt x="1284" y="738"/>
                    </a:lnTo>
                    <a:lnTo>
                      <a:pt x="1291" y="752"/>
                    </a:lnTo>
                    <a:lnTo>
                      <a:pt x="1284" y="738"/>
                    </a:lnTo>
                    <a:lnTo>
                      <a:pt x="1284" y="726"/>
                    </a:lnTo>
                    <a:lnTo>
                      <a:pt x="1281" y="726"/>
                    </a:lnTo>
                    <a:lnTo>
                      <a:pt x="1281" y="724"/>
                    </a:lnTo>
                    <a:lnTo>
                      <a:pt x="1277" y="724"/>
                    </a:lnTo>
                    <a:lnTo>
                      <a:pt x="1281" y="734"/>
                    </a:lnTo>
                    <a:lnTo>
                      <a:pt x="1300" y="785"/>
                    </a:lnTo>
                    <a:lnTo>
                      <a:pt x="1298" y="816"/>
                    </a:lnTo>
                    <a:lnTo>
                      <a:pt x="1295" y="826"/>
                    </a:lnTo>
                    <a:lnTo>
                      <a:pt x="1291" y="837"/>
                    </a:lnTo>
                    <a:lnTo>
                      <a:pt x="1288" y="835"/>
                    </a:lnTo>
                    <a:lnTo>
                      <a:pt x="1272" y="837"/>
                    </a:lnTo>
                    <a:lnTo>
                      <a:pt x="1269" y="835"/>
                    </a:lnTo>
                    <a:lnTo>
                      <a:pt x="1274" y="837"/>
                    </a:lnTo>
                    <a:lnTo>
                      <a:pt x="1274" y="835"/>
                    </a:lnTo>
                    <a:lnTo>
                      <a:pt x="1269" y="830"/>
                    </a:lnTo>
                    <a:lnTo>
                      <a:pt x="1265" y="819"/>
                    </a:lnTo>
                    <a:lnTo>
                      <a:pt x="1253" y="814"/>
                    </a:lnTo>
                    <a:lnTo>
                      <a:pt x="1251" y="795"/>
                    </a:lnTo>
                    <a:lnTo>
                      <a:pt x="1246" y="795"/>
                    </a:lnTo>
                    <a:lnTo>
                      <a:pt x="1253" y="790"/>
                    </a:lnTo>
                    <a:lnTo>
                      <a:pt x="1246" y="795"/>
                    </a:lnTo>
                    <a:lnTo>
                      <a:pt x="1243" y="795"/>
                    </a:lnTo>
                    <a:lnTo>
                      <a:pt x="1243" y="783"/>
                    </a:lnTo>
                    <a:lnTo>
                      <a:pt x="1239" y="783"/>
                    </a:lnTo>
                    <a:lnTo>
                      <a:pt x="1239" y="785"/>
                    </a:lnTo>
                    <a:lnTo>
                      <a:pt x="1236" y="785"/>
                    </a:lnTo>
                    <a:lnTo>
                      <a:pt x="1227" y="769"/>
                    </a:lnTo>
                    <a:lnTo>
                      <a:pt x="1232" y="752"/>
                    </a:lnTo>
                    <a:lnTo>
                      <a:pt x="1232" y="750"/>
                    </a:lnTo>
                    <a:lnTo>
                      <a:pt x="1222" y="745"/>
                    </a:lnTo>
                    <a:lnTo>
                      <a:pt x="1222" y="750"/>
                    </a:lnTo>
                    <a:lnTo>
                      <a:pt x="1227" y="752"/>
                    </a:lnTo>
                    <a:lnTo>
                      <a:pt x="1222" y="762"/>
                    </a:lnTo>
                    <a:lnTo>
                      <a:pt x="1222" y="752"/>
                    </a:lnTo>
                    <a:lnTo>
                      <a:pt x="1227" y="734"/>
                    </a:lnTo>
                    <a:lnTo>
                      <a:pt x="1227" y="722"/>
                    </a:lnTo>
                    <a:lnTo>
                      <a:pt x="1222" y="710"/>
                    </a:lnTo>
                    <a:lnTo>
                      <a:pt x="1215" y="708"/>
                    </a:lnTo>
                    <a:lnTo>
                      <a:pt x="1206" y="698"/>
                    </a:lnTo>
                    <a:lnTo>
                      <a:pt x="1206" y="693"/>
                    </a:lnTo>
                    <a:lnTo>
                      <a:pt x="1194" y="684"/>
                    </a:lnTo>
                    <a:lnTo>
                      <a:pt x="1185" y="679"/>
                    </a:lnTo>
                    <a:lnTo>
                      <a:pt x="1177" y="679"/>
                    </a:lnTo>
                    <a:lnTo>
                      <a:pt x="1173" y="684"/>
                    </a:lnTo>
                    <a:lnTo>
                      <a:pt x="1177" y="686"/>
                    </a:lnTo>
                    <a:lnTo>
                      <a:pt x="1173" y="684"/>
                    </a:lnTo>
                    <a:lnTo>
                      <a:pt x="1161" y="691"/>
                    </a:lnTo>
                    <a:lnTo>
                      <a:pt x="1147" y="693"/>
                    </a:lnTo>
                    <a:lnTo>
                      <a:pt x="1147" y="686"/>
                    </a:lnTo>
                    <a:lnTo>
                      <a:pt x="1147" y="693"/>
                    </a:lnTo>
                    <a:lnTo>
                      <a:pt x="1147" y="686"/>
                    </a:lnTo>
                    <a:lnTo>
                      <a:pt x="1137" y="679"/>
                    </a:lnTo>
                    <a:lnTo>
                      <a:pt x="1147" y="679"/>
                    </a:lnTo>
                    <a:lnTo>
                      <a:pt x="1137" y="677"/>
                    </a:lnTo>
                    <a:lnTo>
                      <a:pt x="1133" y="677"/>
                    </a:lnTo>
                    <a:lnTo>
                      <a:pt x="1137" y="677"/>
                    </a:lnTo>
                    <a:lnTo>
                      <a:pt x="1118" y="670"/>
                    </a:lnTo>
                    <a:lnTo>
                      <a:pt x="1123" y="670"/>
                    </a:lnTo>
                    <a:lnTo>
                      <a:pt x="1121" y="670"/>
                    </a:lnTo>
                    <a:lnTo>
                      <a:pt x="1092" y="670"/>
                    </a:lnTo>
                    <a:lnTo>
                      <a:pt x="1102" y="670"/>
                    </a:lnTo>
                    <a:lnTo>
                      <a:pt x="1095" y="665"/>
                    </a:lnTo>
                    <a:lnTo>
                      <a:pt x="1090" y="670"/>
                    </a:lnTo>
                    <a:lnTo>
                      <a:pt x="1083" y="677"/>
                    </a:lnTo>
                    <a:lnTo>
                      <a:pt x="1090" y="670"/>
                    </a:lnTo>
                    <a:lnTo>
                      <a:pt x="1085" y="670"/>
                    </a:lnTo>
                    <a:lnTo>
                      <a:pt x="1083" y="677"/>
                    </a:lnTo>
                    <a:lnTo>
                      <a:pt x="1071" y="677"/>
                    </a:lnTo>
                    <a:lnTo>
                      <a:pt x="1076" y="677"/>
                    </a:lnTo>
                    <a:lnTo>
                      <a:pt x="1074" y="670"/>
                    </a:lnTo>
                    <a:lnTo>
                      <a:pt x="1074" y="663"/>
                    </a:lnTo>
                    <a:lnTo>
                      <a:pt x="1071" y="663"/>
                    </a:lnTo>
                    <a:lnTo>
                      <a:pt x="1067" y="670"/>
                    </a:lnTo>
                    <a:lnTo>
                      <a:pt x="1059" y="670"/>
                    </a:lnTo>
                    <a:lnTo>
                      <a:pt x="1057" y="670"/>
                    </a:lnTo>
                    <a:lnTo>
                      <a:pt x="1043" y="670"/>
                    </a:lnTo>
                    <a:lnTo>
                      <a:pt x="1026" y="677"/>
                    </a:lnTo>
                    <a:lnTo>
                      <a:pt x="1005" y="670"/>
                    </a:lnTo>
                    <a:lnTo>
                      <a:pt x="998" y="677"/>
                    </a:lnTo>
                    <a:lnTo>
                      <a:pt x="998" y="679"/>
                    </a:lnTo>
                    <a:lnTo>
                      <a:pt x="1005" y="679"/>
                    </a:lnTo>
                    <a:lnTo>
                      <a:pt x="1022" y="677"/>
                    </a:lnTo>
                    <a:lnTo>
                      <a:pt x="1015" y="679"/>
                    </a:lnTo>
                    <a:lnTo>
                      <a:pt x="1022" y="686"/>
                    </a:lnTo>
                    <a:lnTo>
                      <a:pt x="1029" y="679"/>
                    </a:lnTo>
                    <a:lnTo>
                      <a:pt x="1031" y="686"/>
                    </a:lnTo>
                    <a:lnTo>
                      <a:pt x="1029" y="691"/>
                    </a:lnTo>
                    <a:lnTo>
                      <a:pt x="1029" y="686"/>
                    </a:lnTo>
                    <a:lnTo>
                      <a:pt x="1019" y="693"/>
                    </a:lnTo>
                    <a:lnTo>
                      <a:pt x="1043" y="710"/>
                    </a:lnTo>
                    <a:lnTo>
                      <a:pt x="1038" y="715"/>
                    </a:lnTo>
                    <a:lnTo>
                      <a:pt x="1036" y="715"/>
                    </a:lnTo>
                    <a:lnTo>
                      <a:pt x="1029" y="717"/>
                    </a:lnTo>
                    <a:lnTo>
                      <a:pt x="1031" y="710"/>
                    </a:lnTo>
                    <a:lnTo>
                      <a:pt x="1029" y="715"/>
                    </a:lnTo>
                    <a:lnTo>
                      <a:pt x="1029" y="708"/>
                    </a:lnTo>
                    <a:lnTo>
                      <a:pt x="1019" y="703"/>
                    </a:lnTo>
                    <a:lnTo>
                      <a:pt x="1019" y="701"/>
                    </a:lnTo>
                    <a:lnTo>
                      <a:pt x="1005" y="698"/>
                    </a:lnTo>
                    <a:lnTo>
                      <a:pt x="1005" y="701"/>
                    </a:lnTo>
                    <a:lnTo>
                      <a:pt x="1012" y="701"/>
                    </a:lnTo>
                    <a:lnTo>
                      <a:pt x="1008" y="710"/>
                    </a:lnTo>
                    <a:lnTo>
                      <a:pt x="1005" y="715"/>
                    </a:lnTo>
                    <a:lnTo>
                      <a:pt x="1005" y="708"/>
                    </a:lnTo>
                    <a:lnTo>
                      <a:pt x="998" y="703"/>
                    </a:lnTo>
                    <a:lnTo>
                      <a:pt x="991" y="710"/>
                    </a:lnTo>
                    <a:lnTo>
                      <a:pt x="975" y="708"/>
                    </a:lnTo>
                    <a:lnTo>
                      <a:pt x="975" y="703"/>
                    </a:lnTo>
                    <a:lnTo>
                      <a:pt x="977" y="703"/>
                    </a:lnTo>
                    <a:lnTo>
                      <a:pt x="977" y="708"/>
                    </a:lnTo>
                    <a:lnTo>
                      <a:pt x="982" y="703"/>
                    </a:lnTo>
                    <a:lnTo>
                      <a:pt x="967" y="698"/>
                    </a:lnTo>
                    <a:lnTo>
                      <a:pt x="963" y="691"/>
                    </a:lnTo>
                    <a:lnTo>
                      <a:pt x="958" y="686"/>
                    </a:lnTo>
                    <a:lnTo>
                      <a:pt x="949" y="691"/>
                    </a:lnTo>
                    <a:lnTo>
                      <a:pt x="953" y="693"/>
                    </a:lnTo>
                    <a:lnTo>
                      <a:pt x="946" y="698"/>
                    </a:lnTo>
                    <a:lnTo>
                      <a:pt x="918" y="691"/>
                    </a:lnTo>
                    <a:lnTo>
                      <a:pt x="901" y="691"/>
                    </a:lnTo>
                    <a:lnTo>
                      <a:pt x="897" y="686"/>
                    </a:lnTo>
                    <a:lnTo>
                      <a:pt x="904" y="684"/>
                    </a:lnTo>
                    <a:lnTo>
                      <a:pt x="901" y="684"/>
                    </a:lnTo>
                    <a:lnTo>
                      <a:pt x="897" y="686"/>
                    </a:lnTo>
                    <a:lnTo>
                      <a:pt x="901" y="693"/>
                    </a:lnTo>
                    <a:lnTo>
                      <a:pt x="892" y="693"/>
                    </a:lnTo>
                    <a:lnTo>
                      <a:pt x="871" y="703"/>
                    </a:lnTo>
                    <a:lnTo>
                      <a:pt x="880" y="698"/>
                    </a:lnTo>
                    <a:lnTo>
                      <a:pt x="871" y="698"/>
                    </a:lnTo>
                    <a:lnTo>
                      <a:pt x="873" y="691"/>
                    </a:lnTo>
                    <a:lnTo>
                      <a:pt x="864" y="691"/>
                    </a:lnTo>
                    <a:lnTo>
                      <a:pt x="871" y="703"/>
                    </a:lnTo>
                    <a:lnTo>
                      <a:pt x="864" y="715"/>
                    </a:lnTo>
                    <a:lnTo>
                      <a:pt x="828" y="734"/>
                    </a:lnTo>
                    <a:lnTo>
                      <a:pt x="835" y="726"/>
                    </a:lnTo>
                    <a:lnTo>
                      <a:pt x="828" y="731"/>
                    </a:lnTo>
                    <a:lnTo>
                      <a:pt x="833" y="726"/>
                    </a:lnTo>
                    <a:lnTo>
                      <a:pt x="826" y="724"/>
                    </a:lnTo>
                    <a:lnTo>
                      <a:pt x="826" y="726"/>
                    </a:lnTo>
                    <a:lnTo>
                      <a:pt x="826" y="726"/>
                    </a:lnTo>
                    <a:lnTo>
                      <a:pt x="819" y="724"/>
                    </a:lnTo>
                    <a:lnTo>
                      <a:pt x="821" y="731"/>
                    </a:lnTo>
                    <a:lnTo>
                      <a:pt x="826" y="734"/>
                    </a:lnTo>
                    <a:lnTo>
                      <a:pt x="819" y="738"/>
                    </a:lnTo>
                    <a:lnTo>
                      <a:pt x="814" y="734"/>
                    </a:lnTo>
                    <a:lnTo>
                      <a:pt x="814" y="738"/>
                    </a:lnTo>
                    <a:lnTo>
                      <a:pt x="812" y="745"/>
                    </a:lnTo>
                    <a:lnTo>
                      <a:pt x="805" y="745"/>
                    </a:lnTo>
                    <a:lnTo>
                      <a:pt x="802" y="745"/>
                    </a:lnTo>
                    <a:lnTo>
                      <a:pt x="807" y="745"/>
                    </a:lnTo>
                    <a:lnTo>
                      <a:pt x="805" y="752"/>
                    </a:lnTo>
                    <a:lnTo>
                      <a:pt x="790" y="752"/>
                    </a:lnTo>
                    <a:lnTo>
                      <a:pt x="802" y="762"/>
                    </a:lnTo>
                    <a:lnTo>
                      <a:pt x="795" y="769"/>
                    </a:lnTo>
                    <a:lnTo>
                      <a:pt x="790" y="769"/>
                    </a:lnTo>
                    <a:lnTo>
                      <a:pt x="786" y="769"/>
                    </a:lnTo>
                    <a:lnTo>
                      <a:pt x="788" y="771"/>
                    </a:lnTo>
                    <a:lnTo>
                      <a:pt x="795" y="769"/>
                    </a:lnTo>
                    <a:lnTo>
                      <a:pt x="790" y="785"/>
                    </a:lnTo>
                    <a:lnTo>
                      <a:pt x="802" y="814"/>
                    </a:lnTo>
                    <a:lnTo>
                      <a:pt x="805" y="809"/>
                    </a:lnTo>
                    <a:lnTo>
                      <a:pt x="805" y="814"/>
                    </a:lnTo>
                    <a:lnTo>
                      <a:pt x="795" y="816"/>
                    </a:lnTo>
                    <a:lnTo>
                      <a:pt x="788" y="814"/>
                    </a:lnTo>
                    <a:lnTo>
                      <a:pt x="772" y="809"/>
                    </a:lnTo>
                    <a:lnTo>
                      <a:pt x="767" y="807"/>
                    </a:lnTo>
                    <a:lnTo>
                      <a:pt x="746" y="800"/>
                    </a:lnTo>
                    <a:lnTo>
                      <a:pt x="746" y="785"/>
                    </a:lnTo>
                    <a:lnTo>
                      <a:pt x="739" y="778"/>
                    </a:lnTo>
                    <a:lnTo>
                      <a:pt x="734" y="762"/>
                    </a:lnTo>
                    <a:lnTo>
                      <a:pt x="724" y="757"/>
                    </a:lnTo>
                    <a:lnTo>
                      <a:pt x="717" y="745"/>
                    </a:lnTo>
                    <a:lnTo>
                      <a:pt x="713" y="738"/>
                    </a:lnTo>
                    <a:lnTo>
                      <a:pt x="701" y="710"/>
                    </a:lnTo>
                    <a:lnTo>
                      <a:pt x="684" y="693"/>
                    </a:lnTo>
                    <a:lnTo>
                      <a:pt x="680" y="691"/>
                    </a:lnTo>
                    <a:lnTo>
                      <a:pt x="661" y="691"/>
                    </a:lnTo>
                    <a:lnTo>
                      <a:pt x="654" y="686"/>
                    </a:lnTo>
                    <a:lnTo>
                      <a:pt x="647" y="691"/>
                    </a:lnTo>
                    <a:lnTo>
                      <a:pt x="639" y="708"/>
                    </a:lnTo>
                    <a:lnTo>
                      <a:pt x="628" y="717"/>
                    </a:lnTo>
                    <a:lnTo>
                      <a:pt x="623" y="715"/>
                    </a:lnTo>
                    <a:lnTo>
                      <a:pt x="604" y="703"/>
                    </a:lnTo>
                    <a:lnTo>
                      <a:pt x="590" y="693"/>
                    </a:lnTo>
                    <a:lnTo>
                      <a:pt x="583" y="684"/>
                    </a:lnTo>
                    <a:lnTo>
                      <a:pt x="583" y="677"/>
                    </a:lnTo>
                    <a:lnTo>
                      <a:pt x="578" y="665"/>
                    </a:lnTo>
                    <a:lnTo>
                      <a:pt x="538" y="634"/>
                    </a:lnTo>
                    <a:lnTo>
                      <a:pt x="536" y="625"/>
                    </a:lnTo>
                    <a:lnTo>
                      <a:pt x="481" y="625"/>
                    </a:lnTo>
                    <a:lnTo>
                      <a:pt x="481" y="639"/>
                    </a:lnTo>
                    <a:lnTo>
                      <a:pt x="399" y="639"/>
                    </a:lnTo>
                    <a:lnTo>
                      <a:pt x="290" y="599"/>
                    </a:lnTo>
                    <a:lnTo>
                      <a:pt x="293" y="592"/>
                    </a:lnTo>
                    <a:lnTo>
                      <a:pt x="222" y="599"/>
                    </a:lnTo>
                    <a:lnTo>
                      <a:pt x="217" y="592"/>
                    </a:lnTo>
                    <a:lnTo>
                      <a:pt x="222" y="597"/>
                    </a:lnTo>
                    <a:lnTo>
                      <a:pt x="217" y="597"/>
                    </a:lnTo>
                    <a:lnTo>
                      <a:pt x="217" y="587"/>
                    </a:lnTo>
                    <a:lnTo>
                      <a:pt x="215" y="573"/>
                    </a:lnTo>
                    <a:lnTo>
                      <a:pt x="194" y="561"/>
                    </a:lnTo>
                    <a:lnTo>
                      <a:pt x="186" y="561"/>
                    </a:lnTo>
                    <a:lnTo>
                      <a:pt x="179" y="549"/>
                    </a:lnTo>
                    <a:lnTo>
                      <a:pt x="165" y="547"/>
                    </a:lnTo>
                    <a:lnTo>
                      <a:pt x="151" y="538"/>
                    </a:lnTo>
                    <a:lnTo>
                      <a:pt x="127" y="538"/>
                    </a:lnTo>
                    <a:lnTo>
                      <a:pt x="120" y="531"/>
                    </a:lnTo>
                    <a:lnTo>
                      <a:pt x="123" y="516"/>
                    </a:lnTo>
                    <a:lnTo>
                      <a:pt x="113" y="512"/>
                    </a:lnTo>
                    <a:lnTo>
                      <a:pt x="113" y="500"/>
                    </a:lnTo>
                    <a:lnTo>
                      <a:pt x="83" y="472"/>
                    </a:lnTo>
                    <a:lnTo>
                      <a:pt x="83" y="462"/>
                    </a:lnTo>
                    <a:lnTo>
                      <a:pt x="87" y="462"/>
                    </a:lnTo>
                    <a:lnTo>
                      <a:pt x="87" y="450"/>
                    </a:lnTo>
                    <a:lnTo>
                      <a:pt x="83" y="448"/>
                    </a:lnTo>
                    <a:lnTo>
                      <a:pt x="76" y="448"/>
                    </a:lnTo>
                    <a:lnTo>
                      <a:pt x="69" y="441"/>
                    </a:lnTo>
                    <a:lnTo>
                      <a:pt x="69" y="434"/>
                    </a:lnTo>
                    <a:lnTo>
                      <a:pt x="66" y="431"/>
                    </a:lnTo>
                    <a:lnTo>
                      <a:pt x="66" y="424"/>
                    </a:lnTo>
                    <a:lnTo>
                      <a:pt x="69" y="424"/>
                    </a:lnTo>
                    <a:lnTo>
                      <a:pt x="73" y="427"/>
                    </a:lnTo>
                    <a:lnTo>
                      <a:pt x="83" y="431"/>
                    </a:lnTo>
                    <a:lnTo>
                      <a:pt x="69" y="417"/>
                    </a:lnTo>
                    <a:lnTo>
                      <a:pt x="76" y="413"/>
                    </a:lnTo>
                    <a:lnTo>
                      <a:pt x="90" y="417"/>
                    </a:lnTo>
                    <a:lnTo>
                      <a:pt x="94" y="413"/>
                    </a:lnTo>
                    <a:lnTo>
                      <a:pt x="97" y="417"/>
                    </a:lnTo>
                    <a:lnTo>
                      <a:pt x="94" y="413"/>
                    </a:lnTo>
                    <a:lnTo>
                      <a:pt x="87" y="413"/>
                    </a:lnTo>
                    <a:lnTo>
                      <a:pt x="83" y="410"/>
                    </a:lnTo>
                    <a:lnTo>
                      <a:pt x="80" y="413"/>
                    </a:lnTo>
                    <a:lnTo>
                      <a:pt x="73" y="410"/>
                    </a:lnTo>
                    <a:lnTo>
                      <a:pt x="69" y="410"/>
                    </a:lnTo>
                    <a:lnTo>
                      <a:pt x="69" y="420"/>
                    </a:lnTo>
                    <a:lnTo>
                      <a:pt x="66" y="424"/>
                    </a:lnTo>
                    <a:lnTo>
                      <a:pt x="57" y="413"/>
                    </a:lnTo>
                    <a:lnTo>
                      <a:pt x="52" y="417"/>
                    </a:lnTo>
                    <a:lnTo>
                      <a:pt x="52" y="405"/>
                    </a:lnTo>
                    <a:lnTo>
                      <a:pt x="59" y="413"/>
                    </a:lnTo>
                    <a:lnTo>
                      <a:pt x="50" y="401"/>
                    </a:lnTo>
                    <a:lnTo>
                      <a:pt x="28" y="382"/>
                    </a:lnTo>
                    <a:lnTo>
                      <a:pt x="28" y="354"/>
                    </a:lnTo>
                    <a:lnTo>
                      <a:pt x="21" y="342"/>
                    </a:lnTo>
                    <a:lnTo>
                      <a:pt x="14" y="337"/>
                    </a:lnTo>
                    <a:lnTo>
                      <a:pt x="12" y="332"/>
                    </a:lnTo>
                    <a:lnTo>
                      <a:pt x="17" y="318"/>
                    </a:lnTo>
                    <a:lnTo>
                      <a:pt x="21" y="295"/>
                    </a:lnTo>
                    <a:lnTo>
                      <a:pt x="17" y="280"/>
                    </a:lnTo>
                    <a:lnTo>
                      <a:pt x="17" y="273"/>
                    </a:lnTo>
                    <a:lnTo>
                      <a:pt x="12" y="266"/>
                    </a:lnTo>
                    <a:lnTo>
                      <a:pt x="12" y="252"/>
                    </a:lnTo>
                    <a:lnTo>
                      <a:pt x="7" y="243"/>
                    </a:lnTo>
                    <a:lnTo>
                      <a:pt x="12" y="226"/>
                    </a:lnTo>
                    <a:lnTo>
                      <a:pt x="17" y="226"/>
                    </a:lnTo>
                    <a:lnTo>
                      <a:pt x="17" y="221"/>
                    </a:lnTo>
                    <a:lnTo>
                      <a:pt x="14" y="221"/>
                    </a:lnTo>
                    <a:lnTo>
                      <a:pt x="21" y="212"/>
                    </a:lnTo>
                    <a:lnTo>
                      <a:pt x="21" y="169"/>
                    </a:lnTo>
                    <a:lnTo>
                      <a:pt x="24" y="160"/>
                    </a:lnTo>
                    <a:lnTo>
                      <a:pt x="24" y="146"/>
                    </a:lnTo>
                    <a:lnTo>
                      <a:pt x="28" y="146"/>
                    </a:lnTo>
                    <a:lnTo>
                      <a:pt x="24" y="120"/>
                    </a:lnTo>
                    <a:lnTo>
                      <a:pt x="35" y="118"/>
                    </a:lnTo>
                    <a:lnTo>
                      <a:pt x="43" y="122"/>
                    </a:lnTo>
                    <a:lnTo>
                      <a:pt x="45" y="120"/>
                    </a:lnTo>
                    <a:lnTo>
                      <a:pt x="24" y="118"/>
                    </a:lnTo>
                    <a:lnTo>
                      <a:pt x="21" y="106"/>
                    </a:lnTo>
                    <a:lnTo>
                      <a:pt x="24" y="113"/>
                    </a:lnTo>
                    <a:lnTo>
                      <a:pt x="28" y="106"/>
                    </a:lnTo>
                    <a:lnTo>
                      <a:pt x="24" y="106"/>
                    </a:lnTo>
                    <a:lnTo>
                      <a:pt x="28" y="101"/>
                    </a:lnTo>
                    <a:lnTo>
                      <a:pt x="21" y="101"/>
                    </a:lnTo>
                    <a:lnTo>
                      <a:pt x="21" y="99"/>
                    </a:lnTo>
                    <a:lnTo>
                      <a:pt x="28" y="92"/>
                    </a:lnTo>
                    <a:lnTo>
                      <a:pt x="21" y="89"/>
                    </a:lnTo>
                    <a:lnTo>
                      <a:pt x="17" y="96"/>
                    </a:lnTo>
                    <a:lnTo>
                      <a:pt x="12" y="66"/>
                    </a:lnTo>
                    <a:lnTo>
                      <a:pt x="5" y="51"/>
                    </a:lnTo>
                    <a:lnTo>
                      <a:pt x="0" y="40"/>
                    </a:lnTo>
                    <a:lnTo>
                      <a:pt x="24" y="44"/>
                    </a:lnTo>
                    <a:lnTo>
                      <a:pt x="43" y="49"/>
                    </a:lnTo>
                    <a:lnTo>
                      <a:pt x="50" y="44"/>
                    </a:lnTo>
                    <a:lnTo>
                      <a:pt x="57" y="49"/>
                    </a:lnTo>
                    <a:lnTo>
                      <a:pt x="59" y="44"/>
                    </a:lnTo>
                    <a:lnTo>
                      <a:pt x="59" y="49"/>
                    </a:lnTo>
                    <a:lnTo>
                      <a:pt x="61" y="54"/>
                    </a:lnTo>
                    <a:lnTo>
                      <a:pt x="59" y="61"/>
                    </a:lnTo>
                    <a:lnTo>
                      <a:pt x="57" y="59"/>
                    </a:lnTo>
                    <a:lnTo>
                      <a:pt x="45" y="77"/>
                    </a:lnTo>
                    <a:lnTo>
                      <a:pt x="57" y="75"/>
                    </a:lnTo>
                    <a:lnTo>
                      <a:pt x="50" y="75"/>
                    </a:lnTo>
                    <a:lnTo>
                      <a:pt x="66" y="54"/>
                    </a:lnTo>
                    <a:lnTo>
                      <a:pt x="69" y="61"/>
                    </a:lnTo>
                    <a:lnTo>
                      <a:pt x="61" y="66"/>
                    </a:lnTo>
                    <a:lnTo>
                      <a:pt x="61" y="68"/>
                    </a:lnTo>
                    <a:lnTo>
                      <a:pt x="61" y="66"/>
                    </a:lnTo>
                    <a:lnTo>
                      <a:pt x="61" y="73"/>
                    </a:lnTo>
                    <a:lnTo>
                      <a:pt x="66" y="68"/>
                    </a:lnTo>
                    <a:lnTo>
                      <a:pt x="66" y="82"/>
                    </a:lnTo>
                    <a:lnTo>
                      <a:pt x="61" y="77"/>
                    </a:lnTo>
                    <a:lnTo>
                      <a:pt x="61" y="75"/>
                    </a:lnTo>
                    <a:lnTo>
                      <a:pt x="59" y="85"/>
                    </a:lnTo>
                    <a:lnTo>
                      <a:pt x="59" y="75"/>
                    </a:lnTo>
                    <a:lnTo>
                      <a:pt x="50" y="85"/>
                    </a:lnTo>
                    <a:lnTo>
                      <a:pt x="57" y="89"/>
                    </a:lnTo>
                    <a:lnTo>
                      <a:pt x="57" y="85"/>
                    </a:lnTo>
                    <a:lnTo>
                      <a:pt x="59" y="89"/>
                    </a:lnTo>
                    <a:lnTo>
                      <a:pt x="73" y="75"/>
                    </a:lnTo>
                    <a:lnTo>
                      <a:pt x="69" y="66"/>
                    </a:lnTo>
                    <a:lnTo>
                      <a:pt x="73" y="54"/>
                    </a:lnTo>
                    <a:lnTo>
                      <a:pt x="73" y="51"/>
                    </a:lnTo>
                    <a:lnTo>
                      <a:pt x="69" y="44"/>
                    </a:lnTo>
                    <a:lnTo>
                      <a:pt x="69" y="49"/>
                    </a:lnTo>
                    <a:lnTo>
                      <a:pt x="66" y="44"/>
                    </a:lnTo>
                    <a:lnTo>
                      <a:pt x="69" y="42"/>
                    </a:lnTo>
                    <a:lnTo>
                      <a:pt x="59" y="35"/>
                    </a:lnTo>
                    <a:lnTo>
                      <a:pt x="66" y="35"/>
                    </a:lnTo>
                    <a:lnTo>
                      <a:pt x="69" y="28"/>
                    </a:lnTo>
                    <a:lnTo>
                      <a:pt x="66" y="25"/>
                    </a:lnTo>
                    <a:lnTo>
                      <a:pt x="61" y="23"/>
                    </a:lnTo>
                    <a:lnTo>
                      <a:pt x="59" y="21"/>
                    </a:lnTo>
                    <a:lnTo>
                      <a:pt x="59" y="16"/>
                    </a:lnTo>
                    <a:lnTo>
                      <a:pt x="59" y="16"/>
                    </a:lnTo>
                    <a:lnTo>
                      <a:pt x="59" y="16"/>
                    </a:lnTo>
                    <a:lnTo>
                      <a:pt x="59" y="16"/>
                    </a:lnTo>
                    <a:lnTo>
                      <a:pt x="59"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43" name="Freeform 106">
                <a:extLst>
                  <a:ext uri="{FF2B5EF4-FFF2-40B4-BE49-F238E27FC236}">
                    <a16:creationId xmlns:a16="http://schemas.microsoft.com/office/drawing/2014/main" id="{CD74D978-F301-4A76-8464-BDFADC04D74B}"/>
                  </a:ext>
                </a:extLst>
              </p:cNvPr>
              <p:cNvSpPr>
                <a:spLocks/>
              </p:cNvSpPr>
              <p:nvPr/>
            </p:nvSpPr>
            <p:spPr bwMode="gray">
              <a:xfrm>
                <a:off x="14776450" y="1465263"/>
                <a:ext cx="11113" cy="4763"/>
              </a:xfrm>
              <a:custGeom>
                <a:avLst/>
                <a:gdLst>
                  <a:gd name="T0" fmla="*/ 5 w 7"/>
                  <a:gd name="T1" fmla="*/ 0 h 3"/>
                  <a:gd name="T2" fmla="*/ 7 w 7"/>
                  <a:gd name="T3" fmla="*/ 3 h 3"/>
                  <a:gd name="T4" fmla="*/ 0 w 7"/>
                  <a:gd name="T5" fmla="*/ 3 h 3"/>
                  <a:gd name="T6" fmla="*/ 5 w 7"/>
                  <a:gd name="T7" fmla="*/ 0 h 3"/>
                  <a:gd name="T8" fmla="*/ 5 w 7"/>
                  <a:gd name="T9" fmla="*/ 0 h 3"/>
                  <a:gd name="T10" fmla="*/ 5 w 7"/>
                  <a:gd name="T11" fmla="*/ 0 h 3"/>
                  <a:gd name="T12" fmla="*/ 5 w 7"/>
                  <a:gd name="T13" fmla="*/ 0 h 3"/>
                  <a:gd name="T14" fmla="*/ 5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5" y="0"/>
                    </a:moveTo>
                    <a:lnTo>
                      <a:pt x="7" y="3"/>
                    </a:lnTo>
                    <a:lnTo>
                      <a:pt x="0" y="3"/>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44" name="Freeform 107">
                <a:extLst>
                  <a:ext uri="{FF2B5EF4-FFF2-40B4-BE49-F238E27FC236}">
                    <a16:creationId xmlns:a16="http://schemas.microsoft.com/office/drawing/2014/main" id="{F7D4ACD2-3183-466E-ADC5-7C0018C46B5C}"/>
                  </a:ext>
                </a:extLst>
              </p:cNvPr>
              <p:cNvSpPr>
                <a:spLocks/>
              </p:cNvSpPr>
              <p:nvPr/>
            </p:nvSpPr>
            <p:spPr bwMode="gray">
              <a:xfrm>
                <a:off x="14765338" y="1470025"/>
                <a:ext cx="11113" cy="11113"/>
              </a:xfrm>
              <a:custGeom>
                <a:avLst/>
                <a:gdLst>
                  <a:gd name="T0" fmla="*/ 5 w 7"/>
                  <a:gd name="T1" fmla="*/ 0 h 7"/>
                  <a:gd name="T2" fmla="*/ 7 w 7"/>
                  <a:gd name="T3" fmla="*/ 7 h 7"/>
                  <a:gd name="T4" fmla="*/ 0 w 7"/>
                  <a:gd name="T5" fmla="*/ 7 h 7"/>
                  <a:gd name="T6" fmla="*/ 0 w 7"/>
                  <a:gd name="T7" fmla="*/ 0 h 7"/>
                  <a:gd name="T8" fmla="*/ 5 w 7"/>
                  <a:gd name="T9" fmla="*/ 0 h 7"/>
                  <a:gd name="T10" fmla="*/ 5 w 7"/>
                  <a:gd name="T11" fmla="*/ 0 h 7"/>
                  <a:gd name="T12" fmla="*/ 5 w 7"/>
                  <a:gd name="T13" fmla="*/ 0 h 7"/>
                  <a:gd name="T14" fmla="*/ 5 w 7"/>
                  <a:gd name="T15" fmla="*/ 0 h 7"/>
                  <a:gd name="T16" fmla="*/ 5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5" y="0"/>
                    </a:moveTo>
                    <a:lnTo>
                      <a:pt x="7" y="7"/>
                    </a:lnTo>
                    <a:lnTo>
                      <a:pt x="0" y="7"/>
                    </a:lnTo>
                    <a:lnTo>
                      <a:pt x="0" y="0"/>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45" name="Freeform 108">
                <a:extLst>
                  <a:ext uri="{FF2B5EF4-FFF2-40B4-BE49-F238E27FC236}">
                    <a16:creationId xmlns:a16="http://schemas.microsoft.com/office/drawing/2014/main" id="{1E28392E-6628-48F2-BEED-CB284949B5FF}"/>
                  </a:ext>
                </a:extLst>
              </p:cNvPr>
              <p:cNvSpPr>
                <a:spLocks/>
              </p:cNvSpPr>
              <p:nvPr/>
            </p:nvSpPr>
            <p:spPr bwMode="gray">
              <a:xfrm>
                <a:off x="14776450" y="1477963"/>
                <a:ext cx="7938" cy="3175"/>
              </a:xfrm>
              <a:custGeom>
                <a:avLst/>
                <a:gdLst>
                  <a:gd name="T0" fmla="*/ 5 w 5"/>
                  <a:gd name="T1" fmla="*/ 0 h 2"/>
                  <a:gd name="T2" fmla="*/ 5 w 5"/>
                  <a:gd name="T3" fmla="*/ 2 h 2"/>
                  <a:gd name="T4" fmla="*/ 0 w 5"/>
                  <a:gd name="T5" fmla="*/ 2 h 2"/>
                  <a:gd name="T6" fmla="*/ 5 w 5"/>
                  <a:gd name="T7" fmla="*/ 0 h 2"/>
                  <a:gd name="T8" fmla="*/ 5 w 5"/>
                  <a:gd name="T9" fmla="*/ 0 h 2"/>
                  <a:gd name="T10" fmla="*/ 5 w 5"/>
                  <a:gd name="T11" fmla="*/ 0 h 2"/>
                  <a:gd name="T12" fmla="*/ 5 w 5"/>
                  <a:gd name="T13" fmla="*/ 0 h 2"/>
                  <a:gd name="T14" fmla="*/ 5 w 5"/>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5" y="0"/>
                    </a:moveTo>
                    <a:lnTo>
                      <a:pt x="5" y="2"/>
                    </a:lnTo>
                    <a:lnTo>
                      <a:pt x="0" y="2"/>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46" name="Freeform 109">
                <a:extLst>
                  <a:ext uri="{FF2B5EF4-FFF2-40B4-BE49-F238E27FC236}">
                    <a16:creationId xmlns:a16="http://schemas.microsoft.com/office/drawing/2014/main" id="{ABBABE41-6526-45A7-9F92-A33A2741AF3F}"/>
                  </a:ext>
                </a:extLst>
              </p:cNvPr>
              <p:cNvSpPr>
                <a:spLocks/>
              </p:cNvSpPr>
              <p:nvPr/>
            </p:nvSpPr>
            <p:spPr bwMode="gray">
              <a:xfrm>
                <a:off x="14787563" y="1489075"/>
                <a:ext cx="22225" cy="22225"/>
              </a:xfrm>
              <a:custGeom>
                <a:avLst/>
                <a:gdLst>
                  <a:gd name="T0" fmla="*/ 7 w 14"/>
                  <a:gd name="T1" fmla="*/ 0 h 14"/>
                  <a:gd name="T2" fmla="*/ 7 w 14"/>
                  <a:gd name="T3" fmla="*/ 2 h 14"/>
                  <a:gd name="T4" fmla="*/ 2 w 14"/>
                  <a:gd name="T5" fmla="*/ 4 h 14"/>
                  <a:gd name="T6" fmla="*/ 14 w 14"/>
                  <a:gd name="T7" fmla="*/ 11 h 14"/>
                  <a:gd name="T8" fmla="*/ 10 w 14"/>
                  <a:gd name="T9" fmla="*/ 14 h 14"/>
                  <a:gd name="T10" fmla="*/ 0 w 14"/>
                  <a:gd name="T11" fmla="*/ 4 h 14"/>
                  <a:gd name="T12" fmla="*/ 7 w 14"/>
                  <a:gd name="T13" fmla="*/ 0 h 14"/>
                  <a:gd name="T14" fmla="*/ 7 w 14"/>
                  <a:gd name="T15" fmla="*/ 0 h 14"/>
                  <a:gd name="T16" fmla="*/ 7 w 14"/>
                  <a:gd name="T17" fmla="*/ 0 h 14"/>
                  <a:gd name="T18" fmla="*/ 7 w 14"/>
                  <a:gd name="T19" fmla="*/ 0 h 14"/>
                  <a:gd name="T20" fmla="*/ 7 w 14"/>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4">
                    <a:moveTo>
                      <a:pt x="7" y="0"/>
                    </a:moveTo>
                    <a:lnTo>
                      <a:pt x="7" y="2"/>
                    </a:lnTo>
                    <a:lnTo>
                      <a:pt x="2" y="4"/>
                    </a:lnTo>
                    <a:lnTo>
                      <a:pt x="14" y="11"/>
                    </a:lnTo>
                    <a:lnTo>
                      <a:pt x="10" y="14"/>
                    </a:lnTo>
                    <a:lnTo>
                      <a:pt x="0" y="4"/>
                    </a:lnTo>
                    <a:lnTo>
                      <a:pt x="7" y="0"/>
                    </a:lnTo>
                    <a:lnTo>
                      <a:pt x="7" y="0"/>
                    </a:lnTo>
                    <a:lnTo>
                      <a:pt x="7"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47" name="Freeform 110">
                <a:extLst>
                  <a:ext uri="{FF2B5EF4-FFF2-40B4-BE49-F238E27FC236}">
                    <a16:creationId xmlns:a16="http://schemas.microsoft.com/office/drawing/2014/main" id="{E4C37B68-6144-4235-BE9C-009B0226BEB1}"/>
                  </a:ext>
                </a:extLst>
              </p:cNvPr>
              <p:cNvSpPr>
                <a:spLocks/>
              </p:cNvSpPr>
              <p:nvPr/>
            </p:nvSpPr>
            <p:spPr bwMode="gray">
              <a:xfrm>
                <a:off x="14798675" y="1530350"/>
                <a:ext cx="0" cy="3175"/>
              </a:xfrm>
              <a:custGeom>
                <a:avLst/>
                <a:gdLst>
                  <a:gd name="T0" fmla="*/ 0 h 2"/>
                  <a:gd name="T1" fmla="*/ 2 h 2"/>
                  <a:gd name="T2" fmla="*/ 0 h 2"/>
                  <a:gd name="T3" fmla="*/ 0 h 2"/>
                  <a:gd name="T4" fmla="*/ 0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2"/>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48" name="Freeform 111">
                <a:extLst>
                  <a:ext uri="{FF2B5EF4-FFF2-40B4-BE49-F238E27FC236}">
                    <a16:creationId xmlns:a16="http://schemas.microsoft.com/office/drawing/2014/main" id="{2D5EA94A-A776-4528-A2B3-34F594345DF3}"/>
                  </a:ext>
                </a:extLst>
              </p:cNvPr>
              <p:cNvSpPr>
                <a:spLocks/>
              </p:cNvSpPr>
              <p:nvPr/>
            </p:nvSpPr>
            <p:spPr bwMode="gray">
              <a:xfrm>
                <a:off x="14798675" y="1541463"/>
                <a:ext cx="4763" cy="6350"/>
              </a:xfrm>
              <a:custGeom>
                <a:avLst/>
                <a:gdLst>
                  <a:gd name="T0" fmla="*/ 3 w 3"/>
                  <a:gd name="T1" fmla="*/ 2 h 4"/>
                  <a:gd name="T2" fmla="*/ 0 w 3"/>
                  <a:gd name="T3" fmla="*/ 4 h 4"/>
                  <a:gd name="T4" fmla="*/ 3 w 3"/>
                  <a:gd name="T5" fmla="*/ 0 h 4"/>
                  <a:gd name="T6" fmla="*/ 3 w 3"/>
                  <a:gd name="T7" fmla="*/ 2 h 4"/>
                  <a:gd name="T8" fmla="*/ 3 w 3"/>
                  <a:gd name="T9" fmla="*/ 2 h 4"/>
                  <a:gd name="T10" fmla="*/ 3 w 3"/>
                  <a:gd name="T11" fmla="*/ 2 h 4"/>
                  <a:gd name="T12" fmla="*/ 3 w 3"/>
                  <a:gd name="T13" fmla="*/ 2 h 4"/>
                  <a:gd name="T14" fmla="*/ 3 w 3"/>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3" y="2"/>
                    </a:moveTo>
                    <a:lnTo>
                      <a:pt x="0" y="4"/>
                    </a:lnTo>
                    <a:lnTo>
                      <a:pt x="3" y="0"/>
                    </a:lnTo>
                    <a:lnTo>
                      <a:pt x="3" y="2"/>
                    </a:lnTo>
                    <a:lnTo>
                      <a:pt x="3" y="2"/>
                    </a:lnTo>
                    <a:lnTo>
                      <a:pt x="3" y="2"/>
                    </a:lnTo>
                    <a:lnTo>
                      <a:pt x="3" y="2"/>
                    </a:lnTo>
                    <a:lnTo>
                      <a:pt x="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49" name="Freeform 112">
                <a:extLst>
                  <a:ext uri="{FF2B5EF4-FFF2-40B4-BE49-F238E27FC236}">
                    <a16:creationId xmlns:a16="http://schemas.microsoft.com/office/drawing/2014/main" id="{1BB949C2-B9AC-4A94-9EC4-C644FF64303B}"/>
                  </a:ext>
                </a:extLst>
              </p:cNvPr>
              <p:cNvSpPr>
                <a:spLocks/>
              </p:cNvSpPr>
              <p:nvPr/>
            </p:nvSpPr>
            <p:spPr bwMode="gray">
              <a:xfrm>
                <a:off x="14784388" y="1555750"/>
                <a:ext cx="0" cy="4763"/>
              </a:xfrm>
              <a:custGeom>
                <a:avLst/>
                <a:gdLst>
                  <a:gd name="T0" fmla="*/ 0 h 3"/>
                  <a:gd name="T1" fmla="*/ 3 h 3"/>
                  <a:gd name="T2" fmla="*/ 0 h 3"/>
                  <a:gd name="T3" fmla="*/ 0 h 3"/>
                  <a:gd name="T4" fmla="*/ 0 h 3"/>
                  <a:gd name="T5" fmla="*/ 0 h 3"/>
                  <a:gd name="T6" fmla="*/ 0 h 3"/>
                </a:gdLst>
                <a:ahLst/>
                <a:cxnLst>
                  <a:cxn ang="0">
                    <a:pos x="0" y="T0"/>
                  </a:cxn>
                  <a:cxn ang="0">
                    <a:pos x="0" y="T1"/>
                  </a:cxn>
                  <a:cxn ang="0">
                    <a:pos x="0" y="T2"/>
                  </a:cxn>
                  <a:cxn ang="0">
                    <a:pos x="0" y="T3"/>
                  </a:cxn>
                  <a:cxn ang="0">
                    <a:pos x="0" y="T4"/>
                  </a:cxn>
                  <a:cxn ang="0">
                    <a:pos x="0" y="T5"/>
                  </a:cxn>
                  <a:cxn ang="0">
                    <a:pos x="0" y="T6"/>
                  </a:cxn>
                </a:cxnLst>
                <a:rect l="0" t="0" r="r" b="b"/>
                <a:pathLst>
                  <a:path h="3">
                    <a:moveTo>
                      <a:pt x="0" y="0"/>
                    </a:moveTo>
                    <a:lnTo>
                      <a:pt x="0" y="3"/>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50" name="Freeform 113">
                <a:extLst>
                  <a:ext uri="{FF2B5EF4-FFF2-40B4-BE49-F238E27FC236}">
                    <a16:creationId xmlns:a16="http://schemas.microsoft.com/office/drawing/2014/main" id="{B199C168-D6FC-4B6D-9BCA-7FCD73838E34}"/>
                  </a:ext>
                </a:extLst>
              </p:cNvPr>
              <p:cNvSpPr>
                <a:spLocks/>
              </p:cNvSpPr>
              <p:nvPr/>
            </p:nvSpPr>
            <p:spPr bwMode="gray">
              <a:xfrm>
                <a:off x="17297400" y="1720850"/>
                <a:ext cx="11113" cy="11113"/>
              </a:xfrm>
              <a:custGeom>
                <a:avLst/>
                <a:gdLst>
                  <a:gd name="T0" fmla="*/ 7 w 7"/>
                  <a:gd name="T1" fmla="*/ 0 h 7"/>
                  <a:gd name="T2" fmla="*/ 7 w 7"/>
                  <a:gd name="T3" fmla="*/ 2 h 7"/>
                  <a:gd name="T4" fmla="*/ 2 w 7"/>
                  <a:gd name="T5" fmla="*/ 7 h 7"/>
                  <a:gd name="T6" fmla="*/ 0 w 7"/>
                  <a:gd name="T7" fmla="*/ 7 h 7"/>
                  <a:gd name="T8" fmla="*/ 0 w 7"/>
                  <a:gd name="T9" fmla="*/ 0 h 7"/>
                  <a:gd name="T10" fmla="*/ 7 w 7"/>
                  <a:gd name="T11" fmla="*/ 0 h 7"/>
                  <a:gd name="T12" fmla="*/ 7 w 7"/>
                  <a:gd name="T13" fmla="*/ 0 h 7"/>
                  <a:gd name="T14" fmla="*/ 7 w 7"/>
                  <a:gd name="T15" fmla="*/ 0 h 7"/>
                  <a:gd name="T16" fmla="*/ 7 w 7"/>
                  <a:gd name="T17" fmla="*/ 0 h 7"/>
                  <a:gd name="T18" fmla="*/ 7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7" y="0"/>
                    </a:moveTo>
                    <a:lnTo>
                      <a:pt x="7" y="2"/>
                    </a:lnTo>
                    <a:lnTo>
                      <a:pt x="2" y="7"/>
                    </a:lnTo>
                    <a:lnTo>
                      <a:pt x="0" y="7"/>
                    </a:lnTo>
                    <a:lnTo>
                      <a:pt x="0" y="0"/>
                    </a:lnTo>
                    <a:lnTo>
                      <a:pt x="7" y="0"/>
                    </a:lnTo>
                    <a:lnTo>
                      <a:pt x="7" y="0"/>
                    </a:lnTo>
                    <a:lnTo>
                      <a:pt x="7"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51" name="Freeform 114">
                <a:extLst>
                  <a:ext uri="{FF2B5EF4-FFF2-40B4-BE49-F238E27FC236}">
                    <a16:creationId xmlns:a16="http://schemas.microsoft.com/office/drawing/2014/main" id="{7CFCF190-A457-40EC-829C-BC743A3446D9}"/>
                  </a:ext>
                </a:extLst>
              </p:cNvPr>
              <p:cNvSpPr>
                <a:spLocks/>
              </p:cNvSpPr>
              <p:nvPr/>
            </p:nvSpPr>
            <p:spPr bwMode="gray">
              <a:xfrm>
                <a:off x="17281525" y="1731963"/>
                <a:ext cx="4763" cy="3175"/>
              </a:xfrm>
              <a:custGeom>
                <a:avLst/>
                <a:gdLst>
                  <a:gd name="T0" fmla="*/ 3 w 3"/>
                  <a:gd name="T1" fmla="*/ 0 h 2"/>
                  <a:gd name="T2" fmla="*/ 3 w 3"/>
                  <a:gd name="T3" fmla="*/ 2 h 2"/>
                  <a:gd name="T4" fmla="*/ 0 w 3"/>
                  <a:gd name="T5" fmla="*/ 2 h 2"/>
                  <a:gd name="T6" fmla="*/ 3 w 3"/>
                  <a:gd name="T7" fmla="*/ 0 h 2"/>
                  <a:gd name="T8" fmla="*/ 3 w 3"/>
                  <a:gd name="T9" fmla="*/ 0 h 2"/>
                  <a:gd name="T10" fmla="*/ 3 w 3"/>
                  <a:gd name="T11" fmla="*/ 0 h 2"/>
                  <a:gd name="T12" fmla="*/ 3 w 3"/>
                  <a:gd name="T13" fmla="*/ 0 h 2"/>
                  <a:gd name="T14" fmla="*/ 3 w 3"/>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3" y="0"/>
                    </a:moveTo>
                    <a:lnTo>
                      <a:pt x="3" y="2"/>
                    </a:lnTo>
                    <a:lnTo>
                      <a:pt x="0" y="2"/>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52" name="Freeform 115">
                <a:extLst>
                  <a:ext uri="{FF2B5EF4-FFF2-40B4-BE49-F238E27FC236}">
                    <a16:creationId xmlns:a16="http://schemas.microsoft.com/office/drawing/2014/main" id="{FC15DF10-AC25-4B55-A3B8-F50AD053AFEC}"/>
                  </a:ext>
                </a:extLst>
              </p:cNvPr>
              <p:cNvSpPr>
                <a:spLocks/>
              </p:cNvSpPr>
              <p:nvPr/>
            </p:nvSpPr>
            <p:spPr bwMode="gray">
              <a:xfrm>
                <a:off x="17275175" y="1735138"/>
                <a:ext cx="6350" cy="4763"/>
              </a:xfrm>
              <a:custGeom>
                <a:avLst/>
                <a:gdLst>
                  <a:gd name="T0" fmla="*/ 4 w 4"/>
                  <a:gd name="T1" fmla="*/ 3 h 3"/>
                  <a:gd name="T2" fmla="*/ 0 w 4"/>
                  <a:gd name="T3" fmla="*/ 3 h 3"/>
                  <a:gd name="T4" fmla="*/ 0 w 4"/>
                  <a:gd name="T5" fmla="*/ 0 h 3"/>
                  <a:gd name="T6" fmla="*/ 4 w 4"/>
                  <a:gd name="T7" fmla="*/ 3 h 3"/>
                  <a:gd name="T8" fmla="*/ 4 w 4"/>
                  <a:gd name="T9" fmla="*/ 3 h 3"/>
                  <a:gd name="T10" fmla="*/ 4 w 4"/>
                  <a:gd name="T11" fmla="*/ 3 h 3"/>
                  <a:gd name="T12" fmla="*/ 4 w 4"/>
                  <a:gd name="T13" fmla="*/ 3 h 3"/>
                  <a:gd name="T14" fmla="*/ 4 w 4"/>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4" y="3"/>
                    </a:moveTo>
                    <a:lnTo>
                      <a:pt x="0" y="3"/>
                    </a:lnTo>
                    <a:lnTo>
                      <a:pt x="0" y="0"/>
                    </a:lnTo>
                    <a:lnTo>
                      <a:pt x="4" y="3"/>
                    </a:lnTo>
                    <a:lnTo>
                      <a:pt x="4" y="3"/>
                    </a:lnTo>
                    <a:lnTo>
                      <a:pt x="4" y="3"/>
                    </a:lnTo>
                    <a:lnTo>
                      <a:pt x="4" y="3"/>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53" name="Freeform 116">
                <a:extLst>
                  <a:ext uri="{FF2B5EF4-FFF2-40B4-BE49-F238E27FC236}">
                    <a16:creationId xmlns:a16="http://schemas.microsoft.com/office/drawing/2014/main" id="{D47C29A0-CB5C-44E0-981A-88A6B8713D4A}"/>
                  </a:ext>
                </a:extLst>
              </p:cNvPr>
              <p:cNvSpPr>
                <a:spLocks/>
              </p:cNvSpPr>
              <p:nvPr/>
            </p:nvSpPr>
            <p:spPr bwMode="gray">
              <a:xfrm>
                <a:off x="17159288" y="1881188"/>
                <a:ext cx="11113" cy="12700"/>
              </a:xfrm>
              <a:custGeom>
                <a:avLst/>
                <a:gdLst>
                  <a:gd name="T0" fmla="*/ 7 w 7"/>
                  <a:gd name="T1" fmla="*/ 0 h 8"/>
                  <a:gd name="T2" fmla="*/ 4 w 7"/>
                  <a:gd name="T3" fmla="*/ 3 h 8"/>
                  <a:gd name="T4" fmla="*/ 0 w 7"/>
                  <a:gd name="T5" fmla="*/ 8 h 8"/>
                  <a:gd name="T6" fmla="*/ 7 w 7"/>
                  <a:gd name="T7" fmla="*/ 0 h 8"/>
                  <a:gd name="T8" fmla="*/ 7 w 7"/>
                  <a:gd name="T9" fmla="*/ 0 h 8"/>
                  <a:gd name="T10" fmla="*/ 7 w 7"/>
                  <a:gd name="T11" fmla="*/ 0 h 8"/>
                  <a:gd name="T12" fmla="*/ 7 w 7"/>
                  <a:gd name="T13" fmla="*/ 0 h 8"/>
                  <a:gd name="T14" fmla="*/ 7 w 7"/>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8">
                    <a:moveTo>
                      <a:pt x="7" y="0"/>
                    </a:moveTo>
                    <a:lnTo>
                      <a:pt x="4" y="3"/>
                    </a:lnTo>
                    <a:lnTo>
                      <a:pt x="0" y="8"/>
                    </a:lnTo>
                    <a:lnTo>
                      <a:pt x="7" y="0"/>
                    </a:lnTo>
                    <a:lnTo>
                      <a:pt x="7" y="0"/>
                    </a:lnTo>
                    <a:lnTo>
                      <a:pt x="7"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54" name="Freeform 117">
                <a:extLst>
                  <a:ext uri="{FF2B5EF4-FFF2-40B4-BE49-F238E27FC236}">
                    <a16:creationId xmlns:a16="http://schemas.microsoft.com/office/drawing/2014/main" id="{06C7AF82-682B-4887-B9E3-15CF7ABB7D5A}"/>
                  </a:ext>
                </a:extLst>
              </p:cNvPr>
              <p:cNvSpPr>
                <a:spLocks/>
              </p:cNvSpPr>
              <p:nvPr/>
            </p:nvSpPr>
            <p:spPr bwMode="gray">
              <a:xfrm>
                <a:off x="17181513" y="1893888"/>
                <a:ext cx="17463" cy="3175"/>
              </a:xfrm>
              <a:custGeom>
                <a:avLst/>
                <a:gdLst>
                  <a:gd name="T0" fmla="*/ 11 w 11"/>
                  <a:gd name="T1" fmla="*/ 0 h 2"/>
                  <a:gd name="T2" fmla="*/ 11 w 11"/>
                  <a:gd name="T3" fmla="*/ 2 h 2"/>
                  <a:gd name="T4" fmla="*/ 0 w 11"/>
                  <a:gd name="T5" fmla="*/ 2 h 2"/>
                  <a:gd name="T6" fmla="*/ 11 w 11"/>
                  <a:gd name="T7" fmla="*/ 0 h 2"/>
                  <a:gd name="T8" fmla="*/ 11 w 11"/>
                  <a:gd name="T9" fmla="*/ 0 h 2"/>
                  <a:gd name="T10" fmla="*/ 11 w 11"/>
                  <a:gd name="T11" fmla="*/ 0 h 2"/>
                  <a:gd name="T12" fmla="*/ 11 w 11"/>
                  <a:gd name="T13" fmla="*/ 0 h 2"/>
                  <a:gd name="T14" fmla="*/ 11 w 11"/>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
                    <a:moveTo>
                      <a:pt x="11" y="0"/>
                    </a:moveTo>
                    <a:lnTo>
                      <a:pt x="11" y="2"/>
                    </a:lnTo>
                    <a:lnTo>
                      <a:pt x="0" y="2"/>
                    </a:lnTo>
                    <a:lnTo>
                      <a:pt x="11" y="0"/>
                    </a:lnTo>
                    <a:lnTo>
                      <a:pt x="11" y="0"/>
                    </a:lnTo>
                    <a:lnTo>
                      <a:pt x="11" y="0"/>
                    </a:lnTo>
                    <a:lnTo>
                      <a:pt x="11" y="0"/>
                    </a:ln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55" name="Freeform 118">
                <a:extLst>
                  <a:ext uri="{FF2B5EF4-FFF2-40B4-BE49-F238E27FC236}">
                    <a16:creationId xmlns:a16="http://schemas.microsoft.com/office/drawing/2014/main" id="{B035736A-B1D8-40EB-A3E0-0C95437E5B02}"/>
                  </a:ext>
                </a:extLst>
              </p:cNvPr>
              <p:cNvSpPr>
                <a:spLocks/>
              </p:cNvSpPr>
              <p:nvPr/>
            </p:nvSpPr>
            <p:spPr bwMode="gray">
              <a:xfrm>
                <a:off x="17214850" y="1897063"/>
                <a:ext cx="11113" cy="7938"/>
              </a:xfrm>
              <a:custGeom>
                <a:avLst/>
                <a:gdLst>
                  <a:gd name="T0" fmla="*/ 2 w 7"/>
                  <a:gd name="T1" fmla="*/ 0 h 5"/>
                  <a:gd name="T2" fmla="*/ 7 w 7"/>
                  <a:gd name="T3" fmla="*/ 5 h 5"/>
                  <a:gd name="T4" fmla="*/ 0 w 7"/>
                  <a:gd name="T5" fmla="*/ 5 h 5"/>
                  <a:gd name="T6" fmla="*/ 2 w 7"/>
                  <a:gd name="T7" fmla="*/ 0 h 5"/>
                  <a:gd name="T8" fmla="*/ 2 w 7"/>
                  <a:gd name="T9" fmla="*/ 0 h 5"/>
                  <a:gd name="T10" fmla="*/ 2 w 7"/>
                  <a:gd name="T11" fmla="*/ 0 h 5"/>
                  <a:gd name="T12" fmla="*/ 2 w 7"/>
                  <a:gd name="T13" fmla="*/ 0 h 5"/>
                  <a:gd name="T14" fmla="*/ 2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2" y="0"/>
                    </a:moveTo>
                    <a:lnTo>
                      <a:pt x="7" y="5"/>
                    </a:lnTo>
                    <a:lnTo>
                      <a:pt x="0" y="5"/>
                    </a:lnTo>
                    <a:lnTo>
                      <a:pt x="2" y="0"/>
                    </a:lnTo>
                    <a:lnTo>
                      <a:pt x="2" y="0"/>
                    </a:lnTo>
                    <a:lnTo>
                      <a:pt x="2"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56" name="Freeform 119">
                <a:extLst>
                  <a:ext uri="{FF2B5EF4-FFF2-40B4-BE49-F238E27FC236}">
                    <a16:creationId xmlns:a16="http://schemas.microsoft.com/office/drawing/2014/main" id="{9DEFC7EC-A1E8-4E33-AE6C-9DBF2B25B164}"/>
                  </a:ext>
                </a:extLst>
              </p:cNvPr>
              <p:cNvSpPr>
                <a:spLocks/>
              </p:cNvSpPr>
              <p:nvPr/>
            </p:nvSpPr>
            <p:spPr bwMode="gray">
              <a:xfrm>
                <a:off x="17035463" y="1908175"/>
                <a:ext cx="104775" cy="33338"/>
              </a:xfrm>
              <a:custGeom>
                <a:avLst/>
                <a:gdLst>
                  <a:gd name="T0" fmla="*/ 37 w 66"/>
                  <a:gd name="T1" fmla="*/ 14 h 21"/>
                  <a:gd name="T2" fmla="*/ 9 w 66"/>
                  <a:gd name="T3" fmla="*/ 21 h 21"/>
                  <a:gd name="T4" fmla="*/ 14 w 66"/>
                  <a:gd name="T5" fmla="*/ 21 h 21"/>
                  <a:gd name="T6" fmla="*/ 2 w 66"/>
                  <a:gd name="T7" fmla="*/ 21 h 21"/>
                  <a:gd name="T8" fmla="*/ 7 w 66"/>
                  <a:gd name="T9" fmla="*/ 21 h 21"/>
                  <a:gd name="T10" fmla="*/ 0 w 66"/>
                  <a:gd name="T11" fmla="*/ 21 h 21"/>
                  <a:gd name="T12" fmla="*/ 2 w 66"/>
                  <a:gd name="T13" fmla="*/ 14 h 21"/>
                  <a:gd name="T14" fmla="*/ 14 w 66"/>
                  <a:gd name="T15" fmla="*/ 9 h 21"/>
                  <a:gd name="T16" fmla="*/ 44 w 66"/>
                  <a:gd name="T17" fmla="*/ 7 h 21"/>
                  <a:gd name="T18" fmla="*/ 54 w 66"/>
                  <a:gd name="T19" fmla="*/ 0 h 21"/>
                  <a:gd name="T20" fmla="*/ 44 w 66"/>
                  <a:gd name="T21" fmla="*/ 9 h 21"/>
                  <a:gd name="T22" fmla="*/ 66 w 66"/>
                  <a:gd name="T23" fmla="*/ 5 h 21"/>
                  <a:gd name="T24" fmla="*/ 37 w 66"/>
                  <a:gd name="T25" fmla="*/ 14 h 21"/>
                  <a:gd name="T26" fmla="*/ 37 w 66"/>
                  <a:gd name="T27" fmla="*/ 14 h 21"/>
                  <a:gd name="T28" fmla="*/ 37 w 66"/>
                  <a:gd name="T29" fmla="*/ 14 h 21"/>
                  <a:gd name="T30" fmla="*/ 37 w 66"/>
                  <a:gd name="T31" fmla="*/ 14 h 21"/>
                  <a:gd name="T32" fmla="*/ 37 w 66"/>
                  <a:gd name="T33" fmla="*/ 1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21">
                    <a:moveTo>
                      <a:pt x="37" y="14"/>
                    </a:moveTo>
                    <a:lnTo>
                      <a:pt x="9" y="21"/>
                    </a:lnTo>
                    <a:lnTo>
                      <a:pt x="14" y="21"/>
                    </a:lnTo>
                    <a:lnTo>
                      <a:pt x="2" y="21"/>
                    </a:lnTo>
                    <a:lnTo>
                      <a:pt x="7" y="21"/>
                    </a:lnTo>
                    <a:lnTo>
                      <a:pt x="0" y="21"/>
                    </a:lnTo>
                    <a:lnTo>
                      <a:pt x="2" y="14"/>
                    </a:lnTo>
                    <a:lnTo>
                      <a:pt x="14" y="9"/>
                    </a:lnTo>
                    <a:lnTo>
                      <a:pt x="44" y="7"/>
                    </a:lnTo>
                    <a:lnTo>
                      <a:pt x="54" y="0"/>
                    </a:lnTo>
                    <a:lnTo>
                      <a:pt x="44" y="9"/>
                    </a:lnTo>
                    <a:lnTo>
                      <a:pt x="66" y="5"/>
                    </a:lnTo>
                    <a:lnTo>
                      <a:pt x="37" y="14"/>
                    </a:lnTo>
                    <a:lnTo>
                      <a:pt x="37" y="14"/>
                    </a:lnTo>
                    <a:lnTo>
                      <a:pt x="37" y="14"/>
                    </a:lnTo>
                    <a:lnTo>
                      <a:pt x="37" y="14"/>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57" name="Freeform 120">
                <a:extLst>
                  <a:ext uri="{FF2B5EF4-FFF2-40B4-BE49-F238E27FC236}">
                    <a16:creationId xmlns:a16="http://schemas.microsoft.com/office/drawing/2014/main" id="{6C8537E7-EAFC-4CA7-A0E3-878904C52038}"/>
                  </a:ext>
                </a:extLst>
              </p:cNvPr>
              <p:cNvSpPr>
                <a:spLocks/>
              </p:cNvSpPr>
              <p:nvPr/>
            </p:nvSpPr>
            <p:spPr bwMode="gray">
              <a:xfrm>
                <a:off x="17027525" y="1941513"/>
                <a:ext cx="7938" cy="4763"/>
              </a:xfrm>
              <a:custGeom>
                <a:avLst/>
                <a:gdLst>
                  <a:gd name="T0" fmla="*/ 5 w 5"/>
                  <a:gd name="T1" fmla="*/ 0 h 3"/>
                  <a:gd name="T2" fmla="*/ 0 w 5"/>
                  <a:gd name="T3" fmla="*/ 3 h 3"/>
                  <a:gd name="T4" fmla="*/ 5 w 5"/>
                  <a:gd name="T5" fmla="*/ 0 h 3"/>
                  <a:gd name="T6" fmla="*/ 5 w 5"/>
                  <a:gd name="T7" fmla="*/ 0 h 3"/>
                  <a:gd name="T8" fmla="*/ 5 w 5"/>
                  <a:gd name="T9" fmla="*/ 0 h 3"/>
                  <a:gd name="T10" fmla="*/ 5 w 5"/>
                  <a:gd name="T11" fmla="*/ 0 h 3"/>
                  <a:gd name="T12" fmla="*/ 5 w 5"/>
                  <a:gd name="T13" fmla="*/ 0 h 3"/>
                  <a:gd name="T14" fmla="*/ 5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5" y="0"/>
                    </a:moveTo>
                    <a:lnTo>
                      <a:pt x="0" y="3"/>
                    </a:lnTo>
                    <a:lnTo>
                      <a:pt x="5" y="0"/>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58" name="Freeform 121">
                <a:extLst>
                  <a:ext uri="{FF2B5EF4-FFF2-40B4-BE49-F238E27FC236}">
                    <a16:creationId xmlns:a16="http://schemas.microsoft.com/office/drawing/2014/main" id="{A87B60C3-4D85-4431-BE5D-73FFCBBD1B31}"/>
                  </a:ext>
                </a:extLst>
              </p:cNvPr>
              <p:cNvSpPr>
                <a:spLocks/>
              </p:cNvSpPr>
              <p:nvPr/>
            </p:nvSpPr>
            <p:spPr bwMode="gray">
              <a:xfrm>
                <a:off x="17016413" y="2001838"/>
                <a:ext cx="11113" cy="3175"/>
              </a:xfrm>
              <a:custGeom>
                <a:avLst/>
                <a:gdLst>
                  <a:gd name="T0" fmla="*/ 5 w 7"/>
                  <a:gd name="T1" fmla="*/ 2 h 2"/>
                  <a:gd name="T2" fmla="*/ 0 w 7"/>
                  <a:gd name="T3" fmla="*/ 2 h 2"/>
                  <a:gd name="T4" fmla="*/ 7 w 7"/>
                  <a:gd name="T5" fmla="*/ 0 h 2"/>
                  <a:gd name="T6" fmla="*/ 5 w 7"/>
                  <a:gd name="T7" fmla="*/ 2 h 2"/>
                  <a:gd name="T8" fmla="*/ 5 w 7"/>
                  <a:gd name="T9" fmla="*/ 2 h 2"/>
                  <a:gd name="T10" fmla="*/ 5 w 7"/>
                  <a:gd name="T11" fmla="*/ 2 h 2"/>
                  <a:gd name="T12" fmla="*/ 5 w 7"/>
                  <a:gd name="T13" fmla="*/ 2 h 2"/>
                  <a:gd name="T14" fmla="*/ 5 w 7"/>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2">
                    <a:moveTo>
                      <a:pt x="5" y="2"/>
                    </a:moveTo>
                    <a:lnTo>
                      <a:pt x="0" y="2"/>
                    </a:lnTo>
                    <a:lnTo>
                      <a:pt x="7" y="0"/>
                    </a:lnTo>
                    <a:lnTo>
                      <a:pt x="5" y="2"/>
                    </a:lnTo>
                    <a:lnTo>
                      <a:pt x="5" y="2"/>
                    </a:lnTo>
                    <a:lnTo>
                      <a:pt x="5" y="2"/>
                    </a:lnTo>
                    <a:lnTo>
                      <a:pt x="5" y="2"/>
                    </a:lnTo>
                    <a:lnTo>
                      <a:pt x="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59" name="Freeform 122">
                <a:extLst>
                  <a:ext uri="{FF2B5EF4-FFF2-40B4-BE49-F238E27FC236}">
                    <a16:creationId xmlns:a16="http://schemas.microsoft.com/office/drawing/2014/main" id="{9F28A2D7-F121-45B9-AB70-14F6BD39D19A}"/>
                  </a:ext>
                </a:extLst>
              </p:cNvPr>
              <p:cNvSpPr>
                <a:spLocks/>
              </p:cNvSpPr>
              <p:nvPr/>
            </p:nvSpPr>
            <p:spPr bwMode="gray">
              <a:xfrm>
                <a:off x="16975138" y="2068513"/>
                <a:ext cx="11113" cy="23813"/>
              </a:xfrm>
              <a:custGeom>
                <a:avLst/>
                <a:gdLst>
                  <a:gd name="T0" fmla="*/ 5 w 7"/>
                  <a:gd name="T1" fmla="*/ 8 h 15"/>
                  <a:gd name="T2" fmla="*/ 0 w 7"/>
                  <a:gd name="T3" fmla="*/ 15 h 15"/>
                  <a:gd name="T4" fmla="*/ 7 w 7"/>
                  <a:gd name="T5" fmla="*/ 0 h 15"/>
                  <a:gd name="T6" fmla="*/ 5 w 7"/>
                  <a:gd name="T7" fmla="*/ 8 h 15"/>
                  <a:gd name="T8" fmla="*/ 5 w 7"/>
                  <a:gd name="T9" fmla="*/ 8 h 15"/>
                  <a:gd name="T10" fmla="*/ 5 w 7"/>
                  <a:gd name="T11" fmla="*/ 8 h 15"/>
                  <a:gd name="T12" fmla="*/ 5 w 7"/>
                  <a:gd name="T13" fmla="*/ 8 h 15"/>
                  <a:gd name="T14" fmla="*/ 5 w 7"/>
                  <a:gd name="T15" fmla="*/ 8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8"/>
                    </a:moveTo>
                    <a:lnTo>
                      <a:pt x="0" y="15"/>
                    </a:lnTo>
                    <a:lnTo>
                      <a:pt x="7" y="0"/>
                    </a:lnTo>
                    <a:lnTo>
                      <a:pt x="5" y="8"/>
                    </a:lnTo>
                    <a:lnTo>
                      <a:pt x="5" y="8"/>
                    </a:lnTo>
                    <a:lnTo>
                      <a:pt x="5" y="8"/>
                    </a:lnTo>
                    <a:lnTo>
                      <a:pt x="5" y="8"/>
                    </a:lnTo>
                    <a:lnTo>
                      <a:pt x="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0" name="Freeform 123">
                <a:extLst>
                  <a:ext uri="{FF2B5EF4-FFF2-40B4-BE49-F238E27FC236}">
                    <a16:creationId xmlns:a16="http://schemas.microsoft.com/office/drawing/2014/main" id="{D6F320DE-64D8-466E-BAAD-38D15F045690}"/>
                  </a:ext>
                </a:extLst>
              </p:cNvPr>
              <p:cNvSpPr>
                <a:spLocks/>
              </p:cNvSpPr>
              <p:nvPr/>
            </p:nvSpPr>
            <p:spPr bwMode="gray">
              <a:xfrm>
                <a:off x="16964025" y="2208213"/>
                <a:ext cx="7938" cy="30163"/>
              </a:xfrm>
              <a:custGeom>
                <a:avLst/>
                <a:gdLst>
                  <a:gd name="T0" fmla="*/ 0 w 5"/>
                  <a:gd name="T1" fmla="*/ 19 h 19"/>
                  <a:gd name="T2" fmla="*/ 0 w 5"/>
                  <a:gd name="T3" fmla="*/ 19 h 19"/>
                  <a:gd name="T4" fmla="*/ 5 w 5"/>
                  <a:gd name="T5" fmla="*/ 14 h 19"/>
                  <a:gd name="T6" fmla="*/ 5 w 5"/>
                  <a:gd name="T7" fmla="*/ 0 h 19"/>
                  <a:gd name="T8" fmla="*/ 5 w 5"/>
                  <a:gd name="T9" fmla="*/ 5 h 19"/>
                  <a:gd name="T10" fmla="*/ 0 w 5"/>
                  <a:gd name="T11" fmla="*/ 19 h 19"/>
                  <a:gd name="T12" fmla="*/ 0 w 5"/>
                  <a:gd name="T13" fmla="*/ 19 h 19"/>
                  <a:gd name="T14" fmla="*/ 0 w 5"/>
                  <a:gd name="T15" fmla="*/ 19 h 19"/>
                  <a:gd name="T16" fmla="*/ 0 w 5"/>
                  <a:gd name="T17" fmla="*/ 19 h 19"/>
                  <a:gd name="T18" fmla="*/ 0 w 5"/>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9">
                    <a:moveTo>
                      <a:pt x="0" y="19"/>
                    </a:moveTo>
                    <a:lnTo>
                      <a:pt x="0" y="19"/>
                    </a:lnTo>
                    <a:lnTo>
                      <a:pt x="5" y="14"/>
                    </a:lnTo>
                    <a:lnTo>
                      <a:pt x="5" y="0"/>
                    </a:lnTo>
                    <a:lnTo>
                      <a:pt x="5" y="5"/>
                    </a:lnTo>
                    <a:lnTo>
                      <a:pt x="0" y="19"/>
                    </a:lnTo>
                    <a:lnTo>
                      <a:pt x="0" y="19"/>
                    </a:lnTo>
                    <a:lnTo>
                      <a:pt x="0" y="19"/>
                    </a:lnTo>
                    <a:lnTo>
                      <a:pt x="0" y="19"/>
                    </a:lnTo>
                    <a:lnTo>
                      <a:pt x="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1" name="Freeform 124">
                <a:extLst>
                  <a:ext uri="{FF2B5EF4-FFF2-40B4-BE49-F238E27FC236}">
                    <a16:creationId xmlns:a16="http://schemas.microsoft.com/office/drawing/2014/main" id="{B5341C7B-D213-412E-A388-57C4655C89BC}"/>
                  </a:ext>
                </a:extLst>
              </p:cNvPr>
              <p:cNvSpPr>
                <a:spLocks/>
              </p:cNvSpPr>
              <p:nvPr/>
            </p:nvSpPr>
            <p:spPr bwMode="gray">
              <a:xfrm>
                <a:off x="14919325" y="2293938"/>
                <a:ext cx="22225" cy="11113"/>
              </a:xfrm>
              <a:custGeom>
                <a:avLst/>
                <a:gdLst>
                  <a:gd name="T0" fmla="*/ 0 w 14"/>
                  <a:gd name="T1" fmla="*/ 0 h 7"/>
                  <a:gd name="T2" fmla="*/ 14 w 14"/>
                  <a:gd name="T3" fmla="*/ 2 h 7"/>
                  <a:gd name="T4" fmla="*/ 4 w 14"/>
                  <a:gd name="T5" fmla="*/ 7 h 7"/>
                  <a:gd name="T6" fmla="*/ 0 w 14"/>
                  <a:gd name="T7" fmla="*/ 2 h 7"/>
                  <a:gd name="T8" fmla="*/ 0 w 14"/>
                  <a:gd name="T9" fmla="*/ 0 h 7"/>
                  <a:gd name="T10" fmla="*/ 0 w 14"/>
                  <a:gd name="T11" fmla="*/ 0 h 7"/>
                  <a:gd name="T12" fmla="*/ 0 w 14"/>
                  <a:gd name="T13" fmla="*/ 0 h 7"/>
                  <a:gd name="T14" fmla="*/ 0 w 14"/>
                  <a:gd name="T15" fmla="*/ 0 h 7"/>
                  <a:gd name="T16" fmla="*/ 0 w 1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7">
                    <a:moveTo>
                      <a:pt x="0" y="0"/>
                    </a:moveTo>
                    <a:lnTo>
                      <a:pt x="14" y="2"/>
                    </a:lnTo>
                    <a:lnTo>
                      <a:pt x="4" y="7"/>
                    </a:lnTo>
                    <a:lnTo>
                      <a:pt x="0" y="2"/>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2" name="Freeform 125">
                <a:extLst>
                  <a:ext uri="{FF2B5EF4-FFF2-40B4-BE49-F238E27FC236}">
                    <a16:creationId xmlns:a16="http://schemas.microsoft.com/office/drawing/2014/main" id="{259930D8-12BA-46AB-BA18-EE4738DD456E}"/>
                  </a:ext>
                </a:extLst>
              </p:cNvPr>
              <p:cNvSpPr>
                <a:spLocks/>
              </p:cNvSpPr>
              <p:nvPr/>
            </p:nvSpPr>
            <p:spPr bwMode="gray">
              <a:xfrm>
                <a:off x="14908213" y="2297113"/>
                <a:ext cx="6350" cy="7938"/>
              </a:xfrm>
              <a:custGeom>
                <a:avLst/>
                <a:gdLst>
                  <a:gd name="T0" fmla="*/ 4 w 4"/>
                  <a:gd name="T1" fmla="*/ 0 h 5"/>
                  <a:gd name="T2" fmla="*/ 0 w 4"/>
                  <a:gd name="T3" fmla="*/ 5 h 5"/>
                  <a:gd name="T4" fmla="*/ 0 w 4"/>
                  <a:gd name="T5" fmla="*/ 0 h 5"/>
                  <a:gd name="T6" fmla="*/ 4 w 4"/>
                  <a:gd name="T7" fmla="*/ 0 h 5"/>
                  <a:gd name="T8" fmla="*/ 4 w 4"/>
                  <a:gd name="T9" fmla="*/ 0 h 5"/>
                  <a:gd name="T10" fmla="*/ 4 w 4"/>
                  <a:gd name="T11" fmla="*/ 0 h 5"/>
                  <a:gd name="T12" fmla="*/ 4 w 4"/>
                  <a:gd name="T13" fmla="*/ 0 h 5"/>
                  <a:gd name="T14" fmla="*/ 4 w 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4" y="0"/>
                    </a:moveTo>
                    <a:lnTo>
                      <a:pt x="0" y="5"/>
                    </a:lnTo>
                    <a:lnTo>
                      <a:pt x="0" y="0"/>
                    </a:lnTo>
                    <a:lnTo>
                      <a:pt x="4" y="0"/>
                    </a:lnTo>
                    <a:lnTo>
                      <a:pt x="4" y="0"/>
                    </a:lnTo>
                    <a:lnTo>
                      <a:pt x="4" y="0"/>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3" name="Freeform 126">
                <a:extLst>
                  <a:ext uri="{FF2B5EF4-FFF2-40B4-BE49-F238E27FC236}">
                    <a16:creationId xmlns:a16="http://schemas.microsoft.com/office/drawing/2014/main" id="{C0BCDE2D-312F-4BA3-BA0B-4FAE9D56A6DB}"/>
                  </a:ext>
                </a:extLst>
              </p:cNvPr>
              <p:cNvSpPr>
                <a:spLocks/>
              </p:cNvSpPr>
              <p:nvPr/>
            </p:nvSpPr>
            <p:spPr bwMode="gray">
              <a:xfrm>
                <a:off x="14978063" y="2324100"/>
                <a:ext cx="19050" cy="11113"/>
              </a:xfrm>
              <a:custGeom>
                <a:avLst/>
                <a:gdLst>
                  <a:gd name="T0" fmla="*/ 5 w 12"/>
                  <a:gd name="T1" fmla="*/ 5 h 7"/>
                  <a:gd name="T2" fmla="*/ 12 w 12"/>
                  <a:gd name="T3" fmla="*/ 7 h 7"/>
                  <a:gd name="T4" fmla="*/ 5 w 12"/>
                  <a:gd name="T5" fmla="*/ 7 h 7"/>
                  <a:gd name="T6" fmla="*/ 0 w 12"/>
                  <a:gd name="T7" fmla="*/ 0 h 7"/>
                  <a:gd name="T8" fmla="*/ 5 w 12"/>
                  <a:gd name="T9" fmla="*/ 5 h 7"/>
                  <a:gd name="T10" fmla="*/ 5 w 12"/>
                  <a:gd name="T11" fmla="*/ 5 h 7"/>
                  <a:gd name="T12" fmla="*/ 5 w 12"/>
                  <a:gd name="T13" fmla="*/ 5 h 7"/>
                  <a:gd name="T14" fmla="*/ 5 w 12"/>
                  <a:gd name="T15" fmla="*/ 5 h 7"/>
                  <a:gd name="T16" fmla="*/ 5 w 12"/>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7">
                    <a:moveTo>
                      <a:pt x="5" y="5"/>
                    </a:moveTo>
                    <a:lnTo>
                      <a:pt x="12" y="7"/>
                    </a:lnTo>
                    <a:lnTo>
                      <a:pt x="5" y="7"/>
                    </a:lnTo>
                    <a:lnTo>
                      <a:pt x="0" y="0"/>
                    </a:lnTo>
                    <a:lnTo>
                      <a:pt x="5" y="5"/>
                    </a:lnTo>
                    <a:lnTo>
                      <a:pt x="5" y="5"/>
                    </a:lnTo>
                    <a:lnTo>
                      <a:pt x="5" y="5"/>
                    </a:lnTo>
                    <a:lnTo>
                      <a:pt x="5"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4" name="Freeform 127">
                <a:extLst>
                  <a:ext uri="{FF2B5EF4-FFF2-40B4-BE49-F238E27FC236}">
                    <a16:creationId xmlns:a16="http://schemas.microsoft.com/office/drawing/2014/main" id="{C55F8C65-C740-43D0-9B51-72BD0752D357}"/>
                  </a:ext>
                </a:extLst>
              </p:cNvPr>
              <p:cNvSpPr>
                <a:spLocks/>
              </p:cNvSpPr>
              <p:nvPr/>
            </p:nvSpPr>
            <p:spPr bwMode="gray">
              <a:xfrm>
                <a:off x="14933613" y="2343150"/>
                <a:ext cx="7938" cy="0"/>
              </a:xfrm>
              <a:custGeom>
                <a:avLst/>
                <a:gdLst>
                  <a:gd name="T0" fmla="*/ 5 w 5"/>
                  <a:gd name="T1" fmla="*/ 0 w 5"/>
                  <a:gd name="T2" fmla="*/ 5 w 5"/>
                  <a:gd name="T3" fmla="*/ 5 w 5"/>
                  <a:gd name="T4" fmla="*/ 5 w 5"/>
                  <a:gd name="T5" fmla="*/ 5 w 5"/>
                  <a:gd name="T6" fmla="*/ 5 w 5"/>
                </a:gdLst>
                <a:ahLst/>
                <a:cxnLst>
                  <a:cxn ang="0">
                    <a:pos x="T0" y="0"/>
                  </a:cxn>
                  <a:cxn ang="0">
                    <a:pos x="T1" y="0"/>
                  </a:cxn>
                  <a:cxn ang="0">
                    <a:pos x="T2" y="0"/>
                  </a:cxn>
                  <a:cxn ang="0">
                    <a:pos x="T3" y="0"/>
                  </a:cxn>
                  <a:cxn ang="0">
                    <a:pos x="T4" y="0"/>
                  </a:cxn>
                  <a:cxn ang="0">
                    <a:pos x="T5" y="0"/>
                  </a:cxn>
                  <a:cxn ang="0">
                    <a:pos x="T6" y="0"/>
                  </a:cxn>
                </a:cxnLst>
                <a:rect l="0" t="0" r="r" b="b"/>
                <a:pathLst>
                  <a:path w="5">
                    <a:moveTo>
                      <a:pt x="5" y="0"/>
                    </a:moveTo>
                    <a:lnTo>
                      <a:pt x="0" y="0"/>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5" name="Freeform 128">
                <a:extLst>
                  <a:ext uri="{FF2B5EF4-FFF2-40B4-BE49-F238E27FC236}">
                    <a16:creationId xmlns:a16="http://schemas.microsoft.com/office/drawing/2014/main" id="{BFE969A7-F9A2-44BE-9794-25206B1765A3}"/>
                  </a:ext>
                </a:extLst>
              </p:cNvPr>
              <p:cNvSpPr>
                <a:spLocks/>
              </p:cNvSpPr>
              <p:nvPr/>
            </p:nvSpPr>
            <p:spPr bwMode="gray">
              <a:xfrm>
                <a:off x="14978063" y="2354263"/>
                <a:ext cx="11113" cy="7938"/>
              </a:xfrm>
              <a:custGeom>
                <a:avLst/>
                <a:gdLst>
                  <a:gd name="T0" fmla="*/ 0 w 7"/>
                  <a:gd name="T1" fmla="*/ 0 h 5"/>
                  <a:gd name="T2" fmla="*/ 7 w 7"/>
                  <a:gd name="T3" fmla="*/ 5 h 5"/>
                  <a:gd name="T4" fmla="*/ 5 w 7"/>
                  <a:gd name="T5" fmla="*/ 5 h 5"/>
                  <a:gd name="T6" fmla="*/ 0 w 7"/>
                  <a:gd name="T7" fmla="*/ 0 h 5"/>
                  <a:gd name="T8" fmla="*/ 0 w 7"/>
                  <a:gd name="T9" fmla="*/ 0 h 5"/>
                  <a:gd name="T10" fmla="*/ 0 w 7"/>
                  <a:gd name="T11" fmla="*/ 0 h 5"/>
                  <a:gd name="T12" fmla="*/ 0 w 7"/>
                  <a:gd name="T13" fmla="*/ 0 h 5"/>
                  <a:gd name="T14" fmla="*/ 0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0" y="0"/>
                    </a:moveTo>
                    <a:lnTo>
                      <a:pt x="7" y="5"/>
                    </a:lnTo>
                    <a:lnTo>
                      <a:pt x="5" y="5"/>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6" name="Freeform 129">
                <a:extLst>
                  <a:ext uri="{FF2B5EF4-FFF2-40B4-BE49-F238E27FC236}">
                    <a16:creationId xmlns:a16="http://schemas.microsoft.com/office/drawing/2014/main" id="{ED0BF258-B480-40B6-A64E-3E28485E85A3}"/>
                  </a:ext>
                </a:extLst>
              </p:cNvPr>
              <p:cNvSpPr>
                <a:spLocks/>
              </p:cNvSpPr>
              <p:nvPr/>
            </p:nvSpPr>
            <p:spPr bwMode="gray">
              <a:xfrm>
                <a:off x="16690975" y="2462213"/>
                <a:ext cx="6350" cy="7938"/>
              </a:xfrm>
              <a:custGeom>
                <a:avLst/>
                <a:gdLst>
                  <a:gd name="T0" fmla="*/ 4 w 4"/>
                  <a:gd name="T1" fmla="*/ 0 h 5"/>
                  <a:gd name="T2" fmla="*/ 0 w 4"/>
                  <a:gd name="T3" fmla="*/ 5 h 5"/>
                  <a:gd name="T4" fmla="*/ 0 w 4"/>
                  <a:gd name="T5" fmla="*/ 3 h 5"/>
                  <a:gd name="T6" fmla="*/ 4 w 4"/>
                  <a:gd name="T7" fmla="*/ 0 h 5"/>
                  <a:gd name="T8" fmla="*/ 4 w 4"/>
                  <a:gd name="T9" fmla="*/ 0 h 5"/>
                  <a:gd name="T10" fmla="*/ 4 w 4"/>
                  <a:gd name="T11" fmla="*/ 0 h 5"/>
                  <a:gd name="T12" fmla="*/ 4 w 4"/>
                  <a:gd name="T13" fmla="*/ 0 h 5"/>
                  <a:gd name="T14" fmla="*/ 4 w 4"/>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4" y="0"/>
                    </a:moveTo>
                    <a:lnTo>
                      <a:pt x="0" y="5"/>
                    </a:lnTo>
                    <a:lnTo>
                      <a:pt x="0" y="3"/>
                    </a:lnTo>
                    <a:lnTo>
                      <a:pt x="4" y="0"/>
                    </a:lnTo>
                    <a:lnTo>
                      <a:pt x="4" y="0"/>
                    </a:lnTo>
                    <a:lnTo>
                      <a:pt x="4" y="0"/>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7" name="Freeform 130">
                <a:extLst>
                  <a:ext uri="{FF2B5EF4-FFF2-40B4-BE49-F238E27FC236}">
                    <a16:creationId xmlns:a16="http://schemas.microsoft.com/office/drawing/2014/main" id="{2DDDEF93-64AE-4EBE-932A-D04E74C7BEEC}"/>
                  </a:ext>
                </a:extLst>
              </p:cNvPr>
              <p:cNvSpPr>
                <a:spLocks/>
              </p:cNvSpPr>
              <p:nvPr/>
            </p:nvSpPr>
            <p:spPr bwMode="gray">
              <a:xfrm>
                <a:off x="16330613" y="2500313"/>
                <a:ext cx="7938" cy="3175"/>
              </a:xfrm>
              <a:custGeom>
                <a:avLst/>
                <a:gdLst>
                  <a:gd name="T0" fmla="*/ 5 w 5"/>
                  <a:gd name="T1" fmla="*/ 0 h 2"/>
                  <a:gd name="T2" fmla="*/ 0 w 5"/>
                  <a:gd name="T3" fmla="*/ 2 h 2"/>
                  <a:gd name="T4" fmla="*/ 5 w 5"/>
                  <a:gd name="T5" fmla="*/ 0 h 2"/>
                  <a:gd name="T6" fmla="*/ 5 w 5"/>
                  <a:gd name="T7" fmla="*/ 0 h 2"/>
                  <a:gd name="T8" fmla="*/ 5 w 5"/>
                  <a:gd name="T9" fmla="*/ 0 h 2"/>
                  <a:gd name="T10" fmla="*/ 5 w 5"/>
                  <a:gd name="T11" fmla="*/ 0 h 2"/>
                  <a:gd name="T12" fmla="*/ 5 w 5"/>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5" h="2">
                    <a:moveTo>
                      <a:pt x="5" y="0"/>
                    </a:moveTo>
                    <a:lnTo>
                      <a:pt x="0" y="2"/>
                    </a:lnTo>
                    <a:lnTo>
                      <a:pt x="5" y="0"/>
                    </a:lnTo>
                    <a:lnTo>
                      <a:pt x="5"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8" name="Freeform 131">
                <a:extLst>
                  <a:ext uri="{FF2B5EF4-FFF2-40B4-BE49-F238E27FC236}">
                    <a16:creationId xmlns:a16="http://schemas.microsoft.com/office/drawing/2014/main" id="{34021AA9-8847-4E4A-A327-36DE3F733DC7}"/>
                  </a:ext>
                </a:extLst>
              </p:cNvPr>
              <p:cNvSpPr>
                <a:spLocks/>
              </p:cNvSpPr>
              <p:nvPr/>
            </p:nvSpPr>
            <p:spPr bwMode="gray">
              <a:xfrm>
                <a:off x="16352838" y="2503488"/>
                <a:ext cx="4763" cy="19050"/>
              </a:xfrm>
              <a:custGeom>
                <a:avLst/>
                <a:gdLst>
                  <a:gd name="T0" fmla="*/ 0 w 3"/>
                  <a:gd name="T1" fmla="*/ 12 h 12"/>
                  <a:gd name="T2" fmla="*/ 0 w 3"/>
                  <a:gd name="T3" fmla="*/ 0 h 12"/>
                  <a:gd name="T4" fmla="*/ 3 w 3"/>
                  <a:gd name="T5" fmla="*/ 5 h 12"/>
                  <a:gd name="T6" fmla="*/ 0 w 3"/>
                  <a:gd name="T7" fmla="*/ 12 h 12"/>
                  <a:gd name="T8" fmla="*/ 0 w 3"/>
                  <a:gd name="T9" fmla="*/ 12 h 12"/>
                  <a:gd name="T10" fmla="*/ 0 w 3"/>
                  <a:gd name="T11" fmla="*/ 12 h 12"/>
                  <a:gd name="T12" fmla="*/ 0 w 3"/>
                  <a:gd name="T13" fmla="*/ 12 h 12"/>
                  <a:gd name="T14" fmla="*/ 0 w 3"/>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2">
                    <a:moveTo>
                      <a:pt x="0" y="12"/>
                    </a:moveTo>
                    <a:lnTo>
                      <a:pt x="0" y="0"/>
                    </a:lnTo>
                    <a:lnTo>
                      <a:pt x="3" y="5"/>
                    </a:lnTo>
                    <a:lnTo>
                      <a:pt x="0" y="12"/>
                    </a:lnTo>
                    <a:lnTo>
                      <a:pt x="0" y="12"/>
                    </a:lnTo>
                    <a:lnTo>
                      <a:pt x="0" y="12"/>
                    </a:lnTo>
                    <a:lnTo>
                      <a:pt x="0" y="12"/>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9" name="Freeform 132">
                <a:extLst>
                  <a:ext uri="{FF2B5EF4-FFF2-40B4-BE49-F238E27FC236}">
                    <a16:creationId xmlns:a16="http://schemas.microsoft.com/office/drawing/2014/main" id="{D437174A-5A09-4F16-81B4-C486B43550F8}"/>
                  </a:ext>
                </a:extLst>
              </p:cNvPr>
              <p:cNvSpPr>
                <a:spLocks/>
              </p:cNvSpPr>
              <p:nvPr/>
            </p:nvSpPr>
            <p:spPr bwMode="gray">
              <a:xfrm>
                <a:off x="16206788" y="2525713"/>
                <a:ext cx="11113" cy="12700"/>
              </a:xfrm>
              <a:custGeom>
                <a:avLst/>
                <a:gdLst>
                  <a:gd name="T0" fmla="*/ 7 w 7"/>
                  <a:gd name="T1" fmla="*/ 5 h 8"/>
                  <a:gd name="T2" fmla="*/ 5 w 7"/>
                  <a:gd name="T3" fmla="*/ 8 h 8"/>
                  <a:gd name="T4" fmla="*/ 0 w 7"/>
                  <a:gd name="T5" fmla="*/ 5 h 8"/>
                  <a:gd name="T6" fmla="*/ 0 w 7"/>
                  <a:gd name="T7" fmla="*/ 0 h 8"/>
                  <a:gd name="T8" fmla="*/ 7 w 7"/>
                  <a:gd name="T9" fmla="*/ 5 h 8"/>
                  <a:gd name="T10" fmla="*/ 7 w 7"/>
                  <a:gd name="T11" fmla="*/ 5 h 8"/>
                  <a:gd name="T12" fmla="*/ 7 w 7"/>
                  <a:gd name="T13" fmla="*/ 5 h 8"/>
                  <a:gd name="T14" fmla="*/ 7 w 7"/>
                  <a:gd name="T15" fmla="*/ 5 h 8"/>
                  <a:gd name="T16" fmla="*/ 7 w 7"/>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7" y="5"/>
                    </a:moveTo>
                    <a:lnTo>
                      <a:pt x="5" y="8"/>
                    </a:lnTo>
                    <a:lnTo>
                      <a:pt x="0" y="5"/>
                    </a:lnTo>
                    <a:lnTo>
                      <a:pt x="0" y="0"/>
                    </a:lnTo>
                    <a:lnTo>
                      <a:pt x="7" y="5"/>
                    </a:lnTo>
                    <a:lnTo>
                      <a:pt x="7" y="5"/>
                    </a:lnTo>
                    <a:lnTo>
                      <a:pt x="7" y="5"/>
                    </a:lnTo>
                    <a:lnTo>
                      <a:pt x="7" y="5"/>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70" name="Freeform 133">
                <a:extLst>
                  <a:ext uri="{FF2B5EF4-FFF2-40B4-BE49-F238E27FC236}">
                    <a16:creationId xmlns:a16="http://schemas.microsoft.com/office/drawing/2014/main" id="{46477A8B-AEB4-4D75-973D-E30DD1516DAB}"/>
                  </a:ext>
                </a:extLst>
              </p:cNvPr>
              <p:cNvSpPr>
                <a:spLocks/>
              </p:cNvSpPr>
              <p:nvPr/>
            </p:nvSpPr>
            <p:spPr bwMode="gray">
              <a:xfrm>
                <a:off x="16065500" y="2541588"/>
                <a:ext cx="11113" cy="11113"/>
              </a:xfrm>
              <a:custGeom>
                <a:avLst/>
                <a:gdLst>
                  <a:gd name="T0" fmla="*/ 7 w 7"/>
                  <a:gd name="T1" fmla="*/ 5 h 7"/>
                  <a:gd name="T2" fmla="*/ 0 w 7"/>
                  <a:gd name="T3" fmla="*/ 7 h 7"/>
                  <a:gd name="T4" fmla="*/ 7 w 7"/>
                  <a:gd name="T5" fmla="*/ 0 h 7"/>
                  <a:gd name="T6" fmla="*/ 7 w 7"/>
                  <a:gd name="T7" fmla="*/ 5 h 7"/>
                  <a:gd name="T8" fmla="*/ 7 w 7"/>
                  <a:gd name="T9" fmla="*/ 5 h 7"/>
                  <a:gd name="T10" fmla="*/ 7 w 7"/>
                  <a:gd name="T11" fmla="*/ 5 h 7"/>
                  <a:gd name="T12" fmla="*/ 7 w 7"/>
                  <a:gd name="T13" fmla="*/ 5 h 7"/>
                  <a:gd name="T14" fmla="*/ 7 w 7"/>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7" y="5"/>
                    </a:moveTo>
                    <a:lnTo>
                      <a:pt x="0" y="7"/>
                    </a:lnTo>
                    <a:lnTo>
                      <a:pt x="7" y="0"/>
                    </a:lnTo>
                    <a:lnTo>
                      <a:pt x="7" y="5"/>
                    </a:lnTo>
                    <a:lnTo>
                      <a:pt x="7" y="5"/>
                    </a:lnTo>
                    <a:lnTo>
                      <a:pt x="7" y="5"/>
                    </a:lnTo>
                    <a:lnTo>
                      <a:pt x="7" y="5"/>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71" name="Freeform 134">
                <a:extLst>
                  <a:ext uri="{FF2B5EF4-FFF2-40B4-BE49-F238E27FC236}">
                    <a16:creationId xmlns:a16="http://schemas.microsoft.com/office/drawing/2014/main" id="{12B800FC-AEC1-4170-B3B6-7A1A6F9F1F1B}"/>
                  </a:ext>
                </a:extLst>
              </p:cNvPr>
              <p:cNvSpPr>
                <a:spLocks/>
              </p:cNvSpPr>
              <p:nvPr/>
            </p:nvSpPr>
            <p:spPr bwMode="gray">
              <a:xfrm>
                <a:off x="16727488" y="2578100"/>
                <a:ext cx="4763" cy="19050"/>
              </a:xfrm>
              <a:custGeom>
                <a:avLst/>
                <a:gdLst>
                  <a:gd name="T0" fmla="*/ 3 w 3"/>
                  <a:gd name="T1" fmla="*/ 12 h 12"/>
                  <a:gd name="T2" fmla="*/ 3 w 3"/>
                  <a:gd name="T3" fmla="*/ 12 h 12"/>
                  <a:gd name="T4" fmla="*/ 0 w 3"/>
                  <a:gd name="T5" fmla="*/ 8 h 12"/>
                  <a:gd name="T6" fmla="*/ 3 w 3"/>
                  <a:gd name="T7" fmla="*/ 0 h 12"/>
                  <a:gd name="T8" fmla="*/ 3 w 3"/>
                  <a:gd name="T9" fmla="*/ 12 h 12"/>
                  <a:gd name="T10" fmla="*/ 3 w 3"/>
                  <a:gd name="T11" fmla="*/ 12 h 12"/>
                  <a:gd name="T12" fmla="*/ 3 w 3"/>
                  <a:gd name="T13" fmla="*/ 12 h 12"/>
                  <a:gd name="T14" fmla="*/ 3 w 3"/>
                  <a:gd name="T15" fmla="*/ 12 h 12"/>
                  <a:gd name="T16" fmla="*/ 3 w 3"/>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2">
                    <a:moveTo>
                      <a:pt x="3" y="12"/>
                    </a:moveTo>
                    <a:lnTo>
                      <a:pt x="3" y="12"/>
                    </a:lnTo>
                    <a:lnTo>
                      <a:pt x="0" y="8"/>
                    </a:lnTo>
                    <a:lnTo>
                      <a:pt x="3" y="0"/>
                    </a:lnTo>
                    <a:lnTo>
                      <a:pt x="3" y="12"/>
                    </a:lnTo>
                    <a:lnTo>
                      <a:pt x="3" y="12"/>
                    </a:lnTo>
                    <a:lnTo>
                      <a:pt x="3" y="12"/>
                    </a:lnTo>
                    <a:lnTo>
                      <a:pt x="3" y="12"/>
                    </a:lnTo>
                    <a:lnTo>
                      <a:pt x="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72" name="Freeform 135">
                <a:extLst>
                  <a:ext uri="{FF2B5EF4-FFF2-40B4-BE49-F238E27FC236}">
                    <a16:creationId xmlns:a16="http://schemas.microsoft.com/office/drawing/2014/main" id="{99A419F3-D99C-42C8-9969-AE109B30A6C6}"/>
                  </a:ext>
                </a:extLst>
              </p:cNvPr>
              <p:cNvSpPr>
                <a:spLocks/>
              </p:cNvSpPr>
              <p:nvPr/>
            </p:nvSpPr>
            <p:spPr bwMode="gray">
              <a:xfrm>
                <a:off x="15986125" y="2590800"/>
                <a:ext cx="19050" cy="17463"/>
              </a:xfrm>
              <a:custGeom>
                <a:avLst/>
                <a:gdLst>
                  <a:gd name="T0" fmla="*/ 0 w 12"/>
                  <a:gd name="T1" fmla="*/ 4 h 11"/>
                  <a:gd name="T2" fmla="*/ 12 w 12"/>
                  <a:gd name="T3" fmla="*/ 0 h 11"/>
                  <a:gd name="T4" fmla="*/ 0 w 12"/>
                  <a:gd name="T5" fmla="*/ 11 h 11"/>
                  <a:gd name="T6" fmla="*/ 0 w 12"/>
                  <a:gd name="T7" fmla="*/ 4 h 11"/>
                  <a:gd name="T8" fmla="*/ 0 w 12"/>
                  <a:gd name="T9" fmla="*/ 4 h 11"/>
                  <a:gd name="T10" fmla="*/ 0 w 12"/>
                  <a:gd name="T11" fmla="*/ 4 h 11"/>
                  <a:gd name="T12" fmla="*/ 0 w 12"/>
                  <a:gd name="T13" fmla="*/ 4 h 11"/>
                  <a:gd name="T14" fmla="*/ 0 w 12"/>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1">
                    <a:moveTo>
                      <a:pt x="0" y="4"/>
                    </a:moveTo>
                    <a:lnTo>
                      <a:pt x="12" y="0"/>
                    </a:lnTo>
                    <a:lnTo>
                      <a:pt x="0" y="11"/>
                    </a:lnTo>
                    <a:lnTo>
                      <a:pt x="0" y="4"/>
                    </a:lnTo>
                    <a:lnTo>
                      <a:pt x="0" y="4"/>
                    </a:lnTo>
                    <a:lnTo>
                      <a:pt x="0"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73" name="Freeform 136">
                <a:extLst>
                  <a:ext uri="{FF2B5EF4-FFF2-40B4-BE49-F238E27FC236}">
                    <a16:creationId xmlns:a16="http://schemas.microsoft.com/office/drawing/2014/main" id="{731F9725-918C-46A6-AC1E-86FBFE035CD2}"/>
                  </a:ext>
                </a:extLst>
              </p:cNvPr>
              <p:cNvSpPr>
                <a:spLocks/>
              </p:cNvSpPr>
              <p:nvPr/>
            </p:nvSpPr>
            <p:spPr bwMode="gray">
              <a:xfrm>
                <a:off x="15960725" y="2619375"/>
                <a:ext cx="14288" cy="30163"/>
              </a:xfrm>
              <a:custGeom>
                <a:avLst/>
                <a:gdLst>
                  <a:gd name="T0" fmla="*/ 4 w 9"/>
                  <a:gd name="T1" fmla="*/ 10 h 19"/>
                  <a:gd name="T2" fmla="*/ 0 w 9"/>
                  <a:gd name="T3" fmla="*/ 19 h 19"/>
                  <a:gd name="T4" fmla="*/ 0 w 9"/>
                  <a:gd name="T5" fmla="*/ 10 h 19"/>
                  <a:gd name="T6" fmla="*/ 9 w 9"/>
                  <a:gd name="T7" fmla="*/ 0 h 19"/>
                  <a:gd name="T8" fmla="*/ 4 w 9"/>
                  <a:gd name="T9" fmla="*/ 10 h 19"/>
                  <a:gd name="T10" fmla="*/ 4 w 9"/>
                  <a:gd name="T11" fmla="*/ 10 h 19"/>
                  <a:gd name="T12" fmla="*/ 4 w 9"/>
                  <a:gd name="T13" fmla="*/ 10 h 19"/>
                  <a:gd name="T14" fmla="*/ 4 w 9"/>
                  <a:gd name="T15" fmla="*/ 10 h 19"/>
                  <a:gd name="T16" fmla="*/ 4 w 9"/>
                  <a:gd name="T1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9">
                    <a:moveTo>
                      <a:pt x="4" y="10"/>
                    </a:moveTo>
                    <a:lnTo>
                      <a:pt x="0" y="19"/>
                    </a:lnTo>
                    <a:lnTo>
                      <a:pt x="0" y="10"/>
                    </a:lnTo>
                    <a:lnTo>
                      <a:pt x="9" y="0"/>
                    </a:lnTo>
                    <a:lnTo>
                      <a:pt x="4" y="10"/>
                    </a:lnTo>
                    <a:lnTo>
                      <a:pt x="4" y="10"/>
                    </a:lnTo>
                    <a:lnTo>
                      <a:pt x="4" y="10"/>
                    </a:lnTo>
                    <a:lnTo>
                      <a:pt x="4" y="10"/>
                    </a:lnTo>
                    <a:lnTo>
                      <a:pt x="4"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74" name="Freeform 137">
                <a:extLst>
                  <a:ext uri="{FF2B5EF4-FFF2-40B4-BE49-F238E27FC236}">
                    <a16:creationId xmlns:a16="http://schemas.microsoft.com/office/drawing/2014/main" id="{7CCF939B-A0C8-4A1A-82A4-04A9520335CD}"/>
                  </a:ext>
                </a:extLst>
              </p:cNvPr>
              <p:cNvSpPr>
                <a:spLocks/>
              </p:cNvSpPr>
              <p:nvPr/>
            </p:nvSpPr>
            <p:spPr bwMode="gray">
              <a:xfrm>
                <a:off x="15960725" y="2649538"/>
                <a:ext cx="11113" cy="60325"/>
              </a:xfrm>
              <a:custGeom>
                <a:avLst/>
                <a:gdLst>
                  <a:gd name="T0" fmla="*/ 0 w 7"/>
                  <a:gd name="T1" fmla="*/ 19 h 38"/>
                  <a:gd name="T2" fmla="*/ 0 w 7"/>
                  <a:gd name="T3" fmla="*/ 0 h 38"/>
                  <a:gd name="T4" fmla="*/ 7 w 7"/>
                  <a:gd name="T5" fmla="*/ 38 h 38"/>
                  <a:gd name="T6" fmla="*/ 0 w 7"/>
                  <a:gd name="T7" fmla="*/ 19 h 38"/>
                  <a:gd name="T8" fmla="*/ 0 w 7"/>
                  <a:gd name="T9" fmla="*/ 19 h 38"/>
                  <a:gd name="T10" fmla="*/ 0 w 7"/>
                  <a:gd name="T11" fmla="*/ 19 h 38"/>
                  <a:gd name="T12" fmla="*/ 0 w 7"/>
                  <a:gd name="T13" fmla="*/ 19 h 38"/>
                  <a:gd name="T14" fmla="*/ 0 w 7"/>
                  <a:gd name="T15" fmla="*/ 19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8">
                    <a:moveTo>
                      <a:pt x="0" y="19"/>
                    </a:moveTo>
                    <a:lnTo>
                      <a:pt x="0" y="0"/>
                    </a:lnTo>
                    <a:lnTo>
                      <a:pt x="7" y="38"/>
                    </a:lnTo>
                    <a:lnTo>
                      <a:pt x="0" y="19"/>
                    </a:lnTo>
                    <a:lnTo>
                      <a:pt x="0" y="19"/>
                    </a:lnTo>
                    <a:lnTo>
                      <a:pt x="0" y="19"/>
                    </a:lnTo>
                    <a:lnTo>
                      <a:pt x="0" y="19"/>
                    </a:lnTo>
                    <a:lnTo>
                      <a:pt x="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75" name="Freeform 138">
                <a:extLst>
                  <a:ext uri="{FF2B5EF4-FFF2-40B4-BE49-F238E27FC236}">
                    <a16:creationId xmlns:a16="http://schemas.microsoft.com/office/drawing/2014/main" id="{DE37FBBA-9176-4E2F-B74F-8372D91CAD20}"/>
                  </a:ext>
                </a:extLst>
              </p:cNvPr>
              <p:cNvSpPr>
                <a:spLocks/>
              </p:cNvSpPr>
              <p:nvPr/>
            </p:nvSpPr>
            <p:spPr bwMode="gray">
              <a:xfrm>
                <a:off x="16732250" y="2743200"/>
                <a:ext cx="17463" cy="22225"/>
              </a:xfrm>
              <a:custGeom>
                <a:avLst/>
                <a:gdLst>
                  <a:gd name="T0" fmla="*/ 7 w 11"/>
                  <a:gd name="T1" fmla="*/ 7 h 14"/>
                  <a:gd name="T2" fmla="*/ 11 w 11"/>
                  <a:gd name="T3" fmla="*/ 0 h 14"/>
                  <a:gd name="T4" fmla="*/ 0 w 11"/>
                  <a:gd name="T5" fmla="*/ 14 h 14"/>
                  <a:gd name="T6" fmla="*/ 7 w 11"/>
                  <a:gd name="T7" fmla="*/ 7 h 14"/>
                  <a:gd name="T8" fmla="*/ 7 w 11"/>
                  <a:gd name="T9" fmla="*/ 7 h 14"/>
                  <a:gd name="T10" fmla="*/ 7 w 11"/>
                  <a:gd name="T11" fmla="*/ 7 h 14"/>
                  <a:gd name="T12" fmla="*/ 7 w 11"/>
                  <a:gd name="T13" fmla="*/ 7 h 14"/>
                  <a:gd name="T14" fmla="*/ 7 w 11"/>
                  <a:gd name="T15" fmla="*/ 7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7" y="7"/>
                    </a:moveTo>
                    <a:lnTo>
                      <a:pt x="11" y="0"/>
                    </a:lnTo>
                    <a:lnTo>
                      <a:pt x="0" y="14"/>
                    </a:lnTo>
                    <a:lnTo>
                      <a:pt x="7" y="7"/>
                    </a:lnTo>
                    <a:lnTo>
                      <a:pt x="7" y="7"/>
                    </a:lnTo>
                    <a:lnTo>
                      <a:pt x="7" y="7"/>
                    </a:lnTo>
                    <a:lnTo>
                      <a:pt x="7" y="7"/>
                    </a:lnTo>
                    <a:lnTo>
                      <a:pt x="7"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76" name="Freeform 139">
                <a:extLst>
                  <a:ext uri="{FF2B5EF4-FFF2-40B4-BE49-F238E27FC236}">
                    <a16:creationId xmlns:a16="http://schemas.microsoft.com/office/drawing/2014/main" id="{9CE21947-AB30-4D38-9B32-486C6253F0AA}"/>
                  </a:ext>
                </a:extLst>
              </p:cNvPr>
              <p:cNvSpPr>
                <a:spLocks/>
              </p:cNvSpPr>
              <p:nvPr/>
            </p:nvSpPr>
            <p:spPr bwMode="gray">
              <a:xfrm>
                <a:off x="16686213" y="2781300"/>
                <a:ext cx="4763" cy="7938"/>
              </a:xfrm>
              <a:custGeom>
                <a:avLst/>
                <a:gdLst>
                  <a:gd name="T0" fmla="*/ 3 w 3"/>
                  <a:gd name="T1" fmla="*/ 0 h 5"/>
                  <a:gd name="T2" fmla="*/ 0 w 3"/>
                  <a:gd name="T3" fmla="*/ 5 h 5"/>
                  <a:gd name="T4" fmla="*/ 3 w 3"/>
                  <a:gd name="T5" fmla="*/ 0 h 5"/>
                  <a:gd name="T6" fmla="*/ 3 w 3"/>
                  <a:gd name="T7" fmla="*/ 0 h 5"/>
                  <a:gd name="T8" fmla="*/ 3 w 3"/>
                  <a:gd name="T9" fmla="*/ 0 h 5"/>
                  <a:gd name="T10" fmla="*/ 3 w 3"/>
                  <a:gd name="T11" fmla="*/ 0 h 5"/>
                  <a:gd name="T12" fmla="*/ 3 w 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3" y="0"/>
                    </a:moveTo>
                    <a:lnTo>
                      <a:pt x="0" y="5"/>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2" name="Fußzeilenplatzhalter 1">
            <a:extLst>
              <a:ext uri="{FF2B5EF4-FFF2-40B4-BE49-F238E27FC236}">
                <a16:creationId xmlns:a16="http://schemas.microsoft.com/office/drawing/2014/main" id="{AB1C12A0-6146-486D-BDA2-5DED380498C3}"/>
              </a:ext>
            </a:extLst>
          </p:cNvPr>
          <p:cNvSpPr>
            <a:spLocks noGrp="1"/>
          </p:cNvSpPr>
          <p:nvPr>
            <p:ph type="ftr" sz="quarter" idx="16"/>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AA518D6A-389C-430E-B7DE-02C6AC4E3A88}"/>
              </a:ext>
            </a:extLst>
          </p:cNvPr>
          <p:cNvSpPr>
            <a:spLocks noGrp="1"/>
          </p:cNvSpPr>
          <p:nvPr>
            <p:ph type="sldNum" sz="quarter" idx="12"/>
          </p:nvPr>
        </p:nvSpPr>
        <p:spPr/>
        <p:txBody>
          <a:bodyPr/>
          <a:lstStyle/>
          <a:p>
            <a:fld id="{CE82B8A1-0CCE-4815-9668-383D7DE7D8B4}" type="slidenum">
              <a:rPr lang="en-US" noProof="0" smtClean="0"/>
              <a:pPr/>
              <a:t>75</a:t>
            </a:fld>
            <a:endParaRPr lang="en-US" noProof="0" dirty="0"/>
          </a:p>
        </p:txBody>
      </p:sp>
    </p:spTree>
    <p:extLst>
      <p:ext uri="{BB962C8B-B14F-4D97-AF65-F5344CB8AC3E}">
        <p14:creationId xmlns:p14="http://schemas.microsoft.com/office/powerpoint/2010/main" val="316216185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4BFA93B5-592E-48A0-873D-13A17D585B6C}"/>
              </a:ext>
            </a:extLst>
          </p:cNvPr>
          <p:cNvGrpSpPr/>
          <p:nvPr/>
        </p:nvGrpSpPr>
        <p:grpSpPr bwMode="gray">
          <a:xfrm>
            <a:off x="1255945" y="980728"/>
            <a:ext cx="10658963" cy="5231264"/>
            <a:chOff x="1255945" y="980728"/>
            <a:chExt cx="10658963" cy="5231264"/>
          </a:xfrm>
          <a:pattFill prst="ltUpDiag">
            <a:fgClr>
              <a:schemeClr val="accent2"/>
            </a:fgClr>
            <a:bgClr>
              <a:schemeClr val="bg1"/>
            </a:bgClr>
          </a:pattFill>
        </p:grpSpPr>
        <p:grpSp>
          <p:nvGrpSpPr>
            <p:cNvPr id="8104" name="Gruppieren 8103">
              <a:extLst>
                <a:ext uri="{FF2B5EF4-FFF2-40B4-BE49-F238E27FC236}">
                  <a16:creationId xmlns:a16="http://schemas.microsoft.com/office/drawing/2014/main" id="{A2AB8A8F-B1C4-492D-81D7-0C48264EB654}"/>
                </a:ext>
              </a:extLst>
            </p:cNvPr>
            <p:cNvGrpSpPr/>
            <p:nvPr/>
          </p:nvGrpSpPr>
          <p:grpSpPr bwMode="gray">
            <a:xfrm>
              <a:off x="6591601" y="2532075"/>
              <a:ext cx="327690" cy="359015"/>
              <a:chOff x="6893373" y="2244043"/>
              <a:chExt cx="327690" cy="359015"/>
            </a:xfrm>
            <a:grpFill/>
          </p:grpSpPr>
          <p:sp>
            <p:nvSpPr>
              <p:cNvPr id="8105" name="Freeform 389">
                <a:extLst>
                  <a:ext uri="{FF2B5EF4-FFF2-40B4-BE49-F238E27FC236}">
                    <a16:creationId xmlns:a16="http://schemas.microsoft.com/office/drawing/2014/main" id="{43951CBF-BFB7-4FEB-B397-E9C1293F8A9B}"/>
                  </a:ext>
                </a:extLst>
              </p:cNvPr>
              <p:cNvSpPr>
                <a:spLocks/>
              </p:cNvSpPr>
              <p:nvPr/>
            </p:nvSpPr>
            <p:spPr bwMode="gray">
              <a:xfrm>
                <a:off x="7002467" y="2481191"/>
                <a:ext cx="218596" cy="100458"/>
              </a:xfrm>
              <a:custGeom>
                <a:avLst/>
                <a:gdLst>
                  <a:gd name="T0" fmla="*/ 54 w 531"/>
                  <a:gd name="T1" fmla="*/ 189 h 244"/>
                  <a:gd name="T2" fmla="*/ 21 w 531"/>
                  <a:gd name="T3" fmla="*/ 199 h 244"/>
                  <a:gd name="T4" fmla="*/ 0 w 531"/>
                  <a:gd name="T5" fmla="*/ 182 h 244"/>
                  <a:gd name="T6" fmla="*/ 4 w 531"/>
                  <a:gd name="T7" fmla="*/ 149 h 244"/>
                  <a:gd name="T8" fmla="*/ 16 w 531"/>
                  <a:gd name="T9" fmla="*/ 133 h 244"/>
                  <a:gd name="T10" fmla="*/ 49 w 531"/>
                  <a:gd name="T11" fmla="*/ 154 h 244"/>
                  <a:gd name="T12" fmla="*/ 59 w 531"/>
                  <a:gd name="T13" fmla="*/ 149 h 244"/>
                  <a:gd name="T14" fmla="*/ 92 w 531"/>
                  <a:gd name="T15" fmla="*/ 144 h 244"/>
                  <a:gd name="T16" fmla="*/ 108 w 531"/>
                  <a:gd name="T17" fmla="*/ 149 h 244"/>
                  <a:gd name="T18" fmla="*/ 222 w 531"/>
                  <a:gd name="T19" fmla="*/ 128 h 244"/>
                  <a:gd name="T20" fmla="*/ 236 w 531"/>
                  <a:gd name="T21" fmla="*/ 144 h 244"/>
                  <a:gd name="T22" fmla="*/ 231 w 531"/>
                  <a:gd name="T23" fmla="*/ 128 h 244"/>
                  <a:gd name="T24" fmla="*/ 222 w 531"/>
                  <a:gd name="T25" fmla="*/ 88 h 244"/>
                  <a:gd name="T26" fmla="*/ 269 w 531"/>
                  <a:gd name="T27" fmla="*/ 43 h 244"/>
                  <a:gd name="T28" fmla="*/ 302 w 531"/>
                  <a:gd name="T29" fmla="*/ 22 h 244"/>
                  <a:gd name="T30" fmla="*/ 361 w 531"/>
                  <a:gd name="T31" fmla="*/ 43 h 244"/>
                  <a:gd name="T32" fmla="*/ 375 w 531"/>
                  <a:gd name="T33" fmla="*/ 22 h 244"/>
                  <a:gd name="T34" fmla="*/ 451 w 531"/>
                  <a:gd name="T35" fmla="*/ 33 h 244"/>
                  <a:gd name="T36" fmla="*/ 517 w 531"/>
                  <a:gd name="T37" fmla="*/ 33 h 244"/>
                  <a:gd name="T38" fmla="*/ 505 w 531"/>
                  <a:gd name="T39" fmla="*/ 59 h 244"/>
                  <a:gd name="T40" fmla="*/ 522 w 531"/>
                  <a:gd name="T41" fmla="*/ 128 h 244"/>
                  <a:gd name="T42" fmla="*/ 489 w 531"/>
                  <a:gd name="T43" fmla="*/ 116 h 244"/>
                  <a:gd name="T44" fmla="*/ 500 w 531"/>
                  <a:gd name="T45" fmla="*/ 144 h 244"/>
                  <a:gd name="T46" fmla="*/ 484 w 531"/>
                  <a:gd name="T47" fmla="*/ 166 h 244"/>
                  <a:gd name="T48" fmla="*/ 484 w 531"/>
                  <a:gd name="T49" fmla="*/ 189 h 244"/>
                  <a:gd name="T50" fmla="*/ 451 w 531"/>
                  <a:gd name="T51" fmla="*/ 199 h 244"/>
                  <a:gd name="T52" fmla="*/ 371 w 531"/>
                  <a:gd name="T53" fmla="*/ 222 h 244"/>
                  <a:gd name="T54" fmla="*/ 345 w 531"/>
                  <a:gd name="T55" fmla="*/ 244 h 244"/>
                  <a:gd name="T56" fmla="*/ 198 w 531"/>
                  <a:gd name="T57" fmla="*/ 211 h 244"/>
                  <a:gd name="T58" fmla="*/ 184 w 531"/>
                  <a:gd name="T59" fmla="*/ 182 h 244"/>
                  <a:gd name="T60" fmla="*/ 113 w 531"/>
                  <a:gd name="T61" fmla="*/ 189 h 244"/>
                  <a:gd name="T62" fmla="*/ 59 w 531"/>
                  <a:gd name="T63" fmla="*/ 199 h 244"/>
                  <a:gd name="T64" fmla="*/ 59 w 531"/>
                  <a:gd name="T65" fmla="*/ 19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1" h="244">
                    <a:moveTo>
                      <a:pt x="59" y="199"/>
                    </a:moveTo>
                    <a:lnTo>
                      <a:pt x="54" y="189"/>
                    </a:lnTo>
                    <a:lnTo>
                      <a:pt x="37" y="206"/>
                    </a:lnTo>
                    <a:lnTo>
                      <a:pt x="21" y="199"/>
                    </a:lnTo>
                    <a:lnTo>
                      <a:pt x="21" y="189"/>
                    </a:lnTo>
                    <a:lnTo>
                      <a:pt x="0" y="182"/>
                    </a:lnTo>
                    <a:lnTo>
                      <a:pt x="0" y="166"/>
                    </a:lnTo>
                    <a:lnTo>
                      <a:pt x="4" y="149"/>
                    </a:lnTo>
                    <a:lnTo>
                      <a:pt x="0" y="144"/>
                    </a:lnTo>
                    <a:lnTo>
                      <a:pt x="16" y="133"/>
                    </a:lnTo>
                    <a:lnTo>
                      <a:pt x="21" y="144"/>
                    </a:lnTo>
                    <a:lnTo>
                      <a:pt x="49" y="154"/>
                    </a:lnTo>
                    <a:lnTo>
                      <a:pt x="37" y="166"/>
                    </a:lnTo>
                    <a:lnTo>
                      <a:pt x="59" y="149"/>
                    </a:lnTo>
                    <a:lnTo>
                      <a:pt x="59" y="133"/>
                    </a:lnTo>
                    <a:lnTo>
                      <a:pt x="92" y="144"/>
                    </a:lnTo>
                    <a:lnTo>
                      <a:pt x="101" y="149"/>
                    </a:lnTo>
                    <a:lnTo>
                      <a:pt x="108" y="149"/>
                    </a:lnTo>
                    <a:lnTo>
                      <a:pt x="146" y="133"/>
                    </a:lnTo>
                    <a:lnTo>
                      <a:pt x="222" y="128"/>
                    </a:lnTo>
                    <a:lnTo>
                      <a:pt x="222" y="144"/>
                    </a:lnTo>
                    <a:lnTo>
                      <a:pt x="236" y="144"/>
                    </a:lnTo>
                    <a:lnTo>
                      <a:pt x="248" y="128"/>
                    </a:lnTo>
                    <a:lnTo>
                      <a:pt x="231" y="128"/>
                    </a:lnTo>
                    <a:lnTo>
                      <a:pt x="236" y="111"/>
                    </a:lnTo>
                    <a:lnTo>
                      <a:pt x="222" y="88"/>
                    </a:lnTo>
                    <a:lnTo>
                      <a:pt x="269" y="59"/>
                    </a:lnTo>
                    <a:lnTo>
                      <a:pt x="269" y="43"/>
                    </a:lnTo>
                    <a:lnTo>
                      <a:pt x="290" y="43"/>
                    </a:lnTo>
                    <a:lnTo>
                      <a:pt x="302" y="22"/>
                    </a:lnTo>
                    <a:lnTo>
                      <a:pt x="323" y="38"/>
                    </a:lnTo>
                    <a:lnTo>
                      <a:pt x="361" y="43"/>
                    </a:lnTo>
                    <a:lnTo>
                      <a:pt x="371" y="22"/>
                    </a:lnTo>
                    <a:lnTo>
                      <a:pt x="375" y="22"/>
                    </a:lnTo>
                    <a:lnTo>
                      <a:pt x="382" y="0"/>
                    </a:lnTo>
                    <a:lnTo>
                      <a:pt x="451" y="33"/>
                    </a:lnTo>
                    <a:lnTo>
                      <a:pt x="484" y="22"/>
                    </a:lnTo>
                    <a:lnTo>
                      <a:pt x="517" y="33"/>
                    </a:lnTo>
                    <a:lnTo>
                      <a:pt x="517" y="38"/>
                    </a:lnTo>
                    <a:lnTo>
                      <a:pt x="505" y="59"/>
                    </a:lnTo>
                    <a:lnTo>
                      <a:pt x="531" y="95"/>
                    </a:lnTo>
                    <a:lnTo>
                      <a:pt x="522" y="128"/>
                    </a:lnTo>
                    <a:lnTo>
                      <a:pt x="500" y="128"/>
                    </a:lnTo>
                    <a:lnTo>
                      <a:pt x="489" y="116"/>
                    </a:lnTo>
                    <a:lnTo>
                      <a:pt x="484" y="128"/>
                    </a:lnTo>
                    <a:lnTo>
                      <a:pt x="500" y="144"/>
                    </a:lnTo>
                    <a:lnTo>
                      <a:pt x="484" y="149"/>
                    </a:lnTo>
                    <a:lnTo>
                      <a:pt x="484" y="166"/>
                    </a:lnTo>
                    <a:lnTo>
                      <a:pt x="479" y="166"/>
                    </a:lnTo>
                    <a:lnTo>
                      <a:pt x="484" y="189"/>
                    </a:lnTo>
                    <a:lnTo>
                      <a:pt x="467" y="189"/>
                    </a:lnTo>
                    <a:lnTo>
                      <a:pt x="451" y="199"/>
                    </a:lnTo>
                    <a:lnTo>
                      <a:pt x="437" y="211"/>
                    </a:lnTo>
                    <a:lnTo>
                      <a:pt x="371" y="222"/>
                    </a:lnTo>
                    <a:lnTo>
                      <a:pt x="371" y="239"/>
                    </a:lnTo>
                    <a:lnTo>
                      <a:pt x="345" y="244"/>
                    </a:lnTo>
                    <a:lnTo>
                      <a:pt x="290" y="227"/>
                    </a:lnTo>
                    <a:lnTo>
                      <a:pt x="198" y="211"/>
                    </a:lnTo>
                    <a:lnTo>
                      <a:pt x="184" y="199"/>
                    </a:lnTo>
                    <a:lnTo>
                      <a:pt x="184" y="182"/>
                    </a:lnTo>
                    <a:lnTo>
                      <a:pt x="156" y="189"/>
                    </a:lnTo>
                    <a:lnTo>
                      <a:pt x="113" y="189"/>
                    </a:lnTo>
                    <a:lnTo>
                      <a:pt x="101" y="211"/>
                    </a:lnTo>
                    <a:lnTo>
                      <a:pt x="59" y="199"/>
                    </a:lnTo>
                    <a:lnTo>
                      <a:pt x="59" y="199"/>
                    </a:lnTo>
                    <a:lnTo>
                      <a:pt x="59" y="19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6" name="Freeform 453">
                <a:extLst>
                  <a:ext uri="{FF2B5EF4-FFF2-40B4-BE49-F238E27FC236}">
                    <a16:creationId xmlns:a16="http://schemas.microsoft.com/office/drawing/2014/main" id="{0EA6E4ED-DBF8-4169-8756-769EB82D809F}"/>
                  </a:ext>
                </a:extLst>
              </p:cNvPr>
              <p:cNvSpPr>
                <a:spLocks noEditPoints="1"/>
              </p:cNvSpPr>
              <p:nvPr/>
            </p:nvSpPr>
            <p:spPr bwMode="gray">
              <a:xfrm>
                <a:off x="6893373" y="2244043"/>
                <a:ext cx="266350" cy="305494"/>
              </a:xfrm>
              <a:custGeom>
                <a:avLst/>
                <a:gdLst>
                  <a:gd name="T0" fmla="*/ 442 w 647"/>
                  <a:gd name="T1" fmla="*/ 454 h 742"/>
                  <a:gd name="T2" fmla="*/ 480 w 647"/>
                  <a:gd name="T3" fmla="*/ 543 h 742"/>
                  <a:gd name="T4" fmla="*/ 534 w 647"/>
                  <a:gd name="T5" fmla="*/ 621 h 742"/>
                  <a:gd name="T6" fmla="*/ 496 w 647"/>
                  <a:gd name="T7" fmla="*/ 704 h 742"/>
                  <a:gd name="T8" fmla="*/ 484 w 647"/>
                  <a:gd name="T9" fmla="*/ 704 h 742"/>
                  <a:gd name="T10" fmla="*/ 354 w 647"/>
                  <a:gd name="T11" fmla="*/ 720 h 742"/>
                  <a:gd name="T12" fmla="*/ 312 w 647"/>
                  <a:gd name="T13" fmla="*/ 732 h 742"/>
                  <a:gd name="T14" fmla="*/ 241 w 647"/>
                  <a:gd name="T15" fmla="*/ 704 h 742"/>
                  <a:gd name="T16" fmla="*/ 177 w 647"/>
                  <a:gd name="T17" fmla="*/ 704 h 742"/>
                  <a:gd name="T18" fmla="*/ 118 w 647"/>
                  <a:gd name="T19" fmla="*/ 704 h 742"/>
                  <a:gd name="T20" fmla="*/ 140 w 647"/>
                  <a:gd name="T21" fmla="*/ 621 h 742"/>
                  <a:gd name="T22" fmla="*/ 102 w 647"/>
                  <a:gd name="T23" fmla="*/ 565 h 742"/>
                  <a:gd name="T24" fmla="*/ 43 w 647"/>
                  <a:gd name="T25" fmla="*/ 539 h 742"/>
                  <a:gd name="T26" fmla="*/ 26 w 647"/>
                  <a:gd name="T27" fmla="*/ 472 h 742"/>
                  <a:gd name="T28" fmla="*/ 14 w 647"/>
                  <a:gd name="T29" fmla="*/ 416 h 742"/>
                  <a:gd name="T30" fmla="*/ 14 w 647"/>
                  <a:gd name="T31" fmla="*/ 371 h 742"/>
                  <a:gd name="T32" fmla="*/ 69 w 647"/>
                  <a:gd name="T33" fmla="*/ 300 h 742"/>
                  <a:gd name="T34" fmla="*/ 64 w 647"/>
                  <a:gd name="T35" fmla="*/ 243 h 742"/>
                  <a:gd name="T36" fmla="*/ 102 w 647"/>
                  <a:gd name="T37" fmla="*/ 177 h 742"/>
                  <a:gd name="T38" fmla="*/ 85 w 647"/>
                  <a:gd name="T39" fmla="*/ 168 h 742"/>
                  <a:gd name="T40" fmla="*/ 161 w 647"/>
                  <a:gd name="T41" fmla="*/ 149 h 742"/>
                  <a:gd name="T42" fmla="*/ 177 w 647"/>
                  <a:gd name="T43" fmla="*/ 149 h 742"/>
                  <a:gd name="T44" fmla="*/ 189 w 647"/>
                  <a:gd name="T45" fmla="*/ 149 h 742"/>
                  <a:gd name="T46" fmla="*/ 203 w 647"/>
                  <a:gd name="T47" fmla="*/ 116 h 742"/>
                  <a:gd name="T48" fmla="*/ 265 w 647"/>
                  <a:gd name="T49" fmla="*/ 139 h 742"/>
                  <a:gd name="T50" fmla="*/ 227 w 647"/>
                  <a:gd name="T51" fmla="*/ 94 h 742"/>
                  <a:gd name="T52" fmla="*/ 194 w 647"/>
                  <a:gd name="T53" fmla="*/ 66 h 742"/>
                  <a:gd name="T54" fmla="*/ 173 w 647"/>
                  <a:gd name="T55" fmla="*/ 28 h 742"/>
                  <a:gd name="T56" fmla="*/ 189 w 647"/>
                  <a:gd name="T57" fmla="*/ 12 h 742"/>
                  <a:gd name="T58" fmla="*/ 295 w 647"/>
                  <a:gd name="T59" fmla="*/ 45 h 742"/>
                  <a:gd name="T60" fmla="*/ 371 w 647"/>
                  <a:gd name="T61" fmla="*/ 66 h 742"/>
                  <a:gd name="T62" fmla="*/ 350 w 647"/>
                  <a:gd name="T63" fmla="*/ 116 h 742"/>
                  <a:gd name="T64" fmla="*/ 442 w 647"/>
                  <a:gd name="T65" fmla="*/ 83 h 742"/>
                  <a:gd name="T66" fmla="*/ 458 w 647"/>
                  <a:gd name="T67" fmla="*/ 78 h 742"/>
                  <a:gd name="T68" fmla="*/ 555 w 647"/>
                  <a:gd name="T69" fmla="*/ 83 h 742"/>
                  <a:gd name="T70" fmla="*/ 605 w 647"/>
                  <a:gd name="T71" fmla="*/ 168 h 742"/>
                  <a:gd name="T72" fmla="*/ 619 w 647"/>
                  <a:gd name="T73" fmla="*/ 243 h 742"/>
                  <a:gd name="T74" fmla="*/ 619 w 647"/>
                  <a:gd name="T75" fmla="*/ 317 h 742"/>
                  <a:gd name="T76" fmla="*/ 647 w 647"/>
                  <a:gd name="T77" fmla="*/ 371 h 742"/>
                  <a:gd name="T78" fmla="*/ 593 w 647"/>
                  <a:gd name="T79" fmla="*/ 387 h 742"/>
                  <a:gd name="T80" fmla="*/ 539 w 647"/>
                  <a:gd name="T81" fmla="*/ 416 h 742"/>
                  <a:gd name="T82" fmla="*/ 194 w 647"/>
                  <a:gd name="T83" fmla="*/ 40 h 742"/>
                  <a:gd name="T84" fmla="*/ 194 w 647"/>
                  <a:gd name="T85" fmla="*/ 40 h 742"/>
                  <a:gd name="T86" fmla="*/ 177 w 647"/>
                  <a:gd name="T87" fmla="*/ 28 h 742"/>
                  <a:gd name="T88" fmla="*/ 529 w 647"/>
                  <a:gd name="T89" fmla="*/ 78 h 742"/>
                  <a:gd name="T90" fmla="*/ 517 w 647"/>
                  <a:gd name="T91" fmla="*/ 45 h 742"/>
                  <a:gd name="T92" fmla="*/ 517 w 647"/>
                  <a:gd name="T93" fmla="*/ 40 h 742"/>
                  <a:gd name="T94" fmla="*/ 539 w 647"/>
                  <a:gd name="T95" fmla="*/ 61 h 742"/>
                  <a:gd name="T96" fmla="*/ 529 w 647"/>
                  <a:gd name="T97" fmla="*/ 78 h 742"/>
                  <a:gd name="T98" fmla="*/ 194 w 647"/>
                  <a:gd name="T99" fmla="*/ 57 h 742"/>
                  <a:gd name="T100" fmla="*/ 203 w 647"/>
                  <a:gd name="T101" fmla="*/ 57 h 742"/>
                  <a:gd name="T102" fmla="*/ 371 w 647"/>
                  <a:gd name="T103" fmla="*/ 57 h 742"/>
                  <a:gd name="T104" fmla="*/ 588 w 647"/>
                  <a:gd name="T105" fmla="*/ 111 h 742"/>
                  <a:gd name="T106" fmla="*/ 572 w 647"/>
                  <a:gd name="T107" fmla="*/ 94 h 742"/>
                  <a:gd name="T108" fmla="*/ 588 w 647"/>
                  <a:gd name="T109" fmla="*/ 111 h 742"/>
                  <a:gd name="T110" fmla="*/ 392 w 647"/>
                  <a:gd name="T111" fmla="*/ 99 h 742"/>
                  <a:gd name="T112" fmla="*/ 64 w 647"/>
                  <a:gd name="T113" fmla="*/ 149 h 742"/>
                  <a:gd name="T114" fmla="*/ 64 w 647"/>
                  <a:gd name="T115" fmla="*/ 149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7" h="742">
                    <a:moveTo>
                      <a:pt x="501" y="449"/>
                    </a:moveTo>
                    <a:lnTo>
                      <a:pt x="475" y="449"/>
                    </a:lnTo>
                    <a:lnTo>
                      <a:pt x="458" y="465"/>
                    </a:lnTo>
                    <a:lnTo>
                      <a:pt x="442" y="454"/>
                    </a:lnTo>
                    <a:lnTo>
                      <a:pt x="447" y="482"/>
                    </a:lnTo>
                    <a:lnTo>
                      <a:pt x="475" y="498"/>
                    </a:lnTo>
                    <a:lnTo>
                      <a:pt x="463" y="522"/>
                    </a:lnTo>
                    <a:lnTo>
                      <a:pt x="480" y="543"/>
                    </a:lnTo>
                    <a:lnTo>
                      <a:pt x="501" y="555"/>
                    </a:lnTo>
                    <a:lnTo>
                      <a:pt x="567" y="598"/>
                    </a:lnTo>
                    <a:lnTo>
                      <a:pt x="555" y="621"/>
                    </a:lnTo>
                    <a:lnTo>
                      <a:pt x="534" y="621"/>
                    </a:lnTo>
                    <a:lnTo>
                      <a:pt x="534" y="638"/>
                    </a:lnTo>
                    <a:lnTo>
                      <a:pt x="484" y="666"/>
                    </a:lnTo>
                    <a:lnTo>
                      <a:pt x="501" y="687"/>
                    </a:lnTo>
                    <a:lnTo>
                      <a:pt x="496" y="704"/>
                    </a:lnTo>
                    <a:lnTo>
                      <a:pt x="513" y="704"/>
                    </a:lnTo>
                    <a:lnTo>
                      <a:pt x="501" y="720"/>
                    </a:lnTo>
                    <a:lnTo>
                      <a:pt x="484" y="720"/>
                    </a:lnTo>
                    <a:lnTo>
                      <a:pt x="484" y="704"/>
                    </a:lnTo>
                    <a:lnTo>
                      <a:pt x="409" y="709"/>
                    </a:lnTo>
                    <a:lnTo>
                      <a:pt x="371" y="725"/>
                    </a:lnTo>
                    <a:lnTo>
                      <a:pt x="366" y="725"/>
                    </a:lnTo>
                    <a:lnTo>
                      <a:pt x="354" y="720"/>
                    </a:lnTo>
                    <a:lnTo>
                      <a:pt x="324" y="709"/>
                    </a:lnTo>
                    <a:lnTo>
                      <a:pt x="324" y="725"/>
                    </a:lnTo>
                    <a:lnTo>
                      <a:pt x="302" y="742"/>
                    </a:lnTo>
                    <a:lnTo>
                      <a:pt x="312" y="732"/>
                    </a:lnTo>
                    <a:lnTo>
                      <a:pt x="286" y="720"/>
                    </a:lnTo>
                    <a:lnTo>
                      <a:pt x="279" y="709"/>
                    </a:lnTo>
                    <a:lnTo>
                      <a:pt x="265" y="720"/>
                    </a:lnTo>
                    <a:lnTo>
                      <a:pt x="241" y="704"/>
                    </a:lnTo>
                    <a:lnTo>
                      <a:pt x="203" y="704"/>
                    </a:lnTo>
                    <a:lnTo>
                      <a:pt x="203" y="692"/>
                    </a:lnTo>
                    <a:lnTo>
                      <a:pt x="194" y="692"/>
                    </a:lnTo>
                    <a:lnTo>
                      <a:pt x="177" y="704"/>
                    </a:lnTo>
                    <a:lnTo>
                      <a:pt x="194" y="704"/>
                    </a:lnTo>
                    <a:lnTo>
                      <a:pt x="194" y="709"/>
                    </a:lnTo>
                    <a:lnTo>
                      <a:pt x="123" y="709"/>
                    </a:lnTo>
                    <a:lnTo>
                      <a:pt x="118" y="704"/>
                    </a:lnTo>
                    <a:lnTo>
                      <a:pt x="123" y="676"/>
                    </a:lnTo>
                    <a:lnTo>
                      <a:pt x="123" y="666"/>
                    </a:lnTo>
                    <a:lnTo>
                      <a:pt x="135" y="638"/>
                    </a:lnTo>
                    <a:lnTo>
                      <a:pt x="140" y="621"/>
                    </a:lnTo>
                    <a:lnTo>
                      <a:pt x="173" y="581"/>
                    </a:lnTo>
                    <a:lnTo>
                      <a:pt x="135" y="576"/>
                    </a:lnTo>
                    <a:lnTo>
                      <a:pt x="106" y="565"/>
                    </a:lnTo>
                    <a:lnTo>
                      <a:pt x="102" y="565"/>
                    </a:lnTo>
                    <a:lnTo>
                      <a:pt x="80" y="560"/>
                    </a:lnTo>
                    <a:lnTo>
                      <a:pt x="64" y="565"/>
                    </a:lnTo>
                    <a:lnTo>
                      <a:pt x="47" y="543"/>
                    </a:lnTo>
                    <a:lnTo>
                      <a:pt x="43" y="539"/>
                    </a:lnTo>
                    <a:lnTo>
                      <a:pt x="43" y="539"/>
                    </a:lnTo>
                    <a:lnTo>
                      <a:pt x="47" y="505"/>
                    </a:lnTo>
                    <a:lnTo>
                      <a:pt x="31" y="498"/>
                    </a:lnTo>
                    <a:lnTo>
                      <a:pt x="26" y="472"/>
                    </a:lnTo>
                    <a:lnTo>
                      <a:pt x="26" y="465"/>
                    </a:lnTo>
                    <a:lnTo>
                      <a:pt x="43" y="454"/>
                    </a:lnTo>
                    <a:lnTo>
                      <a:pt x="31" y="428"/>
                    </a:lnTo>
                    <a:lnTo>
                      <a:pt x="14" y="416"/>
                    </a:lnTo>
                    <a:lnTo>
                      <a:pt x="14" y="399"/>
                    </a:lnTo>
                    <a:lnTo>
                      <a:pt x="0" y="387"/>
                    </a:lnTo>
                    <a:lnTo>
                      <a:pt x="14" y="378"/>
                    </a:lnTo>
                    <a:lnTo>
                      <a:pt x="14" y="371"/>
                    </a:lnTo>
                    <a:lnTo>
                      <a:pt x="31" y="361"/>
                    </a:lnTo>
                    <a:lnTo>
                      <a:pt x="31" y="345"/>
                    </a:lnTo>
                    <a:lnTo>
                      <a:pt x="10" y="317"/>
                    </a:lnTo>
                    <a:lnTo>
                      <a:pt x="69" y="300"/>
                    </a:lnTo>
                    <a:lnTo>
                      <a:pt x="64" y="288"/>
                    </a:lnTo>
                    <a:lnTo>
                      <a:pt x="85" y="276"/>
                    </a:lnTo>
                    <a:lnTo>
                      <a:pt x="85" y="260"/>
                    </a:lnTo>
                    <a:lnTo>
                      <a:pt x="64" y="243"/>
                    </a:lnTo>
                    <a:lnTo>
                      <a:pt x="69" y="234"/>
                    </a:lnTo>
                    <a:lnTo>
                      <a:pt x="85" y="234"/>
                    </a:lnTo>
                    <a:lnTo>
                      <a:pt x="102" y="205"/>
                    </a:lnTo>
                    <a:lnTo>
                      <a:pt x="102" y="177"/>
                    </a:lnTo>
                    <a:lnTo>
                      <a:pt x="102" y="172"/>
                    </a:lnTo>
                    <a:lnTo>
                      <a:pt x="106" y="172"/>
                    </a:lnTo>
                    <a:lnTo>
                      <a:pt x="85" y="168"/>
                    </a:lnTo>
                    <a:lnTo>
                      <a:pt x="85" y="168"/>
                    </a:lnTo>
                    <a:lnTo>
                      <a:pt x="97" y="139"/>
                    </a:lnTo>
                    <a:lnTo>
                      <a:pt x="102" y="132"/>
                    </a:lnTo>
                    <a:lnTo>
                      <a:pt x="156" y="132"/>
                    </a:lnTo>
                    <a:lnTo>
                      <a:pt x="161" y="149"/>
                    </a:lnTo>
                    <a:lnTo>
                      <a:pt x="156" y="149"/>
                    </a:lnTo>
                    <a:lnTo>
                      <a:pt x="161" y="156"/>
                    </a:lnTo>
                    <a:lnTo>
                      <a:pt x="173" y="156"/>
                    </a:lnTo>
                    <a:lnTo>
                      <a:pt x="177" y="149"/>
                    </a:lnTo>
                    <a:lnTo>
                      <a:pt x="173" y="149"/>
                    </a:lnTo>
                    <a:lnTo>
                      <a:pt x="173" y="139"/>
                    </a:lnTo>
                    <a:lnTo>
                      <a:pt x="177" y="139"/>
                    </a:lnTo>
                    <a:lnTo>
                      <a:pt x="189" y="149"/>
                    </a:lnTo>
                    <a:lnTo>
                      <a:pt x="189" y="168"/>
                    </a:lnTo>
                    <a:lnTo>
                      <a:pt x="194" y="149"/>
                    </a:lnTo>
                    <a:lnTo>
                      <a:pt x="189" y="132"/>
                    </a:lnTo>
                    <a:lnTo>
                      <a:pt x="203" y="116"/>
                    </a:lnTo>
                    <a:lnTo>
                      <a:pt x="241" y="116"/>
                    </a:lnTo>
                    <a:lnTo>
                      <a:pt x="265" y="139"/>
                    </a:lnTo>
                    <a:lnTo>
                      <a:pt x="279" y="149"/>
                    </a:lnTo>
                    <a:lnTo>
                      <a:pt x="265" y="139"/>
                    </a:lnTo>
                    <a:lnTo>
                      <a:pt x="248" y="116"/>
                    </a:lnTo>
                    <a:lnTo>
                      <a:pt x="215" y="111"/>
                    </a:lnTo>
                    <a:lnTo>
                      <a:pt x="210" y="99"/>
                    </a:lnTo>
                    <a:lnTo>
                      <a:pt x="227" y="94"/>
                    </a:lnTo>
                    <a:lnTo>
                      <a:pt x="210" y="83"/>
                    </a:lnTo>
                    <a:lnTo>
                      <a:pt x="215" y="78"/>
                    </a:lnTo>
                    <a:lnTo>
                      <a:pt x="203" y="78"/>
                    </a:lnTo>
                    <a:lnTo>
                      <a:pt x="194" y="66"/>
                    </a:lnTo>
                    <a:lnTo>
                      <a:pt x="227" y="57"/>
                    </a:lnTo>
                    <a:lnTo>
                      <a:pt x="194" y="12"/>
                    </a:lnTo>
                    <a:lnTo>
                      <a:pt x="173" y="12"/>
                    </a:lnTo>
                    <a:lnTo>
                      <a:pt x="173" y="28"/>
                    </a:lnTo>
                    <a:lnTo>
                      <a:pt x="177" y="0"/>
                    </a:lnTo>
                    <a:lnTo>
                      <a:pt x="189" y="0"/>
                    </a:lnTo>
                    <a:lnTo>
                      <a:pt x="177" y="5"/>
                    </a:lnTo>
                    <a:lnTo>
                      <a:pt x="189" y="12"/>
                    </a:lnTo>
                    <a:lnTo>
                      <a:pt x="203" y="12"/>
                    </a:lnTo>
                    <a:lnTo>
                      <a:pt x="258" y="24"/>
                    </a:lnTo>
                    <a:lnTo>
                      <a:pt x="295" y="28"/>
                    </a:lnTo>
                    <a:lnTo>
                      <a:pt x="295" y="45"/>
                    </a:lnTo>
                    <a:lnTo>
                      <a:pt x="286" y="61"/>
                    </a:lnTo>
                    <a:lnTo>
                      <a:pt x="302" y="57"/>
                    </a:lnTo>
                    <a:lnTo>
                      <a:pt x="340" y="66"/>
                    </a:lnTo>
                    <a:lnTo>
                      <a:pt x="371" y="66"/>
                    </a:lnTo>
                    <a:lnTo>
                      <a:pt x="371" y="83"/>
                    </a:lnTo>
                    <a:lnTo>
                      <a:pt x="350" y="99"/>
                    </a:lnTo>
                    <a:lnTo>
                      <a:pt x="354" y="99"/>
                    </a:lnTo>
                    <a:lnTo>
                      <a:pt x="350" y="116"/>
                    </a:lnTo>
                    <a:lnTo>
                      <a:pt x="371" y="99"/>
                    </a:lnTo>
                    <a:lnTo>
                      <a:pt x="392" y="111"/>
                    </a:lnTo>
                    <a:lnTo>
                      <a:pt x="409" y="83"/>
                    </a:lnTo>
                    <a:lnTo>
                      <a:pt x="442" y="83"/>
                    </a:lnTo>
                    <a:lnTo>
                      <a:pt x="475" y="57"/>
                    </a:lnTo>
                    <a:lnTo>
                      <a:pt x="501" y="61"/>
                    </a:lnTo>
                    <a:lnTo>
                      <a:pt x="463" y="61"/>
                    </a:lnTo>
                    <a:lnTo>
                      <a:pt x="458" y="78"/>
                    </a:lnTo>
                    <a:lnTo>
                      <a:pt x="475" y="66"/>
                    </a:lnTo>
                    <a:lnTo>
                      <a:pt x="501" y="61"/>
                    </a:lnTo>
                    <a:lnTo>
                      <a:pt x="534" y="94"/>
                    </a:lnTo>
                    <a:lnTo>
                      <a:pt x="555" y="83"/>
                    </a:lnTo>
                    <a:lnTo>
                      <a:pt x="567" y="111"/>
                    </a:lnTo>
                    <a:lnTo>
                      <a:pt x="567" y="116"/>
                    </a:lnTo>
                    <a:lnTo>
                      <a:pt x="593" y="132"/>
                    </a:lnTo>
                    <a:lnTo>
                      <a:pt x="605" y="168"/>
                    </a:lnTo>
                    <a:lnTo>
                      <a:pt x="605" y="189"/>
                    </a:lnTo>
                    <a:lnTo>
                      <a:pt x="588" y="205"/>
                    </a:lnTo>
                    <a:lnTo>
                      <a:pt x="588" y="210"/>
                    </a:lnTo>
                    <a:lnTo>
                      <a:pt x="619" y="243"/>
                    </a:lnTo>
                    <a:lnTo>
                      <a:pt x="610" y="260"/>
                    </a:lnTo>
                    <a:lnTo>
                      <a:pt x="626" y="276"/>
                    </a:lnTo>
                    <a:lnTo>
                      <a:pt x="626" y="288"/>
                    </a:lnTo>
                    <a:lnTo>
                      <a:pt x="619" y="317"/>
                    </a:lnTo>
                    <a:lnTo>
                      <a:pt x="626" y="333"/>
                    </a:lnTo>
                    <a:lnTo>
                      <a:pt x="626" y="345"/>
                    </a:lnTo>
                    <a:lnTo>
                      <a:pt x="643" y="345"/>
                    </a:lnTo>
                    <a:lnTo>
                      <a:pt x="647" y="371"/>
                    </a:lnTo>
                    <a:lnTo>
                      <a:pt x="636" y="411"/>
                    </a:lnTo>
                    <a:lnTo>
                      <a:pt x="619" y="411"/>
                    </a:lnTo>
                    <a:lnTo>
                      <a:pt x="610" y="394"/>
                    </a:lnTo>
                    <a:lnTo>
                      <a:pt x="593" y="387"/>
                    </a:lnTo>
                    <a:lnTo>
                      <a:pt x="593" y="394"/>
                    </a:lnTo>
                    <a:lnTo>
                      <a:pt x="605" y="399"/>
                    </a:lnTo>
                    <a:lnTo>
                      <a:pt x="593" y="399"/>
                    </a:lnTo>
                    <a:lnTo>
                      <a:pt x="539" y="416"/>
                    </a:lnTo>
                    <a:lnTo>
                      <a:pt x="501" y="449"/>
                    </a:lnTo>
                    <a:lnTo>
                      <a:pt x="501" y="449"/>
                    </a:lnTo>
                    <a:lnTo>
                      <a:pt x="501" y="449"/>
                    </a:lnTo>
                    <a:close/>
                    <a:moveTo>
                      <a:pt x="194" y="40"/>
                    </a:moveTo>
                    <a:lnTo>
                      <a:pt x="177" y="28"/>
                    </a:lnTo>
                    <a:lnTo>
                      <a:pt x="194" y="28"/>
                    </a:lnTo>
                    <a:lnTo>
                      <a:pt x="194" y="40"/>
                    </a:lnTo>
                    <a:lnTo>
                      <a:pt x="194" y="40"/>
                    </a:lnTo>
                    <a:lnTo>
                      <a:pt x="194" y="40"/>
                    </a:lnTo>
                    <a:close/>
                    <a:moveTo>
                      <a:pt x="177" y="45"/>
                    </a:moveTo>
                    <a:lnTo>
                      <a:pt x="173" y="40"/>
                    </a:lnTo>
                    <a:lnTo>
                      <a:pt x="177" y="28"/>
                    </a:lnTo>
                    <a:lnTo>
                      <a:pt x="177" y="45"/>
                    </a:lnTo>
                    <a:lnTo>
                      <a:pt x="177" y="45"/>
                    </a:lnTo>
                    <a:lnTo>
                      <a:pt x="177" y="45"/>
                    </a:lnTo>
                    <a:close/>
                    <a:moveTo>
                      <a:pt x="529" y="78"/>
                    </a:moveTo>
                    <a:lnTo>
                      <a:pt x="534" y="78"/>
                    </a:lnTo>
                    <a:lnTo>
                      <a:pt x="513" y="66"/>
                    </a:lnTo>
                    <a:lnTo>
                      <a:pt x="529" y="61"/>
                    </a:lnTo>
                    <a:lnTo>
                      <a:pt x="517" y="45"/>
                    </a:lnTo>
                    <a:lnTo>
                      <a:pt x="539" y="57"/>
                    </a:lnTo>
                    <a:lnTo>
                      <a:pt x="534" y="45"/>
                    </a:lnTo>
                    <a:lnTo>
                      <a:pt x="517" y="45"/>
                    </a:lnTo>
                    <a:lnTo>
                      <a:pt x="517" y="40"/>
                    </a:lnTo>
                    <a:lnTo>
                      <a:pt x="534" y="40"/>
                    </a:lnTo>
                    <a:lnTo>
                      <a:pt x="534" y="45"/>
                    </a:lnTo>
                    <a:lnTo>
                      <a:pt x="551" y="45"/>
                    </a:lnTo>
                    <a:lnTo>
                      <a:pt x="539" y="61"/>
                    </a:lnTo>
                    <a:lnTo>
                      <a:pt x="555" y="78"/>
                    </a:lnTo>
                    <a:lnTo>
                      <a:pt x="551" y="66"/>
                    </a:lnTo>
                    <a:lnTo>
                      <a:pt x="539" y="66"/>
                    </a:lnTo>
                    <a:lnTo>
                      <a:pt x="529" y="78"/>
                    </a:lnTo>
                    <a:lnTo>
                      <a:pt x="529" y="78"/>
                    </a:lnTo>
                    <a:lnTo>
                      <a:pt x="529" y="78"/>
                    </a:lnTo>
                    <a:close/>
                    <a:moveTo>
                      <a:pt x="203" y="57"/>
                    </a:moveTo>
                    <a:lnTo>
                      <a:pt x="194" y="57"/>
                    </a:lnTo>
                    <a:lnTo>
                      <a:pt x="203" y="45"/>
                    </a:lnTo>
                    <a:lnTo>
                      <a:pt x="203" y="57"/>
                    </a:lnTo>
                    <a:lnTo>
                      <a:pt x="203" y="57"/>
                    </a:lnTo>
                    <a:lnTo>
                      <a:pt x="203" y="57"/>
                    </a:lnTo>
                    <a:close/>
                    <a:moveTo>
                      <a:pt x="378" y="61"/>
                    </a:moveTo>
                    <a:lnTo>
                      <a:pt x="388" y="61"/>
                    </a:lnTo>
                    <a:lnTo>
                      <a:pt x="366" y="61"/>
                    </a:lnTo>
                    <a:lnTo>
                      <a:pt x="371" y="57"/>
                    </a:lnTo>
                    <a:lnTo>
                      <a:pt x="378" y="61"/>
                    </a:lnTo>
                    <a:lnTo>
                      <a:pt x="378" y="61"/>
                    </a:lnTo>
                    <a:lnTo>
                      <a:pt x="378" y="61"/>
                    </a:lnTo>
                    <a:close/>
                    <a:moveTo>
                      <a:pt x="588" y="111"/>
                    </a:moveTo>
                    <a:lnTo>
                      <a:pt x="588" y="116"/>
                    </a:lnTo>
                    <a:lnTo>
                      <a:pt x="567" y="116"/>
                    </a:lnTo>
                    <a:lnTo>
                      <a:pt x="581" y="99"/>
                    </a:lnTo>
                    <a:lnTo>
                      <a:pt x="572" y="94"/>
                    </a:lnTo>
                    <a:lnTo>
                      <a:pt x="567" y="99"/>
                    </a:lnTo>
                    <a:lnTo>
                      <a:pt x="555" y="83"/>
                    </a:lnTo>
                    <a:lnTo>
                      <a:pt x="588" y="111"/>
                    </a:lnTo>
                    <a:lnTo>
                      <a:pt x="588" y="111"/>
                    </a:lnTo>
                    <a:lnTo>
                      <a:pt x="588" y="111"/>
                    </a:lnTo>
                    <a:close/>
                    <a:moveTo>
                      <a:pt x="392" y="111"/>
                    </a:moveTo>
                    <a:lnTo>
                      <a:pt x="388" y="99"/>
                    </a:lnTo>
                    <a:lnTo>
                      <a:pt x="392" y="99"/>
                    </a:lnTo>
                    <a:lnTo>
                      <a:pt x="392" y="111"/>
                    </a:lnTo>
                    <a:lnTo>
                      <a:pt x="392" y="111"/>
                    </a:lnTo>
                    <a:lnTo>
                      <a:pt x="392" y="111"/>
                    </a:lnTo>
                    <a:close/>
                    <a:moveTo>
                      <a:pt x="64" y="149"/>
                    </a:moveTo>
                    <a:lnTo>
                      <a:pt x="64" y="139"/>
                    </a:lnTo>
                    <a:lnTo>
                      <a:pt x="69" y="139"/>
                    </a:lnTo>
                    <a:lnTo>
                      <a:pt x="64" y="149"/>
                    </a:lnTo>
                    <a:lnTo>
                      <a:pt x="64" y="149"/>
                    </a:lnTo>
                    <a:lnTo>
                      <a:pt x="64" y="14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7" name="Freeform 564">
                <a:extLst>
                  <a:ext uri="{FF2B5EF4-FFF2-40B4-BE49-F238E27FC236}">
                    <a16:creationId xmlns:a16="http://schemas.microsoft.com/office/drawing/2014/main" id="{8BCE8061-E70B-4C08-BFAB-917FF4AB1758}"/>
                  </a:ext>
                </a:extLst>
              </p:cNvPr>
              <p:cNvSpPr>
                <a:spLocks/>
              </p:cNvSpPr>
              <p:nvPr/>
            </p:nvSpPr>
            <p:spPr bwMode="gray">
              <a:xfrm>
                <a:off x="6898314" y="2528950"/>
                <a:ext cx="129264" cy="74108"/>
              </a:xfrm>
              <a:custGeom>
                <a:avLst/>
                <a:gdLst>
                  <a:gd name="T0" fmla="*/ 38 w 314"/>
                  <a:gd name="T1" fmla="*/ 90 h 180"/>
                  <a:gd name="T2" fmla="*/ 71 w 314"/>
                  <a:gd name="T3" fmla="*/ 50 h 180"/>
                  <a:gd name="T4" fmla="*/ 76 w 314"/>
                  <a:gd name="T5" fmla="*/ 38 h 180"/>
                  <a:gd name="T6" fmla="*/ 71 w 314"/>
                  <a:gd name="T7" fmla="*/ 38 h 180"/>
                  <a:gd name="T8" fmla="*/ 76 w 314"/>
                  <a:gd name="T9" fmla="*/ 28 h 180"/>
                  <a:gd name="T10" fmla="*/ 97 w 314"/>
                  <a:gd name="T11" fmla="*/ 33 h 180"/>
                  <a:gd name="T12" fmla="*/ 113 w 314"/>
                  <a:gd name="T13" fmla="*/ 17 h 180"/>
                  <a:gd name="T14" fmla="*/ 184 w 314"/>
                  <a:gd name="T15" fmla="*/ 17 h 180"/>
                  <a:gd name="T16" fmla="*/ 184 w 314"/>
                  <a:gd name="T17" fmla="*/ 10 h 180"/>
                  <a:gd name="T18" fmla="*/ 168 w 314"/>
                  <a:gd name="T19" fmla="*/ 10 h 180"/>
                  <a:gd name="T20" fmla="*/ 184 w 314"/>
                  <a:gd name="T21" fmla="*/ 0 h 180"/>
                  <a:gd name="T22" fmla="*/ 194 w 314"/>
                  <a:gd name="T23" fmla="*/ 0 h 180"/>
                  <a:gd name="T24" fmla="*/ 194 w 314"/>
                  <a:gd name="T25" fmla="*/ 10 h 180"/>
                  <a:gd name="T26" fmla="*/ 231 w 314"/>
                  <a:gd name="T27" fmla="*/ 10 h 180"/>
                  <a:gd name="T28" fmla="*/ 253 w 314"/>
                  <a:gd name="T29" fmla="*/ 28 h 180"/>
                  <a:gd name="T30" fmla="*/ 260 w 314"/>
                  <a:gd name="T31" fmla="*/ 33 h 180"/>
                  <a:gd name="T32" fmla="*/ 253 w 314"/>
                  <a:gd name="T33" fmla="*/ 50 h 180"/>
                  <a:gd name="T34" fmla="*/ 248 w 314"/>
                  <a:gd name="T35" fmla="*/ 66 h 180"/>
                  <a:gd name="T36" fmla="*/ 253 w 314"/>
                  <a:gd name="T37" fmla="*/ 66 h 180"/>
                  <a:gd name="T38" fmla="*/ 276 w 314"/>
                  <a:gd name="T39" fmla="*/ 73 h 180"/>
                  <a:gd name="T40" fmla="*/ 276 w 314"/>
                  <a:gd name="T41" fmla="*/ 83 h 180"/>
                  <a:gd name="T42" fmla="*/ 293 w 314"/>
                  <a:gd name="T43" fmla="*/ 90 h 180"/>
                  <a:gd name="T44" fmla="*/ 307 w 314"/>
                  <a:gd name="T45" fmla="*/ 73 h 180"/>
                  <a:gd name="T46" fmla="*/ 314 w 314"/>
                  <a:gd name="T47" fmla="*/ 83 h 180"/>
                  <a:gd name="T48" fmla="*/ 314 w 314"/>
                  <a:gd name="T49" fmla="*/ 111 h 180"/>
                  <a:gd name="T50" fmla="*/ 302 w 314"/>
                  <a:gd name="T51" fmla="*/ 106 h 180"/>
                  <a:gd name="T52" fmla="*/ 286 w 314"/>
                  <a:gd name="T53" fmla="*/ 111 h 180"/>
                  <a:gd name="T54" fmla="*/ 286 w 314"/>
                  <a:gd name="T55" fmla="*/ 123 h 180"/>
                  <a:gd name="T56" fmla="*/ 293 w 314"/>
                  <a:gd name="T57" fmla="*/ 128 h 180"/>
                  <a:gd name="T58" fmla="*/ 293 w 314"/>
                  <a:gd name="T59" fmla="*/ 147 h 180"/>
                  <a:gd name="T60" fmla="*/ 276 w 314"/>
                  <a:gd name="T61" fmla="*/ 128 h 180"/>
                  <a:gd name="T62" fmla="*/ 253 w 314"/>
                  <a:gd name="T63" fmla="*/ 139 h 180"/>
                  <a:gd name="T64" fmla="*/ 248 w 314"/>
                  <a:gd name="T65" fmla="*/ 123 h 180"/>
                  <a:gd name="T66" fmla="*/ 231 w 314"/>
                  <a:gd name="T67" fmla="*/ 123 h 180"/>
                  <a:gd name="T68" fmla="*/ 231 w 314"/>
                  <a:gd name="T69" fmla="*/ 139 h 180"/>
                  <a:gd name="T70" fmla="*/ 215 w 314"/>
                  <a:gd name="T71" fmla="*/ 168 h 180"/>
                  <a:gd name="T72" fmla="*/ 222 w 314"/>
                  <a:gd name="T73" fmla="*/ 168 h 180"/>
                  <a:gd name="T74" fmla="*/ 215 w 314"/>
                  <a:gd name="T75" fmla="*/ 180 h 180"/>
                  <a:gd name="T76" fmla="*/ 201 w 314"/>
                  <a:gd name="T77" fmla="*/ 163 h 180"/>
                  <a:gd name="T78" fmla="*/ 201 w 314"/>
                  <a:gd name="T79" fmla="*/ 151 h 180"/>
                  <a:gd name="T80" fmla="*/ 177 w 314"/>
                  <a:gd name="T81" fmla="*/ 147 h 180"/>
                  <a:gd name="T82" fmla="*/ 177 w 314"/>
                  <a:gd name="T83" fmla="*/ 123 h 180"/>
                  <a:gd name="T84" fmla="*/ 163 w 314"/>
                  <a:gd name="T85" fmla="*/ 123 h 180"/>
                  <a:gd name="T86" fmla="*/ 151 w 314"/>
                  <a:gd name="T87" fmla="*/ 151 h 180"/>
                  <a:gd name="T88" fmla="*/ 130 w 314"/>
                  <a:gd name="T89" fmla="*/ 168 h 180"/>
                  <a:gd name="T90" fmla="*/ 125 w 314"/>
                  <a:gd name="T91" fmla="*/ 168 h 180"/>
                  <a:gd name="T92" fmla="*/ 87 w 314"/>
                  <a:gd name="T93" fmla="*/ 180 h 180"/>
                  <a:gd name="T94" fmla="*/ 76 w 314"/>
                  <a:gd name="T95" fmla="*/ 168 h 180"/>
                  <a:gd name="T96" fmla="*/ 59 w 314"/>
                  <a:gd name="T97" fmla="*/ 151 h 180"/>
                  <a:gd name="T98" fmla="*/ 59 w 314"/>
                  <a:gd name="T99" fmla="*/ 128 h 180"/>
                  <a:gd name="T100" fmla="*/ 54 w 314"/>
                  <a:gd name="T101" fmla="*/ 123 h 180"/>
                  <a:gd name="T102" fmla="*/ 21 w 314"/>
                  <a:gd name="T103" fmla="*/ 128 h 180"/>
                  <a:gd name="T104" fmla="*/ 21 w 314"/>
                  <a:gd name="T105" fmla="*/ 147 h 180"/>
                  <a:gd name="T106" fmla="*/ 5 w 314"/>
                  <a:gd name="T107" fmla="*/ 151 h 180"/>
                  <a:gd name="T108" fmla="*/ 0 w 314"/>
                  <a:gd name="T109" fmla="*/ 147 h 180"/>
                  <a:gd name="T110" fmla="*/ 16 w 314"/>
                  <a:gd name="T111" fmla="*/ 139 h 180"/>
                  <a:gd name="T112" fmla="*/ 16 w 314"/>
                  <a:gd name="T113" fmla="*/ 128 h 180"/>
                  <a:gd name="T114" fmla="*/ 5 w 314"/>
                  <a:gd name="T115" fmla="*/ 123 h 180"/>
                  <a:gd name="T116" fmla="*/ 16 w 314"/>
                  <a:gd name="T117" fmla="*/ 111 h 180"/>
                  <a:gd name="T118" fmla="*/ 33 w 314"/>
                  <a:gd name="T119" fmla="*/ 95 h 180"/>
                  <a:gd name="T120" fmla="*/ 38 w 314"/>
                  <a:gd name="T121" fmla="*/ 90 h 180"/>
                  <a:gd name="T122" fmla="*/ 38 w 314"/>
                  <a:gd name="T123" fmla="*/ 90 h 180"/>
                  <a:gd name="T124" fmla="*/ 38 w 314"/>
                  <a:gd name="T125"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4" h="180">
                    <a:moveTo>
                      <a:pt x="38" y="90"/>
                    </a:moveTo>
                    <a:lnTo>
                      <a:pt x="71" y="50"/>
                    </a:lnTo>
                    <a:lnTo>
                      <a:pt x="76" y="38"/>
                    </a:lnTo>
                    <a:lnTo>
                      <a:pt x="71" y="38"/>
                    </a:lnTo>
                    <a:lnTo>
                      <a:pt x="76" y="28"/>
                    </a:lnTo>
                    <a:lnTo>
                      <a:pt x="97" y="33"/>
                    </a:lnTo>
                    <a:lnTo>
                      <a:pt x="113" y="17"/>
                    </a:lnTo>
                    <a:lnTo>
                      <a:pt x="184" y="17"/>
                    </a:lnTo>
                    <a:lnTo>
                      <a:pt x="184" y="10"/>
                    </a:lnTo>
                    <a:lnTo>
                      <a:pt x="168" y="10"/>
                    </a:lnTo>
                    <a:lnTo>
                      <a:pt x="184" y="0"/>
                    </a:lnTo>
                    <a:lnTo>
                      <a:pt x="194" y="0"/>
                    </a:lnTo>
                    <a:lnTo>
                      <a:pt x="194" y="10"/>
                    </a:lnTo>
                    <a:lnTo>
                      <a:pt x="231" y="10"/>
                    </a:lnTo>
                    <a:lnTo>
                      <a:pt x="253" y="28"/>
                    </a:lnTo>
                    <a:lnTo>
                      <a:pt x="260" y="33"/>
                    </a:lnTo>
                    <a:lnTo>
                      <a:pt x="253" y="50"/>
                    </a:lnTo>
                    <a:lnTo>
                      <a:pt x="248" y="66"/>
                    </a:lnTo>
                    <a:lnTo>
                      <a:pt x="253" y="66"/>
                    </a:lnTo>
                    <a:lnTo>
                      <a:pt x="276" y="73"/>
                    </a:lnTo>
                    <a:lnTo>
                      <a:pt x="276" y="83"/>
                    </a:lnTo>
                    <a:lnTo>
                      <a:pt x="293" y="90"/>
                    </a:lnTo>
                    <a:lnTo>
                      <a:pt x="307" y="73"/>
                    </a:lnTo>
                    <a:lnTo>
                      <a:pt x="314" y="83"/>
                    </a:lnTo>
                    <a:lnTo>
                      <a:pt x="314" y="111"/>
                    </a:lnTo>
                    <a:lnTo>
                      <a:pt x="302" y="106"/>
                    </a:lnTo>
                    <a:lnTo>
                      <a:pt x="286" y="111"/>
                    </a:lnTo>
                    <a:lnTo>
                      <a:pt x="286" y="123"/>
                    </a:lnTo>
                    <a:lnTo>
                      <a:pt x="293" y="128"/>
                    </a:lnTo>
                    <a:lnTo>
                      <a:pt x="293" y="147"/>
                    </a:lnTo>
                    <a:lnTo>
                      <a:pt x="276" y="128"/>
                    </a:lnTo>
                    <a:lnTo>
                      <a:pt x="253" y="139"/>
                    </a:lnTo>
                    <a:lnTo>
                      <a:pt x="248" y="123"/>
                    </a:lnTo>
                    <a:lnTo>
                      <a:pt x="231" y="123"/>
                    </a:lnTo>
                    <a:lnTo>
                      <a:pt x="231" y="139"/>
                    </a:lnTo>
                    <a:lnTo>
                      <a:pt x="215" y="168"/>
                    </a:lnTo>
                    <a:lnTo>
                      <a:pt x="222" y="168"/>
                    </a:lnTo>
                    <a:lnTo>
                      <a:pt x="215" y="180"/>
                    </a:lnTo>
                    <a:lnTo>
                      <a:pt x="201" y="163"/>
                    </a:lnTo>
                    <a:lnTo>
                      <a:pt x="201" y="151"/>
                    </a:lnTo>
                    <a:lnTo>
                      <a:pt x="177" y="147"/>
                    </a:lnTo>
                    <a:lnTo>
                      <a:pt x="177" y="123"/>
                    </a:lnTo>
                    <a:lnTo>
                      <a:pt x="163" y="123"/>
                    </a:lnTo>
                    <a:lnTo>
                      <a:pt x="151" y="151"/>
                    </a:lnTo>
                    <a:lnTo>
                      <a:pt x="130" y="168"/>
                    </a:lnTo>
                    <a:lnTo>
                      <a:pt x="125" y="168"/>
                    </a:lnTo>
                    <a:lnTo>
                      <a:pt x="87" y="180"/>
                    </a:lnTo>
                    <a:lnTo>
                      <a:pt x="76" y="168"/>
                    </a:lnTo>
                    <a:lnTo>
                      <a:pt x="59" y="151"/>
                    </a:lnTo>
                    <a:lnTo>
                      <a:pt x="59" y="128"/>
                    </a:lnTo>
                    <a:lnTo>
                      <a:pt x="54" y="123"/>
                    </a:lnTo>
                    <a:lnTo>
                      <a:pt x="21" y="128"/>
                    </a:lnTo>
                    <a:lnTo>
                      <a:pt x="21" y="147"/>
                    </a:lnTo>
                    <a:lnTo>
                      <a:pt x="5" y="151"/>
                    </a:lnTo>
                    <a:lnTo>
                      <a:pt x="0" y="147"/>
                    </a:lnTo>
                    <a:lnTo>
                      <a:pt x="16" y="139"/>
                    </a:lnTo>
                    <a:lnTo>
                      <a:pt x="16" y="128"/>
                    </a:lnTo>
                    <a:lnTo>
                      <a:pt x="5" y="123"/>
                    </a:lnTo>
                    <a:lnTo>
                      <a:pt x="16" y="111"/>
                    </a:lnTo>
                    <a:lnTo>
                      <a:pt x="33" y="95"/>
                    </a:lnTo>
                    <a:lnTo>
                      <a:pt x="38" y="90"/>
                    </a:lnTo>
                    <a:lnTo>
                      <a:pt x="38" y="90"/>
                    </a:lnTo>
                    <a:lnTo>
                      <a:pt x="38" y="9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108" name="Gruppieren 8107">
              <a:extLst>
                <a:ext uri="{FF2B5EF4-FFF2-40B4-BE49-F238E27FC236}">
                  <a16:creationId xmlns:a16="http://schemas.microsoft.com/office/drawing/2014/main" id="{8E3FCE43-DABB-477B-9005-B55CFA90691B}"/>
                </a:ext>
              </a:extLst>
            </p:cNvPr>
            <p:cNvGrpSpPr/>
            <p:nvPr/>
          </p:nvGrpSpPr>
          <p:grpSpPr bwMode="gray">
            <a:xfrm>
              <a:off x="1255945" y="1015724"/>
              <a:ext cx="10359267" cy="2770849"/>
              <a:chOff x="1557717" y="727692"/>
              <a:chExt cx="10359267" cy="2770849"/>
            </a:xfrm>
            <a:grpFill/>
          </p:grpSpPr>
          <p:sp>
            <p:nvSpPr>
              <p:cNvPr id="8109" name="Freeform 408">
                <a:extLst>
                  <a:ext uri="{FF2B5EF4-FFF2-40B4-BE49-F238E27FC236}">
                    <a16:creationId xmlns:a16="http://schemas.microsoft.com/office/drawing/2014/main" id="{FFD5AAAF-90B9-4C9D-AA97-8BDAD4243CD3}"/>
                  </a:ext>
                </a:extLst>
              </p:cNvPr>
              <p:cNvSpPr>
                <a:spLocks noEditPoints="1"/>
              </p:cNvSpPr>
              <p:nvPr/>
            </p:nvSpPr>
            <p:spPr bwMode="gray">
              <a:xfrm>
                <a:off x="2654407" y="727692"/>
                <a:ext cx="2552766" cy="2024820"/>
              </a:xfrm>
              <a:custGeom>
                <a:avLst/>
                <a:gdLst>
                  <a:gd name="T0" fmla="*/ 3990 w 6201"/>
                  <a:gd name="T1" fmla="*/ 834 h 4918"/>
                  <a:gd name="T2" fmla="*/ 4108 w 6201"/>
                  <a:gd name="T3" fmla="*/ 345 h 4918"/>
                  <a:gd name="T4" fmla="*/ 4805 w 6201"/>
                  <a:gd name="T5" fmla="*/ 74 h 4918"/>
                  <a:gd name="T6" fmla="*/ 4465 w 6201"/>
                  <a:gd name="T7" fmla="*/ 629 h 4918"/>
                  <a:gd name="T8" fmla="*/ 3418 w 6201"/>
                  <a:gd name="T9" fmla="*/ 638 h 4918"/>
                  <a:gd name="T10" fmla="*/ 3721 w 6201"/>
                  <a:gd name="T11" fmla="*/ 711 h 4918"/>
                  <a:gd name="T12" fmla="*/ 3239 w 6201"/>
                  <a:gd name="T13" fmla="*/ 806 h 4918"/>
                  <a:gd name="T14" fmla="*/ 3352 w 6201"/>
                  <a:gd name="T15" fmla="*/ 905 h 4918"/>
                  <a:gd name="T16" fmla="*/ 3504 w 6201"/>
                  <a:gd name="T17" fmla="*/ 978 h 4918"/>
                  <a:gd name="T18" fmla="*/ 3440 w 6201"/>
                  <a:gd name="T19" fmla="*/ 1292 h 4918"/>
                  <a:gd name="T20" fmla="*/ 3078 w 6201"/>
                  <a:gd name="T21" fmla="*/ 1044 h 4918"/>
                  <a:gd name="T22" fmla="*/ 2327 w 6201"/>
                  <a:gd name="T23" fmla="*/ 1292 h 4918"/>
                  <a:gd name="T24" fmla="*/ 2899 w 6201"/>
                  <a:gd name="T25" fmla="*/ 1222 h 4918"/>
                  <a:gd name="T26" fmla="*/ 1276 w 6201"/>
                  <a:gd name="T27" fmla="*/ 1160 h 4918"/>
                  <a:gd name="T28" fmla="*/ 3062 w 6201"/>
                  <a:gd name="T29" fmla="*/ 1366 h 4918"/>
                  <a:gd name="T30" fmla="*/ 2948 w 6201"/>
                  <a:gd name="T31" fmla="*/ 1486 h 4918"/>
                  <a:gd name="T32" fmla="*/ 3910 w 6201"/>
                  <a:gd name="T33" fmla="*/ 1992 h 4918"/>
                  <a:gd name="T34" fmla="*/ 3990 w 6201"/>
                  <a:gd name="T35" fmla="*/ 1526 h 4918"/>
                  <a:gd name="T36" fmla="*/ 4729 w 6201"/>
                  <a:gd name="T37" fmla="*/ 1826 h 4918"/>
                  <a:gd name="T38" fmla="*/ 5138 w 6201"/>
                  <a:gd name="T39" fmla="*/ 2119 h 4918"/>
                  <a:gd name="T40" fmla="*/ 5490 w 6201"/>
                  <a:gd name="T41" fmla="*/ 2374 h 4918"/>
                  <a:gd name="T42" fmla="*/ 5183 w 6201"/>
                  <a:gd name="T43" fmla="*/ 2452 h 4918"/>
                  <a:gd name="T44" fmla="*/ 5145 w 6201"/>
                  <a:gd name="T45" fmla="*/ 2847 h 4918"/>
                  <a:gd name="T46" fmla="*/ 4611 w 6201"/>
                  <a:gd name="T47" fmla="*/ 2613 h 4918"/>
                  <a:gd name="T48" fmla="*/ 4460 w 6201"/>
                  <a:gd name="T49" fmla="*/ 1515 h 4918"/>
                  <a:gd name="T50" fmla="*/ 1928 w 6201"/>
                  <a:gd name="T51" fmla="*/ 2115 h 4918"/>
                  <a:gd name="T52" fmla="*/ 2301 w 6201"/>
                  <a:gd name="T53" fmla="*/ 1737 h 4918"/>
                  <a:gd name="T54" fmla="*/ 4318 w 6201"/>
                  <a:gd name="T55" fmla="*/ 1682 h 4918"/>
                  <a:gd name="T56" fmla="*/ 1226 w 6201"/>
                  <a:gd name="T57" fmla="*/ 4222 h 4918"/>
                  <a:gd name="T58" fmla="*/ 898 w 6201"/>
                  <a:gd name="T59" fmla="*/ 3933 h 4918"/>
                  <a:gd name="T60" fmla="*/ 600 w 6201"/>
                  <a:gd name="T61" fmla="*/ 2025 h 4918"/>
                  <a:gd name="T62" fmla="*/ 1167 w 6201"/>
                  <a:gd name="T63" fmla="*/ 2070 h 4918"/>
                  <a:gd name="T64" fmla="*/ 2500 w 6201"/>
                  <a:gd name="T65" fmla="*/ 2181 h 4918"/>
                  <a:gd name="T66" fmla="*/ 3310 w 6201"/>
                  <a:gd name="T67" fmla="*/ 2103 h 4918"/>
                  <a:gd name="T68" fmla="*/ 3693 w 6201"/>
                  <a:gd name="T69" fmla="*/ 2252 h 4918"/>
                  <a:gd name="T70" fmla="*/ 3801 w 6201"/>
                  <a:gd name="T71" fmla="*/ 2429 h 4918"/>
                  <a:gd name="T72" fmla="*/ 3239 w 6201"/>
                  <a:gd name="T73" fmla="*/ 3263 h 4918"/>
                  <a:gd name="T74" fmla="*/ 4378 w 6201"/>
                  <a:gd name="T75" fmla="*/ 3279 h 4918"/>
                  <a:gd name="T76" fmla="*/ 5124 w 6201"/>
                  <a:gd name="T77" fmla="*/ 3317 h 4918"/>
                  <a:gd name="T78" fmla="*/ 5544 w 6201"/>
                  <a:gd name="T79" fmla="*/ 3506 h 4918"/>
                  <a:gd name="T80" fmla="*/ 5939 w 6201"/>
                  <a:gd name="T81" fmla="*/ 3832 h 4918"/>
                  <a:gd name="T82" fmla="*/ 5544 w 6201"/>
                  <a:gd name="T83" fmla="*/ 4552 h 4918"/>
                  <a:gd name="T84" fmla="*/ 4772 w 6201"/>
                  <a:gd name="T85" fmla="*/ 1781 h 4918"/>
                  <a:gd name="T86" fmla="*/ 3019 w 6201"/>
                  <a:gd name="T87" fmla="*/ 2065 h 4918"/>
                  <a:gd name="T88" fmla="*/ 378 w 6201"/>
                  <a:gd name="T89" fmla="*/ 2119 h 4918"/>
                  <a:gd name="T90" fmla="*/ 3563 w 6201"/>
                  <a:gd name="T91" fmla="*/ 2115 h 4918"/>
                  <a:gd name="T92" fmla="*/ 2861 w 6201"/>
                  <a:gd name="T93" fmla="*/ 2209 h 4918"/>
                  <a:gd name="T94" fmla="*/ 2306 w 6201"/>
                  <a:gd name="T95" fmla="*/ 2308 h 4918"/>
                  <a:gd name="T96" fmla="*/ 4016 w 6201"/>
                  <a:gd name="T97" fmla="*/ 2502 h 4918"/>
                  <a:gd name="T98" fmla="*/ 5523 w 6201"/>
                  <a:gd name="T99" fmla="*/ 2523 h 4918"/>
                  <a:gd name="T100" fmla="*/ 4422 w 6201"/>
                  <a:gd name="T101" fmla="*/ 2724 h 4918"/>
                  <a:gd name="T102" fmla="*/ 4125 w 6201"/>
                  <a:gd name="T103" fmla="*/ 2840 h 4918"/>
                  <a:gd name="T104" fmla="*/ 5365 w 6201"/>
                  <a:gd name="T105" fmla="*/ 3135 h 4918"/>
                  <a:gd name="T106" fmla="*/ 4285 w 6201"/>
                  <a:gd name="T107" fmla="*/ 3499 h 4918"/>
                  <a:gd name="T108" fmla="*/ 763 w 6201"/>
                  <a:gd name="T109" fmla="*/ 3683 h 4918"/>
                  <a:gd name="T110" fmla="*/ 832 w 6201"/>
                  <a:gd name="T111" fmla="*/ 3848 h 4918"/>
                  <a:gd name="T112" fmla="*/ 811 w 6201"/>
                  <a:gd name="T113" fmla="*/ 3860 h 4918"/>
                  <a:gd name="T114" fmla="*/ 903 w 6201"/>
                  <a:gd name="T115" fmla="*/ 3966 h 4918"/>
                  <a:gd name="T116" fmla="*/ 5970 w 6201"/>
                  <a:gd name="T117" fmla="*/ 4387 h 4918"/>
                  <a:gd name="T118" fmla="*/ 6116 w 6201"/>
                  <a:gd name="T119" fmla="*/ 4316 h 4918"/>
                  <a:gd name="T120" fmla="*/ 1016 w 6201"/>
                  <a:gd name="T121" fmla="*/ 4111 h 4918"/>
                  <a:gd name="T122" fmla="*/ 6041 w 6201"/>
                  <a:gd name="T123" fmla="*/ 4210 h 4918"/>
                  <a:gd name="T124" fmla="*/ 5377 w 6201"/>
                  <a:gd name="T125" fmla="*/ 4481 h 4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01" h="4918">
                    <a:moveTo>
                      <a:pt x="4389" y="1099"/>
                    </a:moveTo>
                    <a:lnTo>
                      <a:pt x="4368" y="1082"/>
                    </a:lnTo>
                    <a:lnTo>
                      <a:pt x="4323" y="1122"/>
                    </a:lnTo>
                    <a:lnTo>
                      <a:pt x="4205" y="1144"/>
                    </a:lnTo>
                    <a:lnTo>
                      <a:pt x="4205" y="1139"/>
                    </a:lnTo>
                    <a:lnTo>
                      <a:pt x="4226" y="1106"/>
                    </a:lnTo>
                    <a:lnTo>
                      <a:pt x="4189" y="1087"/>
                    </a:lnTo>
                    <a:lnTo>
                      <a:pt x="4172" y="1099"/>
                    </a:lnTo>
                    <a:lnTo>
                      <a:pt x="4134" y="1087"/>
                    </a:lnTo>
                    <a:lnTo>
                      <a:pt x="4141" y="1082"/>
                    </a:lnTo>
                    <a:lnTo>
                      <a:pt x="4134" y="1070"/>
                    </a:lnTo>
                    <a:lnTo>
                      <a:pt x="4158" y="1066"/>
                    </a:lnTo>
                    <a:lnTo>
                      <a:pt x="4120" y="1070"/>
                    </a:lnTo>
                    <a:lnTo>
                      <a:pt x="4087" y="1044"/>
                    </a:lnTo>
                    <a:lnTo>
                      <a:pt x="4104" y="1070"/>
                    </a:lnTo>
                    <a:lnTo>
                      <a:pt x="4134" y="1082"/>
                    </a:lnTo>
                    <a:lnTo>
                      <a:pt x="4120" y="1087"/>
                    </a:lnTo>
                    <a:lnTo>
                      <a:pt x="4125" y="1099"/>
                    </a:lnTo>
                    <a:lnTo>
                      <a:pt x="4066" y="1106"/>
                    </a:lnTo>
                    <a:lnTo>
                      <a:pt x="4044" y="1049"/>
                    </a:lnTo>
                    <a:lnTo>
                      <a:pt x="4033" y="1066"/>
                    </a:lnTo>
                    <a:lnTo>
                      <a:pt x="4049" y="1082"/>
                    </a:lnTo>
                    <a:lnTo>
                      <a:pt x="4054" y="1106"/>
                    </a:lnTo>
                    <a:lnTo>
                      <a:pt x="4016" y="1106"/>
                    </a:lnTo>
                    <a:lnTo>
                      <a:pt x="3978" y="1066"/>
                    </a:lnTo>
                    <a:lnTo>
                      <a:pt x="3990" y="1070"/>
                    </a:lnTo>
                    <a:lnTo>
                      <a:pt x="3978" y="1087"/>
                    </a:lnTo>
                    <a:lnTo>
                      <a:pt x="3990" y="1099"/>
                    </a:lnTo>
                    <a:lnTo>
                      <a:pt x="3957" y="1106"/>
                    </a:lnTo>
                    <a:lnTo>
                      <a:pt x="3924" y="1082"/>
                    </a:lnTo>
                    <a:lnTo>
                      <a:pt x="3936" y="1106"/>
                    </a:lnTo>
                    <a:lnTo>
                      <a:pt x="3974" y="1122"/>
                    </a:lnTo>
                    <a:lnTo>
                      <a:pt x="3936" y="1122"/>
                    </a:lnTo>
                    <a:lnTo>
                      <a:pt x="3834" y="1111"/>
                    </a:lnTo>
                    <a:lnTo>
                      <a:pt x="3827" y="1099"/>
                    </a:lnTo>
                    <a:lnTo>
                      <a:pt x="3839" y="1087"/>
                    </a:lnTo>
                    <a:lnTo>
                      <a:pt x="3818" y="1070"/>
                    </a:lnTo>
                    <a:lnTo>
                      <a:pt x="3834" y="1087"/>
                    </a:lnTo>
                    <a:lnTo>
                      <a:pt x="3811" y="1099"/>
                    </a:lnTo>
                    <a:lnTo>
                      <a:pt x="3811" y="1111"/>
                    </a:lnTo>
                    <a:lnTo>
                      <a:pt x="3759" y="1099"/>
                    </a:lnTo>
                    <a:lnTo>
                      <a:pt x="3747" y="1070"/>
                    </a:lnTo>
                    <a:lnTo>
                      <a:pt x="3747" y="1099"/>
                    </a:lnTo>
                    <a:lnTo>
                      <a:pt x="3759" y="1111"/>
                    </a:lnTo>
                    <a:lnTo>
                      <a:pt x="3688" y="1106"/>
                    </a:lnTo>
                    <a:lnTo>
                      <a:pt x="3693" y="1087"/>
                    </a:lnTo>
                    <a:lnTo>
                      <a:pt x="3676" y="1070"/>
                    </a:lnTo>
                    <a:lnTo>
                      <a:pt x="3688" y="1044"/>
                    </a:lnTo>
                    <a:lnTo>
                      <a:pt x="3671" y="1054"/>
                    </a:lnTo>
                    <a:lnTo>
                      <a:pt x="3676" y="1082"/>
                    </a:lnTo>
                    <a:lnTo>
                      <a:pt x="3671" y="1106"/>
                    </a:lnTo>
                    <a:lnTo>
                      <a:pt x="3671" y="1082"/>
                    </a:lnTo>
                    <a:lnTo>
                      <a:pt x="3655" y="1106"/>
                    </a:lnTo>
                    <a:lnTo>
                      <a:pt x="3600" y="1082"/>
                    </a:lnTo>
                    <a:lnTo>
                      <a:pt x="3617" y="1066"/>
                    </a:lnTo>
                    <a:lnTo>
                      <a:pt x="3612" y="1044"/>
                    </a:lnTo>
                    <a:lnTo>
                      <a:pt x="3688" y="1000"/>
                    </a:lnTo>
                    <a:lnTo>
                      <a:pt x="3676" y="1000"/>
                    </a:lnTo>
                    <a:lnTo>
                      <a:pt x="3801" y="988"/>
                    </a:lnTo>
                    <a:lnTo>
                      <a:pt x="3773" y="988"/>
                    </a:lnTo>
                    <a:lnTo>
                      <a:pt x="3796" y="978"/>
                    </a:lnTo>
                    <a:lnTo>
                      <a:pt x="3773" y="971"/>
                    </a:lnTo>
                    <a:lnTo>
                      <a:pt x="3796" y="962"/>
                    </a:lnTo>
                    <a:lnTo>
                      <a:pt x="3742" y="962"/>
                    </a:lnTo>
                    <a:lnTo>
                      <a:pt x="3730" y="955"/>
                    </a:lnTo>
                    <a:lnTo>
                      <a:pt x="3742" y="943"/>
                    </a:lnTo>
                    <a:lnTo>
                      <a:pt x="3742" y="933"/>
                    </a:lnTo>
                    <a:lnTo>
                      <a:pt x="3704" y="917"/>
                    </a:lnTo>
                    <a:lnTo>
                      <a:pt x="3709" y="889"/>
                    </a:lnTo>
                    <a:lnTo>
                      <a:pt x="3773" y="884"/>
                    </a:lnTo>
                    <a:lnTo>
                      <a:pt x="3827" y="889"/>
                    </a:lnTo>
                    <a:lnTo>
                      <a:pt x="3855" y="905"/>
                    </a:lnTo>
                    <a:lnTo>
                      <a:pt x="3881" y="943"/>
                    </a:lnTo>
                    <a:lnTo>
                      <a:pt x="3872" y="955"/>
                    </a:lnTo>
                    <a:lnTo>
                      <a:pt x="3886" y="943"/>
                    </a:lnTo>
                    <a:lnTo>
                      <a:pt x="3962" y="971"/>
                    </a:lnTo>
                    <a:lnTo>
                      <a:pt x="3957" y="955"/>
                    </a:lnTo>
                    <a:lnTo>
                      <a:pt x="4033" y="962"/>
                    </a:lnTo>
                    <a:lnTo>
                      <a:pt x="4011" y="943"/>
                    </a:lnTo>
                    <a:lnTo>
                      <a:pt x="4049" y="933"/>
                    </a:lnTo>
                    <a:lnTo>
                      <a:pt x="4104" y="877"/>
                    </a:lnTo>
                    <a:lnTo>
                      <a:pt x="4096" y="860"/>
                    </a:lnTo>
                    <a:lnTo>
                      <a:pt x="4120" y="851"/>
                    </a:lnTo>
                    <a:lnTo>
                      <a:pt x="4082" y="860"/>
                    </a:lnTo>
                    <a:lnTo>
                      <a:pt x="4087" y="877"/>
                    </a:lnTo>
                    <a:lnTo>
                      <a:pt x="4044" y="922"/>
                    </a:lnTo>
                    <a:lnTo>
                      <a:pt x="4000" y="938"/>
                    </a:lnTo>
                    <a:lnTo>
                      <a:pt x="3941" y="938"/>
                    </a:lnTo>
                    <a:lnTo>
                      <a:pt x="3936" y="933"/>
                    </a:lnTo>
                    <a:lnTo>
                      <a:pt x="3962" y="905"/>
                    </a:lnTo>
                    <a:lnTo>
                      <a:pt x="3936" y="922"/>
                    </a:lnTo>
                    <a:lnTo>
                      <a:pt x="3903" y="905"/>
                    </a:lnTo>
                    <a:lnTo>
                      <a:pt x="3924" y="889"/>
                    </a:lnTo>
                    <a:lnTo>
                      <a:pt x="3903" y="889"/>
                    </a:lnTo>
                    <a:lnTo>
                      <a:pt x="3974" y="884"/>
                    </a:lnTo>
                    <a:lnTo>
                      <a:pt x="3893" y="884"/>
                    </a:lnTo>
                    <a:lnTo>
                      <a:pt x="3881" y="877"/>
                    </a:lnTo>
                    <a:lnTo>
                      <a:pt x="3924" y="851"/>
                    </a:lnTo>
                    <a:lnTo>
                      <a:pt x="3978" y="851"/>
                    </a:lnTo>
                    <a:lnTo>
                      <a:pt x="3919" y="851"/>
                    </a:lnTo>
                    <a:lnTo>
                      <a:pt x="3924" y="834"/>
                    </a:lnTo>
                    <a:lnTo>
                      <a:pt x="3990" y="834"/>
                    </a:lnTo>
                    <a:lnTo>
                      <a:pt x="3936" y="827"/>
                    </a:lnTo>
                    <a:lnTo>
                      <a:pt x="3941" y="811"/>
                    </a:lnTo>
                    <a:lnTo>
                      <a:pt x="3957" y="811"/>
                    </a:lnTo>
                    <a:lnTo>
                      <a:pt x="3936" y="806"/>
                    </a:lnTo>
                    <a:lnTo>
                      <a:pt x="3957" y="773"/>
                    </a:lnTo>
                    <a:lnTo>
                      <a:pt x="3924" y="794"/>
                    </a:lnTo>
                    <a:lnTo>
                      <a:pt x="3936" y="811"/>
                    </a:lnTo>
                    <a:lnTo>
                      <a:pt x="3893" y="844"/>
                    </a:lnTo>
                    <a:lnTo>
                      <a:pt x="3839" y="851"/>
                    </a:lnTo>
                    <a:lnTo>
                      <a:pt x="3839" y="834"/>
                    </a:lnTo>
                    <a:lnTo>
                      <a:pt x="3865" y="827"/>
                    </a:lnTo>
                    <a:lnTo>
                      <a:pt x="3872" y="806"/>
                    </a:lnTo>
                    <a:lnTo>
                      <a:pt x="3848" y="827"/>
                    </a:lnTo>
                    <a:lnTo>
                      <a:pt x="3801" y="844"/>
                    </a:lnTo>
                    <a:lnTo>
                      <a:pt x="3747" y="844"/>
                    </a:lnTo>
                    <a:lnTo>
                      <a:pt x="3780" y="827"/>
                    </a:lnTo>
                    <a:lnTo>
                      <a:pt x="3747" y="827"/>
                    </a:lnTo>
                    <a:lnTo>
                      <a:pt x="3747" y="794"/>
                    </a:lnTo>
                    <a:lnTo>
                      <a:pt x="3780" y="778"/>
                    </a:lnTo>
                    <a:lnTo>
                      <a:pt x="3796" y="778"/>
                    </a:lnTo>
                    <a:lnTo>
                      <a:pt x="3780" y="773"/>
                    </a:lnTo>
                    <a:lnTo>
                      <a:pt x="3796" y="749"/>
                    </a:lnTo>
                    <a:lnTo>
                      <a:pt x="3924" y="716"/>
                    </a:lnTo>
                    <a:lnTo>
                      <a:pt x="4016" y="733"/>
                    </a:lnTo>
                    <a:lnTo>
                      <a:pt x="4108" y="773"/>
                    </a:lnTo>
                    <a:lnTo>
                      <a:pt x="4120" y="773"/>
                    </a:lnTo>
                    <a:lnTo>
                      <a:pt x="4096" y="756"/>
                    </a:lnTo>
                    <a:lnTo>
                      <a:pt x="4125" y="749"/>
                    </a:lnTo>
                    <a:lnTo>
                      <a:pt x="4082" y="749"/>
                    </a:lnTo>
                    <a:lnTo>
                      <a:pt x="4049" y="733"/>
                    </a:lnTo>
                    <a:lnTo>
                      <a:pt x="4158" y="733"/>
                    </a:lnTo>
                    <a:lnTo>
                      <a:pt x="4158" y="711"/>
                    </a:lnTo>
                    <a:lnTo>
                      <a:pt x="4172" y="700"/>
                    </a:lnTo>
                    <a:lnTo>
                      <a:pt x="4104" y="723"/>
                    </a:lnTo>
                    <a:lnTo>
                      <a:pt x="3945" y="700"/>
                    </a:lnTo>
                    <a:lnTo>
                      <a:pt x="3941" y="695"/>
                    </a:lnTo>
                    <a:lnTo>
                      <a:pt x="3962" y="683"/>
                    </a:lnTo>
                    <a:lnTo>
                      <a:pt x="4000" y="700"/>
                    </a:lnTo>
                    <a:lnTo>
                      <a:pt x="4044" y="700"/>
                    </a:lnTo>
                    <a:lnTo>
                      <a:pt x="3995" y="678"/>
                    </a:lnTo>
                    <a:lnTo>
                      <a:pt x="4000" y="667"/>
                    </a:lnTo>
                    <a:lnTo>
                      <a:pt x="3974" y="678"/>
                    </a:lnTo>
                    <a:lnTo>
                      <a:pt x="3962" y="638"/>
                    </a:lnTo>
                    <a:lnTo>
                      <a:pt x="3936" y="629"/>
                    </a:lnTo>
                    <a:lnTo>
                      <a:pt x="3924" y="605"/>
                    </a:lnTo>
                    <a:lnTo>
                      <a:pt x="3827" y="584"/>
                    </a:lnTo>
                    <a:lnTo>
                      <a:pt x="3827" y="556"/>
                    </a:lnTo>
                    <a:lnTo>
                      <a:pt x="3834" y="551"/>
                    </a:lnTo>
                    <a:lnTo>
                      <a:pt x="3910" y="556"/>
                    </a:lnTo>
                    <a:lnTo>
                      <a:pt x="3827" y="544"/>
                    </a:lnTo>
                    <a:lnTo>
                      <a:pt x="3811" y="527"/>
                    </a:lnTo>
                    <a:lnTo>
                      <a:pt x="3818" y="494"/>
                    </a:lnTo>
                    <a:lnTo>
                      <a:pt x="4011" y="501"/>
                    </a:lnTo>
                    <a:lnTo>
                      <a:pt x="4125" y="567"/>
                    </a:lnTo>
                    <a:lnTo>
                      <a:pt x="4141" y="589"/>
                    </a:lnTo>
                    <a:lnTo>
                      <a:pt x="4163" y="605"/>
                    </a:lnTo>
                    <a:lnTo>
                      <a:pt x="4151" y="605"/>
                    </a:lnTo>
                    <a:lnTo>
                      <a:pt x="4158" y="612"/>
                    </a:lnTo>
                    <a:lnTo>
                      <a:pt x="4179" y="605"/>
                    </a:lnTo>
                    <a:lnTo>
                      <a:pt x="4233" y="612"/>
                    </a:lnTo>
                    <a:lnTo>
                      <a:pt x="4285" y="600"/>
                    </a:lnTo>
                    <a:lnTo>
                      <a:pt x="4297" y="589"/>
                    </a:lnTo>
                    <a:lnTo>
                      <a:pt x="4217" y="600"/>
                    </a:lnTo>
                    <a:lnTo>
                      <a:pt x="4172" y="589"/>
                    </a:lnTo>
                    <a:lnTo>
                      <a:pt x="4163" y="556"/>
                    </a:lnTo>
                    <a:lnTo>
                      <a:pt x="4179" y="551"/>
                    </a:lnTo>
                    <a:lnTo>
                      <a:pt x="4125" y="544"/>
                    </a:lnTo>
                    <a:lnTo>
                      <a:pt x="4054" y="494"/>
                    </a:lnTo>
                    <a:lnTo>
                      <a:pt x="4264" y="456"/>
                    </a:lnTo>
                    <a:lnTo>
                      <a:pt x="4422" y="444"/>
                    </a:lnTo>
                    <a:lnTo>
                      <a:pt x="4281" y="440"/>
                    </a:lnTo>
                    <a:lnTo>
                      <a:pt x="4378" y="416"/>
                    </a:lnTo>
                    <a:lnTo>
                      <a:pt x="4529" y="400"/>
                    </a:lnTo>
                    <a:lnTo>
                      <a:pt x="4352" y="400"/>
                    </a:lnTo>
                    <a:lnTo>
                      <a:pt x="4352" y="378"/>
                    </a:lnTo>
                    <a:lnTo>
                      <a:pt x="4389" y="350"/>
                    </a:lnTo>
                    <a:lnTo>
                      <a:pt x="4503" y="307"/>
                    </a:lnTo>
                    <a:lnTo>
                      <a:pt x="4406" y="329"/>
                    </a:lnTo>
                    <a:lnTo>
                      <a:pt x="4356" y="362"/>
                    </a:lnTo>
                    <a:lnTo>
                      <a:pt x="4314" y="345"/>
                    </a:lnTo>
                    <a:lnTo>
                      <a:pt x="4340" y="362"/>
                    </a:lnTo>
                    <a:lnTo>
                      <a:pt x="4323" y="378"/>
                    </a:lnTo>
                    <a:lnTo>
                      <a:pt x="4335" y="383"/>
                    </a:lnTo>
                    <a:lnTo>
                      <a:pt x="4302" y="407"/>
                    </a:lnTo>
                    <a:lnTo>
                      <a:pt x="4210" y="435"/>
                    </a:lnTo>
                    <a:lnTo>
                      <a:pt x="4066" y="456"/>
                    </a:lnTo>
                    <a:lnTo>
                      <a:pt x="4054" y="444"/>
                    </a:lnTo>
                    <a:lnTo>
                      <a:pt x="4158" y="407"/>
                    </a:lnTo>
                    <a:lnTo>
                      <a:pt x="4044" y="435"/>
                    </a:lnTo>
                    <a:lnTo>
                      <a:pt x="4028" y="423"/>
                    </a:lnTo>
                    <a:lnTo>
                      <a:pt x="4054" y="407"/>
                    </a:lnTo>
                    <a:lnTo>
                      <a:pt x="4049" y="407"/>
                    </a:lnTo>
                    <a:lnTo>
                      <a:pt x="4011" y="416"/>
                    </a:lnTo>
                    <a:lnTo>
                      <a:pt x="4016" y="440"/>
                    </a:lnTo>
                    <a:lnTo>
                      <a:pt x="4011" y="456"/>
                    </a:lnTo>
                    <a:lnTo>
                      <a:pt x="3924" y="461"/>
                    </a:lnTo>
                    <a:lnTo>
                      <a:pt x="3865" y="456"/>
                    </a:lnTo>
                    <a:lnTo>
                      <a:pt x="3886" y="440"/>
                    </a:lnTo>
                    <a:lnTo>
                      <a:pt x="3848" y="456"/>
                    </a:lnTo>
                    <a:lnTo>
                      <a:pt x="3801" y="444"/>
                    </a:lnTo>
                    <a:lnTo>
                      <a:pt x="3886" y="383"/>
                    </a:lnTo>
                    <a:lnTo>
                      <a:pt x="4108" y="345"/>
                    </a:lnTo>
                    <a:lnTo>
                      <a:pt x="3881" y="367"/>
                    </a:lnTo>
                    <a:lnTo>
                      <a:pt x="3834" y="390"/>
                    </a:lnTo>
                    <a:lnTo>
                      <a:pt x="3773" y="440"/>
                    </a:lnTo>
                    <a:lnTo>
                      <a:pt x="3747" y="440"/>
                    </a:lnTo>
                    <a:lnTo>
                      <a:pt x="3617" y="390"/>
                    </a:lnTo>
                    <a:lnTo>
                      <a:pt x="3811" y="378"/>
                    </a:lnTo>
                    <a:lnTo>
                      <a:pt x="3945" y="329"/>
                    </a:lnTo>
                    <a:lnTo>
                      <a:pt x="3763" y="362"/>
                    </a:lnTo>
                    <a:lnTo>
                      <a:pt x="3584" y="378"/>
                    </a:lnTo>
                    <a:lnTo>
                      <a:pt x="3558" y="350"/>
                    </a:lnTo>
                    <a:lnTo>
                      <a:pt x="3579" y="333"/>
                    </a:lnTo>
                    <a:lnTo>
                      <a:pt x="3650" y="333"/>
                    </a:lnTo>
                    <a:lnTo>
                      <a:pt x="3579" y="324"/>
                    </a:lnTo>
                    <a:lnTo>
                      <a:pt x="3655" y="291"/>
                    </a:lnTo>
                    <a:lnTo>
                      <a:pt x="3773" y="296"/>
                    </a:lnTo>
                    <a:lnTo>
                      <a:pt x="3693" y="279"/>
                    </a:lnTo>
                    <a:lnTo>
                      <a:pt x="3546" y="312"/>
                    </a:lnTo>
                    <a:lnTo>
                      <a:pt x="3515" y="307"/>
                    </a:lnTo>
                    <a:lnTo>
                      <a:pt x="3612" y="272"/>
                    </a:lnTo>
                    <a:lnTo>
                      <a:pt x="3558" y="256"/>
                    </a:lnTo>
                    <a:lnTo>
                      <a:pt x="3478" y="291"/>
                    </a:lnTo>
                    <a:lnTo>
                      <a:pt x="3478" y="279"/>
                    </a:lnTo>
                    <a:lnTo>
                      <a:pt x="3440" y="267"/>
                    </a:lnTo>
                    <a:lnTo>
                      <a:pt x="3546" y="222"/>
                    </a:lnTo>
                    <a:lnTo>
                      <a:pt x="3600" y="218"/>
                    </a:lnTo>
                    <a:lnTo>
                      <a:pt x="3622" y="239"/>
                    </a:lnTo>
                    <a:lnTo>
                      <a:pt x="3633" y="222"/>
                    </a:lnTo>
                    <a:lnTo>
                      <a:pt x="3617" y="218"/>
                    </a:lnTo>
                    <a:lnTo>
                      <a:pt x="3650" y="218"/>
                    </a:lnTo>
                    <a:lnTo>
                      <a:pt x="3638" y="213"/>
                    </a:lnTo>
                    <a:lnTo>
                      <a:pt x="3709" y="185"/>
                    </a:lnTo>
                    <a:lnTo>
                      <a:pt x="3763" y="196"/>
                    </a:lnTo>
                    <a:lnTo>
                      <a:pt x="3773" y="201"/>
                    </a:lnTo>
                    <a:lnTo>
                      <a:pt x="3763" y="213"/>
                    </a:lnTo>
                    <a:lnTo>
                      <a:pt x="3801" y="222"/>
                    </a:lnTo>
                    <a:lnTo>
                      <a:pt x="3780" y="213"/>
                    </a:lnTo>
                    <a:lnTo>
                      <a:pt x="3796" y="196"/>
                    </a:lnTo>
                    <a:lnTo>
                      <a:pt x="3834" y="196"/>
                    </a:lnTo>
                    <a:lnTo>
                      <a:pt x="3893" y="234"/>
                    </a:lnTo>
                    <a:lnTo>
                      <a:pt x="3881" y="213"/>
                    </a:lnTo>
                    <a:lnTo>
                      <a:pt x="3919" y="213"/>
                    </a:lnTo>
                    <a:lnTo>
                      <a:pt x="3941" y="222"/>
                    </a:lnTo>
                    <a:lnTo>
                      <a:pt x="3924" y="213"/>
                    </a:lnTo>
                    <a:lnTo>
                      <a:pt x="3936" y="213"/>
                    </a:lnTo>
                    <a:lnTo>
                      <a:pt x="3957" y="222"/>
                    </a:lnTo>
                    <a:lnTo>
                      <a:pt x="3936" y="201"/>
                    </a:lnTo>
                    <a:lnTo>
                      <a:pt x="3811" y="185"/>
                    </a:lnTo>
                    <a:lnTo>
                      <a:pt x="3796" y="168"/>
                    </a:lnTo>
                    <a:lnTo>
                      <a:pt x="3903" y="156"/>
                    </a:lnTo>
                    <a:lnTo>
                      <a:pt x="3893" y="140"/>
                    </a:lnTo>
                    <a:lnTo>
                      <a:pt x="3865" y="128"/>
                    </a:lnTo>
                    <a:lnTo>
                      <a:pt x="3924" y="123"/>
                    </a:lnTo>
                    <a:lnTo>
                      <a:pt x="4033" y="144"/>
                    </a:lnTo>
                    <a:lnTo>
                      <a:pt x="4070" y="185"/>
                    </a:lnTo>
                    <a:lnTo>
                      <a:pt x="4054" y="196"/>
                    </a:lnTo>
                    <a:lnTo>
                      <a:pt x="4151" y="201"/>
                    </a:lnTo>
                    <a:lnTo>
                      <a:pt x="4096" y="185"/>
                    </a:lnTo>
                    <a:lnTo>
                      <a:pt x="4066" y="163"/>
                    </a:lnTo>
                    <a:lnTo>
                      <a:pt x="4096" y="156"/>
                    </a:lnTo>
                    <a:lnTo>
                      <a:pt x="4335" y="234"/>
                    </a:lnTo>
                    <a:lnTo>
                      <a:pt x="4285" y="201"/>
                    </a:lnTo>
                    <a:lnTo>
                      <a:pt x="4226" y="196"/>
                    </a:lnTo>
                    <a:lnTo>
                      <a:pt x="4210" y="185"/>
                    </a:lnTo>
                    <a:lnTo>
                      <a:pt x="4217" y="180"/>
                    </a:lnTo>
                    <a:lnTo>
                      <a:pt x="4151" y="163"/>
                    </a:lnTo>
                    <a:lnTo>
                      <a:pt x="4087" y="140"/>
                    </a:lnTo>
                    <a:lnTo>
                      <a:pt x="4104" y="111"/>
                    </a:lnTo>
                    <a:lnTo>
                      <a:pt x="4172" y="111"/>
                    </a:lnTo>
                    <a:lnTo>
                      <a:pt x="4108" y="95"/>
                    </a:lnTo>
                    <a:lnTo>
                      <a:pt x="4125" y="90"/>
                    </a:lnTo>
                    <a:lnTo>
                      <a:pt x="4233" y="107"/>
                    </a:lnTo>
                    <a:lnTo>
                      <a:pt x="4163" y="69"/>
                    </a:lnTo>
                    <a:lnTo>
                      <a:pt x="4172" y="57"/>
                    </a:lnTo>
                    <a:lnTo>
                      <a:pt x="4248" y="69"/>
                    </a:lnTo>
                    <a:lnTo>
                      <a:pt x="4285" y="90"/>
                    </a:lnTo>
                    <a:lnTo>
                      <a:pt x="4297" y="90"/>
                    </a:lnTo>
                    <a:lnTo>
                      <a:pt x="4281" y="85"/>
                    </a:lnTo>
                    <a:lnTo>
                      <a:pt x="4378" y="85"/>
                    </a:lnTo>
                    <a:lnTo>
                      <a:pt x="4285" y="74"/>
                    </a:lnTo>
                    <a:lnTo>
                      <a:pt x="4281" y="69"/>
                    </a:lnTo>
                    <a:lnTo>
                      <a:pt x="4302" y="57"/>
                    </a:lnTo>
                    <a:lnTo>
                      <a:pt x="4248" y="52"/>
                    </a:lnTo>
                    <a:lnTo>
                      <a:pt x="4285" y="36"/>
                    </a:lnTo>
                    <a:lnTo>
                      <a:pt x="4318" y="36"/>
                    </a:lnTo>
                    <a:lnTo>
                      <a:pt x="4340" y="52"/>
                    </a:lnTo>
                    <a:lnTo>
                      <a:pt x="4373" y="36"/>
                    </a:lnTo>
                    <a:lnTo>
                      <a:pt x="4378" y="41"/>
                    </a:lnTo>
                    <a:lnTo>
                      <a:pt x="4378" y="57"/>
                    </a:lnTo>
                    <a:lnTo>
                      <a:pt x="4411" y="57"/>
                    </a:lnTo>
                    <a:lnTo>
                      <a:pt x="4406" y="52"/>
                    </a:lnTo>
                    <a:lnTo>
                      <a:pt x="4432" y="41"/>
                    </a:lnTo>
                    <a:lnTo>
                      <a:pt x="4567" y="95"/>
                    </a:lnTo>
                    <a:lnTo>
                      <a:pt x="4541" y="128"/>
                    </a:lnTo>
                    <a:lnTo>
                      <a:pt x="4604" y="95"/>
                    </a:lnTo>
                    <a:lnTo>
                      <a:pt x="4536" y="74"/>
                    </a:lnTo>
                    <a:lnTo>
                      <a:pt x="4557" y="69"/>
                    </a:lnTo>
                    <a:lnTo>
                      <a:pt x="4460" y="29"/>
                    </a:lnTo>
                    <a:lnTo>
                      <a:pt x="4474" y="17"/>
                    </a:lnTo>
                    <a:lnTo>
                      <a:pt x="4663" y="17"/>
                    </a:lnTo>
                    <a:lnTo>
                      <a:pt x="4713" y="52"/>
                    </a:lnTo>
                    <a:lnTo>
                      <a:pt x="4798" y="85"/>
                    </a:lnTo>
                    <a:lnTo>
                      <a:pt x="4805" y="74"/>
                    </a:lnTo>
                    <a:lnTo>
                      <a:pt x="4718" y="41"/>
                    </a:lnTo>
                    <a:lnTo>
                      <a:pt x="4798" y="12"/>
                    </a:lnTo>
                    <a:lnTo>
                      <a:pt x="4859" y="12"/>
                    </a:lnTo>
                    <a:lnTo>
                      <a:pt x="4864" y="12"/>
                    </a:lnTo>
                    <a:lnTo>
                      <a:pt x="4852" y="29"/>
                    </a:lnTo>
                    <a:lnTo>
                      <a:pt x="4918" y="52"/>
                    </a:lnTo>
                    <a:lnTo>
                      <a:pt x="4874" y="29"/>
                    </a:lnTo>
                    <a:lnTo>
                      <a:pt x="4961" y="0"/>
                    </a:lnTo>
                    <a:lnTo>
                      <a:pt x="5020" y="17"/>
                    </a:lnTo>
                    <a:lnTo>
                      <a:pt x="5015" y="29"/>
                    </a:lnTo>
                    <a:lnTo>
                      <a:pt x="5053" y="17"/>
                    </a:lnTo>
                    <a:lnTo>
                      <a:pt x="5107" y="29"/>
                    </a:lnTo>
                    <a:lnTo>
                      <a:pt x="5107" y="41"/>
                    </a:lnTo>
                    <a:lnTo>
                      <a:pt x="5237" y="41"/>
                    </a:lnTo>
                    <a:lnTo>
                      <a:pt x="5074" y="95"/>
                    </a:lnTo>
                    <a:lnTo>
                      <a:pt x="5162" y="90"/>
                    </a:lnTo>
                    <a:lnTo>
                      <a:pt x="5275" y="57"/>
                    </a:lnTo>
                    <a:lnTo>
                      <a:pt x="5322" y="69"/>
                    </a:lnTo>
                    <a:lnTo>
                      <a:pt x="5306" y="69"/>
                    </a:lnTo>
                    <a:lnTo>
                      <a:pt x="5322" y="57"/>
                    </a:lnTo>
                    <a:lnTo>
                      <a:pt x="5306" y="52"/>
                    </a:lnTo>
                    <a:lnTo>
                      <a:pt x="5355" y="41"/>
                    </a:lnTo>
                    <a:lnTo>
                      <a:pt x="5339" y="52"/>
                    </a:lnTo>
                    <a:lnTo>
                      <a:pt x="5365" y="69"/>
                    </a:lnTo>
                    <a:lnTo>
                      <a:pt x="5436" y="57"/>
                    </a:lnTo>
                    <a:lnTo>
                      <a:pt x="5448" y="69"/>
                    </a:lnTo>
                    <a:lnTo>
                      <a:pt x="5415" y="85"/>
                    </a:lnTo>
                    <a:lnTo>
                      <a:pt x="5474" y="107"/>
                    </a:lnTo>
                    <a:lnTo>
                      <a:pt x="5462" y="123"/>
                    </a:lnTo>
                    <a:lnTo>
                      <a:pt x="5448" y="128"/>
                    </a:lnTo>
                    <a:lnTo>
                      <a:pt x="5528" y="111"/>
                    </a:lnTo>
                    <a:lnTo>
                      <a:pt x="5516" y="123"/>
                    </a:lnTo>
                    <a:lnTo>
                      <a:pt x="5575" y="123"/>
                    </a:lnTo>
                    <a:lnTo>
                      <a:pt x="5608" y="144"/>
                    </a:lnTo>
                    <a:lnTo>
                      <a:pt x="5599" y="163"/>
                    </a:lnTo>
                    <a:lnTo>
                      <a:pt x="5523" y="201"/>
                    </a:lnTo>
                    <a:lnTo>
                      <a:pt x="5415" y="239"/>
                    </a:lnTo>
                    <a:lnTo>
                      <a:pt x="5377" y="234"/>
                    </a:lnTo>
                    <a:lnTo>
                      <a:pt x="5393" y="251"/>
                    </a:lnTo>
                    <a:lnTo>
                      <a:pt x="5377" y="251"/>
                    </a:lnTo>
                    <a:lnTo>
                      <a:pt x="5313" y="251"/>
                    </a:lnTo>
                    <a:lnTo>
                      <a:pt x="5259" y="256"/>
                    </a:lnTo>
                    <a:lnTo>
                      <a:pt x="5306" y="256"/>
                    </a:lnTo>
                    <a:lnTo>
                      <a:pt x="5275" y="272"/>
                    </a:lnTo>
                    <a:lnTo>
                      <a:pt x="5107" y="279"/>
                    </a:lnTo>
                    <a:lnTo>
                      <a:pt x="5025" y="256"/>
                    </a:lnTo>
                    <a:lnTo>
                      <a:pt x="5096" y="279"/>
                    </a:lnTo>
                    <a:lnTo>
                      <a:pt x="5058" y="279"/>
                    </a:lnTo>
                    <a:lnTo>
                      <a:pt x="5079" y="291"/>
                    </a:lnTo>
                    <a:lnTo>
                      <a:pt x="5214" y="291"/>
                    </a:lnTo>
                    <a:lnTo>
                      <a:pt x="4966" y="345"/>
                    </a:lnTo>
                    <a:lnTo>
                      <a:pt x="5004" y="345"/>
                    </a:lnTo>
                    <a:lnTo>
                      <a:pt x="4973" y="362"/>
                    </a:lnTo>
                    <a:lnTo>
                      <a:pt x="4982" y="362"/>
                    </a:lnTo>
                    <a:lnTo>
                      <a:pt x="5285" y="291"/>
                    </a:lnTo>
                    <a:lnTo>
                      <a:pt x="5360" y="279"/>
                    </a:lnTo>
                    <a:lnTo>
                      <a:pt x="5365" y="296"/>
                    </a:lnTo>
                    <a:lnTo>
                      <a:pt x="5176" y="383"/>
                    </a:lnTo>
                    <a:lnTo>
                      <a:pt x="5145" y="390"/>
                    </a:lnTo>
                    <a:lnTo>
                      <a:pt x="5150" y="390"/>
                    </a:lnTo>
                    <a:lnTo>
                      <a:pt x="5053" y="444"/>
                    </a:lnTo>
                    <a:lnTo>
                      <a:pt x="5020" y="478"/>
                    </a:lnTo>
                    <a:lnTo>
                      <a:pt x="4961" y="489"/>
                    </a:lnTo>
                    <a:lnTo>
                      <a:pt x="4966" y="473"/>
                    </a:lnTo>
                    <a:lnTo>
                      <a:pt x="4961" y="473"/>
                    </a:lnTo>
                    <a:lnTo>
                      <a:pt x="4918" y="444"/>
                    </a:lnTo>
                    <a:lnTo>
                      <a:pt x="4944" y="473"/>
                    </a:lnTo>
                    <a:lnTo>
                      <a:pt x="4949" y="489"/>
                    </a:lnTo>
                    <a:lnTo>
                      <a:pt x="4982" y="501"/>
                    </a:lnTo>
                    <a:lnTo>
                      <a:pt x="4966" y="511"/>
                    </a:lnTo>
                    <a:lnTo>
                      <a:pt x="4859" y="527"/>
                    </a:lnTo>
                    <a:lnTo>
                      <a:pt x="4810" y="511"/>
                    </a:lnTo>
                    <a:lnTo>
                      <a:pt x="4843" y="527"/>
                    </a:lnTo>
                    <a:lnTo>
                      <a:pt x="4810" y="527"/>
                    </a:lnTo>
                    <a:lnTo>
                      <a:pt x="4810" y="534"/>
                    </a:lnTo>
                    <a:lnTo>
                      <a:pt x="4944" y="527"/>
                    </a:lnTo>
                    <a:lnTo>
                      <a:pt x="4874" y="556"/>
                    </a:lnTo>
                    <a:lnTo>
                      <a:pt x="4911" y="567"/>
                    </a:lnTo>
                    <a:lnTo>
                      <a:pt x="4897" y="584"/>
                    </a:lnTo>
                    <a:lnTo>
                      <a:pt x="4822" y="600"/>
                    </a:lnTo>
                    <a:lnTo>
                      <a:pt x="4772" y="589"/>
                    </a:lnTo>
                    <a:lnTo>
                      <a:pt x="4767" y="572"/>
                    </a:lnTo>
                    <a:lnTo>
                      <a:pt x="4772" y="572"/>
                    </a:lnTo>
                    <a:lnTo>
                      <a:pt x="4680" y="567"/>
                    </a:lnTo>
                    <a:lnTo>
                      <a:pt x="4642" y="567"/>
                    </a:lnTo>
                    <a:lnTo>
                      <a:pt x="4746" y="584"/>
                    </a:lnTo>
                    <a:lnTo>
                      <a:pt x="4755" y="612"/>
                    </a:lnTo>
                    <a:lnTo>
                      <a:pt x="4718" y="629"/>
                    </a:lnTo>
                    <a:lnTo>
                      <a:pt x="4696" y="612"/>
                    </a:lnTo>
                    <a:lnTo>
                      <a:pt x="4701" y="629"/>
                    </a:lnTo>
                    <a:lnTo>
                      <a:pt x="4692" y="638"/>
                    </a:lnTo>
                    <a:lnTo>
                      <a:pt x="4637" y="622"/>
                    </a:lnTo>
                    <a:lnTo>
                      <a:pt x="4626" y="629"/>
                    </a:lnTo>
                    <a:lnTo>
                      <a:pt x="4637" y="638"/>
                    </a:lnTo>
                    <a:lnTo>
                      <a:pt x="4626" y="645"/>
                    </a:lnTo>
                    <a:lnTo>
                      <a:pt x="4481" y="612"/>
                    </a:lnTo>
                    <a:lnTo>
                      <a:pt x="4474" y="622"/>
                    </a:lnTo>
                    <a:lnTo>
                      <a:pt x="4541" y="629"/>
                    </a:lnTo>
                    <a:lnTo>
                      <a:pt x="4550" y="645"/>
                    </a:lnTo>
                    <a:lnTo>
                      <a:pt x="4567" y="645"/>
                    </a:lnTo>
                    <a:lnTo>
                      <a:pt x="4498" y="645"/>
                    </a:lnTo>
                    <a:lnTo>
                      <a:pt x="4465" y="629"/>
                    </a:lnTo>
                    <a:lnTo>
                      <a:pt x="4481" y="655"/>
                    </a:lnTo>
                    <a:lnTo>
                      <a:pt x="4411" y="645"/>
                    </a:lnTo>
                    <a:lnTo>
                      <a:pt x="4465" y="662"/>
                    </a:lnTo>
                    <a:lnTo>
                      <a:pt x="4460" y="667"/>
                    </a:lnTo>
                    <a:lnTo>
                      <a:pt x="4663" y="667"/>
                    </a:lnTo>
                    <a:lnTo>
                      <a:pt x="4642" y="678"/>
                    </a:lnTo>
                    <a:lnTo>
                      <a:pt x="4663" y="695"/>
                    </a:lnTo>
                    <a:lnTo>
                      <a:pt x="4583" y="695"/>
                    </a:lnTo>
                    <a:lnTo>
                      <a:pt x="4550" y="678"/>
                    </a:lnTo>
                    <a:lnTo>
                      <a:pt x="4432" y="667"/>
                    </a:lnTo>
                    <a:lnTo>
                      <a:pt x="4406" y="678"/>
                    </a:lnTo>
                    <a:lnTo>
                      <a:pt x="4550" y="695"/>
                    </a:lnTo>
                    <a:lnTo>
                      <a:pt x="4448" y="700"/>
                    </a:lnTo>
                    <a:lnTo>
                      <a:pt x="4356" y="695"/>
                    </a:lnTo>
                    <a:lnTo>
                      <a:pt x="4444" y="700"/>
                    </a:lnTo>
                    <a:lnTo>
                      <a:pt x="4406" y="740"/>
                    </a:lnTo>
                    <a:lnTo>
                      <a:pt x="4432" y="711"/>
                    </a:lnTo>
                    <a:lnTo>
                      <a:pt x="4512" y="700"/>
                    </a:lnTo>
                    <a:lnTo>
                      <a:pt x="4583" y="711"/>
                    </a:lnTo>
                    <a:lnTo>
                      <a:pt x="4529" y="733"/>
                    </a:lnTo>
                    <a:lnTo>
                      <a:pt x="4604" y="723"/>
                    </a:lnTo>
                    <a:lnTo>
                      <a:pt x="4642" y="733"/>
                    </a:lnTo>
                    <a:lnTo>
                      <a:pt x="4649" y="749"/>
                    </a:lnTo>
                    <a:lnTo>
                      <a:pt x="4637" y="756"/>
                    </a:lnTo>
                    <a:lnTo>
                      <a:pt x="4642" y="773"/>
                    </a:lnTo>
                    <a:lnTo>
                      <a:pt x="4626" y="778"/>
                    </a:lnTo>
                    <a:lnTo>
                      <a:pt x="4512" y="778"/>
                    </a:lnTo>
                    <a:lnTo>
                      <a:pt x="4595" y="794"/>
                    </a:lnTo>
                    <a:lnTo>
                      <a:pt x="4626" y="811"/>
                    </a:lnTo>
                    <a:lnTo>
                      <a:pt x="4588" y="834"/>
                    </a:lnTo>
                    <a:lnTo>
                      <a:pt x="4498" y="834"/>
                    </a:lnTo>
                    <a:lnTo>
                      <a:pt x="4588" y="844"/>
                    </a:lnTo>
                    <a:lnTo>
                      <a:pt x="4567" y="867"/>
                    </a:lnTo>
                    <a:lnTo>
                      <a:pt x="4541" y="860"/>
                    </a:lnTo>
                    <a:lnTo>
                      <a:pt x="4498" y="877"/>
                    </a:lnTo>
                    <a:lnTo>
                      <a:pt x="4406" y="867"/>
                    </a:lnTo>
                    <a:lnTo>
                      <a:pt x="4389" y="877"/>
                    </a:lnTo>
                    <a:lnTo>
                      <a:pt x="4422" y="889"/>
                    </a:lnTo>
                    <a:lnTo>
                      <a:pt x="4422" y="905"/>
                    </a:lnTo>
                    <a:lnTo>
                      <a:pt x="4432" y="922"/>
                    </a:lnTo>
                    <a:lnTo>
                      <a:pt x="4406" y="962"/>
                    </a:lnTo>
                    <a:lnTo>
                      <a:pt x="4335" y="971"/>
                    </a:lnTo>
                    <a:lnTo>
                      <a:pt x="4248" y="971"/>
                    </a:lnTo>
                    <a:lnTo>
                      <a:pt x="4189" y="955"/>
                    </a:lnTo>
                    <a:lnTo>
                      <a:pt x="4141" y="917"/>
                    </a:lnTo>
                    <a:lnTo>
                      <a:pt x="4141" y="922"/>
                    </a:lnTo>
                    <a:lnTo>
                      <a:pt x="4163" y="938"/>
                    </a:lnTo>
                    <a:lnTo>
                      <a:pt x="4158" y="955"/>
                    </a:lnTo>
                    <a:lnTo>
                      <a:pt x="4196" y="971"/>
                    </a:lnTo>
                    <a:lnTo>
                      <a:pt x="4125" y="971"/>
                    </a:lnTo>
                    <a:lnTo>
                      <a:pt x="4151" y="995"/>
                    </a:lnTo>
                    <a:lnTo>
                      <a:pt x="4196" y="978"/>
                    </a:lnTo>
                    <a:lnTo>
                      <a:pt x="4271" y="988"/>
                    </a:lnTo>
                    <a:lnTo>
                      <a:pt x="4248" y="1000"/>
                    </a:lnTo>
                    <a:lnTo>
                      <a:pt x="4297" y="978"/>
                    </a:lnTo>
                    <a:lnTo>
                      <a:pt x="4335" y="988"/>
                    </a:lnTo>
                    <a:lnTo>
                      <a:pt x="4352" y="1000"/>
                    </a:lnTo>
                    <a:lnTo>
                      <a:pt x="4318" y="1028"/>
                    </a:lnTo>
                    <a:lnTo>
                      <a:pt x="4356" y="1028"/>
                    </a:lnTo>
                    <a:lnTo>
                      <a:pt x="4356" y="1044"/>
                    </a:lnTo>
                    <a:lnTo>
                      <a:pt x="4368" y="1044"/>
                    </a:lnTo>
                    <a:lnTo>
                      <a:pt x="4394" y="1016"/>
                    </a:lnTo>
                    <a:lnTo>
                      <a:pt x="4427" y="1028"/>
                    </a:lnTo>
                    <a:lnTo>
                      <a:pt x="4432" y="1066"/>
                    </a:lnTo>
                    <a:lnTo>
                      <a:pt x="4389" y="1099"/>
                    </a:lnTo>
                    <a:lnTo>
                      <a:pt x="4389" y="1099"/>
                    </a:lnTo>
                    <a:lnTo>
                      <a:pt x="4389" y="1099"/>
                    </a:lnTo>
                    <a:close/>
                    <a:moveTo>
                      <a:pt x="3456" y="279"/>
                    </a:moveTo>
                    <a:lnTo>
                      <a:pt x="3440" y="272"/>
                    </a:lnTo>
                    <a:lnTo>
                      <a:pt x="3461" y="279"/>
                    </a:lnTo>
                    <a:lnTo>
                      <a:pt x="3456" y="279"/>
                    </a:lnTo>
                    <a:lnTo>
                      <a:pt x="3456" y="279"/>
                    </a:lnTo>
                    <a:lnTo>
                      <a:pt x="3456" y="279"/>
                    </a:lnTo>
                    <a:close/>
                    <a:moveTo>
                      <a:pt x="3655" y="844"/>
                    </a:moveTo>
                    <a:lnTo>
                      <a:pt x="3633" y="827"/>
                    </a:lnTo>
                    <a:lnTo>
                      <a:pt x="3579" y="766"/>
                    </a:lnTo>
                    <a:lnTo>
                      <a:pt x="3570" y="778"/>
                    </a:lnTo>
                    <a:lnTo>
                      <a:pt x="3579" y="794"/>
                    </a:lnTo>
                    <a:lnTo>
                      <a:pt x="3596" y="806"/>
                    </a:lnTo>
                    <a:lnTo>
                      <a:pt x="3617" y="834"/>
                    </a:lnTo>
                    <a:lnTo>
                      <a:pt x="3563" y="811"/>
                    </a:lnTo>
                    <a:lnTo>
                      <a:pt x="3525" y="811"/>
                    </a:lnTo>
                    <a:lnTo>
                      <a:pt x="3558" y="834"/>
                    </a:lnTo>
                    <a:lnTo>
                      <a:pt x="3546" y="844"/>
                    </a:lnTo>
                    <a:lnTo>
                      <a:pt x="3433" y="827"/>
                    </a:lnTo>
                    <a:lnTo>
                      <a:pt x="3402" y="811"/>
                    </a:lnTo>
                    <a:lnTo>
                      <a:pt x="3369" y="789"/>
                    </a:lnTo>
                    <a:lnTo>
                      <a:pt x="3461" y="778"/>
                    </a:lnTo>
                    <a:lnTo>
                      <a:pt x="3381" y="766"/>
                    </a:lnTo>
                    <a:lnTo>
                      <a:pt x="3348" y="773"/>
                    </a:lnTo>
                    <a:lnTo>
                      <a:pt x="3310" y="740"/>
                    </a:lnTo>
                    <a:lnTo>
                      <a:pt x="3364" y="740"/>
                    </a:lnTo>
                    <a:lnTo>
                      <a:pt x="3310" y="733"/>
                    </a:lnTo>
                    <a:lnTo>
                      <a:pt x="3277" y="711"/>
                    </a:lnTo>
                    <a:lnTo>
                      <a:pt x="3348" y="678"/>
                    </a:lnTo>
                    <a:lnTo>
                      <a:pt x="3546" y="667"/>
                    </a:lnTo>
                    <a:lnTo>
                      <a:pt x="3418" y="667"/>
                    </a:lnTo>
                    <a:lnTo>
                      <a:pt x="3385" y="662"/>
                    </a:lnTo>
                    <a:lnTo>
                      <a:pt x="3504" y="645"/>
                    </a:lnTo>
                    <a:lnTo>
                      <a:pt x="3423" y="655"/>
                    </a:lnTo>
                    <a:lnTo>
                      <a:pt x="3395" y="645"/>
                    </a:lnTo>
                    <a:lnTo>
                      <a:pt x="3418" y="638"/>
                    </a:lnTo>
                    <a:lnTo>
                      <a:pt x="3381" y="638"/>
                    </a:lnTo>
                    <a:lnTo>
                      <a:pt x="3364" y="629"/>
                    </a:lnTo>
                    <a:lnTo>
                      <a:pt x="3352" y="629"/>
                    </a:lnTo>
                    <a:lnTo>
                      <a:pt x="3364" y="645"/>
                    </a:lnTo>
                    <a:lnTo>
                      <a:pt x="3348" y="645"/>
                    </a:lnTo>
                    <a:lnTo>
                      <a:pt x="3348" y="638"/>
                    </a:lnTo>
                    <a:lnTo>
                      <a:pt x="3343" y="638"/>
                    </a:lnTo>
                    <a:lnTo>
                      <a:pt x="3310" y="662"/>
                    </a:lnTo>
                    <a:lnTo>
                      <a:pt x="3289" y="662"/>
                    </a:lnTo>
                    <a:lnTo>
                      <a:pt x="3293" y="645"/>
                    </a:lnTo>
                    <a:lnTo>
                      <a:pt x="3272" y="638"/>
                    </a:lnTo>
                    <a:lnTo>
                      <a:pt x="3260" y="638"/>
                    </a:lnTo>
                    <a:lnTo>
                      <a:pt x="3272" y="645"/>
                    </a:lnTo>
                    <a:lnTo>
                      <a:pt x="3260" y="655"/>
                    </a:lnTo>
                    <a:lnTo>
                      <a:pt x="3222" y="662"/>
                    </a:lnTo>
                    <a:lnTo>
                      <a:pt x="3208" y="645"/>
                    </a:lnTo>
                    <a:lnTo>
                      <a:pt x="3170" y="638"/>
                    </a:lnTo>
                    <a:lnTo>
                      <a:pt x="3180" y="622"/>
                    </a:lnTo>
                    <a:lnTo>
                      <a:pt x="3244" y="605"/>
                    </a:lnTo>
                    <a:lnTo>
                      <a:pt x="3277" y="584"/>
                    </a:lnTo>
                    <a:lnTo>
                      <a:pt x="3170" y="600"/>
                    </a:lnTo>
                    <a:lnTo>
                      <a:pt x="3116" y="567"/>
                    </a:lnTo>
                    <a:lnTo>
                      <a:pt x="3147" y="556"/>
                    </a:lnTo>
                    <a:lnTo>
                      <a:pt x="3109" y="544"/>
                    </a:lnTo>
                    <a:lnTo>
                      <a:pt x="3133" y="534"/>
                    </a:lnTo>
                    <a:lnTo>
                      <a:pt x="3100" y="527"/>
                    </a:lnTo>
                    <a:lnTo>
                      <a:pt x="3133" y="518"/>
                    </a:lnTo>
                    <a:lnTo>
                      <a:pt x="3272" y="551"/>
                    </a:lnTo>
                    <a:lnTo>
                      <a:pt x="3244" y="527"/>
                    </a:lnTo>
                    <a:lnTo>
                      <a:pt x="3293" y="518"/>
                    </a:lnTo>
                    <a:lnTo>
                      <a:pt x="3201" y="527"/>
                    </a:lnTo>
                    <a:lnTo>
                      <a:pt x="3180" y="518"/>
                    </a:lnTo>
                    <a:lnTo>
                      <a:pt x="3208" y="501"/>
                    </a:lnTo>
                    <a:lnTo>
                      <a:pt x="3163" y="511"/>
                    </a:lnTo>
                    <a:lnTo>
                      <a:pt x="3109" y="489"/>
                    </a:lnTo>
                    <a:lnTo>
                      <a:pt x="3192" y="489"/>
                    </a:lnTo>
                    <a:lnTo>
                      <a:pt x="3170" y="473"/>
                    </a:lnTo>
                    <a:lnTo>
                      <a:pt x="3154" y="444"/>
                    </a:lnTo>
                    <a:lnTo>
                      <a:pt x="3310" y="456"/>
                    </a:lnTo>
                    <a:lnTo>
                      <a:pt x="3244" y="435"/>
                    </a:lnTo>
                    <a:lnTo>
                      <a:pt x="3289" y="423"/>
                    </a:lnTo>
                    <a:lnTo>
                      <a:pt x="3185" y="407"/>
                    </a:lnTo>
                    <a:lnTo>
                      <a:pt x="3218" y="400"/>
                    </a:lnTo>
                    <a:lnTo>
                      <a:pt x="3192" y="390"/>
                    </a:lnTo>
                    <a:lnTo>
                      <a:pt x="3218" y="378"/>
                    </a:lnTo>
                    <a:lnTo>
                      <a:pt x="3244" y="367"/>
                    </a:lnTo>
                    <a:lnTo>
                      <a:pt x="3272" y="383"/>
                    </a:lnTo>
                    <a:lnTo>
                      <a:pt x="3298" y="367"/>
                    </a:lnTo>
                    <a:lnTo>
                      <a:pt x="3277" y="362"/>
                    </a:lnTo>
                    <a:lnTo>
                      <a:pt x="3348" y="362"/>
                    </a:lnTo>
                    <a:lnTo>
                      <a:pt x="3364" y="350"/>
                    </a:lnTo>
                    <a:lnTo>
                      <a:pt x="3272" y="329"/>
                    </a:lnTo>
                    <a:lnTo>
                      <a:pt x="3289" y="312"/>
                    </a:lnTo>
                    <a:lnTo>
                      <a:pt x="3331" y="324"/>
                    </a:lnTo>
                    <a:lnTo>
                      <a:pt x="3331" y="312"/>
                    </a:lnTo>
                    <a:lnTo>
                      <a:pt x="3449" y="345"/>
                    </a:lnTo>
                    <a:lnTo>
                      <a:pt x="3456" y="362"/>
                    </a:lnTo>
                    <a:lnTo>
                      <a:pt x="3440" y="367"/>
                    </a:lnTo>
                    <a:lnTo>
                      <a:pt x="3470" y="378"/>
                    </a:lnTo>
                    <a:lnTo>
                      <a:pt x="3504" y="416"/>
                    </a:lnTo>
                    <a:lnTo>
                      <a:pt x="3532" y="440"/>
                    </a:lnTo>
                    <a:lnTo>
                      <a:pt x="3525" y="444"/>
                    </a:lnTo>
                    <a:lnTo>
                      <a:pt x="3596" y="473"/>
                    </a:lnTo>
                    <a:lnTo>
                      <a:pt x="3596" y="456"/>
                    </a:lnTo>
                    <a:lnTo>
                      <a:pt x="3633" y="456"/>
                    </a:lnTo>
                    <a:lnTo>
                      <a:pt x="3638" y="473"/>
                    </a:lnTo>
                    <a:lnTo>
                      <a:pt x="3633" y="478"/>
                    </a:lnTo>
                    <a:lnTo>
                      <a:pt x="3638" y="478"/>
                    </a:lnTo>
                    <a:lnTo>
                      <a:pt x="3633" y="494"/>
                    </a:lnTo>
                    <a:lnTo>
                      <a:pt x="3667" y="527"/>
                    </a:lnTo>
                    <a:lnTo>
                      <a:pt x="3709" y="527"/>
                    </a:lnTo>
                    <a:lnTo>
                      <a:pt x="3704" y="511"/>
                    </a:lnTo>
                    <a:lnTo>
                      <a:pt x="3671" y="501"/>
                    </a:lnTo>
                    <a:lnTo>
                      <a:pt x="3671" y="478"/>
                    </a:lnTo>
                    <a:lnTo>
                      <a:pt x="3742" y="478"/>
                    </a:lnTo>
                    <a:lnTo>
                      <a:pt x="3747" y="511"/>
                    </a:lnTo>
                    <a:lnTo>
                      <a:pt x="3709" y="527"/>
                    </a:lnTo>
                    <a:lnTo>
                      <a:pt x="3773" y="534"/>
                    </a:lnTo>
                    <a:lnTo>
                      <a:pt x="3785" y="551"/>
                    </a:lnTo>
                    <a:lnTo>
                      <a:pt x="3759" y="572"/>
                    </a:lnTo>
                    <a:lnTo>
                      <a:pt x="3785" y="556"/>
                    </a:lnTo>
                    <a:lnTo>
                      <a:pt x="3780" y="605"/>
                    </a:lnTo>
                    <a:lnTo>
                      <a:pt x="3759" y="622"/>
                    </a:lnTo>
                    <a:lnTo>
                      <a:pt x="3785" y="605"/>
                    </a:lnTo>
                    <a:lnTo>
                      <a:pt x="3801" y="622"/>
                    </a:lnTo>
                    <a:lnTo>
                      <a:pt x="3811" y="612"/>
                    </a:lnTo>
                    <a:lnTo>
                      <a:pt x="3801" y="605"/>
                    </a:lnTo>
                    <a:lnTo>
                      <a:pt x="3834" y="605"/>
                    </a:lnTo>
                    <a:lnTo>
                      <a:pt x="3855" y="612"/>
                    </a:lnTo>
                    <a:lnTo>
                      <a:pt x="3855" y="629"/>
                    </a:lnTo>
                    <a:lnTo>
                      <a:pt x="3848" y="629"/>
                    </a:lnTo>
                    <a:lnTo>
                      <a:pt x="3855" y="638"/>
                    </a:lnTo>
                    <a:lnTo>
                      <a:pt x="3872" y="605"/>
                    </a:lnTo>
                    <a:lnTo>
                      <a:pt x="3881" y="605"/>
                    </a:lnTo>
                    <a:lnTo>
                      <a:pt x="3936" y="662"/>
                    </a:lnTo>
                    <a:lnTo>
                      <a:pt x="3827" y="695"/>
                    </a:lnTo>
                    <a:lnTo>
                      <a:pt x="3811" y="711"/>
                    </a:lnTo>
                    <a:lnTo>
                      <a:pt x="3785" y="695"/>
                    </a:lnTo>
                    <a:lnTo>
                      <a:pt x="3785" y="716"/>
                    </a:lnTo>
                    <a:lnTo>
                      <a:pt x="3747" y="766"/>
                    </a:lnTo>
                    <a:lnTo>
                      <a:pt x="3721" y="733"/>
                    </a:lnTo>
                    <a:lnTo>
                      <a:pt x="3721" y="711"/>
                    </a:lnTo>
                    <a:lnTo>
                      <a:pt x="3742" y="695"/>
                    </a:lnTo>
                    <a:lnTo>
                      <a:pt x="3709" y="711"/>
                    </a:lnTo>
                    <a:lnTo>
                      <a:pt x="3704" y="740"/>
                    </a:lnTo>
                    <a:lnTo>
                      <a:pt x="3726" y="778"/>
                    </a:lnTo>
                    <a:lnTo>
                      <a:pt x="3704" y="794"/>
                    </a:lnTo>
                    <a:lnTo>
                      <a:pt x="3676" y="773"/>
                    </a:lnTo>
                    <a:lnTo>
                      <a:pt x="3667" y="766"/>
                    </a:lnTo>
                    <a:lnTo>
                      <a:pt x="3676" y="794"/>
                    </a:lnTo>
                    <a:lnTo>
                      <a:pt x="3655" y="844"/>
                    </a:lnTo>
                    <a:lnTo>
                      <a:pt x="3655" y="844"/>
                    </a:lnTo>
                    <a:lnTo>
                      <a:pt x="3655" y="844"/>
                    </a:lnTo>
                    <a:close/>
                    <a:moveTo>
                      <a:pt x="3222" y="435"/>
                    </a:moveTo>
                    <a:lnTo>
                      <a:pt x="3234" y="440"/>
                    </a:lnTo>
                    <a:lnTo>
                      <a:pt x="3147" y="435"/>
                    </a:lnTo>
                    <a:lnTo>
                      <a:pt x="3222" y="435"/>
                    </a:lnTo>
                    <a:lnTo>
                      <a:pt x="3222" y="435"/>
                    </a:lnTo>
                    <a:lnTo>
                      <a:pt x="3222" y="435"/>
                    </a:lnTo>
                    <a:close/>
                    <a:moveTo>
                      <a:pt x="2965" y="600"/>
                    </a:moveTo>
                    <a:lnTo>
                      <a:pt x="2920" y="584"/>
                    </a:lnTo>
                    <a:lnTo>
                      <a:pt x="2920" y="567"/>
                    </a:lnTo>
                    <a:lnTo>
                      <a:pt x="2868" y="567"/>
                    </a:lnTo>
                    <a:lnTo>
                      <a:pt x="2861" y="534"/>
                    </a:lnTo>
                    <a:lnTo>
                      <a:pt x="2894" y="518"/>
                    </a:lnTo>
                    <a:lnTo>
                      <a:pt x="2953" y="534"/>
                    </a:lnTo>
                    <a:lnTo>
                      <a:pt x="2970" y="551"/>
                    </a:lnTo>
                    <a:lnTo>
                      <a:pt x="2970" y="572"/>
                    </a:lnTo>
                    <a:lnTo>
                      <a:pt x="2965" y="600"/>
                    </a:lnTo>
                    <a:lnTo>
                      <a:pt x="2965" y="600"/>
                    </a:lnTo>
                    <a:lnTo>
                      <a:pt x="2965" y="600"/>
                    </a:lnTo>
                    <a:close/>
                    <a:moveTo>
                      <a:pt x="2608" y="749"/>
                    </a:moveTo>
                    <a:lnTo>
                      <a:pt x="2613" y="740"/>
                    </a:lnTo>
                    <a:lnTo>
                      <a:pt x="2587" y="740"/>
                    </a:lnTo>
                    <a:lnTo>
                      <a:pt x="2608" y="723"/>
                    </a:lnTo>
                    <a:lnTo>
                      <a:pt x="2587" y="711"/>
                    </a:lnTo>
                    <a:lnTo>
                      <a:pt x="2521" y="740"/>
                    </a:lnTo>
                    <a:lnTo>
                      <a:pt x="2542" y="700"/>
                    </a:lnTo>
                    <a:lnTo>
                      <a:pt x="2483" y="700"/>
                    </a:lnTo>
                    <a:lnTo>
                      <a:pt x="2483" y="678"/>
                    </a:lnTo>
                    <a:lnTo>
                      <a:pt x="2490" y="655"/>
                    </a:lnTo>
                    <a:lnTo>
                      <a:pt x="2596" y="645"/>
                    </a:lnTo>
                    <a:lnTo>
                      <a:pt x="2663" y="662"/>
                    </a:lnTo>
                    <a:lnTo>
                      <a:pt x="2693" y="695"/>
                    </a:lnTo>
                    <a:lnTo>
                      <a:pt x="2684" y="716"/>
                    </a:lnTo>
                    <a:lnTo>
                      <a:pt x="2700" y="723"/>
                    </a:lnTo>
                    <a:lnTo>
                      <a:pt x="2705" y="700"/>
                    </a:lnTo>
                    <a:lnTo>
                      <a:pt x="2759" y="695"/>
                    </a:lnTo>
                    <a:lnTo>
                      <a:pt x="2807" y="716"/>
                    </a:lnTo>
                    <a:lnTo>
                      <a:pt x="2793" y="740"/>
                    </a:lnTo>
                    <a:lnTo>
                      <a:pt x="2856" y="733"/>
                    </a:lnTo>
                    <a:lnTo>
                      <a:pt x="2882" y="756"/>
                    </a:lnTo>
                    <a:lnTo>
                      <a:pt x="2878" y="766"/>
                    </a:lnTo>
                    <a:lnTo>
                      <a:pt x="2911" y="773"/>
                    </a:lnTo>
                    <a:lnTo>
                      <a:pt x="2882" y="794"/>
                    </a:lnTo>
                    <a:lnTo>
                      <a:pt x="2894" y="806"/>
                    </a:lnTo>
                    <a:lnTo>
                      <a:pt x="2894" y="822"/>
                    </a:lnTo>
                    <a:lnTo>
                      <a:pt x="2911" y="822"/>
                    </a:lnTo>
                    <a:lnTo>
                      <a:pt x="2948" y="851"/>
                    </a:lnTo>
                    <a:lnTo>
                      <a:pt x="2937" y="867"/>
                    </a:lnTo>
                    <a:lnTo>
                      <a:pt x="2948" y="884"/>
                    </a:lnTo>
                    <a:lnTo>
                      <a:pt x="2882" y="900"/>
                    </a:lnTo>
                    <a:lnTo>
                      <a:pt x="2830" y="884"/>
                    </a:lnTo>
                    <a:lnTo>
                      <a:pt x="2807" y="834"/>
                    </a:lnTo>
                    <a:lnTo>
                      <a:pt x="2731" y="822"/>
                    </a:lnTo>
                    <a:lnTo>
                      <a:pt x="2693" y="827"/>
                    </a:lnTo>
                    <a:lnTo>
                      <a:pt x="2679" y="822"/>
                    </a:lnTo>
                    <a:lnTo>
                      <a:pt x="2693" y="806"/>
                    </a:lnTo>
                    <a:lnTo>
                      <a:pt x="2679" y="806"/>
                    </a:lnTo>
                    <a:lnTo>
                      <a:pt x="2596" y="827"/>
                    </a:lnTo>
                    <a:lnTo>
                      <a:pt x="2570" y="822"/>
                    </a:lnTo>
                    <a:lnTo>
                      <a:pt x="2521" y="789"/>
                    </a:lnTo>
                    <a:lnTo>
                      <a:pt x="2542" y="773"/>
                    </a:lnTo>
                    <a:lnTo>
                      <a:pt x="2630" y="789"/>
                    </a:lnTo>
                    <a:lnTo>
                      <a:pt x="2641" y="766"/>
                    </a:lnTo>
                    <a:lnTo>
                      <a:pt x="2592" y="766"/>
                    </a:lnTo>
                    <a:lnTo>
                      <a:pt x="2646" y="749"/>
                    </a:lnTo>
                    <a:lnTo>
                      <a:pt x="2608" y="749"/>
                    </a:lnTo>
                    <a:lnTo>
                      <a:pt x="2608" y="749"/>
                    </a:lnTo>
                    <a:lnTo>
                      <a:pt x="2608" y="749"/>
                    </a:lnTo>
                    <a:close/>
                    <a:moveTo>
                      <a:pt x="3865" y="695"/>
                    </a:moveTo>
                    <a:lnTo>
                      <a:pt x="3919" y="700"/>
                    </a:lnTo>
                    <a:lnTo>
                      <a:pt x="3827" y="723"/>
                    </a:lnTo>
                    <a:lnTo>
                      <a:pt x="3865" y="695"/>
                    </a:lnTo>
                    <a:lnTo>
                      <a:pt x="3865" y="695"/>
                    </a:lnTo>
                    <a:lnTo>
                      <a:pt x="3865" y="695"/>
                    </a:lnTo>
                    <a:close/>
                    <a:moveTo>
                      <a:pt x="3100" y="900"/>
                    </a:moveTo>
                    <a:lnTo>
                      <a:pt x="3078" y="889"/>
                    </a:lnTo>
                    <a:lnTo>
                      <a:pt x="3078" y="884"/>
                    </a:lnTo>
                    <a:lnTo>
                      <a:pt x="3083" y="877"/>
                    </a:lnTo>
                    <a:lnTo>
                      <a:pt x="3029" y="860"/>
                    </a:lnTo>
                    <a:lnTo>
                      <a:pt x="3100" y="844"/>
                    </a:lnTo>
                    <a:lnTo>
                      <a:pt x="3019" y="822"/>
                    </a:lnTo>
                    <a:lnTo>
                      <a:pt x="3019" y="806"/>
                    </a:lnTo>
                    <a:lnTo>
                      <a:pt x="2986" y="789"/>
                    </a:lnTo>
                    <a:lnTo>
                      <a:pt x="3019" y="778"/>
                    </a:lnTo>
                    <a:lnTo>
                      <a:pt x="2991" y="766"/>
                    </a:lnTo>
                    <a:lnTo>
                      <a:pt x="2991" y="740"/>
                    </a:lnTo>
                    <a:lnTo>
                      <a:pt x="3029" y="733"/>
                    </a:lnTo>
                    <a:lnTo>
                      <a:pt x="3078" y="749"/>
                    </a:lnTo>
                    <a:lnTo>
                      <a:pt x="3147" y="766"/>
                    </a:lnTo>
                    <a:lnTo>
                      <a:pt x="3147" y="778"/>
                    </a:lnTo>
                    <a:lnTo>
                      <a:pt x="3192" y="778"/>
                    </a:lnTo>
                    <a:lnTo>
                      <a:pt x="3239" y="806"/>
                    </a:lnTo>
                    <a:lnTo>
                      <a:pt x="3201" y="827"/>
                    </a:lnTo>
                    <a:lnTo>
                      <a:pt x="3234" y="844"/>
                    </a:lnTo>
                    <a:lnTo>
                      <a:pt x="3218" y="867"/>
                    </a:lnTo>
                    <a:lnTo>
                      <a:pt x="3116" y="884"/>
                    </a:lnTo>
                    <a:lnTo>
                      <a:pt x="3109" y="884"/>
                    </a:lnTo>
                    <a:lnTo>
                      <a:pt x="3126" y="889"/>
                    </a:lnTo>
                    <a:lnTo>
                      <a:pt x="3100" y="900"/>
                    </a:lnTo>
                    <a:lnTo>
                      <a:pt x="3100" y="900"/>
                    </a:lnTo>
                    <a:lnTo>
                      <a:pt x="3100" y="900"/>
                    </a:lnTo>
                    <a:close/>
                    <a:moveTo>
                      <a:pt x="4675" y="756"/>
                    </a:moveTo>
                    <a:lnTo>
                      <a:pt x="4649" y="749"/>
                    </a:lnTo>
                    <a:lnTo>
                      <a:pt x="4692" y="749"/>
                    </a:lnTo>
                    <a:lnTo>
                      <a:pt x="4675" y="756"/>
                    </a:lnTo>
                    <a:lnTo>
                      <a:pt x="4675" y="756"/>
                    </a:lnTo>
                    <a:lnTo>
                      <a:pt x="4675" y="756"/>
                    </a:lnTo>
                    <a:close/>
                    <a:moveTo>
                      <a:pt x="2067" y="822"/>
                    </a:moveTo>
                    <a:lnTo>
                      <a:pt x="2030" y="806"/>
                    </a:lnTo>
                    <a:lnTo>
                      <a:pt x="1949" y="822"/>
                    </a:lnTo>
                    <a:lnTo>
                      <a:pt x="1944" y="811"/>
                    </a:lnTo>
                    <a:lnTo>
                      <a:pt x="1961" y="794"/>
                    </a:lnTo>
                    <a:lnTo>
                      <a:pt x="2143" y="740"/>
                    </a:lnTo>
                    <a:lnTo>
                      <a:pt x="2230" y="789"/>
                    </a:lnTo>
                    <a:lnTo>
                      <a:pt x="2214" y="822"/>
                    </a:lnTo>
                    <a:lnTo>
                      <a:pt x="2143" y="822"/>
                    </a:lnTo>
                    <a:lnTo>
                      <a:pt x="2100" y="806"/>
                    </a:lnTo>
                    <a:lnTo>
                      <a:pt x="2067" y="822"/>
                    </a:lnTo>
                    <a:lnTo>
                      <a:pt x="2067" y="822"/>
                    </a:lnTo>
                    <a:lnTo>
                      <a:pt x="2067" y="822"/>
                    </a:lnTo>
                    <a:close/>
                    <a:moveTo>
                      <a:pt x="3721" y="794"/>
                    </a:moveTo>
                    <a:lnTo>
                      <a:pt x="3704" y="827"/>
                    </a:lnTo>
                    <a:lnTo>
                      <a:pt x="3688" y="822"/>
                    </a:lnTo>
                    <a:lnTo>
                      <a:pt x="3704" y="794"/>
                    </a:lnTo>
                    <a:lnTo>
                      <a:pt x="3721" y="794"/>
                    </a:lnTo>
                    <a:lnTo>
                      <a:pt x="3721" y="794"/>
                    </a:lnTo>
                    <a:lnTo>
                      <a:pt x="3721" y="794"/>
                    </a:lnTo>
                    <a:close/>
                    <a:moveTo>
                      <a:pt x="3260" y="822"/>
                    </a:moveTo>
                    <a:lnTo>
                      <a:pt x="3277" y="834"/>
                    </a:lnTo>
                    <a:lnTo>
                      <a:pt x="3244" y="822"/>
                    </a:lnTo>
                    <a:lnTo>
                      <a:pt x="3260" y="822"/>
                    </a:lnTo>
                    <a:lnTo>
                      <a:pt x="3260" y="822"/>
                    </a:lnTo>
                    <a:lnTo>
                      <a:pt x="3260" y="822"/>
                    </a:lnTo>
                    <a:close/>
                    <a:moveTo>
                      <a:pt x="2679" y="822"/>
                    </a:moveTo>
                    <a:lnTo>
                      <a:pt x="2684" y="827"/>
                    </a:lnTo>
                    <a:lnTo>
                      <a:pt x="2663" y="844"/>
                    </a:lnTo>
                    <a:lnTo>
                      <a:pt x="2646" y="834"/>
                    </a:lnTo>
                    <a:lnTo>
                      <a:pt x="2679" y="822"/>
                    </a:lnTo>
                    <a:lnTo>
                      <a:pt x="2679" y="822"/>
                    </a:lnTo>
                    <a:lnTo>
                      <a:pt x="2679" y="822"/>
                    </a:lnTo>
                    <a:close/>
                    <a:moveTo>
                      <a:pt x="2759" y="827"/>
                    </a:moveTo>
                    <a:lnTo>
                      <a:pt x="2759" y="834"/>
                    </a:lnTo>
                    <a:lnTo>
                      <a:pt x="2748" y="834"/>
                    </a:lnTo>
                    <a:lnTo>
                      <a:pt x="2759" y="827"/>
                    </a:lnTo>
                    <a:lnTo>
                      <a:pt x="2759" y="827"/>
                    </a:lnTo>
                    <a:lnTo>
                      <a:pt x="2759" y="827"/>
                    </a:lnTo>
                    <a:close/>
                    <a:moveTo>
                      <a:pt x="2030" y="971"/>
                    </a:moveTo>
                    <a:lnTo>
                      <a:pt x="1949" y="938"/>
                    </a:lnTo>
                    <a:lnTo>
                      <a:pt x="1949" y="905"/>
                    </a:lnTo>
                    <a:lnTo>
                      <a:pt x="1944" y="889"/>
                    </a:lnTo>
                    <a:lnTo>
                      <a:pt x="1949" y="877"/>
                    </a:lnTo>
                    <a:lnTo>
                      <a:pt x="2084" y="851"/>
                    </a:lnTo>
                    <a:lnTo>
                      <a:pt x="2209" y="851"/>
                    </a:lnTo>
                    <a:lnTo>
                      <a:pt x="2193" y="867"/>
                    </a:lnTo>
                    <a:lnTo>
                      <a:pt x="2112" y="889"/>
                    </a:lnTo>
                    <a:lnTo>
                      <a:pt x="2129" y="900"/>
                    </a:lnTo>
                    <a:lnTo>
                      <a:pt x="2167" y="900"/>
                    </a:lnTo>
                    <a:lnTo>
                      <a:pt x="2176" y="922"/>
                    </a:lnTo>
                    <a:lnTo>
                      <a:pt x="2159" y="938"/>
                    </a:lnTo>
                    <a:lnTo>
                      <a:pt x="2030" y="971"/>
                    </a:lnTo>
                    <a:lnTo>
                      <a:pt x="2030" y="971"/>
                    </a:lnTo>
                    <a:lnTo>
                      <a:pt x="2030" y="971"/>
                    </a:lnTo>
                    <a:close/>
                    <a:moveTo>
                      <a:pt x="1878" y="905"/>
                    </a:moveTo>
                    <a:lnTo>
                      <a:pt x="1815" y="867"/>
                    </a:lnTo>
                    <a:lnTo>
                      <a:pt x="1874" y="851"/>
                    </a:lnTo>
                    <a:lnTo>
                      <a:pt x="1923" y="889"/>
                    </a:lnTo>
                    <a:lnTo>
                      <a:pt x="1878" y="905"/>
                    </a:lnTo>
                    <a:lnTo>
                      <a:pt x="1878" y="905"/>
                    </a:lnTo>
                    <a:lnTo>
                      <a:pt x="1878" y="905"/>
                    </a:lnTo>
                    <a:close/>
                    <a:moveTo>
                      <a:pt x="2759" y="884"/>
                    </a:moveTo>
                    <a:lnTo>
                      <a:pt x="2807" y="905"/>
                    </a:lnTo>
                    <a:lnTo>
                      <a:pt x="2731" y="917"/>
                    </a:lnTo>
                    <a:lnTo>
                      <a:pt x="2705" y="905"/>
                    </a:lnTo>
                    <a:lnTo>
                      <a:pt x="2700" y="889"/>
                    </a:lnTo>
                    <a:lnTo>
                      <a:pt x="2759" y="884"/>
                    </a:lnTo>
                    <a:lnTo>
                      <a:pt x="2759" y="884"/>
                    </a:lnTo>
                    <a:lnTo>
                      <a:pt x="2759" y="884"/>
                    </a:lnTo>
                    <a:close/>
                    <a:moveTo>
                      <a:pt x="4444" y="884"/>
                    </a:moveTo>
                    <a:lnTo>
                      <a:pt x="4448" y="889"/>
                    </a:lnTo>
                    <a:lnTo>
                      <a:pt x="4422" y="889"/>
                    </a:lnTo>
                    <a:lnTo>
                      <a:pt x="4444" y="884"/>
                    </a:lnTo>
                    <a:lnTo>
                      <a:pt x="4444" y="884"/>
                    </a:lnTo>
                    <a:lnTo>
                      <a:pt x="4444" y="884"/>
                    </a:lnTo>
                    <a:close/>
                    <a:moveTo>
                      <a:pt x="3352" y="905"/>
                    </a:moveTo>
                    <a:lnTo>
                      <a:pt x="3364" y="917"/>
                    </a:lnTo>
                    <a:lnTo>
                      <a:pt x="3343" y="922"/>
                    </a:lnTo>
                    <a:lnTo>
                      <a:pt x="3326" y="943"/>
                    </a:lnTo>
                    <a:lnTo>
                      <a:pt x="3163" y="943"/>
                    </a:lnTo>
                    <a:lnTo>
                      <a:pt x="3133" y="922"/>
                    </a:lnTo>
                    <a:lnTo>
                      <a:pt x="3137" y="917"/>
                    </a:lnTo>
                    <a:lnTo>
                      <a:pt x="3192" y="889"/>
                    </a:lnTo>
                    <a:lnTo>
                      <a:pt x="3201" y="905"/>
                    </a:lnTo>
                    <a:lnTo>
                      <a:pt x="3326" y="900"/>
                    </a:lnTo>
                    <a:lnTo>
                      <a:pt x="3352" y="905"/>
                    </a:lnTo>
                    <a:lnTo>
                      <a:pt x="3352" y="905"/>
                    </a:lnTo>
                    <a:lnTo>
                      <a:pt x="3352" y="905"/>
                    </a:lnTo>
                    <a:close/>
                    <a:moveTo>
                      <a:pt x="2483" y="900"/>
                    </a:moveTo>
                    <a:lnTo>
                      <a:pt x="2521" y="933"/>
                    </a:lnTo>
                    <a:lnTo>
                      <a:pt x="2533" y="943"/>
                    </a:lnTo>
                    <a:lnTo>
                      <a:pt x="2521" y="955"/>
                    </a:lnTo>
                    <a:lnTo>
                      <a:pt x="2542" y="955"/>
                    </a:lnTo>
                    <a:lnTo>
                      <a:pt x="2570" y="988"/>
                    </a:lnTo>
                    <a:lnTo>
                      <a:pt x="2542" y="1000"/>
                    </a:lnTo>
                    <a:lnTo>
                      <a:pt x="2504" y="988"/>
                    </a:lnTo>
                    <a:lnTo>
                      <a:pt x="2483" y="971"/>
                    </a:lnTo>
                    <a:lnTo>
                      <a:pt x="2469" y="922"/>
                    </a:lnTo>
                    <a:lnTo>
                      <a:pt x="2452" y="905"/>
                    </a:lnTo>
                    <a:lnTo>
                      <a:pt x="2483" y="900"/>
                    </a:lnTo>
                    <a:lnTo>
                      <a:pt x="2483" y="900"/>
                    </a:lnTo>
                    <a:lnTo>
                      <a:pt x="2483" y="900"/>
                    </a:lnTo>
                    <a:close/>
                    <a:moveTo>
                      <a:pt x="3546" y="988"/>
                    </a:moveTo>
                    <a:lnTo>
                      <a:pt x="3494" y="962"/>
                    </a:lnTo>
                    <a:lnTo>
                      <a:pt x="3494" y="933"/>
                    </a:lnTo>
                    <a:lnTo>
                      <a:pt x="3515" y="917"/>
                    </a:lnTo>
                    <a:lnTo>
                      <a:pt x="3563" y="922"/>
                    </a:lnTo>
                    <a:lnTo>
                      <a:pt x="3596" y="943"/>
                    </a:lnTo>
                    <a:lnTo>
                      <a:pt x="3600" y="962"/>
                    </a:lnTo>
                    <a:lnTo>
                      <a:pt x="3546" y="988"/>
                    </a:lnTo>
                    <a:lnTo>
                      <a:pt x="3546" y="988"/>
                    </a:lnTo>
                    <a:lnTo>
                      <a:pt x="3546" y="988"/>
                    </a:lnTo>
                    <a:close/>
                    <a:moveTo>
                      <a:pt x="3910" y="933"/>
                    </a:moveTo>
                    <a:lnTo>
                      <a:pt x="3941" y="938"/>
                    </a:lnTo>
                    <a:lnTo>
                      <a:pt x="3919" y="943"/>
                    </a:lnTo>
                    <a:lnTo>
                      <a:pt x="3886" y="933"/>
                    </a:lnTo>
                    <a:lnTo>
                      <a:pt x="3910" y="933"/>
                    </a:lnTo>
                    <a:lnTo>
                      <a:pt x="3910" y="933"/>
                    </a:lnTo>
                    <a:lnTo>
                      <a:pt x="3910" y="933"/>
                    </a:lnTo>
                    <a:close/>
                    <a:moveTo>
                      <a:pt x="1734" y="1082"/>
                    </a:moveTo>
                    <a:lnTo>
                      <a:pt x="1680" y="1087"/>
                    </a:lnTo>
                    <a:lnTo>
                      <a:pt x="1692" y="1111"/>
                    </a:lnTo>
                    <a:lnTo>
                      <a:pt x="1654" y="1127"/>
                    </a:lnTo>
                    <a:lnTo>
                      <a:pt x="1609" y="1106"/>
                    </a:lnTo>
                    <a:lnTo>
                      <a:pt x="1621" y="1066"/>
                    </a:lnTo>
                    <a:lnTo>
                      <a:pt x="1637" y="1049"/>
                    </a:lnTo>
                    <a:lnTo>
                      <a:pt x="1588" y="1049"/>
                    </a:lnTo>
                    <a:lnTo>
                      <a:pt x="1583" y="1054"/>
                    </a:lnTo>
                    <a:lnTo>
                      <a:pt x="1588" y="1082"/>
                    </a:lnTo>
                    <a:lnTo>
                      <a:pt x="1545" y="1087"/>
                    </a:lnTo>
                    <a:lnTo>
                      <a:pt x="1571" y="1111"/>
                    </a:lnTo>
                    <a:lnTo>
                      <a:pt x="1550" y="1127"/>
                    </a:lnTo>
                    <a:lnTo>
                      <a:pt x="1545" y="1144"/>
                    </a:lnTo>
                    <a:lnTo>
                      <a:pt x="1529" y="1155"/>
                    </a:lnTo>
                    <a:lnTo>
                      <a:pt x="1503" y="1122"/>
                    </a:lnTo>
                    <a:lnTo>
                      <a:pt x="1496" y="1122"/>
                    </a:lnTo>
                    <a:lnTo>
                      <a:pt x="1503" y="1144"/>
                    </a:lnTo>
                    <a:lnTo>
                      <a:pt x="1491" y="1155"/>
                    </a:lnTo>
                    <a:lnTo>
                      <a:pt x="1512" y="1160"/>
                    </a:lnTo>
                    <a:lnTo>
                      <a:pt x="1512" y="1165"/>
                    </a:lnTo>
                    <a:lnTo>
                      <a:pt x="1448" y="1193"/>
                    </a:lnTo>
                    <a:lnTo>
                      <a:pt x="1441" y="1193"/>
                    </a:lnTo>
                    <a:lnTo>
                      <a:pt x="1441" y="1165"/>
                    </a:lnTo>
                    <a:lnTo>
                      <a:pt x="1427" y="1165"/>
                    </a:lnTo>
                    <a:lnTo>
                      <a:pt x="1420" y="1144"/>
                    </a:lnTo>
                    <a:lnTo>
                      <a:pt x="1411" y="1139"/>
                    </a:lnTo>
                    <a:lnTo>
                      <a:pt x="1404" y="1144"/>
                    </a:lnTo>
                    <a:lnTo>
                      <a:pt x="1411" y="1165"/>
                    </a:lnTo>
                    <a:lnTo>
                      <a:pt x="1404" y="1177"/>
                    </a:lnTo>
                    <a:lnTo>
                      <a:pt x="1328" y="1160"/>
                    </a:lnTo>
                    <a:lnTo>
                      <a:pt x="1297" y="1177"/>
                    </a:lnTo>
                    <a:lnTo>
                      <a:pt x="1281" y="1165"/>
                    </a:lnTo>
                    <a:lnTo>
                      <a:pt x="1302" y="1155"/>
                    </a:lnTo>
                    <a:lnTo>
                      <a:pt x="1281" y="1155"/>
                    </a:lnTo>
                    <a:lnTo>
                      <a:pt x="1297" y="1144"/>
                    </a:lnTo>
                    <a:lnTo>
                      <a:pt x="1285" y="1139"/>
                    </a:lnTo>
                    <a:lnTo>
                      <a:pt x="1259" y="1155"/>
                    </a:lnTo>
                    <a:lnTo>
                      <a:pt x="1285" y="1111"/>
                    </a:lnTo>
                    <a:lnTo>
                      <a:pt x="1366" y="1106"/>
                    </a:lnTo>
                    <a:lnTo>
                      <a:pt x="1389" y="1070"/>
                    </a:lnTo>
                    <a:lnTo>
                      <a:pt x="1441" y="1049"/>
                    </a:lnTo>
                    <a:lnTo>
                      <a:pt x="1465" y="1016"/>
                    </a:lnTo>
                    <a:lnTo>
                      <a:pt x="1517" y="988"/>
                    </a:lnTo>
                    <a:lnTo>
                      <a:pt x="1533" y="971"/>
                    </a:lnTo>
                    <a:lnTo>
                      <a:pt x="1621" y="955"/>
                    </a:lnTo>
                    <a:lnTo>
                      <a:pt x="1680" y="971"/>
                    </a:lnTo>
                    <a:lnTo>
                      <a:pt x="1675" y="962"/>
                    </a:lnTo>
                    <a:lnTo>
                      <a:pt x="1696" y="971"/>
                    </a:lnTo>
                    <a:lnTo>
                      <a:pt x="1713" y="955"/>
                    </a:lnTo>
                    <a:lnTo>
                      <a:pt x="1675" y="943"/>
                    </a:lnTo>
                    <a:lnTo>
                      <a:pt x="1718" y="933"/>
                    </a:lnTo>
                    <a:lnTo>
                      <a:pt x="1798" y="971"/>
                    </a:lnTo>
                    <a:lnTo>
                      <a:pt x="1734" y="988"/>
                    </a:lnTo>
                    <a:lnTo>
                      <a:pt x="1734" y="1000"/>
                    </a:lnTo>
                    <a:lnTo>
                      <a:pt x="1734" y="1011"/>
                    </a:lnTo>
                    <a:lnTo>
                      <a:pt x="1772" y="1028"/>
                    </a:lnTo>
                    <a:lnTo>
                      <a:pt x="1730" y="1028"/>
                    </a:lnTo>
                    <a:lnTo>
                      <a:pt x="1751" y="1049"/>
                    </a:lnTo>
                    <a:lnTo>
                      <a:pt x="1760" y="1066"/>
                    </a:lnTo>
                    <a:lnTo>
                      <a:pt x="1734" y="1082"/>
                    </a:lnTo>
                    <a:lnTo>
                      <a:pt x="1734" y="1082"/>
                    </a:lnTo>
                    <a:lnTo>
                      <a:pt x="1734" y="1082"/>
                    </a:lnTo>
                    <a:close/>
                    <a:moveTo>
                      <a:pt x="3504" y="978"/>
                    </a:moveTo>
                    <a:lnTo>
                      <a:pt x="3525" y="988"/>
                    </a:lnTo>
                    <a:lnTo>
                      <a:pt x="3508" y="995"/>
                    </a:lnTo>
                    <a:lnTo>
                      <a:pt x="3487" y="988"/>
                    </a:lnTo>
                    <a:lnTo>
                      <a:pt x="3504" y="978"/>
                    </a:lnTo>
                    <a:lnTo>
                      <a:pt x="3504" y="978"/>
                    </a:lnTo>
                    <a:lnTo>
                      <a:pt x="3504" y="978"/>
                    </a:lnTo>
                    <a:close/>
                    <a:moveTo>
                      <a:pt x="3201" y="978"/>
                    </a:moveTo>
                    <a:lnTo>
                      <a:pt x="3208" y="988"/>
                    </a:lnTo>
                    <a:lnTo>
                      <a:pt x="3185" y="978"/>
                    </a:lnTo>
                    <a:lnTo>
                      <a:pt x="3201" y="978"/>
                    </a:lnTo>
                    <a:lnTo>
                      <a:pt x="3201" y="978"/>
                    </a:lnTo>
                    <a:lnTo>
                      <a:pt x="3201" y="978"/>
                    </a:lnTo>
                    <a:close/>
                    <a:moveTo>
                      <a:pt x="2592" y="995"/>
                    </a:moveTo>
                    <a:lnTo>
                      <a:pt x="2596" y="1000"/>
                    </a:lnTo>
                    <a:lnTo>
                      <a:pt x="2570" y="1000"/>
                    </a:lnTo>
                    <a:lnTo>
                      <a:pt x="2592" y="995"/>
                    </a:lnTo>
                    <a:lnTo>
                      <a:pt x="2592" y="995"/>
                    </a:lnTo>
                    <a:lnTo>
                      <a:pt x="2592" y="995"/>
                    </a:lnTo>
                    <a:close/>
                    <a:moveTo>
                      <a:pt x="1911" y="1000"/>
                    </a:moveTo>
                    <a:lnTo>
                      <a:pt x="1895" y="995"/>
                    </a:lnTo>
                    <a:lnTo>
                      <a:pt x="1923" y="995"/>
                    </a:lnTo>
                    <a:lnTo>
                      <a:pt x="1911" y="1000"/>
                    </a:lnTo>
                    <a:lnTo>
                      <a:pt x="1911" y="1000"/>
                    </a:lnTo>
                    <a:lnTo>
                      <a:pt x="1911" y="1000"/>
                    </a:lnTo>
                    <a:close/>
                    <a:moveTo>
                      <a:pt x="3818" y="1267"/>
                    </a:moveTo>
                    <a:lnTo>
                      <a:pt x="3881" y="1255"/>
                    </a:lnTo>
                    <a:lnTo>
                      <a:pt x="3848" y="1238"/>
                    </a:lnTo>
                    <a:lnTo>
                      <a:pt x="3903" y="1233"/>
                    </a:lnTo>
                    <a:lnTo>
                      <a:pt x="3924" y="1215"/>
                    </a:lnTo>
                    <a:lnTo>
                      <a:pt x="3962" y="1222"/>
                    </a:lnTo>
                    <a:lnTo>
                      <a:pt x="3945" y="1215"/>
                    </a:lnTo>
                    <a:lnTo>
                      <a:pt x="4000" y="1193"/>
                    </a:lnTo>
                    <a:lnTo>
                      <a:pt x="4054" y="1210"/>
                    </a:lnTo>
                    <a:lnTo>
                      <a:pt x="4120" y="1193"/>
                    </a:lnTo>
                    <a:lnTo>
                      <a:pt x="4172" y="1193"/>
                    </a:lnTo>
                    <a:lnTo>
                      <a:pt x="4196" y="1198"/>
                    </a:lnTo>
                    <a:lnTo>
                      <a:pt x="4189" y="1215"/>
                    </a:lnTo>
                    <a:lnTo>
                      <a:pt x="4243" y="1215"/>
                    </a:lnTo>
                    <a:lnTo>
                      <a:pt x="4281" y="1233"/>
                    </a:lnTo>
                    <a:lnTo>
                      <a:pt x="4248" y="1250"/>
                    </a:lnTo>
                    <a:lnTo>
                      <a:pt x="4314" y="1250"/>
                    </a:lnTo>
                    <a:lnTo>
                      <a:pt x="4302" y="1250"/>
                    </a:lnTo>
                    <a:lnTo>
                      <a:pt x="4314" y="1267"/>
                    </a:lnTo>
                    <a:lnTo>
                      <a:pt x="4302" y="1271"/>
                    </a:lnTo>
                    <a:lnTo>
                      <a:pt x="4318" y="1271"/>
                    </a:lnTo>
                    <a:lnTo>
                      <a:pt x="4314" y="1288"/>
                    </a:lnTo>
                    <a:lnTo>
                      <a:pt x="4248" y="1304"/>
                    </a:lnTo>
                    <a:lnTo>
                      <a:pt x="4264" y="1309"/>
                    </a:lnTo>
                    <a:lnTo>
                      <a:pt x="4259" y="1321"/>
                    </a:lnTo>
                    <a:lnTo>
                      <a:pt x="4302" y="1309"/>
                    </a:lnTo>
                    <a:lnTo>
                      <a:pt x="4323" y="1326"/>
                    </a:lnTo>
                    <a:lnTo>
                      <a:pt x="4281" y="1342"/>
                    </a:lnTo>
                    <a:lnTo>
                      <a:pt x="4259" y="1321"/>
                    </a:lnTo>
                    <a:lnTo>
                      <a:pt x="4248" y="1326"/>
                    </a:lnTo>
                    <a:lnTo>
                      <a:pt x="4271" y="1333"/>
                    </a:lnTo>
                    <a:lnTo>
                      <a:pt x="4264" y="1378"/>
                    </a:lnTo>
                    <a:lnTo>
                      <a:pt x="4196" y="1378"/>
                    </a:lnTo>
                    <a:lnTo>
                      <a:pt x="4151" y="1387"/>
                    </a:lnTo>
                    <a:lnTo>
                      <a:pt x="4070" y="1378"/>
                    </a:lnTo>
                    <a:lnTo>
                      <a:pt x="4054" y="1359"/>
                    </a:lnTo>
                    <a:lnTo>
                      <a:pt x="4066" y="1342"/>
                    </a:lnTo>
                    <a:lnTo>
                      <a:pt x="4066" y="1333"/>
                    </a:lnTo>
                    <a:lnTo>
                      <a:pt x="4033" y="1326"/>
                    </a:lnTo>
                    <a:lnTo>
                      <a:pt x="4033" y="1333"/>
                    </a:lnTo>
                    <a:lnTo>
                      <a:pt x="4049" y="1342"/>
                    </a:lnTo>
                    <a:lnTo>
                      <a:pt x="4033" y="1378"/>
                    </a:lnTo>
                    <a:lnTo>
                      <a:pt x="3978" y="1382"/>
                    </a:lnTo>
                    <a:lnTo>
                      <a:pt x="3936" y="1382"/>
                    </a:lnTo>
                    <a:lnTo>
                      <a:pt x="3924" y="1359"/>
                    </a:lnTo>
                    <a:lnTo>
                      <a:pt x="3924" y="1366"/>
                    </a:lnTo>
                    <a:lnTo>
                      <a:pt x="3924" y="1382"/>
                    </a:lnTo>
                    <a:lnTo>
                      <a:pt x="3910" y="1382"/>
                    </a:lnTo>
                    <a:lnTo>
                      <a:pt x="3903" y="1382"/>
                    </a:lnTo>
                    <a:lnTo>
                      <a:pt x="3886" y="1359"/>
                    </a:lnTo>
                    <a:lnTo>
                      <a:pt x="3893" y="1378"/>
                    </a:lnTo>
                    <a:lnTo>
                      <a:pt x="3886" y="1382"/>
                    </a:lnTo>
                    <a:lnTo>
                      <a:pt x="3848" y="1387"/>
                    </a:lnTo>
                    <a:lnTo>
                      <a:pt x="3848" y="1378"/>
                    </a:lnTo>
                    <a:lnTo>
                      <a:pt x="3839" y="1366"/>
                    </a:lnTo>
                    <a:lnTo>
                      <a:pt x="3827" y="1387"/>
                    </a:lnTo>
                    <a:lnTo>
                      <a:pt x="3801" y="1366"/>
                    </a:lnTo>
                    <a:lnTo>
                      <a:pt x="3811" y="1387"/>
                    </a:lnTo>
                    <a:lnTo>
                      <a:pt x="3676" y="1382"/>
                    </a:lnTo>
                    <a:lnTo>
                      <a:pt x="3676" y="1366"/>
                    </a:lnTo>
                    <a:lnTo>
                      <a:pt x="3693" y="1342"/>
                    </a:lnTo>
                    <a:lnTo>
                      <a:pt x="3676" y="1326"/>
                    </a:lnTo>
                    <a:lnTo>
                      <a:pt x="3655" y="1359"/>
                    </a:lnTo>
                    <a:lnTo>
                      <a:pt x="3655" y="1342"/>
                    </a:lnTo>
                    <a:lnTo>
                      <a:pt x="3638" y="1333"/>
                    </a:lnTo>
                    <a:lnTo>
                      <a:pt x="3650" y="1342"/>
                    </a:lnTo>
                    <a:lnTo>
                      <a:pt x="3638" y="1349"/>
                    </a:lnTo>
                    <a:lnTo>
                      <a:pt x="3622" y="1349"/>
                    </a:lnTo>
                    <a:lnTo>
                      <a:pt x="3638" y="1359"/>
                    </a:lnTo>
                    <a:lnTo>
                      <a:pt x="3638" y="1366"/>
                    </a:lnTo>
                    <a:lnTo>
                      <a:pt x="3612" y="1378"/>
                    </a:lnTo>
                    <a:lnTo>
                      <a:pt x="3579" y="1382"/>
                    </a:lnTo>
                    <a:lnTo>
                      <a:pt x="3532" y="1366"/>
                    </a:lnTo>
                    <a:lnTo>
                      <a:pt x="3525" y="1349"/>
                    </a:lnTo>
                    <a:lnTo>
                      <a:pt x="3504" y="1359"/>
                    </a:lnTo>
                    <a:lnTo>
                      <a:pt x="3525" y="1326"/>
                    </a:lnTo>
                    <a:lnTo>
                      <a:pt x="3494" y="1349"/>
                    </a:lnTo>
                    <a:lnTo>
                      <a:pt x="3504" y="1366"/>
                    </a:lnTo>
                    <a:lnTo>
                      <a:pt x="3470" y="1366"/>
                    </a:lnTo>
                    <a:lnTo>
                      <a:pt x="3433" y="1342"/>
                    </a:lnTo>
                    <a:lnTo>
                      <a:pt x="3440" y="1326"/>
                    </a:lnTo>
                    <a:lnTo>
                      <a:pt x="3423" y="1304"/>
                    </a:lnTo>
                    <a:lnTo>
                      <a:pt x="3440" y="1292"/>
                    </a:lnTo>
                    <a:lnTo>
                      <a:pt x="3433" y="1288"/>
                    </a:lnTo>
                    <a:lnTo>
                      <a:pt x="3402" y="1276"/>
                    </a:lnTo>
                    <a:lnTo>
                      <a:pt x="3407" y="1250"/>
                    </a:lnTo>
                    <a:lnTo>
                      <a:pt x="3440" y="1222"/>
                    </a:lnTo>
                    <a:lnTo>
                      <a:pt x="3423" y="1210"/>
                    </a:lnTo>
                    <a:lnTo>
                      <a:pt x="3433" y="1181"/>
                    </a:lnTo>
                    <a:lnTo>
                      <a:pt x="3395" y="1165"/>
                    </a:lnTo>
                    <a:lnTo>
                      <a:pt x="3395" y="1155"/>
                    </a:lnTo>
                    <a:lnTo>
                      <a:pt x="3364" y="1111"/>
                    </a:lnTo>
                    <a:lnTo>
                      <a:pt x="3310" y="1127"/>
                    </a:lnTo>
                    <a:lnTo>
                      <a:pt x="3201" y="1127"/>
                    </a:lnTo>
                    <a:lnTo>
                      <a:pt x="3201" y="1122"/>
                    </a:lnTo>
                    <a:lnTo>
                      <a:pt x="3239" y="1122"/>
                    </a:lnTo>
                    <a:lnTo>
                      <a:pt x="3170" y="1106"/>
                    </a:lnTo>
                    <a:lnTo>
                      <a:pt x="3147" y="1087"/>
                    </a:lnTo>
                    <a:lnTo>
                      <a:pt x="3185" y="1070"/>
                    </a:lnTo>
                    <a:lnTo>
                      <a:pt x="3154" y="1082"/>
                    </a:lnTo>
                    <a:lnTo>
                      <a:pt x="3095" y="1054"/>
                    </a:lnTo>
                    <a:lnTo>
                      <a:pt x="3100" y="1044"/>
                    </a:lnTo>
                    <a:lnTo>
                      <a:pt x="3133" y="1054"/>
                    </a:lnTo>
                    <a:lnTo>
                      <a:pt x="3100" y="1033"/>
                    </a:lnTo>
                    <a:lnTo>
                      <a:pt x="3095" y="1028"/>
                    </a:lnTo>
                    <a:lnTo>
                      <a:pt x="3109" y="1028"/>
                    </a:lnTo>
                    <a:lnTo>
                      <a:pt x="3100" y="1016"/>
                    </a:lnTo>
                    <a:lnTo>
                      <a:pt x="3180" y="1011"/>
                    </a:lnTo>
                    <a:lnTo>
                      <a:pt x="3277" y="1033"/>
                    </a:lnTo>
                    <a:lnTo>
                      <a:pt x="3315" y="1028"/>
                    </a:lnTo>
                    <a:lnTo>
                      <a:pt x="3352" y="1054"/>
                    </a:lnTo>
                    <a:lnTo>
                      <a:pt x="3348" y="1087"/>
                    </a:lnTo>
                    <a:lnTo>
                      <a:pt x="3326" y="1099"/>
                    </a:lnTo>
                    <a:lnTo>
                      <a:pt x="3331" y="1111"/>
                    </a:lnTo>
                    <a:lnTo>
                      <a:pt x="3364" y="1070"/>
                    </a:lnTo>
                    <a:lnTo>
                      <a:pt x="3508" y="1070"/>
                    </a:lnTo>
                    <a:lnTo>
                      <a:pt x="3546" y="1099"/>
                    </a:lnTo>
                    <a:lnTo>
                      <a:pt x="3470" y="1087"/>
                    </a:lnTo>
                    <a:lnTo>
                      <a:pt x="3633" y="1127"/>
                    </a:lnTo>
                    <a:lnTo>
                      <a:pt x="3546" y="1144"/>
                    </a:lnTo>
                    <a:lnTo>
                      <a:pt x="3570" y="1144"/>
                    </a:lnTo>
                    <a:lnTo>
                      <a:pt x="3461" y="1127"/>
                    </a:lnTo>
                    <a:lnTo>
                      <a:pt x="3532" y="1155"/>
                    </a:lnTo>
                    <a:lnTo>
                      <a:pt x="3515" y="1160"/>
                    </a:lnTo>
                    <a:lnTo>
                      <a:pt x="3563" y="1160"/>
                    </a:lnTo>
                    <a:lnTo>
                      <a:pt x="3494" y="1160"/>
                    </a:lnTo>
                    <a:lnTo>
                      <a:pt x="3508" y="1177"/>
                    </a:lnTo>
                    <a:lnTo>
                      <a:pt x="3504" y="1177"/>
                    </a:lnTo>
                    <a:lnTo>
                      <a:pt x="3504" y="1193"/>
                    </a:lnTo>
                    <a:lnTo>
                      <a:pt x="3525" y="1165"/>
                    </a:lnTo>
                    <a:lnTo>
                      <a:pt x="3546" y="1165"/>
                    </a:lnTo>
                    <a:lnTo>
                      <a:pt x="3541" y="1181"/>
                    </a:lnTo>
                    <a:lnTo>
                      <a:pt x="3579" y="1165"/>
                    </a:lnTo>
                    <a:lnTo>
                      <a:pt x="3600" y="1181"/>
                    </a:lnTo>
                    <a:lnTo>
                      <a:pt x="3596" y="1198"/>
                    </a:lnTo>
                    <a:lnTo>
                      <a:pt x="3612" y="1181"/>
                    </a:lnTo>
                    <a:lnTo>
                      <a:pt x="3633" y="1198"/>
                    </a:lnTo>
                    <a:lnTo>
                      <a:pt x="3633" y="1222"/>
                    </a:lnTo>
                    <a:lnTo>
                      <a:pt x="3596" y="1233"/>
                    </a:lnTo>
                    <a:lnTo>
                      <a:pt x="3612" y="1233"/>
                    </a:lnTo>
                    <a:lnTo>
                      <a:pt x="3600" y="1233"/>
                    </a:lnTo>
                    <a:lnTo>
                      <a:pt x="3633" y="1222"/>
                    </a:lnTo>
                    <a:lnTo>
                      <a:pt x="3650" y="1250"/>
                    </a:lnTo>
                    <a:lnTo>
                      <a:pt x="3667" y="1250"/>
                    </a:lnTo>
                    <a:lnTo>
                      <a:pt x="3655" y="1222"/>
                    </a:lnTo>
                    <a:lnTo>
                      <a:pt x="3667" y="1215"/>
                    </a:lnTo>
                    <a:lnTo>
                      <a:pt x="3704" y="1233"/>
                    </a:lnTo>
                    <a:lnTo>
                      <a:pt x="3704" y="1238"/>
                    </a:lnTo>
                    <a:lnTo>
                      <a:pt x="3742" y="1233"/>
                    </a:lnTo>
                    <a:lnTo>
                      <a:pt x="3759" y="1238"/>
                    </a:lnTo>
                    <a:lnTo>
                      <a:pt x="3747" y="1250"/>
                    </a:lnTo>
                    <a:lnTo>
                      <a:pt x="3759" y="1238"/>
                    </a:lnTo>
                    <a:lnTo>
                      <a:pt x="3759" y="1233"/>
                    </a:lnTo>
                    <a:lnTo>
                      <a:pt x="3763" y="1222"/>
                    </a:lnTo>
                    <a:lnTo>
                      <a:pt x="3773" y="1222"/>
                    </a:lnTo>
                    <a:lnTo>
                      <a:pt x="3834" y="1250"/>
                    </a:lnTo>
                    <a:lnTo>
                      <a:pt x="3818" y="1267"/>
                    </a:lnTo>
                    <a:lnTo>
                      <a:pt x="3818" y="1267"/>
                    </a:lnTo>
                    <a:lnTo>
                      <a:pt x="3818" y="1267"/>
                    </a:lnTo>
                    <a:close/>
                    <a:moveTo>
                      <a:pt x="3071" y="1011"/>
                    </a:moveTo>
                    <a:lnTo>
                      <a:pt x="3078" y="1016"/>
                    </a:lnTo>
                    <a:lnTo>
                      <a:pt x="3057" y="1016"/>
                    </a:lnTo>
                    <a:lnTo>
                      <a:pt x="3071" y="1011"/>
                    </a:lnTo>
                    <a:lnTo>
                      <a:pt x="3071" y="1011"/>
                    </a:lnTo>
                    <a:lnTo>
                      <a:pt x="3071" y="1011"/>
                    </a:lnTo>
                    <a:close/>
                    <a:moveTo>
                      <a:pt x="2230" y="1028"/>
                    </a:moveTo>
                    <a:lnTo>
                      <a:pt x="2235" y="1033"/>
                    </a:lnTo>
                    <a:lnTo>
                      <a:pt x="2219" y="1028"/>
                    </a:lnTo>
                    <a:lnTo>
                      <a:pt x="2230" y="1028"/>
                    </a:lnTo>
                    <a:lnTo>
                      <a:pt x="2230" y="1028"/>
                    </a:lnTo>
                    <a:lnTo>
                      <a:pt x="2230" y="1028"/>
                    </a:lnTo>
                    <a:close/>
                    <a:moveTo>
                      <a:pt x="1890" y="1066"/>
                    </a:moveTo>
                    <a:lnTo>
                      <a:pt x="1836" y="1049"/>
                    </a:lnTo>
                    <a:lnTo>
                      <a:pt x="1852" y="1033"/>
                    </a:lnTo>
                    <a:lnTo>
                      <a:pt x="1907" y="1033"/>
                    </a:lnTo>
                    <a:lnTo>
                      <a:pt x="1933" y="1049"/>
                    </a:lnTo>
                    <a:lnTo>
                      <a:pt x="1890" y="1066"/>
                    </a:lnTo>
                    <a:lnTo>
                      <a:pt x="1890" y="1066"/>
                    </a:lnTo>
                    <a:lnTo>
                      <a:pt x="1890" y="1066"/>
                    </a:lnTo>
                    <a:close/>
                    <a:moveTo>
                      <a:pt x="3078" y="1044"/>
                    </a:moveTo>
                    <a:lnTo>
                      <a:pt x="3083" y="1044"/>
                    </a:lnTo>
                    <a:lnTo>
                      <a:pt x="3071" y="1044"/>
                    </a:lnTo>
                    <a:lnTo>
                      <a:pt x="3078" y="1044"/>
                    </a:lnTo>
                    <a:lnTo>
                      <a:pt x="3078" y="1044"/>
                    </a:lnTo>
                    <a:lnTo>
                      <a:pt x="3078" y="1044"/>
                    </a:lnTo>
                    <a:close/>
                    <a:moveTo>
                      <a:pt x="2058" y="1309"/>
                    </a:moveTo>
                    <a:lnTo>
                      <a:pt x="2112" y="1276"/>
                    </a:lnTo>
                    <a:lnTo>
                      <a:pt x="2004" y="1292"/>
                    </a:lnTo>
                    <a:lnTo>
                      <a:pt x="2015" y="1276"/>
                    </a:lnTo>
                    <a:lnTo>
                      <a:pt x="1987" y="1288"/>
                    </a:lnTo>
                    <a:lnTo>
                      <a:pt x="1987" y="1271"/>
                    </a:lnTo>
                    <a:lnTo>
                      <a:pt x="1982" y="1292"/>
                    </a:lnTo>
                    <a:lnTo>
                      <a:pt x="1978" y="1292"/>
                    </a:lnTo>
                    <a:lnTo>
                      <a:pt x="1895" y="1304"/>
                    </a:lnTo>
                    <a:lnTo>
                      <a:pt x="1895" y="1292"/>
                    </a:lnTo>
                    <a:lnTo>
                      <a:pt x="1907" y="1267"/>
                    </a:lnTo>
                    <a:lnTo>
                      <a:pt x="1944" y="1255"/>
                    </a:lnTo>
                    <a:lnTo>
                      <a:pt x="1895" y="1255"/>
                    </a:lnTo>
                    <a:lnTo>
                      <a:pt x="1890" y="1250"/>
                    </a:lnTo>
                    <a:lnTo>
                      <a:pt x="1890" y="1267"/>
                    </a:lnTo>
                    <a:lnTo>
                      <a:pt x="1878" y="1276"/>
                    </a:lnTo>
                    <a:lnTo>
                      <a:pt x="1852" y="1271"/>
                    </a:lnTo>
                    <a:lnTo>
                      <a:pt x="1874" y="1288"/>
                    </a:lnTo>
                    <a:lnTo>
                      <a:pt x="1869" y="1304"/>
                    </a:lnTo>
                    <a:lnTo>
                      <a:pt x="1819" y="1321"/>
                    </a:lnTo>
                    <a:lnTo>
                      <a:pt x="1815" y="1309"/>
                    </a:lnTo>
                    <a:lnTo>
                      <a:pt x="1815" y="1292"/>
                    </a:lnTo>
                    <a:lnTo>
                      <a:pt x="1803" y="1288"/>
                    </a:lnTo>
                    <a:lnTo>
                      <a:pt x="1798" y="1292"/>
                    </a:lnTo>
                    <a:lnTo>
                      <a:pt x="1782" y="1292"/>
                    </a:lnTo>
                    <a:lnTo>
                      <a:pt x="1789" y="1309"/>
                    </a:lnTo>
                    <a:lnTo>
                      <a:pt x="1772" y="1321"/>
                    </a:lnTo>
                    <a:lnTo>
                      <a:pt x="1744" y="1304"/>
                    </a:lnTo>
                    <a:lnTo>
                      <a:pt x="1734" y="1292"/>
                    </a:lnTo>
                    <a:lnTo>
                      <a:pt x="1734" y="1276"/>
                    </a:lnTo>
                    <a:lnTo>
                      <a:pt x="1706" y="1292"/>
                    </a:lnTo>
                    <a:lnTo>
                      <a:pt x="1637" y="1276"/>
                    </a:lnTo>
                    <a:lnTo>
                      <a:pt x="1663" y="1238"/>
                    </a:lnTo>
                    <a:lnTo>
                      <a:pt x="1751" y="1238"/>
                    </a:lnTo>
                    <a:lnTo>
                      <a:pt x="1826" y="1210"/>
                    </a:lnTo>
                    <a:lnTo>
                      <a:pt x="1730" y="1233"/>
                    </a:lnTo>
                    <a:lnTo>
                      <a:pt x="1663" y="1222"/>
                    </a:lnTo>
                    <a:lnTo>
                      <a:pt x="1696" y="1198"/>
                    </a:lnTo>
                    <a:lnTo>
                      <a:pt x="1836" y="1181"/>
                    </a:lnTo>
                    <a:lnTo>
                      <a:pt x="1706" y="1177"/>
                    </a:lnTo>
                    <a:lnTo>
                      <a:pt x="1718" y="1165"/>
                    </a:lnTo>
                    <a:lnTo>
                      <a:pt x="1706" y="1160"/>
                    </a:lnTo>
                    <a:lnTo>
                      <a:pt x="1713" y="1155"/>
                    </a:lnTo>
                    <a:lnTo>
                      <a:pt x="1734" y="1139"/>
                    </a:lnTo>
                    <a:lnTo>
                      <a:pt x="1852" y="1144"/>
                    </a:lnTo>
                    <a:lnTo>
                      <a:pt x="1760" y="1122"/>
                    </a:lnTo>
                    <a:lnTo>
                      <a:pt x="1789" y="1099"/>
                    </a:lnTo>
                    <a:lnTo>
                      <a:pt x="1826" y="1087"/>
                    </a:lnTo>
                    <a:lnTo>
                      <a:pt x="1878" y="1099"/>
                    </a:lnTo>
                    <a:lnTo>
                      <a:pt x="1878" y="1122"/>
                    </a:lnTo>
                    <a:lnTo>
                      <a:pt x="1895" y="1139"/>
                    </a:lnTo>
                    <a:lnTo>
                      <a:pt x="1966" y="1127"/>
                    </a:lnTo>
                    <a:lnTo>
                      <a:pt x="2004" y="1139"/>
                    </a:lnTo>
                    <a:lnTo>
                      <a:pt x="1999" y="1155"/>
                    </a:lnTo>
                    <a:lnTo>
                      <a:pt x="2004" y="1160"/>
                    </a:lnTo>
                    <a:lnTo>
                      <a:pt x="2053" y="1177"/>
                    </a:lnTo>
                    <a:lnTo>
                      <a:pt x="2020" y="1193"/>
                    </a:lnTo>
                    <a:lnTo>
                      <a:pt x="2074" y="1193"/>
                    </a:lnTo>
                    <a:lnTo>
                      <a:pt x="2084" y="1210"/>
                    </a:lnTo>
                    <a:lnTo>
                      <a:pt x="2074" y="1222"/>
                    </a:lnTo>
                    <a:lnTo>
                      <a:pt x="2091" y="1238"/>
                    </a:lnTo>
                    <a:lnTo>
                      <a:pt x="2143" y="1233"/>
                    </a:lnTo>
                    <a:lnTo>
                      <a:pt x="2252" y="1238"/>
                    </a:lnTo>
                    <a:lnTo>
                      <a:pt x="2263" y="1215"/>
                    </a:lnTo>
                    <a:lnTo>
                      <a:pt x="2167" y="1181"/>
                    </a:lnTo>
                    <a:lnTo>
                      <a:pt x="2197" y="1177"/>
                    </a:lnTo>
                    <a:lnTo>
                      <a:pt x="2219" y="1155"/>
                    </a:lnTo>
                    <a:lnTo>
                      <a:pt x="2155" y="1122"/>
                    </a:lnTo>
                    <a:lnTo>
                      <a:pt x="2143" y="1106"/>
                    </a:lnTo>
                    <a:lnTo>
                      <a:pt x="2197" y="1087"/>
                    </a:lnTo>
                    <a:lnTo>
                      <a:pt x="2181" y="1087"/>
                    </a:lnTo>
                    <a:lnTo>
                      <a:pt x="2219" y="1049"/>
                    </a:lnTo>
                    <a:lnTo>
                      <a:pt x="2263" y="1044"/>
                    </a:lnTo>
                    <a:lnTo>
                      <a:pt x="2285" y="1054"/>
                    </a:lnTo>
                    <a:lnTo>
                      <a:pt x="2268" y="1070"/>
                    </a:lnTo>
                    <a:lnTo>
                      <a:pt x="2273" y="1106"/>
                    </a:lnTo>
                    <a:lnTo>
                      <a:pt x="2306" y="1122"/>
                    </a:lnTo>
                    <a:lnTo>
                      <a:pt x="2285" y="1144"/>
                    </a:lnTo>
                    <a:lnTo>
                      <a:pt x="2289" y="1160"/>
                    </a:lnTo>
                    <a:lnTo>
                      <a:pt x="2327" y="1160"/>
                    </a:lnTo>
                    <a:lnTo>
                      <a:pt x="2344" y="1165"/>
                    </a:lnTo>
                    <a:lnTo>
                      <a:pt x="2318" y="1198"/>
                    </a:lnTo>
                    <a:lnTo>
                      <a:pt x="2339" y="1181"/>
                    </a:lnTo>
                    <a:lnTo>
                      <a:pt x="2377" y="1181"/>
                    </a:lnTo>
                    <a:lnTo>
                      <a:pt x="2393" y="1210"/>
                    </a:lnTo>
                    <a:lnTo>
                      <a:pt x="2415" y="1198"/>
                    </a:lnTo>
                    <a:lnTo>
                      <a:pt x="2393" y="1193"/>
                    </a:lnTo>
                    <a:lnTo>
                      <a:pt x="2393" y="1165"/>
                    </a:lnTo>
                    <a:lnTo>
                      <a:pt x="2431" y="1160"/>
                    </a:lnTo>
                    <a:lnTo>
                      <a:pt x="2483" y="1177"/>
                    </a:lnTo>
                    <a:lnTo>
                      <a:pt x="2490" y="1193"/>
                    </a:lnTo>
                    <a:lnTo>
                      <a:pt x="2500" y="1215"/>
                    </a:lnTo>
                    <a:lnTo>
                      <a:pt x="2478" y="1238"/>
                    </a:lnTo>
                    <a:lnTo>
                      <a:pt x="2483" y="1250"/>
                    </a:lnTo>
                    <a:lnTo>
                      <a:pt x="2478" y="1267"/>
                    </a:lnTo>
                    <a:lnTo>
                      <a:pt x="2462" y="1276"/>
                    </a:lnTo>
                    <a:lnTo>
                      <a:pt x="2462" y="1292"/>
                    </a:lnTo>
                    <a:lnTo>
                      <a:pt x="2452" y="1292"/>
                    </a:lnTo>
                    <a:lnTo>
                      <a:pt x="2452" y="1304"/>
                    </a:lnTo>
                    <a:lnTo>
                      <a:pt x="2393" y="1326"/>
                    </a:lnTo>
                    <a:lnTo>
                      <a:pt x="2339" y="1321"/>
                    </a:lnTo>
                    <a:lnTo>
                      <a:pt x="2327" y="1292"/>
                    </a:lnTo>
                    <a:lnTo>
                      <a:pt x="2322" y="1321"/>
                    </a:lnTo>
                    <a:lnTo>
                      <a:pt x="2289" y="1326"/>
                    </a:lnTo>
                    <a:lnTo>
                      <a:pt x="2263" y="1309"/>
                    </a:lnTo>
                    <a:lnTo>
                      <a:pt x="2285" y="1321"/>
                    </a:lnTo>
                    <a:lnTo>
                      <a:pt x="2263" y="1304"/>
                    </a:lnTo>
                    <a:lnTo>
                      <a:pt x="2209" y="1333"/>
                    </a:lnTo>
                    <a:lnTo>
                      <a:pt x="2155" y="1333"/>
                    </a:lnTo>
                    <a:lnTo>
                      <a:pt x="2122" y="1359"/>
                    </a:lnTo>
                    <a:lnTo>
                      <a:pt x="2058" y="1382"/>
                    </a:lnTo>
                    <a:lnTo>
                      <a:pt x="1982" y="1399"/>
                    </a:lnTo>
                    <a:lnTo>
                      <a:pt x="1911" y="1387"/>
                    </a:lnTo>
                    <a:lnTo>
                      <a:pt x="1869" y="1359"/>
                    </a:lnTo>
                    <a:lnTo>
                      <a:pt x="1978" y="1321"/>
                    </a:lnTo>
                    <a:lnTo>
                      <a:pt x="2058" y="1309"/>
                    </a:lnTo>
                    <a:lnTo>
                      <a:pt x="2058" y="1309"/>
                    </a:lnTo>
                    <a:lnTo>
                      <a:pt x="2058" y="1309"/>
                    </a:lnTo>
                    <a:close/>
                    <a:moveTo>
                      <a:pt x="3579" y="1099"/>
                    </a:moveTo>
                    <a:lnTo>
                      <a:pt x="3532" y="1054"/>
                    </a:lnTo>
                    <a:lnTo>
                      <a:pt x="3579" y="1044"/>
                    </a:lnTo>
                    <a:lnTo>
                      <a:pt x="3600" y="1054"/>
                    </a:lnTo>
                    <a:lnTo>
                      <a:pt x="3584" y="1070"/>
                    </a:lnTo>
                    <a:lnTo>
                      <a:pt x="3600" y="1087"/>
                    </a:lnTo>
                    <a:lnTo>
                      <a:pt x="3579" y="1099"/>
                    </a:lnTo>
                    <a:lnTo>
                      <a:pt x="3579" y="1099"/>
                    </a:lnTo>
                    <a:lnTo>
                      <a:pt x="3579" y="1099"/>
                    </a:lnTo>
                    <a:close/>
                    <a:moveTo>
                      <a:pt x="2856" y="1054"/>
                    </a:moveTo>
                    <a:lnTo>
                      <a:pt x="2785" y="1082"/>
                    </a:lnTo>
                    <a:lnTo>
                      <a:pt x="2759" y="1082"/>
                    </a:lnTo>
                    <a:lnTo>
                      <a:pt x="2823" y="1054"/>
                    </a:lnTo>
                    <a:lnTo>
                      <a:pt x="2856" y="1054"/>
                    </a:lnTo>
                    <a:lnTo>
                      <a:pt x="2856" y="1054"/>
                    </a:lnTo>
                    <a:lnTo>
                      <a:pt x="2856" y="1054"/>
                    </a:lnTo>
                    <a:close/>
                    <a:moveTo>
                      <a:pt x="1404" y="1054"/>
                    </a:moveTo>
                    <a:lnTo>
                      <a:pt x="1411" y="1054"/>
                    </a:lnTo>
                    <a:lnTo>
                      <a:pt x="1389" y="1054"/>
                    </a:lnTo>
                    <a:lnTo>
                      <a:pt x="1404" y="1054"/>
                    </a:lnTo>
                    <a:lnTo>
                      <a:pt x="1404" y="1054"/>
                    </a:lnTo>
                    <a:lnTo>
                      <a:pt x="1404" y="1054"/>
                    </a:lnTo>
                    <a:close/>
                    <a:moveTo>
                      <a:pt x="2911" y="1054"/>
                    </a:moveTo>
                    <a:lnTo>
                      <a:pt x="2915" y="1066"/>
                    </a:lnTo>
                    <a:lnTo>
                      <a:pt x="2868" y="1054"/>
                    </a:lnTo>
                    <a:lnTo>
                      <a:pt x="2911" y="1054"/>
                    </a:lnTo>
                    <a:lnTo>
                      <a:pt x="2911" y="1054"/>
                    </a:lnTo>
                    <a:lnTo>
                      <a:pt x="2911" y="1054"/>
                    </a:lnTo>
                    <a:close/>
                    <a:moveTo>
                      <a:pt x="2899" y="1155"/>
                    </a:moveTo>
                    <a:lnTo>
                      <a:pt x="2915" y="1144"/>
                    </a:lnTo>
                    <a:lnTo>
                      <a:pt x="2844" y="1139"/>
                    </a:lnTo>
                    <a:lnTo>
                      <a:pt x="2840" y="1127"/>
                    </a:lnTo>
                    <a:lnTo>
                      <a:pt x="2882" y="1122"/>
                    </a:lnTo>
                    <a:lnTo>
                      <a:pt x="2830" y="1111"/>
                    </a:lnTo>
                    <a:lnTo>
                      <a:pt x="2807" y="1087"/>
                    </a:lnTo>
                    <a:lnTo>
                      <a:pt x="2856" y="1070"/>
                    </a:lnTo>
                    <a:lnTo>
                      <a:pt x="2899" y="1070"/>
                    </a:lnTo>
                    <a:lnTo>
                      <a:pt x="2937" y="1106"/>
                    </a:lnTo>
                    <a:lnTo>
                      <a:pt x="2937" y="1099"/>
                    </a:lnTo>
                    <a:lnTo>
                      <a:pt x="2953" y="1106"/>
                    </a:lnTo>
                    <a:lnTo>
                      <a:pt x="2948" y="1087"/>
                    </a:lnTo>
                    <a:lnTo>
                      <a:pt x="2948" y="1070"/>
                    </a:lnTo>
                    <a:lnTo>
                      <a:pt x="2986" y="1070"/>
                    </a:lnTo>
                    <a:lnTo>
                      <a:pt x="2953" y="1066"/>
                    </a:lnTo>
                    <a:lnTo>
                      <a:pt x="2970" y="1066"/>
                    </a:lnTo>
                    <a:lnTo>
                      <a:pt x="3029" y="1087"/>
                    </a:lnTo>
                    <a:lnTo>
                      <a:pt x="3041" y="1106"/>
                    </a:lnTo>
                    <a:lnTo>
                      <a:pt x="3029" y="1111"/>
                    </a:lnTo>
                    <a:lnTo>
                      <a:pt x="3041" y="1127"/>
                    </a:lnTo>
                    <a:lnTo>
                      <a:pt x="3057" y="1144"/>
                    </a:lnTo>
                    <a:lnTo>
                      <a:pt x="3041" y="1165"/>
                    </a:lnTo>
                    <a:lnTo>
                      <a:pt x="3045" y="1193"/>
                    </a:lnTo>
                    <a:lnTo>
                      <a:pt x="3024" y="1210"/>
                    </a:lnTo>
                    <a:lnTo>
                      <a:pt x="3062" y="1215"/>
                    </a:lnTo>
                    <a:lnTo>
                      <a:pt x="3057" y="1238"/>
                    </a:lnTo>
                    <a:lnTo>
                      <a:pt x="3071" y="1255"/>
                    </a:lnTo>
                    <a:lnTo>
                      <a:pt x="3041" y="1233"/>
                    </a:lnTo>
                    <a:lnTo>
                      <a:pt x="3029" y="1233"/>
                    </a:lnTo>
                    <a:lnTo>
                      <a:pt x="3029" y="1250"/>
                    </a:lnTo>
                    <a:lnTo>
                      <a:pt x="3019" y="1238"/>
                    </a:lnTo>
                    <a:lnTo>
                      <a:pt x="3029" y="1250"/>
                    </a:lnTo>
                    <a:lnTo>
                      <a:pt x="3019" y="1255"/>
                    </a:lnTo>
                    <a:lnTo>
                      <a:pt x="3024" y="1255"/>
                    </a:lnTo>
                    <a:lnTo>
                      <a:pt x="3007" y="1255"/>
                    </a:lnTo>
                    <a:lnTo>
                      <a:pt x="3007" y="1271"/>
                    </a:lnTo>
                    <a:lnTo>
                      <a:pt x="3045" y="1288"/>
                    </a:lnTo>
                    <a:lnTo>
                      <a:pt x="3024" y="1292"/>
                    </a:lnTo>
                    <a:lnTo>
                      <a:pt x="3019" y="1276"/>
                    </a:lnTo>
                    <a:lnTo>
                      <a:pt x="3007" y="1288"/>
                    </a:lnTo>
                    <a:lnTo>
                      <a:pt x="3019" y="1292"/>
                    </a:lnTo>
                    <a:lnTo>
                      <a:pt x="3019" y="1309"/>
                    </a:lnTo>
                    <a:lnTo>
                      <a:pt x="2915" y="1309"/>
                    </a:lnTo>
                    <a:lnTo>
                      <a:pt x="2920" y="1292"/>
                    </a:lnTo>
                    <a:lnTo>
                      <a:pt x="2911" y="1309"/>
                    </a:lnTo>
                    <a:lnTo>
                      <a:pt x="2915" y="1309"/>
                    </a:lnTo>
                    <a:lnTo>
                      <a:pt x="2868" y="1309"/>
                    </a:lnTo>
                    <a:lnTo>
                      <a:pt x="2844" y="1309"/>
                    </a:lnTo>
                    <a:lnTo>
                      <a:pt x="2844" y="1288"/>
                    </a:lnTo>
                    <a:lnTo>
                      <a:pt x="2840" y="1288"/>
                    </a:lnTo>
                    <a:lnTo>
                      <a:pt x="2878" y="1276"/>
                    </a:lnTo>
                    <a:lnTo>
                      <a:pt x="2823" y="1267"/>
                    </a:lnTo>
                    <a:lnTo>
                      <a:pt x="2844" y="1255"/>
                    </a:lnTo>
                    <a:lnTo>
                      <a:pt x="2830" y="1250"/>
                    </a:lnTo>
                    <a:lnTo>
                      <a:pt x="2878" y="1250"/>
                    </a:lnTo>
                    <a:lnTo>
                      <a:pt x="2856" y="1238"/>
                    </a:lnTo>
                    <a:lnTo>
                      <a:pt x="2899" y="1222"/>
                    </a:lnTo>
                    <a:lnTo>
                      <a:pt x="2882" y="1222"/>
                    </a:lnTo>
                    <a:lnTo>
                      <a:pt x="2894" y="1215"/>
                    </a:lnTo>
                    <a:lnTo>
                      <a:pt x="2953" y="1210"/>
                    </a:lnTo>
                    <a:lnTo>
                      <a:pt x="2700" y="1238"/>
                    </a:lnTo>
                    <a:lnTo>
                      <a:pt x="2679" y="1222"/>
                    </a:lnTo>
                    <a:lnTo>
                      <a:pt x="2700" y="1210"/>
                    </a:lnTo>
                    <a:lnTo>
                      <a:pt x="2738" y="1210"/>
                    </a:lnTo>
                    <a:lnTo>
                      <a:pt x="2731" y="1198"/>
                    </a:lnTo>
                    <a:lnTo>
                      <a:pt x="2705" y="1198"/>
                    </a:lnTo>
                    <a:lnTo>
                      <a:pt x="2722" y="1181"/>
                    </a:lnTo>
                    <a:lnTo>
                      <a:pt x="2793" y="1198"/>
                    </a:lnTo>
                    <a:lnTo>
                      <a:pt x="2785" y="1198"/>
                    </a:lnTo>
                    <a:lnTo>
                      <a:pt x="2785" y="1193"/>
                    </a:lnTo>
                    <a:lnTo>
                      <a:pt x="2769" y="1177"/>
                    </a:lnTo>
                    <a:lnTo>
                      <a:pt x="2785" y="1160"/>
                    </a:lnTo>
                    <a:lnTo>
                      <a:pt x="2759" y="1165"/>
                    </a:lnTo>
                    <a:lnTo>
                      <a:pt x="2748" y="1155"/>
                    </a:lnTo>
                    <a:lnTo>
                      <a:pt x="2776" y="1127"/>
                    </a:lnTo>
                    <a:lnTo>
                      <a:pt x="2722" y="1127"/>
                    </a:lnTo>
                    <a:lnTo>
                      <a:pt x="2731" y="1127"/>
                    </a:lnTo>
                    <a:lnTo>
                      <a:pt x="2731" y="1106"/>
                    </a:lnTo>
                    <a:lnTo>
                      <a:pt x="2748" y="1099"/>
                    </a:lnTo>
                    <a:lnTo>
                      <a:pt x="2785" y="1106"/>
                    </a:lnTo>
                    <a:lnTo>
                      <a:pt x="2878" y="1181"/>
                    </a:lnTo>
                    <a:lnTo>
                      <a:pt x="2915" y="1165"/>
                    </a:lnTo>
                    <a:lnTo>
                      <a:pt x="2882" y="1177"/>
                    </a:lnTo>
                    <a:lnTo>
                      <a:pt x="2861" y="1144"/>
                    </a:lnTo>
                    <a:lnTo>
                      <a:pt x="2899" y="1155"/>
                    </a:lnTo>
                    <a:lnTo>
                      <a:pt x="2899" y="1155"/>
                    </a:lnTo>
                    <a:lnTo>
                      <a:pt x="2899" y="1155"/>
                    </a:lnTo>
                    <a:close/>
                    <a:moveTo>
                      <a:pt x="2587" y="1066"/>
                    </a:moveTo>
                    <a:lnTo>
                      <a:pt x="2596" y="1070"/>
                    </a:lnTo>
                    <a:lnTo>
                      <a:pt x="2592" y="1082"/>
                    </a:lnTo>
                    <a:lnTo>
                      <a:pt x="2608" y="1070"/>
                    </a:lnTo>
                    <a:lnTo>
                      <a:pt x="2667" y="1106"/>
                    </a:lnTo>
                    <a:lnTo>
                      <a:pt x="2630" y="1122"/>
                    </a:lnTo>
                    <a:lnTo>
                      <a:pt x="2570" y="1122"/>
                    </a:lnTo>
                    <a:lnTo>
                      <a:pt x="2575" y="1111"/>
                    </a:lnTo>
                    <a:lnTo>
                      <a:pt x="2570" y="1099"/>
                    </a:lnTo>
                    <a:lnTo>
                      <a:pt x="2542" y="1082"/>
                    </a:lnTo>
                    <a:lnTo>
                      <a:pt x="2587" y="1066"/>
                    </a:lnTo>
                    <a:lnTo>
                      <a:pt x="2587" y="1066"/>
                    </a:lnTo>
                    <a:lnTo>
                      <a:pt x="2587" y="1066"/>
                    </a:lnTo>
                    <a:close/>
                    <a:moveTo>
                      <a:pt x="3990" y="1087"/>
                    </a:moveTo>
                    <a:lnTo>
                      <a:pt x="4000" y="1099"/>
                    </a:lnTo>
                    <a:lnTo>
                      <a:pt x="3990" y="1099"/>
                    </a:lnTo>
                    <a:lnTo>
                      <a:pt x="3990" y="1087"/>
                    </a:lnTo>
                    <a:lnTo>
                      <a:pt x="3990" y="1087"/>
                    </a:lnTo>
                    <a:lnTo>
                      <a:pt x="3990" y="1087"/>
                    </a:lnTo>
                    <a:close/>
                    <a:moveTo>
                      <a:pt x="3612" y="1099"/>
                    </a:moveTo>
                    <a:lnTo>
                      <a:pt x="3617" y="1099"/>
                    </a:lnTo>
                    <a:lnTo>
                      <a:pt x="3600" y="1099"/>
                    </a:lnTo>
                    <a:lnTo>
                      <a:pt x="3612" y="1099"/>
                    </a:lnTo>
                    <a:lnTo>
                      <a:pt x="3612" y="1099"/>
                    </a:lnTo>
                    <a:lnTo>
                      <a:pt x="3612" y="1099"/>
                    </a:lnTo>
                    <a:close/>
                    <a:moveTo>
                      <a:pt x="2693" y="1122"/>
                    </a:moveTo>
                    <a:lnTo>
                      <a:pt x="2700" y="1139"/>
                    </a:lnTo>
                    <a:lnTo>
                      <a:pt x="2693" y="1144"/>
                    </a:lnTo>
                    <a:lnTo>
                      <a:pt x="2646" y="1160"/>
                    </a:lnTo>
                    <a:lnTo>
                      <a:pt x="2596" y="1160"/>
                    </a:lnTo>
                    <a:lnTo>
                      <a:pt x="2608" y="1160"/>
                    </a:lnTo>
                    <a:lnTo>
                      <a:pt x="2559" y="1144"/>
                    </a:lnTo>
                    <a:lnTo>
                      <a:pt x="2575" y="1139"/>
                    </a:lnTo>
                    <a:lnTo>
                      <a:pt x="2693" y="1122"/>
                    </a:lnTo>
                    <a:lnTo>
                      <a:pt x="2693" y="1122"/>
                    </a:lnTo>
                    <a:lnTo>
                      <a:pt x="2693" y="1122"/>
                    </a:lnTo>
                    <a:close/>
                    <a:moveTo>
                      <a:pt x="3239" y="1144"/>
                    </a:moveTo>
                    <a:lnTo>
                      <a:pt x="3234" y="1160"/>
                    </a:lnTo>
                    <a:lnTo>
                      <a:pt x="3218" y="1155"/>
                    </a:lnTo>
                    <a:lnTo>
                      <a:pt x="3239" y="1144"/>
                    </a:lnTo>
                    <a:lnTo>
                      <a:pt x="3239" y="1144"/>
                    </a:lnTo>
                    <a:lnTo>
                      <a:pt x="3239" y="1144"/>
                    </a:lnTo>
                    <a:close/>
                    <a:moveTo>
                      <a:pt x="4356" y="1155"/>
                    </a:moveTo>
                    <a:lnTo>
                      <a:pt x="4368" y="1155"/>
                    </a:lnTo>
                    <a:lnTo>
                      <a:pt x="4335" y="1177"/>
                    </a:lnTo>
                    <a:lnTo>
                      <a:pt x="4356" y="1193"/>
                    </a:lnTo>
                    <a:lnTo>
                      <a:pt x="4323" y="1181"/>
                    </a:lnTo>
                    <a:lnTo>
                      <a:pt x="4318" y="1193"/>
                    </a:lnTo>
                    <a:lnTo>
                      <a:pt x="4297" y="1181"/>
                    </a:lnTo>
                    <a:lnTo>
                      <a:pt x="4356" y="1155"/>
                    </a:lnTo>
                    <a:lnTo>
                      <a:pt x="4356" y="1155"/>
                    </a:lnTo>
                    <a:lnTo>
                      <a:pt x="4356" y="1155"/>
                    </a:lnTo>
                    <a:close/>
                    <a:moveTo>
                      <a:pt x="1642" y="1155"/>
                    </a:moveTo>
                    <a:lnTo>
                      <a:pt x="1654" y="1155"/>
                    </a:lnTo>
                    <a:lnTo>
                      <a:pt x="1588" y="1233"/>
                    </a:lnTo>
                    <a:lnTo>
                      <a:pt x="1571" y="1238"/>
                    </a:lnTo>
                    <a:lnTo>
                      <a:pt x="1512" y="1222"/>
                    </a:lnTo>
                    <a:lnTo>
                      <a:pt x="1571" y="1177"/>
                    </a:lnTo>
                    <a:lnTo>
                      <a:pt x="1642" y="1155"/>
                    </a:lnTo>
                    <a:lnTo>
                      <a:pt x="1642" y="1155"/>
                    </a:lnTo>
                    <a:lnTo>
                      <a:pt x="1642" y="1155"/>
                    </a:lnTo>
                    <a:close/>
                    <a:moveTo>
                      <a:pt x="2717" y="1155"/>
                    </a:moveTo>
                    <a:lnTo>
                      <a:pt x="2705" y="1165"/>
                    </a:lnTo>
                    <a:lnTo>
                      <a:pt x="2646" y="1177"/>
                    </a:lnTo>
                    <a:lnTo>
                      <a:pt x="2596" y="1177"/>
                    </a:lnTo>
                    <a:lnTo>
                      <a:pt x="2717" y="1155"/>
                    </a:lnTo>
                    <a:lnTo>
                      <a:pt x="2717" y="1155"/>
                    </a:lnTo>
                    <a:lnTo>
                      <a:pt x="2717" y="1155"/>
                    </a:lnTo>
                    <a:close/>
                    <a:moveTo>
                      <a:pt x="1276" y="1160"/>
                    </a:moveTo>
                    <a:lnTo>
                      <a:pt x="1285" y="1160"/>
                    </a:lnTo>
                    <a:lnTo>
                      <a:pt x="1276" y="1165"/>
                    </a:lnTo>
                    <a:lnTo>
                      <a:pt x="1276" y="1160"/>
                    </a:lnTo>
                    <a:lnTo>
                      <a:pt x="1276" y="1160"/>
                    </a:lnTo>
                    <a:lnTo>
                      <a:pt x="1276" y="1160"/>
                    </a:lnTo>
                    <a:close/>
                    <a:moveTo>
                      <a:pt x="2738" y="1177"/>
                    </a:moveTo>
                    <a:lnTo>
                      <a:pt x="2693" y="1198"/>
                    </a:lnTo>
                    <a:lnTo>
                      <a:pt x="2641" y="1198"/>
                    </a:lnTo>
                    <a:lnTo>
                      <a:pt x="2684" y="1177"/>
                    </a:lnTo>
                    <a:lnTo>
                      <a:pt x="2738" y="1177"/>
                    </a:lnTo>
                    <a:lnTo>
                      <a:pt x="2738" y="1177"/>
                    </a:lnTo>
                    <a:lnTo>
                      <a:pt x="2738" y="1177"/>
                    </a:lnTo>
                    <a:close/>
                    <a:moveTo>
                      <a:pt x="3260" y="1165"/>
                    </a:moveTo>
                    <a:lnTo>
                      <a:pt x="3277" y="1198"/>
                    </a:lnTo>
                    <a:lnTo>
                      <a:pt x="3244" y="1198"/>
                    </a:lnTo>
                    <a:lnTo>
                      <a:pt x="3234" y="1177"/>
                    </a:lnTo>
                    <a:lnTo>
                      <a:pt x="3260" y="1165"/>
                    </a:lnTo>
                    <a:lnTo>
                      <a:pt x="3260" y="1165"/>
                    </a:lnTo>
                    <a:lnTo>
                      <a:pt x="3260" y="1165"/>
                    </a:lnTo>
                    <a:close/>
                    <a:moveTo>
                      <a:pt x="3170" y="1181"/>
                    </a:moveTo>
                    <a:lnTo>
                      <a:pt x="3163" y="1177"/>
                    </a:lnTo>
                    <a:lnTo>
                      <a:pt x="3180" y="1165"/>
                    </a:lnTo>
                    <a:lnTo>
                      <a:pt x="3170" y="1181"/>
                    </a:lnTo>
                    <a:lnTo>
                      <a:pt x="3170" y="1181"/>
                    </a:lnTo>
                    <a:lnTo>
                      <a:pt x="3170" y="1181"/>
                    </a:lnTo>
                    <a:close/>
                    <a:moveTo>
                      <a:pt x="1411" y="1177"/>
                    </a:moveTo>
                    <a:lnTo>
                      <a:pt x="1404" y="1210"/>
                    </a:lnTo>
                    <a:lnTo>
                      <a:pt x="1382" y="1198"/>
                    </a:lnTo>
                    <a:lnTo>
                      <a:pt x="1404" y="1193"/>
                    </a:lnTo>
                    <a:lnTo>
                      <a:pt x="1404" y="1177"/>
                    </a:lnTo>
                    <a:lnTo>
                      <a:pt x="1411" y="1177"/>
                    </a:lnTo>
                    <a:lnTo>
                      <a:pt x="1411" y="1177"/>
                    </a:lnTo>
                    <a:lnTo>
                      <a:pt x="1411" y="1177"/>
                    </a:lnTo>
                    <a:close/>
                    <a:moveTo>
                      <a:pt x="1285" y="1177"/>
                    </a:moveTo>
                    <a:lnTo>
                      <a:pt x="1314" y="1181"/>
                    </a:lnTo>
                    <a:lnTo>
                      <a:pt x="1285" y="1177"/>
                    </a:lnTo>
                    <a:lnTo>
                      <a:pt x="1285" y="1177"/>
                    </a:lnTo>
                    <a:lnTo>
                      <a:pt x="1285" y="1177"/>
                    </a:lnTo>
                    <a:close/>
                    <a:moveTo>
                      <a:pt x="3154" y="1222"/>
                    </a:moveTo>
                    <a:lnTo>
                      <a:pt x="3163" y="1233"/>
                    </a:lnTo>
                    <a:lnTo>
                      <a:pt x="3137" y="1250"/>
                    </a:lnTo>
                    <a:lnTo>
                      <a:pt x="3126" y="1233"/>
                    </a:lnTo>
                    <a:lnTo>
                      <a:pt x="3116" y="1238"/>
                    </a:lnTo>
                    <a:lnTo>
                      <a:pt x="3126" y="1250"/>
                    </a:lnTo>
                    <a:lnTo>
                      <a:pt x="3100" y="1267"/>
                    </a:lnTo>
                    <a:lnTo>
                      <a:pt x="3083" y="1238"/>
                    </a:lnTo>
                    <a:lnTo>
                      <a:pt x="3133" y="1215"/>
                    </a:lnTo>
                    <a:lnTo>
                      <a:pt x="3154" y="1222"/>
                    </a:lnTo>
                    <a:lnTo>
                      <a:pt x="3154" y="1222"/>
                    </a:lnTo>
                    <a:lnTo>
                      <a:pt x="3154" y="1222"/>
                    </a:lnTo>
                    <a:close/>
                    <a:moveTo>
                      <a:pt x="3154" y="1326"/>
                    </a:moveTo>
                    <a:lnTo>
                      <a:pt x="3147" y="1321"/>
                    </a:lnTo>
                    <a:lnTo>
                      <a:pt x="3154" y="1309"/>
                    </a:lnTo>
                    <a:lnTo>
                      <a:pt x="3133" y="1326"/>
                    </a:lnTo>
                    <a:lnTo>
                      <a:pt x="3133" y="1309"/>
                    </a:lnTo>
                    <a:lnTo>
                      <a:pt x="3116" y="1309"/>
                    </a:lnTo>
                    <a:lnTo>
                      <a:pt x="3116" y="1304"/>
                    </a:lnTo>
                    <a:lnTo>
                      <a:pt x="3126" y="1288"/>
                    </a:lnTo>
                    <a:lnTo>
                      <a:pt x="3163" y="1271"/>
                    </a:lnTo>
                    <a:lnTo>
                      <a:pt x="3154" y="1267"/>
                    </a:lnTo>
                    <a:lnTo>
                      <a:pt x="3170" y="1255"/>
                    </a:lnTo>
                    <a:lnTo>
                      <a:pt x="3147" y="1255"/>
                    </a:lnTo>
                    <a:lnTo>
                      <a:pt x="3180" y="1255"/>
                    </a:lnTo>
                    <a:lnTo>
                      <a:pt x="3170" y="1250"/>
                    </a:lnTo>
                    <a:lnTo>
                      <a:pt x="3234" y="1215"/>
                    </a:lnTo>
                    <a:lnTo>
                      <a:pt x="3272" y="1222"/>
                    </a:lnTo>
                    <a:lnTo>
                      <a:pt x="3331" y="1271"/>
                    </a:lnTo>
                    <a:lnTo>
                      <a:pt x="3343" y="1326"/>
                    </a:lnTo>
                    <a:lnTo>
                      <a:pt x="3326" y="1359"/>
                    </a:lnTo>
                    <a:lnTo>
                      <a:pt x="3256" y="1366"/>
                    </a:lnTo>
                    <a:lnTo>
                      <a:pt x="3154" y="1326"/>
                    </a:lnTo>
                    <a:lnTo>
                      <a:pt x="3154" y="1326"/>
                    </a:lnTo>
                    <a:lnTo>
                      <a:pt x="3154" y="1326"/>
                    </a:lnTo>
                    <a:close/>
                    <a:moveTo>
                      <a:pt x="2844" y="1233"/>
                    </a:moveTo>
                    <a:lnTo>
                      <a:pt x="2856" y="1222"/>
                    </a:lnTo>
                    <a:lnTo>
                      <a:pt x="2802" y="1233"/>
                    </a:lnTo>
                    <a:lnTo>
                      <a:pt x="2861" y="1222"/>
                    </a:lnTo>
                    <a:lnTo>
                      <a:pt x="2844" y="1233"/>
                    </a:lnTo>
                    <a:lnTo>
                      <a:pt x="2844" y="1233"/>
                    </a:lnTo>
                    <a:lnTo>
                      <a:pt x="2844" y="1233"/>
                    </a:lnTo>
                    <a:close/>
                    <a:moveTo>
                      <a:pt x="2587" y="1250"/>
                    </a:moveTo>
                    <a:lnTo>
                      <a:pt x="2608" y="1267"/>
                    </a:lnTo>
                    <a:lnTo>
                      <a:pt x="2625" y="1288"/>
                    </a:lnTo>
                    <a:lnTo>
                      <a:pt x="2575" y="1309"/>
                    </a:lnTo>
                    <a:lnTo>
                      <a:pt x="2537" y="1292"/>
                    </a:lnTo>
                    <a:lnTo>
                      <a:pt x="2542" y="1267"/>
                    </a:lnTo>
                    <a:lnTo>
                      <a:pt x="2587" y="1250"/>
                    </a:lnTo>
                    <a:lnTo>
                      <a:pt x="2587" y="1250"/>
                    </a:lnTo>
                    <a:lnTo>
                      <a:pt x="2587" y="1250"/>
                    </a:lnTo>
                    <a:close/>
                    <a:moveTo>
                      <a:pt x="3071" y="1267"/>
                    </a:moveTo>
                    <a:lnTo>
                      <a:pt x="3078" y="1276"/>
                    </a:lnTo>
                    <a:lnTo>
                      <a:pt x="3071" y="1267"/>
                    </a:lnTo>
                    <a:lnTo>
                      <a:pt x="3071" y="1267"/>
                    </a:lnTo>
                    <a:lnTo>
                      <a:pt x="3071" y="1267"/>
                    </a:lnTo>
                    <a:close/>
                    <a:moveTo>
                      <a:pt x="3185" y="1366"/>
                    </a:moveTo>
                    <a:lnTo>
                      <a:pt x="3208" y="1382"/>
                    </a:lnTo>
                    <a:lnTo>
                      <a:pt x="3163" y="1378"/>
                    </a:lnTo>
                    <a:lnTo>
                      <a:pt x="3185" y="1366"/>
                    </a:lnTo>
                    <a:lnTo>
                      <a:pt x="3185" y="1366"/>
                    </a:lnTo>
                    <a:lnTo>
                      <a:pt x="3185" y="1366"/>
                    </a:lnTo>
                    <a:close/>
                    <a:moveTo>
                      <a:pt x="3062" y="1366"/>
                    </a:moveTo>
                    <a:lnTo>
                      <a:pt x="3071" y="1378"/>
                    </a:lnTo>
                    <a:lnTo>
                      <a:pt x="3045" y="1387"/>
                    </a:lnTo>
                    <a:lnTo>
                      <a:pt x="3029" y="1382"/>
                    </a:lnTo>
                    <a:lnTo>
                      <a:pt x="3062" y="1366"/>
                    </a:lnTo>
                    <a:lnTo>
                      <a:pt x="3062" y="1366"/>
                    </a:lnTo>
                    <a:lnTo>
                      <a:pt x="3062" y="1366"/>
                    </a:lnTo>
                    <a:close/>
                    <a:moveTo>
                      <a:pt x="1205" y="1493"/>
                    </a:moveTo>
                    <a:lnTo>
                      <a:pt x="1210" y="1486"/>
                    </a:lnTo>
                    <a:lnTo>
                      <a:pt x="1205" y="1477"/>
                    </a:lnTo>
                    <a:lnTo>
                      <a:pt x="1177" y="1470"/>
                    </a:lnTo>
                    <a:lnTo>
                      <a:pt x="1167" y="1437"/>
                    </a:lnTo>
                    <a:lnTo>
                      <a:pt x="1139" y="1404"/>
                    </a:lnTo>
                    <a:lnTo>
                      <a:pt x="1366" y="1378"/>
                    </a:lnTo>
                    <a:lnTo>
                      <a:pt x="1503" y="1420"/>
                    </a:lnTo>
                    <a:lnTo>
                      <a:pt x="1491" y="1444"/>
                    </a:lnTo>
                    <a:lnTo>
                      <a:pt x="1491" y="1453"/>
                    </a:lnTo>
                    <a:lnTo>
                      <a:pt x="1512" y="1420"/>
                    </a:lnTo>
                    <a:lnTo>
                      <a:pt x="1533" y="1420"/>
                    </a:lnTo>
                    <a:lnTo>
                      <a:pt x="1545" y="1437"/>
                    </a:lnTo>
                    <a:lnTo>
                      <a:pt x="1533" y="1453"/>
                    </a:lnTo>
                    <a:lnTo>
                      <a:pt x="1545" y="1453"/>
                    </a:lnTo>
                    <a:lnTo>
                      <a:pt x="1555" y="1437"/>
                    </a:lnTo>
                    <a:lnTo>
                      <a:pt x="1550" y="1432"/>
                    </a:lnTo>
                    <a:lnTo>
                      <a:pt x="1567" y="1420"/>
                    </a:lnTo>
                    <a:lnTo>
                      <a:pt x="1654" y="1420"/>
                    </a:lnTo>
                    <a:lnTo>
                      <a:pt x="1782" y="1498"/>
                    </a:lnTo>
                    <a:lnTo>
                      <a:pt x="1803" y="1526"/>
                    </a:lnTo>
                    <a:lnTo>
                      <a:pt x="1533" y="1642"/>
                    </a:lnTo>
                    <a:lnTo>
                      <a:pt x="1517" y="1682"/>
                    </a:lnTo>
                    <a:lnTo>
                      <a:pt x="1491" y="1699"/>
                    </a:lnTo>
                    <a:lnTo>
                      <a:pt x="1458" y="1692"/>
                    </a:lnTo>
                    <a:lnTo>
                      <a:pt x="1465" y="1708"/>
                    </a:lnTo>
                    <a:lnTo>
                      <a:pt x="1441" y="1737"/>
                    </a:lnTo>
                    <a:lnTo>
                      <a:pt x="1448" y="1770"/>
                    </a:lnTo>
                    <a:lnTo>
                      <a:pt x="1437" y="1793"/>
                    </a:lnTo>
                    <a:lnTo>
                      <a:pt x="1373" y="1810"/>
                    </a:lnTo>
                    <a:lnTo>
                      <a:pt x="1352" y="1803"/>
                    </a:lnTo>
                    <a:lnTo>
                      <a:pt x="1281" y="1848"/>
                    </a:lnTo>
                    <a:lnTo>
                      <a:pt x="1243" y="1843"/>
                    </a:lnTo>
                    <a:lnTo>
                      <a:pt x="1193" y="1770"/>
                    </a:lnTo>
                    <a:lnTo>
                      <a:pt x="1101" y="1737"/>
                    </a:lnTo>
                    <a:lnTo>
                      <a:pt x="1125" y="1732"/>
                    </a:lnTo>
                    <a:lnTo>
                      <a:pt x="1059" y="1732"/>
                    </a:lnTo>
                    <a:lnTo>
                      <a:pt x="1070" y="1732"/>
                    </a:lnTo>
                    <a:lnTo>
                      <a:pt x="1070" y="1708"/>
                    </a:lnTo>
                    <a:lnTo>
                      <a:pt x="1096" y="1675"/>
                    </a:lnTo>
                    <a:lnTo>
                      <a:pt x="1118" y="1654"/>
                    </a:lnTo>
                    <a:lnTo>
                      <a:pt x="1125" y="1637"/>
                    </a:lnTo>
                    <a:lnTo>
                      <a:pt x="1118" y="1621"/>
                    </a:lnTo>
                    <a:lnTo>
                      <a:pt x="1156" y="1604"/>
                    </a:lnTo>
                    <a:lnTo>
                      <a:pt x="1134" y="1581"/>
                    </a:lnTo>
                    <a:lnTo>
                      <a:pt x="1167" y="1531"/>
                    </a:lnTo>
                    <a:lnTo>
                      <a:pt x="1189" y="1515"/>
                    </a:lnTo>
                    <a:lnTo>
                      <a:pt x="1189" y="1498"/>
                    </a:lnTo>
                    <a:lnTo>
                      <a:pt x="1205" y="1493"/>
                    </a:lnTo>
                    <a:lnTo>
                      <a:pt x="1205" y="1493"/>
                    </a:lnTo>
                    <a:lnTo>
                      <a:pt x="1205" y="1493"/>
                    </a:lnTo>
                    <a:close/>
                    <a:moveTo>
                      <a:pt x="2974" y="1404"/>
                    </a:moveTo>
                    <a:lnTo>
                      <a:pt x="2953" y="1415"/>
                    </a:lnTo>
                    <a:lnTo>
                      <a:pt x="2974" y="1404"/>
                    </a:lnTo>
                    <a:lnTo>
                      <a:pt x="2974" y="1404"/>
                    </a:lnTo>
                    <a:lnTo>
                      <a:pt x="2974" y="1404"/>
                    </a:lnTo>
                    <a:close/>
                    <a:moveTo>
                      <a:pt x="3494" y="1548"/>
                    </a:moveTo>
                    <a:lnTo>
                      <a:pt x="3449" y="1609"/>
                    </a:lnTo>
                    <a:lnTo>
                      <a:pt x="3423" y="1637"/>
                    </a:lnTo>
                    <a:lnTo>
                      <a:pt x="3343" y="1621"/>
                    </a:lnTo>
                    <a:lnTo>
                      <a:pt x="3277" y="1626"/>
                    </a:lnTo>
                    <a:lnTo>
                      <a:pt x="3277" y="1637"/>
                    </a:lnTo>
                    <a:lnTo>
                      <a:pt x="3310" y="1637"/>
                    </a:lnTo>
                    <a:lnTo>
                      <a:pt x="3310" y="1642"/>
                    </a:lnTo>
                    <a:lnTo>
                      <a:pt x="3326" y="1654"/>
                    </a:lnTo>
                    <a:lnTo>
                      <a:pt x="3331" y="1666"/>
                    </a:lnTo>
                    <a:lnTo>
                      <a:pt x="3289" y="1725"/>
                    </a:lnTo>
                    <a:lnTo>
                      <a:pt x="3293" y="1732"/>
                    </a:lnTo>
                    <a:lnTo>
                      <a:pt x="3218" y="1732"/>
                    </a:lnTo>
                    <a:lnTo>
                      <a:pt x="3218" y="1715"/>
                    </a:lnTo>
                    <a:lnTo>
                      <a:pt x="3244" y="1708"/>
                    </a:lnTo>
                    <a:lnTo>
                      <a:pt x="3218" y="1708"/>
                    </a:lnTo>
                    <a:lnTo>
                      <a:pt x="3218" y="1666"/>
                    </a:lnTo>
                    <a:lnTo>
                      <a:pt x="3201" y="1642"/>
                    </a:lnTo>
                    <a:lnTo>
                      <a:pt x="3185" y="1637"/>
                    </a:lnTo>
                    <a:lnTo>
                      <a:pt x="3180" y="1581"/>
                    </a:lnTo>
                    <a:lnTo>
                      <a:pt x="3185" y="1571"/>
                    </a:lnTo>
                    <a:lnTo>
                      <a:pt x="3180" y="1515"/>
                    </a:lnTo>
                    <a:lnTo>
                      <a:pt x="3185" y="1510"/>
                    </a:lnTo>
                    <a:lnTo>
                      <a:pt x="3180" y="1493"/>
                    </a:lnTo>
                    <a:lnTo>
                      <a:pt x="3192" y="1486"/>
                    </a:lnTo>
                    <a:lnTo>
                      <a:pt x="3256" y="1498"/>
                    </a:lnTo>
                    <a:lnTo>
                      <a:pt x="3222" y="1486"/>
                    </a:lnTo>
                    <a:lnTo>
                      <a:pt x="3234" y="1477"/>
                    </a:lnTo>
                    <a:lnTo>
                      <a:pt x="3218" y="1477"/>
                    </a:lnTo>
                    <a:lnTo>
                      <a:pt x="3201" y="1460"/>
                    </a:lnTo>
                    <a:lnTo>
                      <a:pt x="3272" y="1437"/>
                    </a:lnTo>
                    <a:lnTo>
                      <a:pt x="3348" y="1432"/>
                    </a:lnTo>
                    <a:lnTo>
                      <a:pt x="3395" y="1437"/>
                    </a:lnTo>
                    <a:lnTo>
                      <a:pt x="3418" y="1453"/>
                    </a:lnTo>
                    <a:lnTo>
                      <a:pt x="3418" y="1460"/>
                    </a:lnTo>
                    <a:lnTo>
                      <a:pt x="3470" y="1453"/>
                    </a:lnTo>
                    <a:lnTo>
                      <a:pt x="3563" y="1470"/>
                    </a:lnTo>
                    <a:lnTo>
                      <a:pt x="3494" y="1548"/>
                    </a:lnTo>
                    <a:lnTo>
                      <a:pt x="3494" y="1548"/>
                    </a:lnTo>
                    <a:lnTo>
                      <a:pt x="3494" y="1548"/>
                    </a:lnTo>
                    <a:close/>
                    <a:moveTo>
                      <a:pt x="3041" y="1437"/>
                    </a:moveTo>
                    <a:lnTo>
                      <a:pt x="3029" y="1453"/>
                    </a:lnTo>
                    <a:lnTo>
                      <a:pt x="2991" y="1477"/>
                    </a:lnTo>
                    <a:lnTo>
                      <a:pt x="2948" y="1486"/>
                    </a:lnTo>
                    <a:lnTo>
                      <a:pt x="2915" y="1470"/>
                    </a:lnTo>
                    <a:lnTo>
                      <a:pt x="3041" y="1437"/>
                    </a:lnTo>
                    <a:lnTo>
                      <a:pt x="3041" y="1437"/>
                    </a:lnTo>
                    <a:lnTo>
                      <a:pt x="3041" y="1437"/>
                    </a:lnTo>
                    <a:close/>
                    <a:moveTo>
                      <a:pt x="3579" y="1453"/>
                    </a:moveTo>
                    <a:lnTo>
                      <a:pt x="3558" y="1453"/>
                    </a:lnTo>
                    <a:lnTo>
                      <a:pt x="3584" y="1444"/>
                    </a:lnTo>
                    <a:lnTo>
                      <a:pt x="3579" y="1453"/>
                    </a:lnTo>
                    <a:lnTo>
                      <a:pt x="3579" y="1453"/>
                    </a:lnTo>
                    <a:lnTo>
                      <a:pt x="3579" y="1453"/>
                    </a:lnTo>
                    <a:close/>
                    <a:moveTo>
                      <a:pt x="2807" y="1708"/>
                    </a:moveTo>
                    <a:lnTo>
                      <a:pt x="2793" y="1682"/>
                    </a:lnTo>
                    <a:lnTo>
                      <a:pt x="2755" y="1692"/>
                    </a:lnTo>
                    <a:lnTo>
                      <a:pt x="2738" y="1666"/>
                    </a:lnTo>
                    <a:lnTo>
                      <a:pt x="2693" y="1637"/>
                    </a:lnTo>
                    <a:lnTo>
                      <a:pt x="2684" y="1621"/>
                    </a:lnTo>
                    <a:lnTo>
                      <a:pt x="2700" y="1588"/>
                    </a:lnTo>
                    <a:lnTo>
                      <a:pt x="2722" y="1581"/>
                    </a:lnTo>
                    <a:lnTo>
                      <a:pt x="2769" y="1609"/>
                    </a:lnTo>
                    <a:lnTo>
                      <a:pt x="2785" y="1637"/>
                    </a:lnTo>
                    <a:lnTo>
                      <a:pt x="2844" y="1626"/>
                    </a:lnTo>
                    <a:lnTo>
                      <a:pt x="2856" y="1621"/>
                    </a:lnTo>
                    <a:lnTo>
                      <a:pt x="2840" y="1597"/>
                    </a:lnTo>
                    <a:lnTo>
                      <a:pt x="2844" y="1588"/>
                    </a:lnTo>
                    <a:lnTo>
                      <a:pt x="2856" y="1588"/>
                    </a:lnTo>
                    <a:lnTo>
                      <a:pt x="2844" y="1604"/>
                    </a:lnTo>
                    <a:lnTo>
                      <a:pt x="2856" y="1609"/>
                    </a:lnTo>
                    <a:lnTo>
                      <a:pt x="2878" y="1604"/>
                    </a:lnTo>
                    <a:lnTo>
                      <a:pt x="2861" y="1571"/>
                    </a:lnTo>
                    <a:lnTo>
                      <a:pt x="2844" y="1581"/>
                    </a:lnTo>
                    <a:lnTo>
                      <a:pt x="2840" y="1571"/>
                    </a:lnTo>
                    <a:lnTo>
                      <a:pt x="2844" y="1555"/>
                    </a:lnTo>
                    <a:lnTo>
                      <a:pt x="2878" y="1564"/>
                    </a:lnTo>
                    <a:lnTo>
                      <a:pt x="2894" y="1564"/>
                    </a:lnTo>
                    <a:lnTo>
                      <a:pt x="2844" y="1543"/>
                    </a:lnTo>
                    <a:lnTo>
                      <a:pt x="2840" y="1555"/>
                    </a:lnTo>
                    <a:lnTo>
                      <a:pt x="2814" y="1555"/>
                    </a:lnTo>
                    <a:lnTo>
                      <a:pt x="2759" y="1526"/>
                    </a:lnTo>
                    <a:lnTo>
                      <a:pt x="2814" y="1510"/>
                    </a:lnTo>
                    <a:lnTo>
                      <a:pt x="2844" y="1531"/>
                    </a:lnTo>
                    <a:lnTo>
                      <a:pt x="2830" y="1526"/>
                    </a:lnTo>
                    <a:lnTo>
                      <a:pt x="2840" y="1510"/>
                    </a:lnTo>
                    <a:lnTo>
                      <a:pt x="2802" y="1493"/>
                    </a:lnTo>
                    <a:lnTo>
                      <a:pt x="2807" y="1486"/>
                    </a:lnTo>
                    <a:lnTo>
                      <a:pt x="2840" y="1477"/>
                    </a:lnTo>
                    <a:lnTo>
                      <a:pt x="2868" y="1486"/>
                    </a:lnTo>
                    <a:lnTo>
                      <a:pt x="2882" y="1470"/>
                    </a:lnTo>
                    <a:lnTo>
                      <a:pt x="2856" y="1477"/>
                    </a:lnTo>
                    <a:lnTo>
                      <a:pt x="2878" y="1460"/>
                    </a:lnTo>
                    <a:lnTo>
                      <a:pt x="2932" y="1493"/>
                    </a:lnTo>
                    <a:lnTo>
                      <a:pt x="3003" y="1486"/>
                    </a:lnTo>
                    <a:lnTo>
                      <a:pt x="3029" y="1470"/>
                    </a:lnTo>
                    <a:lnTo>
                      <a:pt x="3071" y="1477"/>
                    </a:lnTo>
                    <a:lnTo>
                      <a:pt x="3095" y="1498"/>
                    </a:lnTo>
                    <a:lnTo>
                      <a:pt x="3071" y="1515"/>
                    </a:lnTo>
                    <a:lnTo>
                      <a:pt x="3041" y="1515"/>
                    </a:lnTo>
                    <a:lnTo>
                      <a:pt x="3041" y="1531"/>
                    </a:lnTo>
                    <a:lnTo>
                      <a:pt x="3071" y="1526"/>
                    </a:lnTo>
                    <a:lnTo>
                      <a:pt x="3078" y="1543"/>
                    </a:lnTo>
                    <a:lnTo>
                      <a:pt x="3029" y="1555"/>
                    </a:lnTo>
                    <a:lnTo>
                      <a:pt x="2986" y="1588"/>
                    </a:lnTo>
                    <a:lnTo>
                      <a:pt x="2986" y="1609"/>
                    </a:lnTo>
                    <a:lnTo>
                      <a:pt x="3019" y="1588"/>
                    </a:lnTo>
                    <a:lnTo>
                      <a:pt x="3062" y="1597"/>
                    </a:lnTo>
                    <a:lnTo>
                      <a:pt x="3071" y="1604"/>
                    </a:lnTo>
                    <a:lnTo>
                      <a:pt x="3071" y="1609"/>
                    </a:lnTo>
                    <a:lnTo>
                      <a:pt x="3083" y="1626"/>
                    </a:lnTo>
                    <a:lnTo>
                      <a:pt x="3071" y="1642"/>
                    </a:lnTo>
                    <a:lnTo>
                      <a:pt x="3116" y="1626"/>
                    </a:lnTo>
                    <a:lnTo>
                      <a:pt x="3137" y="1675"/>
                    </a:lnTo>
                    <a:lnTo>
                      <a:pt x="3095" y="1682"/>
                    </a:lnTo>
                    <a:lnTo>
                      <a:pt x="3116" y="1692"/>
                    </a:lnTo>
                    <a:lnTo>
                      <a:pt x="3126" y="1715"/>
                    </a:lnTo>
                    <a:lnTo>
                      <a:pt x="3095" y="1725"/>
                    </a:lnTo>
                    <a:lnTo>
                      <a:pt x="3126" y="1725"/>
                    </a:lnTo>
                    <a:lnTo>
                      <a:pt x="3126" y="1737"/>
                    </a:lnTo>
                    <a:lnTo>
                      <a:pt x="3100" y="1737"/>
                    </a:lnTo>
                    <a:lnTo>
                      <a:pt x="3126" y="1737"/>
                    </a:lnTo>
                    <a:lnTo>
                      <a:pt x="3116" y="1753"/>
                    </a:lnTo>
                    <a:lnTo>
                      <a:pt x="3100" y="1753"/>
                    </a:lnTo>
                    <a:lnTo>
                      <a:pt x="3057" y="1781"/>
                    </a:lnTo>
                    <a:lnTo>
                      <a:pt x="3007" y="1781"/>
                    </a:lnTo>
                    <a:lnTo>
                      <a:pt x="2991" y="1765"/>
                    </a:lnTo>
                    <a:lnTo>
                      <a:pt x="3003" y="1748"/>
                    </a:lnTo>
                    <a:lnTo>
                      <a:pt x="3003" y="1737"/>
                    </a:lnTo>
                    <a:lnTo>
                      <a:pt x="2986" y="1770"/>
                    </a:lnTo>
                    <a:lnTo>
                      <a:pt x="3019" y="1793"/>
                    </a:lnTo>
                    <a:lnTo>
                      <a:pt x="2970" y="1826"/>
                    </a:lnTo>
                    <a:lnTo>
                      <a:pt x="2948" y="1810"/>
                    </a:lnTo>
                    <a:lnTo>
                      <a:pt x="2932" y="1819"/>
                    </a:lnTo>
                    <a:lnTo>
                      <a:pt x="2899" y="1765"/>
                    </a:lnTo>
                    <a:lnTo>
                      <a:pt x="2868" y="1748"/>
                    </a:lnTo>
                    <a:lnTo>
                      <a:pt x="2830" y="1708"/>
                    </a:lnTo>
                    <a:lnTo>
                      <a:pt x="2807" y="1708"/>
                    </a:lnTo>
                    <a:lnTo>
                      <a:pt x="2807" y="1708"/>
                    </a:lnTo>
                    <a:lnTo>
                      <a:pt x="2807" y="1708"/>
                    </a:lnTo>
                    <a:close/>
                    <a:moveTo>
                      <a:pt x="4096" y="2008"/>
                    </a:moveTo>
                    <a:lnTo>
                      <a:pt x="4066" y="1992"/>
                    </a:lnTo>
                    <a:lnTo>
                      <a:pt x="4016" y="2003"/>
                    </a:lnTo>
                    <a:lnTo>
                      <a:pt x="3903" y="1975"/>
                    </a:lnTo>
                    <a:lnTo>
                      <a:pt x="3865" y="1987"/>
                    </a:lnTo>
                    <a:lnTo>
                      <a:pt x="3910" y="1992"/>
                    </a:lnTo>
                    <a:lnTo>
                      <a:pt x="3872" y="1992"/>
                    </a:lnTo>
                    <a:lnTo>
                      <a:pt x="3818" y="1959"/>
                    </a:lnTo>
                    <a:lnTo>
                      <a:pt x="3818" y="1947"/>
                    </a:lnTo>
                    <a:lnTo>
                      <a:pt x="3839" y="1930"/>
                    </a:lnTo>
                    <a:lnTo>
                      <a:pt x="3834" y="1921"/>
                    </a:lnTo>
                    <a:lnTo>
                      <a:pt x="3811" y="1954"/>
                    </a:lnTo>
                    <a:lnTo>
                      <a:pt x="3796" y="1954"/>
                    </a:lnTo>
                    <a:lnTo>
                      <a:pt x="3785" y="1930"/>
                    </a:lnTo>
                    <a:lnTo>
                      <a:pt x="3773" y="1947"/>
                    </a:lnTo>
                    <a:lnTo>
                      <a:pt x="3785" y="1947"/>
                    </a:lnTo>
                    <a:lnTo>
                      <a:pt x="3785" y="1954"/>
                    </a:lnTo>
                    <a:lnTo>
                      <a:pt x="3742" y="1954"/>
                    </a:lnTo>
                    <a:lnTo>
                      <a:pt x="3747" y="1954"/>
                    </a:lnTo>
                    <a:lnTo>
                      <a:pt x="3730" y="1959"/>
                    </a:lnTo>
                    <a:lnTo>
                      <a:pt x="3704" y="1954"/>
                    </a:lnTo>
                    <a:lnTo>
                      <a:pt x="3726" y="1954"/>
                    </a:lnTo>
                    <a:lnTo>
                      <a:pt x="3709" y="1947"/>
                    </a:lnTo>
                    <a:lnTo>
                      <a:pt x="3667" y="1930"/>
                    </a:lnTo>
                    <a:lnTo>
                      <a:pt x="3617" y="1876"/>
                    </a:lnTo>
                    <a:lnTo>
                      <a:pt x="3633" y="1864"/>
                    </a:lnTo>
                    <a:lnTo>
                      <a:pt x="3612" y="1848"/>
                    </a:lnTo>
                    <a:lnTo>
                      <a:pt x="3721" y="1876"/>
                    </a:lnTo>
                    <a:lnTo>
                      <a:pt x="3785" y="1864"/>
                    </a:lnTo>
                    <a:lnTo>
                      <a:pt x="3742" y="1843"/>
                    </a:lnTo>
                    <a:lnTo>
                      <a:pt x="3726" y="1843"/>
                    </a:lnTo>
                    <a:lnTo>
                      <a:pt x="3726" y="1826"/>
                    </a:lnTo>
                    <a:lnTo>
                      <a:pt x="3676" y="1836"/>
                    </a:lnTo>
                    <a:lnTo>
                      <a:pt x="3584" y="1819"/>
                    </a:lnTo>
                    <a:lnTo>
                      <a:pt x="3579" y="1786"/>
                    </a:lnTo>
                    <a:lnTo>
                      <a:pt x="3596" y="1765"/>
                    </a:lnTo>
                    <a:lnTo>
                      <a:pt x="3570" y="1737"/>
                    </a:lnTo>
                    <a:lnTo>
                      <a:pt x="3579" y="1725"/>
                    </a:lnTo>
                    <a:lnTo>
                      <a:pt x="3612" y="1708"/>
                    </a:lnTo>
                    <a:lnTo>
                      <a:pt x="3584" y="1708"/>
                    </a:lnTo>
                    <a:lnTo>
                      <a:pt x="3579" y="1682"/>
                    </a:lnTo>
                    <a:lnTo>
                      <a:pt x="3596" y="1642"/>
                    </a:lnTo>
                    <a:lnTo>
                      <a:pt x="3617" y="1637"/>
                    </a:lnTo>
                    <a:lnTo>
                      <a:pt x="3612" y="1637"/>
                    </a:lnTo>
                    <a:lnTo>
                      <a:pt x="3612" y="1621"/>
                    </a:lnTo>
                    <a:lnTo>
                      <a:pt x="3622" y="1626"/>
                    </a:lnTo>
                    <a:lnTo>
                      <a:pt x="3622" y="1597"/>
                    </a:lnTo>
                    <a:lnTo>
                      <a:pt x="3633" y="1571"/>
                    </a:lnTo>
                    <a:lnTo>
                      <a:pt x="3671" y="1531"/>
                    </a:lnTo>
                    <a:lnTo>
                      <a:pt x="3747" y="1493"/>
                    </a:lnTo>
                    <a:lnTo>
                      <a:pt x="3839" y="1477"/>
                    </a:lnTo>
                    <a:lnTo>
                      <a:pt x="3941" y="1493"/>
                    </a:lnTo>
                    <a:lnTo>
                      <a:pt x="3865" y="1548"/>
                    </a:lnTo>
                    <a:lnTo>
                      <a:pt x="3811" y="1609"/>
                    </a:lnTo>
                    <a:lnTo>
                      <a:pt x="3801" y="1637"/>
                    </a:lnTo>
                    <a:lnTo>
                      <a:pt x="3839" y="1675"/>
                    </a:lnTo>
                    <a:lnTo>
                      <a:pt x="3827" y="1692"/>
                    </a:lnTo>
                    <a:lnTo>
                      <a:pt x="3827" y="1732"/>
                    </a:lnTo>
                    <a:lnTo>
                      <a:pt x="3893" y="1793"/>
                    </a:lnTo>
                    <a:lnTo>
                      <a:pt x="3936" y="1810"/>
                    </a:lnTo>
                    <a:lnTo>
                      <a:pt x="3941" y="1826"/>
                    </a:lnTo>
                    <a:lnTo>
                      <a:pt x="3865" y="1843"/>
                    </a:lnTo>
                    <a:lnTo>
                      <a:pt x="3801" y="1864"/>
                    </a:lnTo>
                    <a:lnTo>
                      <a:pt x="3936" y="1836"/>
                    </a:lnTo>
                    <a:lnTo>
                      <a:pt x="3941" y="1843"/>
                    </a:lnTo>
                    <a:lnTo>
                      <a:pt x="3936" y="1848"/>
                    </a:lnTo>
                    <a:lnTo>
                      <a:pt x="3919" y="1848"/>
                    </a:lnTo>
                    <a:lnTo>
                      <a:pt x="3936" y="1848"/>
                    </a:lnTo>
                    <a:lnTo>
                      <a:pt x="3936" y="1876"/>
                    </a:lnTo>
                    <a:lnTo>
                      <a:pt x="3941" y="1876"/>
                    </a:lnTo>
                    <a:lnTo>
                      <a:pt x="3941" y="1810"/>
                    </a:lnTo>
                    <a:lnTo>
                      <a:pt x="3962" y="1803"/>
                    </a:lnTo>
                    <a:lnTo>
                      <a:pt x="3945" y="1786"/>
                    </a:lnTo>
                    <a:lnTo>
                      <a:pt x="3957" y="1770"/>
                    </a:lnTo>
                    <a:lnTo>
                      <a:pt x="3910" y="1770"/>
                    </a:lnTo>
                    <a:lnTo>
                      <a:pt x="3886" y="1765"/>
                    </a:lnTo>
                    <a:lnTo>
                      <a:pt x="3893" y="1753"/>
                    </a:lnTo>
                    <a:lnTo>
                      <a:pt x="3886" y="1737"/>
                    </a:lnTo>
                    <a:lnTo>
                      <a:pt x="3855" y="1732"/>
                    </a:lnTo>
                    <a:lnTo>
                      <a:pt x="3893" y="1725"/>
                    </a:lnTo>
                    <a:lnTo>
                      <a:pt x="3893" y="1715"/>
                    </a:lnTo>
                    <a:lnTo>
                      <a:pt x="3893" y="1692"/>
                    </a:lnTo>
                    <a:lnTo>
                      <a:pt x="3936" y="1699"/>
                    </a:lnTo>
                    <a:lnTo>
                      <a:pt x="3990" y="1737"/>
                    </a:lnTo>
                    <a:lnTo>
                      <a:pt x="3990" y="1732"/>
                    </a:lnTo>
                    <a:lnTo>
                      <a:pt x="3936" y="1692"/>
                    </a:lnTo>
                    <a:lnTo>
                      <a:pt x="3962" y="1675"/>
                    </a:lnTo>
                    <a:lnTo>
                      <a:pt x="3936" y="1682"/>
                    </a:lnTo>
                    <a:lnTo>
                      <a:pt x="3941" y="1666"/>
                    </a:lnTo>
                    <a:lnTo>
                      <a:pt x="3919" y="1682"/>
                    </a:lnTo>
                    <a:lnTo>
                      <a:pt x="3886" y="1666"/>
                    </a:lnTo>
                    <a:lnTo>
                      <a:pt x="3886" y="1659"/>
                    </a:lnTo>
                    <a:lnTo>
                      <a:pt x="3893" y="1654"/>
                    </a:lnTo>
                    <a:lnTo>
                      <a:pt x="3881" y="1642"/>
                    </a:lnTo>
                    <a:lnTo>
                      <a:pt x="3881" y="1609"/>
                    </a:lnTo>
                    <a:lnTo>
                      <a:pt x="3910" y="1597"/>
                    </a:lnTo>
                    <a:lnTo>
                      <a:pt x="4000" y="1626"/>
                    </a:lnTo>
                    <a:lnTo>
                      <a:pt x="3886" y="1588"/>
                    </a:lnTo>
                    <a:lnTo>
                      <a:pt x="3903" y="1571"/>
                    </a:lnTo>
                    <a:lnTo>
                      <a:pt x="3919" y="1588"/>
                    </a:lnTo>
                    <a:lnTo>
                      <a:pt x="3910" y="1581"/>
                    </a:lnTo>
                    <a:lnTo>
                      <a:pt x="3919" y="1571"/>
                    </a:lnTo>
                    <a:lnTo>
                      <a:pt x="4028" y="1597"/>
                    </a:lnTo>
                    <a:lnTo>
                      <a:pt x="3919" y="1564"/>
                    </a:lnTo>
                    <a:lnTo>
                      <a:pt x="3941" y="1543"/>
                    </a:lnTo>
                    <a:lnTo>
                      <a:pt x="3974" y="1564"/>
                    </a:lnTo>
                    <a:lnTo>
                      <a:pt x="3945" y="1543"/>
                    </a:lnTo>
                    <a:lnTo>
                      <a:pt x="3990" y="1526"/>
                    </a:lnTo>
                    <a:lnTo>
                      <a:pt x="4016" y="1531"/>
                    </a:lnTo>
                    <a:lnTo>
                      <a:pt x="4028" y="1548"/>
                    </a:lnTo>
                    <a:lnTo>
                      <a:pt x="4028" y="1531"/>
                    </a:lnTo>
                    <a:lnTo>
                      <a:pt x="3995" y="1526"/>
                    </a:lnTo>
                    <a:lnTo>
                      <a:pt x="4082" y="1493"/>
                    </a:lnTo>
                    <a:lnTo>
                      <a:pt x="4172" y="1493"/>
                    </a:lnTo>
                    <a:lnTo>
                      <a:pt x="4196" y="1526"/>
                    </a:lnTo>
                    <a:lnTo>
                      <a:pt x="4196" y="1555"/>
                    </a:lnTo>
                    <a:lnTo>
                      <a:pt x="4243" y="1581"/>
                    </a:lnTo>
                    <a:lnTo>
                      <a:pt x="4233" y="1604"/>
                    </a:lnTo>
                    <a:lnTo>
                      <a:pt x="4259" y="1626"/>
                    </a:lnTo>
                    <a:lnTo>
                      <a:pt x="4179" y="1699"/>
                    </a:lnTo>
                    <a:lnTo>
                      <a:pt x="4243" y="1659"/>
                    </a:lnTo>
                    <a:lnTo>
                      <a:pt x="4243" y="1675"/>
                    </a:lnTo>
                    <a:lnTo>
                      <a:pt x="4210" y="1708"/>
                    </a:lnTo>
                    <a:lnTo>
                      <a:pt x="4243" y="1725"/>
                    </a:lnTo>
                    <a:lnTo>
                      <a:pt x="4205" y="1725"/>
                    </a:lnTo>
                    <a:lnTo>
                      <a:pt x="4226" y="1725"/>
                    </a:lnTo>
                    <a:lnTo>
                      <a:pt x="4210" y="1748"/>
                    </a:lnTo>
                    <a:lnTo>
                      <a:pt x="4248" y="1725"/>
                    </a:lnTo>
                    <a:lnTo>
                      <a:pt x="4243" y="1708"/>
                    </a:lnTo>
                    <a:lnTo>
                      <a:pt x="4264" y="1699"/>
                    </a:lnTo>
                    <a:lnTo>
                      <a:pt x="4259" y="1692"/>
                    </a:lnTo>
                    <a:lnTo>
                      <a:pt x="4302" y="1715"/>
                    </a:lnTo>
                    <a:lnTo>
                      <a:pt x="4264" y="1682"/>
                    </a:lnTo>
                    <a:lnTo>
                      <a:pt x="4297" y="1659"/>
                    </a:lnTo>
                    <a:lnTo>
                      <a:pt x="4302" y="1682"/>
                    </a:lnTo>
                    <a:lnTo>
                      <a:pt x="4297" y="1699"/>
                    </a:lnTo>
                    <a:lnTo>
                      <a:pt x="4323" y="1675"/>
                    </a:lnTo>
                    <a:lnTo>
                      <a:pt x="4352" y="1692"/>
                    </a:lnTo>
                    <a:lnTo>
                      <a:pt x="4352" y="1708"/>
                    </a:lnTo>
                    <a:lnTo>
                      <a:pt x="4335" y="1732"/>
                    </a:lnTo>
                    <a:lnTo>
                      <a:pt x="4378" y="1748"/>
                    </a:lnTo>
                    <a:lnTo>
                      <a:pt x="4356" y="1732"/>
                    </a:lnTo>
                    <a:lnTo>
                      <a:pt x="4356" y="1708"/>
                    </a:lnTo>
                    <a:lnTo>
                      <a:pt x="4389" y="1715"/>
                    </a:lnTo>
                    <a:lnTo>
                      <a:pt x="4406" y="1753"/>
                    </a:lnTo>
                    <a:lnTo>
                      <a:pt x="4427" y="1765"/>
                    </a:lnTo>
                    <a:lnTo>
                      <a:pt x="4394" y="1737"/>
                    </a:lnTo>
                    <a:lnTo>
                      <a:pt x="4411" y="1732"/>
                    </a:lnTo>
                    <a:lnTo>
                      <a:pt x="4432" y="1753"/>
                    </a:lnTo>
                    <a:lnTo>
                      <a:pt x="4411" y="1732"/>
                    </a:lnTo>
                    <a:lnTo>
                      <a:pt x="4394" y="1732"/>
                    </a:lnTo>
                    <a:lnTo>
                      <a:pt x="4389" y="1715"/>
                    </a:lnTo>
                    <a:lnTo>
                      <a:pt x="4356" y="1699"/>
                    </a:lnTo>
                    <a:lnTo>
                      <a:pt x="4373" y="1682"/>
                    </a:lnTo>
                    <a:lnTo>
                      <a:pt x="4389" y="1708"/>
                    </a:lnTo>
                    <a:lnTo>
                      <a:pt x="4389" y="1682"/>
                    </a:lnTo>
                    <a:lnTo>
                      <a:pt x="4486" y="1715"/>
                    </a:lnTo>
                    <a:lnTo>
                      <a:pt x="4378" y="1666"/>
                    </a:lnTo>
                    <a:lnTo>
                      <a:pt x="4389" y="1654"/>
                    </a:lnTo>
                    <a:lnTo>
                      <a:pt x="4444" y="1626"/>
                    </a:lnTo>
                    <a:lnTo>
                      <a:pt x="4503" y="1626"/>
                    </a:lnTo>
                    <a:lnTo>
                      <a:pt x="4512" y="1642"/>
                    </a:lnTo>
                    <a:lnTo>
                      <a:pt x="4550" y="1654"/>
                    </a:lnTo>
                    <a:lnTo>
                      <a:pt x="4550" y="1666"/>
                    </a:lnTo>
                    <a:lnTo>
                      <a:pt x="4567" y="1654"/>
                    </a:lnTo>
                    <a:lnTo>
                      <a:pt x="4611" y="1659"/>
                    </a:lnTo>
                    <a:lnTo>
                      <a:pt x="4637" y="1699"/>
                    </a:lnTo>
                    <a:lnTo>
                      <a:pt x="4611" y="1715"/>
                    </a:lnTo>
                    <a:lnTo>
                      <a:pt x="4557" y="1715"/>
                    </a:lnTo>
                    <a:lnTo>
                      <a:pt x="4536" y="1748"/>
                    </a:lnTo>
                    <a:lnTo>
                      <a:pt x="4574" y="1715"/>
                    </a:lnTo>
                    <a:lnTo>
                      <a:pt x="4611" y="1725"/>
                    </a:lnTo>
                    <a:lnTo>
                      <a:pt x="4588" y="1732"/>
                    </a:lnTo>
                    <a:lnTo>
                      <a:pt x="4574" y="1765"/>
                    </a:lnTo>
                    <a:lnTo>
                      <a:pt x="4550" y="1770"/>
                    </a:lnTo>
                    <a:lnTo>
                      <a:pt x="4574" y="1765"/>
                    </a:lnTo>
                    <a:lnTo>
                      <a:pt x="4588" y="1732"/>
                    </a:lnTo>
                    <a:lnTo>
                      <a:pt x="4626" y="1715"/>
                    </a:lnTo>
                    <a:lnTo>
                      <a:pt x="4680" y="1725"/>
                    </a:lnTo>
                    <a:lnTo>
                      <a:pt x="4692" y="1732"/>
                    </a:lnTo>
                    <a:lnTo>
                      <a:pt x="4680" y="1753"/>
                    </a:lnTo>
                    <a:lnTo>
                      <a:pt x="4604" y="1770"/>
                    </a:lnTo>
                    <a:lnTo>
                      <a:pt x="4637" y="1781"/>
                    </a:lnTo>
                    <a:lnTo>
                      <a:pt x="4595" y="1793"/>
                    </a:lnTo>
                    <a:lnTo>
                      <a:pt x="4659" y="1781"/>
                    </a:lnTo>
                    <a:lnTo>
                      <a:pt x="4621" y="1803"/>
                    </a:lnTo>
                    <a:lnTo>
                      <a:pt x="4642" y="1793"/>
                    </a:lnTo>
                    <a:lnTo>
                      <a:pt x="4649" y="1810"/>
                    </a:lnTo>
                    <a:lnTo>
                      <a:pt x="4621" y="1843"/>
                    </a:lnTo>
                    <a:lnTo>
                      <a:pt x="4649" y="1810"/>
                    </a:lnTo>
                    <a:lnTo>
                      <a:pt x="4649" y="1793"/>
                    </a:lnTo>
                    <a:lnTo>
                      <a:pt x="4659" y="1781"/>
                    </a:lnTo>
                    <a:lnTo>
                      <a:pt x="4692" y="1765"/>
                    </a:lnTo>
                    <a:lnTo>
                      <a:pt x="4680" y="1781"/>
                    </a:lnTo>
                    <a:lnTo>
                      <a:pt x="4692" y="1793"/>
                    </a:lnTo>
                    <a:lnTo>
                      <a:pt x="4696" y="1765"/>
                    </a:lnTo>
                    <a:lnTo>
                      <a:pt x="4718" y="1765"/>
                    </a:lnTo>
                    <a:lnTo>
                      <a:pt x="4729" y="1765"/>
                    </a:lnTo>
                    <a:lnTo>
                      <a:pt x="4696" y="1793"/>
                    </a:lnTo>
                    <a:lnTo>
                      <a:pt x="4675" y="1810"/>
                    </a:lnTo>
                    <a:lnTo>
                      <a:pt x="4696" y="1803"/>
                    </a:lnTo>
                    <a:lnTo>
                      <a:pt x="4692" y="1826"/>
                    </a:lnTo>
                    <a:lnTo>
                      <a:pt x="4680" y="1836"/>
                    </a:lnTo>
                    <a:lnTo>
                      <a:pt x="4696" y="1826"/>
                    </a:lnTo>
                    <a:lnTo>
                      <a:pt x="4713" y="1793"/>
                    </a:lnTo>
                    <a:lnTo>
                      <a:pt x="4729" y="1786"/>
                    </a:lnTo>
                    <a:lnTo>
                      <a:pt x="4729" y="1819"/>
                    </a:lnTo>
                    <a:lnTo>
                      <a:pt x="4734" y="1803"/>
                    </a:lnTo>
                    <a:lnTo>
                      <a:pt x="4746" y="1810"/>
                    </a:lnTo>
                    <a:lnTo>
                      <a:pt x="4729" y="1826"/>
                    </a:lnTo>
                    <a:lnTo>
                      <a:pt x="4718" y="1848"/>
                    </a:lnTo>
                    <a:lnTo>
                      <a:pt x="4701" y="1859"/>
                    </a:lnTo>
                    <a:lnTo>
                      <a:pt x="4718" y="1848"/>
                    </a:lnTo>
                    <a:lnTo>
                      <a:pt x="4729" y="1836"/>
                    </a:lnTo>
                    <a:lnTo>
                      <a:pt x="4734" y="1819"/>
                    </a:lnTo>
                    <a:lnTo>
                      <a:pt x="4767" y="1826"/>
                    </a:lnTo>
                    <a:lnTo>
                      <a:pt x="4751" y="1836"/>
                    </a:lnTo>
                    <a:lnTo>
                      <a:pt x="4751" y="1848"/>
                    </a:lnTo>
                    <a:lnTo>
                      <a:pt x="4734" y="1859"/>
                    </a:lnTo>
                    <a:lnTo>
                      <a:pt x="4746" y="1864"/>
                    </a:lnTo>
                    <a:lnTo>
                      <a:pt x="4755" y="1836"/>
                    </a:lnTo>
                    <a:lnTo>
                      <a:pt x="4767" y="1826"/>
                    </a:lnTo>
                    <a:lnTo>
                      <a:pt x="4767" y="1810"/>
                    </a:lnTo>
                    <a:lnTo>
                      <a:pt x="4789" y="1810"/>
                    </a:lnTo>
                    <a:lnTo>
                      <a:pt x="4805" y="1781"/>
                    </a:lnTo>
                    <a:lnTo>
                      <a:pt x="4864" y="1793"/>
                    </a:lnTo>
                    <a:lnTo>
                      <a:pt x="4897" y="1826"/>
                    </a:lnTo>
                    <a:lnTo>
                      <a:pt x="4874" y="1859"/>
                    </a:lnTo>
                    <a:lnTo>
                      <a:pt x="4843" y="1848"/>
                    </a:lnTo>
                    <a:lnTo>
                      <a:pt x="4810" y="1881"/>
                    </a:lnTo>
                    <a:lnTo>
                      <a:pt x="4789" y="1881"/>
                    </a:lnTo>
                    <a:lnTo>
                      <a:pt x="4826" y="1881"/>
                    </a:lnTo>
                    <a:lnTo>
                      <a:pt x="4810" y="1904"/>
                    </a:lnTo>
                    <a:lnTo>
                      <a:pt x="4798" y="1914"/>
                    </a:lnTo>
                    <a:lnTo>
                      <a:pt x="4826" y="1892"/>
                    </a:lnTo>
                    <a:lnTo>
                      <a:pt x="4881" y="1881"/>
                    </a:lnTo>
                    <a:lnTo>
                      <a:pt x="4897" y="1859"/>
                    </a:lnTo>
                    <a:lnTo>
                      <a:pt x="4918" y="1848"/>
                    </a:lnTo>
                    <a:lnTo>
                      <a:pt x="4935" y="1859"/>
                    </a:lnTo>
                    <a:lnTo>
                      <a:pt x="4944" y="1876"/>
                    </a:lnTo>
                    <a:lnTo>
                      <a:pt x="4928" y="1897"/>
                    </a:lnTo>
                    <a:lnTo>
                      <a:pt x="4897" y="1914"/>
                    </a:lnTo>
                    <a:lnTo>
                      <a:pt x="4864" y="1914"/>
                    </a:lnTo>
                    <a:lnTo>
                      <a:pt x="4852" y="1937"/>
                    </a:lnTo>
                    <a:lnTo>
                      <a:pt x="4859" y="1937"/>
                    </a:lnTo>
                    <a:lnTo>
                      <a:pt x="4859" y="1947"/>
                    </a:lnTo>
                    <a:lnTo>
                      <a:pt x="4852" y="1954"/>
                    </a:lnTo>
                    <a:lnTo>
                      <a:pt x="4859" y="1954"/>
                    </a:lnTo>
                    <a:lnTo>
                      <a:pt x="4874" y="1921"/>
                    </a:lnTo>
                    <a:lnTo>
                      <a:pt x="4897" y="1921"/>
                    </a:lnTo>
                    <a:lnTo>
                      <a:pt x="4890" y="1954"/>
                    </a:lnTo>
                    <a:lnTo>
                      <a:pt x="4890" y="1959"/>
                    </a:lnTo>
                    <a:lnTo>
                      <a:pt x="4874" y="1992"/>
                    </a:lnTo>
                    <a:lnTo>
                      <a:pt x="4897" y="1959"/>
                    </a:lnTo>
                    <a:lnTo>
                      <a:pt x="4911" y="1914"/>
                    </a:lnTo>
                    <a:lnTo>
                      <a:pt x="4987" y="1881"/>
                    </a:lnTo>
                    <a:lnTo>
                      <a:pt x="4999" y="1881"/>
                    </a:lnTo>
                    <a:lnTo>
                      <a:pt x="4973" y="1904"/>
                    </a:lnTo>
                    <a:lnTo>
                      <a:pt x="4944" y="1914"/>
                    </a:lnTo>
                    <a:lnTo>
                      <a:pt x="4949" y="1921"/>
                    </a:lnTo>
                    <a:lnTo>
                      <a:pt x="4944" y="1930"/>
                    </a:lnTo>
                    <a:lnTo>
                      <a:pt x="4961" y="1930"/>
                    </a:lnTo>
                    <a:lnTo>
                      <a:pt x="4961" y="1914"/>
                    </a:lnTo>
                    <a:lnTo>
                      <a:pt x="4973" y="1914"/>
                    </a:lnTo>
                    <a:lnTo>
                      <a:pt x="5020" y="1892"/>
                    </a:lnTo>
                    <a:lnTo>
                      <a:pt x="5096" y="1921"/>
                    </a:lnTo>
                    <a:lnTo>
                      <a:pt x="5096" y="1930"/>
                    </a:lnTo>
                    <a:lnTo>
                      <a:pt x="5091" y="1947"/>
                    </a:lnTo>
                    <a:lnTo>
                      <a:pt x="5074" y="1930"/>
                    </a:lnTo>
                    <a:lnTo>
                      <a:pt x="5074" y="1954"/>
                    </a:lnTo>
                    <a:lnTo>
                      <a:pt x="5004" y="1970"/>
                    </a:lnTo>
                    <a:lnTo>
                      <a:pt x="4966" y="1992"/>
                    </a:lnTo>
                    <a:lnTo>
                      <a:pt x="4987" y="1992"/>
                    </a:lnTo>
                    <a:lnTo>
                      <a:pt x="4944" y="2013"/>
                    </a:lnTo>
                    <a:lnTo>
                      <a:pt x="4999" y="1992"/>
                    </a:lnTo>
                    <a:lnTo>
                      <a:pt x="4999" y="1987"/>
                    </a:lnTo>
                    <a:lnTo>
                      <a:pt x="5004" y="1975"/>
                    </a:lnTo>
                    <a:lnTo>
                      <a:pt x="5058" y="1970"/>
                    </a:lnTo>
                    <a:lnTo>
                      <a:pt x="5074" y="1975"/>
                    </a:lnTo>
                    <a:lnTo>
                      <a:pt x="5020" y="2013"/>
                    </a:lnTo>
                    <a:lnTo>
                      <a:pt x="4987" y="2013"/>
                    </a:lnTo>
                    <a:lnTo>
                      <a:pt x="4982" y="2041"/>
                    </a:lnTo>
                    <a:lnTo>
                      <a:pt x="4999" y="2013"/>
                    </a:lnTo>
                    <a:lnTo>
                      <a:pt x="5020" y="2025"/>
                    </a:lnTo>
                    <a:lnTo>
                      <a:pt x="5041" y="2003"/>
                    </a:lnTo>
                    <a:lnTo>
                      <a:pt x="5107" y="1975"/>
                    </a:lnTo>
                    <a:lnTo>
                      <a:pt x="5096" y="1970"/>
                    </a:lnTo>
                    <a:lnTo>
                      <a:pt x="5107" y="1954"/>
                    </a:lnTo>
                    <a:lnTo>
                      <a:pt x="5138" y="1959"/>
                    </a:lnTo>
                    <a:lnTo>
                      <a:pt x="5176" y="2003"/>
                    </a:lnTo>
                    <a:lnTo>
                      <a:pt x="5183" y="2025"/>
                    </a:lnTo>
                    <a:lnTo>
                      <a:pt x="5124" y="2025"/>
                    </a:lnTo>
                    <a:lnTo>
                      <a:pt x="5096" y="2041"/>
                    </a:lnTo>
                    <a:lnTo>
                      <a:pt x="4973" y="2058"/>
                    </a:lnTo>
                    <a:lnTo>
                      <a:pt x="5025" y="2058"/>
                    </a:lnTo>
                    <a:lnTo>
                      <a:pt x="5074" y="2048"/>
                    </a:lnTo>
                    <a:lnTo>
                      <a:pt x="5124" y="2065"/>
                    </a:lnTo>
                    <a:lnTo>
                      <a:pt x="5176" y="2065"/>
                    </a:lnTo>
                    <a:lnTo>
                      <a:pt x="5204" y="2081"/>
                    </a:lnTo>
                    <a:lnTo>
                      <a:pt x="5214" y="2098"/>
                    </a:lnTo>
                    <a:lnTo>
                      <a:pt x="5204" y="2103"/>
                    </a:lnTo>
                    <a:lnTo>
                      <a:pt x="5053" y="2070"/>
                    </a:lnTo>
                    <a:lnTo>
                      <a:pt x="5025" y="2086"/>
                    </a:lnTo>
                    <a:lnTo>
                      <a:pt x="5053" y="2081"/>
                    </a:lnTo>
                    <a:lnTo>
                      <a:pt x="5112" y="2098"/>
                    </a:lnTo>
                    <a:lnTo>
                      <a:pt x="5053" y="2098"/>
                    </a:lnTo>
                    <a:lnTo>
                      <a:pt x="5079" y="2098"/>
                    </a:lnTo>
                    <a:lnTo>
                      <a:pt x="5053" y="2115"/>
                    </a:lnTo>
                    <a:lnTo>
                      <a:pt x="5053" y="2124"/>
                    </a:lnTo>
                    <a:lnTo>
                      <a:pt x="5058" y="2115"/>
                    </a:lnTo>
                    <a:lnTo>
                      <a:pt x="5107" y="2103"/>
                    </a:lnTo>
                    <a:lnTo>
                      <a:pt x="5138" y="2119"/>
                    </a:lnTo>
                    <a:lnTo>
                      <a:pt x="5079" y="2124"/>
                    </a:lnTo>
                    <a:lnTo>
                      <a:pt x="5112" y="2124"/>
                    </a:lnTo>
                    <a:lnTo>
                      <a:pt x="5124" y="2136"/>
                    </a:lnTo>
                    <a:lnTo>
                      <a:pt x="5079" y="2136"/>
                    </a:lnTo>
                    <a:lnTo>
                      <a:pt x="5138" y="2152"/>
                    </a:lnTo>
                    <a:lnTo>
                      <a:pt x="5020" y="2136"/>
                    </a:lnTo>
                    <a:lnTo>
                      <a:pt x="5112" y="2157"/>
                    </a:lnTo>
                    <a:lnTo>
                      <a:pt x="5058" y="2169"/>
                    </a:lnTo>
                    <a:lnTo>
                      <a:pt x="5091" y="2169"/>
                    </a:lnTo>
                    <a:lnTo>
                      <a:pt x="5070" y="2176"/>
                    </a:lnTo>
                    <a:lnTo>
                      <a:pt x="5150" y="2176"/>
                    </a:lnTo>
                    <a:lnTo>
                      <a:pt x="5145" y="2181"/>
                    </a:lnTo>
                    <a:lnTo>
                      <a:pt x="5145" y="2197"/>
                    </a:lnTo>
                    <a:lnTo>
                      <a:pt x="5162" y="2181"/>
                    </a:lnTo>
                    <a:lnTo>
                      <a:pt x="5176" y="2192"/>
                    </a:lnTo>
                    <a:lnTo>
                      <a:pt x="5167" y="2192"/>
                    </a:lnTo>
                    <a:lnTo>
                      <a:pt x="5183" y="2192"/>
                    </a:lnTo>
                    <a:lnTo>
                      <a:pt x="5183" y="2181"/>
                    </a:lnTo>
                    <a:lnTo>
                      <a:pt x="5214" y="2192"/>
                    </a:lnTo>
                    <a:lnTo>
                      <a:pt x="5192" y="2197"/>
                    </a:lnTo>
                    <a:lnTo>
                      <a:pt x="5138" y="2209"/>
                    </a:lnTo>
                    <a:lnTo>
                      <a:pt x="5129" y="2214"/>
                    </a:lnTo>
                    <a:lnTo>
                      <a:pt x="5145" y="2209"/>
                    </a:lnTo>
                    <a:lnTo>
                      <a:pt x="5150" y="2214"/>
                    </a:lnTo>
                    <a:lnTo>
                      <a:pt x="5145" y="2214"/>
                    </a:lnTo>
                    <a:lnTo>
                      <a:pt x="5150" y="2214"/>
                    </a:lnTo>
                    <a:lnTo>
                      <a:pt x="5176" y="2197"/>
                    </a:lnTo>
                    <a:lnTo>
                      <a:pt x="5192" y="2209"/>
                    </a:lnTo>
                    <a:lnTo>
                      <a:pt x="5176" y="2209"/>
                    </a:lnTo>
                    <a:lnTo>
                      <a:pt x="5162" y="2230"/>
                    </a:lnTo>
                    <a:lnTo>
                      <a:pt x="5145" y="2226"/>
                    </a:lnTo>
                    <a:lnTo>
                      <a:pt x="5162" y="2230"/>
                    </a:lnTo>
                    <a:lnTo>
                      <a:pt x="5167" y="2214"/>
                    </a:lnTo>
                    <a:lnTo>
                      <a:pt x="5192" y="2209"/>
                    </a:lnTo>
                    <a:lnTo>
                      <a:pt x="5204" y="2214"/>
                    </a:lnTo>
                    <a:lnTo>
                      <a:pt x="5192" y="2247"/>
                    </a:lnTo>
                    <a:lnTo>
                      <a:pt x="5214" y="2230"/>
                    </a:lnTo>
                    <a:lnTo>
                      <a:pt x="5214" y="2247"/>
                    </a:lnTo>
                    <a:lnTo>
                      <a:pt x="5221" y="2230"/>
                    </a:lnTo>
                    <a:lnTo>
                      <a:pt x="5237" y="2230"/>
                    </a:lnTo>
                    <a:lnTo>
                      <a:pt x="5230" y="2235"/>
                    </a:lnTo>
                    <a:lnTo>
                      <a:pt x="5247" y="2247"/>
                    </a:lnTo>
                    <a:lnTo>
                      <a:pt x="5230" y="2263"/>
                    </a:lnTo>
                    <a:lnTo>
                      <a:pt x="5204" y="2263"/>
                    </a:lnTo>
                    <a:lnTo>
                      <a:pt x="5237" y="2268"/>
                    </a:lnTo>
                    <a:lnTo>
                      <a:pt x="5237" y="2252"/>
                    </a:lnTo>
                    <a:lnTo>
                      <a:pt x="5268" y="2235"/>
                    </a:lnTo>
                    <a:lnTo>
                      <a:pt x="5268" y="2226"/>
                    </a:lnTo>
                    <a:lnTo>
                      <a:pt x="5268" y="2235"/>
                    </a:lnTo>
                    <a:lnTo>
                      <a:pt x="5259" y="2252"/>
                    </a:lnTo>
                    <a:lnTo>
                      <a:pt x="5259" y="2263"/>
                    </a:lnTo>
                    <a:lnTo>
                      <a:pt x="5259" y="2292"/>
                    </a:lnTo>
                    <a:lnTo>
                      <a:pt x="5259" y="2268"/>
                    </a:lnTo>
                    <a:lnTo>
                      <a:pt x="5275" y="2252"/>
                    </a:lnTo>
                    <a:lnTo>
                      <a:pt x="5275" y="2247"/>
                    </a:lnTo>
                    <a:lnTo>
                      <a:pt x="5301" y="2247"/>
                    </a:lnTo>
                    <a:lnTo>
                      <a:pt x="5285" y="2268"/>
                    </a:lnTo>
                    <a:lnTo>
                      <a:pt x="5306" y="2292"/>
                    </a:lnTo>
                    <a:lnTo>
                      <a:pt x="5306" y="2285"/>
                    </a:lnTo>
                    <a:lnTo>
                      <a:pt x="5289" y="2268"/>
                    </a:lnTo>
                    <a:lnTo>
                      <a:pt x="5301" y="2252"/>
                    </a:lnTo>
                    <a:lnTo>
                      <a:pt x="5327" y="2235"/>
                    </a:lnTo>
                    <a:lnTo>
                      <a:pt x="5355" y="2247"/>
                    </a:lnTo>
                    <a:lnTo>
                      <a:pt x="5327" y="2263"/>
                    </a:lnTo>
                    <a:lnTo>
                      <a:pt x="5327" y="2268"/>
                    </a:lnTo>
                    <a:lnTo>
                      <a:pt x="5313" y="2285"/>
                    </a:lnTo>
                    <a:lnTo>
                      <a:pt x="5339" y="2268"/>
                    </a:lnTo>
                    <a:lnTo>
                      <a:pt x="5344" y="2268"/>
                    </a:lnTo>
                    <a:lnTo>
                      <a:pt x="5344" y="2285"/>
                    </a:lnTo>
                    <a:lnTo>
                      <a:pt x="5344" y="2268"/>
                    </a:lnTo>
                    <a:lnTo>
                      <a:pt x="5365" y="2268"/>
                    </a:lnTo>
                    <a:lnTo>
                      <a:pt x="5377" y="2280"/>
                    </a:lnTo>
                    <a:lnTo>
                      <a:pt x="5355" y="2285"/>
                    </a:lnTo>
                    <a:lnTo>
                      <a:pt x="5377" y="2280"/>
                    </a:lnTo>
                    <a:lnTo>
                      <a:pt x="5398" y="2303"/>
                    </a:lnTo>
                    <a:lnTo>
                      <a:pt x="5365" y="2308"/>
                    </a:lnTo>
                    <a:lnTo>
                      <a:pt x="5398" y="2308"/>
                    </a:lnTo>
                    <a:lnTo>
                      <a:pt x="5410" y="2337"/>
                    </a:lnTo>
                    <a:lnTo>
                      <a:pt x="5344" y="2325"/>
                    </a:lnTo>
                    <a:lnTo>
                      <a:pt x="5381" y="2337"/>
                    </a:lnTo>
                    <a:lnTo>
                      <a:pt x="5344" y="2341"/>
                    </a:lnTo>
                    <a:lnTo>
                      <a:pt x="5398" y="2337"/>
                    </a:lnTo>
                    <a:lnTo>
                      <a:pt x="5360" y="2346"/>
                    </a:lnTo>
                    <a:lnTo>
                      <a:pt x="5355" y="2363"/>
                    </a:lnTo>
                    <a:lnTo>
                      <a:pt x="5365" y="2346"/>
                    </a:lnTo>
                    <a:lnTo>
                      <a:pt x="5436" y="2341"/>
                    </a:lnTo>
                    <a:lnTo>
                      <a:pt x="5415" y="2374"/>
                    </a:lnTo>
                    <a:lnTo>
                      <a:pt x="5448" y="2346"/>
                    </a:lnTo>
                    <a:lnTo>
                      <a:pt x="5448" y="2337"/>
                    </a:lnTo>
                    <a:lnTo>
                      <a:pt x="5462" y="2325"/>
                    </a:lnTo>
                    <a:lnTo>
                      <a:pt x="5474" y="2341"/>
                    </a:lnTo>
                    <a:lnTo>
                      <a:pt x="5452" y="2358"/>
                    </a:lnTo>
                    <a:lnTo>
                      <a:pt x="5452" y="2374"/>
                    </a:lnTo>
                    <a:lnTo>
                      <a:pt x="5415" y="2391"/>
                    </a:lnTo>
                    <a:lnTo>
                      <a:pt x="5436" y="2391"/>
                    </a:lnTo>
                    <a:lnTo>
                      <a:pt x="5436" y="2379"/>
                    </a:lnTo>
                    <a:lnTo>
                      <a:pt x="5436" y="2403"/>
                    </a:lnTo>
                    <a:lnTo>
                      <a:pt x="5452" y="2379"/>
                    </a:lnTo>
                    <a:lnTo>
                      <a:pt x="5485" y="2374"/>
                    </a:lnTo>
                    <a:lnTo>
                      <a:pt x="5474" y="2412"/>
                    </a:lnTo>
                    <a:lnTo>
                      <a:pt x="5490" y="2396"/>
                    </a:lnTo>
                    <a:lnTo>
                      <a:pt x="5490" y="2374"/>
                    </a:lnTo>
                    <a:lnTo>
                      <a:pt x="5500" y="2374"/>
                    </a:lnTo>
                    <a:lnTo>
                      <a:pt x="5523" y="2403"/>
                    </a:lnTo>
                    <a:lnTo>
                      <a:pt x="5507" y="2379"/>
                    </a:lnTo>
                    <a:lnTo>
                      <a:pt x="5528" y="2363"/>
                    </a:lnTo>
                    <a:lnTo>
                      <a:pt x="5537" y="2363"/>
                    </a:lnTo>
                    <a:lnTo>
                      <a:pt x="5528" y="2379"/>
                    </a:lnTo>
                    <a:lnTo>
                      <a:pt x="5561" y="2374"/>
                    </a:lnTo>
                    <a:lnTo>
                      <a:pt x="5592" y="2412"/>
                    </a:lnTo>
                    <a:lnTo>
                      <a:pt x="5575" y="2419"/>
                    </a:lnTo>
                    <a:lnTo>
                      <a:pt x="5544" y="2403"/>
                    </a:lnTo>
                    <a:lnTo>
                      <a:pt x="5528" y="2412"/>
                    </a:lnTo>
                    <a:lnTo>
                      <a:pt x="5554" y="2412"/>
                    </a:lnTo>
                    <a:lnTo>
                      <a:pt x="5570" y="2429"/>
                    </a:lnTo>
                    <a:lnTo>
                      <a:pt x="5544" y="2436"/>
                    </a:lnTo>
                    <a:lnTo>
                      <a:pt x="5575" y="2448"/>
                    </a:lnTo>
                    <a:lnTo>
                      <a:pt x="5544" y="2452"/>
                    </a:lnTo>
                    <a:lnTo>
                      <a:pt x="5507" y="2436"/>
                    </a:lnTo>
                    <a:lnTo>
                      <a:pt x="5490" y="2436"/>
                    </a:lnTo>
                    <a:lnTo>
                      <a:pt x="5516" y="2452"/>
                    </a:lnTo>
                    <a:lnTo>
                      <a:pt x="5490" y="2457"/>
                    </a:lnTo>
                    <a:lnTo>
                      <a:pt x="5474" y="2452"/>
                    </a:lnTo>
                    <a:lnTo>
                      <a:pt x="5490" y="2469"/>
                    </a:lnTo>
                    <a:lnTo>
                      <a:pt x="5528" y="2469"/>
                    </a:lnTo>
                    <a:lnTo>
                      <a:pt x="5544" y="2485"/>
                    </a:lnTo>
                    <a:lnTo>
                      <a:pt x="5485" y="2485"/>
                    </a:lnTo>
                    <a:lnTo>
                      <a:pt x="5474" y="2469"/>
                    </a:lnTo>
                    <a:lnTo>
                      <a:pt x="5469" y="2474"/>
                    </a:lnTo>
                    <a:lnTo>
                      <a:pt x="5516" y="2490"/>
                    </a:lnTo>
                    <a:lnTo>
                      <a:pt x="5516" y="2507"/>
                    </a:lnTo>
                    <a:lnTo>
                      <a:pt x="5500" y="2507"/>
                    </a:lnTo>
                    <a:lnTo>
                      <a:pt x="5474" y="2502"/>
                    </a:lnTo>
                    <a:lnTo>
                      <a:pt x="5500" y="2514"/>
                    </a:lnTo>
                    <a:lnTo>
                      <a:pt x="5485" y="2514"/>
                    </a:lnTo>
                    <a:lnTo>
                      <a:pt x="5500" y="2523"/>
                    </a:lnTo>
                    <a:lnTo>
                      <a:pt x="5490" y="2540"/>
                    </a:lnTo>
                    <a:lnTo>
                      <a:pt x="5485" y="2540"/>
                    </a:lnTo>
                    <a:lnTo>
                      <a:pt x="5474" y="2514"/>
                    </a:lnTo>
                    <a:lnTo>
                      <a:pt x="5474" y="2530"/>
                    </a:lnTo>
                    <a:lnTo>
                      <a:pt x="5474" y="2540"/>
                    </a:lnTo>
                    <a:lnTo>
                      <a:pt x="5452" y="2530"/>
                    </a:lnTo>
                    <a:lnTo>
                      <a:pt x="5436" y="2507"/>
                    </a:lnTo>
                    <a:lnTo>
                      <a:pt x="5448" y="2530"/>
                    </a:lnTo>
                    <a:lnTo>
                      <a:pt x="5419" y="2523"/>
                    </a:lnTo>
                    <a:lnTo>
                      <a:pt x="5448" y="2540"/>
                    </a:lnTo>
                    <a:lnTo>
                      <a:pt x="5431" y="2540"/>
                    </a:lnTo>
                    <a:lnTo>
                      <a:pt x="5452" y="2556"/>
                    </a:lnTo>
                    <a:lnTo>
                      <a:pt x="5419" y="2547"/>
                    </a:lnTo>
                    <a:lnTo>
                      <a:pt x="5448" y="2568"/>
                    </a:lnTo>
                    <a:lnTo>
                      <a:pt x="5436" y="2585"/>
                    </a:lnTo>
                    <a:lnTo>
                      <a:pt x="5448" y="2596"/>
                    </a:lnTo>
                    <a:lnTo>
                      <a:pt x="5431" y="2618"/>
                    </a:lnTo>
                    <a:lnTo>
                      <a:pt x="5415" y="2613"/>
                    </a:lnTo>
                    <a:lnTo>
                      <a:pt x="5419" y="2601"/>
                    </a:lnTo>
                    <a:lnTo>
                      <a:pt x="5410" y="2596"/>
                    </a:lnTo>
                    <a:lnTo>
                      <a:pt x="5393" y="2601"/>
                    </a:lnTo>
                    <a:lnTo>
                      <a:pt x="5381" y="2596"/>
                    </a:lnTo>
                    <a:lnTo>
                      <a:pt x="5393" y="2585"/>
                    </a:lnTo>
                    <a:lnTo>
                      <a:pt x="5377" y="2585"/>
                    </a:lnTo>
                    <a:lnTo>
                      <a:pt x="5377" y="2568"/>
                    </a:lnTo>
                    <a:lnTo>
                      <a:pt x="5381" y="2556"/>
                    </a:lnTo>
                    <a:lnTo>
                      <a:pt x="5365" y="2568"/>
                    </a:lnTo>
                    <a:lnTo>
                      <a:pt x="5360" y="2596"/>
                    </a:lnTo>
                    <a:lnTo>
                      <a:pt x="5339" y="2568"/>
                    </a:lnTo>
                    <a:lnTo>
                      <a:pt x="5355" y="2563"/>
                    </a:lnTo>
                    <a:lnTo>
                      <a:pt x="5339" y="2563"/>
                    </a:lnTo>
                    <a:lnTo>
                      <a:pt x="5365" y="2547"/>
                    </a:lnTo>
                    <a:lnTo>
                      <a:pt x="5327" y="2563"/>
                    </a:lnTo>
                    <a:lnTo>
                      <a:pt x="5322" y="2556"/>
                    </a:lnTo>
                    <a:lnTo>
                      <a:pt x="5355" y="2530"/>
                    </a:lnTo>
                    <a:lnTo>
                      <a:pt x="5327" y="2540"/>
                    </a:lnTo>
                    <a:lnTo>
                      <a:pt x="5306" y="2540"/>
                    </a:lnTo>
                    <a:lnTo>
                      <a:pt x="5344" y="2523"/>
                    </a:lnTo>
                    <a:lnTo>
                      <a:pt x="5322" y="2530"/>
                    </a:lnTo>
                    <a:lnTo>
                      <a:pt x="5289" y="2514"/>
                    </a:lnTo>
                    <a:lnTo>
                      <a:pt x="5306" y="2502"/>
                    </a:lnTo>
                    <a:lnTo>
                      <a:pt x="5355" y="2490"/>
                    </a:lnTo>
                    <a:lnTo>
                      <a:pt x="5344" y="2485"/>
                    </a:lnTo>
                    <a:lnTo>
                      <a:pt x="5355" y="2457"/>
                    </a:lnTo>
                    <a:lnTo>
                      <a:pt x="5377" y="2448"/>
                    </a:lnTo>
                    <a:lnTo>
                      <a:pt x="5355" y="2452"/>
                    </a:lnTo>
                    <a:lnTo>
                      <a:pt x="5339" y="2474"/>
                    </a:lnTo>
                    <a:lnTo>
                      <a:pt x="5268" y="2490"/>
                    </a:lnTo>
                    <a:lnTo>
                      <a:pt x="5259" y="2485"/>
                    </a:lnTo>
                    <a:lnTo>
                      <a:pt x="5285" y="2469"/>
                    </a:lnTo>
                    <a:lnTo>
                      <a:pt x="5301" y="2448"/>
                    </a:lnTo>
                    <a:lnTo>
                      <a:pt x="5285" y="2469"/>
                    </a:lnTo>
                    <a:lnTo>
                      <a:pt x="5252" y="2474"/>
                    </a:lnTo>
                    <a:lnTo>
                      <a:pt x="5247" y="2457"/>
                    </a:lnTo>
                    <a:lnTo>
                      <a:pt x="5221" y="2457"/>
                    </a:lnTo>
                    <a:lnTo>
                      <a:pt x="5221" y="2448"/>
                    </a:lnTo>
                    <a:lnTo>
                      <a:pt x="5230" y="2436"/>
                    </a:lnTo>
                    <a:lnTo>
                      <a:pt x="5204" y="2448"/>
                    </a:lnTo>
                    <a:lnTo>
                      <a:pt x="5200" y="2419"/>
                    </a:lnTo>
                    <a:lnTo>
                      <a:pt x="5183" y="2412"/>
                    </a:lnTo>
                    <a:lnTo>
                      <a:pt x="5200" y="2419"/>
                    </a:lnTo>
                    <a:lnTo>
                      <a:pt x="5183" y="2429"/>
                    </a:lnTo>
                    <a:lnTo>
                      <a:pt x="5167" y="2419"/>
                    </a:lnTo>
                    <a:lnTo>
                      <a:pt x="5138" y="2419"/>
                    </a:lnTo>
                    <a:lnTo>
                      <a:pt x="5183" y="2436"/>
                    </a:lnTo>
                    <a:lnTo>
                      <a:pt x="5176" y="2448"/>
                    </a:lnTo>
                    <a:lnTo>
                      <a:pt x="5162" y="2436"/>
                    </a:lnTo>
                    <a:lnTo>
                      <a:pt x="5183" y="2452"/>
                    </a:lnTo>
                    <a:lnTo>
                      <a:pt x="5167" y="2452"/>
                    </a:lnTo>
                    <a:lnTo>
                      <a:pt x="5124" y="2429"/>
                    </a:lnTo>
                    <a:lnTo>
                      <a:pt x="5145" y="2457"/>
                    </a:lnTo>
                    <a:lnTo>
                      <a:pt x="5176" y="2485"/>
                    </a:lnTo>
                    <a:lnTo>
                      <a:pt x="5176" y="2490"/>
                    </a:lnTo>
                    <a:lnTo>
                      <a:pt x="5176" y="2502"/>
                    </a:lnTo>
                    <a:lnTo>
                      <a:pt x="5129" y="2502"/>
                    </a:lnTo>
                    <a:lnTo>
                      <a:pt x="5107" y="2469"/>
                    </a:lnTo>
                    <a:lnTo>
                      <a:pt x="5058" y="2469"/>
                    </a:lnTo>
                    <a:lnTo>
                      <a:pt x="5112" y="2485"/>
                    </a:lnTo>
                    <a:lnTo>
                      <a:pt x="5112" y="2490"/>
                    </a:lnTo>
                    <a:lnTo>
                      <a:pt x="5096" y="2485"/>
                    </a:lnTo>
                    <a:lnTo>
                      <a:pt x="5096" y="2502"/>
                    </a:lnTo>
                    <a:lnTo>
                      <a:pt x="5112" y="2502"/>
                    </a:lnTo>
                    <a:lnTo>
                      <a:pt x="5107" y="2514"/>
                    </a:lnTo>
                    <a:lnTo>
                      <a:pt x="5129" y="2514"/>
                    </a:lnTo>
                    <a:lnTo>
                      <a:pt x="5112" y="2540"/>
                    </a:lnTo>
                    <a:lnTo>
                      <a:pt x="5124" y="2540"/>
                    </a:lnTo>
                    <a:lnTo>
                      <a:pt x="5124" y="2547"/>
                    </a:lnTo>
                    <a:lnTo>
                      <a:pt x="5138" y="2530"/>
                    </a:lnTo>
                    <a:lnTo>
                      <a:pt x="5167" y="2530"/>
                    </a:lnTo>
                    <a:lnTo>
                      <a:pt x="5162" y="2547"/>
                    </a:lnTo>
                    <a:lnTo>
                      <a:pt x="5183" y="2556"/>
                    </a:lnTo>
                    <a:lnTo>
                      <a:pt x="5162" y="2563"/>
                    </a:lnTo>
                    <a:lnTo>
                      <a:pt x="5200" y="2580"/>
                    </a:lnTo>
                    <a:lnTo>
                      <a:pt x="5192" y="2596"/>
                    </a:lnTo>
                    <a:lnTo>
                      <a:pt x="5183" y="2601"/>
                    </a:lnTo>
                    <a:lnTo>
                      <a:pt x="5204" y="2585"/>
                    </a:lnTo>
                    <a:lnTo>
                      <a:pt x="5204" y="2601"/>
                    </a:lnTo>
                    <a:lnTo>
                      <a:pt x="5214" y="2634"/>
                    </a:lnTo>
                    <a:lnTo>
                      <a:pt x="5214" y="2601"/>
                    </a:lnTo>
                    <a:lnTo>
                      <a:pt x="5252" y="2618"/>
                    </a:lnTo>
                    <a:lnTo>
                      <a:pt x="5247" y="2641"/>
                    </a:lnTo>
                    <a:lnTo>
                      <a:pt x="5259" y="2625"/>
                    </a:lnTo>
                    <a:lnTo>
                      <a:pt x="5259" y="2641"/>
                    </a:lnTo>
                    <a:lnTo>
                      <a:pt x="5268" y="2641"/>
                    </a:lnTo>
                    <a:lnTo>
                      <a:pt x="5259" y="2618"/>
                    </a:lnTo>
                    <a:lnTo>
                      <a:pt x="5285" y="2625"/>
                    </a:lnTo>
                    <a:lnTo>
                      <a:pt x="5285" y="2641"/>
                    </a:lnTo>
                    <a:lnTo>
                      <a:pt x="5285" y="2634"/>
                    </a:lnTo>
                    <a:lnTo>
                      <a:pt x="5289" y="2641"/>
                    </a:lnTo>
                    <a:lnTo>
                      <a:pt x="5285" y="2667"/>
                    </a:lnTo>
                    <a:lnTo>
                      <a:pt x="5313" y="2658"/>
                    </a:lnTo>
                    <a:lnTo>
                      <a:pt x="5322" y="2674"/>
                    </a:lnTo>
                    <a:lnTo>
                      <a:pt x="5313" y="2691"/>
                    </a:lnTo>
                    <a:lnTo>
                      <a:pt x="5285" y="2691"/>
                    </a:lnTo>
                    <a:lnTo>
                      <a:pt x="5301" y="2691"/>
                    </a:lnTo>
                    <a:lnTo>
                      <a:pt x="5327" y="2712"/>
                    </a:lnTo>
                    <a:lnTo>
                      <a:pt x="5313" y="2724"/>
                    </a:lnTo>
                    <a:lnTo>
                      <a:pt x="5355" y="2724"/>
                    </a:lnTo>
                    <a:lnTo>
                      <a:pt x="5327" y="2745"/>
                    </a:lnTo>
                    <a:lnTo>
                      <a:pt x="5360" y="2762"/>
                    </a:lnTo>
                    <a:lnTo>
                      <a:pt x="5365" y="2802"/>
                    </a:lnTo>
                    <a:lnTo>
                      <a:pt x="5360" y="2802"/>
                    </a:lnTo>
                    <a:lnTo>
                      <a:pt x="5365" y="2802"/>
                    </a:lnTo>
                    <a:lnTo>
                      <a:pt x="5360" y="2807"/>
                    </a:lnTo>
                    <a:lnTo>
                      <a:pt x="5344" y="2802"/>
                    </a:lnTo>
                    <a:lnTo>
                      <a:pt x="5339" y="2762"/>
                    </a:lnTo>
                    <a:lnTo>
                      <a:pt x="5306" y="2745"/>
                    </a:lnTo>
                    <a:lnTo>
                      <a:pt x="5327" y="2762"/>
                    </a:lnTo>
                    <a:lnTo>
                      <a:pt x="5322" y="2778"/>
                    </a:lnTo>
                    <a:lnTo>
                      <a:pt x="5339" y="2807"/>
                    </a:lnTo>
                    <a:lnTo>
                      <a:pt x="5322" y="2802"/>
                    </a:lnTo>
                    <a:lnTo>
                      <a:pt x="5327" y="2818"/>
                    </a:lnTo>
                    <a:lnTo>
                      <a:pt x="5344" y="2823"/>
                    </a:lnTo>
                    <a:lnTo>
                      <a:pt x="5344" y="2840"/>
                    </a:lnTo>
                    <a:lnTo>
                      <a:pt x="5355" y="2847"/>
                    </a:lnTo>
                    <a:lnTo>
                      <a:pt x="5339" y="2847"/>
                    </a:lnTo>
                    <a:lnTo>
                      <a:pt x="5313" y="2840"/>
                    </a:lnTo>
                    <a:lnTo>
                      <a:pt x="5339" y="2873"/>
                    </a:lnTo>
                    <a:lnTo>
                      <a:pt x="5313" y="2889"/>
                    </a:lnTo>
                    <a:lnTo>
                      <a:pt x="5313" y="2873"/>
                    </a:lnTo>
                    <a:lnTo>
                      <a:pt x="5306" y="2873"/>
                    </a:lnTo>
                    <a:lnTo>
                      <a:pt x="5306" y="2856"/>
                    </a:lnTo>
                    <a:lnTo>
                      <a:pt x="5289" y="2856"/>
                    </a:lnTo>
                    <a:lnTo>
                      <a:pt x="5268" y="2847"/>
                    </a:lnTo>
                    <a:lnTo>
                      <a:pt x="5268" y="2835"/>
                    </a:lnTo>
                    <a:lnTo>
                      <a:pt x="5259" y="2840"/>
                    </a:lnTo>
                    <a:lnTo>
                      <a:pt x="5237" y="2823"/>
                    </a:lnTo>
                    <a:lnTo>
                      <a:pt x="5252" y="2840"/>
                    </a:lnTo>
                    <a:lnTo>
                      <a:pt x="5230" y="2835"/>
                    </a:lnTo>
                    <a:lnTo>
                      <a:pt x="5214" y="2790"/>
                    </a:lnTo>
                    <a:lnTo>
                      <a:pt x="5204" y="2802"/>
                    </a:lnTo>
                    <a:lnTo>
                      <a:pt x="5221" y="2818"/>
                    </a:lnTo>
                    <a:lnTo>
                      <a:pt x="5221" y="2840"/>
                    </a:lnTo>
                    <a:lnTo>
                      <a:pt x="5204" y="2823"/>
                    </a:lnTo>
                    <a:lnTo>
                      <a:pt x="5204" y="2807"/>
                    </a:lnTo>
                    <a:lnTo>
                      <a:pt x="5200" y="2818"/>
                    </a:lnTo>
                    <a:lnTo>
                      <a:pt x="5192" y="2807"/>
                    </a:lnTo>
                    <a:lnTo>
                      <a:pt x="5192" y="2790"/>
                    </a:lnTo>
                    <a:lnTo>
                      <a:pt x="5192" y="2802"/>
                    </a:lnTo>
                    <a:lnTo>
                      <a:pt x="5176" y="2807"/>
                    </a:lnTo>
                    <a:lnTo>
                      <a:pt x="5129" y="2752"/>
                    </a:lnTo>
                    <a:lnTo>
                      <a:pt x="5145" y="2790"/>
                    </a:lnTo>
                    <a:lnTo>
                      <a:pt x="5079" y="2752"/>
                    </a:lnTo>
                    <a:lnTo>
                      <a:pt x="5053" y="2752"/>
                    </a:lnTo>
                    <a:lnTo>
                      <a:pt x="5107" y="2818"/>
                    </a:lnTo>
                    <a:lnTo>
                      <a:pt x="5145" y="2823"/>
                    </a:lnTo>
                    <a:lnTo>
                      <a:pt x="5138" y="2835"/>
                    </a:lnTo>
                    <a:lnTo>
                      <a:pt x="5138" y="2840"/>
                    </a:lnTo>
                    <a:lnTo>
                      <a:pt x="5150" y="2835"/>
                    </a:lnTo>
                    <a:lnTo>
                      <a:pt x="5145" y="2847"/>
                    </a:lnTo>
                    <a:lnTo>
                      <a:pt x="5162" y="2840"/>
                    </a:lnTo>
                    <a:lnTo>
                      <a:pt x="5192" y="2873"/>
                    </a:lnTo>
                    <a:lnTo>
                      <a:pt x="5204" y="2873"/>
                    </a:lnTo>
                    <a:lnTo>
                      <a:pt x="5204" y="2880"/>
                    </a:lnTo>
                    <a:lnTo>
                      <a:pt x="5237" y="2896"/>
                    </a:lnTo>
                    <a:lnTo>
                      <a:pt x="5237" y="2901"/>
                    </a:lnTo>
                    <a:lnTo>
                      <a:pt x="5230" y="2913"/>
                    </a:lnTo>
                    <a:lnTo>
                      <a:pt x="5237" y="2918"/>
                    </a:lnTo>
                    <a:lnTo>
                      <a:pt x="5237" y="2913"/>
                    </a:lnTo>
                    <a:lnTo>
                      <a:pt x="5247" y="2913"/>
                    </a:lnTo>
                    <a:lnTo>
                      <a:pt x="5247" y="2918"/>
                    </a:lnTo>
                    <a:lnTo>
                      <a:pt x="5268" y="2929"/>
                    </a:lnTo>
                    <a:lnTo>
                      <a:pt x="5252" y="2934"/>
                    </a:lnTo>
                    <a:lnTo>
                      <a:pt x="5259" y="2955"/>
                    </a:lnTo>
                    <a:lnTo>
                      <a:pt x="5230" y="2955"/>
                    </a:lnTo>
                    <a:lnTo>
                      <a:pt x="5204" y="2946"/>
                    </a:lnTo>
                    <a:lnTo>
                      <a:pt x="5041" y="2901"/>
                    </a:lnTo>
                    <a:lnTo>
                      <a:pt x="5004" y="2873"/>
                    </a:lnTo>
                    <a:lnTo>
                      <a:pt x="5015" y="2863"/>
                    </a:lnTo>
                    <a:lnTo>
                      <a:pt x="4966" y="2863"/>
                    </a:lnTo>
                    <a:lnTo>
                      <a:pt x="4897" y="2840"/>
                    </a:lnTo>
                    <a:lnTo>
                      <a:pt x="4918" y="2823"/>
                    </a:lnTo>
                    <a:lnTo>
                      <a:pt x="4911" y="2818"/>
                    </a:lnTo>
                    <a:lnTo>
                      <a:pt x="4890" y="2835"/>
                    </a:lnTo>
                    <a:lnTo>
                      <a:pt x="4864" y="2818"/>
                    </a:lnTo>
                    <a:lnTo>
                      <a:pt x="4852" y="2790"/>
                    </a:lnTo>
                    <a:lnTo>
                      <a:pt x="4826" y="2785"/>
                    </a:lnTo>
                    <a:lnTo>
                      <a:pt x="4864" y="2785"/>
                    </a:lnTo>
                    <a:lnTo>
                      <a:pt x="4890" y="2769"/>
                    </a:lnTo>
                    <a:lnTo>
                      <a:pt x="4864" y="2769"/>
                    </a:lnTo>
                    <a:lnTo>
                      <a:pt x="4864" y="2752"/>
                    </a:lnTo>
                    <a:lnTo>
                      <a:pt x="4843" y="2745"/>
                    </a:lnTo>
                    <a:lnTo>
                      <a:pt x="4836" y="2752"/>
                    </a:lnTo>
                    <a:lnTo>
                      <a:pt x="4852" y="2752"/>
                    </a:lnTo>
                    <a:lnTo>
                      <a:pt x="4843" y="2762"/>
                    </a:lnTo>
                    <a:lnTo>
                      <a:pt x="4826" y="2752"/>
                    </a:lnTo>
                    <a:lnTo>
                      <a:pt x="4810" y="2762"/>
                    </a:lnTo>
                    <a:lnTo>
                      <a:pt x="4810" y="2752"/>
                    </a:lnTo>
                    <a:lnTo>
                      <a:pt x="4822" y="2736"/>
                    </a:lnTo>
                    <a:lnTo>
                      <a:pt x="4822" y="2729"/>
                    </a:lnTo>
                    <a:lnTo>
                      <a:pt x="4810" y="2745"/>
                    </a:lnTo>
                    <a:lnTo>
                      <a:pt x="4805" y="2745"/>
                    </a:lnTo>
                    <a:lnTo>
                      <a:pt x="4798" y="2736"/>
                    </a:lnTo>
                    <a:lnTo>
                      <a:pt x="4798" y="2724"/>
                    </a:lnTo>
                    <a:lnTo>
                      <a:pt x="4789" y="2712"/>
                    </a:lnTo>
                    <a:lnTo>
                      <a:pt x="4789" y="2729"/>
                    </a:lnTo>
                    <a:lnTo>
                      <a:pt x="4772" y="2712"/>
                    </a:lnTo>
                    <a:lnTo>
                      <a:pt x="4784" y="2712"/>
                    </a:lnTo>
                    <a:lnTo>
                      <a:pt x="4772" y="2707"/>
                    </a:lnTo>
                    <a:lnTo>
                      <a:pt x="4751" y="2691"/>
                    </a:lnTo>
                    <a:lnTo>
                      <a:pt x="4746" y="2691"/>
                    </a:lnTo>
                    <a:lnTo>
                      <a:pt x="4746" y="2674"/>
                    </a:lnTo>
                    <a:lnTo>
                      <a:pt x="4755" y="2658"/>
                    </a:lnTo>
                    <a:lnTo>
                      <a:pt x="4751" y="2641"/>
                    </a:lnTo>
                    <a:lnTo>
                      <a:pt x="4751" y="2658"/>
                    </a:lnTo>
                    <a:lnTo>
                      <a:pt x="4734" y="2667"/>
                    </a:lnTo>
                    <a:lnTo>
                      <a:pt x="4734" y="2651"/>
                    </a:lnTo>
                    <a:lnTo>
                      <a:pt x="4718" y="2651"/>
                    </a:lnTo>
                    <a:lnTo>
                      <a:pt x="4718" y="2658"/>
                    </a:lnTo>
                    <a:lnTo>
                      <a:pt x="4701" y="2651"/>
                    </a:lnTo>
                    <a:lnTo>
                      <a:pt x="4713" y="2667"/>
                    </a:lnTo>
                    <a:lnTo>
                      <a:pt x="4696" y="2679"/>
                    </a:lnTo>
                    <a:lnTo>
                      <a:pt x="4692" y="2658"/>
                    </a:lnTo>
                    <a:lnTo>
                      <a:pt x="4696" y="2658"/>
                    </a:lnTo>
                    <a:lnTo>
                      <a:pt x="4696" y="2634"/>
                    </a:lnTo>
                    <a:lnTo>
                      <a:pt x="4680" y="2658"/>
                    </a:lnTo>
                    <a:lnTo>
                      <a:pt x="4675" y="2658"/>
                    </a:lnTo>
                    <a:lnTo>
                      <a:pt x="4649" y="2634"/>
                    </a:lnTo>
                    <a:lnTo>
                      <a:pt x="4663" y="2625"/>
                    </a:lnTo>
                    <a:lnTo>
                      <a:pt x="4649" y="2618"/>
                    </a:lnTo>
                    <a:lnTo>
                      <a:pt x="4649" y="2634"/>
                    </a:lnTo>
                    <a:lnTo>
                      <a:pt x="4626" y="2625"/>
                    </a:lnTo>
                    <a:lnTo>
                      <a:pt x="4663" y="2658"/>
                    </a:lnTo>
                    <a:lnTo>
                      <a:pt x="4649" y="2679"/>
                    </a:lnTo>
                    <a:lnTo>
                      <a:pt x="4574" y="2651"/>
                    </a:lnTo>
                    <a:lnTo>
                      <a:pt x="4574" y="2658"/>
                    </a:lnTo>
                    <a:lnTo>
                      <a:pt x="4583" y="2667"/>
                    </a:lnTo>
                    <a:lnTo>
                      <a:pt x="4567" y="2667"/>
                    </a:lnTo>
                    <a:lnTo>
                      <a:pt x="4583" y="2679"/>
                    </a:lnTo>
                    <a:lnTo>
                      <a:pt x="4503" y="2691"/>
                    </a:lnTo>
                    <a:lnTo>
                      <a:pt x="4512" y="2696"/>
                    </a:lnTo>
                    <a:lnTo>
                      <a:pt x="4481" y="2691"/>
                    </a:lnTo>
                    <a:lnTo>
                      <a:pt x="4465" y="2696"/>
                    </a:lnTo>
                    <a:lnTo>
                      <a:pt x="4444" y="2674"/>
                    </a:lnTo>
                    <a:lnTo>
                      <a:pt x="4432" y="2679"/>
                    </a:lnTo>
                    <a:lnTo>
                      <a:pt x="4406" y="2658"/>
                    </a:lnTo>
                    <a:lnTo>
                      <a:pt x="4406" y="2634"/>
                    </a:lnTo>
                    <a:lnTo>
                      <a:pt x="4411" y="2625"/>
                    </a:lnTo>
                    <a:lnTo>
                      <a:pt x="4411" y="2613"/>
                    </a:lnTo>
                    <a:lnTo>
                      <a:pt x="4465" y="2585"/>
                    </a:lnTo>
                    <a:lnTo>
                      <a:pt x="4448" y="2568"/>
                    </a:lnTo>
                    <a:lnTo>
                      <a:pt x="4465" y="2563"/>
                    </a:lnTo>
                    <a:lnTo>
                      <a:pt x="4460" y="2556"/>
                    </a:lnTo>
                    <a:lnTo>
                      <a:pt x="4574" y="2580"/>
                    </a:lnTo>
                    <a:lnTo>
                      <a:pt x="4595" y="2601"/>
                    </a:lnTo>
                    <a:lnTo>
                      <a:pt x="4595" y="2613"/>
                    </a:lnTo>
                    <a:lnTo>
                      <a:pt x="4583" y="2613"/>
                    </a:lnTo>
                    <a:lnTo>
                      <a:pt x="4604" y="2641"/>
                    </a:lnTo>
                    <a:lnTo>
                      <a:pt x="4611" y="2634"/>
                    </a:lnTo>
                    <a:lnTo>
                      <a:pt x="4604" y="2618"/>
                    </a:lnTo>
                    <a:lnTo>
                      <a:pt x="4588" y="2618"/>
                    </a:lnTo>
                    <a:lnTo>
                      <a:pt x="4611" y="2613"/>
                    </a:lnTo>
                    <a:lnTo>
                      <a:pt x="4611" y="2596"/>
                    </a:lnTo>
                    <a:lnTo>
                      <a:pt x="4604" y="2601"/>
                    </a:lnTo>
                    <a:lnTo>
                      <a:pt x="4567" y="2568"/>
                    </a:lnTo>
                    <a:lnTo>
                      <a:pt x="4611" y="2580"/>
                    </a:lnTo>
                    <a:lnTo>
                      <a:pt x="4621" y="2568"/>
                    </a:lnTo>
                    <a:lnTo>
                      <a:pt x="4621" y="2563"/>
                    </a:lnTo>
                    <a:lnTo>
                      <a:pt x="4663" y="2568"/>
                    </a:lnTo>
                    <a:lnTo>
                      <a:pt x="4692" y="2547"/>
                    </a:lnTo>
                    <a:lnTo>
                      <a:pt x="4734" y="2547"/>
                    </a:lnTo>
                    <a:lnTo>
                      <a:pt x="4718" y="2514"/>
                    </a:lnTo>
                    <a:lnTo>
                      <a:pt x="4696" y="2502"/>
                    </a:lnTo>
                    <a:lnTo>
                      <a:pt x="4663" y="2469"/>
                    </a:lnTo>
                    <a:lnTo>
                      <a:pt x="4734" y="2419"/>
                    </a:lnTo>
                    <a:lnTo>
                      <a:pt x="4755" y="2403"/>
                    </a:lnTo>
                    <a:lnTo>
                      <a:pt x="4784" y="2363"/>
                    </a:lnTo>
                    <a:lnTo>
                      <a:pt x="4810" y="2358"/>
                    </a:lnTo>
                    <a:lnTo>
                      <a:pt x="4822" y="2341"/>
                    </a:lnTo>
                    <a:lnTo>
                      <a:pt x="4805" y="2292"/>
                    </a:lnTo>
                    <a:lnTo>
                      <a:pt x="4789" y="2285"/>
                    </a:lnTo>
                    <a:lnTo>
                      <a:pt x="4798" y="2268"/>
                    </a:lnTo>
                    <a:lnTo>
                      <a:pt x="4772" y="2252"/>
                    </a:lnTo>
                    <a:lnTo>
                      <a:pt x="4772" y="2247"/>
                    </a:lnTo>
                    <a:lnTo>
                      <a:pt x="4767" y="2226"/>
                    </a:lnTo>
                    <a:lnTo>
                      <a:pt x="4734" y="2214"/>
                    </a:lnTo>
                    <a:lnTo>
                      <a:pt x="4751" y="2197"/>
                    </a:lnTo>
                    <a:lnTo>
                      <a:pt x="4729" y="2214"/>
                    </a:lnTo>
                    <a:lnTo>
                      <a:pt x="4713" y="2209"/>
                    </a:lnTo>
                    <a:lnTo>
                      <a:pt x="4701" y="2181"/>
                    </a:lnTo>
                    <a:lnTo>
                      <a:pt x="4718" y="2181"/>
                    </a:lnTo>
                    <a:lnTo>
                      <a:pt x="4718" y="2157"/>
                    </a:lnTo>
                    <a:lnTo>
                      <a:pt x="4692" y="2157"/>
                    </a:lnTo>
                    <a:lnTo>
                      <a:pt x="4701" y="2176"/>
                    </a:lnTo>
                    <a:lnTo>
                      <a:pt x="4696" y="2181"/>
                    </a:lnTo>
                    <a:lnTo>
                      <a:pt x="4675" y="2176"/>
                    </a:lnTo>
                    <a:lnTo>
                      <a:pt x="4649" y="2152"/>
                    </a:lnTo>
                    <a:lnTo>
                      <a:pt x="4659" y="2140"/>
                    </a:lnTo>
                    <a:lnTo>
                      <a:pt x="4637" y="2140"/>
                    </a:lnTo>
                    <a:lnTo>
                      <a:pt x="4649" y="2124"/>
                    </a:lnTo>
                    <a:lnTo>
                      <a:pt x="4626" y="2124"/>
                    </a:lnTo>
                    <a:lnTo>
                      <a:pt x="4649" y="2119"/>
                    </a:lnTo>
                    <a:lnTo>
                      <a:pt x="4642" y="2115"/>
                    </a:lnTo>
                    <a:lnTo>
                      <a:pt x="4626" y="2119"/>
                    </a:lnTo>
                    <a:lnTo>
                      <a:pt x="4621" y="2136"/>
                    </a:lnTo>
                    <a:lnTo>
                      <a:pt x="4595" y="2119"/>
                    </a:lnTo>
                    <a:lnTo>
                      <a:pt x="4588" y="2136"/>
                    </a:lnTo>
                    <a:lnTo>
                      <a:pt x="4512" y="2157"/>
                    </a:lnTo>
                    <a:lnTo>
                      <a:pt x="4512" y="2152"/>
                    </a:lnTo>
                    <a:lnTo>
                      <a:pt x="4519" y="2136"/>
                    </a:lnTo>
                    <a:lnTo>
                      <a:pt x="4512" y="2124"/>
                    </a:lnTo>
                    <a:lnTo>
                      <a:pt x="4512" y="2119"/>
                    </a:lnTo>
                    <a:lnTo>
                      <a:pt x="4557" y="2119"/>
                    </a:lnTo>
                    <a:lnTo>
                      <a:pt x="4588" y="2115"/>
                    </a:lnTo>
                    <a:lnTo>
                      <a:pt x="4588" y="2098"/>
                    </a:lnTo>
                    <a:lnTo>
                      <a:pt x="4512" y="2048"/>
                    </a:lnTo>
                    <a:lnTo>
                      <a:pt x="4529" y="2041"/>
                    </a:lnTo>
                    <a:lnTo>
                      <a:pt x="4541" y="2029"/>
                    </a:lnTo>
                    <a:lnTo>
                      <a:pt x="4512" y="2029"/>
                    </a:lnTo>
                    <a:lnTo>
                      <a:pt x="4519" y="2041"/>
                    </a:lnTo>
                    <a:lnTo>
                      <a:pt x="4512" y="2048"/>
                    </a:lnTo>
                    <a:lnTo>
                      <a:pt x="4474" y="2041"/>
                    </a:lnTo>
                    <a:lnTo>
                      <a:pt x="4503" y="2029"/>
                    </a:lnTo>
                    <a:lnTo>
                      <a:pt x="4498" y="2013"/>
                    </a:lnTo>
                    <a:lnTo>
                      <a:pt x="4465" y="2013"/>
                    </a:lnTo>
                    <a:lnTo>
                      <a:pt x="4486" y="2003"/>
                    </a:lnTo>
                    <a:lnTo>
                      <a:pt x="4444" y="2025"/>
                    </a:lnTo>
                    <a:lnTo>
                      <a:pt x="4444" y="1970"/>
                    </a:lnTo>
                    <a:lnTo>
                      <a:pt x="4427" y="1959"/>
                    </a:lnTo>
                    <a:lnTo>
                      <a:pt x="4389" y="1970"/>
                    </a:lnTo>
                    <a:lnTo>
                      <a:pt x="4389" y="1954"/>
                    </a:lnTo>
                    <a:lnTo>
                      <a:pt x="4389" y="1947"/>
                    </a:lnTo>
                    <a:lnTo>
                      <a:pt x="4378" y="1954"/>
                    </a:lnTo>
                    <a:lnTo>
                      <a:pt x="4368" y="1937"/>
                    </a:lnTo>
                    <a:lnTo>
                      <a:pt x="4340" y="1930"/>
                    </a:lnTo>
                    <a:lnTo>
                      <a:pt x="4340" y="1921"/>
                    </a:lnTo>
                    <a:lnTo>
                      <a:pt x="4356" y="1914"/>
                    </a:lnTo>
                    <a:lnTo>
                      <a:pt x="4368" y="1921"/>
                    </a:lnTo>
                    <a:lnTo>
                      <a:pt x="4352" y="1904"/>
                    </a:lnTo>
                    <a:lnTo>
                      <a:pt x="4335" y="1914"/>
                    </a:lnTo>
                    <a:lnTo>
                      <a:pt x="4340" y="1914"/>
                    </a:lnTo>
                    <a:lnTo>
                      <a:pt x="4335" y="1937"/>
                    </a:lnTo>
                    <a:lnTo>
                      <a:pt x="4318" y="1930"/>
                    </a:lnTo>
                    <a:lnTo>
                      <a:pt x="4302" y="1947"/>
                    </a:lnTo>
                    <a:lnTo>
                      <a:pt x="4356" y="1954"/>
                    </a:lnTo>
                    <a:lnTo>
                      <a:pt x="4373" y="1992"/>
                    </a:lnTo>
                    <a:lnTo>
                      <a:pt x="4368" y="2008"/>
                    </a:lnTo>
                    <a:lnTo>
                      <a:pt x="4302" y="2008"/>
                    </a:lnTo>
                    <a:lnTo>
                      <a:pt x="4271" y="1992"/>
                    </a:lnTo>
                    <a:lnTo>
                      <a:pt x="4158" y="1975"/>
                    </a:lnTo>
                    <a:lnTo>
                      <a:pt x="4196" y="1992"/>
                    </a:lnTo>
                    <a:lnTo>
                      <a:pt x="4226" y="2025"/>
                    </a:lnTo>
                    <a:lnTo>
                      <a:pt x="4210" y="2029"/>
                    </a:lnTo>
                    <a:lnTo>
                      <a:pt x="4134" y="1975"/>
                    </a:lnTo>
                    <a:lnTo>
                      <a:pt x="4066" y="1954"/>
                    </a:lnTo>
                    <a:lnTo>
                      <a:pt x="4158" y="2003"/>
                    </a:lnTo>
                    <a:lnTo>
                      <a:pt x="4125" y="2025"/>
                    </a:lnTo>
                    <a:lnTo>
                      <a:pt x="4096" y="2008"/>
                    </a:lnTo>
                    <a:lnTo>
                      <a:pt x="4096" y="2008"/>
                    </a:lnTo>
                    <a:lnTo>
                      <a:pt x="4096" y="2008"/>
                    </a:lnTo>
                    <a:close/>
                    <a:moveTo>
                      <a:pt x="4226" y="1493"/>
                    </a:moveTo>
                    <a:lnTo>
                      <a:pt x="4318" y="1510"/>
                    </a:lnTo>
                    <a:lnTo>
                      <a:pt x="4406" y="1498"/>
                    </a:lnTo>
                    <a:lnTo>
                      <a:pt x="4460" y="1515"/>
                    </a:lnTo>
                    <a:lnTo>
                      <a:pt x="4474" y="1526"/>
                    </a:lnTo>
                    <a:lnTo>
                      <a:pt x="4486" y="1543"/>
                    </a:lnTo>
                    <a:lnTo>
                      <a:pt x="4512" y="1548"/>
                    </a:lnTo>
                    <a:lnTo>
                      <a:pt x="4519" y="1571"/>
                    </a:lnTo>
                    <a:lnTo>
                      <a:pt x="4536" y="1581"/>
                    </a:lnTo>
                    <a:lnTo>
                      <a:pt x="4536" y="1597"/>
                    </a:lnTo>
                    <a:lnTo>
                      <a:pt x="4557" y="1604"/>
                    </a:lnTo>
                    <a:lnTo>
                      <a:pt x="4519" y="1621"/>
                    </a:lnTo>
                    <a:lnTo>
                      <a:pt x="4406" y="1609"/>
                    </a:lnTo>
                    <a:lnTo>
                      <a:pt x="4314" y="1626"/>
                    </a:lnTo>
                    <a:lnTo>
                      <a:pt x="4281" y="1609"/>
                    </a:lnTo>
                    <a:lnTo>
                      <a:pt x="4264" y="1588"/>
                    </a:lnTo>
                    <a:lnTo>
                      <a:pt x="4264" y="1564"/>
                    </a:lnTo>
                    <a:lnTo>
                      <a:pt x="4217" y="1548"/>
                    </a:lnTo>
                    <a:lnTo>
                      <a:pt x="4217" y="1493"/>
                    </a:lnTo>
                    <a:lnTo>
                      <a:pt x="4226" y="1493"/>
                    </a:lnTo>
                    <a:lnTo>
                      <a:pt x="4226" y="1493"/>
                    </a:lnTo>
                    <a:lnTo>
                      <a:pt x="4226" y="1493"/>
                    </a:lnTo>
                    <a:close/>
                    <a:moveTo>
                      <a:pt x="2504" y="1604"/>
                    </a:moveTo>
                    <a:lnTo>
                      <a:pt x="2500" y="1604"/>
                    </a:lnTo>
                    <a:lnTo>
                      <a:pt x="2516" y="1609"/>
                    </a:lnTo>
                    <a:lnTo>
                      <a:pt x="2500" y="1609"/>
                    </a:lnTo>
                    <a:lnTo>
                      <a:pt x="2424" y="1543"/>
                    </a:lnTo>
                    <a:lnTo>
                      <a:pt x="2381" y="1526"/>
                    </a:lnTo>
                    <a:lnTo>
                      <a:pt x="2415" y="1493"/>
                    </a:lnTo>
                    <a:lnTo>
                      <a:pt x="2490" y="1486"/>
                    </a:lnTo>
                    <a:lnTo>
                      <a:pt x="2516" y="1486"/>
                    </a:lnTo>
                    <a:lnTo>
                      <a:pt x="2559" y="1515"/>
                    </a:lnTo>
                    <a:lnTo>
                      <a:pt x="2554" y="1548"/>
                    </a:lnTo>
                    <a:lnTo>
                      <a:pt x="2504" y="1604"/>
                    </a:lnTo>
                    <a:lnTo>
                      <a:pt x="2504" y="1604"/>
                    </a:lnTo>
                    <a:lnTo>
                      <a:pt x="2504" y="1604"/>
                    </a:lnTo>
                    <a:close/>
                    <a:moveTo>
                      <a:pt x="1151" y="1493"/>
                    </a:moveTo>
                    <a:lnTo>
                      <a:pt x="1156" y="1498"/>
                    </a:lnTo>
                    <a:lnTo>
                      <a:pt x="1139" y="1493"/>
                    </a:lnTo>
                    <a:lnTo>
                      <a:pt x="1151" y="1493"/>
                    </a:lnTo>
                    <a:lnTo>
                      <a:pt x="1151" y="1493"/>
                    </a:lnTo>
                    <a:lnTo>
                      <a:pt x="1151" y="1493"/>
                    </a:lnTo>
                    <a:close/>
                    <a:moveTo>
                      <a:pt x="1172" y="1510"/>
                    </a:moveTo>
                    <a:lnTo>
                      <a:pt x="1189" y="1515"/>
                    </a:lnTo>
                    <a:lnTo>
                      <a:pt x="1172" y="1515"/>
                    </a:lnTo>
                    <a:lnTo>
                      <a:pt x="1172" y="1510"/>
                    </a:lnTo>
                    <a:lnTo>
                      <a:pt x="1172" y="1510"/>
                    </a:lnTo>
                    <a:lnTo>
                      <a:pt x="1172" y="1510"/>
                    </a:lnTo>
                    <a:close/>
                    <a:moveTo>
                      <a:pt x="2339" y="1515"/>
                    </a:moveTo>
                    <a:lnTo>
                      <a:pt x="2306" y="1510"/>
                    </a:lnTo>
                    <a:lnTo>
                      <a:pt x="2344" y="1510"/>
                    </a:lnTo>
                    <a:lnTo>
                      <a:pt x="2339" y="1515"/>
                    </a:lnTo>
                    <a:lnTo>
                      <a:pt x="2339" y="1515"/>
                    </a:lnTo>
                    <a:lnTo>
                      <a:pt x="2339" y="1515"/>
                    </a:lnTo>
                    <a:close/>
                    <a:moveTo>
                      <a:pt x="2814" y="2025"/>
                    </a:moveTo>
                    <a:lnTo>
                      <a:pt x="2807" y="2041"/>
                    </a:lnTo>
                    <a:lnTo>
                      <a:pt x="2785" y="2029"/>
                    </a:lnTo>
                    <a:lnTo>
                      <a:pt x="2776" y="2013"/>
                    </a:lnTo>
                    <a:lnTo>
                      <a:pt x="2776" y="2008"/>
                    </a:lnTo>
                    <a:lnTo>
                      <a:pt x="2759" y="2029"/>
                    </a:lnTo>
                    <a:lnTo>
                      <a:pt x="2722" y="2003"/>
                    </a:lnTo>
                    <a:lnTo>
                      <a:pt x="2700" y="2025"/>
                    </a:lnTo>
                    <a:lnTo>
                      <a:pt x="2693" y="2025"/>
                    </a:lnTo>
                    <a:lnTo>
                      <a:pt x="2700" y="2029"/>
                    </a:lnTo>
                    <a:lnTo>
                      <a:pt x="2700" y="2048"/>
                    </a:lnTo>
                    <a:lnTo>
                      <a:pt x="2693" y="2048"/>
                    </a:lnTo>
                    <a:lnTo>
                      <a:pt x="2630" y="2029"/>
                    </a:lnTo>
                    <a:lnTo>
                      <a:pt x="2630" y="2041"/>
                    </a:lnTo>
                    <a:lnTo>
                      <a:pt x="2663" y="2058"/>
                    </a:lnTo>
                    <a:lnTo>
                      <a:pt x="2663" y="2086"/>
                    </a:lnTo>
                    <a:lnTo>
                      <a:pt x="2651" y="2098"/>
                    </a:lnTo>
                    <a:lnTo>
                      <a:pt x="2651" y="2103"/>
                    </a:lnTo>
                    <a:lnTo>
                      <a:pt x="2679" y="2070"/>
                    </a:lnTo>
                    <a:lnTo>
                      <a:pt x="2717" y="2058"/>
                    </a:lnTo>
                    <a:lnTo>
                      <a:pt x="2738" y="2065"/>
                    </a:lnTo>
                    <a:lnTo>
                      <a:pt x="2722" y="2086"/>
                    </a:lnTo>
                    <a:lnTo>
                      <a:pt x="2731" y="2098"/>
                    </a:lnTo>
                    <a:lnTo>
                      <a:pt x="2738" y="2086"/>
                    </a:lnTo>
                    <a:lnTo>
                      <a:pt x="2755" y="2098"/>
                    </a:lnTo>
                    <a:lnTo>
                      <a:pt x="2748" y="2119"/>
                    </a:lnTo>
                    <a:lnTo>
                      <a:pt x="2679" y="2140"/>
                    </a:lnTo>
                    <a:lnTo>
                      <a:pt x="2651" y="2140"/>
                    </a:lnTo>
                    <a:lnTo>
                      <a:pt x="2641" y="2152"/>
                    </a:lnTo>
                    <a:lnTo>
                      <a:pt x="2559" y="2124"/>
                    </a:lnTo>
                    <a:lnTo>
                      <a:pt x="2554" y="2136"/>
                    </a:lnTo>
                    <a:lnTo>
                      <a:pt x="2516" y="2136"/>
                    </a:lnTo>
                    <a:lnTo>
                      <a:pt x="2504" y="2124"/>
                    </a:lnTo>
                    <a:lnTo>
                      <a:pt x="2533" y="2115"/>
                    </a:lnTo>
                    <a:lnTo>
                      <a:pt x="2431" y="2098"/>
                    </a:lnTo>
                    <a:lnTo>
                      <a:pt x="2436" y="2081"/>
                    </a:lnTo>
                    <a:lnTo>
                      <a:pt x="2431" y="2070"/>
                    </a:lnTo>
                    <a:lnTo>
                      <a:pt x="2415" y="2058"/>
                    </a:lnTo>
                    <a:lnTo>
                      <a:pt x="2381" y="2081"/>
                    </a:lnTo>
                    <a:lnTo>
                      <a:pt x="2393" y="2098"/>
                    </a:lnTo>
                    <a:lnTo>
                      <a:pt x="2360" y="2119"/>
                    </a:lnTo>
                    <a:lnTo>
                      <a:pt x="2273" y="2124"/>
                    </a:lnTo>
                    <a:lnTo>
                      <a:pt x="2273" y="2136"/>
                    </a:lnTo>
                    <a:lnTo>
                      <a:pt x="2235" y="2157"/>
                    </a:lnTo>
                    <a:lnTo>
                      <a:pt x="2155" y="2176"/>
                    </a:lnTo>
                    <a:lnTo>
                      <a:pt x="2074" y="2176"/>
                    </a:lnTo>
                    <a:lnTo>
                      <a:pt x="2091" y="2181"/>
                    </a:lnTo>
                    <a:lnTo>
                      <a:pt x="1944" y="2192"/>
                    </a:lnTo>
                    <a:lnTo>
                      <a:pt x="1961" y="2181"/>
                    </a:lnTo>
                    <a:lnTo>
                      <a:pt x="1933" y="2176"/>
                    </a:lnTo>
                    <a:lnTo>
                      <a:pt x="1923" y="2140"/>
                    </a:lnTo>
                    <a:lnTo>
                      <a:pt x="1928" y="2115"/>
                    </a:lnTo>
                    <a:lnTo>
                      <a:pt x="1911" y="2098"/>
                    </a:lnTo>
                    <a:lnTo>
                      <a:pt x="1928" y="2098"/>
                    </a:lnTo>
                    <a:lnTo>
                      <a:pt x="1874" y="2086"/>
                    </a:lnTo>
                    <a:lnTo>
                      <a:pt x="1760" y="2081"/>
                    </a:lnTo>
                    <a:lnTo>
                      <a:pt x="1718" y="2070"/>
                    </a:lnTo>
                    <a:lnTo>
                      <a:pt x="1713" y="2065"/>
                    </a:lnTo>
                    <a:lnTo>
                      <a:pt x="1713" y="2048"/>
                    </a:lnTo>
                    <a:lnTo>
                      <a:pt x="1692" y="2048"/>
                    </a:lnTo>
                    <a:lnTo>
                      <a:pt x="1696" y="2041"/>
                    </a:lnTo>
                    <a:lnTo>
                      <a:pt x="1663" y="2025"/>
                    </a:lnTo>
                    <a:lnTo>
                      <a:pt x="1654" y="1992"/>
                    </a:lnTo>
                    <a:lnTo>
                      <a:pt x="1680" y="1975"/>
                    </a:lnTo>
                    <a:lnTo>
                      <a:pt x="1815" y="1959"/>
                    </a:lnTo>
                    <a:lnTo>
                      <a:pt x="1874" y="1954"/>
                    </a:lnTo>
                    <a:lnTo>
                      <a:pt x="1999" y="1970"/>
                    </a:lnTo>
                    <a:lnTo>
                      <a:pt x="2030" y="1959"/>
                    </a:lnTo>
                    <a:lnTo>
                      <a:pt x="2015" y="1954"/>
                    </a:lnTo>
                    <a:lnTo>
                      <a:pt x="2074" y="1954"/>
                    </a:lnTo>
                    <a:lnTo>
                      <a:pt x="2067" y="1954"/>
                    </a:lnTo>
                    <a:lnTo>
                      <a:pt x="2037" y="1947"/>
                    </a:lnTo>
                    <a:lnTo>
                      <a:pt x="2020" y="1930"/>
                    </a:lnTo>
                    <a:lnTo>
                      <a:pt x="1895" y="1897"/>
                    </a:lnTo>
                    <a:lnTo>
                      <a:pt x="1815" y="1914"/>
                    </a:lnTo>
                    <a:lnTo>
                      <a:pt x="1642" y="1914"/>
                    </a:lnTo>
                    <a:lnTo>
                      <a:pt x="1583" y="1864"/>
                    </a:lnTo>
                    <a:lnTo>
                      <a:pt x="1626" y="1843"/>
                    </a:lnTo>
                    <a:lnTo>
                      <a:pt x="1772" y="1810"/>
                    </a:lnTo>
                    <a:lnTo>
                      <a:pt x="1751" y="1803"/>
                    </a:lnTo>
                    <a:lnTo>
                      <a:pt x="1765" y="1803"/>
                    </a:lnTo>
                    <a:lnTo>
                      <a:pt x="1798" y="1803"/>
                    </a:lnTo>
                    <a:lnTo>
                      <a:pt x="1819" y="1793"/>
                    </a:lnTo>
                    <a:lnTo>
                      <a:pt x="1772" y="1786"/>
                    </a:lnTo>
                    <a:lnTo>
                      <a:pt x="1659" y="1810"/>
                    </a:lnTo>
                    <a:lnTo>
                      <a:pt x="1659" y="1803"/>
                    </a:lnTo>
                    <a:lnTo>
                      <a:pt x="1642" y="1793"/>
                    </a:lnTo>
                    <a:lnTo>
                      <a:pt x="1642" y="1803"/>
                    </a:lnTo>
                    <a:lnTo>
                      <a:pt x="1654" y="1803"/>
                    </a:lnTo>
                    <a:lnTo>
                      <a:pt x="1642" y="1810"/>
                    </a:lnTo>
                    <a:lnTo>
                      <a:pt x="1604" y="1810"/>
                    </a:lnTo>
                    <a:lnTo>
                      <a:pt x="1588" y="1803"/>
                    </a:lnTo>
                    <a:lnTo>
                      <a:pt x="1637" y="1786"/>
                    </a:lnTo>
                    <a:lnTo>
                      <a:pt x="1621" y="1781"/>
                    </a:lnTo>
                    <a:lnTo>
                      <a:pt x="1637" y="1770"/>
                    </a:lnTo>
                    <a:lnTo>
                      <a:pt x="1588" y="1786"/>
                    </a:lnTo>
                    <a:lnTo>
                      <a:pt x="1555" y="1770"/>
                    </a:lnTo>
                    <a:lnTo>
                      <a:pt x="1550" y="1786"/>
                    </a:lnTo>
                    <a:lnTo>
                      <a:pt x="1533" y="1781"/>
                    </a:lnTo>
                    <a:lnTo>
                      <a:pt x="1533" y="1765"/>
                    </a:lnTo>
                    <a:lnTo>
                      <a:pt x="1533" y="1737"/>
                    </a:lnTo>
                    <a:lnTo>
                      <a:pt x="1567" y="1715"/>
                    </a:lnTo>
                    <a:lnTo>
                      <a:pt x="1604" y="1699"/>
                    </a:lnTo>
                    <a:lnTo>
                      <a:pt x="1604" y="1682"/>
                    </a:lnTo>
                    <a:lnTo>
                      <a:pt x="1571" y="1675"/>
                    </a:lnTo>
                    <a:lnTo>
                      <a:pt x="1571" y="1659"/>
                    </a:lnTo>
                    <a:lnTo>
                      <a:pt x="1659" y="1604"/>
                    </a:lnTo>
                    <a:lnTo>
                      <a:pt x="1852" y="1543"/>
                    </a:lnTo>
                    <a:lnTo>
                      <a:pt x="1878" y="1548"/>
                    </a:lnTo>
                    <a:lnTo>
                      <a:pt x="1895" y="1571"/>
                    </a:lnTo>
                    <a:lnTo>
                      <a:pt x="1890" y="1609"/>
                    </a:lnTo>
                    <a:lnTo>
                      <a:pt x="1895" y="1621"/>
                    </a:lnTo>
                    <a:lnTo>
                      <a:pt x="1869" y="1626"/>
                    </a:lnTo>
                    <a:lnTo>
                      <a:pt x="1869" y="1642"/>
                    </a:lnTo>
                    <a:lnTo>
                      <a:pt x="1852" y="1654"/>
                    </a:lnTo>
                    <a:lnTo>
                      <a:pt x="1857" y="1654"/>
                    </a:lnTo>
                    <a:lnTo>
                      <a:pt x="1928" y="1637"/>
                    </a:lnTo>
                    <a:lnTo>
                      <a:pt x="1933" y="1626"/>
                    </a:lnTo>
                    <a:lnTo>
                      <a:pt x="1923" y="1621"/>
                    </a:lnTo>
                    <a:lnTo>
                      <a:pt x="1961" y="1597"/>
                    </a:lnTo>
                    <a:lnTo>
                      <a:pt x="2091" y="1637"/>
                    </a:lnTo>
                    <a:lnTo>
                      <a:pt x="2084" y="1654"/>
                    </a:lnTo>
                    <a:lnTo>
                      <a:pt x="2046" y="1682"/>
                    </a:lnTo>
                    <a:lnTo>
                      <a:pt x="2058" y="1692"/>
                    </a:lnTo>
                    <a:lnTo>
                      <a:pt x="2074" y="1682"/>
                    </a:lnTo>
                    <a:lnTo>
                      <a:pt x="2058" y="1682"/>
                    </a:lnTo>
                    <a:lnTo>
                      <a:pt x="2084" y="1666"/>
                    </a:lnTo>
                    <a:lnTo>
                      <a:pt x="2091" y="1666"/>
                    </a:lnTo>
                    <a:lnTo>
                      <a:pt x="2084" y="1682"/>
                    </a:lnTo>
                    <a:lnTo>
                      <a:pt x="2100" y="1682"/>
                    </a:lnTo>
                    <a:lnTo>
                      <a:pt x="2105" y="1666"/>
                    </a:lnTo>
                    <a:lnTo>
                      <a:pt x="2129" y="1654"/>
                    </a:lnTo>
                    <a:lnTo>
                      <a:pt x="2155" y="1666"/>
                    </a:lnTo>
                    <a:lnTo>
                      <a:pt x="2138" y="1659"/>
                    </a:lnTo>
                    <a:lnTo>
                      <a:pt x="2155" y="1654"/>
                    </a:lnTo>
                    <a:lnTo>
                      <a:pt x="2193" y="1666"/>
                    </a:lnTo>
                    <a:lnTo>
                      <a:pt x="2159" y="1654"/>
                    </a:lnTo>
                    <a:lnTo>
                      <a:pt x="2193" y="1659"/>
                    </a:lnTo>
                    <a:lnTo>
                      <a:pt x="2176" y="1642"/>
                    </a:lnTo>
                    <a:lnTo>
                      <a:pt x="2155" y="1637"/>
                    </a:lnTo>
                    <a:lnTo>
                      <a:pt x="2193" y="1626"/>
                    </a:lnTo>
                    <a:lnTo>
                      <a:pt x="2138" y="1609"/>
                    </a:lnTo>
                    <a:lnTo>
                      <a:pt x="2122" y="1597"/>
                    </a:lnTo>
                    <a:lnTo>
                      <a:pt x="2143" y="1588"/>
                    </a:lnTo>
                    <a:lnTo>
                      <a:pt x="2197" y="1604"/>
                    </a:lnTo>
                    <a:lnTo>
                      <a:pt x="2193" y="1609"/>
                    </a:lnTo>
                    <a:lnTo>
                      <a:pt x="2230" y="1626"/>
                    </a:lnTo>
                    <a:lnTo>
                      <a:pt x="2247" y="1637"/>
                    </a:lnTo>
                    <a:lnTo>
                      <a:pt x="2247" y="1654"/>
                    </a:lnTo>
                    <a:lnTo>
                      <a:pt x="2273" y="1654"/>
                    </a:lnTo>
                    <a:lnTo>
                      <a:pt x="2268" y="1682"/>
                    </a:lnTo>
                    <a:lnTo>
                      <a:pt x="2285" y="1708"/>
                    </a:lnTo>
                    <a:lnTo>
                      <a:pt x="2289" y="1725"/>
                    </a:lnTo>
                    <a:lnTo>
                      <a:pt x="2301" y="1737"/>
                    </a:lnTo>
                    <a:lnTo>
                      <a:pt x="2301" y="1748"/>
                    </a:lnTo>
                    <a:lnTo>
                      <a:pt x="2301" y="1770"/>
                    </a:lnTo>
                    <a:lnTo>
                      <a:pt x="2327" y="1781"/>
                    </a:lnTo>
                    <a:lnTo>
                      <a:pt x="2327" y="1770"/>
                    </a:lnTo>
                    <a:lnTo>
                      <a:pt x="2370" y="1748"/>
                    </a:lnTo>
                    <a:lnTo>
                      <a:pt x="2327" y="1708"/>
                    </a:lnTo>
                    <a:lnTo>
                      <a:pt x="2322" y="1654"/>
                    </a:lnTo>
                    <a:lnTo>
                      <a:pt x="2318" y="1642"/>
                    </a:lnTo>
                    <a:lnTo>
                      <a:pt x="2289" y="1571"/>
                    </a:lnTo>
                    <a:lnTo>
                      <a:pt x="2322" y="1564"/>
                    </a:lnTo>
                    <a:lnTo>
                      <a:pt x="2306" y="1555"/>
                    </a:lnTo>
                    <a:lnTo>
                      <a:pt x="2318" y="1548"/>
                    </a:lnTo>
                    <a:lnTo>
                      <a:pt x="2381" y="1571"/>
                    </a:lnTo>
                    <a:lnTo>
                      <a:pt x="2381" y="1564"/>
                    </a:lnTo>
                    <a:lnTo>
                      <a:pt x="2377" y="1555"/>
                    </a:lnTo>
                    <a:lnTo>
                      <a:pt x="2398" y="1548"/>
                    </a:lnTo>
                    <a:lnTo>
                      <a:pt x="2436" y="1581"/>
                    </a:lnTo>
                    <a:lnTo>
                      <a:pt x="2469" y="1588"/>
                    </a:lnTo>
                    <a:lnTo>
                      <a:pt x="2500" y="1626"/>
                    </a:lnTo>
                    <a:lnTo>
                      <a:pt x="2490" y="1626"/>
                    </a:lnTo>
                    <a:lnTo>
                      <a:pt x="2516" y="1666"/>
                    </a:lnTo>
                    <a:lnTo>
                      <a:pt x="2504" y="1666"/>
                    </a:lnTo>
                    <a:lnTo>
                      <a:pt x="2533" y="1708"/>
                    </a:lnTo>
                    <a:lnTo>
                      <a:pt x="2521" y="1725"/>
                    </a:lnTo>
                    <a:lnTo>
                      <a:pt x="2570" y="1786"/>
                    </a:lnTo>
                    <a:lnTo>
                      <a:pt x="2570" y="1793"/>
                    </a:lnTo>
                    <a:lnTo>
                      <a:pt x="2570" y="1810"/>
                    </a:lnTo>
                    <a:lnTo>
                      <a:pt x="2559" y="1819"/>
                    </a:lnTo>
                    <a:lnTo>
                      <a:pt x="2570" y="1836"/>
                    </a:lnTo>
                    <a:lnTo>
                      <a:pt x="2554" y="1848"/>
                    </a:lnTo>
                    <a:lnTo>
                      <a:pt x="2630" y="1914"/>
                    </a:lnTo>
                    <a:lnTo>
                      <a:pt x="2667" y="1930"/>
                    </a:lnTo>
                    <a:lnTo>
                      <a:pt x="2651" y="1921"/>
                    </a:lnTo>
                    <a:lnTo>
                      <a:pt x="2651" y="1904"/>
                    </a:lnTo>
                    <a:lnTo>
                      <a:pt x="2663" y="1904"/>
                    </a:lnTo>
                    <a:lnTo>
                      <a:pt x="2684" y="1930"/>
                    </a:lnTo>
                    <a:lnTo>
                      <a:pt x="2738" y="1959"/>
                    </a:lnTo>
                    <a:lnTo>
                      <a:pt x="2759" y="1959"/>
                    </a:lnTo>
                    <a:lnTo>
                      <a:pt x="2759" y="1970"/>
                    </a:lnTo>
                    <a:lnTo>
                      <a:pt x="2769" y="1975"/>
                    </a:lnTo>
                    <a:lnTo>
                      <a:pt x="2807" y="1970"/>
                    </a:lnTo>
                    <a:lnTo>
                      <a:pt x="2814" y="2025"/>
                    </a:lnTo>
                    <a:lnTo>
                      <a:pt x="2814" y="2025"/>
                    </a:lnTo>
                    <a:lnTo>
                      <a:pt x="2814" y="2025"/>
                    </a:lnTo>
                    <a:close/>
                    <a:moveTo>
                      <a:pt x="3083" y="1555"/>
                    </a:moveTo>
                    <a:lnTo>
                      <a:pt x="3095" y="1564"/>
                    </a:lnTo>
                    <a:lnTo>
                      <a:pt x="3078" y="1555"/>
                    </a:lnTo>
                    <a:lnTo>
                      <a:pt x="3083" y="1555"/>
                    </a:lnTo>
                    <a:lnTo>
                      <a:pt x="3083" y="1555"/>
                    </a:lnTo>
                    <a:lnTo>
                      <a:pt x="3083" y="1555"/>
                    </a:lnTo>
                    <a:close/>
                    <a:moveTo>
                      <a:pt x="3100" y="1564"/>
                    </a:moveTo>
                    <a:lnTo>
                      <a:pt x="3116" y="1581"/>
                    </a:lnTo>
                    <a:lnTo>
                      <a:pt x="3109" y="1597"/>
                    </a:lnTo>
                    <a:lnTo>
                      <a:pt x="3095" y="1604"/>
                    </a:lnTo>
                    <a:lnTo>
                      <a:pt x="3078" y="1588"/>
                    </a:lnTo>
                    <a:lnTo>
                      <a:pt x="3083" y="1571"/>
                    </a:lnTo>
                    <a:lnTo>
                      <a:pt x="3100" y="1564"/>
                    </a:lnTo>
                    <a:lnTo>
                      <a:pt x="3100" y="1564"/>
                    </a:lnTo>
                    <a:lnTo>
                      <a:pt x="3100" y="1564"/>
                    </a:lnTo>
                    <a:close/>
                    <a:moveTo>
                      <a:pt x="3180" y="1571"/>
                    </a:moveTo>
                    <a:lnTo>
                      <a:pt x="3180" y="1588"/>
                    </a:lnTo>
                    <a:lnTo>
                      <a:pt x="3163" y="1581"/>
                    </a:lnTo>
                    <a:lnTo>
                      <a:pt x="3180" y="1571"/>
                    </a:lnTo>
                    <a:lnTo>
                      <a:pt x="3180" y="1571"/>
                    </a:lnTo>
                    <a:lnTo>
                      <a:pt x="3180" y="1571"/>
                    </a:lnTo>
                    <a:close/>
                    <a:moveTo>
                      <a:pt x="3170" y="1597"/>
                    </a:moveTo>
                    <a:lnTo>
                      <a:pt x="3180" y="1604"/>
                    </a:lnTo>
                    <a:lnTo>
                      <a:pt x="3170" y="1604"/>
                    </a:lnTo>
                    <a:lnTo>
                      <a:pt x="3170" y="1597"/>
                    </a:lnTo>
                    <a:lnTo>
                      <a:pt x="3170" y="1597"/>
                    </a:lnTo>
                    <a:lnTo>
                      <a:pt x="3170" y="1597"/>
                    </a:lnTo>
                    <a:close/>
                    <a:moveTo>
                      <a:pt x="3109" y="1609"/>
                    </a:moveTo>
                    <a:lnTo>
                      <a:pt x="3109" y="1621"/>
                    </a:lnTo>
                    <a:lnTo>
                      <a:pt x="3109" y="1626"/>
                    </a:lnTo>
                    <a:lnTo>
                      <a:pt x="3083" y="1626"/>
                    </a:lnTo>
                    <a:lnTo>
                      <a:pt x="3109" y="1609"/>
                    </a:lnTo>
                    <a:lnTo>
                      <a:pt x="3109" y="1609"/>
                    </a:lnTo>
                    <a:lnTo>
                      <a:pt x="3109" y="1609"/>
                    </a:lnTo>
                    <a:close/>
                    <a:moveTo>
                      <a:pt x="3170" y="1609"/>
                    </a:moveTo>
                    <a:lnTo>
                      <a:pt x="3180" y="1621"/>
                    </a:lnTo>
                    <a:lnTo>
                      <a:pt x="3170" y="1609"/>
                    </a:lnTo>
                    <a:lnTo>
                      <a:pt x="3170" y="1609"/>
                    </a:lnTo>
                    <a:lnTo>
                      <a:pt x="3170" y="1609"/>
                    </a:lnTo>
                    <a:close/>
                    <a:moveTo>
                      <a:pt x="2219" y="1621"/>
                    </a:moveTo>
                    <a:lnTo>
                      <a:pt x="2230" y="1621"/>
                    </a:lnTo>
                    <a:lnTo>
                      <a:pt x="2214" y="1621"/>
                    </a:lnTo>
                    <a:lnTo>
                      <a:pt x="2219" y="1621"/>
                    </a:lnTo>
                    <a:lnTo>
                      <a:pt x="2219" y="1621"/>
                    </a:lnTo>
                    <a:lnTo>
                      <a:pt x="2219" y="1621"/>
                    </a:lnTo>
                    <a:close/>
                    <a:moveTo>
                      <a:pt x="2143" y="1642"/>
                    </a:moveTo>
                    <a:lnTo>
                      <a:pt x="2155" y="1642"/>
                    </a:lnTo>
                    <a:lnTo>
                      <a:pt x="2143" y="1642"/>
                    </a:lnTo>
                    <a:lnTo>
                      <a:pt x="2143" y="1642"/>
                    </a:lnTo>
                    <a:lnTo>
                      <a:pt x="2143" y="1642"/>
                    </a:lnTo>
                    <a:close/>
                    <a:moveTo>
                      <a:pt x="4271" y="1659"/>
                    </a:moveTo>
                    <a:lnTo>
                      <a:pt x="4281" y="1666"/>
                    </a:lnTo>
                    <a:lnTo>
                      <a:pt x="4281" y="1675"/>
                    </a:lnTo>
                    <a:lnTo>
                      <a:pt x="4271" y="1659"/>
                    </a:lnTo>
                    <a:lnTo>
                      <a:pt x="4271" y="1659"/>
                    </a:lnTo>
                    <a:lnTo>
                      <a:pt x="4271" y="1659"/>
                    </a:lnTo>
                    <a:close/>
                    <a:moveTo>
                      <a:pt x="4314" y="1666"/>
                    </a:moveTo>
                    <a:lnTo>
                      <a:pt x="4318" y="1682"/>
                    </a:lnTo>
                    <a:lnTo>
                      <a:pt x="4302" y="1666"/>
                    </a:lnTo>
                    <a:lnTo>
                      <a:pt x="4314" y="1666"/>
                    </a:lnTo>
                    <a:lnTo>
                      <a:pt x="4314" y="1666"/>
                    </a:lnTo>
                    <a:lnTo>
                      <a:pt x="4314" y="1666"/>
                    </a:lnTo>
                    <a:close/>
                    <a:moveTo>
                      <a:pt x="4352" y="1666"/>
                    </a:moveTo>
                    <a:lnTo>
                      <a:pt x="4368" y="1682"/>
                    </a:lnTo>
                    <a:lnTo>
                      <a:pt x="4352" y="1682"/>
                    </a:lnTo>
                    <a:lnTo>
                      <a:pt x="4340" y="1675"/>
                    </a:lnTo>
                    <a:lnTo>
                      <a:pt x="4352" y="1666"/>
                    </a:lnTo>
                    <a:lnTo>
                      <a:pt x="4352" y="1666"/>
                    </a:lnTo>
                    <a:lnTo>
                      <a:pt x="4352" y="1666"/>
                    </a:lnTo>
                    <a:close/>
                    <a:moveTo>
                      <a:pt x="2306" y="1725"/>
                    </a:moveTo>
                    <a:lnTo>
                      <a:pt x="2318" y="1732"/>
                    </a:lnTo>
                    <a:lnTo>
                      <a:pt x="2301" y="1732"/>
                    </a:lnTo>
                    <a:lnTo>
                      <a:pt x="2306" y="1725"/>
                    </a:lnTo>
                    <a:lnTo>
                      <a:pt x="2306" y="1725"/>
                    </a:lnTo>
                    <a:lnTo>
                      <a:pt x="2306" y="1725"/>
                    </a:lnTo>
                    <a:close/>
                    <a:moveTo>
                      <a:pt x="5176" y="4614"/>
                    </a:moveTo>
                    <a:lnTo>
                      <a:pt x="5167" y="4614"/>
                    </a:lnTo>
                    <a:lnTo>
                      <a:pt x="5162" y="4597"/>
                    </a:lnTo>
                    <a:lnTo>
                      <a:pt x="5150" y="4581"/>
                    </a:lnTo>
                    <a:lnTo>
                      <a:pt x="5162" y="4576"/>
                    </a:lnTo>
                    <a:lnTo>
                      <a:pt x="5138" y="4569"/>
                    </a:lnTo>
                    <a:lnTo>
                      <a:pt x="5138" y="4441"/>
                    </a:lnTo>
                    <a:lnTo>
                      <a:pt x="5096" y="4415"/>
                    </a:lnTo>
                    <a:lnTo>
                      <a:pt x="5058" y="4432"/>
                    </a:lnTo>
                    <a:lnTo>
                      <a:pt x="5041" y="4425"/>
                    </a:lnTo>
                    <a:lnTo>
                      <a:pt x="5041" y="4408"/>
                    </a:lnTo>
                    <a:lnTo>
                      <a:pt x="5037" y="4403"/>
                    </a:lnTo>
                    <a:lnTo>
                      <a:pt x="4982" y="4470"/>
                    </a:lnTo>
                    <a:lnTo>
                      <a:pt x="4973" y="4498"/>
                    </a:lnTo>
                    <a:lnTo>
                      <a:pt x="4961" y="4519"/>
                    </a:lnTo>
                    <a:lnTo>
                      <a:pt x="4961" y="4543"/>
                    </a:lnTo>
                    <a:lnTo>
                      <a:pt x="4928" y="4576"/>
                    </a:lnTo>
                    <a:lnTo>
                      <a:pt x="4928" y="4581"/>
                    </a:lnTo>
                    <a:lnTo>
                      <a:pt x="4918" y="4609"/>
                    </a:lnTo>
                    <a:lnTo>
                      <a:pt x="4907" y="4597"/>
                    </a:lnTo>
                    <a:lnTo>
                      <a:pt x="4897" y="4609"/>
                    </a:lnTo>
                    <a:lnTo>
                      <a:pt x="4890" y="4597"/>
                    </a:lnTo>
                    <a:lnTo>
                      <a:pt x="4881" y="4609"/>
                    </a:lnTo>
                    <a:lnTo>
                      <a:pt x="4874" y="4625"/>
                    </a:lnTo>
                    <a:lnTo>
                      <a:pt x="4626" y="4630"/>
                    </a:lnTo>
                    <a:lnTo>
                      <a:pt x="4529" y="4708"/>
                    </a:lnTo>
                    <a:lnTo>
                      <a:pt x="4503" y="4748"/>
                    </a:lnTo>
                    <a:lnTo>
                      <a:pt x="4368" y="4748"/>
                    </a:lnTo>
                    <a:lnTo>
                      <a:pt x="4335" y="4765"/>
                    </a:lnTo>
                    <a:lnTo>
                      <a:pt x="4340" y="4781"/>
                    </a:lnTo>
                    <a:lnTo>
                      <a:pt x="4340" y="4798"/>
                    </a:lnTo>
                    <a:lnTo>
                      <a:pt x="4356" y="4814"/>
                    </a:lnTo>
                    <a:lnTo>
                      <a:pt x="4352" y="4819"/>
                    </a:lnTo>
                    <a:lnTo>
                      <a:pt x="4271" y="4852"/>
                    </a:lnTo>
                    <a:lnTo>
                      <a:pt x="4189" y="4869"/>
                    </a:lnTo>
                    <a:lnTo>
                      <a:pt x="4108" y="4918"/>
                    </a:lnTo>
                    <a:lnTo>
                      <a:pt x="4087" y="4918"/>
                    </a:lnTo>
                    <a:lnTo>
                      <a:pt x="4066" y="4902"/>
                    </a:lnTo>
                    <a:lnTo>
                      <a:pt x="4054" y="4885"/>
                    </a:lnTo>
                    <a:lnTo>
                      <a:pt x="4066" y="4869"/>
                    </a:lnTo>
                    <a:lnTo>
                      <a:pt x="4104" y="4836"/>
                    </a:lnTo>
                    <a:lnTo>
                      <a:pt x="4108" y="4803"/>
                    </a:lnTo>
                    <a:lnTo>
                      <a:pt x="4125" y="4748"/>
                    </a:lnTo>
                    <a:lnTo>
                      <a:pt x="4104" y="4597"/>
                    </a:lnTo>
                    <a:lnTo>
                      <a:pt x="4028" y="4552"/>
                    </a:lnTo>
                    <a:lnTo>
                      <a:pt x="4033" y="4536"/>
                    </a:lnTo>
                    <a:lnTo>
                      <a:pt x="4028" y="4526"/>
                    </a:lnTo>
                    <a:lnTo>
                      <a:pt x="4000" y="4526"/>
                    </a:lnTo>
                    <a:lnTo>
                      <a:pt x="3990" y="4514"/>
                    </a:lnTo>
                    <a:lnTo>
                      <a:pt x="3990" y="4486"/>
                    </a:lnTo>
                    <a:lnTo>
                      <a:pt x="3957" y="4498"/>
                    </a:lnTo>
                    <a:lnTo>
                      <a:pt x="3941" y="4481"/>
                    </a:lnTo>
                    <a:lnTo>
                      <a:pt x="3941" y="4460"/>
                    </a:lnTo>
                    <a:lnTo>
                      <a:pt x="3693" y="4333"/>
                    </a:lnTo>
                    <a:lnTo>
                      <a:pt x="3622" y="4359"/>
                    </a:lnTo>
                    <a:lnTo>
                      <a:pt x="3584" y="4354"/>
                    </a:lnTo>
                    <a:lnTo>
                      <a:pt x="3563" y="4349"/>
                    </a:lnTo>
                    <a:lnTo>
                      <a:pt x="3525" y="4349"/>
                    </a:lnTo>
                    <a:lnTo>
                      <a:pt x="3515" y="4337"/>
                    </a:lnTo>
                    <a:lnTo>
                      <a:pt x="3478" y="4354"/>
                    </a:lnTo>
                    <a:lnTo>
                      <a:pt x="3440" y="4337"/>
                    </a:lnTo>
                    <a:lnTo>
                      <a:pt x="3433" y="4321"/>
                    </a:lnTo>
                    <a:lnTo>
                      <a:pt x="3418" y="4321"/>
                    </a:lnTo>
                    <a:lnTo>
                      <a:pt x="3407" y="4337"/>
                    </a:lnTo>
                    <a:lnTo>
                      <a:pt x="3407" y="4321"/>
                    </a:lnTo>
                    <a:lnTo>
                      <a:pt x="3369" y="4297"/>
                    </a:lnTo>
                    <a:lnTo>
                      <a:pt x="3348" y="4297"/>
                    </a:lnTo>
                    <a:lnTo>
                      <a:pt x="3310" y="4304"/>
                    </a:lnTo>
                    <a:lnTo>
                      <a:pt x="3310" y="4297"/>
                    </a:lnTo>
                    <a:lnTo>
                      <a:pt x="3256" y="4292"/>
                    </a:lnTo>
                    <a:lnTo>
                      <a:pt x="3244" y="4281"/>
                    </a:lnTo>
                    <a:lnTo>
                      <a:pt x="3239" y="4238"/>
                    </a:lnTo>
                    <a:lnTo>
                      <a:pt x="3218" y="4226"/>
                    </a:lnTo>
                    <a:lnTo>
                      <a:pt x="3218" y="4264"/>
                    </a:lnTo>
                    <a:lnTo>
                      <a:pt x="1281" y="4264"/>
                    </a:lnTo>
                    <a:lnTo>
                      <a:pt x="1276" y="4259"/>
                    </a:lnTo>
                    <a:lnTo>
                      <a:pt x="1259" y="4264"/>
                    </a:lnTo>
                    <a:lnTo>
                      <a:pt x="1248" y="4238"/>
                    </a:lnTo>
                    <a:lnTo>
                      <a:pt x="1264" y="4238"/>
                    </a:lnTo>
                    <a:lnTo>
                      <a:pt x="1276" y="4226"/>
                    </a:lnTo>
                    <a:lnTo>
                      <a:pt x="1264" y="4238"/>
                    </a:lnTo>
                    <a:lnTo>
                      <a:pt x="1248" y="4238"/>
                    </a:lnTo>
                    <a:lnTo>
                      <a:pt x="1243" y="4222"/>
                    </a:lnTo>
                    <a:lnTo>
                      <a:pt x="1248" y="4193"/>
                    </a:lnTo>
                    <a:lnTo>
                      <a:pt x="1226" y="4222"/>
                    </a:lnTo>
                    <a:lnTo>
                      <a:pt x="1226" y="4226"/>
                    </a:lnTo>
                    <a:lnTo>
                      <a:pt x="1205" y="4222"/>
                    </a:lnTo>
                    <a:lnTo>
                      <a:pt x="1189" y="4205"/>
                    </a:lnTo>
                    <a:lnTo>
                      <a:pt x="1193" y="4193"/>
                    </a:lnTo>
                    <a:lnTo>
                      <a:pt x="1210" y="4222"/>
                    </a:lnTo>
                    <a:lnTo>
                      <a:pt x="1210" y="4210"/>
                    </a:lnTo>
                    <a:lnTo>
                      <a:pt x="1226" y="4205"/>
                    </a:lnTo>
                    <a:lnTo>
                      <a:pt x="1210" y="4205"/>
                    </a:lnTo>
                    <a:lnTo>
                      <a:pt x="1193" y="4193"/>
                    </a:lnTo>
                    <a:lnTo>
                      <a:pt x="1205" y="4181"/>
                    </a:lnTo>
                    <a:lnTo>
                      <a:pt x="1193" y="4170"/>
                    </a:lnTo>
                    <a:lnTo>
                      <a:pt x="1210" y="4165"/>
                    </a:lnTo>
                    <a:lnTo>
                      <a:pt x="1205" y="4153"/>
                    </a:lnTo>
                    <a:lnTo>
                      <a:pt x="1193" y="4148"/>
                    </a:lnTo>
                    <a:lnTo>
                      <a:pt x="1205" y="4165"/>
                    </a:lnTo>
                    <a:lnTo>
                      <a:pt x="1193" y="4170"/>
                    </a:lnTo>
                    <a:lnTo>
                      <a:pt x="1193" y="4188"/>
                    </a:lnTo>
                    <a:lnTo>
                      <a:pt x="1189" y="4181"/>
                    </a:lnTo>
                    <a:lnTo>
                      <a:pt x="1189" y="4188"/>
                    </a:lnTo>
                    <a:lnTo>
                      <a:pt x="1167" y="4193"/>
                    </a:lnTo>
                    <a:lnTo>
                      <a:pt x="1134" y="4165"/>
                    </a:lnTo>
                    <a:lnTo>
                      <a:pt x="1139" y="4170"/>
                    </a:lnTo>
                    <a:lnTo>
                      <a:pt x="1151" y="4148"/>
                    </a:lnTo>
                    <a:lnTo>
                      <a:pt x="1139" y="4137"/>
                    </a:lnTo>
                    <a:lnTo>
                      <a:pt x="1172" y="4127"/>
                    </a:lnTo>
                    <a:lnTo>
                      <a:pt x="1134" y="4137"/>
                    </a:lnTo>
                    <a:lnTo>
                      <a:pt x="1118" y="4137"/>
                    </a:lnTo>
                    <a:lnTo>
                      <a:pt x="1118" y="4127"/>
                    </a:lnTo>
                    <a:lnTo>
                      <a:pt x="1134" y="4115"/>
                    </a:lnTo>
                    <a:lnTo>
                      <a:pt x="1134" y="4082"/>
                    </a:lnTo>
                    <a:lnTo>
                      <a:pt x="1125" y="4099"/>
                    </a:lnTo>
                    <a:lnTo>
                      <a:pt x="1134" y="4111"/>
                    </a:lnTo>
                    <a:lnTo>
                      <a:pt x="1118" y="4132"/>
                    </a:lnTo>
                    <a:lnTo>
                      <a:pt x="1087" y="4127"/>
                    </a:lnTo>
                    <a:lnTo>
                      <a:pt x="1096" y="4099"/>
                    </a:lnTo>
                    <a:lnTo>
                      <a:pt x="1070" y="4132"/>
                    </a:lnTo>
                    <a:lnTo>
                      <a:pt x="1063" y="4127"/>
                    </a:lnTo>
                    <a:lnTo>
                      <a:pt x="1033" y="4127"/>
                    </a:lnTo>
                    <a:lnTo>
                      <a:pt x="1042" y="4115"/>
                    </a:lnTo>
                    <a:lnTo>
                      <a:pt x="1033" y="4111"/>
                    </a:lnTo>
                    <a:lnTo>
                      <a:pt x="1080" y="4099"/>
                    </a:lnTo>
                    <a:lnTo>
                      <a:pt x="1087" y="4082"/>
                    </a:lnTo>
                    <a:lnTo>
                      <a:pt x="1080" y="4070"/>
                    </a:lnTo>
                    <a:lnTo>
                      <a:pt x="1080" y="4077"/>
                    </a:lnTo>
                    <a:lnTo>
                      <a:pt x="1070" y="4099"/>
                    </a:lnTo>
                    <a:lnTo>
                      <a:pt x="1042" y="4111"/>
                    </a:lnTo>
                    <a:lnTo>
                      <a:pt x="1049" y="4099"/>
                    </a:lnTo>
                    <a:lnTo>
                      <a:pt x="1042" y="4094"/>
                    </a:lnTo>
                    <a:lnTo>
                      <a:pt x="1011" y="4094"/>
                    </a:lnTo>
                    <a:lnTo>
                      <a:pt x="1042" y="4082"/>
                    </a:lnTo>
                    <a:lnTo>
                      <a:pt x="1004" y="4094"/>
                    </a:lnTo>
                    <a:lnTo>
                      <a:pt x="974" y="4082"/>
                    </a:lnTo>
                    <a:lnTo>
                      <a:pt x="990" y="4094"/>
                    </a:lnTo>
                    <a:lnTo>
                      <a:pt x="978" y="4094"/>
                    </a:lnTo>
                    <a:lnTo>
                      <a:pt x="952" y="4077"/>
                    </a:lnTo>
                    <a:lnTo>
                      <a:pt x="952" y="4070"/>
                    </a:lnTo>
                    <a:lnTo>
                      <a:pt x="995" y="4070"/>
                    </a:lnTo>
                    <a:lnTo>
                      <a:pt x="1004" y="4061"/>
                    </a:lnTo>
                    <a:lnTo>
                      <a:pt x="974" y="4070"/>
                    </a:lnTo>
                    <a:lnTo>
                      <a:pt x="924" y="4061"/>
                    </a:lnTo>
                    <a:lnTo>
                      <a:pt x="924" y="4054"/>
                    </a:lnTo>
                    <a:lnTo>
                      <a:pt x="941" y="4044"/>
                    </a:lnTo>
                    <a:lnTo>
                      <a:pt x="974" y="4044"/>
                    </a:lnTo>
                    <a:lnTo>
                      <a:pt x="974" y="4037"/>
                    </a:lnTo>
                    <a:lnTo>
                      <a:pt x="962" y="4044"/>
                    </a:lnTo>
                    <a:lnTo>
                      <a:pt x="924" y="4044"/>
                    </a:lnTo>
                    <a:lnTo>
                      <a:pt x="941" y="4025"/>
                    </a:lnTo>
                    <a:lnTo>
                      <a:pt x="952" y="4016"/>
                    </a:lnTo>
                    <a:lnTo>
                      <a:pt x="1011" y="4016"/>
                    </a:lnTo>
                    <a:lnTo>
                      <a:pt x="1011" y="4000"/>
                    </a:lnTo>
                    <a:lnTo>
                      <a:pt x="1004" y="4016"/>
                    </a:lnTo>
                    <a:lnTo>
                      <a:pt x="952" y="4016"/>
                    </a:lnTo>
                    <a:lnTo>
                      <a:pt x="957" y="4000"/>
                    </a:lnTo>
                    <a:lnTo>
                      <a:pt x="941" y="4004"/>
                    </a:lnTo>
                    <a:lnTo>
                      <a:pt x="941" y="4021"/>
                    </a:lnTo>
                    <a:lnTo>
                      <a:pt x="936" y="4025"/>
                    </a:lnTo>
                    <a:lnTo>
                      <a:pt x="919" y="4016"/>
                    </a:lnTo>
                    <a:lnTo>
                      <a:pt x="924" y="3988"/>
                    </a:lnTo>
                    <a:lnTo>
                      <a:pt x="936" y="3983"/>
                    </a:lnTo>
                    <a:lnTo>
                      <a:pt x="941" y="3966"/>
                    </a:lnTo>
                    <a:lnTo>
                      <a:pt x="952" y="3971"/>
                    </a:lnTo>
                    <a:lnTo>
                      <a:pt x="941" y="3971"/>
                    </a:lnTo>
                    <a:lnTo>
                      <a:pt x="974" y="3950"/>
                    </a:lnTo>
                    <a:lnTo>
                      <a:pt x="978" y="3950"/>
                    </a:lnTo>
                    <a:lnTo>
                      <a:pt x="1004" y="3983"/>
                    </a:lnTo>
                    <a:lnTo>
                      <a:pt x="990" y="3950"/>
                    </a:lnTo>
                    <a:lnTo>
                      <a:pt x="1004" y="3943"/>
                    </a:lnTo>
                    <a:lnTo>
                      <a:pt x="974" y="3943"/>
                    </a:lnTo>
                    <a:lnTo>
                      <a:pt x="962" y="3933"/>
                    </a:lnTo>
                    <a:lnTo>
                      <a:pt x="990" y="3910"/>
                    </a:lnTo>
                    <a:lnTo>
                      <a:pt x="978" y="3905"/>
                    </a:lnTo>
                    <a:lnTo>
                      <a:pt x="978" y="3917"/>
                    </a:lnTo>
                    <a:lnTo>
                      <a:pt x="941" y="3950"/>
                    </a:lnTo>
                    <a:lnTo>
                      <a:pt x="924" y="3959"/>
                    </a:lnTo>
                    <a:lnTo>
                      <a:pt x="919" y="3933"/>
                    </a:lnTo>
                    <a:lnTo>
                      <a:pt x="908" y="3950"/>
                    </a:lnTo>
                    <a:lnTo>
                      <a:pt x="908" y="3933"/>
                    </a:lnTo>
                    <a:lnTo>
                      <a:pt x="919" y="3926"/>
                    </a:lnTo>
                    <a:lnTo>
                      <a:pt x="903" y="3933"/>
                    </a:lnTo>
                    <a:lnTo>
                      <a:pt x="898" y="3959"/>
                    </a:lnTo>
                    <a:lnTo>
                      <a:pt x="886" y="3950"/>
                    </a:lnTo>
                    <a:lnTo>
                      <a:pt x="898" y="3933"/>
                    </a:lnTo>
                    <a:lnTo>
                      <a:pt x="903" y="3893"/>
                    </a:lnTo>
                    <a:lnTo>
                      <a:pt x="882" y="3905"/>
                    </a:lnTo>
                    <a:lnTo>
                      <a:pt x="870" y="3872"/>
                    </a:lnTo>
                    <a:lnTo>
                      <a:pt x="853" y="3855"/>
                    </a:lnTo>
                    <a:lnTo>
                      <a:pt x="848" y="3832"/>
                    </a:lnTo>
                    <a:lnTo>
                      <a:pt x="853" y="3832"/>
                    </a:lnTo>
                    <a:lnTo>
                      <a:pt x="882" y="3848"/>
                    </a:lnTo>
                    <a:lnTo>
                      <a:pt x="903" y="3839"/>
                    </a:lnTo>
                    <a:lnTo>
                      <a:pt x="924" y="3860"/>
                    </a:lnTo>
                    <a:lnTo>
                      <a:pt x="903" y="3839"/>
                    </a:lnTo>
                    <a:lnTo>
                      <a:pt x="870" y="3839"/>
                    </a:lnTo>
                    <a:lnTo>
                      <a:pt x="853" y="3822"/>
                    </a:lnTo>
                    <a:lnTo>
                      <a:pt x="853" y="3806"/>
                    </a:lnTo>
                    <a:lnTo>
                      <a:pt x="882" y="3799"/>
                    </a:lnTo>
                    <a:lnTo>
                      <a:pt x="865" y="3794"/>
                    </a:lnTo>
                    <a:lnTo>
                      <a:pt x="870" y="3782"/>
                    </a:lnTo>
                    <a:lnTo>
                      <a:pt x="827" y="3822"/>
                    </a:lnTo>
                    <a:lnTo>
                      <a:pt x="827" y="3848"/>
                    </a:lnTo>
                    <a:lnTo>
                      <a:pt x="773" y="3799"/>
                    </a:lnTo>
                    <a:lnTo>
                      <a:pt x="773" y="3766"/>
                    </a:lnTo>
                    <a:lnTo>
                      <a:pt x="811" y="3761"/>
                    </a:lnTo>
                    <a:lnTo>
                      <a:pt x="763" y="3766"/>
                    </a:lnTo>
                    <a:lnTo>
                      <a:pt x="756" y="3749"/>
                    </a:lnTo>
                    <a:lnTo>
                      <a:pt x="740" y="3749"/>
                    </a:lnTo>
                    <a:lnTo>
                      <a:pt x="740" y="3721"/>
                    </a:lnTo>
                    <a:lnTo>
                      <a:pt x="778" y="3749"/>
                    </a:lnTo>
                    <a:lnTo>
                      <a:pt x="747" y="3721"/>
                    </a:lnTo>
                    <a:lnTo>
                      <a:pt x="763" y="3711"/>
                    </a:lnTo>
                    <a:lnTo>
                      <a:pt x="778" y="3728"/>
                    </a:lnTo>
                    <a:lnTo>
                      <a:pt x="756" y="3711"/>
                    </a:lnTo>
                    <a:lnTo>
                      <a:pt x="763" y="3704"/>
                    </a:lnTo>
                    <a:lnTo>
                      <a:pt x="773" y="3688"/>
                    </a:lnTo>
                    <a:lnTo>
                      <a:pt x="801" y="3688"/>
                    </a:lnTo>
                    <a:lnTo>
                      <a:pt x="773" y="3683"/>
                    </a:lnTo>
                    <a:lnTo>
                      <a:pt x="794" y="3638"/>
                    </a:lnTo>
                    <a:lnTo>
                      <a:pt x="811" y="3638"/>
                    </a:lnTo>
                    <a:lnTo>
                      <a:pt x="794" y="3638"/>
                    </a:lnTo>
                    <a:lnTo>
                      <a:pt x="789" y="3633"/>
                    </a:lnTo>
                    <a:lnTo>
                      <a:pt x="789" y="3655"/>
                    </a:lnTo>
                    <a:lnTo>
                      <a:pt x="763" y="3688"/>
                    </a:lnTo>
                    <a:lnTo>
                      <a:pt x="763" y="3683"/>
                    </a:lnTo>
                    <a:lnTo>
                      <a:pt x="778" y="3655"/>
                    </a:lnTo>
                    <a:lnTo>
                      <a:pt x="763" y="3617"/>
                    </a:lnTo>
                    <a:lnTo>
                      <a:pt x="773" y="3593"/>
                    </a:lnTo>
                    <a:lnTo>
                      <a:pt x="763" y="3572"/>
                    </a:lnTo>
                    <a:lnTo>
                      <a:pt x="747" y="3572"/>
                    </a:lnTo>
                    <a:lnTo>
                      <a:pt x="719" y="3544"/>
                    </a:lnTo>
                    <a:lnTo>
                      <a:pt x="664" y="3522"/>
                    </a:lnTo>
                    <a:lnTo>
                      <a:pt x="650" y="3522"/>
                    </a:lnTo>
                    <a:lnTo>
                      <a:pt x="638" y="3506"/>
                    </a:lnTo>
                    <a:lnTo>
                      <a:pt x="626" y="3499"/>
                    </a:lnTo>
                    <a:lnTo>
                      <a:pt x="633" y="3482"/>
                    </a:lnTo>
                    <a:lnTo>
                      <a:pt x="612" y="3473"/>
                    </a:lnTo>
                    <a:lnTo>
                      <a:pt x="617" y="3461"/>
                    </a:lnTo>
                    <a:lnTo>
                      <a:pt x="541" y="3350"/>
                    </a:lnTo>
                    <a:lnTo>
                      <a:pt x="530" y="3333"/>
                    </a:lnTo>
                    <a:lnTo>
                      <a:pt x="504" y="3300"/>
                    </a:lnTo>
                    <a:lnTo>
                      <a:pt x="475" y="3296"/>
                    </a:lnTo>
                    <a:lnTo>
                      <a:pt x="466" y="3263"/>
                    </a:lnTo>
                    <a:lnTo>
                      <a:pt x="423" y="3246"/>
                    </a:lnTo>
                    <a:lnTo>
                      <a:pt x="416" y="3227"/>
                    </a:lnTo>
                    <a:lnTo>
                      <a:pt x="423" y="3211"/>
                    </a:lnTo>
                    <a:lnTo>
                      <a:pt x="385" y="3189"/>
                    </a:lnTo>
                    <a:lnTo>
                      <a:pt x="324" y="3211"/>
                    </a:lnTo>
                    <a:lnTo>
                      <a:pt x="331" y="3222"/>
                    </a:lnTo>
                    <a:lnTo>
                      <a:pt x="315" y="3222"/>
                    </a:lnTo>
                    <a:lnTo>
                      <a:pt x="315" y="3246"/>
                    </a:lnTo>
                    <a:lnTo>
                      <a:pt x="310" y="3251"/>
                    </a:lnTo>
                    <a:lnTo>
                      <a:pt x="293" y="3251"/>
                    </a:lnTo>
                    <a:lnTo>
                      <a:pt x="251" y="3284"/>
                    </a:lnTo>
                    <a:lnTo>
                      <a:pt x="239" y="3246"/>
                    </a:lnTo>
                    <a:lnTo>
                      <a:pt x="168" y="3189"/>
                    </a:lnTo>
                    <a:lnTo>
                      <a:pt x="163" y="3173"/>
                    </a:lnTo>
                    <a:lnTo>
                      <a:pt x="130" y="3156"/>
                    </a:lnTo>
                    <a:lnTo>
                      <a:pt x="142" y="3123"/>
                    </a:lnTo>
                    <a:lnTo>
                      <a:pt x="93" y="3135"/>
                    </a:lnTo>
                    <a:lnTo>
                      <a:pt x="71" y="3151"/>
                    </a:lnTo>
                    <a:lnTo>
                      <a:pt x="38" y="3135"/>
                    </a:lnTo>
                    <a:lnTo>
                      <a:pt x="38" y="3140"/>
                    </a:lnTo>
                    <a:lnTo>
                      <a:pt x="0" y="3135"/>
                    </a:lnTo>
                    <a:lnTo>
                      <a:pt x="0" y="2041"/>
                    </a:lnTo>
                    <a:lnTo>
                      <a:pt x="130" y="2058"/>
                    </a:lnTo>
                    <a:lnTo>
                      <a:pt x="168" y="2086"/>
                    </a:lnTo>
                    <a:lnTo>
                      <a:pt x="260" y="2124"/>
                    </a:lnTo>
                    <a:lnTo>
                      <a:pt x="348" y="2136"/>
                    </a:lnTo>
                    <a:lnTo>
                      <a:pt x="395" y="2157"/>
                    </a:lnTo>
                    <a:lnTo>
                      <a:pt x="411" y="2157"/>
                    </a:lnTo>
                    <a:lnTo>
                      <a:pt x="385" y="2140"/>
                    </a:lnTo>
                    <a:lnTo>
                      <a:pt x="400" y="2140"/>
                    </a:lnTo>
                    <a:lnTo>
                      <a:pt x="378" y="2136"/>
                    </a:lnTo>
                    <a:lnTo>
                      <a:pt x="433" y="2124"/>
                    </a:lnTo>
                    <a:lnTo>
                      <a:pt x="471" y="2157"/>
                    </a:lnTo>
                    <a:lnTo>
                      <a:pt x="475" y="2157"/>
                    </a:lnTo>
                    <a:lnTo>
                      <a:pt x="449" y="2119"/>
                    </a:lnTo>
                    <a:lnTo>
                      <a:pt x="454" y="2115"/>
                    </a:lnTo>
                    <a:lnTo>
                      <a:pt x="520" y="2070"/>
                    </a:lnTo>
                    <a:lnTo>
                      <a:pt x="558" y="2065"/>
                    </a:lnTo>
                    <a:lnTo>
                      <a:pt x="574" y="2041"/>
                    </a:lnTo>
                    <a:lnTo>
                      <a:pt x="600" y="2041"/>
                    </a:lnTo>
                    <a:lnTo>
                      <a:pt x="612" y="2029"/>
                    </a:lnTo>
                    <a:lnTo>
                      <a:pt x="596" y="2029"/>
                    </a:lnTo>
                    <a:lnTo>
                      <a:pt x="600" y="2025"/>
                    </a:lnTo>
                    <a:lnTo>
                      <a:pt x="626" y="2029"/>
                    </a:lnTo>
                    <a:lnTo>
                      <a:pt x="671" y="2003"/>
                    </a:lnTo>
                    <a:lnTo>
                      <a:pt x="688" y="2003"/>
                    </a:lnTo>
                    <a:lnTo>
                      <a:pt x="688" y="2013"/>
                    </a:lnTo>
                    <a:lnTo>
                      <a:pt x="709" y="1987"/>
                    </a:lnTo>
                    <a:lnTo>
                      <a:pt x="735" y="1970"/>
                    </a:lnTo>
                    <a:lnTo>
                      <a:pt x="740" y="1970"/>
                    </a:lnTo>
                    <a:lnTo>
                      <a:pt x="740" y="1975"/>
                    </a:lnTo>
                    <a:lnTo>
                      <a:pt x="773" y="1987"/>
                    </a:lnTo>
                    <a:lnTo>
                      <a:pt x="794" y="1959"/>
                    </a:lnTo>
                    <a:lnTo>
                      <a:pt x="815" y="1975"/>
                    </a:lnTo>
                    <a:lnTo>
                      <a:pt x="811" y="1992"/>
                    </a:lnTo>
                    <a:lnTo>
                      <a:pt x="740" y="2025"/>
                    </a:lnTo>
                    <a:lnTo>
                      <a:pt x="709" y="2048"/>
                    </a:lnTo>
                    <a:lnTo>
                      <a:pt x="702" y="2041"/>
                    </a:lnTo>
                    <a:lnTo>
                      <a:pt x="633" y="2058"/>
                    </a:lnTo>
                    <a:lnTo>
                      <a:pt x="626" y="2065"/>
                    </a:lnTo>
                    <a:lnTo>
                      <a:pt x="626" y="2070"/>
                    </a:lnTo>
                    <a:lnTo>
                      <a:pt x="579" y="2086"/>
                    </a:lnTo>
                    <a:lnTo>
                      <a:pt x="574" y="2115"/>
                    </a:lnTo>
                    <a:lnTo>
                      <a:pt x="546" y="2119"/>
                    </a:lnTo>
                    <a:lnTo>
                      <a:pt x="546" y="2124"/>
                    </a:lnTo>
                    <a:lnTo>
                      <a:pt x="525" y="2140"/>
                    </a:lnTo>
                    <a:lnTo>
                      <a:pt x="574" y="2157"/>
                    </a:lnTo>
                    <a:lnTo>
                      <a:pt x="541" y="2140"/>
                    </a:lnTo>
                    <a:lnTo>
                      <a:pt x="600" y="2140"/>
                    </a:lnTo>
                    <a:lnTo>
                      <a:pt x="600" y="2136"/>
                    </a:lnTo>
                    <a:lnTo>
                      <a:pt x="596" y="2136"/>
                    </a:lnTo>
                    <a:lnTo>
                      <a:pt x="579" y="2136"/>
                    </a:lnTo>
                    <a:lnTo>
                      <a:pt x="574" y="2115"/>
                    </a:lnTo>
                    <a:lnTo>
                      <a:pt x="600" y="2103"/>
                    </a:lnTo>
                    <a:lnTo>
                      <a:pt x="612" y="2086"/>
                    </a:lnTo>
                    <a:lnTo>
                      <a:pt x="617" y="2103"/>
                    </a:lnTo>
                    <a:lnTo>
                      <a:pt x="655" y="2070"/>
                    </a:lnTo>
                    <a:lnTo>
                      <a:pt x="633" y="2070"/>
                    </a:lnTo>
                    <a:lnTo>
                      <a:pt x="655" y="2065"/>
                    </a:lnTo>
                    <a:lnTo>
                      <a:pt x="671" y="2065"/>
                    </a:lnTo>
                    <a:lnTo>
                      <a:pt x="664" y="2081"/>
                    </a:lnTo>
                    <a:lnTo>
                      <a:pt x="688" y="2058"/>
                    </a:lnTo>
                    <a:lnTo>
                      <a:pt x="688" y="2070"/>
                    </a:lnTo>
                    <a:lnTo>
                      <a:pt x="671" y="2081"/>
                    </a:lnTo>
                    <a:lnTo>
                      <a:pt x="681" y="2081"/>
                    </a:lnTo>
                    <a:lnTo>
                      <a:pt x="693" y="2070"/>
                    </a:lnTo>
                    <a:lnTo>
                      <a:pt x="688" y="2048"/>
                    </a:lnTo>
                    <a:lnTo>
                      <a:pt x="693" y="2058"/>
                    </a:lnTo>
                    <a:lnTo>
                      <a:pt x="693" y="2070"/>
                    </a:lnTo>
                    <a:lnTo>
                      <a:pt x="702" y="2065"/>
                    </a:lnTo>
                    <a:lnTo>
                      <a:pt x="688" y="2048"/>
                    </a:lnTo>
                    <a:lnTo>
                      <a:pt x="693" y="2041"/>
                    </a:lnTo>
                    <a:lnTo>
                      <a:pt x="702" y="2065"/>
                    </a:lnTo>
                    <a:lnTo>
                      <a:pt x="693" y="2081"/>
                    </a:lnTo>
                    <a:lnTo>
                      <a:pt x="709" y="2058"/>
                    </a:lnTo>
                    <a:lnTo>
                      <a:pt x="702" y="2081"/>
                    </a:lnTo>
                    <a:lnTo>
                      <a:pt x="709" y="2070"/>
                    </a:lnTo>
                    <a:lnTo>
                      <a:pt x="702" y="2098"/>
                    </a:lnTo>
                    <a:lnTo>
                      <a:pt x="709" y="2103"/>
                    </a:lnTo>
                    <a:lnTo>
                      <a:pt x="709" y="2086"/>
                    </a:lnTo>
                    <a:lnTo>
                      <a:pt x="747" y="2029"/>
                    </a:lnTo>
                    <a:lnTo>
                      <a:pt x="832" y="2008"/>
                    </a:lnTo>
                    <a:lnTo>
                      <a:pt x="848" y="2003"/>
                    </a:lnTo>
                    <a:lnTo>
                      <a:pt x="848" y="2013"/>
                    </a:lnTo>
                    <a:lnTo>
                      <a:pt x="832" y="2013"/>
                    </a:lnTo>
                    <a:lnTo>
                      <a:pt x="832" y="2029"/>
                    </a:lnTo>
                    <a:lnTo>
                      <a:pt x="848" y="2029"/>
                    </a:lnTo>
                    <a:lnTo>
                      <a:pt x="886" y="2003"/>
                    </a:lnTo>
                    <a:lnTo>
                      <a:pt x="886" y="1975"/>
                    </a:lnTo>
                    <a:lnTo>
                      <a:pt x="952" y="1959"/>
                    </a:lnTo>
                    <a:lnTo>
                      <a:pt x="908" y="1954"/>
                    </a:lnTo>
                    <a:lnTo>
                      <a:pt x="919" y="1947"/>
                    </a:lnTo>
                    <a:lnTo>
                      <a:pt x="903" y="1947"/>
                    </a:lnTo>
                    <a:lnTo>
                      <a:pt x="908" y="1914"/>
                    </a:lnTo>
                    <a:lnTo>
                      <a:pt x="974" y="1959"/>
                    </a:lnTo>
                    <a:lnTo>
                      <a:pt x="1004" y="2025"/>
                    </a:lnTo>
                    <a:lnTo>
                      <a:pt x="1033" y="2058"/>
                    </a:lnTo>
                    <a:lnTo>
                      <a:pt x="1096" y="2081"/>
                    </a:lnTo>
                    <a:lnTo>
                      <a:pt x="1096" y="2070"/>
                    </a:lnTo>
                    <a:lnTo>
                      <a:pt x="1118" y="2065"/>
                    </a:lnTo>
                    <a:lnTo>
                      <a:pt x="1080" y="2065"/>
                    </a:lnTo>
                    <a:lnTo>
                      <a:pt x="1087" y="2058"/>
                    </a:lnTo>
                    <a:lnTo>
                      <a:pt x="1118" y="2058"/>
                    </a:lnTo>
                    <a:lnTo>
                      <a:pt x="1096" y="2041"/>
                    </a:lnTo>
                    <a:lnTo>
                      <a:pt x="1096" y="2029"/>
                    </a:lnTo>
                    <a:lnTo>
                      <a:pt x="1118" y="2025"/>
                    </a:lnTo>
                    <a:lnTo>
                      <a:pt x="1125" y="2041"/>
                    </a:lnTo>
                    <a:lnTo>
                      <a:pt x="1134" y="2029"/>
                    </a:lnTo>
                    <a:lnTo>
                      <a:pt x="1101" y="2013"/>
                    </a:lnTo>
                    <a:lnTo>
                      <a:pt x="1118" y="2013"/>
                    </a:lnTo>
                    <a:lnTo>
                      <a:pt x="1134" y="1992"/>
                    </a:lnTo>
                    <a:lnTo>
                      <a:pt x="1113" y="2003"/>
                    </a:lnTo>
                    <a:lnTo>
                      <a:pt x="1113" y="1992"/>
                    </a:lnTo>
                    <a:lnTo>
                      <a:pt x="1125" y="1987"/>
                    </a:lnTo>
                    <a:lnTo>
                      <a:pt x="1118" y="1992"/>
                    </a:lnTo>
                    <a:lnTo>
                      <a:pt x="1151" y="1987"/>
                    </a:lnTo>
                    <a:lnTo>
                      <a:pt x="1156" y="1992"/>
                    </a:lnTo>
                    <a:lnTo>
                      <a:pt x="1167" y="1987"/>
                    </a:lnTo>
                    <a:lnTo>
                      <a:pt x="1139" y="1975"/>
                    </a:lnTo>
                    <a:lnTo>
                      <a:pt x="1167" y="1975"/>
                    </a:lnTo>
                    <a:lnTo>
                      <a:pt x="1167" y="1987"/>
                    </a:lnTo>
                    <a:lnTo>
                      <a:pt x="1156" y="2025"/>
                    </a:lnTo>
                    <a:lnTo>
                      <a:pt x="1189" y="2029"/>
                    </a:lnTo>
                    <a:lnTo>
                      <a:pt x="1156" y="2070"/>
                    </a:lnTo>
                    <a:lnTo>
                      <a:pt x="1167" y="2070"/>
                    </a:lnTo>
                    <a:lnTo>
                      <a:pt x="1231" y="2070"/>
                    </a:lnTo>
                    <a:lnTo>
                      <a:pt x="1231" y="2058"/>
                    </a:lnTo>
                    <a:lnTo>
                      <a:pt x="1248" y="2058"/>
                    </a:lnTo>
                    <a:lnTo>
                      <a:pt x="1259" y="2025"/>
                    </a:lnTo>
                    <a:lnTo>
                      <a:pt x="1264" y="2013"/>
                    </a:lnTo>
                    <a:lnTo>
                      <a:pt x="1356" y="2013"/>
                    </a:lnTo>
                    <a:lnTo>
                      <a:pt x="1420" y="2041"/>
                    </a:lnTo>
                    <a:lnTo>
                      <a:pt x="1458" y="2070"/>
                    </a:lnTo>
                    <a:lnTo>
                      <a:pt x="1555" y="2086"/>
                    </a:lnTo>
                    <a:lnTo>
                      <a:pt x="1609" y="2119"/>
                    </a:lnTo>
                    <a:lnTo>
                      <a:pt x="1675" y="2136"/>
                    </a:lnTo>
                    <a:lnTo>
                      <a:pt x="1760" y="2140"/>
                    </a:lnTo>
                    <a:lnTo>
                      <a:pt x="1730" y="2124"/>
                    </a:lnTo>
                    <a:lnTo>
                      <a:pt x="1782" y="2124"/>
                    </a:lnTo>
                    <a:lnTo>
                      <a:pt x="1869" y="2157"/>
                    </a:lnTo>
                    <a:lnTo>
                      <a:pt x="1890" y="2181"/>
                    </a:lnTo>
                    <a:lnTo>
                      <a:pt x="1890" y="2214"/>
                    </a:lnTo>
                    <a:lnTo>
                      <a:pt x="1803" y="2226"/>
                    </a:lnTo>
                    <a:lnTo>
                      <a:pt x="1803" y="2235"/>
                    </a:lnTo>
                    <a:lnTo>
                      <a:pt x="1819" y="2247"/>
                    </a:lnTo>
                    <a:lnTo>
                      <a:pt x="1789" y="2252"/>
                    </a:lnTo>
                    <a:lnTo>
                      <a:pt x="1819" y="2268"/>
                    </a:lnTo>
                    <a:lnTo>
                      <a:pt x="2004" y="2285"/>
                    </a:lnTo>
                    <a:lnTo>
                      <a:pt x="2091" y="2263"/>
                    </a:lnTo>
                    <a:lnTo>
                      <a:pt x="2105" y="2280"/>
                    </a:lnTo>
                    <a:lnTo>
                      <a:pt x="2167" y="2247"/>
                    </a:lnTo>
                    <a:lnTo>
                      <a:pt x="2176" y="2252"/>
                    </a:lnTo>
                    <a:lnTo>
                      <a:pt x="2176" y="2263"/>
                    </a:lnTo>
                    <a:lnTo>
                      <a:pt x="2193" y="2263"/>
                    </a:lnTo>
                    <a:lnTo>
                      <a:pt x="2193" y="2280"/>
                    </a:lnTo>
                    <a:lnTo>
                      <a:pt x="2235" y="2280"/>
                    </a:lnTo>
                    <a:lnTo>
                      <a:pt x="2252" y="2303"/>
                    </a:lnTo>
                    <a:lnTo>
                      <a:pt x="2247" y="2308"/>
                    </a:lnTo>
                    <a:lnTo>
                      <a:pt x="2263" y="2325"/>
                    </a:lnTo>
                    <a:lnTo>
                      <a:pt x="2263" y="2292"/>
                    </a:lnTo>
                    <a:lnTo>
                      <a:pt x="2268" y="2292"/>
                    </a:lnTo>
                    <a:lnTo>
                      <a:pt x="2285" y="2325"/>
                    </a:lnTo>
                    <a:lnTo>
                      <a:pt x="2289" y="2320"/>
                    </a:lnTo>
                    <a:lnTo>
                      <a:pt x="2318" y="2337"/>
                    </a:lnTo>
                    <a:lnTo>
                      <a:pt x="2322" y="2363"/>
                    </a:lnTo>
                    <a:lnTo>
                      <a:pt x="2301" y="2363"/>
                    </a:lnTo>
                    <a:lnTo>
                      <a:pt x="2268" y="2346"/>
                    </a:lnTo>
                    <a:lnTo>
                      <a:pt x="2273" y="2363"/>
                    </a:lnTo>
                    <a:lnTo>
                      <a:pt x="2306" y="2374"/>
                    </a:lnTo>
                    <a:lnTo>
                      <a:pt x="2322" y="2412"/>
                    </a:lnTo>
                    <a:lnTo>
                      <a:pt x="2322" y="2396"/>
                    </a:lnTo>
                    <a:lnTo>
                      <a:pt x="2370" y="2448"/>
                    </a:lnTo>
                    <a:lnTo>
                      <a:pt x="2344" y="2412"/>
                    </a:lnTo>
                    <a:lnTo>
                      <a:pt x="2327" y="2379"/>
                    </a:lnTo>
                    <a:lnTo>
                      <a:pt x="2339" y="2358"/>
                    </a:lnTo>
                    <a:lnTo>
                      <a:pt x="2356" y="2374"/>
                    </a:lnTo>
                    <a:lnTo>
                      <a:pt x="2339" y="2374"/>
                    </a:lnTo>
                    <a:lnTo>
                      <a:pt x="2344" y="2391"/>
                    </a:lnTo>
                    <a:lnTo>
                      <a:pt x="2360" y="2391"/>
                    </a:lnTo>
                    <a:lnTo>
                      <a:pt x="2356" y="2374"/>
                    </a:lnTo>
                    <a:lnTo>
                      <a:pt x="2381" y="2391"/>
                    </a:lnTo>
                    <a:lnTo>
                      <a:pt x="2360" y="2363"/>
                    </a:lnTo>
                    <a:lnTo>
                      <a:pt x="2360" y="2346"/>
                    </a:lnTo>
                    <a:lnTo>
                      <a:pt x="2356" y="2341"/>
                    </a:lnTo>
                    <a:lnTo>
                      <a:pt x="2339" y="2325"/>
                    </a:lnTo>
                    <a:lnTo>
                      <a:pt x="2344" y="2308"/>
                    </a:lnTo>
                    <a:lnTo>
                      <a:pt x="2318" y="2280"/>
                    </a:lnTo>
                    <a:lnTo>
                      <a:pt x="2322" y="2263"/>
                    </a:lnTo>
                    <a:lnTo>
                      <a:pt x="2339" y="2252"/>
                    </a:lnTo>
                    <a:lnTo>
                      <a:pt x="2322" y="2247"/>
                    </a:lnTo>
                    <a:lnTo>
                      <a:pt x="2322" y="2235"/>
                    </a:lnTo>
                    <a:lnTo>
                      <a:pt x="2339" y="2235"/>
                    </a:lnTo>
                    <a:lnTo>
                      <a:pt x="2327" y="2235"/>
                    </a:lnTo>
                    <a:lnTo>
                      <a:pt x="2327" y="2247"/>
                    </a:lnTo>
                    <a:lnTo>
                      <a:pt x="2360" y="2235"/>
                    </a:lnTo>
                    <a:lnTo>
                      <a:pt x="2398" y="2230"/>
                    </a:lnTo>
                    <a:lnTo>
                      <a:pt x="2398" y="2226"/>
                    </a:lnTo>
                    <a:lnTo>
                      <a:pt x="2415" y="2214"/>
                    </a:lnTo>
                    <a:lnTo>
                      <a:pt x="2424" y="2230"/>
                    </a:lnTo>
                    <a:lnTo>
                      <a:pt x="2431" y="2226"/>
                    </a:lnTo>
                    <a:lnTo>
                      <a:pt x="2424" y="2214"/>
                    </a:lnTo>
                    <a:lnTo>
                      <a:pt x="2424" y="2209"/>
                    </a:lnTo>
                    <a:lnTo>
                      <a:pt x="2478" y="2192"/>
                    </a:lnTo>
                    <a:lnTo>
                      <a:pt x="2478" y="2176"/>
                    </a:lnTo>
                    <a:lnTo>
                      <a:pt x="2483" y="2169"/>
                    </a:lnTo>
                    <a:lnTo>
                      <a:pt x="2415" y="2181"/>
                    </a:lnTo>
                    <a:lnTo>
                      <a:pt x="2415" y="2192"/>
                    </a:lnTo>
                    <a:lnTo>
                      <a:pt x="2424" y="2197"/>
                    </a:lnTo>
                    <a:lnTo>
                      <a:pt x="2415" y="2209"/>
                    </a:lnTo>
                    <a:lnTo>
                      <a:pt x="2398" y="2192"/>
                    </a:lnTo>
                    <a:lnTo>
                      <a:pt x="2370" y="2214"/>
                    </a:lnTo>
                    <a:lnTo>
                      <a:pt x="2344" y="2197"/>
                    </a:lnTo>
                    <a:lnTo>
                      <a:pt x="2327" y="2209"/>
                    </a:lnTo>
                    <a:lnTo>
                      <a:pt x="2322" y="2214"/>
                    </a:lnTo>
                    <a:lnTo>
                      <a:pt x="2344" y="2226"/>
                    </a:lnTo>
                    <a:lnTo>
                      <a:pt x="2289" y="2230"/>
                    </a:lnTo>
                    <a:lnTo>
                      <a:pt x="2285" y="2226"/>
                    </a:lnTo>
                    <a:lnTo>
                      <a:pt x="2289" y="2226"/>
                    </a:lnTo>
                    <a:lnTo>
                      <a:pt x="2289" y="2209"/>
                    </a:lnTo>
                    <a:lnTo>
                      <a:pt x="2263" y="2214"/>
                    </a:lnTo>
                    <a:lnTo>
                      <a:pt x="2289" y="2169"/>
                    </a:lnTo>
                    <a:lnTo>
                      <a:pt x="2370" y="2157"/>
                    </a:lnTo>
                    <a:lnTo>
                      <a:pt x="2436" y="2124"/>
                    </a:lnTo>
                    <a:lnTo>
                      <a:pt x="2469" y="2136"/>
                    </a:lnTo>
                    <a:lnTo>
                      <a:pt x="2490" y="2152"/>
                    </a:lnTo>
                    <a:lnTo>
                      <a:pt x="2490" y="2169"/>
                    </a:lnTo>
                    <a:lnTo>
                      <a:pt x="2500" y="2181"/>
                    </a:lnTo>
                    <a:lnTo>
                      <a:pt x="2483" y="2192"/>
                    </a:lnTo>
                    <a:lnTo>
                      <a:pt x="2521" y="2214"/>
                    </a:lnTo>
                    <a:lnTo>
                      <a:pt x="2537" y="2209"/>
                    </a:lnTo>
                    <a:lnTo>
                      <a:pt x="2533" y="2214"/>
                    </a:lnTo>
                    <a:lnTo>
                      <a:pt x="2554" y="2214"/>
                    </a:lnTo>
                    <a:lnTo>
                      <a:pt x="2542" y="2230"/>
                    </a:lnTo>
                    <a:lnTo>
                      <a:pt x="2559" y="2235"/>
                    </a:lnTo>
                    <a:lnTo>
                      <a:pt x="2613" y="2235"/>
                    </a:lnTo>
                    <a:lnTo>
                      <a:pt x="2641" y="2226"/>
                    </a:lnTo>
                    <a:lnTo>
                      <a:pt x="2646" y="2230"/>
                    </a:lnTo>
                    <a:lnTo>
                      <a:pt x="2641" y="2247"/>
                    </a:lnTo>
                    <a:lnTo>
                      <a:pt x="2717" y="2280"/>
                    </a:lnTo>
                    <a:lnTo>
                      <a:pt x="2738" y="2280"/>
                    </a:lnTo>
                    <a:lnTo>
                      <a:pt x="2769" y="2285"/>
                    </a:lnTo>
                    <a:lnTo>
                      <a:pt x="2844" y="2263"/>
                    </a:lnTo>
                    <a:lnTo>
                      <a:pt x="2911" y="2268"/>
                    </a:lnTo>
                    <a:lnTo>
                      <a:pt x="2932" y="2280"/>
                    </a:lnTo>
                    <a:lnTo>
                      <a:pt x="2991" y="2268"/>
                    </a:lnTo>
                    <a:lnTo>
                      <a:pt x="2965" y="2252"/>
                    </a:lnTo>
                    <a:lnTo>
                      <a:pt x="2965" y="2235"/>
                    </a:lnTo>
                    <a:lnTo>
                      <a:pt x="2970" y="2235"/>
                    </a:lnTo>
                    <a:lnTo>
                      <a:pt x="3007" y="2280"/>
                    </a:lnTo>
                    <a:lnTo>
                      <a:pt x="3057" y="2292"/>
                    </a:lnTo>
                    <a:lnTo>
                      <a:pt x="3078" y="2285"/>
                    </a:lnTo>
                    <a:lnTo>
                      <a:pt x="3078" y="2268"/>
                    </a:lnTo>
                    <a:lnTo>
                      <a:pt x="3071" y="2252"/>
                    </a:lnTo>
                    <a:lnTo>
                      <a:pt x="3062" y="2263"/>
                    </a:lnTo>
                    <a:lnTo>
                      <a:pt x="3041" y="2247"/>
                    </a:lnTo>
                    <a:lnTo>
                      <a:pt x="3019" y="2252"/>
                    </a:lnTo>
                    <a:lnTo>
                      <a:pt x="3007" y="2263"/>
                    </a:lnTo>
                    <a:lnTo>
                      <a:pt x="2974" y="2230"/>
                    </a:lnTo>
                    <a:lnTo>
                      <a:pt x="2986" y="2226"/>
                    </a:lnTo>
                    <a:lnTo>
                      <a:pt x="2991" y="2235"/>
                    </a:lnTo>
                    <a:lnTo>
                      <a:pt x="2991" y="2226"/>
                    </a:lnTo>
                    <a:lnTo>
                      <a:pt x="2970" y="2197"/>
                    </a:lnTo>
                    <a:lnTo>
                      <a:pt x="2974" y="2209"/>
                    </a:lnTo>
                    <a:lnTo>
                      <a:pt x="2986" y="2192"/>
                    </a:lnTo>
                    <a:lnTo>
                      <a:pt x="3003" y="2209"/>
                    </a:lnTo>
                    <a:lnTo>
                      <a:pt x="3029" y="2197"/>
                    </a:lnTo>
                    <a:lnTo>
                      <a:pt x="3019" y="2181"/>
                    </a:lnTo>
                    <a:lnTo>
                      <a:pt x="3024" y="2176"/>
                    </a:lnTo>
                    <a:lnTo>
                      <a:pt x="3045" y="2192"/>
                    </a:lnTo>
                    <a:lnTo>
                      <a:pt x="3071" y="2192"/>
                    </a:lnTo>
                    <a:lnTo>
                      <a:pt x="3083" y="2197"/>
                    </a:lnTo>
                    <a:lnTo>
                      <a:pt x="3078" y="2214"/>
                    </a:lnTo>
                    <a:lnTo>
                      <a:pt x="3133" y="2209"/>
                    </a:lnTo>
                    <a:lnTo>
                      <a:pt x="3100" y="2235"/>
                    </a:lnTo>
                    <a:lnTo>
                      <a:pt x="3109" y="2247"/>
                    </a:lnTo>
                    <a:lnTo>
                      <a:pt x="3154" y="2214"/>
                    </a:lnTo>
                    <a:lnTo>
                      <a:pt x="3137" y="2268"/>
                    </a:lnTo>
                    <a:lnTo>
                      <a:pt x="3147" y="2285"/>
                    </a:lnTo>
                    <a:lnTo>
                      <a:pt x="3126" y="2308"/>
                    </a:lnTo>
                    <a:lnTo>
                      <a:pt x="3147" y="2308"/>
                    </a:lnTo>
                    <a:lnTo>
                      <a:pt x="3137" y="2341"/>
                    </a:lnTo>
                    <a:lnTo>
                      <a:pt x="3147" y="2341"/>
                    </a:lnTo>
                    <a:lnTo>
                      <a:pt x="3185" y="2325"/>
                    </a:lnTo>
                    <a:lnTo>
                      <a:pt x="3185" y="2337"/>
                    </a:lnTo>
                    <a:lnTo>
                      <a:pt x="3170" y="2346"/>
                    </a:lnTo>
                    <a:lnTo>
                      <a:pt x="3192" y="2341"/>
                    </a:lnTo>
                    <a:lnTo>
                      <a:pt x="3201" y="2374"/>
                    </a:lnTo>
                    <a:lnTo>
                      <a:pt x="3163" y="2374"/>
                    </a:lnTo>
                    <a:lnTo>
                      <a:pt x="3154" y="2363"/>
                    </a:lnTo>
                    <a:lnTo>
                      <a:pt x="3163" y="2358"/>
                    </a:lnTo>
                    <a:lnTo>
                      <a:pt x="3147" y="2374"/>
                    </a:lnTo>
                    <a:lnTo>
                      <a:pt x="3137" y="2358"/>
                    </a:lnTo>
                    <a:lnTo>
                      <a:pt x="3126" y="2358"/>
                    </a:lnTo>
                    <a:lnTo>
                      <a:pt x="3170" y="2396"/>
                    </a:lnTo>
                    <a:lnTo>
                      <a:pt x="3170" y="2412"/>
                    </a:lnTo>
                    <a:lnTo>
                      <a:pt x="3180" y="2412"/>
                    </a:lnTo>
                    <a:lnTo>
                      <a:pt x="3147" y="2379"/>
                    </a:lnTo>
                    <a:lnTo>
                      <a:pt x="3208" y="2379"/>
                    </a:lnTo>
                    <a:lnTo>
                      <a:pt x="3208" y="2374"/>
                    </a:lnTo>
                    <a:lnTo>
                      <a:pt x="3201" y="2346"/>
                    </a:lnTo>
                    <a:lnTo>
                      <a:pt x="3218" y="2337"/>
                    </a:lnTo>
                    <a:lnTo>
                      <a:pt x="3201" y="2325"/>
                    </a:lnTo>
                    <a:lnTo>
                      <a:pt x="3201" y="2303"/>
                    </a:lnTo>
                    <a:lnTo>
                      <a:pt x="3180" y="2280"/>
                    </a:lnTo>
                    <a:lnTo>
                      <a:pt x="3185" y="2268"/>
                    </a:lnTo>
                    <a:lnTo>
                      <a:pt x="3201" y="2235"/>
                    </a:lnTo>
                    <a:lnTo>
                      <a:pt x="3192" y="2235"/>
                    </a:lnTo>
                    <a:lnTo>
                      <a:pt x="3244" y="2235"/>
                    </a:lnTo>
                    <a:lnTo>
                      <a:pt x="3289" y="2214"/>
                    </a:lnTo>
                    <a:lnTo>
                      <a:pt x="3289" y="2192"/>
                    </a:lnTo>
                    <a:lnTo>
                      <a:pt x="3326" y="2176"/>
                    </a:lnTo>
                    <a:lnTo>
                      <a:pt x="3326" y="2169"/>
                    </a:lnTo>
                    <a:lnTo>
                      <a:pt x="3315" y="2169"/>
                    </a:lnTo>
                    <a:lnTo>
                      <a:pt x="3326" y="2140"/>
                    </a:lnTo>
                    <a:lnTo>
                      <a:pt x="3326" y="2124"/>
                    </a:lnTo>
                    <a:lnTo>
                      <a:pt x="3298" y="2124"/>
                    </a:lnTo>
                    <a:lnTo>
                      <a:pt x="3293" y="2140"/>
                    </a:lnTo>
                    <a:lnTo>
                      <a:pt x="3310" y="2136"/>
                    </a:lnTo>
                    <a:lnTo>
                      <a:pt x="3293" y="2152"/>
                    </a:lnTo>
                    <a:lnTo>
                      <a:pt x="3260" y="2152"/>
                    </a:lnTo>
                    <a:lnTo>
                      <a:pt x="3256" y="2152"/>
                    </a:lnTo>
                    <a:lnTo>
                      <a:pt x="3256" y="2136"/>
                    </a:lnTo>
                    <a:lnTo>
                      <a:pt x="3256" y="2124"/>
                    </a:lnTo>
                    <a:lnTo>
                      <a:pt x="3293" y="2103"/>
                    </a:lnTo>
                    <a:lnTo>
                      <a:pt x="3277" y="2103"/>
                    </a:lnTo>
                    <a:lnTo>
                      <a:pt x="3277" y="2081"/>
                    </a:lnTo>
                    <a:lnTo>
                      <a:pt x="3331" y="2065"/>
                    </a:lnTo>
                    <a:lnTo>
                      <a:pt x="3310" y="2086"/>
                    </a:lnTo>
                    <a:lnTo>
                      <a:pt x="3310" y="2103"/>
                    </a:lnTo>
                    <a:lnTo>
                      <a:pt x="3343" y="2070"/>
                    </a:lnTo>
                    <a:lnTo>
                      <a:pt x="3326" y="2070"/>
                    </a:lnTo>
                    <a:lnTo>
                      <a:pt x="3343" y="2065"/>
                    </a:lnTo>
                    <a:lnTo>
                      <a:pt x="3331" y="2058"/>
                    </a:lnTo>
                    <a:lnTo>
                      <a:pt x="3277" y="2065"/>
                    </a:lnTo>
                    <a:lnTo>
                      <a:pt x="3256" y="2029"/>
                    </a:lnTo>
                    <a:lnTo>
                      <a:pt x="3239" y="2048"/>
                    </a:lnTo>
                    <a:lnTo>
                      <a:pt x="3180" y="2025"/>
                    </a:lnTo>
                    <a:lnTo>
                      <a:pt x="3163" y="2025"/>
                    </a:lnTo>
                    <a:lnTo>
                      <a:pt x="3147" y="2003"/>
                    </a:lnTo>
                    <a:lnTo>
                      <a:pt x="3116" y="1975"/>
                    </a:lnTo>
                    <a:lnTo>
                      <a:pt x="3116" y="1954"/>
                    </a:lnTo>
                    <a:lnTo>
                      <a:pt x="3137" y="1921"/>
                    </a:lnTo>
                    <a:lnTo>
                      <a:pt x="3170" y="1921"/>
                    </a:lnTo>
                    <a:lnTo>
                      <a:pt x="3154" y="1914"/>
                    </a:lnTo>
                    <a:lnTo>
                      <a:pt x="3170" y="1897"/>
                    </a:lnTo>
                    <a:lnTo>
                      <a:pt x="3147" y="1914"/>
                    </a:lnTo>
                    <a:lnTo>
                      <a:pt x="3116" y="1892"/>
                    </a:lnTo>
                    <a:lnTo>
                      <a:pt x="3126" y="1859"/>
                    </a:lnTo>
                    <a:lnTo>
                      <a:pt x="3133" y="1848"/>
                    </a:lnTo>
                    <a:lnTo>
                      <a:pt x="3116" y="1843"/>
                    </a:lnTo>
                    <a:lnTo>
                      <a:pt x="3126" y="1843"/>
                    </a:lnTo>
                    <a:lnTo>
                      <a:pt x="3126" y="1826"/>
                    </a:lnTo>
                    <a:lnTo>
                      <a:pt x="3154" y="1810"/>
                    </a:lnTo>
                    <a:lnTo>
                      <a:pt x="3185" y="1826"/>
                    </a:lnTo>
                    <a:lnTo>
                      <a:pt x="3192" y="1810"/>
                    </a:lnTo>
                    <a:lnTo>
                      <a:pt x="3185" y="1803"/>
                    </a:lnTo>
                    <a:lnTo>
                      <a:pt x="3163" y="1786"/>
                    </a:lnTo>
                    <a:lnTo>
                      <a:pt x="3208" y="1770"/>
                    </a:lnTo>
                    <a:lnTo>
                      <a:pt x="3208" y="1753"/>
                    </a:lnTo>
                    <a:lnTo>
                      <a:pt x="3256" y="1748"/>
                    </a:lnTo>
                    <a:lnTo>
                      <a:pt x="3208" y="1748"/>
                    </a:lnTo>
                    <a:lnTo>
                      <a:pt x="3218" y="1737"/>
                    </a:lnTo>
                    <a:lnTo>
                      <a:pt x="3260" y="1732"/>
                    </a:lnTo>
                    <a:lnTo>
                      <a:pt x="3272" y="1737"/>
                    </a:lnTo>
                    <a:lnTo>
                      <a:pt x="3256" y="1753"/>
                    </a:lnTo>
                    <a:lnTo>
                      <a:pt x="3256" y="1765"/>
                    </a:lnTo>
                    <a:lnTo>
                      <a:pt x="3260" y="1753"/>
                    </a:lnTo>
                    <a:lnTo>
                      <a:pt x="3272" y="1753"/>
                    </a:lnTo>
                    <a:lnTo>
                      <a:pt x="3272" y="1781"/>
                    </a:lnTo>
                    <a:lnTo>
                      <a:pt x="3289" y="1753"/>
                    </a:lnTo>
                    <a:lnTo>
                      <a:pt x="3315" y="1765"/>
                    </a:lnTo>
                    <a:lnTo>
                      <a:pt x="3310" y="1781"/>
                    </a:lnTo>
                    <a:lnTo>
                      <a:pt x="3369" y="1819"/>
                    </a:lnTo>
                    <a:lnTo>
                      <a:pt x="3381" y="1843"/>
                    </a:lnTo>
                    <a:lnTo>
                      <a:pt x="3369" y="1876"/>
                    </a:lnTo>
                    <a:lnTo>
                      <a:pt x="3364" y="1881"/>
                    </a:lnTo>
                    <a:lnTo>
                      <a:pt x="3423" y="1914"/>
                    </a:lnTo>
                    <a:lnTo>
                      <a:pt x="3418" y="1930"/>
                    </a:lnTo>
                    <a:lnTo>
                      <a:pt x="3440" y="1947"/>
                    </a:lnTo>
                    <a:lnTo>
                      <a:pt x="3440" y="1959"/>
                    </a:lnTo>
                    <a:lnTo>
                      <a:pt x="3449" y="1947"/>
                    </a:lnTo>
                    <a:lnTo>
                      <a:pt x="3456" y="1947"/>
                    </a:lnTo>
                    <a:lnTo>
                      <a:pt x="3470" y="1970"/>
                    </a:lnTo>
                    <a:lnTo>
                      <a:pt x="3440" y="1975"/>
                    </a:lnTo>
                    <a:lnTo>
                      <a:pt x="3418" y="1970"/>
                    </a:lnTo>
                    <a:lnTo>
                      <a:pt x="3407" y="1987"/>
                    </a:lnTo>
                    <a:lnTo>
                      <a:pt x="3440" y="1992"/>
                    </a:lnTo>
                    <a:lnTo>
                      <a:pt x="3385" y="2029"/>
                    </a:lnTo>
                    <a:lnTo>
                      <a:pt x="3402" y="2029"/>
                    </a:lnTo>
                    <a:lnTo>
                      <a:pt x="3369" y="2029"/>
                    </a:lnTo>
                    <a:lnTo>
                      <a:pt x="3418" y="2029"/>
                    </a:lnTo>
                    <a:lnTo>
                      <a:pt x="3433" y="2041"/>
                    </a:lnTo>
                    <a:lnTo>
                      <a:pt x="3418" y="2041"/>
                    </a:lnTo>
                    <a:lnTo>
                      <a:pt x="3433" y="2048"/>
                    </a:lnTo>
                    <a:lnTo>
                      <a:pt x="3449" y="2058"/>
                    </a:lnTo>
                    <a:lnTo>
                      <a:pt x="3470" y="2041"/>
                    </a:lnTo>
                    <a:lnTo>
                      <a:pt x="3494" y="2041"/>
                    </a:lnTo>
                    <a:lnTo>
                      <a:pt x="3504" y="2041"/>
                    </a:lnTo>
                    <a:lnTo>
                      <a:pt x="3470" y="2058"/>
                    </a:lnTo>
                    <a:lnTo>
                      <a:pt x="3494" y="2048"/>
                    </a:lnTo>
                    <a:lnTo>
                      <a:pt x="3525" y="2058"/>
                    </a:lnTo>
                    <a:lnTo>
                      <a:pt x="3525" y="2048"/>
                    </a:lnTo>
                    <a:lnTo>
                      <a:pt x="3558" y="2065"/>
                    </a:lnTo>
                    <a:lnTo>
                      <a:pt x="3525" y="2065"/>
                    </a:lnTo>
                    <a:lnTo>
                      <a:pt x="3541" y="2065"/>
                    </a:lnTo>
                    <a:lnTo>
                      <a:pt x="3525" y="2070"/>
                    </a:lnTo>
                    <a:lnTo>
                      <a:pt x="3515" y="2086"/>
                    </a:lnTo>
                    <a:lnTo>
                      <a:pt x="3478" y="2070"/>
                    </a:lnTo>
                    <a:lnTo>
                      <a:pt x="3532" y="2115"/>
                    </a:lnTo>
                    <a:lnTo>
                      <a:pt x="3532" y="2124"/>
                    </a:lnTo>
                    <a:lnTo>
                      <a:pt x="3546" y="2136"/>
                    </a:lnTo>
                    <a:lnTo>
                      <a:pt x="3541" y="2152"/>
                    </a:lnTo>
                    <a:lnTo>
                      <a:pt x="3541" y="2181"/>
                    </a:lnTo>
                    <a:lnTo>
                      <a:pt x="3532" y="2192"/>
                    </a:lnTo>
                    <a:lnTo>
                      <a:pt x="3558" y="2197"/>
                    </a:lnTo>
                    <a:lnTo>
                      <a:pt x="3546" y="2209"/>
                    </a:lnTo>
                    <a:lnTo>
                      <a:pt x="3558" y="2214"/>
                    </a:lnTo>
                    <a:lnTo>
                      <a:pt x="3570" y="2214"/>
                    </a:lnTo>
                    <a:lnTo>
                      <a:pt x="3584" y="2192"/>
                    </a:lnTo>
                    <a:lnTo>
                      <a:pt x="3579" y="2169"/>
                    </a:lnTo>
                    <a:lnTo>
                      <a:pt x="3596" y="2157"/>
                    </a:lnTo>
                    <a:lnTo>
                      <a:pt x="3596" y="2119"/>
                    </a:lnTo>
                    <a:lnTo>
                      <a:pt x="3622" y="2086"/>
                    </a:lnTo>
                    <a:lnTo>
                      <a:pt x="3650" y="2086"/>
                    </a:lnTo>
                    <a:lnTo>
                      <a:pt x="3721" y="2140"/>
                    </a:lnTo>
                    <a:lnTo>
                      <a:pt x="3730" y="2209"/>
                    </a:lnTo>
                    <a:lnTo>
                      <a:pt x="3726" y="2226"/>
                    </a:lnTo>
                    <a:lnTo>
                      <a:pt x="3704" y="2197"/>
                    </a:lnTo>
                    <a:lnTo>
                      <a:pt x="3688" y="2209"/>
                    </a:lnTo>
                    <a:lnTo>
                      <a:pt x="3693" y="2230"/>
                    </a:lnTo>
                    <a:lnTo>
                      <a:pt x="3693" y="2252"/>
                    </a:lnTo>
                    <a:lnTo>
                      <a:pt x="3709" y="2285"/>
                    </a:lnTo>
                    <a:lnTo>
                      <a:pt x="3763" y="2337"/>
                    </a:lnTo>
                    <a:lnTo>
                      <a:pt x="3747" y="2358"/>
                    </a:lnTo>
                    <a:lnTo>
                      <a:pt x="3785" y="2341"/>
                    </a:lnTo>
                    <a:lnTo>
                      <a:pt x="3780" y="2325"/>
                    </a:lnTo>
                    <a:lnTo>
                      <a:pt x="3796" y="2320"/>
                    </a:lnTo>
                    <a:lnTo>
                      <a:pt x="3818" y="2325"/>
                    </a:lnTo>
                    <a:lnTo>
                      <a:pt x="3827" y="2292"/>
                    </a:lnTo>
                    <a:lnTo>
                      <a:pt x="3818" y="2285"/>
                    </a:lnTo>
                    <a:lnTo>
                      <a:pt x="3865" y="2235"/>
                    </a:lnTo>
                    <a:lnTo>
                      <a:pt x="3872" y="2209"/>
                    </a:lnTo>
                    <a:lnTo>
                      <a:pt x="3881" y="2192"/>
                    </a:lnTo>
                    <a:lnTo>
                      <a:pt x="3881" y="2152"/>
                    </a:lnTo>
                    <a:lnTo>
                      <a:pt x="3893" y="2152"/>
                    </a:lnTo>
                    <a:lnTo>
                      <a:pt x="3941" y="2152"/>
                    </a:lnTo>
                    <a:lnTo>
                      <a:pt x="3941" y="2140"/>
                    </a:lnTo>
                    <a:lnTo>
                      <a:pt x="3910" y="2136"/>
                    </a:lnTo>
                    <a:lnTo>
                      <a:pt x="3924" y="2136"/>
                    </a:lnTo>
                    <a:lnTo>
                      <a:pt x="3919" y="2124"/>
                    </a:lnTo>
                    <a:lnTo>
                      <a:pt x="3941" y="2124"/>
                    </a:lnTo>
                    <a:lnTo>
                      <a:pt x="3936" y="2119"/>
                    </a:lnTo>
                    <a:lnTo>
                      <a:pt x="3962" y="2119"/>
                    </a:lnTo>
                    <a:lnTo>
                      <a:pt x="3919" y="2103"/>
                    </a:lnTo>
                    <a:lnTo>
                      <a:pt x="3924" y="2098"/>
                    </a:lnTo>
                    <a:lnTo>
                      <a:pt x="3903" y="2103"/>
                    </a:lnTo>
                    <a:lnTo>
                      <a:pt x="3910" y="2098"/>
                    </a:lnTo>
                    <a:lnTo>
                      <a:pt x="3893" y="2086"/>
                    </a:lnTo>
                    <a:lnTo>
                      <a:pt x="3893" y="2070"/>
                    </a:lnTo>
                    <a:lnTo>
                      <a:pt x="3903" y="2065"/>
                    </a:lnTo>
                    <a:lnTo>
                      <a:pt x="3886" y="2065"/>
                    </a:lnTo>
                    <a:lnTo>
                      <a:pt x="3893" y="2025"/>
                    </a:lnTo>
                    <a:lnTo>
                      <a:pt x="3903" y="2025"/>
                    </a:lnTo>
                    <a:lnTo>
                      <a:pt x="3886" y="2008"/>
                    </a:lnTo>
                    <a:lnTo>
                      <a:pt x="3924" y="2025"/>
                    </a:lnTo>
                    <a:lnTo>
                      <a:pt x="3974" y="2008"/>
                    </a:lnTo>
                    <a:lnTo>
                      <a:pt x="4016" y="2029"/>
                    </a:lnTo>
                    <a:lnTo>
                      <a:pt x="4120" y="2041"/>
                    </a:lnTo>
                    <a:lnTo>
                      <a:pt x="4096" y="2041"/>
                    </a:lnTo>
                    <a:lnTo>
                      <a:pt x="4104" y="2058"/>
                    </a:lnTo>
                    <a:lnTo>
                      <a:pt x="4049" y="2048"/>
                    </a:lnTo>
                    <a:lnTo>
                      <a:pt x="4120" y="2070"/>
                    </a:lnTo>
                    <a:lnTo>
                      <a:pt x="4120" y="2086"/>
                    </a:lnTo>
                    <a:lnTo>
                      <a:pt x="4158" y="2086"/>
                    </a:lnTo>
                    <a:lnTo>
                      <a:pt x="4189" y="2098"/>
                    </a:lnTo>
                    <a:lnTo>
                      <a:pt x="4189" y="2103"/>
                    </a:lnTo>
                    <a:lnTo>
                      <a:pt x="4163" y="2119"/>
                    </a:lnTo>
                    <a:lnTo>
                      <a:pt x="4134" y="2136"/>
                    </a:lnTo>
                    <a:lnTo>
                      <a:pt x="4179" y="2136"/>
                    </a:lnTo>
                    <a:lnTo>
                      <a:pt x="4189" y="2152"/>
                    </a:lnTo>
                    <a:lnTo>
                      <a:pt x="4189" y="2169"/>
                    </a:lnTo>
                    <a:lnTo>
                      <a:pt x="4141" y="2192"/>
                    </a:lnTo>
                    <a:lnTo>
                      <a:pt x="4120" y="2181"/>
                    </a:lnTo>
                    <a:lnTo>
                      <a:pt x="4125" y="2181"/>
                    </a:lnTo>
                    <a:lnTo>
                      <a:pt x="4120" y="2192"/>
                    </a:lnTo>
                    <a:lnTo>
                      <a:pt x="4096" y="2181"/>
                    </a:lnTo>
                    <a:lnTo>
                      <a:pt x="4108" y="2209"/>
                    </a:lnTo>
                    <a:lnTo>
                      <a:pt x="4104" y="2209"/>
                    </a:lnTo>
                    <a:lnTo>
                      <a:pt x="4120" y="2209"/>
                    </a:lnTo>
                    <a:lnTo>
                      <a:pt x="4108" y="2226"/>
                    </a:lnTo>
                    <a:lnTo>
                      <a:pt x="4125" y="2230"/>
                    </a:lnTo>
                    <a:lnTo>
                      <a:pt x="4141" y="2226"/>
                    </a:lnTo>
                    <a:lnTo>
                      <a:pt x="4125" y="2247"/>
                    </a:lnTo>
                    <a:lnTo>
                      <a:pt x="4134" y="2252"/>
                    </a:lnTo>
                    <a:lnTo>
                      <a:pt x="4189" y="2308"/>
                    </a:lnTo>
                    <a:lnTo>
                      <a:pt x="4172" y="2363"/>
                    </a:lnTo>
                    <a:lnTo>
                      <a:pt x="4141" y="2374"/>
                    </a:lnTo>
                    <a:lnTo>
                      <a:pt x="4096" y="2419"/>
                    </a:lnTo>
                    <a:lnTo>
                      <a:pt x="4066" y="2419"/>
                    </a:lnTo>
                    <a:lnTo>
                      <a:pt x="4033" y="2448"/>
                    </a:lnTo>
                    <a:lnTo>
                      <a:pt x="4028" y="2436"/>
                    </a:lnTo>
                    <a:lnTo>
                      <a:pt x="4033" y="2448"/>
                    </a:lnTo>
                    <a:lnTo>
                      <a:pt x="4016" y="2429"/>
                    </a:lnTo>
                    <a:lnTo>
                      <a:pt x="4000" y="2419"/>
                    </a:lnTo>
                    <a:lnTo>
                      <a:pt x="3995" y="2403"/>
                    </a:lnTo>
                    <a:lnTo>
                      <a:pt x="4000" y="2391"/>
                    </a:lnTo>
                    <a:lnTo>
                      <a:pt x="4000" y="2379"/>
                    </a:lnTo>
                    <a:lnTo>
                      <a:pt x="3990" y="2403"/>
                    </a:lnTo>
                    <a:lnTo>
                      <a:pt x="3978" y="2403"/>
                    </a:lnTo>
                    <a:lnTo>
                      <a:pt x="3962" y="2391"/>
                    </a:lnTo>
                    <a:lnTo>
                      <a:pt x="3974" y="2374"/>
                    </a:lnTo>
                    <a:lnTo>
                      <a:pt x="3936" y="2358"/>
                    </a:lnTo>
                    <a:lnTo>
                      <a:pt x="3936" y="2374"/>
                    </a:lnTo>
                    <a:lnTo>
                      <a:pt x="3957" y="2374"/>
                    </a:lnTo>
                    <a:lnTo>
                      <a:pt x="3924" y="2374"/>
                    </a:lnTo>
                    <a:lnTo>
                      <a:pt x="3910" y="2379"/>
                    </a:lnTo>
                    <a:lnTo>
                      <a:pt x="3957" y="2374"/>
                    </a:lnTo>
                    <a:lnTo>
                      <a:pt x="3945" y="2379"/>
                    </a:lnTo>
                    <a:lnTo>
                      <a:pt x="3962" y="2391"/>
                    </a:lnTo>
                    <a:lnTo>
                      <a:pt x="3945" y="2391"/>
                    </a:lnTo>
                    <a:lnTo>
                      <a:pt x="3962" y="2396"/>
                    </a:lnTo>
                    <a:lnTo>
                      <a:pt x="3962" y="2403"/>
                    </a:lnTo>
                    <a:lnTo>
                      <a:pt x="3990" y="2403"/>
                    </a:lnTo>
                    <a:lnTo>
                      <a:pt x="3990" y="2412"/>
                    </a:lnTo>
                    <a:lnTo>
                      <a:pt x="4016" y="2469"/>
                    </a:lnTo>
                    <a:lnTo>
                      <a:pt x="4011" y="2469"/>
                    </a:lnTo>
                    <a:lnTo>
                      <a:pt x="3962" y="2436"/>
                    </a:lnTo>
                    <a:lnTo>
                      <a:pt x="3957" y="2452"/>
                    </a:lnTo>
                    <a:lnTo>
                      <a:pt x="3974" y="2469"/>
                    </a:lnTo>
                    <a:lnTo>
                      <a:pt x="3910" y="2457"/>
                    </a:lnTo>
                    <a:lnTo>
                      <a:pt x="3893" y="2419"/>
                    </a:lnTo>
                    <a:lnTo>
                      <a:pt x="3872" y="2429"/>
                    </a:lnTo>
                    <a:lnTo>
                      <a:pt x="3801" y="2429"/>
                    </a:lnTo>
                    <a:lnTo>
                      <a:pt x="3811" y="2436"/>
                    </a:lnTo>
                    <a:lnTo>
                      <a:pt x="3801" y="2436"/>
                    </a:lnTo>
                    <a:lnTo>
                      <a:pt x="3811" y="2452"/>
                    </a:lnTo>
                    <a:lnTo>
                      <a:pt x="3865" y="2469"/>
                    </a:lnTo>
                    <a:lnTo>
                      <a:pt x="3855" y="2485"/>
                    </a:lnTo>
                    <a:lnTo>
                      <a:pt x="3827" y="2502"/>
                    </a:lnTo>
                    <a:lnTo>
                      <a:pt x="3818" y="2523"/>
                    </a:lnTo>
                    <a:lnTo>
                      <a:pt x="3763" y="2568"/>
                    </a:lnTo>
                    <a:lnTo>
                      <a:pt x="3721" y="2563"/>
                    </a:lnTo>
                    <a:lnTo>
                      <a:pt x="3655" y="2530"/>
                    </a:lnTo>
                    <a:lnTo>
                      <a:pt x="3676" y="2530"/>
                    </a:lnTo>
                    <a:lnTo>
                      <a:pt x="3650" y="2523"/>
                    </a:lnTo>
                    <a:lnTo>
                      <a:pt x="3600" y="2490"/>
                    </a:lnTo>
                    <a:lnTo>
                      <a:pt x="3579" y="2490"/>
                    </a:lnTo>
                    <a:lnTo>
                      <a:pt x="3596" y="2502"/>
                    </a:lnTo>
                    <a:lnTo>
                      <a:pt x="3596" y="2507"/>
                    </a:lnTo>
                    <a:lnTo>
                      <a:pt x="3546" y="2502"/>
                    </a:lnTo>
                    <a:lnTo>
                      <a:pt x="3563" y="2502"/>
                    </a:lnTo>
                    <a:lnTo>
                      <a:pt x="3478" y="2490"/>
                    </a:lnTo>
                    <a:lnTo>
                      <a:pt x="3508" y="2507"/>
                    </a:lnTo>
                    <a:lnTo>
                      <a:pt x="3504" y="2502"/>
                    </a:lnTo>
                    <a:lnTo>
                      <a:pt x="3579" y="2514"/>
                    </a:lnTo>
                    <a:lnTo>
                      <a:pt x="3638" y="2568"/>
                    </a:lnTo>
                    <a:lnTo>
                      <a:pt x="3763" y="2568"/>
                    </a:lnTo>
                    <a:lnTo>
                      <a:pt x="3796" y="2585"/>
                    </a:lnTo>
                    <a:lnTo>
                      <a:pt x="3747" y="2658"/>
                    </a:lnTo>
                    <a:lnTo>
                      <a:pt x="3730" y="2667"/>
                    </a:lnTo>
                    <a:lnTo>
                      <a:pt x="3721" y="2696"/>
                    </a:lnTo>
                    <a:lnTo>
                      <a:pt x="3709" y="2707"/>
                    </a:lnTo>
                    <a:lnTo>
                      <a:pt x="3667" y="2729"/>
                    </a:lnTo>
                    <a:lnTo>
                      <a:pt x="3638" y="2724"/>
                    </a:lnTo>
                    <a:lnTo>
                      <a:pt x="3633" y="2707"/>
                    </a:lnTo>
                    <a:lnTo>
                      <a:pt x="3650" y="2729"/>
                    </a:lnTo>
                    <a:lnTo>
                      <a:pt x="3612" y="2712"/>
                    </a:lnTo>
                    <a:lnTo>
                      <a:pt x="3612" y="2729"/>
                    </a:lnTo>
                    <a:lnTo>
                      <a:pt x="3584" y="2712"/>
                    </a:lnTo>
                    <a:lnTo>
                      <a:pt x="3596" y="2707"/>
                    </a:lnTo>
                    <a:lnTo>
                      <a:pt x="3596" y="2696"/>
                    </a:lnTo>
                    <a:lnTo>
                      <a:pt x="3584" y="2707"/>
                    </a:lnTo>
                    <a:lnTo>
                      <a:pt x="3570" y="2707"/>
                    </a:lnTo>
                    <a:lnTo>
                      <a:pt x="3579" y="2712"/>
                    </a:lnTo>
                    <a:lnTo>
                      <a:pt x="3584" y="2729"/>
                    </a:lnTo>
                    <a:lnTo>
                      <a:pt x="3558" y="2724"/>
                    </a:lnTo>
                    <a:lnTo>
                      <a:pt x="3579" y="2745"/>
                    </a:lnTo>
                    <a:lnTo>
                      <a:pt x="3563" y="2769"/>
                    </a:lnTo>
                    <a:lnTo>
                      <a:pt x="3532" y="2752"/>
                    </a:lnTo>
                    <a:lnTo>
                      <a:pt x="3525" y="2762"/>
                    </a:lnTo>
                    <a:lnTo>
                      <a:pt x="3532" y="2762"/>
                    </a:lnTo>
                    <a:lnTo>
                      <a:pt x="3541" y="2769"/>
                    </a:lnTo>
                    <a:lnTo>
                      <a:pt x="3508" y="2769"/>
                    </a:lnTo>
                    <a:lnTo>
                      <a:pt x="3470" y="2752"/>
                    </a:lnTo>
                    <a:lnTo>
                      <a:pt x="3423" y="2752"/>
                    </a:lnTo>
                    <a:lnTo>
                      <a:pt x="3343" y="2724"/>
                    </a:lnTo>
                    <a:lnTo>
                      <a:pt x="3310" y="2696"/>
                    </a:lnTo>
                    <a:lnTo>
                      <a:pt x="3326" y="2712"/>
                    </a:lnTo>
                    <a:lnTo>
                      <a:pt x="3315" y="2729"/>
                    </a:lnTo>
                    <a:lnTo>
                      <a:pt x="3331" y="2736"/>
                    </a:lnTo>
                    <a:lnTo>
                      <a:pt x="3352" y="2736"/>
                    </a:lnTo>
                    <a:lnTo>
                      <a:pt x="3331" y="2729"/>
                    </a:lnTo>
                    <a:lnTo>
                      <a:pt x="3343" y="2729"/>
                    </a:lnTo>
                    <a:lnTo>
                      <a:pt x="3433" y="2752"/>
                    </a:lnTo>
                    <a:lnTo>
                      <a:pt x="3402" y="2778"/>
                    </a:lnTo>
                    <a:lnTo>
                      <a:pt x="3456" y="2752"/>
                    </a:lnTo>
                    <a:lnTo>
                      <a:pt x="3461" y="2769"/>
                    </a:lnTo>
                    <a:lnTo>
                      <a:pt x="3515" y="2790"/>
                    </a:lnTo>
                    <a:lnTo>
                      <a:pt x="3508" y="2785"/>
                    </a:lnTo>
                    <a:lnTo>
                      <a:pt x="3525" y="2790"/>
                    </a:lnTo>
                    <a:lnTo>
                      <a:pt x="3532" y="2835"/>
                    </a:lnTo>
                    <a:lnTo>
                      <a:pt x="3525" y="2840"/>
                    </a:lnTo>
                    <a:lnTo>
                      <a:pt x="3504" y="2840"/>
                    </a:lnTo>
                    <a:lnTo>
                      <a:pt x="3478" y="2856"/>
                    </a:lnTo>
                    <a:lnTo>
                      <a:pt x="3407" y="2856"/>
                    </a:lnTo>
                    <a:lnTo>
                      <a:pt x="3418" y="2873"/>
                    </a:lnTo>
                    <a:lnTo>
                      <a:pt x="3449" y="2880"/>
                    </a:lnTo>
                    <a:lnTo>
                      <a:pt x="3433" y="2889"/>
                    </a:lnTo>
                    <a:lnTo>
                      <a:pt x="3418" y="2880"/>
                    </a:lnTo>
                    <a:lnTo>
                      <a:pt x="3385" y="2896"/>
                    </a:lnTo>
                    <a:lnTo>
                      <a:pt x="3385" y="2913"/>
                    </a:lnTo>
                    <a:lnTo>
                      <a:pt x="3402" y="2934"/>
                    </a:lnTo>
                    <a:lnTo>
                      <a:pt x="3385" y="2918"/>
                    </a:lnTo>
                    <a:lnTo>
                      <a:pt x="3352" y="2913"/>
                    </a:lnTo>
                    <a:lnTo>
                      <a:pt x="3385" y="2929"/>
                    </a:lnTo>
                    <a:lnTo>
                      <a:pt x="3364" y="2929"/>
                    </a:lnTo>
                    <a:lnTo>
                      <a:pt x="3369" y="2934"/>
                    </a:lnTo>
                    <a:lnTo>
                      <a:pt x="3352" y="2946"/>
                    </a:lnTo>
                    <a:lnTo>
                      <a:pt x="3343" y="2946"/>
                    </a:lnTo>
                    <a:lnTo>
                      <a:pt x="3352" y="2951"/>
                    </a:lnTo>
                    <a:lnTo>
                      <a:pt x="3348" y="2955"/>
                    </a:lnTo>
                    <a:lnTo>
                      <a:pt x="3326" y="2951"/>
                    </a:lnTo>
                    <a:lnTo>
                      <a:pt x="3326" y="2967"/>
                    </a:lnTo>
                    <a:lnTo>
                      <a:pt x="3348" y="2974"/>
                    </a:lnTo>
                    <a:lnTo>
                      <a:pt x="3298" y="3007"/>
                    </a:lnTo>
                    <a:lnTo>
                      <a:pt x="3310" y="3024"/>
                    </a:lnTo>
                    <a:lnTo>
                      <a:pt x="3272" y="3078"/>
                    </a:lnTo>
                    <a:lnTo>
                      <a:pt x="3260" y="3111"/>
                    </a:lnTo>
                    <a:lnTo>
                      <a:pt x="3244" y="3111"/>
                    </a:lnTo>
                    <a:lnTo>
                      <a:pt x="3256" y="3123"/>
                    </a:lnTo>
                    <a:lnTo>
                      <a:pt x="3239" y="3173"/>
                    </a:lnTo>
                    <a:lnTo>
                      <a:pt x="3239" y="3206"/>
                    </a:lnTo>
                    <a:lnTo>
                      <a:pt x="3244" y="3234"/>
                    </a:lnTo>
                    <a:lnTo>
                      <a:pt x="3239" y="3246"/>
                    </a:lnTo>
                    <a:lnTo>
                      <a:pt x="3239" y="3263"/>
                    </a:lnTo>
                    <a:lnTo>
                      <a:pt x="3260" y="3300"/>
                    </a:lnTo>
                    <a:lnTo>
                      <a:pt x="3277" y="3300"/>
                    </a:lnTo>
                    <a:lnTo>
                      <a:pt x="3272" y="3355"/>
                    </a:lnTo>
                    <a:lnTo>
                      <a:pt x="3277" y="3338"/>
                    </a:lnTo>
                    <a:lnTo>
                      <a:pt x="3277" y="3317"/>
                    </a:lnTo>
                    <a:lnTo>
                      <a:pt x="3289" y="3300"/>
                    </a:lnTo>
                    <a:lnTo>
                      <a:pt x="3352" y="3300"/>
                    </a:lnTo>
                    <a:lnTo>
                      <a:pt x="3407" y="3449"/>
                    </a:lnTo>
                    <a:lnTo>
                      <a:pt x="3395" y="3473"/>
                    </a:lnTo>
                    <a:lnTo>
                      <a:pt x="3381" y="3489"/>
                    </a:lnTo>
                    <a:lnTo>
                      <a:pt x="3407" y="3473"/>
                    </a:lnTo>
                    <a:lnTo>
                      <a:pt x="3423" y="3473"/>
                    </a:lnTo>
                    <a:lnTo>
                      <a:pt x="3402" y="3489"/>
                    </a:lnTo>
                    <a:lnTo>
                      <a:pt x="3508" y="3461"/>
                    </a:lnTo>
                    <a:lnTo>
                      <a:pt x="3667" y="3499"/>
                    </a:lnTo>
                    <a:lnTo>
                      <a:pt x="3721" y="3539"/>
                    </a:lnTo>
                    <a:lnTo>
                      <a:pt x="3742" y="3572"/>
                    </a:lnTo>
                    <a:lnTo>
                      <a:pt x="3763" y="3584"/>
                    </a:lnTo>
                    <a:lnTo>
                      <a:pt x="3881" y="3626"/>
                    </a:lnTo>
                    <a:lnTo>
                      <a:pt x="3903" y="3650"/>
                    </a:lnTo>
                    <a:lnTo>
                      <a:pt x="3919" y="3650"/>
                    </a:lnTo>
                    <a:lnTo>
                      <a:pt x="3893" y="3688"/>
                    </a:lnTo>
                    <a:lnTo>
                      <a:pt x="3910" y="3666"/>
                    </a:lnTo>
                    <a:lnTo>
                      <a:pt x="3924" y="3655"/>
                    </a:lnTo>
                    <a:lnTo>
                      <a:pt x="3957" y="3666"/>
                    </a:lnTo>
                    <a:lnTo>
                      <a:pt x="4000" y="3655"/>
                    </a:lnTo>
                    <a:lnTo>
                      <a:pt x="4028" y="3671"/>
                    </a:lnTo>
                    <a:lnTo>
                      <a:pt x="4016" y="3655"/>
                    </a:lnTo>
                    <a:lnTo>
                      <a:pt x="4070" y="3666"/>
                    </a:lnTo>
                    <a:lnTo>
                      <a:pt x="4108" y="3683"/>
                    </a:lnTo>
                    <a:lnTo>
                      <a:pt x="4120" y="3671"/>
                    </a:lnTo>
                    <a:lnTo>
                      <a:pt x="4125" y="3704"/>
                    </a:lnTo>
                    <a:lnTo>
                      <a:pt x="4108" y="3749"/>
                    </a:lnTo>
                    <a:lnTo>
                      <a:pt x="4108" y="3766"/>
                    </a:lnTo>
                    <a:lnTo>
                      <a:pt x="4120" y="3777"/>
                    </a:lnTo>
                    <a:lnTo>
                      <a:pt x="4125" y="3806"/>
                    </a:lnTo>
                    <a:lnTo>
                      <a:pt x="4125" y="3822"/>
                    </a:lnTo>
                    <a:lnTo>
                      <a:pt x="4125" y="3855"/>
                    </a:lnTo>
                    <a:lnTo>
                      <a:pt x="4120" y="3872"/>
                    </a:lnTo>
                    <a:lnTo>
                      <a:pt x="4120" y="3877"/>
                    </a:lnTo>
                    <a:lnTo>
                      <a:pt x="4172" y="3943"/>
                    </a:lnTo>
                    <a:lnTo>
                      <a:pt x="4172" y="3950"/>
                    </a:lnTo>
                    <a:lnTo>
                      <a:pt x="4151" y="3966"/>
                    </a:lnTo>
                    <a:lnTo>
                      <a:pt x="4172" y="3959"/>
                    </a:lnTo>
                    <a:lnTo>
                      <a:pt x="4179" y="3971"/>
                    </a:lnTo>
                    <a:lnTo>
                      <a:pt x="4210" y="3983"/>
                    </a:lnTo>
                    <a:lnTo>
                      <a:pt x="4233" y="4016"/>
                    </a:lnTo>
                    <a:lnTo>
                      <a:pt x="4248" y="4044"/>
                    </a:lnTo>
                    <a:lnTo>
                      <a:pt x="4205" y="4077"/>
                    </a:lnTo>
                    <a:lnTo>
                      <a:pt x="4248" y="4044"/>
                    </a:lnTo>
                    <a:lnTo>
                      <a:pt x="4271" y="4044"/>
                    </a:lnTo>
                    <a:lnTo>
                      <a:pt x="4297" y="4061"/>
                    </a:lnTo>
                    <a:lnTo>
                      <a:pt x="4323" y="4099"/>
                    </a:lnTo>
                    <a:lnTo>
                      <a:pt x="4297" y="4061"/>
                    </a:lnTo>
                    <a:lnTo>
                      <a:pt x="4302" y="4037"/>
                    </a:lnTo>
                    <a:lnTo>
                      <a:pt x="4323" y="4016"/>
                    </a:lnTo>
                    <a:lnTo>
                      <a:pt x="4335" y="4016"/>
                    </a:lnTo>
                    <a:lnTo>
                      <a:pt x="4323" y="4025"/>
                    </a:lnTo>
                    <a:lnTo>
                      <a:pt x="4352" y="4025"/>
                    </a:lnTo>
                    <a:lnTo>
                      <a:pt x="4352" y="4054"/>
                    </a:lnTo>
                    <a:lnTo>
                      <a:pt x="4356" y="4061"/>
                    </a:lnTo>
                    <a:lnTo>
                      <a:pt x="4356" y="4054"/>
                    </a:lnTo>
                    <a:lnTo>
                      <a:pt x="4368" y="4025"/>
                    </a:lnTo>
                    <a:lnTo>
                      <a:pt x="4368" y="4021"/>
                    </a:lnTo>
                    <a:lnTo>
                      <a:pt x="4340" y="4004"/>
                    </a:lnTo>
                    <a:lnTo>
                      <a:pt x="4356" y="4000"/>
                    </a:lnTo>
                    <a:lnTo>
                      <a:pt x="4356" y="3988"/>
                    </a:lnTo>
                    <a:lnTo>
                      <a:pt x="4378" y="3971"/>
                    </a:lnTo>
                    <a:lnTo>
                      <a:pt x="4378" y="3933"/>
                    </a:lnTo>
                    <a:lnTo>
                      <a:pt x="4368" y="3926"/>
                    </a:lnTo>
                    <a:lnTo>
                      <a:pt x="4373" y="3926"/>
                    </a:lnTo>
                    <a:lnTo>
                      <a:pt x="4368" y="3905"/>
                    </a:lnTo>
                    <a:lnTo>
                      <a:pt x="4368" y="3893"/>
                    </a:lnTo>
                    <a:lnTo>
                      <a:pt x="4356" y="3893"/>
                    </a:lnTo>
                    <a:lnTo>
                      <a:pt x="4356" y="3855"/>
                    </a:lnTo>
                    <a:lnTo>
                      <a:pt x="4340" y="3832"/>
                    </a:lnTo>
                    <a:lnTo>
                      <a:pt x="4356" y="3832"/>
                    </a:lnTo>
                    <a:lnTo>
                      <a:pt x="4335" y="3815"/>
                    </a:lnTo>
                    <a:lnTo>
                      <a:pt x="4340" y="3799"/>
                    </a:lnTo>
                    <a:lnTo>
                      <a:pt x="4356" y="3806"/>
                    </a:lnTo>
                    <a:lnTo>
                      <a:pt x="4340" y="3794"/>
                    </a:lnTo>
                    <a:lnTo>
                      <a:pt x="4340" y="3782"/>
                    </a:lnTo>
                    <a:lnTo>
                      <a:pt x="4352" y="3782"/>
                    </a:lnTo>
                    <a:lnTo>
                      <a:pt x="4340" y="3777"/>
                    </a:lnTo>
                    <a:lnTo>
                      <a:pt x="4340" y="3766"/>
                    </a:lnTo>
                    <a:lnTo>
                      <a:pt x="4323" y="3766"/>
                    </a:lnTo>
                    <a:lnTo>
                      <a:pt x="4314" y="3728"/>
                    </a:lnTo>
                    <a:lnTo>
                      <a:pt x="4297" y="3721"/>
                    </a:lnTo>
                    <a:lnTo>
                      <a:pt x="4394" y="3683"/>
                    </a:lnTo>
                    <a:lnTo>
                      <a:pt x="4432" y="3655"/>
                    </a:lnTo>
                    <a:lnTo>
                      <a:pt x="4474" y="3626"/>
                    </a:lnTo>
                    <a:lnTo>
                      <a:pt x="4512" y="3584"/>
                    </a:lnTo>
                    <a:lnTo>
                      <a:pt x="4519" y="3544"/>
                    </a:lnTo>
                    <a:lnTo>
                      <a:pt x="4519" y="3473"/>
                    </a:lnTo>
                    <a:lnTo>
                      <a:pt x="4498" y="3407"/>
                    </a:lnTo>
                    <a:lnTo>
                      <a:pt x="4460" y="3355"/>
                    </a:lnTo>
                    <a:lnTo>
                      <a:pt x="4422" y="3338"/>
                    </a:lnTo>
                    <a:lnTo>
                      <a:pt x="4389" y="3317"/>
                    </a:lnTo>
                    <a:lnTo>
                      <a:pt x="4394" y="3322"/>
                    </a:lnTo>
                    <a:lnTo>
                      <a:pt x="4378" y="3317"/>
                    </a:lnTo>
                    <a:lnTo>
                      <a:pt x="4389" y="3305"/>
                    </a:lnTo>
                    <a:lnTo>
                      <a:pt x="4378" y="3279"/>
                    </a:lnTo>
                    <a:lnTo>
                      <a:pt x="4394" y="3284"/>
                    </a:lnTo>
                    <a:lnTo>
                      <a:pt x="4411" y="3251"/>
                    </a:lnTo>
                    <a:lnTo>
                      <a:pt x="4444" y="3227"/>
                    </a:lnTo>
                    <a:lnTo>
                      <a:pt x="4427" y="3227"/>
                    </a:lnTo>
                    <a:lnTo>
                      <a:pt x="4432" y="3211"/>
                    </a:lnTo>
                    <a:lnTo>
                      <a:pt x="4432" y="3194"/>
                    </a:lnTo>
                    <a:lnTo>
                      <a:pt x="4465" y="3211"/>
                    </a:lnTo>
                    <a:lnTo>
                      <a:pt x="4448" y="3194"/>
                    </a:lnTo>
                    <a:lnTo>
                      <a:pt x="4465" y="3189"/>
                    </a:lnTo>
                    <a:lnTo>
                      <a:pt x="4460" y="3173"/>
                    </a:lnTo>
                    <a:lnTo>
                      <a:pt x="4503" y="3151"/>
                    </a:lnTo>
                    <a:lnTo>
                      <a:pt x="4474" y="3151"/>
                    </a:lnTo>
                    <a:lnTo>
                      <a:pt x="4465" y="3168"/>
                    </a:lnTo>
                    <a:lnTo>
                      <a:pt x="4448" y="3156"/>
                    </a:lnTo>
                    <a:lnTo>
                      <a:pt x="4460" y="3140"/>
                    </a:lnTo>
                    <a:lnTo>
                      <a:pt x="4432" y="3123"/>
                    </a:lnTo>
                    <a:lnTo>
                      <a:pt x="4460" y="3111"/>
                    </a:lnTo>
                    <a:lnTo>
                      <a:pt x="4427" y="3095"/>
                    </a:lnTo>
                    <a:lnTo>
                      <a:pt x="4448" y="3078"/>
                    </a:lnTo>
                    <a:lnTo>
                      <a:pt x="4406" y="3078"/>
                    </a:lnTo>
                    <a:lnTo>
                      <a:pt x="4444" y="3029"/>
                    </a:lnTo>
                    <a:lnTo>
                      <a:pt x="4432" y="3012"/>
                    </a:lnTo>
                    <a:lnTo>
                      <a:pt x="4448" y="3007"/>
                    </a:lnTo>
                    <a:lnTo>
                      <a:pt x="4448" y="3000"/>
                    </a:lnTo>
                    <a:lnTo>
                      <a:pt x="4460" y="3000"/>
                    </a:lnTo>
                    <a:lnTo>
                      <a:pt x="4422" y="2974"/>
                    </a:lnTo>
                    <a:lnTo>
                      <a:pt x="4406" y="2929"/>
                    </a:lnTo>
                    <a:lnTo>
                      <a:pt x="4422" y="2901"/>
                    </a:lnTo>
                    <a:lnTo>
                      <a:pt x="4448" y="2889"/>
                    </a:lnTo>
                    <a:lnTo>
                      <a:pt x="4498" y="2889"/>
                    </a:lnTo>
                    <a:lnTo>
                      <a:pt x="4583" y="2913"/>
                    </a:lnTo>
                    <a:lnTo>
                      <a:pt x="4567" y="2929"/>
                    </a:lnTo>
                    <a:lnTo>
                      <a:pt x="4604" y="2913"/>
                    </a:lnTo>
                    <a:lnTo>
                      <a:pt x="4659" y="2934"/>
                    </a:lnTo>
                    <a:lnTo>
                      <a:pt x="4642" y="2929"/>
                    </a:lnTo>
                    <a:lnTo>
                      <a:pt x="4718" y="2896"/>
                    </a:lnTo>
                    <a:lnTo>
                      <a:pt x="4772" y="2934"/>
                    </a:lnTo>
                    <a:lnTo>
                      <a:pt x="4798" y="2934"/>
                    </a:lnTo>
                    <a:lnTo>
                      <a:pt x="4798" y="2951"/>
                    </a:lnTo>
                    <a:lnTo>
                      <a:pt x="4789" y="2967"/>
                    </a:lnTo>
                    <a:lnTo>
                      <a:pt x="4798" y="2967"/>
                    </a:lnTo>
                    <a:lnTo>
                      <a:pt x="4798" y="2955"/>
                    </a:lnTo>
                    <a:lnTo>
                      <a:pt x="4822" y="2955"/>
                    </a:lnTo>
                    <a:lnTo>
                      <a:pt x="4836" y="2984"/>
                    </a:lnTo>
                    <a:lnTo>
                      <a:pt x="4822" y="3000"/>
                    </a:lnTo>
                    <a:lnTo>
                      <a:pt x="4843" y="2991"/>
                    </a:lnTo>
                    <a:lnTo>
                      <a:pt x="4843" y="2984"/>
                    </a:lnTo>
                    <a:lnTo>
                      <a:pt x="4864" y="2991"/>
                    </a:lnTo>
                    <a:lnTo>
                      <a:pt x="4874" y="3000"/>
                    </a:lnTo>
                    <a:lnTo>
                      <a:pt x="4843" y="3012"/>
                    </a:lnTo>
                    <a:lnTo>
                      <a:pt x="4859" y="3012"/>
                    </a:lnTo>
                    <a:lnTo>
                      <a:pt x="4881" y="3045"/>
                    </a:lnTo>
                    <a:lnTo>
                      <a:pt x="4944" y="3057"/>
                    </a:lnTo>
                    <a:lnTo>
                      <a:pt x="4966" y="3045"/>
                    </a:lnTo>
                    <a:lnTo>
                      <a:pt x="4973" y="3066"/>
                    </a:lnTo>
                    <a:lnTo>
                      <a:pt x="4982" y="3078"/>
                    </a:lnTo>
                    <a:lnTo>
                      <a:pt x="4999" y="3066"/>
                    </a:lnTo>
                    <a:lnTo>
                      <a:pt x="5004" y="3066"/>
                    </a:lnTo>
                    <a:lnTo>
                      <a:pt x="5004" y="3057"/>
                    </a:lnTo>
                    <a:lnTo>
                      <a:pt x="5015" y="3045"/>
                    </a:lnTo>
                    <a:lnTo>
                      <a:pt x="5020" y="3078"/>
                    </a:lnTo>
                    <a:lnTo>
                      <a:pt x="4999" y="3095"/>
                    </a:lnTo>
                    <a:lnTo>
                      <a:pt x="5004" y="3100"/>
                    </a:lnTo>
                    <a:lnTo>
                      <a:pt x="4987" y="3111"/>
                    </a:lnTo>
                    <a:lnTo>
                      <a:pt x="4999" y="3123"/>
                    </a:lnTo>
                    <a:lnTo>
                      <a:pt x="4999" y="3135"/>
                    </a:lnTo>
                    <a:lnTo>
                      <a:pt x="5004" y="3140"/>
                    </a:lnTo>
                    <a:lnTo>
                      <a:pt x="5004" y="3156"/>
                    </a:lnTo>
                    <a:lnTo>
                      <a:pt x="4944" y="3168"/>
                    </a:lnTo>
                    <a:lnTo>
                      <a:pt x="4911" y="3156"/>
                    </a:lnTo>
                    <a:lnTo>
                      <a:pt x="4935" y="3173"/>
                    </a:lnTo>
                    <a:lnTo>
                      <a:pt x="4999" y="3173"/>
                    </a:lnTo>
                    <a:lnTo>
                      <a:pt x="5004" y="3177"/>
                    </a:lnTo>
                    <a:lnTo>
                      <a:pt x="5015" y="3206"/>
                    </a:lnTo>
                    <a:lnTo>
                      <a:pt x="4999" y="3222"/>
                    </a:lnTo>
                    <a:lnTo>
                      <a:pt x="5004" y="3234"/>
                    </a:lnTo>
                    <a:lnTo>
                      <a:pt x="4999" y="3234"/>
                    </a:lnTo>
                    <a:lnTo>
                      <a:pt x="5020" y="3234"/>
                    </a:lnTo>
                    <a:lnTo>
                      <a:pt x="5025" y="3234"/>
                    </a:lnTo>
                    <a:lnTo>
                      <a:pt x="5037" y="3251"/>
                    </a:lnTo>
                    <a:lnTo>
                      <a:pt x="5015" y="3251"/>
                    </a:lnTo>
                    <a:lnTo>
                      <a:pt x="5015" y="3263"/>
                    </a:lnTo>
                    <a:lnTo>
                      <a:pt x="5025" y="3263"/>
                    </a:lnTo>
                    <a:lnTo>
                      <a:pt x="5015" y="3267"/>
                    </a:lnTo>
                    <a:lnTo>
                      <a:pt x="5020" y="3284"/>
                    </a:lnTo>
                    <a:lnTo>
                      <a:pt x="5015" y="3296"/>
                    </a:lnTo>
                    <a:lnTo>
                      <a:pt x="5004" y="3296"/>
                    </a:lnTo>
                    <a:lnTo>
                      <a:pt x="5004" y="3284"/>
                    </a:lnTo>
                    <a:lnTo>
                      <a:pt x="4987" y="3267"/>
                    </a:lnTo>
                    <a:lnTo>
                      <a:pt x="4987" y="3296"/>
                    </a:lnTo>
                    <a:lnTo>
                      <a:pt x="4966" y="3300"/>
                    </a:lnTo>
                    <a:lnTo>
                      <a:pt x="4982" y="3300"/>
                    </a:lnTo>
                    <a:lnTo>
                      <a:pt x="4987" y="3317"/>
                    </a:lnTo>
                    <a:lnTo>
                      <a:pt x="5025" y="3284"/>
                    </a:lnTo>
                    <a:lnTo>
                      <a:pt x="5070" y="3284"/>
                    </a:lnTo>
                    <a:lnTo>
                      <a:pt x="5096" y="3300"/>
                    </a:lnTo>
                    <a:lnTo>
                      <a:pt x="5107" y="3333"/>
                    </a:lnTo>
                    <a:lnTo>
                      <a:pt x="5096" y="3362"/>
                    </a:lnTo>
                    <a:lnTo>
                      <a:pt x="5020" y="3407"/>
                    </a:lnTo>
                    <a:lnTo>
                      <a:pt x="5091" y="3374"/>
                    </a:lnTo>
                    <a:lnTo>
                      <a:pt x="5107" y="3333"/>
                    </a:lnTo>
                    <a:lnTo>
                      <a:pt x="5124" y="3317"/>
                    </a:lnTo>
                    <a:lnTo>
                      <a:pt x="5129" y="3322"/>
                    </a:lnTo>
                    <a:lnTo>
                      <a:pt x="5129" y="3350"/>
                    </a:lnTo>
                    <a:lnTo>
                      <a:pt x="5112" y="3374"/>
                    </a:lnTo>
                    <a:lnTo>
                      <a:pt x="5138" y="3350"/>
                    </a:lnTo>
                    <a:lnTo>
                      <a:pt x="5129" y="3333"/>
                    </a:lnTo>
                    <a:lnTo>
                      <a:pt x="5138" y="3333"/>
                    </a:lnTo>
                    <a:lnTo>
                      <a:pt x="5145" y="3333"/>
                    </a:lnTo>
                    <a:lnTo>
                      <a:pt x="5138" y="3350"/>
                    </a:lnTo>
                    <a:lnTo>
                      <a:pt x="5145" y="3355"/>
                    </a:lnTo>
                    <a:lnTo>
                      <a:pt x="5138" y="3390"/>
                    </a:lnTo>
                    <a:lnTo>
                      <a:pt x="5150" y="3355"/>
                    </a:lnTo>
                    <a:lnTo>
                      <a:pt x="5183" y="3338"/>
                    </a:lnTo>
                    <a:lnTo>
                      <a:pt x="5192" y="3322"/>
                    </a:lnTo>
                    <a:lnTo>
                      <a:pt x="5214" y="3322"/>
                    </a:lnTo>
                    <a:lnTo>
                      <a:pt x="5221" y="3305"/>
                    </a:lnTo>
                    <a:lnTo>
                      <a:pt x="5230" y="3296"/>
                    </a:lnTo>
                    <a:lnTo>
                      <a:pt x="5268" y="3317"/>
                    </a:lnTo>
                    <a:lnTo>
                      <a:pt x="5252" y="3350"/>
                    </a:lnTo>
                    <a:lnTo>
                      <a:pt x="5268" y="3333"/>
                    </a:lnTo>
                    <a:lnTo>
                      <a:pt x="5259" y="3333"/>
                    </a:lnTo>
                    <a:lnTo>
                      <a:pt x="5268" y="3317"/>
                    </a:lnTo>
                    <a:lnTo>
                      <a:pt x="5252" y="3300"/>
                    </a:lnTo>
                    <a:lnTo>
                      <a:pt x="5259" y="3296"/>
                    </a:lnTo>
                    <a:lnTo>
                      <a:pt x="5275" y="3296"/>
                    </a:lnTo>
                    <a:lnTo>
                      <a:pt x="5259" y="3284"/>
                    </a:lnTo>
                    <a:lnTo>
                      <a:pt x="5275" y="3267"/>
                    </a:lnTo>
                    <a:lnTo>
                      <a:pt x="5306" y="3267"/>
                    </a:lnTo>
                    <a:lnTo>
                      <a:pt x="5285" y="3263"/>
                    </a:lnTo>
                    <a:lnTo>
                      <a:pt x="5275" y="3246"/>
                    </a:lnTo>
                    <a:lnTo>
                      <a:pt x="5289" y="3251"/>
                    </a:lnTo>
                    <a:lnTo>
                      <a:pt x="5289" y="3234"/>
                    </a:lnTo>
                    <a:lnTo>
                      <a:pt x="5306" y="3246"/>
                    </a:lnTo>
                    <a:lnTo>
                      <a:pt x="5289" y="3222"/>
                    </a:lnTo>
                    <a:lnTo>
                      <a:pt x="5327" y="3234"/>
                    </a:lnTo>
                    <a:lnTo>
                      <a:pt x="5301" y="3222"/>
                    </a:lnTo>
                    <a:lnTo>
                      <a:pt x="5289" y="3194"/>
                    </a:lnTo>
                    <a:lnTo>
                      <a:pt x="5306" y="3177"/>
                    </a:lnTo>
                    <a:lnTo>
                      <a:pt x="5327" y="3189"/>
                    </a:lnTo>
                    <a:lnTo>
                      <a:pt x="5313" y="3177"/>
                    </a:lnTo>
                    <a:lnTo>
                      <a:pt x="5339" y="3123"/>
                    </a:lnTo>
                    <a:lnTo>
                      <a:pt x="5365" y="3135"/>
                    </a:lnTo>
                    <a:lnTo>
                      <a:pt x="5344" y="3140"/>
                    </a:lnTo>
                    <a:lnTo>
                      <a:pt x="5365" y="3140"/>
                    </a:lnTo>
                    <a:lnTo>
                      <a:pt x="5377" y="3151"/>
                    </a:lnTo>
                    <a:lnTo>
                      <a:pt x="5365" y="3156"/>
                    </a:lnTo>
                    <a:lnTo>
                      <a:pt x="5344" y="3168"/>
                    </a:lnTo>
                    <a:lnTo>
                      <a:pt x="5377" y="3156"/>
                    </a:lnTo>
                    <a:lnTo>
                      <a:pt x="5377" y="3173"/>
                    </a:lnTo>
                    <a:lnTo>
                      <a:pt x="5365" y="3177"/>
                    </a:lnTo>
                    <a:lnTo>
                      <a:pt x="5377" y="3173"/>
                    </a:lnTo>
                    <a:lnTo>
                      <a:pt x="5377" y="3168"/>
                    </a:lnTo>
                    <a:lnTo>
                      <a:pt x="5393" y="3168"/>
                    </a:lnTo>
                    <a:lnTo>
                      <a:pt x="5393" y="3189"/>
                    </a:lnTo>
                    <a:lnTo>
                      <a:pt x="5381" y="3189"/>
                    </a:lnTo>
                    <a:lnTo>
                      <a:pt x="5398" y="3206"/>
                    </a:lnTo>
                    <a:lnTo>
                      <a:pt x="5393" y="3222"/>
                    </a:lnTo>
                    <a:lnTo>
                      <a:pt x="5398" y="3206"/>
                    </a:lnTo>
                    <a:lnTo>
                      <a:pt x="5419" y="3222"/>
                    </a:lnTo>
                    <a:lnTo>
                      <a:pt x="5415" y="3227"/>
                    </a:lnTo>
                    <a:lnTo>
                      <a:pt x="5398" y="3234"/>
                    </a:lnTo>
                    <a:lnTo>
                      <a:pt x="5415" y="3234"/>
                    </a:lnTo>
                    <a:lnTo>
                      <a:pt x="5415" y="3246"/>
                    </a:lnTo>
                    <a:lnTo>
                      <a:pt x="5431" y="3234"/>
                    </a:lnTo>
                    <a:lnTo>
                      <a:pt x="5448" y="3251"/>
                    </a:lnTo>
                    <a:lnTo>
                      <a:pt x="5431" y="3267"/>
                    </a:lnTo>
                    <a:lnTo>
                      <a:pt x="5398" y="3267"/>
                    </a:lnTo>
                    <a:lnTo>
                      <a:pt x="5462" y="3267"/>
                    </a:lnTo>
                    <a:lnTo>
                      <a:pt x="5448" y="3267"/>
                    </a:lnTo>
                    <a:lnTo>
                      <a:pt x="5462" y="3284"/>
                    </a:lnTo>
                    <a:lnTo>
                      <a:pt x="5448" y="3296"/>
                    </a:lnTo>
                    <a:lnTo>
                      <a:pt x="5469" y="3284"/>
                    </a:lnTo>
                    <a:lnTo>
                      <a:pt x="5485" y="3305"/>
                    </a:lnTo>
                    <a:lnTo>
                      <a:pt x="5431" y="3350"/>
                    </a:lnTo>
                    <a:lnTo>
                      <a:pt x="5452" y="3333"/>
                    </a:lnTo>
                    <a:lnTo>
                      <a:pt x="5500" y="3333"/>
                    </a:lnTo>
                    <a:lnTo>
                      <a:pt x="5500" y="3350"/>
                    </a:lnTo>
                    <a:lnTo>
                      <a:pt x="5485" y="3355"/>
                    </a:lnTo>
                    <a:lnTo>
                      <a:pt x="5500" y="3355"/>
                    </a:lnTo>
                    <a:lnTo>
                      <a:pt x="5474" y="3362"/>
                    </a:lnTo>
                    <a:lnTo>
                      <a:pt x="5448" y="3378"/>
                    </a:lnTo>
                    <a:lnTo>
                      <a:pt x="5462" y="3378"/>
                    </a:lnTo>
                    <a:lnTo>
                      <a:pt x="5474" y="3362"/>
                    </a:lnTo>
                    <a:lnTo>
                      <a:pt x="5507" y="3362"/>
                    </a:lnTo>
                    <a:lnTo>
                      <a:pt x="5507" y="3374"/>
                    </a:lnTo>
                    <a:lnTo>
                      <a:pt x="5516" y="3362"/>
                    </a:lnTo>
                    <a:lnTo>
                      <a:pt x="5523" y="3378"/>
                    </a:lnTo>
                    <a:lnTo>
                      <a:pt x="5490" y="3390"/>
                    </a:lnTo>
                    <a:lnTo>
                      <a:pt x="5528" y="3378"/>
                    </a:lnTo>
                    <a:lnTo>
                      <a:pt x="5537" y="3390"/>
                    </a:lnTo>
                    <a:lnTo>
                      <a:pt x="5528" y="3407"/>
                    </a:lnTo>
                    <a:lnTo>
                      <a:pt x="5544" y="3416"/>
                    </a:lnTo>
                    <a:lnTo>
                      <a:pt x="5523" y="3433"/>
                    </a:lnTo>
                    <a:lnTo>
                      <a:pt x="5500" y="3433"/>
                    </a:lnTo>
                    <a:lnTo>
                      <a:pt x="5516" y="3444"/>
                    </a:lnTo>
                    <a:lnTo>
                      <a:pt x="5544" y="3444"/>
                    </a:lnTo>
                    <a:lnTo>
                      <a:pt x="5554" y="3444"/>
                    </a:lnTo>
                    <a:lnTo>
                      <a:pt x="5537" y="3461"/>
                    </a:lnTo>
                    <a:lnTo>
                      <a:pt x="5582" y="3473"/>
                    </a:lnTo>
                    <a:lnTo>
                      <a:pt x="5582" y="3482"/>
                    </a:lnTo>
                    <a:lnTo>
                      <a:pt x="5575" y="3489"/>
                    </a:lnTo>
                    <a:lnTo>
                      <a:pt x="5561" y="3506"/>
                    </a:lnTo>
                    <a:lnTo>
                      <a:pt x="5544" y="3506"/>
                    </a:lnTo>
                    <a:lnTo>
                      <a:pt x="5544" y="3518"/>
                    </a:lnTo>
                    <a:lnTo>
                      <a:pt x="5561" y="3518"/>
                    </a:lnTo>
                    <a:lnTo>
                      <a:pt x="5554" y="3518"/>
                    </a:lnTo>
                    <a:lnTo>
                      <a:pt x="5561" y="3522"/>
                    </a:lnTo>
                    <a:lnTo>
                      <a:pt x="5507" y="3506"/>
                    </a:lnTo>
                    <a:lnTo>
                      <a:pt x="5537" y="3499"/>
                    </a:lnTo>
                    <a:lnTo>
                      <a:pt x="5500" y="3506"/>
                    </a:lnTo>
                    <a:lnTo>
                      <a:pt x="5537" y="3522"/>
                    </a:lnTo>
                    <a:lnTo>
                      <a:pt x="5523" y="3522"/>
                    </a:lnTo>
                    <a:lnTo>
                      <a:pt x="5561" y="3527"/>
                    </a:lnTo>
                    <a:lnTo>
                      <a:pt x="5528" y="3539"/>
                    </a:lnTo>
                    <a:lnTo>
                      <a:pt x="5554" y="3544"/>
                    </a:lnTo>
                    <a:lnTo>
                      <a:pt x="5561" y="3560"/>
                    </a:lnTo>
                    <a:lnTo>
                      <a:pt x="5537" y="3555"/>
                    </a:lnTo>
                    <a:lnTo>
                      <a:pt x="5537" y="3560"/>
                    </a:lnTo>
                    <a:lnTo>
                      <a:pt x="5582" y="3560"/>
                    </a:lnTo>
                    <a:lnTo>
                      <a:pt x="5575" y="3577"/>
                    </a:lnTo>
                    <a:lnTo>
                      <a:pt x="5592" y="3577"/>
                    </a:lnTo>
                    <a:lnTo>
                      <a:pt x="5575" y="3584"/>
                    </a:lnTo>
                    <a:lnTo>
                      <a:pt x="5599" y="3584"/>
                    </a:lnTo>
                    <a:lnTo>
                      <a:pt x="5608" y="3593"/>
                    </a:lnTo>
                    <a:lnTo>
                      <a:pt x="5599" y="3593"/>
                    </a:lnTo>
                    <a:lnTo>
                      <a:pt x="5608" y="3600"/>
                    </a:lnTo>
                    <a:lnTo>
                      <a:pt x="5629" y="3600"/>
                    </a:lnTo>
                    <a:lnTo>
                      <a:pt x="5625" y="3610"/>
                    </a:lnTo>
                    <a:lnTo>
                      <a:pt x="5637" y="3600"/>
                    </a:lnTo>
                    <a:lnTo>
                      <a:pt x="5629" y="3626"/>
                    </a:lnTo>
                    <a:lnTo>
                      <a:pt x="5646" y="3600"/>
                    </a:lnTo>
                    <a:lnTo>
                      <a:pt x="5663" y="3610"/>
                    </a:lnTo>
                    <a:lnTo>
                      <a:pt x="5646" y="3626"/>
                    </a:lnTo>
                    <a:lnTo>
                      <a:pt x="5663" y="3626"/>
                    </a:lnTo>
                    <a:lnTo>
                      <a:pt x="5646" y="3650"/>
                    </a:lnTo>
                    <a:lnTo>
                      <a:pt x="5663" y="3633"/>
                    </a:lnTo>
                    <a:lnTo>
                      <a:pt x="5667" y="3638"/>
                    </a:lnTo>
                    <a:lnTo>
                      <a:pt x="5651" y="3650"/>
                    </a:lnTo>
                    <a:lnTo>
                      <a:pt x="5646" y="3666"/>
                    </a:lnTo>
                    <a:lnTo>
                      <a:pt x="5651" y="3655"/>
                    </a:lnTo>
                    <a:lnTo>
                      <a:pt x="5629" y="3688"/>
                    </a:lnTo>
                    <a:lnTo>
                      <a:pt x="5663" y="3666"/>
                    </a:lnTo>
                    <a:lnTo>
                      <a:pt x="5679" y="3666"/>
                    </a:lnTo>
                    <a:lnTo>
                      <a:pt x="5663" y="3683"/>
                    </a:lnTo>
                    <a:lnTo>
                      <a:pt x="5700" y="3655"/>
                    </a:lnTo>
                    <a:lnTo>
                      <a:pt x="5700" y="3666"/>
                    </a:lnTo>
                    <a:lnTo>
                      <a:pt x="5684" y="3671"/>
                    </a:lnTo>
                    <a:lnTo>
                      <a:pt x="5722" y="3671"/>
                    </a:lnTo>
                    <a:lnTo>
                      <a:pt x="5684" y="3711"/>
                    </a:lnTo>
                    <a:lnTo>
                      <a:pt x="5738" y="3666"/>
                    </a:lnTo>
                    <a:lnTo>
                      <a:pt x="5722" y="3688"/>
                    </a:lnTo>
                    <a:lnTo>
                      <a:pt x="5743" y="3671"/>
                    </a:lnTo>
                    <a:lnTo>
                      <a:pt x="5755" y="3671"/>
                    </a:lnTo>
                    <a:lnTo>
                      <a:pt x="5755" y="3683"/>
                    </a:lnTo>
                    <a:lnTo>
                      <a:pt x="5759" y="3688"/>
                    </a:lnTo>
                    <a:lnTo>
                      <a:pt x="5743" y="3695"/>
                    </a:lnTo>
                    <a:lnTo>
                      <a:pt x="5755" y="3704"/>
                    </a:lnTo>
                    <a:lnTo>
                      <a:pt x="5830" y="3711"/>
                    </a:lnTo>
                    <a:lnTo>
                      <a:pt x="5868" y="3728"/>
                    </a:lnTo>
                    <a:lnTo>
                      <a:pt x="5863" y="3737"/>
                    </a:lnTo>
                    <a:lnTo>
                      <a:pt x="5840" y="3737"/>
                    </a:lnTo>
                    <a:lnTo>
                      <a:pt x="5863" y="3744"/>
                    </a:lnTo>
                    <a:lnTo>
                      <a:pt x="5847" y="3749"/>
                    </a:lnTo>
                    <a:lnTo>
                      <a:pt x="5809" y="3749"/>
                    </a:lnTo>
                    <a:lnTo>
                      <a:pt x="5797" y="3749"/>
                    </a:lnTo>
                    <a:lnTo>
                      <a:pt x="5814" y="3749"/>
                    </a:lnTo>
                    <a:lnTo>
                      <a:pt x="5809" y="3761"/>
                    </a:lnTo>
                    <a:lnTo>
                      <a:pt x="5771" y="3766"/>
                    </a:lnTo>
                    <a:lnTo>
                      <a:pt x="5705" y="3782"/>
                    </a:lnTo>
                    <a:lnTo>
                      <a:pt x="5733" y="3782"/>
                    </a:lnTo>
                    <a:lnTo>
                      <a:pt x="5792" y="3761"/>
                    </a:lnTo>
                    <a:lnTo>
                      <a:pt x="5776" y="3782"/>
                    </a:lnTo>
                    <a:lnTo>
                      <a:pt x="5743" y="3782"/>
                    </a:lnTo>
                    <a:lnTo>
                      <a:pt x="5755" y="3782"/>
                    </a:lnTo>
                    <a:lnTo>
                      <a:pt x="5717" y="3799"/>
                    </a:lnTo>
                    <a:lnTo>
                      <a:pt x="5679" y="3806"/>
                    </a:lnTo>
                    <a:lnTo>
                      <a:pt x="5679" y="3832"/>
                    </a:lnTo>
                    <a:lnTo>
                      <a:pt x="5667" y="3832"/>
                    </a:lnTo>
                    <a:lnTo>
                      <a:pt x="5625" y="3806"/>
                    </a:lnTo>
                    <a:lnTo>
                      <a:pt x="5625" y="3815"/>
                    </a:lnTo>
                    <a:lnTo>
                      <a:pt x="5646" y="3815"/>
                    </a:lnTo>
                    <a:lnTo>
                      <a:pt x="5679" y="3832"/>
                    </a:lnTo>
                    <a:lnTo>
                      <a:pt x="5651" y="3848"/>
                    </a:lnTo>
                    <a:lnTo>
                      <a:pt x="5667" y="3855"/>
                    </a:lnTo>
                    <a:lnTo>
                      <a:pt x="5651" y="3855"/>
                    </a:lnTo>
                    <a:lnTo>
                      <a:pt x="5667" y="3855"/>
                    </a:lnTo>
                    <a:lnTo>
                      <a:pt x="5700" y="3839"/>
                    </a:lnTo>
                    <a:lnTo>
                      <a:pt x="5689" y="3832"/>
                    </a:lnTo>
                    <a:lnTo>
                      <a:pt x="5743" y="3815"/>
                    </a:lnTo>
                    <a:lnTo>
                      <a:pt x="5743" y="3806"/>
                    </a:lnTo>
                    <a:lnTo>
                      <a:pt x="5788" y="3782"/>
                    </a:lnTo>
                    <a:lnTo>
                      <a:pt x="5840" y="3777"/>
                    </a:lnTo>
                    <a:lnTo>
                      <a:pt x="5792" y="3777"/>
                    </a:lnTo>
                    <a:lnTo>
                      <a:pt x="5792" y="3766"/>
                    </a:lnTo>
                    <a:lnTo>
                      <a:pt x="5863" y="3766"/>
                    </a:lnTo>
                    <a:lnTo>
                      <a:pt x="5885" y="3799"/>
                    </a:lnTo>
                    <a:lnTo>
                      <a:pt x="5852" y="3822"/>
                    </a:lnTo>
                    <a:lnTo>
                      <a:pt x="5868" y="3832"/>
                    </a:lnTo>
                    <a:lnTo>
                      <a:pt x="5868" y="3839"/>
                    </a:lnTo>
                    <a:lnTo>
                      <a:pt x="5894" y="3815"/>
                    </a:lnTo>
                    <a:lnTo>
                      <a:pt x="5932" y="3806"/>
                    </a:lnTo>
                    <a:lnTo>
                      <a:pt x="5932" y="3815"/>
                    </a:lnTo>
                    <a:lnTo>
                      <a:pt x="5915" y="3815"/>
                    </a:lnTo>
                    <a:lnTo>
                      <a:pt x="5960" y="3832"/>
                    </a:lnTo>
                    <a:lnTo>
                      <a:pt x="5939" y="3832"/>
                    </a:lnTo>
                    <a:lnTo>
                      <a:pt x="5960" y="3848"/>
                    </a:lnTo>
                    <a:lnTo>
                      <a:pt x="5977" y="3848"/>
                    </a:lnTo>
                    <a:lnTo>
                      <a:pt x="5977" y="3872"/>
                    </a:lnTo>
                    <a:lnTo>
                      <a:pt x="5970" y="3877"/>
                    </a:lnTo>
                    <a:lnTo>
                      <a:pt x="5948" y="3877"/>
                    </a:lnTo>
                    <a:lnTo>
                      <a:pt x="5970" y="3893"/>
                    </a:lnTo>
                    <a:lnTo>
                      <a:pt x="5977" y="3905"/>
                    </a:lnTo>
                    <a:lnTo>
                      <a:pt x="5953" y="3910"/>
                    </a:lnTo>
                    <a:lnTo>
                      <a:pt x="5977" y="3917"/>
                    </a:lnTo>
                    <a:lnTo>
                      <a:pt x="5953" y="3917"/>
                    </a:lnTo>
                    <a:lnTo>
                      <a:pt x="5960" y="3917"/>
                    </a:lnTo>
                    <a:lnTo>
                      <a:pt x="5948" y="3926"/>
                    </a:lnTo>
                    <a:lnTo>
                      <a:pt x="5922" y="3926"/>
                    </a:lnTo>
                    <a:lnTo>
                      <a:pt x="5986" y="3943"/>
                    </a:lnTo>
                    <a:lnTo>
                      <a:pt x="5986" y="3950"/>
                    </a:lnTo>
                    <a:lnTo>
                      <a:pt x="5977" y="3950"/>
                    </a:lnTo>
                    <a:lnTo>
                      <a:pt x="5948" y="3943"/>
                    </a:lnTo>
                    <a:lnTo>
                      <a:pt x="5986" y="3959"/>
                    </a:lnTo>
                    <a:lnTo>
                      <a:pt x="5986" y="3971"/>
                    </a:lnTo>
                    <a:lnTo>
                      <a:pt x="5894" y="4037"/>
                    </a:lnTo>
                    <a:lnTo>
                      <a:pt x="5878" y="4025"/>
                    </a:lnTo>
                    <a:lnTo>
                      <a:pt x="5840" y="4025"/>
                    </a:lnTo>
                    <a:lnTo>
                      <a:pt x="5826" y="4044"/>
                    </a:lnTo>
                    <a:lnTo>
                      <a:pt x="5776" y="4054"/>
                    </a:lnTo>
                    <a:lnTo>
                      <a:pt x="5776" y="4061"/>
                    </a:lnTo>
                    <a:lnTo>
                      <a:pt x="5755" y="4077"/>
                    </a:lnTo>
                    <a:lnTo>
                      <a:pt x="5755" y="4094"/>
                    </a:lnTo>
                    <a:lnTo>
                      <a:pt x="5743" y="4099"/>
                    </a:lnTo>
                    <a:lnTo>
                      <a:pt x="5743" y="4094"/>
                    </a:lnTo>
                    <a:lnTo>
                      <a:pt x="5705" y="4127"/>
                    </a:lnTo>
                    <a:lnTo>
                      <a:pt x="5689" y="4132"/>
                    </a:lnTo>
                    <a:lnTo>
                      <a:pt x="5689" y="4137"/>
                    </a:lnTo>
                    <a:lnTo>
                      <a:pt x="5684" y="4148"/>
                    </a:lnTo>
                    <a:lnTo>
                      <a:pt x="5592" y="4153"/>
                    </a:lnTo>
                    <a:lnTo>
                      <a:pt x="5561" y="4165"/>
                    </a:lnTo>
                    <a:lnTo>
                      <a:pt x="5570" y="4153"/>
                    </a:lnTo>
                    <a:lnTo>
                      <a:pt x="5561" y="4153"/>
                    </a:lnTo>
                    <a:lnTo>
                      <a:pt x="5554" y="4148"/>
                    </a:lnTo>
                    <a:lnTo>
                      <a:pt x="5516" y="4137"/>
                    </a:lnTo>
                    <a:lnTo>
                      <a:pt x="5452" y="4148"/>
                    </a:lnTo>
                    <a:lnTo>
                      <a:pt x="5415" y="4137"/>
                    </a:lnTo>
                    <a:lnTo>
                      <a:pt x="5313" y="4137"/>
                    </a:lnTo>
                    <a:lnTo>
                      <a:pt x="5259" y="4137"/>
                    </a:lnTo>
                    <a:lnTo>
                      <a:pt x="5252" y="4153"/>
                    </a:lnTo>
                    <a:lnTo>
                      <a:pt x="5230" y="4148"/>
                    </a:lnTo>
                    <a:lnTo>
                      <a:pt x="5183" y="4188"/>
                    </a:lnTo>
                    <a:lnTo>
                      <a:pt x="5176" y="4222"/>
                    </a:lnTo>
                    <a:lnTo>
                      <a:pt x="5162" y="4238"/>
                    </a:lnTo>
                    <a:lnTo>
                      <a:pt x="5112" y="4243"/>
                    </a:lnTo>
                    <a:lnTo>
                      <a:pt x="5107" y="4248"/>
                    </a:lnTo>
                    <a:lnTo>
                      <a:pt x="5074" y="4259"/>
                    </a:lnTo>
                    <a:lnTo>
                      <a:pt x="5041" y="4281"/>
                    </a:lnTo>
                    <a:lnTo>
                      <a:pt x="5037" y="4297"/>
                    </a:lnTo>
                    <a:lnTo>
                      <a:pt x="5004" y="4349"/>
                    </a:lnTo>
                    <a:lnTo>
                      <a:pt x="4982" y="4333"/>
                    </a:lnTo>
                    <a:lnTo>
                      <a:pt x="4907" y="4316"/>
                    </a:lnTo>
                    <a:lnTo>
                      <a:pt x="4982" y="4337"/>
                    </a:lnTo>
                    <a:lnTo>
                      <a:pt x="4999" y="4349"/>
                    </a:lnTo>
                    <a:lnTo>
                      <a:pt x="4982" y="4375"/>
                    </a:lnTo>
                    <a:lnTo>
                      <a:pt x="4966" y="4403"/>
                    </a:lnTo>
                    <a:lnTo>
                      <a:pt x="4944" y="4408"/>
                    </a:lnTo>
                    <a:lnTo>
                      <a:pt x="4928" y="4441"/>
                    </a:lnTo>
                    <a:lnTo>
                      <a:pt x="4890" y="4470"/>
                    </a:lnTo>
                    <a:lnTo>
                      <a:pt x="4944" y="4448"/>
                    </a:lnTo>
                    <a:lnTo>
                      <a:pt x="5020" y="4354"/>
                    </a:lnTo>
                    <a:lnTo>
                      <a:pt x="5107" y="4297"/>
                    </a:lnTo>
                    <a:lnTo>
                      <a:pt x="5247" y="4243"/>
                    </a:lnTo>
                    <a:lnTo>
                      <a:pt x="5301" y="4243"/>
                    </a:lnTo>
                    <a:lnTo>
                      <a:pt x="5344" y="4248"/>
                    </a:lnTo>
                    <a:lnTo>
                      <a:pt x="5381" y="4276"/>
                    </a:lnTo>
                    <a:lnTo>
                      <a:pt x="5393" y="4292"/>
                    </a:lnTo>
                    <a:lnTo>
                      <a:pt x="5360" y="4276"/>
                    </a:lnTo>
                    <a:lnTo>
                      <a:pt x="5393" y="4297"/>
                    </a:lnTo>
                    <a:lnTo>
                      <a:pt x="5381" y="4297"/>
                    </a:lnTo>
                    <a:lnTo>
                      <a:pt x="5381" y="4316"/>
                    </a:lnTo>
                    <a:lnTo>
                      <a:pt x="5306" y="4354"/>
                    </a:lnTo>
                    <a:lnTo>
                      <a:pt x="5268" y="4337"/>
                    </a:lnTo>
                    <a:lnTo>
                      <a:pt x="5200" y="4354"/>
                    </a:lnTo>
                    <a:lnTo>
                      <a:pt x="5237" y="4354"/>
                    </a:lnTo>
                    <a:lnTo>
                      <a:pt x="5275" y="4370"/>
                    </a:lnTo>
                    <a:lnTo>
                      <a:pt x="5285" y="4392"/>
                    </a:lnTo>
                    <a:lnTo>
                      <a:pt x="5313" y="4370"/>
                    </a:lnTo>
                    <a:lnTo>
                      <a:pt x="5344" y="4375"/>
                    </a:lnTo>
                    <a:lnTo>
                      <a:pt x="5355" y="4387"/>
                    </a:lnTo>
                    <a:lnTo>
                      <a:pt x="5339" y="4392"/>
                    </a:lnTo>
                    <a:lnTo>
                      <a:pt x="5339" y="4415"/>
                    </a:lnTo>
                    <a:lnTo>
                      <a:pt x="5306" y="4441"/>
                    </a:lnTo>
                    <a:lnTo>
                      <a:pt x="5344" y="4441"/>
                    </a:lnTo>
                    <a:lnTo>
                      <a:pt x="5339" y="4465"/>
                    </a:lnTo>
                    <a:lnTo>
                      <a:pt x="5355" y="4481"/>
                    </a:lnTo>
                    <a:lnTo>
                      <a:pt x="5365" y="4519"/>
                    </a:lnTo>
                    <a:lnTo>
                      <a:pt x="5415" y="4526"/>
                    </a:lnTo>
                    <a:lnTo>
                      <a:pt x="5393" y="4536"/>
                    </a:lnTo>
                    <a:lnTo>
                      <a:pt x="5419" y="4552"/>
                    </a:lnTo>
                    <a:lnTo>
                      <a:pt x="5436" y="4552"/>
                    </a:lnTo>
                    <a:lnTo>
                      <a:pt x="5448" y="4552"/>
                    </a:lnTo>
                    <a:lnTo>
                      <a:pt x="5431" y="4552"/>
                    </a:lnTo>
                    <a:lnTo>
                      <a:pt x="5452" y="4559"/>
                    </a:lnTo>
                    <a:lnTo>
                      <a:pt x="5448" y="4559"/>
                    </a:lnTo>
                    <a:lnTo>
                      <a:pt x="5490" y="4559"/>
                    </a:lnTo>
                    <a:lnTo>
                      <a:pt x="5507" y="4576"/>
                    </a:lnTo>
                    <a:lnTo>
                      <a:pt x="5544" y="4552"/>
                    </a:lnTo>
                    <a:lnTo>
                      <a:pt x="5544" y="4569"/>
                    </a:lnTo>
                    <a:lnTo>
                      <a:pt x="5570" y="4576"/>
                    </a:lnTo>
                    <a:lnTo>
                      <a:pt x="5575" y="4569"/>
                    </a:lnTo>
                    <a:lnTo>
                      <a:pt x="5592" y="4581"/>
                    </a:lnTo>
                    <a:lnTo>
                      <a:pt x="5575" y="4597"/>
                    </a:lnTo>
                    <a:lnTo>
                      <a:pt x="5613" y="4597"/>
                    </a:lnTo>
                    <a:lnTo>
                      <a:pt x="5608" y="4609"/>
                    </a:lnTo>
                    <a:lnTo>
                      <a:pt x="5592" y="4609"/>
                    </a:lnTo>
                    <a:lnTo>
                      <a:pt x="5582" y="4614"/>
                    </a:lnTo>
                    <a:lnTo>
                      <a:pt x="5507" y="4637"/>
                    </a:lnTo>
                    <a:lnTo>
                      <a:pt x="5485" y="4654"/>
                    </a:lnTo>
                    <a:lnTo>
                      <a:pt x="5469" y="4647"/>
                    </a:lnTo>
                    <a:lnTo>
                      <a:pt x="5469" y="4654"/>
                    </a:lnTo>
                    <a:lnTo>
                      <a:pt x="5462" y="4647"/>
                    </a:lnTo>
                    <a:lnTo>
                      <a:pt x="5436" y="4663"/>
                    </a:lnTo>
                    <a:lnTo>
                      <a:pt x="5419" y="4654"/>
                    </a:lnTo>
                    <a:lnTo>
                      <a:pt x="5436" y="4670"/>
                    </a:lnTo>
                    <a:lnTo>
                      <a:pt x="5431" y="4680"/>
                    </a:lnTo>
                    <a:lnTo>
                      <a:pt x="5410" y="4670"/>
                    </a:lnTo>
                    <a:lnTo>
                      <a:pt x="5410" y="4654"/>
                    </a:lnTo>
                    <a:lnTo>
                      <a:pt x="5398" y="4663"/>
                    </a:lnTo>
                    <a:lnTo>
                      <a:pt x="5398" y="4670"/>
                    </a:lnTo>
                    <a:lnTo>
                      <a:pt x="5393" y="4680"/>
                    </a:lnTo>
                    <a:lnTo>
                      <a:pt x="5381" y="4663"/>
                    </a:lnTo>
                    <a:lnTo>
                      <a:pt x="5377" y="4680"/>
                    </a:lnTo>
                    <a:lnTo>
                      <a:pt x="5381" y="4692"/>
                    </a:lnTo>
                    <a:lnTo>
                      <a:pt x="5360" y="4703"/>
                    </a:lnTo>
                    <a:lnTo>
                      <a:pt x="5355" y="4720"/>
                    </a:lnTo>
                    <a:lnTo>
                      <a:pt x="5344" y="4720"/>
                    </a:lnTo>
                    <a:lnTo>
                      <a:pt x="5327" y="4741"/>
                    </a:lnTo>
                    <a:lnTo>
                      <a:pt x="5306" y="4741"/>
                    </a:lnTo>
                    <a:lnTo>
                      <a:pt x="5301" y="4765"/>
                    </a:lnTo>
                    <a:lnTo>
                      <a:pt x="5289" y="4758"/>
                    </a:lnTo>
                    <a:lnTo>
                      <a:pt x="5275" y="4758"/>
                    </a:lnTo>
                    <a:lnTo>
                      <a:pt x="5268" y="4736"/>
                    </a:lnTo>
                    <a:lnTo>
                      <a:pt x="5259" y="4741"/>
                    </a:lnTo>
                    <a:lnTo>
                      <a:pt x="5247" y="4725"/>
                    </a:lnTo>
                    <a:lnTo>
                      <a:pt x="5247" y="4708"/>
                    </a:lnTo>
                    <a:lnTo>
                      <a:pt x="5252" y="4687"/>
                    </a:lnTo>
                    <a:lnTo>
                      <a:pt x="5268" y="4663"/>
                    </a:lnTo>
                    <a:lnTo>
                      <a:pt x="5247" y="4680"/>
                    </a:lnTo>
                    <a:lnTo>
                      <a:pt x="5259" y="4663"/>
                    </a:lnTo>
                    <a:lnTo>
                      <a:pt x="5285" y="4663"/>
                    </a:lnTo>
                    <a:lnTo>
                      <a:pt x="5289" y="4654"/>
                    </a:lnTo>
                    <a:lnTo>
                      <a:pt x="5285" y="4654"/>
                    </a:lnTo>
                    <a:lnTo>
                      <a:pt x="5285" y="4647"/>
                    </a:lnTo>
                    <a:lnTo>
                      <a:pt x="5377" y="4597"/>
                    </a:lnTo>
                    <a:lnTo>
                      <a:pt x="5365" y="4597"/>
                    </a:lnTo>
                    <a:lnTo>
                      <a:pt x="5377" y="4597"/>
                    </a:lnTo>
                    <a:lnTo>
                      <a:pt x="5377" y="4614"/>
                    </a:lnTo>
                    <a:lnTo>
                      <a:pt x="5381" y="4614"/>
                    </a:lnTo>
                    <a:lnTo>
                      <a:pt x="5393" y="4630"/>
                    </a:lnTo>
                    <a:lnTo>
                      <a:pt x="5393" y="4609"/>
                    </a:lnTo>
                    <a:lnTo>
                      <a:pt x="5448" y="4597"/>
                    </a:lnTo>
                    <a:lnTo>
                      <a:pt x="5360" y="4592"/>
                    </a:lnTo>
                    <a:lnTo>
                      <a:pt x="5339" y="4597"/>
                    </a:lnTo>
                    <a:lnTo>
                      <a:pt x="5344" y="4581"/>
                    </a:lnTo>
                    <a:lnTo>
                      <a:pt x="5381" y="4559"/>
                    </a:lnTo>
                    <a:lnTo>
                      <a:pt x="5377" y="4552"/>
                    </a:lnTo>
                    <a:lnTo>
                      <a:pt x="5365" y="4559"/>
                    </a:lnTo>
                    <a:lnTo>
                      <a:pt x="5344" y="4526"/>
                    </a:lnTo>
                    <a:lnTo>
                      <a:pt x="5360" y="4552"/>
                    </a:lnTo>
                    <a:lnTo>
                      <a:pt x="5344" y="4576"/>
                    </a:lnTo>
                    <a:lnTo>
                      <a:pt x="5339" y="4576"/>
                    </a:lnTo>
                    <a:lnTo>
                      <a:pt x="5268" y="4609"/>
                    </a:lnTo>
                    <a:lnTo>
                      <a:pt x="5252" y="4597"/>
                    </a:lnTo>
                    <a:lnTo>
                      <a:pt x="5259" y="4581"/>
                    </a:lnTo>
                    <a:lnTo>
                      <a:pt x="5247" y="4597"/>
                    </a:lnTo>
                    <a:lnTo>
                      <a:pt x="5252" y="4609"/>
                    </a:lnTo>
                    <a:lnTo>
                      <a:pt x="5230" y="4625"/>
                    </a:lnTo>
                    <a:lnTo>
                      <a:pt x="5221" y="4614"/>
                    </a:lnTo>
                    <a:lnTo>
                      <a:pt x="5204" y="4625"/>
                    </a:lnTo>
                    <a:lnTo>
                      <a:pt x="5192" y="4614"/>
                    </a:lnTo>
                    <a:lnTo>
                      <a:pt x="5176" y="4614"/>
                    </a:lnTo>
                    <a:lnTo>
                      <a:pt x="5176" y="4614"/>
                    </a:lnTo>
                    <a:lnTo>
                      <a:pt x="5176" y="4614"/>
                    </a:lnTo>
                    <a:close/>
                    <a:moveTo>
                      <a:pt x="3201" y="1748"/>
                    </a:moveTo>
                    <a:lnTo>
                      <a:pt x="3208" y="1753"/>
                    </a:lnTo>
                    <a:lnTo>
                      <a:pt x="3208" y="1765"/>
                    </a:lnTo>
                    <a:lnTo>
                      <a:pt x="3192" y="1765"/>
                    </a:lnTo>
                    <a:lnTo>
                      <a:pt x="3201" y="1748"/>
                    </a:lnTo>
                    <a:lnTo>
                      <a:pt x="3201" y="1748"/>
                    </a:lnTo>
                    <a:lnTo>
                      <a:pt x="3201" y="1748"/>
                    </a:lnTo>
                    <a:close/>
                    <a:moveTo>
                      <a:pt x="3095" y="1765"/>
                    </a:moveTo>
                    <a:lnTo>
                      <a:pt x="3100" y="1765"/>
                    </a:lnTo>
                    <a:lnTo>
                      <a:pt x="3083" y="1770"/>
                    </a:lnTo>
                    <a:lnTo>
                      <a:pt x="3095" y="1765"/>
                    </a:lnTo>
                    <a:lnTo>
                      <a:pt x="3095" y="1765"/>
                    </a:lnTo>
                    <a:lnTo>
                      <a:pt x="3095" y="1765"/>
                    </a:lnTo>
                    <a:close/>
                    <a:moveTo>
                      <a:pt x="4751" y="1770"/>
                    </a:moveTo>
                    <a:lnTo>
                      <a:pt x="4755" y="1770"/>
                    </a:lnTo>
                    <a:lnTo>
                      <a:pt x="4734" y="1786"/>
                    </a:lnTo>
                    <a:lnTo>
                      <a:pt x="4751" y="1770"/>
                    </a:lnTo>
                    <a:lnTo>
                      <a:pt x="4751" y="1770"/>
                    </a:lnTo>
                    <a:lnTo>
                      <a:pt x="4751" y="1770"/>
                    </a:lnTo>
                    <a:close/>
                    <a:moveTo>
                      <a:pt x="4772" y="1781"/>
                    </a:moveTo>
                    <a:lnTo>
                      <a:pt x="4789" y="1786"/>
                    </a:lnTo>
                    <a:lnTo>
                      <a:pt x="4784" y="1793"/>
                    </a:lnTo>
                    <a:lnTo>
                      <a:pt x="4767" y="1786"/>
                    </a:lnTo>
                    <a:lnTo>
                      <a:pt x="4772" y="1781"/>
                    </a:lnTo>
                    <a:lnTo>
                      <a:pt x="4772" y="1781"/>
                    </a:lnTo>
                    <a:lnTo>
                      <a:pt x="4772" y="1781"/>
                    </a:lnTo>
                    <a:close/>
                    <a:moveTo>
                      <a:pt x="4767" y="1826"/>
                    </a:moveTo>
                    <a:lnTo>
                      <a:pt x="4751" y="1819"/>
                    </a:lnTo>
                    <a:lnTo>
                      <a:pt x="4746" y="1793"/>
                    </a:lnTo>
                    <a:lnTo>
                      <a:pt x="4755" y="1786"/>
                    </a:lnTo>
                    <a:lnTo>
                      <a:pt x="4767" y="1793"/>
                    </a:lnTo>
                    <a:lnTo>
                      <a:pt x="4755" y="1803"/>
                    </a:lnTo>
                    <a:lnTo>
                      <a:pt x="4772" y="1793"/>
                    </a:lnTo>
                    <a:lnTo>
                      <a:pt x="4784" y="1803"/>
                    </a:lnTo>
                    <a:lnTo>
                      <a:pt x="4767" y="1810"/>
                    </a:lnTo>
                    <a:lnTo>
                      <a:pt x="4772" y="1819"/>
                    </a:lnTo>
                    <a:lnTo>
                      <a:pt x="4767" y="1826"/>
                    </a:lnTo>
                    <a:lnTo>
                      <a:pt x="4767" y="1826"/>
                    </a:lnTo>
                    <a:lnTo>
                      <a:pt x="4767" y="1826"/>
                    </a:lnTo>
                    <a:close/>
                    <a:moveTo>
                      <a:pt x="2953" y="1826"/>
                    </a:moveTo>
                    <a:lnTo>
                      <a:pt x="2948" y="1819"/>
                    </a:lnTo>
                    <a:lnTo>
                      <a:pt x="2953" y="1819"/>
                    </a:lnTo>
                    <a:lnTo>
                      <a:pt x="2953" y="1826"/>
                    </a:lnTo>
                    <a:lnTo>
                      <a:pt x="2953" y="1826"/>
                    </a:lnTo>
                    <a:lnTo>
                      <a:pt x="2953" y="1826"/>
                    </a:lnTo>
                    <a:close/>
                    <a:moveTo>
                      <a:pt x="3116" y="1826"/>
                    </a:moveTo>
                    <a:lnTo>
                      <a:pt x="3126" y="1836"/>
                    </a:lnTo>
                    <a:lnTo>
                      <a:pt x="3116" y="1836"/>
                    </a:lnTo>
                    <a:lnTo>
                      <a:pt x="3116" y="1826"/>
                    </a:lnTo>
                    <a:lnTo>
                      <a:pt x="3116" y="1826"/>
                    </a:lnTo>
                    <a:lnTo>
                      <a:pt x="3116" y="1826"/>
                    </a:lnTo>
                    <a:close/>
                    <a:moveTo>
                      <a:pt x="4852" y="1859"/>
                    </a:moveTo>
                    <a:lnTo>
                      <a:pt x="4881" y="1864"/>
                    </a:lnTo>
                    <a:lnTo>
                      <a:pt x="4881" y="1876"/>
                    </a:lnTo>
                    <a:lnTo>
                      <a:pt x="4843" y="1892"/>
                    </a:lnTo>
                    <a:lnTo>
                      <a:pt x="4822" y="1876"/>
                    </a:lnTo>
                    <a:lnTo>
                      <a:pt x="4836" y="1876"/>
                    </a:lnTo>
                    <a:lnTo>
                      <a:pt x="4836" y="1859"/>
                    </a:lnTo>
                    <a:lnTo>
                      <a:pt x="4852" y="1859"/>
                    </a:lnTo>
                    <a:lnTo>
                      <a:pt x="4852" y="1859"/>
                    </a:lnTo>
                    <a:lnTo>
                      <a:pt x="4852" y="1859"/>
                    </a:lnTo>
                    <a:close/>
                    <a:moveTo>
                      <a:pt x="2844" y="1904"/>
                    </a:moveTo>
                    <a:lnTo>
                      <a:pt x="2861" y="1921"/>
                    </a:lnTo>
                    <a:lnTo>
                      <a:pt x="2861" y="1937"/>
                    </a:lnTo>
                    <a:lnTo>
                      <a:pt x="2830" y="1921"/>
                    </a:lnTo>
                    <a:lnTo>
                      <a:pt x="2830" y="1904"/>
                    </a:lnTo>
                    <a:lnTo>
                      <a:pt x="2844" y="1904"/>
                    </a:lnTo>
                    <a:lnTo>
                      <a:pt x="2844" y="1904"/>
                    </a:lnTo>
                    <a:lnTo>
                      <a:pt x="2844" y="1904"/>
                    </a:lnTo>
                    <a:close/>
                    <a:moveTo>
                      <a:pt x="903" y="1914"/>
                    </a:moveTo>
                    <a:lnTo>
                      <a:pt x="886" y="1921"/>
                    </a:lnTo>
                    <a:lnTo>
                      <a:pt x="898" y="1904"/>
                    </a:lnTo>
                    <a:lnTo>
                      <a:pt x="903" y="1914"/>
                    </a:lnTo>
                    <a:lnTo>
                      <a:pt x="903" y="1914"/>
                    </a:lnTo>
                    <a:lnTo>
                      <a:pt x="903" y="1914"/>
                    </a:lnTo>
                    <a:close/>
                    <a:moveTo>
                      <a:pt x="1675" y="1921"/>
                    </a:moveTo>
                    <a:lnTo>
                      <a:pt x="1663" y="1921"/>
                    </a:lnTo>
                    <a:lnTo>
                      <a:pt x="1692" y="1921"/>
                    </a:lnTo>
                    <a:lnTo>
                      <a:pt x="1675" y="1921"/>
                    </a:lnTo>
                    <a:lnTo>
                      <a:pt x="1675" y="1921"/>
                    </a:lnTo>
                    <a:lnTo>
                      <a:pt x="1675" y="1921"/>
                    </a:lnTo>
                    <a:close/>
                    <a:moveTo>
                      <a:pt x="1760" y="1921"/>
                    </a:moveTo>
                    <a:lnTo>
                      <a:pt x="1765" y="1921"/>
                    </a:lnTo>
                    <a:lnTo>
                      <a:pt x="1751" y="1921"/>
                    </a:lnTo>
                    <a:lnTo>
                      <a:pt x="1760" y="1921"/>
                    </a:lnTo>
                    <a:lnTo>
                      <a:pt x="1760" y="1921"/>
                    </a:lnTo>
                    <a:lnTo>
                      <a:pt x="1760" y="1921"/>
                    </a:lnTo>
                    <a:close/>
                    <a:moveTo>
                      <a:pt x="1734" y="1921"/>
                    </a:moveTo>
                    <a:lnTo>
                      <a:pt x="1744" y="1921"/>
                    </a:lnTo>
                    <a:lnTo>
                      <a:pt x="1718" y="1921"/>
                    </a:lnTo>
                    <a:lnTo>
                      <a:pt x="1734" y="1921"/>
                    </a:lnTo>
                    <a:lnTo>
                      <a:pt x="1734" y="1921"/>
                    </a:lnTo>
                    <a:lnTo>
                      <a:pt x="1734" y="1921"/>
                    </a:lnTo>
                    <a:close/>
                    <a:moveTo>
                      <a:pt x="2823" y="1954"/>
                    </a:moveTo>
                    <a:lnTo>
                      <a:pt x="2823" y="1959"/>
                    </a:lnTo>
                    <a:lnTo>
                      <a:pt x="2814" y="1954"/>
                    </a:lnTo>
                    <a:lnTo>
                      <a:pt x="2823" y="1954"/>
                    </a:lnTo>
                    <a:lnTo>
                      <a:pt x="2823" y="1954"/>
                    </a:lnTo>
                    <a:lnTo>
                      <a:pt x="2823" y="1954"/>
                    </a:lnTo>
                    <a:close/>
                    <a:moveTo>
                      <a:pt x="1966" y="1954"/>
                    </a:moveTo>
                    <a:lnTo>
                      <a:pt x="1949" y="1954"/>
                    </a:lnTo>
                    <a:lnTo>
                      <a:pt x="1966" y="1954"/>
                    </a:lnTo>
                    <a:lnTo>
                      <a:pt x="1966" y="1954"/>
                    </a:lnTo>
                    <a:lnTo>
                      <a:pt x="1966" y="1954"/>
                    </a:lnTo>
                    <a:close/>
                    <a:moveTo>
                      <a:pt x="3773" y="1975"/>
                    </a:moveTo>
                    <a:lnTo>
                      <a:pt x="3811" y="1975"/>
                    </a:lnTo>
                    <a:lnTo>
                      <a:pt x="3827" y="1992"/>
                    </a:lnTo>
                    <a:lnTo>
                      <a:pt x="3780" y="1992"/>
                    </a:lnTo>
                    <a:lnTo>
                      <a:pt x="3763" y="1975"/>
                    </a:lnTo>
                    <a:lnTo>
                      <a:pt x="3773" y="1975"/>
                    </a:lnTo>
                    <a:lnTo>
                      <a:pt x="3773" y="1975"/>
                    </a:lnTo>
                    <a:lnTo>
                      <a:pt x="3773" y="1975"/>
                    </a:lnTo>
                    <a:close/>
                    <a:moveTo>
                      <a:pt x="3062" y="2003"/>
                    </a:moveTo>
                    <a:lnTo>
                      <a:pt x="3071" y="2008"/>
                    </a:lnTo>
                    <a:lnTo>
                      <a:pt x="3057" y="2003"/>
                    </a:lnTo>
                    <a:lnTo>
                      <a:pt x="3062" y="2003"/>
                    </a:lnTo>
                    <a:lnTo>
                      <a:pt x="3062" y="2003"/>
                    </a:lnTo>
                    <a:lnTo>
                      <a:pt x="3062" y="2003"/>
                    </a:lnTo>
                    <a:close/>
                    <a:moveTo>
                      <a:pt x="2932" y="2140"/>
                    </a:moveTo>
                    <a:lnTo>
                      <a:pt x="2911" y="2119"/>
                    </a:lnTo>
                    <a:lnTo>
                      <a:pt x="2915" y="2103"/>
                    </a:lnTo>
                    <a:lnTo>
                      <a:pt x="2948" y="2103"/>
                    </a:lnTo>
                    <a:lnTo>
                      <a:pt x="2991" y="2081"/>
                    </a:lnTo>
                    <a:lnTo>
                      <a:pt x="2974" y="2065"/>
                    </a:lnTo>
                    <a:lnTo>
                      <a:pt x="2986" y="2065"/>
                    </a:lnTo>
                    <a:lnTo>
                      <a:pt x="2974" y="2058"/>
                    </a:lnTo>
                    <a:lnTo>
                      <a:pt x="2974" y="2048"/>
                    </a:lnTo>
                    <a:lnTo>
                      <a:pt x="3019" y="2065"/>
                    </a:lnTo>
                    <a:lnTo>
                      <a:pt x="2991" y="2041"/>
                    </a:lnTo>
                    <a:lnTo>
                      <a:pt x="3003" y="2013"/>
                    </a:lnTo>
                    <a:lnTo>
                      <a:pt x="3024" y="2008"/>
                    </a:lnTo>
                    <a:lnTo>
                      <a:pt x="3062" y="2029"/>
                    </a:lnTo>
                    <a:lnTo>
                      <a:pt x="3057" y="2029"/>
                    </a:lnTo>
                    <a:lnTo>
                      <a:pt x="3062" y="2048"/>
                    </a:lnTo>
                    <a:lnTo>
                      <a:pt x="3071" y="2029"/>
                    </a:lnTo>
                    <a:lnTo>
                      <a:pt x="3095" y="2058"/>
                    </a:lnTo>
                    <a:lnTo>
                      <a:pt x="3137" y="2081"/>
                    </a:lnTo>
                    <a:lnTo>
                      <a:pt x="3137" y="2115"/>
                    </a:lnTo>
                    <a:lnTo>
                      <a:pt x="3147" y="2119"/>
                    </a:lnTo>
                    <a:lnTo>
                      <a:pt x="3147" y="2098"/>
                    </a:lnTo>
                    <a:lnTo>
                      <a:pt x="3154" y="2086"/>
                    </a:lnTo>
                    <a:lnTo>
                      <a:pt x="3170" y="2136"/>
                    </a:lnTo>
                    <a:lnTo>
                      <a:pt x="3208" y="2140"/>
                    </a:lnTo>
                    <a:lnTo>
                      <a:pt x="3192" y="2157"/>
                    </a:lnTo>
                    <a:lnTo>
                      <a:pt x="3170" y="2152"/>
                    </a:lnTo>
                    <a:lnTo>
                      <a:pt x="3137" y="2181"/>
                    </a:lnTo>
                    <a:lnTo>
                      <a:pt x="3116" y="2192"/>
                    </a:lnTo>
                    <a:lnTo>
                      <a:pt x="3007" y="2157"/>
                    </a:lnTo>
                    <a:lnTo>
                      <a:pt x="2991" y="2136"/>
                    </a:lnTo>
                    <a:lnTo>
                      <a:pt x="2986" y="2152"/>
                    </a:lnTo>
                    <a:lnTo>
                      <a:pt x="2974" y="2152"/>
                    </a:lnTo>
                    <a:lnTo>
                      <a:pt x="2953" y="2140"/>
                    </a:lnTo>
                    <a:lnTo>
                      <a:pt x="2953" y="2124"/>
                    </a:lnTo>
                    <a:lnTo>
                      <a:pt x="2932" y="2140"/>
                    </a:lnTo>
                    <a:lnTo>
                      <a:pt x="2932" y="2140"/>
                    </a:lnTo>
                    <a:lnTo>
                      <a:pt x="2932" y="2140"/>
                    </a:lnTo>
                    <a:close/>
                    <a:moveTo>
                      <a:pt x="3470" y="2025"/>
                    </a:moveTo>
                    <a:lnTo>
                      <a:pt x="3456" y="2013"/>
                    </a:lnTo>
                    <a:lnTo>
                      <a:pt x="3478" y="2008"/>
                    </a:lnTo>
                    <a:lnTo>
                      <a:pt x="3470" y="2025"/>
                    </a:lnTo>
                    <a:lnTo>
                      <a:pt x="3470" y="2025"/>
                    </a:lnTo>
                    <a:lnTo>
                      <a:pt x="3470" y="2025"/>
                    </a:lnTo>
                    <a:close/>
                    <a:moveTo>
                      <a:pt x="4096" y="2008"/>
                    </a:moveTo>
                    <a:lnTo>
                      <a:pt x="4108" y="2013"/>
                    </a:lnTo>
                    <a:lnTo>
                      <a:pt x="4087" y="2008"/>
                    </a:lnTo>
                    <a:lnTo>
                      <a:pt x="4096" y="2008"/>
                    </a:lnTo>
                    <a:lnTo>
                      <a:pt x="4096" y="2008"/>
                    </a:lnTo>
                    <a:lnTo>
                      <a:pt x="4096" y="2008"/>
                    </a:lnTo>
                    <a:close/>
                    <a:moveTo>
                      <a:pt x="4028" y="2025"/>
                    </a:moveTo>
                    <a:lnTo>
                      <a:pt x="4016" y="2029"/>
                    </a:lnTo>
                    <a:lnTo>
                      <a:pt x="4000" y="2025"/>
                    </a:lnTo>
                    <a:lnTo>
                      <a:pt x="4028" y="2025"/>
                    </a:lnTo>
                    <a:lnTo>
                      <a:pt x="4028" y="2025"/>
                    </a:lnTo>
                    <a:lnTo>
                      <a:pt x="4028" y="2025"/>
                    </a:lnTo>
                    <a:close/>
                    <a:moveTo>
                      <a:pt x="4297" y="2025"/>
                    </a:moveTo>
                    <a:lnTo>
                      <a:pt x="4314" y="2013"/>
                    </a:lnTo>
                    <a:lnTo>
                      <a:pt x="4323" y="2029"/>
                    </a:lnTo>
                    <a:lnTo>
                      <a:pt x="4302" y="2041"/>
                    </a:lnTo>
                    <a:lnTo>
                      <a:pt x="4271" y="2041"/>
                    </a:lnTo>
                    <a:lnTo>
                      <a:pt x="4281" y="2058"/>
                    </a:lnTo>
                    <a:lnTo>
                      <a:pt x="4243" y="2029"/>
                    </a:lnTo>
                    <a:lnTo>
                      <a:pt x="4217" y="2029"/>
                    </a:lnTo>
                    <a:lnTo>
                      <a:pt x="4248" y="2013"/>
                    </a:lnTo>
                    <a:lnTo>
                      <a:pt x="4297" y="2025"/>
                    </a:lnTo>
                    <a:lnTo>
                      <a:pt x="4297" y="2025"/>
                    </a:lnTo>
                    <a:lnTo>
                      <a:pt x="4297" y="2025"/>
                    </a:lnTo>
                    <a:close/>
                    <a:moveTo>
                      <a:pt x="4082" y="2013"/>
                    </a:moveTo>
                    <a:lnTo>
                      <a:pt x="4104" y="2029"/>
                    </a:lnTo>
                    <a:lnTo>
                      <a:pt x="4082" y="2025"/>
                    </a:lnTo>
                    <a:lnTo>
                      <a:pt x="4082" y="2013"/>
                    </a:lnTo>
                    <a:lnTo>
                      <a:pt x="4082" y="2013"/>
                    </a:lnTo>
                    <a:lnTo>
                      <a:pt x="4082" y="2013"/>
                    </a:lnTo>
                    <a:close/>
                    <a:moveTo>
                      <a:pt x="4411" y="2025"/>
                    </a:moveTo>
                    <a:lnTo>
                      <a:pt x="4422" y="2041"/>
                    </a:lnTo>
                    <a:lnTo>
                      <a:pt x="4356" y="2065"/>
                    </a:lnTo>
                    <a:lnTo>
                      <a:pt x="4411" y="2025"/>
                    </a:lnTo>
                    <a:lnTo>
                      <a:pt x="4411" y="2025"/>
                    </a:lnTo>
                    <a:lnTo>
                      <a:pt x="4411" y="2025"/>
                    </a:lnTo>
                    <a:close/>
                    <a:moveTo>
                      <a:pt x="2731" y="2029"/>
                    </a:moveTo>
                    <a:lnTo>
                      <a:pt x="2731" y="2041"/>
                    </a:lnTo>
                    <a:lnTo>
                      <a:pt x="2722" y="2029"/>
                    </a:lnTo>
                    <a:lnTo>
                      <a:pt x="2731" y="2029"/>
                    </a:lnTo>
                    <a:lnTo>
                      <a:pt x="2731" y="2029"/>
                    </a:lnTo>
                    <a:lnTo>
                      <a:pt x="2731" y="2029"/>
                    </a:lnTo>
                    <a:close/>
                    <a:moveTo>
                      <a:pt x="378" y="2119"/>
                    </a:moveTo>
                    <a:lnTo>
                      <a:pt x="385" y="2119"/>
                    </a:lnTo>
                    <a:lnTo>
                      <a:pt x="357" y="2115"/>
                    </a:lnTo>
                    <a:lnTo>
                      <a:pt x="357" y="2086"/>
                    </a:lnTo>
                    <a:lnTo>
                      <a:pt x="385" y="2103"/>
                    </a:lnTo>
                    <a:lnTo>
                      <a:pt x="362" y="2086"/>
                    </a:lnTo>
                    <a:lnTo>
                      <a:pt x="385" y="2081"/>
                    </a:lnTo>
                    <a:lnTo>
                      <a:pt x="411" y="2086"/>
                    </a:lnTo>
                    <a:lnTo>
                      <a:pt x="400" y="2065"/>
                    </a:lnTo>
                    <a:lnTo>
                      <a:pt x="411" y="2065"/>
                    </a:lnTo>
                    <a:lnTo>
                      <a:pt x="466" y="2065"/>
                    </a:lnTo>
                    <a:lnTo>
                      <a:pt x="466" y="2041"/>
                    </a:lnTo>
                    <a:lnTo>
                      <a:pt x="454" y="2029"/>
                    </a:lnTo>
                    <a:lnTo>
                      <a:pt x="475" y="2029"/>
                    </a:lnTo>
                    <a:lnTo>
                      <a:pt x="475" y="2048"/>
                    </a:lnTo>
                    <a:lnTo>
                      <a:pt x="508" y="2048"/>
                    </a:lnTo>
                    <a:lnTo>
                      <a:pt x="466" y="2103"/>
                    </a:lnTo>
                    <a:lnTo>
                      <a:pt x="449" y="2119"/>
                    </a:lnTo>
                    <a:lnTo>
                      <a:pt x="475" y="2157"/>
                    </a:lnTo>
                    <a:lnTo>
                      <a:pt x="466" y="2157"/>
                    </a:lnTo>
                    <a:lnTo>
                      <a:pt x="433" y="2119"/>
                    </a:lnTo>
                    <a:lnTo>
                      <a:pt x="423" y="2136"/>
                    </a:lnTo>
                    <a:lnTo>
                      <a:pt x="357" y="2124"/>
                    </a:lnTo>
                    <a:lnTo>
                      <a:pt x="357" y="2115"/>
                    </a:lnTo>
                    <a:lnTo>
                      <a:pt x="378" y="2119"/>
                    </a:lnTo>
                    <a:lnTo>
                      <a:pt x="378" y="2119"/>
                    </a:lnTo>
                    <a:lnTo>
                      <a:pt x="378" y="2119"/>
                    </a:lnTo>
                    <a:close/>
                    <a:moveTo>
                      <a:pt x="5129" y="2029"/>
                    </a:moveTo>
                    <a:lnTo>
                      <a:pt x="5129" y="2041"/>
                    </a:lnTo>
                    <a:lnTo>
                      <a:pt x="5129" y="2058"/>
                    </a:lnTo>
                    <a:lnTo>
                      <a:pt x="5107" y="2048"/>
                    </a:lnTo>
                    <a:lnTo>
                      <a:pt x="5129" y="2029"/>
                    </a:lnTo>
                    <a:lnTo>
                      <a:pt x="5129" y="2029"/>
                    </a:lnTo>
                    <a:lnTo>
                      <a:pt x="5129" y="2029"/>
                    </a:lnTo>
                    <a:close/>
                    <a:moveTo>
                      <a:pt x="130" y="2058"/>
                    </a:moveTo>
                    <a:lnTo>
                      <a:pt x="114" y="2048"/>
                    </a:lnTo>
                    <a:lnTo>
                      <a:pt x="130" y="2041"/>
                    </a:lnTo>
                    <a:lnTo>
                      <a:pt x="152" y="2048"/>
                    </a:lnTo>
                    <a:lnTo>
                      <a:pt x="130" y="2058"/>
                    </a:lnTo>
                    <a:lnTo>
                      <a:pt x="130" y="2058"/>
                    </a:lnTo>
                    <a:lnTo>
                      <a:pt x="130" y="2058"/>
                    </a:lnTo>
                    <a:close/>
                    <a:moveTo>
                      <a:pt x="3192" y="2048"/>
                    </a:moveTo>
                    <a:lnTo>
                      <a:pt x="3201" y="2058"/>
                    </a:lnTo>
                    <a:lnTo>
                      <a:pt x="3192" y="2081"/>
                    </a:lnTo>
                    <a:lnTo>
                      <a:pt x="3180" y="2081"/>
                    </a:lnTo>
                    <a:lnTo>
                      <a:pt x="3180" y="2070"/>
                    </a:lnTo>
                    <a:lnTo>
                      <a:pt x="3180" y="2058"/>
                    </a:lnTo>
                    <a:lnTo>
                      <a:pt x="3170" y="2048"/>
                    </a:lnTo>
                    <a:lnTo>
                      <a:pt x="3163" y="2081"/>
                    </a:lnTo>
                    <a:lnTo>
                      <a:pt x="3154" y="2070"/>
                    </a:lnTo>
                    <a:lnTo>
                      <a:pt x="3154" y="2058"/>
                    </a:lnTo>
                    <a:lnTo>
                      <a:pt x="3163" y="2048"/>
                    </a:lnTo>
                    <a:lnTo>
                      <a:pt x="3192" y="2048"/>
                    </a:lnTo>
                    <a:lnTo>
                      <a:pt x="3192" y="2048"/>
                    </a:lnTo>
                    <a:lnTo>
                      <a:pt x="3192" y="2048"/>
                    </a:lnTo>
                    <a:close/>
                    <a:moveTo>
                      <a:pt x="5150" y="2058"/>
                    </a:moveTo>
                    <a:lnTo>
                      <a:pt x="5138" y="2058"/>
                    </a:lnTo>
                    <a:lnTo>
                      <a:pt x="5167" y="2048"/>
                    </a:lnTo>
                    <a:lnTo>
                      <a:pt x="5150" y="2058"/>
                    </a:lnTo>
                    <a:lnTo>
                      <a:pt x="5150" y="2058"/>
                    </a:lnTo>
                    <a:lnTo>
                      <a:pt x="5150" y="2058"/>
                    </a:lnTo>
                    <a:close/>
                    <a:moveTo>
                      <a:pt x="3147" y="2048"/>
                    </a:moveTo>
                    <a:lnTo>
                      <a:pt x="3147" y="2081"/>
                    </a:lnTo>
                    <a:lnTo>
                      <a:pt x="3109" y="2048"/>
                    </a:lnTo>
                    <a:lnTo>
                      <a:pt x="3147" y="2048"/>
                    </a:lnTo>
                    <a:lnTo>
                      <a:pt x="3147" y="2048"/>
                    </a:lnTo>
                    <a:lnTo>
                      <a:pt x="3147" y="2048"/>
                    </a:lnTo>
                    <a:close/>
                    <a:moveTo>
                      <a:pt x="2802" y="2058"/>
                    </a:moveTo>
                    <a:lnTo>
                      <a:pt x="2807" y="2065"/>
                    </a:lnTo>
                    <a:lnTo>
                      <a:pt x="2793" y="2070"/>
                    </a:lnTo>
                    <a:lnTo>
                      <a:pt x="2793" y="2065"/>
                    </a:lnTo>
                    <a:lnTo>
                      <a:pt x="2776" y="2058"/>
                    </a:lnTo>
                    <a:lnTo>
                      <a:pt x="2785" y="2048"/>
                    </a:lnTo>
                    <a:lnTo>
                      <a:pt x="2802" y="2058"/>
                    </a:lnTo>
                    <a:lnTo>
                      <a:pt x="2802" y="2058"/>
                    </a:lnTo>
                    <a:lnTo>
                      <a:pt x="2802" y="2058"/>
                    </a:lnTo>
                    <a:close/>
                    <a:moveTo>
                      <a:pt x="3563" y="2065"/>
                    </a:moveTo>
                    <a:lnTo>
                      <a:pt x="3563" y="2081"/>
                    </a:lnTo>
                    <a:lnTo>
                      <a:pt x="3558" y="2086"/>
                    </a:lnTo>
                    <a:lnTo>
                      <a:pt x="3541" y="2081"/>
                    </a:lnTo>
                    <a:lnTo>
                      <a:pt x="3563" y="2065"/>
                    </a:lnTo>
                    <a:lnTo>
                      <a:pt x="3563" y="2065"/>
                    </a:lnTo>
                    <a:lnTo>
                      <a:pt x="3563" y="2065"/>
                    </a:lnTo>
                    <a:close/>
                    <a:moveTo>
                      <a:pt x="4481" y="2065"/>
                    </a:moveTo>
                    <a:lnTo>
                      <a:pt x="4512" y="2065"/>
                    </a:lnTo>
                    <a:lnTo>
                      <a:pt x="4512" y="2081"/>
                    </a:lnTo>
                    <a:lnTo>
                      <a:pt x="4486" y="2103"/>
                    </a:lnTo>
                    <a:lnTo>
                      <a:pt x="4465" y="2103"/>
                    </a:lnTo>
                    <a:lnTo>
                      <a:pt x="4460" y="2086"/>
                    </a:lnTo>
                    <a:lnTo>
                      <a:pt x="4465" y="2070"/>
                    </a:lnTo>
                    <a:lnTo>
                      <a:pt x="4481" y="2065"/>
                    </a:lnTo>
                    <a:lnTo>
                      <a:pt x="4481" y="2065"/>
                    </a:lnTo>
                    <a:lnTo>
                      <a:pt x="4481" y="2065"/>
                    </a:lnTo>
                    <a:close/>
                    <a:moveTo>
                      <a:pt x="400" y="2081"/>
                    </a:moveTo>
                    <a:lnTo>
                      <a:pt x="385" y="2070"/>
                    </a:lnTo>
                    <a:lnTo>
                      <a:pt x="400" y="2070"/>
                    </a:lnTo>
                    <a:lnTo>
                      <a:pt x="400" y="2081"/>
                    </a:lnTo>
                    <a:lnTo>
                      <a:pt x="400" y="2081"/>
                    </a:lnTo>
                    <a:lnTo>
                      <a:pt x="400" y="2081"/>
                    </a:lnTo>
                    <a:close/>
                    <a:moveTo>
                      <a:pt x="4389" y="2070"/>
                    </a:moveTo>
                    <a:lnTo>
                      <a:pt x="4406" y="2081"/>
                    </a:lnTo>
                    <a:lnTo>
                      <a:pt x="4356" y="2136"/>
                    </a:lnTo>
                    <a:lnTo>
                      <a:pt x="4335" y="2140"/>
                    </a:lnTo>
                    <a:lnTo>
                      <a:pt x="4318" y="2136"/>
                    </a:lnTo>
                    <a:lnTo>
                      <a:pt x="4335" y="2115"/>
                    </a:lnTo>
                    <a:lnTo>
                      <a:pt x="4356" y="2103"/>
                    </a:lnTo>
                    <a:lnTo>
                      <a:pt x="4368" y="2081"/>
                    </a:lnTo>
                    <a:lnTo>
                      <a:pt x="4389" y="2070"/>
                    </a:lnTo>
                    <a:lnTo>
                      <a:pt x="4389" y="2070"/>
                    </a:lnTo>
                    <a:lnTo>
                      <a:pt x="4389" y="2070"/>
                    </a:lnTo>
                    <a:close/>
                    <a:moveTo>
                      <a:pt x="3541" y="2098"/>
                    </a:moveTo>
                    <a:lnTo>
                      <a:pt x="3525" y="2081"/>
                    </a:lnTo>
                    <a:lnTo>
                      <a:pt x="3532" y="2070"/>
                    </a:lnTo>
                    <a:lnTo>
                      <a:pt x="3546" y="2086"/>
                    </a:lnTo>
                    <a:lnTo>
                      <a:pt x="3541" y="2098"/>
                    </a:lnTo>
                    <a:lnTo>
                      <a:pt x="3541" y="2098"/>
                    </a:lnTo>
                    <a:lnTo>
                      <a:pt x="3541" y="2098"/>
                    </a:lnTo>
                    <a:close/>
                    <a:moveTo>
                      <a:pt x="2769" y="2098"/>
                    </a:moveTo>
                    <a:lnTo>
                      <a:pt x="2769" y="2115"/>
                    </a:lnTo>
                    <a:lnTo>
                      <a:pt x="2755" y="2115"/>
                    </a:lnTo>
                    <a:lnTo>
                      <a:pt x="2759" y="2098"/>
                    </a:lnTo>
                    <a:lnTo>
                      <a:pt x="2769" y="2098"/>
                    </a:lnTo>
                    <a:lnTo>
                      <a:pt x="2769" y="2098"/>
                    </a:lnTo>
                    <a:lnTo>
                      <a:pt x="2769" y="2098"/>
                    </a:lnTo>
                    <a:close/>
                    <a:moveTo>
                      <a:pt x="3563" y="2115"/>
                    </a:moveTo>
                    <a:lnTo>
                      <a:pt x="3570" y="2115"/>
                    </a:lnTo>
                    <a:lnTo>
                      <a:pt x="3558" y="2115"/>
                    </a:lnTo>
                    <a:lnTo>
                      <a:pt x="3563" y="2115"/>
                    </a:lnTo>
                    <a:lnTo>
                      <a:pt x="3563" y="2115"/>
                    </a:lnTo>
                    <a:lnTo>
                      <a:pt x="3563" y="2115"/>
                    </a:lnTo>
                    <a:close/>
                    <a:moveTo>
                      <a:pt x="2868" y="2103"/>
                    </a:moveTo>
                    <a:lnTo>
                      <a:pt x="2878" y="2119"/>
                    </a:lnTo>
                    <a:lnTo>
                      <a:pt x="2878" y="2124"/>
                    </a:lnTo>
                    <a:lnTo>
                      <a:pt x="2861" y="2119"/>
                    </a:lnTo>
                    <a:lnTo>
                      <a:pt x="2868" y="2103"/>
                    </a:lnTo>
                    <a:lnTo>
                      <a:pt x="2868" y="2103"/>
                    </a:lnTo>
                    <a:lnTo>
                      <a:pt x="2868" y="2103"/>
                    </a:lnTo>
                    <a:close/>
                    <a:moveTo>
                      <a:pt x="2856" y="2119"/>
                    </a:moveTo>
                    <a:lnTo>
                      <a:pt x="2868" y="2136"/>
                    </a:lnTo>
                    <a:lnTo>
                      <a:pt x="2861" y="2140"/>
                    </a:lnTo>
                    <a:lnTo>
                      <a:pt x="2856" y="2157"/>
                    </a:lnTo>
                    <a:lnTo>
                      <a:pt x="2830" y="2152"/>
                    </a:lnTo>
                    <a:lnTo>
                      <a:pt x="2830" y="2119"/>
                    </a:lnTo>
                    <a:lnTo>
                      <a:pt x="2856" y="2119"/>
                    </a:lnTo>
                    <a:lnTo>
                      <a:pt x="2856" y="2119"/>
                    </a:lnTo>
                    <a:lnTo>
                      <a:pt x="2856" y="2119"/>
                    </a:lnTo>
                    <a:close/>
                    <a:moveTo>
                      <a:pt x="3584" y="2124"/>
                    </a:moveTo>
                    <a:lnTo>
                      <a:pt x="3570" y="2119"/>
                    </a:lnTo>
                    <a:lnTo>
                      <a:pt x="3584" y="2119"/>
                    </a:lnTo>
                    <a:lnTo>
                      <a:pt x="3584" y="2124"/>
                    </a:lnTo>
                    <a:lnTo>
                      <a:pt x="3584" y="2124"/>
                    </a:lnTo>
                    <a:lnTo>
                      <a:pt x="3584" y="2124"/>
                    </a:lnTo>
                    <a:close/>
                    <a:moveTo>
                      <a:pt x="5129" y="2124"/>
                    </a:moveTo>
                    <a:lnTo>
                      <a:pt x="5129" y="2136"/>
                    </a:lnTo>
                    <a:lnTo>
                      <a:pt x="5124" y="2124"/>
                    </a:lnTo>
                    <a:lnTo>
                      <a:pt x="5129" y="2124"/>
                    </a:lnTo>
                    <a:lnTo>
                      <a:pt x="5129" y="2124"/>
                    </a:lnTo>
                    <a:lnTo>
                      <a:pt x="5129" y="2124"/>
                    </a:lnTo>
                    <a:close/>
                    <a:moveTo>
                      <a:pt x="3579" y="2157"/>
                    </a:moveTo>
                    <a:lnTo>
                      <a:pt x="3579" y="2152"/>
                    </a:lnTo>
                    <a:lnTo>
                      <a:pt x="3579" y="2140"/>
                    </a:lnTo>
                    <a:lnTo>
                      <a:pt x="3596" y="2152"/>
                    </a:lnTo>
                    <a:lnTo>
                      <a:pt x="3579" y="2157"/>
                    </a:lnTo>
                    <a:lnTo>
                      <a:pt x="3579" y="2157"/>
                    </a:lnTo>
                    <a:lnTo>
                      <a:pt x="3579" y="2157"/>
                    </a:lnTo>
                    <a:close/>
                    <a:moveTo>
                      <a:pt x="2759" y="2152"/>
                    </a:moveTo>
                    <a:lnTo>
                      <a:pt x="2759" y="2157"/>
                    </a:lnTo>
                    <a:lnTo>
                      <a:pt x="2748" y="2176"/>
                    </a:lnTo>
                    <a:lnTo>
                      <a:pt x="2717" y="2157"/>
                    </a:lnTo>
                    <a:lnTo>
                      <a:pt x="2738" y="2140"/>
                    </a:lnTo>
                    <a:lnTo>
                      <a:pt x="2759" y="2152"/>
                    </a:lnTo>
                    <a:lnTo>
                      <a:pt x="2759" y="2152"/>
                    </a:lnTo>
                    <a:lnTo>
                      <a:pt x="2759" y="2152"/>
                    </a:lnTo>
                    <a:close/>
                    <a:moveTo>
                      <a:pt x="4626" y="2157"/>
                    </a:moveTo>
                    <a:lnTo>
                      <a:pt x="4642" y="2181"/>
                    </a:lnTo>
                    <a:lnTo>
                      <a:pt x="4642" y="2209"/>
                    </a:lnTo>
                    <a:lnTo>
                      <a:pt x="4595" y="2181"/>
                    </a:lnTo>
                    <a:lnTo>
                      <a:pt x="4611" y="2157"/>
                    </a:lnTo>
                    <a:lnTo>
                      <a:pt x="4626" y="2157"/>
                    </a:lnTo>
                    <a:lnTo>
                      <a:pt x="4626" y="2157"/>
                    </a:lnTo>
                    <a:lnTo>
                      <a:pt x="4626" y="2157"/>
                    </a:lnTo>
                    <a:close/>
                    <a:moveTo>
                      <a:pt x="4642" y="2157"/>
                    </a:moveTo>
                    <a:lnTo>
                      <a:pt x="4663" y="2176"/>
                    </a:lnTo>
                    <a:lnTo>
                      <a:pt x="4637" y="2169"/>
                    </a:lnTo>
                    <a:lnTo>
                      <a:pt x="4642" y="2157"/>
                    </a:lnTo>
                    <a:lnTo>
                      <a:pt x="4642" y="2157"/>
                    </a:lnTo>
                    <a:lnTo>
                      <a:pt x="4642" y="2157"/>
                    </a:lnTo>
                    <a:close/>
                    <a:moveTo>
                      <a:pt x="4368" y="2192"/>
                    </a:moveTo>
                    <a:lnTo>
                      <a:pt x="4352" y="2181"/>
                    </a:lnTo>
                    <a:lnTo>
                      <a:pt x="4373" y="2176"/>
                    </a:lnTo>
                    <a:lnTo>
                      <a:pt x="4356" y="2169"/>
                    </a:lnTo>
                    <a:lnTo>
                      <a:pt x="4389" y="2169"/>
                    </a:lnTo>
                    <a:lnTo>
                      <a:pt x="4368" y="2192"/>
                    </a:lnTo>
                    <a:lnTo>
                      <a:pt x="4368" y="2192"/>
                    </a:lnTo>
                    <a:lnTo>
                      <a:pt x="4368" y="2192"/>
                    </a:lnTo>
                    <a:close/>
                    <a:moveTo>
                      <a:pt x="2516" y="2176"/>
                    </a:moveTo>
                    <a:lnTo>
                      <a:pt x="2521" y="2181"/>
                    </a:lnTo>
                    <a:lnTo>
                      <a:pt x="2504" y="2176"/>
                    </a:lnTo>
                    <a:lnTo>
                      <a:pt x="2516" y="2176"/>
                    </a:lnTo>
                    <a:lnTo>
                      <a:pt x="2516" y="2176"/>
                    </a:lnTo>
                    <a:lnTo>
                      <a:pt x="2516" y="2176"/>
                    </a:lnTo>
                    <a:close/>
                    <a:moveTo>
                      <a:pt x="2542" y="2176"/>
                    </a:moveTo>
                    <a:lnTo>
                      <a:pt x="2570" y="2192"/>
                    </a:lnTo>
                    <a:lnTo>
                      <a:pt x="2542" y="2197"/>
                    </a:lnTo>
                    <a:lnTo>
                      <a:pt x="2521" y="2176"/>
                    </a:lnTo>
                    <a:lnTo>
                      <a:pt x="2542" y="2176"/>
                    </a:lnTo>
                    <a:lnTo>
                      <a:pt x="2542" y="2176"/>
                    </a:lnTo>
                    <a:lnTo>
                      <a:pt x="2542" y="2176"/>
                    </a:lnTo>
                    <a:close/>
                    <a:moveTo>
                      <a:pt x="2129" y="2176"/>
                    </a:moveTo>
                    <a:lnTo>
                      <a:pt x="2138" y="2176"/>
                    </a:lnTo>
                    <a:lnTo>
                      <a:pt x="2122" y="2176"/>
                    </a:lnTo>
                    <a:lnTo>
                      <a:pt x="2129" y="2176"/>
                    </a:lnTo>
                    <a:lnTo>
                      <a:pt x="2129" y="2176"/>
                    </a:lnTo>
                    <a:lnTo>
                      <a:pt x="2129" y="2176"/>
                    </a:lnTo>
                    <a:close/>
                    <a:moveTo>
                      <a:pt x="2122" y="2181"/>
                    </a:moveTo>
                    <a:lnTo>
                      <a:pt x="2100" y="2181"/>
                    </a:lnTo>
                    <a:lnTo>
                      <a:pt x="2122" y="2176"/>
                    </a:lnTo>
                    <a:lnTo>
                      <a:pt x="2122" y="2181"/>
                    </a:lnTo>
                    <a:lnTo>
                      <a:pt x="2122" y="2181"/>
                    </a:lnTo>
                    <a:lnTo>
                      <a:pt x="2122" y="2181"/>
                    </a:lnTo>
                    <a:close/>
                    <a:moveTo>
                      <a:pt x="4675" y="2192"/>
                    </a:moveTo>
                    <a:lnTo>
                      <a:pt x="4696" y="2209"/>
                    </a:lnTo>
                    <a:lnTo>
                      <a:pt x="4680" y="2214"/>
                    </a:lnTo>
                    <a:lnTo>
                      <a:pt x="4675" y="2197"/>
                    </a:lnTo>
                    <a:lnTo>
                      <a:pt x="4675" y="2192"/>
                    </a:lnTo>
                    <a:lnTo>
                      <a:pt x="4675" y="2192"/>
                    </a:lnTo>
                    <a:lnTo>
                      <a:pt x="4675" y="2192"/>
                    </a:lnTo>
                    <a:close/>
                    <a:moveTo>
                      <a:pt x="2868" y="2197"/>
                    </a:moveTo>
                    <a:lnTo>
                      <a:pt x="2868" y="2214"/>
                    </a:lnTo>
                    <a:lnTo>
                      <a:pt x="2861" y="2209"/>
                    </a:lnTo>
                    <a:lnTo>
                      <a:pt x="2868" y="2197"/>
                    </a:lnTo>
                    <a:lnTo>
                      <a:pt x="2868" y="2197"/>
                    </a:lnTo>
                    <a:lnTo>
                      <a:pt x="2868" y="2197"/>
                    </a:lnTo>
                    <a:close/>
                    <a:moveTo>
                      <a:pt x="4340" y="2197"/>
                    </a:moveTo>
                    <a:lnTo>
                      <a:pt x="4368" y="2214"/>
                    </a:lnTo>
                    <a:lnTo>
                      <a:pt x="4340" y="2226"/>
                    </a:lnTo>
                    <a:lnTo>
                      <a:pt x="4335" y="2214"/>
                    </a:lnTo>
                    <a:lnTo>
                      <a:pt x="4340" y="2197"/>
                    </a:lnTo>
                    <a:lnTo>
                      <a:pt x="4340" y="2197"/>
                    </a:lnTo>
                    <a:lnTo>
                      <a:pt x="4340" y="2197"/>
                    </a:lnTo>
                    <a:close/>
                    <a:moveTo>
                      <a:pt x="4512" y="2341"/>
                    </a:moveTo>
                    <a:lnTo>
                      <a:pt x="4481" y="2337"/>
                    </a:lnTo>
                    <a:lnTo>
                      <a:pt x="4474" y="2308"/>
                    </a:lnTo>
                    <a:lnTo>
                      <a:pt x="4465" y="2285"/>
                    </a:lnTo>
                    <a:lnTo>
                      <a:pt x="4503" y="2214"/>
                    </a:lnTo>
                    <a:lnTo>
                      <a:pt x="4574" y="2209"/>
                    </a:lnTo>
                    <a:lnTo>
                      <a:pt x="4621" y="2214"/>
                    </a:lnTo>
                    <a:lnTo>
                      <a:pt x="4626" y="2230"/>
                    </a:lnTo>
                    <a:lnTo>
                      <a:pt x="4621" y="2252"/>
                    </a:lnTo>
                    <a:lnTo>
                      <a:pt x="4626" y="2292"/>
                    </a:lnTo>
                    <a:lnTo>
                      <a:pt x="4621" y="2308"/>
                    </a:lnTo>
                    <a:lnTo>
                      <a:pt x="4567" y="2337"/>
                    </a:lnTo>
                    <a:lnTo>
                      <a:pt x="4512" y="2341"/>
                    </a:lnTo>
                    <a:lnTo>
                      <a:pt x="4512" y="2341"/>
                    </a:lnTo>
                    <a:lnTo>
                      <a:pt x="4512" y="2341"/>
                    </a:lnTo>
                    <a:close/>
                    <a:moveTo>
                      <a:pt x="3827" y="2226"/>
                    </a:moveTo>
                    <a:lnTo>
                      <a:pt x="3834" y="2263"/>
                    </a:lnTo>
                    <a:lnTo>
                      <a:pt x="3818" y="2280"/>
                    </a:lnTo>
                    <a:lnTo>
                      <a:pt x="3796" y="2268"/>
                    </a:lnTo>
                    <a:lnTo>
                      <a:pt x="3796" y="2252"/>
                    </a:lnTo>
                    <a:lnTo>
                      <a:pt x="3801" y="2247"/>
                    </a:lnTo>
                    <a:lnTo>
                      <a:pt x="3785" y="2235"/>
                    </a:lnTo>
                    <a:lnTo>
                      <a:pt x="3811" y="2209"/>
                    </a:lnTo>
                    <a:lnTo>
                      <a:pt x="3827" y="2214"/>
                    </a:lnTo>
                    <a:lnTo>
                      <a:pt x="3827" y="2226"/>
                    </a:lnTo>
                    <a:lnTo>
                      <a:pt x="3827" y="2226"/>
                    </a:lnTo>
                    <a:lnTo>
                      <a:pt x="3827" y="2226"/>
                    </a:lnTo>
                    <a:close/>
                    <a:moveTo>
                      <a:pt x="5237" y="2230"/>
                    </a:moveTo>
                    <a:lnTo>
                      <a:pt x="5214" y="2226"/>
                    </a:lnTo>
                    <a:lnTo>
                      <a:pt x="5247" y="2214"/>
                    </a:lnTo>
                    <a:lnTo>
                      <a:pt x="5237" y="2230"/>
                    </a:lnTo>
                    <a:lnTo>
                      <a:pt x="5237" y="2230"/>
                    </a:lnTo>
                    <a:lnTo>
                      <a:pt x="5237" y="2230"/>
                    </a:lnTo>
                    <a:close/>
                    <a:moveTo>
                      <a:pt x="4696" y="2214"/>
                    </a:moveTo>
                    <a:lnTo>
                      <a:pt x="4696" y="2230"/>
                    </a:lnTo>
                    <a:lnTo>
                      <a:pt x="4692" y="2226"/>
                    </a:lnTo>
                    <a:lnTo>
                      <a:pt x="4696" y="2214"/>
                    </a:lnTo>
                    <a:lnTo>
                      <a:pt x="4696" y="2214"/>
                    </a:lnTo>
                    <a:lnTo>
                      <a:pt x="4696" y="2214"/>
                    </a:lnTo>
                    <a:close/>
                    <a:moveTo>
                      <a:pt x="2570" y="2226"/>
                    </a:moveTo>
                    <a:lnTo>
                      <a:pt x="2559" y="2235"/>
                    </a:lnTo>
                    <a:lnTo>
                      <a:pt x="2554" y="2230"/>
                    </a:lnTo>
                    <a:lnTo>
                      <a:pt x="2570" y="2226"/>
                    </a:lnTo>
                    <a:lnTo>
                      <a:pt x="2570" y="2226"/>
                    </a:lnTo>
                    <a:lnTo>
                      <a:pt x="2570" y="2226"/>
                    </a:lnTo>
                    <a:close/>
                    <a:moveTo>
                      <a:pt x="5285" y="2226"/>
                    </a:moveTo>
                    <a:lnTo>
                      <a:pt x="5301" y="2230"/>
                    </a:lnTo>
                    <a:lnTo>
                      <a:pt x="5285" y="2230"/>
                    </a:lnTo>
                    <a:lnTo>
                      <a:pt x="5285" y="2226"/>
                    </a:lnTo>
                    <a:lnTo>
                      <a:pt x="5285" y="2226"/>
                    </a:lnTo>
                    <a:lnTo>
                      <a:pt x="5285" y="2226"/>
                    </a:lnTo>
                    <a:close/>
                    <a:moveTo>
                      <a:pt x="4718" y="2247"/>
                    </a:moveTo>
                    <a:lnTo>
                      <a:pt x="4746" y="2247"/>
                    </a:lnTo>
                    <a:lnTo>
                      <a:pt x="4746" y="2268"/>
                    </a:lnTo>
                    <a:lnTo>
                      <a:pt x="4734" y="2280"/>
                    </a:lnTo>
                    <a:lnTo>
                      <a:pt x="4675" y="2268"/>
                    </a:lnTo>
                    <a:lnTo>
                      <a:pt x="4649" y="2263"/>
                    </a:lnTo>
                    <a:lnTo>
                      <a:pt x="4642" y="2247"/>
                    </a:lnTo>
                    <a:lnTo>
                      <a:pt x="4675" y="2226"/>
                    </a:lnTo>
                    <a:lnTo>
                      <a:pt x="4692" y="2235"/>
                    </a:lnTo>
                    <a:lnTo>
                      <a:pt x="4718" y="2247"/>
                    </a:lnTo>
                    <a:lnTo>
                      <a:pt x="4718" y="2247"/>
                    </a:lnTo>
                    <a:lnTo>
                      <a:pt x="4718" y="2247"/>
                    </a:lnTo>
                    <a:close/>
                    <a:moveTo>
                      <a:pt x="2214" y="2230"/>
                    </a:moveTo>
                    <a:lnTo>
                      <a:pt x="2219" y="2247"/>
                    </a:lnTo>
                    <a:lnTo>
                      <a:pt x="2209" y="2235"/>
                    </a:lnTo>
                    <a:lnTo>
                      <a:pt x="2214" y="2230"/>
                    </a:lnTo>
                    <a:lnTo>
                      <a:pt x="2214" y="2230"/>
                    </a:lnTo>
                    <a:lnTo>
                      <a:pt x="2214" y="2230"/>
                    </a:lnTo>
                    <a:close/>
                    <a:moveTo>
                      <a:pt x="2948" y="2235"/>
                    </a:moveTo>
                    <a:lnTo>
                      <a:pt x="2948" y="2247"/>
                    </a:lnTo>
                    <a:lnTo>
                      <a:pt x="2937" y="2235"/>
                    </a:lnTo>
                    <a:lnTo>
                      <a:pt x="2948" y="2235"/>
                    </a:lnTo>
                    <a:lnTo>
                      <a:pt x="2948" y="2235"/>
                    </a:lnTo>
                    <a:lnTo>
                      <a:pt x="2948" y="2235"/>
                    </a:lnTo>
                    <a:close/>
                    <a:moveTo>
                      <a:pt x="2252" y="2247"/>
                    </a:moveTo>
                    <a:lnTo>
                      <a:pt x="2252" y="2263"/>
                    </a:lnTo>
                    <a:lnTo>
                      <a:pt x="2230" y="2247"/>
                    </a:lnTo>
                    <a:lnTo>
                      <a:pt x="2252" y="2247"/>
                    </a:lnTo>
                    <a:lnTo>
                      <a:pt x="2252" y="2247"/>
                    </a:lnTo>
                    <a:lnTo>
                      <a:pt x="2252" y="2247"/>
                    </a:lnTo>
                    <a:close/>
                    <a:moveTo>
                      <a:pt x="3024" y="2263"/>
                    </a:moveTo>
                    <a:lnTo>
                      <a:pt x="3019" y="2263"/>
                    </a:lnTo>
                    <a:lnTo>
                      <a:pt x="3024" y="2263"/>
                    </a:lnTo>
                    <a:lnTo>
                      <a:pt x="3024" y="2263"/>
                    </a:lnTo>
                    <a:lnTo>
                      <a:pt x="3024" y="2263"/>
                    </a:lnTo>
                    <a:close/>
                    <a:moveTo>
                      <a:pt x="1895" y="2263"/>
                    </a:moveTo>
                    <a:lnTo>
                      <a:pt x="1874" y="2263"/>
                    </a:lnTo>
                    <a:lnTo>
                      <a:pt x="1895" y="2263"/>
                    </a:lnTo>
                    <a:lnTo>
                      <a:pt x="1895" y="2263"/>
                    </a:lnTo>
                    <a:lnTo>
                      <a:pt x="1895" y="2263"/>
                    </a:lnTo>
                    <a:close/>
                    <a:moveTo>
                      <a:pt x="2306" y="2308"/>
                    </a:moveTo>
                    <a:lnTo>
                      <a:pt x="2306" y="2285"/>
                    </a:lnTo>
                    <a:lnTo>
                      <a:pt x="2318" y="2285"/>
                    </a:lnTo>
                    <a:lnTo>
                      <a:pt x="2322" y="2303"/>
                    </a:lnTo>
                    <a:lnTo>
                      <a:pt x="2306" y="2308"/>
                    </a:lnTo>
                    <a:lnTo>
                      <a:pt x="2306" y="2308"/>
                    </a:lnTo>
                    <a:lnTo>
                      <a:pt x="2306" y="2308"/>
                    </a:lnTo>
                    <a:close/>
                    <a:moveTo>
                      <a:pt x="5410" y="2292"/>
                    </a:moveTo>
                    <a:lnTo>
                      <a:pt x="5415" y="2303"/>
                    </a:lnTo>
                    <a:lnTo>
                      <a:pt x="5398" y="2303"/>
                    </a:lnTo>
                    <a:lnTo>
                      <a:pt x="5410" y="2292"/>
                    </a:lnTo>
                    <a:lnTo>
                      <a:pt x="5410" y="2292"/>
                    </a:lnTo>
                    <a:lnTo>
                      <a:pt x="5410" y="2292"/>
                    </a:lnTo>
                    <a:close/>
                    <a:moveTo>
                      <a:pt x="2285" y="2292"/>
                    </a:moveTo>
                    <a:lnTo>
                      <a:pt x="2289" y="2292"/>
                    </a:lnTo>
                    <a:lnTo>
                      <a:pt x="2285" y="2292"/>
                    </a:lnTo>
                    <a:lnTo>
                      <a:pt x="2285" y="2292"/>
                    </a:lnTo>
                    <a:lnTo>
                      <a:pt x="2285" y="2292"/>
                    </a:lnTo>
                    <a:close/>
                    <a:moveTo>
                      <a:pt x="2306" y="2308"/>
                    </a:moveTo>
                    <a:lnTo>
                      <a:pt x="2301" y="2308"/>
                    </a:lnTo>
                    <a:lnTo>
                      <a:pt x="2301" y="2303"/>
                    </a:lnTo>
                    <a:lnTo>
                      <a:pt x="2306" y="2308"/>
                    </a:lnTo>
                    <a:lnTo>
                      <a:pt x="2306" y="2308"/>
                    </a:lnTo>
                    <a:lnTo>
                      <a:pt x="2306" y="2308"/>
                    </a:lnTo>
                    <a:close/>
                    <a:moveTo>
                      <a:pt x="2289" y="2308"/>
                    </a:moveTo>
                    <a:lnTo>
                      <a:pt x="2285" y="2303"/>
                    </a:lnTo>
                    <a:lnTo>
                      <a:pt x="2289" y="2303"/>
                    </a:lnTo>
                    <a:lnTo>
                      <a:pt x="2289" y="2308"/>
                    </a:lnTo>
                    <a:lnTo>
                      <a:pt x="2289" y="2308"/>
                    </a:lnTo>
                    <a:lnTo>
                      <a:pt x="2289" y="2308"/>
                    </a:lnTo>
                    <a:close/>
                    <a:moveTo>
                      <a:pt x="2322" y="2308"/>
                    </a:moveTo>
                    <a:lnTo>
                      <a:pt x="2322" y="2337"/>
                    </a:lnTo>
                    <a:lnTo>
                      <a:pt x="2306" y="2320"/>
                    </a:lnTo>
                    <a:lnTo>
                      <a:pt x="2322" y="2308"/>
                    </a:lnTo>
                    <a:lnTo>
                      <a:pt x="2322" y="2308"/>
                    </a:lnTo>
                    <a:lnTo>
                      <a:pt x="2322" y="2308"/>
                    </a:lnTo>
                    <a:close/>
                    <a:moveTo>
                      <a:pt x="5436" y="2337"/>
                    </a:moveTo>
                    <a:lnTo>
                      <a:pt x="5415" y="2337"/>
                    </a:lnTo>
                    <a:lnTo>
                      <a:pt x="5431" y="2325"/>
                    </a:lnTo>
                    <a:lnTo>
                      <a:pt x="5448" y="2337"/>
                    </a:lnTo>
                    <a:lnTo>
                      <a:pt x="5436" y="2337"/>
                    </a:lnTo>
                    <a:lnTo>
                      <a:pt x="5436" y="2337"/>
                    </a:lnTo>
                    <a:lnTo>
                      <a:pt x="5436" y="2337"/>
                    </a:lnTo>
                    <a:close/>
                    <a:moveTo>
                      <a:pt x="2339" y="2337"/>
                    </a:moveTo>
                    <a:lnTo>
                      <a:pt x="2339" y="2341"/>
                    </a:lnTo>
                    <a:lnTo>
                      <a:pt x="2339" y="2337"/>
                    </a:lnTo>
                    <a:lnTo>
                      <a:pt x="2339" y="2337"/>
                    </a:lnTo>
                    <a:lnTo>
                      <a:pt x="2339" y="2337"/>
                    </a:lnTo>
                    <a:close/>
                    <a:moveTo>
                      <a:pt x="2344" y="2341"/>
                    </a:moveTo>
                    <a:lnTo>
                      <a:pt x="2360" y="2358"/>
                    </a:lnTo>
                    <a:lnTo>
                      <a:pt x="2344" y="2358"/>
                    </a:lnTo>
                    <a:lnTo>
                      <a:pt x="2344" y="2341"/>
                    </a:lnTo>
                    <a:lnTo>
                      <a:pt x="2344" y="2341"/>
                    </a:lnTo>
                    <a:lnTo>
                      <a:pt x="2344" y="2341"/>
                    </a:lnTo>
                    <a:close/>
                    <a:moveTo>
                      <a:pt x="5474" y="2358"/>
                    </a:moveTo>
                    <a:lnTo>
                      <a:pt x="5500" y="2346"/>
                    </a:lnTo>
                    <a:lnTo>
                      <a:pt x="5516" y="2346"/>
                    </a:lnTo>
                    <a:lnTo>
                      <a:pt x="5490" y="2363"/>
                    </a:lnTo>
                    <a:lnTo>
                      <a:pt x="5474" y="2358"/>
                    </a:lnTo>
                    <a:lnTo>
                      <a:pt x="5474" y="2358"/>
                    </a:lnTo>
                    <a:lnTo>
                      <a:pt x="5474" y="2358"/>
                    </a:lnTo>
                    <a:close/>
                    <a:moveTo>
                      <a:pt x="5474" y="2363"/>
                    </a:moveTo>
                    <a:lnTo>
                      <a:pt x="5462" y="2358"/>
                    </a:lnTo>
                    <a:lnTo>
                      <a:pt x="5474" y="2363"/>
                    </a:lnTo>
                    <a:lnTo>
                      <a:pt x="5474" y="2363"/>
                    </a:lnTo>
                    <a:lnTo>
                      <a:pt x="5474" y="2363"/>
                    </a:lnTo>
                    <a:close/>
                    <a:moveTo>
                      <a:pt x="5462" y="2363"/>
                    </a:moveTo>
                    <a:lnTo>
                      <a:pt x="5469" y="2374"/>
                    </a:lnTo>
                    <a:lnTo>
                      <a:pt x="5462" y="2363"/>
                    </a:lnTo>
                    <a:lnTo>
                      <a:pt x="5462" y="2363"/>
                    </a:lnTo>
                    <a:lnTo>
                      <a:pt x="5462" y="2363"/>
                    </a:lnTo>
                    <a:close/>
                    <a:moveTo>
                      <a:pt x="2306" y="2363"/>
                    </a:moveTo>
                    <a:lnTo>
                      <a:pt x="2322" y="2374"/>
                    </a:lnTo>
                    <a:lnTo>
                      <a:pt x="2318" y="2379"/>
                    </a:lnTo>
                    <a:lnTo>
                      <a:pt x="2306" y="2363"/>
                    </a:lnTo>
                    <a:lnTo>
                      <a:pt x="2306" y="2363"/>
                    </a:lnTo>
                    <a:lnTo>
                      <a:pt x="2306" y="2363"/>
                    </a:lnTo>
                    <a:close/>
                    <a:moveTo>
                      <a:pt x="5192" y="2429"/>
                    </a:moveTo>
                    <a:lnTo>
                      <a:pt x="5200" y="2436"/>
                    </a:lnTo>
                    <a:lnTo>
                      <a:pt x="5192" y="2436"/>
                    </a:lnTo>
                    <a:lnTo>
                      <a:pt x="5192" y="2429"/>
                    </a:lnTo>
                    <a:lnTo>
                      <a:pt x="5192" y="2429"/>
                    </a:lnTo>
                    <a:lnTo>
                      <a:pt x="5192" y="2429"/>
                    </a:lnTo>
                    <a:close/>
                    <a:moveTo>
                      <a:pt x="5204" y="2448"/>
                    </a:moveTo>
                    <a:lnTo>
                      <a:pt x="5221" y="2452"/>
                    </a:lnTo>
                    <a:lnTo>
                      <a:pt x="5192" y="2436"/>
                    </a:lnTo>
                    <a:lnTo>
                      <a:pt x="5204" y="2448"/>
                    </a:lnTo>
                    <a:lnTo>
                      <a:pt x="5204" y="2448"/>
                    </a:lnTo>
                    <a:lnTo>
                      <a:pt x="5204" y="2448"/>
                    </a:lnTo>
                    <a:close/>
                    <a:moveTo>
                      <a:pt x="4070" y="2457"/>
                    </a:moveTo>
                    <a:lnTo>
                      <a:pt x="4066" y="2469"/>
                    </a:lnTo>
                    <a:lnTo>
                      <a:pt x="4049" y="2452"/>
                    </a:lnTo>
                    <a:lnTo>
                      <a:pt x="4070" y="2457"/>
                    </a:lnTo>
                    <a:lnTo>
                      <a:pt x="4070" y="2457"/>
                    </a:lnTo>
                    <a:lnTo>
                      <a:pt x="4070" y="2457"/>
                    </a:lnTo>
                    <a:close/>
                    <a:moveTo>
                      <a:pt x="5523" y="2457"/>
                    </a:moveTo>
                    <a:lnTo>
                      <a:pt x="5528" y="2457"/>
                    </a:lnTo>
                    <a:lnTo>
                      <a:pt x="5507" y="2457"/>
                    </a:lnTo>
                    <a:lnTo>
                      <a:pt x="5523" y="2457"/>
                    </a:lnTo>
                    <a:lnTo>
                      <a:pt x="5523" y="2457"/>
                    </a:lnTo>
                    <a:lnTo>
                      <a:pt x="5523" y="2457"/>
                    </a:lnTo>
                    <a:close/>
                    <a:moveTo>
                      <a:pt x="4000" y="2485"/>
                    </a:moveTo>
                    <a:lnTo>
                      <a:pt x="4016" y="2502"/>
                    </a:lnTo>
                    <a:lnTo>
                      <a:pt x="4016" y="2514"/>
                    </a:lnTo>
                    <a:lnTo>
                      <a:pt x="4054" y="2523"/>
                    </a:lnTo>
                    <a:lnTo>
                      <a:pt x="4044" y="2530"/>
                    </a:lnTo>
                    <a:lnTo>
                      <a:pt x="4011" y="2530"/>
                    </a:lnTo>
                    <a:lnTo>
                      <a:pt x="4016" y="2514"/>
                    </a:lnTo>
                    <a:lnTo>
                      <a:pt x="3990" y="2514"/>
                    </a:lnTo>
                    <a:lnTo>
                      <a:pt x="3990" y="2502"/>
                    </a:lnTo>
                    <a:lnTo>
                      <a:pt x="3974" y="2485"/>
                    </a:lnTo>
                    <a:lnTo>
                      <a:pt x="3962" y="2474"/>
                    </a:lnTo>
                    <a:lnTo>
                      <a:pt x="4000" y="2485"/>
                    </a:lnTo>
                    <a:lnTo>
                      <a:pt x="4000" y="2485"/>
                    </a:lnTo>
                    <a:lnTo>
                      <a:pt x="4000" y="2485"/>
                    </a:lnTo>
                    <a:close/>
                    <a:moveTo>
                      <a:pt x="3936" y="2490"/>
                    </a:moveTo>
                    <a:lnTo>
                      <a:pt x="3957" y="2523"/>
                    </a:lnTo>
                    <a:lnTo>
                      <a:pt x="3945" y="2540"/>
                    </a:lnTo>
                    <a:lnTo>
                      <a:pt x="3919" y="2514"/>
                    </a:lnTo>
                    <a:lnTo>
                      <a:pt x="3919" y="2490"/>
                    </a:lnTo>
                    <a:lnTo>
                      <a:pt x="3936" y="2490"/>
                    </a:lnTo>
                    <a:lnTo>
                      <a:pt x="3936" y="2490"/>
                    </a:lnTo>
                    <a:lnTo>
                      <a:pt x="3936" y="2490"/>
                    </a:lnTo>
                    <a:close/>
                    <a:moveTo>
                      <a:pt x="5528" y="2502"/>
                    </a:moveTo>
                    <a:lnTo>
                      <a:pt x="5528" y="2507"/>
                    </a:lnTo>
                    <a:lnTo>
                      <a:pt x="5523" y="2490"/>
                    </a:lnTo>
                    <a:lnTo>
                      <a:pt x="5528" y="2502"/>
                    </a:lnTo>
                    <a:lnTo>
                      <a:pt x="5528" y="2502"/>
                    </a:lnTo>
                    <a:lnTo>
                      <a:pt x="5528" y="2502"/>
                    </a:lnTo>
                    <a:close/>
                    <a:moveTo>
                      <a:pt x="4264" y="2745"/>
                    </a:moveTo>
                    <a:lnTo>
                      <a:pt x="4205" y="2785"/>
                    </a:lnTo>
                    <a:lnTo>
                      <a:pt x="4134" y="2762"/>
                    </a:lnTo>
                    <a:lnTo>
                      <a:pt x="4104" y="2762"/>
                    </a:lnTo>
                    <a:lnTo>
                      <a:pt x="4104" y="2752"/>
                    </a:lnTo>
                    <a:lnTo>
                      <a:pt x="4108" y="2745"/>
                    </a:lnTo>
                    <a:lnTo>
                      <a:pt x="4108" y="2729"/>
                    </a:lnTo>
                    <a:lnTo>
                      <a:pt x="4066" y="2729"/>
                    </a:lnTo>
                    <a:lnTo>
                      <a:pt x="4054" y="2724"/>
                    </a:lnTo>
                    <a:lnTo>
                      <a:pt x="4070" y="2707"/>
                    </a:lnTo>
                    <a:lnTo>
                      <a:pt x="4066" y="2696"/>
                    </a:lnTo>
                    <a:lnTo>
                      <a:pt x="4028" y="2712"/>
                    </a:lnTo>
                    <a:lnTo>
                      <a:pt x="4016" y="2724"/>
                    </a:lnTo>
                    <a:lnTo>
                      <a:pt x="4028" y="2729"/>
                    </a:lnTo>
                    <a:lnTo>
                      <a:pt x="4028" y="2745"/>
                    </a:lnTo>
                    <a:lnTo>
                      <a:pt x="3978" y="2769"/>
                    </a:lnTo>
                    <a:lnTo>
                      <a:pt x="3957" y="2802"/>
                    </a:lnTo>
                    <a:lnTo>
                      <a:pt x="3910" y="2823"/>
                    </a:lnTo>
                    <a:lnTo>
                      <a:pt x="3886" y="2818"/>
                    </a:lnTo>
                    <a:lnTo>
                      <a:pt x="3881" y="2790"/>
                    </a:lnTo>
                    <a:lnTo>
                      <a:pt x="3886" y="2762"/>
                    </a:lnTo>
                    <a:lnTo>
                      <a:pt x="3881" y="2752"/>
                    </a:lnTo>
                    <a:lnTo>
                      <a:pt x="3818" y="2762"/>
                    </a:lnTo>
                    <a:lnTo>
                      <a:pt x="3796" y="2778"/>
                    </a:lnTo>
                    <a:lnTo>
                      <a:pt x="3773" y="2762"/>
                    </a:lnTo>
                    <a:lnTo>
                      <a:pt x="3796" y="2729"/>
                    </a:lnTo>
                    <a:lnTo>
                      <a:pt x="3839" y="2712"/>
                    </a:lnTo>
                    <a:lnTo>
                      <a:pt x="3834" y="2674"/>
                    </a:lnTo>
                    <a:lnTo>
                      <a:pt x="3834" y="2651"/>
                    </a:lnTo>
                    <a:lnTo>
                      <a:pt x="3848" y="2625"/>
                    </a:lnTo>
                    <a:lnTo>
                      <a:pt x="3839" y="2613"/>
                    </a:lnTo>
                    <a:lnTo>
                      <a:pt x="3848" y="2596"/>
                    </a:lnTo>
                    <a:lnTo>
                      <a:pt x="3848" y="2563"/>
                    </a:lnTo>
                    <a:lnTo>
                      <a:pt x="3855" y="2514"/>
                    </a:lnTo>
                    <a:lnTo>
                      <a:pt x="3893" y="2502"/>
                    </a:lnTo>
                    <a:lnTo>
                      <a:pt x="3893" y="2514"/>
                    </a:lnTo>
                    <a:lnTo>
                      <a:pt x="3919" y="2514"/>
                    </a:lnTo>
                    <a:lnTo>
                      <a:pt x="3924" y="2530"/>
                    </a:lnTo>
                    <a:lnTo>
                      <a:pt x="3903" y="2540"/>
                    </a:lnTo>
                    <a:lnTo>
                      <a:pt x="3924" y="2556"/>
                    </a:lnTo>
                    <a:lnTo>
                      <a:pt x="3936" y="2580"/>
                    </a:lnTo>
                    <a:lnTo>
                      <a:pt x="3941" y="2580"/>
                    </a:lnTo>
                    <a:lnTo>
                      <a:pt x="3957" y="2547"/>
                    </a:lnTo>
                    <a:lnTo>
                      <a:pt x="3962" y="2556"/>
                    </a:lnTo>
                    <a:lnTo>
                      <a:pt x="3990" y="2563"/>
                    </a:lnTo>
                    <a:lnTo>
                      <a:pt x="3978" y="2568"/>
                    </a:lnTo>
                    <a:lnTo>
                      <a:pt x="3990" y="2580"/>
                    </a:lnTo>
                    <a:lnTo>
                      <a:pt x="4044" y="2585"/>
                    </a:lnTo>
                    <a:lnTo>
                      <a:pt x="4054" y="2613"/>
                    </a:lnTo>
                    <a:lnTo>
                      <a:pt x="4125" y="2641"/>
                    </a:lnTo>
                    <a:lnTo>
                      <a:pt x="4158" y="2667"/>
                    </a:lnTo>
                    <a:lnTo>
                      <a:pt x="4158" y="2691"/>
                    </a:lnTo>
                    <a:lnTo>
                      <a:pt x="4163" y="2707"/>
                    </a:lnTo>
                    <a:lnTo>
                      <a:pt x="4141" y="2724"/>
                    </a:lnTo>
                    <a:lnTo>
                      <a:pt x="4179" y="2712"/>
                    </a:lnTo>
                    <a:lnTo>
                      <a:pt x="4210" y="2724"/>
                    </a:lnTo>
                    <a:lnTo>
                      <a:pt x="4210" y="2712"/>
                    </a:lnTo>
                    <a:lnTo>
                      <a:pt x="4217" y="2707"/>
                    </a:lnTo>
                    <a:lnTo>
                      <a:pt x="4243" y="2724"/>
                    </a:lnTo>
                    <a:lnTo>
                      <a:pt x="4243" y="2729"/>
                    </a:lnTo>
                    <a:lnTo>
                      <a:pt x="4243" y="2736"/>
                    </a:lnTo>
                    <a:lnTo>
                      <a:pt x="4264" y="2745"/>
                    </a:lnTo>
                    <a:lnTo>
                      <a:pt x="4264" y="2745"/>
                    </a:lnTo>
                    <a:lnTo>
                      <a:pt x="4264" y="2745"/>
                    </a:lnTo>
                    <a:close/>
                    <a:moveTo>
                      <a:pt x="4044" y="2507"/>
                    </a:moveTo>
                    <a:lnTo>
                      <a:pt x="4028" y="2507"/>
                    </a:lnTo>
                    <a:lnTo>
                      <a:pt x="4049" y="2507"/>
                    </a:lnTo>
                    <a:lnTo>
                      <a:pt x="4044" y="2507"/>
                    </a:lnTo>
                    <a:lnTo>
                      <a:pt x="4044" y="2507"/>
                    </a:lnTo>
                    <a:lnTo>
                      <a:pt x="4044" y="2507"/>
                    </a:lnTo>
                    <a:close/>
                    <a:moveTo>
                      <a:pt x="5523" y="2523"/>
                    </a:moveTo>
                    <a:lnTo>
                      <a:pt x="5528" y="2530"/>
                    </a:lnTo>
                    <a:lnTo>
                      <a:pt x="5523" y="2530"/>
                    </a:lnTo>
                    <a:lnTo>
                      <a:pt x="5507" y="2523"/>
                    </a:lnTo>
                    <a:lnTo>
                      <a:pt x="5523" y="2523"/>
                    </a:lnTo>
                    <a:lnTo>
                      <a:pt x="5523" y="2523"/>
                    </a:lnTo>
                    <a:lnTo>
                      <a:pt x="5523" y="2523"/>
                    </a:lnTo>
                    <a:close/>
                    <a:moveTo>
                      <a:pt x="5485" y="2530"/>
                    </a:moveTo>
                    <a:lnTo>
                      <a:pt x="5490" y="2540"/>
                    </a:lnTo>
                    <a:lnTo>
                      <a:pt x="5474" y="2540"/>
                    </a:lnTo>
                    <a:lnTo>
                      <a:pt x="5485" y="2530"/>
                    </a:lnTo>
                    <a:lnTo>
                      <a:pt x="5485" y="2530"/>
                    </a:lnTo>
                    <a:lnTo>
                      <a:pt x="5485" y="2530"/>
                    </a:lnTo>
                    <a:close/>
                    <a:moveTo>
                      <a:pt x="5452" y="2568"/>
                    </a:moveTo>
                    <a:lnTo>
                      <a:pt x="5462" y="2568"/>
                    </a:lnTo>
                    <a:lnTo>
                      <a:pt x="5448" y="2568"/>
                    </a:lnTo>
                    <a:lnTo>
                      <a:pt x="5452" y="2568"/>
                    </a:lnTo>
                    <a:lnTo>
                      <a:pt x="5452" y="2568"/>
                    </a:lnTo>
                    <a:lnTo>
                      <a:pt x="5452" y="2568"/>
                    </a:lnTo>
                    <a:close/>
                    <a:moveTo>
                      <a:pt x="5448" y="2613"/>
                    </a:moveTo>
                    <a:lnTo>
                      <a:pt x="5452" y="2618"/>
                    </a:lnTo>
                    <a:lnTo>
                      <a:pt x="5436" y="2613"/>
                    </a:lnTo>
                    <a:lnTo>
                      <a:pt x="5448" y="2613"/>
                    </a:lnTo>
                    <a:lnTo>
                      <a:pt x="5448" y="2613"/>
                    </a:lnTo>
                    <a:lnTo>
                      <a:pt x="5448" y="2613"/>
                    </a:lnTo>
                    <a:close/>
                    <a:moveTo>
                      <a:pt x="5313" y="2641"/>
                    </a:moveTo>
                    <a:lnTo>
                      <a:pt x="5313" y="2651"/>
                    </a:lnTo>
                    <a:lnTo>
                      <a:pt x="5301" y="2667"/>
                    </a:lnTo>
                    <a:lnTo>
                      <a:pt x="5285" y="2667"/>
                    </a:lnTo>
                    <a:lnTo>
                      <a:pt x="5301" y="2641"/>
                    </a:lnTo>
                    <a:lnTo>
                      <a:pt x="5313" y="2641"/>
                    </a:lnTo>
                    <a:lnTo>
                      <a:pt x="5313" y="2641"/>
                    </a:lnTo>
                    <a:lnTo>
                      <a:pt x="5313" y="2641"/>
                    </a:lnTo>
                    <a:close/>
                    <a:moveTo>
                      <a:pt x="4734" y="2658"/>
                    </a:moveTo>
                    <a:lnTo>
                      <a:pt x="4729" y="2679"/>
                    </a:lnTo>
                    <a:lnTo>
                      <a:pt x="4718" y="2679"/>
                    </a:lnTo>
                    <a:lnTo>
                      <a:pt x="4729" y="2667"/>
                    </a:lnTo>
                    <a:lnTo>
                      <a:pt x="4718" y="2658"/>
                    </a:lnTo>
                    <a:lnTo>
                      <a:pt x="4734" y="2658"/>
                    </a:lnTo>
                    <a:lnTo>
                      <a:pt x="4734" y="2658"/>
                    </a:lnTo>
                    <a:lnTo>
                      <a:pt x="4734" y="2658"/>
                    </a:lnTo>
                    <a:close/>
                    <a:moveTo>
                      <a:pt x="4680" y="2658"/>
                    </a:moveTo>
                    <a:lnTo>
                      <a:pt x="4692" y="2667"/>
                    </a:lnTo>
                    <a:lnTo>
                      <a:pt x="4675" y="2658"/>
                    </a:lnTo>
                    <a:lnTo>
                      <a:pt x="4680" y="2658"/>
                    </a:lnTo>
                    <a:lnTo>
                      <a:pt x="4680" y="2658"/>
                    </a:lnTo>
                    <a:lnTo>
                      <a:pt x="4680" y="2658"/>
                    </a:lnTo>
                    <a:close/>
                    <a:moveTo>
                      <a:pt x="4718" y="2667"/>
                    </a:moveTo>
                    <a:lnTo>
                      <a:pt x="4713" y="2674"/>
                    </a:lnTo>
                    <a:lnTo>
                      <a:pt x="4718" y="2667"/>
                    </a:lnTo>
                    <a:lnTo>
                      <a:pt x="4718" y="2667"/>
                    </a:lnTo>
                    <a:lnTo>
                      <a:pt x="4718" y="2667"/>
                    </a:lnTo>
                    <a:close/>
                    <a:moveTo>
                      <a:pt x="4675" y="2667"/>
                    </a:moveTo>
                    <a:lnTo>
                      <a:pt x="4692" y="2674"/>
                    </a:lnTo>
                    <a:lnTo>
                      <a:pt x="4663" y="2667"/>
                    </a:lnTo>
                    <a:lnTo>
                      <a:pt x="4675" y="2667"/>
                    </a:lnTo>
                    <a:lnTo>
                      <a:pt x="4675" y="2667"/>
                    </a:lnTo>
                    <a:lnTo>
                      <a:pt x="4675" y="2667"/>
                    </a:lnTo>
                    <a:close/>
                    <a:moveTo>
                      <a:pt x="5339" y="2674"/>
                    </a:moveTo>
                    <a:lnTo>
                      <a:pt x="5344" y="2679"/>
                    </a:lnTo>
                    <a:lnTo>
                      <a:pt x="5339" y="2691"/>
                    </a:lnTo>
                    <a:lnTo>
                      <a:pt x="5327" y="2674"/>
                    </a:lnTo>
                    <a:lnTo>
                      <a:pt x="5339" y="2674"/>
                    </a:lnTo>
                    <a:lnTo>
                      <a:pt x="5339" y="2674"/>
                    </a:lnTo>
                    <a:lnTo>
                      <a:pt x="5339" y="2674"/>
                    </a:lnTo>
                    <a:close/>
                    <a:moveTo>
                      <a:pt x="4718" y="2674"/>
                    </a:moveTo>
                    <a:lnTo>
                      <a:pt x="4718" y="2691"/>
                    </a:lnTo>
                    <a:lnTo>
                      <a:pt x="4713" y="2679"/>
                    </a:lnTo>
                    <a:lnTo>
                      <a:pt x="4718" y="2674"/>
                    </a:lnTo>
                    <a:lnTo>
                      <a:pt x="4718" y="2674"/>
                    </a:lnTo>
                    <a:lnTo>
                      <a:pt x="4718" y="2674"/>
                    </a:lnTo>
                    <a:close/>
                    <a:moveTo>
                      <a:pt x="4701" y="2679"/>
                    </a:moveTo>
                    <a:lnTo>
                      <a:pt x="4701" y="2691"/>
                    </a:lnTo>
                    <a:lnTo>
                      <a:pt x="4701" y="2679"/>
                    </a:lnTo>
                    <a:lnTo>
                      <a:pt x="4701" y="2679"/>
                    </a:lnTo>
                    <a:lnTo>
                      <a:pt x="4701" y="2679"/>
                    </a:lnTo>
                    <a:close/>
                    <a:moveTo>
                      <a:pt x="5327" y="2679"/>
                    </a:moveTo>
                    <a:lnTo>
                      <a:pt x="5339" y="2691"/>
                    </a:lnTo>
                    <a:lnTo>
                      <a:pt x="5327" y="2696"/>
                    </a:lnTo>
                    <a:lnTo>
                      <a:pt x="5322" y="2679"/>
                    </a:lnTo>
                    <a:lnTo>
                      <a:pt x="5327" y="2679"/>
                    </a:lnTo>
                    <a:lnTo>
                      <a:pt x="5327" y="2679"/>
                    </a:lnTo>
                    <a:lnTo>
                      <a:pt x="5327" y="2679"/>
                    </a:lnTo>
                    <a:close/>
                    <a:moveTo>
                      <a:pt x="4583" y="2679"/>
                    </a:moveTo>
                    <a:lnTo>
                      <a:pt x="4595" y="2679"/>
                    </a:lnTo>
                    <a:lnTo>
                      <a:pt x="4583" y="2691"/>
                    </a:lnTo>
                    <a:lnTo>
                      <a:pt x="4583" y="2679"/>
                    </a:lnTo>
                    <a:lnTo>
                      <a:pt x="4583" y="2679"/>
                    </a:lnTo>
                    <a:lnTo>
                      <a:pt x="4583" y="2679"/>
                    </a:lnTo>
                    <a:close/>
                    <a:moveTo>
                      <a:pt x="5360" y="2691"/>
                    </a:moveTo>
                    <a:lnTo>
                      <a:pt x="5365" y="2696"/>
                    </a:lnTo>
                    <a:lnTo>
                      <a:pt x="5355" y="2691"/>
                    </a:lnTo>
                    <a:lnTo>
                      <a:pt x="5360" y="2691"/>
                    </a:lnTo>
                    <a:lnTo>
                      <a:pt x="5360" y="2691"/>
                    </a:lnTo>
                    <a:lnTo>
                      <a:pt x="5360" y="2691"/>
                    </a:lnTo>
                    <a:close/>
                    <a:moveTo>
                      <a:pt x="5365" y="2707"/>
                    </a:moveTo>
                    <a:lnTo>
                      <a:pt x="5360" y="2707"/>
                    </a:lnTo>
                    <a:lnTo>
                      <a:pt x="5365" y="2707"/>
                    </a:lnTo>
                    <a:lnTo>
                      <a:pt x="5365" y="2707"/>
                    </a:lnTo>
                    <a:lnTo>
                      <a:pt x="5365" y="2707"/>
                    </a:lnTo>
                    <a:close/>
                    <a:moveTo>
                      <a:pt x="5327" y="2707"/>
                    </a:moveTo>
                    <a:lnTo>
                      <a:pt x="5339" y="2712"/>
                    </a:lnTo>
                    <a:lnTo>
                      <a:pt x="5327" y="2707"/>
                    </a:lnTo>
                    <a:lnTo>
                      <a:pt x="5327" y="2707"/>
                    </a:lnTo>
                    <a:lnTo>
                      <a:pt x="5327" y="2707"/>
                    </a:lnTo>
                    <a:close/>
                    <a:moveTo>
                      <a:pt x="4444" y="2724"/>
                    </a:moveTo>
                    <a:lnTo>
                      <a:pt x="4432" y="2729"/>
                    </a:lnTo>
                    <a:lnTo>
                      <a:pt x="4422" y="2724"/>
                    </a:lnTo>
                    <a:lnTo>
                      <a:pt x="4448" y="2724"/>
                    </a:lnTo>
                    <a:lnTo>
                      <a:pt x="4444" y="2724"/>
                    </a:lnTo>
                    <a:lnTo>
                      <a:pt x="4444" y="2724"/>
                    </a:lnTo>
                    <a:lnTo>
                      <a:pt x="4444" y="2724"/>
                    </a:lnTo>
                    <a:close/>
                    <a:moveTo>
                      <a:pt x="5360" y="2736"/>
                    </a:moveTo>
                    <a:lnTo>
                      <a:pt x="5360" y="2745"/>
                    </a:lnTo>
                    <a:lnTo>
                      <a:pt x="5365" y="2745"/>
                    </a:lnTo>
                    <a:lnTo>
                      <a:pt x="5377" y="2752"/>
                    </a:lnTo>
                    <a:lnTo>
                      <a:pt x="5339" y="2745"/>
                    </a:lnTo>
                    <a:lnTo>
                      <a:pt x="5360" y="2736"/>
                    </a:lnTo>
                    <a:lnTo>
                      <a:pt x="5360" y="2736"/>
                    </a:lnTo>
                    <a:lnTo>
                      <a:pt x="5360" y="2736"/>
                    </a:lnTo>
                    <a:close/>
                    <a:moveTo>
                      <a:pt x="5377" y="2736"/>
                    </a:moveTo>
                    <a:lnTo>
                      <a:pt x="5393" y="2736"/>
                    </a:lnTo>
                    <a:lnTo>
                      <a:pt x="5393" y="2745"/>
                    </a:lnTo>
                    <a:lnTo>
                      <a:pt x="5377" y="2736"/>
                    </a:lnTo>
                    <a:lnTo>
                      <a:pt x="5377" y="2736"/>
                    </a:lnTo>
                    <a:lnTo>
                      <a:pt x="5377" y="2736"/>
                    </a:lnTo>
                    <a:close/>
                    <a:moveTo>
                      <a:pt x="5377" y="2745"/>
                    </a:moveTo>
                    <a:lnTo>
                      <a:pt x="5381" y="2752"/>
                    </a:lnTo>
                    <a:lnTo>
                      <a:pt x="5377" y="2752"/>
                    </a:lnTo>
                    <a:lnTo>
                      <a:pt x="5377" y="2745"/>
                    </a:lnTo>
                    <a:lnTo>
                      <a:pt x="5377" y="2745"/>
                    </a:lnTo>
                    <a:lnTo>
                      <a:pt x="5377" y="2745"/>
                    </a:lnTo>
                    <a:close/>
                    <a:moveTo>
                      <a:pt x="4789" y="2752"/>
                    </a:moveTo>
                    <a:lnTo>
                      <a:pt x="4798" y="2752"/>
                    </a:lnTo>
                    <a:lnTo>
                      <a:pt x="4789" y="2752"/>
                    </a:lnTo>
                    <a:lnTo>
                      <a:pt x="4789" y="2752"/>
                    </a:lnTo>
                    <a:lnTo>
                      <a:pt x="4789" y="2752"/>
                    </a:lnTo>
                    <a:close/>
                    <a:moveTo>
                      <a:pt x="4512" y="2785"/>
                    </a:moveTo>
                    <a:lnTo>
                      <a:pt x="4519" y="2785"/>
                    </a:lnTo>
                    <a:lnTo>
                      <a:pt x="4512" y="2790"/>
                    </a:lnTo>
                    <a:lnTo>
                      <a:pt x="4486" y="2790"/>
                    </a:lnTo>
                    <a:lnTo>
                      <a:pt x="4460" y="2762"/>
                    </a:lnTo>
                    <a:lnTo>
                      <a:pt x="4481" y="2762"/>
                    </a:lnTo>
                    <a:lnTo>
                      <a:pt x="4512" y="2769"/>
                    </a:lnTo>
                    <a:lnTo>
                      <a:pt x="4512" y="2785"/>
                    </a:lnTo>
                    <a:lnTo>
                      <a:pt x="4512" y="2785"/>
                    </a:lnTo>
                    <a:lnTo>
                      <a:pt x="4512" y="2785"/>
                    </a:lnTo>
                    <a:close/>
                    <a:moveTo>
                      <a:pt x="5377" y="2762"/>
                    </a:moveTo>
                    <a:lnTo>
                      <a:pt x="5381" y="2785"/>
                    </a:lnTo>
                    <a:lnTo>
                      <a:pt x="5398" y="2807"/>
                    </a:lnTo>
                    <a:lnTo>
                      <a:pt x="5365" y="2785"/>
                    </a:lnTo>
                    <a:lnTo>
                      <a:pt x="5365" y="2769"/>
                    </a:lnTo>
                    <a:lnTo>
                      <a:pt x="5377" y="2762"/>
                    </a:lnTo>
                    <a:lnTo>
                      <a:pt x="5377" y="2762"/>
                    </a:lnTo>
                    <a:lnTo>
                      <a:pt x="5377" y="2762"/>
                    </a:lnTo>
                    <a:close/>
                    <a:moveTo>
                      <a:pt x="5393" y="2762"/>
                    </a:moveTo>
                    <a:lnTo>
                      <a:pt x="5393" y="2785"/>
                    </a:lnTo>
                    <a:lnTo>
                      <a:pt x="5381" y="2769"/>
                    </a:lnTo>
                    <a:lnTo>
                      <a:pt x="5393" y="2762"/>
                    </a:lnTo>
                    <a:lnTo>
                      <a:pt x="5393" y="2762"/>
                    </a:lnTo>
                    <a:lnTo>
                      <a:pt x="5393" y="2762"/>
                    </a:lnTo>
                    <a:close/>
                    <a:moveTo>
                      <a:pt x="3470" y="2769"/>
                    </a:moveTo>
                    <a:lnTo>
                      <a:pt x="3487" y="2769"/>
                    </a:lnTo>
                    <a:lnTo>
                      <a:pt x="3470" y="2769"/>
                    </a:lnTo>
                    <a:lnTo>
                      <a:pt x="3470" y="2769"/>
                    </a:lnTo>
                    <a:lnTo>
                      <a:pt x="3470" y="2769"/>
                    </a:lnTo>
                    <a:close/>
                    <a:moveTo>
                      <a:pt x="4822" y="2769"/>
                    </a:moveTo>
                    <a:lnTo>
                      <a:pt x="4826" y="2778"/>
                    </a:lnTo>
                    <a:lnTo>
                      <a:pt x="4822" y="2778"/>
                    </a:lnTo>
                    <a:lnTo>
                      <a:pt x="4822" y="2769"/>
                    </a:lnTo>
                    <a:lnTo>
                      <a:pt x="4822" y="2769"/>
                    </a:lnTo>
                    <a:lnTo>
                      <a:pt x="4822" y="2769"/>
                    </a:lnTo>
                    <a:close/>
                    <a:moveTo>
                      <a:pt x="5339" y="2778"/>
                    </a:moveTo>
                    <a:lnTo>
                      <a:pt x="5339" y="2790"/>
                    </a:lnTo>
                    <a:lnTo>
                      <a:pt x="5327" y="2778"/>
                    </a:lnTo>
                    <a:lnTo>
                      <a:pt x="5339" y="2778"/>
                    </a:lnTo>
                    <a:lnTo>
                      <a:pt x="5339" y="2778"/>
                    </a:lnTo>
                    <a:lnTo>
                      <a:pt x="5339" y="2778"/>
                    </a:lnTo>
                    <a:close/>
                    <a:moveTo>
                      <a:pt x="4406" y="2778"/>
                    </a:moveTo>
                    <a:lnTo>
                      <a:pt x="4444" y="2785"/>
                    </a:lnTo>
                    <a:lnTo>
                      <a:pt x="4448" y="2807"/>
                    </a:lnTo>
                    <a:lnTo>
                      <a:pt x="4422" y="2823"/>
                    </a:lnTo>
                    <a:lnTo>
                      <a:pt x="4378" y="2785"/>
                    </a:lnTo>
                    <a:lnTo>
                      <a:pt x="4406" y="2778"/>
                    </a:lnTo>
                    <a:lnTo>
                      <a:pt x="4406" y="2778"/>
                    </a:lnTo>
                    <a:lnTo>
                      <a:pt x="4406" y="2778"/>
                    </a:lnTo>
                    <a:close/>
                    <a:moveTo>
                      <a:pt x="5129" y="2807"/>
                    </a:moveTo>
                    <a:lnTo>
                      <a:pt x="5138" y="2818"/>
                    </a:lnTo>
                    <a:lnTo>
                      <a:pt x="5129" y="2807"/>
                    </a:lnTo>
                    <a:lnTo>
                      <a:pt x="5129" y="2807"/>
                    </a:lnTo>
                    <a:lnTo>
                      <a:pt x="5129" y="2807"/>
                    </a:lnTo>
                    <a:close/>
                    <a:moveTo>
                      <a:pt x="5192" y="2823"/>
                    </a:moveTo>
                    <a:lnTo>
                      <a:pt x="5200" y="2840"/>
                    </a:lnTo>
                    <a:lnTo>
                      <a:pt x="5183" y="2823"/>
                    </a:lnTo>
                    <a:lnTo>
                      <a:pt x="5192" y="2823"/>
                    </a:lnTo>
                    <a:lnTo>
                      <a:pt x="5192" y="2823"/>
                    </a:lnTo>
                    <a:lnTo>
                      <a:pt x="5192" y="2823"/>
                    </a:lnTo>
                    <a:close/>
                    <a:moveTo>
                      <a:pt x="4125" y="2840"/>
                    </a:moveTo>
                    <a:lnTo>
                      <a:pt x="4151" y="2847"/>
                    </a:lnTo>
                    <a:lnTo>
                      <a:pt x="4141" y="2873"/>
                    </a:lnTo>
                    <a:lnTo>
                      <a:pt x="4066" y="2929"/>
                    </a:lnTo>
                    <a:lnTo>
                      <a:pt x="4044" y="2918"/>
                    </a:lnTo>
                    <a:lnTo>
                      <a:pt x="4016" y="2934"/>
                    </a:lnTo>
                    <a:lnTo>
                      <a:pt x="4016" y="2913"/>
                    </a:lnTo>
                    <a:lnTo>
                      <a:pt x="4000" y="2901"/>
                    </a:lnTo>
                    <a:lnTo>
                      <a:pt x="4044" y="2847"/>
                    </a:lnTo>
                    <a:lnTo>
                      <a:pt x="4066" y="2856"/>
                    </a:lnTo>
                    <a:lnTo>
                      <a:pt x="4125" y="2840"/>
                    </a:lnTo>
                    <a:lnTo>
                      <a:pt x="4125" y="2840"/>
                    </a:lnTo>
                    <a:lnTo>
                      <a:pt x="4125" y="2840"/>
                    </a:lnTo>
                    <a:close/>
                    <a:moveTo>
                      <a:pt x="5221" y="2847"/>
                    </a:moveTo>
                    <a:lnTo>
                      <a:pt x="5237" y="2856"/>
                    </a:lnTo>
                    <a:lnTo>
                      <a:pt x="5221" y="2847"/>
                    </a:lnTo>
                    <a:lnTo>
                      <a:pt x="5221" y="2847"/>
                    </a:lnTo>
                    <a:lnTo>
                      <a:pt x="5221" y="2847"/>
                    </a:lnTo>
                    <a:close/>
                    <a:moveTo>
                      <a:pt x="4935" y="2863"/>
                    </a:moveTo>
                    <a:lnTo>
                      <a:pt x="4966" y="2880"/>
                    </a:lnTo>
                    <a:lnTo>
                      <a:pt x="4928" y="2889"/>
                    </a:lnTo>
                    <a:lnTo>
                      <a:pt x="4918" y="2863"/>
                    </a:lnTo>
                    <a:lnTo>
                      <a:pt x="4897" y="2856"/>
                    </a:lnTo>
                    <a:lnTo>
                      <a:pt x="4890" y="2847"/>
                    </a:lnTo>
                    <a:lnTo>
                      <a:pt x="4935" y="2863"/>
                    </a:lnTo>
                    <a:lnTo>
                      <a:pt x="4935" y="2863"/>
                    </a:lnTo>
                    <a:lnTo>
                      <a:pt x="4935" y="2863"/>
                    </a:lnTo>
                    <a:close/>
                    <a:moveTo>
                      <a:pt x="4663" y="2863"/>
                    </a:moveTo>
                    <a:lnTo>
                      <a:pt x="4701" y="2880"/>
                    </a:lnTo>
                    <a:lnTo>
                      <a:pt x="4649" y="2863"/>
                    </a:lnTo>
                    <a:lnTo>
                      <a:pt x="4663" y="2863"/>
                    </a:lnTo>
                    <a:lnTo>
                      <a:pt x="4663" y="2863"/>
                    </a:lnTo>
                    <a:lnTo>
                      <a:pt x="4663" y="2863"/>
                    </a:lnTo>
                    <a:close/>
                    <a:moveTo>
                      <a:pt x="4432" y="2880"/>
                    </a:moveTo>
                    <a:lnTo>
                      <a:pt x="4444" y="2880"/>
                    </a:lnTo>
                    <a:lnTo>
                      <a:pt x="4432" y="2889"/>
                    </a:lnTo>
                    <a:lnTo>
                      <a:pt x="4432" y="2880"/>
                    </a:lnTo>
                    <a:lnTo>
                      <a:pt x="4432" y="2880"/>
                    </a:lnTo>
                    <a:lnTo>
                      <a:pt x="4432" y="2880"/>
                    </a:lnTo>
                    <a:close/>
                    <a:moveTo>
                      <a:pt x="4422" y="2880"/>
                    </a:moveTo>
                    <a:lnTo>
                      <a:pt x="4427" y="2889"/>
                    </a:lnTo>
                    <a:lnTo>
                      <a:pt x="4411" y="2889"/>
                    </a:lnTo>
                    <a:lnTo>
                      <a:pt x="4422" y="2880"/>
                    </a:lnTo>
                    <a:lnTo>
                      <a:pt x="4422" y="2880"/>
                    </a:lnTo>
                    <a:lnTo>
                      <a:pt x="4422" y="2880"/>
                    </a:lnTo>
                    <a:close/>
                    <a:moveTo>
                      <a:pt x="5377" y="2889"/>
                    </a:moveTo>
                    <a:lnTo>
                      <a:pt x="5360" y="2901"/>
                    </a:lnTo>
                    <a:lnTo>
                      <a:pt x="5327" y="2896"/>
                    </a:lnTo>
                    <a:lnTo>
                      <a:pt x="5344" y="2889"/>
                    </a:lnTo>
                    <a:lnTo>
                      <a:pt x="5377" y="2889"/>
                    </a:lnTo>
                    <a:lnTo>
                      <a:pt x="5377" y="2889"/>
                    </a:lnTo>
                    <a:lnTo>
                      <a:pt x="5377" y="2889"/>
                    </a:lnTo>
                    <a:close/>
                    <a:moveTo>
                      <a:pt x="4314" y="2967"/>
                    </a:moveTo>
                    <a:lnTo>
                      <a:pt x="4302" y="2991"/>
                    </a:lnTo>
                    <a:lnTo>
                      <a:pt x="4285" y="3000"/>
                    </a:lnTo>
                    <a:lnTo>
                      <a:pt x="4259" y="2967"/>
                    </a:lnTo>
                    <a:lnTo>
                      <a:pt x="4259" y="2934"/>
                    </a:lnTo>
                    <a:lnTo>
                      <a:pt x="4281" y="2901"/>
                    </a:lnTo>
                    <a:lnTo>
                      <a:pt x="4318" y="2901"/>
                    </a:lnTo>
                    <a:lnTo>
                      <a:pt x="4323" y="2918"/>
                    </a:lnTo>
                    <a:lnTo>
                      <a:pt x="4323" y="2929"/>
                    </a:lnTo>
                    <a:lnTo>
                      <a:pt x="4314" y="2967"/>
                    </a:lnTo>
                    <a:lnTo>
                      <a:pt x="4314" y="2967"/>
                    </a:lnTo>
                    <a:lnTo>
                      <a:pt x="4314" y="2967"/>
                    </a:lnTo>
                    <a:close/>
                    <a:moveTo>
                      <a:pt x="5268" y="2934"/>
                    </a:moveTo>
                    <a:lnTo>
                      <a:pt x="5259" y="2934"/>
                    </a:lnTo>
                    <a:lnTo>
                      <a:pt x="5268" y="2929"/>
                    </a:lnTo>
                    <a:lnTo>
                      <a:pt x="5268" y="2934"/>
                    </a:lnTo>
                    <a:lnTo>
                      <a:pt x="5268" y="2934"/>
                    </a:lnTo>
                    <a:lnTo>
                      <a:pt x="5268" y="2934"/>
                    </a:lnTo>
                    <a:close/>
                    <a:moveTo>
                      <a:pt x="5322" y="2955"/>
                    </a:moveTo>
                    <a:lnTo>
                      <a:pt x="5344" y="2974"/>
                    </a:lnTo>
                    <a:lnTo>
                      <a:pt x="5339" y="2974"/>
                    </a:lnTo>
                    <a:lnTo>
                      <a:pt x="5313" y="2955"/>
                    </a:lnTo>
                    <a:lnTo>
                      <a:pt x="5313" y="2951"/>
                    </a:lnTo>
                    <a:lnTo>
                      <a:pt x="5322" y="2955"/>
                    </a:lnTo>
                    <a:lnTo>
                      <a:pt x="5322" y="2955"/>
                    </a:lnTo>
                    <a:lnTo>
                      <a:pt x="5322" y="2955"/>
                    </a:lnTo>
                    <a:close/>
                    <a:moveTo>
                      <a:pt x="3364" y="2967"/>
                    </a:moveTo>
                    <a:lnTo>
                      <a:pt x="3352" y="2955"/>
                    </a:lnTo>
                    <a:lnTo>
                      <a:pt x="3369" y="2955"/>
                    </a:lnTo>
                    <a:lnTo>
                      <a:pt x="3364" y="2967"/>
                    </a:lnTo>
                    <a:lnTo>
                      <a:pt x="3364" y="2967"/>
                    </a:lnTo>
                    <a:lnTo>
                      <a:pt x="3364" y="2967"/>
                    </a:lnTo>
                    <a:close/>
                    <a:moveTo>
                      <a:pt x="5285" y="2967"/>
                    </a:moveTo>
                    <a:lnTo>
                      <a:pt x="5285" y="2974"/>
                    </a:lnTo>
                    <a:lnTo>
                      <a:pt x="5259" y="2974"/>
                    </a:lnTo>
                    <a:lnTo>
                      <a:pt x="5285" y="2967"/>
                    </a:lnTo>
                    <a:lnTo>
                      <a:pt x="5285" y="2967"/>
                    </a:lnTo>
                    <a:lnTo>
                      <a:pt x="5285" y="2967"/>
                    </a:lnTo>
                    <a:close/>
                    <a:moveTo>
                      <a:pt x="5355" y="2991"/>
                    </a:moveTo>
                    <a:lnTo>
                      <a:pt x="5355" y="3000"/>
                    </a:lnTo>
                    <a:lnTo>
                      <a:pt x="5355" y="3007"/>
                    </a:lnTo>
                    <a:lnTo>
                      <a:pt x="5339" y="3024"/>
                    </a:lnTo>
                    <a:lnTo>
                      <a:pt x="5301" y="2991"/>
                    </a:lnTo>
                    <a:lnTo>
                      <a:pt x="5327" y="2984"/>
                    </a:lnTo>
                    <a:lnTo>
                      <a:pt x="5355" y="2991"/>
                    </a:lnTo>
                    <a:lnTo>
                      <a:pt x="5355" y="2991"/>
                    </a:lnTo>
                    <a:lnTo>
                      <a:pt x="5355" y="2991"/>
                    </a:lnTo>
                    <a:close/>
                    <a:moveTo>
                      <a:pt x="4982" y="3057"/>
                    </a:moveTo>
                    <a:lnTo>
                      <a:pt x="4982" y="3062"/>
                    </a:lnTo>
                    <a:lnTo>
                      <a:pt x="4973" y="3057"/>
                    </a:lnTo>
                    <a:lnTo>
                      <a:pt x="4982" y="3057"/>
                    </a:lnTo>
                    <a:lnTo>
                      <a:pt x="4982" y="3057"/>
                    </a:lnTo>
                    <a:lnTo>
                      <a:pt x="4982" y="3057"/>
                    </a:lnTo>
                    <a:close/>
                    <a:moveTo>
                      <a:pt x="5124" y="3111"/>
                    </a:moveTo>
                    <a:lnTo>
                      <a:pt x="5138" y="3118"/>
                    </a:lnTo>
                    <a:lnTo>
                      <a:pt x="5129" y="3123"/>
                    </a:lnTo>
                    <a:lnTo>
                      <a:pt x="5091" y="3140"/>
                    </a:lnTo>
                    <a:lnTo>
                      <a:pt x="5112" y="3100"/>
                    </a:lnTo>
                    <a:lnTo>
                      <a:pt x="5124" y="3111"/>
                    </a:lnTo>
                    <a:lnTo>
                      <a:pt x="5124" y="3111"/>
                    </a:lnTo>
                    <a:lnTo>
                      <a:pt x="5124" y="3111"/>
                    </a:lnTo>
                    <a:close/>
                    <a:moveTo>
                      <a:pt x="5365" y="3123"/>
                    </a:moveTo>
                    <a:lnTo>
                      <a:pt x="5365" y="3135"/>
                    </a:lnTo>
                    <a:lnTo>
                      <a:pt x="5339" y="3118"/>
                    </a:lnTo>
                    <a:lnTo>
                      <a:pt x="5355" y="3118"/>
                    </a:lnTo>
                    <a:lnTo>
                      <a:pt x="5365" y="3123"/>
                    </a:lnTo>
                    <a:lnTo>
                      <a:pt x="5365" y="3123"/>
                    </a:lnTo>
                    <a:lnTo>
                      <a:pt x="5365" y="3123"/>
                    </a:lnTo>
                    <a:close/>
                    <a:moveTo>
                      <a:pt x="4281" y="3177"/>
                    </a:moveTo>
                    <a:lnTo>
                      <a:pt x="4281" y="3189"/>
                    </a:lnTo>
                    <a:lnTo>
                      <a:pt x="4264" y="3194"/>
                    </a:lnTo>
                    <a:lnTo>
                      <a:pt x="4281" y="3177"/>
                    </a:lnTo>
                    <a:lnTo>
                      <a:pt x="4281" y="3177"/>
                    </a:lnTo>
                    <a:lnTo>
                      <a:pt x="4281" y="3177"/>
                    </a:lnTo>
                    <a:close/>
                    <a:moveTo>
                      <a:pt x="5398" y="3177"/>
                    </a:moveTo>
                    <a:lnTo>
                      <a:pt x="5398" y="3194"/>
                    </a:lnTo>
                    <a:lnTo>
                      <a:pt x="5381" y="3194"/>
                    </a:lnTo>
                    <a:lnTo>
                      <a:pt x="5398" y="3177"/>
                    </a:lnTo>
                    <a:lnTo>
                      <a:pt x="5398" y="3177"/>
                    </a:lnTo>
                    <a:lnTo>
                      <a:pt x="5398" y="3177"/>
                    </a:lnTo>
                    <a:close/>
                    <a:moveTo>
                      <a:pt x="4264" y="3206"/>
                    </a:moveTo>
                    <a:lnTo>
                      <a:pt x="4259" y="3206"/>
                    </a:lnTo>
                    <a:lnTo>
                      <a:pt x="4264" y="3194"/>
                    </a:lnTo>
                    <a:lnTo>
                      <a:pt x="4264" y="3206"/>
                    </a:lnTo>
                    <a:lnTo>
                      <a:pt x="4264" y="3206"/>
                    </a:lnTo>
                    <a:lnTo>
                      <a:pt x="4264" y="3206"/>
                    </a:lnTo>
                    <a:close/>
                    <a:moveTo>
                      <a:pt x="5037" y="3263"/>
                    </a:moveTo>
                    <a:lnTo>
                      <a:pt x="5037" y="3279"/>
                    </a:lnTo>
                    <a:lnTo>
                      <a:pt x="5025" y="3279"/>
                    </a:lnTo>
                    <a:lnTo>
                      <a:pt x="5020" y="3263"/>
                    </a:lnTo>
                    <a:lnTo>
                      <a:pt x="5037" y="3263"/>
                    </a:lnTo>
                    <a:lnTo>
                      <a:pt x="5037" y="3263"/>
                    </a:lnTo>
                    <a:lnTo>
                      <a:pt x="5037" y="3263"/>
                    </a:lnTo>
                    <a:close/>
                    <a:moveTo>
                      <a:pt x="4373" y="3305"/>
                    </a:moveTo>
                    <a:lnTo>
                      <a:pt x="4389" y="3322"/>
                    </a:lnTo>
                    <a:lnTo>
                      <a:pt x="4373" y="3317"/>
                    </a:lnTo>
                    <a:lnTo>
                      <a:pt x="4373" y="3305"/>
                    </a:lnTo>
                    <a:lnTo>
                      <a:pt x="4373" y="3305"/>
                    </a:lnTo>
                    <a:lnTo>
                      <a:pt x="4373" y="3305"/>
                    </a:lnTo>
                    <a:close/>
                    <a:moveTo>
                      <a:pt x="5150" y="3338"/>
                    </a:moveTo>
                    <a:lnTo>
                      <a:pt x="5150" y="3350"/>
                    </a:lnTo>
                    <a:lnTo>
                      <a:pt x="5145" y="3350"/>
                    </a:lnTo>
                    <a:lnTo>
                      <a:pt x="5150" y="3338"/>
                    </a:lnTo>
                    <a:lnTo>
                      <a:pt x="5150" y="3338"/>
                    </a:lnTo>
                    <a:lnTo>
                      <a:pt x="5150" y="3338"/>
                    </a:lnTo>
                    <a:close/>
                    <a:moveTo>
                      <a:pt x="5544" y="3395"/>
                    </a:moveTo>
                    <a:lnTo>
                      <a:pt x="5544" y="3407"/>
                    </a:lnTo>
                    <a:lnTo>
                      <a:pt x="5528" y="3395"/>
                    </a:lnTo>
                    <a:lnTo>
                      <a:pt x="5537" y="3390"/>
                    </a:lnTo>
                    <a:lnTo>
                      <a:pt x="5544" y="3395"/>
                    </a:lnTo>
                    <a:lnTo>
                      <a:pt x="5544" y="3395"/>
                    </a:lnTo>
                    <a:lnTo>
                      <a:pt x="5544" y="3395"/>
                    </a:lnTo>
                    <a:close/>
                    <a:moveTo>
                      <a:pt x="5570" y="3407"/>
                    </a:moveTo>
                    <a:lnTo>
                      <a:pt x="5561" y="3411"/>
                    </a:lnTo>
                    <a:lnTo>
                      <a:pt x="5544" y="3407"/>
                    </a:lnTo>
                    <a:lnTo>
                      <a:pt x="5554" y="3395"/>
                    </a:lnTo>
                    <a:lnTo>
                      <a:pt x="5570" y="3407"/>
                    </a:lnTo>
                    <a:lnTo>
                      <a:pt x="5570" y="3407"/>
                    </a:lnTo>
                    <a:lnTo>
                      <a:pt x="5570" y="3407"/>
                    </a:lnTo>
                    <a:close/>
                    <a:moveTo>
                      <a:pt x="4297" y="3416"/>
                    </a:moveTo>
                    <a:lnTo>
                      <a:pt x="4285" y="3444"/>
                    </a:lnTo>
                    <a:lnTo>
                      <a:pt x="4285" y="3428"/>
                    </a:lnTo>
                    <a:lnTo>
                      <a:pt x="4297" y="3416"/>
                    </a:lnTo>
                    <a:lnTo>
                      <a:pt x="4297" y="3416"/>
                    </a:lnTo>
                    <a:lnTo>
                      <a:pt x="4297" y="3416"/>
                    </a:lnTo>
                    <a:close/>
                    <a:moveTo>
                      <a:pt x="5544" y="3433"/>
                    </a:moveTo>
                    <a:lnTo>
                      <a:pt x="5537" y="3428"/>
                    </a:lnTo>
                    <a:lnTo>
                      <a:pt x="5544" y="3416"/>
                    </a:lnTo>
                    <a:lnTo>
                      <a:pt x="5554" y="3428"/>
                    </a:lnTo>
                    <a:lnTo>
                      <a:pt x="5544" y="3433"/>
                    </a:lnTo>
                    <a:lnTo>
                      <a:pt x="5544" y="3433"/>
                    </a:lnTo>
                    <a:lnTo>
                      <a:pt x="5544" y="3433"/>
                    </a:lnTo>
                    <a:close/>
                    <a:moveTo>
                      <a:pt x="5570" y="3428"/>
                    </a:moveTo>
                    <a:lnTo>
                      <a:pt x="5570" y="3444"/>
                    </a:lnTo>
                    <a:lnTo>
                      <a:pt x="5544" y="3433"/>
                    </a:lnTo>
                    <a:lnTo>
                      <a:pt x="5570" y="3428"/>
                    </a:lnTo>
                    <a:lnTo>
                      <a:pt x="5570" y="3428"/>
                    </a:lnTo>
                    <a:lnTo>
                      <a:pt x="5570" y="3428"/>
                    </a:lnTo>
                    <a:close/>
                    <a:moveTo>
                      <a:pt x="4503" y="3444"/>
                    </a:moveTo>
                    <a:lnTo>
                      <a:pt x="4512" y="3449"/>
                    </a:lnTo>
                    <a:lnTo>
                      <a:pt x="4503" y="3444"/>
                    </a:lnTo>
                    <a:lnTo>
                      <a:pt x="4503" y="3444"/>
                    </a:lnTo>
                    <a:lnTo>
                      <a:pt x="4503" y="3444"/>
                    </a:lnTo>
                    <a:close/>
                    <a:moveTo>
                      <a:pt x="5561" y="3444"/>
                    </a:moveTo>
                    <a:lnTo>
                      <a:pt x="5570" y="3449"/>
                    </a:lnTo>
                    <a:lnTo>
                      <a:pt x="5554" y="3449"/>
                    </a:lnTo>
                    <a:lnTo>
                      <a:pt x="5561" y="3444"/>
                    </a:lnTo>
                    <a:lnTo>
                      <a:pt x="5561" y="3444"/>
                    </a:lnTo>
                    <a:lnTo>
                      <a:pt x="5561" y="3444"/>
                    </a:lnTo>
                    <a:close/>
                    <a:moveTo>
                      <a:pt x="5582" y="3489"/>
                    </a:moveTo>
                    <a:lnTo>
                      <a:pt x="5570" y="3506"/>
                    </a:lnTo>
                    <a:lnTo>
                      <a:pt x="5582" y="3506"/>
                    </a:lnTo>
                    <a:lnTo>
                      <a:pt x="5582" y="3522"/>
                    </a:lnTo>
                    <a:lnTo>
                      <a:pt x="5570" y="3506"/>
                    </a:lnTo>
                    <a:lnTo>
                      <a:pt x="5575" y="3489"/>
                    </a:lnTo>
                    <a:lnTo>
                      <a:pt x="5582" y="3489"/>
                    </a:lnTo>
                    <a:lnTo>
                      <a:pt x="5582" y="3489"/>
                    </a:lnTo>
                    <a:lnTo>
                      <a:pt x="5582" y="3489"/>
                    </a:lnTo>
                    <a:close/>
                    <a:moveTo>
                      <a:pt x="4297" y="3489"/>
                    </a:moveTo>
                    <a:lnTo>
                      <a:pt x="4297" y="3506"/>
                    </a:lnTo>
                    <a:lnTo>
                      <a:pt x="4285" y="3499"/>
                    </a:lnTo>
                    <a:lnTo>
                      <a:pt x="4297" y="3489"/>
                    </a:lnTo>
                    <a:lnTo>
                      <a:pt x="4297" y="3489"/>
                    </a:lnTo>
                    <a:lnTo>
                      <a:pt x="4297" y="3489"/>
                    </a:lnTo>
                    <a:close/>
                    <a:moveTo>
                      <a:pt x="4285" y="3499"/>
                    </a:moveTo>
                    <a:lnTo>
                      <a:pt x="4285" y="3506"/>
                    </a:lnTo>
                    <a:lnTo>
                      <a:pt x="4281" y="3506"/>
                    </a:lnTo>
                    <a:lnTo>
                      <a:pt x="4285" y="3499"/>
                    </a:lnTo>
                    <a:lnTo>
                      <a:pt x="4285" y="3499"/>
                    </a:lnTo>
                    <a:lnTo>
                      <a:pt x="4285" y="3499"/>
                    </a:lnTo>
                    <a:close/>
                    <a:moveTo>
                      <a:pt x="4314" y="3506"/>
                    </a:moveTo>
                    <a:lnTo>
                      <a:pt x="4314" y="3518"/>
                    </a:lnTo>
                    <a:lnTo>
                      <a:pt x="4314" y="3522"/>
                    </a:lnTo>
                    <a:lnTo>
                      <a:pt x="4314" y="3506"/>
                    </a:lnTo>
                    <a:lnTo>
                      <a:pt x="4314" y="3506"/>
                    </a:lnTo>
                    <a:lnTo>
                      <a:pt x="4314" y="3506"/>
                    </a:lnTo>
                    <a:close/>
                    <a:moveTo>
                      <a:pt x="5599" y="3522"/>
                    </a:moveTo>
                    <a:lnTo>
                      <a:pt x="5599" y="3518"/>
                    </a:lnTo>
                    <a:lnTo>
                      <a:pt x="5608" y="3518"/>
                    </a:lnTo>
                    <a:lnTo>
                      <a:pt x="5599" y="3522"/>
                    </a:lnTo>
                    <a:lnTo>
                      <a:pt x="5599" y="3522"/>
                    </a:lnTo>
                    <a:lnTo>
                      <a:pt x="5599" y="3522"/>
                    </a:lnTo>
                    <a:close/>
                    <a:moveTo>
                      <a:pt x="4335" y="3518"/>
                    </a:moveTo>
                    <a:lnTo>
                      <a:pt x="4340" y="3522"/>
                    </a:lnTo>
                    <a:lnTo>
                      <a:pt x="4323" y="3522"/>
                    </a:lnTo>
                    <a:lnTo>
                      <a:pt x="4335" y="3518"/>
                    </a:lnTo>
                    <a:lnTo>
                      <a:pt x="4335" y="3518"/>
                    </a:lnTo>
                    <a:lnTo>
                      <a:pt x="4335" y="3518"/>
                    </a:lnTo>
                    <a:close/>
                    <a:moveTo>
                      <a:pt x="4297" y="3610"/>
                    </a:moveTo>
                    <a:lnTo>
                      <a:pt x="4314" y="3572"/>
                    </a:lnTo>
                    <a:lnTo>
                      <a:pt x="4285" y="3600"/>
                    </a:lnTo>
                    <a:lnTo>
                      <a:pt x="4281" y="3593"/>
                    </a:lnTo>
                    <a:lnTo>
                      <a:pt x="4281" y="3584"/>
                    </a:lnTo>
                    <a:lnTo>
                      <a:pt x="4302" y="3560"/>
                    </a:lnTo>
                    <a:lnTo>
                      <a:pt x="4318" y="3527"/>
                    </a:lnTo>
                    <a:lnTo>
                      <a:pt x="4318" y="3539"/>
                    </a:lnTo>
                    <a:lnTo>
                      <a:pt x="4314" y="3572"/>
                    </a:lnTo>
                    <a:lnTo>
                      <a:pt x="4318" y="3560"/>
                    </a:lnTo>
                    <a:lnTo>
                      <a:pt x="4323" y="3527"/>
                    </a:lnTo>
                    <a:lnTo>
                      <a:pt x="4352" y="3539"/>
                    </a:lnTo>
                    <a:lnTo>
                      <a:pt x="4335" y="3593"/>
                    </a:lnTo>
                    <a:lnTo>
                      <a:pt x="4352" y="3544"/>
                    </a:lnTo>
                    <a:lnTo>
                      <a:pt x="4323" y="3600"/>
                    </a:lnTo>
                    <a:lnTo>
                      <a:pt x="4335" y="3560"/>
                    </a:lnTo>
                    <a:lnTo>
                      <a:pt x="4318" y="3600"/>
                    </a:lnTo>
                    <a:lnTo>
                      <a:pt x="4297" y="3610"/>
                    </a:lnTo>
                    <a:lnTo>
                      <a:pt x="4297" y="3610"/>
                    </a:lnTo>
                    <a:lnTo>
                      <a:pt x="4297" y="3610"/>
                    </a:lnTo>
                    <a:close/>
                    <a:moveTo>
                      <a:pt x="5570" y="3527"/>
                    </a:moveTo>
                    <a:lnTo>
                      <a:pt x="5599" y="3539"/>
                    </a:lnTo>
                    <a:lnTo>
                      <a:pt x="5570" y="3539"/>
                    </a:lnTo>
                    <a:lnTo>
                      <a:pt x="5582" y="3539"/>
                    </a:lnTo>
                    <a:lnTo>
                      <a:pt x="5570" y="3527"/>
                    </a:lnTo>
                    <a:lnTo>
                      <a:pt x="5570" y="3527"/>
                    </a:lnTo>
                    <a:lnTo>
                      <a:pt x="5570" y="3527"/>
                    </a:lnTo>
                    <a:close/>
                    <a:moveTo>
                      <a:pt x="4271" y="3572"/>
                    </a:moveTo>
                    <a:lnTo>
                      <a:pt x="4271" y="3555"/>
                    </a:lnTo>
                    <a:lnTo>
                      <a:pt x="4297" y="3544"/>
                    </a:lnTo>
                    <a:lnTo>
                      <a:pt x="4314" y="3527"/>
                    </a:lnTo>
                    <a:lnTo>
                      <a:pt x="4302" y="3555"/>
                    </a:lnTo>
                    <a:lnTo>
                      <a:pt x="4271" y="3572"/>
                    </a:lnTo>
                    <a:lnTo>
                      <a:pt x="4271" y="3572"/>
                    </a:lnTo>
                    <a:lnTo>
                      <a:pt x="4271" y="3572"/>
                    </a:lnTo>
                    <a:close/>
                    <a:moveTo>
                      <a:pt x="4352" y="3572"/>
                    </a:moveTo>
                    <a:lnTo>
                      <a:pt x="4356" y="3544"/>
                    </a:lnTo>
                    <a:lnTo>
                      <a:pt x="4373" y="3539"/>
                    </a:lnTo>
                    <a:lnTo>
                      <a:pt x="4373" y="3572"/>
                    </a:lnTo>
                    <a:lnTo>
                      <a:pt x="4352" y="3572"/>
                    </a:lnTo>
                    <a:lnTo>
                      <a:pt x="4352" y="3572"/>
                    </a:lnTo>
                    <a:lnTo>
                      <a:pt x="4352" y="3572"/>
                    </a:lnTo>
                    <a:close/>
                    <a:moveTo>
                      <a:pt x="5570" y="3544"/>
                    </a:moveTo>
                    <a:lnTo>
                      <a:pt x="5582" y="3555"/>
                    </a:lnTo>
                    <a:lnTo>
                      <a:pt x="5554" y="3544"/>
                    </a:lnTo>
                    <a:lnTo>
                      <a:pt x="5570" y="3544"/>
                    </a:lnTo>
                    <a:lnTo>
                      <a:pt x="5570" y="3544"/>
                    </a:lnTo>
                    <a:lnTo>
                      <a:pt x="5570" y="3544"/>
                    </a:lnTo>
                    <a:close/>
                    <a:moveTo>
                      <a:pt x="5608" y="3572"/>
                    </a:moveTo>
                    <a:lnTo>
                      <a:pt x="5613" y="3584"/>
                    </a:lnTo>
                    <a:lnTo>
                      <a:pt x="5592" y="3577"/>
                    </a:lnTo>
                    <a:lnTo>
                      <a:pt x="5608" y="3572"/>
                    </a:lnTo>
                    <a:lnTo>
                      <a:pt x="5608" y="3572"/>
                    </a:lnTo>
                    <a:lnTo>
                      <a:pt x="5608" y="3572"/>
                    </a:lnTo>
                    <a:close/>
                    <a:moveTo>
                      <a:pt x="4352" y="3577"/>
                    </a:moveTo>
                    <a:lnTo>
                      <a:pt x="4352" y="3584"/>
                    </a:lnTo>
                    <a:lnTo>
                      <a:pt x="4340" y="3610"/>
                    </a:lnTo>
                    <a:lnTo>
                      <a:pt x="4352" y="3577"/>
                    </a:lnTo>
                    <a:lnTo>
                      <a:pt x="4352" y="3577"/>
                    </a:lnTo>
                    <a:lnTo>
                      <a:pt x="4352" y="3577"/>
                    </a:lnTo>
                    <a:close/>
                    <a:moveTo>
                      <a:pt x="5629" y="3593"/>
                    </a:moveTo>
                    <a:lnTo>
                      <a:pt x="5613" y="3600"/>
                    </a:lnTo>
                    <a:lnTo>
                      <a:pt x="5625" y="3593"/>
                    </a:lnTo>
                    <a:lnTo>
                      <a:pt x="5629" y="3593"/>
                    </a:lnTo>
                    <a:lnTo>
                      <a:pt x="5629" y="3593"/>
                    </a:lnTo>
                    <a:lnTo>
                      <a:pt x="5629" y="3593"/>
                    </a:lnTo>
                    <a:close/>
                    <a:moveTo>
                      <a:pt x="5613" y="3593"/>
                    </a:moveTo>
                    <a:lnTo>
                      <a:pt x="5608" y="3600"/>
                    </a:lnTo>
                    <a:lnTo>
                      <a:pt x="5608" y="3593"/>
                    </a:lnTo>
                    <a:lnTo>
                      <a:pt x="5613" y="3593"/>
                    </a:lnTo>
                    <a:lnTo>
                      <a:pt x="5613" y="3593"/>
                    </a:lnTo>
                    <a:lnTo>
                      <a:pt x="5613" y="3593"/>
                    </a:lnTo>
                    <a:close/>
                    <a:moveTo>
                      <a:pt x="763" y="3683"/>
                    </a:moveTo>
                    <a:lnTo>
                      <a:pt x="756" y="3704"/>
                    </a:lnTo>
                    <a:lnTo>
                      <a:pt x="747" y="3711"/>
                    </a:lnTo>
                    <a:lnTo>
                      <a:pt x="740" y="3704"/>
                    </a:lnTo>
                    <a:lnTo>
                      <a:pt x="763" y="3683"/>
                    </a:lnTo>
                    <a:lnTo>
                      <a:pt x="763" y="3683"/>
                    </a:lnTo>
                    <a:lnTo>
                      <a:pt x="763" y="3683"/>
                    </a:lnTo>
                    <a:close/>
                    <a:moveTo>
                      <a:pt x="5826" y="3695"/>
                    </a:moveTo>
                    <a:lnTo>
                      <a:pt x="5826" y="3704"/>
                    </a:lnTo>
                    <a:lnTo>
                      <a:pt x="5830" y="3704"/>
                    </a:lnTo>
                    <a:lnTo>
                      <a:pt x="5814" y="3711"/>
                    </a:lnTo>
                    <a:lnTo>
                      <a:pt x="5809" y="3704"/>
                    </a:lnTo>
                    <a:lnTo>
                      <a:pt x="5826" y="3695"/>
                    </a:lnTo>
                    <a:lnTo>
                      <a:pt x="5826" y="3695"/>
                    </a:lnTo>
                    <a:lnTo>
                      <a:pt x="5826" y="3695"/>
                    </a:lnTo>
                    <a:close/>
                    <a:moveTo>
                      <a:pt x="740" y="3704"/>
                    </a:moveTo>
                    <a:lnTo>
                      <a:pt x="740" y="3711"/>
                    </a:lnTo>
                    <a:lnTo>
                      <a:pt x="735" y="3711"/>
                    </a:lnTo>
                    <a:lnTo>
                      <a:pt x="740" y="3704"/>
                    </a:lnTo>
                    <a:lnTo>
                      <a:pt x="740" y="3704"/>
                    </a:lnTo>
                    <a:lnTo>
                      <a:pt x="740" y="3704"/>
                    </a:lnTo>
                    <a:close/>
                    <a:moveTo>
                      <a:pt x="719" y="3728"/>
                    </a:moveTo>
                    <a:lnTo>
                      <a:pt x="702" y="3744"/>
                    </a:lnTo>
                    <a:lnTo>
                      <a:pt x="709" y="3721"/>
                    </a:lnTo>
                    <a:lnTo>
                      <a:pt x="719" y="3728"/>
                    </a:lnTo>
                    <a:lnTo>
                      <a:pt x="719" y="3728"/>
                    </a:lnTo>
                    <a:lnTo>
                      <a:pt x="719" y="3728"/>
                    </a:lnTo>
                    <a:close/>
                    <a:moveTo>
                      <a:pt x="5868" y="3728"/>
                    </a:moveTo>
                    <a:lnTo>
                      <a:pt x="5878" y="3737"/>
                    </a:lnTo>
                    <a:lnTo>
                      <a:pt x="5868" y="3737"/>
                    </a:lnTo>
                    <a:lnTo>
                      <a:pt x="5868" y="3728"/>
                    </a:lnTo>
                    <a:lnTo>
                      <a:pt x="5868" y="3728"/>
                    </a:lnTo>
                    <a:lnTo>
                      <a:pt x="5868" y="3728"/>
                    </a:lnTo>
                    <a:close/>
                    <a:moveTo>
                      <a:pt x="719" y="3766"/>
                    </a:moveTo>
                    <a:lnTo>
                      <a:pt x="726" y="3777"/>
                    </a:lnTo>
                    <a:lnTo>
                      <a:pt x="719" y="3766"/>
                    </a:lnTo>
                    <a:lnTo>
                      <a:pt x="719" y="3766"/>
                    </a:lnTo>
                    <a:lnTo>
                      <a:pt x="719" y="3766"/>
                    </a:lnTo>
                    <a:close/>
                    <a:moveTo>
                      <a:pt x="756" y="3766"/>
                    </a:moveTo>
                    <a:lnTo>
                      <a:pt x="763" y="3766"/>
                    </a:lnTo>
                    <a:lnTo>
                      <a:pt x="756" y="3777"/>
                    </a:lnTo>
                    <a:lnTo>
                      <a:pt x="756" y="3766"/>
                    </a:lnTo>
                    <a:lnTo>
                      <a:pt x="756" y="3766"/>
                    </a:lnTo>
                    <a:lnTo>
                      <a:pt x="756" y="3766"/>
                    </a:lnTo>
                    <a:close/>
                    <a:moveTo>
                      <a:pt x="563" y="3815"/>
                    </a:moveTo>
                    <a:lnTo>
                      <a:pt x="558" y="3799"/>
                    </a:lnTo>
                    <a:lnTo>
                      <a:pt x="558" y="3782"/>
                    </a:lnTo>
                    <a:lnTo>
                      <a:pt x="558" y="3766"/>
                    </a:lnTo>
                    <a:lnTo>
                      <a:pt x="596" y="3777"/>
                    </a:lnTo>
                    <a:lnTo>
                      <a:pt x="584" y="3794"/>
                    </a:lnTo>
                    <a:lnTo>
                      <a:pt x="600" y="3777"/>
                    </a:lnTo>
                    <a:lnTo>
                      <a:pt x="617" y="3777"/>
                    </a:lnTo>
                    <a:lnTo>
                      <a:pt x="626" y="3799"/>
                    </a:lnTo>
                    <a:lnTo>
                      <a:pt x="584" y="3815"/>
                    </a:lnTo>
                    <a:lnTo>
                      <a:pt x="600" y="3822"/>
                    </a:lnTo>
                    <a:lnTo>
                      <a:pt x="626" y="3815"/>
                    </a:lnTo>
                    <a:lnTo>
                      <a:pt x="626" y="3782"/>
                    </a:lnTo>
                    <a:lnTo>
                      <a:pt x="655" y="3766"/>
                    </a:lnTo>
                    <a:lnTo>
                      <a:pt x="638" y="3822"/>
                    </a:lnTo>
                    <a:lnTo>
                      <a:pt x="638" y="3848"/>
                    </a:lnTo>
                    <a:lnTo>
                      <a:pt x="633" y="3860"/>
                    </a:lnTo>
                    <a:lnTo>
                      <a:pt x="612" y="3860"/>
                    </a:lnTo>
                    <a:lnTo>
                      <a:pt x="626" y="3872"/>
                    </a:lnTo>
                    <a:lnTo>
                      <a:pt x="600" y="3872"/>
                    </a:lnTo>
                    <a:lnTo>
                      <a:pt x="584" y="3855"/>
                    </a:lnTo>
                    <a:lnTo>
                      <a:pt x="596" y="3855"/>
                    </a:lnTo>
                    <a:lnTo>
                      <a:pt x="579" y="3855"/>
                    </a:lnTo>
                    <a:lnTo>
                      <a:pt x="584" y="3848"/>
                    </a:lnTo>
                    <a:lnTo>
                      <a:pt x="600" y="3855"/>
                    </a:lnTo>
                    <a:lnTo>
                      <a:pt x="574" y="3839"/>
                    </a:lnTo>
                    <a:lnTo>
                      <a:pt x="563" y="3822"/>
                    </a:lnTo>
                    <a:lnTo>
                      <a:pt x="574" y="3822"/>
                    </a:lnTo>
                    <a:lnTo>
                      <a:pt x="563" y="3815"/>
                    </a:lnTo>
                    <a:lnTo>
                      <a:pt x="563" y="3815"/>
                    </a:lnTo>
                    <a:lnTo>
                      <a:pt x="563" y="3815"/>
                    </a:lnTo>
                    <a:close/>
                    <a:moveTo>
                      <a:pt x="747" y="3777"/>
                    </a:moveTo>
                    <a:lnTo>
                      <a:pt x="756" y="3794"/>
                    </a:lnTo>
                    <a:lnTo>
                      <a:pt x="747" y="3799"/>
                    </a:lnTo>
                    <a:lnTo>
                      <a:pt x="740" y="3799"/>
                    </a:lnTo>
                    <a:lnTo>
                      <a:pt x="747" y="3782"/>
                    </a:lnTo>
                    <a:lnTo>
                      <a:pt x="735" y="3794"/>
                    </a:lnTo>
                    <a:lnTo>
                      <a:pt x="726" y="3794"/>
                    </a:lnTo>
                    <a:lnTo>
                      <a:pt x="735" y="3799"/>
                    </a:lnTo>
                    <a:lnTo>
                      <a:pt x="726" y="3799"/>
                    </a:lnTo>
                    <a:lnTo>
                      <a:pt x="726" y="3782"/>
                    </a:lnTo>
                    <a:lnTo>
                      <a:pt x="747" y="3777"/>
                    </a:lnTo>
                    <a:lnTo>
                      <a:pt x="747" y="3777"/>
                    </a:lnTo>
                    <a:lnTo>
                      <a:pt x="747" y="3777"/>
                    </a:lnTo>
                    <a:close/>
                    <a:moveTo>
                      <a:pt x="801" y="3860"/>
                    </a:moveTo>
                    <a:lnTo>
                      <a:pt x="789" y="3848"/>
                    </a:lnTo>
                    <a:lnTo>
                      <a:pt x="778" y="3832"/>
                    </a:lnTo>
                    <a:lnTo>
                      <a:pt x="773" y="3822"/>
                    </a:lnTo>
                    <a:lnTo>
                      <a:pt x="778" y="3822"/>
                    </a:lnTo>
                    <a:lnTo>
                      <a:pt x="763" y="3815"/>
                    </a:lnTo>
                    <a:lnTo>
                      <a:pt x="756" y="3799"/>
                    </a:lnTo>
                    <a:lnTo>
                      <a:pt x="773" y="3806"/>
                    </a:lnTo>
                    <a:lnTo>
                      <a:pt x="811" y="3848"/>
                    </a:lnTo>
                    <a:lnTo>
                      <a:pt x="811" y="3860"/>
                    </a:lnTo>
                    <a:lnTo>
                      <a:pt x="801" y="3860"/>
                    </a:lnTo>
                    <a:lnTo>
                      <a:pt x="801" y="3860"/>
                    </a:lnTo>
                    <a:lnTo>
                      <a:pt x="801" y="3860"/>
                    </a:lnTo>
                    <a:close/>
                    <a:moveTo>
                      <a:pt x="756" y="3806"/>
                    </a:moveTo>
                    <a:lnTo>
                      <a:pt x="763" y="3832"/>
                    </a:lnTo>
                    <a:lnTo>
                      <a:pt x="747" y="3815"/>
                    </a:lnTo>
                    <a:lnTo>
                      <a:pt x="756" y="3806"/>
                    </a:lnTo>
                    <a:lnTo>
                      <a:pt x="756" y="3806"/>
                    </a:lnTo>
                    <a:lnTo>
                      <a:pt x="756" y="3806"/>
                    </a:lnTo>
                    <a:close/>
                    <a:moveTo>
                      <a:pt x="853" y="3815"/>
                    </a:moveTo>
                    <a:lnTo>
                      <a:pt x="832" y="3848"/>
                    </a:lnTo>
                    <a:lnTo>
                      <a:pt x="832" y="3822"/>
                    </a:lnTo>
                    <a:lnTo>
                      <a:pt x="853" y="3815"/>
                    </a:lnTo>
                    <a:lnTo>
                      <a:pt x="853" y="3815"/>
                    </a:lnTo>
                    <a:lnTo>
                      <a:pt x="853" y="3815"/>
                    </a:lnTo>
                    <a:close/>
                    <a:moveTo>
                      <a:pt x="747" y="3822"/>
                    </a:moveTo>
                    <a:lnTo>
                      <a:pt x="778" y="3839"/>
                    </a:lnTo>
                    <a:lnTo>
                      <a:pt x="794" y="3860"/>
                    </a:lnTo>
                    <a:lnTo>
                      <a:pt x="778" y="3872"/>
                    </a:lnTo>
                    <a:lnTo>
                      <a:pt x="735" y="3832"/>
                    </a:lnTo>
                    <a:lnTo>
                      <a:pt x="740" y="3822"/>
                    </a:lnTo>
                    <a:lnTo>
                      <a:pt x="747" y="3822"/>
                    </a:lnTo>
                    <a:lnTo>
                      <a:pt x="747" y="3822"/>
                    </a:lnTo>
                    <a:lnTo>
                      <a:pt x="747" y="3822"/>
                    </a:lnTo>
                    <a:close/>
                    <a:moveTo>
                      <a:pt x="844" y="3832"/>
                    </a:moveTo>
                    <a:lnTo>
                      <a:pt x="848" y="3855"/>
                    </a:lnTo>
                    <a:lnTo>
                      <a:pt x="832" y="3855"/>
                    </a:lnTo>
                    <a:lnTo>
                      <a:pt x="844" y="3832"/>
                    </a:lnTo>
                    <a:lnTo>
                      <a:pt x="844" y="3832"/>
                    </a:lnTo>
                    <a:lnTo>
                      <a:pt x="844" y="3832"/>
                    </a:lnTo>
                    <a:close/>
                    <a:moveTo>
                      <a:pt x="5970" y="3839"/>
                    </a:moveTo>
                    <a:lnTo>
                      <a:pt x="5977" y="3839"/>
                    </a:lnTo>
                    <a:lnTo>
                      <a:pt x="5977" y="3848"/>
                    </a:lnTo>
                    <a:lnTo>
                      <a:pt x="5960" y="3839"/>
                    </a:lnTo>
                    <a:lnTo>
                      <a:pt x="5970" y="3839"/>
                    </a:lnTo>
                    <a:lnTo>
                      <a:pt x="5970" y="3839"/>
                    </a:lnTo>
                    <a:lnTo>
                      <a:pt x="5970" y="3839"/>
                    </a:lnTo>
                    <a:close/>
                    <a:moveTo>
                      <a:pt x="815" y="3848"/>
                    </a:moveTo>
                    <a:lnTo>
                      <a:pt x="815" y="3855"/>
                    </a:lnTo>
                    <a:lnTo>
                      <a:pt x="811" y="3848"/>
                    </a:lnTo>
                    <a:lnTo>
                      <a:pt x="815" y="3848"/>
                    </a:lnTo>
                    <a:lnTo>
                      <a:pt x="815" y="3848"/>
                    </a:lnTo>
                    <a:lnTo>
                      <a:pt x="815" y="3848"/>
                    </a:lnTo>
                    <a:close/>
                    <a:moveTo>
                      <a:pt x="4281" y="3848"/>
                    </a:moveTo>
                    <a:lnTo>
                      <a:pt x="4281" y="3855"/>
                    </a:lnTo>
                    <a:lnTo>
                      <a:pt x="4271" y="3855"/>
                    </a:lnTo>
                    <a:lnTo>
                      <a:pt x="4281" y="3848"/>
                    </a:lnTo>
                    <a:lnTo>
                      <a:pt x="4281" y="3848"/>
                    </a:lnTo>
                    <a:lnTo>
                      <a:pt x="4281" y="3848"/>
                    </a:lnTo>
                    <a:close/>
                    <a:moveTo>
                      <a:pt x="827" y="3855"/>
                    </a:moveTo>
                    <a:lnTo>
                      <a:pt x="832" y="3872"/>
                    </a:lnTo>
                    <a:lnTo>
                      <a:pt x="815" y="3872"/>
                    </a:lnTo>
                    <a:lnTo>
                      <a:pt x="827" y="3855"/>
                    </a:lnTo>
                    <a:lnTo>
                      <a:pt x="827" y="3855"/>
                    </a:lnTo>
                    <a:lnTo>
                      <a:pt x="827" y="3855"/>
                    </a:lnTo>
                    <a:close/>
                    <a:moveTo>
                      <a:pt x="832" y="3905"/>
                    </a:moveTo>
                    <a:lnTo>
                      <a:pt x="853" y="3877"/>
                    </a:lnTo>
                    <a:lnTo>
                      <a:pt x="844" y="3872"/>
                    </a:lnTo>
                    <a:lnTo>
                      <a:pt x="853" y="3877"/>
                    </a:lnTo>
                    <a:lnTo>
                      <a:pt x="832" y="3893"/>
                    </a:lnTo>
                    <a:lnTo>
                      <a:pt x="844" y="3855"/>
                    </a:lnTo>
                    <a:lnTo>
                      <a:pt x="870" y="3872"/>
                    </a:lnTo>
                    <a:lnTo>
                      <a:pt x="870" y="3877"/>
                    </a:lnTo>
                    <a:lnTo>
                      <a:pt x="870" y="3917"/>
                    </a:lnTo>
                    <a:lnTo>
                      <a:pt x="865" y="3926"/>
                    </a:lnTo>
                    <a:lnTo>
                      <a:pt x="865" y="3888"/>
                    </a:lnTo>
                    <a:lnTo>
                      <a:pt x="853" y="3917"/>
                    </a:lnTo>
                    <a:lnTo>
                      <a:pt x="844" y="3910"/>
                    </a:lnTo>
                    <a:lnTo>
                      <a:pt x="832" y="3905"/>
                    </a:lnTo>
                    <a:lnTo>
                      <a:pt x="832" y="3905"/>
                    </a:lnTo>
                    <a:lnTo>
                      <a:pt x="832" y="3905"/>
                    </a:lnTo>
                    <a:close/>
                    <a:moveTo>
                      <a:pt x="617" y="3893"/>
                    </a:moveTo>
                    <a:lnTo>
                      <a:pt x="626" y="3888"/>
                    </a:lnTo>
                    <a:lnTo>
                      <a:pt x="600" y="3877"/>
                    </a:lnTo>
                    <a:lnTo>
                      <a:pt x="596" y="3872"/>
                    </a:lnTo>
                    <a:lnTo>
                      <a:pt x="626" y="3872"/>
                    </a:lnTo>
                    <a:lnTo>
                      <a:pt x="650" y="3860"/>
                    </a:lnTo>
                    <a:lnTo>
                      <a:pt x="664" y="3877"/>
                    </a:lnTo>
                    <a:lnTo>
                      <a:pt x="633" y="3877"/>
                    </a:lnTo>
                    <a:lnTo>
                      <a:pt x="655" y="3888"/>
                    </a:lnTo>
                    <a:lnTo>
                      <a:pt x="655" y="3893"/>
                    </a:lnTo>
                    <a:lnTo>
                      <a:pt x="633" y="3893"/>
                    </a:lnTo>
                    <a:lnTo>
                      <a:pt x="638" y="3893"/>
                    </a:lnTo>
                    <a:lnTo>
                      <a:pt x="671" y="3943"/>
                    </a:lnTo>
                    <a:lnTo>
                      <a:pt x="688" y="3943"/>
                    </a:lnTo>
                    <a:lnTo>
                      <a:pt x="681" y="3950"/>
                    </a:lnTo>
                    <a:lnTo>
                      <a:pt x="693" y="3950"/>
                    </a:lnTo>
                    <a:lnTo>
                      <a:pt x="702" y="3966"/>
                    </a:lnTo>
                    <a:lnTo>
                      <a:pt x="688" y="3966"/>
                    </a:lnTo>
                    <a:lnTo>
                      <a:pt x="664" y="3950"/>
                    </a:lnTo>
                    <a:lnTo>
                      <a:pt x="664" y="3943"/>
                    </a:lnTo>
                    <a:lnTo>
                      <a:pt x="626" y="3910"/>
                    </a:lnTo>
                    <a:lnTo>
                      <a:pt x="638" y="3910"/>
                    </a:lnTo>
                    <a:lnTo>
                      <a:pt x="633" y="3905"/>
                    </a:lnTo>
                    <a:lnTo>
                      <a:pt x="626" y="3910"/>
                    </a:lnTo>
                    <a:lnTo>
                      <a:pt x="612" y="3888"/>
                    </a:lnTo>
                    <a:lnTo>
                      <a:pt x="617" y="3893"/>
                    </a:lnTo>
                    <a:lnTo>
                      <a:pt x="617" y="3893"/>
                    </a:lnTo>
                    <a:lnTo>
                      <a:pt x="617" y="3893"/>
                    </a:lnTo>
                    <a:close/>
                    <a:moveTo>
                      <a:pt x="4205" y="3860"/>
                    </a:moveTo>
                    <a:lnTo>
                      <a:pt x="4226" y="3893"/>
                    </a:lnTo>
                    <a:lnTo>
                      <a:pt x="4226" y="3910"/>
                    </a:lnTo>
                    <a:lnTo>
                      <a:pt x="4134" y="3877"/>
                    </a:lnTo>
                    <a:lnTo>
                      <a:pt x="4151" y="3860"/>
                    </a:lnTo>
                    <a:lnTo>
                      <a:pt x="4205" y="3860"/>
                    </a:lnTo>
                    <a:lnTo>
                      <a:pt x="4205" y="3860"/>
                    </a:lnTo>
                    <a:lnTo>
                      <a:pt x="4205" y="3860"/>
                    </a:lnTo>
                    <a:close/>
                    <a:moveTo>
                      <a:pt x="811" y="3860"/>
                    </a:moveTo>
                    <a:lnTo>
                      <a:pt x="827" y="3888"/>
                    </a:lnTo>
                    <a:lnTo>
                      <a:pt x="801" y="3872"/>
                    </a:lnTo>
                    <a:lnTo>
                      <a:pt x="811" y="3860"/>
                    </a:lnTo>
                    <a:lnTo>
                      <a:pt x="811" y="3860"/>
                    </a:lnTo>
                    <a:lnTo>
                      <a:pt x="811" y="3860"/>
                    </a:lnTo>
                    <a:close/>
                    <a:moveTo>
                      <a:pt x="4285" y="3872"/>
                    </a:moveTo>
                    <a:lnTo>
                      <a:pt x="4297" y="3872"/>
                    </a:lnTo>
                    <a:lnTo>
                      <a:pt x="4281" y="3877"/>
                    </a:lnTo>
                    <a:lnTo>
                      <a:pt x="4285" y="3872"/>
                    </a:lnTo>
                    <a:lnTo>
                      <a:pt x="4285" y="3872"/>
                    </a:lnTo>
                    <a:lnTo>
                      <a:pt x="4285" y="3872"/>
                    </a:lnTo>
                    <a:close/>
                    <a:moveTo>
                      <a:pt x="794" y="3872"/>
                    </a:moveTo>
                    <a:lnTo>
                      <a:pt x="801" y="3877"/>
                    </a:lnTo>
                    <a:lnTo>
                      <a:pt x="794" y="3872"/>
                    </a:lnTo>
                    <a:lnTo>
                      <a:pt x="794" y="3872"/>
                    </a:lnTo>
                    <a:lnTo>
                      <a:pt x="794" y="3872"/>
                    </a:lnTo>
                    <a:close/>
                    <a:moveTo>
                      <a:pt x="5977" y="3877"/>
                    </a:moveTo>
                    <a:lnTo>
                      <a:pt x="5970" y="3877"/>
                    </a:lnTo>
                    <a:lnTo>
                      <a:pt x="5977" y="3877"/>
                    </a:lnTo>
                    <a:lnTo>
                      <a:pt x="5977" y="3877"/>
                    </a:lnTo>
                    <a:lnTo>
                      <a:pt x="5977" y="3877"/>
                    </a:lnTo>
                    <a:close/>
                    <a:moveTo>
                      <a:pt x="801" y="3877"/>
                    </a:moveTo>
                    <a:lnTo>
                      <a:pt x="811" y="3877"/>
                    </a:lnTo>
                    <a:lnTo>
                      <a:pt x="794" y="3877"/>
                    </a:lnTo>
                    <a:lnTo>
                      <a:pt x="801" y="3877"/>
                    </a:lnTo>
                    <a:lnTo>
                      <a:pt x="801" y="3877"/>
                    </a:lnTo>
                    <a:lnTo>
                      <a:pt x="801" y="3877"/>
                    </a:lnTo>
                    <a:close/>
                    <a:moveTo>
                      <a:pt x="801" y="3888"/>
                    </a:moveTo>
                    <a:lnTo>
                      <a:pt x="794" y="3877"/>
                    </a:lnTo>
                    <a:lnTo>
                      <a:pt x="801" y="3888"/>
                    </a:lnTo>
                    <a:lnTo>
                      <a:pt x="801" y="3888"/>
                    </a:lnTo>
                    <a:lnTo>
                      <a:pt x="801" y="3888"/>
                    </a:lnTo>
                    <a:close/>
                    <a:moveTo>
                      <a:pt x="903" y="3905"/>
                    </a:moveTo>
                    <a:lnTo>
                      <a:pt x="898" y="3926"/>
                    </a:lnTo>
                    <a:lnTo>
                      <a:pt x="886" y="3905"/>
                    </a:lnTo>
                    <a:lnTo>
                      <a:pt x="903" y="3905"/>
                    </a:lnTo>
                    <a:lnTo>
                      <a:pt x="903" y="3905"/>
                    </a:lnTo>
                    <a:lnTo>
                      <a:pt x="903" y="3905"/>
                    </a:lnTo>
                    <a:close/>
                    <a:moveTo>
                      <a:pt x="827" y="3905"/>
                    </a:moveTo>
                    <a:lnTo>
                      <a:pt x="848" y="3917"/>
                    </a:lnTo>
                    <a:lnTo>
                      <a:pt x="848" y="3933"/>
                    </a:lnTo>
                    <a:lnTo>
                      <a:pt x="827" y="3910"/>
                    </a:lnTo>
                    <a:lnTo>
                      <a:pt x="827" y="3905"/>
                    </a:lnTo>
                    <a:lnTo>
                      <a:pt x="827" y="3905"/>
                    </a:lnTo>
                    <a:lnTo>
                      <a:pt x="827" y="3905"/>
                    </a:lnTo>
                    <a:close/>
                    <a:moveTo>
                      <a:pt x="886" y="3905"/>
                    </a:moveTo>
                    <a:lnTo>
                      <a:pt x="898" y="3933"/>
                    </a:lnTo>
                    <a:lnTo>
                      <a:pt x="882" y="3943"/>
                    </a:lnTo>
                    <a:lnTo>
                      <a:pt x="882" y="3910"/>
                    </a:lnTo>
                    <a:lnTo>
                      <a:pt x="886" y="3905"/>
                    </a:lnTo>
                    <a:lnTo>
                      <a:pt x="886" y="3905"/>
                    </a:lnTo>
                    <a:lnTo>
                      <a:pt x="886" y="3905"/>
                    </a:lnTo>
                    <a:close/>
                    <a:moveTo>
                      <a:pt x="671" y="3910"/>
                    </a:moveTo>
                    <a:lnTo>
                      <a:pt x="671" y="3917"/>
                    </a:lnTo>
                    <a:lnTo>
                      <a:pt x="664" y="3926"/>
                    </a:lnTo>
                    <a:lnTo>
                      <a:pt x="655" y="3910"/>
                    </a:lnTo>
                    <a:lnTo>
                      <a:pt x="671" y="3910"/>
                    </a:lnTo>
                    <a:lnTo>
                      <a:pt x="671" y="3910"/>
                    </a:lnTo>
                    <a:lnTo>
                      <a:pt x="671" y="3910"/>
                    </a:lnTo>
                    <a:close/>
                    <a:moveTo>
                      <a:pt x="870" y="3917"/>
                    </a:moveTo>
                    <a:lnTo>
                      <a:pt x="882" y="3943"/>
                    </a:lnTo>
                    <a:lnTo>
                      <a:pt x="853" y="3926"/>
                    </a:lnTo>
                    <a:lnTo>
                      <a:pt x="870" y="3917"/>
                    </a:lnTo>
                    <a:lnTo>
                      <a:pt x="870" y="3917"/>
                    </a:lnTo>
                    <a:lnTo>
                      <a:pt x="870" y="3917"/>
                    </a:lnTo>
                    <a:close/>
                    <a:moveTo>
                      <a:pt x="870" y="3933"/>
                    </a:moveTo>
                    <a:lnTo>
                      <a:pt x="865" y="3959"/>
                    </a:lnTo>
                    <a:lnTo>
                      <a:pt x="853" y="3933"/>
                    </a:lnTo>
                    <a:lnTo>
                      <a:pt x="870" y="3933"/>
                    </a:lnTo>
                    <a:lnTo>
                      <a:pt x="870" y="3933"/>
                    </a:lnTo>
                    <a:lnTo>
                      <a:pt x="870" y="3933"/>
                    </a:lnTo>
                    <a:close/>
                    <a:moveTo>
                      <a:pt x="941" y="3966"/>
                    </a:moveTo>
                    <a:lnTo>
                      <a:pt x="936" y="3983"/>
                    </a:lnTo>
                    <a:lnTo>
                      <a:pt x="919" y="3983"/>
                    </a:lnTo>
                    <a:lnTo>
                      <a:pt x="924" y="3959"/>
                    </a:lnTo>
                    <a:lnTo>
                      <a:pt x="962" y="3943"/>
                    </a:lnTo>
                    <a:lnTo>
                      <a:pt x="962" y="3950"/>
                    </a:lnTo>
                    <a:lnTo>
                      <a:pt x="941" y="3966"/>
                    </a:lnTo>
                    <a:lnTo>
                      <a:pt x="941" y="3966"/>
                    </a:lnTo>
                    <a:lnTo>
                      <a:pt x="941" y="3966"/>
                    </a:lnTo>
                    <a:close/>
                    <a:moveTo>
                      <a:pt x="903" y="3943"/>
                    </a:moveTo>
                    <a:lnTo>
                      <a:pt x="908" y="3950"/>
                    </a:lnTo>
                    <a:lnTo>
                      <a:pt x="898" y="3950"/>
                    </a:lnTo>
                    <a:lnTo>
                      <a:pt x="903" y="3943"/>
                    </a:lnTo>
                    <a:lnTo>
                      <a:pt x="903" y="3943"/>
                    </a:lnTo>
                    <a:lnTo>
                      <a:pt x="903" y="3943"/>
                    </a:lnTo>
                    <a:close/>
                    <a:moveTo>
                      <a:pt x="919" y="3950"/>
                    </a:moveTo>
                    <a:lnTo>
                      <a:pt x="919" y="3966"/>
                    </a:lnTo>
                    <a:lnTo>
                      <a:pt x="903" y="3959"/>
                    </a:lnTo>
                    <a:lnTo>
                      <a:pt x="919" y="3950"/>
                    </a:lnTo>
                    <a:lnTo>
                      <a:pt x="919" y="3950"/>
                    </a:lnTo>
                    <a:lnTo>
                      <a:pt x="919" y="3950"/>
                    </a:lnTo>
                    <a:close/>
                    <a:moveTo>
                      <a:pt x="898" y="3966"/>
                    </a:moveTo>
                    <a:lnTo>
                      <a:pt x="886" y="3959"/>
                    </a:lnTo>
                    <a:lnTo>
                      <a:pt x="898" y="3959"/>
                    </a:lnTo>
                    <a:lnTo>
                      <a:pt x="898" y="3966"/>
                    </a:lnTo>
                    <a:lnTo>
                      <a:pt x="898" y="3966"/>
                    </a:lnTo>
                    <a:lnTo>
                      <a:pt x="898" y="3966"/>
                    </a:lnTo>
                    <a:close/>
                    <a:moveTo>
                      <a:pt x="886" y="3959"/>
                    </a:moveTo>
                    <a:lnTo>
                      <a:pt x="882" y="3966"/>
                    </a:lnTo>
                    <a:lnTo>
                      <a:pt x="886" y="3959"/>
                    </a:lnTo>
                    <a:lnTo>
                      <a:pt x="886" y="3959"/>
                    </a:lnTo>
                    <a:lnTo>
                      <a:pt x="886" y="3959"/>
                    </a:lnTo>
                    <a:close/>
                    <a:moveTo>
                      <a:pt x="903" y="3966"/>
                    </a:moveTo>
                    <a:lnTo>
                      <a:pt x="898" y="3983"/>
                    </a:lnTo>
                    <a:lnTo>
                      <a:pt x="898" y="3966"/>
                    </a:lnTo>
                    <a:lnTo>
                      <a:pt x="903" y="3966"/>
                    </a:lnTo>
                    <a:lnTo>
                      <a:pt x="903" y="3966"/>
                    </a:lnTo>
                    <a:lnTo>
                      <a:pt x="903" y="3966"/>
                    </a:lnTo>
                    <a:close/>
                    <a:moveTo>
                      <a:pt x="908" y="3966"/>
                    </a:moveTo>
                    <a:lnTo>
                      <a:pt x="919" y="3966"/>
                    </a:lnTo>
                    <a:lnTo>
                      <a:pt x="919" y="3971"/>
                    </a:lnTo>
                    <a:lnTo>
                      <a:pt x="903" y="3971"/>
                    </a:lnTo>
                    <a:lnTo>
                      <a:pt x="908" y="3966"/>
                    </a:lnTo>
                    <a:lnTo>
                      <a:pt x="908" y="3966"/>
                    </a:lnTo>
                    <a:lnTo>
                      <a:pt x="908" y="3966"/>
                    </a:lnTo>
                    <a:close/>
                    <a:moveTo>
                      <a:pt x="693" y="3966"/>
                    </a:moveTo>
                    <a:lnTo>
                      <a:pt x="702" y="3971"/>
                    </a:lnTo>
                    <a:lnTo>
                      <a:pt x="702" y="3988"/>
                    </a:lnTo>
                    <a:lnTo>
                      <a:pt x="693" y="3971"/>
                    </a:lnTo>
                    <a:lnTo>
                      <a:pt x="693" y="3966"/>
                    </a:lnTo>
                    <a:lnTo>
                      <a:pt x="693" y="3966"/>
                    </a:lnTo>
                    <a:lnTo>
                      <a:pt x="693" y="3966"/>
                    </a:lnTo>
                    <a:close/>
                    <a:moveTo>
                      <a:pt x="4323" y="3971"/>
                    </a:moveTo>
                    <a:lnTo>
                      <a:pt x="4318" y="3988"/>
                    </a:lnTo>
                    <a:lnTo>
                      <a:pt x="4302" y="3988"/>
                    </a:lnTo>
                    <a:lnTo>
                      <a:pt x="4302" y="3983"/>
                    </a:lnTo>
                    <a:lnTo>
                      <a:pt x="4323" y="3971"/>
                    </a:lnTo>
                    <a:lnTo>
                      <a:pt x="4323" y="3971"/>
                    </a:lnTo>
                    <a:lnTo>
                      <a:pt x="4323" y="3971"/>
                    </a:lnTo>
                    <a:close/>
                    <a:moveTo>
                      <a:pt x="919" y="3971"/>
                    </a:moveTo>
                    <a:lnTo>
                      <a:pt x="908" y="4004"/>
                    </a:lnTo>
                    <a:lnTo>
                      <a:pt x="903" y="4004"/>
                    </a:lnTo>
                    <a:lnTo>
                      <a:pt x="898" y="4000"/>
                    </a:lnTo>
                    <a:lnTo>
                      <a:pt x="903" y="3971"/>
                    </a:lnTo>
                    <a:lnTo>
                      <a:pt x="919" y="3971"/>
                    </a:lnTo>
                    <a:lnTo>
                      <a:pt x="919" y="3971"/>
                    </a:lnTo>
                    <a:lnTo>
                      <a:pt x="919" y="3971"/>
                    </a:lnTo>
                    <a:close/>
                    <a:moveTo>
                      <a:pt x="908" y="4004"/>
                    </a:moveTo>
                    <a:lnTo>
                      <a:pt x="919" y="4037"/>
                    </a:lnTo>
                    <a:lnTo>
                      <a:pt x="903" y="4021"/>
                    </a:lnTo>
                    <a:lnTo>
                      <a:pt x="908" y="4004"/>
                    </a:lnTo>
                    <a:lnTo>
                      <a:pt x="908" y="4004"/>
                    </a:lnTo>
                    <a:lnTo>
                      <a:pt x="908" y="4004"/>
                    </a:lnTo>
                    <a:close/>
                    <a:moveTo>
                      <a:pt x="6116" y="4316"/>
                    </a:moveTo>
                    <a:lnTo>
                      <a:pt x="6133" y="4304"/>
                    </a:lnTo>
                    <a:lnTo>
                      <a:pt x="6133" y="4316"/>
                    </a:lnTo>
                    <a:lnTo>
                      <a:pt x="6137" y="4297"/>
                    </a:lnTo>
                    <a:lnTo>
                      <a:pt x="6154" y="4304"/>
                    </a:lnTo>
                    <a:lnTo>
                      <a:pt x="6170" y="4292"/>
                    </a:lnTo>
                    <a:lnTo>
                      <a:pt x="6170" y="4297"/>
                    </a:lnTo>
                    <a:lnTo>
                      <a:pt x="6154" y="4321"/>
                    </a:lnTo>
                    <a:lnTo>
                      <a:pt x="6149" y="4321"/>
                    </a:lnTo>
                    <a:lnTo>
                      <a:pt x="6121" y="4337"/>
                    </a:lnTo>
                    <a:lnTo>
                      <a:pt x="6111" y="4337"/>
                    </a:lnTo>
                    <a:lnTo>
                      <a:pt x="6111" y="4349"/>
                    </a:lnTo>
                    <a:lnTo>
                      <a:pt x="6121" y="4354"/>
                    </a:lnTo>
                    <a:lnTo>
                      <a:pt x="6111" y="4354"/>
                    </a:lnTo>
                    <a:lnTo>
                      <a:pt x="6133" y="4354"/>
                    </a:lnTo>
                    <a:lnTo>
                      <a:pt x="6111" y="4375"/>
                    </a:lnTo>
                    <a:lnTo>
                      <a:pt x="6116" y="4392"/>
                    </a:lnTo>
                    <a:lnTo>
                      <a:pt x="6133" y="4403"/>
                    </a:lnTo>
                    <a:lnTo>
                      <a:pt x="6137" y="4375"/>
                    </a:lnTo>
                    <a:lnTo>
                      <a:pt x="6154" y="4354"/>
                    </a:lnTo>
                    <a:lnTo>
                      <a:pt x="6170" y="4354"/>
                    </a:lnTo>
                    <a:lnTo>
                      <a:pt x="6175" y="4337"/>
                    </a:lnTo>
                    <a:lnTo>
                      <a:pt x="6187" y="4349"/>
                    </a:lnTo>
                    <a:lnTo>
                      <a:pt x="6175" y="4354"/>
                    </a:lnTo>
                    <a:lnTo>
                      <a:pt x="6154" y="4392"/>
                    </a:lnTo>
                    <a:lnTo>
                      <a:pt x="6163" y="4408"/>
                    </a:lnTo>
                    <a:lnTo>
                      <a:pt x="6175" y="4392"/>
                    </a:lnTo>
                    <a:lnTo>
                      <a:pt x="6187" y="4375"/>
                    </a:lnTo>
                    <a:lnTo>
                      <a:pt x="6201" y="4403"/>
                    </a:lnTo>
                    <a:lnTo>
                      <a:pt x="6187" y="4415"/>
                    </a:lnTo>
                    <a:lnTo>
                      <a:pt x="6175" y="4465"/>
                    </a:lnTo>
                    <a:lnTo>
                      <a:pt x="6163" y="4481"/>
                    </a:lnTo>
                    <a:lnTo>
                      <a:pt x="6149" y="4470"/>
                    </a:lnTo>
                    <a:lnTo>
                      <a:pt x="6133" y="4481"/>
                    </a:lnTo>
                    <a:lnTo>
                      <a:pt x="6133" y="4432"/>
                    </a:lnTo>
                    <a:lnTo>
                      <a:pt x="6100" y="4465"/>
                    </a:lnTo>
                    <a:lnTo>
                      <a:pt x="6083" y="4465"/>
                    </a:lnTo>
                    <a:lnTo>
                      <a:pt x="6095" y="4448"/>
                    </a:lnTo>
                    <a:lnTo>
                      <a:pt x="6111" y="4408"/>
                    </a:lnTo>
                    <a:lnTo>
                      <a:pt x="6100" y="4375"/>
                    </a:lnTo>
                    <a:lnTo>
                      <a:pt x="6083" y="4370"/>
                    </a:lnTo>
                    <a:lnTo>
                      <a:pt x="6066" y="4408"/>
                    </a:lnTo>
                    <a:lnTo>
                      <a:pt x="6057" y="4415"/>
                    </a:lnTo>
                    <a:lnTo>
                      <a:pt x="6066" y="4392"/>
                    </a:lnTo>
                    <a:lnTo>
                      <a:pt x="6057" y="4408"/>
                    </a:lnTo>
                    <a:lnTo>
                      <a:pt x="6041" y="4408"/>
                    </a:lnTo>
                    <a:lnTo>
                      <a:pt x="6015" y="4460"/>
                    </a:lnTo>
                    <a:lnTo>
                      <a:pt x="5986" y="4465"/>
                    </a:lnTo>
                    <a:lnTo>
                      <a:pt x="5960" y="4448"/>
                    </a:lnTo>
                    <a:lnTo>
                      <a:pt x="5970" y="4441"/>
                    </a:lnTo>
                    <a:lnTo>
                      <a:pt x="6003" y="4432"/>
                    </a:lnTo>
                    <a:lnTo>
                      <a:pt x="6015" y="4408"/>
                    </a:lnTo>
                    <a:lnTo>
                      <a:pt x="6041" y="4392"/>
                    </a:lnTo>
                    <a:lnTo>
                      <a:pt x="6029" y="4392"/>
                    </a:lnTo>
                    <a:lnTo>
                      <a:pt x="6041" y="4375"/>
                    </a:lnTo>
                    <a:lnTo>
                      <a:pt x="6024" y="4392"/>
                    </a:lnTo>
                    <a:lnTo>
                      <a:pt x="6003" y="4387"/>
                    </a:lnTo>
                    <a:lnTo>
                      <a:pt x="6003" y="4403"/>
                    </a:lnTo>
                    <a:lnTo>
                      <a:pt x="5991" y="4408"/>
                    </a:lnTo>
                    <a:lnTo>
                      <a:pt x="5986" y="4403"/>
                    </a:lnTo>
                    <a:lnTo>
                      <a:pt x="5970" y="4408"/>
                    </a:lnTo>
                    <a:lnTo>
                      <a:pt x="5977" y="4392"/>
                    </a:lnTo>
                    <a:lnTo>
                      <a:pt x="5948" y="4403"/>
                    </a:lnTo>
                    <a:lnTo>
                      <a:pt x="5986" y="4387"/>
                    </a:lnTo>
                    <a:lnTo>
                      <a:pt x="5970" y="4387"/>
                    </a:lnTo>
                    <a:lnTo>
                      <a:pt x="5977" y="4359"/>
                    </a:lnTo>
                    <a:lnTo>
                      <a:pt x="5970" y="4375"/>
                    </a:lnTo>
                    <a:lnTo>
                      <a:pt x="5953" y="4387"/>
                    </a:lnTo>
                    <a:lnTo>
                      <a:pt x="5953" y="4375"/>
                    </a:lnTo>
                    <a:lnTo>
                      <a:pt x="5948" y="4392"/>
                    </a:lnTo>
                    <a:lnTo>
                      <a:pt x="5901" y="4403"/>
                    </a:lnTo>
                    <a:lnTo>
                      <a:pt x="5814" y="4387"/>
                    </a:lnTo>
                    <a:lnTo>
                      <a:pt x="5738" y="4392"/>
                    </a:lnTo>
                    <a:lnTo>
                      <a:pt x="5733" y="4392"/>
                    </a:lnTo>
                    <a:lnTo>
                      <a:pt x="5722" y="4370"/>
                    </a:lnTo>
                    <a:lnTo>
                      <a:pt x="5792" y="4316"/>
                    </a:lnTo>
                    <a:lnTo>
                      <a:pt x="5776" y="4304"/>
                    </a:lnTo>
                    <a:lnTo>
                      <a:pt x="5733" y="4316"/>
                    </a:lnTo>
                    <a:lnTo>
                      <a:pt x="5771" y="4281"/>
                    </a:lnTo>
                    <a:lnTo>
                      <a:pt x="5755" y="4297"/>
                    </a:lnTo>
                    <a:lnTo>
                      <a:pt x="5771" y="4304"/>
                    </a:lnTo>
                    <a:lnTo>
                      <a:pt x="5792" y="4248"/>
                    </a:lnTo>
                    <a:lnTo>
                      <a:pt x="5792" y="4259"/>
                    </a:lnTo>
                    <a:lnTo>
                      <a:pt x="5830" y="4264"/>
                    </a:lnTo>
                    <a:lnTo>
                      <a:pt x="5814" y="4264"/>
                    </a:lnTo>
                    <a:lnTo>
                      <a:pt x="5809" y="4248"/>
                    </a:lnTo>
                    <a:lnTo>
                      <a:pt x="5826" y="4248"/>
                    </a:lnTo>
                    <a:lnTo>
                      <a:pt x="5830" y="4248"/>
                    </a:lnTo>
                    <a:lnTo>
                      <a:pt x="5814" y="4248"/>
                    </a:lnTo>
                    <a:lnTo>
                      <a:pt x="5826" y="4243"/>
                    </a:lnTo>
                    <a:lnTo>
                      <a:pt x="5809" y="4243"/>
                    </a:lnTo>
                    <a:lnTo>
                      <a:pt x="5809" y="4226"/>
                    </a:lnTo>
                    <a:lnTo>
                      <a:pt x="5826" y="4210"/>
                    </a:lnTo>
                    <a:lnTo>
                      <a:pt x="5840" y="4222"/>
                    </a:lnTo>
                    <a:lnTo>
                      <a:pt x="5830" y="4210"/>
                    </a:lnTo>
                    <a:lnTo>
                      <a:pt x="5826" y="4205"/>
                    </a:lnTo>
                    <a:lnTo>
                      <a:pt x="5863" y="4115"/>
                    </a:lnTo>
                    <a:lnTo>
                      <a:pt x="5878" y="4111"/>
                    </a:lnTo>
                    <a:lnTo>
                      <a:pt x="5863" y="4111"/>
                    </a:lnTo>
                    <a:lnTo>
                      <a:pt x="5894" y="4082"/>
                    </a:lnTo>
                    <a:lnTo>
                      <a:pt x="5901" y="4077"/>
                    </a:lnTo>
                    <a:lnTo>
                      <a:pt x="5894" y="4070"/>
                    </a:lnTo>
                    <a:lnTo>
                      <a:pt x="5906" y="4061"/>
                    </a:lnTo>
                    <a:lnTo>
                      <a:pt x="5906" y="4054"/>
                    </a:lnTo>
                    <a:lnTo>
                      <a:pt x="5915" y="4044"/>
                    </a:lnTo>
                    <a:lnTo>
                      <a:pt x="5970" y="4016"/>
                    </a:lnTo>
                    <a:lnTo>
                      <a:pt x="5970" y="4025"/>
                    </a:lnTo>
                    <a:lnTo>
                      <a:pt x="5986" y="4025"/>
                    </a:lnTo>
                    <a:lnTo>
                      <a:pt x="5977" y="4021"/>
                    </a:lnTo>
                    <a:lnTo>
                      <a:pt x="6003" y="4021"/>
                    </a:lnTo>
                    <a:lnTo>
                      <a:pt x="5991" y="4044"/>
                    </a:lnTo>
                    <a:lnTo>
                      <a:pt x="5953" y="4044"/>
                    </a:lnTo>
                    <a:lnTo>
                      <a:pt x="5960" y="4061"/>
                    </a:lnTo>
                    <a:lnTo>
                      <a:pt x="5977" y="4054"/>
                    </a:lnTo>
                    <a:lnTo>
                      <a:pt x="5977" y="4070"/>
                    </a:lnTo>
                    <a:lnTo>
                      <a:pt x="5953" y="4099"/>
                    </a:lnTo>
                    <a:lnTo>
                      <a:pt x="5953" y="4082"/>
                    </a:lnTo>
                    <a:lnTo>
                      <a:pt x="5948" y="4115"/>
                    </a:lnTo>
                    <a:lnTo>
                      <a:pt x="5906" y="4170"/>
                    </a:lnTo>
                    <a:lnTo>
                      <a:pt x="5906" y="4188"/>
                    </a:lnTo>
                    <a:lnTo>
                      <a:pt x="5901" y="4193"/>
                    </a:lnTo>
                    <a:lnTo>
                      <a:pt x="5906" y="4193"/>
                    </a:lnTo>
                    <a:lnTo>
                      <a:pt x="5901" y="4210"/>
                    </a:lnTo>
                    <a:lnTo>
                      <a:pt x="5953" y="4153"/>
                    </a:lnTo>
                    <a:lnTo>
                      <a:pt x="5977" y="4181"/>
                    </a:lnTo>
                    <a:lnTo>
                      <a:pt x="6003" y="4170"/>
                    </a:lnTo>
                    <a:lnTo>
                      <a:pt x="6003" y="4181"/>
                    </a:lnTo>
                    <a:lnTo>
                      <a:pt x="5953" y="4205"/>
                    </a:lnTo>
                    <a:lnTo>
                      <a:pt x="5970" y="4205"/>
                    </a:lnTo>
                    <a:lnTo>
                      <a:pt x="5953" y="4226"/>
                    </a:lnTo>
                    <a:lnTo>
                      <a:pt x="5970" y="4222"/>
                    </a:lnTo>
                    <a:lnTo>
                      <a:pt x="5986" y="4226"/>
                    </a:lnTo>
                    <a:lnTo>
                      <a:pt x="5991" y="4222"/>
                    </a:lnTo>
                    <a:lnTo>
                      <a:pt x="5991" y="4226"/>
                    </a:lnTo>
                    <a:lnTo>
                      <a:pt x="6007" y="4222"/>
                    </a:lnTo>
                    <a:lnTo>
                      <a:pt x="6007" y="4238"/>
                    </a:lnTo>
                    <a:lnTo>
                      <a:pt x="6007" y="4210"/>
                    </a:lnTo>
                    <a:lnTo>
                      <a:pt x="6024" y="4210"/>
                    </a:lnTo>
                    <a:lnTo>
                      <a:pt x="6007" y="4259"/>
                    </a:lnTo>
                    <a:lnTo>
                      <a:pt x="6024" y="4226"/>
                    </a:lnTo>
                    <a:lnTo>
                      <a:pt x="6045" y="4243"/>
                    </a:lnTo>
                    <a:lnTo>
                      <a:pt x="6062" y="4210"/>
                    </a:lnTo>
                    <a:lnTo>
                      <a:pt x="6066" y="4222"/>
                    </a:lnTo>
                    <a:lnTo>
                      <a:pt x="6066" y="4243"/>
                    </a:lnTo>
                    <a:lnTo>
                      <a:pt x="6078" y="4226"/>
                    </a:lnTo>
                    <a:lnTo>
                      <a:pt x="6083" y="4226"/>
                    </a:lnTo>
                    <a:lnTo>
                      <a:pt x="6100" y="4222"/>
                    </a:lnTo>
                    <a:lnTo>
                      <a:pt x="6116" y="4226"/>
                    </a:lnTo>
                    <a:lnTo>
                      <a:pt x="6137" y="4243"/>
                    </a:lnTo>
                    <a:lnTo>
                      <a:pt x="6133" y="4259"/>
                    </a:lnTo>
                    <a:lnTo>
                      <a:pt x="6116" y="4259"/>
                    </a:lnTo>
                    <a:lnTo>
                      <a:pt x="6121" y="4264"/>
                    </a:lnTo>
                    <a:lnTo>
                      <a:pt x="6095" y="4281"/>
                    </a:lnTo>
                    <a:lnTo>
                      <a:pt x="6116" y="4281"/>
                    </a:lnTo>
                    <a:lnTo>
                      <a:pt x="6111" y="4297"/>
                    </a:lnTo>
                    <a:lnTo>
                      <a:pt x="6116" y="4292"/>
                    </a:lnTo>
                    <a:lnTo>
                      <a:pt x="6111" y="4297"/>
                    </a:lnTo>
                    <a:lnTo>
                      <a:pt x="6111" y="4292"/>
                    </a:lnTo>
                    <a:lnTo>
                      <a:pt x="6133" y="4292"/>
                    </a:lnTo>
                    <a:lnTo>
                      <a:pt x="6100" y="4304"/>
                    </a:lnTo>
                    <a:lnTo>
                      <a:pt x="6116" y="4304"/>
                    </a:lnTo>
                    <a:lnTo>
                      <a:pt x="6116" y="4316"/>
                    </a:lnTo>
                    <a:lnTo>
                      <a:pt x="6116" y="4316"/>
                    </a:lnTo>
                    <a:lnTo>
                      <a:pt x="6116" y="4316"/>
                    </a:lnTo>
                    <a:close/>
                    <a:moveTo>
                      <a:pt x="6100" y="4316"/>
                    </a:moveTo>
                    <a:lnTo>
                      <a:pt x="6095" y="4321"/>
                    </a:lnTo>
                    <a:lnTo>
                      <a:pt x="6116" y="4316"/>
                    </a:lnTo>
                    <a:lnTo>
                      <a:pt x="6100" y="4316"/>
                    </a:lnTo>
                    <a:lnTo>
                      <a:pt x="6100" y="4316"/>
                    </a:lnTo>
                    <a:lnTo>
                      <a:pt x="6100" y="4316"/>
                    </a:lnTo>
                    <a:close/>
                    <a:moveTo>
                      <a:pt x="5991" y="4077"/>
                    </a:moveTo>
                    <a:lnTo>
                      <a:pt x="5991" y="4082"/>
                    </a:lnTo>
                    <a:lnTo>
                      <a:pt x="5986" y="4082"/>
                    </a:lnTo>
                    <a:lnTo>
                      <a:pt x="5991" y="4077"/>
                    </a:lnTo>
                    <a:lnTo>
                      <a:pt x="5991" y="4077"/>
                    </a:lnTo>
                    <a:lnTo>
                      <a:pt x="5991" y="4077"/>
                    </a:lnTo>
                    <a:close/>
                    <a:moveTo>
                      <a:pt x="936" y="4082"/>
                    </a:moveTo>
                    <a:lnTo>
                      <a:pt x="936" y="4094"/>
                    </a:lnTo>
                    <a:lnTo>
                      <a:pt x="924" y="4082"/>
                    </a:lnTo>
                    <a:lnTo>
                      <a:pt x="936" y="4082"/>
                    </a:lnTo>
                    <a:lnTo>
                      <a:pt x="936" y="4082"/>
                    </a:lnTo>
                    <a:lnTo>
                      <a:pt x="936" y="4082"/>
                    </a:lnTo>
                    <a:close/>
                    <a:moveTo>
                      <a:pt x="1096" y="4137"/>
                    </a:moveTo>
                    <a:lnTo>
                      <a:pt x="1113" y="4181"/>
                    </a:lnTo>
                    <a:lnTo>
                      <a:pt x="1134" y="4193"/>
                    </a:lnTo>
                    <a:lnTo>
                      <a:pt x="1125" y="4205"/>
                    </a:lnTo>
                    <a:lnTo>
                      <a:pt x="1139" y="4222"/>
                    </a:lnTo>
                    <a:lnTo>
                      <a:pt x="1193" y="4243"/>
                    </a:lnTo>
                    <a:lnTo>
                      <a:pt x="1222" y="4281"/>
                    </a:lnTo>
                    <a:lnTo>
                      <a:pt x="1226" y="4297"/>
                    </a:lnTo>
                    <a:lnTo>
                      <a:pt x="1231" y="4292"/>
                    </a:lnTo>
                    <a:lnTo>
                      <a:pt x="1243" y="4321"/>
                    </a:lnTo>
                    <a:lnTo>
                      <a:pt x="1231" y="4316"/>
                    </a:lnTo>
                    <a:lnTo>
                      <a:pt x="1222" y="4333"/>
                    </a:lnTo>
                    <a:lnTo>
                      <a:pt x="1118" y="4292"/>
                    </a:lnTo>
                    <a:lnTo>
                      <a:pt x="1113" y="4281"/>
                    </a:lnTo>
                    <a:lnTo>
                      <a:pt x="1134" y="4259"/>
                    </a:lnTo>
                    <a:lnTo>
                      <a:pt x="1134" y="4243"/>
                    </a:lnTo>
                    <a:lnTo>
                      <a:pt x="1125" y="4264"/>
                    </a:lnTo>
                    <a:lnTo>
                      <a:pt x="1087" y="4276"/>
                    </a:lnTo>
                    <a:lnTo>
                      <a:pt x="1070" y="4259"/>
                    </a:lnTo>
                    <a:lnTo>
                      <a:pt x="1080" y="4243"/>
                    </a:lnTo>
                    <a:lnTo>
                      <a:pt x="1070" y="4248"/>
                    </a:lnTo>
                    <a:lnTo>
                      <a:pt x="1063" y="4238"/>
                    </a:lnTo>
                    <a:lnTo>
                      <a:pt x="1049" y="4243"/>
                    </a:lnTo>
                    <a:lnTo>
                      <a:pt x="1059" y="4226"/>
                    </a:lnTo>
                    <a:lnTo>
                      <a:pt x="1059" y="4238"/>
                    </a:lnTo>
                    <a:lnTo>
                      <a:pt x="1042" y="4226"/>
                    </a:lnTo>
                    <a:lnTo>
                      <a:pt x="1016" y="4226"/>
                    </a:lnTo>
                    <a:lnTo>
                      <a:pt x="1011" y="4210"/>
                    </a:lnTo>
                    <a:lnTo>
                      <a:pt x="1049" y="4205"/>
                    </a:lnTo>
                    <a:lnTo>
                      <a:pt x="1011" y="4193"/>
                    </a:lnTo>
                    <a:lnTo>
                      <a:pt x="1004" y="4181"/>
                    </a:lnTo>
                    <a:lnTo>
                      <a:pt x="995" y="4181"/>
                    </a:lnTo>
                    <a:lnTo>
                      <a:pt x="974" y="4188"/>
                    </a:lnTo>
                    <a:lnTo>
                      <a:pt x="962" y="4170"/>
                    </a:lnTo>
                    <a:lnTo>
                      <a:pt x="974" y="4165"/>
                    </a:lnTo>
                    <a:lnTo>
                      <a:pt x="957" y="4170"/>
                    </a:lnTo>
                    <a:lnTo>
                      <a:pt x="941" y="4153"/>
                    </a:lnTo>
                    <a:lnTo>
                      <a:pt x="919" y="4165"/>
                    </a:lnTo>
                    <a:lnTo>
                      <a:pt x="924" y="4148"/>
                    </a:lnTo>
                    <a:lnTo>
                      <a:pt x="924" y="4137"/>
                    </a:lnTo>
                    <a:lnTo>
                      <a:pt x="919" y="4137"/>
                    </a:lnTo>
                    <a:lnTo>
                      <a:pt x="919" y="4127"/>
                    </a:lnTo>
                    <a:lnTo>
                      <a:pt x="941" y="4127"/>
                    </a:lnTo>
                    <a:lnTo>
                      <a:pt x="952" y="4132"/>
                    </a:lnTo>
                    <a:lnTo>
                      <a:pt x="941" y="4127"/>
                    </a:lnTo>
                    <a:lnTo>
                      <a:pt x="957" y="4115"/>
                    </a:lnTo>
                    <a:lnTo>
                      <a:pt x="919" y="4111"/>
                    </a:lnTo>
                    <a:lnTo>
                      <a:pt x="941" y="4115"/>
                    </a:lnTo>
                    <a:lnTo>
                      <a:pt x="908" y="4132"/>
                    </a:lnTo>
                    <a:lnTo>
                      <a:pt x="886" y="4115"/>
                    </a:lnTo>
                    <a:lnTo>
                      <a:pt x="886" y="4099"/>
                    </a:lnTo>
                    <a:lnTo>
                      <a:pt x="919" y="4094"/>
                    </a:lnTo>
                    <a:lnTo>
                      <a:pt x="962" y="4111"/>
                    </a:lnTo>
                    <a:lnTo>
                      <a:pt x="1096" y="4137"/>
                    </a:lnTo>
                    <a:lnTo>
                      <a:pt x="1096" y="4137"/>
                    </a:lnTo>
                    <a:lnTo>
                      <a:pt x="1096" y="4137"/>
                    </a:lnTo>
                    <a:close/>
                    <a:moveTo>
                      <a:pt x="995" y="4099"/>
                    </a:moveTo>
                    <a:lnTo>
                      <a:pt x="990" y="4094"/>
                    </a:lnTo>
                    <a:lnTo>
                      <a:pt x="1011" y="4094"/>
                    </a:lnTo>
                    <a:lnTo>
                      <a:pt x="995" y="4099"/>
                    </a:lnTo>
                    <a:lnTo>
                      <a:pt x="995" y="4099"/>
                    </a:lnTo>
                    <a:lnTo>
                      <a:pt x="995" y="4099"/>
                    </a:lnTo>
                    <a:close/>
                    <a:moveTo>
                      <a:pt x="1033" y="4094"/>
                    </a:moveTo>
                    <a:lnTo>
                      <a:pt x="1042" y="4099"/>
                    </a:lnTo>
                    <a:lnTo>
                      <a:pt x="1033" y="4111"/>
                    </a:lnTo>
                    <a:lnTo>
                      <a:pt x="1011" y="4111"/>
                    </a:lnTo>
                    <a:lnTo>
                      <a:pt x="1033" y="4094"/>
                    </a:lnTo>
                    <a:lnTo>
                      <a:pt x="1033" y="4094"/>
                    </a:lnTo>
                    <a:lnTo>
                      <a:pt x="1033" y="4094"/>
                    </a:lnTo>
                    <a:close/>
                    <a:moveTo>
                      <a:pt x="1004" y="4099"/>
                    </a:moveTo>
                    <a:lnTo>
                      <a:pt x="1016" y="4099"/>
                    </a:lnTo>
                    <a:lnTo>
                      <a:pt x="1011" y="4111"/>
                    </a:lnTo>
                    <a:lnTo>
                      <a:pt x="1004" y="4099"/>
                    </a:lnTo>
                    <a:lnTo>
                      <a:pt x="1004" y="4099"/>
                    </a:lnTo>
                    <a:lnTo>
                      <a:pt x="1004" y="4099"/>
                    </a:lnTo>
                    <a:close/>
                    <a:moveTo>
                      <a:pt x="990" y="4115"/>
                    </a:moveTo>
                    <a:lnTo>
                      <a:pt x="974" y="4111"/>
                    </a:lnTo>
                    <a:lnTo>
                      <a:pt x="995" y="4111"/>
                    </a:lnTo>
                    <a:lnTo>
                      <a:pt x="990" y="4115"/>
                    </a:lnTo>
                    <a:lnTo>
                      <a:pt x="990" y="4115"/>
                    </a:lnTo>
                    <a:lnTo>
                      <a:pt x="990" y="4115"/>
                    </a:lnTo>
                    <a:close/>
                    <a:moveTo>
                      <a:pt x="1016" y="4111"/>
                    </a:moveTo>
                    <a:lnTo>
                      <a:pt x="1026" y="4115"/>
                    </a:lnTo>
                    <a:lnTo>
                      <a:pt x="1011" y="4115"/>
                    </a:lnTo>
                    <a:lnTo>
                      <a:pt x="1016" y="4111"/>
                    </a:lnTo>
                    <a:lnTo>
                      <a:pt x="1016" y="4111"/>
                    </a:lnTo>
                    <a:lnTo>
                      <a:pt x="1016" y="4111"/>
                    </a:lnTo>
                    <a:close/>
                    <a:moveTo>
                      <a:pt x="1033" y="4115"/>
                    </a:moveTo>
                    <a:lnTo>
                      <a:pt x="1011" y="4127"/>
                    </a:lnTo>
                    <a:lnTo>
                      <a:pt x="1033" y="4115"/>
                    </a:lnTo>
                    <a:lnTo>
                      <a:pt x="1033" y="4115"/>
                    </a:lnTo>
                    <a:lnTo>
                      <a:pt x="1033" y="4115"/>
                    </a:lnTo>
                    <a:close/>
                    <a:moveTo>
                      <a:pt x="1063" y="4127"/>
                    </a:moveTo>
                    <a:lnTo>
                      <a:pt x="1070" y="4132"/>
                    </a:lnTo>
                    <a:lnTo>
                      <a:pt x="1059" y="4132"/>
                    </a:lnTo>
                    <a:lnTo>
                      <a:pt x="1063" y="4127"/>
                    </a:lnTo>
                    <a:lnTo>
                      <a:pt x="1063" y="4127"/>
                    </a:lnTo>
                    <a:lnTo>
                      <a:pt x="1063" y="4127"/>
                    </a:lnTo>
                    <a:close/>
                    <a:moveTo>
                      <a:pt x="1096" y="4127"/>
                    </a:moveTo>
                    <a:lnTo>
                      <a:pt x="1096" y="4132"/>
                    </a:lnTo>
                    <a:lnTo>
                      <a:pt x="1087" y="4132"/>
                    </a:lnTo>
                    <a:lnTo>
                      <a:pt x="1096" y="4127"/>
                    </a:lnTo>
                    <a:lnTo>
                      <a:pt x="1096" y="4127"/>
                    </a:lnTo>
                    <a:lnTo>
                      <a:pt x="1096" y="4127"/>
                    </a:lnTo>
                    <a:close/>
                    <a:moveTo>
                      <a:pt x="1101" y="4132"/>
                    </a:moveTo>
                    <a:lnTo>
                      <a:pt x="1118" y="4148"/>
                    </a:lnTo>
                    <a:lnTo>
                      <a:pt x="1113" y="4153"/>
                    </a:lnTo>
                    <a:lnTo>
                      <a:pt x="1113" y="4137"/>
                    </a:lnTo>
                    <a:lnTo>
                      <a:pt x="1096" y="4137"/>
                    </a:lnTo>
                    <a:lnTo>
                      <a:pt x="1101" y="4132"/>
                    </a:lnTo>
                    <a:lnTo>
                      <a:pt x="1101" y="4132"/>
                    </a:lnTo>
                    <a:lnTo>
                      <a:pt x="1101" y="4132"/>
                    </a:lnTo>
                    <a:close/>
                    <a:moveTo>
                      <a:pt x="1080" y="4132"/>
                    </a:moveTo>
                    <a:lnTo>
                      <a:pt x="1070" y="4132"/>
                    </a:lnTo>
                    <a:lnTo>
                      <a:pt x="1087" y="4132"/>
                    </a:lnTo>
                    <a:lnTo>
                      <a:pt x="1080" y="4132"/>
                    </a:lnTo>
                    <a:lnTo>
                      <a:pt x="1080" y="4132"/>
                    </a:lnTo>
                    <a:lnTo>
                      <a:pt x="1080" y="4132"/>
                    </a:lnTo>
                    <a:close/>
                    <a:moveTo>
                      <a:pt x="1139" y="4137"/>
                    </a:moveTo>
                    <a:lnTo>
                      <a:pt x="1151" y="4148"/>
                    </a:lnTo>
                    <a:lnTo>
                      <a:pt x="1139" y="4153"/>
                    </a:lnTo>
                    <a:lnTo>
                      <a:pt x="1134" y="4148"/>
                    </a:lnTo>
                    <a:lnTo>
                      <a:pt x="1139" y="4137"/>
                    </a:lnTo>
                    <a:lnTo>
                      <a:pt x="1139" y="4137"/>
                    </a:lnTo>
                    <a:lnTo>
                      <a:pt x="1139" y="4137"/>
                    </a:lnTo>
                    <a:close/>
                    <a:moveTo>
                      <a:pt x="1134" y="4137"/>
                    </a:moveTo>
                    <a:lnTo>
                      <a:pt x="1139" y="4153"/>
                    </a:lnTo>
                    <a:lnTo>
                      <a:pt x="1134" y="4165"/>
                    </a:lnTo>
                    <a:lnTo>
                      <a:pt x="1125" y="4148"/>
                    </a:lnTo>
                    <a:lnTo>
                      <a:pt x="1134" y="4137"/>
                    </a:lnTo>
                    <a:lnTo>
                      <a:pt x="1134" y="4137"/>
                    </a:lnTo>
                    <a:lnTo>
                      <a:pt x="1134" y="4137"/>
                    </a:lnTo>
                    <a:close/>
                    <a:moveTo>
                      <a:pt x="1096" y="4148"/>
                    </a:moveTo>
                    <a:lnTo>
                      <a:pt x="1113" y="4148"/>
                    </a:lnTo>
                    <a:lnTo>
                      <a:pt x="1113" y="4170"/>
                    </a:lnTo>
                    <a:lnTo>
                      <a:pt x="1096" y="4148"/>
                    </a:lnTo>
                    <a:lnTo>
                      <a:pt x="1096" y="4148"/>
                    </a:lnTo>
                    <a:lnTo>
                      <a:pt x="1096" y="4148"/>
                    </a:lnTo>
                    <a:close/>
                    <a:moveTo>
                      <a:pt x="1125" y="4148"/>
                    </a:moveTo>
                    <a:lnTo>
                      <a:pt x="1134" y="4165"/>
                    </a:lnTo>
                    <a:lnTo>
                      <a:pt x="1125" y="4165"/>
                    </a:lnTo>
                    <a:lnTo>
                      <a:pt x="1118" y="4165"/>
                    </a:lnTo>
                    <a:lnTo>
                      <a:pt x="1125" y="4148"/>
                    </a:lnTo>
                    <a:lnTo>
                      <a:pt x="1125" y="4148"/>
                    </a:lnTo>
                    <a:lnTo>
                      <a:pt x="1125" y="4148"/>
                    </a:lnTo>
                    <a:close/>
                    <a:moveTo>
                      <a:pt x="5436" y="4188"/>
                    </a:moveTo>
                    <a:lnTo>
                      <a:pt x="5500" y="4210"/>
                    </a:lnTo>
                    <a:lnTo>
                      <a:pt x="5523" y="4226"/>
                    </a:lnTo>
                    <a:lnTo>
                      <a:pt x="5544" y="4238"/>
                    </a:lnTo>
                    <a:lnTo>
                      <a:pt x="5561" y="4248"/>
                    </a:lnTo>
                    <a:lnTo>
                      <a:pt x="5528" y="4259"/>
                    </a:lnTo>
                    <a:lnTo>
                      <a:pt x="5462" y="4243"/>
                    </a:lnTo>
                    <a:lnTo>
                      <a:pt x="5431" y="4226"/>
                    </a:lnTo>
                    <a:lnTo>
                      <a:pt x="5410" y="4205"/>
                    </a:lnTo>
                    <a:lnTo>
                      <a:pt x="5365" y="4188"/>
                    </a:lnTo>
                    <a:lnTo>
                      <a:pt x="5381" y="4170"/>
                    </a:lnTo>
                    <a:lnTo>
                      <a:pt x="5436" y="4188"/>
                    </a:lnTo>
                    <a:lnTo>
                      <a:pt x="5436" y="4188"/>
                    </a:lnTo>
                    <a:lnTo>
                      <a:pt x="5436" y="4188"/>
                    </a:lnTo>
                    <a:close/>
                    <a:moveTo>
                      <a:pt x="1004" y="4181"/>
                    </a:moveTo>
                    <a:lnTo>
                      <a:pt x="1011" y="4193"/>
                    </a:lnTo>
                    <a:lnTo>
                      <a:pt x="1011" y="4210"/>
                    </a:lnTo>
                    <a:lnTo>
                      <a:pt x="990" y="4193"/>
                    </a:lnTo>
                    <a:lnTo>
                      <a:pt x="990" y="4188"/>
                    </a:lnTo>
                    <a:lnTo>
                      <a:pt x="1004" y="4181"/>
                    </a:lnTo>
                    <a:lnTo>
                      <a:pt x="1004" y="4181"/>
                    </a:lnTo>
                    <a:lnTo>
                      <a:pt x="1004" y="4181"/>
                    </a:lnTo>
                    <a:close/>
                    <a:moveTo>
                      <a:pt x="1189" y="4222"/>
                    </a:moveTo>
                    <a:lnTo>
                      <a:pt x="1151" y="4188"/>
                    </a:lnTo>
                    <a:lnTo>
                      <a:pt x="1172" y="4193"/>
                    </a:lnTo>
                    <a:lnTo>
                      <a:pt x="1189" y="4222"/>
                    </a:lnTo>
                    <a:lnTo>
                      <a:pt x="1189" y="4222"/>
                    </a:lnTo>
                    <a:lnTo>
                      <a:pt x="1189" y="4222"/>
                    </a:lnTo>
                    <a:close/>
                    <a:moveTo>
                      <a:pt x="1193" y="4193"/>
                    </a:moveTo>
                    <a:lnTo>
                      <a:pt x="1189" y="4205"/>
                    </a:lnTo>
                    <a:lnTo>
                      <a:pt x="1177" y="4205"/>
                    </a:lnTo>
                    <a:lnTo>
                      <a:pt x="1193" y="4193"/>
                    </a:lnTo>
                    <a:lnTo>
                      <a:pt x="1193" y="4193"/>
                    </a:lnTo>
                    <a:lnTo>
                      <a:pt x="1193" y="4193"/>
                    </a:lnTo>
                    <a:close/>
                    <a:moveTo>
                      <a:pt x="6095" y="4193"/>
                    </a:moveTo>
                    <a:lnTo>
                      <a:pt x="6100" y="4205"/>
                    </a:lnTo>
                    <a:lnTo>
                      <a:pt x="6078" y="4210"/>
                    </a:lnTo>
                    <a:lnTo>
                      <a:pt x="6078" y="4193"/>
                    </a:lnTo>
                    <a:lnTo>
                      <a:pt x="6095" y="4193"/>
                    </a:lnTo>
                    <a:lnTo>
                      <a:pt x="6095" y="4193"/>
                    </a:lnTo>
                    <a:lnTo>
                      <a:pt x="6095" y="4193"/>
                    </a:lnTo>
                    <a:close/>
                    <a:moveTo>
                      <a:pt x="6062" y="4205"/>
                    </a:moveTo>
                    <a:lnTo>
                      <a:pt x="6041" y="4222"/>
                    </a:lnTo>
                    <a:lnTo>
                      <a:pt x="6041" y="4210"/>
                    </a:lnTo>
                    <a:lnTo>
                      <a:pt x="6045" y="4210"/>
                    </a:lnTo>
                    <a:lnTo>
                      <a:pt x="6062" y="4205"/>
                    </a:lnTo>
                    <a:lnTo>
                      <a:pt x="6062" y="4205"/>
                    </a:lnTo>
                    <a:lnTo>
                      <a:pt x="6062" y="4205"/>
                    </a:lnTo>
                    <a:close/>
                    <a:moveTo>
                      <a:pt x="5986" y="4205"/>
                    </a:moveTo>
                    <a:lnTo>
                      <a:pt x="5991" y="4210"/>
                    </a:lnTo>
                    <a:lnTo>
                      <a:pt x="5977" y="4210"/>
                    </a:lnTo>
                    <a:lnTo>
                      <a:pt x="5986" y="4205"/>
                    </a:lnTo>
                    <a:lnTo>
                      <a:pt x="5986" y="4205"/>
                    </a:lnTo>
                    <a:lnTo>
                      <a:pt x="5986" y="4205"/>
                    </a:lnTo>
                    <a:close/>
                    <a:moveTo>
                      <a:pt x="1243" y="4222"/>
                    </a:moveTo>
                    <a:lnTo>
                      <a:pt x="1231" y="4226"/>
                    </a:lnTo>
                    <a:lnTo>
                      <a:pt x="1231" y="4222"/>
                    </a:lnTo>
                    <a:lnTo>
                      <a:pt x="1243" y="4222"/>
                    </a:lnTo>
                    <a:lnTo>
                      <a:pt x="1243" y="4222"/>
                    </a:lnTo>
                    <a:lnTo>
                      <a:pt x="1243" y="4222"/>
                    </a:lnTo>
                    <a:close/>
                    <a:moveTo>
                      <a:pt x="1042" y="4226"/>
                    </a:moveTo>
                    <a:lnTo>
                      <a:pt x="1049" y="4243"/>
                    </a:lnTo>
                    <a:lnTo>
                      <a:pt x="1033" y="4238"/>
                    </a:lnTo>
                    <a:lnTo>
                      <a:pt x="1033" y="4226"/>
                    </a:lnTo>
                    <a:lnTo>
                      <a:pt x="1042" y="4226"/>
                    </a:lnTo>
                    <a:lnTo>
                      <a:pt x="1042" y="4226"/>
                    </a:lnTo>
                    <a:lnTo>
                      <a:pt x="1042" y="4226"/>
                    </a:lnTo>
                    <a:close/>
                    <a:moveTo>
                      <a:pt x="1063" y="4243"/>
                    </a:moveTo>
                    <a:lnTo>
                      <a:pt x="1063" y="4248"/>
                    </a:lnTo>
                    <a:lnTo>
                      <a:pt x="1059" y="4243"/>
                    </a:lnTo>
                    <a:lnTo>
                      <a:pt x="1063" y="4243"/>
                    </a:lnTo>
                    <a:lnTo>
                      <a:pt x="1063" y="4243"/>
                    </a:lnTo>
                    <a:lnTo>
                      <a:pt x="1063" y="4243"/>
                    </a:lnTo>
                    <a:close/>
                    <a:moveTo>
                      <a:pt x="1205" y="4248"/>
                    </a:moveTo>
                    <a:lnTo>
                      <a:pt x="1210" y="4248"/>
                    </a:lnTo>
                    <a:lnTo>
                      <a:pt x="1205" y="4248"/>
                    </a:lnTo>
                    <a:lnTo>
                      <a:pt x="1205" y="4248"/>
                    </a:lnTo>
                    <a:lnTo>
                      <a:pt x="1205" y="4248"/>
                    </a:lnTo>
                    <a:close/>
                    <a:moveTo>
                      <a:pt x="1222" y="4259"/>
                    </a:moveTo>
                    <a:lnTo>
                      <a:pt x="1243" y="4276"/>
                    </a:lnTo>
                    <a:lnTo>
                      <a:pt x="1226" y="4264"/>
                    </a:lnTo>
                    <a:lnTo>
                      <a:pt x="1222" y="4259"/>
                    </a:lnTo>
                    <a:lnTo>
                      <a:pt x="1222" y="4259"/>
                    </a:lnTo>
                    <a:lnTo>
                      <a:pt x="1222" y="4259"/>
                    </a:lnTo>
                    <a:close/>
                    <a:moveTo>
                      <a:pt x="1226" y="4276"/>
                    </a:moveTo>
                    <a:lnTo>
                      <a:pt x="1231" y="4292"/>
                    </a:lnTo>
                    <a:lnTo>
                      <a:pt x="1226" y="4292"/>
                    </a:lnTo>
                    <a:lnTo>
                      <a:pt x="1226" y="4276"/>
                    </a:lnTo>
                    <a:lnTo>
                      <a:pt x="1226" y="4276"/>
                    </a:lnTo>
                    <a:lnTo>
                      <a:pt x="1226" y="4276"/>
                    </a:lnTo>
                    <a:close/>
                    <a:moveTo>
                      <a:pt x="6133" y="4337"/>
                    </a:moveTo>
                    <a:lnTo>
                      <a:pt x="6133" y="4349"/>
                    </a:lnTo>
                    <a:lnTo>
                      <a:pt x="6121" y="4354"/>
                    </a:lnTo>
                    <a:lnTo>
                      <a:pt x="6111" y="4337"/>
                    </a:lnTo>
                    <a:lnTo>
                      <a:pt x="6133" y="4337"/>
                    </a:lnTo>
                    <a:lnTo>
                      <a:pt x="6133" y="4337"/>
                    </a:lnTo>
                    <a:lnTo>
                      <a:pt x="6133" y="4337"/>
                    </a:lnTo>
                    <a:close/>
                    <a:moveTo>
                      <a:pt x="5365" y="4354"/>
                    </a:moveTo>
                    <a:lnTo>
                      <a:pt x="5365" y="4359"/>
                    </a:lnTo>
                    <a:lnTo>
                      <a:pt x="5360" y="4359"/>
                    </a:lnTo>
                    <a:lnTo>
                      <a:pt x="5365" y="4354"/>
                    </a:lnTo>
                    <a:lnTo>
                      <a:pt x="5365" y="4354"/>
                    </a:lnTo>
                    <a:lnTo>
                      <a:pt x="5365" y="4354"/>
                    </a:lnTo>
                    <a:close/>
                    <a:moveTo>
                      <a:pt x="5365" y="4359"/>
                    </a:moveTo>
                    <a:lnTo>
                      <a:pt x="5360" y="4375"/>
                    </a:lnTo>
                    <a:lnTo>
                      <a:pt x="5355" y="4375"/>
                    </a:lnTo>
                    <a:lnTo>
                      <a:pt x="5355" y="4370"/>
                    </a:lnTo>
                    <a:lnTo>
                      <a:pt x="5365" y="4359"/>
                    </a:lnTo>
                    <a:lnTo>
                      <a:pt x="5365" y="4359"/>
                    </a:lnTo>
                    <a:lnTo>
                      <a:pt x="5365" y="4359"/>
                    </a:lnTo>
                    <a:close/>
                    <a:moveTo>
                      <a:pt x="5970" y="4387"/>
                    </a:moveTo>
                    <a:lnTo>
                      <a:pt x="5970" y="4392"/>
                    </a:lnTo>
                    <a:lnTo>
                      <a:pt x="5953" y="4387"/>
                    </a:lnTo>
                    <a:lnTo>
                      <a:pt x="5970" y="4387"/>
                    </a:lnTo>
                    <a:lnTo>
                      <a:pt x="5970" y="4387"/>
                    </a:lnTo>
                    <a:lnTo>
                      <a:pt x="5970" y="4387"/>
                    </a:lnTo>
                    <a:close/>
                    <a:moveTo>
                      <a:pt x="6095" y="4392"/>
                    </a:moveTo>
                    <a:lnTo>
                      <a:pt x="6083" y="4408"/>
                    </a:lnTo>
                    <a:lnTo>
                      <a:pt x="6078" y="4408"/>
                    </a:lnTo>
                    <a:lnTo>
                      <a:pt x="6095" y="4392"/>
                    </a:lnTo>
                    <a:lnTo>
                      <a:pt x="6095" y="4392"/>
                    </a:lnTo>
                    <a:lnTo>
                      <a:pt x="6095" y="4392"/>
                    </a:lnTo>
                    <a:close/>
                    <a:moveTo>
                      <a:pt x="5582" y="4392"/>
                    </a:moveTo>
                    <a:lnTo>
                      <a:pt x="5570" y="4403"/>
                    </a:lnTo>
                    <a:lnTo>
                      <a:pt x="5544" y="4425"/>
                    </a:lnTo>
                    <a:lnTo>
                      <a:pt x="5554" y="4425"/>
                    </a:lnTo>
                    <a:lnTo>
                      <a:pt x="5537" y="4425"/>
                    </a:lnTo>
                    <a:lnTo>
                      <a:pt x="5544" y="4408"/>
                    </a:lnTo>
                    <a:lnTo>
                      <a:pt x="5582" y="4392"/>
                    </a:lnTo>
                    <a:lnTo>
                      <a:pt x="5582" y="4392"/>
                    </a:lnTo>
                    <a:lnTo>
                      <a:pt x="5582" y="4392"/>
                    </a:lnTo>
                    <a:close/>
                    <a:moveTo>
                      <a:pt x="5523" y="4503"/>
                    </a:moveTo>
                    <a:lnTo>
                      <a:pt x="5500" y="4519"/>
                    </a:lnTo>
                    <a:lnTo>
                      <a:pt x="5507" y="4526"/>
                    </a:lnTo>
                    <a:lnTo>
                      <a:pt x="5507" y="4536"/>
                    </a:lnTo>
                    <a:lnTo>
                      <a:pt x="5485" y="4543"/>
                    </a:lnTo>
                    <a:lnTo>
                      <a:pt x="5474" y="4526"/>
                    </a:lnTo>
                    <a:lnTo>
                      <a:pt x="5462" y="4519"/>
                    </a:lnTo>
                    <a:lnTo>
                      <a:pt x="5474" y="4514"/>
                    </a:lnTo>
                    <a:lnTo>
                      <a:pt x="5452" y="4526"/>
                    </a:lnTo>
                    <a:lnTo>
                      <a:pt x="5419" y="4519"/>
                    </a:lnTo>
                    <a:lnTo>
                      <a:pt x="5415" y="4514"/>
                    </a:lnTo>
                    <a:lnTo>
                      <a:pt x="5415" y="4503"/>
                    </a:lnTo>
                    <a:lnTo>
                      <a:pt x="5393" y="4503"/>
                    </a:lnTo>
                    <a:lnTo>
                      <a:pt x="5393" y="4481"/>
                    </a:lnTo>
                    <a:lnTo>
                      <a:pt x="5377" y="4481"/>
                    </a:lnTo>
                    <a:lnTo>
                      <a:pt x="5365" y="4470"/>
                    </a:lnTo>
                    <a:lnTo>
                      <a:pt x="5398" y="4441"/>
                    </a:lnTo>
                    <a:lnTo>
                      <a:pt x="5398" y="4460"/>
                    </a:lnTo>
                    <a:lnTo>
                      <a:pt x="5393" y="4465"/>
                    </a:lnTo>
                    <a:lnTo>
                      <a:pt x="5415" y="4481"/>
                    </a:lnTo>
                    <a:lnTo>
                      <a:pt x="5415" y="4498"/>
                    </a:lnTo>
                    <a:lnTo>
                      <a:pt x="5419" y="4498"/>
                    </a:lnTo>
                    <a:lnTo>
                      <a:pt x="5419" y="4486"/>
                    </a:lnTo>
                    <a:lnTo>
                      <a:pt x="5452" y="4503"/>
                    </a:lnTo>
                    <a:lnTo>
                      <a:pt x="5544" y="4498"/>
                    </a:lnTo>
                    <a:lnTo>
                      <a:pt x="5523" y="4503"/>
                    </a:lnTo>
                    <a:lnTo>
                      <a:pt x="5523" y="4503"/>
                    </a:lnTo>
                    <a:lnTo>
                      <a:pt x="5523" y="4503"/>
                    </a:lnTo>
                    <a:close/>
                    <a:moveTo>
                      <a:pt x="5608" y="4552"/>
                    </a:moveTo>
                    <a:lnTo>
                      <a:pt x="5599" y="4569"/>
                    </a:lnTo>
                    <a:lnTo>
                      <a:pt x="5625" y="4569"/>
                    </a:lnTo>
                    <a:lnTo>
                      <a:pt x="5646" y="4543"/>
                    </a:lnTo>
                    <a:lnTo>
                      <a:pt x="5651" y="4536"/>
                    </a:lnTo>
                    <a:lnTo>
                      <a:pt x="5629" y="4552"/>
                    </a:lnTo>
                    <a:lnTo>
                      <a:pt x="5625" y="4543"/>
                    </a:lnTo>
                    <a:lnTo>
                      <a:pt x="5663" y="4519"/>
                    </a:lnTo>
                    <a:lnTo>
                      <a:pt x="5637" y="4536"/>
                    </a:lnTo>
                    <a:lnTo>
                      <a:pt x="5663" y="4514"/>
                    </a:lnTo>
                    <a:lnTo>
                      <a:pt x="5689" y="4519"/>
                    </a:lnTo>
                    <a:lnTo>
                      <a:pt x="5689" y="4526"/>
                    </a:lnTo>
                    <a:lnTo>
                      <a:pt x="5689" y="4543"/>
                    </a:lnTo>
                    <a:lnTo>
                      <a:pt x="5667" y="4552"/>
                    </a:lnTo>
                    <a:lnTo>
                      <a:pt x="5663" y="4569"/>
                    </a:lnTo>
                    <a:lnTo>
                      <a:pt x="5646" y="4576"/>
                    </a:lnTo>
                    <a:lnTo>
                      <a:pt x="5599" y="4576"/>
                    </a:lnTo>
                    <a:lnTo>
                      <a:pt x="5582" y="4576"/>
                    </a:lnTo>
                    <a:lnTo>
                      <a:pt x="5575" y="4569"/>
                    </a:lnTo>
                    <a:lnTo>
                      <a:pt x="5575" y="4536"/>
                    </a:lnTo>
                    <a:lnTo>
                      <a:pt x="5575" y="4526"/>
                    </a:lnTo>
                    <a:lnTo>
                      <a:pt x="5592" y="4519"/>
                    </a:lnTo>
                    <a:lnTo>
                      <a:pt x="5637" y="4448"/>
                    </a:lnTo>
                    <a:lnTo>
                      <a:pt x="5646" y="4448"/>
                    </a:lnTo>
                    <a:lnTo>
                      <a:pt x="5646" y="4460"/>
                    </a:lnTo>
                    <a:lnTo>
                      <a:pt x="5663" y="4465"/>
                    </a:lnTo>
                    <a:lnTo>
                      <a:pt x="5637" y="4519"/>
                    </a:lnTo>
                    <a:lnTo>
                      <a:pt x="5651" y="4514"/>
                    </a:lnTo>
                    <a:lnTo>
                      <a:pt x="5637" y="4526"/>
                    </a:lnTo>
                    <a:lnTo>
                      <a:pt x="5599" y="4543"/>
                    </a:lnTo>
                    <a:lnTo>
                      <a:pt x="5629" y="4536"/>
                    </a:lnTo>
                    <a:lnTo>
                      <a:pt x="5625" y="4543"/>
                    </a:lnTo>
                    <a:lnTo>
                      <a:pt x="5608" y="4552"/>
                    </a:lnTo>
                    <a:lnTo>
                      <a:pt x="5613" y="4552"/>
                    </a:lnTo>
                    <a:lnTo>
                      <a:pt x="5608" y="4552"/>
                    </a:lnTo>
                    <a:lnTo>
                      <a:pt x="5608" y="4552"/>
                    </a:lnTo>
                    <a:lnTo>
                      <a:pt x="5608" y="4552"/>
                    </a:lnTo>
                    <a:close/>
                    <a:moveTo>
                      <a:pt x="5613" y="4576"/>
                    </a:moveTo>
                    <a:lnTo>
                      <a:pt x="5608" y="4581"/>
                    </a:lnTo>
                    <a:lnTo>
                      <a:pt x="5599" y="4581"/>
                    </a:lnTo>
                    <a:lnTo>
                      <a:pt x="5613" y="4576"/>
                    </a:lnTo>
                    <a:lnTo>
                      <a:pt x="5613" y="4576"/>
                    </a:lnTo>
                    <a:lnTo>
                      <a:pt x="5613" y="4576"/>
                    </a:lnTo>
                    <a:close/>
                    <a:moveTo>
                      <a:pt x="5204" y="4647"/>
                    </a:moveTo>
                    <a:lnTo>
                      <a:pt x="5204" y="4654"/>
                    </a:lnTo>
                    <a:lnTo>
                      <a:pt x="5200" y="4663"/>
                    </a:lnTo>
                    <a:lnTo>
                      <a:pt x="5204" y="4647"/>
                    </a:lnTo>
                    <a:lnTo>
                      <a:pt x="5204" y="4647"/>
                    </a:lnTo>
                    <a:lnTo>
                      <a:pt x="5204" y="4647"/>
                    </a:lnTo>
                    <a:close/>
                    <a:moveTo>
                      <a:pt x="5679" y="4720"/>
                    </a:moveTo>
                    <a:lnTo>
                      <a:pt x="5700" y="4720"/>
                    </a:lnTo>
                    <a:lnTo>
                      <a:pt x="5689" y="4725"/>
                    </a:lnTo>
                    <a:lnTo>
                      <a:pt x="5679" y="4720"/>
                    </a:lnTo>
                    <a:lnTo>
                      <a:pt x="5679" y="4720"/>
                    </a:lnTo>
                    <a:lnTo>
                      <a:pt x="5679" y="472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0" name="Freeform 582">
                <a:extLst>
                  <a:ext uri="{FF2B5EF4-FFF2-40B4-BE49-F238E27FC236}">
                    <a16:creationId xmlns:a16="http://schemas.microsoft.com/office/drawing/2014/main" id="{D159DF9C-C171-416A-8006-DECA03E85B48}"/>
                  </a:ext>
                </a:extLst>
              </p:cNvPr>
              <p:cNvSpPr>
                <a:spLocks noEditPoints="1"/>
              </p:cNvSpPr>
              <p:nvPr/>
            </p:nvSpPr>
            <p:spPr bwMode="gray">
              <a:xfrm>
                <a:off x="1557717" y="1477839"/>
                <a:ext cx="10359267" cy="2020702"/>
              </a:xfrm>
              <a:custGeom>
                <a:avLst/>
                <a:gdLst>
                  <a:gd name="T0" fmla="*/ 3387 w 25164"/>
                  <a:gd name="T1" fmla="*/ 1889 h 4908"/>
                  <a:gd name="T2" fmla="*/ 3186 w 25164"/>
                  <a:gd name="T3" fmla="*/ 1606 h 4908"/>
                  <a:gd name="T4" fmla="*/ 2948 w 25164"/>
                  <a:gd name="T5" fmla="*/ 1462 h 4908"/>
                  <a:gd name="T6" fmla="*/ 2615 w 25164"/>
                  <a:gd name="T7" fmla="*/ 1351 h 4908"/>
                  <a:gd name="T8" fmla="*/ 2154 w 25164"/>
                  <a:gd name="T9" fmla="*/ 1263 h 4908"/>
                  <a:gd name="T10" fmla="*/ 1939 w 25164"/>
                  <a:gd name="T11" fmla="*/ 1301 h 4908"/>
                  <a:gd name="T12" fmla="*/ 1734 w 25164"/>
                  <a:gd name="T13" fmla="*/ 1445 h 4908"/>
                  <a:gd name="T14" fmla="*/ 1427 w 25164"/>
                  <a:gd name="T15" fmla="*/ 1755 h 4908"/>
                  <a:gd name="T16" fmla="*/ 1103 w 25164"/>
                  <a:gd name="T17" fmla="*/ 1866 h 4908"/>
                  <a:gd name="T18" fmla="*/ 1420 w 25164"/>
                  <a:gd name="T19" fmla="*/ 1462 h 4908"/>
                  <a:gd name="T20" fmla="*/ 978 w 25164"/>
                  <a:gd name="T21" fmla="*/ 1289 h 4908"/>
                  <a:gd name="T22" fmla="*/ 935 w 25164"/>
                  <a:gd name="T23" fmla="*/ 1145 h 4908"/>
                  <a:gd name="T24" fmla="*/ 1117 w 25164"/>
                  <a:gd name="T25" fmla="*/ 848 h 4908"/>
                  <a:gd name="T26" fmla="*/ 1205 w 25164"/>
                  <a:gd name="T27" fmla="*/ 670 h 4908"/>
                  <a:gd name="T28" fmla="*/ 1103 w 25164"/>
                  <a:gd name="T29" fmla="*/ 243 h 4908"/>
                  <a:gd name="T30" fmla="*/ 1696 w 25164"/>
                  <a:gd name="T31" fmla="*/ 26 h 4908"/>
                  <a:gd name="T32" fmla="*/ 520 w 25164"/>
                  <a:gd name="T33" fmla="*/ 980 h 4908"/>
                  <a:gd name="T34" fmla="*/ 2183 w 25164"/>
                  <a:gd name="T35" fmla="*/ 1263 h 4908"/>
                  <a:gd name="T36" fmla="*/ 2268 w 25164"/>
                  <a:gd name="T37" fmla="*/ 1296 h 4908"/>
                  <a:gd name="T38" fmla="*/ 2154 w 25164"/>
                  <a:gd name="T39" fmla="*/ 1346 h 4908"/>
                  <a:gd name="T40" fmla="*/ 1868 w 25164"/>
                  <a:gd name="T41" fmla="*/ 1533 h 4908"/>
                  <a:gd name="T42" fmla="*/ 3061 w 25164"/>
                  <a:gd name="T43" fmla="*/ 1589 h 4908"/>
                  <a:gd name="T44" fmla="*/ 2993 w 25164"/>
                  <a:gd name="T45" fmla="*/ 1556 h 4908"/>
                  <a:gd name="T46" fmla="*/ 1724 w 25164"/>
                  <a:gd name="T47" fmla="*/ 1651 h 4908"/>
                  <a:gd name="T48" fmla="*/ 3085 w 25164"/>
                  <a:gd name="T49" fmla="*/ 1622 h 4908"/>
                  <a:gd name="T50" fmla="*/ 3182 w 25164"/>
                  <a:gd name="T51" fmla="*/ 1677 h 4908"/>
                  <a:gd name="T52" fmla="*/ 3241 w 25164"/>
                  <a:gd name="T53" fmla="*/ 1684 h 4908"/>
                  <a:gd name="T54" fmla="*/ 3262 w 25164"/>
                  <a:gd name="T55" fmla="*/ 1722 h 4908"/>
                  <a:gd name="T56" fmla="*/ 3203 w 25164"/>
                  <a:gd name="T57" fmla="*/ 1804 h 4908"/>
                  <a:gd name="T58" fmla="*/ 3342 w 25164"/>
                  <a:gd name="T59" fmla="*/ 1833 h 4908"/>
                  <a:gd name="T60" fmla="*/ 3203 w 25164"/>
                  <a:gd name="T61" fmla="*/ 1811 h 4908"/>
                  <a:gd name="T62" fmla="*/ 1301 w 25164"/>
                  <a:gd name="T63" fmla="*/ 1828 h 4908"/>
                  <a:gd name="T64" fmla="*/ 3246 w 25164"/>
                  <a:gd name="T65" fmla="*/ 1861 h 4908"/>
                  <a:gd name="T66" fmla="*/ 3349 w 25164"/>
                  <a:gd name="T67" fmla="*/ 1866 h 4908"/>
                  <a:gd name="T68" fmla="*/ 957 w 25164"/>
                  <a:gd name="T69" fmla="*/ 1960 h 4908"/>
                  <a:gd name="T70" fmla="*/ 789 w 25164"/>
                  <a:gd name="T71" fmla="*/ 2017 h 4908"/>
                  <a:gd name="T72" fmla="*/ 324 w 25164"/>
                  <a:gd name="T73" fmla="*/ 2149 h 4908"/>
                  <a:gd name="T74" fmla="*/ 201 w 25164"/>
                  <a:gd name="T75" fmla="*/ 2161 h 4908"/>
                  <a:gd name="T76" fmla="*/ 75 w 25164"/>
                  <a:gd name="T77" fmla="*/ 2199 h 4908"/>
                  <a:gd name="T78" fmla="*/ 5882 w 25164"/>
                  <a:gd name="T79" fmla="*/ 2404 h 4908"/>
                  <a:gd name="T80" fmla="*/ 7004 w 25164"/>
                  <a:gd name="T81" fmla="*/ 2974 h 4908"/>
                  <a:gd name="T82" fmla="*/ 7743 w 25164"/>
                  <a:gd name="T83" fmla="*/ 2863 h 4908"/>
                  <a:gd name="T84" fmla="*/ 7561 w 25164"/>
                  <a:gd name="T85" fmla="*/ 3118 h 4908"/>
                  <a:gd name="T86" fmla="*/ 7231 w 25164"/>
                  <a:gd name="T87" fmla="*/ 3413 h 4908"/>
                  <a:gd name="T88" fmla="*/ 7150 w 25164"/>
                  <a:gd name="T89" fmla="*/ 3373 h 4908"/>
                  <a:gd name="T90" fmla="*/ 7200 w 25164"/>
                  <a:gd name="T91" fmla="*/ 3562 h 4908"/>
                  <a:gd name="T92" fmla="*/ 7086 w 25164"/>
                  <a:gd name="T93" fmla="*/ 3727 h 4908"/>
                  <a:gd name="T94" fmla="*/ 6890 w 25164"/>
                  <a:gd name="T95" fmla="*/ 4155 h 4908"/>
                  <a:gd name="T96" fmla="*/ 6638 w 25164"/>
                  <a:gd name="T97" fmla="*/ 4065 h 4908"/>
                  <a:gd name="T98" fmla="*/ 6281 w 25164"/>
                  <a:gd name="T99" fmla="*/ 4077 h 4908"/>
                  <a:gd name="T100" fmla="*/ 5908 w 25164"/>
                  <a:gd name="T101" fmla="*/ 4077 h 4908"/>
                  <a:gd name="T102" fmla="*/ 5530 w 25164"/>
                  <a:gd name="T103" fmla="*/ 4204 h 4908"/>
                  <a:gd name="T104" fmla="*/ 4013 w 25164"/>
                  <a:gd name="T105" fmla="*/ 3496 h 4908"/>
                  <a:gd name="T106" fmla="*/ 3841 w 25164"/>
                  <a:gd name="T107" fmla="*/ 2940 h 4908"/>
                  <a:gd name="T108" fmla="*/ 3947 w 25164"/>
                  <a:gd name="T109" fmla="*/ 2581 h 4908"/>
                  <a:gd name="T110" fmla="*/ 3938 w 25164"/>
                  <a:gd name="T111" fmla="*/ 2492 h 4908"/>
                  <a:gd name="T112" fmla="*/ 7738 w 25164"/>
                  <a:gd name="T113" fmla="*/ 2870 h 4908"/>
                  <a:gd name="T114" fmla="*/ 7344 w 25164"/>
                  <a:gd name="T115" fmla="*/ 3196 h 4908"/>
                  <a:gd name="T116" fmla="*/ 4245 w 25164"/>
                  <a:gd name="T117" fmla="*/ 3784 h 4908"/>
                  <a:gd name="T118" fmla="*/ 5903 w 25164"/>
                  <a:gd name="T119" fmla="*/ 4117 h 4908"/>
                  <a:gd name="T120" fmla="*/ 1356 w 25164"/>
                  <a:gd name="T121" fmla="*/ 4653 h 4908"/>
                  <a:gd name="T122" fmla="*/ 1549 w 25164"/>
                  <a:gd name="T123" fmla="*/ 4764 h 4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164" h="4908">
                    <a:moveTo>
                      <a:pt x="2662" y="222"/>
                    </a:moveTo>
                    <a:lnTo>
                      <a:pt x="2662" y="1313"/>
                    </a:lnTo>
                    <a:lnTo>
                      <a:pt x="2700" y="1318"/>
                    </a:lnTo>
                    <a:lnTo>
                      <a:pt x="2700" y="1313"/>
                    </a:lnTo>
                    <a:lnTo>
                      <a:pt x="2733" y="1329"/>
                    </a:lnTo>
                    <a:lnTo>
                      <a:pt x="2754" y="1313"/>
                    </a:lnTo>
                    <a:lnTo>
                      <a:pt x="2804" y="1301"/>
                    </a:lnTo>
                    <a:lnTo>
                      <a:pt x="2792" y="1334"/>
                    </a:lnTo>
                    <a:lnTo>
                      <a:pt x="2825" y="1351"/>
                    </a:lnTo>
                    <a:lnTo>
                      <a:pt x="2830" y="1367"/>
                    </a:lnTo>
                    <a:lnTo>
                      <a:pt x="2901" y="1424"/>
                    </a:lnTo>
                    <a:lnTo>
                      <a:pt x="2910" y="1462"/>
                    </a:lnTo>
                    <a:lnTo>
                      <a:pt x="2955" y="1429"/>
                    </a:lnTo>
                    <a:lnTo>
                      <a:pt x="2972" y="1429"/>
                    </a:lnTo>
                    <a:lnTo>
                      <a:pt x="2976" y="1424"/>
                    </a:lnTo>
                    <a:lnTo>
                      <a:pt x="2976" y="1400"/>
                    </a:lnTo>
                    <a:lnTo>
                      <a:pt x="2993" y="1400"/>
                    </a:lnTo>
                    <a:lnTo>
                      <a:pt x="2986" y="1389"/>
                    </a:lnTo>
                    <a:lnTo>
                      <a:pt x="3047" y="1367"/>
                    </a:lnTo>
                    <a:lnTo>
                      <a:pt x="3085" y="1389"/>
                    </a:lnTo>
                    <a:lnTo>
                      <a:pt x="3078" y="1407"/>
                    </a:lnTo>
                    <a:lnTo>
                      <a:pt x="3085" y="1424"/>
                    </a:lnTo>
                    <a:lnTo>
                      <a:pt x="3127" y="1441"/>
                    </a:lnTo>
                    <a:lnTo>
                      <a:pt x="3137" y="1474"/>
                    </a:lnTo>
                    <a:lnTo>
                      <a:pt x="3165" y="1478"/>
                    </a:lnTo>
                    <a:lnTo>
                      <a:pt x="3191" y="1511"/>
                    </a:lnTo>
                    <a:lnTo>
                      <a:pt x="3203" y="1528"/>
                    </a:lnTo>
                    <a:lnTo>
                      <a:pt x="3279" y="1639"/>
                    </a:lnTo>
                    <a:lnTo>
                      <a:pt x="3274" y="1651"/>
                    </a:lnTo>
                    <a:lnTo>
                      <a:pt x="3295" y="1660"/>
                    </a:lnTo>
                    <a:lnTo>
                      <a:pt x="3288" y="1677"/>
                    </a:lnTo>
                    <a:lnTo>
                      <a:pt x="3300" y="1684"/>
                    </a:lnTo>
                    <a:lnTo>
                      <a:pt x="3312" y="1700"/>
                    </a:lnTo>
                    <a:lnTo>
                      <a:pt x="3326" y="1700"/>
                    </a:lnTo>
                    <a:lnTo>
                      <a:pt x="3380" y="1722"/>
                    </a:lnTo>
                    <a:lnTo>
                      <a:pt x="3409" y="1750"/>
                    </a:lnTo>
                    <a:lnTo>
                      <a:pt x="3425" y="1750"/>
                    </a:lnTo>
                    <a:lnTo>
                      <a:pt x="3434" y="1771"/>
                    </a:lnTo>
                    <a:lnTo>
                      <a:pt x="3425" y="1788"/>
                    </a:lnTo>
                    <a:lnTo>
                      <a:pt x="3434" y="1833"/>
                    </a:lnTo>
                    <a:lnTo>
                      <a:pt x="3409" y="1873"/>
                    </a:lnTo>
                    <a:lnTo>
                      <a:pt x="3387" y="1889"/>
                    </a:lnTo>
                    <a:lnTo>
                      <a:pt x="3380" y="1866"/>
                    </a:lnTo>
                    <a:lnTo>
                      <a:pt x="3380" y="1882"/>
                    </a:lnTo>
                    <a:lnTo>
                      <a:pt x="3371" y="1889"/>
                    </a:lnTo>
                    <a:lnTo>
                      <a:pt x="3364" y="1866"/>
                    </a:lnTo>
                    <a:lnTo>
                      <a:pt x="3387" y="1849"/>
                    </a:lnTo>
                    <a:lnTo>
                      <a:pt x="3401" y="1833"/>
                    </a:lnTo>
                    <a:lnTo>
                      <a:pt x="3387" y="1849"/>
                    </a:lnTo>
                    <a:lnTo>
                      <a:pt x="3364" y="1849"/>
                    </a:lnTo>
                    <a:lnTo>
                      <a:pt x="3371" y="1833"/>
                    </a:lnTo>
                    <a:lnTo>
                      <a:pt x="3397" y="1833"/>
                    </a:lnTo>
                    <a:lnTo>
                      <a:pt x="3371" y="1833"/>
                    </a:lnTo>
                    <a:lnTo>
                      <a:pt x="3371" y="1795"/>
                    </a:lnTo>
                    <a:lnTo>
                      <a:pt x="3354" y="1771"/>
                    </a:lnTo>
                    <a:lnTo>
                      <a:pt x="3364" y="1755"/>
                    </a:lnTo>
                    <a:lnTo>
                      <a:pt x="3300" y="1778"/>
                    </a:lnTo>
                    <a:lnTo>
                      <a:pt x="3312" y="1778"/>
                    </a:lnTo>
                    <a:lnTo>
                      <a:pt x="3295" y="1811"/>
                    </a:lnTo>
                    <a:lnTo>
                      <a:pt x="3288" y="1804"/>
                    </a:lnTo>
                    <a:lnTo>
                      <a:pt x="3279" y="1788"/>
                    </a:lnTo>
                    <a:lnTo>
                      <a:pt x="3295" y="1762"/>
                    </a:lnTo>
                    <a:lnTo>
                      <a:pt x="3295" y="1750"/>
                    </a:lnTo>
                    <a:lnTo>
                      <a:pt x="3312" y="1738"/>
                    </a:lnTo>
                    <a:lnTo>
                      <a:pt x="3274" y="1705"/>
                    </a:lnTo>
                    <a:lnTo>
                      <a:pt x="3274" y="1700"/>
                    </a:lnTo>
                    <a:lnTo>
                      <a:pt x="3257" y="1700"/>
                    </a:lnTo>
                    <a:lnTo>
                      <a:pt x="3274" y="1677"/>
                    </a:lnTo>
                    <a:lnTo>
                      <a:pt x="3257" y="1684"/>
                    </a:lnTo>
                    <a:lnTo>
                      <a:pt x="3241" y="1677"/>
                    </a:lnTo>
                    <a:lnTo>
                      <a:pt x="3236" y="1667"/>
                    </a:lnTo>
                    <a:lnTo>
                      <a:pt x="3241" y="1660"/>
                    </a:lnTo>
                    <a:lnTo>
                      <a:pt x="3241" y="1651"/>
                    </a:lnTo>
                    <a:lnTo>
                      <a:pt x="3236" y="1660"/>
                    </a:lnTo>
                    <a:lnTo>
                      <a:pt x="3220" y="1651"/>
                    </a:lnTo>
                    <a:lnTo>
                      <a:pt x="3208" y="1644"/>
                    </a:lnTo>
                    <a:lnTo>
                      <a:pt x="3203" y="1651"/>
                    </a:lnTo>
                    <a:lnTo>
                      <a:pt x="3186" y="1644"/>
                    </a:lnTo>
                    <a:lnTo>
                      <a:pt x="3191" y="1627"/>
                    </a:lnTo>
                    <a:lnTo>
                      <a:pt x="3220" y="1622"/>
                    </a:lnTo>
                    <a:lnTo>
                      <a:pt x="3191" y="1627"/>
                    </a:lnTo>
                    <a:lnTo>
                      <a:pt x="3186" y="1611"/>
                    </a:lnTo>
                    <a:lnTo>
                      <a:pt x="3203" y="1594"/>
                    </a:lnTo>
                    <a:lnTo>
                      <a:pt x="3186" y="1606"/>
                    </a:lnTo>
                    <a:lnTo>
                      <a:pt x="3182" y="1589"/>
                    </a:lnTo>
                    <a:lnTo>
                      <a:pt x="3224" y="1606"/>
                    </a:lnTo>
                    <a:lnTo>
                      <a:pt x="3186" y="1585"/>
                    </a:lnTo>
                    <a:lnTo>
                      <a:pt x="3186" y="1568"/>
                    </a:lnTo>
                    <a:lnTo>
                      <a:pt x="3220" y="1573"/>
                    </a:lnTo>
                    <a:lnTo>
                      <a:pt x="3186" y="1568"/>
                    </a:lnTo>
                    <a:lnTo>
                      <a:pt x="3182" y="1585"/>
                    </a:lnTo>
                    <a:lnTo>
                      <a:pt x="3170" y="1556"/>
                    </a:lnTo>
                    <a:lnTo>
                      <a:pt x="3182" y="1540"/>
                    </a:lnTo>
                    <a:lnTo>
                      <a:pt x="3165" y="1556"/>
                    </a:lnTo>
                    <a:lnTo>
                      <a:pt x="3149" y="1552"/>
                    </a:lnTo>
                    <a:lnTo>
                      <a:pt x="3153" y="1516"/>
                    </a:lnTo>
                    <a:lnTo>
                      <a:pt x="3170" y="1500"/>
                    </a:lnTo>
                    <a:lnTo>
                      <a:pt x="3153" y="1500"/>
                    </a:lnTo>
                    <a:lnTo>
                      <a:pt x="3137" y="1533"/>
                    </a:lnTo>
                    <a:lnTo>
                      <a:pt x="3099" y="1516"/>
                    </a:lnTo>
                    <a:lnTo>
                      <a:pt x="3085" y="1483"/>
                    </a:lnTo>
                    <a:lnTo>
                      <a:pt x="3085" y="1474"/>
                    </a:lnTo>
                    <a:lnTo>
                      <a:pt x="3078" y="1478"/>
                    </a:lnTo>
                    <a:lnTo>
                      <a:pt x="3073" y="1474"/>
                    </a:lnTo>
                    <a:lnTo>
                      <a:pt x="3057" y="1424"/>
                    </a:lnTo>
                    <a:lnTo>
                      <a:pt x="3061" y="1400"/>
                    </a:lnTo>
                    <a:lnTo>
                      <a:pt x="3057" y="1424"/>
                    </a:lnTo>
                    <a:lnTo>
                      <a:pt x="3061" y="1445"/>
                    </a:lnTo>
                    <a:lnTo>
                      <a:pt x="3047" y="1429"/>
                    </a:lnTo>
                    <a:lnTo>
                      <a:pt x="3073" y="1483"/>
                    </a:lnTo>
                    <a:lnTo>
                      <a:pt x="3078" y="1516"/>
                    </a:lnTo>
                    <a:lnTo>
                      <a:pt x="3078" y="1533"/>
                    </a:lnTo>
                    <a:lnTo>
                      <a:pt x="3061" y="1533"/>
                    </a:lnTo>
                    <a:lnTo>
                      <a:pt x="3047" y="1511"/>
                    </a:lnTo>
                    <a:lnTo>
                      <a:pt x="3019" y="1516"/>
                    </a:lnTo>
                    <a:lnTo>
                      <a:pt x="3023" y="1500"/>
                    </a:lnTo>
                    <a:lnTo>
                      <a:pt x="3009" y="1474"/>
                    </a:lnTo>
                    <a:lnTo>
                      <a:pt x="3031" y="1462"/>
                    </a:lnTo>
                    <a:lnTo>
                      <a:pt x="3009" y="1462"/>
                    </a:lnTo>
                    <a:lnTo>
                      <a:pt x="3002" y="1445"/>
                    </a:lnTo>
                    <a:lnTo>
                      <a:pt x="3009" y="1474"/>
                    </a:lnTo>
                    <a:lnTo>
                      <a:pt x="2993" y="1478"/>
                    </a:lnTo>
                    <a:lnTo>
                      <a:pt x="2972" y="1457"/>
                    </a:lnTo>
                    <a:lnTo>
                      <a:pt x="2964" y="1462"/>
                    </a:lnTo>
                    <a:lnTo>
                      <a:pt x="2938" y="1445"/>
                    </a:lnTo>
                    <a:lnTo>
                      <a:pt x="2948" y="1462"/>
                    </a:lnTo>
                    <a:lnTo>
                      <a:pt x="2934" y="1474"/>
                    </a:lnTo>
                    <a:lnTo>
                      <a:pt x="2948" y="1462"/>
                    </a:lnTo>
                    <a:lnTo>
                      <a:pt x="2972" y="1474"/>
                    </a:lnTo>
                    <a:lnTo>
                      <a:pt x="2976" y="1474"/>
                    </a:lnTo>
                    <a:lnTo>
                      <a:pt x="2972" y="1474"/>
                    </a:lnTo>
                    <a:lnTo>
                      <a:pt x="2993" y="1483"/>
                    </a:lnTo>
                    <a:lnTo>
                      <a:pt x="2976" y="1495"/>
                    </a:lnTo>
                    <a:lnTo>
                      <a:pt x="2993" y="1483"/>
                    </a:lnTo>
                    <a:lnTo>
                      <a:pt x="3009" y="1516"/>
                    </a:lnTo>
                    <a:lnTo>
                      <a:pt x="2993" y="1528"/>
                    </a:lnTo>
                    <a:lnTo>
                      <a:pt x="2976" y="1511"/>
                    </a:lnTo>
                    <a:lnTo>
                      <a:pt x="2976" y="1516"/>
                    </a:lnTo>
                    <a:lnTo>
                      <a:pt x="2986" y="1528"/>
                    </a:lnTo>
                    <a:lnTo>
                      <a:pt x="2972" y="1516"/>
                    </a:lnTo>
                    <a:lnTo>
                      <a:pt x="2976" y="1528"/>
                    </a:lnTo>
                    <a:lnTo>
                      <a:pt x="2972" y="1533"/>
                    </a:lnTo>
                    <a:lnTo>
                      <a:pt x="2955" y="1516"/>
                    </a:lnTo>
                    <a:lnTo>
                      <a:pt x="2901" y="1495"/>
                    </a:lnTo>
                    <a:lnTo>
                      <a:pt x="2910" y="1483"/>
                    </a:lnTo>
                    <a:lnTo>
                      <a:pt x="2896" y="1483"/>
                    </a:lnTo>
                    <a:lnTo>
                      <a:pt x="2863" y="1445"/>
                    </a:lnTo>
                    <a:lnTo>
                      <a:pt x="2830" y="1441"/>
                    </a:lnTo>
                    <a:lnTo>
                      <a:pt x="2842" y="1429"/>
                    </a:lnTo>
                    <a:lnTo>
                      <a:pt x="2830" y="1441"/>
                    </a:lnTo>
                    <a:lnTo>
                      <a:pt x="2754" y="1400"/>
                    </a:lnTo>
                    <a:lnTo>
                      <a:pt x="2771" y="1384"/>
                    </a:lnTo>
                    <a:lnTo>
                      <a:pt x="2759" y="1355"/>
                    </a:lnTo>
                    <a:lnTo>
                      <a:pt x="2771" y="1346"/>
                    </a:lnTo>
                    <a:lnTo>
                      <a:pt x="2775" y="1355"/>
                    </a:lnTo>
                    <a:lnTo>
                      <a:pt x="2787" y="1389"/>
                    </a:lnTo>
                    <a:lnTo>
                      <a:pt x="2787" y="1384"/>
                    </a:lnTo>
                    <a:lnTo>
                      <a:pt x="2787" y="1367"/>
                    </a:lnTo>
                    <a:lnTo>
                      <a:pt x="2809" y="1367"/>
                    </a:lnTo>
                    <a:lnTo>
                      <a:pt x="2771" y="1346"/>
                    </a:lnTo>
                    <a:lnTo>
                      <a:pt x="2738" y="1367"/>
                    </a:lnTo>
                    <a:lnTo>
                      <a:pt x="2707" y="1372"/>
                    </a:lnTo>
                    <a:lnTo>
                      <a:pt x="2641" y="1355"/>
                    </a:lnTo>
                    <a:lnTo>
                      <a:pt x="2646" y="1346"/>
                    </a:lnTo>
                    <a:lnTo>
                      <a:pt x="2641" y="1329"/>
                    </a:lnTo>
                    <a:lnTo>
                      <a:pt x="2631" y="1334"/>
                    </a:lnTo>
                    <a:lnTo>
                      <a:pt x="2641" y="1346"/>
                    </a:lnTo>
                    <a:lnTo>
                      <a:pt x="2615" y="1351"/>
                    </a:lnTo>
                    <a:lnTo>
                      <a:pt x="2544" y="1334"/>
                    </a:lnTo>
                    <a:lnTo>
                      <a:pt x="2464" y="1346"/>
                    </a:lnTo>
                    <a:lnTo>
                      <a:pt x="2435" y="1329"/>
                    </a:lnTo>
                    <a:lnTo>
                      <a:pt x="2414" y="1329"/>
                    </a:lnTo>
                    <a:lnTo>
                      <a:pt x="2381" y="1313"/>
                    </a:lnTo>
                    <a:lnTo>
                      <a:pt x="2398" y="1280"/>
                    </a:lnTo>
                    <a:lnTo>
                      <a:pt x="2409" y="1263"/>
                    </a:lnTo>
                    <a:lnTo>
                      <a:pt x="2360" y="1301"/>
                    </a:lnTo>
                    <a:lnTo>
                      <a:pt x="2322" y="1289"/>
                    </a:lnTo>
                    <a:lnTo>
                      <a:pt x="2338" y="1273"/>
                    </a:lnTo>
                    <a:lnTo>
                      <a:pt x="2291" y="1273"/>
                    </a:lnTo>
                    <a:lnTo>
                      <a:pt x="2317" y="1263"/>
                    </a:lnTo>
                    <a:lnTo>
                      <a:pt x="2305" y="1256"/>
                    </a:lnTo>
                    <a:lnTo>
                      <a:pt x="2268" y="1273"/>
                    </a:lnTo>
                    <a:lnTo>
                      <a:pt x="2263" y="1263"/>
                    </a:lnTo>
                    <a:lnTo>
                      <a:pt x="2305" y="1256"/>
                    </a:lnTo>
                    <a:lnTo>
                      <a:pt x="2301" y="1244"/>
                    </a:lnTo>
                    <a:lnTo>
                      <a:pt x="2275" y="1256"/>
                    </a:lnTo>
                    <a:lnTo>
                      <a:pt x="2263" y="1240"/>
                    </a:lnTo>
                    <a:lnTo>
                      <a:pt x="2268" y="1223"/>
                    </a:lnTo>
                    <a:lnTo>
                      <a:pt x="2301" y="1223"/>
                    </a:lnTo>
                    <a:lnTo>
                      <a:pt x="2291" y="1223"/>
                    </a:lnTo>
                    <a:lnTo>
                      <a:pt x="2268" y="1223"/>
                    </a:lnTo>
                    <a:lnTo>
                      <a:pt x="2246" y="1240"/>
                    </a:lnTo>
                    <a:lnTo>
                      <a:pt x="2237" y="1235"/>
                    </a:lnTo>
                    <a:lnTo>
                      <a:pt x="2216" y="1244"/>
                    </a:lnTo>
                    <a:lnTo>
                      <a:pt x="2209" y="1244"/>
                    </a:lnTo>
                    <a:lnTo>
                      <a:pt x="2209" y="1218"/>
                    </a:lnTo>
                    <a:lnTo>
                      <a:pt x="2199" y="1244"/>
                    </a:lnTo>
                    <a:lnTo>
                      <a:pt x="2183" y="1256"/>
                    </a:lnTo>
                    <a:lnTo>
                      <a:pt x="2166" y="1240"/>
                    </a:lnTo>
                    <a:lnTo>
                      <a:pt x="2192" y="1207"/>
                    </a:lnTo>
                    <a:lnTo>
                      <a:pt x="2166" y="1235"/>
                    </a:lnTo>
                    <a:lnTo>
                      <a:pt x="2161" y="1223"/>
                    </a:lnTo>
                    <a:lnTo>
                      <a:pt x="2145" y="1235"/>
                    </a:lnTo>
                    <a:lnTo>
                      <a:pt x="2140" y="1240"/>
                    </a:lnTo>
                    <a:lnTo>
                      <a:pt x="2161" y="1235"/>
                    </a:lnTo>
                    <a:lnTo>
                      <a:pt x="2145" y="1256"/>
                    </a:lnTo>
                    <a:lnTo>
                      <a:pt x="2123" y="1256"/>
                    </a:lnTo>
                    <a:lnTo>
                      <a:pt x="2140" y="1256"/>
                    </a:lnTo>
                    <a:lnTo>
                      <a:pt x="2123" y="1273"/>
                    </a:lnTo>
                    <a:lnTo>
                      <a:pt x="2154" y="1263"/>
                    </a:lnTo>
                    <a:lnTo>
                      <a:pt x="2161" y="1280"/>
                    </a:lnTo>
                    <a:lnTo>
                      <a:pt x="2123" y="1296"/>
                    </a:lnTo>
                    <a:lnTo>
                      <a:pt x="2140" y="1289"/>
                    </a:lnTo>
                    <a:lnTo>
                      <a:pt x="2154" y="1296"/>
                    </a:lnTo>
                    <a:lnTo>
                      <a:pt x="2166" y="1280"/>
                    </a:lnTo>
                    <a:lnTo>
                      <a:pt x="2178" y="1296"/>
                    </a:lnTo>
                    <a:lnTo>
                      <a:pt x="2145" y="1329"/>
                    </a:lnTo>
                    <a:lnTo>
                      <a:pt x="2166" y="1318"/>
                    </a:lnTo>
                    <a:lnTo>
                      <a:pt x="2154" y="1334"/>
                    </a:lnTo>
                    <a:lnTo>
                      <a:pt x="2154" y="1329"/>
                    </a:lnTo>
                    <a:lnTo>
                      <a:pt x="2145" y="1351"/>
                    </a:lnTo>
                    <a:lnTo>
                      <a:pt x="2102" y="1351"/>
                    </a:lnTo>
                    <a:lnTo>
                      <a:pt x="2102" y="1334"/>
                    </a:lnTo>
                    <a:lnTo>
                      <a:pt x="2086" y="1355"/>
                    </a:lnTo>
                    <a:lnTo>
                      <a:pt x="2086" y="1346"/>
                    </a:lnTo>
                    <a:lnTo>
                      <a:pt x="2074" y="1334"/>
                    </a:lnTo>
                    <a:lnTo>
                      <a:pt x="2057" y="1367"/>
                    </a:lnTo>
                    <a:lnTo>
                      <a:pt x="2069" y="1372"/>
                    </a:lnTo>
                    <a:lnTo>
                      <a:pt x="2053" y="1351"/>
                    </a:lnTo>
                    <a:lnTo>
                      <a:pt x="2053" y="1384"/>
                    </a:lnTo>
                    <a:lnTo>
                      <a:pt x="2031" y="1367"/>
                    </a:lnTo>
                    <a:lnTo>
                      <a:pt x="2036" y="1372"/>
                    </a:lnTo>
                    <a:lnTo>
                      <a:pt x="2031" y="1384"/>
                    </a:lnTo>
                    <a:lnTo>
                      <a:pt x="2003" y="1400"/>
                    </a:lnTo>
                    <a:lnTo>
                      <a:pt x="2015" y="1372"/>
                    </a:lnTo>
                    <a:lnTo>
                      <a:pt x="1998" y="1400"/>
                    </a:lnTo>
                    <a:lnTo>
                      <a:pt x="1994" y="1389"/>
                    </a:lnTo>
                    <a:lnTo>
                      <a:pt x="1994" y="1400"/>
                    </a:lnTo>
                    <a:lnTo>
                      <a:pt x="1994" y="1407"/>
                    </a:lnTo>
                    <a:lnTo>
                      <a:pt x="1965" y="1424"/>
                    </a:lnTo>
                    <a:lnTo>
                      <a:pt x="1951" y="1424"/>
                    </a:lnTo>
                    <a:lnTo>
                      <a:pt x="1951" y="1429"/>
                    </a:lnTo>
                    <a:lnTo>
                      <a:pt x="1927" y="1424"/>
                    </a:lnTo>
                    <a:lnTo>
                      <a:pt x="1913" y="1441"/>
                    </a:lnTo>
                    <a:lnTo>
                      <a:pt x="1890" y="1424"/>
                    </a:lnTo>
                    <a:lnTo>
                      <a:pt x="1897" y="1407"/>
                    </a:lnTo>
                    <a:lnTo>
                      <a:pt x="1927" y="1400"/>
                    </a:lnTo>
                    <a:lnTo>
                      <a:pt x="1961" y="1367"/>
                    </a:lnTo>
                    <a:lnTo>
                      <a:pt x="1927" y="1384"/>
                    </a:lnTo>
                    <a:lnTo>
                      <a:pt x="1897" y="1372"/>
                    </a:lnTo>
                    <a:lnTo>
                      <a:pt x="1913" y="1346"/>
                    </a:lnTo>
                    <a:lnTo>
                      <a:pt x="1939" y="1301"/>
                    </a:lnTo>
                    <a:lnTo>
                      <a:pt x="1944" y="1289"/>
                    </a:lnTo>
                    <a:lnTo>
                      <a:pt x="1939" y="1263"/>
                    </a:lnTo>
                    <a:lnTo>
                      <a:pt x="2003" y="1235"/>
                    </a:lnTo>
                    <a:lnTo>
                      <a:pt x="2015" y="1240"/>
                    </a:lnTo>
                    <a:lnTo>
                      <a:pt x="2048" y="1240"/>
                    </a:lnTo>
                    <a:lnTo>
                      <a:pt x="2102" y="1256"/>
                    </a:lnTo>
                    <a:lnTo>
                      <a:pt x="2090" y="1240"/>
                    </a:lnTo>
                    <a:lnTo>
                      <a:pt x="2057" y="1240"/>
                    </a:lnTo>
                    <a:lnTo>
                      <a:pt x="2031" y="1218"/>
                    </a:lnTo>
                    <a:lnTo>
                      <a:pt x="2053" y="1190"/>
                    </a:lnTo>
                    <a:lnTo>
                      <a:pt x="2086" y="1185"/>
                    </a:lnTo>
                    <a:lnTo>
                      <a:pt x="2074" y="1178"/>
                    </a:lnTo>
                    <a:lnTo>
                      <a:pt x="2053" y="1185"/>
                    </a:lnTo>
                    <a:lnTo>
                      <a:pt x="2031" y="1207"/>
                    </a:lnTo>
                    <a:lnTo>
                      <a:pt x="1994" y="1207"/>
                    </a:lnTo>
                    <a:lnTo>
                      <a:pt x="1961" y="1218"/>
                    </a:lnTo>
                    <a:lnTo>
                      <a:pt x="1951" y="1235"/>
                    </a:lnTo>
                    <a:lnTo>
                      <a:pt x="1923" y="1240"/>
                    </a:lnTo>
                    <a:lnTo>
                      <a:pt x="1906" y="1256"/>
                    </a:lnTo>
                    <a:lnTo>
                      <a:pt x="1913" y="1263"/>
                    </a:lnTo>
                    <a:lnTo>
                      <a:pt x="1897" y="1263"/>
                    </a:lnTo>
                    <a:lnTo>
                      <a:pt x="1875" y="1289"/>
                    </a:lnTo>
                    <a:lnTo>
                      <a:pt x="1859" y="1313"/>
                    </a:lnTo>
                    <a:lnTo>
                      <a:pt x="1842" y="1318"/>
                    </a:lnTo>
                    <a:lnTo>
                      <a:pt x="1814" y="1313"/>
                    </a:lnTo>
                    <a:lnTo>
                      <a:pt x="1831" y="1313"/>
                    </a:lnTo>
                    <a:lnTo>
                      <a:pt x="1852" y="1334"/>
                    </a:lnTo>
                    <a:lnTo>
                      <a:pt x="1842" y="1351"/>
                    </a:lnTo>
                    <a:lnTo>
                      <a:pt x="1805" y="1367"/>
                    </a:lnTo>
                    <a:lnTo>
                      <a:pt x="1821" y="1367"/>
                    </a:lnTo>
                    <a:lnTo>
                      <a:pt x="1821" y="1372"/>
                    </a:lnTo>
                    <a:lnTo>
                      <a:pt x="1800" y="1384"/>
                    </a:lnTo>
                    <a:lnTo>
                      <a:pt x="1788" y="1384"/>
                    </a:lnTo>
                    <a:lnTo>
                      <a:pt x="1800" y="1372"/>
                    </a:lnTo>
                    <a:lnTo>
                      <a:pt x="1788" y="1367"/>
                    </a:lnTo>
                    <a:lnTo>
                      <a:pt x="1783" y="1389"/>
                    </a:lnTo>
                    <a:lnTo>
                      <a:pt x="1767" y="1400"/>
                    </a:lnTo>
                    <a:lnTo>
                      <a:pt x="1767" y="1407"/>
                    </a:lnTo>
                    <a:lnTo>
                      <a:pt x="1746" y="1412"/>
                    </a:lnTo>
                    <a:lnTo>
                      <a:pt x="1750" y="1412"/>
                    </a:lnTo>
                    <a:lnTo>
                      <a:pt x="1734" y="1441"/>
                    </a:lnTo>
                    <a:lnTo>
                      <a:pt x="1734" y="1445"/>
                    </a:lnTo>
                    <a:lnTo>
                      <a:pt x="1776" y="1445"/>
                    </a:lnTo>
                    <a:lnTo>
                      <a:pt x="1805" y="1474"/>
                    </a:lnTo>
                    <a:lnTo>
                      <a:pt x="1783" y="1495"/>
                    </a:lnTo>
                    <a:lnTo>
                      <a:pt x="1746" y="1511"/>
                    </a:lnTo>
                    <a:lnTo>
                      <a:pt x="1750" y="1516"/>
                    </a:lnTo>
                    <a:lnTo>
                      <a:pt x="1729" y="1528"/>
                    </a:lnTo>
                    <a:lnTo>
                      <a:pt x="1746" y="1528"/>
                    </a:lnTo>
                    <a:lnTo>
                      <a:pt x="1734" y="1540"/>
                    </a:lnTo>
                    <a:lnTo>
                      <a:pt x="1724" y="1540"/>
                    </a:lnTo>
                    <a:lnTo>
                      <a:pt x="1712" y="1556"/>
                    </a:lnTo>
                    <a:lnTo>
                      <a:pt x="1679" y="1556"/>
                    </a:lnTo>
                    <a:lnTo>
                      <a:pt x="1675" y="1568"/>
                    </a:lnTo>
                    <a:lnTo>
                      <a:pt x="1658" y="1585"/>
                    </a:lnTo>
                    <a:lnTo>
                      <a:pt x="1637" y="1585"/>
                    </a:lnTo>
                    <a:lnTo>
                      <a:pt x="1625" y="1606"/>
                    </a:lnTo>
                    <a:lnTo>
                      <a:pt x="1604" y="1606"/>
                    </a:lnTo>
                    <a:lnTo>
                      <a:pt x="1604" y="1611"/>
                    </a:lnTo>
                    <a:lnTo>
                      <a:pt x="1599" y="1611"/>
                    </a:lnTo>
                    <a:lnTo>
                      <a:pt x="1571" y="1627"/>
                    </a:lnTo>
                    <a:lnTo>
                      <a:pt x="1587" y="1627"/>
                    </a:lnTo>
                    <a:lnTo>
                      <a:pt x="1587" y="1644"/>
                    </a:lnTo>
                    <a:lnTo>
                      <a:pt x="1571" y="1660"/>
                    </a:lnTo>
                    <a:lnTo>
                      <a:pt x="1545" y="1660"/>
                    </a:lnTo>
                    <a:lnTo>
                      <a:pt x="1528" y="1684"/>
                    </a:lnTo>
                    <a:lnTo>
                      <a:pt x="1512" y="1677"/>
                    </a:lnTo>
                    <a:lnTo>
                      <a:pt x="1495" y="1693"/>
                    </a:lnTo>
                    <a:lnTo>
                      <a:pt x="1502" y="1700"/>
                    </a:lnTo>
                    <a:lnTo>
                      <a:pt x="1490" y="1693"/>
                    </a:lnTo>
                    <a:lnTo>
                      <a:pt x="1457" y="1705"/>
                    </a:lnTo>
                    <a:lnTo>
                      <a:pt x="1481" y="1705"/>
                    </a:lnTo>
                    <a:lnTo>
                      <a:pt x="1481" y="1717"/>
                    </a:lnTo>
                    <a:lnTo>
                      <a:pt x="1457" y="1705"/>
                    </a:lnTo>
                    <a:lnTo>
                      <a:pt x="1443" y="1717"/>
                    </a:lnTo>
                    <a:lnTo>
                      <a:pt x="1427" y="1738"/>
                    </a:lnTo>
                    <a:lnTo>
                      <a:pt x="1436" y="1738"/>
                    </a:lnTo>
                    <a:lnTo>
                      <a:pt x="1443" y="1733"/>
                    </a:lnTo>
                    <a:lnTo>
                      <a:pt x="1457" y="1733"/>
                    </a:lnTo>
                    <a:lnTo>
                      <a:pt x="1448" y="1750"/>
                    </a:lnTo>
                    <a:lnTo>
                      <a:pt x="1464" y="1738"/>
                    </a:lnTo>
                    <a:lnTo>
                      <a:pt x="1443" y="1750"/>
                    </a:lnTo>
                    <a:lnTo>
                      <a:pt x="1436" y="1762"/>
                    </a:lnTo>
                    <a:lnTo>
                      <a:pt x="1427" y="1755"/>
                    </a:lnTo>
                    <a:lnTo>
                      <a:pt x="1436" y="1750"/>
                    </a:lnTo>
                    <a:lnTo>
                      <a:pt x="1427" y="1750"/>
                    </a:lnTo>
                    <a:lnTo>
                      <a:pt x="1427" y="1771"/>
                    </a:lnTo>
                    <a:lnTo>
                      <a:pt x="1410" y="1762"/>
                    </a:lnTo>
                    <a:lnTo>
                      <a:pt x="1405" y="1771"/>
                    </a:lnTo>
                    <a:lnTo>
                      <a:pt x="1372" y="1778"/>
                    </a:lnTo>
                    <a:lnTo>
                      <a:pt x="1351" y="1804"/>
                    </a:lnTo>
                    <a:lnTo>
                      <a:pt x="1356" y="1778"/>
                    </a:lnTo>
                    <a:lnTo>
                      <a:pt x="1339" y="1778"/>
                    </a:lnTo>
                    <a:lnTo>
                      <a:pt x="1318" y="1795"/>
                    </a:lnTo>
                    <a:lnTo>
                      <a:pt x="1301" y="1804"/>
                    </a:lnTo>
                    <a:lnTo>
                      <a:pt x="1297" y="1816"/>
                    </a:lnTo>
                    <a:lnTo>
                      <a:pt x="1285" y="1811"/>
                    </a:lnTo>
                    <a:lnTo>
                      <a:pt x="1280" y="1811"/>
                    </a:lnTo>
                    <a:lnTo>
                      <a:pt x="1280" y="1816"/>
                    </a:lnTo>
                    <a:lnTo>
                      <a:pt x="1264" y="1811"/>
                    </a:lnTo>
                    <a:lnTo>
                      <a:pt x="1242" y="1828"/>
                    </a:lnTo>
                    <a:lnTo>
                      <a:pt x="1226" y="1828"/>
                    </a:lnTo>
                    <a:lnTo>
                      <a:pt x="1226" y="1816"/>
                    </a:lnTo>
                    <a:lnTo>
                      <a:pt x="1231" y="1804"/>
                    </a:lnTo>
                    <a:lnTo>
                      <a:pt x="1247" y="1811"/>
                    </a:lnTo>
                    <a:lnTo>
                      <a:pt x="1221" y="1804"/>
                    </a:lnTo>
                    <a:lnTo>
                      <a:pt x="1205" y="1833"/>
                    </a:lnTo>
                    <a:lnTo>
                      <a:pt x="1188" y="1844"/>
                    </a:lnTo>
                    <a:lnTo>
                      <a:pt x="1193" y="1849"/>
                    </a:lnTo>
                    <a:lnTo>
                      <a:pt x="1179" y="1861"/>
                    </a:lnTo>
                    <a:lnTo>
                      <a:pt x="1179" y="1849"/>
                    </a:lnTo>
                    <a:lnTo>
                      <a:pt x="1172" y="1849"/>
                    </a:lnTo>
                    <a:lnTo>
                      <a:pt x="1172" y="1861"/>
                    </a:lnTo>
                    <a:lnTo>
                      <a:pt x="1155" y="1861"/>
                    </a:lnTo>
                    <a:lnTo>
                      <a:pt x="1150" y="1833"/>
                    </a:lnTo>
                    <a:lnTo>
                      <a:pt x="1141" y="1844"/>
                    </a:lnTo>
                    <a:lnTo>
                      <a:pt x="1150" y="1849"/>
                    </a:lnTo>
                    <a:lnTo>
                      <a:pt x="1150" y="1866"/>
                    </a:lnTo>
                    <a:lnTo>
                      <a:pt x="1141" y="1866"/>
                    </a:lnTo>
                    <a:lnTo>
                      <a:pt x="1124" y="1873"/>
                    </a:lnTo>
                    <a:lnTo>
                      <a:pt x="1103" y="1849"/>
                    </a:lnTo>
                    <a:lnTo>
                      <a:pt x="1103" y="1861"/>
                    </a:lnTo>
                    <a:lnTo>
                      <a:pt x="1117" y="1866"/>
                    </a:lnTo>
                    <a:lnTo>
                      <a:pt x="1096" y="1882"/>
                    </a:lnTo>
                    <a:lnTo>
                      <a:pt x="1096" y="1873"/>
                    </a:lnTo>
                    <a:lnTo>
                      <a:pt x="1103" y="1866"/>
                    </a:lnTo>
                    <a:lnTo>
                      <a:pt x="1096" y="1849"/>
                    </a:lnTo>
                    <a:lnTo>
                      <a:pt x="1117" y="1849"/>
                    </a:lnTo>
                    <a:lnTo>
                      <a:pt x="1124" y="1833"/>
                    </a:lnTo>
                    <a:lnTo>
                      <a:pt x="1150" y="1828"/>
                    </a:lnTo>
                    <a:lnTo>
                      <a:pt x="1155" y="1828"/>
                    </a:lnTo>
                    <a:lnTo>
                      <a:pt x="1150" y="1816"/>
                    </a:lnTo>
                    <a:lnTo>
                      <a:pt x="1172" y="1795"/>
                    </a:lnTo>
                    <a:lnTo>
                      <a:pt x="1205" y="1771"/>
                    </a:lnTo>
                    <a:lnTo>
                      <a:pt x="1259" y="1771"/>
                    </a:lnTo>
                    <a:lnTo>
                      <a:pt x="1280" y="1795"/>
                    </a:lnTo>
                    <a:lnTo>
                      <a:pt x="1275" y="1778"/>
                    </a:lnTo>
                    <a:lnTo>
                      <a:pt x="1313" y="1788"/>
                    </a:lnTo>
                    <a:lnTo>
                      <a:pt x="1313" y="1778"/>
                    </a:lnTo>
                    <a:lnTo>
                      <a:pt x="1285" y="1762"/>
                    </a:lnTo>
                    <a:lnTo>
                      <a:pt x="1301" y="1733"/>
                    </a:lnTo>
                    <a:lnTo>
                      <a:pt x="1394" y="1684"/>
                    </a:lnTo>
                    <a:lnTo>
                      <a:pt x="1427" y="1684"/>
                    </a:lnTo>
                    <a:lnTo>
                      <a:pt x="1427" y="1651"/>
                    </a:lnTo>
                    <a:lnTo>
                      <a:pt x="1474" y="1611"/>
                    </a:lnTo>
                    <a:lnTo>
                      <a:pt x="1490" y="1606"/>
                    </a:lnTo>
                    <a:lnTo>
                      <a:pt x="1495" y="1611"/>
                    </a:lnTo>
                    <a:lnTo>
                      <a:pt x="1512" y="1611"/>
                    </a:lnTo>
                    <a:lnTo>
                      <a:pt x="1512" y="1606"/>
                    </a:lnTo>
                    <a:lnTo>
                      <a:pt x="1502" y="1611"/>
                    </a:lnTo>
                    <a:lnTo>
                      <a:pt x="1490" y="1594"/>
                    </a:lnTo>
                    <a:lnTo>
                      <a:pt x="1495" y="1552"/>
                    </a:lnTo>
                    <a:lnTo>
                      <a:pt x="1512" y="1533"/>
                    </a:lnTo>
                    <a:lnTo>
                      <a:pt x="1528" y="1540"/>
                    </a:lnTo>
                    <a:lnTo>
                      <a:pt x="1502" y="1533"/>
                    </a:lnTo>
                    <a:lnTo>
                      <a:pt x="1502" y="1516"/>
                    </a:lnTo>
                    <a:lnTo>
                      <a:pt x="1533" y="1478"/>
                    </a:lnTo>
                    <a:lnTo>
                      <a:pt x="1557" y="1441"/>
                    </a:lnTo>
                    <a:lnTo>
                      <a:pt x="1533" y="1462"/>
                    </a:lnTo>
                    <a:lnTo>
                      <a:pt x="1457" y="1495"/>
                    </a:lnTo>
                    <a:lnTo>
                      <a:pt x="1427" y="1474"/>
                    </a:lnTo>
                    <a:lnTo>
                      <a:pt x="1436" y="1457"/>
                    </a:lnTo>
                    <a:lnTo>
                      <a:pt x="1457" y="1457"/>
                    </a:lnTo>
                    <a:lnTo>
                      <a:pt x="1474" y="1462"/>
                    </a:lnTo>
                    <a:lnTo>
                      <a:pt x="1436" y="1429"/>
                    </a:lnTo>
                    <a:lnTo>
                      <a:pt x="1436" y="1445"/>
                    </a:lnTo>
                    <a:lnTo>
                      <a:pt x="1427" y="1462"/>
                    </a:lnTo>
                    <a:lnTo>
                      <a:pt x="1420" y="1462"/>
                    </a:lnTo>
                    <a:lnTo>
                      <a:pt x="1420" y="1457"/>
                    </a:lnTo>
                    <a:lnTo>
                      <a:pt x="1410" y="1457"/>
                    </a:lnTo>
                    <a:lnTo>
                      <a:pt x="1420" y="1478"/>
                    </a:lnTo>
                    <a:lnTo>
                      <a:pt x="1410" y="1478"/>
                    </a:lnTo>
                    <a:lnTo>
                      <a:pt x="1410" y="1474"/>
                    </a:lnTo>
                    <a:lnTo>
                      <a:pt x="1405" y="1478"/>
                    </a:lnTo>
                    <a:lnTo>
                      <a:pt x="1420" y="1500"/>
                    </a:lnTo>
                    <a:lnTo>
                      <a:pt x="1405" y="1516"/>
                    </a:lnTo>
                    <a:lnTo>
                      <a:pt x="1394" y="1511"/>
                    </a:lnTo>
                    <a:lnTo>
                      <a:pt x="1356" y="1457"/>
                    </a:lnTo>
                    <a:lnTo>
                      <a:pt x="1335" y="1478"/>
                    </a:lnTo>
                    <a:lnTo>
                      <a:pt x="1313" y="1457"/>
                    </a:lnTo>
                    <a:lnTo>
                      <a:pt x="1301" y="1445"/>
                    </a:lnTo>
                    <a:lnTo>
                      <a:pt x="1221" y="1495"/>
                    </a:lnTo>
                    <a:lnTo>
                      <a:pt x="1179" y="1483"/>
                    </a:lnTo>
                    <a:lnTo>
                      <a:pt x="1193" y="1483"/>
                    </a:lnTo>
                    <a:lnTo>
                      <a:pt x="1209" y="1478"/>
                    </a:lnTo>
                    <a:lnTo>
                      <a:pt x="1205" y="1462"/>
                    </a:lnTo>
                    <a:lnTo>
                      <a:pt x="1205" y="1445"/>
                    </a:lnTo>
                    <a:lnTo>
                      <a:pt x="1221" y="1441"/>
                    </a:lnTo>
                    <a:lnTo>
                      <a:pt x="1193" y="1445"/>
                    </a:lnTo>
                    <a:lnTo>
                      <a:pt x="1188" y="1441"/>
                    </a:lnTo>
                    <a:lnTo>
                      <a:pt x="1193" y="1412"/>
                    </a:lnTo>
                    <a:lnTo>
                      <a:pt x="1209" y="1400"/>
                    </a:lnTo>
                    <a:lnTo>
                      <a:pt x="1172" y="1334"/>
                    </a:lnTo>
                    <a:lnTo>
                      <a:pt x="1179" y="1318"/>
                    </a:lnTo>
                    <a:lnTo>
                      <a:pt x="1167" y="1329"/>
                    </a:lnTo>
                    <a:lnTo>
                      <a:pt x="1167" y="1313"/>
                    </a:lnTo>
                    <a:lnTo>
                      <a:pt x="1172" y="1280"/>
                    </a:lnTo>
                    <a:lnTo>
                      <a:pt x="1193" y="1273"/>
                    </a:lnTo>
                    <a:lnTo>
                      <a:pt x="1172" y="1280"/>
                    </a:lnTo>
                    <a:lnTo>
                      <a:pt x="1150" y="1313"/>
                    </a:lnTo>
                    <a:lnTo>
                      <a:pt x="1155" y="1329"/>
                    </a:lnTo>
                    <a:lnTo>
                      <a:pt x="1155" y="1346"/>
                    </a:lnTo>
                    <a:lnTo>
                      <a:pt x="1096" y="1367"/>
                    </a:lnTo>
                    <a:lnTo>
                      <a:pt x="1042" y="1367"/>
                    </a:lnTo>
                    <a:lnTo>
                      <a:pt x="1032" y="1351"/>
                    </a:lnTo>
                    <a:lnTo>
                      <a:pt x="1042" y="1346"/>
                    </a:lnTo>
                    <a:lnTo>
                      <a:pt x="1016" y="1334"/>
                    </a:lnTo>
                    <a:lnTo>
                      <a:pt x="1004" y="1313"/>
                    </a:lnTo>
                    <a:lnTo>
                      <a:pt x="973" y="1296"/>
                    </a:lnTo>
                    <a:lnTo>
                      <a:pt x="978" y="1289"/>
                    </a:lnTo>
                    <a:lnTo>
                      <a:pt x="952" y="1289"/>
                    </a:lnTo>
                    <a:lnTo>
                      <a:pt x="1004" y="1244"/>
                    </a:lnTo>
                    <a:lnTo>
                      <a:pt x="1004" y="1256"/>
                    </a:lnTo>
                    <a:lnTo>
                      <a:pt x="1032" y="1263"/>
                    </a:lnTo>
                    <a:lnTo>
                      <a:pt x="1032" y="1273"/>
                    </a:lnTo>
                    <a:lnTo>
                      <a:pt x="1016" y="1289"/>
                    </a:lnTo>
                    <a:lnTo>
                      <a:pt x="1049" y="1263"/>
                    </a:lnTo>
                    <a:lnTo>
                      <a:pt x="1065" y="1263"/>
                    </a:lnTo>
                    <a:lnTo>
                      <a:pt x="1065" y="1280"/>
                    </a:lnTo>
                    <a:lnTo>
                      <a:pt x="1070" y="1280"/>
                    </a:lnTo>
                    <a:lnTo>
                      <a:pt x="1086" y="1263"/>
                    </a:lnTo>
                    <a:lnTo>
                      <a:pt x="1058" y="1256"/>
                    </a:lnTo>
                    <a:lnTo>
                      <a:pt x="1079" y="1244"/>
                    </a:lnTo>
                    <a:lnTo>
                      <a:pt x="1065" y="1240"/>
                    </a:lnTo>
                    <a:lnTo>
                      <a:pt x="1049" y="1256"/>
                    </a:lnTo>
                    <a:lnTo>
                      <a:pt x="973" y="1244"/>
                    </a:lnTo>
                    <a:lnTo>
                      <a:pt x="961" y="1240"/>
                    </a:lnTo>
                    <a:lnTo>
                      <a:pt x="994" y="1223"/>
                    </a:lnTo>
                    <a:lnTo>
                      <a:pt x="973" y="1223"/>
                    </a:lnTo>
                    <a:lnTo>
                      <a:pt x="973" y="1207"/>
                    </a:lnTo>
                    <a:lnTo>
                      <a:pt x="961" y="1218"/>
                    </a:lnTo>
                    <a:lnTo>
                      <a:pt x="957" y="1218"/>
                    </a:lnTo>
                    <a:lnTo>
                      <a:pt x="973" y="1190"/>
                    </a:lnTo>
                    <a:lnTo>
                      <a:pt x="990" y="1185"/>
                    </a:lnTo>
                    <a:lnTo>
                      <a:pt x="1004" y="1169"/>
                    </a:lnTo>
                    <a:lnTo>
                      <a:pt x="957" y="1202"/>
                    </a:lnTo>
                    <a:lnTo>
                      <a:pt x="952" y="1218"/>
                    </a:lnTo>
                    <a:lnTo>
                      <a:pt x="957" y="1218"/>
                    </a:lnTo>
                    <a:lnTo>
                      <a:pt x="952" y="1235"/>
                    </a:lnTo>
                    <a:lnTo>
                      <a:pt x="935" y="1223"/>
                    </a:lnTo>
                    <a:lnTo>
                      <a:pt x="935" y="1207"/>
                    </a:lnTo>
                    <a:lnTo>
                      <a:pt x="919" y="1202"/>
                    </a:lnTo>
                    <a:lnTo>
                      <a:pt x="919" y="1190"/>
                    </a:lnTo>
                    <a:lnTo>
                      <a:pt x="924" y="1185"/>
                    </a:lnTo>
                    <a:lnTo>
                      <a:pt x="924" y="1178"/>
                    </a:lnTo>
                    <a:lnTo>
                      <a:pt x="902" y="1185"/>
                    </a:lnTo>
                    <a:lnTo>
                      <a:pt x="898" y="1169"/>
                    </a:lnTo>
                    <a:lnTo>
                      <a:pt x="898" y="1162"/>
                    </a:lnTo>
                    <a:lnTo>
                      <a:pt x="902" y="1169"/>
                    </a:lnTo>
                    <a:lnTo>
                      <a:pt x="924" y="1162"/>
                    </a:lnTo>
                    <a:lnTo>
                      <a:pt x="902" y="1145"/>
                    </a:lnTo>
                    <a:lnTo>
                      <a:pt x="935" y="1145"/>
                    </a:lnTo>
                    <a:lnTo>
                      <a:pt x="924" y="1129"/>
                    </a:lnTo>
                    <a:lnTo>
                      <a:pt x="935" y="1112"/>
                    </a:lnTo>
                    <a:lnTo>
                      <a:pt x="961" y="1074"/>
                    </a:lnTo>
                    <a:lnTo>
                      <a:pt x="978" y="1067"/>
                    </a:lnTo>
                    <a:lnTo>
                      <a:pt x="1004" y="1079"/>
                    </a:lnTo>
                    <a:lnTo>
                      <a:pt x="990" y="1067"/>
                    </a:lnTo>
                    <a:lnTo>
                      <a:pt x="1016" y="1041"/>
                    </a:lnTo>
                    <a:lnTo>
                      <a:pt x="994" y="1051"/>
                    </a:lnTo>
                    <a:lnTo>
                      <a:pt x="990" y="1034"/>
                    </a:lnTo>
                    <a:lnTo>
                      <a:pt x="1004" y="1013"/>
                    </a:lnTo>
                    <a:lnTo>
                      <a:pt x="1027" y="1013"/>
                    </a:lnTo>
                    <a:lnTo>
                      <a:pt x="1011" y="1001"/>
                    </a:lnTo>
                    <a:lnTo>
                      <a:pt x="1016" y="985"/>
                    </a:lnTo>
                    <a:lnTo>
                      <a:pt x="1049" y="985"/>
                    </a:lnTo>
                    <a:lnTo>
                      <a:pt x="1096" y="1013"/>
                    </a:lnTo>
                    <a:lnTo>
                      <a:pt x="1112" y="1013"/>
                    </a:lnTo>
                    <a:lnTo>
                      <a:pt x="1150" y="985"/>
                    </a:lnTo>
                    <a:lnTo>
                      <a:pt x="1167" y="959"/>
                    </a:lnTo>
                    <a:lnTo>
                      <a:pt x="1188" y="959"/>
                    </a:lnTo>
                    <a:lnTo>
                      <a:pt x="1179" y="963"/>
                    </a:lnTo>
                    <a:lnTo>
                      <a:pt x="1247" y="959"/>
                    </a:lnTo>
                    <a:lnTo>
                      <a:pt x="1275" y="930"/>
                    </a:lnTo>
                    <a:lnTo>
                      <a:pt x="1275" y="914"/>
                    </a:lnTo>
                    <a:lnTo>
                      <a:pt x="1264" y="874"/>
                    </a:lnTo>
                    <a:lnTo>
                      <a:pt x="1247" y="852"/>
                    </a:lnTo>
                    <a:lnTo>
                      <a:pt x="1226" y="852"/>
                    </a:lnTo>
                    <a:lnTo>
                      <a:pt x="1231" y="836"/>
                    </a:lnTo>
                    <a:lnTo>
                      <a:pt x="1259" y="848"/>
                    </a:lnTo>
                    <a:lnTo>
                      <a:pt x="1275" y="831"/>
                    </a:lnTo>
                    <a:lnTo>
                      <a:pt x="1275" y="819"/>
                    </a:lnTo>
                    <a:lnTo>
                      <a:pt x="1247" y="796"/>
                    </a:lnTo>
                    <a:lnTo>
                      <a:pt x="1259" y="791"/>
                    </a:lnTo>
                    <a:lnTo>
                      <a:pt x="1247" y="791"/>
                    </a:lnTo>
                    <a:lnTo>
                      <a:pt x="1226" y="815"/>
                    </a:lnTo>
                    <a:lnTo>
                      <a:pt x="1179" y="819"/>
                    </a:lnTo>
                    <a:lnTo>
                      <a:pt x="1150" y="848"/>
                    </a:lnTo>
                    <a:lnTo>
                      <a:pt x="1150" y="852"/>
                    </a:lnTo>
                    <a:lnTo>
                      <a:pt x="1134" y="857"/>
                    </a:lnTo>
                    <a:lnTo>
                      <a:pt x="1124" y="848"/>
                    </a:lnTo>
                    <a:lnTo>
                      <a:pt x="1112" y="819"/>
                    </a:lnTo>
                    <a:lnTo>
                      <a:pt x="1096" y="836"/>
                    </a:lnTo>
                    <a:lnTo>
                      <a:pt x="1117" y="848"/>
                    </a:lnTo>
                    <a:lnTo>
                      <a:pt x="1112" y="852"/>
                    </a:lnTo>
                    <a:lnTo>
                      <a:pt x="1086" y="836"/>
                    </a:lnTo>
                    <a:lnTo>
                      <a:pt x="1065" y="831"/>
                    </a:lnTo>
                    <a:lnTo>
                      <a:pt x="990" y="836"/>
                    </a:lnTo>
                    <a:lnTo>
                      <a:pt x="990" y="848"/>
                    </a:lnTo>
                    <a:lnTo>
                      <a:pt x="994" y="848"/>
                    </a:lnTo>
                    <a:lnTo>
                      <a:pt x="978" y="852"/>
                    </a:lnTo>
                    <a:lnTo>
                      <a:pt x="902" y="836"/>
                    </a:lnTo>
                    <a:lnTo>
                      <a:pt x="881" y="819"/>
                    </a:lnTo>
                    <a:lnTo>
                      <a:pt x="869" y="815"/>
                    </a:lnTo>
                    <a:lnTo>
                      <a:pt x="881" y="796"/>
                    </a:lnTo>
                    <a:lnTo>
                      <a:pt x="843" y="763"/>
                    </a:lnTo>
                    <a:lnTo>
                      <a:pt x="848" y="746"/>
                    </a:lnTo>
                    <a:lnTo>
                      <a:pt x="843" y="763"/>
                    </a:lnTo>
                    <a:lnTo>
                      <a:pt x="864" y="774"/>
                    </a:lnTo>
                    <a:lnTo>
                      <a:pt x="881" y="746"/>
                    </a:lnTo>
                    <a:lnTo>
                      <a:pt x="902" y="758"/>
                    </a:lnTo>
                    <a:lnTo>
                      <a:pt x="810" y="737"/>
                    </a:lnTo>
                    <a:lnTo>
                      <a:pt x="756" y="708"/>
                    </a:lnTo>
                    <a:lnTo>
                      <a:pt x="777" y="692"/>
                    </a:lnTo>
                    <a:lnTo>
                      <a:pt x="763" y="708"/>
                    </a:lnTo>
                    <a:lnTo>
                      <a:pt x="801" y="704"/>
                    </a:lnTo>
                    <a:lnTo>
                      <a:pt x="801" y="692"/>
                    </a:lnTo>
                    <a:lnTo>
                      <a:pt x="801" y="687"/>
                    </a:lnTo>
                    <a:lnTo>
                      <a:pt x="831" y="680"/>
                    </a:lnTo>
                    <a:lnTo>
                      <a:pt x="848" y="680"/>
                    </a:lnTo>
                    <a:lnTo>
                      <a:pt x="843" y="670"/>
                    </a:lnTo>
                    <a:lnTo>
                      <a:pt x="886" y="647"/>
                    </a:lnTo>
                    <a:lnTo>
                      <a:pt x="924" y="654"/>
                    </a:lnTo>
                    <a:lnTo>
                      <a:pt x="940" y="647"/>
                    </a:lnTo>
                    <a:lnTo>
                      <a:pt x="919" y="635"/>
                    </a:lnTo>
                    <a:lnTo>
                      <a:pt x="935" y="626"/>
                    </a:lnTo>
                    <a:lnTo>
                      <a:pt x="1027" y="597"/>
                    </a:lnTo>
                    <a:lnTo>
                      <a:pt x="1070" y="597"/>
                    </a:lnTo>
                    <a:lnTo>
                      <a:pt x="1058" y="597"/>
                    </a:lnTo>
                    <a:lnTo>
                      <a:pt x="1065" y="609"/>
                    </a:lnTo>
                    <a:lnTo>
                      <a:pt x="1058" y="626"/>
                    </a:lnTo>
                    <a:lnTo>
                      <a:pt x="1058" y="630"/>
                    </a:lnTo>
                    <a:lnTo>
                      <a:pt x="1032" y="647"/>
                    </a:lnTo>
                    <a:lnTo>
                      <a:pt x="1070" y="663"/>
                    </a:lnTo>
                    <a:lnTo>
                      <a:pt x="1188" y="663"/>
                    </a:lnTo>
                    <a:lnTo>
                      <a:pt x="1205" y="670"/>
                    </a:lnTo>
                    <a:lnTo>
                      <a:pt x="1226" y="635"/>
                    </a:lnTo>
                    <a:lnTo>
                      <a:pt x="1259" y="635"/>
                    </a:lnTo>
                    <a:lnTo>
                      <a:pt x="1247" y="654"/>
                    </a:lnTo>
                    <a:lnTo>
                      <a:pt x="1259" y="635"/>
                    </a:lnTo>
                    <a:lnTo>
                      <a:pt x="1247" y="626"/>
                    </a:lnTo>
                    <a:lnTo>
                      <a:pt x="1226" y="614"/>
                    </a:lnTo>
                    <a:lnTo>
                      <a:pt x="1193" y="626"/>
                    </a:lnTo>
                    <a:lnTo>
                      <a:pt x="1193" y="630"/>
                    </a:lnTo>
                    <a:lnTo>
                      <a:pt x="1193" y="597"/>
                    </a:lnTo>
                    <a:lnTo>
                      <a:pt x="1172" y="581"/>
                    </a:lnTo>
                    <a:lnTo>
                      <a:pt x="1155" y="576"/>
                    </a:lnTo>
                    <a:lnTo>
                      <a:pt x="1141" y="559"/>
                    </a:lnTo>
                    <a:lnTo>
                      <a:pt x="1167" y="552"/>
                    </a:lnTo>
                    <a:lnTo>
                      <a:pt x="1179" y="569"/>
                    </a:lnTo>
                    <a:lnTo>
                      <a:pt x="1188" y="593"/>
                    </a:lnTo>
                    <a:lnTo>
                      <a:pt x="1221" y="614"/>
                    </a:lnTo>
                    <a:lnTo>
                      <a:pt x="1247" y="597"/>
                    </a:lnTo>
                    <a:lnTo>
                      <a:pt x="1275" y="626"/>
                    </a:lnTo>
                    <a:lnTo>
                      <a:pt x="1313" y="626"/>
                    </a:lnTo>
                    <a:lnTo>
                      <a:pt x="1313" y="593"/>
                    </a:lnTo>
                    <a:lnTo>
                      <a:pt x="1285" y="597"/>
                    </a:lnTo>
                    <a:lnTo>
                      <a:pt x="1247" y="593"/>
                    </a:lnTo>
                    <a:lnTo>
                      <a:pt x="1242" y="597"/>
                    </a:lnTo>
                    <a:lnTo>
                      <a:pt x="1226" y="597"/>
                    </a:lnTo>
                    <a:lnTo>
                      <a:pt x="1193" y="581"/>
                    </a:lnTo>
                    <a:lnTo>
                      <a:pt x="1209" y="552"/>
                    </a:lnTo>
                    <a:lnTo>
                      <a:pt x="1226" y="552"/>
                    </a:lnTo>
                    <a:lnTo>
                      <a:pt x="1193" y="543"/>
                    </a:lnTo>
                    <a:lnTo>
                      <a:pt x="1155" y="543"/>
                    </a:lnTo>
                    <a:lnTo>
                      <a:pt x="1167" y="526"/>
                    </a:lnTo>
                    <a:lnTo>
                      <a:pt x="1150" y="543"/>
                    </a:lnTo>
                    <a:lnTo>
                      <a:pt x="1065" y="536"/>
                    </a:lnTo>
                    <a:lnTo>
                      <a:pt x="1065" y="503"/>
                    </a:lnTo>
                    <a:lnTo>
                      <a:pt x="1042" y="470"/>
                    </a:lnTo>
                    <a:lnTo>
                      <a:pt x="952" y="415"/>
                    </a:lnTo>
                    <a:lnTo>
                      <a:pt x="848" y="375"/>
                    </a:lnTo>
                    <a:lnTo>
                      <a:pt x="886" y="370"/>
                    </a:lnTo>
                    <a:lnTo>
                      <a:pt x="898" y="354"/>
                    </a:lnTo>
                    <a:lnTo>
                      <a:pt x="898" y="314"/>
                    </a:lnTo>
                    <a:lnTo>
                      <a:pt x="1027" y="304"/>
                    </a:lnTo>
                    <a:lnTo>
                      <a:pt x="1070" y="281"/>
                    </a:lnTo>
                    <a:lnTo>
                      <a:pt x="1103" y="243"/>
                    </a:lnTo>
                    <a:lnTo>
                      <a:pt x="1103" y="259"/>
                    </a:lnTo>
                    <a:lnTo>
                      <a:pt x="1112" y="248"/>
                    </a:lnTo>
                    <a:lnTo>
                      <a:pt x="1124" y="210"/>
                    </a:lnTo>
                    <a:lnTo>
                      <a:pt x="1117" y="205"/>
                    </a:lnTo>
                    <a:lnTo>
                      <a:pt x="1193" y="132"/>
                    </a:lnTo>
                    <a:lnTo>
                      <a:pt x="1205" y="137"/>
                    </a:lnTo>
                    <a:lnTo>
                      <a:pt x="1179" y="153"/>
                    </a:lnTo>
                    <a:lnTo>
                      <a:pt x="1247" y="137"/>
                    </a:lnTo>
                    <a:lnTo>
                      <a:pt x="1335" y="94"/>
                    </a:lnTo>
                    <a:lnTo>
                      <a:pt x="1335" y="111"/>
                    </a:lnTo>
                    <a:lnTo>
                      <a:pt x="1318" y="111"/>
                    </a:lnTo>
                    <a:lnTo>
                      <a:pt x="1330" y="111"/>
                    </a:lnTo>
                    <a:lnTo>
                      <a:pt x="1339" y="137"/>
                    </a:lnTo>
                    <a:lnTo>
                      <a:pt x="1335" y="127"/>
                    </a:lnTo>
                    <a:lnTo>
                      <a:pt x="1339" y="111"/>
                    </a:lnTo>
                    <a:lnTo>
                      <a:pt x="1382" y="99"/>
                    </a:lnTo>
                    <a:lnTo>
                      <a:pt x="1351" y="111"/>
                    </a:lnTo>
                    <a:lnTo>
                      <a:pt x="1335" y="94"/>
                    </a:lnTo>
                    <a:lnTo>
                      <a:pt x="1318" y="94"/>
                    </a:lnTo>
                    <a:lnTo>
                      <a:pt x="1389" y="61"/>
                    </a:lnTo>
                    <a:lnTo>
                      <a:pt x="1372" y="61"/>
                    </a:lnTo>
                    <a:lnTo>
                      <a:pt x="1389" y="61"/>
                    </a:lnTo>
                    <a:lnTo>
                      <a:pt x="1368" y="70"/>
                    </a:lnTo>
                    <a:lnTo>
                      <a:pt x="1382" y="78"/>
                    </a:lnTo>
                    <a:lnTo>
                      <a:pt x="1405" y="70"/>
                    </a:lnTo>
                    <a:lnTo>
                      <a:pt x="1481" y="61"/>
                    </a:lnTo>
                    <a:lnTo>
                      <a:pt x="1566" y="0"/>
                    </a:lnTo>
                    <a:lnTo>
                      <a:pt x="1583" y="4"/>
                    </a:lnTo>
                    <a:lnTo>
                      <a:pt x="1637" y="21"/>
                    </a:lnTo>
                    <a:lnTo>
                      <a:pt x="1642" y="26"/>
                    </a:lnTo>
                    <a:lnTo>
                      <a:pt x="1625" y="42"/>
                    </a:lnTo>
                    <a:lnTo>
                      <a:pt x="1599" y="54"/>
                    </a:lnTo>
                    <a:lnTo>
                      <a:pt x="1611" y="54"/>
                    </a:lnTo>
                    <a:lnTo>
                      <a:pt x="1611" y="78"/>
                    </a:lnTo>
                    <a:lnTo>
                      <a:pt x="1637" y="61"/>
                    </a:lnTo>
                    <a:lnTo>
                      <a:pt x="1653" y="42"/>
                    </a:lnTo>
                    <a:lnTo>
                      <a:pt x="1670" y="42"/>
                    </a:lnTo>
                    <a:lnTo>
                      <a:pt x="1658" y="26"/>
                    </a:lnTo>
                    <a:lnTo>
                      <a:pt x="1675" y="21"/>
                    </a:lnTo>
                    <a:lnTo>
                      <a:pt x="1675" y="37"/>
                    </a:lnTo>
                    <a:lnTo>
                      <a:pt x="1679" y="26"/>
                    </a:lnTo>
                    <a:lnTo>
                      <a:pt x="1696" y="26"/>
                    </a:lnTo>
                    <a:lnTo>
                      <a:pt x="1712" y="42"/>
                    </a:lnTo>
                    <a:lnTo>
                      <a:pt x="1708" y="54"/>
                    </a:lnTo>
                    <a:lnTo>
                      <a:pt x="1708" y="61"/>
                    </a:lnTo>
                    <a:lnTo>
                      <a:pt x="1734" y="70"/>
                    </a:lnTo>
                    <a:lnTo>
                      <a:pt x="1762" y="54"/>
                    </a:lnTo>
                    <a:lnTo>
                      <a:pt x="1805" y="54"/>
                    </a:lnTo>
                    <a:lnTo>
                      <a:pt x="1875" y="61"/>
                    </a:lnTo>
                    <a:lnTo>
                      <a:pt x="1859" y="82"/>
                    </a:lnTo>
                    <a:lnTo>
                      <a:pt x="1885" y="99"/>
                    </a:lnTo>
                    <a:lnTo>
                      <a:pt x="1842" y="99"/>
                    </a:lnTo>
                    <a:lnTo>
                      <a:pt x="1913" y="99"/>
                    </a:lnTo>
                    <a:lnTo>
                      <a:pt x="1890" y="115"/>
                    </a:lnTo>
                    <a:lnTo>
                      <a:pt x="1944" y="127"/>
                    </a:lnTo>
                    <a:lnTo>
                      <a:pt x="1951" y="115"/>
                    </a:lnTo>
                    <a:lnTo>
                      <a:pt x="1977" y="111"/>
                    </a:lnTo>
                    <a:lnTo>
                      <a:pt x="2003" y="111"/>
                    </a:lnTo>
                    <a:lnTo>
                      <a:pt x="2003" y="115"/>
                    </a:lnTo>
                    <a:lnTo>
                      <a:pt x="2036" y="111"/>
                    </a:lnTo>
                    <a:lnTo>
                      <a:pt x="2090" y="111"/>
                    </a:lnTo>
                    <a:lnTo>
                      <a:pt x="2140" y="132"/>
                    </a:lnTo>
                    <a:lnTo>
                      <a:pt x="2161" y="127"/>
                    </a:lnTo>
                    <a:lnTo>
                      <a:pt x="2192" y="148"/>
                    </a:lnTo>
                    <a:lnTo>
                      <a:pt x="2322" y="153"/>
                    </a:lnTo>
                    <a:lnTo>
                      <a:pt x="2381" y="181"/>
                    </a:lnTo>
                    <a:lnTo>
                      <a:pt x="2501" y="153"/>
                    </a:lnTo>
                    <a:lnTo>
                      <a:pt x="2544" y="170"/>
                    </a:lnTo>
                    <a:lnTo>
                      <a:pt x="2641" y="222"/>
                    </a:lnTo>
                    <a:lnTo>
                      <a:pt x="2662" y="222"/>
                    </a:lnTo>
                    <a:lnTo>
                      <a:pt x="2662" y="222"/>
                    </a:lnTo>
                    <a:lnTo>
                      <a:pt x="2662" y="222"/>
                    </a:lnTo>
                    <a:close/>
                    <a:moveTo>
                      <a:pt x="709" y="996"/>
                    </a:moveTo>
                    <a:lnTo>
                      <a:pt x="680" y="996"/>
                    </a:lnTo>
                    <a:lnTo>
                      <a:pt x="654" y="1018"/>
                    </a:lnTo>
                    <a:lnTo>
                      <a:pt x="649" y="1018"/>
                    </a:lnTo>
                    <a:lnTo>
                      <a:pt x="638" y="1001"/>
                    </a:lnTo>
                    <a:lnTo>
                      <a:pt x="612" y="996"/>
                    </a:lnTo>
                    <a:lnTo>
                      <a:pt x="612" y="980"/>
                    </a:lnTo>
                    <a:lnTo>
                      <a:pt x="595" y="968"/>
                    </a:lnTo>
                    <a:lnTo>
                      <a:pt x="557" y="963"/>
                    </a:lnTo>
                    <a:lnTo>
                      <a:pt x="612" y="985"/>
                    </a:lnTo>
                    <a:lnTo>
                      <a:pt x="562" y="963"/>
                    </a:lnTo>
                    <a:lnTo>
                      <a:pt x="520" y="980"/>
                    </a:lnTo>
                    <a:lnTo>
                      <a:pt x="503" y="968"/>
                    </a:lnTo>
                    <a:lnTo>
                      <a:pt x="503" y="959"/>
                    </a:lnTo>
                    <a:lnTo>
                      <a:pt x="508" y="923"/>
                    </a:lnTo>
                    <a:lnTo>
                      <a:pt x="524" y="947"/>
                    </a:lnTo>
                    <a:lnTo>
                      <a:pt x="562" y="947"/>
                    </a:lnTo>
                    <a:lnTo>
                      <a:pt x="612" y="930"/>
                    </a:lnTo>
                    <a:lnTo>
                      <a:pt x="664" y="968"/>
                    </a:lnTo>
                    <a:lnTo>
                      <a:pt x="718" y="980"/>
                    </a:lnTo>
                    <a:lnTo>
                      <a:pt x="709" y="996"/>
                    </a:lnTo>
                    <a:lnTo>
                      <a:pt x="709" y="996"/>
                    </a:lnTo>
                    <a:lnTo>
                      <a:pt x="709" y="996"/>
                    </a:lnTo>
                    <a:close/>
                    <a:moveTo>
                      <a:pt x="1167" y="947"/>
                    </a:moveTo>
                    <a:lnTo>
                      <a:pt x="1141" y="947"/>
                    </a:lnTo>
                    <a:lnTo>
                      <a:pt x="1150" y="940"/>
                    </a:lnTo>
                    <a:lnTo>
                      <a:pt x="1167" y="947"/>
                    </a:lnTo>
                    <a:lnTo>
                      <a:pt x="1167" y="947"/>
                    </a:lnTo>
                    <a:lnTo>
                      <a:pt x="1167" y="947"/>
                    </a:lnTo>
                    <a:close/>
                    <a:moveTo>
                      <a:pt x="2166" y="1244"/>
                    </a:moveTo>
                    <a:lnTo>
                      <a:pt x="2178" y="1256"/>
                    </a:lnTo>
                    <a:lnTo>
                      <a:pt x="2161" y="1256"/>
                    </a:lnTo>
                    <a:lnTo>
                      <a:pt x="2166" y="1244"/>
                    </a:lnTo>
                    <a:lnTo>
                      <a:pt x="2166" y="1244"/>
                    </a:lnTo>
                    <a:lnTo>
                      <a:pt x="2166" y="1244"/>
                    </a:lnTo>
                    <a:close/>
                    <a:moveTo>
                      <a:pt x="2263" y="1244"/>
                    </a:moveTo>
                    <a:lnTo>
                      <a:pt x="2263" y="1256"/>
                    </a:lnTo>
                    <a:lnTo>
                      <a:pt x="2253" y="1256"/>
                    </a:lnTo>
                    <a:lnTo>
                      <a:pt x="2263" y="1244"/>
                    </a:lnTo>
                    <a:lnTo>
                      <a:pt x="2263" y="1244"/>
                    </a:lnTo>
                    <a:lnTo>
                      <a:pt x="2263" y="1244"/>
                    </a:lnTo>
                    <a:close/>
                    <a:moveTo>
                      <a:pt x="978" y="1244"/>
                    </a:moveTo>
                    <a:lnTo>
                      <a:pt x="990" y="1256"/>
                    </a:lnTo>
                    <a:lnTo>
                      <a:pt x="978" y="1256"/>
                    </a:lnTo>
                    <a:lnTo>
                      <a:pt x="978" y="1244"/>
                    </a:lnTo>
                    <a:lnTo>
                      <a:pt x="978" y="1244"/>
                    </a:lnTo>
                    <a:lnTo>
                      <a:pt x="978" y="1244"/>
                    </a:lnTo>
                    <a:close/>
                    <a:moveTo>
                      <a:pt x="2161" y="1263"/>
                    </a:moveTo>
                    <a:lnTo>
                      <a:pt x="2161" y="1273"/>
                    </a:lnTo>
                    <a:lnTo>
                      <a:pt x="2154" y="1263"/>
                    </a:lnTo>
                    <a:lnTo>
                      <a:pt x="2161" y="1263"/>
                    </a:lnTo>
                    <a:lnTo>
                      <a:pt x="2161" y="1263"/>
                    </a:lnTo>
                    <a:lnTo>
                      <a:pt x="2161" y="1263"/>
                    </a:lnTo>
                    <a:close/>
                    <a:moveTo>
                      <a:pt x="2183" y="1263"/>
                    </a:moveTo>
                    <a:lnTo>
                      <a:pt x="2183" y="1273"/>
                    </a:lnTo>
                    <a:lnTo>
                      <a:pt x="2178" y="1273"/>
                    </a:lnTo>
                    <a:lnTo>
                      <a:pt x="2166" y="1263"/>
                    </a:lnTo>
                    <a:lnTo>
                      <a:pt x="2183" y="1263"/>
                    </a:lnTo>
                    <a:lnTo>
                      <a:pt x="2183" y="1263"/>
                    </a:lnTo>
                    <a:lnTo>
                      <a:pt x="2183" y="1263"/>
                    </a:lnTo>
                    <a:close/>
                    <a:moveTo>
                      <a:pt x="2216" y="1273"/>
                    </a:moveTo>
                    <a:lnTo>
                      <a:pt x="2220" y="1273"/>
                    </a:lnTo>
                    <a:lnTo>
                      <a:pt x="2209" y="1280"/>
                    </a:lnTo>
                    <a:lnTo>
                      <a:pt x="2216" y="1273"/>
                    </a:lnTo>
                    <a:lnTo>
                      <a:pt x="2216" y="1273"/>
                    </a:lnTo>
                    <a:lnTo>
                      <a:pt x="2216" y="1273"/>
                    </a:lnTo>
                    <a:close/>
                    <a:moveTo>
                      <a:pt x="470" y="1313"/>
                    </a:moveTo>
                    <a:lnTo>
                      <a:pt x="449" y="1313"/>
                    </a:lnTo>
                    <a:lnTo>
                      <a:pt x="416" y="1289"/>
                    </a:lnTo>
                    <a:lnTo>
                      <a:pt x="423" y="1280"/>
                    </a:lnTo>
                    <a:lnTo>
                      <a:pt x="432" y="1296"/>
                    </a:lnTo>
                    <a:lnTo>
                      <a:pt x="470" y="1313"/>
                    </a:lnTo>
                    <a:lnTo>
                      <a:pt x="470" y="1313"/>
                    </a:lnTo>
                    <a:lnTo>
                      <a:pt x="470" y="1313"/>
                    </a:lnTo>
                    <a:close/>
                    <a:moveTo>
                      <a:pt x="1897" y="1296"/>
                    </a:moveTo>
                    <a:lnTo>
                      <a:pt x="1890" y="1301"/>
                    </a:lnTo>
                    <a:lnTo>
                      <a:pt x="1897" y="1289"/>
                    </a:lnTo>
                    <a:lnTo>
                      <a:pt x="1897" y="1296"/>
                    </a:lnTo>
                    <a:lnTo>
                      <a:pt x="1897" y="1296"/>
                    </a:lnTo>
                    <a:lnTo>
                      <a:pt x="1897" y="1296"/>
                    </a:lnTo>
                    <a:close/>
                    <a:moveTo>
                      <a:pt x="2199" y="1296"/>
                    </a:moveTo>
                    <a:lnTo>
                      <a:pt x="2192" y="1301"/>
                    </a:lnTo>
                    <a:lnTo>
                      <a:pt x="2199" y="1301"/>
                    </a:lnTo>
                    <a:lnTo>
                      <a:pt x="2192" y="1329"/>
                    </a:lnTo>
                    <a:lnTo>
                      <a:pt x="2178" y="1318"/>
                    </a:lnTo>
                    <a:lnTo>
                      <a:pt x="2192" y="1296"/>
                    </a:lnTo>
                    <a:lnTo>
                      <a:pt x="2192" y="1289"/>
                    </a:lnTo>
                    <a:lnTo>
                      <a:pt x="2199" y="1296"/>
                    </a:lnTo>
                    <a:lnTo>
                      <a:pt x="2199" y="1296"/>
                    </a:lnTo>
                    <a:lnTo>
                      <a:pt x="2199" y="1296"/>
                    </a:lnTo>
                    <a:close/>
                    <a:moveTo>
                      <a:pt x="2305" y="1301"/>
                    </a:moveTo>
                    <a:lnTo>
                      <a:pt x="2268" y="1318"/>
                    </a:lnTo>
                    <a:lnTo>
                      <a:pt x="2268" y="1313"/>
                    </a:lnTo>
                    <a:lnTo>
                      <a:pt x="2275" y="1301"/>
                    </a:lnTo>
                    <a:lnTo>
                      <a:pt x="2263" y="1301"/>
                    </a:lnTo>
                    <a:lnTo>
                      <a:pt x="2268" y="1296"/>
                    </a:lnTo>
                    <a:lnTo>
                      <a:pt x="2305" y="1301"/>
                    </a:lnTo>
                    <a:lnTo>
                      <a:pt x="2305" y="1301"/>
                    </a:lnTo>
                    <a:lnTo>
                      <a:pt x="2305" y="1301"/>
                    </a:lnTo>
                    <a:close/>
                    <a:moveTo>
                      <a:pt x="902" y="1301"/>
                    </a:moveTo>
                    <a:lnTo>
                      <a:pt x="902" y="1313"/>
                    </a:lnTo>
                    <a:lnTo>
                      <a:pt x="935" y="1313"/>
                    </a:lnTo>
                    <a:lnTo>
                      <a:pt x="935" y="1334"/>
                    </a:lnTo>
                    <a:lnTo>
                      <a:pt x="940" y="1351"/>
                    </a:lnTo>
                    <a:lnTo>
                      <a:pt x="898" y="1355"/>
                    </a:lnTo>
                    <a:lnTo>
                      <a:pt x="902" y="1367"/>
                    </a:lnTo>
                    <a:lnTo>
                      <a:pt x="898" y="1372"/>
                    </a:lnTo>
                    <a:lnTo>
                      <a:pt x="831" y="1346"/>
                    </a:lnTo>
                    <a:lnTo>
                      <a:pt x="810" y="1329"/>
                    </a:lnTo>
                    <a:lnTo>
                      <a:pt x="848" y="1318"/>
                    </a:lnTo>
                    <a:lnTo>
                      <a:pt x="869" y="1301"/>
                    </a:lnTo>
                    <a:lnTo>
                      <a:pt x="902" y="1301"/>
                    </a:lnTo>
                    <a:lnTo>
                      <a:pt x="902" y="1301"/>
                    </a:lnTo>
                    <a:lnTo>
                      <a:pt x="902" y="1301"/>
                    </a:lnTo>
                    <a:close/>
                    <a:moveTo>
                      <a:pt x="2376" y="1301"/>
                    </a:moveTo>
                    <a:lnTo>
                      <a:pt x="2376" y="1313"/>
                    </a:lnTo>
                    <a:lnTo>
                      <a:pt x="2360" y="1313"/>
                    </a:lnTo>
                    <a:lnTo>
                      <a:pt x="2376" y="1301"/>
                    </a:lnTo>
                    <a:lnTo>
                      <a:pt x="2376" y="1301"/>
                    </a:lnTo>
                    <a:lnTo>
                      <a:pt x="2376" y="1301"/>
                    </a:lnTo>
                    <a:close/>
                    <a:moveTo>
                      <a:pt x="2178" y="1301"/>
                    </a:moveTo>
                    <a:lnTo>
                      <a:pt x="2166" y="1313"/>
                    </a:lnTo>
                    <a:lnTo>
                      <a:pt x="2161" y="1313"/>
                    </a:lnTo>
                    <a:lnTo>
                      <a:pt x="2178" y="1301"/>
                    </a:lnTo>
                    <a:lnTo>
                      <a:pt x="2178" y="1301"/>
                    </a:lnTo>
                    <a:lnTo>
                      <a:pt x="2178" y="1301"/>
                    </a:lnTo>
                    <a:close/>
                    <a:moveTo>
                      <a:pt x="2246" y="1313"/>
                    </a:moveTo>
                    <a:lnTo>
                      <a:pt x="2209" y="1355"/>
                    </a:lnTo>
                    <a:lnTo>
                      <a:pt x="2178" y="1367"/>
                    </a:lnTo>
                    <a:lnTo>
                      <a:pt x="2183" y="1351"/>
                    </a:lnTo>
                    <a:lnTo>
                      <a:pt x="2216" y="1334"/>
                    </a:lnTo>
                    <a:lnTo>
                      <a:pt x="2230" y="1301"/>
                    </a:lnTo>
                    <a:lnTo>
                      <a:pt x="2246" y="1313"/>
                    </a:lnTo>
                    <a:lnTo>
                      <a:pt x="2246" y="1313"/>
                    </a:lnTo>
                    <a:lnTo>
                      <a:pt x="2246" y="1313"/>
                    </a:lnTo>
                    <a:close/>
                    <a:moveTo>
                      <a:pt x="2166" y="1329"/>
                    </a:moveTo>
                    <a:lnTo>
                      <a:pt x="2161" y="1346"/>
                    </a:lnTo>
                    <a:lnTo>
                      <a:pt x="2154" y="1346"/>
                    </a:lnTo>
                    <a:lnTo>
                      <a:pt x="2166" y="1329"/>
                    </a:lnTo>
                    <a:lnTo>
                      <a:pt x="2166" y="1329"/>
                    </a:lnTo>
                    <a:lnTo>
                      <a:pt x="2166" y="1329"/>
                    </a:lnTo>
                    <a:close/>
                    <a:moveTo>
                      <a:pt x="2183" y="1334"/>
                    </a:moveTo>
                    <a:lnTo>
                      <a:pt x="2161" y="1346"/>
                    </a:lnTo>
                    <a:lnTo>
                      <a:pt x="2178" y="1329"/>
                    </a:lnTo>
                    <a:lnTo>
                      <a:pt x="2183" y="1334"/>
                    </a:lnTo>
                    <a:lnTo>
                      <a:pt x="2183" y="1334"/>
                    </a:lnTo>
                    <a:lnTo>
                      <a:pt x="2183" y="1334"/>
                    </a:lnTo>
                    <a:close/>
                    <a:moveTo>
                      <a:pt x="1788" y="1407"/>
                    </a:moveTo>
                    <a:lnTo>
                      <a:pt x="1800" y="1412"/>
                    </a:lnTo>
                    <a:lnTo>
                      <a:pt x="1783" y="1412"/>
                    </a:lnTo>
                    <a:lnTo>
                      <a:pt x="1788" y="1407"/>
                    </a:lnTo>
                    <a:lnTo>
                      <a:pt x="1788" y="1407"/>
                    </a:lnTo>
                    <a:lnTo>
                      <a:pt x="1788" y="1407"/>
                    </a:lnTo>
                    <a:close/>
                    <a:moveTo>
                      <a:pt x="1247" y="1483"/>
                    </a:moveTo>
                    <a:lnTo>
                      <a:pt x="1280" y="1474"/>
                    </a:lnTo>
                    <a:lnTo>
                      <a:pt x="1264" y="1495"/>
                    </a:lnTo>
                    <a:lnTo>
                      <a:pt x="1259" y="1500"/>
                    </a:lnTo>
                    <a:lnTo>
                      <a:pt x="1247" y="1483"/>
                    </a:lnTo>
                    <a:lnTo>
                      <a:pt x="1247" y="1483"/>
                    </a:lnTo>
                    <a:lnTo>
                      <a:pt x="1247" y="1483"/>
                    </a:lnTo>
                    <a:close/>
                    <a:moveTo>
                      <a:pt x="1868" y="1495"/>
                    </a:moveTo>
                    <a:lnTo>
                      <a:pt x="1859" y="1511"/>
                    </a:lnTo>
                    <a:lnTo>
                      <a:pt x="1842" y="1500"/>
                    </a:lnTo>
                    <a:lnTo>
                      <a:pt x="1868" y="1495"/>
                    </a:lnTo>
                    <a:lnTo>
                      <a:pt x="1868" y="1495"/>
                    </a:lnTo>
                    <a:lnTo>
                      <a:pt x="1868" y="1495"/>
                    </a:lnTo>
                    <a:close/>
                    <a:moveTo>
                      <a:pt x="1842" y="1552"/>
                    </a:moveTo>
                    <a:lnTo>
                      <a:pt x="1831" y="1556"/>
                    </a:lnTo>
                    <a:lnTo>
                      <a:pt x="1805" y="1540"/>
                    </a:lnTo>
                    <a:lnTo>
                      <a:pt x="1831" y="1540"/>
                    </a:lnTo>
                    <a:lnTo>
                      <a:pt x="1814" y="1533"/>
                    </a:lnTo>
                    <a:lnTo>
                      <a:pt x="1838" y="1528"/>
                    </a:lnTo>
                    <a:lnTo>
                      <a:pt x="1838" y="1516"/>
                    </a:lnTo>
                    <a:lnTo>
                      <a:pt x="1842" y="1511"/>
                    </a:lnTo>
                    <a:lnTo>
                      <a:pt x="1859" y="1516"/>
                    </a:lnTo>
                    <a:lnTo>
                      <a:pt x="1868" y="1511"/>
                    </a:lnTo>
                    <a:lnTo>
                      <a:pt x="1890" y="1528"/>
                    </a:lnTo>
                    <a:lnTo>
                      <a:pt x="1885" y="1540"/>
                    </a:lnTo>
                    <a:lnTo>
                      <a:pt x="1875" y="1528"/>
                    </a:lnTo>
                    <a:lnTo>
                      <a:pt x="1868" y="1533"/>
                    </a:lnTo>
                    <a:lnTo>
                      <a:pt x="1875" y="1540"/>
                    </a:lnTo>
                    <a:lnTo>
                      <a:pt x="1852" y="1540"/>
                    </a:lnTo>
                    <a:lnTo>
                      <a:pt x="1842" y="1552"/>
                    </a:lnTo>
                    <a:lnTo>
                      <a:pt x="1842" y="1552"/>
                    </a:lnTo>
                    <a:lnTo>
                      <a:pt x="1842" y="1552"/>
                    </a:lnTo>
                    <a:close/>
                    <a:moveTo>
                      <a:pt x="3116" y="1606"/>
                    </a:moveTo>
                    <a:lnTo>
                      <a:pt x="3085" y="1516"/>
                    </a:lnTo>
                    <a:lnTo>
                      <a:pt x="3111" y="1540"/>
                    </a:lnTo>
                    <a:lnTo>
                      <a:pt x="3137" y="1540"/>
                    </a:lnTo>
                    <a:lnTo>
                      <a:pt x="3165" y="1589"/>
                    </a:lnTo>
                    <a:lnTo>
                      <a:pt x="3132" y="1552"/>
                    </a:lnTo>
                    <a:lnTo>
                      <a:pt x="3132" y="1573"/>
                    </a:lnTo>
                    <a:lnTo>
                      <a:pt x="3165" y="1611"/>
                    </a:lnTo>
                    <a:lnTo>
                      <a:pt x="3149" y="1611"/>
                    </a:lnTo>
                    <a:lnTo>
                      <a:pt x="3165" y="1622"/>
                    </a:lnTo>
                    <a:lnTo>
                      <a:pt x="3153" y="1627"/>
                    </a:lnTo>
                    <a:lnTo>
                      <a:pt x="3137" y="1622"/>
                    </a:lnTo>
                    <a:lnTo>
                      <a:pt x="3149" y="1639"/>
                    </a:lnTo>
                    <a:lnTo>
                      <a:pt x="3116" y="1660"/>
                    </a:lnTo>
                    <a:lnTo>
                      <a:pt x="3111" y="1639"/>
                    </a:lnTo>
                    <a:lnTo>
                      <a:pt x="3116" y="1622"/>
                    </a:lnTo>
                    <a:lnTo>
                      <a:pt x="3132" y="1627"/>
                    </a:lnTo>
                    <a:lnTo>
                      <a:pt x="3116" y="1611"/>
                    </a:lnTo>
                    <a:lnTo>
                      <a:pt x="3132" y="1606"/>
                    </a:lnTo>
                    <a:lnTo>
                      <a:pt x="3116" y="1606"/>
                    </a:lnTo>
                    <a:lnTo>
                      <a:pt x="3116" y="1606"/>
                    </a:lnTo>
                    <a:lnTo>
                      <a:pt x="3116" y="1606"/>
                    </a:lnTo>
                    <a:close/>
                    <a:moveTo>
                      <a:pt x="3040" y="1516"/>
                    </a:moveTo>
                    <a:lnTo>
                      <a:pt x="3047" y="1516"/>
                    </a:lnTo>
                    <a:lnTo>
                      <a:pt x="3031" y="1516"/>
                    </a:lnTo>
                    <a:lnTo>
                      <a:pt x="3040" y="1516"/>
                    </a:lnTo>
                    <a:lnTo>
                      <a:pt x="3040" y="1516"/>
                    </a:lnTo>
                    <a:lnTo>
                      <a:pt x="3040" y="1516"/>
                    </a:lnTo>
                    <a:close/>
                    <a:moveTo>
                      <a:pt x="3116" y="1516"/>
                    </a:moveTo>
                    <a:lnTo>
                      <a:pt x="3132" y="1533"/>
                    </a:lnTo>
                    <a:lnTo>
                      <a:pt x="3111" y="1528"/>
                    </a:lnTo>
                    <a:lnTo>
                      <a:pt x="3116" y="1516"/>
                    </a:lnTo>
                    <a:lnTo>
                      <a:pt x="3116" y="1516"/>
                    </a:lnTo>
                    <a:lnTo>
                      <a:pt x="3116" y="1516"/>
                    </a:lnTo>
                    <a:close/>
                    <a:moveTo>
                      <a:pt x="3078" y="1585"/>
                    </a:moveTo>
                    <a:lnTo>
                      <a:pt x="3023" y="1556"/>
                    </a:lnTo>
                    <a:lnTo>
                      <a:pt x="3061" y="1589"/>
                    </a:lnTo>
                    <a:lnTo>
                      <a:pt x="3085" y="1585"/>
                    </a:lnTo>
                    <a:lnTo>
                      <a:pt x="3094" y="1594"/>
                    </a:lnTo>
                    <a:lnTo>
                      <a:pt x="3094" y="1611"/>
                    </a:lnTo>
                    <a:lnTo>
                      <a:pt x="3078" y="1611"/>
                    </a:lnTo>
                    <a:lnTo>
                      <a:pt x="3023" y="1585"/>
                    </a:lnTo>
                    <a:lnTo>
                      <a:pt x="3047" y="1594"/>
                    </a:lnTo>
                    <a:lnTo>
                      <a:pt x="3047" y="1611"/>
                    </a:lnTo>
                    <a:lnTo>
                      <a:pt x="3031" y="1622"/>
                    </a:lnTo>
                    <a:lnTo>
                      <a:pt x="3023" y="1622"/>
                    </a:lnTo>
                    <a:lnTo>
                      <a:pt x="3019" y="1606"/>
                    </a:lnTo>
                    <a:lnTo>
                      <a:pt x="3031" y="1611"/>
                    </a:lnTo>
                    <a:lnTo>
                      <a:pt x="3009" y="1594"/>
                    </a:lnTo>
                    <a:lnTo>
                      <a:pt x="3019" y="1594"/>
                    </a:lnTo>
                    <a:lnTo>
                      <a:pt x="2986" y="1573"/>
                    </a:lnTo>
                    <a:lnTo>
                      <a:pt x="2993" y="1556"/>
                    </a:lnTo>
                    <a:lnTo>
                      <a:pt x="3009" y="1573"/>
                    </a:lnTo>
                    <a:lnTo>
                      <a:pt x="2986" y="1540"/>
                    </a:lnTo>
                    <a:lnTo>
                      <a:pt x="2986" y="1533"/>
                    </a:lnTo>
                    <a:lnTo>
                      <a:pt x="3002" y="1552"/>
                    </a:lnTo>
                    <a:lnTo>
                      <a:pt x="3002" y="1533"/>
                    </a:lnTo>
                    <a:lnTo>
                      <a:pt x="3031" y="1528"/>
                    </a:lnTo>
                    <a:lnTo>
                      <a:pt x="3047" y="1540"/>
                    </a:lnTo>
                    <a:lnTo>
                      <a:pt x="3040" y="1552"/>
                    </a:lnTo>
                    <a:lnTo>
                      <a:pt x="3031" y="1552"/>
                    </a:lnTo>
                    <a:lnTo>
                      <a:pt x="3031" y="1556"/>
                    </a:lnTo>
                    <a:lnTo>
                      <a:pt x="3040" y="1556"/>
                    </a:lnTo>
                    <a:lnTo>
                      <a:pt x="3057" y="1540"/>
                    </a:lnTo>
                    <a:lnTo>
                      <a:pt x="3085" y="1556"/>
                    </a:lnTo>
                    <a:lnTo>
                      <a:pt x="3085" y="1573"/>
                    </a:lnTo>
                    <a:lnTo>
                      <a:pt x="3073" y="1568"/>
                    </a:lnTo>
                    <a:lnTo>
                      <a:pt x="3085" y="1573"/>
                    </a:lnTo>
                    <a:lnTo>
                      <a:pt x="3078" y="1585"/>
                    </a:lnTo>
                    <a:lnTo>
                      <a:pt x="3078" y="1585"/>
                    </a:lnTo>
                    <a:lnTo>
                      <a:pt x="3078" y="1585"/>
                    </a:lnTo>
                    <a:close/>
                    <a:moveTo>
                      <a:pt x="1805" y="1540"/>
                    </a:moveTo>
                    <a:lnTo>
                      <a:pt x="1831" y="1556"/>
                    </a:lnTo>
                    <a:lnTo>
                      <a:pt x="1788" y="1552"/>
                    </a:lnTo>
                    <a:lnTo>
                      <a:pt x="1805" y="1540"/>
                    </a:lnTo>
                    <a:lnTo>
                      <a:pt x="1805" y="1540"/>
                    </a:lnTo>
                    <a:lnTo>
                      <a:pt x="1805" y="1540"/>
                    </a:lnTo>
                    <a:close/>
                    <a:moveTo>
                      <a:pt x="2976" y="1552"/>
                    </a:moveTo>
                    <a:lnTo>
                      <a:pt x="2993" y="1556"/>
                    </a:lnTo>
                    <a:lnTo>
                      <a:pt x="2986" y="1573"/>
                    </a:lnTo>
                    <a:lnTo>
                      <a:pt x="2976" y="1556"/>
                    </a:lnTo>
                    <a:lnTo>
                      <a:pt x="2976" y="1552"/>
                    </a:lnTo>
                    <a:lnTo>
                      <a:pt x="2976" y="1552"/>
                    </a:lnTo>
                    <a:lnTo>
                      <a:pt x="2976" y="1552"/>
                    </a:lnTo>
                    <a:close/>
                    <a:moveTo>
                      <a:pt x="1783" y="1594"/>
                    </a:moveTo>
                    <a:lnTo>
                      <a:pt x="1762" y="1589"/>
                    </a:lnTo>
                    <a:lnTo>
                      <a:pt x="1762" y="1573"/>
                    </a:lnTo>
                    <a:lnTo>
                      <a:pt x="1767" y="1568"/>
                    </a:lnTo>
                    <a:lnTo>
                      <a:pt x="1783" y="1573"/>
                    </a:lnTo>
                    <a:lnTo>
                      <a:pt x="1788" y="1594"/>
                    </a:lnTo>
                    <a:lnTo>
                      <a:pt x="1800" y="1589"/>
                    </a:lnTo>
                    <a:lnTo>
                      <a:pt x="1788" y="1573"/>
                    </a:lnTo>
                    <a:lnTo>
                      <a:pt x="1821" y="1573"/>
                    </a:lnTo>
                    <a:lnTo>
                      <a:pt x="1805" y="1556"/>
                    </a:lnTo>
                    <a:lnTo>
                      <a:pt x="1838" y="1568"/>
                    </a:lnTo>
                    <a:lnTo>
                      <a:pt x="1831" y="1573"/>
                    </a:lnTo>
                    <a:lnTo>
                      <a:pt x="1831" y="1589"/>
                    </a:lnTo>
                    <a:lnTo>
                      <a:pt x="1838" y="1573"/>
                    </a:lnTo>
                    <a:lnTo>
                      <a:pt x="1859" y="1568"/>
                    </a:lnTo>
                    <a:lnTo>
                      <a:pt x="1868" y="1573"/>
                    </a:lnTo>
                    <a:lnTo>
                      <a:pt x="1852" y="1589"/>
                    </a:lnTo>
                    <a:lnTo>
                      <a:pt x="1859" y="1594"/>
                    </a:lnTo>
                    <a:lnTo>
                      <a:pt x="1885" y="1594"/>
                    </a:lnTo>
                    <a:lnTo>
                      <a:pt x="1868" y="1622"/>
                    </a:lnTo>
                    <a:lnTo>
                      <a:pt x="1838" y="1606"/>
                    </a:lnTo>
                    <a:lnTo>
                      <a:pt x="1821" y="1611"/>
                    </a:lnTo>
                    <a:lnTo>
                      <a:pt x="1852" y="1622"/>
                    </a:lnTo>
                    <a:lnTo>
                      <a:pt x="1842" y="1627"/>
                    </a:lnTo>
                    <a:lnTo>
                      <a:pt x="1814" y="1627"/>
                    </a:lnTo>
                    <a:lnTo>
                      <a:pt x="1821" y="1639"/>
                    </a:lnTo>
                    <a:lnTo>
                      <a:pt x="1767" y="1651"/>
                    </a:lnTo>
                    <a:lnTo>
                      <a:pt x="1783" y="1660"/>
                    </a:lnTo>
                    <a:lnTo>
                      <a:pt x="1750" y="1684"/>
                    </a:lnTo>
                    <a:lnTo>
                      <a:pt x="1746" y="1684"/>
                    </a:lnTo>
                    <a:lnTo>
                      <a:pt x="1767" y="1660"/>
                    </a:lnTo>
                    <a:lnTo>
                      <a:pt x="1750" y="1667"/>
                    </a:lnTo>
                    <a:lnTo>
                      <a:pt x="1767" y="1644"/>
                    </a:lnTo>
                    <a:lnTo>
                      <a:pt x="1746" y="1667"/>
                    </a:lnTo>
                    <a:lnTo>
                      <a:pt x="1750" y="1651"/>
                    </a:lnTo>
                    <a:lnTo>
                      <a:pt x="1724" y="1644"/>
                    </a:lnTo>
                    <a:lnTo>
                      <a:pt x="1724" y="1651"/>
                    </a:lnTo>
                    <a:lnTo>
                      <a:pt x="1746" y="1651"/>
                    </a:lnTo>
                    <a:lnTo>
                      <a:pt x="1729" y="1677"/>
                    </a:lnTo>
                    <a:lnTo>
                      <a:pt x="1712" y="1660"/>
                    </a:lnTo>
                    <a:lnTo>
                      <a:pt x="1708" y="1639"/>
                    </a:lnTo>
                    <a:lnTo>
                      <a:pt x="1696" y="1627"/>
                    </a:lnTo>
                    <a:lnTo>
                      <a:pt x="1708" y="1606"/>
                    </a:lnTo>
                    <a:lnTo>
                      <a:pt x="1734" y="1589"/>
                    </a:lnTo>
                    <a:lnTo>
                      <a:pt x="1750" y="1594"/>
                    </a:lnTo>
                    <a:lnTo>
                      <a:pt x="1762" y="1622"/>
                    </a:lnTo>
                    <a:lnTo>
                      <a:pt x="1776" y="1639"/>
                    </a:lnTo>
                    <a:lnTo>
                      <a:pt x="1767" y="1622"/>
                    </a:lnTo>
                    <a:lnTo>
                      <a:pt x="1762" y="1594"/>
                    </a:lnTo>
                    <a:lnTo>
                      <a:pt x="1783" y="1594"/>
                    </a:lnTo>
                    <a:lnTo>
                      <a:pt x="1783" y="1594"/>
                    </a:lnTo>
                    <a:lnTo>
                      <a:pt x="1783" y="1594"/>
                    </a:lnTo>
                    <a:close/>
                    <a:moveTo>
                      <a:pt x="1868" y="1568"/>
                    </a:moveTo>
                    <a:lnTo>
                      <a:pt x="1859" y="1568"/>
                    </a:lnTo>
                    <a:lnTo>
                      <a:pt x="1868" y="1568"/>
                    </a:lnTo>
                    <a:lnTo>
                      <a:pt x="1868" y="1568"/>
                    </a:lnTo>
                    <a:lnTo>
                      <a:pt x="1868" y="1568"/>
                    </a:lnTo>
                    <a:close/>
                    <a:moveTo>
                      <a:pt x="1788" y="1556"/>
                    </a:moveTo>
                    <a:lnTo>
                      <a:pt x="1805" y="1573"/>
                    </a:lnTo>
                    <a:lnTo>
                      <a:pt x="1783" y="1568"/>
                    </a:lnTo>
                    <a:lnTo>
                      <a:pt x="1788" y="1556"/>
                    </a:lnTo>
                    <a:lnTo>
                      <a:pt x="1788" y="1556"/>
                    </a:lnTo>
                    <a:lnTo>
                      <a:pt x="1788" y="1556"/>
                    </a:lnTo>
                    <a:close/>
                    <a:moveTo>
                      <a:pt x="3111" y="1705"/>
                    </a:moveTo>
                    <a:lnTo>
                      <a:pt x="3111" y="1750"/>
                    </a:lnTo>
                    <a:lnTo>
                      <a:pt x="3078" y="1705"/>
                    </a:lnTo>
                    <a:lnTo>
                      <a:pt x="3094" y="1693"/>
                    </a:lnTo>
                    <a:lnTo>
                      <a:pt x="3078" y="1700"/>
                    </a:lnTo>
                    <a:lnTo>
                      <a:pt x="3073" y="1693"/>
                    </a:lnTo>
                    <a:lnTo>
                      <a:pt x="3078" y="1677"/>
                    </a:lnTo>
                    <a:lnTo>
                      <a:pt x="3057" y="1677"/>
                    </a:lnTo>
                    <a:lnTo>
                      <a:pt x="3057" y="1644"/>
                    </a:lnTo>
                    <a:lnTo>
                      <a:pt x="3061" y="1639"/>
                    </a:lnTo>
                    <a:lnTo>
                      <a:pt x="3047" y="1639"/>
                    </a:lnTo>
                    <a:lnTo>
                      <a:pt x="3040" y="1622"/>
                    </a:lnTo>
                    <a:lnTo>
                      <a:pt x="3047" y="1622"/>
                    </a:lnTo>
                    <a:lnTo>
                      <a:pt x="3047" y="1606"/>
                    </a:lnTo>
                    <a:lnTo>
                      <a:pt x="3057" y="1606"/>
                    </a:lnTo>
                    <a:lnTo>
                      <a:pt x="3085" y="1622"/>
                    </a:lnTo>
                    <a:lnTo>
                      <a:pt x="3099" y="1644"/>
                    </a:lnTo>
                    <a:lnTo>
                      <a:pt x="3111" y="1705"/>
                    </a:lnTo>
                    <a:lnTo>
                      <a:pt x="3111" y="1705"/>
                    </a:lnTo>
                    <a:lnTo>
                      <a:pt x="3111" y="1705"/>
                    </a:lnTo>
                    <a:close/>
                    <a:moveTo>
                      <a:pt x="3094" y="1622"/>
                    </a:moveTo>
                    <a:lnTo>
                      <a:pt x="3099" y="1627"/>
                    </a:lnTo>
                    <a:lnTo>
                      <a:pt x="3085" y="1622"/>
                    </a:lnTo>
                    <a:lnTo>
                      <a:pt x="3094" y="1622"/>
                    </a:lnTo>
                    <a:lnTo>
                      <a:pt x="3094" y="1622"/>
                    </a:lnTo>
                    <a:lnTo>
                      <a:pt x="3094" y="1622"/>
                    </a:lnTo>
                    <a:close/>
                    <a:moveTo>
                      <a:pt x="3031" y="1627"/>
                    </a:moveTo>
                    <a:lnTo>
                      <a:pt x="3047" y="1639"/>
                    </a:lnTo>
                    <a:lnTo>
                      <a:pt x="3047" y="1644"/>
                    </a:lnTo>
                    <a:lnTo>
                      <a:pt x="3040" y="1660"/>
                    </a:lnTo>
                    <a:lnTo>
                      <a:pt x="3023" y="1660"/>
                    </a:lnTo>
                    <a:lnTo>
                      <a:pt x="3031" y="1644"/>
                    </a:lnTo>
                    <a:lnTo>
                      <a:pt x="3023" y="1644"/>
                    </a:lnTo>
                    <a:lnTo>
                      <a:pt x="3023" y="1627"/>
                    </a:lnTo>
                    <a:lnTo>
                      <a:pt x="3031" y="1627"/>
                    </a:lnTo>
                    <a:lnTo>
                      <a:pt x="3031" y="1627"/>
                    </a:lnTo>
                    <a:lnTo>
                      <a:pt x="3031" y="1627"/>
                    </a:lnTo>
                    <a:close/>
                    <a:moveTo>
                      <a:pt x="612" y="1651"/>
                    </a:moveTo>
                    <a:lnTo>
                      <a:pt x="600" y="1644"/>
                    </a:lnTo>
                    <a:lnTo>
                      <a:pt x="616" y="1639"/>
                    </a:lnTo>
                    <a:lnTo>
                      <a:pt x="612" y="1651"/>
                    </a:lnTo>
                    <a:lnTo>
                      <a:pt x="612" y="1651"/>
                    </a:lnTo>
                    <a:lnTo>
                      <a:pt x="612" y="1651"/>
                    </a:lnTo>
                    <a:close/>
                    <a:moveTo>
                      <a:pt x="1831" y="1644"/>
                    </a:moveTo>
                    <a:lnTo>
                      <a:pt x="1800" y="1660"/>
                    </a:lnTo>
                    <a:lnTo>
                      <a:pt x="1788" y="1651"/>
                    </a:lnTo>
                    <a:lnTo>
                      <a:pt x="1805" y="1639"/>
                    </a:lnTo>
                    <a:lnTo>
                      <a:pt x="1831" y="1644"/>
                    </a:lnTo>
                    <a:lnTo>
                      <a:pt x="1831" y="1644"/>
                    </a:lnTo>
                    <a:lnTo>
                      <a:pt x="1831" y="1644"/>
                    </a:lnTo>
                    <a:close/>
                    <a:moveTo>
                      <a:pt x="3220" y="1660"/>
                    </a:moveTo>
                    <a:lnTo>
                      <a:pt x="3236" y="1677"/>
                    </a:lnTo>
                    <a:lnTo>
                      <a:pt x="3224" y="1700"/>
                    </a:lnTo>
                    <a:lnTo>
                      <a:pt x="3203" y="1677"/>
                    </a:lnTo>
                    <a:lnTo>
                      <a:pt x="3220" y="1705"/>
                    </a:lnTo>
                    <a:lnTo>
                      <a:pt x="3186" y="1717"/>
                    </a:lnTo>
                    <a:lnTo>
                      <a:pt x="3182" y="1717"/>
                    </a:lnTo>
                    <a:lnTo>
                      <a:pt x="3182" y="1677"/>
                    </a:lnTo>
                    <a:lnTo>
                      <a:pt x="3165" y="1667"/>
                    </a:lnTo>
                    <a:lnTo>
                      <a:pt x="3170" y="1667"/>
                    </a:lnTo>
                    <a:lnTo>
                      <a:pt x="3153" y="1660"/>
                    </a:lnTo>
                    <a:lnTo>
                      <a:pt x="3165" y="1651"/>
                    </a:lnTo>
                    <a:lnTo>
                      <a:pt x="3220" y="1660"/>
                    </a:lnTo>
                    <a:lnTo>
                      <a:pt x="3220" y="1660"/>
                    </a:lnTo>
                    <a:lnTo>
                      <a:pt x="3220" y="1660"/>
                    </a:lnTo>
                    <a:close/>
                    <a:moveTo>
                      <a:pt x="3137" y="1733"/>
                    </a:moveTo>
                    <a:lnTo>
                      <a:pt x="3132" y="1722"/>
                    </a:lnTo>
                    <a:lnTo>
                      <a:pt x="3137" y="1722"/>
                    </a:lnTo>
                    <a:lnTo>
                      <a:pt x="3149" y="1722"/>
                    </a:lnTo>
                    <a:lnTo>
                      <a:pt x="3149" y="1705"/>
                    </a:lnTo>
                    <a:lnTo>
                      <a:pt x="3132" y="1705"/>
                    </a:lnTo>
                    <a:lnTo>
                      <a:pt x="3127" y="1677"/>
                    </a:lnTo>
                    <a:lnTo>
                      <a:pt x="3149" y="1677"/>
                    </a:lnTo>
                    <a:lnTo>
                      <a:pt x="3132" y="1667"/>
                    </a:lnTo>
                    <a:lnTo>
                      <a:pt x="3153" y="1677"/>
                    </a:lnTo>
                    <a:lnTo>
                      <a:pt x="3165" y="1684"/>
                    </a:lnTo>
                    <a:lnTo>
                      <a:pt x="3153" y="1700"/>
                    </a:lnTo>
                    <a:lnTo>
                      <a:pt x="3165" y="1684"/>
                    </a:lnTo>
                    <a:lnTo>
                      <a:pt x="3170" y="1684"/>
                    </a:lnTo>
                    <a:lnTo>
                      <a:pt x="3182" y="1700"/>
                    </a:lnTo>
                    <a:lnTo>
                      <a:pt x="3165" y="1700"/>
                    </a:lnTo>
                    <a:lnTo>
                      <a:pt x="3165" y="1733"/>
                    </a:lnTo>
                    <a:lnTo>
                      <a:pt x="3153" y="1722"/>
                    </a:lnTo>
                    <a:lnTo>
                      <a:pt x="3153" y="1738"/>
                    </a:lnTo>
                    <a:lnTo>
                      <a:pt x="3165" y="1738"/>
                    </a:lnTo>
                    <a:lnTo>
                      <a:pt x="3153" y="1755"/>
                    </a:lnTo>
                    <a:lnTo>
                      <a:pt x="3149" y="1755"/>
                    </a:lnTo>
                    <a:lnTo>
                      <a:pt x="3149" y="1733"/>
                    </a:lnTo>
                    <a:lnTo>
                      <a:pt x="3149" y="1762"/>
                    </a:lnTo>
                    <a:lnTo>
                      <a:pt x="3137" y="1762"/>
                    </a:lnTo>
                    <a:lnTo>
                      <a:pt x="3137" y="1733"/>
                    </a:lnTo>
                    <a:lnTo>
                      <a:pt x="3137" y="1733"/>
                    </a:lnTo>
                    <a:lnTo>
                      <a:pt x="3137" y="1733"/>
                    </a:lnTo>
                    <a:close/>
                    <a:moveTo>
                      <a:pt x="3241" y="1684"/>
                    </a:moveTo>
                    <a:lnTo>
                      <a:pt x="3257" y="1705"/>
                    </a:lnTo>
                    <a:lnTo>
                      <a:pt x="3224" y="1705"/>
                    </a:lnTo>
                    <a:lnTo>
                      <a:pt x="3236" y="1684"/>
                    </a:lnTo>
                    <a:lnTo>
                      <a:pt x="3241" y="1684"/>
                    </a:lnTo>
                    <a:lnTo>
                      <a:pt x="3241" y="1684"/>
                    </a:lnTo>
                    <a:lnTo>
                      <a:pt x="3241" y="1684"/>
                    </a:lnTo>
                    <a:close/>
                    <a:moveTo>
                      <a:pt x="654" y="1705"/>
                    </a:moveTo>
                    <a:lnTo>
                      <a:pt x="638" y="1700"/>
                    </a:lnTo>
                    <a:lnTo>
                      <a:pt x="664" y="1700"/>
                    </a:lnTo>
                    <a:lnTo>
                      <a:pt x="654" y="1705"/>
                    </a:lnTo>
                    <a:lnTo>
                      <a:pt x="654" y="1705"/>
                    </a:lnTo>
                    <a:lnTo>
                      <a:pt x="654" y="1705"/>
                    </a:lnTo>
                    <a:close/>
                    <a:moveTo>
                      <a:pt x="1746" y="1700"/>
                    </a:moveTo>
                    <a:lnTo>
                      <a:pt x="1734" y="1717"/>
                    </a:lnTo>
                    <a:lnTo>
                      <a:pt x="1729" y="1705"/>
                    </a:lnTo>
                    <a:lnTo>
                      <a:pt x="1746" y="1700"/>
                    </a:lnTo>
                    <a:lnTo>
                      <a:pt x="1746" y="1700"/>
                    </a:lnTo>
                    <a:lnTo>
                      <a:pt x="1746" y="1700"/>
                    </a:lnTo>
                    <a:close/>
                    <a:moveTo>
                      <a:pt x="1724" y="1700"/>
                    </a:moveTo>
                    <a:lnTo>
                      <a:pt x="1696" y="1722"/>
                    </a:lnTo>
                    <a:lnTo>
                      <a:pt x="1696" y="1705"/>
                    </a:lnTo>
                    <a:lnTo>
                      <a:pt x="1724" y="1700"/>
                    </a:lnTo>
                    <a:lnTo>
                      <a:pt x="1724" y="1700"/>
                    </a:lnTo>
                    <a:lnTo>
                      <a:pt x="1724" y="1700"/>
                    </a:lnTo>
                    <a:close/>
                    <a:moveTo>
                      <a:pt x="1528" y="1700"/>
                    </a:moveTo>
                    <a:lnTo>
                      <a:pt x="1545" y="1705"/>
                    </a:lnTo>
                    <a:lnTo>
                      <a:pt x="1519" y="1705"/>
                    </a:lnTo>
                    <a:lnTo>
                      <a:pt x="1528" y="1700"/>
                    </a:lnTo>
                    <a:lnTo>
                      <a:pt x="1528" y="1700"/>
                    </a:lnTo>
                    <a:lnTo>
                      <a:pt x="1528" y="1700"/>
                    </a:lnTo>
                    <a:close/>
                    <a:moveTo>
                      <a:pt x="3288" y="1755"/>
                    </a:moveTo>
                    <a:lnTo>
                      <a:pt x="3274" y="1733"/>
                    </a:lnTo>
                    <a:lnTo>
                      <a:pt x="3274" y="1717"/>
                    </a:lnTo>
                    <a:lnTo>
                      <a:pt x="3295" y="1733"/>
                    </a:lnTo>
                    <a:lnTo>
                      <a:pt x="3295" y="1738"/>
                    </a:lnTo>
                    <a:lnTo>
                      <a:pt x="3288" y="1755"/>
                    </a:lnTo>
                    <a:lnTo>
                      <a:pt x="3288" y="1755"/>
                    </a:lnTo>
                    <a:lnTo>
                      <a:pt x="3288" y="1755"/>
                    </a:lnTo>
                    <a:close/>
                    <a:moveTo>
                      <a:pt x="3236" y="1738"/>
                    </a:moveTo>
                    <a:lnTo>
                      <a:pt x="3220" y="1733"/>
                    </a:lnTo>
                    <a:lnTo>
                      <a:pt x="3236" y="1717"/>
                    </a:lnTo>
                    <a:lnTo>
                      <a:pt x="3246" y="1717"/>
                    </a:lnTo>
                    <a:lnTo>
                      <a:pt x="3246" y="1733"/>
                    </a:lnTo>
                    <a:lnTo>
                      <a:pt x="3236" y="1738"/>
                    </a:lnTo>
                    <a:lnTo>
                      <a:pt x="3236" y="1738"/>
                    </a:lnTo>
                    <a:lnTo>
                      <a:pt x="3236" y="1738"/>
                    </a:lnTo>
                    <a:close/>
                    <a:moveTo>
                      <a:pt x="3262" y="1717"/>
                    </a:moveTo>
                    <a:lnTo>
                      <a:pt x="3262" y="1722"/>
                    </a:lnTo>
                    <a:lnTo>
                      <a:pt x="3257" y="1722"/>
                    </a:lnTo>
                    <a:lnTo>
                      <a:pt x="3262" y="1717"/>
                    </a:lnTo>
                    <a:lnTo>
                      <a:pt x="3262" y="1717"/>
                    </a:lnTo>
                    <a:lnTo>
                      <a:pt x="3262" y="1717"/>
                    </a:lnTo>
                    <a:close/>
                    <a:moveTo>
                      <a:pt x="3274" y="1771"/>
                    </a:moveTo>
                    <a:lnTo>
                      <a:pt x="3262" y="1755"/>
                    </a:lnTo>
                    <a:lnTo>
                      <a:pt x="3246" y="1755"/>
                    </a:lnTo>
                    <a:lnTo>
                      <a:pt x="3246" y="1738"/>
                    </a:lnTo>
                    <a:lnTo>
                      <a:pt x="3262" y="1722"/>
                    </a:lnTo>
                    <a:lnTo>
                      <a:pt x="3262" y="1738"/>
                    </a:lnTo>
                    <a:lnTo>
                      <a:pt x="3288" y="1755"/>
                    </a:lnTo>
                    <a:lnTo>
                      <a:pt x="3288" y="1771"/>
                    </a:lnTo>
                    <a:lnTo>
                      <a:pt x="3274" y="1771"/>
                    </a:lnTo>
                    <a:lnTo>
                      <a:pt x="3274" y="1771"/>
                    </a:lnTo>
                    <a:lnTo>
                      <a:pt x="3274" y="1771"/>
                    </a:lnTo>
                    <a:close/>
                    <a:moveTo>
                      <a:pt x="3288" y="1816"/>
                    </a:moveTo>
                    <a:lnTo>
                      <a:pt x="3257" y="1804"/>
                    </a:lnTo>
                    <a:lnTo>
                      <a:pt x="3257" y="1811"/>
                    </a:lnTo>
                    <a:lnTo>
                      <a:pt x="3279" y="1816"/>
                    </a:lnTo>
                    <a:lnTo>
                      <a:pt x="3288" y="1833"/>
                    </a:lnTo>
                    <a:lnTo>
                      <a:pt x="3279" y="1844"/>
                    </a:lnTo>
                    <a:lnTo>
                      <a:pt x="3295" y="1833"/>
                    </a:lnTo>
                    <a:lnTo>
                      <a:pt x="3295" y="1849"/>
                    </a:lnTo>
                    <a:lnTo>
                      <a:pt x="3279" y="1866"/>
                    </a:lnTo>
                    <a:lnTo>
                      <a:pt x="3295" y="1861"/>
                    </a:lnTo>
                    <a:lnTo>
                      <a:pt x="3295" y="1899"/>
                    </a:lnTo>
                    <a:lnTo>
                      <a:pt x="3274" y="1889"/>
                    </a:lnTo>
                    <a:lnTo>
                      <a:pt x="3279" y="1882"/>
                    </a:lnTo>
                    <a:lnTo>
                      <a:pt x="3262" y="1866"/>
                    </a:lnTo>
                    <a:lnTo>
                      <a:pt x="3257" y="1866"/>
                    </a:lnTo>
                    <a:lnTo>
                      <a:pt x="3257" y="1849"/>
                    </a:lnTo>
                    <a:lnTo>
                      <a:pt x="3246" y="1833"/>
                    </a:lnTo>
                    <a:lnTo>
                      <a:pt x="3246" y="1849"/>
                    </a:lnTo>
                    <a:lnTo>
                      <a:pt x="3241" y="1844"/>
                    </a:lnTo>
                    <a:lnTo>
                      <a:pt x="3224" y="1844"/>
                    </a:lnTo>
                    <a:lnTo>
                      <a:pt x="3236" y="1833"/>
                    </a:lnTo>
                    <a:lnTo>
                      <a:pt x="3208" y="1833"/>
                    </a:lnTo>
                    <a:lnTo>
                      <a:pt x="3208" y="1828"/>
                    </a:lnTo>
                    <a:lnTo>
                      <a:pt x="3236" y="1828"/>
                    </a:lnTo>
                    <a:lnTo>
                      <a:pt x="3220" y="1811"/>
                    </a:lnTo>
                    <a:lnTo>
                      <a:pt x="3236" y="1804"/>
                    </a:lnTo>
                    <a:lnTo>
                      <a:pt x="3203" y="1804"/>
                    </a:lnTo>
                    <a:lnTo>
                      <a:pt x="3203" y="1788"/>
                    </a:lnTo>
                    <a:lnTo>
                      <a:pt x="3208" y="1788"/>
                    </a:lnTo>
                    <a:lnTo>
                      <a:pt x="3220" y="1771"/>
                    </a:lnTo>
                    <a:lnTo>
                      <a:pt x="3208" y="1771"/>
                    </a:lnTo>
                    <a:lnTo>
                      <a:pt x="3208" y="1750"/>
                    </a:lnTo>
                    <a:lnTo>
                      <a:pt x="3182" y="1738"/>
                    </a:lnTo>
                    <a:lnTo>
                      <a:pt x="3182" y="1733"/>
                    </a:lnTo>
                    <a:lnTo>
                      <a:pt x="3208" y="1733"/>
                    </a:lnTo>
                    <a:lnTo>
                      <a:pt x="3224" y="1750"/>
                    </a:lnTo>
                    <a:lnTo>
                      <a:pt x="3220" y="1750"/>
                    </a:lnTo>
                    <a:lnTo>
                      <a:pt x="3220" y="1755"/>
                    </a:lnTo>
                    <a:lnTo>
                      <a:pt x="3246" y="1771"/>
                    </a:lnTo>
                    <a:lnTo>
                      <a:pt x="3288" y="1816"/>
                    </a:lnTo>
                    <a:lnTo>
                      <a:pt x="3288" y="1816"/>
                    </a:lnTo>
                    <a:lnTo>
                      <a:pt x="3288" y="1816"/>
                    </a:lnTo>
                    <a:close/>
                    <a:moveTo>
                      <a:pt x="3203" y="1750"/>
                    </a:moveTo>
                    <a:lnTo>
                      <a:pt x="3203" y="1762"/>
                    </a:lnTo>
                    <a:lnTo>
                      <a:pt x="3170" y="1771"/>
                    </a:lnTo>
                    <a:lnTo>
                      <a:pt x="3186" y="1750"/>
                    </a:lnTo>
                    <a:lnTo>
                      <a:pt x="3203" y="1750"/>
                    </a:lnTo>
                    <a:lnTo>
                      <a:pt x="3203" y="1750"/>
                    </a:lnTo>
                    <a:lnTo>
                      <a:pt x="3203" y="1750"/>
                    </a:lnTo>
                    <a:close/>
                    <a:moveTo>
                      <a:pt x="3342" y="1833"/>
                    </a:moveTo>
                    <a:lnTo>
                      <a:pt x="3333" y="1833"/>
                    </a:lnTo>
                    <a:lnTo>
                      <a:pt x="3349" y="1816"/>
                    </a:lnTo>
                    <a:lnTo>
                      <a:pt x="3342" y="1804"/>
                    </a:lnTo>
                    <a:lnTo>
                      <a:pt x="3342" y="1816"/>
                    </a:lnTo>
                    <a:lnTo>
                      <a:pt x="3333" y="1833"/>
                    </a:lnTo>
                    <a:lnTo>
                      <a:pt x="3333" y="1811"/>
                    </a:lnTo>
                    <a:lnTo>
                      <a:pt x="3326" y="1833"/>
                    </a:lnTo>
                    <a:lnTo>
                      <a:pt x="3312" y="1816"/>
                    </a:lnTo>
                    <a:lnTo>
                      <a:pt x="3316" y="1811"/>
                    </a:lnTo>
                    <a:lnTo>
                      <a:pt x="3316" y="1788"/>
                    </a:lnTo>
                    <a:lnTo>
                      <a:pt x="3316" y="1778"/>
                    </a:lnTo>
                    <a:lnTo>
                      <a:pt x="3349" y="1762"/>
                    </a:lnTo>
                    <a:lnTo>
                      <a:pt x="3371" y="1804"/>
                    </a:lnTo>
                    <a:lnTo>
                      <a:pt x="3364" y="1828"/>
                    </a:lnTo>
                    <a:lnTo>
                      <a:pt x="3354" y="1844"/>
                    </a:lnTo>
                    <a:lnTo>
                      <a:pt x="3349" y="1844"/>
                    </a:lnTo>
                    <a:lnTo>
                      <a:pt x="3349" y="1828"/>
                    </a:lnTo>
                    <a:lnTo>
                      <a:pt x="3342" y="1833"/>
                    </a:lnTo>
                    <a:lnTo>
                      <a:pt x="3342" y="1833"/>
                    </a:lnTo>
                    <a:lnTo>
                      <a:pt x="3342" y="1833"/>
                    </a:lnTo>
                    <a:close/>
                    <a:moveTo>
                      <a:pt x="3165" y="1771"/>
                    </a:moveTo>
                    <a:lnTo>
                      <a:pt x="3165" y="1778"/>
                    </a:lnTo>
                    <a:lnTo>
                      <a:pt x="3153" y="1778"/>
                    </a:lnTo>
                    <a:lnTo>
                      <a:pt x="3165" y="1771"/>
                    </a:lnTo>
                    <a:lnTo>
                      <a:pt x="3165" y="1771"/>
                    </a:lnTo>
                    <a:lnTo>
                      <a:pt x="3165" y="1771"/>
                    </a:lnTo>
                    <a:close/>
                    <a:moveTo>
                      <a:pt x="3149" y="1771"/>
                    </a:moveTo>
                    <a:lnTo>
                      <a:pt x="3132" y="1778"/>
                    </a:lnTo>
                    <a:lnTo>
                      <a:pt x="3132" y="1771"/>
                    </a:lnTo>
                    <a:lnTo>
                      <a:pt x="3149" y="1771"/>
                    </a:lnTo>
                    <a:lnTo>
                      <a:pt x="3149" y="1771"/>
                    </a:lnTo>
                    <a:lnTo>
                      <a:pt x="3149" y="1771"/>
                    </a:lnTo>
                    <a:close/>
                    <a:moveTo>
                      <a:pt x="1642" y="1771"/>
                    </a:moveTo>
                    <a:lnTo>
                      <a:pt x="1642" y="1788"/>
                    </a:lnTo>
                    <a:lnTo>
                      <a:pt x="1625" y="1788"/>
                    </a:lnTo>
                    <a:lnTo>
                      <a:pt x="1642" y="1771"/>
                    </a:lnTo>
                    <a:lnTo>
                      <a:pt x="1642" y="1771"/>
                    </a:lnTo>
                    <a:lnTo>
                      <a:pt x="1642" y="1771"/>
                    </a:lnTo>
                    <a:close/>
                    <a:moveTo>
                      <a:pt x="3208" y="1778"/>
                    </a:moveTo>
                    <a:lnTo>
                      <a:pt x="3208" y="1788"/>
                    </a:lnTo>
                    <a:lnTo>
                      <a:pt x="3203" y="1778"/>
                    </a:lnTo>
                    <a:lnTo>
                      <a:pt x="3208" y="1778"/>
                    </a:lnTo>
                    <a:lnTo>
                      <a:pt x="3208" y="1778"/>
                    </a:lnTo>
                    <a:lnTo>
                      <a:pt x="3208" y="1778"/>
                    </a:lnTo>
                    <a:close/>
                    <a:moveTo>
                      <a:pt x="1410" y="1771"/>
                    </a:moveTo>
                    <a:lnTo>
                      <a:pt x="1420" y="1778"/>
                    </a:lnTo>
                    <a:lnTo>
                      <a:pt x="1405" y="1778"/>
                    </a:lnTo>
                    <a:lnTo>
                      <a:pt x="1410" y="1771"/>
                    </a:lnTo>
                    <a:lnTo>
                      <a:pt x="1410" y="1771"/>
                    </a:lnTo>
                    <a:lnTo>
                      <a:pt x="1410" y="1771"/>
                    </a:lnTo>
                    <a:close/>
                    <a:moveTo>
                      <a:pt x="3203" y="1788"/>
                    </a:moveTo>
                    <a:lnTo>
                      <a:pt x="3186" y="1795"/>
                    </a:lnTo>
                    <a:lnTo>
                      <a:pt x="3182" y="1788"/>
                    </a:lnTo>
                    <a:lnTo>
                      <a:pt x="3203" y="1788"/>
                    </a:lnTo>
                    <a:lnTo>
                      <a:pt x="3203" y="1788"/>
                    </a:lnTo>
                    <a:lnTo>
                      <a:pt x="3203" y="1788"/>
                    </a:lnTo>
                    <a:close/>
                    <a:moveTo>
                      <a:pt x="3203" y="1811"/>
                    </a:moveTo>
                    <a:lnTo>
                      <a:pt x="3203" y="1816"/>
                    </a:lnTo>
                    <a:lnTo>
                      <a:pt x="3191" y="1811"/>
                    </a:lnTo>
                    <a:lnTo>
                      <a:pt x="3203" y="1811"/>
                    </a:lnTo>
                    <a:lnTo>
                      <a:pt x="3203" y="1811"/>
                    </a:lnTo>
                    <a:lnTo>
                      <a:pt x="3203" y="1811"/>
                    </a:lnTo>
                    <a:close/>
                    <a:moveTo>
                      <a:pt x="3182" y="1816"/>
                    </a:moveTo>
                    <a:lnTo>
                      <a:pt x="3170" y="1816"/>
                    </a:lnTo>
                    <a:lnTo>
                      <a:pt x="3170" y="1811"/>
                    </a:lnTo>
                    <a:lnTo>
                      <a:pt x="3186" y="1811"/>
                    </a:lnTo>
                    <a:lnTo>
                      <a:pt x="3182" y="1816"/>
                    </a:lnTo>
                    <a:lnTo>
                      <a:pt x="3182" y="1816"/>
                    </a:lnTo>
                    <a:lnTo>
                      <a:pt x="3182" y="1816"/>
                    </a:lnTo>
                    <a:close/>
                    <a:moveTo>
                      <a:pt x="3191" y="1811"/>
                    </a:moveTo>
                    <a:lnTo>
                      <a:pt x="3191" y="1816"/>
                    </a:lnTo>
                    <a:lnTo>
                      <a:pt x="3182" y="1816"/>
                    </a:lnTo>
                    <a:lnTo>
                      <a:pt x="3191" y="1811"/>
                    </a:lnTo>
                    <a:lnTo>
                      <a:pt x="3191" y="1811"/>
                    </a:lnTo>
                    <a:lnTo>
                      <a:pt x="3191" y="1811"/>
                    </a:lnTo>
                    <a:close/>
                    <a:moveTo>
                      <a:pt x="3312" y="1816"/>
                    </a:moveTo>
                    <a:lnTo>
                      <a:pt x="3316" y="1833"/>
                    </a:lnTo>
                    <a:lnTo>
                      <a:pt x="3312" y="1849"/>
                    </a:lnTo>
                    <a:lnTo>
                      <a:pt x="3312" y="1844"/>
                    </a:lnTo>
                    <a:lnTo>
                      <a:pt x="3312" y="1816"/>
                    </a:lnTo>
                    <a:lnTo>
                      <a:pt x="3312" y="1816"/>
                    </a:lnTo>
                    <a:lnTo>
                      <a:pt x="3312" y="1816"/>
                    </a:lnTo>
                    <a:close/>
                    <a:moveTo>
                      <a:pt x="3191" y="1828"/>
                    </a:moveTo>
                    <a:lnTo>
                      <a:pt x="3182" y="1844"/>
                    </a:lnTo>
                    <a:lnTo>
                      <a:pt x="3182" y="1833"/>
                    </a:lnTo>
                    <a:lnTo>
                      <a:pt x="3186" y="1816"/>
                    </a:lnTo>
                    <a:lnTo>
                      <a:pt x="3191" y="1828"/>
                    </a:lnTo>
                    <a:lnTo>
                      <a:pt x="3191" y="1828"/>
                    </a:lnTo>
                    <a:lnTo>
                      <a:pt x="3191" y="1828"/>
                    </a:lnTo>
                    <a:close/>
                    <a:moveTo>
                      <a:pt x="1280" y="1828"/>
                    </a:moveTo>
                    <a:lnTo>
                      <a:pt x="1285" y="1828"/>
                    </a:lnTo>
                    <a:lnTo>
                      <a:pt x="1285" y="1844"/>
                    </a:lnTo>
                    <a:lnTo>
                      <a:pt x="1297" y="1844"/>
                    </a:lnTo>
                    <a:lnTo>
                      <a:pt x="1275" y="1849"/>
                    </a:lnTo>
                    <a:lnTo>
                      <a:pt x="1275" y="1833"/>
                    </a:lnTo>
                    <a:lnTo>
                      <a:pt x="1280" y="1828"/>
                    </a:lnTo>
                    <a:lnTo>
                      <a:pt x="1280" y="1828"/>
                    </a:lnTo>
                    <a:lnTo>
                      <a:pt x="1280" y="1828"/>
                    </a:lnTo>
                    <a:close/>
                    <a:moveTo>
                      <a:pt x="1301" y="1828"/>
                    </a:moveTo>
                    <a:lnTo>
                      <a:pt x="1301" y="1844"/>
                    </a:lnTo>
                    <a:lnTo>
                      <a:pt x="1297" y="1833"/>
                    </a:lnTo>
                    <a:lnTo>
                      <a:pt x="1301" y="1828"/>
                    </a:lnTo>
                    <a:lnTo>
                      <a:pt x="1301" y="1828"/>
                    </a:lnTo>
                    <a:lnTo>
                      <a:pt x="1301" y="1828"/>
                    </a:lnTo>
                    <a:close/>
                    <a:moveTo>
                      <a:pt x="3203" y="1833"/>
                    </a:moveTo>
                    <a:lnTo>
                      <a:pt x="3208" y="1844"/>
                    </a:lnTo>
                    <a:lnTo>
                      <a:pt x="3191" y="1844"/>
                    </a:lnTo>
                    <a:lnTo>
                      <a:pt x="3191" y="1833"/>
                    </a:lnTo>
                    <a:lnTo>
                      <a:pt x="3203" y="1833"/>
                    </a:lnTo>
                    <a:lnTo>
                      <a:pt x="3203" y="1833"/>
                    </a:lnTo>
                    <a:lnTo>
                      <a:pt x="3203" y="1833"/>
                    </a:lnTo>
                    <a:close/>
                    <a:moveTo>
                      <a:pt x="1339" y="1833"/>
                    </a:moveTo>
                    <a:lnTo>
                      <a:pt x="1339" y="1849"/>
                    </a:lnTo>
                    <a:lnTo>
                      <a:pt x="1313" y="1873"/>
                    </a:lnTo>
                    <a:lnTo>
                      <a:pt x="1318" y="1861"/>
                    </a:lnTo>
                    <a:lnTo>
                      <a:pt x="1318" y="1849"/>
                    </a:lnTo>
                    <a:lnTo>
                      <a:pt x="1330" y="1849"/>
                    </a:lnTo>
                    <a:lnTo>
                      <a:pt x="1339" y="1833"/>
                    </a:lnTo>
                    <a:lnTo>
                      <a:pt x="1339" y="1833"/>
                    </a:lnTo>
                    <a:lnTo>
                      <a:pt x="1339" y="1833"/>
                    </a:lnTo>
                    <a:close/>
                    <a:moveTo>
                      <a:pt x="3333" y="1844"/>
                    </a:moveTo>
                    <a:lnTo>
                      <a:pt x="3342" y="1844"/>
                    </a:lnTo>
                    <a:lnTo>
                      <a:pt x="3342" y="1861"/>
                    </a:lnTo>
                    <a:lnTo>
                      <a:pt x="3326" y="1866"/>
                    </a:lnTo>
                    <a:lnTo>
                      <a:pt x="3326" y="1833"/>
                    </a:lnTo>
                    <a:lnTo>
                      <a:pt x="3333" y="1844"/>
                    </a:lnTo>
                    <a:lnTo>
                      <a:pt x="3333" y="1844"/>
                    </a:lnTo>
                    <a:lnTo>
                      <a:pt x="3333" y="1844"/>
                    </a:lnTo>
                    <a:close/>
                    <a:moveTo>
                      <a:pt x="3220" y="1844"/>
                    </a:moveTo>
                    <a:lnTo>
                      <a:pt x="3246" y="1899"/>
                    </a:lnTo>
                    <a:lnTo>
                      <a:pt x="3236" y="1899"/>
                    </a:lnTo>
                    <a:lnTo>
                      <a:pt x="3220" y="1866"/>
                    </a:lnTo>
                    <a:lnTo>
                      <a:pt x="3208" y="1861"/>
                    </a:lnTo>
                    <a:lnTo>
                      <a:pt x="3208" y="1844"/>
                    </a:lnTo>
                    <a:lnTo>
                      <a:pt x="3220" y="1844"/>
                    </a:lnTo>
                    <a:lnTo>
                      <a:pt x="3220" y="1844"/>
                    </a:lnTo>
                    <a:lnTo>
                      <a:pt x="3220" y="1844"/>
                    </a:lnTo>
                    <a:close/>
                    <a:moveTo>
                      <a:pt x="1368" y="1844"/>
                    </a:moveTo>
                    <a:lnTo>
                      <a:pt x="1368" y="1861"/>
                    </a:lnTo>
                    <a:lnTo>
                      <a:pt x="1356" y="1861"/>
                    </a:lnTo>
                    <a:lnTo>
                      <a:pt x="1368" y="1844"/>
                    </a:lnTo>
                    <a:lnTo>
                      <a:pt x="1368" y="1844"/>
                    </a:lnTo>
                    <a:lnTo>
                      <a:pt x="1368" y="1844"/>
                    </a:lnTo>
                    <a:close/>
                    <a:moveTo>
                      <a:pt x="3241" y="1844"/>
                    </a:moveTo>
                    <a:lnTo>
                      <a:pt x="3246" y="1861"/>
                    </a:lnTo>
                    <a:lnTo>
                      <a:pt x="3236" y="1861"/>
                    </a:lnTo>
                    <a:lnTo>
                      <a:pt x="3241" y="1844"/>
                    </a:lnTo>
                    <a:lnTo>
                      <a:pt x="3241" y="1844"/>
                    </a:lnTo>
                    <a:lnTo>
                      <a:pt x="3241" y="1844"/>
                    </a:lnTo>
                    <a:close/>
                    <a:moveTo>
                      <a:pt x="1209" y="1849"/>
                    </a:moveTo>
                    <a:lnTo>
                      <a:pt x="1221" y="1849"/>
                    </a:lnTo>
                    <a:lnTo>
                      <a:pt x="1205" y="1861"/>
                    </a:lnTo>
                    <a:lnTo>
                      <a:pt x="1193" y="1849"/>
                    </a:lnTo>
                    <a:lnTo>
                      <a:pt x="1209" y="1849"/>
                    </a:lnTo>
                    <a:lnTo>
                      <a:pt x="1209" y="1849"/>
                    </a:lnTo>
                    <a:lnTo>
                      <a:pt x="1209" y="1849"/>
                    </a:lnTo>
                    <a:close/>
                    <a:moveTo>
                      <a:pt x="1032" y="1906"/>
                    </a:moveTo>
                    <a:lnTo>
                      <a:pt x="1027" y="1922"/>
                    </a:lnTo>
                    <a:lnTo>
                      <a:pt x="1004" y="1922"/>
                    </a:lnTo>
                    <a:lnTo>
                      <a:pt x="990" y="1922"/>
                    </a:lnTo>
                    <a:lnTo>
                      <a:pt x="978" y="1906"/>
                    </a:lnTo>
                    <a:lnTo>
                      <a:pt x="1004" y="1899"/>
                    </a:lnTo>
                    <a:lnTo>
                      <a:pt x="1016" y="1873"/>
                    </a:lnTo>
                    <a:lnTo>
                      <a:pt x="1032" y="1873"/>
                    </a:lnTo>
                    <a:lnTo>
                      <a:pt x="1065" y="1861"/>
                    </a:lnTo>
                    <a:lnTo>
                      <a:pt x="1079" y="1861"/>
                    </a:lnTo>
                    <a:lnTo>
                      <a:pt x="1096" y="1882"/>
                    </a:lnTo>
                    <a:lnTo>
                      <a:pt x="1112" y="1889"/>
                    </a:lnTo>
                    <a:lnTo>
                      <a:pt x="1117" y="1899"/>
                    </a:lnTo>
                    <a:lnTo>
                      <a:pt x="1096" y="1889"/>
                    </a:lnTo>
                    <a:lnTo>
                      <a:pt x="1079" y="1906"/>
                    </a:lnTo>
                    <a:lnTo>
                      <a:pt x="1032" y="1906"/>
                    </a:lnTo>
                    <a:lnTo>
                      <a:pt x="1032" y="1906"/>
                    </a:lnTo>
                    <a:lnTo>
                      <a:pt x="1032" y="1906"/>
                    </a:lnTo>
                    <a:close/>
                    <a:moveTo>
                      <a:pt x="1372" y="1861"/>
                    </a:moveTo>
                    <a:lnTo>
                      <a:pt x="1372" y="1866"/>
                    </a:lnTo>
                    <a:lnTo>
                      <a:pt x="1368" y="1866"/>
                    </a:lnTo>
                    <a:lnTo>
                      <a:pt x="1368" y="1861"/>
                    </a:lnTo>
                    <a:lnTo>
                      <a:pt x="1372" y="1861"/>
                    </a:lnTo>
                    <a:lnTo>
                      <a:pt x="1372" y="1861"/>
                    </a:lnTo>
                    <a:lnTo>
                      <a:pt x="1372" y="1861"/>
                    </a:lnTo>
                    <a:close/>
                    <a:moveTo>
                      <a:pt x="3349" y="1866"/>
                    </a:moveTo>
                    <a:lnTo>
                      <a:pt x="3349" y="1873"/>
                    </a:lnTo>
                    <a:lnTo>
                      <a:pt x="3333" y="1873"/>
                    </a:lnTo>
                    <a:lnTo>
                      <a:pt x="3349" y="1866"/>
                    </a:lnTo>
                    <a:lnTo>
                      <a:pt x="3349" y="1866"/>
                    </a:lnTo>
                    <a:lnTo>
                      <a:pt x="3349" y="1866"/>
                    </a:lnTo>
                    <a:close/>
                    <a:moveTo>
                      <a:pt x="1172" y="1866"/>
                    </a:moveTo>
                    <a:lnTo>
                      <a:pt x="1167" y="1882"/>
                    </a:lnTo>
                    <a:lnTo>
                      <a:pt x="1155" y="1873"/>
                    </a:lnTo>
                    <a:lnTo>
                      <a:pt x="1172" y="1866"/>
                    </a:lnTo>
                    <a:lnTo>
                      <a:pt x="1172" y="1866"/>
                    </a:lnTo>
                    <a:lnTo>
                      <a:pt x="1172" y="1866"/>
                    </a:lnTo>
                    <a:close/>
                    <a:moveTo>
                      <a:pt x="1382" y="1866"/>
                    </a:moveTo>
                    <a:lnTo>
                      <a:pt x="1389" y="1873"/>
                    </a:lnTo>
                    <a:lnTo>
                      <a:pt x="1382" y="1873"/>
                    </a:lnTo>
                    <a:lnTo>
                      <a:pt x="1382" y="1866"/>
                    </a:lnTo>
                    <a:lnTo>
                      <a:pt x="1382" y="1866"/>
                    </a:lnTo>
                    <a:lnTo>
                      <a:pt x="1382" y="1866"/>
                    </a:lnTo>
                    <a:close/>
                    <a:moveTo>
                      <a:pt x="3246" y="1873"/>
                    </a:moveTo>
                    <a:lnTo>
                      <a:pt x="3246" y="1889"/>
                    </a:lnTo>
                    <a:lnTo>
                      <a:pt x="3241" y="1873"/>
                    </a:lnTo>
                    <a:lnTo>
                      <a:pt x="3246" y="1873"/>
                    </a:lnTo>
                    <a:lnTo>
                      <a:pt x="3246" y="1873"/>
                    </a:lnTo>
                    <a:lnTo>
                      <a:pt x="3246" y="1873"/>
                    </a:lnTo>
                    <a:close/>
                    <a:moveTo>
                      <a:pt x="1134" y="1915"/>
                    </a:moveTo>
                    <a:lnTo>
                      <a:pt x="1150" y="1927"/>
                    </a:lnTo>
                    <a:lnTo>
                      <a:pt x="1134" y="1922"/>
                    </a:lnTo>
                    <a:lnTo>
                      <a:pt x="1134" y="1915"/>
                    </a:lnTo>
                    <a:lnTo>
                      <a:pt x="1134" y="1915"/>
                    </a:lnTo>
                    <a:lnTo>
                      <a:pt x="1134" y="1915"/>
                    </a:lnTo>
                    <a:close/>
                    <a:moveTo>
                      <a:pt x="940" y="1955"/>
                    </a:moveTo>
                    <a:lnTo>
                      <a:pt x="935" y="1939"/>
                    </a:lnTo>
                    <a:lnTo>
                      <a:pt x="952" y="1939"/>
                    </a:lnTo>
                    <a:lnTo>
                      <a:pt x="940" y="1955"/>
                    </a:lnTo>
                    <a:lnTo>
                      <a:pt x="940" y="1955"/>
                    </a:lnTo>
                    <a:lnTo>
                      <a:pt x="940" y="1955"/>
                    </a:lnTo>
                    <a:close/>
                    <a:moveTo>
                      <a:pt x="919" y="1960"/>
                    </a:moveTo>
                    <a:lnTo>
                      <a:pt x="902" y="1955"/>
                    </a:lnTo>
                    <a:lnTo>
                      <a:pt x="907" y="1939"/>
                    </a:lnTo>
                    <a:lnTo>
                      <a:pt x="935" y="1955"/>
                    </a:lnTo>
                    <a:lnTo>
                      <a:pt x="919" y="1960"/>
                    </a:lnTo>
                    <a:lnTo>
                      <a:pt x="919" y="1960"/>
                    </a:lnTo>
                    <a:lnTo>
                      <a:pt x="919" y="1960"/>
                    </a:lnTo>
                    <a:close/>
                    <a:moveTo>
                      <a:pt x="957" y="1960"/>
                    </a:moveTo>
                    <a:lnTo>
                      <a:pt x="952" y="1955"/>
                    </a:lnTo>
                    <a:lnTo>
                      <a:pt x="961" y="1955"/>
                    </a:lnTo>
                    <a:lnTo>
                      <a:pt x="957" y="1960"/>
                    </a:lnTo>
                    <a:lnTo>
                      <a:pt x="957" y="1960"/>
                    </a:lnTo>
                    <a:lnTo>
                      <a:pt x="957" y="1960"/>
                    </a:lnTo>
                    <a:close/>
                    <a:moveTo>
                      <a:pt x="831" y="2000"/>
                    </a:moveTo>
                    <a:lnTo>
                      <a:pt x="843" y="1993"/>
                    </a:lnTo>
                    <a:lnTo>
                      <a:pt x="853" y="1993"/>
                    </a:lnTo>
                    <a:lnTo>
                      <a:pt x="827" y="1981"/>
                    </a:lnTo>
                    <a:lnTo>
                      <a:pt x="843" y="1972"/>
                    </a:lnTo>
                    <a:lnTo>
                      <a:pt x="864" y="1960"/>
                    </a:lnTo>
                    <a:lnTo>
                      <a:pt x="864" y="1977"/>
                    </a:lnTo>
                    <a:lnTo>
                      <a:pt x="886" y="1960"/>
                    </a:lnTo>
                    <a:lnTo>
                      <a:pt x="898" y="1972"/>
                    </a:lnTo>
                    <a:lnTo>
                      <a:pt x="869" y="1993"/>
                    </a:lnTo>
                    <a:lnTo>
                      <a:pt x="886" y="1981"/>
                    </a:lnTo>
                    <a:lnTo>
                      <a:pt x="886" y="1993"/>
                    </a:lnTo>
                    <a:lnTo>
                      <a:pt x="869" y="2000"/>
                    </a:lnTo>
                    <a:lnTo>
                      <a:pt x="853" y="2017"/>
                    </a:lnTo>
                    <a:lnTo>
                      <a:pt x="794" y="2038"/>
                    </a:lnTo>
                    <a:lnTo>
                      <a:pt x="777" y="2033"/>
                    </a:lnTo>
                    <a:lnTo>
                      <a:pt x="827" y="2017"/>
                    </a:lnTo>
                    <a:lnTo>
                      <a:pt x="831" y="2010"/>
                    </a:lnTo>
                    <a:lnTo>
                      <a:pt x="827" y="2000"/>
                    </a:lnTo>
                    <a:lnTo>
                      <a:pt x="831" y="2000"/>
                    </a:lnTo>
                    <a:lnTo>
                      <a:pt x="831" y="2000"/>
                    </a:lnTo>
                    <a:lnTo>
                      <a:pt x="831" y="2000"/>
                    </a:lnTo>
                    <a:close/>
                    <a:moveTo>
                      <a:pt x="898" y="1993"/>
                    </a:moveTo>
                    <a:lnTo>
                      <a:pt x="886" y="1981"/>
                    </a:lnTo>
                    <a:lnTo>
                      <a:pt x="902" y="1977"/>
                    </a:lnTo>
                    <a:lnTo>
                      <a:pt x="898" y="1993"/>
                    </a:lnTo>
                    <a:lnTo>
                      <a:pt x="898" y="1993"/>
                    </a:lnTo>
                    <a:lnTo>
                      <a:pt x="898" y="1993"/>
                    </a:lnTo>
                    <a:close/>
                    <a:moveTo>
                      <a:pt x="789" y="2017"/>
                    </a:moveTo>
                    <a:lnTo>
                      <a:pt x="777" y="2026"/>
                    </a:lnTo>
                    <a:lnTo>
                      <a:pt x="746" y="2038"/>
                    </a:lnTo>
                    <a:lnTo>
                      <a:pt x="735" y="2055"/>
                    </a:lnTo>
                    <a:lnTo>
                      <a:pt x="692" y="2083"/>
                    </a:lnTo>
                    <a:lnTo>
                      <a:pt x="709" y="2066"/>
                    </a:lnTo>
                    <a:lnTo>
                      <a:pt x="709" y="2050"/>
                    </a:lnTo>
                    <a:lnTo>
                      <a:pt x="725" y="2033"/>
                    </a:lnTo>
                    <a:lnTo>
                      <a:pt x="739" y="2033"/>
                    </a:lnTo>
                    <a:lnTo>
                      <a:pt x="739" y="2026"/>
                    </a:lnTo>
                    <a:lnTo>
                      <a:pt x="739" y="2017"/>
                    </a:lnTo>
                    <a:lnTo>
                      <a:pt x="772" y="2010"/>
                    </a:lnTo>
                    <a:lnTo>
                      <a:pt x="789" y="2017"/>
                    </a:lnTo>
                    <a:lnTo>
                      <a:pt x="789" y="2017"/>
                    </a:lnTo>
                    <a:lnTo>
                      <a:pt x="789" y="2017"/>
                    </a:lnTo>
                    <a:close/>
                    <a:moveTo>
                      <a:pt x="649" y="2066"/>
                    </a:moveTo>
                    <a:lnTo>
                      <a:pt x="649" y="2055"/>
                    </a:lnTo>
                    <a:lnTo>
                      <a:pt x="649" y="2066"/>
                    </a:lnTo>
                    <a:lnTo>
                      <a:pt x="649" y="2066"/>
                    </a:lnTo>
                    <a:lnTo>
                      <a:pt x="649" y="2066"/>
                    </a:lnTo>
                    <a:close/>
                    <a:moveTo>
                      <a:pt x="24685" y="2088"/>
                    </a:moveTo>
                    <a:lnTo>
                      <a:pt x="24678" y="2071"/>
                    </a:lnTo>
                    <a:lnTo>
                      <a:pt x="24652" y="2071"/>
                    </a:lnTo>
                    <a:lnTo>
                      <a:pt x="24668" y="2066"/>
                    </a:lnTo>
                    <a:lnTo>
                      <a:pt x="24701" y="2066"/>
                    </a:lnTo>
                    <a:lnTo>
                      <a:pt x="24722" y="2071"/>
                    </a:lnTo>
                    <a:lnTo>
                      <a:pt x="24685" y="2088"/>
                    </a:lnTo>
                    <a:lnTo>
                      <a:pt x="24685" y="2088"/>
                    </a:lnTo>
                    <a:lnTo>
                      <a:pt x="24685" y="2088"/>
                    </a:lnTo>
                    <a:close/>
                    <a:moveTo>
                      <a:pt x="633" y="2083"/>
                    </a:moveTo>
                    <a:lnTo>
                      <a:pt x="649" y="2071"/>
                    </a:lnTo>
                    <a:lnTo>
                      <a:pt x="649" y="2083"/>
                    </a:lnTo>
                    <a:lnTo>
                      <a:pt x="633" y="2083"/>
                    </a:lnTo>
                    <a:lnTo>
                      <a:pt x="633" y="2083"/>
                    </a:lnTo>
                    <a:lnTo>
                      <a:pt x="633" y="2083"/>
                    </a:lnTo>
                    <a:close/>
                    <a:moveTo>
                      <a:pt x="616" y="2088"/>
                    </a:moveTo>
                    <a:lnTo>
                      <a:pt x="616" y="2083"/>
                    </a:lnTo>
                    <a:lnTo>
                      <a:pt x="626" y="2088"/>
                    </a:lnTo>
                    <a:lnTo>
                      <a:pt x="616" y="2088"/>
                    </a:lnTo>
                    <a:lnTo>
                      <a:pt x="616" y="2088"/>
                    </a:lnTo>
                    <a:lnTo>
                      <a:pt x="616" y="2088"/>
                    </a:lnTo>
                    <a:close/>
                    <a:moveTo>
                      <a:pt x="574" y="2104"/>
                    </a:moveTo>
                    <a:lnTo>
                      <a:pt x="579" y="2092"/>
                    </a:lnTo>
                    <a:lnTo>
                      <a:pt x="583" y="2092"/>
                    </a:lnTo>
                    <a:lnTo>
                      <a:pt x="574" y="2104"/>
                    </a:lnTo>
                    <a:lnTo>
                      <a:pt x="574" y="2104"/>
                    </a:lnTo>
                    <a:lnTo>
                      <a:pt x="574" y="2104"/>
                    </a:lnTo>
                    <a:close/>
                    <a:moveTo>
                      <a:pt x="24739" y="2126"/>
                    </a:moveTo>
                    <a:lnTo>
                      <a:pt x="24715" y="2121"/>
                    </a:lnTo>
                    <a:lnTo>
                      <a:pt x="24744" y="2109"/>
                    </a:lnTo>
                    <a:lnTo>
                      <a:pt x="24744" y="2126"/>
                    </a:lnTo>
                    <a:lnTo>
                      <a:pt x="24739" y="2126"/>
                    </a:lnTo>
                    <a:lnTo>
                      <a:pt x="24739" y="2126"/>
                    </a:lnTo>
                    <a:lnTo>
                      <a:pt x="24739" y="2126"/>
                    </a:lnTo>
                    <a:close/>
                    <a:moveTo>
                      <a:pt x="324" y="2149"/>
                    </a:moveTo>
                    <a:lnTo>
                      <a:pt x="255" y="2161"/>
                    </a:lnTo>
                    <a:lnTo>
                      <a:pt x="331" y="2137"/>
                    </a:lnTo>
                    <a:lnTo>
                      <a:pt x="314" y="2126"/>
                    </a:lnTo>
                    <a:lnTo>
                      <a:pt x="331" y="2121"/>
                    </a:lnTo>
                    <a:lnTo>
                      <a:pt x="347" y="2126"/>
                    </a:lnTo>
                    <a:lnTo>
                      <a:pt x="340" y="2142"/>
                    </a:lnTo>
                    <a:lnTo>
                      <a:pt x="324" y="2149"/>
                    </a:lnTo>
                    <a:lnTo>
                      <a:pt x="324" y="2149"/>
                    </a:lnTo>
                    <a:lnTo>
                      <a:pt x="324" y="2149"/>
                    </a:lnTo>
                    <a:close/>
                    <a:moveTo>
                      <a:pt x="453" y="2137"/>
                    </a:moveTo>
                    <a:lnTo>
                      <a:pt x="449" y="2137"/>
                    </a:lnTo>
                    <a:lnTo>
                      <a:pt x="453" y="2121"/>
                    </a:lnTo>
                    <a:lnTo>
                      <a:pt x="470" y="2126"/>
                    </a:lnTo>
                    <a:lnTo>
                      <a:pt x="453" y="2137"/>
                    </a:lnTo>
                    <a:lnTo>
                      <a:pt x="453" y="2137"/>
                    </a:lnTo>
                    <a:lnTo>
                      <a:pt x="453" y="2137"/>
                    </a:lnTo>
                    <a:close/>
                    <a:moveTo>
                      <a:pt x="24895" y="2126"/>
                    </a:moveTo>
                    <a:lnTo>
                      <a:pt x="24895" y="2121"/>
                    </a:lnTo>
                    <a:lnTo>
                      <a:pt x="24900" y="2126"/>
                    </a:lnTo>
                    <a:lnTo>
                      <a:pt x="24895" y="2126"/>
                    </a:lnTo>
                    <a:lnTo>
                      <a:pt x="24895" y="2126"/>
                    </a:lnTo>
                    <a:lnTo>
                      <a:pt x="24895" y="2126"/>
                    </a:lnTo>
                    <a:close/>
                    <a:moveTo>
                      <a:pt x="385" y="2161"/>
                    </a:moveTo>
                    <a:lnTo>
                      <a:pt x="347" y="2142"/>
                    </a:lnTo>
                    <a:lnTo>
                      <a:pt x="423" y="2149"/>
                    </a:lnTo>
                    <a:lnTo>
                      <a:pt x="385" y="2161"/>
                    </a:lnTo>
                    <a:lnTo>
                      <a:pt x="385" y="2161"/>
                    </a:lnTo>
                    <a:lnTo>
                      <a:pt x="385" y="2161"/>
                    </a:lnTo>
                    <a:close/>
                    <a:moveTo>
                      <a:pt x="24992" y="2178"/>
                    </a:moveTo>
                    <a:lnTo>
                      <a:pt x="24987" y="2166"/>
                    </a:lnTo>
                    <a:lnTo>
                      <a:pt x="25008" y="2149"/>
                    </a:lnTo>
                    <a:lnTo>
                      <a:pt x="25013" y="2149"/>
                    </a:lnTo>
                    <a:lnTo>
                      <a:pt x="25013" y="2166"/>
                    </a:lnTo>
                    <a:lnTo>
                      <a:pt x="25003" y="2166"/>
                    </a:lnTo>
                    <a:lnTo>
                      <a:pt x="24992" y="2178"/>
                    </a:lnTo>
                    <a:lnTo>
                      <a:pt x="24992" y="2178"/>
                    </a:lnTo>
                    <a:lnTo>
                      <a:pt x="24992" y="2178"/>
                    </a:lnTo>
                    <a:close/>
                    <a:moveTo>
                      <a:pt x="201" y="2161"/>
                    </a:moveTo>
                    <a:lnTo>
                      <a:pt x="196" y="2161"/>
                    </a:lnTo>
                    <a:lnTo>
                      <a:pt x="201" y="2149"/>
                    </a:lnTo>
                    <a:lnTo>
                      <a:pt x="205" y="2149"/>
                    </a:lnTo>
                    <a:lnTo>
                      <a:pt x="201" y="2161"/>
                    </a:lnTo>
                    <a:lnTo>
                      <a:pt x="201" y="2161"/>
                    </a:lnTo>
                    <a:lnTo>
                      <a:pt x="201" y="2161"/>
                    </a:lnTo>
                    <a:close/>
                    <a:moveTo>
                      <a:pt x="25155" y="2166"/>
                    </a:moveTo>
                    <a:lnTo>
                      <a:pt x="25148" y="2161"/>
                    </a:lnTo>
                    <a:lnTo>
                      <a:pt x="25155" y="2161"/>
                    </a:lnTo>
                    <a:lnTo>
                      <a:pt x="25164" y="2161"/>
                    </a:lnTo>
                    <a:lnTo>
                      <a:pt x="25155" y="2166"/>
                    </a:lnTo>
                    <a:lnTo>
                      <a:pt x="25155" y="2166"/>
                    </a:lnTo>
                    <a:lnTo>
                      <a:pt x="25155" y="2166"/>
                    </a:lnTo>
                    <a:close/>
                    <a:moveTo>
                      <a:pt x="217" y="2161"/>
                    </a:moveTo>
                    <a:lnTo>
                      <a:pt x="205" y="2161"/>
                    </a:lnTo>
                    <a:lnTo>
                      <a:pt x="222" y="2161"/>
                    </a:lnTo>
                    <a:lnTo>
                      <a:pt x="217" y="2161"/>
                    </a:lnTo>
                    <a:lnTo>
                      <a:pt x="217" y="2161"/>
                    </a:lnTo>
                    <a:lnTo>
                      <a:pt x="217" y="2161"/>
                    </a:lnTo>
                    <a:close/>
                    <a:moveTo>
                      <a:pt x="25079" y="2166"/>
                    </a:moveTo>
                    <a:lnTo>
                      <a:pt x="25067" y="2161"/>
                    </a:lnTo>
                    <a:lnTo>
                      <a:pt x="25084" y="2166"/>
                    </a:lnTo>
                    <a:lnTo>
                      <a:pt x="25079" y="2166"/>
                    </a:lnTo>
                    <a:lnTo>
                      <a:pt x="25079" y="2166"/>
                    </a:lnTo>
                    <a:lnTo>
                      <a:pt x="25079" y="2166"/>
                    </a:lnTo>
                    <a:close/>
                    <a:moveTo>
                      <a:pt x="142" y="2199"/>
                    </a:moveTo>
                    <a:lnTo>
                      <a:pt x="142" y="2194"/>
                    </a:lnTo>
                    <a:lnTo>
                      <a:pt x="151" y="2178"/>
                    </a:lnTo>
                    <a:lnTo>
                      <a:pt x="151" y="2166"/>
                    </a:lnTo>
                    <a:lnTo>
                      <a:pt x="168" y="2161"/>
                    </a:lnTo>
                    <a:lnTo>
                      <a:pt x="163" y="2178"/>
                    </a:lnTo>
                    <a:lnTo>
                      <a:pt x="179" y="2178"/>
                    </a:lnTo>
                    <a:lnTo>
                      <a:pt x="179" y="2182"/>
                    </a:lnTo>
                    <a:lnTo>
                      <a:pt x="142" y="2199"/>
                    </a:lnTo>
                    <a:lnTo>
                      <a:pt x="142" y="2199"/>
                    </a:lnTo>
                    <a:lnTo>
                      <a:pt x="142" y="2199"/>
                    </a:lnTo>
                    <a:close/>
                    <a:moveTo>
                      <a:pt x="92" y="2194"/>
                    </a:moveTo>
                    <a:lnTo>
                      <a:pt x="87" y="2194"/>
                    </a:lnTo>
                    <a:lnTo>
                      <a:pt x="125" y="2178"/>
                    </a:lnTo>
                    <a:lnTo>
                      <a:pt x="125" y="2166"/>
                    </a:lnTo>
                    <a:lnTo>
                      <a:pt x="130" y="2166"/>
                    </a:lnTo>
                    <a:lnTo>
                      <a:pt x="125" y="2194"/>
                    </a:lnTo>
                    <a:lnTo>
                      <a:pt x="92" y="2194"/>
                    </a:lnTo>
                    <a:lnTo>
                      <a:pt x="92" y="2194"/>
                    </a:lnTo>
                    <a:lnTo>
                      <a:pt x="92" y="2194"/>
                    </a:lnTo>
                    <a:close/>
                    <a:moveTo>
                      <a:pt x="75" y="2199"/>
                    </a:moveTo>
                    <a:lnTo>
                      <a:pt x="59" y="2194"/>
                    </a:lnTo>
                    <a:lnTo>
                      <a:pt x="71" y="2182"/>
                    </a:lnTo>
                    <a:lnTo>
                      <a:pt x="54" y="2166"/>
                    </a:lnTo>
                    <a:lnTo>
                      <a:pt x="71" y="2166"/>
                    </a:lnTo>
                    <a:lnTo>
                      <a:pt x="75" y="2178"/>
                    </a:lnTo>
                    <a:lnTo>
                      <a:pt x="75" y="2199"/>
                    </a:lnTo>
                    <a:lnTo>
                      <a:pt x="75" y="2199"/>
                    </a:lnTo>
                    <a:lnTo>
                      <a:pt x="75" y="2199"/>
                    </a:lnTo>
                    <a:close/>
                    <a:moveTo>
                      <a:pt x="201" y="2182"/>
                    </a:moveTo>
                    <a:lnTo>
                      <a:pt x="196" y="2166"/>
                    </a:lnTo>
                    <a:lnTo>
                      <a:pt x="205" y="2178"/>
                    </a:lnTo>
                    <a:lnTo>
                      <a:pt x="201" y="2182"/>
                    </a:lnTo>
                    <a:lnTo>
                      <a:pt x="201" y="2182"/>
                    </a:lnTo>
                    <a:lnTo>
                      <a:pt x="201" y="2182"/>
                    </a:lnTo>
                    <a:close/>
                    <a:moveTo>
                      <a:pt x="184" y="2182"/>
                    </a:moveTo>
                    <a:lnTo>
                      <a:pt x="179" y="2178"/>
                    </a:lnTo>
                    <a:lnTo>
                      <a:pt x="184" y="2178"/>
                    </a:lnTo>
                    <a:lnTo>
                      <a:pt x="184" y="2182"/>
                    </a:lnTo>
                    <a:lnTo>
                      <a:pt x="184" y="2182"/>
                    </a:lnTo>
                    <a:lnTo>
                      <a:pt x="184" y="2182"/>
                    </a:lnTo>
                    <a:close/>
                    <a:moveTo>
                      <a:pt x="16" y="2182"/>
                    </a:moveTo>
                    <a:lnTo>
                      <a:pt x="7" y="2178"/>
                    </a:lnTo>
                    <a:lnTo>
                      <a:pt x="16" y="2182"/>
                    </a:lnTo>
                    <a:lnTo>
                      <a:pt x="16" y="2182"/>
                    </a:lnTo>
                    <a:lnTo>
                      <a:pt x="16" y="2182"/>
                    </a:lnTo>
                    <a:close/>
                    <a:moveTo>
                      <a:pt x="25131" y="2220"/>
                    </a:moveTo>
                    <a:lnTo>
                      <a:pt x="25084" y="2194"/>
                    </a:lnTo>
                    <a:lnTo>
                      <a:pt x="25100" y="2199"/>
                    </a:lnTo>
                    <a:lnTo>
                      <a:pt x="25131" y="2215"/>
                    </a:lnTo>
                    <a:lnTo>
                      <a:pt x="25148" y="2215"/>
                    </a:lnTo>
                    <a:lnTo>
                      <a:pt x="25131" y="2220"/>
                    </a:lnTo>
                    <a:lnTo>
                      <a:pt x="25131" y="2220"/>
                    </a:lnTo>
                    <a:lnTo>
                      <a:pt x="25131" y="2220"/>
                    </a:lnTo>
                    <a:close/>
                    <a:moveTo>
                      <a:pt x="0" y="2220"/>
                    </a:moveTo>
                    <a:lnTo>
                      <a:pt x="0" y="2215"/>
                    </a:lnTo>
                    <a:lnTo>
                      <a:pt x="7" y="2220"/>
                    </a:lnTo>
                    <a:lnTo>
                      <a:pt x="0" y="2220"/>
                    </a:lnTo>
                    <a:lnTo>
                      <a:pt x="0" y="2220"/>
                    </a:lnTo>
                    <a:lnTo>
                      <a:pt x="0" y="2220"/>
                    </a:lnTo>
                    <a:close/>
                    <a:moveTo>
                      <a:pt x="3942" y="2442"/>
                    </a:moveTo>
                    <a:lnTo>
                      <a:pt x="5882" y="2442"/>
                    </a:lnTo>
                    <a:lnTo>
                      <a:pt x="5882" y="2404"/>
                    </a:lnTo>
                    <a:lnTo>
                      <a:pt x="5903" y="2414"/>
                    </a:lnTo>
                    <a:lnTo>
                      <a:pt x="5908" y="2459"/>
                    </a:lnTo>
                    <a:lnTo>
                      <a:pt x="5920" y="2470"/>
                    </a:lnTo>
                    <a:lnTo>
                      <a:pt x="5974" y="2475"/>
                    </a:lnTo>
                    <a:lnTo>
                      <a:pt x="5974" y="2482"/>
                    </a:lnTo>
                    <a:lnTo>
                      <a:pt x="6012" y="2475"/>
                    </a:lnTo>
                    <a:lnTo>
                      <a:pt x="6033" y="2475"/>
                    </a:lnTo>
                    <a:lnTo>
                      <a:pt x="6071" y="2499"/>
                    </a:lnTo>
                    <a:lnTo>
                      <a:pt x="6071" y="2515"/>
                    </a:lnTo>
                    <a:lnTo>
                      <a:pt x="6080" y="2499"/>
                    </a:lnTo>
                    <a:lnTo>
                      <a:pt x="6097" y="2499"/>
                    </a:lnTo>
                    <a:lnTo>
                      <a:pt x="6101" y="2515"/>
                    </a:lnTo>
                    <a:lnTo>
                      <a:pt x="6139" y="2532"/>
                    </a:lnTo>
                    <a:lnTo>
                      <a:pt x="6177" y="2515"/>
                    </a:lnTo>
                    <a:lnTo>
                      <a:pt x="6189" y="2525"/>
                    </a:lnTo>
                    <a:lnTo>
                      <a:pt x="6227" y="2525"/>
                    </a:lnTo>
                    <a:lnTo>
                      <a:pt x="6248" y="2532"/>
                    </a:lnTo>
                    <a:lnTo>
                      <a:pt x="6286" y="2537"/>
                    </a:lnTo>
                    <a:lnTo>
                      <a:pt x="6357" y="2508"/>
                    </a:lnTo>
                    <a:lnTo>
                      <a:pt x="6605" y="2636"/>
                    </a:lnTo>
                    <a:lnTo>
                      <a:pt x="6605" y="2659"/>
                    </a:lnTo>
                    <a:lnTo>
                      <a:pt x="6621" y="2676"/>
                    </a:lnTo>
                    <a:lnTo>
                      <a:pt x="6654" y="2664"/>
                    </a:lnTo>
                    <a:lnTo>
                      <a:pt x="6654" y="2692"/>
                    </a:lnTo>
                    <a:lnTo>
                      <a:pt x="6664" y="2702"/>
                    </a:lnTo>
                    <a:lnTo>
                      <a:pt x="6692" y="2702"/>
                    </a:lnTo>
                    <a:lnTo>
                      <a:pt x="6697" y="2714"/>
                    </a:lnTo>
                    <a:lnTo>
                      <a:pt x="6692" y="2730"/>
                    </a:lnTo>
                    <a:lnTo>
                      <a:pt x="6768" y="2775"/>
                    </a:lnTo>
                    <a:lnTo>
                      <a:pt x="6789" y="2924"/>
                    </a:lnTo>
                    <a:lnTo>
                      <a:pt x="6772" y="2981"/>
                    </a:lnTo>
                    <a:lnTo>
                      <a:pt x="6768" y="3014"/>
                    </a:lnTo>
                    <a:lnTo>
                      <a:pt x="6730" y="3047"/>
                    </a:lnTo>
                    <a:lnTo>
                      <a:pt x="6718" y="3063"/>
                    </a:lnTo>
                    <a:lnTo>
                      <a:pt x="6730" y="3080"/>
                    </a:lnTo>
                    <a:lnTo>
                      <a:pt x="6751" y="3096"/>
                    </a:lnTo>
                    <a:lnTo>
                      <a:pt x="6772" y="3096"/>
                    </a:lnTo>
                    <a:lnTo>
                      <a:pt x="6853" y="3047"/>
                    </a:lnTo>
                    <a:lnTo>
                      <a:pt x="6935" y="3030"/>
                    </a:lnTo>
                    <a:lnTo>
                      <a:pt x="7016" y="2997"/>
                    </a:lnTo>
                    <a:lnTo>
                      <a:pt x="7020" y="2990"/>
                    </a:lnTo>
                    <a:lnTo>
                      <a:pt x="7004" y="2974"/>
                    </a:lnTo>
                    <a:lnTo>
                      <a:pt x="7004" y="2957"/>
                    </a:lnTo>
                    <a:lnTo>
                      <a:pt x="6999" y="2940"/>
                    </a:lnTo>
                    <a:lnTo>
                      <a:pt x="7032" y="2924"/>
                    </a:lnTo>
                    <a:lnTo>
                      <a:pt x="7167" y="2924"/>
                    </a:lnTo>
                    <a:lnTo>
                      <a:pt x="7193" y="2886"/>
                    </a:lnTo>
                    <a:lnTo>
                      <a:pt x="7290" y="2808"/>
                    </a:lnTo>
                    <a:lnTo>
                      <a:pt x="7540" y="2803"/>
                    </a:lnTo>
                    <a:lnTo>
                      <a:pt x="7545" y="2787"/>
                    </a:lnTo>
                    <a:lnTo>
                      <a:pt x="7554" y="2775"/>
                    </a:lnTo>
                    <a:lnTo>
                      <a:pt x="7561" y="2787"/>
                    </a:lnTo>
                    <a:lnTo>
                      <a:pt x="7571" y="2775"/>
                    </a:lnTo>
                    <a:lnTo>
                      <a:pt x="7582" y="2787"/>
                    </a:lnTo>
                    <a:lnTo>
                      <a:pt x="7592" y="2759"/>
                    </a:lnTo>
                    <a:lnTo>
                      <a:pt x="7592" y="2754"/>
                    </a:lnTo>
                    <a:lnTo>
                      <a:pt x="7625" y="2718"/>
                    </a:lnTo>
                    <a:lnTo>
                      <a:pt x="7625" y="2697"/>
                    </a:lnTo>
                    <a:lnTo>
                      <a:pt x="7637" y="2676"/>
                    </a:lnTo>
                    <a:lnTo>
                      <a:pt x="7646" y="2648"/>
                    </a:lnTo>
                    <a:lnTo>
                      <a:pt x="7701" y="2581"/>
                    </a:lnTo>
                    <a:lnTo>
                      <a:pt x="7705" y="2586"/>
                    </a:lnTo>
                    <a:lnTo>
                      <a:pt x="7705" y="2603"/>
                    </a:lnTo>
                    <a:lnTo>
                      <a:pt x="7722" y="2610"/>
                    </a:lnTo>
                    <a:lnTo>
                      <a:pt x="7760" y="2591"/>
                    </a:lnTo>
                    <a:lnTo>
                      <a:pt x="7805" y="2619"/>
                    </a:lnTo>
                    <a:lnTo>
                      <a:pt x="7805" y="2747"/>
                    </a:lnTo>
                    <a:lnTo>
                      <a:pt x="7826" y="2754"/>
                    </a:lnTo>
                    <a:lnTo>
                      <a:pt x="7814" y="2759"/>
                    </a:lnTo>
                    <a:lnTo>
                      <a:pt x="7826" y="2775"/>
                    </a:lnTo>
                    <a:lnTo>
                      <a:pt x="7831" y="2792"/>
                    </a:lnTo>
                    <a:lnTo>
                      <a:pt x="7842" y="2792"/>
                    </a:lnTo>
                    <a:lnTo>
                      <a:pt x="7856" y="2808"/>
                    </a:lnTo>
                    <a:lnTo>
                      <a:pt x="7842" y="2813"/>
                    </a:lnTo>
                    <a:lnTo>
                      <a:pt x="7856" y="2813"/>
                    </a:lnTo>
                    <a:lnTo>
                      <a:pt x="7842" y="2829"/>
                    </a:lnTo>
                    <a:lnTo>
                      <a:pt x="7814" y="2829"/>
                    </a:lnTo>
                    <a:lnTo>
                      <a:pt x="7814" y="2846"/>
                    </a:lnTo>
                    <a:lnTo>
                      <a:pt x="7805" y="2846"/>
                    </a:lnTo>
                    <a:lnTo>
                      <a:pt x="7776" y="2863"/>
                    </a:lnTo>
                    <a:lnTo>
                      <a:pt x="7776" y="2858"/>
                    </a:lnTo>
                    <a:lnTo>
                      <a:pt x="7760" y="2858"/>
                    </a:lnTo>
                    <a:lnTo>
                      <a:pt x="7743" y="2858"/>
                    </a:lnTo>
                    <a:lnTo>
                      <a:pt x="7743" y="2863"/>
                    </a:lnTo>
                    <a:lnTo>
                      <a:pt x="7738" y="2863"/>
                    </a:lnTo>
                    <a:lnTo>
                      <a:pt x="7722" y="2863"/>
                    </a:lnTo>
                    <a:lnTo>
                      <a:pt x="7734" y="2841"/>
                    </a:lnTo>
                    <a:lnTo>
                      <a:pt x="7717" y="2858"/>
                    </a:lnTo>
                    <a:lnTo>
                      <a:pt x="7705" y="2886"/>
                    </a:lnTo>
                    <a:lnTo>
                      <a:pt x="7691" y="2898"/>
                    </a:lnTo>
                    <a:lnTo>
                      <a:pt x="7684" y="2886"/>
                    </a:lnTo>
                    <a:lnTo>
                      <a:pt x="7679" y="2903"/>
                    </a:lnTo>
                    <a:lnTo>
                      <a:pt x="7679" y="2886"/>
                    </a:lnTo>
                    <a:lnTo>
                      <a:pt x="7668" y="2903"/>
                    </a:lnTo>
                    <a:lnTo>
                      <a:pt x="7668" y="2886"/>
                    </a:lnTo>
                    <a:lnTo>
                      <a:pt x="7663" y="2914"/>
                    </a:lnTo>
                    <a:lnTo>
                      <a:pt x="7663" y="2886"/>
                    </a:lnTo>
                    <a:lnTo>
                      <a:pt x="7653" y="2898"/>
                    </a:lnTo>
                    <a:lnTo>
                      <a:pt x="7653" y="2919"/>
                    </a:lnTo>
                    <a:lnTo>
                      <a:pt x="7646" y="2903"/>
                    </a:lnTo>
                    <a:lnTo>
                      <a:pt x="7630" y="2914"/>
                    </a:lnTo>
                    <a:lnTo>
                      <a:pt x="7625" y="2924"/>
                    </a:lnTo>
                    <a:lnTo>
                      <a:pt x="7630" y="2936"/>
                    </a:lnTo>
                    <a:lnTo>
                      <a:pt x="7608" y="2952"/>
                    </a:lnTo>
                    <a:lnTo>
                      <a:pt x="7599" y="2974"/>
                    </a:lnTo>
                    <a:lnTo>
                      <a:pt x="7592" y="2969"/>
                    </a:lnTo>
                    <a:lnTo>
                      <a:pt x="7582" y="3007"/>
                    </a:lnTo>
                    <a:lnTo>
                      <a:pt x="7599" y="3014"/>
                    </a:lnTo>
                    <a:lnTo>
                      <a:pt x="7582" y="3023"/>
                    </a:lnTo>
                    <a:lnTo>
                      <a:pt x="7571" y="3035"/>
                    </a:lnTo>
                    <a:lnTo>
                      <a:pt x="7592" y="3047"/>
                    </a:lnTo>
                    <a:lnTo>
                      <a:pt x="7592" y="3068"/>
                    </a:lnTo>
                    <a:lnTo>
                      <a:pt x="7608" y="3080"/>
                    </a:lnTo>
                    <a:lnTo>
                      <a:pt x="7608" y="3085"/>
                    </a:lnTo>
                    <a:lnTo>
                      <a:pt x="7625" y="3096"/>
                    </a:lnTo>
                    <a:lnTo>
                      <a:pt x="7646" y="3085"/>
                    </a:lnTo>
                    <a:lnTo>
                      <a:pt x="7646" y="3080"/>
                    </a:lnTo>
                    <a:lnTo>
                      <a:pt x="7625" y="3063"/>
                    </a:lnTo>
                    <a:lnTo>
                      <a:pt x="7637" y="3063"/>
                    </a:lnTo>
                    <a:lnTo>
                      <a:pt x="7646" y="3080"/>
                    </a:lnTo>
                    <a:lnTo>
                      <a:pt x="7646" y="3096"/>
                    </a:lnTo>
                    <a:lnTo>
                      <a:pt x="7616" y="3101"/>
                    </a:lnTo>
                    <a:lnTo>
                      <a:pt x="7599" y="3108"/>
                    </a:lnTo>
                    <a:lnTo>
                      <a:pt x="7599" y="3096"/>
                    </a:lnTo>
                    <a:lnTo>
                      <a:pt x="7592" y="3096"/>
                    </a:lnTo>
                    <a:lnTo>
                      <a:pt x="7561" y="3118"/>
                    </a:lnTo>
                    <a:lnTo>
                      <a:pt x="7561" y="3101"/>
                    </a:lnTo>
                    <a:lnTo>
                      <a:pt x="7571" y="3085"/>
                    </a:lnTo>
                    <a:lnTo>
                      <a:pt x="7554" y="3101"/>
                    </a:lnTo>
                    <a:lnTo>
                      <a:pt x="7545" y="3085"/>
                    </a:lnTo>
                    <a:lnTo>
                      <a:pt x="7540" y="3125"/>
                    </a:lnTo>
                    <a:lnTo>
                      <a:pt x="7436" y="3134"/>
                    </a:lnTo>
                    <a:lnTo>
                      <a:pt x="7393" y="3158"/>
                    </a:lnTo>
                    <a:lnTo>
                      <a:pt x="7360" y="3179"/>
                    </a:lnTo>
                    <a:lnTo>
                      <a:pt x="7377" y="3151"/>
                    </a:lnTo>
                    <a:lnTo>
                      <a:pt x="7365" y="3125"/>
                    </a:lnTo>
                    <a:lnTo>
                      <a:pt x="7365" y="3158"/>
                    </a:lnTo>
                    <a:lnTo>
                      <a:pt x="7344" y="3196"/>
                    </a:lnTo>
                    <a:lnTo>
                      <a:pt x="7360" y="3196"/>
                    </a:lnTo>
                    <a:lnTo>
                      <a:pt x="7365" y="3212"/>
                    </a:lnTo>
                    <a:lnTo>
                      <a:pt x="7360" y="3262"/>
                    </a:lnTo>
                    <a:lnTo>
                      <a:pt x="7360" y="3236"/>
                    </a:lnTo>
                    <a:lnTo>
                      <a:pt x="7356" y="3269"/>
                    </a:lnTo>
                    <a:lnTo>
                      <a:pt x="7339" y="3285"/>
                    </a:lnTo>
                    <a:lnTo>
                      <a:pt x="7327" y="3290"/>
                    </a:lnTo>
                    <a:lnTo>
                      <a:pt x="7313" y="3302"/>
                    </a:lnTo>
                    <a:lnTo>
                      <a:pt x="7323" y="3302"/>
                    </a:lnTo>
                    <a:lnTo>
                      <a:pt x="7313" y="3318"/>
                    </a:lnTo>
                    <a:lnTo>
                      <a:pt x="7301" y="3328"/>
                    </a:lnTo>
                    <a:lnTo>
                      <a:pt x="7301" y="3307"/>
                    </a:lnTo>
                    <a:lnTo>
                      <a:pt x="7259" y="3290"/>
                    </a:lnTo>
                    <a:lnTo>
                      <a:pt x="7252" y="3274"/>
                    </a:lnTo>
                    <a:lnTo>
                      <a:pt x="7290" y="3236"/>
                    </a:lnTo>
                    <a:lnTo>
                      <a:pt x="7252" y="3269"/>
                    </a:lnTo>
                    <a:lnTo>
                      <a:pt x="7252" y="3285"/>
                    </a:lnTo>
                    <a:lnTo>
                      <a:pt x="7285" y="3347"/>
                    </a:lnTo>
                    <a:lnTo>
                      <a:pt x="7275" y="3356"/>
                    </a:lnTo>
                    <a:lnTo>
                      <a:pt x="7290" y="3363"/>
                    </a:lnTo>
                    <a:lnTo>
                      <a:pt x="7290" y="3373"/>
                    </a:lnTo>
                    <a:lnTo>
                      <a:pt x="7268" y="3401"/>
                    </a:lnTo>
                    <a:lnTo>
                      <a:pt x="7252" y="3439"/>
                    </a:lnTo>
                    <a:lnTo>
                      <a:pt x="7247" y="3451"/>
                    </a:lnTo>
                    <a:lnTo>
                      <a:pt x="7221" y="3484"/>
                    </a:lnTo>
                    <a:lnTo>
                      <a:pt x="7221" y="3467"/>
                    </a:lnTo>
                    <a:lnTo>
                      <a:pt x="7231" y="3439"/>
                    </a:lnTo>
                    <a:lnTo>
                      <a:pt x="7247" y="3418"/>
                    </a:lnTo>
                    <a:lnTo>
                      <a:pt x="7247" y="3413"/>
                    </a:lnTo>
                    <a:lnTo>
                      <a:pt x="7231" y="3413"/>
                    </a:lnTo>
                    <a:lnTo>
                      <a:pt x="7238" y="3373"/>
                    </a:lnTo>
                    <a:lnTo>
                      <a:pt x="7221" y="3385"/>
                    </a:lnTo>
                    <a:lnTo>
                      <a:pt x="7205" y="3380"/>
                    </a:lnTo>
                    <a:lnTo>
                      <a:pt x="7200" y="3373"/>
                    </a:lnTo>
                    <a:lnTo>
                      <a:pt x="7214" y="3363"/>
                    </a:lnTo>
                    <a:lnTo>
                      <a:pt x="7205" y="3363"/>
                    </a:lnTo>
                    <a:lnTo>
                      <a:pt x="7205" y="3356"/>
                    </a:lnTo>
                    <a:lnTo>
                      <a:pt x="7221" y="3363"/>
                    </a:lnTo>
                    <a:lnTo>
                      <a:pt x="7221" y="3356"/>
                    </a:lnTo>
                    <a:lnTo>
                      <a:pt x="7205" y="3347"/>
                    </a:lnTo>
                    <a:lnTo>
                      <a:pt x="7200" y="3347"/>
                    </a:lnTo>
                    <a:lnTo>
                      <a:pt x="7205" y="3340"/>
                    </a:lnTo>
                    <a:lnTo>
                      <a:pt x="7214" y="3340"/>
                    </a:lnTo>
                    <a:lnTo>
                      <a:pt x="7205" y="3323"/>
                    </a:lnTo>
                    <a:lnTo>
                      <a:pt x="7200" y="3340"/>
                    </a:lnTo>
                    <a:lnTo>
                      <a:pt x="7200" y="3323"/>
                    </a:lnTo>
                    <a:lnTo>
                      <a:pt x="7205" y="3323"/>
                    </a:lnTo>
                    <a:lnTo>
                      <a:pt x="7221" y="3318"/>
                    </a:lnTo>
                    <a:lnTo>
                      <a:pt x="7205" y="3323"/>
                    </a:lnTo>
                    <a:lnTo>
                      <a:pt x="7205" y="3307"/>
                    </a:lnTo>
                    <a:lnTo>
                      <a:pt x="7214" y="3302"/>
                    </a:lnTo>
                    <a:lnTo>
                      <a:pt x="7221" y="3290"/>
                    </a:lnTo>
                    <a:lnTo>
                      <a:pt x="7238" y="3274"/>
                    </a:lnTo>
                    <a:lnTo>
                      <a:pt x="7214" y="3274"/>
                    </a:lnTo>
                    <a:lnTo>
                      <a:pt x="7221" y="3285"/>
                    </a:lnTo>
                    <a:lnTo>
                      <a:pt x="7205" y="3290"/>
                    </a:lnTo>
                    <a:lnTo>
                      <a:pt x="7205" y="3285"/>
                    </a:lnTo>
                    <a:lnTo>
                      <a:pt x="7200" y="3290"/>
                    </a:lnTo>
                    <a:lnTo>
                      <a:pt x="7193" y="3302"/>
                    </a:lnTo>
                    <a:lnTo>
                      <a:pt x="7193" y="3307"/>
                    </a:lnTo>
                    <a:lnTo>
                      <a:pt x="7176" y="3302"/>
                    </a:lnTo>
                    <a:lnTo>
                      <a:pt x="7193" y="3323"/>
                    </a:lnTo>
                    <a:lnTo>
                      <a:pt x="7183" y="3347"/>
                    </a:lnTo>
                    <a:lnTo>
                      <a:pt x="7200" y="3380"/>
                    </a:lnTo>
                    <a:lnTo>
                      <a:pt x="7176" y="3373"/>
                    </a:lnTo>
                    <a:lnTo>
                      <a:pt x="7176" y="3356"/>
                    </a:lnTo>
                    <a:lnTo>
                      <a:pt x="7176" y="3373"/>
                    </a:lnTo>
                    <a:lnTo>
                      <a:pt x="7200" y="3385"/>
                    </a:lnTo>
                    <a:lnTo>
                      <a:pt x="7200" y="3401"/>
                    </a:lnTo>
                    <a:lnTo>
                      <a:pt x="7183" y="3385"/>
                    </a:lnTo>
                    <a:lnTo>
                      <a:pt x="7162" y="3385"/>
                    </a:lnTo>
                    <a:lnTo>
                      <a:pt x="7150" y="3373"/>
                    </a:lnTo>
                    <a:lnTo>
                      <a:pt x="7138" y="3373"/>
                    </a:lnTo>
                    <a:lnTo>
                      <a:pt x="7138" y="3363"/>
                    </a:lnTo>
                    <a:lnTo>
                      <a:pt x="7150" y="3347"/>
                    </a:lnTo>
                    <a:lnTo>
                      <a:pt x="7145" y="3328"/>
                    </a:lnTo>
                    <a:lnTo>
                      <a:pt x="7150" y="3347"/>
                    </a:lnTo>
                    <a:lnTo>
                      <a:pt x="7138" y="3356"/>
                    </a:lnTo>
                    <a:lnTo>
                      <a:pt x="7129" y="3380"/>
                    </a:lnTo>
                    <a:lnTo>
                      <a:pt x="7145" y="3380"/>
                    </a:lnTo>
                    <a:lnTo>
                      <a:pt x="7162" y="3396"/>
                    </a:lnTo>
                    <a:lnTo>
                      <a:pt x="7183" y="3396"/>
                    </a:lnTo>
                    <a:lnTo>
                      <a:pt x="7205" y="3418"/>
                    </a:lnTo>
                    <a:lnTo>
                      <a:pt x="7200" y="3439"/>
                    </a:lnTo>
                    <a:lnTo>
                      <a:pt x="7145" y="3396"/>
                    </a:lnTo>
                    <a:lnTo>
                      <a:pt x="7162" y="3401"/>
                    </a:lnTo>
                    <a:lnTo>
                      <a:pt x="7183" y="3439"/>
                    </a:lnTo>
                    <a:lnTo>
                      <a:pt x="7200" y="3439"/>
                    </a:lnTo>
                    <a:lnTo>
                      <a:pt x="7205" y="3455"/>
                    </a:lnTo>
                    <a:lnTo>
                      <a:pt x="7200" y="3455"/>
                    </a:lnTo>
                    <a:lnTo>
                      <a:pt x="7200" y="3467"/>
                    </a:lnTo>
                    <a:lnTo>
                      <a:pt x="7176" y="3455"/>
                    </a:lnTo>
                    <a:lnTo>
                      <a:pt x="7205" y="3484"/>
                    </a:lnTo>
                    <a:lnTo>
                      <a:pt x="7200" y="3496"/>
                    </a:lnTo>
                    <a:lnTo>
                      <a:pt x="7176" y="3472"/>
                    </a:lnTo>
                    <a:lnTo>
                      <a:pt x="7138" y="3467"/>
                    </a:lnTo>
                    <a:lnTo>
                      <a:pt x="7176" y="3484"/>
                    </a:lnTo>
                    <a:lnTo>
                      <a:pt x="7193" y="3496"/>
                    </a:lnTo>
                    <a:lnTo>
                      <a:pt x="7200" y="3507"/>
                    </a:lnTo>
                    <a:lnTo>
                      <a:pt x="7200" y="3496"/>
                    </a:lnTo>
                    <a:lnTo>
                      <a:pt x="7221" y="3496"/>
                    </a:lnTo>
                    <a:lnTo>
                      <a:pt x="7252" y="3595"/>
                    </a:lnTo>
                    <a:lnTo>
                      <a:pt x="7247" y="3566"/>
                    </a:lnTo>
                    <a:lnTo>
                      <a:pt x="7231" y="3512"/>
                    </a:lnTo>
                    <a:lnTo>
                      <a:pt x="7221" y="3529"/>
                    </a:lnTo>
                    <a:lnTo>
                      <a:pt x="7231" y="3540"/>
                    </a:lnTo>
                    <a:lnTo>
                      <a:pt x="7221" y="3529"/>
                    </a:lnTo>
                    <a:lnTo>
                      <a:pt x="7238" y="3566"/>
                    </a:lnTo>
                    <a:lnTo>
                      <a:pt x="7221" y="3545"/>
                    </a:lnTo>
                    <a:lnTo>
                      <a:pt x="7231" y="3562"/>
                    </a:lnTo>
                    <a:lnTo>
                      <a:pt x="7205" y="3545"/>
                    </a:lnTo>
                    <a:lnTo>
                      <a:pt x="7221" y="3562"/>
                    </a:lnTo>
                    <a:lnTo>
                      <a:pt x="7205" y="3566"/>
                    </a:lnTo>
                    <a:lnTo>
                      <a:pt x="7200" y="3562"/>
                    </a:lnTo>
                    <a:lnTo>
                      <a:pt x="7193" y="3578"/>
                    </a:lnTo>
                    <a:lnTo>
                      <a:pt x="7176" y="3566"/>
                    </a:lnTo>
                    <a:lnTo>
                      <a:pt x="7176" y="3550"/>
                    </a:lnTo>
                    <a:lnTo>
                      <a:pt x="7167" y="3578"/>
                    </a:lnTo>
                    <a:lnTo>
                      <a:pt x="7193" y="3578"/>
                    </a:lnTo>
                    <a:lnTo>
                      <a:pt x="7205" y="3578"/>
                    </a:lnTo>
                    <a:lnTo>
                      <a:pt x="7214" y="3578"/>
                    </a:lnTo>
                    <a:lnTo>
                      <a:pt x="7221" y="3600"/>
                    </a:lnTo>
                    <a:lnTo>
                      <a:pt x="7214" y="3600"/>
                    </a:lnTo>
                    <a:lnTo>
                      <a:pt x="7221" y="3600"/>
                    </a:lnTo>
                    <a:lnTo>
                      <a:pt x="7221" y="3583"/>
                    </a:lnTo>
                    <a:lnTo>
                      <a:pt x="7231" y="3578"/>
                    </a:lnTo>
                    <a:lnTo>
                      <a:pt x="7247" y="3595"/>
                    </a:lnTo>
                    <a:lnTo>
                      <a:pt x="7238" y="3607"/>
                    </a:lnTo>
                    <a:lnTo>
                      <a:pt x="7221" y="3616"/>
                    </a:lnTo>
                    <a:lnTo>
                      <a:pt x="7214" y="3623"/>
                    </a:lnTo>
                    <a:lnTo>
                      <a:pt x="7193" y="3623"/>
                    </a:lnTo>
                    <a:lnTo>
                      <a:pt x="7183" y="3607"/>
                    </a:lnTo>
                    <a:lnTo>
                      <a:pt x="7176" y="3623"/>
                    </a:lnTo>
                    <a:lnTo>
                      <a:pt x="7150" y="3607"/>
                    </a:lnTo>
                    <a:lnTo>
                      <a:pt x="7193" y="3633"/>
                    </a:lnTo>
                    <a:lnTo>
                      <a:pt x="7176" y="3640"/>
                    </a:lnTo>
                    <a:lnTo>
                      <a:pt x="7183" y="3651"/>
                    </a:lnTo>
                    <a:lnTo>
                      <a:pt x="7167" y="3656"/>
                    </a:lnTo>
                    <a:lnTo>
                      <a:pt x="7145" y="3640"/>
                    </a:lnTo>
                    <a:lnTo>
                      <a:pt x="7150" y="3656"/>
                    </a:lnTo>
                    <a:lnTo>
                      <a:pt x="7167" y="3661"/>
                    </a:lnTo>
                    <a:lnTo>
                      <a:pt x="7193" y="3651"/>
                    </a:lnTo>
                    <a:lnTo>
                      <a:pt x="7193" y="3661"/>
                    </a:lnTo>
                    <a:lnTo>
                      <a:pt x="7200" y="3656"/>
                    </a:lnTo>
                    <a:lnTo>
                      <a:pt x="7205" y="3656"/>
                    </a:lnTo>
                    <a:lnTo>
                      <a:pt x="7200" y="3661"/>
                    </a:lnTo>
                    <a:lnTo>
                      <a:pt x="7183" y="3677"/>
                    </a:lnTo>
                    <a:lnTo>
                      <a:pt x="7176" y="3677"/>
                    </a:lnTo>
                    <a:lnTo>
                      <a:pt x="7176" y="3673"/>
                    </a:lnTo>
                    <a:lnTo>
                      <a:pt x="7145" y="3677"/>
                    </a:lnTo>
                    <a:lnTo>
                      <a:pt x="7129" y="3689"/>
                    </a:lnTo>
                    <a:lnTo>
                      <a:pt x="7124" y="3677"/>
                    </a:lnTo>
                    <a:lnTo>
                      <a:pt x="7129" y="3694"/>
                    </a:lnTo>
                    <a:lnTo>
                      <a:pt x="7108" y="3711"/>
                    </a:lnTo>
                    <a:lnTo>
                      <a:pt x="7091" y="3744"/>
                    </a:lnTo>
                    <a:lnTo>
                      <a:pt x="7086" y="3727"/>
                    </a:lnTo>
                    <a:lnTo>
                      <a:pt x="7086" y="3744"/>
                    </a:lnTo>
                    <a:lnTo>
                      <a:pt x="7042" y="3744"/>
                    </a:lnTo>
                    <a:lnTo>
                      <a:pt x="7020" y="3760"/>
                    </a:lnTo>
                    <a:lnTo>
                      <a:pt x="6999" y="3800"/>
                    </a:lnTo>
                    <a:lnTo>
                      <a:pt x="6987" y="3788"/>
                    </a:lnTo>
                    <a:lnTo>
                      <a:pt x="6999" y="3784"/>
                    </a:lnTo>
                    <a:lnTo>
                      <a:pt x="6987" y="3788"/>
                    </a:lnTo>
                    <a:lnTo>
                      <a:pt x="6999" y="3805"/>
                    </a:lnTo>
                    <a:lnTo>
                      <a:pt x="6982" y="3817"/>
                    </a:lnTo>
                    <a:lnTo>
                      <a:pt x="6978" y="3817"/>
                    </a:lnTo>
                    <a:lnTo>
                      <a:pt x="6949" y="3838"/>
                    </a:lnTo>
                    <a:lnTo>
                      <a:pt x="6945" y="3829"/>
                    </a:lnTo>
                    <a:lnTo>
                      <a:pt x="6949" y="3845"/>
                    </a:lnTo>
                    <a:lnTo>
                      <a:pt x="6923" y="3862"/>
                    </a:lnTo>
                    <a:lnTo>
                      <a:pt x="6897" y="3855"/>
                    </a:lnTo>
                    <a:lnTo>
                      <a:pt x="6907" y="3862"/>
                    </a:lnTo>
                    <a:lnTo>
                      <a:pt x="6907" y="3871"/>
                    </a:lnTo>
                    <a:lnTo>
                      <a:pt x="6897" y="3878"/>
                    </a:lnTo>
                    <a:lnTo>
                      <a:pt x="6897" y="3862"/>
                    </a:lnTo>
                    <a:lnTo>
                      <a:pt x="6890" y="3871"/>
                    </a:lnTo>
                    <a:lnTo>
                      <a:pt x="6881" y="3855"/>
                    </a:lnTo>
                    <a:lnTo>
                      <a:pt x="6897" y="3878"/>
                    </a:lnTo>
                    <a:lnTo>
                      <a:pt x="6881" y="3883"/>
                    </a:lnTo>
                    <a:lnTo>
                      <a:pt x="6881" y="3895"/>
                    </a:lnTo>
                    <a:lnTo>
                      <a:pt x="6881" y="3900"/>
                    </a:lnTo>
                    <a:lnTo>
                      <a:pt x="6869" y="3916"/>
                    </a:lnTo>
                    <a:lnTo>
                      <a:pt x="6860" y="3933"/>
                    </a:lnTo>
                    <a:lnTo>
                      <a:pt x="6853" y="3933"/>
                    </a:lnTo>
                    <a:lnTo>
                      <a:pt x="6860" y="3937"/>
                    </a:lnTo>
                    <a:lnTo>
                      <a:pt x="6853" y="3956"/>
                    </a:lnTo>
                    <a:lnTo>
                      <a:pt x="6836" y="3966"/>
                    </a:lnTo>
                    <a:lnTo>
                      <a:pt x="6843" y="3973"/>
                    </a:lnTo>
                    <a:lnTo>
                      <a:pt x="6836" y="3989"/>
                    </a:lnTo>
                    <a:lnTo>
                      <a:pt x="6853" y="4077"/>
                    </a:lnTo>
                    <a:lnTo>
                      <a:pt x="6874" y="4122"/>
                    </a:lnTo>
                    <a:lnTo>
                      <a:pt x="6907" y="4171"/>
                    </a:lnTo>
                    <a:lnTo>
                      <a:pt x="6897" y="4192"/>
                    </a:lnTo>
                    <a:lnTo>
                      <a:pt x="6912" y="4225"/>
                    </a:lnTo>
                    <a:lnTo>
                      <a:pt x="6897" y="4192"/>
                    </a:lnTo>
                    <a:lnTo>
                      <a:pt x="6897" y="4159"/>
                    </a:lnTo>
                    <a:lnTo>
                      <a:pt x="6890" y="4159"/>
                    </a:lnTo>
                    <a:lnTo>
                      <a:pt x="6890" y="4155"/>
                    </a:lnTo>
                    <a:lnTo>
                      <a:pt x="6881" y="4155"/>
                    </a:lnTo>
                    <a:lnTo>
                      <a:pt x="6890" y="4176"/>
                    </a:lnTo>
                    <a:lnTo>
                      <a:pt x="6935" y="4303"/>
                    </a:lnTo>
                    <a:lnTo>
                      <a:pt x="6928" y="4377"/>
                    </a:lnTo>
                    <a:lnTo>
                      <a:pt x="6923" y="4398"/>
                    </a:lnTo>
                    <a:lnTo>
                      <a:pt x="6912" y="4431"/>
                    </a:lnTo>
                    <a:lnTo>
                      <a:pt x="6907" y="4426"/>
                    </a:lnTo>
                    <a:lnTo>
                      <a:pt x="6869" y="4431"/>
                    </a:lnTo>
                    <a:lnTo>
                      <a:pt x="6860" y="4426"/>
                    </a:lnTo>
                    <a:lnTo>
                      <a:pt x="6874" y="4431"/>
                    </a:lnTo>
                    <a:lnTo>
                      <a:pt x="6874" y="4426"/>
                    </a:lnTo>
                    <a:lnTo>
                      <a:pt x="6860" y="4414"/>
                    </a:lnTo>
                    <a:lnTo>
                      <a:pt x="6853" y="4381"/>
                    </a:lnTo>
                    <a:lnTo>
                      <a:pt x="6822" y="4370"/>
                    </a:lnTo>
                    <a:lnTo>
                      <a:pt x="6815" y="4327"/>
                    </a:lnTo>
                    <a:lnTo>
                      <a:pt x="6805" y="4327"/>
                    </a:lnTo>
                    <a:lnTo>
                      <a:pt x="6822" y="4315"/>
                    </a:lnTo>
                    <a:lnTo>
                      <a:pt x="6805" y="4327"/>
                    </a:lnTo>
                    <a:lnTo>
                      <a:pt x="6798" y="4327"/>
                    </a:lnTo>
                    <a:lnTo>
                      <a:pt x="6798" y="4299"/>
                    </a:lnTo>
                    <a:lnTo>
                      <a:pt x="6789" y="4299"/>
                    </a:lnTo>
                    <a:lnTo>
                      <a:pt x="6789" y="4303"/>
                    </a:lnTo>
                    <a:lnTo>
                      <a:pt x="6784" y="4303"/>
                    </a:lnTo>
                    <a:lnTo>
                      <a:pt x="6760" y="4261"/>
                    </a:lnTo>
                    <a:lnTo>
                      <a:pt x="6772" y="4225"/>
                    </a:lnTo>
                    <a:lnTo>
                      <a:pt x="6772" y="4216"/>
                    </a:lnTo>
                    <a:lnTo>
                      <a:pt x="6751" y="4209"/>
                    </a:lnTo>
                    <a:lnTo>
                      <a:pt x="6751" y="4216"/>
                    </a:lnTo>
                    <a:lnTo>
                      <a:pt x="6760" y="4225"/>
                    </a:lnTo>
                    <a:lnTo>
                      <a:pt x="6751" y="4244"/>
                    </a:lnTo>
                    <a:lnTo>
                      <a:pt x="6746" y="4225"/>
                    </a:lnTo>
                    <a:lnTo>
                      <a:pt x="6760" y="4176"/>
                    </a:lnTo>
                    <a:lnTo>
                      <a:pt x="6760" y="4150"/>
                    </a:lnTo>
                    <a:lnTo>
                      <a:pt x="6746" y="4122"/>
                    </a:lnTo>
                    <a:lnTo>
                      <a:pt x="6730" y="4117"/>
                    </a:lnTo>
                    <a:lnTo>
                      <a:pt x="6708" y="4093"/>
                    </a:lnTo>
                    <a:lnTo>
                      <a:pt x="6708" y="4081"/>
                    </a:lnTo>
                    <a:lnTo>
                      <a:pt x="6680" y="4060"/>
                    </a:lnTo>
                    <a:lnTo>
                      <a:pt x="6659" y="4048"/>
                    </a:lnTo>
                    <a:lnTo>
                      <a:pt x="6642" y="4048"/>
                    </a:lnTo>
                    <a:lnTo>
                      <a:pt x="6626" y="4060"/>
                    </a:lnTo>
                    <a:lnTo>
                      <a:pt x="6638" y="4065"/>
                    </a:lnTo>
                    <a:lnTo>
                      <a:pt x="6626" y="4060"/>
                    </a:lnTo>
                    <a:lnTo>
                      <a:pt x="6600" y="4077"/>
                    </a:lnTo>
                    <a:lnTo>
                      <a:pt x="6567" y="4081"/>
                    </a:lnTo>
                    <a:lnTo>
                      <a:pt x="6567" y="4065"/>
                    </a:lnTo>
                    <a:lnTo>
                      <a:pt x="6567" y="4081"/>
                    </a:lnTo>
                    <a:lnTo>
                      <a:pt x="6567" y="4065"/>
                    </a:lnTo>
                    <a:lnTo>
                      <a:pt x="6545" y="4048"/>
                    </a:lnTo>
                    <a:lnTo>
                      <a:pt x="6567" y="4048"/>
                    </a:lnTo>
                    <a:lnTo>
                      <a:pt x="6545" y="4044"/>
                    </a:lnTo>
                    <a:lnTo>
                      <a:pt x="6534" y="4039"/>
                    </a:lnTo>
                    <a:lnTo>
                      <a:pt x="6545" y="4044"/>
                    </a:lnTo>
                    <a:lnTo>
                      <a:pt x="6496" y="4027"/>
                    </a:lnTo>
                    <a:lnTo>
                      <a:pt x="6512" y="4027"/>
                    </a:lnTo>
                    <a:lnTo>
                      <a:pt x="6503" y="4022"/>
                    </a:lnTo>
                    <a:lnTo>
                      <a:pt x="6437" y="4027"/>
                    </a:lnTo>
                    <a:lnTo>
                      <a:pt x="6458" y="4022"/>
                    </a:lnTo>
                    <a:lnTo>
                      <a:pt x="6442" y="4011"/>
                    </a:lnTo>
                    <a:lnTo>
                      <a:pt x="6427" y="4027"/>
                    </a:lnTo>
                    <a:lnTo>
                      <a:pt x="6411" y="4039"/>
                    </a:lnTo>
                    <a:lnTo>
                      <a:pt x="6427" y="4022"/>
                    </a:lnTo>
                    <a:lnTo>
                      <a:pt x="6420" y="4022"/>
                    </a:lnTo>
                    <a:lnTo>
                      <a:pt x="6411" y="4039"/>
                    </a:lnTo>
                    <a:lnTo>
                      <a:pt x="6382" y="4039"/>
                    </a:lnTo>
                    <a:lnTo>
                      <a:pt x="6394" y="4039"/>
                    </a:lnTo>
                    <a:lnTo>
                      <a:pt x="6390" y="4022"/>
                    </a:lnTo>
                    <a:lnTo>
                      <a:pt x="6390" y="4006"/>
                    </a:lnTo>
                    <a:lnTo>
                      <a:pt x="6382" y="4006"/>
                    </a:lnTo>
                    <a:lnTo>
                      <a:pt x="6373" y="4027"/>
                    </a:lnTo>
                    <a:lnTo>
                      <a:pt x="6357" y="4027"/>
                    </a:lnTo>
                    <a:lnTo>
                      <a:pt x="6352" y="4027"/>
                    </a:lnTo>
                    <a:lnTo>
                      <a:pt x="6314" y="4022"/>
                    </a:lnTo>
                    <a:lnTo>
                      <a:pt x="6276" y="4044"/>
                    </a:lnTo>
                    <a:lnTo>
                      <a:pt x="6227" y="4027"/>
                    </a:lnTo>
                    <a:lnTo>
                      <a:pt x="6210" y="4044"/>
                    </a:lnTo>
                    <a:lnTo>
                      <a:pt x="6210" y="4048"/>
                    </a:lnTo>
                    <a:lnTo>
                      <a:pt x="6227" y="4048"/>
                    </a:lnTo>
                    <a:lnTo>
                      <a:pt x="6264" y="4044"/>
                    </a:lnTo>
                    <a:lnTo>
                      <a:pt x="6248" y="4048"/>
                    </a:lnTo>
                    <a:lnTo>
                      <a:pt x="6264" y="4065"/>
                    </a:lnTo>
                    <a:lnTo>
                      <a:pt x="6281" y="4048"/>
                    </a:lnTo>
                    <a:lnTo>
                      <a:pt x="6286" y="4065"/>
                    </a:lnTo>
                    <a:lnTo>
                      <a:pt x="6281" y="4077"/>
                    </a:lnTo>
                    <a:lnTo>
                      <a:pt x="6281" y="4065"/>
                    </a:lnTo>
                    <a:lnTo>
                      <a:pt x="6260" y="4081"/>
                    </a:lnTo>
                    <a:lnTo>
                      <a:pt x="6314" y="4122"/>
                    </a:lnTo>
                    <a:lnTo>
                      <a:pt x="6302" y="4133"/>
                    </a:lnTo>
                    <a:lnTo>
                      <a:pt x="6297" y="4133"/>
                    </a:lnTo>
                    <a:lnTo>
                      <a:pt x="6281" y="4138"/>
                    </a:lnTo>
                    <a:lnTo>
                      <a:pt x="6286" y="4122"/>
                    </a:lnTo>
                    <a:lnTo>
                      <a:pt x="6281" y="4133"/>
                    </a:lnTo>
                    <a:lnTo>
                      <a:pt x="6281" y="4117"/>
                    </a:lnTo>
                    <a:lnTo>
                      <a:pt x="6260" y="4105"/>
                    </a:lnTo>
                    <a:lnTo>
                      <a:pt x="6260" y="4100"/>
                    </a:lnTo>
                    <a:lnTo>
                      <a:pt x="6227" y="4093"/>
                    </a:lnTo>
                    <a:lnTo>
                      <a:pt x="6227" y="4100"/>
                    </a:lnTo>
                    <a:lnTo>
                      <a:pt x="6243" y="4100"/>
                    </a:lnTo>
                    <a:lnTo>
                      <a:pt x="6231" y="4122"/>
                    </a:lnTo>
                    <a:lnTo>
                      <a:pt x="6227" y="4133"/>
                    </a:lnTo>
                    <a:lnTo>
                      <a:pt x="6222" y="4117"/>
                    </a:lnTo>
                    <a:lnTo>
                      <a:pt x="6210" y="4105"/>
                    </a:lnTo>
                    <a:lnTo>
                      <a:pt x="6189" y="4122"/>
                    </a:lnTo>
                    <a:lnTo>
                      <a:pt x="6151" y="4117"/>
                    </a:lnTo>
                    <a:lnTo>
                      <a:pt x="6151" y="4105"/>
                    </a:lnTo>
                    <a:lnTo>
                      <a:pt x="6156" y="4105"/>
                    </a:lnTo>
                    <a:lnTo>
                      <a:pt x="6156" y="4117"/>
                    </a:lnTo>
                    <a:lnTo>
                      <a:pt x="6168" y="4105"/>
                    </a:lnTo>
                    <a:lnTo>
                      <a:pt x="6134" y="4093"/>
                    </a:lnTo>
                    <a:lnTo>
                      <a:pt x="6125" y="4077"/>
                    </a:lnTo>
                    <a:lnTo>
                      <a:pt x="6113" y="4065"/>
                    </a:lnTo>
                    <a:lnTo>
                      <a:pt x="6087" y="4077"/>
                    </a:lnTo>
                    <a:lnTo>
                      <a:pt x="6097" y="4081"/>
                    </a:lnTo>
                    <a:lnTo>
                      <a:pt x="6080" y="4093"/>
                    </a:lnTo>
                    <a:lnTo>
                      <a:pt x="6012" y="4077"/>
                    </a:lnTo>
                    <a:lnTo>
                      <a:pt x="5974" y="4077"/>
                    </a:lnTo>
                    <a:lnTo>
                      <a:pt x="5962" y="4065"/>
                    </a:lnTo>
                    <a:lnTo>
                      <a:pt x="5979" y="4060"/>
                    </a:lnTo>
                    <a:lnTo>
                      <a:pt x="5974" y="4060"/>
                    </a:lnTo>
                    <a:lnTo>
                      <a:pt x="5962" y="4065"/>
                    </a:lnTo>
                    <a:lnTo>
                      <a:pt x="5974" y="4081"/>
                    </a:lnTo>
                    <a:lnTo>
                      <a:pt x="5950" y="4081"/>
                    </a:lnTo>
                    <a:lnTo>
                      <a:pt x="5903" y="4105"/>
                    </a:lnTo>
                    <a:lnTo>
                      <a:pt x="5924" y="4093"/>
                    </a:lnTo>
                    <a:lnTo>
                      <a:pt x="5903" y="4093"/>
                    </a:lnTo>
                    <a:lnTo>
                      <a:pt x="5908" y="4077"/>
                    </a:lnTo>
                    <a:lnTo>
                      <a:pt x="5886" y="4077"/>
                    </a:lnTo>
                    <a:lnTo>
                      <a:pt x="5898" y="4105"/>
                    </a:lnTo>
                    <a:lnTo>
                      <a:pt x="5882" y="4133"/>
                    </a:lnTo>
                    <a:lnTo>
                      <a:pt x="5799" y="4176"/>
                    </a:lnTo>
                    <a:lnTo>
                      <a:pt x="5816" y="4159"/>
                    </a:lnTo>
                    <a:lnTo>
                      <a:pt x="5799" y="4171"/>
                    </a:lnTo>
                    <a:lnTo>
                      <a:pt x="5811" y="4159"/>
                    </a:lnTo>
                    <a:lnTo>
                      <a:pt x="5790" y="4155"/>
                    </a:lnTo>
                    <a:lnTo>
                      <a:pt x="5794" y="4159"/>
                    </a:lnTo>
                    <a:lnTo>
                      <a:pt x="5790" y="4159"/>
                    </a:lnTo>
                    <a:lnTo>
                      <a:pt x="5773" y="4155"/>
                    </a:lnTo>
                    <a:lnTo>
                      <a:pt x="5778" y="4171"/>
                    </a:lnTo>
                    <a:lnTo>
                      <a:pt x="5794" y="4176"/>
                    </a:lnTo>
                    <a:lnTo>
                      <a:pt x="5773" y="4188"/>
                    </a:lnTo>
                    <a:lnTo>
                      <a:pt x="5761" y="4176"/>
                    </a:lnTo>
                    <a:lnTo>
                      <a:pt x="5761" y="4192"/>
                    </a:lnTo>
                    <a:lnTo>
                      <a:pt x="5757" y="4204"/>
                    </a:lnTo>
                    <a:lnTo>
                      <a:pt x="5740" y="4204"/>
                    </a:lnTo>
                    <a:lnTo>
                      <a:pt x="5735" y="4209"/>
                    </a:lnTo>
                    <a:lnTo>
                      <a:pt x="5747" y="4209"/>
                    </a:lnTo>
                    <a:lnTo>
                      <a:pt x="5740" y="4225"/>
                    </a:lnTo>
                    <a:lnTo>
                      <a:pt x="5709" y="4225"/>
                    </a:lnTo>
                    <a:lnTo>
                      <a:pt x="5735" y="4244"/>
                    </a:lnTo>
                    <a:lnTo>
                      <a:pt x="5719" y="4266"/>
                    </a:lnTo>
                    <a:lnTo>
                      <a:pt x="5709" y="4266"/>
                    </a:lnTo>
                    <a:lnTo>
                      <a:pt x="5693" y="4261"/>
                    </a:lnTo>
                    <a:lnTo>
                      <a:pt x="5702" y="4270"/>
                    </a:lnTo>
                    <a:lnTo>
                      <a:pt x="5719" y="4266"/>
                    </a:lnTo>
                    <a:lnTo>
                      <a:pt x="5709" y="4303"/>
                    </a:lnTo>
                    <a:lnTo>
                      <a:pt x="5735" y="4370"/>
                    </a:lnTo>
                    <a:lnTo>
                      <a:pt x="5740" y="4360"/>
                    </a:lnTo>
                    <a:lnTo>
                      <a:pt x="5740" y="4370"/>
                    </a:lnTo>
                    <a:lnTo>
                      <a:pt x="5719" y="4377"/>
                    </a:lnTo>
                    <a:lnTo>
                      <a:pt x="5702" y="4370"/>
                    </a:lnTo>
                    <a:lnTo>
                      <a:pt x="5664" y="4360"/>
                    </a:lnTo>
                    <a:lnTo>
                      <a:pt x="5648" y="4353"/>
                    </a:lnTo>
                    <a:lnTo>
                      <a:pt x="5601" y="4337"/>
                    </a:lnTo>
                    <a:lnTo>
                      <a:pt x="5596" y="4303"/>
                    </a:lnTo>
                    <a:lnTo>
                      <a:pt x="5579" y="4287"/>
                    </a:lnTo>
                    <a:lnTo>
                      <a:pt x="5572" y="4249"/>
                    </a:lnTo>
                    <a:lnTo>
                      <a:pt x="5546" y="4233"/>
                    </a:lnTo>
                    <a:lnTo>
                      <a:pt x="5530" y="4204"/>
                    </a:lnTo>
                    <a:lnTo>
                      <a:pt x="5520" y="4192"/>
                    </a:lnTo>
                    <a:lnTo>
                      <a:pt x="5492" y="4122"/>
                    </a:lnTo>
                    <a:lnTo>
                      <a:pt x="5449" y="4081"/>
                    </a:lnTo>
                    <a:lnTo>
                      <a:pt x="5438" y="4077"/>
                    </a:lnTo>
                    <a:lnTo>
                      <a:pt x="5395" y="4077"/>
                    </a:lnTo>
                    <a:lnTo>
                      <a:pt x="5379" y="4065"/>
                    </a:lnTo>
                    <a:lnTo>
                      <a:pt x="5357" y="4077"/>
                    </a:lnTo>
                    <a:lnTo>
                      <a:pt x="5341" y="4117"/>
                    </a:lnTo>
                    <a:lnTo>
                      <a:pt x="5315" y="4138"/>
                    </a:lnTo>
                    <a:lnTo>
                      <a:pt x="5303" y="4133"/>
                    </a:lnTo>
                    <a:lnTo>
                      <a:pt x="5256" y="4105"/>
                    </a:lnTo>
                    <a:lnTo>
                      <a:pt x="5223" y="4081"/>
                    </a:lnTo>
                    <a:lnTo>
                      <a:pt x="5206" y="4060"/>
                    </a:lnTo>
                    <a:lnTo>
                      <a:pt x="5206" y="4044"/>
                    </a:lnTo>
                    <a:lnTo>
                      <a:pt x="5194" y="4011"/>
                    </a:lnTo>
                    <a:lnTo>
                      <a:pt x="5097" y="3937"/>
                    </a:lnTo>
                    <a:lnTo>
                      <a:pt x="5093" y="3916"/>
                    </a:lnTo>
                    <a:lnTo>
                      <a:pt x="4963" y="3916"/>
                    </a:lnTo>
                    <a:lnTo>
                      <a:pt x="4963" y="3949"/>
                    </a:lnTo>
                    <a:lnTo>
                      <a:pt x="4764" y="3949"/>
                    </a:lnTo>
                    <a:lnTo>
                      <a:pt x="4500" y="3855"/>
                    </a:lnTo>
                    <a:lnTo>
                      <a:pt x="4505" y="3838"/>
                    </a:lnTo>
                    <a:lnTo>
                      <a:pt x="4337" y="3855"/>
                    </a:lnTo>
                    <a:lnTo>
                      <a:pt x="4325" y="3838"/>
                    </a:lnTo>
                    <a:lnTo>
                      <a:pt x="4337" y="3845"/>
                    </a:lnTo>
                    <a:lnTo>
                      <a:pt x="4325" y="3845"/>
                    </a:lnTo>
                    <a:lnTo>
                      <a:pt x="4325" y="3822"/>
                    </a:lnTo>
                    <a:lnTo>
                      <a:pt x="4316" y="3788"/>
                    </a:lnTo>
                    <a:lnTo>
                      <a:pt x="4266" y="3760"/>
                    </a:lnTo>
                    <a:lnTo>
                      <a:pt x="4249" y="3760"/>
                    </a:lnTo>
                    <a:lnTo>
                      <a:pt x="4235" y="3734"/>
                    </a:lnTo>
                    <a:lnTo>
                      <a:pt x="4197" y="3727"/>
                    </a:lnTo>
                    <a:lnTo>
                      <a:pt x="4164" y="3706"/>
                    </a:lnTo>
                    <a:lnTo>
                      <a:pt x="4105" y="3706"/>
                    </a:lnTo>
                    <a:lnTo>
                      <a:pt x="4089" y="3689"/>
                    </a:lnTo>
                    <a:lnTo>
                      <a:pt x="4098" y="3651"/>
                    </a:lnTo>
                    <a:lnTo>
                      <a:pt x="4072" y="3640"/>
                    </a:lnTo>
                    <a:lnTo>
                      <a:pt x="4072" y="3616"/>
                    </a:lnTo>
                    <a:lnTo>
                      <a:pt x="4001" y="3545"/>
                    </a:lnTo>
                    <a:lnTo>
                      <a:pt x="3997" y="3524"/>
                    </a:lnTo>
                    <a:lnTo>
                      <a:pt x="4013" y="3524"/>
                    </a:lnTo>
                    <a:lnTo>
                      <a:pt x="4013" y="3496"/>
                    </a:lnTo>
                    <a:lnTo>
                      <a:pt x="4001" y="3488"/>
                    </a:lnTo>
                    <a:lnTo>
                      <a:pt x="3980" y="3488"/>
                    </a:lnTo>
                    <a:lnTo>
                      <a:pt x="3964" y="3472"/>
                    </a:lnTo>
                    <a:lnTo>
                      <a:pt x="3964" y="3455"/>
                    </a:lnTo>
                    <a:lnTo>
                      <a:pt x="3959" y="3451"/>
                    </a:lnTo>
                    <a:lnTo>
                      <a:pt x="3959" y="3429"/>
                    </a:lnTo>
                    <a:lnTo>
                      <a:pt x="3964" y="3429"/>
                    </a:lnTo>
                    <a:lnTo>
                      <a:pt x="3975" y="3439"/>
                    </a:lnTo>
                    <a:lnTo>
                      <a:pt x="3997" y="3451"/>
                    </a:lnTo>
                    <a:lnTo>
                      <a:pt x="3964" y="3413"/>
                    </a:lnTo>
                    <a:lnTo>
                      <a:pt x="3980" y="3401"/>
                    </a:lnTo>
                    <a:lnTo>
                      <a:pt x="4018" y="3413"/>
                    </a:lnTo>
                    <a:lnTo>
                      <a:pt x="4030" y="3401"/>
                    </a:lnTo>
                    <a:lnTo>
                      <a:pt x="4034" y="3413"/>
                    </a:lnTo>
                    <a:lnTo>
                      <a:pt x="4030" y="3401"/>
                    </a:lnTo>
                    <a:lnTo>
                      <a:pt x="4013" y="3401"/>
                    </a:lnTo>
                    <a:lnTo>
                      <a:pt x="3997" y="3396"/>
                    </a:lnTo>
                    <a:lnTo>
                      <a:pt x="3992" y="3401"/>
                    </a:lnTo>
                    <a:lnTo>
                      <a:pt x="3975" y="3396"/>
                    </a:lnTo>
                    <a:lnTo>
                      <a:pt x="3964" y="3396"/>
                    </a:lnTo>
                    <a:lnTo>
                      <a:pt x="3964" y="3418"/>
                    </a:lnTo>
                    <a:lnTo>
                      <a:pt x="3959" y="3429"/>
                    </a:lnTo>
                    <a:lnTo>
                      <a:pt x="3938" y="3401"/>
                    </a:lnTo>
                    <a:lnTo>
                      <a:pt x="3926" y="3413"/>
                    </a:lnTo>
                    <a:lnTo>
                      <a:pt x="3926" y="3385"/>
                    </a:lnTo>
                    <a:lnTo>
                      <a:pt x="3942" y="3401"/>
                    </a:lnTo>
                    <a:lnTo>
                      <a:pt x="3921" y="3373"/>
                    </a:lnTo>
                    <a:lnTo>
                      <a:pt x="3871" y="3328"/>
                    </a:lnTo>
                    <a:lnTo>
                      <a:pt x="3871" y="3262"/>
                    </a:lnTo>
                    <a:lnTo>
                      <a:pt x="3850" y="3229"/>
                    </a:lnTo>
                    <a:lnTo>
                      <a:pt x="3834" y="3219"/>
                    </a:lnTo>
                    <a:lnTo>
                      <a:pt x="3829" y="3207"/>
                    </a:lnTo>
                    <a:lnTo>
                      <a:pt x="3841" y="3174"/>
                    </a:lnTo>
                    <a:lnTo>
                      <a:pt x="3850" y="3118"/>
                    </a:lnTo>
                    <a:lnTo>
                      <a:pt x="3841" y="3085"/>
                    </a:lnTo>
                    <a:lnTo>
                      <a:pt x="3841" y="3068"/>
                    </a:lnTo>
                    <a:lnTo>
                      <a:pt x="3829" y="3047"/>
                    </a:lnTo>
                    <a:lnTo>
                      <a:pt x="3829" y="3014"/>
                    </a:lnTo>
                    <a:lnTo>
                      <a:pt x="3817" y="2990"/>
                    </a:lnTo>
                    <a:lnTo>
                      <a:pt x="3829" y="2952"/>
                    </a:lnTo>
                    <a:lnTo>
                      <a:pt x="3841" y="2952"/>
                    </a:lnTo>
                    <a:lnTo>
                      <a:pt x="3841" y="2940"/>
                    </a:lnTo>
                    <a:lnTo>
                      <a:pt x="3834" y="2940"/>
                    </a:lnTo>
                    <a:lnTo>
                      <a:pt x="3850" y="2919"/>
                    </a:lnTo>
                    <a:lnTo>
                      <a:pt x="3850" y="2813"/>
                    </a:lnTo>
                    <a:lnTo>
                      <a:pt x="3855" y="2792"/>
                    </a:lnTo>
                    <a:lnTo>
                      <a:pt x="3855" y="2759"/>
                    </a:lnTo>
                    <a:lnTo>
                      <a:pt x="3867" y="2759"/>
                    </a:lnTo>
                    <a:lnTo>
                      <a:pt x="3855" y="2697"/>
                    </a:lnTo>
                    <a:lnTo>
                      <a:pt x="3888" y="2692"/>
                    </a:lnTo>
                    <a:lnTo>
                      <a:pt x="3905" y="2702"/>
                    </a:lnTo>
                    <a:lnTo>
                      <a:pt x="3909" y="2697"/>
                    </a:lnTo>
                    <a:lnTo>
                      <a:pt x="3855" y="2692"/>
                    </a:lnTo>
                    <a:lnTo>
                      <a:pt x="3850" y="2659"/>
                    </a:lnTo>
                    <a:lnTo>
                      <a:pt x="3855" y="2681"/>
                    </a:lnTo>
                    <a:lnTo>
                      <a:pt x="3867" y="2664"/>
                    </a:lnTo>
                    <a:lnTo>
                      <a:pt x="3855" y="2659"/>
                    </a:lnTo>
                    <a:lnTo>
                      <a:pt x="3871" y="2648"/>
                    </a:lnTo>
                    <a:lnTo>
                      <a:pt x="3850" y="2648"/>
                    </a:lnTo>
                    <a:lnTo>
                      <a:pt x="3850" y="2643"/>
                    </a:lnTo>
                    <a:lnTo>
                      <a:pt x="3871" y="2626"/>
                    </a:lnTo>
                    <a:lnTo>
                      <a:pt x="3850" y="2619"/>
                    </a:lnTo>
                    <a:lnTo>
                      <a:pt x="3841" y="2636"/>
                    </a:lnTo>
                    <a:lnTo>
                      <a:pt x="3829" y="2565"/>
                    </a:lnTo>
                    <a:lnTo>
                      <a:pt x="3812" y="2532"/>
                    </a:lnTo>
                    <a:lnTo>
                      <a:pt x="3803" y="2499"/>
                    </a:lnTo>
                    <a:lnTo>
                      <a:pt x="3855" y="2515"/>
                    </a:lnTo>
                    <a:lnTo>
                      <a:pt x="3905" y="2525"/>
                    </a:lnTo>
                    <a:lnTo>
                      <a:pt x="3921" y="2515"/>
                    </a:lnTo>
                    <a:lnTo>
                      <a:pt x="3938" y="2525"/>
                    </a:lnTo>
                    <a:lnTo>
                      <a:pt x="3942" y="2515"/>
                    </a:lnTo>
                    <a:lnTo>
                      <a:pt x="3942" y="2525"/>
                    </a:lnTo>
                    <a:lnTo>
                      <a:pt x="3947" y="2537"/>
                    </a:lnTo>
                    <a:lnTo>
                      <a:pt x="3942" y="2553"/>
                    </a:lnTo>
                    <a:lnTo>
                      <a:pt x="3938" y="2548"/>
                    </a:lnTo>
                    <a:lnTo>
                      <a:pt x="3909" y="2591"/>
                    </a:lnTo>
                    <a:lnTo>
                      <a:pt x="3938" y="2586"/>
                    </a:lnTo>
                    <a:lnTo>
                      <a:pt x="3921" y="2586"/>
                    </a:lnTo>
                    <a:lnTo>
                      <a:pt x="3959" y="2537"/>
                    </a:lnTo>
                    <a:lnTo>
                      <a:pt x="3964" y="2553"/>
                    </a:lnTo>
                    <a:lnTo>
                      <a:pt x="3947" y="2565"/>
                    </a:lnTo>
                    <a:lnTo>
                      <a:pt x="3947" y="2570"/>
                    </a:lnTo>
                    <a:lnTo>
                      <a:pt x="3947" y="2565"/>
                    </a:lnTo>
                    <a:lnTo>
                      <a:pt x="3947" y="2581"/>
                    </a:lnTo>
                    <a:lnTo>
                      <a:pt x="3959" y="2570"/>
                    </a:lnTo>
                    <a:lnTo>
                      <a:pt x="3959" y="2603"/>
                    </a:lnTo>
                    <a:lnTo>
                      <a:pt x="3947" y="2591"/>
                    </a:lnTo>
                    <a:lnTo>
                      <a:pt x="3947" y="2586"/>
                    </a:lnTo>
                    <a:lnTo>
                      <a:pt x="3942" y="2610"/>
                    </a:lnTo>
                    <a:lnTo>
                      <a:pt x="3942" y="2586"/>
                    </a:lnTo>
                    <a:lnTo>
                      <a:pt x="3921" y="2610"/>
                    </a:lnTo>
                    <a:lnTo>
                      <a:pt x="3938" y="2619"/>
                    </a:lnTo>
                    <a:lnTo>
                      <a:pt x="3938" y="2610"/>
                    </a:lnTo>
                    <a:lnTo>
                      <a:pt x="3942" y="2619"/>
                    </a:lnTo>
                    <a:lnTo>
                      <a:pt x="3975" y="2586"/>
                    </a:lnTo>
                    <a:lnTo>
                      <a:pt x="3964" y="2565"/>
                    </a:lnTo>
                    <a:lnTo>
                      <a:pt x="3975" y="2537"/>
                    </a:lnTo>
                    <a:lnTo>
                      <a:pt x="3975" y="2532"/>
                    </a:lnTo>
                    <a:lnTo>
                      <a:pt x="3964" y="2515"/>
                    </a:lnTo>
                    <a:lnTo>
                      <a:pt x="3964" y="2525"/>
                    </a:lnTo>
                    <a:lnTo>
                      <a:pt x="3959" y="2515"/>
                    </a:lnTo>
                    <a:lnTo>
                      <a:pt x="3964" y="2508"/>
                    </a:lnTo>
                    <a:lnTo>
                      <a:pt x="3942" y="2492"/>
                    </a:lnTo>
                    <a:lnTo>
                      <a:pt x="3959" y="2492"/>
                    </a:lnTo>
                    <a:lnTo>
                      <a:pt x="3964" y="2475"/>
                    </a:lnTo>
                    <a:lnTo>
                      <a:pt x="3959" y="2470"/>
                    </a:lnTo>
                    <a:lnTo>
                      <a:pt x="3947" y="2459"/>
                    </a:lnTo>
                    <a:lnTo>
                      <a:pt x="3942" y="2454"/>
                    </a:lnTo>
                    <a:lnTo>
                      <a:pt x="3942" y="2442"/>
                    </a:lnTo>
                    <a:lnTo>
                      <a:pt x="3942" y="2442"/>
                    </a:lnTo>
                    <a:lnTo>
                      <a:pt x="3942" y="2442"/>
                    </a:lnTo>
                    <a:close/>
                    <a:moveTo>
                      <a:pt x="3938" y="2470"/>
                    </a:moveTo>
                    <a:lnTo>
                      <a:pt x="3942" y="2475"/>
                    </a:lnTo>
                    <a:lnTo>
                      <a:pt x="3926" y="2475"/>
                    </a:lnTo>
                    <a:lnTo>
                      <a:pt x="3938" y="2470"/>
                    </a:lnTo>
                    <a:lnTo>
                      <a:pt x="3938" y="2470"/>
                    </a:lnTo>
                    <a:lnTo>
                      <a:pt x="3938" y="2470"/>
                    </a:lnTo>
                    <a:close/>
                    <a:moveTo>
                      <a:pt x="3921" y="2475"/>
                    </a:moveTo>
                    <a:lnTo>
                      <a:pt x="3926" y="2492"/>
                    </a:lnTo>
                    <a:lnTo>
                      <a:pt x="3909" y="2492"/>
                    </a:lnTo>
                    <a:lnTo>
                      <a:pt x="3909" y="2475"/>
                    </a:lnTo>
                    <a:lnTo>
                      <a:pt x="3921" y="2475"/>
                    </a:lnTo>
                    <a:lnTo>
                      <a:pt x="3921" y="2475"/>
                    </a:lnTo>
                    <a:lnTo>
                      <a:pt x="3921" y="2475"/>
                    </a:lnTo>
                    <a:close/>
                    <a:moveTo>
                      <a:pt x="3938" y="2482"/>
                    </a:moveTo>
                    <a:lnTo>
                      <a:pt x="3938" y="2492"/>
                    </a:lnTo>
                    <a:lnTo>
                      <a:pt x="3926" y="2492"/>
                    </a:lnTo>
                    <a:lnTo>
                      <a:pt x="3938" y="2482"/>
                    </a:lnTo>
                    <a:lnTo>
                      <a:pt x="3938" y="2482"/>
                    </a:lnTo>
                    <a:lnTo>
                      <a:pt x="3938" y="2482"/>
                    </a:lnTo>
                    <a:close/>
                    <a:moveTo>
                      <a:pt x="3959" y="2499"/>
                    </a:moveTo>
                    <a:lnTo>
                      <a:pt x="3959" y="2508"/>
                    </a:lnTo>
                    <a:lnTo>
                      <a:pt x="3947" y="2515"/>
                    </a:lnTo>
                    <a:lnTo>
                      <a:pt x="3975" y="2532"/>
                    </a:lnTo>
                    <a:lnTo>
                      <a:pt x="3964" y="2537"/>
                    </a:lnTo>
                    <a:lnTo>
                      <a:pt x="3942" y="2515"/>
                    </a:lnTo>
                    <a:lnTo>
                      <a:pt x="3959" y="2499"/>
                    </a:lnTo>
                    <a:lnTo>
                      <a:pt x="3959" y="2499"/>
                    </a:lnTo>
                    <a:lnTo>
                      <a:pt x="3959" y="2499"/>
                    </a:lnTo>
                    <a:close/>
                    <a:moveTo>
                      <a:pt x="3959" y="2565"/>
                    </a:moveTo>
                    <a:lnTo>
                      <a:pt x="3959" y="2570"/>
                    </a:lnTo>
                    <a:lnTo>
                      <a:pt x="3959" y="2565"/>
                    </a:lnTo>
                    <a:lnTo>
                      <a:pt x="3959" y="2565"/>
                    </a:lnTo>
                    <a:lnTo>
                      <a:pt x="3959" y="2565"/>
                    </a:lnTo>
                    <a:close/>
                    <a:moveTo>
                      <a:pt x="3964" y="2586"/>
                    </a:moveTo>
                    <a:lnTo>
                      <a:pt x="3959" y="2591"/>
                    </a:lnTo>
                    <a:lnTo>
                      <a:pt x="3964" y="2581"/>
                    </a:lnTo>
                    <a:lnTo>
                      <a:pt x="3964" y="2586"/>
                    </a:lnTo>
                    <a:lnTo>
                      <a:pt x="3964" y="2586"/>
                    </a:lnTo>
                    <a:lnTo>
                      <a:pt x="3964" y="2586"/>
                    </a:lnTo>
                    <a:close/>
                    <a:moveTo>
                      <a:pt x="3938" y="2603"/>
                    </a:moveTo>
                    <a:lnTo>
                      <a:pt x="3938" y="2610"/>
                    </a:lnTo>
                    <a:lnTo>
                      <a:pt x="3938" y="2603"/>
                    </a:lnTo>
                    <a:lnTo>
                      <a:pt x="3938" y="2603"/>
                    </a:lnTo>
                    <a:lnTo>
                      <a:pt x="3938" y="2603"/>
                    </a:lnTo>
                    <a:close/>
                    <a:moveTo>
                      <a:pt x="7771" y="2858"/>
                    </a:moveTo>
                    <a:lnTo>
                      <a:pt x="7771" y="2863"/>
                    </a:lnTo>
                    <a:lnTo>
                      <a:pt x="7760" y="2870"/>
                    </a:lnTo>
                    <a:lnTo>
                      <a:pt x="7755" y="2870"/>
                    </a:lnTo>
                    <a:lnTo>
                      <a:pt x="7755" y="2858"/>
                    </a:lnTo>
                    <a:lnTo>
                      <a:pt x="7771" y="2858"/>
                    </a:lnTo>
                    <a:lnTo>
                      <a:pt x="7771" y="2858"/>
                    </a:lnTo>
                    <a:lnTo>
                      <a:pt x="7771" y="2858"/>
                    </a:lnTo>
                    <a:close/>
                    <a:moveTo>
                      <a:pt x="7738" y="2870"/>
                    </a:moveTo>
                    <a:lnTo>
                      <a:pt x="7738" y="2879"/>
                    </a:lnTo>
                    <a:lnTo>
                      <a:pt x="7734" y="2879"/>
                    </a:lnTo>
                    <a:lnTo>
                      <a:pt x="7738" y="2870"/>
                    </a:lnTo>
                    <a:lnTo>
                      <a:pt x="7738" y="2870"/>
                    </a:lnTo>
                    <a:lnTo>
                      <a:pt x="7738" y="2870"/>
                    </a:lnTo>
                    <a:close/>
                    <a:moveTo>
                      <a:pt x="7734" y="2886"/>
                    </a:moveTo>
                    <a:lnTo>
                      <a:pt x="7722" y="2886"/>
                    </a:lnTo>
                    <a:lnTo>
                      <a:pt x="7722" y="2879"/>
                    </a:lnTo>
                    <a:lnTo>
                      <a:pt x="7734" y="2886"/>
                    </a:lnTo>
                    <a:lnTo>
                      <a:pt x="7734" y="2886"/>
                    </a:lnTo>
                    <a:lnTo>
                      <a:pt x="7734" y="2886"/>
                    </a:lnTo>
                    <a:close/>
                    <a:moveTo>
                      <a:pt x="7561" y="3101"/>
                    </a:moveTo>
                    <a:lnTo>
                      <a:pt x="7554" y="3108"/>
                    </a:lnTo>
                    <a:lnTo>
                      <a:pt x="7545" y="3118"/>
                    </a:lnTo>
                    <a:lnTo>
                      <a:pt x="7561" y="3101"/>
                    </a:lnTo>
                    <a:lnTo>
                      <a:pt x="7561" y="3101"/>
                    </a:lnTo>
                    <a:lnTo>
                      <a:pt x="7561" y="3101"/>
                    </a:lnTo>
                    <a:close/>
                    <a:moveTo>
                      <a:pt x="7608" y="3118"/>
                    </a:moveTo>
                    <a:lnTo>
                      <a:pt x="7608" y="3125"/>
                    </a:lnTo>
                    <a:lnTo>
                      <a:pt x="7582" y="3125"/>
                    </a:lnTo>
                    <a:lnTo>
                      <a:pt x="7608" y="3118"/>
                    </a:lnTo>
                    <a:lnTo>
                      <a:pt x="7608" y="3118"/>
                    </a:lnTo>
                    <a:lnTo>
                      <a:pt x="7608" y="3118"/>
                    </a:lnTo>
                    <a:close/>
                    <a:moveTo>
                      <a:pt x="7637" y="3125"/>
                    </a:moveTo>
                    <a:lnTo>
                      <a:pt x="7646" y="3134"/>
                    </a:lnTo>
                    <a:lnTo>
                      <a:pt x="7630" y="3134"/>
                    </a:lnTo>
                    <a:lnTo>
                      <a:pt x="7637" y="3125"/>
                    </a:lnTo>
                    <a:lnTo>
                      <a:pt x="7637" y="3125"/>
                    </a:lnTo>
                    <a:lnTo>
                      <a:pt x="7637" y="3125"/>
                    </a:lnTo>
                    <a:close/>
                    <a:moveTo>
                      <a:pt x="7448" y="3174"/>
                    </a:moveTo>
                    <a:lnTo>
                      <a:pt x="7382" y="3191"/>
                    </a:lnTo>
                    <a:lnTo>
                      <a:pt x="7393" y="3191"/>
                    </a:lnTo>
                    <a:lnTo>
                      <a:pt x="7365" y="3191"/>
                    </a:lnTo>
                    <a:lnTo>
                      <a:pt x="7377" y="3191"/>
                    </a:lnTo>
                    <a:lnTo>
                      <a:pt x="7360" y="3191"/>
                    </a:lnTo>
                    <a:lnTo>
                      <a:pt x="7365" y="3174"/>
                    </a:lnTo>
                    <a:lnTo>
                      <a:pt x="7393" y="3163"/>
                    </a:lnTo>
                    <a:lnTo>
                      <a:pt x="7464" y="3158"/>
                    </a:lnTo>
                    <a:lnTo>
                      <a:pt x="7486" y="3141"/>
                    </a:lnTo>
                    <a:lnTo>
                      <a:pt x="7464" y="3163"/>
                    </a:lnTo>
                    <a:lnTo>
                      <a:pt x="7516" y="3151"/>
                    </a:lnTo>
                    <a:lnTo>
                      <a:pt x="7448" y="3174"/>
                    </a:lnTo>
                    <a:lnTo>
                      <a:pt x="7448" y="3174"/>
                    </a:lnTo>
                    <a:lnTo>
                      <a:pt x="7448" y="3174"/>
                    </a:lnTo>
                    <a:close/>
                    <a:moveTo>
                      <a:pt x="7360" y="3191"/>
                    </a:moveTo>
                    <a:lnTo>
                      <a:pt x="7344" y="3196"/>
                    </a:lnTo>
                    <a:lnTo>
                      <a:pt x="7356" y="3191"/>
                    </a:lnTo>
                    <a:lnTo>
                      <a:pt x="7360" y="3191"/>
                    </a:lnTo>
                    <a:lnTo>
                      <a:pt x="7360" y="3191"/>
                    </a:lnTo>
                    <a:lnTo>
                      <a:pt x="7360" y="3191"/>
                    </a:lnTo>
                    <a:close/>
                    <a:moveTo>
                      <a:pt x="7339" y="3290"/>
                    </a:moveTo>
                    <a:lnTo>
                      <a:pt x="7327" y="3290"/>
                    </a:lnTo>
                    <a:lnTo>
                      <a:pt x="7344" y="3285"/>
                    </a:lnTo>
                    <a:lnTo>
                      <a:pt x="7339" y="3290"/>
                    </a:lnTo>
                    <a:lnTo>
                      <a:pt x="7339" y="3290"/>
                    </a:lnTo>
                    <a:lnTo>
                      <a:pt x="7339" y="3290"/>
                    </a:lnTo>
                    <a:close/>
                    <a:moveTo>
                      <a:pt x="7275" y="3401"/>
                    </a:moveTo>
                    <a:lnTo>
                      <a:pt x="7268" y="3418"/>
                    </a:lnTo>
                    <a:lnTo>
                      <a:pt x="7285" y="3385"/>
                    </a:lnTo>
                    <a:lnTo>
                      <a:pt x="7275" y="3401"/>
                    </a:lnTo>
                    <a:lnTo>
                      <a:pt x="7275" y="3401"/>
                    </a:lnTo>
                    <a:lnTo>
                      <a:pt x="7275" y="3401"/>
                    </a:lnTo>
                    <a:close/>
                    <a:moveTo>
                      <a:pt x="7252" y="3640"/>
                    </a:moveTo>
                    <a:lnTo>
                      <a:pt x="7247" y="3640"/>
                    </a:lnTo>
                    <a:lnTo>
                      <a:pt x="7259" y="3633"/>
                    </a:lnTo>
                    <a:lnTo>
                      <a:pt x="7259" y="3595"/>
                    </a:lnTo>
                    <a:lnTo>
                      <a:pt x="7259" y="3607"/>
                    </a:lnTo>
                    <a:lnTo>
                      <a:pt x="7252" y="3640"/>
                    </a:lnTo>
                    <a:lnTo>
                      <a:pt x="7252" y="3640"/>
                    </a:lnTo>
                    <a:lnTo>
                      <a:pt x="7252" y="3640"/>
                    </a:lnTo>
                    <a:close/>
                    <a:moveTo>
                      <a:pt x="4143" y="3727"/>
                    </a:moveTo>
                    <a:lnTo>
                      <a:pt x="4174" y="3734"/>
                    </a:lnTo>
                    <a:lnTo>
                      <a:pt x="4153" y="3744"/>
                    </a:lnTo>
                    <a:lnTo>
                      <a:pt x="4143" y="3734"/>
                    </a:lnTo>
                    <a:lnTo>
                      <a:pt x="4143" y="3727"/>
                    </a:lnTo>
                    <a:lnTo>
                      <a:pt x="4143" y="3727"/>
                    </a:lnTo>
                    <a:lnTo>
                      <a:pt x="4143" y="3727"/>
                    </a:lnTo>
                    <a:close/>
                    <a:moveTo>
                      <a:pt x="4136" y="3734"/>
                    </a:moveTo>
                    <a:lnTo>
                      <a:pt x="4127" y="3744"/>
                    </a:lnTo>
                    <a:lnTo>
                      <a:pt x="4122" y="3734"/>
                    </a:lnTo>
                    <a:lnTo>
                      <a:pt x="4136" y="3734"/>
                    </a:lnTo>
                    <a:lnTo>
                      <a:pt x="4136" y="3734"/>
                    </a:lnTo>
                    <a:lnTo>
                      <a:pt x="4136" y="3734"/>
                    </a:lnTo>
                    <a:close/>
                    <a:moveTo>
                      <a:pt x="4245" y="3784"/>
                    </a:moveTo>
                    <a:lnTo>
                      <a:pt x="4261" y="3788"/>
                    </a:lnTo>
                    <a:lnTo>
                      <a:pt x="4245" y="3788"/>
                    </a:lnTo>
                    <a:lnTo>
                      <a:pt x="4235" y="3772"/>
                    </a:lnTo>
                    <a:lnTo>
                      <a:pt x="4245" y="3784"/>
                    </a:lnTo>
                    <a:lnTo>
                      <a:pt x="4245" y="3784"/>
                    </a:lnTo>
                    <a:lnTo>
                      <a:pt x="4245" y="3784"/>
                    </a:lnTo>
                    <a:close/>
                    <a:moveTo>
                      <a:pt x="4174" y="3800"/>
                    </a:moveTo>
                    <a:lnTo>
                      <a:pt x="4164" y="3800"/>
                    </a:lnTo>
                    <a:lnTo>
                      <a:pt x="4174" y="3800"/>
                    </a:lnTo>
                    <a:lnTo>
                      <a:pt x="4174" y="3800"/>
                    </a:lnTo>
                    <a:lnTo>
                      <a:pt x="4174" y="3800"/>
                    </a:lnTo>
                    <a:close/>
                    <a:moveTo>
                      <a:pt x="4235" y="3817"/>
                    </a:moveTo>
                    <a:lnTo>
                      <a:pt x="4249" y="3829"/>
                    </a:lnTo>
                    <a:lnTo>
                      <a:pt x="4245" y="3829"/>
                    </a:lnTo>
                    <a:lnTo>
                      <a:pt x="4235" y="3817"/>
                    </a:lnTo>
                    <a:lnTo>
                      <a:pt x="4235" y="3817"/>
                    </a:lnTo>
                    <a:lnTo>
                      <a:pt x="4235" y="3817"/>
                    </a:lnTo>
                    <a:close/>
                    <a:moveTo>
                      <a:pt x="6843" y="3982"/>
                    </a:moveTo>
                    <a:lnTo>
                      <a:pt x="6836" y="3994"/>
                    </a:lnTo>
                    <a:lnTo>
                      <a:pt x="6836" y="3989"/>
                    </a:lnTo>
                    <a:lnTo>
                      <a:pt x="6843" y="3982"/>
                    </a:lnTo>
                    <a:lnTo>
                      <a:pt x="6843" y="3982"/>
                    </a:lnTo>
                    <a:lnTo>
                      <a:pt x="6843" y="3982"/>
                    </a:lnTo>
                    <a:close/>
                    <a:moveTo>
                      <a:pt x="6297" y="4044"/>
                    </a:moveTo>
                    <a:lnTo>
                      <a:pt x="6286" y="4048"/>
                    </a:lnTo>
                    <a:lnTo>
                      <a:pt x="6297" y="4044"/>
                    </a:lnTo>
                    <a:lnTo>
                      <a:pt x="6297" y="4044"/>
                    </a:lnTo>
                    <a:lnTo>
                      <a:pt x="6297" y="4044"/>
                    </a:lnTo>
                    <a:close/>
                    <a:moveTo>
                      <a:pt x="6319" y="4077"/>
                    </a:moveTo>
                    <a:lnTo>
                      <a:pt x="6319" y="4048"/>
                    </a:lnTo>
                    <a:lnTo>
                      <a:pt x="6328" y="4060"/>
                    </a:lnTo>
                    <a:lnTo>
                      <a:pt x="6319" y="4077"/>
                    </a:lnTo>
                    <a:lnTo>
                      <a:pt x="6319" y="4077"/>
                    </a:lnTo>
                    <a:lnTo>
                      <a:pt x="6319" y="4077"/>
                    </a:lnTo>
                    <a:close/>
                    <a:moveTo>
                      <a:pt x="6118" y="4093"/>
                    </a:moveTo>
                    <a:lnTo>
                      <a:pt x="6113" y="4100"/>
                    </a:lnTo>
                    <a:lnTo>
                      <a:pt x="6097" y="4093"/>
                    </a:lnTo>
                    <a:lnTo>
                      <a:pt x="6101" y="4081"/>
                    </a:lnTo>
                    <a:lnTo>
                      <a:pt x="6118" y="4093"/>
                    </a:lnTo>
                    <a:lnTo>
                      <a:pt x="6118" y="4093"/>
                    </a:lnTo>
                    <a:lnTo>
                      <a:pt x="6118" y="4093"/>
                    </a:lnTo>
                    <a:close/>
                    <a:moveTo>
                      <a:pt x="5903" y="4117"/>
                    </a:moveTo>
                    <a:lnTo>
                      <a:pt x="5882" y="4122"/>
                    </a:lnTo>
                    <a:lnTo>
                      <a:pt x="5903" y="4105"/>
                    </a:lnTo>
                    <a:lnTo>
                      <a:pt x="5903" y="4117"/>
                    </a:lnTo>
                    <a:lnTo>
                      <a:pt x="5903" y="4117"/>
                    </a:lnTo>
                    <a:lnTo>
                      <a:pt x="5903" y="4117"/>
                    </a:lnTo>
                    <a:close/>
                    <a:moveTo>
                      <a:pt x="6897" y="4188"/>
                    </a:moveTo>
                    <a:lnTo>
                      <a:pt x="6897" y="4192"/>
                    </a:lnTo>
                    <a:lnTo>
                      <a:pt x="6890" y="4176"/>
                    </a:lnTo>
                    <a:lnTo>
                      <a:pt x="6897" y="4159"/>
                    </a:lnTo>
                    <a:lnTo>
                      <a:pt x="6897" y="4188"/>
                    </a:lnTo>
                    <a:lnTo>
                      <a:pt x="6897" y="4188"/>
                    </a:lnTo>
                    <a:lnTo>
                      <a:pt x="6897" y="4188"/>
                    </a:lnTo>
                    <a:close/>
                    <a:moveTo>
                      <a:pt x="5761" y="4192"/>
                    </a:moveTo>
                    <a:lnTo>
                      <a:pt x="5794" y="4176"/>
                    </a:lnTo>
                    <a:lnTo>
                      <a:pt x="5761" y="4204"/>
                    </a:lnTo>
                    <a:lnTo>
                      <a:pt x="5761" y="4192"/>
                    </a:lnTo>
                    <a:lnTo>
                      <a:pt x="5761" y="4192"/>
                    </a:lnTo>
                    <a:lnTo>
                      <a:pt x="5761" y="4192"/>
                    </a:lnTo>
                    <a:close/>
                    <a:moveTo>
                      <a:pt x="5735" y="4249"/>
                    </a:moveTo>
                    <a:lnTo>
                      <a:pt x="5723" y="4270"/>
                    </a:lnTo>
                    <a:lnTo>
                      <a:pt x="5723" y="4249"/>
                    </a:lnTo>
                    <a:lnTo>
                      <a:pt x="5747" y="4225"/>
                    </a:lnTo>
                    <a:lnTo>
                      <a:pt x="5735" y="4249"/>
                    </a:lnTo>
                    <a:lnTo>
                      <a:pt x="5735" y="4249"/>
                    </a:lnTo>
                    <a:lnTo>
                      <a:pt x="5735" y="4249"/>
                    </a:lnTo>
                    <a:close/>
                    <a:moveTo>
                      <a:pt x="5723" y="4315"/>
                    </a:moveTo>
                    <a:lnTo>
                      <a:pt x="5723" y="4270"/>
                    </a:lnTo>
                    <a:lnTo>
                      <a:pt x="5740" y="4360"/>
                    </a:lnTo>
                    <a:lnTo>
                      <a:pt x="5723" y="4315"/>
                    </a:lnTo>
                    <a:lnTo>
                      <a:pt x="5723" y="4315"/>
                    </a:lnTo>
                    <a:lnTo>
                      <a:pt x="5723" y="4315"/>
                    </a:lnTo>
                    <a:close/>
                    <a:moveTo>
                      <a:pt x="6912" y="4431"/>
                    </a:moveTo>
                    <a:lnTo>
                      <a:pt x="6923" y="4414"/>
                    </a:lnTo>
                    <a:lnTo>
                      <a:pt x="6897" y="4448"/>
                    </a:lnTo>
                    <a:lnTo>
                      <a:pt x="6912" y="4431"/>
                    </a:lnTo>
                    <a:lnTo>
                      <a:pt x="6912" y="4431"/>
                    </a:lnTo>
                    <a:lnTo>
                      <a:pt x="6912" y="4431"/>
                    </a:lnTo>
                    <a:close/>
                    <a:moveTo>
                      <a:pt x="6836" y="4471"/>
                    </a:moveTo>
                    <a:lnTo>
                      <a:pt x="6827" y="4481"/>
                    </a:lnTo>
                    <a:lnTo>
                      <a:pt x="6836" y="4471"/>
                    </a:lnTo>
                    <a:lnTo>
                      <a:pt x="6836" y="4471"/>
                    </a:lnTo>
                    <a:lnTo>
                      <a:pt x="6836" y="4471"/>
                    </a:lnTo>
                    <a:close/>
                    <a:moveTo>
                      <a:pt x="1368" y="4686"/>
                    </a:moveTo>
                    <a:lnTo>
                      <a:pt x="1351" y="4674"/>
                    </a:lnTo>
                    <a:lnTo>
                      <a:pt x="1351" y="4665"/>
                    </a:lnTo>
                    <a:lnTo>
                      <a:pt x="1356" y="4653"/>
                    </a:lnTo>
                    <a:lnTo>
                      <a:pt x="1382" y="4653"/>
                    </a:lnTo>
                    <a:lnTo>
                      <a:pt x="1372" y="4674"/>
                    </a:lnTo>
                    <a:lnTo>
                      <a:pt x="1368" y="4686"/>
                    </a:lnTo>
                    <a:lnTo>
                      <a:pt x="1368" y="4686"/>
                    </a:lnTo>
                    <a:lnTo>
                      <a:pt x="1368" y="4686"/>
                    </a:lnTo>
                    <a:close/>
                    <a:moveTo>
                      <a:pt x="1318" y="4686"/>
                    </a:moveTo>
                    <a:lnTo>
                      <a:pt x="1313" y="4674"/>
                    </a:lnTo>
                    <a:lnTo>
                      <a:pt x="1330" y="4670"/>
                    </a:lnTo>
                    <a:lnTo>
                      <a:pt x="1318" y="4686"/>
                    </a:lnTo>
                    <a:lnTo>
                      <a:pt x="1318" y="4686"/>
                    </a:lnTo>
                    <a:lnTo>
                      <a:pt x="1318" y="4686"/>
                    </a:lnTo>
                    <a:close/>
                    <a:moveTo>
                      <a:pt x="1481" y="4726"/>
                    </a:moveTo>
                    <a:lnTo>
                      <a:pt x="1464" y="4726"/>
                    </a:lnTo>
                    <a:lnTo>
                      <a:pt x="1448" y="4703"/>
                    </a:lnTo>
                    <a:lnTo>
                      <a:pt x="1474" y="4693"/>
                    </a:lnTo>
                    <a:lnTo>
                      <a:pt x="1495" y="4726"/>
                    </a:lnTo>
                    <a:lnTo>
                      <a:pt x="1481" y="4726"/>
                    </a:lnTo>
                    <a:lnTo>
                      <a:pt x="1481" y="4726"/>
                    </a:lnTo>
                    <a:lnTo>
                      <a:pt x="1481" y="4726"/>
                    </a:lnTo>
                    <a:close/>
                    <a:moveTo>
                      <a:pt x="1549" y="4743"/>
                    </a:moveTo>
                    <a:lnTo>
                      <a:pt x="1519" y="4743"/>
                    </a:lnTo>
                    <a:lnTo>
                      <a:pt x="1528" y="4731"/>
                    </a:lnTo>
                    <a:lnTo>
                      <a:pt x="1557" y="4731"/>
                    </a:lnTo>
                    <a:lnTo>
                      <a:pt x="1549" y="4743"/>
                    </a:lnTo>
                    <a:lnTo>
                      <a:pt x="1549" y="4743"/>
                    </a:lnTo>
                    <a:lnTo>
                      <a:pt x="1549" y="4743"/>
                    </a:lnTo>
                    <a:close/>
                    <a:moveTo>
                      <a:pt x="1583" y="4781"/>
                    </a:moveTo>
                    <a:lnTo>
                      <a:pt x="1571" y="4764"/>
                    </a:lnTo>
                    <a:lnTo>
                      <a:pt x="1566" y="4759"/>
                    </a:lnTo>
                    <a:lnTo>
                      <a:pt x="1566" y="4743"/>
                    </a:lnTo>
                    <a:lnTo>
                      <a:pt x="1583" y="4759"/>
                    </a:lnTo>
                    <a:lnTo>
                      <a:pt x="1599" y="4748"/>
                    </a:lnTo>
                    <a:lnTo>
                      <a:pt x="1611" y="4764"/>
                    </a:lnTo>
                    <a:lnTo>
                      <a:pt x="1604" y="4776"/>
                    </a:lnTo>
                    <a:lnTo>
                      <a:pt x="1583" y="4781"/>
                    </a:lnTo>
                    <a:lnTo>
                      <a:pt x="1583" y="4781"/>
                    </a:lnTo>
                    <a:lnTo>
                      <a:pt x="1583" y="4781"/>
                    </a:lnTo>
                    <a:close/>
                    <a:moveTo>
                      <a:pt x="1549" y="4764"/>
                    </a:moveTo>
                    <a:lnTo>
                      <a:pt x="1533" y="4759"/>
                    </a:lnTo>
                    <a:lnTo>
                      <a:pt x="1549" y="4759"/>
                    </a:lnTo>
                    <a:lnTo>
                      <a:pt x="1549" y="4764"/>
                    </a:lnTo>
                    <a:lnTo>
                      <a:pt x="1549" y="4764"/>
                    </a:lnTo>
                    <a:lnTo>
                      <a:pt x="1549" y="4764"/>
                    </a:lnTo>
                    <a:close/>
                    <a:moveTo>
                      <a:pt x="1566" y="4785"/>
                    </a:moveTo>
                    <a:lnTo>
                      <a:pt x="1571" y="4781"/>
                    </a:lnTo>
                    <a:lnTo>
                      <a:pt x="1566" y="4785"/>
                    </a:lnTo>
                    <a:lnTo>
                      <a:pt x="1566" y="4785"/>
                    </a:lnTo>
                    <a:lnTo>
                      <a:pt x="1566" y="4785"/>
                    </a:lnTo>
                    <a:close/>
                    <a:moveTo>
                      <a:pt x="1620" y="4802"/>
                    </a:moveTo>
                    <a:lnTo>
                      <a:pt x="1670" y="4818"/>
                    </a:lnTo>
                    <a:lnTo>
                      <a:pt x="1679" y="4854"/>
                    </a:lnTo>
                    <a:lnTo>
                      <a:pt x="1696" y="4859"/>
                    </a:lnTo>
                    <a:lnTo>
                      <a:pt x="1679" y="4875"/>
                    </a:lnTo>
                    <a:lnTo>
                      <a:pt x="1658" y="4875"/>
                    </a:lnTo>
                    <a:lnTo>
                      <a:pt x="1642" y="4892"/>
                    </a:lnTo>
                    <a:lnTo>
                      <a:pt x="1637" y="4908"/>
                    </a:lnTo>
                    <a:lnTo>
                      <a:pt x="1620" y="4892"/>
                    </a:lnTo>
                    <a:lnTo>
                      <a:pt x="1620" y="4870"/>
                    </a:lnTo>
                    <a:lnTo>
                      <a:pt x="1604" y="4842"/>
                    </a:lnTo>
                    <a:lnTo>
                      <a:pt x="1620" y="4818"/>
                    </a:lnTo>
                    <a:lnTo>
                      <a:pt x="1620" y="4814"/>
                    </a:lnTo>
                    <a:lnTo>
                      <a:pt x="1620" y="4802"/>
                    </a:lnTo>
                    <a:lnTo>
                      <a:pt x="1620" y="4802"/>
                    </a:lnTo>
                    <a:lnTo>
                      <a:pt x="1620" y="480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111" name="Gruppieren 8110">
              <a:extLst>
                <a:ext uri="{FF2B5EF4-FFF2-40B4-BE49-F238E27FC236}">
                  <a16:creationId xmlns:a16="http://schemas.microsoft.com/office/drawing/2014/main" id="{479F2D49-558B-43C2-B6E8-11D2B985313E}"/>
                </a:ext>
              </a:extLst>
            </p:cNvPr>
            <p:cNvGrpSpPr/>
            <p:nvPr/>
          </p:nvGrpSpPr>
          <p:grpSpPr bwMode="gray">
            <a:xfrm>
              <a:off x="1436669" y="980728"/>
              <a:ext cx="10478239" cy="2531642"/>
              <a:chOff x="1738441" y="692696"/>
              <a:chExt cx="10478239" cy="2531642"/>
            </a:xfrm>
            <a:grpFill/>
          </p:grpSpPr>
          <p:sp>
            <p:nvSpPr>
              <p:cNvPr id="8112" name="Freeform 534">
                <a:extLst>
                  <a:ext uri="{FF2B5EF4-FFF2-40B4-BE49-F238E27FC236}">
                    <a16:creationId xmlns:a16="http://schemas.microsoft.com/office/drawing/2014/main" id="{A80DB6B2-0590-43C8-B0D9-7759AD02848C}"/>
                  </a:ext>
                </a:extLst>
              </p:cNvPr>
              <p:cNvSpPr>
                <a:spLocks noEditPoints="1"/>
              </p:cNvSpPr>
              <p:nvPr/>
            </p:nvSpPr>
            <p:spPr bwMode="gray">
              <a:xfrm>
                <a:off x="5824678" y="2735219"/>
                <a:ext cx="723716" cy="324844"/>
              </a:xfrm>
              <a:custGeom>
                <a:avLst/>
                <a:gdLst>
                  <a:gd name="T0" fmla="*/ 1613 w 1758"/>
                  <a:gd name="T1" fmla="*/ 0 h 789"/>
                  <a:gd name="T2" fmla="*/ 1613 w 1758"/>
                  <a:gd name="T3" fmla="*/ 28 h 789"/>
                  <a:gd name="T4" fmla="*/ 1651 w 1758"/>
                  <a:gd name="T5" fmla="*/ 28 h 789"/>
                  <a:gd name="T6" fmla="*/ 1689 w 1758"/>
                  <a:gd name="T7" fmla="*/ 28 h 789"/>
                  <a:gd name="T8" fmla="*/ 1727 w 1758"/>
                  <a:gd name="T9" fmla="*/ 16 h 789"/>
                  <a:gd name="T10" fmla="*/ 1758 w 1758"/>
                  <a:gd name="T11" fmla="*/ 49 h 789"/>
                  <a:gd name="T12" fmla="*/ 1703 w 1758"/>
                  <a:gd name="T13" fmla="*/ 99 h 789"/>
                  <a:gd name="T14" fmla="*/ 1710 w 1758"/>
                  <a:gd name="T15" fmla="*/ 144 h 789"/>
                  <a:gd name="T16" fmla="*/ 1703 w 1758"/>
                  <a:gd name="T17" fmla="*/ 165 h 789"/>
                  <a:gd name="T18" fmla="*/ 1710 w 1758"/>
                  <a:gd name="T19" fmla="*/ 182 h 789"/>
                  <a:gd name="T20" fmla="*/ 1665 w 1758"/>
                  <a:gd name="T21" fmla="*/ 215 h 789"/>
                  <a:gd name="T22" fmla="*/ 1703 w 1758"/>
                  <a:gd name="T23" fmla="*/ 272 h 789"/>
                  <a:gd name="T24" fmla="*/ 1673 w 1758"/>
                  <a:gd name="T25" fmla="*/ 321 h 789"/>
                  <a:gd name="T26" fmla="*/ 1703 w 1758"/>
                  <a:gd name="T27" fmla="*/ 342 h 789"/>
                  <a:gd name="T28" fmla="*/ 1677 w 1758"/>
                  <a:gd name="T29" fmla="*/ 359 h 789"/>
                  <a:gd name="T30" fmla="*/ 1665 w 1758"/>
                  <a:gd name="T31" fmla="*/ 387 h 789"/>
                  <a:gd name="T32" fmla="*/ 1673 w 1758"/>
                  <a:gd name="T33" fmla="*/ 420 h 789"/>
                  <a:gd name="T34" fmla="*/ 1580 w 1758"/>
                  <a:gd name="T35" fmla="*/ 432 h 789"/>
                  <a:gd name="T36" fmla="*/ 1569 w 1758"/>
                  <a:gd name="T37" fmla="*/ 404 h 789"/>
                  <a:gd name="T38" fmla="*/ 1580 w 1758"/>
                  <a:gd name="T39" fmla="*/ 321 h 789"/>
                  <a:gd name="T40" fmla="*/ 1547 w 1758"/>
                  <a:gd name="T41" fmla="*/ 321 h 789"/>
                  <a:gd name="T42" fmla="*/ 1547 w 1758"/>
                  <a:gd name="T43" fmla="*/ 305 h 789"/>
                  <a:gd name="T44" fmla="*/ 1559 w 1758"/>
                  <a:gd name="T45" fmla="*/ 276 h 789"/>
                  <a:gd name="T46" fmla="*/ 1526 w 1758"/>
                  <a:gd name="T47" fmla="*/ 293 h 789"/>
                  <a:gd name="T48" fmla="*/ 1547 w 1758"/>
                  <a:gd name="T49" fmla="*/ 222 h 789"/>
                  <a:gd name="T50" fmla="*/ 1580 w 1758"/>
                  <a:gd name="T51" fmla="*/ 127 h 789"/>
                  <a:gd name="T52" fmla="*/ 1580 w 1758"/>
                  <a:gd name="T53" fmla="*/ 127 h 789"/>
                  <a:gd name="T54" fmla="*/ 1564 w 1758"/>
                  <a:gd name="T55" fmla="*/ 33 h 789"/>
                  <a:gd name="T56" fmla="*/ 1569 w 1758"/>
                  <a:gd name="T57" fmla="*/ 16 h 789"/>
                  <a:gd name="T58" fmla="*/ 0 w 1758"/>
                  <a:gd name="T59" fmla="*/ 238 h 789"/>
                  <a:gd name="T60" fmla="*/ 0 w 1758"/>
                  <a:gd name="T61" fmla="*/ 231 h 789"/>
                  <a:gd name="T62" fmla="*/ 0 w 1758"/>
                  <a:gd name="T63" fmla="*/ 238 h 789"/>
                  <a:gd name="T64" fmla="*/ 0 w 1758"/>
                  <a:gd name="T65" fmla="*/ 238 h 789"/>
                  <a:gd name="T66" fmla="*/ 269 w 1758"/>
                  <a:gd name="T67" fmla="*/ 305 h 789"/>
                  <a:gd name="T68" fmla="*/ 291 w 1758"/>
                  <a:gd name="T69" fmla="*/ 293 h 789"/>
                  <a:gd name="T70" fmla="*/ 286 w 1758"/>
                  <a:gd name="T71" fmla="*/ 305 h 789"/>
                  <a:gd name="T72" fmla="*/ 286 w 1758"/>
                  <a:gd name="T73" fmla="*/ 305 h 789"/>
                  <a:gd name="T74" fmla="*/ 194 w 1758"/>
                  <a:gd name="T75" fmla="*/ 321 h 789"/>
                  <a:gd name="T76" fmla="*/ 199 w 1758"/>
                  <a:gd name="T77" fmla="*/ 309 h 789"/>
                  <a:gd name="T78" fmla="*/ 203 w 1758"/>
                  <a:gd name="T79" fmla="*/ 326 h 789"/>
                  <a:gd name="T80" fmla="*/ 203 w 1758"/>
                  <a:gd name="T81" fmla="*/ 326 h 789"/>
                  <a:gd name="T82" fmla="*/ 383 w 1758"/>
                  <a:gd name="T83" fmla="*/ 375 h 789"/>
                  <a:gd name="T84" fmla="*/ 421 w 1758"/>
                  <a:gd name="T85" fmla="*/ 364 h 789"/>
                  <a:gd name="T86" fmla="*/ 409 w 1758"/>
                  <a:gd name="T87" fmla="*/ 380 h 789"/>
                  <a:gd name="T88" fmla="*/ 409 w 1758"/>
                  <a:gd name="T89" fmla="*/ 380 h 789"/>
                  <a:gd name="T90" fmla="*/ 421 w 1758"/>
                  <a:gd name="T91" fmla="*/ 437 h 789"/>
                  <a:gd name="T92" fmla="*/ 437 w 1758"/>
                  <a:gd name="T93" fmla="*/ 442 h 789"/>
                  <a:gd name="T94" fmla="*/ 437 w 1758"/>
                  <a:gd name="T95" fmla="*/ 442 h 789"/>
                  <a:gd name="T96" fmla="*/ 976 w 1758"/>
                  <a:gd name="T97" fmla="*/ 772 h 789"/>
                  <a:gd name="T98" fmla="*/ 1018 w 1758"/>
                  <a:gd name="T99" fmla="*/ 784 h 789"/>
                  <a:gd name="T100" fmla="*/ 1002 w 1758"/>
                  <a:gd name="T101" fmla="*/ 789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58" h="789">
                    <a:moveTo>
                      <a:pt x="1569" y="16"/>
                    </a:moveTo>
                    <a:lnTo>
                      <a:pt x="1613" y="0"/>
                    </a:lnTo>
                    <a:lnTo>
                      <a:pt x="1623" y="12"/>
                    </a:lnTo>
                    <a:lnTo>
                      <a:pt x="1613" y="28"/>
                    </a:lnTo>
                    <a:lnTo>
                      <a:pt x="1618" y="33"/>
                    </a:lnTo>
                    <a:lnTo>
                      <a:pt x="1651" y="28"/>
                    </a:lnTo>
                    <a:lnTo>
                      <a:pt x="1673" y="33"/>
                    </a:lnTo>
                    <a:lnTo>
                      <a:pt x="1689" y="28"/>
                    </a:lnTo>
                    <a:lnTo>
                      <a:pt x="1689" y="16"/>
                    </a:lnTo>
                    <a:lnTo>
                      <a:pt x="1727" y="16"/>
                    </a:lnTo>
                    <a:lnTo>
                      <a:pt x="1732" y="45"/>
                    </a:lnTo>
                    <a:lnTo>
                      <a:pt x="1758" y="49"/>
                    </a:lnTo>
                    <a:lnTo>
                      <a:pt x="1741" y="73"/>
                    </a:lnTo>
                    <a:lnTo>
                      <a:pt x="1703" y="99"/>
                    </a:lnTo>
                    <a:lnTo>
                      <a:pt x="1710" y="111"/>
                    </a:lnTo>
                    <a:lnTo>
                      <a:pt x="1710" y="144"/>
                    </a:lnTo>
                    <a:lnTo>
                      <a:pt x="1710" y="160"/>
                    </a:lnTo>
                    <a:lnTo>
                      <a:pt x="1703" y="165"/>
                    </a:lnTo>
                    <a:lnTo>
                      <a:pt x="1694" y="177"/>
                    </a:lnTo>
                    <a:lnTo>
                      <a:pt x="1710" y="182"/>
                    </a:lnTo>
                    <a:lnTo>
                      <a:pt x="1694" y="215"/>
                    </a:lnTo>
                    <a:lnTo>
                      <a:pt x="1665" y="215"/>
                    </a:lnTo>
                    <a:lnTo>
                      <a:pt x="1677" y="255"/>
                    </a:lnTo>
                    <a:lnTo>
                      <a:pt x="1703" y="272"/>
                    </a:lnTo>
                    <a:lnTo>
                      <a:pt x="1677" y="293"/>
                    </a:lnTo>
                    <a:lnTo>
                      <a:pt x="1673" y="321"/>
                    </a:lnTo>
                    <a:lnTo>
                      <a:pt x="1694" y="342"/>
                    </a:lnTo>
                    <a:lnTo>
                      <a:pt x="1703" y="342"/>
                    </a:lnTo>
                    <a:lnTo>
                      <a:pt x="1694" y="347"/>
                    </a:lnTo>
                    <a:lnTo>
                      <a:pt x="1677" y="359"/>
                    </a:lnTo>
                    <a:lnTo>
                      <a:pt x="1665" y="380"/>
                    </a:lnTo>
                    <a:lnTo>
                      <a:pt x="1665" y="387"/>
                    </a:lnTo>
                    <a:lnTo>
                      <a:pt x="1665" y="420"/>
                    </a:lnTo>
                    <a:lnTo>
                      <a:pt x="1673" y="420"/>
                    </a:lnTo>
                    <a:lnTo>
                      <a:pt x="1635" y="437"/>
                    </a:lnTo>
                    <a:lnTo>
                      <a:pt x="1580" y="432"/>
                    </a:lnTo>
                    <a:lnTo>
                      <a:pt x="1559" y="437"/>
                    </a:lnTo>
                    <a:lnTo>
                      <a:pt x="1569" y="404"/>
                    </a:lnTo>
                    <a:lnTo>
                      <a:pt x="1569" y="326"/>
                    </a:lnTo>
                    <a:lnTo>
                      <a:pt x="1580" y="321"/>
                    </a:lnTo>
                    <a:lnTo>
                      <a:pt x="1569" y="309"/>
                    </a:lnTo>
                    <a:lnTo>
                      <a:pt x="1547" y="321"/>
                    </a:lnTo>
                    <a:lnTo>
                      <a:pt x="1543" y="305"/>
                    </a:lnTo>
                    <a:lnTo>
                      <a:pt x="1547" y="305"/>
                    </a:lnTo>
                    <a:lnTo>
                      <a:pt x="1564" y="293"/>
                    </a:lnTo>
                    <a:lnTo>
                      <a:pt x="1559" y="276"/>
                    </a:lnTo>
                    <a:lnTo>
                      <a:pt x="1547" y="293"/>
                    </a:lnTo>
                    <a:lnTo>
                      <a:pt x="1526" y="293"/>
                    </a:lnTo>
                    <a:lnTo>
                      <a:pt x="1531" y="238"/>
                    </a:lnTo>
                    <a:lnTo>
                      <a:pt x="1547" y="222"/>
                    </a:lnTo>
                    <a:lnTo>
                      <a:pt x="1569" y="139"/>
                    </a:lnTo>
                    <a:lnTo>
                      <a:pt x="1580" y="127"/>
                    </a:lnTo>
                    <a:lnTo>
                      <a:pt x="1580" y="123"/>
                    </a:lnTo>
                    <a:lnTo>
                      <a:pt x="1580" y="127"/>
                    </a:lnTo>
                    <a:lnTo>
                      <a:pt x="1580" y="99"/>
                    </a:lnTo>
                    <a:lnTo>
                      <a:pt x="1564" y="33"/>
                    </a:lnTo>
                    <a:lnTo>
                      <a:pt x="1569" y="16"/>
                    </a:lnTo>
                    <a:lnTo>
                      <a:pt x="1569" y="16"/>
                    </a:lnTo>
                    <a:lnTo>
                      <a:pt x="1569" y="16"/>
                    </a:lnTo>
                    <a:close/>
                    <a:moveTo>
                      <a:pt x="0" y="238"/>
                    </a:moveTo>
                    <a:lnTo>
                      <a:pt x="0" y="238"/>
                    </a:lnTo>
                    <a:lnTo>
                      <a:pt x="0" y="231"/>
                    </a:lnTo>
                    <a:lnTo>
                      <a:pt x="5" y="231"/>
                    </a:lnTo>
                    <a:lnTo>
                      <a:pt x="0" y="238"/>
                    </a:lnTo>
                    <a:lnTo>
                      <a:pt x="0" y="238"/>
                    </a:lnTo>
                    <a:lnTo>
                      <a:pt x="0" y="238"/>
                    </a:lnTo>
                    <a:close/>
                    <a:moveTo>
                      <a:pt x="286" y="305"/>
                    </a:moveTo>
                    <a:lnTo>
                      <a:pt x="269" y="305"/>
                    </a:lnTo>
                    <a:lnTo>
                      <a:pt x="269" y="293"/>
                    </a:lnTo>
                    <a:lnTo>
                      <a:pt x="291" y="293"/>
                    </a:lnTo>
                    <a:lnTo>
                      <a:pt x="291" y="293"/>
                    </a:lnTo>
                    <a:lnTo>
                      <a:pt x="286" y="305"/>
                    </a:lnTo>
                    <a:lnTo>
                      <a:pt x="286" y="305"/>
                    </a:lnTo>
                    <a:lnTo>
                      <a:pt x="286" y="305"/>
                    </a:lnTo>
                    <a:close/>
                    <a:moveTo>
                      <a:pt x="203" y="326"/>
                    </a:moveTo>
                    <a:lnTo>
                      <a:pt x="194" y="321"/>
                    </a:lnTo>
                    <a:lnTo>
                      <a:pt x="182" y="309"/>
                    </a:lnTo>
                    <a:lnTo>
                      <a:pt x="199" y="309"/>
                    </a:lnTo>
                    <a:lnTo>
                      <a:pt x="220" y="321"/>
                    </a:lnTo>
                    <a:lnTo>
                      <a:pt x="203" y="326"/>
                    </a:lnTo>
                    <a:lnTo>
                      <a:pt x="203" y="326"/>
                    </a:lnTo>
                    <a:lnTo>
                      <a:pt x="203" y="326"/>
                    </a:lnTo>
                    <a:close/>
                    <a:moveTo>
                      <a:pt x="409" y="380"/>
                    </a:moveTo>
                    <a:lnTo>
                      <a:pt x="383" y="375"/>
                    </a:lnTo>
                    <a:lnTo>
                      <a:pt x="376" y="364"/>
                    </a:lnTo>
                    <a:lnTo>
                      <a:pt x="421" y="364"/>
                    </a:lnTo>
                    <a:lnTo>
                      <a:pt x="421" y="375"/>
                    </a:lnTo>
                    <a:lnTo>
                      <a:pt x="409" y="380"/>
                    </a:lnTo>
                    <a:lnTo>
                      <a:pt x="409" y="380"/>
                    </a:lnTo>
                    <a:lnTo>
                      <a:pt x="409" y="380"/>
                    </a:lnTo>
                    <a:close/>
                    <a:moveTo>
                      <a:pt x="437" y="442"/>
                    </a:moveTo>
                    <a:lnTo>
                      <a:pt x="421" y="437"/>
                    </a:lnTo>
                    <a:lnTo>
                      <a:pt x="430" y="437"/>
                    </a:lnTo>
                    <a:lnTo>
                      <a:pt x="437" y="442"/>
                    </a:lnTo>
                    <a:lnTo>
                      <a:pt x="437" y="442"/>
                    </a:lnTo>
                    <a:lnTo>
                      <a:pt x="437" y="442"/>
                    </a:lnTo>
                    <a:close/>
                    <a:moveTo>
                      <a:pt x="1002" y="789"/>
                    </a:moveTo>
                    <a:lnTo>
                      <a:pt x="976" y="772"/>
                    </a:lnTo>
                    <a:lnTo>
                      <a:pt x="987" y="772"/>
                    </a:lnTo>
                    <a:lnTo>
                      <a:pt x="1018" y="784"/>
                    </a:lnTo>
                    <a:lnTo>
                      <a:pt x="1002" y="789"/>
                    </a:lnTo>
                    <a:lnTo>
                      <a:pt x="1002" y="789"/>
                    </a:lnTo>
                    <a:lnTo>
                      <a:pt x="1002" y="78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8113" name="Gruppieren 8112">
                <a:extLst>
                  <a:ext uri="{FF2B5EF4-FFF2-40B4-BE49-F238E27FC236}">
                    <a16:creationId xmlns:a16="http://schemas.microsoft.com/office/drawing/2014/main" id="{7043A0C7-6737-421D-A1EF-D5C76574B973}"/>
                  </a:ext>
                </a:extLst>
              </p:cNvPr>
              <p:cNvGrpSpPr/>
              <p:nvPr/>
            </p:nvGrpSpPr>
            <p:grpSpPr bwMode="gray">
              <a:xfrm>
                <a:off x="1738441" y="692696"/>
                <a:ext cx="10478239" cy="2531642"/>
                <a:chOff x="1738441" y="692696"/>
                <a:chExt cx="10478239" cy="2531642"/>
              </a:xfrm>
              <a:grpFill/>
            </p:grpSpPr>
            <p:sp>
              <p:nvSpPr>
                <p:cNvPr id="8114" name="Freeform 557">
                  <a:extLst>
                    <a:ext uri="{FF2B5EF4-FFF2-40B4-BE49-F238E27FC236}">
                      <a16:creationId xmlns:a16="http://schemas.microsoft.com/office/drawing/2014/main" id="{64F644D0-E873-4816-882C-DE17E3941F7B}"/>
                    </a:ext>
                  </a:extLst>
                </p:cNvPr>
                <p:cNvSpPr>
                  <a:spLocks noEditPoints="1"/>
                </p:cNvSpPr>
                <p:nvPr/>
              </p:nvSpPr>
              <p:spPr bwMode="gray">
                <a:xfrm>
                  <a:off x="6202180" y="2676755"/>
                  <a:ext cx="646322" cy="547583"/>
                </a:xfrm>
                <a:custGeom>
                  <a:avLst/>
                  <a:gdLst>
                    <a:gd name="T0" fmla="*/ 793 w 1570"/>
                    <a:gd name="T1" fmla="*/ 251 h 1330"/>
                    <a:gd name="T2" fmla="*/ 815 w 1570"/>
                    <a:gd name="T3" fmla="*/ 184 h 1330"/>
                    <a:gd name="T4" fmla="*/ 756 w 1570"/>
                    <a:gd name="T5" fmla="*/ 173 h 1330"/>
                    <a:gd name="T6" fmla="*/ 708 w 1570"/>
                    <a:gd name="T7" fmla="*/ 151 h 1330"/>
                    <a:gd name="T8" fmla="*/ 647 w 1570"/>
                    <a:gd name="T9" fmla="*/ 151 h 1330"/>
                    <a:gd name="T10" fmla="*/ 654 w 1570"/>
                    <a:gd name="T11" fmla="*/ 123 h 1330"/>
                    <a:gd name="T12" fmla="*/ 642 w 1570"/>
                    <a:gd name="T13" fmla="*/ 111 h 1330"/>
                    <a:gd name="T14" fmla="*/ 633 w 1570"/>
                    <a:gd name="T15" fmla="*/ 66 h 1330"/>
                    <a:gd name="T16" fmla="*/ 663 w 1570"/>
                    <a:gd name="T17" fmla="*/ 45 h 1330"/>
                    <a:gd name="T18" fmla="*/ 722 w 1570"/>
                    <a:gd name="T19" fmla="*/ 7 h 1330"/>
                    <a:gd name="T20" fmla="*/ 777 w 1570"/>
                    <a:gd name="T21" fmla="*/ 24 h 1330"/>
                    <a:gd name="T22" fmla="*/ 869 w 1570"/>
                    <a:gd name="T23" fmla="*/ 24 h 1330"/>
                    <a:gd name="T24" fmla="*/ 1063 w 1570"/>
                    <a:gd name="T25" fmla="*/ 28 h 1330"/>
                    <a:gd name="T26" fmla="*/ 1171 w 1570"/>
                    <a:gd name="T27" fmla="*/ 62 h 1330"/>
                    <a:gd name="T28" fmla="*/ 1273 w 1570"/>
                    <a:gd name="T29" fmla="*/ 95 h 1330"/>
                    <a:gd name="T30" fmla="*/ 1372 w 1570"/>
                    <a:gd name="T31" fmla="*/ 99 h 1330"/>
                    <a:gd name="T32" fmla="*/ 1436 w 1570"/>
                    <a:gd name="T33" fmla="*/ 118 h 1330"/>
                    <a:gd name="T34" fmla="*/ 1495 w 1570"/>
                    <a:gd name="T35" fmla="*/ 123 h 1330"/>
                    <a:gd name="T36" fmla="*/ 1495 w 1570"/>
                    <a:gd name="T37" fmla="*/ 168 h 1330"/>
                    <a:gd name="T38" fmla="*/ 1318 w 1570"/>
                    <a:gd name="T39" fmla="*/ 262 h 1330"/>
                    <a:gd name="T40" fmla="*/ 1327 w 1570"/>
                    <a:gd name="T41" fmla="*/ 279 h 1330"/>
                    <a:gd name="T42" fmla="*/ 1263 w 1570"/>
                    <a:gd name="T43" fmla="*/ 411 h 1330"/>
                    <a:gd name="T44" fmla="*/ 1226 w 1570"/>
                    <a:gd name="T45" fmla="*/ 527 h 1330"/>
                    <a:gd name="T46" fmla="*/ 1112 w 1570"/>
                    <a:gd name="T47" fmla="*/ 593 h 1330"/>
                    <a:gd name="T48" fmla="*/ 949 w 1570"/>
                    <a:gd name="T49" fmla="*/ 617 h 1330"/>
                    <a:gd name="T50" fmla="*/ 881 w 1570"/>
                    <a:gd name="T51" fmla="*/ 666 h 1330"/>
                    <a:gd name="T52" fmla="*/ 826 w 1570"/>
                    <a:gd name="T53" fmla="*/ 600 h 1330"/>
                    <a:gd name="T54" fmla="*/ 751 w 1570"/>
                    <a:gd name="T55" fmla="*/ 560 h 1330"/>
                    <a:gd name="T56" fmla="*/ 777 w 1570"/>
                    <a:gd name="T57" fmla="*/ 489 h 1330"/>
                    <a:gd name="T58" fmla="*/ 760 w 1570"/>
                    <a:gd name="T59" fmla="*/ 432 h 1330"/>
                    <a:gd name="T60" fmla="*/ 777 w 1570"/>
                    <a:gd name="T61" fmla="*/ 354 h 1330"/>
                    <a:gd name="T62" fmla="*/ 789 w 1570"/>
                    <a:gd name="T63" fmla="*/ 305 h 1330"/>
                    <a:gd name="T64" fmla="*/ 1544 w 1570"/>
                    <a:gd name="T65" fmla="*/ 321 h 1330"/>
                    <a:gd name="T66" fmla="*/ 1570 w 1570"/>
                    <a:gd name="T67" fmla="*/ 350 h 1330"/>
                    <a:gd name="T68" fmla="*/ 1478 w 1570"/>
                    <a:gd name="T69" fmla="*/ 333 h 1330"/>
                    <a:gd name="T70" fmla="*/ 1495 w 1570"/>
                    <a:gd name="T71" fmla="*/ 378 h 1330"/>
                    <a:gd name="T72" fmla="*/ 1441 w 1570"/>
                    <a:gd name="T73" fmla="*/ 371 h 1330"/>
                    <a:gd name="T74" fmla="*/ 1356 w 1570"/>
                    <a:gd name="T75" fmla="*/ 416 h 1330"/>
                    <a:gd name="T76" fmla="*/ 1365 w 1570"/>
                    <a:gd name="T77" fmla="*/ 428 h 1330"/>
                    <a:gd name="T78" fmla="*/ 1372 w 1570"/>
                    <a:gd name="T79" fmla="*/ 432 h 1330"/>
                    <a:gd name="T80" fmla="*/ 1372 w 1570"/>
                    <a:gd name="T81" fmla="*/ 444 h 1330"/>
                    <a:gd name="T82" fmla="*/ 330 w 1570"/>
                    <a:gd name="T83" fmla="*/ 1202 h 1330"/>
                    <a:gd name="T84" fmla="*/ 309 w 1570"/>
                    <a:gd name="T85" fmla="*/ 1238 h 1330"/>
                    <a:gd name="T86" fmla="*/ 16 w 1570"/>
                    <a:gd name="T87" fmla="*/ 1238 h 1330"/>
                    <a:gd name="T88" fmla="*/ 21 w 1570"/>
                    <a:gd name="T89" fmla="*/ 1259 h 1330"/>
                    <a:gd name="T90" fmla="*/ 293 w 1570"/>
                    <a:gd name="T91" fmla="*/ 1243 h 1330"/>
                    <a:gd name="T92" fmla="*/ 271 w 1570"/>
                    <a:gd name="T93" fmla="*/ 1297 h 1330"/>
                    <a:gd name="T94" fmla="*/ 87 w 1570"/>
                    <a:gd name="T95" fmla="*/ 1276 h 1330"/>
                    <a:gd name="T96" fmla="*/ 125 w 1570"/>
                    <a:gd name="T97" fmla="*/ 1292 h 1330"/>
                    <a:gd name="T98" fmla="*/ 59 w 1570"/>
                    <a:gd name="T99" fmla="*/ 1297 h 1330"/>
                    <a:gd name="T100" fmla="*/ 59 w 1570"/>
                    <a:gd name="T101" fmla="*/ 1297 h 1330"/>
                    <a:gd name="T102" fmla="*/ 163 w 1570"/>
                    <a:gd name="T103" fmla="*/ 1304 h 1330"/>
                    <a:gd name="T104" fmla="*/ 196 w 1570"/>
                    <a:gd name="T105" fmla="*/ 1313 h 1330"/>
                    <a:gd name="T106" fmla="*/ 7 w 1570"/>
                    <a:gd name="T107" fmla="*/ 1330 h 1330"/>
                    <a:gd name="T108" fmla="*/ 7 w 1570"/>
                    <a:gd name="T109" fmla="*/ 133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70" h="1330">
                      <a:moveTo>
                        <a:pt x="789" y="305"/>
                      </a:moveTo>
                      <a:lnTo>
                        <a:pt x="793" y="300"/>
                      </a:lnTo>
                      <a:lnTo>
                        <a:pt x="793" y="284"/>
                      </a:lnTo>
                      <a:lnTo>
                        <a:pt x="793" y="251"/>
                      </a:lnTo>
                      <a:lnTo>
                        <a:pt x="789" y="239"/>
                      </a:lnTo>
                      <a:lnTo>
                        <a:pt x="826" y="210"/>
                      </a:lnTo>
                      <a:lnTo>
                        <a:pt x="843" y="189"/>
                      </a:lnTo>
                      <a:lnTo>
                        <a:pt x="815" y="184"/>
                      </a:lnTo>
                      <a:lnTo>
                        <a:pt x="810" y="156"/>
                      </a:lnTo>
                      <a:lnTo>
                        <a:pt x="772" y="156"/>
                      </a:lnTo>
                      <a:lnTo>
                        <a:pt x="772" y="168"/>
                      </a:lnTo>
                      <a:lnTo>
                        <a:pt x="756" y="173"/>
                      </a:lnTo>
                      <a:lnTo>
                        <a:pt x="734" y="168"/>
                      </a:lnTo>
                      <a:lnTo>
                        <a:pt x="701" y="173"/>
                      </a:lnTo>
                      <a:lnTo>
                        <a:pt x="696" y="168"/>
                      </a:lnTo>
                      <a:lnTo>
                        <a:pt x="708" y="151"/>
                      </a:lnTo>
                      <a:lnTo>
                        <a:pt x="696" y="139"/>
                      </a:lnTo>
                      <a:lnTo>
                        <a:pt x="654" y="156"/>
                      </a:lnTo>
                      <a:lnTo>
                        <a:pt x="647" y="168"/>
                      </a:lnTo>
                      <a:lnTo>
                        <a:pt x="647" y="151"/>
                      </a:lnTo>
                      <a:lnTo>
                        <a:pt x="670" y="123"/>
                      </a:lnTo>
                      <a:lnTo>
                        <a:pt x="647" y="135"/>
                      </a:lnTo>
                      <a:lnTo>
                        <a:pt x="663" y="118"/>
                      </a:lnTo>
                      <a:lnTo>
                        <a:pt x="654" y="123"/>
                      </a:lnTo>
                      <a:lnTo>
                        <a:pt x="647" y="118"/>
                      </a:lnTo>
                      <a:lnTo>
                        <a:pt x="654" y="118"/>
                      </a:lnTo>
                      <a:lnTo>
                        <a:pt x="663" y="95"/>
                      </a:lnTo>
                      <a:lnTo>
                        <a:pt x="642" y="111"/>
                      </a:lnTo>
                      <a:lnTo>
                        <a:pt x="642" y="95"/>
                      </a:lnTo>
                      <a:lnTo>
                        <a:pt x="647" y="83"/>
                      </a:lnTo>
                      <a:lnTo>
                        <a:pt x="633" y="95"/>
                      </a:lnTo>
                      <a:lnTo>
                        <a:pt x="633" y="66"/>
                      </a:lnTo>
                      <a:lnTo>
                        <a:pt x="626" y="78"/>
                      </a:lnTo>
                      <a:lnTo>
                        <a:pt x="626" y="57"/>
                      </a:lnTo>
                      <a:lnTo>
                        <a:pt x="647" y="40"/>
                      </a:lnTo>
                      <a:lnTo>
                        <a:pt x="663" y="45"/>
                      </a:lnTo>
                      <a:lnTo>
                        <a:pt x="685" y="28"/>
                      </a:lnTo>
                      <a:lnTo>
                        <a:pt x="696" y="24"/>
                      </a:lnTo>
                      <a:lnTo>
                        <a:pt x="718" y="0"/>
                      </a:lnTo>
                      <a:lnTo>
                        <a:pt x="722" y="7"/>
                      </a:lnTo>
                      <a:lnTo>
                        <a:pt x="751" y="7"/>
                      </a:lnTo>
                      <a:lnTo>
                        <a:pt x="760" y="24"/>
                      </a:lnTo>
                      <a:lnTo>
                        <a:pt x="777" y="24"/>
                      </a:lnTo>
                      <a:lnTo>
                        <a:pt x="777" y="24"/>
                      </a:lnTo>
                      <a:lnTo>
                        <a:pt x="789" y="12"/>
                      </a:lnTo>
                      <a:lnTo>
                        <a:pt x="848" y="24"/>
                      </a:lnTo>
                      <a:lnTo>
                        <a:pt x="864" y="12"/>
                      </a:lnTo>
                      <a:lnTo>
                        <a:pt x="869" y="24"/>
                      </a:lnTo>
                      <a:lnTo>
                        <a:pt x="956" y="28"/>
                      </a:lnTo>
                      <a:lnTo>
                        <a:pt x="1020" y="24"/>
                      </a:lnTo>
                      <a:lnTo>
                        <a:pt x="1048" y="40"/>
                      </a:lnTo>
                      <a:lnTo>
                        <a:pt x="1063" y="28"/>
                      </a:lnTo>
                      <a:lnTo>
                        <a:pt x="1112" y="45"/>
                      </a:lnTo>
                      <a:lnTo>
                        <a:pt x="1150" y="40"/>
                      </a:lnTo>
                      <a:lnTo>
                        <a:pt x="1171" y="45"/>
                      </a:lnTo>
                      <a:lnTo>
                        <a:pt x="1171" y="62"/>
                      </a:lnTo>
                      <a:lnTo>
                        <a:pt x="1221" y="66"/>
                      </a:lnTo>
                      <a:lnTo>
                        <a:pt x="1237" y="83"/>
                      </a:lnTo>
                      <a:lnTo>
                        <a:pt x="1247" y="83"/>
                      </a:lnTo>
                      <a:lnTo>
                        <a:pt x="1273" y="95"/>
                      </a:lnTo>
                      <a:lnTo>
                        <a:pt x="1318" y="95"/>
                      </a:lnTo>
                      <a:lnTo>
                        <a:pt x="1327" y="78"/>
                      </a:lnTo>
                      <a:lnTo>
                        <a:pt x="1365" y="95"/>
                      </a:lnTo>
                      <a:lnTo>
                        <a:pt x="1372" y="99"/>
                      </a:lnTo>
                      <a:lnTo>
                        <a:pt x="1372" y="118"/>
                      </a:lnTo>
                      <a:lnTo>
                        <a:pt x="1398" y="111"/>
                      </a:lnTo>
                      <a:lnTo>
                        <a:pt x="1410" y="123"/>
                      </a:lnTo>
                      <a:lnTo>
                        <a:pt x="1436" y="118"/>
                      </a:lnTo>
                      <a:lnTo>
                        <a:pt x="1452" y="123"/>
                      </a:lnTo>
                      <a:lnTo>
                        <a:pt x="1478" y="118"/>
                      </a:lnTo>
                      <a:lnTo>
                        <a:pt x="1495" y="118"/>
                      </a:lnTo>
                      <a:lnTo>
                        <a:pt x="1495" y="123"/>
                      </a:lnTo>
                      <a:lnTo>
                        <a:pt x="1507" y="123"/>
                      </a:lnTo>
                      <a:lnTo>
                        <a:pt x="1490" y="135"/>
                      </a:lnTo>
                      <a:lnTo>
                        <a:pt x="1495" y="151"/>
                      </a:lnTo>
                      <a:lnTo>
                        <a:pt x="1495" y="168"/>
                      </a:lnTo>
                      <a:lnTo>
                        <a:pt x="1436" y="206"/>
                      </a:lnTo>
                      <a:lnTo>
                        <a:pt x="1419" y="222"/>
                      </a:lnTo>
                      <a:lnTo>
                        <a:pt x="1344" y="239"/>
                      </a:lnTo>
                      <a:lnTo>
                        <a:pt x="1318" y="262"/>
                      </a:lnTo>
                      <a:lnTo>
                        <a:pt x="1334" y="267"/>
                      </a:lnTo>
                      <a:lnTo>
                        <a:pt x="1318" y="279"/>
                      </a:lnTo>
                      <a:lnTo>
                        <a:pt x="1318" y="279"/>
                      </a:lnTo>
                      <a:lnTo>
                        <a:pt x="1327" y="279"/>
                      </a:lnTo>
                      <a:lnTo>
                        <a:pt x="1311" y="279"/>
                      </a:lnTo>
                      <a:lnTo>
                        <a:pt x="1273" y="321"/>
                      </a:lnTo>
                      <a:lnTo>
                        <a:pt x="1247" y="371"/>
                      </a:lnTo>
                      <a:lnTo>
                        <a:pt x="1263" y="411"/>
                      </a:lnTo>
                      <a:lnTo>
                        <a:pt x="1289" y="432"/>
                      </a:lnTo>
                      <a:lnTo>
                        <a:pt x="1237" y="465"/>
                      </a:lnTo>
                      <a:lnTo>
                        <a:pt x="1209" y="522"/>
                      </a:lnTo>
                      <a:lnTo>
                        <a:pt x="1226" y="527"/>
                      </a:lnTo>
                      <a:lnTo>
                        <a:pt x="1183" y="527"/>
                      </a:lnTo>
                      <a:lnTo>
                        <a:pt x="1155" y="543"/>
                      </a:lnTo>
                      <a:lnTo>
                        <a:pt x="1129" y="600"/>
                      </a:lnTo>
                      <a:lnTo>
                        <a:pt x="1112" y="593"/>
                      </a:lnTo>
                      <a:lnTo>
                        <a:pt x="1079" y="610"/>
                      </a:lnTo>
                      <a:lnTo>
                        <a:pt x="1063" y="600"/>
                      </a:lnTo>
                      <a:lnTo>
                        <a:pt x="966" y="600"/>
                      </a:lnTo>
                      <a:lnTo>
                        <a:pt x="949" y="617"/>
                      </a:lnTo>
                      <a:lnTo>
                        <a:pt x="911" y="626"/>
                      </a:lnTo>
                      <a:lnTo>
                        <a:pt x="902" y="650"/>
                      </a:lnTo>
                      <a:lnTo>
                        <a:pt x="897" y="650"/>
                      </a:lnTo>
                      <a:lnTo>
                        <a:pt x="881" y="666"/>
                      </a:lnTo>
                      <a:lnTo>
                        <a:pt x="848" y="650"/>
                      </a:lnTo>
                      <a:lnTo>
                        <a:pt x="831" y="626"/>
                      </a:lnTo>
                      <a:lnTo>
                        <a:pt x="843" y="617"/>
                      </a:lnTo>
                      <a:lnTo>
                        <a:pt x="826" y="600"/>
                      </a:lnTo>
                      <a:lnTo>
                        <a:pt x="826" y="593"/>
                      </a:lnTo>
                      <a:lnTo>
                        <a:pt x="789" y="560"/>
                      </a:lnTo>
                      <a:lnTo>
                        <a:pt x="756" y="560"/>
                      </a:lnTo>
                      <a:lnTo>
                        <a:pt x="751" y="560"/>
                      </a:lnTo>
                      <a:lnTo>
                        <a:pt x="751" y="527"/>
                      </a:lnTo>
                      <a:lnTo>
                        <a:pt x="751" y="522"/>
                      </a:lnTo>
                      <a:lnTo>
                        <a:pt x="760" y="499"/>
                      </a:lnTo>
                      <a:lnTo>
                        <a:pt x="777" y="489"/>
                      </a:lnTo>
                      <a:lnTo>
                        <a:pt x="789" y="482"/>
                      </a:lnTo>
                      <a:lnTo>
                        <a:pt x="777" y="482"/>
                      </a:lnTo>
                      <a:lnTo>
                        <a:pt x="756" y="461"/>
                      </a:lnTo>
                      <a:lnTo>
                        <a:pt x="760" y="432"/>
                      </a:lnTo>
                      <a:lnTo>
                        <a:pt x="789" y="411"/>
                      </a:lnTo>
                      <a:lnTo>
                        <a:pt x="760" y="395"/>
                      </a:lnTo>
                      <a:lnTo>
                        <a:pt x="751" y="354"/>
                      </a:lnTo>
                      <a:lnTo>
                        <a:pt x="777" y="354"/>
                      </a:lnTo>
                      <a:lnTo>
                        <a:pt x="793" y="321"/>
                      </a:lnTo>
                      <a:lnTo>
                        <a:pt x="777" y="317"/>
                      </a:lnTo>
                      <a:lnTo>
                        <a:pt x="789" y="305"/>
                      </a:lnTo>
                      <a:lnTo>
                        <a:pt x="789" y="305"/>
                      </a:lnTo>
                      <a:lnTo>
                        <a:pt x="789" y="305"/>
                      </a:lnTo>
                      <a:close/>
                      <a:moveTo>
                        <a:pt x="1570" y="350"/>
                      </a:moveTo>
                      <a:lnTo>
                        <a:pt x="1544" y="333"/>
                      </a:lnTo>
                      <a:lnTo>
                        <a:pt x="1544" y="321"/>
                      </a:lnTo>
                      <a:lnTo>
                        <a:pt x="1566" y="321"/>
                      </a:lnTo>
                      <a:lnTo>
                        <a:pt x="1570" y="338"/>
                      </a:lnTo>
                      <a:lnTo>
                        <a:pt x="1570" y="350"/>
                      </a:lnTo>
                      <a:lnTo>
                        <a:pt x="1570" y="350"/>
                      </a:lnTo>
                      <a:lnTo>
                        <a:pt x="1570" y="350"/>
                      </a:lnTo>
                      <a:close/>
                      <a:moveTo>
                        <a:pt x="1441" y="371"/>
                      </a:moveTo>
                      <a:lnTo>
                        <a:pt x="1441" y="362"/>
                      </a:lnTo>
                      <a:lnTo>
                        <a:pt x="1478" y="333"/>
                      </a:lnTo>
                      <a:lnTo>
                        <a:pt x="1490" y="333"/>
                      </a:lnTo>
                      <a:lnTo>
                        <a:pt x="1495" y="350"/>
                      </a:lnTo>
                      <a:lnTo>
                        <a:pt x="1516" y="350"/>
                      </a:lnTo>
                      <a:lnTo>
                        <a:pt x="1495" y="378"/>
                      </a:lnTo>
                      <a:lnTo>
                        <a:pt x="1490" y="388"/>
                      </a:lnTo>
                      <a:lnTo>
                        <a:pt x="1462" y="378"/>
                      </a:lnTo>
                      <a:lnTo>
                        <a:pt x="1457" y="362"/>
                      </a:lnTo>
                      <a:lnTo>
                        <a:pt x="1441" y="371"/>
                      </a:lnTo>
                      <a:lnTo>
                        <a:pt x="1441" y="371"/>
                      </a:lnTo>
                      <a:lnTo>
                        <a:pt x="1441" y="371"/>
                      </a:lnTo>
                      <a:close/>
                      <a:moveTo>
                        <a:pt x="1365" y="428"/>
                      </a:moveTo>
                      <a:lnTo>
                        <a:pt x="1356" y="416"/>
                      </a:lnTo>
                      <a:lnTo>
                        <a:pt x="1365" y="411"/>
                      </a:lnTo>
                      <a:lnTo>
                        <a:pt x="1386" y="406"/>
                      </a:lnTo>
                      <a:lnTo>
                        <a:pt x="1386" y="411"/>
                      </a:lnTo>
                      <a:lnTo>
                        <a:pt x="1365" y="428"/>
                      </a:lnTo>
                      <a:lnTo>
                        <a:pt x="1365" y="428"/>
                      </a:lnTo>
                      <a:lnTo>
                        <a:pt x="1365" y="428"/>
                      </a:lnTo>
                      <a:close/>
                      <a:moveTo>
                        <a:pt x="1372" y="444"/>
                      </a:moveTo>
                      <a:lnTo>
                        <a:pt x="1372" y="432"/>
                      </a:lnTo>
                      <a:lnTo>
                        <a:pt x="1382" y="444"/>
                      </a:lnTo>
                      <a:lnTo>
                        <a:pt x="1372" y="444"/>
                      </a:lnTo>
                      <a:lnTo>
                        <a:pt x="1372" y="444"/>
                      </a:lnTo>
                      <a:lnTo>
                        <a:pt x="1372" y="444"/>
                      </a:lnTo>
                      <a:close/>
                      <a:moveTo>
                        <a:pt x="309" y="1238"/>
                      </a:moveTo>
                      <a:lnTo>
                        <a:pt x="302" y="1226"/>
                      </a:lnTo>
                      <a:lnTo>
                        <a:pt x="309" y="1219"/>
                      </a:lnTo>
                      <a:lnTo>
                        <a:pt x="330" y="1202"/>
                      </a:lnTo>
                      <a:lnTo>
                        <a:pt x="323" y="1226"/>
                      </a:lnTo>
                      <a:lnTo>
                        <a:pt x="309" y="1238"/>
                      </a:lnTo>
                      <a:lnTo>
                        <a:pt x="309" y="1238"/>
                      </a:lnTo>
                      <a:lnTo>
                        <a:pt x="309" y="1238"/>
                      </a:lnTo>
                      <a:close/>
                      <a:moveTo>
                        <a:pt x="21" y="1259"/>
                      </a:moveTo>
                      <a:lnTo>
                        <a:pt x="21" y="1264"/>
                      </a:lnTo>
                      <a:lnTo>
                        <a:pt x="7" y="1243"/>
                      </a:lnTo>
                      <a:lnTo>
                        <a:pt x="16" y="1238"/>
                      </a:lnTo>
                      <a:lnTo>
                        <a:pt x="33" y="1243"/>
                      </a:lnTo>
                      <a:lnTo>
                        <a:pt x="21" y="1259"/>
                      </a:lnTo>
                      <a:lnTo>
                        <a:pt x="21" y="1259"/>
                      </a:lnTo>
                      <a:lnTo>
                        <a:pt x="21" y="1259"/>
                      </a:lnTo>
                      <a:close/>
                      <a:moveTo>
                        <a:pt x="271" y="1297"/>
                      </a:moveTo>
                      <a:lnTo>
                        <a:pt x="264" y="1297"/>
                      </a:lnTo>
                      <a:lnTo>
                        <a:pt x="276" y="1280"/>
                      </a:lnTo>
                      <a:lnTo>
                        <a:pt x="293" y="1243"/>
                      </a:lnTo>
                      <a:lnTo>
                        <a:pt x="302" y="1243"/>
                      </a:lnTo>
                      <a:lnTo>
                        <a:pt x="302" y="1259"/>
                      </a:lnTo>
                      <a:lnTo>
                        <a:pt x="293" y="1280"/>
                      </a:lnTo>
                      <a:lnTo>
                        <a:pt x="271" y="1297"/>
                      </a:lnTo>
                      <a:lnTo>
                        <a:pt x="271" y="1297"/>
                      </a:lnTo>
                      <a:lnTo>
                        <a:pt x="271" y="1297"/>
                      </a:lnTo>
                      <a:close/>
                      <a:moveTo>
                        <a:pt x="104" y="1297"/>
                      </a:moveTo>
                      <a:lnTo>
                        <a:pt x="87" y="1276"/>
                      </a:lnTo>
                      <a:lnTo>
                        <a:pt x="108" y="1264"/>
                      </a:lnTo>
                      <a:lnTo>
                        <a:pt x="125" y="1259"/>
                      </a:lnTo>
                      <a:lnTo>
                        <a:pt x="141" y="1259"/>
                      </a:lnTo>
                      <a:lnTo>
                        <a:pt x="125" y="1292"/>
                      </a:lnTo>
                      <a:lnTo>
                        <a:pt x="104" y="1297"/>
                      </a:lnTo>
                      <a:lnTo>
                        <a:pt x="104" y="1297"/>
                      </a:lnTo>
                      <a:lnTo>
                        <a:pt x="104" y="1297"/>
                      </a:lnTo>
                      <a:close/>
                      <a:moveTo>
                        <a:pt x="59" y="1297"/>
                      </a:moveTo>
                      <a:lnTo>
                        <a:pt x="54" y="1292"/>
                      </a:lnTo>
                      <a:lnTo>
                        <a:pt x="59" y="1280"/>
                      </a:lnTo>
                      <a:lnTo>
                        <a:pt x="75" y="1292"/>
                      </a:lnTo>
                      <a:lnTo>
                        <a:pt x="59" y="1297"/>
                      </a:lnTo>
                      <a:lnTo>
                        <a:pt x="59" y="1297"/>
                      </a:lnTo>
                      <a:lnTo>
                        <a:pt x="59" y="1297"/>
                      </a:lnTo>
                      <a:close/>
                      <a:moveTo>
                        <a:pt x="179" y="1321"/>
                      </a:moveTo>
                      <a:lnTo>
                        <a:pt x="163" y="1304"/>
                      </a:lnTo>
                      <a:lnTo>
                        <a:pt x="167" y="1292"/>
                      </a:lnTo>
                      <a:lnTo>
                        <a:pt x="196" y="1292"/>
                      </a:lnTo>
                      <a:lnTo>
                        <a:pt x="196" y="1297"/>
                      </a:lnTo>
                      <a:lnTo>
                        <a:pt x="196" y="1313"/>
                      </a:lnTo>
                      <a:lnTo>
                        <a:pt x="179" y="1321"/>
                      </a:lnTo>
                      <a:lnTo>
                        <a:pt x="179" y="1321"/>
                      </a:lnTo>
                      <a:lnTo>
                        <a:pt x="179" y="1321"/>
                      </a:lnTo>
                      <a:close/>
                      <a:moveTo>
                        <a:pt x="7" y="1330"/>
                      </a:moveTo>
                      <a:lnTo>
                        <a:pt x="0" y="1321"/>
                      </a:lnTo>
                      <a:lnTo>
                        <a:pt x="16" y="1313"/>
                      </a:lnTo>
                      <a:lnTo>
                        <a:pt x="7" y="1330"/>
                      </a:lnTo>
                      <a:lnTo>
                        <a:pt x="7" y="1330"/>
                      </a:lnTo>
                      <a:lnTo>
                        <a:pt x="7" y="133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8115" name="Gruppieren 8114">
                  <a:extLst>
                    <a:ext uri="{FF2B5EF4-FFF2-40B4-BE49-F238E27FC236}">
                      <a16:creationId xmlns:a16="http://schemas.microsoft.com/office/drawing/2014/main" id="{79D6344C-BF9A-4D81-BB14-5B43194932DD}"/>
                    </a:ext>
                  </a:extLst>
                </p:cNvPr>
                <p:cNvGrpSpPr/>
                <p:nvPr/>
              </p:nvGrpSpPr>
              <p:grpSpPr bwMode="gray">
                <a:xfrm>
                  <a:off x="1738441" y="692696"/>
                  <a:ext cx="10478239" cy="2293259"/>
                  <a:chOff x="1738441" y="692696"/>
                  <a:chExt cx="10478239" cy="2293259"/>
                </a:xfrm>
                <a:grpFill/>
              </p:grpSpPr>
              <p:sp>
                <p:nvSpPr>
                  <p:cNvPr id="8116" name="Freeform 473">
                    <a:extLst>
                      <a:ext uri="{FF2B5EF4-FFF2-40B4-BE49-F238E27FC236}">
                        <a16:creationId xmlns:a16="http://schemas.microsoft.com/office/drawing/2014/main" id="{AE04F2E5-6957-4578-AA33-987D8817042A}"/>
                      </a:ext>
                    </a:extLst>
                  </p:cNvPr>
                  <p:cNvSpPr>
                    <a:spLocks noEditPoints="1"/>
                  </p:cNvSpPr>
                  <p:nvPr/>
                </p:nvSpPr>
                <p:spPr bwMode="gray">
                  <a:xfrm>
                    <a:off x="6915603" y="2557357"/>
                    <a:ext cx="344568" cy="370544"/>
                  </a:xfrm>
                  <a:custGeom>
                    <a:avLst/>
                    <a:gdLst>
                      <a:gd name="T0" fmla="*/ 81 w 837"/>
                      <a:gd name="T1" fmla="*/ 259 h 900"/>
                      <a:gd name="T2" fmla="*/ 34 w 837"/>
                      <a:gd name="T3" fmla="*/ 193 h 900"/>
                      <a:gd name="T4" fmla="*/ 43 w 837"/>
                      <a:gd name="T5" fmla="*/ 148 h 900"/>
                      <a:gd name="T6" fmla="*/ 81 w 837"/>
                      <a:gd name="T7" fmla="*/ 99 h 900"/>
                      <a:gd name="T8" fmla="*/ 135 w 837"/>
                      <a:gd name="T9" fmla="*/ 54 h 900"/>
                      <a:gd name="T10" fmla="*/ 173 w 837"/>
                      <a:gd name="T11" fmla="*/ 111 h 900"/>
                      <a:gd name="T12" fmla="*/ 189 w 837"/>
                      <a:gd name="T13" fmla="*/ 54 h 900"/>
                      <a:gd name="T14" fmla="*/ 248 w 837"/>
                      <a:gd name="T15" fmla="*/ 75 h 900"/>
                      <a:gd name="T16" fmla="*/ 260 w 837"/>
                      <a:gd name="T17" fmla="*/ 37 h 900"/>
                      <a:gd name="T18" fmla="*/ 324 w 837"/>
                      <a:gd name="T19" fmla="*/ 4 h 900"/>
                      <a:gd name="T20" fmla="*/ 411 w 837"/>
                      <a:gd name="T21" fmla="*/ 26 h 900"/>
                      <a:gd name="T22" fmla="*/ 497 w 837"/>
                      <a:gd name="T23" fmla="*/ 75 h 900"/>
                      <a:gd name="T24" fmla="*/ 520 w 837"/>
                      <a:gd name="T25" fmla="*/ 127 h 900"/>
                      <a:gd name="T26" fmla="*/ 482 w 837"/>
                      <a:gd name="T27" fmla="*/ 127 h 900"/>
                      <a:gd name="T28" fmla="*/ 459 w 837"/>
                      <a:gd name="T29" fmla="*/ 127 h 900"/>
                      <a:gd name="T30" fmla="*/ 395 w 837"/>
                      <a:gd name="T31" fmla="*/ 165 h 900"/>
                      <a:gd name="T32" fmla="*/ 411 w 837"/>
                      <a:gd name="T33" fmla="*/ 203 h 900"/>
                      <a:gd name="T34" fmla="*/ 428 w 837"/>
                      <a:gd name="T35" fmla="*/ 276 h 900"/>
                      <a:gd name="T36" fmla="*/ 605 w 837"/>
                      <a:gd name="T37" fmla="*/ 458 h 900"/>
                      <a:gd name="T38" fmla="*/ 660 w 837"/>
                      <a:gd name="T39" fmla="*/ 496 h 900"/>
                      <a:gd name="T40" fmla="*/ 806 w 837"/>
                      <a:gd name="T41" fmla="*/ 623 h 900"/>
                      <a:gd name="T42" fmla="*/ 730 w 837"/>
                      <a:gd name="T43" fmla="*/ 585 h 900"/>
                      <a:gd name="T44" fmla="*/ 747 w 837"/>
                      <a:gd name="T45" fmla="*/ 668 h 900"/>
                      <a:gd name="T46" fmla="*/ 702 w 837"/>
                      <a:gd name="T47" fmla="*/ 751 h 900"/>
                      <a:gd name="T48" fmla="*/ 638 w 837"/>
                      <a:gd name="T49" fmla="*/ 789 h 900"/>
                      <a:gd name="T50" fmla="*/ 648 w 837"/>
                      <a:gd name="T51" fmla="*/ 734 h 900"/>
                      <a:gd name="T52" fmla="*/ 664 w 837"/>
                      <a:gd name="T53" fmla="*/ 668 h 900"/>
                      <a:gd name="T54" fmla="*/ 589 w 837"/>
                      <a:gd name="T55" fmla="*/ 595 h 900"/>
                      <a:gd name="T56" fmla="*/ 551 w 837"/>
                      <a:gd name="T57" fmla="*/ 552 h 900"/>
                      <a:gd name="T58" fmla="*/ 449 w 837"/>
                      <a:gd name="T59" fmla="*/ 512 h 900"/>
                      <a:gd name="T60" fmla="*/ 374 w 837"/>
                      <a:gd name="T61" fmla="*/ 441 h 900"/>
                      <a:gd name="T62" fmla="*/ 319 w 837"/>
                      <a:gd name="T63" fmla="*/ 404 h 900"/>
                      <a:gd name="T64" fmla="*/ 260 w 837"/>
                      <a:gd name="T65" fmla="*/ 292 h 900"/>
                      <a:gd name="T66" fmla="*/ 135 w 837"/>
                      <a:gd name="T67" fmla="*/ 248 h 900"/>
                      <a:gd name="T68" fmla="*/ 67 w 837"/>
                      <a:gd name="T69" fmla="*/ 292 h 900"/>
                      <a:gd name="T70" fmla="*/ 411 w 837"/>
                      <a:gd name="T71" fmla="*/ 276 h 900"/>
                      <a:gd name="T72" fmla="*/ 248 w 837"/>
                      <a:gd name="T73" fmla="*/ 375 h 900"/>
                      <a:gd name="T74" fmla="*/ 270 w 837"/>
                      <a:gd name="T75" fmla="*/ 387 h 900"/>
                      <a:gd name="T76" fmla="*/ 142 w 837"/>
                      <a:gd name="T77" fmla="*/ 541 h 900"/>
                      <a:gd name="T78" fmla="*/ 206 w 837"/>
                      <a:gd name="T79" fmla="*/ 541 h 900"/>
                      <a:gd name="T80" fmla="*/ 218 w 837"/>
                      <a:gd name="T81" fmla="*/ 611 h 900"/>
                      <a:gd name="T82" fmla="*/ 163 w 837"/>
                      <a:gd name="T83" fmla="*/ 706 h 900"/>
                      <a:gd name="T84" fmla="*/ 126 w 837"/>
                      <a:gd name="T85" fmla="*/ 696 h 900"/>
                      <a:gd name="T86" fmla="*/ 135 w 837"/>
                      <a:gd name="T87" fmla="*/ 640 h 900"/>
                      <a:gd name="T88" fmla="*/ 119 w 837"/>
                      <a:gd name="T89" fmla="*/ 569 h 900"/>
                      <a:gd name="T90" fmla="*/ 109 w 837"/>
                      <a:gd name="T91" fmla="*/ 569 h 900"/>
                      <a:gd name="T92" fmla="*/ 513 w 837"/>
                      <a:gd name="T93" fmla="*/ 557 h 900"/>
                      <a:gd name="T94" fmla="*/ 119 w 837"/>
                      <a:gd name="T95" fmla="*/ 685 h 900"/>
                      <a:gd name="T96" fmla="*/ 119 w 837"/>
                      <a:gd name="T97" fmla="*/ 696 h 900"/>
                      <a:gd name="T98" fmla="*/ 445 w 837"/>
                      <a:gd name="T99" fmla="*/ 779 h 900"/>
                      <a:gd name="T100" fmla="*/ 482 w 837"/>
                      <a:gd name="T101" fmla="*/ 779 h 900"/>
                      <a:gd name="T102" fmla="*/ 596 w 837"/>
                      <a:gd name="T103" fmla="*/ 772 h 900"/>
                      <a:gd name="T104" fmla="*/ 596 w 837"/>
                      <a:gd name="T105" fmla="*/ 829 h 900"/>
                      <a:gd name="T106" fmla="*/ 558 w 837"/>
                      <a:gd name="T107" fmla="*/ 890 h 900"/>
                      <a:gd name="T108" fmla="*/ 428 w 837"/>
                      <a:gd name="T109" fmla="*/ 817 h 900"/>
                      <a:gd name="T110" fmla="*/ 378 w 837"/>
                      <a:gd name="T111" fmla="*/ 890 h 900"/>
                      <a:gd name="T112" fmla="*/ 378 w 837"/>
                      <a:gd name="T113" fmla="*/ 89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7" h="900">
                        <a:moveTo>
                          <a:pt x="67" y="292"/>
                        </a:moveTo>
                        <a:lnTo>
                          <a:pt x="67" y="281"/>
                        </a:lnTo>
                        <a:lnTo>
                          <a:pt x="81" y="264"/>
                        </a:lnTo>
                        <a:lnTo>
                          <a:pt x="81" y="259"/>
                        </a:lnTo>
                        <a:lnTo>
                          <a:pt x="55" y="259"/>
                        </a:lnTo>
                        <a:lnTo>
                          <a:pt x="29" y="248"/>
                        </a:lnTo>
                        <a:lnTo>
                          <a:pt x="17" y="226"/>
                        </a:lnTo>
                        <a:lnTo>
                          <a:pt x="34" y="193"/>
                        </a:lnTo>
                        <a:lnTo>
                          <a:pt x="12" y="193"/>
                        </a:lnTo>
                        <a:lnTo>
                          <a:pt x="0" y="170"/>
                        </a:lnTo>
                        <a:lnTo>
                          <a:pt x="43" y="165"/>
                        </a:lnTo>
                        <a:lnTo>
                          <a:pt x="43" y="148"/>
                        </a:lnTo>
                        <a:lnTo>
                          <a:pt x="17" y="115"/>
                        </a:lnTo>
                        <a:lnTo>
                          <a:pt x="34" y="99"/>
                        </a:lnTo>
                        <a:lnTo>
                          <a:pt x="43" y="111"/>
                        </a:lnTo>
                        <a:lnTo>
                          <a:pt x="81" y="99"/>
                        </a:lnTo>
                        <a:lnTo>
                          <a:pt x="88" y="99"/>
                        </a:lnTo>
                        <a:lnTo>
                          <a:pt x="109" y="82"/>
                        </a:lnTo>
                        <a:lnTo>
                          <a:pt x="119" y="54"/>
                        </a:lnTo>
                        <a:lnTo>
                          <a:pt x="135" y="54"/>
                        </a:lnTo>
                        <a:lnTo>
                          <a:pt x="135" y="75"/>
                        </a:lnTo>
                        <a:lnTo>
                          <a:pt x="156" y="82"/>
                        </a:lnTo>
                        <a:lnTo>
                          <a:pt x="156" y="92"/>
                        </a:lnTo>
                        <a:lnTo>
                          <a:pt x="173" y="111"/>
                        </a:lnTo>
                        <a:lnTo>
                          <a:pt x="180" y="99"/>
                        </a:lnTo>
                        <a:lnTo>
                          <a:pt x="173" y="99"/>
                        </a:lnTo>
                        <a:lnTo>
                          <a:pt x="189" y="70"/>
                        </a:lnTo>
                        <a:lnTo>
                          <a:pt x="189" y="54"/>
                        </a:lnTo>
                        <a:lnTo>
                          <a:pt x="206" y="54"/>
                        </a:lnTo>
                        <a:lnTo>
                          <a:pt x="211" y="70"/>
                        </a:lnTo>
                        <a:lnTo>
                          <a:pt x="232" y="59"/>
                        </a:lnTo>
                        <a:lnTo>
                          <a:pt x="248" y="75"/>
                        </a:lnTo>
                        <a:lnTo>
                          <a:pt x="248" y="59"/>
                        </a:lnTo>
                        <a:lnTo>
                          <a:pt x="244" y="54"/>
                        </a:lnTo>
                        <a:lnTo>
                          <a:pt x="244" y="42"/>
                        </a:lnTo>
                        <a:lnTo>
                          <a:pt x="260" y="37"/>
                        </a:lnTo>
                        <a:lnTo>
                          <a:pt x="270" y="42"/>
                        </a:lnTo>
                        <a:lnTo>
                          <a:pt x="270" y="16"/>
                        </a:lnTo>
                        <a:lnTo>
                          <a:pt x="315" y="26"/>
                        </a:lnTo>
                        <a:lnTo>
                          <a:pt x="324" y="4"/>
                        </a:lnTo>
                        <a:lnTo>
                          <a:pt x="369" y="4"/>
                        </a:lnTo>
                        <a:lnTo>
                          <a:pt x="395" y="0"/>
                        </a:lnTo>
                        <a:lnTo>
                          <a:pt x="395" y="16"/>
                        </a:lnTo>
                        <a:lnTo>
                          <a:pt x="411" y="26"/>
                        </a:lnTo>
                        <a:lnTo>
                          <a:pt x="504" y="42"/>
                        </a:lnTo>
                        <a:lnTo>
                          <a:pt x="482" y="70"/>
                        </a:lnTo>
                        <a:lnTo>
                          <a:pt x="482" y="75"/>
                        </a:lnTo>
                        <a:lnTo>
                          <a:pt x="497" y="75"/>
                        </a:lnTo>
                        <a:lnTo>
                          <a:pt x="487" y="92"/>
                        </a:lnTo>
                        <a:lnTo>
                          <a:pt x="497" y="92"/>
                        </a:lnTo>
                        <a:lnTo>
                          <a:pt x="497" y="111"/>
                        </a:lnTo>
                        <a:lnTo>
                          <a:pt x="520" y="127"/>
                        </a:lnTo>
                        <a:lnTo>
                          <a:pt x="504" y="132"/>
                        </a:lnTo>
                        <a:lnTo>
                          <a:pt x="504" y="132"/>
                        </a:lnTo>
                        <a:lnTo>
                          <a:pt x="497" y="115"/>
                        </a:lnTo>
                        <a:lnTo>
                          <a:pt x="482" y="127"/>
                        </a:lnTo>
                        <a:lnTo>
                          <a:pt x="482" y="115"/>
                        </a:lnTo>
                        <a:lnTo>
                          <a:pt x="466" y="115"/>
                        </a:lnTo>
                        <a:lnTo>
                          <a:pt x="459" y="127"/>
                        </a:lnTo>
                        <a:lnTo>
                          <a:pt x="459" y="127"/>
                        </a:lnTo>
                        <a:lnTo>
                          <a:pt x="411" y="148"/>
                        </a:lnTo>
                        <a:lnTo>
                          <a:pt x="421" y="132"/>
                        </a:lnTo>
                        <a:lnTo>
                          <a:pt x="407" y="137"/>
                        </a:lnTo>
                        <a:lnTo>
                          <a:pt x="395" y="165"/>
                        </a:lnTo>
                        <a:lnTo>
                          <a:pt x="421" y="186"/>
                        </a:lnTo>
                        <a:lnTo>
                          <a:pt x="411" y="203"/>
                        </a:lnTo>
                        <a:lnTo>
                          <a:pt x="411" y="193"/>
                        </a:lnTo>
                        <a:lnTo>
                          <a:pt x="411" y="203"/>
                        </a:lnTo>
                        <a:lnTo>
                          <a:pt x="407" y="193"/>
                        </a:lnTo>
                        <a:lnTo>
                          <a:pt x="395" y="210"/>
                        </a:lnTo>
                        <a:lnTo>
                          <a:pt x="407" y="248"/>
                        </a:lnTo>
                        <a:lnTo>
                          <a:pt x="428" y="276"/>
                        </a:lnTo>
                        <a:lnTo>
                          <a:pt x="497" y="314"/>
                        </a:lnTo>
                        <a:lnTo>
                          <a:pt x="520" y="392"/>
                        </a:lnTo>
                        <a:lnTo>
                          <a:pt x="572" y="441"/>
                        </a:lnTo>
                        <a:lnTo>
                          <a:pt x="605" y="458"/>
                        </a:lnTo>
                        <a:lnTo>
                          <a:pt x="676" y="458"/>
                        </a:lnTo>
                        <a:lnTo>
                          <a:pt x="676" y="463"/>
                        </a:lnTo>
                        <a:lnTo>
                          <a:pt x="660" y="479"/>
                        </a:lnTo>
                        <a:lnTo>
                          <a:pt x="660" y="496"/>
                        </a:lnTo>
                        <a:lnTo>
                          <a:pt x="806" y="569"/>
                        </a:lnTo>
                        <a:lnTo>
                          <a:pt x="837" y="607"/>
                        </a:lnTo>
                        <a:lnTo>
                          <a:pt x="827" y="640"/>
                        </a:lnTo>
                        <a:lnTo>
                          <a:pt x="806" y="623"/>
                        </a:lnTo>
                        <a:lnTo>
                          <a:pt x="789" y="590"/>
                        </a:lnTo>
                        <a:lnTo>
                          <a:pt x="747" y="585"/>
                        </a:lnTo>
                        <a:lnTo>
                          <a:pt x="752" y="574"/>
                        </a:lnTo>
                        <a:lnTo>
                          <a:pt x="730" y="585"/>
                        </a:lnTo>
                        <a:lnTo>
                          <a:pt x="702" y="611"/>
                        </a:lnTo>
                        <a:lnTo>
                          <a:pt x="697" y="640"/>
                        </a:lnTo>
                        <a:lnTo>
                          <a:pt x="697" y="647"/>
                        </a:lnTo>
                        <a:lnTo>
                          <a:pt x="747" y="668"/>
                        </a:lnTo>
                        <a:lnTo>
                          <a:pt x="747" y="701"/>
                        </a:lnTo>
                        <a:lnTo>
                          <a:pt x="702" y="718"/>
                        </a:lnTo>
                        <a:lnTo>
                          <a:pt x="697" y="722"/>
                        </a:lnTo>
                        <a:lnTo>
                          <a:pt x="702" y="751"/>
                        </a:lnTo>
                        <a:lnTo>
                          <a:pt x="676" y="772"/>
                        </a:lnTo>
                        <a:lnTo>
                          <a:pt x="664" y="789"/>
                        </a:lnTo>
                        <a:lnTo>
                          <a:pt x="643" y="796"/>
                        </a:lnTo>
                        <a:lnTo>
                          <a:pt x="638" y="789"/>
                        </a:lnTo>
                        <a:lnTo>
                          <a:pt x="638" y="763"/>
                        </a:lnTo>
                        <a:lnTo>
                          <a:pt x="648" y="763"/>
                        </a:lnTo>
                        <a:lnTo>
                          <a:pt x="660" y="739"/>
                        </a:lnTo>
                        <a:lnTo>
                          <a:pt x="648" y="734"/>
                        </a:lnTo>
                        <a:lnTo>
                          <a:pt x="676" y="722"/>
                        </a:lnTo>
                        <a:lnTo>
                          <a:pt x="676" y="706"/>
                        </a:lnTo>
                        <a:lnTo>
                          <a:pt x="664" y="701"/>
                        </a:lnTo>
                        <a:lnTo>
                          <a:pt x="664" y="668"/>
                        </a:lnTo>
                        <a:lnTo>
                          <a:pt x="638" y="611"/>
                        </a:lnTo>
                        <a:lnTo>
                          <a:pt x="626" y="611"/>
                        </a:lnTo>
                        <a:lnTo>
                          <a:pt x="622" y="611"/>
                        </a:lnTo>
                        <a:lnTo>
                          <a:pt x="589" y="595"/>
                        </a:lnTo>
                        <a:lnTo>
                          <a:pt x="589" y="585"/>
                        </a:lnTo>
                        <a:lnTo>
                          <a:pt x="572" y="557"/>
                        </a:lnTo>
                        <a:lnTo>
                          <a:pt x="541" y="569"/>
                        </a:lnTo>
                        <a:lnTo>
                          <a:pt x="551" y="552"/>
                        </a:lnTo>
                        <a:lnTo>
                          <a:pt x="541" y="541"/>
                        </a:lnTo>
                        <a:lnTo>
                          <a:pt x="530" y="552"/>
                        </a:lnTo>
                        <a:lnTo>
                          <a:pt x="504" y="512"/>
                        </a:lnTo>
                        <a:lnTo>
                          <a:pt x="449" y="512"/>
                        </a:lnTo>
                        <a:lnTo>
                          <a:pt x="445" y="496"/>
                        </a:lnTo>
                        <a:lnTo>
                          <a:pt x="421" y="486"/>
                        </a:lnTo>
                        <a:lnTo>
                          <a:pt x="390" y="458"/>
                        </a:lnTo>
                        <a:lnTo>
                          <a:pt x="374" y="441"/>
                        </a:lnTo>
                        <a:lnTo>
                          <a:pt x="357" y="425"/>
                        </a:lnTo>
                        <a:lnTo>
                          <a:pt x="336" y="408"/>
                        </a:lnTo>
                        <a:lnTo>
                          <a:pt x="319" y="413"/>
                        </a:lnTo>
                        <a:lnTo>
                          <a:pt x="319" y="404"/>
                        </a:lnTo>
                        <a:lnTo>
                          <a:pt x="282" y="352"/>
                        </a:lnTo>
                        <a:lnTo>
                          <a:pt x="282" y="335"/>
                        </a:lnTo>
                        <a:lnTo>
                          <a:pt x="265" y="318"/>
                        </a:lnTo>
                        <a:lnTo>
                          <a:pt x="260" y="292"/>
                        </a:lnTo>
                        <a:lnTo>
                          <a:pt x="248" y="276"/>
                        </a:lnTo>
                        <a:lnTo>
                          <a:pt x="189" y="243"/>
                        </a:lnTo>
                        <a:lnTo>
                          <a:pt x="156" y="236"/>
                        </a:lnTo>
                        <a:lnTo>
                          <a:pt x="135" y="248"/>
                        </a:lnTo>
                        <a:lnTo>
                          <a:pt x="104" y="281"/>
                        </a:lnTo>
                        <a:lnTo>
                          <a:pt x="67" y="292"/>
                        </a:lnTo>
                        <a:lnTo>
                          <a:pt x="67" y="292"/>
                        </a:lnTo>
                        <a:lnTo>
                          <a:pt x="67" y="292"/>
                        </a:lnTo>
                        <a:close/>
                        <a:moveTo>
                          <a:pt x="411" y="276"/>
                        </a:moveTo>
                        <a:lnTo>
                          <a:pt x="411" y="281"/>
                        </a:lnTo>
                        <a:lnTo>
                          <a:pt x="421" y="276"/>
                        </a:lnTo>
                        <a:lnTo>
                          <a:pt x="411" y="276"/>
                        </a:lnTo>
                        <a:lnTo>
                          <a:pt x="411" y="276"/>
                        </a:lnTo>
                        <a:lnTo>
                          <a:pt x="411" y="276"/>
                        </a:lnTo>
                        <a:close/>
                        <a:moveTo>
                          <a:pt x="270" y="387"/>
                        </a:moveTo>
                        <a:lnTo>
                          <a:pt x="248" y="375"/>
                        </a:lnTo>
                        <a:lnTo>
                          <a:pt x="270" y="370"/>
                        </a:lnTo>
                        <a:lnTo>
                          <a:pt x="270" y="387"/>
                        </a:lnTo>
                        <a:lnTo>
                          <a:pt x="270" y="387"/>
                        </a:lnTo>
                        <a:lnTo>
                          <a:pt x="270" y="387"/>
                        </a:lnTo>
                        <a:close/>
                        <a:moveTo>
                          <a:pt x="109" y="569"/>
                        </a:moveTo>
                        <a:lnTo>
                          <a:pt x="119" y="536"/>
                        </a:lnTo>
                        <a:lnTo>
                          <a:pt x="126" y="541"/>
                        </a:lnTo>
                        <a:lnTo>
                          <a:pt x="142" y="541"/>
                        </a:lnTo>
                        <a:lnTo>
                          <a:pt x="189" y="512"/>
                        </a:lnTo>
                        <a:lnTo>
                          <a:pt x="211" y="519"/>
                        </a:lnTo>
                        <a:lnTo>
                          <a:pt x="218" y="536"/>
                        </a:lnTo>
                        <a:lnTo>
                          <a:pt x="206" y="541"/>
                        </a:lnTo>
                        <a:lnTo>
                          <a:pt x="211" y="541"/>
                        </a:lnTo>
                        <a:lnTo>
                          <a:pt x="227" y="574"/>
                        </a:lnTo>
                        <a:lnTo>
                          <a:pt x="211" y="595"/>
                        </a:lnTo>
                        <a:lnTo>
                          <a:pt x="218" y="611"/>
                        </a:lnTo>
                        <a:lnTo>
                          <a:pt x="211" y="696"/>
                        </a:lnTo>
                        <a:lnTo>
                          <a:pt x="173" y="680"/>
                        </a:lnTo>
                        <a:lnTo>
                          <a:pt x="173" y="701"/>
                        </a:lnTo>
                        <a:lnTo>
                          <a:pt x="163" y="706"/>
                        </a:lnTo>
                        <a:lnTo>
                          <a:pt x="152" y="706"/>
                        </a:lnTo>
                        <a:lnTo>
                          <a:pt x="135" y="696"/>
                        </a:lnTo>
                        <a:lnTo>
                          <a:pt x="126" y="706"/>
                        </a:lnTo>
                        <a:lnTo>
                          <a:pt x="126" y="696"/>
                        </a:lnTo>
                        <a:lnTo>
                          <a:pt x="135" y="696"/>
                        </a:lnTo>
                        <a:lnTo>
                          <a:pt x="126" y="668"/>
                        </a:lnTo>
                        <a:lnTo>
                          <a:pt x="135" y="640"/>
                        </a:lnTo>
                        <a:lnTo>
                          <a:pt x="135" y="640"/>
                        </a:lnTo>
                        <a:lnTo>
                          <a:pt x="142" y="630"/>
                        </a:lnTo>
                        <a:lnTo>
                          <a:pt x="126" y="630"/>
                        </a:lnTo>
                        <a:lnTo>
                          <a:pt x="135" y="590"/>
                        </a:lnTo>
                        <a:lnTo>
                          <a:pt x="119" y="569"/>
                        </a:lnTo>
                        <a:lnTo>
                          <a:pt x="109" y="569"/>
                        </a:lnTo>
                        <a:lnTo>
                          <a:pt x="109" y="569"/>
                        </a:lnTo>
                        <a:lnTo>
                          <a:pt x="109" y="569"/>
                        </a:lnTo>
                        <a:lnTo>
                          <a:pt x="109" y="569"/>
                        </a:lnTo>
                        <a:close/>
                        <a:moveTo>
                          <a:pt x="513" y="557"/>
                        </a:moveTo>
                        <a:lnTo>
                          <a:pt x="513" y="552"/>
                        </a:lnTo>
                        <a:lnTo>
                          <a:pt x="520" y="557"/>
                        </a:lnTo>
                        <a:lnTo>
                          <a:pt x="513" y="557"/>
                        </a:lnTo>
                        <a:lnTo>
                          <a:pt x="513" y="557"/>
                        </a:lnTo>
                        <a:lnTo>
                          <a:pt x="513" y="557"/>
                        </a:lnTo>
                        <a:close/>
                        <a:moveTo>
                          <a:pt x="119" y="696"/>
                        </a:moveTo>
                        <a:lnTo>
                          <a:pt x="119" y="685"/>
                        </a:lnTo>
                        <a:lnTo>
                          <a:pt x="119" y="685"/>
                        </a:lnTo>
                        <a:lnTo>
                          <a:pt x="119" y="696"/>
                        </a:lnTo>
                        <a:lnTo>
                          <a:pt x="119" y="696"/>
                        </a:lnTo>
                        <a:lnTo>
                          <a:pt x="119" y="696"/>
                        </a:lnTo>
                        <a:close/>
                        <a:moveTo>
                          <a:pt x="411" y="805"/>
                        </a:moveTo>
                        <a:lnTo>
                          <a:pt x="421" y="789"/>
                        </a:lnTo>
                        <a:lnTo>
                          <a:pt x="433" y="772"/>
                        </a:lnTo>
                        <a:lnTo>
                          <a:pt x="445" y="779"/>
                        </a:lnTo>
                        <a:lnTo>
                          <a:pt x="459" y="779"/>
                        </a:lnTo>
                        <a:lnTo>
                          <a:pt x="459" y="772"/>
                        </a:lnTo>
                        <a:lnTo>
                          <a:pt x="475" y="763"/>
                        </a:lnTo>
                        <a:lnTo>
                          <a:pt x="482" y="779"/>
                        </a:lnTo>
                        <a:lnTo>
                          <a:pt x="504" y="789"/>
                        </a:lnTo>
                        <a:lnTo>
                          <a:pt x="558" y="779"/>
                        </a:lnTo>
                        <a:lnTo>
                          <a:pt x="584" y="772"/>
                        </a:lnTo>
                        <a:lnTo>
                          <a:pt x="596" y="772"/>
                        </a:lnTo>
                        <a:lnTo>
                          <a:pt x="626" y="763"/>
                        </a:lnTo>
                        <a:lnTo>
                          <a:pt x="638" y="763"/>
                        </a:lnTo>
                        <a:lnTo>
                          <a:pt x="605" y="805"/>
                        </a:lnTo>
                        <a:lnTo>
                          <a:pt x="596" y="829"/>
                        </a:lnTo>
                        <a:lnTo>
                          <a:pt x="610" y="866"/>
                        </a:lnTo>
                        <a:lnTo>
                          <a:pt x="605" y="871"/>
                        </a:lnTo>
                        <a:lnTo>
                          <a:pt x="596" y="900"/>
                        </a:lnTo>
                        <a:lnTo>
                          <a:pt x="558" y="890"/>
                        </a:lnTo>
                        <a:lnTo>
                          <a:pt x="534" y="866"/>
                        </a:lnTo>
                        <a:lnTo>
                          <a:pt x="513" y="862"/>
                        </a:lnTo>
                        <a:lnTo>
                          <a:pt x="466" y="829"/>
                        </a:lnTo>
                        <a:lnTo>
                          <a:pt x="428" y="817"/>
                        </a:lnTo>
                        <a:lnTo>
                          <a:pt x="411" y="805"/>
                        </a:lnTo>
                        <a:lnTo>
                          <a:pt x="411" y="805"/>
                        </a:lnTo>
                        <a:lnTo>
                          <a:pt x="411" y="805"/>
                        </a:lnTo>
                        <a:close/>
                        <a:moveTo>
                          <a:pt x="378" y="890"/>
                        </a:moveTo>
                        <a:lnTo>
                          <a:pt x="378" y="883"/>
                        </a:lnTo>
                        <a:lnTo>
                          <a:pt x="390" y="883"/>
                        </a:lnTo>
                        <a:lnTo>
                          <a:pt x="378" y="890"/>
                        </a:lnTo>
                        <a:lnTo>
                          <a:pt x="378" y="890"/>
                        </a:lnTo>
                        <a:lnTo>
                          <a:pt x="378" y="890"/>
                        </a:ln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7" name="Freeform 381">
                    <a:extLst>
                      <a:ext uri="{FF2B5EF4-FFF2-40B4-BE49-F238E27FC236}">
                        <a16:creationId xmlns:a16="http://schemas.microsoft.com/office/drawing/2014/main" id="{28765609-5F7E-4FA0-8D5E-6E739196C2D1}"/>
                      </a:ext>
                    </a:extLst>
                  </p:cNvPr>
                  <p:cNvSpPr>
                    <a:spLocks noEditPoints="1"/>
                  </p:cNvSpPr>
                  <p:nvPr/>
                </p:nvSpPr>
                <p:spPr bwMode="gray">
                  <a:xfrm>
                    <a:off x="8018468" y="2745923"/>
                    <a:ext cx="162609" cy="123515"/>
                  </a:xfrm>
                  <a:custGeom>
                    <a:avLst/>
                    <a:gdLst>
                      <a:gd name="T0" fmla="*/ 118 w 395"/>
                      <a:gd name="T1" fmla="*/ 229 h 300"/>
                      <a:gd name="T2" fmla="*/ 118 w 395"/>
                      <a:gd name="T3" fmla="*/ 212 h 300"/>
                      <a:gd name="T4" fmla="*/ 102 w 395"/>
                      <a:gd name="T5" fmla="*/ 196 h 300"/>
                      <a:gd name="T6" fmla="*/ 64 w 395"/>
                      <a:gd name="T7" fmla="*/ 168 h 300"/>
                      <a:gd name="T8" fmla="*/ 85 w 395"/>
                      <a:gd name="T9" fmla="*/ 139 h 300"/>
                      <a:gd name="T10" fmla="*/ 47 w 395"/>
                      <a:gd name="T11" fmla="*/ 99 h 300"/>
                      <a:gd name="T12" fmla="*/ 26 w 395"/>
                      <a:gd name="T13" fmla="*/ 73 h 300"/>
                      <a:gd name="T14" fmla="*/ 17 w 395"/>
                      <a:gd name="T15" fmla="*/ 45 h 300"/>
                      <a:gd name="T16" fmla="*/ 71 w 395"/>
                      <a:gd name="T17" fmla="*/ 45 h 300"/>
                      <a:gd name="T18" fmla="*/ 102 w 395"/>
                      <a:gd name="T19" fmla="*/ 57 h 300"/>
                      <a:gd name="T20" fmla="*/ 135 w 395"/>
                      <a:gd name="T21" fmla="*/ 61 h 300"/>
                      <a:gd name="T22" fmla="*/ 109 w 395"/>
                      <a:gd name="T23" fmla="*/ 28 h 300"/>
                      <a:gd name="T24" fmla="*/ 118 w 395"/>
                      <a:gd name="T25" fmla="*/ 0 h 300"/>
                      <a:gd name="T26" fmla="*/ 140 w 395"/>
                      <a:gd name="T27" fmla="*/ 0 h 300"/>
                      <a:gd name="T28" fmla="*/ 177 w 395"/>
                      <a:gd name="T29" fmla="*/ 45 h 300"/>
                      <a:gd name="T30" fmla="*/ 227 w 395"/>
                      <a:gd name="T31" fmla="*/ 57 h 300"/>
                      <a:gd name="T32" fmla="*/ 253 w 395"/>
                      <a:gd name="T33" fmla="*/ 23 h 300"/>
                      <a:gd name="T34" fmla="*/ 303 w 395"/>
                      <a:gd name="T35" fmla="*/ 40 h 300"/>
                      <a:gd name="T36" fmla="*/ 336 w 395"/>
                      <a:gd name="T37" fmla="*/ 94 h 300"/>
                      <a:gd name="T38" fmla="*/ 390 w 395"/>
                      <a:gd name="T39" fmla="*/ 118 h 300"/>
                      <a:gd name="T40" fmla="*/ 362 w 395"/>
                      <a:gd name="T41" fmla="*/ 134 h 300"/>
                      <a:gd name="T42" fmla="*/ 319 w 395"/>
                      <a:gd name="T43" fmla="*/ 205 h 300"/>
                      <a:gd name="T44" fmla="*/ 319 w 395"/>
                      <a:gd name="T45" fmla="*/ 222 h 300"/>
                      <a:gd name="T46" fmla="*/ 303 w 395"/>
                      <a:gd name="T47" fmla="*/ 246 h 300"/>
                      <a:gd name="T48" fmla="*/ 298 w 395"/>
                      <a:gd name="T49" fmla="*/ 229 h 300"/>
                      <a:gd name="T50" fmla="*/ 269 w 395"/>
                      <a:gd name="T51" fmla="*/ 300 h 300"/>
                      <a:gd name="T52" fmla="*/ 248 w 395"/>
                      <a:gd name="T53" fmla="*/ 279 h 300"/>
                      <a:gd name="T54" fmla="*/ 232 w 395"/>
                      <a:gd name="T55" fmla="*/ 250 h 300"/>
                      <a:gd name="T56" fmla="*/ 232 w 395"/>
                      <a:gd name="T57" fmla="*/ 222 h 300"/>
                      <a:gd name="T58" fmla="*/ 227 w 395"/>
                      <a:gd name="T59" fmla="*/ 184 h 300"/>
                      <a:gd name="T60" fmla="*/ 123 w 395"/>
                      <a:gd name="T61" fmla="*/ 250 h 300"/>
                      <a:gd name="T62" fmla="*/ 123 w 395"/>
                      <a:gd name="T63" fmla="*/ 250 h 300"/>
                      <a:gd name="T64" fmla="*/ 55 w 395"/>
                      <a:gd name="T65" fmla="*/ 99 h 300"/>
                      <a:gd name="T66" fmla="*/ 55 w 395"/>
                      <a:gd name="T67" fmla="*/ 111 h 300"/>
                      <a:gd name="T68" fmla="*/ 55 w 395"/>
                      <a:gd name="T69" fmla="*/ 111 h 300"/>
                      <a:gd name="T70" fmla="*/ 0 w 395"/>
                      <a:gd name="T71" fmla="*/ 189 h 300"/>
                      <a:gd name="T72" fmla="*/ 47 w 395"/>
                      <a:gd name="T73" fmla="*/ 205 h 300"/>
                      <a:gd name="T74" fmla="*/ 80 w 395"/>
                      <a:gd name="T75" fmla="*/ 212 h 300"/>
                      <a:gd name="T76" fmla="*/ 85 w 395"/>
                      <a:gd name="T77" fmla="*/ 229 h 300"/>
                      <a:gd name="T78" fmla="*/ 47 w 395"/>
                      <a:gd name="T79" fmla="*/ 246 h 300"/>
                      <a:gd name="T80" fmla="*/ 26 w 395"/>
                      <a:gd name="T81" fmla="*/ 229 h 300"/>
                      <a:gd name="T82" fmla="*/ 0 w 395"/>
                      <a:gd name="T83" fmla="*/ 18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5" h="300">
                        <a:moveTo>
                          <a:pt x="123" y="250"/>
                        </a:moveTo>
                        <a:lnTo>
                          <a:pt x="118" y="229"/>
                        </a:lnTo>
                        <a:lnTo>
                          <a:pt x="135" y="229"/>
                        </a:lnTo>
                        <a:lnTo>
                          <a:pt x="118" y="212"/>
                        </a:lnTo>
                        <a:lnTo>
                          <a:pt x="123" y="196"/>
                        </a:lnTo>
                        <a:lnTo>
                          <a:pt x="102" y="196"/>
                        </a:lnTo>
                        <a:lnTo>
                          <a:pt x="71" y="168"/>
                        </a:lnTo>
                        <a:lnTo>
                          <a:pt x="64" y="168"/>
                        </a:lnTo>
                        <a:lnTo>
                          <a:pt x="80" y="156"/>
                        </a:lnTo>
                        <a:lnTo>
                          <a:pt x="85" y="139"/>
                        </a:lnTo>
                        <a:lnTo>
                          <a:pt x="55" y="127"/>
                        </a:lnTo>
                        <a:lnTo>
                          <a:pt x="47" y="99"/>
                        </a:lnTo>
                        <a:lnTo>
                          <a:pt x="64" y="83"/>
                        </a:lnTo>
                        <a:lnTo>
                          <a:pt x="26" y="73"/>
                        </a:lnTo>
                        <a:lnTo>
                          <a:pt x="33" y="61"/>
                        </a:lnTo>
                        <a:lnTo>
                          <a:pt x="17" y="45"/>
                        </a:lnTo>
                        <a:lnTo>
                          <a:pt x="38" y="40"/>
                        </a:lnTo>
                        <a:lnTo>
                          <a:pt x="71" y="45"/>
                        </a:lnTo>
                        <a:lnTo>
                          <a:pt x="80" y="57"/>
                        </a:lnTo>
                        <a:lnTo>
                          <a:pt x="102" y="57"/>
                        </a:lnTo>
                        <a:lnTo>
                          <a:pt x="123" y="73"/>
                        </a:lnTo>
                        <a:lnTo>
                          <a:pt x="135" y="61"/>
                        </a:lnTo>
                        <a:lnTo>
                          <a:pt x="135" y="45"/>
                        </a:lnTo>
                        <a:lnTo>
                          <a:pt x="109" y="28"/>
                        </a:lnTo>
                        <a:lnTo>
                          <a:pt x="102" y="16"/>
                        </a:lnTo>
                        <a:lnTo>
                          <a:pt x="118" y="0"/>
                        </a:lnTo>
                        <a:lnTo>
                          <a:pt x="135" y="5"/>
                        </a:lnTo>
                        <a:lnTo>
                          <a:pt x="140" y="0"/>
                        </a:lnTo>
                        <a:lnTo>
                          <a:pt x="173" y="28"/>
                        </a:lnTo>
                        <a:lnTo>
                          <a:pt x="177" y="45"/>
                        </a:lnTo>
                        <a:lnTo>
                          <a:pt x="210" y="61"/>
                        </a:lnTo>
                        <a:lnTo>
                          <a:pt x="227" y="57"/>
                        </a:lnTo>
                        <a:lnTo>
                          <a:pt x="232" y="40"/>
                        </a:lnTo>
                        <a:lnTo>
                          <a:pt x="253" y="23"/>
                        </a:lnTo>
                        <a:lnTo>
                          <a:pt x="269" y="5"/>
                        </a:lnTo>
                        <a:lnTo>
                          <a:pt x="303" y="40"/>
                        </a:lnTo>
                        <a:lnTo>
                          <a:pt x="307" y="73"/>
                        </a:lnTo>
                        <a:lnTo>
                          <a:pt x="336" y="94"/>
                        </a:lnTo>
                        <a:lnTo>
                          <a:pt x="336" y="99"/>
                        </a:lnTo>
                        <a:lnTo>
                          <a:pt x="390" y="118"/>
                        </a:lnTo>
                        <a:lnTo>
                          <a:pt x="395" y="139"/>
                        </a:lnTo>
                        <a:lnTo>
                          <a:pt x="362" y="134"/>
                        </a:lnTo>
                        <a:lnTo>
                          <a:pt x="336" y="151"/>
                        </a:lnTo>
                        <a:lnTo>
                          <a:pt x="319" y="205"/>
                        </a:lnTo>
                        <a:lnTo>
                          <a:pt x="324" y="212"/>
                        </a:lnTo>
                        <a:lnTo>
                          <a:pt x="319" y="222"/>
                        </a:lnTo>
                        <a:lnTo>
                          <a:pt x="307" y="246"/>
                        </a:lnTo>
                        <a:lnTo>
                          <a:pt x="303" y="246"/>
                        </a:lnTo>
                        <a:lnTo>
                          <a:pt x="307" y="238"/>
                        </a:lnTo>
                        <a:lnTo>
                          <a:pt x="298" y="229"/>
                        </a:lnTo>
                        <a:lnTo>
                          <a:pt x="286" y="295"/>
                        </a:lnTo>
                        <a:lnTo>
                          <a:pt x="269" y="300"/>
                        </a:lnTo>
                        <a:lnTo>
                          <a:pt x="253" y="279"/>
                        </a:lnTo>
                        <a:lnTo>
                          <a:pt x="248" y="279"/>
                        </a:lnTo>
                        <a:lnTo>
                          <a:pt x="232" y="262"/>
                        </a:lnTo>
                        <a:lnTo>
                          <a:pt x="232" y="250"/>
                        </a:lnTo>
                        <a:lnTo>
                          <a:pt x="248" y="246"/>
                        </a:lnTo>
                        <a:lnTo>
                          <a:pt x="232" y="222"/>
                        </a:lnTo>
                        <a:lnTo>
                          <a:pt x="253" y="212"/>
                        </a:lnTo>
                        <a:lnTo>
                          <a:pt x="227" y="184"/>
                        </a:lnTo>
                        <a:lnTo>
                          <a:pt x="147" y="229"/>
                        </a:lnTo>
                        <a:lnTo>
                          <a:pt x="123" y="250"/>
                        </a:lnTo>
                        <a:lnTo>
                          <a:pt x="123" y="250"/>
                        </a:lnTo>
                        <a:lnTo>
                          <a:pt x="123" y="250"/>
                        </a:lnTo>
                        <a:close/>
                        <a:moveTo>
                          <a:pt x="55" y="111"/>
                        </a:moveTo>
                        <a:lnTo>
                          <a:pt x="55" y="99"/>
                        </a:lnTo>
                        <a:lnTo>
                          <a:pt x="55" y="99"/>
                        </a:lnTo>
                        <a:lnTo>
                          <a:pt x="55" y="111"/>
                        </a:lnTo>
                        <a:lnTo>
                          <a:pt x="55" y="111"/>
                        </a:lnTo>
                        <a:lnTo>
                          <a:pt x="55" y="111"/>
                        </a:lnTo>
                        <a:close/>
                        <a:moveTo>
                          <a:pt x="0" y="189"/>
                        </a:moveTo>
                        <a:lnTo>
                          <a:pt x="0" y="189"/>
                        </a:lnTo>
                        <a:lnTo>
                          <a:pt x="26" y="184"/>
                        </a:lnTo>
                        <a:lnTo>
                          <a:pt x="47" y="205"/>
                        </a:lnTo>
                        <a:lnTo>
                          <a:pt x="71" y="196"/>
                        </a:lnTo>
                        <a:lnTo>
                          <a:pt x="80" y="212"/>
                        </a:lnTo>
                        <a:lnTo>
                          <a:pt x="85" y="222"/>
                        </a:lnTo>
                        <a:lnTo>
                          <a:pt x="85" y="229"/>
                        </a:lnTo>
                        <a:lnTo>
                          <a:pt x="102" y="262"/>
                        </a:lnTo>
                        <a:lnTo>
                          <a:pt x="47" y="246"/>
                        </a:lnTo>
                        <a:lnTo>
                          <a:pt x="38" y="229"/>
                        </a:lnTo>
                        <a:lnTo>
                          <a:pt x="26" y="229"/>
                        </a:lnTo>
                        <a:lnTo>
                          <a:pt x="0" y="189"/>
                        </a:lnTo>
                        <a:lnTo>
                          <a:pt x="0" y="189"/>
                        </a:lnTo>
                        <a:lnTo>
                          <a:pt x="0" y="18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8" name="Freeform 382">
                    <a:extLst>
                      <a:ext uri="{FF2B5EF4-FFF2-40B4-BE49-F238E27FC236}">
                        <a16:creationId xmlns:a16="http://schemas.microsoft.com/office/drawing/2014/main" id="{B43E4123-FE4F-4805-A95B-6A3DD46A7E61}"/>
                      </a:ext>
                    </a:extLst>
                  </p:cNvPr>
                  <p:cNvSpPr>
                    <a:spLocks/>
                  </p:cNvSpPr>
                  <p:nvPr/>
                </p:nvSpPr>
                <p:spPr bwMode="gray">
                  <a:xfrm>
                    <a:off x="7281578" y="2717516"/>
                    <a:ext cx="51458" cy="106223"/>
                  </a:xfrm>
                  <a:custGeom>
                    <a:avLst/>
                    <a:gdLst>
                      <a:gd name="T0" fmla="*/ 7 w 125"/>
                      <a:gd name="T1" fmla="*/ 66 h 258"/>
                      <a:gd name="T2" fmla="*/ 7 w 125"/>
                      <a:gd name="T3" fmla="*/ 50 h 258"/>
                      <a:gd name="T4" fmla="*/ 0 w 125"/>
                      <a:gd name="T5" fmla="*/ 40 h 258"/>
                      <a:gd name="T6" fmla="*/ 33 w 125"/>
                      <a:gd name="T7" fmla="*/ 0 h 258"/>
                      <a:gd name="T8" fmla="*/ 37 w 125"/>
                      <a:gd name="T9" fmla="*/ 0 h 258"/>
                      <a:gd name="T10" fmla="*/ 37 w 125"/>
                      <a:gd name="T11" fmla="*/ 17 h 258"/>
                      <a:gd name="T12" fmla="*/ 54 w 125"/>
                      <a:gd name="T13" fmla="*/ 12 h 258"/>
                      <a:gd name="T14" fmla="*/ 71 w 125"/>
                      <a:gd name="T15" fmla="*/ 22 h 258"/>
                      <a:gd name="T16" fmla="*/ 92 w 125"/>
                      <a:gd name="T17" fmla="*/ 33 h 258"/>
                      <a:gd name="T18" fmla="*/ 92 w 125"/>
                      <a:gd name="T19" fmla="*/ 66 h 258"/>
                      <a:gd name="T20" fmla="*/ 87 w 125"/>
                      <a:gd name="T21" fmla="*/ 95 h 258"/>
                      <a:gd name="T22" fmla="*/ 92 w 125"/>
                      <a:gd name="T23" fmla="*/ 107 h 258"/>
                      <a:gd name="T24" fmla="*/ 87 w 125"/>
                      <a:gd name="T25" fmla="*/ 111 h 258"/>
                      <a:gd name="T26" fmla="*/ 96 w 125"/>
                      <a:gd name="T27" fmla="*/ 152 h 258"/>
                      <a:gd name="T28" fmla="*/ 108 w 125"/>
                      <a:gd name="T29" fmla="*/ 152 h 258"/>
                      <a:gd name="T30" fmla="*/ 125 w 125"/>
                      <a:gd name="T31" fmla="*/ 152 h 258"/>
                      <a:gd name="T32" fmla="*/ 125 w 125"/>
                      <a:gd name="T33" fmla="*/ 180 h 258"/>
                      <a:gd name="T34" fmla="*/ 108 w 125"/>
                      <a:gd name="T35" fmla="*/ 196 h 258"/>
                      <a:gd name="T36" fmla="*/ 96 w 125"/>
                      <a:gd name="T37" fmla="*/ 218 h 258"/>
                      <a:gd name="T38" fmla="*/ 75 w 125"/>
                      <a:gd name="T39" fmla="*/ 237 h 258"/>
                      <a:gd name="T40" fmla="*/ 87 w 125"/>
                      <a:gd name="T41" fmla="*/ 241 h 258"/>
                      <a:gd name="T42" fmla="*/ 71 w 125"/>
                      <a:gd name="T43" fmla="*/ 253 h 258"/>
                      <a:gd name="T44" fmla="*/ 75 w 125"/>
                      <a:gd name="T45" fmla="*/ 253 h 258"/>
                      <a:gd name="T46" fmla="*/ 71 w 125"/>
                      <a:gd name="T47" fmla="*/ 258 h 258"/>
                      <a:gd name="T48" fmla="*/ 54 w 125"/>
                      <a:gd name="T49" fmla="*/ 258 h 258"/>
                      <a:gd name="T50" fmla="*/ 45 w 125"/>
                      <a:gd name="T51" fmla="*/ 225 h 258"/>
                      <a:gd name="T52" fmla="*/ 16 w 125"/>
                      <a:gd name="T53" fmla="*/ 208 h 258"/>
                      <a:gd name="T54" fmla="*/ 0 w 125"/>
                      <a:gd name="T55" fmla="*/ 196 h 258"/>
                      <a:gd name="T56" fmla="*/ 16 w 125"/>
                      <a:gd name="T57" fmla="*/ 201 h 258"/>
                      <a:gd name="T58" fmla="*/ 16 w 125"/>
                      <a:gd name="T59" fmla="*/ 180 h 258"/>
                      <a:gd name="T60" fmla="*/ 7 w 125"/>
                      <a:gd name="T61" fmla="*/ 180 h 258"/>
                      <a:gd name="T62" fmla="*/ 7 w 125"/>
                      <a:gd name="T63" fmla="*/ 152 h 258"/>
                      <a:gd name="T64" fmla="*/ 16 w 125"/>
                      <a:gd name="T65" fmla="*/ 152 h 258"/>
                      <a:gd name="T66" fmla="*/ 16 w 125"/>
                      <a:gd name="T67" fmla="*/ 140 h 258"/>
                      <a:gd name="T68" fmla="*/ 16 w 125"/>
                      <a:gd name="T69" fmla="*/ 123 h 258"/>
                      <a:gd name="T70" fmla="*/ 16 w 125"/>
                      <a:gd name="T71" fmla="*/ 107 h 258"/>
                      <a:gd name="T72" fmla="*/ 21 w 125"/>
                      <a:gd name="T73" fmla="*/ 90 h 258"/>
                      <a:gd name="T74" fmla="*/ 21 w 125"/>
                      <a:gd name="T75" fmla="*/ 74 h 258"/>
                      <a:gd name="T76" fmla="*/ 7 w 125"/>
                      <a:gd name="T77" fmla="*/ 66 h 258"/>
                      <a:gd name="T78" fmla="*/ 7 w 125"/>
                      <a:gd name="T79" fmla="*/ 66 h 258"/>
                      <a:gd name="T80" fmla="*/ 7 w 125"/>
                      <a:gd name="T81" fmla="*/ 6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5" h="258">
                        <a:moveTo>
                          <a:pt x="7" y="66"/>
                        </a:moveTo>
                        <a:lnTo>
                          <a:pt x="7" y="50"/>
                        </a:lnTo>
                        <a:lnTo>
                          <a:pt x="0" y="40"/>
                        </a:lnTo>
                        <a:lnTo>
                          <a:pt x="33" y="0"/>
                        </a:lnTo>
                        <a:lnTo>
                          <a:pt x="37" y="0"/>
                        </a:lnTo>
                        <a:lnTo>
                          <a:pt x="37" y="17"/>
                        </a:lnTo>
                        <a:lnTo>
                          <a:pt x="54" y="12"/>
                        </a:lnTo>
                        <a:lnTo>
                          <a:pt x="71" y="22"/>
                        </a:lnTo>
                        <a:lnTo>
                          <a:pt x="92" y="33"/>
                        </a:lnTo>
                        <a:lnTo>
                          <a:pt x="92" y="66"/>
                        </a:lnTo>
                        <a:lnTo>
                          <a:pt x="87" y="95"/>
                        </a:lnTo>
                        <a:lnTo>
                          <a:pt x="92" y="107"/>
                        </a:lnTo>
                        <a:lnTo>
                          <a:pt x="87" y="111"/>
                        </a:lnTo>
                        <a:lnTo>
                          <a:pt x="96" y="152"/>
                        </a:lnTo>
                        <a:lnTo>
                          <a:pt x="108" y="152"/>
                        </a:lnTo>
                        <a:lnTo>
                          <a:pt x="125" y="152"/>
                        </a:lnTo>
                        <a:lnTo>
                          <a:pt x="125" y="180"/>
                        </a:lnTo>
                        <a:lnTo>
                          <a:pt x="108" y="196"/>
                        </a:lnTo>
                        <a:lnTo>
                          <a:pt x="96" y="218"/>
                        </a:lnTo>
                        <a:lnTo>
                          <a:pt x="75" y="237"/>
                        </a:lnTo>
                        <a:lnTo>
                          <a:pt x="87" y="241"/>
                        </a:lnTo>
                        <a:lnTo>
                          <a:pt x="71" y="253"/>
                        </a:lnTo>
                        <a:lnTo>
                          <a:pt x="75" y="253"/>
                        </a:lnTo>
                        <a:lnTo>
                          <a:pt x="71" y="258"/>
                        </a:lnTo>
                        <a:lnTo>
                          <a:pt x="54" y="258"/>
                        </a:lnTo>
                        <a:lnTo>
                          <a:pt x="45" y="225"/>
                        </a:lnTo>
                        <a:lnTo>
                          <a:pt x="16" y="208"/>
                        </a:lnTo>
                        <a:lnTo>
                          <a:pt x="0" y="196"/>
                        </a:lnTo>
                        <a:lnTo>
                          <a:pt x="16" y="201"/>
                        </a:lnTo>
                        <a:lnTo>
                          <a:pt x="16" y="180"/>
                        </a:lnTo>
                        <a:lnTo>
                          <a:pt x="7" y="180"/>
                        </a:lnTo>
                        <a:lnTo>
                          <a:pt x="7" y="152"/>
                        </a:lnTo>
                        <a:lnTo>
                          <a:pt x="16" y="152"/>
                        </a:lnTo>
                        <a:lnTo>
                          <a:pt x="16" y="140"/>
                        </a:lnTo>
                        <a:lnTo>
                          <a:pt x="16" y="123"/>
                        </a:lnTo>
                        <a:lnTo>
                          <a:pt x="16" y="107"/>
                        </a:lnTo>
                        <a:lnTo>
                          <a:pt x="21" y="90"/>
                        </a:lnTo>
                        <a:lnTo>
                          <a:pt x="21" y="74"/>
                        </a:lnTo>
                        <a:lnTo>
                          <a:pt x="7" y="66"/>
                        </a:lnTo>
                        <a:lnTo>
                          <a:pt x="7" y="66"/>
                        </a:lnTo>
                        <a:lnTo>
                          <a:pt x="7" y="6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23" name="Freeform 383">
                    <a:extLst>
                      <a:ext uri="{FF2B5EF4-FFF2-40B4-BE49-F238E27FC236}">
                        <a16:creationId xmlns:a16="http://schemas.microsoft.com/office/drawing/2014/main" id="{C7F93B39-3CCD-47F7-B2DC-F65EAD972C2C}"/>
                      </a:ext>
                    </a:extLst>
                  </p:cNvPr>
                  <p:cNvSpPr>
                    <a:spLocks noEditPoints="1"/>
                  </p:cNvSpPr>
                  <p:nvPr/>
                </p:nvSpPr>
                <p:spPr bwMode="gray">
                  <a:xfrm>
                    <a:off x="7979772" y="2763216"/>
                    <a:ext cx="93037" cy="90577"/>
                  </a:xfrm>
                  <a:custGeom>
                    <a:avLst/>
                    <a:gdLst>
                      <a:gd name="T0" fmla="*/ 217 w 226"/>
                      <a:gd name="T1" fmla="*/ 208 h 220"/>
                      <a:gd name="T2" fmla="*/ 193 w 226"/>
                      <a:gd name="T3" fmla="*/ 220 h 220"/>
                      <a:gd name="T4" fmla="*/ 177 w 226"/>
                      <a:gd name="T5" fmla="*/ 187 h 220"/>
                      <a:gd name="T6" fmla="*/ 177 w 226"/>
                      <a:gd name="T7" fmla="*/ 180 h 220"/>
                      <a:gd name="T8" fmla="*/ 172 w 226"/>
                      <a:gd name="T9" fmla="*/ 170 h 220"/>
                      <a:gd name="T10" fmla="*/ 163 w 226"/>
                      <a:gd name="T11" fmla="*/ 152 h 220"/>
                      <a:gd name="T12" fmla="*/ 139 w 226"/>
                      <a:gd name="T13" fmla="*/ 163 h 220"/>
                      <a:gd name="T14" fmla="*/ 118 w 226"/>
                      <a:gd name="T15" fmla="*/ 142 h 220"/>
                      <a:gd name="T16" fmla="*/ 92 w 226"/>
                      <a:gd name="T17" fmla="*/ 147 h 220"/>
                      <a:gd name="T18" fmla="*/ 63 w 226"/>
                      <a:gd name="T19" fmla="*/ 114 h 220"/>
                      <a:gd name="T20" fmla="*/ 33 w 226"/>
                      <a:gd name="T21" fmla="*/ 114 h 220"/>
                      <a:gd name="T22" fmla="*/ 16 w 226"/>
                      <a:gd name="T23" fmla="*/ 107 h 220"/>
                      <a:gd name="T24" fmla="*/ 16 w 226"/>
                      <a:gd name="T25" fmla="*/ 107 h 220"/>
                      <a:gd name="T26" fmla="*/ 9 w 226"/>
                      <a:gd name="T27" fmla="*/ 85 h 220"/>
                      <a:gd name="T28" fmla="*/ 21 w 226"/>
                      <a:gd name="T29" fmla="*/ 52 h 220"/>
                      <a:gd name="T30" fmla="*/ 0 w 226"/>
                      <a:gd name="T31" fmla="*/ 17 h 220"/>
                      <a:gd name="T32" fmla="*/ 101 w 226"/>
                      <a:gd name="T33" fmla="*/ 12 h 220"/>
                      <a:gd name="T34" fmla="*/ 108 w 226"/>
                      <a:gd name="T35" fmla="*/ 0 h 220"/>
                      <a:gd name="T36" fmla="*/ 125 w 226"/>
                      <a:gd name="T37" fmla="*/ 17 h 220"/>
                      <a:gd name="T38" fmla="*/ 118 w 226"/>
                      <a:gd name="T39" fmla="*/ 29 h 220"/>
                      <a:gd name="T40" fmla="*/ 156 w 226"/>
                      <a:gd name="T41" fmla="*/ 41 h 220"/>
                      <a:gd name="T42" fmla="*/ 139 w 226"/>
                      <a:gd name="T43" fmla="*/ 57 h 220"/>
                      <a:gd name="T44" fmla="*/ 146 w 226"/>
                      <a:gd name="T45" fmla="*/ 85 h 220"/>
                      <a:gd name="T46" fmla="*/ 177 w 226"/>
                      <a:gd name="T47" fmla="*/ 97 h 220"/>
                      <a:gd name="T48" fmla="*/ 172 w 226"/>
                      <a:gd name="T49" fmla="*/ 114 h 220"/>
                      <a:gd name="T50" fmla="*/ 156 w 226"/>
                      <a:gd name="T51" fmla="*/ 126 h 220"/>
                      <a:gd name="T52" fmla="*/ 163 w 226"/>
                      <a:gd name="T53" fmla="*/ 126 h 220"/>
                      <a:gd name="T54" fmla="*/ 193 w 226"/>
                      <a:gd name="T55" fmla="*/ 152 h 220"/>
                      <a:gd name="T56" fmla="*/ 217 w 226"/>
                      <a:gd name="T57" fmla="*/ 152 h 220"/>
                      <a:gd name="T58" fmla="*/ 210 w 226"/>
                      <a:gd name="T59" fmla="*/ 170 h 220"/>
                      <a:gd name="T60" fmla="*/ 226 w 226"/>
                      <a:gd name="T61" fmla="*/ 187 h 220"/>
                      <a:gd name="T62" fmla="*/ 210 w 226"/>
                      <a:gd name="T63" fmla="*/ 187 h 220"/>
                      <a:gd name="T64" fmla="*/ 217 w 226"/>
                      <a:gd name="T65" fmla="*/ 208 h 220"/>
                      <a:gd name="T66" fmla="*/ 217 w 226"/>
                      <a:gd name="T67" fmla="*/ 208 h 220"/>
                      <a:gd name="T68" fmla="*/ 217 w 226"/>
                      <a:gd name="T69" fmla="*/ 208 h 220"/>
                      <a:gd name="T70" fmla="*/ 146 w 226"/>
                      <a:gd name="T71" fmla="*/ 69 h 220"/>
                      <a:gd name="T72" fmla="*/ 146 w 226"/>
                      <a:gd name="T73" fmla="*/ 57 h 220"/>
                      <a:gd name="T74" fmla="*/ 146 w 226"/>
                      <a:gd name="T75" fmla="*/ 57 h 220"/>
                      <a:gd name="T76" fmla="*/ 146 w 226"/>
                      <a:gd name="T77" fmla="*/ 69 h 220"/>
                      <a:gd name="T78" fmla="*/ 146 w 226"/>
                      <a:gd name="T79" fmla="*/ 69 h 220"/>
                      <a:gd name="T80" fmla="*/ 146 w 226"/>
                      <a:gd name="T81" fmla="*/ 6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6" h="220">
                        <a:moveTo>
                          <a:pt x="217" y="208"/>
                        </a:moveTo>
                        <a:lnTo>
                          <a:pt x="193" y="220"/>
                        </a:lnTo>
                        <a:lnTo>
                          <a:pt x="177" y="187"/>
                        </a:lnTo>
                        <a:lnTo>
                          <a:pt x="177" y="180"/>
                        </a:lnTo>
                        <a:lnTo>
                          <a:pt x="172" y="170"/>
                        </a:lnTo>
                        <a:lnTo>
                          <a:pt x="163" y="152"/>
                        </a:lnTo>
                        <a:lnTo>
                          <a:pt x="139" y="163"/>
                        </a:lnTo>
                        <a:lnTo>
                          <a:pt x="118" y="142"/>
                        </a:lnTo>
                        <a:lnTo>
                          <a:pt x="92" y="147"/>
                        </a:lnTo>
                        <a:lnTo>
                          <a:pt x="63" y="114"/>
                        </a:lnTo>
                        <a:lnTo>
                          <a:pt x="33" y="114"/>
                        </a:lnTo>
                        <a:lnTo>
                          <a:pt x="16" y="107"/>
                        </a:lnTo>
                        <a:lnTo>
                          <a:pt x="16" y="107"/>
                        </a:lnTo>
                        <a:lnTo>
                          <a:pt x="9" y="85"/>
                        </a:lnTo>
                        <a:lnTo>
                          <a:pt x="21" y="52"/>
                        </a:lnTo>
                        <a:lnTo>
                          <a:pt x="0" y="17"/>
                        </a:lnTo>
                        <a:lnTo>
                          <a:pt x="101" y="12"/>
                        </a:lnTo>
                        <a:lnTo>
                          <a:pt x="108" y="0"/>
                        </a:lnTo>
                        <a:lnTo>
                          <a:pt x="125" y="17"/>
                        </a:lnTo>
                        <a:lnTo>
                          <a:pt x="118" y="29"/>
                        </a:lnTo>
                        <a:lnTo>
                          <a:pt x="156" y="41"/>
                        </a:lnTo>
                        <a:lnTo>
                          <a:pt x="139" y="57"/>
                        </a:lnTo>
                        <a:lnTo>
                          <a:pt x="146" y="85"/>
                        </a:lnTo>
                        <a:lnTo>
                          <a:pt x="177" y="97"/>
                        </a:lnTo>
                        <a:lnTo>
                          <a:pt x="172" y="114"/>
                        </a:lnTo>
                        <a:lnTo>
                          <a:pt x="156" y="126"/>
                        </a:lnTo>
                        <a:lnTo>
                          <a:pt x="163" y="126"/>
                        </a:lnTo>
                        <a:lnTo>
                          <a:pt x="193" y="152"/>
                        </a:lnTo>
                        <a:lnTo>
                          <a:pt x="217" y="152"/>
                        </a:lnTo>
                        <a:lnTo>
                          <a:pt x="210" y="170"/>
                        </a:lnTo>
                        <a:lnTo>
                          <a:pt x="226" y="187"/>
                        </a:lnTo>
                        <a:lnTo>
                          <a:pt x="210" y="187"/>
                        </a:lnTo>
                        <a:lnTo>
                          <a:pt x="217" y="208"/>
                        </a:lnTo>
                        <a:lnTo>
                          <a:pt x="217" y="208"/>
                        </a:lnTo>
                        <a:lnTo>
                          <a:pt x="217" y="208"/>
                        </a:lnTo>
                        <a:close/>
                        <a:moveTo>
                          <a:pt x="146" y="69"/>
                        </a:moveTo>
                        <a:lnTo>
                          <a:pt x="146" y="57"/>
                        </a:lnTo>
                        <a:lnTo>
                          <a:pt x="146" y="57"/>
                        </a:lnTo>
                        <a:lnTo>
                          <a:pt x="146" y="69"/>
                        </a:lnTo>
                        <a:lnTo>
                          <a:pt x="146" y="69"/>
                        </a:lnTo>
                        <a:lnTo>
                          <a:pt x="146" y="6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39" name="Freeform 384">
                    <a:extLst>
                      <a:ext uri="{FF2B5EF4-FFF2-40B4-BE49-F238E27FC236}">
                        <a16:creationId xmlns:a16="http://schemas.microsoft.com/office/drawing/2014/main" id="{761D1686-BC5E-4162-A0FA-009C2A479202}"/>
                      </a:ext>
                    </a:extLst>
                  </p:cNvPr>
                  <p:cNvSpPr>
                    <a:spLocks/>
                  </p:cNvSpPr>
                  <p:nvPr/>
                </p:nvSpPr>
                <p:spPr bwMode="gray">
                  <a:xfrm>
                    <a:off x="6766167" y="2717516"/>
                    <a:ext cx="12350" cy="6999"/>
                  </a:xfrm>
                  <a:custGeom>
                    <a:avLst/>
                    <a:gdLst>
                      <a:gd name="T0" fmla="*/ 0 w 30"/>
                      <a:gd name="T1" fmla="*/ 0 h 17"/>
                      <a:gd name="T2" fmla="*/ 30 w 30"/>
                      <a:gd name="T3" fmla="*/ 0 h 17"/>
                      <a:gd name="T4" fmla="*/ 30 w 30"/>
                      <a:gd name="T5" fmla="*/ 12 h 17"/>
                      <a:gd name="T6" fmla="*/ 0 w 30"/>
                      <a:gd name="T7" fmla="*/ 17 h 17"/>
                      <a:gd name="T8" fmla="*/ 0 w 30"/>
                      <a:gd name="T9" fmla="*/ 0 h 17"/>
                      <a:gd name="T10" fmla="*/ 0 w 30"/>
                      <a:gd name="T11" fmla="*/ 0 h 17"/>
                      <a:gd name="T12" fmla="*/ 0 w 30"/>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30" h="17">
                        <a:moveTo>
                          <a:pt x="0" y="0"/>
                        </a:moveTo>
                        <a:lnTo>
                          <a:pt x="30" y="0"/>
                        </a:lnTo>
                        <a:lnTo>
                          <a:pt x="30" y="12"/>
                        </a:lnTo>
                        <a:lnTo>
                          <a:pt x="0" y="17"/>
                        </a:lnTo>
                        <a:lnTo>
                          <a:pt x="0" y="0"/>
                        </a:lnTo>
                        <a:lnTo>
                          <a:pt x="0" y="0"/>
                        </a:lnTo>
                        <a:lnTo>
                          <a:pt x="0"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0" name="Freeform 393">
                    <a:extLst>
                      <a:ext uri="{FF2B5EF4-FFF2-40B4-BE49-F238E27FC236}">
                        <a16:creationId xmlns:a16="http://schemas.microsoft.com/office/drawing/2014/main" id="{EF04C398-119D-469D-A95A-81E4CDAA35E4}"/>
                      </a:ext>
                    </a:extLst>
                  </p:cNvPr>
                  <p:cNvSpPr>
                    <a:spLocks/>
                  </p:cNvSpPr>
                  <p:nvPr/>
                </p:nvSpPr>
                <p:spPr bwMode="gray">
                  <a:xfrm>
                    <a:off x="6799101" y="2384849"/>
                    <a:ext cx="111975" cy="79874"/>
                  </a:xfrm>
                  <a:custGeom>
                    <a:avLst/>
                    <a:gdLst>
                      <a:gd name="T0" fmla="*/ 255 w 272"/>
                      <a:gd name="T1" fmla="*/ 128 h 194"/>
                      <a:gd name="T2" fmla="*/ 239 w 272"/>
                      <a:gd name="T3" fmla="*/ 128 h 194"/>
                      <a:gd name="T4" fmla="*/ 222 w 272"/>
                      <a:gd name="T5" fmla="*/ 145 h 194"/>
                      <a:gd name="T6" fmla="*/ 222 w 272"/>
                      <a:gd name="T7" fmla="*/ 161 h 194"/>
                      <a:gd name="T8" fmla="*/ 239 w 272"/>
                      <a:gd name="T9" fmla="*/ 178 h 194"/>
                      <a:gd name="T10" fmla="*/ 227 w 272"/>
                      <a:gd name="T11" fmla="*/ 185 h 194"/>
                      <a:gd name="T12" fmla="*/ 206 w 272"/>
                      <a:gd name="T13" fmla="*/ 194 h 194"/>
                      <a:gd name="T14" fmla="*/ 189 w 272"/>
                      <a:gd name="T15" fmla="*/ 178 h 194"/>
                      <a:gd name="T16" fmla="*/ 163 w 272"/>
                      <a:gd name="T17" fmla="*/ 161 h 194"/>
                      <a:gd name="T18" fmla="*/ 163 w 272"/>
                      <a:gd name="T19" fmla="*/ 145 h 194"/>
                      <a:gd name="T20" fmla="*/ 163 w 272"/>
                      <a:gd name="T21" fmla="*/ 128 h 194"/>
                      <a:gd name="T22" fmla="*/ 163 w 272"/>
                      <a:gd name="T23" fmla="*/ 128 h 194"/>
                      <a:gd name="T24" fmla="*/ 137 w 272"/>
                      <a:gd name="T25" fmla="*/ 156 h 194"/>
                      <a:gd name="T26" fmla="*/ 113 w 272"/>
                      <a:gd name="T27" fmla="*/ 145 h 194"/>
                      <a:gd name="T28" fmla="*/ 113 w 272"/>
                      <a:gd name="T29" fmla="*/ 123 h 194"/>
                      <a:gd name="T30" fmla="*/ 83 w 272"/>
                      <a:gd name="T31" fmla="*/ 112 h 194"/>
                      <a:gd name="T32" fmla="*/ 76 w 272"/>
                      <a:gd name="T33" fmla="*/ 102 h 194"/>
                      <a:gd name="T34" fmla="*/ 54 w 272"/>
                      <a:gd name="T35" fmla="*/ 102 h 194"/>
                      <a:gd name="T36" fmla="*/ 45 w 272"/>
                      <a:gd name="T37" fmla="*/ 69 h 194"/>
                      <a:gd name="T38" fmla="*/ 21 w 272"/>
                      <a:gd name="T39" fmla="*/ 74 h 194"/>
                      <a:gd name="T40" fmla="*/ 7 w 272"/>
                      <a:gd name="T41" fmla="*/ 69 h 194"/>
                      <a:gd name="T42" fmla="*/ 0 w 272"/>
                      <a:gd name="T43" fmla="*/ 45 h 194"/>
                      <a:gd name="T44" fmla="*/ 59 w 272"/>
                      <a:gd name="T45" fmla="*/ 12 h 194"/>
                      <a:gd name="T46" fmla="*/ 59 w 272"/>
                      <a:gd name="T47" fmla="*/ 29 h 194"/>
                      <a:gd name="T48" fmla="*/ 76 w 272"/>
                      <a:gd name="T49" fmla="*/ 17 h 194"/>
                      <a:gd name="T50" fmla="*/ 92 w 272"/>
                      <a:gd name="T51" fmla="*/ 29 h 194"/>
                      <a:gd name="T52" fmla="*/ 120 w 272"/>
                      <a:gd name="T53" fmla="*/ 17 h 194"/>
                      <a:gd name="T54" fmla="*/ 120 w 272"/>
                      <a:gd name="T55" fmla="*/ 29 h 194"/>
                      <a:gd name="T56" fmla="*/ 120 w 272"/>
                      <a:gd name="T57" fmla="*/ 12 h 194"/>
                      <a:gd name="T58" fmla="*/ 130 w 272"/>
                      <a:gd name="T59" fmla="*/ 17 h 194"/>
                      <a:gd name="T60" fmla="*/ 130 w 272"/>
                      <a:gd name="T61" fmla="*/ 12 h 194"/>
                      <a:gd name="T62" fmla="*/ 137 w 272"/>
                      <a:gd name="T63" fmla="*/ 0 h 194"/>
                      <a:gd name="T64" fmla="*/ 146 w 272"/>
                      <a:gd name="T65" fmla="*/ 12 h 194"/>
                      <a:gd name="T66" fmla="*/ 163 w 272"/>
                      <a:gd name="T67" fmla="*/ 0 h 194"/>
                      <a:gd name="T68" fmla="*/ 168 w 272"/>
                      <a:gd name="T69" fmla="*/ 12 h 194"/>
                      <a:gd name="T70" fmla="*/ 175 w 272"/>
                      <a:gd name="T71" fmla="*/ 0 h 194"/>
                      <a:gd name="T72" fmla="*/ 189 w 272"/>
                      <a:gd name="T73" fmla="*/ 29 h 194"/>
                      <a:gd name="T74" fmla="*/ 206 w 272"/>
                      <a:gd name="T75" fmla="*/ 17 h 194"/>
                      <a:gd name="T76" fmla="*/ 227 w 272"/>
                      <a:gd name="T77" fmla="*/ 34 h 194"/>
                      <a:gd name="T78" fmla="*/ 217 w 272"/>
                      <a:gd name="T79" fmla="*/ 69 h 194"/>
                      <a:gd name="T80" fmla="*/ 222 w 272"/>
                      <a:gd name="T81" fmla="*/ 74 h 194"/>
                      <a:gd name="T82" fmla="*/ 243 w 272"/>
                      <a:gd name="T83" fmla="*/ 74 h 194"/>
                      <a:gd name="T84" fmla="*/ 260 w 272"/>
                      <a:gd name="T85" fmla="*/ 86 h 194"/>
                      <a:gd name="T86" fmla="*/ 272 w 272"/>
                      <a:gd name="T87" fmla="*/ 112 h 194"/>
                      <a:gd name="T88" fmla="*/ 255 w 272"/>
                      <a:gd name="T89" fmla="*/ 123 h 194"/>
                      <a:gd name="T90" fmla="*/ 255 w 272"/>
                      <a:gd name="T91" fmla="*/ 128 h 194"/>
                      <a:gd name="T92" fmla="*/ 255 w 272"/>
                      <a:gd name="T93" fmla="*/ 128 h 194"/>
                      <a:gd name="T94" fmla="*/ 255 w 272"/>
                      <a:gd name="T95" fmla="*/ 12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194">
                        <a:moveTo>
                          <a:pt x="255" y="128"/>
                        </a:moveTo>
                        <a:lnTo>
                          <a:pt x="239" y="128"/>
                        </a:lnTo>
                        <a:lnTo>
                          <a:pt x="222" y="145"/>
                        </a:lnTo>
                        <a:lnTo>
                          <a:pt x="222" y="161"/>
                        </a:lnTo>
                        <a:lnTo>
                          <a:pt x="239" y="178"/>
                        </a:lnTo>
                        <a:lnTo>
                          <a:pt x="227" y="185"/>
                        </a:lnTo>
                        <a:lnTo>
                          <a:pt x="206" y="194"/>
                        </a:lnTo>
                        <a:lnTo>
                          <a:pt x="189" y="178"/>
                        </a:lnTo>
                        <a:lnTo>
                          <a:pt x="163" y="161"/>
                        </a:lnTo>
                        <a:lnTo>
                          <a:pt x="163" y="145"/>
                        </a:lnTo>
                        <a:lnTo>
                          <a:pt x="163" y="128"/>
                        </a:lnTo>
                        <a:lnTo>
                          <a:pt x="163" y="128"/>
                        </a:lnTo>
                        <a:lnTo>
                          <a:pt x="137" y="156"/>
                        </a:lnTo>
                        <a:lnTo>
                          <a:pt x="113" y="145"/>
                        </a:lnTo>
                        <a:lnTo>
                          <a:pt x="113" y="123"/>
                        </a:lnTo>
                        <a:lnTo>
                          <a:pt x="83" y="112"/>
                        </a:lnTo>
                        <a:lnTo>
                          <a:pt x="76" y="102"/>
                        </a:lnTo>
                        <a:lnTo>
                          <a:pt x="54" y="102"/>
                        </a:lnTo>
                        <a:lnTo>
                          <a:pt x="45" y="69"/>
                        </a:lnTo>
                        <a:lnTo>
                          <a:pt x="21" y="74"/>
                        </a:lnTo>
                        <a:lnTo>
                          <a:pt x="7" y="69"/>
                        </a:lnTo>
                        <a:lnTo>
                          <a:pt x="0" y="45"/>
                        </a:lnTo>
                        <a:lnTo>
                          <a:pt x="59" y="12"/>
                        </a:lnTo>
                        <a:lnTo>
                          <a:pt x="59" y="29"/>
                        </a:lnTo>
                        <a:lnTo>
                          <a:pt x="76" y="17"/>
                        </a:lnTo>
                        <a:lnTo>
                          <a:pt x="92" y="29"/>
                        </a:lnTo>
                        <a:lnTo>
                          <a:pt x="120" y="17"/>
                        </a:lnTo>
                        <a:lnTo>
                          <a:pt x="120" y="29"/>
                        </a:lnTo>
                        <a:lnTo>
                          <a:pt x="120" y="12"/>
                        </a:lnTo>
                        <a:lnTo>
                          <a:pt x="130" y="17"/>
                        </a:lnTo>
                        <a:lnTo>
                          <a:pt x="130" y="12"/>
                        </a:lnTo>
                        <a:lnTo>
                          <a:pt x="137" y="0"/>
                        </a:lnTo>
                        <a:lnTo>
                          <a:pt x="146" y="12"/>
                        </a:lnTo>
                        <a:lnTo>
                          <a:pt x="163" y="0"/>
                        </a:lnTo>
                        <a:lnTo>
                          <a:pt x="168" y="12"/>
                        </a:lnTo>
                        <a:lnTo>
                          <a:pt x="175" y="0"/>
                        </a:lnTo>
                        <a:lnTo>
                          <a:pt x="189" y="29"/>
                        </a:lnTo>
                        <a:lnTo>
                          <a:pt x="206" y="17"/>
                        </a:lnTo>
                        <a:lnTo>
                          <a:pt x="227" y="34"/>
                        </a:lnTo>
                        <a:lnTo>
                          <a:pt x="217" y="69"/>
                        </a:lnTo>
                        <a:lnTo>
                          <a:pt x="222" y="74"/>
                        </a:lnTo>
                        <a:lnTo>
                          <a:pt x="243" y="74"/>
                        </a:lnTo>
                        <a:lnTo>
                          <a:pt x="260" y="86"/>
                        </a:lnTo>
                        <a:lnTo>
                          <a:pt x="272" y="112"/>
                        </a:lnTo>
                        <a:lnTo>
                          <a:pt x="255" y="123"/>
                        </a:lnTo>
                        <a:lnTo>
                          <a:pt x="255" y="128"/>
                        </a:lnTo>
                        <a:lnTo>
                          <a:pt x="255" y="128"/>
                        </a:lnTo>
                        <a:lnTo>
                          <a:pt x="255" y="12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1" name="Freeform 397">
                    <a:extLst>
                      <a:ext uri="{FF2B5EF4-FFF2-40B4-BE49-F238E27FC236}">
                        <a16:creationId xmlns:a16="http://schemas.microsoft.com/office/drawing/2014/main" id="{F72C4F7A-E1BA-4F27-9F05-6C9E051A2364}"/>
                      </a:ext>
                    </a:extLst>
                  </p:cNvPr>
                  <p:cNvSpPr>
                    <a:spLocks/>
                  </p:cNvSpPr>
                  <p:nvPr/>
                </p:nvSpPr>
                <p:spPr bwMode="gray">
                  <a:xfrm>
                    <a:off x="7179484" y="2626114"/>
                    <a:ext cx="110739" cy="96341"/>
                  </a:xfrm>
                  <a:custGeom>
                    <a:avLst/>
                    <a:gdLst>
                      <a:gd name="T0" fmla="*/ 130 w 269"/>
                      <a:gd name="T1" fmla="*/ 192 h 234"/>
                      <a:gd name="T2" fmla="*/ 139 w 269"/>
                      <a:gd name="T3" fmla="*/ 192 h 234"/>
                      <a:gd name="T4" fmla="*/ 130 w 269"/>
                      <a:gd name="T5" fmla="*/ 187 h 234"/>
                      <a:gd name="T6" fmla="*/ 108 w 269"/>
                      <a:gd name="T7" fmla="*/ 170 h 234"/>
                      <a:gd name="T8" fmla="*/ 108 w 269"/>
                      <a:gd name="T9" fmla="*/ 154 h 234"/>
                      <a:gd name="T10" fmla="*/ 87 w 269"/>
                      <a:gd name="T11" fmla="*/ 137 h 234"/>
                      <a:gd name="T12" fmla="*/ 54 w 269"/>
                      <a:gd name="T13" fmla="*/ 109 h 234"/>
                      <a:gd name="T14" fmla="*/ 33 w 269"/>
                      <a:gd name="T15" fmla="*/ 92 h 234"/>
                      <a:gd name="T16" fmla="*/ 33 w 269"/>
                      <a:gd name="T17" fmla="*/ 76 h 234"/>
                      <a:gd name="T18" fmla="*/ 33 w 269"/>
                      <a:gd name="T19" fmla="*/ 59 h 234"/>
                      <a:gd name="T20" fmla="*/ 0 w 269"/>
                      <a:gd name="T21" fmla="*/ 38 h 234"/>
                      <a:gd name="T22" fmla="*/ 4 w 269"/>
                      <a:gd name="T23" fmla="*/ 5 h 234"/>
                      <a:gd name="T24" fmla="*/ 21 w 269"/>
                      <a:gd name="T25" fmla="*/ 0 h 234"/>
                      <a:gd name="T26" fmla="*/ 37 w 269"/>
                      <a:gd name="T27" fmla="*/ 22 h 234"/>
                      <a:gd name="T28" fmla="*/ 54 w 269"/>
                      <a:gd name="T29" fmla="*/ 0 h 234"/>
                      <a:gd name="T30" fmla="*/ 75 w 269"/>
                      <a:gd name="T31" fmla="*/ 0 h 234"/>
                      <a:gd name="T32" fmla="*/ 87 w 269"/>
                      <a:gd name="T33" fmla="*/ 0 h 234"/>
                      <a:gd name="T34" fmla="*/ 101 w 269"/>
                      <a:gd name="T35" fmla="*/ 5 h 234"/>
                      <a:gd name="T36" fmla="*/ 146 w 269"/>
                      <a:gd name="T37" fmla="*/ 17 h 234"/>
                      <a:gd name="T38" fmla="*/ 177 w 269"/>
                      <a:gd name="T39" fmla="*/ 5 h 234"/>
                      <a:gd name="T40" fmla="*/ 200 w 269"/>
                      <a:gd name="T41" fmla="*/ 17 h 234"/>
                      <a:gd name="T42" fmla="*/ 215 w 269"/>
                      <a:gd name="T43" fmla="*/ 22 h 234"/>
                      <a:gd name="T44" fmla="*/ 215 w 269"/>
                      <a:gd name="T45" fmla="*/ 26 h 234"/>
                      <a:gd name="T46" fmla="*/ 231 w 269"/>
                      <a:gd name="T47" fmla="*/ 26 h 234"/>
                      <a:gd name="T48" fmla="*/ 252 w 269"/>
                      <a:gd name="T49" fmla="*/ 26 h 234"/>
                      <a:gd name="T50" fmla="*/ 238 w 269"/>
                      <a:gd name="T51" fmla="*/ 76 h 234"/>
                      <a:gd name="T52" fmla="*/ 269 w 269"/>
                      <a:gd name="T53" fmla="*/ 97 h 234"/>
                      <a:gd name="T54" fmla="*/ 264 w 269"/>
                      <a:gd name="T55" fmla="*/ 109 h 234"/>
                      <a:gd name="T56" fmla="*/ 248 w 269"/>
                      <a:gd name="T57" fmla="*/ 109 h 234"/>
                      <a:gd name="T58" fmla="*/ 264 w 269"/>
                      <a:gd name="T59" fmla="*/ 130 h 234"/>
                      <a:gd name="T60" fmla="*/ 264 w 269"/>
                      <a:gd name="T61" fmla="*/ 147 h 234"/>
                      <a:gd name="T62" fmla="*/ 248 w 269"/>
                      <a:gd name="T63" fmla="*/ 147 h 234"/>
                      <a:gd name="T64" fmla="*/ 222 w 269"/>
                      <a:gd name="T65" fmla="*/ 147 h 234"/>
                      <a:gd name="T66" fmla="*/ 238 w 269"/>
                      <a:gd name="T67" fmla="*/ 163 h 234"/>
                      <a:gd name="T68" fmla="*/ 231 w 269"/>
                      <a:gd name="T69" fmla="*/ 170 h 234"/>
                      <a:gd name="T70" fmla="*/ 222 w 269"/>
                      <a:gd name="T71" fmla="*/ 163 h 234"/>
                      <a:gd name="T72" fmla="*/ 210 w 269"/>
                      <a:gd name="T73" fmla="*/ 170 h 234"/>
                      <a:gd name="T74" fmla="*/ 210 w 269"/>
                      <a:gd name="T75" fmla="*/ 187 h 234"/>
                      <a:gd name="T76" fmla="*/ 193 w 269"/>
                      <a:gd name="T77" fmla="*/ 192 h 234"/>
                      <a:gd name="T78" fmla="*/ 193 w 269"/>
                      <a:gd name="T79" fmla="*/ 208 h 234"/>
                      <a:gd name="T80" fmla="*/ 200 w 269"/>
                      <a:gd name="T81" fmla="*/ 225 h 234"/>
                      <a:gd name="T82" fmla="*/ 193 w 269"/>
                      <a:gd name="T83" fmla="*/ 234 h 234"/>
                      <a:gd name="T84" fmla="*/ 146 w 269"/>
                      <a:gd name="T85" fmla="*/ 203 h 234"/>
                      <a:gd name="T86" fmla="*/ 130 w 269"/>
                      <a:gd name="T87" fmla="*/ 203 h 234"/>
                      <a:gd name="T88" fmla="*/ 130 w 269"/>
                      <a:gd name="T89" fmla="*/ 192 h 234"/>
                      <a:gd name="T90" fmla="*/ 130 w 269"/>
                      <a:gd name="T91" fmla="*/ 192 h 234"/>
                      <a:gd name="T92" fmla="*/ 130 w 269"/>
                      <a:gd name="T93" fmla="*/ 19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9" h="234">
                        <a:moveTo>
                          <a:pt x="130" y="192"/>
                        </a:moveTo>
                        <a:lnTo>
                          <a:pt x="139" y="192"/>
                        </a:lnTo>
                        <a:lnTo>
                          <a:pt x="130" y="187"/>
                        </a:lnTo>
                        <a:lnTo>
                          <a:pt x="108" y="170"/>
                        </a:lnTo>
                        <a:lnTo>
                          <a:pt x="108" y="154"/>
                        </a:lnTo>
                        <a:lnTo>
                          <a:pt x="87" y="137"/>
                        </a:lnTo>
                        <a:lnTo>
                          <a:pt x="54" y="109"/>
                        </a:lnTo>
                        <a:lnTo>
                          <a:pt x="33" y="92"/>
                        </a:lnTo>
                        <a:lnTo>
                          <a:pt x="33" y="76"/>
                        </a:lnTo>
                        <a:lnTo>
                          <a:pt x="33" y="59"/>
                        </a:lnTo>
                        <a:lnTo>
                          <a:pt x="0" y="38"/>
                        </a:lnTo>
                        <a:lnTo>
                          <a:pt x="4" y="5"/>
                        </a:lnTo>
                        <a:lnTo>
                          <a:pt x="21" y="0"/>
                        </a:lnTo>
                        <a:lnTo>
                          <a:pt x="37" y="22"/>
                        </a:lnTo>
                        <a:lnTo>
                          <a:pt x="54" y="0"/>
                        </a:lnTo>
                        <a:lnTo>
                          <a:pt x="75" y="0"/>
                        </a:lnTo>
                        <a:lnTo>
                          <a:pt x="87" y="0"/>
                        </a:lnTo>
                        <a:lnTo>
                          <a:pt x="101" y="5"/>
                        </a:lnTo>
                        <a:lnTo>
                          <a:pt x="146" y="17"/>
                        </a:lnTo>
                        <a:lnTo>
                          <a:pt x="177" y="5"/>
                        </a:lnTo>
                        <a:lnTo>
                          <a:pt x="200" y="17"/>
                        </a:lnTo>
                        <a:lnTo>
                          <a:pt x="215" y="22"/>
                        </a:lnTo>
                        <a:lnTo>
                          <a:pt x="215" y="26"/>
                        </a:lnTo>
                        <a:lnTo>
                          <a:pt x="231" y="26"/>
                        </a:lnTo>
                        <a:lnTo>
                          <a:pt x="252" y="26"/>
                        </a:lnTo>
                        <a:lnTo>
                          <a:pt x="238" y="76"/>
                        </a:lnTo>
                        <a:lnTo>
                          <a:pt x="269" y="97"/>
                        </a:lnTo>
                        <a:lnTo>
                          <a:pt x="264" y="109"/>
                        </a:lnTo>
                        <a:lnTo>
                          <a:pt x="248" y="109"/>
                        </a:lnTo>
                        <a:lnTo>
                          <a:pt x="264" y="130"/>
                        </a:lnTo>
                        <a:lnTo>
                          <a:pt x="264" y="147"/>
                        </a:lnTo>
                        <a:lnTo>
                          <a:pt x="248" y="147"/>
                        </a:lnTo>
                        <a:lnTo>
                          <a:pt x="222" y="147"/>
                        </a:lnTo>
                        <a:lnTo>
                          <a:pt x="238" y="163"/>
                        </a:lnTo>
                        <a:lnTo>
                          <a:pt x="231" y="170"/>
                        </a:lnTo>
                        <a:lnTo>
                          <a:pt x="222" y="163"/>
                        </a:lnTo>
                        <a:lnTo>
                          <a:pt x="210" y="170"/>
                        </a:lnTo>
                        <a:lnTo>
                          <a:pt x="210" y="187"/>
                        </a:lnTo>
                        <a:lnTo>
                          <a:pt x="193" y="192"/>
                        </a:lnTo>
                        <a:lnTo>
                          <a:pt x="193" y="208"/>
                        </a:lnTo>
                        <a:lnTo>
                          <a:pt x="200" y="225"/>
                        </a:lnTo>
                        <a:lnTo>
                          <a:pt x="193" y="234"/>
                        </a:lnTo>
                        <a:lnTo>
                          <a:pt x="146" y="203"/>
                        </a:lnTo>
                        <a:lnTo>
                          <a:pt x="130" y="203"/>
                        </a:lnTo>
                        <a:lnTo>
                          <a:pt x="130" y="192"/>
                        </a:lnTo>
                        <a:lnTo>
                          <a:pt x="130" y="192"/>
                        </a:lnTo>
                        <a:lnTo>
                          <a:pt x="130" y="19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2" name="Freeform 401">
                    <a:extLst>
                      <a:ext uri="{FF2B5EF4-FFF2-40B4-BE49-F238E27FC236}">
                        <a16:creationId xmlns:a16="http://schemas.microsoft.com/office/drawing/2014/main" id="{ADA765E8-10EE-41A6-B421-1142819D5F2E}"/>
                      </a:ext>
                    </a:extLst>
                  </p:cNvPr>
                  <p:cNvSpPr>
                    <a:spLocks/>
                  </p:cNvSpPr>
                  <p:nvPr/>
                </p:nvSpPr>
                <p:spPr bwMode="gray">
                  <a:xfrm>
                    <a:off x="7395200" y="2198342"/>
                    <a:ext cx="279112" cy="197212"/>
                  </a:xfrm>
                  <a:custGeom>
                    <a:avLst/>
                    <a:gdLst>
                      <a:gd name="T0" fmla="*/ 26 w 678"/>
                      <a:gd name="T1" fmla="*/ 442 h 479"/>
                      <a:gd name="T2" fmla="*/ 0 w 678"/>
                      <a:gd name="T3" fmla="*/ 376 h 479"/>
                      <a:gd name="T4" fmla="*/ 52 w 678"/>
                      <a:gd name="T5" fmla="*/ 338 h 479"/>
                      <a:gd name="T6" fmla="*/ 26 w 678"/>
                      <a:gd name="T7" fmla="*/ 220 h 479"/>
                      <a:gd name="T8" fmla="*/ 85 w 678"/>
                      <a:gd name="T9" fmla="*/ 227 h 479"/>
                      <a:gd name="T10" fmla="*/ 118 w 678"/>
                      <a:gd name="T11" fmla="*/ 220 h 479"/>
                      <a:gd name="T12" fmla="*/ 135 w 678"/>
                      <a:gd name="T13" fmla="*/ 203 h 479"/>
                      <a:gd name="T14" fmla="*/ 172 w 678"/>
                      <a:gd name="T15" fmla="*/ 187 h 479"/>
                      <a:gd name="T16" fmla="*/ 177 w 678"/>
                      <a:gd name="T17" fmla="*/ 194 h 479"/>
                      <a:gd name="T18" fmla="*/ 161 w 678"/>
                      <a:gd name="T19" fmla="*/ 177 h 479"/>
                      <a:gd name="T20" fmla="*/ 177 w 678"/>
                      <a:gd name="T21" fmla="*/ 120 h 479"/>
                      <a:gd name="T22" fmla="*/ 215 w 678"/>
                      <a:gd name="T23" fmla="*/ 99 h 479"/>
                      <a:gd name="T24" fmla="*/ 253 w 678"/>
                      <a:gd name="T25" fmla="*/ 83 h 479"/>
                      <a:gd name="T26" fmla="*/ 243 w 678"/>
                      <a:gd name="T27" fmla="*/ 45 h 479"/>
                      <a:gd name="T28" fmla="*/ 265 w 678"/>
                      <a:gd name="T29" fmla="*/ 28 h 479"/>
                      <a:gd name="T30" fmla="*/ 307 w 678"/>
                      <a:gd name="T31" fmla="*/ 21 h 479"/>
                      <a:gd name="T32" fmla="*/ 352 w 678"/>
                      <a:gd name="T33" fmla="*/ 0 h 479"/>
                      <a:gd name="T34" fmla="*/ 378 w 678"/>
                      <a:gd name="T35" fmla="*/ 5 h 479"/>
                      <a:gd name="T36" fmla="*/ 411 w 678"/>
                      <a:gd name="T37" fmla="*/ 12 h 479"/>
                      <a:gd name="T38" fmla="*/ 444 w 678"/>
                      <a:gd name="T39" fmla="*/ 21 h 479"/>
                      <a:gd name="T40" fmla="*/ 444 w 678"/>
                      <a:gd name="T41" fmla="*/ 45 h 479"/>
                      <a:gd name="T42" fmla="*/ 498 w 678"/>
                      <a:gd name="T43" fmla="*/ 28 h 479"/>
                      <a:gd name="T44" fmla="*/ 536 w 678"/>
                      <a:gd name="T45" fmla="*/ 54 h 479"/>
                      <a:gd name="T46" fmla="*/ 541 w 678"/>
                      <a:gd name="T47" fmla="*/ 78 h 479"/>
                      <a:gd name="T48" fmla="*/ 553 w 678"/>
                      <a:gd name="T49" fmla="*/ 111 h 479"/>
                      <a:gd name="T50" fmla="*/ 557 w 678"/>
                      <a:gd name="T51" fmla="*/ 149 h 479"/>
                      <a:gd name="T52" fmla="*/ 569 w 678"/>
                      <a:gd name="T53" fmla="*/ 170 h 479"/>
                      <a:gd name="T54" fmla="*/ 612 w 678"/>
                      <a:gd name="T55" fmla="*/ 203 h 479"/>
                      <a:gd name="T56" fmla="*/ 628 w 678"/>
                      <a:gd name="T57" fmla="*/ 231 h 479"/>
                      <a:gd name="T58" fmla="*/ 661 w 678"/>
                      <a:gd name="T59" fmla="*/ 243 h 479"/>
                      <a:gd name="T60" fmla="*/ 650 w 678"/>
                      <a:gd name="T61" fmla="*/ 260 h 479"/>
                      <a:gd name="T62" fmla="*/ 666 w 678"/>
                      <a:gd name="T63" fmla="*/ 276 h 479"/>
                      <a:gd name="T64" fmla="*/ 579 w 678"/>
                      <a:gd name="T65" fmla="*/ 288 h 479"/>
                      <a:gd name="T66" fmla="*/ 591 w 678"/>
                      <a:gd name="T67" fmla="*/ 331 h 479"/>
                      <a:gd name="T68" fmla="*/ 591 w 678"/>
                      <a:gd name="T69" fmla="*/ 354 h 479"/>
                      <a:gd name="T70" fmla="*/ 607 w 678"/>
                      <a:gd name="T71" fmla="*/ 397 h 479"/>
                      <a:gd name="T72" fmla="*/ 541 w 678"/>
                      <a:gd name="T73" fmla="*/ 409 h 479"/>
                      <a:gd name="T74" fmla="*/ 520 w 678"/>
                      <a:gd name="T75" fmla="*/ 442 h 479"/>
                      <a:gd name="T76" fmla="*/ 520 w 678"/>
                      <a:gd name="T77" fmla="*/ 479 h 479"/>
                      <a:gd name="T78" fmla="*/ 465 w 678"/>
                      <a:gd name="T79" fmla="*/ 463 h 479"/>
                      <a:gd name="T80" fmla="*/ 432 w 678"/>
                      <a:gd name="T81" fmla="*/ 463 h 479"/>
                      <a:gd name="T82" fmla="*/ 395 w 678"/>
                      <a:gd name="T83" fmla="*/ 446 h 479"/>
                      <a:gd name="T84" fmla="*/ 378 w 678"/>
                      <a:gd name="T85" fmla="*/ 446 h 479"/>
                      <a:gd name="T86" fmla="*/ 357 w 678"/>
                      <a:gd name="T87" fmla="*/ 442 h 479"/>
                      <a:gd name="T88" fmla="*/ 324 w 678"/>
                      <a:gd name="T89" fmla="*/ 442 h 479"/>
                      <a:gd name="T90" fmla="*/ 319 w 678"/>
                      <a:gd name="T91" fmla="*/ 453 h 479"/>
                      <a:gd name="T92" fmla="*/ 286 w 678"/>
                      <a:gd name="T93" fmla="*/ 446 h 479"/>
                      <a:gd name="T94" fmla="*/ 177 w 678"/>
                      <a:gd name="T95" fmla="*/ 413 h 479"/>
                      <a:gd name="T96" fmla="*/ 64 w 678"/>
                      <a:gd name="T97" fmla="*/ 446 h 479"/>
                      <a:gd name="T98" fmla="*/ 31 w 678"/>
                      <a:gd name="T99" fmla="*/ 453 h 479"/>
                      <a:gd name="T100" fmla="*/ 31 w 678"/>
                      <a:gd name="T101" fmla="*/ 45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8" h="479">
                        <a:moveTo>
                          <a:pt x="31" y="453"/>
                        </a:moveTo>
                        <a:lnTo>
                          <a:pt x="26" y="442"/>
                        </a:lnTo>
                        <a:lnTo>
                          <a:pt x="31" y="397"/>
                        </a:lnTo>
                        <a:lnTo>
                          <a:pt x="0" y="376"/>
                        </a:lnTo>
                        <a:lnTo>
                          <a:pt x="14" y="359"/>
                        </a:lnTo>
                        <a:lnTo>
                          <a:pt x="52" y="338"/>
                        </a:lnTo>
                        <a:lnTo>
                          <a:pt x="52" y="305"/>
                        </a:lnTo>
                        <a:lnTo>
                          <a:pt x="26" y="220"/>
                        </a:lnTo>
                        <a:lnTo>
                          <a:pt x="69" y="220"/>
                        </a:lnTo>
                        <a:lnTo>
                          <a:pt x="85" y="227"/>
                        </a:lnTo>
                        <a:lnTo>
                          <a:pt x="102" y="210"/>
                        </a:lnTo>
                        <a:lnTo>
                          <a:pt x="118" y="220"/>
                        </a:lnTo>
                        <a:lnTo>
                          <a:pt x="118" y="194"/>
                        </a:lnTo>
                        <a:lnTo>
                          <a:pt x="135" y="203"/>
                        </a:lnTo>
                        <a:lnTo>
                          <a:pt x="161" y="177"/>
                        </a:lnTo>
                        <a:lnTo>
                          <a:pt x="172" y="187"/>
                        </a:lnTo>
                        <a:lnTo>
                          <a:pt x="161" y="194"/>
                        </a:lnTo>
                        <a:lnTo>
                          <a:pt x="177" y="194"/>
                        </a:lnTo>
                        <a:lnTo>
                          <a:pt x="177" y="177"/>
                        </a:lnTo>
                        <a:lnTo>
                          <a:pt x="161" y="177"/>
                        </a:lnTo>
                        <a:lnTo>
                          <a:pt x="177" y="153"/>
                        </a:lnTo>
                        <a:lnTo>
                          <a:pt x="177" y="120"/>
                        </a:lnTo>
                        <a:lnTo>
                          <a:pt x="210" y="116"/>
                        </a:lnTo>
                        <a:lnTo>
                          <a:pt x="215" y="99"/>
                        </a:lnTo>
                        <a:lnTo>
                          <a:pt x="232" y="99"/>
                        </a:lnTo>
                        <a:lnTo>
                          <a:pt x="253" y="83"/>
                        </a:lnTo>
                        <a:lnTo>
                          <a:pt x="232" y="78"/>
                        </a:lnTo>
                        <a:lnTo>
                          <a:pt x="243" y="45"/>
                        </a:lnTo>
                        <a:lnTo>
                          <a:pt x="253" y="45"/>
                        </a:lnTo>
                        <a:lnTo>
                          <a:pt x="265" y="28"/>
                        </a:lnTo>
                        <a:lnTo>
                          <a:pt x="307" y="38"/>
                        </a:lnTo>
                        <a:lnTo>
                          <a:pt x="307" y="21"/>
                        </a:lnTo>
                        <a:lnTo>
                          <a:pt x="335" y="0"/>
                        </a:lnTo>
                        <a:lnTo>
                          <a:pt x="352" y="0"/>
                        </a:lnTo>
                        <a:lnTo>
                          <a:pt x="357" y="5"/>
                        </a:lnTo>
                        <a:lnTo>
                          <a:pt x="378" y="5"/>
                        </a:lnTo>
                        <a:lnTo>
                          <a:pt x="390" y="21"/>
                        </a:lnTo>
                        <a:lnTo>
                          <a:pt x="411" y="12"/>
                        </a:lnTo>
                        <a:lnTo>
                          <a:pt x="432" y="21"/>
                        </a:lnTo>
                        <a:lnTo>
                          <a:pt x="444" y="21"/>
                        </a:lnTo>
                        <a:lnTo>
                          <a:pt x="432" y="38"/>
                        </a:lnTo>
                        <a:lnTo>
                          <a:pt x="444" y="45"/>
                        </a:lnTo>
                        <a:lnTo>
                          <a:pt x="470" y="28"/>
                        </a:lnTo>
                        <a:lnTo>
                          <a:pt x="498" y="28"/>
                        </a:lnTo>
                        <a:lnTo>
                          <a:pt x="515" y="28"/>
                        </a:lnTo>
                        <a:lnTo>
                          <a:pt x="536" y="54"/>
                        </a:lnTo>
                        <a:lnTo>
                          <a:pt x="541" y="54"/>
                        </a:lnTo>
                        <a:lnTo>
                          <a:pt x="541" y="78"/>
                        </a:lnTo>
                        <a:lnTo>
                          <a:pt x="536" y="83"/>
                        </a:lnTo>
                        <a:lnTo>
                          <a:pt x="553" y="111"/>
                        </a:lnTo>
                        <a:lnTo>
                          <a:pt x="536" y="132"/>
                        </a:lnTo>
                        <a:lnTo>
                          <a:pt x="557" y="149"/>
                        </a:lnTo>
                        <a:lnTo>
                          <a:pt x="557" y="165"/>
                        </a:lnTo>
                        <a:lnTo>
                          <a:pt x="569" y="170"/>
                        </a:lnTo>
                        <a:lnTo>
                          <a:pt x="574" y="187"/>
                        </a:lnTo>
                        <a:lnTo>
                          <a:pt x="612" y="203"/>
                        </a:lnTo>
                        <a:lnTo>
                          <a:pt x="607" y="231"/>
                        </a:lnTo>
                        <a:lnTo>
                          <a:pt x="628" y="231"/>
                        </a:lnTo>
                        <a:lnTo>
                          <a:pt x="650" y="243"/>
                        </a:lnTo>
                        <a:lnTo>
                          <a:pt x="661" y="243"/>
                        </a:lnTo>
                        <a:lnTo>
                          <a:pt x="650" y="248"/>
                        </a:lnTo>
                        <a:lnTo>
                          <a:pt x="650" y="260"/>
                        </a:lnTo>
                        <a:lnTo>
                          <a:pt x="678" y="265"/>
                        </a:lnTo>
                        <a:lnTo>
                          <a:pt x="666" y="276"/>
                        </a:lnTo>
                        <a:lnTo>
                          <a:pt x="633" y="298"/>
                        </a:lnTo>
                        <a:lnTo>
                          <a:pt x="579" y="288"/>
                        </a:lnTo>
                        <a:lnTo>
                          <a:pt x="569" y="305"/>
                        </a:lnTo>
                        <a:lnTo>
                          <a:pt x="591" y="331"/>
                        </a:lnTo>
                        <a:lnTo>
                          <a:pt x="579" y="338"/>
                        </a:lnTo>
                        <a:lnTo>
                          <a:pt x="591" y="354"/>
                        </a:lnTo>
                        <a:lnTo>
                          <a:pt x="591" y="376"/>
                        </a:lnTo>
                        <a:lnTo>
                          <a:pt x="607" y="397"/>
                        </a:lnTo>
                        <a:lnTo>
                          <a:pt x="541" y="397"/>
                        </a:lnTo>
                        <a:lnTo>
                          <a:pt x="541" y="409"/>
                        </a:lnTo>
                        <a:lnTo>
                          <a:pt x="524" y="425"/>
                        </a:lnTo>
                        <a:lnTo>
                          <a:pt x="520" y="442"/>
                        </a:lnTo>
                        <a:lnTo>
                          <a:pt x="524" y="470"/>
                        </a:lnTo>
                        <a:lnTo>
                          <a:pt x="520" y="479"/>
                        </a:lnTo>
                        <a:lnTo>
                          <a:pt x="487" y="453"/>
                        </a:lnTo>
                        <a:lnTo>
                          <a:pt x="465" y="463"/>
                        </a:lnTo>
                        <a:lnTo>
                          <a:pt x="461" y="453"/>
                        </a:lnTo>
                        <a:lnTo>
                          <a:pt x="432" y="463"/>
                        </a:lnTo>
                        <a:lnTo>
                          <a:pt x="416" y="442"/>
                        </a:lnTo>
                        <a:lnTo>
                          <a:pt x="395" y="446"/>
                        </a:lnTo>
                        <a:lnTo>
                          <a:pt x="390" y="463"/>
                        </a:lnTo>
                        <a:lnTo>
                          <a:pt x="378" y="446"/>
                        </a:lnTo>
                        <a:lnTo>
                          <a:pt x="357" y="446"/>
                        </a:lnTo>
                        <a:lnTo>
                          <a:pt x="357" y="442"/>
                        </a:lnTo>
                        <a:lnTo>
                          <a:pt x="340" y="446"/>
                        </a:lnTo>
                        <a:lnTo>
                          <a:pt x="324" y="442"/>
                        </a:lnTo>
                        <a:lnTo>
                          <a:pt x="319" y="453"/>
                        </a:lnTo>
                        <a:lnTo>
                          <a:pt x="319" y="453"/>
                        </a:lnTo>
                        <a:lnTo>
                          <a:pt x="319" y="446"/>
                        </a:lnTo>
                        <a:lnTo>
                          <a:pt x="286" y="446"/>
                        </a:lnTo>
                        <a:lnTo>
                          <a:pt x="281" y="430"/>
                        </a:lnTo>
                        <a:lnTo>
                          <a:pt x="177" y="413"/>
                        </a:lnTo>
                        <a:lnTo>
                          <a:pt x="85" y="413"/>
                        </a:lnTo>
                        <a:lnTo>
                          <a:pt x="64" y="446"/>
                        </a:lnTo>
                        <a:lnTo>
                          <a:pt x="31" y="442"/>
                        </a:lnTo>
                        <a:lnTo>
                          <a:pt x="31" y="453"/>
                        </a:lnTo>
                        <a:lnTo>
                          <a:pt x="31" y="453"/>
                        </a:lnTo>
                        <a:lnTo>
                          <a:pt x="31" y="45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3" name="Freeform 405">
                    <a:extLst>
                      <a:ext uri="{FF2B5EF4-FFF2-40B4-BE49-F238E27FC236}">
                        <a16:creationId xmlns:a16="http://schemas.microsoft.com/office/drawing/2014/main" id="{B9B6426C-197E-4DAE-B47D-BCC8C330F220}"/>
                      </a:ext>
                    </a:extLst>
                  </p:cNvPr>
                  <p:cNvSpPr>
                    <a:spLocks/>
                  </p:cNvSpPr>
                  <p:nvPr/>
                </p:nvSpPr>
                <p:spPr bwMode="gray">
                  <a:xfrm>
                    <a:off x="7371735" y="2659464"/>
                    <a:ext cx="179900" cy="109928"/>
                  </a:xfrm>
                  <a:custGeom>
                    <a:avLst/>
                    <a:gdLst>
                      <a:gd name="T0" fmla="*/ 400 w 437"/>
                      <a:gd name="T1" fmla="*/ 200 h 267"/>
                      <a:gd name="T2" fmla="*/ 366 w 437"/>
                      <a:gd name="T3" fmla="*/ 210 h 267"/>
                      <a:gd name="T4" fmla="*/ 345 w 437"/>
                      <a:gd name="T5" fmla="*/ 193 h 267"/>
                      <a:gd name="T6" fmla="*/ 329 w 437"/>
                      <a:gd name="T7" fmla="*/ 193 h 267"/>
                      <a:gd name="T8" fmla="*/ 324 w 437"/>
                      <a:gd name="T9" fmla="*/ 200 h 267"/>
                      <a:gd name="T10" fmla="*/ 303 w 437"/>
                      <a:gd name="T11" fmla="*/ 200 h 267"/>
                      <a:gd name="T12" fmla="*/ 291 w 437"/>
                      <a:gd name="T13" fmla="*/ 217 h 267"/>
                      <a:gd name="T14" fmla="*/ 286 w 437"/>
                      <a:gd name="T15" fmla="*/ 217 h 267"/>
                      <a:gd name="T16" fmla="*/ 286 w 437"/>
                      <a:gd name="T17" fmla="*/ 226 h 267"/>
                      <a:gd name="T18" fmla="*/ 260 w 437"/>
                      <a:gd name="T19" fmla="*/ 226 h 267"/>
                      <a:gd name="T20" fmla="*/ 270 w 437"/>
                      <a:gd name="T21" fmla="*/ 238 h 267"/>
                      <a:gd name="T22" fmla="*/ 270 w 437"/>
                      <a:gd name="T23" fmla="*/ 255 h 267"/>
                      <a:gd name="T24" fmla="*/ 206 w 437"/>
                      <a:gd name="T25" fmla="*/ 267 h 267"/>
                      <a:gd name="T26" fmla="*/ 140 w 437"/>
                      <a:gd name="T27" fmla="*/ 238 h 267"/>
                      <a:gd name="T28" fmla="*/ 92 w 437"/>
                      <a:gd name="T29" fmla="*/ 255 h 267"/>
                      <a:gd name="T30" fmla="*/ 43 w 437"/>
                      <a:gd name="T31" fmla="*/ 255 h 267"/>
                      <a:gd name="T32" fmla="*/ 43 w 437"/>
                      <a:gd name="T33" fmla="*/ 217 h 267"/>
                      <a:gd name="T34" fmla="*/ 38 w 437"/>
                      <a:gd name="T35" fmla="*/ 200 h 267"/>
                      <a:gd name="T36" fmla="*/ 17 w 437"/>
                      <a:gd name="T37" fmla="*/ 184 h 267"/>
                      <a:gd name="T38" fmla="*/ 0 w 437"/>
                      <a:gd name="T39" fmla="*/ 165 h 267"/>
                      <a:gd name="T40" fmla="*/ 17 w 437"/>
                      <a:gd name="T41" fmla="*/ 160 h 267"/>
                      <a:gd name="T42" fmla="*/ 5 w 437"/>
                      <a:gd name="T43" fmla="*/ 144 h 267"/>
                      <a:gd name="T44" fmla="*/ 5 w 437"/>
                      <a:gd name="T45" fmla="*/ 127 h 267"/>
                      <a:gd name="T46" fmla="*/ 33 w 437"/>
                      <a:gd name="T47" fmla="*/ 122 h 267"/>
                      <a:gd name="T48" fmla="*/ 43 w 437"/>
                      <a:gd name="T49" fmla="*/ 99 h 267"/>
                      <a:gd name="T50" fmla="*/ 17 w 437"/>
                      <a:gd name="T51" fmla="*/ 73 h 267"/>
                      <a:gd name="T52" fmla="*/ 0 w 437"/>
                      <a:gd name="T53" fmla="*/ 44 h 267"/>
                      <a:gd name="T54" fmla="*/ 5 w 437"/>
                      <a:gd name="T55" fmla="*/ 28 h 267"/>
                      <a:gd name="T56" fmla="*/ 22 w 437"/>
                      <a:gd name="T57" fmla="*/ 0 h 267"/>
                      <a:gd name="T58" fmla="*/ 43 w 437"/>
                      <a:gd name="T59" fmla="*/ 16 h 267"/>
                      <a:gd name="T60" fmla="*/ 38 w 437"/>
                      <a:gd name="T61" fmla="*/ 28 h 267"/>
                      <a:gd name="T62" fmla="*/ 38 w 437"/>
                      <a:gd name="T63" fmla="*/ 44 h 267"/>
                      <a:gd name="T64" fmla="*/ 76 w 437"/>
                      <a:gd name="T65" fmla="*/ 33 h 267"/>
                      <a:gd name="T66" fmla="*/ 130 w 437"/>
                      <a:gd name="T67" fmla="*/ 49 h 267"/>
                      <a:gd name="T68" fmla="*/ 152 w 437"/>
                      <a:gd name="T69" fmla="*/ 44 h 267"/>
                      <a:gd name="T70" fmla="*/ 215 w 437"/>
                      <a:gd name="T71" fmla="*/ 56 h 267"/>
                      <a:gd name="T72" fmla="*/ 239 w 437"/>
                      <a:gd name="T73" fmla="*/ 49 h 267"/>
                      <a:gd name="T74" fmla="*/ 270 w 437"/>
                      <a:gd name="T75" fmla="*/ 28 h 267"/>
                      <a:gd name="T76" fmla="*/ 329 w 437"/>
                      <a:gd name="T77" fmla="*/ 11 h 267"/>
                      <a:gd name="T78" fmla="*/ 345 w 437"/>
                      <a:gd name="T79" fmla="*/ 11 h 267"/>
                      <a:gd name="T80" fmla="*/ 357 w 437"/>
                      <a:gd name="T81" fmla="*/ 28 h 267"/>
                      <a:gd name="T82" fmla="*/ 366 w 437"/>
                      <a:gd name="T83" fmla="*/ 16 h 267"/>
                      <a:gd name="T84" fmla="*/ 378 w 437"/>
                      <a:gd name="T85" fmla="*/ 28 h 267"/>
                      <a:gd name="T86" fmla="*/ 395 w 437"/>
                      <a:gd name="T87" fmla="*/ 28 h 267"/>
                      <a:gd name="T88" fmla="*/ 400 w 437"/>
                      <a:gd name="T89" fmla="*/ 44 h 267"/>
                      <a:gd name="T90" fmla="*/ 437 w 437"/>
                      <a:gd name="T91" fmla="*/ 49 h 267"/>
                      <a:gd name="T92" fmla="*/ 437 w 437"/>
                      <a:gd name="T93" fmla="*/ 73 h 267"/>
                      <a:gd name="T94" fmla="*/ 411 w 437"/>
                      <a:gd name="T95" fmla="*/ 73 h 267"/>
                      <a:gd name="T96" fmla="*/ 395 w 437"/>
                      <a:gd name="T97" fmla="*/ 99 h 267"/>
                      <a:gd name="T98" fmla="*/ 395 w 437"/>
                      <a:gd name="T99" fmla="*/ 139 h 267"/>
                      <a:gd name="T100" fmla="*/ 378 w 437"/>
                      <a:gd name="T101" fmla="*/ 139 h 267"/>
                      <a:gd name="T102" fmla="*/ 362 w 437"/>
                      <a:gd name="T103" fmla="*/ 160 h 267"/>
                      <a:gd name="T104" fmla="*/ 378 w 437"/>
                      <a:gd name="T105" fmla="*/ 160 h 267"/>
                      <a:gd name="T106" fmla="*/ 400 w 437"/>
                      <a:gd name="T107" fmla="*/ 200 h 267"/>
                      <a:gd name="T108" fmla="*/ 400 w 437"/>
                      <a:gd name="T109" fmla="*/ 200 h 267"/>
                      <a:gd name="T110" fmla="*/ 400 w 437"/>
                      <a:gd name="T111" fmla="*/ 20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7" h="267">
                        <a:moveTo>
                          <a:pt x="400" y="200"/>
                        </a:moveTo>
                        <a:lnTo>
                          <a:pt x="366" y="210"/>
                        </a:lnTo>
                        <a:lnTo>
                          <a:pt x="345" y="193"/>
                        </a:lnTo>
                        <a:lnTo>
                          <a:pt x="329" y="193"/>
                        </a:lnTo>
                        <a:lnTo>
                          <a:pt x="324" y="200"/>
                        </a:lnTo>
                        <a:lnTo>
                          <a:pt x="303" y="200"/>
                        </a:lnTo>
                        <a:lnTo>
                          <a:pt x="291" y="217"/>
                        </a:lnTo>
                        <a:lnTo>
                          <a:pt x="286" y="217"/>
                        </a:lnTo>
                        <a:lnTo>
                          <a:pt x="286" y="226"/>
                        </a:lnTo>
                        <a:lnTo>
                          <a:pt x="260" y="226"/>
                        </a:lnTo>
                        <a:lnTo>
                          <a:pt x="270" y="238"/>
                        </a:lnTo>
                        <a:lnTo>
                          <a:pt x="270" y="255"/>
                        </a:lnTo>
                        <a:lnTo>
                          <a:pt x="206" y="267"/>
                        </a:lnTo>
                        <a:lnTo>
                          <a:pt x="140" y="238"/>
                        </a:lnTo>
                        <a:lnTo>
                          <a:pt x="92" y="255"/>
                        </a:lnTo>
                        <a:lnTo>
                          <a:pt x="43" y="255"/>
                        </a:lnTo>
                        <a:lnTo>
                          <a:pt x="43" y="217"/>
                        </a:lnTo>
                        <a:lnTo>
                          <a:pt x="38" y="200"/>
                        </a:lnTo>
                        <a:lnTo>
                          <a:pt x="17" y="184"/>
                        </a:lnTo>
                        <a:lnTo>
                          <a:pt x="0" y="165"/>
                        </a:lnTo>
                        <a:lnTo>
                          <a:pt x="17" y="160"/>
                        </a:lnTo>
                        <a:lnTo>
                          <a:pt x="5" y="144"/>
                        </a:lnTo>
                        <a:lnTo>
                          <a:pt x="5" y="127"/>
                        </a:lnTo>
                        <a:lnTo>
                          <a:pt x="33" y="122"/>
                        </a:lnTo>
                        <a:lnTo>
                          <a:pt x="43" y="99"/>
                        </a:lnTo>
                        <a:lnTo>
                          <a:pt x="17" y="73"/>
                        </a:lnTo>
                        <a:lnTo>
                          <a:pt x="0" y="44"/>
                        </a:lnTo>
                        <a:lnTo>
                          <a:pt x="5" y="28"/>
                        </a:lnTo>
                        <a:lnTo>
                          <a:pt x="22" y="0"/>
                        </a:lnTo>
                        <a:lnTo>
                          <a:pt x="43" y="16"/>
                        </a:lnTo>
                        <a:lnTo>
                          <a:pt x="38" y="28"/>
                        </a:lnTo>
                        <a:lnTo>
                          <a:pt x="38" y="44"/>
                        </a:lnTo>
                        <a:lnTo>
                          <a:pt x="76" y="33"/>
                        </a:lnTo>
                        <a:lnTo>
                          <a:pt x="130" y="49"/>
                        </a:lnTo>
                        <a:lnTo>
                          <a:pt x="152" y="44"/>
                        </a:lnTo>
                        <a:lnTo>
                          <a:pt x="215" y="56"/>
                        </a:lnTo>
                        <a:lnTo>
                          <a:pt x="239" y="49"/>
                        </a:lnTo>
                        <a:lnTo>
                          <a:pt x="270" y="28"/>
                        </a:lnTo>
                        <a:lnTo>
                          <a:pt x="329" y="11"/>
                        </a:lnTo>
                        <a:lnTo>
                          <a:pt x="345" y="11"/>
                        </a:lnTo>
                        <a:lnTo>
                          <a:pt x="357" y="28"/>
                        </a:lnTo>
                        <a:lnTo>
                          <a:pt x="366" y="16"/>
                        </a:lnTo>
                        <a:lnTo>
                          <a:pt x="378" y="28"/>
                        </a:lnTo>
                        <a:lnTo>
                          <a:pt x="395" y="28"/>
                        </a:lnTo>
                        <a:lnTo>
                          <a:pt x="400" y="44"/>
                        </a:lnTo>
                        <a:lnTo>
                          <a:pt x="437" y="49"/>
                        </a:lnTo>
                        <a:lnTo>
                          <a:pt x="437" y="73"/>
                        </a:lnTo>
                        <a:lnTo>
                          <a:pt x="411" y="73"/>
                        </a:lnTo>
                        <a:lnTo>
                          <a:pt x="395" y="99"/>
                        </a:lnTo>
                        <a:lnTo>
                          <a:pt x="395" y="139"/>
                        </a:lnTo>
                        <a:lnTo>
                          <a:pt x="378" y="139"/>
                        </a:lnTo>
                        <a:lnTo>
                          <a:pt x="362" y="160"/>
                        </a:lnTo>
                        <a:lnTo>
                          <a:pt x="378" y="160"/>
                        </a:lnTo>
                        <a:lnTo>
                          <a:pt x="400" y="200"/>
                        </a:lnTo>
                        <a:lnTo>
                          <a:pt x="400" y="200"/>
                        </a:lnTo>
                        <a:lnTo>
                          <a:pt x="400" y="20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4" name="Freeform 425">
                    <a:extLst>
                      <a:ext uri="{FF2B5EF4-FFF2-40B4-BE49-F238E27FC236}">
                        <a16:creationId xmlns:a16="http://schemas.microsoft.com/office/drawing/2014/main" id="{C1E4C85A-805B-4392-88D2-1F1CDC8DD62A}"/>
                      </a:ext>
                    </a:extLst>
                  </p:cNvPr>
                  <p:cNvSpPr>
                    <a:spLocks noEditPoints="1"/>
                  </p:cNvSpPr>
                  <p:nvPr/>
                </p:nvSpPr>
                <p:spPr bwMode="gray">
                  <a:xfrm>
                    <a:off x="6960476" y="2129173"/>
                    <a:ext cx="204188" cy="132161"/>
                  </a:xfrm>
                  <a:custGeom>
                    <a:avLst/>
                    <a:gdLst>
                      <a:gd name="T0" fmla="*/ 10 w 496"/>
                      <a:gd name="T1" fmla="*/ 111 h 321"/>
                      <a:gd name="T2" fmla="*/ 123 w 496"/>
                      <a:gd name="T3" fmla="*/ 12 h 321"/>
                      <a:gd name="T4" fmla="*/ 156 w 496"/>
                      <a:gd name="T5" fmla="*/ 78 h 321"/>
                      <a:gd name="T6" fmla="*/ 43 w 496"/>
                      <a:gd name="T7" fmla="*/ 83 h 321"/>
                      <a:gd name="T8" fmla="*/ 206 w 496"/>
                      <a:gd name="T9" fmla="*/ 57 h 321"/>
                      <a:gd name="T10" fmla="*/ 206 w 496"/>
                      <a:gd name="T11" fmla="*/ 57 h 321"/>
                      <a:gd name="T12" fmla="*/ 43 w 496"/>
                      <a:gd name="T13" fmla="*/ 267 h 321"/>
                      <a:gd name="T14" fmla="*/ 43 w 496"/>
                      <a:gd name="T15" fmla="*/ 267 h 321"/>
                      <a:gd name="T16" fmla="*/ 0 w 496"/>
                      <a:gd name="T17" fmla="*/ 177 h 321"/>
                      <a:gd name="T18" fmla="*/ 0 w 496"/>
                      <a:gd name="T19" fmla="*/ 173 h 321"/>
                      <a:gd name="T20" fmla="*/ 47 w 496"/>
                      <a:gd name="T21" fmla="*/ 123 h 321"/>
                      <a:gd name="T22" fmla="*/ 64 w 496"/>
                      <a:gd name="T23" fmla="*/ 123 h 321"/>
                      <a:gd name="T24" fmla="*/ 85 w 496"/>
                      <a:gd name="T25" fmla="*/ 111 h 321"/>
                      <a:gd name="T26" fmla="*/ 135 w 496"/>
                      <a:gd name="T27" fmla="*/ 66 h 321"/>
                      <a:gd name="T28" fmla="*/ 156 w 496"/>
                      <a:gd name="T29" fmla="*/ 111 h 321"/>
                      <a:gd name="T30" fmla="*/ 206 w 496"/>
                      <a:gd name="T31" fmla="*/ 133 h 321"/>
                      <a:gd name="T32" fmla="*/ 156 w 496"/>
                      <a:gd name="T33" fmla="*/ 156 h 321"/>
                      <a:gd name="T34" fmla="*/ 151 w 496"/>
                      <a:gd name="T35" fmla="*/ 177 h 321"/>
                      <a:gd name="T36" fmla="*/ 135 w 496"/>
                      <a:gd name="T37" fmla="*/ 210 h 321"/>
                      <a:gd name="T38" fmla="*/ 106 w 496"/>
                      <a:gd name="T39" fmla="*/ 260 h 321"/>
                      <a:gd name="T40" fmla="*/ 102 w 496"/>
                      <a:gd name="T41" fmla="*/ 288 h 321"/>
                      <a:gd name="T42" fmla="*/ 43 w 496"/>
                      <a:gd name="T43" fmla="*/ 111 h 321"/>
                      <a:gd name="T44" fmla="*/ 47 w 496"/>
                      <a:gd name="T45" fmla="*/ 99 h 321"/>
                      <a:gd name="T46" fmla="*/ 243 w 496"/>
                      <a:gd name="T47" fmla="*/ 111 h 321"/>
                      <a:gd name="T48" fmla="*/ 243 w 496"/>
                      <a:gd name="T49" fmla="*/ 111 h 321"/>
                      <a:gd name="T50" fmla="*/ 210 w 496"/>
                      <a:gd name="T51" fmla="*/ 210 h 321"/>
                      <a:gd name="T52" fmla="*/ 215 w 496"/>
                      <a:gd name="T53" fmla="*/ 177 h 321"/>
                      <a:gd name="T54" fmla="*/ 265 w 496"/>
                      <a:gd name="T55" fmla="*/ 189 h 321"/>
                      <a:gd name="T56" fmla="*/ 269 w 496"/>
                      <a:gd name="T57" fmla="*/ 189 h 321"/>
                      <a:gd name="T58" fmla="*/ 312 w 496"/>
                      <a:gd name="T59" fmla="*/ 189 h 321"/>
                      <a:gd name="T60" fmla="*/ 269 w 496"/>
                      <a:gd name="T61" fmla="*/ 267 h 321"/>
                      <a:gd name="T62" fmla="*/ 260 w 496"/>
                      <a:gd name="T63" fmla="*/ 279 h 321"/>
                      <a:gd name="T64" fmla="*/ 243 w 496"/>
                      <a:gd name="T65" fmla="*/ 260 h 321"/>
                      <a:gd name="T66" fmla="*/ 173 w 496"/>
                      <a:gd name="T67" fmla="*/ 206 h 321"/>
                      <a:gd name="T68" fmla="*/ 177 w 496"/>
                      <a:gd name="T69" fmla="*/ 189 h 321"/>
                      <a:gd name="T70" fmla="*/ 319 w 496"/>
                      <a:gd name="T71" fmla="*/ 210 h 321"/>
                      <a:gd name="T72" fmla="*/ 173 w 496"/>
                      <a:gd name="T73" fmla="*/ 279 h 321"/>
                      <a:gd name="T74" fmla="*/ 161 w 496"/>
                      <a:gd name="T75" fmla="*/ 227 h 321"/>
                      <a:gd name="T76" fmla="*/ 177 w 496"/>
                      <a:gd name="T77" fmla="*/ 222 h 321"/>
                      <a:gd name="T78" fmla="*/ 173 w 496"/>
                      <a:gd name="T79" fmla="*/ 279 h 321"/>
                      <a:gd name="T80" fmla="*/ 26 w 496"/>
                      <a:gd name="T81" fmla="*/ 234 h 321"/>
                      <a:gd name="T82" fmla="*/ 487 w 496"/>
                      <a:gd name="T83" fmla="*/ 284 h 321"/>
                      <a:gd name="T84" fmla="*/ 487 w 496"/>
                      <a:gd name="T85" fmla="*/ 284 h 321"/>
                      <a:gd name="T86" fmla="*/ 177 w 496"/>
                      <a:gd name="T87" fmla="*/ 288 h 321"/>
                      <a:gd name="T88" fmla="*/ 177 w 496"/>
                      <a:gd name="T89" fmla="*/ 305 h 321"/>
                      <a:gd name="T90" fmla="*/ 118 w 496"/>
                      <a:gd name="T91" fmla="*/ 288 h 321"/>
                      <a:gd name="T92" fmla="*/ 106 w 496"/>
                      <a:gd name="T93" fmla="*/ 279 h 321"/>
                      <a:gd name="T94" fmla="*/ 173 w 496"/>
                      <a:gd name="T95" fmla="*/ 284 h 321"/>
                      <a:gd name="T96" fmla="*/ 173 w 496"/>
                      <a:gd name="T97" fmla="*/ 284 h 321"/>
                      <a:gd name="T98" fmla="*/ 298 w 496"/>
                      <a:gd name="T99" fmla="*/ 279 h 321"/>
                      <a:gd name="T100" fmla="*/ 286 w 496"/>
                      <a:gd name="T101" fmla="*/ 288 h 321"/>
                      <a:gd name="T102" fmla="*/ 269 w 496"/>
                      <a:gd name="T103" fmla="*/ 321 h 321"/>
                      <a:gd name="T104" fmla="*/ 265 w 496"/>
                      <a:gd name="T105" fmla="*/ 284 h 321"/>
                      <a:gd name="T106" fmla="*/ 243 w 496"/>
                      <a:gd name="T107" fmla="*/ 300 h 321"/>
                      <a:gd name="T108" fmla="*/ 206 w 496"/>
                      <a:gd name="T109" fmla="*/ 30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6" h="321">
                        <a:moveTo>
                          <a:pt x="26" y="111"/>
                        </a:moveTo>
                        <a:lnTo>
                          <a:pt x="31" y="116"/>
                        </a:lnTo>
                        <a:lnTo>
                          <a:pt x="31" y="116"/>
                        </a:lnTo>
                        <a:lnTo>
                          <a:pt x="10" y="111"/>
                        </a:lnTo>
                        <a:lnTo>
                          <a:pt x="10" y="99"/>
                        </a:lnTo>
                        <a:lnTo>
                          <a:pt x="31" y="62"/>
                        </a:lnTo>
                        <a:lnTo>
                          <a:pt x="85" y="62"/>
                        </a:lnTo>
                        <a:lnTo>
                          <a:pt x="123" y="12"/>
                        </a:lnTo>
                        <a:lnTo>
                          <a:pt x="177" y="0"/>
                        </a:lnTo>
                        <a:lnTo>
                          <a:pt x="161" y="12"/>
                        </a:lnTo>
                        <a:lnTo>
                          <a:pt x="173" y="57"/>
                        </a:lnTo>
                        <a:lnTo>
                          <a:pt x="156" y="78"/>
                        </a:lnTo>
                        <a:lnTo>
                          <a:pt x="135" y="66"/>
                        </a:lnTo>
                        <a:lnTo>
                          <a:pt x="80" y="78"/>
                        </a:lnTo>
                        <a:lnTo>
                          <a:pt x="69" y="66"/>
                        </a:lnTo>
                        <a:lnTo>
                          <a:pt x="43" y="83"/>
                        </a:lnTo>
                        <a:lnTo>
                          <a:pt x="26" y="111"/>
                        </a:lnTo>
                        <a:lnTo>
                          <a:pt x="26" y="111"/>
                        </a:lnTo>
                        <a:lnTo>
                          <a:pt x="26" y="111"/>
                        </a:lnTo>
                        <a:close/>
                        <a:moveTo>
                          <a:pt x="206" y="57"/>
                        </a:moveTo>
                        <a:lnTo>
                          <a:pt x="194" y="57"/>
                        </a:lnTo>
                        <a:lnTo>
                          <a:pt x="215" y="45"/>
                        </a:lnTo>
                        <a:lnTo>
                          <a:pt x="206" y="57"/>
                        </a:lnTo>
                        <a:lnTo>
                          <a:pt x="206" y="57"/>
                        </a:lnTo>
                        <a:lnTo>
                          <a:pt x="206" y="57"/>
                        </a:lnTo>
                        <a:close/>
                        <a:moveTo>
                          <a:pt x="97" y="300"/>
                        </a:moveTo>
                        <a:lnTo>
                          <a:pt x="43" y="288"/>
                        </a:lnTo>
                        <a:lnTo>
                          <a:pt x="43" y="267"/>
                        </a:lnTo>
                        <a:lnTo>
                          <a:pt x="26" y="279"/>
                        </a:lnTo>
                        <a:lnTo>
                          <a:pt x="26" y="267"/>
                        </a:lnTo>
                        <a:lnTo>
                          <a:pt x="26" y="260"/>
                        </a:lnTo>
                        <a:lnTo>
                          <a:pt x="43" y="267"/>
                        </a:lnTo>
                        <a:lnTo>
                          <a:pt x="31" y="234"/>
                        </a:lnTo>
                        <a:lnTo>
                          <a:pt x="0" y="227"/>
                        </a:lnTo>
                        <a:lnTo>
                          <a:pt x="0" y="206"/>
                        </a:lnTo>
                        <a:lnTo>
                          <a:pt x="0" y="177"/>
                        </a:lnTo>
                        <a:lnTo>
                          <a:pt x="0" y="194"/>
                        </a:lnTo>
                        <a:lnTo>
                          <a:pt x="14" y="189"/>
                        </a:lnTo>
                        <a:lnTo>
                          <a:pt x="10" y="173"/>
                        </a:lnTo>
                        <a:lnTo>
                          <a:pt x="0" y="173"/>
                        </a:lnTo>
                        <a:lnTo>
                          <a:pt x="0" y="177"/>
                        </a:lnTo>
                        <a:lnTo>
                          <a:pt x="0" y="111"/>
                        </a:lnTo>
                        <a:lnTo>
                          <a:pt x="43" y="133"/>
                        </a:lnTo>
                        <a:lnTo>
                          <a:pt x="47" y="123"/>
                        </a:lnTo>
                        <a:lnTo>
                          <a:pt x="43" y="116"/>
                        </a:lnTo>
                        <a:lnTo>
                          <a:pt x="69" y="99"/>
                        </a:lnTo>
                        <a:lnTo>
                          <a:pt x="69" y="111"/>
                        </a:lnTo>
                        <a:lnTo>
                          <a:pt x="64" y="123"/>
                        </a:lnTo>
                        <a:lnTo>
                          <a:pt x="80" y="116"/>
                        </a:lnTo>
                        <a:lnTo>
                          <a:pt x="85" y="123"/>
                        </a:lnTo>
                        <a:lnTo>
                          <a:pt x="85" y="123"/>
                        </a:lnTo>
                        <a:lnTo>
                          <a:pt x="85" y="111"/>
                        </a:lnTo>
                        <a:lnTo>
                          <a:pt x="69" y="111"/>
                        </a:lnTo>
                        <a:lnTo>
                          <a:pt x="69" y="83"/>
                        </a:lnTo>
                        <a:lnTo>
                          <a:pt x="80" y="78"/>
                        </a:lnTo>
                        <a:lnTo>
                          <a:pt x="135" y="66"/>
                        </a:lnTo>
                        <a:lnTo>
                          <a:pt x="156" y="78"/>
                        </a:lnTo>
                        <a:lnTo>
                          <a:pt x="156" y="99"/>
                        </a:lnTo>
                        <a:lnTo>
                          <a:pt x="123" y="116"/>
                        </a:lnTo>
                        <a:lnTo>
                          <a:pt x="156" y="111"/>
                        </a:lnTo>
                        <a:lnTo>
                          <a:pt x="151" y="133"/>
                        </a:lnTo>
                        <a:lnTo>
                          <a:pt x="156" y="123"/>
                        </a:lnTo>
                        <a:lnTo>
                          <a:pt x="194" y="123"/>
                        </a:lnTo>
                        <a:lnTo>
                          <a:pt x="206" y="133"/>
                        </a:lnTo>
                        <a:lnTo>
                          <a:pt x="189" y="168"/>
                        </a:lnTo>
                        <a:lnTo>
                          <a:pt x="177" y="156"/>
                        </a:lnTo>
                        <a:lnTo>
                          <a:pt x="173" y="173"/>
                        </a:lnTo>
                        <a:lnTo>
                          <a:pt x="156" y="156"/>
                        </a:lnTo>
                        <a:lnTo>
                          <a:pt x="161" y="156"/>
                        </a:lnTo>
                        <a:lnTo>
                          <a:pt x="161" y="149"/>
                        </a:lnTo>
                        <a:lnTo>
                          <a:pt x="151" y="168"/>
                        </a:lnTo>
                        <a:lnTo>
                          <a:pt x="151" y="177"/>
                        </a:lnTo>
                        <a:lnTo>
                          <a:pt x="151" y="194"/>
                        </a:lnTo>
                        <a:lnTo>
                          <a:pt x="123" y="194"/>
                        </a:lnTo>
                        <a:lnTo>
                          <a:pt x="135" y="194"/>
                        </a:lnTo>
                        <a:lnTo>
                          <a:pt x="135" y="210"/>
                        </a:lnTo>
                        <a:lnTo>
                          <a:pt x="102" y="210"/>
                        </a:lnTo>
                        <a:lnTo>
                          <a:pt x="118" y="222"/>
                        </a:lnTo>
                        <a:lnTo>
                          <a:pt x="102" y="234"/>
                        </a:lnTo>
                        <a:lnTo>
                          <a:pt x="106" y="260"/>
                        </a:lnTo>
                        <a:lnTo>
                          <a:pt x="97" y="267"/>
                        </a:lnTo>
                        <a:lnTo>
                          <a:pt x="118" y="288"/>
                        </a:lnTo>
                        <a:lnTo>
                          <a:pt x="106" y="300"/>
                        </a:lnTo>
                        <a:lnTo>
                          <a:pt x="102" y="288"/>
                        </a:lnTo>
                        <a:lnTo>
                          <a:pt x="97" y="300"/>
                        </a:lnTo>
                        <a:lnTo>
                          <a:pt x="97" y="300"/>
                        </a:lnTo>
                        <a:lnTo>
                          <a:pt x="97" y="300"/>
                        </a:lnTo>
                        <a:close/>
                        <a:moveTo>
                          <a:pt x="43" y="111"/>
                        </a:moveTo>
                        <a:lnTo>
                          <a:pt x="26" y="99"/>
                        </a:lnTo>
                        <a:lnTo>
                          <a:pt x="31" y="99"/>
                        </a:lnTo>
                        <a:lnTo>
                          <a:pt x="54" y="83"/>
                        </a:lnTo>
                        <a:lnTo>
                          <a:pt x="47" y="99"/>
                        </a:lnTo>
                        <a:lnTo>
                          <a:pt x="43" y="111"/>
                        </a:lnTo>
                        <a:lnTo>
                          <a:pt x="43" y="111"/>
                        </a:lnTo>
                        <a:lnTo>
                          <a:pt x="43" y="111"/>
                        </a:lnTo>
                        <a:close/>
                        <a:moveTo>
                          <a:pt x="243" y="111"/>
                        </a:moveTo>
                        <a:lnTo>
                          <a:pt x="243" y="111"/>
                        </a:lnTo>
                        <a:lnTo>
                          <a:pt x="248" y="111"/>
                        </a:lnTo>
                        <a:lnTo>
                          <a:pt x="243" y="111"/>
                        </a:lnTo>
                        <a:lnTo>
                          <a:pt x="243" y="111"/>
                        </a:lnTo>
                        <a:lnTo>
                          <a:pt x="243" y="111"/>
                        </a:lnTo>
                        <a:close/>
                        <a:moveTo>
                          <a:pt x="243" y="260"/>
                        </a:moveTo>
                        <a:lnTo>
                          <a:pt x="215" y="260"/>
                        </a:lnTo>
                        <a:lnTo>
                          <a:pt x="210" y="210"/>
                        </a:lnTo>
                        <a:lnTo>
                          <a:pt x="194" y="206"/>
                        </a:lnTo>
                        <a:lnTo>
                          <a:pt x="215" y="210"/>
                        </a:lnTo>
                        <a:lnTo>
                          <a:pt x="243" y="194"/>
                        </a:lnTo>
                        <a:lnTo>
                          <a:pt x="215" y="177"/>
                        </a:lnTo>
                        <a:lnTo>
                          <a:pt x="260" y="177"/>
                        </a:lnTo>
                        <a:lnTo>
                          <a:pt x="248" y="194"/>
                        </a:lnTo>
                        <a:lnTo>
                          <a:pt x="260" y="210"/>
                        </a:lnTo>
                        <a:lnTo>
                          <a:pt x="265" y="189"/>
                        </a:lnTo>
                        <a:lnTo>
                          <a:pt x="281" y="206"/>
                        </a:lnTo>
                        <a:lnTo>
                          <a:pt x="269" y="210"/>
                        </a:lnTo>
                        <a:lnTo>
                          <a:pt x="281" y="210"/>
                        </a:lnTo>
                        <a:lnTo>
                          <a:pt x="269" y="189"/>
                        </a:lnTo>
                        <a:lnTo>
                          <a:pt x="265" y="177"/>
                        </a:lnTo>
                        <a:lnTo>
                          <a:pt x="298" y="168"/>
                        </a:lnTo>
                        <a:lnTo>
                          <a:pt x="319" y="173"/>
                        </a:lnTo>
                        <a:lnTo>
                          <a:pt x="312" y="189"/>
                        </a:lnTo>
                        <a:lnTo>
                          <a:pt x="319" y="210"/>
                        </a:lnTo>
                        <a:lnTo>
                          <a:pt x="286" y="234"/>
                        </a:lnTo>
                        <a:lnTo>
                          <a:pt x="302" y="251"/>
                        </a:lnTo>
                        <a:lnTo>
                          <a:pt x="269" y="267"/>
                        </a:lnTo>
                        <a:lnTo>
                          <a:pt x="286" y="267"/>
                        </a:lnTo>
                        <a:lnTo>
                          <a:pt x="286" y="284"/>
                        </a:lnTo>
                        <a:lnTo>
                          <a:pt x="265" y="284"/>
                        </a:lnTo>
                        <a:lnTo>
                          <a:pt x="260" y="279"/>
                        </a:lnTo>
                        <a:lnTo>
                          <a:pt x="260" y="267"/>
                        </a:lnTo>
                        <a:lnTo>
                          <a:pt x="260" y="260"/>
                        </a:lnTo>
                        <a:lnTo>
                          <a:pt x="243" y="260"/>
                        </a:lnTo>
                        <a:lnTo>
                          <a:pt x="243" y="260"/>
                        </a:lnTo>
                        <a:lnTo>
                          <a:pt x="243" y="260"/>
                        </a:lnTo>
                        <a:close/>
                        <a:moveTo>
                          <a:pt x="177" y="189"/>
                        </a:moveTo>
                        <a:lnTo>
                          <a:pt x="173" y="206"/>
                        </a:lnTo>
                        <a:lnTo>
                          <a:pt x="173" y="206"/>
                        </a:lnTo>
                        <a:lnTo>
                          <a:pt x="173" y="177"/>
                        </a:lnTo>
                        <a:lnTo>
                          <a:pt x="177" y="189"/>
                        </a:lnTo>
                        <a:lnTo>
                          <a:pt x="177" y="189"/>
                        </a:lnTo>
                        <a:lnTo>
                          <a:pt x="177" y="189"/>
                        </a:lnTo>
                        <a:close/>
                        <a:moveTo>
                          <a:pt x="319" y="222"/>
                        </a:moveTo>
                        <a:lnTo>
                          <a:pt x="319" y="222"/>
                        </a:lnTo>
                        <a:lnTo>
                          <a:pt x="312" y="222"/>
                        </a:lnTo>
                        <a:lnTo>
                          <a:pt x="319" y="210"/>
                        </a:lnTo>
                        <a:lnTo>
                          <a:pt x="319" y="222"/>
                        </a:lnTo>
                        <a:lnTo>
                          <a:pt x="319" y="222"/>
                        </a:lnTo>
                        <a:lnTo>
                          <a:pt x="319" y="222"/>
                        </a:lnTo>
                        <a:close/>
                        <a:moveTo>
                          <a:pt x="173" y="279"/>
                        </a:moveTo>
                        <a:lnTo>
                          <a:pt x="139" y="279"/>
                        </a:lnTo>
                        <a:lnTo>
                          <a:pt x="106" y="227"/>
                        </a:lnTo>
                        <a:lnTo>
                          <a:pt x="156" y="222"/>
                        </a:lnTo>
                        <a:lnTo>
                          <a:pt x="161" y="227"/>
                        </a:lnTo>
                        <a:lnTo>
                          <a:pt x="161" y="234"/>
                        </a:lnTo>
                        <a:lnTo>
                          <a:pt x="161" y="234"/>
                        </a:lnTo>
                        <a:lnTo>
                          <a:pt x="173" y="227"/>
                        </a:lnTo>
                        <a:lnTo>
                          <a:pt x="177" y="222"/>
                        </a:lnTo>
                        <a:lnTo>
                          <a:pt x="189" y="251"/>
                        </a:lnTo>
                        <a:lnTo>
                          <a:pt x="189" y="279"/>
                        </a:lnTo>
                        <a:lnTo>
                          <a:pt x="173" y="279"/>
                        </a:lnTo>
                        <a:lnTo>
                          <a:pt x="173" y="279"/>
                        </a:lnTo>
                        <a:lnTo>
                          <a:pt x="173" y="279"/>
                        </a:lnTo>
                        <a:close/>
                        <a:moveTo>
                          <a:pt x="26" y="244"/>
                        </a:moveTo>
                        <a:lnTo>
                          <a:pt x="14" y="234"/>
                        </a:lnTo>
                        <a:lnTo>
                          <a:pt x="26" y="234"/>
                        </a:lnTo>
                        <a:lnTo>
                          <a:pt x="26" y="244"/>
                        </a:lnTo>
                        <a:lnTo>
                          <a:pt x="26" y="244"/>
                        </a:lnTo>
                        <a:lnTo>
                          <a:pt x="26" y="244"/>
                        </a:lnTo>
                        <a:close/>
                        <a:moveTo>
                          <a:pt x="487" y="284"/>
                        </a:moveTo>
                        <a:lnTo>
                          <a:pt x="458" y="267"/>
                        </a:lnTo>
                        <a:lnTo>
                          <a:pt x="465" y="251"/>
                        </a:lnTo>
                        <a:lnTo>
                          <a:pt x="496" y="267"/>
                        </a:lnTo>
                        <a:lnTo>
                          <a:pt x="487" y="284"/>
                        </a:lnTo>
                        <a:lnTo>
                          <a:pt x="487" y="284"/>
                        </a:lnTo>
                        <a:lnTo>
                          <a:pt x="487" y="284"/>
                        </a:lnTo>
                        <a:close/>
                        <a:moveTo>
                          <a:pt x="177" y="305"/>
                        </a:moveTo>
                        <a:lnTo>
                          <a:pt x="177" y="288"/>
                        </a:lnTo>
                        <a:lnTo>
                          <a:pt x="206" y="267"/>
                        </a:lnTo>
                        <a:lnTo>
                          <a:pt x="177" y="305"/>
                        </a:lnTo>
                        <a:lnTo>
                          <a:pt x="177" y="305"/>
                        </a:lnTo>
                        <a:lnTo>
                          <a:pt x="177" y="305"/>
                        </a:lnTo>
                        <a:close/>
                        <a:moveTo>
                          <a:pt x="135" y="284"/>
                        </a:moveTo>
                        <a:lnTo>
                          <a:pt x="139" y="288"/>
                        </a:lnTo>
                        <a:lnTo>
                          <a:pt x="123" y="288"/>
                        </a:lnTo>
                        <a:lnTo>
                          <a:pt x="118" y="288"/>
                        </a:lnTo>
                        <a:lnTo>
                          <a:pt x="118" y="284"/>
                        </a:lnTo>
                        <a:lnTo>
                          <a:pt x="118" y="284"/>
                        </a:lnTo>
                        <a:lnTo>
                          <a:pt x="118" y="279"/>
                        </a:lnTo>
                        <a:lnTo>
                          <a:pt x="106" y="279"/>
                        </a:lnTo>
                        <a:lnTo>
                          <a:pt x="135" y="284"/>
                        </a:lnTo>
                        <a:lnTo>
                          <a:pt x="135" y="284"/>
                        </a:lnTo>
                        <a:lnTo>
                          <a:pt x="135" y="284"/>
                        </a:lnTo>
                        <a:close/>
                        <a:moveTo>
                          <a:pt x="173" y="284"/>
                        </a:moveTo>
                        <a:lnTo>
                          <a:pt x="161" y="284"/>
                        </a:lnTo>
                        <a:lnTo>
                          <a:pt x="177" y="284"/>
                        </a:lnTo>
                        <a:lnTo>
                          <a:pt x="173" y="284"/>
                        </a:lnTo>
                        <a:lnTo>
                          <a:pt x="173" y="284"/>
                        </a:lnTo>
                        <a:lnTo>
                          <a:pt x="173" y="284"/>
                        </a:lnTo>
                        <a:close/>
                        <a:moveTo>
                          <a:pt x="286" y="288"/>
                        </a:moveTo>
                        <a:lnTo>
                          <a:pt x="281" y="284"/>
                        </a:lnTo>
                        <a:lnTo>
                          <a:pt x="298" y="279"/>
                        </a:lnTo>
                        <a:lnTo>
                          <a:pt x="312" y="284"/>
                        </a:lnTo>
                        <a:lnTo>
                          <a:pt x="286" y="288"/>
                        </a:lnTo>
                        <a:lnTo>
                          <a:pt x="286" y="288"/>
                        </a:lnTo>
                        <a:lnTo>
                          <a:pt x="286" y="288"/>
                        </a:lnTo>
                        <a:close/>
                        <a:moveTo>
                          <a:pt x="265" y="284"/>
                        </a:moveTo>
                        <a:lnTo>
                          <a:pt x="286" y="300"/>
                        </a:lnTo>
                        <a:lnTo>
                          <a:pt x="269" y="317"/>
                        </a:lnTo>
                        <a:lnTo>
                          <a:pt x="269" y="321"/>
                        </a:lnTo>
                        <a:lnTo>
                          <a:pt x="248" y="288"/>
                        </a:lnTo>
                        <a:lnTo>
                          <a:pt x="265" y="284"/>
                        </a:lnTo>
                        <a:lnTo>
                          <a:pt x="265" y="284"/>
                        </a:lnTo>
                        <a:lnTo>
                          <a:pt x="265" y="284"/>
                        </a:lnTo>
                        <a:close/>
                        <a:moveTo>
                          <a:pt x="206" y="300"/>
                        </a:moveTo>
                        <a:lnTo>
                          <a:pt x="210" y="288"/>
                        </a:lnTo>
                        <a:lnTo>
                          <a:pt x="215" y="284"/>
                        </a:lnTo>
                        <a:lnTo>
                          <a:pt x="243" y="300"/>
                        </a:lnTo>
                        <a:lnTo>
                          <a:pt x="248" y="288"/>
                        </a:lnTo>
                        <a:lnTo>
                          <a:pt x="265" y="317"/>
                        </a:lnTo>
                        <a:lnTo>
                          <a:pt x="232" y="317"/>
                        </a:lnTo>
                        <a:lnTo>
                          <a:pt x="206" y="300"/>
                        </a:lnTo>
                        <a:lnTo>
                          <a:pt x="206" y="300"/>
                        </a:lnTo>
                        <a:lnTo>
                          <a:pt x="206" y="30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5" name="Freeform 431">
                    <a:extLst>
                      <a:ext uri="{FF2B5EF4-FFF2-40B4-BE49-F238E27FC236}">
                        <a16:creationId xmlns:a16="http://schemas.microsoft.com/office/drawing/2014/main" id="{9E097904-3BFB-4327-9733-6BB994EAD02B}"/>
                      </a:ext>
                    </a:extLst>
                  </p:cNvPr>
                  <p:cNvSpPr>
                    <a:spLocks noEditPoints="1"/>
                  </p:cNvSpPr>
                  <p:nvPr/>
                </p:nvSpPr>
                <p:spPr bwMode="gray">
                  <a:xfrm>
                    <a:off x="6424894" y="2230456"/>
                    <a:ext cx="125147" cy="158511"/>
                  </a:xfrm>
                  <a:custGeom>
                    <a:avLst/>
                    <a:gdLst>
                      <a:gd name="T0" fmla="*/ 198 w 304"/>
                      <a:gd name="T1" fmla="*/ 59 h 385"/>
                      <a:gd name="T2" fmla="*/ 193 w 304"/>
                      <a:gd name="T3" fmla="*/ 75 h 385"/>
                      <a:gd name="T4" fmla="*/ 181 w 304"/>
                      <a:gd name="T5" fmla="*/ 116 h 385"/>
                      <a:gd name="T6" fmla="*/ 236 w 304"/>
                      <a:gd name="T7" fmla="*/ 92 h 385"/>
                      <a:gd name="T8" fmla="*/ 288 w 304"/>
                      <a:gd name="T9" fmla="*/ 125 h 385"/>
                      <a:gd name="T10" fmla="*/ 283 w 304"/>
                      <a:gd name="T11" fmla="*/ 132 h 385"/>
                      <a:gd name="T12" fmla="*/ 304 w 304"/>
                      <a:gd name="T13" fmla="*/ 182 h 385"/>
                      <a:gd name="T14" fmla="*/ 304 w 304"/>
                      <a:gd name="T15" fmla="*/ 220 h 385"/>
                      <a:gd name="T16" fmla="*/ 288 w 304"/>
                      <a:gd name="T17" fmla="*/ 264 h 385"/>
                      <a:gd name="T18" fmla="*/ 274 w 304"/>
                      <a:gd name="T19" fmla="*/ 298 h 385"/>
                      <a:gd name="T20" fmla="*/ 283 w 304"/>
                      <a:gd name="T21" fmla="*/ 314 h 385"/>
                      <a:gd name="T22" fmla="*/ 236 w 304"/>
                      <a:gd name="T23" fmla="*/ 298 h 385"/>
                      <a:gd name="T24" fmla="*/ 198 w 304"/>
                      <a:gd name="T25" fmla="*/ 319 h 385"/>
                      <a:gd name="T26" fmla="*/ 181 w 304"/>
                      <a:gd name="T27" fmla="*/ 331 h 385"/>
                      <a:gd name="T28" fmla="*/ 160 w 304"/>
                      <a:gd name="T29" fmla="*/ 347 h 385"/>
                      <a:gd name="T30" fmla="*/ 155 w 304"/>
                      <a:gd name="T31" fmla="*/ 335 h 385"/>
                      <a:gd name="T32" fmla="*/ 144 w 304"/>
                      <a:gd name="T33" fmla="*/ 335 h 385"/>
                      <a:gd name="T34" fmla="*/ 122 w 304"/>
                      <a:gd name="T35" fmla="*/ 368 h 385"/>
                      <a:gd name="T36" fmla="*/ 70 w 304"/>
                      <a:gd name="T37" fmla="*/ 373 h 385"/>
                      <a:gd name="T38" fmla="*/ 59 w 304"/>
                      <a:gd name="T39" fmla="*/ 368 h 385"/>
                      <a:gd name="T40" fmla="*/ 70 w 304"/>
                      <a:gd name="T41" fmla="*/ 364 h 385"/>
                      <a:gd name="T42" fmla="*/ 21 w 304"/>
                      <a:gd name="T43" fmla="*/ 368 h 385"/>
                      <a:gd name="T44" fmla="*/ 21 w 304"/>
                      <a:gd name="T45" fmla="*/ 352 h 385"/>
                      <a:gd name="T46" fmla="*/ 4 w 304"/>
                      <a:gd name="T47" fmla="*/ 352 h 385"/>
                      <a:gd name="T48" fmla="*/ 16 w 304"/>
                      <a:gd name="T49" fmla="*/ 331 h 385"/>
                      <a:gd name="T50" fmla="*/ 0 w 304"/>
                      <a:gd name="T51" fmla="*/ 319 h 385"/>
                      <a:gd name="T52" fmla="*/ 21 w 304"/>
                      <a:gd name="T53" fmla="*/ 298 h 385"/>
                      <a:gd name="T54" fmla="*/ 49 w 304"/>
                      <a:gd name="T55" fmla="*/ 290 h 385"/>
                      <a:gd name="T56" fmla="*/ 113 w 304"/>
                      <a:gd name="T57" fmla="*/ 264 h 385"/>
                      <a:gd name="T58" fmla="*/ 92 w 304"/>
                      <a:gd name="T59" fmla="*/ 264 h 385"/>
                      <a:gd name="T60" fmla="*/ 70 w 304"/>
                      <a:gd name="T61" fmla="*/ 253 h 385"/>
                      <a:gd name="T62" fmla="*/ 70 w 304"/>
                      <a:gd name="T63" fmla="*/ 236 h 385"/>
                      <a:gd name="T64" fmla="*/ 106 w 304"/>
                      <a:gd name="T65" fmla="*/ 220 h 385"/>
                      <a:gd name="T66" fmla="*/ 59 w 304"/>
                      <a:gd name="T67" fmla="*/ 208 h 385"/>
                      <a:gd name="T68" fmla="*/ 49 w 304"/>
                      <a:gd name="T69" fmla="*/ 203 h 385"/>
                      <a:gd name="T70" fmla="*/ 49 w 304"/>
                      <a:gd name="T71" fmla="*/ 187 h 385"/>
                      <a:gd name="T72" fmla="*/ 16 w 304"/>
                      <a:gd name="T73" fmla="*/ 182 h 385"/>
                      <a:gd name="T74" fmla="*/ 37 w 304"/>
                      <a:gd name="T75" fmla="*/ 170 h 385"/>
                      <a:gd name="T76" fmla="*/ 59 w 304"/>
                      <a:gd name="T77" fmla="*/ 153 h 385"/>
                      <a:gd name="T78" fmla="*/ 37 w 304"/>
                      <a:gd name="T79" fmla="*/ 149 h 385"/>
                      <a:gd name="T80" fmla="*/ 49 w 304"/>
                      <a:gd name="T81" fmla="*/ 142 h 385"/>
                      <a:gd name="T82" fmla="*/ 21 w 304"/>
                      <a:gd name="T83" fmla="*/ 125 h 385"/>
                      <a:gd name="T84" fmla="*/ 33 w 304"/>
                      <a:gd name="T85" fmla="*/ 99 h 385"/>
                      <a:gd name="T86" fmla="*/ 49 w 304"/>
                      <a:gd name="T87" fmla="*/ 99 h 385"/>
                      <a:gd name="T88" fmla="*/ 92 w 304"/>
                      <a:gd name="T89" fmla="*/ 116 h 385"/>
                      <a:gd name="T90" fmla="*/ 139 w 304"/>
                      <a:gd name="T91" fmla="*/ 109 h 385"/>
                      <a:gd name="T92" fmla="*/ 155 w 304"/>
                      <a:gd name="T93" fmla="*/ 87 h 385"/>
                      <a:gd name="T94" fmla="*/ 127 w 304"/>
                      <a:gd name="T95" fmla="*/ 75 h 385"/>
                      <a:gd name="T96" fmla="*/ 144 w 304"/>
                      <a:gd name="T97" fmla="*/ 42 h 385"/>
                      <a:gd name="T98" fmla="*/ 144 w 304"/>
                      <a:gd name="T99" fmla="*/ 38 h 385"/>
                      <a:gd name="T100" fmla="*/ 144 w 304"/>
                      <a:gd name="T101" fmla="*/ 21 h 385"/>
                      <a:gd name="T102" fmla="*/ 193 w 304"/>
                      <a:gd name="T103" fmla="*/ 33 h 385"/>
                      <a:gd name="T104" fmla="*/ 181 w 304"/>
                      <a:gd name="T105" fmla="*/ 16 h 385"/>
                      <a:gd name="T106" fmla="*/ 207 w 304"/>
                      <a:gd name="T107" fmla="*/ 21 h 385"/>
                      <a:gd name="T108" fmla="*/ 207 w 304"/>
                      <a:gd name="T109" fmla="*/ 33 h 385"/>
                      <a:gd name="T110" fmla="*/ 215 w 304"/>
                      <a:gd name="T111" fmla="*/ 5 h 385"/>
                      <a:gd name="T112" fmla="*/ 245 w 304"/>
                      <a:gd name="T113" fmla="*/ 16 h 385"/>
                      <a:gd name="T114" fmla="*/ 219 w 304"/>
                      <a:gd name="T115" fmla="*/ 33 h 385"/>
                      <a:gd name="T116" fmla="*/ 21 w 304"/>
                      <a:gd name="T117" fmla="*/ 132 h 385"/>
                      <a:gd name="T118" fmla="*/ 37 w 304"/>
                      <a:gd name="T119" fmla="*/ 149 h 385"/>
                      <a:gd name="T120" fmla="*/ 21 w 304"/>
                      <a:gd name="T121" fmla="*/ 132 h 385"/>
                      <a:gd name="T122" fmla="*/ 21 w 304"/>
                      <a:gd name="T123" fmla="*/ 132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4" h="385">
                        <a:moveTo>
                          <a:pt x="219" y="33"/>
                        </a:moveTo>
                        <a:lnTo>
                          <a:pt x="198" y="59"/>
                        </a:lnTo>
                        <a:lnTo>
                          <a:pt x="177" y="71"/>
                        </a:lnTo>
                        <a:lnTo>
                          <a:pt x="193" y="75"/>
                        </a:lnTo>
                        <a:lnTo>
                          <a:pt x="160" y="92"/>
                        </a:lnTo>
                        <a:lnTo>
                          <a:pt x="181" y="116"/>
                        </a:lnTo>
                        <a:lnTo>
                          <a:pt x="219" y="125"/>
                        </a:lnTo>
                        <a:lnTo>
                          <a:pt x="236" y="92"/>
                        </a:lnTo>
                        <a:lnTo>
                          <a:pt x="266" y="132"/>
                        </a:lnTo>
                        <a:lnTo>
                          <a:pt x="288" y="125"/>
                        </a:lnTo>
                        <a:lnTo>
                          <a:pt x="304" y="132"/>
                        </a:lnTo>
                        <a:lnTo>
                          <a:pt x="283" y="132"/>
                        </a:lnTo>
                        <a:lnTo>
                          <a:pt x="283" y="142"/>
                        </a:lnTo>
                        <a:lnTo>
                          <a:pt x="304" y="182"/>
                        </a:lnTo>
                        <a:lnTo>
                          <a:pt x="288" y="198"/>
                        </a:lnTo>
                        <a:lnTo>
                          <a:pt x="304" y="220"/>
                        </a:lnTo>
                        <a:lnTo>
                          <a:pt x="304" y="236"/>
                        </a:lnTo>
                        <a:lnTo>
                          <a:pt x="288" y="264"/>
                        </a:lnTo>
                        <a:lnTo>
                          <a:pt x="300" y="274"/>
                        </a:lnTo>
                        <a:lnTo>
                          <a:pt x="274" y="298"/>
                        </a:lnTo>
                        <a:lnTo>
                          <a:pt x="288" y="307"/>
                        </a:lnTo>
                        <a:lnTo>
                          <a:pt x="283" y="314"/>
                        </a:lnTo>
                        <a:lnTo>
                          <a:pt x="245" y="314"/>
                        </a:lnTo>
                        <a:lnTo>
                          <a:pt x="236" y="298"/>
                        </a:lnTo>
                        <a:lnTo>
                          <a:pt x="236" y="314"/>
                        </a:lnTo>
                        <a:lnTo>
                          <a:pt x="198" y="319"/>
                        </a:lnTo>
                        <a:lnTo>
                          <a:pt x="198" y="331"/>
                        </a:lnTo>
                        <a:lnTo>
                          <a:pt x="181" y="331"/>
                        </a:lnTo>
                        <a:lnTo>
                          <a:pt x="177" y="335"/>
                        </a:lnTo>
                        <a:lnTo>
                          <a:pt x="160" y="347"/>
                        </a:lnTo>
                        <a:lnTo>
                          <a:pt x="155" y="347"/>
                        </a:lnTo>
                        <a:lnTo>
                          <a:pt x="155" y="335"/>
                        </a:lnTo>
                        <a:lnTo>
                          <a:pt x="139" y="335"/>
                        </a:lnTo>
                        <a:lnTo>
                          <a:pt x="144" y="335"/>
                        </a:lnTo>
                        <a:lnTo>
                          <a:pt x="144" y="352"/>
                        </a:lnTo>
                        <a:lnTo>
                          <a:pt x="122" y="368"/>
                        </a:lnTo>
                        <a:lnTo>
                          <a:pt x="85" y="373"/>
                        </a:lnTo>
                        <a:lnTo>
                          <a:pt x="70" y="373"/>
                        </a:lnTo>
                        <a:lnTo>
                          <a:pt x="49" y="385"/>
                        </a:lnTo>
                        <a:lnTo>
                          <a:pt x="59" y="368"/>
                        </a:lnTo>
                        <a:lnTo>
                          <a:pt x="49" y="368"/>
                        </a:lnTo>
                        <a:lnTo>
                          <a:pt x="70" y="364"/>
                        </a:lnTo>
                        <a:lnTo>
                          <a:pt x="59" y="352"/>
                        </a:lnTo>
                        <a:lnTo>
                          <a:pt x="21" y="368"/>
                        </a:lnTo>
                        <a:lnTo>
                          <a:pt x="59" y="335"/>
                        </a:lnTo>
                        <a:lnTo>
                          <a:pt x="21" y="352"/>
                        </a:lnTo>
                        <a:lnTo>
                          <a:pt x="16" y="347"/>
                        </a:lnTo>
                        <a:lnTo>
                          <a:pt x="4" y="352"/>
                        </a:lnTo>
                        <a:lnTo>
                          <a:pt x="4" y="335"/>
                        </a:lnTo>
                        <a:lnTo>
                          <a:pt x="16" y="331"/>
                        </a:lnTo>
                        <a:lnTo>
                          <a:pt x="49" y="314"/>
                        </a:lnTo>
                        <a:lnTo>
                          <a:pt x="0" y="319"/>
                        </a:lnTo>
                        <a:lnTo>
                          <a:pt x="0" y="314"/>
                        </a:lnTo>
                        <a:lnTo>
                          <a:pt x="21" y="298"/>
                        </a:lnTo>
                        <a:lnTo>
                          <a:pt x="49" y="307"/>
                        </a:lnTo>
                        <a:lnTo>
                          <a:pt x="49" y="290"/>
                        </a:lnTo>
                        <a:lnTo>
                          <a:pt x="54" y="274"/>
                        </a:lnTo>
                        <a:lnTo>
                          <a:pt x="113" y="264"/>
                        </a:lnTo>
                        <a:lnTo>
                          <a:pt x="101" y="257"/>
                        </a:lnTo>
                        <a:lnTo>
                          <a:pt x="92" y="264"/>
                        </a:lnTo>
                        <a:lnTo>
                          <a:pt x="37" y="274"/>
                        </a:lnTo>
                        <a:lnTo>
                          <a:pt x="70" y="253"/>
                        </a:lnTo>
                        <a:lnTo>
                          <a:pt x="75" y="241"/>
                        </a:lnTo>
                        <a:lnTo>
                          <a:pt x="70" y="236"/>
                        </a:lnTo>
                        <a:lnTo>
                          <a:pt x="85" y="220"/>
                        </a:lnTo>
                        <a:lnTo>
                          <a:pt x="106" y="220"/>
                        </a:lnTo>
                        <a:lnTo>
                          <a:pt x="106" y="203"/>
                        </a:lnTo>
                        <a:lnTo>
                          <a:pt x="59" y="208"/>
                        </a:lnTo>
                        <a:lnTo>
                          <a:pt x="59" y="198"/>
                        </a:lnTo>
                        <a:lnTo>
                          <a:pt x="49" y="203"/>
                        </a:lnTo>
                        <a:lnTo>
                          <a:pt x="37" y="203"/>
                        </a:lnTo>
                        <a:lnTo>
                          <a:pt x="49" y="187"/>
                        </a:lnTo>
                        <a:lnTo>
                          <a:pt x="21" y="198"/>
                        </a:lnTo>
                        <a:lnTo>
                          <a:pt x="16" y="182"/>
                        </a:lnTo>
                        <a:lnTo>
                          <a:pt x="54" y="170"/>
                        </a:lnTo>
                        <a:lnTo>
                          <a:pt x="37" y="170"/>
                        </a:lnTo>
                        <a:lnTo>
                          <a:pt x="37" y="153"/>
                        </a:lnTo>
                        <a:lnTo>
                          <a:pt x="59" y="153"/>
                        </a:lnTo>
                        <a:lnTo>
                          <a:pt x="59" y="149"/>
                        </a:lnTo>
                        <a:lnTo>
                          <a:pt x="37" y="149"/>
                        </a:lnTo>
                        <a:lnTo>
                          <a:pt x="37" y="142"/>
                        </a:lnTo>
                        <a:lnTo>
                          <a:pt x="49" y="142"/>
                        </a:lnTo>
                        <a:lnTo>
                          <a:pt x="33" y="109"/>
                        </a:lnTo>
                        <a:lnTo>
                          <a:pt x="21" y="125"/>
                        </a:lnTo>
                        <a:lnTo>
                          <a:pt x="21" y="109"/>
                        </a:lnTo>
                        <a:lnTo>
                          <a:pt x="33" y="99"/>
                        </a:lnTo>
                        <a:lnTo>
                          <a:pt x="37" y="116"/>
                        </a:lnTo>
                        <a:lnTo>
                          <a:pt x="49" y="99"/>
                        </a:lnTo>
                        <a:lnTo>
                          <a:pt x="75" y="99"/>
                        </a:lnTo>
                        <a:lnTo>
                          <a:pt x="92" y="116"/>
                        </a:lnTo>
                        <a:lnTo>
                          <a:pt x="101" y="109"/>
                        </a:lnTo>
                        <a:lnTo>
                          <a:pt x="139" y="109"/>
                        </a:lnTo>
                        <a:lnTo>
                          <a:pt x="122" y="99"/>
                        </a:lnTo>
                        <a:lnTo>
                          <a:pt x="155" y="87"/>
                        </a:lnTo>
                        <a:lnTo>
                          <a:pt x="160" y="71"/>
                        </a:lnTo>
                        <a:lnTo>
                          <a:pt x="127" y="75"/>
                        </a:lnTo>
                        <a:lnTo>
                          <a:pt x="113" y="71"/>
                        </a:lnTo>
                        <a:lnTo>
                          <a:pt x="144" y="42"/>
                        </a:lnTo>
                        <a:lnTo>
                          <a:pt x="139" y="38"/>
                        </a:lnTo>
                        <a:lnTo>
                          <a:pt x="144" y="38"/>
                        </a:lnTo>
                        <a:lnTo>
                          <a:pt x="139" y="38"/>
                        </a:lnTo>
                        <a:lnTo>
                          <a:pt x="144" y="21"/>
                        </a:lnTo>
                        <a:lnTo>
                          <a:pt x="181" y="16"/>
                        </a:lnTo>
                        <a:lnTo>
                          <a:pt x="193" y="33"/>
                        </a:lnTo>
                        <a:lnTo>
                          <a:pt x="193" y="16"/>
                        </a:lnTo>
                        <a:lnTo>
                          <a:pt x="181" y="16"/>
                        </a:lnTo>
                        <a:lnTo>
                          <a:pt x="193" y="5"/>
                        </a:lnTo>
                        <a:lnTo>
                          <a:pt x="207" y="21"/>
                        </a:lnTo>
                        <a:lnTo>
                          <a:pt x="193" y="38"/>
                        </a:lnTo>
                        <a:lnTo>
                          <a:pt x="207" y="33"/>
                        </a:lnTo>
                        <a:lnTo>
                          <a:pt x="198" y="16"/>
                        </a:lnTo>
                        <a:lnTo>
                          <a:pt x="215" y="5"/>
                        </a:lnTo>
                        <a:lnTo>
                          <a:pt x="215" y="0"/>
                        </a:lnTo>
                        <a:lnTo>
                          <a:pt x="245" y="16"/>
                        </a:lnTo>
                        <a:lnTo>
                          <a:pt x="219" y="33"/>
                        </a:lnTo>
                        <a:lnTo>
                          <a:pt x="219" y="33"/>
                        </a:lnTo>
                        <a:lnTo>
                          <a:pt x="219" y="33"/>
                        </a:lnTo>
                        <a:close/>
                        <a:moveTo>
                          <a:pt x="21" y="132"/>
                        </a:moveTo>
                        <a:lnTo>
                          <a:pt x="33" y="132"/>
                        </a:lnTo>
                        <a:lnTo>
                          <a:pt x="37" y="149"/>
                        </a:lnTo>
                        <a:lnTo>
                          <a:pt x="16" y="142"/>
                        </a:lnTo>
                        <a:lnTo>
                          <a:pt x="21" y="132"/>
                        </a:lnTo>
                        <a:lnTo>
                          <a:pt x="21" y="132"/>
                        </a:lnTo>
                        <a:lnTo>
                          <a:pt x="21" y="13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7" name="Freeform 433">
                    <a:extLst>
                      <a:ext uri="{FF2B5EF4-FFF2-40B4-BE49-F238E27FC236}">
                        <a16:creationId xmlns:a16="http://schemas.microsoft.com/office/drawing/2014/main" id="{47A80350-C454-487F-8854-FE4CD4586B02}"/>
                      </a:ext>
                    </a:extLst>
                  </p:cNvPr>
                  <p:cNvSpPr>
                    <a:spLocks noEditPoints="1"/>
                  </p:cNvSpPr>
                  <p:nvPr/>
                </p:nvSpPr>
                <p:spPr bwMode="gray">
                  <a:xfrm>
                    <a:off x="7356503" y="2048477"/>
                    <a:ext cx="182782" cy="89755"/>
                  </a:xfrm>
                  <a:custGeom>
                    <a:avLst/>
                    <a:gdLst>
                      <a:gd name="T0" fmla="*/ 359 w 444"/>
                      <a:gd name="T1" fmla="*/ 208 h 218"/>
                      <a:gd name="T2" fmla="*/ 295 w 444"/>
                      <a:gd name="T3" fmla="*/ 184 h 218"/>
                      <a:gd name="T4" fmla="*/ 240 w 444"/>
                      <a:gd name="T5" fmla="*/ 168 h 218"/>
                      <a:gd name="T6" fmla="*/ 177 w 444"/>
                      <a:gd name="T7" fmla="*/ 184 h 218"/>
                      <a:gd name="T8" fmla="*/ 177 w 444"/>
                      <a:gd name="T9" fmla="*/ 130 h 218"/>
                      <a:gd name="T10" fmla="*/ 132 w 444"/>
                      <a:gd name="T11" fmla="*/ 130 h 218"/>
                      <a:gd name="T12" fmla="*/ 122 w 444"/>
                      <a:gd name="T13" fmla="*/ 97 h 218"/>
                      <a:gd name="T14" fmla="*/ 111 w 444"/>
                      <a:gd name="T15" fmla="*/ 88 h 218"/>
                      <a:gd name="T16" fmla="*/ 127 w 444"/>
                      <a:gd name="T17" fmla="*/ 71 h 218"/>
                      <a:gd name="T18" fmla="*/ 127 w 444"/>
                      <a:gd name="T19" fmla="*/ 71 h 218"/>
                      <a:gd name="T20" fmla="*/ 111 w 444"/>
                      <a:gd name="T21" fmla="*/ 43 h 218"/>
                      <a:gd name="T22" fmla="*/ 160 w 444"/>
                      <a:gd name="T23" fmla="*/ 21 h 218"/>
                      <a:gd name="T24" fmla="*/ 177 w 444"/>
                      <a:gd name="T25" fmla="*/ 14 h 218"/>
                      <a:gd name="T26" fmla="*/ 203 w 444"/>
                      <a:gd name="T27" fmla="*/ 5 h 218"/>
                      <a:gd name="T28" fmla="*/ 257 w 444"/>
                      <a:gd name="T29" fmla="*/ 0 h 218"/>
                      <a:gd name="T30" fmla="*/ 274 w 444"/>
                      <a:gd name="T31" fmla="*/ 0 h 218"/>
                      <a:gd name="T32" fmla="*/ 418 w 444"/>
                      <a:gd name="T33" fmla="*/ 21 h 218"/>
                      <a:gd name="T34" fmla="*/ 444 w 444"/>
                      <a:gd name="T35" fmla="*/ 26 h 218"/>
                      <a:gd name="T36" fmla="*/ 429 w 444"/>
                      <a:gd name="T37" fmla="*/ 38 h 218"/>
                      <a:gd name="T38" fmla="*/ 392 w 444"/>
                      <a:gd name="T39" fmla="*/ 88 h 218"/>
                      <a:gd name="T40" fmla="*/ 396 w 444"/>
                      <a:gd name="T41" fmla="*/ 147 h 218"/>
                      <a:gd name="T42" fmla="*/ 396 w 444"/>
                      <a:gd name="T43" fmla="*/ 184 h 218"/>
                      <a:gd name="T44" fmla="*/ 392 w 444"/>
                      <a:gd name="T45" fmla="*/ 218 h 218"/>
                      <a:gd name="T46" fmla="*/ 52 w 444"/>
                      <a:gd name="T47" fmla="*/ 97 h 218"/>
                      <a:gd name="T48" fmla="*/ 35 w 444"/>
                      <a:gd name="T49" fmla="*/ 76 h 218"/>
                      <a:gd name="T50" fmla="*/ 35 w 444"/>
                      <a:gd name="T51" fmla="*/ 71 h 218"/>
                      <a:gd name="T52" fmla="*/ 73 w 444"/>
                      <a:gd name="T53" fmla="*/ 71 h 218"/>
                      <a:gd name="T54" fmla="*/ 68 w 444"/>
                      <a:gd name="T55" fmla="*/ 88 h 218"/>
                      <a:gd name="T56" fmla="*/ 52 w 444"/>
                      <a:gd name="T57" fmla="*/ 97 h 218"/>
                      <a:gd name="T58" fmla="*/ 96 w 444"/>
                      <a:gd name="T59" fmla="*/ 59 h 218"/>
                      <a:gd name="T60" fmla="*/ 89 w 444"/>
                      <a:gd name="T61" fmla="*/ 71 h 218"/>
                      <a:gd name="T62" fmla="*/ 96 w 444"/>
                      <a:gd name="T63" fmla="*/ 59 h 218"/>
                      <a:gd name="T64" fmla="*/ 96 w 444"/>
                      <a:gd name="T65" fmla="*/ 59 h 218"/>
                      <a:gd name="T66" fmla="*/ 111 w 444"/>
                      <a:gd name="T67" fmla="*/ 114 h 218"/>
                      <a:gd name="T68" fmla="*/ 96 w 444"/>
                      <a:gd name="T69" fmla="*/ 97 h 218"/>
                      <a:gd name="T70" fmla="*/ 96 w 444"/>
                      <a:gd name="T71" fmla="*/ 97 h 218"/>
                      <a:gd name="T72" fmla="*/ 14 w 444"/>
                      <a:gd name="T73" fmla="*/ 168 h 218"/>
                      <a:gd name="T74" fmla="*/ 4 w 444"/>
                      <a:gd name="T75" fmla="*/ 142 h 218"/>
                      <a:gd name="T76" fmla="*/ 0 w 444"/>
                      <a:gd name="T77" fmla="*/ 114 h 218"/>
                      <a:gd name="T78" fmla="*/ 106 w 444"/>
                      <a:gd name="T79" fmla="*/ 125 h 218"/>
                      <a:gd name="T80" fmla="*/ 68 w 444"/>
                      <a:gd name="T81" fmla="*/ 147 h 218"/>
                      <a:gd name="T82" fmla="*/ 26 w 444"/>
                      <a:gd name="T83" fmla="*/ 168 h 218"/>
                      <a:gd name="T84" fmla="*/ 14 w 444"/>
                      <a:gd name="T85" fmla="*/ 18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4" h="218">
                        <a:moveTo>
                          <a:pt x="392" y="218"/>
                        </a:moveTo>
                        <a:lnTo>
                          <a:pt x="359" y="208"/>
                        </a:lnTo>
                        <a:lnTo>
                          <a:pt x="326" y="218"/>
                        </a:lnTo>
                        <a:lnTo>
                          <a:pt x="295" y="184"/>
                        </a:lnTo>
                        <a:lnTo>
                          <a:pt x="240" y="163"/>
                        </a:lnTo>
                        <a:lnTo>
                          <a:pt x="240" y="168"/>
                        </a:lnTo>
                        <a:lnTo>
                          <a:pt x="229" y="163"/>
                        </a:lnTo>
                        <a:lnTo>
                          <a:pt x="177" y="184"/>
                        </a:lnTo>
                        <a:lnTo>
                          <a:pt x="186" y="142"/>
                        </a:lnTo>
                        <a:lnTo>
                          <a:pt x="177" y="130"/>
                        </a:lnTo>
                        <a:lnTo>
                          <a:pt x="160" y="147"/>
                        </a:lnTo>
                        <a:lnTo>
                          <a:pt x="132" y="130"/>
                        </a:lnTo>
                        <a:lnTo>
                          <a:pt x="122" y="109"/>
                        </a:lnTo>
                        <a:lnTo>
                          <a:pt x="122" y="97"/>
                        </a:lnTo>
                        <a:lnTo>
                          <a:pt x="144" y="92"/>
                        </a:lnTo>
                        <a:lnTo>
                          <a:pt x="111" y="88"/>
                        </a:lnTo>
                        <a:lnTo>
                          <a:pt x="111" y="76"/>
                        </a:lnTo>
                        <a:lnTo>
                          <a:pt x="127" y="71"/>
                        </a:lnTo>
                        <a:lnTo>
                          <a:pt x="122" y="59"/>
                        </a:lnTo>
                        <a:lnTo>
                          <a:pt x="127" y="71"/>
                        </a:lnTo>
                        <a:lnTo>
                          <a:pt x="111" y="59"/>
                        </a:lnTo>
                        <a:lnTo>
                          <a:pt x="111" y="43"/>
                        </a:lnTo>
                        <a:lnTo>
                          <a:pt x="148" y="38"/>
                        </a:lnTo>
                        <a:lnTo>
                          <a:pt x="160" y="21"/>
                        </a:lnTo>
                        <a:lnTo>
                          <a:pt x="165" y="26"/>
                        </a:lnTo>
                        <a:lnTo>
                          <a:pt x="177" y="14"/>
                        </a:lnTo>
                        <a:lnTo>
                          <a:pt x="203" y="21"/>
                        </a:lnTo>
                        <a:lnTo>
                          <a:pt x="203" y="5"/>
                        </a:lnTo>
                        <a:lnTo>
                          <a:pt x="252" y="14"/>
                        </a:lnTo>
                        <a:lnTo>
                          <a:pt x="257" y="0"/>
                        </a:lnTo>
                        <a:lnTo>
                          <a:pt x="266" y="5"/>
                        </a:lnTo>
                        <a:lnTo>
                          <a:pt x="274" y="0"/>
                        </a:lnTo>
                        <a:lnTo>
                          <a:pt x="359" y="21"/>
                        </a:lnTo>
                        <a:lnTo>
                          <a:pt x="418" y="21"/>
                        </a:lnTo>
                        <a:lnTo>
                          <a:pt x="434" y="14"/>
                        </a:lnTo>
                        <a:lnTo>
                          <a:pt x="444" y="26"/>
                        </a:lnTo>
                        <a:lnTo>
                          <a:pt x="444" y="38"/>
                        </a:lnTo>
                        <a:lnTo>
                          <a:pt x="429" y="38"/>
                        </a:lnTo>
                        <a:lnTo>
                          <a:pt x="418" y="59"/>
                        </a:lnTo>
                        <a:lnTo>
                          <a:pt x="392" y="88"/>
                        </a:lnTo>
                        <a:lnTo>
                          <a:pt x="396" y="130"/>
                        </a:lnTo>
                        <a:lnTo>
                          <a:pt x="396" y="147"/>
                        </a:lnTo>
                        <a:lnTo>
                          <a:pt x="418" y="184"/>
                        </a:lnTo>
                        <a:lnTo>
                          <a:pt x="396" y="184"/>
                        </a:lnTo>
                        <a:lnTo>
                          <a:pt x="392" y="218"/>
                        </a:lnTo>
                        <a:lnTo>
                          <a:pt x="392" y="218"/>
                        </a:lnTo>
                        <a:lnTo>
                          <a:pt x="392" y="218"/>
                        </a:lnTo>
                        <a:close/>
                        <a:moveTo>
                          <a:pt x="52" y="97"/>
                        </a:moveTo>
                        <a:lnTo>
                          <a:pt x="42" y="97"/>
                        </a:lnTo>
                        <a:lnTo>
                          <a:pt x="35" y="76"/>
                        </a:lnTo>
                        <a:lnTo>
                          <a:pt x="14" y="76"/>
                        </a:lnTo>
                        <a:lnTo>
                          <a:pt x="35" y="71"/>
                        </a:lnTo>
                        <a:lnTo>
                          <a:pt x="52" y="59"/>
                        </a:lnTo>
                        <a:lnTo>
                          <a:pt x="73" y="71"/>
                        </a:lnTo>
                        <a:lnTo>
                          <a:pt x="89" y="88"/>
                        </a:lnTo>
                        <a:lnTo>
                          <a:pt x="68" y="88"/>
                        </a:lnTo>
                        <a:lnTo>
                          <a:pt x="52" y="97"/>
                        </a:lnTo>
                        <a:lnTo>
                          <a:pt x="52" y="97"/>
                        </a:lnTo>
                        <a:lnTo>
                          <a:pt x="52" y="97"/>
                        </a:lnTo>
                        <a:close/>
                        <a:moveTo>
                          <a:pt x="96" y="59"/>
                        </a:moveTo>
                        <a:lnTo>
                          <a:pt x="111" y="71"/>
                        </a:lnTo>
                        <a:lnTo>
                          <a:pt x="89" y="71"/>
                        </a:lnTo>
                        <a:lnTo>
                          <a:pt x="89" y="59"/>
                        </a:lnTo>
                        <a:lnTo>
                          <a:pt x="96" y="59"/>
                        </a:lnTo>
                        <a:lnTo>
                          <a:pt x="96" y="59"/>
                        </a:lnTo>
                        <a:lnTo>
                          <a:pt x="96" y="59"/>
                        </a:lnTo>
                        <a:close/>
                        <a:moveTo>
                          <a:pt x="96" y="97"/>
                        </a:moveTo>
                        <a:lnTo>
                          <a:pt x="111" y="114"/>
                        </a:lnTo>
                        <a:lnTo>
                          <a:pt x="89" y="109"/>
                        </a:lnTo>
                        <a:lnTo>
                          <a:pt x="96" y="97"/>
                        </a:lnTo>
                        <a:lnTo>
                          <a:pt x="96" y="97"/>
                        </a:lnTo>
                        <a:lnTo>
                          <a:pt x="96" y="97"/>
                        </a:lnTo>
                        <a:close/>
                        <a:moveTo>
                          <a:pt x="14" y="180"/>
                        </a:moveTo>
                        <a:lnTo>
                          <a:pt x="14" y="168"/>
                        </a:lnTo>
                        <a:lnTo>
                          <a:pt x="26" y="151"/>
                        </a:lnTo>
                        <a:lnTo>
                          <a:pt x="4" y="142"/>
                        </a:lnTo>
                        <a:lnTo>
                          <a:pt x="14" y="130"/>
                        </a:lnTo>
                        <a:lnTo>
                          <a:pt x="0" y="114"/>
                        </a:lnTo>
                        <a:lnTo>
                          <a:pt x="73" y="109"/>
                        </a:lnTo>
                        <a:lnTo>
                          <a:pt x="106" y="125"/>
                        </a:lnTo>
                        <a:lnTo>
                          <a:pt x="89" y="125"/>
                        </a:lnTo>
                        <a:lnTo>
                          <a:pt x="68" y="147"/>
                        </a:lnTo>
                        <a:lnTo>
                          <a:pt x="35" y="151"/>
                        </a:lnTo>
                        <a:lnTo>
                          <a:pt x="26" y="168"/>
                        </a:lnTo>
                        <a:lnTo>
                          <a:pt x="14" y="180"/>
                        </a:lnTo>
                        <a:lnTo>
                          <a:pt x="14" y="180"/>
                        </a:lnTo>
                        <a:lnTo>
                          <a:pt x="14" y="18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8" name="Freeform 437">
                    <a:extLst>
                      <a:ext uri="{FF2B5EF4-FFF2-40B4-BE49-F238E27FC236}">
                        <a16:creationId xmlns:a16="http://schemas.microsoft.com/office/drawing/2014/main" id="{0AFFD7AB-22EF-48A5-A7A6-FFAB1A13B81D}"/>
                      </a:ext>
                    </a:extLst>
                  </p:cNvPr>
                  <p:cNvSpPr>
                    <a:spLocks/>
                  </p:cNvSpPr>
                  <p:nvPr/>
                </p:nvSpPr>
                <p:spPr bwMode="gray">
                  <a:xfrm>
                    <a:off x="7075332" y="2403375"/>
                    <a:ext cx="194308" cy="95519"/>
                  </a:xfrm>
                  <a:custGeom>
                    <a:avLst/>
                    <a:gdLst>
                      <a:gd name="T0" fmla="*/ 340 w 472"/>
                      <a:gd name="T1" fmla="*/ 225 h 232"/>
                      <a:gd name="T2" fmla="*/ 340 w 472"/>
                      <a:gd name="T3" fmla="*/ 220 h 232"/>
                      <a:gd name="T4" fmla="*/ 309 w 472"/>
                      <a:gd name="T5" fmla="*/ 208 h 232"/>
                      <a:gd name="T6" fmla="*/ 276 w 472"/>
                      <a:gd name="T7" fmla="*/ 220 h 232"/>
                      <a:gd name="T8" fmla="*/ 205 w 472"/>
                      <a:gd name="T9" fmla="*/ 187 h 232"/>
                      <a:gd name="T10" fmla="*/ 201 w 472"/>
                      <a:gd name="T11" fmla="*/ 208 h 232"/>
                      <a:gd name="T12" fmla="*/ 194 w 472"/>
                      <a:gd name="T13" fmla="*/ 208 h 232"/>
                      <a:gd name="T14" fmla="*/ 184 w 472"/>
                      <a:gd name="T15" fmla="*/ 232 h 232"/>
                      <a:gd name="T16" fmla="*/ 146 w 472"/>
                      <a:gd name="T17" fmla="*/ 225 h 232"/>
                      <a:gd name="T18" fmla="*/ 125 w 472"/>
                      <a:gd name="T19" fmla="*/ 208 h 232"/>
                      <a:gd name="T20" fmla="*/ 59 w 472"/>
                      <a:gd name="T21" fmla="*/ 166 h 232"/>
                      <a:gd name="T22" fmla="*/ 38 w 472"/>
                      <a:gd name="T23" fmla="*/ 154 h 232"/>
                      <a:gd name="T24" fmla="*/ 21 w 472"/>
                      <a:gd name="T25" fmla="*/ 133 h 232"/>
                      <a:gd name="T26" fmla="*/ 31 w 472"/>
                      <a:gd name="T27" fmla="*/ 109 h 232"/>
                      <a:gd name="T28" fmla="*/ 5 w 472"/>
                      <a:gd name="T29" fmla="*/ 92 h 232"/>
                      <a:gd name="T30" fmla="*/ 0 w 472"/>
                      <a:gd name="T31" fmla="*/ 67 h 232"/>
                      <a:gd name="T32" fmla="*/ 16 w 472"/>
                      <a:gd name="T33" fmla="*/ 76 h 232"/>
                      <a:gd name="T34" fmla="*/ 31 w 472"/>
                      <a:gd name="T35" fmla="*/ 59 h 232"/>
                      <a:gd name="T36" fmla="*/ 59 w 472"/>
                      <a:gd name="T37" fmla="*/ 59 h 232"/>
                      <a:gd name="T38" fmla="*/ 97 w 472"/>
                      <a:gd name="T39" fmla="*/ 26 h 232"/>
                      <a:gd name="T40" fmla="*/ 151 w 472"/>
                      <a:gd name="T41" fmla="*/ 10 h 232"/>
                      <a:gd name="T42" fmla="*/ 163 w 472"/>
                      <a:gd name="T43" fmla="*/ 10 h 232"/>
                      <a:gd name="T44" fmla="*/ 151 w 472"/>
                      <a:gd name="T45" fmla="*/ 5 h 232"/>
                      <a:gd name="T46" fmla="*/ 151 w 472"/>
                      <a:gd name="T47" fmla="*/ 0 h 232"/>
                      <a:gd name="T48" fmla="*/ 168 w 472"/>
                      <a:gd name="T49" fmla="*/ 5 h 232"/>
                      <a:gd name="T50" fmla="*/ 177 w 472"/>
                      <a:gd name="T51" fmla="*/ 22 h 232"/>
                      <a:gd name="T52" fmla="*/ 194 w 472"/>
                      <a:gd name="T53" fmla="*/ 22 h 232"/>
                      <a:gd name="T54" fmla="*/ 201 w 472"/>
                      <a:gd name="T55" fmla="*/ 22 h 232"/>
                      <a:gd name="T56" fmla="*/ 201 w 472"/>
                      <a:gd name="T57" fmla="*/ 5 h 232"/>
                      <a:gd name="T58" fmla="*/ 217 w 472"/>
                      <a:gd name="T59" fmla="*/ 5 h 232"/>
                      <a:gd name="T60" fmla="*/ 231 w 472"/>
                      <a:gd name="T61" fmla="*/ 26 h 232"/>
                      <a:gd name="T62" fmla="*/ 286 w 472"/>
                      <a:gd name="T63" fmla="*/ 38 h 232"/>
                      <a:gd name="T64" fmla="*/ 302 w 472"/>
                      <a:gd name="T65" fmla="*/ 43 h 232"/>
                      <a:gd name="T66" fmla="*/ 286 w 472"/>
                      <a:gd name="T67" fmla="*/ 59 h 232"/>
                      <a:gd name="T68" fmla="*/ 314 w 472"/>
                      <a:gd name="T69" fmla="*/ 92 h 232"/>
                      <a:gd name="T70" fmla="*/ 347 w 472"/>
                      <a:gd name="T71" fmla="*/ 76 h 232"/>
                      <a:gd name="T72" fmla="*/ 340 w 472"/>
                      <a:gd name="T73" fmla="*/ 59 h 232"/>
                      <a:gd name="T74" fmla="*/ 368 w 472"/>
                      <a:gd name="T75" fmla="*/ 76 h 232"/>
                      <a:gd name="T76" fmla="*/ 394 w 472"/>
                      <a:gd name="T77" fmla="*/ 67 h 232"/>
                      <a:gd name="T78" fmla="*/ 394 w 472"/>
                      <a:gd name="T79" fmla="*/ 76 h 232"/>
                      <a:gd name="T80" fmla="*/ 385 w 472"/>
                      <a:gd name="T81" fmla="*/ 83 h 232"/>
                      <a:gd name="T82" fmla="*/ 394 w 472"/>
                      <a:gd name="T83" fmla="*/ 92 h 232"/>
                      <a:gd name="T84" fmla="*/ 411 w 472"/>
                      <a:gd name="T85" fmla="*/ 100 h 232"/>
                      <a:gd name="T86" fmla="*/ 418 w 472"/>
                      <a:gd name="T87" fmla="*/ 92 h 232"/>
                      <a:gd name="T88" fmla="*/ 456 w 472"/>
                      <a:gd name="T89" fmla="*/ 109 h 232"/>
                      <a:gd name="T90" fmla="*/ 456 w 472"/>
                      <a:gd name="T91" fmla="*/ 121 h 232"/>
                      <a:gd name="T92" fmla="*/ 472 w 472"/>
                      <a:gd name="T93" fmla="*/ 133 h 232"/>
                      <a:gd name="T94" fmla="*/ 472 w 472"/>
                      <a:gd name="T95" fmla="*/ 149 h 232"/>
                      <a:gd name="T96" fmla="*/ 456 w 472"/>
                      <a:gd name="T97" fmla="*/ 149 h 232"/>
                      <a:gd name="T98" fmla="*/ 432 w 472"/>
                      <a:gd name="T99" fmla="*/ 166 h 232"/>
                      <a:gd name="T100" fmla="*/ 418 w 472"/>
                      <a:gd name="T101" fmla="*/ 187 h 232"/>
                      <a:gd name="T102" fmla="*/ 394 w 472"/>
                      <a:gd name="T103" fmla="*/ 204 h 232"/>
                      <a:gd name="T104" fmla="*/ 357 w 472"/>
                      <a:gd name="T105" fmla="*/ 204 h 232"/>
                      <a:gd name="T106" fmla="*/ 340 w 472"/>
                      <a:gd name="T107" fmla="*/ 225 h 232"/>
                      <a:gd name="T108" fmla="*/ 340 w 472"/>
                      <a:gd name="T109" fmla="*/ 225 h 232"/>
                      <a:gd name="T110" fmla="*/ 340 w 472"/>
                      <a:gd name="T111" fmla="*/ 22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2" h="232">
                        <a:moveTo>
                          <a:pt x="340" y="225"/>
                        </a:moveTo>
                        <a:lnTo>
                          <a:pt x="340" y="220"/>
                        </a:lnTo>
                        <a:lnTo>
                          <a:pt x="309" y="208"/>
                        </a:lnTo>
                        <a:lnTo>
                          <a:pt x="276" y="220"/>
                        </a:lnTo>
                        <a:lnTo>
                          <a:pt x="205" y="187"/>
                        </a:lnTo>
                        <a:lnTo>
                          <a:pt x="201" y="208"/>
                        </a:lnTo>
                        <a:lnTo>
                          <a:pt x="194" y="208"/>
                        </a:lnTo>
                        <a:lnTo>
                          <a:pt x="184" y="232"/>
                        </a:lnTo>
                        <a:lnTo>
                          <a:pt x="146" y="225"/>
                        </a:lnTo>
                        <a:lnTo>
                          <a:pt x="125" y="208"/>
                        </a:lnTo>
                        <a:lnTo>
                          <a:pt x="59" y="166"/>
                        </a:lnTo>
                        <a:lnTo>
                          <a:pt x="38" y="154"/>
                        </a:lnTo>
                        <a:lnTo>
                          <a:pt x="21" y="133"/>
                        </a:lnTo>
                        <a:lnTo>
                          <a:pt x="31" y="109"/>
                        </a:lnTo>
                        <a:lnTo>
                          <a:pt x="5" y="92"/>
                        </a:lnTo>
                        <a:lnTo>
                          <a:pt x="0" y="67"/>
                        </a:lnTo>
                        <a:lnTo>
                          <a:pt x="16" y="76"/>
                        </a:lnTo>
                        <a:lnTo>
                          <a:pt x="31" y="59"/>
                        </a:lnTo>
                        <a:lnTo>
                          <a:pt x="59" y="59"/>
                        </a:lnTo>
                        <a:lnTo>
                          <a:pt x="97" y="26"/>
                        </a:lnTo>
                        <a:lnTo>
                          <a:pt x="151" y="10"/>
                        </a:lnTo>
                        <a:lnTo>
                          <a:pt x="163" y="10"/>
                        </a:lnTo>
                        <a:lnTo>
                          <a:pt x="151" y="5"/>
                        </a:lnTo>
                        <a:lnTo>
                          <a:pt x="151" y="0"/>
                        </a:lnTo>
                        <a:lnTo>
                          <a:pt x="168" y="5"/>
                        </a:lnTo>
                        <a:lnTo>
                          <a:pt x="177" y="22"/>
                        </a:lnTo>
                        <a:lnTo>
                          <a:pt x="194" y="22"/>
                        </a:lnTo>
                        <a:lnTo>
                          <a:pt x="201" y="22"/>
                        </a:lnTo>
                        <a:lnTo>
                          <a:pt x="201" y="5"/>
                        </a:lnTo>
                        <a:lnTo>
                          <a:pt x="217" y="5"/>
                        </a:lnTo>
                        <a:lnTo>
                          <a:pt x="231" y="26"/>
                        </a:lnTo>
                        <a:lnTo>
                          <a:pt x="286" y="38"/>
                        </a:lnTo>
                        <a:lnTo>
                          <a:pt x="302" y="43"/>
                        </a:lnTo>
                        <a:lnTo>
                          <a:pt x="286" y="59"/>
                        </a:lnTo>
                        <a:lnTo>
                          <a:pt x="314" y="92"/>
                        </a:lnTo>
                        <a:lnTo>
                          <a:pt x="347" y="76"/>
                        </a:lnTo>
                        <a:lnTo>
                          <a:pt x="340" y="59"/>
                        </a:lnTo>
                        <a:lnTo>
                          <a:pt x="368" y="76"/>
                        </a:lnTo>
                        <a:lnTo>
                          <a:pt x="394" y="67"/>
                        </a:lnTo>
                        <a:lnTo>
                          <a:pt x="394" y="76"/>
                        </a:lnTo>
                        <a:lnTo>
                          <a:pt x="385" y="83"/>
                        </a:lnTo>
                        <a:lnTo>
                          <a:pt x="394" y="92"/>
                        </a:lnTo>
                        <a:lnTo>
                          <a:pt x="411" y="100"/>
                        </a:lnTo>
                        <a:lnTo>
                          <a:pt x="418" y="92"/>
                        </a:lnTo>
                        <a:lnTo>
                          <a:pt x="456" y="109"/>
                        </a:lnTo>
                        <a:lnTo>
                          <a:pt x="456" y="121"/>
                        </a:lnTo>
                        <a:lnTo>
                          <a:pt x="472" y="133"/>
                        </a:lnTo>
                        <a:lnTo>
                          <a:pt x="472" y="149"/>
                        </a:lnTo>
                        <a:lnTo>
                          <a:pt x="456" y="149"/>
                        </a:lnTo>
                        <a:lnTo>
                          <a:pt x="432" y="166"/>
                        </a:lnTo>
                        <a:lnTo>
                          <a:pt x="418" y="187"/>
                        </a:lnTo>
                        <a:lnTo>
                          <a:pt x="394" y="204"/>
                        </a:lnTo>
                        <a:lnTo>
                          <a:pt x="357" y="204"/>
                        </a:lnTo>
                        <a:lnTo>
                          <a:pt x="340" y="225"/>
                        </a:lnTo>
                        <a:lnTo>
                          <a:pt x="340" y="225"/>
                        </a:lnTo>
                        <a:lnTo>
                          <a:pt x="340" y="22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68" name="Freeform 439">
                    <a:extLst>
                      <a:ext uri="{FF2B5EF4-FFF2-40B4-BE49-F238E27FC236}">
                        <a16:creationId xmlns:a16="http://schemas.microsoft.com/office/drawing/2014/main" id="{FFC01BA4-158C-400F-9241-641826FA058C}"/>
                      </a:ext>
                    </a:extLst>
                  </p:cNvPr>
                  <p:cNvSpPr>
                    <a:spLocks noEditPoints="1"/>
                  </p:cNvSpPr>
                  <p:nvPr/>
                </p:nvSpPr>
                <p:spPr bwMode="gray">
                  <a:xfrm>
                    <a:off x="7289401" y="1544949"/>
                    <a:ext cx="349097" cy="495706"/>
                  </a:xfrm>
                  <a:custGeom>
                    <a:avLst/>
                    <a:gdLst>
                      <a:gd name="T0" fmla="*/ 290 w 848"/>
                      <a:gd name="T1" fmla="*/ 448 h 1204"/>
                      <a:gd name="T2" fmla="*/ 290 w 848"/>
                      <a:gd name="T3" fmla="*/ 349 h 1204"/>
                      <a:gd name="T4" fmla="*/ 290 w 848"/>
                      <a:gd name="T5" fmla="*/ 267 h 1204"/>
                      <a:gd name="T6" fmla="*/ 113 w 848"/>
                      <a:gd name="T7" fmla="*/ 115 h 1204"/>
                      <a:gd name="T8" fmla="*/ 205 w 848"/>
                      <a:gd name="T9" fmla="*/ 172 h 1204"/>
                      <a:gd name="T10" fmla="*/ 399 w 848"/>
                      <a:gd name="T11" fmla="*/ 155 h 1204"/>
                      <a:gd name="T12" fmla="*/ 491 w 848"/>
                      <a:gd name="T13" fmla="*/ 16 h 1204"/>
                      <a:gd name="T14" fmla="*/ 685 w 848"/>
                      <a:gd name="T15" fmla="*/ 70 h 1204"/>
                      <a:gd name="T16" fmla="*/ 654 w 848"/>
                      <a:gd name="T17" fmla="*/ 155 h 1204"/>
                      <a:gd name="T18" fmla="*/ 739 w 848"/>
                      <a:gd name="T19" fmla="*/ 300 h 1204"/>
                      <a:gd name="T20" fmla="*/ 746 w 848"/>
                      <a:gd name="T21" fmla="*/ 538 h 1204"/>
                      <a:gd name="T22" fmla="*/ 729 w 848"/>
                      <a:gd name="T23" fmla="*/ 611 h 1204"/>
                      <a:gd name="T24" fmla="*/ 755 w 848"/>
                      <a:gd name="T25" fmla="*/ 666 h 1204"/>
                      <a:gd name="T26" fmla="*/ 777 w 848"/>
                      <a:gd name="T27" fmla="*/ 727 h 1204"/>
                      <a:gd name="T28" fmla="*/ 685 w 848"/>
                      <a:gd name="T29" fmla="*/ 1044 h 1204"/>
                      <a:gd name="T30" fmla="*/ 491 w 848"/>
                      <a:gd name="T31" fmla="*/ 1133 h 1204"/>
                      <a:gd name="T32" fmla="*/ 458 w 848"/>
                      <a:gd name="T33" fmla="*/ 1133 h 1204"/>
                      <a:gd name="T34" fmla="*/ 437 w 848"/>
                      <a:gd name="T35" fmla="*/ 1150 h 1204"/>
                      <a:gd name="T36" fmla="*/ 361 w 848"/>
                      <a:gd name="T37" fmla="*/ 1171 h 1204"/>
                      <a:gd name="T38" fmla="*/ 257 w 848"/>
                      <a:gd name="T39" fmla="*/ 1195 h 1204"/>
                      <a:gd name="T40" fmla="*/ 252 w 848"/>
                      <a:gd name="T41" fmla="*/ 1183 h 1204"/>
                      <a:gd name="T42" fmla="*/ 215 w 848"/>
                      <a:gd name="T43" fmla="*/ 1155 h 1204"/>
                      <a:gd name="T44" fmla="*/ 144 w 848"/>
                      <a:gd name="T45" fmla="*/ 1126 h 1204"/>
                      <a:gd name="T46" fmla="*/ 151 w 848"/>
                      <a:gd name="T47" fmla="*/ 1015 h 1204"/>
                      <a:gd name="T48" fmla="*/ 113 w 848"/>
                      <a:gd name="T49" fmla="*/ 892 h 1204"/>
                      <a:gd name="T50" fmla="*/ 134 w 848"/>
                      <a:gd name="T51" fmla="*/ 822 h 1204"/>
                      <a:gd name="T52" fmla="*/ 189 w 848"/>
                      <a:gd name="T53" fmla="*/ 800 h 1204"/>
                      <a:gd name="T54" fmla="*/ 236 w 848"/>
                      <a:gd name="T55" fmla="*/ 760 h 1204"/>
                      <a:gd name="T56" fmla="*/ 340 w 848"/>
                      <a:gd name="T57" fmla="*/ 670 h 1204"/>
                      <a:gd name="T58" fmla="*/ 399 w 848"/>
                      <a:gd name="T59" fmla="*/ 628 h 1204"/>
                      <a:gd name="T60" fmla="*/ 361 w 848"/>
                      <a:gd name="T61" fmla="*/ 543 h 1204"/>
                      <a:gd name="T62" fmla="*/ 328 w 848"/>
                      <a:gd name="T63" fmla="*/ 522 h 1204"/>
                      <a:gd name="T64" fmla="*/ 382 w 848"/>
                      <a:gd name="T65" fmla="*/ 616 h 1204"/>
                      <a:gd name="T66" fmla="*/ 236 w 848"/>
                      <a:gd name="T67" fmla="*/ 748 h 1204"/>
                      <a:gd name="T68" fmla="*/ 122 w 848"/>
                      <a:gd name="T69" fmla="*/ 817 h 1204"/>
                      <a:gd name="T70" fmla="*/ 189 w 848"/>
                      <a:gd name="T71" fmla="*/ 822 h 1204"/>
                      <a:gd name="T72" fmla="*/ 189 w 848"/>
                      <a:gd name="T73" fmla="*/ 822 h 1204"/>
                      <a:gd name="T74" fmla="*/ 122 w 848"/>
                      <a:gd name="T75" fmla="*/ 833 h 1204"/>
                      <a:gd name="T76" fmla="*/ 129 w 848"/>
                      <a:gd name="T77" fmla="*/ 1081 h 1204"/>
                      <a:gd name="T78" fmla="*/ 134 w 848"/>
                      <a:gd name="T79" fmla="*/ 1126 h 1204"/>
                      <a:gd name="T80" fmla="*/ 160 w 848"/>
                      <a:gd name="T81" fmla="*/ 1138 h 1204"/>
                      <a:gd name="T82" fmla="*/ 26 w 848"/>
                      <a:gd name="T83" fmla="*/ 1183 h 1204"/>
                      <a:gd name="T84" fmla="*/ 26 w 848"/>
                      <a:gd name="T85" fmla="*/ 1150 h 1204"/>
                      <a:gd name="T86" fmla="*/ 42 w 848"/>
                      <a:gd name="T87" fmla="*/ 1155 h 1204"/>
                      <a:gd name="T88" fmla="*/ 26 w 848"/>
                      <a:gd name="T89" fmla="*/ 1183 h 1204"/>
                      <a:gd name="T90" fmla="*/ 198 w 848"/>
                      <a:gd name="T91" fmla="*/ 1150 h 1204"/>
                      <a:gd name="T92" fmla="*/ 198 w 848"/>
                      <a:gd name="T93" fmla="*/ 1150 h 1204"/>
                      <a:gd name="T94" fmla="*/ 432 w 848"/>
                      <a:gd name="T95" fmla="*/ 1150 h 1204"/>
                      <a:gd name="T96" fmla="*/ 59 w 848"/>
                      <a:gd name="T97" fmla="*/ 1166 h 1204"/>
                      <a:gd name="T98" fmla="*/ 59 w 848"/>
                      <a:gd name="T99" fmla="*/ 1166 h 1204"/>
                      <a:gd name="T100" fmla="*/ 4 w 848"/>
                      <a:gd name="T101" fmla="*/ 1171 h 1204"/>
                      <a:gd name="T102" fmla="*/ 205 w 848"/>
                      <a:gd name="T103" fmla="*/ 1155 h 1204"/>
                      <a:gd name="T104" fmla="*/ 215 w 848"/>
                      <a:gd name="T105" fmla="*/ 1183 h 1204"/>
                      <a:gd name="T106" fmla="*/ 177 w 848"/>
                      <a:gd name="T107" fmla="*/ 1166 h 1204"/>
                      <a:gd name="T108" fmla="*/ 160 w 848"/>
                      <a:gd name="T109" fmla="*/ 1171 h 1204"/>
                      <a:gd name="T110" fmla="*/ 59 w 848"/>
                      <a:gd name="T111" fmla="*/ 1171 h 1204"/>
                      <a:gd name="T112" fmla="*/ 52 w 848"/>
                      <a:gd name="T113" fmla="*/ 1171 h 1204"/>
                      <a:gd name="T114" fmla="*/ 42 w 848"/>
                      <a:gd name="T115" fmla="*/ 1171 h 1204"/>
                      <a:gd name="T116" fmla="*/ 205 w 848"/>
                      <a:gd name="T117" fmla="*/ 1171 h 1204"/>
                      <a:gd name="T118" fmla="*/ 243 w 848"/>
                      <a:gd name="T119" fmla="*/ 1195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8" h="1204">
                        <a:moveTo>
                          <a:pt x="328" y="522"/>
                        </a:moveTo>
                        <a:lnTo>
                          <a:pt x="311" y="489"/>
                        </a:lnTo>
                        <a:lnTo>
                          <a:pt x="297" y="481"/>
                        </a:lnTo>
                        <a:lnTo>
                          <a:pt x="290" y="465"/>
                        </a:lnTo>
                        <a:lnTo>
                          <a:pt x="290" y="448"/>
                        </a:lnTo>
                        <a:lnTo>
                          <a:pt x="307" y="432"/>
                        </a:lnTo>
                        <a:lnTo>
                          <a:pt x="307" y="411"/>
                        </a:lnTo>
                        <a:lnTo>
                          <a:pt x="311" y="404"/>
                        </a:lnTo>
                        <a:lnTo>
                          <a:pt x="285" y="361"/>
                        </a:lnTo>
                        <a:lnTo>
                          <a:pt x="290" y="349"/>
                        </a:lnTo>
                        <a:lnTo>
                          <a:pt x="297" y="349"/>
                        </a:lnTo>
                        <a:lnTo>
                          <a:pt x="297" y="333"/>
                        </a:lnTo>
                        <a:lnTo>
                          <a:pt x="274" y="321"/>
                        </a:lnTo>
                        <a:lnTo>
                          <a:pt x="274" y="276"/>
                        </a:lnTo>
                        <a:lnTo>
                          <a:pt x="290" y="267"/>
                        </a:lnTo>
                        <a:lnTo>
                          <a:pt x="236" y="210"/>
                        </a:lnTo>
                        <a:lnTo>
                          <a:pt x="177" y="193"/>
                        </a:lnTo>
                        <a:lnTo>
                          <a:pt x="75" y="127"/>
                        </a:lnTo>
                        <a:lnTo>
                          <a:pt x="106" y="132"/>
                        </a:lnTo>
                        <a:lnTo>
                          <a:pt x="113" y="115"/>
                        </a:lnTo>
                        <a:lnTo>
                          <a:pt x="106" y="111"/>
                        </a:lnTo>
                        <a:lnTo>
                          <a:pt x="129" y="94"/>
                        </a:lnTo>
                        <a:lnTo>
                          <a:pt x="151" y="99"/>
                        </a:lnTo>
                        <a:lnTo>
                          <a:pt x="198" y="155"/>
                        </a:lnTo>
                        <a:lnTo>
                          <a:pt x="205" y="172"/>
                        </a:lnTo>
                        <a:lnTo>
                          <a:pt x="257" y="181"/>
                        </a:lnTo>
                        <a:lnTo>
                          <a:pt x="311" y="155"/>
                        </a:lnTo>
                        <a:lnTo>
                          <a:pt x="382" y="189"/>
                        </a:lnTo>
                        <a:lnTo>
                          <a:pt x="394" y="181"/>
                        </a:lnTo>
                        <a:lnTo>
                          <a:pt x="399" y="155"/>
                        </a:lnTo>
                        <a:lnTo>
                          <a:pt x="432" y="148"/>
                        </a:lnTo>
                        <a:lnTo>
                          <a:pt x="437" y="132"/>
                        </a:lnTo>
                        <a:lnTo>
                          <a:pt x="437" y="99"/>
                        </a:lnTo>
                        <a:lnTo>
                          <a:pt x="453" y="44"/>
                        </a:lnTo>
                        <a:lnTo>
                          <a:pt x="491" y="16"/>
                        </a:lnTo>
                        <a:lnTo>
                          <a:pt x="529" y="21"/>
                        </a:lnTo>
                        <a:lnTo>
                          <a:pt x="595" y="0"/>
                        </a:lnTo>
                        <a:lnTo>
                          <a:pt x="621" y="28"/>
                        </a:lnTo>
                        <a:lnTo>
                          <a:pt x="675" y="44"/>
                        </a:lnTo>
                        <a:lnTo>
                          <a:pt x="685" y="70"/>
                        </a:lnTo>
                        <a:lnTo>
                          <a:pt x="654" y="99"/>
                        </a:lnTo>
                        <a:lnTo>
                          <a:pt x="654" y="115"/>
                        </a:lnTo>
                        <a:lnTo>
                          <a:pt x="663" y="127"/>
                        </a:lnTo>
                        <a:lnTo>
                          <a:pt x="621" y="148"/>
                        </a:lnTo>
                        <a:lnTo>
                          <a:pt x="654" y="155"/>
                        </a:lnTo>
                        <a:lnTo>
                          <a:pt x="633" y="193"/>
                        </a:lnTo>
                        <a:lnTo>
                          <a:pt x="647" y="238"/>
                        </a:lnTo>
                        <a:lnTo>
                          <a:pt x="692" y="250"/>
                        </a:lnTo>
                        <a:lnTo>
                          <a:pt x="718" y="283"/>
                        </a:lnTo>
                        <a:lnTo>
                          <a:pt x="739" y="300"/>
                        </a:lnTo>
                        <a:lnTo>
                          <a:pt x="729" y="316"/>
                        </a:lnTo>
                        <a:lnTo>
                          <a:pt x="675" y="378"/>
                        </a:lnTo>
                        <a:lnTo>
                          <a:pt x="670" y="394"/>
                        </a:lnTo>
                        <a:lnTo>
                          <a:pt x="729" y="489"/>
                        </a:lnTo>
                        <a:lnTo>
                          <a:pt x="746" y="538"/>
                        </a:lnTo>
                        <a:lnTo>
                          <a:pt x="725" y="543"/>
                        </a:lnTo>
                        <a:lnTo>
                          <a:pt x="718" y="576"/>
                        </a:lnTo>
                        <a:lnTo>
                          <a:pt x="708" y="592"/>
                        </a:lnTo>
                        <a:lnTo>
                          <a:pt x="725" y="592"/>
                        </a:lnTo>
                        <a:lnTo>
                          <a:pt x="729" y="611"/>
                        </a:lnTo>
                        <a:lnTo>
                          <a:pt x="708" y="611"/>
                        </a:lnTo>
                        <a:lnTo>
                          <a:pt x="708" y="633"/>
                        </a:lnTo>
                        <a:lnTo>
                          <a:pt x="725" y="637"/>
                        </a:lnTo>
                        <a:lnTo>
                          <a:pt x="746" y="649"/>
                        </a:lnTo>
                        <a:lnTo>
                          <a:pt x="755" y="666"/>
                        </a:lnTo>
                        <a:lnTo>
                          <a:pt x="739" y="670"/>
                        </a:lnTo>
                        <a:lnTo>
                          <a:pt x="746" y="682"/>
                        </a:lnTo>
                        <a:lnTo>
                          <a:pt x="739" y="687"/>
                        </a:lnTo>
                        <a:lnTo>
                          <a:pt x="777" y="711"/>
                        </a:lnTo>
                        <a:lnTo>
                          <a:pt x="777" y="727"/>
                        </a:lnTo>
                        <a:lnTo>
                          <a:pt x="739" y="765"/>
                        </a:lnTo>
                        <a:lnTo>
                          <a:pt x="826" y="822"/>
                        </a:lnTo>
                        <a:lnTo>
                          <a:pt x="848" y="859"/>
                        </a:lnTo>
                        <a:lnTo>
                          <a:pt x="826" y="904"/>
                        </a:lnTo>
                        <a:lnTo>
                          <a:pt x="685" y="1044"/>
                        </a:lnTo>
                        <a:lnTo>
                          <a:pt x="583" y="1126"/>
                        </a:lnTo>
                        <a:lnTo>
                          <a:pt x="562" y="1133"/>
                        </a:lnTo>
                        <a:lnTo>
                          <a:pt x="540" y="1117"/>
                        </a:lnTo>
                        <a:lnTo>
                          <a:pt x="524" y="1133"/>
                        </a:lnTo>
                        <a:lnTo>
                          <a:pt x="491" y="1133"/>
                        </a:lnTo>
                        <a:lnTo>
                          <a:pt x="503" y="1117"/>
                        </a:lnTo>
                        <a:lnTo>
                          <a:pt x="507" y="1117"/>
                        </a:lnTo>
                        <a:lnTo>
                          <a:pt x="503" y="1110"/>
                        </a:lnTo>
                        <a:lnTo>
                          <a:pt x="486" y="1138"/>
                        </a:lnTo>
                        <a:lnTo>
                          <a:pt x="458" y="1133"/>
                        </a:lnTo>
                        <a:lnTo>
                          <a:pt x="458" y="1150"/>
                        </a:lnTo>
                        <a:lnTo>
                          <a:pt x="458" y="1150"/>
                        </a:lnTo>
                        <a:lnTo>
                          <a:pt x="448" y="1138"/>
                        </a:lnTo>
                        <a:lnTo>
                          <a:pt x="453" y="1155"/>
                        </a:lnTo>
                        <a:lnTo>
                          <a:pt x="437" y="1150"/>
                        </a:lnTo>
                        <a:lnTo>
                          <a:pt x="448" y="1155"/>
                        </a:lnTo>
                        <a:lnTo>
                          <a:pt x="437" y="1155"/>
                        </a:lnTo>
                        <a:lnTo>
                          <a:pt x="432" y="1138"/>
                        </a:lnTo>
                        <a:lnTo>
                          <a:pt x="420" y="1155"/>
                        </a:lnTo>
                        <a:lnTo>
                          <a:pt x="361" y="1171"/>
                        </a:lnTo>
                        <a:lnTo>
                          <a:pt x="349" y="1183"/>
                        </a:lnTo>
                        <a:lnTo>
                          <a:pt x="340" y="1171"/>
                        </a:lnTo>
                        <a:lnTo>
                          <a:pt x="274" y="1188"/>
                        </a:lnTo>
                        <a:lnTo>
                          <a:pt x="285" y="1171"/>
                        </a:lnTo>
                        <a:lnTo>
                          <a:pt x="257" y="1195"/>
                        </a:lnTo>
                        <a:lnTo>
                          <a:pt x="236" y="1204"/>
                        </a:lnTo>
                        <a:lnTo>
                          <a:pt x="269" y="1183"/>
                        </a:lnTo>
                        <a:lnTo>
                          <a:pt x="252" y="1188"/>
                        </a:lnTo>
                        <a:lnTo>
                          <a:pt x="257" y="1183"/>
                        </a:lnTo>
                        <a:lnTo>
                          <a:pt x="252" y="1183"/>
                        </a:lnTo>
                        <a:lnTo>
                          <a:pt x="243" y="1171"/>
                        </a:lnTo>
                        <a:lnTo>
                          <a:pt x="243" y="1171"/>
                        </a:lnTo>
                        <a:lnTo>
                          <a:pt x="236" y="1166"/>
                        </a:lnTo>
                        <a:lnTo>
                          <a:pt x="252" y="1150"/>
                        </a:lnTo>
                        <a:lnTo>
                          <a:pt x="215" y="1155"/>
                        </a:lnTo>
                        <a:lnTo>
                          <a:pt x="205" y="1155"/>
                        </a:lnTo>
                        <a:lnTo>
                          <a:pt x="219" y="1138"/>
                        </a:lnTo>
                        <a:lnTo>
                          <a:pt x="160" y="1133"/>
                        </a:lnTo>
                        <a:lnTo>
                          <a:pt x="160" y="1117"/>
                        </a:lnTo>
                        <a:lnTo>
                          <a:pt x="144" y="1126"/>
                        </a:lnTo>
                        <a:lnTo>
                          <a:pt x="129" y="1110"/>
                        </a:lnTo>
                        <a:lnTo>
                          <a:pt x="129" y="1081"/>
                        </a:lnTo>
                        <a:lnTo>
                          <a:pt x="144" y="1039"/>
                        </a:lnTo>
                        <a:lnTo>
                          <a:pt x="134" y="1015"/>
                        </a:lnTo>
                        <a:lnTo>
                          <a:pt x="151" y="1015"/>
                        </a:lnTo>
                        <a:lnTo>
                          <a:pt x="122" y="966"/>
                        </a:lnTo>
                        <a:lnTo>
                          <a:pt x="129" y="944"/>
                        </a:lnTo>
                        <a:lnTo>
                          <a:pt x="129" y="928"/>
                        </a:lnTo>
                        <a:lnTo>
                          <a:pt x="113" y="911"/>
                        </a:lnTo>
                        <a:lnTo>
                          <a:pt x="113" y="892"/>
                        </a:lnTo>
                        <a:lnTo>
                          <a:pt x="113" y="876"/>
                        </a:lnTo>
                        <a:lnTo>
                          <a:pt x="129" y="859"/>
                        </a:lnTo>
                        <a:lnTo>
                          <a:pt x="134" y="850"/>
                        </a:lnTo>
                        <a:lnTo>
                          <a:pt x="151" y="850"/>
                        </a:lnTo>
                        <a:lnTo>
                          <a:pt x="134" y="822"/>
                        </a:lnTo>
                        <a:lnTo>
                          <a:pt x="167" y="822"/>
                        </a:lnTo>
                        <a:lnTo>
                          <a:pt x="177" y="833"/>
                        </a:lnTo>
                        <a:lnTo>
                          <a:pt x="198" y="822"/>
                        </a:lnTo>
                        <a:lnTo>
                          <a:pt x="198" y="817"/>
                        </a:lnTo>
                        <a:lnTo>
                          <a:pt x="189" y="800"/>
                        </a:lnTo>
                        <a:lnTo>
                          <a:pt x="198" y="793"/>
                        </a:lnTo>
                        <a:lnTo>
                          <a:pt x="205" y="800"/>
                        </a:lnTo>
                        <a:lnTo>
                          <a:pt x="215" y="765"/>
                        </a:lnTo>
                        <a:lnTo>
                          <a:pt x="231" y="781"/>
                        </a:lnTo>
                        <a:lnTo>
                          <a:pt x="236" y="760"/>
                        </a:lnTo>
                        <a:lnTo>
                          <a:pt x="269" y="748"/>
                        </a:lnTo>
                        <a:lnTo>
                          <a:pt x="274" y="727"/>
                        </a:lnTo>
                        <a:lnTo>
                          <a:pt x="290" y="727"/>
                        </a:lnTo>
                        <a:lnTo>
                          <a:pt x="311" y="687"/>
                        </a:lnTo>
                        <a:lnTo>
                          <a:pt x="340" y="670"/>
                        </a:lnTo>
                        <a:lnTo>
                          <a:pt x="349" y="637"/>
                        </a:lnTo>
                        <a:lnTo>
                          <a:pt x="394" y="633"/>
                        </a:lnTo>
                        <a:lnTo>
                          <a:pt x="403" y="637"/>
                        </a:lnTo>
                        <a:lnTo>
                          <a:pt x="415" y="633"/>
                        </a:lnTo>
                        <a:lnTo>
                          <a:pt x="399" y="628"/>
                        </a:lnTo>
                        <a:lnTo>
                          <a:pt x="415" y="628"/>
                        </a:lnTo>
                        <a:lnTo>
                          <a:pt x="403" y="600"/>
                        </a:lnTo>
                        <a:lnTo>
                          <a:pt x="415" y="571"/>
                        </a:lnTo>
                        <a:lnTo>
                          <a:pt x="403" y="559"/>
                        </a:lnTo>
                        <a:lnTo>
                          <a:pt x="361" y="543"/>
                        </a:lnTo>
                        <a:lnTo>
                          <a:pt x="349" y="526"/>
                        </a:lnTo>
                        <a:lnTo>
                          <a:pt x="361" y="517"/>
                        </a:lnTo>
                        <a:lnTo>
                          <a:pt x="344" y="526"/>
                        </a:lnTo>
                        <a:lnTo>
                          <a:pt x="328" y="522"/>
                        </a:lnTo>
                        <a:lnTo>
                          <a:pt x="328" y="522"/>
                        </a:lnTo>
                        <a:lnTo>
                          <a:pt x="328" y="522"/>
                        </a:lnTo>
                        <a:close/>
                        <a:moveTo>
                          <a:pt x="382" y="616"/>
                        </a:moveTo>
                        <a:lnTo>
                          <a:pt x="366" y="628"/>
                        </a:lnTo>
                        <a:lnTo>
                          <a:pt x="349" y="616"/>
                        </a:lnTo>
                        <a:lnTo>
                          <a:pt x="382" y="616"/>
                        </a:lnTo>
                        <a:lnTo>
                          <a:pt x="382" y="616"/>
                        </a:lnTo>
                        <a:lnTo>
                          <a:pt x="382" y="616"/>
                        </a:lnTo>
                        <a:close/>
                        <a:moveTo>
                          <a:pt x="236" y="760"/>
                        </a:moveTo>
                        <a:lnTo>
                          <a:pt x="219" y="760"/>
                        </a:lnTo>
                        <a:lnTo>
                          <a:pt x="236" y="748"/>
                        </a:lnTo>
                        <a:lnTo>
                          <a:pt x="236" y="760"/>
                        </a:lnTo>
                        <a:lnTo>
                          <a:pt x="236" y="760"/>
                        </a:lnTo>
                        <a:lnTo>
                          <a:pt x="236" y="760"/>
                        </a:lnTo>
                        <a:close/>
                        <a:moveTo>
                          <a:pt x="129" y="817"/>
                        </a:moveTo>
                        <a:lnTo>
                          <a:pt x="122" y="817"/>
                        </a:lnTo>
                        <a:lnTo>
                          <a:pt x="129" y="817"/>
                        </a:lnTo>
                        <a:lnTo>
                          <a:pt x="129" y="817"/>
                        </a:lnTo>
                        <a:lnTo>
                          <a:pt x="129" y="817"/>
                        </a:lnTo>
                        <a:lnTo>
                          <a:pt x="129" y="817"/>
                        </a:lnTo>
                        <a:close/>
                        <a:moveTo>
                          <a:pt x="189" y="822"/>
                        </a:moveTo>
                        <a:lnTo>
                          <a:pt x="177" y="817"/>
                        </a:lnTo>
                        <a:lnTo>
                          <a:pt x="189" y="817"/>
                        </a:lnTo>
                        <a:lnTo>
                          <a:pt x="189" y="822"/>
                        </a:lnTo>
                        <a:lnTo>
                          <a:pt x="189" y="822"/>
                        </a:lnTo>
                        <a:lnTo>
                          <a:pt x="189" y="822"/>
                        </a:lnTo>
                        <a:close/>
                        <a:moveTo>
                          <a:pt x="122" y="833"/>
                        </a:moveTo>
                        <a:lnTo>
                          <a:pt x="113" y="817"/>
                        </a:lnTo>
                        <a:lnTo>
                          <a:pt x="134" y="822"/>
                        </a:lnTo>
                        <a:lnTo>
                          <a:pt x="122" y="833"/>
                        </a:lnTo>
                        <a:lnTo>
                          <a:pt x="122" y="833"/>
                        </a:lnTo>
                        <a:lnTo>
                          <a:pt x="122" y="833"/>
                        </a:lnTo>
                        <a:close/>
                        <a:moveTo>
                          <a:pt x="129" y="1081"/>
                        </a:moveTo>
                        <a:lnTo>
                          <a:pt x="122" y="1077"/>
                        </a:lnTo>
                        <a:lnTo>
                          <a:pt x="129" y="1081"/>
                        </a:lnTo>
                        <a:lnTo>
                          <a:pt x="129" y="1081"/>
                        </a:lnTo>
                        <a:lnTo>
                          <a:pt x="129" y="1081"/>
                        </a:lnTo>
                        <a:lnTo>
                          <a:pt x="129" y="1081"/>
                        </a:lnTo>
                        <a:close/>
                        <a:moveTo>
                          <a:pt x="134" y="1133"/>
                        </a:moveTo>
                        <a:lnTo>
                          <a:pt x="129" y="1126"/>
                        </a:lnTo>
                        <a:lnTo>
                          <a:pt x="134" y="1126"/>
                        </a:lnTo>
                        <a:lnTo>
                          <a:pt x="134" y="1133"/>
                        </a:lnTo>
                        <a:lnTo>
                          <a:pt x="134" y="1133"/>
                        </a:lnTo>
                        <a:lnTo>
                          <a:pt x="134" y="1133"/>
                        </a:lnTo>
                        <a:close/>
                        <a:moveTo>
                          <a:pt x="177" y="1150"/>
                        </a:moveTo>
                        <a:lnTo>
                          <a:pt x="160" y="1138"/>
                        </a:lnTo>
                        <a:lnTo>
                          <a:pt x="160" y="1133"/>
                        </a:lnTo>
                        <a:lnTo>
                          <a:pt x="177" y="1150"/>
                        </a:lnTo>
                        <a:lnTo>
                          <a:pt x="177" y="1150"/>
                        </a:lnTo>
                        <a:lnTo>
                          <a:pt x="177" y="1150"/>
                        </a:lnTo>
                        <a:close/>
                        <a:moveTo>
                          <a:pt x="26" y="1183"/>
                        </a:moveTo>
                        <a:lnTo>
                          <a:pt x="21" y="1171"/>
                        </a:lnTo>
                        <a:lnTo>
                          <a:pt x="14" y="1155"/>
                        </a:lnTo>
                        <a:lnTo>
                          <a:pt x="21" y="1150"/>
                        </a:lnTo>
                        <a:lnTo>
                          <a:pt x="21" y="1166"/>
                        </a:lnTo>
                        <a:lnTo>
                          <a:pt x="26" y="1150"/>
                        </a:lnTo>
                        <a:lnTo>
                          <a:pt x="21" y="1138"/>
                        </a:lnTo>
                        <a:lnTo>
                          <a:pt x="26" y="1138"/>
                        </a:lnTo>
                        <a:lnTo>
                          <a:pt x="52" y="1150"/>
                        </a:lnTo>
                        <a:lnTo>
                          <a:pt x="42" y="1166"/>
                        </a:lnTo>
                        <a:lnTo>
                          <a:pt x="42" y="1155"/>
                        </a:lnTo>
                        <a:lnTo>
                          <a:pt x="37" y="1150"/>
                        </a:lnTo>
                        <a:lnTo>
                          <a:pt x="26" y="1155"/>
                        </a:lnTo>
                        <a:lnTo>
                          <a:pt x="37" y="1171"/>
                        </a:lnTo>
                        <a:lnTo>
                          <a:pt x="26" y="1183"/>
                        </a:lnTo>
                        <a:lnTo>
                          <a:pt x="26" y="1183"/>
                        </a:lnTo>
                        <a:lnTo>
                          <a:pt x="26" y="1183"/>
                        </a:lnTo>
                        <a:close/>
                        <a:moveTo>
                          <a:pt x="198" y="1150"/>
                        </a:moveTo>
                        <a:lnTo>
                          <a:pt x="198" y="1150"/>
                        </a:lnTo>
                        <a:lnTo>
                          <a:pt x="205" y="1150"/>
                        </a:lnTo>
                        <a:lnTo>
                          <a:pt x="198" y="1150"/>
                        </a:lnTo>
                        <a:lnTo>
                          <a:pt x="198" y="1150"/>
                        </a:lnTo>
                        <a:lnTo>
                          <a:pt x="198" y="1150"/>
                        </a:lnTo>
                        <a:close/>
                        <a:moveTo>
                          <a:pt x="189" y="1155"/>
                        </a:moveTo>
                        <a:lnTo>
                          <a:pt x="181" y="1150"/>
                        </a:lnTo>
                        <a:lnTo>
                          <a:pt x="198" y="1150"/>
                        </a:lnTo>
                        <a:lnTo>
                          <a:pt x="189" y="1155"/>
                        </a:lnTo>
                        <a:lnTo>
                          <a:pt x="189" y="1155"/>
                        </a:lnTo>
                        <a:lnTo>
                          <a:pt x="189" y="1155"/>
                        </a:lnTo>
                        <a:close/>
                        <a:moveTo>
                          <a:pt x="432" y="1166"/>
                        </a:moveTo>
                        <a:lnTo>
                          <a:pt x="432" y="1150"/>
                        </a:lnTo>
                        <a:lnTo>
                          <a:pt x="432" y="1155"/>
                        </a:lnTo>
                        <a:lnTo>
                          <a:pt x="432" y="1166"/>
                        </a:lnTo>
                        <a:lnTo>
                          <a:pt x="432" y="1166"/>
                        </a:lnTo>
                        <a:lnTo>
                          <a:pt x="432" y="1166"/>
                        </a:lnTo>
                        <a:close/>
                        <a:moveTo>
                          <a:pt x="59" y="1166"/>
                        </a:moveTo>
                        <a:lnTo>
                          <a:pt x="59" y="1155"/>
                        </a:lnTo>
                        <a:lnTo>
                          <a:pt x="68" y="1155"/>
                        </a:lnTo>
                        <a:lnTo>
                          <a:pt x="59" y="1166"/>
                        </a:lnTo>
                        <a:lnTo>
                          <a:pt x="59" y="1166"/>
                        </a:lnTo>
                        <a:lnTo>
                          <a:pt x="59" y="1166"/>
                        </a:lnTo>
                        <a:close/>
                        <a:moveTo>
                          <a:pt x="4" y="1171"/>
                        </a:moveTo>
                        <a:lnTo>
                          <a:pt x="0" y="1166"/>
                        </a:lnTo>
                        <a:lnTo>
                          <a:pt x="4" y="1155"/>
                        </a:lnTo>
                        <a:lnTo>
                          <a:pt x="14" y="1166"/>
                        </a:lnTo>
                        <a:lnTo>
                          <a:pt x="4" y="1171"/>
                        </a:lnTo>
                        <a:lnTo>
                          <a:pt x="4" y="1171"/>
                        </a:lnTo>
                        <a:lnTo>
                          <a:pt x="4" y="1171"/>
                        </a:lnTo>
                        <a:close/>
                        <a:moveTo>
                          <a:pt x="215" y="1183"/>
                        </a:moveTo>
                        <a:lnTo>
                          <a:pt x="205" y="1183"/>
                        </a:lnTo>
                        <a:lnTo>
                          <a:pt x="205" y="1155"/>
                        </a:lnTo>
                        <a:lnTo>
                          <a:pt x="236" y="1155"/>
                        </a:lnTo>
                        <a:lnTo>
                          <a:pt x="236" y="1171"/>
                        </a:lnTo>
                        <a:lnTo>
                          <a:pt x="215" y="1183"/>
                        </a:lnTo>
                        <a:lnTo>
                          <a:pt x="215" y="1183"/>
                        </a:lnTo>
                        <a:lnTo>
                          <a:pt x="215" y="1183"/>
                        </a:lnTo>
                        <a:close/>
                        <a:moveTo>
                          <a:pt x="177" y="1166"/>
                        </a:moveTo>
                        <a:lnTo>
                          <a:pt x="167" y="1166"/>
                        </a:lnTo>
                        <a:lnTo>
                          <a:pt x="181" y="1166"/>
                        </a:lnTo>
                        <a:lnTo>
                          <a:pt x="177" y="1166"/>
                        </a:lnTo>
                        <a:lnTo>
                          <a:pt x="177" y="1166"/>
                        </a:lnTo>
                        <a:lnTo>
                          <a:pt x="177" y="1166"/>
                        </a:lnTo>
                        <a:close/>
                        <a:moveTo>
                          <a:pt x="160" y="1171"/>
                        </a:moveTo>
                        <a:lnTo>
                          <a:pt x="151" y="1166"/>
                        </a:lnTo>
                        <a:lnTo>
                          <a:pt x="167" y="1166"/>
                        </a:lnTo>
                        <a:lnTo>
                          <a:pt x="160" y="1171"/>
                        </a:lnTo>
                        <a:lnTo>
                          <a:pt x="160" y="1171"/>
                        </a:lnTo>
                        <a:lnTo>
                          <a:pt x="160" y="1171"/>
                        </a:lnTo>
                        <a:close/>
                        <a:moveTo>
                          <a:pt x="52" y="1171"/>
                        </a:moveTo>
                        <a:lnTo>
                          <a:pt x="52" y="1166"/>
                        </a:lnTo>
                        <a:lnTo>
                          <a:pt x="59" y="1171"/>
                        </a:lnTo>
                        <a:lnTo>
                          <a:pt x="52" y="1171"/>
                        </a:lnTo>
                        <a:lnTo>
                          <a:pt x="52" y="1171"/>
                        </a:lnTo>
                        <a:lnTo>
                          <a:pt x="52" y="1171"/>
                        </a:lnTo>
                        <a:close/>
                        <a:moveTo>
                          <a:pt x="42" y="1171"/>
                        </a:moveTo>
                        <a:lnTo>
                          <a:pt x="52" y="1171"/>
                        </a:lnTo>
                        <a:lnTo>
                          <a:pt x="52" y="1183"/>
                        </a:lnTo>
                        <a:lnTo>
                          <a:pt x="37" y="1171"/>
                        </a:lnTo>
                        <a:lnTo>
                          <a:pt x="42" y="1171"/>
                        </a:lnTo>
                        <a:lnTo>
                          <a:pt x="42" y="1171"/>
                        </a:lnTo>
                        <a:lnTo>
                          <a:pt x="42" y="1171"/>
                        </a:lnTo>
                        <a:close/>
                        <a:moveTo>
                          <a:pt x="205" y="1171"/>
                        </a:moveTo>
                        <a:lnTo>
                          <a:pt x="198" y="1183"/>
                        </a:lnTo>
                        <a:lnTo>
                          <a:pt x="198" y="1171"/>
                        </a:lnTo>
                        <a:lnTo>
                          <a:pt x="205" y="1171"/>
                        </a:lnTo>
                        <a:lnTo>
                          <a:pt x="205" y="1171"/>
                        </a:lnTo>
                        <a:lnTo>
                          <a:pt x="205" y="1171"/>
                        </a:lnTo>
                        <a:close/>
                        <a:moveTo>
                          <a:pt x="243" y="1195"/>
                        </a:moveTo>
                        <a:lnTo>
                          <a:pt x="231" y="1188"/>
                        </a:lnTo>
                        <a:lnTo>
                          <a:pt x="252" y="1188"/>
                        </a:lnTo>
                        <a:lnTo>
                          <a:pt x="243" y="1195"/>
                        </a:lnTo>
                        <a:lnTo>
                          <a:pt x="243" y="1195"/>
                        </a:lnTo>
                        <a:lnTo>
                          <a:pt x="243" y="119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69" name="Freeform 443">
                    <a:extLst>
                      <a:ext uri="{FF2B5EF4-FFF2-40B4-BE49-F238E27FC236}">
                        <a16:creationId xmlns:a16="http://schemas.microsoft.com/office/drawing/2014/main" id="{E4E50867-8B30-44E5-B6A5-F88EF3F259CA}"/>
                      </a:ext>
                    </a:extLst>
                  </p:cNvPr>
                  <p:cNvSpPr>
                    <a:spLocks noEditPoints="1"/>
                  </p:cNvSpPr>
                  <p:nvPr/>
                </p:nvSpPr>
                <p:spPr bwMode="gray">
                  <a:xfrm>
                    <a:off x="6511344" y="1926197"/>
                    <a:ext cx="30053" cy="40760"/>
                  </a:xfrm>
                  <a:custGeom>
                    <a:avLst/>
                    <a:gdLst>
                      <a:gd name="T0" fmla="*/ 64 w 73"/>
                      <a:gd name="T1" fmla="*/ 16 h 99"/>
                      <a:gd name="T2" fmla="*/ 56 w 73"/>
                      <a:gd name="T3" fmla="*/ 4 h 99"/>
                      <a:gd name="T4" fmla="*/ 64 w 73"/>
                      <a:gd name="T5" fmla="*/ 0 h 99"/>
                      <a:gd name="T6" fmla="*/ 73 w 73"/>
                      <a:gd name="T7" fmla="*/ 4 h 99"/>
                      <a:gd name="T8" fmla="*/ 64 w 73"/>
                      <a:gd name="T9" fmla="*/ 16 h 99"/>
                      <a:gd name="T10" fmla="*/ 64 w 73"/>
                      <a:gd name="T11" fmla="*/ 16 h 99"/>
                      <a:gd name="T12" fmla="*/ 64 w 73"/>
                      <a:gd name="T13" fmla="*/ 16 h 99"/>
                      <a:gd name="T14" fmla="*/ 52 w 73"/>
                      <a:gd name="T15" fmla="*/ 33 h 99"/>
                      <a:gd name="T16" fmla="*/ 26 w 73"/>
                      <a:gd name="T17" fmla="*/ 0 h 99"/>
                      <a:gd name="T18" fmla="*/ 56 w 73"/>
                      <a:gd name="T19" fmla="*/ 16 h 99"/>
                      <a:gd name="T20" fmla="*/ 52 w 73"/>
                      <a:gd name="T21" fmla="*/ 33 h 99"/>
                      <a:gd name="T22" fmla="*/ 52 w 73"/>
                      <a:gd name="T23" fmla="*/ 33 h 99"/>
                      <a:gd name="T24" fmla="*/ 52 w 73"/>
                      <a:gd name="T25" fmla="*/ 33 h 99"/>
                      <a:gd name="T26" fmla="*/ 52 w 73"/>
                      <a:gd name="T27" fmla="*/ 44 h 99"/>
                      <a:gd name="T28" fmla="*/ 12 w 73"/>
                      <a:gd name="T29" fmla="*/ 16 h 99"/>
                      <a:gd name="T30" fmla="*/ 12 w 73"/>
                      <a:gd name="T31" fmla="*/ 4 h 99"/>
                      <a:gd name="T32" fmla="*/ 26 w 73"/>
                      <a:gd name="T33" fmla="*/ 4 h 99"/>
                      <a:gd name="T34" fmla="*/ 42 w 73"/>
                      <a:gd name="T35" fmla="*/ 21 h 99"/>
                      <a:gd name="T36" fmla="*/ 52 w 73"/>
                      <a:gd name="T37" fmla="*/ 44 h 99"/>
                      <a:gd name="T38" fmla="*/ 52 w 73"/>
                      <a:gd name="T39" fmla="*/ 44 h 99"/>
                      <a:gd name="T40" fmla="*/ 52 w 73"/>
                      <a:gd name="T41" fmla="*/ 44 h 99"/>
                      <a:gd name="T42" fmla="*/ 21 w 73"/>
                      <a:gd name="T43" fmla="*/ 33 h 99"/>
                      <a:gd name="T44" fmla="*/ 0 w 73"/>
                      <a:gd name="T45" fmla="*/ 21 h 99"/>
                      <a:gd name="T46" fmla="*/ 26 w 73"/>
                      <a:gd name="T47" fmla="*/ 21 h 99"/>
                      <a:gd name="T48" fmla="*/ 21 w 73"/>
                      <a:gd name="T49" fmla="*/ 33 h 99"/>
                      <a:gd name="T50" fmla="*/ 21 w 73"/>
                      <a:gd name="T51" fmla="*/ 33 h 99"/>
                      <a:gd name="T52" fmla="*/ 21 w 73"/>
                      <a:gd name="T53" fmla="*/ 33 h 99"/>
                      <a:gd name="T54" fmla="*/ 56 w 73"/>
                      <a:gd name="T55" fmla="*/ 61 h 99"/>
                      <a:gd name="T56" fmla="*/ 38 w 73"/>
                      <a:gd name="T57" fmla="*/ 44 h 99"/>
                      <a:gd name="T58" fmla="*/ 56 w 73"/>
                      <a:gd name="T59" fmla="*/ 54 h 99"/>
                      <a:gd name="T60" fmla="*/ 56 w 73"/>
                      <a:gd name="T61" fmla="*/ 61 h 99"/>
                      <a:gd name="T62" fmla="*/ 56 w 73"/>
                      <a:gd name="T63" fmla="*/ 61 h 99"/>
                      <a:gd name="T64" fmla="*/ 56 w 73"/>
                      <a:gd name="T65" fmla="*/ 61 h 99"/>
                      <a:gd name="T66" fmla="*/ 52 w 73"/>
                      <a:gd name="T67" fmla="*/ 99 h 99"/>
                      <a:gd name="T68" fmla="*/ 38 w 73"/>
                      <a:gd name="T69" fmla="*/ 78 h 99"/>
                      <a:gd name="T70" fmla="*/ 52 w 73"/>
                      <a:gd name="T71" fmla="*/ 87 h 99"/>
                      <a:gd name="T72" fmla="*/ 52 w 73"/>
                      <a:gd name="T73" fmla="*/ 99 h 99"/>
                      <a:gd name="T74" fmla="*/ 52 w 73"/>
                      <a:gd name="T75" fmla="*/ 99 h 99"/>
                      <a:gd name="T76" fmla="*/ 52 w 73"/>
                      <a:gd name="T77"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99">
                        <a:moveTo>
                          <a:pt x="64" y="16"/>
                        </a:moveTo>
                        <a:lnTo>
                          <a:pt x="56" y="4"/>
                        </a:lnTo>
                        <a:lnTo>
                          <a:pt x="64" y="0"/>
                        </a:lnTo>
                        <a:lnTo>
                          <a:pt x="73" y="4"/>
                        </a:lnTo>
                        <a:lnTo>
                          <a:pt x="64" y="16"/>
                        </a:lnTo>
                        <a:lnTo>
                          <a:pt x="64" y="16"/>
                        </a:lnTo>
                        <a:lnTo>
                          <a:pt x="64" y="16"/>
                        </a:lnTo>
                        <a:close/>
                        <a:moveTo>
                          <a:pt x="52" y="33"/>
                        </a:moveTo>
                        <a:lnTo>
                          <a:pt x="26" y="0"/>
                        </a:lnTo>
                        <a:lnTo>
                          <a:pt x="56" y="16"/>
                        </a:lnTo>
                        <a:lnTo>
                          <a:pt x="52" y="33"/>
                        </a:lnTo>
                        <a:lnTo>
                          <a:pt x="52" y="33"/>
                        </a:lnTo>
                        <a:lnTo>
                          <a:pt x="52" y="33"/>
                        </a:lnTo>
                        <a:close/>
                        <a:moveTo>
                          <a:pt x="52" y="44"/>
                        </a:moveTo>
                        <a:lnTo>
                          <a:pt x="12" y="16"/>
                        </a:lnTo>
                        <a:lnTo>
                          <a:pt x="12" y="4"/>
                        </a:lnTo>
                        <a:lnTo>
                          <a:pt x="26" y="4"/>
                        </a:lnTo>
                        <a:lnTo>
                          <a:pt x="42" y="21"/>
                        </a:lnTo>
                        <a:lnTo>
                          <a:pt x="52" y="44"/>
                        </a:lnTo>
                        <a:lnTo>
                          <a:pt x="52" y="44"/>
                        </a:lnTo>
                        <a:lnTo>
                          <a:pt x="52" y="44"/>
                        </a:lnTo>
                        <a:close/>
                        <a:moveTo>
                          <a:pt x="21" y="33"/>
                        </a:moveTo>
                        <a:lnTo>
                          <a:pt x="0" y="21"/>
                        </a:lnTo>
                        <a:lnTo>
                          <a:pt x="26" y="21"/>
                        </a:lnTo>
                        <a:lnTo>
                          <a:pt x="21" y="33"/>
                        </a:lnTo>
                        <a:lnTo>
                          <a:pt x="21" y="33"/>
                        </a:lnTo>
                        <a:lnTo>
                          <a:pt x="21" y="33"/>
                        </a:lnTo>
                        <a:close/>
                        <a:moveTo>
                          <a:pt x="56" y="61"/>
                        </a:moveTo>
                        <a:lnTo>
                          <a:pt x="38" y="44"/>
                        </a:lnTo>
                        <a:lnTo>
                          <a:pt x="56" y="54"/>
                        </a:lnTo>
                        <a:lnTo>
                          <a:pt x="56" y="61"/>
                        </a:lnTo>
                        <a:lnTo>
                          <a:pt x="56" y="61"/>
                        </a:lnTo>
                        <a:lnTo>
                          <a:pt x="56" y="61"/>
                        </a:lnTo>
                        <a:close/>
                        <a:moveTo>
                          <a:pt x="52" y="99"/>
                        </a:moveTo>
                        <a:lnTo>
                          <a:pt x="38" y="78"/>
                        </a:lnTo>
                        <a:lnTo>
                          <a:pt x="52" y="87"/>
                        </a:lnTo>
                        <a:lnTo>
                          <a:pt x="52" y="99"/>
                        </a:lnTo>
                        <a:lnTo>
                          <a:pt x="52" y="99"/>
                        </a:lnTo>
                        <a:lnTo>
                          <a:pt x="52" y="9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70" name="Freeform 445">
                    <a:extLst>
                      <a:ext uri="{FF2B5EF4-FFF2-40B4-BE49-F238E27FC236}">
                        <a16:creationId xmlns:a16="http://schemas.microsoft.com/office/drawing/2014/main" id="{3AAE7B7E-1F67-48A5-B468-F7F27E58A4F1}"/>
                      </a:ext>
                    </a:extLst>
                  </p:cNvPr>
                  <p:cNvSpPr>
                    <a:spLocks noEditPoints="1"/>
                  </p:cNvSpPr>
                  <p:nvPr/>
                </p:nvSpPr>
                <p:spPr bwMode="gray">
                  <a:xfrm>
                    <a:off x="6589149" y="2403375"/>
                    <a:ext cx="413317" cy="359839"/>
                  </a:xfrm>
                  <a:custGeom>
                    <a:avLst/>
                    <a:gdLst>
                      <a:gd name="T0" fmla="*/ 557 w 1004"/>
                      <a:gd name="T1" fmla="*/ 22 h 874"/>
                      <a:gd name="T2" fmla="*/ 626 w 1004"/>
                      <a:gd name="T3" fmla="*/ 76 h 874"/>
                      <a:gd name="T4" fmla="*/ 675 w 1004"/>
                      <a:gd name="T5" fmla="*/ 83 h 874"/>
                      <a:gd name="T6" fmla="*/ 718 w 1004"/>
                      <a:gd name="T7" fmla="*/ 149 h 874"/>
                      <a:gd name="T8" fmla="*/ 789 w 1004"/>
                      <a:gd name="T9" fmla="*/ 154 h 874"/>
                      <a:gd name="T10" fmla="*/ 848 w 1004"/>
                      <a:gd name="T11" fmla="*/ 178 h 874"/>
                      <a:gd name="T12" fmla="*/ 874 w 1004"/>
                      <a:gd name="T13" fmla="*/ 248 h 874"/>
                      <a:gd name="T14" fmla="*/ 864 w 1004"/>
                      <a:gd name="T15" fmla="*/ 322 h 874"/>
                      <a:gd name="T16" fmla="*/ 827 w 1004"/>
                      <a:gd name="T17" fmla="*/ 343 h 874"/>
                      <a:gd name="T18" fmla="*/ 767 w 1004"/>
                      <a:gd name="T19" fmla="*/ 416 h 874"/>
                      <a:gd name="T20" fmla="*/ 751 w 1004"/>
                      <a:gd name="T21" fmla="*/ 449 h 874"/>
                      <a:gd name="T22" fmla="*/ 805 w 1004"/>
                      <a:gd name="T23" fmla="*/ 426 h 874"/>
                      <a:gd name="T24" fmla="*/ 810 w 1004"/>
                      <a:gd name="T25" fmla="*/ 487 h 874"/>
                      <a:gd name="T26" fmla="*/ 805 w 1004"/>
                      <a:gd name="T27" fmla="*/ 565 h 874"/>
                      <a:gd name="T28" fmla="*/ 848 w 1004"/>
                      <a:gd name="T29" fmla="*/ 631 h 874"/>
                      <a:gd name="T30" fmla="*/ 860 w 1004"/>
                      <a:gd name="T31" fmla="*/ 664 h 874"/>
                      <a:gd name="T32" fmla="*/ 793 w 1004"/>
                      <a:gd name="T33" fmla="*/ 704 h 874"/>
                      <a:gd name="T34" fmla="*/ 767 w 1004"/>
                      <a:gd name="T35" fmla="*/ 726 h 874"/>
                      <a:gd name="T36" fmla="*/ 713 w 1004"/>
                      <a:gd name="T37" fmla="*/ 709 h 874"/>
                      <a:gd name="T38" fmla="*/ 685 w 1004"/>
                      <a:gd name="T39" fmla="*/ 685 h 874"/>
                      <a:gd name="T40" fmla="*/ 664 w 1004"/>
                      <a:gd name="T41" fmla="*/ 704 h 874"/>
                      <a:gd name="T42" fmla="*/ 567 w 1004"/>
                      <a:gd name="T43" fmla="*/ 709 h 874"/>
                      <a:gd name="T44" fmla="*/ 557 w 1004"/>
                      <a:gd name="T45" fmla="*/ 780 h 874"/>
                      <a:gd name="T46" fmla="*/ 470 w 1004"/>
                      <a:gd name="T47" fmla="*/ 787 h 874"/>
                      <a:gd name="T48" fmla="*/ 427 w 1004"/>
                      <a:gd name="T49" fmla="*/ 759 h 874"/>
                      <a:gd name="T50" fmla="*/ 307 w 1004"/>
                      <a:gd name="T51" fmla="*/ 747 h 874"/>
                      <a:gd name="T52" fmla="*/ 231 w 1004"/>
                      <a:gd name="T53" fmla="*/ 709 h 874"/>
                      <a:gd name="T54" fmla="*/ 248 w 1004"/>
                      <a:gd name="T55" fmla="*/ 593 h 874"/>
                      <a:gd name="T56" fmla="*/ 255 w 1004"/>
                      <a:gd name="T57" fmla="*/ 504 h 874"/>
                      <a:gd name="T58" fmla="*/ 248 w 1004"/>
                      <a:gd name="T59" fmla="*/ 499 h 874"/>
                      <a:gd name="T60" fmla="*/ 189 w 1004"/>
                      <a:gd name="T61" fmla="*/ 392 h 874"/>
                      <a:gd name="T62" fmla="*/ 210 w 1004"/>
                      <a:gd name="T63" fmla="*/ 355 h 874"/>
                      <a:gd name="T64" fmla="*/ 156 w 1004"/>
                      <a:gd name="T65" fmla="*/ 338 h 874"/>
                      <a:gd name="T66" fmla="*/ 134 w 1004"/>
                      <a:gd name="T67" fmla="*/ 331 h 874"/>
                      <a:gd name="T68" fmla="*/ 118 w 1004"/>
                      <a:gd name="T69" fmla="*/ 331 h 874"/>
                      <a:gd name="T70" fmla="*/ 28 w 1004"/>
                      <a:gd name="T71" fmla="*/ 289 h 874"/>
                      <a:gd name="T72" fmla="*/ 16 w 1004"/>
                      <a:gd name="T73" fmla="*/ 265 h 874"/>
                      <a:gd name="T74" fmla="*/ 0 w 1004"/>
                      <a:gd name="T75" fmla="*/ 248 h 874"/>
                      <a:gd name="T76" fmla="*/ 87 w 1004"/>
                      <a:gd name="T77" fmla="*/ 211 h 874"/>
                      <a:gd name="T78" fmla="*/ 193 w 1004"/>
                      <a:gd name="T79" fmla="*/ 232 h 874"/>
                      <a:gd name="T80" fmla="*/ 243 w 1004"/>
                      <a:gd name="T81" fmla="*/ 227 h 874"/>
                      <a:gd name="T82" fmla="*/ 201 w 1004"/>
                      <a:gd name="T83" fmla="*/ 133 h 874"/>
                      <a:gd name="T84" fmla="*/ 255 w 1004"/>
                      <a:gd name="T85" fmla="*/ 154 h 874"/>
                      <a:gd name="T86" fmla="*/ 340 w 1004"/>
                      <a:gd name="T87" fmla="*/ 137 h 874"/>
                      <a:gd name="T88" fmla="*/ 449 w 1004"/>
                      <a:gd name="T89" fmla="*/ 59 h 874"/>
                      <a:gd name="T90" fmla="*/ 512 w 1004"/>
                      <a:gd name="T91" fmla="*/ 0 h 874"/>
                      <a:gd name="T92" fmla="*/ 118 w 1004"/>
                      <a:gd name="T93" fmla="*/ 355 h 874"/>
                      <a:gd name="T94" fmla="*/ 231 w 1004"/>
                      <a:gd name="T95" fmla="*/ 466 h 874"/>
                      <a:gd name="T96" fmla="*/ 248 w 1004"/>
                      <a:gd name="T97" fmla="*/ 487 h 874"/>
                      <a:gd name="T98" fmla="*/ 945 w 1004"/>
                      <a:gd name="T99" fmla="*/ 796 h 874"/>
                      <a:gd name="T100" fmla="*/ 982 w 1004"/>
                      <a:gd name="T101" fmla="*/ 759 h 874"/>
                      <a:gd name="T102" fmla="*/ 999 w 1004"/>
                      <a:gd name="T103" fmla="*/ 820 h 874"/>
                      <a:gd name="T104" fmla="*/ 956 w 1004"/>
                      <a:gd name="T105" fmla="*/ 848 h 874"/>
                      <a:gd name="T106" fmla="*/ 945 w 1004"/>
                      <a:gd name="T107" fmla="*/ 820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4" h="874">
                        <a:moveTo>
                          <a:pt x="512" y="0"/>
                        </a:moveTo>
                        <a:lnTo>
                          <a:pt x="519" y="22"/>
                        </a:lnTo>
                        <a:lnTo>
                          <a:pt x="534" y="26"/>
                        </a:lnTo>
                        <a:lnTo>
                          <a:pt x="557" y="22"/>
                        </a:lnTo>
                        <a:lnTo>
                          <a:pt x="567" y="55"/>
                        </a:lnTo>
                        <a:lnTo>
                          <a:pt x="588" y="55"/>
                        </a:lnTo>
                        <a:lnTo>
                          <a:pt x="595" y="67"/>
                        </a:lnTo>
                        <a:lnTo>
                          <a:pt x="626" y="76"/>
                        </a:lnTo>
                        <a:lnTo>
                          <a:pt x="626" y="100"/>
                        </a:lnTo>
                        <a:lnTo>
                          <a:pt x="647" y="111"/>
                        </a:lnTo>
                        <a:lnTo>
                          <a:pt x="675" y="83"/>
                        </a:lnTo>
                        <a:lnTo>
                          <a:pt x="675" y="83"/>
                        </a:lnTo>
                        <a:lnTo>
                          <a:pt x="675" y="100"/>
                        </a:lnTo>
                        <a:lnTo>
                          <a:pt x="675" y="116"/>
                        </a:lnTo>
                        <a:lnTo>
                          <a:pt x="701" y="133"/>
                        </a:lnTo>
                        <a:lnTo>
                          <a:pt x="718" y="149"/>
                        </a:lnTo>
                        <a:lnTo>
                          <a:pt x="739" y="137"/>
                        </a:lnTo>
                        <a:lnTo>
                          <a:pt x="751" y="149"/>
                        </a:lnTo>
                        <a:lnTo>
                          <a:pt x="784" y="149"/>
                        </a:lnTo>
                        <a:lnTo>
                          <a:pt x="789" y="154"/>
                        </a:lnTo>
                        <a:lnTo>
                          <a:pt x="805" y="178"/>
                        </a:lnTo>
                        <a:lnTo>
                          <a:pt x="822" y="170"/>
                        </a:lnTo>
                        <a:lnTo>
                          <a:pt x="843" y="178"/>
                        </a:lnTo>
                        <a:lnTo>
                          <a:pt x="848" y="178"/>
                        </a:lnTo>
                        <a:lnTo>
                          <a:pt x="874" y="187"/>
                        </a:lnTo>
                        <a:lnTo>
                          <a:pt x="912" y="194"/>
                        </a:lnTo>
                        <a:lnTo>
                          <a:pt x="881" y="232"/>
                        </a:lnTo>
                        <a:lnTo>
                          <a:pt x="874" y="248"/>
                        </a:lnTo>
                        <a:lnTo>
                          <a:pt x="864" y="277"/>
                        </a:lnTo>
                        <a:lnTo>
                          <a:pt x="864" y="289"/>
                        </a:lnTo>
                        <a:lnTo>
                          <a:pt x="860" y="315"/>
                        </a:lnTo>
                        <a:lnTo>
                          <a:pt x="864" y="322"/>
                        </a:lnTo>
                        <a:lnTo>
                          <a:pt x="848" y="338"/>
                        </a:lnTo>
                        <a:lnTo>
                          <a:pt x="827" y="331"/>
                        </a:lnTo>
                        <a:lnTo>
                          <a:pt x="822" y="343"/>
                        </a:lnTo>
                        <a:lnTo>
                          <a:pt x="827" y="343"/>
                        </a:lnTo>
                        <a:lnTo>
                          <a:pt x="822" y="355"/>
                        </a:lnTo>
                        <a:lnTo>
                          <a:pt x="789" y="392"/>
                        </a:lnTo>
                        <a:lnTo>
                          <a:pt x="784" y="400"/>
                        </a:lnTo>
                        <a:lnTo>
                          <a:pt x="767" y="416"/>
                        </a:lnTo>
                        <a:lnTo>
                          <a:pt x="756" y="426"/>
                        </a:lnTo>
                        <a:lnTo>
                          <a:pt x="767" y="433"/>
                        </a:lnTo>
                        <a:lnTo>
                          <a:pt x="767" y="442"/>
                        </a:lnTo>
                        <a:lnTo>
                          <a:pt x="751" y="449"/>
                        </a:lnTo>
                        <a:lnTo>
                          <a:pt x="756" y="454"/>
                        </a:lnTo>
                        <a:lnTo>
                          <a:pt x="772" y="449"/>
                        </a:lnTo>
                        <a:lnTo>
                          <a:pt x="772" y="433"/>
                        </a:lnTo>
                        <a:lnTo>
                          <a:pt x="805" y="426"/>
                        </a:lnTo>
                        <a:lnTo>
                          <a:pt x="810" y="433"/>
                        </a:lnTo>
                        <a:lnTo>
                          <a:pt x="810" y="454"/>
                        </a:lnTo>
                        <a:lnTo>
                          <a:pt x="827" y="470"/>
                        </a:lnTo>
                        <a:lnTo>
                          <a:pt x="810" y="487"/>
                        </a:lnTo>
                        <a:lnTo>
                          <a:pt x="836" y="520"/>
                        </a:lnTo>
                        <a:lnTo>
                          <a:pt x="836" y="537"/>
                        </a:lnTo>
                        <a:lnTo>
                          <a:pt x="793" y="544"/>
                        </a:lnTo>
                        <a:lnTo>
                          <a:pt x="805" y="565"/>
                        </a:lnTo>
                        <a:lnTo>
                          <a:pt x="827" y="565"/>
                        </a:lnTo>
                        <a:lnTo>
                          <a:pt x="810" y="598"/>
                        </a:lnTo>
                        <a:lnTo>
                          <a:pt x="822" y="619"/>
                        </a:lnTo>
                        <a:lnTo>
                          <a:pt x="848" y="631"/>
                        </a:lnTo>
                        <a:lnTo>
                          <a:pt x="874" y="631"/>
                        </a:lnTo>
                        <a:lnTo>
                          <a:pt x="874" y="636"/>
                        </a:lnTo>
                        <a:lnTo>
                          <a:pt x="860" y="652"/>
                        </a:lnTo>
                        <a:lnTo>
                          <a:pt x="860" y="664"/>
                        </a:lnTo>
                        <a:lnTo>
                          <a:pt x="860" y="669"/>
                        </a:lnTo>
                        <a:lnTo>
                          <a:pt x="848" y="669"/>
                        </a:lnTo>
                        <a:lnTo>
                          <a:pt x="836" y="676"/>
                        </a:lnTo>
                        <a:lnTo>
                          <a:pt x="793" y="704"/>
                        </a:lnTo>
                        <a:lnTo>
                          <a:pt x="805" y="709"/>
                        </a:lnTo>
                        <a:lnTo>
                          <a:pt x="793" y="721"/>
                        </a:lnTo>
                        <a:lnTo>
                          <a:pt x="767" y="721"/>
                        </a:lnTo>
                        <a:lnTo>
                          <a:pt x="767" y="726"/>
                        </a:lnTo>
                        <a:lnTo>
                          <a:pt x="751" y="726"/>
                        </a:lnTo>
                        <a:lnTo>
                          <a:pt x="739" y="726"/>
                        </a:lnTo>
                        <a:lnTo>
                          <a:pt x="734" y="721"/>
                        </a:lnTo>
                        <a:lnTo>
                          <a:pt x="713" y="709"/>
                        </a:lnTo>
                        <a:lnTo>
                          <a:pt x="701" y="704"/>
                        </a:lnTo>
                        <a:lnTo>
                          <a:pt x="685" y="704"/>
                        </a:lnTo>
                        <a:lnTo>
                          <a:pt x="701" y="692"/>
                        </a:lnTo>
                        <a:lnTo>
                          <a:pt x="685" y="685"/>
                        </a:lnTo>
                        <a:lnTo>
                          <a:pt x="685" y="692"/>
                        </a:lnTo>
                        <a:lnTo>
                          <a:pt x="675" y="704"/>
                        </a:lnTo>
                        <a:lnTo>
                          <a:pt x="664" y="676"/>
                        </a:lnTo>
                        <a:lnTo>
                          <a:pt x="664" y="704"/>
                        </a:lnTo>
                        <a:lnTo>
                          <a:pt x="659" y="704"/>
                        </a:lnTo>
                        <a:lnTo>
                          <a:pt x="647" y="692"/>
                        </a:lnTo>
                        <a:lnTo>
                          <a:pt x="609" y="685"/>
                        </a:lnTo>
                        <a:lnTo>
                          <a:pt x="567" y="709"/>
                        </a:lnTo>
                        <a:lnTo>
                          <a:pt x="550" y="726"/>
                        </a:lnTo>
                        <a:lnTo>
                          <a:pt x="541" y="747"/>
                        </a:lnTo>
                        <a:lnTo>
                          <a:pt x="550" y="775"/>
                        </a:lnTo>
                        <a:lnTo>
                          <a:pt x="557" y="780"/>
                        </a:lnTo>
                        <a:lnTo>
                          <a:pt x="541" y="780"/>
                        </a:lnTo>
                        <a:lnTo>
                          <a:pt x="512" y="787"/>
                        </a:lnTo>
                        <a:lnTo>
                          <a:pt x="496" y="780"/>
                        </a:lnTo>
                        <a:lnTo>
                          <a:pt x="470" y="787"/>
                        </a:lnTo>
                        <a:lnTo>
                          <a:pt x="458" y="775"/>
                        </a:lnTo>
                        <a:lnTo>
                          <a:pt x="458" y="763"/>
                        </a:lnTo>
                        <a:lnTo>
                          <a:pt x="432" y="763"/>
                        </a:lnTo>
                        <a:lnTo>
                          <a:pt x="427" y="759"/>
                        </a:lnTo>
                        <a:lnTo>
                          <a:pt x="390" y="742"/>
                        </a:lnTo>
                        <a:lnTo>
                          <a:pt x="378" y="759"/>
                        </a:lnTo>
                        <a:lnTo>
                          <a:pt x="335" y="759"/>
                        </a:lnTo>
                        <a:lnTo>
                          <a:pt x="307" y="747"/>
                        </a:lnTo>
                        <a:lnTo>
                          <a:pt x="297" y="747"/>
                        </a:lnTo>
                        <a:lnTo>
                          <a:pt x="281" y="730"/>
                        </a:lnTo>
                        <a:lnTo>
                          <a:pt x="231" y="726"/>
                        </a:lnTo>
                        <a:lnTo>
                          <a:pt x="231" y="709"/>
                        </a:lnTo>
                        <a:lnTo>
                          <a:pt x="210" y="704"/>
                        </a:lnTo>
                        <a:lnTo>
                          <a:pt x="227" y="692"/>
                        </a:lnTo>
                        <a:lnTo>
                          <a:pt x="231" y="676"/>
                        </a:lnTo>
                        <a:lnTo>
                          <a:pt x="248" y="593"/>
                        </a:lnTo>
                        <a:lnTo>
                          <a:pt x="264" y="581"/>
                        </a:lnTo>
                        <a:lnTo>
                          <a:pt x="248" y="577"/>
                        </a:lnTo>
                        <a:lnTo>
                          <a:pt x="248" y="581"/>
                        </a:lnTo>
                        <a:lnTo>
                          <a:pt x="255" y="504"/>
                        </a:lnTo>
                        <a:lnTo>
                          <a:pt x="281" y="525"/>
                        </a:lnTo>
                        <a:lnTo>
                          <a:pt x="297" y="565"/>
                        </a:lnTo>
                        <a:lnTo>
                          <a:pt x="281" y="508"/>
                        </a:lnTo>
                        <a:lnTo>
                          <a:pt x="248" y="499"/>
                        </a:lnTo>
                        <a:lnTo>
                          <a:pt x="255" y="470"/>
                        </a:lnTo>
                        <a:lnTo>
                          <a:pt x="255" y="442"/>
                        </a:lnTo>
                        <a:lnTo>
                          <a:pt x="210" y="426"/>
                        </a:lnTo>
                        <a:lnTo>
                          <a:pt x="189" y="392"/>
                        </a:lnTo>
                        <a:lnTo>
                          <a:pt x="193" y="371"/>
                        </a:lnTo>
                        <a:lnTo>
                          <a:pt x="179" y="359"/>
                        </a:lnTo>
                        <a:lnTo>
                          <a:pt x="189" y="355"/>
                        </a:lnTo>
                        <a:lnTo>
                          <a:pt x="210" y="355"/>
                        </a:lnTo>
                        <a:lnTo>
                          <a:pt x="193" y="343"/>
                        </a:lnTo>
                        <a:lnTo>
                          <a:pt x="172" y="355"/>
                        </a:lnTo>
                        <a:lnTo>
                          <a:pt x="156" y="343"/>
                        </a:lnTo>
                        <a:lnTo>
                          <a:pt x="156" y="338"/>
                        </a:lnTo>
                        <a:lnTo>
                          <a:pt x="163" y="338"/>
                        </a:lnTo>
                        <a:lnTo>
                          <a:pt x="156" y="331"/>
                        </a:lnTo>
                        <a:lnTo>
                          <a:pt x="172" y="331"/>
                        </a:lnTo>
                        <a:lnTo>
                          <a:pt x="134" y="331"/>
                        </a:lnTo>
                        <a:lnTo>
                          <a:pt x="142" y="331"/>
                        </a:lnTo>
                        <a:lnTo>
                          <a:pt x="142" y="322"/>
                        </a:lnTo>
                        <a:lnTo>
                          <a:pt x="118" y="322"/>
                        </a:lnTo>
                        <a:lnTo>
                          <a:pt x="118" y="331"/>
                        </a:lnTo>
                        <a:lnTo>
                          <a:pt x="108" y="315"/>
                        </a:lnTo>
                        <a:lnTo>
                          <a:pt x="54" y="298"/>
                        </a:lnTo>
                        <a:lnTo>
                          <a:pt x="28" y="305"/>
                        </a:lnTo>
                        <a:lnTo>
                          <a:pt x="28" y="289"/>
                        </a:lnTo>
                        <a:lnTo>
                          <a:pt x="0" y="281"/>
                        </a:lnTo>
                        <a:lnTo>
                          <a:pt x="33" y="277"/>
                        </a:lnTo>
                        <a:lnTo>
                          <a:pt x="28" y="265"/>
                        </a:lnTo>
                        <a:lnTo>
                          <a:pt x="16" y="265"/>
                        </a:lnTo>
                        <a:lnTo>
                          <a:pt x="12" y="260"/>
                        </a:lnTo>
                        <a:lnTo>
                          <a:pt x="16" y="248"/>
                        </a:lnTo>
                        <a:lnTo>
                          <a:pt x="38" y="260"/>
                        </a:lnTo>
                        <a:lnTo>
                          <a:pt x="0" y="248"/>
                        </a:lnTo>
                        <a:lnTo>
                          <a:pt x="0" y="232"/>
                        </a:lnTo>
                        <a:lnTo>
                          <a:pt x="28" y="227"/>
                        </a:lnTo>
                        <a:lnTo>
                          <a:pt x="80" y="220"/>
                        </a:lnTo>
                        <a:lnTo>
                          <a:pt x="87" y="211"/>
                        </a:lnTo>
                        <a:lnTo>
                          <a:pt x="108" y="204"/>
                        </a:lnTo>
                        <a:lnTo>
                          <a:pt x="146" y="244"/>
                        </a:lnTo>
                        <a:lnTo>
                          <a:pt x="172" y="220"/>
                        </a:lnTo>
                        <a:lnTo>
                          <a:pt x="193" y="232"/>
                        </a:lnTo>
                        <a:lnTo>
                          <a:pt x="193" y="220"/>
                        </a:lnTo>
                        <a:lnTo>
                          <a:pt x="201" y="220"/>
                        </a:lnTo>
                        <a:lnTo>
                          <a:pt x="201" y="227"/>
                        </a:lnTo>
                        <a:lnTo>
                          <a:pt x="243" y="227"/>
                        </a:lnTo>
                        <a:lnTo>
                          <a:pt x="227" y="220"/>
                        </a:lnTo>
                        <a:lnTo>
                          <a:pt x="217" y="170"/>
                        </a:lnTo>
                        <a:lnTo>
                          <a:pt x="210" y="154"/>
                        </a:lnTo>
                        <a:lnTo>
                          <a:pt x="201" y="133"/>
                        </a:lnTo>
                        <a:lnTo>
                          <a:pt x="193" y="121"/>
                        </a:lnTo>
                        <a:lnTo>
                          <a:pt x="248" y="133"/>
                        </a:lnTo>
                        <a:lnTo>
                          <a:pt x="243" y="137"/>
                        </a:lnTo>
                        <a:lnTo>
                          <a:pt x="255" y="154"/>
                        </a:lnTo>
                        <a:lnTo>
                          <a:pt x="319" y="166"/>
                        </a:lnTo>
                        <a:lnTo>
                          <a:pt x="361" y="149"/>
                        </a:lnTo>
                        <a:lnTo>
                          <a:pt x="361" y="149"/>
                        </a:lnTo>
                        <a:lnTo>
                          <a:pt x="340" y="137"/>
                        </a:lnTo>
                        <a:lnTo>
                          <a:pt x="352" y="121"/>
                        </a:lnTo>
                        <a:lnTo>
                          <a:pt x="411" y="111"/>
                        </a:lnTo>
                        <a:lnTo>
                          <a:pt x="432" y="83"/>
                        </a:lnTo>
                        <a:lnTo>
                          <a:pt x="449" y="59"/>
                        </a:lnTo>
                        <a:lnTo>
                          <a:pt x="449" y="10"/>
                        </a:lnTo>
                        <a:lnTo>
                          <a:pt x="512" y="0"/>
                        </a:lnTo>
                        <a:lnTo>
                          <a:pt x="512" y="0"/>
                        </a:lnTo>
                        <a:lnTo>
                          <a:pt x="512" y="0"/>
                        </a:lnTo>
                        <a:close/>
                        <a:moveTo>
                          <a:pt x="118" y="355"/>
                        </a:moveTo>
                        <a:lnTo>
                          <a:pt x="108" y="343"/>
                        </a:lnTo>
                        <a:lnTo>
                          <a:pt x="104" y="338"/>
                        </a:lnTo>
                        <a:lnTo>
                          <a:pt x="118" y="355"/>
                        </a:lnTo>
                        <a:lnTo>
                          <a:pt x="118" y="355"/>
                        </a:lnTo>
                        <a:lnTo>
                          <a:pt x="118" y="355"/>
                        </a:lnTo>
                        <a:close/>
                        <a:moveTo>
                          <a:pt x="248" y="487"/>
                        </a:moveTo>
                        <a:lnTo>
                          <a:pt x="231" y="466"/>
                        </a:lnTo>
                        <a:lnTo>
                          <a:pt x="248" y="470"/>
                        </a:lnTo>
                        <a:lnTo>
                          <a:pt x="248" y="487"/>
                        </a:lnTo>
                        <a:lnTo>
                          <a:pt x="248" y="487"/>
                        </a:lnTo>
                        <a:lnTo>
                          <a:pt x="248" y="487"/>
                        </a:lnTo>
                        <a:close/>
                        <a:moveTo>
                          <a:pt x="945" y="820"/>
                        </a:moveTo>
                        <a:lnTo>
                          <a:pt x="945" y="813"/>
                        </a:lnTo>
                        <a:lnTo>
                          <a:pt x="935" y="796"/>
                        </a:lnTo>
                        <a:lnTo>
                          <a:pt x="945" y="796"/>
                        </a:lnTo>
                        <a:lnTo>
                          <a:pt x="935" y="787"/>
                        </a:lnTo>
                        <a:lnTo>
                          <a:pt x="945" y="775"/>
                        </a:lnTo>
                        <a:lnTo>
                          <a:pt x="973" y="759"/>
                        </a:lnTo>
                        <a:lnTo>
                          <a:pt x="982" y="759"/>
                        </a:lnTo>
                        <a:lnTo>
                          <a:pt x="987" y="730"/>
                        </a:lnTo>
                        <a:lnTo>
                          <a:pt x="999" y="730"/>
                        </a:lnTo>
                        <a:lnTo>
                          <a:pt x="1004" y="803"/>
                        </a:lnTo>
                        <a:lnTo>
                          <a:pt x="999" y="820"/>
                        </a:lnTo>
                        <a:lnTo>
                          <a:pt x="987" y="848"/>
                        </a:lnTo>
                        <a:lnTo>
                          <a:pt x="982" y="874"/>
                        </a:lnTo>
                        <a:lnTo>
                          <a:pt x="949" y="858"/>
                        </a:lnTo>
                        <a:lnTo>
                          <a:pt x="956" y="848"/>
                        </a:lnTo>
                        <a:lnTo>
                          <a:pt x="945" y="848"/>
                        </a:lnTo>
                        <a:lnTo>
                          <a:pt x="949" y="829"/>
                        </a:lnTo>
                        <a:lnTo>
                          <a:pt x="935" y="829"/>
                        </a:lnTo>
                        <a:lnTo>
                          <a:pt x="945" y="820"/>
                        </a:lnTo>
                        <a:lnTo>
                          <a:pt x="945" y="820"/>
                        </a:lnTo>
                        <a:lnTo>
                          <a:pt x="945" y="82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71" name="Freeform 449">
                    <a:extLst>
                      <a:ext uri="{FF2B5EF4-FFF2-40B4-BE49-F238E27FC236}">
                        <a16:creationId xmlns:a16="http://schemas.microsoft.com/office/drawing/2014/main" id="{781D04B5-28B4-44DE-9D60-98BFB1E2286C}"/>
                      </a:ext>
                    </a:extLst>
                  </p:cNvPr>
                  <p:cNvSpPr>
                    <a:spLocks/>
                  </p:cNvSpPr>
                  <p:nvPr/>
                </p:nvSpPr>
                <p:spPr bwMode="gray">
                  <a:xfrm>
                    <a:off x="7882206" y="2682519"/>
                    <a:ext cx="190603" cy="93459"/>
                  </a:xfrm>
                  <a:custGeom>
                    <a:avLst/>
                    <a:gdLst>
                      <a:gd name="T0" fmla="*/ 0 w 463"/>
                      <a:gd name="T1" fmla="*/ 26 h 227"/>
                      <a:gd name="T2" fmla="*/ 0 w 463"/>
                      <a:gd name="T3" fmla="*/ 10 h 227"/>
                      <a:gd name="T4" fmla="*/ 17 w 463"/>
                      <a:gd name="T5" fmla="*/ 0 h 227"/>
                      <a:gd name="T6" fmla="*/ 43 w 463"/>
                      <a:gd name="T7" fmla="*/ 10 h 227"/>
                      <a:gd name="T8" fmla="*/ 109 w 463"/>
                      <a:gd name="T9" fmla="*/ 33 h 227"/>
                      <a:gd name="T10" fmla="*/ 199 w 463"/>
                      <a:gd name="T11" fmla="*/ 43 h 227"/>
                      <a:gd name="T12" fmla="*/ 220 w 463"/>
                      <a:gd name="T13" fmla="*/ 66 h 227"/>
                      <a:gd name="T14" fmla="*/ 258 w 463"/>
                      <a:gd name="T15" fmla="*/ 83 h 227"/>
                      <a:gd name="T16" fmla="*/ 258 w 463"/>
                      <a:gd name="T17" fmla="*/ 88 h 227"/>
                      <a:gd name="T18" fmla="*/ 270 w 463"/>
                      <a:gd name="T19" fmla="*/ 88 h 227"/>
                      <a:gd name="T20" fmla="*/ 312 w 463"/>
                      <a:gd name="T21" fmla="*/ 71 h 227"/>
                      <a:gd name="T22" fmla="*/ 329 w 463"/>
                      <a:gd name="T23" fmla="*/ 88 h 227"/>
                      <a:gd name="T24" fmla="*/ 345 w 463"/>
                      <a:gd name="T25" fmla="*/ 71 h 227"/>
                      <a:gd name="T26" fmla="*/ 362 w 463"/>
                      <a:gd name="T27" fmla="*/ 83 h 227"/>
                      <a:gd name="T28" fmla="*/ 367 w 463"/>
                      <a:gd name="T29" fmla="*/ 100 h 227"/>
                      <a:gd name="T30" fmla="*/ 400 w 463"/>
                      <a:gd name="T31" fmla="*/ 100 h 227"/>
                      <a:gd name="T32" fmla="*/ 393 w 463"/>
                      <a:gd name="T33" fmla="*/ 128 h 227"/>
                      <a:gd name="T34" fmla="*/ 447 w 463"/>
                      <a:gd name="T35" fmla="*/ 154 h 227"/>
                      <a:gd name="T36" fmla="*/ 430 w 463"/>
                      <a:gd name="T37" fmla="*/ 170 h 227"/>
                      <a:gd name="T38" fmla="*/ 437 w 463"/>
                      <a:gd name="T39" fmla="*/ 182 h 227"/>
                      <a:gd name="T40" fmla="*/ 463 w 463"/>
                      <a:gd name="T41" fmla="*/ 199 h 227"/>
                      <a:gd name="T42" fmla="*/ 463 w 463"/>
                      <a:gd name="T43" fmla="*/ 215 h 227"/>
                      <a:gd name="T44" fmla="*/ 454 w 463"/>
                      <a:gd name="T45" fmla="*/ 227 h 227"/>
                      <a:gd name="T46" fmla="*/ 430 w 463"/>
                      <a:gd name="T47" fmla="*/ 211 h 227"/>
                      <a:gd name="T48" fmla="*/ 409 w 463"/>
                      <a:gd name="T49" fmla="*/ 211 h 227"/>
                      <a:gd name="T50" fmla="*/ 400 w 463"/>
                      <a:gd name="T51" fmla="*/ 199 h 227"/>
                      <a:gd name="T52" fmla="*/ 367 w 463"/>
                      <a:gd name="T53" fmla="*/ 194 h 227"/>
                      <a:gd name="T54" fmla="*/ 345 w 463"/>
                      <a:gd name="T55" fmla="*/ 199 h 227"/>
                      <a:gd name="T56" fmla="*/ 341 w 463"/>
                      <a:gd name="T57" fmla="*/ 211 h 227"/>
                      <a:gd name="T58" fmla="*/ 237 w 463"/>
                      <a:gd name="T59" fmla="*/ 215 h 227"/>
                      <a:gd name="T60" fmla="*/ 232 w 463"/>
                      <a:gd name="T61" fmla="*/ 215 h 227"/>
                      <a:gd name="T62" fmla="*/ 220 w 463"/>
                      <a:gd name="T63" fmla="*/ 215 h 227"/>
                      <a:gd name="T64" fmla="*/ 194 w 463"/>
                      <a:gd name="T65" fmla="*/ 177 h 227"/>
                      <a:gd name="T66" fmla="*/ 178 w 463"/>
                      <a:gd name="T67" fmla="*/ 177 h 227"/>
                      <a:gd name="T68" fmla="*/ 168 w 463"/>
                      <a:gd name="T69" fmla="*/ 194 h 227"/>
                      <a:gd name="T70" fmla="*/ 140 w 463"/>
                      <a:gd name="T71" fmla="*/ 182 h 227"/>
                      <a:gd name="T72" fmla="*/ 123 w 463"/>
                      <a:gd name="T73" fmla="*/ 194 h 227"/>
                      <a:gd name="T74" fmla="*/ 109 w 463"/>
                      <a:gd name="T75" fmla="*/ 182 h 227"/>
                      <a:gd name="T76" fmla="*/ 123 w 463"/>
                      <a:gd name="T77" fmla="*/ 154 h 227"/>
                      <a:gd name="T78" fmla="*/ 97 w 463"/>
                      <a:gd name="T79" fmla="*/ 83 h 227"/>
                      <a:gd name="T80" fmla="*/ 76 w 463"/>
                      <a:gd name="T81" fmla="*/ 71 h 227"/>
                      <a:gd name="T82" fmla="*/ 71 w 463"/>
                      <a:gd name="T83" fmla="*/ 55 h 227"/>
                      <a:gd name="T84" fmla="*/ 55 w 463"/>
                      <a:gd name="T85" fmla="*/ 50 h 227"/>
                      <a:gd name="T86" fmla="*/ 22 w 463"/>
                      <a:gd name="T87" fmla="*/ 43 h 227"/>
                      <a:gd name="T88" fmla="*/ 17 w 463"/>
                      <a:gd name="T89" fmla="*/ 26 h 227"/>
                      <a:gd name="T90" fmla="*/ 0 w 463"/>
                      <a:gd name="T91" fmla="*/ 26 h 227"/>
                      <a:gd name="T92" fmla="*/ 0 w 463"/>
                      <a:gd name="T93" fmla="*/ 26 h 227"/>
                      <a:gd name="T94" fmla="*/ 0 w 463"/>
                      <a:gd name="T95" fmla="*/ 2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63" h="227">
                        <a:moveTo>
                          <a:pt x="0" y="26"/>
                        </a:moveTo>
                        <a:lnTo>
                          <a:pt x="0" y="10"/>
                        </a:lnTo>
                        <a:lnTo>
                          <a:pt x="17" y="0"/>
                        </a:lnTo>
                        <a:lnTo>
                          <a:pt x="43" y="10"/>
                        </a:lnTo>
                        <a:lnTo>
                          <a:pt x="109" y="33"/>
                        </a:lnTo>
                        <a:lnTo>
                          <a:pt x="199" y="43"/>
                        </a:lnTo>
                        <a:lnTo>
                          <a:pt x="220" y="66"/>
                        </a:lnTo>
                        <a:lnTo>
                          <a:pt x="258" y="83"/>
                        </a:lnTo>
                        <a:lnTo>
                          <a:pt x="258" y="88"/>
                        </a:lnTo>
                        <a:lnTo>
                          <a:pt x="270" y="88"/>
                        </a:lnTo>
                        <a:lnTo>
                          <a:pt x="312" y="71"/>
                        </a:lnTo>
                        <a:lnTo>
                          <a:pt x="329" y="88"/>
                        </a:lnTo>
                        <a:lnTo>
                          <a:pt x="345" y="71"/>
                        </a:lnTo>
                        <a:lnTo>
                          <a:pt x="362" y="83"/>
                        </a:lnTo>
                        <a:lnTo>
                          <a:pt x="367" y="100"/>
                        </a:lnTo>
                        <a:lnTo>
                          <a:pt x="400" y="100"/>
                        </a:lnTo>
                        <a:lnTo>
                          <a:pt x="393" y="128"/>
                        </a:lnTo>
                        <a:lnTo>
                          <a:pt x="447" y="154"/>
                        </a:lnTo>
                        <a:lnTo>
                          <a:pt x="430" y="170"/>
                        </a:lnTo>
                        <a:lnTo>
                          <a:pt x="437" y="182"/>
                        </a:lnTo>
                        <a:lnTo>
                          <a:pt x="463" y="199"/>
                        </a:lnTo>
                        <a:lnTo>
                          <a:pt x="463" y="215"/>
                        </a:lnTo>
                        <a:lnTo>
                          <a:pt x="454" y="227"/>
                        </a:lnTo>
                        <a:lnTo>
                          <a:pt x="430" y="211"/>
                        </a:lnTo>
                        <a:lnTo>
                          <a:pt x="409" y="211"/>
                        </a:lnTo>
                        <a:lnTo>
                          <a:pt x="400" y="199"/>
                        </a:lnTo>
                        <a:lnTo>
                          <a:pt x="367" y="194"/>
                        </a:lnTo>
                        <a:lnTo>
                          <a:pt x="345" y="199"/>
                        </a:lnTo>
                        <a:lnTo>
                          <a:pt x="341" y="211"/>
                        </a:lnTo>
                        <a:lnTo>
                          <a:pt x="237" y="215"/>
                        </a:lnTo>
                        <a:lnTo>
                          <a:pt x="232" y="215"/>
                        </a:lnTo>
                        <a:lnTo>
                          <a:pt x="220" y="215"/>
                        </a:lnTo>
                        <a:lnTo>
                          <a:pt x="194" y="177"/>
                        </a:lnTo>
                        <a:lnTo>
                          <a:pt x="178" y="177"/>
                        </a:lnTo>
                        <a:lnTo>
                          <a:pt x="168" y="194"/>
                        </a:lnTo>
                        <a:lnTo>
                          <a:pt x="140" y="182"/>
                        </a:lnTo>
                        <a:lnTo>
                          <a:pt x="123" y="194"/>
                        </a:lnTo>
                        <a:lnTo>
                          <a:pt x="109" y="182"/>
                        </a:lnTo>
                        <a:lnTo>
                          <a:pt x="123" y="154"/>
                        </a:lnTo>
                        <a:lnTo>
                          <a:pt x="97" y="83"/>
                        </a:lnTo>
                        <a:lnTo>
                          <a:pt x="76" y="71"/>
                        </a:lnTo>
                        <a:lnTo>
                          <a:pt x="71" y="55"/>
                        </a:lnTo>
                        <a:lnTo>
                          <a:pt x="55" y="50"/>
                        </a:lnTo>
                        <a:lnTo>
                          <a:pt x="22" y="43"/>
                        </a:lnTo>
                        <a:lnTo>
                          <a:pt x="17" y="26"/>
                        </a:lnTo>
                        <a:lnTo>
                          <a:pt x="0" y="26"/>
                        </a:lnTo>
                        <a:lnTo>
                          <a:pt x="0" y="26"/>
                        </a:lnTo>
                        <a:lnTo>
                          <a:pt x="0" y="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2" name="Freeform 452">
                    <a:extLst>
                      <a:ext uri="{FF2B5EF4-FFF2-40B4-BE49-F238E27FC236}">
                        <a16:creationId xmlns:a16="http://schemas.microsoft.com/office/drawing/2014/main" id="{5889809B-AE7F-4F3B-9A4D-C79960805EA5}"/>
                      </a:ext>
                    </a:extLst>
                  </p:cNvPr>
                  <p:cNvSpPr>
                    <a:spLocks noEditPoints="1"/>
                  </p:cNvSpPr>
                  <p:nvPr/>
                </p:nvSpPr>
                <p:spPr bwMode="gray">
                  <a:xfrm>
                    <a:off x="4618073" y="692696"/>
                    <a:ext cx="1754949" cy="1347958"/>
                  </a:xfrm>
                  <a:custGeom>
                    <a:avLst/>
                    <a:gdLst>
                      <a:gd name="T0" fmla="*/ 1604 w 4263"/>
                      <a:gd name="T1" fmla="*/ 2143 h 3274"/>
                      <a:gd name="T2" fmla="*/ 1549 w 4263"/>
                      <a:gd name="T3" fmla="*/ 1949 h 3274"/>
                      <a:gd name="T4" fmla="*/ 1240 w 4263"/>
                      <a:gd name="T5" fmla="*/ 1892 h 3274"/>
                      <a:gd name="T6" fmla="*/ 1219 w 4263"/>
                      <a:gd name="T7" fmla="*/ 1555 h 3274"/>
                      <a:gd name="T8" fmla="*/ 756 w 4263"/>
                      <a:gd name="T9" fmla="*/ 1205 h 3274"/>
                      <a:gd name="T10" fmla="*/ 236 w 4263"/>
                      <a:gd name="T11" fmla="*/ 1099 h 3274"/>
                      <a:gd name="T12" fmla="*/ 16 w 4263"/>
                      <a:gd name="T13" fmla="*/ 893 h 3274"/>
                      <a:gd name="T14" fmla="*/ 718 w 4263"/>
                      <a:gd name="T15" fmla="*/ 501 h 3274"/>
                      <a:gd name="T16" fmla="*/ 1516 w 4263"/>
                      <a:gd name="T17" fmla="*/ 305 h 3274"/>
                      <a:gd name="T18" fmla="*/ 2315 w 4263"/>
                      <a:gd name="T19" fmla="*/ 189 h 3274"/>
                      <a:gd name="T20" fmla="*/ 2482 w 4263"/>
                      <a:gd name="T21" fmla="*/ 24 h 3274"/>
                      <a:gd name="T22" fmla="*/ 3439 w 4263"/>
                      <a:gd name="T23" fmla="*/ 123 h 3274"/>
                      <a:gd name="T24" fmla="*/ 3439 w 4263"/>
                      <a:gd name="T25" fmla="*/ 506 h 3274"/>
                      <a:gd name="T26" fmla="*/ 3633 w 4263"/>
                      <a:gd name="T27" fmla="*/ 527 h 3274"/>
                      <a:gd name="T28" fmla="*/ 3746 w 4263"/>
                      <a:gd name="T29" fmla="*/ 749 h 3274"/>
                      <a:gd name="T30" fmla="*/ 3789 w 4263"/>
                      <a:gd name="T31" fmla="*/ 1054 h 3274"/>
                      <a:gd name="T32" fmla="*/ 3734 w 4263"/>
                      <a:gd name="T33" fmla="*/ 1259 h 3274"/>
                      <a:gd name="T34" fmla="*/ 3578 w 4263"/>
                      <a:gd name="T35" fmla="*/ 1489 h 3274"/>
                      <a:gd name="T36" fmla="*/ 3297 w 4263"/>
                      <a:gd name="T37" fmla="*/ 1637 h 3274"/>
                      <a:gd name="T38" fmla="*/ 3493 w 4263"/>
                      <a:gd name="T39" fmla="*/ 1814 h 3274"/>
                      <a:gd name="T40" fmla="*/ 3531 w 4263"/>
                      <a:gd name="T41" fmla="*/ 1982 h 3274"/>
                      <a:gd name="T42" fmla="*/ 3137 w 4263"/>
                      <a:gd name="T43" fmla="*/ 2015 h 3274"/>
                      <a:gd name="T44" fmla="*/ 3326 w 4263"/>
                      <a:gd name="T45" fmla="*/ 2197 h 3274"/>
                      <a:gd name="T46" fmla="*/ 2839 w 4263"/>
                      <a:gd name="T47" fmla="*/ 2275 h 3274"/>
                      <a:gd name="T48" fmla="*/ 2532 w 4263"/>
                      <a:gd name="T49" fmla="*/ 2592 h 3274"/>
                      <a:gd name="T50" fmla="*/ 2272 w 4263"/>
                      <a:gd name="T51" fmla="*/ 2670 h 3274"/>
                      <a:gd name="T52" fmla="*/ 2154 w 4263"/>
                      <a:gd name="T53" fmla="*/ 2941 h 3274"/>
                      <a:gd name="T54" fmla="*/ 2067 w 4263"/>
                      <a:gd name="T55" fmla="*/ 3163 h 3274"/>
                      <a:gd name="T56" fmla="*/ 1927 w 4263"/>
                      <a:gd name="T57" fmla="*/ 3203 h 3274"/>
                      <a:gd name="T58" fmla="*/ 1743 w 4263"/>
                      <a:gd name="T59" fmla="*/ 3163 h 3274"/>
                      <a:gd name="T60" fmla="*/ 1672 w 4263"/>
                      <a:gd name="T61" fmla="*/ 3031 h 3274"/>
                      <a:gd name="T62" fmla="*/ 1511 w 4263"/>
                      <a:gd name="T63" fmla="*/ 2821 h 3274"/>
                      <a:gd name="T64" fmla="*/ 1533 w 4263"/>
                      <a:gd name="T65" fmla="*/ 2736 h 3274"/>
                      <a:gd name="T66" fmla="*/ 1424 w 4263"/>
                      <a:gd name="T67" fmla="*/ 2632 h 3274"/>
                      <a:gd name="T68" fmla="*/ 1353 w 4263"/>
                      <a:gd name="T69" fmla="*/ 2514 h 3274"/>
                      <a:gd name="T70" fmla="*/ 1566 w 4263"/>
                      <a:gd name="T71" fmla="*/ 2393 h 3274"/>
                      <a:gd name="T72" fmla="*/ 1386 w 4263"/>
                      <a:gd name="T73" fmla="*/ 2320 h 3274"/>
                      <a:gd name="T74" fmla="*/ 2272 w 4263"/>
                      <a:gd name="T75" fmla="*/ 67 h 3274"/>
                      <a:gd name="T76" fmla="*/ 2298 w 4263"/>
                      <a:gd name="T77" fmla="*/ 173 h 3274"/>
                      <a:gd name="T78" fmla="*/ 3666 w 4263"/>
                      <a:gd name="T79" fmla="*/ 267 h 3274"/>
                      <a:gd name="T80" fmla="*/ 3881 w 4263"/>
                      <a:gd name="T81" fmla="*/ 749 h 3274"/>
                      <a:gd name="T82" fmla="*/ 3649 w 4263"/>
                      <a:gd name="T83" fmla="*/ 917 h 3274"/>
                      <a:gd name="T84" fmla="*/ 3881 w 4263"/>
                      <a:gd name="T85" fmla="*/ 962 h 3274"/>
                      <a:gd name="T86" fmla="*/ 3741 w 4263"/>
                      <a:gd name="T87" fmla="*/ 1127 h 3274"/>
                      <a:gd name="T88" fmla="*/ 215 w 4263"/>
                      <a:gd name="T89" fmla="*/ 1184 h 3274"/>
                      <a:gd name="T90" fmla="*/ 3864 w 4263"/>
                      <a:gd name="T91" fmla="*/ 1337 h 3274"/>
                      <a:gd name="T92" fmla="*/ 1133 w 4263"/>
                      <a:gd name="T93" fmla="*/ 1460 h 3274"/>
                      <a:gd name="T94" fmla="*/ 1164 w 4263"/>
                      <a:gd name="T95" fmla="*/ 1600 h 3274"/>
                      <a:gd name="T96" fmla="*/ 1202 w 4263"/>
                      <a:gd name="T97" fmla="*/ 1633 h 3274"/>
                      <a:gd name="T98" fmla="*/ 1240 w 4263"/>
                      <a:gd name="T99" fmla="*/ 1687 h 3274"/>
                      <a:gd name="T100" fmla="*/ 1209 w 4263"/>
                      <a:gd name="T101" fmla="*/ 1703 h 3274"/>
                      <a:gd name="T102" fmla="*/ 1226 w 4263"/>
                      <a:gd name="T103" fmla="*/ 1838 h 3274"/>
                      <a:gd name="T104" fmla="*/ 3342 w 4263"/>
                      <a:gd name="T105" fmla="*/ 1933 h 3274"/>
                      <a:gd name="T106" fmla="*/ 1353 w 4263"/>
                      <a:gd name="T107" fmla="*/ 2143 h 3274"/>
                      <a:gd name="T108" fmla="*/ 3486 w 4263"/>
                      <a:gd name="T109" fmla="*/ 2126 h 3274"/>
                      <a:gd name="T110" fmla="*/ 1457 w 4263"/>
                      <a:gd name="T111" fmla="*/ 2308 h 3274"/>
                      <a:gd name="T112" fmla="*/ 1370 w 4263"/>
                      <a:gd name="T113" fmla="*/ 2476 h 3274"/>
                      <a:gd name="T114" fmla="*/ 2504 w 4263"/>
                      <a:gd name="T115" fmla="*/ 2599 h 3274"/>
                      <a:gd name="T116" fmla="*/ 1408 w 4263"/>
                      <a:gd name="T117" fmla="*/ 2641 h 3274"/>
                      <a:gd name="T118" fmla="*/ 1511 w 4263"/>
                      <a:gd name="T119" fmla="*/ 2764 h 3274"/>
                      <a:gd name="T120" fmla="*/ 1566 w 4263"/>
                      <a:gd name="T121" fmla="*/ 2903 h 3274"/>
                      <a:gd name="T122" fmla="*/ 1776 w 4263"/>
                      <a:gd name="T123" fmla="*/ 3163 h 3274"/>
                      <a:gd name="T124" fmla="*/ 2071 w 4263"/>
                      <a:gd name="T125" fmla="*/ 3258 h 3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63" h="3274">
                        <a:moveTo>
                          <a:pt x="1441" y="2308"/>
                        </a:moveTo>
                        <a:lnTo>
                          <a:pt x="1436" y="2299"/>
                        </a:lnTo>
                        <a:lnTo>
                          <a:pt x="1408" y="2299"/>
                        </a:lnTo>
                        <a:lnTo>
                          <a:pt x="1424" y="2292"/>
                        </a:lnTo>
                        <a:lnTo>
                          <a:pt x="1382" y="2299"/>
                        </a:lnTo>
                        <a:lnTo>
                          <a:pt x="1382" y="2292"/>
                        </a:lnTo>
                        <a:lnTo>
                          <a:pt x="1398" y="2292"/>
                        </a:lnTo>
                        <a:lnTo>
                          <a:pt x="1441" y="2259"/>
                        </a:lnTo>
                        <a:lnTo>
                          <a:pt x="1478" y="2259"/>
                        </a:lnTo>
                        <a:lnTo>
                          <a:pt x="1490" y="2259"/>
                        </a:lnTo>
                        <a:lnTo>
                          <a:pt x="1478" y="2259"/>
                        </a:lnTo>
                        <a:lnTo>
                          <a:pt x="1504" y="2266"/>
                        </a:lnTo>
                        <a:lnTo>
                          <a:pt x="1559" y="2254"/>
                        </a:lnTo>
                        <a:lnTo>
                          <a:pt x="1559" y="2242"/>
                        </a:lnTo>
                        <a:lnTo>
                          <a:pt x="1542" y="2237"/>
                        </a:lnTo>
                        <a:lnTo>
                          <a:pt x="1570" y="2225"/>
                        </a:lnTo>
                        <a:lnTo>
                          <a:pt x="1528" y="2237"/>
                        </a:lnTo>
                        <a:lnTo>
                          <a:pt x="1549" y="2209"/>
                        </a:lnTo>
                        <a:lnTo>
                          <a:pt x="1533" y="2209"/>
                        </a:lnTo>
                        <a:lnTo>
                          <a:pt x="1542" y="2188"/>
                        </a:lnTo>
                        <a:lnTo>
                          <a:pt x="1559" y="2188"/>
                        </a:lnTo>
                        <a:lnTo>
                          <a:pt x="1542" y="2204"/>
                        </a:lnTo>
                        <a:lnTo>
                          <a:pt x="1566" y="2197"/>
                        </a:lnTo>
                        <a:lnTo>
                          <a:pt x="1587" y="2221"/>
                        </a:lnTo>
                        <a:lnTo>
                          <a:pt x="1596" y="2209"/>
                        </a:lnTo>
                        <a:lnTo>
                          <a:pt x="1580" y="2204"/>
                        </a:lnTo>
                        <a:lnTo>
                          <a:pt x="1596" y="2197"/>
                        </a:lnTo>
                        <a:lnTo>
                          <a:pt x="1596" y="2204"/>
                        </a:lnTo>
                        <a:lnTo>
                          <a:pt x="1604" y="2209"/>
                        </a:lnTo>
                        <a:lnTo>
                          <a:pt x="1596" y="2197"/>
                        </a:lnTo>
                        <a:lnTo>
                          <a:pt x="1566" y="2188"/>
                        </a:lnTo>
                        <a:lnTo>
                          <a:pt x="1604" y="2181"/>
                        </a:lnTo>
                        <a:lnTo>
                          <a:pt x="1580" y="2181"/>
                        </a:lnTo>
                        <a:lnTo>
                          <a:pt x="1580" y="2164"/>
                        </a:lnTo>
                        <a:lnTo>
                          <a:pt x="1587" y="2164"/>
                        </a:lnTo>
                        <a:lnTo>
                          <a:pt x="1549" y="2181"/>
                        </a:lnTo>
                        <a:lnTo>
                          <a:pt x="1533" y="2181"/>
                        </a:lnTo>
                        <a:lnTo>
                          <a:pt x="1559" y="2148"/>
                        </a:lnTo>
                        <a:lnTo>
                          <a:pt x="1604" y="2143"/>
                        </a:lnTo>
                        <a:lnTo>
                          <a:pt x="1549" y="2143"/>
                        </a:lnTo>
                        <a:lnTo>
                          <a:pt x="1559" y="2126"/>
                        </a:lnTo>
                        <a:lnTo>
                          <a:pt x="1587" y="2131"/>
                        </a:lnTo>
                        <a:lnTo>
                          <a:pt x="1559" y="2114"/>
                        </a:lnTo>
                        <a:lnTo>
                          <a:pt x="1570" y="2110"/>
                        </a:lnTo>
                        <a:lnTo>
                          <a:pt x="1604" y="2110"/>
                        </a:lnTo>
                        <a:lnTo>
                          <a:pt x="1596" y="2093"/>
                        </a:lnTo>
                        <a:lnTo>
                          <a:pt x="1570" y="2086"/>
                        </a:lnTo>
                        <a:lnTo>
                          <a:pt x="1596" y="2077"/>
                        </a:lnTo>
                        <a:lnTo>
                          <a:pt x="1528" y="2086"/>
                        </a:lnTo>
                        <a:lnTo>
                          <a:pt x="1559" y="2077"/>
                        </a:lnTo>
                        <a:lnTo>
                          <a:pt x="1528" y="2070"/>
                        </a:lnTo>
                        <a:lnTo>
                          <a:pt x="1511" y="2086"/>
                        </a:lnTo>
                        <a:lnTo>
                          <a:pt x="1452" y="2070"/>
                        </a:lnTo>
                        <a:lnTo>
                          <a:pt x="1424" y="2044"/>
                        </a:lnTo>
                        <a:lnTo>
                          <a:pt x="1344" y="2032"/>
                        </a:lnTo>
                        <a:lnTo>
                          <a:pt x="1289" y="1987"/>
                        </a:lnTo>
                        <a:lnTo>
                          <a:pt x="1327" y="1966"/>
                        </a:lnTo>
                        <a:lnTo>
                          <a:pt x="1424" y="1982"/>
                        </a:lnTo>
                        <a:lnTo>
                          <a:pt x="1504" y="2020"/>
                        </a:lnTo>
                        <a:lnTo>
                          <a:pt x="1570" y="2037"/>
                        </a:lnTo>
                        <a:lnTo>
                          <a:pt x="1580" y="2032"/>
                        </a:lnTo>
                        <a:lnTo>
                          <a:pt x="1566" y="2020"/>
                        </a:lnTo>
                        <a:lnTo>
                          <a:pt x="1580" y="2015"/>
                        </a:lnTo>
                        <a:lnTo>
                          <a:pt x="1549" y="2020"/>
                        </a:lnTo>
                        <a:lnTo>
                          <a:pt x="1516" y="2003"/>
                        </a:lnTo>
                        <a:lnTo>
                          <a:pt x="1528" y="1999"/>
                        </a:lnTo>
                        <a:lnTo>
                          <a:pt x="1549" y="2015"/>
                        </a:lnTo>
                        <a:lnTo>
                          <a:pt x="1566" y="2003"/>
                        </a:lnTo>
                        <a:lnTo>
                          <a:pt x="1542" y="1999"/>
                        </a:lnTo>
                        <a:lnTo>
                          <a:pt x="1570" y="1999"/>
                        </a:lnTo>
                        <a:lnTo>
                          <a:pt x="1511" y="1982"/>
                        </a:lnTo>
                        <a:lnTo>
                          <a:pt x="1528" y="1975"/>
                        </a:lnTo>
                        <a:lnTo>
                          <a:pt x="1570" y="1982"/>
                        </a:lnTo>
                        <a:lnTo>
                          <a:pt x="1549" y="1975"/>
                        </a:lnTo>
                        <a:lnTo>
                          <a:pt x="1559" y="1966"/>
                        </a:lnTo>
                        <a:lnTo>
                          <a:pt x="1533" y="1966"/>
                        </a:lnTo>
                        <a:lnTo>
                          <a:pt x="1478" y="1942"/>
                        </a:lnTo>
                        <a:lnTo>
                          <a:pt x="1549" y="1949"/>
                        </a:lnTo>
                        <a:lnTo>
                          <a:pt x="1511" y="1942"/>
                        </a:lnTo>
                        <a:lnTo>
                          <a:pt x="1528" y="1926"/>
                        </a:lnTo>
                        <a:lnTo>
                          <a:pt x="1457" y="1933"/>
                        </a:lnTo>
                        <a:lnTo>
                          <a:pt x="1511" y="1909"/>
                        </a:lnTo>
                        <a:lnTo>
                          <a:pt x="1504" y="1904"/>
                        </a:lnTo>
                        <a:lnTo>
                          <a:pt x="1436" y="1926"/>
                        </a:lnTo>
                        <a:lnTo>
                          <a:pt x="1457" y="1909"/>
                        </a:lnTo>
                        <a:lnTo>
                          <a:pt x="1457" y="1904"/>
                        </a:lnTo>
                        <a:lnTo>
                          <a:pt x="1516" y="1888"/>
                        </a:lnTo>
                        <a:lnTo>
                          <a:pt x="1495" y="1876"/>
                        </a:lnTo>
                        <a:lnTo>
                          <a:pt x="1441" y="1892"/>
                        </a:lnTo>
                        <a:lnTo>
                          <a:pt x="1403" y="1892"/>
                        </a:lnTo>
                        <a:lnTo>
                          <a:pt x="1441" y="1871"/>
                        </a:lnTo>
                        <a:lnTo>
                          <a:pt x="1490" y="1871"/>
                        </a:lnTo>
                        <a:lnTo>
                          <a:pt x="1504" y="1855"/>
                        </a:lnTo>
                        <a:lnTo>
                          <a:pt x="1462" y="1864"/>
                        </a:lnTo>
                        <a:lnTo>
                          <a:pt x="1386" y="1855"/>
                        </a:lnTo>
                        <a:lnTo>
                          <a:pt x="1424" y="1814"/>
                        </a:lnTo>
                        <a:lnTo>
                          <a:pt x="1408" y="1822"/>
                        </a:lnTo>
                        <a:lnTo>
                          <a:pt x="1403" y="1831"/>
                        </a:lnTo>
                        <a:lnTo>
                          <a:pt x="1382" y="1838"/>
                        </a:lnTo>
                        <a:lnTo>
                          <a:pt x="1382" y="1810"/>
                        </a:lnTo>
                        <a:lnTo>
                          <a:pt x="1353" y="1798"/>
                        </a:lnTo>
                        <a:lnTo>
                          <a:pt x="1344" y="1765"/>
                        </a:lnTo>
                        <a:lnTo>
                          <a:pt x="1365" y="1765"/>
                        </a:lnTo>
                        <a:lnTo>
                          <a:pt x="1332" y="1765"/>
                        </a:lnTo>
                        <a:lnTo>
                          <a:pt x="1382" y="1831"/>
                        </a:lnTo>
                        <a:lnTo>
                          <a:pt x="1353" y="1848"/>
                        </a:lnTo>
                        <a:lnTo>
                          <a:pt x="1344" y="1848"/>
                        </a:lnTo>
                        <a:lnTo>
                          <a:pt x="1348" y="1855"/>
                        </a:lnTo>
                        <a:lnTo>
                          <a:pt x="1348" y="1864"/>
                        </a:lnTo>
                        <a:lnTo>
                          <a:pt x="1327" y="1855"/>
                        </a:lnTo>
                        <a:lnTo>
                          <a:pt x="1327" y="1864"/>
                        </a:lnTo>
                        <a:lnTo>
                          <a:pt x="1344" y="1871"/>
                        </a:lnTo>
                        <a:lnTo>
                          <a:pt x="1344" y="1888"/>
                        </a:lnTo>
                        <a:lnTo>
                          <a:pt x="1278" y="1904"/>
                        </a:lnTo>
                        <a:lnTo>
                          <a:pt x="1247" y="1876"/>
                        </a:lnTo>
                        <a:lnTo>
                          <a:pt x="1256" y="1892"/>
                        </a:lnTo>
                        <a:lnTo>
                          <a:pt x="1240" y="1892"/>
                        </a:lnTo>
                        <a:lnTo>
                          <a:pt x="1219" y="1864"/>
                        </a:lnTo>
                        <a:lnTo>
                          <a:pt x="1226" y="1864"/>
                        </a:lnTo>
                        <a:lnTo>
                          <a:pt x="1202" y="1855"/>
                        </a:lnTo>
                        <a:lnTo>
                          <a:pt x="1240" y="1831"/>
                        </a:lnTo>
                        <a:lnTo>
                          <a:pt x="1278" y="1822"/>
                        </a:lnTo>
                        <a:lnTo>
                          <a:pt x="1294" y="1810"/>
                        </a:lnTo>
                        <a:lnTo>
                          <a:pt x="1311" y="1781"/>
                        </a:lnTo>
                        <a:lnTo>
                          <a:pt x="1273" y="1822"/>
                        </a:lnTo>
                        <a:lnTo>
                          <a:pt x="1240" y="1822"/>
                        </a:lnTo>
                        <a:lnTo>
                          <a:pt x="1226" y="1814"/>
                        </a:lnTo>
                        <a:lnTo>
                          <a:pt x="1273" y="1781"/>
                        </a:lnTo>
                        <a:lnTo>
                          <a:pt x="1263" y="1765"/>
                        </a:lnTo>
                        <a:lnTo>
                          <a:pt x="1289" y="1765"/>
                        </a:lnTo>
                        <a:lnTo>
                          <a:pt x="1263" y="1760"/>
                        </a:lnTo>
                        <a:lnTo>
                          <a:pt x="1273" y="1760"/>
                        </a:lnTo>
                        <a:lnTo>
                          <a:pt x="1247" y="1765"/>
                        </a:lnTo>
                        <a:lnTo>
                          <a:pt x="1219" y="1748"/>
                        </a:lnTo>
                        <a:lnTo>
                          <a:pt x="1235" y="1744"/>
                        </a:lnTo>
                        <a:lnTo>
                          <a:pt x="1311" y="1748"/>
                        </a:lnTo>
                        <a:lnTo>
                          <a:pt x="1263" y="1744"/>
                        </a:lnTo>
                        <a:lnTo>
                          <a:pt x="1273" y="1727"/>
                        </a:lnTo>
                        <a:lnTo>
                          <a:pt x="1289" y="1727"/>
                        </a:lnTo>
                        <a:lnTo>
                          <a:pt x="1273" y="1727"/>
                        </a:lnTo>
                        <a:lnTo>
                          <a:pt x="1289" y="1711"/>
                        </a:lnTo>
                        <a:lnTo>
                          <a:pt x="1273" y="1711"/>
                        </a:lnTo>
                        <a:lnTo>
                          <a:pt x="1294" y="1703"/>
                        </a:lnTo>
                        <a:lnTo>
                          <a:pt x="1273" y="1670"/>
                        </a:lnTo>
                        <a:lnTo>
                          <a:pt x="1219" y="1666"/>
                        </a:lnTo>
                        <a:lnTo>
                          <a:pt x="1256" y="1649"/>
                        </a:lnTo>
                        <a:lnTo>
                          <a:pt x="1235" y="1637"/>
                        </a:lnTo>
                        <a:lnTo>
                          <a:pt x="1247" y="1626"/>
                        </a:lnTo>
                        <a:lnTo>
                          <a:pt x="1256" y="1626"/>
                        </a:lnTo>
                        <a:lnTo>
                          <a:pt x="1188" y="1583"/>
                        </a:lnTo>
                        <a:lnTo>
                          <a:pt x="1202" y="1583"/>
                        </a:lnTo>
                        <a:lnTo>
                          <a:pt x="1193" y="1583"/>
                        </a:lnTo>
                        <a:lnTo>
                          <a:pt x="1193" y="1571"/>
                        </a:lnTo>
                        <a:lnTo>
                          <a:pt x="1219" y="1576"/>
                        </a:lnTo>
                        <a:lnTo>
                          <a:pt x="1193" y="1559"/>
                        </a:lnTo>
                        <a:lnTo>
                          <a:pt x="1219" y="1555"/>
                        </a:lnTo>
                        <a:lnTo>
                          <a:pt x="1188" y="1538"/>
                        </a:lnTo>
                        <a:lnTo>
                          <a:pt x="1193" y="1538"/>
                        </a:lnTo>
                        <a:lnTo>
                          <a:pt x="1164" y="1526"/>
                        </a:lnTo>
                        <a:lnTo>
                          <a:pt x="1188" y="1498"/>
                        </a:lnTo>
                        <a:lnTo>
                          <a:pt x="1100" y="1522"/>
                        </a:lnTo>
                        <a:lnTo>
                          <a:pt x="1171" y="1498"/>
                        </a:lnTo>
                        <a:lnTo>
                          <a:pt x="1138" y="1489"/>
                        </a:lnTo>
                        <a:lnTo>
                          <a:pt x="1188" y="1481"/>
                        </a:lnTo>
                        <a:lnTo>
                          <a:pt x="1138" y="1472"/>
                        </a:lnTo>
                        <a:lnTo>
                          <a:pt x="1181" y="1472"/>
                        </a:lnTo>
                        <a:lnTo>
                          <a:pt x="1181" y="1460"/>
                        </a:lnTo>
                        <a:lnTo>
                          <a:pt x="1155" y="1460"/>
                        </a:lnTo>
                        <a:lnTo>
                          <a:pt x="1133" y="1444"/>
                        </a:lnTo>
                        <a:lnTo>
                          <a:pt x="1126" y="1444"/>
                        </a:lnTo>
                        <a:lnTo>
                          <a:pt x="1112" y="1427"/>
                        </a:lnTo>
                        <a:lnTo>
                          <a:pt x="1133" y="1427"/>
                        </a:lnTo>
                        <a:lnTo>
                          <a:pt x="1126" y="1411"/>
                        </a:lnTo>
                        <a:lnTo>
                          <a:pt x="1041" y="1387"/>
                        </a:lnTo>
                        <a:lnTo>
                          <a:pt x="1058" y="1370"/>
                        </a:lnTo>
                        <a:lnTo>
                          <a:pt x="1030" y="1354"/>
                        </a:lnTo>
                        <a:lnTo>
                          <a:pt x="1030" y="1337"/>
                        </a:lnTo>
                        <a:lnTo>
                          <a:pt x="1004" y="1349"/>
                        </a:lnTo>
                        <a:lnTo>
                          <a:pt x="1041" y="1333"/>
                        </a:lnTo>
                        <a:lnTo>
                          <a:pt x="1041" y="1321"/>
                        </a:lnTo>
                        <a:lnTo>
                          <a:pt x="1025" y="1316"/>
                        </a:lnTo>
                        <a:lnTo>
                          <a:pt x="1030" y="1300"/>
                        </a:lnTo>
                        <a:lnTo>
                          <a:pt x="1008" y="1300"/>
                        </a:lnTo>
                        <a:lnTo>
                          <a:pt x="1025" y="1295"/>
                        </a:lnTo>
                        <a:lnTo>
                          <a:pt x="975" y="1295"/>
                        </a:lnTo>
                        <a:lnTo>
                          <a:pt x="971" y="1283"/>
                        </a:lnTo>
                        <a:lnTo>
                          <a:pt x="971" y="1276"/>
                        </a:lnTo>
                        <a:lnTo>
                          <a:pt x="971" y="1266"/>
                        </a:lnTo>
                        <a:lnTo>
                          <a:pt x="933" y="1283"/>
                        </a:lnTo>
                        <a:lnTo>
                          <a:pt x="937" y="1259"/>
                        </a:lnTo>
                        <a:lnTo>
                          <a:pt x="878" y="1238"/>
                        </a:lnTo>
                        <a:lnTo>
                          <a:pt x="862" y="1250"/>
                        </a:lnTo>
                        <a:lnTo>
                          <a:pt x="857" y="1226"/>
                        </a:lnTo>
                        <a:lnTo>
                          <a:pt x="760" y="1222"/>
                        </a:lnTo>
                        <a:lnTo>
                          <a:pt x="756" y="1205"/>
                        </a:lnTo>
                        <a:lnTo>
                          <a:pt x="722" y="1210"/>
                        </a:lnTo>
                        <a:lnTo>
                          <a:pt x="718" y="1222"/>
                        </a:lnTo>
                        <a:lnTo>
                          <a:pt x="706" y="1205"/>
                        </a:lnTo>
                        <a:lnTo>
                          <a:pt x="680" y="1193"/>
                        </a:lnTo>
                        <a:lnTo>
                          <a:pt x="652" y="1222"/>
                        </a:lnTo>
                        <a:lnTo>
                          <a:pt x="630" y="1226"/>
                        </a:lnTo>
                        <a:lnTo>
                          <a:pt x="614" y="1222"/>
                        </a:lnTo>
                        <a:lnTo>
                          <a:pt x="626" y="1205"/>
                        </a:lnTo>
                        <a:lnTo>
                          <a:pt x="597" y="1193"/>
                        </a:lnTo>
                        <a:lnTo>
                          <a:pt x="609" y="1205"/>
                        </a:lnTo>
                        <a:lnTo>
                          <a:pt x="597" y="1222"/>
                        </a:lnTo>
                        <a:lnTo>
                          <a:pt x="588" y="1210"/>
                        </a:lnTo>
                        <a:lnTo>
                          <a:pt x="588" y="1226"/>
                        </a:lnTo>
                        <a:lnTo>
                          <a:pt x="593" y="1226"/>
                        </a:lnTo>
                        <a:lnTo>
                          <a:pt x="538" y="1226"/>
                        </a:lnTo>
                        <a:lnTo>
                          <a:pt x="538" y="1238"/>
                        </a:lnTo>
                        <a:lnTo>
                          <a:pt x="534" y="1243"/>
                        </a:lnTo>
                        <a:lnTo>
                          <a:pt x="500" y="1238"/>
                        </a:lnTo>
                        <a:lnTo>
                          <a:pt x="517" y="1222"/>
                        </a:lnTo>
                        <a:lnTo>
                          <a:pt x="508" y="1222"/>
                        </a:lnTo>
                        <a:lnTo>
                          <a:pt x="522" y="1210"/>
                        </a:lnTo>
                        <a:lnTo>
                          <a:pt x="508" y="1210"/>
                        </a:lnTo>
                        <a:lnTo>
                          <a:pt x="479" y="1205"/>
                        </a:lnTo>
                        <a:lnTo>
                          <a:pt x="463" y="1238"/>
                        </a:lnTo>
                        <a:lnTo>
                          <a:pt x="425" y="1210"/>
                        </a:lnTo>
                        <a:lnTo>
                          <a:pt x="399" y="1226"/>
                        </a:lnTo>
                        <a:lnTo>
                          <a:pt x="463" y="1259"/>
                        </a:lnTo>
                        <a:lnTo>
                          <a:pt x="311" y="1238"/>
                        </a:lnTo>
                        <a:lnTo>
                          <a:pt x="323" y="1226"/>
                        </a:lnTo>
                        <a:lnTo>
                          <a:pt x="290" y="1226"/>
                        </a:lnTo>
                        <a:lnTo>
                          <a:pt x="302" y="1222"/>
                        </a:lnTo>
                        <a:lnTo>
                          <a:pt x="236" y="1193"/>
                        </a:lnTo>
                        <a:lnTo>
                          <a:pt x="302" y="1165"/>
                        </a:lnTo>
                        <a:lnTo>
                          <a:pt x="356" y="1165"/>
                        </a:lnTo>
                        <a:lnTo>
                          <a:pt x="356" y="1148"/>
                        </a:lnTo>
                        <a:lnTo>
                          <a:pt x="269" y="1148"/>
                        </a:lnTo>
                        <a:lnTo>
                          <a:pt x="205" y="1132"/>
                        </a:lnTo>
                        <a:lnTo>
                          <a:pt x="248" y="1099"/>
                        </a:lnTo>
                        <a:lnTo>
                          <a:pt x="236" y="1099"/>
                        </a:lnTo>
                        <a:lnTo>
                          <a:pt x="177" y="1132"/>
                        </a:lnTo>
                        <a:lnTo>
                          <a:pt x="144" y="1115"/>
                        </a:lnTo>
                        <a:lnTo>
                          <a:pt x="160" y="1111"/>
                        </a:lnTo>
                        <a:lnTo>
                          <a:pt x="130" y="1111"/>
                        </a:lnTo>
                        <a:lnTo>
                          <a:pt x="113" y="1094"/>
                        </a:lnTo>
                        <a:lnTo>
                          <a:pt x="151" y="1077"/>
                        </a:lnTo>
                        <a:lnTo>
                          <a:pt x="144" y="1073"/>
                        </a:lnTo>
                        <a:lnTo>
                          <a:pt x="198" y="1061"/>
                        </a:lnTo>
                        <a:lnTo>
                          <a:pt x="463" y="1077"/>
                        </a:lnTo>
                        <a:lnTo>
                          <a:pt x="479" y="1073"/>
                        </a:lnTo>
                        <a:lnTo>
                          <a:pt x="432" y="1077"/>
                        </a:lnTo>
                        <a:lnTo>
                          <a:pt x="274" y="1061"/>
                        </a:lnTo>
                        <a:lnTo>
                          <a:pt x="378" y="1037"/>
                        </a:lnTo>
                        <a:lnTo>
                          <a:pt x="479" y="1061"/>
                        </a:lnTo>
                        <a:lnTo>
                          <a:pt x="446" y="1037"/>
                        </a:lnTo>
                        <a:lnTo>
                          <a:pt x="484" y="1021"/>
                        </a:lnTo>
                        <a:lnTo>
                          <a:pt x="470" y="1004"/>
                        </a:lnTo>
                        <a:lnTo>
                          <a:pt x="437" y="1000"/>
                        </a:lnTo>
                        <a:lnTo>
                          <a:pt x="415" y="1000"/>
                        </a:lnTo>
                        <a:lnTo>
                          <a:pt x="382" y="1021"/>
                        </a:lnTo>
                        <a:lnTo>
                          <a:pt x="328" y="1021"/>
                        </a:lnTo>
                        <a:lnTo>
                          <a:pt x="302" y="1000"/>
                        </a:lnTo>
                        <a:lnTo>
                          <a:pt x="290" y="1000"/>
                        </a:lnTo>
                        <a:lnTo>
                          <a:pt x="307" y="1021"/>
                        </a:lnTo>
                        <a:lnTo>
                          <a:pt x="257" y="1028"/>
                        </a:lnTo>
                        <a:lnTo>
                          <a:pt x="193" y="1016"/>
                        </a:lnTo>
                        <a:lnTo>
                          <a:pt x="248" y="1000"/>
                        </a:lnTo>
                        <a:lnTo>
                          <a:pt x="248" y="983"/>
                        </a:lnTo>
                        <a:lnTo>
                          <a:pt x="167" y="1000"/>
                        </a:lnTo>
                        <a:lnTo>
                          <a:pt x="215" y="971"/>
                        </a:lnTo>
                        <a:lnTo>
                          <a:pt x="122" y="983"/>
                        </a:lnTo>
                        <a:lnTo>
                          <a:pt x="113" y="983"/>
                        </a:lnTo>
                        <a:lnTo>
                          <a:pt x="130" y="966"/>
                        </a:lnTo>
                        <a:lnTo>
                          <a:pt x="75" y="966"/>
                        </a:lnTo>
                        <a:lnTo>
                          <a:pt x="42" y="945"/>
                        </a:lnTo>
                        <a:lnTo>
                          <a:pt x="54" y="945"/>
                        </a:lnTo>
                        <a:lnTo>
                          <a:pt x="0" y="917"/>
                        </a:lnTo>
                        <a:lnTo>
                          <a:pt x="37" y="905"/>
                        </a:lnTo>
                        <a:lnTo>
                          <a:pt x="16" y="893"/>
                        </a:lnTo>
                        <a:lnTo>
                          <a:pt x="30" y="877"/>
                        </a:lnTo>
                        <a:lnTo>
                          <a:pt x="30" y="872"/>
                        </a:lnTo>
                        <a:lnTo>
                          <a:pt x="30" y="860"/>
                        </a:lnTo>
                        <a:lnTo>
                          <a:pt x="97" y="851"/>
                        </a:lnTo>
                        <a:lnTo>
                          <a:pt x="151" y="851"/>
                        </a:lnTo>
                        <a:lnTo>
                          <a:pt x="160" y="839"/>
                        </a:lnTo>
                        <a:lnTo>
                          <a:pt x="269" y="806"/>
                        </a:lnTo>
                        <a:lnTo>
                          <a:pt x="302" y="815"/>
                        </a:lnTo>
                        <a:lnTo>
                          <a:pt x="269" y="799"/>
                        </a:lnTo>
                        <a:lnTo>
                          <a:pt x="328" y="778"/>
                        </a:lnTo>
                        <a:lnTo>
                          <a:pt x="371" y="782"/>
                        </a:lnTo>
                        <a:lnTo>
                          <a:pt x="382" y="766"/>
                        </a:lnTo>
                        <a:lnTo>
                          <a:pt x="491" y="778"/>
                        </a:lnTo>
                        <a:lnTo>
                          <a:pt x="576" y="704"/>
                        </a:lnTo>
                        <a:lnTo>
                          <a:pt x="555" y="655"/>
                        </a:lnTo>
                        <a:lnTo>
                          <a:pt x="559" y="638"/>
                        </a:lnTo>
                        <a:lnTo>
                          <a:pt x="555" y="629"/>
                        </a:lnTo>
                        <a:lnTo>
                          <a:pt x="647" y="600"/>
                        </a:lnTo>
                        <a:lnTo>
                          <a:pt x="626" y="600"/>
                        </a:lnTo>
                        <a:lnTo>
                          <a:pt x="614" y="584"/>
                        </a:lnTo>
                        <a:lnTo>
                          <a:pt x="609" y="600"/>
                        </a:lnTo>
                        <a:lnTo>
                          <a:pt x="571" y="617"/>
                        </a:lnTo>
                        <a:lnTo>
                          <a:pt x="415" y="617"/>
                        </a:lnTo>
                        <a:lnTo>
                          <a:pt x="408" y="600"/>
                        </a:lnTo>
                        <a:lnTo>
                          <a:pt x="382" y="596"/>
                        </a:lnTo>
                        <a:lnTo>
                          <a:pt x="394" y="572"/>
                        </a:lnTo>
                        <a:lnTo>
                          <a:pt x="437" y="555"/>
                        </a:lnTo>
                        <a:lnTo>
                          <a:pt x="437" y="539"/>
                        </a:lnTo>
                        <a:lnTo>
                          <a:pt x="522" y="518"/>
                        </a:lnTo>
                        <a:lnTo>
                          <a:pt x="517" y="506"/>
                        </a:lnTo>
                        <a:lnTo>
                          <a:pt x="555" y="501"/>
                        </a:lnTo>
                        <a:lnTo>
                          <a:pt x="559" y="489"/>
                        </a:lnTo>
                        <a:lnTo>
                          <a:pt x="559" y="485"/>
                        </a:lnTo>
                        <a:lnTo>
                          <a:pt x="588" y="473"/>
                        </a:lnTo>
                        <a:lnTo>
                          <a:pt x="576" y="461"/>
                        </a:lnTo>
                        <a:lnTo>
                          <a:pt x="652" y="433"/>
                        </a:lnTo>
                        <a:lnTo>
                          <a:pt x="668" y="444"/>
                        </a:lnTo>
                        <a:lnTo>
                          <a:pt x="680" y="466"/>
                        </a:lnTo>
                        <a:lnTo>
                          <a:pt x="718" y="501"/>
                        </a:lnTo>
                        <a:lnTo>
                          <a:pt x="722" y="501"/>
                        </a:lnTo>
                        <a:lnTo>
                          <a:pt x="685" y="466"/>
                        </a:lnTo>
                        <a:lnTo>
                          <a:pt x="680" y="433"/>
                        </a:lnTo>
                        <a:lnTo>
                          <a:pt x="718" y="416"/>
                        </a:lnTo>
                        <a:lnTo>
                          <a:pt x="803" y="449"/>
                        </a:lnTo>
                        <a:lnTo>
                          <a:pt x="841" y="444"/>
                        </a:lnTo>
                        <a:lnTo>
                          <a:pt x="848" y="433"/>
                        </a:lnTo>
                        <a:lnTo>
                          <a:pt x="824" y="395"/>
                        </a:lnTo>
                        <a:lnTo>
                          <a:pt x="862" y="374"/>
                        </a:lnTo>
                        <a:lnTo>
                          <a:pt x="810" y="333"/>
                        </a:lnTo>
                        <a:lnTo>
                          <a:pt x="857" y="305"/>
                        </a:lnTo>
                        <a:lnTo>
                          <a:pt x="911" y="300"/>
                        </a:lnTo>
                        <a:lnTo>
                          <a:pt x="992" y="305"/>
                        </a:lnTo>
                        <a:lnTo>
                          <a:pt x="1008" y="350"/>
                        </a:lnTo>
                        <a:lnTo>
                          <a:pt x="1079" y="355"/>
                        </a:lnTo>
                        <a:lnTo>
                          <a:pt x="1112" y="390"/>
                        </a:lnTo>
                        <a:lnTo>
                          <a:pt x="1155" y="407"/>
                        </a:lnTo>
                        <a:lnTo>
                          <a:pt x="1164" y="407"/>
                        </a:lnTo>
                        <a:lnTo>
                          <a:pt x="1046" y="350"/>
                        </a:lnTo>
                        <a:lnTo>
                          <a:pt x="1020" y="305"/>
                        </a:lnTo>
                        <a:lnTo>
                          <a:pt x="949" y="296"/>
                        </a:lnTo>
                        <a:lnTo>
                          <a:pt x="1155" y="244"/>
                        </a:lnTo>
                        <a:lnTo>
                          <a:pt x="1171" y="263"/>
                        </a:lnTo>
                        <a:lnTo>
                          <a:pt x="1202" y="244"/>
                        </a:lnTo>
                        <a:lnTo>
                          <a:pt x="1247" y="244"/>
                        </a:lnTo>
                        <a:lnTo>
                          <a:pt x="1240" y="251"/>
                        </a:lnTo>
                        <a:lnTo>
                          <a:pt x="1256" y="263"/>
                        </a:lnTo>
                        <a:lnTo>
                          <a:pt x="1247" y="239"/>
                        </a:lnTo>
                        <a:lnTo>
                          <a:pt x="1226" y="239"/>
                        </a:lnTo>
                        <a:lnTo>
                          <a:pt x="1301" y="222"/>
                        </a:lnTo>
                        <a:lnTo>
                          <a:pt x="1365" y="267"/>
                        </a:lnTo>
                        <a:lnTo>
                          <a:pt x="1370" y="305"/>
                        </a:lnTo>
                        <a:lnTo>
                          <a:pt x="1348" y="338"/>
                        </a:lnTo>
                        <a:lnTo>
                          <a:pt x="1348" y="362"/>
                        </a:lnTo>
                        <a:lnTo>
                          <a:pt x="1370" y="374"/>
                        </a:lnTo>
                        <a:lnTo>
                          <a:pt x="1365" y="350"/>
                        </a:lnTo>
                        <a:lnTo>
                          <a:pt x="1408" y="317"/>
                        </a:lnTo>
                        <a:lnTo>
                          <a:pt x="1403" y="284"/>
                        </a:lnTo>
                        <a:lnTo>
                          <a:pt x="1516" y="305"/>
                        </a:lnTo>
                        <a:lnTo>
                          <a:pt x="1618" y="355"/>
                        </a:lnTo>
                        <a:lnTo>
                          <a:pt x="1641" y="350"/>
                        </a:lnTo>
                        <a:lnTo>
                          <a:pt x="1542" y="300"/>
                        </a:lnTo>
                        <a:lnTo>
                          <a:pt x="1625" y="305"/>
                        </a:lnTo>
                        <a:lnTo>
                          <a:pt x="1656" y="300"/>
                        </a:lnTo>
                        <a:lnTo>
                          <a:pt x="1566" y="251"/>
                        </a:lnTo>
                        <a:lnTo>
                          <a:pt x="1533" y="194"/>
                        </a:lnTo>
                        <a:lnTo>
                          <a:pt x="1672" y="206"/>
                        </a:lnTo>
                        <a:lnTo>
                          <a:pt x="1785" y="263"/>
                        </a:lnTo>
                        <a:lnTo>
                          <a:pt x="1873" y="279"/>
                        </a:lnTo>
                        <a:lnTo>
                          <a:pt x="1894" y="284"/>
                        </a:lnTo>
                        <a:lnTo>
                          <a:pt x="1889" y="300"/>
                        </a:lnTo>
                        <a:lnTo>
                          <a:pt x="1991" y="333"/>
                        </a:lnTo>
                        <a:lnTo>
                          <a:pt x="2019" y="317"/>
                        </a:lnTo>
                        <a:lnTo>
                          <a:pt x="1982" y="300"/>
                        </a:lnTo>
                        <a:lnTo>
                          <a:pt x="2003" y="296"/>
                        </a:lnTo>
                        <a:lnTo>
                          <a:pt x="1974" y="296"/>
                        </a:lnTo>
                        <a:lnTo>
                          <a:pt x="1996" y="279"/>
                        </a:lnTo>
                        <a:lnTo>
                          <a:pt x="1982" y="251"/>
                        </a:lnTo>
                        <a:lnTo>
                          <a:pt x="1991" y="239"/>
                        </a:lnTo>
                        <a:lnTo>
                          <a:pt x="2154" y="251"/>
                        </a:lnTo>
                        <a:lnTo>
                          <a:pt x="2050" y="227"/>
                        </a:lnTo>
                        <a:lnTo>
                          <a:pt x="2045" y="222"/>
                        </a:lnTo>
                        <a:lnTo>
                          <a:pt x="2050" y="222"/>
                        </a:lnTo>
                        <a:lnTo>
                          <a:pt x="1911" y="152"/>
                        </a:lnTo>
                        <a:lnTo>
                          <a:pt x="2163" y="152"/>
                        </a:lnTo>
                        <a:lnTo>
                          <a:pt x="2175" y="156"/>
                        </a:lnTo>
                        <a:lnTo>
                          <a:pt x="2163" y="168"/>
                        </a:lnTo>
                        <a:lnTo>
                          <a:pt x="2192" y="173"/>
                        </a:lnTo>
                        <a:lnTo>
                          <a:pt x="2192" y="194"/>
                        </a:lnTo>
                        <a:lnTo>
                          <a:pt x="2196" y="206"/>
                        </a:lnTo>
                        <a:lnTo>
                          <a:pt x="2208" y="194"/>
                        </a:lnTo>
                        <a:lnTo>
                          <a:pt x="2208" y="173"/>
                        </a:lnTo>
                        <a:lnTo>
                          <a:pt x="2180" y="156"/>
                        </a:lnTo>
                        <a:lnTo>
                          <a:pt x="2208" y="156"/>
                        </a:lnTo>
                        <a:lnTo>
                          <a:pt x="2298" y="189"/>
                        </a:lnTo>
                        <a:lnTo>
                          <a:pt x="2322" y="222"/>
                        </a:lnTo>
                        <a:lnTo>
                          <a:pt x="2336" y="222"/>
                        </a:lnTo>
                        <a:lnTo>
                          <a:pt x="2315" y="189"/>
                        </a:lnTo>
                        <a:lnTo>
                          <a:pt x="2326" y="178"/>
                        </a:lnTo>
                        <a:lnTo>
                          <a:pt x="2322" y="173"/>
                        </a:lnTo>
                        <a:lnTo>
                          <a:pt x="2305" y="168"/>
                        </a:lnTo>
                        <a:lnTo>
                          <a:pt x="2159" y="135"/>
                        </a:lnTo>
                        <a:lnTo>
                          <a:pt x="1958" y="123"/>
                        </a:lnTo>
                        <a:lnTo>
                          <a:pt x="1974" y="135"/>
                        </a:lnTo>
                        <a:lnTo>
                          <a:pt x="1894" y="140"/>
                        </a:lnTo>
                        <a:lnTo>
                          <a:pt x="1835" y="116"/>
                        </a:lnTo>
                        <a:lnTo>
                          <a:pt x="1894" y="123"/>
                        </a:lnTo>
                        <a:lnTo>
                          <a:pt x="1840" y="111"/>
                        </a:lnTo>
                        <a:lnTo>
                          <a:pt x="1894" y="95"/>
                        </a:lnTo>
                        <a:lnTo>
                          <a:pt x="1958" y="123"/>
                        </a:lnTo>
                        <a:lnTo>
                          <a:pt x="2083" y="123"/>
                        </a:lnTo>
                        <a:lnTo>
                          <a:pt x="1974" y="111"/>
                        </a:lnTo>
                        <a:lnTo>
                          <a:pt x="1927" y="83"/>
                        </a:lnTo>
                        <a:lnTo>
                          <a:pt x="1937" y="83"/>
                        </a:lnTo>
                        <a:lnTo>
                          <a:pt x="2109" y="95"/>
                        </a:lnTo>
                        <a:lnTo>
                          <a:pt x="2033" y="67"/>
                        </a:lnTo>
                        <a:lnTo>
                          <a:pt x="2109" y="67"/>
                        </a:lnTo>
                        <a:lnTo>
                          <a:pt x="2083" y="67"/>
                        </a:lnTo>
                        <a:lnTo>
                          <a:pt x="2126" y="62"/>
                        </a:lnTo>
                        <a:lnTo>
                          <a:pt x="2196" y="78"/>
                        </a:lnTo>
                        <a:lnTo>
                          <a:pt x="2180" y="95"/>
                        </a:lnTo>
                        <a:lnTo>
                          <a:pt x="2208" y="83"/>
                        </a:lnTo>
                        <a:lnTo>
                          <a:pt x="2272" y="116"/>
                        </a:lnTo>
                        <a:lnTo>
                          <a:pt x="2352" y="116"/>
                        </a:lnTo>
                        <a:lnTo>
                          <a:pt x="2411" y="156"/>
                        </a:lnTo>
                        <a:lnTo>
                          <a:pt x="2423" y="140"/>
                        </a:lnTo>
                        <a:lnTo>
                          <a:pt x="2374" y="116"/>
                        </a:lnTo>
                        <a:lnTo>
                          <a:pt x="2504" y="111"/>
                        </a:lnTo>
                        <a:lnTo>
                          <a:pt x="2397" y="100"/>
                        </a:lnTo>
                        <a:lnTo>
                          <a:pt x="2537" y="83"/>
                        </a:lnTo>
                        <a:lnTo>
                          <a:pt x="2407" y="67"/>
                        </a:lnTo>
                        <a:lnTo>
                          <a:pt x="2397" y="62"/>
                        </a:lnTo>
                        <a:lnTo>
                          <a:pt x="2397" y="29"/>
                        </a:lnTo>
                        <a:lnTo>
                          <a:pt x="2466" y="45"/>
                        </a:lnTo>
                        <a:lnTo>
                          <a:pt x="2478" y="45"/>
                        </a:lnTo>
                        <a:lnTo>
                          <a:pt x="2449" y="29"/>
                        </a:lnTo>
                        <a:lnTo>
                          <a:pt x="2482" y="24"/>
                        </a:lnTo>
                        <a:lnTo>
                          <a:pt x="2570" y="45"/>
                        </a:lnTo>
                        <a:lnTo>
                          <a:pt x="2537" y="24"/>
                        </a:lnTo>
                        <a:lnTo>
                          <a:pt x="2714" y="0"/>
                        </a:lnTo>
                        <a:lnTo>
                          <a:pt x="2747" y="29"/>
                        </a:lnTo>
                        <a:lnTo>
                          <a:pt x="2752" y="24"/>
                        </a:lnTo>
                        <a:lnTo>
                          <a:pt x="2730" y="5"/>
                        </a:lnTo>
                        <a:lnTo>
                          <a:pt x="2990" y="0"/>
                        </a:lnTo>
                        <a:lnTo>
                          <a:pt x="3125" y="24"/>
                        </a:lnTo>
                        <a:lnTo>
                          <a:pt x="3092" y="24"/>
                        </a:lnTo>
                        <a:lnTo>
                          <a:pt x="3115" y="41"/>
                        </a:lnTo>
                        <a:lnTo>
                          <a:pt x="3200" y="24"/>
                        </a:lnTo>
                        <a:lnTo>
                          <a:pt x="3326" y="57"/>
                        </a:lnTo>
                        <a:lnTo>
                          <a:pt x="3233" y="83"/>
                        </a:lnTo>
                        <a:lnTo>
                          <a:pt x="3016" y="78"/>
                        </a:lnTo>
                        <a:lnTo>
                          <a:pt x="2882" y="100"/>
                        </a:lnTo>
                        <a:lnTo>
                          <a:pt x="2775" y="83"/>
                        </a:lnTo>
                        <a:lnTo>
                          <a:pt x="2844" y="100"/>
                        </a:lnTo>
                        <a:lnTo>
                          <a:pt x="2624" y="123"/>
                        </a:lnTo>
                        <a:lnTo>
                          <a:pt x="2645" y="135"/>
                        </a:lnTo>
                        <a:lnTo>
                          <a:pt x="2629" y="152"/>
                        </a:lnTo>
                        <a:lnTo>
                          <a:pt x="2638" y="156"/>
                        </a:lnTo>
                        <a:lnTo>
                          <a:pt x="2645" y="140"/>
                        </a:lnTo>
                        <a:lnTo>
                          <a:pt x="2676" y="123"/>
                        </a:lnTo>
                        <a:lnTo>
                          <a:pt x="2747" y="123"/>
                        </a:lnTo>
                        <a:lnTo>
                          <a:pt x="2752" y="140"/>
                        </a:lnTo>
                        <a:lnTo>
                          <a:pt x="2737" y="152"/>
                        </a:lnTo>
                        <a:lnTo>
                          <a:pt x="2747" y="152"/>
                        </a:lnTo>
                        <a:lnTo>
                          <a:pt x="2768" y="116"/>
                        </a:lnTo>
                        <a:lnTo>
                          <a:pt x="2877" y="111"/>
                        </a:lnTo>
                        <a:lnTo>
                          <a:pt x="2898" y="123"/>
                        </a:lnTo>
                        <a:lnTo>
                          <a:pt x="3016" y="83"/>
                        </a:lnTo>
                        <a:lnTo>
                          <a:pt x="3146" y="100"/>
                        </a:lnTo>
                        <a:lnTo>
                          <a:pt x="3352" y="78"/>
                        </a:lnTo>
                        <a:lnTo>
                          <a:pt x="3380" y="95"/>
                        </a:lnTo>
                        <a:lnTo>
                          <a:pt x="3368" y="95"/>
                        </a:lnTo>
                        <a:lnTo>
                          <a:pt x="3385" y="111"/>
                        </a:lnTo>
                        <a:lnTo>
                          <a:pt x="3352" y="140"/>
                        </a:lnTo>
                        <a:lnTo>
                          <a:pt x="3309" y="152"/>
                        </a:lnTo>
                        <a:lnTo>
                          <a:pt x="3439" y="123"/>
                        </a:lnTo>
                        <a:lnTo>
                          <a:pt x="3448" y="135"/>
                        </a:lnTo>
                        <a:lnTo>
                          <a:pt x="3439" y="135"/>
                        </a:lnTo>
                        <a:lnTo>
                          <a:pt x="3439" y="156"/>
                        </a:lnTo>
                        <a:lnTo>
                          <a:pt x="3477" y="135"/>
                        </a:lnTo>
                        <a:lnTo>
                          <a:pt x="3628" y="178"/>
                        </a:lnTo>
                        <a:lnTo>
                          <a:pt x="3545" y="227"/>
                        </a:lnTo>
                        <a:lnTo>
                          <a:pt x="3363" y="263"/>
                        </a:lnTo>
                        <a:lnTo>
                          <a:pt x="3028" y="267"/>
                        </a:lnTo>
                        <a:lnTo>
                          <a:pt x="2910" y="251"/>
                        </a:lnTo>
                        <a:lnTo>
                          <a:pt x="3023" y="267"/>
                        </a:lnTo>
                        <a:lnTo>
                          <a:pt x="2801" y="322"/>
                        </a:lnTo>
                        <a:lnTo>
                          <a:pt x="2806" y="350"/>
                        </a:lnTo>
                        <a:lnTo>
                          <a:pt x="2898" y="317"/>
                        </a:lnTo>
                        <a:lnTo>
                          <a:pt x="3040" y="300"/>
                        </a:lnTo>
                        <a:lnTo>
                          <a:pt x="3028" y="305"/>
                        </a:lnTo>
                        <a:lnTo>
                          <a:pt x="3044" y="305"/>
                        </a:lnTo>
                        <a:lnTo>
                          <a:pt x="3082" y="296"/>
                        </a:lnTo>
                        <a:lnTo>
                          <a:pt x="3352" y="296"/>
                        </a:lnTo>
                        <a:lnTo>
                          <a:pt x="3347" y="317"/>
                        </a:lnTo>
                        <a:lnTo>
                          <a:pt x="3342" y="333"/>
                        </a:lnTo>
                        <a:lnTo>
                          <a:pt x="3184" y="378"/>
                        </a:lnTo>
                        <a:lnTo>
                          <a:pt x="3217" y="390"/>
                        </a:lnTo>
                        <a:lnTo>
                          <a:pt x="3184" y="395"/>
                        </a:lnTo>
                        <a:lnTo>
                          <a:pt x="3205" y="395"/>
                        </a:lnTo>
                        <a:lnTo>
                          <a:pt x="3368" y="338"/>
                        </a:lnTo>
                        <a:lnTo>
                          <a:pt x="3422" y="338"/>
                        </a:lnTo>
                        <a:lnTo>
                          <a:pt x="3432" y="333"/>
                        </a:lnTo>
                        <a:lnTo>
                          <a:pt x="3432" y="300"/>
                        </a:lnTo>
                        <a:lnTo>
                          <a:pt x="3439" y="284"/>
                        </a:lnTo>
                        <a:lnTo>
                          <a:pt x="3557" y="279"/>
                        </a:lnTo>
                        <a:lnTo>
                          <a:pt x="3578" y="300"/>
                        </a:lnTo>
                        <a:lnTo>
                          <a:pt x="3578" y="333"/>
                        </a:lnTo>
                        <a:lnTo>
                          <a:pt x="3562" y="378"/>
                        </a:lnTo>
                        <a:lnTo>
                          <a:pt x="3541" y="407"/>
                        </a:lnTo>
                        <a:lnTo>
                          <a:pt x="3507" y="411"/>
                        </a:lnTo>
                        <a:lnTo>
                          <a:pt x="3524" y="411"/>
                        </a:lnTo>
                        <a:lnTo>
                          <a:pt x="3448" y="473"/>
                        </a:lnTo>
                        <a:lnTo>
                          <a:pt x="3456" y="489"/>
                        </a:lnTo>
                        <a:lnTo>
                          <a:pt x="3439" y="506"/>
                        </a:lnTo>
                        <a:lnTo>
                          <a:pt x="3406" y="518"/>
                        </a:lnTo>
                        <a:lnTo>
                          <a:pt x="3432" y="518"/>
                        </a:lnTo>
                        <a:lnTo>
                          <a:pt x="3401" y="539"/>
                        </a:lnTo>
                        <a:lnTo>
                          <a:pt x="3465" y="506"/>
                        </a:lnTo>
                        <a:lnTo>
                          <a:pt x="3470" y="489"/>
                        </a:lnTo>
                        <a:lnTo>
                          <a:pt x="3470" y="473"/>
                        </a:lnTo>
                        <a:lnTo>
                          <a:pt x="3524" y="461"/>
                        </a:lnTo>
                        <a:lnTo>
                          <a:pt x="3666" y="362"/>
                        </a:lnTo>
                        <a:lnTo>
                          <a:pt x="3725" y="338"/>
                        </a:lnTo>
                        <a:lnTo>
                          <a:pt x="3704" y="355"/>
                        </a:lnTo>
                        <a:lnTo>
                          <a:pt x="3692" y="378"/>
                        </a:lnTo>
                        <a:lnTo>
                          <a:pt x="3772" y="362"/>
                        </a:lnTo>
                        <a:lnTo>
                          <a:pt x="3796" y="378"/>
                        </a:lnTo>
                        <a:lnTo>
                          <a:pt x="3810" y="374"/>
                        </a:lnTo>
                        <a:lnTo>
                          <a:pt x="3855" y="378"/>
                        </a:lnTo>
                        <a:lnTo>
                          <a:pt x="3855" y="362"/>
                        </a:lnTo>
                        <a:lnTo>
                          <a:pt x="3885" y="355"/>
                        </a:lnTo>
                        <a:lnTo>
                          <a:pt x="3864" y="350"/>
                        </a:lnTo>
                        <a:lnTo>
                          <a:pt x="3871" y="333"/>
                        </a:lnTo>
                        <a:lnTo>
                          <a:pt x="3902" y="338"/>
                        </a:lnTo>
                        <a:lnTo>
                          <a:pt x="3897" y="333"/>
                        </a:lnTo>
                        <a:lnTo>
                          <a:pt x="3897" y="317"/>
                        </a:lnTo>
                        <a:lnTo>
                          <a:pt x="3935" y="317"/>
                        </a:lnTo>
                        <a:lnTo>
                          <a:pt x="3952" y="300"/>
                        </a:lnTo>
                        <a:lnTo>
                          <a:pt x="4086" y="300"/>
                        </a:lnTo>
                        <a:lnTo>
                          <a:pt x="4195" y="322"/>
                        </a:lnTo>
                        <a:lnTo>
                          <a:pt x="4263" y="355"/>
                        </a:lnTo>
                        <a:lnTo>
                          <a:pt x="4136" y="433"/>
                        </a:lnTo>
                        <a:lnTo>
                          <a:pt x="4070" y="433"/>
                        </a:lnTo>
                        <a:lnTo>
                          <a:pt x="4060" y="444"/>
                        </a:lnTo>
                        <a:lnTo>
                          <a:pt x="4098" y="466"/>
                        </a:lnTo>
                        <a:lnTo>
                          <a:pt x="4011" y="489"/>
                        </a:lnTo>
                        <a:lnTo>
                          <a:pt x="3994" y="506"/>
                        </a:lnTo>
                        <a:lnTo>
                          <a:pt x="3864" y="489"/>
                        </a:lnTo>
                        <a:lnTo>
                          <a:pt x="3855" y="506"/>
                        </a:lnTo>
                        <a:lnTo>
                          <a:pt x="3817" y="522"/>
                        </a:lnTo>
                        <a:lnTo>
                          <a:pt x="3708" y="518"/>
                        </a:lnTo>
                        <a:lnTo>
                          <a:pt x="3682" y="527"/>
                        </a:lnTo>
                        <a:lnTo>
                          <a:pt x="3633" y="527"/>
                        </a:lnTo>
                        <a:lnTo>
                          <a:pt x="3666" y="544"/>
                        </a:lnTo>
                        <a:lnTo>
                          <a:pt x="3720" y="522"/>
                        </a:lnTo>
                        <a:lnTo>
                          <a:pt x="3826" y="539"/>
                        </a:lnTo>
                        <a:lnTo>
                          <a:pt x="3897" y="522"/>
                        </a:lnTo>
                        <a:lnTo>
                          <a:pt x="3994" y="544"/>
                        </a:lnTo>
                        <a:lnTo>
                          <a:pt x="3961" y="560"/>
                        </a:lnTo>
                        <a:lnTo>
                          <a:pt x="3952" y="560"/>
                        </a:lnTo>
                        <a:lnTo>
                          <a:pt x="3956" y="572"/>
                        </a:lnTo>
                        <a:lnTo>
                          <a:pt x="3918" y="584"/>
                        </a:lnTo>
                        <a:lnTo>
                          <a:pt x="3741" y="577"/>
                        </a:lnTo>
                        <a:lnTo>
                          <a:pt x="3682" y="612"/>
                        </a:lnTo>
                        <a:lnTo>
                          <a:pt x="3692" y="612"/>
                        </a:lnTo>
                        <a:lnTo>
                          <a:pt x="3682" y="629"/>
                        </a:lnTo>
                        <a:lnTo>
                          <a:pt x="3687" y="629"/>
                        </a:lnTo>
                        <a:lnTo>
                          <a:pt x="3666" y="650"/>
                        </a:lnTo>
                        <a:lnTo>
                          <a:pt x="3687" y="650"/>
                        </a:lnTo>
                        <a:lnTo>
                          <a:pt x="3692" y="666"/>
                        </a:lnTo>
                        <a:lnTo>
                          <a:pt x="3725" y="650"/>
                        </a:lnTo>
                        <a:lnTo>
                          <a:pt x="3704" y="655"/>
                        </a:lnTo>
                        <a:lnTo>
                          <a:pt x="3704" y="650"/>
                        </a:lnTo>
                        <a:lnTo>
                          <a:pt x="3720" y="633"/>
                        </a:lnTo>
                        <a:lnTo>
                          <a:pt x="3772" y="612"/>
                        </a:lnTo>
                        <a:lnTo>
                          <a:pt x="3864" y="600"/>
                        </a:lnTo>
                        <a:lnTo>
                          <a:pt x="3897" y="617"/>
                        </a:lnTo>
                        <a:lnTo>
                          <a:pt x="3843" y="666"/>
                        </a:lnTo>
                        <a:lnTo>
                          <a:pt x="3772" y="655"/>
                        </a:lnTo>
                        <a:lnTo>
                          <a:pt x="3746" y="683"/>
                        </a:lnTo>
                        <a:lnTo>
                          <a:pt x="3746" y="695"/>
                        </a:lnTo>
                        <a:lnTo>
                          <a:pt x="3734" y="711"/>
                        </a:lnTo>
                        <a:lnTo>
                          <a:pt x="3741" y="728"/>
                        </a:lnTo>
                        <a:lnTo>
                          <a:pt x="3725" y="761"/>
                        </a:lnTo>
                        <a:lnTo>
                          <a:pt x="3746" y="740"/>
                        </a:lnTo>
                        <a:lnTo>
                          <a:pt x="3779" y="740"/>
                        </a:lnTo>
                        <a:lnTo>
                          <a:pt x="3772" y="749"/>
                        </a:lnTo>
                        <a:lnTo>
                          <a:pt x="3789" y="761"/>
                        </a:lnTo>
                        <a:lnTo>
                          <a:pt x="3763" y="761"/>
                        </a:lnTo>
                        <a:lnTo>
                          <a:pt x="3772" y="744"/>
                        </a:lnTo>
                        <a:lnTo>
                          <a:pt x="3763" y="744"/>
                        </a:lnTo>
                        <a:lnTo>
                          <a:pt x="3746" y="749"/>
                        </a:lnTo>
                        <a:lnTo>
                          <a:pt x="3746" y="766"/>
                        </a:lnTo>
                        <a:lnTo>
                          <a:pt x="3708" y="778"/>
                        </a:lnTo>
                        <a:lnTo>
                          <a:pt x="3725" y="794"/>
                        </a:lnTo>
                        <a:lnTo>
                          <a:pt x="3720" y="806"/>
                        </a:lnTo>
                        <a:lnTo>
                          <a:pt x="3633" y="815"/>
                        </a:lnTo>
                        <a:lnTo>
                          <a:pt x="3654" y="839"/>
                        </a:lnTo>
                        <a:lnTo>
                          <a:pt x="3616" y="851"/>
                        </a:lnTo>
                        <a:lnTo>
                          <a:pt x="3654" y="851"/>
                        </a:lnTo>
                        <a:lnTo>
                          <a:pt x="3628" y="905"/>
                        </a:lnTo>
                        <a:lnTo>
                          <a:pt x="3628" y="910"/>
                        </a:lnTo>
                        <a:lnTo>
                          <a:pt x="3595" y="926"/>
                        </a:lnTo>
                        <a:lnTo>
                          <a:pt x="3616" y="926"/>
                        </a:lnTo>
                        <a:lnTo>
                          <a:pt x="3595" y="945"/>
                        </a:lnTo>
                        <a:lnTo>
                          <a:pt x="3583" y="962"/>
                        </a:lnTo>
                        <a:lnTo>
                          <a:pt x="3611" y="950"/>
                        </a:lnTo>
                        <a:lnTo>
                          <a:pt x="3578" y="1000"/>
                        </a:lnTo>
                        <a:lnTo>
                          <a:pt x="3616" y="1000"/>
                        </a:lnTo>
                        <a:lnTo>
                          <a:pt x="3595" y="1016"/>
                        </a:lnTo>
                        <a:lnTo>
                          <a:pt x="3611" y="1016"/>
                        </a:lnTo>
                        <a:lnTo>
                          <a:pt x="3616" y="1004"/>
                        </a:lnTo>
                        <a:lnTo>
                          <a:pt x="3628" y="971"/>
                        </a:lnTo>
                        <a:lnTo>
                          <a:pt x="3654" y="945"/>
                        </a:lnTo>
                        <a:lnTo>
                          <a:pt x="3692" y="966"/>
                        </a:lnTo>
                        <a:lnTo>
                          <a:pt x="3772" y="983"/>
                        </a:lnTo>
                        <a:lnTo>
                          <a:pt x="3796" y="1004"/>
                        </a:lnTo>
                        <a:lnTo>
                          <a:pt x="3763" y="1016"/>
                        </a:lnTo>
                        <a:lnTo>
                          <a:pt x="3704" y="988"/>
                        </a:lnTo>
                        <a:lnTo>
                          <a:pt x="3654" y="1000"/>
                        </a:lnTo>
                        <a:lnTo>
                          <a:pt x="3704" y="1016"/>
                        </a:lnTo>
                        <a:lnTo>
                          <a:pt x="3670" y="1016"/>
                        </a:lnTo>
                        <a:lnTo>
                          <a:pt x="3692" y="1021"/>
                        </a:lnTo>
                        <a:lnTo>
                          <a:pt x="3649" y="1016"/>
                        </a:lnTo>
                        <a:lnTo>
                          <a:pt x="3720" y="1028"/>
                        </a:lnTo>
                        <a:lnTo>
                          <a:pt x="3666" y="1037"/>
                        </a:lnTo>
                        <a:lnTo>
                          <a:pt x="3741" y="1037"/>
                        </a:lnTo>
                        <a:lnTo>
                          <a:pt x="3763" y="1054"/>
                        </a:lnTo>
                        <a:lnTo>
                          <a:pt x="3758" y="1061"/>
                        </a:lnTo>
                        <a:lnTo>
                          <a:pt x="3789" y="1073"/>
                        </a:lnTo>
                        <a:lnTo>
                          <a:pt x="3789" y="1054"/>
                        </a:lnTo>
                        <a:lnTo>
                          <a:pt x="3796" y="1044"/>
                        </a:lnTo>
                        <a:lnTo>
                          <a:pt x="3833" y="1044"/>
                        </a:lnTo>
                        <a:lnTo>
                          <a:pt x="3843" y="1061"/>
                        </a:lnTo>
                        <a:lnTo>
                          <a:pt x="3848" y="1111"/>
                        </a:lnTo>
                        <a:lnTo>
                          <a:pt x="3843" y="1132"/>
                        </a:lnTo>
                        <a:lnTo>
                          <a:pt x="3826" y="1132"/>
                        </a:lnTo>
                        <a:lnTo>
                          <a:pt x="3826" y="1139"/>
                        </a:lnTo>
                        <a:lnTo>
                          <a:pt x="3796" y="1127"/>
                        </a:lnTo>
                        <a:lnTo>
                          <a:pt x="3670" y="1099"/>
                        </a:lnTo>
                        <a:lnTo>
                          <a:pt x="3649" y="1111"/>
                        </a:lnTo>
                        <a:lnTo>
                          <a:pt x="3682" y="1111"/>
                        </a:lnTo>
                        <a:lnTo>
                          <a:pt x="3595" y="1115"/>
                        </a:lnTo>
                        <a:lnTo>
                          <a:pt x="3654" y="1127"/>
                        </a:lnTo>
                        <a:lnTo>
                          <a:pt x="3628" y="1132"/>
                        </a:lnTo>
                        <a:lnTo>
                          <a:pt x="3611" y="1155"/>
                        </a:lnTo>
                        <a:lnTo>
                          <a:pt x="3562" y="1127"/>
                        </a:lnTo>
                        <a:lnTo>
                          <a:pt x="3545" y="1127"/>
                        </a:lnTo>
                        <a:lnTo>
                          <a:pt x="3545" y="1139"/>
                        </a:lnTo>
                        <a:lnTo>
                          <a:pt x="3524" y="1148"/>
                        </a:lnTo>
                        <a:lnTo>
                          <a:pt x="3557" y="1172"/>
                        </a:lnTo>
                        <a:lnTo>
                          <a:pt x="3557" y="1165"/>
                        </a:lnTo>
                        <a:lnTo>
                          <a:pt x="3562" y="1155"/>
                        </a:lnTo>
                        <a:lnTo>
                          <a:pt x="3595" y="1165"/>
                        </a:lnTo>
                        <a:lnTo>
                          <a:pt x="3600" y="1172"/>
                        </a:lnTo>
                        <a:lnTo>
                          <a:pt x="3578" y="1184"/>
                        </a:lnTo>
                        <a:lnTo>
                          <a:pt x="3600" y="1184"/>
                        </a:lnTo>
                        <a:lnTo>
                          <a:pt x="3541" y="1184"/>
                        </a:lnTo>
                        <a:lnTo>
                          <a:pt x="3611" y="1189"/>
                        </a:lnTo>
                        <a:lnTo>
                          <a:pt x="3600" y="1210"/>
                        </a:lnTo>
                        <a:lnTo>
                          <a:pt x="3637" y="1205"/>
                        </a:lnTo>
                        <a:lnTo>
                          <a:pt x="3682" y="1226"/>
                        </a:lnTo>
                        <a:lnTo>
                          <a:pt x="3687" y="1226"/>
                        </a:lnTo>
                        <a:lnTo>
                          <a:pt x="3637" y="1205"/>
                        </a:lnTo>
                        <a:lnTo>
                          <a:pt x="3734" y="1222"/>
                        </a:lnTo>
                        <a:lnTo>
                          <a:pt x="3741" y="1226"/>
                        </a:lnTo>
                        <a:lnTo>
                          <a:pt x="3741" y="1243"/>
                        </a:lnTo>
                        <a:lnTo>
                          <a:pt x="3692" y="1250"/>
                        </a:lnTo>
                        <a:lnTo>
                          <a:pt x="3578" y="1250"/>
                        </a:lnTo>
                        <a:lnTo>
                          <a:pt x="3734" y="1259"/>
                        </a:lnTo>
                        <a:lnTo>
                          <a:pt x="3746" y="1283"/>
                        </a:lnTo>
                        <a:lnTo>
                          <a:pt x="3746" y="1300"/>
                        </a:lnTo>
                        <a:lnTo>
                          <a:pt x="3763" y="1316"/>
                        </a:lnTo>
                        <a:lnTo>
                          <a:pt x="3763" y="1337"/>
                        </a:lnTo>
                        <a:lnTo>
                          <a:pt x="3758" y="1370"/>
                        </a:lnTo>
                        <a:lnTo>
                          <a:pt x="3725" y="1377"/>
                        </a:lnTo>
                        <a:lnTo>
                          <a:pt x="3720" y="1370"/>
                        </a:lnTo>
                        <a:lnTo>
                          <a:pt x="3725" y="1354"/>
                        </a:lnTo>
                        <a:lnTo>
                          <a:pt x="3708" y="1349"/>
                        </a:lnTo>
                        <a:lnTo>
                          <a:pt x="3670" y="1354"/>
                        </a:lnTo>
                        <a:lnTo>
                          <a:pt x="3616" y="1316"/>
                        </a:lnTo>
                        <a:lnTo>
                          <a:pt x="3562" y="1300"/>
                        </a:lnTo>
                        <a:lnTo>
                          <a:pt x="3616" y="1333"/>
                        </a:lnTo>
                        <a:lnTo>
                          <a:pt x="3541" y="1316"/>
                        </a:lnTo>
                        <a:lnTo>
                          <a:pt x="3616" y="1333"/>
                        </a:lnTo>
                        <a:lnTo>
                          <a:pt x="3682" y="1377"/>
                        </a:lnTo>
                        <a:lnTo>
                          <a:pt x="3633" y="1377"/>
                        </a:lnTo>
                        <a:lnTo>
                          <a:pt x="3595" y="1406"/>
                        </a:lnTo>
                        <a:lnTo>
                          <a:pt x="3545" y="1370"/>
                        </a:lnTo>
                        <a:lnTo>
                          <a:pt x="3595" y="1406"/>
                        </a:lnTo>
                        <a:lnTo>
                          <a:pt x="3637" y="1387"/>
                        </a:lnTo>
                        <a:lnTo>
                          <a:pt x="3670" y="1387"/>
                        </a:lnTo>
                        <a:lnTo>
                          <a:pt x="3666" y="1415"/>
                        </a:lnTo>
                        <a:lnTo>
                          <a:pt x="3682" y="1432"/>
                        </a:lnTo>
                        <a:lnTo>
                          <a:pt x="3637" y="1444"/>
                        </a:lnTo>
                        <a:lnTo>
                          <a:pt x="3704" y="1444"/>
                        </a:lnTo>
                        <a:lnTo>
                          <a:pt x="3734" y="1460"/>
                        </a:lnTo>
                        <a:lnTo>
                          <a:pt x="3763" y="1444"/>
                        </a:lnTo>
                        <a:lnTo>
                          <a:pt x="3772" y="1448"/>
                        </a:lnTo>
                        <a:lnTo>
                          <a:pt x="3772" y="1465"/>
                        </a:lnTo>
                        <a:lnTo>
                          <a:pt x="3789" y="1472"/>
                        </a:lnTo>
                        <a:lnTo>
                          <a:pt x="3763" y="1498"/>
                        </a:lnTo>
                        <a:lnTo>
                          <a:pt x="3741" y="1505"/>
                        </a:lnTo>
                        <a:lnTo>
                          <a:pt x="3708" y="1498"/>
                        </a:lnTo>
                        <a:lnTo>
                          <a:pt x="3692" y="1472"/>
                        </a:lnTo>
                        <a:lnTo>
                          <a:pt x="3600" y="1472"/>
                        </a:lnTo>
                        <a:lnTo>
                          <a:pt x="3574" y="1448"/>
                        </a:lnTo>
                        <a:lnTo>
                          <a:pt x="3595" y="1481"/>
                        </a:lnTo>
                        <a:lnTo>
                          <a:pt x="3578" y="1489"/>
                        </a:lnTo>
                        <a:lnTo>
                          <a:pt x="3545" y="1498"/>
                        </a:lnTo>
                        <a:lnTo>
                          <a:pt x="3574" y="1498"/>
                        </a:lnTo>
                        <a:lnTo>
                          <a:pt x="3562" y="1514"/>
                        </a:lnTo>
                        <a:lnTo>
                          <a:pt x="3562" y="1522"/>
                        </a:lnTo>
                        <a:lnTo>
                          <a:pt x="3541" y="1526"/>
                        </a:lnTo>
                        <a:lnTo>
                          <a:pt x="3578" y="1538"/>
                        </a:lnTo>
                        <a:lnTo>
                          <a:pt x="3595" y="1559"/>
                        </a:lnTo>
                        <a:lnTo>
                          <a:pt x="3595" y="1583"/>
                        </a:lnTo>
                        <a:lnTo>
                          <a:pt x="3600" y="1576"/>
                        </a:lnTo>
                        <a:lnTo>
                          <a:pt x="3583" y="1538"/>
                        </a:lnTo>
                        <a:lnTo>
                          <a:pt x="3595" y="1526"/>
                        </a:lnTo>
                        <a:lnTo>
                          <a:pt x="3704" y="1555"/>
                        </a:lnTo>
                        <a:lnTo>
                          <a:pt x="3704" y="1571"/>
                        </a:lnTo>
                        <a:lnTo>
                          <a:pt x="3682" y="1576"/>
                        </a:lnTo>
                        <a:lnTo>
                          <a:pt x="3687" y="1583"/>
                        </a:lnTo>
                        <a:lnTo>
                          <a:pt x="3682" y="1600"/>
                        </a:lnTo>
                        <a:lnTo>
                          <a:pt x="3692" y="1600"/>
                        </a:lnTo>
                        <a:lnTo>
                          <a:pt x="3687" y="1616"/>
                        </a:lnTo>
                        <a:lnTo>
                          <a:pt x="3611" y="1609"/>
                        </a:lnTo>
                        <a:lnTo>
                          <a:pt x="3600" y="1626"/>
                        </a:lnTo>
                        <a:lnTo>
                          <a:pt x="3557" y="1637"/>
                        </a:lnTo>
                        <a:lnTo>
                          <a:pt x="3470" y="1616"/>
                        </a:lnTo>
                        <a:lnTo>
                          <a:pt x="3439" y="1592"/>
                        </a:lnTo>
                        <a:lnTo>
                          <a:pt x="3439" y="1576"/>
                        </a:lnTo>
                        <a:lnTo>
                          <a:pt x="3470" y="1576"/>
                        </a:lnTo>
                        <a:lnTo>
                          <a:pt x="3531" y="1600"/>
                        </a:lnTo>
                        <a:lnTo>
                          <a:pt x="3562" y="1592"/>
                        </a:lnTo>
                        <a:lnTo>
                          <a:pt x="3524" y="1600"/>
                        </a:lnTo>
                        <a:lnTo>
                          <a:pt x="3432" y="1559"/>
                        </a:lnTo>
                        <a:lnTo>
                          <a:pt x="3406" y="1576"/>
                        </a:lnTo>
                        <a:lnTo>
                          <a:pt x="3406" y="1600"/>
                        </a:lnTo>
                        <a:lnTo>
                          <a:pt x="3368" y="1592"/>
                        </a:lnTo>
                        <a:lnTo>
                          <a:pt x="3368" y="1576"/>
                        </a:lnTo>
                        <a:lnTo>
                          <a:pt x="3314" y="1543"/>
                        </a:lnTo>
                        <a:lnTo>
                          <a:pt x="3330" y="1571"/>
                        </a:lnTo>
                        <a:lnTo>
                          <a:pt x="3394" y="1609"/>
                        </a:lnTo>
                        <a:lnTo>
                          <a:pt x="3347" y="1616"/>
                        </a:lnTo>
                        <a:lnTo>
                          <a:pt x="3314" y="1637"/>
                        </a:lnTo>
                        <a:lnTo>
                          <a:pt x="3297" y="1637"/>
                        </a:lnTo>
                        <a:lnTo>
                          <a:pt x="3238" y="1633"/>
                        </a:lnTo>
                        <a:lnTo>
                          <a:pt x="3200" y="1609"/>
                        </a:lnTo>
                        <a:lnTo>
                          <a:pt x="3191" y="1616"/>
                        </a:lnTo>
                        <a:lnTo>
                          <a:pt x="3271" y="1637"/>
                        </a:lnTo>
                        <a:lnTo>
                          <a:pt x="3243" y="1654"/>
                        </a:lnTo>
                        <a:lnTo>
                          <a:pt x="3222" y="1649"/>
                        </a:lnTo>
                        <a:lnTo>
                          <a:pt x="3179" y="1654"/>
                        </a:lnTo>
                        <a:lnTo>
                          <a:pt x="3200" y="1666"/>
                        </a:lnTo>
                        <a:lnTo>
                          <a:pt x="3200" y="1682"/>
                        </a:lnTo>
                        <a:lnTo>
                          <a:pt x="3191" y="1687"/>
                        </a:lnTo>
                        <a:lnTo>
                          <a:pt x="3205" y="1682"/>
                        </a:lnTo>
                        <a:lnTo>
                          <a:pt x="3205" y="1666"/>
                        </a:lnTo>
                        <a:lnTo>
                          <a:pt x="3255" y="1666"/>
                        </a:lnTo>
                        <a:lnTo>
                          <a:pt x="3271" y="1649"/>
                        </a:lnTo>
                        <a:lnTo>
                          <a:pt x="3363" y="1666"/>
                        </a:lnTo>
                        <a:lnTo>
                          <a:pt x="3368" y="1682"/>
                        </a:lnTo>
                        <a:lnTo>
                          <a:pt x="3352" y="1687"/>
                        </a:lnTo>
                        <a:lnTo>
                          <a:pt x="3314" y="1687"/>
                        </a:lnTo>
                        <a:lnTo>
                          <a:pt x="3293" y="1703"/>
                        </a:lnTo>
                        <a:lnTo>
                          <a:pt x="3243" y="1694"/>
                        </a:lnTo>
                        <a:lnTo>
                          <a:pt x="3200" y="1694"/>
                        </a:lnTo>
                        <a:lnTo>
                          <a:pt x="3271" y="1711"/>
                        </a:lnTo>
                        <a:lnTo>
                          <a:pt x="3243" y="1720"/>
                        </a:lnTo>
                        <a:lnTo>
                          <a:pt x="3276" y="1711"/>
                        </a:lnTo>
                        <a:lnTo>
                          <a:pt x="3259" y="1737"/>
                        </a:lnTo>
                        <a:lnTo>
                          <a:pt x="3330" y="1703"/>
                        </a:lnTo>
                        <a:lnTo>
                          <a:pt x="3380" y="1711"/>
                        </a:lnTo>
                        <a:lnTo>
                          <a:pt x="3385" y="1720"/>
                        </a:lnTo>
                        <a:lnTo>
                          <a:pt x="3385" y="1737"/>
                        </a:lnTo>
                        <a:lnTo>
                          <a:pt x="3394" y="1744"/>
                        </a:lnTo>
                        <a:lnTo>
                          <a:pt x="3297" y="1760"/>
                        </a:lnTo>
                        <a:lnTo>
                          <a:pt x="3347" y="1760"/>
                        </a:lnTo>
                        <a:lnTo>
                          <a:pt x="3330" y="1798"/>
                        </a:lnTo>
                        <a:lnTo>
                          <a:pt x="3342" y="1793"/>
                        </a:lnTo>
                        <a:lnTo>
                          <a:pt x="3342" y="1777"/>
                        </a:lnTo>
                        <a:lnTo>
                          <a:pt x="3352" y="1765"/>
                        </a:lnTo>
                        <a:lnTo>
                          <a:pt x="3394" y="1760"/>
                        </a:lnTo>
                        <a:lnTo>
                          <a:pt x="3503" y="1810"/>
                        </a:lnTo>
                        <a:lnTo>
                          <a:pt x="3493" y="1814"/>
                        </a:lnTo>
                        <a:lnTo>
                          <a:pt x="3541" y="1831"/>
                        </a:lnTo>
                        <a:lnTo>
                          <a:pt x="3503" y="1864"/>
                        </a:lnTo>
                        <a:lnTo>
                          <a:pt x="3545" y="1838"/>
                        </a:lnTo>
                        <a:lnTo>
                          <a:pt x="3531" y="1864"/>
                        </a:lnTo>
                        <a:lnTo>
                          <a:pt x="3531" y="1871"/>
                        </a:lnTo>
                        <a:lnTo>
                          <a:pt x="3562" y="1848"/>
                        </a:lnTo>
                        <a:lnTo>
                          <a:pt x="3583" y="1848"/>
                        </a:lnTo>
                        <a:lnTo>
                          <a:pt x="3562" y="1864"/>
                        </a:lnTo>
                        <a:lnTo>
                          <a:pt x="3574" y="1871"/>
                        </a:lnTo>
                        <a:lnTo>
                          <a:pt x="3541" y="1871"/>
                        </a:lnTo>
                        <a:lnTo>
                          <a:pt x="3545" y="1909"/>
                        </a:lnTo>
                        <a:lnTo>
                          <a:pt x="3557" y="1909"/>
                        </a:lnTo>
                        <a:lnTo>
                          <a:pt x="3557" y="1888"/>
                        </a:lnTo>
                        <a:lnTo>
                          <a:pt x="3595" y="1876"/>
                        </a:lnTo>
                        <a:lnTo>
                          <a:pt x="3600" y="1892"/>
                        </a:lnTo>
                        <a:lnTo>
                          <a:pt x="3595" y="1904"/>
                        </a:lnTo>
                        <a:lnTo>
                          <a:pt x="3611" y="1904"/>
                        </a:lnTo>
                        <a:lnTo>
                          <a:pt x="3578" y="1909"/>
                        </a:lnTo>
                        <a:lnTo>
                          <a:pt x="3595" y="1909"/>
                        </a:lnTo>
                        <a:lnTo>
                          <a:pt x="3600" y="1926"/>
                        </a:lnTo>
                        <a:lnTo>
                          <a:pt x="3557" y="1942"/>
                        </a:lnTo>
                        <a:lnTo>
                          <a:pt x="3600" y="1933"/>
                        </a:lnTo>
                        <a:lnTo>
                          <a:pt x="3611" y="1949"/>
                        </a:lnTo>
                        <a:lnTo>
                          <a:pt x="3600" y="1975"/>
                        </a:lnTo>
                        <a:lnTo>
                          <a:pt x="3583" y="1975"/>
                        </a:lnTo>
                        <a:lnTo>
                          <a:pt x="3600" y="1975"/>
                        </a:lnTo>
                        <a:lnTo>
                          <a:pt x="3611" y="1982"/>
                        </a:lnTo>
                        <a:lnTo>
                          <a:pt x="3595" y="1982"/>
                        </a:lnTo>
                        <a:lnTo>
                          <a:pt x="3600" y="1987"/>
                        </a:lnTo>
                        <a:lnTo>
                          <a:pt x="3595" y="2003"/>
                        </a:lnTo>
                        <a:lnTo>
                          <a:pt x="3616" y="2003"/>
                        </a:lnTo>
                        <a:lnTo>
                          <a:pt x="3578" y="2032"/>
                        </a:lnTo>
                        <a:lnTo>
                          <a:pt x="3583" y="2015"/>
                        </a:lnTo>
                        <a:lnTo>
                          <a:pt x="3578" y="2015"/>
                        </a:lnTo>
                        <a:lnTo>
                          <a:pt x="3557" y="2020"/>
                        </a:lnTo>
                        <a:lnTo>
                          <a:pt x="3545" y="1987"/>
                        </a:lnTo>
                        <a:lnTo>
                          <a:pt x="3545" y="1966"/>
                        </a:lnTo>
                        <a:lnTo>
                          <a:pt x="3541" y="1966"/>
                        </a:lnTo>
                        <a:lnTo>
                          <a:pt x="3531" y="1982"/>
                        </a:lnTo>
                        <a:lnTo>
                          <a:pt x="3541" y="2003"/>
                        </a:lnTo>
                        <a:lnTo>
                          <a:pt x="3531" y="2020"/>
                        </a:lnTo>
                        <a:lnTo>
                          <a:pt x="3486" y="2020"/>
                        </a:lnTo>
                        <a:lnTo>
                          <a:pt x="3439" y="1987"/>
                        </a:lnTo>
                        <a:lnTo>
                          <a:pt x="3422" y="1975"/>
                        </a:lnTo>
                        <a:lnTo>
                          <a:pt x="3422" y="1942"/>
                        </a:lnTo>
                        <a:lnTo>
                          <a:pt x="3385" y="1904"/>
                        </a:lnTo>
                        <a:lnTo>
                          <a:pt x="3363" y="1909"/>
                        </a:lnTo>
                        <a:lnTo>
                          <a:pt x="3326" y="1876"/>
                        </a:lnTo>
                        <a:lnTo>
                          <a:pt x="3233" y="1871"/>
                        </a:lnTo>
                        <a:lnTo>
                          <a:pt x="3179" y="1822"/>
                        </a:lnTo>
                        <a:lnTo>
                          <a:pt x="3115" y="1798"/>
                        </a:lnTo>
                        <a:lnTo>
                          <a:pt x="3108" y="1798"/>
                        </a:lnTo>
                        <a:lnTo>
                          <a:pt x="3130" y="1814"/>
                        </a:lnTo>
                        <a:lnTo>
                          <a:pt x="3125" y="1822"/>
                        </a:lnTo>
                        <a:lnTo>
                          <a:pt x="3167" y="1831"/>
                        </a:lnTo>
                        <a:lnTo>
                          <a:pt x="3205" y="1855"/>
                        </a:lnTo>
                        <a:lnTo>
                          <a:pt x="3200" y="1864"/>
                        </a:lnTo>
                        <a:lnTo>
                          <a:pt x="3125" y="1871"/>
                        </a:lnTo>
                        <a:lnTo>
                          <a:pt x="3200" y="1871"/>
                        </a:lnTo>
                        <a:lnTo>
                          <a:pt x="3217" y="1871"/>
                        </a:lnTo>
                        <a:lnTo>
                          <a:pt x="3205" y="1876"/>
                        </a:lnTo>
                        <a:lnTo>
                          <a:pt x="3205" y="1888"/>
                        </a:lnTo>
                        <a:lnTo>
                          <a:pt x="3309" y="1876"/>
                        </a:lnTo>
                        <a:lnTo>
                          <a:pt x="3342" y="1904"/>
                        </a:lnTo>
                        <a:lnTo>
                          <a:pt x="3330" y="1921"/>
                        </a:lnTo>
                        <a:lnTo>
                          <a:pt x="3314" y="1909"/>
                        </a:lnTo>
                        <a:lnTo>
                          <a:pt x="3326" y="1926"/>
                        </a:lnTo>
                        <a:lnTo>
                          <a:pt x="3259" y="1949"/>
                        </a:lnTo>
                        <a:lnTo>
                          <a:pt x="3191" y="1959"/>
                        </a:lnTo>
                        <a:lnTo>
                          <a:pt x="3167" y="1926"/>
                        </a:lnTo>
                        <a:lnTo>
                          <a:pt x="3163" y="1926"/>
                        </a:lnTo>
                        <a:lnTo>
                          <a:pt x="3184" y="1949"/>
                        </a:lnTo>
                        <a:lnTo>
                          <a:pt x="3130" y="1949"/>
                        </a:lnTo>
                        <a:lnTo>
                          <a:pt x="3163" y="1966"/>
                        </a:lnTo>
                        <a:lnTo>
                          <a:pt x="3137" y="2003"/>
                        </a:lnTo>
                        <a:lnTo>
                          <a:pt x="3070" y="2015"/>
                        </a:lnTo>
                        <a:lnTo>
                          <a:pt x="3070" y="2032"/>
                        </a:lnTo>
                        <a:lnTo>
                          <a:pt x="3137" y="2015"/>
                        </a:lnTo>
                        <a:lnTo>
                          <a:pt x="3130" y="2020"/>
                        </a:lnTo>
                        <a:lnTo>
                          <a:pt x="3137" y="2032"/>
                        </a:lnTo>
                        <a:lnTo>
                          <a:pt x="3243" y="2015"/>
                        </a:lnTo>
                        <a:lnTo>
                          <a:pt x="3276" y="2032"/>
                        </a:lnTo>
                        <a:lnTo>
                          <a:pt x="3243" y="2037"/>
                        </a:lnTo>
                        <a:lnTo>
                          <a:pt x="3233" y="2037"/>
                        </a:lnTo>
                        <a:lnTo>
                          <a:pt x="3167" y="2070"/>
                        </a:lnTo>
                        <a:lnTo>
                          <a:pt x="3115" y="2060"/>
                        </a:lnTo>
                        <a:lnTo>
                          <a:pt x="3125" y="2070"/>
                        </a:lnTo>
                        <a:lnTo>
                          <a:pt x="3191" y="2070"/>
                        </a:lnTo>
                        <a:lnTo>
                          <a:pt x="3191" y="2086"/>
                        </a:lnTo>
                        <a:lnTo>
                          <a:pt x="3200" y="2086"/>
                        </a:lnTo>
                        <a:lnTo>
                          <a:pt x="3217" y="2053"/>
                        </a:lnTo>
                        <a:lnTo>
                          <a:pt x="3233" y="2044"/>
                        </a:lnTo>
                        <a:lnTo>
                          <a:pt x="3276" y="2053"/>
                        </a:lnTo>
                        <a:lnTo>
                          <a:pt x="3352" y="2020"/>
                        </a:lnTo>
                        <a:lnTo>
                          <a:pt x="3347" y="2037"/>
                        </a:lnTo>
                        <a:lnTo>
                          <a:pt x="3363" y="2032"/>
                        </a:lnTo>
                        <a:lnTo>
                          <a:pt x="3470" y="2060"/>
                        </a:lnTo>
                        <a:lnTo>
                          <a:pt x="3574" y="2060"/>
                        </a:lnTo>
                        <a:lnTo>
                          <a:pt x="3557" y="2077"/>
                        </a:lnTo>
                        <a:lnTo>
                          <a:pt x="3486" y="2093"/>
                        </a:lnTo>
                        <a:lnTo>
                          <a:pt x="3519" y="2098"/>
                        </a:lnTo>
                        <a:lnTo>
                          <a:pt x="3507" y="2110"/>
                        </a:lnTo>
                        <a:lnTo>
                          <a:pt x="3486" y="2093"/>
                        </a:lnTo>
                        <a:lnTo>
                          <a:pt x="3493" y="2110"/>
                        </a:lnTo>
                        <a:lnTo>
                          <a:pt x="3439" y="2110"/>
                        </a:lnTo>
                        <a:lnTo>
                          <a:pt x="3470" y="2126"/>
                        </a:lnTo>
                        <a:lnTo>
                          <a:pt x="3448" y="2143"/>
                        </a:lnTo>
                        <a:lnTo>
                          <a:pt x="3418" y="2126"/>
                        </a:lnTo>
                        <a:lnTo>
                          <a:pt x="3432" y="2143"/>
                        </a:lnTo>
                        <a:lnTo>
                          <a:pt x="3406" y="2155"/>
                        </a:lnTo>
                        <a:lnTo>
                          <a:pt x="3394" y="2155"/>
                        </a:lnTo>
                        <a:lnTo>
                          <a:pt x="3394" y="2171"/>
                        </a:lnTo>
                        <a:lnTo>
                          <a:pt x="3352" y="2171"/>
                        </a:lnTo>
                        <a:lnTo>
                          <a:pt x="3347" y="2171"/>
                        </a:lnTo>
                        <a:lnTo>
                          <a:pt x="3368" y="2188"/>
                        </a:lnTo>
                        <a:lnTo>
                          <a:pt x="3347" y="2204"/>
                        </a:lnTo>
                        <a:lnTo>
                          <a:pt x="3326" y="2197"/>
                        </a:lnTo>
                        <a:lnTo>
                          <a:pt x="3342" y="2209"/>
                        </a:lnTo>
                        <a:lnTo>
                          <a:pt x="3314" y="2209"/>
                        </a:lnTo>
                        <a:lnTo>
                          <a:pt x="3326" y="2221"/>
                        </a:lnTo>
                        <a:lnTo>
                          <a:pt x="3271" y="2242"/>
                        </a:lnTo>
                        <a:lnTo>
                          <a:pt x="3200" y="2259"/>
                        </a:lnTo>
                        <a:lnTo>
                          <a:pt x="3205" y="2259"/>
                        </a:lnTo>
                        <a:lnTo>
                          <a:pt x="3184" y="2259"/>
                        </a:lnTo>
                        <a:lnTo>
                          <a:pt x="3179" y="2266"/>
                        </a:lnTo>
                        <a:lnTo>
                          <a:pt x="3184" y="2266"/>
                        </a:lnTo>
                        <a:lnTo>
                          <a:pt x="3153" y="2259"/>
                        </a:lnTo>
                        <a:lnTo>
                          <a:pt x="3153" y="2275"/>
                        </a:lnTo>
                        <a:lnTo>
                          <a:pt x="3125" y="2275"/>
                        </a:lnTo>
                        <a:lnTo>
                          <a:pt x="3099" y="2292"/>
                        </a:lnTo>
                        <a:lnTo>
                          <a:pt x="3078" y="2282"/>
                        </a:lnTo>
                        <a:lnTo>
                          <a:pt x="3078" y="2292"/>
                        </a:lnTo>
                        <a:lnTo>
                          <a:pt x="3061" y="2292"/>
                        </a:lnTo>
                        <a:lnTo>
                          <a:pt x="3061" y="2308"/>
                        </a:lnTo>
                        <a:lnTo>
                          <a:pt x="3028" y="2292"/>
                        </a:lnTo>
                        <a:lnTo>
                          <a:pt x="3028" y="2275"/>
                        </a:lnTo>
                        <a:lnTo>
                          <a:pt x="3002" y="2299"/>
                        </a:lnTo>
                        <a:lnTo>
                          <a:pt x="3016" y="2315"/>
                        </a:lnTo>
                        <a:lnTo>
                          <a:pt x="2990" y="2315"/>
                        </a:lnTo>
                        <a:lnTo>
                          <a:pt x="2990" y="2308"/>
                        </a:lnTo>
                        <a:lnTo>
                          <a:pt x="2969" y="2299"/>
                        </a:lnTo>
                        <a:lnTo>
                          <a:pt x="2964" y="2299"/>
                        </a:lnTo>
                        <a:lnTo>
                          <a:pt x="2985" y="2308"/>
                        </a:lnTo>
                        <a:lnTo>
                          <a:pt x="2985" y="2320"/>
                        </a:lnTo>
                        <a:lnTo>
                          <a:pt x="2948" y="2320"/>
                        </a:lnTo>
                        <a:lnTo>
                          <a:pt x="2915" y="2315"/>
                        </a:lnTo>
                        <a:lnTo>
                          <a:pt x="2919" y="2308"/>
                        </a:lnTo>
                        <a:lnTo>
                          <a:pt x="2910" y="2320"/>
                        </a:lnTo>
                        <a:lnTo>
                          <a:pt x="2898" y="2315"/>
                        </a:lnTo>
                        <a:lnTo>
                          <a:pt x="2893" y="2308"/>
                        </a:lnTo>
                        <a:lnTo>
                          <a:pt x="2910" y="2299"/>
                        </a:lnTo>
                        <a:lnTo>
                          <a:pt x="2877" y="2299"/>
                        </a:lnTo>
                        <a:lnTo>
                          <a:pt x="2844" y="2254"/>
                        </a:lnTo>
                        <a:lnTo>
                          <a:pt x="2844" y="2266"/>
                        </a:lnTo>
                        <a:lnTo>
                          <a:pt x="2839" y="2266"/>
                        </a:lnTo>
                        <a:lnTo>
                          <a:pt x="2839" y="2275"/>
                        </a:lnTo>
                        <a:lnTo>
                          <a:pt x="2860" y="2292"/>
                        </a:lnTo>
                        <a:lnTo>
                          <a:pt x="2865" y="2308"/>
                        </a:lnTo>
                        <a:lnTo>
                          <a:pt x="2844" y="2308"/>
                        </a:lnTo>
                        <a:lnTo>
                          <a:pt x="2877" y="2315"/>
                        </a:lnTo>
                        <a:lnTo>
                          <a:pt x="2865" y="2348"/>
                        </a:lnTo>
                        <a:lnTo>
                          <a:pt x="2839" y="2348"/>
                        </a:lnTo>
                        <a:lnTo>
                          <a:pt x="2822" y="2365"/>
                        </a:lnTo>
                        <a:lnTo>
                          <a:pt x="2789" y="2370"/>
                        </a:lnTo>
                        <a:lnTo>
                          <a:pt x="2806" y="2377"/>
                        </a:lnTo>
                        <a:lnTo>
                          <a:pt x="2789" y="2386"/>
                        </a:lnTo>
                        <a:lnTo>
                          <a:pt x="2789" y="2403"/>
                        </a:lnTo>
                        <a:lnTo>
                          <a:pt x="2768" y="2410"/>
                        </a:lnTo>
                        <a:lnTo>
                          <a:pt x="2785" y="2426"/>
                        </a:lnTo>
                        <a:lnTo>
                          <a:pt x="2752" y="2459"/>
                        </a:lnTo>
                        <a:lnTo>
                          <a:pt x="2737" y="2448"/>
                        </a:lnTo>
                        <a:lnTo>
                          <a:pt x="2730" y="2481"/>
                        </a:lnTo>
                        <a:lnTo>
                          <a:pt x="2714" y="2504"/>
                        </a:lnTo>
                        <a:lnTo>
                          <a:pt x="2704" y="2497"/>
                        </a:lnTo>
                        <a:lnTo>
                          <a:pt x="2704" y="2481"/>
                        </a:lnTo>
                        <a:lnTo>
                          <a:pt x="2704" y="2497"/>
                        </a:lnTo>
                        <a:lnTo>
                          <a:pt x="2704" y="2504"/>
                        </a:lnTo>
                        <a:lnTo>
                          <a:pt x="2683" y="2530"/>
                        </a:lnTo>
                        <a:lnTo>
                          <a:pt x="2667" y="2537"/>
                        </a:lnTo>
                        <a:lnTo>
                          <a:pt x="2662" y="2530"/>
                        </a:lnTo>
                        <a:lnTo>
                          <a:pt x="2662" y="2521"/>
                        </a:lnTo>
                        <a:lnTo>
                          <a:pt x="2650" y="2537"/>
                        </a:lnTo>
                        <a:lnTo>
                          <a:pt x="2662" y="2542"/>
                        </a:lnTo>
                        <a:lnTo>
                          <a:pt x="2650" y="2542"/>
                        </a:lnTo>
                        <a:lnTo>
                          <a:pt x="2607" y="2521"/>
                        </a:lnTo>
                        <a:lnTo>
                          <a:pt x="2629" y="2542"/>
                        </a:lnTo>
                        <a:lnTo>
                          <a:pt x="2624" y="2542"/>
                        </a:lnTo>
                        <a:lnTo>
                          <a:pt x="2624" y="2559"/>
                        </a:lnTo>
                        <a:lnTo>
                          <a:pt x="2574" y="2587"/>
                        </a:lnTo>
                        <a:lnTo>
                          <a:pt x="2570" y="2575"/>
                        </a:lnTo>
                        <a:lnTo>
                          <a:pt x="2574" y="2559"/>
                        </a:lnTo>
                        <a:lnTo>
                          <a:pt x="2558" y="2559"/>
                        </a:lnTo>
                        <a:lnTo>
                          <a:pt x="2558" y="2570"/>
                        </a:lnTo>
                        <a:lnTo>
                          <a:pt x="2558" y="2575"/>
                        </a:lnTo>
                        <a:lnTo>
                          <a:pt x="2532" y="2592"/>
                        </a:lnTo>
                        <a:lnTo>
                          <a:pt x="2520" y="2575"/>
                        </a:lnTo>
                        <a:lnTo>
                          <a:pt x="2520" y="2570"/>
                        </a:lnTo>
                        <a:lnTo>
                          <a:pt x="2515" y="2570"/>
                        </a:lnTo>
                        <a:lnTo>
                          <a:pt x="2520" y="2592"/>
                        </a:lnTo>
                        <a:lnTo>
                          <a:pt x="2515" y="2599"/>
                        </a:lnTo>
                        <a:lnTo>
                          <a:pt x="2478" y="2587"/>
                        </a:lnTo>
                        <a:lnTo>
                          <a:pt x="2466" y="2570"/>
                        </a:lnTo>
                        <a:lnTo>
                          <a:pt x="2515" y="2530"/>
                        </a:lnTo>
                        <a:lnTo>
                          <a:pt x="2449" y="2530"/>
                        </a:lnTo>
                        <a:lnTo>
                          <a:pt x="2445" y="2530"/>
                        </a:lnTo>
                        <a:lnTo>
                          <a:pt x="2478" y="2542"/>
                        </a:lnTo>
                        <a:lnTo>
                          <a:pt x="2461" y="2542"/>
                        </a:lnTo>
                        <a:lnTo>
                          <a:pt x="2466" y="2554"/>
                        </a:lnTo>
                        <a:lnTo>
                          <a:pt x="2449" y="2559"/>
                        </a:lnTo>
                        <a:lnTo>
                          <a:pt x="2461" y="2575"/>
                        </a:lnTo>
                        <a:lnTo>
                          <a:pt x="2449" y="2587"/>
                        </a:lnTo>
                        <a:lnTo>
                          <a:pt x="2445" y="2575"/>
                        </a:lnTo>
                        <a:lnTo>
                          <a:pt x="2445" y="2587"/>
                        </a:lnTo>
                        <a:lnTo>
                          <a:pt x="2435" y="2587"/>
                        </a:lnTo>
                        <a:lnTo>
                          <a:pt x="2423" y="2570"/>
                        </a:lnTo>
                        <a:lnTo>
                          <a:pt x="2423" y="2587"/>
                        </a:lnTo>
                        <a:lnTo>
                          <a:pt x="2449" y="2592"/>
                        </a:lnTo>
                        <a:lnTo>
                          <a:pt x="2435" y="2615"/>
                        </a:lnTo>
                        <a:lnTo>
                          <a:pt x="2407" y="2608"/>
                        </a:lnTo>
                        <a:lnTo>
                          <a:pt x="2411" y="2625"/>
                        </a:lnTo>
                        <a:lnTo>
                          <a:pt x="2381" y="2625"/>
                        </a:lnTo>
                        <a:lnTo>
                          <a:pt x="2359" y="2608"/>
                        </a:lnTo>
                        <a:lnTo>
                          <a:pt x="2374" y="2625"/>
                        </a:lnTo>
                        <a:lnTo>
                          <a:pt x="2359" y="2632"/>
                        </a:lnTo>
                        <a:lnTo>
                          <a:pt x="2336" y="2608"/>
                        </a:lnTo>
                        <a:lnTo>
                          <a:pt x="2326" y="2625"/>
                        </a:lnTo>
                        <a:lnTo>
                          <a:pt x="2326" y="2632"/>
                        </a:lnTo>
                        <a:lnTo>
                          <a:pt x="2305" y="2625"/>
                        </a:lnTo>
                        <a:lnTo>
                          <a:pt x="2298" y="2632"/>
                        </a:lnTo>
                        <a:lnTo>
                          <a:pt x="2326" y="2641"/>
                        </a:lnTo>
                        <a:lnTo>
                          <a:pt x="2322" y="2648"/>
                        </a:lnTo>
                        <a:lnTo>
                          <a:pt x="2336" y="2665"/>
                        </a:lnTo>
                        <a:lnTo>
                          <a:pt x="2298" y="2686"/>
                        </a:lnTo>
                        <a:lnTo>
                          <a:pt x="2272" y="2670"/>
                        </a:lnTo>
                        <a:lnTo>
                          <a:pt x="2267" y="2686"/>
                        </a:lnTo>
                        <a:lnTo>
                          <a:pt x="2246" y="2681"/>
                        </a:lnTo>
                        <a:lnTo>
                          <a:pt x="2234" y="2698"/>
                        </a:lnTo>
                        <a:lnTo>
                          <a:pt x="2272" y="2726"/>
                        </a:lnTo>
                        <a:lnTo>
                          <a:pt x="2272" y="2752"/>
                        </a:lnTo>
                        <a:lnTo>
                          <a:pt x="2289" y="2764"/>
                        </a:lnTo>
                        <a:lnTo>
                          <a:pt x="2260" y="2764"/>
                        </a:lnTo>
                        <a:lnTo>
                          <a:pt x="2208" y="2776"/>
                        </a:lnTo>
                        <a:lnTo>
                          <a:pt x="2218" y="2792"/>
                        </a:lnTo>
                        <a:lnTo>
                          <a:pt x="2272" y="2797"/>
                        </a:lnTo>
                        <a:lnTo>
                          <a:pt x="2260" y="2814"/>
                        </a:lnTo>
                        <a:lnTo>
                          <a:pt x="2272" y="2814"/>
                        </a:lnTo>
                        <a:lnTo>
                          <a:pt x="2284" y="2837"/>
                        </a:lnTo>
                        <a:lnTo>
                          <a:pt x="2251" y="2837"/>
                        </a:lnTo>
                        <a:lnTo>
                          <a:pt x="2213" y="2821"/>
                        </a:lnTo>
                        <a:lnTo>
                          <a:pt x="2208" y="2830"/>
                        </a:lnTo>
                        <a:lnTo>
                          <a:pt x="2251" y="2847"/>
                        </a:lnTo>
                        <a:lnTo>
                          <a:pt x="2267" y="2863"/>
                        </a:lnTo>
                        <a:lnTo>
                          <a:pt x="2246" y="2863"/>
                        </a:lnTo>
                        <a:lnTo>
                          <a:pt x="2246" y="2870"/>
                        </a:lnTo>
                        <a:lnTo>
                          <a:pt x="2234" y="2863"/>
                        </a:lnTo>
                        <a:lnTo>
                          <a:pt x="2246" y="2875"/>
                        </a:lnTo>
                        <a:lnTo>
                          <a:pt x="2234" y="2875"/>
                        </a:lnTo>
                        <a:lnTo>
                          <a:pt x="2218" y="2863"/>
                        </a:lnTo>
                        <a:lnTo>
                          <a:pt x="2230" y="2875"/>
                        </a:lnTo>
                        <a:lnTo>
                          <a:pt x="2208" y="2863"/>
                        </a:lnTo>
                        <a:lnTo>
                          <a:pt x="2234" y="2887"/>
                        </a:lnTo>
                        <a:lnTo>
                          <a:pt x="2196" y="2863"/>
                        </a:lnTo>
                        <a:lnTo>
                          <a:pt x="2180" y="2870"/>
                        </a:lnTo>
                        <a:lnTo>
                          <a:pt x="2213" y="2908"/>
                        </a:lnTo>
                        <a:lnTo>
                          <a:pt x="2208" y="2908"/>
                        </a:lnTo>
                        <a:lnTo>
                          <a:pt x="2175" y="2892"/>
                        </a:lnTo>
                        <a:lnTo>
                          <a:pt x="2208" y="2920"/>
                        </a:lnTo>
                        <a:lnTo>
                          <a:pt x="2196" y="2920"/>
                        </a:lnTo>
                        <a:lnTo>
                          <a:pt x="2163" y="2903"/>
                        </a:lnTo>
                        <a:lnTo>
                          <a:pt x="2175" y="2920"/>
                        </a:lnTo>
                        <a:lnTo>
                          <a:pt x="2208" y="2925"/>
                        </a:lnTo>
                        <a:lnTo>
                          <a:pt x="2192" y="2941"/>
                        </a:lnTo>
                        <a:lnTo>
                          <a:pt x="2154" y="2941"/>
                        </a:lnTo>
                        <a:lnTo>
                          <a:pt x="2154" y="2925"/>
                        </a:lnTo>
                        <a:lnTo>
                          <a:pt x="2142" y="2932"/>
                        </a:lnTo>
                        <a:lnTo>
                          <a:pt x="2142" y="2941"/>
                        </a:lnTo>
                        <a:lnTo>
                          <a:pt x="2137" y="2948"/>
                        </a:lnTo>
                        <a:lnTo>
                          <a:pt x="2100" y="2948"/>
                        </a:lnTo>
                        <a:lnTo>
                          <a:pt x="2100" y="2958"/>
                        </a:lnTo>
                        <a:lnTo>
                          <a:pt x="2154" y="2974"/>
                        </a:lnTo>
                        <a:lnTo>
                          <a:pt x="2154" y="2981"/>
                        </a:lnTo>
                        <a:lnTo>
                          <a:pt x="2137" y="2981"/>
                        </a:lnTo>
                        <a:lnTo>
                          <a:pt x="2163" y="2986"/>
                        </a:lnTo>
                        <a:lnTo>
                          <a:pt x="2104" y="2974"/>
                        </a:lnTo>
                        <a:lnTo>
                          <a:pt x="2159" y="3003"/>
                        </a:lnTo>
                        <a:lnTo>
                          <a:pt x="2154" y="3019"/>
                        </a:lnTo>
                        <a:lnTo>
                          <a:pt x="2137" y="3036"/>
                        </a:lnTo>
                        <a:lnTo>
                          <a:pt x="2163" y="3036"/>
                        </a:lnTo>
                        <a:lnTo>
                          <a:pt x="2159" y="3043"/>
                        </a:lnTo>
                        <a:lnTo>
                          <a:pt x="2142" y="3043"/>
                        </a:lnTo>
                        <a:lnTo>
                          <a:pt x="2159" y="3052"/>
                        </a:lnTo>
                        <a:lnTo>
                          <a:pt x="2154" y="3059"/>
                        </a:lnTo>
                        <a:lnTo>
                          <a:pt x="2109" y="3059"/>
                        </a:lnTo>
                        <a:lnTo>
                          <a:pt x="2154" y="3076"/>
                        </a:lnTo>
                        <a:lnTo>
                          <a:pt x="2142" y="3085"/>
                        </a:lnTo>
                        <a:lnTo>
                          <a:pt x="2100" y="3076"/>
                        </a:lnTo>
                        <a:lnTo>
                          <a:pt x="2137" y="3085"/>
                        </a:lnTo>
                        <a:lnTo>
                          <a:pt x="2142" y="3097"/>
                        </a:lnTo>
                        <a:lnTo>
                          <a:pt x="2142" y="3109"/>
                        </a:lnTo>
                        <a:lnTo>
                          <a:pt x="2126" y="3114"/>
                        </a:lnTo>
                        <a:lnTo>
                          <a:pt x="2088" y="3109"/>
                        </a:lnTo>
                        <a:lnTo>
                          <a:pt x="2126" y="3114"/>
                        </a:lnTo>
                        <a:lnTo>
                          <a:pt x="2137" y="3125"/>
                        </a:lnTo>
                        <a:lnTo>
                          <a:pt x="2100" y="3125"/>
                        </a:lnTo>
                        <a:lnTo>
                          <a:pt x="2126" y="3130"/>
                        </a:lnTo>
                        <a:lnTo>
                          <a:pt x="2067" y="3130"/>
                        </a:lnTo>
                        <a:lnTo>
                          <a:pt x="2126" y="3142"/>
                        </a:lnTo>
                        <a:lnTo>
                          <a:pt x="2126" y="3147"/>
                        </a:lnTo>
                        <a:lnTo>
                          <a:pt x="2104" y="3154"/>
                        </a:lnTo>
                        <a:lnTo>
                          <a:pt x="2071" y="3147"/>
                        </a:lnTo>
                        <a:lnTo>
                          <a:pt x="2121" y="3163"/>
                        </a:lnTo>
                        <a:lnTo>
                          <a:pt x="2067" y="3163"/>
                        </a:lnTo>
                        <a:lnTo>
                          <a:pt x="2121" y="3170"/>
                        </a:lnTo>
                        <a:lnTo>
                          <a:pt x="2100" y="3180"/>
                        </a:lnTo>
                        <a:lnTo>
                          <a:pt x="2121" y="3180"/>
                        </a:lnTo>
                        <a:lnTo>
                          <a:pt x="2109" y="3187"/>
                        </a:lnTo>
                        <a:lnTo>
                          <a:pt x="2121" y="3187"/>
                        </a:lnTo>
                        <a:lnTo>
                          <a:pt x="2100" y="3196"/>
                        </a:lnTo>
                        <a:lnTo>
                          <a:pt x="2083" y="3196"/>
                        </a:lnTo>
                        <a:lnTo>
                          <a:pt x="2100" y="3203"/>
                        </a:lnTo>
                        <a:lnTo>
                          <a:pt x="2088" y="3203"/>
                        </a:lnTo>
                        <a:lnTo>
                          <a:pt x="2067" y="3196"/>
                        </a:lnTo>
                        <a:lnTo>
                          <a:pt x="2057" y="3170"/>
                        </a:lnTo>
                        <a:lnTo>
                          <a:pt x="2057" y="3196"/>
                        </a:lnTo>
                        <a:lnTo>
                          <a:pt x="2019" y="3187"/>
                        </a:lnTo>
                        <a:lnTo>
                          <a:pt x="2083" y="3203"/>
                        </a:lnTo>
                        <a:lnTo>
                          <a:pt x="2067" y="3220"/>
                        </a:lnTo>
                        <a:lnTo>
                          <a:pt x="2100" y="3208"/>
                        </a:lnTo>
                        <a:lnTo>
                          <a:pt x="2100" y="3225"/>
                        </a:lnTo>
                        <a:lnTo>
                          <a:pt x="2083" y="3225"/>
                        </a:lnTo>
                        <a:lnTo>
                          <a:pt x="2100" y="3225"/>
                        </a:lnTo>
                        <a:lnTo>
                          <a:pt x="2100" y="3241"/>
                        </a:lnTo>
                        <a:lnTo>
                          <a:pt x="2029" y="3236"/>
                        </a:lnTo>
                        <a:lnTo>
                          <a:pt x="2033" y="3220"/>
                        </a:lnTo>
                        <a:lnTo>
                          <a:pt x="2029" y="3208"/>
                        </a:lnTo>
                        <a:lnTo>
                          <a:pt x="2029" y="3220"/>
                        </a:lnTo>
                        <a:lnTo>
                          <a:pt x="2003" y="3236"/>
                        </a:lnTo>
                        <a:lnTo>
                          <a:pt x="1991" y="3253"/>
                        </a:lnTo>
                        <a:lnTo>
                          <a:pt x="1948" y="3241"/>
                        </a:lnTo>
                        <a:lnTo>
                          <a:pt x="1958" y="3236"/>
                        </a:lnTo>
                        <a:lnTo>
                          <a:pt x="1974" y="3236"/>
                        </a:lnTo>
                        <a:lnTo>
                          <a:pt x="2003" y="3196"/>
                        </a:lnTo>
                        <a:lnTo>
                          <a:pt x="1974" y="3225"/>
                        </a:lnTo>
                        <a:lnTo>
                          <a:pt x="1948" y="3236"/>
                        </a:lnTo>
                        <a:lnTo>
                          <a:pt x="1991" y="3170"/>
                        </a:lnTo>
                        <a:lnTo>
                          <a:pt x="1948" y="3203"/>
                        </a:lnTo>
                        <a:lnTo>
                          <a:pt x="1944" y="3196"/>
                        </a:lnTo>
                        <a:lnTo>
                          <a:pt x="1958" y="3180"/>
                        </a:lnTo>
                        <a:lnTo>
                          <a:pt x="1927" y="3203"/>
                        </a:lnTo>
                        <a:lnTo>
                          <a:pt x="1944" y="3180"/>
                        </a:lnTo>
                        <a:lnTo>
                          <a:pt x="1927" y="3203"/>
                        </a:lnTo>
                        <a:lnTo>
                          <a:pt x="1911" y="3187"/>
                        </a:lnTo>
                        <a:lnTo>
                          <a:pt x="1920" y="3187"/>
                        </a:lnTo>
                        <a:lnTo>
                          <a:pt x="1894" y="3187"/>
                        </a:lnTo>
                        <a:lnTo>
                          <a:pt x="1920" y="3180"/>
                        </a:lnTo>
                        <a:lnTo>
                          <a:pt x="1906" y="3180"/>
                        </a:lnTo>
                        <a:lnTo>
                          <a:pt x="1948" y="3154"/>
                        </a:lnTo>
                        <a:lnTo>
                          <a:pt x="1937" y="3142"/>
                        </a:lnTo>
                        <a:lnTo>
                          <a:pt x="1920" y="3170"/>
                        </a:lnTo>
                        <a:lnTo>
                          <a:pt x="1906" y="3170"/>
                        </a:lnTo>
                        <a:lnTo>
                          <a:pt x="1911" y="3163"/>
                        </a:lnTo>
                        <a:lnTo>
                          <a:pt x="1906" y="3163"/>
                        </a:lnTo>
                        <a:lnTo>
                          <a:pt x="1889" y="3170"/>
                        </a:lnTo>
                        <a:lnTo>
                          <a:pt x="1882" y="3170"/>
                        </a:lnTo>
                        <a:lnTo>
                          <a:pt x="1894" y="3154"/>
                        </a:lnTo>
                        <a:lnTo>
                          <a:pt x="1927" y="3147"/>
                        </a:lnTo>
                        <a:lnTo>
                          <a:pt x="1948" y="3125"/>
                        </a:lnTo>
                        <a:lnTo>
                          <a:pt x="1937" y="3130"/>
                        </a:lnTo>
                        <a:lnTo>
                          <a:pt x="1927" y="3114"/>
                        </a:lnTo>
                        <a:lnTo>
                          <a:pt x="1927" y="3130"/>
                        </a:lnTo>
                        <a:lnTo>
                          <a:pt x="1920" y="3142"/>
                        </a:lnTo>
                        <a:lnTo>
                          <a:pt x="1889" y="3154"/>
                        </a:lnTo>
                        <a:lnTo>
                          <a:pt x="1889" y="3147"/>
                        </a:lnTo>
                        <a:lnTo>
                          <a:pt x="1920" y="3130"/>
                        </a:lnTo>
                        <a:lnTo>
                          <a:pt x="1906" y="3114"/>
                        </a:lnTo>
                        <a:lnTo>
                          <a:pt x="1911" y="3109"/>
                        </a:lnTo>
                        <a:lnTo>
                          <a:pt x="1894" y="3114"/>
                        </a:lnTo>
                        <a:lnTo>
                          <a:pt x="1906" y="3125"/>
                        </a:lnTo>
                        <a:lnTo>
                          <a:pt x="1906" y="3130"/>
                        </a:lnTo>
                        <a:lnTo>
                          <a:pt x="1882" y="3147"/>
                        </a:lnTo>
                        <a:lnTo>
                          <a:pt x="1868" y="3130"/>
                        </a:lnTo>
                        <a:lnTo>
                          <a:pt x="1856" y="3154"/>
                        </a:lnTo>
                        <a:lnTo>
                          <a:pt x="1835" y="3147"/>
                        </a:lnTo>
                        <a:lnTo>
                          <a:pt x="1840" y="3154"/>
                        </a:lnTo>
                        <a:lnTo>
                          <a:pt x="1835" y="3163"/>
                        </a:lnTo>
                        <a:lnTo>
                          <a:pt x="1830" y="3147"/>
                        </a:lnTo>
                        <a:lnTo>
                          <a:pt x="1764" y="3154"/>
                        </a:lnTo>
                        <a:lnTo>
                          <a:pt x="1802" y="3154"/>
                        </a:lnTo>
                        <a:lnTo>
                          <a:pt x="1797" y="3163"/>
                        </a:lnTo>
                        <a:lnTo>
                          <a:pt x="1743" y="3163"/>
                        </a:lnTo>
                        <a:lnTo>
                          <a:pt x="1731" y="3163"/>
                        </a:lnTo>
                        <a:lnTo>
                          <a:pt x="1776" y="3142"/>
                        </a:lnTo>
                        <a:lnTo>
                          <a:pt x="1726" y="3147"/>
                        </a:lnTo>
                        <a:lnTo>
                          <a:pt x="1764" y="3142"/>
                        </a:lnTo>
                        <a:lnTo>
                          <a:pt x="1764" y="3130"/>
                        </a:lnTo>
                        <a:lnTo>
                          <a:pt x="1748" y="3130"/>
                        </a:lnTo>
                        <a:lnTo>
                          <a:pt x="1743" y="3125"/>
                        </a:lnTo>
                        <a:lnTo>
                          <a:pt x="1759" y="3109"/>
                        </a:lnTo>
                        <a:lnTo>
                          <a:pt x="1748" y="3109"/>
                        </a:lnTo>
                        <a:lnTo>
                          <a:pt x="1731" y="3114"/>
                        </a:lnTo>
                        <a:lnTo>
                          <a:pt x="1743" y="3130"/>
                        </a:lnTo>
                        <a:lnTo>
                          <a:pt x="1726" y="3130"/>
                        </a:lnTo>
                        <a:lnTo>
                          <a:pt x="1726" y="3125"/>
                        </a:lnTo>
                        <a:lnTo>
                          <a:pt x="1731" y="3125"/>
                        </a:lnTo>
                        <a:lnTo>
                          <a:pt x="1710" y="3125"/>
                        </a:lnTo>
                        <a:lnTo>
                          <a:pt x="1726" y="3109"/>
                        </a:lnTo>
                        <a:lnTo>
                          <a:pt x="1679" y="3097"/>
                        </a:lnTo>
                        <a:lnTo>
                          <a:pt x="1743" y="3085"/>
                        </a:lnTo>
                        <a:lnTo>
                          <a:pt x="1726" y="3076"/>
                        </a:lnTo>
                        <a:lnTo>
                          <a:pt x="1689" y="3092"/>
                        </a:lnTo>
                        <a:lnTo>
                          <a:pt x="1667" y="3085"/>
                        </a:lnTo>
                        <a:lnTo>
                          <a:pt x="1710" y="3076"/>
                        </a:lnTo>
                        <a:lnTo>
                          <a:pt x="1689" y="3076"/>
                        </a:lnTo>
                        <a:lnTo>
                          <a:pt x="1679" y="3076"/>
                        </a:lnTo>
                        <a:lnTo>
                          <a:pt x="1679" y="3059"/>
                        </a:lnTo>
                        <a:lnTo>
                          <a:pt x="1672" y="3069"/>
                        </a:lnTo>
                        <a:lnTo>
                          <a:pt x="1679" y="3052"/>
                        </a:lnTo>
                        <a:lnTo>
                          <a:pt x="1705" y="3036"/>
                        </a:lnTo>
                        <a:lnTo>
                          <a:pt x="1689" y="3036"/>
                        </a:lnTo>
                        <a:lnTo>
                          <a:pt x="1672" y="3052"/>
                        </a:lnTo>
                        <a:lnTo>
                          <a:pt x="1667" y="3069"/>
                        </a:lnTo>
                        <a:lnTo>
                          <a:pt x="1656" y="3059"/>
                        </a:lnTo>
                        <a:lnTo>
                          <a:pt x="1672" y="3043"/>
                        </a:lnTo>
                        <a:lnTo>
                          <a:pt x="1656" y="3052"/>
                        </a:lnTo>
                        <a:lnTo>
                          <a:pt x="1656" y="3036"/>
                        </a:lnTo>
                        <a:lnTo>
                          <a:pt x="1693" y="3031"/>
                        </a:lnTo>
                        <a:lnTo>
                          <a:pt x="1679" y="3019"/>
                        </a:lnTo>
                        <a:lnTo>
                          <a:pt x="1679" y="3014"/>
                        </a:lnTo>
                        <a:lnTo>
                          <a:pt x="1672" y="3031"/>
                        </a:lnTo>
                        <a:lnTo>
                          <a:pt x="1634" y="3036"/>
                        </a:lnTo>
                        <a:lnTo>
                          <a:pt x="1634" y="3019"/>
                        </a:lnTo>
                        <a:lnTo>
                          <a:pt x="1656" y="3019"/>
                        </a:lnTo>
                        <a:lnTo>
                          <a:pt x="1667" y="3014"/>
                        </a:lnTo>
                        <a:lnTo>
                          <a:pt x="1641" y="3014"/>
                        </a:lnTo>
                        <a:lnTo>
                          <a:pt x="1656" y="3003"/>
                        </a:lnTo>
                        <a:lnTo>
                          <a:pt x="1625" y="3003"/>
                        </a:lnTo>
                        <a:lnTo>
                          <a:pt x="1596" y="2981"/>
                        </a:lnTo>
                        <a:lnTo>
                          <a:pt x="1596" y="2958"/>
                        </a:lnTo>
                        <a:lnTo>
                          <a:pt x="1618" y="2941"/>
                        </a:lnTo>
                        <a:lnTo>
                          <a:pt x="1596" y="2958"/>
                        </a:lnTo>
                        <a:lnTo>
                          <a:pt x="1604" y="2925"/>
                        </a:lnTo>
                        <a:lnTo>
                          <a:pt x="1634" y="2920"/>
                        </a:lnTo>
                        <a:lnTo>
                          <a:pt x="1604" y="2925"/>
                        </a:lnTo>
                        <a:lnTo>
                          <a:pt x="1587" y="2948"/>
                        </a:lnTo>
                        <a:lnTo>
                          <a:pt x="1587" y="2925"/>
                        </a:lnTo>
                        <a:lnTo>
                          <a:pt x="1604" y="2920"/>
                        </a:lnTo>
                        <a:lnTo>
                          <a:pt x="1570" y="2925"/>
                        </a:lnTo>
                        <a:lnTo>
                          <a:pt x="1570" y="2908"/>
                        </a:lnTo>
                        <a:lnTo>
                          <a:pt x="1613" y="2892"/>
                        </a:lnTo>
                        <a:lnTo>
                          <a:pt x="1549" y="2908"/>
                        </a:lnTo>
                        <a:lnTo>
                          <a:pt x="1559" y="2892"/>
                        </a:lnTo>
                        <a:lnTo>
                          <a:pt x="1542" y="2903"/>
                        </a:lnTo>
                        <a:lnTo>
                          <a:pt x="1533" y="2887"/>
                        </a:lnTo>
                        <a:lnTo>
                          <a:pt x="1596" y="2875"/>
                        </a:lnTo>
                        <a:lnTo>
                          <a:pt x="1542" y="2875"/>
                        </a:lnTo>
                        <a:lnTo>
                          <a:pt x="1528" y="2870"/>
                        </a:lnTo>
                        <a:lnTo>
                          <a:pt x="1566" y="2863"/>
                        </a:lnTo>
                        <a:lnTo>
                          <a:pt x="1542" y="2863"/>
                        </a:lnTo>
                        <a:lnTo>
                          <a:pt x="1533" y="2854"/>
                        </a:lnTo>
                        <a:lnTo>
                          <a:pt x="1570" y="2854"/>
                        </a:lnTo>
                        <a:lnTo>
                          <a:pt x="1580" y="2847"/>
                        </a:lnTo>
                        <a:lnTo>
                          <a:pt x="1542" y="2847"/>
                        </a:lnTo>
                        <a:lnTo>
                          <a:pt x="1533" y="2854"/>
                        </a:lnTo>
                        <a:lnTo>
                          <a:pt x="1533" y="2863"/>
                        </a:lnTo>
                        <a:lnTo>
                          <a:pt x="1504" y="2837"/>
                        </a:lnTo>
                        <a:lnTo>
                          <a:pt x="1549" y="2814"/>
                        </a:lnTo>
                        <a:lnTo>
                          <a:pt x="1511" y="2830"/>
                        </a:lnTo>
                        <a:lnTo>
                          <a:pt x="1511" y="2821"/>
                        </a:lnTo>
                        <a:lnTo>
                          <a:pt x="1516" y="2821"/>
                        </a:lnTo>
                        <a:lnTo>
                          <a:pt x="1516" y="2814"/>
                        </a:lnTo>
                        <a:lnTo>
                          <a:pt x="1495" y="2809"/>
                        </a:lnTo>
                        <a:lnTo>
                          <a:pt x="1613" y="2781"/>
                        </a:lnTo>
                        <a:lnTo>
                          <a:pt x="1570" y="2781"/>
                        </a:lnTo>
                        <a:lnTo>
                          <a:pt x="1580" y="2776"/>
                        </a:lnTo>
                        <a:lnTo>
                          <a:pt x="1511" y="2797"/>
                        </a:lnTo>
                        <a:lnTo>
                          <a:pt x="1495" y="2792"/>
                        </a:lnTo>
                        <a:lnTo>
                          <a:pt x="1516" y="2792"/>
                        </a:lnTo>
                        <a:lnTo>
                          <a:pt x="1490" y="2781"/>
                        </a:lnTo>
                        <a:lnTo>
                          <a:pt x="1549" y="2781"/>
                        </a:lnTo>
                        <a:lnTo>
                          <a:pt x="1559" y="2776"/>
                        </a:lnTo>
                        <a:lnTo>
                          <a:pt x="1542" y="2776"/>
                        </a:lnTo>
                        <a:lnTo>
                          <a:pt x="1559" y="2759"/>
                        </a:lnTo>
                        <a:lnTo>
                          <a:pt x="1587" y="2764"/>
                        </a:lnTo>
                        <a:lnTo>
                          <a:pt x="1604" y="2759"/>
                        </a:lnTo>
                        <a:lnTo>
                          <a:pt x="1570" y="2759"/>
                        </a:lnTo>
                        <a:lnTo>
                          <a:pt x="1570" y="2752"/>
                        </a:lnTo>
                        <a:lnTo>
                          <a:pt x="1580" y="2743"/>
                        </a:lnTo>
                        <a:lnTo>
                          <a:pt x="1549" y="2736"/>
                        </a:lnTo>
                        <a:lnTo>
                          <a:pt x="1580" y="2726"/>
                        </a:lnTo>
                        <a:lnTo>
                          <a:pt x="1566" y="2726"/>
                        </a:lnTo>
                        <a:lnTo>
                          <a:pt x="1580" y="2726"/>
                        </a:lnTo>
                        <a:lnTo>
                          <a:pt x="1596" y="2726"/>
                        </a:lnTo>
                        <a:lnTo>
                          <a:pt x="1604" y="2752"/>
                        </a:lnTo>
                        <a:lnTo>
                          <a:pt x="1641" y="2764"/>
                        </a:lnTo>
                        <a:lnTo>
                          <a:pt x="1613" y="2743"/>
                        </a:lnTo>
                        <a:lnTo>
                          <a:pt x="1604" y="2736"/>
                        </a:lnTo>
                        <a:lnTo>
                          <a:pt x="1618" y="2726"/>
                        </a:lnTo>
                        <a:lnTo>
                          <a:pt x="1596" y="2726"/>
                        </a:lnTo>
                        <a:lnTo>
                          <a:pt x="1613" y="2703"/>
                        </a:lnTo>
                        <a:lnTo>
                          <a:pt x="1596" y="2719"/>
                        </a:lnTo>
                        <a:lnTo>
                          <a:pt x="1570" y="2719"/>
                        </a:lnTo>
                        <a:lnTo>
                          <a:pt x="1566" y="2698"/>
                        </a:lnTo>
                        <a:lnTo>
                          <a:pt x="1549" y="2665"/>
                        </a:lnTo>
                        <a:lnTo>
                          <a:pt x="1549" y="2698"/>
                        </a:lnTo>
                        <a:lnTo>
                          <a:pt x="1566" y="2698"/>
                        </a:lnTo>
                        <a:lnTo>
                          <a:pt x="1570" y="2719"/>
                        </a:lnTo>
                        <a:lnTo>
                          <a:pt x="1533" y="2736"/>
                        </a:lnTo>
                        <a:lnTo>
                          <a:pt x="1528" y="2736"/>
                        </a:lnTo>
                        <a:lnTo>
                          <a:pt x="1542" y="2719"/>
                        </a:lnTo>
                        <a:lnTo>
                          <a:pt x="1528" y="2719"/>
                        </a:lnTo>
                        <a:lnTo>
                          <a:pt x="1495" y="2776"/>
                        </a:lnTo>
                        <a:lnTo>
                          <a:pt x="1474" y="2781"/>
                        </a:lnTo>
                        <a:lnTo>
                          <a:pt x="1474" y="2759"/>
                        </a:lnTo>
                        <a:lnTo>
                          <a:pt x="1462" y="2759"/>
                        </a:lnTo>
                        <a:lnTo>
                          <a:pt x="1474" y="2736"/>
                        </a:lnTo>
                        <a:lnTo>
                          <a:pt x="1462" y="2726"/>
                        </a:lnTo>
                        <a:lnTo>
                          <a:pt x="1504" y="2710"/>
                        </a:lnTo>
                        <a:lnTo>
                          <a:pt x="1528" y="2686"/>
                        </a:lnTo>
                        <a:lnTo>
                          <a:pt x="1495" y="2703"/>
                        </a:lnTo>
                        <a:lnTo>
                          <a:pt x="1504" y="2698"/>
                        </a:lnTo>
                        <a:lnTo>
                          <a:pt x="1495" y="2686"/>
                        </a:lnTo>
                        <a:lnTo>
                          <a:pt x="1478" y="2710"/>
                        </a:lnTo>
                        <a:lnTo>
                          <a:pt x="1462" y="2710"/>
                        </a:lnTo>
                        <a:lnTo>
                          <a:pt x="1478" y="2703"/>
                        </a:lnTo>
                        <a:lnTo>
                          <a:pt x="1474" y="2703"/>
                        </a:lnTo>
                        <a:lnTo>
                          <a:pt x="1457" y="2710"/>
                        </a:lnTo>
                        <a:lnTo>
                          <a:pt x="1457" y="2703"/>
                        </a:lnTo>
                        <a:lnTo>
                          <a:pt x="1474" y="2698"/>
                        </a:lnTo>
                        <a:lnTo>
                          <a:pt x="1457" y="2681"/>
                        </a:lnTo>
                        <a:lnTo>
                          <a:pt x="1462" y="2665"/>
                        </a:lnTo>
                        <a:lnTo>
                          <a:pt x="1452" y="2665"/>
                        </a:lnTo>
                        <a:lnTo>
                          <a:pt x="1457" y="2653"/>
                        </a:lnTo>
                        <a:lnTo>
                          <a:pt x="1441" y="2670"/>
                        </a:lnTo>
                        <a:lnTo>
                          <a:pt x="1436" y="2653"/>
                        </a:lnTo>
                        <a:lnTo>
                          <a:pt x="1495" y="2625"/>
                        </a:lnTo>
                        <a:lnTo>
                          <a:pt x="1478" y="2615"/>
                        </a:lnTo>
                        <a:lnTo>
                          <a:pt x="1495" y="2608"/>
                        </a:lnTo>
                        <a:lnTo>
                          <a:pt x="1528" y="2599"/>
                        </a:lnTo>
                        <a:lnTo>
                          <a:pt x="1580" y="2608"/>
                        </a:lnTo>
                        <a:lnTo>
                          <a:pt x="1511" y="2599"/>
                        </a:lnTo>
                        <a:lnTo>
                          <a:pt x="1478" y="2615"/>
                        </a:lnTo>
                        <a:lnTo>
                          <a:pt x="1478" y="2625"/>
                        </a:lnTo>
                        <a:lnTo>
                          <a:pt x="1441" y="2648"/>
                        </a:lnTo>
                        <a:lnTo>
                          <a:pt x="1436" y="2632"/>
                        </a:lnTo>
                        <a:lnTo>
                          <a:pt x="1441" y="2615"/>
                        </a:lnTo>
                        <a:lnTo>
                          <a:pt x="1424" y="2632"/>
                        </a:lnTo>
                        <a:lnTo>
                          <a:pt x="1419" y="2625"/>
                        </a:lnTo>
                        <a:lnTo>
                          <a:pt x="1436" y="2615"/>
                        </a:lnTo>
                        <a:lnTo>
                          <a:pt x="1419" y="2615"/>
                        </a:lnTo>
                        <a:lnTo>
                          <a:pt x="1424" y="2592"/>
                        </a:lnTo>
                        <a:lnTo>
                          <a:pt x="1419" y="2608"/>
                        </a:lnTo>
                        <a:lnTo>
                          <a:pt x="1386" y="2608"/>
                        </a:lnTo>
                        <a:lnTo>
                          <a:pt x="1408" y="2592"/>
                        </a:lnTo>
                        <a:lnTo>
                          <a:pt x="1386" y="2599"/>
                        </a:lnTo>
                        <a:lnTo>
                          <a:pt x="1424" y="2575"/>
                        </a:lnTo>
                        <a:lnTo>
                          <a:pt x="1452" y="2587"/>
                        </a:lnTo>
                        <a:lnTo>
                          <a:pt x="1478" y="2570"/>
                        </a:lnTo>
                        <a:lnTo>
                          <a:pt x="1490" y="2575"/>
                        </a:lnTo>
                        <a:lnTo>
                          <a:pt x="1490" y="2570"/>
                        </a:lnTo>
                        <a:lnTo>
                          <a:pt x="1452" y="2587"/>
                        </a:lnTo>
                        <a:lnTo>
                          <a:pt x="1436" y="2575"/>
                        </a:lnTo>
                        <a:lnTo>
                          <a:pt x="1398" y="2592"/>
                        </a:lnTo>
                        <a:lnTo>
                          <a:pt x="1386" y="2587"/>
                        </a:lnTo>
                        <a:lnTo>
                          <a:pt x="1408" y="2570"/>
                        </a:lnTo>
                        <a:lnTo>
                          <a:pt x="1386" y="2575"/>
                        </a:lnTo>
                        <a:lnTo>
                          <a:pt x="1370" y="2575"/>
                        </a:lnTo>
                        <a:lnTo>
                          <a:pt x="1398" y="2570"/>
                        </a:lnTo>
                        <a:lnTo>
                          <a:pt x="1370" y="2570"/>
                        </a:lnTo>
                        <a:lnTo>
                          <a:pt x="1474" y="2514"/>
                        </a:lnTo>
                        <a:lnTo>
                          <a:pt x="1478" y="2497"/>
                        </a:lnTo>
                        <a:lnTo>
                          <a:pt x="1528" y="2476"/>
                        </a:lnTo>
                        <a:lnTo>
                          <a:pt x="1587" y="2476"/>
                        </a:lnTo>
                        <a:lnTo>
                          <a:pt x="1542" y="2464"/>
                        </a:lnTo>
                        <a:lnTo>
                          <a:pt x="1566" y="2448"/>
                        </a:lnTo>
                        <a:lnTo>
                          <a:pt x="1613" y="2459"/>
                        </a:lnTo>
                        <a:lnTo>
                          <a:pt x="1570" y="2448"/>
                        </a:lnTo>
                        <a:lnTo>
                          <a:pt x="1587" y="2443"/>
                        </a:lnTo>
                        <a:lnTo>
                          <a:pt x="1533" y="2464"/>
                        </a:lnTo>
                        <a:lnTo>
                          <a:pt x="1403" y="2554"/>
                        </a:lnTo>
                        <a:lnTo>
                          <a:pt x="1370" y="2559"/>
                        </a:lnTo>
                        <a:lnTo>
                          <a:pt x="1353" y="2554"/>
                        </a:lnTo>
                        <a:lnTo>
                          <a:pt x="1398" y="2537"/>
                        </a:lnTo>
                        <a:lnTo>
                          <a:pt x="1365" y="2542"/>
                        </a:lnTo>
                        <a:lnTo>
                          <a:pt x="1353" y="2537"/>
                        </a:lnTo>
                        <a:lnTo>
                          <a:pt x="1353" y="2514"/>
                        </a:lnTo>
                        <a:lnTo>
                          <a:pt x="1441" y="2504"/>
                        </a:lnTo>
                        <a:lnTo>
                          <a:pt x="1386" y="2504"/>
                        </a:lnTo>
                        <a:lnTo>
                          <a:pt x="1370" y="2497"/>
                        </a:lnTo>
                        <a:lnTo>
                          <a:pt x="1436" y="2488"/>
                        </a:lnTo>
                        <a:lnTo>
                          <a:pt x="1386" y="2481"/>
                        </a:lnTo>
                        <a:lnTo>
                          <a:pt x="1419" y="2481"/>
                        </a:lnTo>
                        <a:lnTo>
                          <a:pt x="1398" y="2481"/>
                        </a:lnTo>
                        <a:lnTo>
                          <a:pt x="1403" y="2476"/>
                        </a:lnTo>
                        <a:lnTo>
                          <a:pt x="1457" y="2476"/>
                        </a:lnTo>
                        <a:lnTo>
                          <a:pt x="1441" y="2464"/>
                        </a:lnTo>
                        <a:lnTo>
                          <a:pt x="1353" y="2464"/>
                        </a:lnTo>
                        <a:lnTo>
                          <a:pt x="1348" y="2459"/>
                        </a:lnTo>
                        <a:lnTo>
                          <a:pt x="1386" y="2448"/>
                        </a:lnTo>
                        <a:lnTo>
                          <a:pt x="1348" y="2443"/>
                        </a:lnTo>
                        <a:lnTo>
                          <a:pt x="1382" y="2443"/>
                        </a:lnTo>
                        <a:lnTo>
                          <a:pt x="1332" y="2443"/>
                        </a:lnTo>
                        <a:lnTo>
                          <a:pt x="1348" y="2431"/>
                        </a:lnTo>
                        <a:lnTo>
                          <a:pt x="1382" y="2426"/>
                        </a:lnTo>
                        <a:lnTo>
                          <a:pt x="1365" y="2426"/>
                        </a:lnTo>
                        <a:lnTo>
                          <a:pt x="1462" y="2410"/>
                        </a:lnTo>
                        <a:lnTo>
                          <a:pt x="1511" y="2410"/>
                        </a:lnTo>
                        <a:lnTo>
                          <a:pt x="1533" y="2431"/>
                        </a:lnTo>
                        <a:lnTo>
                          <a:pt x="1587" y="2431"/>
                        </a:lnTo>
                        <a:lnTo>
                          <a:pt x="1533" y="2431"/>
                        </a:lnTo>
                        <a:lnTo>
                          <a:pt x="1511" y="2410"/>
                        </a:lnTo>
                        <a:lnTo>
                          <a:pt x="1533" y="2403"/>
                        </a:lnTo>
                        <a:lnTo>
                          <a:pt x="1386" y="2410"/>
                        </a:lnTo>
                        <a:lnTo>
                          <a:pt x="1348" y="2426"/>
                        </a:lnTo>
                        <a:lnTo>
                          <a:pt x="1344" y="2419"/>
                        </a:lnTo>
                        <a:lnTo>
                          <a:pt x="1353" y="2393"/>
                        </a:lnTo>
                        <a:lnTo>
                          <a:pt x="1408" y="2370"/>
                        </a:lnTo>
                        <a:lnTo>
                          <a:pt x="1398" y="2370"/>
                        </a:lnTo>
                        <a:lnTo>
                          <a:pt x="1403" y="2370"/>
                        </a:lnTo>
                        <a:lnTo>
                          <a:pt x="1436" y="2365"/>
                        </a:lnTo>
                        <a:lnTo>
                          <a:pt x="1419" y="2365"/>
                        </a:lnTo>
                        <a:lnTo>
                          <a:pt x="1441" y="2365"/>
                        </a:lnTo>
                        <a:lnTo>
                          <a:pt x="1490" y="2377"/>
                        </a:lnTo>
                        <a:lnTo>
                          <a:pt x="1516" y="2370"/>
                        </a:lnTo>
                        <a:lnTo>
                          <a:pt x="1566" y="2393"/>
                        </a:lnTo>
                        <a:lnTo>
                          <a:pt x="1604" y="2393"/>
                        </a:lnTo>
                        <a:lnTo>
                          <a:pt x="1613" y="2386"/>
                        </a:lnTo>
                        <a:lnTo>
                          <a:pt x="1570" y="2393"/>
                        </a:lnTo>
                        <a:lnTo>
                          <a:pt x="1559" y="2377"/>
                        </a:lnTo>
                        <a:lnTo>
                          <a:pt x="1596" y="2365"/>
                        </a:lnTo>
                        <a:lnTo>
                          <a:pt x="1618" y="2370"/>
                        </a:lnTo>
                        <a:lnTo>
                          <a:pt x="1596" y="2365"/>
                        </a:lnTo>
                        <a:lnTo>
                          <a:pt x="1542" y="2377"/>
                        </a:lnTo>
                        <a:lnTo>
                          <a:pt x="1528" y="2365"/>
                        </a:lnTo>
                        <a:lnTo>
                          <a:pt x="1587" y="2348"/>
                        </a:lnTo>
                        <a:lnTo>
                          <a:pt x="1559" y="2337"/>
                        </a:lnTo>
                        <a:lnTo>
                          <a:pt x="1559" y="2348"/>
                        </a:lnTo>
                        <a:lnTo>
                          <a:pt x="1566" y="2348"/>
                        </a:lnTo>
                        <a:lnTo>
                          <a:pt x="1533" y="2365"/>
                        </a:lnTo>
                        <a:lnTo>
                          <a:pt x="1516" y="2348"/>
                        </a:lnTo>
                        <a:lnTo>
                          <a:pt x="1549" y="2348"/>
                        </a:lnTo>
                        <a:lnTo>
                          <a:pt x="1542" y="2332"/>
                        </a:lnTo>
                        <a:lnTo>
                          <a:pt x="1504" y="2337"/>
                        </a:lnTo>
                        <a:lnTo>
                          <a:pt x="1516" y="2353"/>
                        </a:lnTo>
                        <a:lnTo>
                          <a:pt x="1495" y="2370"/>
                        </a:lnTo>
                        <a:lnTo>
                          <a:pt x="1490" y="2365"/>
                        </a:lnTo>
                        <a:lnTo>
                          <a:pt x="1504" y="2353"/>
                        </a:lnTo>
                        <a:lnTo>
                          <a:pt x="1452" y="2353"/>
                        </a:lnTo>
                        <a:lnTo>
                          <a:pt x="1504" y="2332"/>
                        </a:lnTo>
                        <a:lnTo>
                          <a:pt x="1403" y="2365"/>
                        </a:lnTo>
                        <a:lnTo>
                          <a:pt x="1365" y="2386"/>
                        </a:lnTo>
                        <a:lnTo>
                          <a:pt x="1353" y="2386"/>
                        </a:lnTo>
                        <a:lnTo>
                          <a:pt x="1348" y="2377"/>
                        </a:lnTo>
                        <a:lnTo>
                          <a:pt x="1365" y="2370"/>
                        </a:lnTo>
                        <a:lnTo>
                          <a:pt x="1353" y="2353"/>
                        </a:lnTo>
                        <a:lnTo>
                          <a:pt x="1382" y="2353"/>
                        </a:lnTo>
                        <a:lnTo>
                          <a:pt x="1370" y="2348"/>
                        </a:lnTo>
                        <a:lnTo>
                          <a:pt x="1386" y="2353"/>
                        </a:lnTo>
                        <a:lnTo>
                          <a:pt x="1403" y="2348"/>
                        </a:lnTo>
                        <a:lnTo>
                          <a:pt x="1386" y="2348"/>
                        </a:lnTo>
                        <a:lnTo>
                          <a:pt x="1386" y="2337"/>
                        </a:lnTo>
                        <a:lnTo>
                          <a:pt x="1408" y="2332"/>
                        </a:lnTo>
                        <a:lnTo>
                          <a:pt x="1386" y="2332"/>
                        </a:lnTo>
                        <a:lnTo>
                          <a:pt x="1386" y="2320"/>
                        </a:lnTo>
                        <a:lnTo>
                          <a:pt x="1457" y="2337"/>
                        </a:lnTo>
                        <a:lnTo>
                          <a:pt x="1474" y="2332"/>
                        </a:lnTo>
                        <a:lnTo>
                          <a:pt x="1424" y="2332"/>
                        </a:lnTo>
                        <a:lnTo>
                          <a:pt x="1398" y="2315"/>
                        </a:lnTo>
                        <a:lnTo>
                          <a:pt x="1370" y="2315"/>
                        </a:lnTo>
                        <a:lnTo>
                          <a:pt x="1382" y="2308"/>
                        </a:lnTo>
                        <a:lnTo>
                          <a:pt x="1452" y="2320"/>
                        </a:lnTo>
                        <a:lnTo>
                          <a:pt x="1419" y="2308"/>
                        </a:lnTo>
                        <a:lnTo>
                          <a:pt x="1490" y="2320"/>
                        </a:lnTo>
                        <a:lnTo>
                          <a:pt x="1533" y="2320"/>
                        </a:lnTo>
                        <a:lnTo>
                          <a:pt x="1570" y="2337"/>
                        </a:lnTo>
                        <a:lnTo>
                          <a:pt x="1604" y="2337"/>
                        </a:lnTo>
                        <a:lnTo>
                          <a:pt x="1511" y="2308"/>
                        </a:lnTo>
                        <a:lnTo>
                          <a:pt x="1549" y="2308"/>
                        </a:lnTo>
                        <a:lnTo>
                          <a:pt x="1528" y="2299"/>
                        </a:lnTo>
                        <a:lnTo>
                          <a:pt x="1533" y="2292"/>
                        </a:lnTo>
                        <a:lnTo>
                          <a:pt x="1533" y="2282"/>
                        </a:lnTo>
                        <a:lnTo>
                          <a:pt x="1559" y="2266"/>
                        </a:lnTo>
                        <a:lnTo>
                          <a:pt x="1504" y="2275"/>
                        </a:lnTo>
                        <a:lnTo>
                          <a:pt x="1528" y="2292"/>
                        </a:lnTo>
                        <a:lnTo>
                          <a:pt x="1441" y="2308"/>
                        </a:lnTo>
                        <a:lnTo>
                          <a:pt x="1441" y="2308"/>
                        </a:lnTo>
                        <a:lnTo>
                          <a:pt x="1441" y="2308"/>
                        </a:lnTo>
                        <a:close/>
                        <a:moveTo>
                          <a:pt x="2343" y="45"/>
                        </a:moveTo>
                        <a:lnTo>
                          <a:pt x="2374" y="41"/>
                        </a:lnTo>
                        <a:lnTo>
                          <a:pt x="2390" y="57"/>
                        </a:lnTo>
                        <a:lnTo>
                          <a:pt x="2343" y="45"/>
                        </a:lnTo>
                        <a:lnTo>
                          <a:pt x="2343" y="45"/>
                        </a:lnTo>
                        <a:lnTo>
                          <a:pt x="2343" y="45"/>
                        </a:lnTo>
                        <a:close/>
                        <a:moveTo>
                          <a:pt x="2390" y="83"/>
                        </a:moveTo>
                        <a:lnTo>
                          <a:pt x="2267" y="62"/>
                        </a:lnTo>
                        <a:lnTo>
                          <a:pt x="2298" y="45"/>
                        </a:lnTo>
                        <a:lnTo>
                          <a:pt x="2411" y="83"/>
                        </a:lnTo>
                        <a:lnTo>
                          <a:pt x="2390" y="83"/>
                        </a:lnTo>
                        <a:lnTo>
                          <a:pt x="2390" y="83"/>
                        </a:lnTo>
                        <a:lnTo>
                          <a:pt x="2390" y="83"/>
                        </a:lnTo>
                        <a:close/>
                        <a:moveTo>
                          <a:pt x="2284" y="67"/>
                        </a:moveTo>
                        <a:lnTo>
                          <a:pt x="2315" y="67"/>
                        </a:lnTo>
                        <a:lnTo>
                          <a:pt x="2272" y="67"/>
                        </a:lnTo>
                        <a:lnTo>
                          <a:pt x="2284" y="67"/>
                        </a:lnTo>
                        <a:lnTo>
                          <a:pt x="2284" y="67"/>
                        </a:lnTo>
                        <a:lnTo>
                          <a:pt x="2284" y="67"/>
                        </a:lnTo>
                        <a:close/>
                        <a:moveTo>
                          <a:pt x="2411" y="83"/>
                        </a:moveTo>
                        <a:lnTo>
                          <a:pt x="2411" y="78"/>
                        </a:lnTo>
                        <a:lnTo>
                          <a:pt x="2449" y="83"/>
                        </a:lnTo>
                        <a:lnTo>
                          <a:pt x="2411" y="83"/>
                        </a:lnTo>
                        <a:lnTo>
                          <a:pt x="2411" y="83"/>
                        </a:lnTo>
                        <a:lnTo>
                          <a:pt x="2411" y="83"/>
                        </a:lnTo>
                        <a:close/>
                        <a:moveTo>
                          <a:pt x="2322" y="116"/>
                        </a:moveTo>
                        <a:lnTo>
                          <a:pt x="2213" y="78"/>
                        </a:lnTo>
                        <a:lnTo>
                          <a:pt x="2260" y="78"/>
                        </a:lnTo>
                        <a:lnTo>
                          <a:pt x="2322" y="116"/>
                        </a:lnTo>
                        <a:lnTo>
                          <a:pt x="2322" y="116"/>
                        </a:lnTo>
                        <a:lnTo>
                          <a:pt x="2322" y="116"/>
                        </a:lnTo>
                        <a:close/>
                        <a:moveTo>
                          <a:pt x="2343" y="111"/>
                        </a:moveTo>
                        <a:lnTo>
                          <a:pt x="2272" y="83"/>
                        </a:lnTo>
                        <a:lnTo>
                          <a:pt x="2369" y="95"/>
                        </a:lnTo>
                        <a:lnTo>
                          <a:pt x="2343" y="111"/>
                        </a:lnTo>
                        <a:lnTo>
                          <a:pt x="2343" y="111"/>
                        </a:lnTo>
                        <a:lnTo>
                          <a:pt x="2343" y="111"/>
                        </a:lnTo>
                        <a:close/>
                        <a:moveTo>
                          <a:pt x="1840" y="140"/>
                        </a:moveTo>
                        <a:lnTo>
                          <a:pt x="1802" y="123"/>
                        </a:lnTo>
                        <a:lnTo>
                          <a:pt x="1868" y="140"/>
                        </a:lnTo>
                        <a:lnTo>
                          <a:pt x="1840" y="140"/>
                        </a:lnTo>
                        <a:lnTo>
                          <a:pt x="1840" y="140"/>
                        </a:lnTo>
                        <a:lnTo>
                          <a:pt x="1840" y="140"/>
                        </a:lnTo>
                        <a:close/>
                        <a:moveTo>
                          <a:pt x="1731" y="152"/>
                        </a:moveTo>
                        <a:lnTo>
                          <a:pt x="1726" y="135"/>
                        </a:lnTo>
                        <a:lnTo>
                          <a:pt x="1797" y="152"/>
                        </a:lnTo>
                        <a:lnTo>
                          <a:pt x="1731" y="152"/>
                        </a:lnTo>
                        <a:lnTo>
                          <a:pt x="1731" y="152"/>
                        </a:lnTo>
                        <a:lnTo>
                          <a:pt x="1731" y="152"/>
                        </a:lnTo>
                        <a:close/>
                        <a:moveTo>
                          <a:pt x="2298" y="173"/>
                        </a:moveTo>
                        <a:lnTo>
                          <a:pt x="2284" y="168"/>
                        </a:lnTo>
                        <a:lnTo>
                          <a:pt x="2305" y="173"/>
                        </a:lnTo>
                        <a:lnTo>
                          <a:pt x="2298" y="173"/>
                        </a:lnTo>
                        <a:lnTo>
                          <a:pt x="2298" y="173"/>
                        </a:lnTo>
                        <a:lnTo>
                          <a:pt x="2298" y="173"/>
                        </a:lnTo>
                        <a:close/>
                        <a:moveTo>
                          <a:pt x="1965" y="279"/>
                        </a:moveTo>
                        <a:lnTo>
                          <a:pt x="1937" y="251"/>
                        </a:lnTo>
                        <a:lnTo>
                          <a:pt x="1830" y="222"/>
                        </a:lnTo>
                        <a:lnTo>
                          <a:pt x="1776" y="178"/>
                        </a:lnTo>
                        <a:lnTo>
                          <a:pt x="1882" y="173"/>
                        </a:lnTo>
                        <a:lnTo>
                          <a:pt x="2003" y="222"/>
                        </a:lnTo>
                        <a:lnTo>
                          <a:pt x="1958" y="251"/>
                        </a:lnTo>
                        <a:lnTo>
                          <a:pt x="1982" y="267"/>
                        </a:lnTo>
                        <a:lnTo>
                          <a:pt x="1965" y="279"/>
                        </a:lnTo>
                        <a:lnTo>
                          <a:pt x="1965" y="279"/>
                        </a:lnTo>
                        <a:lnTo>
                          <a:pt x="1965" y="279"/>
                        </a:lnTo>
                        <a:close/>
                        <a:moveTo>
                          <a:pt x="1731" y="211"/>
                        </a:moveTo>
                        <a:lnTo>
                          <a:pt x="1693" y="194"/>
                        </a:lnTo>
                        <a:lnTo>
                          <a:pt x="1748" y="206"/>
                        </a:lnTo>
                        <a:lnTo>
                          <a:pt x="1731" y="211"/>
                        </a:lnTo>
                        <a:lnTo>
                          <a:pt x="1731" y="211"/>
                        </a:lnTo>
                        <a:lnTo>
                          <a:pt x="1731" y="211"/>
                        </a:lnTo>
                        <a:close/>
                        <a:moveTo>
                          <a:pt x="1528" y="296"/>
                        </a:moveTo>
                        <a:lnTo>
                          <a:pt x="1403" y="267"/>
                        </a:lnTo>
                        <a:lnTo>
                          <a:pt x="1382" y="244"/>
                        </a:lnTo>
                        <a:lnTo>
                          <a:pt x="1398" y="227"/>
                        </a:lnTo>
                        <a:lnTo>
                          <a:pt x="1419" y="239"/>
                        </a:lnTo>
                        <a:lnTo>
                          <a:pt x="1528" y="296"/>
                        </a:lnTo>
                        <a:lnTo>
                          <a:pt x="1528" y="296"/>
                        </a:lnTo>
                        <a:lnTo>
                          <a:pt x="1528" y="296"/>
                        </a:lnTo>
                        <a:close/>
                        <a:moveTo>
                          <a:pt x="1462" y="251"/>
                        </a:moveTo>
                        <a:lnTo>
                          <a:pt x="1457" y="239"/>
                        </a:lnTo>
                        <a:lnTo>
                          <a:pt x="1490" y="251"/>
                        </a:lnTo>
                        <a:lnTo>
                          <a:pt x="1462" y="251"/>
                        </a:lnTo>
                        <a:lnTo>
                          <a:pt x="1462" y="251"/>
                        </a:lnTo>
                        <a:lnTo>
                          <a:pt x="1462" y="251"/>
                        </a:lnTo>
                        <a:close/>
                        <a:moveTo>
                          <a:pt x="3789" y="284"/>
                        </a:moveTo>
                        <a:lnTo>
                          <a:pt x="3763" y="251"/>
                        </a:lnTo>
                        <a:lnTo>
                          <a:pt x="3800" y="296"/>
                        </a:lnTo>
                        <a:lnTo>
                          <a:pt x="3789" y="284"/>
                        </a:lnTo>
                        <a:lnTo>
                          <a:pt x="3789" y="284"/>
                        </a:lnTo>
                        <a:lnTo>
                          <a:pt x="3789" y="284"/>
                        </a:lnTo>
                        <a:close/>
                        <a:moveTo>
                          <a:pt x="3704" y="305"/>
                        </a:moveTo>
                        <a:lnTo>
                          <a:pt x="3666" y="267"/>
                        </a:lnTo>
                        <a:lnTo>
                          <a:pt x="3692" y="267"/>
                        </a:lnTo>
                        <a:lnTo>
                          <a:pt x="3741" y="305"/>
                        </a:lnTo>
                        <a:lnTo>
                          <a:pt x="3704" y="305"/>
                        </a:lnTo>
                        <a:lnTo>
                          <a:pt x="3704" y="305"/>
                        </a:lnTo>
                        <a:lnTo>
                          <a:pt x="3704" y="305"/>
                        </a:lnTo>
                        <a:close/>
                        <a:moveTo>
                          <a:pt x="3817" y="350"/>
                        </a:moveTo>
                        <a:lnTo>
                          <a:pt x="3772" y="322"/>
                        </a:lnTo>
                        <a:lnTo>
                          <a:pt x="3810" y="322"/>
                        </a:lnTo>
                        <a:lnTo>
                          <a:pt x="3843" y="350"/>
                        </a:lnTo>
                        <a:lnTo>
                          <a:pt x="3817" y="350"/>
                        </a:lnTo>
                        <a:lnTo>
                          <a:pt x="3817" y="350"/>
                        </a:lnTo>
                        <a:lnTo>
                          <a:pt x="3817" y="350"/>
                        </a:lnTo>
                        <a:close/>
                        <a:moveTo>
                          <a:pt x="3654" y="355"/>
                        </a:moveTo>
                        <a:lnTo>
                          <a:pt x="3666" y="350"/>
                        </a:lnTo>
                        <a:lnTo>
                          <a:pt x="3649" y="338"/>
                        </a:lnTo>
                        <a:lnTo>
                          <a:pt x="3654" y="333"/>
                        </a:lnTo>
                        <a:lnTo>
                          <a:pt x="3708" y="338"/>
                        </a:lnTo>
                        <a:lnTo>
                          <a:pt x="3654" y="355"/>
                        </a:lnTo>
                        <a:lnTo>
                          <a:pt x="3654" y="355"/>
                        </a:lnTo>
                        <a:lnTo>
                          <a:pt x="3654" y="355"/>
                        </a:lnTo>
                        <a:close/>
                        <a:moveTo>
                          <a:pt x="3789" y="600"/>
                        </a:moveTo>
                        <a:lnTo>
                          <a:pt x="3720" y="612"/>
                        </a:lnTo>
                        <a:lnTo>
                          <a:pt x="3741" y="584"/>
                        </a:lnTo>
                        <a:lnTo>
                          <a:pt x="3789" y="600"/>
                        </a:lnTo>
                        <a:lnTo>
                          <a:pt x="3789" y="600"/>
                        </a:lnTo>
                        <a:lnTo>
                          <a:pt x="3789" y="600"/>
                        </a:lnTo>
                        <a:close/>
                        <a:moveTo>
                          <a:pt x="3763" y="749"/>
                        </a:moveTo>
                        <a:lnTo>
                          <a:pt x="3763" y="766"/>
                        </a:lnTo>
                        <a:lnTo>
                          <a:pt x="3758" y="761"/>
                        </a:lnTo>
                        <a:lnTo>
                          <a:pt x="3763" y="749"/>
                        </a:lnTo>
                        <a:lnTo>
                          <a:pt x="3763" y="749"/>
                        </a:lnTo>
                        <a:lnTo>
                          <a:pt x="3763" y="749"/>
                        </a:lnTo>
                        <a:close/>
                        <a:moveTo>
                          <a:pt x="3881" y="749"/>
                        </a:moveTo>
                        <a:lnTo>
                          <a:pt x="3885" y="761"/>
                        </a:lnTo>
                        <a:lnTo>
                          <a:pt x="3848" y="794"/>
                        </a:lnTo>
                        <a:lnTo>
                          <a:pt x="3855" y="778"/>
                        </a:lnTo>
                        <a:lnTo>
                          <a:pt x="3881" y="749"/>
                        </a:lnTo>
                        <a:lnTo>
                          <a:pt x="3881" y="749"/>
                        </a:lnTo>
                        <a:lnTo>
                          <a:pt x="3881" y="749"/>
                        </a:lnTo>
                        <a:close/>
                        <a:moveTo>
                          <a:pt x="3763" y="834"/>
                        </a:moveTo>
                        <a:lnTo>
                          <a:pt x="3734" y="822"/>
                        </a:lnTo>
                        <a:lnTo>
                          <a:pt x="3779" y="799"/>
                        </a:lnTo>
                        <a:lnTo>
                          <a:pt x="3763" y="815"/>
                        </a:lnTo>
                        <a:lnTo>
                          <a:pt x="3779" y="822"/>
                        </a:lnTo>
                        <a:lnTo>
                          <a:pt x="3758" y="822"/>
                        </a:lnTo>
                        <a:lnTo>
                          <a:pt x="3779" y="822"/>
                        </a:lnTo>
                        <a:lnTo>
                          <a:pt x="3763" y="834"/>
                        </a:lnTo>
                        <a:lnTo>
                          <a:pt x="3763" y="834"/>
                        </a:lnTo>
                        <a:lnTo>
                          <a:pt x="3763" y="834"/>
                        </a:lnTo>
                        <a:close/>
                        <a:moveTo>
                          <a:pt x="3843" y="834"/>
                        </a:moveTo>
                        <a:lnTo>
                          <a:pt x="3843" y="806"/>
                        </a:lnTo>
                        <a:lnTo>
                          <a:pt x="3855" y="815"/>
                        </a:lnTo>
                        <a:lnTo>
                          <a:pt x="3843" y="834"/>
                        </a:lnTo>
                        <a:lnTo>
                          <a:pt x="3843" y="834"/>
                        </a:lnTo>
                        <a:lnTo>
                          <a:pt x="3843" y="834"/>
                        </a:lnTo>
                        <a:close/>
                        <a:moveTo>
                          <a:pt x="3772" y="877"/>
                        </a:moveTo>
                        <a:lnTo>
                          <a:pt x="3789" y="889"/>
                        </a:lnTo>
                        <a:lnTo>
                          <a:pt x="3763" y="893"/>
                        </a:lnTo>
                        <a:lnTo>
                          <a:pt x="3763" y="889"/>
                        </a:lnTo>
                        <a:lnTo>
                          <a:pt x="3772" y="877"/>
                        </a:lnTo>
                        <a:lnTo>
                          <a:pt x="3772" y="877"/>
                        </a:lnTo>
                        <a:lnTo>
                          <a:pt x="3772" y="877"/>
                        </a:lnTo>
                        <a:close/>
                        <a:moveTo>
                          <a:pt x="3746" y="889"/>
                        </a:moveTo>
                        <a:lnTo>
                          <a:pt x="3758" y="893"/>
                        </a:lnTo>
                        <a:lnTo>
                          <a:pt x="3741" y="905"/>
                        </a:lnTo>
                        <a:lnTo>
                          <a:pt x="3741" y="889"/>
                        </a:lnTo>
                        <a:lnTo>
                          <a:pt x="3746" y="889"/>
                        </a:lnTo>
                        <a:lnTo>
                          <a:pt x="3746" y="889"/>
                        </a:lnTo>
                        <a:lnTo>
                          <a:pt x="3746" y="889"/>
                        </a:lnTo>
                        <a:close/>
                        <a:moveTo>
                          <a:pt x="3772" y="910"/>
                        </a:moveTo>
                        <a:lnTo>
                          <a:pt x="3763" y="905"/>
                        </a:lnTo>
                        <a:lnTo>
                          <a:pt x="3796" y="905"/>
                        </a:lnTo>
                        <a:lnTo>
                          <a:pt x="3772" y="910"/>
                        </a:lnTo>
                        <a:lnTo>
                          <a:pt x="3772" y="910"/>
                        </a:lnTo>
                        <a:lnTo>
                          <a:pt x="3772" y="910"/>
                        </a:lnTo>
                        <a:close/>
                        <a:moveTo>
                          <a:pt x="3649" y="917"/>
                        </a:moveTo>
                        <a:lnTo>
                          <a:pt x="3654" y="917"/>
                        </a:lnTo>
                        <a:lnTo>
                          <a:pt x="3649" y="917"/>
                        </a:lnTo>
                        <a:lnTo>
                          <a:pt x="3649" y="917"/>
                        </a:lnTo>
                        <a:lnTo>
                          <a:pt x="3649" y="917"/>
                        </a:lnTo>
                        <a:close/>
                        <a:moveTo>
                          <a:pt x="3796" y="917"/>
                        </a:moveTo>
                        <a:lnTo>
                          <a:pt x="3789" y="933"/>
                        </a:lnTo>
                        <a:lnTo>
                          <a:pt x="3779" y="926"/>
                        </a:lnTo>
                        <a:lnTo>
                          <a:pt x="3796" y="917"/>
                        </a:lnTo>
                        <a:lnTo>
                          <a:pt x="3796" y="917"/>
                        </a:lnTo>
                        <a:lnTo>
                          <a:pt x="3796" y="917"/>
                        </a:lnTo>
                        <a:close/>
                        <a:moveTo>
                          <a:pt x="3772" y="926"/>
                        </a:moveTo>
                        <a:lnTo>
                          <a:pt x="3763" y="926"/>
                        </a:lnTo>
                        <a:lnTo>
                          <a:pt x="3772" y="917"/>
                        </a:lnTo>
                        <a:lnTo>
                          <a:pt x="3772" y="926"/>
                        </a:lnTo>
                        <a:lnTo>
                          <a:pt x="3772" y="926"/>
                        </a:lnTo>
                        <a:lnTo>
                          <a:pt x="3772" y="926"/>
                        </a:lnTo>
                        <a:close/>
                        <a:moveTo>
                          <a:pt x="3637" y="945"/>
                        </a:moveTo>
                        <a:lnTo>
                          <a:pt x="3628" y="966"/>
                        </a:lnTo>
                        <a:lnTo>
                          <a:pt x="3616" y="962"/>
                        </a:lnTo>
                        <a:lnTo>
                          <a:pt x="3637" y="945"/>
                        </a:lnTo>
                        <a:lnTo>
                          <a:pt x="3637" y="945"/>
                        </a:lnTo>
                        <a:lnTo>
                          <a:pt x="3637" y="945"/>
                        </a:lnTo>
                        <a:close/>
                        <a:moveTo>
                          <a:pt x="3734" y="966"/>
                        </a:moveTo>
                        <a:lnTo>
                          <a:pt x="3772" y="971"/>
                        </a:lnTo>
                        <a:lnTo>
                          <a:pt x="3687" y="950"/>
                        </a:lnTo>
                        <a:lnTo>
                          <a:pt x="3725" y="950"/>
                        </a:lnTo>
                        <a:lnTo>
                          <a:pt x="3720" y="950"/>
                        </a:lnTo>
                        <a:lnTo>
                          <a:pt x="3734" y="966"/>
                        </a:lnTo>
                        <a:lnTo>
                          <a:pt x="3734" y="966"/>
                        </a:lnTo>
                        <a:lnTo>
                          <a:pt x="3734" y="966"/>
                        </a:lnTo>
                        <a:close/>
                        <a:moveTo>
                          <a:pt x="3746" y="962"/>
                        </a:moveTo>
                        <a:lnTo>
                          <a:pt x="3741" y="950"/>
                        </a:lnTo>
                        <a:lnTo>
                          <a:pt x="3746" y="962"/>
                        </a:lnTo>
                        <a:lnTo>
                          <a:pt x="3746" y="962"/>
                        </a:lnTo>
                        <a:lnTo>
                          <a:pt x="3746" y="962"/>
                        </a:lnTo>
                        <a:close/>
                        <a:moveTo>
                          <a:pt x="3881" y="962"/>
                        </a:moveTo>
                        <a:lnTo>
                          <a:pt x="3885" y="971"/>
                        </a:lnTo>
                        <a:lnTo>
                          <a:pt x="3881" y="988"/>
                        </a:lnTo>
                        <a:lnTo>
                          <a:pt x="3843" y="1000"/>
                        </a:lnTo>
                        <a:lnTo>
                          <a:pt x="3864" y="966"/>
                        </a:lnTo>
                        <a:lnTo>
                          <a:pt x="3881" y="962"/>
                        </a:lnTo>
                        <a:lnTo>
                          <a:pt x="3881" y="962"/>
                        </a:lnTo>
                        <a:lnTo>
                          <a:pt x="3881" y="962"/>
                        </a:lnTo>
                        <a:close/>
                        <a:moveTo>
                          <a:pt x="3708" y="1000"/>
                        </a:moveTo>
                        <a:lnTo>
                          <a:pt x="3720" y="1004"/>
                        </a:lnTo>
                        <a:lnTo>
                          <a:pt x="3687" y="1004"/>
                        </a:lnTo>
                        <a:lnTo>
                          <a:pt x="3708" y="1000"/>
                        </a:lnTo>
                        <a:lnTo>
                          <a:pt x="3708" y="1000"/>
                        </a:lnTo>
                        <a:lnTo>
                          <a:pt x="3708" y="1000"/>
                        </a:lnTo>
                        <a:close/>
                        <a:moveTo>
                          <a:pt x="432" y="1004"/>
                        </a:moveTo>
                        <a:lnTo>
                          <a:pt x="425" y="1004"/>
                        </a:lnTo>
                        <a:lnTo>
                          <a:pt x="446" y="1004"/>
                        </a:lnTo>
                        <a:lnTo>
                          <a:pt x="432" y="1004"/>
                        </a:lnTo>
                        <a:lnTo>
                          <a:pt x="432" y="1004"/>
                        </a:lnTo>
                        <a:lnTo>
                          <a:pt x="432" y="1004"/>
                        </a:lnTo>
                        <a:close/>
                        <a:moveTo>
                          <a:pt x="479" y="1028"/>
                        </a:moveTo>
                        <a:lnTo>
                          <a:pt x="437" y="1021"/>
                        </a:lnTo>
                        <a:lnTo>
                          <a:pt x="479" y="1021"/>
                        </a:lnTo>
                        <a:lnTo>
                          <a:pt x="479" y="1028"/>
                        </a:lnTo>
                        <a:lnTo>
                          <a:pt x="479" y="1028"/>
                        </a:lnTo>
                        <a:lnTo>
                          <a:pt x="479" y="1028"/>
                        </a:lnTo>
                        <a:close/>
                        <a:moveTo>
                          <a:pt x="122" y="1028"/>
                        </a:moveTo>
                        <a:lnTo>
                          <a:pt x="205" y="1037"/>
                        </a:lnTo>
                        <a:lnTo>
                          <a:pt x="139" y="1044"/>
                        </a:lnTo>
                        <a:lnTo>
                          <a:pt x="122" y="1028"/>
                        </a:lnTo>
                        <a:lnTo>
                          <a:pt x="122" y="1028"/>
                        </a:lnTo>
                        <a:lnTo>
                          <a:pt x="122" y="1028"/>
                        </a:lnTo>
                        <a:close/>
                        <a:moveTo>
                          <a:pt x="54" y="1028"/>
                        </a:moveTo>
                        <a:lnTo>
                          <a:pt x="113" y="1044"/>
                        </a:lnTo>
                        <a:lnTo>
                          <a:pt x="68" y="1054"/>
                        </a:lnTo>
                        <a:lnTo>
                          <a:pt x="30" y="1037"/>
                        </a:lnTo>
                        <a:lnTo>
                          <a:pt x="54" y="1028"/>
                        </a:lnTo>
                        <a:lnTo>
                          <a:pt x="54" y="1028"/>
                        </a:lnTo>
                        <a:lnTo>
                          <a:pt x="54" y="1028"/>
                        </a:lnTo>
                        <a:close/>
                        <a:moveTo>
                          <a:pt x="3741" y="1127"/>
                        </a:moveTo>
                        <a:lnTo>
                          <a:pt x="3746" y="1127"/>
                        </a:lnTo>
                        <a:lnTo>
                          <a:pt x="3734" y="1132"/>
                        </a:lnTo>
                        <a:lnTo>
                          <a:pt x="3741" y="1127"/>
                        </a:lnTo>
                        <a:lnTo>
                          <a:pt x="3741" y="1127"/>
                        </a:lnTo>
                        <a:lnTo>
                          <a:pt x="3741" y="1127"/>
                        </a:lnTo>
                        <a:close/>
                        <a:moveTo>
                          <a:pt x="3810" y="1226"/>
                        </a:moveTo>
                        <a:lnTo>
                          <a:pt x="3817" y="1243"/>
                        </a:lnTo>
                        <a:lnTo>
                          <a:pt x="3817" y="1266"/>
                        </a:lnTo>
                        <a:lnTo>
                          <a:pt x="3817" y="1250"/>
                        </a:lnTo>
                        <a:lnTo>
                          <a:pt x="3779" y="1172"/>
                        </a:lnTo>
                        <a:lnTo>
                          <a:pt x="3800" y="1165"/>
                        </a:lnTo>
                        <a:lnTo>
                          <a:pt x="3789" y="1155"/>
                        </a:lnTo>
                        <a:lnTo>
                          <a:pt x="3789" y="1139"/>
                        </a:lnTo>
                        <a:lnTo>
                          <a:pt x="3810" y="1155"/>
                        </a:lnTo>
                        <a:lnTo>
                          <a:pt x="3810" y="1172"/>
                        </a:lnTo>
                        <a:lnTo>
                          <a:pt x="3817" y="1222"/>
                        </a:lnTo>
                        <a:lnTo>
                          <a:pt x="3810" y="1226"/>
                        </a:lnTo>
                        <a:lnTo>
                          <a:pt x="3810" y="1226"/>
                        </a:lnTo>
                        <a:lnTo>
                          <a:pt x="3810" y="1226"/>
                        </a:lnTo>
                        <a:close/>
                        <a:moveTo>
                          <a:pt x="3741" y="1139"/>
                        </a:moveTo>
                        <a:lnTo>
                          <a:pt x="3746" y="1139"/>
                        </a:lnTo>
                        <a:lnTo>
                          <a:pt x="3725" y="1139"/>
                        </a:lnTo>
                        <a:lnTo>
                          <a:pt x="3741" y="1139"/>
                        </a:lnTo>
                        <a:lnTo>
                          <a:pt x="3741" y="1139"/>
                        </a:lnTo>
                        <a:lnTo>
                          <a:pt x="3741" y="1139"/>
                        </a:lnTo>
                        <a:close/>
                        <a:moveTo>
                          <a:pt x="3633" y="1165"/>
                        </a:moveTo>
                        <a:lnTo>
                          <a:pt x="3611" y="1155"/>
                        </a:lnTo>
                        <a:lnTo>
                          <a:pt x="3649" y="1155"/>
                        </a:lnTo>
                        <a:lnTo>
                          <a:pt x="3633" y="1165"/>
                        </a:lnTo>
                        <a:lnTo>
                          <a:pt x="3633" y="1165"/>
                        </a:lnTo>
                        <a:lnTo>
                          <a:pt x="3633" y="1165"/>
                        </a:lnTo>
                        <a:close/>
                        <a:moveTo>
                          <a:pt x="236" y="1155"/>
                        </a:moveTo>
                        <a:lnTo>
                          <a:pt x="252" y="1165"/>
                        </a:lnTo>
                        <a:lnTo>
                          <a:pt x="205" y="1165"/>
                        </a:lnTo>
                        <a:lnTo>
                          <a:pt x="236" y="1155"/>
                        </a:lnTo>
                        <a:lnTo>
                          <a:pt x="236" y="1155"/>
                        </a:lnTo>
                        <a:lnTo>
                          <a:pt x="236" y="1155"/>
                        </a:lnTo>
                        <a:close/>
                        <a:moveTo>
                          <a:pt x="3670" y="1172"/>
                        </a:moveTo>
                        <a:lnTo>
                          <a:pt x="3666" y="1189"/>
                        </a:lnTo>
                        <a:lnTo>
                          <a:pt x="3637" y="1184"/>
                        </a:lnTo>
                        <a:lnTo>
                          <a:pt x="3670" y="1172"/>
                        </a:lnTo>
                        <a:lnTo>
                          <a:pt x="3670" y="1172"/>
                        </a:lnTo>
                        <a:lnTo>
                          <a:pt x="3670" y="1172"/>
                        </a:lnTo>
                        <a:close/>
                        <a:moveTo>
                          <a:pt x="215" y="1184"/>
                        </a:moveTo>
                        <a:lnTo>
                          <a:pt x="219" y="1189"/>
                        </a:lnTo>
                        <a:lnTo>
                          <a:pt x="198" y="1184"/>
                        </a:lnTo>
                        <a:lnTo>
                          <a:pt x="215" y="1184"/>
                        </a:lnTo>
                        <a:lnTo>
                          <a:pt x="215" y="1184"/>
                        </a:lnTo>
                        <a:lnTo>
                          <a:pt x="215" y="1184"/>
                        </a:lnTo>
                        <a:close/>
                        <a:moveTo>
                          <a:pt x="3708" y="1193"/>
                        </a:moveTo>
                        <a:lnTo>
                          <a:pt x="3692" y="1210"/>
                        </a:lnTo>
                        <a:lnTo>
                          <a:pt x="3670" y="1193"/>
                        </a:lnTo>
                        <a:lnTo>
                          <a:pt x="3708" y="1193"/>
                        </a:lnTo>
                        <a:lnTo>
                          <a:pt x="3708" y="1193"/>
                        </a:lnTo>
                        <a:lnTo>
                          <a:pt x="3708" y="1193"/>
                        </a:lnTo>
                        <a:close/>
                        <a:moveTo>
                          <a:pt x="630" y="1226"/>
                        </a:moveTo>
                        <a:lnTo>
                          <a:pt x="630" y="1243"/>
                        </a:lnTo>
                        <a:lnTo>
                          <a:pt x="626" y="1238"/>
                        </a:lnTo>
                        <a:lnTo>
                          <a:pt x="630" y="1226"/>
                        </a:lnTo>
                        <a:lnTo>
                          <a:pt x="630" y="1226"/>
                        </a:lnTo>
                        <a:lnTo>
                          <a:pt x="630" y="1226"/>
                        </a:lnTo>
                        <a:close/>
                        <a:moveTo>
                          <a:pt x="559" y="1238"/>
                        </a:moveTo>
                        <a:lnTo>
                          <a:pt x="559" y="1243"/>
                        </a:lnTo>
                        <a:lnTo>
                          <a:pt x="545" y="1243"/>
                        </a:lnTo>
                        <a:lnTo>
                          <a:pt x="559" y="1238"/>
                        </a:lnTo>
                        <a:lnTo>
                          <a:pt x="559" y="1238"/>
                        </a:lnTo>
                        <a:lnTo>
                          <a:pt x="559" y="1238"/>
                        </a:lnTo>
                        <a:close/>
                        <a:moveTo>
                          <a:pt x="3864" y="1337"/>
                        </a:moveTo>
                        <a:lnTo>
                          <a:pt x="3871" y="1354"/>
                        </a:lnTo>
                        <a:lnTo>
                          <a:pt x="3843" y="1361"/>
                        </a:lnTo>
                        <a:lnTo>
                          <a:pt x="3881" y="1387"/>
                        </a:lnTo>
                        <a:lnTo>
                          <a:pt x="3909" y="1377"/>
                        </a:lnTo>
                        <a:lnTo>
                          <a:pt x="3902" y="1394"/>
                        </a:lnTo>
                        <a:lnTo>
                          <a:pt x="3885" y="1406"/>
                        </a:lnTo>
                        <a:lnTo>
                          <a:pt x="3885" y="1394"/>
                        </a:lnTo>
                        <a:lnTo>
                          <a:pt x="3871" y="1394"/>
                        </a:lnTo>
                        <a:lnTo>
                          <a:pt x="3796" y="1394"/>
                        </a:lnTo>
                        <a:lnTo>
                          <a:pt x="3800" y="1349"/>
                        </a:lnTo>
                        <a:lnTo>
                          <a:pt x="3817" y="1337"/>
                        </a:lnTo>
                        <a:lnTo>
                          <a:pt x="3843" y="1354"/>
                        </a:lnTo>
                        <a:lnTo>
                          <a:pt x="3848" y="1333"/>
                        </a:lnTo>
                        <a:lnTo>
                          <a:pt x="3864" y="1337"/>
                        </a:lnTo>
                        <a:lnTo>
                          <a:pt x="3864" y="1337"/>
                        </a:lnTo>
                        <a:lnTo>
                          <a:pt x="3864" y="1337"/>
                        </a:lnTo>
                        <a:close/>
                        <a:moveTo>
                          <a:pt x="3704" y="1387"/>
                        </a:moveTo>
                        <a:lnTo>
                          <a:pt x="3725" y="1394"/>
                        </a:lnTo>
                        <a:lnTo>
                          <a:pt x="3708" y="1411"/>
                        </a:lnTo>
                        <a:lnTo>
                          <a:pt x="3741" y="1415"/>
                        </a:lnTo>
                        <a:lnTo>
                          <a:pt x="3708" y="1444"/>
                        </a:lnTo>
                        <a:lnTo>
                          <a:pt x="3670" y="1427"/>
                        </a:lnTo>
                        <a:lnTo>
                          <a:pt x="3682" y="1411"/>
                        </a:lnTo>
                        <a:lnTo>
                          <a:pt x="3682" y="1394"/>
                        </a:lnTo>
                        <a:lnTo>
                          <a:pt x="3704" y="1387"/>
                        </a:lnTo>
                        <a:lnTo>
                          <a:pt x="3704" y="1387"/>
                        </a:lnTo>
                        <a:lnTo>
                          <a:pt x="3704" y="1387"/>
                        </a:lnTo>
                        <a:close/>
                        <a:moveTo>
                          <a:pt x="1084" y="1432"/>
                        </a:moveTo>
                        <a:lnTo>
                          <a:pt x="1096" y="1432"/>
                        </a:lnTo>
                        <a:lnTo>
                          <a:pt x="1074" y="1432"/>
                        </a:lnTo>
                        <a:lnTo>
                          <a:pt x="1084" y="1432"/>
                        </a:lnTo>
                        <a:lnTo>
                          <a:pt x="1084" y="1432"/>
                        </a:lnTo>
                        <a:lnTo>
                          <a:pt x="1084" y="1432"/>
                        </a:lnTo>
                        <a:close/>
                        <a:moveTo>
                          <a:pt x="3833" y="1444"/>
                        </a:moveTo>
                        <a:lnTo>
                          <a:pt x="3833" y="1448"/>
                        </a:lnTo>
                        <a:lnTo>
                          <a:pt x="3826" y="1448"/>
                        </a:lnTo>
                        <a:lnTo>
                          <a:pt x="3817" y="1432"/>
                        </a:lnTo>
                        <a:lnTo>
                          <a:pt x="3833" y="1444"/>
                        </a:lnTo>
                        <a:lnTo>
                          <a:pt x="3833" y="1444"/>
                        </a:lnTo>
                        <a:lnTo>
                          <a:pt x="3833" y="1444"/>
                        </a:lnTo>
                        <a:close/>
                        <a:moveTo>
                          <a:pt x="3810" y="1448"/>
                        </a:moveTo>
                        <a:lnTo>
                          <a:pt x="3800" y="1460"/>
                        </a:lnTo>
                        <a:lnTo>
                          <a:pt x="3772" y="1460"/>
                        </a:lnTo>
                        <a:lnTo>
                          <a:pt x="3800" y="1444"/>
                        </a:lnTo>
                        <a:lnTo>
                          <a:pt x="3810" y="1448"/>
                        </a:lnTo>
                        <a:lnTo>
                          <a:pt x="3810" y="1448"/>
                        </a:lnTo>
                        <a:lnTo>
                          <a:pt x="3810" y="1448"/>
                        </a:lnTo>
                        <a:close/>
                        <a:moveTo>
                          <a:pt x="1117" y="1448"/>
                        </a:moveTo>
                        <a:lnTo>
                          <a:pt x="1100" y="1460"/>
                        </a:lnTo>
                        <a:lnTo>
                          <a:pt x="1117" y="1448"/>
                        </a:lnTo>
                        <a:lnTo>
                          <a:pt x="1117" y="1448"/>
                        </a:lnTo>
                        <a:lnTo>
                          <a:pt x="1117" y="1448"/>
                        </a:lnTo>
                        <a:close/>
                        <a:moveTo>
                          <a:pt x="1126" y="1448"/>
                        </a:moveTo>
                        <a:lnTo>
                          <a:pt x="1133" y="1460"/>
                        </a:lnTo>
                        <a:lnTo>
                          <a:pt x="1117" y="1460"/>
                        </a:lnTo>
                        <a:lnTo>
                          <a:pt x="1126" y="1448"/>
                        </a:lnTo>
                        <a:lnTo>
                          <a:pt x="1126" y="1448"/>
                        </a:lnTo>
                        <a:lnTo>
                          <a:pt x="1126" y="1448"/>
                        </a:lnTo>
                        <a:close/>
                        <a:moveTo>
                          <a:pt x="1100" y="1465"/>
                        </a:moveTo>
                        <a:lnTo>
                          <a:pt x="1164" y="1465"/>
                        </a:lnTo>
                        <a:lnTo>
                          <a:pt x="1084" y="1465"/>
                        </a:lnTo>
                        <a:lnTo>
                          <a:pt x="1100" y="1465"/>
                        </a:lnTo>
                        <a:lnTo>
                          <a:pt x="1100" y="1465"/>
                        </a:lnTo>
                        <a:lnTo>
                          <a:pt x="1100" y="1465"/>
                        </a:lnTo>
                        <a:close/>
                        <a:moveTo>
                          <a:pt x="3649" y="1472"/>
                        </a:moveTo>
                        <a:lnTo>
                          <a:pt x="3682" y="1481"/>
                        </a:lnTo>
                        <a:lnTo>
                          <a:pt x="3687" y="1498"/>
                        </a:lnTo>
                        <a:lnTo>
                          <a:pt x="3708" y="1514"/>
                        </a:lnTo>
                        <a:lnTo>
                          <a:pt x="3633" y="1526"/>
                        </a:lnTo>
                        <a:lnTo>
                          <a:pt x="3578" y="1505"/>
                        </a:lnTo>
                        <a:lnTo>
                          <a:pt x="3611" y="1481"/>
                        </a:lnTo>
                        <a:lnTo>
                          <a:pt x="3649" y="1472"/>
                        </a:lnTo>
                        <a:lnTo>
                          <a:pt x="3649" y="1472"/>
                        </a:lnTo>
                        <a:lnTo>
                          <a:pt x="3649" y="1472"/>
                        </a:lnTo>
                        <a:close/>
                        <a:moveTo>
                          <a:pt x="3708" y="1543"/>
                        </a:moveTo>
                        <a:lnTo>
                          <a:pt x="3720" y="1555"/>
                        </a:lnTo>
                        <a:lnTo>
                          <a:pt x="3704" y="1555"/>
                        </a:lnTo>
                        <a:lnTo>
                          <a:pt x="3708" y="1543"/>
                        </a:lnTo>
                        <a:lnTo>
                          <a:pt x="3708" y="1543"/>
                        </a:lnTo>
                        <a:lnTo>
                          <a:pt x="3708" y="1543"/>
                        </a:lnTo>
                        <a:close/>
                        <a:moveTo>
                          <a:pt x="1171" y="1571"/>
                        </a:moveTo>
                        <a:lnTo>
                          <a:pt x="1138" y="1555"/>
                        </a:lnTo>
                        <a:lnTo>
                          <a:pt x="1193" y="1559"/>
                        </a:lnTo>
                        <a:lnTo>
                          <a:pt x="1171" y="1571"/>
                        </a:lnTo>
                        <a:lnTo>
                          <a:pt x="1171" y="1571"/>
                        </a:lnTo>
                        <a:lnTo>
                          <a:pt x="1171" y="1571"/>
                        </a:lnTo>
                        <a:close/>
                        <a:moveTo>
                          <a:pt x="1155" y="1583"/>
                        </a:moveTo>
                        <a:lnTo>
                          <a:pt x="1171" y="1583"/>
                        </a:lnTo>
                        <a:lnTo>
                          <a:pt x="1126" y="1583"/>
                        </a:lnTo>
                        <a:lnTo>
                          <a:pt x="1155" y="1583"/>
                        </a:lnTo>
                        <a:lnTo>
                          <a:pt x="1155" y="1583"/>
                        </a:lnTo>
                        <a:lnTo>
                          <a:pt x="1155" y="1583"/>
                        </a:lnTo>
                        <a:close/>
                        <a:moveTo>
                          <a:pt x="1164" y="1600"/>
                        </a:moveTo>
                        <a:lnTo>
                          <a:pt x="1155" y="1600"/>
                        </a:lnTo>
                        <a:lnTo>
                          <a:pt x="1171" y="1583"/>
                        </a:lnTo>
                        <a:lnTo>
                          <a:pt x="1181" y="1592"/>
                        </a:lnTo>
                        <a:lnTo>
                          <a:pt x="1164" y="1600"/>
                        </a:lnTo>
                        <a:lnTo>
                          <a:pt x="1164" y="1600"/>
                        </a:lnTo>
                        <a:lnTo>
                          <a:pt x="1164" y="1600"/>
                        </a:lnTo>
                        <a:close/>
                        <a:moveTo>
                          <a:pt x="1193" y="1600"/>
                        </a:moveTo>
                        <a:lnTo>
                          <a:pt x="1235" y="1616"/>
                        </a:lnTo>
                        <a:lnTo>
                          <a:pt x="1209" y="1626"/>
                        </a:lnTo>
                        <a:lnTo>
                          <a:pt x="1219" y="1609"/>
                        </a:lnTo>
                        <a:lnTo>
                          <a:pt x="1188" y="1600"/>
                        </a:lnTo>
                        <a:lnTo>
                          <a:pt x="1193" y="1600"/>
                        </a:lnTo>
                        <a:lnTo>
                          <a:pt x="1193" y="1600"/>
                        </a:lnTo>
                        <a:lnTo>
                          <a:pt x="1193" y="1600"/>
                        </a:lnTo>
                        <a:close/>
                        <a:moveTo>
                          <a:pt x="1193" y="1609"/>
                        </a:moveTo>
                        <a:lnTo>
                          <a:pt x="1209" y="1616"/>
                        </a:lnTo>
                        <a:lnTo>
                          <a:pt x="1188" y="1616"/>
                        </a:lnTo>
                        <a:lnTo>
                          <a:pt x="1193" y="1609"/>
                        </a:lnTo>
                        <a:lnTo>
                          <a:pt x="1193" y="1609"/>
                        </a:lnTo>
                        <a:lnTo>
                          <a:pt x="1193" y="1609"/>
                        </a:lnTo>
                        <a:close/>
                        <a:moveTo>
                          <a:pt x="3406" y="1616"/>
                        </a:moveTo>
                        <a:lnTo>
                          <a:pt x="3493" y="1649"/>
                        </a:lnTo>
                        <a:lnTo>
                          <a:pt x="3368" y="1633"/>
                        </a:lnTo>
                        <a:lnTo>
                          <a:pt x="3507" y="1654"/>
                        </a:lnTo>
                        <a:lnTo>
                          <a:pt x="3406" y="1670"/>
                        </a:lnTo>
                        <a:lnTo>
                          <a:pt x="3314" y="1649"/>
                        </a:lnTo>
                        <a:lnTo>
                          <a:pt x="3352" y="1626"/>
                        </a:lnTo>
                        <a:lnTo>
                          <a:pt x="3406" y="1616"/>
                        </a:lnTo>
                        <a:lnTo>
                          <a:pt x="3406" y="1616"/>
                        </a:lnTo>
                        <a:lnTo>
                          <a:pt x="3406" y="1616"/>
                        </a:lnTo>
                        <a:close/>
                        <a:moveTo>
                          <a:pt x="1193" y="1626"/>
                        </a:moveTo>
                        <a:lnTo>
                          <a:pt x="1202" y="1626"/>
                        </a:lnTo>
                        <a:lnTo>
                          <a:pt x="1188" y="1633"/>
                        </a:lnTo>
                        <a:lnTo>
                          <a:pt x="1193" y="1626"/>
                        </a:lnTo>
                        <a:lnTo>
                          <a:pt x="1193" y="1626"/>
                        </a:lnTo>
                        <a:lnTo>
                          <a:pt x="1193" y="1626"/>
                        </a:lnTo>
                        <a:close/>
                        <a:moveTo>
                          <a:pt x="1209" y="1626"/>
                        </a:moveTo>
                        <a:lnTo>
                          <a:pt x="1219" y="1633"/>
                        </a:lnTo>
                        <a:lnTo>
                          <a:pt x="1202" y="1633"/>
                        </a:lnTo>
                        <a:lnTo>
                          <a:pt x="1209" y="1626"/>
                        </a:lnTo>
                        <a:lnTo>
                          <a:pt x="1209" y="1626"/>
                        </a:lnTo>
                        <a:lnTo>
                          <a:pt x="1209" y="1626"/>
                        </a:lnTo>
                        <a:close/>
                        <a:moveTo>
                          <a:pt x="1202" y="1637"/>
                        </a:moveTo>
                        <a:lnTo>
                          <a:pt x="1188" y="1666"/>
                        </a:lnTo>
                        <a:lnTo>
                          <a:pt x="1193" y="1649"/>
                        </a:lnTo>
                        <a:lnTo>
                          <a:pt x="1202" y="1637"/>
                        </a:lnTo>
                        <a:lnTo>
                          <a:pt x="1202" y="1637"/>
                        </a:lnTo>
                        <a:lnTo>
                          <a:pt x="1202" y="1637"/>
                        </a:lnTo>
                        <a:close/>
                        <a:moveTo>
                          <a:pt x="1181" y="1649"/>
                        </a:moveTo>
                        <a:lnTo>
                          <a:pt x="1181" y="1654"/>
                        </a:lnTo>
                        <a:lnTo>
                          <a:pt x="1171" y="1654"/>
                        </a:lnTo>
                        <a:lnTo>
                          <a:pt x="1181" y="1649"/>
                        </a:lnTo>
                        <a:lnTo>
                          <a:pt x="1181" y="1649"/>
                        </a:lnTo>
                        <a:lnTo>
                          <a:pt x="1181" y="1649"/>
                        </a:lnTo>
                        <a:close/>
                        <a:moveTo>
                          <a:pt x="3583" y="1720"/>
                        </a:moveTo>
                        <a:lnTo>
                          <a:pt x="3541" y="1720"/>
                        </a:lnTo>
                        <a:lnTo>
                          <a:pt x="3503" y="1694"/>
                        </a:lnTo>
                        <a:lnTo>
                          <a:pt x="3401" y="1687"/>
                        </a:lnTo>
                        <a:lnTo>
                          <a:pt x="3394" y="1682"/>
                        </a:lnTo>
                        <a:lnTo>
                          <a:pt x="3493" y="1670"/>
                        </a:lnTo>
                        <a:lnTo>
                          <a:pt x="3545" y="1682"/>
                        </a:lnTo>
                        <a:lnTo>
                          <a:pt x="3583" y="1687"/>
                        </a:lnTo>
                        <a:lnTo>
                          <a:pt x="3562" y="1703"/>
                        </a:lnTo>
                        <a:lnTo>
                          <a:pt x="3578" y="1711"/>
                        </a:lnTo>
                        <a:lnTo>
                          <a:pt x="3583" y="1720"/>
                        </a:lnTo>
                        <a:lnTo>
                          <a:pt x="3583" y="1720"/>
                        </a:lnTo>
                        <a:lnTo>
                          <a:pt x="3583" y="1720"/>
                        </a:lnTo>
                        <a:close/>
                        <a:moveTo>
                          <a:pt x="1209" y="1670"/>
                        </a:moveTo>
                        <a:lnTo>
                          <a:pt x="1219" y="1670"/>
                        </a:lnTo>
                        <a:lnTo>
                          <a:pt x="1202" y="1670"/>
                        </a:lnTo>
                        <a:lnTo>
                          <a:pt x="1209" y="1670"/>
                        </a:lnTo>
                        <a:lnTo>
                          <a:pt x="1209" y="1670"/>
                        </a:lnTo>
                        <a:lnTo>
                          <a:pt x="1209" y="1670"/>
                        </a:lnTo>
                        <a:close/>
                        <a:moveTo>
                          <a:pt x="1240" y="1687"/>
                        </a:moveTo>
                        <a:lnTo>
                          <a:pt x="1219" y="1682"/>
                        </a:lnTo>
                        <a:lnTo>
                          <a:pt x="1226" y="1670"/>
                        </a:lnTo>
                        <a:lnTo>
                          <a:pt x="1256" y="1682"/>
                        </a:lnTo>
                        <a:lnTo>
                          <a:pt x="1240" y="1687"/>
                        </a:lnTo>
                        <a:lnTo>
                          <a:pt x="1240" y="1687"/>
                        </a:lnTo>
                        <a:lnTo>
                          <a:pt x="1240" y="1687"/>
                        </a:lnTo>
                        <a:close/>
                        <a:moveTo>
                          <a:pt x="3385" y="1687"/>
                        </a:moveTo>
                        <a:lnTo>
                          <a:pt x="3380" y="1711"/>
                        </a:lnTo>
                        <a:lnTo>
                          <a:pt x="3352" y="1703"/>
                        </a:lnTo>
                        <a:lnTo>
                          <a:pt x="3385" y="1687"/>
                        </a:lnTo>
                        <a:lnTo>
                          <a:pt x="3385" y="1687"/>
                        </a:lnTo>
                        <a:lnTo>
                          <a:pt x="3385" y="1687"/>
                        </a:lnTo>
                        <a:close/>
                        <a:moveTo>
                          <a:pt x="1226" y="1694"/>
                        </a:moveTo>
                        <a:lnTo>
                          <a:pt x="1240" y="1694"/>
                        </a:lnTo>
                        <a:lnTo>
                          <a:pt x="1226" y="1703"/>
                        </a:lnTo>
                        <a:lnTo>
                          <a:pt x="1226" y="1694"/>
                        </a:lnTo>
                        <a:lnTo>
                          <a:pt x="1226" y="1694"/>
                        </a:lnTo>
                        <a:lnTo>
                          <a:pt x="1226" y="1694"/>
                        </a:lnTo>
                        <a:close/>
                        <a:moveTo>
                          <a:pt x="3557" y="1798"/>
                        </a:moveTo>
                        <a:lnTo>
                          <a:pt x="3439" y="1748"/>
                        </a:lnTo>
                        <a:lnTo>
                          <a:pt x="3406" y="1737"/>
                        </a:lnTo>
                        <a:lnTo>
                          <a:pt x="3401" y="1703"/>
                        </a:lnTo>
                        <a:lnTo>
                          <a:pt x="3503" y="1694"/>
                        </a:lnTo>
                        <a:lnTo>
                          <a:pt x="3531" y="1727"/>
                        </a:lnTo>
                        <a:lnTo>
                          <a:pt x="3583" y="1748"/>
                        </a:lnTo>
                        <a:lnTo>
                          <a:pt x="3578" y="1760"/>
                        </a:lnTo>
                        <a:lnTo>
                          <a:pt x="3524" y="1748"/>
                        </a:lnTo>
                        <a:lnTo>
                          <a:pt x="3574" y="1777"/>
                        </a:lnTo>
                        <a:lnTo>
                          <a:pt x="3574" y="1793"/>
                        </a:lnTo>
                        <a:lnTo>
                          <a:pt x="3557" y="1798"/>
                        </a:lnTo>
                        <a:lnTo>
                          <a:pt x="3557" y="1798"/>
                        </a:lnTo>
                        <a:lnTo>
                          <a:pt x="3557" y="1798"/>
                        </a:lnTo>
                        <a:close/>
                        <a:moveTo>
                          <a:pt x="1247" y="1694"/>
                        </a:moveTo>
                        <a:lnTo>
                          <a:pt x="1263" y="1703"/>
                        </a:lnTo>
                        <a:lnTo>
                          <a:pt x="1226" y="1737"/>
                        </a:lnTo>
                        <a:lnTo>
                          <a:pt x="1235" y="1727"/>
                        </a:lnTo>
                        <a:lnTo>
                          <a:pt x="1202" y="1727"/>
                        </a:lnTo>
                        <a:lnTo>
                          <a:pt x="1219" y="1711"/>
                        </a:lnTo>
                        <a:lnTo>
                          <a:pt x="1247" y="1694"/>
                        </a:lnTo>
                        <a:lnTo>
                          <a:pt x="1247" y="1694"/>
                        </a:lnTo>
                        <a:lnTo>
                          <a:pt x="1247" y="1694"/>
                        </a:lnTo>
                        <a:close/>
                        <a:moveTo>
                          <a:pt x="1202" y="1703"/>
                        </a:moveTo>
                        <a:lnTo>
                          <a:pt x="1209" y="1703"/>
                        </a:lnTo>
                        <a:lnTo>
                          <a:pt x="1193" y="1703"/>
                        </a:lnTo>
                        <a:lnTo>
                          <a:pt x="1202" y="1703"/>
                        </a:lnTo>
                        <a:lnTo>
                          <a:pt x="1202" y="1703"/>
                        </a:lnTo>
                        <a:lnTo>
                          <a:pt x="1202" y="1703"/>
                        </a:lnTo>
                        <a:close/>
                        <a:moveTo>
                          <a:pt x="1219" y="1711"/>
                        </a:moveTo>
                        <a:lnTo>
                          <a:pt x="1193" y="1727"/>
                        </a:lnTo>
                        <a:lnTo>
                          <a:pt x="1181" y="1720"/>
                        </a:lnTo>
                        <a:lnTo>
                          <a:pt x="1219" y="1711"/>
                        </a:lnTo>
                        <a:lnTo>
                          <a:pt x="1219" y="1711"/>
                        </a:lnTo>
                        <a:lnTo>
                          <a:pt x="1219" y="1711"/>
                        </a:lnTo>
                        <a:close/>
                        <a:moveTo>
                          <a:pt x="1263" y="1711"/>
                        </a:moveTo>
                        <a:lnTo>
                          <a:pt x="1278" y="1720"/>
                        </a:lnTo>
                        <a:lnTo>
                          <a:pt x="1256" y="1720"/>
                        </a:lnTo>
                        <a:lnTo>
                          <a:pt x="1263" y="1711"/>
                        </a:lnTo>
                        <a:lnTo>
                          <a:pt x="1263" y="1711"/>
                        </a:lnTo>
                        <a:lnTo>
                          <a:pt x="1263" y="1711"/>
                        </a:lnTo>
                        <a:close/>
                        <a:moveTo>
                          <a:pt x="1263" y="1720"/>
                        </a:moveTo>
                        <a:lnTo>
                          <a:pt x="1263" y="1727"/>
                        </a:lnTo>
                        <a:lnTo>
                          <a:pt x="1247" y="1737"/>
                        </a:lnTo>
                        <a:lnTo>
                          <a:pt x="1247" y="1720"/>
                        </a:lnTo>
                        <a:lnTo>
                          <a:pt x="1263" y="1720"/>
                        </a:lnTo>
                        <a:lnTo>
                          <a:pt x="1263" y="1720"/>
                        </a:lnTo>
                        <a:lnTo>
                          <a:pt x="1263" y="1720"/>
                        </a:lnTo>
                        <a:close/>
                        <a:moveTo>
                          <a:pt x="1202" y="1737"/>
                        </a:moveTo>
                        <a:lnTo>
                          <a:pt x="1193" y="1737"/>
                        </a:lnTo>
                        <a:lnTo>
                          <a:pt x="1219" y="1737"/>
                        </a:lnTo>
                        <a:lnTo>
                          <a:pt x="1202" y="1737"/>
                        </a:lnTo>
                        <a:lnTo>
                          <a:pt x="1202" y="1737"/>
                        </a:lnTo>
                        <a:lnTo>
                          <a:pt x="1202" y="1737"/>
                        </a:lnTo>
                        <a:close/>
                        <a:moveTo>
                          <a:pt x="1263" y="1760"/>
                        </a:moveTo>
                        <a:lnTo>
                          <a:pt x="1263" y="1777"/>
                        </a:lnTo>
                        <a:lnTo>
                          <a:pt x="1240" y="1793"/>
                        </a:lnTo>
                        <a:lnTo>
                          <a:pt x="1219" y="1793"/>
                        </a:lnTo>
                        <a:lnTo>
                          <a:pt x="1263" y="1760"/>
                        </a:lnTo>
                        <a:lnTo>
                          <a:pt x="1263" y="1760"/>
                        </a:lnTo>
                        <a:lnTo>
                          <a:pt x="1263" y="1760"/>
                        </a:lnTo>
                        <a:close/>
                        <a:moveTo>
                          <a:pt x="1226" y="1822"/>
                        </a:moveTo>
                        <a:lnTo>
                          <a:pt x="1235" y="1831"/>
                        </a:lnTo>
                        <a:lnTo>
                          <a:pt x="1226" y="1838"/>
                        </a:lnTo>
                        <a:lnTo>
                          <a:pt x="1209" y="1831"/>
                        </a:lnTo>
                        <a:lnTo>
                          <a:pt x="1226" y="1822"/>
                        </a:lnTo>
                        <a:lnTo>
                          <a:pt x="1226" y="1822"/>
                        </a:lnTo>
                        <a:lnTo>
                          <a:pt x="1226" y="1822"/>
                        </a:lnTo>
                        <a:close/>
                        <a:moveTo>
                          <a:pt x="1386" y="1876"/>
                        </a:moveTo>
                        <a:lnTo>
                          <a:pt x="1370" y="1871"/>
                        </a:lnTo>
                        <a:lnTo>
                          <a:pt x="1370" y="1864"/>
                        </a:lnTo>
                        <a:lnTo>
                          <a:pt x="1419" y="1864"/>
                        </a:lnTo>
                        <a:lnTo>
                          <a:pt x="1386" y="1876"/>
                        </a:lnTo>
                        <a:lnTo>
                          <a:pt x="1386" y="1876"/>
                        </a:lnTo>
                        <a:lnTo>
                          <a:pt x="1386" y="1876"/>
                        </a:lnTo>
                        <a:close/>
                        <a:moveTo>
                          <a:pt x="1398" y="1904"/>
                        </a:moveTo>
                        <a:lnTo>
                          <a:pt x="1441" y="1904"/>
                        </a:lnTo>
                        <a:lnTo>
                          <a:pt x="1452" y="1909"/>
                        </a:lnTo>
                        <a:lnTo>
                          <a:pt x="1408" y="1926"/>
                        </a:lnTo>
                        <a:lnTo>
                          <a:pt x="1398" y="1921"/>
                        </a:lnTo>
                        <a:lnTo>
                          <a:pt x="1398" y="1904"/>
                        </a:lnTo>
                        <a:lnTo>
                          <a:pt x="1398" y="1904"/>
                        </a:lnTo>
                        <a:lnTo>
                          <a:pt x="1398" y="1904"/>
                        </a:lnTo>
                        <a:close/>
                        <a:moveTo>
                          <a:pt x="1365" y="1909"/>
                        </a:moveTo>
                        <a:lnTo>
                          <a:pt x="1382" y="1926"/>
                        </a:lnTo>
                        <a:lnTo>
                          <a:pt x="1370" y="1942"/>
                        </a:lnTo>
                        <a:lnTo>
                          <a:pt x="1353" y="1942"/>
                        </a:lnTo>
                        <a:lnTo>
                          <a:pt x="1332" y="1933"/>
                        </a:lnTo>
                        <a:lnTo>
                          <a:pt x="1365" y="1909"/>
                        </a:lnTo>
                        <a:lnTo>
                          <a:pt x="1365" y="1909"/>
                        </a:lnTo>
                        <a:lnTo>
                          <a:pt x="1365" y="1909"/>
                        </a:lnTo>
                        <a:close/>
                        <a:moveTo>
                          <a:pt x="3347" y="1921"/>
                        </a:moveTo>
                        <a:lnTo>
                          <a:pt x="3347" y="1926"/>
                        </a:lnTo>
                        <a:lnTo>
                          <a:pt x="3330" y="1926"/>
                        </a:lnTo>
                        <a:lnTo>
                          <a:pt x="3347" y="1921"/>
                        </a:lnTo>
                        <a:lnTo>
                          <a:pt x="3347" y="1921"/>
                        </a:lnTo>
                        <a:lnTo>
                          <a:pt x="3347" y="1921"/>
                        </a:lnTo>
                        <a:close/>
                        <a:moveTo>
                          <a:pt x="3342" y="1933"/>
                        </a:moveTo>
                        <a:lnTo>
                          <a:pt x="3347" y="1942"/>
                        </a:lnTo>
                        <a:lnTo>
                          <a:pt x="3326" y="1933"/>
                        </a:lnTo>
                        <a:lnTo>
                          <a:pt x="3342" y="1933"/>
                        </a:lnTo>
                        <a:lnTo>
                          <a:pt x="3342" y="1933"/>
                        </a:lnTo>
                        <a:lnTo>
                          <a:pt x="3342" y="1933"/>
                        </a:lnTo>
                        <a:close/>
                        <a:moveTo>
                          <a:pt x="3288" y="2003"/>
                        </a:moveTo>
                        <a:lnTo>
                          <a:pt x="3146" y="2020"/>
                        </a:lnTo>
                        <a:lnTo>
                          <a:pt x="3153" y="1999"/>
                        </a:lnTo>
                        <a:lnTo>
                          <a:pt x="3179" y="1987"/>
                        </a:lnTo>
                        <a:lnTo>
                          <a:pt x="3217" y="1966"/>
                        </a:lnTo>
                        <a:lnTo>
                          <a:pt x="3276" y="1959"/>
                        </a:lnTo>
                        <a:lnTo>
                          <a:pt x="3314" y="1933"/>
                        </a:lnTo>
                        <a:lnTo>
                          <a:pt x="3314" y="1949"/>
                        </a:lnTo>
                        <a:lnTo>
                          <a:pt x="3342" y="1959"/>
                        </a:lnTo>
                        <a:lnTo>
                          <a:pt x="3347" y="1987"/>
                        </a:lnTo>
                        <a:lnTo>
                          <a:pt x="3288" y="2003"/>
                        </a:lnTo>
                        <a:lnTo>
                          <a:pt x="3288" y="2003"/>
                        </a:lnTo>
                        <a:lnTo>
                          <a:pt x="3288" y="2003"/>
                        </a:lnTo>
                        <a:close/>
                        <a:moveTo>
                          <a:pt x="1478" y="1949"/>
                        </a:moveTo>
                        <a:lnTo>
                          <a:pt x="1504" y="1966"/>
                        </a:lnTo>
                        <a:lnTo>
                          <a:pt x="1462" y="1959"/>
                        </a:lnTo>
                        <a:lnTo>
                          <a:pt x="1478" y="1949"/>
                        </a:lnTo>
                        <a:lnTo>
                          <a:pt x="1478" y="1949"/>
                        </a:lnTo>
                        <a:lnTo>
                          <a:pt x="1478" y="1949"/>
                        </a:lnTo>
                        <a:close/>
                        <a:moveTo>
                          <a:pt x="3205" y="1966"/>
                        </a:moveTo>
                        <a:lnTo>
                          <a:pt x="3179" y="1982"/>
                        </a:lnTo>
                        <a:lnTo>
                          <a:pt x="3179" y="1966"/>
                        </a:lnTo>
                        <a:lnTo>
                          <a:pt x="3205" y="1966"/>
                        </a:lnTo>
                        <a:lnTo>
                          <a:pt x="3205" y="1966"/>
                        </a:lnTo>
                        <a:lnTo>
                          <a:pt x="3205" y="1966"/>
                        </a:lnTo>
                        <a:close/>
                        <a:moveTo>
                          <a:pt x="1263" y="2015"/>
                        </a:moveTo>
                        <a:lnTo>
                          <a:pt x="1289" y="2032"/>
                        </a:lnTo>
                        <a:lnTo>
                          <a:pt x="1273" y="2032"/>
                        </a:lnTo>
                        <a:lnTo>
                          <a:pt x="1263" y="2020"/>
                        </a:lnTo>
                        <a:lnTo>
                          <a:pt x="1263" y="2015"/>
                        </a:lnTo>
                        <a:lnTo>
                          <a:pt x="1263" y="2015"/>
                        </a:lnTo>
                        <a:lnTo>
                          <a:pt x="1263" y="2015"/>
                        </a:lnTo>
                        <a:close/>
                        <a:moveTo>
                          <a:pt x="1315" y="2155"/>
                        </a:moveTo>
                        <a:lnTo>
                          <a:pt x="1382" y="2148"/>
                        </a:lnTo>
                        <a:lnTo>
                          <a:pt x="1365" y="2148"/>
                        </a:lnTo>
                        <a:lnTo>
                          <a:pt x="1382" y="2131"/>
                        </a:lnTo>
                        <a:lnTo>
                          <a:pt x="1348" y="2148"/>
                        </a:lnTo>
                        <a:lnTo>
                          <a:pt x="1344" y="2148"/>
                        </a:lnTo>
                        <a:lnTo>
                          <a:pt x="1353" y="2143"/>
                        </a:lnTo>
                        <a:lnTo>
                          <a:pt x="1332" y="2143"/>
                        </a:lnTo>
                        <a:lnTo>
                          <a:pt x="1344" y="2131"/>
                        </a:lnTo>
                        <a:lnTo>
                          <a:pt x="1344" y="2126"/>
                        </a:lnTo>
                        <a:lnTo>
                          <a:pt x="1327" y="2131"/>
                        </a:lnTo>
                        <a:lnTo>
                          <a:pt x="1278" y="2126"/>
                        </a:lnTo>
                        <a:lnTo>
                          <a:pt x="1263" y="2114"/>
                        </a:lnTo>
                        <a:lnTo>
                          <a:pt x="1289" y="2110"/>
                        </a:lnTo>
                        <a:lnTo>
                          <a:pt x="1311" y="2114"/>
                        </a:lnTo>
                        <a:lnTo>
                          <a:pt x="1273" y="2098"/>
                        </a:lnTo>
                        <a:lnTo>
                          <a:pt x="1273" y="2086"/>
                        </a:lnTo>
                        <a:lnTo>
                          <a:pt x="1315" y="2086"/>
                        </a:lnTo>
                        <a:lnTo>
                          <a:pt x="1278" y="2070"/>
                        </a:lnTo>
                        <a:lnTo>
                          <a:pt x="1278" y="2053"/>
                        </a:lnTo>
                        <a:lnTo>
                          <a:pt x="1311" y="2037"/>
                        </a:lnTo>
                        <a:lnTo>
                          <a:pt x="1370" y="2044"/>
                        </a:lnTo>
                        <a:lnTo>
                          <a:pt x="1424" y="2086"/>
                        </a:lnTo>
                        <a:lnTo>
                          <a:pt x="1478" y="2098"/>
                        </a:lnTo>
                        <a:lnTo>
                          <a:pt x="1478" y="2110"/>
                        </a:lnTo>
                        <a:lnTo>
                          <a:pt x="1474" y="2114"/>
                        </a:lnTo>
                        <a:lnTo>
                          <a:pt x="1490" y="2126"/>
                        </a:lnTo>
                        <a:lnTo>
                          <a:pt x="1457" y="2148"/>
                        </a:lnTo>
                        <a:lnTo>
                          <a:pt x="1365" y="2171"/>
                        </a:lnTo>
                        <a:lnTo>
                          <a:pt x="1315" y="2155"/>
                        </a:lnTo>
                        <a:lnTo>
                          <a:pt x="1315" y="2155"/>
                        </a:lnTo>
                        <a:lnTo>
                          <a:pt x="1315" y="2155"/>
                        </a:lnTo>
                        <a:close/>
                        <a:moveTo>
                          <a:pt x="1542" y="2086"/>
                        </a:moveTo>
                        <a:lnTo>
                          <a:pt x="1570" y="2098"/>
                        </a:lnTo>
                        <a:lnTo>
                          <a:pt x="1549" y="2114"/>
                        </a:lnTo>
                        <a:lnTo>
                          <a:pt x="1549" y="2131"/>
                        </a:lnTo>
                        <a:lnTo>
                          <a:pt x="1528" y="2143"/>
                        </a:lnTo>
                        <a:lnTo>
                          <a:pt x="1516" y="2114"/>
                        </a:lnTo>
                        <a:lnTo>
                          <a:pt x="1542" y="2093"/>
                        </a:lnTo>
                        <a:lnTo>
                          <a:pt x="1516" y="2093"/>
                        </a:lnTo>
                        <a:lnTo>
                          <a:pt x="1542" y="2086"/>
                        </a:lnTo>
                        <a:lnTo>
                          <a:pt x="1542" y="2086"/>
                        </a:lnTo>
                        <a:lnTo>
                          <a:pt x="1542" y="2086"/>
                        </a:lnTo>
                        <a:close/>
                        <a:moveTo>
                          <a:pt x="3493" y="2110"/>
                        </a:moveTo>
                        <a:lnTo>
                          <a:pt x="3493" y="2114"/>
                        </a:lnTo>
                        <a:lnTo>
                          <a:pt x="3486" y="2126"/>
                        </a:lnTo>
                        <a:lnTo>
                          <a:pt x="3470" y="2114"/>
                        </a:lnTo>
                        <a:lnTo>
                          <a:pt x="3493" y="2110"/>
                        </a:lnTo>
                        <a:lnTo>
                          <a:pt x="3493" y="2110"/>
                        </a:lnTo>
                        <a:lnTo>
                          <a:pt x="3493" y="2110"/>
                        </a:lnTo>
                        <a:close/>
                        <a:moveTo>
                          <a:pt x="1462" y="2242"/>
                        </a:moveTo>
                        <a:lnTo>
                          <a:pt x="1398" y="2259"/>
                        </a:lnTo>
                        <a:lnTo>
                          <a:pt x="1436" y="2242"/>
                        </a:lnTo>
                        <a:lnTo>
                          <a:pt x="1462" y="2242"/>
                        </a:lnTo>
                        <a:lnTo>
                          <a:pt x="1462" y="2242"/>
                        </a:lnTo>
                        <a:lnTo>
                          <a:pt x="1462" y="2242"/>
                        </a:lnTo>
                        <a:close/>
                        <a:moveTo>
                          <a:pt x="1533" y="2242"/>
                        </a:moveTo>
                        <a:lnTo>
                          <a:pt x="1542" y="2254"/>
                        </a:lnTo>
                        <a:lnTo>
                          <a:pt x="1528" y="2254"/>
                        </a:lnTo>
                        <a:lnTo>
                          <a:pt x="1533" y="2242"/>
                        </a:lnTo>
                        <a:lnTo>
                          <a:pt x="1533" y="2242"/>
                        </a:lnTo>
                        <a:lnTo>
                          <a:pt x="1533" y="2242"/>
                        </a:lnTo>
                        <a:close/>
                        <a:moveTo>
                          <a:pt x="1436" y="2259"/>
                        </a:moveTo>
                        <a:lnTo>
                          <a:pt x="1441" y="2259"/>
                        </a:lnTo>
                        <a:lnTo>
                          <a:pt x="1424" y="2259"/>
                        </a:lnTo>
                        <a:lnTo>
                          <a:pt x="1436" y="2259"/>
                        </a:lnTo>
                        <a:lnTo>
                          <a:pt x="1436" y="2259"/>
                        </a:lnTo>
                        <a:lnTo>
                          <a:pt x="1436" y="2259"/>
                        </a:lnTo>
                        <a:close/>
                        <a:moveTo>
                          <a:pt x="1419" y="2259"/>
                        </a:moveTo>
                        <a:lnTo>
                          <a:pt x="1419" y="2266"/>
                        </a:lnTo>
                        <a:lnTo>
                          <a:pt x="1408" y="2259"/>
                        </a:lnTo>
                        <a:lnTo>
                          <a:pt x="1419" y="2259"/>
                        </a:lnTo>
                        <a:lnTo>
                          <a:pt x="1419" y="2259"/>
                        </a:lnTo>
                        <a:lnTo>
                          <a:pt x="1419" y="2259"/>
                        </a:lnTo>
                        <a:close/>
                        <a:moveTo>
                          <a:pt x="1403" y="2266"/>
                        </a:moveTo>
                        <a:lnTo>
                          <a:pt x="1408" y="2275"/>
                        </a:lnTo>
                        <a:lnTo>
                          <a:pt x="1386" y="2282"/>
                        </a:lnTo>
                        <a:lnTo>
                          <a:pt x="1403" y="2266"/>
                        </a:lnTo>
                        <a:lnTo>
                          <a:pt x="1403" y="2266"/>
                        </a:lnTo>
                        <a:lnTo>
                          <a:pt x="1403" y="2266"/>
                        </a:lnTo>
                        <a:close/>
                        <a:moveTo>
                          <a:pt x="1457" y="2308"/>
                        </a:moveTo>
                        <a:lnTo>
                          <a:pt x="1511" y="2299"/>
                        </a:lnTo>
                        <a:lnTo>
                          <a:pt x="1474" y="2315"/>
                        </a:lnTo>
                        <a:lnTo>
                          <a:pt x="1457" y="2308"/>
                        </a:lnTo>
                        <a:lnTo>
                          <a:pt x="1457" y="2308"/>
                        </a:lnTo>
                        <a:lnTo>
                          <a:pt x="1457" y="2308"/>
                        </a:lnTo>
                        <a:close/>
                        <a:moveTo>
                          <a:pt x="3040" y="2299"/>
                        </a:moveTo>
                        <a:lnTo>
                          <a:pt x="3028" y="2315"/>
                        </a:lnTo>
                        <a:lnTo>
                          <a:pt x="3016" y="2308"/>
                        </a:lnTo>
                        <a:lnTo>
                          <a:pt x="3040" y="2299"/>
                        </a:lnTo>
                        <a:lnTo>
                          <a:pt x="3040" y="2299"/>
                        </a:lnTo>
                        <a:lnTo>
                          <a:pt x="3040" y="2299"/>
                        </a:lnTo>
                        <a:close/>
                        <a:moveTo>
                          <a:pt x="2893" y="2308"/>
                        </a:moveTo>
                        <a:lnTo>
                          <a:pt x="2898" y="2308"/>
                        </a:lnTo>
                        <a:lnTo>
                          <a:pt x="2877" y="2308"/>
                        </a:lnTo>
                        <a:lnTo>
                          <a:pt x="2893" y="2308"/>
                        </a:lnTo>
                        <a:lnTo>
                          <a:pt x="2893" y="2308"/>
                        </a:lnTo>
                        <a:lnTo>
                          <a:pt x="2893" y="2308"/>
                        </a:lnTo>
                        <a:close/>
                        <a:moveTo>
                          <a:pt x="1478" y="2315"/>
                        </a:moveTo>
                        <a:lnTo>
                          <a:pt x="1533" y="2315"/>
                        </a:lnTo>
                        <a:lnTo>
                          <a:pt x="1474" y="2320"/>
                        </a:lnTo>
                        <a:lnTo>
                          <a:pt x="1478" y="2315"/>
                        </a:lnTo>
                        <a:lnTo>
                          <a:pt x="1478" y="2315"/>
                        </a:lnTo>
                        <a:lnTo>
                          <a:pt x="1478" y="2315"/>
                        </a:lnTo>
                        <a:close/>
                        <a:moveTo>
                          <a:pt x="1370" y="2320"/>
                        </a:moveTo>
                        <a:lnTo>
                          <a:pt x="1386" y="2320"/>
                        </a:lnTo>
                        <a:lnTo>
                          <a:pt x="1382" y="2332"/>
                        </a:lnTo>
                        <a:lnTo>
                          <a:pt x="1370" y="2320"/>
                        </a:lnTo>
                        <a:lnTo>
                          <a:pt x="1370" y="2320"/>
                        </a:lnTo>
                        <a:lnTo>
                          <a:pt x="1370" y="2320"/>
                        </a:lnTo>
                        <a:close/>
                        <a:moveTo>
                          <a:pt x="1353" y="2370"/>
                        </a:moveTo>
                        <a:lnTo>
                          <a:pt x="1348" y="2353"/>
                        </a:lnTo>
                        <a:lnTo>
                          <a:pt x="1365" y="2365"/>
                        </a:lnTo>
                        <a:lnTo>
                          <a:pt x="1353" y="2370"/>
                        </a:lnTo>
                        <a:lnTo>
                          <a:pt x="1353" y="2370"/>
                        </a:lnTo>
                        <a:lnTo>
                          <a:pt x="1353" y="2370"/>
                        </a:lnTo>
                        <a:close/>
                        <a:moveTo>
                          <a:pt x="2789" y="2410"/>
                        </a:moveTo>
                        <a:lnTo>
                          <a:pt x="2789" y="2419"/>
                        </a:lnTo>
                        <a:lnTo>
                          <a:pt x="2785" y="2410"/>
                        </a:lnTo>
                        <a:lnTo>
                          <a:pt x="2789" y="2410"/>
                        </a:lnTo>
                        <a:lnTo>
                          <a:pt x="2789" y="2410"/>
                        </a:lnTo>
                        <a:lnTo>
                          <a:pt x="2789" y="2410"/>
                        </a:lnTo>
                        <a:close/>
                        <a:moveTo>
                          <a:pt x="1408" y="2464"/>
                        </a:moveTo>
                        <a:lnTo>
                          <a:pt x="1370" y="2476"/>
                        </a:lnTo>
                        <a:lnTo>
                          <a:pt x="1382" y="2464"/>
                        </a:lnTo>
                        <a:lnTo>
                          <a:pt x="1408" y="2464"/>
                        </a:lnTo>
                        <a:lnTo>
                          <a:pt x="1408" y="2464"/>
                        </a:lnTo>
                        <a:lnTo>
                          <a:pt x="1408" y="2464"/>
                        </a:lnTo>
                        <a:close/>
                        <a:moveTo>
                          <a:pt x="2747" y="2464"/>
                        </a:moveTo>
                        <a:lnTo>
                          <a:pt x="2747" y="2476"/>
                        </a:lnTo>
                        <a:lnTo>
                          <a:pt x="2737" y="2481"/>
                        </a:lnTo>
                        <a:lnTo>
                          <a:pt x="2747" y="2464"/>
                        </a:lnTo>
                        <a:lnTo>
                          <a:pt x="2747" y="2464"/>
                        </a:lnTo>
                        <a:lnTo>
                          <a:pt x="2747" y="2464"/>
                        </a:lnTo>
                        <a:close/>
                        <a:moveTo>
                          <a:pt x="2629" y="2554"/>
                        </a:moveTo>
                        <a:lnTo>
                          <a:pt x="2629" y="2542"/>
                        </a:lnTo>
                        <a:lnTo>
                          <a:pt x="2638" y="2542"/>
                        </a:lnTo>
                        <a:lnTo>
                          <a:pt x="2629" y="2554"/>
                        </a:lnTo>
                        <a:lnTo>
                          <a:pt x="2629" y="2554"/>
                        </a:lnTo>
                        <a:lnTo>
                          <a:pt x="2629" y="2554"/>
                        </a:lnTo>
                        <a:close/>
                        <a:moveTo>
                          <a:pt x="1353" y="2570"/>
                        </a:moveTo>
                        <a:lnTo>
                          <a:pt x="1353" y="2559"/>
                        </a:lnTo>
                        <a:lnTo>
                          <a:pt x="1370" y="2559"/>
                        </a:lnTo>
                        <a:lnTo>
                          <a:pt x="1353" y="2570"/>
                        </a:lnTo>
                        <a:lnTo>
                          <a:pt x="1353" y="2570"/>
                        </a:lnTo>
                        <a:lnTo>
                          <a:pt x="1353" y="2570"/>
                        </a:lnTo>
                        <a:close/>
                        <a:moveTo>
                          <a:pt x="2541" y="2599"/>
                        </a:moveTo>
                        <a:lnTo>
                          <a:pt x="2541" y="2587"/>
                        </a:lnTo>
                        <a:lnTo>
                          <a:pt x="2558" y="2575"/>
                        </a:lnTo>
                        <a:lnTo>
                          <a:pt x="2541" y="2599"/>
                        </a:lnTo>
                        <a:lnTo>
                          <a:pt x="2541" y="2599"/>
                        </a:lnTo>
                        <a:lnTo>
                          <a:pt x="2541" y="2599"/>
                        </a:lnTo>
                        <a:close/>
                        <a:moveTo>
                          <a:pt x="2570" y="2592"/>
                        </a:moveTo>
                        <a:lnTo>
                          <a:pt x="2574" y="2587"/>
                        </a:lnTo>
                        <a:lnTo>
                          <a:pt x="2586" y="2587"/>
                        </a:lnTo>
                        <a:lnTo>
                          <a:pt x="2570" y="2592"/>
                        </a:lnTo>
                        <a:lnTo>
                          <a:pt x="2570" y="2592"/>
                        </a:lnTo>
                        <a:lnTo>
                          <a:pt x="2570" y="2592"/>
                        </a:lnTo>
                        <a:close/>
                        <a:moveTo>
                          <a:pt x="2478" y="2625"/>
                        </a:moveTo>
                        <a:lnTo>
                          <a:pt x="2461" y="2625"/>
                        </a:lnTo>
                        <a:lnTo>
                          <a:pt x="2461" y="2599"/>
                        </a:lnTo>
                        <a:lnTo>
                          <a:pt x="2482" y="2587"/>
                        </a:lnTo>
                        <a:lnTo>
                          <a:pt x="2504" y="2599"/>
                        </a:lnTo>
                        <a:lnTo>
                          <a:pt x="2487" y="2592"/>
                        </a:lnTo>
                        <a:lnTo>
                          <a:pt x="2504" y="2608"/>
                        </a:lnTo>
                        <a:lnTo>
                          <a:pt x="2482" y="2625"/>
                        </a:lnTo>
                        <a:lnTo>
                          <a:pt x="2478" y="2615"/>
                        </a:lnTo>
                        <a:lnTo>
                          <a:pt x="2482" y="2625"/>
                        </a:lnTo>
                        <a:lnTo>
                          <a:pt x="2478" y="2625"/>
                        </a:lnTo>
                        <a:lnTo>
                          <a:pt x="2478" y="2625"/>
                        </a:lnTo>
                        <a:lnTo>
                          <a:pt x="2478" y="2625"/>
                        </a:lnTo>
                        <a:close/>
                        <a:moveTo>
                          <a:pt x="2537" y="2608"/>
                        </a:moveTo>
                        <a:lnTo>
                          <a:pt x="2532" y="2592"/>
                        </a:lnTo>
                        <a:lnTo>
                          <a:pt x="2541" y="2592"/>
                        </a:lnTo>
                        <a:lnTo>
                          <a:pt x="2537" y="2608"/>
                        </a:lnTo>
                        <a:lnTo>
                          <a:pt x="2537" y="2608"/>
                        </a:lnTo>
                        <a:lnTo>
                          <a:pt x="2537" y="2608"/>
                        </a:lnTo>
                        <a:close/>
                        <a:moveTo>
                          <a:pt x="2520" y="2625"/>
                        </a:moveTo>
                        <a:lnTo>
                          <a:pt x="2515" y="2608"/>
                        </a:lnTo>
                        <a:lnTo>
                          <a:pt x="2520" y="2608"/>
                        </a:lnTo>
                        <a:lnTo>
                          <a:pt x="2532" y="2615"/>
                        </a:lnTo>
                        <a:lnTo>
                          <a:pt x="2520" y="2625"/>
                        </a:lnTo>
                        <a:lnTo>
                          <a:pt x="2520" y="2625"/>
                        </a:lnTo>
                        <a:lnTo>
                          <a:pt x="2520" y="2625"/>
                        </a:lnTo>
                        <a:close/>
                        <a:moveTo>
                          <a:pt x="1386" y="2625"/>
                        </a:moveTo>
                        <a:lnTo>
                          <a:pt x="1419" y="2615"/>
                        </a:lnTo>
                        <a:lnTo>
                          <a:pt x="1403" y="2625"/>
                        </a:lnTo>
                        <a:lnTo>
                          <a:pt x="1386" y="2625"/>
                        </a:lnTo>
                        <a:lnTo>
                          <a:pt x="1386" y="2625"/>
                        </a:lnTo>
                        <a:lnTo>
                          <a:pt x="1386" y="2625"/>
                        </a:lnTo>
                        <a:close/>
                        <a:moveTo>
                          <a:pt x="2390" y="2632"/>
                        </a:moveTo>
                        <a:lnTo>
                          <a:pt x="2397" y="2625"/>
                        </a:lnTo>
                        <a:lnTo>
                          <a:pt x="2407" y="2625"/>
                        </a:lnTo>
                        <a:lnTo>
                          <a:pt x="2390" y="2632"/>
                        </a:lnTo>
                        <a:lnTo>
                          <a:pt x="2390" y="2632"/>
                        </a:lnTo>
                        <a:lnTo>
                          <a:pt x="2390" y="2632"/>
                        </a:lnTo>
                        <a:close/>
                        <a:moveTo>
                          <a:pt x="1408" y="2641"/>
                        </a:moveTo>
                        <a:lnTo>
                          <a:pt x="1398" y="2632"/>
                        </a:lnTo>
                        <a:lnTo>
                          <a:pt x="1408" y="2632"/>
                        </a:lnTo>
                        <a:lnTo>
                          <a:pt x="1408" y="2641"/>
                        </a:lnTo>
                        <a:lnTo>
                          <a:pt x="1408" y="2641"/>
                        </a:lnTo>
                        <a:lnTo>
                          <a:pt x="1408" y="2641"/>
                        </a:lnTo>
                        <a:close/>
                        <a:moveTo>
                          <a:pt x="2369" y="2641"/>
                        </a:moveTo>
                        <a:lnTo>
                          <a:pt x="2359" y="2632"/>
                        </a:lnTo>
                        <a:lnTo>
                          <a:pt x="2369" y="2632"/>
                        </a:lnTo>
                        <a:lnTo>
                          <a:pt x="2369" y="2641"/>
                        </a:lnTo>
                        <a:lnTo>
                          <a:pt x="2369" y="2641"/>
                        </a:lnTo>
                        <a:lnTo>
                          <a:pt x="2369" y="2641"/>
                        </a:lnTo>
                        <a:close/>
                        <a:moveTo>
                          <a:pt x="2343" y="2653"/>
                        </a:moveTo>
                        <a:lnTo>
                          <a:pt x="2326" y="2648"/>
                        </a:lnTo>
                        <a:lnTo>
                          <a:pt x="2352" y="2653"/>
                        </a:lnTo>
                        <a:lnTo>
                          <a:pt x="2343" y="2653"/>
                        </a:lnTo>
                        <a:lnTo>
                          <a:pt x="2343" y="2653"/>
                        </a:lnTo>
                        <a:lnTo>
                          <a:pt x="2343" y="2653"/>
                        </a:lnTo>
                        <a:close/>
                        <a:moveTo>
                          <a:pt x="2305" y="2759"/>
                        </a:moveTo>
                        <a:lnTo>
                          <a:pt x="2284" y="2752"/>
                        </a:lnTo>
                        <a:lnTo>
                          <a:pt x="2272" y="2726"/>
                        </a:lnTo>
                        <a:lnTo>
                          <a:pt x="2251" y="2703"/>
                        </a:lnTo>
                        <a:lnTo>
                          <a:pt x="2272" y="2710"/>
                        </a:lnTo>
                        <a:lnTo>
                          <a:pt x="2289" y="2743"/>
                        </a:lnTo>
                        <a:lnTo>
                          <a:pt x="2305" y="2752"/>
                        </a:lnTo>
                        <a:lnTo>
                          <a:pt x="2305" y="2759"/>
                        </a:lnTo>
                        <a:lnTo>
                          <a:pt x="2305" y="2759"/>
                        </a:lnTo>
                        <a:lnTo>
                          <a:pt x="2305" y="2759"/>
                        </a:lnTo>
                        <a:close/>
                        <a:moveTo>
                          <a:pt x="1533" y="2743"/>
                        </a:moveTo>
                        <a:lnTo>
                          <a:pt x="1528" y="2759"/>
                        </a:lnTo>
                        <a:lnTo>
                          <a:pt x="1516" y="2759"/>
                        </a:lnTo>
                        <a:lnTo>
                          <a:pt x="1528" y="2743"/>
                        </a:lnTo>
                        <a:lnTo>
                          <a:pt x="1533" y="2743"/>
                        </a:lnTo>
                        <a:lnTo>
                          <a:pt x="1533" y="2743"/>
                        </a:lnTo>
                        <a:lnTo>
                          <a:pt x="1533" y="2743"/>
                        </a:lnTo>
                        <a:close/>
                        <a:moveTo>
                          <a:pt x="1559" y="2752"/>
                        </a:moveTo>
                        <a:lnTo>
                          <a:pt x="1533" y="2776"/>
                        </a:lnTo>
                        <a:lnTo>
                          <a:pt x="1516" y="2781"/>
                        </a:lnTo>
                        <a:lnTo>
                          <a:pt x="1542" y="2743"/>
                        </a:lnTo>
                        <a:lnTo>
                          <a:pt x="1559" y="2752"/>
                        </a:lnTo>
                        <a:lnTo>
                          <a:pt x="1559" y="2752"/>
                        </a:lnTo>
                        <a:lnTo>
                          <a:pt x="1559" y="2752"/>
                        </a:lnTo>
                        <a:close/>
                        <a:moveTo>
                          <a:pt x="1516" y="2764"/>
                        </a:moveTo>
                        <a:lnTo>
                          <a:pt x="1504" y="2776"/>
                        </a:lnTo>
                        <a:lnTo>
                          <a:pt x="1511" y="2764"/>
                        </a:lnTo>
                        <a:lnTo>
                          <a:pt x="1516" y="2764"/>
                        </a:lnTo>
                        <a:lnTo>
                          <a:pt x="1516" y="2764"/>
                        </a:lnTo>
                        <a:lnTo>
                          <a:pt x="1516" y="2764"/>
                        </a:lnTo>
                        <a:close/>
                        <a:moveTo>
                          <a:pt x="2234" y="2776"/>
                        </a:moveTo>
                        <a:lnTo>
                          <a:pt x="2218" y="2776"/>
                        </a:lnTo>
                        <a:lnTo>
                          <a:pt x="2234" y="2776"/>
                        </a:lnTo>
                        <a:lnTo>
                          <a:pt x="2234" y="2776"/>
                        </a:lnTo>
                        <a:lnTo>
                          <a:pt x="2234" y="2776"/>
                        </a:lnTo>
                        <a:close/>
                        <a:moveTo>
                          <a:pt x="2246" y="2781"/>
                        </a:moveTo>
                        <a:lnTo>
                          <a:pt x="2251" y="2776"/>
                        </a:lnTo>
                        <a:lnTo>
                          <a:pt x="2267" y="2776"/>
                        </a:lnTo>
                        <a:lnTo>
                          <a:pt x="2267" y="2781"/>
                        </a:lnTo>
                        <a:lnTo>
                          <a:pt x="2246" y="2781"/>
                        </a:lnTo>
                        <a:lnTo>
                          <a:pt x="2246" y="2781"/>
                        </a:lnTo>
                        <a:lnTo>
                          <a:pt x="2246" y="2781"/>
                        </a:lnTo>
                        <a:close/>
                        <a:moveTo>
                          <a:pt x="2234" y="2903"/>
                        </a:moveTo>
                        <a:lnTo>
                          <a:pt x="2213" y="2892"/>
                        </a:lnTo>
                        <a:lnTo>
                          <a:pt x="2180" y="2870"/>
                        </a:lnTo>
                        <a:lnTo>
                          <a:pt x="2196" y="2863"/>
                        </a:lnTo>
                        <a:lnTo>
                          <a:pt x="2230" y="2887"/>
                        </a:lnTo>
                        <a:lnTo>
                          <a:pt x="2234" y="2903"/>
                        </a:lnTo>
                        <a:lnTo>
                          <a:pt x="2234" y="2903"/>
                        </a:lnTo>
                        <a:lnTo>
                          <a:pt x="2234" y="2903"/>
                        </a:lnTo>
                        <a:close/>
                        <a:moveTo>
                          <a:pt x="2230" y="2908"/>
                        </a:moveTo>
                        <a:lnTo>
                          <a:pt x="2213" y="2903"/>
                        </a:lnTo>
                        <a:lnTo>
                          <a:pt x="2230" y="2903"/>
                        </a:lnTo>
                        <a:lnTo>
                          <a:pt x="2230" y="2908"/>
                        </a:lnTo>
                        <a:lnTo>
                          <a:pt x="2230" y="2908"/>
                        </a:lnTo>
                        <a:lnTo>
                          <a:pt x="2230" y="2908"/>
                        </a:lnTo>
                        <a:close/>
                        <a:moveTo>
                          <a:pt x="1580" y="2903"/>
                        </a:moveTo>
                        <a:lnTo>
                          <a:pt x="1566" y="2908"/>
                        </a:lnTo>
                        <a:lnTo>
                          <a:pt x="1580" y="2903"/>
                        </a:lnTo>
                        <a:lnTo>
                          <a:pt x="1580" y="2903"/>
                        </a:lnTo>
                        <a:lnTo>
                          <a:pt x="1580" y="2903"/>
                        </a:lnTo>
                        <a:close/>
                        <a:moveTo>
                          <a:pt x="1566" y="2903"/>
                        </a:moveTo>
                        <a:lnTo>
                          <a:pt x="1566" y="2908"/>
                        </a:lnTo>
                        <a:lnTo>
                          <a:pt x="1549" y="2908"/>
                        </a:lnTo>
                        <a:lnTo>
                          <a:pt x="1566" y="2903"/>
                        </a:lnTo>
                        <a:lnTo>
                          <a:pt x="1566" y="2903"/>
                        </a:lnTo>
                        <a:lnTo>
                          <a:pt x="1566" y="2903"/>
                        </a:lnTo>
                        <a:close/>
                        <a:moveTo>
                          <a:pt x="2208" y="2932"/>
                        </a:moveTo>
                        <a:lnTo>
                          <a:pt x="2208" y="2920"/>
                        </a:lnTo>
                        <a:lnTo>
                          <a:pt x="2213" y="2920"/>
                        </a:lnTo>
                        <a:lnTo>
                          <a:pt x="2208" y="2932"/>
                        </a:lnTo>
                        <a:lnTo>
                          <a:pt x="2208" y="2932"/>
                        </a:lnTo>
                        <a:lnTo>
                          <a:pt x="2208" y="2932"/>
                        </a:lnTo>
                        <a:close/>
                        <a:moveTo>
                          <a:pt x="2154" y="2958"/>
                        </a:moveTo>
                        <a:lnTo>
                          <a:pt x="2142" y="2948"/>
                        </a:lnTo>
                        <a:lnTo>
                          <a:pt x="2154" y="2941"/>
                        </a:lnTo>
                        <a:lnTo>
                          <a:pt x="2180" y="2948"/>
                        </a:lnTo>
                        <a:lnTo>
                          <a:pt x="2154" y="2958"/>
                        </a:lnTo>
                        <a:lnTo>
                          <a:pt x="2154" y="2958"/>
                        </a:lnTo>
                        <a:lnTo>
                          <a:pt x="2154" y="2958"/>
                        </a:lnTo>
                        <a:close/>
                        <a:moveTo>
                          <a:pt x="2163" y="2981"/>
                        </a:moveTo>
                        <a:lnTo>
                          <a:pt x="2154" y="2965"/>
                        </a:lnTo>
                        <a:lnTo>
                          <a:pt x="2163" y="2974"/>
                        </a:lnTo>
                        <a:lnTo>
                          <a:pt x="2163" y="2981"/>
                        </a:lnTo>
                        <a:lnTo>
                          <a:pt x="2163" y="2981"/>
                        </a:lnTo>
                        <a:lnTo>
                          <a:pt x="2163" y="2981"/>
                        </a:lnTo>
                        <a:close/>
                        <a:moveTo>
                          <a:pt x="2159" y="3059"/>
                        </a:moveTo>
                        <a:lnTo>
                          <a:pt x="2163" y="3043"/>
                        </a:lnTo>
                        <a:lnTo>
                          <a:pt x="2163" y="3059"/>
                        </a:lnTo>
                        <a:lnTo>
                          <a:pt x="2159" y="3059"/>
                        </a:lnTo>
                        <a:lnTo>
                          <a:pt x="2159" y="3059"/>
                        </a:lnTo>
                        <a:lnTo>
                          <a:pt x="2159" y="3059"/>
                        </a:lnTo>
                        <a:close/>
                        <a:moveTo>
                          <a:pt x="1743" y="3130"/>
                        </a:moveTo>
                        <a:lnTo>
                          <a:pt x="1748" y="3142"/>
                        </a:lnTo>
                        <a:lnTo>
                          <a:pt x="1726" y="3130"/>
                        </a:lnTo>
                        <a:lnTo>
                          <a:pt x="1743" y="3130"/>
                        </a:lnTo>
                        <a:lnTo>
                          <a:pt x="1743" y="3130"/>
                        </a:lnTo>
                        <a:lnTo>
                          <a:pt x="1743" y="3130"/>
                        </a:lnTo>
                        <a:close/>
                        <a:moveTo>
                          <a:pt x="1882" y="3154"/>
                        </a:moveTo>
                        <a:lnTo>
                          <a:pt x="1835" y="3170"/>
                        </a:lnTo>
                        <a:lnTo>
                          <a:pt x="1882" y="3147"/>
                        </a:lnTo>
                        <a:lnTo>
                          <a:pt x="1882" y="3154"/>
                        </a:lnTo>
                        <a:lnTo>
                          <a:pt x="1882" y="3154"/>
                        </a:lnTo>
                        <a:lnTo>
                          <a:pt x="1882" y="3154"/>
                        </a:lnTo>
                        <a:close/>
                        <a:moveTo>
                          <a:pt x="1776" y="3163"/>
                        </a:moveTo>
                        <a:lnTo>
                          <a:pt x="1764" y="3170"/>
                        </a:lnTo>
                        <a:lnTo>
                          <a:pt x="1781" y="3170"/>
                        </a:lnTo>
                        <a:lnTo>
                          <a:pt x="1764" y="3180"/>
                        </a:lnTo>
                        <a:lnTo>
                          <a:pt x="1731" y="3163"/>
                        </a:lnTo>
                        <a:lnTo>
                          <a:pt x="1776" y="3163"/>
                        </a:lnTo>
                        <a:lnTo>
                          <a:pt x="1776" y="3163"/>
                        </a:lnTo>
                        <a:lnTo>
                          <a:pt x="1776" y="3163"/>
                        </a:lnTo>
                        <a:close/>
                        <a:moveTo>
                          <a:pt x="1873" y="3170"/>
                        </a:moveTo>
                        <a:lnTo>
                          <a:pt x="1873" y="3180"/>
                        </a:lnTo>
                        <a:lnTo>
                          <a:pt x="1856" y="3180"/>
                        </a:lnTo>
                        <a:lnTo>
                          <a:pt x="1873" y="3170"/>
                        </a:lnTo>
                        <a:lnTo>
                          <a:pt x="1873" y="3170"/>
                        </a:lnTo>
                        <a:lnTo>
                          <a:pt x="1873" y="3170"/>
                        </a:lnTo>
                        <a:close/>
                        <a:moveTo>
                          <a:pt x="1958" y="3208"/>
                        </a:moveTo>
                        <a:lnTo>
                          <a:pt x="1948" y="3225"/>
                        </a:lnTo>
                        <a:lnTo>
                          <a:pt x="1937" y="3236"/>
                        </a:lnTo>
                        <a:lnTo>
                          <a:pt x="1944" y="3208"/>
                        </a:lnTo>
                        <a:lnTo>
                          <a:pt x="1958" y="3208"/>
                        </a:lnTo>
                        <a:lnTo>
                          <a:pt x="1958" y="3208"/>
                        </a:lnTo>
                        <a:lnTo>
                          <a:pt x="1958" y="3208"/>
                        </a:lnTo>
                        <a:close/>
                        <a:moveTo>
                          <a:pt x="2067" y="3258"/>
                        </a:moveTo>
                        <a:lnTo>
                          <a:pt x="2045" y="3253"/>
                        </a:lnTo>
                        <a:lnTo>
                          <a:pt x="2029" y="3236"/>
                        </a:lnTo>
                        <a:lnTo>
                          <a:pt x="2100" y="3241"/>
                        </a:lnTo>
                        <a:lnTo>
                          <a:pt x="2088" y="3253"/>
                        </a:lnTo>
                        <a:lnTo>
                          <a:pt x="2067" y="3241"/>
                        </a:lnTo>
                        <a:lnTo>
                          <a:pt x="2071" y="3253"/>
                        </a:lnTo>
                        <a:lnTo>
                          <a:pt x="2067" y="3258"/>
                        </a:lnTo>
                        <a:lnTo>
                          <a:pt x="2067" y="3258"/>
                        </a:lnTo>
                        <a:lnTo>
                          <a:pt x="2067" y="3258"/>
                        </a:lnTo>
                        <a:close/>
                        <a:moveTo>
                          <a:pt x="2019" y="3241"/>
                        </a:moveTo>
                        <a:lnTo>
                          <a:pt x="2019" y="3253"/>
                        </a:lnTo>
                        <a:lnTo>
                          <a:pt x="2012" y="3258"/>
                        </a:lnTo>
                        <a:lnTo>
                          <a:pt x="1996" y="3253"/>
                        </a:lnTo>
                        <a:lnTo>
                          <a:pt x="2003" y="3236"/>
                        </a:lnTo>
                        <a:lnTo>
                          <a:pt x="2019" y="3241"/>
                        </a:lnTo>
                        <a:lnTo>
                          <a:pt x="2019" y="3241"/>
                        </a:lnTo>
                        <a:lnTo>
                          <a:pt x="2019" y="3241"/>
                        </a:lnTo>
                        <a:close/>
                        <a:moveTo>
                          <a:pt x="2071" y="3258"/>
                        </a:moveTo>
                        <a:lnTo>
                          <a:pt x="2071" y="3253"/>
                        </a:lnTo>
                        <a:lnTo>
                          <a:pt x="2083" y="3253"/>
                        </a:lnTo>
                        <a:lnTo>
                          <a:pt x="2071" y="3258"/>
                        </a:lnTo>
                        <a:lnTo>
                          <a:pt x="2071" y="3258"/>
                        </a:lnTo>
                        <a:lnTo>
                          <a:pt x="2071" y="3258"/>
                        </a:lnTo>
                        <a:close/>
                        <a:moveTo>
                          <a:pt x="2029" y="3265"/>
                        </a:moveTo>
                        <a:lnTo>
                          <a:pt x="2012" y="3258"/>
                        </a:lnTo>
                        <a:lnTo>
                          <a:pt x="2019" y="3253"/>
                        </a:lnTo>
                        <a:lnTo>
                          <a:pt x="2033" y="3253"/>
                        </a:lnTo>
                        <a:lnTo>
                          <a:pt x="2029" y="3265"/>
                        </a:lnTo>
                        <a:lnTo>
                          <a:pt x="2029" y="3265"/>
                        </a:lnTo>
                        <a:lnTo>
                          <a:pt x="2029" y="3265"/>
                        </a:lnTo>
                        <a:close/>
                        <a:moveTo>
                          <a:pt x="2083" y="3258"/>
                        </a:moveTo>
                        <a:lnTo>
                          <a:pt x="2083" y="3253"/>
                        </a:lnTo>
                        <a:lnTo>
                          <a:pt x="2088" y="3258"/>
                        </a:lnTo>
                        <a:lnTo>
                          <a:pt x="2083" y="3258"/>
                        </a:lnTo>
                        <a:lnTo>
                          <a:pt x="2083" y="3258"/>
                        </a:lnTo>
                        <a:lnTo>
                          <a:pt x="2083" y="3258"/>
                        </a:lnTo>
                        <a:close/>
                        <a:moveTo>
                          <a:pt x="2045" y="3274"/>
                        </a:moveTo>
                        <a:lnTo>
                          <a:pt x="2029" y="3265"/>
                        </a:lnTo>
                        <a:lnTo>
                          <a:pt x="2033" y="3258"/>
                        </a:lnTo>
                        <a:lnTo>
                          <a:pt x="2057" y="3265"/>
                        </a:lnTo>
                        <a:lnTo>
                          <a:pt x="2045" y="3274"/>
                        </a:lnTo>
                        <a:lnTo>
                          <a:pt x="2045" y="3274"/>
                        </a:lnTo>
                        <a:lnTo>
                          <a:pt x="2045" y="327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3" name="Freeform 456">
                    <a:extLst>
                      <a:ext uri="{FF2B5EF4-FFF2-40B4-BE49-F238E27FC236}">
                        <a16:creationId xmlns:a16="http://schemas.microsoft.com/office/drawing/2014/main" id="{8D55EEC8-F87D-43E8-853E-D8E1DA6A295B}"/>
                      </a:ext>
                    </a:extLst>
                  </p:cNvPr>
                  <p:cNvSpPr>
                    <a:spLocks noEditPoints="1"/>
                  </p:cNvSpPr>
                  <p:nvPr/>
                </p:nvSpPr>
                <p:spPr bwMode="gray">
                  <a:xfrm>
                    <a:off x="7295987" y="2752512"/>
                    <a:ext cx="243297" cy="233443"/>
                  </a:xfrm>
                  <a:custGeom>
                    <a:avLst/>
                    <a:gdLst>
                      <a:gd name="T0" fmla="*/ 76 w 591"/>
                      <a:gd name="T1" fmla="*/ 111 h 567"/>
                      <a:gd name="T2" fmla="*/ 227 w 591"/>
                      <a:gd name="T3" fmla="*/ 29 h 567"/>
                      <a:gd name="T4" fmla="*/ 484 w 591"/>
                      <a:gd name="T5" fmla="*/ 7 h 567"/>
                      <a:gd name="T6" fmla="*/ 350 w 591"/>
                      <a:gd name="T7" fmla="*/ 69 h 567"/>
                      <a:gd name="T8" fmla="*/ 324 w 591"/>
                      <a:gd name="T9" fmla="*/ 135 h 567"/>
                      <a:gd name="T10" fmla="*/ 274 w 591"/>
                      <a:gd name="T11" fmla="*/ 123 h 567"/>
                      <a:gd name="T12" fmla="*/ 227 w 591"/>
                      <a:gd name="T13" fmla="*/ 102 h 567"/>
                      <a:gd name="T14" fmla="*/ 220 w 591"/>
                      <a:gd name="T15" fmla="*/ 213 h 567"/>
                      <a:gd name="T16" fmla="*/ 307 w 591"/>
                      <a:gd name="T17" fmla="*/ 300 h 567"/>
                      <a:gd name="T18" fmla="*/ 253 w 591"/>
                      <a:gd name="T19" fmla="*/ 357 h 567"/>
                      <a:gd name="T20" fmla="*/ 215 w 591"/>
                      <a:gd name="T21" fmla="*/ 345 h 567"/>
                      <a:gd name="T22" fmla="*/ 189 w 591"/>
                      <a:gd name="T23" fmla="*/ 452 h 567"/>
                      <a:gd name="T24" fmla="*/ 135 w 591"/>
                      <a:gd name="T25" fmla="*/ 374 h 567"/>
                      <a:gd name="T26" fmla="*/ 227 w 591"/>
                      <a:gd name="T27" fmla="*/ 317 h 567"/>
                      <a:gd name="T28" fmla="*/ 128 w 591"/>
                      <a:gd name="T29" fmla="*/ 284 h 567"/>
                      <a:gd name="T30" fmla="*/ 76 w 591"/>
                      <a:gd name="T31" fmla="*/ 222 h 567"/>
                      <a:gd name="T32" fmla="*/ 21 w 591"/>
                      <a:gd name="T33" fmla="*/ 173 h 567"/>
                      <a:gd name="T34" fmla="*/ 345 w 591"/>
                      <a:gd name="T35" fmla="*/ 95 h 567"/>
                      <a:gd name="T36" fmla="*/ 413 w 591"/>
                      <a:gd name="T37" fmla="*/ 102 h 567"/>
                      <a:gd name="T38" fmla="*/ 397 w 591"/>
                      <a:gd name="T39" fmla="*/ 140 h 567"/>
                      <a:gd name="T40" fmla="*/ 26 w 591"/>
                      <a:gd name="T41" fmla="*/ 196 h 567"/>
                      <a:gd name="T42" fmla="*/ 468 w 591"/>
                      <a:gd name="T43" fmla="*/ 206 h 567"/>
                      <a:gd name="T44" fmla="*/ 468 w 591"/>
                      <a:gd name="T45" fmla="*/ 206 h 567"/>
                      <a:gd name="T46" fmla="*/ 258 w 591"/>
                      <a:gd name="T47" fmla="*/ 222 h 567"/>
                      <a:gd name="T48" fmla="*/ 274 w 591"/>
                      <a:gd name="T49" fmla="*/ 279 h 567"/>
                      <a:gd name="T50" fmla="*/ 333 w 591"/>
                      <a:gd name="T51" fmla="*/ 300 h 567"/>
                      <a:gd name="T52" fmla="*/ 333 w 591"/>
                      <a:gd name="T53" fmla="*/ 230 h 567"/>
                      <a:gd name="T54" fmla="*/ 59 w 591"/>
                      <a:gd name="T55" fmla="*/ 246 h 567"/>
                      <a:gd name="T56" fmla="*/ 404 w 591"/>
                      <a:gd name="T57" fmla="*/ 267 h 567"/>
                      <a:gd name="T58" fmla="*/ 442 w 591"/>
                      <a:gd name="T59" fmla="*/ 300 h 567"/>
                      <a:gd name="T60" fmla="*/ 59 w 591"/>
                      <a:gd name="T61" fmla="*/ 279 h 567"/>
                      <a:gd name="T62" fmla="*/ 350 w 591"/>
                      <a:gd name="T63" fmla="*/ 317 h 567"/>
                      <a:gd name="T64" fmla="*/ 64 w 591"/>
                      <a:gd name="T65" fmla="*/ 324 h 567"/>
                      <a:gd name="T66" fmla="*/ 489 w 591"/>
                      <a:gd name="T67" fmla="*/ 333 h 567"/>
                      <a:gd name="T68" fmla="*/ 258 w 591"/>
                      <a:gd name="T69" fmla="*/ 341 h 567"/>
                      <a:gd name="T70" fmla="*/ 435 w 591"/>
                      <a:gd name="T71" fmla="*/ 357 h 567"/>
                      <a:gd name="T72" fmla="*/ 383 w 591"/>
                      <a:gd name="T73" fmla="*/ 345 h 567"/>
                      <a:gd name="T74" fmla="*/ 366 w 591"/>
                      <a:gd name="T75" fmla="*/ 362 h 567"/>
                      <a:gd name="T76" fmla="*/ 397 w 591"/>
                      <a:gd name="T77" fmla="*/ 362 h 567"/>
                      <a:gd name="T78" fmla="*/ 333 w 591"/>
                      <a:gd name="T79" fmla="*/ 390 h 567"/>
                      <a:gd name="T80" fmla="*/ 387 w 591"/>
                      <a:gd name="T81" fmla="*/ 390 h 567"/>
                      <a:gd name="T82" fmla="*/ 387 w 591"/>
                      <a:gd name="T83" fmla="*/ 390 h 567"/>
                      <a:gd name="T84" fmla="*/ 506 w 591"/>
                      <a:gd name="T85" fmla="*/ 402 h 567"/>
                      <a:gd name="T86" fmla="*/ 376 w 591"/>
                      <a:gd name="T87" fmla="*/ 402 h 567"/>
                      <a:gd name="T88" fmla="*/ 510 w 591"/>
                      <a:gd name="T89" fmla="*/ 411 h 567"/>
                      <a:gd name="T90" fmla="*/ 435 w 591"/>
                      <a:gd name="T91" fmla="*/ 411 h 567"/>
                      <a:gd name="T92" fmla="*/ 397 w 591"/>
                      <a:gd name="T93" fmla="*/ 428 h 567"/>
                      <a:gd name="T94" fmla="*/ 324 w 591"/>
                      <a:gd name="T95" fmla="*/ 428 h 567"/>
                      <a:gd name="T96" fmla="*/ 458 w 591"/>
                      <a:gd name="T97" fmla="*/ 435 h 567"/>
                      <a:gd name="T98" fmla="*/ 404 w 591"/>
                      <a:gd name="T99" fmla="*/ 444 h 567"/>
                      <a:gd name="T100" fmla="*/ 539 w 591"/>
                      <a:gd name="T101" fmla="*/ 452 h 567"/>
                      <a:gd name="T102" fmla="*/ 591 w 591"/>
                      <a:gd name="T103" fmla="*/ 444 h 567"/>
                      <a:gd name="T104" fmla="*/ 421 w 591"/>
                      <a:gd name="T105" fmla="*/ 452 h 567"/>
                      <a:gd name="T106" fmla="*/ 522 w 591"/>
                      <a:gd name="T107" fmla="*/ 529 h 567"/>
                      <a:gd name="T108" fmla="*/ 269 w 591"/>
                      <a:gd name="T109" fmla="*/ 513 h 567"/>
                      <a:gd name="T110" fmla="*/ 397 w 591"/>
                      <a:gd name="T111" fmla="*/ 539 h 567"/>
                      <a:gd name="T112" fmla="*/ 350 w 591"/>
                      <a:gd name="T113" fmla="*/ 567 h 567"/>
                      <a:gd name="T114" fmla="*/ 510 w 591"/>
                      <a:gd name="T115" fmla="*/ 522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91" h="567">
                        <a:moveTo>
                          <a:pt x="21" y="173"/>
                        </a:moveTo>
                        <a:lnTo>
                          <a:pt x="38" y="173"/>
                        </a:lnTo>
                        <a:lnTo>
                          <a:pt x="43" y="168"/>
                        </a:lnTo>
                        <a:lnTo>
                          <a:pt x="38" y="168"/>
                        </a:lnTo>
                        <a:lnTo>
                          <a:pt x="54" y="156"/>
                        </a:lnTo>
                        <a:lnTo>
                          <a:pt x="43" y="152"/>
                        </a:lnTo>
                        <a:lnTo>
                          <a:pt x="64" y="135"/>
                        </a:lnTo>
                        <a:lnTo>
                          <a:pt x="76" y="111"/>
                        </a:lnTo>
                        <a:lnTo>
                          <a:pt x="92" y="95"/>
                        </a:lnTo>
                        <a:lnTo>
                          <a:pt x="92" y="69"/>
                        </a:lnTo>
                        <a:lnTo>
                          <a:pt x="128" y="69"/>
                        </a:lnTo>
                        <a:lnTo>
                          <a:pt x="144" y="62"/>
                        </a:lnTo>
                        <a:lnTo>
                          <a:pt x="161" y="45"/>
                        </a:lnTo>
                        <a:lnTo>
                          <a:pt x="215" y="45"/>
                        </a:lnTo>
                        <a:lnTo>
                          <a:pt x="215" y="29"/>
                        </a:lnTo>
                        <a:lnTo>
                          <a:pt x="227" y="29"/>
                        </a:lnTo>
                        <a:lnTo>
                          <a:pt x="274" y="29"/>
                        </a:lnTo>
                        <a:lnTo>
                          <a:pt x="324" y="12"/>
                        </a:lnTo>
                        <a:lnTo>
                          <a:pt x="387" y="41"/>
                        </a:lnTo>
                        <a:lnTo>
                          <a:pt x="451" y="29"/>
                        </a:lnTo>
                        <a:lnTo>
                          <a:pt x="451" y="12"/>
                        </a:lnTo>
                        <a:lnTo>
                          <a:pt x="442" y="0"/>
                        </a:lnTo>
                        <a:lnTo>
                          <a:pt x="468" y="0"/>
                        </a:lnTo>
                        <a:lnTo>
                          <a:pt x="484" y="7"/>
                        </a:lnTo>
                        <a:lnTo>
                          <a:pt x="484" y="29"/>
                        </a:lnTo>
                        <a:lnTo>
                          <a:pt x="458" y="41"/>
                        </a:lnTo>
                        <a:lnTo>
                          <a:pt x="468" y="62"/>
                        </a:lnTo>
                        <a:lnTo>
                          <a:pt x="442" y="85"/>
                        </a:lnTo>
                        <a:lnTo>
                          <a:pt x="442" y="78"/>
                        </a:lnTo>
                        <a:lnTo>
                          <a:pt x="383" y="62"/>
                        </a:lnTo>
                        <a:lnTo>
                          <a:pt x="383" y="62"/>
                        </a:lnTo>
                        <a:lnTo>
                          <a:pt x="350" y="69"/>
                        </a:lnTo>
                        <a:lnTo>
                          <a:pt x="328" y="62"/>
                        </a:lnTo>
                        <a:lnTo>
                          <a:pt x="307" y="85"/>
                        </a:lnTo>
                        <a:lnTo>
                          <a:pt x="279" y="78"/>
                        </a:lnTo>
                        <a:lnTo>
                          <a:pt x="274" y="85"/>
                        </a:lnTo>
                        <a:lnTo>
                          <a:pt x="291" y="111"/>
                        </a:lnTo>
                        <a:lnTo>
                          <a:pt x="312" y="118"/>
                        </a:lnTo>
                        <a:lnTo>
                          <a:pt x="328" y="135"/>
                        </a:lnTo>
                        <a:lnTo>
                          <a:pt x="324" y="135"/>
                        </a:lnTo>
                        <a:lnTo>
                          <a:pt x="312" y="118"/>
                        </a:lnTo>
                        <a:lnTo>
                          <a:pt x="291" y="118"/>
                        </a:lnTo>
                        <a:lnTo>
                          <a:pt x="279" y="118"/>
                        </a:lnTo>
                        <a:lnTo>
                          <a:pt x="279" y="123"/>
                        </a:lnTo>
                        <a:lnTo>
                          <a:pt x="295" y="135"/>
                        </a:lnTo>
                        <a:lnTo>
                          <a:pt x="295" y="140"/>
                        </a:lnTo>
                        <a:lnTo>
                          <a:pt x="295" y="152"/>
                        </a:lnTo>
                        <a:lnTo>
                          <a:pt x="274" y="123"/>
                        </a:lnTo>
                        <a:lnTo>
                          <a:pt x="253" y="123"/>
                        </a:lnTo>
                        <a:lnTo>
                          <a:pt x="253" y="135"/>
                        </a:lnTo>
                        <a:lnTo>
                          <a:pt x="279" y="152"/>
                        </a:lnTo>
                        <a:lnTo>
                          <a:pt x="258" y="152"/>
                        </a:lnTo>
                        <a:lnTo>
                          <a:pt x="253" y="123"/>
                        </a:lnTo>
                        <a:lnTo>
                          <a:pt x="220" y="111"/>
                        </a:lnTo>
                        <a:lnTo>
                          <a:pt x="220" y="102"/>
                        </a:lnTo>
                        <a:lnTo>
                          <a:pt x="227" y="102"/>
                        </a:lnTo>
                        <a:lnTo>
                          <a:pt x="227" y="95"/>
                        </a:lnTo>
                        <a:lnTo>
                          <a:pt x="199" y="102"/>
                        </a:lnTo>
                        <a:lnTo>
                          <a:pt x="199" y="140"/>
                        </a:lnTo>
                        <a:lnTo>
                          <a:pt x="253" y="213"/>
                        </a:lnTo>
                        <a:lnTo>
                          <a:pt x="236" y="222"/>
                        </a:lnTo>
                        <a:lnTo>
                          <a:pt x="241" y="213"/>
                        </a:lnTo>
                        <a:lnTo>
                          <a:pt x="227" y="196"/>
                        </a:lnTo>
                        <a:lnTo>
                          <a:pt x="220" y="213"/>
                        </a:lnTo>
                        <a:lnTo>
                          <a:pt x="236" y="230"/>
                        </a:lnTo>
                        <a:lnTo>
                          <a:pt x="220" y="234"/>
                        </a:lnTo>
                        <a:lnTo>
                          <a:pt x="199" y="246"/>
                        </a:lnTo>
                        <a:lnTo>
                          <a:pt x="227" y="251"/>
                        </a:lnTo>
                        <a:lnTo>
                          <a:pt x="236" y="263"/>
                        </a:lnTo>
                        <a:lnTo>
                          <a:pt x="253" y="263"/>
                        </a:lnTo>
                        <a:lnTo>
                          <a:pt x="253" y="267"/>
                        </a:lnTo>
                        <a:lnTo>
                          <a:pt x="307" y="300"/>
                        </a:lnTo>
                        <a:lnTo>
                          <a:pt x="295" y="307"/>
                        </a:lnTo>
                        <a:lnTo>
                          <a:pt x="307" y="333"/>
                        </a:lnTo>
                        <a:lnTo>
                          <a:pt x="295" y="341"/>
                        </a:lnTo>
                        <a:lnTo>
                          <a:pt x="269" y="307"/>
                        </a:lnTo>
                        <a:lnTo>
                          <a:pt x="227" y="324"/>
                        </a:lnTo>
                        <a:lnTo>
                          <a:pt x="236" y="324"/>
                        </a:lnTo>
                        <a:lnTo>
                          <a:pt x="241" y="345"/>
                        </a:lnTo>
                        <a:lnTo>
                          <a:pt x="253" y="357"/>
                        </a:lnTo>
                        <a:lnTo>
                          <a:pt x="253" y="345"/>
                        </a:lnTo>
                        <a:lnTo>
                          <a:pt x="258" y="345"/>
                        </a:lnTo>
                        <a:lnTo>
                          <a:pt x="269" y="362"/>
                        </a:lnTo>
                        <a:lnTo>
                          <a:pt x="253" y="362"/>
                        </a:lnTo>
                        <a:lnTo>
                          <a:pt x="241" y="374"/>
                        </a:lnTo>
                        <a:lnTo>
                          <a:pt x="236" y="362"/>
                        </a:lnTo>
                        <a:lnTo>
                          <a:pt x="236" y="362"/>
                        </a:lnTo>
                        <a:lnTo>
                          <a:pt x="215" y="345"/>
                        </a:lnTo>
                        <a:lnTo>
                          <a:pt x="236" y="418"/>
                        </a:lnTo>
                        <a:lnTo>
                          <a:pt x="227" y="428"/>
                        </a:lnTo>
                        <a:lnTo>
                          <a:pt x="241" y="444"/>
                        </a:lnTo>
                        <a:lnTo>
                          <a:pt x="227" y="435"/>
                        </a:lnTo>
                        <a:lnTo>
                          <a:pt x="215" y="411"/>
                        </a:lnTo>
                        <a:lnTo>
                          <a:pt x="203" y="411"/>
                        </a:lnTo>
                        <a:lnTo>
                          <a:pt x="189" y="428"/>
                        </a:lnTo>
                        <a:lnTo>
                          <a:pt x="189" y="452"/>
                        </a:lnTo>
                        <a:lnTo>
                          <a:pt x="165" y="395"/>
                        </a:lnTo>
                        <a:lnTo>
                          <a:pt x="151" y="395"/>
                        </a:lnTo>
                        <a:lnTo>
                          <a:pt x="161" y="411"/>
                        </a:lnTo>
                        <a:lnTo>
                          <a:pt x="151" y="418"/>
                        </a:lnTo>
                        <a:lnTo>
                          <a:pt x="135" y="411"/>
                        </a:lnTo>
                        <a:lnTo>
                          <a:pt x="135" y="402"/>
                        </a:lnTo>
                        <a:lnTo>
                          <a:pt x="128" y="390"/>
                        </a:lnTo>
                        <a:lnTo>
                          <a:pt x="135" y="374"/>
                        </a:lnTo>
                        <a:lnTo>
                          <a:pt x="135" y="362"/>
                        </a:lnTo>
                        <a:lnTo>
                          <a:pt x="97" y="324"/>
                        </a:lnTo>
                        <a:lnTo>
                          <a:pt x="113" y="307"/>
                        </a:lnTo>
                        <a:lnTo>
                          <a:pt x="113" y="291"/>
                        </a:lnTo>
                        <a:lnTo>
                          <a:pt x="135" y="300"/>
                        </a:lnTo>
                        <a:lnTo>
                          <a:pt x="151" y="284"/>
                        </a:lnTo>
                        <a:lnTo>
                          <a:pt x="220" y="317"/>
                        </a:lnTo>
                        <a:lnTo>
                          <a:pt x="227" y="317"/>
                        </a:lnTo>
                        <a:lnTo>
                          <a:pt x="220" y="307"/>
                        </a:lnTo>
                        <a:lnTo>
                          <a:pt x="241" y="307"/>
                        </a:lnTo>
                        <a:lnTo>
                          <a:pt x="241" y="300"/>
                        </a:lnTo>
                        <a:lnTo>
                          <a:pt x="215" y="291"/>
                        </a:lnTo>
                        <a:lnTo>
                          <a:pt x="189" y="279"/>
                        </a:lnTo>
                        <a:lnTo>
                          <a:pt x="182" y="284"/>
                        </a:lnTo>
                        <a:lnTo>
                          <a:pt x="161" y="279"/>
                        </a:lnTo>
                        <a:lnTo>
                          <a:pt x="128" y="284"/>
                        </a:lnTo>
                        <a:lnTo>
                          <a:pt x="113" y="279"/>
                        </a:lnTo>
                        <a:lnTo>
                          <a:pt x="97" y="284"/>
                        </a:lnTo>
                        <a:lnTo>
                          <a:pt x="92" y="263"/>
                        </a:lnTo>
                        <a:lnTo>
                          <a:pt x="64" y="246"/>
                        </a:lnTo>
                        <a:lnTo>
                          <a:pt x="76" y="234"/>
                        </a:lnTo>
                        <a:lnTo>
                          <a:pt x="97" y="246"/>
                        </a:lnTo>
                        <a:lnTo>
                          <a:pt x="97" y="230"/>
                        </a:lnTo>
                        <a:lnTo>
                          <a:pt x="76" y="222"/>
                        </a:lnTo>
                        <a:lnTo>
                          <a:pt x="76" y="230"/>
                        </a:lnTo>
                        <a:lnTo>
                          <a:pt x="76" y="234"/>
                        </a:lnTo>
                        <a:lnTo>
                          <a:pt x="64" y="234"/>
                        </a:lnTo>
                        <a:lnTo>
                          <a:pt x="54" y="206"/>
                        </a:lnTo>
                        <a:lnTo>
                          <a:pt x="38" y="206"/>
                        </a:lnTo>
                        <a:lnTo>
                          <a:pt x="38" y="180"/>
                        </a:lnTo>
                        <a:lnTo>
                          <a:pt x="21" y="173"/>
                        </a:lnTo>
                        <a:lnTo>
                          <a:pt x="21" y="173"/>
                        </a:lnTo>
                        <a:lnTo>
                          <a:pt x="21" y="173"/>
                        </a:lnTo>
                        <a:close/>
                        <a:moveTo>
                          <a:pt x="345" y="95"/>
                        </a:moveTo>
                        <a:lnTo>
                          <a:pt x="333" y="85"/>
                        </a:lnTo>
                        <a:lnTo>
                          <a:pt x="345" y="78"/>
                        </a:lnTo>
                        <a:lnTo>
                          <a:pt x="350" y="78"/>
                        </a:lnTo>
                        <a:lnTo>
                          <a:pt x="350" y="95"/>
                        </a:lnTo>
                        <a:lnTo>
                          <a:pt x="345" y="95"/>
                        </a:lnTo>
                        <a:lnTo>
                          <a:pt x="345" y="95"/>
                        </a:lnTo>
                        <a:lnTo>
                          <a:pt x="345" y="95"/>
                        </a:lnTo>
                        <a:close/>
                        <a:moveTo>
                          <a:pt x="413" y="102"/>
                        </a:moveTo>
                        <a:lnTo>
                          <a:pt x="421" y="111"/>
                        </a:lnTo>
                        <a:lnTo>
                          <a:pt x="413" y="111"/>
                        </a:lnTo>
                        <a:lnTo>
                          <a:pt x="397" y="102"/>
                        </a:lnTo>
                        <a:lnTo>
                          <a:pt x="413" y="102"/>
                        </a:lnTo>
                        <a:lnTo>
                          <a:pt x="413" y="102"/>
                        </a:lnTo>
                        <a:lnTo>
                          <a:pt x="413" y="102"/>
                        </a:lnTo>
                        <a:close/>
                        <a:moveTo>
                          <a:pt x="397" y="140"/>
                        </a:moveTo>
                        <a:lnTo>
                          <a:pt x="397" y="168"/>
                        </a:lnTo>
                        <a:lnTo>
                          <a:pt x="387" y="152"/>
                        </a:lnTo>
                        <a:lnTo>
                          <a:pt x="383" y="156"/>
                        </a:lnTo>
                        <a:lnTo>
                          <a:pt x="383" y="168"/>
                        </a:lnTo>
                        <a:lnTo>
                          <a:pt x="376" y="156"/>
                        </a:lnTo>
                        <a:lnTo>
                          <a:pt x="376" y="152"/>
                        </a:lnTo>
                        <a:lnTo>
                          <a:pt x="397" y="140"/>
                        </a:lnTo>
                        <a:lnTo>
                          <a:pt x="397" y="140"/>
                        </a:lnTo>
                        <a:lnTo>
                          <a:pt x="397" y="140"/>
                        </a:lnTo>
                        <a:close/>
                        <a:moveTo>
                          <a:pt x="5" y="156"/>
                        </a:moveTo>
                        <a:lnTo>
                          <a:pt x="10" y="168"/>
                        </a:lnTo>
                        <a:lnTo>
                          <a:pt x="5" y="173"/>
                        </a:lnTo>
                        <a:lnTo>
                          <a:pt x="10" y="189"/>
                        </a:lnTo>
                        <a:lnTo>
                          <a:pt x="21" y="189"/>
                        </a:lnTo>
                        <a:lnTo>
                          <a:pt x="26" y="196"/>
                        </a:lnTo>
                        <a:lnTo>
                          <a:pt x="10" y="189"/>
                        </a:lnTo>
                        <a:lnTo>
                          <a:pt x="0" y="173"/>
                        </a:lnTo>
                        <a:lnTo>
                          <a:pt x="0" y="168"/>
                        </a:lnTo>
                        <a:lnTo>
                          <a:pt x="5" y="156"/>
                        </a:lnTo>
                        <a:lnTo>
                          <a:pt x="5" y="156"/>
                        </a:lnTo>
                        <a:lnTo>
                          <a:pt x="5" y="156"/>
                        </a:lnTo>
                        <a:close/>
                        <a:moveTo>
                          <a:pt x="468" y="206"/>
                        </a:moveTo>
                        <a:lnTo>
                          <a:pt x="468" y="206"/>
                        </a:lnTo>
                        <a:lnTo>
                          <a:pt x="484" y="230"/>
                        </a:lnTo>
                        <a:lnTo>
                          <a:pt x="458" y="230"/>
                        </a:lnTo>
                        <a:lnTo>
                          <a:pt x="442" y="222"/>
                        </a:lnTo>
                        <a:lnTo>
                          <a:pt x="458" y="213"/>
                        </a:lnTo>
                        <a:lnTo>
                          <a:pt x="442" y="222"/>
                        </a:lnTo>
                        <a:lnTo>
                          <a:pt x="430" y="213"/>
                        </a:lnTo>
                        <a:lnTo>
                          <a:pt x="451" y="196"/>
                        </a:lnTo>
                        <a:lnTo>
                          <a:pt x="468" y="206"/>
                        </a:lnTo>
                        <a:lnTo>
                          <a:pt x="468" y="206"/>
                        </a:lnTo>
                        <a:lnTo>
                          <a:pt x="468" y="206"/>
                        </a:lnTo>
                        <a:close/>
                        <a:moveTo>
                          <a:pt x="258" y="222"/>
                        </a:moveTo>
                        <a:lnTo>
                          <a:pt x="258" y="213"/>
                        </a:lnTo>
                        <a:lnTo>
                          <a:pt x="269" y="213"/>
                        </a:lnTo>
                        <a:lnTo>
                          <a:pt x="258" y="222"/>
                        </a:lnTo>
                        <a:lnTo>
                          <a:pt x="258" y="222"/>
                        </a:lnTo>
                        <a:lnTo>
                          <a:pt x="258" y="222"/>
                        </a:lnTo>
                        <a:close/>
                        <a:moveTo>
                          <a:pt x="279" y="222"/>
                        </a:moveTo>
                        <a:lnTo>
                          <a:pt x="269" y="213"/>
                        </a:lnTo>
                        <a:lnTo>
                          <a:pt x="279" y="222"/>
                        </a:lnTo>
                        <a:lnTo>
                          <a:pt x="279" y="222"/>
                        </a:lnTo>
                        <a:lnTo>
                          <a:pt x="279" y="222"/>
                        </a:lnTo>
                        <a:lnTo>
                          <a:pt x="279" y="222"/>
                        </a:lnTo>
                        <a:close/>
                        <a:moveTo>
                          <a:pt x="307" y="284"/>
                        </a:moveTo>
                        <a:lnTo>
                          <a:pt x="274" y="279"/>
                        </a:lnTo>
                        <a:lnTo>
                          <a:pt x="274" y="267"/>
                        </a:lnTo>
                        <a:lnTo>
                          <a:pt x="241" y="246"/>
                        </a:lnTo>
                        <a:lnTo>
                          <a:pt x="220" y="246"/>
                        </a:lnTo>
                        <a:lnTo>
                          <a:pt x="253" y="230"/>
                        </a:lnTo>
                        <a:lnTo>
                          <a:pt x="269" y="251"/>
                        </a:lnTo>
                        <a:lnTo>
                          <a:pt x="312" y="263"/>
                        </a:lnTo>
                        <a:lnTo>
                          <a:pt x="312" y="291"/>
                        </a:lnTo>
                        <a:lnTo>
                          <a:pt x="333" y="300"/>
                        </a:lnTo>
                        <a:lnTo>
                          <a:pt x="333" y="317"/>
                        </a:lnTo>
                        <a:lnTo>
                          <a:pt x="328" y="317"/>
                        </a:lnTo>
                        <a:lnTo>
                          <a:pt x="307" y="284"/>
                        </a:lnTo>
                        <a:lnTo>
                          <a:pt x="307" y="284"/>
                        </a:lnTo>
                        <a:lnTo>
                          <a:pt x="307" y="284"/>
                        </a:lnTo>
                        <a:close/>
                        <a:moveTo>
                          <a:pt x="333" y="251"/>
                        </a:moveTo>
                        <a:lnTo>
                          <a:pt x="328" y="234"/>
                        </a:lnTo>
                        <a:lnTo>
                          <a:pt x="333" y="230"/>
                        </a:lnTo>
                        <a:lnTo>
                          <a:pt x="345" y="246"/>
                        </a:lnTo>
                        <a:lnTo>
                          <a:pt x="333" y="251"/>
                        </a:lnTo>
                        <a:lnTo>
                          <a:pt x="333" y="251"/>
                        </a:lnTo>
                        <a:lnTo>
                          <a:pt x="333" y="251"/>
                        </a:lnTo>
                        <a:close/>
                        <a:moveTo>
                          <a:pt x="64" y="246"/>
                        </a:moveTo>
                        <a:lnTo>
                          <a:pt x="64" y="263"/>
                        </a:lnTo>
                        <a:lnTo>
                          <a:pt x="59" y="267"/>
                        </a:lnTo>
                        <a:lnTo>
                          <a:pt x="59" y="246"/>
                        </a:lnTo>
                        <a:lnTo>
                          <a:pt x="64" y="246"/>
                        </a:lnTo>
                        <a:lnTo>
                          <a:pt x="64" y="246"/>
                        </a:lnTo>
                        <a:lnTo>
                          <a:pt x="64" y="246"/>
                        </a:lnTo>
                        <a:close/>
                        <a:moveTo>
                          <a:pt x="404" y="267"/>
                        </a:moveTo>
                        <a:lnTo>
                          <a:pt x="404" y="263"/>
                        </a:lnTo>
                        <a:lnTo>
                          <a:pt x="413" y="263"/>
                        </a:lnTo>
                        <a:lnTo>
                          <a:pt x="404" y="267"/>
                        </a:lnTo>
                        <a:lnTo>
                          <a:pt x="404" y="267"/>
                        </a:lnTo>
                        <a:lnTo>
                          <a:pt x="404" y="267"/>
                        </a:lnTo>
                        <a:close/>
                        <a:moveTo>
                          <a:pt x="442" y="300"/>
                        </a:moveTo>
                        <a:lnTo>
                          <a:pt x="430" y="291"/>
                        </a:lnTo>
                        <a:lnTo>
                          <a:pt x="435" y="284"/>
                        </a:lnTo>
                        <a:lnTo>
                          <a:pt x="430" y="267"/>
                        </a:lnTo>
                        <a:lnTo>
                          <a:pt x="451" y="267"/>
                        </a:lnTo>
                        <a:lnTo>
                          <a:pt x="451" y="291"/>
                        </a:lnTo>
                        <a:lnTo>
                          <a:pt x="442" y="300"/>
                        </a:lnTo>
                        <a:lnTo>
                          <a:pt x="442" y="300"/>
                        </a:lnTo>
                        <a:lnTo>
                          <a:pt x="442" y="300"/>
                        </a:lnTo>
                        <a:close/>
                        <a:moveTo>
                          <a:pt x="59" y="279"/>
                        </a:moveTo>
                        <a:lnTo>
                          <a:pt x="76" y="307"/>
                        </a:lnTo>
                        <a:lnTo>
                          <a:pt x="43" y="300"/>
                        </a:lnTo>
                        <a:lnTo>
                          <a:pt x="59" y="279"/>
                        </a:lnTo>
                        <a:lnTo>
                          <a:pt x="59" y="279"/>
                        </a:lnTo>
                        <a:lnTo>
                          <a:pt x="59" y="279"/>
                        </a:lnTo>
                        <a:close/>
                        <a:moveTo>
                          <a:pt x="269" y="317"/>
                        </a:moveTo>
                        <a:lnTo>
                          <a:pt x="269" y="324"/>
                        </a:lnTo>
                        <a:lnTo>
                          <a:pt x="258" y="324"/>
                        </a:lnTo>
                        <a:lnTo>
                          <a:pt x="269" y="317"/>
                        </a:lnTo>
                        <a:lnTo>
                          <a:pt x="269" y="317"/>
                        </a:lnTo>
                        <a:lnTo>
                          <a:pt x="269" y="317"/>
                        </a:lnTo>
                        <a:close/>
                        <a:moveTo>
                          <a:pt x="366" y="341"/>
                        </a:moveTo>
                        <a:lnTo>
                          <a:pt x="350" y="317"/>
                        </a:lnTo>
                        <a:lnTo>
                          <a:pt x="350" y="317"/>
                        </a:lnTo>
                        <a:lnTo>
                          <a:pt x="366" y="324"/>
                        </a:lnTo>
                        <a:lnTo>
                          <a:pt x="366" y="341"/>
                        </a:lnTo>
                        <a:lnTo>
                          <a:pt x="366" y="341"/>
                        </a:lnTo>
                        <a:lnTo>
                          <a:pt x="366" y="341"/>
                        </a:lnTo>
                        <a:close/>
                        <a:moveTo>
                          <a:pt x="76" y="341"/>
                        </a:moveTo>
                        <a:lnTo>
                          <a:pt x="64" y="333"/>
                        </a:lnTo>
                        <a:lnTo>
                          <a:pt x="64" y="324"/>
                        </a:lnTo>
                        <a:lnTo>
                          <a:pt x="92" y="341"/>
                        </a:lnTo>
                        <a:lnTo>
                          <a:pt x="80" y="341"/>
                        </a:lnTo>
                        <a:lnTo>
                          <a:pt x="76" y="341"/>
                        </a:lnTo>
                        <a:lnTo>
                          <a:pt x="76" y="341"/>
                        </a:lnTo>
                        <a:lnTo>
                          <a:pt x="76" y="341"/>
                        </a:lnTo>
                        <a:close/>
                        <a:moveTo>
                          <a:pt x="494" y="345"/>
                        </a:moveTo>
                        <a:lnTo>
                          <a:pt x="484" y="341"/>
                        </a:lnTo>
                        <a:lnTo>
                          <a:pt x="489" y="333"/>
                        </a:lnTo>
                        <a:lnTo>
                          <a:pt x="510" y="341"/>
                        </a:lnTo>
                        <a:lnTo>
                          <a:pt x="494" y="345"/>
                        </a:lnTo>
                        <a:lnTo>
                          <a:pt x="494" y="345"/>
                        </a:lnTo>
                        <a:lnTo>
                          <a:pt x="494" y="345"/>
                        </a:lnTo>
                        <a:close/>
                        <a:moveTo>
                          <a:pt x="258" y="341"/>
                        </a:moveTo>
                        <a:lnTo>
                          <a:pt x="258" y="333"/>
                        </a:lnTo>
                        <a:lnTo>
                          <a:pt x="269" y="333"/>
                        </a:lnTo>
                        <a:lnTo>
                          <a:pt x="258" y="341"/>
                        </a:lnTo>
                        <a:lnTo>
                          <a:pt x="258" y="341"/>
                        </a:lnTo>
                        <a:lnTo>
                          <a:pt x="258" y="341"/>
                        </a:lnTo>
                        <a:close/>
                        <a:moveTo>
                          <a:pt x="435" y="357"/>
                        </a:moveTo>
                        <a:lnTo>
                          <a:pt x="442" y="345"/>
                        </a:lnTo>
                        <a:lnTo>
                          <a:pt x="468" y="341"/>
                        </a:lnTo>
                        <a:lnTo>
                          <a:pt x="435" y="357"/>
                        </a:lnTo>
                        <a:lnTo>
                          <a:pt x="435" y="357"/>
                        </a:lnTo>
                        <a:lnTo>
                          <a:pt x="435" y="357"/>
                        </a:lnTo>
                        <a:close/>
                        <a:moveTo>
                          <a:pt x="324" y="357"/>
                        </a:moveTo>
                        <a:lnTo>
                          <a:pt x="324" y="341"/>
                        </a:lnTo>
                        <a:lnTo>
                          <a:pt x="328" y="341"/>
                        </a:lnTo>
                        <a:lnTo>
                          <a:pt x="324" y="357"/>
                        </a:lnTo>
                        <a:lnTo>
                          <a:pt x="324" y="357"/>
                        </a:lnTo>
                        <a:lnTo>
                          <a:pt x="324" y="357"/>
                        </a:lnTo>
                        <a:close/>
                        <a:moveTo>
                          <a:pt x="376" y="341"/>
                        </a:moveTo>
                        <a:lnTo>
                          <a:pt x="383" y="345"/>
                        </a:lnTo>
                        <a:lnTo>
                          <a:pt x="383" y="357"/>
                        </a:lnTo>
                        <a:lnTo>
                          <a:pt x="366" y="341"/>
                        </a:lnTo>
                        <a:lnTo>
                          <a:pt x="376" y="341"/>
                        </a:lnTo>
                        <a:lnTo>
                          <a:pt x="376" y="341"/>
                        </a:lnTo>
                        <a:lnTo>
                          <a:pt x="376" y="341"/>
                        </a:lnTo>
                        <a:close/>
                        <a:moveTo>
                          <a:pt x="359" y="362"/>
                        </a:moveTo>
                        <a:lnTo>
                          <a:pt x="359" y="357"/>
                        </a:lnTo>
                        <a:lnTo>
                          <a:pt x="366" y="362"/>
                        </a:lnTo>
                        <a:lnTo>
                          <a:pt x="359" y="362"/>
                        </a:lnTo>
                        <a:lnTo>
                          <a:pt x="359" y="362"/>
                        </a:lnTo>
                        <a:lnTo>
                          <a:pt x="359" y="362"/>
                        </a:lnTo>
                        <a:close/>
                        <a:moveTo>
                          <a:pt x="397" y="362"/>
                        </a:moveTo>
                        <a:lnTo>
                          <a:pt x="387" y="357"/>
                        </a:lnTo>
                        <a:lnTo>
                          <a:pt x="397" y="357"/>
                        </a:lnTo>
                        <a:lnTo>
                          <a:pt x="397" y="362"/>
                        </a:lnTo>
                        <a:lnTo>
                          <a:pt x="397" y="362"/>
                        </a:lnTo>
                        <a:lnTo>
                          <a:pt x="397" y="362"/>
                        </a:lnTo>
                        <a:close/>
                        <a:moveTo>
                          <a:pt x="328" y="357"/>
                        </a:moveTo>
                        <a:lnTo>
                          <a:pt x="333" y="362"/>
                        </a:lnTo>
                        <a:lnTo>
                          <a:pt x="328" y="374"/>
                        </a:lnTo>
                        <a:lnTo>
                          <a:pt x="328" y="357"/>
                        </a:lnTo>
                        <a:lnTo>
                          <a:pt x="328" y="357"/>
                        </a:lnTo>
                        <a:lnTo>
                          <a:pt x="328" y="357"/>
                        </a:lnTo>
                        <a:close/>
                        <a:moveTo>
                          <a:pt x="333" y="390"/>
                        </a:moveTo>
                        <a:lnTo>
                          <a:pt x="328" y="390"/>
                        </a:lnTo>
                        <a:lnTo>
                          <a:pt x="328" y="378"/>
                        </a:lnTo>
                        <a:lnTo>
                          <a:pt x="333" y="378"/>
                        </a:lnTo>
                        <a:lnTo>
                          <a:pt x="333" y="390"/>
                        </a:lnTo>
                        <a:lnTo>
                          <a:pt x="333" y="390"/>
                        </a:lnTo>
                        <a:lnTo>
                          <a:pt x="333" y="390"/>
                        </a:lnTo>
                        <a:close/>
                        <a:moveTo>
                          <a:pt x="397" y="402"/>
                        </a:moveTo>
                        <a:lnTo>
                          <a:pt x="387" y="390"/>
                        </a:lnTo>
                        <a:lnTo>
                          <a:pt x="404" y="378"/>
                        </a:lnTo>
                        <a:lnTo>
                          <a:pt x="413" y="395"/>
                        </a:lnTo>
                        <a:lnTo>
                          <a:pt x="397" y="402"/>
                        </a:lnTo>
                        <a:lnTo>
                          <a:pt x="397" y="402"/>
                        </a:lnTo>
                        <a:lnTo>
                          <a:pt x="397" y="402"/>
                        </a:lnTo>
                        <a:close/>
                        <a:moveTo>
                          <a:pt x="383" y="395"/>
                        </a:moveTo>
                        <a:lnTo>
                          <a:pt x="376" y="395"/>
                        </a:lnTo>
                        <a:lnTo>
                          <a:pt x="387" y="390"/>
                        </a:lnTo>
                        <a:lnTo>
                          <a:pt x="383" y="395"/>
                        </a:lnTo>
                        <a:lnTo>
                          <a:pt x="383" y="395"/>
                        </a:lnTo>
                        <a:lnTo>
                          <a:pt x="383" y="395"/>
                        </a:lnTo>
                        <a:close/>
                        <a:moveTo>
                          <a:pt x="506" y="402"/>
                        </a:moveTo>
                        <a:lnTo>
                          <a:pt x="494" y="390"/>
                        </a:lnTo>
                        <a:lnTo>
                          <a:pt x="510" y="395"/>
                        </a:lnTo>
                        <a:lnTo>
                          <a:pt x="506" y="402"/>
                        </a:lnTo>
                        <a:lnTo>
                          <a:pt x="506" y="402"/>
                        </a:lnTo>
                        <a:lnTo>
                          <a:pt x="506" y="402"/>
                        </a:lnTo>
                        <a:close/>
                        <a:moveTo>
                          <a:pt x="350" y="402"/>
                        </a:moveTo>
                        <a:lnTo>
                          <a:pt x="345" y="395"/>
                        </a:lnTo>
                        <a:lnTo>
                          <a:pt x="350" y="402"/>
                        </a:lnTo>
                        <a:lnTo>
                          <a:pt x="350" y="402"/>
                        </a:lnTo>
                        <a:lnTo>
                          <a:pt x="350" y="402"/>
                        </a:lnTo>
                        <a:lnTo>
                          <a:pt x="350" y="402"/>
                        </a:lnTo>
                        <a:close/>
                        <a:moveTo>
                          <a:pt x="376" y="402"/>
                        </a:moveTo>
                        <a:lnTo>
                          <a:pt x="366" y="395"/>
                        </a:lnTo>
                        <a:lnTo>
                          <a:pt x="376" y="395"/>
                        </a:lnTo>
                        <a:lnTo>
                          <a:pt x="376" y="402"/>
                        </a:lnTo>
                        <a:lnTo>
                          <a:pt x="376" y="402"/>
                        </a:lnTo>
                        <a:lnTo>
                          <a:pt x="376" y="402"/>
                        </a:lnTo>
                        <a:close/>
                        <a:moveTo>
                          <a:pt x="506" y="428"/>
                        </a:moveTo>
                        <a:lnTo>
                          <a:pt x="506" y="418"/>
                        </a:lnTo>
                        <a:lnTo>
                          <a:pt x="510" y="411"/>
                        </a:lnTo>
                        <a:lnTo>
                          <a:pt x="539" y="411"/>
                        </a:lnTo>
                        <a:lnTo>
                          <a:pt x="506" y="418"/>
                        </a:lnTo>
                        <a:lnTo>
                          <a:pt x="506" y="428"/>
                        </a:lnTo>
                        <a:lnTo>
                          <a:pt x="506" y="428"/>
                        </a:lnTo>
                        <a:lnTo>
                          <a:pt x="506" y="428"/>
                        </a:lnTo>
                        <a:close/>
                        <a:moveTo>
                          <a:pt x="430" y="418"/>
                        </a:moveTo>
                        <a:lnTo>
                          <a:pt x="421" y="411"/>
                        </a:lnTo>
                        <a:lnTo>
                          <a:pt x="435" y="411"/>
                        </a:lnTo>
                        <a:lnTo>
                          <a:pt x="430" y="418"/>
                        </a:lnTo>
                        <a:lnTo>
                          <a:pt x="430" y="418"/>
                        </a:lnTo>
                        <a:lnTo>
                          <a:pt x="430" y="418"/>
                        </a:lnTo>
                        <a:close/>
                        <a:moveTo>
                          <a:pt x="397" y="428"/>
                        </a:moveTo>
                        <a:lnTo>
                          <a:pt x="387" y="411"/>
                        </a:lnTo>
                        <a:lnTo>
                          <a:pt x="397" y="418"/>
                        </a:lnTo>
                        <a:lnTo>
                          <a:pt x="397" y="428"/>
                        </a:lnTo>
                        <a:lnTo>
                          <a:pt x="397" y="428"/>
                        </a:lnTo>
                        <a:lnTo>
                          <a:pt x="397" y="428"/>
                        </a:lnTo>
                        <a:close/>
                        <a:moveTo>
                          <a:pt x="324" y="428"/>
                        </a:moveTo>
                        <a:lnTo>
                          <a:pt x="324" y="418"/>
                        </a:lnTo>
                        <a:lnTo>
                          <a:pt x="333" y="418"/>
                        </a:lnTo>
                        <a:lnTo>
                          <a:pt x="333" y="428"/>
                        </a:lnTo>
                        <a:lnTo>
                          <a:pt x="324" y="428"/>
                        </a:lnTo>
                        <a:lnTo>
                          <a:pt x="324" y="428"/>
                        </a:lnTo>
                        <a:lnTo>
                          <a:pt x="324" y="428"/>
                        </a:lnTo>
                        <a:close/>
                        <a:moveTo>
                          <a:pt x="565" y="435"/>
                        </a:moveTo>
                        <a:lnTo>
                          <a:pt x="560" y="435"/>
                        </a:lnTo>
                        <a:lnTo>
                          <a:pt x="565" y="428"/>
                        </a:lnTo>
                        <a:lnTo>
                          <a:pt x="565" y="435"/>
                        </a:lnTo>
                        <a:lnTo>
                          <a:pt x="565" y="435"/>
                        </a:lnTo>
                        <a:lnTo>
                          <a:pt x="565" y="435"/>
                        </a:lnTo>
                        <a:close/>
                        <a:moveTo>
                          <a:pt x="473" y="435"/>
                        </a:moveTo>
                        <a:lnTo>
                          <a:pt x="458" y="435"/>
                        </a:lnTo>
                        <a:lnTo>
                          <a:pt x="458" y="435"/>
                        </a:lnTo>
                        <a:lnTo>
                          <a:pt x="468" y="428"/>
                        </a:lnTo>
                        <a:lnTo>
                          <a:pt x="473" y="435"/>
                        </a:lnTo>
                        <a:lnTo>
                          <a:pt x="473" y="435"/>
                        </a:lnTo>
                        <a:lnTo>
                          <a:pt x="473" y="435"/>
                        </a:lnTo>
                        <a:close/>
                        <a:moveTo>
                          <a:pt x="397" y="452"/>
                        </a:moveTo>
                        <a:lnTo>
                          <a:pt x="397" y="444"/>
                        </a:lnTo>
                        <a:lnTo>
                          <a:pt x="404" y="444"/>
                        </a:lnTo>
                        <a:lnTo>
                          <a:pt x="397" y="452"/>
                        </a:lnTo>
                        <a:lnTo>
                          <a:pt x="397" y="452"/>
                        </a:lnTo>
                        <a:lnTo>
                          <a:pt x="397" y="452"/>
                        </a:lnTo>
                        <a:close/>
                        <a:moveTo>
                          <a:pt x="539" y="452"/>
                        </a:moveTo>
                        <a:lnTo>
                          <a:pt x="527" y="444"/>
                        </a:lnTo>
                        <a:lnTo>
                          <a:pt x="543" y="444"/>
                        </a:lnTo>
                        <a:lnTo>
                          <a:pt x="539" y="452"/>
                        </a:lnTo>
                        <a:lnTo>
                          <a:pt x="539" y="452"/>
                        </a:lnTo>
                        <a:lnTo>
                          <a:pt x="539" y="452"/>
                        </a:lnTo>
                        <a:close/>
                        <a:moveTo>
                          <a:pt x="591" y="444"/>
                        </a:moveTo>
                        <a:lnTo>
                          <a:pt x="581" y="468"/>
                        </a:lnTo>
                        <a:lnTo>
                          <a:pt x="565" y="485"/>
                        </a:lnTo>
                        <a:lnTo>
                          <a:pt x="560" y="489"/>
                        </a:lnTo>
                        <a:lnTo>
                          <a:pt x="560" y="468"/>
                        </a:lnTo>
                        <a:lnTo>
                          <a:pt x="565" y="456"/>
                        </a:lnTo>
                        <a:lnTo>
                          <a:pt x="591" y="444"/>
                        </a:lnTo>
                        <a:lnTo>
                          <a:pt x="591" y="444"/>
                        </a:lnTo>
                        <a:lnTo>
                          <a:pt x="591" y="444"/>
                        </a:lnTo>
                        <a:close/>
                        <a:moveTo>
                          <a:pt x="421" y="452"/>
                        </a:moveTo>
                        <a:lnTo>
                          <a:pt x="421" y="444"/>
                        </a:lnTo>
                        <a:lnTo>
                          <a:pt x="430" y="452"/>
                        </a:lnTo>
                        <a:lnTo>
                          <a:pt x="421" y="452"/>
                        </a:lnTo>
                        <a:lnTo>
                          <a:pt x="421" y="452"/>
                        </a:lnTo>
                        <a:lnTo>
                          <a:pt x="421" y="452"/>
                        </a:lnTo>
                        <a:close/>
                        <a:moveTo>
                          <a:pt x="227" y="452"/>
                        </a:moveTo>
                        <a:lnTo>
                          <a:pt x="236" y="456"/>
                        </a:lnTo>
                        <a:lnTo>
                          <a:pt x="236" y="468"/>
                        </a:lnTo>
                        <a:lnTo>
                          <a:pt x="220" y="468"/>
                        </a:lnTo>
                        <a:lnTo>
                          <a:pt x="227" y="452"/>
                        </a:lnTo>
                        <a:lnTo>
                          <a:pt x="227" y="452"/>
                        </a:lnTo>
                        <a:lnTo>
                          <a:pt x="227" y="452"/>
                        </a:lnTo>
                        <a:close/>
                        <a:moveTo>
                          <a:pt x="522" y="529"/>
                        </a:moveTo>
                        <a:lnTo>
                          <a:pt x="510" y="513"/>
                        </a:lnTo>
                        <a:lnTo>
                          <a:pt x="527" y="489"/>
                        </a:lnTo>
                        <a:lnTo>
                          <a:pt x="522" y="529"/>
                        </a:lnTo>
                        <a:lnTo>
                          <a:pt x="522" y="529"/>
                        </a:lnTo>
                        <a:lnTo>
                          <a:pt x="522" y="529"/>
                        </a:lnTo>
                        <a:close/>
                        <a:moveTo>
                          <a:pt x="274" y="546"/>
                        </a:moveTo>
                        <a:lnTo>
                          <a:pt x="269" y="539"/>
                        </a:lnTo>
                        <a:lnTo>
                          <a:pt x="269" y="513"/>
                        </a:lnTo>
                        <a:lnTo>
                          <a:pt x="279" y="522"/>
                        </a:lnTo>
                        <a:lnTo>
                          <a:pt x="279" y="506"/>
                        </a:lnTo>
                        <a:lnTo>
                          <a:pt x="291" y="522"/>
                        </a:lnTo>
                        <a:lnTo>
                          <a:pt x="312" y="513"/>
                        </a:lnTo>
                        <a:lnTo>
                          <a:pt x="307" y="522"/>
                        </a:lnTo>
                        <a:lnTo>
                          <a:pt x="324" y="529"/>
                        </a:lnTo>
                        <a:lnTo>
                          <a:pt x="350" y="529"/>
                        </a:lnTo>
                        <a:lnTo>
                          <a:pt x="397" y="539"/>
                        </a:lnTo>
                        <a:lnTo>
                          <a:pt x="421" y="539"/>
                        </a:lnTo>
                        <a:lnTo>
                          <a:pt x="421" y="546"/>
                        </a:lnTo>
                        <a:lnTo>
                          <a:pt x="430" y="555"/>
                        </a:lnTo>
                        <a:lnTo>
                          <a:pt x="458" y="539"/>
                        </a:lnTo>
                        <a:lnTo>
                          <a:pt x="458" y="555"/>
                        </a:lnTo>
                        <a:lnTo>
                          <a:pt x="442" y="563"/>
                        </a:lnTo>
                        <a:lnTo>
                          <a:pt x="366" y="567"/>
                        </a:lnTo>
                        <a:lnTo>
                          <a:pt x="350" y="567"/>
                        </a:lnTo>
                        <a:lnTo>
                          <a:pt x="350" y="555"/>
                        </a:lnTo>
                        <a:lnTo>
                          <a:pt x="328" y="546"/>
                        </a:lnTo>
                        <a:lnTo>
                          <a:pt x="274" y="546"/>
                        </a:lnTo>
                        <a:lnTo>
                          <a:pt x="274" y="546"/>
                        </a:lnTo>
                        <a:lnTo>
                          <a:pt x="274" y="546"/>
                        </a:lnTo>
                        <a:close/>
                        <a:moveTo>
                          <a:pt x="494" y="529"/>
                        </a:moveTo>
                        <a:lnTo>
                          <a:pt x="506" y="529"/>
                        </a:lnTo>
                        <a:lnTo>
                          <a:pt x="510" y="522"/>
                        </a:lnTo>
                        <a:lnTo>
                          <a:pt x="494" y="529"/>
                        </a:lnTo>
                        <a:lnTo>
                          <a:pt x="494" y="529"/>
                        </a:lnTo>
                        <a:lnTo>
                          <a:pt x="494" y="52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4" name="Freeform 464">
                    <a:extLst>
                      <a:ext uri="{FF2B5EF4-FFF2-40B4-BE49-F238E27FC236}">
                        <a16:creationId xmlns:a16="http://schemas.microsoft.com/office/drawing/2014/main" id="{4EBC369C-6F78-431D-9699-1EAF2D874529}"/>
                      </a:ext>
                    </a:extLst>
                  </p:cNvPr>
                  <p:cNvSpPr>
                    <a:spLocks noEditPoints="1"/>
                  </p:cNvSpPr>
                  <p:nvPr/>
                </p:nvSpPr>
                <p:spPr bwMode="gray">
                  <a:xfrm>
                    <a:off x="7115264" y="2574650"/>
                    <a:ext cx="174136" cy="149864"/>
                  </a:xfrm>
                  <a:custGeom>
                    <a:avLst/>
                    <a:gdLst>
                      <a:gd name="T0" fmla="*/ 82 w 423"/>
                      <a:gd name="T1" fmla="*/ 83 h 364"/>
                      <a:gd name="T2" fmla="*/ 125 w 423"/>
                      <a:gd name="T3" fmla="*/ 95 h 364"/>
                      <a:gd name="T4" fmla="*/ 125 w 423"/>
                      <a:gd name="T5" fmla="*/ 71 h 364"/>
                      <a:gd name="T6" fmla="*/ 151 w 423"/>
                      <a:gd name="T7" fmla="*/ 38 h 364"/>
                      <a:gd name="T8" fmla="*/ 196 w 423"/>
                      <a:gd name="T9" fmla="*/ 0 h 364"/>
                      <a:gd name="T10" fmla="*/ 264 w 423"/>
                      <a:gd name="T11" fmla="*/ 54 h 364"/>
                      <a:gd name="T12" fmla="*/ 340 w 423"/>
                      <a:gd name="T13" fmla="*/ 71 h 364"/>
                      <a:gd name="T14" fmla="*/ 378 w 423"/>
                      <a:gd name="T15" fmla="*/ 88 h 364"/>
                      <a:gd name="T16" fmla="*/ 389 w 423"/>
                      <a:gd name="T17" fmla="*/ 104 h 364"/>
                      <a:gd name="T18" fmla="*/ 389 w 423"/>
                      <a:gd name="T19" fmla="*/ 149 h 364"/>
                      <a:gd name="T20" fmla="*/ 356 w 423"/>
                      <a:gd name="T21" fmla="*/ 137 h 364"/>
                      <a:gd name="T22" fmla="*/ 260 w 423"/>
                      <a:gd name="T23" fmla="*/ 128 h 364"/>
                      <a:gd name="T24" fmla="*/ 212 w 423"/>
                      <a:gd name="T25" fmla="*/ 121 h 364"/>
                      <a:gd name="T26" fmla="*/ 163 w 423"/>
                      <a:gd name="T27" fmla="*/ 128 h 364"/>
                      <a:gd name="T28" fmla="*/ 189 w 423"/>
                      <a:gd name="T29" fmla="*/ 199 h 364"/>
                      <a:gd name="T30" fmla="*/ 243 w 423"/>
                      <a:gd name="T31" fmla="*/ 260 h 364"/>
                      <a:gd name="T32" fmla="*/ 286 w 423"/>
                      <a:gd name="T33" fmla="*/ 310 h 364"/>
                      <a:gd name="T34" fmla="*/ 243 w 423"/>
                      <a:gd name="T35" fmla="*/ 276 h 364"/>
                      <a:gd name="T36" fmla="*/ 175 w 423"/>
                      <a:gd name="T37" fmla="*/ 253 h 364"/>
                      <a:gd name="T38" fmla="*/ 108 w 423"/>
                      <a:gd name="T39" fmla="*/ 203 h 364"/>
                      <a:gd name="T40" fmla="*/ 141 w 423"/>
                      <a:gd name="T41" fmla="*/ 203 h 364"/>
                      <a:gd name="T42" fmla="*/ 104 w 423"/>
                      <a:gd name="T43" fmla="*/ 144 h 364"/>
                      <a:gd name="T44" fmla="*/ 54 w 423"/>
                      <a:gd name="T45" fmla="*/ 111 h 364"/>
                      <a:gd name="T46" fmla="*/ 12 w 423"/>
                      <a:gd name="T47" fmla="*/ 128 h 364"/>
                      <a:gd name="T48" fmla="*/ 12 w 423"/>
                      <a:gd name="T49" fmla="*/ 95 h 364"/>
                      <a:gd name="T50" fmla="*/ 66 w 423"/>
                      <a:gd name="T51" fmla="*/ 137 h 364"/>
                      <a:gd name="T52" fmla="*/ 87 w 423"/>
                      <a:gd name="T53" fmla="*/ 144 h 364"/>
                      <a:gd name="T54" fmla="*/ 71 w 423"/>
                      <a:gd name="T55" fmla="*/ 177 h 364"/>
                      <a:gd name="T56" fmla="*/ 54 w 423"/>
                      <a:gd name="T57" fmla="*/ 128 h 364"/>
                      <a:gd name="T58" fmla="*/ 71 w 423"/>
                      <a:gd name="T59" fmla="*/ 177 h 364"/>
                      <a:gd name="T60" fmla="*/ 87 w 423"/>
                      <a:gd name="T61" fmla="*/ 165 h 364"/>
                      <a:gd name="T62" fmla="*/ 87 w 423"/>
                      <a:gd name="T63" fmla="*/ 165 h 364"/>
                      <a:gd name="T64" fmla="*/ 120 w 423"/>
                      <a:gd name="T65" fmla="*/ 236 h 364"/>
                      <a:gd name="T66" fmla="*/ 120 w 423"/>
                      <a:gd name="T67" fmla="*/ 236 h 364"/>
                      <a:gd name="T68" fmla="*/ 226 w 423"/>
                      <a:gd name="T69" fmla="*/ 293 h 364"/>
                      <a:gd name="T70" fmla="*/ 243 w 423"/>
                      <a:gd name="T71" fmla="*/ 288 h 364"/>
                      <a:gd name="T72" fmla="*/ 226 w 423"/>
                      <a:gd name="T73" fmla="*/ 293 h 364"/>
                      <a:gd name="T74" fmla="*/ 260 w 423"/>
                      <a:gd name="T75" fmla="*/ 305 h 364"/>
                      <a:gd name="T76" fmla="*/ 248 w 423"/>
                      <a:gd name="T77" fmla="*/ 310 h 364"/>
                      <a:gd name="T78" fmla="*/ 196 w 423"/>
                      <a:gd name="T79" fmla="*/ 310 h 364"/>
                      <a:gd name="T80" fmla="*/ 179 w 423"/>
                      <a:gd name="T81" fmla="*/ 314 h 364"/>
                      <a:gd name="T82" fmla="*/ 352 w 423"/>
                      <a:gd name="T83" fmla="*/ 359 h 364"/>
                      <a:gd name="T84" fmla="*/ 314 w 423"/>
                      <a:gd name="T85" fmla="*/ 331 h 364"/>
                      <a:gd name="T86" fmla="*/ 286 w 423"/>
                      <a:gd name="T87" fmla="*/ 326 h 364"/>
                      <a:gd name="T88" fmla="*/ 217 w 423"/>
                      <a:gd name="T89" fmla="*/ 314 h 364"/>
                      <a:gd name="T90" fmla="*/ 234 w 423"/>
                      <a:gd name="T91" fmla="*/ 326 h 364"/>
                      <a:gd name="T92" fmla="*/ 234 w 423"/>
                      <a:gd name="T93" fmla="*/ 331 h 364"/>
                      <a:gd name="T94" fmla="*/ 243 w 423"/>
                      <a:gd name="T95" fmla="*/ 343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3" h="364">
                        <a:moveTo>
                          <a:pt x="12" y="95"/>
                        </a:moveTo>
                        <a:lnTo>
                          <a:pt x="66" y="95"/>
                        </a:lnTo>
                        <a:lnTo>
                          <a:pt x="82" y="83"/>
                        </a:lnTo>
                        <a:lnTo>
                          <a:pt x="99" y="95"/>
                        </a:lnTo>
                        <a:lnTo>
                          <a:pt x="120" y="104"/>
                        </a:lnTo>
                        <a:lnTo>
                          <a:pt x="125" y="95"/>
                        </a:lnTo>
                        <a:lnTo>
                          <a:pt x="137" y="83"/>
                        </a:lnTo>
                        <a:lnTo>
                          <a:pt x="125" y="83"/>
                        </a:lnTo>
                        <a:lnTo>
                          <a:pt x="125" y="71"/>
                        </a:lnTo>
                        <a:lnTo>
                          <a:pt x="158" y="66"/>
                        </a:lnTo>
                        <a:lnTo>
                          <a:pt x="158" y="50"/>
                        </a:lnTo>
                        <a:lnTo>
                          <a:pt x="151" y="38"/>
                        </a:lnTo>
                        <a:lnTo>
                          <a:pt x="151" y="33"/>
                        </a:lnTo>
                        <a:lnTo>
                          <a:pt x="196" y="17"/>
                        </a:lnTo>
                        <a:lnTo>
                          <a:pt x="196" y="0"/>
                        </a:lnTo>
                        <a:lnTo>
                          <a:pt x="217" y="12"/>
                        </a:lnTo>
                        <a:lnTo>
                          <a:pt x="260" y="33"/>
                        </a:lnTo>
                        <a:lnTo>
                          <a:pt x="264" y="54"/>
                        </a:lnTo>
                        <a:lnTo>
                          <a:pt x="286" y="54"/>
                        </a:lnTo>
                        <a:lnTo>
                          <a:pt x="297" y="66"/>
                        </a:lnTo>
                        <a:lnTo>
                          <a:pt x="340" y="71"/>
                        </a:lnTo>
                        <a:lnTo>
                          <a:pt x="373" y="54"/>
                        </a:lnTo>
                        <a:lnTo>
                          <a:pt x="378" y="71"/>
                        </a:lnTo>
                        <a:lnTo>
                          <a:pt x="378" y="88"/>
                        </a:lnTo>
                        <a:lnTo>
                          <a:pt x="394" y="95"/>
                        </a:lnTo>
                        <a:lnTo>
                          <a:pt x="389" y="95"/>
                        </a:lnTo>
                        <a:lnTo>
                          <a:pt x="389" y="104"/>
                        </a:lnTo>
                        <a:lnTo>
                          <a:pt x="423" y="121"/>
                        </a:lnTo>
                        <a:lnTo>
                          <a:pt x="394" y="121"/>
                        </a:lnTo>
                        <a:lnTo>
                          <a:pt x="389" y="149"/>
                        </a:lnTo>
                        <a:lnTo>
                          <a:pt x="373" y="149"/>
                        </a:lnTo>
                        <a:lnTo>
                          <a:pt x="373" y="144"/>
                        </a:lnTo>
                        <a:lnTo>
                          <a:pt x="356" y="137"/>
                        </a:lnTo>
                        <a:lnTo>
                          <a:pt x="335" y="128"/>
                        </a:lnTo>
                        <a:lnTo>
                          <a:pt x="302" y="137"/>
                        </a:lnTo>
                        <a:lnTo>
                          <a:pt x="260" y="128"/>
                        </a:lnTo>
                        <a:lnTo>
                          <a:pt x="243" y="121"/>
                        </a:lnTo>
                        <a:lnTo>
                          <a:pt x="234" y="121"/>
                        </a:lnTo>
                        <a:lnTo>
                          <a:pt x="212" y="121"/>
                        </a:lnTo>
                        <a:lnTo>
                          <a:pt x="196" y="144"/>
                        </a:lnTo>
                        <a:lnTo>
                          <a:pt x="179" y="121"/>
                        </a:lnTo>
                        <a:lnTo>
                          <a:pt x="163" y="128"/>
                        </a:lnTo>
                        <a:lnTo>
                          <a:pt x="158" y="161"/>
                        </a:lnTo>
                        <a:lnTo>
                          <a:pt x="189" y="182"/>
                        </a:lnTo>
                        <a:lnTo>
                          <a:pt x="189" y="199"/>
                        </a:lnTo>
                        <a:lnTo>
                          <a:pt x="189" y="215"/>
                        </a:lnTo>
                        <a:lnTo>
                          <a:pt x="212" y="232"/>
                        </a:lnTo>
                        <a:lnTo>
                          <a:pt x="243" y="260"/>
                        </a:lnTo>
                        <a:lnTo>
                          <a:pt x="264" y="276"/>
                        </a:lnTo>
                        <a:lnTo>
                          <a:pt x="264" y="293"/>
                        </a:lnTo>
                        <a:lnTo>
                          <a:pt x="286" y="310"/>
                        </a:lnTo>
                        <a:lnTo>
                          <a:pt x="297" y="314"/>
                        </a:lnTo>
                        <a:lnTo>
                          <a:pt x="286" y="314"/>
                        </a:lnTo>
                        <a:lnTo>
                          <a:pt x="243" y="276"/>
                        </a:lnTo>
                        <a:lnTo>
                          <a:pt x="205" y="272"/>
                        </a:lnTo>
                        <a:lnTo>
                          <a:pt x="175" y="272"/>
                        </a:lnTo>
                        <a:lnTo>
                          <a:pt x="175" y="253"/>
                        </a:lnTo>
                        <a:lnTo>
                          <a:pt x="137" y="236"/>
                        </a:lnTo>
                        <a:lnTo>
                          <a:pt x="120" y="215"/>
                        </a:lnTo>
                        <a:lnTo>
                          <a:pt x="108" y="203"/>
                        </a:lnTo>
                        <a:lnTo>
                          <a:pt x="125" y="203"/>
                        </a:lnTo>
                        <a:lnTo>
                          <a:pt x="125" y="199"/>
                        </a:lnTo>
                        <a:lnTo>
                          <a:pt x="141" y="203"/>
                        </a:lnTo>
                        <a:lnTo>
                          <a:pt x="104" y="177"/>
                        </a:lnTo>
                        <a:lnTo>
                          <a:pt x="99" y="165"/>
                        </a:lnTo>
                        <a:lnTo>
                          <a:pt x="104" y="144"/>
                        </a:lnTo>
                        <a:lnTo>
                          <a:pt x="99" y="128"/>
                        </a:lnTo>
                        <a:lnTo>
                          <a:pt x="71" y="111"/>
                        </a:lnTo>
                        <a:lnTo>
                          <a:pt x="54" y="111"/>
                        </a:lnTo>
                        <a:lnTo>
                          <a:pt x="49" y="144"/>
                        </a:lnTo>
                        <a:lnTo>
                          <a:pt x="28" y="161"/>
                        </a:lnTo>
                        <a:lnTo>
                          <a:pt x="12" y="128"/>
                        </a:lnTo>
                        <a:lnTo>
                          <a:pt x="0" y="95"/>
                        </a:lnTo>
                        <a:lnTo>
                          <a:pt x="12" y="95"/>
                        </a:lnTo>
                        <a:lnTo>
                          <a:pt x="12" y="95"/>
                        </a:lnTo>
                        <a:lnTo>
                          <a:pt x="12" y="95"/>
                        </a:lnTo>
                        <a:close/>
                        <a:moveTo>
                          <a:pt x="87" y="144"/>
                        </a:moveTo>
                        <a:lnTo>
                          <a:pt x="66" y="137"/>
                        </a:lnTo>
                        <a:lnTo>
                          <a:pt x="71" y="121"/>
                        </a:lnTo>
                        <a:lnTo>
                          <a:pt x="99" y="144"/>
                        </a:lnTo>
                        <a:lnTo>
                          <a:pt x="87" y="144"/>
                        </a:lnTo>
                        <a:lnTo>
                          <a:pt x="87" y="144"/>
                        </a:lnTo>
                        <a:lnTo>
                          <a:pt x="87" y="144"/>
                        </a:lnTo>
                        <a:close/>
                        <a:moveTo>
                          <a:pt x="71" y="177"/>
                        </a:moveTo>
                        <a:lnTo>
                          <a:pt x="54" y="149"/>
                        </a:lnTo>
                        <a:lnTo>
                          <a:pt x="66" y="149"/>
                        </a:lnTo>
                        <a:lnTo>
                          <a:pt x="54" y="128"/>
                        </a:lnTo>
                        <a:lnTo>
                          <a:pt x="54" y="128"/>
                        </a:lnTo>
                        <a:lnTo>
                          <a:pt x="71" y="144"/>
                        </a:lnTo>
                        <a:lnTo>
                          <a:pt x="71" y="177"/>
                        </a:lnTo>
                        <a:lnTo>
                          <a:pt x="71" y="177"/>
                        </a:lnTo>
                        <a:lnTo>
                          <a:pt x="71" y="177"/>
                        </a:lnTo>
                        <a:close/>
                        <a:moveTo>
                          <a:pt x="87" y="165"/>
                        </a:moveTo>
                        <a:lnTo>
                          <a:pt x="125" y="199"/>
                        </a:lnTo>
                        <a:lnTo>
                          <a:pt x="108" y="199"/>
                        </a:lnTo>
                        <a:lnTo>
                          <a:pt x="87" y="165"/>
                        </a:lnTo>
                        <a:lnTo>
                          <a:pt x="87" y="165"/>
                        </a:lnTo>
                        <a:lnTo>
                          <a:pt x="87" y="165"/>
                        </a:lnTo>
                        <a:close/>
                        <a:moveTo>
                          <a:pt x="120" y="236"/>
                        </a:moveTo>
                        <a:lnTo>
                          <a:pt x="99" y="215"/>
                        </a:lnTo>
                        <a:lnTo>
                          <a:pt x="108" y="220"/>
                        </a:lnTo>
                        <a:lnTo>
                          <a:pt x="120" y="236"/>
                        </a:lnTo>
                        <a:lnTo>
                          <a:pt x="120" y="236"/>
                        </a:lnTo>
                        <a:lnTo>
                          <a:pt x="120" y="236"/>
                        </a:lnTo>
                        <a:close/>
                        <a:moveTo>
                          <a:pt x="226" y="293"/>
                        </a:moveTo>
                        <a:lnTo>
                          <a:pt x="205" y="288"/>
                        </a:lnTo>
                        <a:lnTo>
                          <a:pt x="205" y="288"/>
                        </a:lnTo>
                        <a:lnTo>
                          <a:pt x="243" y="288"/>
                        </a:lnTo>
                        <a:lnTo>
                          <a:pt x="226" y="293"/>
                        </a:lnTo>
                        <a:lnTo>
                          <a:pt x="226" y="293"/>
                        </a:lnTo>
                        <a:lnTo>
                          <a:pt x="226" y="293"/>
                        </a:lnTo>
                        <a:close/>
                        <a:moveTo>
                          <a:pt x="248" y="310"/>
                        </a:moveTo>
                        <a:lnTo>
                          <a:pt x="205" y="305"/>
                        </a:lnTo>
                        <a:lnTo>
                          <a:pt x="260" y="305"/>
                        </a:lnTo>
                        <a:lnTo>
                          <a:pt x="248" y="310"/>
                        </a:lnTo>
                        <a:lnTo>
                          <a:pt x="248" y="310"/>
                        </a:lnTo>
                        <a:lnTo>
                          <a:pt x="248" y="310"/>
                        </a:lnTo>
                        <a:close/>
                        <a:moveTo>
                          <a:pt x="179" y="314"/>
                        </a:moveTo>
                        <a:lnTo>
                          <a:pt x="179" y="310"/>
                        </a:lnTo>
                        <a:lnTo>
                          <a:pt x="196" y="310"/>
                        </a:lnTo>
                        <a:lnTo>
                          <a:pt x="179" y="314"/>
                        </a:lnTo>
                        <a:lnTo>
                          <a:pt x="179" y="314"/>
                        </a:lnTo>
                        <a:lnTo>
                          <a:pt x="179" y="314"/>
                        </a:lnTo>
                        <a:close/>
                        <a:moveTo>
                          <a:pt x="286" y="326"/>
                        </a:moveTo>
                        <a:lnTo>
                          <a:pt x="302" y="326"/>
                        </a:lnTo>
                        <a:lnTo>
                          <a:pt x="352" y="359"/>
                        </a:lnTo>
                        <a:lnTo>
                          <a:pt x="352" y="364"/>
                        </a:lnTo>
                        <a:lnTo>
                          <a:pt x="352" y="364"/>
                        </a:lnTo>
                        <a:lnTo>
                          <a:pt x="314" y="331"/>
                        </a:lnTo>
                        <a:lnTo>
                          <a:pt x="248" y="310"/>
                        </a:lnTo>
                        <a:lnTo>
                          <a:pt x="286" y="326"/>
                        </a:lnTo>
                        <a:lnTo>
                          <a:pt x="286" y="326"/>
                        </a:lnTo>
                        <a:lnTo>
                          <a:pt x="286" y="326"/>
                        </a:lnTo>
                        <a:close/>
                        <a:moveTo>
                          <a:pt x="234" y="326"/>
                        </a:moveTo>
                        <a:lnTo>
                          <a:pt x="217" y="314"/>
                        </a:lnTo>
                        <a:lnTo>
                          <a:pt x="260" y="326"/>
                        </a:lnTo>
                        <a:lnTo>
                          <a:pt x="234" y="326"/>
                        </a:lnTo>
                        <a:lnTo>
                          <a:pt x="234" y="326"/>
                        </a:lnTo>
                        <a:lnTo>
                          <a:pt x="234" y="326"/>
                        </a:lnTo>
                        <a:close/>
                        <a:moveTo>
                          <a:pt x="243" y="343"/>
                        </a:moveTo>
                        <a:lnTo>
                          <a:pt x="234" y="331"/>
                        </a:lnTo>
                        <a:lnTo>
                          <a:pt x="243" y="331"/>
                        </a:lnTo>
                        <a:lnTo>
                          <a:pt x="243" y="343"/>
                        </a:lnTo>
                        <a:lnTo>
                          <a:pt x="243" y="343"/>
                        </a:lnTo>
                        <a:lnTo>
                          <a:pt x="243" y="34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5" name="Freeform 465">
                    <a:extLst>
                      <a:ext uri="{FF2B5EF4-FFF2-40B4-BE49-F238E27FC236}">
                        <a16:creationId xmlns:a16="http://schemas.microsoft.com/office/drawing/2014/main" id="{B528EA66-5984-42F4-A01F-D4ED7081FBEB}"/>
                      </a:ext>
                    </a:extLst>
                  </p:cNvPr>
                  <p:cNvSpPr>
                    <a:spLocks/>
                  </p:cNvSpPr>
                  <p:nvPr/>
                </p:nvSpPr>
                <p:spPr bwMode="gray">
                  <a:xfrm>
                    <a:off x="7188130" y="2498894"/>
                    <a:ext cx="197190" cy="105811"/>
                  </a:xfrm>
                  <a:custGeom>
                    <a:avLst/>
                    <a:gdLst>
                      <a:gd name="T0" fmla="*/ 298 w 479"/>
                      <a:gd name="T1" fmla="*/ 224 h 257"/>
                      <a:gd name="T2" fmla="*/ 248 w 479"/>
                      <a:gd name="T3" fmla="*/ 217 h 257"/>
                      <a:gd name="T4" fmla="*/ 227 w 479"/>
                      <a:gd name="T5" fmla="*/ 234 h 257"/>
                      <a:gd name="T6" fmla="*/ 215 w 479"/>
                      <a:gd name="T7" fmla="*/ 234 h 257"/>
                      <a:gd name="T8" fmla="*/ 194 w 479"/>
                      <a:gd name="T9" fmla="*/ 241 h 257"/>
                      <a:gd name="T10" fmla="*/ 163 w 479"/>
                      <a:gd name="T11" fmla="*/ 257 h 257"/>
                      <a:gd name="T12" fmla="*/ 118 w 479"/>
                      <a:gd name="T13" fmla="*/ 250 h 257"/>
                      <a:gd name="T14" fmla="*/ 109 w 479"/>
                      <a:gd name="T15" fmla="*/ 241 h 257"/>
                      <a:gd name="T16" fmla="*/ 87 w 479"/>
                      <a:gd name="T17" fmla="*/ 241 h 257"/>
                      <a:gd name="T18" fmla="*/ 80 w 479"/>
                      <a:gd name="T19" fmla="*/ 217 h 257"/>
                      <a:gd name="T20" fmla="*/ 38 w 479"/>
                      <a:gd name="T21" fmla="*/ 196 h 257"/>
                      <a:gd name="T22" fmla="*/ 16 w 479"/>
                      <a:gd name="T23" fmla="*/ 168 h 257"/>
                      <a:gd name="T24" fmla="*/ 26 w 479"/>
                      <a:gd name="T25" fmla="*/ 160 h 257"/>
                      <a:gd name="T26" fmla="*/ 0 w 479"/>
                      <a:gd name="T27" fmla="*/ 156 h 257"/>
                      <a:gd name="T28" fmla="*/ 16 w 479"/>
                      <a:gd name="T29" fmla="*/ 144 h 257"/>
                      <a:gd name="T30" fmla="*/ 33 w 479"/>
                      <a:gd name="T31" fmla="*/ 144 h 257"/>
                      <a:gd name="T32" fmla="*/ 26 w 479"/>
                      <a:gd name="T33" fmla="*/ 123 h 257"/>
                      <a:gd name="T34" fmla="*/ 33 w 479"/>
                      <a:gd name="T35" fmla="*/ 123 h 257"/>
                      <a:gd name="T36" fmla="*/ 33 w 479"/>
                      <a:gd name="T37" fmla="*/ 106 h 257"/>
                      <a:gd name="T38" fmla="*/ 49 w 479"/>
                      <a:gd name="T39" fmla="*/ 99 h 257"/>
                      <a:gd name="T40" fmla="*/ 33 w 479"/>
                      <a:gd name="T41" fmla="*/ 83 h 257"/>
                      <a:gd name="T42" fmla="*/ 38 w 479"/>
                      <a:gd name="T43" fmla="*/ 73 h 257"/>
                      <a:gd name="T44" fmla="*/ 49 w 479"/>
                      <a:gd name="T45" fmla="*/ 83 h 257"/>
                      <a:gd name="T46" fmla="*/ 71 w 479"/>
                      <a:gd name="T47" fmla="*/ 83 h 257"/>
                      <a:gd name="T48" fmla="*/ 80 w 479"/>
                      <a:gd name="T49" fmla="*/ 49 h 257"/>
                      <a:gd name="T50" fmla="*/ 92 w 479"/>
                      <a:gd name="T51" fmla="*/ 49 h 257"/>
                      <a:gd name="T52" fmla="*/ 125 w 479"/>
                      <a:gd name="T53" fmla="*/ 73 h 257"/>
                      <a:gd name="T54" fmla="*/ 156 w 479"/>
                      <a:gd name="T55" fmla="*/ 73 h 257"/>
                      <a:gd name="T56" fmla="*/ 194 w 479"/>
                      <a:gd name="T57" fmla="*/ 66 h 257"/>
                      <a:gd name="T58" fmla="*/ 194 w 479"/>
                      <a:gd name="T59" fmla="*/ 54 h 257"/>
                      <a:gd name="T60" fmla="*/ 210 w 479"/>
                      <a:gd name="T61" fmla="*/ 49 h 257"/>
                      <a:gd name="T62" fmla="*/ 243 w 479"/>
                      <a:gd name="T63" fmla="*/ 45 h 257"/>
                      <a:gd name="T64" fmla="*/ 248 w 479"/>
                      <a:gd name="T65" fmla="*/ 33 h 257"/>
                      <a:gd name="T66" fmla="*/ 269 w 479"/>
                      <a:gd name="T67" fmla="*/ 45 h 257"/>
                      <a:gd name="T68" fmla="*/ 302 w 479"/>
                      <a:gd name="T69" fmla="*/ 28 h 257"/>
                      <a:gd name="T70" fmla="*/ 319 w 479"/>
                      <a:gd name="T71" fmla="*/ 0 h 257"/>
                      <a:gd name="T72" fmla="*/ 323 w 479"/>
                      <a:gd name="T73" fmla="*/ 0 h 257"/>
                      <a:gd name="T74" fmla="*/ 357 w 479"/>
                      <a:gd name="T75" fmla="*/ 0 h 257"/>
                      <a:gd name="T76" fmla="*/ 378 w 479"/>
                      <a:gd name="T77" fmla="*/ 0 h 257"/>
                      <a:gd name="T78" fmla="*/ 404 w 479"/>
                      <a:gd name="T79" fmla="*/ 16 h 257"/>
                      <a:gd name="T80" fmla="*/ 427 w 479"/>
                      <a:gd name="T81" fmla="*/ 16 h 257"/>
                      <a:gd name="T82" fmla="*/ 432 w 479"/>
                      <a:gd name="T83" fmla="*/ 16 h 257"/>
                      <a:gd name="T84" fmla="*/ 465 w 479"/>
                      <a:gd name="T85" fmla="*/ 45 h 257"/>
                      <a:gd name="T86" fmla="*/ 475 w 479"/>
                      <a:gd name="T87" fmla="*/ 45 h 257"/>
                      <a:gd name="T88" fmla="*/ 479 w 479"/>
                      <a:gd name="T89" fmla="*/ 54 h 257"/>
                      <a:gd name="T90" fmla="*/ 465 w 479"/>
                      <a:gd name="T91" fmla="*/ 73 h 257"/>
                      <a:gd name="T92" fmla="*/ 442 w 479"/>
                      <a:gd name="T93" fmla="*/ 83 h 257"/>
                      <a:gd name="T94" fmla="*/ 420 w 479"/>
                      <a:gd name="T95" fmla="*/ 99 h 257"/>
                      <a:gd name="T96" fmla="*/ 420 w 479"/>
                      <a:gd name="T97" fmla="*/ 111 h 257"/>
                      <a:gd name="T98" fmla="*/ 394 w 479"/>
                      <a:gd name="T99" fmla="*/ 144 h 257"/>
                      <a:gd name="T100" fmla="*/ 390 w 479"/>
                      <a:gd name="T101" fmla="*/ 168 h 257"/>
                      <a:gd name="T102" fmla="*/ 373 w 479"/>
                      <a:gd name="T103" fmla="*/ 179 h 257"/>
                      <a:gd name="T104" fmla="*/ 366 w 479"/>
                      <a:gd name="T105" fmla="*/ 212 h 257"/>
                      <a:gd name="T106" fmla="*/ 335 w 479"/>
                      <a:gd name="T107" fmla="*/ 212 h 257"/>
                      <a:gd name="T108" fmla="*/ 323 w 479"/>
                      <a:gd name="T109" fmla="*/ 224 h 257"/>
                      <a:gd name="T110" fmla="*/ 314 w 479"/>
                      <a:gd name="T111" fmla="*/ 217 h 257"/>
                      <a:gd name="T112" fmla="*/ 298 w 479"/>
                      <a:gd name="T113" fmla="*/ 224 h 257"/>
                      <a:gd name="T114" fmla="*/ 298 w 479"/>
                      <a:gd name="T115" fmla="*/ 224 h 257"/>
                      <a:gd name="T116" fmla="*/ 298 w 479"/>
                      <a:gd name="T117" fmla="*/ 224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9" h="257">
                        <a:moveTo>
                          <a:pt x="298" y="224"/>
                        </a:moveTo>
                        <a:lnTo>
                          <a:pt x="248" y="217"/>
                        </a:lnTo>
                        <a:lnTo>
                          <a:pt x="227" y="234"/>
                        </a:lnTo>
                        <a:lnTo>
                          <a:pt x="215" y="234"/>
                        </a:lnTo>
                        <a:lnTo>
                          <a:pt x="194" y="241"/>
                        </a:lnTo>
                        <a:lnTo>
                          <a:pt x="163" y="257"/>
                        </a:lnTo>
                        <a:lnTo>
                          <a:pt x="118" y="250"/>
                        </a:lnTo>
                        <a:lnTo>
                          <a:pt x="109" y="241"/>
                        </a:lnTo>
                        <a:lnTo>
                          <a:pt x="87" y="241"/>
                        </a:lnTo>
                        <a:lnTo>
                          <a:pt x="80" y="217"/>
                        </a:lnTo>
                        <a:lnTo>
                          <a:pt x="38" y="196"/>
                        </a:lnTo>
                        <a:lnTo>
                          <a:pt x="16" y="168"/>
                        </a:lnTo>
                        <a:lnTo>
                          <a:pt x="26" y="160"/>
                        </a:lnTo>
                        <a:lnTo>
                          <a:pt x="0" y="156"/>
                        </a:lnTo>
                        <a:lnTo>
                          <a:pt x="16" y="144"/>
                        </a:lnTo>
                        <a:lnTo>
                          <a:pt x="33" y="144"/>
                        </a:lnTo>
                        <a:lnTo>
                          <a:pt x="26" y="123"/>
                        </a:lnTo>
                        <a:lnTo>
                          <a:pt x="33" y="123"/>
                        </a:lnTo>
                        <a:lnTo>
                          <a:pt x="33" y="106"/>
                        </a:lnTo>
                        <a:lnTo>
                          <a:pt x="49" y="99"/>
                        </a:lnTo>
                        <a:lnTo>
                          <a:pt x="33" y="83"/>
                        </a:lnTo>
                        <a:lnTo>
                          <a:pt x="38" y="73"/>
                        </a:lnTo>
                        <a:lnTo>
                          <a:pt x="49" y="83"/>
                        </a:lnTo>
                        <a:lnTo>
                          <a:pt x="71" y="83"/>
                        </a:lnTo>
                        <a:lnTo>
                          <a:pt x="80" y="49"/>
                        </a:lnTo>
                        <a:lnTo>
                          <a:pt x="92" y="49"/>
                        </a:lnTo>
                        <a:lnTo>
                          <a:pt x="125" y="73"/>
                        </a:lnTo>
                        <a:lnTo>
                          <a:pt x="156" y="73"/>
                        </a:lnTo>
                        <a:lnTo>
                          <a:pt x="194" y="66"/>
                        </a:lnTo>
                        <a:lnTo>
                          <a:pt x="194" y="54"/>
                        </a:lnTo>
                        <a:lnTo>
                          <a:pt x="210" y="49"/>
                        </a:lnTo>
                        <a:lnTo>
                          <a:pt x="243" y="45"/>
                        </a:lnTo>
                        <a:lnTo>
                          <a:pt x="248" y="33"/>
                        </a:lnTo>
                        <a:lnTo>
                          <a:pt x="269" y="45"/>
                        </a:lnTo>
                        <a:lnTo>
                          <a:pt x="302" y="28"/>
                        </a:lnTo>
                        <a:lnTo>
                          <a:pt x="319" y="0"/>
                        </a:lnTo>
                        <a:lnTo>
                          <a:pt x="323" y="0"/>
                        </a:lnTo>
                        <a:lnTo>
                          <a:pt x="357" y="0"/>
                        </a:lnTo>
                        <a:lnTo>
                          <a:pt x="378" y="0"/>
                        </a:lnTo>
                        <a:lnTo>
                          <a:pt x="404" y="16"/>
                        </a:lnTo>
                        <a:lnTo>
                          <a:pt x="427" y="16"/>
                        </a:lnTo>
                        <a:lnTo>
                          <a:pt x="432" y="16"/>
                        </a:lnTo>
                        <a:lnTo>
                          <a:pt x="465" y="45"/>
                        </a:lnTo>
                        <a:lnTo>
                          <a:pt x="475" y="45"/>
                        </a:lnTo>
                        <a:lnTo>
                          <a:pt x="479" y="54"/>
                        </a:lnTo>
                        <a:lnTo>
                          <a:pt x="465" y="73"/>
                        </a:lnTo>
                        <a:lnTo>
                          <a:pt x="442" y="83"/>
                        </a:lnTo>
                        <a:lnTo>
                          <a:pt x="420" y="99"/>
                        </a:lnTo>
                        <a:lnTo>
                          <a:pt x="420" y="111"/>
                        </a:lnTo>
                        <a:lnTo>
                          <a:pt x="394" y="144"/>
                        </a:lnTo>
                        <a:lnTo>
                          <a:pt x="390" y="168"/>
                        </a:lnTo>
                        <a:lnTo>
                          <a:pt x="373" y="179"/>
                        </a:lnTo>
                        <a:lnTo>
                          <a:pt x="366" y="212"/>
                        </a:lnTo>
                        <a:lnTo>
                          <a:pt x="335" y="212"/>
                        </a:lnTo>
                        <a:lnTo>
                          <a:pt x="323" y="224"/>
                        </a:lnTo>
                        <a:lnTo>
                          <a:pt x="314" y="217"/>
                        </a:lnTo>
                        <a:lnTo>
                          <a:pt x="298" y="224"/>
                        </a:lnTo>
                        <a:lnTo>
                          <a:pt x="298" y="224"/>
                        </a:lnTo>
                        <a:lnTo>
                          <a:pt x="298" y="22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6" name="Freeform 466">
                    <a:extLst>
                      <a:ext uri="{FF2B5EF4-FFF2-40B4-BE49-F238E27FC236}">
                        <a16:creationId xmlns:a16="http://schemas.microsoft.com/office/drawing/2014/main" id="{7D4FBCC2-BC25-4853-99A0-FC0E668681D6}"/>
                      </a:ext>
                    </a:extLst>
                  </p:cNvPr>
                  <p:cNvSpPr>
                    <a:spLocks/>
                  </p:cNvSpPr>
                  <p:nvPr/>
                </p:nvSpPr>
                <p:spPr bwMode="gray">
                  <a:xfrm>
                    <a:off x="6017340" y="1722809"/>
                    <a:ext cx="317809" cy="153570"/>
                  </a:xfrm>
                  <a:custGeom>
                    <a:avLst/>
                    <a:gdLst>
                      <a:gd name="T0" fmla="*/ 215 w 772"/>
                      <a:gd name="T1" fmla="*/ 241 h 373"/>
                      <a:gd name="T2" fmla="*/ 160 w 772"/>
                      <a:gd name="T3" fmla="*/ 250 h 373"/>
                      <a:gd name="T4" fmla="*/ 156 w 772"/>
                      <a:gd name="T5" fmla="*/ 224 h 373"/>
                      <a:gd name="T6" fmla="*/ 47 w 772"/>
                      <a:gd name="T7" fmla="*/ 224 h 373"/>
                      <a:gd name="T8" fmla="*/ 90 w 772"/>
                      <a:gd name="T9" fmla="*/ 184 h 373"/>
                      <a:gd name="T10" fmla="*/ 172 w 772"/>
                      <a:gd name="T11" fmla="*/ 179 h 373"/>
                      <a:gd name="T12" fmla="*/ 156 w 772"/>
                      <a:gd name="T13" fmla="*/ 127 h 373"/>
                      <a:gd name="T14" fmla="*/ 101 w 772"/>
                      <a:gd name="T15" fmla="*/ 123 h 373"/>
                      <a:gd name="T16" fmla="*/ 14 w 772"/>
                      <a:gd name="T17" fmla="*/ 111 h 373"/>
                      <a:gd name="T18" fmla="*/ 52 w 772"/>
                      <a:gd name="T19" fmla="*/ 111 h 373"/>
                      <a:gd name="T20" fmla="*/ 68 w 772"/>
                      <a:gd name="T21" fmla="*/ 111 h 373"/>
                      <a:gd name="T22" fmla="*/ 90 w 772"/>
                      <a:gd name="T23" fmla="*/ 94 h 373"/>
                      <a:gd name="T24" fmla="*/ 52 w 772"/>
                      <a:gd name="T25" fmla="*/ 85 h 373"/>
                      <a:gd name="T26" fmla="*/ 52 w 772"/>
                      <a:gd name="T27" fmla="*/ 68 h 373"/>
                      <a:gd name="T28" fmla="*/ 75 w 772"/>
                      <a:gd name="T29" fmla="*/ 49 h 373"/>
                      <a:gd name="T30" fmla="*/ 139 w 772"/>
                      <a:gd name="T31" fmla="*/ 73 h 373"/>
                      <a:gd name="T32" fmla="*/ 144 w 772"/>
                      <a:gd name="T33" fmla="*/ 90 h 373"/>
                      <a:gd name="T34" fmla="*/ 106 w 772"/>
                      <a:gd name="T35" fmla="*/ 40 h 373"/>
                      <a:gd name="T36" fmla="*/ 106 w 772"/>
                      <a:gd name="T37" fmla="*/ 16 h 373"/>
                      <a:gd name="T38" fmla="*/ 194 w 772"/>
                      <a:gd name="T39" fmla="*/ 49 h 373"/>
                      <a:gd name="T40" fmla="*/ 210 w 772"/>
                      <a:gd name="T41" fmla="*/ 73 h 373"/>
                      <a:gd name="T42" fmla="*/ 210 w 772"/>
                      <a:gd name="T43" fmla="*/ 106 h 373"/>
                      <a:gd name="T44" fmla="*/ 227 w 772"/>
                      <a:gd name="T45" fmla="*/ 123 h 373"/>
                      <a:gd name="T46" fmla="*/ 248 w 772"/>
                      <a:gd name="T47" fmla="*/ 139 h 373"/>
                      <a:gd name="T48" fmla="*/ 269 w 772"/>
                      <a:gd name="T49" fmla="*/ 123 h 373"/>
                      <a:gd name="T50" fmla="*/ 302 w 772"/>
                      <a:gd name="T51" fmla="*/ 94 h 373"/>
                      <a:gd name="T52" fmla="*/ 345 w 772"/>
                      <a:gd name="T53" fmla="*/ 94 h 373"/>
                      <a:gd name="T54" fmla="*/ 354 w 772"/>
                      <a:gd name="T55" fmla="*/ 73 h 373"/>
                      <a:gd name="T56" fmla="*/ 387 w 772"/>
                      <a:gd name="T57" fmla="*/ 49 h 373"/>
                      <a:gd name="T58" fmla="*/ 425 w 772"/>
                      <a:gd name="T59" fmla="*/ 73 h 373"/>
                      <a:gd name="T60" fmla="*/ 453 w 772"/>
                      <a:gd name="T61" fmla="*/ 90 h 373"/>
                      <a:gd name="T62" fmla="*/ 463 w 772"/>
                      <a:gd name="T63" fmla="*/ 49 h 373"/>
                      <a:gd name="T64" fmla="*/ 517 w 772"/>
                      <a:gd name="T65" fmla="*/ 40 h 373"/>
                      <a:gd name="T66" fmla="*/ 571 w 772"/>
                      <a:gd name="T67" fmla="*/ 33 h 373"/>
                      <a:gd name="T68" fmla="*/ 614 w 772"/>
                      <a:gd name="T69" fmla="*/ 28 h 373"/>
                      <a:gd name="T70" fmla="*/ 668 w 772"/>
                      <a:gd name="T71" fmla="*/ 28 h 373"/>
                      <a:gd name="T72" fmla="*/ 668 w 772"/>
                      <a:gd name="T73" fmla="*/ 49 h 373"/>
                      <a:gd name="T74" fmla="*/ 680 w 772"/>
                      <a:gd name="T75" fmla="*/ 106 h 373"/>
                      <a:gd name="T76" fmla="*/ 701 w 772"/>
                      <a:gd name="T77" fmla="*/ 127 h 373"/>
                      <a:gd name="T78" fmla="*/ 765 w 772"/>
                      <a:gd name="T79" fmla="*/ 127 h 373"/>
                      <a:gd name="T80" fmla="*/ 734 w 772"/>
                      <a:gd name="T81" fmla="*/ 168 h 373"/>
                      <a:gd name="T82" fmla="*/ 765 w 772"/>
                      <a:gd name="T83" fmla="*/ 196 h 373"/>
                      <a:gd name="T84" fmla="*/ 734 w 772"/>
                      <a:gd name="T85" fmla="*/ 196 h 373"/>
                      <a:gd name="T86" fmla="*/ 739 w 772"/>
                      <a:gd name="T87" fmla="*/ 224 h 373"/>
                      <a:gd name="T88" fmla="*/ 711 w 772"/>
                      <a:gd name="T89" fmla="*/ 224 h 373"/>
                      <a:gd name="T90" fmla="*/ 701 w 772"/>
                      <a:gd name="T91" fmla="*/ 257 h 373"/>
                      <a:gd name="T92" fmla="*/ 642 w 772"/>
                      <a:gd name="T93" fmla="*/ 262 h 373"/>
                      <a:gd name="T94" fmla="*/ 560 w 772"/>
                      <a:gd name="T95" fmla="*/ 319 h 373"/>
                      <a:gd name="T96" fmla="*/ 522 w 772"/>
                      <a:gd name="T97" fmla="*/ 328 h 373"/>
                      <a:gd name="T98" fmla="*/ 468 w 772"/>
                      <a:gd name="T99" fmla="*/ 352 h 373"/>
                      <a:gd name="T100" fmla="*/ 302 w 772"/>
                      <a:gd name="T101" fmla="*/ 364 h 373"/>
                      <a:gd name="T102" fmla="*/ 290 w 772"/>
                      <a:gd name="T103" fmla="*/ 335 h 373"/>
                      <a:gd name="T104" fmla="*/ 279 w 772"/>
                      <a:gd name="T105" fmla="*/ 328 h 373"/>
                      <a:gd name="T106" fmla="*/ 231 w 772"/>
                      <a:gd name="T107" fmla="*/ 319 h 373"/>
                      <a:gd name="T108" fmla="*/ 123 w 772"/>
                      <a:gd name="T109" fmla="*/ 328 h 373"/>
                      <a:gd name="T110" fmla="*/ 177 w 772"/>
                      <a:gd name="T111" fmla="*/ 295 h 373"/>
                      <a:gd name="T112" fmla="*/ 198 w 772"/>
                      <a:gd name="T113" fmla="*/ 279 h 373"/>
                      <a:gd name="T114" fmla="*/ 227 w 772"/>
                      <a:gd name="T115" fmla="*/ 262 h 373"/>
                      <a:gd name="T116" fmla="*/ 177 w 772"/>
                      <a:gd name="T117" fmla="*/ 257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72" h="373">
                        <a:moveTo>
                          <a:pt x="177" y="257"/>
                        </a:moveTo>
                        <a:lnTo>
                          <a:pt x="198" y="234"/>
                        </a:lnTo>
                        <a:lnTo>
                          <a:pt x="215" y="241"/>
                        </a:lnTo>
                        <a:lnTo>
                          <a:pt x="198" y="234"/>
                        </a:lnTo>
                        <a:lnTo>
                          <a:pt x="210" y="234"/>
                        </a:lnTo>
                        <a:lnTo>
                          <a:pt x="160" y="250"/>
                        </a:lnTo>
                        <a:lnTo>
                          <a:pt x="156" y="241"/>
                        </a:lnTo>
                        <a:lnTo>
                          <a:pt x="144" y="234"/>
                        </a:lnTo>
                        <a:lnTo>
                          <a:pt x="156" y="224"/>
                        </a:lnTo>
                        <a:lnTo>
                          <a:pt x="144" y="208"/>
                        </a:lnTo>
                        <a:lnTo>
                          <a:pt x="75" y="208"/>
                        </a:lnTo>
                        <a:lnTo>
                          <a:pt x="47" y="224"/>
                        </a:lnTo>
                        <a:lnTo>
                          <a:pt x="31" y="201"/>
                        </a:lnTo>
                        <a:lnTo>
                          <a:pt x="64" y="201"/>
                        </a:lnTo>
                        <a:lnTo>
                          <a:pt x="90" y="184"/>
                        </a:lnTo>
                        <a:lnTo>
                          <a:pt x="182" y="184"/>
                        </a:lnTo>
                        <a:lnTo>
                          <a:pt x="194" y="163"/>
                        </a:lnTo>
                        <a:lnTo>
                          <a:pt x="172" y="179"/>
                        </a:lnTo>
                        <a:lnTo>
                          <a:pt x="139" y="168"/>
                        </a:lnTo>
                        <a:lnTo>
                          <a:pt x="198" y="139"/>
                        </a:lnTo>
                        <a:lnTo>
                          <a:pt x="156" y="127"/>
                        </a:lnTo>
                        <a:lnTo>
                          <a:pt x="172" y="123"/>
                        </a:lnTo>
                        <a:lnTo>
                          <a:pt x="144" y="127"/>
                        </a:lnTo>
                        <a:lnTo>
                          <a:pt x="101" y="123"/>
                        </a:lnTo>
                        <a:lnTo>
                          <a:pt x="47" y="139"/>
                        </a:lnTo>
                        <a:lnTo>
                          <a:pt x="0" y="127"/>
                        </a:lnTo>
                        <a:lnTo>
                          <a:pt x="14" y="111"/>
                        </a:lnTo>
                        <a:lnTo>
                          <a:pt x="52" y="127"/>
                        </a:lnTo>
                        <a:lnTo>
                          <a:pt x="31" y="111"/>
                        </a:lnTo>
                        <a:lnTo>
                          <a:pt x="52" y="111"/>
                        </a:lnTo>
                        <a:lnTo>
                          <a:pt x="31" y="106"/>
                        </a:lnTo>
                        <a:lnTo>
                          <a:pt x="31" y="90"/>
                        </a:lnTo>
                        <a:lnTo>
                          <a:pt x="68" y="111"/>
                        </a:lnTo>
                        <a:lnTo>
                          <a:pt x="85" y="111"/>
                        </a:lnTo>
                        <a:lnTo>
                          <a:pt x="68" y="106"/>
                        </a:lnTo>
                        <a:lnTo>
                          <a:pt x="90" y="94"/>
                        </a:lnTo>
                        <a:lnTo>
                          <a:pt x="52" y="94"/>
                        </a:lnTo>
                        <a:lnTo>
                          <a:pt x="47" y="90"/>
                        </a:lnTo>
                        <a:lnTo>
                          <a:pt x="52" y="85"/>
                        </a:lnTo>
                        <a:lnTo>
                          <a:pt x="90" y="90"/>
                        </a:lnTo>
                        <a:lnTo>
                          <a:pt x="47" y="68"/>
                        </a:lnTo>
                        <a:lnTo>
                          <a:pt x="52" y="68"/>
                        </a:lnTo>
                        <a:lnTo>
                          <a:pt x="85" y="73"/>
                        </a:lnTo>
                        <a:lnTo>
                          <a:pt x="64" y="57"/>
                        </a:lnTo>
                        <a:lnTo>
                          <a:pt x="75" y="49"/>
                        </a:lnTo>
                        <a:lnTo>
                          <a:pt x="123" y="73"/>
                        </a:lnTo>
                        <a:lnTo>
                          <a:pt x="127" y="68"/>
                        </a:lnTo>
                        <a:lnTo>
                          <a:pt x="139" y="73"/>
                        </a:lnTo>
                        <a:lnTo>
                          <a:pt x="127" y="90"/>
                        </a:lnTo>
                        <a:lnTo>
                          <a:pt x="139" y="73"/>
                        </a:lnTo>
                        <a:lnTo>
                          <a:pt x="144" y="90"/>
                        </a:lnTo>
                        <a:lnTo>
                          <a:pt x="144" y="73"/>
                        </a:lnTo>
                        <a:lnTo>
                          <a:pt x="139" y="57"/>
                        </a:lnTo>
                        <a:lnTo>
                          <a:pt x="106" y="40"/>
                        </a:lnTo>
                        <a:lnTo>
                          <a:pt x="144" y="40"/>
                        </a:lnTo>
                        <a:lnTo>
                          <a:pt x="90" y="28"/>
                        </a:lnTo>
                        <a:lnTo>
                          <a:pt x="106" y="16"/>
                        </a:lnTo>
                        <a:lnTo>
                          <a:pt x="144" y="16"/>
                        </a:lnTo>
                        <a:lnTo>
                          <a:pt x="160" y="33"/>
                        </a:lnTo>
                        <a:lnTo>
                          <a:pt x="194" y="49"/>
                        </a:lnTo>
                        <a:lnTo>
                          <a:pt x="198" y="68"/>
                        </a:lnTo>
                        <a:lnTo>
                          <a:pt x="215" y="68"/>
                        </a:lnTo>
                        <a:lnTo>
                          <a:pt x="210" y="73"/>
                        </a:lnTo>
                        <a:lnTo>
                          <a:pt x="227" y="85"/>
                        </a:lnTo>
                        <a:lnTo>
                          <a:pt x="227" y="106"/>
                        </a:lnTo>
                        <a:lnTo>
                          <a:pt x="210" y="106"/>
                        </a:lnTo>
                        <a:lnTo>
                          <a:pt x="194" y="94"/>
                        </a:lnTo>
                        <a:lnTo>
                          <a:pt x="198" y="111"/>
                        </a:lnTo>
                        <a:lnTo>
                          <a:pt x="227" y="123"/>
                        </a:lnTo>
                        <a:lnTo>
                          <a:pt x="236" y="168"/>
                        </a:lnTo>
                        <a:lnTo>
                          <a:pt x="236" y="139"/>
                        </a:lnTo>
                        <a:lnTo>
                          <a:pt x="248" y="139"/>
                        </a:lnTo>
                        <a:lnTo>
                          <a:pt x="253" y="123"/>
                        </a:lnTo>
                        <a:lnTo>
                          <a:pt x="269" y="106"/>
                        </a:lnTo>
                        <a:lnTo>
                          <a:pt x="269" y="123"/>
                        </a:lnTo>
                        <a:lnTo>
                          <a:pt x="286" y="127"/>
                        </a:lnTo>
                        <a:lnTo>
                          <a:pt x="290" y="111"/>
                        </a:lnTo>
                        <a:lnTo>
                          <a:pt x="302" y="94"/>
                        </a:lnTo>
                        <a:lnTo>
                          <a:pt x="286" y="57"/>
                        </a:lnTo>
                        <a:lnTo>
                          <a:pt x="307" y="57"/>
                        </a:lnTo>
                        <a:lnTo>
                          <a:pt x="345" y="94"/>
                        </a:lnTo>
                        <a:lnTo>
                          <a:pt x="354" y="106"/>
                        </a:lnTo>
                        <a:lnTo>
                          <a:pt x="361" y="90"/>
                        </a:lnTo>
                        <a:lnTo>
                          <a:pt x="354" y="73"/>
                        </a:lnTo>
                        <a:lnTo>
                          <a:pt x="354" y="68"/>
                        </a:lnTo>
                        <a:lnTo>
                          <a:pt x="387" y="57"/>
                        </a:lnTo>
                        <a:lnTo>
                          <a:pt x="387" y="49"/>
                        </a:lnTo>
                        <a:lnTo>
                          <a:pt x="399" y="49"/>
                        </a:lnTo>
                        <a:lnTo>
                          <a:pt x="416" y="57"/>
                        </a:lnTo>
                        <a:lnTo>
                          <a:pt x="425" y="73"/>
                        </a:lnTo>
                        <a:lnTo>
                          <a:pt x="442" y="85"/>
                        </a:lnTo>
                        <a:lnTo>
                          <a:pt x="453" y="111"/>
                        </a:lnTo>
                        <a:lnTo>
                          <a:pt x="453" y="90"/>
                        </a:lnTo>
                        <a:lnTo>
                          <a:pt x="442" y="68"/>
                        </a:lnTo>
                        <a:lnTo>
                          <a:pt x="442" y="49"/>
                        </a:lnTo>
                        <a:lnTo>
                          <a:pt x="463" y="49"/>
                        </a:lnTo>
                        <a:lnTo>
                          <a:pt x="484" y="73"/>
                        </a:lnTo>
                        <a:lnTo>
                          <a:pt x="501" y="73"/>
                        </a:lnTo>
                        <a:lnTo>
                          <a:pt x="517" y="40"/>
                        </a:lnTo>
                        <a:lnTo>
                          <a:pt x="555" y="57"/>
                        </a:lnTo>
                        <a:lnTo>
                          <a:pt x="550" y="49"/>
                        </a:lnTo>
                        <a:lnTo>
                          <a:pt x="571" y="33"/>
                        </a:lnTo>
                        <a:lnTo>
                          <a:pt x="555" y="12"/>
                        </a:lnTo>
                        <a:lnTo>
                          <a:pt x="593" y="0"/>
                        </a:lnTo>
                        <a:lnTo>
                          <a:pt x="614" y="28"/>
                        </a:lnTo>
                        <a:lnTo>
                          <a:pt x="614" y="40"/>
                        </a:lnTo>
                        <a:lnTo>
                          <a:pt x="642" y="49"/>
                        </a:lnTo>
                        <a:lnTo>
                          <a:pt x="668" y="28"/>
                        </a:lnTo>
                        <a:lnTo>
                          <a:pt x="685" y="28"/>
                        </a:lnTo>
                        <a:lnTo>
                          <a:pt x="668" y="33"/>
                        </a:lnTo>
                        <a:lnTo>
                          <a:pt x="668" y="49"/>
                        </a:lnTo>
                        <a:lnTo>
                          <a:pt x="657" y="57"/>
                        </a:lnTo>
                        <a:lnTo>
                          <a:pt x="697" y="73"/>
                        </a:lnTo>
                        <a:lnTo>
                          <a:pt x="680" y="106"/>
                        </a:lnTo>
                        <a:lnTo>
                          <a:pt x="718" y="94"/>
                        </a:lnTo>
                        <a:lnTo>
                          <a:pt x="718" y="111"/>
                        </a:lnTo>
                        <a:lnTo>
                          <a:pt x="701" y="127"/>
                        </a:lnTo>
                        <a:lnTo>
                          <a:pt x="718" y="111"/>
                        </a:lnTo>
                        <a:lnTo>
                          <a:pt x="765" y="123"/>
                        </a:lnTo>
                        <a:lnTo>
                          <a:pt x="765" y="127"/>
                        </a:lnTo>
                        <a:lnTo>
                          <a:pt x="756" y="151"/>
                        </a:lnTo>
                        <a:lnTo>
                          <a:pt x="772" y="163"/>
                        </a:lnTo>
                        <a:lnTo>
                          <a:pt x="734" y="168"/>
                        </a:lnTo>
                        <a:lnTo>
                          <a:pt x="765" y="168"/>
                        </a:lnTo>
                        <a:lnTo>
                          <a:pt x="772" y="179"/>
                        </a:lnTo>
                        <a:lnTo>
                          <a:pt x="765" y="196"/>
                        </a:lnTo>
                        <a:lnTo>
                          <a:pt x="739" y="179"/>
                        </a:lnTo>
                        <a:lnTo>
                          <a:pt x="756" y="201"/>
                        </a:lnTo>
                        <a:lnTo>
                          <a:pt x="734" y="196"/>
                        </a:lnTo>
                        <a:lnTo>
                          <a:pt x="756" y="201"/>
                        </a:lnTo>
                        <a:lnTo>
                          <a:pt x="734" y="217"/>
                        </a:lnTo>
                        <a:lnTo>
                          <a:pt x="739" y="224"/>
                        </a:lnTo>
                        <a:lnTo>
                          <a:pt x="718" y="224"/>
                        </a:lnTo>
                        <a:lnTo>
                          <a:pt x="701" y="208"/>
                        </a:lnTo>
                        <a:lnTo>
                          <a:pt x="711" y="224"/>
                        </a:lnTo>
                        <a:lnTo>
                          <a:pt x="697" y="241"/>
                        </a:lnTo>
                        <a:lnTo>
                          <a:pt x="711" y="241"/>
                        </a:lnTo>
                        <a:lnTo>
                          <a:pt x="701" y="257"/>
                        </a:lnTo>
                        <a:lnTo>
                          <a:pt x="685" y="257"/>
                        </a:lnTo>
                        <a:lnTo>
                          <a:pt x="668" y="274"/>
                        </a:lnTo>
                        <a:lnTo>
                          <a:pt x="642" y="262"/>
                        </a:lnTo>
                        <a:lnTo>
                          <a:pt x="642" y="274"/>
                        </a:lnTo>
                        <a:lnTo>
                          <a:pt x="593" y="290"/>
                        </a:lnTo>
                        <a:lnTo>
                          <a:pt x="560" y="319"/>
                        </a:lnTo>
                        <a:lnTo>
                          <a:pt x="538" y="328"/>
                        </a:lnTo>
                        <a:lnTo>
                          <a:pt x="534" y="312"/>
                        </a:lnTo>
                        <a:lnTo>
                          <a:pt x="522" y="328"/>
                        </a:lnTo>
                        <a:lnTo>
                          <a:pt x="468" y="335"/>
                        </a:lnTo>
                        <a:lnTo>
                          <a:pt x="463" y="345"/>
                        </a:lnTo>
                        <a:lnTo>
                          <a:pt x="468" y="352"/>
                        </a:lnTo>
                        <a:lnTo>
                          <a:pt x="463" y="364"/>
                        </a:lnTo>
                        <a:lnTo>
                          <a:pt x="408" y="373"/>
                        </a:lnTo>
                        <a:lnTo>
                          <a:pt x="302" y="364"/>
                        </a:lnTo>
                        <a:lnTo>
                          <a:pt x="279" y="335"/>
                        </a:lnTo>
                        <a:lnTo>
                          <a:pt x="290" y="335"/>
                        </a:lnTo>
                        <a:lnTo>
                          <a:pt x="290" y="335"/>
                        </a:lnTo>
                        <a:lnTo>
                          <a:pt x="279" y="335"/>
                        </a:lnTo>
                        <a:lnTo>
                          <a:pt x="269" y="335"/>
                        </a:lnTo>
                        <a:lnTo>
                          <a:pt x="279" y="328"/>
                        </a:lnTo>
                        <a:lnTo>
                          <a:pt x="269" y="319"/>
                        </a:lnTo>
                        <a:lnTo>
                          <a:pt x="253" y="328"/>
                        </a:lnTo>
                        <a:lnTo>
                          <a:pt x="231" y="319"/>
                        </a:lnTo>
                        <a:lnTo>
                          <a:pt x="248" y="312"/>
                        </a:lnTo>
                        <a:lnTo>
                          <a:pt x="198" y="328"/>
                        </a:lnTo>
                        <a:lnTo>
                          <a:pt x="123" y="328"/>
                        </a:lnTo>
                        <a:lnTo>
                          <a:pt x="127" y="295"/>
                        </a:lnTo>
                        <a:lnTo>
                          <a:pt x="139" y="307"/>
                        </a:lnTo>
                        <a:lnTo>
                          <a:pt x="177" y="295"/>
                        </a:lnTo>
                        <a:lnTo>
                          <a:pt x="182" y="295"/>
                        </a:lnTo>
                        <a:lnTo>
                          <a:pt x="177" y="290"/>
                        </a:lnTo>
                        <a:lnTo>
                          <a:pt x="198" y="279"/>
                        </a:lnTo>
                        <a:lnTo>
                          <a:pt x="182" y="279"/>
                        </a:lnTo>
                        <a:lnTo>
                          <a:pt x="194" y="262"/>
                        </a:lnTo>
                        <a:lnTo>
                          <a:pt x="227" y="262"/>
                        </a:lnTo>
                        <a:lnTo>
                          <a:pt x="172" y="274"/>
                        </a:lnTo>
                        <a:lnTo>
                          <a:pt x="177" y="257"/>
                        </a:lnTo>
                        <a:lnTo>
                          <a:pt x="177" y="257"/>
                        </a:lnTo>
                        <a:lnTo>
                          <a:pt x="177" y="25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7" name="Freeform 468">
                    <a:extLst>
                      <a:ext uri="{FF2B5EF4-FFF2-40B4-BE49-F238E27FC236}">
                        <a16:creationId xmlns:a16="http://schemas.microsoft.com/office/drawing/2014/main" id="{64D1FA75-AD9D-46A2-BDE2-33ADFCC79FFF}"/>
                      </a:ext>
                    </a:extLst>
                  </p:cNvPr>
                  <p:cNvSpPr>
                    <a:spLocks/>
                  </p:cNvSpPr>
                  <p:nvPr/>
                </p:nvSpPr>
                <p:spPr bwMode="gray">
                  <a:xfrm>
                    <a:off x="6589149" y="2269157"/>
                    <a:ext cx="12350" cy="15645"/>
                  </a:xfrm>
                  <a:custGeom>
                    <a:avLst/>
                    <a:gdLst>
                      <a:gd name="T0" fmla="*/ 0 w 30"/>
                      <a:gd name="T1" fmla="*/ 38 h 38"/>
                      <a:gd name="T2" fmla="*/ 0 w 30"/>
                      <a:gd name="T3" fmla="*/ 22 h 38"/>
                      <a:gd name="T4" fmla="*/ 26 w 30"/>
                      <a:gd name="T5" fmla="*/ 0 h 38"/>
                      <a:gd name="T6" fmla="*/ 30 w 30"/>
                      <a:gd name="T7" fmla="*/ 17 h 38"/>
                      <a:gd name="T8" fmla="*/ 26 w 30"/>
                      <a:gd name="T9" fmla="*/ 22 h 38"/>
                      <a:gd name="T10" fmla="*/ 0 w 30"/>
                      <a:gd name="T11" fmla="*/ 38 h 38"/>
                      <a:gd name="T12" fmla="*/ 0 w 30"/>
                      <a:gd name="T13" fmla="*/ 38 h 38"/>
                      <a:gd name="T14" fmla="*/ 0 w 30"/>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8">
                        <a:moveTo>
                          <a:pt x="0" y="38"/>
                        </a:moveTo>
                        <a:lnTo>
                          <a:pt x="0" y="22"/>
                        </a:lnTo>
                        <a:lnTo>
                          <a:pt x="26" y="0"/>
                        </a:lnTo>
                        <a:lnTo>
                          <a:pt x="30" y="17"/>
                        </a:lnTo>
                        <a:lnTo>
                          <a:pt x="26" y="22"/>
                        </a:lnTo>
                        <a:lnTo>
                          <a:pt x="0" y="38"/>
                        </a:lnTo>
                        <a:lnTo>
                          <a:pt x="0" y="38"/>
                        </a:lnTo>
                        <a:lnTo>
                          <a:pt x="0" y="3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8" name="Freeform 477">
                    <a:extLst>
                      <a:ext uri="{FF2B5EF4-FFF2-40B4-BE49-F238E27FC236}">
                        <a16:creationId xmlns:a16="http://schemas.microsoft.com/office/drawing/2014/main" id="{3B6E55B5-239C-45C9-9BFA-D22F2DB7FA49}"/>
                      </a:ext>
                    </a:extLst>
                  </p:cNvPr>
                  <p:cNvSpPr>
                    <a:spLocks/>
                  </p:cNvSpPr>
                  <p:nvPr/>
                </p:nvSpPr>
                <p:spPr bwMode="gray">
                  <a:xfrm>
                    <a:off x="6662016" y="2473368"/>
                    <a:ext cx="6587" cy="4117"/>
                  </a:xfrm>
                  <a:custGeom>
                    <a:avLst/>
                    <a:gdLst>
                      <a:gd name="T0" fmla="*/ 9 w 16"/>
                      <a:gd name="T1" fmla="*/ 10 h 10"/>
                      <a:gd name="T2" fmla="*/ 0 w 16"/>
                      <a:gd name="T3" fmla="*/ 0 h 10"/>
                      <a:gd name="T4" fmla="*/ 16 w 16"/>
                      <a:gd name="T5" fmla="*/ 0 h 10"/>
                      <a:gd name="T6" fmla="*/ 9 w 16"/>
                      <a:gd name="T7" fmla="*/ 10 h 10"/>
                      <a:gd name="T8" fmla="*/ 9 w 16"/>
                      <a:gd name="T9" fmla="*/ 10 h 10"/>
                      <a:gd name="T10" fmla="*/ 9 w 16"/>
                      <a:gd name="T11" fmla="*/ 10 h 10"/>
                    </a:gdLst>
                    <a:ahLst/>
                    <a:cxnLst>
                      <a:cxn ang="0">
                        <a:pos x="T0" y="T1"/>
                      </a:cxn>
                      <a:cxn ang="0">
                        <a:pos x="T2" y="T3"/>
                      </a:cxn>
                      <a:cxn ang="0">
                        <a:pos x="T4" y="T5"/>
                      </a:cxn>
                      <a:cxn ang="0">
                        <a:pos x="T6" y="T7"/>
                      </a:cxn>
                      <a:cxn ang="0">
                        <a:pos x="T8" y="T9"/>
                      </a:cxn>
                      <a:cxn ang="0">
                        <a:pos x="T10" y="T11"/>
                      </a:cxn>
                    </a:cxnLst>
                    <a:rect l="0" t="0" r="r" b="b"/>
                    <a:pathLst>
                      <a:path w="16" h="10">
                        <a:moveTo>
                          <a:pt x="9" y="10"/>
                        </a:moveTo>
                        <a:lnTo>
                          <a:pt x="0" y="0"/>
                        </a:lnTo>
                        <a:lnTo>
                          <a:pt x="16" y="0"/>
                        </a:lnTo>
                        <a:lnTo>
                          <a:pt x="9" y="10"/>
                        </a:lnTo>
                        <a:lnTo>
                          <a:pt x="9" y="10"/>
                        </a:lnTo>
                        <a:lnTo>
                          <a:pt x="9" y="1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9" name="Freeform 479">
                    <a:extLst>
                      <a:ext uri="{FF2B5EF4-FFF2-40B4-BE49-F238E27FC236}">
                        <a16:creationId xmlns:a16="http://schemas.microsoft.com/office/drawing/2014/main" id="{9972A5A0-D712-43CC-9B52-303A1EBC7630}"/>
                      </a:ext>
                    </a:extLst>
                  </p:cNvPr>
                  <p:cNvSpPr>
                    <a:spLocks/>
                  </p:cNvSpPr>
                  <p:nvPr/>
                </p:nvSpPr>
                <p:spPr bwMode="gray">
                  <a:xfrm>
                    <a:off x="6461531" y="1486484"/>
                    <a:ext cx="36227" cy="19351"/>
                  </a:xfrm>
                  <a:custGeom>
                    <a:avLst/>
                    <a:gdLst>
                      <a:gd name="T0" fmla="*/ 12 w 88"/>
                      <a:gd name="T1" fmla="*/ 47 h 47"/>
                      <a:gd name="T2" fmla="*/ 0 w 88"/>
                      <a:gd name="T3" fmla="*/ 35 h 47"/>
                      <a:gd name="T4" fmla="*/ 50 w 88"/>
                      <a:gd name="T5" fmla="*/ 14 h 47"/>
                      <a:gd name="T6" fmla="*/ 55 w 88"/>
                      <a:gd name="T7" fmla="*/ 0 h 47"/>
                      <a:gd name="T8" fmla="*/ 88 w 88"/>
                      <a:gd name="T9" fmla="*/ 0 h 47"/>
                      <a:gd name="T10" fmla="*/ 76 w 88"/>
                      <a:gd name="T11" fmla="*/ 14 h 47"/>
                      <a:gd name="T12" fmla="*/ 38 w 88"/>
                      <a:gd name="T13" fmla="*/ 21 h 47"/>
                      <a:gd name="T14" fmla="*/ 12 w 88"/>
                      <a:gd name="T15" fmla="*/ 47 h 47"/>
                      <a:gd name="T16" fmla="*/ 12 w 88"/>
                      <a:gd name="T17" fmla="*/ 47 h 47"/>
                      <a:gd name="T18" fmla="*/ 12 w 88"/>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47">
                        <a:moveTo>
                          <a:pt x="12" y="47"/>
                        </a:moveTo>
                        <a:lnTo>
                          <a:pt x="0" y="35"/>
                        </a:lnTo>
                        <a:lnTo>
                          <a:pt x="50" y="14"/>
                        </a:lnTo>
                        <a:lnTo>
                          <a:pt x="55" y="0"/>
                        </a:lnTo>
                        <a:lnTo>
                          <a:pt x="88" y="0"/>
                        </a:lnTo>
                        <a:lnTo>
                          <a:pt x="76" y="14"/>
                        </a:lnTo>
                        <a:lnTo>
                          <a:pt x="38" y="21"/>
                        </a:lnTo>
                        <a:lnTo>
                          <a:pt x="12" y="47"/>
                        </a:lnTo>
                        <a:lnTo>
                          <a:pt x="12" y="47"/>
                        </a:lnTo>
                        <a:lnTo>
                          <a:pt x="12" y="4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0" name="Freeform 482">
                    <a:extLst>
                      <a:ext uri="{FF2B5EF4-FFF2-40B4-BE49-F238E27FC236}">
                        <a16:creationId xmlns:a16="http://schemas.microsoft.com/office/drawing/2014/main" id="{CD5AD502-1DC9-4DF8-94E6-6C52607999CE}"/>
                      </a:ext>
                    </a:extLst>
                  </p:cNvPr>
                  <p:cNvSpPr>
                    <a:spLocks/>
                  </p:cNvSpPr>
                  <p:nvPr/>
                </p:nvSpPr>
                <p:spPr bwMode="gray">
                  <a:xfrm>
                    <a:off x="8726540" y="2696106"/>
                    <a:ext cx="314928" cy="143277"/>
                  </a:xfrm>
                  <a:custGeom>
                    <a:avLst/>
                    <a:gdLst>
                      <a:gd name="T0" fmla="*/ 397 w 765"/>
                      <a:gd name="T1" fmla="*/ 255 h 348"/>
                      <a:gd name="T2" fmla="*/ 359 w 765"/>
                      <a:gd name="T3" fmla="*/ 272 h 348"/>
                      <a:gd name="T4" fmla="*/ 321 w 765"/>
                      <a:gd name="T5" fmla="*/ 305 h 348"/>
                      <a:gd name="T6" fmla="*/ 321 w 765"/>
                      <a:gd name="T7" fmla="*/ 326 h 348"/>
                      <a:gd name="T8" fmla="*/ 271 w 765"/>
                      <a:gd name="T9" fmla="*/ 331 h 348"/>
                      <a:gd name="T10" fmla="*/ 212 w 765"/>
                      <a:gd name="T11" fmla="*/ 348 h 348"/>
                      <a:gd name="T12" fmla="*/ 168 w 765"/>
                      <a:gd name="T13" fmla="*/ 343 h 348"/>
                      <a:gd name="T14" fmla="*/ 158 w 765"/>
                      <a:gd name="T15" fmla="*/ 326 h 348"/>
                      <a:gd name="T16" fmla="*/ 125 w 765"/>
                      <a:gd name="T17" fmla="*/ 326 h 348"/>
                      <a:gd name="T18" fmla="*/ 104 w 765"/>
                      <a:gd name="T19" fmla="*/ 331 h 348"/>
                      <a:gd name="T20" fmla="*/ 87 w 765"/>
                      <a:gd name="T21" fmla="*/ 315 h 348"/>
                      <a:gd name="T22" fmla="*/ 0 w 765"/>
                      <a:gd name="T23" fmla="*/ 293 h 348"/>
                      <a:gd name="T24" fmla="*/ 7 w 765"/>
                      <a:gd name="T25" fmla="*/ 289 h 348"/>
                      <a:gd name="T26" fmla="*/ 16 w 765"/>
                      <a:gd name="T27" fmla="*/ 272 h 348"/>
                      <a:gd name="T28" fmla="*/ 87 w 765"/>
                      <a:gd name="T29" fmla="*/ 277 h 348"/>
                      <a:gd name="T30" fmla="*/ 92 w 765"/>
                      <a:gd name="T31" fmla="*/ 289 h 348"/>
                      <a:gd name="T32" fmla="*/ 113 w 765"/>
                      <a:gd name="T33" fmla="*/ 272 h 348"/>
                      <a:gd name="T34" fmla="*/ 146 w 765"/>
                      <a:gd name="T35" fmla="*/ 255 h 348"/>
                      <a:gd name="T36" fmla="*/ 196 w 765"/>
                      <a:gd name="T37" fmla="*/ 260 h 348"/>
                      <a:gd name="T38" fmla="*/ 201 w 765"/>
                      <a:gd name="T39" fmla="*/ 248 h 348"/>
                      <a:gd name="T40" fmla="*/ 217 w 765"/>
                      <a:gd name="T41" fmla="*/ 232 h 348"/>
                      <a:gd name="T42" fmla="*/ 250 w 765"/>
                      <a:gd name="T43" fmla="*/ 222 h 348"/>
                      <a:gd name="T44" fmla="*/ 234 w 765"/>
                      <a:gd name="T45" fmla="*/ 206 h 348"/>
                      <a:gd name="T46" fmla="*/ 201 w 765"/>
                      <a:gd name="T47" fmla="*/ 199 h 348"/>
                      <a:gd name="T48" fmla="*/ 184 w 765"/>
                      <a:gd name="T49" fmla="*/ 182 h 348"/>
                      <a:gd name="T50" fmla="*/ 168 w 765"/>
                      <a:gd name="T51" fmla="*/ 149 h 348"/>
                      <a:gd name="T52" fmla="*/ 146 w 765"/>
                      <a:gd name="T53" fmla="*/ 166 h 348"/>
                      <a:gd name="T54" fmla="*/ 108 w 765"/>
                      <a:gd name="T55" fmla="*/ 178 h 348"/>
                      <a:gd name="T56" fmla="*/ 87 w 765"/>
                      <a:gd name="T57" fmla="*/ 161 h 348"/>
                      <a:gd name="T58" fmla="*/ 104 w 765"/>
                      <a:gd name="T59" fmla="*/ 123 h 348"/>
                      <a:gd name="T60" fmla="*/ 108 w 765"/>
                      <a:gd name="T61" fmla="*/ 107 h 348"/>
                      <a:gd name="T62" fmla="*/ 125 w 765"/>
                      <a:gd name="T63" fmla="*/ 78 h 348"/>
                      <a:gd name="T64" fmla="*/ 108 w 765"/>
                      <a:gd name="T65" fmla="*/ 78 h 348"/>
                      <a:gd name="T66" fmla="*/ 168 w 765"/>
                      <a:gd name="T67" fmla="*/ 41 h 348"/>
                      <a:gd name="T68" fmla="*/ 293 w 765"/>
                      <a:gd name="T69" fmla="*/ 74 h 348"/>
                      <a:gd name="T70" fmla="*/ 305 w 765"/>
                      <a:gd name="T71" fmla="*/ 17 h 348"/>
                      <a:gd name="T72" fmla="*/ 385 w 765"/>
                      <a:gd name="T73" fmla="*/ 24 h 348"/>
                      <a:gd name="T74" fmla="*/ 456 w 765"/>
                      <a:gd name="T75" fmla="*/ 24 h 348"/>
                      <a:gd name="T76" fmla="*/ 543 w 765"/>
                      <a:gd name="T77" fmla="*/ 24 h 348"/>
                      <a:gd name="T78" fmla="*/ 699 w 765"/>
                      <a:gd name="T79" fmla="*/ 41 h 348"/>
                      <a:gd name="T80" fmla="*/ 711 w 765"/>
                      <a:gd name="T81" fmla="*/ 74 h 348"/>
                      <a:gd name="T82" fmla="*/ 765 w 765"/>
                      <a:gd name="T83" fmla="*/ 95 h 348"/>
                      <a:gd name="T84" fmla="*/ 742 w 765"/>
                      <a:gd name="T85" fmla="*/ 111 h 348"/>
                      <a:gd name="T86" fmla="*/ 704 w 765"/>
                      <a:gd name="T87" fmla="*/ 128 h 348"/>
                      <a:gd name="T88" fmla="*/ 635 w 765"/>
                      <a:gd name="T89" fmla="*/ 178 h 348"/>
                      <a:gd name="T90" fmla="*/ 536 w 765"/>
                      <a:gd name="T91" fmla="*/ 199 h 348"/>
                      <a:gd name="T92" fmla="*/ 520 w 765"/>
                      <a:gd name="T93" fmla="*/ 232 h 348"/>
                      <a:gd name="T94" fmla="*/ 482 w 765"/>
                      <a:gd name="T95" fmla="*/ 248 h 348"/>
                      <a:gd name="T96" fmla="*/ 439 w 765"/>
                      <a:gd name="T97" fmla="*/ 232 h 348"/>
                      <a:gd name="T98" fmla="*/ 385 w 765"/>
                      <a:gd name="T99" fmla="*/ 239 h 348"/>
                      <a:gd name="T100" fmla="*/ 385 w 765"/>
                      <a:gd name="T101" fmla="*/ 23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5" h="348">
                        <a:moveTo>
                          <a:pt x="385" y="239"/>
                        </a:moveTo>
                        <a:lnTo>
                          <a:pt x="397" y="255"/>
                        </a:lnTo>
                        <a:lnTo>
                          <a:pt x="380" y="255"/>
                        </a:lnTo>
                        <a:lnTo>
                          <a:pt x="359" y="272"/>
                        </a:lnTo>
                        <a:lnTo>
                          <a:pt x="331" y="277"/>
                        </a:lnTo>
                        <a:lnTo>
                          <a:pt x="321" y="305"/>
                        </a:lnTo>
                        <a:lnTo>
                          <a:pt x="326" y="315"/>
                        </a:lnTo>
                        <a:lnTo>
                          <a:pt x="321" y="326"/>
                        </a:lnTo>
                        <a:lnTo>
                          <a:pt x="309" y="326"/>
                        </a:lnTo>
                        <a:lnTo>
                          <a:pt x="271" y="331"/>
                        </a:lnTo>
                        <a:lnTo>
                          <a:pt x="217" y="331"/>
                        </a:lnTo>
                        <a:lnTo>
                          <a:pt x="212" y="348"/>
                        </a:lnTo>
                        <a:lnTo>
                          <a:pt x="196" y="331"/>
                        </a:lnTo>
                        <a:lnTo>
                          <a:pt x="168" y="343"/>
                        </a:lnTo>
                        <a:lnTo>
                          <a:pt x="168" y="326"/>
                        </a:lnTo>
                        <a:lnTo>
                          <a:pt x="158" y="326"/>
                        </a:lnTo>
                        <a:lnTo>
                          <a:pt x="158" y="315"/>
                        </a:lnTo>
                        <a:lnTo>
                          <a:pt x="125" y="326"/>
                        </a:lnTo>
                        <a:lnTo>
                          <a:pt x="113" y="331"/>
                        </a:lnTo>
                        <a:lnTo>
                          <a:pt x="104" y="331"/>
                        </a:lnTo>
                        <a:lnTo>
                          <a:pt x="92" y="315"/>
                        </a:lnTo>
                        <a:lnTo>
                          <a:pt x="87" y="315"/>
                        </a:lnTo>
                        <a:lnTo>
                          <a:pt x="0" y="315"/>
                        </a:lnTo>
                        <a:lnTo>
                          <a:pt x="0" y="293"/>
                        </a:lnTo>
                        <a:lnTo>
                          <a:pt x="0" y="277"/>
                        </a:lnTo>
                        <a:lnTo>
                          <a:pt x="7" y="289"/>
                        </a:lnTo>
                        <a:lnTo>
                          <a:pt x="16" y="289"/>
                        </a:lnTo>
                        <a:lnTo>
                          <a:pt x="16" y="272"/>
                        </a:lnTo>
                        <a:lnTo>
                          <a:pt x="54" y="260"/>
                        </a:lnTo>
                        <a:lnTo>
                          <a:pt x="87" y="277"/>
                        </a:lnTo>
                        <a:lnTo>
                          <a:pt x="87" y="289"/>
                        </a:lnTo>
                        <a:lnTo>
                          <a:pt x="92" y="289"/>
                        </a:lnTo>
                        <a:lnTo>
                          <a:pt x="92" y="272"/>
                        </a:lnTo>
                        <a:lnTo>
                          <a:pt x="113" y="272"/>
                        </a:lnTo>
                        <a:lnTo>
                          <a:pt x="113" y="260"/>
                        </a:lnTo>
                        <a:lnTo>
                          <a:pt x="146" y="255"/>
                        </a:lnTo>
                        <a:lnTo>
                          <a:pt x="168" y="272"/>
                        </a:lnTo>
                        <a:lnTo>
                          <a:pt x="196" y="260"/>
                        </a:lnTo>
                        <a:lnTo>
                          <a:pt x="196" y="255"/>
                        </a:lnTo>
                        <a:lnTo>
                          <a:pt x="201" y="248"/>
                        </a:lnTo>
                        <a:lnTo>
                          <a:pt x="217" y="248"/>
                        </a:lnTo>
                        <a:lnTo>
                          <a:pt x="217" y="232"/>
                        </a:lnTo>
                        <a:lnTo>
                          <a:pt x="234" y="239"/>
                        </a:lnTo>
                        <a:lnTo>
                          <a:pt x="250" y="222"/>
                        </a:lnTo>
                        <a:lnTo>
                          <a:pt x="271" y="215"/>
                        </a:lnTo>
                        <a:lnTo>
                          <a:pt x="234" y="206"/>
                        </a:lnTo>
                        <a:lnTo>
                          <a:pt x="217" y="194"/>
                        </a:lnTo>
                        <a:lnTo>
                          <a:pt x="201" y="199"/>
                        </a:lnTo>
                        <a:lnTo>
                          <a:pt x="201" y="182"/>
                        </a:lnTo>
                        <a:lnTo>
                          <a:pt x="184" y="182"/>
                        </a:lnTo>
                        <a:lnTo>
                          <a:pt x="184" y="166"/>
                        </a:lnTo>
                        <a:lnTo>
                          <a:pt x="168" y="149"/>
                        </a:lnTo>
                        <a:lnTo>
                          <a:pt x="163" y="166"/>
                        </a:lnTo>
                        <a:lnTo>
                          <a:pt x="146" y="166"/>
                        </a:lnTo>
                        <a:lnTo>
                          <a:pt x="146" y="182"/>
                        </a:lnTo>
                        <a:lnTo>
                          <a:pt x="108" y="178"/>
                        </a:lnTo>
                        <a:lnTo>
                          <a:pt x="104" y="161"/>
                        </a:lnTo>
                        <a:lnTo>
                          <a:pt x="87" y="161"/>
                        </a:lnTo>
                        <a:lnTo>
                          <a:pt x="61" y="149"/>
                        </a:lnTo>
                        <a:lnTo>
                          <a:pt x="104" y="123"/>
                        </a:lnTo>
                        <a:lnTo>
                          <a:pt x="108" y="123"/>
                        </a:lnTo>
                        <a:lnTo>
                          <a:pt x="108" y="107"/>
                        </a:lnTo>
                        <a:lnTo>
                          <a:pt x="142" y="95"/>
                        </a:lnTo>
                        <a:lnTo>
                          <a:pt x="125" y="78"/>
                        </a:lnTo>
                        <a:lnTo>
                          <a:pt x="113" y="90"/>
                        </a:lnTo>
                        <a:lnTo>
                          <a:pt x="108" y="78"/>
                        </a:lnTo>
                        <a:lnTo>
                          <a:pt x="130" y="50"/>
                        </a:lnTo>
                        <a:lnTo>
                          <a:pt x="168" y="41"/>
                        </a:lnTo>
                        <a:lnTo>
                          <a:pt x="212" y="41"/>
                        </a:lnTo>
                        <a:lnTo>
                          <a:pt x="293" y="74"/>
                        </a:lnTo>
                        <a:lnTo>
                          <a:pt x="293" y="57"/>
                        </a:lnTo>
                        <a:lnTo>
                          <a:pt x="305" y="17"/>
                        </a:lnTo>
                        <a:lnTo>
                          <a:pt x="347" y="0"/>
                        </a:lnTo>
                        <a:lnTo>
                          <a:pt x="385" y="24"/>
                        </a:lnTo>
                        <a:lnTo>
                          <a:pt x="451" y="41"/>
                        </a:lnTo>
                        <a:lnTo>
                          <a:pt x="456" y="24"/>
                        </a:lnTo>
                        <a:lnTo>
                          <a:pt x="520" y="33"/>
                        </a:lnTo>
                        <a:lnTo>
                          <a:pt x="543" y="24"/>
                        </a:lnTo>
                        <a:lnTo>
                          <a:pt x="557" y="33"/>
                        </a:lnTo>
                        <a:lnTo>
                          <a:pt x="699" y="41"/>
                        </a:lnTo>
                        <a:lnTo>
                          <a:pt x="699" y="50"/>
                        </a:lnTo>
                        <a:lnTo>
                          <a:pt x="711" y="74"/>
                        </a:lnTo>
                        <a:lnTo>
                          <a:pt x="753" y="74"/>
                        </a:lnTo>
                        <a:lnTo>
                          <a:pt x="765" y="95"/>
                        </a:lnTo>
                        <a:lnTo>
                          <a:pt x="765" y="107"/>
                        </a:lnTo>
                        <a:lnTo>
                          <a:pt x="742" y="111"/>
                        </a:lnTo>
                        <a:lnTo>
                          <a:pt x="737" y="123"/>
                        </a:lnTo>
                        <a:lnTo>
                          <a:pt x="704" y="128"/>
                        </a:lnTo>
                        <a:lnTo>
                          <a:pt x="645" y="161"/>
                        </a:lnTo>
                        <a:lnTo>
                          <a:pt x="635" y="178"/>
                        </a:lnTo>
                        <a:lnTo>
                          <a:pt x="619" y="194"/>
                        </a:lnTo>
                        <a:lnTo>
                          <a:pt x="536" y="199"/>
                        </a:lnTo>
                        <a:lnTo>
                          <a:pt x="520" y="215"/>
                        </a:lnTo>
                        <a:lnTo>
                          <a:pt x="520" y="232"/>
                        </a:lnTo>
                        <a:lnTo>
                          <a:pt x="494" y="255"/>
                        </a:lnTo>
                        <a:lnTo>
                          <a:pt x="482" y="248"/>
                        </a:lnTo>
                        <a:lnTo>
                          <a:pt x="451" y="255"/>
                        </a:lnTo>
                        <a:lnTo>
                          <a:pt x="439" y="232"/>
                        </a:lnTo>
                        <a:lnTo>
                          <a:pt x="418" y="248"/>
                        </a:lnTo>
                        <a:lnTo>
                          <a:pt x="385" y="239"/>
                        </a:lnTo>
                        <a:lnTo>
                          <a:pt x="385" y="239"/>
                        </a:lnTo>
                        <a:lnTo>
                          <a:pt x="385" y="23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1" name="Freeform 483">
                    <a:extLst>
                      <a:ext uri="{FF2B5EF4-FFF2-40B4-BE49-F238E27FC236}">
                        <a16:creationId xmlns:a16="http://schemas.microsoft.com/office/drawing/2014/main" id="{4ED92EE4-30E3-47D4-811D-FEA8F9E16C23}"/>
                      </a:ext>
                    </a:extLst>
                  </p:cNvPr>
                  <p:cNvSpPr>
                    <a:spLocks/>
                  </p:cNvSpPr>
                  <p:nvPr/>
                </p:nvSpPr>
                <p:spPr bwMode="gray">
                  <a:xfrm>
                    <a:off x="10314352" y="2705165"/>
                    <a:ext cx="184016" cy="187742"/>
                  </a:xfrm>
                  <a:custGeom>
                    <a:avLst/>
                    <a:gdLst>
                      <a:gd name="T0" fmla="*/ 45 w 447"/>
                      <a:gd name="T1" fmla="*/ 217 h 456"/>
                      <a:gd name="T2" fmla="*/ 55 w 447"/>
                      <a:gd name="T3" fmla="*/ 217 h 456"/>
                      <a:gd name="T4" fmla="*/ 104 w 447"/>
                      <a:gd name="T5" fmla="*/ 184 h 456"/>
                      <a:gd name="T6" fmla="*/ 156 w 447"/>
                      <a:gd name="T7" fmla="*/ 144 h 456"/>
                      <a:gd name="T8" fmla="*/ 189 w 447"/>
                      <a:gd name="T9" fmla="*/ 106 h 456"/>
                      <a:gd name="T10" fmla="*/ 270 w 447"/>
                      <a:gd name="T11" fmla="*/ 144 h 456"/>
                      <a:gd name="T12" fmla="*/ 270 w 447"/>
                      <a:gd name="T13" fmla="*/ 106 h 456"/>
                      <a:gd name="T14" fmla="*/ 324 w 447"/>
                      <a:gd name="T15" fmla="*/ 89 h 456"/>
                      <a:gd name="T16" fmla="*/ 357 w 447"/>
                      <a:gd name="T17" fmla="*/ 49 h 456"/>
                      <a:gd name="T18" fmla="*/ 378 w 447"/>
                      <a:gd name="T19" fmla="*/ 49 h 456"/>
                      <a:gd name="T20" fmla="*/ 421 w 447"/>
                      <a:gd name="T21" fmla="*/ 11 h 456"/>
                      <a:gd name="T22" fmla="*/ 442 w 447"/>
                      <a:gd name="T23" fmla="*/ 45 h 456"/>
                      <a:gd name="T24" fmla="*/ 447 w 447"/>
                      <a:gd name="T25" fmla="*/ 66 h 456"/>
                      <a:gd name="T26" fmla="*/ 378 w 447"/>
                      <a:gd name="T27" fmla="*/ 122 h 456"/>
                      <a:gd name="T28" fmla="*/ 388 w 447"/>
                      <a:gd name="T29" fmla="*/ 144 h 456"/>
                      <a:gd name="T30" fmla="*/ 350 w 447"/>
                      <a:gd name="T31" fmla="*/ 200 h 456"/>
                      <a:gd name="T32" fmla="*/ 303 w 447"/>
                      <a:gd name="T33" fmla="*/ 238 h 456"/>
                      <a:gd name="T34" fmla="*/ 286 w 447"/>
                      <a:gd name="T35" fmla="*/ 255 h 456"/>
                      <a:gd name="T36" fmla="*/ 260 w 447"/>
                      <a:gd name="T37" fmla="*/ 271 h 456"/>
                      <a:gd name="T38" fmla="*/ 232 w 447"/>
                      <a:gd name="T39" fmla="*/ 323 h 456"/>
                      <a:gd name="T40" fmla="*/ 218 w 447"/>
                      <a:gd name="T41" fmla="*/ 311 h 456"/>
                      <a:gd name="T42" fmla="*/ 248 w 447"/>
                      <a:gd name="T43" fmla="*/ 340 h 456"/>
                      <a:gd name="T44" fmla="*/ 281 w 447"/>
                      <a:gd name="T45" fmla="*/ 394 h 456"/>
                      <a:gd name="T46" fmla="*/ 206 w 447"/>
                      <a:gd name="T47" fmla="*/ 406 h 456"/>
                      <a:gd name="T48" fmla="*/ 163 w 447"/>
                      <a:gd name="T49" fmla="*/ 451 h 456"/>
                      <a:gd name="T50" fmla="*/ 135 w 447"/>
                      <a:gd name="T51" fmla="*/ 451 h 456"/>
                      <a:gd name="T52" fmla="*/ 121 w 447"/>
                      <a:gd name="T53" fmla="*/ 439 h 456"/>
                      <a:gd name="T54" fmla="*/ 109 w 447"/>
                      <a:gd name="T55" fmla="*/ 432 h 456"/>
                      <a:gd name="T56" fmla="*/ 104 w 447"/>
                      <a:gd name="T57" fmla="*/ 439 h 456"/>
                      <a:gd name="T58" fmla="*/ 88 w 447"/>
                      <a:gd name="T59" fmla="*/ 439 h 456"/>
                      <a:gd name="T60" fmla="*/ 71 w 447"/>
                      <a:gd name="T61" fmla="*/ 422 h 456"/>
                      <a:gd name="T62" fmla="*/ 45 w 447"/>
                      <a:gd name="T63" fmla="*/ 406 h 456"/>
                      <a:gd name="T64" fmla="*/ 83 w 447"/>
                      <a:gd name="T65" fmla="*/ 366 h 456"/>
                      <a:gd name="T66" fmla="*/ 66 w 447"/>
                      <a:gd name="T67" fmla="*/ 361 h 456"/>
                      <a:gd name="T68" fmla="*/ 71 w 447"/>
                      <a:gd name="T69" fmla="*/ 304 h 456"/>
                      <a:gd name="T70" fmla="*/ 55 w 447"/>
                      <a:gd name="T71" fmla="*/ 295 h 456"/>
                      <a:gd name="T72" fmla="*/ 33 w 447"/>
                      <a:gd name="T73" fmla="*/ 288 h 456"/>
                      <a:gd name="T74" fmla="*/ 17 w 447"/>
                      <a:gd name="T75" fmla="*/ 283 h 456"/>
                      <a:gd name="T76" fmla="*/ 12 w 447"/>
                      <a:gd name="T77" fmla="*/ 250 h 456"/>
                      <a:gd name="T78" fmla="*/ 12 w 447"/>
                      <a:gd name="T79" fmla="*/ 25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47" h="456">
                        <a:moveTo>
                          <a:pt x="12" y="250"/>
                        </a:moveTo>
                        <a:lnTo>
                          <a:pt x="45" y="217"/>
                        </a:lnTo>
                        <a:lnTo>
                          <a:pt x="55" y="229"/>
                        </a:lnTo>
                        <a:lnTo>
                          <a:pt x="55" y="217"/>
                        </a:lnTo>
                        <a:lnTo>
                          <a:pt x="83" y="200"/>
                        </a:lnTo>
                        <a:lnTo>
                          <a:pt x="104" y="184"/>
                        </a:lnTo>
                        <a:lnTo>
                          <a:pt x="125" y="184"/>
                        </a:lnTo>
                        <a:lnTo>
                          <a:pt x="156" y="144"/>
                        </a:lnTo>
                        <a:lnTo>
                          <a:pt x="163" y="122"/>
                        </a:lnTo>
                        <a:lnTo>
                          <a:pt x="189" y="106"/>
                        </a:lnTo>
                        <a:lnTo>
                          <a:pt x="210" y="139"/>
                        </a:lnTo>
                        <a:lnTo>
                          <a:pt x="270" y="144"/>
                        </a:lnTo>
                        <a:lnTo>
                          <a:pt x="281" y="122"/>
                        </a:lnTo>
                        <a:lnTo>
                          <a:pt x="270" y="106"/>
                        </a:lnTo>
                        <a:lnTo>
                          <a:pt x="265" y="89"/>
                        </a:lnTo>
                        <a:lnTo>
                          <a:pt x="324" y="89"/>
                        </a:lnTo>
                        <a:lnTo>
                          <a:pt x="350" y="66"/>
                        </a:lnTo>
                        <a:lnTo>
                          <a:pt x="357" y="49"/>
                        </a:lnTo>
                        <a:lnTo>
                          <a:pt x="366" y="56"/>
                        </a:lnTo>
                        <a:lnTo>
                          <a:pt x="378" y="49"/>
                        </a:lnTo>
                        <a:lnTo>
                          <a:pt x="395" y="0"/>
                        </a:lnTo>
                        <a:lnTo>
                          <a:pt x="421" y="11"/>
                        </a:lnTo>
                        <a:lnTo>
                          <a:pt x="421" y="28"/>
                        </a:lnTo>
                        <a:lnTo>
                          <a:pt x="442" y="45"/>
                        </a:lnTo>
                        <a:lnTo>
                          <a:pt x="442" y="49"/>
                        </a:lnTo>
                        <a:lnTo>
                          <a:pt x="447" y="66"/>
                        </a:lnTo>
                        <a:lnTo>
                          <a:pt x="433" y="56"/>
                        </a:lnTo>
                        <a:lnTo>
                          <a:pt x="378" y="122"/>
                        </a:lnTo>
                        <a:lnTo>
                          <a:pt x="378" y="139"/>
                        </a:lnTo>
                        <a:lnTo>
                          <a:pt x="388" y="144"/>
                        </a:lnTo>
                        <a:lnTo>
                          <a:pt x="378" y="193"/>
                        </a:lnTo>
                        <a:lnTo>
                          <a:pt x="350" y="200"/>
                        </a:lnTo>
                        <a:lnTo>
                          <a:pt x="340" y="217"/>
                        </a:lnTo>
                        <a:lnTo>
                          <a:pt x="303" y="238"/>
                        </a:lnTo>
                        <a:lnTo>
                          <a:pt x="303" y="250"/>
                        </a:lnTo>
                        <a:lnTo>
                          <a:pt x="286" y="255"/>
                        </a:lnTo>
                        <a:lnTo>
                          <a:pt x="265" y="255"/>
                        </a:lnTo>
                        <a:lnTo>
                          <a:pt x="260" y="271"/>
                        </a:lnTo>
                        <a:lnTo>
                          <a:pt x="227" y="283"/>
                        </a:lnTo>
                        <a:lnTo>
                          <a:pt x="232" y="323"/>
                        </a:lnTo>
                        <a:lnTo>
                          <a:pt x="227" y="311"/>
                        </a:lnTo>
                        <a:lnTo>
                          <a:pt x="218" y="311"/>
                        </a:lnTo>
                        <a:lnTo>
                          <a:pt x="218" y="328"/>
                        </a:lnTo>
                        <a:lnTo>
                          <a:pt x="248" y="340"/>
                        </a:lnTo>
                        <a:lnTo>
                          <a:pt x="286" y="378"/>
                        </a:lnTo>
                        <a:lnTo>
                          <a:pt x="281" y="394"/>
                        </a:lnTo>
                        <a:lnTo>
                          <a:pt x="265" y="399"/>
                        </a:lnTo>
                        <a:lnTo>
                          <a:pt x="206" y="406"/>
                        </a:lnTo>
                        <a:lnTo>
                          <a:pt x="173" y="439"/>
                        </a:lnTo>
                        <a:lnTo>
                          <a:pt x="163" y="451"/>
                        </a:lnTo>
                        <a:lnTo>
                          <a:pt x="151" y="439"/>
                        </a:lnTo>
                        <a:lnTo>
                          <a:pt x="135" y="451"/>
                        </a:lnTo>
                        <a:lnTo>
                          <a:pt x="135" y="456"/>
                        </a:lnTo>
                        <a:lnTo>
                          <a:pt x="121" y="439"/>
                        </a:lnTo>
                        <a:lnTo>
                          <a:pt x="121" y="451"/>
                        </a:lnTo>
                        <a:lnTo>
                          <a:pt x="109" y="432"/>
                        </a:lnTo>
                        <a:lnTo>
                          <a:pt x="97" y="422"/>
                        </a:lnTo>
                        <a:lnTo>
                          <a:pt x="104" y="439"/>
                        </a:lnTo>
                        <a:lnTo>
                          <a:pt x="71" y="456"/>
                        </a:lnTo>
                        <a:lnTo>
                          <a:pt x="88" y="439"/>
                        </a:lnTo>
                        <a:lnTo>
                          <a:pt x="50" y="432"/>
                        </a:lnTo>
                        <a:lnTo>
                          <a:pt x="71" y="422"/>
                        </a:lnTo>
                        <a:lnTo>
                          <a:pt x="29" y="415"/>
                        </a:lnTo>
                        <a:lnTo>
                          <a:pt x="45" y="406"/>
                        </a:lnTo>
                        <a:lnTo>
                          <a:pt x="50" y="382"/>
                        </a:lnTo>
                        <a:lnTo>
                          <a:pt x="83" y="366"/>
                        </a:lnTo>
                        <a:lnTo>
                          <a:pt x="97" y="378"/>
                        </a:lnTo>
                        <a:lnTo>
                          <a:pt x="66" y="361"/>
                        </a:lnTo>
                        <a:lnTo>
                          <a:pt x="83" y="323"/>
                        </a:lnTo>
                        <a:lnTo>
                          <a:pt x="71" y="304"/>
                        </a:lnTo>
                        <a:lnTo>
                          <a:pt x="83" y="295"/>
                        </a:lnTo>
                        <a:lnTo>
                          <a:pt x="55" y="295"/>
                        </a:lnTo>
                        <a:lnTo>
                          <a:pt x="33" y="283"/>
                        </a:lnTo>
                        <a:lnTo>
                          <a:pt x="33" y="288"/>
                        </a:lnTo>
                        <a:lnTo>
                          <a:pt x="29" y="295"/>
                        </a:lnTo>
                        <a:lnTo>
                          <a:pt x="17" y="283"/>
                        </a:lnTo>
                        <a:lnTo>
                          <a:pt x="0" y="267"/>
                        </a:lnTo>
                        <a:lnTo>
                          <a:pt x="12" y="250"/>
                        </a:lnTo>
                        <a:lnTo>
                          <a:pt x="12" y="250"/>
                        </a:lnTo>
                        <a:lnTo>
                          <a:pt x="12" y="25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2" name="Freeform 488">
                    <a:extLst>
                      <a:ext uri="{FF2B5EF4-FFF2-40B4-BE49-F238E27FC236}">
                        <a16:creationId xmlns:a16="http://schemas.microsoft.com/office/drawing/2014/main" id="{2DCB6B74-5B2E-4E44-8EDA-6DABE2736534}"/>
                      </a:ext>
                    </a:extLst>
                  </p:cNvPr>
                  <p:cNvSpPr>
                    <a:spLocks noEditPoints="1"/>
                  </p:cNvSpPr>
                  <p:nvPr/>
                </p:nvSpPr>
                <p:spPr bwMode="gray">
                  <a:xfrm>
                    <a:off x="8069103" y="2224692"/>
                    <a:ext cx="1178611" cy="566933"/>
                  </a:xfrm>
                  <a:custGeom>
                    <a:avLst/>
                    <a:gdLst>
                      <a:gd name="T0" fmla="*/ 456 w 2863"/>
                      <a:gd name="T1" fmla="*/ 1240 h 1377"/>
                      <a:gd name="T2" fmla="*/ 364 w 2863"/>
                      <a:gd name="T3" fmla="*/ 1155 h 1377"/>
                      <a:gd name="T4" fmla="*/ 267 w 2863"/>
                      <a:gd name="T5" fmla="*/ 1015 h 1377"/>
                      <a:gd name="T6" fmla="*/ 309 w 2863"/>
                      <a:gd name="T7" fmla="*/ 994 h 1377"/>
                      <a:gd name="T8" fmla="*/ 465 w 2863"/>
                      <a:gd name="T9" fmla="*/ 878 h 1377"/>
                      <a:gd name="T10" fmla="*/ 394 w 2863"/>
                      <a:gd name="T11" fmla="*/ 829 h 1377"/>
                      <a:gd name="T12" fmla="*/ 196 w 2863"/>
                      <a:gd name="T13" fmla="*/ 850 h 1377"/>
                      <a:gd name="T14" fmla="*/ 158 w 2863"/>
                      <a:gd name="T15" fmla="*/ 834 h 1377"/>
                      <a:gd name="T16" fmla="*/ 0 w 2863"/>
                      <a:gd name="T17" fmla="*/ 678 h 1377"/>
                      <a:gd name="T18" fmla="*/ 71 w 2863"/>
                      <a:gd name="T19" fmla="*/ 493 h 1377"/>
                      <a:gd name="T20" fmla="*/ 158 w 2863"/>
                      <a:gd name="T21" fmla="*/ 510 h 1377"/>
                      <a:gd name="T22" fmla="*/ 272 w 2863"/>
                      <a:gd name="T23" fmla="*/ 399 h 1377"/>
                      <a:gd name="T24" fmla="*/ 335 w 2863"/>
                      <a:gd name="T25" fmla="*/ 382 h 1377"/>
                      <a:gd name="T26" fmla="*/ 411 w 2863"/>
                      <a:gd name="T27" fmla="*/ 366 h 1377"/>
                      <a:gd name="T28" fmla="*/ 562 w 2863"/>
                      <a:gd name="T29" fmla="*/ 456 h 1377"/>
                      <a:gd name="T30" fmla="*/ 574 w 2863"/>
                      <a:gd name="T31" fmla="*/ 434 h 1377"/>
                      <a:gd name="T32" fmla="*/ 713 w 2863"/>
                      <a:gd name="T33" fmla="*/ 434 h 1377"/>
                      <a:gd name="T34" fmla="*/ 827 w 2863"/>
                      <a:gd name="T35" fmla="*/ 423 h 1377"/>
                      <a:gd name="T36" fmla="*/ 914 w 2863"/>
                      <a:gd name="T37" fmla="*/ 489 h 1377"/>
                      <a:gd name="T38" fmla="*/ 1061 w 2863"/>
                      <a:gd name="T39" fmla="*/ 418 h 1377"/>
                      <a:gd name="T40" fmla="*/ 952 w 2863"/>
                      <a:gd name="T41" fmla="*/ 349 h 1377"/>
                      <a:gd name="T42" fmla="*/ 1006 w 2863"/>
                      <a:gd name="T43" fmla="*/ 278 h 1377"/>
                      <a:gd name="T44" fmla="*/ 1028 w 2863"/>
                      <a:gd name="T45" fmla="*/ 217 h 1377"/>
                      <a:gd name="T46" fmla="*/ 1037 w 2863"/>
                      <a:gd name="T47" fmla="*/ 167 h 1377"/>
                      <a:gd name="T48" fmla="*/ 1129 w 2863"/>
                      <a:gd name="T49" fmla="*/ 160 h 1377"/>
                      <a:gd name="T50" fmla="*/ 1226 w 2863"/>
                      <a:gd name="T51" fmla="*/ 111 h 1377"/>
                      <a:gd name="T52" fmla="*/ 1368 w 2863"/>
                      <a:gd name="T53" fmla="*/ 89 h 1377"/>
                      <a:gd name="T54" fmla="*/ 1561 w 2863"/>
                      <a:gd name="T55" fmla="*/ 12 h 1377"/>
                      <a:gd name="T56" fmla="*/ 1687 w 2863"/>
                      <a:gd name="T57" fmla="*/ 16 h 1377"/>
                      <a:gd name="T58" fmla="*/ 1729 w 2863"/>
                      <a:gd name="T59" fmla="*/ 111 h 1377"/>
                      <a:gd name="T60" fmla="*/ 1795 w 2863"/>
                      <a:gd name="T61" fmla="*/ 106 h 1377"/>
                      <a:gd name="T62" fmla="*/ 1838 w 2863"/>
                      <a:gd name="T63" fmla="*/ 156 h 1377"/>
                      <a:gd name="T64" fmla="*/ 1918 w 2863"/>
                      <a:gd name="T65" fmla="*/ 139 h 1377"/>
                      <a:gd name="T66" fmla="*/ 1946 w 2863"/>
                      <a:gd name="T67" fmla="*/ 184 h 1377"/>
                      <a:gd name="T68" fmla="*/ 2027 w 2863"/>
                      <a:gd name="T69" fmla="*/ 139 h 1377"/>
                      <a:gd name="T70" fmla="*/ 2119 w 2863"/>
                      <a:gd name="T71" fmla="*/ 127 h 1377"/>
                      <a:gd name="T72" fmla="*/ 2376 w 2863"/>
                      <a:gd name="T73" fmla="*/ 423 h 1377"/>
                      <a:gd name="T74" fmla="*/ 2523 w 2863"/>
                      <a:gd name="T75" fmla="*/ 460 h 1377"/>
                      <a:gd name="T76" fmla="*/ 2702 w 2863"/>
                      <a:gd name="T77" fmla="*/ 534 h 1377"/>
                      <a:gd name="T78" fmla="*/ 2825 w 2863"/>
                      <a:gd name="T79" fmla="*/ 550 h 1377"/>
                      <a:gd name="T80" fmla="*/ 2837 w 2863"/>
                      <a:gd name="T81" fmla="*/ 612 h 1377"/>
                      <a:gd name="T82" fmla="*/ 2750 w 2863"/>
                      <a:gd name="T83" fmla="*/ 777 h 1377"/>
                      <a:gd name="T84" fmla="*/ 2627 w 2863"/>
                      <a:gd name="T85" fmla="*/ 810 h 1377"/>
                      <a:gd name="T86" fmla="*/ 2485 w 2863"/>
                      <a:gd name="T87" fmla="*/ 978 h 1377"/>
                      <a:gd name="T88" fmla="*/ 2376 w 2863"/>
                      <a:gd name="T89" fmla="*/ 1027 h 1377"/>
                      <a:gd name="T90" fmla="*/ 2362 w 2863"/>
                      <a:gd name="T91" fmla="*/ 1200 h 1377"/>
                      <a:gd name="T92" fmla="*/ 2157 w 2863"/>
                      <a:gd name="T93" fmla="*/ 1178 h 1377"/>
                      <a:gd name="T94" fmla="*/ 1902 w 2863"/>
                      <a:gd name="T95" fmla="*/ 1162 h 1377"/>
                      <a:gd name="T96" fmla="*/ 1713 w 2863"/>
                      <a:gd name="T97" fmla="*/ 1233 h 1377"/>
                      <a:gd name="T98" fmla="*/ 1583 w 2863"/>
                      <a:gd name="T99" fmla="*/ 1323 h 1377"/>
                      <a:gd name="T100" fmla="*/ 1422 w 2863"/>
                      <a:gd name="T101" fmla="*/ 1327 h 1377"/>
                      <a:gd name="T102" fmla="*/ 1292 w 2863"/>
                      <a:gd name="T103" fmla="*/ 1105 h 1377"/>
                      <a:gd name="T104" fmla="*/ 666 w 2863"/>
                      <a:gd name="T105" fmla="*/ 1311 h 1377"/>
                      <a:gd name="T106" fmla="*/ 456 w 2863"/>
                      <a:gd name="T107" fmla="*/ 883 h 1377"/>
                      <a:gd name="T108" fmla="*/ 267 w 2863"/>
                      <a:gd name="T109" fmla="*/ 994 h 1377"/>
                      <a:gd name="T110" fmla="*/ 255 w 2863"/>
                      <a:gd name="T111" fmla="*/ 999 h 1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63" h="1377">
                        <a:moveTo>
                          <a:pt x="666" y="1311"/>
                        </a:moveTo>
                        <a:lnTo>
                          <a:pt x="628" y="1323"/>
                        </a:lnTo>
                        <a:lnTo>
                          <a:pt x="595" y="1273"/>
                        </a:lnTo>
                        <a:lnTo>
                          <a:pt x="595" y="1266"/>
                        </a:lnTo>
                        <a:lnTo>
                          <a:pt x="541" y="1221"/>
                        </a:lnTo>
                        <a:lnTo>
                          <a:pt x="487" y="1233"/>
                        </a:lnTo>
                        <a:lnTo>
                          <a:pt x="456" y="1240"/>
                        </a:lnTo>
                        <a:lnTo>
                          <a:pt x="418" y="1282"/>
                        </a:lnTo>
                        <a:lnTo>
                          <a:pt x="418" y="1266"/>
                        </a:lnTo>
                        <a:lnTo>
                          <a:pt x="411" y="1249"/>
                        </a:lnTo>
                        <a:lnTo>
                          <a:pt x="432" y="1195"/>
                        </a:lnTo>
                        <a:lnTo>
                          <a:pt x="394" y="1178"/>
                        </a:lnTo>
                        <a:lnTo>
                          <a:pt x="380" y="1183"/>
                        </a:lnTo>
                        <a:lnTo>
                          <a:pt x="364" y="1155"/>
                        </a:lnTo>
                        <a:lnTo>
                          <a:pt x="335" y="1155"/>
                        </a:lnTo>
                        <a:lnTo>
                          <a:pt x="335" y="1129"/>
                        </a:lnTo>
                        <a:lnTo>
                          <a:pt x="319" y="1100"/>
                        </a:lnTo>
                        <a:lnTo>
                          <a:pt x="305" y="1067"/>
                        </a:lnTo>
                        <a:lnTo>
                          <a:pt x="267" y="1051"/>
                        </a:lnTo>
                        <a:lnTo>
                          <a:pt x="267" y="1027"/>
                        </a:lnTo>
                        <a:lnTo>
                          <a:pt x="267" y="1015"/>
                        </a:lnTo>
                        <a:lnTo>
                          <a:pt x="305" y="1027"/>
                        </a:lnTo>
                        <a:lnTo>
                          <a:pt x="326" y="1034"/>
                        </a:lnTo>
                        <a:lnTo>
                          <a:pt x="357" y="1034"/>
                        </a:lnTo>
                        <a:lnTo>
                          <a:pt x="335" y="1027"/>
                        </a:lnTo>
                        <a:lnTo>
                          <a:pt x="335" y="1015"/>
                        </a:lnTo>
                        <a:lnTo>
                          <a:pt x="309" y="999"/>
                        </a:lnTo>
                        <a:lnTo>
                          <a:pt x="309" y="994"/>
                        </a:lnTo>
                        <a:lnTo>
                          <a:pt x="335" y="978"/>
                        </a:lnTo>
                        <a:lnTo>
                          <a:pt x="343" y="956"/>
                        </a:lnTo>
                        <a:lnTo>
                          <a:pt x="418" y="956"/>
                        </a:lnTo>
                        <a:lnTo>
                          <a:pt x="470" y="961"/>
                        </a:lnTo>
                        <a:lnTo>
                          <a:pt x="432" y="940"/>
                        </a:lnTo>
                        <a:lnTo>
                          <a:pt x="465" y="900"/>
                        </a:lnTo>
                        <a:lnTo>
                          <a:pt x="465" y="878"/>
                        </a:lnTo>
                        <a:lnTo>
                          <a:pt x="456" y="862"/>
                        </a:lnTo>
                        <a:lnTo>
                          <a:pt x="470" y="845"/>
                        </a:lnTo>
                        <a:lnTo>
                          <a:pt x="470" y="834"/>
                        </a:lnTo>
                        <a:lnTo>
                          <a:pt x="456" y="822"/>
                        </a:lnTo>
                        <a:lnTo>
                          <a:pt x="449" y="810"/>
                        </a:lnTo>
                        <a:lnTo>
                          <a:pt x="418" y="810"/>
                        </a:lnTo>
                        <a:lnTo>
                          <a:pt x="394" y="829"/>
                        </a:lnTo>
                        <a:lnTo>
                          <a:pt x="373" y="822"/>
                        </a:lnTo>
                        <a:lnTo>
                          <a:pt x="357" y="805"/>
                        </a:lnTo>
                        <a:lnTo>
                          <a:pt x="326" y="805"/>
                        </a:lnTo>
                        <a:lnTo>
                          <a:pt x="305" y="822"/>
                        </a:lnTo>
                        <a:lnTo>
                          <a:pt x="272" y="822"/>
                        </a:lnTo>
                        <a:lnTo>
                          <a:pt x="234" y="850"/>
                        </a:lnTo>
                        <a:lnTo>
                          <a:pt x="196" y="850"/>
                        </a:lnTo>
                        <a:lnTo>
                          <a:pt x="201" y="867"/>
                        </a:lnTo>
                        <a:lnTo>
                          <a:pt x="196" y="862"/>
                        </a:lnTo>
                        <a:lnTo>
                          <a:pt x="184" y="867"/>
                        </a:lnTo>
                        <a:lnTo>
                          <a:pt x="142" y="850"/>
                        </a:lnTo>
                        <a:lnTo>
                          <a:pt x="142" y="834"/>
                        </a:lnTo>
                        <a:lnTo>
                          <a:pt x="158" y="834"/>
                        </a:lnTo>
                        <a:lnTo>
                          <a:pt x="158" y="834"/>
                        </a:lnTo>
                        <a:lnTo>
                          <a:pt x="180" y="829"/>
                        </a:lnTo>
                        <a:lnTo>
                          <a:pt x="120" y="751"/>
                        </a:lnTo>
                        <a:lnTo>
                          <a:pt x="66" y="734"/>
                        </a:lnTo>
                        <a:lnTo>
                          <a:pt x="66" y="751"/>
                        </a:lnTo>
                        <a:lnTo>
                          <a:pt x="50" y="734"/>
                        </a:lnTo>
                        <a:lnTo>
                          <a:pt x="38" y="694"/>
                        </a:lnTo>
                        <a:lnTo>
                          <a:pt x="0" y="678"/>
                        </a:lnTo>
                        <a:lnTo>
                          <a:pt x="17" y="628"/>
                        </a:lnTo>
                        <a:lnTo>
                          <a:pt x="38" y="612"/>
                        </a:lnTo>
                        <a:lnTo>
                          <a:pt x="17" y="600"/>
                        </a:lnTo>
                        <a:lnTo>
                          <a:pt x="33" y="550"/>
                        </a:lnTo>
                        <a:lnTo>
                          <a:pt x="54" y="529"/>
                        </a:lnTo>
                        <a:lnTo>
                          <a:pt x="54" y="501"/>
                        </a:lnTo>
                        <a:lnTo>
                          <a:pt x="71" y="493"/>
                        </a:lnTo>
                        <a:lnTo>
                          <a:pt x="76" y="489"/>
                        </a:lnTo>
                        <a:lnTo>
                          <a:pt x="104" y="510"/>
                        </a:lnTo>
                        <a:lnTo>
                          <a:pt x="125" y="545"/>
                        </a:lnTo>
                        <a:lnTo>
                          <a:pt x="130" y="550"/>
                        </a:lnTo>
                        <a:lnTo>
                          <a:pt x="163" y="545"/>
                        </a:lnTo>
                        <a:lnTo>
                          <a:pt x="175" y="529"/>
                        </a:lnTo>
                        <a:lnTo>
                          <a:pt x="158" y="510"/>
                        </a:lnTo>
                        <a:lnTo>
                          <a:pt x="158" y="477"/>
                        </a:lnTo>
                        <a:lnTo>
                          <a:pt x="201" y="456"/>
                        </a:lnTo>
                        <a:lnTo>
                          <a:pt x="201" y="439"/>
                        </a:lnTo>
                        <a:lnTo>
                          <a:pt x="213" y="423"/>
                        </a:lnTo>
                        <a:lnTo>
                          <a:pt x="234" y="434"/>
                        </a:lnTo>
                        <a:lnTo>
                          <a:pt x="272" y="406"/>
                        </a:lnTo>
                        <a:lnTo>
                          <a:pt x="272" y="399"/>
                        </a:lnTo>
                        <a:lnTo>
                          <a:pt x="288" y="389"/>
                        </a:lnTo>
                        <a:lnTo>
                          <a:pt x="288" y="378"/>
                        </a:lnTo>
                        <a:lnTo>
                          <a:pt x="305" y="382"/>
                        </a:lnTo>
                        <a:lnTo>
                          <a:pt x="305" y="366"/>
                        </a:lnTo>
                        <a:lnTo>
                          <a:pt x="343" y="378"/>
                        </a:lnTo>
                        <a:lnTo>
                          <a:pt x="343" y="382"/>
                        </a:lnTo>
                        <a:lnTo>
                          <a:pt x="335" y="382"/>
                        </a:lnTo>
                        <a:lnTo>
                          <a:pt x="335" y="389"/>
                        </a:lnTo>
                        <a:lnTo>
                          <a:pt x="364" y="389"/>
                        </a:lnTo>
                        <a:lnTo>
                          <a:pt x="373" y="389"/>
                        </a:lnTo>
                        <a:lnTo>
                          <a:pt x="373" y="382"/>
                        </a:lnTo>
                        <a:lnTo>
                          <a:pt x="380" y="378"/>
                        </a:lnTo>
                        <a:lnTo>
                          <a:pt x="394" y="378"/>
                        </a:lnTo>
                        <a:lnTo>
                          <a:pt x="411" y="366"/>
                        </a:lnTo>
                        <a:lnTo>
                          <a:pt x="428" y="389"/>
                        </a:lnTo>
                        <a:lnTo>
                          <a:pt x="487" y="389"/>
                        </a:lnTo>
                        <a:lnTo>
                          <a:pt x="503" y="399"/>
                        </a:lnTo>
                        <a:lnTo>
                          <a:pt x="503" y="418"/>
                        </a:lnTo>
                        <a:lnTo>
                          <a:pt x="524" y="423"/>
                        </a:lnTo>
                        <a:lnTo>
                          <a:pt x="553" y="444"/>
                        </a:lnTo>
                        <a:lnTo>
                          <a:pt x="562" y="456"/>
                        </a:lnTo>
                        <a:lnTo>
                          <a:pt x="557" y="472"/>
                        </a:lnTo>
                        <a:lnTo>
                          <a:pt x="562" y="489"/>
                        </a:lnTo>
                        <a:lnTo>
                          <a:pt x="574" y="477"/>
                        </a:lnTo>
                        <a:lnTo>
                          <a:pt x="574" y="444"/>
                        </a:lnTo>
                        <a:lnTo>
                          <a:pt x="562" y="444"/>
                        </a:lnTo>
                        <a:lnTo>
                          <a:pt x="562" y="439"/>
                        </a:lnTo>
                        <a:lnTo>
                          <a:pt x="574" y="434"/>
                        </a:lnTo>
                        <a:lnTo>
                          <a:pt x="645" y="489"/>
                        </a:lnTo>
                        <a:lnTo>
                          <a:pt x="671" y="460"/>
                        </a:lnTo>
                        <a:lnTo>
                          <a:pt x="683" y="444"/>
                        </a:lnTo>
                        <a:lnTo>
                          <a:pt x="687" y="444"/>
                        </a:lnTo>
                        <a:lnTo>
                          <a:pt x="704" y="434"/>
                        </a:lnTo>
                        <a:lnTo>
                          <a:pt x="720" y="439"/>
                        </a:lnTo>
                        <a:lnTo>
                          <a:pt x="713" y="434"/>
                        </a:lnTo>
                        <a:lnTo>
                          <a:pt x="720" y="434"/>
                        </a:lnTo>
                        <a:lnTo>
                          <a:pt x="742" y="434"/>
                        </a:lnTo>
                        <a:lnTo>
                          <a:pt x="772" y="456"/>
                        </a:lnTo>
                        <a:lnTo>
                          <a:pt x="789" y="444"/>
                        </a:lnTo>
                        <a:lnTo>
                          <a:pt x="789" y="434"/>
                        </a:lnTo>
                        <a:lnTo>
                          <a:pt x="822" y="434"/>
                        </a:lnTo>
                        <a:lnTo>
                          <a:pt x="827" y="423"/>
                        </a:lnTo>
                        <a:lnTo>
                          <a:pt x="848" y="434"/>
                        </a:lnTo>
                        <a:lnTo>
                          <a:pt x="843" y="444"/>
                        </a:lnTo>
                        <a:lnTo>
                          <a:pt x="848" y="456"/>
                        </a:lnTo>
                        <a:lnTo>
                          <a:pt x="876" y="472"/>
                        </a:lnTo>
                        <a:lnTo>
                          <a:pt x="914" y="472"/>
                        </a:lnTo>
                        <a:lnTo>
                          <a:pt x="919" y="477"/>
                        </a:lnTo>
                        <a:lnTo>
                          <a:pt x="914" y="489"/>
                        </a:lnTo>
                        <a:lnTo>
                          <a:pt x="914" y="489"/>
                        </a:lnTo>
                        <a:lnTo>
                          <a:pt x="935" y="477"/>
                        </a:lnTo>
                        <a:lnTo>
                          <a:pt x="952" y="456"/>
                        </a:lnTo>
                        <a:lnTo>
                          <a:pt x="968" y="472"/>
                        </a:lnTo>
                        <a:lnTo>
                          <a:pt x="994" y="472"/>
                        </a:lnTo>
                        <a:lnTo>
                          <a:pt x="1044" y="460"/>
                        </a:lnTo>
                        <a:lnTo>
                          <a:pt x="1061" y="418"/>
                        </a:lnTo>
                        <a:lnTo>
                          <a:pt x="1065" y="418"/>
                        </a:lnTo>
                        <a:lnTo>
                          <a:pt x="1049" y="399"/>
                        </a:lnTo>
                        <a:lnTo>
                          <a:pt x="1011" y="389"/>
                        </a:lnTo>
                        <a:lnTo>
                          <a:pt x="1011" y="382"/>
                        </a:lnTo>
                        <a:lnTo>
                          <a:pt x="973" y="378"/>
                        </a:lnTo>
                        <a:lnTo>
                          <a:pt x="985" y="361"/>
                        </a:lnTo>
                        <a:lnTo>
                          <a:pt x="952" y="349"/>
                        </a:lnTo>
                        <a:lnTo>
                          <a:pt x="940" y="345"/>
                        </a:lnTo>
                        <a:lnTo>
                          <a:pt x="985" y="328"/>
                        </a:lnTo>
                        <a:lnTo>
                          <a:pt x="994" y="328"/>
                        </a:lnTo>
                        <a:lnTo>
                          <a:pt x="1023" y="312"/>
                        </a:lnTo>
                        <a:lnTo>
                          <a:pt x="1011" y="295"/>
                        </a:lnTo>
                        <a:lnTo>
                          <a:pt x="1006" y="288"/>
                        </a:lnTo>
                        <a:lnTo>
                          <a:pt x="1006" y="278"/>
                        </a:lnTo>
                        <a:lnTo>
                          <a:pt x="994" y="278"/>
                        </a:lnTo>
                        <a:lnTo>
                          <a:pt x="1023" y="250"/>
                        </a:lnTo>
                        <a:lnTo>
                          <a:pt x="1049" y="238"/>
                        </a:lnTo>
                        <a:lnTo>
                          <a:pt x="1082" y="250"/>
                        </a:lnTo>
                        <a:lnTo>
                          <a:pt x="1098" y="250"/>
                        </a:lnTo>
                        <a:lnTo>
                          <a:pt x="1098" y="234"/>
                        </a:lnTo>
                        <a:lnTo>
                          <a:pt x="1028" y="217"/>
                        </a:lnTo>
                        <a:lnTo>
                          <a:pt x="1037" y="193"/>
                        </a:lnTo>
                        <a:lnTo>
                          <a:pt x="1044" y="201"/>
                        </a:lnTo>
                        <a:lnTo>
                          <a:pt x="1061" y="193"/>
                        </a:lnTo>
                        <a:lnTo>
                          <a:pt x="1049" y="184"/>
                        </a:lnTo>
                        <a:lnTo>
                          <a:pt x="1011" y="184"/>
                        </a:lnTo>
                        <a:lnTo>
                          <a:pt x="1023" y="184"/>
                        </a:lnTo>
                        <a:lnTo>
                          <a:pt x="1037" y="167"/>
                        </a:lnTo>
                        <a:lnTo>
                          <a:pt x="1023" y="160"/>
                        </a:lnTo>
                        <a:lnTo>
                          <a:pt x="1023" y="156"/>
                        </a:lnTo>
                        <a:lnTo>
                          <a:pt x="1044" y="139"/>
                        </a:lnTo>
                        <a:lnTo>
                          <a:pt x="1091" y="156"/>
                        </a:lnTo>
                        <a:lnTo>
                          <a:pt x="1091" y="144"/>
                        </a:lnTo>
                        <a:lnTo>
                          <a:pt x="1113" y="144"/>
                        </a:lnTo>
                        <a:lnTo>
                          <a:pt x="1129" y="160"/>
                        </a:lnTo>
                        <a:lnTo>
                          <a:pt x="1129" y="144"/>
                        </a:lnTo>
                        <a:lnTo>
                          <a:pt x="1167" y="139"/>
                        </a:lnTo>
                        <a:lnTo>
                          <a:pt x="1167" y="127"/>
                        </a:lnTo>
                        <a:lnTo>
                          <a:pt x="1205" y="123"/>
                        </a:lnTo>
                        <a:lnTo>
                          <a:pt x="1221" y="127"/>
                        </a:lnTo>
                        <a:lnTo>
                          <a:pt x="1226" y="123"/>
                        </a:lnTo>
                        <a:lnTo>
                          <a:pt x="1226" y="111"/>
                        </a:lnTo>
                        <a:lnTo>
                          <a:pt x="1292" y="106"/>
                        </a:lnTo>
                        <a:lnTo>
                          <a:pt x="1313" y="111"/>
                        </a:lnTo>
                        <a:lnTo>
                          <a:pt x="1313" y="99"/>
                        </a:lnTo>
                        <a:lnTo>
                          <a:pt x="1330" y="82"/>
                        </a:lnTo>
                        <a:lnTo>
                          <a:pt x="1351" y="89"/>
                        </a:lnTo>
                        <a:lnTo>
                          <a:pt x="1368" y="73"/>
                        </a:lnTo>
                        <a:lnTo>
                          <a:pt x="1368" y="89"/>
                        </a:lnTo>
                        <a:lnTo>
                          <a:pt x="1476" y="66"/>
                        </a:lnTo>
                        <a:lnTo>
                          <a:pt x="1507" y="49"/>
                        </a:lnTo>
                        <a:lnTo>
                          <a:pt x="1524" y="49"/>
                        </a:lnTo>
                        <a:lnTo>
                          <a:pt x="1528" y="45"/>
                        </a:lnTo>
                        <a:lnTo>
                          <a:pt x="1524" y="28"/>
                        </a:lnTo>
                        <a:lnTo>
                          <a:pt x="1552" y="28"/>
                        </a:lnTo>
                        <a:lnTo>
                          <a:pt x="1561" y="12"/>
                        </a:lnTo>
                        <a:lnTo>
                          <a:pt x="1578" y="16"/>
                        </a:lnTo>
                        <a:lnTo>
                          <a:pt x="1578" y="0"/>
                        </a:lnTo>
                        <a:lnTo>
                          <a:pt x="1594" y="16"/>
                        </a:lnTo>
                        <a:lnTo>
                          <a:pt x="1599" y="12"/>
                        </a:lnTo>
                        <a:lnTo>
                          <a:pt x="1620" y="12"/>
                        </a:lnTo>
                        <a:lnTo>
                          <a:pt x="1670" y="33"/>
                        </a:lnTo>
                        <a:lnTo>
                          <a:pt x="1687" y="16"/>
                        </a:lnTo>
                        <a:lnTo>
                          <a:pt x="1708" y="16"/>
                        </a:lnTo>
                        <a:lnTo>
                          <a:pt x="1708" y="16"/>
                        </a:lnTo>
                        <a:lnTo>
                          <a:pt x="1713" y="45"/>
                        </a:lnTo>
                        <a:lnTo>
                          <a:pt x="1724" y="66"/>
                        </a:lnTo>
                        <a:lnTo>
                          <a:pt x="1741" y="82"/>
                        </a:lnTo>
                        <a:lnTo>
                          <a:pt x="1729" y="89"/>
                        </a:lnTo>
                        <a:lnTo>
                          <a:pt x="1729" y="111"/>
                        </a:lnTo>
                        <a:lnTo>
                          <a:pt x="1713" y="111"/>
                        </a:lnTo>
                        <a:lnTo>
                          <a:pt x="1729" y="139"/>
                        </a:lnTo>
                        <a:lnTo>
                          <a:pt x="1746" y="127"/>
                        </a:lnTo>
                        <a:lnTo>
                          <a:pt x="1762" y="139"/>
                        </a:lnTo>
                        <a:lnTo>
                          <a:pt x="1767" y="123"/>
                        </a:lnTo>
                        <a:lnTo>
                          <a:pt x="1800" y="139"/>
                        </a:lnTo>
                        <a:lnTo>
                          <a:pt x="1795" y="106"/>
                        </a:lnTo>
                        <a:lnTo>
                          <a:pt x="1800" y="111"/>
                        </a:lnTo>
                        <a:lnTo>
                          <a:pt x="1817" y="123"/>
                        </a:lnTo>
                        <a:lnTo>
                          <a:pt x="1809" y="127"/>
                        </a:lnTo>
                        <a:lnTo>
                          <a:pt x="1821" y="127"/>
                        </a:lnTo>
                        <a:lnTo>
                          <a:pt x="1817" y="156"/>
                        </a:lnTo>
                        <a:lnTo>
                          <a:pt x="1821" y="156"/>
                        </a:lnTo>
                        <a:lnTo>
                          <a:pt x="1838" y="156"/>
                        </a:lnTo>
                        <a:lnTo>
                          <a:pt x="1838" y="139"/>
                        </a:lnTo>
                        <a:lnTo>
                          <a:pt x="1821" y="144"/>
                        </a:lnTo>
                        <a:lnTo>
                          <a:pt x="1833" y="127"/>
                        </a:lnTo>
                        <a:lnTo>
                          <a:pt x="1854" y="139"/>
                        </a:lnTo>
                        <a:lnTo>
                          <a:pt x="1864" y="144"/>
                        </a:lnTo>
                        <a:lnTo>
                          <a:pt x="1876" y="156"/>
                        </a:lnTo>
                        <a:lnTo>
                          <a:pt x="1918" y="139"/>
                        </a:lnTo>
                        <a:lnTo>
                          <a:pt x="1909" y="160"/>
                        </a:lnTo>
                        <a:lnTo>
                          <a:pt x="1892" y="160"/>
                        </a:lnTo>
                        <a:lnTo>
                          <a:pt x="1876" y="184"/>
                        </a:lnTo>
                        <a:lnTo>
                          <a:pt x="1892" y="201"/>
                        </a:lnTo>
                        <a:lnTo>
                          <a:pt x="1909" y="184"/>
                        </a:lnTo>
                        <a:lnTo>
                          <a:pt x="1923" y="184"/>
                        </a:lnTo>
                        <a:lnTo>
                          <a:pt x="1946" y="184"/>
                        </a:lnTo>
                        <a:lnTo>
                          <a:pt x="1961" y="201"/>
                        </a:lnTo>
                        <a:lnTo>
                          <a:pt x="1961" y="177"/>
                        </a:lnTo>
                        <a:lnTo>
                          <a:pt x="1977" y="177"/>
                        </a:lnTo>
                        <a:lnTo>
                          <a:pt x="1984" y="160"/>
                        </a:lnTo>
                        <a:lnTo>
                          <a:pt x="1998" y="167"/>
                        </a:lnTo>
                        <a:lnTo>
                          <a:pt x="2031" y="144"/>
                        </a:lnTo>
                        <a:lnTo>
                          <a:pt x="2027" y="139"/>
                        </a:lnTo>
                        <a:lnTo>
                          <a:pt x="2031" y="139"/>
                        </a:lnTo>
                        <a:lnTo>
                          <a:pt x="2086" y="123"/>
                        </a:lnTo>
                        <a:lnTo>
                          <a:pt x="2086" y="111"/>
                        </a:lnTo>
                        <a:lnTo>
                          <a:pt x="2102" y="111"/>
                        </a:lnTo>
                        <a:lnTo>
                          <a:pt x="2124" y="106"/>
                        </a:lnTo>
                        <a:lnTo>
                          <a:pt x="2135" y="123"/>
                        </a:lnTo>
                        <a:lnTo>
                          <a:pt x="2119" y="127"/>
                        </a:lnTo>
                        <a:lnTo>
                          <a:pt x="2102" y="127"/>
                        </a:lnTo>
                        <a:lnTo>
                          <a:pt x="2107" y="144"/>
                        </a:lnTo>
                        <a:lnTo>
                          <a:pt x="2199" y="217"/>
                        </a:lnTo>
                        <a:lnTo>
                          <a:pt x="2355" y="460"/>
                        </a:lnTo>
                        <a:lnTo>
                          <a:pt x="2355" y="456"/>
                        </a:lnTo>
                        <a:lnTo>
                          <a:pt x="2388" y="439"/>
                        </a:lnTo>
                        <a:lnTo>
                          <a:pt x="2376" y="423"/>
                        </a:lnTo>
                        <a:lnTo>
                          <a:pt x="2393" y="418"/>
                        </a:lnTo>
                        <a:lnTo>
                          <a:pt x="2405" y="406"/>
                        </a:lnTo>
                        <a:lnTo>
                          <a:pt x="2431" y="423"/>
                        </a:lnTo>
                        <a:lnTo>
                          <a:pt x="2426" y="444"/>
                        </a:lnTo>
                        <a:lnTo>
                          <a:pt x="2447" y="439"/>
                        </a:lnTo>
                        <a:lnTo>
                          <a:pt x="2459" y="460"/>
                        </a:lnTo>
                        <a:lnTo>
                          <a:pt x="2523" y="460"/>
                        </a:lnTo>
                        <a:lnTo>
                          <a:pt x="2539" y="456"/>
                        </a:lnTo>
                        <a:lnTo>
                          <a:pt x="2539" y="444"/>
                        </a:lnTo>
                        <a:lnTo>
                          <a:pt x="2594" y="439"/>
                        </a:lnTo>
                        <a:lnTo>
                          <a:pt x="2627" y="456"/>
                        </a:lnTo>
                        <a:lnTo>
                          <a:pt x="2657" y="510"/>
                        </a:lnTo>
                        <a:lnTo>
                          <a:pt x="2702" y="529"/>
                        </a:lnTo>
                        <a:lnTo>
                          <a:pt x="2702" y="534"/>
                        </a:lnTo>
                        <a:lnTo>
                          <a:pt x="2702" y="545"/>
                        </a:lnTo>
                        <a:lnTo>
                          <a:pt x="2712" y="545"/>
                        </a:lnTo>
                        <a:lnTo>
                          <a:pt x="2717" y="571"/>
                        </a:lnTo>
                        <a:lnTo>
                          <a:pt x="2750" y="571"/>
                        </a:lnTo>
                        <a:lnTo>
                          <a:pt x="2787" y="583"/>
                        </a:lnTo>
                        <a:lnTo>
                          <a:pt x="2809" y="550"/>
                        </a:lnTo>
                        <a:lnTo>
                          <a:pt x="2825" y="550"/>
                        </a:lnTo>
                        <a:lnTo>
                          <a:pt x="2825" y="555"/>
                        </a:lnTo>
                        <a:lnTo>
                          <a:pt x="2809" y="571"/>
                        </a:lnTo>
                        <a:lnTo>
                          <a:pt x="2837" y="583"/>
                        </a:lnTo>
                        <a:lnTo>
                          <a:pt x="2837" y="600"/>
                        </a:lnTo>
                        <a:lnTo>
                          <a:pt x="2863" y="604"/>
                        </a:lnTo>
                        <a:lnTo>
                          <a:pt x="2863" y="623"/>
                        </a:lnTo>
                        <a:lnTo>
                          <a:pt x="2837" y="612"/>
                        </a:lnTo>
                        <a:lnTo>
                          <a:pt x="2820" y="628"/>
                        </a:lnTo>
                        <a:lnTo>
                          <a:pt x="2825" y="656"/>
                        </a:lnTo>
                        <a:lnTo>
                          <a:pt x="2809" y="666"/>
                        </a:lnTo>
                        <a:lnTo>
                          <a:pt x="2754" y="682"/>
                        </a:lnTo>
                        <a:lnTo>
                          <a:pt x="2740" y="723"/>
                        </a:lnTo>
                        <a:lnTo>
                          <a:pt x="2740" y="767"/>
                        </a:lnTo>
                        <a:lnTo>
                          <a:pt x="2750" y="777"/>
                        </a:lnTo>
                        <a:lnTo>
                          <a:pt x="2750" y="789"/>
                        </a:lnTo>
                        <a:lnTo>
                          <a:pt x="2740" y="805"/>
                        </a:lnTo>
                        <a:lnTo>
                          <a:pt x="2717" y="805"/>
                        </a:lnTo>
                        <a:lnTo>
                          <a:pt x="2686" y="829"/>
                        </a:lnTo>
                        <a:lnTo>
                          <a:pt x="2686" y="822"/>
                        </a:lnTo>
                        <a:lnTo>
                          <a:pt x="2679" y="810"/>
                        </a:lnTo>
                        <a:lnTo>
                          <a:pt x="2627" y="810"/>
                        </a:lnTo>
                        <a:lnTo>
                          <a:pt x="2565" y="789"/>
                        </a:lnTo>
                        <a:lnTo>
                          <a:pt x="2565" y="810"/>
                        </a:lnTo>
                        <a:lnTo>
                          <a:pt x="2513" y="940"/>
                        </a:lnTo>
                        <a:lnTo>
                          <a:pt x="2535" y="956"/>
                        </a:lnTo>
                        <a:lnTo>
                          <a:pt x="2535" y="978"/>
                        </a:lnTo>
                        <a:lnTo>
                          <a:pt x="2513" y="973"/>
                        </a:lnTo>
                        <a:lnTo>
                          <a:pt x="2485" y="978"/>
                        </a:lnTo>
                        <a:lnTo>
                          <a:pt x="2468" y="961"/>
                        </a:lnTo>
                        <a:lnTo>
                          <a:pt x="2355" y="989"/>
                        </a:lnTo>
                        <a:lnTo>
                          <a:pt x="2339" y="999"/>
                        </a:lnTo>
                        <a:lnTo>
                          <a:pt x="2350" y="1011"/>
                        </a:lnTo>
                        <a:lnTo>
                          <a:pt x="2372" y="1011"/>
                        </a:lnTo>
                        <a:lnTo>
                          <a:pt x="2388" y="1015"/>
                        </a:lnTo>
                        <a:lnTo>
                          <a:pt x="2376" y="1027"/>
                        </a:lnTo>
                        <a:lnTo>
                          <a:pt x="2376" y="1067"/>
                        </a:lnTo>
                        <a:lnTo>
                          <a:pt x="2405" y="1129"/>
                        </a:lnTo>
                        <a:lnTo>
                          <a:pt x="2409" y="1155"/>
                        </a:lnTo>
                        <a:lnTo>
                          <a:pt x="2376" y="1167"/>
                        </a:lnTo>
                        <a:lnTo>
                          <a:pt x="2393" y="1178"/>
                        </a:lnTo>
                        <a:lnTo>
                          <a:pt x="2372" y="1183"/>
                        </a:lnTo>
                        <a:lnTo>
                          <a:pt x="2362" y="1200"/>
                        </a:lnTo>
                        <a:lnTo>
                          <a:pt x="2372" y="1233"/>
                        </a:lnTo>
                        <a:lnTo>
                          <a:pt x="2362" y="1240"/>
                        </a:lnTo>
                        <a:lnTo>
                          <a:pt x="2350" y="1216"/>
                        </a:lnTo>
                        <a:lnTo>
                          <a:pt x="2308" y="1216"/>
                        </a:lnTo>
                        <a:lnTo>
                          <a:pt x="2296" y="1195"/>
                        </a:lnTo>
                        <a:lnTo>
                          <a:pt x="2296" y="1183"/>
                        </a:lnTo>
                        <a:lnTo>
                          <a:pt x="2157" y="1178"/>
                        </a:lnTo>
                        <a:lnTo>
                          <a:pt x="2140" y="1167"/>
                        </a:lnTo>
                        <a:lnTo>
                          <a:pt x="2119" y="1178"/>
                        </a:lnTo>
                        <a:lnTo>
                          <a:pt x="2053" y="1167"/>
                        </a:lnTo>
                        <a:lnTo>
                          <a:pt x="2048" y="1183"/>
                        </a:lnTo>
                        <a:lnTo>
                          <a:pt x="1984" y="1167"/>
                        </a:lnTo>
                        <a:lnTo>
                          <a:pt x="1946" y="1145"/>
                        </a:lnTo>
                        <a:lnTo>
                          <a:pt x="1902" y="1162"/>
                        </a:lnTo>
                        <a:lnTo>
                          <a:pt x="1892" y="1200"/>
                        </a:lnTo>
                        <a:lnTo>
                          <a:pt x="1892" y="1216"/>
                        </a:lnTo>
                        <a:lnTo>
                          <a:pt x="1809" y="1183"/>
                        </a:lnTo>
                        <a:lnTo>
                          <a:pt x="1767" y="1183"/>
                        </a:lnTo>
                        <a:lnTo>
                          <a:pt x="1729" y="1195"/>
                        </a:lnTo>
                        <a:lnTo>
                          <a:pt x="1708" y="1221"/>
                        </a:lnTo>
                        <a:lnTo>
                          <a:pt x="1713" y="1233"/>
                        </a:lnTo>
                        <a:lnTo>
                          <a:pt x="1703" y="1240"/>
                        </a:lnTo>
                        <a:lnTo>
                          <a:pt x="1691" y="1256"/>
                        </a:lnTo>
                        <a:lnTo>
                          <a:pt x="1675" y="1249"/>
                        </a:lnTo>
                        <a:lnTo>
                          <a:pt x="1649" y="1282"/>
                        </a:lnTo>
                        <a:lnTo>
                          <a:pt x="1620" y="1282"/>
                        </a:lnTo>
                        <a:lnTo>
                          <a:pt x="1583" y="1311"/>
                        </a:lnTo>
                        <a:lnTo>
                          <a:pt x="1583" y="1323"/>
                        </a:lnTo>
                        <a:lnTo>
                          <a:pt x="1552" y="1351"/>
                        </a:lnTo>
                        <a:lnTo>
                          <a:pt x="1552" y="1377"/>
                        </a:lnTo>
                        <a:lnTo>
                          <a:pt x="1540" y="1377"/>
                        </a:lnTo>
                        <a:lnTo>
                          <a:pt x="1514" y="1360"/>
                        </a:lnTo>
                        <a:lnTo>
                          <a:pt x="1524" y="1339"/>
                        </a:lnTo>
                        <a:lnTo>
                          <a:pt x="1507" y="1327"/>
                        </a:lnTo>
                        <a:lnTo>
                          <a:pt x="1422" y="1327"/>
                        </a:lnTo>
                        <a:lnTo>
                          <a:pt x="1405" y="1256"/>
                        </a:lnTo>
                        <a:lnTo>
                          <a:pt x="1368" y="1256"/>
                        </a:lnTo>
                        <a:lnTo>
                          <a:pt x="1377" y="1167"/>
                        </a:lnTo>
                        <a:lnTo>
                          <a:pt x="1351" y="1178"/>
                        </a:lnTo>
                        <a:lnTo>
                          <a:pt x="1335" y="1138"/>
                        </a:lnTo>
                        <a:lnTo>
                          <a:pt x="1313" y="1129"/>
                        </a:lnTo>
                        <a:lnTo>
                          <a:pt x="1292" y="1105"/>
                        </a:lnTo>
                        <a:lnTo>
                          <a:pt x="1259" y="1122"/>
                        </a:lnTo>
                        <a:lnTo>
                          <a:pt x="1174" y="1110"/>
                        </a:lnTo>
                        <a:lnTo>
                          <a:pt x="1091" y="1122"/>
                        </a:lnTo>
                        <a:lnTo>
                          <a:pt x="1028" y="1056"/>
                        </a:lnTo>
                        <a:lnTo>
                          <a:pt x="843" y="940"/>
                        </a:lnTo>
                        <a:lnTo>
                          <a:pt x="666" y="994"/>
                        </a:lnTo>
                        <a:lnTo>
                          <a:pt x="666" y="1311"/>
                        </a:lnTo>
                        <a:lnTo>
                          <a:pt x="666" y="1311"/>
                        </a:lnTo>
                        <a:lnTo>
                          <a:pt x="666" y="1311"/>
                        </a:lnTo>
                        <a:close/>
                        <a:moveTo>
                          <a:pt x="456" y="883"/>
                        </a:moveTo>
                        <a:lnTo>
                          <a:pt x="449" y="878"/>
                        </a:lnTo>
                        <a:lnTo>
                          <a:pt x="456" y="867"/>
                        </a:lnTo>
                        <a:lnTo>
                          <a:pt x="465" y="878"/>
                        </a:lnTo>
                        <a:lnTo>
                          <a:pt x="456" y="883"/>
                        </a:lnTo>
                        <a:lnTo>
                          <a:pt x="456" y="883"/>
                        </a:lnTo>
                        <a:lnTo>
                          <a:pt x="456" y="883"/>
                        </a:lnTo>
                        <a:close/>
                        <a:moveTo>
                          <a:pt x="267" y="994"/>
                        </a:moveTo>
                        <a:lnTo>
                          <a:pt x="267" y="989"/>
                        </a:lnTo>
                        <a:lnTo>
                          <a:pt x="272" y="989"/>
                        </a:lnTo>
                        <a:lnTo>
                          <a:pt x="267" y="994"/>
                        </a:lnTo>
                        <a:lnTo>
                          <a:pt x="267" y="994"/>
                        </a:lnTo>
                        <a:lnTo>
                          <a:pt x="267" y="994"/>
                        </a:lnTo>
                        <a:close/>
                        <a:moveTo>
                          <a:pt x="255" y="1011"/>
                        </a:moveTo>
                        <a:lnTo>
                          <a:pt x="239" y="994"/>
                        </a:lnTo>
                        <a:lnTo>
                          <a:pt x="250" y="989"/>
                        </a:lnTo>
                        <a:lnTo>
                          <a:pt x="255" y="989"/>
                        </a:lnTo>
                        <a:lnTo>
                          <a:pt x="250" y="994"/>
                        </a:lnTo>
                        <a:lnTo>
                          <a:pt x="255" y="999"/>
                        </a:lnTo>
                        <a:lnTo>
                          <a:pt x="255" y="1011"/>
                        </a:lnTo>
                        <a:lnTo>
                          <a:pt x="255" y="1011"/>
                        </a:lnTo>
                        <a:lnTo>
                          <a:pt x="255" y="101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3" name="Freeform 491">
                    <a:extLst>
                      <a:ext uri="{FF2B5EF4-FFF2-40B4-BE49-F238E27FC236}">
                        <a16:creationId xmlns:a16="http://schemas.microsoft.com/office/drawing/2014/main" id="{D0C2B7D9-C7A1-4B53-8388-8DE07692E608}"/>
                      </a:ext>
                    </a:extLst>
                  </p:cNvPr>
                  <p:cNvSpPr>
                    <a:spLocks/>
                  </p:cNvSpPr>
                  <p:nvPr/>
                </p:nvSpPr>
                <p:spPr bwMode="gray">
                  <a:xfrm>
                    <a:off x="7333037" y="2115586"/>
                    <a:ext cx="209952" cy="100047"/>
                  </a:xfrm>
                  <a:custGeom>
                    <a:avLst/>
                    <a:gdLst>
                      <a:gd name="T0" fmla="*/ 234 w 510"/>
                      <a:gd name="T1" fmla="*/ 21 h 243"/>
                      <a:gd name="T2" fmla="*/ 288 w 510"/>
                      <a:gd name="T3" fmla="*/ 0 h 243"/>
                      <a:gd name="T4" fmla="*/ 297 w 510"/>
                      <a:gd name="T5" fmla="*/ 5 h 243"/>
                      <a:gd name="T6" fmla="*/ 297 w 510"/>
                      <a:gd name="T7" fmla="*/ 0 h 243"/>
                      <a:gd name="T8" fmla="*/ 352 w 510"/>
                      <a:gd name="T9" fmla="*/ 21 h 243"/>
                      <a:gd name="T10" fmla="*/ 385 w 510"/>
                      <a:gd name="T11" fmla="*/ 55 h 243"/>
                      <a:gd name="T12" fmla="*/ 418 w 510"/>
                      <a:gd name="T13" fmla="*/ 43 h 243"/>
                      <a:gd name="T14" fmla="*/ 451 w 510"/>
                      <a:gd name="T15" fmla="*/ 55 h 243"/>
                      <a:gd name="T16" fmla="*/ 456 w 510"/>
                      <a:gd name="T17" fmla="*/ 55 h 243"/>
                      <a:gd name="T18" fmla="*/ 456 w 510"/>
                      <a:gd name="T19" fmla="*/ 59 h 243"/>
                      <a:gd name="T20" fmla="*/ 477 w 510"/>
                      <a:gd name="T21" fmla="*/ 76 h 243"/>
                      <a:gd name="T22" fmla="*/ 472 w 510"/>
                      <a:gd name="T23" fmla="*/ 116 h 243"/>
                      <a:gd name="T24" fmla="*/ 489 w 510"/>
                      <a:gd name="T25" fmla="*/ 128 h 243"/>
                      <a:gd name="T26" fmla="*/ 510 w 510"/>
                      <a:gd name="T27" fmla="*/ 182 h 243"/>
                      <a:gd name="T28" fmla="*/ 505 w 510"/>
                      <a:gd name="T29" fmla="*/ 199 h 243"/>
                      <a:gd name="T30" fmla="*/ 489 w 510"/>
                      <a:gd name="T31" fmla="*/ 199 h 243"/>
                      <a:gd name="T32" fmla="*/ 460 w 510"/>
                      <a:gd name="T33" fmla="*/ 222 h 243"/>
                      <a:gd name="T34" fmla="*/ 460 w 510"/>
                      <a:gd name="T35" fmla="*/ 239 h 243"/>
                      <a:gd name="T36" fmla="*/ 418 w 510"/>
                      <a:gd name="T37" fmla="*/ 227 h 243"/>
                      <a:gd name="T38" fmla="*/ 406 w 510"/>
                      <a:gd name="T39" fmla="*/ 243 h 243"/>
                      <a:gd name="T40" fmla="*/ 397 w 510"/>
                      <a:gd name="T41" fmla="*/ 243 h 243"/>
                      <a:gd name="T42" fmla="*/ 368 w 510"/>
                      <a:gd name="T43" fmla="*/ 239 h 243"/>
                      <a:gd name="T44" fmla="*/ 331 w 510"/>
                      <a:gd name="T45" fmla="*/ 199 h 243"/>
                      <a:gd name="T46" fmla="*/ 288 w 510"/>
                      <a:gd name="T47" fmla="*/ 189 h 243"/>
                      <a:gd name="T48" fmla="*/ 271 w 510"/>
                      <a:gd name="T49" fmla="*/ 166 h 243"/>
                      <a:gd name="T50" fmla="*/ 243 w 510"/>
                      <a:gd name="T51" fmla="*/ 182 h 243"/>
                      <a:gd name="T52" fmla="*/ 222 w 510"/>
                      <a:gd name="T53" fmla="*/ 189 h 243"/>
                      <a:gd name="T54" fmla="*/ 163 w 510"/>
                      <a:gd name="T55" fmla="*/ 170 h 243"/>
                      <a:gd name="T56" fmla="*/ 146 w 510"/>
                      <a:gd name="T57" fmla="*/ 182 h 243"/>
                      <a:gd name="T58" fmla="*/ 134 w 510"/>
                      <a:gd name="T59" fmla="*/ 170 h 243"/>
                      <a:gd name="T60" fmla="*/ 113 w 510"/>
                      <a:gd name="T61" fmla="*/ 170 h 243"/>
                      <a:gd name="T62" fmla="*/ 75 w 510"/>
                      <a:gd name="T63" fmla="*/ 170 h 243"/>
                      <a:gd name="T64" fmla="*/ 21 w 510"/>
                      <a:gd name="T65" fmla="*/ 189 h 243"/>
                      <a:gd name="T66" fmla="*/ 16 w 510"/>
                      <a:gd name="T67" fmla="*/ 206 h 243"/>
                      <a:gd name="T68" fmla="*/ 0 w 510"/>
                      <a:gd name="T69" fmla="*/ 206 h 243"/>
                      <a:gd name="T70" fmla="*/ 0 w 510"/>
                      <a:gd name="T71" fmla="*/ 170 h 243"/>
                      <a:gd name="T72" fmla="*/ 0 w 510"/>
                      <a:gd name="T73" fmla="*/ 154 h 243"/>
                      <a:gd name="T74" fmla="*/ 5 w 510"/>
                      <a:gd name="T75" fmla="*/ 166 h 243"/>
                      <a:gd name="T76" fmla="*/ 0 w 510"/>
                      <a:gd name="T77" fmla="*/ 128 h 243"/>
                      <a:gd name="T78" fmla="*/ 21 w 510"/>
                      <a:gd name="T79" fmla="*/ 111 h 243"/>
                      <a:gd name="T80" fmla="*/ 26 w 510"/>
                      <a:gd name="T81" fmla="*/ 76 h 243"/>
                      <a:gd name="T82" fmla="*/ 54 w 510"/>
                      <a:gd name="T83" fmla="*/ 55 h 243"/>
                      <a:gd name="T84" fmla="*/ 113 w 510"/>
                      <a:gd name="T85" fmla="*/ 33 h 243"/>
                      <a:gd name="T86" fmla="*/ 113 w 510"/>
                      <a:gd name="T87" fmla="*/ 43 h 243"/>
                      <a:gd name="T88" fmla="*/ 146 w 510"/>
                      <a:gd name="T89" fmla="*/ 71 h 243"/>
                      <a:gd name="T90" fmla="*/ 151 w 510"/>
                      <a:gd name="T91" fmla="*/ 99 h 243"/>
                      <a:gd name="T92" fmla="*/ 189 w 510"/>
                      <a:gd name="T93" fmla="*/ 111 h 243"/>
                      <a:gd name="T94" fmla="*/ 238 w 510"/>
                      <a:gd name="T95" fmla="*/ 88 h 243"/>
                      <a:gd name="T96" fmla="*/ 234 w 510"/>
                      <a:gd name="T97" fmla="*/ 21 h 243"/>
                      <a:gd name="T98" fmla="*/ 234 w 510"/>
                      <a:gd name="T99" fmla="*/ 21 h 243"/>
                      <a:gd name="T100" fmla="*/ 234 w 510"/>
                      <a:gd name="T101" fmla="*/ 21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0" h="243">
                        <a:moveTo>
                          <a:pt x="234" y="21"/>
                        </a:moveTo>
                        <a:lnTo>
                          <a:pt x="288" y="0"/>
                        </a:lnTo>
                        <a:lnTo>
                          <a:pt x="297" y="5"/>
                        </a:lnTo>
                        <a:lnTo>
                          <a:pt x="297" y="0"/>
                        </a:lnTo>
                        <a:lnTo>
                          <a:pt x="352" y="21"/>
                        </a:lnTo>
                        <a:lnTo>
                          <a:pt x="385" y="55"/>
                        </a:lnTo>
                        <a:lnTo>
                          <a:pt x="418" y="43"/>
                        </a:lnTo>
                        <a:lnTo>
                          <a:pt x="451" y="55"/>
                        </a:lnTo>
                        <a:lnTo>
                          <a:pt x="456" y="55"/>
                        </a:lnTo>
                        <a:lnTo>
                          <a:pt x="456" y="59"/>
                        </a:lnTo>
                        <a:lnTo>
                          <a:pt x="477" y="76"/>
                        </a:lnTo>
                        <a:lnTo>
                          <a:pt x="472" y="116"/>
                        </a:lnTo>
                        <a:lnTo>
                          <a:pt x="489" y="128"/>
                        </a:lnTo>
                        <a:lnTo>
                          <a:pt x="510" y="182"/>
                        </a:lnTo>
                        <a:lnTo>
                          <a:pt x="505" y="199"/>
                        </a:lnTo>
                        <a:lnTo>
                          <a:pt x="489" y="199"/>
                        </a:lnTo>
                        <a:lnTo>
                          <a:pt x="460" y="222"/>
                        </a:lnTo>
                        <a:lnTo>
                          <a:pt x="460" y="239"/>
                        </a:lnTo>
                        <a:lnTo>
                          <a:pt x="418" y="227"/>
                        </a:lnTo>
                        <a:lnTo>
                          <a:pt x="406" y="243"/>
                        </a:lnTo>
                        <a:lnTo>
                          <a:pt x="397" y="243"/>
                        </a:lnTo>
                        <a:lnTo>
                          <a:pt x="368" y="239"/>
                        </a:lnTo>
                        <a:lnTo>
                          <a:pt x="331" y="199"/>
                        </a:lnTo>
                        <a:lnTo>
                          <a:pt x="288" y="189"/>
                        </a:lnTo>
                        <a:lnTo>
                          <a:pt x="271" y="166"/>
                        </a:lnTo>
                        <a:lnTo>
                          <a:pt x="243" y="182"/>
                        </a:lnTo>
                        <a:lnTo>
                          <a:pt x="222" y="189"/>
                        </a:lnTo>
                        <a:lnTo>
                          <a:pt x="163" y="170"/>
                        </a:lnTo>
                        <a:lnTo>
                          <a:pt x="146" y="182"/>
                        </a:lnTo>
                        <a:lnTo>
                          <a:pt x="134" y="170"/>
                        </a:lnTo>
                        <a:lnTo>
                          <a:pt x="113" y="170"/>
                        </a:lnTo>
                        <a:lnTo>
                          <a:pt x="75" y="170"/>
                        </a:lnTo>
                        <a:lnTo>
                          <a:pt x="21" y="189"/>
                        </a:lnTo>
                        <a:lnTo>
                          <a:pt x="16" y="206"/>
                        </a:lnTo>
                        <a:lnTo>
                          <a:pt x="0" y="206"/>
                        </a:lnTo>
                        <a:lnTo>
                          <a:pt x="0" y="170"/>
                        </a:lnTo>
                        <a:lnTo>
                          <a:pt x="0" y="154"/>
                        </a:lnTo>
                        <a:lnTo>
                          <a:pt x="5" y="166"/>
                        </a:lnTo>
                        <a:lnTo>
                          <a:pt x="0" y="128"/>
                        </a:lnTo>
                        <a:lnTo>
                          <a:pt x="21" y="111"/>
                        </a:lnTo>
                        <a:lnTo>
                          <a:pt x="26" y="76"/>
                        </a:lnTo>
                        <a:lnTo>
                          <a:pt x="54" y="55"/>
                        </a:lnTo>
                        <a:lnTo>
                          <a:pt x="113" y="33"/>
                        </a:lnTo>
                        <a:lnTo>
                          <a:pt x="113" y="43"/>
                        </a:lnTo>
                        <a:lnTo>
                          <a:pt x="146" y="71"/>
                        </a:lnTo>
                        <a:lnTo>
                          <a:pt x="151" y="99"/>
                        </a:lnTo>
                        <a:lnTo>
                          <a:pt x="189" y="111"/>
                        </a:lnTo>
                        <a:lnTo>
                          <a:pt x="238" y="88"/>
                        </a:lnTo>
                        <a:lnTo>
                          <a:pt x="234" y="21"/>
                        </a:lnTo>
                        <a:lnTo>
                          <a:pt x="234" y="21"/>
                        </a:lnTo>
                        <a:lnTo>
                          <a:pt x="234" y="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4" name="Freeform 492">
                    <a:extLst>
                      <a:ext uri="{FF2B5EF4-FFF2-40B4-BE49-F238E27FC236}">
                        <a16:creationId xmlns:a16="http://schemas.microsoft.com/office/drawing/2014/main" id="{2CBE9FA6-B60D-43DB-8914-0052385FA0CA}"/>
                      </a:ext>
                    </a:extLst>
                  </p:cNvPr>
                  <p:cNvSpPr>
                    <a:spLocks noEditPoints="1"/>
                  </p:cNvSpPr>
                  <p:nvPr/>
                </p:nvSpPr>
                <p:spPr bwMode="gray">
                  <a:xfrm>
                    <a:off x="7328921" y="2183931"/>
                    <a:ext cx="172078" cy="107870"/>
                  </a:xfrm>
                  <a:custGeom>
                    <a:avLst/>
                    <a:gdLst>
                      <a:gd name="T0" fmla="*/ 137 w 418"/>
                      <a:gd name="T1" fmla="*/ 212 h 262"/>
                      <a:gd name="T2" fmla="*/ 126 w 418"/>
                      <a:gd name="T3" fmla="*/ 200 h 262"/>
                      <a:gd name="T4" fmla="*/ 137 w 418"/>
                      <a:gd name="T5" fmla="*/ 184 h 262"/>
                      <a:gd name="T6" fmla="*/ 142 w 418"/>
                      <a:gd name="T7" fmla="*/ 167 h 262"/>
                      <a:gd name="T8" fmla="*/ 121 w 418"/>
                      <a:gd name="T9" fmla="*/ 146 h 262"/>
                      <a:gd name="T10" fmla="*/ 88 w 418"/>
                      <a:gd name="T11" fmla="*/ 146 h 262"/>
                      <a:gd name="T12" fmla="*/ 33 w 418"/>
                      <a:gd name="T13" fmla="*/ 118 h 262"/>
                      <a:gd name="T14" fmla="*/ 29 w 418"/>
                      <a:gd name="T15" fmla="*/ 129 h 262"/>
                      <a:gd name="T16" fmla="*/ 29 w 418"/>
                      <a:gd name="T17" fmla="*/ 113 h 262"/>
                      <a:gd name="T18" fmla="*/ 29 w 418"/>
                      <a:gd name="T19" fmla="*/ 113 h 262"/>
                      <a:gd name="T20" fmla="*/ 29 w 418"/>
                      <a:gd name="T21" fmla="*/ 101 h 262"/>
                      <a:gd name="T22" fmla="*/ 12 w 418"/>
                      <a:gd name="T23" fmla="*/ 73 h 262"/>
                      <a:gd name="T24" fmla="*/ 12 w 418"/>
                      <a:gd name="T25" fmla="*/ 40 h 262"/>
                      <a:gd name="T26" fmla="*/ 29 w 418"/>
                      <a:gd name="T27" fmla="*/ 40 h 262"/>
                      <a:gd name="T28" fmla="*/ 33 w 418"/>
                      <a:gd name="T29" fmla="*/ 23 h 262"/>
                      <a:gd name="T30" fmla="*/ 88 w 418"/>
                      <a:gd name="T31" fmla="*/ 7 h 262"/>
                      <a:gd name="T32" fmla="*/ 126 w 418"/>
                      <a:gd name="T33" fmla="*/ 7 h 262"/>
                      <a:gd name="T34" fmla="*/ 147 w 418"/>
                      <a:gd name="T35" fmla="*/ 7 h 262"/>
                      <a:gd name="T36" fmla="*/ 159 w 418"/>
                      <a:gd name="T37" fmla="*/ 16 h 262"/>
                      <a:gd name="T38" fmla="*/ 175 w 418"/>
                      <a:gd name="T39" fmla="*/ 7 h 262"/>
                      <a:gd name="T40" fmla="*/ 234 w 418"/>
                      <a:gd name="T41" fmla="*/ 23 h 262"/>
                      <a:gd name="T42" fmla="*/ 256 w 418"/>
                      <a:gd name="T43" fmla="*/ 16 h 262"/>
                      <a:gd name="T44" fmla="*/ 281 w 418"/>
                      <a:gd name="T45" fmla="*/ 0 h 262"/>
                      <a:gd name="T46" fmla="*/ 298 w 418"/>
                      <a:gd name="T47" fmla="*/ 23 h 262"/>
                      <a:gd name="T48" fmla="*/ 341 w 418"/>
                      <a:gd name="T49" fmla="*/ 35 h 262"/>
                      <a:gd name="T50" fmla="*/ 378 w 418"/>
                      <a:gd name="T51" fmla="*/ 73 h 262"/>
                      <a:gd name="T52" fmla="*/ 407 w 418"/>
                      <a:gd name="T53" fmla="*/ 77 h 262"/>
                      <a:gd name="T54" fmla="*/ 395 w 418"/>
                      <a:gd name="T55" fmla="*/ 113 h 262"/>
                      <a:gd name="T56" fmla="*/ 418 w 418"/>
                      <a:gd name="T57" fmla="*/ 118 h 262"/>
                      <a:gd name="T58" fmla="*/ 395 w 418"/>
                      <a:gd name="T59" fmla="*/ 134 h 262"/>
                      <a:gd name="T60" fmla="*/ 378 w 418"/>
                      <a:gd name="T61" fmla="*/ 134 h 262"/>
                      <a:gd name="T62" fmla="*/ 374 w 418"/>
                      <a:gd name="T63" fmla="*/ 151 h 262"/>
                      <a:gd name="T64" fmla="*/ 341 w 418"/>
                      <a:gd name="T65" fmla="*/ 155 h 262"/>
                      <a:gd name="T66" fmla="*/ 341 w 418"/>
                      <a:gd name="T67" fmla="*/ 191 h 262"/>
                      <a:gd name="T68" fmla="*/ 326 w 418"/>
                      <a:gd name="T69" fmla="*/ 212 h 262"/>
                      <a:gd name="T70" fmla="*/ 341 w 418"/>
                      <a:gd name="T71" fmla="*/ 212 h 262"/>
                      <a:gd name="T72" fmla="*/ 341 w 418"/>
                      <a:gd name="T73" fmla="*/ 229 h 262"/>
                      <a:gd name="T74" fmla="*/ 326 w 418"/>
                      <a:gd name="T75" fmla="*/ 229 h 262"/>
                      <a:gd name="T76" fmla="*/ 336 w 418"/>
                      <a:gd name="T77" fmla="*/ 224 h 262"/>
                      <a:gd name="T78" fmla="*/ 326 w 418"/>
                      <a:gd name="T79" fmla="*/ 212 h 262"/>
                      <a:gd name="T80" fmla="*/ 298 w 418"/>
                      <a:gd name="T81" fmla="*/ 240 h 262"/>
                      <a:gd name="T82" fmla="*/ 281 w 418"/>
                      <a:gd name="T83" fmla="*/ 229 h 262"/>
                      <a:gd name="T84" fmla="*/ 281 w 418"/>
                      <a:gd name="T85" fmla="*/ 257 h 262"/>
                      <a:gd name="T86" fmla="*/ 265 w 418"/>
                      <a:gd name="T87" fmla="*/ 245 h 262"/>
                      <a:gd name="T88" fmla="*/ 251 w 418"/>
                      <a:gd name="T89" fmla="*/ 262 h 262"/>
                      <a:gd name="T90" fmla="*/ 234 w 418"/>
                      <a:gd name="T91" fmla="*/ 257 h 262"/>
                      <a:gd name="T92" fmla="*/ 189 w 418"/>
                      <a:gd name="T93" fmla="*/ 257 h 262"/>
                      <a:gd name="T94" fmla="*/ 180 w 418"/>
                      <a:gd name="T95" fmla="*/ 240 h 262"/>
                      <a:gd name="T96" fmla="*/ 175 w 418"/>
                      <a:gd name="T97" fmla="*/ 224 h 262"/>
                      <a:gd name="T98" fmla="*/ 147 w 418"/>
                      <a:gd name="T99" fmla="*/ 207 h 262"/>
                      <a:gd name="T100" fmla="*/ 137 w 418"/>
                      <a:gd name="T101" fmla="*/ 212 h 262"/>
                      <a:gd name="T102" fmla="*/ 137 w 418"/>
                      <a:gd name="T103" fmla="*/ 212 h 262"/>
                      <a:gd name="T104" fmla="*/ 137 w 418"/>
                      <a:gd name="T105" fmla="*/ 212 h 262"/>
                      <a:gd name="T106" fmla="*/ 12 w 418"/>
                      <a:gd name="T107" fmla="*/ 118 h 262"/>
                      <a:gd name="T108" fmla="*/ 0 w 418"/>
                      <a:gd name="T109" fmla="*/ 118 h 262"/>
                      <a:gd name="T110" fmla="*/ 17 w 418"/>
                      <a:gd name="T111" fmla="*/ 94 h 262"/>
                      <a:gd name="T112" fmla="*/ 17 w 418"/>
                      <a:gd name="T113" fmla="*/ 77 h 262"/>
                      <a:gd name="T114" fmla="*/ 17 w 418"/>
                      <a:gd name="T115" fmla="*/ 101 h 262"/>
                      <a:gd name="T116" fmla="*/ 12 w 418"/>
                      <a:gd name="T117" fmla="*/ 118 h 262"/>
                      <a:gd name="T118" fmla="*/ 12 w 418"/>
                      <a:gd name="T119" fmla="*/ 118 h 262"/>
                      <a:gd name="T120" fmla="*/ 12 w 418"/>
                      <a:gd name="T121" fmla="*/ 11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8" h="262">
                        <a:moveTo>
                          <a:pt x="137" y="212"/>
                        </a:moveTo>
                        <a:lnTo>
                          <a:pt x="126" y="200"/>
                        </a:lnTo>
                        <a:lnTo>
                          <a:pt x="137" y="184"/>
                        </a:lnTo>
                        <a:lnTo>
                          <a:pt x="142" y="167"/>
                        </a:lnTo>
                        <a:lnTo>
                          <a:pt x="121" y="146"/>
                        </a:lnTo>
                        <a:lnTo>
                          <a:pt x="88" y="146"/>
                        </a:lnTo>
                        <a:lnTo>
                          <a:pt x="33" y="118"/>
                        </a:lnTo>
                        <a:lnTo>
                          <a:pt x="29" y="129"/>
                        </a:lnTo>
                        <a:lnTo>
                          <a:pt x="29" y="113"/>
                        </a:lnTo>
                        <a:lnTo>
                          <a:pt x="29" y="113"/>
                        </a:lnTo>
                        <a:lnTo>
                          <a:pt x="29" y="101"/>
                        </a:lnTo>
                        <a:lnTo>
                          <a:pt x="12" y="73"/>
                        </a:lnTo>
                        <a:lnTo>
                          <a:pt x="12" y="40"/>
                        </a:lnTo>
                        <a:lnTo>
                          <a:pt x="29" y="40"/>
                        </a:lnTo>
                        <a:lnTo>
                          <a:pt x="33" y="23"/>
                        </a:lnTo>
                        <a:lnTo>
                          <a:pt x="88" y="7"/>
                        </a:lnTo>
                        <a:lnTo>
                          <a:pt x="126" y="7"/>
                        </a:lnTo>
                        <a:lnTo>
                          <a:pt x="147" y="7"/>
                        </a:lnTo>
                        <a:lnTo>
                          <a:pt x="159" y="16"/>
                        </a:lnTo>
                        <a:lnTo>
                          <a:pt x="175" y="7"/>
                        </a:lnTo>
                        <a:lnTo>
                          <a:pt x="234" y="23"/>
                        </a:lnTo>
                        <a:lnTo>
                          <a:pt x="256" y="16"/>
                        </a:lnTo>
                        <a:lnTo>
                          <a:pt x="281" y="0"/>
                        </a:lnTo>
                        <a:lnTo>
                          <a:pt x="298" y="23"/>
                        </a:lnTo>
                        <a:lnTo>
                          <a:pt x="341" y="35"/>
                        </a:lnTo>
                        <a:lnTo>
                          <a:pt x="378" y="73"/>
                        </a:lnTo>
                        <a:lnTo>
                          <a:pt x="407" y="77"/>
                        </a:lnTo>
                        <a:lnTo>
                          <a:pt x="395" y="113"/>
                        </a:lnTo>
                        <a:lnTo>
                          <a:pt x="418" y="118"/>
                        </a:lnTo>
                        <a:lnTo>
                          <a:pt x="395" y="134"/>
                        </a:lnTo>
                        <a:lnTo>
                          <a:pt x="378" y="134"/>
                        </a:lnTo>
                        <a:lnTo>
                          <a:pt x="374" y="151"/>
                        </a:lnTo>
                        <a:lnTo>
                          <a:pt x="341" y="155"/>
                        </a:lnTo>
                        <a:lnTo>
                          <a:pt x="341" y="191"/>
                        </a:lnTo>
                        <a:lnTo>
                          <a:pt x="326" y="212"/>
                        </a:lnTo>
                        <a:lnTo>
                          <a:pt x="341" y="212"/>
                        </a:lnTo>
                        <a:lnTo>
                          <a:pt x="341" y="229"/>
                        </a:lnTo>
                        <a:lnTo>
                          <a:pt x="326" y="229"/>
                        </a:lnTo>
                        <a:lnTo>
                          <a:pt x="336" y="224"/>
                        </a:lnTo>
                        <a:lnTo>
                          <a:pt x="326" y="212"/>
                        </a:lnTo>
                        <a:lnTo>
                          <a:pt x="298" y="240"/>
                        </a:lnTo>
                        <a:lnTo>
                          <a:pt x="281" y="229"/>
                        </a:lnTo>
                        <a:lnTo>
                          <a:pt x="281" y="257"/>
                        </a:lnTo>
                        <a:lnTo>
                          <a:pt x="265" y="245"/>
                        </a:lnTo>
                        <a:lnTo>
                          <a:pt x="251" y="262"/>
                        </a:lnTo>
                        <a:lnTo>
                          <a:pt x="234" y="257"/>
                        </a:lnTo>
                        <a:lnTo>
                          <a:pt x="189" y="257"/>
                        </a:lnTo>
                        <a:lnTo>
                          <a:pt x="180" y="240"/>
                        </a:lnTo>
                        <a:lnTo>
                          <a:pt x="175" y="224"/>
                        </a:lnTo>
                        <a:lnTo>
                          <a:pt x="147" y="207"/>
                        </a:lnTo>
                        <a:lnTo>
                          <a:pt x="137" y="212"/>
                        </a:lnTo>
                        <a:lnTo>
                          <a:pt x="137" y="212"/>
                        </a:lnTo>
                        <a:lnTo>
                          <a:pt x="137" y="212"/>
                        </a:lnTo>
                        <a:close/>
                        <a:moveTo>
                          <a:pt x="12" y="118"/>
                        </a:moveTo>
                        <a:lnTo>
                          <a:pt x="0" y="118"/>
                        </a:lnTo>
                        <a:lnTo>
                          <a:pt x="17" y="94"/>
                        </a:lnTo>
                        <a:lnTo>
                          <a:pt x="17" y="77"/>
                        </a:lnTo>
                        <a:lnTo>
                          <a:pt x="17" y="101"/>
                        </a:lnTo>
                        <a:lnTo>
                          <a:pt x="12" y="118"/>
                        </a:lnTo>
                        <a:lnTo>
                          <a:pt x="12" y="118"/>
                        </a:lnTo>
                        <a:lnTo>
                          <a:pt x="12" y="11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5" name="Freeform 494">
                    <a:extLst>
                      <a:ext uri="{FF2B5EF4-FFF2-40B4-BE49-F238E27FC236}">
                        <a16:creationId xmlns:a16="http://schemas.microsoft.com/office/drawing/2014/main" id="{2A4F67C5-2F0B-4660-BB5D-EA1E9A0798F8}"/>
                      </a:ext>
                    </a:extLst>
                  </p:cNvPr>
                  <p:cNvSpPr>
                    <a:spLocks/>
                  </p:cNvSpPr>
                  <p:nvPr/>
                </p:nvSpPr>
                <p:spPr bwMode="gray">
                  <a:xfrm>
                    <a:off x="7211595" y="2459781"/>
                    <a:ext cx="165080" cy="69169"/>
                  </a:xfrm>
                  <a:custGeom>
                    <a:avLst/>
                    <a:gdLst>
                      <a:gd name="T0" fmla="*/ 155 w 401"/>
                      <a:gd name="T1" fmla="*/ 144 h 168"/>
                      <a:gd name="T2" fmla="*/ 139 w 401"/>
                      <a:gd name="T3" fmla="*/ 152 h 168"/>
                      <a:gd name="T4" fmla="*/ 139 w 401"/>
                      <a:gd name="T5" fmla="*/ 161 h 168"/>
                      <a:gd name="T6" fmla="*/ 101 w 401"/>
                      <a:gd name="T7" fmla="*/ 168 h 168"/>
                      <a:gd name="T8" fmla="*/ 68 w 401"/>
                      <a:gd name="T9" fmla="*/ 168 h 168"/>
                      <a:gd name="T10" fmla="*/ 37 w 401"/>
                      <a:gd name="T11" fmla="*/ 144 h 168"/>
                      <a:gd name="T12" fmla="*/ 26 w 401"/>
                      <a:gd name="T13" fmla="*/ 144 h 168"/>
                      <a:gd name="T14" fmla="*/ 0 w 401"/>
                      <a:gd name="T15" fmla="*/ 111 h 168"/>
                      <a:gd name="T16" fmla="*/ 9 w 401"/>
                      <a:gd name="T17" fmla="*/ 90 h 168"/>
                      <a:gd name="T18" fmla="*/ 26 w 401"/>
                      <a:gd name="T19" fmla="*/ 67 h 168"/>
                      <a:gd name="T20" fmla="*/ 63 w 401"/>
                      <a:gd name="T21" fmla="*/ 67 h 168"/>
                      <a:gd name="T22" fmla="*/ 85 w 401"/>
                      <a:gd name="T23" fmla="*/ 50 h 168"/>
                      <a:gd name="T24" fmla="*/ 101 w 401"/>
                      <a:gd name="T25" fmla="*/ 29 h 168"/>
                      <a:gd name="T26" fmla="*/ 122 w 401"/>
                      <a:gd name="T27" fmla="*/ 12 h 168"/>
                      <a:gd name="T28" fmla="*/ 139 w 401"/>
                      <a:gd name="T29" fmla="*/ 12 h 168"/>
                      <a:gd name="T30" fmla="*/ 144 w 401"/>
                      <a:gd name="T31" fmla="*/ 12 h 168"/>
                      <a:gd name="T32" fmla="*/ 155 w 401"/>
                      <a:gd name="T33" fmla="*/ 17 h 168"/>
                      <a:gd name="T34" fmla="*/ 160 w 401"/>
                      <a:gd name="T35" fmla="*/ 17 h 168"/>
                      <a:gd name="T36" fmla="*/ 186 w 401"/>
                      <a:gd name="T37" fmla="*/ 0 h 168"/>
                      <a:gd name="T38" fmla="*/ 203 w 401"/>
                      <a:gd name="T39" fmla="*/ 17 h 168"/>
                      <a:gd name="T40" fmla="*/ 207 w 401"/>
                      <a:gd name="T41" fmla="*/ 17 h 168"/>
                      <a:gd name="T42" fmla="*/ 207 w 401"/>
                      <a:gd name="T43" fmla="*/ 33 h 168"/>
                      <a:gd name="T44" fmla="*/ 224 w 401"/>
                      <a:gd name="T45" fmla="*/ 38 h 168"/>
                      <a:gd name="T46" fmla="*/ 229 w 401"/>
                      <a:gd name="T47" fmla="*/ 29 h 168"/>
                      <a:gd name="T48" fmla="*/ 245 w 401"/>
                      <a:gd name="T49" fmla="*/ 17 h 168"/>
                      <a:gd name="T50" fmla="*/ 278 w 401"/>
                      <a:gd name="T51" fmla="*/ 17 h 168"/>
                      <a:gd name="T52" fmla="*/ 283 w 401"/>
                      <a:gd name="T53" fmla="*/ 29 h 168"/>
                      <a:gd name="T54" fmla="*/ 300 w 401"/>
                      <a:gd name="T55" fmla="*/ 17 h 168"/>
                      <a:gd name="T56" fmla="*/ 337 w 401"/>
                      <a:gd name="T57" fmla="*/ 17 h 168"/>
                      <a:gd name="T58" fmla="*/ 363 w 401"/>
                      <a:gd name="T59" fmla="*/ 29 h 168"/>
                      <a:gd name="T60" fmla="*/ 363 w 401"/>
                      <a:gd name="T61" fmla="*/ 33 h 168"/>
                      <a:gd name="T62" fmla="*/ 401 w 401"/>
                      <a:gd name="T63" fmla="*/ 50 h 168"/>
                      <a:gd name="T64" fmla="*/ 387 w 401"/>
                      <a:gd name="T65" fmla="*/ 83 h 168"/>
                      <a:gd name="T66" fmla="*/ 370 w 401"/>
                      <a:gd name="T67" fmla="*/ 95 h 168"/>
                      <a:gd name="T68" fmla="*/ 370 w 401"/>
                      <a:gd name="T69" fmla="*/ 111 h 168"/>
                      <a:gd name="T70" fmla="*/ 349 w 401"/>
                      <a:gd name="T71" fmla="*/ 111 h 168"/>
                      <a:gd name="T72" fmla="*/ 321 w 401"/>
                      <a:gd name="T73" fmla="*/ 95 h 168"/>
                      <a:gd name="T74" fmla="*/ 300 w 401"/>
                      <a:gd name="T75" fmla="*/ 95 h 168"/>
                      <a:gd name="T76" fmla="*/ 266 w 401"/>
                      <a:gd name="T77" fmla="*/ 95 h 168"/>
                      <a:gd name="T78" fmla="*/ 262 w 401"/>
                      <a:gd name="T79" fmla="*/ 95 h 168"/>
                      <a:gd name="T80" fmla="*/ 245 w 401"/>
                      <a:gd name="T81" fmla="*/ 123 h 168"/>
                      <a:gd name="T82" fmla="*/ 215 w 401"/>
                      <a:gd name="T83" fmla="*/ 140 h 168"/>
                      <a:gd name="T84" fmla="*/ 193 w 401"/>
                      <a:gd name="T85" fmla="*/ 128 h 168"/>
                      <a:gd name="T86" fmla="*/ 186 w 401"/>
                      <a:gd name="T87" fmla="*/ 140 h 168"/>
                      <a:gd name="T88" fmla="*/ 155 w 401"/>
                      <a:gd name="T89" fmla="*/ 144 h 168"/>
                      <a:gd name="T90" fmla="*/ 155 w 401"/>
                      <a:gd name="T91" fmla="*/ 144 h 168"/>
                      <a:gd name="T92" fmla="*/ 155 w 401"/>
                      <a:gd name="T93" fmla="*/ 14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1" h="168">
                        <a:moveTo>
                          <a:pt x="155" y="144"/>
                        </a:moveTo>
                        <a:lnTo>
                          <a:pt x="139" y="152"/>
                        </a:lnTo>
                        <a:lnTo>
                          <a:pt x="139" y="161"/>
                        </a:lnTo>
                        <a:lnTo>
                          <a:pt x="101" y="168"/>
                        </a:lnTo>
                        <a:lnTo>
                          <a:pt x="68" y="168"/>
                        </a:lnTo>
                        <a:lnTo>
                          <a:pt x="37" y="144"/>
                        </a:lnTo>
                        <a:lnTo>
                          <a:pt x="26" y="144"/>
                        </a:lnTo>
                        <a:lnTo>
                          <a:pt x="0" y="111"/>
                        </a:lnTo>
                        <a:lnTo>
                          <a:pt x="9" y="90"/>
                        </a:lnTo>
                        <a:lnTo>
                          <a:pt x="26" y="67"/>
                        </a:lnTo>
                        <a:lnTo>
                          <a:pt x="63" y="67"/>
                        </a:lnTo>
                        <a:lnTo>
                          <a:pt x="85" y="50"/>
                        </a:lnTo>
                        <a:lnTo>
                          <a:pt x="101" y="29"/>
                        </a:lnTo>
                        <a:lnTo>
                          <a:pt x="122" y="12"/>
                        </a:lnTo>
                        <a:lnTo>
                          <a:pt x="139" y="12"/>
                        </a:lnTo>
                        <a:lnTo>
                          <a:pt x="144" y="12"/>
                        </a:lnTo>
                        <a:lnTo>
                          <a:pt x="155" y="17"/>
                        </a:lnTo>
                        <a:lnTo>
                          <a:pt x="160" y="17"/>
                        </a:lnTo>
                        <a:lnTo>
                          <a:pt x="186" y="0"/>
                        </a:lnTo>
                        <a:lnTo>
                          <a:pt x="203" y="17"/>
                        </a:lnTo>
                        <a:lnTo>
                          <a:pt x="207" y="17"/>
                        </a:lnTo>
                        <a:lnTo>
                          <a:pt x="207" y="33"/>
                        </a:lnTo>
                        <a:lnTo>
                          <a:pt x="224" y="38"/>
                        </a:lnTo>
                        <a:lnTo>
                          <a:pt x="229" y="29"/>
                        </a:lnTo>
                        <a:lnTo>
                          <a:pt x="245" y="17"/>
                        </a:lnTo>
                        <a:lnTo>
                          <a:pt x="278" y="17"/>
                        </a:lnTo>
                        <a:lnTo>
                          <a:pt x="283" y="29"/>
                        </a:lnTo>
                        <a:lnTo>
                          <a:pt x="300" y="17"/>
                        </a:lnTo>
                        <a:lnTo>
                          <a:pt x="337" y="17"/>
                        </a:lnTo>
                        <a:lnTo>
                          <a:pt x="363" y="29"/>
                        </a:lnTo>
                        <a:lnTo>
                          <a:pt x="363" y="33"/>
                        </a:lnTo>
                        <a:lnTo>
                          <a:pt x="401" y="50"/>
                        </a:lnTo>
                        <a:lnTo>
                          <a:pt x="387" y="83"/>
                        </a:lnTo>
                        <a:lnTo>
                          <a:pt x="370" y="95"/>
                        </a:lnTo>
                        <a:lnTo>
                          <a:pt x="370" y="111"/>
                        </a:lnTo>
                        <a:lnTo>
                          <a:pt x="349" y="111"/>
                        </a:lnTo>
                        <a:lnTo>
                          <a:pt x="321" y="95"/>
                        </a:lnTo>
                        <a:lnTo>
                          <a:pt x="300" y="95"/>
                        </a:lnTo>
                        <a:lnTo>
                          <a:pt x="266" y="95"/>
                        </a:lnTo>
                        <a:lnTo>
                          <a:pt x="262" y="95"/>
                        </a:lnTo>
                        <a:lnTo>
                          <a:pt x="245" y="123"/>
                        </a:lnTo>
                        <a:lnTo>
                          <a:pt x="215" y="140"/>
                        </a:lnTo>
                        <a:lnTo>
                          <a:pt x="193" y="128"/>
                        </a:lnTo>
                        <a:lnTo>
                          <a:pt x="186" y="140"/>
                        </a:lnTo>
                        <a:lnTo>
                          <a:pt x="155" y="144"/>
                        </a:lnTo>
                        <a:lnTo>
                          <a:pt x="155" y="144"/>
                        </a:lnTo>
                        <a:lnTo>
                          <a:pt x="155" y="14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6" name="Freeform 495">
                    <a:extLst>
                      <a:ext uri="{FF2B5EF4-FFF2-40B4-BE49-F238E27FC236}">
                        <a16:creationId xmlns:a16="http://schemas.microsoft.com/office/drawing/2014/main" id="{86154C98-5753-400E-8461-DAF12522050A}"/>
                      </a:ext>
                    </a:extLst>
                  </p:cNvPr>
                  <p:cNvSpPr>
                    <a:spLocks/>
                  </p:cNvSpPr>
                  <p:nvPr/>
                </p:nvSpPr>
                <p:spPr bwMode="gray">
                  <a:xfrm>
                    <a:off x="6999585" y="2549535"/>
                    <a:ext cx="2882" cy="7823"/>
                  </a:xfrm>
                  <a:custGeom>
                    <a:avLst/>
                    <a:gdLst>
                      <a:gd name="T0" fmla="*/ 7 w 7"/>
                      <a:gd name="T1" fmla="*/ 0 h 19"/>
                      <a:gd name="T2" fmla="*/ 7 w 7"/>
                      <a:gd name="T3" fmla="*/ 19 h 19"/>
                      <a:gd name="T4" fmla="*/ 0 w 7"/>
                      <a:gd name="T5" fmla="*/ 19 h 19"/>
                      <a:gd name="T6" fmla="*/ 7 w 7"/>
                      <a:gd name="T7" fmla="*/ 0 h 19"/>
                      <a:gd name="T8" fmla="*/ 7 w 7"/>
                      <a:gd name="T9" fmla="*/ 0 h 19"/>
                      <a:gd name="T10" fmla="*/ 7 w 7"/>
                      <a:gd name="T11" fmla="*/ 0 h 19"/>
                    </a:gdLst>
                    <a:ahLst/>
                    <a:cxnLst>
                      <a:cxn ang="0">
                        <a:pos x="T0" y="T1"/>
                      </a:cxn>
                      <a:cxn ang="0">
                        <a:pos x="T2" y="T3"/>
                      </a:cxn>
                      <a:cxn ang="0">
                        <a:pos x="T4" y="T5"/>
                      </a:cxn>
                      <a:cxn ang="0">
                        <a:pos x="T6" y="T7"/>
                      </a:cxn>
                      <a:cxn ang="0">
                        <a:pos x="T8" y="T9"/>
                      </a:cxn>
                      <a:cxn ang="0">
                        <a:pos x="T10" y="T11"/>
                      </a:cxn>
                    </a:cxnLst>
                    <a:rect l="0" t="0" r="r" b="b"/>
                    <a:pathLst>
                      <a:path w="7" h="19">
                        <a:moveTo>
                          <a:pt x="7" y="0"/>
                        </a:moveTo>
                        <a:lnTo>
                          <a:pt x="7" y="19"/>
                        </a:lnTo>
                        <a:lnTo>
                          <a:pt x="0" y="19"/>
                        </a:lnTo>
                        <a:lnTo>
                          <a:pt x="7" y="0"/>
                        </a:lnTo>
                        <a:lnTo>
                          <a:pt x="7" y="0"/>
                        </a:lnTo>
                        <a:lnTo>
                          <a:pt x="7"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7" name="Freeform 497">
                    <a:extLst>
                      <a:ext uri="{FF2B5EF4-FFF2-40B4-BE49-F238E27FC236}">
                        <a16:creationId xmlns:a16="http://schemas.microsoft.com/office/drawing/2014/main" id="{FC83A260-A582-46E1-9B49-B2C2D2D11C23}"/>
                      </a:ext>
                    </a:extLst>
                  </p:cNvPr>
                  <p:cNvSpPr>
                    <a:spLocks/>
                  </p:cNvSpPr>
                  <p:nvPr/>
                </p:nvSpPr>
                <p:spPr bwMode="gray">
                  <a:xfrm>
                    <a:off x="6891315" y="2438373"/>
                    <a:ext cx="21406" cy="26350"/>
                  </a:xfrm>
                  <a:custGeom>
                    <a:avLst/>
                    <a:gdLst>
                      <a:gd name="T0" fmla="*/ 45 w 52"/>
                      <a:gd name="T1" fmla="*/ 64 h 64"/>
                      <a:gd name="T2" fmla="*/ 45 w 52"/>
                      <a:gd name="T3" fmla="*/ 64 h 64"/>
                      <a:gd name="T4" fmla="*/ 15 w 52"/>
                      <a:gd name="T5" fmla="*/ 64 h 64"/>
                      <a:gd name="T6" fmla="*/ 5 w 52"/>
                      <a:gd name="T7" fmla="*/ 55 h 64"/>
                      <a:gd name="T8" fmla="*/ 15 w 52"/>
                      <a:gd name="T9" fmla="*/ 48 h 64"/>
                      <a:gd name="T10" fmla="*/ 0 w 52"/>
                      <a:gd name="T11" fmla="*/ 33 h 64"/>
                      <a:gd name="T12" fmla="*/ 0 w 52"/>
                      <a:gd name="T13" fmla="*/ 17 h 64"/>
                      <a:gd name="T14" fmla="*/ 15 w 52"/>
                      <a:gd name="T15" fmla="*/ 0 h 64"/>
                      <a:gd name="T16" fmla="*/ 31 w 52"/>
                      <a:gd name="T17" fmla="*/ 0 h 64"/>
                      <a:gd name="T18" fmla="*/ 36 w 52"/>
                      <a:gd name="T19" fmla="*/ 26 h 64"/>
                      <a:gd name="T20" fmla="*/ 52 w 52"/>
                      <a:gd name="T21" fmla="*/ 33 h 64"/>
                      <a:gd name="T22" fmla="*/ 45 w 52"/>
                      <a:gd name="T23" fmla="*/ 64 h 64"/>
                      <a:gd name="T24" fmla="*/ 45 w 52"/>
                      <a:gd name="T25" fmla="*/ 64 h 64"/>
                      <a:gd name="T26" fmla="*/ 45 w 52"/>
                      <a:gd name="T2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64">
                        <a:moveTo>
                          <a:pt x="45" y="64"/>
                        </a:moveTo>
                        <a:lnTo>
                          <a:pt x="45" y="64"/>
                        </a:lnTo>
                        <a:lnTo>
                          <a:pt x="15" y="64"/>
                        </a:lnTo>
                        <a:lnTo>
                          <a:pt x="5" y="55"/>
                        </a:lnTo>
                        <a:lnTo>
                          <a:pt x="15" y="48"/>
                        </a:lnTo>
                        <a:lnTo>
                          <a:pt x="0" y="33"/>
                        </a:lnTo>
                        <a:lnTo>
                          <a:pt x="0" y="17"/>
                        </a:lnTo>
                        <a:lnTo>
                          <a:pt x="15" y="0"/>
                        </a:lnTo>
                        <a:lnTo>
                          <a:pt x="31" y="0"/>
                        </a:lnTo>
                        <a:lnTo>
                          <a:pt x="36" y="26"/>
                        </a:lnTo>
                        <a:lnTo>
                          <a:pt x="52" y="33"/>
                        </a:lnTo>
                        <a:lnTo>
                          <a:pt x="45" y="64"/>
                        </a:lnTo>
                        <a:lnTo>
                          <a:pt x="45" y="64"/>
                        </a:lnTo>
                        <a:lnTo>
                          <a:pt x="45" y="6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8" name="Freeform 501">
                    <a:extLst>
                      <a:ext uri="{FF2B5EF4-FFF2-40B4-BE49-F238E27FC236}">
                        <a16:creationId xmlns:a16="http://schemas.microsoft.com/office/drawing/2014/main" id="{E4544B6D-D837-4741-ACF0-A0B7091CEAEB}"/>
                      </a:ext>
                    </a:extLst>
                  </p:cNvPr>
                  <p:cNvSpPr>
                    <a:spLocks/>
                  </p:cNvSpPr>
                  <p:nvPr/>
                </p:nvSpPr>
                <p:spPr bwMode="gray">
                  <a:xfrm>
                    <a:off x="7495236" y="2503835"/>
                    <a:ext cx="101271" cy="114456"/>
                  </a:xfrm>
                  <a:custGeom>
                    <a:avLst/>
                    <a:gdLst>
                      <a:gd name="T0" fmla="*/ 0 w 246"/>
                      <a:gd name="T1" fmla="*/ 16 h 278"/>
                      <a:gd name="T2" fmla="*/ 5 w 246"/>
                      <a:gd name="T3" fmla="*/ 7 h 278"/>
                      <a:gd name="T4" fmla="*/ 76 w 246"/>
                      <a:gd name="T5" fmla="*/ 0 h 278"/>
                      <a:gd name="T6" fmla="*/ 97 w 246"/>
                      <a:gd name="T7" fmla="*/ 16 h 278"/>
                      <a:gd name="T8" fmla="*/ 97 w 246"/>
                      <a:gd name="T9" fmla="*/ 23 h 278"/>
                      <a:gd name="T10" fmla="*/ 152 w 246"/>
                      <a:gd name="T11" fmla="*/ 33 h 278"/>
                      <a:gd name="T12" fmla="*/ 168 w 246"/>
                      <a:gd name="T13" fmla="*/ 45 h 278"/>
                      <a:gd name="T14" fmla="*/ 175 w 246"/>
                      <a:gd name="T15" fmla="*/ 45 h 278"/>
                      <a:gd name="T16" fmla="*/ 185 w 246"/>
                      <a:gd name="T17" fmla="*/ 61 h 278"/>
                      <a:gd name="T18" fmla="*/ 175 w 246"/>
                      <a:gd name="T19" fmla="*/ 89 h 278"/>
                      <a:gd name="T20" fmla="*/ 175 w 246"/>
                      <a:gd name="T21" fmla="*/ 94 h 278"/>
                      <a:gd name="T22" fmla="*/ 192 w 246"/>
                      <a:gd name="T23" fmla="*/ 111 h 278"/>
                      <a:gd name="T24" fmla="*/ 208 w 246"/>
                      <a:gd name="T25" fmla="*/ 101 h 278"/>
                      <a:gd name="T26" fmla="*/ 208 w 246"/>
                      <a:gd name="T27" fmla="*/ 146 h 278"/>
                      <a:gd name="T28" fmla="*/ 229 w 246"/>
                      <a:gd name="T29" fmla="*/ 151 h 278"/>
                      <a:gd name="T30" fmla="*/ 229 w 246"/>
                      <a:gd name="T31" fmla="*/ 172 h 278"/>
                      <a:gd name="T32" fmla="*/ 229 w 246"/>
                      <a:gd name="T33" fmla="*/ 172 h 278"/>
                      <a:gd name="T34" fmla="*/ 246 w 246"/>
                      <a:gd name="T35" fmla="*/ 189 h 278"/>
                      <a:gd name="T36" fmla="*/ 229 w 246"/>
                      <a:gd name="T37" fmla="*/ 189 h 278"/>
                      <a:gd name="T38" fmla="*/ 218 w 246"/>
                      <a:gd name="T39" fmla="*/ 184 h 278"/>
                      <a:gd name="T40" fmla="*/ 208 w 246"/>
                      <a:gd name="T41" fmla="*/ 189 h 278"/>
                      <a:gd name="T42" fmla="*/ 201 w 246"/>
                      <a:gd name="T43" fmla="*/ 184 h 278"/>
                      <a:gd name="T44" fmla="*/ 185 w 246"/>
                      <a:gd name="T45" fmla="*/ 189 h 278"/>
                      <a:gd name="T46" fmla="*/ 175 w 246"/>
                      <a:gd name="T47" fmla="*/ 172 h 278"/>
                      <a:gd name="T48" fmla="*/ 168 w 246"/>
                      <a:gd name="T49" fmla="*/ 184 h 278"/>
                      <a:gd name="T50" fmla="*/ 163 w 246"/>
                      <a:gd name="T51" fmla="*/ 200 h 278"/>
                      <a:gd name="T52" fmla="*/ 168 w 246"/>
                      <a:gd name="T53" fmla="*/ 208 h 278"/>
                      <a:gd name="T54" fmla="*/ 163 w 246"/>
                      <a:gd name="T55" fmla="*/ 224 h 278"/>
                      <a:gd name="T56" fmla="*/ 147 w 246"/>
                      <a:gd name="T57" fmla="*/ 229 h 278"/>
                      <a:gd name="T58" fmla="*/ 147 w 246"/>
                      <a:gd name="T59" fmla="*/ 241 h 278"/>
                      <a:gd name="T60" fmla="*/ 130 w 246"/>
                      <a:gd name="T61" fmla="*/ 257 h 278"/>
                      <a:gd name="T62" fmla="*/ 130 w 246"/>
                      <a:gd name="T63" fmla="*/ 269 h 278"/>
                      <a:gd name="T64" fmla="*/ 114 w 246"/>
                      <a:gd name="T65" fmla="*/ 269 h 278"/>
                      <a:gd name="T66" fmla="*/ 109 w 246"/>
                      <a:gd name="T67" fmla="*/ 278 h 278"/>
                      <a:gd name="T68" fmla="*/ 97 w 246"/>
                      <a:gd name="T69" fmla="*/ 262 h 278"/>
                      <a:gd name="T70" fmla="*/ 109 w 246"/>
                      <a:gd name="T71" fmla="*/ 257 h 278"/>
                      <a:gd name="T72" fmla="*/ 97 w 246"/>
                      <a:gd name="T73" fmla="*/ 212 h 278"/>
                      <a:gd name="T74" fmla="*/ 114 w 246"/>
                      <a:gd name="T75" fmla="*/ 184 h 278"/>
                      <a:gd name="T76" fmla="*/ 97 w 246"/>
                      <a:gd name="T77" fmla="*/ 134 h 278"/>
                      <a:gd name="T78" fmla="*/ 83 w 246"/>
                      <a:gd name="T79" fmla="*/ 118 h 278"/>
                      <a:gd name="T80" fmla="*/ 43 w 246"/>
                      <a:gd name="T81" fmla="*/ 73 h 278"/>
                      <a:gd name="T82" fmla="*/ 22 w 246"/>
                      <a:gd name="T83" fmla="*/ 33 h 278"/>
                      <a:gd name="T84" fmla="*/ 0 w 246"/>
                      <a:gd name="T85" fmla="*/ 16 h 278"/>
                      <a:gd name="T86" fmla="*/ 0 w 246"/>
                      <a:gd name="T87" fmla="*/ 16 h 278"/>
                      <a:gd name="T88" fmla="*/ 0 w 246"/>
                      <a:gd name="T89" fmla="*/ 1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6" h="278">
                        <a:moveTo>
                          <a:pt x="0" y="16"/>
                        </a:moveTo>
                        <a:lnTo>
                          <a:pt x="5" y="7"/>
                        </a:lnTo>
                        <a:lnTo>
                          <a:pt x="76" y="0"/>
                        </a:lnTo>
                        <a:lnTo>
                          <a:pt x="97" y="16"/>
                        </a:lnTo>
                        <a:lnTo>
                          <a:pt x="97" y="23"/>
                        </a:lnTo>
                        <a:lnTo>
                          <a:pt x="152" y="33"/>
                        </a:lnTo>
                        <a:lnTo>
                          <a:pt x="168" y="45"/>
                        </a:lnTo>
                        <a:lnTo>
                          <a:pt x="175" y="45"/>
                        </a:lnTo>
                        <a:lnTo>
                          <a:pt x="185" y="61"/>
                        </a:lnTo>
                        <a:lnTo>
                          <a:pt x="175" y="89"/>
                        </a:lnTo>
                        <a:lnTo>
                          <a:pt x="175" y="94"/>
                        </a:lnTo>
                        <a:lnTo>
                          <a:pt x="192" y="111"/>
                        </a:lnTo>
                        <a:lnTo>
                          <a:pt x="208" y="101"/>
                        </a:lnTo>
                        <a:lnTo>
                          <a:pt x="208" y="146"/>
                        </a:lnTo>
                        <a:lnTo>
                          <a:pt x="229" y="151"/>
                        </a:lnTo>
                        <a:lnTo>
                          <a:pt x="229" y="172"/>
                        </a:lnTo>
                        <a:lnTo>
                          <a:pt x="229" y="172"/>
                        </a:lnTo>
                        <a:lnTo>
                          <a:pt x="246" y="189"/>
                        </a:lnTo>
                        <a:lnTo>
                          <a:pt x="229" y="189"/>
                        </a:lnTo>
                        <a:lnTo>
                          <a:pt x="218" y="184"/>
                        </a:lnTo>
                        <a:lnTo>
                          <a:pt x="208" y="189"/>
                        </a:lnTo>
                        <a:lnTo>
                          <a:pt x="201" y="184"/>
                        </a:lnTo>
                        <a:lnTo>
                          <a:pt x="185" y="189"/>
                        </a:lnTo>
                        <a:lnTo>
                          <a:pt x="175" y="172"/>
                        </a:lnTo>
                        <a:lnTo>
                          <a:pt x="168" y="184"/>
                        </a:lnTo>
                        <a:lnTo>
                          <a:pt x="163" y="200"/>
                        </a:lnTo>
                        <a:lnTo>
                          <a:pt x="168" y="208"/>
                        </a:lnTo>
                        <a:lnTo>
                          <a:pt x="163" y="224"/>
                        </a:lnTo>
                        <a:lnTo>
                          <a:pt x="147" y="229"/>
                        </a:lnTo>
                        <a:lnTo>
                          <a:pt x="147" y="241"/>
                        </a:lnTo>
                        <a:lnTo>
                          <a:pt x="130" y="257"/>
                        </a:lnTo>
                        <a:lnTo>
                          <a:pt x="130" y="269"/>
                        </a:lnTo>
                        <a:lnTo>
                          <a:pt x="114" y="269"/>
                        </a:lnTo>
                        <a:lnTo>
                          <a:pt x="109" y="278"/>
                        </a:lnTo>
                        <a:lnTo>
                          <a:pt x="97" y="262"/>
                        </a:lnTo>
                        <a:lnTo>
                          <a:pt x="109" y="257"/>
                        </a:lnTo>
                        <a:lnTo>
                          <a:pt x="97" y="212"/>
                        </a:lnTo>
                        <a:lnTo>
                          <a:pt x="114" y="184"/>
                        </a:lnTo>
                        <a:lnTo>
                          <a:pt x="97" y="134"/>
                        </a:lnTo>
                        <a:lnTo>
                          <a:pt x="83" y="118"/>
                        </a:lnTo>
                        <a:lnTo>
                          <a:pt x="43" y="73"/>
                        </a:lnTo>
                        <a:lnTo>
                          <a:pt x="22" y="33"/>
                        </a:lnTo>
                        <a:lnTo>
                          <a:pt x="0" y="16"/>
                        </a:lnTo>
                        <a:lnTo>
                          <a:pt x="0" y="16"/>
                        </a:lnTo>
                        <a:lnTo>
                          <a:pt x="0" y="1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9" name="Freeform 503">
                    <a:extLst>
                      <a:ext uri="{FF2B5EF4-FFF2-40B4-BE49-F238E27FC236}">
                        <a16:creationId xmlns:a16="http://schemas.microsoft.com/office/drawing/2014/main" id="{5DEDD18D-8ACD-4B5F-BF62-F1779DBD28C1}"/>
                      </a:ext>
                    </a:extLst>
                  </p:cNvPr>
                  <p:cNvSpPr>
                    <a:spLocks/>
                  </p:cNvSpPr>
                  <p:nvPr/>
                </p:nvSpPr>
                <p:spPr bwMode="gray">
                  <a:xfrm>
                    <a:off x="9260477" y="2360558"/>
                    <a:ext cx="927492" cy="394012"/>
                  </a:xfrm>
                  <a:custGeom>
                    <a:avLst/>
                    <a:gdLst>
                      <a:gd name="T0" fmla="*/ 1993 w 2253"/>
                      <a:gd name="T1" fmla="*/ 603 h 957"/>
                      <a:gd name="T2" fmla="*/ 1875 w 2253"/>
                      <a:gd name="T3" fmla="*/ 643 h 957"/>
                      <a:gd name="T4" fmla="*/ 1729 w 2253"/>
                      <a:gd name="T5" fmla="*/ 659 h 957"/>
                      <a:gd name="T6" fmla="*/ 1658 w 2253"/>
                      <a:gd name="T7" fmla="*/ 719 h 957"/>
                      <a:gd name="T8" fmla="*/ 1632 w 2253"/>
                      <a:gd name="T9" fmla="*/ 808 h 957"/>
                      <a:gd name="T10" fmla="*/ 1382 w 2253"/>
                      <a:gd name="T11" fmla="*/ 886 h 957"/>
                      <a:gd name="T12" fmla="*/ 1209 w 2253"/>
                      <a:gd name="T13" fmla="*/ 957 h 957"/>
                      <a:gd name="T14" fmla="*/ 1171 w 2253"/>
                      <a:gd name="T15" fmla="*/ 936 h 957"/>
                      <a:gd name="T16" fmla="*/ 1048 w 2253"/>
                      <a:gd name="T17" fmla="*/ 907 h 957"/>
                      <a:gd name="T18" fmla="*/ 919 w 2253"/>
                      <a:gd name="T19" fmla="*/ 863 h 957"/>
                      <a:gd name="T20" fmla="*/ 654 w 2253"/>
                      <a:gd name="T21" fmla="*/ 853 h 957"/>
                      <a:gd name="T22" fmla="*/ 571 w 2253"/>
                      <a:gd name="T23" fmla="*/ 813 h 957"/>
                      <a:gd name="T24" fmla="*/ 534 w 2253"/>
                      <a:gd name="T25" fmla="*/ 726 h 957"/>
                      <a:gd name="T26" fmla="*/ 411 w 2253"/>
                      <a:gd name="T27" fmla="*/ 664 h 957"/>
                      <a:gd name="T28" fmla="*/ 200 w 2253"/>
                      <a:gd name="T29" fmla="*/ 615 h 957"/>
                      <a:gd name="T30" fmla="*/ 222 w 2253"/>
                      <a:gd name="T31" fmla="*/ 548 h 957"/>
                      <a:gd name="T32" fmla="*/ 210 w 2253"/>
                      <a:gd name="T33" fmla="*/ 475 h 957"/>
                      <a:gd name="T34" fmla="*/ 163 w 2253"/>
                      <a:gd name="T35" fmla="*/ 409 h 957"/>
                      <a:gd name="T36" fmla="*/ 125 w 2253"/>
                      <a:gd name="T37" fmla="*/ 388 h 957"/>
                      <a:gd name="T38" fmla="*/ 54 w 2253"/>
                      <a:gd name="T39" fmla="*/ 355 h 957"/>
                      <a:gd name="T40" fmla="*/ 0 w 2253"/>
                      <a:gd name="T41" fmla="*/ 310 h 957"/>
                      <a:gd name="T42" fmla="*/ 21 w 2253"/>
                      <a:gd name="T43" fmla="*/ 277 h 957"/>
                      <a:gd name="T44" fmla="*/ 75 w 2253"/>
                      <a:gd name="T45" fmla="*/ 260 h 957"/>
                      <a:gd name="T46" fmla="*/ 101 w 2253"/>
                      <a:gd name="T47" fmla="*/ 256 h 957"/>
                      <a:gd name="T48" fmla="*/ 139 w 2253"/>
                      <a:gd name="T49" fmla="*/ 227 h 957"/>
                      <a:gd name="T50" fmla="*/ 163 w 2253"/>
                      <a:gd name="T51" fmla="*/ 199 h 957"/>
                      <a:gd name="T52" fmla="*/ 252 w 2253"/>
                      <a:gd name="T53" fmla="*/ 161 h 957"/>
                      <a:gd name="T54" fmla="*/ 319 w 2253"/>
                      <a:gd name="T55" fmla="*/ 128 h 957"/>
                      <a:gd name="T56" fmla="*/ 361 w 2253"/>
                      <a:gd name="T57" fmla="*/ 128 h 957"/>
                      <a:gd name="T58" fmla="*/ 453 w 2253"/>
                      <a:gd name="T59" fmla="*/ 149 h 957"/>
                      <a:gd name="T60" fmla="*/ 503 w 2253"/>
                      <a:gd name="T61" fmla="*/ 199 h 957"/>
                      <a:gd name="T62" fmla="*/ 562 w 2253"/>
                      <a:gd name="T63" fmla="*/ 206 h 957"/>
                      <a:gd name="T64" fmla="*/ 616 w 2253"/>
                      <a:gd name="T65" fmla="*/ 222 h 957"/>
                      <a:gd name="T66" fmla="*/ 697 w 2253"/>
                      <a:gd name="T67" fmla="*/ 206 h 957"/>
                      <a:gd name="T68" fmla="*/ 739 w 2253"/>
                      <a:gd name="T69" fmla="*/ 161 h 957"/>
                      <a:gd name="T70" fmla="*/ 718 w 2253"/>
                      <a:gd name="T71" fmla="*/ 128 h 957"/>
                      <a:gd name="T72" fmla="*/ 734 w 2253"/>
                      <a:gd name="T73" fmla="*/ 62 h 957"/>
                      <a:gd name="T74" fmla="*/ 777 w 2253"/>
                      <a:gd name="T75" fmla="*/ 0 h 957"/>
                      <a:gd name="T76" fmla="*/ 956 w 2253"/>
                      <a:gd name="T77" fmla="*/ 71 h 957"/>
                      <a:gd name="T78" fmla="*/ 1011 w 2253"/>
                      <a:gd name="T79" fmla="*/ 95 h 957"/>
                      <a:gd name="T80" fmla="*/ 1025 w 2253"/>
                      <a:gd name="T81" fmla="*/ 133 h 957"/>
                      <a:gd name="T82" fmla="*/ 1079 w 2253"/>
                      <a:gd name="T83" fmla="*/ 173 h 957"/>
                      <a:gd name="T84" fmla="*/ 1129 w 2253"/>
                      <a:gd name="T85" fmla="*/ 189 h 957"/>
                      <a:gd name="T86" fmla="*/ 1237 w 2253"/>
                      <a:gd name="T87" fmla="*/ 161 h 957"/>
                      <a:gd name="T88" fmla="*/ 1330 w 2253"/>
                      <a:gd name="T89" fmla="*/ 173 h 957"/>
                      <a:gd name="T90" fmla="*/ 1419 w 2253"/>
                      <a:gd name="T91" fmla="*/ 215 h 957"/>
                      <a:gd name="T92" fmla="*/ 1507 w 2253"/>
                      <a:gd name="T93" fmla="*/ 260 h 957"/>
                      <a:gd name="T94" fmla="*/ 1653 w 2253"/>
                      <a:gd name="T95" fmla="*/ 272 h 957"/>
                      <a:gd name="T96" fmla="*/ 1859 w 2253"/>
                      <a:gd name="T97" fmla="*/ 173 h 957"/>
                      <a:gd name="T98" fmla="*/ 1960 w 2253"/>
                      <a:gd name="T99" fmla="*/ 215 h 957"/>
                      <a:gd name="T100" fmla="*/ 2031 w 2253"/>
                      <a:gd name="T101" fmla="*/ 222 h 957"/>
                      <a:gd name="T102" fmla="*/ 1965 w 2253"/>
                      <a:gd name="T103" fmla="*/ 367 h 957"/>
                      <a:gd name="T104" fmla="*/ 1977 w 2253"/>
                      <a:gd name="T105" fmla="*/ 421 h 957"/>
                      <a:gd name="T106" fmla="*/ 2074 w 2253"/>
                      <a:gd name="T107" fmla="*/ 421 h 957"/>
                      <a:gd name="T108" fmla="*/ 2178 w 2253"/>
                      <a:gd name="T109" fmla="*/ 409 h 957"/>
                      <a:gd name="T110" fmla="*/ 2237 w 2253"/>
                      <a:gd name="T111" fmla="*/ 466 h 957"/>
                      <a:gd name="T112" fmla="*/ 2237 w 2253"/>
                      <a:gd name="T113" fmla="*/ 520 h 957"/>
                      <a:gd name="T114" fmla="*/ 2178 w 2253"/>
                      <a:gd name="T115" fmla="*/ 515 h 957"/>
                      <a:gd name="T116" fmla="*/ 2074 w 2253"/>
                      <a:gd name="T117" fmla="*/ 520 h 957"/>
                      <a:gd name="T118" fmla="*/ 2031 w 2253"/>
                      <a:gd name="T119" fmla="*/ 548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3" h="957">
                        <a:moveTo>
                          <a:pt x="2031" y="548"/>
                        </a:moveTo>
                        <a:lnTo>
                          <a:pt x="2010" y="560"/>
                        </a:lnTo>
                        <a:lnTo>
                          <a:pt x="1993" y="603"/>
                        </a:lnTo>
                        <a:lnTo>
                          <a:pt x="1944" y="626"/>
                        </a:lnTo>
                        <a:lnTo>
                          <a:pt x="1875" y="626"/>
                        </a:lnTo>
                        <a:lnTo>
                          <a:pt x="1875" y="643"/>
                        </a:lnTo>
                        <a:lnTo>
                          <a:pt x="1814" y="681"/>
                        </a:lnTo>
                        <a:lnTo>
                          <a:pt x="1762" y="669"/>
                        </a:lnTo>
                        <a:lnTo>
                          <a:pt x="1729" y="659"/>
                        </a:lnTo>
                        <a:lnTo>
                          <a:pt x="1708" y="648"/>
                        </a:lnTo>
                        <a:lnTo>
                          <a:pt x="1686" y="664"/>
                        </a:lnTo>
                        <a:lnTo>
                          <a:pt x="1658" y="719"/>
                        </a:lnTo>
                        <a:lnTo>
                          <a:pt x="1691" y="754"/>
                        </a:lnTo>
                        <a:lnTo>
                          <a:pt x="1696" y="775"/>
                        </a:lnTo>
                        <a:lnTo>
                          <a:pt x="1632" y="808"/>
                        </a:lnTo>
                        <a:lnTo>
                          <a:pt x="1587" y="853"/>
                        </a:lnTo>
                        <a:lnTo>
                          <a:pt x="1511" y="886"/>
                        </a:lnTo>
                        <a:lnTo>
                          <a:pt x="1382" y="886"/>
                        </a:lnTo>
                        <a:lnTo>
                          <a:pt x="1263" y="924"/>
                        </a:lnTo>
                        <a:lnTo>
                          <a:pt x="1226" y="952"/>
                        </a:lnTo>
                        <a:lnTo>
                          <a:pt x="1209" y="957"/>
                        </a:lnTo>
                        <a:lnTo>
                          <a:pt x="1204" y="957"/>
                        </a:lnTo>
                        <a:lnTo>
                          <a:pt x="1171" y="952"/>
                        </a:lnTo>
                        <a:lnTo>
                          <a:pt x="1171" y="936"/>
                        </a:lnTo>
                        <a:lnTo>
                          <a:pt x="1129" y="941"/>
                        </a:lnTo>
                        <a:lnTo>
                          <a:pt x="1096" y="936"/>
                        </a:lnTo>
                        <a:lnTo>
                          <a:pt x="1048" y="907"/>
                        </a:lnTo>
                        <a:lnTo>
                          <a:pt x="1004" y="903"/>
                        </a:lnTo>
                        <a:lnTo>
                          <a:pt x="987" y="879"/>
                        </a:lnTo>
                        <a:lnTo>
                          <a:pt x="919" y="863"/>
                        </a:lnTo>
                        <a:lnTo>
                          <a:pt x="881" y="863"/>
                        </a:lnTo>
                        <a:lnTo>
                          <a:pt x="826" y="879"/>
                        </a:lnTo>
                        <a:lnTo>
                          <a:pt x="654" y="853"/>
                        </a:lnTo>
                        <a:lnTo>
                          <a:pt x="600" y="863"/>
                        </a:lnTo>
                        <a:lnTo>
                          <a:pt x="600" y="846"/>
                        </a:lnTo>
                        <a:lnTo>
                          <a:pt x="571" y="813"/>
                        </a:lnTo>
                        <a:lnTo>
                          <a:pt x="545" y="754"/>
                        </a:lnTo>
                        <a:lnTo>
                          <a:pt x="534" y="754"/>
                        </a:lnTo>
                        <a:lnTo>
                          <a:pt x="534" y="726"/>
                        </a:lnTo>
                        <a:lnTo>
                          <a:pt x="508" y="726"/>
                        </a:lnTo>
                        <a:lnTo>
                          <a:pt x="486" y="719"/>
                        </a:lnTo>
                        <a:lnTo>
                          <a:pt x="411" y="664"/>
                        </a:lnTo>
                        <a:lnTo>
                          <a:pt x="264" y="659"/>
                        </a:lnTo>
                        <a:lnTo>
                          <a:pt x="215" y="643"/>
                        </a:lnTo>
                        <a:lnTo>
                          <a:pt x="200" y="615"/>
                        </a:lnTo>
                        <a:lnTo>
                          <a:pt x="210" y="593"/>
                        </a:lnTo>
                        <a:lnTo>
                          <a:pt x="231" y="570"/>
                        </a:lnTo>
                        <a:lnTo>
                          <a:pt x="222" y="548"/>
                        </a:lnTo>
                        <a:lnTo>
                          <a:pt x="231" y="520"/>
                        </a:lnTo>
                        <a:lnTo>
                          <a:pt x="222" y="492"/>
                        </a:lnTo>
                        <a:lnTo>
                          <a:pt x="210" y="475"/>
                        </a:lnTo>
                        <a:lnTo>
                          <a:pt x="193" y="449"/>
                        </a:lnTo>
                        <a:lnTo>
                          <a:pt x="184" y="437"/>
                        </a:lnTo>
                        <a:lnTo>
                          <a:pt x="163" y="409"/>
                        </a:lnTo>
                        <a:lnTo>
                          <a:pt x="163" y="404"/>
                        </a:lnTo>
                        <a:lnTo>
                          <a:pt x="139" y="404"/>
                        </a:lnTo>
                        <a:lnTo>
                          <a:pt x="125" y="388"/>
                        </a:lnTo>
                        <a:lnTo>
                          <a:pt x="92" y="388"/>
                        </a:lnTo>
                        <a:lnTo>
                          <a:pt x="59" y="371"/>
                        </a:lnTo>
                        <a:lnTo>
                          <a:pt x="54" y="355"/>
                        </a:lnTo>
                        <a:lnTo>
                          <a:pt x="16" y="338"/>
                        </a:lnTo>
                        <a:lnTo>
                          <a:pt x="21" y="326"/>
                        </a:lnTo>
                        <a:lnTo>
                          <a:pt x="0" y="310"/>
                        </a:lnTo>
                        <a:lnTo>
                          <a:pt x="4" y="300"/>
                        </a:lnTo>
                        <a:lnTo>
                          <a:pt x="4" y="282"/>
                        </a:lnTo>
                        <a:lnTo>
                          <a:pt x="21" y="277"/>
                        </a:lnTo>
                        <a:lnTo>
                          <a:pt x="21" y="260"/>
                        </a:lnTo>
                        <a:lnTo>
                          <a:pt x="33" y="256"/>
                        </a:lnTo>
                        <a:lnTo>
                          <a:pt x="75" y="260"/>
                        </a:lnTo>
                        <a:lnTo>
                          <a:pt x="75" y="244"/>
                        </a:lnTo>
                        <a:lnTo>
                          <a:pt x="87" y="256"/>
                        </a:lnTo>
                        <a:lnTo>
                          <a:pt x="101" y="256"/>
                        </a:lnTo>
                        <a:lnTo>
                          <a:pt x="101" y="239"/>
                        </a:lnTo>
                        <a:lnTo>
                          <a:pt x="108" y="244"/>
                        </a:lnTo>
                        <a:lnTo>
                          <a:pt x="139" y="227"/>
                        </a:lnTo>
                        <a:lnTo>
                          <a:pt x="130" y="215"/>
                        </a:lnTo>
                        <a:lnTo>
                          <a:pt x="156" y="206"/>
                        </a:lnTo>
                        <a:lnTo>
                          <a:pt x="163" y="199"/>
                        </a:lnTo>
                        <a:lnTo>
                          <a:pt x="210" y="182"/>
                        </a:lnTo>
                        <a:lnTo>
                          <a:pt x="222" y="166"/>
                        </a:lnTo>
                        <a:lnTo>
                          <a:pt x="252" y="161"/>
                        </a:lnTo>
                        <a:lnTo>
                          <a:pt x="276" y="145"/>
                        </a:lnTo>
                        <a:lnTo>
                          <a:pt x="307" y="133"/>
                        </a:lnTo>
                        <a:lnTo>
                          <a:pt x="319" y="128"/>
                        </a:lnTo>
                        <a:lnTo>
                          <a:pt x="340" y="145"/>
                        </a:lnTo>
                        <a:lnTo>
                          <a:pt x="356" y="128"/>
                        </a:lnTo>
                        <a:lnTo>
                          <a:pt x="361" y="128"/>
                        </a:lnTo>
                        <a:lnTo>
                          <a:pt x="361" y="145"/>
                        </a:lnTo>
                        <a:lnTo>
                          <a:pt x="373" y="149"/>
                        </a:lnTo>
                        <a:lnTo>
                          <a:pt x="453" y="149"/>
                        </a:lnTo>
                        <a:lnTo>
                          <a:pt x="465" y="182"/>
                        </a:lnTo>
                        <a:lnTo>
                          <a:pt x="479" y="206"/>
                        </a:lnTo>
                        <a:lnTo>
                          <a:pt x="503" y="199"/>
                        </a:lnTo>
                        <a:lnTo>
                          <a:pt x="508" y="206"/>
                        </a:lnTo>
                        <a:lnTo>
                          <a:pt x="541" y="215"/>
                        </a:lnTo>
                        <a:lnTo>
                          <a:pt x="562" y="206"/>
                        </a:lnTo>
                        <a:lnTo>
                          <a:pt x="571" y="215"/>
                        </a:lnTo>
                        <a:lnTo>
                          <a:pt x="578" y="206"/>
                        </a:lnTo>
                        <a:lnTo>
                          <a:pt x="616" y="222"/>
                        </a:lnTo>
                        <a:lnTo>
                          <a:pt x="647" y="215"/>
                        </a:lnTo>
                        <a:lnTo>
                          <a:pt x="671" y="227"/>
                        </a:lnTo>
                        <a:lnTo>
                          <a:pt x="697" y="206"/>
                        </a:lnTo>
                        <a:lnTo>
                          <a:pt x="722" y="199"/>
                        </a:lnTo>
                        <a:lnTo>
                          <a:pt x="739" y="173"/>
                        </a:lnTo>
                        <a:lnTo>
                          <a:pt x="739" y="161"/>
                        </a:lnTo>
                        <a:lnTo>
                          <a:pt x="718" y="145"/>
                        </a:lnTo>
                        <a:lnTo>
                          <a:pt x="718" y="133"/>
                        </a:lnTo>
                        <a:lnTo>
                          <a:pt x="718" y="128"/>
                        </a:lnTo>
                        <a:lnTo>
                          <a:pt x="701" y="111"/>
                        </a:lnTo>
                        <a:lnTo>
                          <a:pt x="718" y="62"/>
                        </a:lnTo>
                        <a:lnTo>
                          <a:pt x="734" y="62"/>
                        </a:lnTo>
                        <a:lnTo>
                          <a:pt x="739" y="38"/>
                        </a:lnTo>
                        <a:lnTo>
                          <a:pt x="760" y="34"/>
                        </a:lnTo>
                        <a:lnTo>
                          <a:pt x="777" y="0"/>
                        </a:lnTo>
                        <a:lnTo>
                          <a:pt x="859" y="38"/>
                        </a:lnTo>
                        <a:lnTo>
                          <a:pt x="897" y="38"/>
                        </a:lnTo>
                        <a:lnTo>
                          <a:pt x="956" y="71"/>
                        </a:lnTo>
                        <a:lnTo>
                          <a:pt x="973" y="62"/>
                        </a:lnTo>
                        <a:lnTo>
                          <a:pt x="1011" y="78"/>
                        </a:lnTo>
                        <a:lnTo>
                          <a:pt x="1011" y="95"/>
                        </a:lnTo>
                        <a:lnTo>
                          <a:pt x="1020" y="111"/>
                        </a:lnTo>
                        <a:lnTo>
                          <a:pt x="1011" y="128"/>
                        </a:lnTo>
                        <a:lnTo>
                          <a:pt x="1025" y="133"/>
                        </a:lnTo>
                        <a:lnTo>
                          <a:pt x="1020" y="149"/>
                        </a:lnTo>
                        <a:lnTo>
                          <a:pt x="1063" y="173"/>
                        </a:lnTo>
                        <a:lnTo>
                          <a:pt x="1079" y="173"/>
                        </a:lnTo>
                        <a:lnTo>
                          <a:pt x="1086" y="189"/>
                        </a:lnTo>
                        <a:lnTo>
                          <a:pt x="1117" y="189"/>
                        </a:lnTo>
                        <a:lnTo>
                          <a:pt x="1129" y="189"/>
                        </a:lnTo>
                        <a:lnTo>
                          <a:pt x="1141" y="189"/>
                        </a:lnTo>
                        <a:lnTo>
                          <a:pt x="1167" y="173"/>
                        </a:lnTo>
                        <a:lnTo>
                          <a:pt x="1237" y="161"/>
                        </a:lnTo>
                        <a:lnTo>
                          <a:pt x="1280" y="166"/>
                        </a:lnTo>
                        <a:lnTo>
                          <a:pt x="1297" y="173"/>
                        </a:lnTo>
                        <a:lnTo>
                          <a:pt x="1330" y="173"/>
                        </a:lnTo>
                        <a:lnTo>
                          <a:pt x="1351" y="189"/>
                        </a:lnTo>
                        <a:lnTo>
                          <a:pt x="1356" y="206"/>
                        </a:lnTo>
                        <a:lnTo>
                          <a:pt x="1419" y="215"/>
                        </a:lnTo>
                        <a:lnTo>
                          <a:pt x="1415" y="239"/>
                        </a:lnTo>
                        <a:lnTo>
                          <a:pt x="1457" y="272"/>
                        </a:lnTo>
                        <a:lnTo>
                          <a:pt x="1507" y="260"/>
                        </a:lnTo>
                        <a:lnTo>
                          <a:pt x="1528" y="277"/>
                        </a:lnTo>
                        <a:lnTo>
                          <a:pt x="1615" y="282"/>
                        </a:lnTo>
                        <a:lnTo>
                          <a:pt x="1653" y="272"/>
                        </a:lnTo>
                        <a:lnTo>
                          <a:pt x="1776" y="244"/>
                        </a:lnTo>
                        <a:lnTo>
                          <a:pt x="1783" y="222"/>
                        </a:lnTo>
                        <a:lnTo>
                          <a:pt x="1859" y="173"/>
                        </a:lnTo>
                        <a:lnTo>
                          <a:pt x="1901" y="182"/>
                        </a:lnTo>
                        <a:lnTo>
                          <a:pt x="1939" y="215"/>
                        </a:lnTo>
                        <a:lnTo>
                          <a:pt x="1960" y="215"/>
                        </a:lnTo>
                        <a:lnTo>
                          <a:pt x="1998" y="206"/>
                        </a:lnTo>
                        <a:lnTo>
                          <a:pt x="2019" y="215"/>
                        </a:lnTo>
                        <a:lnTo>
                          <a:pt x="2031" y="222"/>
                        </a:lnTo>
                        <a:lnTo>
                          <a:pt x="1982" y="317"/>
                        </a:lnTo>
                        <a:lnTo>
                          <a:pt x="1965" y="338"/>
                        </a:lnTo>
                        <a:lnTo>
                          <a:pt x="1965" y="367"/>
                        </a:lnTo>
                        <a:lnTo>
                          <a:pt x="1944" y="383"/>
                        </a:lnTo>
                        <a:lnTo>
                          <a:pt x="1956" y="393"/>
                        </a:lnTo>
                        <a:lnTo>
                          <a:pt x="1977" y="421"/>
                        </a:lnTo>
                        <a:lnTo>
                          <a:pt x="1998" y="404"/>
                        </a:lnTo>
                        <a:lnTo>
                          <a:pt x="2048" y="404"/>
                        </a:lnTo>
                        <a:lnTo>
                          <a:pt x="2074" y="421"/>
                        </a:lnTo>
                        <a:lnTo>
                          <a:pt x="2107" y="388"/>
                        </a:lnTo>
                        <a:lnTo>
                          <a:pt x="2161" y="388"/>
                        </a:lnTo>
                        <a:lnTo>
                          <a:pt x="2178" y="409"/>
                        </a:lnTo>
                        <a:lnTo>
                          <a:pt x="2199" y="421"/>
                        </a:lnTo>
                        <a:lnTo>
                          <a:pt x="2199" y="437"/>
                        </a:lnTo>
                        <a:lnTo>
                          <a:pt x="2237" y="466"/>
                        </a:lnTo>
                        <a:lnTo>
                          <a:pt x="2253" y="492"/>
                        </a:lnTo>
                        <a:lnTo>
                          <a:pt x="2253" y="504"/>
                        </a:lnTo>
                        <a:lnTo>
                          <a:pt x="2237" y="520"/>
                        </a:lnTo>
                        <a:lnTo>
                          <a:pt x="2215" y="515"/>
                        </a:lnTo>
                        <a:lnTo>
                          <a:pt x="2182" y="504"/>
                        </a:lnTo>
                        <a:lnTo>
                          <a:pt x="2178" y="515"/>
                        </a:lnTo>
                        <a:lnTo>
                          <a:pt x="2145" y="504"/>
                        </a:lnTo>
                        <a:lnTo>
                          <a:pt x="2107" y="520"/>
                        </a:lnTo>
                        <a:lnTo>
                          <a:pt x="2074" y="520"/>
                        </a:lnTo>
                        <a:lnTo>
                          <a:pt x="2074" y="537"/>
                        </a:lnTo>
                        <a:lnTo>
                          <a:pt x="2036" y="537"/>
                        </a:lnTo>
                        <a:lnTo>
                          <a:pt x="2031" y="548"/>
                        </a:lnTo>
                        <a:lnTo>
                          <a:pt x="2031" y="548"/>
                        </a:lnTo>
                        <a:lnTo>
                          <a:pt x="2031" y="54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0" name="Freeform 506">
                    <a:extLst>
                      <a:ext uri="{FF2B5EF4-FFF2-40B4-BE49-F238E27FC236}">
                        <a16:creationId xmlns:a16="http://schemas.microsoft.com/office/drawing/2014/main" id="{4A576E31-E9C7-448A-9281-9D620AF7D3BE}"/>
                      </a:ext>
                    </a:extLst>
                  </p:cNvPr>
                  <p:cNvSpPr>
                    <a:spLocks/>
                  </p:cNvSpPr>
                  <p:nvPr/>
                </p:nvSpPr>
                <p:spPr bwMode="gray">
                  <a:xfrm>
                    <a:off x="7317394" y="2728220"/>
                    <a:ext cx="72043" cy="51876"/>
                  </a:xfrm>
                  <a:custGeom>
                    <a:avLst/>
                    <a:gdLst>
                      <a:gd name="T0" fmla="*/ 21 w 175"/>
                      <a:gd name="T1" fmla="*/ 126 h 126"/>
                      <a:gd name="T2" fmla="*/ 9 w 175"/>
                      <a:gd name="T3" fmla="*/ 126 h 126"/>
                      <a:gd name="T4" fmla="*/ 0 w 175"/>
                      <a:gd name="T5" fmla="*/ 88 h 126"/>
                      <a:gd name="T6" fmla="*/ 5 w 175"/>
                      <a:gd name="T7" fmla="*/ 81 h 126"/>
                      <a:gd name="T8" fmla="*/ 0 w 175"/>
                      <a:gd name="T9" fmla="*/ 71 h 126"/>
                      <a:gd name="T10" fmla="*/ 5 w 175"/>
                      <a:gd name="T11" fmla="*/ 43 h 126"/>
                      <a:gd name="T12" fmla="*/ 9 w 175"/>
                      <a:gd name="T13" fmla="*/ 43 h 126"/>
                      <a:gd name="T14" fmla="*/ 21 w 175"/>
                      <a:gd name="T15" fmla="*/ 26 h 126"/>
                      <a:gd name="T16" fmla="*/ 43 w 175"/>
                      <a:gd name="T17" fmla="*/ 17 h 126"/>
                      <a:gd name="T18" fmla="*/ 59 w 175"/>
                      <a:gd name="T19" fmla="*/ 17 h 126"/>
                      <a:gd name="T20" fmla="*/ 66 w 175"/>
                      <a:gd name="T21" fmla="*/ 10 h 126"/>
                      <a:gd name="T22" fmla="*/ 80 w 175"/>
                      <a:gd name="T23" fmla="*/ 10 h 126"/>
                      <a:gd name="T24" fmla="*/ 97 w 175"/>
                      <a:gd name="T25" fmla="*/ 0 h 126"/>
                      <a:gd name="T26" fmla="*/ 130 w 175"/>
                      <a:gd name="T27" fmla="*/ 0 h 126"/>
                      <a:gd name="T28" fmla="*/ 147 w 175"/>
                      <a:gd name="T29" fmla="*/ 17 h 126"/>
                      <a:gd name="T30" fmla="*/ 170 w 175"/>
                      <a:gd name="T31" fmla="*/ 33 h 126"/>
                      <a:gd name="T32" fmla="*/ 175 w 175"/>
                      <a:gd name="T33" fmla="*/ 50 h 126"/>
                      <a:gd name="T34" fmla="*/ 175 w 175"/>
                      <a:gd name="T35" fmla="*/ 88 h 126"/>
                      <a:gd name="T36" fmla="*/ 163 w 175"/>
                      <a:gd name="T37" fmla="*/ 88 h 126"/>
                      <a:gd name="T38" fmla="*/ 163 w 175"/>
                      <a:gd name="T39" fmla="*/ 102 h 126"/>
                      <a:gd name="T40" fmla="*/ 109 w 175"/>
                      <a:gd name="T41" fmla="*/ 102 h 126"/>
                      <a:gd name="T42" fmla="*/ 92 w 175"/>
                      <a:gd name="T43" fmla="*/ 118 h 126"/>
                      <a:gd name="T44" fmla="*/ 76 w 175"/>
                      <a:gd name="T45" fmla="*/ 126 h 126"/>
                      <a:gd name="T46" fmla="*/ 38 w 175"/>
                      <a:gd name="T47" fmla="*/ 126 h 126"/>
                      <a:gd name="T48" fmla="*/ 21 w 175"/>
                      <a:gd name="T49" fmla="*/ 126 h 126"/>
                      <a:gd name="T50" fmla="*/ 21 w 175"/>
                      <a:gd name="T51" fmla="*/ 126 h 126"/>
                      <a:gd name="T52" fmla="*/ 21 w 175"/>
                      <a:gd name="T53"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26">
                        <a:moveTo>
                          <a:pt x="21" y="126"/>
                        </a:moveTo>
                        <a:lnTo>
                          <a:pt x="9" y="126"/>
                        </a:lnTo>
                        <a:lnTo>
                          <a:pt x="0" y="88"/>
                        </a:lnTo>
                        <a:lnTo>
                          <a:pt x="5" y="81"/>
                        </a:lnTo>
                        <a:lnTo>
                          <a:pt x="0" y="71"/>
                        </a:lnTo>
                        <a:lnTo>
                          <a:pt x="5" y="43"/>
                        </a:lnTo>
                        <a:lnTo>
                          <a:pt x="9" y="43"/>
                        </a:lnTo>
                        <a:lnTo>
                          <a:pt x="21" y="26"/>
                        </a:lnTo>
                        <a:lnTo>
                          <a:pt x="43" y="17"/>
                        </a:lnTo>
                        <a:lnTo>
                          <a:pt x="59" y="17"/>
                        </a:lnTo>
                        <a:lnTo>
                          <a:pt x="66" y="10"/>
                        </a:lnTo>
                        <a:lnTo>
                          <a:pt x="80" y="10"/>
                        </a:lnTo>
                        <a:lnTo>
                          <a:pt x="97" y="0"/>
                        </a:lnTo>
                        <a:lnTo>
                          <a:pt x="130" y="0"/>
                        </a:lnTo>
                        <a:lnTo>
                          <a:pt x="147" y="17"/>
                        </a:lnTo>
                        <a:lnTo>
                          <a:pt x="170" y="33"/>
                        </a:lnTo>
                        <a:lnTo>
                          <a:pt x="175" y="50"/>
                        </a:lnTo>
                        <a:lnTo>
                          <a:pt x="175" y="88"/>
                        </a:lnTo>
                        <a:lnTo>
                          <a:pt x="163" y="88"/>
                        </a:lnTo>
                        <a:lnTo>
                          <a:pt x="163" y="102"/>
                        </a:lnTo>
                        <a:lnTo>
                          <a:pt x="109" y="102"/>
                        </a:lnTo>
                        <a:lnTo>
                          <a:pt x="92" y="118"/>
                        </a:lnTo>
                        <a:lnTo>
                          <a:pt x="76" y="126"/>
                        </a:lnTo>
                        <a:lnTo>
                          <a:pt x="38" y="126"/>
                        </a:lnTo>
                        <a:lnTo>
                          <a:pt x="21" y="126"/>
                        </a:lnTo>
                        <a:lnTo>
                          <a:pt x="21" y="126"/>
                        </a:lnTo>
                        <a:lnTo>
                          <a:pt x="21" y="1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1" name="Freeform 511">
                    <a:extLst>
                      <a:ext uri="{FF2B5EF4-FFF2-40B4-BE49-F238E27FC236}">
                        <a16:creationId xmlns:a16="http://schemas.microsoft.com/office/drawing/2014/main" id="{2DF30C5E-25FE-40AB-9E41-9DEBEB88D8E7}"/>
                      </a:ext>
                    </a:extLst>
                  </p:cNvPr>
                  <p:cNvSpPr>
                    <a:spLocks noEditPoints="1"/>
                  </p:cNvSpPr>
                  <p:nvPr/>
                </p:nvSpPr>
                <p:spPr bwMode="gray">
                  <a:xfrm>
                    <a:off x="7134612" y="2947253"/>
                    <a:ext cx="9880" cy="10705"/>
                  </a:xfrm>
                  <a:custGeom>
                    <a:avLst/>
                    <a:gdLst>
                      <a:gd name="T0" fmla="*/ 7 w 24"/>
                      <a:gd name="T1" fmla="*/ 12 h 26"/>
                      <a:gd name="T2" fmla="*/ 0 w 24"/>
                      <a:gd name="T3" fmla="*/ 0 h 26"/>
                      <a:gd name="T4" fmla="*/ 7 w 24"/>
                      <a:gd name="T5" fmla="*/ 0 h 26"/>
                      <a:gd name="T6" fmla="*/ 7 w 24"/>
                      <a:gd name="T7" fmla="*/ 12 h 26"/>
                      <a:gd name="T8" fmla="*/ 7 w 24"/>
                      <a:gd name="T9" fmla="*/ 12 h 26"/>
                      <a:gd name="T10" fmla="*/ 7 w 24"/>
                      <a:gd name="T11" fmla="*/ 12 h 26"/>
                      <a:gd name="T12" fmla="*/ 24 w 24"/>
                      <a:gd name="T13" fmla="*/ 26 h 26"/>
                      <a:gd name="T14" fmla="*/ 7 w 24"/>
                      <a:gd name="T15" fmla="*/ 16 h 26"/>
                      <a:gd name="T16" fmla="*/ 7 w 24"/>
                      <a:gd name="T17" fmla="*/ 12 h 26"/>
                      <a:gd name="T18" fmla="*/ 24 w 24"/>
                      <a:gd name="T19" fmla="*/ 16 h 26"/>
                      <a:gd name="T20" fmla="*/ 24 w 24"/>
                      <a:gd name="T21" fmla="*/ 26 h 26"/>
                      <a:gd name="T22" fmla="*/ 24 w 24"/>
                      <a:gd name="T23" fmla="*/ 26 h 26"/>
                      <a:gd name="T24" fmla="*/ 24 w 24"/>
                      <a:gd name="T2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6">
                        <a:moveTo>
                          <a:pt x="7" y="12"/>
                        </a:moveTo>
                        <a:lnTo>
                          <a:pt x="0" y="0"/>
                        </a:lnTo>
                        <a:lnTo>
                          <a:pt x="7" y="0"/>
                        </a:lnTo>
                        <a:lnTo>
                          <a:pt x="7" y="12"/>
                        </a:lnTo>
                        <a:lnTo>
                          <a:pt x="7" y="12"/>
                        </a:lnTo>
                        <a:lnTo>
                          <a:pt x="7" y="12"/>
                        </a:lnTo>
                        <a:close/>
                        <a:moveTo>
                          <a:pt x="24" y="26"/>
                        </a:moveTo>
                        <a:lnTo>
                          <a:pt x="7" y="16"/>
                        </a:lnTo>
                        <a:lnTo>
                          <a:pt x="7" y="12"/>
                        </a:lnTo>
                        <a:lnTo>
                          <a:pt x="24" y="16"/>
                        </a:lnTo>
                        <a:lnTo>
                          <a:pt x="24" y="26"/>
                        </a:lnTo>
                        <a:lnTo>
                          <a:pt x="24" y="26"/>
                        </a:lnTo>
                        <a:lnTo>
                          <a:pt x="24" y="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2" name="Freeform 513">
                    <a:extLst>
                      <a:ext uri="{FF2B5EF4-FFF2-40B4-BE49-F238E27FC236}">
                        <a16:creationId xmlns:a16="http://schemas.microsoft.com/office/drawing/2014/main" id="{B86B2093-4FCA-40C7-A7F2-FD6ED6268903}"/>
                      </a:ext>
                    </a:extLst>
                  </p:cNvPr>
                  <p:cNvSpPr>
                    <a:spLocks/>
                  </p:cNvSpPr>
                  <p:nvPr/>
                </p:nvSpPr>
                <p:spPr bwMode="gray">
                  <a:xfrm>
                    <a:off x="7260171" y="2685402"/>
                    <a:ext cx="53518" cy="60523"/>
                  </a:xfrm>
                  <a:custGeom>
                    <a:avLst/>
                    <a:gdLst>
                      <a:gd name="T0" fmla="*/ 0 w 130"/>
                      <a:gd name="T1" fmla="*/ 90 h 147"/>
                      <a:gd name="T2" fmla="*/ 7 w 130"/>
                      <a:gd name="T3" fmla="*/ 81 h 147"/>
                      <a:gd name="T4" fmla="*/ 0 w 130"/>
                      <a:gd name="T5" fmla="*/ 62 h 147"/>
                      <a:gd name="T6" fmla="*/ 0 w 130"/>
                      <a:gd name="T7" fmla="*/ 45 h 147"/>
                      <a:gd name="T8" fmla="*/ 16 w 130"/>
                      <a:gd name="T9" fmla="*/ 41 h 147"/>
                      <a:gd name="T10" fmla="*/ 16 w 130"/>
                      <a:gd name="T11" fmla="*/ 24 h 147"/>
                      <a:gd name="T12" fmla="*/ 28 w 130"/>
                      <a:gd name="T13" fmla="*/ 17 h 147"/>
                      <a:gd name="T14" fmla="*/ 37 w 130"/>
                      <a:gd name="T15" fmla="*/ 24 h 147"/>
                      <a:gd name="T16" fmla="*/ 45 w 130"/>
                      <a:gd name="T17" fmla="*/ 17 h 147"/>
                      <a:gd name="T18" fmla="*/ 28 w 130"/>
                      <a:gd name="T19" fmla="*/ 0 h 147"/>
                      <a:gd name="T20" fmla="*/ 54 w 130"/>
                      <a:gd name="T21" fmla="*/ 0 h 147"/>
                      <a:gd name="T22" fmla="*/ 87 w 130"/>
                      <a:gd name="T23" fmla="*/ 36 h 147"/>
                      <a:gd name="T24" fmla="*/ 130 w 130"/>
                      <a:gd name="T25" fmla="*/ 57 h 147"/>
                      <a:gd name="T26" fmla="*/ 130 w 130"/>
                      <a:gd name="T27" fmla="*/ 62 h 147"/>
                      <a:gd name="T28" fmla="*/ 125 w 130"/>
                      <a:gd name="T29" fmla="*/ 62 h 147"/>
                      <a:gd name="T30" fmla="*/ 108 w 130"/>
                      <a:gd name="T31" fmla="*/ 74 h 147"/>
                      <a:gd name="T32" fmla="*/ 113 w 130"/>
                      <a:gd name="T33" fmla="*/ 81 h 147"/>
                      <a:gd name="T34" fmla="*/ 108 w 130"/>
                      <a:gd name="T35" fmla="*/ 90 h 147"/>
                      <a:gd name="T36" fmla="*/ 92 w 130"/>
                      <a:gd name="T37" fmla="*/ 97 h 147"/>
                      <a:gd name="T38" fmla="*/ 92 w 130"/>
                      <a:gd name="T39" fmla="*/ 81 h 147"/>
                      <a:gd name="T40" fmla="*/ 87 w 130"/>
                      <a:gd name="T41" fmla="*/ 81 h 147"/>
                      <a:gd name="T42" fmla="*/ 54 w 130"/>
                      <a:gd name="T43" fmla="*/ 118 h 147"/>
                      <a:gd name="T44" fmla="*/ 59 w 130"/>
                      <a:gd name="T45" fmla="*/ 130 h 147"/>
                      <a:gd name="T46" fmla="*/ 59 w 130"/>
                      <a:gd name="T47" fmla="*/ 147 h 147"/>
                      <a:gd name="T48" fmla="*/ 45 w 130"/>
                      <a:gd name="T49" fmla="*/ 135 h 147"/>
                      <a:gd name="T50" fmla="*/ 28 w 130"/>
                      <a:gd name="T51" fmla="*/ 114 h 147"/>
                      <a:gd name="T52" fmla="*/ 7 w 130"/>
                      <a:gd name="T53" fmla="*/ 97 h 147"/>
                      <a:gd name="T54" fmla="*/ 16 w 130"/>
                      <a:gd name="T55" fmla="*/ 102 h 147"/>
                      <a:gd name="T56" fmla="*/ 16 w 130"/>
                      <a:gd name="T57" fmla="*/ 97 h 147"/>
                      <a:gd name="T58" fmla="*/ 0 w 130"/>
                      <a:gd name="T59" fmla="*/ 97 h 147"/>
                      <a:gd name="T60" fmla="*/ 0 w 130"/>
                      <a:gd name="T61" fmla="*/ 90 h 147"/>
                      <a:gd name="T62" fmla="*/ 0 w 130"/>
                      <a:gd name="T63" fmla="*/ 90 h 147"/>
                      <a:gd name="T64" fmla="*/ 0 w 130"/>
                      <a:gd name="T65" fmla="*/ 9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0" h="147">
                        <a:moveTo>
                          <a:pt x="0" y="90"/>
                        </a:moveTo>
                        <a:lnTo>
                          <a:pt x="7" y="81"/>
                        </a:lnTo>
                        <a:lnTo>
                          <a:pt x="0" y="62"/>
                        </a:lnTo>
                        <a:lnTo>
                          <a:pt x="0" y="45"/>
                        </a:lnTo>
                        <a:lnTo>
                          <a:pt x="16" y="41"/>
                        </a:lnTo>
                        <a:lnTo>
                          <a:pt x="16" y="24"/>
                        </a:lnTo>
                        <a:lnTo>
                          <a:pt x="28" y="17"/>
                        </a:lnTo>
                        <a:lnTo>
                          <a:pt x="37" y="24"/>
                        </a:lnTo>
                        <a:lnTo>
                          <a:pt x="45" y="17"/>
                        </a:lnTo>
                        <a:lnTo>
                          <a:pt x="28" y="0"/>
                        </a:lnTo>
                        <a:lnTo>
                          <a:pt x="54" y="0"/>
                        </a:lnTo>
                        <a:lnTo>
                          <a:pt x="87" y="36"/>
                        </a:lnTo>
                        <a:lnTo>
                          <a:pt x="130" y="57"/>
                        </a:lnTo>
                        <a:lnTo>
                          <a:pt x="130" y="62"/>
                        </a:lnTo>
                        <a:lnTo>
                          <a:pt x="125" y="62"/>
                        </a:lnTo>
                        <a:lnTo>
                          <a:pt x="108" y="74"/>
                        </a:lnTo>
                        <a:lnTo>
                          <a:pt x="113" y="81"/>
                        </a:lnTo>
                        <a:lnTo>
                          <a:pt x="108" y="90"/>
                        </a:lnTo>
                        <a:lnTo>
                          <a:pt x="92" y="97"/>
                        </a:lnTo>
                        <a:lnTo>
                          <a:pt x="92" y="81"/>
                        </a:lnTo>
                        <a:lnTo>
                          <a:pt x="87" y="81"/>
                        </a:lnTo>
                        <a:lnTo>
                          <a:pt x="54" y="118"/>
                        </a:lnTo>
                        <a:lnTo>
                          <a:pt x="59" y="130"/>
                        </a:lnTo>
                        <a:lnTo>
                          <a:pt x="59" y="147"/>
                        </a:lnTo>
                        <a:lnTo>
                          <a:pt x="45" y="135"/>
                        </a:lnTo>
                        <a:lnTo>
                          <a:pt x="28" y="114"/>
                        </a:lnTo>
                        <a:lnTo>
                          <a:pt x="7" y="97"/>
                        </a:lnTo>
                        <a:lnTo>
                          <a:pt x="16" y="102"/>
                        </a:lnTo>
                        <a:lnTo>
                          <a:pt x="16" y="97"/>
                        </a:lnTo>
                        <a:lnTo>
                          <a:pt x="0" y="97"/>
                        </a:lnTo>
                        <a:lnTo>
                          <a:pt x="0" y="90"/>
                        </a:lnTo>
                        <a:lnTo>
                          <a:pt x="0" y="90"/>
                        </a:lnTo>
                        <a:lnTo>
                          <a:pt x="0" y="9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3" name="Freeform 522">
                    <a:extLst>
                      <a:ext uri="{FF2B5EF4-FFF2-40B4-BE49-F238E27FC236}">
                        <a16:creationId xmlns:a16="http://schemas.microsoft.com/office/drawing/2014/main" id="{BA959925-4C5D-4522-87FB-6E807DF4E078}"/>
                      </a:ext>
                    </a:extLst>
                  </p:cNvPr>
                  <p:cNvSpPr>
                    <a:spLocks noEditPoints="1"/>
                  </p:cNvSpPr>
                  <p:nvPr/>
                </p:nvSpPr>
                <p:spPr bwMode="gray">
                  <a:xfrm>
                    <a:off x="6824213" y="2308270"/>
                    <a:ext cx="111151" cy="107046"/>
                  </a:xfrm>
                  <a:custGeom>
                    <a:avLst/>
                    <a:gdLst>
                      <a:gd name="T0" fmla="*/ 156 w 270"/>
                      <a:gd name="T1" fmla="*/ 0 h 260"/>
                      <a:gd name="T2" fmla="*/ 161 w 270"/>
                      <a:gd name="T3" fmla="*/ 0 h 260"/>
                      <a:gd name="T4" fmla="*/ 161 w 270"/>
                      <a:gd name="T5" fmla="*/ 0 h 260"/>
                      <a:gd name="T6" fmla="*/ 270 w 270"/>
                      <a:gd name="T7" fmla="*/ 49 h 260"/>
                      <a:gd name="T8" fmla="*/ 237 w 270"/>
                      <a:gd name="T9" fmla="*/ 78 h 260"/>
                      <a:gd name="T10" fmla="*/ 253 w 270"/>
                      <a:gd name="T11" fmla="*/ 104 h 260"/>
                      <a:gd name="T12" fmla="*/ 232 w 270"/>
                      <a:gd name="T13" fmla="*/ 132 h 260"/>
                      <a:gd name="T14" fmla="*/ 178 w 270"/>
                      <a:gd name="T15" fmla="*/ 161 h 260"/>
                      <a:gd name="T16" fmla="*/ 199 w 270"/>
                      <a:gd name="T17" fmla="*/ 205 h 260"/>
                      <a:gd name="T18" fmla="*/ 185 w 270"/>
                      <a:gd name="T19" fmla="*/ 222 h 260"/>
                      <a:gd name="T20" fmla="*/ 185 w 270"/>
                      <a:gd name="T21" fmla="*/ 243 h 260"/>
                      <a:gd name="T22" fmla="*/ 161 w 270"/>
                      <a:gd name="T23" fmla="*/ 260 h 260"/>
                      <a:gd name="T24" fmla="*/ 168 w 270"/>
                      <a:gd name="T25" fmla="*/ 222 h 260"/>
                      <a:gd name="T26" fmla="*/ 130 w 270"/>
                      <a:gd name="T27" fmla="*/ 217 h 260"/>
                      <a:gd name="T28" fmla="*/ 109 w 270"/>
                      <a:gd name="T29" fmla="*/ 198 h 260"/>
                      <a:gd name="T30" fmla="*/ 85 w 270"/>
                      <a:gd name="T31" fmla="*/ 198 h 260"/>
                      <a:gd name="T32" fmla="*/ 69 w 270"/>
                      <a:gd name="T33" fmla="*/ 198 h 260"/>
                      <a:gd name="T34" fmla="*/ 59 w 270"/>
                      <a:gd name="T35" fmla="*/ 198 h 260"/>
                      <a:gd name="T36" fmla="*/ 0 w 270"/>
                      <a:gd name="T37" fmla="*/ 189 h 260"/>
                      <a:gd name="T38" fmla="*/ 31 w 270"/>
                      <a:gd name="T39" fmla="*/ 182 h 260"/>
                      <a:gd name="T40" fmla="*/ 55 w 270"/>
                      <a:gd name="T41" fmla="*/ 198 h 260"/>
                      <a:gd name="T42" fmla="*/ 38 w 270"/>
                      <a:gd name="T43" fmla="*/ 182 h 260"/>
                      <a:gd name="T44" fmla="*/ 22 w 270"/>
                      <a:gd name="T45" fmla="*/ 165 h 260"/>
                      <a:gd name="T46" fmla="*/ 31 w 270"/>
                      <a:gd name="T47" fmla="*/ 161 h 260"/>
                      <a:gd name="T48" fmla="*/ 38 w 270"/>
                      <a:gd name="T49" fmla="*/ 144 h 260"/>
                      <a:gd name="T50" fmla="*/ 85 w 270"/>
                      <a:gd name="T51" fmla="*/ 94 h 260"/>
                      <a:gd name="T52" fmla="*/ 168 w 270"/>
                      <a:gd name="T53" fmla="*/ 94 h 260"/>
                      <a:gd name="T54" fmla="*/ 156 w 270"/>
                      <a:gd name="T55" fmla="*/ 78 h 260"/>
                      <a:gd name="T56" fmla="*/ 161 w 270"/>
                      <a:gd name="T57" fmla="*/ 66 h 260"/>
                      <a:gd name="T58" fmla="*/ 140 w 270"/>
                      <a:gd name="T59" fmla="*/ 38 h 260"/>
                      <a:gd name="T60" fmla="*/ 123 w 270"/>
                      <a:gd name="T61" fmla="*/ 66 h 260"/>
                      <a:gd name="T62" fmla="*/ 114 w 270"/>
                      <a:gd name="T63" fmla="*/ 78 h 260"/>
                      <a:gd name="T64" fmla="*/ 114 w 270"/>
                      <a:gd name="T65" fmla="*/ 104 h 260"/>
                      <a:gd name="T66" fmla="*/ 93 w 270"/>
                      <a:gd name="T67" fmla="*/ 49 h 260"/>
                      <a:gd name="T68" fmla="*/ 114 w 270"/>
                      <a:gd name="T69" fmla="*/ 49 h 260"/>
                      <a:gd name="T70" fmla="*/ 178 w 270"/>
                      <a:gd name="T71" fmla="*/ 9 h 260"/>
                      <a:gd name="T72" fmla="*/ 270 w 270"/>
                      <a:gd name="T73" fmla="*/ 21 h 260"/>
                      <a:gd name="T74" fmla="*/ 270 w 270"/>
                      <a:gd name="T75" fmla="*/ 21 h 260"/>
                      <a:gd name="T76" fmla="*/ 93 w 270"/>
                      <a:gd name="T77" fmla="*/ 38 h 260"/>
                      <a:gd name="T78" fmla="*/ 109 w 270"/>
                      <a:gd name="T79" fmla="*/ 38 h 260"/>
                      <a:gd name="T80" fmla="*/ 93 w 270"/>
                      <a:gd name="T81" fmla="*/ 49 h 260"/>
                      <a:gd name="T82" fmla="*/ 114 w 270"/>
                      <a:gd name="T83" fmla="*/ 104 h 260"/>
                      <a:gd name="T84" fmla="*/ 130 w 270"/>
                      <a:gd name="T85" fmla="*/ 71 h 260"/>
                      <a:gd name="T86" fmla="*/ 123 w 270"/>
                      <a:gd name="T87" fmla="*/ 104 h 260"/>
                      <a:gd name="T88" fmla="*/ 114 w 270"/>
                      <a:gd name="T89" fmla="*/ 104 h 260"/>
                      <a:gd name="T90" fmla="*/ 114 w 270"/>
                      <a:gd name="T91" fmla="*/ 104 h 260"/>
                      <a:gd name="T92" fmla="*/ 140 w 270"/>
                      <a:gd name="T93" fmla="*/ 120 h 260"/>
                      <a:gd name="T94" fmla="*/ 156 w 270"/>
                      <a:gd name="T95" fmla="*/ 87 h 260"/>
                      <a:gd name="T96" fmla="*/ 168 w 270"/>
                      <a:gd name="T97" fmla="*/ 104 h 260"/>
                      <a:gd name="T98" fmla="*/ 156 w 270"/>
                      <a:gd name="T99" fmla="*/ 104 h 260"/>
                      <a:gd name="T100" fmla="*/ 59 w 270"/>
                      <a:gd name="T101" fmla="*/ 205 h 260"/>
                      <a:gd name="T102" fmla="*/ 17 w 270"/>
                      <a:gd name="T103" fmla="*/ 205 h 260"/>
                      <a:gd name="T104" fmla="*/ 0 w 270"/>
                      <a:gd name="T105" fmla="*/ 198 h 260"/>
                      <a:gd name="T106" fmla="*/ 59 w 270"/>
                      <a:gd name="T107" fmla="*/ 20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0" h="260">
                        <a:moveTo>
                          <a:pt x="161" y="0"/>
                        </a:moveTo>
                        <a:lnTo>
                          <a:pt x="156" y="0"/>
                        </a:lnTo>
                        <a:lnTo>
                          <a:pt x="178" y="0"/>
                        </a:lnTo>
                        <a:lnTo>
                          <a:pt x="161" y="0"/>
                        </a:lnTo>
                        <a:lnTo>
                          <a:pt x="161" y="0"/>
                        </a:lnTo>
                        <a:lnTo>
                          <a:pt x="161" y="0"/>
                        </a:lnTo>
                        <a:close/>
                        <a:moveTo>
                          <a:pt x="270" y="21"/>
                        </a:moveTo>
                        <a:lnTo>
                          <a:pt x="270" y="49"/>
                        </a:lnTo>
                        <a:lnTo>
                          <a:pt x="253" y="78"/>
                        </a:lnTo>
                        <a:lnTo>
                          <a:pt x="237" y="78"/>
                        </a:lnTo>
                        <a:lnTo>
                          <a:pt x="232" y="87"/>
                        </a:lnTo>
                        <a:lnTo>
                          <a:pt x="253" y="104"/>
                        </a:lnTo>
                        <a:lnTo>
                          <a:pt x="253" y="120"/>
                        </a:lnTo>
                        <a:lnTo>
                          <a:pt x="232" y="132"/>
                        </a:lnTo>
                        <a:lnTo>
                          <a:pt x="237" y="144"/>
                        </a:lnTo>
                        <a:lnTo>
                          <a:pt x="178" y="161"/>
                        </a:lnTo>
                        <a:lnTo>
                          <a:pt x="199" y="189"/>
                        </a:lnTo>
                        <a:lnTo>
                          <a:pt x="199" y="205"/>
                        </a:lnTo>
                        <a:lnTo>
                          <a:pt x="185" y="217"/>
                        </a:lnTo>
                        <a:lnTo>
                          <a:pt x="185" y="222"/>
                        </a:lnTo>
                        <a:lnTo>
                          <a:pt x="168" y="234"/>
                        </a:lnTo>
                        <a:lnTo>
                          <a:pt x="185" y="243"/>
                        </a:lnTo>
                        <a:lnTo>
                          <a:pt x="185" y="260"/>
                        </a:lnTo>
                        <a:lnTo>
                          <a:pt x="161" y="260"/>
                        </a:lnTo>
                        <a:lnTo>
                          <a:pt x="156" y="255"/>
                        </a:lnTo>
                        <a:lnTo>
                          <a:pt x="168" y="222"/>
                        </a:lnTo>
                        <a:lnTo>
                          <a:pt x="147" y="205"/>
                        </a:lnTo>
                        <a:lnTo>
                          <a:pt x="130" y="217"/>
                        </a:lnTo>
                        <a:lnTo>
                          <a:pt x="114" y="189"/>
                        </a:lnTo>
                        <a:lnTo>
                          <a:pt x="109" y="198"/>
                        </a:lnTo>
                        <a:lnTo>
                          <a:pt x="102" y="189"/>
                        </a:lnTo>
                        <a:lnTo>
                          <a:pt x="85" y="198"/>
                        </a:lnTo>
                        <a:lnTo>
                          <a:pt x="76" y="189"/>
                        </a:lnTo>
                        <a:lnTo>
                          <a:pt x="69" y="198"/>
                        </a:lnTo>
                        <a:lnTo>
                          <a:pt x="69" y="205"/>
                        </a:lnTo>
                        <a:lnTo>
                          <a:pt x="59" y="198"/>
                        </a:lnTo>
                        <a:lnTo>
                          <a:pt x="31" y="198"/>
                        </a:lnTo>
                        <a:lnTo>
                          <a:pt x="0" y="189"/>
                        </a:lnTo>
                        <a:lnTo>
                          <a:pt x="31" y="182"/>
                        </a:lnTo>
                        <a:lnTo>
                          <a:pt x="31" y="182"/>
                        </a:lnTo>
                        <a:lnTo>
                          <a:pt x="31" y="182"/>
                        </a:lnTo>
                        <a:lnTo>
                          <a:pt x="55" y="198"/>
                        </a:lnTo>
                        <a:lnTo>
                          <a:pt x="59" y="198"/>
                        </a:lnTo>
                        <a:lnTo>
                          <a:pt x="38" y="182"/>
                        </a:lnTo>
                        <a:lnTo>
                          <a:pt x="55" y="182"/>
                        </a:lnTo>
                        <a:lnTo>
                          <a:pt x="22" y="165"/>
                        </a:lnTo>
                        <a:lnTo>
                          <a:pt x="55" y="177"/>
                        </a:lnTo>
                        <a:lnTo>
                          <a:pt x="31" y="161"/>
                        </a:lnTo>
                        <a:lnTo>
                          <a:pt x="48" y="161"/>
                        </a:lnTo>
                        <a:lnTo>
                          <a:pt x="38" y="144"/>
                        </a:lnTo>
                        <a:lnTo>
                          <a:pt x="69" y="127"/>
                        </a:lnTo>
                        <a:lnTo>
                          <a:pt x="85" y="94"/>
                        </a:lnTo>
                        <a:lnTo>
                          <a:pt x="140" y="120"/>
                        </a:lnTo>
                        <a:lnTo>
                          <a:pt x="168" y="94"/>
                        </a:lnTo>
                        <a:lnTo>
                          <a:pt x="168" y="78"/>
                        </a:lnTo>
                        <a:lnTo>
                          <a:pt x="156" y="78"/>
                        </a:lnTo>
                        <a:lnTo>
                          <a:pt x="156" y="71"/>
                        </a:lnTo>
                        <a:lnTo>
                          <a:pt x="161" y="66"/>
                        </a:lnTo>
                        <a:lnTo>
                          <a:pt x="140" y="54"/>
                        </a:lnTo>
                        <a:lnTo>
                          <a:pt x="140" y="38"/>
                        </a:lnTo>
                        <a:lnTo>
                          <a:pt x="114" y="49"/>
                        </a:lnTo>
                        <a:lnTo>
                          <a:pt x="123" y="66"/>
                        </a:lnTo>
                        <a:lnTo>
                          <a:pt x="130" y="71"/>
                        </a:lnTo>
                        <a:lnTo>
                          <a:pt x="114" y="78"/>
                        </a:lnTo>
                        <a:lnTo>
                          <a:pt x="114" y="94"/>
                        </a:lnTo>
                        <a:lnTo>
                          <a:pt x="114" y="104"/>
                        </a:lnTo>
                        <a:lnTo>
                          <a:pt x="85" y="94"/>
                        </a:lnTo>
                        <a:lnTo>
                          <a:pt x="93" y="49"/>
                        </a:lnTo>
                        <a:lnTo>
                          <a:pt x="102" y="54"/>
                        </a:lnTo>
                        <a:lnTo>
                          <a:pt x="114" y="49"/>
                        </a:lnTo>
                        <a:lnTo>
                          <a:pt x="156" y="16"/>
                        </a:lnTo>
                        <a:lnTo>
                          <a:pt x="178" y="9"/>
                        </a:lnTo>
                        <a:lnTo>
                          <a:pt x="232" y="0"/>
                        </a:lnTo>
                        <a:lnTo>
                          <a:pt x="270" y="21"/>
                        </a:lnTo>
                        <a:lnTo>
                          <a:pt x="270" y="21"/>
                        </a:lnTo>
                        <a:lnTo>
                          <a:pt x="270" y="21"/>
                        </a:lnTo>
                        <a:close/>
                        <a:moveTo>
                          <a:pt x="93" y="49"/>
                        </a:moveTo>
                        <a:lnTo>
                          <a:pt x="93" y="38"/>
                        </a:lnTo>
                        <a:lnTo>
                          <a:pt x="102" y="21"/>
                        </a:lnTo>
                        <a:lnTo>
                          <a:pt x="109" y="38"/>
                        </a:lnTo>
                        <a:lnTo>
                          <a:pt x="93" y="49"/>
                        </a:lnTo>
                        <a:lnTo>
                          <a:pt x="93" y="49"/>
                        </a:lnTo>
                        <a:lnTo>
                          <a:pt x="93" y="49"/>
                        </a:lnTo>
                        <a:close/>
                        <a:moveTo>
                          <a:pt x="114" y="104"/>
                        </a:moveTo>
                        <a:lnTo>
                          <a:pt x="114" y="78"/>
                        </a:lnTo>
                        <a:lnTo>
                          <a:pt x="130" y="71"/>
                        </a:lnTo>
                        <a:lnTo>
                          <a:pt x="147" y="87"/>
                        </a:lnTo>
                        <a:lnTo>
                          <a:pt x="123" y="104"/>
                        </a:lnTo>
                        <a:lnTo>
                          <a:pt x="114" y="104"/>
                        </a:lnTo>
                        <a:lnTo>
                          <a:pt x="114" y="104"/>
                        </a:lnTo>
                        <a:lnTo>
                          <a:pt x="114" y="104"/>
                        </a:lnTo>
                        <a:lnTo>
                          <a:pt x="114" y="104"/>
                        </a:lnTo>
                        <a:close/>
                        <a:moveTo>
                          <a:pt x="156" y="104"/>
                        </a:moveTo>
                        <a:lnTo>
                          <a:pt x="140" y="120"/>
                        </a:lnTo>
                        <a:lnTo>
                          <a:pt x="123" y="104"/>
                        </a:lnTo>
                        <a:lnTo>
                          <a:pt x="156" y="87"/>
                        </a:lnTo>
                        <a:lnTo>
                          <a:pt x="168" y="87"/>
                        </a:lnTo>
                        <a:lnTo>
                          <a:pt x="168" y="104"/>
                        </a:lnTo>
                        <a:lnTo>
                          <a:pt x="156" y="104"/>
                        </a:lnTo>
                        <a:lnTo>
                          <a:pt x="156" y="104"/>
                        </a:lnTo>
                        <a:lnTo>
                          <a:pt x="156" y="104"/>
                        </a:lnTo>
                        <a:close/>
                        <a:moveTo>
                          <a:pt x="59" y="205"/>
                        </a:moveTo>
                        <a:lnTo>
                          <a:pt x="31" y="217"/>
                        </a:lnTo>
                        <a:lnTo>
                          <a:pt x="17" y="205"/>
                        </a:lnTo>
                        <a:lnTo>
                          <a:pt x="0" y="217"/>
                        </a:lnTo>
                        <a:lnTo>
                          <a:pt x="0" y="198"/>
                        </a:lnTo>
                        <a:lnTo>
                          <a:pt x="59" y="205"/>
                        </a:lnTo>
                        <a:lnTo>
                          <a:pt x="59" y="205"/>
                        </a:lnTo>
                        <a:lnTo>
                          <a:pt x="59" y="20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4" name="Freeform 523">
                    <a:extLst>
                      <a:ext uri="{FF2B5EF4-FFF2-40B4-BE49-F238E27FC236}">
                        <a16:creationId xmlns:a16="http://schemas.microsoft.com/office/drawing/2014/main" id="{2CE4DC38-12F0-4972-81B2-6D85D8354D28}"/>
                      </a:ext>
                    </a:extLst>
                  </p:cNvPr>
                  <p:cNvSpPr>
                    <a:spLocks noEditPoints="1"/>
                  </p:cNvSpPr>
                  <p:nvPr/>
                </p:nvSpPr>
                <p:spPr bwMode="gray">
                  <a:xfrm>
                    <a:off x="6866204" y="1486484"/>
                    <a:ext cx="758296" cy="631983"/>
                  </a:xfrm>
                  <a:custGeom>
                    <a:avLst/>
                    <a:gdLst>
                      <a:gd name="T0" fmla="*/ 1713 w 1842"/>
                      <a:gd name="T1" fmla="*/ 238 h 1535"/>
                      <a:gd name="T2" fmla="*/ 1285 w 1842"/>
                      <a:gd name="T3" fmla="*/ 326 h 1535"/>
                      <a:gd name="T4" fmla="*/ 919 w 1842"/>
                      <a:gd name="T5" fmla="*/ 411 h 1535"/>
                      <a:gd name="T6" fmla="*/ 546 w 1842"/>
                      <a:gd name="T7" fmla="*/ 886 h 1535"/>
                      <a:gd name="T8" fmla="*/ 470 w 1842"/>
                      <a:gd name="T9" fmla="*/ 1441 h 1535"/>
                      <a:gd name="T10" fmla="*/ 399 w 1842"/>
                      <a:gd name="T11" fmla="*/ 1403 h 1535"/>
                      <a:gd name="T12" fmla="*/ 92 w 1842"/>
                      <a:gd name="T13" fmla="*/ 1453 h 1535"/>
                      <a:gd name="T14" fmla="*/ 54 w 1842"/>
                      <a:gd name="T15" fmla="*/ 1386 h 1535"/>
                      <a:gd name="T16" fmla="*/ 163 w 1842"/>
                      <a:gd name="T17" fmla="*/ 1268 h 1535"/>
                      <a:gd name="T18" fmla="*/ 54 w 1842"/>
                      <a:gd name="T19" fmla="*/ 1242 h 1535"/>
                      <a:gd name="T20" fmla="*/ 189 w 1842"/>
                      <a:gd name="T21" fmla="*/ 1164 h 1535"/>
                      <a:gd name="T22" fmla="*/ 21 w 1842"/>
                      <a:gd name="T23" fmla="*/ 1148 h 1535"/>
                      <a:gd name="T24" fmla="*/ 97 w 1842"/>
                      <a:gd name="T25" fmla="*/ 1058 h 1535"/>
                      <a:gd name="T26" fmla="*/ 206 w 1842"/>
                      <a:gd name="T27" fmla="*/ 1049 h 1535"/>
                      <a:gd name="T28" fmla="*/ 227 w 1842"/>
                      <a:gd name="T29" fmla="*/ 980 h 1535"/>
                      <a:gd name="T30" fmla="*/ 361 w 1842"/>
                      <a:gd name="T31" fmla="*/ 947 h 1535"/>
                      <a:gd name="T32" fmla="*/ 352 w 1842"/>
                      <a:gd name="T33" fmla="*/ 938 h 1535"/>
                      <a:gd name="T34" fmla="*/ 470 w 1842"/>
                      <a:gd name="T35" fmla="*/ 815 h 1535"/>
                      <a:gd name="T36" fmla="*/ 541 w 1842"/>
                      <a:gd name="T37" fmla="*/ 720 h 1535"/>
                      <a:gd name="T38" fmla="*/ 567 w 1842"/>
                      <a:gd name="T39" fmla="*/ 626 h 1535"/>
                      <a:gd name="T40" fmla="*/ 659 w 1842"/>
                      <a:gd name="T41" fmla="*/ 503 h 1535"/>
                      <a:gd name="T42" fmla="*/ 692 w 1842"/>
                      <a:gd name="T43" fmla="*/ 465 h 1535"/>
                      <a:gd name="T44" fmla="*/ 702 w 1842"/>
                      <a:gd name="T45" fmla="*/ 420 h 1535"/>
                      <a:gd name="T46" fmla="*/ 801 w 1842"/>
                      <a:gd name="T47" fmla="*/ 387 h 1535"/>
                      <a:gd name="T48" fmla="*/ 848 w 1842"/>
                      <a:gd name="T49" fmla="*/ 338 h 1535"/>
                      <a:gd name="T50" fmla="*/ 994 w 1842"/>
                      <a:gd name="T51" fmla="*/ 243 h 1535"/>
                      <a:gd name="T52" fmla="*/ 1049 w 1842"/>
                      <a:gd name="T53" fmla="*/ 189 h 1535"/>
                      <a:gd name="T54" fmla="*/ 1172 w 1842"/>
                      <a:gd name="T55" fmla="*/ 111 h 1535"/>
                      <a:gd name="T56" fmla="*/ 1318 w 1842"/>
                      <a:gd name="T57" fmla="*/ 94 h 1535"/>
                      <a:gd name="T58" fmla="*/ 1431 w 1842"/>
                      <a:gd name="T59" fmla="*/ 104 h 1535"/>
                      <a:gd name="T60" fmla="*/ 1557 w 1842"/>
                      <a:gd name="T61" fmla="*/ 71 h 1535"/>
                      <a:gd name="T62" fmla="*/ 1625 w 1842"/>
                      <a:gd name="T63" fmla="*/ 94 h 1535"/>
                      <a:gd name="T64" fmla="*/ 1826 w 1842"/>
                      <a:gd name="T65" fmla="*/ 94 h 1535"/>
                      <a:gd name="T66" fmla="*/ 1798 w 1842"/>
                      <a:gd name="T67" fmla="*/ 189 h 1535"/>
                      <a:gd name="T68" fmla="*/ 1205 w 1842"/>
                      <a:gd name="T69" fmla="*/ 61 h 1535"/>
                      <a:gd name="T70" fmla="*/ 1351 w 1842"/>
                      <a:gd name="T71" fmla="*/ 71 h 1535"/>
                      <a:gd name="T72" fmla="*/ 1188 w 1842"/>
                      <a:gd name="T73" fmla="*/ 116 h 1535"/>
                      <a:gd name="T74" fmla="*/ 999 w 1842"/>
                      <a:gd name="T75" fmla="*/ 132 h 1535"/>
                      <a:gd name="T76" fmla="*/ 1124 w 1842"/>
                      <a:gd name="T77" fmla="*/ 132 h 1535"/>
                      <a:gd name="T78" fmla="*/ 1124 w 1842"/>
                      <a:gd name="T79" fmla="*/ 160 h 1535"/>
                      <a:gd name="T80" fmla="*/ 1750 w 1842"/>
                      <a:gd name="T81" fmla="*/ 182 h 1535"/>
                      <a:gd name="T82" fmla="*/ 940 w 1842"/>
                      <a:gd name="T83" fmla="*/ 198 h 1535"/>
                      <a:gd name="T84" fmla="*/ 919 w 1842"/>
                      <a:gd name="T85" fmla="*/ 238 h 1535"/>
                      <a:gd name="T86" fmla="*/ 876 w 1842"/>
                      <a:gd name="T87" fmla="*/ 276 h 1535"/>
                      <a:gd name="T88" fmla="*/ 676 w 1842"/>
                      <a:gd name="T89" fmla="*/ 326 h 1535"/>
                      <a:gd name="T90" fmla="*/ 768 w 1842"/>
                      <a:gd name="T91" fmla="*/ 349 h 1535"/>
                      <a:gd name="T92" fmla="*/ 709 w 1842"/>
                      <a:gd name="T93" fmla="*/ 293 h 1535"/>
                      <a:gd name="T94" fmla="*/ 794 w 1842"/>
                      <a:gd name="T95" fmla="*/ 354 h 1535"/>
                      <a:gd name="T96" fmla="*/ 654 w 1842"/>
                      <a:gd name="T97" fmla="*/ 371 h 1535"/>
                      <a:gd name="T98" fmla="*/ 583 w 1842"/>
                      <a:gd name="T99" fmla="*/ 404 h 1535"/>
                      <a:gd name="T100" fmla="*/ 725 w 1842"/>
                      <a:gd name="T101" fmla="*/ 411 h 1535"/>
                      <a:gd name="T102" fmla="*/ 529 w 1842"/>
                      <a:gd name="T103" fmla="*/ 666 h 1535"/>
                      <a:gd name="T104" fmla="*/ 498 w 1842"/>
                      <a:gd name="T105" fmla="*/ 753 h 1535"/>
                      <a:gd name="T106" fmla="*/ 454 w 1842"/>
                      <a:gd name="T107" fmla="*/ 810 h 1535"/>
                      <a:gd name="T108" fmla="*/ 255 w 1842"/>
                      <a:gd name="T109" fmla="*/ 942 h 1535"/>
                      <a:gd name="T110" fmla="*/ 260 w 1842"/>
                      <a:gd name="T111" fmla="*/ 959 h 1535"/>
                      <a:gd name="T112" fmla="*/ 239 w 1842"/>
                      <a:gd name="T113" fmla="*/ 975 h 1535"/>
                      <a:gd name="T114" fmla="*/ 135 w 1842"/>
                      <a:gd name="T115" fmla="*/ 1020 h 1535"/>
                      <a:gd name="T116" fmla="*/ 66 w 1842"/>
                      <a:gd name="T117" fmla="*/ 1075 h 1535"/>
                      <a:gd name="T118" fmla="*/ 7 w 1842"/>
                      <a:gd name="T119" fmla="*/ 1131 h 1535"/>
                      <a:gd name="T120" fmla="*/ 21 w 1842"/>
                      <a:gd name="T121" fmla="*/ 1280 h 1535"/>
                      <a:gd name="T122" fmla="*/ 28 w 1842"/>
                      <a:gd name="T123" fmla="*/ 1325 h 1535"/>
                      <a:gd name="T124" fmla="*/ 38 w 1842"/>
                      <a:gd name="T125" fmla="*/ 1353 h 1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42" h="1535">
                        <a:moveTo>
                          <a:pt x="1457" y="33"/>
                        </a:moveTo>
                        <a:lnTo>
                          <a:pt x="1443" y="21"/>
                        </a:lnTo>
                        <a:lnTo>
                          <a:pt x="1448" y="16"/>
                        </a:lnTo>
                        <a:lnTo>
                          <a:pt x="1431" y="16"/>
                        </a:lnTo>
                        <a:lnTo>
                          <a:pt x="1465" y="0"/>
                        </a:lnTo>
                        <a:lnTo>
                          <a:pt x="1486" y="5"/>
                        </a:lnTo>
                        <a:lnTo>
                          <a:pt x="1481" y="21"/>
                        </a:lnTo>
                        <a:lnTo>
                          <a:pt x="1495" y="16"/>
                        </a:lnTo>
                        <a:lnTo>
                          <a:pt x="1457" y="33"/>
                        </a:lnTo>
                        <a:lnTo>
                          <a:pt x="1457" y="33"/>
                        </a:lnTo>
                        <a:lnTo>
                          <a:pt x="1457" y="33"/>
                        </a:lnTo>
                        <a:close/>
                        <a:moveTo>
                          <a:pt x="1826" y="172"/>
                        </a:moveTo>
                        <a:lnTo>
                          <a:pt x="1826" y="189"/>
                        </a:lnTo>
                        <a:lnTo>
                          <a:pt x="1826" y="205"/>
                        </a:lnTo>
                        <a:lnTo>
                          <a:pt x="1805" y="205"/>
                        </a:lnTo>
                        <a:lnTo>
                          <a:pt x="1772" y="198"/>
                        </a:lnTo>
                        <a:lnTo>
                          <a:pt x="1772" y="205"/>
                        </a:lnTo>
                        <a:lnTo>
                          <a:pt x="1772" y="215"/>
                        </a:lnTo>
                        <a:lnTo>
                          <a:pt x="1713" y="238"/>
                        </a:lnTo>
                        <a:lnTo>
                          <a:pt x="1713" y="260"/>
                        </a:lnTo>
                        <a:lnTo>
                          <a:pt x="1691" y="272"/>
                        </a:lnTo>
                        <a:lnTo>
                          <a:pt x="1680" y="260"/>
                        </a:lnTo>
                        <a:lnTo>
                          <a:pt x="1680" y="243"/>
                        </a:lnTo>
                        <a:lnTo>
                          <a:pt x="1713" y="215"/>
                        </a:lnTo>
                        <a:lnTo>
                          <a:pt x="1701" y="189"/>
                        </a:lnTo>
                        <a:lnTo>
                          <a:pt x="1646" y="172"/>
                        </a:lnTo>
                        <a:lnTo>
                          <a:pt x="1620" y="144"/>
                        </a:lnTo>
                        <a:lnTo>
                          <a:pt x="1557" y="165"/>
                        </a:lnTo>
                        <a:lnTo>
                          <a:pt x="1519" y="160"/>
                        </a:lnTo>
                        <a:lnTo>
                          <a:pt x="1481" y="189"/>
                        </a:lnTo>
                        <a:lnTo>
                          <a:pt x="1465" y="243"/>
                        </a:lnTo>
                        <a:lnTo>
                          <a:pt x="1465" y="276"/>
                        </a:lnTo>
                        <a:lnTo>
                          <a:pt x="1457" y="293"/>
                        </a:lnTo>
                        <a:lnTo>
                          <a:pt x="1427" y="300"/>
                        </a:lnTo>
                        <a:lnTo>
                          <a:pt x="1420" y="326"/>
                        </a:lnTo>
                        <a:lnTo>
                          <a:pt x="1410" y="333"/>
                        </a:lnTo>
                        <a:lnTo>
                          <a:pt x="1339" y="300"/>
                        </a:lnTo>
                        <a:lnTo>
                          <a:pt x="1285" y="326"/>
                        </a:lnTo>
                        <a:lnTo>
                          <a:pt x="1231" y="316"/>
                        </a:lnTo>
                        <a:lnTo>
                          <a:pt x="1226" y="300"/>
                        </a:lnTo>
                        <a:lnTo>
                          <a:pt x="1179" y="243"/>
                        </a:lnTo>
                        <a:lnTo>
                          <a:pt x="1155" y="238"/>
                        </a:lnTo>
                        <a:lnTo>
                          <a:pt x="1134" y="255"/>
                        </a:lnTo>
                        <a:lnTo>
                          <a:pt x="1141" y="260"/>
                        </a:lnTo>
                        <a:lnTo>
                          <a:pt x="1134" y="276"/>
                        </a:lnTo>
                        <a:lnTo>
                          <a:pt x="1103" y="272"/>
                        </a:lnTo>
                        <a:lnTo>
                          <a:pt x="1070" y="272"/>
                        </a:lnTo>
                        <a:lnTo>
                          <a:pt x="1087" y="283"/>
                        </a:lnTo>
                        <a:lnTo>
                          <a:pt x="1087" y="300"/>
                        </a:lnTo>
                        <a:lnTo>
                          <a:pt x="1054" y="333"/>
                        </a:lnTo>
                        <a:lnTo>
                          <a:pt x="1080" y="338"/>
                        </a:lnTo>
                        <a:lnTo>
                          <a:pt x="1054" y="366"/>
                        </a:lnTo>
                        <a:lnTo>
                          <a:pt x="983" y="338"/>
                        </a:lnTo>
                        <a:lnTo>
                          <a:pt x="924" y="338"/>
                        </a:lnTo>
                        <a:lnTo>
                          <a:pt x="924" y="349"/>
                        </a:lnTo>
                        <a:lnTo>
                          <a:pt x="928" y="383"/>
                        </a:lnTo>
                        <a:lnTo>
                          <a:pt x="919" y="411"/>
                        </a:lnTo>
                        <a:lnTo>
                          <a:pt x="869" y="387"/>
                        </a:lnTo>
                        <a:lnTo>
                          <a:pt x="831" y="411"/>
                        </a:lnTo>
                        <a:lnTo>
                          <a:pt x="815" y="449"/>
                        </a:lnTo>
                        <a:lnTo>
                          <a:pt x="784" y="477"/>
                        </a:lnTo>
                        <a:lnTo>
                          <a:pt x="810" y="498"/>
                        </a:lnTo>
                        <a:lnTo>
                          <a:pt x="810" y="522"/>
                        </a:lnTo>
                        <a:lnTo>
                          <a:pt x="739" y="588"/>
                        </a:lnTo>
                        <a:lnTo>
                          <a:pt x="746" y="609"/>
                        </a:lnTo>
                        <a:lnTo>
                          <a:pt x="713" y="626"/>
                        </a:lnTo>
                        <a:lnTo>
                          <a:pt x="676" y="631"/>
                        </a:lnTo>
                        <a:lnTo>
                          <a:pt x="687" y="666"/>
                        </a:lnTo>
                        <a:lnTo>
                          <a:pt x="676" y="699"/>
                        </a:lnTo>
                        <a:lnTo>
                          <a:pt x="676" y="725"/>
                        </a:lnTo>
                        <a:lnTo>
                          <a:pt x="617" y="815"/>
                        </a:lnTo>
                        <a:lnTo>
                          <a:pt x="650" y="827"/>
                        </a:lnTo>
                        <a:lnTo>
                          <a:pt x="654" y="853"/>
                        </a:lnTo>
                        <a:lnTo>
                          <a:pt x="638" y="881"/>
                        </a:lnTo>
                        <a:lnTo>
                          <a:pt x="567" y="869"/>
                        </a:lnTo>
                        <a:lnTo>
                          <a:pt x="546" y="886"/>
                        </a:lnTo>
                        <a:lnTo>
                          <a:pt x="508" y="926"/>
                        </a:lnTo>
                        <a:lnTo>
                          <a:pt x="513" y="938"/>
                        </a:lnTo>
                        <a:lnTo>
                          <a:pt x="498" y="964"/>
                        </a:lnTo>
                        <a:lnTo>
                          <a:pt x="513" y="992"/>
                        </a:lnTo>
                        <a:lnTo>
                          <a:pt x="498" y="1004"/>
                        </a:lnTo>
                        <a:lnTo>
                          <a:pt x="508" y="1037"/>
                        </a:lnTo>
                        <a:lnTo>
                          <a:pt x="524" y="1075"/>
                        </a:lnTo>
                        <a:lnTo>
                          <a:pt x="508" y="1131"/>
                        </a:lnTo>
                        <a:lnTo>
                          <a:pt x="562" y="1181"/>
                        </a:lnTo>
                        <a:lnTo>
                          <a:pt x="546" y="1214"/>
                        </a:lnTo>
                        <a:lnTo>
                          <a:pt x="513" y="1214"/>
                        </a:lnTo>
                        <a:lnTo>
                          <a:pt x="546" y="1275"/>
                        </a:lnTo>
                        <a:lnTo>
                          <a:pt x="529" y="1313"/>
                        </a:lnTo>
                        <a:lnTo>
                          <a:pt x="508" y="1337"/>
                        </a:lnTo>
                        <a:lnTo>
                          <a:pt x="487" y="1337"/>
                        </a:lnTo>
                        <a:lnTo>
                          <a:pt x="491" y="1353"/>
                        </a:lnTo>
                        <a:lnTo>
                          <a:pt x="475" y="1370"/>
                        </a:lnTo>
                        <a:lnTo>
                          <a:pt x="487" y="1403"/>
                        </a:lnTo>
                        <a:lnTo>
                          <a:pt x="470" y="1441"/>
                        </a:lnTo>
                        <a:lnTo>
                          <a:pt x="461" y="1441"/>
                        </a:lnTo>
                        <a:lnTo>
                          <a:pt x="461" y="1436"/>
                        </a:lnTo>
                        <a:lnTo>
                          <a:pt x="454" y="1420"/>
                        </a:lnTo>
                        <a:lnTo>
                          <a:pt x="416" y="1408"/>
                        </a:lnTo>
                        <a:lnTo>
                          <a:pt x="399" y="1353"/>
                        </a:lnTo>
                        <a:lnTo>
                          <a:pt x="406" y="1337"/>
                        </a:lnTo>
                        <a:lnTo>
                          <a:pt x="416" y="1346"/>
                        </a:lnTo>
                        <a:lnTo>
                          <a:pt x="406" y="1330"/>
                        </a:lnTo>
                        <a:lnTo>
                          <a:pt x="390" y="1337"/>
                        </a:lnTo>
                        <a:lnTo>
                          <a:pt x="399" y="1370"/>
                        </a:lnTo>
                        <a:lnTo>
                          <a:pt x="399" y="1379"/>
                        </a:lnTo>
                        <a:lnTo>
                          <a:pt x="390" y="1379"/>
                        </a:lnTo>
                        <a:lnTo>
                          <a:pt x="385" y="1353"/>
                        </a:lnTo>
                        <a:lnTo>
                          <a:pt x="378" y="1353"/>
                        </a:lnTo>
                        <a:lnTo>
                          <a:pt x="390" y="1370"/>
                        </a:lnTo>
                        <a:lnTo>
                          <a:pt x="385" y="1379"/>
                        </a:lnTo>
                        <a:lnTo>
                          <a:pt x="378" y="1370"/>
                        </a:lnTo>
                        <a:lnTo>
                          <a:pt x="390" y="1386"/>
                        </a:lnTo>
                        <a:lnTo>
                          <a:pt x="399" y="1403"/>
                        </a:lnTo>
                        <a:lnTo>
                          <a:pt x="385" y="1403"/>
                        </a:lnTo>
                        <a:lnTo>
                          <a:pt x="378" y="1424"/>
                        </a:lnTo>
                        <a:lnTo>
                          <a:pt x="352" y="1436"/>
                        </a:lnTo>
                        <a:lnTo>
                          <a:pt x="331" y="1420"/>
                        </a:lnTo>
                        <a:lnTo>
                          <a:pt x="335" y="1436"/>
                        </a:lnTo>
                        <a:lnTo>
                          <a:pt x="255" y="1507"/>
                        </a:lnTo>
                        <a:lnTo>
                          <a:pt x="239" y="1514"/>
                        </a:lnTo>
                        <a:lnTo>
                          <a:pt x="239" y="1519"/>
                        </a:lnTo>
                        <a:lnTo>
                          <a:pt x="151" y="1535"/>
                        </a:lnTo>
                        <a:lnTo>
                          <a:pt x="135" y="1531"/>
                        </a:lnTo>
                        <a:lnTo>
                          <a:pt x="120" y="1531"/>
                        </a:lnTo>
                        <a:lnTo>
                          <a:pt x="130" y="1514"/>
                        </a:lnTo>
                        <a:lnTo>
                          <a:pt x="109" y="1507"/>
                        </a:lnTo>
                        <a:lnTo>
                          <a:pt x="83" y="1497"/>
                        </a:lnTo>
                        <a:lnTo>
                          <a:pt x="76" y="1490"/>
                        </a:lnTo>
                        <a:lnTo>
                          <a:pt x="59" y="1490"/>
                        </a:lnTo>
                        <a:lnTo>
                          <a:pt x="45" y="1457"/>
                        </a:lnTo>
                        <a:lnTo>
                          <a:pt x="45" y="1424"/>
                        </a:lnTo>
                        <a:lnTo>
                          <a:pt x="92" y="1453"/>
                        </a:lnTo>
                        <a:lnTo>
                          <a:pt x="97" y="1453"/>
                        </a:lnTo>
                        <a:lnTo>
                          <a:pt x="83" y="1441"/>
                        </a:lnTo>
                        <a:lnTo>
                          <a:pt x="92" y="1436"/>
                        </a:lnTo>
                        <a:lnTo>
                          <a:pt x="120" y="1424"/>
                        </a:lnTo>
                        <a:lnTo>
                          <a:pt x="92" y="1436"/>
                        </a:lnTo>
                        <a:lnTo>
                          <a:pt x="83" y="1441"/>
                        </a:lnTo>
                        <a:lnTo>
                          <a:pt x="66" y="1424"/>
                        </a:lnTo>
                        <a:lnTo>
                          <a:pt x="92" y="1403"/>
                        </a:lnTo>
                        <a:lnTo>
                          <a:pt x="113" y="1391"/>
                        </a:lnTo>
                        <a:lnTo>
                          <a:pt x="92" y="1403"/>
                        </a:lnTo>
                        <a:lnTo>
                          <a:pt x="76" y="1391"/>
                        </a:lnTo>
                        <a:lnTo>
                          <a:pt x="97" y="1379"/>
                        </a:lnTo>
                        <a:lnTo>
                          <a:pt x="113" y="1370"/>
                        </a:lnTo>
                        <a:lnTo>
                          <a:pt x="97" y="1370"/>
                        </a:lnTo>
                        <a:lnTo>
                          <a:pt x="76" y="1391"/>
                        </a:lnTo>
                        <a:lnTo>
                          <a:pt x="76" y="1386"/>
                        </a:lnTo>
                        <a:lnTo>
                          <a:pt x="92" y="1379"/>
                        </a:lnTo>
                        <a:lnTo>
                          <a:pt x="66" y="1379"/>
                        </a:lnTo>
                        <a:lnTo>
                          <a:pt x="54" y="1386"/>
                        </a:lnTo>
                        <a:lnTo>
                          <a:pt x="66" y="1386"/>
                        </a:lnTo>
                        <a:lnTo>
                          <a:pt x="66" y="1391"/>
                        </a:lnTo>
                        <a:lnTo>
                          <a:pt x="59" y="1403"/>
                        </a:lnTo>
                        <a:lnTo>
                          <a:pt x="54" y="1391"/>
                        </a:lnTo>
                        <a:lnTo>
                          <a:pt x="45" y="1403"/>
                        </a:lnTo>
                        <a:lnTo>
                          <a:pt x="28" y="1391"/>
                        </a:lnTo>
                        <a:lnTo>
                          <a:pt x="21" y="1379"/>
                        </a:lnTo>
                        <a:lnTo>
                          <a:pt x="45" y="1353"/>
                        </a:lnTo>
                        <a:lnTo>
                          <a:pt x="45" y="1379"/>
                        </a:lnTo>
                        <a:lnTo>
                          <a:pt x="54" y="1363"/>
                        </a:lnTo>
                        <a:lnTo>
                          <a:pt x="97" y="1337"/>
                        </a:lnTo>
                        <a:lnTo>
                          <a:pt x="76" y="1353"/>
                        </a:lnTo>
                        <a:lnTo>
                          <a:pt x="59" y="1337"/>
                        </a:lnTo>
                        <a:lnTo>
                          <a:pt x="76" y="1330"/>
                        </a:lnTo>
                        <a:lnTo>
                          <a:pt x="92" y="1292"/>
                        </a:lnTo>
                        <a:lnTo>
                          <a:pt x="120" y="1280"/>
                        </a:lnTo>
                        <a:lnTo>
                          <a:pt x="113" y="1313"/>
                        </a:lnTo>
                        <a:lnTo>
                          <a:pt x="120" y="1280"/>
                        </a:lnTo>
                        <a:lnTo>
                          <a:pt x="163" y="1268"/>
                        </a:lnTo>
                        <a:lnTo>
                          <a:pt x="146" y="1268"/>
                        </a:lnTo>
                        <a:lnTo>
                          <a:pt x="151" y="1259"/>
                        </a:lnTo>
                        <a:lnTo>
                          <a:pt x="130" y="1275"/>
                        </a:lnTo>
                        <a:lnTo>
                          <a:pt x="97" y="1280"/>
                        </a:lnTo>
                        <a:lnTo>
                          <a:pt x="92" y="1297"/>
                        </a:lnTo>
                        <a:lnTo>
                          <a:pt x="76" y="1297"/>
                        </a:lnTo>
                        <a:lnTo>
                          <a:pt x="66" y="1325"/>
                        </a:lnTo>
                        <a:lnTo>
                          <a:pt x="59" y="1325"/>
                        </a:lnTo>
                        <a:lnTo>
                          <a:pt x="54" y="1308"/>
                        </a:lnTo>
                        <a:lnTo>
                          <a:pt x="45" y="1308"/>
                        </a:lnTo>
                        <a:lnTo>
                          <a:pt x="59" y="1280"/>
                        </a:lnTo>
                        <a:lnTo>
                          <a:pt x="38" y="1308"/>
                        </a:lnTo>
                        <a:lnTo>
                          <a:pt x="21" y="1297"/>
                        </a:lnTo>
                        <a:lnTo>
                          <a:pt x="28" y="1297"/>
                        </a:lnTo>
                        <a:lnTo>
                          <a:pt x="21" y="1292"/>
                        </a:lnTo>
                        <a:lnTo>
                          <a:pt x="28" y="1268"/>
                        </a:lnTo>
                        <a:lnTo>
                          <a:pt x="54" y="1280"/>
                        </a:lnTo>
                        <a:lnTo>
                          <a:pt x="59" y="1252"/>
                        </a:lnTo>
                        <a:lnTo>
                          <a:pt x="54" y="1242"/>
                        </a:lnTo>
                        <a:lnTo>
                          <a:pt x="28" y="1268"/>
                        </a:lnTo>
                        <a:lnTo>
                          <a:pt x="12" y="1252"/>
                        </a:lnTo>
                        <a:lnTo>
                          <a:pt x="28" y="1259"/>
                        </a:lnTo>
                        <a:lnTo>
                          <a:pt x="21" y="1242"/>
                        </a:lnTo>
                        <a:lnTo>
                          <a:pt x="7" y="1235"/>
                        </a:lnTo>
                        <a:lnTo>
                          <a:pt x="38" y="1259"/>
                        </a:lnTo>
                        <a:lnTo>
                          <a:pt x="28" y="1242"/>
                        </a:lnTo>
                        <a:lnTo>
                          <a:pt x="45" y="1226"/>
                        </a:lnTo>
                        <a:lnTo>
                          <a:pt x="12" y="1235"/>
                        </a:lnTo>
                        <a:lnTo>
                          <a:pt x="12" y="1214"/>
                        </a:lnTo>
                        <a:lnTo>
                          <a:pt x="76" y="1202"/>
                        </a:lnTo>
                        <a:lnTo>
                          <a:pt x="109" y="1214"/>
                        </a:lnTo>
                        <a:lnTo>
                          <a:pt x="135" y="1202"/>
                        </a:lnTo>
                        <a:lnTo>
                          <a:pt x="163" y="1226"/>
                        </a:lnTo>
                        <a:lnTo>
                          <a:pt x="163" y="1219"/>
                        </a:lnTo>
                        <a:lnTo>
                          <a:pt x="151" y="1202"/>
                        </a:lnTo>
                        <a:lnTo>
                          <a:pt x="184" y="1197"/>
                        </a:lnTo>
                        <a:lnTo>
                          <a:pt x="168" y="1181"/>
                        </a:lnTo>
                        <a:lnTo>
                          <a:pt x="189" y="1164"/>
                        </a:lnTo>
                        <a:lnTo>
                          <a:pt x="168" y="1181"/>
                        </a:lnTo>
                        <a:lnTo>
                          <a:pt x="172" y="1197"/>
                        </a:lnTo>
                        <a:lnTo>
                          <a:pt x="146" y="1202"/>
                        </a:lnTo>
                        <a:lnTo>
                          <a:pt x="120" y="1186"/>
                        </a:lnTo>
                        <a:lnTo>
                          <a:pt x="130" y="1169"/>
                        </a:lnTo>
                        <a:lnTo>
                          <a:pt x="109" y="1202"/>
                        </a:lnTo>
                        <a:lnTo>
                          <a:pt x="59" y="1197"/>
                        </a:lnTo>
                        <a:lnTo>
                          <a:pt x="38" y="1214"/>
                        </a:lnTo>
                        <a:lnTo>
                          <a:pt x="12" y="1197"/>
                        </a:lnTo>
                        <a:lnTo>
                          <a:pt x="28" y="1197"/>
                        </a:lnTo>
                        <a:lnTo>
                          <a:pt x="7" y="1186"/>
                        </a:lnTo>
                        <a:lnTo>
                          <a:pt x="54" y="1181"/>
                        </a:lnTo>
                        <a:lnTo>
                          <a:pt x="12" y="1181"/>
                        </a:lnTo>
                        <a:lnTo>
                          <a:pt x="7" y="1169"/>
                        </a:lnTo>
                        <a:lnTo>
                          <a:pt x="66" y="1164"/>
                        </a:lnTo>
                        <a:lnTo>
                          <a:pt x="21" y="1164"/>
                        </a:lnTo>
                        <a:lnTo>
                          <a:pt x="21" y="1160"/>
                        </a:lnTo>
                        <a:lnTo>
                          <a:pt x="28" y="1160"/>
                        </a:lnTo>
                        <a:lnTo>
                          <a:pt x="21" y="1148"/>
                        </a:lnTo>
                        <a:lnTo>
                          <a:pt x="38" y="1148"/>
                        </a:lnTo>
                        <a:lnTo>
                          <a:pt x="7" y="1141"/>
                        </a:lnTo>
                        <a:lnTo>
                          <a:pt x="38" y="1115"/>
                        </a:lnTo>
                        <a:lnTo>
                          <a:pt x="113" y="1124"/>
                        </a:lnTo>
                        <a:lnTo>
                          <a:pt x="130" y="1115"/>
                        </a:lnTo>
                        <a:lnTo>
                          <a:pt x="21" y="1115"/>
                        </a:lnTo>
                        <a:lnTo>
                          <a:pt x="21" y="1108"/>
                        </a:lnTo>
                        <a:lnTo>
                          <a:pt x="38" y="1103"/>
                        </a:lnTo>
                        <a:lnTo>
                          <a:pt x="12" y="1086"/>
                        </a:lnTo>
                        <a:lnTo>
                          <a:pt x="21" y="1086"/>
                        </a:lnTo>
                        <a:lnTo>
                          <a:pt x="45" y="1108"/>
                        </a:lnTo>
                        <a:lnTo>
                          <a:pt x="45" y="1091"/>
                        </a:lnTo>
                        <a:lnTo>
                          <a:pt x="38" y="1091"/>
                        </a:lnTo>
                        <a:lnTo>
                          <a:pt x="38" y="1086"/>
                        </a:lnTo>
                        <a:lnTo>
                          <a:pt x="66" y="1086"/>
                        </a:lnTo>
                        <a:lnTo>
                          <a:pt x="76" y="1091"/>
                        </a:lnTo>
                        <a:lnTo>
                          <a:pt x="109" y="1103"/>
                        </a:lnTo>
                        <a:lnTo>
                          <a:pt x="76" y="1086"/>
                        </a:lnTo>
                        <a:lnTo>
                          <a:pt x="97" y="1058"/>
                        </a:lnTo>
                        <a:lnTo>
                          <a:pt x="113" y="1091"/>
                        </a:lnTo>
                        <a:lnTo>
                          <a:pt x="120" y="1091"/>
                        </a:lnTo>
                        <a:lnTo>
                          <a:pt x="109" y="1058"/>
                        </a:lnTo>
                        <a:lnTo>
                          <a:pt x="130" y="1053"/>
                        </a:lnTo>
                        <a:lnTo>
                          <a:pt x="146" y="1058"/>
                        </a:lnTo>
                        <a:lnTo>
                          <a:pt x="151" y="1075"/>
                        </a:lnTo>
                        <a:lnTo>
                          <a:pt x="146" y="1091"/>
                        </a:lnTo>
                        <a:lnTo>
                          <a:pt x="151" y="1091"/>
                        </a:lnTo>
                        <a:lnTo>
                          <a:pt x="146" y="1091"/>
                        </a:lnTo>
                        <a:lnTo>
                          <a:pt x="151" y="1075"/>
                        </a:lnTo>
                        <a:lnTo>
                          <a:pt x="172" y="1075"/>
                        </a:lnTo>
                        <a:lnTo>
                          <a:pt x="146" y="1070"/>
                        </a:lnTo>
                        <a:lnTo>
                          <a:pt x="135" y="1053"/>
                        </a:lnTo>
                        <a:lnTo>
                          <a:pt x="97" y="1053"/>
                        </a:lnTo>
                        <a:lnTo>
                          <a:pt x="120" y="1053"/>
                        </a:lnTo>
                        <a:lnTo>
                          <a:pt x="97" y="1037"/>
                        </a:lnTo>
                        <a:lnTo>
                          <a:pt x="151" y="1032"/>
                        </a:lnTo>
                        <a:lnTo>
                          <a:pt x="189" y="1053"/>
                        </a:lnTo>
                        <a:lnTo>
                          <a:pt x="206" y="1049"/>
                        </a:lnTo>
                        <a:lnTo>
                          <a:pt x="172" y="1037"/>
                        </a:lnTo>
                        <a:lnTo>
                          <a:pt x="206" y="1020"/>
                        </a:lnTo>
                        <a:lnTo>
                          <a:pt x="227" y="1032"/>
                        </a:lnTo>
                        <a:lnTo>
                          <a:pt x="222" y="1020"/>
                        </a:lnTo>
                        <a:lnTo>
                          <a:pt x="172" y="1020"/>
                        </a:lnTo>
                        <a:lnTo>
                          <a:pt x="201" y="1013"/>
                        </a:lnTo>
                        <a:lnTo>
                          <a:pt x="189" y="1013"/>
                        </a:lnTo>
                        <a:lnTo>
                          <a:pt x="146" y="1020"/>
                        </a:lnTo>
                        <a:lnTo>
                          <a:pt x="146" y="997"/>
                        </a:lnTo>
                        <a:lnTo>
                          <a:pt x="168" y="992"/>
                        </a:lnTo>
                        <a:lnTo>
                          <a:pt x="184" y="1004"/>
                        </a:lnTo>
                        <a:lnTo>
                          <a:pt x="222" y="997"/>
                        </a:lnTo>
                        <a:lnTo>
                          <a:pt x="227" y="1013"/>
                        </a:lnTo>
                        <a:lnTo>
                          <a:pt x="260" y="1032"/>
                        </a:lnTo>
                        <a:lnTo>
                          <a:pt x="260" y="1020"/>
                        </a:lnTo>
                        <a:lnTo>
                          <a:pt x="227" y="1013"/>
                        </a:lnTo>
                        <a:lnTo>
                          <a:pt x="227" y="997"/>
                        </a:lnTo>
                        <a:lnTo>
                          <a:pt x="217" y="992"/>
                        </a:lnTo>
                        <a:lnTo>
                          <a:pt x="227" y="980"/>
                        </a:lnTo>
                        <a:lnTo>
                          <a:pt x="243" y="1004"/>
                        </a:lnTo>
                        <a:lnTo>
                          <a:pt x="260" y="1013"/>
                        </a:lnTo>
                        <a:lnTo>
                          <a:pt x="255" y="997"/>
                        </a:lnTo>
                        <a:lnTo>
                          <a:pt x="272" y="997"/>
                        </a:lnTo>
                        <a:lnTo>
                          <a:pt x="243" y="997"/>
                        </a:lnTo>
                        <a:lnTo>
                          <a:pt x="227" y="980"/>
                        </a:lnTo>
                        <a:lnTo>
                          <a:pt x="281" y="975"/>
                        </a:lnTo>
                        <a:lnTo>
                          <a:pt x="260" y="975"/>
                        </a:lnTo>
                        <a:lnTo>
                          <a:pt x="255" y="959"/>
                        </a:lnTo>
                        <a:lnTo>
                          <a:pt x="276" y="959"/>
                        </a:lnTo>
                        <a:lnTo>
                          <a:pt x="272" y="947"/>
                        </a:lnTo>
                        <a:lnTo>
                          <a:pt x="293" y="942"/>
                        </a:lnTo>
                        <a:lnTo>
                          <a:pt x="309" y="947"/>
                        </a:lnTo>
                        <a:lnTo>
                          <a:pt x="324" y="947"/>
                        </a:lnTo>
                        <a:lnTo>
                          <a:pt x="309" y="947"/>
                        </a:lnTo>
                        <a:lnTo>
                          <a:pt x="298" y="942"/>
                        </a:lnTo>
                        <a:lnTo>
                          <a:pt x="331" y="926"/>
                        </a:lnTo>
                        <a:lnTo>
                          <a:pt x="335" y="921"/>
                        </a:lnTo>
                        <a:lnTo>
                          <a:pt x="361" y="947"/>
                        </a:lnTo>
                        <a:lnTo>
                          <a:pt x="378" y="964"/>
                        </a:lnTo>
                        <a:lnTo>
                          <a:pt x="378" y="959"/>
                        </a:lnTo>
                        <a:lnTo>
                          <a:pt x="361" y="947"/>
                        </a:lnTo>
                        <a:lnTo>
                          <a:pt x="423" y="942"/>
                        </a:lnTo>
                        <a:lnTo>
                          <a:pt x="416" y="938"/>
                        </a:lnTo>
                        <a:lnTo>
                          <a:pt x="423" y="926"/>
                        </a:lnTo>
                        <a:lnTo>
                          <a:pt x="406" y="938"/>
                        </a:lnTo>
                        <a:lnTo>
                          <a:pt x="432" y="909"/>
                        </a:lnTo>
                        <a:lnTo>
                          <a:pt x="461" y="905"/>
                        </a:lnTo>
                        <a:lnTo>
                          <a:pt x="437" y="893"/>
                        </a:lnTo>
                        <a:lnTo>
                          <a:pt x="461" y="881"/>
                        </a:lnTo>
                        <a:lnTo>
                          <a:pt x="454" y="881"/>
                        </a:lnTo>
                        <a:lnTo>
                          <a:pt x="454" y="864"/>
                        </a:lnTo>
                        <a:lnTo>
                          <a:pt x="399" y="905"/>
                        </a:lnTo>
                        <a:lnTo>
                          <a:pt x="423" y="893"/>
                        </a:lnTo>
                        <a:lnTo>
                          <a:pt x="437" y="893"/>
                        </a:lnTo>
                        <a:lnTo>
                          <a:pt x="423" y="909"/>
                        </a:lnTo>
                        <a:lnTo>
                          <a:pt x="361" y="938"/>
                        </a:lnTo>
                        <a:lnTo>
                          <a:pt x="352" y="938"/>
                        </a:lnTo>
                        <a:lnTo>
                          <a:pt x="347" y="921"/>
                        </a:lnTo>
                        <a:lnTo>
                          <a:pt x="368" y="909"/>
                        </a:lnTo>
                        <a:lnTo>
                          <a:pt x="331" y="921"/>
                        </a:lnTo>
                        <a:lnTo>
                          <a:pt x="331" y="909"/>
                        </a:lnTo>
                        <a:lnTo>
                          <a:pt x="378" y="886"/>
                        </a:lnTo>
                        <a:lnTo>
                          <a:pt x="361" y="881"/>
                        </a:lnTo>
                        <a:lnTo>
                          <a:pt x="368" y="853"/>
                        </a:lnTo>
                        <a:lnTo>
                          <a:pt x="390" y="836"/>
                        </a:lnTo>
                        <a:lnTo>
                          <a:pt x="406" y="836"/>
                        </a:lnTo>
                        <a:lnTo>
                          <a:pt x="390" y="831"/>
                        </a:lnTo>
                        <a:lnTo>
                          <a:pt x="423" y="836"/>
                        </a:lnTo>
                        <a:lnTo>
                          <a:pt x="406" y="831"/>
                        </a:lnTo>
                        <a:lnTo>
                          <a:pt x="423" y="827"/>
                        </a:lnTo>
                        <a:lnTo>
                          <a:pt x="432" y="810"/>
                        </a:lnTo>
                        <a:lnTo>
                          <a:pt x="444" y="827"/>
                        </a:lnTo>
                        <a:lnTo>
                          <a:pt x="444" y="836"/>
                        </a:lnTo>
                        <a:lnTo>
                          <a:pt x="470" y="815"/>
                        </a:lnTo>
                        <a:lnTo>
                          <a:pt x="487" y="815"/>
                        </a:lnTo>
                        <a:lnTo>
                          <a:pt x="470" y="815"/>
                        </a:lnTo>
                        <a:lnTo>
                          <a:pt x="461" y="798"/>
                        </a:lnTo>
                        <a:lnTo>
                          <a:pt x="491" y="782"/>
                        </a:lnTo>
                        <a:lnTo>
                          <a:pt x="475" y="782"/>
                        </a:lnTo>
                        <a:lnTo>
                          <a:pt x="487" y="777"/>
                        </a:lnTo>
                        <a:lnTo>
                          <a:pt x="513" y="770"/>
                        </a:lnTo>
                        <a:lnTo>
                          <a:pt x="498" y="770"/>
                        </a:lnTo>
                        <a:lnTo>
                          <a:pt x="444" y="794"/>
                        </a:lnTo>
                        <a:lnTo>
                          <a:pt x="454" y="782"/>
                        </a:lnTo>
                        <a:lnTo>
                          <a:pt x="444" y="782"/>
                        </a:lnTo>
                        <a:lnTo>
                          <a:pt x="475" y="777"/>
                        </a:lnTo>
                        <a:lnTo>
                          <a:pt x="444" y="782"/>
                        </a:lnTo>
                        <a:lnTo>
                          <a:pt x="454" y="777"/>
                        </a:lnTo>
                        <a:lnTo>
                          <a:pt x="546" y="742"/>
                        </a:lnTo>
                        <a:lnTo>
                          <a:pt x="567" y="725"/>
                        </a:lnTo>
                        <a:lnTo>
                          <a:pt x="529" y="742"/>
                        </a:lnTo>
                        <a:lnTo>
                          <a:pt x="524" y="742"/>
                        </a:lnTo>
                        <a:lnTo>
                          <a:pt x="546" y="737"/>
                        </a:lnTo>
                        <a:lnTo>
                          <a:pt x="513" y="737"/>
                        </a:lnTo>
                        <a:lnTo>
                          <a:pt x="541" y="720"/>
                        </a:lnTo>
                        <a:lnTo>
                          <a:pt x="529" y="716"/>
                        </a:lnTo>
                        <a:lnTo>
                          <a:pt x="546" y="716"/>
                        </a:lnTo>
                        <a:lnTo>
                          <a:pt x="529" y="699"/>
                        </a:lnTo>
                        <a:lnTo>
                          <a:pt x="524" y="687"/>
                        </a:lnTo>
                        <a:lnTo>
                          <a:pt x="541" y="683"/>
                        </a:lnTo>
                        <a:lnTo>
                          <a:pt x="550" y="687"/>
                        </a:lnTo>
                        <a:lnTo>
                          <a:pt x="541" y="671"/>
                        </a:lnTo>
                        <a:lnTo>
                          <a:pt x="546" y="659"/>
                        </a:lnTo>
                        <a:lnTo>
                          <a:pt x="562" y="649"/>
                        </a:lnTo>
                        <a:lnTo>
                          <a:pt x="583" y="666"/>
                        </a:lnTo>
                        <a:lnTo>
                          <a:pt x="579" y="649"/>
                        </a:lnTo>
                        <a:lnTo>
                          <a:pt x="567" y="649"/>
                        </a:lnTo>
                        <a:lnTo>
                          <a:pt x="567" y="642"/>
                        </a:lnTo>
                        <a:lnTo>
                          <a:pt x="546" y="642"/>
                        </a:lnTo>
                        <a:lnTo>
                          <a:pt x="605" y="614"/>
                        </a:lnTo>
                        <a:lnTo>
                          <a:pt x="605" y="631"/>
                        </a:lnTo>
                        <a:lnTo>
                          <a:pt x="617" y="614"/>
                        </a:lnTo>
                        <a:lnTo>
                          <a:pt x="654" y="609"/>
                        </a:lnTo>
                        <a:lnTo>
                          <a:pt x="567" y="626"/>
                        </a:lnTo>
                        <a:lnTo>
                          <a:pt x="605" y="609"/>
                        </a:lnTo>
                        <a:lnTo>
                          <a:pt x="567" y="609"/>
                        </a:lnTo>
                        <a:lnTo>
                          <a:pt x="583" y="593"/>
                        </a:lnTo>
                        <a:lnTo>
                          <a:pt x="567" y="588"/>
                        </a:lnTo>
                        <a:lnTo>
                          <a:pt x="621" y="572"/>
                        </a:lnTo>
                        <a:lnTo>
                          <a:pt x="583" y="576"/>
                        </a:lnTo>
                        <a:lnTo>
                          <a:pt x="583" y="572"/>
                        </a:lnTo>
                        <a:lnTo>
                          <a:pt x="605" y="572"/>
                        </a:lnTo>
                        <a:lnTo>
                          <a:pt x="583" y="560"/>
                        </a:lnTo>
                        <a:lnTo>
                          <a:pt x="621" y="560"/>
                        </a:lnTo>
                        <a:lnTo>
                          <a:pt x="633" y="560"/>
                        </a:lnTo>
                        <a:lnTo>
                          <a:pt x="605" y="560"/>
                        </a:lnTo>
                        <a:lnTo>
                          <a:pt x="621" y="555"/>
                        </a:lnTo>
                        <a:lnTo>
                          <a:pt x="605" y="555"/>
                        </a:lnTo>
                        <a:lnTo>
                          <a:pt x="638" y="555"/>
                        </a:lnTo>
                        <a:lnTo>
                          <a:pt x="605" y="531"/>
                        </a:lnTo>
                        <a:lnTo>
                          <a:pt x="687" y="522"/>
                        </a:lnTo>
                        <a:lnTo>
                          <a:pt x="659" y="515"/>
                        </a:lnTo>
                        <a:lnTo>
                          <a:pt x="659" y="503"/>
                        </a:lnTo>
                        <a:lnTo>
                          <a:pt x="692" y="503"/>
                        </a:lnTo>
                        <a:lnTo>
                          <a:pt x="676" y="503"/>
                        </a:lnTo>
                        <a:lnTo>
                          <a:pt x="676" y="498"/>
                        </a:lnTo>
                        <a:lnTo>
                          <a:pt x="709" y="498"/>
                        </a:lnTo>
                        <a:lnTo>
                          <a:pt x="702" y="503"/>
                        </a:lnTo>
                        <a:lnTo>
                          <a:pt x="709" y="515"/>
                        </a:lnTo>
                        <a:lnTo>
                          <a:pt x="709" y="503"/>
                        </a:lnTo>
                        <a:lnTo>
                          <a:pt x="709" y="498"/>
                        </a:lnTo>
                        <a:lnTo>
                          <a:pt x="730" y="503"/>
                        </a:lnTo>
                        <a:lnTo>
                          <a:pt x="746" y="515"/>
                        </a:lnTo>
                        <a:lnTo>
                          <a:pt x="739" y="498"/>
                        </a:lnTo>
                        <a:lnTo>
                          <a:pt x="763" y="503"/>
                        </a:lnTo>
                        <a:lnTo>
                          <a:pt x="713" y="498"/>
                        </a:lnTo>
                        <a:lnTo>
                          <a:pt x="725" y="494"/>
                        </a:lnTo>
                        <a:lnTo>
                          <a:pt x="687" y="498"/>
                        </a:lnTo>
                        <a:lnTo>
                          <a:pt x="671" y="498"/>
                        </a:lnTo>
                        <a:lnTo>
                          <a:pt x="687" y="477"/>
                        </a:lnTo>
                        <a:lnTo>
                          <a:pt x="709" y="477"/>
                        </a:lnTo>
                        <a:lnTo>
                          <a:pt x="692" y="465"/>
                        </a:lnTo>
                        <a:lnTo>
                          <a:pt x="713" y="460"/>
                        </a:lnTo>
                        <a:lnTo>
                          <a:pt x="725" y="460"/>
                        </a:lnTo>
                        <a:lnTo>
                          <a:pt x="709" y="465"/>
                        </a:lnTo>
                        <a:lnTo>
                          <a:pt x="739" y="465"/>
                        </a:lnTo>
                        <a:lnTo>
                          <a:pt x="756" y="494"/>
                        </a:lnTo>
                        <a:lnTo>
                          <a:pt x="763" y="494"/>
                        </a:lnTo>
                        <a:lnTo>
                          <a:pt x="746" y="465"/>
                        </a:lnTo>
                        <a:lnTo>
                          <a:pt x="777" y="460"/>
                        </a:lnTo>
                        <a:lnTo>
                          <a:pt x="730" y="460"/>
                        </a:lnTo>
                        <a:lnTo>
                          <a:pt x="725" y="449"/>
                        </a:lnTo>
                        <a:lnTo>
                          <a:pt x="730" y="437"/>
                        </a:lnTo>
                        <a:lnTo>
                          <a:pt x="768" y="444"/>
                        </a:lnTo>
                        <a:lnTo>
                          <a:pt x="739" y="427"/>
                        </a:lnTo>
                        <a:lnTo>
                          <a:pt x="692" y="444"/>
                        </a:lnTo>
                        <a:lnTo>
                          <a:pt x="692" y="437"/>
                        </a:lnTo>
                        <a:lnTo>
                          <a:pt x="713" y="437"/>
                        </a:lnTo>
                        <a:lnTo>
                          <a:pt x="692" y="427"/>
                        </a:lnTo>
                        <a:lnTo>
                          <a:pt x="713" y="420"/>
                        </a:lnTo>
                        <a:lnTo>
                          <a:pt x="702" y="420"/>
                        </a:lnTo>
                        <a:lnTo>
                          <a:pt x="709" y="420"/>
                        </a:lnTo>
                        <a:lnTo>
                          <a:pt x="768" y="411"/>
                        </a:lnTo>
                        <a:lnTo>
                          <a:pt x="777" y="404"/>
                        </a:lnTo>
                        <a:lnTo>
                          <a:pt x="730" y="394"/>
                        </a:lnTo>
                        <a:lnTo>
                          <a:pt x="746" y="387"/>
                        </a:lnTo>
                        <a:lnTo>
                          <a:pt x="763" y="387"/>
                        </a:lnTo>
                        <a:lnTo>
                          <a:pt x="756" y="394"/>
                        </a:lnTo>
                        <a:lnTo>
                          <a:pt x="768" y="387"/>
                        </a:lnTo>
                        <a:lnTo>
                          <a:pt x="777" y="371"/>
                        </a:lnTo>
                        <a:lnTo>
                          <a:pt x="784" y="383"/>
                        </a:lnTo>
                        <a:lnTo>
                          <a:pt x="794" y="420"/>
                        </a:lnTo>
                        <a:lnTo>
                          <a:pt x="815" y="427"/>
                        </a:lnTo>
                        <a:lnTo>
                          <a:pt x="801" y="420"/>
                        </a:lnTo>
                        <a:lnTo>
                          <a:pt x="794" y="404"/>
                        </a:lnTo>
                        <a:lnTo>
                          <a:pt x="815" y="411"/>
                        </a:lnTo>
                        <a:lnTo>
                          <a:pt x="810" y="394"/>
                        </a:lnTo>
                        <a:lnTo>
                          <a:pt x="831" y="394"/>
                        </a:lnTo>
                        <a:lnTo>
                          <a:pt x="810" y="394"/>
                        </a:lnTo>
                        <a:lnTo>
                          <a:pt x="801" y="387"/>
                        </a:lnTo>
                        <a:lnTo>
                          <a:pt x="815" y="383"/>
                        </a:lnTo>
                        <a:lnTo>
                          <a:pt x="794" y="383"/>
                        </a:lnTo>
                        <a:lnTo>
                          <a:pt x="801" y="371"/>
                        </a:lnTo>
                        <a:lnTo>
                          <a:pt x="784" y="371"/>
                        </a:lnTo>
                        <a:lnTo>
                          <a:pt x="815" y="371"/>
                        </a:lnTo>
                        <a:lnTo>
                          <a:pt x="839" y="387"/>
                        </a:lnTo>
                        <a:lnTo>
                          <a:pt x="794" y="366"/>
                        </a:lnTo>
                        <a:lnTo>
                          <a:pt x="801" y="354"/>
                        </a:lnTo>
                        <a:lnTo>
                          <a:pt x="865" y="354"/>
                        </a:lnTo>
                        <a:lnTo>
                          <a:pt x="876" y="383"/>
                        </a:lnTo>
                        <a:lnTo>
                          <a:pt x="876" y="371"/>
                        </a:lnTo>
                        <a:lnTo>
                          <a:pt x="865" y="354"/>
                        </a:lnTo>
                        <a:lnTo>
                          <a:pt x="891" y="354"/>
                        </a:lnTo>
                        <a:lnTo>
                          <a:pt x="876" y="349"/>
                        </a:lnTo>
                        <a:lnTo>
                          <a:pt x="891" y="349"/>
                        </a:lnTo>
                        <a:lnTo>
                          <a:pt x="891" y="338"/>
                        </a:lnTo>
                        <a:lnTo>
                          <a:pt x="853" y="349"/>
                        </a:lnTo>
                        <a:lnTo>
                          <a:pt x="853" y="338"/>
                        </a:lnTo>
                        <a:lnTo>
                          <a:pt x="848" y="338"/>
                        </a:lnTo>
                        <a:lnTo>
                          <a:pt x="815" y="349"/>
                        </a:lnTo>
                        <a:lnTo>
                          <a:pt x="815" y="338"/>
                        </a:lnTo>
                        <a:lnTo>
                          <a:pt x="822" y="333"/>
                        </a:lnTo>
                        <a:lnTo>
                          <a:pt x="822" y="326"/>
                        </a:lnTo>
                        <a:lnTo>
                          <a:pt x="848" y="316"/>
                        </a:lnTo>
                        <a:lnTo>
                          <a:pt x="902" y="326"/>
                        </a:lnTo>
                        <a:lnTo>
                          <a:pt x="869" y="309"/>
                        </a:lnTo>
                        <a:lnTo>
                          <a:pt x="886" y="300"/>
                        </a:lnTo>
                        <a:lnTo>
                          <a:pt x="907" y="309"/>
                        </a:lnTo>
                        <a:lnTo>
                          <a:pt x="886" y="300"/>
                        </a:lnTo>
                        <a:lnTo>
                          <a:pt x="907" y="293"/>
                        </a:lnTo>
                        <a:lnTo>
                          <a:pt x="876" y="293"/>
                        </a:lnTo>
                        <a:lnTo>
                          <a:pt x="891" y="260"/>
                        </a:lnTo>
                        <a:lnTo>
                          <a:pt x="928" y="260"/>
                        </a:lnTo>
                        <a:lnTo>
                          <a:pt x="924" y="243"/>
                        </a:lnTo>
                        <a:lnTo>
                          <a:pt x="940" y="215"/>
                        </a:lnTo>
                        <a:lnTo>
                          <a:pt x="973" y="243"/>
                        </a:lnTo>
                        <a:lnTo>
                          <a:pt x="978" y="238"/>
                        </a:lnTo>
                        <a:lnTo>
                          <a:pt x="994" y="243"/>
                        </a:lnTo>
                        <a:lnTo>
                          <a:pt x="957" y="222"/>
                        </a:lnTo>
                        <a:lnTo>
                          <a:pt x="957" y="215"/>
                        </a:lnTo>
                        <a:lnTo>
                          <a:pt x="978" y="205"/>
                        </a:lnTo>
                        <a:lnTo>
                          <a:pt x="994" y="227"/>
                        </a:lnTo>
                        <a:lnTo>
                          <a:pt x="1016" y="238"/>
                        </a:lnTo>
                        <a:lnTo>
                          <a:pt x="999" y="243"/>
                        </a:lnTo>
                        <a:lnTo>
                          <a:pt x="1028" y="243"/>
                        </a:lnTo>
                        <a:lnTo>
                          <a:pt x="1028" y="238"/>
                        </a:lnTo>
                        <a:lnTo>
                          <a:pt x="994" y="222"/>
                        </a:lnTo>
                        <a:lnTo>
                          <a:pt x="1011" y="215"/>
                        </a:lnTo>
                        <a:lnTo>
                          <a:pt x="1011" y="205"/>
                        </a:lnTo>
                        <a:lnTo>
                          <a:pt x="994" y="215"/>
                        </a:lnTo>
                        <a:lnTo>
                          <a:pt x="983" y="198"/>
                        </a:lnTo>
                        <a:lnTo>
                          <a:pt x="1011" y="182"/>
                        </a:lnTo>
                        <a:lnTo>
                          <a:pt x="1049" y="172"/>
                        </a:lnTo>
                        <a:lnTo>
                          <a:pt x="1042" y="198"/>
                        </a:lnTo>
                        <a:lnTo>
                          <a:pt x="1032" y="227"/>
                        </a:lnTo>
                        <a:lnTo>
                          <a:pt x="1042" y="222"/>
                        </a:lnTo>
                        <a:lnTo>
                          <a:pt x="1049" y="189"/>
                        </a:lnTo>
                        <a:lnTo>
                          <a:pt x="1087" y="160"/>
                        </a:lnTo>
                        <a:lnTo>
                          <a:pt x="1096" y="165"/>
                        </a:lnTo>
                        <a:lnTo>
                          <a:pt x="1080" y="222"/>
                        </a:lnTo>
                        <a:lnTo>
                          <a:pt x="1054" y="243"/>
                        </a:lnTo>
                        <a:lnTo>
                          <a:pt x="1096" y="205"/>
                        </a:lnTo>
                        <a:lnTo>
                          <a:pt x="1124" y="215"/>
                        </a:lnTo>
                        <a:lnTo>
                          <a:pt x="1096" y="198"/>
                        </a:lnTo>
                        <a:lnTo>
                          <a:pt x="1103" y="182"/>
                        </a:lnTo>
                        <a:lnTo>
                          <a:pt x="1141" y="160"/>
                        </a:lnTo>
                        <a:lnTo>
                          <a:pt x="1124" y="165"/>
                        </a:lnTo>
                        <a:lnTo>
                          <a:pt x="1134" y="172"/>
                        </a:lnTo>
                        <a:lnTo>
                          <a:pt x="1155" y="149"/>
                        </a:lnTo>
                        <a:lnTo>
                          <a:pt x="1209" y="182"/>
                        </a:lnTo>
                        <a:lnTo>
                          <a:pt x="1188" y="144"/>
                        </a:lnTo>
                        <a:lnTo>
                          <a:pt x="1209" y="132"/>
                        </a:lnTo>
                        <a:lnTo>
                          <a:pt x="1162" y="132"/>
                        </a:lnTo>
                        <a:lnTo>
                          <a:pt x="1150" y="127"/>
                        </a:lnTo>
                        <a:lnTo>
                          <a:pt x="1155" y="116"/>
                        </a:lnTo>
                        <a:lnTo>
                          <a:pt x="1172" y="111"/>
                        </a:lnTo>
                        <a:lnTo>
                          <a:pt x="1188" y="116"/>
                        </a:lnTo>
                        <a:lnTo>
                          <a:pt x="1205" y="111"/>
                        </a:lnTo>
                        <a:lnTo>
                          <a:pt x="1226" y="111"/>
                        </a:lnTo>
                        <a:lnTo>
                          <a:pt x="1226" y="127"/>
                        </a:lnTo>
                        <a:lnTo>
                          <a:pt x="1243" y="132"/>
                        </a:lnTo>
                        <a:lnTo>
                          <a:pt x="1226" y="127"/>
                        </a:lnTo>
                        <a:lnTo>
                          <a:pt x="1231" y="116"/>
                        </a:lnTo>
                        <a:lnTo>
                          <a:pt x="1268" y="127"/>
                        </a:lnTo>
                        <a:lnTo>
                          <a:pt x="1259" y="132"/>
                        </a:lnTo>
                        <a:lnTo>
                          <a:pt x="1226" y="144"/>
                        </a:lnTo>
                        <a:lnTo>
                          <a:pt x="1264" y="132"/>
                        </a:lnTo>
                        <a:lnTo>
                          <a:pt x="1297" y="160"/>
                        </a:lnTo>
                        <a:lnTo>
                          <a:pt x="1313" y="149"/>
                        </a:lnTo>
                        <a:lnTo>
                          <a:pt x="1285" y="144"/>
                        </a:lnTo>
                        <a:lnTo>
                          <a:pt x="1297" y="132"/>
                        </a:lnTo>
                        <a:lnTo>
                          <a:pt x="1297" y="116"/>
                        </a:lnTo>
                        <a:lnTo>
                          <a:pt x="1313" y="116"/>
                        </a:lnTo>
                        <a:lnTo>
                          <a:pt x="1302" y="116"/>
                        </a:lnTo>
                        <a:lnTo>
                          <a:pt x="1318" y="94"/>
                        </a:lnTo>
                        <a:lnTo>
                          <a:pt x="1339" y="87"/>
                        </a:lnTo>
                        <a:lnTo>
                          <a:pt x="1368" y="94"/>
                        </a:lnTo>
                        <a:lnTo>
                          <a:pt x="1356" y="78"/>
                        </a:lnTo>
                        <a:lnTo>
                          <a:pt x="1368" y="61"/>
                        </a:lnTo>
                        <a:lnTo>
                          <a:pt x="1394" y="71"/>
                        </a:lnTo>
                        <a:lnTo>
                          <a:pt x="1377" y="54"/>
                        </a:lnTo>
                        <a:lnTo>
                          <a:pt x="1356" y="49"/>
                        </a:lnTo>
                        <a:lnTo>
                          <a:pt x="1372" y="38"/>
                        </a:lnTo>
                        <a:lnTo>
                          <a:pt x="1389" y="49"/>
                        </a:lnTo>
                        <a:lnTo>
                          <a:pt x="1389" y="21"/>
                        </a:lnTo>
                        <a:lnTo>
                          <a:pt x="1405" y="33"/>
                        </a:lnTo>
                        <a:lnTo>
                          <a:pt x="1410" y="21"/>
                        </a:lnTo>
                        <a:lnTo>
                          <a:pt x="1431" y="49"/>
                        </a:lnTo>
                        <a:lnTo>
                          <a:pt x="1443" y="38"/>
                        </a:lnTo>
                        <a:lnTo>
                          <a:pt x="1443" y="21"/>
                        </a:lnTo>
                        <a:lnTo>
                          <a:pt x="1481" y="33"/>
                        </a:lnTo>
                        <a:lnTo>
                          <a:pt x="1420" y="87"/>
                        </a:lnTo>
                        <a:lnTo>
                          <a:pt x="1431" y="87"/>
                        </a:lnTo>
                        <a:lnTo>
                          <a:pt x="1431" y="104"/>
                        </a:lnTo>
                        <a:lnTo>
                          <a:pt x="1420" y="104"/>
                        </a:lnTo>
                        <a:lnTo>
                          <a:pt x="1420" y="116"/>
                        </a:lnTo>
                        <a:lnTo>
                          <a:pt x="1410" y="116"/>
                        </a:lnTo>
                        <a:lnTo>
                          <a:pt x="1410" y="144"/>
                        </a:lnTo>
                        <a:lnTo>
                          <a:pt x="1420" y="144"/>
                        </a:lnTo>
                        <a:lnTo>
                          <a:pt x="1420" y="132"/>
                        </a:lnTo>
                        <a:lnTo>
                          <a:pt x="1420" y="144"/>
                        </a:lnTo>
                        <a:lnTo>
                          <a:pt x="1427" y="144"/>
                        </a:lnTo>
                        <a:lnTo>
                          <a:pt x="1448" y="116"/>
                        </a:lnTo>
                        <a:lnTo>
                          <a:pt x="1443" y="104"/>
                        </a:lnTo>
                        <a:lnTo>
                          <a:pt x="1528" y="33"/>
                        </a:lnTo>
                        <a:lnTo>
                          <a:pt x="1533" y="33"/>
                        </a:lnTo>
                        <a:lnTo>
                          <a:pt x="1533" y="54"/>
                        </a:lnTo>
                        <a:lnTo>
                          <a:pt x="1502" y="71"/>
                        </a:lnTo>
                        <a:lnTo>
                          <a:pt x="1528" y="71"/>
                        </a:lnTo>
                        <a:lnTo>
                          <a:pt x="1519" y="104"/>
                        </a:lnTo>
                        <a:lnTo>
                          <a:pt x="1557" y="87"/>
                        </a:lnTo>
                        <a:lnTo>
                          <a:pt x="1550" y="78"/>
                        </a:lnTo>
                        <a:lnTo>
                          <a:pt x="1557" y="71"/>
                        </a:lnTo>
                        <a:lnTo>
                          <a:pt x="1571" y="78"/>
                        </a:lnTo>
                        <a:lnTo>
                          <a:pt x="1566" y="71"/>
                        </a:lnTo>
                        <a:lnTo>
                          <a:pt x="1566" y="54"/>
                        </a:lnTo>
                        <a:lnTo>
                          <a:pt x="1571" y="38"/>
                        </a:lnTo>
                        <a:lnTo>
                          <a:pt x="1594" y="49"/>
                        </a:lnTo>
                        <a:lnTo>
                          <a:pt x="1566" y="21"/>
                        </a:lnTo>
                        <a:lnTo>
                          <a:pt x="1594" y="5"/>
                        </a:lnTo>
                        <a:lnTo>
                          <a:pt x="1609" y="16"/>
                        </a:lnTo>
                        <a:lnTo>
                          <a:pt x="1637" y="5"/>
                        </a:lnTo>
                        <a:lnTo>
                          <a:pt x="1663" y="21"/>
                        </a:lnTo>
                        <a:lnTo>
                          <a:pt x="1642" y="49"/>
                        </a:lnTo>
                        <a:lnTo>
                          <a:pt x="1604" y="49"/>
                        </a:lnTo>
                        <a:lnTo>
                          <a:pt x="1637" y="54"/>
                        </a:lnTo>
                        <a:lnTo>
                          <a:pt x="1594" y="71"/>
                        </a:lnTo>
                        <a:lnTo>
                          <a:pt x="1642" y="54"/>
                        </a:lnTo>
                        <a:lnTo>
                          <a:pt x="1642" y="71"/>
                        </a:lnTo>
                        <a:lnTo>
                          <a:pt x="1609" y="87"/>
                        </a:lnTo>
                        <a:lnTo>
                          <a:pt x="1637" y="87"/>
                        </a:lnTo>
                        <a:lnTo>
                          <a:pt x="1625" y="94"/>
                        </a:lnTo>
                        <a:lnTo>
                          <a:pt x="1637" y="94"/>
                        </a:lnTo>
                        <a:lnTo>
                          <a:pt x="1646" y="87"/>
                        </a:lnTo>
                        <a:lnTo>
                          <a:pt x="1637" y="104"/>
                        </a:lnTo>
                        <a:lnTo>
                          <a:pt x="1637" y="127"/>
                        </a:lnTo>
                        <a:lnTo>
                          <a:pt x="1625" y="144"/>
                        </a:lnTo>
                        <a:lnTo>
                          <a:pt x="1642" y="127"/>
                        </a:lnTo>
                        <a:lnTo>
                          <a:pt x="1642" y="104"/>
                        </a:lnTo>
                        <a:lnTo>
                          <a:pt x="1658" y="54"/>
                        </a:lnTo>
                        <a:lnTo>
                          <a:pt x="1675" y="38"/>
                        </a:lnTo>
                        <a:lnTo>
                          <a:pt x="1696" y="38"/>
                        </a:lnTo>
                        <a:lnTo>
                          <a:pt x="1713" y="38"/>
                        </a:lnTo>
                        <a:lnTo>
                          <a:pt x="1717" y="61"/>
                        </a:lnTo>
                        <a:lnTo>
                          <a:pt x="1750" y="54"/>
                        </a:lnTo>
                        <a:lnTo>
                          <a:pt x="1746" y="71"/>
                        </a:lnTo>
                        <a:lnTo>
                          <a:pt x="1772" y="54"/>
                        </a:lnTo>
                        <a:lnTo>
                          <a:pt x="1788" y="71"/>
                        </a:lnTo>
                        <a:lnTo>
                          <a:pt x="1767" y="78"/>
                        </a:lnTo>
                        <a:lnTo>
                          <a:pt x="1805" y="78"/>
                        </a:lnTo>
                        <a:lnTo>
                          <a:pt x="1826" y="94"/>
                        </a:lnTo>
                        <a:lnTo>
                          <a:pt x="1842" y="111"/>
                        </a:lnTo>
                        <a:lnTo>
                          <a:pt x="1798" y="116"/>
                        </a:lnTo>
                        <a:lnTo>
                          <a:pt x="1772" y="144"/>
                        </a:lnTo>
                        <a:lnTo>
                          <a:pt x="1675" y="127"/>
                        </a:lnTo>
                        <a:lnTo>
                          <a:pt x="1663" y="127"/>
                        </a:lnTo>
                        <a:lnTo>
                          <a:pt x="1675" y="127"/>
                        </a:lnTo>
                        <a:lnTo>
                          <a:pt x="1663" y="132"/>
                        </a:lnTo>
                        <a:lnTo>
                          <a:pt x="1746" y="160"/>
                        </a:lnTo>
                        <a:lnTo>
                          <a:pt x="1717" y="165"/>
                        </a:lnTo>
                        <a:lnTo>
                          <a:pt x="1746" y="165"/>
                        </a:lnTo>
                        <a:lnTo>
                          <a:pt x="1750" y="172"/>
                        </a:lnTo>
                        <a:lnTo>
                          <a:pt x="1729" y="198"/>
                        </a:lnTo>
                        <a:lnTo>
                          <a:pt x="1755" y="182"/>
                        </a:lnTo>
                        <a:lnTo>
                          <a:pt x="1772" y="189"/>
                        </a:lnTo>
                        <a:lnTo>
                          <a:pt x="1772" y="182"/>
                        </a:lnTo>
                        <a:lnTo>
                          <a:pt x="1772" y="165"/>
                        </a:lnTo>
                        <a:lnTo>
                          <a:pt x="1788" y="172"/>
                        </a:lnTo>
                        <a:lnTo>
                          <a:pt x="1788" y="189"/>
                        </a:lnTo>
                        <a:lnTo>
                          <a:pt x="1798" y="189"/>
                        </a:lnTo>
                        <a:lnTo>
                          <a:pt x="1798" y="172"/>
                        </a:lnTo>
                        <a:lnTo>
                          <a:pt x="1826" y="172"/>
                        </a:lnTo>
                        <a:lnTo>
                          <a:pt x="1826" y="172"/>
                        </a:lnTo>
                        <a:lnTo>
                          <a:pt x="1826" y="172"/>
                        </a:lnTo>
                        <a:close/>
                        <a:moveTo>
                          <a:pt x="1394" y="16"/>
                        </a:moveTo>
                        <a:lnTo>
                          <a:pt x="1389" y="5"/>
                        </a:lnTo>
                        <a:lnTo>
                          <a:pt x="1405" y="5"/>
                        </a:lnTo>
                        <a:lnTo>
                          <a:pt x="1394" y="16"/>
                        </a:lnTo>
                        <a:lnTo>
                          <a:pt x="1394" y="16"/>
                        </a:lnTo>
                        <a:lnTo>
                          <a:pt x="1394" y="16"/>
                        </a:lnTo>
                        <a:close/>
                        <a:moveTo>
                          <a:pt x="1351" y="33"/>
                        </a:moveTo>
                        <a:lnTo>
                          <a:pt x="1335" y="21"/>
                        </a:lnTo>
                        <a:lnTo>
                          <a:pt x="1356" y="21"/>
                        </a:lnTo>
                        <a:lnTo>
                          <a:pt x="1351" y="33"/>
                        </a:lnTo>
                        <a:lnTo>
                          <a:pt x="1351" y="33"/>
                        </a:lnTo>
                        <a:lnTo>
                          <a:pt x="1351" y="33"/>
                        </a:lnTo>
                        <a:close/>
                        <a:moveTo>
                          <a:pt x="1217" y="87"/>
                        </a:moveTo>
                        <a:lnTo>
                          <a:pt x="1217" y="71"/>
                        </a:lnTo>
                        <a:lnTo>
                          <a:pt x="1205" y="61"/>
                        </a:lnTo>
                        <a:lnTo>
                          <a:pt x="1243" y="54"/>
                        </a:lnTo>
                        <a:lnTo>
                          <a:pt x="1247" y="61"/>
                        </a:lnTo>
                        <a:lnTo>
                          <a:pt x="1247" y="71"/>
                        </a:lnTo>
                        <a:lnTo>
                          <a:pt x="1259" y="71"/>
                        </a:lnTo>
                        <a:lnTo>
                          <a:pt x="1259" y="54"/>
                        </a:lnTo>
                        <a:lnTo>
                          <a:pt x="1268" y="61"/>
                        </a:lnTo>
                        <a:lnTo>
                          <a:pt x="1285" y="49"/>
                        </a:lnTo>
                        <a:lnTo>
                          <a:pt x="1297" y="49"/>
                        </a:lnTo>
                        <a:lnTo>
                          <a:pt x="1297" y="38"/>
                        </a:lnTo>
                        <a:lnTo>
                          <a:pt x="1302" y="49"/>
                        </a:lnTo>
                        <a:lnTo>
                          <a:pt x="1280" y="78"/>
                        </a:lnTo>
                        <a:lnTo>
                          <a:pt x="1217" y="87"/>
                        </a:lnTo>
                        <a:lnTo>
                          <a:pt x="1217" y="87"/>
                        </a:lnTo>
                        <a:lnTo>
                          <a:pt x="1217" y="87"/>
                        </a:lnTo>
                        <a:close/>
                        <a:moveTo>
                          <a:pt x="1335" y="87"/>
                        </a:moveTo>
                        <a:lnTo>
                          <a:pt x="1323" y="78"/>
                        </a:lnTo>
                        <a:lnTo>
                          <a:pt x="1318" y="61"/>
                        </a:lnTo>
                        <a:lnTo>
                          <a:pt x="1335" y="54"/>
                        </a:lnTo>
                        <a:lnTo>
                          <a:pt x="1351" y="71"/>
                        </a:lnTo>
                        <a:lnTo>
                          <a:pt x="1335" y="87"/>
                        </a:lnTo>
                        <a:lnTo>
                          <a:pt x="1335" y="87"/>
                        </a:lnTo>
                        <a:lnTo>
                          <a:pt x="1335" y="87"/>
                        </a:lnTo>
                        <a:close/>
                        <a:moveTo>
                          <a:pt x="1280" y="116"/>
                        </a:moveTo>
                        <a:lnTo>
                          <a:pt x="1264" y="94"/>
                        </a:lnTo>
                        <a:lnTo>
                          <a:pt x="1302" y="78"/>
                        </a:lnTo>
                        <a:lnTo>
                          <a:pt x="1302" y="71"/>
                        </a:lnTo>
                        <a:lnTo>
                          <a:pt x="1318" y="87"/>
                        </a:lnTo>
                        <a:lnTo>
                          <a:pt x="1313" y="104"/>
                        </a:lnTo>
                        <a:lnTo>
                          <a:pt x="1280" y="116"/>
                        </a:lnTo>
                        <a:lnTo>
                          <a:pt x="1280" y="116"/>
                        </a:lnTo>
                        <a:lnTo>
                          <a:pt x="1280" y="116"/>
                        </a:lnTo>
                        <a:close/>
                        <a:moveTo>
                          <a:pt x="1268" y="116"/>
                        </a:moveTo>
                        <a:lnTo>
                          <a:pt x="1226" y="111"/>
                        </a:lnTo>
                        <a:lnTo>
                          <a:pt x="1247" y="104"/>
                        </a:lnTo>
                        <a:lnTo>
                          <a:pt x="1268" y="116"/>
                        </a:lnTo>
                        <a:lnTo>
                          <a:pt x="1268" y="116"/>
                        </a:lnTo>
                        <a:lnTo>
                          <a:pt x="1268" y="116"/>
                        </a:lnTo>
                        <a:close/>
                        <a:moveTo>
                          <a:pt x="1188" y="116"/>
                        </a:moveTo>
                        <a:lnTo>
                          <a:pt x="1179" y="104"/>
                        </a:lnTo>
                        <a:lnTo>
                          <a:pt x="1193" y="104"/>
                        </a:lnTo>
                        <a:lnTo>
                          <a:pt x="1188" y="116"/>
                        </a:lnTo>
                        <a:lnTo>
                          <a:pt x="1188" y="116"/>
                        </a:lnTo>
                        <a:lnTo>
                          <a:pt x="1188" y="116"/>
                        </a:lnTo>
                        <a:close/>
                        <a:moveTo>
                          <a:pt x="1054" y="144"/>
                        </a:moveTo>
                        <a:lnTo>
                          <a:pt x="1049" y="144"/>
                        </a:lnTo>
                        <a:lnTo>
                          <a:pt x="1032" y="116"/>
                        </a:lnTo>
                        <a:lnTo>
                          <a:pt x="1042" y="111"/>
                        </a:lnTo>
                        <a:lnTo>
                          <a:pt x="1070" y="132"/>
                        </a:lnTo>
                        <a:lnTo>
                          <a:pt x="1054" y="144"/>
                        </a:lnTo>
                        <a:lnTo>
                          <a:pt x="1054" y="144"/>
                        </a:lnTo>
                        <a:lnTo>
                          <a:pt x="1054" y="144"/>
                        </a:lnTo>
                        <a:close/>
                        <a:moveTo>
                          <a:pt x="999" y="132"/>
                        </a:moveTo>
                        <a:lnTo>
                          <a:pt x="994" y="127"/>
                        </a:lnTo>
                        <a:lnTo>
                          <a:pt x="1011" y="116"/>
                        </a:lnTo>
                        <a:lnTo>
                          <a:pt x="1011" y="132"/>
                        </a:lnTo>
                        <a:lnTo>
                          <a:pt x="999" y="132"/>
                        </a:lnTo>
                        <a:lnTo>
                          <a:pt x="999" y="132"/>
                        </a:lnTo>
                        <a:lnTo>
                          <a:pt x="999" y="132"/>
                        </a:lnTo>
                        <a:close/>
                        <a:moveTo>
                          <a:pt x="1103" y="144"/>
                        </a:moveTo>
                        <a:lnTo>
                          <a:pt x="1087" y="144"/>
                        </a:lnTo>
                        <a:lnTo>
                          <a:pt x="1096" y="127"/>
                        </a:lnTo>
                        <a:lnTo>
                          <a:pt x="1103" y="116"/>
                        </a:lnTo>
                        <a:lnTo>
                          <a:pt x="1117" y="127"/>
                        </a:lnTo>
                        <a:lnTo>
                          <a:pt x="1117" y="144"/>
                        </a:lnTo>
                        <a:lnTo>
                          <a:pt x="1103" y="144"/>
                        </a:lnTo>
                        <a:lnTo>
                          <a:pt x="1103" y="144"/>
                        </a:lnTo>
                        <a:lnTo>
                          <a:pt x="1103" y="144"/>
                        </a:lnTo>
                        <a:close/>
                        <a:moveTo>
                          <a:pt x="1032" y="132"/>
                        </a:moveTo>
                        <a:lnTo>
                          <a:pt x="1016" y="132"/>
                        </a:lnTo>
                        <a:lnTo>
                          <a:pt x="1028" y="127"/>
                        </a:lnTo>
                        <a:lnTo>
                          <a:pt x="1032" y="132"/>
                        </a:lnTo>
                        <a:lnTo>
                          <a:pt x="1032" y="132"/>
                        </a:lnTo>
                        <a:lnTo>
                          <a:pt x="1032" y="132"/>
                        </a:lnTo>
                        <a:close/>
                        <a:moveTo>
                          <a:pt x="1124" y="144"/>
                        </a:moveTo>
                        <a:lnTo>
                          <a:pt x="1117" y="132"/>
                        </a:lnTo>
                        <a:lnTo>
                          <a:pt x="1124" y="132"/>
                        </a:lnTo>
                        <a:lnTo>
                          <a:pt x="1124" y="144"/>
                        </a:lnTo>
                        <a:lnTo>
                          <a:pt x="1124" y="144"/>
                        </a:lnTo>
                        <a:lnTo>
                          <a:pt x="1124" y="144"/>
                        </a:lnTo>
                        <a:close/>
                        <a:moveTo>
                          <a:pt x="973" y="149"/>
                        </a:moveTo>
                        <a:lnTo>
                          <a:pt x="973" y="132"/>
                        </a:lnTo>
                        <a:lnTo>
                          <a:pt x="994" y="144"/>
                        </a:lnTo>
                        <a:lnTo>
                          <a:pt x="973" y="149"/>
                        </a:lnTo>
                        <a:lnTo>
                          <a:pt x="973" y="149"/>
                        </a:lnTo>
                        <a:lnTo>
                          <a:pt x="973" y="149"/>
                        </a:lnTo>
                        <a:close/>
                        <a:moveTo>
                          <a:pt x="999" y="172"/>
                        </a:moveTo>
                        <a:lnTo>
                          <a:pt x="973" y="160"/>
                        </a:lnTo>
                        <a:lnTo>
                          <a:pt x="1011" y="132"/>
                        </a:lnTo>
                        <a:lnTo>
                          <a:pt x="1016" y="149"/>
                        </a:lnTo>
                        <a:lnTo>
                          <a:pt x="1032" y="144"/>
                        </a:lnTo>
                        <a:lnTo>
                          <a:pt x="1042" y="149"/>
                        </a:lnTo>
                        <a:lnTo>
                          <a:pt x="999" y="172"/>
                        </a:lnTo>
                        <a:lnTo>
                          <a:pt x="999" y="172"/>
                        </a:lnTo>
                        <a:lnTo>
                          <a:pt x="999" y="172"/>
                        </a:lnTo>
                        <a:close/>
                        <a:moveTo>
                          <a:pt x="1124" y="160"/>
                        </a:moveTo>
                        <a:lnTo>
                          <a:pt x="1117" y="149"/>
                        </a:lnTo>
                        <a:lnTo>
                          <a:pt x="1141" y="149"/>
                        </a:lnTo>
                        <a:lnTo>
                          <a:pt x="1124" y="160"/>
                        </a:lnTo>
                        <a:lnTo>
                          <a:pt x="1124" y="160"/>
                        </a:lnTo>
                        <a:lnTo>
                          <a:pt x="1124" y="160"/>
                        </a:lnTo>
                        <a:close/>
                        <a:moveTo>
                          <a:pt x="1028" y="172"/>
                        </a:moveTo>
                        <a:lnTo>
                          <a:pt x="1049" y="149"/>
                        </a:lnTo>
                        <a:lnTo>
                          <a:pt x="1054" y="160"/>
                        </a:lnTo>
                        <a:lnTo>
                          <a:pt x="1049" y="165"/>
                        </a:lnTo>
                        <a:lnTo>
                          <a:pt x="1028" y="172"/>
                        </a:lnTo>
                        <a:lnTo>
                          <a:pt x="1028" y="172"/>
                        </a:lnTo>
                        <a:lnTo>
                          <a:pt x="1028" y="172"/>
                        </a:lnTo>
                        <a:close/>
                        <a:moveTo>
                          <a:pt x="1750" y="182"/>
                        </a:moveTo>
                        <a:lnTo>
                          <a:pt x="1746" y="182"/>
                        </a:lnTo>
                        <a:lnTo>
                          <a:pt x="1750" y="165"/>
                        </a:lnTo>
                        <a:lnTo>
                          <a:pt x="1767" y="172"/>
                        </a:lnTo>
                        <a:lnTo>
                          <a:pt x="1750" y="182"/>
                        </a:lnTo>
                        <a:lnTo>
                          <a:pt x="1750" y="182"/>
                        </a:lnTo>
                        <a:lnTo>
                          <a:pt x="1750" y="182"/>
                        </a:lnTo>
                        <a:close/>
                        <a:moveTo>
                          <a:pt x="1103" y="172"/>
                        </a:moveTo>
                        <a:lnTo>
                          <a:pt x="1103" y="165"/>
                        </a:lnTo>
                        <a:lnTo>
                          <a:pt x="1117" y="165"/>
                        </a:lnTo>
                        <a:lnTo>
                          <a:pt x="1117" y="172"/>
                        </a:lnTo>
                        <a:lnTo>
                          <a:pt x="1103" y="172"/>
                        </a:lnTo>
                        <a:lnTo>
                          <a:pt x="1103" y="172"/>
                        </a:lnTo>
                        <a:lnTo>
                          <a:pt x="1103" y="172"/>
                        </a:lnTo>
                        <a:close/>
                        <a:moveTo>
                          <a:pt x="945" y="189"/>
                        </a:moveTo>
                        <a:lnTo>
                          <a:pt x="961" y="189"/>
                        </a:lnTo>
                        <a:lnTo>
                          <a:pt x="945" y="189"/>
                        </a:lnTo>
                        <a:lnTo>
                          <a:pt x="945" y="172"/>
                        </a:lnTo>
                        <a:lnTo>
                          <a:pt x="978" y="189"/>
                        </a:lnTo>
                        <a:lnTo>
                          <a:pt x="973" y="165"/>
                        </a:lnTo>
                        <a:lnTo>
                          <a:pt x="994" y="182"/>
                        </a:lnTo>
                        <a:lnTo>
                          <a:pt x="978" y="189"/>
                        </a:lnTo>
                        <a:lnTo>
                          <a:pt x="978" y="205"/>
                        </a:lnTo>
                        <a:lnTo>
                          <a:pt x="973" y="205"/>
                        </a:lnTo>
                        <a:lnTo>
                          <a:pt x="924" y="205"/>
                        </a:lnTo>
                        <a:lnTo>
                          <a:pt x="940" y="198"/>
                        </a:lnTo>
                        <a:lnTo>
                          <a:pt x="928" y="189"/>
                        </a:lnTo>
                        <a:lnTo>
                          <a:pt x="945" y="189"/>
                        </a:lnTo>
                        <a:lnTo>
                          <a:pt x="945" y="189"/>
                        </a:lnTo>
                        <a:lnTo>
                          <a:pt x="945" y="189"/>
                        </a:lnTo>
                        <a:close/>
                        <a:moveTo>
                          <a:pt x="839" y="255"/>
                        </a:moveTo>
                        <a:lnTo>
                          <a:pt x="865" y="243"/>
                        </a:lnTo>
                        <a:lnTo>
                          <a:pt x="848" y="238"/>
                        </a:lnTo>
                        <a:lnTo>
                          <a:pt x="853" y="238"/>
                        </a:lnTo>
                        <a:lnTo>
                          <a:pt x="839" y="227"/>
                        </a:lnTo>
                        <a:lnTo>
                          <a:pt x="848" y="227"/>
                        </a:lnTo>
                        <a:lnTo>
                          <a:pt x="886" y="222"/>
                        </a:lnTo>
                        <a:lnTo>
                          <a:pt x="865" y="215"/>
                        </a:lnTo>
                        <a:lnTo>
                          <a:pt x="891" y="222"/>
                        </a:lnTo>
                        <a:lnTo>
                          <a:pt x="886" y="205"/>
                        </a:lnTo>
                        <a:lnTo>
                          <a:pt x="902" y="215"/>
                        </a:lnTo>
                        <a:lnTo>
                          <a:pt x="891" y="205"/>
                        </a:lnTo>
                        <a:lnTo>
                          <a:pt x="907" y="205"/>
                        </a:lnTo>
                        <a:lnTo>
                          <a:pt x="928" y="227"/>
                        </a:lnTo>
                        <a:lnTo>
                          <a:pt x="919" y="238"/>
                        </a:lnTo>
                        <a:lnTo>
                          <a:pt x="919" y="243"/>
                        </a:lnTo>
                        <a:lnTo>
                          <a:pt x="924" y="255"/>
                        </a:lnTo>
                        <a:lnTo>
                          <a:pt x="886" y="255"/>
                        </a:lnTo>
                        <a:lnTo>
                          <a:pt x="853" y="276"/>
                        </a:lnTo>
                        <a:lnTo>
                          <a:pt x="865" y="272"/>
                        </a:lnTo>
                        <a:lnTo>
                          <a:pt x="831" y="272"/>
                        </a:lnTo>
                        <a:lnTo>
                          <a:pt x="865" y="255"/>
                        </a:lnTo>
                        <a:lnTo>
                          <a:pt x="839" y="255"/>
                        </a:lnTo>
                        <a:lnTo>
                          <a:pt x="839" y="255"/>
                        </a:lnTo>
                        <a:lnTo>
                          <a:pt x="839" y="255"/>
                        </a:lnTo>
                        <a:close/>
                        <a:moveTo>
                          <a:pt x="746" y="293"/>
                        </a:moveTo>
                        <a:lnTo>
                          <a:pt x="739" y="276"/>
                        </a:lnTo>
                        <a:lnTo>
                          <a:pt x="746" y="272"/>
                        </a:lnTo>
                        <a:lnTo>
                          <a:pt x="794" y="243"/>
                        </a:lnTo>
                        <a:lnTo>
                          <a:pt x="784" y="260"/>
                        </a:lnTo>
                        <a:lnTo>
                          <a:pt x="746" y="293"/>
                        </a:lnTo>
                        <a:lnTo>
                          <a:pt x="746" y="293"/>
                        </a:lnTo>
                        <a:lnTo>
                          <a:pt x="746" y="293"/>
                        </a:lnTo>
                        <a:close/>
                        <a:moveTo>
                          <a:pt x="876" y="276"/>
                        </a:moveTo>
                        <a:lnTo>
                          <a:pt x="876" y="272"/>
                        </a:lnTo>
                        <a:lnTo>
                          <a:pt x="891" y="272"/>
                        </a:lnTo>
                        <a:lnTo>
                          <a:pt x="876" y="276"/>
                        </a:lnTo>
                        <a:lnTo>
                          <a:pt x="876" y="276"/>
                        </a:lnTo>
                        <a:lnTo>
                          <a:pt x="876" y="276"/>
                        </a:lnTo>
                        <a:close/>
                        <a:moveTo>
                          <a:pt x="676" y="326"/>
                        </a:moveTo>
                        <a:lnTo>
                          <a:pt x="671" y="316"/>
                        </a:lnTo>
                        <a:lnTo>
                          <a:pt x="676" y="300"/>
                        </a:lnTo>
                        <a:lnTo>
                          <a:pt x="702" y="309"/>
                        </a:lnTo>
                        <a:lnTo>
                          <a:pt x="709" y="293"/>
                        </a:lnTo>
                        <a:lnTo>
                          <a:pt x="725" y="300"/>
                        </a:lnTo>
                        <a:lnTo>
                          <a:pt x="709" y="283"/>
                        </a:lnTo>
                        <a:lnTo>
                          <a:pt x="713" y="276"/>
                        </a:lnTo>
                        <a:lnTo>
                          <a:pt x="739" y="300"/>
                        </a:lnTo>
                        <a:lnTo>
                          <a:pt x="739" y="316"/>
                        </a:lnTo>
                        <a:lnTo>
                          <a:pt x="713" y="333"/>
                        </a:lnTo>
                        <a:lnTo>
                          <a:pt x="702" y="326"/>
                        </a:lnTo>
                        <a:lnTo>
                          <a:pt x="725" y="309"/>
                        </a:lnTo>
                        <a:lnTo>
                          <a:pt x="676" y="326"/>
                        </a:lnTo>
                        <a:lnTo>
                          <a:pt x="676" y="326"/>
                        </a:lnTo>
                        <a:lnTo>
                          <a:pt x="676" y="326"/>
                        </a:lnTo>
                        <a:close/>
                        <a:moveTo>
                          <a:pt x="815" y="293"/>
                        </a:moveTo>
                        <a:lnTo>
                          <a:pt x="801" y="283"/>
                        </a:lnTo>
                        <a:lnTo>
                          <a:pt x="822" y="283"/>
                        </a:lnTo>
                        <a:lnTo>
                          <a:pt x="815" y="293"/>
                        </a:lnTo>
                        <a:lnTo>
                          <a:pt x="815" y="293"/>
                        </a:lnTo>
                        <a:lnTo>
                          <a:pt x="815" y="293"/>
                        </a:lnTo>
                        <a:close/>
                        <a:moveTo>
                          <a:pt x="777" y="283"/>
                        </a:moveTo>
                        <a:lnTo>
                          <a:pt x="768" y="300"/>
                        </a:lnTo>
                        <a:lnTo>
                          <a:pt x="777" y="309"/>
                        </a:lnTo>
                        <a:lnTo>
                          <a:pt x="763" y="338"/>
                        </a:lnTo>
                        <a:lnTo>
                          <a:pt x="794" y="293"/>
                        </a:lnTo>
                        <a:lnTo>
                          <a:pt x="815" y="300"/>
                        </a:lnTo>
                        <a:lnTo>
                          <a:pt x="822" y="326"/>
                        </a:lnTo>
                        <a:lnTo>
                          <a:pt x="815" y="333"/>
                        </a:lnTo>
                        <a:lnTo>
                          <a:pt x="794" y="333"/>
                        </a:lnTo>
                        <a:lnTo>
                          <a:pt x="777" y="354"/>
                        </a:lnTo>
                        <a:lnTo>
                          <a:pt x="768" y="349"/>
                        </a:lnTo>
                        <a:lnTo>
                          <a:pt x="756" y="366"/>
                        </a:lnTo>
                        <a:lnTo>
                          <a:pt x="730" y="366"/>
                        </a:lnTo>
                        <a:lnTo>
                          <a:pt x="756" y="338"/>
                        </a:lnTo>
                        <a:lnTo>
                          <a:pt x="746" y="338"/>
                        </a:lnTo>
                        <a:lnTo>
                          <a:pt x="709" y="371"/>
                        </a:lnTo>
                        <a:lnTo>
                          <a:pt x="730" y="338"/>
                        </a:lnTo>
                        <a:lnTo>
                          <a:pt x="725" y="338"/>
                        </a:lnTo>
                        <a:lnTo>
                          <a:pt x="746" y="326"/>
                        </a:lnTo>
                        <a:lnTo>
                          <a:pt x="739" y="309"/>
                        </a:lnTo>
                        <a:lnTo>
                          <a:pt x="763" y="316"/>
                        </a:lnTo>
                        <a:lnTo>
                          <a:pt x="739" y="309"/>
                        </a:lnTo>
                        <a:lnTo>
                          <a:pt x="756" y="283"/>
                        </a:lnTo>
                        <a:lnTo>
                          <a:pt x="777" y="283"/>
                        </a:lnTo>
                        <a:lnTo>
                          <a:pt x="777" y="283"/>
                        </a:lnTo>
                        <a:lnTo>
                          <a:pt x="777" y="283"/>
                        </a:lnTo>
                        <a:close/>
                        <a:moveTo>
                          <a:pt x="709" y="293"/>
                        </a:moveTo>
                        <a:lnTo>
                          <a:pt x="702" y="283"/>
                        </a:lnTo>
                        <a:lnTo>
                          <a:pt x="709" y="283"/>
                        </a:lnTo>
                        <a:lnTo>
                          <a:pt x="709" y="293"/>
                        </a:lnTo>
                        <a:lnTo>
                          <a:pt x="709" y="293"/>
                        </a:lnTo>
                        <a:lnTo>
                          <a:pt x="709" y="293"/>
                        </a:lnTo>
                        <a:close/>
                        <a:moveTo>
                          <a:pt x="869" y="300"/>
                        </a:moveTo>
                        <a:lnTo>
                          <a:pt x="853" y="293"/>
                        </a:lnTo>
                        <a:lnTo>
                          <a:pt x="886" y="293"/>
                        </a:lnTo>
                        <a:lnTo>
                          <a:pt x="869" y="300"/>
                        </a:lnTo>
                        <a:lnTo>
                          <a:pt x="869" y="300"/>
                        </a:lnTo>
                        <a:lnTo>
                          <a:pt x="869" y="300"/>
                        </a:lnTo>
                        <a:close/>
                        <a:moveTo>
                          <a:pt x="839" y="316"/>
                        </a:moveTo>
                        <a:lnTo>
                          <a:pt x="848" y="293"/>
                        </a:lnTo>
                        <a:lnTo>
                          <a:pt x="865" y="309"/>
                        </a:lnTo>
                        <a:lnTo>
                          <a:pt x="839" y="316"/>
                        </a:lnTo>
                        <a:lnTo>
                          <a:pt x="839" y="316"/>
                        </a:lnTo>
                        <a:lnTo>
                          <a:pt x="839" y="316"/>
                        </a:lnTo>
                        <a:close/>
                        <a:moveTo>
                          <a:pt x="794" y="354"/>
                        </a:moveTo>
                        <a:lnTo>
                          <a:pt x="801" y="338"/>
                        </a:lnTo>
                        <a:lnTo>
                          <a:pt x="815" y="349"/>
                        </a:lnTo>
                        <a:lnTo>
                          <a:pt x="794" y="354"/>
                        </a:lnTo>
                        <a:lnTo>
                          <a:pt x="794" y="354"/>
                        </a:lnTo>
                        <a:lnTo>
                          <a:pt x="794" y="354"/>
                        </a:lnTo>
                        <a:close/>
                        <a:moveTo>
                          <a:pt x="654" y="387"/>
                        </a:moveTo>
                        <a:lnTo>
                          <a:pt x="659" y="366"/>
                        </a:lnTo>
                        <a:lnTo>
                          <a:pt x="676" y="366"/>
                        </a:lnTo>
                        <a:lnTo>
                          <a:pt x="671" y="354"/>
                        </a:lnTo>
                        <a:lnTo>
                          <a:pt x="676" y="354"/>
                        </a:lnTo>
                        <a:lnTo>
                          <a:pt x="702" y="349"/>
                        </a:lnTo>
                        <a:lnTo>
                          <a:pt x="692" y="366"/>
                        </a:lnTo>
                        <a:lnTo>
                          <a:pt x="725" y="349"/>
                        </a:lnTo>
                        <a:lnTo>
                          <a:pt x="702" y="371"/>
                        </a:lnTo>
                        <a:lnTo>
                          <a:pt x="654" y="387"/>
                        </a:lnTo>
                        <a:lnTo>
                          <a:pt x="654" y="387"/>
                        </a:lnTo>
                        <a:lnTo>
                          <a:pt x="654" y="387"/>
                        </a:lnTo>
                        <a:close/>
                        <a:moveTo>
                          <a:pt x="654" y="371"/>
                        </a:moveTo>
                        <a:lnTo>
                          <a:pt x="650" y="366"/>
                        </a:lnTo>
                        <a:lnTo>
                          <a:pt x="654" y="366"/>
                        </a:lnTo>
                        <a:lnTo>
                          <a:pt x="654" y="371"/>
                        </a:lnTo>
                        <a:lnTo>
                          <a:pt x="654" y="371"/>
                        </a:lnTo>
                        <a:lnTo>
                          <a:pt x="654" y="371"/>
                        </a:lnTo>
                        <a:close/>
                        <a:moveTo>
                          <a:pt x="638" y="371"/>
                        </a:moveTo>
                        <a:lnTo>
                          <a:pt x="633" y="366"/>
                        </a:lnTo>
                        <a:lnTo>
                          <a:pt x="638" y="366"/>
                        </a:lnTo>
                        <a:lnTo>
                          <a:pt x="638" y="371"/>
                        </a:lnTo>
                        <a:lnTo>
                          <a:pt x="638" y="371"/>
                        </a:lnTo>
                        <a:lnTo>
                          <a:pt x="638" y="371"/>
                        </a:lnTo>
                        <a:close/>
                        <a:moveTo>
                          <a:pt x="605" y="394"/>
                        </a:moveTo>
                        <a:lnTo>
                          <a:pt x="600" y="394"/>
                        </a:lnTo>
                        <a:lnTo>
                          <a:pt x="605" y="371"/>
                        </a:lnTo>
                        <a:lnTo>
                          <a:pt x="650" y="371"/>
                        </a:lnTo>
                        <a:lnTo>
                          <a:pt x="605" y="394"/>
                        </a:lnTo>
                        <a:lnTo>
                          <a:pt x="605" y="394"/>
                        </a:lnTo>
                        <a:lnTo>
                          <a:pt x="605" y="394"/>
                        </a:lnTo>
                        <a:close/>
                        <a:moveTo>
                          <a:pt x="583" y="404"/>
                        </a:moveTo>
                        <a:lnTo>
                          <a:pt x="583" y="394"/>
                        </a:lnTo>
                        <a:lnTo>
                          <a:pt x="595" y="387"/>
                        </a:lnTo>
                        <a:lnTo>
                          <a:pt x="600" y="387"/>
                        </a:lnTo>
                        <a:lnTo>
                          <a:pt x="583" y="404"/>
                        </a:lnTo>
                        <a:lnTo>
                          <a:pt x="583" y="404"/>
                        </a:lnTo>
                        <a:lnTo>
                          <a:pt x="583" y="404"/>
                        </a:lnTo>
                        <a:close/>
                        <a:moveTo>
                          <a:pt x="550" y="427"/>
                        </a:moveTo>
                        <a:lnTo>
                          <a:pt x="579" y="387"/>
                        </a:lnTo>
                        <a:lnTo>
                          <a:pt x="583" y="394"/>
                        </a:lnTo>
                        <a:lnTo>
                          <a:pt x="579" y="411"/>
                        </a:lnTo>
                        <a:lnTo>
                          <a:pt x="550" y="427"/>
                        </a:lnTo>
                        <a:lnTo>
                          <a:pt x="550" y="427"/>
                        </a:lnTo>
                        <a:lnTo>
                          <a:pt x="550" y="427"/>
                        </a:lnTo>
                        <a:close/>
                        <a:moveTo>
                          <a:pt x="756" y="404"/>
                        </a:moveTo>
                        <a:lnTo>
                          <a:pt x="746" y="404"/>
                        </a:lnTo>
                        <a:lnTo>
                          <a:pt x="777" y="404"/>
                        </a:lnTo>
                        <a:lnTo>
                          <a:pt x="756" y="404"/>
                        </a:lnTo>
                        <a:lnTo>
                          <a:pt x="756" y="404"/>
                        </a:lnTo>
                        <a:lnTo>
                          <a:pt x="756" y="404"/>
                        </a:lnTo>
                        <a:close/>
                        <a:moveTo>
                          <a:pt x="725" y="411"/>
                        </a:moveTo>
                        <a:lnTo>
                          <a:pt x="709" y="411"/>
                        </a:lnTo>
                        <a:lnTo>
                          <a:pt x="730" y="411"/>
                        </a:lnTo>
                        <a:lnTo>
                          <a:pt x="725" y="411"/>
                        </a:lnTo>
                        <a:lnTo>
                          <a:pt x="725" y="411"/>
                        </a:lnTo>
                        <a:lnTo>
                          <a:pt x="725" y="411"/>
                        </a:lnTo>
                        <a:close/>
                        <a:moveTo>
                          <a:pt x="654" y="522"/>
                        </a:moveTo>
                        <a:lnTo>
                          <a:pt x="638" y="515"/>
                        </a:lnTo>
                        <a:lnTo>
                          <a:pt x="659" y="503"/>
                        </a:lnTo>
                        <a:lnTo>
                          <a:pt x="654" y="522"/>
                        </a:lnTo>
                        <a:lnTo>
                          <a:pt x="654" y="522"/>
                        </a:lnTo>
                        <a:lnTo>
                          <a:pt x="654" y="522"/>
                        </a:lnTo>
                        <a:close/>
                        <a:moveTo>
                          <a:pt x="550" y="614"/>
                        </a:moveTo>
                        <a:lnTo>
                          <a:pt x="562" y="609"/>
                        </a:lnTo>
                        <a:lnTo>
                          <a:pt x="550" y="614"/>
                        </a:lnTo>
                        <a:lnTo>
                          <a:pt x="550" y="614"/>
                        </a:lnTo>
                        <a:lnTo>
                          <a:pt x="550" y="614"/>
                        </a:lnTo>
                        <a:close/>
                        <a:moveTo>
                          <a:pt x="524" y="642"/>
                        </a:moveTo>
                        <a:lnTo>
                          <a:pt x="541" y="614"/>
                        </a:lnTo>
                        <a:lnTo>
                          <a:pt x="546" y="631"/>
                        </a:lnTo>
                        <a:lnTo>
                          <a:pt x="524" y="642"/>
                        </a:lnTo>
                        <a:lnTo>
                          <a:pt x="524" y="642"/>
                        </a:lnTo>
                        <a:lnTo>
                          <a:pt x="524" y="642"/>
                        </a:lnTo>
                        <a:close/>
                        <a:moveTo>
                          <a:pt x="529" y="666"/>
                        </a:moveTo>
                        <a:lnTo>
                          <a:pt x="541" y="649"/>
                        </a:lnTo>
                        <a:lnTo>
                          <a:pt x="562" y="642"/>
                        </a:lnTo>
                        <a:lnTo>
                          <a:pt x="529" y="666"/>
                        </a:lnTo>
                        <a:lnTo>
                          <a:pt x="529" y="666"/>
                        </a:lnTo>
                        <a:lnTo>
                          <a:pt x="529" y="666"/>
                        </a:lnTo>
                        <a:close/>
                        <a:moveTo>
                          <a:pt x="491" y="699"/>
                        </a:moveTo>
                        <a:lnTo>
                          <a:pt x="487" y="687"/>
                        </a:lnTo>
                        <a:lnTo>
                          <a:pt x="498" y="683"/>
                        </a:lnTo>
                        <a:lnTo>
                          <a:pt x="491" y="699"/>
                        </a:lnTo>
                        <a:lnTo>
                          <a:pt x="491" y="699"/>
                        </a:lnTo>
                        <a:lnTo>
                          <a:pt x="491" y="699"/>
                        </a:lnTo>
                        <a:close/>
                        <a:moveTo>
                          <a:pt x="508" y="737"/>
                        </a:moveTo>
                        <a:lnTo>
                          <a:pt x="513" y="699"/>
                        </a:lnTo>
                        <a:lnTo>
                          <a:pt x="541" y="720"/>
                        </a:lnTo>
                        <a:lnTo>
                          <a:pt x="508" y="737"/>
                        </a:lnTo>
                        <a:lnTo>
                          <a:pt x="508" y="737"/>
                        </a:lnTo>
                        <a:lnTo>
                          <a:pt x="508" y="737"/>
                        </a:lnTo>
                        <a:close/>
                        <a:moveTo>
                          <a:pt x="508" y="758"/>
                        </a:moveTo>
                        <a:lnTo>
                          <a:pt x="498" y="753"/>
                        </a:lnTo>
                        <a:lnTo>
                          <a:pt x="513" y="737"/>
                        </a:lnTo>
                        <a:lnTo>
                          <a:pt x="524" y="753"/>
                        </a:lnTo>
                        <a:lnTo>
                          <a:pt x="508" y="758"/>
                        </a:lnTo>
                        <a:lnTo>
                          <a:pt x="508" y="758"/>
                        </a:lnTo>
                        <a:lnTo>
                          <a:pt x="508" y="758"/>
                        </a:lnTo>
                        <a:close/>
                        <a:moveTo>
                          <a:pt x="470" y="758"/>
                        </a:moveTo>
                        <a:lnTo>
                          <a:pt x="470" y="753"/>
                        </a:lnTo>
                        <a:lnTo>
                          <a:pt x="487" y="753"/>
                        </a:lnTo>
                        <a:lnTo>
                          <a:pt x="470" y="758"/>
                        </a:lnTo>
                        <a:lnTo>
                          <a:pt x="470" y="758"/>
                        </a:lnTo>
                        <a:lnTo>
                          <a:pt x="470" y="758"/>
                        </a:lnTo>
                        <a:close/>
                        <a:moveTo>
                          <a:pt x="437" y="782"/>
                        </a:moveTo>
                        <a:lnTo>
                          <a:pt x="416" y="782"/>
                        </a:lnTo>
                        <a:lnTo>
                          <a:pt x="437" y="770"/>
                        </a:lnTo>
                        <a:lnTo>
                          <a:pt x="444" y="777"/>
                        </a:lnTo>
                        <a:lnTo>
                          <a:pt x="437" y="782"/>
                        </a:lnTo>
                        <a:lnTo>
                          <a:pt x="437" y="782"/>
                        </a:lnTo>
                        <a:lnTo>
                          <a:pt x="437" y="782"/>
                        </a:lnTo>
                        <a:close/>
                        <a:moveTo>
                          <a:pt x="454" y="810"/>
                        </a:moveTo>
                        <a:lnTo>
                          <a:pt x="444" y="810"/>
                        </a:lnTo>
                        <a:lnTo>
                          <a:pt x="454" y="798"/>
                        </a:lnTo>
                        <a:lnTo>
                          <a:pt x="454" y="810"/>
                        </a:lnTo>
                        <a:lnTo>
                          <a:pt x="454" y="810"/>
                        </a:lnTo>
                        <a:lnTo>
                          <a:pt x="454" y="810"/>
                        </a:lnTo>
                        <a:close/>
                        <a:moveTo>
                          <a:pt x="461" y="827"/>
                        </a:moveTo>
                        <a:lnTo>
                          <a:pt x="444" y="827"/>
                        </a:lnTo>
                        <a:lnTo>
                          <a:pt x="432" y="810"/>
                        </a:lnTo>
                        <a:lnTo>
                          <a:pt x="461" y="815"/>
                        </a:lnTo>
                        <a:lnTo>
                          <a:pt x="461" y="827"/>
                        </a:lnTo>
                        <a:lnTo>
                          <a:pt x="461" y="827"/>
                        </a:lnTo>
                        <a:lnTo>
                          <a:pt x="461" y="827"/>
                        </a:lnTo>
                        <a:close/>
                        <a:moveTo>
                          <a:pt x="243" y="921"/>
                        </a:moveTo>
                        <a:lnTo>
                          <a:pt x="276" y="905"/>
                        </a:lnTo>
                        <a:lnTo>
                          <a:pt x="276" y="909"/>
                        </a:lnTo>
                        <a:lnTo>
                          <a:pt x="243" y="921"/>
                        </a:lnTo>
                        <a:lnTo>
                          <a:pt x="243" y="921"/>
                        </a:lnTo>
                        <a:lnTo>
                          <a:pt x="243" y="921"/>
                        </a:lnTo>
                        <a:close/>
                        <a:moveTo>
                          <a:pt x="255" y="942"/>
                        </a:moveTo>
                        <a:lnTo>
                          <a:pt x="239" y="942"/>
                        </a:lnTo>
                        <a:lnTo>
                          <a:pt x="281" y="921"/>
                        </a:lnTo>
                        <a:lnTo>
                          <a:pt x="298" y="926"/>
                        </a:lnTo>
                        <a:lnTo>
                          <a:pt x="255" y="942"/>
                        </a:lnTo>
                        <a:lnTo>
                          <a:pt x="255" y="942"/>
                        </a:lnTo>
                        <a:lnTo>
                          <a:pt x="255" y="942"/>
                        </a:lnTo>
                        <a:close/>
                        <a:moveTo>
                          <a:pt x="222" y="959"/>
                        </a:moveTo>
                        <a:lnTo>
                          <a:pt x="206" y="947"/>
                        </a:lnTo>
                        <a:lnTo>
                          <a:pt x="222" y="942"/>
                        </a:lnTo>
                        <a:lnTo>
                          <a:pt x="227" y="947"/>
                        </a:lnTo>
                        <a:lnTo>
                          <a:pt x="222" y="959"/>
                        </a:lnTo>
                        <a:lnTo>
                          <a:pt x="222" y="959"/>
                        </a:lnTo>
                        <a:lnTo>
                          <a:pt x="222" y="959"/>
                        </a:lnTo>
                        <a:close/>
                        <a:moveTo>
                          <a:pt x="260" y="959"/>
                        </a:moveTo>
                        <a:lnTo>
                          <a:pt x="255" y="959"/>
                        </a:lnTo>
                        <a:lnTo>
                          <a:pt x="272" y="959"/>
                        </a:lnTo>
                        <a:lnTo>
                          <a:pt x="260" y="959"/>
                        </a:lnTo>
                        <a:lnTo>
                          <a:pt x="260" y="959"/>
                        </a:lnTo>
                        <a:lnTo>
                          <a:pt x="260" y="959"/>
                        </a:lnTo>
                        <a:close/>
                        <a:moveTo>
                          <a:pt x="243" y="975"/>
                        </a:moveTo>
                        <a:lnTo>
                          <a:pt x="239" y="964"/>
                        </a:lnTo>
                        <a:lnTo>
                          <a:pt x="255" y="959"/>
                        </a:lnTo>
                        <a:lnTo>
                          <a:pt x="260" y="975"/>
                        </a:lnTo>
                        <a:lnTo>
                          <a:pt x="243" y="975"/>
                        </a:lnTo>
                        <a:lnTo>
                          <a:pt x="243" y="975"/>
                        </a:lnTo>
                        <a:lnTo>
                          <a:pt x="243" y="975"/>
                        </a:lnTo>
                        <a:close/>
                        <a:moveTo>
                          <a:pt x="222" y="975"/>
                        </a:moveTo>
                        <a:lnTo>
                          <a:pt x="217" y="975"/>
                        </a:lnTo>
                        <a:lnTo>
                          <a:pt x="222" y="964"/>
                        </a:lnTo>
                        <a:lnTo>
                          <a:pt x="227" y="975"/>
                        </a:lnTo>
                        <a:lnTo>
                          <a:pt x="222" y="975"/>
                        </a:lnTo>
                        <a:lnTo>
                          <a:pt x="222" y="975"/>
                        </a:lnTo>
                        <a:lnTo>
                          <a:pt x="222" y="975"/>
                        </a:lnTo>
                        <a:close/>
                        <a:moveTo>
                          <a:pt x="239" y="975"/>
                        </a:moveTo>
                        <a:lnTo>
                          <a:pt x="227" y="964"/>
                        </a:lnTo>
                        <a:lnTo>
                          <a:pt x="243" y="975"/>
                        </a:lnTo>
                        <a:lnTo>
                          <a:pt x="239" y="975"/>
                        </a:lnTo>
                        <a:lnTo>
                          <a:pt x="239" y="975"/>
                        </a:lnTo>
                        <a:lnTo>
                          <a:pt x="239" y="975"/>
                        </a:lnTo>
                        <a:close/>
                        <a:moveTo>
                          <a:pt x="206" y="992"/>
                        </a:moveTo>
                        <a:lnTo>
                          <a:pt x="201" y="992"/>
                        </a:lnTo>
                        <a:lnTo>
                          <a:pt x="217" y="980"/>
                        </a:lnTo>
                        <a:lnTo>
                          <a:pt x="206" y="992"/>
                        </a:lnTo>
                        <a:lnTo>
                          <a:pt x="206" y="992"/>
                        </a:lnTo>
                        <a:lnTo>
                          <a:pt x="206" y="992"/>
                        </a:lnTo>
                        <a:close/>
                        <a:moveTo>
                          <a:pt x="184" y="997"/>
                        </a:moveTo>
                        <a:lnTo>
                          <a:pt x="172" y="997"/>
                        </a:lnTo>
                        <a:lnTo>
                          <a:pt x="172" y="992"/>
                        </a:lnTo>
                        <a:lnTo>
                          <a:pt x="189" y="980"/>
                        </a:lnTo>
                        <a:lnTo>
                          <a:pt x="201" y="992"/>
                        </a:lnTo>
                        <a:lnTo>
                          <a:pt x="184" y="997"/>
                        </a:lnTo>
                        <a:lnTo>
                          <a:pt x="184" y="997"/>
                        </a:lnTo>
                        <a:lnTo>
                          <a:pt x="184" y="997"/>
                        </a:lnTo>
                        <a:close/>
                        <a:moveTo>
                          <a:pt x="135" y="1020"/>
                        </a:moveTo>
                        <a:lnTo>
                          <a:pt x="135" y="1013"/>
                        </a:lnTo>
                        <a:lnTo>
                          <a:pt x="146" y="1013"/>
                        </a:lnTo>
                        <a:lnTo>
                          <a:pt x="135" y="1020"/>
                        </a:lnTo>
                        <a:lnTo>
                          <a:pt x="135" y="1020"/>
                        </a:lnTo>
                        <a:lnTo>
                          <a:pt x="135" y="1020"/>
                        </a:lnTo>
                        <a:close/>
                        <a:moveTo>
                          <a:pt x="130" y="1032"/>
                        </a:moveTo>
                        <a:lnTo>
                          <a:pt x="130" y="1020"/>
                        </a:lnTo>
                        <a:lnTo>
                          <a:pt x="146" y="1032"/>
                        </a:lnTo>
                        <a:lnTo>
                          <a:pt x="130" y="1032"/>
                        </a:lnTo>
                        <a:lnTo>
                          <a:pt x="130" y="1032"/>
                        </a:lnTo>
                        <a:lnTo>
                          <a:pt x="130" y="1032"/>
                        </a:lnTo>
                        <a:close/>
                        <a:moveTo>
                          <a:pt x="97" y="1058"/>
                        </a:moveTo>
                        <a:lnTo>
                          <a:pt x="83" y="1053"/>
                        </a:lnTo>
                        <a:lnTo>
                          <a:pt x="109" y="1058"/>
                        </a:lnTo>
                        <a:lnTo>
                          <a:pt x="97" y="1058"/>
                        </a:lnTo>
                        <a:lnTo>
                          <a:pt x="97" y="1058"/>
                        </a:lnTo>
                        <a:lnTo>
                          <a:pt x="97" y="1058"/>
                        </a:lnTo>
                        <a:close/>
                        <a:moveTo>
                          <a:pt x="66" y="1075"/>
                        </a:moveTo>
                        <a:lnTo>
                          <a:pt x="66" y="1058"/>
                        </a:lnTo>
                        <a:lnTo>
                          <a:pt x="83" y="1070"/>
                        </a:lnTo>
                        <a:lnTo>
                          <a:pt x="66" y="1075"/>
                        </a:lnTo>
                        <a:lnTo>
                          <a:pt x="66" y="1075"/>
                        </a:lnTo>
                        <a:lnTo>
                          <a:pt x="66" y="1075"/>
                        </a:lnTo>
                        <a:close/>
                        <a:moveTo>
                          <a:pt x="54" y="1086"/>
                        </a:moveTo>
                        <a:lnTo>
                          <a:pt x="45" y="1086"/>
                        </a:lnTo>
                        <a:lnTo>
                          <a:pt x="45" y="1075"/>
                        </a:lnTo>
                        <a:lnTo>
                          <a:pt x="66" y="1075"/>
                        </a:lnTo>
                        <a:lnTo>
                          <a:pt x="54" y="1086"/>
                        </a:lnTo>
                        <a:lnTo>
                          <a:pt x="54" y="1086"/>
                        </a:lnTo>
                        <a:lnTo>
                          <a:pt x="54" y="1086"/>
                        </a:lnTo>
                        <a:close/>
                        <a:moveTo>
                          <a:pt x="12" y="1115"/>
                        </a:moveTo>
                        <a:lnTo>
                          <a:pt x="12" y="1103"/>
                        </a:lnTo>
                        <a:lnTo>
                          <a:pt x="12" y="1115"/>
                        </a:lnTo>
                        <a:lnTo>
                          <a:pt x="12" y="1115"/>
                        </a:lnTo>
                        <a:lnTo>
                          <a:pt x="12" y="1115"/>
                        </a:lnTo>
                        <a:close/>
                        <a:moveTo>
                          <a:pt x="7" y="1131"/>
                        </a:moveTo>
                        <a:lnTo>
                          <a:pt x="0" y="1124"/>
                        </a:lnTo>
                        <a:lnTo>
                          <a:pt x="7" y="1115"/>
                        </a:lnTo>
                        <a:lnTo>
                          <a:pt x="21" y="1124"/>
                        </a:lnTo>
                        <a:lnTo>
                          <a:pt x="7" y="1131"/>
                        </a:lnTo>
                        <a:lnTo>
                          <a:pt x="7" y="1131"/>
                        </a:lnTo>
                        <a:lnTo>
                          <a:pt x="7" y="1131"/>
                        </a:lnTo>
                        <a:close/>
                        <a:moveTo>
                          <a:pt x="0" y="1214"/>
                        </a:moveTo>
                        <a:lnTo>
                          <a:pt x="0" y="1197"/>
                        </a:lnTo>
                        <a:lnTo>
                          <a:pt x="7" y="1197"/>
                        </a:lnTo>
                        <a:lnTo>
                          <a:pt x="7" y="1202"/>
                        </a:lnTo>
                        <a:lnTo>
                          <a:pt x="0" y="1214"/>
                        </a:lnTo>
                        <a:lnTo>
                          <a:pt x="0" y="1214"/>
                        </a:lnTo>
                        <a:lnTo>
                          <a:pt x="0" y="1214"/>
                        </a:lnTo>
                        <a:close/>
                        <a:moveTo>
                          <a:pt x="45" y="1275"/>
                        </a:moveTo>
                        <a:lnTo>
                          <a:pt x="38" y="1268"/>
                        </a:lnTo>
                        <a:lnTo>
                          <a:pt x="59" y="1252"/>
                        </a:lnTo>
                        <a:lnTo>
                          <a:pt x="59" y="1275"/>
                        </a:lnTo>
                        <a:lnTo>
                          <a:pt x="45" y="1275"/>
                        </a:lnTo>
                        <a:lnTo>
                          <a:pt x="45" y="1275"/>
                        </a:lnTo>
                        <a:lnTo>
                          <a:pt x="45" y="1275"/>
                        </a:lnTo>
                        <a:close/>
                        <a:moveTo>
                          <a:pt x="21" y="1280"/>
                        </a:moveTo>
                        <a:lnTo>
                          <a:pt x="7" y="1268"/>
                        </a:lnTo>
                        <a:lnTo>
                          <a:pt x="21" y="1275"/>
                        </a:lnTo>
                        <a:lnTo>
                          <a:pt x="21" y="1280"/>
                        </a:lnTo>
                        <a:lnTo>
                          <a:pt x="21" y="1280"/>
                        </a:lnTo>
                        <a:lnTo>
                          <a:pt x="21" y="1280"/>
                        </a:lnTo>
                        <a:close/>
                        <a:moveTo>
                          <a:pt x="12" y="1308"/>
                        </a:moveTo>
                        <a:lnTo>
                          <a:pt x="7" y="1297"/>
                        </a:lnTo>
                        <a:lnTo>
                          <a:pt x="7" y="1275"/>
                        </a:lnTo>
                        <a:lnTo>
                          <a:pt x="12" y="1292"/>
                        </a:lnTo>
                        <a:lnTo>
                          <a:pt x="12" y="1308"/>
                        </a:lnTo>
                        <a:lnTo>
                          <a:pt x="12" y="1308"/>
                        </a:lnTo>
                        <a:lnTo>
                          <a:pt x="12" y="1308"/>
                        </a:lnTo>
                        <a:close/>
                        <a:moveTo>
                          <a:pt x="76" y="1313"/>
                        </a:moveTo>
                        <a:lnTo>
                          <a:pt x="76" y="1308"/>
                        </a:lnTo>
                        <a:lnTo>
                          <a:pt x="83" y="1308"/>
                        </a:lnTo>
                        <a:lnTo>
                          <a:pt x="76" y="1313"/>
                        </a:lnTo>
                        <a:lnTo>
                          <a:pt x="76" y="1313"/>
                        </a:lnTo>
                        <a:lnTo>
                          <a:pt x="76" y="1313"/>
                        </a:lnTo>
                        <a:close/>
                        <a:moveTo>
                          <a:pt x="28" y="1325"/>
                        </a:moveTo>
                        <a:lnTo>
                          <a:pt x="21" y="1325"/>
                        </a:lnTo>
                        <a:lnTo>
                          <a:pt x="21" y="1313"/>
                        </a:lnTo>
                        <a:lnTo>
                          <a:pt x="28" y="1325"/>
                        </a:lnTo>
                        <a:lnTo>
                          <a:pt x="28" y="1325"/>
                        </a:lnTo>
                        <a:lnTo>
                          <a:pt x="28" y="1325"/>
                        </a:lnTo>
                        <a:close/>
                        <a:moveTo>
                          <a:pt x="45" y="1337"/>
                        </a:moveTo>
                        <a:lnTo>
                          <a:pt x="38" y="1325"/>
                        </a:lnTo>
                        <a:lnTo>
                          <a:pt x="54" y="1313"/>
                        </a:lnTo>
                        <a:lnTo>
                          <a:pt x="45" y="1337"/>
                        </a:lnTo>
                        <a:lnTo>
                          <a:pt x="45" y="1337"/>
                        </a:lnTo>
                        <a:lnTo>
                          <a:pt x="45" y="1337"/>
                        </a:lnTo>
                        <a:close/>
                        <a:moveTo>
                          <a:pt x="38" y="1353"/>
                        </a:moveTo>
                        <a:lnTo>
                          <a:pt x="28" y="1346"/>
                        </a:lnTo>
                        <a:lnTo>
                          <a:pt x="28" y="1330"/>
                        </a:lnTo>
                        <a:lnTo>
                          <a:pt x="45" y="1337"/>
                        </a:lnTo>
                        <a:lnTo>
                          <a:pt x="38" y="1353"/>
                        </a:lnTo>
                        <a:lnTo>
                          <a:pt x="38" y="1353"/>
                        </a:lnTo>
                        <a:lnTo>
                          <a:pt x="38" y="1353"/>
                        </a:lnTo>
                        <a:close/>
                        <a:moveTo>
                          <a:pt x="21" y="1370"/>
                        </a:moveTo>
                        <a:lnTo>
                          <a:pt x="12" y="1346"/>
                        </a:lnTo>
                        <a:lnTo>
                          <a:pt x="21" y="1337"/>
                        </a:lnTo>
                        <a:lnTo>
                          <a:pt x="38" y="1353"/>
                        </a:lnTo>
                        <a:lnTo>
                          <a:pt x="21" y="1353"/>
                        </a:lnTo>
                        <a:lnTo>
                          <a:pt x="21" y="1370"/>
                        </a:lnTo>
                        <a:lnTo>
                          <a:pt x="21" y="1370"/>
                        </a:lnTo>
                        <a:lnTo>
                          <a:pt x="21" y="1370"/>
                        </a:lnTo>
                        <a:close/>
                        <a:moveTo>
                          <a:pt x="21" y="1420"/>
                        </a:moveTo>
                        <a:lnTo>
                          <a:pt x="21" y="1386"/>
                        </a:lnTo>
                        <a:lnTo>
                          <a:pt x="28" y="1408"/>
                        </a:lnTo>
                        <a:lnTo>
                          <a:pt x="21" y="1420"/>
                        </a:lnTo>
                        <a:lnTo>
                          <a:pt x="21" y="1420"/>
                        </a:lnTo>
                        <a:lnTo>
                          <a:pt x="21" y="142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5" name="Freeform 532">
                    <a:extLst>
                      <a:ext uri="{FF2B5EF4-FFF2-40B4-BE49-F238E27FC236}">
                        <a16:creationId xmlns:a16="http://schemas.microsoft.com/office/drawing/2014/main" id="{560AE03D-4DD3-498A-942A-AF097C447D63}"/>
                      </a:ext>
                    </a:extLst>
                  </p:cNvPr>
                  <p:cNvSpPr>
                    <a:spLocks/>
                  </p:cNvSpPr>
                  <p:nvPr/>
                </p:nvSpPr>
                <p:spPr bwMode="gray">
                  <a:xfrm>
                    <a:off x="7134612" y="2252688"/>
                    <a:ext cx="288992" cy="229738"/>
                  </a:xfrm>
                  <a:custGeom>
                    <a:avLst/>
                    <a:gdLst>
                      <a:gd name="T0" fmla="*/ 87 w 702"/>
                      <a:gd name="T1" fmla="*/ 392 h 558"/>
                      <a:gd name="T2" fmla="*/ 54 w 702"/>
                      <a:gd name="T3" fmla="*/ 371 h 558"/>
                      <a:gd name="T4" fmla="*/ 50 w 702"/>
                      <a:gd name="T5" fmla="*/ 388 h 558"/>
                      <a:gd name="T6" fmla="*/ 54 w 702"/>
                      <a:gd name="T7" fmla="*/ 321 h 558"/>
                      <a:gd name="T8" fmla="*/ 40 w 702"/>
                      <a:gd name="T9" fmla="*/ 310 h 558"/>
                      <a:gd name="T10" fmla="*/ 40 w 702"/>
                      <a:gd name="T11" fmla="*/ 265 h 558"/>
                      <a:gd name="T12" fmla="*/ 24 w 702"/>
                      <a:gd name="T13" fmla="*/ 239 h 558"/>
                      <a:gd name="T14" fmla="*/ 0 w 702"/>
                      <a:gd name="T15" fmla="*/ 189 h 558"/>
                      <a:gd name="T16" fmla="*/ 16 w 702"/>
                      <a:gd name="T17" fmla="*/ 166 h 558"/>
                      <a:gd name="T18" fmla="*/ 7 w 702"/>
                      <a:gd name="T19" fmla="*/ 111 h 558"/>
                      <a:gd name="T20" fmla="*/ 33 w 702"/>
                      <a:gd name="T21" fmla="*/ 99 h 558"/>
                      <a:gd name="T22" fmla="*/ 0 w 702"/>
                      <a:gd name="T23" fmla="*/ 90 h 558"/>
                      <a:gd name="T24" fmla="*/ 163 w 702"/>
                      <a:gd name="T25" fmla="*/ 24 h 558"/>
                      <a:gd name="T26" fmla="*/ 293 w 702"/>
                      <a:gd name="T27" fmla="*/ 0 h 558"/>
                      <a:gd name="T28" fmla="*/ 326 w 702"/>
                      <a:gd name="T29" fmla="*/ 24 h 558"/>
                      <a:gd name="T30" fmla="*/ 309 w 702"/>
                      <a:gd name="T31" fmla="*/ 40 h 558"/>
                      <a:gd name="T32" fmla="*/ 380 w 702"/>
                      <a:gd name="T33" fmla="*/ 33 h 558"/>
                      <a:gd name="T34" fmla="*/ 359 w 702"/>
                      <a:gd name="T35" fmla="*/ 45 h 558"/>
                      <a:gd name="T36" fmla="*/ 397 w 702"/>
                      <a:gd name="T37" fmla="*/ 40 h 558"/>
                      <a:gd name="T38" fmla="*/ 609 w 702"/>
                      <a:gd name="T39" fmla="*/ 45 h 558"/>
                      <a:gd name="T40" fmla="*/ 647 w 702"/>
                      <a:gd name="T41" fmla="*/ 57 h 558"/>
                      <a:gd name="T42" fmla="*/ 664 w 702"/>
                      <a:gd name="T43" fmla="*/ 90 h 558"/>
                      <a:gd name="T44" fmla="*/ 690 w 702"/>
                      <a:gd name="T45" fmla="*/ 206 h 558"/>
                      <a:gd name="T46" fmla="*/ 635 w 702"/>
                      <a:gd name="T47" fmla="*/ 244 h 558"/>
                      <a:gd name="T48" fmla="*/ 664 w 702"/>
                      <a:gd name="T49" fmla="*/ 310 h 558"/>
                      <a:gd name="T50" fmla="*/ 673 w 702"/>
                      <a:gd name="T51" fmla="*/ 350 h 558"/>
                      <a:gd name="T52" fmla="*/ 690 w 702"/>
                      <a:gd name="T53" fmla="*/ 388 h 558"/>
                      <a:gd name="T54" fmla="*/ 690 w 702"/>
                      <a:gd name="T55" fmla="*/ 425 h 558"/>
                      <a:gd name="T56" fmla="*/ 647 w 702"/>
                      <a:gd name="T57" fmla="*/ 458 h 558"/>
                      <a:gd name="T58" fmla="*/ 609 w 702"/>
                      <a:gd name="T59" fmla="*/ 532 h 558"/>
                      <a:gd name="T60" fmla="*/ 614 w 702"/>
                      <a:gd name="T61" fmla="*/ 553 h 558"/>
                      <a:gd name="T62" fmla="*/ 593 w 702"/>
                      <a:gd name="T63" fmla="*/ 553 h 558"/>
                      <a:gd name="T64" fmla="*/ 555 w 702"/>
                      <a:gd name="T65" fmla="*/ 532 h 558"/>
                      <a:gd name="T66" fmla="*/ 489 w 702"/>
                      <a:gd name="T67" fmla="*/ 520 h 558"/>
                      <a:gd name="T68" fmla="*/ 468 w 702"/>
                      <a:gd name="T69" fmla="*/ 520 h 558"/>
                      <a:gd name="T70" fmla="*/ 418 w 702"/>
                      <a:gd name="T71" fmla="*/ 532 h 558"/>
                      <a:gd name="T72" fmla="*/ 397 w 702"/>
                      <a:gd name="T73" fmla="*/ 536 h 558"/>
                      <a:gd name="T74" fmla="*/ 392 w 702"/>
                      <a:gd name="T75" fmla="*/ 520 h 558"/>
                      <a:gd name="T76" fmla="*/ 347 w 702"/>
                      <a:gd name="T77" fmla="*/ 520 h 558"/>
                      <a:gd name="T78" fmla="*/ 331 w 702"/>
                      <a:gd name="T79" fmla="*/ 515 h 558"/>
                      <a:gd name="T80" fmla="*/ 326 w 702"/>
                      <a:gd name="T81" fmla="*/ 499 h 558"/>
                      <a:gd name="T82" fmla="*/ 309 w 702"/>
                      <a:gd name="T83" fmla="*/ 475 h 558"/>
                      <a:gd name="T84" fmla="*/ 267 w 702"/>
                      <a:gd name="T85" fmla="*/ 466 h 558"/>
                      <a:gd name="T86" fmla="*/ 239 w 702"/>
                      <a:gd name="T87" fmla="*/ 449 h 558"/>
                      <a:gd name="T88" fmla="*/ 250 w 702"/>
                      <a:gd name="T89" fmla="*/ 433 h 558"/>
                      <a:gd name="T90" fmla="*/ 196 w 702"/>
                      <a:gd name="T91" fmla="*/ 425 h 558"/>
                      <a:gd name="T92" fmla="*/ 170 w 702"/>
                      <a:gd name="T93" fmla="*/ 458 h 558"/>
                      <a:gd name="T94" fmla="*/ 158 w 702"/>
                      <a:gd name="T95" fmla="*/ 409 h 558"/>
                      <a:gd name="T96" fmla="*/ 142 w 702"/>
                      <a:gd name="T97" fmla="*/ 40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2" h="558">
                        <a:moveTo>
                          <a:pt x="142" y="404"/>
                        </a:moveTo>
                        <a:lnTo>
                          <a:pt x="87" y="392"/>
                        </a:lnTo>
                        <a:lnTo>
                          <a:pt x="71" y="371"/>
                        </a:lnTo>
                        <a:lnTo>
                          <a:pt x="54" y="371"/>
                        </a:lnTo>
                        <a:lnTo>
                          <a:pt x="54" y="388"/>
                        </a:lnTo>
                        <a:lnTo>
                          <a:pt x="50" y="388"/>
                        </a:lnTo>
                        <a:lnTo>
                          <a:pt x="61" y="350"/>
                        </a:lnTo>
                        <a:lnTo>
                          <a:pt x="54" y="321"/>
                        </a:lnTo>
                        <a:lnTo>
                          <a:pt x="40" y="321"/>
                        </a:lnTo>
                        <a:lnTo>
                          <a:pt x="40" y="310"/>
                        </a:lnTo>
                        <a:lnTo>
                          <a:pt x="33" y="293"/>
                        </a:lnTo>
                        <a:lnTo>
                          <a:pt x="40" y="265"/>
                        </a:lnTo>
                        <a:lnTo>
                          <a:pt x="40" y="255"/>
                        </a:lnTo>
                        <a:lnTo>
                          <a:pt x="24" y="239"/>
                        </a:lnTo>
                        <a:lnTo>
                          <a:pt x="33" y="222"/>
                        </a:lnTo>
                        <a:lnTo>
                          <a:pt x="0" y="189"/>
                        </a:lnTo>
                        <a:lnTo>
                          <a:pt x="0" y="182"/>
                        </a:lnTo>
                        <a:lnTo>
                          <a:pt x="16" y="166"/>
                        </a:lnTo>
                        <a:lnTo>
                          <a:pt x="16" y="144"/>
                        </a:lnTo>
                        <a:lnTo>
                          <a:pt x="7" y="111"/>
                        </a:lnTo>
                        <a:lnTo>
                          <a:pt x="24" y="111"/>
                        </a:lnTo>
                        <a:lnTo>
                          <a:pt x="33" y="99"/>
                        </a:lnTo>
                        <a:lnTo>
                          <a:pt x="0" y="95"/>
                        </a:lnTo>
                        <a:lnTo>
                          <a:pt x="0" y="90"/>
                        </a:lnTo>
                        <a:lnTo>
                          <a:pt x="142" y="57"/>
                        </a:lnTo>
                        <a:lnTo>
                          <a:pt x="163" y="24"/>
                        </a:lnTo>
                        <a:lnTo>
                          <a:pt x="267" y="0"/>
                        </a:lnTo>
                        <a:lnTo>
                          <a:pt x="293" y="0"/>
                        </a:lnTo>
                        <a:lnTo>
                          <a:pt x="321" y="17"/>
                        </a:lnTo>
                        <a:lnTo>
                          <a:pt x="326" y="24"/>
                        </a:lnTo>
                        <a:lnTo>
                          <a:pt x="293" y="7"/>
                        </a:lnTo>
                        <a:lnTo>
                          <a:pt x="309" y="40"/>
                        </a:lnTo>
                        <a:lnTo>
                          <a:pt x="326" y="45"/>
                        </a:lnTo>
                        <a:lnTo>
                          <a:pt x="380" y="33"/>
                        </a:lnTo>
                        <a:lnTo>
                          <a:pt x="392" y="40"/>
                        </a:lnTo>
                        <a:lnTo>
                          <a:pt x="359" y="45"/>
                        </a:lnTo>
                        <a:lnTo>
                          <a:pt x="364" y="57"/>
                        </a:lnTo>
                        <a:lnTo>
                          <a:pt x="397" y="40"/>
                        </a:lnTo>
                        <a:lnTo>
                          <a:pt x="510" y="45"/>
                        </a:lnTo>
                        <a:lnTo>
                          <a:pt x="609" y="45"/>
                        </a:lnTo>
                        <a:lnTo>
                          <a:pt x="619" y="40"/>
                        </a:lnTo>
                        <a:lnTo>
                          <a:pt x="647" y="57"/>
                        </a:lnTo>
                        <a:lnTo>
                          <a:pt x="652" y="73"/>
                        </a:lnTo>
                        <a:lnTo>
                          <a:pt x="664" y="90"/>
                        </a:lnTo>
                        <a:lnTo>
                          <a:pt x="690" y="173"/>
                        </a:lnTo>
                        <a:lnTo>
                          <a:pt x="690" y="206"/>
                        </a:lnTo>
                        <a:lnTo>
                          <a:pt x="652" y="227"/>
                        </a:lnTo>
                        <a:lnTo>
                          <a:pt x="635" y="244"/>
                        </a:lnTo>
                        <a:lnTo>
                          <a:pt x="668" y="265"/>
                        </a:lnTo>
                        <a:lnTo>
                          <a:pt x="664" y="310"/>
                        </a:lnTo>
                        <a:lnTo>
                          <a:pt x="668" y="321"/>
                        </a:lnTo>
                        <a:lnTo>
                          <a:pt x="673" y="350"/>
                        </a:lnTo>
                        <a:lnTo>
                          <a:pt x="702" y="388"/>
                        </a:lnTo>
                        <a:lnTo>
                          <a:pt x="690" y="388"/>
                        </a:lnTo>
                        <a:lnTo>
                          <a:pt x="702" y="409"/>
                        </a:lnTo>
                        <a:lnTo>
                          <a:pt x="690" y="425"/>
                        </a:lnTo>
                        <a:lnTo>
                          <a:pt x="673" y="425"/>
                        </a:lnTo>
                        <a:lnTo>
                          <a:pt x="647" y="458"/>
                        </a:lnTo>
                        <a:lnTo>
                          <a:pt x="598" y="503"/>
                        </a:lnTo>
                        <a:lnTo>
                          <a:pt x="609" y="532"/>
                        </a:lnTo>
                        <a:lnTo>
                          <a:pt x="598" y="541"/>
                        </a:lnTo>
                        <a:lnTo>
                          <a:pt x="614" y="553"/>
                        </a:lnTo>
                        <a:lnTo>
                          <a:pt x="614" y="558"/>
                        </a:lnTo>
                        <a:lnTo>
                          <a:pt x="593" y="553"/>
                        </a:lnTo>
                        <a:lnTo>
                          <a:pt x="555" y="536"/>
                        </a:lnTo>
                        <a:lnTo>
                          <a:pt x="555" y="532"/>
                        </a:lnTo>
                        <a:lnTo>
                          <a:pt x="527" y="520"/>
                        </a:lnTo>
                        <a:lnTo>
                          <a:pt x="489" y="520"/>
                        </a:lnTo>
                        <a:lnTo>
                          <a:pt x="472" y="532"/>
                        </a:lnTo>
                        <a:lnTo>
                          <a:pt x="468" y="520"/>
                        </a:lnTo>
                        <a:lnTo>
                          <a:pt x="435" y="520"/>
                        </a:lnTo>
                        <a:lnTo>
                          <a:pt x="418" y="532"/>
                        </a:lnTo>
                        <a:lnTo>
                          <a:pt x="413" y="541"/>
                        </a:lnTo>
                        <a:lnTo>
                          <a:pt x="397" y="536"/>
                        </a:lnTo>
                        <a:lnTo>
                          <a:pt x="397" y="520"/>
                        </a:lnTo>
                        <a:lnTo>
                          <a:pt x="392" y="520"/>
                        </a:lnTo>
                        <a:lnTo>
                          <a:pt x="376" y="503"/>
                        </a:lnTo>
                        <a:lnTo>
                          <a:pt x="347" y="520"/>
                        </a:lnTo>
                        <a:lnTo>
                          <a:pt x="342" y="520"/>
                        </a:lnTo>
                        <a:lnTo>
                          <a:pt x="331" y="515"/>
                        </a:lnTo>
                        <a:lnTo>
                          <a:pt x="326" y="515"/>
                        </a:lnTo>
                        <a:lnTo>
                          <a:pt x="326" y="499"/>
                        </a:lnTo>
                        <a:lnTo>
                          <a:pt x="309" y="487"/>
                        </a:lnTo>
                        <a:lnTo>
                          <a:pt x="309" y="475"/>
                        </a:lnTo>
                        <a:lnTo>
                          <a:pt x="272" y="458"/>
                        </a:lnTo>
                        <a:lnTo>
                          <a:pt x="267" y="466"/>
                        </a:lnTo>
                        <a:lnTo>
                          <a:pt x="250" y="458"/>
                        </a:lnTo>
                        <a:lnTo>
                          <a:pt x="239" y="449"/>
                        </a:lnTo>
                        <a:lnTo>
                          <a:pt x="250" y="442"/>
                        </a:lnTo>
                        <a:lnTo>
                          <a:pt x="250" y="433"/>
                        </a:lnTo>
                        <a:lnTo>
                          <a:pt x="224" y="442"/>
                        </a:lnTo>
                        <a:lnTo>
                          <a:pt x="196" y="425"/>
                        </a:lnTo>
                        <a:lnTo>
                          <a:pt x="201" y="442"/>
                        </a:lnTo>
                        <a:lnTo>
                          <a:pt x="170" y="458"/>
                        </a:lnTo>
                        <a:lnTo>
                          <a:pt x="142" y="425"/>
                        </a:lnTo>
                        <a:lnTo>
                          <a:pt x="158" y="409"/>
                        </a:lnTo>
                        <a:lnTo>
                          <a:pt x="142" y="404"/>
                        </a:lnTo>
                        <a:lnTo>
                          <a:pt x="142" y="404"/>
                        </a:lnTo>
                        <a:lnTo>
                          <a:pt x="142" y="40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6" name="Freeform 540">
                    <a:extLst>
                      <a:ext uri="{FF2B5EF4-FFF2-40B4-BE49-F238E27FC236}">
                        <a16:creationId xmlns:a16="http://schemas.microsoft.com/office/drawing/2014/main" id="{71C531D3-1442-4327-BBF1-E16722939B27}"/>
                      </a:ext>
                    </a:extLst>
                  </p:cNvPr>
                  <p:cNvSpPr>
                    <a:spLocks/>
                  </p:cNvSpPr>
                  <p:nvPr/>
                </p:nvSpPr>
                <p:spPr bwMode="gray">
                  <a:xfrm>
                    <a:off x="7311631" y="2510422"/>
                    <a:ext cx="272114" cy="172098"/>
                  </a:xfrm>
                  <a:custGeom>
                    <a:avLst/>
                    <a:gdLst>
                      <a:gd name="T0" fmla="*/ 151 w 661"/>
                      <a:gd name="T1" fmla="*/ 340 h 418"/>
                      <a:gd name="T2" fmla="*/ 151 w 661"/>
                      <a:gd name="T3" fmla="*/ 324 h 418"/>
                      <a:gd name="T4" fmla="*/ 130 w 661"/>
                      <a:gd name="T5" fmla="*/ 340 h 418"/>
                      <a:gd name="T6" fmla="*/ 97 w 661"/>
                      <a:gd name="T7" fmla="*/ 324 h 418"/>
                      <a:gd name="T8" fmla="*/ 80 w 661"/>
                      <a:gd name="T9" fmla="*/ 317 h 418"/>
                      <a:gd name="T10" fmla="*/ 92 w 661"/>
                      <a:gd name="T11" fmla="*/ 307 h 418"/>
                      <a:gd name="T12" fmla="*/ 92 w 661"/>
                      <a:gd name="T13" fmla="*/ 284 h 418"/>
                      <a:gd name="T14" fmla="*/ 38 w 661"/>
                      <a:gd name="T15" fmla="*/ 229 h 418"/>
                      <a:gd name="T16" fmla="*/ 0 w 661"/>
                      <a:gd name="T17" fmla="*/ 196 h 418"/>
                      <a:gd name="T18" fmla="*/ 28 w 661"/>
                      <a:gd name="T19" fmla="*/ 196 h 418"/>
                      <a:gd name="T20" fmla="*/ 71 w 661"/>
                      <a:gd name="T21" fmla="*/ 184 h 418"/>
                      <a:gd name="T22" fmla="*/ 92 w 661"/>
                      <a:gd name="T23" fmla="*/ 140 h 418"/>
                      <a:gd name="T24" fmla="*/ 123 w 661"/>
                      <a:gd name="T25" fmla="*/ 85 h 418"/>
                      <a:gd name="T26" fmla="*/ 146 w 661"/>
                      <a:gd name="T27" fmla="*/ 57 h 418"/>
                      <a:gd name="T28" fmla="*/ 182 w 661"/>
                      <a:gd name="T29" fmla="*/ 29 h 418"/>
                      <a:gd name="T30" fmla="*/ 220 w 661"/>
                      <a:gd name="T31" fmla="*/ 29 h 418"/>
                      <a:gd name="T32" fmla="*/ 295 w 661"/>
                      <a:gd name="T33" fmla="*/ 29 h 418"/>
                      <a:gd name="T34" fmla="*/ 349 w 661"/>
                      <a:gd name="T35" fmla="*/ 29 h 418"/>
                      <a:gd name="T36" fmla="*/ 420 w 661"/>
                      <a:gd name="T37" fmla="*/ 7 h 418"/>
                      <a:gd name="T38" fmla="*/ 468 w 661"/>
                      <a:gd name="T39" fmla="*/ 19 h 418"/>
                      <a:gd name="T40" fmla="*/ 527 w 661"/>
                      <a:gd name="T41" fmla="*/ 102 h 418"/>
                      <a:gd name="T42" fmla="*/ 560 w 661"/>
                      <a:gd name="T43" fmla="*/ 168 h 418"/>
                      <a:gd name="T44" fmla="*/ 553 w 661"/>
                      <a:gd name="T45" fmla="*/ 239 h 418"/>
                      <a:gd name="T46" fmla="*/ 553 w 661"/>
                      <a:gd name="T47" fmla="*/ 262 h 418"/>
                      <a:gd name="T48" fmla="*/ 590 w 661"/>
                      <a:gd name="T49" fmla="*/ 279 h 418"/>
                      <a:gd name="T50" fmla="*/ 649 w 661"/>
                      <a:gd name="T51" fmla="*/ 267 h 418"/>
                      <a:gd name="T52" fmla="*/ 649 w 661"/>
                      <a:gd name="T53" fmla="*/ 317 h 418"/>
                      <a:gd name="T54" fmla="*/ 612 w 661"/>
                      <a:gd name="T55" fmla="*/ 307 h 418"/>
                      <a:gd name="T56" fmla="*/ 612 w 661"/>
                      <a:gd name="T57" fmla="*/ 300 h 418"/>
                      <a:gd name="T58" fmla="*/ 607 w 661"/>
                      <a:gd name="T59" fmla="*/ 317 h 418"/>
                      <a:gd name="T60" fmla="*/ 612 w 661"/>
                      <a:gd name="T61" fmla="*/ 324 h 418"/>
                      <a:gd name="T62" fmla="*/ 590 w 661"/>
                      <a:gd name="T63" fmla="*/ 340 h 418"/>
                      <a:gd name="T64" fmla="*/ 581 w 661"/>
                      <a:gd name="T65" fmla="*/ 357 h 418"/>
                      <a:gd name="T66" fmla="*/ 581 w 661"/>
                      <a:gd name="T67" fmla="*/ 411 h 418"/>
                      <a:gd name="T68" fmla="*/ 538 w 661"/>
                      <a:gd name="T69" fmla="*/ 390 h 418"/>
                      <a:gd name="T70" fmla="*/ 510 w 661"/>
                      <a:gd name="T71" fmla="*/ 378 h 418"/>
                      <a:gd name="T72" fmla="*/ 489 w 661"/>
                      <a:gd name="T73" fmla="*/ 373 h 418"/>
                      <a:gd name="T74" fmla="*/ 413 w 661"/>
                      <a:gd name="T75" fmla="*/ 390 h 418"/>
                      <a:gd name="T76" fmla="*/ 361 w 661"/>
                      <a:gd name="T77" fmla="*/ 418 h 418"/>
                      <a:gd name="T78" fmla="*/ 274 w 661"/>
                      <a:gd name="T79" fmla="*/ 411 h 418"/>
                      <a:gd name="T80" fmla="*/ 182 w 661"/>
                      <a:gd name="T81" fmla="*/ 406 h 418"/>
                      <a:gd name="T82" fmla="*/ 189 w 661"/>
                      <a:gd name="T83" fmla="*/ 378 h 418"/>
                      <a:gd name="T84" fmla="*/ 168 w 661"/>
                      <a:gd name="T85" fmla="*/ 36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1" h="418">
                        <a:moveTo>
                          <a:pt x="168" y="362"/>
                        </a:moveTo>
                        <a:lnTo>
                          <a:pt x="151" y="340"/>
                        </a:lnTo>
                        <a:lnTo>
                          <a:pt x="177" y="340"/>
                        </a:lnTo>
                        <a:lnTo>
                          <a:pt x="151" y="324"/>
                        </a:lnTo>
                        <a:lnTo>
                          <a:pt x="146" y="324"/>
                        </a:lnTo>
                        <a:lnTo>
                          <a:pt x="130" y="340"/>
                        </a:lnTo>
                        <a:lnTo>
                          <a:pt x="123" y="333"/>
                        </a:lnTo>
                        <a:lnTo>
                          <a:pt x="97" y="324"/>
                        </a:lnTo>
                        <a:lnTo>
                          <a:pt x="92" y="317"/>
                        </a:lnTo>
                        <a:lnTo>
                          <a:pt x="80" y="317"/>
                        </a:lnTo>
                        <a:lnTo>
                          <a:pt x="75" y="307"/>
                        </a:lnTo>
                        <a:lnTo>
                          <a:pt x="92" y="307"/>
                        </a:lnTo>
                        <a:lnTo>
                          <a:pt x="75" y="300"/>
                        </a:lnTo>
                        <a:lnTo>
                          <a:pt x="92" y="284"/>
                        </a:lnTo>
                        <a:lnTo>
                          <a:pt x="38" y="251"/>
                        </a:lnTo>
                        <a:lnTo>
                          <a:pt x="38" y="229"/>
                        </a:lnTo>
                        <a:lnTo>
                          <a:pt x="28" y="229"/>
                        </a:lnTo>
                        <a:lnTo>
                          <a:pt x="0" y="196"/>
                        </a:lnTo>
                        <a:lnTo>
                          <a:pt x="16" y="189"/>
                        </a:lnTo>
                        <a:lnTo>
                          <a:pt x="28" y="196"/>
                        </a:lnTo>
                        <a:lnTo>
                          <a:pt x="38" y="184"/>
                        </a:lnTo>
                        <a:lnTo>
                          <a:pt x="71" y="184"/>
                        </a:lnTo>
                        <a:lnTo>
                          <a:pt x="75" y="151"/>
                        </a:lnTo>
                        <a:lnTo>
                          <a:pt x="92" y="140"/>
                        </a:lnTo>
                        <a:lnTo>
                          <a:pt x="97" y="118"/>
                        </a:lnTo>
                        <a:lnTo>
                          <a:pt x="123" y="85"/>
                        </a:lnTo>
                        <a:lnTo>
                          <a:pt x="123" y="73"/>
                        </a:lnTo>
                        <a:lnTo>
                          <a:pt x="146" y="57"/>
                        </a:lnTo>
                        <a:lnTo>
                          <a:pt x="168" y="45"/>
                        </a:lnTo>
                        <a:lnTo>
                          <a:pt x="182" y="29"/>
                        </a:lnTo>
                        <a:lnTo>
                          <a:pt x="205" y="19"/>
                        </a:lnTo>
                        <a:lnTo>
                          <a:pt x="220" y="29"/>
                        </a:lnTo>
                        <a:lnTo>
                          <a:pt x="274" y="29"/>
                        </a:lnTo>
                        <a:lnTo>
                          <a:pt x="295" y="29"/>
                        </a:lnTo>
                        <a:lnTo>
                          <a:pt x="328" y="57"/>
                        </a:lnTo>
                        <a:lnTo>
                          <a:pt x="349" y="29"/>
                        </a:lnTo>
                        <a:lnTo>
                          <a:pt x="413" y="29"/>
                        </a:lnTo>
                        <a:lnTo>
                          <a:pt x="420" y="7"/>
                        </a:lnTo>
                        <a:lnTo>
                          <a:pt x="446" y="0"/>
                        </a:lnTo>
                        <a:lnTo>
                          <a:pt x="468" y="19"/>
                        </a:lnTo>
                        <a:lnTo>
                          <a:pt x="489" y="57"/>
                        </a:lnTo>
                        <a:lnTo>
                          <a:pt x="527" y="102"/>
                        </a:lnTo>
                        <a:lnTo>
                          <a:pt x="543" y="118"/>
                        </a:lnTo>
                        <a:lnTo>
                          <a:pt x="560" y="168"/>
                        </a:lnTo>
                        <a:lnTo>
                          <a:pt x="543" y="196"/>
                        </a:lnTo>
                        <a:lnTo>
                          <a:pt x="553" y="239"/>
                        </a:lnTo>
                        <a:lnTo>
                          <a:pt x="543" y="246"/>
                        </a:lnTo>
                        <a:lnTo>
                          <a:pt x="553" y="262"/>
                        </a:lnTo>
                        <a:lnTo>
                          <a:pt x="564" y="267"/>
                        </a:lnTo>
                        <a:lnTo>
                          <a:pt x="590" y="279"/>
                        </a:lnTo>
                        <a:lnTo>
                          <a:pt x="635" y="262"/>
                        </a:lnTo>
                        <a:lnTo>
                          <a:pt x="649" y="267"/>
                        </a:lnTo>
                        <a:lnTo>
                          <a:pt x="661" y="279"/>
                        </a:lnTo>
                        <a:lnTo>
                          <a:pt x="649" y="317"/>
                        </a:lnTo>
                        <a:lnTo>
                          <a:pt x="612" y="317"/>
                        </a:lnTo>
                        <a:lnTo>
                          <a:pt x="612" y="307"/>
                        </a:lnTo>
                        <a:lnTo>
                          <a:pt x="619" y="300"/>
                        </a:lnTo>
                        <a:lnTo>
                          <a:pt x="612" y="300"/>
                        </a:lnTo>
                        <a:lnTo>
                          <a:pt x="598" y="300"/>
                        </a:lnTo>
                        <a:lnTo>
                          <a:pt x="607" y="317"/>
                        </a:lnTo>
                        <a:lnTo>
                          <a:pt x="598" y="333"/>
                        </a:lnTo>
                        <a:lnTo>
                          <a:pt x="612" y="324"/>
                        </a:lnTo>
                        <a:lnTo>
                          <a:pt x="590" y="333"/>
                        </a:lnTo>
                        <a:lnTo>
                          <a:pt x="590" y="340"/>
                        </a:lnTo>
                        <a:lnTo>
                          <a:pt x="607" y="333"/>
                        </a:lnTo>
                        <a:lnTo>
                          <a:pt x="581" y="357"/>
                        </a:lnTo>
                        <a:lnTo>
                          <a:pt x="590" y="390"/>
                        </a:lnTo>
                        <a:lnTo>
                          <a:pt x="581" y="411"/>
                        </a:lnTo>
                        <a:lnTo>
                          <a:pt x="543" y="406"/>
                        </a:lnTo>
                        <a:lnTo>
                          <a:pt x="538" y="390"/>
                        </a:lnTo>
                        <a:lnTo>
                          <a:pt x="522" y="390"/>
                        </a:lnTo>
                        <a:lnTo>
                          <a:pt x="510" y="378"/>
                        </a:lnTo>
                        <a:lnTo>
                          <a:pt x="501" y="390"/>
                        </a:lnTo>
                        <a:lnTo>
                          <a:pt x="489" y="373"/>
                        </a:lnTo>
                        <a:lnTo>
                          <a:pt x="472" y="373"/>
                        </a:lnTo>
                        <a:lnTo>
                          <a:pt x="413" y="390"/>
                        </a:lnTo>
                        <a:lnTo>
                          <a:pt x="383" y="411"/>
                        </a:lnTo>
                        <a:lnTo>
                          <a:pt x="361" y="418"/>
                        </a:lnTo>
                        <a:lnTo>
                          <a:pt x="295" y="406"/>
                        </a:lnTo>
                        <a:lnTo>
                          <a:pt x="274" y="411"/>
                        </a:lnTo>
                        <a:lnTo>
                          <a:pt x="220" y="395"/>
                        </a:lnTo>
                        <a:lnTo>
                          <a:pt x="182" y="406"/>
                        </a:lnTo>
                        <a:lnTo>
                          <a:pt x="182" y="390"/>
                        </a:lnTo>
                        <a:lnTo>
                          <a:pt x="189" y="378"/>
                        </a:lnTo>
                        <a:lnTo>
                          <a:pt x="168" y="362"/>
                        </a:lnTo>
                        <a:lnTo>
                          <a:pt x="168" y="362"/>
                        </a:lnTo>
                        <a:lnTo>
                          <a:pt x="168" y="36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7" name="Freeform 543">
                    <a:extLst>
                      <a:ext uri="{FF2B5EF4-FFF2-40B4-BE49-F238E27FC236}">
                        <a16:creationId xmlns:a16="http://schemas.microsoft.com/office/drawing/2014/main" id="{D9D30DEF-B9C7-4DEB-A032-674AB8BF8FC6}"/>
                      </a:ext>
                    </a:extLst>
                  </p:cNvPr>
                  <p:cNvSpPr>
                    <a:spLocks noEditPoints="1"/>
                  </p:cNvSpPr>
                  <p:nvPr/>
                </p:nvSpPr>
                <p:spPr bwMode="gray">
                  <a:xfrm>
                    <a:off x="1738441" y="824034"/>
                    <a:ext cx="10478239" cy="1947006"/>
                  </a:xfrm>
                  <a:custGeom>
                    <a:avLst/>
                    <a:gdLst>
                      <a:gd name="T0" fmla="*/ 24366 w 25453"/>
                      <a:gd name="T1" fmla="*/ 2721 h 4729"/>
                      <a:gd name="T2" fmla="*/ 23563 w 25453"/>
                      <a:gd name="T3" fmla="*/ 3031 h 4729"/>
                      <a:gd name="T4" fmla="*/ 23076 w 25453"/>
                      <a:gd name="T5" fmla="*/ 3692 h 4729"/>
                      <a:gd name="T6" fmla="*/ 23331 w 25453"/>
                      <a:gd name="T7" fmla="*/ 2809 h 4729"/>
                      <a:gd name="T8" fmla="*/ 22391 w 25453"/>
                      <a:gd name="T9" fmla="*/ 2993 h 4729"/>
                      <a:gd name="T10" fmla="*/ 22018 w 25453"/>
                      <a:gd name="T11" fmla="*/ 3643 h 4729"/>
                      <a:gd name="T12" fmla="*/ 21312 w 25453"/>
                      <a:gd name="T13" fmla="*/ 4578 h 4729"/>
                      <a:gd name="T14" fmla="*/ 20955 w 25453"/>
                      <a:gd name="T15" fmla="*/ 3676 h 4729"/>
                      <a:gd name="T16" fmla="*/ 19167 w 25453"/>
                      <a:gd name="T17" fmla="*/ 3768 h 4729"/>
                      <a:gd name="T18" fmla="*/ 18078 w 25453"/>
                      <a:gd name="T19" fmla="*/ 3936 h 4729"/>
                      <a:gd name="T20" fmla="*/ 17117 w 25453"/>
                      <a:gd name="T21" fmla="*/ 3487 h 4729"/>
                      <a:gd name="T22" fmla="*/ 16424 w 25453"/>
                      <a:gd name="T23" fmla="*/ 3803 h 4729"/>
                      <a:gd name="T24" fmla="*/ 15550 w 25453"/>
                      <a:gd name="T25" fmla="*/ 3931 h 4729"/>
                      <a:gd name="T26" fmla="*/ 15425 w 25453"/>
                      <a:gd name="T27" fmla="*/ 4694 h 4729"/>
                      <a:gd name="T28" fmla="*/ 14821 w 25453"/>
                      <a:gd name="T29" fmla="*/ 4191 h 4729"/>
                      <a:gd name="T30" fmla="*/ 14388 w 25453"/>
                      <a:gd name="T31" fmla="*/ 3581 h 4729"/>
                      <a:gd name="T32" fmla="*/ 14169 w 25453"/>
                      <a:gd name="T33" fmla="*/ 2792 h 4729"/>
                      <a:gd name="T34" fmla="*/ 14471 w 25453"/>
                      <a:gd name="T35" fmla="*/ 1862 h 4729"/>
                      <a:gd name="T36" fmla="*/ 14660 w 25453"/>
                      <a:gd name="T37" fmla="*/ 2488 h 4729"/>
                      <a:gd name="T38" fmla="*/ 15395 w 25453"/>
                      <a:gd name="T39" fmla="*/ 2018 h 4729"/>
                      <a:gd name="T40" fmla="*/ 16278 w 25453"/>
                      <a:gd name="T41" fmla="*/ 1918 h 4729"/>
                      <a:gd name="T42" fmla="*/ 16991 w 25453"/>
                      <a:gd name="T43" fmla="*/ 1368 h 4729"/>
                      <a:gd name="T44" fmla="*/ 17298 w 25453"/>
                      <a:gd name="T45" fmla="*/ 2105 h 4729"/>
                      <a:gd name="T46" fmla="*/ 17407 w 25453"/>
                      <a:gd name="T47" fmla="*/ 1545 h 4729"/>
                      <a:gd name="T48" fmla="*/ 17969 w 25453"/>
                      <a:gd name="T49" fmla="*/ 1718 h 4729"/>
                      <a:gd name="T50" fmla="*/ 18272 w 25453"/>
                      <a:gd name="T51" fmla="*/ 1075 h 4729"/>
                      <a:gd name="T52" fmla="*/ 19103 w 25453"/>
                      <a:gd name="T53" fmla="*/ 891 h 4729"/>
                      <a:gd name="T54" fmla="*/ 20065 w 25453"/>
                      <a:gd name="T55" fmla="*/ 981 h 4729"/>
                      <a:gd name="T56" fmla="*/ 20074 w 25453"/>
                      <a:gd name="T57" fmla="*/ 1290 h 4729"/>
                      <a:gd name="T58" fmla="*/ 21782 w 25453"/>
                      <a:gd name="T59" fmla="*/ 1573 h 4729"/>
                      <a:gd name="T60" fmla="*/ 22644 w 25453"/>
                      <a:gd name="T61" fmla="*/ 1552 h 4729"/>
                      <a:gd name="T62" fmla="*/ 24227 w 25453"/>
                      <a:gd name="T63" fmla="*/ 1767 h 4729"/>
                      <a:gd name="T64" fmla="*/ 25053 w 25453"/>
                      <a:gd name="T65" fmla="*/ 2046 h 4729"/>
                      <a:gd name="T66" fmla="*/ 25205 w 25453"/>
                      <a:gd name="T67" fmla="*/ 2400 h 4729"/>
                      <a:gd name="T68" fmla="*/ 16188 w 25453"/>
                      <a:gd name="T69" fmla="*/ 5 h 4729"/>
                      <a:gd name="T70" fmla="*/ 18557 w 25453"/>
                      <a:gd name="T71" fmla="*/ 236 h 4729"/>
                      <a:gd name="T72" fmla="*/ 16198 w 25453"/>
                      <a:gd name="T73" fmla="*/ 116 h 4729"/>
                      <a:gd name="T74" fmla="*/ 15593 w 25453"/>
                      <a:gd name="T75" fmla="*/ 203 h 4729"/>
                      <a:gd name="T76" fmla="*/ 15345 w 25453"/>
                      <a:gd name="T77" fmla="*/ 236 h 4729"/>
                      <a:gd name="T78" fmla="*/ 15933 w 25453"/>
                      <a:gd name="T79" fmla="*/ 236 h 4729"/>
                      <a:gd name="T80" fmla="*/ 18650 w 25453"/>
                      <a:gd name="T81" fmla="*/ 404 h 4729"/>
                      <a:gd name="T82" fmla="*/ 16252 w 25453"/>
                      <a:gd name="T83" fmla="*/ 322 h 4729"/>
                      <a:gd name="T84" fmla="*/ 19221 w 25453"/>
                      <a:gd name="T85" fmla="*/ 598 h 4729"/>
                      <a:gd name="T86" fmla="*/ 23093 w 25453"/>
                      <a:gd name="T87" fmla="*/ 758 h 4729"/>
                      <a:gd name="T88" fmla="*/ 16727 w 25453"/>
                      <a:gd name="T89" fmla="*/ 832 h 4729"/>
                      <a:gd name="T90" fmla="*/ 18978 w 25453"/>
                      <a:gd name="T91" fmla="*/ 815 h 4729"/>
                      <a:gd name="T92" fmla="*/ 18898 w 25453"/>
                      <a:gd name="T93" fmla="*/ 886 h 4729"/>
                      <a:gd name="T94" fmla="*/ 22046 w 25453"/>
                      <a:gd name="T95" fmla="*/ 931 h 4729"/>
                      <a:gd name="T96" fmla="*/ 16257 w 25453"/>
                      <a:gd name="T97" fmla="*/ 947 h 4729"/>
                      <a:gd name="T98" fmla="*/ 17700 w 25453"/>
                      <a:gd name="T99" fmla="*/ 1129 h 4729"/>
                      <a:gd name="T100" fmla="*/ 18125 w 25453"/>
                      <a:gd name="T101" fmla="*/ 1195 h 4729"/>
                      <a:gd name="T102" fmla="*/ 20700 w 25453"/>
                      <a:gd name="T103" fmla="*/ 1363 h 4729"/>
                      <a:gd name="T104" fmla="*/ 17133 w 25453"/>
                      <a:gd name="T105" fmla="*/ 1314 h 4729"/>
                      <a:gd name="T106" fmla="*/ 15858 w 25453"/>
                      <a:gd name="T107" fmla="*/ 1363 h 4729"/>
                      <a:gd name="T108" fmla="*/ 17693 w 25453"/>
                      <a:gd name="T109" fmla="*/ 1392 h 4729"/>
                      <a:gd name="T110" fmla="*/ 21775 w 25453"/>
                      <a:gd name="T111" fmla="*/ 1552 h 4729"/>
                      <a:gd name="T112" fmla="*/ 16257 w 25453"/>
                      <a:gd name="T113" fmla="*/ 1696 h 4729"/>
                      <a:gd name="T114" fmla="*/ 15534 w 25453"/>
                      <a:gd name="T115" fmla="*/ 1923 h 4729"/>
                      <a:gd name="T116" fmla="*/ 0 w 25453"/>
                      <a:gd name="T117" fmla="*/ 2400 h 4729"/>
                      <a:gd name="T118" fmla="*/ 13590 w 25453"/>
                      <a:gd name="T119" fmla="*/ 3421 h 4729"/>
                      <a:gd name="T120" fmla="*/ 22169 w 25453"/>
                      <a:gd name="T121" fmla="*/ 3659 h 4729"/>
                      <a:gd name="T122" fmla="*/ 23001 w 25453"/>
                      <a:gd name="T123" fmla="*/ 3903 h 4729"/>
                      <a:gd name="T124" fmla="*/ 22483 w 25453"/>
                      <a:gd name="T125" fmla="*/ 4373 h 4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453" h="4729">
                        <a:moveTo>
                          <a:pt x="24735" y="2360"/>
                        </a:moveTo>
                        <a:lnTo>
                          <a:pt x="24706" y="2388"/>
                        </a:lnTo>
                        <a:lnTo>
                          <a:pt x="24638" y="2421"/>
                        </a:lnTo>
                        <a:lnTo>
                          <a:pt x="24654" y="2405"/>
                        </a:lnTo>
                        <a:lnTo>
                          <a:pt x="24572" y="2405"/>
                        </a:lnTo>
                        <a:lnTo>
                          <a:pt x="24562" y="2384"/>
                        </a:lnTo>
                        <a:lnTo>
                          <a:pt x="24517" y="2360"/>
                        </a:lnTo>
                        <a:lnTo>
                          <a:pt x="24479" y="2367"/>
                        </a:lnTo>
                        <a:lnTo>
                          <a:pt x="24529" y="2367"/>
                        </a:lnTo>
                        <a:lnTo>
                          <a:pt x="24550" y="2388"/>
                        </a:lnTo>
                        <a:lnTo>
                          <a:pt x="24529" y="2400"/>
                        </a:lnTo>
                        <a:lnTo>
                          <a:pt x="24508" y="2384"/>
                        </a:lnTo>
                        <a:lnTo>
                          <a:pt x="24491" y="2388"/>
                        </a:lnTo>
                        <a:lnTo>
                          <a:pt x="24465" y="2377"/>
                        </a:lnTo>
                        <a:lnTo>
                          <a:pt x="24442" y="2400"/>
                        </a:lnTo>
                        <a:lnTo>
                          <a:pt x="24352" y="2405"/>
                        </a:lnTo>
                        <a:lnTo>
                          <a:pt x="24437" y="2400"/>
                        </a:lnTo>
                        <a:lnTo>
                          <a:pt x="24465" y="2384"/>
                        </a:lnTo>
                        <a:lnTo>
                          <a:pt x="24491" y="2405"/>
                        </a:lnTo>
                        <a:lnTo>
                          <a:pt x="24465" y="2417"/>
                        </a:lnTo>
                        <a:lnTo>
                          <a:pt x="24465" y="2421"/>
                        </a:lnTo>
                        <a:lnTo>
                          <a:pt x="24491" y="2405"/>
                        </a:lnTo>
                        <a:lnTo>
                          <a:pt x="24513" y="2421"/>
                        </a:lnTo>
                        <a:lnTo>
                          <a:pt x="24529" y="2405"/>
                        </a:lnTo>
                        <a:lnTo>
                          <a:pt x="24567" y="2400"/>
                        </a:lnTo>
                        <a:lnTo>
                          <a:pt x="24550" y="2421"/>
                        </a:lnTo>
                        <a:lnTo>
                          <a:pt x="24572" y="2445"/>
                        </a:lnTo>
                        <a:lnTo>
                          <a:pt x="24605" y="2462"/>
                        </a:lnTo>
                        <a:lnTo>
                          <a:pt x="24621" y="2445"/>
                        </a:lnTo>
                        <a:lnTo>
                          <a:pt x="24626" y="2455"/>
                        </a:lnTo>
                        <a:lnTo>
                          <a:pt x="24638" y="2478"/>
                        </a:lnTo>
                        <a:lnTo>
                          <a:pt x="24626" y="2495"/>
                        </a:lnTo>
                        <a:lnTo>
                          <a:pt x="24642" y="2495"/>
                        </a:lnTo>
                        <a:lnTo>
                          <a:pt x="24654" y="2528"/>
                        </a:lnTo>
                        <a:lnTo>
                          <a:pt x="24642" y="2528"/>
                        </a:lnTo>
                        <a:lnTo>
                          <a:pt x="24621" y="2532"/>
                        </a:lnTo>
                        <a:lnTo>
                          <a:pt x="24654" y="2532"/>
                        </a:lnTo>
                        <a:lnTo>
                          <a:pt x="24654" y="2549"/>
                        </a:lnTo>
                        <a:lnTo>
                          <a:pt x="24642" y="2556"/>
                        </a:lnTo>
                        <a:lnTo>
                          <a:pt x="24659" y="2549"/>
                        </a:lnTo>
                        <a:lnTo>
                          <a:pt x="24654" y="2532"/>
                        </a:lnTo>
                        <a:lnTo>
                          <a:pt x="24668" y="2566"/>
                        </a:lnTo>
                        <a:lnTo>
                          <a:pt x="24659" y="2556"/>
                        </a:lnTo>
                        <a:lnTo>
                          <a:pt x="24659" y="2566"/>
                        </a:lnTo>
                        <a:lnTo>
                          <a:pt x="24697" y="2582"/>
                        </a:lnTo>
                        <a:lnTo>
                          <a:pt x="24697" y="2599"/>
                        </a:lnTo>
                        <a:lnTo>
                          <a:pt x="24680" y="2606"/>
                        </a:lnTo>
                        <a:lnTo>
                          <a:pt x="24706" y="2622"/>
                        </a:lnTo>
                        <a:lnTo>
                          <a:pt x="24706" y="2643"/>
                        </a:lnTo>
                        <a:lnTo>
                          <a:pt x="24676" y="2660"/>
                        </a:lnTo>
                        <a:lnTo>
                          <a:pt x="24680" y="2677"/>
                        </a:lnTo>
                        <a:lnTo>
                          <a:pt x="24676" y="2681"/>
                        </a:lnTo>
                        <a:lnTo>
                          <a:pt x="24600" y="2655"/>
                        </a:lnTo>
                        <a:lnTo>
                          <a:pt x="24550" y="2643"/>
                        </a:lnTo>
                        <a:lnTo>
                          <a:pt x="24550" y="2627"/>
                        </a:lnTo>
                        <a:lnTo>
                          <a:pt x="24562" y="2622"/>
                        </a:lnTo>
                        <a:lnTo>
                          <a:pt x="24546" y="2639"/>
                        </a:lnTo>
                        <a:lnTo>
                          <a:pt x="24529" y="2610"/>
                        </a:lnTo>
                        <a:lnTo>
                          <a:pt x="24529" y="2639"/>
                        </a:lnTo>
                        <a:lnTo>
                          <a:pt x="24550" y="2643"/>
                        </a:lnTo>
                        <a:lnTo>
                          <a:pt x="24508" y="2655"/>
                        </a:lnTo>
                        <a:lnTo>
                          <a:pt x="24479" y="2677"/>
                        </a:lnTo>
                        <a:lnTo>
                          <a:pt x="24373" y="2721"/>
                        </a:lnTo>
                        <a:lnTo>
                          <a:pt x="24357" y="2717"/>
                        </a:lnTo>
                        <a:lnTo>
                          <a:pt x="24366" y="2721"/>
                        </a:lnTo>
                        <a:lnTo>
                          <a:pt x="24357" y="2733"/>
                        </a:lnTo>
                        <a:lnTo>
                          <a:pt x="24328" y="2733"/>
                        </a:lnTo>
                        <a:lnTo>
                          <a:pt x="24319" y="2738"/>
                        </a:lnTo>
                        <a:lnTo>
                          <a:pt x="24302" y="2750"/>
                        </a:lnTo>
                        <a:lnTo>
                          <a:pt x="24290" y="2738"/>
                        </a:lnTo>
                        <a:lnTo>
                          <a:pt x="24281" y="2766"/>
                        </a:lnTo>
                        <a:lnTo>
                          <a:pt x="24276" y="2766"/>
                        </a:lnTo>
                        <a:lnTo>
                          <a:pt x="24260" y="2776"/>
                        </a:lnTo>
                        <a:lnTo>
                          <a:pt x="24243" y="2771"/>
                        </a:lnTo>
                        <a:lnTo>
                          <a:pt x="24227" y="2776"/>
                        </a:lnTo>
                        <a:lnTo>
                          <a:pt x="24243" y="2788"/>
                        </a:lnTo>
                        <a:lnTo>
                          <a:pt x="24227" y="2788"/>
                        </a:lnTo>
                        <a:lnTo>
                          <a:pt x="24239" y="2792"/>
                        </a:lnTo>
                        <a:lnTo>
                          <a:pt x="24222" y="2804"/>
                        </a:lnTo>
                        <a:lnTo>
                          <a:pt x="24205" y="2792"/>
                        </a:lnTo>
                        <a:lnTo>
                          <a:pt x="24205" y="2809"/>
                        </a:lnTo>
                        <a:lnTo>
                          <a:pt x="24210" y="2821"/>
                        </a:lnTo>
                        <a:lnTo>
                          <a:pt x="24194" y="2821"/>
                        </a:lnTo>
                        <a:lnTo>
                          <a:pt x="24184" y="2809"/>
                        </a:lnTo>
                        <a:lnTo>
                          <a:pt x="24189" y="2828"/>
                        </a:lnTo>
                        <a:lnTo>
                          <a:pt x="24184" y="2844"/>
                        </a:lnTo>
                        <a:lnTo>
                          <a:pt x="24172" y="2828"/>
                        </a:lnTo>
                        <a:lnTo>
                          <a:pt x="24172" y="2844"/>
                        </a:lnTo>
                        <a:lnTo>
                          <a:pt x="24151" y="2844"/>
                        </a:lnTo>
                        <a:lnTo>
                          <a:pt x="24151" y="2849"/>
                        </a:lnTo>
                        <a:lnTo>
                          <a:pt x="24135" y="2849"/>
                        </a:lnTo>
                        <a:lnTo>
                          <a:pt x="24135" y="2866"/>
                        </a:lnTo>
                        <a:lnTo>
                          <a:pt x="24080" y="2887"/>
                        </a:lnTo>
                        <a:lnTo>
                          <a:pt x="24080" y="2899"/>
                        </a:lnTo>
                        <a:lnTo>
                          <a:pt x="24076" y="2903"/>
                        </a:lnTo>
                        <a:lnTo>
                          <a:pt x="24064" y="2936"/>
                        </a:lnTo>
                        <a:lnTo>
                          <a:pt x="24059" y="2936"/>
                        </a:lnTo>
                        <a:lnTo>
                          <a:pt x="24033" y="2920"/>
                        </a:lnTo>
                        <a:lnTo>
                          <a:pt x="24021" y="2887"/>
                        </a:lnTo>
                        <a:lnTo>
                          <a:pt x="23979" y="2866"/>
                        </a:lnTo>
                        <a:lnTo>
                          <a:pt x="23979" y="2877"/>
                        </a:lnTo>
                        <a:lnTo>
                          <a:pt x="23913" y="2866"/>
                        </a:lnTo>
                        <a:lnTo>
                          <a:pt x="23832" y="2899"/>
                        </a:lnTo>
                        <a:lnTo>
                          <a:pt x="23761" y="2953"/>
                        </a:lnTo>
                        <a:lnTo>
                          <a:pt x="23773" y="2887"/>
                        </a:lnTo>
                        <a:lnTo>
                          <a:pt x="23778" y="2882"/>
                        </a:lnTo>
                        <a:lnTo>
                          <a:pt x="23757" y="2882"/>
                        </a:lnTo>
                        <a:lnTo>
                          <a:pt x="23702" y="2920"/>
                        </a:lnTo>
                        <a:lnTo>
                          <a:pt x="23686" y="2915"/>
                        </a:lnTo>
                        <a:lnTo>
                          <a:pt x="23702" y="2932"/>
                        </a:lnTo>
                        <a:lnTo>
                          <a:pt x="23681" y="2953"/>
                        </a:lnTo>
                        <a:lnTo>
                          <a:pt x="23665" y="2936"/>
                        </a:lnTo>
                        <a:lnTo>
                          <a:pt x="23648" y="2920"/>
                        </a:lnTo>
                        <a:lnTo>
                          <a:pt x="23643" y="2920"/>
                        </a:lnTo>
                        <a:lnTo>
                          <a:pt x="23643" y="2932"/>
                        </a:lnTo>
                        <a:lnTo>
                          <a:pt x="23627" y="2936"/>
                        </a:lnTo>
                        <a:lnTo>
                          <a:pt x="23627" y="2943"/>
                        </a:lnTo>
                        <a:lnTo>
                          <a:pt x="23617" y="2943"/>
                        </a:lnTo>
                        <a:lnTo>
                          <a:pt x="23627" y="2936"/>
                        </a:lnTo>
                        <a:lnTo>
                          <a:pt x="23617" y="2932"/>
                        </a:lnTo>
                        <a:lnTo>
                          <a:pt x="23596" y="2932"/>
                        </a:lnTo>
                        <a:lnTo>
                          <a:pt x="23601" y="2936"/>
                        </a:lnTo>
                        <a:lnTo>
                          <a:pt x="23596" y="2943"/>
                        </a:lnTo>
                        <a:lnTo>
                          <a:pt x="23572" y="2953"/>
                        </a:lnTo>
                        <a:lnTo>
                          <a:pt x="23572" y="2972"/>
                        </a:lnTo>
                        <a:lnTo>
                          <a:pt x="23558" y="2977"/>
                        </a:lnTo>
                        <a:lnTo>
                          <a:pt x="23572" y="2998"/>
                        </a:lnTo>
                        <a:lnTo>
                          <a:pt x="23563" y="3010"/>
                        </a:lnTo>
                        <a:lnTo>
                          <a:pt x="23546" y="3010"/>
                        </a:lnTo>
                        <a:lnTo>
                          <a:pt x="23563" y="3031"/>
                        </a:lnTo>
                        <a:lnTo>
                          <a:pt x="23546" y="3026"/>
                        </a:lnTo>
                        <a:lnTo>
                          <a:pt x="23542" y="3026"/>
                        </a:lnTo>
                        <a:lnTo>
                          <a:pt x="23546" y="3043"/>
                        </a:lnTo>
                        <a:lnTo>
                          <a:pt x="23504" y="3071"/>
                        </a:lnTo>
                        <a:lnTo>
                          <a:pt x="23487" y="3099"/>
                        </a:lnTo>
                        <a:lnTo>
                          <a:pt x="23471" y="3137"/>
                        </a:lnTo>
                        <a:lnTo>
                          <a:pt x="23487" y="3158"/>
                        </a:lnTo>
                        <a:lnTo>
                          <a:pt x="23504" y="3170"/>
                        </a:lnTo>
                        <a:lnTo>
                          <a:pt x="23504" y="3175"/>
                        </a:lnTo>
                        <a:lnTo>
                          <a:pt x="23520" y="3154"/>
                        </a:lnTo>
                        <a:lnTo>
                          <a:pt x="23563" y="3158"/>
                        </a:lnTo>
                        <a:lnTo>
                          <a:pt x="23563" y="3170"/>
                        </a:lnTo>
                        <a:lnTo>
                          <a:pt x="23558" y="3192"/>
                        </a:lnTo>
                        <a:lnTo>
                          <a:pt x="23525" y="3208"/>
                        </a:lnTo>
                        <a:lnTo>
                          <a:pt x="23535" y="3236"/>
                        </a:lnTo>
                        <a:lnTo>
                          <a:pt x="23535" y="3269"/>
                        </a:lnTo>
                        <a:lnTo>
                          <a:pt x="23542" y="3281"/>
                        </a:lnTo>
                        <a:lnTo>
                          <a:pt x="23563" y="3269"/>
                        </a:lnTo>
                        <a:lnTo>
                          <a:pt x="23572" y="3326"/>
                        </a:lnTo>
                        <a:lnTo>
                          <a:pt x="23546" y="3347"/>
                        </a:lnTo>
                        <a:lnTo>
                          <a:pt x="23525" y="3336"/>
                        </a:lnTo>
                        <a:lnTo>
                          <a:pt x="23525" y="3319"/>
                        </a:lnTo>
                        <a:lnTo>
                          <a:pt x="23558" y="3293"/>
                        </a:lnTo>
                        <a:lnTo>
                          <a:pt x="23546" y="3293"/>
                        </a:lnTo>
                        <a:lnTo>
                          <a:pt x="23542" y="3303"/>
                        </a:lnTo>
                        <a:lnTo>
                          <a:pt x="23525" y="3303"/>
                        </a:lnTo>
                        <a:lnTo>
                          <a:pt x="23504" y="3310"/>
                        </a:lnTo>
                        <a:lnTo>
                          <a:pt x="23520" y="3326"/>
                        </a:lnTo>
                        <a:lnTo>
                          <a:pt x="23483" y="3343"/>
                        </a:lnTo>
                        <a:lnTo>
                          <a:pt x="23454" y="3397"/>
                        </a:lnTo>
                        <a:lnTo>
                          <a:pt x="23466" y="3437"/>
                        </a:lnTo>
                        <a:lnTo>
                          <a:pt x="23487" y="3458"/>
                        </a:lnTo>
                        <a:lnTo>
                          <a:pt x="23487" y="3475"/>
                        </a:lnTo>
                        <a:lnTo>
                          <a:pt x="23454" y="3503"/>
                        </a:lnTo>
                        <a:lnTo>
                          <a:pt x="23428" y="3503"/>
                        </a:lnTo>
                        <a:lnTo>
                          <a:pt x="23416" y="3491"/>
                        </a:lnTo>
                        <a:lnTo>
                          <a:pt x="23383" y="3503"/>
                        </a:lnTo>
                        <a:lnTo>
                          <a:pt x="23341" y="3541"/>
                        </a:lnTo>
                        <a:lnTo>
                          <a:pt x="23324" y="3581"/>
                        </a:lnTo>
                        <a:lnTo>
                          <a:pt x="23331" y="3586"/>
                        </a:lnTo>
                        <a:lnTo>
                          <a:pt x="23331" y="3603"/>
                        </a:lnTo>
                        <a:lnTo>
                          <a:pt x="23324" y="3598"/>
                        </a:lnTo>
                        <a:lnTo>
                          <a:pt x="23341" y="3619"/>
                        </a:lnTo>
                        <a:lnTo>
                          <a:pt x="23341" y="3636"/>
                        </a:lnTo>
                        <a:lnTo>
                          <a:pt x="23308" y="3619"/>
                        </a:lnTo>
                        <a:lnTo>
                          <a:pt x="23270" y="3643"/>
                        </a:lnTo>
                        <a:lnTo>
                          <a:pt x="23249" y="3659"/>
                        </a:lnTo>
                        <a:lnTo>
                          <a:pt x="23239" y="3643"/>
                        </a:lnTo>
                        <a:lnTo>
                          <a:pt x="23223" y="3643"/>
                        </a:lnTo>
                        <a:lnTo>
                          <a:pt x="23223" y="3659"/>
                        </a:lnTo>
                        <a:lnTo>
                          <a:pt x="23239" y="3659"/>
                        </a:lnTo>
                        <a:lnTo>
                          <a:pt x="23232" y="3680"/>
                        </a:lnTo>
                        <a:lnTo>
                          <a:pt x="23223" y="3680"/>
                        </a:lnTo>
                        <a:lnTo>
                          <a:pt x="23232" y="3692"/>
                        </a:lnTo>
                        <a:lnTo>
                          <a:pt x="23232" y="3714"/>
                        </a:lnTo>
                        <a:lnTo>
                          <a:pt x="23218" y="3730"/>
                        </a:lnTo>
                        <a:lnTo>
                          <a:pt x="23218" y="3751"/>
                        </a:lnTo>
                        <a:lnTo>
                          <a:pt x="23105" y="3846"/>
                        </a:lnTo>
                        <a:lnTo>
                          <a:pt x="23109" y="3836"/>
                        </a:lnTo>
                        <a:lnTo>
                          <a:pt x="23093" y="3808"/>
                        </a:lnTo>
                        <a:lnTo>
                          <a:pt x="23093" y="3751"/>
                        </a:lnTo>
                        <a:lnTo>
                          <a:pt x="23076" y="3692"/>
                        </a:lnTo>
                        <a:lnTo>
                          <a:pt x="23088" y="3697"/>
                        </a:lnTo>
                        <a:lnTo>
                          <a:pt x="23088" y="3692"/>
                        </a:lnTo>
                        <a:lnTo>
                          <a:pt x="23076" y="3692"/>
                        </a:lnTo>
                        <a:lnTo>
                          <a:pt x="23060" y="3669"/>
                        </a:lnTo>
                        <a:lnTo>
                          <a:pt x="23022" y="3421"/>
                        </a:lnTo>
                        <a:lnTo>
                          <a:pt x="23034" y="3359"/>
                        </a:lnTo>
                        <a:lnTo>
                          <a:pt x="23055" y="3281"/>
                        </a:lnTo>
                        <a:lnTo>
                          <a:pt x="23088" y="3253"/>
                        </a:lnTo>
                        <a:lnTo>
                          <a:pt x="23093" y="3236"/>
                        </a:lnTo>
                        <a:lnTo>
                          <a:pt x="23105" y="3236"/>
                        </a:lnTo>
                        <a:lnTo>
                          <a:pt x="23126" y="3208"/>
                        </a:lnTo>
                        <a:lnTo>
                          <a:pt x="23126" y="3182"/>
                        </a:lnTo>
                        <a:lnTo>
                          <a:pt x="23109" y="3175"/>
                        </a:lnTo>
                        <a:lnTo>
                          <a:pt x="23126" y="3158"/>
                        </a:lnTo>
                        <a:lnTo>
                          <a:pt x="23142" y="3170"/>
                        </a:lnTo>
                        <a:lnTo>
                          <a:pt x="23157" y="3170"/>
                        </a:lnTo>
                        <a:lnTo>
                          <a:pt x="23168" y="3142"/>
                        </a:lnTo>
                        <a:lnTo>
                          <a:pt x="23218" y="3142"/>
                        </a:lnTo>
                        <a:lnTo>
                          <a:pt x="23320" y="3059"/>
                        </a:lnTo>
                        <a:lnTo>
                          <a:pt x="23324" y="3031"/>
                        </a:lnTo>
                        <a:lnTo>
                          <a:pt x="23362" y="2998"/>
                        </a:lnTo>
                        <a:lnTo>
                          <a:pt x="23374" y="2977"/>
                        </a:lnTo>
                        <a:lnTo>
                          <a:pt x="23395" y="2972"/>
                        </a:lnTo>
                        <a:lnTo>
                          <a:pt x="23438" y="2920"/>
                        </a:lnTo>
                        <a:lnTo>
                          <a:pt x="23466" y="2915"/>
                        </a:lnTo>
                        <a:lnTo>
                          <a:pt x="23471" y="2903"/>
                        </a:lnTo>
                        <a:lnTo>
                          <a:pt x="23471" y="2882"/>
                        </a:lnTo>
                        <a:lnTo>
                          <a:pt x="23535" y="2861"/>
                        </a:lnTo>
                        <a:lnTo>
                          <a:pt x="23542" y="2849"/>
                        </a:lnTo>
                        <a:lnTo>
                          <a:pt x="23596" y="2832"/>
                        </a:lnTo>
                        <a:lnTo>
                          <a:pt x="23596" y="2828"/>
                        </a:lnTo>
                        <a:lnTo>
                          <a:pt x="23579" y="2821"/>
                        </a:lnTo>
                        <a:lnTo>
                          <a:pt x="23617" y="2788"/>
                        </a:lnTo>
                        <a:lnTo>
                          <a:pt x="23617" y="2776"/>
                        </a:lnTo>
                        <a:lnTo>
                          <a:pt x="23601" y="2771"/>
                        </a:lnTo>
                        <a:lnTo>
                          <a:pt x="23610" y="2755"/>
                        </a:lnTo>
                        <a:lnTo>
                          <a:pt x="23617" y="2750"/>
                        </a:lnTo>
                        <a:lnTo>
                          <a:pt x="23627" y="2681"/>
                        </a:lnTo>
                        <a:lnTo>
                          <a:pt x="23655" y="2660"/>
                        </a:lnTo>
                        <a:lnTo>
                          <a:pt x="23698" y="2665"/>
                        </a:lnTo>
                        <a:lnTo>
                          <a:pt x="23709" y="2677"/>
                        </a:lnTo>
                        <a:lnTo>
                          <a:pt x="23698" y="2660"/>
                        </a:lnTo>
                        <a:lnTo>
                          <a:pt x="23735" y="2660"/>
                        </a:lnTo>
                        <a:lnTo>
                          <a:pt x="23686" y="2655"/>
                        </a:lnTo>
                        <a:lnTo>
                          <a:pt x="23643" y="2639"/>
                        </a:lnTo>
                        <a:lnTo>
                          <a:pt x="23563" y="2655"/>
                        </a:lnTo>
                        <a:lnTo>
                          <a:pt x="23558" y="2660"/>
                        </a:lnTo>
                        <a:lnTo>
                          <a:pt x="23572" y="2677"/>
                        </a:lnTo>
                        <a:lnTo>
                          <a:pt x="23558" y="2681"/>
                        </a:lnTo>
                        <a:lnTo>
                          <a:pt x="23558" y="2710"/>
                        </a:lnTo>
                        <a:lnTo>
                          <a:pt x="23542" y="2733"/>
                        </a:lnTo>
                        <a:lnTo>
                          <a:pt x="23572" y="2738"/>
                        </a:lnTo>
                        <a:lnTo>
                          <a:pt x="23563" y="2750"/>
                        </a:lnTo>
                        <a:lnTo>
                          <a:pt x="23546" y="2766"/>
                        </a:lnTo>
                        <a:lnTo>
                          <a:pt x="23535" y="2750"/>
                        </a:lnTo>
                        <a:lnTo>
                          <a:pt x="23525" y="2750"/>
                        </a:lnTo>
                        <a:lnTo>
                          <a:pt x="23535" y="2755"/>
                        </a:lnTo>
                        <a:lnTo>
                          <a:pt x="23504" y="2750"/>
                        </a:lnTo>
                        <a:lnTo>
                          <a:pt x="23400" y="2832"/>
                        </a:lnTo>
                        <a:lnTo>
                          <a:pt x="23395" y="2849"/>
                        </a:lnTo>
                        <a:lnTo>
                          <a:pt x="23362" y="2849"/>
                        </a:lnTo>
                        <a:lnTo>
                          <a:pt x="23346" y="2866"/>
                        </a:lnTo>
                        <a:lnTo>
                          <a:pt x="23357" y="2849"/>
                        </a:lnTo>
                        <a:lnTo>
                          <a:pt x="23346" y="2844"/>
                        </a:lnTo>
                        <a:lnTo>
                          <a:pt x="23362" y="2821"/>
                        </a:lnTo>
                        <a:lnTo>
                          <a:pt x="23346" y="2821"/>
                        </a:lnTo>
                        <a:lnTo>
                          <a:pt x="23324" y="2828"/>
                        </a:lnTo>
                        <a:lnTo>
                          <a:pt x="23331" y="2809"/>
                        </a:lnTo>
                        <a:lnTo>
                          <a:pt x="23331" y="2792"/>
                        </a:lnTo>
                        <a:lnTo>
                          <a:pt x="23324" y="2792"/>
                        </a:lnTo>
                        <a:lnTo>
                          <a:pt x="23362" y="2738"/>
                        </a:lnTo>
                        <a:lnTo>
                          <a:pt x="23362" y="2717"/>
                        </a:lnTo>
                        <a:lnTo>
                          <a:pt x="23303" y="2750"/>
                        </a:lnTo>
                        <a:lnTo>
                          <a:pt x="23294" y="2721"/>
                        </a:lnTo>
                        <a:lnTo>
                          <a:pt x="23287" y="2721"/>
                        </a:lnTo>
                        <a:lnTo>
                          <a:pt x="23202" y="2738"/>
                        </a:lnTo>
                        <a:lnTo>
                          <a:pt x="23164" y="2733"/>
                        </a:lnTo>
                        <a:lnTo>
                          <a:pt x="23109" y="2766"/>
                        </a:lnTo>
                        <a:lnTo>
                          <a:pt x="23105" y="2804"/>
                        </a:lnTo>
                        <a:lnTo>
                          <a:pt x="23060" y="2821"/>
                        </a:lnTo>
                        <a:lnTo>
                          <a:pt x="23055" y="2832"/>
                        </a:lnTo>
                        <a:lnTo>
                          <a:pt x="23050" y="2849"/>
                        </a:lnTo>
                        <a:lnTo>
                          <a:pt x="22984" y="2887"/>
                        </a:lnTo>
                        <a:lnTo>
                          <a:pt x="22963" y="2915"/>
                        </a:lnTo>
                        <a:lnTo>
                          <a:pt x="22946" y="2936"/>
                        </a:lnTo>
                        <a:lnTo>
                          <a:pt x="22930" y="2943"/>
                        </a:lnTo>
                        <a:lnTo>
                          <a:pt x="22942" y="2972"/>
                        </a:lnTo>
                        <a:lnTo>
                          <a:pt x="22925" y="2988"/>
                        </a:lnTo>
                        <a:lnTo>
                          <a:pt x="22925" y="2993"/>
                        </a:lnTo>
                        <a:lnTo>
                          <a:pt x="22953" y="2993"/>
                        </a:lnTo>
                        <a:lnTo>
                          <a:pt x="22946" y="2977"/>
                        </a:lnTo>
                        <a:lnTo>
                          <a:pt x="22984" y="2988"/>
                        </a:lnTo>
                        <a:lnTo>
                          <a:pt x="23001" y="2998"/>
                        </a:lnTo>
                        <a:lnTo>
                          <a:pt x="22996" y="3014"/>
                        </a:lnTo>
                        <a:lnTo>
                          <a:pt x="22968" y="3026"/>
                        </a:lnTo>
                        <a:lnTo>
                          <a:pt x="22946" y="3014"/>
                        </a:lnTo>
                        <a:lnTo>
                          <a:pt x="22942" y="3014"/>
                        </a:lnTo>
                        <a:lnTo>
                          <a:pt x="22930" y="3031"/>
                        </a:lnTo>
                        <a:lnTo>
                          <a:pt x="22916" y="3031"/>
                        </a:lnTo>
                        <a:lnTo>
                          <a:pt x="22899" y="3014"/>
                        </a:lnTo>
                        <a:lnTo>
                          <a:pt x="22871" y="3010"/>
                        </a:lnTo>
                        <a:lnTo>
                          <a:pt x="22861" y="3026"/>
                        </a:lnTo>
                        <a:lnTo>
                          <a:pt x="22845" y="3031"/>
                        </a:lnTo>
                        <a:lnTo>
                          <a:pt x="22840" y="3047"/>
                        </a:lnTo>
                        <a:lnTo>
                          <a:pt x="22802" y="3031"/>
                        </a:lnTo>
                        <a:lnTo>
                          <a:pt x="22786" y="3043"/>
                        </a:lnTo>
                        <a:lnTo>
                          <a:pt x="22779" y="3047"/>
                        </a:lnTo>
                        <a:lnTo>
                          <a:pt x="22731" y="3059"/>
                        </a:lnTo>
                        <a:lnTo>
                          <a:pt x="22710" y="3026"/>
                        </a:lnTo>
                        <a:lnTo>
                          <a:pt x="22791" y="3014"/>
                        </a:lnTo>
                        <a:lnTo>
                          <a:pt x="22765" y="3010"/>
                        </a:lnTo>
                        <a:lnTo>
                          <a:pt x="22748" y="2988"/>
                        </a:lnTo>
                        <a:lnTo>
                          <a:pt x="22731" y="2977"/>
                        </a:lnTo>
                        <a:lnTo>
                          <a:pt x="22698" y="2977"/>
                        </a:lnTo>
                        <a:lnTo>
                          <a:pt x="22698" y="2988"/>
                        </a:lnTo>
                        <a:lnTo>
                          <a:pt x="22682" y="2993"/>
                        </a:lnTo>
                        <a:lnTo>
                          <a:pt x="22682" y="2988"/>
                        </a:lnTo>
                        <a:lnTo>
                          <a:pt x="22665" y="2988"/>
                        </a:lnTo>
                        <a:lnTo>
                          <a:pt x="22682" y="2977"/>
                        </a:lnTo>
                        <a:lnTo>
                          <a:pt x="22606" y="2953"/>
                        </a:lnTo>
                        <a:lnTo>
                          <a:pt x="22568" y="2972"/>
                        </a:lnTo>
                        <a:lnTo>
                          <a:pt x="22576" y="2993"/>
                        </a:lnTo>
                        <a:lnTo>
                          <a:pt x="22559" y="2993"/>
                        </a:lnTo>
                        <a:lnTo>
                          <a:pt x="22552" y="2977"/>
                        </a:lnTo>
                        <a:lnTo>
                          <a:pt x="22547" y="2988"/>
                        </a:lnTo>
                        <a:lnTo>
                          <a:pt x="22547" y="2998"/>
                        </a:lnTo>
                        <a:lnTo>
                          <a:pt x="22559" y="2998"/>
                        </a:lnTo>
                        <a:lnTo>
                          <a:pt x="22559" y="3010"/>
                        </a:lnTo>
                        <a:lnTo>
                          <a:pt x="22521" y="3010"/>
                        </a:lnTo>
                        <a:lnTo>
                          <a:pt x="22521" y="2993"/>
                        </a:lnTo>
                        <a:lnTo>
                          <a:pt x="22505" y="2993"/>
                        </a:lnTo>
                        <a:lnTo>
                          <a:pt x="22462" y="3010"/>
                        </a:lnTo>
                        <a:lnTo>
                          <a:pt x="22391" y="2993"/>
                        </a:lnTo>
                        <a:lnTo>
                          <a:pt x="22375" y="2993"/>
                        </a:lnTo>
                        <a:lnTo>
                          <a:pt x="22375" y="3014"/>
                        </a:lnTo>
                        <a:lnTo>
                          <a:pt x="22354" y="3026"/>
                        </a:lnTo>
                        <a:lnTo>
                          <a:pt x="22337" y="3010"/>
                        </a:lnTo>
                        <a:lnTo>
                          <a:pt x="22342" y="2993"/>
                        </a:lnTo>
                        <a:lnTo>
                          <a:pt x="22207" y="2993"/>
                        </a:lnTo>
                        <a:lnTo>
                          <a:pt x="22160" y="2998"/>
                        </a:lnTo>
                        <a:lnTo>
                          <a:pt x="22084" y="3031"/>
                        </a:lnTo>
                        <a:lnTo>
                          <a:pt x="22051" y="3071"/>
                        </a:lnTo>
                        <a:lnTo>
                          <a:pt x="21980" y="3121"/>
                        </a:lnTo>
                        <a:lnTo>
                          <a:pt x="21964" y="3158"/>
                        </a:lnTo>
                        <a:lnTo>
                          <a:pt x="21938" y="3175"/>
                        </a:lnTo>
                        <a:lnTo>
                          <a:pt x="21900" y="3215"/>
                        </a:lnTo>
                        <a:lnTo>
                          <a:pt x="21872" y="3225"/>
                        </a:lnTo>
                        <a:lnTo>
                          <a:pt x="21857" y="3248"/>
                        </a:lnTo>
                        <a:lnTo>
                          <a:pt x="21834" y="3248"/>
                        </a:lnTo>
                        <a:lnTo>
                          <a:pt x="21803" y="3293"/>
                        </a:lnTo>
                        <a:lnTo>
                          <a:pt x="21803" y="3303"/>
                        </a:lnTo>
                        <a:lnTo>
                          <a:pt x="21775" y="3336"/>
                        </a:lnTo>
                        <a:lnTo>
                          <a:pt x="21683" y="3397"/>
                        </a:lnTo>
                        <a:lnTo>
                          <a:pt x="21668" y="3421"/>
                        </a:lnTo>
                        <a:lnTo>
                          <a:pt x="21619" y="3437"/>
                        </a:lnTo>
                        <a:lnTo>
                          <a:pt x="21598" y="3458"/>
                        </a:lnTo>
                        <a:lnTo>
                          <a:pt x="21602" y="3475"/>
                        </a:lnTo>
                        <a:lnTo>
                          <a:pt x="21635" y="3491"/>
                        </a:lnTo>
                        <a:lnTo>
                          <a:pt x="21711" y="3487"/>
                        </a:lnTo>
                        <a:lnTo>
                          <a:pt x="21711" y="3491"/>
                        </a:lnTo>
                        <a:lnTo>
                          <a:pt x="21706" y="3508"/>
                        </a:lnTo>
                        <a:lnTo>
                          <a:pt x="21711" y="3532"/>
                        </a:lnTo>
                        <a:lnTo>
                          <a:pt x="21694" y="3558"/>
                        </a:lnTo>
                        <a:lnTo>
                          <a:pt x="21706" y="3569"/>
                        </a:lnTo>
                        <a:lnTo>
                          <a:pt x="21737" y="3565"/>
                        </a:lnTo>
                        <a:lnTo>
                          <a:pt x="21744" y="3548"/>
                        </a:lnTo>
                        <a:lnTo>
                          <a:pt x="21728" y="3532"/>
                        </a:lnTo>
                        <a:lnTo>
                          <a:pt x="21737" y="3532"/>
                        </a:lnTo>
                        <a:lnTo>
                          <a:pt x="21775" y="3515"/>
                        </a:lnTo>
                        <a:lnTo>
                          <a:pt x="21744" y="3541"/>
                        </a:lnTo>
                        <a:lnTo>
                          <a:pt x="21744" y="3548"/>
                        </a:lnTo>
                        <a:lnTo>
                          <a:pt x="21765" y="3558"/>
                        </a:lnTo>
                        <a:lnTo>
                          <a:pt x="21782" y="3558"/>
                        </a:lnTo>
                        <a:lnTo>
                          <a:pt x="21765" y="3565"/>
                        </a:lnTo>
                        <a:lnTo>
                          <a:pt x="21758" y="3581"/>
                        </a:lnTo>
                        <a:lnTo>
                          <a:pt x="21737" y="3586"/>
                        </a:lnTo>
                        <a:lnTo>
                          <a:pt x="21744" y="3598"/>
                        </a:lnTo>
                        <a:lnTo>
                          <a:pt x="21791" y="3598"/>
                        </a:lnTo>
                        <a:lnTo>
                          <a:pt x="21813" y="3581"/>
                        </a:lnTo>
                        <a:lnTo>
                          <a:pt x="21820" y="3565"/>
                        </a:lnTo>
                        <a:lnTo>
                          <a:pt x="21834" y="3548"/>
                        </a:lnTo>
                        <a:lnTo>
                          <a:pt x="21834" y="3569"/>
                        </a:lnTo>
                        <a:lnTo>
                          <a:pt x="21813" y="3598"/>
                        </a:lnTo>
                        <a:lnTo>
                          <a:pt x="21829" y="3598"/>
                        </a:lnTo>
                        <a:lnTo>
                          <a:pt x="21834" y="3581"/>
                        </a:lnTo>
                        <a:lnTo>
                          <a:pt x="21850" y="3548"/>
                        </a:lnTo>
                        <a:lnTo>
                          <a:pt x="21846" y="3525"/>
                        </a:lnTo>
                        <a:lnTo>
                          <a:pt x="21834" y="3525"/>
                        </a:lnTo>
                        <a:lnTo>
                          <a:pt x="21888" y="3532"/>
                        </a:lnTo>
                        <a:lnTo>
                          <a:pt x="21909" y="3515"/>
                        </a:lnTo>
                        <a:lnTo>
                          <a:pt x="21954" y="3548"/>
                        </a:lnTo>
                        <a:lnTo>
                          <a:pt x="21954" y="3565"/>
                        </a:lnTo>
                        <a:lnTo>
                          <a:pt x="21976" y="3586"/>
                        </a:lnTo>
                        <a:lnTo>
                          <a:pt x="22009" y="3598"/>
                        </a:lnTo>
                        <a:lnTo>
                          <a:pt x="21997" y="3603"/>
                        </a:lnTo>
                        <a:lnTo>
                          <a:pt x="22035" y="3619"/>
                        </a:lnTo>
                        <a:lnTo>
                          <a:pt x="22035" y="3636"/>
                        </a:lnTo>
                        <a:lnTo>
                          <a:pt x="22018" y="3643"/>
                        </a:lnTo>
                        <a:lnTo>
                          <a:pt x="22018" y="3652"/>
                        </a:lnTo>
                        <a:lnTo>
                          <a:pt x="21980" y="3636"/>
                        </a:lnTo>
                        <a:lnTo>
                          <a:pt x="22018" y="3669"/>
                        </a:lnTo>
                        <a:lnTo>
                          <a:pt x="22030" y="3680"/>
                        </a:lnTo>
                        <a:lnTo>
                          <a:pt x="22013" y="3709"/>
                        </a:lnTo>
                        <a:lnTo>
                          <a:pt x="22046" y="3725"/>
                        </a:lnTo>
                        <a:lnTo>
                          <a:pt x="22030" y="3747"/>
                        </a:lnTo>
                        <a:lnTo>
                          <a:pt x="22035" y="3751"/>
                        </a:lnTo>
                        <a:lnTo>
                          <a:pt x="21997" y="3780"/>
                        </a:lnTo>
                        <a:lnTo>
                          <a:pt x="21997" y="3791"/>
                        </a:lnTo>
                        <a:lnTo>
                          <a:pt x="21992" y="3803"/>
                        </a:lnTo>
                        <a:lnTo>
                          <a:pt x="21997" y="3803"/>
                        </a:lnTo>
                        <a:lnTo>
                          <a:pt x="21997" y="3808"/>
                        </a:lnTo>
                        <a:lnTo>
                          <a:pt x="21980" y="3808"/>
                        </a:lnTo>
                        <a:lnTo>
                          <a:pt x="21980" y="3846"/>
                        </a:lnTo>
                        <a:lnTo>
                          <a:pt x="21976" y="3858"/>
                        </a:lnTo>
                        <a:lnTo>
                          <a:pt x="21964" y="3862"/>
                        </a:lnTo>
                        <a:lnTo>
                          <a:pt x="21964" y="3919"/>
                        </a:lnTo>
                        <a:lnTo>
                          <a:pt x="21976" y="3931"/>
                        </a:lnTo>
                        <a:lnTo>
                          <a:pt x="21980" y="3931"/>
                        </a:lnTo>
                        <a:lnTo>
                          <a:pt x="21959" y="3947"/>
                        </a:lnTo>
                        <a:lnTo>
                          <a:pt x="21976" y="3973"/>
                        </a:lnTo>
                        <a:lnTo>
                          <a:pt x="21959" y="4006"/>
                        </a:lnTo>
                        <a:lnTo>
                          <a:pt x="21959" y="4030"/>
                        </a:lnTo>
                        <a:lnTo>
                          <a:pt x="21954" y="4047"/>
                        </a:lnTo>
                        <a:lnTo>
                          <a:pt x="21942" y="4080"/>
                        </a:lnTo>
                        <a:lnTo>
                          <a:pt x="21883" y="4141"/>
                        </a:lnTo>
                        <a:lnTo>
                          <a:pt x="21867" y="4174"/>
                        </a:lnTo>
                        <a:lnTo>
                          <a:pt x="21834" y="4207"/>
                        </a:lnTo>
                        <a:lnTo>
                          <a:pt x="21820" y="4252"/>
                        </a:lnTo>
                        <a:lnTo>
                          <a:pt x="21796" y="4285"/>
                        </a:lnTo>
                        <a:lnTo>
                          <a:pt x="21683" y="4413"/>
                        </a:lnTo>
                        <a:lnTo>
                          <a:pt x="21668" y="4434"/>
                        </a:lnTo>
                        <a:lnTo>
                          <a:pt x="21640" y="4451"/>
                        </a:lnTo>
                        <a:lnTo>
                          <a:pt x="21631" y="4474"/>
                        </a:lnTo>
                        <a:lnTo>
                          <a:pt x="21614" y="4484"/>
                        </a:lnTo>
                        <a:lnTo>
                          <a:pt x="21619" y="4491"/>
                        </a:lnTo>
                        <a:lnTo>
                          <a:pt x="21619" y="4500"/>
                        </a:lnTo>
                        <a:lnTo>
                          <a:pt x="21586" y="4524"/>
                        </a:lnTo>
                        <a:lnTo>
                          <a:pt x="21527" y="4562"/>
                        </a:lnTo>
                        <a:lnTo>
                          <a:pt x="21505" y="4578"/>
                        </a:lnTo>
                        <a:lnTo>
                          <a:pt x="21456" y="4595"/>
                        </a:lnTo>
                        <a:lnTo>
                          <a:pt x="21442" y="4595"/>
                        </a:lnTo>
                        <a:lnTo>
                          <a:pt x="21442" y="4583"/>
                        </a:lnTo>
                        <a:lnTo>
                          <a:pt x="21435" y="4595"/>
                        </a:lnTo>
                        <a:lnTo>
                          <a:pt x="21425" y="4578"/>
                        </a:lnTo>
                        <a:lnTo>
                          <a:pt x="21413" y="4583"/>
                        </a:lnTo>
                        <a:lnTo>
                          <a:pt x="21404" y="4578"/>
                        </a:lnTo>
                        <a:lnTo>
                          <a:pt x="21397" y="4583"/>
                        </a:lnTo>
                        <a:lnTo>
                          <a:pt x="21397" y="4545"/>
                        </a:lnTo>
                        <a:lnTo>
                          <a:pt x="21371" y="4562"/>
                        </a:lnTo>
                        <a:lnTo>
                          <a:pt x="21366" y="4562"/>
                        </a:lnTo>
                        <a:lnTo>
                          <a:pt x="21380" y="4540"/>
                        </a:lnTo>
                        <a:lnTo>
                          <a:pt x="21359" y="4540"/>
                        </a:lnTo>
                        <a:lnTo>
                          <a:pt x="21333" y="4578"/>
                        </a:lnTo>
                        <a:lnTo>
                          <a:pt x="21317" y="4583"/>
                        </a:lnTo>
                        <a:lnTo>
                          <a:pt x="21317" y="4611"/>
                        </a:lnTo>
                        <a:lnTo>
                          <a:pt x="21312" y="4602"/>
                        </a:lnTo>
                        <a:lnTo>
                          <a:pt x="21279" y="4595"/>
                        </a:lnTo>
                        <a:lnTo>
                          <a:pt x="21295" y="4611"/>
                        </a:lnTo>
                        <a:lnTo>
                          <a:pt x="21279" y="4635"/>
                        </a:lnTo>
                        <a:lnTo>
                          <a:pt x="21274" y="4618"/>
                        </a:lnTo>
                        <a:lnTo>
                          <a:pt x="21274" y="4602"/>
                        </a:lnTo>
                        <a:lnTo>
                          <a:pt x="21262" y="4595"/>
                        </a:lnTo>
                        <a:lnTo>
                          <a:pt x="21312" y="4578"/>
                        </a:lnTo>
                        <a:lnTo>
                          <a:pt x="21312" y="4562"/>
                        </a:lnTo>
                        <a:lnTo>
                          <a:pt x="21328" y="4540"/>
                        </a:lnTo>
                        <a:lnTo>
                          <a:pt x="21317" y="4524"/>
                        </a:lnTo>
                        <a:lnTo>
                          <a:pt x="21328" y="4474"/>
                        </a:lnTo>
                        <a:lnTo>
                          <a:pt x="21312" y="4417"/>
                        </a:lnTo>
                        <a:lnTo>
                          <a:pt x="21295" y="4401"/>
                        </a:lnTo>
                        <a:lnTo>
                          <a:pt x="21333" y="4396"/>
                        </a:lnTo>
                        <a:lnTo>
                          <a:pt x="21366" y="4363"/>
                        </a:lnTo>
                        <a:lnTo>
                          <a:pt x="21371" y="4373"/>
                        </a:lnTo>
                        <a:lnTo>
                          <a:pt x="21435" y="4389"/>
                        </a:lnTo>
                        <a:lnTo>
                          <a:pt x="21451" y="4380"/>
                        </a:lnTo>
                        <a:lnTo>
                          <a:pt x="21451" y="4356"/>
                        </a:lnTo>
                        <a:lnTo>
                          <a:pt x="21472" y="4340"/>
                        </a:lnTo>
                        <a:lnTo>
                          <a:pt x="21472" y="4318"/>
                        </a:lnTo>
                        <a:lnTo>
                          <a:pt x="21505" y="4278"/>
                        </a:lnTo>
                        <a:lnTo>
                          <a:pt x="21510" y="4269"/>
                        </a:lnTo>
                        <a:lnTo>
                          <a:pt x="21505" y="4262"/>
                        </a:lnTo>
                        <a:lnTo>
                          <a:pt x="21510" y="4245"/>
                        </a:lnTo>
                        <a:lnTo>
                          <a:pt x="21522" y="4207"/>
                        </a:lnTo>
                        <a:lnTo>
                          <a:pt x="21527" y="4207"/>
                        </a:lnTo>
                        <a:lnTo>
                          <a:pt x="21527" y="4179"/>
                        </a:lnTo>
                        <a:lnTo>
                          <a:pt x="21548" y="4167"/>
                        </a:lnTo>
                        <a:lnTo>
                          <a:pt x="21565" y="4151"/>
                        </a:lnTo>
                        <a:lnTo>
                          <a:pt x="21548" y="4117"/>
                        </a:lnTo>
                        <a:lnTo>
                          <a:pt x="21565" y="4096"/>
                        </a:lnTo>
                        <a:lnTo>
                          <a:pt x="21543" y="4084"/>
                        </a:lnTo>
                        <a:lnTo>
                          <a:pt x="21494" y="4096"/>
                        </a:lnTo>
                        <a:lnTo>
                          <a:pt x="21479" y="4117"/>
                        </a:lnTo>
                        <a:lnTo>
                          <a:pt x="21451" y="4113"/>
                        </a:lnTo>
                        <a:lnTo>
                          <a:pt x="21418" y="4134"/>
                        </a:lnTo>
                        <a:lnTo>
                          <a:pt x="21413" y="4151"/>
                        </a:lnTo>
                        <a:lnTo>
                          <a:pt x="21305" y="4151"/>
                        </a:lnTo>
                        <a:lnTo>
                          <a:pt x="21295" y="4125"/>
                        </a:lnTo>
                        <a:lnTo>
                          <a:pt x="21279" y="4113"/>
                        </a:lnTo>
                        <a:lnTo>
                          <a:pt x="21291" y="4096"/>
                        </a:lnTo>
                        <a:lnTo>
                          <a:pt x="21274" y="4063"/>
                        </a:lnTo>
                        <a:lnTo>
                          <a:pt x="21279" y="4040"/>
                        </a:lnTo>
                        <a:lnTo>
                          <a:pt x="21253" y="4040"/>
                        </a:lnTo>
                        <a:lnTo>
                          <a:pt x="21224" y="4023"/>
                        </a:lnTo>
                        <a:lnTo>
                          <a:pt x="21208" y="4006"/>
                        </a:lnTo>
                        <a:lnTo>
                          <a:pt x="21203" y="4002"/>
                        </a:lnTo>
                        <a:lnTo>
                          <a:pt x="21198" y="3990"/>
                        </a:lnTo>
                        <a:lnTo>
                          <a:pt x="21170" y="4002"/>
                        </a:lnTo>
                        <a:lnTo>
                          <a:pt x="21149" y="3973"/>
                        </a:lnTo>
                        <a:lnTo>
                          <a:pt x="21078" y="3973"/>
                        </a:lnTo>
                        <a:lnTo>
                          <a:pt x="21057" y="3952"/>
                        </a:lnTo>
                        <a:lnTo>
                          <a:pt x="21057" y="3931"/>
                        </a:lnTo>
                        <a:lnTo>
                          <a:pt x="21064" y="3914"/>
                        </a:lnTo>
                        <a:lnTo>
                          <a:pt x="21047" y="3903"/>
                        </a:lnTo>
                        <a:lnTo>
                          <a:pt x="21040" y="3891"/>
                        </a:lnTo>
                        <a:lnTo>
                          <a:pt x="21047" y="3879"/>
                        </a:lnTo>
                        <a:lnTo>
                          <a:pt x="21040" y="3862"/>
                        </a:lnTo>
                        <a:lnTo>
                          <a:pt x="21019" y="3836"/>
                        </a:lnTo>
                        <a:lnTo>
                          <a:pt x="21019" y="3808"/>
                        </a:lnTo>
                        <a:lnTo>
                          <a:pt x="21009" y="3820"/>
                        </a:lnTo>
                        <a:lnTo>
                          <a:pt x="21019" y="3803"/>
                        </a:lnTo>
                        <a:lnTo>
                          <a:pt x="21009" y="3803"/>
                        </a:lnTo>
                        <a:lnTo>
                          <a:pt x="21002" y="3768"/>
                        </a:lnTo>
                        <a:lnTo>
                          <a:pt x="20981" y="3747"/>
                        </a:lnTo>
                        <a:lnTo>
                          <a:pt x="20993" y="3730"/>
                        </a:lnTo>
                        <a:lnTo>
                          <a:pt x="20972" y="3730"/>
                        </a:lnTo>
                        <a:lnTo>
                          <a:pt x="20981" y="3709"/>
                        </a:lnTo>
                        <a:lnTo>
                          <a:pt x="20965" y="3692"/>
                        </a:lnTo>
                        <a:lnTo>
                          <a:pt x="20950" y="3692"/>
                        </a:lnTo>
                        <a:lnTo>
                          <a:pt x="20955" y="3676"/>
                        </a:lnTo>
                        <a:lnTo>
                          <a:pt x="20927" y="3659"/>
                        </a:lnTo>
                        <a:lnTo>
                          <a:pt x="20934" y="3652"/>
                        </a:lnTo>
                        <a:lnTo>
                          <a:pt x="20927" y="3643"/>
                        </a:lnTo>
                        <a:lnTo>
                          <a:pt x="20896" y="3624"/>
                        </a:lnTo>
                        <a:lnTo>
                          <a:pt x="20875" y="3636"/>
                        </a:lnTo>
                        <a:lnTo>
                          <a:pt x="20846" y="3624"/>
                        </a:lnTo>
                        <a:lnTo>
                          <a:pt x="20830" y="3614"/>
                        </a:lnTo>
                        <a:lnTo>
                          <a:pt x="20820" y="3614"/>
                        </a:lnTo>
                        <a:lnTo>
                          <a:pt x="20787" y="3598"/>
                        </a:lnTo>
                        <a:lnTo>
                          <a:pt x="20587" y="3619"/>
                        </a:lnTo>
                        <a:lnTo>
                          <a:pt x="20535" y="3669"/>
                        </a:lnTo>
                        <a:lnTo>
                          <a:pt x="20539" y="3692"/>
                        </a:lnTo>
                        <a:lnTo>
                          <a:pt x="20561" y="3680"/>
                        </a:lnTo>
                        <a:lnTo>
                          <a:pt x="20577" y="3692"/>
                        </a:lnTo>
                        <a:lnTo>
                          <a:pt x="20577" y="3714"/>
                        </a:lnTo>
                        <a:lnTo>
                          <a:pt x="20587" y="3730"/>
                        </a:lnTo>
                        <a:lnTo>
                          <a:pt x="20577" y="3751"/>
                        </a:lnTo>
                        <a:lnTo>
                          <a:pt x="20539" y="3780"/>
                        </a:lnTo>
                        <a:lnTo>
                          <a:pt x="20518" y="3836"/>
                        </a:lnTo>
                        <a:lnTo>
                          <a:pt x="20502" y="3846"/>
                        </a:lnTo>
                        <a:lnTo>
                          <a:pt x="20497" y="3862"/>
                        </a:lnTo>
                        <a:lnTo>
                          <a:pt x="20468" y="3895"/>
                        </a:lnTo>
                        <a:lnTo>
                          <a:pt x="20485" y="3903"/>
                        </a:lnTo>
                        <a:lnTo>
                          <a:pt x="20485" y="3931"/>
                        </a:lnTo>
                        <a:lnTo>
                          <a:pt x="20468" y="3936"/>
                        </a:lnTo>
                        <a:lnTo>
                          <a:pt x="20431" y="3947"/>
                        </a:lnTo>
                        <a:lnTo>
                          <a:pt x="20388" y="3985"/>
                        </a:lnTo>
                        <a:lnTo>
                          <a:pt x="20301" y="3952"/>
                        </a:lnTo>
                        <a:lnTo>
                          <a:pt x="20291" y="3947"/>
                        </a:lnTo>
                        <a:lnTo>
                          <a:pt x="20270" y="3936"/>
                        </a:lnTo>
                        <a:lnTo>
                          <a:pt x="20232" y="3947"/>
                        </a:lnTo>
                        <a:lnTo>
                          <a:pt x="20209" y="3947"/>
                        </a:lnTo>
                        <a:lnTo>
                          <a:pt x="20171" y="3914"/>
                        </a:lnTo>
                        <a:lnTo>
                          <a:pt x="20128" y="3903"/>
                        </a:lnTo>
                        <a:lnTo>
                          <a:pt x="20053" y="3952"/>
                        </a:lnTo>
                        <a:lnTo>
                          <a:pt x="20048" y="3973"/>
                        </a:lnTo>
                        <a:lnTo>
                          <a:pt x="19923" y="4002"/>
                        </a:lnTo>
                        <a:lnTo>
                          <a:pt x="19885" y="4014"/>
                        </a:lnTo>
                        <a:lnTo>
                          <a:pt x="19800" y="4006"/>
                        </a:lnTo>
                        <a:lnTo>
                          <a:pt x="19779" y="3990"/>
                        </a:lnTo>
                        <a:lnTo>
                          <a:pt x="19729" y="4002"/>
                        </a:lnTo>
                        <a:lnTo>
                          <a:pt x="19687" y="3969"/>
                        </a:lnTo>
                        <a:lnTo>
                          <a:pt x="19691" y="3947"/>
                        </a:lnTo>
                        <a:lnTo>
                          <a:pt x="19628" y="3936"/>
                        </a:lnTo>
                        <a:lnTo>
                          <a:pt x="19620" y="3919"/>
                        </a:lnTo>
                        <a:lnTo>
                          <a:pt x="19599" y="3903"/>
                        </a:lnTo>
                        <a:lnTo>
                          <a:pt x="19566" y="3903"/>
                        </a:lnTo>
                        <a:lnTo>
                          <a:pt x="19552" y="3895"/>
                        </a:lnTo>
                        <a:lnTo>
                          <a:pt x="19507" y="3891"/>
                        </a:lnTo>
                        <a:lnTo>
                          <a:pt x="19439" y="3903"/>
                        </a:lnTo>
                        <a:lnTo>
                          <a:pt x="19410" y="3919"/>
                        </a:lnTo>
                        <a:lnTo>
                          <a:pt x="19401" y="3919"/>
                        </a:lnTo>
                        <a:lnTo>
                          <a:pt x="19389" y="3919"/>
                        </a:lnTo>
                        <a:lnTo>
                          <a:pt x="19356" y="3919"/>
                        </a:lnTo>
                        <a:lnTo>
                          <a:pt x="19351" y="3903"/>
                        </a:lnTo>
                        <a:lnTo>
                          <a:pt x="19335" y="3903"/>
                        </a:lnTo>
                        <a:lnTo>
                          <a:pt x="19292" y="3879"/>
                        </a:lnTo>
                        <a:lnTo>
                          <a:pt x="19297" y="3862"/>
                        </a:lnTo>
                        <a:lnTo>
                          <a:pt x="19280" y="3858"/>
                        </a:lnTo>
                        <a:lnTo>
                          <a:pt x="19292" y="3841"/>
                        </a:lnTo>
                        <a:lnTo>
                          <a:pt x="19280" y="3825"/>
                        </a:lnTo>
                        <a:lnTo>
                          <a:pt x="19280" y="3808"/>
                        </a:lnTo>
                        <a:lnTo>
                          <a:pt x="19243" y="3791"/>
                        </a:lnTo>
                        <a:lnTo>
                          <a:pt x="19226" y="3803"/>
                        </a:lnTo>
                        <a:lnTo>
                          <a:pt x="19167" y="3768"/>
                        </a:lnTo>
                        <a:lnTo>
                          <a:pt x="19129" y="3768"/>
                        </a:lnTo>
                        <a:lnTo>
                          <a:pt x="19049" y="3730"/>
                        </a:lnTo>
                        <a:lnTo>
                          <a:pt x="19032" y="3763"/>
                        </a:lnTo>
                        <a:lnTo>
                          <a:pt x="19011" y="3768"/>
                        </a:lnTo>
                        <a:lnTo>
                          <a:pt x="19006" y="3791"/>
                        </a:lnTo>
                        <a:lnTo>
                          <a:pt x="18990" y="3791"/>
                        </a:lnTo>
                        <a:lnTo>
                          <a:pt x="18973" y="3841"/>
                        </a:lnTo>
                        <a:lnTo>
                          <a:pt x="18990" y="3858"/>
                        </a:lnTo>
                        <a:lnTo>
                          <a:pt x="18990" y="3862"/>
                        </a:lnTo>
                        <a:lnTo>
                          <a:pt x="18990" y="3874"/>
                        </a:lnTo>
                        <a:lnTo>
                          <a:pt x="19011" y="3891"/>
                        </a:lnTo>
                        <a:lnTo>
                          <a:pt x="19011" y="3903"/>
                        </a:lnTo>
                        <a:lnTo>
                          <a:pt x="18994" y="3931"/>
                        </a:lnTo>
                        <a:lnTo>
                          <a:pt x="18969" y="3936"/>
                        </a:lnTo>
                        <a:lnTo>
                          <a:pt x="18940" y="3957"/>
                        </a:lnTo>
                        <a:lnTo>
                          <a:pt x="18919" y="3947"/>
                        </a:lnTo>
                        <a:lnTo>
                          <a:pt x="18886" y="3952"/>
                        </a:lnTo>
                        <a:lnTo>
                          <a:pt x="18848" y="3936"/>
                        </a:lnTo>
                        <a:lnTo>
                          <a:pt x="18843" y="3947"/>
                        </a:lnTo>
                        <a:lnTo>
                          <a:pt x="18834" y="3936"/>
                        </a:lnTo>
                        <a:lnTo>
                          <a:pt x="18810" y="3947"/>
                        </a:lnTo>
                        <a:lnTo>
                          <a:pt x="18780" y="3936"/>
                        </a:lnTo>
                        <a:lnTo>
                          <a:pt x="18772" y="3931"/>
                        </a:lnTo>
                        <a:lnTo>
                          <a:pt x="18751" y="3936"/>
                        </a:lnTo>
                        <a:lnTo>
                          <a:pt x="18735" y="3914"/>
                        </a:lnTo>
                        <a:lnTo>
                          <a:pt x="18725" y="3879"/>
                        </a:lnTo>
                        <a:lnTo>
                          <a:pt x="18645" y="3879"/>
                        </a:lnTo>
                        <a:lnTo>
                          <a:pt x="18633" y="3874"/>
                        </a:lnTo>
                        <a:lnTo>
                          <a:pt x="18633" y="3858"/>
                        </a:lnTo>
                        <a:lnTo>
                          <a:pt x="18628" y="3858"/>
                        </a:lnTo>
                        <a:lnTo>
                          <a:pt x="18612" y="3874"/>
                        </a:lnTo>
                        <a:lnTo>
                          <a:pt x="18591" y="3858"/>
                        </a:lnTo>
                        <a:lnTo>
                          <a:pt x="18579" y="3862"/>
                        </a:lnTo>
                        <a:lnTo>
                          <a:pt x="18546" y="3874"/>
                        </a:lnTo>
                        <a:lnTo>
                          <a:pt x="18524" y="3891"/>
                        </a:lnTo>
                        <a:lnTo>
                          <a:pt x="18494" y="3895"/>
                        </a:lnTo>
                        <a:lnTo>
                          <a:pt x="18482" y="3914"/>
                        </a:lnTo>
                        <a:lnTo>
                          <a:pt x="18432" y="3931"/>
                        </a:lnTo>
                        <a:lnTo>
                          <a:pt x="18428" y="3936"/>
                        </a:lnTo>
                        <a:lnTo>
                          <a:pt x="18402" y="3947"/>
                        </a:lnTo>
                        <a:lnTo>
                          <a:pt x="18411" y="3957"/>
                        </a:lnTo>
                        <a:lnTo>
                          <a:pt x="18380" y="3973"/>
                        </a:lnTo>
                        <a:lnTo>
                          <a:pt x="18373" y="3969"/>
                        </a:lnTo>
                        <a:lnTo>
                          <a:pt x="18373" y="3985"/>
                        </a:lnTo>
                        <a:lnTo>
                          <a:pt x="18357" y="3985"/>
                        </a:lnTo>
                        <a:lnTo>
                          <a:pt x="18347" y="3973"/>
                        </a:lnTo>
                        <a:lnTo>
                          <a:pt x="18347" y="3990"/>
                        </a:lnTo>
                        <a:lnTo>
                          <a:pt x="18305" y="3985"/>
                        </a:lnTo>
                        <a:lnTo>
                          <a:pt x="18293" y="3990"/>
                        </a:lnTo>
                        <a:lnTo>
                          <a:pt x="18293" y="4006"/>
                        </a:lnTo>
                        <a:lnTo>
                          <a:pt x="18276" y="4014"/>
                        </a:lnTo>
                        <a:lnTo>
                          <a:pt x="18239" y="4023"/>
                        </a:lnTo>
                        <a:lnTo>
                          <a:pt x="18239" y="4006"/>
                        </a:lnTo>
                        <a:lnTo>
                          <a:pt x="18213" y="4002"/>
                        </a:lnTo>
                        <a:lnTo>
                          <a:pt x="18213" y="3985"/>
                        </a:lnTo>
                        <a:lnTo>
                          <a:pt x="18184" y="3973"/>
                        </a:lnTo>
                        <a:lnTo>
                          <a:pt x="18201" y="3957"/>
                        </a:lnTo>
                        <a:lnTo>
                          <a:pt x="18201" y="3952"/>
                        </a:lnTo>
                        <a:lnTo>
                          <a:pt x="18184" y="3952"/>
                        </a:lnTo>
                        <a:lnTo>
                          <a:pt x="18163" y="3985"/>
                        </a:lnTo>
                        <a:lnTo>
                          <a:pt x="18125" y="3973"/>
                        </a:lnTo>
                        <a:lnTo>
                          <a:pt x="18092" y="3973"/>
                        </a:lnTo>
                        <a:lnTo>
                          <a:pt x="18087" y="3947"/>
                        </a:lnTo>
                        <a:lnTo>
                          <a:pt x="18078" y="3947"/>
                        </a:lnTo>
                        <a:lnTo>
                          <a:pt x="18078" y="3936"/>
                        </a:lnTo>
                        <a:lnTo>
                          <a:pt x="18078" y="3931"/>
                        </a:lnTo>
                        <a:lnTo>
                          <a:pt x="18033" y="3914"/>
                        </a:lnTo>
                        <a:lnTo>
                          <a:pt x="18002" y="3858"/>
                        </a:lnTo>
                        <a:lnTo>
                          <a:pt x="17969" y="3841"/>
                        </a:lnTo>
                        <a:lnTo>
                          <a:pt x="17915" y="3846"/>
                        </a:lnTo>
                        <a:lnTo>
                          <a:pt x="17915" y="3858"/>
                        </a:lnTo>
                        <a:lnTo>
                          <a:pt x="17898" y="3862"/>
                        </a:lnTo>
                        <a:lnTo>
                          <a:pt x="17835" y="3862"/>
                        </a:lnTo>
                        <a:lnTo>
                          <a:pt x="17823" y="3841"/>
                        </a:lnTo>
                        <a:lnTo>
                          <a:pt x="17802" y="3846"/>
                        </a:lnTo>
                        <a:lnTo>
                          <a:pt x="17806" y="3825"/>
                        </a:lnTo>
                        <a:lnTo>
                          <a:pt x="17780" y="3808"/>
                        </a:lnTo>
                        <a:lnTo>
                          <a:pt x="17769" y="3820"/>
                        </a:lnTo>
                        <a:lnTo>
                          <a:pt x="17752" y="3825"/>
                        </a:lnTo>
                        <a:lnTo>
                          <a:pt x="17764" y="3841"/>
                        </a:lnTo>
                        <a:lnTo>
                          <a:pt x="17731" y="3858"/>
                        </a:lnTo>
                        <a:lnTo>
                          <a:pt x="17731" y="3862"/>
                        </a:lnTo>
                        <a:lnTo>
                          <a:pt x="17575" y="3619"/>
                        </a:lnTo>
                        <a:lnTo>
                          <a:pt x="17483" y="3548"/>
                        </a:lnTo>
                        <a:lnTo>
                          <a:pt x="17478" y="3532"/>
                        </a:lnTo>
                        <a:lnTo>
                          <a:pt x="17495" y="3532"/>
                        </a:lnTo>
                        <a:lnTo>
                          <a:pt x="17511" y="3525"/>
                        </a:lnTo>
                        <a:lnTo>
                          <a:pt x="17499" y="3508"/>
                        </a:lnTo>
                        <a:lnTo>
                          <a:pt x="17478" y="3515"/>
                        </a:lnTo>
                        <a:lnTo>
                          <a:pt x="17461" y="3515"/>
                        </a:lnTo>
                        <a:lnTo>
                          <a:pt x="17461" y="3525"/>
                        </a:lnTo>
                        <a:lnTo>
                          <a:pt x="17407" y="3541"/>
                        </a:lnTo>
                        <a:lnTo>
                          <a:pt x="17402" y="3541"/>
                        </a:lnTo>
                        <a:lnTo>
                          <a:pt x="17407" y="3548"/>
                        </a:lnTo>
                        <a:lnTo>
                          <a:pt x="17374" y="3569"/>
                        </a:lnTo>
                        <a:lnTo>
                          <a:pt x="17360" y="3565"/>
                        </a:lnTo>
                        <a:lnTo>
                          <a:pt x="17353" y="3581"/>
                        </a:lnTo>
                        <a:lnTo>
                          <a:pt x="17336" y="3581"/>
                        </a:lnTo>
                        <a:lnTo>
                          <a:pt x="17336" y="3603"/>
                        </a:lnTo>
                        <a:lnTo>
                          <a:pt x="17322" y="3586"/>
                        </a:lnTo>
                        <a:lnTo>
                          <a:pt x="17298" y="3586"/>
                        </a:lnTo>
                        <a:lnTo>
                          <a:pt x="17284" y="3586"/>
                        </a:lnTo>
                        <a:lnTo>
                          <a:pt x="17268" y="3603"/>
                        </a:lnTo>
                        <a:lnTo>
                          <a:pt x="17251" y="3586"/>
                        </a:lnTo>
                        <a:lnTo>
                          <a:pt x="17268" y="3565"/>
                        </a:lnTo>
                        <a:lnTo>
                          <a:pt x="17284" y="3565"/>
                        </a:lnTo>
                        <a:lnTo>
                          <a:pt x="17294" y="3541"/>
                        </a:lnTo>
                        <a:lnTo>
                          <a:pt x="17251" y="3558"/>
                        </a:lnTo>
                        <a:lnTo>
                          <a:pt x="17239" y="3548"/>
                        </a:lnTo>
                        <a:lnTo>
                          <a:pt x="17230" y="3541"/>
                        </a:lnTo>
                        <a:lnTo>
                          <a:pt x="17209" y="3532"/>
                        </a:lnTo>
                        <a:lnTo>
                          <a:pt x="17197" y="3548"/>
                        </a:lnTo>
                        <a:lnTo>
                          <a:pt x="17213" y="3541"/>
                        </a:lnTo>
                        <a:lnTo>
                          <a:pt x="17213" y="3558"/>
                        </a:lnTo>
                        <a:lnTo>
                          <a:pt x="17197" y="3558"/>
                        </a:lnTo>
                        <a:lnTo>
                          <a:pt x="17192" y="3558"/>
                        </a:lnTo>
                        <a:lnTo>
                          <a:pt x="17197" y="3532"/>
                        </a:lnTo>
                        <a:lnTo>
                          <a:pt x="17185" y="3532"/>
                        </a:lnTo>
                        <a:lnTo>
                          <a:pt x="17192" y="3525"/>
                        </a:lnTo>
                        <a:lnTo>
                          <a:pt x="17176" y="3515"/>
                        </a:lnTo>
                        <a:lnTo>
                          <a:pt x="17171" y="3508"/>
                        </a:lnTo>
                        <a:lnTo>
                          <a:pt x="17176" y="3541"/>
                        </a:lnTo>
                        <a:lnTo>
                          <a:pt x="17143" y="3525"/>
                        </a:lnTo>
                        <a:lnTo>
                          <a:pt x="17138" y="3541"/>
                        </a:lnTo>
                        <a:lnTo>
                          <a:pt x="17121" y="3532"/>
                        </a:lnTo>
                        <a:lnTo>
                          <a:pt x="17105" y="3541"/>
                        </a:lnTo>
                        <a:lnTo>
                          <a:pt x="17088" y="3515"/>
                        </a:lnTo>
                        <a:lnTo>
                          <a:pt x="17105" y="3515"/>
                        </a:lnTo>
                        <a:lnTo>
                          <a:pt x="17105" y="3491"/>
                        </a:lnTo>
                        <a:lnTo>
                          <a:pt x="17117" y="3487"/>
                        </a:lnTo>
                        <a:lnTo>
                          <a:pt x="17100" y="3470"/>
                        </a:lnTo>
                        <a:lnTo>
                          <a:pt x="17088" y="3447"/>
                        </a:lnTo>
                        <a:lnTo>
                          <a:pt x="17083" y="3421"/>
                        </a:lnTo>
                        <a:lnTo>
                          <a:pt x="17062" y="3421"/>
                        </a:lnTo>
                        <a:lnTo>
                          <a:pt x="17046" y="3437"/>
                        </a:lnTo>
                        <a:lnTo>
                          <a:pt x="16996" y="3414"/>
                        </a:lnTo>
                        <a:lnTo>
                          <a:pt x="16975" y="3414"/>
                        </a:lnTo>
                        <a:lnTo>
                          <a:pt x="16970" y="3421"/>
                        </a:lnTo>
                        <a:lnTo>
                          <a:pt x="16954" y="3404"/>
                        </a:lnTo>
                        <a:lnTo>
                          <a:pt x="16954" y="3421"/>
                        </a:lnTo>
                        <a:lnTo>
                          <a:pt x="16937" y="3414"/>
                        </a:lnTo>
                        <a:lnTo>
                          <a:pt x="16928" y="3430"/>
                        </a:lnTo>
                        <a:lnTo>
                          <a:pt x="16899" y="3430"/>
                        </a:lnTo>
                        <a:lnTo>
                          <a:pt x="16906" y="3447"/>
                        </a:lnTo>
                        <a:lnTo>
                          <a:pt x="16899" y="3454"/>
                        </a:lnTo>
                        <a:lnTo>
                          <a:pt x="16883" y="3454"/>
                        </a:lnTo>
                        <a:lnTo>
                          <a:pt x="16852" y="3470"/>
                        </a:lnTo>
                        <a:lnTo>
                          <a:pt x="16743" y="3491"/>
                        </a:lnTo>
                        <a:lnTo>
                          <a:pt x="16743" y="3475"/>
                        </a:lnTo>
                        <a:lnTo>
                          <a:pt x="16727" y="3491"/>
                        </a:lnTo>
                        <a:lnTo>
                          <a:pt x="16706" y="3487"/>
                        </a:lnTo>
                        <a:lnTo>
                          <a:pt x="16689" y="3503"/>
                        </a:lnTo>
                        <a:lnTo>
                          <a:pt x="16689" y="3515"/>
                        </a:lnTo>
                        <a:lnTo>
                          <a:pt x="16668" y="3508"/>
                        </a:lnTo>
                        <a:lnTo>
                          <a:pt x="16604" y="3515"/>
                        </a:lnTo>
                        <a:lnTo>
                          <a:pt x="16604" y="3525"/>
                        </a:lnTo>
                        <a:lnTo>
                          <a:pt x="16597" y="3532"/>
                        </a:lnTo>
                        <a:lnTo>
                          <a:pt x="16580" y="3525"/>
                        </a:lnTo>
                        <a:lnTo>
                          <a:pt x="16543" y="3532"/>
                        </a:lnTo>
                        <a:lnTo>
                          <a:pt x="16543" y="3541"/>
                        </a:lnTo>
                        <a:lnTo>
                          <a:pt x="16505" y="3548"/>
                        </a:lnTo>
                        <a:lnTo>
                          <a:pt x="16505" y="3565"/>
                        </a:lnTo>
                        <a:lnTo>
                          <a:pt x="16491" y="3548"/>
                        </a:lnTo>
                        <a:lnTo>
                          <a:pt x="16467" y="3548"/>
                        </a:lnTo>
                        <a:lnTo>
                          <a:pt x="16467" y="3558"/>
                        </a:lnTo>
                        <a:lnTo>
                          <a:pt x="16420" y="3541"/>
                        </a:lnTo>
                        <a:lnTo>
                          <a:pt x="16398" y="3558"/>
                        </a:lnTo>
                        <a:lnTo>
                          <a:pt x="16398" y="3565"/>
                        </a:lnTo>
                        <a:lnTo>
                          <a:pt x="16415" y="3569"/>
                        </a:lnTo>
                        <a:lnTo>
                          <a:pt x="16398" y="3586"/>
                        </a:lnTo>
                        <a:lnTo>
                          <a:pt x="16387" y="3586"/>
                        </a:lnTo>
                        <a:lnTo>
                          <a:pt x="16424" y="3586"/>
                        </a:lnTo>
                        <a:lnTo>
                          <a:pt x="16436" y="3598"/>
                        </a:lnTo>
                        <a:lnTo>
                          <a:pt x="16420" y="3603"/>
                        </a:lnTo>
                        <a:lnTo>
                          <a:pt x="16415" y="3598"/>
                        </a:lnTo>
                        <a:lnTo>
                          <a:pt x="16403" y="3619"/>
                        </a:lnTo>
                        <a:lnTo>
                          <a:pt x="16474" y="3636"/>
                        </a:lnTo>
                        <a:lnTo>
                          <a:pt x="16474" y="3652"/>
                        </a:lnTo>
                        <a:lnTo>
                          <a:pt x="16458" y="3652"/>
                        </a:lnTo>
                        <a:lnTo>
                          <a:pt x="16424" y="3643"/>
                        </a:lnTo>
                        <a:lnTo>
                          <a:pt x="16398" y="3652"/>
                        </a:lnTo>
                        <a:lnTo>
                          <a:pt x="16370" y="3680"/>
                        </a:lnTo>
                        <a:lnTo>
                          <a:pt x="16382" y="3680"/>
                        </a:lnTo>
                        <a:lnTo>
                          <a:pt x="16382" y="3692"/>
                        </a:lnTo>
                        <a:lnTo>
                          <a:pt x="16387" y="3697"/>
                        </a:lnTo>
                        <a:lnTo>
                          <a:pt x="16398" y="3714"/>
                        </a:lnTo>
                        <a:lnTo>
                          <a:pt x="16370" y="3730"/>
                        </a:lnTo>
                        <a:lnTo>
                          <a:pt x="16361" y="3730"/>
                        </a:lnTo>
                        <a:lnTo>
                          <a:pt x="16316" y="3747"/>
                        </a:lnTo>
                        <a:lnTo>
                          <a:pt x="16328" y="3751"/>
                        </a:lnTo>
                        <a:lnTo>
                          <a:pt x="16361" y="3763"/>
                        </a:lnTo>
                        <a:lnTo>
                          <a:pt x="16349" y="3780"/>
                        </a:lnTo>
                        <a:lnTo>
                          <a:pt x="16387" y="3787"/>
                        </a:lnTo>
                        <a:lnTo>
                          <a:pt x="16387" y="3791"/>
                        </a:lnTo>
                        <a:lnTo>
                          <a:pt x="16424" y="3803"/>
                        </a:lnTo>
                        <a:lnTo>
                          <a:pt x="16441" y="3820"/>
                        </a:lnTo>
                        <a:lnTo>
                          <a:pt x="16436" y="3820"/>
                        </a:lnTo>
                        <a:lnTo>
                          <a:pt x="16420" y="3862"/>
                        </a:lnTo>
                        <a:lnTo>
                          <a:pt x="16370" y="3874"/>
                        </a:lnTo>
                        <a:lnTo>
                          <a:pt x="16344" y="3874"/>
                        </a:lnTo>
                        <a:lnTo>
                          <a:pt x="16328" y="3858"/>
                        </a:lnTo>
                        <a:lnTo>
                          <a:pt x="16311" y="3879"/>
                        </a:lnTo>
                        <a:lnTo>
                          <a:pt x="16290" y="3891"/>
                        </a:lnTo>
                        <a:lnTo>
                          <a:pt x="16295" y="3879"/>
                        </a:lnTo>
                        <a:lnTo>
                          <a:pt x="16290" y="3874"/>
                        </a:lnTo>
                        <a:lnTo>
                          <a:pt x="16252" y="3874"/>
                        </a:lnTo>
                        <a:lnTo>
                          <a:pt x="16226" y="3858"/>
                        </a:lnTo>
                        <a:lnTo>
                          <a:pt x="16219" y="3846"/>
                        </a:lnTo>
                        <a:lnTo>
                          <a:pt x="16226" y="3836"/>
                        </a:lnTo>
                        <a:lnTo>
                          <a:pt x="16202" y="3825"/>
                        </a:lnTo>
                        <a:lnTo>
                          <a:pt x="16198" y="3836"/>
                        </a:lnTo>
                        <a:lnTo>
                          <a:pt x="16165" y="3836"/>
                        </a:lnTo>
                        <a:lnTo>
                          <a:pt x="16165" y="3846"/>
                        </a:lnTo>
                        <a:lnTo>
                          <a:pt x="16150" y="3858"/>
                        </a:lnTo>
                        <a:lnTo>
                          <a:pt x="16117" y="3836"/>
                        </a:lnTo>
                        <a:lnTo>
                          <a:pt x="16096" y="3836"/>
                        </a:lnTo>
                        <a:lnTo>
                          <a:pt x="16089" y="3836"/>
                        </a:lnTo>
                        <a:lnTo>
                          <a:pt x="16096" y="3841"/>
                        </a:lnTo>
                        <a:lnTo>
                          <a:pt x="16080" y="3836"/>
                        </a:lnTo>
                        <a:lnTo>
                          <a:pt x="16063" y="3846"/>
                        </a:lnTo>
                        <a:lnTo>
                          <a:pt x="16058" y="3846"/>
                        </a:lnTo>
                        <a:lnTo>
                          <a:pt x="16047" y="3862"/>
                        </a:lnTo>
                        <a:lnTo>
                          <a:pt x="16021" y="3891"/>
                        </a:lnTo>
                        <a:lnTo>
                          <a:pt x="15950" y="3836"/>
                        </a:lnTo>
                        <a:lnTo>
                          <a:pt x="15938" y="3841"/>
                        </a:lnTo>
                        <a:lnTo>
                          <a:pt x="15938" y="3846"/>
                        </a:lnTo>
                        <a:lnTo>
                          <a:pt x="15950" y="3846"/>
                        </a:lnTo>
                        <a:lnTo>
                          <a:pt x="15950" y="3879"/>
                        </a:lnTo>
                        <a:lnTo>
                          <a:pt x="15938" y="3891"/>
                        </a:lnTo>
                        <a:lnTo>
                          <a:pt x="15933" y="3874"/>
                        </a:lnTo>
                        <a:lnTo>
                          <a:pt x="15938" y="3858"/>
                        </a:lnTo>
                        <a:lnTo>
                          <a:pt x="15928" y="3846"/>
                        </a:lnTo>
                        <a:lnTo>
                          <a:pt x="15900" y="3825"/>
                        </a:lnTo>
                        <a:lnTo>
                          <a:pt x="15879" y="3820"/>
                        </a:lnTo>
                        <a:lnTo>
                          <a:pt x="15879" y="3803"/>
                        </a:lnTo>
                        <a:lnTo>
                          <a:pt x="15862" y="3791"/>
                        </a:lnTo>
                        <a:lnTo>
                          <a:pt x="15803" y="3791"/>
                        </a:lnTo>
                        <a:lnTo>
                          <a:pt x="15787" y="3768"/>
                        </a:lnTo>
                        <a:lnTo>
                          <a:pt x="15772" y="3780"/>
                        </a:lnTo>
                        <a:lnTo>
                          <a:pt x="15756" y="3780"/>
                        </a:lnTo>
                        <a:lnTo>
                          <a:pt x="15749" y="3787"/>
                        </a:lnTo>
                        <a:lnTo>
                          <a:pt x="15749" y="3791"/>
                        </a:lnTo>
                        <a:lnTo>
                          <a:pt x="15739" y="3791"/>
                        </a:lnTo>
                        <a:lnTo>
                          <a:pt x="15711" y="3791"/>
                        </a:lnTo>
                        <a:lnTo>
                          <a:pt x="15711" y="3787"/>
                        </a:lnTo>
                        <a:lnTo>
                          <a:pt x="15718" y="3787"/>
                        </a:lnTo>
                        <a:lnTo>
                          <a:pt x="15718" y="3780"/>
                        </a:lnTo>
                        <a:lnTo>
                          <a:pt x="15680" y="3768"/>
                        </a:lnTo>
                        <a:lnTo>
                          <a:pt x="15680" y="3787"/>
                        </a:lnTo>
                        <a:lnTo>
                          <a:pt x="15664" y="3780"/>
                        </a:lnTo>
                        <a:lnTo>
                          <a:pt x="15664" y="3791"/>
                        </a:lnTo>
                        <a:lnTo>
                          <a:pt x="15647" y="3803"/>
                        </a:lnTo>
                        <a:lnTo>
                          <a:pt x="15647" y="3808"/>
                        </a:lnTo>
                        <a:lnTo>
                          <a:pt x="15609" y="3836"/>
                        </a:lnTo>
                        <a:lnTo>
                          <a:pt x="15588" y="3825"/>
                        </a:lnTo>
                        <a:lnTo>
                          <a:pt x="15576" y="3841"/>
                        </a:lnTo>
                        <a:lnTo>
                          <a:pt x="15576" y="3858"/>
                        </a:lnTo>
                        <a:lnTo>
                          <a:pt x="15534" y="3879"/>
                        </a:lnTo>
                        <a:lnTo>
                          <a:pt x="15534" y="3914"/>
                        </a:lnTo>
                        <a:lnTo>
                          <a:pt x="15550" y="3931"/>
                        </a:lnTo>
                        <a:lnTo>
                          <a:pt x="15539" y="3947"/>
                        </a:lnTo>
                        <a:lnTo>
                          <a:pt x="15508" y="3952"/>
                        </a:lnTo>
                        <a:lnTo>
                          <a:pt x="15501" y="3947"/>
                        </a:lnTo>
                        <a:lnTo>
                          <a:pt x="15480" y="3914"/>
                        </a:lnTo>
                        <a:lnTo>
                          <a:pt x="15454" y="3891"/>
                        </a:lnTo>
                        <a:lnTo>
                          <a:pt x="15447" y="3895"/>
                        </a:lnTo>
                        <a:lnTo>
                          <a:pt x="15432" y="3903"/>
                        </a:lnTo>
                        <a:lnTo>
                          <a:pt x="15432" y="3931"/>
                        </a:lnTo>
                        <a:lnTo>
                          <a:pt x="15409" y="3952"/>
                        </a:lnTo>
                        <a:lnTo>
                          <a:pt x="15395" y="4002"/>
                        </a:lnTo>
                        <a:lnTo>
                          <a:pt x="15416" y="4014"/>
                        </a:lnTo>
                        <a:lnTo>
                          <a:pt x="15395" y="4030"/>
                        </a:lnTo>
                        <a:lnTo>
                          <a:pt x="15378" y="4080"/>
                        </a:lnTo>
                        <a:lnTo>
                          <a:pt x="15416" y="4096"/>
                        </a:lnTo>
                        <a:lnTo>
                          <a:pt x="15425" y="4134"/>
                        </a:lnTo>
                        <a:lnTo>
                          <a:pt x="15442" y="4151"/>
                        </a:lnTo>
                        <a:lnTo>
                          <a:pt x="15442" y="4134"/>
                        </a:lnTo>
                        <a:lnTo>
                          <a:pt x="15496" y="4151"/>
                        </a:lnTo>
                        <a:lnTo>
                          <a:pt x="15555" y="4228"/>
                        </a:lnTo>
                        <a:lnTo>
                          <a:pt x="15534" y="4236"/>
                        </a:lnTo>
                        <a:lnTo>
                          <a:pt x="15517" y="4236"/>
                        </a:lnTo>
                        <a:lnTo>
                          <a:pt x="15517" y="4252"/>
                        </a:lnTo>
                        <a:lnTo>
                          <a:pt x="15560" y="4269"/>
                        </a:lnTo>
                        <a:lnTo>
                          <a:pt x="15572" y="4278"/>
                        </a:lnTo>
                        <a:lnTo>
                          <a:pt x="15560" y="4278"/>
                        </a:lnTo>
                        <a:lnTo>
                          <a:pt x="15550" y="4290"/>
                        </a:lnTo>
                        <a:lnTo>
                          <a:pt x="15522" y="4290"/>
                        </a:lnTo>
                        <a:lnTo>
                          <a:pt x="15534" y="4302"/>
                        </a:lnTo>
                        <a:lnTo>
                          <a:pt x="15534" y="4318"/>
                        </a:lnTo>
                        <a:lnTo>
                          <a:pt x="15522" y="4306"/>
                        </a:lnTo>
                        <a:lnTo>
                          <a:pt x="15496" y="4323"/>
                        </a:lnTo>
                        <a:lnTo>
                          <a:pt x="15470" y="4335"/>
                        </a:lnTo>
                        <a:lnTo>
                          <a:pt x="15447" y="4323"/>
                        </a:lnTo>
                        <a:lnTo>
                          <a:pt x="15454" y="4340"/>
                        </a:lnTo>
                        <a:lnTo>
                          <a:pt x="15442" y="4323"/>
                        </a:lnTo>
                        <a:lnTo>
                          <a:pt x="15447" y="4340"/>
                        </a:lnTo>
                        <a:lnTo>
                          <a:pt x="15447" y="4356"/>
                        </a:lnTo>
                        <a:lnTo>
                          <a:pt x="15416" y="4413"/>
                        </a:lnTo>
                        <a:lnTo>
                          <a:pt x="15416" y="4401"/>
                        </a:lnTo>
                        <a:lnTo>
                          <a:pt x="15395" y="4417"/>
                        </a:lnTo>
                        <a:lnTo>
                          <a:pt x="15387" y="4434"/>
                        </a:lnTo>
                        <a:lnTo>
                          <a:pt x="15395" y="4446"/>
                        </a:lnTo>
                        <a:lnTo>
                          <a:pt x="15416" y="4451"/>
                        </a:lnTo>
                        <a:lnTo>
                          <a:pt x="15432" y="4484"/>
                        </a:lnTo>
                        <a:lnTo>
                          <a:pt x="15447" y="4500"/>
                        </a:lnTo>
                        <a:lnTo>
                          <a:pt x="15442" y="4512"/>
                        </a:lnTo>
                        <a:lnTo>
                          <a:pt x="15442" y="4524"/>
                        </a:lnTo>
                        <a:lnTo>
                          <a:pt x="15447" y="4491"/>
                        </a:lnTo>
                        <a:lnTo>
                          <a:pt x="15463" y="4491"/>
                        </a:lnTo>
                        <a:lnTo>
                          <a:pt x="15447" y="4528"/>
                        </a:lnTo>
                        <a:lnTo>
                          <a:pt x="15447" y="4540"/>
                        </a:lnTo>
                        <a:lnTo>
                          <a:pt x="15454" y="4545"/>
                        </a:lnTo>
                        <a:lnTo>
                          <a:pt x="15447" y="4557"/>
                        </a:lnTo>
                        <a:lnTo>
                          <a:pt x="15442" y="4566"/>
                        </a:lnTo>
                        <a:lnTo>
                          <a:pt x="15463" y="4578"/>
                        </a:lnTo>
                        <a:lnTo>
                          <a:pt x="15463" y="4602"/>
                        </a:lnTo>
                        <a:lnTo>
                          <a:pt x="15484" y="4623"/>
                        </a:lnTo>
                        <a:lnTo>
                          <a:pt x="15508" y="4668"/>
                        </a:lnTo>
                        <a:lnTo>
                          <a:pt x="15522" y="4673"/>
                        </a:lnTo>
                        <a:lnTo>
                          <a:pt x="15508" y="4689"/>
                        </a:lnTo>
                        <a:lnTo>
                          <a:pt x="15484" y="4706"/>
                        </a:lnTo>
                        <a:lnTo>
                          <a:pt x="15480" y="4722"/>
                        </a:lnTo>
                        <a:lnTo>
                          <a:pt x="15463" y="4729"/>
                        </a:lnTo>
                        <a:lnTo>
                          <a:pt x="15432" y="4710"/>
                        </a:lnTo>
                        <a:lnTo>
                          <a:pt x="15425" y="4694"/>
                        </a:lnTo>
                        <a:lnTo>
                          <a:pt x="15395" y="4668"/>
                        </a:lnTo>
                        <a:lnTo>
                          <a:pt x="15387" y="4673"/>
                        </a:lnTo>
                        <a:lnTo>
                          <a:pt x="15371" y="4668"/>
                        </a:lnTo>
                        <a:lnTo>
                          <a:pt x="15319" y="4639"/>
                        </a:lnTo>
                        <a:lnTo>
                          <a:pt x="15324" y="4611"/>
                        </a:lnTo>
                        <a:lnTo>
                          <a:pt x="15291" y="4611"/>
                        </a:lnTo>
                        <a:lnTo>
                          <a:pt x="15286" y="4595"/>
                        </a:lnTo>
                        <a:lnTo>
                          <a:pt x="15269" y="4583"/>
                        </a:lnTo>
                        <a:lnTo>
                          <a:pt x="15253" y="4602"/>
                        </a:lnTo>
                        <a:lnTo>
                          <a:pt x="15236" y="4583"/>
                        </a:lnTo>
                        <a:lnTo>
                          <a:pt x="15194" y="4602"/>
                        </a:lnTo>
                        <a:lnTo>
                          <a:pt x="15182" y="4602"/>
                        </a:lnTo>
                        <a:lnTo>
                          <a:pt x="15182" y="4595"/>
                        </a:lnTo>
                        <a:lnTo>
                          <a:pt x="15144" y="4578"/>
                        </a:lnTo>
                        <a:lnTo>
                          <a:pt x="15123" y="4557"/>
                        </a:lnTo>
                        <a:lnTo>
                          <a:pt x="15031" y="4545"/>
                        </a:lnTo>
                        <a:lnTo>
                          <a:pt x="14967" y="4524"/>
                        </a:lnTo>
                        <a:lnTo>
                          <a:pt x="14941" y="4512"/>
                        </a:lnTo>
                        <a:lnTo>
                          <a:pt x="14924" y="4524"/>
                        </a:lnTo>
                        <a:lnTo>
                          <a:pt x="14924" y="4540"/>
                        </a:lnTo>
                        <a:lnTo>
                          <a:pt x="14832" y="4458"/>
                        </a:lnTo>
                        <a:lnTo>
                          <a:pt x="14795" y="4446"/>
                        </a:lnTo>
                        <a:lnTo>
                          <a:pt x="14766" y="4417"/>
                        </a:lnTo>
                        <a:lnTo>
                          <a:pt x="14766" y="4429"/>
                        </a:lnTo>
                        <a:lnTo>
                          <a:pt x="14745" y="4417"/>
                        </a:lnTo>
                        <a:lnTo>
                          <a:pt x="14724" y="4396"/>
                        </a:lnTo>
                        <a:lnTo>
                          <a:pt x="14686" y="4380"/>
                        </a:lnTo>
                        <a:lnTo>
                          <a:pt x="14707" y="4363"/>
                        </a:lnTo>
                        <a:lnTo>
                          <a:pt x="14691" y="4356"/>
                        </a:lnTo>
                        <a:lnTo>
                          <a:pt x="14686" y="4363"/>
                        </a:lnTo>
                        <a:lnTo>
                          <a:pt x="14698" y="4356"/>
                        </a:lnTo>
                        <a:lnTo>
                          <a:pt x="14714" y="4363"/>
                        </a:lnTo>
                        <a:lnTo>
                          <a:pt x="14714" y="4373"/>
                        </a:lnTo>
                        <a:lnTo>
                          <a:pt x="14745" y="4356"/>
                        </a:lnTo>
                        <a:lnTo>
                          <a:pt x="14761" y="4363"/>
                        </a:lnTo>
                        <a:lnTo>
                          <a:pt x="14761" y="4340"/>
                        </a:lnTo>
                        <a:lnTo>
                          <a:pt x="14752" y="4340"/>
                        </a:lnTo>
                        <a:lnTo>
                          <a:pt x="14752" y="4356"/>
                        </a:lnTo>
                        <a:lnTo>
                          <a:pt x="14752" y="4340"/>
                        </a:lnTo>
                        <a:lnTo>
                          <a:pt x="14761" y="4340"/>
                        </a:lnTo>
                        <a:lnTo>
                          <a:pt x="14752" y="4335"/>
                        </a:lnTo>
                        <a:lnTo>
                          <a:pt x="14766" y="4323"/>
                        </a:lnTo>
                        <a:lnTo>
                          <a:pt x="14778" y="4302"/>
                        </a:lnTo>
                        <a:lnTo>
                          <a:pt x="14783" y="4302"/>
                        </a:lnTo>
                        <a:lnTo>
                          <a:pt x="14783" y="4306"/>
                        </a:lnTo>
                        <a:lnTo>
                          <a:pt x="14795" y="4290"/>
                        </a:lnTo>
                        <a:lnTo>
                          <a:pt x="14816" y="4302"/>
                        </a:lnTo>
                        <a:lnTo>
                          <a:pt x="14821" y="4290"/>
                        </a:lnTo>
                        <a:lnTo>
                          <a:pt x="14783" y="4269"/>
                        </a:lnTo>
                        <a:lnTo>
                          <a:pt x="14778" y="4269"/>
                        </a:lnTo>
                        <a:lnTo>
                          <a:pt x="14761" y="4245"/>
                        </a:lnTo>
                        <a:lnTo>
                          <a:pt x="14783" y="4245"/>
                        </a:lnTo>
                        <a:lnTo>
                          <a:pt x="14799" y="4236"/>
                        </a:lnTo>
                        <a:lnTo>
                          <a:pt x="14821" y="4245"/>
                        </a:lnTo>
                        <a:lnTo>
                          <a:pt x="14816" y="4236"/>
                        </a:lnTo>
                        <a:lnTo>
                          <a:pt x="14804" y="4236"/>
                        </a:lnTo>
                        <a:lnTo>
                          <a:pt x="14804" y="4228"/>
                        </a:lnTo>
                        <a:lnTo>
                          <a:pt x="14854" y="4212"/>
                        </a:lnTo>
                        <a:lnTo>
                          <a:pt x="14870" y="4212"/>
                        </a:lnTo>
                        <a:lnTo>
                          <a:pt x="14870" y="4207"/>
                        </a:lnTo>
                        <a:lnTo>
                          <a:pt x="14870" y="4191"/>
                        </a:lnTo>
                        <a:lnTo>
                          <a:pt x="14854" y="4191"/>
                        </a:lnTo>
                        <a:lnTo>
                          <a:pt x="14821" y="4207"/>
                        </a:lnTo>
                        <a:lnTo>
                          <a:pt x="14816" y="4195"/>
                        </a:lnTo>
                        <a:lnTo>
                          <a:pt x="14821" y="4191"/>
                        </a:lnTo>
                        <a:lnTo>
                          <a:pt x="14832" y="4191"/>
                        </a:lnTo>
                        <a:lnTo>
                          <a:pt x="14799" y="4207"/>
                        </a:lnTo>
                        <a:lnTo>
                          <a:pt x="14799" y="4158"/>
                        </a:lnTo>
                        <a:lnTo>
                          <a:pt x="14832" y="4151"/>
                        </a:lnTo>
                        <a:lnTo>
                          <a:pt x="14837" y="4134"/>
                        </a:lnTo>
                        <a:lnTo>
                          <a:pt x="14908" y="4134"/>
                        </a:lnTo>
                        <a:lnTo>
                          <a:pt x="14908" y="4117"/>
                        </a:lnTo>
                        <a:lnTo>
                          <a:pt x="14924" y="4096"/>
                        </a:lnTo>
                        <a:lnTo>
                          <a:pt x="14908" y="4068"/>
                        </a:lnTo>
                        <a:lnTo>
                          <a:pt x="14903" y="4063"/>
                        </a:lnTo>
                        <a:lnTo>
                          <a:pt x="14908" y="4047"/>
                        </a:lnTo>
                        <a:lnTo>
                          <a:pt x="14924" y="4047"/>
                        </a:lnTo>
                        <a:lnTo>
                          <a:pt x="14924" y="4040"/>
                        </a:lnTo>
                        <a:lnTo>
                          <a:pt x="14908" y="4040"/>
                        </a:lnTo>
                        <a:lnTo>
                          <a:pt x="14903" y="4030"/>
                        </a:lnTo>
                        <a:lnTo>
                          <a:pt x="14913" y="4023"/>
                        </a:lnTo>
                        <a:lnTo>
                          <a:pt x="14929" y="4006"/>
                        </a:lnTo>
                        <a:lnTo>
                          <a:pt x="14924" y="3985"/>
                        </a:lnTo>
                        <a:lnTo>
                          <a:pt x="14929" y="3973"/>
                        </a:lnTo>
                        <a:lnTo>
                          <a:pt x="14908" y="3973"/>
                        </a:lnTo>
                        <a:lnTo>
                          <a:pt x="14891" y="3957"/>
                        </a:lnTo>
                        <a:lnTo>
                          <a:pt x="14870" y="3957"/>
                        </a:lnTo>
                        <a:lnTo>
                          <a:pt x="14858" y="3947"/>
                        </a:lnTo>
                        <a:lnTo>
                          <a:pt x="14849" y="3952"/>
                        </a:lnTo>
                        <a:lnTo>
                          <a:pt x="14799" y="3931"/>
                        </a:lnTo>
                        <a:lnTo>
                          <a:pt x="14795" y="3931"/>
                        </a:lnTo>
                        <a:lnTo>
                          <a:pt x="14783" y="3947"/>
                        </a:lnTo>
                        <a:lnTo>
                          <a:pt x="14761" y="3931"/>
                        </a:lnTo>
                        <a:lnTo>
                          <a:pt x="14745" y="3895"/>
                        </a:lnTo>
                        <a:lnTo>
                          <a:pt x="14686" y="3914"/>
                        </a:lnTo>
                        <a:lnTo>
                          <a:pt x="14660" y="3903"/>
                        </a:lnTo>
                        <a:lnTo>
                          <a:pt x="14653" y="3895"/>
                        </a:lnTo>
                        <a:lnTo>
                          <a:pt x="14615" y="3895"/>
                        </a:lnTo>
                        <a:lnTo>
                          <a:pt x="14601" y="3874"/>
                        </a:lnTo>
                        <a:lnTo>
                          <a:pt x="14606" y="3874"/>
                        </a:lnTo>
                        <a:lnTo>
                          <a:pt x="14589" y="3841"/>
                        </a:lnTo>
                        <a:lnTo>
                          <a:pt x="14601" y="3836"/>
                        </a:lnTo>
                        <a:lnTo>
                          <a:pt x="14584" y="3836"/>
                        </a:lnTo>
                        <a:lnTo>
                          <a:pt x="14577" y="3820"/>
                        </a:lnTo>
                        <a:lnTo>
                          <a:pt x="14551" y="3825"/>
                        </a:lnTo>
                        <a:lnTo>
                          <a:pt x="14530" y="3820"/>
                        </a:lnTo>
                        <a:lnTo>
                          <a:pt x="14509" y="3780"/>
                        </a:lnTo>
                        <a:lnTo>
                          <a:pt x="14530" y="3768"/>
                        </a:lnTo>
                        <a:lnTo>
                          <a:pt x="14530" y="3763"/>
                        </a:lnTo>
                        <a:lnTo>
                          <a:pt x="14509" y="3747"/>
                        </a:lnTo>
                        <a:lnTo>
                          <a:pt x="14509" y="3730"/>
                        </a:lnTo>
                        <a:lnTo>
                          <a:pt x="14492" y="3709"/>
                        </a:lnTo>
                        <a:lnTo>
                          <a:pt x="14443" y="3709"/>
                        </a:lnTo>
                        <a:lnTo>
                          <a:pt x="14421" y="3725"/>
                        </a:lnTo>
                        <a:lnTo>
                          <a:pt x="14384" y="3714"/>
                        </a:lnTo>
                        <a:lnTo>
                          <a:pt x="14374" y="3735"/>
                        </a:lnTo>
                        <a:lnTo>
                          <a:pt x="14346" y="3735"/>
                        </a:lnTo>
                        <a:lnTo>
                          <a:pt x="14329" y="3714"/>
                        </a:lnTo>
                        <a:lnTo>
                          <a:pt x="14329" y="3692"/>
                        </a:lnTo>
                        <a:lnTo>
                          <a:pt x="14320" y="3676"/>
                        </a:lnTo>
                        <a:lnTo>
                          <a:pt x="14329" y="3669"/>
                        </a:lnTo>
                        <a:lnTo>
                          <a:pt x="14308" y="3643"/>
                        </a:lnTo>
                        <a:lnTo>
                          <a:pt x="14320" y="3624"/>
                        </a:lnTo>
                        <a:lnTo>
                          <a:pt x="14374" y="3636"/>
                        </a:lnTo>
                        <a:lnTo>
                          <a:pt x="14405" y="3614"/>
                        </a:lnTo>
                        <a:lnTo>
                          <a:pt x="14417" y="3603"/>
                        </a:lnTo>
                        <a:lnTo>
                          <a:pt x="14388" y="3598"/>
                        </a:lnTo>
                        <a:lnTo>
                          <a:pt x="14388" y="3586"/>
                        </a:lnTo>
                        <a:lnTo>
                          <a:pt x="14400" y="3581"/>
                        </a:lnTo>
                        <a:lnTo>
                          <a:pt x="14388" y="3581"/>
                        </a:lnTo>
                        <a:lnTo>
                          <a:pt x="14367" y="3569"/>
                        </a:lnTo>
                        <a:lnTo>
                          <a:pt x="14346" y="3569"/>
                        </a:lnTo>
                        <a:lnTo>
                          <a:pt x="14350" y="3541"/>
                        </a:lnTo>
                        <a:lnTo>
                          <a:pt x="14313" y="3525"/>
                        </a:lnTo>
                        <a:lnTo>
                          <a:pt x="14308" y="3508"/>
                        </a:lnTo>
                        <a:lnTo>
                          <a:pt x="14298" y="3503"/>
                        </a:lnTo>
                        <a:lnTo>
                          <a:pt x="14298" y="3487"/>
                        </a:lnTo>
                        <a:lnTo>
                          <a:pt x="14275" y="3470"/>
                        </a:lnTo>
                        <a:lnTo>
                          <a:pt x="14291" y="3447"/>
                        </a:lnTo>
                        <a:lnTo>
                          <a:pt x="14275" y="3421"/>
                        </a:lnTo>
                        <a:lnTo>
                          <a:pt x="14282" y="3414"/>
                        </a:lnTo>
                        <a:lnTo>
                          <a:pt x="14282" y="3392"/>
                        </a:lnTo>
                        <a:lnTo>
                          <a:pt x="14275" y="3392"/>
                        </a:lnTo>
                        <a:lnTo>
                          <a:pt x="14254" y="3364"/>
                        </a:lnTo>
                        <a:lnTo>
                          <a:pt x="14237" y="3364"/>
                        </a:lnTo>
                        <a:lnTo>
                          <a:pt x="14211" y="3364"/>
                        </a:lnTo>
                        <a:lnTo>
                          <a:pt x="14185" y="3380"/>
                        </a:lnTo>
                        <a:lnTo>
                          <a:pt x="14173" y="3376"/>
                        </a:lnTo>
                        <a:lnTo>
                          <a:pt x="14185" y="3359"/>
                        </a:lnTo>
                        <a:lnTo>
                          <a:pt x="14173" y="3359"/>
                        </a:lnTo>
                        <a:lnTo>
                          <a:pt x="14152" y="3347"/>
                        </a:lnTo>
                        <a:lnTo>
                          <a:pt x="14131" y="3359"/>
                        </a:lnTo>
                        <a:lnTo>
                          <a:pt x="14119" y="3343"/>
                        </a:lnTo>
                        <a:lnTo>
                          <a:pt x="14098" y="3343"/>
                        </a:lnTo>
                        <a:lnTo>
                          <a:pt x="14093" y="3336"/>
                        </a:lnTo>
                        <a:lnTo>
                          <a:pt x="14098" y="3319"/>
                        </a:lnTo>
                        <a:lnTo>
                          <a:pt x="14076" y="3265"/>
                        </a:lnTo>
                        <a:lnTo>
                          <a:pt x="14060" y="3253"/>
                        </a:lnTo>
                        <a:lnTo>
                          <a:pt x="14065" y="3215"/>
                        </a:lnTo>
                        <a:lnTo>
                          <a:pt x="14043" y="3199"/>
                        </a:lnTo>
                        <a:lnTo>
                          <a:pt x="14043" y="3192"/>
                        </a:lnTo>
                        <a:lnTo>
                          <a:pt x="14039" y="3192"/>
                        </a:lnTo>
                        <a:lnTo>
                          <a:pt x="14043" y="3158"/>
                        </a:lnTo>
                        <a:lnTo>
                          <a:pt x="14065" y="3158"/>
                        </a:lnTo>
                        <a:lnTo>
                          <a:pt x="14043" y="3121"/>
                        </a:lnTo>
                        <a:lnTo>
                          <a:pt x="14043" y="3104"/>
                        </a:lnTo>
                        <a:lnTo>
                          <a:pt x="14039" y="3059"/>
                        </a:lnTo>
                        <a:lnTo>
                          <a:pt x="14065" y="3031"/>
                        </a:lnTo>
                        <a:lnTo>
                          <a:pt x="14076" y="3010"/>
                        </a:lnTo>
                        <a:lnTo>
                          <a:pt x="14093" y="3010"/>
                        </a:lnTo>
                        <a:lnTo>
                          <a:pt x="14093" y="2998"/>
                        </a:lnTo>
                        <a:lnTo>
                          <a:pt x="14081" y="2988"/>
                        </a:lnTo>
                        <a:lnTo>
                          <a:pt x="14081" y="2977"/>
                        </a:lnTo>
                        <a:lnTo>
                          <a:pt x="14076" y="2960"/>
                        </a:lnTo>
                        <a:lnTo>
                          <a:pt x="14081" y="2953"/>
                        </a:lnTo>
                        <a:lnTo>
                          <a:pt x="14102" y="2972"/>
                        </a:lnTo>
                        <a:lnTo>
                          <a:pt x="14114" y="2943"/>
                        </a:lnTo>
                        <a:lnTo>
                          <a:pt x="14136" y="2953"/>
                        </a:lnTo>
                        <a:lnTo>
                          <a:pt x="14157" y="2932"/>
                        </a:lnTo>
                        <a:lnTo>
                          <a:pt x="14228" y="2943"/>
                        </a:lnTo>
                        <a:lnTo>
                          <a:pt x="14237" y="2936"/>
                        </a:lnTo>
                        <a:lnTo>
                          <a:pt x="14211" y="2932"/>
                        </a:lnTo>
                        <a:lnTo>
                          <a:pt x="14211" y="2915"/>
                        </a:lnTo>
                        <a:lnTo>
                          <a:pt x="14199" y="2915"/>
                        </a:lnTo>
                        <a:lnTo>
                          <a:pt x="14152" y="2915"/>
                        </a:lnTo>
                        <a:lnTo>
                          <a:pt x="14119" y="2887"/>
                        </a:lnTo>
                        <a:lnTo>
                          <a:pt x="14114" y="2877"/>
                        </a:lnTo>
                        <a:lnTo>
                          <a:pt x="14131" y="2882"/>
                        </a:lnTo>
                        <a:lnTo>
                          <a:pt x="14131" y="2866"/>
                        </a:lnTo>
                        <a:lnTo>
                          <a:pt x="14119" y="2866"/>
                        </a:lnTo>
                        <a:lnTo>
                          <a:pt x="14131" y="2866"/>
                        </a:lnTo>
                        <a:lnTo>
                          <a:pt x="14131" y="2849"/>
                        </a:lnTo>
                        <a:lnTo>
                          <a:pt x="14093" y="2877"/>
                        </a:lnTo>
                        <a:lnTo>
                          <a:pt x="14065" y="2877"/>
                        </a:lnTo>
                        <a:lnTo>
                          <a:pt x="14169" y="2792"/>
                        </a:lnTo>
                        <a:lnTo>
                          <a:pt x="14308" y="2655"/>
                        </a:lnTo>
                        <a:lnTo>
                          <a:pt x="14329" y="2610"/>
                        </a:lnTo>
                        <a:lnTo>
                          <a:pt x="14308" y="2573"/>
                        </a:lnTo>
                        <a:lnTo>
                          <a:pt x="14223" y="2516"/>
                        </a:lnTo>
                        <a:lnTo>
                          <a:pt x="14261" y="2478"/>
                        </a:lnTo>
                        <a:lnTo>
                          <a:pt x="14261" y="2462"/>
                        </a:lnTo>
                        <a:lnTo>
                          <a:pt x="14223" y="2438"/>
                        </a:lnTo>
                        <a:lnTo>
                          <a:pt x="14228" y="2433"/>
                        </a:lnTo>
                        <a:lnTo>
                          <a:pt x="14223" y="2421"/>
                        </a:lnTo>
                        <a:lnTo>
                          <a:pt x="14237" y="2417"/>
                        </a:lnTo>
                        <a:lnTo>
                          <a:pt x="14228" y="2400"/>
                        </a:lnTo>
                        <a:lnTo>
                          <a:pt x="14206" y="2388"/>
                        </a:lnTo>
                        <a:lnTo>
                          <a:pt x="14190" y="2384"/>
                        </a:lnTo>
                        <a:lnTo>
                          <a:pt x="14190" y="2360"/>
                        </a:lnTo>
                        <a:lnTo>
                          <a:pt x="14211" y="2360"/>
                        </a:lnTo>
                        <a:lnTo>
                          <a:pt x="14206" y="2343"/>
                        </a:lnTo>
                        <a:lnTo>
                          <a:pt x="14190" y="2343"/>
                        </a:lnTo>
                        <a:lnTo>
                          <a:pt x="14199" y="2327"/>
                        </a:lnTo>
                        <a:lnTo>
                          <a:pt x="14206" y="2294"/>
                        </a:lnTo>
                        <a:lnTo>
                          <a:pt x="14228" y="2289"/>
                        </a:lnTo>
                        <a:lnTo>
                          <a:pt x="14211" y="2240"/>
                        </a:lnTo>
                        <a:lnTo>
                          <a:pt x="14152" y="2145"/>
                        </a:lnTo>
                        <a:lnTo>
                          <a:pt x="14157" y="2129"/>
                        </a:lnTo>
                        <a:lnTo>
                          <a:pt x="14211" y="2067"/>
                        </a:lnTo>
                        <a:lnTo>
                          <a:pt x="14223" y="2051"/>
                        </a:lnTo>
                        <a:lnTo>
                          <a:pt x="14199" y="2034"/>
                        </a:lnTo>
                        <a:lnTo>
                          <a:pt x="14173" y="2001"/>
                        </a:lnTo>
                        <a:lnTo>
                          <a:pt x="14131" y="1989"/>
                        </a:lnTo>
                        <a:lnTo>
                          <a:pt x="14114" y="1944"/>
                        </a:lnTo>
                        <a:lnTo>
                          <a:pt x="14136" y="1906"/>
                        </a:lnTo>
                        <a:lnTo>
                          <a:pt x="14102" y="1902"/>
                        </a:lnTo>
                        <a:lnTo>
                          <a:pt x="14147" y="1878"/>
                        </a:lnTo>
                        <a:lnTo>
                          <a:pt x="14169" y="1866"/>
                        </a:lnTo>
                        <a:lnTo>
                          <a:pt x="14169" y="1845"/>
                        </a:lnTo>
                        <a:lnTo>
                          <a:pt x="14228" y="1824"/>
                        </a:lnTo>
                        <a:lnTo>
                          <a:pt x="14228" y="1812"/>
                        </a:lnTo>
                        <a:lnTo>
                          <a:pt x="14228" y="1807"/>
                        </a:lnTo>
                        <a:lnTo>
                          <a:pt x="14261" y="1812"/>
                        </a:lnTo>
                        <a:lnTo>
                          <a:pt x="14282" y="1812"/>
                        </a:lnTo>
                        <a:lnTo>
                          <a:pt x="14282" y="1795"/>
                        </a:lnTo>
                        <a:lnTo>
                          <a:pt x="14282" y="1779"/>
                        </a:lnTo>
                        <a:lnTo>
                          <a:pt x="14346" y="1795"/>
                        </a:lnTo>
                        <a:lnTo>
                          <a:pt x="14336" y="1791"/>
                        </a:lnTo>
                        <a:lnTo>
                          <a:pt x="14336" y="1779"/>
                        </a:lnTo>
                        <a:lnTo>
                          <a:pt x="14367" y="1779"/>
                        </a:lnTo>
                        <a:lnTo>
                          <a:pt x="14350" y="1767"/>
                        </a:lnTo>
                        <a:lnTo>
                          <a:pt x="14400" y="1791"/>
                        </a:lnTo>
                        <a:lnTo>
                          <a:pt x="14438" y="1791"/>
                        </a:lnTo>
                        <a:lnTo>
                          <a:pt x="14438" y="1807"/>
                        </a:lnTo>
                        <a:lnTo>
                          <a:pt x="14421" y="1812"/>
                        </a:lnTo>
                        <a:lnTo>
                          <a:pt x="14362" y="1807"/>
                        </a:lnTo>
                        <a:lnTo>
                          <a:pt x="14388" y="1824"/>
                        </a:lnTo>
                        <a:lnTo>
                          <a:pt x="14374" y="1829"/>
                        </a:lnTo>
                        <a:lnTo>
                          <a:pt x="14426" y="1829"/>
                        </a:lnTo>
                        <a:lnTo>
                          <a:pt x="14417" y="1845"/>
                        </a:lnTo>
                        <a:lnTo>
                          <a:pt x="14426" y="1833"/>
                        </a:lnTo>
                        <a:lnTo>
                          <a:pt x="14471" y="1829"/>
                        </a:lnTo>
                        <a:lnTo>
                          <a:pt x="14443" y="1850"/>
                        </a:lnTo>
                        <a:lnTo>
                          <a:pt x="14459" y="1850"/>
                        </a:lnTo>
                        <a:lnTo>
                          <a:pt x="14471" y="1862"/>
                        </a:lnTo>
                        <a:lnTo>
                          <a:pt x="14426" y="1878"/>
                        </a:lnTo>
                        <a:lnTo>
                          <a:pt x="14426" y="1890"/>
                        </a:lnTo>
                        <a:lnTo>
                          <a:pt x="14426" y="1878"/>
                        </a:lnTo>
                        <a:lnTo>
                          <a:pt x="14459" y="1878"/>
                        </a:lnTo>
                        <a:lnTo>
                          <a:pt x="14471" y="1862"/>
                        </a:lnTo>
                        <a:lnTo>
                          <a:pt x="14471" y="1845"/>
                        </a:lnTo>
                        <a:lnTo>
                          <a:pt x="14480" y="1845"/>
                        </a:lnTo>
                        <a:lnTo>
                          <a:pt x="14639" y="1862"/>
                        </a:lnTo>
                        <a:lnTo>
                          <a:pt x="14761" y="1923"/>
                        </a:lnTo>
                        <a:lnTo>
                          <a:pt x="14804" y="1973"/>
                        </a:lnTo>
                        <a:lnTo>
                          <a:pt x="14821" y="1961"/>
                        </a:lnTo>
                        <a:lnTo>
                          <a:pt x="14887" y="2001"/>
                        </a:lnTo>
                        <a:lnTo>
                          <a:pt x="14908" y="2001"/>
                        </a:lnTo>
                        <a:lnTo>
                          <a:pt x="14903" y="1989"/>
                        </a:lnTo>
                        <a:lnTo>
                          <a:pt x="14908" y="1989"/>
                        </a:lnTo>
                        <a:lnTo>
                          <a:pt x="14946" y="2018"/>
                        </a:lnTo>
                        <a:lnTo>
                          <a:pt x="14946" y="2029"/>
                        </a:lnTo>
                        <a:lnTo>
                          <a:pt x="14955" y="2046"/>
                        </a:lnTo>
                        <a:lnTo>
                          <a:pt x="14993" y="2046"/>
                        </a:lnTo>
                        <a:lnTo>
                          <a:pt x="14993" y="2072"/>
                        </a:lnTo>
                        <a:lnTo>
                          <a:pt x="15000" y="2084"/>
                        </a:lnTo>
                        <a:lnTo>
                          <a:pt x="15000" y="2105"/>
                        </a:lnTo>
                        <a:lnTo>
                          <a:pt x="15017" y="2105"/>
                        </a:lnTo>
                        <a:lnTo>
                          <a:pt x="15017" y="2112"/>
                        </a:lnTo>
                        <a:lnTo>
                          <a:pt x="15010" y="2157"/>
                        </a:lnTo>
                        <a:lnTo>
                          <a:pt x="14962" y="2199"/>
                        </a:lnTo>
                        <a:lnTo>
                          <a:pt x="14924" y="2216"/>
                        </a:lnTo>
                        <a:lnTo>
                          <a:pt x="14821" y="2249"/>
                        </a:lnTo>
                        <a:lnTo>
                          <a:pt x="14606" y="2211"/>
                        </a:lnTo>
                        <a:lnTo>
                          <a:pt x="14563" y="2178"/>
                        </a:lnTo>
                        <a:lnTo>
                          <a:pt x="14530" y="2183"/>
                        </a:lnTo>
                        <a:lnTo>
                          <a:pt x="14525" y="2178"/>
                        </a:lnTo>
                        <a:lnTo>
                          <a:pt x="14530" y="2178"/>
                        </a:lnTo>
                        <a:lnTo>
                          <a:pt x="14492" y="2166"/>
                        </a:lnTo>
                        <a:lnTo>
                          <a:pt x="14471" y="2157"/>
                        </a:lnTo>
                        <a:lnTo>
                          <a:pt x="14476" y="2162"/>
                        </a:lnTo>
                        <a:lnTo>
                          <a:pt x="14471" y="2166"/>
                        </a:lnTo>
                        <a:lnTo>
                          <a:pt x="14443" y="2157"/>
                        </a:lnTo>
                        <a:lnTo>
                          <a:pt x="14405" y="2121"/>
                        </a:lnTo>
                        <a:lnTo>
                          <a:pt x="14350" y="2112"/>
                        </a:lnTo>
                        <a:lnTo>
                          <a:pt x="14374" y="2112"/>
                        </a:lnTo>
                        <a:lnTo>
                          <a:pt x="14400" y="2129"/>
                        </a:lnTo>
                        <a:lnTo>
                          <a:pt x="14400" y="2145"/>
                        </a:lnTo>
                        <a:lnTo>
                          <a:pt x="14421" y="2162"/>
                        </a:lnTo>
                        <a:lnTo>
                          <a:pt x="14417" y="2166"/>
                        </a:lnTo>
                        <a:lnTo>
                          <a:pt x="14454" y="2178"/>
                        </a:lnTo>
                        <a:lnTo>
                          <a:pt x="14421" y="2183"/>
                        </a:lnTo>
                        <a:lnTo>
                          <a:pt x="14443" y="2178"/>
                        </a:lnTo>
                        <a:lnTo>
                          <a:pt x="14471" y="2195"/>
                        </a:lnTo>
                        <a:lnTo>
                          <a:pt x="14421" y="2195"/>
                        </a:lnTo>
                        <a:lnTo>
                          <a:pt x="14480" y="2199"/>
                        </a:lnTo>
                        <a:lnTo>
                          <a:pt x="14454" y="2216"/>
                        </a:lnTo>
                        <a:lnTo>
                          <a:pt x="14509" y="2223"/>
                        </a:lnTo>
                        <a:lnTo>
                          <a:pt x="14563" y="2266"/>
                        </a:lnTo>
                        <a:lnTo>
                          <a:pt x="14568" y="2289"/>
                        </a:lnTo>
                        <a:lnTo>
                          <a:pt x="14547" y="2273"/>
                        </a:lnTo>
                        <a:lnTo>
                          <a:pt x="14551" y="2306"/>
                        </a:lnTo>
                        <a:lnTo>
                          <a:pt x="14547" y="2322"/>
                        </a:lnTo>
                        <a:lnTo>
                          <a:pt x="14530" y="2327"/>
                        </a:lnTo>
                        <a:lnTo>
                          <a:pt x="14547" y="2343"/>
                        </a:lnTo>
                        <a:lnTo>
                          <a:pt x="14568" y="2388"/>
                        </a:lnTo>
                        <a:lnTo>
                          <a:pt x="14568" y="2417"/>
                        </a:lnTo>
                        <a:lnTo>
                          <a:pt x="14551" y="2421"/>
                        </a:lnTo>
                        <a:lnTo>
                          <a:pt x="14589" y="2445"/>
                        </a:lnTo>
                        <a:lnTo>
                          <a:pt x="14606" y="2438"/>
                        </a:lnTo>
                        <a:lnTo>
                          <a:pt x="14622" y="2445"/>
                        </a:lnTo>
                        <a:lnTo>
                          <a:pt x="14639" y="2462"/>
                        </a:lnTo>
                        <a:lnTo>
                          <a:pt x="14643" y="2462"/>
                        </a:lnTo>
                        <a:lnTo>
                          <a:pt x="14660" y="2471"/>
                        </a:lnTo>
                        <a:lnTo>
                          <a:pt x="14660" y="2488"/>
                        </a:lnTo>
                        <a:lnTo>
                          <a:pt x="14740" y="2511"/>
                        </a:lnTo>
                        <a:lnTo>
                          <a:pt x="14783" y="2488"/>
                        </a:lnTo>
                        <a:lnTo>
                          <a:pt x="14783" y="2471"/>
                        </a:lnTo>
                        <a:lnTo>
                          <a:pt x="14778" y="2462"/>
                        </a:lnTo>
                        <a:lnTo>
                          <a:pt x="14778" y="2445"/>
                        </a:lnTo>
                        <a:lnTo>
                          <a:pt x="14766" y="2438"/>
                        </a:lnTo>
                        <a:lnTo>
                          <a:pt x="14728" y="2445"/>
                        </a:lnTo>
                        <a:lnTo>
                          <a:pt x="14724" y="2438"/>
                        </a:lnTo>
                        <a:lnTo>
                          <a:pt x="14691" y="2405"/>
                        </a:lnTo>
                        <a:lnTo>
                          <a:pt x="14676" y="2400"/>
                        </a:lnTo>
                        <a:lnTo>
                          <a:pt x="14669" y="2377"/>
                        </a:lnTo>
                        <a:lnTo>
                          <a:pt x="14698" y="2377"/>
                        </a:lnTo>
                        <a:lnTo>
                          <a:pt x="14698" y="2351"/>
                        </a:lnTo>
                        <a:lnTo>
                          <a:pt x="14714" y="2343"/>
                        </a:lnTo>
                        <a:lnTo>
                          <a:pt x="14761" y="2367"/>
                        </a:lnTo>
                        <a:lnTo>
                          <a:pt x="14778" y="2384"/>
                        </a:lnTo>
                        <a:lnTo>
                          <a:pt x="14804" y="2384"/>
                        </a:lnTo>
                        <a:lnTo>
                          <a:pt x="14783" y="2400"/>
                        </a:lnTo>
                        <a:lnTo>
                          <a:pt x="14783" y="2417"/>
                        </a:lnTo>
                        <a:lnTo>
                          <a:pt x="14816" y="2388"/>
                        </a:lnTo>
                        <a:lnTo>
                          <a:pt x="14891" y="2421"/>
                        </a:lnTo>
                        <a:lnTo>
                          <a:pt x="14913" y="2417"/>
                        </a:lnTo>
                        <a:lnTo>
                          <a:pt x="14908" y="2417"/>
                        </a:lnTo>
                        <a:lnTo>
                          <a:pt x="14908" y="2405"/>
                        </a:lnTo>
                        <a:lnTo>
                          <a:pt x="14955" y="2421"/>
                        </a:lnTo>
                        <a:lnTo>
                          <a:pt x="14946" y="2377"/>
                        </a:lnTo>
                        <a:lnTo>
                          <a:pt x="14903" y="2327"/>
                        </a:lnTo>
                        <a:lnTo>
                          <a:pt x="14903" y="2306"/>
                        </a:lnTo>
                        <a:lnTo>
                          <a:pt x="14946" y="2277"/>
                        </a:lnTo>
                        <a:lnTo>
                          <a:pt x="14967" y="2256"/>
                        </a:lnTo>
                        <a:lnTo>
                          <a:pt x="15021" y="2240"/>
                        </a:lnTo>
                        <a:lnTo>
                          <a:pt x="15069" y="2195"/>
                        </a:lnTo>
                        <a:lnTo>
                          <a:pt x="15106" y="2211"/>
                        </a:lnTo>
                        <a:lnTo>
                          <a:pt x="15156" y="2199"/>
                        </a:lnTo>
                        <a:lnTo>
                          <a:pt x="15177" y="2223"/>
                        </a:lnTo>
                        <a:lnTo>
                          <a:pt x="15156" y="2240"/>
                        </a:lnTo>
                        <a:lnTo>
                          <a:pt x="15156" y="2249"/>
                        </a:lnTo>
                        <a:lnTo>
                          <a:pt x="15172" y="2256"/>
                        </a:lnTo>
                        <a:lnTo>
                          <a:pt x="15172" y="2249"/>
                        </a:lnTo>
                        <a:lnTo>
                          <a:pt x="15156" y="2240"/>
                        </a:lnTo>
                        <a:lnTo>
                          <a:pt x="15194" y="2232"/>
                        </a:lnTo>
                        <a:lnTo>
                          <a:pt x="15198" y="2240"/>
                        </a:lnTo>
                        <a:lnTo>
                          <a:pt x="15198" y="2249"/>
                        </a:lnTo>
                        <a:lnTo>
                          <a:pt x="15215" y="2266"/>
                        </a:lnTo>
                        <a:lnTo>
                          <a:pt x="15210" y="2232"/>
                        </a:lnTo>
                        <a:lnTo>
                          <a:pt x="15232" y="2166"/>
                        </a:lnTo>
                        <a:lnTo>
                          <a:pt x="15227" y="2162"/>
                        </a:lnTo>
                        <a:lnTo>
                          <a:pt x="15236" y="2145"/>
                        </a:lnTo>
                        <a:lnTo>
                          <a:pt x="15210" y="2112"/>
                        </a:lnTo>
                        <a:lnTo>
                          <a:pt x="15182" y="2105"/>
                        </a:lnTo>
                        <a:lnTo>
                          <a:pt x="15182" y="2100"/>
                        </a:lnTo>
                        <a:lnTo>
                          <a:pt x="15210" y="2051"/>
                        </a:lnTo>
                        <a:lnTo>
                          <a:pt x="15210" y="2029"/>
                        </a:lnTo>
                        <a:lnTo>
                          <a:pt x="15215" y="2018"/>
                        </a:lnTo>
                        <a:lnTo>
                          <a:pt x="15210" y="2018"/>
                        </a:lnTo>
                        <a:lnTo>
                          <a:pt x="15215" y="1977"/>
                        </a:lnTo>
                        <a:lnTo>
                          <a:pt x="15156" y="1940"/>
                        </a:lnTo>
                        <a:lnTo>
                          <a:pt x="15156" y="1923"/>
                        </a:lnTo>
                        <a:lnTo>
                          <a:pt x="15210" y="1940"/>
                        </a:lnTo>
                        <a:lnTo>
                          <a:pt x="15291" y="1940"/>
                        </a:lnTo>
                        <a:lnTo>
                          <a:pt x="15333" y="1944"/>
                        </a:lnTo>
                        <a:lnTo>
                          <a:pt x="15340" y="1973"/>
                        </a:lnTo>
                        <a:lnTo>
                          <a:pt x="15378" y="1994"/>
                        </a:lnTo>
                        <a:lnTo>
                          <a:pt x="15378" y="2013"/>
                        </a:lnTo>
                        <a:lnTo>
                          <a:pt x="15395" y="2018"/>
                        </a:lnTo>
                        <a:lnTo>
                          <a:pt x="15395" y="2034"/>
                        </a:lnTo>
                        <a:lnTo>
                          <a:pt x="15302" y="2046"/>
                        </a:lnTo>
                        <a:lnTo>
                          <a:pt x="15291" y="2051"/>
                        </a:lnTo>
                        <a:lnTo>
                          <a:pt x="15291" y="2055"/>
                        </a:lnTo>
                        <a:lnTo>
                          <a:pt x="15269" y="2067"/>
                        </a:lnTo>
                        <a:lnTo>
                          <a:pt x="15265" y="2088"/>
                        </a:lnTo>
                        <a:lnTo>
                          <a:pt x="15319" y="2112"/>
                        </a:lnTo>
                        <a:lnTo>
                          <a:pt x="15324" y="2145"/>
                        </a:lnTo>
                        <a:lnTo>
                          <a:pt x="15340" y="2157"/>
                        </a:lnTo>
                        <a:lnTo>
                          <a:pt x="15387" y="2157"/>
                        </a:lnTo>
                        <a:lnTo>
                          <a:pt x="15371" y="2162"/>
                        </a:lnTo>
                        <a:lnTo>
                          <a:pt x="15463" y="2138"/>
                        </a:lnTo>
                        <a:lnTo>
                          <a:pt x="15463" y="2121"/>
                        </a:lnTo>
                        <a:lnTo>
                          <a:pt x="15454" y="2105"/>
                        </a:lnTo>
                        <a:lnTo>
                          <a:pt x="15480" y="2072"/>
                        </a:lnTo>
                        <a:lnTo>
                          <a:pt x="15470" y="2055"/>
                        </a:lnTo>
                        <a:lnTo>
                          <a:pt x="15480" y="2051"/>
                        </a:lnTo>
                        <a:lnTo>
                          <a:pt x="15534" y="2046"/>
                        </a:lnTo>
                        <a:lnTo>
                          <a:pt x="15555" y="2055"/>
                        </a:lnTo>
                        <a:lnTo>
                          <a:pt x="15522" y="2018"/>
                        </a:lnTo>
                        <a:lnTo>
                          <a:pt x="15572" y="2029"/>
                        </a:lnTo>
                        <a:lnTo>
                          <a:pt x="15626" y="1994"/>
                        </a:lnTo>
                        <a:lnTo>
                          <a:pt x="15609" y="2013"/>
                        </a:lnTo>
                        <a:lnTo>
                          <a:pt x="15614" y="2001"/>
                        </a:lnTo>
                        <a:lnTo>
                          <a:pt x="15680" y="1961"/>
                        </a:lnTo>
                        <a:lnTo>
                          <a:pt x="15697" y="1961"/>
                        </a:lnTo>
                        <a:lnTo>
                          <a:pt x="15765" y="1940"/>
                        </a:lnTo>
                        <a:lnTo>
                          <a:pt x="15787" y="1944"/>
                        </a:lnTo>
                        <a:lnTo>
                          <a:pt x="15772" y="1961"/>
                        </a:lnTo>
                        <a:lnTo>
                          <a:pt x="15777" y="1973"/>
                        </a:lnTo>
                        <a:lnTo>
                          <a:pt x="15810" y="1956"/>
                        </a:lnTo>
                        <a:lnTo>
                          <a:pt x="15794" y="1940"/>
                        </a:lnTo>
                        <a:lnTo>
                          <a:pt x="15810" y="1935"/>
                        </a:lnTo>
                        <a:lnTo>
                          <a:pt x="15777" y="1935"/>
                        </a:lnTo>
                        <a:lnTo>
                          <a:pt x="15886" y="1890"/>
                        </a:lnTo>
                        <a:lnTo>
                          <a:pt x="15938" y="1885"/>
                        </a:lnTo>
                        <a:lnTo>
                          <a:pt x="15874" y="1902"/>
                        </a:lnTo>
                        <a:lnTo>
                          <a:pt x="15900" y="1902"/>
                        </a:lnTo>
                        <a:lnTo>
                          <a:pt x="15879" y="1935"/>
                        </a:lnTo>
                        <a:lnTo>
                          <a:pt x="15895" y="1961"/>
                        </a:lnTo>
                        <a:lnTo>
                          <a:pt x="15886" y="1973"/>
                        </a:lnTo>
                        <a:lnTo>
                          <a:pt x="15874" y="1956"/>
                        </a:lnTo>
                        <a:lnTo>
                          <a:pt x="15879" y="1973"/>
                        </a:lnTo>
                        <a:lnTo>
                          <a:pt x="15862" y="1961"/>
                        </a:lnTo>
                        <a:lnTo>
                          <a:pt x="15848" y="1977"/>
                        </a:lnTo>
                        <a:lnTo>
                          <a:pt x="15917" y="1989"/>
                        </a:lnTo>
                        <a:lnTo>
                          <a:pt x="15933" y="1973"/>
                        </a:lnTo>
                        <a:lnTo>
                          <a:pt x="15954" y="1989"/>
                        </a:lnTo>
                        <a:lnTo>
                          <a:pt x="15966" y="1977"/>
                        </a:lnTo>
                        <a:lnTo>
                          <a:pt x="15966" y="1973"/>
                        </a:lnTo>
                        <a:lnTo>
                          <a:pt x="15966" y="1961"/>
                        </a:lnTo>
                        <a:lnTo>
                          <a:pt x="15992" y="1940"/>
                        </a:lnTo>
                        <a:lnTo>
                          <a:pt x="16042" y="1923"/>
                        </a:lnTo>
                        <a:lnTo>
                          <a:pt x="16134" y="1940"/>
                        </a:lnTo>
                        <a:lnTo>
                          <a:pt x="16155" y="1918"/>
                        </a:lnTo>
                        <a:lnTo>
                          <a:pt x="16181" y="1918"/>
                        </a:lnTo>
                        <a:lnTo>
                          <a:pt x="16181" y="1906"/>
                        </a:lnTo>
                        <a:lnTo>
                          <a:pt x="16198" y="1902"/>
                        </a:lnTo>
                        <a:lnTo>
                          <a:pt x="16209" y="1918"/>
                        </a:lnTo>
                        <a:lnTo>
                          <a:pt x="16202" y="1906"/>
                        </a:lnTo>
                        <a:lnTo>
                          <a:pt x="16202" y="1902"/>
                        </a:lnTo>
                        <a:lnTo>
                          <a:pt x="16240" y="1885"/>
                        </a:lnTo>
                        <a:lnTo>
                          <a:pt x="16273" y="1885"/>
                        </a:lnTo>
                        <a:lnTo>
                          <a:pt x="16240" y="1890"/>
                        </a:lnTo>
                        <a:lnTo>
                          <a:pt x="16278" y="1918"/>
                        </a:lnTo>
                        <a:lnTo>
                          <a:pt x="16257" y="1935"/>
                        </a:lnTo>
                        <a:lnTo>
                          <a:pt x="16257" y="1956"/>
                        </a:lnTo>
                        <a:lnTo>
                          <a:pt x="16311" y="1961"/>
                        </a:lnTo>
                        <a:lnTo>
                          <a:pt x="16316" y="1956"/>
                        </a:lnTo>
                        <a:lnTo>
                          <a:pt x="16306" y="1935"/>
                        </a:lnTo>
                        <a:lnTo>
                          <a:pt x="16311" y="1923"/>
                        </a:lnTo>
                        <a:lnTo>
                          <a:pt x="16361" y="1923"/>
                        </a:lnTo>
                        <a:lnTo>
                          <a:pt x="16387" y="1902"/>
                        </a:lnTo>
                        <a:lnTo>
                          <a:pt x="16387" y="1866"/>
                        </a:lnTo>
                        <a:lnTo>
                          <a:pt x="16365" y="1866"/>
                        </a:lnTo>
                        <a:lnTo>
                          <a:pt x="16361" y="1845"/>
                        </a:lnTo>
                        <a:lnTo>
                          <a:pt x="16332" y="1812"/>
                        </a:lnTo>
                        <a:lnTo>
                          <a:pt x="16344" y="1795"/>
                        </a:lnTo>
                        <a:lnTo>
                          <a:pt x="16365" y="1795"/>
                        </a:lnTo>
                        <a:lnTo>
                          <a:pt x="16370" y="1779"/>
                        </a:lnTo>
                        <a:lnTo>
                          <a:pt x="16382" y="1774"/>
                        </a:lnTo>
                        <a:lnTo>
                          <a:pt x="16543" y="1795"/>
                        </a:lnTo>
                        <a:lnTo>
                          <a:pt x="16613" y="1812"/>
                        </a:lnTo>
                        <a:lnTo>
                          <a:pt x="16672" y="1845"/>
                        </a:lnTo>
                        <a:lnTo>
                          <a:pt x="16656" y="1850"/>
                        </a:lnTo>
                        <a:lnTo>
                          <a:pt x="16656" y="1866"/>
                        </a:lnTo>
                        <a:lnTo>
                          <a:pt x="16684" y="1850"/>
                        </a:lnTo>
                        <a:lnTo>
                          <a:pt x="16739" y="1866"/>
                        </a:lnTo>
                        <a:lnTo>
                          <a:pt x="16722" y="1878"/>
                        </a:lnTo>
                        <a:lnTo>
                          <a:pt x="16819" y="1906"/>
                        </a:lnTo>
                        <a:lnTo>
                          <a:pt x="16814" y="1906"/>
                        </a:lnTo>
                        <a:lnTo>
                          <a:pt x="16831" y="1923"/>
                        </a:lnTo>
                        <a:lnTo>
                          <a:pt x="16899" y="1956"/>
                        </a:lnTo>
                        <a:lnTo>
                          <a:pt x="16906" y="1973"/>
                        </a:lnTo>
                        <a:lnTo>
                          <a:pt x="16899" y="1977"/>
                        </a:lnTo>
                        <a:lnTo>
                          <a:pt x="16906" y="1989"/>
                        </a:lnTo>
                        <a:lnTo>
                          <a:pt x="16916" y="1977"/>
                        </a:lnTo>
                        <a:lnTo>
                          <a:pt x="16958" y="1902"/>
                        </a:lnTo>
                        <a:lnTo>
                          <a:pt x="16954" y="1902"/>
                        </a:lnTo>
                        <a:lnTo>
                          <a:pt x="16970" y="1890"/>
                        </a:lnTo>
                        <a:lnTo>
                          <a:pt x="16937" y="1902"/>
                        </a:lnTo>
                        <a:lnTo>
                          <a:pt x="16916" y="1885"/>
                        </a:lnTo>
                        <a:lnTo>
                          <a:pt x="16890" y="1850"/>
                        </a:lnTo>
                        <a:lnTo>
                          <a:pt x="16890" y="1812"/>
                        </a:lnTo>
                        <a:lnTo>
                          <a:pt x="16883" y="1824"/>
                        </a:lnTo>
                        <a:lnTo>
                          <a:pt x="16814" y="1795"/>
                        </a:lnTo>
                        <a:lnTo>
                          <a:pt x="16814" y="1824"/>
                        </a:lnTo>
                        <a:lnTo>
                          <a:pt x="16798" y="1812"/>
                        </a:lnTo>
                        <a:lnTo>
                          <a:pt x="16798" y="1791"/>
                        </a:lnTo>
                        <a:lnTo>
                          <a:pt x="16807" y="1758"/>
                        </a:lnTo>
                        <a:lnTo>
                          <a:pt x="16814" y="1751"/>
                        </a:lnTo>
                        <a:lnTo>
                          <a:pt x="16814" y="1767"/>
                        </a:lnTo>
                        <a:lnTo>
                          <a:pt x="16831" y="1758"/>
                        </a:lnTo>
                        <a:lnTo>
                          <a:pt x="16835" y="1739"/>
                        </a:lnTo>
                        <a:lnTo>
                          <a:pt x="16819" y="1734"/>
                        </a:lnTo>
                        <a:lnTo>
                          <a:pt x="16835" y="1663"/>
                        </a:lnTo>
                        <a:lnTo>
                          <a:pt x="16819" y="1647"/>
                        </a:lnTo>
                        <a:lnTo>
                          <a:pt x="16793" y="1663"/>
                        </a:lnTo>
                        <a:lnTo>
                          <a:pt x="16793" y="1640"/>
                        </a:lnTo>
                        <a:lnTo>
                          <a:pt x="16807" y="1614"/>
                        </a:lnTo>
                        <a:lnTo>
                          <a:pt x="16798" y="1630"/>
                        </a:lnTo>
                        <a:lnTo>
                          <a:pt x="16793" y="1623"/>
                        </a:lnTo>
                        <a:lnTo>
                          <a:pt x="16807" y="1590"/>
                        </a:lnTo>
                        <a:lnTo>
                          <a:pt x="16883" y="1557"/>
                        </a:lnTo>
                        <a:lnTo>
                          <a:pt x="16916" y="1519"/>
                        </a:lnTo>
                        <a:lnTo>
                          <a:pt x="16954" y="1401"/>
                        </a:lnTo>
                        <a:lnTo>
                          <a:pt x="16970" y="1384"/>
                        </a:lnTo>
                        <a:lnTo>
                          <a:pt x="16975" y="1368"/>
                        </a:lnTo>
                        <a:lnTo>
                          <a:pt x="17013" y="1363"/>
                        </a:lnTo>
                        <a:lnTo>
                          <a:pt x="16991" y="1368"/>
                        </a:lnTo>
                        <a:lnTo>
                          <a:pt x="16996" y="1375"/>
                        </a:lnTo>
                        <a:lnTo>
                          <a:pt x="17138" y="1368"/>
                        </a:lnTo>
                        <a:lnTo>
                          <a:pt x="17171" y="1384"/>
                        </a:lnTo>
                        <a:lnTo>
                          <a:pt x="17154" y="1384"/>
                        </a:lnTo>
                        <a:lnTo>
                          <a:pt x="17223" y="1401"/>
                        </a:lnTo>
                        <a:lnTo>
                          <a:pt x="17213" y="1418"/>
                        </a:lnTo>
                        <a:lnTo>
                          <a:pt x="17230" y="1458"/>
                        </a:lnTo>
                        <a:lnTo>
                          <a:pt x="17197" y="1503"/>
                        </a:lnTo>
                        <a:lnTo>
                          <a:pt x="17192" y="1512"/>
                        </a:lnTo>
                        <a:lnTo>
                          <a:pt x="17192" y="1536"/>
                        </a:lnTo>
                        <a:lnTo>
                          <a:pt x="17154" y="1569"/>
                        </a:lnTo>
                        <a:lnTo>
                          <a:pt x="17171" y="1590"/>
                        </a:lnTo>
                        <a:lnTo>
                          <a:pt x="17209" y="1614"/>
                        </a:lnTo>
                        <a:lnTo>
                          <a:pt x="17209" y="1623"/>
                        </a:lnTo>
                        <a:lnTo>
                          <a:pt x="17223" y="1647"/>
                        </a:lnTo>
                        <a:lnTo>
                          <a:pt x="17213" y="1680"/>
                        </a:lnTo>
                        <a:lnTo>
                          <a:pt x="17223" y="1701"/>
                        </a:lnTo>
                        <a:lnTo>
                          <a:pt x="17192" y="1722"/>
                        </a:lnTo>
                        <a:lnTo>
                          <a:pt x="17209" y="1734"/>
                        </a:lnTo>
                        <a:lnTo>
                          <a:pt x="17197" y="1751"/>
                        </a:lnTo>
                        <a:lnTo>
                          <a:pt x="17213" y="1774"/>
                        </a:lnTo>
                        <a:lnTo>
                          <a:pt x="17197" y="1807"/>
                        </a:lnTo>
                        <a:lnTo>
                          <a:pt x="17209" y="1829"/>
                        </a:lnTo>
                        <a:lnTo>
                          <a:pt x="17197" y="1866"/>
                        </a:lnTo>
                        <a:lnTo>
                          <a:pt x="17209" y="1890"/>
                        </a:lnTo>
                        <a:lnTo>
                          <a:pt x="17213" y="1906"/>
                        </a:lnTo>
                        <a:lnTo>
                          <a:pt x="17268" y="1940"/>
                        </a:lnTo>
                        <a:lnTo>
                          <a:pt x="17284" y="1956"/>
                        </a:lnTo>
                        <a:lnTo>
                          <a:pt x="17268" y="1944"/>
                        </a:lnTo>
                        <a:lnTo>
                          <a:pt x="17246" y="1989"/>
                        </a:lnTo>
                        <a:lnTo>
                          <a:pt x="17239" y="1994"/>
                        </a:lnTo>
                        <a:lnTo>
                          <a:pt x="17251" y="2029"/>
                        </a:lnTo>
                        <a:lnTo>
                          <a:pt x="17239" y="2046"/>
                        </a:lnTo>
                        <a:lnTo>
                          <a:pt x="17209" y="2055"/>
                        </a:lnTo>
                        <a:lnTo>
                          <a:pt x="17209" y="2067"/>
                        </a:lnTo>
                        <a:lnTo>
                          <a:pt x="17192" y="2072"/>
                        </a:lnTo>
                        <a:lnTo>
                          <a:pt x="17197" y="2084"/>
                        </a:lnTo>
                        <a:lnTo>
                          <a:pt x="17192" y="2088"/>
                        </a:lnTo>
                        <a:lnTo>
                          <a:pt x="17171" y="2100"/>
                        </a:lnTo>
                        <a:lnTo>
                          <a:pt x="17185" y="2112"/>
                        </a:lnTo>
                        <a:lnTo>
                          <a:pt x="17176" y="2105"/>
                        </a:lnTo>
                        <a:lnTo>
                          <a:pt x="17154" y="2138"/>
                        </a:lnTo>
                        <a:lnTo>
                          <a:pt x="17121" y="2138"/>
                        </a:lnTo>
                        <a:lnTo>
                          <a:pt x="17138" y="2166"/>
                        </a:lnTo>
                        <a:lnTo>
                          <a:pt x="17138" y="2178"/>
                        </a:lnTo>
                        <a:lnTo>
                          <a:pt x="17100" y="2178"/>
                        </a:lnTo>
                        <a:lnTo>
                          <a:pt x="17088" y="2183"/>
                        </a:lnTo>
                        <a:lnTo>
                          <a:pt x="17079" y="2195"/>
                        </a:lnTo>
                        <a:lnTo>
                          <a:pt x="17046" y="2178"/>
                        </a:lnTo>
                        <a:lnTo>
                          <a:pt x="17079" y="2162"/>
                        </a:lnTo>
                        <a:lnTo>
                          <a:pt x="17046" y="2166"/>
                        </a:lnTo>
                        <a:lnTo>
                          <a:pt x="17013" y="2157"/>
                        </a:lnTo>
                        <a:lnTo>
                          <a:pt x="16954" y="2157"/>
                        </a:lnTo>
                        <a:lnTo>
                          <a:pt x="16958" y="2162"/>
                        </a:lnTo>
                        <a:lnTo>
                          <a:pt x="16958" y="2178"/>
                        </a:lnTo>
                        <a:lnTo>
                          <a:pt x="16982" y="2195"/>
                        </a:lnTo>
                        <a:lnTo>
                          <a:pt x="17050" y="2216"/>
                        </a:lnTo>
                        <a:lnTo>
                          <a:pt x="17133" y="2211"/>
                        </a:lnTo>
                        <a:lnTo>
                          <a:pt x="17171" y="2223"/>
                        </a:lnTo>
                        <a:lnTo>
                          <a:pt x="17192" y="2216"/>
                        </a:lnTo>
                        <a:lnTo>
                          <a:pt x="17192" y="2195"/>
                        </a:lnTo>
                        <a:lnTo>
                          <a:pt x="17197" y="2178"/>
                        </a:lnTo>
                        <a:lnTo>
                          <a:pt x="17230" y="2178"/>
                        </a:lnTo>
                        <a:lnTo>
                          <a:pt x="17294" y="2138"/>
                        </a:lnTo>
                        <a:lnTo>
                          <a:pt x="17298" y="2105"/>
                        </a:lnTo>
                        <a:lnTo>
                          <a:pt x="17298" y="2100"/>
                        </a:lnTo>
                        <a:lnTo>
                          <a:pt x="17353" y="2051"/>
                        </a:lnTo>
                        <a:lnTo>
                          <a:pt x="17360" y="2018"/>
                        </a:lnTo>
                        <a:lnTo>
                          <a:pt x="17353" y="1994"/>
                        </a:lnTo>
                        <a:lnTo>
                          <a:pt x="17332" y="1961"/>
                        </a:lnTo>
                        <a:lnTo>
                          <a:pt x="17336" y="1944"/>
                        </a:lnTo>
                        <a:lnTo>
                          <a:pt x="17336" y="1923"/>
                        </a:lnTo>
                        <a:lnTo>
                          <a:pt x="17353" y="1918"/>
                        </a:lnTo>
                        <a:lnTo>
                          <a:pt x="17483" y="1890"/>
                        </a:lnTo>
                        <a:lnTo>
                          <a:pt x="17495" y="1902"/>
                        </a:lnTo>
                        <a:lnTo>
                          <a:pt x="17495" y="1918"/>
                        </a:lnTo>
                        <a:lnTo>
                          <a:pt x="17537" y="1944"/>
                        </a:lnTo>
                        <a:lnTo>
                          <a:pt x="17537" y="1961"/>
                        </a:lnTo>
                        <a:lnTo>
                          <a:pt x="17532" y="1973"/>
                        </a:lnTo>
                        <a:lnTo>
                          <a:pt x="17537" y="1977"/>
                        </a:lnTo>
                        <a:lnTo>
                          <a:pt x="17532" y="2013"/>
                        </a:lnTo>
                        <a:lnTo>
                          <a:pt x="17537" y="2018"/>
                        </a:lnTo>
                        <a:lnTo>
                          <a:pt x="17520" y="2034"/>
                        </a:lnTo>
                        <a:lnTo>
                          <a:pt x="17570" y="2067"/>
                        </a:lnTo>
                        <a:lnTo>
                          <a:pt x="17662" y="2067"/>
                        </a:lnTo>
                        <a:lnTo>
                          <a:pt x="17646" y="2051"/>
                        </a:lnTo>
                        <a:lnTo>
                          <a:pt x="17624" y="2055"/>
                        </a:lnTo>
                        <a:lnTo>
                          <a:pt x="17617" y="2055"/>
                        </a:lnTo>
                        <a:lnTo>
                          <a:pt x="17629" y="2051"/>
                        </a:lnTo>
                        <a:lnTo>
                          <a:pt x="17549" y="2046"/>
                        </a:lnTo>
                        <a:lnTo>
                          <a:pt x="17554" y="1994"/>
                        </a:lnTo>
                        <a:lnTo>
                          <a:pt x="17601" y="1977"/>
                        </a:lnTo>
                        <a:lnTo>
                          <a:pt x="17587" y="1961"/>
                        </a:lnTo>
                        <a:lnTo>
                          <a:pt x="17587" y="1944"/>
                        </a:lnTo>
                        <a:lnTo>
                          <a:pt x="17570" y="1944"/>
                        </a:lnTo>
                        <a:lnTo>
                          <a:pt x="17563" y="1902"/>
                        </a:lnTo>
                        <a:lnTo>
                          <a:pt x="17445" y="1850"/>
                        </a:lnTo>
                        <a:lnTo>
                          <a:pt x="17407" y="1850"/>
                        </a:lnTo>
                        <a:lnTo>
                          <a:pt x="17360" y="1878"/>
                        </a:lnTo>
                        <a:lnTo>
                          <a:pt x="17332" y="1866"/>
                        </a:lnTo>
                        <a:lnTo>
                          <a:pt x="17298" y="1878"/>
                        </a:lnTo>
                        <a:lnTo>
                          <a:pt x="17284" y="1862"/>
                        </a:lnTo>
                        <a:lnTo>
                          <a:pt x="17298" y="1829"/>
                        </a:lnTo>
                        <a:lnTo>
                          <a:pt x="17268" y="1791"/>
                        </a:lnTo>
                        <a:lnTo>
                          <a:pt x="17294" y="1751"/>
                        </a:lnTo>
                        <a:lnTo>
                          <a:pt x="17284" y="1739"/>
                        </a:lnTo>
                        <a:lnTo>
                          <a:pt x="17332" y="1696"/>
                        </a:lnTo>
                        <a:lnTo>
                          <a:pt x="17332" y="1668"/>
                        </a:lnTo>
                        <a:lnTo>
                          <a:pt x="17298" y="1647"/>
                        </a:lnTo>
                        <a:lnTo>
                          <a:pt x="17298" y="1630"/>
                        </a:lnTo>
                        <a:lnTo>
                          <a:pt x="17268" y="1590"/>
                        </a:lnTo>
                        <a:lnTo>
                          <a:pt x="17239" y="1573"/>
                        </a:lnTo>
                        <a:lnTo>
                          <a:pt x="17268" y="1545"/>
                        </a:lnTo>
                        <a:lnTo>
                          <a:pt x="17268" y="1529"/>
                        </a:lnTo>
                        <a:lnTo>
                          <a:pt x="17268" y="1519"/>
                        </a:lnTo>
                        <a:lnTo>
                          <a:pt x="17369" y="1479"/>
                        </a:lnTo>
                        <a:lnTo>
                          <a:pt x="17386" y="1462"/>
                        </a:lnTo>
                        <a:lnTo>
                          <a:pt x="17386" y="1441"/>
                        </a:lnTo>
                        <a:lnTo>
                          <a:pt x="17374" y="1408"/>
                        </a:lnTo>
                        <a:lnTo>
                          <a:pt x="17360" y="1384"/>
                        </a:lnTo>
                        <a:lnTo>
                          <a:pt x="17374" y="1375"/>
                        </a:lnTo>
                        <a:lnTo>
                          <a:pt x="17402" y="1384"/>
                        </a:lnTo>
                        <a:lnTo>
                          <a:pt x="17412" y="1392"/>
                        </a:lnTo>
                        <a:lnTo>
                          <a:pt x="17402" y="1401"/>
                        </a:lnTo>
                        <a:lnTo>
                          <a:pt x="17424" y="1418"/>
                        </a:lnTo>
                        <a:lnTo>
                          <a:pt x="17412" y="1425"/>
                        </a:lnTo>
                        <a:lnTo>
                          <a:pt x="17428" y="1458"/>
                        </a:lnTo>
                        <a:lnTo>
                          <a:pt x="17391" y="1512"/>
                        </a:lnTo>
                        <a:lnTo>
                          <a:pt x="17391" y="1529"/>
                        </a:lnTo>
                        <a:lnTo>
                          <a:pt x="17407" y="1545"/>
                        </a:lnTo>
                        <a:lnTo>
                          <a:pt x="17407" y="1557"/>
                        </a:lnTo>
                        <a:lnTo>
                          <a:pt x="17391" y="1569"/>
                        </a:lnTo>
                        <a:lnTo>
                          <a:pt x="17391" y="1573"/>
                        </a:lnTo>
                        <a:lnTo>
                          <a:pt x="17428" y="1590"/>
                        </a:lnTo>
                        <a:lnTo>
                          <a:pt x="17511" y="1602"/>
                        </a:lnTo>
                        <a:lnTo>
                          <a:pt x="17511" y="1614"/>
                        </a:lnTo>
                        <a:lnTo>
                          <a:pt x="17516" y="1607"/>
                        </a:lnTo>
                        <a:lnTo>
                          <a:pt x="17563" y="1607"/>
                        </a:lnTo>
                        <a:lnTo>
                          <a:pt x="17575" y="1614"/>
                        </a:lnTo>
                        <a:lnTo>
                          <a:pt x="17587" y="1630"/>
                        </a:lnTo>
                        <a:lnTo>
                          <a:pt x="17617" y="1640"/>
                        </a:lnTo>
                        <a:lnTo>
                          <a:pt x="17662" y="1630"/>
                        </a:lnTo>
                        <a:lnTo>
                          <a:pt x="17624" y="1630"/>
                        </a:lnTo>
                        <a:lnTo>
                          <a:pt x="17617" y="1630"/>
                        </a:lnTo>
                        <a:lnTo>
                          <a:pt x="17624" y="1614"/>
                        </a:lnTo>
                        <a:lnTo>
                          <a:pt x="17608" y="1614"/>
                        </a:lnTo>
                        <a:lnTo>
                          <a:pt x="17624" y="1623"/>
                        </a:lnTo>
                        <a:lnTo>
                          <a:pt x="17617" y="1623"/>
                        </a:lnTo>
                        <a:lnTo>
                          <a:pt x="17601" y="1614"/>
                        </a:lnTo>
                        <a:lnTo>
                          <a:pt x="17608" y="1590"/>
                        </a:lnTo>
                        <a:lnTo>
                          <a:pt x="17575" y="1590"/>
                        </a:lnTo>
                        <a:lnTo>
                          <a:pt x="17587" y="1573"/>
                        </a:lnTo>
                        <a:lnTo>
                          <a:pt x="17570" y="1590"/>
                        </a:lnTo>
                        <a:lnTo>
                          <a:pt x="17549" y="1585"/>
                        </a:lnTo>
                        <a:lnTo>
                          <a:pt x="17554" y="1590"/>
                        </a:lnTo>
                        <a:lnTo>
                          <a:pt x="17461" y="1552"/>
                        </a:lnTo>
                        <a:lnTo>
                          <a:pt x="17445" y="1512"/>
                        </a:lnTo>
                        <a:lnTo>
                          <a:pt x="17457" y="1503"/>
                        </a:lnTo>
                        <a:lnTo>
                          <a:pt x="17511" y="1491"/>
                        </a:lnTo>
                        <a:lnTo>
                          <a:pt x="17554" y="1519"/>
                        </a:lnTo>
                        <a:lnTo>
                          <a:pt x="17591" y="1512"/>
                        </a:lnTo>
                        <a:lnTo>
                          <a:pt x="17601" y="1495"/>
                        </a:lnTo>
                        <a:lnTo>
                          <a:pt x="17587" y="1479"/>
                        </a:lnTo>
                        <a:lnTo>
                          <a:pt x="17537" y="1479"/>
                        </a:lnTo>
                        <a:lnTo>
                          <a:pt x="17549" y="1462"/>
                        </a:lnTo>
                        <a:lnTo>
                          <a:pt x="17563" y="1474"/>
                        </a:lnTo>
                        <a:lnTo>
                          <a:pt x="17575" y="1446"/>
                        </a:lnTo>
                        <a:lnTo>
                          <a:pt x="17624" y="1441"/>
                        </a:lnTo>
                        <a:lnTo>
                          <a:pt x="17693" y="1446"/>
                        </a:lnTo>
                        <a:lnTo>
                          <a:pt x="17785" y="1479"/>
                        </a:lnTo>
                        <a:lnTo>
                          <a:pt x="17785" y="1491"/>
                        </a:lnTo>
                        <a:lnTo>
                          <a:pt x="17769" y="1491"/>
                        </a:lnTo>
                        <a:lnTo>
                          <a:pt x="17839" y="1536"/>
                        </a:lnTo>
                        <a:lnTo>
                          <a:pt x="17927" y="1529"/>
                        </a:lnTo>
                        <a:lnTo>
                          <a:pt x="17953" y="1536"/>
                        </a:lnTo>
                        <a:lnTo>
                          <a:pt x="17941" y="1552"/>
                        </a:lnTo>
                        <a:lnTo>
                          <a:pt x="17932" y="1569"/>
                        </a:lnTo>
                        <a:lnTo>
                          <a:pt x="17889" y="1590"/>
                        </a:lnTo>
                        <a:lnTo>
                          <a:pt x="17894" y="1614"/>
                        </a:lnTo>
                        <a:lnTo>
                          <a:pt x="17877" y="1630"/>
                        </a:lnTo>
                        <a:lnTo>
                          <a:pt x="17894" y="1656"/>
                        </a:lnTo>
                        <a:lnTo>
                          <a:pt x="17872" y="1684"/>
                        </a:lnTo>
                        <a:lnTo>
                          <a:pt x="17894" y="1734"/>
                        </a:lnTo>
                        <a:lnTo>
                          <a:pt x="17877" y="1684"/>
                        </a:lnTo>
                        <a:lnTo>
                          <a:pt x="17898" y="1680"/>
                        </a:lnTo>
                        <a:lnTo>
                          <a:pt x="17898" y="1656"/>
                        </a:lnTo>
                        <a:lnTo>
                          <a:pt x="17910" y="1630"/>
                        </a:lnTo>
                        <a:lnTo>
                          <a:pt x="17948" y="1640"/>
                        </a:lnTo>
                        <a:lnTo>
                          <a:pt x="17941" y="1701"/>
                        </a:lnTo>
                        <a:lnTo>
                          <a:pt x="17910" y="1722"/>
                        </a:lnTo>
                        <a:lnTo>
                          <a:pt x="17910" y="1734"/>
                        </a:lnTo>
                        <a:lnTo>
                          <a:pt x="17948" y="1751"/>
                        </a:lnTo>
                        <a:lnTo>
                          <a:pt x="17948" y="1739"/>
                        </a:lnTo>
                        <a:lnTo>
                          <a:pt x="17932" y="1718"/>
                        </a:lnTo>
                        <a:lnTo>
                          <a:pt x="17969" y="1718"/>
                        </a:lnTo>
                        <a:lnTo>
                          <a:pt x="17986" y="1701"/>
                        </a:lnTo>
                        <a:lnTo>
                          <a:pt x="17969" y="1640"/>
                        </a:lnTo>
                        <a:lnTo>
                          <a:pt x="17948" y="1602"/>
                        </a:lnTo>
                        <a:lnTo>
                          <a:pt x="17979" y="1545"/>
                        </a:lnTo>
                        <a:lnTo>
                          <a:pt x="17965" y="1519"/>
                        </a:lnTo>
                        <a:lnTo>
                          <a:pt x="17915" y="1512"/>
                        </a:lnTo>
                        <a:lnTo>
                          <a:pt x="17877" y="1479"/>
                        </a:lnTo>
                        <a:lnTo>
                          <a:pt x="17889" y="1474"/>
                        </a:lnTo>
                        <a:lnTo>
                          <a:pt x="17877" y="1458"/>
                        </a:lnTo>
                        <a:lnTo>
                          <a:pt x="17806" y="1446"/>
                        </a:lnTo>
                        <a:lnTo>
                          <a:pt x="17780" y="1425"/>
                        </a:lnTo>
                        <a:lnTo>
                          <a:pt x="17785" y="1408"/>
                        </a:lnTo>
                        <a:lnTo>
                          <a:pt x="17769" y="1392"/>
                        </a:lnTo>
                        <a:lnTo>
                          <a:pt x="17785" y="1375"/>
                        </a:lnTo>
                        <a:lnTo>
                          <a:pt x="17785" y="1363"/>
                        </a:lnTo>
                        <a:lnTo>
                          <a:pt x="17752" y="1347"/>
                        </a:lnTo>
                        <a:lnTo>
                          <a:pt x="17764" y="1335"/>
                        </a:lnTo>
                        <a:lnTo>
                          <a:pt x="17738" y="1335"/>
                        </a:lnTo>
                        <a:lnTo>
                          <a:pt x="17764" y="1330"/>
                        </a:lnTo>
                        <a:lnTo>
                          <a:pt x="17747" y="1314"/>
                        </a:lnTo>
                        <a:lnTo>
                          <a:pt x="17769" y="1290"/>
                        </a:lnTo>
                        <a:lnTo>
                          <a:pt x="17764" y="1290"/>
                        </a:lnTo>
                        <a:lnTo>
                          <a:pt x="17764" y="1281"/>
                        </a:lnTo>
                        <a:lnTo>
                          <a:pt x="18054" y="1252"/>
                        </a:lnTo>
                        <a:lnTo>
                          <a:pt x="18092" y="1257"/>
                        </a:lnTo>
                        <a:lnTo>
                          <a:pt x="18146" y="1240"/>
                        </a:lnTo>
                        <a:lnTo>
                          <a:pt x="18222" y="1240"/>
                        </a:lnTo>
                        <a:lnTo>
                          <a:pt x="18217" y="1252"/>
                        </a:lnTo>
                        <a:lnTo>
                          <a:pt x="18130" y="1297"/>
                        </a:lnTo>
                        <a:lnTo>
                          <a:pt x="18130" y="1314"/>
                        </a:lnTo>
                        <a:lnTo>
                          <a:pt x="18196" y="1347"/>
                        </a:lnTo>
                        <a:lnTo>
                          <a:pt x="18201" y="1363"/>
                        </a:lnTo>
                        <a:lnTo>
                          <a:pt x="18196" y="1335"/>
                        </a:lnTo>
                        <a:lnTo>
                          <a:pt x="18142" y="1314"/>
                        </a:lnTo>
                        <a:lnTo>
                          <a:pt x="18130" y="1290"/>
                        </a:lnTo>
                        <a:lnTo>
                          <a:pt x="18234" y="1273"/>
                        </a:lnTo>
                        <a:lnTo>
                          <a:pt x="18267" y="1236"/>
                        </a:lnTo>
                        <a:lnTo>
                          <a:pt x="18239" y="1240"/>
                        </a:lnTo>
                        <a:lnTo>
                          <a:pt x="18217" y="1219"/>
                        </a:lnTo>
                        <a:lnTo>
                          <a:pt x="18250" y="1219"/>
                        </a:lnTo>
                        <a:lnTo>
                          <a:pt x="18239" y="1207"/>
                        </a:lnTo>
                        <a:lnTo>
                          <a:pt x="18213" y="1207"/>
                        </a:lnTo>
                        <a:lnTo>
                          <a:pt x="18201" y="1186"/>
                        </a:lnTo>
                        <a:lnTo>
                          <a:pt x="18184" y="1186"/>
                        </a:lnTo>
                        <a:lnTo>
                          <a:pt x="18142" y="1179"/>
                        </a:lnTo>
                        <a:lnTo>
                          <a:pt x="18142" y="1170"/>
                        </a:lnTo>
                        <a:lnTo>
                          <a:pt x="18168" y="1179"/>
                        </a:lnTo>
                        <a:lnTo>
                          <a:pt x="18146" y="1162"/>
                        </a:lnTo>
                        <a:lnTo>
                          <a:pt x="18180" y="1153"/>
                        </a:lnTo>
                        <a:lnTo>
                          <a:pt x="18213" y="1162"/>
                        </a:lnTo>
                        <a:lnTo>
                          <a:pt x="18196" y="1179"/>
                        </a:lnTo>
                        <a:lnTo>
                          <a:pt x="18222" y="1170"/>
                        </a:lnTo>
                        <a:lnTo>
                          <a:pt x="18184" y="1146"/>
                        </a:lnTo>
                        <a:lnTo>
                          <a:pt x="18196" y="1141"/>
                        </a:lnTo>
                        <a:lnTo>
                          <a:pt x="18184" y="1141"/>
                        </a:lnTo>
                        <a:lnTo>
                          <a:pt x="18130" y="1129"/>
                        </a:lnTo>
                        <a:lnTo>
                          <a:pt x="18158" y="1113"/>
                        </a:lnTo>
                        <a:lnTo>
                          <a:pt x="18146" y="1108"/>
                        </a:lnTo>
                        <a:lnTo>
                          <a:pt x="18213" y="1129"/>
                        </a:lnTo>
                        <a:lnTo>
                          <a:pt x="18213" y="1125"/>
                        </a:lnTo>
                        <a:lnTo>
                          <a:pt x="18201" y="1125"/>
                        </a:lnTo>
                        <a:lnTo>
                          <a:pt x="18239" y="1087"/>
                        </a:lnTo>
                        <a:lnTo>
                          <a:pt x="18234" y="1075"/>
                        </a:lnTo>
                        <a:lnTo>
                          <a:pt x="18255" y="1087"/>
                        </a:lnTo>
                        <a:lnTo>
                          <a:pt x="18272" y="1075"/>
                        </a:lnTo>
                        <a:lnTo>
                          <a:pt x="18213" y="1070"/>
                        </a:lnTo>
                        <a:lnTo>
                          <a:pt x="18217" y="1051"/>
                        </a:lnTo>
                        <a:lnTo>
                          <a:pt x="18288" y="1058"/>
                        </a:lnTo>
                        <a:lnTo>
                          <a:pt x="18373" y="1002"/>
                        </a:lnTo>
                        <a:lnTo>
                          <a:pt x="18395" y="1014"/>
                        </a:lnTo>
                        <a:lnTo>
                          <a:pt x="18428" y="997"/>
                        </a:lnTo>
                        <a:lnTo>
                          <a:pt x="18487" y="981"/>
                        </a:lnTo>
                        <a:lnTo>
                          <a:pt x="18541" y="981"/>
                        </a:lnTo>
                        <a:lnTo>
                          <a:pt x="18546" y="976"/>
                        </a:lnTo>
                        <a:lnTo>
                          <a:pt x="18720" y="943"/>
                        </a:lnTo>
                        <a:lnTo>
                          <a:pt x="18671" y="943"/>
                        </a:lnTo>
                        <a:lnTo>
                          <a:pt x="18666" y="947"/>
                        </a:lnTo>
                        <a:lnTo>
                          <a:pt x="18654" y="931"/>
                        </a:lnTo>
                        <a:lnTo>
                          <a:pt x="18645" y="943"/>
                        </a:lnTo>
                        <a:lnTo>
                          <a:pt x="18645" y="947"/>
                        </a:lnTo>
                        <a:lnTo>
                          <a:pt x="18628" y="943"/>
                        </a:lnTo>
                        <a:lnTo>
                          <a:pt x="18633" y="924"/>
                        </a:lnTo>
                        <a:lnTo>
                          <a:pt x="18654" y="924"/>
                        </a:lnTo>
                        <a:lnTo>
                          <a:pt x="18650" y="919"/>
                        </a:lnTo>
                        <a:lnTo>
                          <a:pt x="18666" y="919"/>
                        </a:lnTo>
                        <a:lnTo>
                          <a:pt x="18654" y="924"/>
                        </a:lnTo>
                        <a:lnTo>
                          <a:pt x="18666" y="931"/>
                        </a:lnTo>
                        <a:lnTo>
                          <a:pt x="18709" y="924"/>
                        </a:lnTo>
                        <a:lnTo>
                          <a:pt x="18683" y="907"/>
                        </a:lnTo>
                        <a:lnTo>
                          <a:pt x="18735" y="907"/>
                        </a:lnTo>
                        <a:lnTo>
                          <a:pt x="18742" y="924"/>
                        </a:lnTo>
                        <a:lnTo>
                          <a:pt x="18758" y="919"/>
                        </a:lnTo>
                        <a:lnTo>
                          <a:pt x="18742" y="907"/>
                        </a:lnTo>
                        <a:lnTo>
                          <a:pt x="18751" y="907"/>
                        </a:lnTo>
                        <a:lnTo>
                          <a:pt x="18865" y="919"/>
                        </a:lnTo>
                        <a:lnTo>
                          <a:pt x="18817" y="947"/>
                        </a:lnTo>
                        <a:lnTo>
                          <a:pt x="18827" y="947"/>
                        </a:lnTo>
                        <a:lnTo>
                          <a:pt x="18843" y="943"/>
                        </a:lnTo>
                        <a:lnTo>
                          <a:pt x="18881" y="931"/>
                        </a:lnTo>
                        <a:lnTo>
                          <a:pt x="18886" y="943"/>
                        </a:lnTo>
                        <a:lnTo>
                          <a:pt x="18881" y="947"/>
                        </a:lnTo>
                        <a:lnTo>
                          <a:pt x="18935" y="924"/>
                        </a:lnTo>
                        <a:lnTo>
                          <a:pt x="18940" y="924"/>
                        </a:lnTo>
                        <a:lnTo>
                          <a:pt x="18924" y="943"/>
                        </a:lnTo>
                        <a:lnTo>
                          <a:pt x="18973" y="931"/>
                        </a:lnTo>
                        <a:lnTo>
                          <a:pt x="18957" y="924"/>
                        </a:lnTo>
                        <a:lnTo>
                          <a:pt x="18994" y="919"/>
                        </a:lnTo>
                        <a:lnTo>
                          <a:pt x="19006" y="919"/>
                        </a:lnTo>
                        <a:lnTo>
                          <a:pt x="18978" y="907"/>
                        </a:lnTo>
                        <a:lnTo>
                          <a:pt x="19044" y="891"/>
                        </a:lnTo>
                        <a:lnTo>
                          <a:pt x="19032" y="903"/>
                        </a:lnTo>
                        <a:lnTo>
                          <a:pt x="19082" y="903"/>
                        </a:lnTo>
                        <a:lnTo>
                          <a:pt x="19065" y="907"/>
                        </a:lnTo>
                        <a:lnTo>
                          <a:pt x="19098" y="907"/>
                        </a:lnTo>
                        <a:lnTo>
                          <a:pt x="19087" y="919"/>
                        </a:lnTo>
                        <a:lnTo>
                          <a:pt x="19113" y="924"/>
                        </a:lnTo>
                        <a:lnTo>
                          <a:pt x="19103" y="959"/>
                        </a:lnTo>
                        <a:lnTo>
                          <a:pt x="19075" y="964"/>
                        </a:lnTo>
                        <a:lnTo>
                          <a:pt x="19065" y="997"/>
                        </a:lnTo>
                        <a:lnTo>
                          <a:pt x="19103" y="1014"/>
                        </a:lnTo>
                        <a:lnTo>
                          <a:pt x="19141" y="1051"/>
                        </a:lnTo>
                        <a:lnTo>
                          <a:pt x="19136" y="1035"/>
                        </a:lnTo>
                        <a:lnTo>
                          <a:pt x="19113" y="1018"/>
                        </a:lnTo>
                        <a:lnTo>
                          <a:pt x="19120" y="1014"/>
                        </a:lnTo>
                        <a:lnTo>
                          <a:pt x="19075" y="997"/>
                        </a:lnTo>
                        <a:lnTo>
                          <a:pt x="19082" y="964"/>
                        </a:lnTo>
                        <a:lnTo>
                          <a:pt x="19103" y="964"/>
                        </a:lnTo>
                        <a:lnTo>
                          <a:pt x="19120" y="947"/>
                        </a:lnTo>
                        <a:lnTo>
                          <a:pt x="19120" y="919"/>
                        </a:lnTo>
                        <a:lnTo>
                          <a:pt x="19103" y="891"/>
                        </a:lnTo>
                        <a:lnTo>
                          <a:pt x="19061" y="874"/>
                        </a:lnTo>
                        <a:lnTo>
                          <a:pt x="19044" y="865"/>
                        </a:lnTo>
                        <a:lnTo>
                          <a:pt x="19188" y="853"/>
                        </a:lnTo>
                        <a:lnTo>
                          <a:pt x="19280" y="874"/>
                        </a:lnTo>
                        <a:lnTo>
                          <a:pt x="19188" y="848"/>
                        </a:lnTo>
                        <a:lnTo>
                          <a:pt x="19205" y="848"/>
                        </a:lnTo>
                        <a:lnTo>
                          <a:pt x="19212" y="820"/>
                        </a:lnTo>
                        <a:lnTo>
                          <a:pt x="19188" y="799"/>
                        </a:lnTo>
                        <a:lnTo>
                          <a:pt x="19195" y="780"/>
                        </a:lnTo>
                        <a:lnTo>
                          <a:pt x="19212" y="780"/>
                        </a:lnTo>
                        <a:lnTo>
                          <a:pt x="19212" y="763"/>
                        </a:lnTo>
                        <a:lnTo>
                          <a:pt x="19276" y="721"/>
                        </a:lnTo>
                        <a:lnTo>
                          <a:pt x="19292" y="725"/>
                        </a:lnTo>
                        <a:lnTo>
                          <a:pt x="19351" y="681"/>
                        </a:lnTo>
                        <a:lnTo>
                          <a:pt x="19427" y="671"/>
                        </a:lnTo>
                        <a:lnTo>
                          <a:pt x="19439" y="671"/>
                        </a:lnTo>
                        <a:lnTo>
                          <a:pt x="19427" y="681"/>
                        </a:lnTo>
                        <a:lnTo>
                          <a:pt x="19460" y="671"/>
                        </a:lnTo>
                        <a:lnTo>
                          <a:pt x="19476" y="697"/>
                        </a:lnTo>
                        <a:lnTo>
                          <a:pt x="19507" y="697"/>
                        </a:lnTo>
                        <a:lnTo>
                          <a:pt x="19535" y="697"/>
                        </a:lnTo>
                        <a:lnTo>
                          <a:pt x="19552" y="721"/>
                        </a:lnTo>
                        <a:lnTo>
                          <a:pt x="19566" y="725"/>
                        </a:lnTo>
                        <a:lnTo>
                          <a:pt x="19528" y="725"/>
                        </a:lnTo>
                        <a:lnTo>
                          <a:pt x="19514" y="742"/>
                        </a:lnTo>
                        <a:lnTo>
                          <a:pt x="19422" y="763"/>
                        </a:lnTo>
                        <a:lnTo>
                          <a:pt x="19545" y="758"/>
                        </a:lnTo>
                        <a:lnTo>
                          <a:pt x="19535" y="775"/>
                        </a:lnTo>
                        <a:lnTo>
                          <a:pt x="19514" y="780"/>
                        </a:lnTo>
                        <a:lnTo>
                          <a:pt x="19604" y="775"/>
                        </a:lnTo>
                        <a:lnTo>
                          <a:pt x="19654" y="792"/>
                        </a:lnTo>
                        <a:lnTo>
                          <a:pt x="19637" y="799"/>
                        </a:lnTo>
                        <a:lnTo>
                          <a:pt x="19642" y="799"/>
                        </a:lnTo>
                        <a:lnTo>
                          <a:pt x="19590" y="848"/>
                        </a:lnTo>
                        <a:lnTo>
                          <a:pt x="19573" y="848"/>
                        </a:lnTo>
                        <a:lnTo>
                          <a:pt x="19573" y="853"/>
                        </a:lnTo>
                        <a:lnTo>
                          <a:pt x="19687" y="853"/>
                        </a:lnTo>
                        <a:lnTo>
                          <a:pt x="19691" y="836"/>
                        </a:lnTo>
                        <a:lnTo>
                          <a:pt x="19687" y="832"/>
                        </a:lnTo>
                        <a:lnTo>
                          <a:pt x="19687" y="820"/>
                        </a:lnTo>
                        <a:lnTo>
                          <a:pt x="19831" y="832"/>
                        </a:lnTo>
                        <a:lnTo>
                          <a:pt x="19906" y="820"/>
                        </a:lnTo>
                        <a:lnTo>
                          <a:pt x="19982" y="865"/>
                        </a:lnTo>
                        <a:lnTo>
                          <a:pt x="19961" y="874"/>
                        </a:lnTo>
                        <a:lnTo>
                          <a:pt x="19994" y="865"/>
                        </a:lnTo>
                        <a:lnTo>
                          <a:pt x="20020" y="886"/>
                        </a:lnTo>
                        <a:lnTo>
                          <a:pt x="20015" y="903"/>
                        </a:lnTo>
                        <a:lnTo>
                          <a:pt x="20010" y="891"/>
                        </a:lnTo>
                        <a:lnTo>
                          <a:pt x="20031" y="907"/>
                        </a:lnTo>
                        <a:lnTo>
                          <a:pt x="20010" y="924"/>
                        </a:lnTo>
                        <a:lnTo>
                          <a:pt x="20065" y="907"/>
                        </a:lnTo>
                        <a:lnTo>
                          <a:pt x="20036" y="891"/>
                        </a:lnTo>
                        <a:lnTo>
                          <a:pt x="20065" y="891"/>
                        </a:lnTo>
                        <a:lnTo>
                          <a:pt x="20074" y="907"/>
                        </a:lnTo>
                        <a:lnTo>
                          <a:pt x="20074" y="947"/>
                        </a:lnTo>
                        <a:lnTo>
                          <a:pt x="20091" y="943"/>
                        </a:lnTo>
                        <a:lnTo>
                          <a:pt x="20102" y="959"/>
                        </a:lnTo>
                        <a:lnTo>
                          <a:pt x="20091" y="985"/>
                        </a:lnTo>
                        <a:lnTo>
                          <a:pt x="20074" y="997"/>
                        </a:lnTo>
                        <a:lnTo>
                          <a:pt x="20069" y="997"/>
                        </a:lnTo>
                        <a:lnTo>
                          <a:pt x="20086" y="981"/>
                        </a:lnTo>
                        <a:lnTo>
                          <a:pt x="19994" y="959"/>
                        </a:lnTo>
                        <a:lnTo>
                          <a:pt x="20031" y="976"/>
                        </a:lnTo>
                        <a:lnTo>
                          <a:pt x="20031" y="997"/>
                        </a:lnTo>
                        <a:lnTo>
                          <a:pt x="20065" y="981"/>
                        </a:lnTo>
                        <a:lnTo>
                          <a:pt x="20065" y="997"/>
                        </a:lnTo>
                        <a:lnTo>
                          <a:pt x="20086" y="1002"/>
                        </a:lnTo>
                        <a:lnTo>
                          <a:pt x="20091" y="1018"/>
                        </a:lnTo>
                        <a:lnTo>
                          <a:pt x="20074" y="1018"/>
                        </a:lnTo>
                        <a:lnTo>
                          <a:pt x="20086" y="1030"/>
                        </a:lnTo>
                        <a:lnTo>
                          <a:pt x="20031" y="1075"/>
                        </a:lnTo>
                        <a:lnTo>
                          <a:pt x="19977" y="1092"/>
                        </a:lnTo>
                        <a:lnTo>
                          <a:pt x="19956" y="1125"/>
                        </a:lnTo>
                        <a:lnTo>
                          <a:pt x="19930" y="1125"/>
                        </a:lnTo>
                        <a:lnTo>
                          <a:pt x="19902" y="1141"/>
                        </a:lnTo>
                        <a:lnTo>
                          <a:pt x="19854" y="1153"/>
                        </a:lnTo>
                        <a:lnTo>
                          <a:pt x="19859" y="1153"/>
                        </a:lnTo>
                        <a:lnTo>
                          <a:pt x="19847" y="1170"/>
                        </a:lnTo>
                        <a:lnTo>
                          <a:pt x="19800" y="1170"/>
                        </a:lnTo>
                        <a:lnTo>
                          <a:pt x="19831" y="1179"/>
                        </a:lnTo>
                        <a:lnTo>
                          <a:pt x="19821" y="1195"/>
                        </a:lnTo>
                        <a:lnTo>
                          <a:pt x="19767" y="1219"/>
                        </a:lnTo>
                        <a:lnTo>
                          <a:pt x="19708" y="1264"/>
                        </a:lnTo>
                        <a:lnTo>
                          <a:pt x="19628" y="1273"/>
                        </a:lnTo>
                        <a:lnTo>
                          <a:pt x="19628" y="1281"/>
                        </a:lnTo>
                        <a:lnTo>
                          <a:pt x="19604" y="1314"/>
                        </a:lnTo>
                        <a:lnTo>
                          <a:pt x="19552" y="1318"/>
                        </a:lnTo>
                        <a:lnTo>
                          <a:pt x="19535" y="1363"/>
                        </a:lnTo>
                        <a:lnTo>
                          <a:pt x="19498" y="1392"/>
                        </a:lnTo>
                        <a:lnTo>
                          <a:pt x="19566" y="1363"/>
                        </a:lnTo>
                        <a:lnTo>
                          <a:pt x="19561" y="1347"/>
                        </a:lnTo>
                        <a:lnTo>
                          <a:pt x="19573" y="1330"/>
                        </a:lnTo>
                        <a:lnTo>
                          <a:pt x="19604" y="1335"/>
                        </a:lnTo>
                        <a:lnTo>
                          <a:pt x="19713" y="1330"/>
                        </a:lnTo>
                        <a:lnTo>
                          <a:pt x="19708" y="1318"/>
                        </a:lnTo>
                        <a:lnTo>
                          <a:pt x="19779" y="1307"/>
                        </a:lnTo>
                        <a:lnTo>
                          <a:pt x="19779" y="1290"/>
                        </a:lnTo>
                        <a:lnTo>
                          <a:pt x="19793" y="1297"/>
                        </a:lnTo>
                        <a:lnTo>
                          <a:pt x="19779" y="1281"/>
                        </a:lnTo>
                        <a:lnTo>
                          <a:pt x="19817" y="1297"/>
                        </a:lnTo>
                        <a:lnTo>
                          <a:pt x="19892" y="1264"/>
                        </a:lnTo>
                        <a:lnTo>
                          <a:pt x="19892" y="1252"/>
                        </a:lnTo>
                        <a:lnTo>
                          <a:pt x="19876" y="1252"/>
                        </a:lnTo>
                        <a:lnTo>
                          <a:pt x="19817" y="1264"/>
                        </a:lnTo>
                        <a:lnTo>
                          <a:pt x="19800" y="1252"/>
                        </a:lnTo>
                        <a:lnTo>
                          <a:pt x="19821" y="1224"/>
                        </a:lnTo>
                        <a:lnTo>
                          <a:pt x="19847" y="1219"/>
                        </a:lnTo>
                        <a:lnTo>
                          <a:pt x="19902" y="1236"/>
                        </a:lnTo>
                        <a:lnTo>
                          <a:pt x="19906" y="1219"/>
                        </a:lnTo>
                        <a:lnTo>
                          <a:pt x="19939" y="1207"/>
                        </a:lnTo>
                        <a:lnTo>
                          <a:pt x="19913" y="1224"/>
                        </a:lnTo>
                        <a:lnTo>
                          <a:pt x="19930" y="1240"/>
                        </a:lnTo>
                        <a:lnTo>
                          <a:pt x="19982" y="1257"/>
                        </a:lnTo>
                        <a:lnTo>
                          <a:pt x="20031" y="1252"/>
                        </a:lnTo>
                        <a:lnTo>
                          <a:pt x="20036" y="1240"/>
                        </a:lnTo>
                        <a:lnTo>
                          <a:pt x="20031" y="1224"/>
                        </a:lnTo>
                        <a:lnTo>
                          <a:pt x="20069" y="1264"/>
                        </a:lnTo>
                        <a:lnTo>
                          <a:pt x="20053" y="1297"/>
                        </a:lnTo>
                        <a:lnTo>
                          <a:pt x="20074" y="1314"/>
                        </a:lnTo>
                        <a:lnTo>
                          <a:pt x="20074" y="1363"/>
                        </a:lnTo>
                        <a:lnTo>
                          <a:pt x="20048" y="1375"/>
                        </a:lnTo>
                        <a:lnTo>
                          <a:pt x="20053" y="1392"/>
                        </a:lnTo>
                        <a:lnTo>
                          <a:pt x="20119" y="1418"/>
                        </a:lnTo>
                        <a:lnTo>
                          <a:pt x="20069" y="1401"/>
                        </a:lnTo>
                        <a:lnTo>
                          <a:pt x="20053" y="1384"/>
                        </a:lnTo>
                        <a:lnTo>
                          <a:pt x="20074" y="1363"/>
                        </a:lnTo>
                        <a:lnTo>
                          <a:pt x="20074" y="1318"/>
                        </a:lnTo>
                        <a:lnTo>
                          <a:pt x="20119" y="1314"/>
                        </a:lnTo>
                        <a:lnTo>
                          <a:pt x="20091" y="1314"/>
                        </a:lnTo>
                        <a:lnTo>
                          <a:pt x="20074" y="1290"/>
                        </a:lnTo>
                        <a:lnTo>
                          <a:pt x="20216" y="1257"/>
                        </a:lnTo>
                        <a:lnTo>
                          <a:pt x="20443" y="1281"/>
                        </a:lnTo>
                        <a:lnTo>
                          <a:pt x="20464" y="1290"/>
                        </a:lnTo>
                        <a:lnTo>
                          <a:pt x="20426" y="1290"/>
                        </a:lnTo>
                        <a:lnTo>
                          <a:pt x="20414" y="1297"/>
                        </a:lnTo>
                        <a:lnTo>
                          <a:pt x="20414" y="1330"/>
                        </a:lnTo>
                        <a:lnTo>
                          <a:pt x="20502" y="1351"/>
                        </a:lnTo>
                        <a:lnTo>
                          <a:pt x="20518" y="1368"/>
                        </a:lnTo>
                        <a:lnTo>
                          <a:pt x="20572" y="1375"/>
                        </a:lnTo>
                        <a:lnTo>
                          <a:pt x="20518" y="1363"/>
                        </a:lnTo>
                        <a:lnTo>
                          <a:pt x="20662" y="1363"/>
                        </a:lnTo>
                        <a:lnTo>
                          <a:pt x="20766" y="1392"/>
                        </a:lnTo>
                        <a:lnTo>
                          <a:pt x="20792" y="1392"/>
                        </a:lnTo>
                        <a:lnTo>
                          <a:pt x="20863" y="1408"/>
                        </a:lnTo>
                        <a:lnTo>
                          <a:pt x="20965" y="1458"/>
                        </a:lnTo>
                        <a:lnTo>
                          <a:pt x="20981" y="1446"/>
                        </a:lnTo>
                        <a:lnTo>
                          <a:pt x="21035" y="1512"/>
                        </a:lnTo>
                        <a:lnTo>
                          <a:pt x="21026" y="1529"/>
                        </a:lnTo>
                        <a:lnTo>
                          <a:pt x="21040" y="1573"/>
                        </a:lnTo>
                        <a:lnTo>
                          <a:pt x="21040" y="1569"/>
                        </a:lnTo>
                        <a:lnTo>
                          <a:pt x="21035" y="1529"/>
                        </a:lnTo>
                        <a:lnTo>
                          <a:pt x="21047" y="1512"/>
                        </a:lnTo>
                        <a:lnTo>
                          <a:pt x="21019" y="1491"/>
                        </a:lnTo>
                        <a:lnTo>
                          <a:pt x="21019" y="1458"/>
                        </a:lnTo>
                        <a:lnTo>
                          <a:pt x="21002" y="1441"/>
                        </a:lnTo>
                        <a:lnTo>
                          <a:pt x="21073" y="1446"/>
                        </a:lnTo>
                        <a:lnTo>
                          <a:pt x="21111" y="1479"/>
                        </a:lnTo>
                        <a:lnTo>
                          <a:pt x="21144" y="1529"/>
                        </a:lnTo>
                        <a:lnTo>
                          <a:pt x="21170" y="1519"/>
                        </a:lnTo>
                        <a:lnTo>
                          <a:pt x="21165" y="1495"/>
                        </a:lnTo>
                        <a:lnTo>
                          <a:pt x="21203" y="1536"/>
                        </a:lnTo>
                        <a:lnTo>
                          <a:pt x="21154" y="1536"/>
                        </a:lnTo>
                        <a:lnTo>
                          <a:pt x="21149" y="1545"/>
                        </a:lnTo>
                        <a:lnTo>
                          <a:pt x="21149" y="1552"/>
                        </a:lnTo>
                        <a:lnTo>
                          <a:pt x="21170" y="1552"/>
                        </a:lnTo>
                        <a:lnTo>
                          <a:pt x="21187" y="1585"/>
                        </a:lnTo>
                        <a:lnTo>
                          <a:pt x="21208" y="1590"/>
                        </a:lnTo>
                        <a:lnTo>
                          <a:pt x="21208" y="1614"/>
                        </a:lnTo>
                        <a:lnTo>
                          <a:pt x="21236" y="1614"/>
                        </a:lnTo>
                        <a:lnTo>
                          <a:pt x="21253" y="1630"/>
                        </a:lnTo>
                        <a:lnTo>
                          <a:pt x="21241" y="1630"/>
                        </a:lnTo>
                        <a:lnTo>
                          <a:pt x="21274" y="1647"/>
                        </a:lnTo>
                        <a:lnTo>
                          <a:pt x="21291" y="1630"/>
                        </a:lnTo>
                        <a:lnTo>
                          <a:pt x="21295" y="1663"/>
                        </a:lnTo>
                        <a:lnTo>
                          <a:pt x="21312" y="1663"/>
                        </a:lnTo>
                        <a:lnTo>
                          <a:pt x="21342" y="1647"/>
                        </a:lnTo>
                        <a:lnTo>
                          <a:pt x="21366" y="1602"/>
                        </a:lnTo>
                        <a:lnTo>
                          <a:pt x="21387" y="1602"/>
                        </a:lnTo>
                        <a:lnTo>
                          <a:pt x="21371" y="1590"/>
                        </a:lnTo>
                        <a:lnTo>
                          <a:pt x="21387" y="1536"/>
                        </a:lnTo>
                        <a:lnTo>
                          <a:pt x="21425" y="1503"/>
                        </a:lnTo>
                        <a:lnTo>
                          <a:pt x="21425" y="1529"/>
                        </a:lnTo>
                        <a:lnTo>
                          <a:pt x="21489" y="1569"/>
                        </a:lnTo>
                        <a:lnTo>
                          <a:pt x="21543" y="1585"/>
                        </a:lnTo>
                        <a:lnTo>
                          <a:pt x="21640" y="1545"/>
                        </a:lnTo>
                        <a:lnTo>
                          <a:pt x="21758" y="1585"/>
                        </a:lnTo>
                        <a:lnTo>
                          <a:pt x="21749" y="1590"/>
                        </a:lnTo>
                        <a:lnTo>
                          <a:pt x="21765" y="1590"/>
                        </a:lnTo>
                        <a:lnTo>
                          <a:pt x="21782" y="1614"/>
                        </a:lnTo>
                        <a:lnTo>
                          <a:pt x="21796" y="1607"/>
                        </a:lnTo>
                        <a:lnTo>
                          <a:pt x="21775" y="1602"/>
                        </a:lnTo>
                        <a:lnTo>
                          <a:pt x="21813" y="1590"/>
                        </a:lnTo>
                        <a:lnTo>
                          <a:pt x="21791" y="1590"/>
                        </a:lnTo>
                        <a:lnTo>
                          <a:pt x="21813" y="1585"/>
                        </a:lnTo>
                        <a:lnTo>
                          <a:pt x="21782" y="1573"/>
                        </a:lnTo>
                        <a:lnTo>
                          <a:pt x="21796" y="1552"/>
                        </a:lnTo>
                        <a:lnTo>
                          <a:pt x="21829" y="1545"/>
                        </a:lnTo>
                        <a:lnTo>
                          <a:pt x="21820" y="1552"/>
                        </a:lnTo>
                        <a:lnTo>
                          <a:pt x="21829" y="1557"/>
                        </a:lnTo>
                        <a:lnTo>
                          <a:pt x="21846" y="1545"/>
                        </a:lnTo>
                        <a:lnTo>
                          <a:pt x="21867" y="1552"/>
                        </a:lnTo>
                        <a:lnTo>
                          <a:pt x="21872" y="1573"/>
                        </a:lnTo>
                        <a:lnTo>
                          <a:pt x="21883" y="1573"/>
                        </a:lnTo>
                        <a:lnTo>
                          <a:pt x="21900" y="1557"/>
                        </a:lnTo>
                        <a:lnTo>
                          <a:pt x="21926" y="1569"/>
                        </a:lnTo>
                        <a:lnTo>
                          <a:pt x="21909" y="1536"/>
                        </a:lnTo>
                        <a:lnTo>
                          <a:pt x="21909" y="1512"/>
                        </a:lnTo>
                        <a:lnTo>
                          <a:pt x="21888" y="1503"/>
                        </a:lnTo>
                        <a:lnTo>
                          <a:pt x="21905" y="1503"/>
                        </a:lnTo>
                        <a:lnTo>
                          <a:pt x="21926" y="1474"/>
                        </a:lnTo>
                        <a:lnTo>
                          <a:pt x="21938" y="1479"/>
                        </a:lnTo>
                        <a:lnTo>
                          <a:pt x="21954" y="1462"/>
                        </a:lnTo>
                        <a:lnTo>
                          <a:pt x="21905" y="1462"/>
                        </a:lnTo>
                        <a:lnTo>
                          <a:pt x="21888" y="1479"/>
                        </a:lnTo>
                        <a:lnTo>
                          <a:pt x="21867" y="1462"/>
                        </a:lnTo>
                        <a:lnTo>
                          <a:pt x="21905" y="1425"/>
                        </a:lnTo>
                        <a:lnTo>
                          <a:pt x="21976" y="1425"/>
                        </a:lnTo>
                        <a:lnTo>
                          <a:pt x="22009" y="1418"/>
                        </a:lnTo>
                        <a:lnTo>
                          <a:pt x="22009" y="1401"/>
                        </a:lnTo>
                        <a:lnTo>
                          <a:pt x="21976" y="1375"/>
                        </a:lnTo>
                        <a:lnTo>
                          <a:pt x="21992" y="1375"/>
                        </a:lnTo>
                        <a:lnTo>
                          <a:pt x="22072" y="1392"/>
                        </a:lnTo>
                        <a:lnTo>
                          <a:pt x="22316" y="1425"/>
                        </a:lnTo>
                        <a:lnTo>
                          <a:pt x="22413" y="1446"/>
                        </a:lnTo>
                        <a:lnTo>
                          <a:pt x="22316" y="1446"/>
                        </a:lnTo>
                        <a:lnTo>
                          <a:pt x="22283" y="1429"/>
                        </a:lnTo>
                        <a:lnTo>
                          <a:pt x="22266" y="1441"/>
                        </a:lnTo>
                        <a:lnTo>
                          <a:pt x="22250" y="1462"/>
                        </a:lnTo>
                        <a:lnTo>
                          <a:pt x="22224" y="1458"/>
                        </a:lnTo>
                        <a:lnTo>
                          <a:pt x="22245" y="1474"/>
                        </a:lnTo>
                        <a:lnTo>
                          <a:pt x="22424" y="1458"/>
                        </a:lnTo>
                        <a:lnTo>
                          <a:pt x="22354" y="1512"/>
                        </a:lnTo>
                        <a:lnTo>
                          <a:pt x="22354" y="1491"/>
                        </a:lnTo>
                        <a:lnTo>
                          <a:pt x="22375" y="1479"/>
                        </a:lnTo>
                        <a:lnTo>
                          <a:pt x="22358" y="1474"/>
                        </a:lnTo>
                        <a:lnTo>
                          <a:pt x="22354" y="1491"/>
                        </a:lnTo>
                        <a:lnTo>
                          <a:pt x="22342" y="1462"/>
                        </a:lnTo>
                        <a:lnTo>
                          <a:pt x="22332" y="1462"/>
                        </a:lnTo>
                        <a:lnTo>
                          <a:pt x="22337" y="1462"/>
                        </a:lnTo>
                        <a:lnTo>
                          <a:pt x="22332" y="1491"/>
                        </a:lnTo>
                        <a:lnTo>
                          <a:pt x="22337" y="1491"/>
                        </a:lnTo>
                        <a:lnTo>
                          <a:pt x="22342" y="1503"/>
                        </a:lnTo>
                        <a:lnTo>
                          <a:pt x="22304" y="1512"/>
                        </a:lnTo>
                        <a:lnTo>
                          <a:pt x="22283" y="1503"/>
                        </a:lnTo>
                        <a:lnTo>
                          <a:pt x="22299" y="1519"/>
                        </a:lnTo>
                        <a:lnTo>
                          <a:pt x="22278" y="1529"/>
                        </a:lnTo>
                        <a:lnTo>
                          <a:pt x="22278" y="1536"/>
                        </a:lnTo>
                        <a:lnTo>
                          <a:pt x="22304" y="1545"/>
                        </a:lnTo>
                        <a:lnTo>
                          <a:pt x="22358" y="1519"/>
                        </a:lnTo>
                        <a:lnTo>
                          <a:pt x="22439" y="1446"/>
                        </a:lnTo>
                        <a:lnTo>
                          <a:pt x="22576" y="1462"/>
                        </a:lnTo>
                        <a:lnTo>
                          <a:pt x="22613" y="1479"/>
                        </a:lnTo>
                        <a:lnTo>
                          <a:pt x="22639" y="1512"/>
                        </a:lnTo>
                        <a:lnTo>
                          <a:pt x="22613" y="1529"/>
                        </a:lnTo>
                        <a:lnTo>
                          <a:pt x="22590" y="1503"/>
                        </a:lnTo>
                        <a:lnTo>
                          <a:pt x="22576" y="1529"/>
                        </a:lnTo>
                        <a:lnTo>
                          <a:pt x="22552" y="1519"/>
                        </a:lnTo>
                        <a:lnTo>
                          <a:pt x="22568" y="1529"/>
                        </a:lnTo>
                        <a:lnTo>
                          <a:pt x="22552" y="1536"/>
                        </a:lnTo>
                        <a:lnTo>
                          <a:pt x="22644" y="1552"/>
                        </a:lnTo>
                        <a:lnTo>
                          <a:pt x="22628" y="1552"/>
                        </a:lnTo>
                        <a:lnTo>
                          <a:pt x="22623" y="1569"/>
                        </a:lnTo>
                        <a:lnTo>
                          <a:pt x="22682" y="1557"/>
                        </a:lnTo>
                        <a:lnTo>
                          <a:pt x="22665" y="1585"/>
                        </a:lnTo>
                        <a:lnTo>
                          <a:pt x="22639" y="1602"/>
                        </a:lnTo>
                        <a:lnTo>
                          <a:pt x="22682" y="1573"/>
                        </a:lnTo>
                        <a:lnTo>
                          <a:pt x="22677" y="1590"/>
                        </a:lnTo>
                        <a:lnTo>
                          <a:pt x="22710" y="1573"/>
                        </a:lnTo>
                        <a:lnTo>
                          <a:pt x="22736" y="1585"/>
                        </a:lnTo>
                        <a:lnTo>
                          <a:pt x="22786" y="1630"/>
                        </a:lnTo>
                        <a:lnTo>
                          <a:pt x="22753" y="1630"/>
                        </a:lnTo>
                        <a:lnTo>
                          <a:pt x="22816" y="1647"/>
                        </a:lnTo>
                        <a:lnTo>
                          <a:pt x="22892" y="1647"/>
                        </a:lnTo>
                        <a:lnTo>
                          <a:pt x="23055" y="1614"/>
                        </a:lnTo>
                        <a:lnTo>
                          <a:pt x="23194" y="1623"/>
                        </a:lnTo>
                        <a:lnTo>
                          <a:pt x="23270" y="1647"/>
                        </a:lnTo>
                        <a:lnTo>
                          <a:pt x="23320" y="1668"/>
                        </a:lnTo>
                        <a:lnTo>
                          <a:pt x="23341" y="1701"/>
                        </a:lnTo>
                        <a:lnTo>
                          <a:pt x="23341" y="1722"/>
                        </a:lnTo>
                        <a:lnTo>
                          <a:pt x="23331" y="1739"/>
                        </a:lnTo>
                        <a:lnTo>
                          <a:pt x="23324" y="1739"/>
                        </a:lnTo>
                        <a:lnTo>
                          <a:pt x="23324" y="1751"/>
                        </a:lnTo>
                        <a:lnTo>
                          <a:pt x="23320" y="1774"/>
                        </a:lnTo>
                        <a:lnTo>
                          <a:pt x="23320" y="1779"/>
                        </a:lnTo>
                        <a:lnTo>
                          <a:pt x="23412" y="1812"/>
                        </a:lnTo>
                        <a:lnTo>
                          <a:pt x="23400" y="1829"/>
                        </a:lnTo>
                        <a:lnTo>
                          <a:pt x="23412" y="1862"/>
                        </a:lnTo>
                        <a:lnTo>
                          <a:pt x="23400" y="1878"/>
                        </a:lnTo>
                        <a:lnTo>
                          <a:pt x="23433" y="1885"/>
                        </a:lnTo>
                        <a:lnTo>
                          <a:pt x="23412" y="1940"/>
                        </a:lnTo>
                        <a:lnTo>
                          <a:pt x="23383" y="1940"/>
                        </a:lnTo>
                        <a:lnTo>
                          <a:pt x="23395" y="1944"/>
                        </a:lnTo>
                        <a:lnTo>
                          <a:pt x="23416" y="1940"/>
                        </a:lnTo>
                        <a:lnTo>
                          <a:pt x="23433" y="1906"/>
                        </a:lnTo>
                        <a:lnTo>
                          <a:pt x="23450" y="1890"/>
                        </a:lnTo>
                        <a:lnTo>
                          <a:pt x="23438" y="1862"/>
                        </a:lnTo>
                        <a:lnTo>
                          <a:pt x="23438" y="1833"/>
                        </a:lnTo>
                        <a:lnTo>
                          <a:pt x="23504" y="1807"/>
                        </a:lnTo>
                        <a:lnTo>
                          <a:pt x="23589" y="1795"/>
                        </a:lnTo>
                        <a:lnTo>
                          <a:pt x="23617" y="1791"/>
                        </a:lnTo>
                        <a:lnTo>
                          <a:pt x="23655" y="1807"/>
                        </a:lnTo>
                        <a:lnTo>
                          <a:pt x="23816" y="1824"/>
                        </a:lnTo>
                        <a:lnTo>
                          <a:pt x="23882" y="1791"/>
                        </a:lnTo>
                        <a:lnTo>
                          <a:pt x="23920" y="1812"/>
                        </a:lnTo>
                        <a:lnTo>
                          <a:pt x="23913" y="1833"/>
                        </a:lnTo>
                        <a:lnTo>
                          <a:pt x="23920" y="1850"/>
                        </a:lnTo>
                        <a:lnTo>
                          <a:pt x="23995" y="1878"/>
                        </a:lnTo>
                        <a:lnTo>
                          <a:pt x="24005" y="1906"/>
                        </a:lnTo>
                        <a:lnTo>
                          <a:pt x="24012" y="1918"/>
                        </a:lnTo>
                        <a:lnTo>
                          <a:pt x="24064" y="1906"/>
                        </a:lnTo>
                        <a:lnTo>
                          <a:pt x="24080" y="1918"/>
                        </a:lnTo>
                        <a:lnTo>
                          <a:pt x="24064" y="1906"/>
                        </a:lnTo>
                        <a:lnTo>
                          <a:pt x="24080" y="1902"/>
                        </a:lnTo>
                        <a:lnTo>
                          <a:pt x="24087" y="1906"/>
                        </a:lnTo>
                        <a:lnTo>
                          <a:pt x="24087" y="1890"/>
                        </a:lnTo>
                        <a:lnTo>
                          <a:pt x="24113" y="1878"/>
                        </a:lnTo>
                        <a:lnTo>
                          <a:pt x="24102" y="1845"/>
                        </a:lnTo>
                        <a:lnTo>
                          <a:pt x="24080" y="1812"/>
                        </a:lnTo>
                        <a:lnTo>
                          <a:pt x="24050" y="1807"/>
                        </a:lnTo>
                        <a:lnTo>
                          <a:pt x="24059" y="1791"/>
                        </a:lnTo>
                        <a:lnTo>
                          <a:pt x="24080" y="1791"/>
                        </a:lnTo>
                        <a:lnTo>
                          <a:pt x="24080" y="1751"/>
                        </a:lnTo>
                        <a:lnTo>
                          <a:pt x="24064" y="1739"/>
                        </a:lnTo>
                        <a:lnTo>
                          <a:pt x="24076" y="1739"/>
                        </a:lnTo>
                        <a:lnTo>
                          <a:pt x="24227" y="1767"/>
                        </a:lnTo>
                        <a:lnTo>
                          <a:pt x="24260" y="1774"/>
                        </a:lnTo>
                        <a:lnTo>
                          <a:pt x="24264" y="1791"/>
                        </a:lnTo>
                        <a:lnTo>
                          <a:pt x="24281" y="1779"/>
                        </a:lnTo>
                        <a:lnTo>
                          <a:pt x="24260" y="1767"/>
                        </a:lnTo>
                        <a:lnTo>
                          <a:pt x="24281" y="1767"/>
                        </a:lnTo>
                        <a:lnTo>
                          <a:pt x="24314" y="1779"/>
                        </a:lnTo>
                        <a:lnTo>
                          <a:pt x="24465" y="1774"/>
                        </a:lnTo>
                        <a:lnTo>
                          <a:pt x="24513" y="1795"/>
                        </a:lnTo>
                        <a:lnTo>
                          <a:pt x="24654" y="1833"/>
                        </a:lnTo>
                        <a:lnTo>
                          <a:pt x="24676" y="1845"/>
                        </a:lnTo>
                        <a:lnTo>
                          <a:pt x="24654" y="1833"/>
                        </a:lnTo>
                        <a:lnTo>
                          <a:pt x="24642" y="1845"/>
                        </a:lnTo>
                        <a:lnTo>
                          <a:pt x="24692" y="1850"/>
                        </a:lnTo>
                        <a:lnTo>
                          <a:pt x="24735" y="1885"/>
                        </a:lnTo>
                        <a:lnTo>
                          <a:pt x="24706" y="1866"/>
                        </a:lnTo>
                        <a:lnTo>
                          <a:pt x="24723" y="1885"/>
                        </a:lnTo>
                        <a:lnTo>
                          <a:pt x="24735" y="1885"/>
                        </a:lnTo>
                        <a:lnTo>
                          <a:pt x="24735" y="1944"/>
                        </a:lnTo>
                        <a:lnTo>
                          <a:pt x="24735" y="2013"/>
                        </a:lnTo>
                        <a:lnTo>
                          <a:pt x="24735" y="2067"/>
                        </a:lnTo>
                        <a:lnTo>
                          <a:pt x="24735" y="2129"/>
                        </a:lnTo>
                        <a:lnTo>
                          <a:pt x="24735" y="2183"/>
                        </a:lnTo>
                        <a:lnTo>
                          <a:pt x="24735" y="2249"/>
                        </a:lnTo>
                        <a:lnTo>
                          <a:pt x="24735" y="2306"/>
                        </a:lnTo>
                        <a:lnTo>
                          <a:pt x="24735" y="2360"/>
                        </a:lnTo>
                        <a:lnTo>
                          <a:pt x="24735" y="2360"/>
                        </a:lnTo>
                        <a:lnTo>
                          <a:pt x="24735" y="2360"/>
                        </a:lnTo>
                        <a:close/>
                        <a:moveTo>
                          <a:pt x="24735" y="1557"/>
                        </a:moveTo>
                        <a:lnTo>
                          <a:pt x="24739" y="1552"/>
                        </a:lnTo>
                        <a:lnTo>
                          <a:pt x="24836" y="1552"/>
                        </a:lnTo>
                        <a:lnTo>
                          <a:pt x="24912" y="1602"/>
                        </a:lnTo>
                        <a:lnTo>
                          <a:pt x="24874" y="1623"/>
                        </a:lnTo>
                        <a:lnTo>
                          <a:pt x="24782" y="1640"/>
                        </a:lnTo>
                        <a:lnTo>
                          <a:pt x="24735" y="1630"/>
                        </a:lnTo>
                        <a:lnTo>
                          <a:pt x="24735" y="1590"/>
                        </a:lnTo>
                        <a:lnTo>
                          <a:pt x="24735" y="1557"/>
                        </a:lnTo>
                        <a:lnTo>
                          <a:pt x="24735" y="1557"/>
                        </a:lnTo>
                        <a:lnTo>
                          <a:pt x="24735" y="1557"/>
                        </a:lnTo>
                        <a:close/>
                        <a:moveTo>
                          <a:pt x="24735" y="1630"/>
                        </a:moveTo>
                        <a:lnTo>
                          <a:pt x="24654" y="1656"/>
                        </a:lnTo>
                        <a:lnTo>
                          <a:pt x="24642" y="1623"/>
                        </a:lnTo>
                        <a:lnTo>
                          <a:pt x="24659" y="1602"/>
                        </a:lnTo>
                        <a:lnTo>
                          <a:pt x="24735" y="1557"/>
                        </a:lnTo>
                        <a:lnTo>
                          <a:pt x="24735" y="1590"/>
                        </a:lnTo>
                        <a:lnTo>
                          <a:pt x="24735" y="1630"/>
                        </a:lnTo>
                        <a:lnTo>
                          <a:pt x="24735" y="1630"/>
                        </a:lnTo>
                        <a:lnTo>
                          <a:pt x="24735" y="1630"/>
                        </a:lnTo>
                        <a:close/>
                        <a:moveTo>
                          <a:pt x="24735" y="1885"/>
                        </a:moveTo>
                        <a:lnTo>
                          <a:pt x="24756" y="1902"/>
                        </a:lnTo>
                        <a:lnTo>
                          <a:pt x="24768" y="1890"/>
                        </a:lnTo>
                        <a:lnTo>
                          <a:pt x="24772" y="1906"/>
                        </a:lnTo>
                        <a:lnTo>
                          <a:pt x="24805" y="1918"/>
                        </a:lnTo>
                        <a:lnTo>
                          <a:pt x="24836" y="1940"/>
                        </a:lnTo>
                        <a:lnTo>
                          <a:pt x="24820" y="1935"/>
                        </a:lnTo>
                        <a:lnTo>
                          <a:pt x="24820" y="1940"/>
                        </a:lnTo>
                        <a:lnTo>
                          <a:pt x="24864" y="1956"/>
                        </a:lnTo>
                        <a:lnTo>
                          <a:pt x="24874" y="1973"/>
                        </a:lnTo>
                        <a:lnTo>
                          <a:pt x="24890" y="1973"/>
                        </a:lnTo>
                        <a:lnTo>
                          <a:pt x="24843" y="1940"/>
                        </a:lnTo>
                        <a:lnTo>
                          <a:pt x="24895" y="1973"/>
                        </a:lnTo>
                        <a:lnTo>
                          <a:pt x="24890" y="1977"/>
                        </a:lnTo>
                        <a:lnTo>
                          <a:pt x="24895" y="1977"/>
                        </a:lnTo>
                        <a:lnTo>
                          <a:pt x="24919" y="1977"/>
                        </a:lnTo>
                        <a:lnTo>
                          <a:pt x="24928" y="1994"/>
                        </a:lnTo>
                        <a:lnTo>
                          <a:pt x="25053" y="2046"/>
                        </a:lnTo>
                        <a:lnTo>
                          <a:pt x="25063" y="2072"/>
                        </a:lnTo>
                        <a:lnTo>
                          <a:pt x="25058" y="2088"/>
                        </a:lnTo>
                        <a:lnTo>
                          <a:pt x="25075" y="2088"/>
                        </a:lnTo>
                        <a:lnTo>
                          <a:pt x="25079" y="2084"/>
                        </a:lnTo>
                        <a:lnTo>
                          <a:pt x="25096" y="2084"/>
                        </a:lnTo>
                        <a:lnTo>
                          <a:pt x="25096" y="2100"/>
                        </a:lnTo>
                        <a:lnTo>
                          <a:pt x="25091" y="2100"/>
                        </a:lnTo>
                        <a:lnTo>
                          <a:pt x="25079" y="2121"/>
                        </a:lnTo>
                        <a:lnTo>
                          <a:pt x="25096" y="2162"/>
                        </a:lnTo>
                        <a:lnTo>
                          <a:pt x="25079" y="2166"/>
                        </a:lnTo>
                        <a:lnTo>
                          <a:pt x="25117" y="2183"/>
                        </a:lnTo>
                        <a:lnTo>
                          <a:pt x="25117" y="2216"/>
                        </a:lnTo>
                        <a:lnTo>
                          <a:pt x="25150" y="2195"/>
                        </a:lnTo>
                        <a:lnTo>
                          <a:pt x="25146" y="2223"/>
                        </a:lnTo>
                        <a:lnTo>
                          <a:pt x="25150" y="2223"/>
                        </a:lnTo>
                        <a:lnTo>
                          <a:pt x="25167" y="2199"/>
                        </a:lnTo>
                        <a:lnTo>
                          <a:pt x="25129" y="2183"/>
                        </a:lnTo>
                        <a:lnTo>
                          <a:pt x="25150" y="2166"/>
                        </a:lnTo>
                        <a:lnTo>
                          <a:pt x="25146" y="2138"/>
                        </a:lnTo>
                        <a:lnTo>
                          <a:pt x="25108" y="2121"/>
                        </a:lnTo>
                        <a:lnTo>
                          <a:pt x="25172" y="2112"/>
                        </a:lnTo>
                        <a:lnTo>
                          <a:pt x="25214" y="2121"/>
                        </a:lnTo>
                        <a:lnTo>
                          <a:pt x="25198" y="2138"/>
                        </a:lnTo>
                        <a:lnTo>
                          <a:pt x="25198" y="2157"/>
                        </a:lnTo>
                        <a:lnTo>
                          <a:pt x="25214" y="2157"/>
                        </a:lnTo>
                        <a:lnTo>
                          <a:pt x="25205" y="2138"/>
                        </a:lnTo>
                        <a:lnTo>
                          <a:pt x="25214" y="2129"/>
                        </a:lnTo>
                        <a:lnTo>
                          <a:pt x="25235" y="2145"/>
                        </a:lnTo>
                        <a:lnTo>
                          <a:pt x="25259" y="2138"/>
                        </a:lnTo>
                        <a:lnTo>
                          <a:pt x="25221" y="2121"/>
                        </a:lnTo>
                        <a:lnTo>
                          <a:pt x="25311" y="2138"/>
                        </a:lnTo>
                        <a:lnTo>
                          <a:pt x="25311" y="2157"/>
                        </a:lnTo>
                        <a:lnTo>
                          <a:pt x="25335" y="2162"/>
                        </a:lnTo>
                        <a:lnTo>
                          <a:pt x="25335" y="2178"/>
                        </a:lnTo>
                        <a:lnTo>
                          <a:pt x="25398" y="2216"/>
                        </a:lnTo>
                        <a:lnTo>
                          <a:pt x="25387" y="2223"/>
                        </a:lnTo>
                        <a:lnTo>
                          <a:pt x="25403" y="2216"/>
                        </a:lnTo>
                        <a:lnTo>
                          <a:pt x="25420" y="2223"/>
                        </a:lnTo>
                        <a:lnTo>
                          <a:pt x="25415" y="2232"/>
                        </a:lnTo>
                        <a:lnTo>
                          <a:pt x="25441" y="2232"/>
                        </a:lnTo>
                        <a:lnTo>
                          <a:pt x="25453" y="2249"/>
                        </a:lnTo>
                        <a:lnTo>
                          <a:pt x="25453" y="2256"/>
                        </a:lnTo>
                        <a:lnTo>
                          <a:pt x="25420" y="2249"/>
                        </a:lnTo>
                        <a:lnTo>
                          <a:pt x="25387" y="2273"/>
                        </a:lnTo>
                        <a:lnTo>
                          <a:pt x="25398" y="2273"/>
                        </a:lnTo>
                        <a:lnTo>
                          <a:pt x="25398" y="2289"/>
                        </a:lnTo>
                        <a:lnTo>
                          <a:pt x="25387" y="2294"/>
                        </a:lnTo>
                        <a:lnTo>
                          <a:pt x="25323" y="2273"/>
                        </a:lnTo>
                        <a:lnTo>
                          <a:pt x="25361" y="2306"/>
                        </a:lnTo>
                        <a:lnTo>
                          <a:pt x="25349" y="2310"/>
                        </a:lnTo>
                        <a:lnTo>
                          <a:pt x="25335" y="2306"/>
                        </a:lnTo>
                        <a:lnTo>
                          <a:pt x="25290" y="2310"/>
                        </a:lnTo>
                        <a:lnTo>
                          <a:pt x="25306" y="2310"/>
                        </a:lnTo>
                        <a:lnTo>
                          <a:pt x="25273" y="2306"/>
                        </a:lnTo>
                        <a:lnTo>
                          <a:pt x="25268" y="2294"/>
                        </a:lnTo>
                        <a:lnTo>
                          <a:pt x="25235" y="2289"/>
                        </a:lnTo>
                        <a:lnTo>
                          <a:pt x="25259" y="2306"/>
                        </a:lnTo>
                        <a:lnTo>
                          <a:pt x="25268" y="2322"/>
                        </a:lnTo>
                        <a:lnTo>
                          <a:pt x="25280" y="2322"/>
                        </a:lnTo>
                        <a:lnTo>
                          <a:pt x="25273" y="2343"/>
                        </a:lnTo>
                        <a:lnTo>
                          <a:pt x="25242" y="2343"/>
                        </a:lnTo>
                        <a:lnTo>
                          <a:pt x="25273" y="2343"/>
                        </a:lnTo>
                        <a:lnTo>
                          <a:pt x="25280" y="2360"/>
                        </a:lnTo>
                        <a:lnTo>
                          <a:pt x="25259" y="2384"/>
                        </a:lnTo>
                        <a:lnTo>
                          <a:pt x="25205" y="2400"/>
                        </a:lnTo>
                        <a:lnTo>
                          <a:pt x="25226" y="2388"/>
                        </a:lnTo>
                        <a:lnTo>
                          <a:pt x="25235" y="2400"/>
                        </a:lnTo>
                        <a:lnTo>
                          <a:pt x="25214" y="2405"/>
                        </a:lnTo>
                        <a:lnTo>
                          <a:pt x="25259" y="2421"/>
                        </a:lnTo>
                        <a:lnTo>
                          <a:pt x="25268" y="2433"/>
                        </a:lnTo>
                        <a:lnTo>
                          <a:pt x="25252" y="2438"/>
                        </a:lnTo>
                        <a:lnTo>
                          <a:pt x="25235" y="2421"/>
                        </a:lnTo>
                        <a:lnTo>
                          <a:pt x="25221" y="2433"/>
                        </a:lnTo>
                        <a:lnTo>
                          <a:pt x="25226" y="2438"/>
                        </a:lnTo>
                        <a:lnTo>
                          <a:pt x="25226" y="2445"/>
                        </a:lnTo>
                        <a:lnTo>
                          <a:pt x="25205" y="2455"/>
                        </a:lnTo>
                        <a:lnTo>
                          <a:pt x="25188" y="2445"/>
                        </a:lnTo>
                        <a:lnTo>
                          <a:pt x="25205" y="2433"/>
                        </a:lnTo>
                        <a:lnTo>
                          <a:pt x="25188" y="2417"/>
                        </a:lnTo>
                        <a:lnTo>
                          <a:pt x="25198" y="2433"/>
                        </a:lnTo>
                        <a:lnTo>
                          <a:pt x="25172" y="2445"/>
                        </a:lnTo>
                        <a:lnTo>
                          <a:pt x="25150" y="2438"/>
                        </a:lnTo>
                        <a:lnTo>
                          <a:pt x="25146" y="2421"/>
                        </a:lnTo>
                        <a:lnTo>
                          <a:pt x="25091" y="2400"/>
                        </a:lnTo>
                        <a:lnTo>
                          <a:pt x="25053" y="2400"/>
                        </a:lnTo>
                        <a:lnTo>
                          <a:pt x="25053" y="2388"/>
                        </a:lnTo>
                        <a:lnTo>
                          <a:pt x="25020" y="2367"/>
                        </a:lnTo>
                        <a:lnTo>
                          <a:pt x="25025" y="2351"/>
                        </a:lnTo>
                        <a:lnTo>
                          <a:pt x="25020" y="2327"/>
                        </a:lnTo>
                        <a:lnTo>
                          <a:pt x="25004" y="2310"/>
                        </a:lnTo>
                        <a:lnTo>
                          <a:pt x="24933" y="2294"/>
                        </a:lnTo>
                        <a:lnTo>
                          <a:pt x="24902" y="2310"/>
                        </a:lnTo>
                        <a:lnTo>
                          <a:pt x="24836" y="2310"/>
                        </a:lnTo>
                        <a:lnTo>
                          <a:pt x="24843" y="2289"/>
                        </a:lnTo>
                        <a:lnTo>
                          <a:pt x="24827" y="2277"/>
                        </a:lnTo>
                        <a:lnTo>
                          <a:pt x="24810" y="2256"/>
                        </a:lnTo>
                        <a:lnTo>
                          <a:pt x="24820" y="2249"/>
                        </a:lnTo>
                        <a:lnTo>
                          <a:pt x="24836" y="2232"/>
                        </a:lnTo>
                        <a:lnTo>
                          <a:pt x="24836" y="2199"/>
                        </a:lnTo>
                        <a:lnTo>
                          <a:pt x="24810" y="2232"/>
                        </a:lnTo>
                        <a:lnTo>
                          <a:pt x="24794" y="2232"/>
                        </a:lnTo>
                        <a:lnTo>
                          <a:pt x="24789" y="2199"/>
                        </a:lnTo>
                        <a:lnTo>
                          <a:pt x="24789" y="2216"/>
                        </a:lnTo>
                        <a:lnTo>
                          <a:pt x="24772" y="2211"/>
                        </a:lnTo>
                        <a:lnTo>
                          <a:pt x="24789" y="2232"/>
                        </a:lnTo>
                        <a:lnTo>
                          <a:pt x="24782" y="2232"/>
                        </a:lnTo>
                        <a:lnTo>
                          <a:pt x="24756" y="2240"/>
                        </a:lnTo>
                        <a:lnTo>
                          <a:pt x="24751" y="2232"/>
                        </a:lnTo>
                        <a:lnTo>
                          <a:pt x="24756" y="2232"/>
                        </a:lnTo>
                        <a:lnTo>
                          <a:pt x="24751" y="2232"/>
                        </a:lnTo>
                        <a:lnTo>
                          <a:pt x="24739" y="2266"/>
                        </a:lnTo>
                        <a:lnTo>
                          <a:pt x="24782" y="2294"/>
                        </a:lnTo>
                        <a:lnTo>
                          <a:pt x="24782" y="2306"/>
                        </a:lnTo>
                        <a:lnTo>
                          <a:pt x="24768" y="2322"/>
                        </a:lnTo>
                        <a:lnTo>
                          <a:pt x="24768" y="2343"/>
                        </a:lnTo>
                        <a:lnTo>
                          <a:pt x="24751" y="2351"/>
                        </a:lnTo>
                        <a:lnTo>
                          <a:pt x="24735" y="2360"/>
                        </a:lnTo>
                        <a:lnTo>
                          <a:pt x="24735" y="2306"/>
                        </a:lnTo>
                        <a:lnTo>
                          <a:pt x="24735" y="2249"/>
                        </a:lnTo>
                        <a:lnTo>
                          <a:pt x="24735" y="2183"/>
                        </a:lnTo>
                        <a:lnTo>
                          <a:pt x="24735" y="2129"/>
                        </a:lnTo>
                        <a:lnTo>
                          <a:pt x="24735" y="2067"/>
                        </a:lnTo>
                        <a:lnTo>
                          <a:pt x="24735" y="2013"/>
                        </a:lnTo>
                        <a:lnTo>
                          <a:pt x="24735" y="1944"/>
                        </a:lnTo>
                        <a:lnTo>
                          <a:pt x="24735" y="1885"/>
                        </a:lnTo>
                        <a:lnTo>
                          <a:pt x="24735" y="1885"/>
                        </a:lnTo>
                        <a:lnTo>
                          <a:pt x="24735" y="1885"/>
                        </a:lnTo>
                        <a:close/>
                        <a:moveTo>
                          <a:pt x="16188" y="22"/>
                        </a:moveTo>
                        <a:lnTo>
                          <a:pt x="16172" y="22"/>
                        </a:lnTo>
                        <a:lnTo>
                          <a:pt x="16188" y="5"/>
                        </a:lnTo>
                        <a:lnTo>
                          <a:pt x="16278" y="0"/>
                        </a:lnTo>
                        <a:lnTo>
                          <a:pt x="16264" y="17"/>
                        </a:lnTo>
                        <a:lnTo>
                          <a:pt x="16188" y="22"/>
                        </a:lnTo>
                        <a:lnTo>
                          <a:pt x="16188" y="22"/>
                        </a:lnTo>
                        <a:lnTo>
                          <a:pt x="16188" y="22"/>
                        </a:lnTo>
                        <a:close/>
                        <a:moveTo>
                          <a:pt x="16474" y="22"/>
                        </a:moveTo>
                        <a:lnTo>
                          <a:pt x="16550" y="22"/>
                        </a:lnTo>
                        <a:lnTo>
                          <a:pt x="16592" y="33"/>
                        </a:lnTo>
                        <a:lnTo>
                          <a:pt x="16566" y="43"/>
                        </a:lnTo>
                        <a:lnTo>
                          <a:pt x="16474" y="33"/>
                        </a:lnTo>
                        <a:lnTo>
                          <a:pt x="16474" y="22"/>
                        </a:lnTo>
                        <a:lnTo>
                          <a:pt x="16474" y="22"/>
                        </a:lnTo>
                        <a:lnTo>
                          <a:pt x="16474" y="22"/>
                        </a:lnTo>
                        <a:close/>
                        <a:moveTo>
                          <a:pt x="16202" y="38"/>
                        </a:moveTo>
                        <a:lnTo>
                          <a:pt x="16235" y="38"/>
                        </a:lnTo>
                        <a:lnTo>
                          <a:pt x="16198" y="43"/>
                        </a:lnTo>
                        <a:lnTo>
                          <a:pt x="16202" y="38"/>
                        </a:lnTo>
                        <a:lnTo>
                          <a:pt x="16202" y="38"/>
                        </a:lnTo>
                        <a:lnTo>
                          <a:pt x="16202" y="38"/>
                        </a:lnTo>
                        <a:close/>
                        <a:moveTo>
                          <a:pt x="16453" y="38"/>
                        </a:moveTo>
                        <a:lnTo>
                          <a:pt x="16474" y="43"/>
                        </a:lnTo>
                        <a:lnTo>
                          <a:pt x="16441" y="38"/>
                        </a:lnTo>
                        <a:lnTo>
                          <a:pt x="16453" y="38"/>
                        </a:lnTo>
                        <a:lnTo>
                          <a:pt x="16453" y="38"/>
                        </a:lnTo>
                        <a:lnTo>
                          <a:pt x="16453" y="38"/>
                        </a:lnTo>
                        <a:close/>
                        <a:moveTo>
                          <a:pt x="16188" y="76"/>
                        </a:moveTo>
                        <a:lnTo>
                          <a:pt x="16096" y="59"/>
                        </a:lnTo>
                        <a:lnTo>
                          <a:pt x="16165" y="43"/>
                        </a:lnTo>
                        <a:lnTo>
                          <a:pt x="16219" y="71"/>
                        </a:lnTo>
                        <a:lnTo>
                          <a:pt x="16188" y="76"/>
                        </a:lnTo>
                        <a:lnTo>
                          <a:pt x="16188" y="76"/>
                        </a:lnTo>
                        <a:lnTo>
                          <a:pt x="16188" y="76"/>
                        </a:lnTo>
                        <a:close/>
                        <a:moveTo>
                          <a:pt x="16209" y="88"/>
                        </a:moveTo>
                        <a:lnTo>
                          <a:pt x="16252" y="71"/>
                        </a:lnTo>
                        <a:lnTo>
                          <a:pt x="16278" y="88"/>
                        </a:lnTo>
                        <a:lnTo>
                          <a:pt x="16209" y="88"/>
                        </a:lnTo>
                        <a:lnTo>
                          <a:pt x="16209" y="88"/>
                        </a:lnTo>
                        <a:lnTo>
                          <a:pt x="16209" y="88"/>
                        </a:lnTo>
                        <a:close/>
                        <a:moveTo>
                          <a:pt x="16009" y="99"/>
                        </a:moveTo>
                        <a:lnTo>
                          <a:pt x="16021" y="92"/>
                        </a:lnTo>
                        <a:lnTo>
                          <a:pt x="16004" y="92"/>
                        </a:lnTo>
                        <a:lnTo>
                          <a:pt x="16089" y="99"/>
                        </a:lnTo>
                        <a:lnTo>
                          <a:pt x="16063" y="76"/>
                        </a:lnTo>
                        <a:lnTo>
                          <a:pt x="16172" y="92"/>
                        </a:lnTo>
                        <a:lnTo>
                          <a:pt x="16075" y="116"/>
                        </a:lnTo>
                        <a:lnTo>
                          <a:pt x="16009" y="99"/>
                        </a:lnTo>
                        <a:lnTo>
                          <a:pt x="16009" y="99"/>
                        </a:lnTo>
                        <a:lnTo>
                          <a:pt x="16009" y="99"/>
                        </a:lnTo>
                        <a:close/>
                        <a:moveTo>
                          <a:pt x="15917" y="92"/>
                        </a:moveTo>
                        <a:lnTo>
                          <a:pt x="15912" y="88"/>
                        </a:lnTo>
                        <a:lnTo>
                          <a:pt x="15933" y="92"/>
                        </a:lnTo>
                        <a:lnTo>
                          <a:pt x="15917" y="92"/>
                        </a:lnTo>
                        <a:lnTo>
                          <a:pt x="15917" y="92"/>
                        </a:lnTo>
                        <a:lnTo>
                          <a:pt x="15917" y="92"/>
                        </a:lnTo>
                        <a:close/>
                        <a:moveTo>
                          <a:pt x="16311" y="92"/>
                        </a:moveTo>
                        <a:lnTo>
                          <a:pt x="16365" y="92"/>
                        </a:lnTo>
                        <a:lnTo>
                          <a:pt x="16306" y="92"/>
                        </a:lnTo>
                        <a:lnTo>
                          <a:pt x="16311" y="92"/>
                        </a:lnTo>
                        <a:lnTo>
                          <a:pt x="16311" y="92"/>
                        </a:lnTo>
                        <a:lnTo>
                          <a:pt x="16311" y="92"/>
                        </a:lnTo>
                        <a:close/>
                        <a:moveTo>
                          <a:pt x="18654" y="265"/>
                        </a:moveTo>
                        <a:lnTo>
                          <a:pt x="18524" y="260"/>
                        </a:lnTo>
                        <a:lnTo>
                          <a:pt x="18546" y="244"/>
                        </a:lnTo>
                        <a:lnTo>
                          <a:pt x="18612" y="244"/>
                        </a:lnTo>
                        <a:lnTo>
                          <a:pt x="18557" y="236"/>
                        </a:lnTo>
                        <a:lnTo>
                          <a:pt x="18617" y="220"/>
                        </a:lnTo>
                        <a:lnTo>
                          <a:pt x="18628" y="203"/>
                        </a:lnTo>
                        <a:lnTo>
                          <a:pt x="18654" y="170"/>
                        </a:lnTo>
                        <a:lnTo>
                          <a:pt x="18600" y="182"/>
                        </a:lnTo>
                        <a:lnTo>
                          <a:pt x="18617" y="166"/>
                        </a:lnTo>
                        <a:lnTo>
                          <a:pt x="18650" y="154"/>
                        </a:lnTo>
                        <a:lnTo>
                          <a:pt x="18645" y="144"/>
                        </a:lnTo>
                        <a:lnTo>
                          <a:pt x="18817" y="99"/>
                        </a:lnTo>
                        <a:lnTo>
                          <a:pt x="18780" y="99"/>
                        </a:lnTo>
                        <a:lnTo>
                          <a:pt x="18789" y="92"/>
                        </a:lnTo>
                        <a:lnTo>
                          <a:pt x="18834" y="92"/>
                        </a:lnTo>
                        <a:lnTo>
                          <a:pt x="18898" y="149"/>
                        </a:lnTo>
                        <a:lnTo>
                          <a:pt x="18990" y="187"/>
                        </a:lnTo>
                        <a:lnTo>
                          <a:pt x="18924" y="199"/>
                        </a:lnTo>
                        <a:lnTo>
                          <a:pt x="18919" y="220"/>
                        </a:lnTo>
                        <a:lnTo>
                          <a:pt x="18924" y="227"/>
                        </a:lnTo>
                        <a:lnTo>
                          <a:pt x="18935" y="255"/>
                        </a:lnTo>
                        <a:lnTo>
                          <a:pt x="18952" y="260"/>
                        </a:lnTo>
                        <a:lnTo>
                          <a:pt x="18924" y="265"/>
                        </a:lnTo>
                        <a:lnTo>
                          <a:pt x="18763" y="281"/>
                        </a:lnTo>
                        <a:lnTo>
                          <a:pt x="18687" y="310"/>
                        </a:lnTo>
                        <a:lnTo>
                          <a:pt x="18574" y="281"/>
                        </a:lnTo>
                        <a:lnTo>
                          <a:pt x="18628" y="281"/>
                        </a:lnTo>
                        <a:lnTo>
                          <a:pt x="18579" y="260"/>
                        </a:lnTo>
                        <a:lnTo>
                          <a:pt x="18654" y="265"/>
                        </a:lnTo>
                        <a:lnTo>
                          <a:pt x="18654" y="265"/>
                        </a:lnTo>
                        <a:lnTo>
                          <a:pt x="18654" y="265"/>
                        </a:lnTo>
                        <a:close/>
                        <a:moveTo>
                          <a:pt x="16117" y="109"/>
                        </a:moveTo>
                        <a:lnTo>
                          <a:pt x="16188" y="109"/>
                        </a:lnTo>
                        <a:lnTo>
                          <a:pt x="16150" y="128"/>
                        </a:lnTo>
                        <a:lnTo>
                          <a:pt x="16113" y="116"/>
                        </a:lnTo>
                        <a:lnTo>
                          <a:pt x="16117" y="109"/>
                        </a:lnTo>
                        <a:lnTo>
                          <a:pt x="16117" y="109"/>
                        </a:lnTo>
                        <a:lnTo>
                          <a:pt x="16117" y="109"/>
                        </a:lnTo>
                        <a:close/>
                        <a:moveTo>
                          <a:pt x="18503" y="133"/>
                        </a:moveTo>
                        <a:lnTo>
                          <a:pt x="18428" y="128"/>
                        </a:lnTo>
                        <a:lnTo>
                          <a:pt x="18418" y="109"/>
                        </a:lnTo>
                        <a:lnTo>
                          <a:pt x="18503" y="99"/>
                        </a:lnTo>
                        <a:lnTo>
                          <a:pt x="18541" y="116"/>
                        </a:lnTo>
                        <a:lnTo>
                          <a:pt x="18503" y="133"/>
                        </a:lnTo>
                        <a:lnTo>
                          <a:pt x="18503" y="133"/>
                        </a:lnTo>
                        <a:lnTo>
                          <a:pt x="18503" y="133"/>
                        </a:lnTo>
                        <a:close/>
                        <a:moveTo>
                          <a:pt x="16505" y="166"/>
                        </a:moveTo>
                        <a:lnTo>
                          <a:pt x="16543" y="149"/>
                        </a:lnTo>
                        <a:lnTo>
                          <a:pt x="16613" y="144"/>
                        </a:lnTo>
                        <a:lnTo>
                          <a:pt x="16618" y="116"/>
                        </a:lnTo>
                        <a:lnTo>
                          <a:pt x="16646" y="109"/>
                        </a:lnTo>
                        <a:lnTo>
                          <a:pt x="16689" y="116"/>
                        </a:lnTo>
                        <a:lnTo>
                          <a:pt x="16706" y="144"/>
                        </a:lnTo>
                        <a:lnTo>
                          <a:pt x="16706" y="154"/>
                        </a:lnTo>
                        <a:lnTo>
                          <a:pt x="16646" y="182"/>
                        </a:lnTo>
                        <a:lnTo>
                          <a:pt x="16550" y="199"/>
                        </a:lnTo>
                        <a:lnTo>
                          <a:pt x="16495" y="170"/>
                        </a:lnTo>
                        <a:lnTo>
                          <a:pt x="16505" y="166"/>
                        </a:lnTo>
                        <a:lnTo>
                          <a:pt x="16505" y="166"/>
                        </a:lnTo>
                        <a:lnTo>
                          <a:pt x="16505" y="166"/>
                        </a:lnTo>
                        <a:close/>
                        <a:moveTo>
                          <a:pt x="15647" y="133"/>
                        </a:moveTo>
                        <a:lnTo>
                          <a:pt x="15659" y="133"/>
                        </a:lnTo>
                        <a:lnTo>
                          <a:pt x="15647" y="128"/>
                        </a:lnTo>
                        <a:lnTo>
                          <a:pt x="15659" y="116"/>
                        </a:lnTo>
                        <a:lnTo>
                          <a:pt x="15685" y="128"/>
                        </a:lnTo>
                        <a:lnTo>
                          <a:pt x="15647" y="133"/>
                        </a:lnTo>
                        <a:lnTo>
                          <a:pt x="15647" y="133"/>
                        </a:lnTo>
                        <a:lnTo>
                          <a:pt x="15647" y="133"/>
                        </a:lnTo>
                        <a:close/>
                        <a:moveTo>
                          <a:pt x="16198" y="116"/>
                        </a:moveTo>
                        <a:lnTo>
                          <a:pt x="16226" y="116"/>
                        </a:lnTo>
                        <a:lnTo>
                          <a:pt x="16198" y="116"/>
                        </a:lnTo>
                        <a:lnTo>
                          <a:pt x="16198" y="116"/>
                        </a:lnTo>
                        <a:lnTo>
                          <a:pt x="16198" y="116"/>
                        </a:lnTo>
                        <a:close/>
                        <a:moveTo>
                          <a:pt x="16328" y="144"/>
                        </a:moveTo>
                        <a:lnTo>
                          <a:pt x="16370" y="128"/>
                        </a:lnTo>
                        <a:lnTo>
                          <a:pt x="16441" y="128"/>
                        </a:lnTo>
                        <a:lnTo>
                          <a:pt x="16398" y="154"/>
                        </a:lnTo>
                        <a:lnTo>
                          <a:pt x="16328" y="144"/>
                        </a:lnTo>
                        <a:lnTo>
                          <a:pt x="16328" y="144"/>
                        </a:lnTo>
                        <a:lnTo>
                          <a:pt x="16328" y="144"/>
                        </a:lnTo>
                        <a:close/>
                        <a:moveTo>
                          <a:pt x="15933" y="144"/>
                        </a:moveTo>
                        <a:lnTo>
                          <a:pt x="15950" y="128"/>
                        </a:lnTo>
                        <a:lnTo>
                          <a:pt x="16009" y="144"/>
                        </a:lnTo>
                        <a:lnTo>
                          <a:pt x="16047" y="133"/>
                        </a:lnTo>
                        <a:lnTo>
                          <a:pt x="16165" y="182"/>
                        </a:lnTo>
                        <a:lnTo>
                          <a:pt x="16113" y="199"/>
                        </a:lnTo>
                        <a:lnTo>
                          <a:pt x="16089" y="170"/>
                        </a:lnTo>
                        <a:lnTo>
                          <a:pt x="15933" y="144"/>
                        </a:lnTo>
                        <a:lnTo>
                          <a:pt x="15933" y="144"/>
                        </a:lnTo>
                        <a:lnTo>
                          <a:pt x="15933" y="144"/>
                        </a:lnTo>
                        <a:close/>
                        <a:moveTo>
                          <a:pt x="16047" y="128"/>
                        </a:moveTo>
                        <a:lnTo>
                          <a:pt x="16150" y="133"/>
                        </a:lnTo>
                        <a:lnTo>
                          <a:pt x="16202" y="154"/>
                        </a:lnTo>
                        <a:lnTo>
                          <a:pt x="16155" y="166"/>
                        </a:lnTo>
                        <a:lnTo>
                          <a:pt x="16047" y="128"/>
                        </a:lnTo>
                        <a:lnTo>
                          <a:pt x="16047" y="128"/>
                        </a:lnTo>
                        <a:lnTo>
                          <a:pt x="16047" y="128"/>
                        </a:lnTo>
                        <a:close/>
                        <a:moveTo>
                          <a:pt x="16172" y="133"/>
                        </a:moveTo>
                        <a:lnTo>
                          <a:pt x="16188" y="128"/>
                        </a:lnTo>
                        <a:lnTo>
                          <a:pt x="16235" y="144"/>
                        </a:lnTo>
                        <a:lnTo>
                          <a:pt x="16209" y="149"/>
                        </a:lnTo>
                        <a:lnTo>
                          <a:pt x="16172" y="133"/>
                        </a:lnTo>
                        <a:lnTo>
                          <a:pt x="16172" y="133"/>
                        </a:lnTo>
                        <a:lnTo>
                          <a:pt x="16172" y="133"/>
                        </a:lnTo>
                        <a:close/>
                        <a:moveTo>
                          <a:pt x="17672" y="149"/>
                        </a:moveTo>
                        <a:lnTo>
                          <a:pt x="17752" y="154"/>
                        </a:lnTo>
                        <a:lnTo>
                          <a:pt x="17714" y="170"/>
                        </a:lnTo>
                        <a:lnTo>
                          <a:pt x="17655" y="170"/>
                        </a:lnTo>
                        <a:lnTo>
                          <a:pt x="17672" y="149"/>
                        </a:lnTo>
                        <a:lnTo>
                          <a:pt x="17672" y="149"/>
                        </a:lnTo>
                        <a:lnTo>
                          <a:pt x="17672" y="149"/>
                        </a:lnTo>
                        <a:close/>
                        <a:moveTo>
                          <a:pt x="15534" y="260"/>
                        </a:moveTo>
                        <a:lnTo>
                          <a:pt x="15555" y="277"/>
                        </a:lnTo>
                        <a:lnTo>
                          <a:pt x="15517" y="277"/>
                        </a:lnTo>
                        <a:lnTo>
                          <a:pt x="15517" y="281"/>
                        </a:lnTo>
                        <a:lnTo>
                          <a:pt x="15508" y="293"/>
                        </a:lnTo>
                        <a:lnTo>
                          <a:pt x="15454" y="298"/>
                        </a:lnTo>
                        <a:lnTo>
                          <a:pt x="15454" y="293"/>
                        </a:lnTo>
                        <a:lnTo>
                          <a:pt x="15463" y="281"/>
                        </a:lnTo>
                        <a:lnTo>
                          <a:pt x="15484" y="277"/>
                        </a:lnTo>
                        <a:lnTo>
                          <a:pt x="15447" y="265"/>
                        </a:lnTo>
                        <a:lnTo>
                          <a:pt x="15416" y="281"/>
                        </a:lnTo>
                        <a:lnTo>
                          <a:pt x="15387" y="260"/>
                        </a:lnTo>
                        <a:lnTo>
                          <a:pt x="15416" y="244"/>
                        </a:lnTo>
                        <a:lnTo>
                          <a:pt x="15496" y="255"/>
                        </a:lnTo>
                        <a:lnTo>
                          <a:pt x="15454" y="244"/>
                        </a:lnTo>
                        <a:lnTo>
                          <a:pt x="15501" y="236"/>
                        </a:lnTo>
                        <a:lnTo>
                          <a:pt x="15484" y="227"/>
                        </a:lnTo>
                        <a:lnTo>
                          <a:pt x="15442" y="236"/>
                        </a:lnTo>
                        <a:lnTo>
                          <a:pt x="15508" y="210"/>
                        </a:lnTo>
                        <a:lnTo>
                          <a:pt x="15560" y="220"/>
                        </a:lnTo>
                        <a:lnTo>
                          <a:pt x="15576" y="210"/>
                        </a:lnTo>
                        <a:lnTo>
                          <a:pt x="15572" y="203"/>
                        </a:lnTo>
                        <a:lnTo>
                          <a:pt x="15593" y="203"/>
                        </a:lnTo>
                        <a:lnTo>
                          <a:pt x="15605" y="187"/>
                        </a:lnTo>
                        <a:lnTo>
                          <a:pt x="15550" y="187"/>
                        </a:lnTo>
                        <a:lnTo>
                          <a:pt x="15631" y="154"/>
                        </a:lnTo>
                        <a:lnTo>
                          <a:pt x="15659" y="154"/>
                        </a:lnTo>
                        <a:lnTo>
                          <a:pt x="15626" y="166"/>
                        </a:lnTo>
                        <a:lnTo>
                          <a:pt x="15680" y="154"/>
                        </a:lnTo>
                        <a:lnTo>
                          <a:pt x="15697" y="166"/>
                        </a:lnTo>
                        <a:lnTo>
                          <a:pt x="15643" y="187"/>
                        </a:lnTo>
                        <a:lnTo>
                          <a:pt x="15711" y="182"/>
                        </a:lnTo>
                        <a:lnTo>
                          <a:pt x="15739" y="187"/>
                        </a:lnTo>
                        <a:lnTo>
                          <a:pt x="15685" y="220"/>
                        </a:lnTo>
                        <a:lnTo>
                          <a:pt x="15605" y="227"/>
                        </a:lnTo>
                        <a:lnTo>
                          <a:pt x="15609" y="244"/>
                        </a:lnTo>
                        <a:lnTo>
                          <a:pt x="15539" y="244"/>
                        </a:lnTo>
                        <a:lnTo>
                          <a:pt x="15522" y="260"/>
                        </a:lnTo>
                        <a:lnTo>
                          <a:pt x="15534" y="260"/>
                        </a:lnTo>
                        <a:lnTo>
                          <a:pt x="15534" y="260"/>
                        </a:lnTo>
                        <a:lnTo>
                          <a:pt x="15534" y="260"/>
                        </a:lnTo>
                        <a:close/>
                        <a:moveTo>
                          <a:pt x="16181" y="170"/>
                        </a:moveTo>
                        <a:lnTo>
                          <a:pt x="16235" y="154"/>
                        </a:lnTo>
                        <a:lnTo>
                          <a:pt x="16257" y="170"/>
                        </a:lnTo>
                        <a:lnTo>
                          <a:pt x="16219" y="187"/>
                        </a:lnTo>
                        <a:lnTo>
                          <a:pt x="16172" y="170"/>
                        </a:lnTo>
                        <a:lnTo>
                          <a:pt x="16181" y="170"/>
                        </a:lnTo>
                        <a:lnTo>
                          <a:pt x="16181" y="170"/>
                        </a:lnTo>
                        <a:lnTo>
                          <a:pt x="16181" y="170"/>
                        </a:lnTo>
                        <a:close/>
                        <a:moveTo>
                          <a:pt x="15900" y="170"/>
                        </a:moveTo>
                        <a:lnTo>
                          <a:pt x="15983" y="154"/>
                        </a:lnTo>
                        <a:lnTo>
                          <a:pt x="16042" y="170"/>
                        </a:lnTo>
                        <a:lnTo>
                          <a:pt x="15966" y="187"/>
                        </a:lnTo>
                        <a:lnTo>
                          <a:pt x="15900" y="170"/>
                        </a:lnTo>
                        <a:lnTo>
                          <a:pt x="15900" y="170"/>
                        </a:lnTo>
                        <a:lnTo>
                          <a:pt x="15900" y="170"/>
                        </a:lnTo>
                        <a:close/>
                        <a:moveTo>
                          <a:pt x="16273" y="220"/>
                        </a:moveTo>
                        <a:lnTo>
                          <a:pt x="16278" y="210"/>
                        </a:lnTo>
                        <a:lnTo>
                          <a:pt x="16264" y="203"/>
                        </a:lnTo>
                        <a:lnTo>
                          <a:pt x="16273" y="199"/>
                        </a:lnTo>
                        <a:lnTo>
                          <a:pt x="16306" y="170"/>
                        </a:lnTo>
                        <a:lnTo>
                          <a:pt x="16453" y="166"/>
                        </a:lnTo>
                        <a:lnTo>
                          <a:pt x="16479" y="182"/>
                        </a:lnTo>
                        <a:lnTo>
                          <a:pt x="16467" y="199"/>
                        </a:lnTo>
                        <a:lnTo>
                          <a:pt x="16474" y="203"/>
                        </a:lnTo>
                        <a:lnTo>
                          <a:pt x="16441" y="210"/>
                        </a:lnTo>
                        <a:lnTo>
                          <a:pt x="16398" y="244"/>
                        </a:lnTo>
                        <a:lnTo>
                          <a:pt x="16344" y="227"/>
                        </a:lnTo>
                        <a:lnTo>
                          <a:pt x="16295" y="236"/>
                        </a:lnTo>
                        <a:lnTo>
                          <a:pt x="16273" y="220"/>
                        </a:lnTo>
                        <a:lnTo>
                          <a:pt x="16273" y="220"/>
                        </a:lnTo>
                        <a:lnTo>
                          <a:pt x="16273" y="220"/>
                        </a:lnTo>
                        <a:close/>
                        <a:moveTo>
                          <a:pt x="15345" y="236"/>
                        </a:moveTo>
                        <a:lnTo>
                          <a:pt x="15340" y="210"/>
                        </a:lnTo>
                        <a:lnTo>
                          <a:pt x="15307" y="220"/>
                        </a:lnTo>
                        <a:lnTo>
                          <a:pt x="15265" y="203"/>
                        </a:lnTo>
                        <a:lnTo>
                          <a:pt x="15409" y="182"/>
                        </a:lnTo>
                        <a:lnTo>
                          <a:pt x="15447" y="166"/>
                        </a:lnTo>
                        <a:lnTo>
                          <a:pt x="15517" y="182"/>
                        </a:lnTo>
                        <a:lnTo>
                          <a:pt x="15522" y="182"/>
                        </a:lnTo>
                        <a:lnTo>
                          <a:pt x="15508" y="187"/>
                        </a:lnTo>
                        <a:lnTo>
                          <a:pt x="15534" y="203"/>
                        </a:lnTo>
                        <a:lnTo>
                          <a:pt x="15484" y="199"/>
                        </a:lnTo>
                        <a:lnTo>
                          <a:pt x="15463" y="182"/>
                        </a:lnTo>
                        <a:lnTo>
                          <a:pt x="15432" y="199"/>
                        </a:lnTo>
                        <a:lnTo>
                          <a:pt x="15442" y="210"/>
                        </a:lnTo>
                        <a:lnTo>
                          <a:pt x="15425" y="203"/>
                        </a:lnTo>
                        <a:lnTo>
                          <a:pt x="15345" y="236"/>
                        </a:lnTo>
                        <a:lnTo>
                          <a:pt x="15345" y="236"/>
                        </a:lnTo>
                        <a:lnTo>
                          <a:pt x="15345" y="236"/>
                        </a:lnTo>
                        <a:close/>
                        <a:moveTo>
                          <a:pt x="16009" y="187"/>
                        </a:moveTo>
                        <a:lnTo>
                          <a:pt x="16080" y="182"/>
                        </a:lnTo>
                        <a:lnTo>
                          <a:pt x="16113" y="199"/>
                        </a:lnTo>
                        <a:lnTo>
                          <a:pt x="16037" y="203"/>
                        </a:lnTo>
                        <a:lnTo>
                          <a:pt x="16004" y="187"/>
                        </a:lnTo>
                        <a:lnTo>
                          <a:pt x="16009" y="187"/>
                        </a:lnTo>
                        <a:lnTo>
                          <a:pt x="16009" y="187"/>
                        </a:lnTo>
                        <a:lnTo>
                          <a:pt x="16009" y="187"/>
                        </a:lnTo>
                        <a:close/>
                        <a:moveTo>
                          <a:pt x="15848" y="220"/>
                        </a:moveTo>
                        <a:lnTo>
                          <a:pt x="15858" y="210"/>
                        </a:lnTo>
                        <a:lnTo>
                          <a:pt x="15841" y="203"/>
                        </a:lnTo>
                        <a:lnTo>
                          <a:pt x="15858" y="203"/>
                        </a:lnTo>
                        <a:lnTo>
                          <a:pt x="15874" y="220"/>
                        </a:lnTo>
                        <a:lnTo>
                          <a:pt x="15848" y="220"/>
                        </a:lnTo>
                        <a:lnTo>
                          <a:pt x="15848" y="220"/>
                        </a:lnTo>
                        <a:lnTo>
                          <a:pt x="15848" y="220"/>
                        </a:lnTo>
                        <a:close/>
                        <a:moveTo>
                          <a:pt x="16134" y="203"/>
                        </a:moveTo>
                        <a:lnTo>
                          <a:pt x="16188" y="203"/>
                        </a:lnTo>
                        <a:lnTo>
                          <a:pt x="16165" y="220"/>
                        </a:lnTo>
                        <a:lnTo>
                          <a:pt x="16127" y="210"/>
                        </a:lnTo>
                        <a:lnTo>
                          <a:pt x="16134" y="203"/>
                        </a:lnTo>
                        <a:lnTo>
                          <a:pt x="16134" y="203"/>
                        </a:lnTo>
                        <a:lnTo>
                          <a:pt x="16134" y="203"/>
                        </a:lnTo>
                        <a:close/>
                        <a:moveTo>
                          <a:pt x="15886" y="227"/>
                        </a:moveTo>
                        <a:lnTo>
                          <a:pt x="15900" y="220"/>
                        </a:lnTo>
                        <a:lnTo>
                          <a:pt x="15895" y="210"/>
                        </a:lnTo>
                        <a:lnTo>
                          <a:pt x="15900" y="203"/>
                        </a:lnTo>
                        <a:lnTo>
                          <a:pt x="15928" y="210"/>
                        </a:lnTo>
                        <a:lnTo>
                          <a:pt x="15912" y="220"/>
                        </a:lnTo>
                        <a:lnTo>
                          <a:pt x="15933" y="227"/>
                        </a:lnTo>
                        <a:lnTo>
                          <a:pt x="15917" y="236"/>
                        </a:lnTo>
                        <a:lnTo>
                          <a:pt x="15886" y="227"/>
                        </a:lnTo>
                        <a:lnTo>
                          <a:pt x="15886" y="227"/>
                        </a:lnTo>
                        <a:lnTo>
                          <a:pt x="15886" y="227"/>
                        </a:lnTo>
                        <a:close/>
                        <a:moveTo>
                          <a:pt x="15950" y="220"/>
                        </a:moveTo>
                        <a:lnTo>
                          <a:pt x="15971" y="210"/>
                        </a:lnTo>
                        <a:lnTo>
                          <a:pt x="15983" y="227"/>
                        </a:lnTo>
                        <a:lnTo>
                          <a:pt x="15950" y="220"/>
                        </a:lnTo>
                        <a:lnTo>
                          <a:pt x="15950" y="220"/>
                        </a:lnTo>
                        <a:lnTo>
                          <a:pt x="15950" y="220"/>
                        </a:lnTo>
                        <a:close/>
                        <a:moveTo>
                          <a:pt x="16155" y="293"/>
                        </a:moveTo>
                        <a:lnTo>
                          <a:pt x="16134" y="281"/>
                        </a:lnTo>
                        <a:lnTo>
                          <a:pt x="16134" y="244"/>
                        </a:lnTo>
                        <a:lnTo>
                          <a:pt x="16113" y="227"/>
                        </a:lnTo>
                        <a:lnTo>
                          <a:pt x="16209" y="227"/>
                        </a:lnTo>
                        <a:lnTo>
                          <a:pt x="16273" y="255"/>
                        </a:lnTo>
                        <a:lnTo>
                          <a:pt x="16209" y="260"/>
                        </a:lnTo>
                        <a:lnTo>
                          <a:pt x="16188" y="265"/>
                        </a:lnTo>
                        <a:lnTo>
                          <a:pt x="16219" y="265"/>
                        </a:lnTo>
                        <a:lnTo>
                          <a:pt x="16209" y="281"/>
                        </a:lnTo>
                        <a:lnTo>
                          <a:pt x="16181" y="277"/>
                        </a:lnTo>
                        <a:lnTo>
                          <a:pt x="16172" y="281"/>
                        </a:lnTo>
                        <a:lnTo>
                          <a:pt x="16181" y="293"/>
                        </a:lnTo>
                        <a:lnTo>
                          <a:pt x="16155" y="293"/>
                        </a:lnTo>
                        <a:lnTo>
                          <a:pt x="16155" y="293"/>
                        </a:lnTo>
                        <a:lnTo>
                          <a:pt x="16155" y="293"/>
                        </a:lnTo>
                        <a:close/>
                        <a:moveTo>
                          <a:pt x="15933" y="236"/>
                        </a:moveTo>
                        <a:lnTo>
                          <a:pt x="15950" y="227"/>
                        </a:lnTo>
                        <a:lnTo>
                          <a:pt x="15966" y="236"/>
                        </a:lnTo>
                        <a:lnTo>
                          <a:pt x="15928" y="244"/>
                        </a:lnTo>
                        <a:lnTo>
                          <a:pt x="15933" y="236"/>
                        </a:lnTo>
                        <a:lnTo>
                          <a:pt x="15933" y="236"/>
                        </a:lnTo>
                        <a:lnTo>
                          <a:pt x="15933" y="236"/>
                        </a:lnTo>
                        <a:close/>
                        <a:moveTo>
                          <a:pt x="15983" y="236"/>
                        </a:moveTo>
                        <a:lnTo>
                          <a:pt x="15992" y="236"/>
                        </a:lnTo>
                        <a:lnTo>
                          <a:pt x="15971" y="236"/>
                        </a:lnTo>
                        <a:lnTo>
                          <a:pt x="15983" y="236"/>
                        </a:lnTo>
                        <a:lnTo>
                          <a:pt x="15983" y="236"/>
                        </a:lnTo>
                        <a:lnTo>
                          <a:pt x="15983" y="236"/>
                        </a:lnTo>
                        <a:close/>
                        <a:moveTo>
                          <a:pt x="15787" y="277"/>
                        </a:moveTo>
                        <a:lnTo>
                          <a:pt x="15772" y="265"/>
                        </a:lnTo>
                        <a:lnTo>
                          <a:pt x="15824" y="244"/>
                        </a:lnTo>
                        <a:lnTo>
                          <a:pt x="15858" y="244"/>
                        </a:lnTo>
                        <a:lnTo>
                          <a:pt x="15895" y="265"/>
                        </a:lnTo>
                        <a:lnTo>
                          <a:pt x="15862" y="281"/>
                        </a:lnTo>
                        <a:lnTo>
                          <a:pt x="15787" y="277"/>
                        </a:lnTo>
                        <a:lnTo>
                          <a:pt x="15787" y="277"/>
                        </a:lnTo>
                        <a:lnTo>
                          <a:pt x="15787" y="277"/>
                        </a:lnTo>
                        <a:close/>
                        <a:moveTo>
                          <a:pt x="16025" y="293"/>
                        </a:moveTo>
                        <a:lnTo>
                          <a:pt x="16042" y="277"/>
                        </a:lnTo>
                        <a:lnTo>
                          <a:pt x="16042" y="265"/>
                        </a:lnTo>
                        <a:lnTo>
                          <a:pt x="16042" y="255"/>
                        </a:lnTo>
                        <a:lnTo>
                          <a:pt x="16117" y="260"/>
                        </a:lnTo>
                        <a:lnTo>
                          <a:pt x="16117" y="293"/>
                        </a:lnTo>
                        <a:lnTo>
                          <a:pt x="16113" y="298"/>
                        </a:lnTo>
                        <a:lnTo>
                          <a:pt x="16021" y="293"/>
                        </a:lnTo>
                        <a:lnTo>
                          <a:pt x="16025" y="293"/>
                        </a:lnTo>
                        <a:lnTo>
                          <a:pt x="16025" y="293"/>
                        </a:lnTo>
                        <a:lnTo>
                          <a:pt x="16025" y="293"/>
                        </a:lnTo>
                        <a:close/>
                        <a:moveTo>
                          <a:pt x="15966" y="265"/>
                        </a:moveTo>
                        <a:lnTo>
                          <a:pt x="15992" y="255"/>
                        </a:lnTo>
                        <a:lnTo>
                          <a:pt x="16009" y="260"/>
                        </a:lnTo>
                        <a:lnTo>
                          <a:pt x="15983" y="277"/>
                        </a:lnTo>
                        <a:lnTo>
                          <a:pt x="15966" y="265"/>
                        </a:lnTo>
                        <a:lnTo>
                          <a:pt x="15966" y="265"/>
                        </a:lnTo>
                        <a:lnTo>
                          <a:pt x="15966" y="265"/>
                        </a:lnTo>
                        <a:close/>
                        <a:moveTo>
                          <a:pt x="15917" y="277"/>
                        </a:moveTo>
                        <a:lnTo>
                          <a:pt x="15912" y="260"/>
                        </a:lnTo>
                        <a:lnTo>
                          <a:pt x="15917" y="255"/>
                        </a:lnTo>
                        <a:lnTo>
                          <a:pt x="15933" y="260"/>
                        </a:lnTo>
                        <a:lnTo>
                          <a:pt x="15917" y="277"/>
                        </a:lnTo>
                        <a:lnTo>
                          <a:pt x="15917" y="277"/>
                        </a:lnTo>
                        <a:lnTo>
                          <a:pt x="15917" y="277"/>
                        </a:lnTo>
                        <a:close/>
                        <a:moveTo>
                          <a:pt x="15609" y="298"/>
                        </a:moveTo>
                        <a:lnTo>
                          <a:pt x="15588" y="281"/>
                        </a:lnTo>
                        <a:lnTo>
                          <a:pt x="15614" y="265"/>
                        </a:lnTo>
                        <a:lnTo>
                          <a:pt x="15647" y="281"/>
                        </a:lnTo>
                        <a:lnTo>
                          <a:pt x="15609" y="298"/>
                        </a:lnTo>
                        <a:lnTo>
                          <a:pt x="15609" y="298"/>
                        </a:lnTo>
                        <a:lnTo>
                          <a:pt x="15609" y="298"/>
                        </a:lnTo>
                        <a:close/>
                        <a:moveTo>
                          <a:pt x="19098" y="425"/>
                        </a:moveTo>
                        <a:lnTo>
                          <a:pt x="19061" y="425"/>
                        </a:lnTo>
                        <a:lnTo>
                          <a:pt x="19120" y="459"/>
                        </a:lnTo>
                        <a:lnTo>
                          <a:pt x="19129" y="482"/>
                        </a:lnTo>
                        <a:lnTo>
                          <a:pt x="19087" y="499"/>
                        </a:lnTo>
                        <a:lnTo>
                          <a:pt x="19011" y="503"/>
                        </a:lnTo>
                        <a:lnTo>
                          <a:pt x="18935" y="499"/>
                        </a:lnTo>
                        <a:lnTo>
                          <a:pt x="18898" y="475"/>
                        </a:lnTo>
                        <a:lnTo>
                          <a:pt x="18827" y="475"/>
                        </a:lnTo>
                        <a:lnTo>
                          <a:pt x="18817" y="449"/>
                        </a:lnTo>
                        <a:lnTo>
                          <a:pt x="18780" y="466"/>
                        </a:lnTo>
                        <a:lnTo>
                          <a:pt x="18735" y="433"/>
                        </a:lnTo>
                        <a:lnTo>
                          <a:pt x="18735" y="392"/>
                        </a:lnTo>
                        <a:lnTo>
                          <a:pt x="18687" y="392"/>
                        </a:lnTo>
                        <a:lnTo>
                          <a:pt x="18704" y="392"/>
                        </a:lnTo>
                        <a:lnTo>
                          <a:pt x="18687" y="388"/>
                        </a:lnTo>
                        <a:lnTo>
                          <a:pt x="18697" y="371"/>
                        </a:lnTo>
                        <a:lnTo>
                          <a:pt x="18650" y="404"/>
                        </a:lnTo>
                        <a:lnTo>
                          <a:pt x="18650" y="392"/>
                        </a:lnTo>
                        <a:lnTo>
                          <a:pt x="18654" y="388"/>
                        </a:lnTo>
                        <a:lnTo>
                          <a:pt x="18628" y="376"/>
                        </a:lnTo>
                        <a:lnTo>
                          <a:pt x="18654" y="388"/>
                        </a:lnTo>
                        <a:lnTo>
                          <a:pt x="18709" y="347"/>
                        </a:lnTo>
                        <a:lnTo>
                          <a:pt x="18751" y="338"/>
                        </a:lnTo>
                        <a:lnTo>
                          <a:pt x="18725" y="322"/>
                        </a:lnTo>
                        <a:lnTo>
                          <a:pt x="18772" y="293"/>
                        </a:lnTo>
                        <a:lnTo>
                          <a:pt x="18796" y="310"/>
                        </a:lnTo>
                        <a:lnTo>
                          <a:pt x="18817" y="293"/>
                        </a:lnTo>
                        <a:lnTo>
                          <a:pt x="18957" y="281"/>
                        </a:lnTo>
                        <a:lnTo>
                          <a:pt x="18990" y="298"/>
                        </a:lnTo>
                        <a:lnTo>
                          <a:pt x="18957" y="347"/>
                        </a:lnTo>
                        <a:lnTo>
                          <a:pt x="18935" y="355"/>
                        </a:lnTo>
                        <a:lnTo>
                          <a:pt x="18969" y="347"/>
                        </a:lnTo>
                        <a:lnTo>
                          <a:pt x="18978" y="322"/>
                        </a:lnTo>
                        <a:lnTo>
                          <a:pt x="19011" y="331"/>
                        </a:lnTo>
                        <a:lnTo>
                          <a:pt x="19028" y="314"/>
                        </a:lnTo>
                        <a:lnTo>
                          <a:pt x="19023" y="310"/>
                        </a:lnTo>
                        <a:lnTo>
                          <a:pt x="19028" y="298"/>
                        </a:lnTo>
                        <a:lnTo>
                          <a:pt x="19075" y="298"/>
                        </a:lnTo>
                        <a:lnTo>
                          <a:pt x="19136" y="347"/>
                        </a:lnTo>
                        <a:lnTo>
                          <a:pt x="19113" y="371"/>
                        </a:lnTo>
                        <a:lnTo>
                          <a:pt x="19103" y="392"/>
                        </a:lnTo>
                        <a:lnTo>
                          <a:pt x="19113" y="409"/>
                        </a:lnTo>
                        <a:lnTo>
                          <a:pt x="19098" y="425"/>
                        </a:lnTo>
                        <a:lnTo>
                          <a:pt x="19098" y="425"/>
                        </a:lnTo>
                        <a:lnTo>
                          <a:pt x="19098" y="425"/>
                        </a:lnTo>
                        <a:close/>
                        <a:moveTo>
                          <a:pt x="16240" y="310"/>
                        </a:moveTo>
                        <a:lnTo>
                          <a:pt x="16278" y="293"/>
                        </a:lnTo>
                        <a:lnTo>
                          <a:pt x="16311" y="293"/>
                        </a:lnTo>
                        <a:lnTo>
                          <a:pt x="16311" y="310"/>
                        </a:lnTo>
                        <a:lnTo>
                          <a:pt x="16278" y="322"/>
                        </a:lnTo>
                        <a:lnTo>
                          <a:pt x="16240" y="310"/>
                        </a:lnTo>
                        <a:lnTo>
                          <a:pt x="16240" y="310"/>
                        </a:lnTo>
                        <a:lnTo>
                          <a:pt x="16240" y="310"/>
                        </a:lnTo>
                        <a:close/>
                        <a:moveTo>
                          <a:pt x="15626" y="314"/>
                        </a:moveTo>
                        <a:lnTo>
                          <a:pt x="15659" y="314"/>
                        </a:lnTo>
                        <a:lnTo>
                          <a:pt x="15697" y="293"/>
                        </a:lnTo>
                        <a:lnTo>
                          <a:pt x="15723" y="322"/>
                        </a:lnTo>
                        <a:lnTo>
                          <a:pt x="15626" y="314"/>
                        </a:lnTo>
                        <a:lnTo>
                          <a:pt x="15626" y="314"/>
                        </a:lnTo>
                        <a:lnTo>
                          <a:pt x="15626" y="314"/>
                        </a:lnTo>
                        <a:close/>
                        <a:moveTo>
                          <a:pt x="18503" y="298"/>
                        </a:moveTo>
                        <a:lnTo>
                          <a:pt x="18487" y="298"/>
                        </a:lnTo>
                        <a:lnTo>
                          <a:pt x="18633" y="310"/>
                        </a:lnTo>
                        <a:lnTo>
                          <a:pt x="18697" y="322"/>
                        </a:lnTo>
                        <a:lnTo>
                          <a:pt x="18645" y="355"/>
                        </a:lnTo>
                        <a:lnTo>
                          <a:pt x="18562" y="364"/>
                        </a:lnTo>
                        <a:lnTo>
                          <a:pt x="18595" y="355"/>
                        </a:lnTo>
                        <a:lnTo>
                          <a:pt x="18574" y="338"/>
                        </a:lnTo>
                        <a:lnTo>
                          <a:pt x="18503" y="331"/>
                        </a:lnTo>
                        <a:lnTo>
                          <a:pt x="18508" y="322"/>
                        </a:lnTo>
                        <a:lnTo>
                          <a:pt x="18503" y="298"/>
                        </a:lnTo>
                        <a:lnTo>
                          <a:pt x="18503" y="298"/>
                        </a:lnTo>
                        <a:lnTo>
                          <a:pt x="18503" y="298"/>
                        </a:lnTo>
                        <a:close/>
                        <a:moveTo>
                          <a:pt x="18704" y="310"/>
                        </a:moveTo>
                        <a:lnTo>
                          <a:pt x="18735" y="310"/>
                        </a:lnTo>
                        <a:lnTo>
                          <a:pt x="18704" y="314"/>
                        </a:lnTo>
                        <a:lnTo>
                          <a:pt x="18704" y="310"/>
                        </a:lnTo>
                        <a:lnTo>
                          <a:pt x="18704" y="310"/>
                        </a:lnTo>
                        <a:lnTo>
                          <a:pt x="18704" y="310"/>
                        </a:lnTo>
                        <a:close/>
                        <a:moveTo>
                          <a:pt x="16209" y="314"/>
                        </a:moveTo>
                        <a:lnTo>
                          <a:pt x="16226" y="314"/>
                        </a:lnTo>
                        <a:lnTo>
                          <a:pt x="16252" y="322"/>
                        </a:lnTo>
                        <a:lnTo>
                          <a:pt x="16202" y="322"/>
                        </a:lnTo>
                        <a:lnTo>
                          <a:pt x="16209" y="314"/>
                        </a:lnTo>
                        <a:lnTo>
                          <a:pt x="16209" y="314"/>
                        </a:lnTo>
                        <a:lnTo>
                          <a:pt x="16209" y="314"/>
                        </a:lnTo>
                        <a:close/>
                        <a:moveTo>
                          <a:pt x="18541" y="364"/>
                        </a:moveTo>
                        <a:lnTo>
                          <a:pt x="18503" y="355"/>
                        </a:lnTo>
                        <a:lnTo>
                          <a:pt x="18557" y="364"/>
                        </a:lnTo>
                        <a:lnTo>
                          <a:pt x="18541" y="364"/>
                        </a:lnTo>
                        <a:lnTo>
                          <a:pt x="18541" y="364"/>
                        </a:lnTo>
                        <a:lnTo>
                          <a:pt x="18541" y="364"/>
                        </a:lnTo>
                        <a:close/>
                        <a:moveTo>
                          <a:pt x="19129" y="376"/>
                        </a:moveTo>
                        <a:lnTo>
                          <a:pt x="19129" y="364"/>
                        </a:lnTo>
                        <a:lnTo>
                          <a:pt x="19150" y="364"/>
                        </a:lnTo>
                        <a:lnTo>
                          <a:pt x="19129" y="376"/>
                        </a:lnTo>
                        <a:lnTo>
                          <a:pt x="19129" y="376"/>
                        </a:lnTo>
                        <a:lnTo>
                          <a:pt x="19129" y="376"/>
                        </a:lnTo>
                        <a:close/>
                        <a:moveTo>
                          <a:pt x="17495" y="388"/>
                        </a:moveTo>
                        <a:lnTo>
                          <a:pt x="17445" y="371"/>
                        </a:lnTo>
                        <a:lnTo>
                          <a:pt x="17563" y="388"/>
                        </a:lnTo>
                        <a:lnTo>
                          <a:pt x="17499" y="392"/>
                        </a:lnTo>
                        <a:lnTo>
                          <a:pt x="17495" y="388"/>
                        </a:lnTo>
                        <a:lnTo>
                          <a:pt x="17495" y="388"/>
                        </a:lnTo>
                        <a:lnTo>
                          <a:pt x="17495" y="388"/>
                        </a:lnTo>
                        <a:close/>
                        <a:moveTo>
                          <a:pt x="18494" y="388"/>
                        </a:moveTo>
                        <a:lnTo>
                          <a:pt x="18536" y="392"/>
                        </a:lnTo>
                        <a:lnTo>
                          <a:pt x="18482" y="376"/>
                        </a:lnTo>
                        <a:lnTo>
                          <a:pt x="18494" y="388"/>
                        </a:lnTo>
                        <a:lnTo>
                          <a:pt x="18494" y="388"/>
                        </a:lnTo>
                        <a:lnTo>
                          <a:pt x="18494" y="388"/>
                        </a:lnTo>
                        <a:close/>
                        <a:moveTo>
                          <a:pt x="19129" y="392"/>
                        </a:moveTo>
                        <a:lnTo>
                          <a:pt x="19129" y="404"/>
                        </a:lnTo>
                        <a:lnTo>
                          <a:pt x="19120" y="404"/>
                        </a:lnTo>
                        <a:lnTo>
                          <a:pt x="19129" y="392"/>
                        </a:lnTo>
                        <a:lnTo>
                          <a:pt x="19129" y="392"/>
                        </a:lnTo>
                        <a:lnTo>
                          <a:pt x="19129" y="392"/>
                        </a:lnTo>
                        <a:close/>
                        <a:moveTo>
                          <a:pt x="19136" y="553"/>
                        </a:moveTo>
                        <a:lnTo>
                          <a:pt x="19157" y="503"/>
                        </a:lnTo>
                        <a:lnTo>
                          <a:pt x="19212" y="515"/>
                        </a:lnTo>
                        <a:lnTo>
                          <a:pt x="19183" y="487"/>
                        </a:lnTo>
                        <a:lnTo>
                          <a:pt x="19195" y="466"/>
                        </a:lnTo>
                        <a:lnTo>
                          <a:pt x="19243" y="475"/>
                        </a:lnTo>
                        <a:lnTo>
                          <a:pt x="19195" y="459"/>
                        </a:lnTo>
                        <a:lnTo>
                          <a:pt x="19212" y="433"/>
                        </a:lnTo>
                        <a:lnTo>
                          <a:pt x="19250" y="409"/>
                        </a:lnTo>
                        <a:lnTo>
                          <a:pt x="19264" y="425"/>
                        </a:lnTo>
                        <a:lnTo>
                          <a:pt x="19280" y="433"/>
                        </a:lnTo>
                        <a:lnTo>
                          <a:pt x="19280" y="409"/>
                        </a:lnTo>
                        <a:lnTo>
                          <a:pt x="19297" y="404"/>
                        </a:lnTo>
                        <a:lnTo>
                          <a:pt x="19351" y="421"/>
                        </a:lnTo>
                        <a:lnTo>
                          <a:pt x="19330" y="433"/>
                        </a:lnTo>
                        <a:lnTo>
                          <a:pt x="19297" y="499"/>
                        </a:lnTo>
                        <a:lnTo>
                          <a:pt x="19335" y="466"/>
                        </a:lnTo>
                        <a:lnTo>
                          <a:pt x="19406" y="449"/>
                        </a:lnTo>
                        <a:lnTo>
                          <a:pt x="19410" y="475"/>
                        </a:lnTo>
                        <a:lnTo>
                          <a:pt x="19439" y="475"/>
                        </a:lnTo>
                        <a:lnTo>
                          <a:pt x="19453" y="499"/>
                        </a:lnTo>
                        <a:lnTo>
                          <a:pt x="19453" y="503"/>
                        </a:lnTo>
                        <a:lnTo>
                          <a:pt x="19460" y="499"/>
                        </a:lnTo>
                        <a:lnTo>
                          <a:pt x="19491" y="499"/>
                        </a:lnTo>
                        <a:lnTo>
                          <a:pt x="19507" y="536"/>
                        </a:lnTo>
                        <a:lnTo>
                          <a:pt x="19460" y="577"/>
                        </a:lnTo>
                        <a:lnTo>
                          <a:pt x="19335" y="593"/>
                        </a:lnTo>
                        <a:lnTo>
                          <a:pt x="19318" y="598"/>
                        </a:lnTo>
                        <a:lnTo>
                          <a:pt x="19302" y="593"/>
                        </a:lnTo>
                        <a:lnTo>
                          <a:pt x="19221" y="598"/>
                        </a:lnTo>
                        <a:lnTo>
                          <a:pt x="19129" y="631"/>
                        </a:lnTo>
                        <a:lnTo>
                          <a:pt x="19087" y="643"/>
                        </a:lnTo>
                        <a:lnTo>
                          <a:pt x="19082" y="626"/>
                        </a:lnTo>
                        <a:lnTo>
                          <a:pt x="19136" y="553"/>
                        </a:lnTo>
                        <a:lnTo>
                          <a:pt x="19136" y="553"/>
                        </a:lnTo>
                        <a:lnTo>
                          <a:pt x="19136" y="553"/>
                        </a:lnTo>
                        <a:close/>
                        <a:moveTo>
                          <a:pt x="19561" y="598"/>
                        </a:moveTo>
                        <a:lnTo>
                          <a:pt x="19552" y="593"/>
                        </a:lnTo>
                        <a:lnTo>
                          <a:pt x="19583" y="577"/>
                        </a:lnTo>
                        <a:lnTo>
                          <a:pt x="19604" y="586"/>
                        </a:lnTo>
                        <a:lnTo>
                          <a:pt x="19561" y="598"/>
                        </a:lnTo>
                        <a:lnTo>
                          <a:pt x="19561" y="598"/>
                        </a:lnTo>
                        <a:lnTo>
                          <a:pt x="19561" y="598"/>
                        </a:lnTo>
                        <a:close/>
                        <a:moveTo>
                          <a:pt x="19654" y="626"/>
                        </a:moveTo>
                        <a:lnTo>
                          <a:pt x="19583" y="598"/>
                        </a:lnTo>
                        <a:lnTo>
                          <a:pt x="19670" y="610"/>
                        </a:lnTo>
                        <a:lnTo>
                          <a:pt x="19654" y="626"/>
                        </a:lnTo>
                        <a:lnTo>
                          <a:pt x="19654" y="626"/>
                        </a:lnTo>
                        <a:lnTo>
                          <a:pt x="19654" y="626"/>
                        </a:lnTo>
                        <a:close/>
                        <a:moveTo>
                          <a:pt x="18562" y="688"/>
                        </a:moveTo>
                        <a:lnTo>
                          <a:pt x="18546" y="681"/>
                        </a:lnTo>
                        <a:lnTo>
                          <a:pt x="18574" y="688"/>
                        </a:lnTo>
                        <a:lnTo>
                          <a:pt x="18562" y="688"/>
                        </a:lnTo>
                        <a:lnTo>
                          <a:pt x="18562" y="688"/>
                        </a:lnTo>
                        <a:lnTo>
                          <a:pt x="18562" y="688"/>
                        </a:lnTo>
                        <a:close/>
                        <a:moveTo>
                          <a:pt x="19642" y="754"/>
                        </a:moveTo>
                        <a:lnTo>
                          <a:pt x="19637" y="742"/>
                        </a:lnTo>
                        <a:lnTo>
                          <a:pt x="19654" y="725"/>
                        </a:lnTo>
                        <a:lnTo>
                          <a:pt x="19670" y="737"/>
                        </a:lnTo>
                        <a:lnTo>
                          <a:pt x="19670" y="742"/>
                        </a:lnTo>
                        <a:lnTo>
                          <a:pt x="19642" y="754"/>
                        </a:lnTo>
                        <a:lnTo>
                          <a:pt x="19642" y="754"/>
                        </a:lnTo>
                        <a:lnTo>
                          <a:pt x="19642" y="754"/>
                        </a:lnTo>
                        <a:close/>
                        <a:moveTo>
                          <a:pt x="18373" y="758"/>
                        </a:moveTo>
                        <a:lnTo>
                          <a:pt x="18364" y="742"/>
                        </a:lnTo>
                        <a:lnTo>
                          <a:pt x="18373" y="737"/>
                        </a:lnTo>
                        <a:lnTo>
                          <a:pt x="18402" y="742"/>
                        </a:lnTo>
                        <a:lnTo>
                          <a:pt x="18373" y="758"/>
                        </a:lnTo>
                        <a:lnTo>
                          <a:pt x="18373" y="758"/>
                        </a:lnTo>
                        <a:lnTo>
                          <a:pt x="18373" y="758"/>
                        </a:lnTo>
                        <a:close/>
                        <a:moveTo>
                          <a:pt x="19535" y="742"/>
                        </a:moveTo>
                        <a:lnTo>
                          <a:pt x="19552" y="737"/>
                        </a:lnTo>
                        <a:lnTo>
                          <a:pt x="19535" y="742"/>
                        </a:lnTo>
                        <a:lnTo>
                          <a:pt x="19535" y="742"/>
                        </a:lnTo>
                        <a:lnTo>
                          <a:pt x="19535" y="742"/>
                        </a:lnTo>
                        <a:close/>
                        <a:moveTo>
                          <a:pt x="18881" y="754"/>
                        </a:moveTo>
                        <a:lnTo>
                          <a:pt x="18886" y="758"/>
                        </a:lnTo>
                        <a:lnTo>
                          <a:pt x="18860" y="780"/>
                        </a:lnTo>
                        <a:lnTo>
                          <a:pt x="18796" y="780"/>
                        </a:lnTo>
                        <a:lnTo>
                          <a:pt x="18881" y="754"/>
                        </a:lnTo>
                        <a:lnTo>
                          <a:pt x="18881" y="754"/>
                        </a:lnTo>
                        <a:lnTo>
                          <a:pt x="18881" y="754"/>
                        </a:lnTo>
                        <a:close/>
                        <a:moveTo>
                          <a:pt x="18357" y="758"/>
                        </a:moveTo>
                        <a:lnTo>
                          <a:pt x="18331" y="763"/>
                        </a:lnTo>
                        <a:lnTo>
                          <a:pt x="18347" y="763"/>
                        </a:lnTo>
                        <a:lnTo>
                          <a:pt x="18343" y="780"/>
                        </a:lnTo>
                        <a:lnTo>
                          <a:pt x="18331" y="763"/>
                        </a:lnTo>
                        <a:lnTo>
                          <a:pt x="18357" y="758"/>
                        </a:lnTo>
                        <a:lnTo>
                          <a:pt x="18357" y="758"/>
                        </a:lnTo>
                        <a:lnTo>
                          <a:pt x="18357" y="758"/>
                        </a:lnTo>
                        <a:close/>
                        <a:moveTo>
                          <a:pt x="23093" y="758"/>
                        </a:moveTo>
                        <a:lnTo>
                          <a:pt x="23109" y="758"/>
                        </a:lnTo>
                        <a:lnTo>
                          <a:pt x="23088" y="758"/>
                        </a:lnTo>
                        <a:lnTo>
                          <a:pt x="23093" y="758"/>
                        </a:lnTo>
                        <a:lnTo>
                          <a:pt x="23093" y="758"/>
                        </a:lnTo>
                        <a:lnTo>
                          <a:pt x="23093" y="758"/>
                        </a:lnTo>
                        <a:close/>
                        <a:moveTo>
                          <a:pt x="16101" y="1314"/>
                        </a:moveTo>
                        <a:lnTo>
                          <a:pt x="16096" y="1307"/>
                        </a:lnTo>
                        <a:lnTo>
                          <a:pt x="16096" y="1318"/>
                        </a:lnTo>
                        <a:lnTo>
                          <a:pt x="16047" y="1318"/>
                        </a:lnTo>
                        <a:lnTo>
                          <a:pt x="16037" y="1297"/>
                        </a:lnTo>
                        <a:lnTo>
                          <a:pt x="16042" y="1314"/>
                        </a:lnTo>
                        <a:lnTo>
                          <a:pt x="15971" y="1297"/>
                        </a:lnTo>
                        <a:lnTo>
                          <a:pt x="15917" y="1314"/>
                        </a:lnTo>
                        <a:lnTo>
                          <a:pt x="15900" y="1307"/>
                        </a:lnTo>
                        <a:lnTo>
                          <a:pt x="15928" y="1297"/>
                        </a:lnTo>
                        <a:lnTo>
                          <a:pt x="15928" y="1290"/>
                        </a:lnTo>
                        <a:lnTo>
                          <a:pt x="15917" y="1290"/>
                        </a:lnTo>
                        <a:lnTo>
                          <a:pt x="15928" y="1281"/>
                        </a:lnTo>
                        <a:lnTo>
                          <a:pt x="15987" y="1257"/>
                        </a:lnTo>
                        <a:lnTo>
                          <a:pt x="15900" y="1273"/>
                        </a:lnTo>
                        <a:lnTo>
                          <a:pt x="15879" y="1252"/>
                        </a:lnTo>
                        <a:lnTo>
                          <a:pt x="15954" y="1224"/>
                        </a:lnTo>
                        <a:lnTo>
                          <a:pt x="15938" y="1219"/>
                        </a:lnTo>
                        <a:lnTo>
                          <a:pt x="15971" y="1195"/>
                        </a:lnTo>
                        <a:lnTo>
                          <a:pt x="16037" y="1203"/>
                        </a:lnTo>
                        <a:lnTo>
                          <a:pt x="15983" y="1179"/>
                        </a:lnTo>
                        <a:lnTo>
                          <a:pt x="16025" y="1179"/>
                        </a:lnTo>
                        <a:lnTo>
                          <a:pt x="15987" y="1170"/>
                        </a:lnTo>
                        <a:lnTo>
                          <a:pt x="15992" y="1153"/>
                        </a:lnTo>
                        <a:lnTo>
                          <a:pt x="16063" y="1146"/>
                        </a:lnTo>
                        <a:lnTo>
                          <a:pt x="16009" y="1141"/>
                        </a:lnTo>
                        <a:lnTo>
                          <a:pt x="16009" y="1125"/>
                        </a:lnTo>
                        <a:lnTo>
                          <a:pt x="16113" y="1125"/>
                        </a:lnTo>
                        <a:lnTo>
                          <a:pt x="16089" y="1125"/>
                        </a:lnTo>
                        <a:lnTo>
                          <a:pt x="16075" y="1108"/>
                        </a:lnTo>
                        <a:lnTo>
                          <a:pt x="16037" y="1108"/>
                        </a:lnTo>
                        <a:lnTo>
                          <a:pt x="16089" y="1087"/>
                        </a:lnTo>
                        <a:lnTo>
                          <a:pt x="16063" y="1087"/>
                        </a:lnTo>
                        <a:lnTo>
                          <a:pt x="16075" y="1075"/>
                        </a:lnTo>
                        <a:lnTo>
                          <a:pt x="16037" y="1075"/>
                        </a:lnTo>
                        <a:lnTo>
                          <a:pt x="16042" y="1070"/>
                        </a:lnTo>
                        <a:lnTo>
                          <a:pt x="16025" y="1070"/>
                        </a:lnTo>
                        <a:lnTo>
                          <a:pt x="16025" y="1058"/>
                        </a:lnTo>
                        <a:lnTo>
                          <a:pt x="16063" y="1051"/>
                        </a:lnTo>
                        <a:lnTo>
                          <a:pt x="16075" y="1070"/>
                        </a:lnTo>
                        <a:lnTo>
                          <a:pt x="16101" y="1042"/>
                        </a:lnTo>
                        <a:lnTo>
                          <a:pt x="16096" y="1035"/>
                        </a:lnTo>
                        <a:lnTo>
                          <a:pt x="16101" y="1030"/>
                        </a:lnTo>
                        <a:lnTo>
                          <a:pt x="16165" y="1030"/>
                        </a:lnTo>
                        <a:lnTo>
                          <a:pt x="16150" y="1002"/>
                        </a:lnTo>
                        <a:lnTo>
                          <a:pt x="16198" y="997"/>
                        </a:lnTo>
                        <a:lnTo>
                          <a:pt x="16181" y="985"/>
                        </a:lnTo>
                        <a:lnTo>
                          <a:pt x="16235" y="959"/>
                        </a:lnTo>
                        <a:lnTo>
                          <a:pt x="16349" y="931"/>
                        </a:lnTo>
                        <a:lnTo>
                          <a:pt x="16328" y="924"/>
                        </a:lnTo>
                        <a:lnTo>
                          <a:pt x="16344" y="919"/>
                        </a:lnTo>
                        <a:lnTo>
                          <a:pt x="16382" y="919"/>
                        </a:lnTo>
                        <a:lnTo>
                          <a:pt x="16361" y="931"/>
                        </a:lnTo>
                        <a:lnTo>
                          <a:pt x="16370" y="931"/>
                        </a:lnTo>
                        <a:lnTo>
                          <a:pt x="16403" y="907"/>
                        </a:lnTo>
                        <a:lnTo>
                          <a:pt x="16387" y="907"/>
                        </a:lnTo>
                        <a:lnTo>
                          <a:pt x="16398" y="891"/>
                        </a:lnTo>
                        <a:lnTo>
                          <a:pt x="16441" y="886"/>
                        </a:lnTo>
                        <a:lnTo>
                          <a:pt x="16495" y="903"/>
                        </a:lnTo>
                        <a:lnTo>
                          <a:pt x="16580" y="874"/>
                        </a:lnTo>
                        <a:lnTo>
                          <a:pt x="16613" y="886"/>
                        </a:lnTo>
                        <a:lnTo>
                          <a:pt x="16710" y="848"/>
                        </a:lnTo>
                        <a:lnTo>
                          <a:pt x="16743" y="853"/>
                        </a:lnTo>
                        <a:lnTo>
                          <a:pt x="16727" y="832"/>
                        </a:lnTo>
                        <a:lnTo>
                          <a:pt x="16852" y="780"/>
                        </a:lnTo>
                        <a:lnTo>
                          <a:pt x="16921" y="792"/>
                        </a:lnTo>
                        <a:lnTo>
                          <a:pt x="16954" y="815"/>
                        </a:lnTo>
                        <a:lnTo>
                          <a:pt x="16937" y="848"/>
                        </a:lnTo>
                        <a:lnTo>
                          <a:pt x="16944" y="853"/>
                        </a:lnTo>
                        <a:lnTo>
                          <a:pt x="16899" y="886"/>
                        </a:lnTo>
                        <a:lnTo>
                          <a:pt x="16906" y="886"/>
                        </a:lnTo>
                        <a:lnTo>
                          <a:pt x="16684" y="959"/>
                        </a:lnTo>
                        <a:lnTo>
                          <a:pt x="16592" y="981"/>
                        </a:lnTo>
                        <a:lnTo>
                          <a:pt x="16576" y="976"/>
                        </a:lnTo>
                        <a:lnTo>
                          <a:pt x="16559" y="985"/>
                        </a:lnTo>
                        <a:lnTo>
                          <a:pt x="16441" y="1018"/>
                        </a:lnTo>
                        <a:lnTo>
                          <a:pt x="16424" y="1042"/>
                        </a:lnTo>
                        <a:lnTo>
                          <a:pt x="16415" y="1030"/>
                        </a:lnTo>
                        <a:lnTo>
                          <a:pt x="16403" y="1042"/>
                        </a:lnTo>
                        <a:lnTo>
                          <a:pt x="16370" y="1058"/>
                        </a:lnTo>
                        <a:lnTo>
                          <a:pt x="16382" y="1070"/>
                        </a:lnTo>
                        <a:lnTo>
                          <a:pt x="16370" y="1075"/>
                        </a:lnTo>
                        <a:lnTo>
                          <a:pt x="16361" y="1058"/>
                        </a:lnTo>
                        <a:lnTo>
                          <a:pt x="16361" y="1075"/>
                        </a:lnTo>
                        <a:lnTo>
                          <a:pt x="16316" y="1075"/>
                        </a:lnTo>
                        <a:lnTo>
                          <a:pt x="16370" y="1087"/>
                        </a:lnTo>
                        <a:lnTo>
                          <a:pt x="16332" y="1096"/>
                        </a:lnTo>
                        <a:lnTo>
                          <a:pt x="16349" y="1108"/>
                        </a:lnTo>
                        <a:lnTo>
                          <a:pt x="16344" y="1113"/>
                        </a:lnTo>
                        <a:lnTo>
                          <a:pt x="16316" y="1113"/>
                        </a:lnTo>
                        <a:lnTo>
                          <a:pt x="16290" y="1108"/>
                        </a:lnTo>
                        <a:lnTo>
                          <a:pt x="16311" y="1125"/>
                        </a:lnTo>
                        <a:lnTo>
                          <a:pt x="16306" y="1141"/>
                        </a:lnTo>
                        <a:lnTo>
                          <a:pt x="16264" y="1113"/>
                        </a:lnTo>
                        <a:lnTo>
                          <a:pt x="16273" y="1129"/>
                        </a:lnTo>
                        <a:lnTo>
                          <a:pt x="16257" y="1141"/>
                        </a:lnTo>
                        <a:lnTo>
                          <a:pt x="16264" y="1153"/>
                        </a:lnTo>
                        <a:lnTo>
                          <a:pt x="16198" y="1141"/>
                        </a:lnTo>
                        <a:lnTo>
                          <a:pt x="16226" y="1153"/>
                        </a:lnTo>
                        <a:lnTo>
                          <a:pt x="16235" y="1179"/>
                        </a:lnTo>
                        <a:lnTo>
                          <a:pt x="16219" y="1195"/>
                        </a:lnTo>
                        <a:lnTo>
                          <a:pt x="16202" y="1186"/>
                        </a:lnTo>
                        <a:lnTo>
                          <a:pt x="16209" y="1203"/>
                        </a:lnTo>
                        <a:lnTo>
                          <a:pt x="16198" y="1203"/>
                        </a:lnTo>
                        <a:lnTo>
                          <a:pt x="16198" y="1219"/>
                        </a:lnTo>
                        <a:lnTo>
                          <a:pt x="16165" y="1207"/>
                        </a:lnTo>
                        <a:lnTo>
                          <a:pt x="16150" y="1195"/>
                        </a:lnTo>
                        <a:lnTo>
                          <a:pt x="16143" y="1195"/>
                        </a:lnTo>
                        <a:lnTo>
                          <a:pt x="16150" y="1207"/>
                        </a:lnTo>
                        <a:lnTo>
                          <a:pt x="16134" y="1207"/>
                        </a:lnTo>
                        <a:lnTo>
                          <a:pt x="16172" y="1236"/>
                        </a:lnTo>
                        <a:lnTo>
                          <a:pt x="16181" y="1252"/>
                        </a:lnTo>
                        <a:lnTo>
                          <a:pt x="16165" y="1257"/>
                        </a:lnTo>
                        <a:lnTo>
                          <a:pt x="16143" y="1240"/>
                        </a:lnTo>
                        <a:lnTo>
                          <a:pt x="16080" y="1236"/>
                        </a:lnTo>
                        <a:lnTo>
                          <a:pt x="16134" y="1240"/>
                        </a:lnTo>
                        <a:lnTo>
                          <a:pt x="16155" y="1264"/>
                        </a:lnTo>
                        <a:lnTo>
                          <a:pt x="16134" y="1281"/>
                        </a:lnTo>
                        <a:lnTo>
                          <a:pt x="16096" y="1264"/>
                        </a:lnTo>
                        <a:lnTo>
                          <a:pt x="16096" y="1273"/>
                        </a:lnTo>
                        <a:lnTo>
                          <a:pt x="16127" y="1290"/>
                        </a:lnTo>
                        <a:lnTo>
                          <a:pt x="16101" y="1314"/>
                        </a:lnTo>
                        <a:lnTo>
                          <a:pt x="16101" y="1314"/>
                        </a:lnTo>
                        <a:lnTo>
                          <a:pt x="16101" y="1314"/>
                        </a:lnTo>
                        <a:close/>
                        <a:moveTo>
                          <a:pt x="18978" y="815"/>
                        </a:moveTo>
                        <a:lnTo>
                          <a:pt x="18969" y="808"/>
                        </a:lnTo>
                        <a:lnTo>
                          <a:pt x="18978" y="808"/>
                        </a:lnTo>
                        <a:lnTo>
                          <a:pt x="18978" y="815"/>
                        </a:lnTo>
                        <a:lnTo>
                          <a:pt x="18978" y="815"/>
                        </a:lnTo>
                        <a:lnTo>
                          <a:pt x="18978" y="815"/>
                        </a:lnTo>
                        <a:close/>
                        <a:moveTo>
                          <a:pt x="22521" y="836"/>
                        </a:moveTo>
                        <a:lnTo>
                          <a:pt x="22547" y="820"/>
                        </a:lnTo>
                        <a:lnTo>
                          <a:pt x="22585" y="820"/>
                        </a:lnTo>
                        <a:lnTo>
                          <a:pt x="22576" y="836"/>
                        </a:lnTo>
                        <a:lnTo>
                          <a:pt x="22521" y="836"/>
                        </a:lnTo>
                        <a:lnTo>
                          <a:pt x="22521" y="836"/>
                        </a:lnTo>
                        <a:lnTo>
                          <a:pt x="22521" y="836"/>
                        </a:lnTo>
                        <a:close/>
                        <a:moveTo>
                          <a:pt x="18957" y="848"/>
                        </a:moveTo>
                        <a:lnTo>
                          <a:pt x="18940" y="836"/>
                        </a:lnTo>
                        <a:lnTo>
                          <a:pt x="18952" y="820"/>
                        </a:lnTo>
                        <a:lnTo>
                          <a:pt x="18957" y="836"/>
                        </a:lnTo>
                        <a:lnTo>
                          <a:pt x="18957" y="848"/>
                        </a:lnTo>
                        <a:lnTo>
                          <a:pt x="18957" y="848"/>
                        </a:lnTo>
                        <a:lnTo>
                          <a:pt x="18957" y="848"/>
                        </a:lnTo>
                        <a:close/>
                        <a:moveTo>
                          <a:pt x="18827" y="832"/>
                        </a:moveTo>
                        <a:lnTo>
                          <a:pt x="18834" y="832"/>
                        </a:lnTo>
                        <a:lnTo>
                          <a:pt x="18806" y="832"/>
                        </a:lnTo>
                        <a:lnTo>
                          <a:pt x="18827" y="832"/>
                        </a:lnTo>
                        <a:lnTo>
                          <a:pt x="18827" y="832"/>
                        </a:lnTo>
                        <a:lnTo>
                          <a:pt x="18827" y="832"/>
                        </a:lnTo>
                        <a:close/>
                        <a:moveTo>
                          <a:pt x="18789" y="820"/>
                        </a:moveTo>
                        <a:lnTo>
                          <a:pt x="18806" y="832"/>
                        </a:lnTo>
                        <a:lnTo>
                          <a:pt x="18763" y="836"/>
                        </a:lnTo>
                        <a:lnTo>
                          <a:pt x="18789" y="820"/>
                        </a:lnTo>
                        <a:lnTo>
                          <a:pt x="18789" y="820"/>
                        </a:lnTo>
                        <a:lnTo>
                          <a:pt x="18789" y="820"/>
                        </a:lnTo>
                        <a:close/>
                        <a:moveTo>
                          <a:pt x="18881" y="832"/>
                        </a:moveTo>
                        <a:lnTo>
                          <a:pt x="18865" y="836"/>
                        </a:lnTo>
                        <a:lnTo>
                          <a:pt x="18843" y="836"/>
                        </a:lnTo>
                        <a:lnTo>
                          <a:pt x="18881" y="832"/>
                        </a:lnTo>
                        <a:lnTo>
                          <a:pt x="18881" y="832"/>
                        </a:lnTo>
                        <a:lnTo>
                          <a:pt x="18881" y="832"/>
                        </a:lnTo>
                        <a:close/>
                        <a:moveTo>
                          <a:pt x="20010" y="865"/>
                        </a:moveTo>
                        <a:lnTo>
                          <a:pt x="19968" y="836"/>
                        </a:lnTo>
                        <a:lnTo>
                          <a:pt x="20010" y="836"/>
                        </a:lnTo>
                        <a:lnTo>
                          <a:pt x="20020" y="853"/>
                        </a:lnTo>
                        <a:lnTo>
                          <a:pt x="20010" y="865"/>
                        </a:lnTo>
                        <a:lnTo>
                          <a:pt x="20010" y="865"/>
                        </a:lnTo>
                        <a:lnTo>
                          <a:pt x="20010" y="865"/>
                        </a:lnTo>
                        <a:close/>
                        <a:moveTo>
                          <a:pt x="18704" y="836"/>
                        </a:moveTo>
                        <a:lnTo>
                          <a:pt x="18735" y="848"/>
                        </a:lnTo>
                        <a:lnTo>
                          <a:pt x="18697" y="848"/>
                        </a:lnTo>
                        <a:lnTo>
                          <a:pt x="18704" y="836"/>
                        </a:lnTo>
                        <a:lnTo>
                          <a:pt x="18704" y="836"/>
                        </a:lnTo>
                        <a:lnTo>
                          <a:pt x="18704" y="836"/>
                        </a:lnTo>
                        <a:close/>
                        <a:moveTo>
                          <a:pt x="20048" y="874"/>
                        </a:moveTo>
                        <a:lnTo>
                          <a:pt x="20065" y="870"/>
                        </a:lnTo>
                        <a:lnTo>
                          <a:pt x="20069" y="874"/>
                        </a:lnTo>
                        <a:lnTo>
                          <a:pt x="20048" y="874"/>
                        </a:lnTo>
                        <a:lnTo>
                          <a:pt x="20048" y="874"/>
                        </a:lnTo>
                        <a:lnTo>
                          <a:pt x="20048" y="874"/>
                        </a:lnTo>
                        <a:close/>
                        <a:moveTo>
                          <a:pt x="18902" y="907"/>
                        </a:moveTo>
                        <a:lnTo>
                          <a:pt x="18898" y="903"/>
                        </a:lnTo>
                        <a:lnTo>
                          <a:pt x="18902" y="874"/>
                        </a:lnTo>
                        <a:lnTo>
                          <a:pt x="18919" y="886"/>
                        </a:lnTo>
                        <a:lnTo>
                          <a:pt x="18902" y="907"/>
                        </a:lnTo>
                        <a:lnTo>
                          <a:pt x="18902" y="907"/>
                        </a:lnTo>
                        <a:lnTo>
                          <a:pt x="18902" y="907"/>
                        </a:lnTo>
                        <a:close/>
                        <a:moveTo>
                          <a:pt x="18898" y="886"/>
                        </a:moveTo>
                        <a:lnTo>
                          <a:pt x="18872" y="886"/>
                        </a:lnTo>
                        <a:lnTo>
                          <a:pt x="18902" y="886"/>
                        </a:lnTo>
                        <a:lnTo>
                          <a:pt x="18898" y="886"/>
                        </a:lnTo>
                        <a:lnTo>
                          <a:pt x="18898" y="886"/>
                        </a:lnTo>
                        <a:lnTo>
                          <a:pt x="18898" y="886"/>
                        </a:lnTo>
                        <a:close/>
                        <a:moveTo>
                          <a:pt x="18872" y="919"/>
                        </a:moveTo>
                        <a:lnTo>
                          <a:pt x="18796" y="903"/>
                        </a:lnTo>
                        <a:lnTo>
                          <a:pt x="18806" y="886"/>
                        </a:lnTo>
                        <a:lnTo>
                          <a:pt x="18898" y="891"/>
                        </a:lnTo>
                        <a:lnTo>
                          <a:pt x="18886" y="907"/>
                        </a:lnTo>
                        <a:lnTo>
                          <a:pt x="18886" y="891"/>
                        </a:lnTo>
                        <a:lnTo>
                          <a:pt x="18872" y="891"/>
                        </a:lnTo>
                        <a:lnTo>
                          <a:pt x="18872" y="903"/>
                        </a:lnTo>
                        <a:lnTo>
                          <a:pt x="18872" y="907"/>
                        </a:lnTo>
                        <a:lnTo>
                          <a:pt x="18872" y="919"/>
                        </a:lnTo>
                        <a:lnTo>
                          <a:pt x="18872" y="919"/>
                        </a:lnTo>
                        <a:lnTo>
                          <a:pt x="18872" y="919"/>
                        </a:lnTo>
                        <a:close/>
                        <a:moveTo>
                          <a:pt x="18758" y="891"/>
                        </a:moveTo>
                        <a:lnTo>
                          <a:pt x="18780" y="891"/>
                        </a:lnTo>
                        <a:lnTo>
                          <a:pt x="18763" y="903"/>
                        </a:lnTo>
                        <a:lnTo>
                          <a:pt x="18735" y="903"/>
                        </a:lnTo>
                        <a:lnTo>
                          <a:pt x="18763" y="903"/>
                        </a:lnTo>
                        <a:lnTo>
                          <a:pt x="18758" y="891"/>
                        </a:lnTo>
                        <a:lnTo>
                          <a:pt x="18758" y="891"/>
                        </a:lnTo>
                        <a:lnTo>
                          <a:pt x="18758" y="891"/>
                        </a:lnTo>
                        <a:close/>
                        <a:moveTo>
                          <a:pt x="18780" y="903"/>
                        </a:moveTo>
                        <a:lnTo>
                          <a:pt x="18789" y="907"/>
                        </a:lnTo>
                        <a:lnTo>
                          <a:pt x="18780" y="907"/>
                        </a:lnTo>
                        <a:lnTo>
                          <a:pt x="18780" y="903"/>
                        </a:lnTo>
                        <a:lnTo>
                          <a:pt x="18780" y="903"/>
                        </a:lnTo>
                        <a:lnTo>
                          <a:pt x="18780" y="903"/>
                        </a:lnTo>
                        <a:close/>
                        <a:moveTo>
                          <a:pt x="22105" y="1108"/>
                        </a:moveTo>
                        <a:lnTo>
                          <a:pt x="22072" y="1087"/>
                        </a:lnTo>
                        <a:lnTo>
                          <a:pt x="22098" y="1087"/>
                        </a:lnTo>
                        <a:lnTo>
                          <a:pt x="22089" y="1075"/>
                        </a:lnTo>
                        <a:lnTo>
                          <a:pt x="21938" y="1096"/>
                        </a:lnTo>
                        <a:lnTo>
                          <a:pt x="21909" y="1087"/>
                        </a:lnTo>
                        <a:lnTo>
                          <a:pt x="21900" y="1087"/>
                        </a:lnTo>
                        <a:lnTo>
                          <a:pt x="21905" y="1096"/>
                        </a:lnTo>
                        <a:lnTo>
                          <a:pt x="21900" y="1113"/>
                        </a:lnTo>
                        <a:lnTo>
                          <a:pt x="21867" y="1125"/>
                        </a:lnTo>
                        <a:lnTo>
                          <a:pt x="21791" y="1096"/>
                        </a:lnTo>
                        <a:lnTo>
                          <a:pt x="21782" y="1087"/>
                        </a:lnTo>
                        <a:lnTo>
                          <a:pt x="21737" y="1058"/>
                        </a:lnTo>
                        <a:lnTo>
                          <a:pt x="21711" y="1030"/>
                        </a:lnTo>
                        <a:lnTo>
                          <a:pt x="21749" y="1030"/>
                        </a:lnTo>
                        <a:lnTo>
                          <a:pt x="21749" y="1018"/>
                        </a:lnTo>
                        <a:lnTo>
                          <a:pt x="21737" y="1018"/>
                        </a:lnTo>
                        <a:lnTo>
                          <a:pt x="21744" y="985"/>
                        </a:lnTo>
                        <a:lnTo>
                          <a:pt x="21720" y="985"/>
                        </a:lnTo>
                        <a:lnTo>
                          <a:pt x="21737" y="981"/>
                        </a:lnTo>
                        <a:lnTo>
                          <a:pt x="21728" y="976"/>
                        </a:lnTo>
                        <a:lnTo>
                          <a:pt x="21737" y="964"/>
                        </a:lnTo>
                        <a:lnTo>
                          <a:pt x="21775" y="964"/>
                        </a:lnTo>
                        <a:lnTo>
                          <a:pt x="21749" y="943"/>
                        </a:lnTo>
                        <a:lnTo>
                          <a:pt x="21820" y="907"/>
                        </a:lnTo>
                        <a:lnTo>
                          <a:pt x="21829" y="924"/>
                        </a:lnTo>
                        <a:lnTo>
                          <a:pt x="21829" y="903"/>
                        </a:lnTo>
                        <a:lnTo>
                          <a:pt x="21850" y="903"/>
                        </a:lnTo>
                        <a:lnTo>
                          <a:pt x="21872" y="919"/>
                        </a:lnTo>
                        <a:lnTo>
                          <a:pt x="21921" y="931"/>
                        </a:lnTo>
                        <a:lnTo>
                          <a:pt x="21926" y="943"/>
                        </a:lnTo>
                        <a:lnTo>
                          <a:pt x="21921" y="947"/>
                        </a:lnTo>
                        <a:lnTo>
                          <a:pt x="21926" y="959"/>
                        </a:lnTo>
                        <a:lnTo>
                          <a:pt x="21964" y="964"/>
                        </a:lnTo>
                        <a:lnTo>
                          <a:pt x="21964" y="981"/>
                        </a:lnTo>
                        <a:lnTo>
                          <a:pt x="22009" y="981"/>
                        </a:lnTo>
                        <a:lnTo>
                          <a:pt x="21997" y="976"/>
                        </a:lnTo>
                        <a:lnTo>
                          <a:pt x="22009" y="924"/>
                        </a:lnTo>
                        <a:lnTo>
                          <a:pt x="22046" y="931"/>
                        </a:lnTo>
                        <a:lnTo>
                          <a:pt x="22030" y="903"/>
                        </a:lnTo>
                        <a:lnTo>
                          <a:pt x="22115" y="947"/>
                        </a:lnTo>
                        <a:lnTo>
                          <a:pt x="22207" y="959"/>
                        </a:lnTo>
                        <a:lnTo>
                          <a:pt x="22316" y="1002"/>
                        </a:lnTo>
                        <a:lnTo>
                          <a:pt x="22266" y="1014"/>
                        </a:lnTo>
                        <a:lnTo>
                          <a:pt x="22261" y="1030"/>
                        </a:lnTo>
                        <a:lnTo>
                          <a:pt x="22283" y="1035"/>
                        </a:lnTo>
                        <a:lnTo>
                          <a:pt x="22245" y="1070"/>
                        </a:lnTo>
                        <a:lnTo>
                          <a:pt x="22212" y="1075"/>
                        </a:lnTo>
                        <a:lnTo>
                          <a:pt x="22136" y="1058"/>
                        </a:lnTo>
                        <a:lnTo>
                          <a:pt x="22105" y="1030"/>
                        </a:lnTo>
                        <a:lnTo>
                          <a:pt x="22115" y="1014"/>
                        </a:lnTo>
                        <a:lnTo>
                          <a:pt x="22143" y="985"/>
                        </a:lnTo>
                        <a:lnTo>
                          <a:pt x="22143" y="981"/>
                        </a:lnTo>
                        <a:lnTo>
                          <a:pt x="22105" y="976"/>
                        </a:lnTo>
                        <a:lnTo>
                          <a:pt x="22084" y="985"/>
                        </a:lnTo>
                        <a:lnTo>
                          <a:pt x="22084" y="1018"/>
                        </a:lnTo>
                        <a:lnTo>
                          <a:pt x="22115" y="1058"/>
                        </a:lnTo>
                        <a:lnTo>
                          <a:pt x="22191" y="1087"/>
                        </a:lnTo>
                        <a:lnTo>
                          <a:pt x="22122" y="1092"/>
                        </a:lnTo>
                        <a:lnTo>
                          <a:pt x="22105" y="1108"/>
                        </a:lnTo>
                        <a:lnTo>
                          <a:pt x="22105" y="1108"/>
                        </a:lnTo>
                        <a:lnTo>
                          <a:pt x="22105" y="1108"/>
                        </a:lnTo>
                        <a:close/>
                        <a:moveTo>
                          <a:pt x="22816" y="907"/>
                        </a:moveTo>
                        <a:lnTo>
                          <a:pt x="22807" y="907"/>
                        </a:lnTo>
                        <a:lnTo>
                          <a:pt x="22833" y="907"/>
                        </a:lnTo>
                        <a:lnTo>
                          <a:pt x="22816" y="907"/>
                        </a:lnTo>
                        <a:lnTo>
                          <a:pt x="22816" y="907"/>
                        </a:lnTo>
                        <a:lnTo>
                          <a:pt x="22816" y="907"/>
                        </a:lnTo>
                        <a:close/>
                        <a:moveTo>
                          <a:pt x="16316" y="907"/>
                        </a:moveTo>
                        <a:lnTo>
                          <a:pt x="16361" y="903"/>
                        </a:lnTo>
                        <a:lnTo>
                          <a:pt x="16311" y="919"/>
                        </a:lnTo>
                        <a:lnTo>
                          <a:pt x="16316" y="907"/>
                        </a:lnTo>
                        <a:lnTo>
                          <a:pt x="16316" y="907"/>
                        </a:lnTo>
                        <a:lnTo>
                          <a:pt x="16316" y="907"/>
                        </a:lnTo>
                        <a:close/>
                        <a:moveTo>
                          <a:pt x="21997" y="924"/>
                        </a:moveTo>
                        <a:lnTo>
                          <a:pt x="21992" y="919"/>
                        </a:lnTo>
                        <a:lnTo>
                          <a:pt x="21997" y="907"/>
                        </a:lnTo>
                        <a:lnTo>
                          <a:pt x="22013" y="919"/>
                        </a:lnTo>
                        <a:lnTo>
                          <a:pt x="21997" y="924"/>
                        </a:lnTo>
                        <a:lnTo>
                          <a:pt x="21997" y="924"/>
                        </a:lnTo>
                        <a:lnTo>
                          <a:pt x="21997" y="924"/>
                        </a:lnTo>
                        <a:close/>
                        <a:moveTo>
                          <a:pt x="17932" y="943"/>
                        </a:moveTo>
                        <a:lnTo>
                          <a:pt x="17889" y="943"/>
                        </a:lnTo>
                        <a:lnTo>
                          <a:pt x="17953" y="943"/>
                        </a:lnTo>
                        <a:lnTo>
                          <a:pt x="17932" y="943"/>
                        </a:lnTo>
                        <a:lnTo>
                          <a:pt x="17932" y="943"/>
                        </a:lnTo>
                        <a:lnTo>
                          <a:pt x="17932" y="943"/>
                        </a:lnTo>
                        <a:close/>
                        <a:moveTo>
                          <a:pt x="16240" y="943"/>
                        </a:moveTo>
                        <a:lnTo>
                          <a:pt x="16273" y="931"/>
                        </a:lnTo>
                        <a:lnTo>
                          <a:pt x="16235" y="947"/>
                        </a:lnTo>
                        <a:lnTo>
                          <a:pt x="16240" y="943"/>
                        </a:lnTo>
                        <a:lnTo>
                          <a:pt x="16240" y="943"/>
                        </a:lnTo>
                        <a:lnTo>
                          <a:pt x="16240" y="943"/>
                        </a:lnTo>
                        <a:close/>
                        <a:moveTo>
                          <a:pt x="17839" y="943"/>
                        </a:moveTo>
                        <a:lnTo>
                          <a:pt x="17889" y="947"/>
                        </a:lnTo>
                        <a:lnTo>
                          <a:pt x="17835" y="943"/>
                        </a:lnTo>
                        <a:lnTo>
                          <a:pt x="17839" y="943"/>
                        </a:lnTo>
                        <a:lnTo>
                          <a:pt x="17839" y="943"/>
                        </a:lnTo>
                        <a:lnTo>
                          <a:pt x="17839" y="943"/>
                        </a:lnTo>
                        <a:close/>
                        <a:moveTo>
                          <a:pt x="16257" y="947"/>
                        </a:moveTo>
                        <a:lnTo>
                          <a:pt x="16273" y="943"/>
                        </a:lnTo>
                        <a:lnTo>
                          <a:pt x="16252" y="947"/>
                        </a:lnTo>
                        <a:lnTo>
                          <a:pt x="16257" y="947"/>
                        </a:lnTo>
                        <a:lnTo>
                          <a:pt x="16257" y="947"/>
                        </a:lnTo>
                        <a:lnTo>
                          <a:pt x="16257" y="947"/>
                        </a:lnTo>
                        <a:close/>
                        <a:moveTo>
                          <a:pt x="21614" y="1018"/>
                        </a:moveTo>
                        <a:lnTo>
                          <a:pt x="21631" y="997"/>
                        </a:lnTo>
                        <a:lnTo>
                          <a:pt x="21619" y="981"/>
                        </a:lnTo>
                        <a:lnTo>
                          <a:pt x="21635" y="959"/>
                        </a:lnTo>
                        <a:lnTo>
                          <a:pt x="21640" y="981"/>
                        </a:lnTo>
                        <a:lnTo>
                          <a:pt x="21668" y="985"/>
                        </a:lnTo>
                        <a:lnTo>
                          <a:pt x="21652" y="1002"/>
                        </a:lnTo>
                        <a:lnTo>
                          <a:pt x="21657" y="1014"/>
                        </a:lnTo>
                        <a:lnTo>
                          <a:pt x="21652" y="1018"/>
                        </a:lnTo>
                        <a:lnTo>
                          <a:pt x="21614" y="1018"/>
                        </a:lnTo>
                        <a:lnTo>
                          <a:pt x="21614" y="1018"/>
                        </a:lnTo>
                        <a:lnTo>
                          <a:pt x="21614" y="1018"/>
                        </a:lnTo>
                        <a:close/>
                        <a:moveTo>
                          <a:pt x="22391" y="985"/>
                        </a:moveTo>
                        <a:lnTo>
                          <a:pt x="22408" y="1002"/>
                        </a:lnTo>
                        <a:lnTo>
                          <a:pt x="22396" y="1014"/>
                        </a:lnTo>
                        <a:lnTo>
                          <a:pt x="22424" y="1030"/>
                        </a:lnTo>
                        <a:lnTo>
                          <a:pt x="22450" y="1030"/>
                        </a:lnTo>
                        <a:lnTo>
                          <a:pt x="22439" y="1030"/>
                        </a:lnTo>
                        <a:lnTo>
                          <a:pt x="22450" y="1014"/>
                        </a:lnTo>
                        <a:lnTo>
                          <a:pt x="22521" y="1018"/>
                        </a:lnTo>
                        <a:lnTo>
                          <a:pt x="22538" y="1018"/>
                        </a:lnTo>
                        <a:lnTo>
                          <a:pt x="22531" y="1035"/>
                        </a:lnTo>
                        <a:lnTo>
                          <a:pt x="22538" y="1042"/>
                        </a:lnTo>
                        <a:lnTo>
                          <a:pt x="22590" y="1035"/>
                        </a:lnTo>
                        <a:lnTo>
                          <a:pt x="22644" y="1042"/>
                        </a:lnTo>
                        <a:lnTo>
                          <a:pt x="22665" y="1070"/>
                        </a:lnTo>
                        <a:lnTo>
                          <a:pt x="22698" y="1058"/>
                        </a:lnTo>
                        <a:lnTo>
                          <a:pt x="22682" y="1075"/>
                        </a:lnTo>
                        <a:lnTo>
                          <a:pt x="22677" y="1092"/>
                        </a:lnTo>
                        <a:lnTo>
                          <a:pt x="22613" y="1113"/>
                        </a:lnTo>
                        <a:lnTo>
                          <a:pt x="22514" y="1108"/>
                        </a:lnTo>
                        <a:lnTo>
                          <a:pt x="22358" y="1042"/>
                        </a:lnTo>
                        <a:lnTo>
                          <a:pt x="22387" y="997"/>
                        </a:lnTo>
                        <a:lnTo>
                          <a:pt x="22391" y="985"/>
                        </a:lnTo>
                        <a:lnTo>
                          <a:pt x="22391" y="985"/>
                        </a:lnTo>
                        <a:lnTo>
                          <a:pt x="22391" y="985"/>
                        </a:lnTo>
                        <a:close/>
                        <a:moveTo>
                          <a:pt x="17877" y="1002"/>
                        </a:moveTo>
                        <a:lnTo>
                          <a:pt x="17872" y="1014"/>
                        </a:lnTo>
                        <a:lnTo>
                          <a:pt x="17889" y="1030"/>
                        </a:lnTo>
                        <a:lnTo>
                          <a:pt x="17872" y="1030"/>
                        </a:lnTo>
                        <a:lnTo>
                          <a:pt x="17872" y="1051"/>
                        </a:lnTo>
                        <a:lnTo>
                          <a:pt x="17856" y="1042"/>
                        </a:lnTo>
                        <a:lnTo>
                          <a:pt x="17856" y="1035"/>
                        </a:lnTo>
                        <a:lnTo>
                          <a:pt x="17844" y="1035"/>
                        </a:lnTo>
                        <a:lnTo>
                          <a:pt x="17835" y="1030"/>
                        </a:lnTo>
                        <a:lnTo>
                          <a:pt x="17877" y="1002"/>
                        </a:lnTo>
                        <a:lnTo>
                          <a:pt x="17877" y="1002"/>
                        </a:lnTo>
                        <a:lnTo>
                          <a:pt x="17877" y="1002"/>
                        </a:lnTo>
                        <a:close/>
                        <a:moveTo>
                          <a:pt x="18217" y="1075"/>
                        </a:moveTo>
                        <a:lnTo>
                          <a:pt x="18222" y="1087"/>
                        </a:lnTo>
                        <a:lnTo>
                          <a:pt x="18196" y="1092"/>
                        </a:lnTo>
                        <a:lnTo>
                          <a:pt x="18201" y="1096"/>
                        </a:lnTo>
                        <a:lnTo>
                          <a:pt x="18163" y="1092"/>
                        </a:lnTo>
                        <a:lnTo>
                          <a:pt x="18217" y="1075"/>
                        </a:lnTo>
                        <a:lnTo>
                          <a:pt x="18217" y="1075"/>
                        </a:lnTo>
                        <a:lnTo>
                          <a:pt x="18217" y="1075"/>
                        </a:lnTo>
                        <a:close/>
                        <a:moveTo>
                          <a:pt x="18109" y="1108"/>
                        </a:moveTo>
                        <a:lnTo>
                          <a:pt x="18125" y="1113"/>
                        </a:lnTo>
                        <a:lnTo>
                          <a:pt x="18087" y="1113"/>
                        </a:lnTo>
                        <a:lnTo>
                          <a:pt x="18109" y="1108"/>
                        </a:lnTo>
                        <a:lnTo>
                          <a:pt x="18109" y="1108"/>
                        </a:lnTo>
                        <a:lnTo>
                          <a:pt x="18109" y="1108"/>
                        </a:lnTo>
                        <a:close/>
                        <a:moveTo>
                          <a:pt x="17672" y="1129"/>
                        </a:moveTo>
                        <a:lnTo>
                          <a:pt x="17700" y="1129"/>
                        </a:lnTo>
                        <a:lnTo>
                          <a:pt x="17693" y="1146"/>
                        </a:lnTo>
                        <a:lnTo>
                          <a:pt x="17672" y="1129"/>
                        </a:lnTo>
                        <a:lnTo>
                          <a:pt x="17672" y="1129"/>
                        </a:lnTo>
                        <a:lnTo>
                          <a:pt x="17672" y="1129"/>
                        </a:lnTo>
                        <a:close/>
                        <a:moveTo>
                          <a:pt x="18125" y="1141"/>
                        </a:moveTo>
                        <a:lnTo>
                          <a:pt x="18104" y="1153"/>
                        </a:lnTo>
                        <a:lnTo>
                          <a:pt x="18087" y="1146"/>
                        </a:lnTo>
                        <a:lnTo>
                          <a:pt x="18125" y="1141"/>
                        </a:lnTo>
                        <a:lnTo>
                          <a:pt x="18125" y="1141"/>
                        </a:lnTo>
                        <a:lnTo>
                          <a:pt x="18125" y="1141"/>
                        </a:lnTo>
                        <a:close/>
                        <a:moveTo>
                          <a:pt x="18142" y="1153"/>
                        </a:moveTo>
                        <a:lnTo>
                          <a:pt x="18125" y="1153"/>
                        </a:lnTo>
                        <a:lnTo>
                          <a:pt x="18130" y="1141"/>
                        </a:lnTo>
                        <a:lnTo>
                          <a:pt x="18163" y="1146"/>
                        </a:lnTo>
                        <a:lnTo>
                          <a:pt x="18142" y="1153"/>
                        </a:lnTo>
                        <a:lnTo>
                          <a:pt x="18142" y="1153"/>
                        </a:lnTo>
                        <a:lnTo>
                          <a:pt x="18142" y="1153"/>
                        </a:lnTo>
                        <a:close/>
                        <a:moveTo>
                          <a:pt x="20020" y="1207"/>
                        </a:moveTo>
                        <a:lnTo>
                          <a:pt x="19982" y="1203"/>
                        </a:lnTo>
                        <a:lnTo>
                          <a:pt x="19930" y="1170"/>
                        </a:lnTo>
                        <a:lnTo>
                          <a:pt x="19961" y="1170"/>
                        </a:lnTo>
                        <a:lnTo>
                          <a:pt x="19977" y="1141"/>
                        </a:lnTo>
                        <a:lnTo>
                          <a:pt x="20069" y="1162"/>
                        </a:lnTo>
                        <a:lnTo>
                          <a:pt x="20053" y="1186"/>
                        </a:lnTo>
                        <a:lnTo>
                          <a:pt x="20020" y="1207"/>
                        </a:lnTo>
                        <a:lnTo>
                          <a:pt x="20020" y="1207"/>
                        </a:lnTo>
                        <a:lnTo>
                          <a:pt x="20020" y="1207"/>
                        </a:lnTo>
                        <a:close/>
                        <a:moveTo>
                          <a:pt x="18054" y="1146"/>
                        </a:moveTo>
                        <a:lnTo>
                          <a:pt x="18071" y="1153"/>
                        </a:lnTo>
                        <a:lnTo>
                          <a:pt x="18050" y="1153"/>
                        </a:lnTo>
                        <a:lnTo>
                          <a:pt x="18054" y="1162"/>
                        </a:lnTo>
                        <a:lnTo>
                          <a:pt x="18033" y="1153"/>
                        </a:lnTo>
                        <a:lnTo>
                          <a:pt x="18054" y="1146"/>
                        </a:lnTo>
                        <a:lnTo>
                          <a:pt x="18054" y="1146"/>
                        </a:lnTo>
                        <a:lnTo>
                          <a:pt x="18054" y="1146"/>
                        </a:lnTo>
                        <a:close/>
                        <a:moveTo>
                          <a:pt x="20246" y="1179"/>
                        </a:moveTo>
                        <a:lnTo>
                          <a:pt x="20246" y="1162"/>
                        </a:lnTo>
                        <a:lnTo>
                          <a:pt x="20263" y="1179"/>
                        </a:lnTo>
                        <a:lnTo>
                          <a:pt x="20246" y="1179"/>
                        </a:lnTo>
                        <a:lnTo>
                          <a:pt x="20246" y="1179"/>
                        </a:lnTo>
                        <a:lnTo>
                          <a:pt x="20246" y="1179"/>
                        </a:lnTo>
                        <a:close/>
                        <a:moveTo>
                          <a:pt x="21964" y="1236"/>
                        </a:moveTo>
                        <a:lnTo>
                          <a:pt x="21942" y="1219"/>
                        </a:lnTo>
                        <a:lnTo>
                          <a:pt x="21942" y="1195"/>
                        </a:lnTo>
                        <a:lnTo>
                          <a:pt x="21980" y="1179"/>
                        </a:lnTo>
                        <a:lnTo>
                          <a:pt x="22013" y="1195"/>
                        </a:lnTo>
                        <a:lnTo>
                          <a:pt x="22009" y="1219"/>
                        </a:lnTo>
                        <a:lnTo>
                          <a:pt x="21964" y="1236"/>
                        </a:lnTo>
                        <a:lnTo>
                          <a:pt x="21964" y="1236"/>
                        </a:lnTo>
                        <a:lnTo>
                          <a:pt x="21964" y="1236"/>
                        </a:lnTo>
                        <a:close/>
                        <a:moveTo>
                          <a:pt x="21614" y="1186"/>
                        </a:moveTo>
                        <a:lnTo>
                          <a:pt x="21657" y="1207"/>
                        </a:lnTo>
                        <a:lnTo>
                          <a:pt x="21673" y="1224"/>
                        </a:lnTo>
                        <a:lnTo>
                          <a:pt x="21657" y="1236"/>
                        </a:lnTo>
                        <a:lnTo>
                          <a:pt x="21614" y="1195"/>
                        </a:lnTo>
                        <a:lnTo>
                          <a:pt x="21614" y="1186"/>
                        </a:lnTo>
                        <a:lnTo>
                          <a:pt x="21614" y="1186"/>
                        </a:lnTo>
                        <a:lnTo>
                          <a:pt x="21614" y="1186"/>
                        </a:lnTo>
                        <a:close/>
                        <a:moveTo>
                          <a:pt x="18125" y="1195"/>
                        </a:moveTo>
                        <a:lnTo>
                          <a:pt x="18109" y="1203"/>
                        </a:lnTo>
                        <a:lnTo>
                          <a:pt x="18116" y="1195"/>
                        </a:lnTo>
                        <a:lnTo>
                          <a:pt x="18104" y="1195"/>
                        </a:lnTo>
                        <a:lnTo>
                          <a:pt x="18125" y="1195"/>
                        </a:lnTo>
                        <a:lnTo>
                          <a:pt x="18125" y="1195"/>
                        </a:lnTo>
                        <a:lnTo>
                          <a:pt x="18125" y="1195"/>
                        </a:lnTo>
                        <a:close/>
                        <a:moveTo>
                          <a:pt x="17910" y="1195"/>
                        </a:moveTo>
                        <a:lnTo>
                          <a:pt x="17915" y="1203"/>
                        </a:lnTo>
                        <a:lnTo>
                          <a:pt x="17889" y="1203"/>
                        </a:lnTo>
                        <a:lnTo>
                          <a:pt x="17910" y="1195"/>
                        </a:lnTo>
                        <a:lnTo>
                          <a:pt x="17910" y="1195"/>
                        </a:lnTo>
                        <a:lnTo>
                          <a:pt x="17910" y="1195"/>
                        </a:lnTo>
                        <a:close/>
                        <a:moveTo>
                          <a:pt x="17927" y="1207"/>
                        </a:moveTo>
                        <a:lnTo>
                          <a:pt x="17948" y="1195"/>
                        </a:lnTo>
                        <a:lnTo>
                          <a:pt x="17979" y="1207"/>
                        </a:lnTo>
                        <a:lnTo>
                          <a:pt x="17927" y="1207"/>
                        </a:lnTo>
                        <a:lnTo>
                          <a:pt x="17927" y="1207"/>
                        </a:lnTo>
                        <a:lnTo>
                          <a:pt x="17927" y="1207"/>
                        </a:lnTo>
                        <a:close/>
                        <a:moveTo>
                          <a:pt x="18002" y="1219"/>
                        </a:moveTo>
                        <a:lnTo>
                          <a:pt x="18033" y="1207"/>
                        </a:lnTo>
                        <a:lnTo>
                          <a:pt x="18033" y="1224"/>
                        </a:lnTo>
                        <a:lnTo>
                          <a:pt x="18002" y="1219"/>
                        </a:lnTo>
                        <a:lnTo>
                          <a:pt x="18002" y="1219"/>
                        </a:lnTo>
                        <a:lnTo>
                          <a:pt x="18002" y="1219"/>
                        </a:lnTo>
                        <a:close/>
                        <a:moveTo>
                          <a:pt x="20846" y="1240"/>
                        </a:moveTo>
                        <a:lnTo>
                          <a:pt x="20830" y="1236"/>
                        </a:lnTo>
                        <a:lnTo>
                          <a:pt x="20858" y="1236"/>
                        </a:lnTo>
                        <a:lnTo>
                          <a:pt x="20846" y="1240"/>
                        </a:lnTo>
                        <a:lnTo>
                          <a:pt x="20846" y="1240"/>
                        </a:lnTo>
                        <a:lnTo>
                          <a:pt x="20846" y="1240"/>
                        </a:lnTo>
                        <a:close/>
                        <a:moveTo>
                          <a:pt x="22013" y="1236"/>
                        </a:moveTo>
                        <a:lnTo>
                          <a:pt x="22072" y="1236"/>
                        </a:lnTo>
                        <a:lnTo>
                          <a:pt x="22115" y="1240"/>
                        </a:lnTo>
                        <a:lnTo>
                          <a:pt x="22174" y="1290"/>
                        </a:lnTo>
                        <a:lnTo>
                          <a:pt x="22181" y="1297"/>
                        </a:lnTo>
                        <a:lnTo>
                          <a:pt x="22174" y="1307"/>
                        </a:lnTo>
                        <a:lnTo>
                          <a:pt x="22181" y="1330"/>
                        </a:lnTo>
                        <a:lnTo>
                          <a:pt x="22098" y="1318"/>
                        </a:lnTo>
                        <a:lnTo>
                          <a:pt x="21992" y="1297"/>
                        </a:lnTo>
                        <a:lnTo>
                          <a:pt x="21926" y="1314"/>
                        </a:lnTo>
                        <a:lnTo>
                          <a:pt x="21909" y="1307"/>
                        </a:lnTo>
                        <a:lnTo>
                          <a:pt x="21964" y="1290"/>
                        </a:lnTo>
                        <a:lnTo>
                          <a:pt x="22013" y="1236"/>
                        </a:lnTo>
                        <a:lnTo>
                          <a:pt x="22013" y="1236"/>
                        </a:lnTo>
                        <a:lnTo>
                          <a:pt x="22013" y="1236"/>
                        </a:lnTo>
                        <a:close/>
                        <a:moveTo>
                          <a:pt x="20776" y="1330"/>
                        </a:moveTo>
                        <a:lnTo>
                          <a:pt x="20754" y="1307"/>
                        </a:lnTo>
                        <a:lnTo>
                          <a:pt x="20754" y="1281"/>
                        </a:lnTo>
                        <a:lnTo>
                          <a:pt x="20771" y="1264"/>
                        </a:lnTo>
                        <a:lnTo>
                          <a:pt x="20809" y="1273"/>
                        </a:lnTo>
                        <a:lnTo>
                          <a:pt x="20804" y="1252"/>
                        </a:lnTo>
                        <a:lnTo>
                          <a:pt x="20820" y="1264"/>
                        </a:lnTo>
                        <a:lnTo>
                          <a:pt x="20842" y="1252"/>
                        </a:lnTo>
                        <a:lnTo>
                          <a:pt x="20880" y="1273"/>
                        </a:lnTo>
                        <a:lnTo>
                          <a:pt x="20896" y="1264"/>
                        </a:lnTo>
                        <a:lnTo>
                          <a:pt x="20901" y="1281"/>
                        </a:lnTo>
                        <a:lnTo>
                          <a:pt x="20927" y="1281"/>
                        </a:lnTo>
                        <a:lnTo>
                          <a:pt x="20917" y="1297"/>
                        </a:lnTo>
                        <a:lnTo>
                          <a:pt x="20917" y="1307"/>
                        </a:lnTo>
                        <a:lnTo>
                          <a:pt x="20972" y="1281"/>
                        </a:lnTo>
                        <a:lnTo>
                          <a:pt x="20981" y="1290"/>
                        </a:lnTo>
                        <a:lnTo>
                          <a:pt x="20965" y="1307"/>
                        </a:lnTo>
                        <a:lnTo>
                          <a:pt x="20988" y="1307"/>
                        </a:lnTo>
                        <a:lnTo>
                          <a:pt x="21002" y="1347"/>
                        </a:lnTo>
                        <a:lnTo>
                          <a:pt x="20972" y="1375"/>
                        </a:lnTo>
                        <a:lnTo>
                          <a:pt x="20981" y="1384"/>
                        </a:lnTo>
                        <a:lnTo>
                          <a:pt x="20972" y="1425"/>
                        </a:lnTo>
                        <a:lnTo>
                          <a:pt x="20981" y="1441"/>
                        </a:lnTo>
                        <a:lnTo>
                          <a:pt x="20965" y="1458"/>
                        </a:lnTo>
                        <a:lnTo>
                          <a:pt x="20863" y="1401"/>
                        </a:lnTo>
                        <a:lnTo>
                          <a:pt x="20700" y="1363"/>
                        </a:lnTo>
                        <a:lnTo>
                          <a:pt x="20717" y="1351"/>
                        </a:lnTo>
                        <a:lnTo>
                          <a:pt x="20754" y="1368"/>
                        </a:lnTo>
                        <a:lnTo>
                          <a:pt x="20766" y="1363"/>
                        </a:lnTo>
                        <a:lnTo>
                          <a:pt x="20771" y="1335"/>
                        </a:lnTo>
                        <a:lnTo>
                          <a:pt x="20787" y="1330"/>
                        </a:lnTo>
                        <a:lnTo>
                          <a:pt x="20776" y="1330"/>
                        </a:lnTo>
                        <a:lnTo>
                          <a:pt x="20776" y="1330"/>
                        </a:lnTo>
                        <a:lnTo>
                          <a:pt x="20776" y="1330"/>
                        </a:lnTo>
                        <a:close/>
                        <a:moveTo>
                          <a:pt x="18213" y="1264"/>
                        </a:moveTo>
                        <a:lnTo>
                          <a:pt x="18201" y="1273"/>
                        </a:lnTo>
                        <a:lnTo>
                          <a:pt x="18168" y="1273"/>
                        </a:lnTo>
                        <a:lnTo>
                          <a:pt x="18213" y="1264"/>
                        </a:lnTo>
                        <a:lnTo>
                          <a:pt x="18213" y="1264"/>
                        </a:lnTo>
                        <a:lnTo>
                          <a:pt x="18213" y="1264"/>
                        </a:lnTo>
                        <a:close/>
                        <a:moveTo>
                          <a:pt x="17747" y="1290"/>
                        </a:moveTo>
                        <a:lnTo>
                          <a:pt x="17731" y="1281"/>
                        </a:lnTo>
                        <a:lnTo>
                          <a:pt x="17752" y="1281"/>
                        </a:lnTo>
                        <a:lnTo>
                          <a:pt x="17747" y="1290"/>
                        </a:lnTo>
                        <a:lnTo>
                          <a:pt x="17747" y="1290"/>
                        </a:lnTo>
                        <a:lnTo>
                          <a:pt x="17747" y="1290"/>
                        </a:lnTo>
                        <a:close/>
                        <a:moveTo>
                          <a:pt x="17402" y="1297"/>
                        </a:moveTo>
                        <a:lnTo>
                          <a:pt x="17412" y="1281"/>
                        </a:lnTo>
                        <a:lnTo>
                          <a:pt x="17457" y="1281"/>
                        </a:lnTo>
                        <a:lnTo>
                          <a:pt x="17440" y="1297"/>
                        </a:lnTo>
                        <a:lnTo>
                          <a:pt x="17407" y="1297"/>
                        </a:lnTo>
                        <a:lnTo>
                          <a:pt x="17412" y="1290"/>
                        </a:lnTo>
                        <a:lnTo>
                          <a:pt x="17402" y="1297"/>
                        </a:lnTo>
                        <a:lnTo>
                          <a:pt x="17402" y="1297"/>
                        </a:lnTo>
                        <a:lnTo>
                          <a:pt x="17402" y="1297"/>
                        </a:lnTo>
                        <a:close/>
                        <a:moveTo>
                          <a:pt x="21002" y="1347"/>
                        </a:moveTo>
                        <a:lnTo>
                          <a:pt x="21002" y="1335"/>
                        </a:lnTo>
                        <a:lnTo>
                          <a:pt x="20993" y="1318"/>
                        </a:lnTo>
                        <a:lnTo>
                          <a:pt x="20993" y="1307"/>
                        </a:lnTo>
                        <a:lnTo>
                          <a:pt x="21002" y="1297"/>
                        </a:lnTo>
                        <a:lnTo>
                          <a:pt x="21009" y="1307"/>
                        </a:lnTo>
                        <a:lnTo>
                          <a:pt x="21019" y="1290"/>
                        </a:lnTo>
                        <a:lnTo>
                          <a:pt x="21009" y="1290"/>
                        </a:lnTo>
                        <a:lnTo>
                          <a:pt x="21026" y="1281"/>
                        </a:lnTo>
                        <a:lnTo>
                          <a:pt x="21090" y="1290"/>
                        </a:lnTo>
                        <a:lnTo>
                          <a:pt x="21094" y="1307"/>
                        </a:lnTo>
                        <a:lnTo>
                          <a:pt x="21116" y="1314"/>
                        </a:lnTo>
                        <a:lnTo>
                          <a:pt x="21111" y="1318"/>
                        </a:lnTo>
                        <a:lnTo>
                          <a:pt x="21154" y="1335"/>
                        </a:lnTo>
                        <a:lnTo>
                          <a:pt x="21149" y="1351"/>
                        </a:lnTo>
                        <a:lnTo>
                          <a:pt x="21170" y="1347"/>
                        </a:lnTo>
                        <a:lnTo>
                          <a:pt x="21154" y="1363"/>
                        </a:lnTo>
                        <a:lnTo>
                          <a:pt x="21111" y="1368"/>
                        </a:lnTo>
                        <a:lnTo>
                          <a:pt x="21111" y="1384"/>
                        </a:lnTo>
                        <a:lnTo>
                          <a:pt x="20993" y="1425"/>
                        </a:lnTo>
                        <a:lnTo>
                          <a:pt x="20988" y="1429"/>
                        </a:lnTo>
                        <a:lnTo>
                          <a:pt x="20993" y="1441"/>
                        </a:lnTo>
                        <a:lnTo>
                          <a:pt x="20972" y="1425"/>
                        </a:lnTo>
                        <a:lnTo>
                          <a:pt x="20981" y="1401"/>
                        </a:lnTo>
                        <a:lnTo>
                          <a:pt x="20988" y="1384"/>
                        </a:lnTo>
                        <a:lnTo>
                          <a:pt x="20981" y="1368"/>
                        </a:lnTo>
                        <a:lnTo>
                          <a:pt x="21002" y="1347"/>
                        </a:lnTo>
                        <a:lnTo>
                          <a:pt x="21002" y="1347"/>
                        </a:lnTo>
                        <a:lnTo>
                          <a:pt x="21002" y="1347"/>
                        </a:lnTo>
                        <a:close/>
                        <a:moveTo>
                          <a:pt x="17013" y="1351"/>
                        </a:moveTo>
                        <a:lnTo>
                          <a:pt x="17029" y="1330"/>
                        </a:lnTo>
                        <a:lnTo>
                          <a:pt x="17024" y="1307"/>
                        </a:lnTo>
                        <a:lnTo>
                          <a:pt x="17062" y="1290"/>
                        </a:lnTo>
                        <a:lnTo>
                          <a:pt x="17117" y="1297"/>
                        </a:lnTo>
                        <a:lnTo>
                          <a:pt x="17088" y="1318"/>
                        </a:lnTo>
                        <a:lnTo>
                          <a:pt x="17133" y="1314"/>
                        </a:lnTo>
                        <a:lnTo>
                          <a:pt x="17143" y="1330"/>
                        </a:lnTo>
                        <a:lnTo>
                          <a:pt x="17050" y="1351"/>
                        </a:lnTo>
                        <a:lnTo>
                          <a:pt x="17013" y="1351"/>
                        </a:lnTo>
                        <a:lnTo>
                          <a:pt x="17013" y="1351"/>
                        </a:lnTo>
                        <a:lnTo>
                          <a:pt x="17013" y="1351"/>
                        </a:lnTo>
                        <a:close/>
                        <a:moveTo>
                          <a:pt x="16134" y="1684"/>
                        </a:moveTo>
                        <a:lnTo>
                          <a:pt x="16089" y="1680"/>
                        </a:lnTo>
                        <a:lnTo>
                          <a:pt x="16080" y="1668"/>
                        </a:lnTo>
                        <a:lnTo>
                          <a:pt x="16080" y="1663"/>
                        </a:lnTo>
                        <a:lnTo>
                          <a:pt x="16058" y="1668"/>
                        </a:lnTo>
                        <a:lnTo>
                          <a:pt x="16075" y="1668"/>
                        </a:lnTo>
                        <a:lnTo>
                          <a:pt x="16089" y="1684"/>
                        </a:lnTo>
                        <a:lnTo>
                          <a:pt x="16075" y="1684"/>
                        </a:lnTo>
                        <a:lnTo>
                          <a:pt x="16063" y="1684"/>
                        </a:lnTo>
                        <a:lnTo>
                          <a:pt x="16080" y="1684"/>
                        </a:lnTo>
                        <a:lnTo>
                          <a:pt x="16037" y="1668"/>
                        </a:lnTo>
                        <a:lnTo>
                          <a:pt x="16047" y="1684"/>
                        </a:lnTo>
                        <a:lnTo>
                          <a:pt x="16037" y="1684"/>
                        </a:lnTo>
                        <a:lnTo>
                          <a:pt x="16021" y="1680"/>
                        </a:lnTo>
                        <a:lnTo>
                          <a:pt x="16025" y="1668"/>
                        </a:lnTo>
                        <a:lnTo>
                          <a:pt x="16004" y="1663"/>
                        </a:lnTo>
                        <a:lnTo>
                          <a:pt x="15983" y="1684"/>
                        </a:lnTo>
                        <a:lnTo>
                          <a:pt x="15938" y="1656"/>
                        </a:lnTo>
                        <a:lnTo>
                          <a:pt x="15933" y="1663"/>
                        </a:lnTo>
                        <a:lnTo>
                          <a:pt x="15954" y="1668"/>
                        </a:lnTo>
                        <a:lnTo>
                          <a:pt x="15928" y="1656"/>
                        </a:lnTo>
                        <a:lnTo>
                          <a:pt x="15862" y="1656"/>
                        </a:lnTo>
                        <a:lnTo>
                          <a:pt x="15858" y="1647"/>
                        </a:lnTo>
                        <a:lnTo>
                          <a:pt x="15879" y="1647"/>
                        </a:lnTo>
                        <a:lnTo>
                          <a:pt x="15886" y="1640"/>
                        </a:lnTo>
                        <a:lnTo>
                          <a:pt x="15862" y="1614"/>
                        </a:lnTo>
                        <a:lnTo>
                          <a:pt x="15917" y="1607"/>
                        </a:lnTo>
                        <a:lnTo>
                          <a:pt x="15862" y="1602"/>
                        </a:lnTo>
                        <a:lnTo>
                          <a:pt x="15862" y="1590"/>
                        </a:lnTo>
                        <a:lnTo>
                          <a:pt x="15879" y="1573"/>
                        </a:lnTo>
                        <a:lnTo>
                          <a:pt x="15895" y="1569"/>
                        </a:lnTo>
                        <a:lnTo>
                          <a:pt x="15862" y="1590"/>
                        </a:lnTo>
                        <a:lnTo>
                          <a:pt x="15848" y="1569"/>
                        </a:lnTo>
                        <a:lnTo>
                          <a:pt x="15862" y="1557"/>
                        </a:lnTo>
                        <a:lnTo>
                          <a:pt x="15858" y="1552"/>
                        </a:lnTo>
                        <a:lnTo>
                          <a:pt x="15824" y="1573"/>
                        </a:lnTo>
                        <a:lnTo>
                          <a:pt x="15803" y="1557"/>
                        </a:lnTo>
                        <a:lnTo>
                          <a:pt x="15803" y="1552"/>
                        </a:lnTo>
                        <a:lnTo>
                          <a:pt x="15787" y="1569"/>
                        </a:lnTo>
                        <a:lnTo>
                          <a:pt x="15777" y="1552"/>
                        </a:lnTo>
                        <a:lnTo>
                          <a:pt x="15772" y="1557"/>
                        </a:lnTo>
                        <a:lnTo>
                          <a:pt x="15777" y="1557"/>
                        </a:lnTo>
                        <a:lnTo>
                          <a:pt x="15749" y="1569"/>
                        </a:lnTo>
                        <a:lnTo>
                          <a:pt x="15735" y="1552"/>
                        </a:lnTo>
                        <a:lnTo>
                          <a:pt x="15718" y="1512"/>
                        </a:lnTo>
                        <a:lnTo>
                          <a:pt x="15735" y="1491"/>
                        </a:lnTo>
                        <a:lnTo>
                          <a:pt x="15749" y="1474"/>
                        </a:lnTo>
                        <a:lnTo>
                          <a:pt x="15787" y="1491"/>
                        </a:lnTo>
                        <a:lnTo>
                          <a:pt x="15787" y="1462"/>
                        </a:lnTo>
                        <a:lnTo>
                          <a:pt x="15820" y="1446"/>
                        </a:lnTo>
                        <a:lnTo>
                          <a:pt x="15810" y="1429"/>
                        </a:lnTo>
                        <a:lnTo>
                          <a:pt x="15841" y="1418"/>
                        </a:lnTo>
                        <a:lnTo>
                          <a:pt x="15810" y="1418"/>
                        </a:lnTo>
                        <a:lnTo>
                          <a:pt x="15820" y="1408"/>
                        </a:lnTo>
                        <a:lnTo>
                          <a:pt x="15848" y="1408"/>
                        </a:lnTo>
                        <a:lnTo>
                          <a:pt x="15787" y="1392"/>
                        </a:lnTo>
                        <a:lnTo>
                          <a:pt x="15832" y="1368"/>
                        </a:lnTo>
                        <a:lnTo>
                          <a:pt x="15858" y="1375"/>
                        </a:lnTo>
                        <a:lnTo>
                          <a:pt x="15841" y="1363"/>
                        </a:lnTo>
                        <a:lnTo>
                          <a:pt x="15858" y="1363"/>
                        </a:lnTo>
                        <a:lnTo>
                          <a:pt x="15841" y="1347"/>
                        </a:lnTo>
                        <a:lnTo>
                          <a:pt x="15858" y="1330"/>
                        </a:lnTo>
                        <a:lnTo>
                          <a:pt x="15886" y="1314"/>
                        </a:lnTo>
                        <a:lnTo>
                          <a:pt x="15917" y="1318"/>
                        </a:lnTo>
                        <a:lnTo>
                          <a:pt x="15966" y="1297"/>
                        </a:lnTo>
                        <a:lnTo>
                          <a:pt x="16075" y="1330"/>
                        </a:lnTo>
                        <a:lnTo>
                          <a:pt x="16080" y="1335"/>
                        </a:lnTo>
                        <a:lnTo>
                          <a:pt x="16025" y="1351"/>
                        </a:lnTo>
                        <a:lnTo>
                          <a:pt x="16075" y="1351"/>
                        </a:lnTo>
                        <a:lnTo>
                          <a:pt x="16063" y="1363"/>
                        </a:lnTo>
                        <a:lnTo>
                          <a:pt x="16021" y="1363"/>
                        </a:lnTo>
                        <a:lnTo>
                          <a:pt x="16058" y="1363"/>
                        </a:lnTo>
                        <a:lnTo>
                          <a:pt x="16047" y="1384"/>
                        </a:lnTo>
                        <a:lnTo>
                          <a:pt x="16004" y="1384"/>
                        </a:lnTo>
                        <a:lnTo>
                          <a:pt x="16042" y="1401"/>
                        </a:lnTo>
                        <a:lnTo>
                          <a:pt x="16025" y="1408"/>
                        </a:lnTo>
                        <a:lnTo>
                          <a:pt x="16021" y="1425"/>
                        </a:lnTo>
                        <a:lnTo>
                          <a:pt x="15987" y="1418"/>
                        </a:lnTo>
                        <a:lnTo>
                          <a:pt x="16009" y="1425"/>
                        </a:lnTo>
                        <a:lnTo>
                          <a:pt x="15983" y="1429"/>
                        </a:lnTo>
                        <a:lnTo>
                          <a:pt x="16004" y="1429"/>
                        </a:lnTo>
                        <a:lnTo>
                          <a:pt x="16004" y="1458"/>
                        </a:lnTo>
                        <a:lnTo>
                          <a:pt x="16009" y="1474"/>
                        </a:lnTo>
                        <a:lnTo>
                          <a:pt x="15987" y="1503"/>
                        </a:lnTo>
                        <a:lnTo>
                          <a:pt x="16009" y="1512"/>
                        </a:lnTo>
                        <a:lnTo>
                          <a:pt x="16021" y="1545"/>
                        </a:lnTo>
                        <a:lnTo>
                          <a:pt x="16058" y="1602"/>
                        </a:lnTo>
                        <a:lnTo>
                          <a:pt x="16117" y="1647"/>
                        </a:lnTo>
                        <a:lnTo>
                          <a:pt x="16155" y="1663"/>
                        </a:lnTo>
                        <a:lnTo>
                          <a:pt x="16143" y="1680"/>
                        </a:lnTo>
                        <a:lnTo>
                          <a:pt x="16096" y="1668"/>
                        </a:lnTo>
                        <a:lnTo>
                          <a:pt x="16134" y="1684"/>
                        </a:lnTo>
                        <a:lnTo>
                          <a:pt x="16134" y="1684"/>
                        </a:lnTo>
                        <a:lnTo>
                          <a:pt x="16134" y="1684"/>
                        </a:lnTo>
                        <a:close/>
                        <a:moveTo>
                          <a:pt x="17105" y="1314"/>
                        </a:moveTo>
                        <a:lnTo>
                          <a:pt x="17121" y="1307"/>
                        </a:lnTo>
                        <a:lnTo>
                          <a:pt x="17105" y="1318"/>
                        </a:lnTo>
                        <a:lnTo>
                          <a:pt x="17105" y="1314"/>
                        </a:lnTo>
                        <a:lnTo>
                          <a:pt x="17105" y="1314"/>
                        </a:lnTo>
                        <a:lnTo>
                          <a:pt x="17105" y="1314"/>
                        </a:lnTo>
                        <a:close/>
                        <a:moveTo>
                          <a:pt x="17461" y="1335"/>
                        </a:moveTo>
                        <a:lnTo>
                          <a:pt x="17457" y="1330"/>
                        </a:lnTo>
                        <a:lnTo>
                          <a:pt x="17499" y="1335"/>
                        </a:lnTo>
                        <a:lnTo>
                          <a:pt x="17461" y="1335"/>
                        </a:lnTo>
                        <a:lnTo>
                          <a:pt x="17461" y="1335"/>
                        </a:lnTo>
                        <a:lnTo>
                          <a:pt x="17461" y="1335"/>
                        </a:lnTo>
                        <a:close/>
                        <a:moveTo>
                          <a:pt x="20535" y="1351"/>
                        </a:moveTo>
                        <a:lnTo>
                          <a:pt x="20506" y="1347"/>
                        </a:lnTo>
                        <a:lnTo>
                          <a:pt x="20523" y="1335"/>
                        </a:lnTo>
                        <a:lnTo>
                          <a:pt x="20549" y="1347"/>
                        </a:lnTo>
                        <a:lnTo>
                          <a:pt x="20535" y="1351"/>
                        </a:lnTo>
                        <a:lnTo>
                          <a:pt x="20535" y="1351"/>
                        </a:lnTo>
                        <a:lnTo>
                          <a:pt x="20535" y="1351"/>
                        </a:lnTo>
                        <a:close/>
                        <a:moveTo>
                          <a:pt x="17315" y="1351"/>
                        </a:moveTo>
                        <a:lnTo>
                          <a:pt x="17336" y="1335"/>
                        </a:lnTo>
                        <a:lnTo>
                          <a:pt x="17369" y="1351"/>
                        </a:lnTo>
                        <a:lnTo>
                          <a:pt x="17353" y="1347"/>
                        </a:lnTo>
                        <a:lnTo>
                          <a:pt x="17353" y="1375"/>
                        </a:lnTo>
                        <a:lnTo>
                          <a:pt x="17315" y="1351"/>
                        </a:lnTo>
                        <a:lnTo>
                          <a:pt x="17315" y="1351"/>
                        </a:lnTo>
                        <a:lnTo>
                          <a:pt x="17315" y="1351"/>
                        </a:lnTo>
                        <a:close/>
                        <a:moveTo>
                          <a:pt x="17629" y="1368"/>
                        </a:moveTo>
                        <a:lnTo>
                          <a:pt x="17672" y="1347"/>
                        </a:lnTo>
                        <a:lnTo>
                          <a:pt x="17693" y="1368"/>
                        </a:lnTo>
                        <a:lnTo>
                          <a:pt x="17693" y="1392"/>
                        </a:lnTo>
                        <a:lnTo>
                          <a:pt x="17683" y="1401"/>
                        </a:lnTo>
                        <a:lnTo>
                          <a:pt x="17629" y="1384"/>
                        </a:lnTo>
                        <a:lnTo>
                          <a:pt x="17629" y="1368"/>
                        </a:lnTo>
                        <a:lnTo>
                          <a:pt x="17629" y="1368"/>
                        </a:lnTo>
                        <a:lnTo>
                          <a:pt x="17629" y="1368"/>
                        </a:lnTo>
                        <a:close/>
                        <a:moveTo>
                          <a:pt x="20695" y="1368"/>
                        </a:moveTo>
                        <a:lnTo>
                          <a:pt x="20787" y="1392"/>
                        </a:lnTo>
                        <a:lnTo>
                          <a:pt x="20724" y="1384"/>
                        </a:lnTo>
                        <a:lnTo>
                          <a:pt x="20695" y="1368"/>
                        </a:lnTo>
                        <a:lnTo>
                          <a:pt x="20695" y="1368"/>
                        </a:lnTo>
                        <a:lnTo>
                          <a:pt x="20695" y="1368"/>
                        </a:lnTo>
                        <a:close/>
                        <a:moveTo>
                          <a:pt x="21170" y="1384"/>
                        </a:moveTo>
                        <a:lnTo>
                          <a:pt x="21111" y="1375"/>
                        </a:lnTo>
                        <a:lnTo>
                          <a:pt x="21149" y="1375"/>
                        </a:lnTo>
                        <a:lnTo>
                          <a:pt x="21182" y="1384"/>
                        </a:lnTo>
                        <a:lnTo>
                          <a:pt x="21170" y="1384"/>
                        </a:lnTo>
                        <a:lnTo>
                          <a:pt x="21170" y="1384"/>
                        </a:lnTo>
                        <a:lnTo>
                          <a:pt x="21170" y="1384"/>
                        </a:lnTo>
                        <a:close/>
                        <a:moveTo>
                          <a:pt x="21040" y="1408"/>
                        </a:moveTo>
                        <a:lnTo>
                          <a:pt x="21111" y="1384"/>
                        </a:lnTo>
                        <a:lnTo>
                          <a:pt x="21187" y="1401"/>
                        </a:lnTo>
                        <a:lnTo>
                          <a:pt x="21040" y="1408"/>
                        </a:lnTo>
                        <a:lnTo>
                          <a:pt x="21040" y="1408"/>
                        </a:lnTo>
                        <a:lnTo>
                          <a:pt x="21040" y="1408"/>
                        </a:lnTo>
                        <a:close/>
                        <a:moveTo>
                          <a:pt x="17223" y="1401"/>
                        </a:moveTo>
                        <a:lnTo>
                          <a:pt x="17239" y="1401"/>
                        </a:lnTo>
                        <a:lnTo>
                          <a:pt x="17239" y="1408"/>
                        </a:lnTo>
                        <a:lnTo>
                          <a:pt x="17223" y="1401"/>
                        </a:lnTo>
                        <a:lnTo>
                          <a:pt x="17223" y="1401"/>
                        </a:lnTo>
                        <a:lnTo>
                          <a:pt x="17223" y="1401"/>
                        </a:lnTo>
                        <a:close/>
                        <a:moveTo>
                          <a:pt x="21102" y="1408"/>
                        </a:moveTo>
                        <a:lnTo>
                          <a:pt x="21144" y="1401"/>
                        </a:lnTo>
                        <a:lnTo>
                          <a:pt x="21154" y="1418"/>
                        </a:lnTo>
                        <a:lnTo>
                          <a:pt x="21144" y="1425"/>
                        </a:lnTo>
                        <a:lnTo>
                          <a:pt x="21102" y="1408"/>
                        </a:lnTo>
                        <a:lnTo>
                          <a:pt x="21102" y="1408"/>
                        </a:lnTo>
                        <a:lnTo>
                          <a:pt x="21102" y="1408"/>
                        </a:lnTo>
                        <a:close/>
                        <a:moveTo>
                          <a:pt x="21002" y="1429"/>
                        </a:moveTo>
                        <a:lnTo>
                          <a:pt x="21002" y="1425"/>
                        </a:lnTo>
                        <a:lnTo>
                          <a:pt x="21078" y="1408"/>
                        </a:lnTo>
                        <a:lnTo>
                          <a:pt x="21144" y="1429"/>
                        </a:lnTo>
                        <a:lnTo>
                          <a:pt x="21182" y="1429"/>
                        </a:lnTo>
                        <a:lnTo>
                          <a:pt x="21198" y="1446"/>
                        </a:lnTo>
                        <a:lnTo>
                          <a:pt x="21187" y="1458"/>
                        </a:lnTo>
                        <a:lnTo>
                          <a:pt x="21203" y="1462"/>
                        </a:lnTo>
                        <a:lnTo>
                          <a:pt x="21182" y="1474"/>
                        </a:lnTo>
                        <a:lnTo>
                          <a:pt x="21198" y="1479"/>
                        </a:lnTo>
                        <a:lnTo>
                          <a:pt x="21187" y="1479"/>
                        </a:lnTo>
                        <a:lnTo>
                          <a:pt x="21149" y="1491"/>
                        </a:lnTo>
                        <a:lnTo>
                          <a:pt x="21064" y="1429"/>
                        </a:lnTo>
                        <a:lnTo>
                          <a:pt x="21002" y="1429"/>
                        </a:lnTo>
                        <a:lnTo>
                          <a:pt x="21002" y="1429"/>
                        </a:lnTo>
                        <a:lnTo>
                          <a:pt x="21002" y="1429"/>
                        </a:lnTo>
                        <a:close/>
                        <a:moveTo>
                          <a:pt x="17511" y="1446"/>
                        </a:moveTo>
                        <a:lnTo>
                          <a:pt x="17563" y="1408"/>
                        </a:lnTo>
                        <a:lnTo>
                          <a:pt x="17617" y="1425"/>
                        </a:lnTo>
                        <a:lnTo>
                          <a:pt x="17570" y="1458"/>
                        </a:lnTo>
                        <a:lnTo>
                          <a:pt x="17520" y="1458"/>
                        </a:lnTo>
                        <a:lnTo>
                          <a:pt x="17511" y="1446"/>
                        </a:lnTo>
                        <a:lnTo>
                          <a:pt x="17511" y="1446"/>
                        </a:lnTo>
                        <a:lnTo>
                          <a:pt x="17511" y="1446"/>
                        </a:lnTo>
                        <a:close/>
                        <a:moveTo>
                          <a:pt x="21791" y="1557"/>
                        </a:moveTo>
                        <a:lnTo>
                          <a:pt x="21775" y="1573"/>
                        </a:lnTo>
                        <a:lnTo>
                          <a:pt x="21720" y="1557"/>
                        </a:lnTo>
                        <a:lnTo>
                          <a:pt x="21775" y="1552"/>
                        </a:lnTo>
                        <a:lnTo>
                          <a:pt x="21791" y="1557"/>
                        </a:lnTo>
                        <a:lnTo>
                          <a:pt x="21791" y="1557"/>
                        </a:lnTo>
                        <a:lnTo>
                          <a:pt x="21791" y="1557"/>
                        </a:lnTo>
                        <a:close/>
                        <a:moveTo>
                          <a:pt x="15832" y="1630"/>
                        </a:moveTo>
                        <a:lnTo>
                          <a:pt x="15810" y="1602"/>
                        </a:lnTo>
                        <a:lnTo>
                          <a:pt x="15777" y="1585"/>
                        </a:lnTo>
                        <a:lnTo>
                          <a:pt x="15810" y="1573"/>
                        </a:lnTo>
                        <a:lnTo>
                          <a:pt x="15832" y="1590"/>
                        </a:lnTo>
                        <a:lnTo>
                          <a:pt x="15810" y="1573"/>
                        </a:lnTo>
                        <a:lnTo>
                          <a:pt x="15820" y="1590"/>
                        </a:lnTo>
                        <a:lnTo>
                          <a:pt x="15848" y="1590"/>
                        </a:lnTo>
                        <a:lnTo>
                          <a:pt x="15848" y="1607"/>
                        </a:lnTo>
                        <a:lnTo>
                          <a:pt x="15832" y="1614"/>
                        </a:lnTo>
                        <a:lnTo>
                          <a:pt x="15841" y="1630"/>
                        </a:lnTo>
                        <a:lnTo>
                          <a:pt x="15832" y="1630"/>
                        </a:lnTo>
                        <a:lnTo>
                          <a:pt x="15832" y="1630"/>
                        </a:lnTo>
                        <a:lnTo>
                          <a:pt x="15832" y="1630"/>
                        </a:lnTo>
                        <a:close/>
                        <a:moveTo>
                          <a:pt x="15848" y="1585"/>
                        </a:moveTo>
                        <a:lnTo>
                          <a:pt x="15841" y="1585"/>
                        </a:lnTo>
                        <a:lnTo>
                          <a:pt x="15858" y="1590"/>
                        </a:lnTo>
                        <a:lnTo>
                          <a:pt x="15848" y="1585"/>
                        </a:lnTo>
                        <a:lnTo>
                          <a:pt x="15848" y="1585"/>
                        </a:lnTo>
                        <a:lnTo>
                          <a:pt x="15848" y="1585"/>
                        </a:lnTo>
                        <a:close/>
                        <a:moveTo>
                          <a:pt x="23383" y="1656"/>
                        </a:moveTo>
                        <a:lnTo>
                          <a:pt x="23374" y="1647"/>
                        </a:lnTo>
                        <a:lnTo>
                          <a:pt x="23362" y="1640"/>
                        </a:lnTo>
                        <a:lnTo>
                          <a:pt x="23383" y="1656"/>
                        </a:lnTo>
                        <a:lnTo>
                          <a:pt x="23383" y="1656"/>
                        </a:lnTo>
                        <a:lnTo>
                          <a:pt x="23383" y="1656"/>
                        </a:lnTo>
                        <a:close/>
                        <a:moveTo>
                          <a:pt x="17941" y="1701"/>
                        </a:moveTo>
                        <a:lnTo>
                          <a:pt x="17948" y="1656"/>
                        </a:lnTo>
                        <a:lnTo>
                          <a:pt x="17953" y="1647"/>
                        </a:lnTo>
                        <a:lnTo>
                          <a:pt x="17969" y="1663"/>
                        </a:lnTo>
                        <a:lnTo>
                          <a:pt x="17953" y="1668"/>
                        </a:lnTo>
                        <a:lnTo>
                          <a:pt x="17953" y="1696"/>
                        </a:lnTo>
                        <a:lnTo>
                          <a:pt x="17941" y="1701"/>
                        </a:lnTo>
                        <a:lnTo>
                          <a:pt x="17941" y="1701"/>
                        </a:lnTo>
                        <a:lnTo>
                          <a:pt x="17941" y="1701"/>
                        </a:lnTo>
                        <a:close/>
                        <a:moveTo>
                          <a:pt x="16117" y="1696"/>
                        </a:moveTo>
                        <a:lnTo>
                          <a:pt x="16101" y="1680"/>
                        </a:lnTo>
                        <a:lnTo>
                          <a:pt x="16127" y="1684"/>
                        </a:lnTo>
                        <a:lnTo>
                          <a:pt x="16117" y="1696"/>
                        </a:lnTo>
                        <a:lnTo>
                          <a:pt x="16117" y="1696"/>
                        </a:lnTo>
                        <a:lnTo>
                          <a:pt x="16117" y="1696"/>
                        </a:lnTo>
                        <a:close/>
                        <a:moveTo>
                          <a:pt x="17979" y="1701"/>
                        </a:moveTo>
                        <a:lnTo>
                          <a:pt x="17965" y="1713"/>
                        </a:lnTo>
                        <a:lnTo>
                          <a:pt x="17979" y="1684"/>
                        </a:lnTo>
                        <a:lnTo>
                          <a:pt x="17979" y="1696"/>
                        </a:lnTo>
                        <a:lnTo>
                          <a:pt x="17979" y="1701"/>
                        </a:lnTo>
                        <a:lnTo>
                          <a:pt x="17979" y="1701"/>
                        </a:lnTo>
                        <a:lnTo>
                          <a:pt x="17979" y="1701"/>
                        </a:lnTo>
                        <a:close/>
                        <a:moveTo>
                          <a:pt x="16316" y="1795"/>
                        </a:moveTo>
                        <a:lnTo>
                          <a:pt x="16295" y="1795"/>
                        </a:lnTo>
                        <a:lnTo>
                          <a:pt x="16290" y="1791"/>
                        </a:lnTo>
                        <a:lnTo>
                          <a:pt x="16295" y="1779"/>
                        </a:lnTo>
                        <a:lnTo>
                          <a:pt x="16278" y="1774"/>
                        </a:lnTo>
                        <a:lnTo>
                          <a:pt x="16252" y="1767"/>
                        </a:lnTo>
                        <a:lnTo>
                          <a:pt x="16264" y="1774"/>
                        </a:lnTo>
                        <a:lnTo>
                          <a:pt x="16257" y="1774"/>
                        </a:lnTo>
                        <a:lnTo>
                          <a:pt x="16226" y="1751"/>
                        </a:lnTo>
                        <a:lnTo>
                          <a:pt x="16226" y="1734"/>
                        </a:lnTo>
                        <a:lnTo>
                          <a:pt x="16209" y="1722"/>
                        </a:lnTo>
                        <a:lnTo>
                          <a:pt x="16240" y="1734"/>
                        </a:lnTo>
                        <a:lnTo>
                          <a:pt x="16226" y="1718"/>
                        </a:lnTo>
                        <a:lnTo>
                          <a:pt x="16257" y="1696"/>
                        </a:lnTo>
                        <a:lnTo>
                          <a:pt x="16349" y="1767"/>
                        </a:lnTo>
                        <a:lnTo>
                          <a:pt x="16361" y="1779"/>
                        </a:lnTo>
                        <a:lnTo>
                          <a:pt x="16316" y="1795"/>
                        </a:lnTo>
                        <a:lnTo>
                          <a:pt x="16316" y="1795"/>
                        </a:lnTo>
                        <a:lnTo>
                          <a:pt x="16316" y="1795"/>
                        </a:lnTo>
                        <a:close/>
                        <a:moveTo>
                          <a:pt x="17927" y="1734"/>
                        </a:moveTo>
                        <a:lnTo>
                          <a:pt x="17932" y="1722"/>
                        </a:lnTo>
                        <a:lnTo>
                          <a:pt x="17948" y="1739"/>
                        </a:lnTo>
                        <a:lnTo>
                          <a:pt x="17927" y="1734"/>
                        </a:lnTo>
                        <a:lnTo>
                          <a:pt x="17927" y="1734"/>
                        </a:lnTo>
                        <a:lnTo>
                          <a:pt x="17927" y="1734"/>
                        </a:lnTo>
                        <a:close/>
                        <a:moveTo>
                          <a:pt x="23995" y="1791"/>
                        </a:moveTo>
                        <a:lnTo>
                          <a:pt x="23988" y="1791"/>
                        </a:lnTo>
                        <a:lnTo>
                          <a:pt x="23988" y="1807"/>
                        </a:lnTo>
                        <a:lnTo>
                          <a:pt x="23979" y="1812"/>
                        </a:lnTo>
                        <a:lnTo>
                          <a:pt x="23957" y="1812"/>
                        </a:lnTo>
                        <a:lnTo>
                          <a:pt x="23882" y="1779"/>
                        </a:lnTo>
                        <a:lnTo>
                          <a:pt x="23920" y="1758"/>
                        </a:lnTo>
                        <a:lnTo>
                          <a:pt x="23995" y="1774"/>
                        </a:lnTo>
                        <a:lnTo>
                          <a:pt x="23995" y="1791"/>
                        </a:lnTo>
                        <a:lnTo>
                          <a:pt x="23995" y="1791"/>
                        </a:lnTo>
                        <a:lnTo>
                          <a:pt x="23995" y="1791"/>
                        </a:lnTo>
                        <a:close/>
                        <a:moveTo>
                          <a:pt x="24050" y="1795"/>
                        </a:moveTo>
                        <a:lnTo>
                          <a:pt x="24033" y="1791"/>
                        </a:lnTo>
                        <a:lnTo>
                          <a:pt x="24050" y="1779"/>
                        </a:lnTo>
                        <a:lnTo>
                          <a:pt x="24050" y="1795"/>
                        </a:lnTo>
                        <a:lnTo>
                          <a:pt x="24050" y="1795"/>
                        </a:lnTo>
                        <a:lnTo>
                          <a:pt x="24050" y="1795"/>
                        </a:lnTo>
                        <a:close/>
                        <a:moveTo>
                          <a:pt x="23433" y="1833"/>
                        </a:moveTo>
                        <a:lnTo>
                          <a:pt x="23433" y="1812"/>
                        </a:lnTo>
                        <a:lnTo>
                          <a:pt x="23450" y="1812"/>
                        </a:lnTo>
                        <a:lnTo>
                          <a:pt x="23450" y="1829"/>
                        </a:lnTo>
                        <a:lnTo>
                          <a:pt x="23433" y="1833"/>
                        </a:lnTo>
                        <a:lnTo>
                          <a:pt x="23433" y="1833"/>
                        </a:lnTo>
                        <a:lnTo>
                          <a:pt x="23433" y="1833"/>
                        </a:lnTo>
                        <a:close/>
                        <a:moveTo>
                          <a:pt x="16814" y="1824"/>
                        </a:moveTo>
                        <a:lnTo>
                          <a:pt x="16835" y="1812"/>
                        </a:lnTo>
                        <a:lnTo>
                          <a:pt x="16831" y="1829"/>
                        </a:lnTo>
                        <a:lnTo>
                          <a:pt x="16814" y="1824"/>
                        </a:lnTo>
                        <a:lnTo>
                          <a:pt x="16814" y="1824"/>
                        </a:lnTo>
                        <a:lnTo>
                          <a:pt x="16814" y="1824"/>
                        </a:lnTo>
                        <a:close/>
                        <a:moveTo>
                          <a:pt x="23433" y="1902"/>
                        </a:moveTo>
                        <a:lnTo>
                          <a:pt x="23438" y="1885"/>
                        </a:lnTo>
                        <a:lnTo>
                          <a:pt x="23416" y="1878"/>
                        </a:lnTo>
                        <a:lnTo>
                          <a:pt x="23416" y="1845"/>
                        </a:lnTo>
                        <a:lnTo>
                          <a:pt x="23412" y="1833"/>
                        </a:lnTo>
                        <a:lnTo>
                          <a:pt x="23416" y="1829"/>
                        </a:lnTo>
                        <a:lnTo>
                          <a:pt x="23433" y="1824"/>
                        </a:lnTo>
                        <a:lnTo>
                          <a:pt x="23428" y="1829"/>
                        </a:lnTo>
                        <a:lnTo>
                          <a:pt x="23433" y="1833"/>
                        </a:lnTo>
                        <a:lnTo>
                          <a:pt x="23433" y="1850"/>
                        </a:lnTo>
                        <a:lnTo>
                          <a:pt x="23438" y="1890"/>
                        </a:lnTo>
                        <a:lnTo>
                          <a:pt x="23433" y="1902"/>
                        </a:lnTo>
                        <a:lnTo>
                          <a:pt x="23433" y="1902"/>
                        </a:lnTo>
                        <a:lnTo>
                          <a:pt x="23433" y="1902"/>
                        </a:lnTo>
                        <a:close/>
                        <a:moveTo>
                          <a:pt x="15496" y="1878"/>
                        </a:moveTo>
                        <a:lnTo>
                          <a:pt x="15508" y="1845"/>
                        </a:lnTo>
                        <a:lnTo>
                          <a:pt x="15555" y="1824"/>
                        </a:lnTo>
                        <a:lnTo>
                          <a:pt x="15631" y="1850"/>
                        </a:lnTo>
                        <a:lnTo>
                          <a:pt x="15647" y="1866"/>
                        </a:lnTo>
                        <a:lnTo>
                          <a:pt x="15631" y="1885"/>
                        </a:lnTo>
                        <a:lnTo>
                          <a:pt x="15643" y="1866"/>
                        </a:lnTo>
                        <a:lnTo>
                          <a:pt x="15631" y="1866"/>
                        </a:lnTo>
                        <a:lnTo>
                          <a:pt x="15588" y="1906"/>
                        </a:lnTo>
                        <a:lnTo>
                          <a:pt x="15534" y="1923"/>
                        </a:lnTo>
                        <a:lnTo>
                          <a:pt x="15496" y="1902"/>
                        </a:lnTo>
                        <a:lnTo>
                          <a:pt x="15496" y="1878"/>
                        </a:lnTo>
                        <a:lnTo>
                          <a:pt x="15496" y="1878"/>
                        </a:lnTo>
                        <a:lnTo>
                          <a:pt x="15496" y="1878"/>
                        </a:lnTo>
                        <a:close/>
                        <a:moveTo>
                          <a:pt x="16814" y="1833"/>
                        </a:moveTo>
                        <a:lnTo>
                          <a:pt x="16814" y="1829"/>
                        </a:lnTo>
                        <a:lnTo>
                          <a:pt x="16831" y="1833"/>
                        </a:lnTo>
                        <a:lnTo>
                          <a:pt x="16814" y="1833"/>
                        </a:lnTo>
                        <a:lnTo>
                          <a:pt x="16814" y="1833"/>
                        </a:lnTo>
                        <a:lnTo>
                          <a:pt x="16814" y="1833"/>
                        </a:lnTo>
                        <a:close/>
                        <a:moveTo>
                          <a:pt x="14513" y="1833"/>
                        </a:moveTo>
                        <a:lnTo>
                          <a:pt x="14530" y="1845"/>
                        </a:lnTo>
                        <a:lnTo>
                          <a:pt x="14497" y="1833"/>
                        </a:lnTo>
                        <a:lnTo>
                          <a:pt x="14513" y="1833"/>
                        </a:lnTo>
                        <a:lnTo>
                          <a:pt x="14513" y="1833"/>
                        </a:lnTo>
                        <a:lnTo>
                          <a:pt x="14513" y="1833"/>
                        </a:lnTo>
                        <a:close/>
                        <a:moveTo>
                          <a:pt x="16273" y="1866"/>
                        </a:moveTo>
                        <a:lnTo>
                          <a:pt x="16235" y="1845"/>
                        </a:lnTo>
                        <a:lnTo>
                          <a:pt x="16264" y="1850"/>
                        </a:lnTo>
                        <a:lnTo>
                          <a:pt x="16273" y="1866"/>
                        </a:lnTo>
                        <a:lnTo>
                          <a:pt x="16273" y="1866"/>
                        </a:lnTo>
                        <a:lnTo>
                          <a:pt x="16273" y="1866"/>
                        </a:lnTo>
                        <a:close/>
                        <a:moveTo>
                          <a:pt x="16134" y="1918"/>
                        </a:moveTo>
                        <a:lnTo>
                          <a:pt x="16181" y="1906"/>
                        </a:lnTo>
                        <a:lnTo>
                          <a:pt x="16127" y="1923"/>
                        </a:lnTo>
                        <a:lnTo>
                          <a:pt x="16134" y="1918"/>
                        </a:lnTo>
                        <a:lnTo>
                          <a:pt x="16134" y="1918"/>
                        </a:lnTo>
                        <a:lnTo>
                          <a:pt x="16134" y="1918"/>
                        </a:lnTo>
                        <a:close/>
                        <a:moveTo>
                          <a:pt x="17013" y="2195"/>
                        </a:moveTo>
                        <a:lnTo>
                          <a:pt x="16982" y="2162"/>
                        </a:lnTo>
                        <a:lnTo>
                          <a:pt x="16958" y="2162"/>
                        </a:lnTo>
                        <a:lnTo>
                          <a:pt x="17029" y="2166"/>
                        </a:lnTo>
                        <a:lnTo>
                          <a:pt x="17029" y="2195"/>
                        </a:lnTo>
                        <a:lnTo>
                          <a:pt x="17013" y="2195"/>
                        </a:lnTo>
                        <a:lnTo>
                          <a:pt x="17013" y="2195"/>
                        </a:lnTo>
                        <a:lnTo>
                          <a:pt x="17013" y="2195"/>
                        </a:lnTo>
                        <a:close/>
                        <a:moveTo>
                          <a:pt x="15102" y="2162"/>
                        </a:moveTo>
                        <a:lnTo>
                          <a:pt x="15106" y="2166"/>
                        </a:lnTo>
                        <a:lnTo>
                          <a:pt x="15092" y="2162"/>
                        </a:lnTo>
                        <a:lnTo>
                          <a:pt x="15102" y="2162"/>
                        </a:lnTo>
                        <a:lnTo>
                          <a:pt x="15102" y="2162"/>
                        </a:lnTo>
                        <a:lnTo>
                          <a:pt x="15102" y="2162"/>
                        </a:lnTo>
                        <a:close/>
                        <a:moveTo>
                          <a:pt x="16975" y="2166"/>
                        </a:moveTo>
                        <a:lnTo>
                          <a:pt x="16975" y="2178"/>
                        </a:lnTo>
                        <a:lnTo>
                          <a:pt x="16975" y="2166"/>
                        </a:lnTo>
                        <a:lnTo>
                          <a:pt x="16975" y="2166"/>
                        </a:lnTo>
                        <a:lnTo>
                          <a:pt x="16975" y="2166"/>
                        </a:lnTo>
                        <a:close/>
                        <a:moveTo>
                          <a:pt x="253" y="2277"/>
                        </a:moveTo>
                        <a:lnTo>
                          <a:pt x="253" y="2273"/>
                        </a:lnTo>
                        <a:lnTo>
                          <a:pt x="265" y="2273"/>
                        </a:lnTo>
                        <a:lnTo>
                          <a:pt x="253" y="2277"/>
                        </a:lnTo>
                        <a:lnTo>
                          <a:pt x="253" y="2277"/>
                        </a:lnTo>
                        <a:lnTo>
                          <a:pt x="253" y="2277"/>
                        </a:lnTo>
                        <a:close/>
                        <a:moveTo>
                          <a:pt x="14632" y="2351"/>
                        </a:moveTo>
                        <a:lnTo>
                          <a:pt x="14632" y="2367"/>
                        </a:lnTo>
                        <a:lnTo>
                          <a:pt x="14622" y="2377"/>
                        </a:lnTo>
                        <a:lnTo>
                          <a:pt x="14606" y="2351"/>
                        </a:lnTo>
                        <a:lnTo>
                          <a:pt x="14632" y="2351"/>
                        </a:lnTo>
                        <a:lnTo>
                          <a:pt x="14632" y="2351"/>
                        </a:lnTo>
                        <a:lnTo>
                          <a:pt x="14632" y="2351"/>
                        </a:lnTo>
                        <a:close/>
                        <a:moveTo>
                          <a:pt x="0" y="2400"/>
                        </a:moveTo>
                        <a:lnTo>
                          <a:pt x="17" y="2384"/>
                        </a:lnTo>
                        <a:lnTo>
                          <a:pt x="38" y="2400"/>
                        </a:lnTo>
                        <a:lnTo>
                          <a:pt x="0" y="2400"/>
                        </a:lnTo>
                        <a:lnTo>
                          <a:pt x="0" y="2400"/>
                        </a:lnTo>
                        <a:lnTo>
                          <a:pt x="0" y="2400"/>
                        </a:lnTo>
                        <a:close/>
                        <a:moveTo>
                          <a:pt x="14946" y="2400"/>
                        </a:moveTo>
                        <a:lnTo>
                          <a:pt x="14955" y="2421"/>
                        </a:lnTo>
                        <a:lnTo>
                          <a:pt x="14913" y="2405"/>
                        </a:lnTo>
                        <a:lnTo>
                          <a:pt x="14941" y="2417"/>
                        </a:lnTo>
                        <a:lnTo>
                          <a:pt x="14929" y="2400"/>
                        </a:lnTo>
                        <a:lnTo>
                          <a:pt x="14946" y="2400"/>
                        </a:lnTo>
                        <a:lnTo>
                          <a:pt x="14946" y="2400"/>
                        </a:lnTo>
                        <a:lnTo>
                          <a:pt x="14946" y="2400"/>
                        </a:lnTo>
                        <a:close/>
                        <a:moveTo>
                          <a:pt x="14639" y="2438"/>
                        </a:moveTo>
                        <a:lnTo>
                          <a:pt x="14643" y="2445"/>
                        </a:lnTo>
                        <a:lnTo>
                          <a:pt x="14632" y="2438"/>
                        </a:lnTo>
                        <a:lnTo>
                          <a:pt x="14639" y="2438"/>
                        </a:lnTo>
                        <a:lnTo>
                          <a:pt x="14639" y="2438"/>
                        </a:lnTo>
                        <a:lnTo>
                          <a:pt x="14639" y="2438"/>
                        </a:lnTo>
                        <a:close/>
                        <a:moveTo>
                          <a:pt x="14119" y="2899"/>
                        </a:moveTo>
                        <a:lnTo>
                          <a:pt x="14131" y="2899"/>
                        </a:lnTo>
                        <a:lnTo>
                          <a:pt x="14119" y="2887"/>
                        </a:lnTo>
                        <a:lnTo>
                          <a:pt x="14119" y="2899"/>
                        </a:lnTo>
                        <a:lnTo>
                          <a:pt x="14119" y="2899"/>
                        </a:lnTo>
                        <a:lnTo>
                          <a:pt x="14119" y="2899"/>
                        </a:lnTo>
                        <a:close/>
                        <a:moveTo>
                          <a:pt x="23572" y="3088"/>
                        </a:moveTo>
                        <a:lnTo>
                          <a:pt x="23596" y="3064"/>
                        </a:lnTo>
                        <a:lnTo>
                          <a:pt x="23610" y="3043"/>
                        </a:lnTo>
                        <a:lnTo>
                          <a:pt x="23596" y="3031"/>
                        </a:lnTo>
                        <a:lnTo>
                          <a:pt x="23655" y="3014"/>
                        </a:lnTo>
                        <a:lnTo>
                          <a:pt x="23665" y="3031"/>
                        </a:lnTo>
                        <a:lnTo>
                          <a:pt x="23665" y="3047"/>
                        </a:lnTo>
                        <a:lnTo>
                          <a:pt x="23627" y="3059"/>
                        </a:lnTo>
                        <a:lnTo>
                          <a:pt x="23579" y="3099"/>
                        </a:lnTo>
                        <a:lnTo>
                          <a:pt x="23572" y="3088"/>
                        </a:lnTo>
                        <a:lnTo>
                          <a:pt x="23572" y="3088"/>
                        </a:lnTo>
                        <a:lnTo>
                          <a:pt x="23572" y="3088"/>
                        </a:lnTo>
                        <a:close/>
                        <a:moveTo>
                          <a:pt x="22665" y="3031"/>
                        </a:moveTo>
                        <a:lnTo>
                          <a:pt x="22682" y="3026"/>
                        </a:lnTo>
                        <a:lnTo>
                          <a:pt x="22665" y="3031"/>
                        </a:lnTo>
                        <a:lnTo>
                          <a:pt x="22665" y="3031"/>
                        </a:lnTo>
                        <a:lnTo>
                          <a:pt x="22665" y="3031"/>
                        </a:lnTo>
                        <a:close/>
                        <a:moveTo>
                          <a:pt x="23773" y="3421"/>
                        </a:moveTo>
                        <a:lnTo>
                          <a:pt x="23773" y="3437"/>
                        </a:lnTo>
                        <a:lnTo>
                          <a:pt x="23806" y="3470"/>
                        </a:lnTo>
                        <a:lnTo>
                          <a:pt x="23806" y="3487"/>
                        </a:lnTo>
                        <a:lnTo>
                          <a:pt x="23778" y="3470"/>
                        </a:lnTo>
                        <a:lnTo>
                          <a:pt x="23752" y="3421"/>
                        </a:lnTo>
                        <a:lnTo>
                          <a:pt x="23773" y="3421"/>
                        </a:lnTo>
                        <a:lnTo>
                          <a:pt x="23773" y="3421"/>
                        </a:lnTo>
                        <a:lnTo>
                          <a:pt x="23773" y="3421"/>
                        </a:lnTo>
                        <a:close/>
                        <a:moveTo>
                          <a:pt x="13606" y="3430"/>
                        </a:moveTo>
                        <a:lnTo>
                          <a:pt x="13611" y="3421"/>
                        </a:lnTo>
                        <a:lnTo>
                          <a:pt x="13665" y="3447"/>
                        </a:lnTo>
                        <a:lnTo>
                          <a:pt x="13699" y="3447"/>
                        </a:lnTo>
                        <a:lnTo>
                          <a:pt x="13720" y="3470"/>
                        </a:lnTo>
                        <a:lnTo>
                          <a:pt x="13715" y="3487"/>
                        </a:lnTo>
                        <a:lnTo>
                          <a:pt x="13703" y="3503"/>
                        </a:lnTo>
                        <a:lnTo>
                          <a:pt x="13715" y="3515"/>
                        </a:lnTo>
                        <a:lnTo>
                          <a:pt x="13618" y="3515"/>
                        </a:lnTo>
                        <a:lnTo>
                          <a:pt x="13505" y="3508"/>
                        </a:lnTo>
                        <a:lnTo>
                          <a:pt x="13552" y="3487"/>
                        </a:lnTo>
                        <a:lnTo>
                          <a:pt x="13526" y="3487"/>
                        </a:lnTo>
                        <a:lnTo>
                          <a:pt x="13519" y="3475"/>
                        </a:lnTo>
                        <a:lnTo>
                          <a:pt x="13510" y="3487"/>
                        </a:lnTo>
                        <a:lnTo>
                          <a:pt x="13519" y="3454"/>
                        </a:lnTo>
                        <a:lnTo>
                          <a:pt x="13552" y="3454"/>
                        </a:lnTo>
                        <a:lnTo>
                          <a:pt x="13580" y="3421"/>
                        </a:lnTo>
                        <a:lnTo>
                          <a:pt x="13590" y="3421"/>
                        </a:lnTo>
                        <a:lnTo>
                          <a:pt x="13557" y="3454"/>
                        </a:lnTo>
                        <a:lnTo>
                          <a:pt x="13606" y="3458"/>
                        </a:lnTo>
                        <a:lnTo>
                          <a:pt x="13606" y="3437"/>
                        </a:lnTo>
                        <a:lnTo>
                          <a:pt x="13606" y="3430"/>
                        </a:lnTo>
                        <a:lnTo>
                          <a:pt x="13606" y="3430"/>
                        </a:lnTo>
                        <a:lnTo>
                          <a:pt x="13606" y="3430"/>
                        </a:lnTo>
                        <a:close/>
                        <a:moveTo>
                          <a:pt x="21744" y="3475"/>
                        </a:moveTo>
                        <a:lnTo>
                          <a:pt x="21765" y="3430"/>
                        </a:lnTo>
                        <a:lnTo>
                          <a:pt x="21803" y="3447"/>
                        </a:lnTo>
                        <a:lnTo>
                          <a:pt x="21775" y="3491"/>
                        </a:lnTo>
                        <a:lnTo>
                          <a:pt x="21758" y="3458"/>
                        </a:lnTo>
                        <a:lnTo>
                          <a:pt x="21744" y="3475"/>
                        </a:lnTo>
                        <a:lnTo>
                          <a:pt x="21744" y="3475"/>
                        </a:lnTo>
                        <a:lnTo>
                          <a:pt x="21744" y="3475"/>
                        </a:lnTo>
                        <a:close/>
                        <a:moveTo>
                          <a:pt x="21694" y="3458"/>
                        </a:moveTo>
                        <a:lnTo>
                          <a:pt x="21737" y="3437"/>
                        </a:lnTo>
                        <a:lnTo>
                          <a:pt x="21728" y="3458"/>
                        </a:lnTo>
                        <a:lnTo>
                          <a:pt x="21694" y="3458"/>
                        </a:lnTo>
                        <a:lnTo>
                          <a:pt x="21694" y="3458"/>
                        </a:lnTo>
                        <a:lnTo>
                          <a:pt x="21694" y="3458"/>
                        </a:lnTo>
                        <a:close/>
                        <a:moveTo>
                          <a:pt x="13498" y="3508"/>
                        </a:moveTo>
                        <a:lnTo>
                          <a:pt x="13488" y="3503"/>
                        </a:lnTo>
                        <a:lnTo>
                          <a:pt x="13510" y="3487"/>
                        </a:lnTo>
                        <a:lnTo>
                          <a:pt x="13498" y="3508"/>
                        </a:lnTo>
                        <a:lnTo>
                          <a:pt x="13498" y="3508"/>
                        </a:lnTo>
                        <a:lnTo>
                          <a:pt x="13498" y="3508"/>
                        </a:lnTo>
                        <a:close/>
                        <a:moveTo>
                          <a:pt x="21765" y="3508"/>
                        </a:moveTo>
                        <a:lnTo>
                          <a:pt x="21758" y="3503"/>
                        </a:lnTo>
                        <a:lnTo>
                          <a:pt x="21765" y="3491"/>
                        </a:lnTo>
                        <a:lnTo>
                          <a:pt x="21765" y="3508"/>
                        </a:lnTo>
                        <a:lnTo>
                          <a:pt x="21765" y="3508"/>
                        </a:lnTo>
                        <a:lnTo>
                          <a:pt x="21765" y="3508"/>
                        </a:lnTo>
                        <a:close/>
                        <a:moveTo>
                          <a:pt x="22072" y="4080"/>
                        </a:moveTo>
                        <a:lnTo>
                          <a:pt x="22068" y="4058"/>
                        </a:lnTo>
                        <a:lnTo>
                          <a:pt x="22072" y="4030"/>
                        </a:lnTo>
                        <a:lnTo>
                          <a:pt x="22084" y="3973"/>
                        </a:lnTo>
                        <a:lnTo>
                          <a:pt x="22084" y="3903"/>
                        </a:lnTo>
                        <a:lnTo>
                          <a:pt x="22072" y="3891"/>
                        </a:lnTo>
                        <a:lnTo>
                          <a:pt x="22089" y="3825"/>
                        </a:lnTo>
                        <a:lnTo>
                          <a:pt x="22084" y="3791"/>
                        </a:lnTo>
                        <a:lnTo>
                          <a:pt x="22051" y="3751"/>
                        </a:lnTo>
                        <a:lnTo>
                          <a:pt x="22051" y="3714"/>
                        </a:lnTo>
                        <a:lnTo>
                          <a:pt x="22061" y="3692"/>
                        </a:lnTo>
                        <a:lnTo>
                          <a:pt x="22068" y="3643"/>
                        </a:lnTo>
                        <a:lnTo>
                          <a:pt x="22061" y="3614"/>
                        </a:lnTo>
                        <a:lnTo>
                          <a:pt x="22089" y="3598"/>
                        </a:lnTo>
                        <a:lnTo>
                          <a:pt x="22089" y="3614"/>
                        </a:lnTo>
                        <a:lnTo>
                          <a:pt x="22105" y="3614"/>
                        </a:lnTo>
                        <a:lnTo>
                          <a:pt x="22122" y="3598"/>
                        </a:lnTo>
                        <a:lnTo>
                          <a:pt x="22115" y="3598"/>
                        </a:lnTo>
                        <a:lnTo>
                          <a:pt x="22105" y="3581"/>
                        </a:lnTo>
                        <a:lnTo>
                          <a:pt x="22122" y="3586"/>
                        </a:lnTo>
                        <a:lnTo>
                          <a:pt x="22127" y="3581"/>
                        </a:lnTo>
                        <a:lnTo>
                          <a:pt x="22127" y="3565"/>
                        </a:lnTo>
                        <a:lnTo>
                          <a:pt x="22115" y="3581"/>
                        </a:lnTo>
                        <a:lnTo>
                          <a:pt x="22122" y="3558"/>
                        </a:lnTo>
                        <a:lnTo>
                          <a:pt x="22098" y="3525"/>
                        </a:lnTo>
                        <a:lnTo>
                          <a:pt x="22122" y="3525"/>
                        </a:lnTo>
                        <a:lnTo>
                          <a:pt x="22122" y="3508"/>
                        </a:lnTo>
                        <a:lnTo>
                          <a:pt x="22143" y="3541"/>
                        </a:lnTo>
                        <a:lnTo>
                          <a:pt x="22136" y="3569"/>
                        </a:lnTo>
                        <a:lnTo>
                          <a:pt x="22153" y="3598"/>
                        </a:lnTo>
                        <a:lnTo>
                          <a:pt x="22153" y="3614"/>
                        </a:lnTo>
                        <a:lnTo>
                          <a:pt x="22160" y="3619"/>
                        </a:lnTo>
                        <a:lnTo>
                          <a:pt x="22169" y="3659"/>
                        </a:lnTo>
                        <a:lnTo>
                          <a:pt x="22169" y="3697"/>
                        </a:lnTo>
                        <a:lnTo>
                          <a:pt x="22160" y="3714"/>
                        </a:lnTo>
                        <a:lnTo>
                          <a:pt x="22160" y="3692"/>
                        </a:lnTo>
                        <a:lnTo>
                          <a:pt x="22153" y="3709"/>
                        </a:lnTo>
                        <a:lnTo>
                          <a:pt x="22153" y="3747"/>
                        </a:lnTo>
                        <a:lnTo>
                          <a:pt x="22169" y="3768"/>
                        </a:lnTo>
                        <a:lnTo>
                          <a:pt x="22160" y="3791"/>
                        </a:lnTo>
                        <a:lnTo>
                          <a:pt x="22169" y="3791"/>
                        </a:lnTo>
                        <a:lnTo>
                          <a:pt x="22169" y="3780"/>
                        </a:lnTo>
                        <a:lnTo>
                          <a:pt x="22174" y="3808"/>
                        </a:lnTo>
                        <a:lnTo>
                          <a:pt x="22169" y="3808"/>
                        </a:lnTo>
                        <a:lnTo>
                          <a:pt x="22181" y="3820"/>
                        </a:lnTo>
                        <a:lnTo>
                          <a:pt x="22198" y="3903"/>
                        </a:lnTo>
                        <a:lnTo>
                          <a:pt x="22212" y="3936"/>
                        </a:lnTo>
                        <a:lnTo>
                          <a:pt x="22245" y="4023"/>
                        </a:lnTo>
                        <a:lnTo>
                          <a:pt x="22261" y="4040"/>
                        </a:lnTo>
                        <a:lnTo>
                          <a:pt x="22266" y="4063"/>
                        </a:lnTo>
                        <a:lnTo>
                          <a:pt x="22245" y="4030"/>
                        </a:lnTo>
                        <a:lnTo>
                          <a:pt x="22212" y="4006"/>
                        </a:lnTo>
                        <a:lnTo>
                          <a:pt x="22169" y="3990"/>
                        </a:lnTo>
                        <a:lnTo>
                          <a:pt x="22169" y="4002"/>
                        </a:lnTo>
                        <a:lnTo>
                          <a:pt x="22191" y="4002"/>
                        </a:lnTo>
                        <a:lnTo>
                          <a:pt x="22160" y="4006"/>
                        </a:lnTo>
                        <a:lnTo>
                          <a:pt x="22143" y="4023"/>
                        </a:lnTo>
                        <a:lnTo>
                          <a:pt x="22143" y="4040"/>
                        </a:lnTo>
                        <a:lnTo>
                          <a:pt x="22115" y="4117"/>
                        </a:lnTo>
                        <a:lnTo>
                          <a:pt x="22115" y="4141"/>
                        </a:lnTo>
                        <a:lnTo>
                          <a:pt x="22122" y="4158"/>
                        </a:lnTo>
                        <a:lnTo>
                          <a:pt x="22143" y="4191"/>
                        </a:lnTo>
                        <a:lnTo>
                          <a:pt x="22160" y="4236"/>
                        </a:lnTo>
                        <a:lnTo>
                          <a:pt x="22169" y="4245"/>
                        </a:lnTo>
                        <a:lnTo>
                          <a:pt x="22169" y="4228"/>
                        </a:lnTo>
                        <a:lnTo>
                          <a:pt x="22174" y="4228"/>
                        </a:lnTo>
                        <a:lnTo>
                          <a:pt x="22181" y="4269"/>
                        </a:lnTo>
                        <a:lnTo>
                          <a:pt x="22174" y="4302"/>
                        </a:lnTo>
                        <a:lnTo>
                          <a:pt x="22169" y="4252"/>
                        </a:lnTo>
                        <a:lnTo>
                          <a:pt x="22127" y="4252"/>
                        </a:lnTo>
                        <a:lnTo>
                          <a:pt x="22122" y="4236"/>
                        </a:lnTo>
                        <a:lnTo>
                          <a:pt x="22105" y="4252"/>
                        </a:lnTo>
                        <a:lnTo>
                          <a:pt x="22084" y="4306"/>
                        </a:lnTo>
                        <a:lnTo>
                          <a:pt x="22068" y="4302"/>
                        </a:lnTo>
                        <a:lnTo>
                          <a:pt x="22061" y="4252"/>
                        </a:lnTo>
                        <a:lnTo>
                          <a:pt x="22072" y="4207"/>
                        </a:lnTo>
                        <a:lnTo>
                          <a:pt x="22072" y="4158"/>
                        </a:lnTo>
                        <a:lnTo>
                          <a:pt x="22089" y="4125"/>
                        </a:lnTo>
                        <a:lnTo>
                          <a:pt x="22084" y="4096"/>
                        </a:lnTo>
                        <a:lnTo>
                          <a:pt x="22072" y="4080"/>
                        </a:lnTo>
                        <a:lnTo>
                          <a:pt x="22072" y="4080"/>
                        </a:lnTo>
                        <a:lnTo>
                          <a:pt x="22072" y="4080"/>
                        </a:lnTo>
                        <a:close/>
                        <a:moveTo>
                          <a:pt x="23017" y="3846"/>
                        </a:moveTo>
                        <a:lnTo>
                          <a:pt x="23022" y="3846"/>
                        </a:lnTo>
                        <a:lnTo>
                          <a:pt x="23034" y="3858"/>
                        </a:lnTo>
                        <a:lnTo>
                          <a:pt x="23022" y="3858"/>
                        </a:lnTo>
                        <a:lnTo>
                          <a:pt x="23017" y="3846"/>
                        </a:lnTo>
                        <a:lnTo>
                          <a:pt x="23017" y="3846"/>
                        </a:lnTo>
                        <a:lnTo>
                          <a:pt x="23017" y="3846"/>
                        </a:lnTo>
                        <a:close/>
                        <a:moveTo>
                          <a:pt x="23088" y="3874"/>
                        </a:moveTo>
                        <a:lnTo>
                          <a:pt x="23072" y="3874"/>
                        </a:lnTo>
                        <a:lnTo>
                          <a:pt x="23072" y="3862"/>
                        </a:lnTo>
                        <a:lnTo>
                          <a:pt x="23088" y="3858"/>
                        </a:lnTo>
                        <a:lnTo>
                          <a:pt x="23088" y="3874"/>
                        </a:lnTo>
                        <a:lnTo>
                          <a:pt x="23088" y="3874"/>
                        </a:lnTo>
                        <a:lnTo>
                          <a:pt x="23088" y="3874"/>
                        </a:lnTo>
                        <a:close/>
                        <a:moveTo>
                          <a:pt x="23001" y="3931"/>
                        </a:moveTo>
                        <a:lnTo>
                          <a:pt x="23001" y="3903"/>
                        </a:lnTo>
                        <a:lnTo>
                          <a:pt x="23034" y="3895"/>
                        </a:lnTo>
                        <a:lnTo>
                          <a:pt x="23050" y="3874"/>
                        </a:lnTo>
                        <a:lnTo>
                          <a:pt x="23060" y="3862"/>
                        </a:lnTo>
                        <a:lnTo>
                          <a:pt x="23072" y="3891"/>
                        </a:lnTo>
                        <a:lnTo>
                          <a:pt x="23050" y="3914"/>
                        </a:lnTo>
                        <a:lnTo>
                          <a:pt x="23001" y="3931"/>
                        </a:lnTo>
                        <a:lnTo>
                          <a:pt x="23001" y="3931"/>
                        </a:lnTo>
                        <a:lnTo>
                          <a:pt x="23001" y="3931"/>
                        </a:lnTo>
                        <a:close/>
                        <a:moveTo>
                          <a:pt x="22946" y="3957"/>
                        </a:moveTo>
                        <a:lnTo>
                          <a:pt x="22946" y="3952"/>
                        </a:lnTo>
                        <a:lnTo>
                          <a:pt x="22946" y="3957"/>
                        </a:lnTo>
                        <a:lnTo>
                          <a:pt x="22946" y="3957"/>
                        </a:lnTo>
                        <a:lnTo>
                          <a:pt x="22946" y="3957"/>
                        </a:lnTo>
                        <a:close/>
                        <a:moveTo>
                          <a:pt x="22953" y="4002"/>
                        </a:moveTo>
                        <a:lnTo>
                          <a:pt x="22968" y="3973"/>
                        </a:lnTo>
                        <a:lnTo>
                          <a:pt x="22979" y="3969"/>
                        </a:lnTo>
                        <a:lnTo>
                          <a:pt x="22968" y="3990"/>
                        </a:lnTo>
                        <a:lnTo>
                          <a:pt x="22968" y="4002"/>
                        </a:lnTo>
                        <a:lnTo>
                          <a:pt x="22953" y="4002"/>
                        </a:lnTo>
                        <a:lnTo>
                          <a:pt x="22953" y="4002"/>
                        </a:lnTo>
                        <a:lnTo>
                          <a:pt x="22953" y="4002"/>
                        </a:lnTo>
                        <a:close/>
                        <a:moveTo>
                          <a:pt x="22946" y="4014"/>
                        </a:moveTo>
                        <a:lnTo>
                          <a:pt x="22953" y="4014"/>
                        </a:lnTo>
                        <a:lnTo>
                          <a:pt x="22953" y="4023"/>
                        </a:lnTo>
                        <a:lnTo>
                          <a:pt x="22946" y="4014"/>
                        </a:lnTo>
                        <a:lnTo>
                          <a:pt x="22946" y="4014"/>
                        </a:lnTo>
                        <a:lnTo>
                          <a:pt x="22946" y="4014"/>
                        </a:lnTo>
                        <a:close/>
                        <a:moveTo>
                          <a:pt x="22916" y="4058"/>
                        </a:moveTo>
                        <a:lnTo>
                          <a:pt x="22925" y="4040"/>
                        </a:lnTo>
                        <a:lnTo>
                          <a:pt x="22930" y="4040"/>
                        </a:lnTo>
                        <a:lnTo>
                          <a:pt x="22916" y="4058"/>
                        </a:lnTo>
                        <a:lnTo>
                          <a:pt x="22916" y="4058"/>
                        </a:lnTo>
                        <a:lnTo>
                          <a:pt x="22916" y="4058"/>
                        </a:lnTo>
                        <a:close/>
                        <a:moveTo>
                          <a:pt x="22861" y="4117"/>
                        </a:moveTo>
                        <a:lnTo>
                          <a:pt x="22854" y="4113"/>
                        </a:lnTo>
                        <a:lnTo>
                          <a:pt x="22861" y="4113"/>
                        </a:lnTo>
                        <a:lnTo>
                          <a:pt x="22861" y="4117"/>
                        </a:lnTo>
                        <a:lnTo>
                          <a:pt x="22861" y="4117"/>
                        </a:lnTo>
                        <a:lnTo>
                          <a:pt x="22861" y="4117"/>
                        </a:lnTo>
                        <a:close/>
                        <a:moveTo>
                          <a:pt x="22807" y="4179"/>
                        </a:moveTo>
                        <a:lnTo>
                          <a:pt x="22816" y="4179"/>
                        </a:lnTo>
                        <a:lnTo>
                          <a:pt x="22807" y="4179"/>
                        </a:lnTo>
                        <a:lnTo>
                          <a:pt x="22807" y="4179"/>
                        </a:lnTo>
                        <a:lnTo>
                          <a:pt x="22807" y="4179"/>
                        </a:lnTo>
                        <a:close/>
                        <a:moveTo>
                          <a:pt x="22791" y="4195"/>
                        </a:moveTo>
                        <a:lnTo>
                          <a:pt x="22779" y="4224"/>
                        </a:lnTo>
                        <a:lnTo>
                          <a:pt x="22753" y="4228"/>
                        </a:lnTo>
                        <a:lnTo>
                          <a:pt x="22791" y="4195"/>
                        </a:lnTo>
                        <a:lnTo>
                          <a:pt x="22791" y="4195"/>
                        </a:lnTo>
                        <a:lnTo>
                          <a:pt x="22791" y="4195"/>
                        </a:lnTo>
                        <a:close/>
                        <a:moveTo>
                          <a:pt x="22602" y="4340"/>
                        </a:moveTo>
                        <a:lnTo>
                          <a:pt x="22613" y="4318"/>
                        </a:lnTo>
                        <a:lnTo>
                          <a:pt x="22628" y="4302"/>
                        </a:lnTo>
                        <a:lnTo>
                          <a:pt x="22661" y="4285"/>
                        </a:lnTo>
                        <a:lnTo>
                          <a:pt x="22665" y="4285"/>
                        </a:lnTo>
                        <a:lnTo>
                          <a:pt x="22644" y="4306"/>
                        </a:lnTo>
                        <a:lnTo>
                          <a:pt x="22613" y="4335"/>
                        </a:lnTo>
                        <a:lnTo>
                          <a:pt x="22602" y="4340"/>
                        </a:lnTo>
                        <a:lnTo>
                          <a:pt x="22602" y="4340"/>
                        </a:lnTo>
                        <a:lnTo>
                          <a:pt x="22602" y="4340"/>
                        </a:lnTo>
                        <a:close/>
                        <a:moveTo>
                          <a:pt x="22413" y="4446"/>
                        </a:moveTo>
                        <a:lnTo>
                          <a:pt x="22413" y="4434"/>
                        </a:lnTo>
                        <a:lnTo>
                          <a:pt x="22439" y="4417"/>
                        </a:lnTo>
                        <a:lnTo>
                          <a:pt x="22429" y="4413"/>
                        </a:lnTo>
                        <a:lnTo>
                          <a:pt x="22483" y="4373"/>
                        </a:lnTo>
                        <a:lnTo>
                          <a:pt x="22483" y="4363"/>
                        </a:lnTo>
                        <a:lnTo>
                          <a:pt x="22493" y="4356"/>
                        </a:lnTo>
                        <a:lnTo>
                          <a:pt x="22500" y="4373"/>
                        </a:lnTo>
                        <a:lnTo>
                          <a:pt x="22514" y="4373"/>
                        </a:lnTo>
                        <a:lnTo>
                          <a:pt x="22547" y="4347"/>
                        </a:lnTo>
                        <a:lnTo>
                          <a:pt x="22552" y="4347"/>
                        </a:lnTo>
                        <a:lnTo>
                          <a:pt x="22552" y="4363"/>
                        </a:lnTo>
                        <a:lnTo>
                          <a:pt x="22514" y="4373"/>
                        </a:lnTo>
                        <a:lnTo>
                          <a:pt x="22476" y="4396"/>
                        </a:lnTo>
                        <a:lnTo>
                          <a:pt x="22467" y="4396"/>
                        </a:lnTo>
                        <a:lnTo>
                          <a:pt x="22462" y="4413"/>
                        </a:lnTo>
                        <a:lnTo>
                          <a:pt x="22413" y="4446"/>
                        </a:lnTo>
                        <a:lnTo>
                          <a:pt x="22413" y="4446"/>
                        </a:lnTo>
                        <a:lnTo>
                          <a:pt x="22413" y="4446"/>
                        </a:lnTo>
                        <a:close/>
                        <a:moveTo>
                          <a:pt x="22370" y="4434"/>
                        </a:moveTo>
                        <a:lnTo>
                          <a:pt x="22391" y="4446"/>
                        </a:lnTo>
                        <a:lnTo>
                          <a:pt x="22354" y="4467"/>
                        </a:lnTo>
                        <a:lnTo>
                          <a:pt x="22337" y="4491"/>
                        </a:lnTo>
                        <a:lnTo>
                          <a:pt x="22332" y="4491"/>
                        </a:lnTo>
                        <a:lnTo>
                          <a:pt x="22320" y="4512"/>
                        </a:lnTo>
                        <a:lnTo>
                          <a:pt x="22316" y="4507"/>
                        </a:lnTo>
                        <a:lnTo>
                          <a:pt x="22316" y="4500"/>
                        </a:lnTo>
                        <a:lnTo>
                          <a:pt x="22337" y="4474"/>
                        </a:lnTo>
                        <a:lnTo>
                          <a:pt x="22370" y="4434"/>
                        </a:lnTo>
                        <a:lnTo>
                          <a:pt x="22370" y="4434"/>
                        </a:lnTo>
                        <a:lnTo>
                          <a:pt x="22370" y="4434"/>
                        </a:lnTo>
                        <a:close/>
                        <a:moveTo>
                          <a:pt x="15463" y="4484"/>
                        </a:moveTo>
                        <a:lnTo>
                          <a:pt x="15454" y="4484"/>
                        </a:lnTo>
                        <a:lnTo>
                          <a:pt x="15463" y="4484"/>
                        </a:lnTo>
                        <a:lnTo>
                          <a:pt x="15463" y="4484"/>
                        </a:lnTo>
                        <a:lnTo>
                          <a:pt x="15463" y="4484"/>
                        </a:lnTo>
                        <a:close/>
                        <a:moveTo>
                          <a:pt x="22413" y="4491"/>
                        </a:moveTo>
                        <a:lnTo>
                          <a:pt x="22408" y="4507"/>
                        </a:lnTo>
                        <a:lnTo>
                          <a:pt x="22396" y="4507"/>
                        </a:lnTo>
                        <a:lnTo>
                          <a:pt x="22396" y="4500"/>
                        </a:lnTo>
                        <a:lnTo>
                          <a:pt x="22413" y="4491"/>
                        </a:lnTo>
                        <a:lnTo>
                          <a:pt x="22413" y="4491"/>
                        </a:lnTo>
                        <a:lnTo>
                          <a:pt x="22413" y="4491"/>
                        </a:lnTo>
                        <a:close/>
                        <a:moveTo>
                          <a:pt x="22370" y="4524"/>
                        </a:moveTo>
                        <a:lnTo>
                          <a:pt x="22370" y="4528"/>
                        </a:lnTo>
                        <a:lnTo>
                          <a:pt x="22358" y="4524"/>
                        </a:lnTo>
                        <a:lnTo>
                          <a:pt x="22370" y="4524"/>
                        </a:lnTo>
                        <a:lnTo>
                          <a:pt x="22370" y="4524"/>
                        </a:lnTo>
                        <a:lnTo>
                          <a:pt x="22370" y="4524"/>
                        </a:lnTo>
                        <a:close/>
                        <a:moveTo>
                          <a:pt x="21366" y="4566"/>
                        </a:moveTo>
                        <a:lnTo>
                          <a:pt x="21359" y="4566"/>
                        </a:lnTo>
                        <a:lnTo>
                          <a:pt x="21366" y="4562"/>
                        </a:lnTo>
                        <a:lnTo>
                          <a:pt x="21366" y="4566"/>
                        </a:lnTo>
                        <a:lnTo>
                          <a:pt x="21366" y="4566"/>
                        </a:lnTo>
                        <a:lnTo>
                          <a:pt x="21366" y="456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8" name="Freeform 546">
                    <a:extLst>
                      <a:ext uri="{FF2B5EF4-FFF2-40B4-BE49-F238E27FC236}">
                        <a16:creationId xmlns:a16="http://schemas.microsoft.com/office/drawing/2014/main" id="{36CF59A4-C23B-47C7-986A-537A87D699F3}"/>
                      </a:ext>
                    </a:extLst>
                  </p:cNvPr>
                  <p:cNvSpPr>
                    <a:spLocks/>
                  </p:cNvSpPr>
                  <p:nvPr/>
                </p:nvSpPr>
                <p:spPr bwMode="gray">
                  <a:xfrm>
                    <a:off x="5096433" y="2557357"/>
                    <a:ext cx="6587" cy="8646"/>
                  </a:xfrm>
                  <a:custGeom>
                    <a:avLst/>
                    <a:gdLst>
                      <a:gd name="T0" fmla="*/ 5 w 16"/>
                      <a:gd name="T1" fmla="*/ 0 h 21"/>
                      <a:gd name="T2" fmla="*/ 5 w 16"/>
                      <a:gd name="T3" fmla="*/ 4 h 21"/>
                      <a:gd name="T4" fmla="*/ 5 w 16"/>
                      <a:gd name="T5" fmla="*/ 4 h 21"/>
                      <a:gd name="T6" fmla="*/ 16 w 16"/>
                      <a:gd name="T7" fmla="*/ 21 h 21"/>
                      <a:gd name="T8" fmla="*/ 5 w 16"/>
                      <a:gd name="T9" fmla="*/ 21 h 21"/>
                      <a:gd name="T10" fmla="*/ 0 w 16"/>
                      <a:gd name="T11" fmla="*/ 0 h 21"/>
                      <a:gd name="T12" fmla="*/ 5 w 16"/>
                      <a:gd name="T13" fmla="*/ 0 h 21"/>
                      <a:gd name="T14" fmla="*/ 5 w 16"/>
                      <a:gd name="T15" fmla="*/ 0 h 21"/>
                      <a:gd name="T16" fmla="*/ 5 w 16"/>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1">
                        <a:moveTo>
                          <a:pt x="5" y="0"/>
                        </a:moveTo>
                        <a:lnTo>
                          <a:pt x="5" y="4"/>
                        </a:lnTo>
                        <a:lnTo>
                          <a:pt x="5" y="4"/>
                        </a:lnTo>
                        <a:lnTo>
                          <a:pt x="16" y="21"/>
                        </a:lnTo>
                        <a:lnTo>
                          <a:pt x="5" y="21"/>
                        </a:lnTo>
                        <a:lnTo>
                          <a:pt x="0" y="0"/>
                        </a:lnTo>
                        <a:lnTo>
                          <a:pt x="5" y="0"/>
                        </a:lnTo>
                        <a:lnTo>
                          <a:pt x="5" y="0"/>
                        </a:lnTo>
                        <a:lnTo>
                          <a:pt x="5"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9" name="Freeform 552">
                    <a:extLst>
                      <a:ext uri="{FF2B5EF4-FFF2-40B4-BE49-F238E27FC236}">
                        <a16:creationId xmlns:a16="http://schemas.microsoft.com/office/drawing/2014/main" id="{56B356EF-5051-45AE-A6D4-6C21631CE0C2}"/>
                      </a:ext>
                    </a:extLst>
                  </p:cNvPr>
                  <p:cNvSpPr>
                    <a:spLocks/>
                  </p:cNvSpPr>
                  <p:nvPr/>
                </p:nvSpPr>
                <p:spPr bwMode="gray">
                  <a:xfrm>
                    <a:off x="7114029" y="2563945"/>
                    <a:ext cx="89745" cy="54346"/>
                  </a:xfrm>
                  <a:custGeom>
                    <a:avLst/>
                    <a:gdLst>
                      <a:gd name="T0" fmla="*/ 22 w 218"/>
                      <a:gd name="T1" fmla="*/ 28 h 132"/>
                      <a:gd name="T2" fmla="*/ 74 w 218"/>
                      <a:gd name="T3" fmla="*/ 45 h 132"/>
                      <a:gd name="T4" fmla="*/ 102 w 218"/>
                      <a:gd name="T5" fmla="*/ 38 h 132"/>
                      <a:gd name="T6" fmla="*/ 102 w 218"/>
                      <a:gd name="T7" fmla="*/ 21 h 132"/>
                      <a:gd name="T8" fmla="*/ 166 w 218"/>
                      <a:gd name="T9" fmla="*/ 12 h 132"/>
                      <a:gd name="T10" fmla="*/ 180 w 218"/>
                      <a:gd name="T11" fmla="*/ 0 h 132"/>
                      <a:gd name="T12" fmla="*/ 208 w 218"/>
                      <a:gd name="T13" fmla="*/ 5 h 132"/>
                      <a:gd name="T14" fmla="*/ 196 w 218"/>
                      <a:gd name="T15" fmla="*/ 12 h 132"/>
                      <a:gd name="T16" fmla="*/ 218 w 218"/>
                      <a:gd name="T17" fmla="*/ 38 h 132"/>
                      <a:gd name="T18" fmla="*/ 196 w 218"/>
                      <a:gd name="T19" fmla="*/ 28 h 132"/>
                      <a:gd name="T20" fmla="*/ 196 w 218"/>
                      <a:gd name="T21" fmla="*/ 45 h 132"/>
                      <a:gd name="T22" fmla="*/ 154 w 218"/>
                      <a:gd name="T23" fmla="*/ 62 h 132"/>
                      <a:gd name="T24" fmla="*/ 154 w 218"/>
                      <a:gd name="T25" fmla="*/ 66 h 132"/>
                      <a:gd name="T26" fmla="*/ 159 w 218"/>
                      <a:gd name="T27" fmla="*/ 78 h 132"/>
                      <a:gd name="T28" fmla="*/ 159 w 218"/>
                      <a:gd name="T29" fmla="*/ 95 h 132"/>
                      <a:gd name="T30" fmla="*/ 128 w 218"/>
                      <a:gd name="T31" fmla="*/ 99 h 132"/>
                      <a:gd name="T32" fmla="*/ 128 w 218"/>
                      <a:gd name="T33" fmla="*/ 111 h 132"/>
                      <a:gd name="T34" fmla="*/ 137 w 218"/>
                      <a:gd name="T35" fmla="*/ 111 h 132"/>
                      <a:gd name="T36" fmla="*/ 128 w 218"/>
                      <a:gd name="T37" fmla="*/ 123 h 132"/>
                      <a:gd name="T38" fmla="*/ 123 w 218"/>
                      <a:gd name="T39" fmla="*/ 132 h 132"/>
                      <a:gd name="T40" fmla="*/ 102 w 218"/>
                      <a:gd name="T41" fmla="*/ 123 h 132"/>
                      <a:gd name="T42" fmla="*/ 85 w 218"/>
                      <a:gd name="T43" fmla="*/ 111 h 132"/>
                      <a:gd name="T44" fmla="*/ 69 w 218"/>
                      <a:gd name="T45" fmla="*/ 123 h 132"/>
                      <a:gd name="T46" fmla="*/ 15 w 218"/>
                      <a:gd name="T47" fmla="*/ 123 h 132"/>
                      <a:gd name="T48" fmla="*/ 22 w 218"/>
                      <a:gd name="T49" fmla="*/ 116 h 132"/>
                      <a:gd name="T50" fmla="*/ 22 w 218"/>
                      <a:gd name="T51" fmla="*/ 116 h 132"/>
                      <a:gd name="T52" fmla="*/ 36 w 218"/>
                      <a:gd name="T53" fmla="*/ 111 h 132"/>
                      <a:gd name="T54" fmla="*/ 15 w 218"/>
                      <a:gd name="T55" fmla="*/ 95 h 132"/>
                      <a:gd name="T56" fmla="*/ 15 w 218"/>
                      <a:gd name="T57" fmla="*/ 78 h 132"/>
                      <a:gd name="T58" fmla="*/ 5 w 218"/>
                      <a:gd name="T59" fmla="*/ 78 h 132"/>
                      <a:gd name="T60" fmla="*/ 15 w 218"/>
                      <a:gd name="T61" fmla="*/ 62 h 132"/>
                      <a:gd name="T62" fmla="*/ 0 w 218"/>
                      <a:gd name="T63" fmla="*/ 62 h 132"/>
                      <a:gd name="T64" fmla="*/ 0 w 218"/>
                      <a:gd name="T65" fmla="*/ 54 h 132"/>
                      <a:gd name="T66" fmla="*/ 22 w 218"/>
                      <a:gd name="T67" fmla="*/ 28 h 132"/>
                      <a:gd name="T68" fmla="*/ 22 w 218"/>
                      <a:gd name="T69" fmla="*/ 28 h 132"/>
                      <a:gd name="T70" fmla="*/ 22 w 218"/>
                      <a:gd name="T71" fmla="*/ 2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8" h="132">
                        <a:moveTo>
                          <a:pt x="22" y="28"/>
                        </a:moveTo>
                        <a:lnTo>
                          <a:pt x="74" y="45"/>
                        </a:lnTo>
                        <a:lnTo>
                          <a:pt x="102" y="38"/>
                        </a:lnTo>
                        <a:lnTo>
                          <a:pt x="102" y="21"/>
                        </a:lnTo>
                        <a:lnTo>
                          <a:pt x="166" y="12"/>
                        </a:lnTo>
                        <a:lnTo>
                          <a:pt x="180" y="0"/>
                        </a:lnTo>
                        <a:lnTo>
                          <a:pt x="208" y="5"/>
                        </a:lnTo>
                        <a:lnTo>
                          <a:pt x="196" y="12"/>
                        </a:lnTo>
                        <a:lnTo>
                          <a:pt x="218" y="38"/>
                        </a:lnTo>
                        <a:lnTo>
                          <a:pt x="196" y="28"/>
                        </a:lnTo>
                        <a:lnTo>
                          <a:pt x="196" y="45"/>
                        </a:lnTo>
                        <a:lnTo>
                          <a:pt x="154" y="62"/>
                        </a:lnTo>
                        <a:lnTo>
                          <a:pt x="154" y="66"/>
                        </a:lnTo>
                        <a:lnTo>
                          <a:pt x="159" y="78"/>
                        </a:lnTo>
                        <a:lnTo>
                          <a:pt x="159" y="95"/>
                        </a:lnTo>
                        <a:lnTo>
                          <a:pt x="128" y="99"/>
                        </a:lnTo>
                        <a:lnTo>
                          <a:pt x="128" y="111"/>
                        </a:lnTo>
                        <a:lnTo>
                          <a:pt x="137" y="111"/>
                        </a:lnTo>
                        <a:lnTo>
                          <a:pt x="128" y="123"/>
                        </a:lnTo>
                        <a:lnTo>
                          <a:pt x="123" y="132"/>
                        </a:lnTo>
                        <a:lnTo>
                          <a:pt x="102" y="123"/>
                        </a:lnTo>
                        <a:lnTo>
                          <a:pt x="85" y="111"/>
                        </a:lnTo>
                        <a:lnTo>
                          <a:pt x="69" y="123"/>
                        </a:lnTo>
                        <a:lnTo>
                          <a:pt x="15" y="123"/>
                        </a:lnTo>
                        <a:lnTo>
                          <a:pt x="22" y="116"/>
                        </a:lnTo>
                        <a:lnTo>
                          <a:pt x="22" y="116"/>
                        </a:lnTo>
                        <a:lnTo>
                          <a:pt x="36" y="111"/>
                        </a:lnTo>
                        <a:lnTo>
                          <a:pt x="15" y="95"/>
                        </a:lnTo>
                        <a:lnTo>
                          <a:pt x="15" y="78"/>
                        </a:lnTo>
                        <a:lnTo>
                          <a:pt x="5" y="78"/>
                        </a:lnTo>
                        <a:lnTo>
                          <a:pt x="15" y="62"/>
                        </a:lnTo>
                        <a:lnTo>
                          <a:pt x="0" y="62"/>
                        </a:lnTo>
                        <a:lnTo>
                          <a:pt x="0" y="54"/>
                        </a:lnTo>
                        <a:lnTo>
                          <a:pt x="22" y="28"/>
                        </a:lnTo>
                        <a:lnTo>
                          <a:pt x="22" y="28"/>
                        </a:lnTo>
                        <a:lnTo>
                          <a:pt x="22" y="2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20" name="Freeform 554">
                    <a:extLst>
                      <a:ext uri="{FF2B5EF4-FFF2-40B4-BE49-F238E27FC236}">
                        <a16:creationId xmlns:a16="http://schemas.microsoft.com/office/drawing/2014/main" id="{8F91F86F-680E-4AA5-8FE8-897D86E3EB52}"/>
                      </a:ext>
                    </a:extLst>
                  </p:cNvPr>
                  <p:cNvSpPr>
                    <a:spLocks/>
                  </p:cNvSpPr>
                  <p:nvPr/>
                </p:nvSpPr>
                <p:spPr bwMode="gray">
                  <a:xfrm>
                    <a:off x="7083977" y="2670169"/>
                    <a:ext cx="4940" cy="3706"/>
                  </a:xfrm>
                  <a:custGeom>
                    <a:avLst/>
                    <a:gdLst>
                      <a:gd name="T0" fmla="*/ 0 w 12"/>
                      <a:gd name="T1" fmla="*/ 0 h 9"/>
                      <a:gd name="T2" fmla="*/ 12 w 12"/>
                      <a:gd name="T3" fmla="*/ 0 h 9"/>
                      <a:gd name="T4" fmla="*/ 0 w 12"/>
                      <a:gd name="T5" fmla="*/ 9 h 9"/>
                      <a:gd name="T6" fmla="*/ 0 w 12"/>
                      <a:gd name="T7" fmla="*/ 0 h 9"/>
                      <a:gd name="T8" fmla="*/ 0 w 12"/>
                      <a:gd name="T9" fmla="*/ 0 h 9"/>
                      <a:gd name="T10" fmla="*/ 0 w 12"/>
                      <a:gd name="T11" fmla="*/ 0 h 9"/>
                    </a:gdLst>
                    <a:ahLst/>
                    <a:cxnLst>
                      <a:cxn ang="0">
                        <a:pos x="T0" y="T1"/>
                      </a:cxn>
                      <a:cxn ang="0">
                        <a:pos x="T2" y="T3"/>
                      </a:cxn>
                      <a:cxn ang="0">
                        <a:pos x="T4" y="T5"/>
                      </a:cxn>
                      <a:cxn ang="0">
                        <a:pos x="T6" y="T7"/>
                      </a:cxn>
                      <a:cxn ang="0">
                        <a:pos x="T8" y="T9"/>
                      </a:cxn>
                      <a:cxn ang="0">
                        <a:pos x="T10" y="T11"/>
                      </a:cxn>
                    </a:cxnLst>
                    <a:rect l="0" t="0" r="r" b="b"/>
                    <a:pathLst>
                      <a:path w="12" h="9">
                        <a:moveTo>
                          <a:pt x="0" y="0"/>
                        </a:moveTo>
                        <a:lnTo>
                          <a:pt x="12" y="0"/>
                        </a:lnTo>
                        <a:lnTo>
                          <a:pt x="0" y="9"/>
                        </a:lnTo>
                        <a:lnTo>
                          <a:pt x="0" y="0"/>
                        </a:lnTo>
                        <a:lnTo>
                          <a:pt x="0" y="0"/>
                        </a:lnTo>
                        <a:lnTo>
                          <a:pt x="0"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21" name="Freeform 558">
                    <a:extLst>
                      <a:ext uri="{FF2B5EF4-FFF2-40B4-BE49-F238E27FC236}">
                        <a16:creationId xmlns:a16="http://schemas.microsoft.com/office/drawing/2014/main" id="{F7F28DC8-642D-464C-867E-96846C3FEB8C}"/>
                      </a:ext>
                    </a:extLst>
                  </p:cNvPr>
                  <p:cNvSpPr>
                    <a:spLocks/>
                  </p:cNvSpPr>
                  <p:nvPr/>
                </p:nvSpPr>
                <p:spPr bwMode="gray">
                  <a:xfrm>
                    <a:off x="7269639" y="2588237"/>
                    <a:ext cx="119796" cy="157688"/>
                  </a:xfrm>
                  <a:custGeom>
                    <a:avLst/>
                    <a:gdLst>
                      <a:gd name="T0" fmla="*/ 90 w 291"/>
                      <a:gd name="T1" fmla="*/ 317 h 383"/>
                      <a:gd name="T2" fmla="*/ 102 w 291"/>
                      <a:gd name="T3" fmla="*/ 300 h 383"/>
                      <a:gd name="T4" fmla="*/ 107 w 291"/>
                      <a:gd name="T5" fmla="*/ 295 h 383"/>
                      <a:gd name="T6" fmla="*/ 31 w 291"/>
                      <a:gd name="T7" fmla="*/ 239 h 383"/>
                      <a:gd name="T8" fmla="*/ 48 w 291"/>
                      <a:gd name="T9" fmla="*/ 222 h 383"/>
                      <a:gd name="T10" fmla="*/ 48 w 291"/>
                      <a:gd name="T11" fmla="*/ 201 h 383"/>
                      <a:gd name="T12" fmla="*/ 22 w 291"/>
                      <a:gd name="T13" fmla="*/ 168 h 383"/>
                      <a:gd name="T14" fmla="*/ 14 w 291"/>
                      <a:gd name="T15" fmla="*/ 118 h 383"/>
                      <a:gd name="T16" fmla="*/ 48 w 291"/>
                      <a:gd name="T17" fmla="*/ 90 h 383"/>
                      <a:gd name="T18" fmla="*/ 14 w 291"/>
                      <a:gd name="T19" fmla="*/ 62 h 383"/>
                      <a:gd name="T20" fmla="*/ 5 w 291"/>
                      <a:gd name="T21" fmla="*/ 57 h 383"/>
                      <a:gd name="T22" fmla="*/ 0 w 291"/>
                      <a:gd name="T23" fmla="*/ 24 h 383"/>
                      <a:gd name="T24" fmla="*/ 31 w 291"/>
                      <a:gd name="T25" fmla="*/ 17 h 383"/>
                      <a:gd name="T26" fmla="*/ 102 w 291"/>
                      <a:gd name="T27" fmla="*/ 7 h 383"/>
                      <a:gd name="T28" fmla="*/ 140 w 291"/>
                      <a:gd name="T29" fmla="*/ 40 h 383"/>
                      <a:gd name="T30" fmla="*/ 194 w 291"/>
                      <a:gd name="T31" fmla="*/ 95 h 383"/>
                      <a:gd name="T32" fmla="*/ 194 w 291"/>
                      <a:gd name="T33" fmla="*/ 118 h 383"/>
                      <a:gd name="T34" fmla="*/ 182 w 291"/>
                      <a:gd name="T35" fmla="*/ 128 h 383"/>
                      <a:gd name="T36" fmla="*/ 199 w 291"/>
                      <a:gd name="T37" fmla="*/ 135 h 383"/>
                      <a:gd name="T38" fmla="*/ 232 w 291"/>
                      <a:gd name="T39" fmla="*/ 151 h 383"/>
                      <a:gd name="T40" fmla="*/ 253 w 291"/>
                      <a:gd name="T41" fmla="*/ 135 h 383"/>
                      <a:gd name="T42" fmla="*/ 253 w 291"/>
                      <a:gd name="T43" fmla="*/ 151 h 383"/>
                      <a:gd name="T44" fmla="*/ 253 w 291"/>
                      <a:gd name="T45" fmla="*/ 201 h 383"/>
                      <a:gd name="T46" fmla="*/ 265 w 291"/>
                      <a:gd name="T47" fmla="*/ 246 h 383"/>
                      <a:gd name="T48" fmla="*/ 279 w 291"/>
                      <a:gd name="T49" fmla="*/ 295 h 383"/>
                      <a:gd name="T50" fmla="*/ 253 w 291"/>
                      <a:gd name="T51" fmla="*/ 317 h 383"/>
                      <a:gd name="T52" fmla="*/ 248 w 291"/>
                      <a:gd name="T53" fmla="*/ 338 h 383"/>
                      <a:gd name="T54" fmla="*/ 199 w 291"/>
                      <a:gd name="T55" fmla="*/ 350 h 383"/>
                      <a:gd name="T56" fmla="*/ 177 w 291"/>
                      <a:gd name="T57" fmla="*/ 354 h 383"/>
                      <a:gd name="T58" fmla="*/ 140 w 291"/>
                      <a:gd name="T59" fmla="*/ 366 h 383"/>
                      <a:gd name="T60" fmla="*/ 123 w 291"/>
                      <a:gd name="T61" fmla="*/ 383 h 383"/>
                      <a:gd name="T62" fmla="*/ 102 w 291"/>
                      <a:gd name="T63" fmla="*/ 338 h 383"/>
                      <a:gd name="T64" fmla="*/ 85 w 291"/>
                      <a:gd name="T65" fmla="*/ 32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1" h="383">
                        <a:moveTo>
                          <a:pt x="85" y="329"/>
                        </a:moveTo>
                        <a:lnTo>
                          <a:pt x="90" y="317"/>
                        </a:lnTo>
                        <a:lnTo>
                          <a:pt x="85" y="312"/>
                        </a:lnTo>
                        <a:lnTo>
                          <a:pt x="102" y="300"/>
                        </a:lnTo>
                        <a:lnTo>
                          <a:pt x="107" y="300"/>
                        </a:lnTo>
                        <a:lnTo>
                          <a:pt x="107" y="295"/>
                        </a:lnTo>
                        <a:lnTo>
                          <a:pt x="64" y="272"/>
                        </a:lnTo>
                        <a:lnTo>
                          <a:pt x="31" y="239"/>
                        </a:lnTo>
                        <a:lnTo>
                          <a:pt x="48" y="239"/>
                        </a:lnTo>
                        <a:lnTo>
                          <a:pt x="48" y="222"/>
                        </a:lnTo>
                        <a:lnTo>
                          <a:pt x="31" y="201"/>
                        </a:lnTo>
                        <a:lnTo>
                          <a:pt x="48" y="201"/>
                        </a:lnTo>
                        <a:lnTo>
                          <a:pt x="52" y="189"/>
                        </a:lnTo>
                        <a:lnTo>
                          <a:pt x="22" y="168"/>
                        </a:lnTo>
                        <a:lnTo>
                          <a:pt x="38" y="118"/>
                        </a:lnTo>
                        <a:lnTo>
                          <a:pt x="14" y="118"/>
                        </a:lnTo>
                        <a:lnTo>
                          <a:pt x="22" y="90"/>
                        </a:lnTo>
                        <a:lnTo>
                          <a:pt x="48" y="90"/>
                        </a:lnTo>
                        <a:lnTo>
                          <a:pt x="14" y="73"/>
                        </a:lnTo>
                        <a:lnTo>
                          <a:pt x="14" y="62"/>
                        </a:lnTo>
                        <a:lnTo>
                          <a:pt x="22" y="62"/>
                        </a:lnTo>
                        <a:lnTo>
                          <a:pt x="5" y="57"/>
                        </a:lnTo>
                        <a:lnTo>
                          <a:pt x="5" y="40"/>
                        </a:lnTo>
                        <a:lnTo>
                          <a:pt x="0" y="24"/>
                        </a:lnTo>
                        <a:lnTo>
                          <a:pt x="22" y="17"/>
                        </a:lnTo>
                        <a:lnTo>
                          <a:pt x="31" y="17"/>
                        </a:lnTo>
                        <a:lnTo>
                          <a:pt x="52" y="0"/>
                        </a:lnTo>
                        <a:lnTo>
                          <a:pt x="102" y="7"/>
                        </a:lnTo>
                        <a:lnTo>
                          <a:pt x="128" y="40"/>
                        </a:lnTo>
                        <a:lnTo>
                          <a:pt x="140" y="40"/>
                        </a:lnTo>
                        <a:lnTo>
                          <a:pt x="140" y="62"/>
                        </a:lnTo>
                        <a:lnTo>
                          <a:pt x="194" y="95"/>
                        </a:lnTo>
                        <a:lnTo>
                          <a:pt x="177" y="111"/>
                        </a:lnTo>
                        <a:lnTo>
                          <a:pt x="194" y="118"/>
                        </a:lnTo>
                        <a:lnTo>
                          <a:pt x="177" y="118"/>
                        </a:lnTo>
                        <a:lnTo>
                          <a:pt x="182" y="128"/>
                        </a:lnTo>
                        <a:lnTo>
                          <a:pt x="194" y="128"/>
                        </a:lnTo>
                        <a:lnTo>
                          <a:pt x="199" y="135"/>
                        </a:lnTo>
                        <a:lnTo>
                          <a:pt x="227" y="144"/>
                        </a:lnTo>
                        <a:lnTo>
                          <a:pt x="232" y="151"/>
                        </a:lnTo>
                        <a:lnTo>
                          <a:pt x="248" y="135"/>
                        </a:lnTo>
                        <a:lnTo>
                          <a:pt x="253" y="135"/>
                        </a:lnTo>
                        <a:lnTo>
                          <a:pt x="279" y="151"/>
                        </a:lnTo>
                        <a:lnTo>
                          <a:pt x="253" y="151"/>
                        </a:lnTo>
                        <a:lnTo>
                          <a:pt x="270" y="173"/>
                        </a:lnTo>
                        <a:lnTo>
                          <a:pt x="253" y="201"/>
                        </a:lnTo>
                        <a:lnTo>
                          <a:pt x="248" y="217"/>
                        </a:lnTo>
                        <a:lnTo>
                          <a:pt x="265" y="246"/>
                        </a:lnTo>
                        <a:lnTo>
                          <a:pt x="291" y="272"/>
                        </a:lnTo>
                        <a:lnTo>
                          <a:pt x="279" y="295"/>
                        </a:lnTo>
                        <a:lnTo>
                          <a:pt x="253" y="300"/>
                        </a:lnTo>
                        <a:lnTo>
                          <a:pt x="253" y="317"/>
                        </a:lnTo>
                        <a:lnTo>
                          <a:pt x="265" y="333"/>
                        </a:lnTo>
                        <a:lnTo>
                          <a:pt x="248" y="338"/>
                        </a:lnTo>
                        <a:lnTo>
                          <a:pt x="215" y="338"/>
                        </a:lnTo>
                        <a:lnTo>
                          <a:pt x="199" y="350"/>
                        </a:lnTo>
                        <a:lnTo>
                          <a:pt x="182" y="350"/>
                        </a:lnTo>
                        <a:lnTo>
                          <a:pt x="177" y="354"/>
                        </a:lnTo>
                        <a:lnTo>
                          <a:pt x="161" y="354"/>
                        </a:lnTo>
                        <a:lnTo>
                          <a:pt x="140" y="366"/>
                        </a:lnTo>
                        <a:lnTo>
                          <a:pt x="128" y="383"/>
                        </a:lnTo>
                        <a:lnTo>
                          <a:pt x="123" y="383"/>
                        </a:lnTo>
                        <a:lnTo>
                          <a:pt x="123" y="350"/>
                        </a:lnTo>
                        <a:lnTo>
                          <a:pt x="102" y="338"/>
                        </a:lnTo>
                        <a:lnTo>
                          <a:pt x="85" y="329"/>
                        </a:lnTo>
                        <a:lnTo>
                          <a:pt x="85" y="329"/>
                        </a:lnTo>
                        <a:lnTo>
                          <a:pt x="85" y="32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22" name="Freeform 560">
                    <a:extLst>
                      <a:ext uri="{FF2B5EF4-FFF2-40B4-BE49-F238E27FC236}">
                        <a16:creationId xmlns:a16="http://schemas.microsoft.com/office/drawing/2014/main" id="{5F424CC3-38C0-4BF4-BE85-47B1D9350BEA}"/>
                      </a:ext>
                    </a:extLst>
                  </p:cNvPr>
                  <p:cNvSpPr>
                    <a:spLocks noEditPoints="1"/>
                  </p:cNvSpPr>
                  <p:nvPr/>
                </p:nvSpPr>
                <p:spPr bwMode="gray">
                  <a:xfrm>
                    <a:off x="7027578" y="899789"/>
                    <a:ext cx="761590" cy="406775"/>
                  </a:xfrm>
                  <a:custGeom>
                    <a:avLst/>
                    <a:gdLst>
                      <a:gd name="T0" fmla="*/ 749 w 1850"/>
                      <a:gd name="T1" fmla="*/ 22 h 988"/>
                      <a:gd name="T2" fmla="*/ 706 w 1850"/>
                      <a:gd name="T3" fmla="*/ 17 h 988"/>
                      <a:gd name="T4" fmla="*/ 678 w 1850"/>
                      <a:gd name="T5" fmla="*/ 38 h 988"/>
                      <a:gd name="T6" fmla="*/ 959 w 1850"/>
                      <a:gd name="T7" fmla="*/ 43 h 988"/>
                      <a:gd name="T8" fmla="*/ 834 w 1850"/>
                      <a:gd name="T9" fmla="*/ 60 h 988"/>
                      <a:gd name="T10" fmla="*/ 905 w 1850"/>
                      <a:gd name="T11" fmla="*/ 71 h 988"/>
                      <a:gd name="T12" fmla="*/ 933 w 1850"/>
                      <a:gd name="T13" fmla="*/ 78 h 988"/>
                      <a:gd name="T14" fmla="*/ 1013 w 1850"/>
                      <a:gd name="T15" fmla="*/ 78 h 988"/>
                      <a:gd name="T16" fmla="*/ 1082 w 1850"/>
                      <a:gd name="T17" fmla="*/ 187 h 988"/>
                      <a:gd name="T18" fmla="*/ 921 w 1850"/>
                      <a:gd name="T19" fmla="*/ 260 h 988"/>
                      <a:gd name="T20" fmla="*/ 690 w 1850"/>
                      <a:gd name="T21" fmla="*/ 187 h 988"/>
                      <a:gd name="T22" fmla="*/ 586 w 1850"/>
                      <a:gd name="T23" fmla="*/ 128 h 988"/>
                      <a:gd name="T24" fmla="*/ 657 w 1850"/>
                      <a:gd name="T25" fmla="*/ 95 h 988"/>
                      <a:gd name="T26" fmla="*/ 728 w 1850"/>
                      <a:gd name="T27" fmla="*/ 78 h 988"/>
                      <a:gd name="T28" fmla="*/ 825 w 1850"/>
                      <a:gd name="T29" fmla="*/ 133 h 988"/>
                      <a:gd name="T30" fmla="*/ 980 w 1850"/>
                      <a:gd name="T31" fmla="*/ 60 h 988"/>
                      <a:gd name="T32" fmla="*/ 586 w 1850"/>
                      <a:gd name="T33" fmla="*/ 78 h 988"/>
                      <a:gd name="T34" fmla="*/ 1481 w 1850"/>
                      <a:gd name="T35" fmla="*/ 116 h 988"/>
                      <a:gd name="T36" fmla="*/ 1219 w 1850"/>
                      <a:gd name="T37" fmla="*/ 100 h 988"/>
                      <a:gd name="T38" fmla="*/ 1843 w 1850"/>
                      <a:gd name="T39" fmla="*/ 100 h 988"/>
                      <a:gd name="T40" fmla="*/ 85 w 1850"/>
                      <a:gd name="T41" fmla="*/ 334 h 988"/>
                      <a:gd name="T42" fmla="*/ 118 w 1850"/>
                      <a:gd name="T43" fmla="*/ 244 h 988"/>
                      <a:gd name="T44" fmla="*/ 31 w 1850"/>
                      <a:gd name="T45" fmla="*/ 227 h 988"/>
                      <a:gd name="T46" fmla="*/ 85 w 1850"/>
                      <a:gd name="T47" fmla="*/ 154 h 988"/>
                      <a:gd name="T48" fmla="*/ 139 w 1850"/>
                      <a:gd name="T49" fmla="*/ 194 h 988"/>
                      <a:gd name="T50" fmla="*/ 295 w 1850"/>
                      <a:gd name="T51" fmla="*/ 154 h 988"/>
                      <a:gd name="T52" fmla="*/ 388 w 1850"/>
                      <a:gd name="T53" fmla="*/ 239 h 988"/>
                      <a:gd name="T54" fmla="*/ 458 w 1850"/>
                      <a:gd name="T55" fmla="*/ 133 h 988"/>
                      <a:gd name="T56" fmla="*/ 555 w 1850"/>
                      <a:gd name="T57" fmla="*/ 187 h 988"/>
                      <a:gd name="T58" fmla="*/ 652 w 1850"/>
                      <a:gd name="T59" fmla="*/ 350 h 988"/>
                      <a:gd name="T60" fmla="*/ 555 w 1850"/>
                      <a:gd name="T61" fmla="*/ 442 h 988"/>
                      <a:gd name="T62" fmla="*/ 480 w 1850"/>
                      <a:gd name="T63" fmla="*/ 598 h 988"/>
                      <a:gd name="T64" fmla="*/ 350 w 1850"/>
                      <a:gd name="T65" fmla="*/ 598 h 988"/>
                      <a:gd name="T66" fmla="*/ 286 w 1850"/>
                      <a:gd name="T67" fmla="*/ 520 h 988"/>
                      <a:gd name="T68" fmla="*/ 248 w 1850"/>
                      <a:gd name="T69" fmla="*/ 487 h 988"/>
                      <a:gd name="T70" fmla="*/ 265 w 1850"/>
                      <a:gd name="T71" fmla="*/ 433 h 988"/>
                      <a:gd name="T72" fmla="*/ 480 w 1850"/>
                      <a:gd name="T73" fmla="*/ 376 h 988"/>
                      <a:gd name="T74" fmla="*/ 350 w 1850"/>
                      <a:gd name="T75" fmla="*/ 350 h 988"/>
                      <a:gd name="T76" fmla="*/ 286 w 1850"/>
                      <a:gd name="T77" fmla="*/ 355 h 988"/>
                      <a:gd name="T78" fmla="*/ 227 w 1850"/>
                      <a:gd name="T79" fmla="*/ 416 h 988"/>
                      <a:gd name="T80" fmla="*/ 662 w 1850"/>
                      <a:gd name="T81" fmla="*/ 249 h 988"/>
                      <a:gd name="T82" fmla="*/ 673 w 1850"/>
                      <a:gd name="T83" fmla="*/ 282 h 988"/>
                      <a:gd name="T84" fmla="*/ 732 w 1850"/>
                      <a:gd name="T85" fmla="*/ 282 h 988"/>
                      <a:gd name="T86" fmla="*/ 1396 w 1850"/>
                      <a:gd name="T87" fmla="*/ 293 h 988"/>
                      <a:gd name="T88" fmla="*/ 1354 w 1850"/>
                      <a:gd name="T89" fmla="*/ 305 h 988"/>
                      <a:gd name="T90" fmla="*/ 47 w 1850"/>
                      <a:gd name="T91" fmla="*/ 371 h 988"/>
                      <a:gd name="T92" fmla="*/ 97 w 1850"/>
                      <a:gd name="T93" fmla="*/ 376 h 988"/>
                      <a:gd name="T94" fmla="*/ 1136 w 1850"/>
                      <a:gd name="T95" fmla="*/ 315 h 988"/>
                      <a:gd name="T96" fmla="*/ 813 w 1850"/>
                      <a:gd name="T97" fmla="*/ 355 h 988"/>
                      <a:gd name="T98" fmla="*/ 678 w 1850"/>
                      <a:gd name="T99" fmla="*/ 371 h 988"/>
                      <a:gd name="T100" fmla="*/ 841 w 1850"/>
                      <a:gd name="T101" fmla="*/ 537 h 988"/>
                      <a:gd name="T102" fmla="*/ 732 w 1850"/>
                      <a:gd name="T103" fmla="*/ 433 h 988"/>
                      <a:gd name="T104" fmla="*/ 1013 w 1850"/>
                      <a:gd name="T105" fmla="*/ 482 h 988"/>
                      <a:gd name="T106" fmla="*/ 879 w 1850"/>
                      <a:gd name="T107" fmla="*/ 560 h 988"/>
                      <a:gd name="T108" fmla="*/ 1068 w 1850"/>
                      <a:gd name="T109" fmla="*/ 648 h 988"/>
                      <a:gd name="T110" fmla="*/ 602 w 1850"/>
                      <a:gd name="T111" fmla="*/ 988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50" h="988">
                        <a:moveTo>
                          <a:pt x="728" y="17"/>
                        </a:moveTo>
                        <a:lnTo>
                          <a:pt x="711" y="0"/>
                        </a:lnTo>
                        <a:lnTo>
                          <a:pt x="744" y="5"/>
                        </a:lnTo>
                        <a:lnTo>
                          <a:pt x="728" y="17"/>
                        </a:lnTo>
                        <a:lnTo>
                          <a:pt x="728" y="17"/>
                        </a:lnTo>
                        <a:lnTo>
                          <a:pt x="728" y="17"/>
                        </a:lnTo>
                        <a:close/>
                        <a:moveTo>
                          <a:pt x="749" y="22"/>
                        </a:moveTo>
                        <a:lnTo>
                          <a:pt x="744" y="17"/>
                        </a:lnTo>
                        <a:lnTo>
                          <a:pt x="765" y="17"/>
                        </a:lnTo>
                        <a:lnTo>
                          <a:pt x="749" y="22"/>
                        </a:lnTo>
                        <a:lnTo>
                          <a:pt x="749" y="22"/>
                        </a:lnTo>
                        <a:lnTo>
                          <a:pt x="749" y="22"/>
                        </a:lnTo>
                        <a:close/>
                        <a:moveTo>
                          <a:pt x="716" y="22"/>
                        </a:moveTo>
                        <a:lnTo>
                          <a:pt x="706" y="17"/>
                        </a:lnTo>
                        <a:lnTo>
                          <a:pt x="728" y="22"/>
                        </a:lnTo>
                        <a:lnTo>
                          <a:pt x="716" y="22"/>
                        </a:lnTo>
                        <a:lnTo>
                          <a:pt x="716" y="22"/>
                        </a:lnTo>
                        <a:lnTo>
                          <a:pt x="716" y="22"/>
                        </a:lnTo>
                        <a:close/>
                        <a:moveTo>
                          <a:pt x="673" y="43"/>
                        </a:moveTo>
                        <a:lnTo>
                          <a:pt x="657" y="43"/>
                        </a:lnTo>
                        <a:lnTo>
                          <a:pt x="678" y="38"/>
                        </a:lnTo>
                        <a:lnTo>
                          <a:pt x="673" y="43"/>
                        </a:lnTo>
                        <a:lnTo>
                          <a:pt x="673" y="43"/>
                        </a:lnTo>
                        <a:lnTo>
                          <a:pt x="673" y="43"/>
                        </a:lnTo>
                        <a:close/>
                        <a:moveTo>
                          <a:pt x="959" y="43"/>
                        </a:moveTo>
                        <a:lnTo>
                          <a:pt x="976" y="43"/>
                        </a:lnTo>
                        <a:lnTo>
                          <a:pt x="947" y="43"/>
                        </a:lnTo>
                        <a:lnTo>
                          <a:pt x="959" y="43"/>
                        </a:lnTo>
                        <a:lnTo>
                          <a:pt x="959" y="43"/>
                        </a:lnTo>
                        <a:lnTo>
                          <a:pt x="959" y="43"/>
                        </a:lnTo>
                        <a:close/>
                        <a:moveTo>
                          <a:pt x="834" y="128"/>
                        </a:moveTo>
                        <a:lnTo>
                          <a:pt x="841" y="83"/>
                        </a:lnTo>
                        <a:lnTo>
                          <a:pt x="851" y="78"/>
                        </a:lnTo>
                        <a:lnTo>
                          <a:pt x="834" y="71"/>
                        </a:lnTo>
                        <a:lnTo>
                          <a:pt x="834" y="60"/>
                        </a:lnTo>
                        <a:lnTo>
                          <a:pt x="858" y="55"/>
                        </a:lnTo>
                        <a:lnTo>
                          <a:pt x="858" y="71"/>
                        </a:lnTo>
                        <a:lnTo>
                          <a:pt x="867" y="71"/>
                        </a:lnTo>
                        <a:lnTo>
                          <a:pt x="872" y="43"/>
                        </a:lnTo>
                        <a:lnTo>
                          <a:pt x="905" y="55"/>
                        </a:lnTo>
                        <a:lnTo>
                          <a:pt x="888" y="60"/>
                        </a:lnTo>
                        <a:lnTo>
                          <a:pt x="905" y="71"/>
                        </a:lnTo>
                        <a:lnTo>
                          <a:pt x="888" y="83"/>
                        </a:lnTo>
                        <a:lnTo>
                          <a:pt x="879" y="100"/>
                        </a:lnTo>
                        <a:lnTo>
                          <a:pt x="888" y="112"/>
                        </a:lnTo>
                        <a:lnTo>
                          <a:pt x="910" y="95"/>
                        </a:lnTo>
                        <a:lnTo>
                          <a:pt x="926" y="100"/>
                        </a:lnTo>
                        <a:lnTo>
                          <a:pt x="933" y="95"/>
                        </a:lnTo>
                        <a:lnTo>
                          <a:pt x="933" y="78"/>
                        </a:lnTo>
                        <a:lnTo>
                          <a:pt x="980" y="78"/>
                        </a:lnTo>
                        <a:lnTo>
                          <a:pt x="964" y="71"/>
                        </a:lnTo>
                        <a:lnTo>
                          <a:pt x="997" y="78"/>
                        </a:lnTo>
                        <a:lnTo>
                          <a:pt x="980" y="83"/>
                        </a:lnTo>
                        <a:lnTo>
                          <a:pt x="985" y="83"/>
                        </a:lnTo>
                        <a:lnTo>
                          <a:pt x="1013" y="71"/>
                        </a:lnTo>
                        <a:lnTo>
                          <a:pt x="1013" y="78"/>
                        </a:lnTo>
                        <a:lnTo>
                          <a:pt x="1002" y="83"/>
                        </a:lnTo>
                        <a:lnTo>
                          <a:pt x="1039" y="78"/>
                        </a:lnTo>
                        <a:lnTo>
                          <a:pt x="1035" y="83"/>
                        </a:lnTo>
                        <a:lnTo>
                          <a:pt x="1174" y="112"/>
                        </a:lnTo>
                        <a:lnTo>
                          <a:pt x="1165" y="133"/>
                        </a:lnTo>
                        <a:lnTo>
                          <a:pt x="1181" y="138"/>
                        </a:lnTo>
                        <a:lnTo>
                          <a:pt x="1082" y="187"/>
                        </a:lnTo>
                        <a:lnTo>
                          <a:pt x="1089" y="206"/>
                        </a:lnTo>
                        <a:lnTo>
                          <a:pt x="1073" y="223"/>
                        </a:lnTo>
                        <a:lnTo>
                          <a:pt x="1035" y="239"/>
                        </a:lnTo>
                        <a:lnTo>
                          <a:pt x="1002" y="227"/>
                        </a:lnTo>
                        <a:lnTo>
                          <a:pt x="976" y="239"/>
                        </a:lnTo>
                        <a:lnTo>
                          <a:pt x="959" y="260"/>
                        </a:lnTo>
                        <a:lnTo>
                          <a:pt x="921" y="260"/>
                        </a:lnTo>
                        <a:lnTo>
                          <a:pt x="858" y="239"/>
                        </a:lnTo>
                        <a:lnTo>
                          <a:pt x="872" y="223"/>
                        </a:lnTo>
                        <a:lnTo>
                          <a:pt x="728" y="227"/>
                        </a:lnTo>
                        <a:lnTo>
                          <a:pt x="728" y="211"/>
                        </a:lnTo>
                        <a:lnTo>
                          <a:pt x="690" y="211"/>
                        </a:lnTo>
                        <a:lnTo>
                          <a:pt x="640" y="187"/>
                        </a:lnTo>
                        <a:lnTo>
                          <a:pt x="690" y="187"/>
                        </a:lnTo>
                        <a:lnTo>
                          <a:pt x="749" y="194"/>
                        </a:lnTo>
                        <a:lnTo>
                          <a:pt x="706" y="182"/>
                        </a:lnTo>
                        <a:lnTo>
                          <a:pt x="803" y="171"/>
                        </a:lnTo>
                        <a:lnTo>
                          <a:pt x="834" y="154"/>
                        </a:lnTo>
                        <a:lnTo>
                          <a:pt x="586" y="171"/>
                        </a:lnTo>
                        <a:lnTo>
                          <a:pt x="539" y="138"/>
                        </a:lnTo>
                        <a:lnTo>
                          <a:pt x="586" y="128"/>
                        </a:lnTo>
                        <a:lnTo>
                          <a:pt x="517" y="112"/>
                        </a:lnTo>
                        <a:lnTo>
                          <a:pt x="581" y="95"/>
                        </a:lnTo>
                        <a:lnTo>
                          <a:pt x="624" y="112"/>
                        </a:lnTo>
                        <a:lnTo>
                          <a:pt x="640" y="100"/>
                        </a:lnTo>
                        <a:lnTo>
                          <a:pt x="619" y="95"/>
                        </a:lnTo>
                        <a:lnTo>
                          <a:pt x="602" y="71"/>
                        </a:lnTo>
                        <a:lnTo>
                          <a:pt x="657" y="95"/>
                        </a:lnTo>
                        <a:lnTo>
                          <a:pt x="657" y="78"/>
                        </a:lnTo>
                        <a:lnTo>
                          <a:pt x="662" y="60"/>
                        </a:lnTo>
                        <a:lnTo>
                          <a:pt x="636" y="55"/>
                        </a:lnTo>
                        <a:lnTo>
                          <a:pt x="652" y="43"/>
                        </a:lnTo>
                        <a:lnTo>
                          <a:pt x="706" y="60"/>
                        </a:lnTo>
                        <a:lnTo>
                          <a:pt x="711" y="78"/>
                        </a:lnTo>
                        <a:lnTo>
                          <a:pt x="728" y="78"/>
                        </a:lnTo>
                        <a:lnTo>
                          <a:pt x="728" y="83"/>
                        </a:lnTo>
                        <a:lnTo>
                          <a:pt x="728" y="95"/>
                        </a:lnTo>
                        <a:lnTo>
                          <a:pt x="803" y="83"/>
                        </a:lnTo>
                        <a:lnTo>
                          <a:pt x="803" y="95"/>
                        </a:lnTo>
                        <a:lnTo>
                          <a:pt x="782" y="112"/>
                        </a:lnTo>
                        <a:lnTo>
                          <a:pt x="803" y="100"/>
                        </a:lnTo>
                        <a:lnTo>
                          <a:pt x="825" y="133"/>
                        </a:lnTo>
                        <a:lnTo>
                          <a:pt x="834" y="128"/>
                        </a:lnTo>
                        <a:lnTo>
                          <a:pt x="834" y="128"/>
                        </a:lnTo>
                        <a:lnTo>
                          <a:pt x="834" y="128"/>
                        </a:lnTo>
                        <a:close/>
                        <a:moveTo>
                          <a:pt x="976" y="60"/>
                        </a:moveTo>
                        <a:lnTo>
                          <a:pt x="959" y="60"/>
                        </a:lnTo>
                        <a:lnTo>
                          <a:pt x="964" y="55"/>
                        </a:lnTo>
                        <a:lnTo>
                          <a:pt x="980" y="60"/>
                        </a:lnTo>
                        <a:lnTo>
                          <a:pt x="976" y="60"/>
                        </a:lnTo>
                        <a:lnTo>
                          <a:pt x="976" y="60"/>
                        </a:lnTo>
                        <a:lnTo>
                          <a:pt x="976" y="60"/>
                        </a:lnTo>
                        <a:close/>
                        <a:moveTo>
                          <a:pt x="565" y="83"/>
                        </a:moveTo>
                        <a:lnTo>
                          <a:pt x="539" y="78"/>
                        </a:lnTo>
                        <a:lnTo>
                          <a:pt x="555" y="71"/>
                        </a:lnTo>
                        <a:lnTo>
                          <a:pt x="586" y="78"/>
                        </a:lnTo>
                        <a:lnTo>
                          <a:pt x="565" y="83"/>
                        </a:lnTo>
                        <a:lnTo>
                          <a:pt x="565" y="83"/>
                        </a:lnTo>
                        <a:lnTo>
                          <a:pt x="565" y="83"/>
                        </a:lnTo>
                        <a:close/>
                        <a:moveTo>
                          <a:pt x="1481" y="116"/>
                        </a:moveTo>
                        <a:lnTo>
                          <a:pt x="1472" y="112"/>
                        </a:lnTo>
                        <a:lnTo>
                          <a:pt x="1628" y="95"/>
                        </a:lnTo>
                        <a:lnTo>
                          <a:pt x="1481" y="116"/>
                        </a:lnTo>
                        <a:lnTo>
                          <a:pt x="1481" y="116"/>
                        </a:lnTo>
                        <a:lnTo>
                          <a:pt x="1481" y="116"/>
                        </a:lnTo>
                        <a:close/>
                        <a:moveTo>
                          <a:pt x="1219" y="100"/>
                        </a:moveTo>
                        <a:lnTo>
                          <a:pt x="1233" y="100"/>
                        </a:lnTo>
                        <a:lnTo>
                          <a:pt x="1212" y="112"/>
                        </a:lnTo>
                        <a:lnTo>
                          <a:pt x="1219" y="100"/>
                        </a:lnTo>
                        <a:lnTo>
                          <a:pt x="1219" y="100"/>
                        </a:lnTo>
                        <a:lnTo>
                          <a:pt x="1219" y="100"/>
                        </a:lnTo>
                        <a:close/>
                        <a:moveTo>
                          <a:pt x="1843" y="100"/>
                        </a:moveTo>
                        <a:lnTo>
                          <a:pt x="1838" y="100"/>
                        </a:lnTo>
                        <a:lnTo>
                          <a:pt x="1850" y="100"/>
                        </a:lnTo>
                        <a:lnTo>
                          <a:pt x="1843" y="100"/>
                        </a:lnTo>
                        <a:lnTo>
                          <a:pt x="1843" y="100"/>
                        </a:lnTo>
                        <a:lnTo>
                          <a:pt x="1843" y="100"/>
                        </a:lnTo>
                        <a:close/>
                        <a:moveTo>
                          <a:pt x="227" y="416"/>
                        </a:moveTo>
                        <a:lnTo>
                          <a:pt x="177" y="409"/>
                        </a:lnTo>
                        <a:lnTo>
                          <a:pt x="173" y="393"/>
                        </a:lnTo>
                        <a:lnTo>
                          <a:pt x="135" y="371"/>
                        </a:lnTo>
                        <a:lnTo>
                          <a:pt x="194" y="360"/>
                        </a:lnTo>
                        <a:lnTo>
                          <a:pt x="102" y="350"/>
                        </a:lnTo>
                        <a:lnTo>
                          <a:pt x="85" y="334"/>
                        </a:lnTo>
                        <a:lnTo>
                          <a:pt x="102" y="315"/>
                        </a:lnTo>
                        <a:lnTo>
                          <a:pt x="64" y="293"/>
                        </a:lnTo>
                        <a:lnTo>
                          <a:pt x="151" y="298"/>
                        </a:lnTo>
                        <a:lnTo>
                          <a:pt x="139" y="293"/>
                        </a:lnTo>
                        <a:lnTo>
                          <a:pt x="106" y="293"/>
                        </a:lnTo>
                        <a:lnTo>
                          <a:pt x="97" y="277"/>
                        </a:lnTo>
                        <a:lnTo>
                          <a:pt x="118" y="244"/>
                        </a:lnTo>
                        <a:lnTo>
                          <a:pt x="102" y="249"/>
                        </a:lnTo>
                        <a:lnTo>
                          <a:pt x="85" y="239"/>
                        </a:lnTo>
                        <a:lnTo>
                          <a:pt x="80" y="244"/>
                        </a:lnTo>
                        <a:lnTo>
                          <a:pt x="97" y="260"/>
                        </a:lnTo>
                        <a:lnTo>
                          <a:pt x="52" y="277"/>
                        </a:lnTo>
                        <a:lnTo>
                          <a:pt x="47" y="249"/>
                        </a:lnTo>
                        <a:lnTo>
                          <a:pt x="31" y="227"/>
                        </a:lnTo>
                        <a:lnTo>
                          <a:pt x="31" y="211"/>
                        </a:lnTo>
                        <a:lnTo>
                          <a:pt x="14" y="194"/>
                        </a:lnTo>
                        <a:lnTo>
                          <a:pt x="52" y="194"/>
                        </a:lnTo>
                        <a:lnTo>
                          <a:pt x="31" y="194"/>
                        </a:lnTo>
                        <a:lnTo>
                          <a:pt x="64" y="187"/>
                        </a:lnTo>
                        <a:lnTo>
                          <a:pt x="52" y="166"/>
                        </a:lnTo>
                        <a:lnTo>
                          <a:pt x="85" y="154"/>
                        </a:lnTo>
                        <a:lnTo>
                          <a:pt x="135" y="182"/>
                        </a:lnTo>
                        <a:lnTo>
                          <a:pt x="135" y="171"/>
                        </a:lnTo>
                        <a:lnTo>
                          <a:pt x="123" y="154"/>
                        </a:lnTo>
                        <a:lnTo>
                          <a:pt x="156" y="166"/>
                        </a:lnTo>
                        <a:lnTo>
                          <a:pt x="241" y="149"/>
                        </a:lnTo>
                        <a:lnTo>
                          <a:pt x="248" y="166"/>
                        </a:lnTo>
                        <a:lnTo>
                          <a:pt x="139" y="194"/>
                        </a:lnTo>
                        <a:lnTo>
                          <a:pt x="215" y="194"/>
                        </a:lnTo>
                        <a:lnTo>
                          <a:pt x="203" y="211"/>
                        </a:lnTo>
                        <a:lnTo>
                          <a:pt x="227" y="211"/>
                        </a:lnTo>
                        <a:lnTo>
                          <a:pt x="258" y="244"/>
                        </a:lnTo>
                        <a:lnTo>
                          <a:pt x="265" y="239"/>
                        </a:lnTo>
                        <a:lnTo>
                          <a:pt x="241" y="206"/>
                        </a:lnTo>
                        <a:lnTo>
                          <a:pt x="295" y="154"/>
                        </a:lnTo>
                        <a:lnTo>
                          <a:pt x="338" y="187"/>
                        </a:lnTo>
                        <a:lnTo>
                          <a:pt x="354" y="239"/>
                        </a:lnTo>
                        <a:lnTo>
                          <a:pt x="376" y="249"/>
                        </a:lnTo>
                        <a:lnTo>
                          <a:pt x="371" y="265"/>
                        </a:lnTo>
                        <a:lnTo>
                          <a:pt x="376" y="260"/>
                        </a:lnTo>
                        <a:lnTo>
                          <a:pt x="425" y="305"/>
                        </a:lnTo>
                        <a:lnTo>
                          <a:pt x="388" y="239"/>
                        </a:lnTo>
                        <a:lnTo>
                          <a:pt x="366" y="154"/>
                        </a:lnTo>
                        <a:lnTo>
                          <a:pt x="404" y="149"/>
                        </a:lnTo>
                        <a:lnTo>
                          <a:pt x="388" y="133"/>
                        </a:lnTo>
                        <a:lnTo>
                          <a:pt x="409" y="116"/>
                        </a:lnTo>
                        <a:lnTo>
                          <a:pt x="430" y="116"/>
                        </a:lnTo>
                        <a:lnTo>
                          <a:pt x="447" y="149"/>
                        </a:lnTo>
                        <a:lnTo>
                          <a:pt x="458" y="133"/>
                        </a:lnTo>
                        <a:lnTo>
                          <a:pt x="480" y="138"/>
                        </a:lnTo>
                        <a:lnTo>
                          <a:pt x="539" y="171"/>
                        </a:lnTo>
                        <a:lnTo>
                          <a:pt x="517" y="187"/>
                        </a:lnTo>
                        <a:lnTo>
                          <a:pt x="513" y="206"/>
                        </a:lnTo>
                        <a:lnTo>
                          <a:pt x="517" y="223"/>
                        </a:lnTo>
                        <a:lnTo>
                          <a:pt x="501" y="227"/>
                        </a:lnTo>
                        <a:lnTo>
                          <a:pt x="555" y="187"/>
                        </a:lnTo>
                        <a:lnTo>
                          <a:pt x="586" y="211"/>
                        </a:lnTo>
                        <a:lnTo>
                          <a:pt x="593" y="260"/>
                        </a:lnTo>
                        <a:lnTo>
                          <a:pt x="652" y="265"/>
                        </a:lnTo>
                        <a:lnTo>
                          <a:pt x="662" y="282"/>
                        </a:lnTo>
                        <a:lnTo>
                          <a:pt x="782" y="315"/>
                        </a:lnTo>
                        <a:lnTo>
                          <a:pt x="765" y="350"/>
                        </a:lnTo>
                        <a:lnTo>
                          <a:pt x="652" y="350"/>
                        </a:lnTo>
                        <a:lnTo>
                          <a:pt x="640" y="355"/>
                        </a:lnTo>
                        <a:lnTo>
                          <a:pt x="652" y="371"/>
                        </a:lnTo>
                        <a:lnTo>
                          <a:pt x="593" y="371"/>
                        </a:lnTo>
                        <a:lnTo>
                          <a:pt x="602" y="388"/>
                        </a:lnTo>
                        <a:lnTo>
                          <a:pt x="602" y="404"/>
                        </a:lnTo>
                        <a:lnTo>
                          <a:pt x="610" y="433"/>
                        </a:lnTo>
                        <a:lnTo>
                          <a:pt x="555" y="442"/>
                        </a:lnTo>
                        <a:lnTo>
                          <a:pt x="555" y="466"/>
                        </a:lnTo>
                        <a:lnTo>
                          <a:pt x="565" y="482"/>
                        </a:lnTo>
                        <a:lnTo>
                          <a:pt x="548" y="520"/>
                        </a:lnTo>
                        <a:lnTo>
                          <a:pt x="513" y="537"/>
                        </a:lnTo>
                        <a:lnTo>
                          <a:pt x="484" y="593"/>
                        </a:lnTo>
                        <a:lnTo>
                          <a:pt x="463" y="593"/>
                        </a:lnTo>
                        <a:lnTo>
                          <a:pt x="480" y="598"/>
                        </a:lnTo>
                        <a:lnTo>
                          <a:pt x="458" y="631"/>
                        </a:lnTo>
                        <a:lnTo>
                          <a:pt x="475" y="648"/>
                        </a:lnTo>
                        <a:lnTo>
                          <a:pt x="447" y="664"/>
                        </a:lnTo>
                        <a:lnTo>
                          <a:pt x="354" y="615"/>
                        </a:lnTo>
                        <a:lnTo>
                          <a:pt x="425" y="598"/>
                        </a:lnTo>
                        <a:lnTo>
                          <a:pt x="392" y="582"/>
                        </a:lnTo>
                        <a:lnTo>
                          <a:pt x="350" y="598"/>
                        </a:lnTo>
                        <a:lnTo>
                          <a:pt x="324" y="577"/>
                        </a:lnTo>
                        <a:lnTo>
                          <a:pt x="286" y="577"/>
                        </a:lnTo>
                        <a:lnTo>
                          <a:pt x="265" y="553"/>
                        </a:lnTo>
                        <a:lnTo>
                          <a:pt x="241" y="520"/>
                        </a:lnTo>
                        <a:lnTo>
                          <a:pt x="269" y="515"/>
                        </a:lnTo>
                        <a:lnTo>
                          <a:pt x="286" y="515"/>
                        </a:lnTo>
                        <a:lnTo>
                          <a:pt x="286" y="520"/>
                        </a:lnTo>
                        <a:lnTo>
                          <a:pt x="371" y="520"/>
                        </a:lnTo>
                        <a:lnTo>
                          <a:pt x="404" y="537"/>
                        </a:lnTo>
                        <a:lnTo>
                          <a:pt x="409" y="527"/>
                        </a:lnTo>
                        <a:lnTo>
                          <a:pt x="300" y="499"/>
                        </a:lnTo>
                        <a:lnTo>
                          <a:pt x="447" y="471"/>
                        </a:lnTo>
                        <a:lnTo>
                          <a:pt x="463" y="461"/>
                        </a:lnTo>
                        <a:lnTo>
                          <a:pt x="248" y="487"/>
                        </a:lnTo>
                        <a:lnTo>
                          <a:pt x="232" y="482"/>
                        </a:lnTo>
                        <a:lnTo>
                          <a:pt x="241" y="471"/>
                        </a:lnTo>
                        <a:lnTo>
                          <a:pt x="227" y="466"/>
                        </a:lnTo>
                        <a:lnTo>
                          <a:pt x="227" y="442"/>
                        </a:lnTo>
                        <a:lnTo>
                          <a:pt x="248" y="433"/>
                        </a:lnTo>
                        <a:lnTo>
                          <a:pt x="269" y="449"/>
                        </a:lnTo>
                        <a:lnTo>
                          <a:pt x="265" y="433"/>
                        </a:lnTo>
                        <a:lnTo>
                          <a:pt x="317" y="426"/>
                        </a:lnTo>
                        <a:lnTo>
                          <a:pt x="338" y="409"/>
                        </a:lnTo>
                        <a:lnTo>
                          <a:pt x="371" y="409"/>
                        </a:lnTo>
                        <a:lnTo>
                          <a:pt x="366" y="404"/>
                        </a:lnTo>
                        <a:lnTo>
                          <a:pt x="371" y="393"/>
                        </a:lnTo>
                        <a:lnTo>
                          <a:pt x="442" y="393"/>
                        </a:lnTo>
                        <a:lnTo>
                          <a:pt x="480" y="376"/>
                        </a:lnTo>
                        <a:lnTo>
                          <a:pt x="409" y="376"/>
                        </a:lnTo>
                        <a:lnTo>
                          <a:pt x="447" y="338"/>
                        </a:lnTo>
                        <a:lnTo>
                          <a:pt x="425" y="334"/>
                        </a:lnTo>
                        <a:lnTo>
                          <a:pt x="392" y="371"/>
                        </a:lnTo>
                        <a:lnTo>
                          <a:pt x="354" y="376"/>
                        </a:lnTo>
                        <a:lnTo>
                          <a:pt x="333" y="355"/>
                        </a:lnTo>
                        <a:lnTo>
                          <a:pt x="350" y="350"/>
                        </a:lnTo>
                        <a:lnTo>
                          <a:pt x="354" y="322"/>
                        </a:lnTo>
                        <a:lnTo>
                          <a:pt x="350" y="315"/>
                        </a:lnTo>
                        <a:lnTo>
                          <a:pt x="324" y="355"/>
                        </a:lnTo>
                        <a:lnTo>
                          <a:pt x="312" y="350"/>
                        </a:lnTo>
                        <a:lnTo>
                          <a:pt x="312" y="334"/>
                        </a:lnTo>
                        <a:lnTo>
                          <a:pt x="286" y="338"/>
                        </a:lnTo>
                        <a:lnTo>
                          <a:pt x="286" y="355"/>
                        </a:lnTo>
                        <a:lnTo>
                          <a:pt x="279" y="371"/>
                        </a:lnTo>
                        <a:lnTo>
                          <a:pt x="300" y="388"/>
                        </a:lnTo>
                        <a:lnTo>
                          <a:pt x="279" y="388"/>
                        </a:lnTo>
                        <a:lnTo>
                          <a:pt x="269" y="393"/>
                        </a:lnTo>
                        <a:lnTo>
                          <a:pt x="227" y="416"/>
                        </a:lnTo>
                        <a:lnTo>
                          <a:pt x="227" y="416"/>
                        </a:lnTo>
                        <a:lnTo>
                          <a:pt x="227" y="416"/>
                        </a:lnTo>
                        <a:close/>
                        <a:moveTo>
                          <a:pt x="26" y="182"/>
                        </a:moveTo>
                        <a:lnTo>
                          <a:pt x="14" y="171"/>
                        </a:lnTo>
                        <a:lnTo>
                          <a:pt x="47" y="182"/>
                        </a:lnTo>
                        <a:lnTo>
                          <a:pt x="26" y="182"/>
                        </a:lnTo>
                        <a:lnTo>
                          <a:pt x="26" y="182"/>
                        </a:lnTo>
                        <a:lnTo>
                          <a:pt x="26" y="182"/>
                        </a:lnTo>
                        <a:close/>
                        <a:moveTo>
                          <a:pt x="662" y="249"/>
                        </a:moveTo>
                        <a:lnTo>
                          <a:pt x="673" y="239"/>
                        </a:lnTo>
                        <a:lnTo>
                          <a:pt x="678" y="239"/>
                        </a:lnTo>
                        <a:lnTo>
                          <a:pt x="662" y="249"/>
                        </a:lnTo>
                        <a:lnTo>
                          <a:pt x="662" y="249"/>
                        </a:lnTo>
                        <a:lnTo>
                          <a:pt x="662" y="249"/>
                        </a:lnTo>
                        <a:close/>
                        <a:moveTo>
                          <a:pt x="695" y="293"/>
                        </a:moveTo>
                        <a:lnTo>
                          <a:pt x="673" y="282"/>
                        </a:lnTo>
                        <a:lnTo>
                          <a:pt x="690" y="265"/>
                        </a:lnTo>
                        <a:lnTo>
                          <a:pt x="728" y="277"/>
                        </a:lnTo>
                        <a:lnTo>
                          <a:pt x="695" y="293"/>
                        </a:lnTo>
                        <a:lnTo>
                          <a:pt x="695" y="293"/>
                        </a:lnTo>
                        <a:lnTo>
                          <a:pt x="695" y="293"/>
                        </a:lnTo>
                        <a:close/>
                        <a:moveTo>
                          <a:pt x="744" y="282"/>
                        </a:moveTo>
                        <a:lnTo>
                          <a:pt x="732" y="282"/>
                        </a:lnTo>
                        <a:lnTo>
                          <a:pt x="761" y="282"/>
                        </a:lnTo>
                        <a:lnTo>
                          <a:pt x="744" y="282"/>
                        </a:lnTo>
                        <a:lnTo>
                          <a:pt x="744" y="282"/>
                        </a:lnTo>
                        <a:lnTo>
                          <a:pt x="744" y="282"/>
                        </a:lnTo>
                        <a:close/>
                        <a:moveTo>
                          <a:pt x="1391" y="293"/>
                        </a:moveTo>
                        <a:lnTo>
                          <a:pt x="1375" y="293"/>
                        </a:lnTo>
                        <a:lnTo>
                          <a:pt x="1396" y="293"/>
                        </a:lnTo>
                        <a:lnTo>
                          <a:pt x="1391" y="293"/>
                        </a:lnTo>
                        <a:lnTo>
                          <a:pt x="1391" y="293"/>
                        </a:lnTo>
                        <a:lnTo>
                          <a:pt x="1391" y="293"/>
                        </a:lnTo>
                        <a:close/>
                        <a:moveTo>
                          <a:pt x="1233" y="315"/>
                        </a:moveTo>
                        <a:lnTo>
                          <a:pt x="1233" y="305"/>
                        </a:lnTo>
                        <a:lnTo>
                          <a:pt x="1257" y="298"/>
                        </a:lnTo>
                        <a:lnTo>
                          <a:pt x="1354" y="305"/>
                        </a:lnTo>
                        <a:lnTo>
                          <a:pt x="1321" y="315"/>
                        </a:lnTo>
                        <a:lnTo>
                          <a:pt x="1288" y="298"/>
                        </a:lnTo>
                        <a:lnTo>
                          <a:pt x="1233" y="315"/>
                        </a:lnTo>
                        <a:lnTo>
                          <a:pt x="1233" y="315"/>
                        </a:lnTo>
                        <a:lnTo>
                          <a:pt x="1233" y="315"/>
                        </a:lnTo>
                        <a:close/>
                        <a:moveTo>
                          <a:pt x="118" y="416"/>
                        </a:moveTo>
                        <a:lnTo>
                          <a:pt x="47" y="371"/>
                        </a:lnTo>
                        <a:lnTo>
                          <a:pt x="10" y="322"/>
                        </a:lnTo>
                        <a:lnTo>
                          <a:pt x="0" y="305"/>
                        </a:lnTo>
                        <a:lnTo>
                          <a:pt x="43" y="315"/>
                        </a:lnTo>
                        <a:lnTo>
                          <a:pt x="52" y="334"/>
                        </a:lnTo>
                        <a:lnTo>
                          <a:pt x="47" y="334"/>
                        </a:lnTo>
                        <a:lnTo>
                          <a:pt x="52" y="360"/>
                        </a:lnTo>
                        <a:lnTo>
                          <a:pt x="97" y="376"/>
                        </a:lnTo>
                        <a:lnTo>
                          <a:pt x="118" y="404"/>
                        </a:lnTo>
                        <a:lnTo>
                          <a:pt x="118" y="416"/>
                        </a:lnTo>
                        <a:lnTo>
                          <a:pt x="118" y="416"/>
                        </a:lnTo>
                        <a:lnTo>
                          <a:pt x="118" y="416"/>
                        </a:lnTo>
                        <a:close/>
                        <a:moveTo>
                          <a:pt x="1143" y="350"/>
                        </a:moveTo>
                        <a:lnTo>
                          <a:pt x="1120" y="322"/>
                        </a:lnTo>
                        <a:lnTo>
                          <a:pt x="1136" y="315"/>
                        </a:lnTo>
                        <a:lnTo>
                          <a:pt x="1165" y="338"/>
                        </a:lnTo>
                        <a:lnTo>
                          <a:pt x="1143" y="350"/>
                        </a:lnTo>
                        <a:lnTo>
                          <a:pt x="1143" y="350"/>
                        </a:lnTo>
                        <a:lnTo>
                          <a:pt x="1143" y="350"/>
                        </a:lnTo>
                        <a:close/>
                        <a:moveTo>
                          <a:pt x="678" y="371"/>
                        </a:moveTo>
                        <a:lnTo>
                          <a:pt x="761" y="350"/>
                        </a:lnTo>
                        <a:lnTo>
                          <a:pt x="813" y="355"/>
                        </a:lnTo>
                        <a:lnTo>
                          <a:pt x="825" y="371"/>
                        </a:lnTo>
                        <a:lnTo>
                          <a:pt x="825" y="404"/>
                        </a:lnTo>
                        <a:lnTo>
                          <a:pt x="716" y="416"/>
                        </a:lnTo>
                        <a:lnTo>
                          <a:pt x="728" y="404"/>
                        </a:lnTo>
                        <a:lnTo>
                          <a:pt x="706" y="393"/>
                        </a:lnTo>
                        <a:lnTo>
                          <a:pt x="716" y="388"/>
                        </a:lnTo>
                        <a:lnTo>
                          <a:pt x="678" y="371"/>
                        </a:lnTo>
                        <a:lnTo>
                          <a:pt x="678" y="371"/>
                        </a:lnTo>
                        <a:lnTo>
                          <a:pt x="678" y="371"/>
                        </a:lnTo>
                        <a:close/>
                        <a:moveTo>
                          <a:pt x="858" y="560"/>
                        </a:moveTo>
                        <a:lnTo>
                          <a:pt x="841" y="560"/>
                        </a:lnTo>
                        <a:lnTo>
                          <a:pt x="841" y="553"/>
                        </a:lnTo>
                        <a:lnTo>
                          <a:pt x="851" y="544"/>
                        </a:lnTo>
                        <a:lnTo>
                          <a:pt x="841" y="537"/>
                        </a:lnTo>
                        <a:lnTo>
                          <a:pt x="867" y="515"/>
                        </a:lnTo>
                        <a:lnTo>
                          <a:pt x="732" y="527"/>
                        </a:lnTo>
                        <a:lnTo>
                          <a:pt x="732" y="515"/>
                        </a:lnTo>
                        <a:lnTo>
                          <a:pt x="761" y="504"/>
                        </a:lnTo>
                        <a:lnTo>
                          <a:pt x="761" y="487"/>
                        </a:lnTo>
                        <a:lnTo>
                          <a:pt x="787" y="461"/>
                        </a:lnTo>
                        <a:lnTo>
                          <a:pt x="732" y="433"/>
                        </a:lnTo>
                        <a:lnTo>
                          <a:pt x="879" y="409"/>
                        </a:lnTo>
                        <a:lnTo>
                          <a:pt x="910" y="416"/>
                        </a:lnTo>
                        <a:lnTo>
                          <a:pt x="888" y="433"/>
                        </a:lnTo>
                        <a:lnTo>
                          <a:pt x="888" y="449"/>
                        </a:lnTo>
                        <a:lnTo>
                          <a:pt x="926" y="466"/>
                        </a:lnTo>
                        <a:lnTo>
                          <a:pt x="976" y="466"/>
                        </a:lnTo>
                        <a:lnTo>
                          <a:pt x="1013" y="482"/>
                        </a:lnTo>
                        <a:lnTo>
                          <a:pt x="964" y="499"/>
                        </a:lnTo>
                        <a:lnTo>
                          <a:pt x="933" y="527"/>
                        </a:lnTo>
                        <a:lnTo>
                          <a:pt x="858" y="560"/>
                        </a:lnTo>
                        <a:lnTo>
                          <a:pt x="858" y="560"/>
                        </a:lnTo>
                        <a:lnTo>
                          <a:pt x="858" y="560"/>
                        </a:lnTo>
                        <a:close/>
                        <a:moveTo>
                          <a:pt x="888" y="560"/>
                        </a:moveTo>
                        <a:lnTo>
                          <a:pt x="879" y="560"/>
                        </a:lnTo>
                        <a:lnTo>
                          <a:pt x="905" y="560"/>
                        </a:lnTo>
                        <a:lnTo>
                          <a:pt x="888" y="560"/>
                        </a:lnTo>
                        <a:lnTo>
                          <a:pt x="888" y="560"/>
                        </a:lnTo>
                        <a:lnTo>
                          <a:pt x="888" y="560"/>
                        </a:lnTo>
                        <a:close/>
                        <a:moveTo>
                          <a:pt x="1018" y="688"/>
                        </a:moveTo>
                        <a:lnTo>
                          <a:pt x="1018" y="681"/>
                        </a:lnTo>
                        <a:lnTo>
                          <a:pt x="1068" y="648"/>
                        </a:lnTo>
                        <a:lnTo>
                          <a:pt x="1018" y="688"/>
                        </a:lnTo>
                        <a:lnTo>
                          <a:pt x="1018" y="688"/>
                        </a:lnTo>
                        <a:lnTo>
                          <a:pt x="1018" y="688"/>
                        </a:lnTo>
                        <a:close/>
                        <a:moveTo>
                          <a:pt x="602" y="988"/>
                        </a:moveTo>
                        <a:lnTo>
                          <a:pt x="586" y="969"/>
                        </a:lnTo>
                        <a:lnTo>
                          <a:pt x="619" y="969"/>
                        </a:lnTo>
                        <a:lnTo>
                          <a:pt x="602" y="988"/>
                        </a:lnTo>
                        <a:lnTo>
                          <a:pt x="602" y="988"/>
                        </a:lnTo>
                        <a:lnTo>
                          <a:pt x="602" y="98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23" name="Freeform 561">
                    <a:extLst>
                      <a:ext uri="{FF2B5EF4-FFF2-40B4-BE49-F238E27FC236}">
                        <a16:creationId xmlns:a16="http://schemas.microsoft.com/office/drawing/2014/main" id="{9A4A8278-8131-43D2-BF78-DAEDF2FBAD14}"/>
                      </a:ext>
                    </a:extLst>
                  </p:cNvPr>
                  <p:cNvSpPr>
                    <a:spLocks noEditPoints="1"/>
                  </p:cNvSpPr>
                  <p:nvPr/>
                </p:nvSpPr>
                <p:spPr bwMode="gray">
                  <a:xfrm>
                    <a:off x="7046927" y="1597236"/>
                    <a:ext cx="377501" cy="633219"/>
                  </a:xfrm>
                  <a:custGeom>
                    <a:avLst/>
                    <a:gdLst>
                      <a:gd name="T0" fmla="*/ 69 w 917"/>
                      <a:gd name="T1" fmla="*/ 1065 h 1538"/>
                      <a:gd name="T2" fmla="*/ 69 w 917"/>
                      <a:gd name="T3" fmla="*/ 860 h 1538"/>
                      <a:gd name="T4" fmla="*/ 76 w 917"/>
                      <a:gd name="T5" fmla="*/ 666 h 1538"/>
                      <a:gd name="T6" fmla="*/ 211 w 917"/>
                      <a:gd name="T7" fmla="*/ 555 h 1538"/>
                      <a:gd name="T8" fmla="*/ 274 w 917"/>
                      <a:gd name="T9" fmla="*/ 357 h 1538"/>
                      <a:gd name="T10" fmla="*/ 378 w 917"/>
                      <a:gd name="T11" fmla="*/ 177 h 1538"/>
                      <a:gd name="T12" fmla="*/ 485 w 917"/>
                      <a:gd name="T13" fmla="*/ 66 h 1538"/>
                      <a:gd name="T14" fmla="*/ 648 w 917"/>
                      <a:gd name="T15" fmla="*/ 12 h 1538"/>
                      <a:gd name="T16" fmla="*/ 865 w 917"/>
                      <a:gd name="T17" fmla="*/ 151 h 1538"/>
                      <a:gd name="T18" fmla="*/ 903 w 917"/>
                      <a:gd name="T19" fmla="*/ 279 h 1538"/>
                      <a:gd name="T20" fmla="*/ 903 w 917"/>
                      <a:gd name="T21" fmla="*/ 362 h 1538"/>
                      <a:gd name="T22" fmla="*/ 794 w 917"/>
                      <a:gd name="T23" fmla="*/ 395 h 1538"/>
                      <a:gd name="T24" fmla="*/ 778 w 917"/>
                      <a:gd name="T25" fmla="*/ 428 h 1538"/>
                      <a:gd name="T26" fmla="*/ 740 w 917"/>
                      <a:gd name="T27" fmla="*/ 465 h 1538"/>
                      <a:gd name="T28" fmla="*/ 697 w 917"/>
                      <a:gd name="T29" fmla="*/ 510 h 1538"/>
                      <a:gd name="T30" fmla="*/ 697 w 917"/>
                      <a:gd name="T31" fmla="*/ 593 h 1538"/>
                      <a:gd name="T32" fmla="*/ 589 w 917"/>
                      <a:gd name="T33" fmla="*/ 666 h 1538"/>
                      <a:gd name="T34" fmla="*/ 546 w 917"/>
                      <a:gd name="T35" fmla="*/ 695 h 1538"/>
                      <a:gd name="T36" fmla="*/ 501 w 917"/>
                      <a:gd name="T37" fmla="*/ 749 h 1538"/>
                      <a:gd name="T38" fmla="*/ 480 w 917"/>
                      <a:gd name="T39" fmla="*/ 761 h 1538"/>
                      <a:gd name="T40" fmla="*/ 463 w 917"/>
                      <a:gd name="T41" fmla="*/ 806 h 1538"/>
                      <a:gd name="T42" fmla="*/ 447 w 917"/>
                      <a:gd name="T43" fmla="*/ 877 h 1538"/>
                      <a:gd name="T44" fmla="*/ 433 w 917"/>
                      <a:gd name="T45" fmla="*/ 910 h 1538"/>
                      <a:gd name="T46" fmla="*/ 480 w 917"/>
                      <a:gd name="T47" fmla="*/ 988 h 1538"/>
                      <a:gd name="T48" fmla="*/ 539 w 917"/>
                      <a:gd name="T49" fmla="*/ 1044 h 1538"/>
                      <a:gd name="T50" fmla="*/ 555 w 917"/>
                      <a:gd name="T51" fmla="*/ 1082 h 1538"/>
                      <a:gd name="T52" fmla="*/ 470 w 917"/>
                      <a:gd name="T53" fmla="*/ 1110 h 1538"/>
                      <a:gd name="T54" fmla="*/ 454 w 917"/>
                      <a:gd name="T55" fmla="*/ 1099 h 1538"/>
                      <a:gd name="T56" fmla="*/ 454 w 917"/>
                      <a:gd name="T57" fmla="*/ 1110 h 1538"/>
                      <a:gd name="T58" fmla="*/ 395 w 917"/>
                      <a:gd name="T59" fmla="*/ 1110 h 1538"/>
                      <a:gd name="T60" fmla="*/ 437 w 917"/>
                      <a:gd name="T61" fmla="*/ 1132 h 1538"/>
                      <a:gd name="T62" fmla="*/ 534 w 917"/>
                      <a:gd name="T63" fmla="*/ 1122 h 1538"/>
                      <a:gd name="T64" fmla="*/ 454 w 917"/>
                      <a:gd name="T65" fmla="*/ 1172 h 1538"/>
                      <a:gd name="T66" fmla="*/ 383 w 917"/>
                      <a:gd name="T67" fmla="*/ 1205 h 1538"/>
                      <a:gd name="T68" fmla="*/ 383 w 917"/>
                      <a:gd name="T69" fmla="*/ 1266 h 1538"/>
                      <a:gd name="T70" fmla="*/ 383 w 917"/>
                      <a:gd name="T71" fmla="*/ 1304 h 1538"/>
                      <a:gd name="T72" fmla="*/ 371 w 917"/>
                      <a:gd name="T73" fmla="*/ 1403 h 1538"/>
                      <a:gd name="T74" fmla="*/ 215 w 917"/>
                      <a:gd name="T75" fmla="*/ 1486 h 1538"/>
                      <a:gd name="T76" fmla="*/ 130 w 917"/>
                      <a:gd name="T77" fmla="*/ 1538 h 1538"/>
                      <a:gd name="T78" fmla="*/ 123 w 917"/>
                      <a:gd name="T79" fmla="*/ 1427 h 1538"/>
                      <a:gd name="T80" fmla="*/ 69 w 917"/>
                      <a:gd name="T81" fmla="*/ 1321 h 1538"/>
                      <a:gd name="T82" fmla="*/ 55 w 917"/>
                      <a:gd name="T83" fmla="*/ 1299 h 1538"/>
                      <a:gd name="T84" fmla="*/ 5 w 917"/>
                      <a:gd name="T85" fmla="*/ 1226 h 1538"/>
                      <a:gd name="T86" fmla="*/ 31 w 917"/>
                      <a:gd name="T87" fmla="*/ 1172 h 1538"/>
                      <a:gd name="T88" fmla="*/ 485 w 917"/>
                      <a:gd name="T89" fmla="*/ 761 h 1538"/>
                      <a:gd name="T90" fmla="*/ 447 w 917"/>
                      <a:gd name="T91" fmla="*/ 789 h 1538"/>
                      <a:gd name="T92" fmla="*/ 508 w 917"/>
                      <a:gd name="T93" fmla="*/ 999 h 1538"/>
                      <a:gd name="T94" fmla="*/ 534 w 917"/>
                      <a:gd name="T95" fmla="*/ 1099 h 1538"/>
                      <a:gd name="T96" fmla="*/ 433 w 917"/>
                      <a:gd name="T97" fmla="*/ 1115 h 1538"/>
                      <a:gd name="T98" fmla="*/ 447 w 917"/>
                      <a:gd name="T99" fmla="*/ 1115 h 1538"/>
                      <a:gd name="T100" fmla="*/ 522 w 917"/>
                      <a:gd name="T101" fmla="*/ 1132 h 1538"/>
                      <a:gd name="T102" fmla="*/ 577 w 917"/>
                      <a:gd name="T103" fmla="*/ 1226 h 1538"/>
                      <a:gd name="T104" fmla="*/ 38 w 917"/>
                      <a:gd name="T105" fmla="*/ 1238 h 1538"/>
                      <a:gd name="T106" fmla="*/ 48 w 917"/>
                      <a:gd name="T107" fmla="*/ 1259 h 1538"/>
                      <a:gd name="T108" fmla="*/ 560 w 917"/>
                      <a:gd name="T109" fmla="*/ 1283 h 1538"/>
                      <a:gd name="T110" fmla="*/ 560 w 917"/>
                      <a:gd name="T111" fmla="*/ 1283 h 1538"/>
                      <a:gd name="T112" fmla="*/ 508 w 917"/>
                      <a:gd name="T113" fmla="*/ 1354 h 1538"/>
                      <a:gd name="T114" fmla="*/ 555 w 917"/>
                      <a:gd name="T115" fmla="*/ 1276 h 1538"/>
                      <a:gd name="T116" fmla="*/ 426 w 917"/>
                      <a:gd name="T117" fmla="*/ 1337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7" h="1538">
                        <a:moveTo>
                          <a:pt x="31" y="1172"/>
                        </a:moveTo>
                        <a:lnTo>
                          <a:pt x="48" y="1132"/>
                        </a:lnTo>
                        <a:lnTo>
                          <a:pt x="38" y="1099"/>
                        </a:lnTo>
                        <a:lnTo>
                          <a:pt x="55" y="1082"/>
                        </a:lnTo>
                        <a:lnTo>
                          <a:pt x="48" y="1065"/>
                        </a:lnTo>
                        <a:lnTo>
                          <a:pt x="69" y="1065"/>
                        </a:lnTo>
                        <a:lnTo>
                          <a:pt x="92" y="1044"/>
                        </a:lnTo>
                        <a:lnTo>
                          <a:pt x="107" y="1004"/>
                        </a:lnTo>
                        <a:lnTo>
                          <a:pt x="76" y="943"/>
                        </a:lnTo>
                        <a:lnTo>
                          <a:pt x="107" y="943"/>
                        </a:lnTo>
                        <a:lnTo>
                          <a:pt x="123" y="910"/>
                        </a:lnTo>
                        <a:lnTo>
                          <a:pt x="69" y="860"/>
                        </a:lnTo>
                        <a:lnTo>
                          <a:pt x="85" y="806"/>
                        </a:lnTo>
                        <a:lnTo>
                          <a:pt x="69" y="765"/>
                        </a:lnTo>
                        <a:lnTo>
                          <a:pt x="59" y="732"/>
                        </a:lnTo>
                        <a:lnTo>
                          <a:pt x="76" y="721"/>
                        </a:lnTo>
                        <a:lnTo>
                          <a:pt x="59" y="695"/>
                        </a:lnTo>
                        <a:lnTo>
                          <a:pt x="76" y="666"/>
                        </a:lnTo>
                        <a:lnTo>
                          <a:pt x="69" y="654"/>
                        </a:lnTo>
                        <a:lnTo>
                          <a:pt x="107" y="617"/>
                        </a:lnTo>
                        <a:lnTo>
                          <a:pt x="130" y="600"/>
                        </a:lnTo>
                        <a:lnTo>
                          <a:pt x="199" y="612"/>
                        </a:lnTo>
                        <a:lnTo>
                          <a:pt x="215" y="584"/>
                        </a:lnTo>
                        <a:lnTo>
                          <a:pt x="211" y="555"/>
                        </a:lnTo>
                        <a:lnTo>
                          <a:pt x="178" y="543"/>
                        </a:lnTo>
                        <a:lnTo>
                          <a:pt x="237" y="456"/>
                        </a:lnTo>
                        <a:lnTo>
                          <a:pt x="237" y="428"/>
                        </a:lnTo>
                        <a:lnTo>
                          <a:pt x="248" y="395"/>
                        </a:lnTo>
                        <a:lnTo>
                          <a:pt x="237" y="362"/>
                        </a:lnTo>
                        <a:lnTo>
                          <a:pt x="274" y="357"/>
                        </a:lnTo>
                        <a:lnTo>
                          <a:pt x="307" y="338"/>
                        </a:lnTo>
                        <a:lnTo>
                          <a:pt x="303" y="317"/>
                        </a:lnTo>
                        <a:lnTo>
                          <a:pt x="371" y="251"/>
                        </a:lnTo>
                        <a:lnTo>
                          <a:pt x="371" y="229"/>
                        </a:lnTo>
                        <a:lnTo>
                          <a:pt x="345" y="206"/>
                        </a:lnTo>
                        <a:lnTo>
                          <a:pt x="378" y="177"/>
                        </a:lnTo>
                        <a:lnTo>
                          <a:pt x="395" y="140"/>
                        </a:lnTo>
                        <a:lnTo>
                          <a:pt x="433" y="118"/>
                        </a:lnTo>
                        <a:lnTo>
                          <a:pt x="480" y="140"/>
                        </a:lnTo>
                        <a:lnTo>
                          <a:pt x="492" y="111"/>
                        </a:lnTo>
                        <a:lnTo>
                          <a:pt x="485" y="78"/>
                        </a:lnTo>
                        <a:lnTo>
                          <a:pt x="485" y="66"/>
                        </a:lnTo>
                        <a:lnTo>
                          <a:pt x="546" y="66"/>
                        </a:lnTo>
                        <a:lnTo>
                          <a:pt x="615" y="95"/>
                        </a:lnTo>
                        <a:lnTo>
                          <a:pt x="643" y="66"/>
                        </a:lnTo>
                        <a:lnTo>
                          <a:pt x="615" y="62"/>
                        </a:lnTo>
                        <a:lnTo>
                          <a:pt x="648" y="28"/>
                        </a:lnTo>
                        <a:lnTo>
                          <a:pt x="648" y="12"/>
                        </a:lnTo>
                        <a:lnTo>
                          <a:pt x="631" y="0"/>
                        </a:lnTo>
                        <a:lnTo>
                          <a:pt x="664" y="0"/>
                        </a:lnTo>
                        <a:lnTo>
                          <a:pt x="766" y="66"/>
                        </a:lnTo>
                        <a:lnTo>
                          <a:pt x="827" y="83"/>
                        </a:lnTo>
                        <a:lnTo>
                          <a:pt x="879" y="140"/>
                        </a:lnTo>
                        <a:lnTo>
                          <a:pt x="865" y="151"/>
                        </a:lnTo>
                        <a:lnTo>
                          <a:pt x="865" y="194"/>
                        </a:lnTo>
                        <a:lnTo>
                          <a:pt x="886" y="206"/>
                        </a:lnTo>
                        <a:lnTo>
                          <a:pt x="886" y="222"/>
                        </a:lnTo>
                        <a:lnTo>
                          <a:pt x="879" y="222"/>
                        </a:lnTo>
                        <a:lnTo>
                          <a:pt x="874" y="234"/>
                        </a:lnTo>
                        <a:lnTo>
                          <a:pt x="903" y="279"/>
                        </a:lnTo>
                        <a:lnTo>
                          <a:pt x="896" y="284"/>
                        </a:lnTo>
                        <a:lnTo>
                          <a:pt x="896" y="305"/>
                        </a:lnTo>
                        <a:lnTo>
                          <a:pt x="879" y="321"/>
                        </a:lnTo>
                        <a:lnTo>
                          <a:pt x="879" y="338"/>
                        </a:lnTo>
                        <a:lnTo>
                          <a:pt x="886" y="357"/>
                        </a:lnTo>
                        <a:lnTo>
                          <a:pt x="903" y="362"/>
                        </a:lnTo>
                        <a:lnTo>
                          <a:pt x="917" y="395"/>
                        </a:lnTo>
                        <a:lnTo>
                          <a:pt x="848" y="399"/>
                        </a:lnTo>
                        <a:lnTo>
                          <a:pt x="841" y="411"/>
                        </a:lnTo>
                        <a:lnTo>
                          <a:pt x="811" y="390"/>
                        </a:lnTo>
                        <a:lnTo>
                          <a:pt x="811" y="399"/>
                        </a:lnTo>
                        <a:lnTo>
                          <a:pt x="794" y="395"/>
                        </a:lnTo>
                        <a:lnTo>
                          <a:pt x="789" y="395"/>
                        </a:lnTo>
                        <a:lnTo>
                          <a:pt x="778" y="416"/>
                        </a:lnTo>
                        <a:lnTo>
                          <a:pt x="794" y="416"/>
                        </a:lnTo>
                        <a:lnTo>
                          <a:pt x="794" y="428"/>
                        </a:lnTo>
                        <a:lnTo>
                          <a:pt x="752" y="411"/>
                        </a:lnTo>
                        <a:lnTo>
                          <a:pt x="778" y="428"/>
                        </a:lnTo>
                        <a:lnTo>
                          <a:pt x="756" y="432"/>
                        </a:lnTo>
                        <a:lnTo>
                          <a:pt x="766" y="444"/>
                        </a:lnTo>
                        <a:lnTo>
                          <a:pt x="756" y="449"/>
                        </a:lnTo>
                        <a:lnTo>
                          <a:pt x="723" y="449"/>
                        </a:lnTo>
                        <a:lnTo>
                          <a:pt x="740" y="456"/>
                        </a:lnTo>
                        <a:lnTo>
                          <a:pt x="740" y="465"/>
                        </a:lnTo>
                        <a:lnTo>
                          <a:pt x="711" y="449"/>
                        </a:lnTo>
                        <a:lnTo>
                          <a:pt x="740" y="473"/>
                        </a:lnTo>
                        <a:lnTo>
                          <a:pt x="735" y="489"/>
                        </a:lnTo>
                        <a:lnTo>
                          <a:pt x="711" y="501"/>
                        </a:lnTo>
                        <a:lnTo>
                          <a:pt x="711" y="510"/>
                        </a:lnTo>
                        <a:lnTo>
                          <a:pt x="697" y="510"/>
                        </a:lnTo>
                        <a:lnTo>
                          <a:pt x="718" y="522"/>
                        </a:lnTo>
                        <a:lnTo>
                          <a:pt x="718" y="527"/>
                        </a:lnTo>
                        <a:lnTo>
                          <a:pt x="702" y="527"/>
                        </a:lnTo>
                        <a:lnTo>
                          <a:pt x="735" y="543"/>
                        </a:lnTo>
                        <a:lnTo>
                          <a:pt x="735" y="560"/>
                        </a:lnTo>
                        <a:lnTo>
                          <a:pt x="697" y="593"/>
                        </a:lnTo>
                        <a:lnTo>
                          <a:pt x="681" y="621"/>
                        </a:lnTo>
                        <a:lnTo>
                          <a:pt x="659" y="633"/>
                        </a:lnTo>
                        <a:lnTo>
                          <a:pt x="648" y="650"/>
                        </a:lnTo>
                        <a:lnTo>
                          <a:pt x="615" y="654"/>
                        </a:lnTo>
                        <a:lnTo>
                          <a:pt x="605" y="671"/>
                        </a:lnTo>
                        <a:lnTo>
                          <a:pt x="589" y="666"/>
                        </a:lnTo>
                        <a:lnTo>
                          <a:pt x="589" y="671"/>
                        </a:lnTo>
                        <a:lnTo>
                          <a:pt x="572" y="671"/>
                        </a:lnTo>
                        <a:lnTo>
                          <a:pt x="572" y="688"/>
                        </a:lnTo>
                        <a:lnTo>
                          <a:pt x="555" y="695"/>
                        </a:lnTo>
                        <a:lnTo>
                          <a:pt x="555" y="704"/>
                        </a:lnTo>
                        <a:lnTo>
                          <a:pt x="546" y="695"/>
                        </a:lnTo>
                        <a:lnTo>
                          <a:pt x="539" y="695"/>
                        </a:lnTo>
                        <a:lnTo>
                          <a:pt x="546" y="704"/>
                        </a:lnTo>
                        <a:lnTo>
                          <a:pt x="534" y="704"/>
                        </a:lnTo>
                        <a:lnTo>
                          <a:pt x="501" y="721"/>
                        </a:lnTo>
                        <a:lnTo>
                          <a:pt x="522" y="728"/>
                        </a:lnTo>
                        <a:lnTo>
                          <a:pt x="501" y="749"/>
                        </a:lnTo>
                        <a:lnTo>
                          <a:pt x="480" y="744"/>
                        </a:lnTo>
                        <a:lnTo>
                          <a:pt x="470" y="728"/>
                        </a:lnTo>
                        <a:lnTo>
                          <a:pt x="463" y="728"/>
                        </a:lnTo>
                        <a:lnTo>
                          <a:pt x="485" y="749"/>
                        </a:lnTo>
                        <a:lnTo>
                          <a:pt x="485" y="761"/>
                        </a:lnTo>
                        <a:lnTo>
                          <a:pt x="480" y="761"/>
                        </a:lnTo>
                        <a:lnTo>
                          <a:pt x="485" y="765"/>
                        </a:lnTo>
                        <a:lnTo>
                          <a:pt x="463" y="782"/>
                        </a:lnTo>
                        <a:lnTo>
                          <a:pt x="437" y="777"/>
                        </a:lnTo>
                        <a:lnTo>
                          <a:pt x="437" y="782"/>
                        </a:lnTo>
                        <a:lnTo>
                          <a:pt x="437" y="799"/>
                        </a:lnTo>
                        <a:lnTo>
                          <a:pt x="463" y="806"/>
                        </a:lnTo>
                        <a:lnTo>
                          <a:pt x="447" y="806"/>
                        </a:lnTo>
                        <a:lnTo>
                          <a:pt x="447" y="839"/>
                        </a:lnTo>
                        <a:lnTo>
                          <a:pt x="437" y="839"/>
                        </a:lnTo>
                        <a:lnTo>
                          <a:pt x="437" y="855"/>
                        </a:lnTo>
                        <a:lnTo>
                          <a:pt x="447" y="872"/>
                        </a:lnTo>
                        <a:lnTo>
                          <a:pt x="447" y="877"/>
                        </a:lnTo>
                        <a:lnTo>
                          <a:pt x="426" y="872"/>
                        </a:lnTo>
                        <a:lnTo>
                          <a:pt x="433" y="872"/>
                        </a:lnTo>
                        <a:lnTo>
                          <a:pt x="416" y="877"/>
                        </a:lnTo>
                        <a:lnTo>
                          <a:pt x="433" y="893"/>
                        </a:lnTo>
                        <a:lnTo>
                          <a:pt x="416" y="900"/>
                        </a:lnTo>
                        <a:lnTo>
                          <a:pt x="433" y="910"/>
                        </a:lnTo>
                        <a:lnTo>
                          <a:pt x="426" y="950"/>
                        </a:lnTo>
                        <a:lnTo>
                          <a:pt x="433" y="966"/>
                        </a:lnTo>
                        <a:lnTo>
                          <a:pt x="433" y="983"/>
                        </a:lnTo>
                        <a:lnTo>
                          <a:pt x="454" y="988"/>
                        </a:lnTo>
                        <a:lnTo>
                          <a:pt x="463" y="999"/>
                        </a:lnTo>
                        <a:lnTo>
                          <a:pt x="480" y="988"/>
                        </a:lnTo>
                        <a:lnTo>
                          <a:pt x="501" y="1021"/>
                        </a:lnTo>
                        <a:lnTo>
                          <a:pt x="518" y="1021"/>
                        </a:lnTo>
                        <a:lnTo>
                          <a:pt x="522" y="1028"/>
                        </a:lnTo>
                        <a:lnTo>
                          <a:pt x="508" y="1021"/>
                        </a:lnTo>
                        <a:lnTo>
                          <a:pt x="508" y="1037"/>
                        </a:lnTo>
                        <a:lnTo>
                          <a:pt x="539" y="1044"/>
                        </a:lnTo>
                        <a:lnTo>
                          <a:pt x="546" y="1061"/>
                        </a:lnTo>
                        <a:lnTo>
                          <a:pt x="555" y="1065"/>
                        </a:lnTo>
                        <a:lnTo>
                          <a:pt x="555" y="1077"/>
                        </a:lnTo>
                        <a:lnTo>
                          <a:pt x="546" y="1065"/>
                        </a:lnTo>
                        <a:lnTo>
                          <a:pt x="539" y="1077"/>
                        </a:lnTo>
                        <a:lnTo>
                          <a:pt x="555" y="1082"/>
                        </a:lnTo>
                        <a:lnTo>
                          <a:pt x="501" y="1110"/>
                        </a:lnTo>
                        <a:lnTo>
                          <a:pt x="508" y="1115"/>
                        </a:lnTo>
                        <a:lnTo>
                          <a:pt x="492" y="1115"/>
                        </a:lnTo>
                        <a:lnTo>
                          <a:pt x="485" y="1122"/>
                        </a:lnTo>
                        <a:lnTo>
                          <a:pt x="470" y="1115"/>
                        </a:lnTo>
                        <a:lnTo>
                          <a:pt x="470" y="1110"/>
                        </a:lnTo>
                        <a:lnTo>
                          <a:pt x="463" y="1094"/>
                        </a:lnTo>
                        <a:lnTo>
                          <a:pt x="454" y="1094"/>
                        </a:lnTo>
                        <a:lnTo>
                          <a:pt x="463" y="1082"/>
                        </a:lnTo>
                        <a:lnTo>
                          <a:pt x="454" y="1077"/>
                        </a:lnTo>
                        <a:lnTo>
                          <a:pt x="447" y="1094"/>
                        </a:lnTo>
                        <a:lnTo>
                          <a:pt x="454" y="1099"/>
                        </a:lnTo>
                        <a:lnTo>
                          <a:pt x="447" y="1082"/>
                        </a:lnTo>
                        <a:lnTo>
                          <a:pt x="454" y="1082"/>
                        </a:lnTo>
                        <a:lnTo>
                          <a:pt x="454" y="1094"/>
                        </a:lnTo>
                        <a:lnTo>
                          <a:pt x="470" y="1099"/>
                        </a:lnTo>
                        <a:lnTo>
                          <a:pt x="463" y="1115"/>
                        </a:lnTo>
                        <a:lnTo>
                          <a:pt x="454" y="1110"/>
                        </a:lnTo>
                        <a:lnTo>
                          <a:pt x="437" y="1094"/>
                        </a:lnTo>
                        <a:lnTo>
                          <a:pt x="437" y="1110"/>
                        </a:lnTo>
                        <a:lnTo>
                          <a:pt x="378" y="1099"/>
                        </a:lnTo>
                        <a:lnTo>
                          <a:pt x="378" y="1110"/>
                        </a:lnTo>
                        <a:lnTo>
                          <a:pt x="345" y="1110"/>
                        </a:lnTo>
                        <a:lnTo>
                          <a:pt x="395" y="1110"/>
                        </a:lnTo>
                        <a:lnTo>
                          <a:pt x="409" y="1122"/>
                        </a:lnTo>
                        <a:lnTo>
                          <a:pt x="395" y="1110"/>
                        </a:lnTo>
                        <a:lnTo>
                          <a:pt x="400" y="1110"/>
                        </a:lnTo>
                        <a:lnTo>
                          <a:pt x="433" y="1122"/>
                        </a:lnTo>
                        <a:lnTo>
                          <a:pt x="433" y="1132"/>
                        </a:lnTo>
                        <a:lnTo>
                          <a:pt x="437" y="1132"/>
                        </a:lnTo>
                        <a:lnTo>
                          <a:pt x="437" y="1122"/>
                        </a:lnTo>
                        <a:lnTo>
                          <a:pt x="470" y="1132"/>
                        </a:lnTo>
                        <a:lnTo>
                          <a:pt x="501" y="1122"/>
                        </a:lnTo>
                        <a:lnTo>
                          <a:pt x="518" y="1122"/>
                        </a:lnTo>
                        <a:lnTo>
                          <a:pt x="518" y="1115"/>
                        </a:lnTo>
                        <a:lnTo>
                          <a:pt x="534" y="1122"/>
                        </a:lnTo>
                        <a:lnTo>
                          <a:pt x="501" y="1132"/>
                        </a:lnTo>
                        <a:lnTo>
                          <a:pt x="501" y="1148"/>
                        </a:lnTo>
                        <a:lnTo>
                          <a:pt x="485" y="1155"/>
                        </a:lnTo>
                        <a:lnTo>
                          <a:pt x="480" y="1181"/>
                        </a:lnTo>
                        <a:lnTo>
                          <a:pt x="463" y="1139"/>
                        </a:lnTo>
                        <a:lnTo>
                          <a:pt x="454" y="1172"/>
                        </a:lnTo>
                        <a:lnTo>
                          <a:pt x="437" y="1188"/>
                        </a:lnTo>
                        <a:lnTo>
                          <a:pt x="416" y="1188"/>
                        </a:lnTo>
                        <a:lnTo>
                          <a:pt x="426" y="1193"/>
                        </a:lnTo>
                        <a:lnTo>
                          <a:pt x="409" y="1205"/>
                        </a:lnTo>
                        <a:lnTo>
                          <a:pt x="357" y="1205"/>
                        </a:lnTo>
                        <a:lnTo>
                          <a:pt x="383" y="1205"/>
                        </a:lnTo>
                        <a:lnTo>
                          <a:pt x="409" y="1221"/>
                        </a:lnTo>
                        <a:lnTo>
                          <a:pt x="371" y="1221"/>
                        </a:lnTo>
                        <a:lnTo>
                          <a:pt x="395" y="1226"/>
                        </a:lnTo>
                        <a:lnTo>
                          <a:pt x="400" y="1243"/>
                        </a:lnTo>
                        <a:lnTo>
                          <a:pt x="395" y="1266"/>
                        </a:lnTo>
                        <a:lnTo>
                          <a:pt x="383" y="1266"/>
                        </a:lnTo>
                        <a:lnTo>
                          <a:pt x="395" y="1283"/>
                        </a:lnTo>
                        <a:lnTo>
                          <a:pt x="378" y="1266"/>
                        </a:lnTo>
                        <a:lnTo>
                          <a:pt x="395" y="1292"/>
                        </a:lnTo>
                        <a:lnTo>
                          <a:pt x="371" y="1276"/>
                        </a:lnTo>
                        <a:lnTo>
                          <a:pt x="395" y="1299"/>
                        </a:lnTo>
                        <a:lnTo>
                          <a:pt x="383" y="1304"/>
                        </a:lnTo>
                        <a:lnTo>
                          <a:pt x="395" y="1321"/>
                        </a:lnTo>
                        <a:lnTo>
                          <a:pt x="378" y="1337"/>
                        </a:lnTo>
                        <a:lnTo>
                          <a:pt x="378" y="1354"/>
                        </a:lnTo>
                        <a:lnTo>
                          <a:pt x="383" y="1358"/>
                        </a:lnTo>
                        <a:lnTo>
                          <a:pt x="378" y="1370"/>
                        </a:lnTo>
                        <a:lnTo>
                          <a:pt x="371" y="1403"/>
                        </a:lnTo>
                        <a:lnTo>
                          <a:pt x="329" y="1465"/>
                        </a:lnTo>
                        <a:lnTo>
                          <a:pt x="319" y="1460"/>
                        </a:lnTo>
                        <a:lnTo>
                          <a:pt x="253" y="1460"/>
                        </a:lnTo>
                        <a:lnTo>
                          <a:pt x="253" y="1469"/>
                        </a:lnTo>
                        <a:lnTo>
                          <a:pt x="237" y="1465"/>
                        </a:lnTo>
                        <a:lnTo>
                          <a:pt x="215" y="1486"/>
                        </a:lnTo>
                        <a:lnTo>
                          <a:pt x="215" y="1505"/>
                        </a:lnTo>
                        <a:lnTo>
                          <a:pt x="232" y="1521"/>
                        </a:lnTo>
                        <a:lnTo>
                          <a:pt x="215" y="1538"/>
                        </a:lnTo>
                        <a:lnTo>
                          <a:pt x="182" y="1526"/>
                        </a:lnTo>
                        <a:lnTo>
                          <a:pt x="156" y="1538"/>
                        </a:lnTo>
                        <a:lnTo>
                          <a:pt x="130" y="1538"/>
                        </a:lnTo>
                        <a:lnTo>
                          <a:pt x="123" y="1521"/>
                        </a:lnTo>
                        <a:lnTo>
                          <a:pt x="140" y="1505"/>
                        </a:lnTo>
                        <a:lnTo>
                          <a:pt x="92" y="1443"/>
                        </a:lnTo>
                        <a:lnTo>
                          <a:pt x="123" y="1448"/>
                        </a:lnTo>
                        <a:lnTo>
                          <a:pt x="107" y="1432"/>
                        </a:lnTo>
                        <a:lnTo>
                          <a:pt x="123" y="1427"/>
                        </a:lnTo>
                        <a:lnTo>
                          <a:pt x="123" y="1410"/>
                        </a:lnTo>
                        <a:lnTo>
                          <a:pt x="114" y="1410"/>
                        </a:lnTo>
                        <a:lnTo>
                          <a:pt x="102" y="1387"/>
                        </a:lnTo>
                        <a:lnTo>
                          <a:pt x="85" y="1377"/>
                        </a:lnTo>
                        <a:lnTo>
                          <a:pt x="69" y="1349"/>
                        </a:lnTo>
                        <a:lnTo>
                          <a:pt x="69" y="1321"/>
                        </a:lnTo>
                        <a:lnTo>
                          <a:pt x="59" y="1321"/>
                        </a:lnTo>
                        <a:lnTo>
                          <a:pt x="59" y="1337"/>
                        </a:lnTo>
                        <a:lnTo>
                          <a:pt x="55" y="1332"/>
                        </a:lnTo>
                        <a:lnTo>
                          <a:pt x="55" y="1304"/>
                        </a:lnTo>
                        <a:lnTo>
                          <a:pt x="55" y="1299"/>
                        </a:lnTo>
                        <a:lnTo>
                          <a:pt x="55" y="1299"/>
                        </a:lnTo>
                        <a:lnTo>
                          <a:pt x="38" y="1299"/>
                        </a:lnTo>
                        <a:lnTo>
                          <a:pt x="38" y="1283"/>
                        </a:lnTo>
                        <a:lnTo>
                          <a:pt x="55" y="1243"/>
                        </a:lnTo>
                        <a:lnTo>
                          <a:pt x="48" y="1238"/>
                        </a:lnTo>
                        <a:lnTo>
                          <a:pt x="31" y="1243"/>
                        </a:lnTo>
                        <a:lnTo>
                          <a:pt x="5" y="1226"/>
                        </a:lnTo>
                        <a:lnTo>
                          <a:pt x="5" y="1181"/>
                        </a:lnTo>
                        <a:lnTo>
                          <a:pt x="0" y="1165"/>
                        </a:lnTo>
                        <a:lnTo>
                          <a:pt x="15" y="1148"/>
                        </a:lnTo>
                        <a:lnTo>
                          <a:pt x="22" y="1165"/>
                        </a:lnTo>
                        <a:lnTo>
                          <a:pt x="22" y="1172"/>
                        </a:lnTo>
                        <a:lnTo>
                          <a:pt x="31" y="1172"/>
                        </a:lnTo>
                        <a:lnTo>
                          <a:pt x="31" y="1172"/>
                        </a:lnTo>
                        <a:lnTo>
                          <a:pt x="31" y="1172"/>
                        </a:lnTo>
                        <a:close/>
                        <a:moveTo>
                          <a:pt x="485" y="761"/>
                        </a:moveTo>
                        <a:lnTo>
                          <a:pt x="485" y="749"/>
                        </a:lnTo>
                        <a:lnTo>
                          <a:pt x="492" y="749"/>
                        </a:lnTo>
                        <a:lnTo>
                          <a:pt x="485" y="761"/>
                        </a:lnTo>
                        <a:lnTo>
                          <a:pt x="485" y="761"/>
                        </a:lnTo>
                        <a:lnTo>
                          <a:pt x="485" y="761"/>
                        </a:lnTo>
                        <a:close/>
                        <a:moveTo>
                          <a:pt x="447" y="799"/>
                        </a:moveTo>
                        <a:lnTo>
                          <a:pt x="437" y="782"/>
                        </a:lnTo>
                        <a:lnTo>
                          <a:pt x="447" y="782"/>
                        </a:lnTo>
                        <a:lnTo>
                          <a:pt x="447" y="789"/>
                        </a:lnTo>
                        <a:lnTo>
                          <a:pt x="447" y="799"/>
                        </a:lnTo>
                        <a:lnTo>
                          <a:pt x="447" y="799"/>
                        </a:lnTo>
                        <a:lnTo>
                          <a:pt x="447" y="799"/>
                        </a:lnTo>
                        <a:close/>
                        <a:moveTo>
                          <a:pt x="522" y="1021"/>
                        </a:moveTo>
                        <a:lnTo>
                          <a:pt x="508" y="1011"/>
                        </a:lnTo>
                        <a:lnTo>
                          <a:pt x="508" y="999"/>
                        </a:lnTo>
                        <a:lnTo>
                          <a:pt x="522" y="1021"/>
                        </a:lnTo>
                        <a:lnTo>
                          <a:pt x="522" y="1021"/>
                        </a:lnTo>
                        <a:lnTo>
                          <a:pt x="522" y="1021"/>
                        </a:lnTo>
                        <a:close/>
                        <a:moveTo>
                          <a:pt x="522" y="1115"/>
                        </a:moveTo>
                        <a:lnTo>
                          <a:pt x="522" y="1110"/>
                        </a:lnTo>
                        <a:lnTo>
                          <a:pt x="534" y="1099"/>
                        </a:lnTo>
                        <a:lnTo>
                          <a:pt x="522" y="1115"/>
                        </a:lnTo>
                        <a:lnTo>
                          <a:pt x="522" y="1115"/>
                        </a:lnTo>
                        <a:lnTo>
                          <a:pt x="522" y="1115"/>
                        </a:lnTo>
                        <a:close/>
                        <a:moveTo>
                          <a:pt x="433" y="1122"/>
                        </a:moveTo>
                        <a:lnTo>
                          <a:pt x="416" y="1115"/>
                        </a:lnTo>
                        <a:lnTo>
                          <a:pt x="433" y="1115"/>
                        </a:lnTo>
                        <a:lnTo>
                          <a:pt x="433" y="1122"/>
                        </a:lnTo>
                        <a:lnTo>
                          <a:pt x="433" y="1122"/>
                        </a:lnTo>
                        <a:lnTo>
                          <a:pt x="433" y="1122"/>
                        </a:lnTo>
                        <a:close/>
                        <a:moveTo>
                          <a:pt x="470" y="1132"/>
                        </a:moveTo>
                        <a:lnTo>
                          <a:pt x="454" y="1132"/>
                        </a:lnTo>
                        <a:lnTo>
                          <a:pt x="447" y="1115"/>
                        </a:lnTo>
                        <a:lnTo>
                          <a:pt x="470" y="1132"/>
                        </a:lnTo>
                        <a:lnTo>
                          <a:pt x="470" y="1132"/>
                        </a:lnTo>
                        <a:lnTo>
                          <a:pt x="470" y="1132"/>
                        </a:lnTo>
                        <a:close/>
                        <a:moveTo>
                          <a:pt x="518" y="1139"/>
                        </a:moveTo>
                        <a:lnTo>
                          <a:pt x="508" y="1132"/>
                        </a:lnTo>
                        <a:lnTo>
                          <a:pt x="522" y="1132"/>
                        </a:lnTo>
                        <a:lnTo>
                          <a:pt x="518" y="1139"/>
                        </a:lnTo>
                        <a:lnTo>
                          <a:pt x="518" y="1139"/>
                        </a:lnTo>
                        <a:lnTo>
                          <a:pt x="518" y="1139"/>
                        </a:lnTo>
                        <a:close/>
                        <a:moveTo>
                          <a:pt x="572" y="1238"/>
                        </a:moveTo>
                        <a:lnTo>
                          <a:pt x="560" y="1226"/>
                        </a:lnTo>
                        <a:lnTo>
                          <a:pt x="577" y="1226"/>
                        </a:lnTo>
                        <a:lnTo>
                          <a:pt x="572" y="1238"/>
                        </a:lnTo>
                        <a:lnTo>
                          <a:pt x="572" y="1238"/>
                        </a:lnTo>
                        <a:lnTo>
                          <a:pt x="572" y="1238"/>
                        </a:lnTo>
                        <a:close/>
                        <a:moveTo>
                          <a:pt x="22" y="1259"/>
                        </a:moveTo>
                        <a:lnTo>
                          <a:pt x="22" y="1250"/>
                        </a:lnTo>
                        <a:lnTo>
                          <a:pt x="38" y="1238"/>
                        </a:lnTo>
                        <a:lnTo>
                          <a:pt x="48" y="1243"/>
                        </a:lnTo>
                        <a:lnTo>
                          <a:pt x="48" y="1250"/>
                        </a:lnTo>
                        <a:lnTo>
                          <a:pt x="22" y="1259"/>
                        </a:lnTo>
                        <a:lnTo>
                          <a:pt x="22" y="1259"/>
                        </a:lnTo>
                        <a:lnTo>
                          <a:pt x="22" y="1259"/>
                        </a:lnTo>
                        <a:close/>
                        <a:moveTo>
                          <a:pt x="48" y="1259"/>
                        </a:moveTo>
                        <a:lnTo>
                          <a:pt x="31" y="1276"/>
                        </a:lnTo>
                        <a:lnTo>
                          <a:pt x="31" y="1266"/>
                        </a:lnTo>
                        <a:lnTo>
                          <a:pt x="48" y="1259"/>
                        </a:lnTo>
                        <a:lnTo>
                          <a:pt x="48" y="1259"/>
                        </a:lnTo>
                        <a:lnTo>
                          <a:pt x="48" y="1259"/>
                        </a:lnTo>
                        <a:close/>
                        <a:moveTo>
                          <a:pt x="560" y="1283"/>
                        </a:moveTo>
                        <a:lnTo>
                          <a:pt x="555" y="1276"/>
                        </a:lnTo>
                        <a:lnTo>
                          <a:pt x="560" y="1266"/>
                        </a:lnTo>
                        <a:lnTo>
                          <a:pt x="577" y="1266"/>
                        </a:lnTo>
                        <a:lnTo>
                          <a:pt x="560" y="1276"/>
                        </a:lnTo>
                        <a:lnTo>
                          <a:pt x="560" y="1283"/>
                        </a:lnTo>
                        <a:lnTo>
                          <a:pt x="560" y="1283"/>
                        </a:lnTo>
                        <a:lnTo>
                          <a:pt x="560" y="1283"/>
                        </a:lnTo>
                        <a:close/>
                        <a:moveTo>
                          <a:pt x="555" y="1276"/>
                        </a:moveTo>
                        <a:lnTo>
                          <a:pt x="555" y="1283"/>
                        </a:lnTo>
                        <a:lnTo>
                          <a:pt x="539" y="1299"/>
                        </a:lnTo>
                        <a:lnTo>
                          <a:pt x="534" y="1349"/>
                        </a:lnTo>
                        <a:lnTo>
                          <a:pt x="508" y="1354"/>
                        </a:lnTo>
                        <a:lnTo>
                          <a:pt x="501" y="1377"/>
                        </a:lnTo>
                        <a:lnTo>
                          <a:pt x="492" y="1377"/>
                        </a:lnTo>
                        <a:lnTo>
                          <a:pt x="501" y="1370"/>
                        </a:lnTo>
                        <a:lnTo>
                          <a:pt x="492" y="1316"/>
                        </a:lnTo>
                        <a:lnTo>
                          <a:pt x="534" y="1276"/>
                        </a:lnTo>
                        <a:lnTo>
                          <a:pt x="555" y="1276"/>
                        </a:lnTo>
                        <a:lnTo>
                          <a:pt x="555" y="1276"/>
                        </a:lnTo>
                        <a:lnTo>
                          <a:pt x="555" y="1276"/>
                        </a:lnTo>
                        <a:close/>
                        <a:moveTo>
                          <a:pt x="371" y="1448"/>
                        </a:moveTo>
                        <a:lnTo>
                          <a:pt x="371" y="1410"/>
                        </a:lnTo>
                        <a:lnTo>
                          <a:pt x="409" y="1337"/>
                        </a:lnTo>
                        <a:lnTo>
                          <a:pt x="426" y="1337"/>
                        </a:lnTo>
                        <a:lnTo>
                          <a:pt x="371" y="1448"/>
                        </a:lnTo>
                        <a:lnTo>
                          <a:pt x="371" y="1448"/>
                        </a:lnTo>
                        <a:lnTo>
                          <a:pt x="371" y="144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48" name="Freeform 568">
                    <a:extLst>
                      <a:ext uri="{FF2B5EF4-FFF2-40B4-BE49-F238E27FC236}">
                        <a16:creationId xmlns:a16="http://schemas.microsoft.com/office/drawing/2014/main" id="{3FDC7385-3496-4227-932F-BDDB126668F9}"/>
                      </a:ext>
                    </a:extLst>
                  </p:cNvPr>
                  <p:cNvSpPr>
                    <a:spLocks/>
                  </p:cNvSpPr>
                  <p:nvPr/>
                </p:nvSpPr>
                <p:spPr bwMode="gray">
                  <a:xfrm>
                    <a:off x="8668084" y="2775979"/>
                    <a:ext cx="229712" cy="151924"/>
                  </a:xfrm>
                  <a:custGeom>
                    <a:avLst/>
                    <a:gdLst>
                      <a:gd name="T0" fmla="*/ 520 w 558"/>
                      <a:gd name="T1" fmla="*/ 302 h 369"/>
                      <a:gd name="T2" fmla="*/ 451 w 558"/>
                      <a:gd name="T3" fmla="*/ 319 h 369"/>
                      <a:gd name="T4" fmla="*/ 461 w 558"/>
                      <a:gd name="T5" fmla="*/ 314 h 369"/>
                      <a:gd name="T6" fmla="*/ 418 w 558"/>
                      <a:gd name="T7" fmla="*/ 298 h 369"/>
                      <a:gd name="T8" fmla="*/ 380 w 558"/>
                      <a:gd name="T9" fmla="*/ 335 h 369"/>
                      <a:gd name="T10" fmla="*/ 321 w 558"/>
                      <a:gd name="T11" fmla="*/ 359 h 369"/>
                      <a:gd name="T12" fmla="*/ 305 w 558"/>
                      <a:gd name="T13" fmla="*/ 359 h 369"/>
                      <a:gd name="T14" fmla="*/ 305 w 558"/>
                      <a:gd name="T15" fmla="*/ 265 h 369"/>
                      <a:gd name="T16" fmla="*/ 288 w 558"/>
                      <a:gd name="T17" fmla="*/ 232 h 369"/>
                      <a:gd name="T18" fmla="*/ 246 w 558"/>
                      <a:gd name="T19" fmla="*/ 220 h 369"/>
                      <a:gd name="T20" fmla="*/ 213 w 558"/>
                      <a:gd name="T21" fmla="*/ 281 h 369"/>
                      <a:gd name="T22" fmla="*/ 180 w 558"/>
                      <a:gd name="T23" fmla="*/ 286 h 369"/>
                      <a:gd name="T24" fmla="*/ 147 w 558"/>
                      <a:gd name="T25" fmla="*/ 302 h 369"/>
                      <a:gd name="T26" fmla="*/ 142 w 558"/>
                      <a:gd name="T27" fmla="*/ 331 h 369"/>
                      <a:gd name="T28" fmla="*/ 54 w 558"/>
                      <a:gd name="T29" fmla="*/ 343 h 369"/>
                      <a:gd name="T30" fmla="*/ 33 w 558"/>
                      <a:gd name="T31" fmla="*/ 319 h 369"/>
                      <a:gd name="T32" fmla="*/ 66 w 558"/>
                      <a:gd name="T33" fmla="*/ 260 h 369"/>
                      <a:gd name="T34" fmla="*/ 83 w 558"/>
                      <a:gd name="T35" fmla="*/ 243 h 369"/>
                      <a:gd name="T36" fmla="*/ 54 w 558"/>
                      <a:gd name="T37" fmla="*/ 187 h 369"/>
                      <a:gd name="T38" fmla="*/ 54 w 558"/>
                      <a:gd name="T39" fmla="*/ 170 h 369"/>
                      <a:gd name="T40" fmla="*/ 28 w 558"/>
                      <a:gd name="T41" fmla="*/ 165 h 369"/>
                      <a:gd name="T42" fmla="*/ 0 w 558"/>
                      <a:gd name="T43" fmla="*/ 149 h 369"/>
                      <a:gd name="T44" fmla="*/ 33 w 558"/>
                      <a:gd name="T45" fmla="*/ 116 h 369"/>
                      <a:gd name="T46" fmla="*/ 92 w 558"/>
                      <a:gd name="T47" fmla="*/ 99 h 369"/>
                      <a:gd name="T48" fmla="*/ 104 w 558"/>
                      <a:gd name="T49" fmla="*/ 83 h 369"/>
                      <a:gd name="T50" fmla="*/ 92 w 558"/>
                      <a:gd name="T51" fmla="*/ 78 h 369"/>
                      <a:gd name="T52" fmla="*/ 142 w 558"/>
                      <a:gd name="T53" fmla="*/ 45 h 369"/>
                      <a:gd name="T54" fmla="*/ 147 w 558"/>
                      <a:gd name="T55" fmla="*/ 21 h 369"/>
                      <a:gd name="T56" fmla="*/ 213 w 558"/>
                      <a:gd name="T57" fmla="*/ 12 h 369"/>
                      <a:gd name="T58" fmla="*/ 250 w 558"/>
                      <a:gd name="T59" fmla="*/ 28 h 369"/>
                      <a:gd name="T60" fmla="*/ 217 w 558"/>
                      <a:gd name="T61" fmla="*/ 54 h 369"/>
                      <a:gd name="T62" fmla="*/ 255 w 558"/>
                      <a:gd name="T63" fmla="*/ 66 h 369"/>
                      <a:gd name="T64" fmla="*/ 234 w 558"/>
                      <a:gd name="T65" fmla="*/ 78 h 369"/>
                      <a:gd name="T66" fmla="*/ 229 w 558"/>
                      <a:gd name="T67" fmla="*/ 95 h 369"/>
                      <a:gd name="T68" fmla="*/ 196 w 558"/>
                      <a:gd name="T69" fmla="*/ 66 h 369"/>
                      <a:gd name="T70" fmla="*/ 158 w 558"/>
                      <a:gd name="T71" fmla="*/ 95 h 369"/>
                      <a:gd name="T72" fmla="*/ 142 w 558"/>
                      <a:gd name="T73" fmla="*/ 83 h 369"/>
                      <a:gd name="T74" fmla="*/ 142 w 558"/>
                      <a:gd name="T75" fmla="*/ 121 h 369"/>
                      <a:gd name="T76" fmla="*/ 234 w 558"/>
                      <a:gd name="T77" fmla="*/ 121 h 369"/>
                      <a:gd name="T78" fmla="*/ 255 w 558"/>
                      <a:gd name="T79" fmla="*/ 137 h 369"/>
                      <a:gd name="T80" fmla="*/ 298 w 558"/>
                      <a:gd name="T81" fmla="*/ 121 h 369"/>
                      <a:gd name="T82" fmla="*/ 310 w 558"/>
                      <a:gd name="T83" fmla="*/ 132 h 369"/>
                      <a:gd name="T84" fmla="*/ 336 w 558"/>
                      <a:gd name="T85" fmla="*/ 137 h 369"/>
                      <a:gd name="T86" fmla="*/ 359 w 558"/>
                      <a:gd name="T87" fmla="*/ 137 h 369"/>
                      <a:gd name="T88" fmla="*/ 451 w 558"/>
                      <a:gd name="T89" fmla="*/ 132 h 369"/>
                      <a:gd name="T90" fmla="*/ 461 w 558"/>
                      <a:gd name="T91" fmla="*/ 170 h 369"/>
                      <a:gd name="T92" fmla="*/ 461 w 558"/>
                      <a:gd name="T93" fmla="*/ 203 h 369"/>
                      <a:gd name="T94" fmla="*/ 482 w 558"/>
                      <a:gd name="T95" fmla="*/ 203 h 369"/>
                      <a:gd name="T96" fmla="*/ 536 w 558"/>
                      <a:gd name="T97" fmla="*/ 220 h 369"/>
                      <a:gd name="T98" fmla="*/ 543 w 558"/>
                      <a:gd name="T99" fmla="*/ 276 h 369"/>
                      <a:gd name="T100" fmla="*/ 558 w 558"/>
                      <a:gd name="T101" fmla="*/ 302 h 369"/>
                      <a:gd name="T102" fmla="*/ 536 w 558"/>
                      <a:gd name="T103" fmla="*/ 31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58" h="369">
                        <a:moveTo>
                          <a:pt x="536" y="319"/>
                        </a:moveTo>
                        <a:lnTo>
                          <a:pt x="520" y="302"/>
                        </a:lnTo>
                        <a:lnTo>
                          <a:pt x="489" y="302"/>
                        </a:lnTo>
                        <a:lnTo>
                          <a:pt x="451" y="319"/>
                        </a:lnTo>
                        <a:lnTo>
                          <a:pt x="444" y="314"/>
                        </a:lnTo>
                        <a:lnTo>
                          <a:pt x="461" y="314"/>
                        </a:lnTo>
                        <a:lnTo>
                          <a:pt x="461" y="302"/>
                        </a:lnTo>
                        <a:lnTo>
                          <a:pt x="418" y="298"/>
                        </a:lnTo>
                        <a:lnTo>
                          <a:pt x="390" y="319"/>
                        </a:lnTo>
                        <a:lnTo>
                          <a:pt x="380" y="335"/>
                        </a:lnTo>
                        <a:lnTo>
                          <a:pt x="352" y="335"/>
                        </a:lnTo>
                        <a:lnTo>
                          <a:pt x="321" y="359"/>
                        </a:lnTo>
                        <a:lnTo>
                          <a:pt x="310" y="369"/>
                        </a:lnTo>
                        <a:lnTo>
                          <a:pt x="305" y="359"/>
                        </a:lnTo>
                        <a:lnTo>
                          <a:pt x="288" y="331"/>
                        </a:lnTo>
                        <a:lnTo>
                          <a:pt x="305" y="265"/>
                        </a:lnTo>
                        <a:lnTo>
                          <a:pt x="284" y="265"/>
                        </a:lnTo>
                        <a:lnTo>
                          <a:pt x="288" y="232"/>
                        </a:lnTo>
                        <a:lnTo>
                          <a:pt x="255" y="220"/>
                        </a:lnTo>
                        <a:lnTo>
                          <a:pt x="246" y="220"/>
                        </a:lnTo>
                        <a:lnTo>
                          <a:pt x="201" y="260"/>
                        </a:lnTo>
                        <a:lnTo>
                          <a:pt x="213" y="281"/>
                        </a:lnTo>
                        <a:lnTo>
                          <a:pt x="201" y="298"/>
                        </a:lnTo>
                        <a:lnTo>
                          <a:pt x="180" y="286"/>
                        </a:lnTo>
                        <a:lnTo>
                          <a:pt x="158" y="286"/>
                        </a:lnTo>
                        <a:lnTo>
                          <a:pt x="147" y="302"/>
                        </a:lnTo>
                        <a:lnTo>
                          <a:pt x="147" y="319"/>
                        </a:lnTo>
                        <a:lnTo>
                          <a:pt x="142" y="331"/>
                        </a:lnTo>
                        <a:lnTo>
                          <a:pt x="109" y="314"/>
                        </a:lnTo>
                        <a:lnTo>
                          <a:pt x="54" y="343"/>
                        </a:lnTo>
                        <a:lnTo>
                          <a:pt x="33" y="331"/>
                        </a:lnTo>
                        <a:lnTo>
                          <a:pt x="33" y="319"/>
                        </a:lnTo>
                        <a:lnTo>
                          <a:pt x="38" y="298"/>
                        </a:lnTo>
                        <a:lnTo>
                          <a:pt x="66" y="260"/>
                        </a:lnTo>
                        <a:lnTo>
                          <a:pt x="71" y="260"/>
                        </a:lnTo>
                        <a:lnTo>
                          <a:pt x="83" y="243"/>
                        </a:lnTo>
                        <a:lnTo>
                          <a:pt x="54" y="210"/>
                        </a:lnTo>
                        <a:lnTo>
                          <a:pt x="54" y="187"/>
                        </a:lnTo>
                        <a:lnTo>
                          <a:pt x="66" y="187"/>
                        </a:lnTo>
                        <a:lnTo>
                          <a:pt x="54" y="170"/>
                        </a:lnTo>
                        <a:lnTo>
                          <a:pt x="33" y="170"/>
                        </a:lnTo>
                        <a:lnTo>
                          <a:pt x="28" y="165"/>
                        </a:lnTo>
                        <a:lnTo>
                          <a:pt x="12" y="154"/>
                        </a:lnTo>
                        <a:lnTo>
                          <a:pt x="0" y="149"/>
                        </a:lnTo>
                        <a:lnTo>
                          <a:pt x="12" y="132"/>
                        </a:lnTo>
                        <a:lnTo>
                          <a:pt x="33" y="116"/>
                        </a:lnTo>
                        <a:lnTo>
                          <a:pt x="88" y="121"/>
                        </a:lnTo>
                        <a:lnTo>
                          <a:pt x="92" y="99"/>
                        </a:lnTo>
                        <a:lnTo>
                          <a:pt x="109" y="99"/>
                        </a:lnTo>
                        <a:lnTo>
                          <a:pt x="104" y="83"/>
                        </a:lnTo>
                        <a:lnTo>
                          <a:pt x="121" y="78"/>
                        </a:lnTo>
                        <a:lnTo>
                          <a:pt x="92" y="78"/>
                        </a:lnTo>
                        <a:lnTo>
                          <a:pt x="142" y="66"/>
                        </a:lnTo>
                        <a:lnTo>
                          <a:pt x="142" y="45"/>
                        </a:lnTo>
                        <a:lnTo>
                          <a:pt x="147" y="21"/>
                        </a:lnTo>
                        <a:lnTo>
                          <a:pt x="147" y="21"/>
                        </a:lnTo>
                        <a:lnTo>
                          <a:pt x="175" y="38"/>
                        </a:lnTo>
                        <a:lnTo>
                          <a:pt x="213" y="12"/>
                        </a:lnTo>
                        <a:lnTo>
                          <a:pt x="217" y="0"/>
                        </a:lnTo>
                        <a:lnTo>
                          <a:pt x="250" y="28"/>
                        </a:lnTo>
                        <a:lnTo>
                          <a:pt x="217" y="54"/>
                        </a:lnTo>
                        <a:lnTo>
                          <a:pt x="217" y="54"/>
                        </a:lnTo>
                        <a:lnTo>
                          <a:pt x="234" y="66"/>
                        </a:lnTo>
                        <a:lnTo>
                          <a:pt x="255" y="66"/>
                        </a:lnTo>
                        <a:lnTo>
                          <a:pt x="255" y="78"/>
                        </a:lnTo>
                        <a:lnTo>
                          <a:pt x="234" y="78"/>
                        </a:lnTo>
                        <a:lnTo>
                          <a:pt x="234" y="95"/>
                        </a:lnTo>
                        <a:lnTo>
                          <a:pt x="229" y="95"/>
                        </a:lnTo>
                        <a:lnTo>
                          <a:pt x="229" y="83"/>
                        </a:lnTo>
                        <a:lnTo>
                          <a:pt x="196" y="66"/>
                        </a:lnTo>
                        <a:lnTo>
                          <a:pt x="158" y="78"/>
                        </a:lnTo>
                        <a:lnTo>
                          <a:pt x="158" y="95"/>
                        </a:lnTo>
                        <a:lnTo>
                          <a:pt x="147" y="95"/>
                        </a:lnTo>
                        <a:lnTo>
                          <a:pt x="142" y="83"/>
                        </a:lnTo>
                        <a:lnTo>
                          <a:pt x="142" y="99"/>
                        </a:lnTo>
                        <a:lnTo>
                          <a:pt x="142" y="121"/>
                        </a:lnTo>
                        <a:lnTo>
                          <a:pt x="229" y="121"/>
                        </a:lnTo>
                        <a:lnTo>
                          <a:pt x="234" y="121"/>
                        </a:lnTo>
                        <a:lnTo>
                          <a:pt x="246" y="137"/>
                        </a:lnTo>
                        <a:lnTo>
                          <a:pt x="255" y="137"/>
                        </a:lnTo>
                        <a:lnTo>
                          <a:pt x="267" y="132"/>
                        </a:lnTo>
                        <a:lnTo>
                          <a:pt x="298" y="121"/>
                        </a:lnTo>
                        <a:lnTo>
                          <a:pt x="298" y="132"/>
                        </a:lnTo>
                        <a:lnTo>
                          <a:pt x="310" y="132"/>
                        </a:lnTo>
                        <a:lnTo>
                          <a:pt x="310" y="149"/>
                        </a:lnTo>
                        <a:lnTo>
                          <a:pt x="336" y="137"/>
                        </a:lnTo>
                        <a:lnTo>
                          <a:pt x="352" y="154"/>
                        </a:lnTo>
                        <a:lnTo>
                          <a:pt x="359" y="137"/>
                        </a:lnTo>
                        <a:lnTo>
                          <a:pt x="413" y="137"/>
                        </a:lnTo>
                        <a:lnTo>
                          <a:pt x="451" y="132"/>
                        </a:lnTo>
                        <a:lnTo>
                          <a:pt x="444" y="154"/>
                        </a:lnTo>
                        <a:lnTo>
                          <a:pt x="461" y="170"/>
                        </a:lnTo>
                        <a:lnTo>
                          <a:pt x="451" y="177"/>
                        </a:lnTo>
                        <a:lnTo>
                          <a:pt x="461" y="203"/>
                        </a:lnTo>
                        <a:lnTo>
                          <a:pt x="473" y="210"/>
                        </a:lnTo>
                        <a:lnTo>
                          <a:pt x="482" y="203"/>
                        </a:lnTo>
                        <a:lnTo>
                          <a:pt x="499" y="203"/>
                        </a:lnTo>
                        <a:lnTo>
                          <a:pt x="536" y="220"/>
                        </a:lnTo>
                        <a:lnTo>
                          <a:pt x="527" y="248"/>
                        </a:lnTo>
                        <a:lnTo>
                          <a:pt x="543" y="276"/>
                        </a:lnTo>
                        <a:lnTo>
                          <a:pt x="536" y="281"/>
                        </a:lnTo>
                        <a:lnTo>
                          <a:pt x="558" y="302"/>
                        </a:lnTo>
                        <a:lnTo>
                          <a:pt x="536" y="319"/>
                        </a:lnTo>
                        <a:lnTo>
                          <a:pt x="536" y="319"/>
                        </a:lnTo>
                        <a:lnTo>
                          <a:pt x="536" y="31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49" name="Freeform 574">
                    <a:extLst>
                      <a:ext uri="{FF2B5EF4-FFF2-40B4-BE49-F238E27FC236}">
                        <a16:creationId xmlns:a16="http://schemas.microsoft.com/office/drawing/2014/main" id="{77BC0A20-606A-427E-BA2D-E75459B4983A}"/>
                      </a:ext>
                    </a:extLst>
                  </p:cNvPr>
                  <p:cNvSpPr>
                    <a:spLocks noEditPoints="1"/>
                  </p:cNvSpPr>
                  <p:nvPr/>
                </p:nvSpPr>
                <p:spPr bwMode="gray">
                  <a:xfrm>
                    <a:off x="7467242" y="2738924"/>
                    <a:ext cx="551226" cy="219033"/>
                  </a:xfrm>
                  <a:custGeom>
                    <a:avLst/>
                    <a:gdLst>
                      <a:gd name="T0" fmla="*/ 71 w 1339"/>
                      <a:gd name="T1" fmla="*/ 62 h 532"/>
                      <a:gd name="T2" fmla="*/ 59 w 1339"/>
                      <a:gd name="T3" fmla="*/ 22 h 532"/>
                      <a:gd name="T4" fmla="*/ 113 w 1339"/>
                      <a:gd name="T5" fmla="*/ 0 h 532"/>
                      <a:gd name="T6" fmla="*/ 168 w 1339"/>
                      <a:gd name="T7" fmla="*/ 38 h 532"/>
                      <a:gd name="T8" fmla="*/ 222 w 1339"/>
                      <a:gd name="T9" fmla="*/ 95 h 532"/>
                      <a:gd name="T10" fmla="*/ 177 w 1339"/>
                      <a:gd name="T11" fmla="*/ 88 h 532"/>
                      <a:gd name="T12" fmla="*/ 75 w 1339"/>
                      <a:gd name="T13" fmla="*/ 144 h 532"/>
                      <a:gd name="T14" fmla="*/ 80 w 1339"/>
                      <a:gd name="T15" fmla="*/ 128 h 532"/>
                      <a:gd name="T16" fmla="*/ 26 w 1339"/>
                      <a:gd name="T17" fmla="*/ 116 h 532"/>
                      <a:gd name="T18" fmla="*/ 1264 w 1339"/>
                      <a:gd name="T19" fmla="*/ 409 h 532"/>
                      <a:gd name="T20" fmla="*/ 1188 w 1339"/>
                      <a:gd name="T21" fmla="*/ 421 h 532"/>
                      <a:gd name="T22" fmla="*/ 1150 w 1339"/>
                      <a:gd name="T23" fmla="*/ 409 h 532"/>
                      <a:gd name="T24" fmla="*/ 957 w 1339"/>
                      <a:gd name="T25" fmla="*/ 461 h 532"/>
                      <a:gd name="T26" fmla="*/ 827 w 1339"/>
                      <a:gd name="T27" fmla="*/ 461 h 532"/>
                      <a:gd name="T28" fmla="*/ 777 w 1339"/>
                      <a:gd name="T29" fmla="*/ 487 h 532"/>
                      <a:gd name="T30" fmla="*/ 739 w 1339"/>
                      <a:gd name="T31" fmla="*/ 532 h 532"/>
                      <a:gd name="T32" fmla="*/ 739 w 1339"/>
                      <a:gd name="T33" fmla="*/ 461 h 532"/>
                      <a:gd name="T34" fmla="*/ 701 w 1339"/>
                      <a:gd name="T35" fmla="*/ 461 h 532"/>
                      <a:gd name="T36" fmla="*/ 583 w 1339"/>
                      <a:gd name="T37" fmla="*/ 487 h 532"/>
                      <a:gd name="T38" fmla="*/ 470 w 1339"/>
                      <a:gd name="T39" fmla="*/ 499 h 532"/>
                      <a:gd name="T40" fmla="*/ 340 w 1339"/>
                      <a:gd name="T41" fmla="*/ 482 h 532"/>
                      <a:gd name="T42" fmla="*/ 243 w 1339"/>
                      <a:gd name="T43" fmla="*/ 482 h 532"/>
                      <a:gd name="T44" fmla="*/ 231 w 1339"/>
                      <a:gd name="T45" fmla="*/ 449 h 532"/>
                      <a:gd name="T46" fmla="*/ 189 w 1339"/>
                      <a:gd name="T47" fmla="*/ 444 h 532"/>
                      <a:gd name="T48" fmla="*/ 168 w 1339"/>
                      <a:gd name="T49" fmla="*/ 461 h 532"/>
                      <a:gd name="T50" fmla="*/ 125 w 1339"/>
                      <a:gd name="T51" fmla="*/ 461 h 532"/>
                      <a:gd name="T52" fmla="*/ 113 w 1339"/>
                      <a:gd name="T53" fmla="*/ 433 h 532"/>
                      <a:gd name="T54" fmla="*/ 134 w 1339"/>
                      <a:gd name="T55" fmla="*/ 409 h 532"/>
                      <a:gd name="T56" fmla="*/ 113 w 1339"/>
                      <a:gd name="T57" fmla="*/ 350 h 532"/>
                      <a:gd name="T58" fmla="*/ 42 w 1339"/>
                      <a:gd name="T59" fmla="*/ 322 h 532"/>
                      <a:gd name="T60" fmla="*/ 54 w 1339"/>
                      <a:gd name="T61" fmla="*/ 310 h 532"/>
                      <a:gd name="T62" fmla="*/ 108 w 1339"/>
                      <a:gd name="T63" fmla="*/ 310 h 532"/>
                      <a:gd name="T64" fmla="*/ 97 w 1339"/>
                      <a:gd name="T65" fmla="*/ 265 h 532"/>
                      <a:gd name="T66" fmla="*/ 92 w 1339"/>
                      <a:gd name="T67" fmla="*/ 222 h 532"/>
                      <a:gd name="T68" fmla="*/ 75 w 1339"/>
                      <a:gd name="T69" fmla="*/ 144 h 532"/>
                      <a:gd name="T70" fmla="*/ 146 w 1339"/>
                      <a:gd name="T71" fmla="*/ 133 h 532"/>
                      <a:gd name="T72" fmla="*/ 163 w 1339"/>
                      <a:gd name="T73" fmla="*/ 149 h 532"/>
                      <a:gd name="T74" fmla="*/ 269 w 1339"/>
                      <a:gd name="T75" fmla="*/ 116 h 532"/>
                      <a:gd name="T76" fmla="*/ 238 w 1339"/>
                      <a:gd name="T77" fmla="*/ 88 h 532"/>
                      <a:gd name="T78" fmla="*/ 361 w 1339"/>
                      <a:gd name="T79" fmla="*/ 88 h 532"/>
                      <a:gd name="T80" fmla="*/ 541 w 1339"/>
                      <a:gd name="T81" fmla="*/ 5 h 532"/>
                      <a:gd name="T82" fmla="*/ 692 w 1339"/>
                      <a:gd name="T83" fmla="*/ 38 h 532"/>
                      <a:gd name="T84" fmla="*/ 756 w 1339"/>
                      <a:gd name="T85" fmla="*/ 71 h 532"/>
                      <a:gd name="T86" fmla="*/ 831 w 1339"/>
                      <a:gd name="T87" fmla="*/ 88 h 532"/>
                      <a:gd name="T88" fmla="*/ 961 w 1339"/>
                      <a:gd name="T89" fmla="*/ 88 h 532"/>
                      <a:gd name="T90" fmla="*/ 1134 w 1339"/>
                      <a:gd name="T91" fmla="*/ 55 h 532"/>
                      <a:gd name="T92" fmla="*/ 1205 w 1339"/>
                      <a:gd name="T93" fmla="*/ 38 h 532"/>
                      <a:gd name="T94" fmla="*/ 1268 w 1339"/>
                      <a:gd name="T95" fmla="*/ 111 h 532"/>
                      <a:gd name="T96" fmla="*/ 1280 w 1339"/>
                      <a:gd name="T97" fmla="*/ 173 h 532"/>
                      <a:gd name="T98" fmla="*/ 1334 w 1339"/>
                      <a:gd name="T99" fmla="*/ 199 h 532"/>
                      <a:gd name="T100" fmla="*/ 1301 w 1339"/>
                      <a:gd name="T101" fmla="*/ 255 h 532"/>
                      <a:gd name="T102" fmla="*/ 1318 w 1339"/>
                      <a:gd name="T103" fmla="*/ 317 h 532"/>
                      <a:gd name="T104" fmla="*/ 1339 w 1339"/>
                      <a:gd name="T105" fmla="*/ 404 h 532"/>
                      <a:gd name="T106" fmla="*/ 1301 w 1339"/>
                      <a:gd name="T107" fmla="*/ 421 h 532"/>
                      <a:gd name="T108" fmla="*/ 1297 w 1339"/>
                      <a:gd name="T109" fmla="*/ 404 h 532"/>
                      <a:gd name="T110" fmla="*/ 134 w 1339"/>
                      <a:gd name="T111" fmla="*/ 128 h 532"/>
                      <a:gd name="T112" fmla="*/ 0 w 1339"/>
                      <a:gd name="T113" fmla="*/ 166 h 532"/>
                      <a:gd name="T114" fmla="*/ 5 w 1339"/>
                      <a:gd name="T115" fmla="*/ 166 h 532"/>
                      <a:gd name="T116" fmla="*/ 21 w 1339"/>
                      <a:gd name="T117" fmla="*/ 189 h 532"/>
                      <a:gd name="T118" fmla="*/ 26 w 1339"/>
                      <a:gd name="T119" fmla="*/ 199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39" h="532">
                        <a:moveTo>
                          <a:pt x="26" y="116"/>
                        </a:moveTo>
                        <a:lnTo>
                          <a:pt x="54" y="95"/>
                        </a:lnTo>
                        <a:lnTo>
                          <a:pt x="42" y="71"/>
                        </a:lnTo>
                        <a:lnTo>
                          <a:pt x="71" y="62"/>
                        </a:lnTo>
                        <a:lnTo>
                          <a:pt x="71" y="38"/>
                        </a:lnTo>
                        <a:lnTo>
                          <a:pt x="54" y="33"/>
                        </a:lnTo>
                        <a:lnTo>
                          <a:pt x="54" y="22"/>
                        </a:lnTo>
                        <a:lnTo>
                          <a:pt x="59" y="22"/>
                        </a:lnTo>
                        <a:lnTo>
                          <a:pt x="71" y="5"/>
                        </a:lnTo>
                        <a:lnTo>
                          <a:pt x="92" y="5"/>
                        </a:lnTo>
                        <a:lnTo>
                          <a:pt x="97" y="0"/>
                        </a:lnTo>
                        <a:lnTo>
                          <a:pt x="113" y="0"/>
                        </a:lnTo>
                        <a:lnTo>
                          <a:pt x="134" y="17"/>
                        </a:lnTo>
                        <a:lnTo>
                          <a:pt x="168" y="5"/>
                        </a:lnTo>
                        <a:lnTo>
                          <a:pt x="163" y="22"/>
                        </a:lnTo>
                        <a:lnTo>
                          <a:pt x="168" y="38"/>
                        </a:lnTo>
                        <a:lnTo>
                          <a:pt x="201" y="55"/>
                        </a:lnTo>
                        <a:lnTo>
                          <a:pt x="238" y="71"/>
                        </a:lnTo>
                        <a:lnTo>
                          <a:pt x="238" y="88"/>
                        </a:lnTo>
                        <a:lnTo>
                          <a:pt x="222" y="95"/>
                        </a:lnTo>
                        <a:lnTo>
                          <a:pt x="205" y="95"/>
                        </a:lnTo>
                        <a:lnTo>
                          <a:pt x="201" y="88"/>
                        </a:lnTo>
                        <a:lnTo>
                          <a:pt x="201" y="95"/>
                        </a:lnTo>
                        <a:lnTo>
                          <a:pt x="177" y="88"/>
                        </a:lnTo>
                        <a:lnTo>
                          <a:pt x="163" y="95"/>
                        </a:lnTo>
                        <a:lnTo>
                          <a:pt x="130" y="95"/>
                        </a:lnTo>
                        <a:lnTo>
                          <a:pt x="113" y="116"/>
                        </a:lnTo>
                        <a:lnTo>
                          <a:pt x="75" y="144"/>
                        </a:lnTo>
                        <a:lnTo>
                          <a:pt x="38" y="173"/>
                        </a:lnTo>
                        <a:lnTo>
                          <a:pt x="42" y="156"/>
                        </a:lnTo>
                        <a:lnTo>
                          <a:pt x="38" y="149"/>
                        </a:lnTo>
                        <a:lnTo>
                          <a:pt x="80" y="128"/>
                        </a:lnTo>
                        <a:lnTo>
                          <a:pt x="75" y="116"/>
                        </a:lnTo>
                        <a:lnTo>
                          <a:pt x="26" y="128"/>
                        </a:lnTo>
                        <a:lnTo>
                          <a:pt x="26" y="116"/>
                        </a:lnTo>
                        <a:lnTo>
                          <a:pt x="26" y="116"/>
                        </a:lnTo>
                        <a:lnTo>
                          <a:pt x="26" y="116"/>
                        </a:lnTo>
                        <a:close/>
                        <a:moveTo>
                          <a:pt x="1297" y="404"/>
                        </a:moveTo>
                        <a:lnTo>
                          <a:pt x="1280" y="409"/>
                        </a:lnTo>
                        <a:lnTo>
                          <a:pt x="1264" y="409"/>
                        </a:lnTo>
                        <a:lnTo>
                          <a:pt x="1226" y="392"/>
                        </a:lnTo>
                        <a:lnTo>
                          <a:pt x="1214" y="404"/>
                        </a:lnTo>
                        <a:lnTo>
                          <a:pt x="1205" y="392"/>
                        </a:lnTo>
                        <a:lnTo>
                          <a:pt x="1188" y="421"/>
                        </a:lnTo>
                        <a:lnTo>
                          <a:pt x="1171" y="421"/>
                        </a:lnTo>
                        <a:lnTo>
                          <a:pt x="1171" y="409"/>
                        </a:lnTo>
                        <a:lnTo>
                          <a:pt x="1155" y="404"/>
                        </a:lnTo>
                        <a:lnTo>
                          <a:pt x="1150" y="409"/>
                        </a:lnTo>
                        <a:lnTo>
                          <a:pt x="1117" y="421"/>
                        </a:lnTo>
                        <a:lnTo>
                          <a:pt x="1063" y="421"/>
                        </a:lnTo>
                        <a:lnTo>
                          <a:pt x="994" y="449"/>
                        </a:lnTo>
                        <a:lnTo>
                          <a:pt x="957" y="461"/>
                        </a:lnTo>
                        <a:lnTo>
                          <a:pt x="919" y="449"/>
                        </a:lnTo>
                        <a:lnTo>
                          <a:pt x="902" y="444"/>
                        </a:lnTo>
                        <a:lnTo>
                          <a:pt x="886" y="433"/>
                        </a:lnTo>
                        <a:lnTo>
                          <a:pt x="827" y="461"/>
                        </a:lnTo>
                        <a:lnTo>
                          <a:pt x="810" y="461"/>
                        </a:lnTo>
                        <a:lnTo>
                          <a:pt x="772" y="444"/>
                        </a:lnTo>
                        <a:lnTo>
                          <a:pt x="760" y="477"/>
                        </a:lnTo>
                        <a:lnTo>
                          <a:pt x="777" y="487"/>
                        </a:lnTo>
                        <a:lnTo>
                          <a:pt x="756" y="487"/>
                        </a:lnTo>
                        <a:lnTo>
                          <a:pt x="756" y="515"/>
                        </a:lnTo>
                        <a:lnTo>
                          <a:pt x="739" y="515"/>
                        </a:lnTo>
                        <a:lnTo>
                          <a:pt x="739" y="532"/>
                        </a:lnTo>
                        <a:lnTo>
                          <a:pt x="723" y="515"/>
                        </a:lnTo>
                        <a:lnTo>
                          <a:pt x="723" y="515"/>
                        </a:lnTo>
                        <a:lnTo>
                          <a:pt x="706" y="482"/>
                        </a:lnTo>
                        <a:lnTo>
                          <a:pt x="739" y="461"/>
                        </a:lnTo>
                        <a:lnTo>
                          <a:pt x="739" y="444"/>
                        </a:lnTo>
                        <a:lnTo>
                          <a:pt x="723" y="433"/>
                        </a:lnTo>
                        <a:lnTo>
                          <a:pt x="692" y="449"/>
                        </a:lnTo>
                        <a:lnTo>
                          <a:pt x="701" y="461"/>
                        </a:lnTo>
                        <a:lnTo>
                          <a:pt x="675" y="466"/>
                        </a:lnTo>
                        <a:lnTo>
                          <a:pt x="631" y="444"/>
                        </a:lnTo>
                        <a:lnTo>
                          <a:pt x="609" y="466"/>
                        </a:lnTo>
                        <a:lnTo>
                          <a:pt x="583" y="487"/>
                        </a:lnTo>
                        <a:lnTo>
                          <a:pt x="579" y="482"/>
                        </a:lnTo>
                        <a:lnTo>
                          <a:pt x="562" y="499"/>
                        </a:lnTo>
                        <a:lnTo>
                          <a:pt x="503" y="503"/>
                        </a:lnTo>
                        <a:lnTo>
                          <a:pt x="470" y="499"/>
                        </a:lnTo>
                        <a:lnTo>
                          <a:pt x="449" y="466"/>
                        </a:lnTo>
                        <a:lnTo>
                          <a:pt x="378" y="444"/>
                        </a:lnTo>
                        <a:lnTo>
                          <a:pt x="345" y="444"/>
                        </a:lnTo>
                        <a:lnTo>
                          <a:pt x="340" y="482"/>
                        </a:lnTo>
                        <a:lnTo>
                          <a:pt x="328" y="499"/>
                        </a:lnTo>
                        <a:lnTo>
                          <a:pt x="323" y="482"/>
                        </a:lnTo>
                        <a:lnTo>
                          <a:pt x="286" y="499"/>
                        </a:lnTo>
                        <a:lnTo>
                          <a:pt x="243" y="482"/>
                        </a:lnTo>
                        <a:lnTo>
                          <a:pt x="243" y="466"/>
                        </a:lnTo>
                        <a:lnTo>
                          <a:pt x="238" y="466"/>
                        </a:lnTo>
                        <a:lnTo>
                          <a:pt x="238" y="461"/>
                        </a:lnTo>
                        <a:lnTo>
                          <a:pt x="231" y="449"/>
                        </a:lnTo>
                        <a:lnTo>
                          <a:pt x="222" y="461"/>
                        </a:lnTo>
                        <a:lnTo>
                          <a:pt x="215" y="449"/>
                        </a:lnTo>
                        <a:lnTo>
                          <a:pt x="201" y="433"/>
                        </a:lnTo>
                        <a:lnTo>
                          <a:pt x="189" y="444"/>
                        </a:lnTo>
                        <a:lnTo>
                          <a:pt x="184" y="444"/>
                        </a:lnTo>
                        <a:lnTo>
                          <a:pt x="184" y="449"/>
                        </a:lnTo>
                        <a:lnTo>
                          <a:pt x="163" y="466"/>
                        </a:lnTo>
                        <a:lnTo>
                          <a:pt x="168" y="461"/>
                        </a:lnTo>
                        <a:lnTo>
                          <a:pt x="163" y="449"/>
                        </a:lnTo>
                        <a:lnTo>
                          <a:pt x="177" y="449"/>
                        </a:lnTo>
                        <a:lnTo>
                          <a:pt x="177" y="444"/>
                        </a:lnTo>
                        <a:lnTo>
                          <a:pt x="125" y="461"/>
                        </a:lnTo>
                        <a:lnTo>
                          <a:pt x="168" y="444"/>
                        </a:lnTo>
                        <a:lnTo>
                          <a:pt x="168" y="433"/>
                        </a:lnTo>
                        <a:lnTo>
                          <a:pt x="189" y="425"/>
                        </a:lnTo>
                        <a:lnTo>
                          <a:pt x="113" y="433"/>
                        </a:lnTo>
                        <a:lnTo>
                          <a:pt x="113" y="425"/>
                        </a:lnTo>
                        <a:lnTo>
                          <a:pt x="113" y="421"/>
                        </a:lnTo>
                        <a:lnTo>
                          <a:pt x="130" y="421"/>
                        </a:lnTo>
                        <a:lnTo>
                          <a:pt x="134" y="409"/>
                        </a:lnTo>
                        <a:lnTo>
                          <a:pt x="125" y="404"/>
                        </a:lnTo>
                        <a:lnTo>
                          <a:pt x="125" y="392"/>
                        </a:lnTo>
                        <a:lnTo>
                          <a:pt x="108" y="404"/>
                        </a:lnTo>
                        <a:lnTo>
                          <a:pt x="113" y="350"/>
                        </a:lnTo>
                        <a:lnTo>
                          <a:pt x="92" y="338"/>
                        </a:lnTo>
                        <a:lnTo>
                          <a:pt x="75" y="322"/>
                        </a:lnTo>
                        <a:lnTo>
                          <a:pt x="71" y="338"/>
                        </a:lnTo>
                        <a:lnTo>
                          <a:pt x="42" y="322"/>
                        </a:lnTo>
                        <a:lnTo>
                          <a:pt x="42" y="317"/>
                        </a:lnTo>
                        <a:lnTo>
                          <a:pt x="54" y="317"/>
                        </a:lnTo>
                        <a:lnTo>
                          <a:pt x="59" y="310"/>
                        </a:lnTo>
                        <a:lnTo>
                          <a:pt x="54" y="310"/>
                        </a:lnTo>
                        <a:lnTo>
                          <a:pt x="54" y="293"/>
                        </a:lnTo>
                        <a:lnTo>
                          <a:pt x="59" y="293"/>
                        </a:lnTo>
                        <a:lnTo>
                          <a:pt x="75" y="317"/>
                        </a:lnTo>
                        <a:lnTo>
                          <a:pt x="108" y="310"/>
                        </a:lnTo>
                        <a:lnTo>
                          <a:pt x="92" y="310"/>
                        </a:lnTo>
                        <a:lnTo>
                          <a:pt x="75" y="293"/>
                        </a:lnTo>
                        <a:lnTo>
                          <a:pt x="75" y="281"/>
                        </a:lnTo>
                        <a:lnTo>
                          <a:pt x="97" y="265"/>
                        </a:lnTo>
                        <a:lnTo>
                          <a:pt x="80" y="265"/>
                        </a:lnTo>
                        <a:lnTo>
                          <a:pt x="80" y="255"/>
                        </a:lnTo>
                        <a:lnTo>
                          <a:pt x="71" y="239"/>
                        </a:lnTo>
                        <a:lnTo>
                          <a:pt x="92" y="222"/>
                        </a:lnTo>
                        <a:lnTo>
                          <a:pt x="92" y="211"/>
                        </a:lnTo>
                        <a:lnTo>
                          <a:pt x="26" y="222"/>
                        </a:lnTo>
                        <a:lnTo>
                          <a:pt x="38" y="182"/>
                        </a:lnTo>
                        <a:lnTo>
                          <a:pt x="75" y="144"/>
                        </a:lnTo>
                        <a:lnTo>
                          <a:pt x="108" y="144"/>
                        </a:lnTo>
                        <a:lnTo>
                          <a:pt x="130" y="149"/>
                        </a:lnTo>
                        <a:lnTo>
                          <a:pt x="151" y="149"/>
                        </a:lnTo>
                        <a:lnTo>
                          <a:pt x="146" y="133"/>
                        </a:lnTo>
                        <a:lnTo>
                          <a:pt x="146" y="133"/>
                        </a:lnTo>
                        <a:lnTo>
                          <a:pt x="168" y="133"/>
                        </a:lnTo>
                        <a:lnTo>
                          <a:pt x="163" y="144"/>
                        </a:lnTo>
                        <a:lnTo>
                          <a:pt x="163" y="149"/>
                        </a:lnTo>
                        <a:lnTo>
                          <a:pt x="238" y="149"/>
                        </a:lnTo>
                        <a:lnTo>
                          <a:pt x="243" y="144"/>
                        </a:lnTo>
                        <a:lnTo>
                          <a:pt x="222" y="133"/>
                        </a:lnTo>
                        <a:lnTo>
                          <a:pt x="269" y="116"/>
                        </a:lnTo>
                        <a:lnTo>
                          <a:pt x="297" y="116"/>
                        </a:lnTo>
                        <a:lnTo>
                          <a:pt x="260" y="111"/>
                        </a:lnTo>
                        <a:lnTo>
                          <a:pt x="243" y="100"/>
                        </a:lnTo>
                        <a:lnTo>
                          <a:pt x="238" y="88"/>
                        </a:lnTo>
                        <a:lnTo>
                          <a:pt x="243" y="71"/>
                        </a:lnTo>
                        <a:lnTo>
                          <a:pt x="307" y="78"/>
                        </a:lnTo>
                        <a:lnTo>
                          <a:pt x="323" y="71"/>
                        </a:lnTo>
                        <a:lnTo>
                          <a:pt x="361" y="88"/>
                        </a:lnTo>
                        <a:lnTo>
                          <a:pt x="394" y="88"/>
                        </a:lnTo>
                        <a:lnTo>
                          <a:pt x="416" y="62"/>
                        </a:lnTo>
                        <a:lnTo>
                          <a:pt x="458" y="33"/>
                        </a:lnTo>
                        <a:lnTo>
                          <a:pt x="541" y="5"/>
                        </a:lnTo>
                        <a:lnTo>
                          <a:pt x="638" y="5"/>
                        </a:lnTo>
                        <a:lnTo>
                          <a:pt x="654" y="0"/>
                        </a:lnTo>
                        <a:lnTo>
                          <a:pt x="675" y="33"/>
                        </a:lnTo>
                        <a:lnTo>
                          <a:pt x="692" y="38"/>
                        </a:lnTo>
                        <a:lnTo>
                          <a:pt x="723" y="33"/>
                        </a:lnTo>
                        <a:lnTo>
                          <a:pt x="730" y="33"/>
                        </a:lnTo>
                        <a:lnTo>
                          <a:pt x="730" y="55"/>
                        </a:lnTo>
                        <a:lnTo>
                          <a:pt x="756" y="71"/>
                        </a:lnTo>
                        <a:lnTo>
                          <a:pt x="782" y="62"/>
                        </a:lnTo>
                        <a:lnTo>
                          <a:pt x="798" y="71"/>
                        </a:lnTo>
                        <a:lnTo>
                          <a:pt x="798" y="78"/>
                        </a:lnTo>
                        <a:lnTo>
                          <a:pt x="831" y="88"/>
                        </a:lnTo>
                        <a:lnTo>
                          <a:pt x="848" y="78"/>
                        </a:lnTo>
                        <a:lnTo>
                          <a:pt x="853" y="95"/>
                        </a:lnTo>
                        <a:lnTo>
                          <a:pt x="890" y="100"/>
                        </a:lnTo>
                        <a:lnTo>
                          <a:pt x="961" y="88"/>
                        </a:lnTo>
                        <a:lnTo>
                          <a:pt x="1016" y="100"/>
                        </a:lnTo>
                        <a:lnTo>
                          <a:pt x="1101" y="62"/>
                        </a:lnTo>
                        <a:lnTo>
                          <a:pt x="1117" y="45"/>
                        </a:lnTo>
                        <a:lnTo>
                          <a:pt x="1134" y="55"/>
                        </a:lnTo>
                        <a:lnTo>
                          <a:pt x="1150" y="45"/>
                        </a:lnTo>
                        <a:lnTo>
                          <a:pt x="1176" y="55"/>
                        </a:lnTo>
                        <a:lnTo>
                          <a:pt x="1188" y="38"/>
                        </a:lnTo>
                        <a:lnTo>
                          <a:pt x="1205" y="38"/>
                        </a:lnTo>
                        <a:lnTo>
                          <a:pt x="1231" y="78"/>
                        </a:lnTo>
                        <a:lnTo>
                          <a:pt x="1242" y="78"/>
                        </a:lnTo>
                        <a:lnTo>
                          <a:pt x="1247" y="78"/>
                        </a:lnTo>
                        <a:lnTo>
                          <a:pt x="1268" y="111"/>
                        </a:lnTo>
                        <a:lnTo>
                          <a:pt x="1259" y="144"/>
                        </a:lnTo>
                        <a:lnTo>
                          <a:pt x="1264" y="166"/>
                        </a:lnTo>
                        <a:lnTo>
                          <a:pt x="1264" y="166"/>
                        </a:lnTo>
                        <a:lnTo>
                          <a:pt x="1280" y="173"/>
                        </a:lnTo>
                        <a:lnTo>
                          <a:pt x="1311" y="173"/>
                        </a:lnTo>
                        <a:lnTo>
                          <a:pt x="1339" y="206"/>
                        </a:lnTo>
                        <a:lnTo>
                          <a:pt x="1339" y="206"/>
                        </a:lnTo>
                        <a:lnTo>
                          <a:pt x="1334" y="199"/>
                        </a:lnTo>
                        <a:lnTo>
                          <a:pt x="1318" y="206"/>
                        </a:lnTo>
                        <a:lnTo>
                          <a:pt x="1318" y="227"/>
                        </a:lnTo>
                        <a:lnTo>
                          <a:pt x="1285" y="227"/>
                        </a:lnTo>
                        <a:lnTo>
                          <a:pt x="1301" y="255"/>
                        </a:lnTo>
                        <a:lnTo>
                          <a:pt x="1301" y="265"/>
                        </a:lnTo>
                        <a:lnTo>
                          <a:pt x="1311" y="277"/>
                        </a:lnTo>
                        <a:lnTo>
                          <a:pt x="1311" y="317"/>
                        </a:lnTo>
                        <a:lnTo>
                          <a:pt x="1318" y="317"/>
                        </a:lnTo>
                        <a:lnTo>
                          <a:pt x="1301" y="355"/>
                        </a:lnTo>
                        <a:lnTo>
                          <a:pt x="1334" y="371"/>
                        </a:lnTo>
                        <a:lnTo>
                          <a:pt x="1323" y="392"/>
                        </a:lnTo>
                        <a:lnTo>
                          <a:pt x="1339" y="404"/>
                        </a:lnTo>
                        <a:lnTo>
                          <a:pt x="1339" y="421"/>
                        </a:lnTo>
                        <a:lnTo>
                          <a:pt x="1334" y="409"/>
                        </a:lnTo>
                        <a:lnTo>
                          <a:pt x="1311" y="433"/>
                        </a:lnTo>
                        <a:lnTo>
                          <a:pt x="1301" y="421"/>
                        </a:lnTo>
                        <a:lnTo>
                          <a:pt x="1301" y="409"/>
                        </a:lnTo>
                        <a:lnTo>
                          <a:pt x="1297" y="404"/>
                        </a:lnTo>
                        <a:lnTo>
                          <a:pt x="1297" y="404"/>
                        </a:lnTo>
                        <a:lnTo>
                          <a:pt x="1297" y="404"/>
                        </a:lnTo>
                        <a:close/>
                        <a:moveTo>
                          <a:pt x="134" y="128"/>
                        </a:moveTo>
                        <a:lnTo>
                          <a:pt x="130" y="128"/>
                        </a:lnTo>
                        <a:lnTo>
                          <a:pt x="146" y="128"/>
                        </a:lnTo>
                        <a:lnTo>
                          <a:pt x="134" y="128"/>
                        </a:lnTo>
                        <a:lnTo>
                          <a:pt x="134" y="128"/>
                        </a:lnTo>
                        <a:lnTo>
                          <a:pt x="134" y="128"/>
                        </a:lnTo>
                        <a:close/>
                        <a:moveTo>
                          <a:pt x="5" y="166"/>
                        </a:moveTo>
                        <a:lnTo>
                          <a:pt x="0" y="166"/>
                        </a:lnTo>
                        <a:lnTo>
                          <a:pt x="5" y="156"/>
                        </a:lnTo>
                        <a:lnTo>
                          <a:pt x="21" y="156"/>
                        </a:lnTo>
                        <a:lnTo>
                          <a:pt x="21" y="166"/>
                        </a:lnTo>
                        <a:lnTo>
                          <a:pt x="5" y="166"/>
                        </a:lnTo>
                        <a:lnTo>
                          <a:pt x="5" y="166"/>
                        </a:lnTo>
                        <a:lnTo>
                          <a:pt x="5" y="166"/>
                        </a:lnTo>
                        <a:close/>
                        <a:moveTo>
                          <a:pt x="26" y="199"/>
                        </a:moveTo>
                        <a:lnTo>
                          <a:pt x="21" y="189"/>
                        </a:lnTo>
                        <a:lnTo>
                          <a:pt x="26" y="189"/>
                        </a:lnTo>
                        <a:lnTo>
                          <a:pt x="26" y="199"/>
                        </a:lnTo>
                        <a:lnTo>
                          <a:pt x="26" y="199"/>
                        </a:lnTo>
                        <a:lnTo>
                          <a:pt x="26" y="19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0" name="Freeform 577">
                    <a:extLst>
                      <a:ext uri="{FF2B5EF4-FFF2-40B4-BE49-F238E27FC236}">
                        <a16:creationId xmlns:a16="http://schemas.microsoft.com/office/drawing/2014/main" id="{D1D27208-4A5F-4D3A-925C-ADCB74CCDFFC}"/>
                      </a:ext>
                    </a:extLst>
                  </p:cNvPr>
                  <p:cNvSpPr>
                    <a:spLocks/>
                  </p:cNvSpPr>
                  <p:nvPr/>
                </p:nvSpPr>
                <p:spPr bwMode="gray">
                  <a:xfrm>
                    <a:off x="8241181" y="2712986"/>
                    <a:ext cx="409611" cy="264321"/>
                  </a:xfrm>
                  <a:custGeom>
                    <a:avLst/>
                    <a:gdLst>
                      <a:gd name="T0" fmla="*/ 926 w 995"/>
                      <a:gd name="T1" fmla="*/ 453 h 642"/>
                      <a:gd name="T2" fmla="*/ 860 w 995"/>
                      <a:gd name="T3" fmla="*/ 486 h 642"/>
                      <a:gd name="T4" fmla="*/ 806 w 995"/>
                      <a:gd name="T5" fmla="*/ 571 h 642"/>
                      <a:gd name="T6" fmla="*/ 747 w 995"/>
                      <a:gd name="T7" fmla="*/ 609 h 642"/>
                      <a:gd name="T8" fmla="*/ 699 w 995"/>
                      <a:gd name="T9" fmla="*/ 637 h 642"/>
                      <a:gd name="T10" fmla="*/ 640 w 995"/>
                      <a:gd name="T11" fmla="*/ 621 h 642"/>
                      <a:gd name="T12" fmla="*/ 607 w 995"/>
                      <a:gd name="T13" fmla="*/ 526 h 642"/>
                      <a:gd name="T14" fmla="*/ 494 w 995"/>
                      <a:gd name="T15" fmla="*/ 477 h 642"/>
                      <a:gd name="T16" fmla="*/ 409 w 995"/>
                      <a:gd name="T17" fmla="*/ 437 h 642"/>
                      <a:gd name="T18" fmla="*/ 333 w 995"/>
                      <a:gd name="T19" fmla="*/ 387 h 642"/>
                      <a:gd name="T20" fmla="*/ 279 w 995"/>
                      <a:gd name="T21" fmla="*/ 387 h 642"/>
                      <a:gd name="T22" fmla="*/ 262 w 995"/>
                      <a:gd name="T23" fmla="*/ 403 h 642"/>
                      <a:gd name="T24" fmla="*/ 161 w 995"/>
                      <a:gd name="T25" fmla="*/ 453 h 642"/>
                      <a:gd name="T26" fmla="*/ 102 w 995"/>
                      <a:gd name="T27" fmla="*/ 470 h 642"/>
                      <a:gd name="T28" fmla="*/ 106 w 995"/>
                      <a:gd name="T29" fmla="*/ 333 h 642"/>
                      <a:gd name="T30" fmla="*/ 47 w 995"/>
                      <a:gd name="T31" fmla="*/ 292 h 642"/>
                      <a:gd name="T32" fmla="*/ 52 w 995"/>
                      <a:gd name="T33" fmla="*/ 271 h 642"/>
                      <a:gd name="T34" fmla="*/ 90 w 995"/>
                      <a:gd name="T35" fmla="*/ 288 h 642"/>
                      <a:gd name="T36" fmla="*/ 31 w 995"/>
                      <a:gd name="T37" fmla="*/ 248 h 642"/>
                      <a:gd name="T38" fmla="*/ 17 w 995"/>
                      <a:gd name="T39" fmla="*/ 210 h 642"/>
                      <a:gd name="T40" fmla="*/ 47 w 995"/>
                      <a:gd name="T41" fmla="*/ 177 h 642"/>
                      <a:gd name="T42" fmla="*/ 90 w 995"/>
                      <a:gd name="T43" fmla="*/ 193 h 642"/>
                      <a:gd name="T44" fmla="*/ 135 w 995"/>
                      <a:gd name="T45" fmla="*/ 160 h 642"/>
                      <a:gd name="T46" fmla="*/ 161 w 995"/>
                      <a:gd name="T47" fmla="*/ 153 h 642"/>
                      <a:gd name="T48" fmla="*/ 90 w 995"/>
                      <a:gd name="T49" fmla="*/ 54 h 642"/>
                      <a:gd name="T50" fmla="*/ 26 w 995"/>
                      <a:gd name="T51" fmla="*/ 99 h 642"/>
                      <a:gd name="T52" fmla="*/ 31 w 995"/>
                      <a:gd name="T53" fmla="*/ 153 h 642"/>
                      <a:gd name="T54" fmla="*/ 10 w 995"/>
                      <a:gd name="T55" fmla="*/ 103 h 642"/>
                      <a:gd name="T56" fmla="*/ 69 w 995"/>
                      <a:gd name="T57" fmla="*/ 49 h 642"/>
                      <a:gd name="T58" fmla="*/ 177 w 995"/>
                      <a:gd name="T59" fmla="*/ 87 h 642"/>
                      <a:gd name="T60" fmla="*/ 321 w 995"/>
                      <a:gd name="T61" fmla="*/ 137 h 642"/>
                      <a:gd name="T62" fmla="*/ 317 w 995"/>
                      <a:gd name="T63" fmla="*/ 82 h 642"/>
                      <a:gd name="T64" fmla="*/ 392 w 995"/>
                      <a:gd name="T65" fmla="*/ 26 h 642"/>
                      <a:gd name="T66" fmla="*/ 425 w 995"/>
                      <a:gd name="T67" fmla="*/ 49 h 642"/>
                      <a:gd name="T68" fmla="*/ 425 w 995"/>
                      <a:gd name="T69" fmla="*/ 16 h 642"/>
                      <a:gd name="T70" fmla="*/ 468 w 995"/>
                      <a:gd name="T71" fmla="*/ 26 h 642"/>
                      <a:gd name="T72" fmla="*/ 532 w 995"/>
                      <a:gd name="T73" fmla="*/ 49 h 642"/>
                      <a:gd name="T74" fmla="*/ 532 w 995"/>
                      <a:gd name="T75" fmla="*/ 87 h 642"/>
                      <a:gd name="T76" fmla="*/ 539 w 995"/>
                      <a:gd name="T77" fmla="*/ 127 h 642"/>
                      <a:gd name="T78" fmla="*/ 619 w 995"/>
                      <a:gd name="T79" fmla="*/ 144 h 642"/>
                      <a:gd name="T80" fmla="*/ 678 w 995"/>
                      <a:gd name="T81" fmla="*/ 193 h 642"/>
                      <a:gd name="T82" fmla="*/ 780 w 995"/>
                      <a:gd name="T83" fmla="*/ 292 h 642"/>
                      <a:gd name="T84" fmla="*/ 834 w 995"/>
                      <a:gd name="T85" fmla="*/ 326 h 642"/>
                      <a:gd name="T86" fmla="*/ 995 w 995"/>
                      <a:gd name="T87" fmla="*/ 415 h 642"/>
                      <a:gd name="T88" fmla="*/ 985 w 995"/>
                      <a:gd name="T89" fmla="*/ 460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5" h="642">
                        <a:moveTo>
                          <a:pt x="985" y="460"/>
                        </a:moveTo>
                        <a:lnTo>
                          <a:pt x="969" y="470"/>
                        </a:lnTo>
                        <a:lnTo>
                          <a:pt x="926" y="453"/>
                        </a:lnTo>
                        <a:lnTo>
                          <a:pt x="914" y="477"/>
                        </a:lnTo>
                        <a:lnTo>
                          <a:pt x="888" y="477"/>
                        </a:lnTo>
                        <a:lnTo>
                          <a:pt x="860" y="486"/>
                        </a:lnTo>
                        <a:lnTo>
                          <a:pt x="860" y="498"/>
                        </a:lnTo>
                        <a:lnTo>
                          <a:pt x="839" y="552"/>
                        </a:lnTo>
                        <a:lnTo>
                          <a:pt x="806" y="571"/>
                        </a:lnTo>
                        <a:lnTo>
                          <a:pt x="747" y="588"/>
                        </a:lnTo>
                        <a:lnTo>
                          <a:pt x="747" y="604"/>
                        </a:lnTo>
                        <a:lnTo>
                          <a:pt x="747" y="609"/>
                        </a:lnTo>
                        <a:lnTo>
                          <a:pt x="747" y="621"/>
                        </a:lnTo>
                        <a:lnTo>
                          <a:pt x="716" y="637"/>
                        </a:lnTo>
                        <a:lnTo>
                          <a:pt x="699" y="637"/>
                        </a:lnTo>
                        <a:lnTo>
                          <a:pt x="683" y="642"/>
                        </a:lnTo>
                        <a:lnTo>
                          <a:pt x="671" y="621"/>
                        </a:lnTo>
                        <a:lnTo>
                          <a:pt x="640" y="621"/>
                        </a:lnTo>
                        <a:lnTo>
                          <a:pt x="624" y="604"/>
                        </a:lnTo>
                        <a:lnTo>
                          <a:pt x="619" y="609"/>
                        </a:lnTo>
                        <a:lnTo>
                          <a:pt x="607" y="526"/>
                        </a:lnTo>
                        <a:lnTo>
                          <a:pt x="548" y="526"/>
                        </a:lnTo>
                        <a:lnTo>
                          <a:pt x="532" y="493"/>
                        </a:lnTo>
                        <a:lnTo>
                          <a:pt x="494" y="477"/>
                        </a:lnTo>
                        <a:lnTo>
                          <a:pt x="477" y="453"/>
                        </a:lnTo>
                        <a:lnTo>
                          <a:pt x="456" y="437"/>
                        </a:lnTo>
                        <a:lnTo>
                          <a:pt x="409" y="437"/>
                        </a:lnTo>
                        <a:lnTo>
                          <a:pt x="404" y="432"/>
                        </a:lnTo>
                        <a:lnTo>
                          <a:pt x="350" y="415"/>
                        </a:lnTo>
                        <a:lnTo>
                          <a:pt x="333" y="387"/>
                        </a:lnTo>
                        <a:lnTo>
                          <a:pt x="321" y="399"/>
                        </a:lnTo>
                        <a:lnTo>
                          <a:pt x="300" y="387"/>
                        </a:lnTo>
                        <a:lnTo>
                          <a:pt x="279" y="387"/>
                        </a:lnTo>
                        <a:lnTo>
                          <a:pt x="269" y="399"/>
                        </a:lnTo>
                        <a:lnTo>
                          <a:pt x="269" y="403"/>
                        </a:lnTo>
                        <a:lnTo>
                          <a:pt x="262" y="403"/>
                        </a:lnTo>
                        <a:lnTo>
                          <a:pt x="210" y="403"/>
                        </a:lnTo>
                        <a:lnTo>
                          <a:pt x="173" y="432"/>
                        </a:lnTo>
                        <a:lnTo>
                          <a:pt x="161" y="453"/>
                        </a:lnTo>
                        <a:lnTo>
                          <a:pt x="156" y="460"/>
                        </a:lnTo>
                        <a:lnTo>
                          <a:pt x="123" y="470"/>
                        </a:lnTo>
                        <a:lnTo>
                          <a:pt x="102" y="470"/>
                        </a:lnTo>
                        <a:lnTo>
                          <a:pt x="90" y="420"/>
                        </a:lnTo>
                        <a:lnTo>
                          <a:pt x="90" y="366"/>
                        </a:lnTo>
                        <a:lnTo>
                          <a:pt x="106" y="333"/>
                        </a:lnTo>
                        <a:lnTo>
                          <a:pt x="85" y="321"/>
                        </a:lnTo>
                        <a:lnTo>
                          <a:pt x="80" y="304"/>
                        </a:lnTo>
                        <a:lnTo>
                          <a:pt x="47" y="292"/>
                        </a:lnTo>
                        <a:lnTo>
                          <a:pt x="47" y="309"/>
                        </a:lnTo>
                        <a:lnTo>
                          <a:pt x="47" y="288"/>
                        </a:lnTo>
                        <a:lnTo>
                          <a:pt x="52" y="271"/>
                        </a:lnTo>
                        <a:lnTo>
                          <a:pt x="52" y="288"/>
                        </a:lnTo>
                        <a:lnTo>
                          <a:pt x="80" y="288"/>
                        </a:lnTo>
                        <a:lnTo>
                          <a:pt x="90" y="288"/>
                        </a:lnTo>
                        <a:lnTo>
                          <a:pt x="69" y="271"/>
                        </a:lnTo>
                        <a:lnTo>
                          <a:pt x="80" y="248"/>
                        </a:lnTo>
                        <a:lnTo>
                          <a:pt x="31" y="248"/>
                        </a:lnTo>
                        <a:lnTo>
                          <a:pt x="38" y="264"/>
                        </a:lnTo>
                        <a:lnTo>
                          <a:pt x="17" y="238"/>
                        </a:lnTo>
                        <a:lnTo>
                          <a:pt x="17" y="210"/>
                        </a:lnTo>
                        <a:lnTo>
                          <a:pt x="31" y="181"/>
                        </a:lnTo>
                        <a:lnTo>
                          <a:pt x="31" y="153"/>
                        </a:lnTo>
                        <a:lnTo>
                          <a:pt x="47" y="177"/>
                        </a:lnTo>
                        <a:lnTo>
                          <a:pt x="69" y="181"/>
                        </a:lnTo>
                        <a:lnTo>
                          <a:pt x="80" y="165"/>
                        </a:lnTo>
                        <a:lnTo>
                          <a:pt x="90" y="193"/>
                        </a:lnTo>
                        <a:lnTo>
                          <a:pt x="139" y="181"/>
                        </a:lnTo>
                        <a:lnTo>
                          <a:pt x="123" y="165"/>
                        </a:lnTo>
                        <a:lnTo>
                          <a:pt x="135" y="160"/>
                        </a:lnTo>
                        <a:lnTo>
                          <a:pt x="139" y="177"/>
                        </a:lnTo>
                        <a:lnTo>
                          <a:pt x="156" y="165"/>
                        </a:lnTo>
                        <a:lnTo>
                          <a:pt x="161" y="153"/>
                        </a:lnTo>
                        <a:lnTo>
                          <a:pt x="118" y="120"/>
                        </a:lnTo>
                        <a:lnTo>
                          <a:pt x="102" y="66"/>
                        </a:lnTo>
                        <a:lnTo>
                          <a:pt x="90" y="54"/>
                        </a:lnTo>
                        <a:lnTo>
                          <a:pt x="47" y="66"/>
                        </a:lnTo>
                        <a:lnTo>
                          <a:pt x="31" y="70"/>
                        </a:lnTo>
                        <a:lnTo>
                          <a:pt x="26" y="99"/>
                        </a:lnTo>
                        <a:lnTo>
                          <a:pt x="31" y="99"/>
                        </a:lnTo>
                        <a:lnTo>
                          <a:pt x="26" y="120"/>
                        </a:lnTo>
                        <a:lnTo>
                          <a:pt x="31" y="153"/>
                        </a:lnTo>
                        <a:lnTo>
                          <a:pt x="26" y="127"/>
                        </a:lnTo>
                        <a:lnTo>
                          <a:pt x="10" y="111"/>
                        </a:lnTo>
                        <a:lnTo>
                          <a:pt x="10" y="103"/>
                        </a:lnTo>
                        <a:lnTo>
                          <a:pt x="0" y="99"/>
                        </a:lnTo>
                        <a:lnTo>
                          <a:pt x="38" y="54"/>
                        </a:lnTo>
                        <a:lnTo>
                          <a:pt x="69" y="49"/>
                        </a:lnTo>
                        <a:lnTo>
                          <a:pt x="123" y="37"/>
                        </a:lnTo>
                        <a:lnTo>
                          <a:pt x="177" y="82"/>
                        </a:lnTo>
                        <a:lnTo>
                          <a:pt x="177" y="87"/>
                        </a:lnTo>
                        <a:lnTo>
                          <a:pt x="210" y="137"/>
                        </a:lnTo>
                        <a:lnTo>
                          <a:pt x="246" y="127"/>
                        </a:lnTo>
                        <a:lnTo>
                          <a:pt x="321" y="137"/>
                        </a:lnTo>
                        <a:lnTo>
                          <a:pt x="321" y="127"/>
                        </a:lnTo>
                        <a:lnTo>
                          <a:pt x="317" y="99"/>
                        </a:lnTo>
                        <a:lnTo>
                          <a:pt x="317" y="82"/>
                        </a:lnTo>
                        <a:lnTo>
                          <a:pt x="350" y="54"/>
                        </a:lnTo>
                        <a:lnTo>
                          <a:pt x="376" y="54"/>
                        </a:lnTo>
                        <a:lnTo>
                          <a:pt x="392" y="26"/>
                        </a:lnTo>
                        <a:lnTo>
                          <a:pt x="409" y="33"/>
                        </a:lnTo>
                        <a:lnTo>
                          <a:pt x="413" y="49"/>
                        </a:lnTo>
                        <a:lnTo>
                          <a:pt x="425" y="49"/>
                        </a:lnTo>
                        <a:lnTo>
                          <a:pt x="404" y="16"/>
                        </a:lnTo>
                        <a:lnTo>
                          <a:pt x="409" y="9"/>
                        </a:lnTo>
                        <a:lnTo>
                          <a:pt x="425" y="16"/>
                        </a:lnTo>
                        <a:lnTo>
                          <a:pt x="430" y="0"/>
                        </a:lnTo>
                        <a:lnTo>
                          <a:pt x="456" y="26"/>
                        </a:lnTo>
                        <a:lnTo>
                          <a:pt x="468" y="26"/>
                        </a:lnTo>
                        <a:lnTo>
                          <a:pt x="477" y="37"/>
                        </a:lnTo>
                        <a:lnTo>
                          <a:pt x="515" y="37"/>
                        </a:lnTo>
                        <a:lnTo>
                          <a:pt x="532" y="49"/>
                        </a:lnTo>
                        <a:lnTo>
                          <a:pt x="532" y="66"/>
                        </a:lnTo>
                        <a:lnTo>
                          <a:pt x="548" y="87"/>
                        </a:lnTo>
                        <a:lnTo>
                          <a:pt x="532" y="87"/>
                        </a:lnTo>
                        <a:lnTo>
                          <a:pt x="539" y="103"/>
                        </a:lnTo>
                        <a:lnTo>
                          <a:pt x="532" y="120"/>
                        </a:lnTo>
                        <a:lnTo>
                          <a:pt x="539" y="127"/>
                        </a:lnTo>
                        <a:lnTo>
                          <a:pt x="565" y="137"/>
                        </a:lnTo>
                        <a:lnTo>
                          <a:pt x="591" y="137"/>
                        </a:lnTo>
                        <a:lnTo>
                          <a:pt x="619" y="144"/>
                        </a:lnTo>
                        <a:lnTo>
                          <a:pt x="628" y="127"/>
                        </a:lnTo>
                        <a:lnTo>
                          <a:pt x="662" y="144"/>
                        </a:lnTo>
                        <a:lnTo>
                          <a:pt x="678" y="193"/>
                        </a:lnTo>
                        <a:lnTo>
                          <a:pt x="695" y="210"/>
                        </a:lnTo>
                        <a:lnTo>
                          <a:pt x="699" y="238"/>
                        </a:lnTo>
                        <a:lnTo>
                          <a:pt x="780" y="292"/>
                        </a:lnTo>
                        <a:lnTo>
                          <a:pt x="784" y="309"/>
                        </a:lnTo>
                        <a:lnTo>
                          <a:pt x="817" y="333"/>
                        </a:lnTo>
                        <a:lnTo>
                          <a:pt x="834" y="326"/>
                        </a:lnTo>
                        <a:lnTo>
                          <a:pt x="914" y="387"/>
                        </a:lnTo>
                        <a:lnTo>
                          <a:pt x="940" y="387"/>
                        </a:lnTo>
                        <a:lnTo>
                          <a:pt x="995" y="415"/>
                        </a:lnTo>
                        <a:lnTo>
                          <a:pt x="985" y="432"/>
                        </a:lnTo>
                        <a:lnTo>
                          <a:pt x="985" y="460"/>
                        </a:lnTo>
                        <a:lnTo>
                          <a:pt x="985" y="460"/>
                        </a:lnTo>
                        <a:lnTo>
                          <a:pt x="985" y="46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1" name="Freeform 580">
                    <a:extLst>
                      <a:ext uri="{FF2B5EF4-FFF2-40B4-BE49-F238E27FC236}">
                        <a16:creationId xmlns:a16="http://schemas.microsoft.com/office/drawing/2014/main" id="{8EAACEF7-FF63-4DB7-B4F5-8D9B35BE696F}"/>
                      </a:ext>
                    </a:extLst>
                  </p:cNvPr>
                  <p:cNvSpPr>
                    <a:spLocks noEditPoints="1"/>
                  </p:cNvSpPr>
                  <p:nvPr/>
                </p:nvSpPr>
                <p:spPr bwMode="gray">
                  <a:xfrm>
                    <a:off x="6489938" y="1994953"/>
                    <a:ext cx="288581" cy="448359"/>
                  </a:xfrm>
                  <a:custGeom>
                    <a:avLst/>
                    <a:gdLst>
                      <a:gd name="T0" fmla="*/ 494 w 701"/>
                      <a:gd name="T1" fmla="*/ 38 h 1089"/>
                      <a:gd name="T2" fmla="*/ 494 w 701"/>
                      <a:gd name="T3" fmla="*/ 71 h 1089"/>
                      <a:gd name="T4" fmla="*/ 472 w 701"/>
                      <a:gd name="T5" fmla="*/ 71 h 1089"/>
                      <a:gd name="T6" fmla="*/ 489 w 701"/>
                      <a:gd name="T7" fmla="*/ 62 h 1089"/>
                      <a:gd name="T8" fmla="*/ 375 w 701"/>
                      <a:gd name="T9" fmla="*/ 206 h 1089"/>
                      <a:gd name="T10" fmla="*/ 347 w 701"/>
                      <a:gd name="T11" fmla="*/ 222 h 1089"/>
                      <a:gd name="T12" fmla="*/ 375 w 701"/>
                      <a:gd name="T13" fmla="*/ 215 h 1089"/>
                      <a:gd name="T14" fmla="*/ 201 w 701"/>
                      <a:gd name="T15" fmla="*/ 907 h 1089"/>
                      <a:gd name="T16" fmla="*/ 342 w 701"/>
                      <a:gd name="T17" fmla="*/ 770 h 1089"/>
                      <a:gd name="T18" fmla="*/ 375 w 701"/>
                      <a:gd name="T19" fmla="*/ 737 h 1089"/>
                      <a:gd name="T20" fmla="*/ 359 w 701"/>
                      <a:gd name="T21" fmla="*/ 610 h 1089"/>
                      <a:gd name="T22" fmla="*/ 234 w 701"/>
                      <a:gd name="T23" fmla="*/ 643 h 1089"/>
                      <a:gd name="T24" fmla="*/ 234 w 701"/>
                      <a:gd name="T25" fmla="*/ 503 h 1089"/>
                      <a:gd name="T26" fmla="*/ 217 w 701"/>
                      <a:gd name="T27" fmla="*/ 482 h 1089"/>
                      <a:gd name="T28" fmla="*/ 179 w 701"/>
                      <a:gd name="T29" fmla="*/ 499 h 1089"/>
                      <a:gd name="T30" fmla="*/ 196 w 701"/>
                      <a:gd name="T31" fmla="*/ 459 h 1089"/>
                      <a:gd name="T32" fmla="*/ 163 w 701"/>
                      <a:gd name="T33" fmla="*/ 425 h 1089"/>
                      <a:gd name="T34" fmla="*/ 170 w 701"/>
                      <a:gd name="T35" fmla="*/ 392 h 1089"/>
                      <a:gd name="T36" fmla="*/ 163 w 701"/>
                      <a:gd name="T37" fmla="*/ 350 h 1089"/>
                      <a:gd name="T38" fmla="*/ 184 w 701"/>
                      <a:gd name="T39" fmla="*/ 293 h 1089"/>
                      <a:gd name="T40" fmla="*/ 250 w 701"/>
                      <a:gd name="T41" fmla="*/ 239 h 1089"/>
                      <a:gd name="T42" fmla="*/ 288 w 701"/>
                      <a:gd name="T43" fmla="*/ 317 h 1089"/>
                      <a:gd name="T44" fmla="*/ 430 w 701"/>
                      <a:gd name="T45" fmla="*/ 333 h 1089"/>
                      <a:gd name="T46" fmla="*/ 375 w 701"/>
                      <a:gd name="T47" fmla="*/ 459 h 1089"/>
                      <a:gd name="T48" fmla="*/ 456 w 701"/>
                      <a:gd name="T49" fmla="*/ 548 h 1089"/>
                      <a:gd name="T50" fmla="*/ 581 w 701"/>
                      <a:gd name="T51" fmla="*/ 754 h 1089"/>
                      <a:gd name="T52" fmla="*/ 614 w 701"/>
                      <a:gd name="T53" fmla="*/ 808 h 1089"/>
                      <a:gd name="T54" fmla="*/ 668 w 701"/>
                      <a:gd name="T55" fmla="*/ 907 h 1089"/>
                      <a:gd name="T56" fmla="*/ 614 w 701"/>
                      <a:gd name="T57" fmla="*/ 957 h 1089"/>
                      <a:gd name="T58" fmla="*/ 522 w 701"/>
                      <a:gd name="T59" fmla="*/ 1018 h 1089"/>
                      <a:gd name="T60" fmla="*/ 364 w 701"/>
                      <a:gd name="T61" fmla="*/ 1018 h 1089"/>
                      <a:gd name="T62" fmla="*/ 212 w 701"/>
                      <a:gd name="T63" fmla="*/ 1089 h 1089"/>
                      <a:gd name="T64" fmla="*/ 255 w 701"/>
                      <a:gd name="T65" fmla="*/ 1018 h 1089"/>
                      <a:gd name="T66" fmla="*/ 342 w 701"/>
                      <a:gd name="T67" fmla="*/ 957 h 1089"/>
                      <a:gd name="T68" fmla="*/ 217 w 701"/>
                      <a:gd name="T69" fmla="*/ 936 h 1089"/>
                      <a:gd name="T70" fmla="*/ 104 w 701"/>
                      <a:gd name="T71" fmla="*/ 317 h 1089"/>
                      <a:gd name="T72" fmla="*/ 87 w 701"/>
                      <a:gd name="T73" fmla="*/ 277 h 1089"/>
                      <a:gd name="T74" fmla="*/ 142 w 701"/>
                      <a:gd name="T75" fmla="*/ 277 h 1089"/>
                      <a:gd name="T76" fmla="*/ 38 w 701"/>
                      <a:gd name="T77" fmla="*/ 338 h 1089"/>
                      <a:gd name="T78" fmla="*/ 146 w 701"/>
                      <a:gd name="T79" fmla="*/ 388 h 1089"/>
                      <a:gd name="T80" fmla="*/ 108 w 701"/>
                      <a:gd name="T81" fmla="*/ 338 h 1089"/>
                      <a:gd name="T82" fmla="*/ 163 w 701"/>
                      <a:gd name="T83" fmla="*/ 392 h 1089"/>
                      <a:gd name="T84" fmla="*/ 61 w 701"/>
                      <a:gd name="T85" fmla="*/ 392 h 1089"/>
                      <a:gd name="T86" fmla="*/ 49 w 701"/>
                      <a:gd name="T87" fmla="*/ 409 h 1089"/>
                      <a:gd name="T88" fmla="*/ 116 w 701"/>
                      <a:gd name="T89" fmla="*/ 404 h 1089"/>
                      <a:gd name="T90" fmla="*/ 142 w 701"/>
                      <a:gd name="T91" fmla="*/ 421 h 1089"/>
                      <a:gd name="T92" fmla="*/ 146 w 701"/>
                      <a:gd name="T93" fmla="*/ 466 h 1089"/>
                      <a:gd name="T94" fmla="*/ 78 w 701"/>
                      <a:gd name="T95" fmla="*/ 459 h 1089"/>
                      <a:gd name="T96" fmla="*/ 170 w 701"/>
                      <a:gd name="T97" fmla="*/ 492 h 1089"/>
                      <a:gd name="T98" fmla="*/ 142 w 701"/>
                      <a:gd name="T99" fmla="*/ 503 h 1089"/>
                      <a:gd name="T100" fmla="*/ 130 w 701"/>
                      <a:gd name="T101" fmla="*/ 548 h 1089"/>
                      <a:gd name="T102" fmla="*/ 217 w 701"/>
                      <a:gd name="T103" fmla="*/ 536 h 1089"/>
                      <a:gd name="T104" fmla="*/ 212 w 701"/>
                      <a:gd name="T105" fmla="*/ 560 h 1089"/>
                      <a:gd name="T106" fmla="*/ 38 w 701"/>
                      <a:gd name="T107" fmla="*/ 631 h 1089"/>
                      <a:gd name="T108" fmla="*/ 158 w 701"/>
                      <a:gd name="T109" fmla="*/ 647 h 1089"/>
                      <a:gd name="T110" fmla="*/ 158 w 701"/>
                      <a:gd name="T111" fmla="*/ 697 h 1089"/>
                      <a:gd name="T112" fmla="*/ 250 w 701"/>
                      <a:gd name="T113" fmla="*/ 770 h 1089"/>
                      <a:gd name="T114" fmla="*/ 635 w 701"/>
                      <a:gd name="T115" fmla="*/ 957 h 1089"/>
                      <a:gd name="T116" fmla="*/ 484 w 701"/>
                      <a:gd name="T117" fmla="*/ 1035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1" h="1089">
                        <a:moveTo>
                          <a:pt x="510" y="17"/>
                        </a:moveTo>
                        <a:lnTo>
                          <a:pt x="505" y="17"/>
                        </a:lnTo>
                        <a:lnTo>
                          <a:pt x="510" y="0"/>
                        </a:lnTo>
                        <a:lnTo>
                          <a:pt x="522" y="0"/>
                        </a:lnTo>
                        <a:lnTo>
                          <a:pt x="510" y="17"/>
                        </a:lnTo>
                        <a:lnTo>
                          <a:pt x="510" y="17"/>
                        </a:lnTo>
                        <a:lnTo>
                          <a:pt x="510" y="17"/>
                        </a:lnTo>
                        <a:close/>
                        <a:moveTo>
                          <a:pt x="494" y="38"/>
                        </a:moveTo>
                        <a:lnTo>
                          <a:pt x="489" y="22"/>
                        </a:lnTo>
                        <a:lnTo>
                          <a:pt x="505" y="5"/>
                        </a:lnTo>
                        <a:lnTo>
                          <a:pt x="505" y="33"/>
                        </a:lnTo>
                        <a:lnTo>
                          <a:pt x="494" y="38"/>
                        </a:lnTo>
                        <a:lnTo>
                          <a:pt x="494" y="38"/>
                        </a:lnTo>
                        <a:lnTo>
                          <a:pt x="494" y="38"/>
                        </a:lnTo>
                        <a:close/>
                        <a:moveTo>
                          <a:pt x="489" y="62"/>
                        </a:moveTo>
                        <a:lnTo>
                          <a:pt x="494" y="71"/>
                        </a:lnTo>
                        <a:lnTo>
                          <a:pt x="489" y="78"/>
                        </a:lnTo>
                        <a:lnTo>
                          <a:pt x="484" y="99"/>
                        </a:lnTo>
                        <a:lnTo>
                          <a:pt x="472" y="99"/>
                        </a:lnTo>
                        <a:lnTo>
                          <a:pt x="489" y="78"/>
                        </a:lnTo>
                        <a:lnTo>
                          <a:pt x="484" y="62"/>
                        </a:lnTo>
                        <a:lnTo>
                          <a:pt x="472" y="62"/>
                        </a:lnTo>
                        <a:lnTo>
                          <a:pt x="484" y="71"/>
                        </a:lnTo>
                        <a:lnTo>
                          <a:pt x="472" y="71"/>
                        </a:lnTo>
                        <a:lnTo>
                          <a:pt x="456" y="55"/>
                        </a:lnTo>
                        <a:lnTo>
                          <a:pt x="484" y="45"/>
                        </a:lnTo>
                        <a:lnTo>
                          <a:pt x="456" y="38"/>
                        </a:lnTo>
                        <a:lnTo>
                          <a:pt x="484" y="22"/>
                        </a:lnTo>
                        <a:lnTo>
                          <a:pt x="484" y="38"/>
                        </a:lnTo>
                        <a:lnTo>
                          <a:pt x="505" y="38"/>
                        </a:lnTo>
                        <a:lnTo>
                          <a:pt x="489" y="62"/>
                        </a:lnTo>
                        <a:lnTo>
                          <a:pt x="489" y="62"/>
                        </a:lnTo>
                        <a:lnTo>
                          <a:pt x="489" y="62"/>
                        </a:lnTo>
                        <a:close/>
                        <a:moveTo>
                          <a:pt x="385" y="173"/>
                        </a:moveTo>
                        <a:lnTo>
                          <a:pt x="385" y="166"/>
                        </a:lnTo>
                        <a:lnTo>
                          <a:pt x="401" y="166"/>
                        </a:lnTo>
                        <a:lnTo>
                          <a:pt x="385" y="173"/>
                        </a:lnTo>
                        <a:lnTo>
                          <a:pt x="385" y="173"/>
                        </a:lnTo>
                        <a:lnTo>
                          <a:pt x="385" y="173"/>
                        </a:lnTo>
                        <a:close/>
                        <a:moveTo>
                          <a:pt x="375" y="206"/>
                        </a:moveTo>
                        <a:lnTo>
                          <a:pt x="342" y="199"/>
                        </a:lnTo>
                        <a:lnTo>
                          <a:pt x="342" y="182"/>
                        </a:lnTo>
                        <a:lnTo>
                          <a:pt x="359" y="182"/>
                        </a:lnTo>
                        <a:lnTo>
                          <a:pt x="380" y="206"/>
                        </a:lnTo>
                        <a:lnTo>
                          <a:pt x="375" y="206"/>
                        </a:lnTo>
                        <a:lnTo>
                          <a:pt x="375" y="206"/>
                        </a:lnTo>
                        <a:lnTo>
                          <a:pt x="375" y="206"/>
                        </a:lnTo>
                        <a:close/>
                        <a:moveTo>
                          <a:pt x="347" y="222"/>
                        </a:moveTo>
                        <a:lnTo>
                          <a:pt x="331" y="206"/>
                        </a:lnTo>
                        <a:lnTo>
                          <a:pt x="347" y="215"/>
                        </a:lnTo>
                        <a:lnTo>
                          <a:pt x="347" y="222"/>
                        </a:lnTo>
                        <a:lnTo>
                          <a:pt x="347" y="222"/>
                        </a:lnTo>
                        <a:lnTo>
                          <a:pt x="347" y="222"/>
                        </a:lnTo>
                        <a:close/>
                        <a:moveTo>
                          <a:pt x="364" y="222"/>
                        </a:moveTo>
                        <a:lnTo>
                          <a:pt x="359" y="215"/>
                        </a:lnTo>
                        <a:lnTo>
                          <a:pt x="375" y="215"/>
                        </a:lnTo>
                        <a:lnTo>
                          <a:pt x="364" y="222"/>
                        </a:lnTo>
                        <a:lnTo>
                          <a:pt x="364" y="222"/>
                        </a:lnTo>
                        <a:lnTo>
                          <a:pt x="364" y="222"/>
                        </a:lnTo>
                        <a:close/>
                        <a:moveTo>
                          <a:pt x="217" y="936"/>
                        </a:moveTo>
                        <a:lnTo>
                          <a:pt x="234" y="924"/>
                        </a:lnTo>
                        <a:lnTo>
                          <a:pt x="201" y="924"/>
                        </a:lnTo>
                        <a:lnTo>
                          <a:pt x="217" y="924"/>
                        </a:lnTo>
                        <a:lnTo>
                          <a:pt x="201" y="907"/>
                        </a:lnTo>
                        <a:lnTo>
                          <a:pt x="276" y="879"/>
                        </a:lnTo>
                        <a:lnTo>
                          <a:pt x="288" y="853"/>
                        </a:lnTo>
                        <a:lnTo>
                          <a:pt x="276" y="813"/>
                        </a:lnTo>
                        <a:lnTo>
                          <a:pt x="255" y="825"/>
                        </a:lnTo>
                        <a:lnTo>
                          <a:pt x="238" y="825"/>
                        </a:lnTo>
                        <a:lnTo>
                          <a:pt x="238" y="825"/>
                        </a:lnTo>
                        <a:lnTo>
                          <a:pt x="276" y="780"/>
                        </a:lnTo>
                        <a:lnTo>
                          <a:pt x="342" y="770"/>
                        </a:lnTo>
                        <a:lnTo>
                          <a:pt x="359" y="780"/>
                        </a:lnTo>
                        <a:lnTo>
                          <a:pt x="347" y="770"/>
                        </a:lnTo>
                        <a:lnTo>
                          <a:pt x="359" y="770"/>
                        </a:lnTo>
                        <a:lnTo>
                          <a:pt x="375" y="775"/>
                        </a:lnTo>
                        <a:lnTo>
                          <a:pt x="380" y="770"/>
                        </a:lnTo>
                        <a:lnTo>
                          <a:pt x="364" y="770"/>
                        </a:lnTo>
                        <a:lnTo>
                          <a:pt x="359" y="754"/>
                        </a:lnTo>
                        <a:lnTo>
                          <a:pt x="375" y="737"/>
                        </a:lnTo>
                        <a:lnTo>
                          <a:pt x="359" y="725"/>
                        </a:lnTo>
                        <a:lnTo>
                          <a:pt x="359" y="714"/>
                        </a:lnTo>
                        <a:lnTo>
                          <a:pt x="364" y="714"/>
                        </a:lnTo>
                        <a:lnTo>
                          <a:pt x="375" y="681"/>
                        </a:lnTo>
                        <a:lnTo>
                          <a:pt x="347" y="697"/>
                        </a:lnTo>
                        <a:lnTo>
                          <a:pt x="321" y="659"/>
                        </a:lnTo>
                        <a:lnTo>
                          <a:pt x="331" y="614"/>
                        </a:lnTo>
                        <a:lnTo>
                          <a:pt x="359" y="610"/>
                        </a:lnTo>
                        <a:lnTo>
                          <a:pt x="326" y="610"/>
                        </a:lnTo>
                        <a:lnTo>
                          <a:pt x="321" y="614"/>
                        </a:lnTo>
                        <a:lnTo>
                          <a:pt x="293" y="631"/>
                        </a:lnTo>
                        <a:lnTo>
                          <a:pt x="267" y="614"/>
                        </a:lnTo>
                        <a:lnTo>
                          <a:pt x="267" y="643"/>
                        </a:lnTo>
                        <a:lnTo>
                          <a:pt x="234" y="614"/>
                        </a:lnTo>
                        <a:lnTo>
                          <a:pt x="222" y="626"/>
                        </a:lnTo>
                        <a:lnTo>
                          <a:pt x="234" y="643"/>
                        </a:lnTo>
                        <a:lnTo>
                          <a:pt x="222" y="643"/>
                        </a:lnTo>
                        <a:lnTo>
                          <a:pt x="212" y="614"/>
                        </a:lnTo>
                        <a:lnTo>
                          <a:pt x="212" y="610"/>
                        </a:lnTo>
                        <a:lnTo>
                          <a:pt x="250" y="553"/>
                        </a:lnTo>
                        <a:lnTo>
                          <a:pt x="222" y="536"/>
                        </a:lnTo>
                        <a:lnTo>
                          <a:pt x="234" y="515"/>
                        </a:lnTo>
                        <a:lnTo>
                          <a:pt x="255" y="515"/>
                        </a:lnTo>
                        <a:lnTo>
                          <a:pt x="234" y="503"/>
                        </a:lnTo>
                        <a:lnTo>
                          <a:pt x="234" y="492"/>
                        </a:lnTo>
                        <a:lnTo>
                          <a:pt x="222" y="520"/>
                        </a:lnTo>
                        <a:lnTo>
                          <a:pt x="212" y="515"/>
                        </a:lnTo>
                        <a:lnTo>
                          <a:pt x="212" y="520"/>
                        </a:lnTo>
                        <a:lnTo>
                          <a:pt x="201" y="520"/>
                        </a:lnTo>
                        <a:lnTo>
                          <a:pt x="201" y="503"/>
                        </a:lnTo>
                        <a:lnTo>
                          <a:pt x="222" y="482"/>
                        </a:lnTo>
                        <a:lnTo>
                          <a:pt x="217" y="482"/>
                        </a:lnTo>
                        <a:lnTo>
                          <a:pt x="196" y="503"/>
                        </a:lnTo>
                        <a:lnTo>
                          <a:pt x="196" y="532"/>
                        </a:lnTo>
                        <a:lnTo>
                          <a:pt x="184" y="548"/>
                        </a:lnTo>
                        <a:lnTo>
                          <a:pt x="184" y="570"/>
                        </a:lnTo>
                        <a:lnTo>
                          <a:pt x="163" y="577"/>
                        </a:lnTo>
                        <a:lnTo>
                          <a:pt x="179" y="532"/>
                        </a:lnTo>
                        <a:lnTo>
                          <a:pt x="170" y="515"/>
                        </a:lnTo>
                        <a:lnTo>
                          <a:pt x="179" y="499"/>
                        </a:lnTo>
                        <a:lnTo>
                          <a:pt x="170" y="503"/>
                        </a:lnTo>
                        <a:lnTo>
                          <a:pt x="184" y="492"/>
                        </a:lnTo>
                        <a:lnTo>
                          <a:pt x="179" y="492"/>
                        </a:lnTo>
                        <a:lnTo>
                          <a:pt x="179" y="475"/>
                        </a:lnTo>
                        <a:lnTo>
                          <a:pt x="217" y="449"/>
                        </a:lnTo>
                        <a:lnTo>
                          <a:pt x="217" y="449"/>
                        </a:lnTo>
                        <a:lnTo>
                          <a:pt x="212" y="459"/>
                        </a:lnTo>
                        <a:lnTo>
                          <a:pt x="196" y="459"/>
                        </a:lnTo>
                        <a:lnTo>
                          <a:pt x="201" y="449"/>
                        </a:lnTo>
                        <a:lnTo>
                          <a:pt x="196" y="442"/>
                        </a:lnTo>
                        <a:lnTo>
                          <a:pt x="212" y="421"/>
                        </a:lnTo>
                        <a:lnTo>
                          <a:pt x="170" y="459"/>
                        </a:lnTo>
                        <a:lnTo>
                          <a:pt x="146" y="442"/>
                        </a:lnTo>
                        <a:lnTo>
                          <a:pt x="184" y="437"/>
                        </a:lnTo>
                        <a:lnTo>
                          <a:pt x="130" y="437"/>
                        </a:lnTo>
                        <a:lnTo>
                          <a:pt x="163" y="425"/>
                        </a:lnTo>
                        <a:lnTo>
                          <a:pt x="163" y="425"/>
                        </a:lnTo>
                        <a:lnTo>
                          <a:pt x="163" y="421"/>
                        </a:lnTo>
                        <a:lnTo>
                          <a:pt x="179" y="421"/>
                        </a:lnTo>
                        <a:lnTo>
                          <a:pt x="158" y="409"/>
                        </a:lnTo>
                        <a:lnTo>
                          <a:pt x="163" y="404"/>
                        </a:lnTo>
                        <a:lnTo>
                          <a:pt x="184" y="404"/>
                        </a:lnTo>
                        <a:lnTo>
                          <a:pt x="163" y="392"/>
                        </a:lnTo>
                        <a:lnTo>
                          <a:pt x="170" y="392"/>
                        </a:lnTo>
                        <a:lnTo>
                          <a:pt x="196" y="392"/>
                        </a:lnTo>
                        <a:lnTo>
                          <a:pt x="179" y="388"/>
                        </a:lnTo>
                        <a:lnTo>
                          <a:pt x="179" y="383"/>
                        </a:lnTo>
                        <a:lnTo>
                          <a:pt x="196" y="383"/>
                        </a:lnTo>
                        <a:lnTo>
                          <a:pt x="179" y="371"/>
                        </a:lnTo>
                        <a:lnTo>
                          <a:pt x="184" y="366"/>
                        </a:lnTo>
                        <a:lnTo>
                          <a:pt x="163" y="366"/>
                        </a:lnTo>
                        <a:lnTo>
                          <a:pt x="163" y="350"/>
                        </a:lnTo>
                        <a:lnTo>
                          <a:pt x="184" y="350"/>
                        </a:lnTo>
                        <a:lnTo>
                          <a:pt x="163" y="338"/>
                        </a:lnTo>
                        <a:lnTo>
                          <a:pt x="163" y="317"/>
                        </a:lnTo>
                        <a:lnTo>
                          <a:pt x="170" y="317"/>
                        </a:lnTo>
                        <a:lnTo>
                          <a:pt x="179" y="326"/>
                        </a:lnTo>
                        <a:lnTo>
                          <a:pt x="179" y="310"/>
                        </a:lnTo>
                        <a:lnTo>
                          <a:pt x="217" y="317"/>
                        </a:lnTo>
                        <a:lnTo>
                          <a:pt x="184" y="293"/>
                        </a:lnTo>
                        <a:lnTo>
                          <a:pt x="201" y="293"/>
                        </a:lnTo>
                        <a:lnTo>
                          <a:pt x="196" y="277"/>
                        </a:lnTo>
                        <a:lnTo>
                          <a:pt x="217" y="277"/>
                        </a:lnTo>
                        <a:lnTo>
                          <a:pt x="212" y="260"/>
                        </a:lnTo>
                        <a:lnTo>
                          <a:pt x="222" y="239"/>
                        </a:lnTo>
                        <a:lnTo>
                          <a:pt x="238" y="244"/>
                        </a:lnTo>
                        <a:lnTo>
                          <a:pt x="238" y="255"/>
                        </a:lnTo>
                        <a:lnTo>
                          <a:pt x="250" y="239"/>
                        </a:lnTo>
                        <a:lnTo>
                          <a:pt x="271" y="244"/>
                        </a:lnTo>
                        <a:lnTo>
                          <a:pt x="359" y="227"/>
                        </a:lnTo>
                        <a:lnTo>
                          <a:pt x="359" y="255"/>
                        </a:lnTo>
                        <a:lnTo>
                          <a:pt x="347" y="272"/>
                        </a:lnTo>
                        <a:lnTo>
                          <a:pt x="293" y="310"/>
                        </a:lnTo>
                        <a:lnTo>
                          <a:pt x="288" y="317"/>
                        </a:lnTo>
                        <a:lnTo>
                          <a:pt x="267" y="310"/>
                        </a:lnTo>
                        <a:lnTo>
                          <a:pt x="288" y="317"/>
                        </a:lnTo>
                        <a:lnTo>
                          <a:pt x="309" y="317"/>
                        </a:lnTo>
                        <a:lnTo>
                          <a:pt x="293" y="333"/>
                        </a:lnTo>
                        <a:lnTo>
                          <a:pt x="271" y="333"/>
                        </a:lnTo>
                        <a:lnTo>
                          <a:pt x="267" y="350"/>
                        </a:lnTo>
                        <a:lnTo>
                          <a:pt x="288" y="338"/>
                        </a:lnTo>
                        <a:lnTo>
                          <a:pt x="276" y="355"/>
                        </a:lnTo>
                        <a:lnTo>
                          <a:pt x="326" y="333"/>
                        </a:lnTo>
                        <a:lnTo>
                          <a:pt x="430" y="333"/>
                        </a:lnTo>
                        <a:lnTo>
                          <a:pt x="439" y="333"/>
                        </a:lnTo>
                        <a:lnTo>
                          <a:pt x="451" y="355"/>
                        </a:lnTo>
                        <a:lnTo>
                          <a:pt x="434" y="371"/>
                        </a:lnTo>
                        <a:lnTo>
                          <a:pt x="418" y="421"/>
                        </a:lnTo>
                        <a:lnTo>
                          <a:pt x="397" y="437"/>
                        </a:lnTo>
                        <a:lnTo>
                          <a:pt x="397" y="449"/>
                        </a:lnTo>
                        <a:lnTo>
                          <a:pt x="342" y="466"/>
                        </a:lnTo>
                        <a:lnTo>
                          <a:pt x="375" y="459"/>
                        </a:lnTo>
                        <a:lnTo>
                          <a:pt x="397" y="482"/>
                        </a:lnTo>
                        <a:lnTo>
                          <a:pt x="331" y="503"/>
                        </a:lnTo>
                        <a:lnTo>
                          <a:pt x="309" y="503"/>
                        </a:lnTo>
                        <a:lnTo>
                          <a:pt x="359" y="515"/>
                        </a:lnTo>
                        <a:lnTo>
                          <a:pt x="385" y="499"/>
                        </a:lnTo>
                        <a:lnTo>
                          <a:pt x="430" y="520"/>
                        </a:lnTo>
                        <a:lnTo>
                          <a:pt x="439" y="548"/>
                        </a:lnTo>
                        <a:lnTo>
                          <a:pt x="456" y="548"/>
                        </a:lnTo>
                        <a:lnTo>
                          <a:pt x="484" y="631"/>
                        </a:lnTo>
                        <a:lnTo>
                          <a:pt x="489" y="643"/>
                        </a:lnTo>
                        <a:lnTo>
                          <a:pt x="538" y="659"/>
                        </a:lnTo>
                        <a:lnTo>
                          <a:pt x="548" y="681"/>
                        </a:lnTo>
                        <a:lnTo>
                          <a:pt x="564" y="697"/>
                        </a:lnTo>
                        <a:lnTo>
                          <a:pt x="560" y="702"/>
                        </a:lnTo>
                        <a:lnTo>
                          <a:pt x="581" y="742"/>
                        </a:lnTo>
                        <a:lnTo>
                          <a:pt x="581" y="754"/>
                        </a:lnTo>
                        <a:lnTo>
                          <a:pt x="560" y="737"/>
                        </a:lnTo>
                        <a:lnTo>
                          <a:pt x="522" y="737"/>
                        </a:lnTo>
                        <a:lnTo>
                          <a:pt x="548" y="737"/>
                        </a:lnTo>
                        <a:lnTo>
                          <a:pt x="593" y="770"/>
                        </a:lnTo>
                        <a:lnTo>
                          <a:pt x="597" y="792"/>
                        </a:lnTo>
                        <a:lnTo>
                          <a:pt x="576" y="813"/>
                        </a:lnTo>
                        <a:lnTo>
                          <a:pt x="597" y="825"/>
                        </a:lnTo>
                        <a:lnTo>
                          <a:pt x="614" y="808"/>
                        </a:lnTo>
                        <a:lnTo>
                          <a:pt x="635" y="808"/>
                        </a:lnTo>
                        <a:lnTo>
                          <a:pt x="668" y="813"/>
                        </a:lnTo>
                        <a:lnTo>
                          <a:pt x="690" y="829"/>
                        </a:lnTo>
                        <a:lnTo>
                          <a:pt x="701" y="853"/>
                        </a:lnTo>
                        <a:lnTo>
                          <a:pt x="685" y="891"/>
                        </a:lnTo>
                        <a:lnTo>
                          <a:pt x="668" y="907"/>
                        </a:lnTo>
                        <a:lnTo>
                          <a:pt x="657" y="903"/>
                        </a:lnTo>
                        <a:lnTo>
                          <a:pt x="668" y="907"/>
                        </a:lnTo>
                        <a:lnTo>
                          <a:pt x="657" y="919"/>
                        </a:lnTo>
                        <a:lnTo>
                          <a:pt x="647" y="919"/>
                        </a:lnTo>
                        <a:lnTo>
                          <a:pt x="619" y="924"/>
                        </a:lnTo>
                        <a:lnTo>
                          <a:pt x="635" y="924"/>
                        </a:lnTo>
                        <a:lnTo>
                          <a:pt x="647" y="940"/>
                        </a:lnTo>
                        <a:lnTo>
                          <a:pt x="597" y="957"/>
                        </a:lnTo>
                        <a:lnTo>
                          <a:pt x="619" y="947"/>
                        </a:lnTo>
                        <a:lnTo>
                          <a:pt x="614" y="957"/>
                        </a:lnTo>
                        <a:lnTo>
                          <a:pt x="635" y="964"/>
                        </a:lnTo>
                        <a:lnTo>
                          <a:pt x="673" y="957"/>
                        </a:lnTo>
                        <a:lnTo>
                          <a:pt x="673" y="981"/>
                        </a:lnTo>
                        <a:lnTo>
                          <a:pt x="647" y="990"/>
                        </a:lnTo>
                        <a:lnTo>
                          <a:pt x="647" y="1002"/>
                        </a:lnTo>
                        <a:lnTo>
                          <a:pt x="593" y="1018"/>
                        </a:lnTo>
                        <a:lnTo>
                          <a:pt x="560" y="1014"/>
                        </a:lnTo>
                        <a:lnTo>
                          <a:pt x="522" y="1018"/>
                        </a:lnTo>
                        <a:lnTo>
                          <a:pt x="510" y="1014"/>
                        </a:lnTo>
                        <a:lnTo>
                          <a:pt x="494" y="1014"/>
                        </a:lnTo>
                        <a:lnTo>
                          <a:pt x="494" y="1018"/>
                        </a:lnTo>
                        <a:lnTo>
                          <a:pt x="430" y="1018"/>
                        </a:lnTo>
                        <a:lnTo>
                          <a:pt x="434" y="1035"/>
                        </a:lnTo>
                        <a:lnTo>
                          <a:pt x="401" y="1030"/>
                        </a:lnTo>
                        <a:lnTo>
                          <a:pt x="401" y="1035"/>
                        </a:lnTo>
                        <a:lnTo>
                          <a:pt x="364" y="1018"/>
                        </a:lnTo>
                        <a:lnTo>
                          <a:pt x="331" y="1035"/>
                        </a:lnTo>
                        <a:lnTo>
                          <a:pt x="309" y="1068"/>
                        </a:lnTo>
                        <a:lnTo>
                          <a:pt x="276" y="1051"/>
                        </a:lnTo>
                        <a:lnTo>
                          <a:pt x="267" y="1056"/>
                        </a:lnTo>
                        <a:lnTo>
                          <a:pt x="238" y="1056"/>
                        </a:lnTo>
                        <a:lnTo>
                          <a:pt x="217" y="1073"/>
                        </a:lnTo>
                        <a:lnTo>
                          <a:pt x="217" y="1084"/>
                        </a:lnTo>
                        <a:lnTo>
                          <a:pt x="212" y="1089"/>
                        </a:lnTo>
                        <a:lnTo>
                          <a:pt x="184" y="1073"/>
                        </a:lnTo>
                        <a:lnTo>
                          <a:pt x="170" y="1084"/>
                        </a:lnTo>
                        <a:lnTo>
                          <a:pt x="170" y="1073"/>
                        </a:lnTo>
                        <a:lnTo>
                          <a:pt x="196" y="1073"/>
                        </a:lnTo>
                        <a:lnTo>
                          <a:pt x="217" y="1051"/>
                        </a:lnTo>
                        <a:lnTo>
                          <a:pt x="217" y="1035"/>
                        </a:lnTo>
                        <a:lnTo>
                          <a:pt x="238" y="1035"/>
                        </a:lnTo>
                        <a:lnTo>
                          <a:pt x="255" y="1018"/>
                        </a:lnTo>
                        <a:lnTo>
                          <a:pt x="255" y="997"/>
                        </a:lnTo>
                        <a:lnTo>
                          <a:pt x="271" y="997"/>
                        </a:lnTo>
                        <a:lnTo>
                          <a:pt x="276" y="990"/>
                        </a:lnTo>
                        <a:lnTo>
                          <a:pt x="276" y="981"/>
                        </a:lnTo>
                        <a:lnTo>
                          <a:pt x="359" y="973"/>
                        </a:lnTo>
                        <a:lnTo>
                          <a:pt x="364" y="957"/>
                        </a:lnTo>
                        <a:lnTo>
                          <a:pt x="401" y="924"/>
                        </a:lnTo>
                        <a:lnTo>
                          <a:pt x="342" y="957"/>
                        </a:lnTo>
                        <a:lnTo>
                          <a:pt x="326" y="957"/>
                        </a:lnTo>
                        <a:lnTo>
                          <a:pt x="305" y="936"/>
                        </a:lnTo>
                        <a:lnTo>
                          <a:pt x="276" y="947"/>
                        </a:lnTo>
                        <a:lnTo>
                          <a:pt x="271" y="940"/>
                        </a:lnTo>
                        <a:lnTo>
                          <a:pt x="288" y="936"/>
                        </a:lnTo>
                        <a:lnTo>
                          <a:pt x="267" y="924"/>
                        </a:lnTo>
                        <a:lnTo>
                          <a:pt x="217" y="936"/>
                        </a:lnTo>
                        <a:lnTo>
                          <a:pt x="217" y="936"/>
                        </a:lnTo>
                        <a:lnTo>
                          <a:pt x="217" y="936"/>
                        </a:lnTo>
                        <a:close/>
                        <a:moveTo>
                          <a:pt x="116" y="310"/>
                        </a:moveTo>
                        <a:lnTo>
                          <a:pt x="104" y="310"/>
                        </a:lnTo>
                        <a:lnTo>
                          <a:pt x="104" y="298"/>
                        </a:lnTo>
                        <a:lnTo>
                          <a:pt x="108" y="293"/>
                        </a:lnTo>
                        <a:lnTo>
                          <a:pt x="104" y="293"/>
                        </a:lnTo>
                        <a:lnTo>
                          <a:pt x="104" y="298"/>
                        </a:lnTo>
                        <a:lnTo>
                          <a:pt x="104" y="317"/>
                        </a:lnTo>
                        <a:lnTo>
                          <a:pt x="87" y="333"/>
                        </a:lnTo>
                        <a:lnTo>
                          <a:pt x="71" y="317"/>
                        </a:lnTo>
                        <a:lnTo>
                          <a:pt x="92" y="310"/>
                        </a:lnTo>
                        <a:lnTo>
                          <a:pt x="71" y="298"/>
                        </a:lnTo>
                        <a:lnTo>
                          <a:pt x="78" y="298"/>
                        </a:lnTo>
                        <a:lnTo>
                          <a:pt x="71" y="281"/>
                        </a:lnTo>
                        <a:lnTo>
                          <a:pt x="78" y="277"/>
                        </a:lnTo>
                        <a:lnTo>
                          <a:pt x="87" y="277"/>
                        </a:lnTo>
                        <a:lnTo>
                          <a:pt x="92" y="293"/>
                        </a:lnTo>
                        <a:lnTo>
                          <a:pt x="92" y="281"/>
                        </a:lnTo>
                        <a:lnTo>
                          <a:pt x="104" y="277"/>
                        </a:lnTo>
                        <a:lnTo>
                          <a:pt x="92" y="272"/>
                        </a:lnTo>
                        <a:lnTo>
                          <a:pt x="130" y="244"/>
                        </a:lnTo>
                        <a:lnTo>
                          <a:pt x="142" y="255"/>
                        </a:lnTo>
                        <a:lnTo>
                          <a:pt x="125" y="277"/>
                        </a:lnTo>
                        <a:lnTo>
                          <a:pt x="142" y="277"/>
                        </a:lnTo>
                        <a:lnTo>
                          <a:pt x="108" y="293"/>
                        </a:lnTo>
                        <a:lnTo>
                          <a:pt x="125" y="293"/>
                        </a:lnTo>
                        <a:lnTo>
                          <a:pt x="125" y="298"/>
                        </a:lnTo>
                        <a:lnTo>
                          <a:pt x="116" y="310"/>
                        </a:lnTo>
                        <a:lnTo>
                          <a:pt x="116" y="310"/>
                        </a:lnTo>
                        <a:lnTo>
                          <a:pt x="116" y="310"/>
                        </a:lnTo>
                        <a:close/>
                        <a:moveTo>
                          <a:pt x="61" y="350"/>
                        </a:moveTo>
                        <a:lnTo>
                          <a:pt x="38" y="338"/>
                        </a:lnTo>
                        <a:lnTo>
                          <a:pt x="71" y="333"/>
                        </a:lnTo>
                        <a:lnTo>
                          <a:pt x="78" y="338"/>
                        </a:lnTo>
                        <a:lnTo>
                          <a:pt x="61" y="350"/>
                        </a:lnTo>
                        <a:lnTo>
                          <a:pt x="61" y="350"/>
                        </a:lnTo>
                        <a:lnTo>
                          <a:pt x="61" y="350"/>
                        </a:lnTo>
                        <a:close/>
                        <a:moveTo>
                          <a:pt x="163" y="392"/>
                        </a:moveTo>
                        <a:lnTo>
                          <a:pt x="146" y="404"/>
                        </a:lnTo>
                        <a:lnTo>
                          <a:pt x="146" y="388"/>
                        </a:lnTo>
                        <a:lnTo>
                          <a:pt x="130" y="388"/>
                        </a:lnTo>
                        <a:lnTo>
                          <a:pt x="116" y="371"/>
                        </a:lnTo>
                        <a:lnTo>
                          <a:pt x="130" y="371"/>
                        </a:lnTo>
                        <a:lnTo>
                          <a:pt x="116" y="366"/>
                        </a:lnTo>
                        <a:lnTo>
                          <a:pt x="108" y="371"/>
                        </a:lnTo>
                        <a:lnTo>
                          <a:pt x="104" y="366"/>
                        </a:lnTo>
                        <a:lnTo>
                          <a:pt x="92" y="355"/>
                        </a:lnTo>
                        <a:lnTo>
                          <a:pt x="108" y="338"/>
                        </a:lnTo>
                        <a:lnTo>
                          <a:pt x="125" y="350"/>
                        </a:lnTo>
                        <a:lnTo>
                          <a:pt x="125" y="338"/>
                        </a:lnTo>
                        <a:lnTo>
                          <a:pt x="130" y="333"/>
                        </a:lnTo>
                        <a:lnTo>
                          <a:pt x="142" y="350"/>
                        </a:lnTo>
                        <a:lnTo>
                          <a:pt x="142" y="371"/>
                        </a:lnTo>
                        <a:lnTo>
                          <a:pt x="179" y="383"/>
                        </a:lnTo>
                        <a:lnTo>
                          <a:pt x="163" y="392"/>
                        </a:lnTo>
                        <a:lnTo>
                          <a:pt x="163" y="392"/>
                        </a:lnTo>
                        <a:lnTo>
                          <a:pt x="163" y="392"/>
                        </a:lnTo>
                        <a:close/>
                        <a:moveTo>
                          <a:pt x="61" y="366"/>
                        </a:moveTo>
                        <a:lnTo>
                          <a:pt x="54" y="355"/>
                        </a:lnTo>
                        <a:lnTo>
                          <a:pt x="61" y="355"/>
                        </a:lnTo>
                        <a:lnTo>
                          <a:pt x="61" y="366"/>
                        </a:lnTo>
                        <a:lnTo>
                          <a:pt x="61" y="366"/>
                        </a:lnTo>
                        <a:lnTo>
                          <a:pt x="61" y="366"/>
                        </a:lnTo>
                        <a:close/>
                        <a:moveTo>
                          <a:pt x="61" y="392"/>
                        </a:moveTo>
                        <a:lnTo>
                          <a:pt x="54" y="392"/>
                        </a:lnTo>
                        <a:lnTo>
                          <a:pt x="54" y="366"/>
                        </a:lnTo>
                        <a:lnTo>
                          <a:pt x="61" y="371"/>
                        </a:lnTo>
                        <a:lnTo>
                          <a:pt x="61" y="371"/>
                        </a:lnTo>
                        <a:lnTo>
                          <a:pt x="61" y="392"/>
                        </a:lnTo>
                        <a:lnTo>
                          <a:pt x="61" y="392"/>
                        </a:lnTo>
                        <a:lnTo>
                          <a:pt x="61" y="392"/>
                        </a:lnTo>
                        <a:close/>
                        <a:moveTo>
                          <a:pt x="49" y="409"/>
                        </a:moveTo>
                        <a:lnTo>
                          <a:pt x="38" y="409"/>
                        </a:lnTo>
                        <a:lnTo>
                          <a:pt x="49" y="392"/>
                        </a:lnTo>
                        <a:lnTo>
                          <a:pt x="54" y="404"/>
                        </a:lnTo>
                        <a:lnTo>
                          <a:pt x="49" y="409"/>
                        </a:lnTo>
                        <a:lnTo>
                          <a:pt x="49" y="409"/>
                        </a:lnTo>
                        <a:lnTo>
                          <a:pt x="49" y="409"/>
                        </a:lnTo>
                        <a:close/>
                        <a:moveTo>
                          <a:pt x="130" y="409"/>
                        </a:moveTo>
                        <a:lnTo>
                          <a:pt x="116" y="404"/>
                        </a:lnTo>
                        <a:lnTo>
                          <a:pt x="130" y="404"/>
                        </a:lnTo>
                        <a:lnTo>
                          <a:pt x="130" y="409"/>
                        </a:lnTo>
                        <a:lnTo>
                          <a:pt x="130" y="409"/>
                        </a:lnTo>
                        <a:lnTo>
                          <a:pt x="130" y="409"/>
                        </a:lnTo>
                        <a:close/>
                        <a:moveTo>
                          <a:pt x="142" y="421"/>
                        </a:moveTo>
                        <a:lnTo>
                          <a:pt x="142" y="409"/>
                        </a:lnTo>
                        <a:lnTo>
                          <a:pt x="142" y="409"/>
                        </a:lnTo>
                        <a:lnTo>
                          <a:pt x="142" y="421"/>
                        </a:lnTo>
                        <a:lnTo>
                          <a:pt x="142" y="421"/>
                        </a:lnTo>
                        <a:lnTo>
                          <a:pt x="142" y="421"/>
                        </a:lnTo>
                        <a:close/>
                        <a:moveTo>
                          <a:pt x="142" y="442"/>
                        </a:moveTo>
                        <a:lnTo>
                          <a:pt x="179" y="466"/>
                        </a:lnTo>
                        <a:lnTo>
                          <a:pt x="163" y="475"/>
                        </a:lnTo>
                        <a:lnTo>
                          <a:pt x="130" y="482"/>
                        </a:lnTo>
                        <a:lnTo>
                          <a:pt x="125" y="475"/>
                        </a:lnTo>
                        <a:lnTo>
                          <a:pt x="146" y="466"/>
                        </a:lnTo>
                        <a:lnTo>
                          <a:pt x="142" y="466"/>
                        </a:lnTo>
                        <a:lnTo>
                          <a:pt x="146" y="459"/>
                        </a:lnTo>
                        <a:lnTo>
                          <a:pt x="125" y="449"/>
                        </a:lnTo>
                        <a:lnTo>
                          <a:pt x="142" y="442"/>
                        </a:lnTo>
                        <a:lnTo>
                          <a:pt x="142" y="442"/>
                        </a:lnTo>
                        <a:lnTo>
                          <a:pt x="142" y="442"/>
                        </a:lnTo>
                        <a:close/>
                        <a:moveTo>
                          <a:pt x="87" y="459"/>
                        </a:moveTo>
                        <a:lnTo>
                          <a:pt x="78" y="459"/>
                        </a:lnTo>
                        <a:lnTo>
                          <a:pt x="104" y="449"/>
                        </a:lnTo>
                        <a:lnTo>
                          <a:pt x="87" y="459"/>
                        </a:lnTo>
                        <a:lnTo>
                          <a:pt x="87" y="459"/>
                        </a:lnTo>
                        <a:lnTo>
                          <a:pt x="87" y="459"/>
                        </a:lnTo>
                        <a:close/>
                        <a:moveTo>
                          <a:pt x="158" y="532"/>
                        </a:moveTo>
                        <a:lnTo>
                          <a:pt x="146" y="520"/>
                        </a:lnTo>
                        <a:lnTo>
                          <a:pt x="146" y="515"/>
                        </a:lnTo>
                        <a:lnTo>
                          <a:pt x="170" y="492"/>
                        </a:lnTo>
                        <a:lnTo>
                          <a:pt x="158" y="532"/>
                        </a:lnTo>
                        <a:lnTo>
                          <a:pt x="158" y="532"/>
                        </a:lnTo>
                        <a:lnTo>
                          <a:pt x="158" y="532"/>
                        </a:lnTo>
                        <a:close/>
                        <a:moveTo>
                          <a:pt x="142" y="503"/>
                        </a:moveTo>
                        <a:lnTo>
                          <a:pt x="130" y="499"/>
                        </a:lnTo>
                        <a:lnTo>
                          <a:pt x="142" y="492"/>
                        </a:lnTo>
                        <a:lnTo>
                          <a:pt x="142" y="503"/>
                        </a:lnTo>
                        <a:lnTo>
                          <a:pt x="142" y="503"/>
                        </a:lnTo>
                        <a:lnTo>
                          <a:pt x="142" y="503"/>
                        </a:lnTo>
                        <a:close/>
                        <a:moveTo>
                          <a:pt x="130" y="548"/>
                        </a:moveTo>
                        <a:lnTo>
                          <a:pt x="130" y="532"/>
                        </a:lnTo>
                        <a:lnTo>
                          <a:pt x="116" y="536"/>
                        </a:lnTo>
                        <a:lnTo>
                          <a:pt x="116" y="520"/>
                        </a:lnTo>
                        <a:lnTo>
                          <a:pt x="142" y="515"/>
                        </a:lnTo>
                        <a:lnTo>
                          <a:pt x="146" y="536"/>
                        </a:lnTo>
                        <a:lnTo>
                          <a:pt x="130" y="548"/>
                        </a:lnTo>
                        <a:lnTo>
                          <a:pt x="130" y="548"/>
                        </a:lnTo>
                        <a:lnTo>
                          <a:pt x="130" y="548"/>
                        </a:lnTo>
                        <a:close/>
                        <a:moveTo>
                          <a:pt x="217" y="536"/>
                        </a:moveTo>
                        <a:lnTo>
                          <a:pt x="212" y="515"/>
                        </a:lnTo>
                        <a:lnTo>
                          <a:pt x="217" y="520"/>
                        </a:lnTo>
                        <a:lnTo>
                          <a:pt x="217" y="536"/>
                        </a:lnTo>
                        <a:lnTo>
                          <a:pt x="217" y="536"/>
                        </a:lnTo>
                        <a:lnTo>
                          <a:pt x="217" y="536"/>
                        </a:lnTo>
                        <a:close/>
                        <a:moveTo>
                          <a:pt x="212" y="560"/>
                        </a:moveTo>
                        <a:lnTo>
                          <a:pt x="196" y="560"/>
                        </a:lnTo>
                        <a:lnTo>
                          <a:pt x="196" y="536"/>
                        </a:lnTo>
                        <a:lnTo>
                          <a:pt x="212" y="536"/>
                        </a:lnTo>
                        <a:lnTo>
                          <a:pt x="217" y="560"/>
                        </a:lnTo>
                        <a:lnTo>
                          <a:pt x="212" y="560"/>
                        </a:lnTo>
                        <a:lnTo>
                          <a:pt x="212" y="560"/>
                        </a:lnTo>
                        <a:lnTo>
                          <a:pt x="212" y="560"/>
                        </a:lnTo>
                        <a:close/>
                        <a:moveTo>
                          <a:pt x="108" y="702"/>
                        </a:moveTo>
                        <a:lnTo>
                          <a:pt x="78" y="664"/>
                        </a:lnTo>
                        <a:lnTo>
                          <a:pt x="61" y="697"/>
                        </a:lnTo>
                        <a:lnTo>
                          <a:pt x="23" y="685"/>
                        </a:lnTo>
                        <a:lnTo>
                          <a:pt x="0" y="664"/>
                        </a:lnTo>
                        <a:lnTo>
                          <a:pt x="33" y="647"/>
                        </a:lnTo>
                        <a:lnTo>
                          <a:pt x="16" y="643"/>
                        </a:lnTo>
                        <a:lnTo>
                          <a:pt x="38" y="631"/>
                        </a:lnTo>
                        <a:lnTo>
                          <a:pt x="61" y="603"/>
                        </a:lnTo>
                        <a:lnTo>
                          <a:pt x="78" y="603"/>
                        </a:lnTo>
                        <a:lnTo>
                          <a:pt x="87" y="593"/>
                        </a:lnTo>
                        <a:lnTo>
                          <a:pt x="116" y="586"/>
                        </a:lnTo>
                        <a:lnTo>
                          <a:pt x="146" y="586"/>
                        </a:lnTo>
                        <a:lnTo>
                          <a:pt x="146" y="603"/>
                        </a:lnTo>
                        <a:lnTo>
                          <a:pt x="170" y="626"/>
                        </a:lnTo>
                        <a:lnTo>
                          <a:pt x="158" y="647"/>
                        </a:lnTo>
                        <a:lnTo>
                          <a:pt x="179" y="643"/>
                        </a:lnTo>
                        <a:lnTo>
                          <a:pt x="196" y="659"/>
                        </a:lnTo>
                        <a:lnTo>
                          <a:pt x="184" y="669"/>
                        </a:lnTo>
                        <a:lnTo>
                          <a:pt x="179" y="659"/>
                        </a:lnTo>
                        <a:lnTo>
                          <a:pt x="170" y="647"/>
                        </a:lnTo>
                        <a:lnTo>
                          <a:pt x="179" y="681"/>
                        </a:lnTo>
                        <a:lnTo>
                          <a:pt x="163" y="681"/>
                        </a:lnTo>
                        <a:lnTo>
                          <a:pt x="158" y="697"/>
                        </a:lnTo>
                        <a:lnTo>
                          <a:pt x="146" y="702"/>
                        </a:lnTo>
                        <a:lnTo>
                          <a:pt x="130" y="697"/>
                        </a:lnTo>
                        <a:lnTo>
                          <a:pt x="108" y="702"/>
                        </a:lnTo>
                        <a:lnTo>
                          <a:pt x="108" y="702"/>
                        </a:lnTo>
                        <a:lnTo>
                          <a:pt x="108" y="702"/>
                        </a:lnTo>
                        <a:close/>
                        <a:moveTo>
                          <a:pt x="267" y="792"/>
                        </a:moveTo>
                        <a:lnTo>
                          <a:pt x="250" y="775"/>
                        </a:lnTo>
                        <a:lnTo>
                          <a:pt x="250" y="770"/>
                        </a:lnTo>
                        <a:lnTo>
                          <a:pt x="271" y="770"/>
                        </a:lnTo>
                        <a:lnTo>
                          <a:pt x="288" y="775"/>
                        </a:lnTo>
                        <a:lnTo>
                          <a:pt x="267" y="792"/>
                        </a:lnTo>
                        <a:lnTo>
                          <a:pt x="267" y="792"/>
                        </a:lnTo>
                        <a:lnTo>
                          <a:pt x="267" y="792"/>
                        </a:lnTo>
                        <a:close/>
                        <a:moveTo>
                          <a:pt x="635" y="964"/>
                        </a:moveTo>
                        <a:lnTo>
                          <a:pt x="631" y="957"/>
                        </a:lnTo>
                        <a:lnTo>
                          <a:pt x="635" y="957"/>
                        </a:lnTo>
                        <a:lnTo>
                          <a:pt x="635" y="964"/>
                        </a:lnTo>
                        <a:lnTo>
                          <a:pt x="635" y="964"/>
                        </a:lnTo>
                        <a:lnTo>
                          <a:pt x="635" y="964"/>
                        </a:lnTo>
                        <a:close/>
                        <a:moveTo>
                          <a:pt x="484" y="1035"/>
                        </a:moveTo>
                        <a:lnTo>
                          <a:pt x="468" y="1030"/>
                        </a:lnTo>
                        <a:lnTo>
                          <a:pt x="484" y="1018"/>
                        </a:lnTo>
                        <a:lnTo>
                          <a:pt x="494" y="1030"/>
                        </a:lnTo>
                        <a:lnTo>
                          <a:pt x="484" y="1035"/>
                        </a:lnTo>
                        <a:lnTo>
                          <a:pt x="484" y="1035"/>
                        </a:lnTo>
                        <a:lnTo>
                          <a:pt x="484" y="103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2" name="Freeform 581">
                    <a:extLst>
                      <a:ext uri="{FF2B5EF4-FFF2-40B4-BE49-F238E27FC236}">
                        <a16:creationId xmlns:a16="http://schemas.microsoft.com/office/drawing/2014/main" id="{353AC915-16E6-4463-ACF4-E6900E1DCE42}"/>
                      </a:ext>
                    </a:extLst>
                  </p:cNvPr>
                  <p:cNvSpPr>
                    <a:spLocks noEditPoints="1"/>
                  </p:cNvSpPr>
                  <p:nvPr/>
                </p:nvSpPr>
                <p:spPr bwMode="gray">
                  <a:xfrm>
                    <a:off x="7365147" y="2349853"/>
                    <a:ext cx="519116" cy="307552"/>
                  </a:xfrm>
                  <a:custGeom>
                    <a:avLst/>
                    <a:gdLst>
                      <a:gd name="T0" fmla="*/ 463 w 1261"/>
                      <a:gd name="T1" fmla="*/ 669 h 747"/>
                      <a:gd name="T2" fmla="*/ 446 w 1261"/>
                      <a:gd name="T3" fmla="*/ 641 h 747"/>
                      <a:gd name="T4" fmla="*/ 479 w 1261"/>
                      <a:gd name="T5" fmla="*/ 598 h 747"/>
                      <a:gd name="T6" fmla="*/ 489 w 1261"/>
                      <a:gd name="T7" fmla="*/ 546 h 747"/>
                      <a:gd name="T8" fmla="*/ 534 w 1261"/>
                      <a:gd name="T9" fmla="*/ 558 h 747"/>
                      <a:gd name="T10" fmla="*/ 543 w 1261"/>
                      <a:gd name="T11" fmla="*/ 546 h 747"/>
                      <a:gd name="T12" fmla="*/ 505 w 1261"/>
                      <a:gd name="T13" fmla="*/ 485 h 747"/>
                      <a:gd name="T14" fmla="*/ 489 w 1261"/>
                      <a:gd name="T15" fmla="*/ 419 h 747"/>
                      <a:gd name="T16" fmla="*/ 413 w 1261"/>
                      <a:gd name="T17" fmla="*/ 390 h 747"/>
                      <a:gd name="T18" fmla="*/ 290 w 1261"/>
                      <a:gd name="T19" fmla="*/ 397 h 747"/>
                      <a:gd name="T20" fmla="*/ 165 w 1261"/>
                      <a:gd name="T21" fmla="*/ 419 h 747"/>
                      <a:gd name="T22" fmla="*/ 52 w 1261"/>
                      <a:gd name="T23" fmla="*/ 419 h 747"/>
                      <a:gd name="T24" fmla="*/ 0 w 1261"/>
                      <a:gd name="T25" fmla="*/ 381 h 747"/>
                      <a:gd name="T26" fmla="*/ 52 w 1261"/>
                      <a:gd name="T27" fmla="*/ 324 h 747"/>
                      <a:gd name="T28" fmla="*/ 38 w 1261"/>
                      <a:gd name="T29" fmla="*/ 267 h 747"/>
                      <a:gd name="T30" fmla="*/ 139 w 1261"/>
                      <a:gd name="T31" fmla="*/ 173 h 747"/>
                      <a:gd name="T32" fmla="*/ 106 w 1261"/>
                      <a:gd name="T33" fmla="*/ 85 h 747"/>
                      <a:gd name="T34" fmla="*/ 253 w 1261"/>
                      <a:gd name="T35" fmla="*/ 45 h 747"/>
                      <a:gd name="T36" fmla="*/ 392 w 1261"/>
                      <a:gd name="T37" fmla="*/ 85 h 747"/>
                      <a:gd name="T38" fmla="*/ 430 w 1261"/>
                      <a:gd name="T39" fmla="*/ 74 h 747"/>
                      <a:gd name="T40" fmla="*/ 468 w 1261"/>
                      <a:gd name="T41" fmla="*/ 78 h 747"/>
                      <a:gd name="T42" fmla="*/ 538 w 1261"/>
                      <a:gd name="T43" fmla="*/ 95 h 747"/>
                      <a:gd name="T44" fmla="*/ 593 w 1261"/>
                      <a:gd name="T45" fmla="*/ 74 h 747"/>
                      <a:gd name="T46" fmla="*/ 678 w 1261"/>
                      <a:gd name="T47" fmla="*/ 29 h 747"/>
                      <a:gd name="T48" fmla="*/ 775 w 1261"/>
                      <a:gd name="T49" fmla="*/ 0 h 747"/>
                      <a:gd name="T50" fmla="*/ 862 w 1261"/>
                      <a:gd name="T51" fmla="*/ 57 h 747"/>
                      <a:gd name="T52" fmla="*/ 883 w 1261"/>
                      <a:gd name="T53" fmla="*/ 119 h 747"/>
                      <a:gd name="T54" fmla="*/ 921 w 1261"/>
                      <a:gd name="T55" fmla="*/ 135 h 747"/>
                      <a:gd name="T56" fmla="*/ 985 w 1261"/>
                      <a:gd name="T57" fmla="*/ 189 h 747"/>
                      <a:gd name="T58" fmla="*/ 1093 w 1261"/>
                      <a:gd name="T59" fmla="*/ 225 h 747"/>
                      <a:gd name="T60" fmla="*/ 1179 w 1261"/>
                      <a:gd name="T61" fmla="*/ 246 h 747"/>
                      <a:gd name="T62" fmla="*/ 1240 w 1261"/>
                      <a:gd name="T63" fmla="*/ 267 h 747"/>
                      <a:gd name="T64" fmla="*/ 1245 w 1261"/>
                      <a:gd name="T65" fmla="*/ 319 h 747"/>
                      <a:gd name="T66" fmla="*/ 1254 w 1261"/>
                      <a:gd name="T67" fmla="*/ 341 h 747"/>
                      <a:gd name="T68" fmla="*/ 1254 w 1261"/>
                      <a:gd name="T69" fmla="*/ 390 h 747"/>
                      <a:gd name="T70" fmla="*/ 1164 w 1261"/>
                      <a:gd name="T71" fmla="*/ 447 h 747"/>
                      <a:gd name="T72" fmla="*/ 1060 w 1261"/>
                      <a:gd name="T73" fmla="*/ 520 h 747"/>
                      <a:gd name="T74" fmla="*/ 900 w 1261"/>
                      <a:gd name="T75" fmla="*/ 586 h 747"/>
                      <a:gd name="T76" fmla="*/ 879 w 1261"/>
                      <a:gd name="T77" fmla="*/ 579 h 747"/>
                      <a:gd name="T78" fmla="*/ 867 w 1261"/>
                      <a:gd name="T79" fmla="*/ 579 h 747"/>
                      <a:gd name="T80" fmla="*/ 829 w 1261"/>
                      <a:gd name="T81" fmla="*/ 579 h 747"/>
                      <a:gd name="T82" fmla="*/ 824 w 1261"/>
                      <a:gd name="T83" fmla="*/ 598 h 747"/>
                      <a:gd name="T84" fmla="*/ 857 w 1261"/>
                      <a:gd name="T85" fmla="*/ 598 h 747"/>
                      <a:gd name="T86" fmla="*/ 862 w 1261"/>
                      <a:gd name="T87" fmla="*/ 619 h 747"/>
                      <a:gd name="T88" fmla="*/ 900 w 1261"/>
                      <a:gd name="T89" fmla="*/ 652 h 747"/>
                      <a:gd name="T90" fmla="*/ 895 w 1261"/>
                      <a:gd name="T91" fmla="*/ 598 h 747"/>
                      <a:gd name="T92" fmla="*/ 968 w 1261"/>
                      <a:gd name="T93" fmla="*/ 659 h 747"/>
                      <a:gd name="T94" fmla="*/ 1001 w 1261"/>
                      <a:gd name="T95" fmla="*/ 685 h 747"/>
                      <a:gd name="T96" fmla="*/ 900 w 1261"/>
                      <a:gd name="T97" fmla="*/ 697 h 747"/>
                      <a:gd name="T98" fmla="*/ 808 w 1261"/>
                      <a:gd name="T99" fmla="*/ 742 h 747"/>
                      <a:gd name="T100" fmla="*/ 808 w 1261"/>
                      <a:gd name="T101" fmla="*/ 697 h 747"/>
                      <a:gd name="T102" fmla="*/ 732 w 1261"/>
                      <a:gd name="T103" fmla="*/ 659 h 747"/>
                      <a:gd name="T104" fmla="*/ 808 w 1261"/>
                      <a:gd name="T105" fmla="*/ 598 h 747"/>
                      <a:gd name="T106" fmla="*/ 732 w 1261"/>
                      <a:gd name="T107" fmla="*/ 586 h 747"/>
                      <a:gd name="T108" fmla="*/ 652 w 1261"/>
                      <a:gd name="T109" fmla="*/ 546 h 747"/>
                      <a:gd name="T110" fmla="*/ 694 w 1261"/>
                      <a:gd name="T111" fmla="*/ 541 h 747"/>
                      <a:gd name="T112" fmla="*/ 685 w 1261"/>
                      <a:gd name="T113" fmla="*/ 501 h 747"/>
                      <a:gd name="T114" fmla="*/ 685 w 1261"/>
                      <a:gd name="T115" fmla="*/ 541 h 747"/>
                      <a:gd name="T116" fmla="*/ 609 w 1261"/>
                      <a:gd name="T117" fmla="*/ 546 h 747"/>
                      <a:gd name="T118" fmla="*/ 534 w 1261"/>
                      <a:gd name="T119" fmla="*/ 636 h 747"/>
                      <a:gd name="T120" fmla="*/ 534 w 1261"/>
                      <a:gd name="T121" fmla="*/ 669 h 747"/>
                      <a:gd name="T122" fmla="*/ 699 w 1261"/>
                      <a:gd name="T123" fmla="*/ 586 h 747"/>
                      <a:gd name="T124" fmla="*/ 699 w 1261"/>
                      <a:gd name="T125" fmla="*/ 586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1" h="747">
                        <a:moveTo>
                          <a:pt x="534" y="669"/>
                        </a:moveTo>
                        <a:lnTo>
                          <a:pt x="522" y="659"/>
                        </a:lnTo>
                        <a:lnTo>
                          <a:pt x="505" y="652"/>
                        </a:lnTo>
                        <a:lnTo>
                          <a:pt x="463" y="669"/>
                        </a:lnTo>
                        <a:lnTo>
                          <a:pt x="437" y="659"/>
                        </a:lnTo>
                        <a:lnTo>
                          <a:pt x="425" y="652"/>
                        </a:lnTo>
                        <a:lnTo>
                          <a:pt x="430" y="641"/>
                        </a:lnTo>
                        <a:lnTo>
                          <a:pt x="446" y="641"/>
                        </a:lnTo>
                        <a:lnTo>
                          <a:pt x="446" y="631"/>
                        </a:lnTo>
                        <a:lnTo>
                          <a:pt x="463" y="615"/>
                        </a:lnTo>
                        <a:lnTo>
                          <a:pt x="463" y="603"/>
                        </a:lnTo>
                        <a:lnTo>
                          <a:pt x="479" y="598"/>
                        </a:lnTo>
                        <a:lnTo>
                          <a:pt x="484" y="579"/>
                        </a:lnTo>
                        <a:lnTo>
                          <a:pt x="479" y="574"/>
                        </a:lnTo>
                        <a:lnTo>
                          <a:pt x="484" y="558"/>
                        </a:lnTo>
                        <a:lnTo>
                          <a:pt x="489" y="546"/>
                        </a:lnTo>
                        <a:lnTo>
                          <a:pt x="501" y="563"/>
                        </a:lnTo>
                        <a:lnTo>
                          <a:pt x="517" y="558"/>
                        </a:lnTo>
                        <a:lnTo>
                          <a:pt x="522" y="563"/>
                        </a:lnTo>
                        <a:lnTo>
                          <a:pt x="534" y="558"/>
                        </a:lnTo>
                        <a:lnTo>
                          <a:pt x="543" y="563"/>
                        </a:lnTo>
                        <a:lnTo>
                          <a:pt x="560" y="563"/>
                        </a:lnTo>
                        <a:lnTo>
                          <a:pt x="543" y="546"/>
                        </a:lnTo>
                        <a:lnTo>
                          <a:pt x="543" y="546"/>
                        </a:lnTo>
                        <a:lnTo>
                          <a:pt x="543" y="525"/>
                        </a:lnTo>
                        <a:lnTo>
                          <a:pt x="522" y="520"/>
                        </a:lnTo>
                        <a:lnTo>
                          <a:pt x="522" y="475"/>
                        </a:lnTo>
                        <a:lnTo>
                          <a:pt x="505" y="485"/>
                        </a:lnTo>
                        <a:lnTo>
                          <a:pt x="489" y="468"/>
                        </a:lnTo>
                        <a:lnTo>
                          <a:pt x="489" y="463"/>
                        </a:lnTo>
                        <a:lnTo>
                          <a:pt x="501" y="435"/>
                        </a:lnTo>
                        <a:lnTo>
                          <a:pt x="489" y="419"/>
                        </a:lnTo>
                        <a:lnTo>
                          <a:pt x="484" y="419"/>
                        </a:lnTo>
                        <a:lnTo>
                          <a:pt x="468" y="407"/>
                        </a:lnTo>
                        <a:lnTo>
                          <a:pt x="413" y="397"/>
                        </a:lnTo>
                        <a:lnTo>
                          <a:pt x="413" y="390"/>
                        </a:lnTo>
                        <a:lnTo>
                          <a:pt x="392" y="374"/>
                        </a:lnTo>
                        <a:lnTo>
                          <a:pt x="323" y="381"/>
                        </a:lnTo>
                        <a:lnTo>
                          <a:pt x="316" y="390"/>
                        </a:lnTo>
                        <a:lnTo>
                          <a:pt x="290" y="397"/>
                        </a:lnTo>
                        <a:lnTo>
                          <a:pt x="286" y="419"/>
                        </a:lnTo>
                        <a:lnTo>
                          <a:pt x="219" y="419"/>
                        </a:lnTo>
                        <a:lnTo>
                          <a:pt x="198" y="447"/>
                        </a:lnTo>
                        <a:lnTo>
                          <a:pt x="165" y="419"/>
                        </a:lnTo>
                        <a:lnTo>
                          <a:pt x="144" y="419"/>
                        </a:lnTo>
                        <a:lnTo>
                          <a:pt x="90" y="419"/>
                        </a:lnTo>
                        <a:lnTo>
                          <a:pt x="75" y="407"/>
                        </a:lnTo>
                        <a:lnTo>
                          <a:pt x="52" y="419"/>
                        </a:lnTo>
                        <a:lnTo>
                          <a:pt x="47" y="407"/>
                        </a:lnTo>
                        <a:lnTo>
                          <a:pt x="38" y="407"/>
                        </a:lnTo>
                        <a:lnTo>
                          <a:pt x="5" y="381"/>
                        </a:lnTo>
                        <a:lnTo>
                          <a:pt x="0" y="381"/>
                        </a:lnTo>
                        <a:lnTo>
                          <a:pt x="0" y="362"/>
                        </a:lnTo>
                        <a:lnTo>
                          <a:pt x="14" y="352"/>
                        </a:lnTo>
                        <a:lnTo>
                          <a:pt x="31" y="319"/>
                        </a:lnTo>
                        <a:lnTo>
                          <a:pt x="52" y="324"/>
                        </a:lnTo>
                        <a:lnTo>
                          <a:pt x="52" y="319"/>
                        </a:lnTo>
                        <a:lnTo>
                          <a:pt x="38" y="308"/>
                        </a:lnTo>
                        <a:lnTo>
                          <a:pt x="47" y="296"/>
                        </a:lnTo>
                        <a:lnTo>
                          <a:pt x="38" y="267"/>
                        </a:lnTo>
                        <a:lnTo>
                          <a:pt x="85" y="225"/>
                        </a:lnTo>
                        <a:lnTo>
                          <a:pt x="113" y="189"/>
                        </a:lnTo>
                        <a:lnTo>
                          <a:pt x="127" y="189"/>
                        </a:lnTo>
                        <a:lnTo>
                          <a:pt x="139" y="173"/>
                        </a:lnTo>
                        <a:lnTo>
                          <a:pt x="127" y="152"/>
                        </a:lnTo>
                        <a:lnTo>
                          <a:pt x="139" y="152"/>
                        </a:lnTo>
                        <a:lnTo>
                          <a:pt x="113" y="111"/>
                        </a:lnTo>
                        <a:lnTo>
                          <a:pt x="106" y="85"/>
                        </a:lnTo>
                        <a:lnTo>
                          <a:pt x="106" y="74"/>
                        </a:lnTo>
                        <a:lnTo>
                          <a:pt x="139" y="78"/>
                        </a:lnTo>
                        <a:lnTo>
                          <a:pt x="160" y="45"/>
                        </a:lnTo>
                        <a:lnTo>
                          <a:pt x="253" y="45"/>
                        </a:lnTo>
                        <a:lnTo>
                          <a:pt x="354" y="62"/>
                        </a:lnTo>
                        <a:lnTo>
                          <a:pt x="361" y="78"/>
                        </a:lnTo>
                        <a:lnTo>
                          <a:pt x="392" y="78"/>
                        </a:lnTo>
                        <a:lnTo>
                          <a:pt x="392" y="85"/>
                        </a:lnTo>
                        <a:lnTo>
                          <a:pt x="392" y="85"/>
                        </a:lnTo>
                        <a:lnTo>
                          <a:pt x="399" y="74"/>
                        </a:lnTo>
                        <a:lnTo>
                          <a:pt x="413" y="78"/>
                        </a:lnTo>
                        <a:lnTo>
                          <a:pt x="430" y="74"/>
                        </a:lnTo>
                        <a:lnTo>
                          <a:pt x="430" y="78"/>
                        </a:lnTo>
                        <a:lnTo>
                          <a:pt x="451" y="78"/>
                        </a:lnTo>
                        <a:lnTo>
                          <a:pt x="463" y="95"/>
                        </a:lnTo>
                        <a:lnTo>
                          <a:pt x="468" y="78"/>
                        </a:lnTo>
                        <a:lnTo>
                          <a:pt x="489" y="74"/>
                        </a:lnTo>
                        <a:lnTo>
                          <a:pt x="505" y="95"/>
                        </a:lnTo>
                        <a:lnTo>
                          <a:pt x="534" y="85"/>
                        </a:lnTo>
                        <a:lnTo>
                          <a:pt x="538" y="95"/>
                        </a:lnTo>
                        <a:lnTo>
                          <a:pt x="560" y="85"/>
                        </a:lnTo>
                        <a:lnTo>
                          <a:pt x="593" y="111"/>
                        </a:lnTo>
                        <a:lnTo>
                          <a:pt x="597" y="102"/>
                        </a:lnTo>
                        <a:lnTo>
                          <a:pt x="593" y="74"/>
                        </a:lnTo>
                        <a:lnTo>
                          <a:pt x="597" y="57"/>
                        </a:lnTo>
                        <a:lnTo>
                          <a:pt x="614" y="41"/>
                        </a:lnTo>
                        <a:lnTo>
                          <a:pt x="614" y="29"/>
                        </a:lnTo>
                        <a:lnTo>
                          <a:pt x="678" y="29"/>
                        </a:lnTo>
                        <a:lnTo>
                          <a:pt x="706" y="29"/>
                        </a:lnTo>
                        <a:lnTo>
                          <a:pt x="716" y="8"/>
                        </a:lnTo>
                        <a:lnTo>
                          <a:pt x="753" y="17"/>
                        </a:lnTo>
                        <a:lnTo>
                          <a:pt x="775" y="0"/>
                        </a:lnTo>
                        <a:lnTo>
                          <a:pt x="824" y="0"/>
                        </a:lnTo>
                        <a:lnTo>
                          <a:pt x="841" y="24"/>
                        </a:lnTo>
                        <a:lnTo>
                          <a:pt x="841" y="41"/>
                        </a:lnTo>
                        <a:lnTo>
                          <a:pt x="862" y="57"/>
                        </a:lnTo>
                        <a:lnTo>
                          <a:pt x="862" y="62"/>
                        </a:lnTo>
                        <a:lnTo>
                          <a:pt x="841" y="74"/>
                        </a:lnTo>
                        <a:lnTo>
                          <a:pt x="862" y="111"/>
                        </a:lnTo>
                        <a:lnTo>
                          <a:pt x="883" y="119"/>
                        </a:lnTo>
                        <a:lnTo>
                          <a:pt x="909" y="111"/>
                        </a:lnTo>
                        <a:lnTo>
                          <a:pt x="916" y="128"/>
                        </a:lnTo>
                        <a:lnTo>
                          <a:pt x="933" y="128"/>
                        </a:lnTo>
                        <a:lnTo>
                          <a:pt x="921" y="135"/>
                        </a:lnTo>
                        <a:lnTo>
                          <a:pt x="938" y="168"/>
                        </a:lnTo>
                        <a:lnTo>
                          <a:pt x="933" y="168"/>
                        </a:lnTo>
                        <a:lnTo>
                          <a:pt x="947" y="189"/>
                        </a:lnTo>
                        <a:lnTo>
                          <a:pt x="985" y="189"/>
                        </a:lnTo>
                        <a:lnTo>
                          <a:pt x="992" y="197"/>
                        </a:lnTo>
                        <a:lnTo>
                          <a:pt x="1018" y="206"/>
                        </a:lnTo>
                        <a:lnTo>
                          <a:pt x="1077" y="189"/>
                        </a:lnTo>
                        <a:lnTo>
                          <a:pt x="1093" y="225"/>
                        </a:lnTo>
                        <a:lnTo>
                          <a:pt x="1115" y="241"/>
                        </a:lnTo>
                        <a:lnTo>
                          <a:pt x="1127" y="225"/>
                        </a:lnTo>
                        <a:lnTo>
                          <a:pt x="1131" y="225"/>
                        </a:lnTo>
                        <a:lnTo>
                          <a:pt x="1179" y="246"/>
                        </a:lnTo>
                        <a:lnTo>
                          <a:pt x="1190" y="241"/>
                        </a:lnTo>
                        <a:lnTo>
                          <a:pt x="1202" y="251"/>
                        </a:lnTo>
                        <a:lnTo>
                          <a:pt x="1223" y="251"/>
                        </a:lnTo>
                        <a:lnTo>
                          <a:pt x="1240" y="267"/>
                        </a:lnTo>
                        <a:lnTo>
                          <a:pt x="1261" y="267"/>
                        </a:lnTo>
                        <a:lnTo>
                          <a:pt x="1254" y="279"/>
                        </a:lnTo>
                        <a:lnTo>
                          <a:pt x="1261" y="303"/>
                        </a:lnTo>
                        <a:lnTo>
                          <a:pt x="1245" y="319"/>
                        </a:lnTo>
                        <a:lnTo>
                          <a:pt x="1233" y="324"/>
                        </a:lnTo>
                        <a:lnTo>
                          <a:pt x="1240" y="336"/>
                        </a:lnTo>
                        <a:lnTo>
                          <a:pt x="1254" y="336"/>
                        </a:lnTo>
                        <a:lnTo>
                          <a:pt x="1254" y="341"/>
                        </a:lnTo>
                        <a:lnTo>
                          <a:pt x="1240" y="341"/>
                        </a:lnTo>
                        <a:lnTo>
                          <a:pt x="1233" y="357"/>
                        </a:lnTo>
                        <a:lnTo>
                          <a:pt x="1240" y="362"/>
                        </a:lnTo>
                        <a:lnTo>
                          <a:pt x="1254" y="390"/>
                        </a:lnTo>
                        <a:lnTo>
                          <a:pt x="1240" y="414"/>
                        </a:lnTo>
                        <a:lnTo>
                          <a:pt x="1240" y="430"/>
                        </a:lnTo>
                        <a:lnTo>
                          <a:pt x="1169" y="430"/>
                        </a:lnTo>
                        <a:lnTo>
                          <a:pt x="1164" y="447"/>
                        </a:lnTo>
                        <a:lnTo>
                          <a:pt x="1131" y="452"/>
                        </a:lnTo>
                        <a:lnTo>
                          <a:pt x="1131" y="501"/>
                        </a:lnTo>
                        <a:lnTo>
                          <a:pt x="1077" y="501"/>
                        </a:lnTo>
                        <a:lnTo>
                          <a:pt x="1060" y="520"/>
                        </a:lnTo>
                        <a:lnTo>
                          <a:pt x="1056" y="520"/>
                        </a:lnTo>
                        <a:lnTo>
                          <a:pt x="985" y="541"/>
                        </a:lnTo>
                        <a:lnTo>
                          <a:pt x="964" y="541"/>
                        </a:lnTo>
                        <a:lnTo>
                          <a:pt x="900" y="586"/>
                        </a:lnTo>
                        <a:lnTo>
                          <a:pt x="921" y="574"/>
                        </a:lnTo>
                        <a:lnTo>
                          <a:pt x="916" y="558"/>
                        </a:lnTo>
                        <a:lnTo>
                          <a:pt x="909" y="574"/>
                        </a:lnTo>
                        <a:lnTo>
                          <a:pt x="879" y="579"/>
                        </a:lnTo>
                        <a:lnTo>
                          <a:pt x="867" y="598"/>
                        </a:lnTo>
                        <a:lnTo>
                          <a:pt x="862" y="598"/>
                        </a:lnTo>
                        <a:lnTo>
                          <a:pt x="867" y="586"/>
                        </a:lnTo>
                        <a:lnTo>
                          <a:pt x="867" y="579"/>
                        </a:lnTo>
                        <a:lnTo>
                          <a:pt x="857" y="579"/>
                        </a:lnTo>
                        <a:lnTo>
                          <a:pt x="845" y="574"/>
                        </a:lnTo>
                        <a:lnTo>
                          <a:pt x="841" y="586"/>
                        </a:lnTo>
                        <a:lnTo>
                          <a:pt x="829" y="579"/>
                        </a:lnTo>
                        <a:lnTo>
                          <a:pt x="808" y="579"/>
                        </a:lnTo>
                        <a:lnTo>
                          <a:pt x="812" y="586"/>
                        </a:lnTo>
                        <a:lnTo>
                          <a:pt x="824" y="579"/>
                        </a:lnTo>
                        <a:lnTo>
                          <a:pt x="824" y="598"/>
                        </a:lnTo>
                        <a:lnTo>
                          <a:pt x="829" y="586"/>
                        </a:lnTo>
                        <a:lnTo>
                          <a:pt x="841" y="603"/>
                        </a:lnTo>
                        <a:lnTo>
                          <a:pt x="845" y="598"/>
                        </a:lnTo>
                        <a:lnTo>
                          <a:pt x="857" y="598"/>
                        </a:lnTo>
                        <a:lnTo>
                          <a:pt x="862" y="603"/>
                        </a:lnTo>
                        <a:lnTo>
                          <a:pt x="857" y="615"/>
                        </a:lnTo>
                        <a:lnTo>
                          <a:pt x="879" y="603"/>
                        </a:lnTo>
                        <a:lnTo>
                          <a:pt x="862" y="619"/>
                        </a:lnTo>
                        <a:lnTo>
                          <a:pt x="879" y="619"/>
                        </a:lnTo>
                        <a:lnTo>
                          <a:pt x="900" y="631"/>
                        </a:lnTo>
                        <a:lnTo>
                          <a:pt x="909" y="641"/>
                        </a:lnTo>
                        <a:lnTo>
                          <a:pt x="900" y="652"/>
                        </a:lnTo>
                        <a:lnTo>
                          <a:pt x="909" y="659"/>
                        </a:lnTo>
                        <a:lnTo>
                          <a:pt x="921" y="659"/>
                        </a:lnTo>
                        <a:lnTo>
                          <a:pt x="879" y="586"/>
                        </a:lnTo>
                        <a:lnTo>
                          <a:pt x="895" y="598"/>
                        </a:lnTo>
                        <a:lnTo>
                          <a:pt x="909" y="631"/>
                        </a:lnTo>
                        <a:lnTo>
                          <a:pt x="938" y="659"/>
                        </a:lnTo>
                        <a:lnTo>
                          <a:pt x="964" y="652"/>
                        </a:lnTo>
                        <a:lnTo>
                          <a:pt x="968" y="659"/>
                        </a:lnTo>
                        <a:lnTo>
                          <a:pt x="985" y="641"/>
                        </a:lnTo>
                        <a:lnTo>
                          <a:pt x="1018" y="652"/>
                        </a:lnTo>
                        <a:lnTo>
                          <a:pt x="1001" y="659"/>
                        </a:lnTo>
                        <a:lnTo>
                          <a:pt x="1001" y="685"/>
                        </a:lnTo>
                        <a:lnTo>
                          <a:pt x="964" y="693"/>
                        </a:lnTo>
                        <a:lnTo>
                          <a:pt x="938" y="676"/>
                        </a:lnTo>
                        <a:lnTo>
                          <a:pt x="909" y="709"/>
                        </a:lnTo>
                        <a:lnTo>
                          <a:pt x="900" y="697"/>
                        </a:lnTo>
                        <a:lnTo>
                          <a:pt x="867" y="709"/>
                        </a:lnTo>
                        <a:lnTo>
                          <a:pt x="857" y="730"/>
                        </a:lnTo>
                        <a:lnTo>
                          <a:pt x="829" y="747"/>
                        </a:lnTo>
                        <a:lnTo>
                          <a:pt x="808" y="742"/>
                        </a:lnTo>
                        <a:lnTo>
                          <a:pt x="786" y="726"/>
                        </a:lnTo>
                        <a:lnTo>
                          <a:pt x="803" y="726"/>
                        </a:lnTo>
                        <a:lnTo>
                          <a:pt x="803" y="709"/>
                        </a:lnTo>
                        <a:lnTo>
                          <a:pt x="808" y="697"/>
                        </a:lnTo>
                        <a:lnTo>
                          <a:pt x="803" y="676"/>
                        </a:lnTo>
                        <a:lnTo>
                          <a:pt x="775" y="676"/>
                        </a:lnTo>
                        <a:lnTo>
                          <a:pt x="753" y="659"/>
                        </a:lnTo>
                        <a:lnTo>
                          <a:pt x="732" y="659"/>
                        </a:lnTo>
                        <a:lnTo>
                          <a:pt x="720" y="652"/>
                        </a:lnTo>
                        <a:lnTo>
                          <a:pt x="753" y="631"/>
                        </a:lnTo>
                        <a:lnTo>
                          <a:pt x="812" y="603"/>
                        </a:lnTo>
                        <a:lnTo>
                          <a:pt x="808" y="598"/>
                        </a:lnTo>
                        <a:lnTo>
                          <a:pt x="808" y="586"/>
                        </a:lnTo>
                        <a:lnTo>
                          <a:pt x="791" y="598"/>
                        </a:lnTo>
                        <a:lnTo>
                          <a:pt x="775" y="579"/>
                        </a:lnTo>
                        <a:lnTo>
                          <a:pt x="732" y="586"/>
                        </a:lnTo>
                        <a:lnTo>
                          <a:pt x="678" y="574"/>
                        </a:lnTo>
                        <a:lnTo>
                          <a:pt x="694" y="563"/>
                        </a:lnTo>
                        <a:lnTo>
                          <a:pt x="668" y="558"/>
                        </a:lnTo>
                        <a:lnTo>
                          <a:pt x="652" y="546"/>
                        </a:lnTo>
                        <a:lnTo>
                          <a:pt x="716" y="558"/>
                        </a:lnTo>
                        <a:lnTo>
                          <a:pt x="737" y="541"/>
                        </a:lnTo>
                        <a:lnTo>
                          <a:pt x="716" y="546"/>
                        </a:lnTo>
                        <a:lnTo>
                          <a:pt x="694" y="541"/>
                        </a:lnTo>
                        <a:lnTo>
                          <a:pt x="685" y="530"/>
                        </a:lnTo>
                        <a:lnTo>
                          <a:pt x="694" y="508"/>
                        </a:lnTo>
                        <a:lnTo>
                          <a:pt x="678" y="485"/>
                        </a:lnTo>
                        <a:lnTo>
                          <a:pt x="685" y="501"/>
                        </a:lnTo>
                        <a:lnTo>
                          <a:pt x="685" y="508"/>
                        </a:lnTo>
                        <a:lnTo>
                          <a:pt x="694" y="520"/>
                        </a:lnTo>
                        <a:lnTo>
                          <a:pt x="685" y="525"/>
                        </a:lnTo>
                        <a:lnTo>
                          <a:pt x="685" y="541"/>
                        </a:lnTo>
                        <a:lnTo>
                          <a:pt x="652" y="541"/>
                        </a:lnTo>
                        <a:lnTo>
                          <a:pt x="661" y="525"/>
                        </a:lnTo>
                        <a:lnTo>
                          <a:pt x="652" y="541"/>
                        </a:lnTo>
                        <a:lnTo>
                          <a:pt x="609" y="546"/>
                        </a:lnTo>
                        <a:lnTo>
                          <a:pt x="609" y="563"/>
                        </a:lnTo>
                        <a:lnTo>
                          <a:pt x="571" y="615"/>
                        </a:lnTo>
                        <a:lnTo>
                          <a:pt x="543" y="615"/>
                        </a:lnTo>
                        <a:lnTo>
                          <a:pt x="534" y="636"/>
                        </a:lnTo>
                        <a:lnTo>
                          <a:pt x="522" y="615"/>
                        </a:lnTo>
                        <a:lnTo>
                          <a:pt x="522" y="636"/>
                        </a:lnTo>
                        <a:lnTo>
                          <a:pt x="538" y="652"/>
                        </a:lnTo>
                        <a:lnTo>
                          <a:pt x="534" y="669"/>
                        </a:lnTo>
                        <a:lnTo>
                          <a:pt x="534" y="669"/>
                        </a:lnTo>
                        <a:lnTo>
                          <a:pt x="534" y="669"/>
                        </a:lnTo>
                        <a:lnTo>
                          <a:pt x="534" y="669"/>
                        </a:lnTo>
                        <a:close/>
                        <a:moveTo>
                          <a:pt x="699" y="586"/>
                        </a:moveTo>
                        <a:lnTo>
                          <a:pt x="661" y="574"/>
                        </a:lnTo>
                        <a:lnTo>
                          <a:pt x="652" y="563"/>
                        </a:lnTo>
                        <a:lnTo>
                          <a:pt x="661" y="574"/>
                        </a:lnTo>
                        <a:lnTo>
                          <a:pt x="699" y="586"/>
                        </a:lnTo>
                        <a:lnTo>
                          <a:pt x="699" y="586"/>
                        </a:lnTo>
                        <a:lnTo>
                          <a:pt x="699" y="58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3" name="Freeform 585">
                    <a:extLst>
                      <a:ext uri="{FF2B5EF4-FFF2-40B4-BE49-F238E27FC236}">
                        <a16:creationId xmlns:a16="http://schemas.microsoft.com/office/drawing/2014/main" id="{DB8B2C1E-E5EB-4372-B346-2C9CDFD48D0D}"/>
                      </a:ext>
                    </a:extLst>
                  </p:cNvPr>
                  <p:cNvSpPr>
                    <a:spLocks/>
                  </p:cNvSpPr>
                  <p:nvPr/>
                </p:nvSpPr>
                <p:spPr bwMode="gray">
                  <a:xfrm>
                    <a:off x="8341217" y="2611704"/>
                    <a:ext cx="496885" cy="296436"/>
                  </a:xfrm>
                  <a:custGeom>
                    <a:avLst/>
                    <a:gdLst>
                      <a:gd name="T0" fmla="*/ 827 w 1207"/>
                      <a:gd name="T1" fmla="*/ 515 h 720"/>
                      <a:gd name="T2" fmla="*/ 806 w 1207"/>
                      <a:gd name="T3" fmla="*/ 555 h 720"/>
                      <a:gd name="T4" fmla="*/ 851 w 1207"/>
                      <a:gd name="T5" fmla="*/ 572 h 720"/>
                      <a:gd name="T6" fmla="*/ 851 w 1207"/>
                      <a:gd name="T7" fmla="*/ 609 h 720"/>
                      <a:gd name="T8" fmla="*/ 860 w 1207"/>
                      <a:gd name="T9" fmla="*/ 659 h 720"/>
                      <a:gd name="T10" fmla="*/ 813 w 1207"/>
                      <a:gd name="T11" fmla="*/ 716 h 720"/>
                      <a:gd name="T12" fmla="*/ 742 w 1207"/>
                      <a:gd name="T13" fmla="*/ 704 h 720"/>
                      <a:gd name="T14" fmla="*/ 700 w 1207"/>
                      <a:gd name="T15" fmla="*/ 633 h 720"/>
                      <a:gd name="T16" fmla="*/ 574 w 1207"/>
                      <a:gd name="T17" fmla="*/ 576 h 720"/>
                      <a:gd name="T18" fmla="*/ 456 w 1207"/>
                      <a:gd name="T19" fmla="*/ 482 h 720"/>
                      <a:gd name="T20" fmla="*/ 419 w 1207"/>
                      <a:gd name="T21" fmla="*/ 387 h 720"/>
                      <a:gd name="T22" fmla="*/ 348 w 1207"/>
                      <a:gd name="T23" fmla="*/ 383 h 720"/>
                      <a:gd name="T24" fmla="*/ 289 w 1207"/>
                      <a:gd name="T25" fmla="*/ 366 h 720"/>
                      <a:gd name="T26" fmla="*/ 303 w 1207"/>
                      <a:gd name="T27" fmla="*/ 333 h 720"/>
                      <a:gd name="T28" fmla="*/ 272 w 1207"/>
                      <a:gd name="T29" fmla="*/ 283 h 720"/>
                      <a:gd name="T30" fmla="*/ 213 w 1207"/>
                      <a:gd name="T31" fmla="*/ 272 h 720"/>
                      <a:gd name="T32" fmla="*/ 163 w 1207"/>
                      <a:gd name="T33" fmla="*/ 255 h 720"/>
                      <a:gd name="T34" fmla="*/ 168 w 1207"/>
                      <a:gd name="T35" fmla="*/ 293 h 720"/>
                      <a:gd name="T36" fmla="*/ 130 w 1207"/>
                      <a:gd name="T37" fmla="*/ 300 h 720"/>
                      <a:gd name="T38" fmla="*/ 71 w 1207"/>
                      <a:gd name="T39" fmla="*/ 345 h 720"/>
                      <a:gd name="T40" fmla="*/ 0 w 1207"/>
                      <a:gd name="T41" fmla="*/ 371 h 720"/>
                      <a:gd name="T42" fmla="*/ 364 w 1207"/>
                      <a:gd name="T43" fmla="*/ 116 h 720"/>
                      <a:gd name="T44" fmla="*/ 596 w 1207"/>
                      <a:gd name="T45" fmla="*/ 182 h 720"/>
                      <a:gd name="T46" fmla="*/ 671 w 1207"/>
                      <a:gd name="T47" fmla="*/ 201 h 720"/>
                      <a:gd name="T48" fmla="*/ 704 w 1207"/>
                      <a:gd name="T49" fmla="*/ 316 h 720"/>
                      <a:gd name="T50" fmla="*/ 844 w 1207"/>
                      <a:gd name="T51" fmla="*/ 387 h 720"/>
                      <a:gd name="T52" fmla="*/ 877 w 1207"/>
                      <a:gd name="T53" fmla="*/ 437 h 720"/>
                      <a:gd name="T54" fmla="*/ 919 w 1207"/>
                      <a:gd name="T55" fmla="*/ 383 h 720"/>
                      <a:gd name="T56" fmla="*/ 985 w 1207"/>
                      <a:gd name="T57" fmla="*/ 345 h 720"/>
                      <a:gd name="T58" fmla="*/ 1040 w 1207"/>
                      <a:gd name="T59" fmla="*/ 300 h 720"/>
                      <a:gd name="T60" fmla="*/ 1078 w 1207"/>
                      <a:gd name="T61" fmla="*/ 300 h 720"/>
                      <a:gd name="T62" fmla="*/ 1040 w 1207"/>
                      <a:gd name="T63" fmla="*/ 328 h 720"/>
                      <a:gd name="T64" fmla="*/ 1040 w 1207"/>
                      <a:gd name="T65" fmla="*/ 366 h 720"/>
                      <a:gd name="T66" fmla="*/ 1082 w 1207"/>
                      <a:gd name="T67" fmla="*/ 371 h 720"/>
                      <a:gd name="T68" fmla="*/ 1120 w 1207"/>
                      <a:gd name="T69" fmla="*/ 371 h 720"/>
                      <a:gd name="T70" fmla="*/ 1137 w 1207"/>
                      <a:gd name="T71" fmla="*/ 404 h 720"/>
                      <a:gd name="T72" fmla="*/ 1207 w 1207"/>
                      <a:gd name="T73" fmla="*/ 420 h 720"/>
                      <a:gd name="T74" fmla="*/ 1153 w 1207"/>
                      <a:gd name="T75" fmla="*/ 437 h 720"/>
                      <a:gd name="T76" fmla="*/ 1132 w 1207"/>
                      <a:gd name="T77" fmla="*/ 460 h 720"/>
                      <a:gd name="T78" fmla="*/ 1082 w 1207"/>
                      <a:gd name="T79" fmla="*/ 460 h 720"/>
                      <a:gd name="T80" fmla="*/ 1011 w 1207"/>
                      <a:gd name="T81" fmla="*/ 456 h 720"/>
                      <a:gd name="T82" fmla="*/ 1011 w 1207"/>
                      <a:gd name="T83" fmla="*/ 399 h 720"/>
                      <a:gd name="T84" fmla="*/ 943 w 1207"/>
                      <a:gd name="T85" fmla="*/ 420 h 720"/>
                      <a:gd name="T86" fmla="*/ 936 w 1207"/>
                      <a:gd name="T87" fmla="*/ 465 h 720"/>
                      <a:gd name="T88" fmla="*/ 898 w 1207"/>
                      <a:gd name="T89" fmla="*/ 482 h 720"/>
                      <a:gd name="T90" fmla="*/ 889 w 1207"/>
                      <a:gd name="T91" fmla="*/ 49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07" h="720">
                        <a:moveTo>
                          <a:pt x="889" y="498"/>
                        </a:moveTo>
                        <a:lnTo>
                          <a:pt x="882" y="522"/>
                        </a:lnTo>
                        <a:lnTo>
                          <a:pt x="827" y="515"/>
                        </a:lnTo>
                        <a:lnTo>
                          <a:pt x="806" y="531"/>
                        </a:lnTo>
                        <a:lnTo>
                          <a:pt x="796" y="548"/>
                        </a:lnTo>
                        <a:lnTo>
                          <a:pt x="806" y="555"/>
                        </a:lnTo>
                        <a:lnTo>
                          <a:pt x="822" y="564"/>
                        </a:lnTo>
                        <a:lnTo>
                          <a:pt x="827" y="572"/>
                        </a:lnTo>
                        <a:lnTo>
                          <a:pt x="851" y="572"/>
                        </a:lnTo>
                        <a:lnTo>
                          <a:pt x="860" y="588"/>
                        </a:lnTo>
                        <a:lnTo>
                          <a:pt x="851" y="588"/>
                        </a:lnTo>
                        <a:lnTo>
                          <a:pt x="851" y="609"/>
                        </a:lnTo>
                        <a:lnTo>
                          <a:pt x="877" y="642"/>
                        </a:lnTo>
                        <a:lnTo>
                          <a:pt x="867" y="659"/>
                        </a:lnTo>
                        <a:lnTo>
                          <a:pt x="860" y="659"/>
                        </a:lnTo>
                        <a:lnTo>
                          <a:pt x="834" y="699"/>
                        </a:lnTo>
                        <a:lnTo>
                          <a:pt x="827" y="720"/>
                        </a:lnTo>
                        <a:lnTo>
                          <a:pt x="813" y="716"/>
                        </a:lnTo>
                        <a:lnTo>
                          <a:pt x="789" y="720"/>
                        </a:lnTo>
                        <a:lnTo>
                          <a:pt x="775" y="704"/>
                        </a:lnTo>
                        <a:lnTo>
                          <a:pt x="742" y="704"/>
                        </a:lnTo>
                        <a:lnTo>
                          <a:pt x="742" y="675"/>
                        </a:lnTo>
                        <a:lnTo>
                          <a:pt x="752" y="659"/>
                        </a:lnTo>
                        <a:lnTo>
                          <a:pt x="700" y="633"/>
                        </a:lnTo>
                        <a:lnTo>
                          <a:pt x="671" y="633"/>
                        </a:lnTo>
                        <a:lnTo>
                          <a:pt x="591" y="572"/>
                        </a:lnTo>
                        <a:lnTo>
                          <a:pt x="574" y="576"/>
                        </a:lnTo>
                        <a:lnTo>
                          <a:pt x="541" y="555"/>
                        </a:lnTo>
                        <a:lnTo>
                          <a:pt x="537" y="538"/>
                        </a:lnTo>
                        <a:lnTo>
                          <a:pt x="456" y="482"/>
                        </a:lnTo>
                        <a:lnTo>
                          <a:pt x="449" y="456"/>
                        </a:lnTo>
                        <a:lnTo>
                          <a:pt x="433" y="437"/>
                        </a:lnTo>
                        <a:lnTo>
                          <a:pt x="419" y="387"/>
                        </a:lnTo>
                        <a:lnTo>
                          <a:pt x="385" y="371"/>
                        </a:lnTo>
                        <a:lnTo>
                          <a:pt x="374" y="387"/>
                        </a:lnTo>
                        <a:lnTo>
                          <a:pt x="348" y="383"/>
                        </a:lnTo>
                        <a:lnTo>
                          <a:pt x="319" y="383"/>
                        </a:lnTo>
                        <a:lnTo>
                          <a:pt x="293" y="371"/>
                        </a:lnTo>
                        <a:lnTo>
                          <a:pt x="289" y="366"/>
                        </a:lnTo>
                        <a:lnTo>
                          <a:pt x="293" y="349"/>
                        </a:lnTo>
                        <a:lnTo>
                          <a:pt x="289" y="333"/>
                        </a:lnTo>
                        <a:lnTo>
                          <a:pt x="303" y="333"/>
                        </a:lnTo>
                        <a:lnTo>
                          <a:pt x="289" y="309"/>
                        </a:lnTo>
                        <a:lnTo>
                          <a:pt x="289" y="293"/>
                        </a:lnTo>
                        <a:lnTo>
                          <a:pt x="272" y="283"/>
                        </a:lnTo>
                        <a:lnTo>
                          <a:pt x="234" y="283"/>
                        </a:lnTo>
                        <a:lnTo>
                          <a:pt x="222" y="272"/>
                        </a:lnTo>
                        <a:lnTo>
                          <a:pt x="213" y="272"/>
                        </a:lnTo>
                        <a:lnTo>
                          <a:pt x="185" y="243"/>
                        </a:lnTo>
                        <a:lnTo>
                          <a:pt x="180" y="260"/>
                        </a:lnTo>
                        <a:lnTo>
                          <a:pt x="163" y="255"/>
                        </a:lnTo>
                        <a:lnTo>
                          <a:pt x="159" y="260"/>
                        </a:lnTo>
                        <a:lnTo>
                          <a:pt x="180" y="293"/>
                        </a:lnTo>
                        <a:lnTo>
                          <a:pt x="168" y="293"/>
                        </a:lnTo>
                        <a:lnTo>
                          <a:pt x="163" y="276"/>
                        </a:lnTo>
                        <a:lnTo>
                          <a:pt x="147" y="272"/>
                        </a:lnTo>
                        <a:lnTo>
                          <a:pt x="130" y="300"/>
                        </a:lnTo>
                        <a:lnTo>
                          <a:pt x="104" y="300"/>
                        </a:lnTo>
                        <a:lnTo>
                          <a:pt x="71" y="328"/>
                        </a:lnTo>
                        <a:lnTo>
                          <a:pt x="71" y="345"/>
                        </a:lnTo>
                        <a:lnTo>
                          <a:pt x="76" y="371"/>
                        </a:lnTo>
                        <a:lnTo>
                          <a:pt x="76" y="383"/>
                        </a:lnTo>
                        <a:lnTo>
                          <a:pt x="0" y="371"/>
                        </a:lnTo>
                        <a:lnTo>
                          <a:pt x="0" y="54"/>
                        </a:lnTo>
                        <a:lnTo>
                          <a:pt x="180" y="0"/>
                        </a:lnTo>
                        <a:lnTo>
                          <a:pt x="364" y="116"/>
                        </a:lnTo>
                        <a:lnTo>
                          <a:pt x="428" y="182"/>
                        </a:lnTo>
                        <a:lnTo>
                          <a:pt x="508" y="172"/>
                        </a:lnTo>
                        <a:lnTo>
                          <a:pt x="596" y="182"/>
                        </a:lnTo>
                        <a:lnTo>
                          <a:pt x="629" y="165"/>
                        </a:lnTo>
                        <a:lnTo>
                          <a:pt x="650" y="189"/>
                        </a:lnTo>
                        <a:lnTo>
                          <a:pt x="671" y="201"/>
                        </a:lnTo>
                        <a:lnTo>
                          <a:pt x="688" y="238"/>
                        </a:lnTo>
                        <a:lnTo>
                          <a:pt x="714" y="227"/>
                        </a:lnTo>
                        <a:lnTo>
                          <a:pt x="704" y="316"/>
                        </a:lnTo>
                        <a:lnTo>
                          <a:pt x="742" y="316"/>
                        </a:lnTo>
                        <a:lnTo>
                          <a:pt x="759" y="387"/>
                        </a:lnTo>
                        <a:lnTo>
                          <a:pt x="844" y="387"/>
                        </a:lnTo>
                        <a:lnTo>
                          <a:pt x="860" y="399"/>
                        </a:lnTo>
                        <a:lnTo>
                          <a:pt x="851" y="420"/>
                        </a:lnTo>
                        <a:lnTo>
                          <a:pt x="877" y="437"/>
                        </a:lnTo>
                        <a:lnTo>
                          <a:pt x="889" y="437"/>
                        </a:lnTo>
                        <a:lnTo>
                          <a:pt x="889" y="411"/>
                        </a:lnTo>
                        <a:lnTo>
                          <a:pt x="919" y="383"/>
                        </a:lnTo>
                        <a:lnTo>
                          <a:pt x="919" y="371"/>
                        </a:lnTo>
                        <a:lnTo>
                          <a:pt x="957" y="345"/>
                        </a:lnTo>
                        <a:lnTo>
                          <a:pt x="985" y="345"/>
                        </a:lnTo>
                        <a:lnTo>
                          <a:pt x="1011" y="309"/>
                        </a:lnTo>
                        <a:lnTo>
                          <a:pt x="1028" y="316"/>
                        </a:lnTo>
                        <a:lnTo>
                          <a:pt x="1040" y="300"/>
                        </a:lnTo>
                        <a:lnTo>
                          <a:pt x="1049" y="293"/>
                        </a:lnTo>
                        <a:lnTo>
                          <a:pt x="1061" y="283"/>
                        </a:lnTo>
                        <a:lnTo>
                          <a:pt x="1078" y="300"/>
                        </a:lnTo>
                        <a:lnTo>
                          <a:pt x="1044" y="309"/>
                        </a:lnTo>
                        <a:lnTo>
                          <a:pt x="1044" y="328"/>
                        </a:lnTo>
                        <a:lnTo>
                          <a:pt x="1040" y="328"/>
                        </a:lnTo>
                        <a:lnTo>
                          <a:pt x="995" y="354"/>
                        </a:lnTo>
                        <a:lnTo>
                          <a:pt x="1023" y="366"/>
                        </a:lnTo>
                        <a:lnTo>
                          <a:pt x="1040" y="366"/>
                        </a:lnTo>
                        <a:lnTo>
                          <a:pt x="1044" y="383"/>
                        </a:lnTo>
                        <a:lnTo>
                          <a:pt x="1082" y="387"/>
                        </a:lnTo>
                        <a:lnTo>
                          <a:pt x="1082" y="371"/>
                        </a:lnTo>
                        <a:lnTo>
                          <a:pt x="1099" y="371"/>
                        </a:lnTo>
                        <a:lnTo>
                          <a:pt x="1104" y="354"/>
                        </a:lnTo>
                        <a:lnTo>
                          <a:pt x="1120" y="371"/>
                        </a:lnTo>
                        <a:lnTo>
                          <a:pt x="1120" y="387"/>
                        </a:lnTo>
                        <a:lnTo>
                          <a:pt x="1137" y="387"/>
                        </a:lnTo>
                        <a:lnTo>
                          <a:pt x="1137" y="404"/>
                        </a:lnTo>
                        <a:lnTo>
                          <a:pt x="1153" y="399"/>
                        </a:lnTo>
                        <a:lnTo>
                          <a:pt x="1170" y="411"/>
                        </a:lnTo>
                        <a:lnTo>
                          <a:pt x="1207" y="420"/>
                        </a:lnTo>
                        <a:lnTo>
                          <a:pt x="1186" y="427"/>
                        </a:lnTo>
                        <a:lnTo>
                          <a:pt x="1170" y="444"/>
                        </a:lnTo>
                        <a:lnTo>
                          <a:pt x="1153" y="437"/>
                        </a:lnTo>
                        <a:lnTo>
                          <a:pt x="1153" y="456"/>
                        </a:lnTo>
                        <a:lnTo>
                          <a:pt x="1137" y="456"/>
                        </a:lnTo>
                        <a:lnTo>
                          <a:pt x="1132" y="460"/>
                        </a:lnTo>
                        <a:lnTo>
                          <a:pt x="1132" y="465"/>
                        </a:lnTo>
                        <a:lnTo>
                          <a:pt x="1104" y="477"/>
                        </a:lnTo>
                        <a:lnTo>
                          <a:pt x="1082" y="460"/>
                        </a:lnTo>
                        <a:lnTo>
                          <a:pt x="1049" y="465"/>
                        </a:lnTo>
                        <a:lnTo>
                          <a:pt x="1028" y="465"/>
                        </a:lnTo>
                        <a:lnTo>
                          <a:pt x="1011" y="456"/>
                        </a:lnTo>
                        <a:lnTo>
                          <a:pt x="1011" y="456"/>
                        </a:lnTo>
                        <a:lnTo>
                          <a:pt x="1044" y="427"/>
                        </a:lnTo>
                        <a:lnTo>
                          <a:pt x="1011" y="399"/>
                        </a:lnTo>
                        <a:lnTo>
                          <a:pt x="1007" y="411"/>
                        </a:lnTo>
                        <a:lnTo>
                          <a:pt x="969" y="437"/>
                        </a:lnTo>
                        <a:lnTo>
                          <a:pt x="943" y="420"/>
                        </a:lnTo>
                        <a:lnTo>
                          <a:pt x="943" y="420"/>
                        </a:lnTo>
                        <a:lnTo>
                          <a:pt x="936" y="444"/>
                        </a:lnTo>
                        <a:lnTo>
                          <a:pt x="936" y="465"/>
                        </a:lnTo>
                        <a:lnTo>
                          <a:pt x="889" y="477"/>
                        </a:lnTo>
                        <a:lnTo>
                          <a:pt x="915" y="477"/>
                        </a:lnTo>
                        <a:lnTo>
                          <a:pt x="898" y="482"/>
                        </a:lnTo>
                        <a:lnTo>
                          <a:pt x="905" y="498"/>
                        </a:lnTo>
                        <a:lnTo>
                          <a:pt x="889" y="498"/>
                        </a:lnTo>
                        <a:lnTo>
                          <a:pt x="889" y="498"/>
                        </a:lnTo>
                        <a:lnTo>
                          <a:pt x="889" y="49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8256" name="Gruppieren 8255">
              <a:extLst>
                <a:ext uri="{FF2B5EF4-FFF2-40B4-BE49-F238E27FC236}">
                  <a16:creationId xmlns:a16="http://schemas.microsoft.com/office/drawing/2014/main" id="{1335FD39-5C54-4DEA-A660-DA2412132149}"/>
                </a:ext>
              </a:extLst>
            </p:cNvPr>
            <p:cNvGrpSpPr/>
            <p:nvPr/>
          </p:nvGrpSpPr>
          <p:grpSpPr bwMode="gray">
            <a:xfrm>
              <a:off x="8172003" y="2594242"/>
              <a:ext cx="2843406" cy="3567109"/>
              <a:chOff x="8473775" y="2306210"/>
              <a:chExt cx="2843406" cy="3567109"/>
            </a:xfrm>
            <a:grpFill/>
          </p:grpSpPr>
          <p:sp>
            <p:nvSpPr>
              <p:cNvPr id="8257" name="Freeform 379">
                <a:extLst>
                  <a:ext uri="{FF2B5EF4-FFF2-40B4-BE49-F238E27FC236}">
                    <a16:creationId xmlns:a16="http://schemas.microsoft.com/office/drawing/2014/main" id="{C7F1F00A-2149-4B3D-BEC6-596ECBC4DDB5}"/>
                  </a:ext>
                </a:extLst>
              </p:cNvPr>
              <p:cNvSpPr>
                <a:spLocks/>
              </p:cNvSpPr>
              <p:nvPr/>
            </p:nvSpPr>
            <p:spPr bwMode="gray">
              <a:xfrm>
                <a:off x="8473775" y="2866557"/>
                <a:ext cx="414964" cy="299318"/>
              </a:xfrm>
              <a:custGeom>
                <a:avLst/>
                <a:gdLst>
                  <a:gd name="T0" fmla="*/ 75 w 1008"/>
                  <a:gd name="T1" fmla="*/ 243 h 727"/>
                  <a:gd name="T2" fmla="*/ 137 w 1008"/>
                  <a:gd name="T3" fmla="*/ 260 h 727"/>
                  <a:gd name="T4" fmla="*/ 184 w 1008"/>
                  <a:gd name="T5" fmla="*/ 234 h 727"/>
                  <a:gd name="T6" fmla="*/ 243 w 1008"/>
                  <a:gd name="T7" fmla="*/ 193 h 727"/>
                  <a:gd name="T8" fmla="*/ 297 w 1008"/>
                  <a:gd name="T9" fmla="*/ 111 h 727"/>
                  <a:gd name="T10" fmla="*/ 361 w 1008"/>
                  <a:gd name="T11" fmla="*/ 78 h 727"/>
                  <a:gd name="T12" fmla="*/ 453 w 1008"/>
                  <a:gd name="T13" fmla="*/ 82 h 727"/>
                  <a:gd name="T14" fmla="*/ 508 w 1008"/>
                  <a:gd name="T15" fmla="*/ 99 h 727"/>
                  <a:gd name="T16" fmla="*/ 583 w 1008"/>
                  <a:gd name="T17" fmla="*/ 94 h 727"/>
                  <a:gd name="T18" fmla="*/ 621 w 1008"/>
                  <a:gd name="T19" fmla="*/ 82 h 727"/>
                  <a:gd name="T20" fmla="*/ 675 w 1008"/>
                  <a:gd name="T21" fmla="*/ 78 h 727"/>
                  <a:gd name="T22" fmla="*/ 718 w 1008"/>
                  <a:gd name="T23" fmla="*/ 0 h 727"/>
                  <a:gd name="T24" fmla="*/ 756 w 1008"/>
                  <a:gd name="T25" fmla="*/ 42 h 727"/>
                  <a:gd name="T26" fmla="*/ 777 w 1008"/>
                  <a:gd name="T27" fmla="*/ 139 h 727"/>
                  <a:gd name="T28" fmla="*/ 826 w 1008"/>
                  <a:gd name="T29" fmla="*/ 115 h 727"/>
                  <a:gd name="T30" fmla="*/ 890 w 1008"/>
                  <a:gd name="T31" fmla="*/ 78 h 727"/>
                  <a:gd name="T32" fmla="*/ 919 w 1008"/>
                  <a:gd name="T33" fmla="*/ 94 h 727"/>
                  <a:gd name="T34" fmla="*/ 994 w 1008"/>
                  <a:gd name="T35" fmla="*/ 82 h 727"/>
                  <a:gd name="T36" fmla="*/ 999 w 1008"/>
                  <a:gd name="T37" fmla="*/ 94 h 727"/>
                  <a:gd name="T38" fmla="*/ 987 w 1008"/>
                  <a:gd name="T39" fmla="*/ 120 h 727"/>
                  <a:gd name="T40" fmla="*/ 923 w 1008"/>
                  <a:gd name="T41" fmla="*/ 120 h 727"/>
                  <a:gd name="T42" fmla="*/ 784 w 1008"/>
                  <a:gd name="T43" fmla="*/ 165 h 727"/>
                  <a:gd name="T44" fmla="*/ 756 w 1008"/>
                  <a:gd name="T45" fmla="*/ 189 h 727"/>
                  <a:gd name="T46" fmla="*/ 777 w 1008"/>
                  <a:gd name="T47" fmla="*/ 250 h 727"/>
                  <a:gd name="T48" fmla="*/ 772 w 1008"/>
                  <a:gd name="T49" fmla="*/ 283 h 727"/>
                  <a:gd name="T50" fmla="*/ 730 w 1008"/>
                  <a:gd name="T51" fmla="*/ 321 h 727"/>
                  <a:gd name="T52" fmla="*/ 701 w 1008"/>
                  <a:gd name="T53" fmla="*/ 373 h 727"/>
                  <a:gd name="T54" fmla="*/ 663 w 1008"/>
                  <a:gd name="T55" fmla="*/ 390 h 727"/>
                  <a:gd name="T56" fmla="*/ 685 w 1008"/>
                  <a:gd name="T57" fmla="*/ 415 h 727"/>
                  <a:gd name="T58" fmla="*/ 633 w 1008"/>
                  <a:gd name="T59" fmla="*/ 456 h 727"/>
                  <a:gd name="T60" fmla="*/ 616 w 1008"/>
                  <a:gd name="T61" fmla="*/ 489 h 727"/>
                  <a:gd name="T62" fmla="*/ 583 w 1008"/>
                  <a:gd name="T63" fmla="*/ 562 h 727"/>
                  <a:gd name="T64" fmla="*/ 562 w 1008"/>
                  <a:gd name="T65" fmla="*/ 545 h 727"/>
                  <a:gd name="T66" fmla="*/ 491 w 1008"/>
                  <a:gd name="T67" fmla="*/ 562 h 727"/>
                  <a:gd name="T68" fmla="*/ 453 w 1008"/>
                  <a:gd name="T69" fmla="*/ 578 h 727"/>
                  <a:gd name="T70" fmla="*/ 415 w 1008"/>
                  <a:gd name="T71" fmla="*/ 612 h 727"/>
                  <a:gd name="T72" fmla="*/ 399 w 1008"/>
                  <a:gd name="T73" fmla="*/ 678 h 727"/>
                  <a:gd name="T74" fmla="*/ 314 w 1008"/>
                  <a:gd name="T75" fmla="*/ 723 h 727"/>
                  <a:gd name="T76" fmla="*/ 217 w 1008"/>
                  <a:gd name="T77" fmla="*/ 723 h 727"/>
                  <a:gd name="T78" fmla="*/ 23 w 1008"/>
                  <a:gd name="T79" fmla="*/ 694 h 727"/>
                  <a:gd name="T80" fmla="*/ 82 w 1008"/>
                  <a:gd name="T81" fmla="*/ 578 h 727"/>
                  <a:gd name="T82" fmla="*/ 23 w 1008"/>
                  <a:gd name="T83" fmla="*/ 505 h 727"/>
                  <a:gd name="T84" fmla="*/ 0 w 1008"/>
                  <a:gd name="T85" fmla="*/ 394 h 727"/>
                  <a:gd name="T86" fmla="*/ 23 w 1008"/>
                  <a:gd name="T87" fmla="*/ 338 h 727"/>
                  <a:gd name="T88" fmla="*/ 37 w 1008"/>
                  <a:gd name="T89" fmla="*/ 300 h 727"/>
                  <a:gd name="T90" fmla="*/ 54 w 1008"/>
                  <a:gd name="T91" fmla="*/ 23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08" h="727">
                    <a:moveTo>
                      <a:pt x="54" y="234"/>
                    </a:moveTo>
                    <a:lnTo>
                      <a:pt x="61" y="227"/>
                    </a:lnTo>
                    <a:lnTo>
                      <a:pt x="75" y="243"/>
                    </a:lnTo>
                    <a:lnTo>
                      <a:pt x="108" y="243"/>
                    </a:lnTo>
                    <a:lnTo>
                      <a:pt x="120" y="267"/>
                    </a:lnTo>
                    <a:lnTo>
                      <a:pt x="137" y="260"/>
                    </a:lnTo>
                    <a:lnTo>
                      <a:pt x="151" y="260"/>
                    </a:lnTo>
                    <a:lnTo>
                      <a:pt x="184" y="243"/>
                    </a:lnTo>
                    <a:lnTo>
                      <a:pt x="184" y="234"/>
                    </a:lnTo>
                    <a:lnTo>
                      <a:pt x="184" y="227"/>
                    </a:lnTo>
                    <a:lnTo>
                      <a:pt x="184" y="210"/>
                    </a:lnTo>
                    <a:lnTo>
                      <a:pt x="243" y="193"/>
                    </a:lnTo>
                    <a:lnTo>
                      <a:pt x="276" y="177"/>
                    </a:lnTo>
                    <a:lnTo>
                      <a:pt x="297" y="120"/>
                    </a:lnTo>
                    <a:lnTo>
                      <a:pt x="297" y="111"/>
                    </a:lnTo>
                    <a:lnTo>
                      <a:pt x="323" y="99"/>
                    </a:lnTo>
                    <a:lnTo>
                      <a:pt x="352" y="99"/>
                    </a:lnTo>
                    <a:lnTo>
                      <a:pt x="361" y="78"/>
                    </a:lnTo>
                    <a:lnTo>
                      <a:pt x="406" y="94"/>
                    </a:lnTo>
                    <a:lnTo>
                      <a:pt x="422" y="82"/>
                    </a:lnTo>
                    <a:lnTo>
                      <a:pt x="453" y="82"/>
                    </a:lnTo>
                    <a:lnTo>
                      <a:pt x="470" y="99"/>
                    </a:lnTo>
                    <a:lnTo>
                      <a:pt x="491" y="94"/>
                    </a:lnTo>
                    <a:lnTo>
                      <a:pt x="508" y="99"/>
                    </a:lnTo>
                    <a:lnTo>
                      <a:pt x="508" y="111"/>
                    </a:lnTo>
                    <a:lnTo>
                      <a:pt x="529" y="120"/>
                    </a:lnTo>
                    <a:lnTo>
                      <a:pt x="583" y="94"/>
                    </a:lnTo>
                    <a:lnTo>
                      <a:pt x="616" y="111"/>
                    </a:lnTo>
                    <a:lnTo>
                      <a:pt x="621" y="99"/>
                    </a:lnTo>
                    <a:lnTo>
                      <a:pt x="621" y="82"/>
                    </a:lnTo>
                    <a:lnTo>
                      <a:pt x="633" y="66"/>
                    </a:lnTo>
                    <a:lnTo>
                      <a:pt x="654" y="66"/>
                    </a:lnTo>
                    <a:lnTo>
                      <a:pt x="675" y="78"/>
                    </a:lnTo>
                    <a:lnTo>
                      <a:pt x="685" y="61"/>
                    </a:lnTo>
                    <a:lnTo>
                      <a:pt x="675" y="38"/>
                    </a:lnTo>
                    <a:lnTo>
                      <a:pt x="718" y="0"/>
                    </a:lnTo>
                    <a:lnTo>
                      <a:pt x="730" y="0"/>
                    </a:lnTo>
                    <a:lnTo>
                      <a:pt x="760" y="9"/>
                    </a:lnTo>
                    <a:lnTo>
                      <a:pt x="756" y="42"/>
                    </a:lnTo>
                    <a:lnTo>
                      <a:pt x="777" y="42"/>
                    </a:lnTo>
                    <a:lnTo>
                      <a:pt x="760" y="111"/>
                    </a:lnTo>
                    <a:lnTo>
                      <a:pt x="777" y="139"/>
                    </a:lnTo>
                    <a:lnTo>
                      <a:pt x="784" y="149"/>
                    </a:lnTo>
                    <a:lnTo>
                      <a:pt x="793" y="139"/>
                    </a:lnTo>
                    <a:lnTo>
                      <a:pt x="826" y="115"/>
                    </a:lnTo>
                    <a:lnTo>
                      <a:pt x="852" y="115"/>
                    </a:lnTo>
                    <a:lnTo>
                      <a:pt x="864" y="99"/>
                    </a:lnTo>
                    <a:lnTo>
                      <a:pt x="890" y="78"/>
                    </a:lnTo>
                    <a:lnTo>
                      <a:pt x="933" y="82"/>
                    </a:lnTo>
                    <a:lnTo>
                      <a:pt x="933" y="94"/>
                    </a:lnTo>
                    <a:lnTo>
                      <a:pt x="919" y="94"/>
                    </a:lnTo>
                    <a:lnTo>
                      <a:pt x="923" y="99"/>
                    </a:lnTo>
                    <a:lnTo>
                      <a:pt x="961" y="82"/>
                    </a:lnTo>
                    <a:lnTo>
                      <a:pt x="994" y="82"/>
                    </a:lnTo>
                    <a:lnTo>
                      <a:pt x="1008" y="99"/>
                    </a:lnTo>
                    <a:lnTo>
                      <a:pt x="999" y="99"/>
                    </a:lnTo>
                    <a:lnTo>
                      <a:pt x="999" y="94"/>
                    </a:lnTo>
                    <a:lnTo>
                      <a:pt x="971" y="99"/>
                    </a:lnTo>
                    <a:lnTo>
                      <a:pt x="987" y="115"/>
                    </a:lnTo>
                    <a:lnTo>
                      <a:pt x="987" y="120"/>
                    </a:lnTo>
                    <a:lnTo>
                      <a:pt x="978" y="115"/>
                    </a:lnTo>
                    <a:lnTo>
                      <a:pt x="945" y="132"/>
                    </a:lnTo>
                    <a:lnTo>
                      <a:pt x="923" y="120"/>
                    </a:lnTo>
                    <a:lnTo>
                      <a:pt x="848" y="132"/>
                    </a:lnTo>
                    <a:lnTo>
                      <a:pt x="815" y="139"/>
                    </a:lnTo>
                    <a:lnTo>
                      <a:pt x="784" y="165"/>
                    </a:lnTo>
                    <a:lnTo>
                      <a:pt x="777" y="165"/>
                    </a:lnTo>
                    <a:lnTo>
                      <a:pt x="777" y="172"/>
                    </a:lnTo>
                    <a:lnTo>
                      <a:pt x="756" y="189"/>
                    </a:lnTo>
                    <a:lnTo>
                      <a:pt x="746" y="193"/>
                    </a:lnTo>
                    <a:lnTo>
                      <a:pt x="772" y="210"/>
                    </a:lnTo>
                    <a:lnTo>
                      <a:pt x="777" y="250"/>
                    </a:lnTo>
                    <a:lnTo>
                      <a:pt x="772" y="260"/>
                    </a:lnTo>
                    <a:lnTo>
                      <a:pt x="777" y="267"/>
                    </a:lnTo>
                    <a:lnTo>
                      <a:pt x="772" y="283"/>
                    </a:lnTo>
                    <a:lnTo>
                      <a:pt x="739" y="304"/>
                    </a:lnTo>
                    <a:lnTo>
                      <a:pt x="739" y="316"/>
                    </a:lnTo>
                    <a:lnTo>
                      <a:pt x="730" y="321"/>
                    </a:lnTo>
                    <a:lnTo>
                      <a:pt x="746" y="338"/>
                    </a:lnTo>
                    <a:lnTo>
                      <a:pt x="739" y="361"/>
                    </a:lnTo>
                    <a:lnTo>
                      <a:pt x="701" y="373"/>
                    </a:lnTo>
                    <a:lnTo>
                      <a:pt x="654" y="361"/>
                    </a:lnTo>
                    <a:lnTo>
                      <a:pt x="663" y="378"/>
                    </a:lnTo>
                    <a:lnTo>
                      <a:pt x="663" y="390"/>
                    </a:lnTo>
                    <a:lnTo>
                      <a:pt x="675" y="390"/>
                    </a:lnTo>
                    <a:lnTo>
                      <a:pt x="675" y="399"/>
                    </a:lnTo>
                    <a:lnTo>
                      <a:pt x="685" y="415"/>
                    </a:lnTo>
                    <a:lnTo>
                      <a:pt x="671" y="434"/>
                    </a:lnTo>
                    <a:lnTo>
                      <a:pt x="633" y="444"/>
                    </a:lnTo>
                    <a:lnTo>
                      <a:pt x="633" y="456"/>
                    </a:lnTo>
                    <a:lnTo>
                      <a:pt x="621" y="467"/>
                    </a:lnTo>
                    <a:lnTo>
                      <a:pt x="621" y="472"/>
                    </a:lnTo>
                    <a:lnTo>
                      <a:pt x="616" y="489"/>
                    </a:lnTo>
                    <a:lnTo>
                      <a:pt x="616" y="529"/>
                    </a:lnTo>
                    <a:lnTo>
                      <a:pt x="600" y="555"/>
                    </a:lnTo>
                    <a:lnTo>
                      <a:pt x="583" y="562"/>
                    </a:lnTo>
                    <a:lnTo>
                      <a:pt x="562" y="538"/>
                    </a:lnTo>
                    <a:lnTo>
                      <a:pt x="557" y="545"/>
                    </a:lnTo>
                    <a:lnTo>
                      <a:pt x="562" y="545"/>
                    </a:lnTo>
                    <a:lnTo>
                      <a:pt x="541" y="538"/>
                    </a:lnTo>
                    <a:lnTo>
                      <a:pt x="524" y="555"/>
                    </a:lnTo>
                    <a:lnTo>
                      <a:pt x="491" y="562"/>
                    </a:lnTo>
                    <a:lnTo>
                      <a:pt x="508" y="578"/>
                    </a:lnTo>
                    <a:lnTo>
                      <a:pt x="474" y="583"/>
                    </a:lnTo>
                    <a:lnTo>
                      <a:pt x="453" y="578"/>
                    </a:lnTo>
                    <a:lnTo>
                      <a:pt x="437" y="583"/>
                    </a:lnTo>
                    <a:lnTo>
                      <a:pt x="422" y="612"/>
                    </a:lnTo>
                    <a:lnTo>
                      <a:pt x="415" y="612"/>
                    </a:lnTo>
                    <a:lnTo>
                      <a:pt x="406" y="640"/>
                    </a:lnTo>
                    <a:lnTo>
                      <a:pt x="406" y="668"/>
                    </a:lnTo>
                    <a:lnTo>
                      <a:pt x="399" y="678"/>
                    </a:lnTo>
                    <a:lnTo>
                      <a:pt x="406" y="689"/>
                    </a:lnTo>
                    <a:lnTo>
                      <a:pt x="399" y="694"/>
                    </a:lnTo>
                    <a:lnTo>
                      <a:pt x="314" y="723"/>
                    </a:lnTo>
                    <a:lnTo>
                      <a:pt x="271" y="723"/>
                    </a:lnTo>
                    <a:lnTo>
                      <a:pt x="243" y="727"/>
                    </a:lnTo>
                    <a:lnTo>
                      <a:pt x="217" y="723"/>
                    </a:lnTo>
                    <a:lnTo>
                      <a:pt x="189" y="727"/>
                    </a:lnTo>
                    <a:lnTo>
                      <a:pt x="137" y="727"/>
                    </a:lnTo>
                    <a:lnTo>
                      <a:pt x="23" y="694"/>
                    </a:lnTo>
                    <a:lnTo>
                      <a:pt x="82" y="623"/>
                    </a:lnTo>
                    <a:lnTo>
                      <a:pt x="92" y="600"/>
                    </a:lnTo>
                    <a:lnTo>
                      <a:pt x="82" y="578"/>
                    </a:lnTo>
                    <a:lnTo>
                      <a:pt x="23" y="567"/>
                    </a:lnTo>
                    <a:lnTo>
                      <a:pt x="23" y="529"/>
                    </a:lnTo>
                    <a:lnTo>
                      <a:pt x="23" y="505"/>
                    </a:lnTo>
                    <a:lnTo>
                      <a:pt x="7" y="434"/>
                    </a:lnTo>
                    <a:lnTo>
                      <a:pt x="28" y="399"/>
                    </a:lnTo>
                    <a:lnTo>
                      <a:pt x="0" y="394"/>
                    </a:lnTo>
                    <a:lnTo>
                      <a:pt x="0" y="354"/>
                    </a:lnTo>
                    <a:lnTo>
                      <a:pt x="7" y="338"/>
                    </a:lnTo>
                    <a:lnTo>
                      <a:pt x="23" y="338"/>
                    </a:lnTo>
                    <a:lnTo>
                      <a:pt x="11" y="321"/>
                    </a:lnTo>
                    <a:lnTo>
                      <a:pt x="28" y="316"/>
                    </a:lnTo>
                    <a:lnTo>
                      <a:pt x="37" y="300"/>
                    </a:lnTo>
                    <a:lnTo>
                      <a:pt x="37" y="260"/>
                    </a:lnTo>
                    <a:lnTo>
                      <a:pt x="54" y="234"/>
                    </a:lnTo>
                    <a:lnTo>
                      <a:pt x="54" y="234"/>
                    </a:lnTo>
                    <a:lnTo>
                      <a:pt x="54" y="23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8" name="Freeform 388">
                <a:extLst>
                  <a:ext uri="{FF2B5EF4-FFF2-40B4-BE49-F238E27FC236}">
                    <a16:creationId xmlns:a16="http://schemas.microsoft.com/office/drawing/2014/main" id="{F54AA327-2532-4572-A6AA-498B5D39E755}"/>
                  </a:ext>
                </a:extLst>
              </p:cNvPr>
              <p:cNvSpPr>
                <a:spLocks noEditPoints="1"/>
              </p:cNvSpPr>
              <p:nvPr/>
            </p:nvSpPr>
            <p:spPr bwMode="gray">
              <a:xfrm>
                <a:off x="9987898" y="4363968"/>
                <a:ext cx="1329283" cy="1509351"/>
              </a:xfrm>
              <a:custGeom>
                <a:avLst/>
                <a:gdLst>
                  <a:gd name="T0" fmla="*/ 2050 w 3229"/>
                  <a:gd name="T1" fmla="*/ 41 h 3666"/>
                  <a:gd name="T2" fmla="*/ 2239 w 3229"/>
                  <a:gd name="T3" fmla="*/ 2190 h 3666"/>
                  <a:gd name="T4" fmla="*/ 1939 w 3229"/>
                  <a:gd name="T5" fmla="*/ 2152 h 3666"/>
                  <a:gd name="T6" fmla="*/ 1835 w 3229"/>
                  <a:gd name="T7" fmla="*/ 1930 h 3666"/>
                  <a:gd name="T8" fmla="*/ 1712 w 3229"/>
                  <a:gd name="T9" fmla="*/ 1902 h 3666"/>
                  <a:gd name="T10" fmla="*/ 1603 w 3229"/>
                  <a:gd name="T11" fmla="*/ 1885 h 3666"/>
                  <a:gd name="T12" fmla="*/ 1495 w 3229"/>
                  <a:gd name="T13" fmla="*/ 1746 h 3666"/>
                  <a:gd name="T14" fmla="*/ 1204 w 3229"/>
                  <a:gd name="T15" fmla="*/ 1630 h 3666"/>
                  <a:gd name="T16" fmla="*/ 621 w 3229"/>
                  <a:gd name="T17" fmla="*/ 1815 h 3666"/>
                  <a:gd name="T18" fmla="*/ 309 w 3229"/>
                  <a:gd name="T19" fmla="*/ 1902 h 3666"/>
                  <a:gd name="T20" fmla="*/ 196 w 3229"/>
                  <a:gd name="T21" fmla="*/ 1647 h 3666"/>
                  <a:gd name="T22" fmla="*/ 49 w 3229"/>
                  <a:gd name="T23" fmla="*/ 1243 h 3666"/>
                  <a:gd name="T24" fmla="*/ 33 w 3229"/>
                  <a:gd name="T25" fmla="*/ 1071 h 3666"/>
                  <a:gd name="T26" fmla="*/ 285 w 3229"/>
                  <a:gd name="T27" fmla="*/ 782 h 3666"/>
                  <a:gd name="T28" fmla="*/ 649 w 3229"/>
                  <a:gd name="T29" fmla="*/ 527 h 3666"/>
                  <a:gd name="T30" fmla="*/ 751 w 3229"/>
                  <a:gd name="T31" fmla="*/ 482 h 3666"/>
                  <a:gd name="T32" fmla="*/ 836 w 3229"/>
                  <a:gd name="T33" fmla="*/ 466 h 3666"/>
                  <a:gd name="T34" fmla="*/ 848 w 3229"/>
                  <a:gd name="T35" fmla="*/ 388 h 3666"/>
                  <a:gd name="T36" fmla="*/ 890 w 3229"/>
                  <a:gd name="T37" fmla="*/ 305 h 3666"/>
                  <a:gd name="T38" fmla="*/ 956 w 3229"/>
                  <a:gd name="T39" fmla="*/ 305 h 3666"/>
                  <a:gd name="T40" fmla="*/ 1091 w 3229"/>
                  <a:gd name="T41" fmla="*/ 362 h 3666"/>
                  <a:gd name="T42" fmla="*/ 1171 w 3229"/>
                  <a:gd name="T43" fmla="*/ 345 h 3666"/>
                  <a:gd name="T44" fmla="*/ 1226 w 3229"/>
                  <a:gd name="T45" fmla="*/ 189 h 3666"/>
                  <a:gd name="T46" fmla="*/ 1365 w 3229"/>
                  <a:gd name="T47" fmla="*/ 156 h 3666"/>
                  <a:gd name="T48" fmla="*/ 1419 w 3229"/>
                  <a:gd name="T49" fmla="*/ 123 h 3666"/>
                  <a:gd name="T50" fmla="*/ 1613 w 3229"/>
                  <a:gd name="T51" fmla="*/ 123 h 3666"/>
                  <a:gd name="T52" fmla="*/ 1674 w 3229"/>
                  <a:gd name="T53" fmla="*/ 156 h 3666"/>
                  <a:gd name="T54" fmla="*/ 1603 w 3229"/>
                  <a:gd name="T55" fmla="*/ 305 h 3666"/>
                  <a:gd name="T56" fmla="*/ 1953 w 3229"/>
                  <a:gd name="T57" fmla="*/ 544 h 3666"/>
                  <a:gd name="T58" fmla="*/ 2012 w 3229"/>
                  <a:gd name="T59" fmla="*/ 178 h 3666"/>
                  <a:gd name="T60" fmla="*/ 2121 w 3229"/>
                  <a:gd name="T61" fmla="*/ 140 h 3666"/>
                  <a:gd name="T62" fmla="*/ 2267 w 3229"/>
                  <a:gd name="T63" fmla="*/ 355 h 3666"/>
                  <a:gd name="T64" fmla="*/ 2414 w 3229"/>
                  <a:gd name="T65" fmla="*/ 676 h 3666"/>
                  <a:gd name="T66" fmla="*/ 2548 w 3229"/>
                  <a:gd name="T67" fmla="*/ 832 h 3666"/>
                  <a:gd name="T68" fmla="*/ 2671 w 3229"/>
                  <a:gd name="T69" fmla="*/ 1004 h 3666"/>
                  <a:gd name="T70" fmla="*/ 2822 w 3229"/>
                  <a:gd name="T71" fmla="*/ 1304 h 3666"/>
                  <a:gd name="T72" fmla="*/ 2700 w 3229"/>
                  <a:gd name="T73" fmla="*/ 1774 h 3666"/>
                  <a:gd name="T74" fmla="*/ 2603 w 3229"/>
                  <a:gd name="T75" fmla="*/ 2079 h 3666"/>
                  <a:gd name="T76" fmla="*/ 1667 w 3229"/>
                  <a:gd name="T77" fmla="*/ 67 h 3666"/>
                  <a:gd name="T78" fmla="*/ 1280 w 3229"/>
                  <a:gd name="T79" fmla="*/ 100 h 3666"/>
                  <a:gd name="T80" fmla="*/ 1226 w 3229"/>
                  <a:gd name="T81" fmla="*/ 133 h 3666"/>
                  <a:gd name="T82" fmla="*/ 1684 w 3229"/>
                  <a:gd name="T83" fmla="*/ 300 h 3666"/>
                  <a:gd name="T84" fmla="*/ 1629 w 3229"/>
                  <a:gd name="T85" fmla="*/ 279 h 3666"/>
                  <a:gd name="T86" fmla="*/ 810 w 3229"/>
                  <a:gd name="T87" fmla="*/ 378 h 3666"/>
                  <a:gd name="T88" fmla="*/ 1689 w 3229"/>
                  <a:gd name="T89" fmla="*/ 428 h 3666"/>
                  <a:gd name="T90" fmla="*/ 1835 w 3229"/>
                  <a:gd name="T91" fmla="*/ 489 h 3666"/>
                  <a:gd name="T92" fmla="*/ 2338 w 3229"/>
                  <a:gd name="T93" fmla="*/ 622 h 3666"/>
                  <a:gd name="T94" fmla="*/ 2520 w 3229"/>
                  <a:gd name="T95" fmla="*/ 745 h 3666"/>
                  <a:gd name="T96" fmla="*/ 2629 w 3229"/>
                  <a:gd name="T97" fmla="*/ 910 h 3666"/>
                  <a:gd name="T98" fmla="*/ 2834 w 3229"/>
                  <a:gd name="T99" fmla="*/ 1115 h 3666"/>
                  <a:gd name="T100" fmla="*/ 2839 w 3229"/>
                  <a:gd name="T101" fmla="*/ 1297 h 3666"/>
                  <a:gd name="T102" fmla="*/ 1651 w 3229"/>
                  <a:gd name="T103" fmla="*/ 1980 h 3666"/>
                  <a:gd name="T104" fmla="*/ 2267 w 3229"/>
                  <a:gd name="T105" fmla="*/ 2202 h 3666"/>
                  <a:gd name="T106" fmla="*/ 2187 w 3229"/>
                  <a:gd name="T107" fmla="*/ 2313 h 3666"/>
                  <a:gd name="T108" fmla="*/ 2461 w 3229"/>
                  <a:gd name="T109" fmla="*/ 2363 h 3666"/>
                  <a:gd name="T110" fmla="*/ 2466 w 3229"/>
                  <a:gd name="T111" fmla="*/ 2363 h 3666"/>
                  <a:gd name="T112" fmla="*/ 2305 w 3229"/>
                  <a:gd name="T113" fmla="*/ 2606 h 3666"/>
                  <a:gd name="T114" fmla="*/ 2385 w 3229"/>
                  <a:gd name="T115" fmla="*/ 2417 h 3666"/>
                  <a:gd name="T116" fmla="*/ 2456 w 3229"/>
                  <a:gd name="T117" fmla="*/ 2596 h 3666"/>
                  <a:gd name="T118" fmla="*/ 2390 w 3229"/>
                  <a:gd name="T119" fmla="*/ 2606 h 3666"/>
                  <a:gd name="T120" fmla="*/ 2414 w 3229"/>
                  <a:gd name="T121" fmla="*/ 2596 h 3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29" h="3666">
                    <a:moveTo>
                      <a:pt x="2045" y="12"/>
                    </a:moveTo>
                    <a:lnTo>
                      <a:pt x="2045" y="5"/>
                    </a:lnTo>
                    <a:lnTo>
                      <a:pt x="2045" y="0"/>
                    </a:lnTo>
                    <a:lnTo>
                      <a:pt x="2045" y="12"/>
                    </a:lnTo>
                    <a:lnTo>
                      <a:pt x="2045" y="12"/>
                    </a:lnTo>
                    <a:lnTo>
                      <a:pt x="2045" y="12"/>
                    </a:lnTo>
                    <a:close/>
                    <a:moveTo>
                      <a:pt x="2050" y="12"/>
                    </a:moveTo>
                    <a:lnTo>
                      <a:pt x="2050" y="5"/>
                    </a:lnTo>
                    <a:lnTo>
                      <a:pt x="2062" y="12"/>
                    </a:lnTo>
                    <a:lnTo>
                      <a:pt x="2050" y="12"/>
                    </a:lnTo>
                    <a:lnTo>
                      <a:pt x="2050" y="12"/>
                    </a:lnTo>
                    <a:lnTo>
                      <a:pt x="2050" y="12"/>
                    </a:lnTo>
                    <a:close/>
                    <a:moveTo>
                      <a:pt x="2050" y="57"/>
                    </a:moveTo>
                    <a:lnTo>
                      <a:pt x="2045" y="45"/>
                    </a:lnTo>
                    <a:lnTo>
                      <a:pt x="2050" y="41"/>
                    </a:lnTo>
                    <a:lnTo>
                      <a:pt x="2050" y="45"/>
                    </a:lnTo>
                    <a:lnTo>
                      <a:pt x="2050" y="57"/>
                    </a:lnTo>
                    <a:lnTo>
                      <a:pt x="2050" y="57"/>
                    </a:lnTo>
                    <a:lnTo>
                      <a:pt x="2050" y="57"/>
                    </a:lnTo>
                    <a:close/>
                    <a:moveTo>
                      <a:pt x="2348" y="2247"/>
                    </a:moveTo>
                    <a:lnTo>
                      <a:pt x="2331" y="2219"/>
                    </a:lnTo>
                    <a:lnTo>
                      <a:pt x="2305" y="2223"/>
                    </a:lnTo>
                    <a:lnTo>
                      <a:pt x="2305" y="2202"/>
                    </a:lnTo>
                    <a:lnTo>
                      <a:pt x="2293" y="2207"/>
                    </a:lnTo>
                    <a:lnTo>
                      <a:pt x="2277" y="2190"/>
                    </a:lnTo>
                    <a:lnTo>
                      <a:pt x="2284" y="2181"/>
                    </a:lnTo>
                    <a:lnTo>
                      <a:pt x="2277" y="2169"/>
                    </a:lnTo>
                    <a:lnTo>
                      <a:pt x="2267" y="2169"/>
                    </a:lnTo>
                    <a:lnTo>
                      <a:pt x="2251" y="2190"/>
                    </a:lnTo>
                    <a:lnTo>
                      <a:pt x="2239" y="2190"/>
                    </a:lnTo>
                    <a:lnTo>
                      <a:pt x="2229" y="2181"/>
                    </a:lnTo>
                    <a:lnTo>
                      <a:pt x="2246" y="2181"/>
                    </a:lnTo>
                    <a:lnTo>
                      <a:pt x="2251" y="2164"/>
                    </a:lnTo>
                    <a:lnTo>
                      <a:pt x="2246" y="2136"/>
                    </a:lnTo>
                    <a:lnTo>
                      <a:pt x="2196" y="2164"/>
                    </a:lnTo>
                    <a:lnTo>
                      <a:pt x="2225" y="2164"/>
                    </a:lnTo>
                    <a:lnTo>
                      <a:pt x="2225" y="2181"/>
                    </a:lnTo>
                    <a:lnTo>
                      <a:pt x="2196" y="2181"/>
                    </a:lnTo>
                    <a:lnTo>
                      <a:pt x="2142" y="2223"/>
                    </a:lnTo>
                    <a:lnTo>
                      <a:pt x="2062" y="2181"/>
                    </a:lnTo>
                    <a:lnTo>
                      <a:pt x="2045" y="2185"/>
                    </a:lnTo>
                    <a:lnTo>
                      <a:pt x="2024" y="2169"/>
                    </a:lnTo>
                    <a:lnTo>
                      <a:pt x="2007" y="2185"/>
                    </a:lnTo>
                    <a:lnTo>
                      <a:pt x="1977" y="2164"/>
                    </a:lnTo>
                    <a:lnTo>
                      <a:pt x="1939" y="2152"/>
                    </a:lnTo>
                    <a:lnTo>
                      <a:pt x="1873" y="2079"/>
                    </a:lnTo>
                    <a:lnTo>
                      <a:pt x="1873" y="2058"/>
                    </a:lnTo>
                    <a:lnTo>
                      <a:pt x="1885" y="2053"/>
                    </a:lnTo>
                    <a:lnTo>
                      <a:pt x="1885" y="2025"/>
                    </a:lnTo>
                    <a:lnTo>
                      <a:pt x="1873" y="2001"/>
                    </a:lnTo>
                    <a:lnTo>
                      <a:pt x="1830" y="1959"/>
                    </a:lnTo>
                    <a:lnTo>
                      <a:pt x="1852" y="1968"/>
                    </a:lnTo>
                    <a:lnTo>
                      <a:pt x="1873" y="2001"/>
                    </a:lnTo>
                    <a:lnTo>
                      <a:pt x="1868" y="1985"/>
                    </a:lnTo>
                    <a:lnTo>
                      <a:pt x="1835" y="1959"/>
                    </a:lnTo>
                    <a:lnTo>
                      <a:pt x="1835" y="1942"/>
                    </a:lnTo>
                    <a:lnTo>
                      <a:pt x="1847" y="1959"/>
                    </a:lnTo>
                    <a:lnTo>
                      <a:pt x="1852" y="1959"/>
                    </a:lnTo>
                    <a:lnTo>
                      <a:pt x="1852" y="1930"/>
                    </a:lnTo>
                    <a:lnTo>
                      <a:pt x="1835" y="1930"/>
                    </a:lnTo>
                    <a:lnTo>
                      <a:pt x="1818" y="1942"/>
                    </a:lnTo>
                    <a:lnTo>
                      <a:pt x="1830" y="1947"/>
                    </a:lnTo>
                    <a:lnTo>
                      <a:pt x="1809" y="1947"/>
                    </a:lnTo>
                    <a:lnTo>
                      <a:pt x="1792" y="1959"/>
                    </a:lnTo>
                    <a:lnTo>
                      <a:pt x="1759" y="1959"/>
                    </a:lnTo>
                    <a:lnTo>
                      <a:pt x="1792" y="1930"/>
                    </a:lnTo>
                    <a:lnTo>
                      <a:pt x="1792" y="1909"/>
                    </a:lnTo>
                    <a:lnTo>
                      <a:pt x="1792" y="1874"/>
                    </a:lnTo>
                    <a:lnTo>
                      <a:pt x="1759" y="1831"/>
                    </a:lnTo>
                    <a:lnTo>
                      <a:pt x="1755" y="1857"/>
                    </a:lnTo>
                    <a:lnTo>
                      <a:pt x="1738" y="1914"/>
                    </a:lnTo>
                    <a:lnTo>
                      <a:pt x="1722" y="1909"/>
                    </a:lnTo>
                    <a:lnTo>
                      <a:pt x="1674" y="1926"/>
                    </a:lnTo>
                    <a:lnTo>
                      <a:pt x="1689" y="1893"/>
                    </a:lnTo>
                    <a:lnTo>
                      <a:pt x="1712" y="1902"/>
                    </a:lnTo>
                    <a:lnTo>
                      <a:pt x="1722" y="1874"/>
                    </a:lnTo>
                    <a:lnTo>
                      <a:pt x="1722" y="1836"/>
                    </a:lnTo>
                    <a:lnTo>
                      <a:pt x="1726" y="1815"/>
                    </a:lnTo>
                    <a:lnTo>
                      <a:pt x="1755" y="1791"/>
                    </a:lnTo>
                    <a:lnTo>
                      <a:pt x="1743" y="1765"/>
                    </a:lnTo>
                    <a:lnTo>
                      <a:pt x="1759" y="1746"/>
                    </a:lnTo>
                    <a:lnTo>
                      <a:pt x="1738" y="1704"/>
                    </a:lnTo>
                    <a:lnTo>
                      <a:pt x="1743" y="1741"/>
                    </a:lnTo>
                    <a:lnTo>
                      <a:pt x="1722" y="1746"/>
                    </a:lnTo>
                    <a:lnTo>
                      <a:pt x="1700" y="1798"/>
                    </a:lnTo>
                    <a:lnTo>
                      <a:pt x="1684" y="1798"/>
                    </a:lnTo>
                    <a:lnTo>
                      <a:pt x="1674" y="1803"/>
                    </a:lnTo>
                    <a:lnTo>
                      <a:pt x="1646" y="1819"/>
                    </a:lnTo>
                    <a:lnTo>
                      <a:pt x="1613" y="1869"/>
                    </a:lnTo>
                    <a:lnTo>
                      <a:pt x="1603" y="1885"/>
                    </a:lnTo>
                    <a:lnTo>
                      <a:pt x="1613" y="1885"/>
                    </a:lnTo>
                    <a:lnTo>
                      <a:pt x="1613" y="1902"/>
                    </a:lnTo>
                    <a:lnTo>
                      <a:pt x="1599" y="1893"/>
                    </a:lnTo>
                    <a:lnTo>
                      <a:pt x="1592" y="1902"/>
                    </a:lnTo>
                    <a:lnTo>
                      <a:pt x="1566" y="1869"/>
                    </a:lnTo>
                    <a:lnTo>
                      <a:pt x="1549" y="1869"/>
                    </a:lnTo>
                    <a:lnTo>
                      <a:pt x="1561" y="1852"/>
                    </a:lnTo>
                    <a:lnTo>
                      <a:pt x="1575" y="1874"/>
                    </a:lnTo>
                    <a:lnTo>
                      <a:pt x="1582" y="1869"/>
                    </a:lnTo>
                    <a:lnTo>
                      <a:pt x="1575" y="1869"/>
                    </a:lnTo>
                    <a:lnTo>
                      <a:pt x="1566" y="1819"/>
                    </a:lnTo>
                    <a:lnTo>
                      <a:pt x="1537" y="1791"/>
                    </a:lnTo>
                    <a:lnTo>
                      <a:pt x="1537" y="1782"/>
                    </a:lnTo>
                    <a:lnTo>
                      <a:pt x="1528" y="1758"/>
                    </a:lnTo>
                    <a:lnTo>
                      <a:pt x="1495" y="1746"/>
                    </a:lnTo>
                    <a:lnTo>
                      <a:pt x="1485" y="1720"/>
                    </a:lnTo>
                    <a:lnTo>
                      <a:pt x="1490" y="1725"/>
                    </a:lnTo>
                    <a:lnTo>
                      <a:pt x="1495" y="1720"/>
                    </a:lnTo>
                    <a:lnTo>
                      <a:pt x="1490" y="1704"/>
                    </a:lnTo>
                    <a:lnTo>
                      <a:pt x="1469" y="1704"/>
                    </a:lnTo>
                    <a:lnTo>
                      <a:pt x="1474" y="1692"/>
                    </a:lnTo>
                    <a:lnTo>
                      <a:pt x="1452" y="1670"/>
                    </a:lnTo>
                    <a:lnTo>
                      <a:pt x="1436" y="1680"/>
                    </a:lnTo>
                    <a:lnTo>
                      <a:pt x="1415" y="1680"/>
                    </a:lnTo>
                    <a:lnTo>
                      <a:pt x="1386" y="1654"/>
                    </a:lnTo>
                    <a:lnTo>
                      <a:pt x="1351" y="1663"/>
                    </a:lnTo>
                    <a:lnTo>
                      <a:pt x="1322" y="1637"/>
                    </a:lnTo>
                    <a:lnTo>
                      <a:pt x="1275" y="1614"/>
                    </a:lnTo>
                    <a:lnTo>
                      <a:pt x="1252" y="1630"/>
                    </a:lnTo>
                    <a:lnTo>
                      <a:pt x="1204" y="1630"/>
                    </a:lnTo>
                    <a:lnTo>
                      <a:pt x="1129" y="1637"/>
                    </a:lnTo>
                    <a:lnTo>
                      <a:pt x="1058" y="1670"/>
                    </a:lnTo>
                    <a:lnTo>
                      <a:pt x="1003" y="1687"/>
                    </a:lnTo>
                    <a:lnTo>
                      <a:pt x="911" y="1680"/>
                    </a:lnTo>
                    <a:lnTo>
                      <a:pt x="826" y="1737"/>
                    </a:lnTo>
                    <a:lnTo>
                      <a:pt x="793" y="1741"/>
                    </a:lnTo>
                    <a:lnTo>
                      <a:pt x="784" y="1746"/>
                    </a:lnTo>
                    <a:lnTo>
                      <a:pt x="772" y="1791"/>
                    </a:lnTo>
                    <a:lnTo>
                      <a:pt x="755" y="1803"/>
                    </a:lnTo>
                    <a:lnTo>
                      <a:pt x="718" y="1819"/>
                    </a:lnTo>
                    <a:lnTo>
                      <a:pt x="701" y="1815"/>
                    </a:lnTo>
                    <a:lnTo>
                      <a:pt x="659" y="1815"/>
                    </a:lnTo>
                    <a:lnTo>
                      <a:pt x="642" y="1819"/>
                    </a:lnTo>
                    <a:lnTo>
                      <a:pt x="633" y="1803"/>
                    </a:lnTo>
                    <a:lnTo>
                      <a:pt x="621" y="1815"/>
                    </a:lnTo>
                    <a:lnTo>
                      <a:pt x="595" y="1803"/>
                    </a:lnTo>
                    <a:lnTo>
                      <a:pt x="557" y="1815"/>
                    </a:lnTo>
                    <a:lnTo>
                      <a:pt x="524" y="1819"/>
                    </a:lnTo>
                    <a:lnTo>
                      <a:pt x="498" y="1815"/>
                    </a:lnTo>
                    <a:lnTo>
                      <a:pt x="465" y="1831"/>
                    </a:lnTo>
                    <a:lnTo>
                      <a:pt x="448" y="1857"/>
                    </a:lnTo>
                    <a:lnTo>
                      <a:pt x="444" y="1857"/>
                    </a:lnTo>
                    <a:lnTo>
                      <a:pt x="415" y="1857"/>
                    </a:lnTo>
                    <a:lnTo>
                      <a:pt x="373" y="1893"/>
                    </a:lnTo>
                    <a:lnTo>
                      <a:pt x="340" y="1909"/>
                    </a:lnTo>
                    <a:lnTo>
                      <a:pt x="356" y="1909"/>
                    </a:lnTo>
                    <a:lnTo>
                      <a:pt x="352" y="1914"/>
                    </a:lnTo>
                    <a:lnTo>
                      <a:pt x="335" y="1909"/>
                    </a:lnTo>
                    <a:lnTo>
                      <a:pt x="323" y="1914"/>
                    </a:lnTo>
                    <a:lnTo>
                      <a:pt x="309" y="1902"/>
                    </a:lnTo>
                    <a:lnTo>
                      <a:pt x="255" y="1909"/>
                    </a:lnTo>
                    <a:lnTo>
                      <a:pt x="210" y="1885"/>
                    </a:lnTo>
                    <a:lnTo>
                      <a:pt x="189" y="1857"/>
                    </a:lnTo>
                    <a:lnTo>
                      <a:pt x="163" y="1848"/>
                    </a:lnTo>
                    <a:lnTo>
                      <a:pt x="158" y="1852"/>
                    </a:lnTo>
                    <a:lnTo>
                      <a:pt x="146" y="1848"/>
                    </a:lnTo>
                    <a:lnTo>
                      <a:pt x="141" y="1782"/>
                    </a:lnTo>
                    <a:lnTo>
                      <a:pt x="158" y="1791"/>
                    </a:lnTo>
                    <a:lnTo>
                      <a:pt x="172" y="1791"/>
                    </a:lnTo>
                    <a:lnTo>
                      <a:pt x="196" y="1765"/>
                    </a:lnTo>
                    <a:lnTo>
                      <a:pt x="189" y="1720"/>
                    </a:lnTo>
                    <a:lnTo>
                      <a:pt x="196" y="1704"/>
                    </a:lnTo>
                    <a:lnTo>
                      <a:pt x="189" y="1708"/>
                    </a:lnTo>
                    <a:lnTo>
                      <a:pt x="196" y="1725"/>
                    </a:lnTo>
                    <a:lnTo>
                      <a:pt x="196" y="1647"/>
                    </a:lnTo>
                    <a:lnTo>
                      <a:pt x="146" y="1543"/>
                    </a:lnTo>
                    <a:lnTo>
                      <a:pt x="141" y="1503"/>
                    </a:lnTo>
                    <a:lnTo>
                      <a:pt x="141" y="1465"/>
                    </a:lnTo>
                    <a:lnTo>
                      <a:pt x="134" y="1441"/>
                    </a:lnTo>
                    <a:lnTo>
                      <a:pt x="120" y="1408"/>
                    </a:lnTo>
                    <a:lnTo>
                      <a:pt x="108" y="1387"/>
                    </a:lnTo>
                    <a:lnTo>
                      <a:pt x="87" y="1354"/>
                    </a:lnTo>
                    <a:lnTo>
                      <a:pt x="87" y="1314"/>
                    </a:lnTo>
                    <a:lnTo>
                      <a:pt x="70" y="1281"/>
                    </a:lnTo>
                    <a:lnTo>
                      <a:pt x="16" y="1210"/>
                    </a:lnTo>
                    <a:lnTo>
                      <a:pt x="28" y="1193"/>
                    </a:lnTo>
                    <a:lnTo>
                      <a:pt x="28" y="1210"/>
                    </a:lnTo>
                    <a:lnTo>
                      <a:pt x="33" y="1203"/>
                    </a:lnTo>
                    <a:lnTo>
                      <a:pt x="37" y="1210"/>
                    </a:lnTo>
                    <a:lnTo>
                      <a:pt x="49" y="1243"/>
                    </a:lnTo>
                    <a:lnTo>
                      <a:pt x="66" y="1226"/>
                    </a:lnTo>
                    <a:lnTo>
                      <a:pt x="66" y="1210"/>
                    </a:lnTo>
                    <a:lnTo>
                      <a:pt x="37" y="1193"/>
                    </a:lnTo>
                    <a:lnTo>
                      <a:pt x="33" y="1170"/>
                    </a:lnTo>
                    <a:lnTo>
                      <a:pt x="37" y="1153"/>
                    </a:lnTo>
                    <a:lnTo>
                      <a:pt x="54" y="1182"/>
                    </a:lnTo>
                    <a:lnTo>
                      <a:pt x="54" y="1203"/>
                    </a:lnTo>
                    <a:lnTo>
                      <a:pt x="66" y="1193"/>
                    </a:lnTo>
                    <a:lnTo>
                      <a:pt x="82" y="1226"/>
                    </a:lnTo>
                    <a:lnTo>
                      <a:pt x="87" y="1210"/>
                    </a:lnTo>
                    <a:lnTo>
                      <a:pt x="87" y="1203"/>
                    </a:lnTo>
                    <a:lnTo>
                      <a:pt x="92" y="1182"/>
                    </a:lnTo>
                    <a:lnTo>
                      <a:pt x="54" y="1127"/>
                    </a:lnTo>
                    <a:lnTo>
                      <a:pt x="49" y="1094"/>
                    </a:lnTo>
                    <a:lnTo>
                      <a:pt x="33" y="1071"/>
                    </a:lnTo>
                    <a:lnTo>
                      <a:pt x="37" y="1021"/>
                    </a:lnTo>
                    <a:lnTo>
                      <a:pt x="54" y="1000"/>
                    </a:lnTo>
                    <a:lnTo>
                      <a:pt x="66" y="959"/>
                    </a:lnTo>
                    <a:lnTo>
                      <a:pt x="49" y="931"/>
                    </a:lnTo>
                    <a:lnTo>
                      <a:pt x="70" y="889"/>
                    </a:lnTo>
                    <a:lnTo>
                      <a:pt x="87" y="872"/>
                    </a:lnTo>
                    <a:lnTo>
                      <a:pt x="82" y="893"/>
                    </a:lnTo>
                    <a:lnTo>
                      <a:pt x="87" y="926"/>
                    </a:lnTo>
                    <a:lnTo>
                      <a:pt x="104" y="915"/>
                    </a:lnTo>
                    <a:lnTo>
                      <a:pt x="120" y="872"/>
                    </a:lnTo>
                    <a:lnTo>
                      <a:pt x="179" y="848"/>
                    </a:lnTo>
                    <a:lnTo>
                      <a:pt x="210" y="815"/>
                    </a:lnTo>
                    <a:lnTo>
                      <a:pt x="264" y="782"/>
                    </a:lnTo>
                    <a:lnTo>
                      <a:pt x="271" y="794"/>
                    </a:lnTo>
                    <a:lnTo>
                      <a:pt x="285" y="782"/>
                    </a:lnTo>
                    <a:lnTo>
                      <a:pt x="309" y="794"/>
                    </a:lnTo>
                    <a:lnTo>
                      <a:pt x="335" y="782"/>
                    </a:lnTo>
                    <a:lnTo>
                      <a:pt x="361" y="761"/>
                    </a:lnTo>
                    <a:lnTo>
                      <a:pt x="411" y="761"/>
                    </a:lnTo>
                    <a:lnTo>
                      <a:pt x="432" y="733"/>
                    </a:lnTo>
                    <a:lnTo>
                      <a:pt x="465" y="745"/>
                    </a:lnTo>
                    <a:lnTo>
                      <a:pt x="519" y="728"/>
                    </a:lnTo>
                    <a:lnTo>
                      <a:pt x="566" y="704"/>
                    </a:lnTo>
                    <a:lnTo>
                      <a:pt x="595" y="671"/>
                    </a:lnTo>
                    <a:lnTo>
                      <a:pt x="621" y="617"/>
                    </a:lnTo>
                    <a:lnTo>
                      <a:pt x="633" y="617"/>
                    </a:lnTo>
                    <a:lnTo>
                      <a:pt x="659" y="593"/>
                    </a:lnTo>
                    <a:lnTo>
                      <a:pt x="659" y="584"/>
                    </a:lnTo>
                    <a:lnTo>
                      <a:pt x="649" y="577"/>
                    </a:lnTo>
                    <a:lnTo>
                      <a:pt x="649" y="527"/>
                    </a:lnTo>
                    <a:lnTo>
                      <a:pt x="663" y="511"/>
                    </a:lnTo>
                    <a:lnTo>
                      <a:pt x="675" y="506"/>
                    </a:lnTo>
                    <a:lnTo>
                      <a:pt x="675" y="499"/>
                    </a:lnTo>
                    <a:lnTo>
                      <a:pt x="687" y="489"/>
                    </a:lnTo>
                    <a:lnTo>
                      <a:pt x="687" y="482"/>
                    </a:lnTo>
                    <a:lnTo>
                      <a:pt x="696" y="466"/>
                    </a:lnTo>
                    <a:lnTo>
                      <a:pt x="713" y="466"/>
                    </a:lnTo>
                    <a:lnTo>
                      <a:pt x="701" y="482"/>
                    </a:lnTo>
                    <a:lnTo>
                      <a:pt x="739" y="556"/>
                    </a:lnTo>
                    <a:lnTo>
                      <a:pt x="751" y="511"/>
                    </a:lnTo>
                    <a:lnTo>
                      <a:pt x="772" y="527"/>
                    </a:lnTo>
                    <a:lnTo>
                      <a:pt x="755" y="511"/>
                    </a:lnTo>
                    <a:lnTo>
                      <a:pt x="767" y="506"/>
                    </a:lnTo>
                    <a:lnTo>
                      <a:pt x="755" y="506"/>
                    </a:lnTo>
                    <a:lnTo>
                      <a:pt x="751" y="482"/>
                    </a:lnTo>
                    <a:lnTo>
                      <a:pt x="734" y="473"/>
                    </a:lnTo>
                    <a:lnTo>
                      <a:pt x="751" y="473"/>
                    </a:lnTo>
                    <a:lnTo>
                      <a:pt x="755" y="466"/>
                    </a:lnTo>
                    <a:lnTo>
                      <a:pt x="755" y="456"/>
                    </a:lnTo>
                    <a:lnTo>
                      <a:pt x="739" y="456"/>
                    </a:lnTo>
                    <a:lnTo>
                      <a:pt x="739" y="449"/>
                    </a:lnTo>
                    <a:lnTo>
                      <a:pt x="755" y="449"/>
                    </a:lnTo>
                    <a:lnTo>
                      <a:pt x="767" y="449"/>
                    </a:lnTo>
                    <a:lnTo>
                      <a:pt x="755" y="456"/>
                    </a:lnTo>
                    <a:lnTo>
                      <a:pt x="767" y="466"/>
                    </a:lnTo>
                    <a:lnTo>
                      <a:pt x="772" y="456"/>
                    </a:lnTo>
                    <a:lnTo>
                      <a:pt x="789" y="456"/>
                    </a:lnTo>
                    <a:lnTo>
                      <a:pt x="789" y="466"/>
                    </a:lnTo>
                    <a:lnTo>
                      <a:pt x="805" y="466"/>
                    </a:lnTo>
                    <a:lnTo>
                      <a:pt x="836" y="466"/>
                    </a:lnTo>
                    <a:lnTo>
                      <a:pt x="805" y="456"/>
                    </a:lnTo>
                    <a:lnTo>
                      <a:pt x="805" y="445"/>
                    </a:lnTo>
                    <a:lnTo>
                      <a:pt x="810" y="449"/>
                    </a:lnTo>
                    <a:lnTo>
                      <a:pt x="822" y="445"/>
                    </a:lnTo>
                    <a:lnTo>
                      <a:pt x="822" y="433"/>
                    </a:lnTo>
                    <a:lnTo>
                      <a:pt x="826" y="428"/>
                    </a:lnTo>
                    <a:lnTo>
                      <a:pt x="822" y="416"/>
                    </a:lnTo>
                    <a:lnTo>
                      <a:pt x="810" y="433"/>
                    </a:lnTo>
                    <a:lnTo>
                      <a:pt x="805" y="428"/>
                    </a:lnTo>
                    <a:lnTo>
                      <a:pt x="805" y="400"/>
                    </a:lnTo>
                    <a:lnTo>
                      <a:pt x="822" y="395"/>
                    </a:lnTo>
                    <a:lnTo>
                      <a:pt x="826" y="378"/>
                    </a:lnTo>
                    <a:lnTo>
                      <a:pt x="859" y="400"/>
                    </a:lnTo>
                    <a:lnTo>
                      <a:pt x="848" y="395"/>
                    </a:lnTo>
                    <a:lnTo>
                      <a:pt x="848" y="388"/>
                    </a:lnTo>
                    <a:lnTo>
                      <a:pt x="836" y="388"/>
                    </a:lnTo>
                    <a:lnTo>
                      <a:pt x="848" y="371"/>
                    </a:lnTo>
                    <a:lnTo>
                      <a:pt x="836" y="378"/>
                    </a:lnTo>
                    <a:lnTo>
                      <a:pt x="836" y="371"/>
                    </a:lnTo>
                    <a:lnTo>
                      <a:pt x="848" y="362"/>
                    </a:lnTo>
                    <a:lnTo>
                      <a:pt x="859" y="378"/>
                    </a:lnTo>
                    <a:lnTo>
                      <a:pt x="859" y="362"/>
                    </a:lnTo>
                    <a:lnTo>
                      <a:pt x="864" y="371"/>
                    </a:lnTo>
                    <a:lnTo>
                      <a:pt x="874" y="371"/>
                    </a:lnTo>
                    <a:lnTo>
                      <a:pt x="859" y="362"/>
                    </a:lnTo>
                    <a:lnTo>
                      <a:pt x="864" y="355"/>
                    </a:lnTo>
                    <a:lnTo>
                      <a:pt x="859" y="345"/>
                    </a:lnTo>
                    <a:lnTo>
                      <a:pt x="864" y="334"/>
                    </a:lnTo>
                    <a:lnTo>
                      <a:pt x="890" y="334"/>
                    </a:lnTo>
                    <a:lnTo>
                      <a:pt x="890" y="305"/>
                    </a:lnTo>
                    <a:lnTo>
                      <a:pt x="897" y="305"/>
                    </a:lnTo>
                    <a:lnTo>
                      <a:pt x="890" y="338"/>
                    </a:lnTo>
                    <a:lnTo>
                      <a:pt x="897" y="317"/>
                    </a:lnTo>
                    <a:lnTo>
                      <a:pt x="902" y="322"/>
                    </a:lnTo>
                    <a:lnTo>
                      <a:pt x="911" y="338"/>
                    </a:lnTo>
                    <a:lnTo>
                      <a:pt x="918" y="334"/>
                    </a:lnTo>
                    <a:lnTo>
                      <a:pt x="928" y="300"/>
                    </a:lnTo>
                    <a:lnTo>
                      <a:pt x="918" y="284"/>
                    </a:lnTo>
                    <a:lnTo>
                      <a:pt x="928" y="284"/>
                    </a:lnTo>
                    <a:lnTo>
                      <a:pt x="928" y="289"/>
                    </a:lnTo>
                    <a:lnTo>
                      <a:pt x="935" y="305"/>
                    </a:lnTo>
                    <a:lnTo>
                      <a:pt x="944" y="289"/>
                    </a:lnTo>
                    <a:lnTo>
                      <a:pt x="949" y="284"/>
                    </a:lnTo>
                    <a:lnTo>
                      <a:pt x="949" y="289"/>
                    </a:lnTo>
                    <a:lnTo>
                      <a:pt x="956" y="305"/>
                    </a:lnTo>
                    <a:lnTo>
                      <a:pt x="973" y="284"/>
                    </a:lnTo>
                    <a:lnTo>
                      <a:pt x="966" y="279"/>
                    </a:lnTo>
                    <a:lnTo>
                      <a:pt x="973" y="267"/>
                    </a:lnTo>
                    <a:lnTo>
                      <a:pt x="987" y="279"/>
                    </a:lnTo>
                    <a:lnTo>
                      <a:pt x="999" y="284"/>
                    </a:lnTo>
                    <a:lnTo>
                      <a:pt x="1011" y="284"/>
                    </a:lnTo>
                    <a:lnTo>
                      <a:pt x="1053" y="334"/>
                    </a:lnTo>
                    <a:lnTo>
                      <a:pt x="1063" y="338"/>
                    </a:lnTo>
                    <a:lnTo>
                      <a:pt x="1058" y="400"/>
                    </a:lnTo>
                    <a:lnTo>
                      <a:pt x="1063" y="378"/>
                    </a:lnTo>
                    <a:lnTo>
                      <a:pt x="1074" y="395"/>
                    </a:lnTo>
                    <a:lnTo>
                      <a:pt x="1063" y="371"/>
                    </a:lnTo>
                    <a:lnTo>
                      <a:pt x="1079" y="355"/>
                    </a:lnTo>
                    <a:lnTo>
                      <a:pt x="1079" y="362"/>
                    </a:lnTo>
                    <a:lnTo>
                      <a:pt x="1091" y="362"/>
                    </a:lnTo>
                    <a:lnTo>
                      <a:pt x="1079" y="345"/>
                    </a:lnTo>
                    <a:lnTo>
                      <a:pt x="1096" y="345"/>
                    </a:lnTo>
                    <a:lnTo>
                      <a:pt x="1133" y="355"/>
                    </a:lnTo>
                    <a:lnTo>
                      <a:pt x="1133" y="362"/>
                    </a:lnTo>
                    <a:lnTo>
                      <a:pt x="1133" y="378"/>
                    </a:lnTo>
                    <a:lnTo>
                      <a:pt x="1145" y="371"/>
                    </a:lnTo>
                    <a:lnTo>
                      <a:pt x="1145" y="355"/>
                    </a:lnTo>
                    <a:lnTo>
                      <a:pt x="1150" y="355"/>
                    </a:lnTo>
                    <a:lnTo>
                      <a:pt x="1171" y="378"/>
                    </a:lnTo>
                    <a:lnTo>
                      <a:pt x="1166" y="362"/>
                    </a:lnTo>
                    <a:lnTo>
                      <a:pt x="1171" y="345"/>
                    </a:lnTo>
                    <a:lnTo>
                      <a:pt x="1183" y="355"/>
                    </a:lnTo>
                    <a:lnTo>
                      <a:pt x="1188" y="345"/>
                    </a:lnTo>
                    <a:lnTo>
                      <a:pt x="1183" y="345"/>
                    </a:lnTo>
                    <a:lnTo>
                      <a:pt x="1171" y="345"/>
                    </a:lnTo>
                    <a:lnTo>
                      <a:pt x="1166" y="334"/>
                    </a:lnTo>
                    <a:lnTo>
                      <a:pt x="1183" y="334"/>
                    </a:lnTo>
                    <a:lnTo>
                      <a:pt x="1166" y="334"/>
                    </a:lnTo>
                    <a:lnTo>
                      <a:pt x="1150" y="322"/>
                    </a:lnTo>
                    <a:lnTo>
                      <a:pt x="1150" y="317"/>
                    </a:lnTo>
                    <a:lnTo>
                      <a:pt x="1162" y="300"/>
                    </a:lnTo>
                    <a:lnTo>
                      <a:pt x="1171" y="289"/>
                    </a:lnTo>
                    <a:lnTo>
                      <a:pt x="1188" y="251"/>
                    </a:lnTo>
                    <a:lnTo>
                      <a:pt x="1200" y="251"/>
                    </a:lnTo>
                    <a:lnTo>
                      <a:pt x="1214" y="234"/>
                    </a:lnTo>
                    <a:lnTo>
                      <a:pt x="1204" y="227"/>
                    </a:lnTo>
                    <a:lnTo>
                      <a:pt x="1204" y="211"/>
                    </a:lnTo>
                    <a:lnTo>
                      <a:pt x="1221" y="211"/>
                    </a:lnTo>
                    <a:lnTo>
                      <a:pt x="1221" y="189"/>
                    </a:lnTo>
                    <a:lnTo>
                      <a:pt x="1226" y="189"/>
                    </a:lnTo>
                    <a:lnTo>
                      <a:pt x="1242" y="194"/>
                    </a:lnTo>
                    <a:lnTo>
                      <a:pt x="1237" y="189"/>
                    </a:lnTo>
                    <a:lnTo>
                      <a:pt x="1237" y="173"/>
                    </a:lnTo>
                    <a:lnTo>
                      <a:pt x="1252" y="173"/>
                    </a:lnTo>
                    <a:lnTo>
                      <a:pt x="1259" y="189"/>
                    </a:lnTo>
                    <a:lnTo>
                      <a:pt x="1268" y="178"/>
                    </a:lnTo>
                    <a:lnTo>
                      <a:pt x="1252" y="173"/>
                    </a:lnTo>
                    <a:lnTo>
                      <a:pt x="1259" y="168"/>
                    </a:lnTo>
                    <a:lnTo>
                      <a:pt x="1268" y="173"/>
                    </a:lnTo>
                    <a:lnTo>
                      <a:pt x="1268" y="156"/>
                    </a:lnTo>
                    <a:lnTo>
                      <a:pt x="1296" y="168"/>
                    </a:lnTo>
                    <a:lnTo>
                      <a:pt x="1344" y="168"/>
                    </a:lnTo>
                    <a:lnTo>
                      <a:pt x="1360" y="156"/>
                    </a:lnTo>
                    <a:lnTo>
                      <a:pt x="1365" y="173"/>
                    </a:lnTo>
                    <a:lnTo>
                      <a:pt x="1365" y="156"/>
                    </a:lnTo>
                    <a:lnTo>
                      <a:pt x="1386" y="152"/>
                    </a:lnTo>
                    <a:lnTo>
                      <a:pt x="1381" y="152"/>
                    </a:lnTo>
                    <a:lnTo>
                      <a:pt x="1381" y="116"/>
                    </a:lnTo>
                    <a:lnTo>
                      <a:pt x="1365" y="100"/>
                    </a:lnTo>
                    <a:lnTo>
                      <a:pt x="1344" y="111"/>
                    </a:lnTo>
                    <a:lnTo>
                      <a:pt x="1334" y="95"/>
                    </a:lnTo>
                    <a:lnTo>
                      <a:pt x="1322" y="95"/>
                    </a:lnTo>
                    <a:lnTo>
                      <a:pt x="1334" y="78"/>
                    </a:lnTo>
                    <a:lnTo>
                      <a:pt x="1351" y="100"/>
                    </a:lnTo>
                    <a:lnTo>
                      <a:pt x="1351" y="95"/>
                    </a:lnTo>
                    <a:lnTo>
                      <a:pt x="1344" y="78"/>
                    </a:lnTo>
                    <a:lnTo>
                      <a:pt x="1360" y="78"/>
                    </a:lnTo>
                    <a:lnTo>
                      <a:pt x="1381" y="111"/>
                    </a:lnTo>
                    <a:lnTo>
                      <a:pt x="1398" y="95"/>
                    </a:lnTo>
                    <a:lnTo>
                      <a:pt x="1419" y="123"/>
                    </a:lnTo>
                    <a:lnTo>
                      <a:pt x="1431" y="116"/>
                    </a:lnTo>
                    <a:lnTo>
                      <a:pt x="1452" y="133"/>
                    </a:lnTo>
                    <a:lnTo>
                      <a:pt x="1469" y="123"/>
                    </a:lnTo>
                    <a:lnTo>
                      <a:pt x="1469" y="133"/>
                    </a:lnTo>
                    <a:lnTo>
                      <a:pt x="1474" y="133"/>
                    </a:lnTo>
                    <a:lnTo>
                      <a:pt x="1485" y="133"/>
                    </a:lnTo>
                    <a:lnTo>
                      <a:pt x="1490" y="152"/>
                    </a:lnTo>
                    <a:lnTo>
                      <a:pt x="1528" y="140"/>
                    </a:lnTo>
                    <a:lnTo>
                      <a:pt x="1537" y="152"/>
                    </a:lnTo>
                    <a:lnTo>
                      <a:pt x="1561" y="168"/>
                    </a:lnTo>
                    <a:lnTo>
                      <a:pt x="1566" y="152"/>
                    </a:lnTo>
                    <a:lnTo>
                      <a:pt x="1592" y="152"/>
                    </a:lnTo>
                    <a:lnTo>
                      <a:pt x="1592" y="140"/>
                    </a:lnTo>
                    <a:lnTo>
                      <a:pt x="1599" y="140"/>
                    </a:lnTo>
                    <a:lnTo>
                      <a:pt x="1613" y="123"/>
                    </a:lnTo>
                    <a:lnTo>
                      <a:pt x="1599" y="140"/>
                    </a:lnTo>
                    <a:lnTo>
                      <a:pt x="1599" y="152"/>
                    </a:lnTo>
                    <a:lnTo>
                      <a:pt x="1592" y="156"/>
                    </a:lnTo>
                    <a:lnTo>
                      <a:pt x="1599" y="168"/>
                    </a:lnTo>
                    <a:lnTo>
                      <a:pt x="1620" y="152"/>
                    </a:lnTo>
                    <a:lnTo>
                      <a:pt x="1613" y="156"/>
                    </a:lnTo>
                    <a:lnTo>
                      <a:pt x="1620" y="156"/>
                    </a:lnTo>
                    <a:lnTo>
                      <a:pt x="1613" y="173"/>
                    </a:lnTo>
                    <a:lnTo>
                      <a:pt x="1620" y="178"/>
                    </a:lnTo>
                    <a:lnTo>
                      <a:pt x="1637" y="173"/>
                    </a:lnTo>
                    <a:lnTo>
                      <a:pt x="1646" y="156"/>
                    </a:lnTo>
                    <a:lnTo>
                      <a:pt x="1629" y="156"/>
                    </a:lnTo>
                    <a:lnTo>
                      <a:pt x="1658" y="140"/>
                    </a:lnTo>
                    <a:lnTo>
                      <a:pt x="1658" y="168"/>
                    </a:lnTo>
                    <a:lnTo>
                      <a:pt x="1674" y="156"/>
                    </a:lnTo>
                    <a:lnTo>
                      <a:pt x="1684" y="173"/>
                    </a:lnTo>
                    <a:lnTo>
                      <a:pt x="1667" y="178"/>
                    </a:lnTo>
                    <a:lnTo>
                      <a:pt x="1658" y="206"/>
                    </a:lnTo>
                    <a:lnTo>
                      <a:pt x="1651" y="194"/>
                    </a:lnTo>
                    <a:lnTo>
                      <a:pt x="1651" y="222"/>
                    </a:lnTo>
                    <a:lnTo>
                      <a:pt x="1651" y="234"/>
                    </a:lnTo>
                    <a:lnTo>
                      <a:pt x="1646" y="234"/>
                    </a:lnTo>
                    <a:lnTo>
                      <a:pt x="1646" y="222"/>
                    </a:lnTo>
                    <a:lnTo>
                      <a:pt x="1629" y="234"/>
                    </a:lnTo>
                    <a:lnTo>
                      <a:pt x="1620" y="227"/>
                    </a:lnTo>
                    <a:lnTo>
                      <a:pt x="1613" y="234"/>
                    </a:lnTo>
                    <a:lnTo>
                      <a:pt x="1603" y="260"/>
                    </a:lnTo>
                    <a:lnTo>
                      <a:pt x="1603" y="267"/>
                    </a:lnTo>
                    <a:lnTo>
                      <a:pt x="1620" y="267"/>
                    </a:lnTo>
                    <a:lnTo>
                      <a:pt x="1603" y="305"/>
                    </a:lnTo>
                    <a:lnTo>
                      <a:pt x="1592" y="322"/>
                    </a:lnTo>
                    <a:lnTo>
                      <a:pt x="1582" y="338"/>
                    </a:lnTo>
                    <a:lnTo>
                      <a:pt x="1575" y="338"/>
                    </a:lnTo>
                    <a:lnTo>
                      <a:pt x="1575" y="355"/>
                    </a:lnTo>
                    <a:lnTo>
                      <a:pt x="1629" y="395"/>
                    </a:lnTo>
                    <a:lnTo>
                      <a:pt x="1637" y="400"/>
                    </a:lnTo>
                    <a:lnTo>
                      <a:pt x="1667" y="428"/>
                    </a:lnTo>
                    <a:lnTo>
                      <a:pt x="1689" y="428"/>
                    </a:lnTo>
                    <a:lnTo>
                      <a:pt x="1738" y="456"/>
                    </a:lnTo>
                    <a:lnTo>
                      <a:pt x="1764" y="489"/>
                    </a:lnTo>
                    <a:lnTo>
                      <a:pt x="1830" y="506"/>
                    </a:lnTo>
                    <a:lnTo>
                      <a:pt x="1847" y="539"/>
                    </a:lnTo>
                    <a:lnTo>
                      <a:pt x="1901" y="560"/>
                    </a:lnTo>
                    <a:lnTo>
                      <a:pt x="1927" y="560"/>
                    </a:lnTo>
                    <a:lnTo>
                      <a:pt x="1953" y="544"/>
                    </a:lnTo>
                    <a:lnTo>
                      <a:pt x="1960" y="511"/>
                    </a:lnTo>
                    <a:lnTo>
                      <a:pt x="1981" y="482"/>
                    </a:lnTo>
                    <a:lnTo>
                      <a:pt x="1998" y="445"/>
                    </a:lnTo>
                    <a:lnTo>
                      <a:pt x="1998" y="400"/>
                    </a:lnTo>
                    <a:lnTo>
                      <a:pt x="2012" y="362"/>
                    </a:lnTo>
                    <a:lnTo>
                      <a:pt x="2007" y="322"/>
                    </a:lnTo>
                    <a:lnTo>
                      <a:pt x="2007" y="300"/>
                    </a:lnTo>
                    <a:lnTo>
                      <a:pt x="1998" y="279"/>
                    </a:lnTo>
                    <a:lnTo>
                      <a:pt x="2012" y="234"/>
                    </a:lnTo>
                    <a:lnTo>
                      <a:pt x="2007" y="211"/>
                    </a:lnTo>
                    <a:lnTo>
                      <a:pt x="2024" y="194"/>
                    </a:lnTo>
                    <a:lnTo>
                      <a:pt x="2029" y="206"/>
                    </a:lnTo>
                    <a:lnTo>
                      <a:pt x="2024" y="178"/>
                    </a:lnTo>
                    <a:lnTo>
                      <a:pt x="2012" y="173"/>
                    </a:lnTo>
                    <a:lnTo>
                      <a:pt x="2012" y="178"/>
                    </a:lnTo>
                    <a:lnTo>
                      <a:pt x="2007" y="178"/>
                    </a:lnTo>
                    <a:lnTo>
                      <a:pt x="2029" y="140"/>
                    </a:lnTo>
                    <a:lnTo>
                      <a:pt x="2029" y="152"/>
                    </a:lnTo>
                    <a:lnTo>
                      <a:pt x="2036" y="152"/>
                    </a:lnTo>
                    <a:lnTo>
                      <a:pt x="2029" y="140"/>
                    </a:lnTo>
                    <a:lnTo>
                      <a:pt x="2045" y="95"/>
                    </a:lnTo>
                    <a:lnTo>
                      <a:pt x="2045" y="67"/>
                    </a:lnTo>
                    <a:lnTo>
                      <a:pt x="2062" y="62"/>
                    </a:lnTo>
                    <a:lnTo>
                      <a:pt x="2066" y="45"/>
                    </a:lnTo>
                    <a:lnTo>
                      <a:pt x="2078" y="57"/>
                    </a:lnTo>
                    <a:lnTo>
                      <a:pt x="2066" y="67"/>
                    </a:lnTo>
                    <a:lnTo>
                      <a:pt x="2078" y="62"/>
                    </a:lnTo>
                    <a:lnTo>
                      <a:pt x="2088" y="78"/>
                    </a:lnTo>
                    <a:lnTo>
                      <a:pt x="2100" y="133"/>
                    </a:lnTo>
                    <a:lnTo>
                      <a:pt x="2121" y="140"/>
                    </a:lnTo>
                    <a:lnTo>
                      <a:pt x="2116" y="168"/>
                    </a:lnTo>
                    <a:lnTo>
                      <a:pt x="2133" y="173"/>
                    </a:lnTo>
                    <a:lnTo>
                      <a:pt x="2133" y="178"/>
                    </a:lnTo>
                    <a:lnTo>
                      <a:pt x="2137" y="189"/>
                    </a:lnTo>
                    <a:lnTo>
                      <a:pt x="2133" y="206"/>
                    </a:lnTo>
                    <a:lnTo>
                      <a:pt x="2142" y="206"/>
                    </a:lnTo>
                    <a:lnTo>
                      <a:pt x="2142" y="251"/>
                    </a:lnTo>
                    <a:lnTo>
                      <a:pt x="2142" y="267"/>
                    </a:lnTo>
                    <a:lnTo>
                      <a:pt x="2159" y="322"/>
                    </a:lnTo>
                    <a:lnTo>
                      <a:pt x="2175" y="322"/>
                    </a:lnTo>
                    <a:lnTo>
                      <a:pt x="2213" y="300"/>
                    </a:lnTo>
                    <a:lnTo>
                      <a:pt x="2225" y="334"/>
                    </a:lnTo>
                    <a:lnTo>
                      <a:pt x="2239" y="334"/>
                    </a:lnTo>
                    <a:lnTo>
                      <a:pt x="2246" y="345"/>
                    </a:lnTo>
                    <a:lnTo>
                      <a:pt x="2267" y="355"/>
                    </a:lnTo>
                    <a:lnTo>
                      <a:pt x="2263" y="371"/>
                    </a:lnTo>
                    <a:lnTo>
                      <a:pt x="2263" y="395"/>
                    </a:lnTo>
                    <a:lnTo>
                      <a:pt x="2277" y="445"/>
                    </a:lnTo>
                    <a:lnTo>
                      <a:pt x="2277" y="473"/>
                    </a:lnTo>
                    <a:lnTo>
                      <a:pt x="2305" y="506"/>
                    </a:lnTo>
                    <a:lnTo>
                      <a:pt x="2315" y="506"/>
                    </a:lnTo>
                    <a:lnTo>
                      <a:pt x="2305" y="511"/>
                    </a:lnTo>
                    <a:lnTo>
                      <a:pt x="2322" y="560"/>
                    </a:lnTo>
                    <a:lnTo>
                      <a:pt x="2315" y="600"/>
                    </a:lnTo>
                    <a:lnTo>
                      <a:pt x="2338" y="622"/>
                    </a:lnTo>
                    <a:lnTo>
                      <a:pt x="2338" y="650"/>
                    </a:lnTo>
                    <a:lnTo>
                      <a:pt x="2352" y="671"/>
                    </a:lnTo>
                    <a:lnTo>
                      <a:pt x="2402" y="688"/>
                    </a:lnTo>
                    <a:lnTo>
                      <a:pt x="2414" y="688"/>
                    </a:lnTo>
                    <a:lnTo>
                      <a:pt x="2414" y="676"/>
                    </a:lnTo>
                    <a:lnTo>
                      <a:pt x="2428" y="721"/>
                    </a:lnTo>
                    <a:lnTo>
                      <a:pt x="2440" y="721"/>
                    </a:lnTo>
                    <a:lnTo>
                      <a:pt x="2440" y="711"/>
                    </a:lnTo>
                    <a:lnTo>
                      <a:pt x="2444" y="711"/>
                    </a:lnTo>
                    <a:lnTo>
                      <a:pt x="2444" y="728"/>
                    </a:lnTo>
                    <a:lnTo>
                      <a:pt x="2466" y="728"/>
                    </a:lnTo>
                    <a:lnTo>
                      <a:pt x="2482" y="749"/>
                    </a:lnTo>
                    <a:lnTo>
                      <a:pt x="2494" y="733"/>
                    </a:lnTo>
                    <a:lnTo>
                      <a:pt x="2515" y="749"/>
                    </a:lnTo>
                    <a:lnTo>
                      <a:pt x="2520" y="778"/>
                    </a:lnTo>
                    <a:lnTo>
                      <a:pt x="2515" y="766"/>
                    </a:lnTo>
                    <a:lnTo>
                      <a:pt x="2511" y="782"/>
                    </a:lnTo>
                    <a:lnTo>
                      <a:pt x="2515" y="799"/>
                    </a:lnTo>
                    <a:lnTo>
                      <a:pt x="2548" y="815"/>
                    </a:lnTo>
                    <a:lnTo>
                      <a:pt x="2548" y="832"/>
                    </a:lnTo>
                    <a:lnTo>
                      <a:pt x="2565" y="856"/>
                    </a:lnTo>
                    <a:lnTo>
                      <a:pt x="2565" y="893"/>
                    </a:lnTo>
                    <a:lnTo>
                      <a:pt x="2574" y="910"/>
                    </a:lnTo>
                    <a:lnTo>
                      <a:pt x="2574" y="926"/>
                    </a:lnTo>
                    <a:lnTo>
                      <a:pt x="2586" y="910"/>
                    </a:lnTo>
                    <a:lnTo>
                      <a:pt x="2603" y="931"/>
                    </a:lnTo>
                    <a:lnTo>
                      <a:pt x="2591" y="910"/>
                    </a:lnTo>
                    <a:lnTo>
                      <a:pt x="2603" y="893"/>
                    </a:lnTo>
                    <a:lnTo>
                      <a:pt x="2607" y="915"/>
                    </a:lnTo>
                    <a:lnTo>
                      <a:pt x="2638" y="926"/>
                    </a:lnTo>
                    <a:lnTo>
                      <a:pt x="2638" y="910"/>
                    </a:lnTo>
                    <a:lnTo>
                      <a:pt x="2655" y="943"/>
                    </a:lnTo>
                    <a:lnTo>
                      <a:pt x="2655" y="971"/>
                    </a:lnTo>
                    <a:lnTo>
                      <a:pt x="2662" y="1000"/>
                    </a:lnTo>
                    <a:lnTo>
                      <a:pt x="2671" y="1004"/>
                    </a:lnTo>
                    <a:lnTo>
                      <a:pt x="2676" y="1021"/>
                    </a:lnTo>
                    <a:lnTo>
                      <a:pt x="2709" y="1042"/>
                    </a:lnTo>
                    <a:lnTo>
                      <a:pt x="2714" y="1037"/>
                    </a:lnTo>
                    <a:lnTo>
                      <a:pt x="2730" y="1054"/>
                    </a:lnTo>
                    <a:lnTo>
                      <a:pt x="2747" y="1082"/>
                    </a:lnTo>
                    <a:lnTo>
                      <a:pt x="2768" y="1099"/>
                    </a:lnTo>
                    <a:lnTo>
                      <a:pt x="2785" y="1132"/>
                    </a:lnTo>
                    <a:lnTo>
                      <a:pt x="2801" y="1137"/>
                    </a:lnTo>
                    <a:lnTo>
                      <a:pt x="2801" y="1170"/>
                    </a:lnTo>
                    <a:lnTo>
                      <a:pt x="2822" y="1186"/>
                    </a:lnTo>
                    <a:lnTo>
                      <a:pt x="2818" y="1210"/>
                    </a:lnTo>
                    <a:lnTo>
                      <a:pt x="2818" y="1276"/>
                    </a:lnTo>
                    <a:lnTo>
                      <a:pt x="2806" y="1281"/>
                    </a:lnTo>
                    <a:lnTo>
                      <a:pt x="2806" y="1293"/>
                    </a:lnTo>
                    <a:lnTo>
                      <a:pt x="2822" y="1304"/>
                    </a:lnTo>
                    <a:lnTo>
                      <a:pt x="2851" y="1370"/>
                    </a:lnTo>
                    <a:lnTo>
                      <a:pt x="2851" y="1408"/>
                    </a:lnTo>
                    <a:lnTo>
                      <a:pt x="2834" y="1448"/>
                    </a:lnTo>
                    <a:lnTo>
                      <a:pt x="2822" y="1498"/>
                    </a:lnTo>
                    <a:lnTo>
                      <a:pt x="2806" y="1543"/>
                    </a:lnTo>
                    <a:lnTo>
                      <a:pt x="2818" y="1576"/>
                    </a:lnTo>
                    <a:lnTo>
                      <a:pt x="2801" y="1630"/>
                    </a:lnTo>
                    <a:lnTo>
                      <a:pt x="2780" y="1670"/>
                    </a:lnTo>
                    <a:lnTo>
                      <a:pt x="2780" y="1692"/>
                    </a:lnTo>
                    <a:lnTo>
                      <a:pt x="2747" y="1720"/>
                    </a:lnTo>
                    <a:lnTo>
                      <a:pt x="2747" y="1725"/>
                    </a:lnTo>
                    <a:lnTo>
                      <a:pt x="2726" y="1737"/>
                    </a:lnTo>
                    <a:lnTo>
                      <a:pt x="2709" y="1765"/>
                    </a:lnTo>
                    <a:lnTo>
                      <a:pt x="2700" y="1765"/>
                    </a:lnTo>
                    <a:lnTo>
                      <a:pt x="2700" y="1774"/>
                    </a:lnTo>
                    <a:lnTo>
                      <a:pt x="2692" y="1791"/>
                    </a:lnTo>
                    <a:lnTo>
                      <a:pt x="2688" y="1819"/>
                    </a:lnTo>
                    <a:lnTo>
                      <a:pt x="2676" y="1819"/>
                    </a:lnTo>
                    <a:lnTo>
                      <a:pt x="2688" y="1831"/>
                    </a:lnTo>
                    <a:lnTo>
                      <a:pt x="2662" y="1848"/>
                    </a:lnTo>
                    <a:lnTo>
                      <a:pt x="2655" y="1885"/>
                    </a:lnTo>
                    <a:lnTo>
                      <a:pt x="2645" y="1893"/>
                    </a:lnTo>
                    <a:lnTo>
                      <a:pt x="2655" y="1909"/>
                    </a:lnTo>
                    <a:lnTo>
                      <a:pt x="2645" y="1909"/>
                    </a:lnTo>
                    <a:lnTo>
                      <a:pt x="2645" y="1914"/>
                    </a:lnTo>
                    <a:lnTo>
                      <a:pt x="2638" y="1926"/>
                    </a:lnTo>
                    <a:lnTo>
                      <a:pt x="2607" y="1980"/>
                    </a:lnTo>
                    <a:lnTo>
                      <a:pt x="2607" y="2013"/>
                    </a:lnTo>
                    <a:lnTo>
                      <a:pt x="2591" y="2058"/>
                    </a:lnTo>
                    <a:lnTo>
                      <a:pt x="2603" y="2079"/>
                    </a:lnTo>
                    <a:lnTo>
                      <a:pt x="2591" y="2091"/>
                    </a:lnTo>
                    <a:lnTo>
                      <a:pt x="2591" y="2107"/>
                    </a:lnTo>
                    <a:lnTo>
                      <a:pt x="2565" y="2129"/>
                    </a:lnTo>
                    <a:lnTo>
                      <a:pt x="2477" y="2136"/>
                    </a:lnTo>
                    <a:lnTo>
                      <a:pt x="2440" y="2145"/>
                    </a:lnTo>
                    <a:lnTo>
                      <a:pt x="2376" y="2202"/>
                    </a:lnTo>
                    <a:lnTo>
                      <a:pt x="2331" y="2207"/>
                    </a:lnTo>
                    <a:lnTo>
                      <a:pt x="2338" y="2223"/>
                    </a:lnTo>
                    <a:lnTo>
                      <a:pt x="2352" y="2219"/>
                    </a:lnTo>
                    <a:lnTo>
                      <a:pt x="2352" y="2240"/>
                    </a:lnTo>
                    <a:lnTo>
                      <a:pt x="2348" y="2247"/>
                    </a:lnTo>
                    <a:lnTo>
                      <a:pt x="2348" y="2247"/>
                    </a:lnTo>
                    <a:lnTo>
                      <a:pt x="2348" y="2247"/>
                    </a:lnTo>
                    <a:close/>
                    <a:moveTo>
                      <a:pt x="1651" y="100"/>
                    </a:moveTo>
                    <a:lnTo>
                      <a:pt x="1667" y="67"/>
                    </a:lnTo>
                    <a:lnTo>
                      <a:pt x="1667" y="83"/>
                    </a:lnTo>
                    <a:lnTo>
                      <a:pt x="1651" y="100"/>
                    </a:lnTo>
                    <a:lnTo>
                      <a:pt x="1651" y="100"/>
                    </a:lnTo>
                    <a:lnTo>
                      <a:pt x="1651" y="100"/>
                    </a:lnTo>
                    <a:close/>
                    <a:moveTo>
                      <a:pt x="1377" y="95"/>
                    </a:moveTo>
                    <a:lnTo>
                      <a:pt x="1377" y="67"/>
                    </a:lnTo>
                    <a:lnTo>
                      <a:pt x="1377" y="95"/>
                    </a:lnTo>
                    <a:lnTo>
                      <a:pt x="1377" y="95"/>
                    </a:lnTo>
                    <a:lnTo>
                      <a:pt x="1377" y="95"/>
                    </a:lnTo>
                    <a:close/>
                    <a:moveTo>
                      <a:pt x="1268" y="140"/>
                    </a:moveTo>
                    <a:lnTo>
                      <a:pt x="1226" y="116"/>
                    </a:lnTo>
                    <a:lnTo>
                      <a:pt x="1221" y="83"/>
                    </a:lnTo>
                    <a:lnTo>
                      <a:pt x="1242" y="100"/>
                    </a:lnTo>
                    <a:lnTo>
                      <a:pt x="1275" y="83"/>
                    </a:lnTo>
                    <a:lnTo>
                      <a:pt x="1280" y="100"/>
                    </a:lnTo>
                    <a:lnTo>
                      <a:pt x="1280" y="83"/>
                    </a:lnTo>
                    <a:lnTo>
                      <a:pt x="1306" y="100"/>
                    </a:lnTo>
                    <a:lnTo>
                      <a:pt x="1289" y="123"/>
                    </a:lnTo>
                    <a:lnTo>
                      <a:pt x="1268" y="140"/>
                    </a:lnTo>
                    <a:lnTo>
                      <a:pt x="1268" y="140"/>
                    </a:lnTo>
                    <a:lnTo>
                      <a:pt x="1268" y="140"/>
                    </a:lnTo>
                    <a:close/>
                    <a:moveTo>
                      <a:pt x="1226" y="133"/>
                    </a:moveTo>
                    <a:lnTo>
                      <a:pt x="1200" y="123"/>
                    </a:lnTo>
                    <a:lnTo>
                      <a:pt x="1204" y="116"/>
                    </a:lnTo>
                    <a:lnTo>
                      <a:pt x="1214" y="116"/>
                    </a:lnTo>
                    <a:lnTo>
                      <a:pt x="1214" y="95"/>
                    </a:lnTo>
                    <a:lnTo>
                      <a:pt x="1221" y="95"/>
                    </a:lnTo>
                    <a:lnTo>
                      <a:pt x="1226" y="116"/>
                    </a:lnTo>
                    <a:lnTo>
                      <a:pt x="1242" y="123"/>
                    </a:lnTo>
                    <a:lnTo>
                      <a:pt x="1226" y="133"/>
                    </a:lnTo>
                    <a:lnTo>
                      <a:pt x="1226" y="133"/>
                    </a:lnTo>
                    <a:lnTo>
                      <a:pt x="1226" y="133"/>
                    </a:lnTo>
                    <a:close/>
                    <a:moveTo>
                      <a:pt x="1377" y="123"/>
                    </a:moveTo>
                    <a:lnTo>
                      <a:pt x="1377" y="116"/>
                    </a:lnTo>
                    <a:lnTo>
                      <a:pt x="1381" y="116"/>
                    </a:lnTo>
                    <a:lnTo>
                      <a:pt x="1377" y="123"/>
                    </a:lnTo>
                    <a:lnTo>
                      <a:pt x="1377" y="123"/>
                    </a:lnTo>
                    <a:lnTo>
                      <a:pt x="1377" y="123"/>
                    </a:lnTo>
                    <a:close/>
                    <a:moveTo>
                      <a:pt x="1613" y="123"/>
                    </a:moveTo>
                    <a:lnTo>
                      <a:pt x="1613" y="116"/>
                    </a:lnTo>
                    <a:lnTo>
                      <a:pt x="1620" y="116"/>
                    </a:lnTo>
                    <a:lnTo>
                      <a:pt x="1613" y="123"/>
                    </a:lnTo>
                    <a:lnTo>
                      <a:pt x="1613" y="123"/>
                    </a:lnTo>
                    <a:lnTo>
                      <a:pt x="1613" y="123"/>
                    </a:lnTo>
                    <a:close/>
                    <a:moveTo>
                      <a:pt x="1684" y="300"/>
                    </a:moveTo>
                    <a:lnTo>
                      <a:pt x="1674" y="305"/>
                    </a:lnTo>
                    <a:lnTo>
                      <a:pt x="1646" y="305"/>
                    </a:lnTo>
                    <a:lnTo>
                      <a:pt x="1651" y="279"/>
                    </a:lnTo>
                    <a:lnTo>
                      <a:pt x="1658" y="279"/>
                    </a:lnTo>
                    <a:lnTo>
                      <a:pt x="1667" y="267"/>
                    </a:lnTo>
                    <a:lnTo>
                      <a:pt x="1667" y="279"/>
                    </a:lnTo>
                    <a:lnTo>
                      <a:pt x="1674" y="279"/>
                    </a:lnTo>
                    <a:lnTo>
                      <a:pt x="1674" y="267"/>
                    </a:lnTo>
                    <a:lnTo>
                      <a:pt x="1684" y="279"/>
                    </a:lnTo>
                    <a:lnTo>
                      <a:pt x="1667" y="284"/>
                    </a:lnTo>
                    <a:lnTo>
                      <a:pt x="1667" y="300"/>
                    </a:lnTo>
                    <a:lnTo>
                      <a:pt x="1684" y="300"/>
                    </a:lnTo>
                    <a:lnTo>
                      <a:pt x="1684" y="300"/>
                    </a:lnTo>
                    <a:lnTo>
                      <a:pt x="1684" y="300"/>
                    </a:lnTo>
                    <a:close/>
                    <a:moveTo>
                      <a:pt x="1629" y="279"/>
                    </a:moveTo>
                    <a:lnTo>
                      <a:pt x="1620" y="279"/>
                    </a:lnTo>
                    <a:lnTo>
                      <a:pt x="1629" y="267"/>
                    </a:lnTo>
                    <a:lnTo>
                      <a:pt x="1637" y="267"/>
                    </a:lnTo>
                    <a:lnTo>
                      <a:pt x="1629" y="279"/>
                    </a:lnTo>
                    <a:lnTo>
                      <a:pt x="1629" y="279"/>
                    </a:lnTo>
                    <a:lnTo>
                      <a:pt x="1629" y="279"/>
                    </a:lnTo>
                    <a:close/>
                    <a:moveTo>
                      <a:pt x="859" y="338"/>
                    </a:moveTo>
                    <a:lnTo>
                      <a:pt x="848" y="334"/>
                    </a:lnTo>
                    <a:lnTo>
                      <a:pt x="859" y="322"/>
                    </a:lnTo>
                    <a:lnTo>
                      <a:pt x="859" y="338"/>
                    </a:lnTo>
                    <a:lnTo>
                      <a:pt x="859" y="338"/>
                    </a:lnTo>
                    <a:lnTo>
                      <a:pt x="859" y="338"/>
                    </a:lnTo>
                    <a:close/>
                    <a:moveTo>
                      <a:pt x="810" y="395"/>
                    </a:moveTo>
                    <a:lnTo>
                      <a:pt x="805" y="388"/>
                    </a:lnTo>
                    <a:lnTo>
                      <a:pt x="810" y="378"/>
                    </a:lnTo>
                    <a:lnTo>
                      <a:pt x="822" y="395"/>
                    </a:lnTo>
                    <a:lnTo>
                      <a:pt x="810" y="395"/>
                    </a:lnTo>
                    <a:lnTo>
                      <a:pt x="810" y="395"/>
                    </a:lnTo>
                    <a:lnTo>
                      <a:pt x="810" y="395"/>
                    </a:lnTo>
                    <a:close/>
                    <a:moveTo>
                      <a:pt x="1651" y="411"/>
                    </a:moveTo>
                    <a:lnTo>
                      <a:pt x="1651" y="400"/>
                    </a:lnTo>
                    <a:lnTo>
                      <a:pt x="1658" y="400"/>
                    </a:lnTo>
                    <a:lnTo>
                      <a:pt x="1651" y="411"/>
                    </a:lnTo>
                    <a:lnTo>
                      <a:pt x="1651" y="411"/>
                    </a:lnTo>
                    <a:lnTo>
                      <a:pt x="1651" y="411"/>
                    </a:lnTo>
                    <a:close/>
                    <a:moveTo>
                      <a:pt x="1689" y="428"/>
                    </a:moveTo>
                    <a:lnTo>
                      <a:pt x="1684" y="411"/>
                    </a:lnTo>
                    <a:lnTo>
                      <a:pt x="1689" y="400"/>
                    </a:lnTo>
                    <a:lnTo>
                      <a:pt x="1689" y="428"/>
                    </a:lnTo>
                    <a:lnTo>
                      <a:pt x="1689" y="428"/>
                    </a:lnTo>
                    <a:lnTo>
                      <a:pt x="1689" y="428"/>
                    </a:lnTo>
                    <a:close/>
                    <a:moveTo>
                      <a:pt x="1667" y="416"/>
                    </a:moveTo>
                    <a:lnTo>
                      <a:pt x="1667" y="411"/>
                    </a:lnTo>
                    <a:lnTo>
                      <a:pt x="1674" y="411"/>
                    </a:lnTo>
                    <a:lnTo>
                      <a:pt x="1667" y="416"/>
                    </a:lnTo>
                    <a:lnTo>
                      <a:pt x="1667" y="416"/>
                    </a:lnTo>
                    <a:lnTo>
                      <a:pt x="1667" y="416"/>
                    </a:lnTo>
                    <a:close/>
                    <a:moveTo>
                      <a:pt x="1835" y="489"/>
                    </a:moveTo>
                    <a:lnTo>
                      <a:pt x="1835" y="482"/>
                    </a:lnTo>
                    <a:lnTo>
                      <a:pt x="1847" y="473"/>
                    </a:lnTo>
                    <a:lnTo>
                      <a:pt x="1873" y="466"/>
                    </a:lnTo>
                    <a:lnTo>
                      <a:pt x="1873" y="473"/>
                    </a:lnTo>
                    <a:lnTo>
                      <a:pt x="1863" y="473"/>
                    </a:lnTo>
                    <a:lnTo>
                      <a:pt x="1863" y="489"/>
                    </a:lnTo>
                    <a:lnTo>
                      <a:pt x="1835" y="489"/>
                    </a:lnTo>
                    <a:lnTo>
                      <a:pt x="1835" y="489"/>
                    </a:lnTo>
                    <a:lnTo>
                      <a:pt x="1835" y="489"/>
                    </a:lnTo>
                    <a:close/>
                    <a:moveTo>
                      <a:pt x="1863" y="522"/>
                    </a:moveTo>
                    <a:lnTo>
                      <a:pt x="1852" y="511"/>
                    </a:lnTo>
                    <a:lnTo>
                      <a:pt x="1868" y="511"/>
                    </a:lnTo>
                    <a:lnTo>
                      <a:pt x="1868" y="522"/>
                    </a:lnTo>
                    <a:lnTo>
                      <a:pt x="1863" y="522"/>
                    </a:lnTo>
                    <a:lnTo>
                      <a:pt x="1863" y="522"/>
                    </a:lnTo>
                    <a:lnTo>
                      <a:pt x="1863" y="522"/>
                    </a:lnTo>
                    <a:close/>
                    <a:moveTo>
                      <a:pt x="2338" y="622"/>
                    </a:moveTo>
                    <a:lnTo>
                      <a:pt x="2322" y="600"/>
                    </a:lnTo>
                    <a:lnTo>
                      <a:pt x="2338" y="610"/>
                    </a:lnTo>
                    <a:lnTo>
                      <a:pt x="2348" y="617"/>
                    </a:lnTo>
                    <a:lnTo>
                      <a:pt x="2338" y="622"/>
                    </a:lnTo>
                    <a:lnTo>
                      <a:pt x="2338" y="622"/>
                    </a:lnTo>
                    <a:lnTo>
                      <a:pt x="2338" y="622"/>
                    </a:lnTo>
                    <a:close/>
                    <a:moveTo>
                      <a:pt x="2376" y="671"/>
                    </a:moveTo>
                    <a:lnTo>
                      <a:pt x="2369" y="671"/>
                    </a:lnTo>
                    <a:lnTo>
                      <a:pt x="2376" y="667"/>
                    </a:lnTo>
                    <a:lnTo>
                      <a:pt x="2376" y="671"/>
                    </a:lnTo>
                    <a:lnTo>
                      <a:pt x="2376" y="671"/>
                    </a:lnTo>
                    <a:lnTo>
                      <a:pt x="2376" y="671"/>
                    </a:lnTo>
                    <a:close/>
                    <a:moveTo>
                      <a:pt x="2520" y="749"/>
                    </a:moveTo>
                    <a:lnTo>
                      <a:pt x="2515" y="745"/>
                    </a:lnTo>
                    <a:lnTo>
                      <a:pt x="2520" y="733"/>
                    </a:lnTo>
                    <a:lnTo>
                      <a:pt x="2520" y="749"/>
                    </a:lnTo>
                    <a:lnTo>
                      <a:pt x="2520" y="749"/>
                    </a:lnTo>
                    <a:lnTo>
                      <a:pt x="2520" y="749"/>
                    </a:lnTo>
                    <a:close/>
                    <a:moveTo>
                      <a:pt x="2520" y="761"/>
                    </a:moveTo>
                    <a:lnTo>
                      <a:pt x="2520" y="745"/>
                    </a:lnTo>
                    <a:lnTo>
                      <a:pt x="2532" y="749"/>
                    </a:lnTo>
                    <a:lnTo>
                      <a:pt x="2520" y="761"/>
                    </a:lnTo>
                    <a:lnTo>
                      <a:pt x="2520" y="761"/>
                    </a:lnTo>
                    <a:lnTo>
                      <a:pt x="2520" y="761"/>
                    </a:lnTo>
                    <a:close/>
                    <a:moveTo>
                      <a:pt x="172" y="799"/>
                    </a:moveTo>
                    <a:lnTo>
                      <a:pt x="163" y="799"/>
                    </a:lnTo>
                    <a:lnTo>
                      <a:pt x="179" y="782"/>
                    </a:lnTo>
                    <a:lnTo>
                      <a:pt x="172" y="799"/>
                    </a:lnTo>
                    <a:lnTo>
                      <a:pt x="172" y="799"/>
                    </a:lnTo>
                    <a:lnTo>
                      <a:pt x="172" y="799"/>
                    </a:lnTo>
                    <a:close/>
                    <a:moveTo>
                      <a:pt x="2629" y="910"/>
                    </a:moveTo>
                    <a:lnTo>
                      <a:pt x="2629" y="905"/>
                    </a:lnTo>
                    <a:lnTo>
                      <a:pt x="2638" y="910"/>
                    </a:lnTo>
                    <a:lnTo>
                      <a:pt x="2629" y="910"/>
                    </a:lnTo>
                    <a:lnTo>
                      <a:pt x="2629" y="910"/>
                    </a:lnTo>
                    <a:lnTo>
                      <a:pt x="2629" y="910"/>
                    </a:lnTo>
                    <a:close/>
                    <a:moveTo>
                      <a:pt x="2688" y="1021"/>
                    </a:moveTo>
                    <a:lnTo>
                      <a:pt x="2671" y="1000"/>
                    </a:lnTo>
                    <a:lnTo>
                      <a:pt x="2688" y="1004"/>
                    </a:lnTo>
                    <a:lnTo>
                      <a:pt x="2692" y="1021"/>
                    </a:lnTo>
                    <a:lnTo>
                      <a:pt x="2688" y="1021"/>
                    </a:lnTo>
                    <a:lnTo>
                      <a:pt x="2688" y="1021"/>
                    </a:lnTo>
                    <a:lnTo>
                      <a:pt x="2688" y="1021"/>
                    </a:lnTo>
                    <a:close/>
                    <a:moveTo>
                      <a:pt x="2818" y="1170"/>
                    </a:moveTo>
                    <a:lnTo>
                      <a:pt x="2801" y="1153"/>
                    </a:lnTo>
                    <a:lnTo>
                      <a:pt x="2806" y="1132"/>
                    </a:lnTo>
                    <a:lnTo>
                      <a:pt x="2822" y="1115"/>
                    </a:lnTo>
                    <a:lnTo>
                      <a:pt x="2818" y="1099"/>
                    </a:lnTo>
                    <a:lnTo>
                      <a:pt x="2822" y="1094"/>
                    </a:lnTo>
                    <a:lnTo>
                      <a:pt x="2834" y="1115"/>
                    </a:lnTo>
                    <a:lnTo>
                      <a:pt x="2818" y="1170"/>
                    </a:lnTo>
                    <a:lnTo>
                      <a:pt x="2818" y="1170"/>
                    </a:lnTo>
                    <a:lnTo>
                      <a:pt x="2818" y="1170"/>
                    </a:lnTo>
                    <a:close/>
                    <a:moveTo>
                      <a:pt x="16" y="1203"/>
                    </a:moveTo>
                    <a:lnTo>
                      <a:pt x="0" y="1170"/>
                    </a:lnTo>
                    <a:lnTo>
                      <a:pt x="0" y="1148"/>
                    </a:lnTo>
                    <a:lnTo>
                      <a:pt x="16" y="1203"/>
                    </a:lnTo>
                    <a:lnTo>
                      <a:pt x="16" y="1203"/>
                    </a:lnTo>
                    <a:lnTo>
                      <a:pt x="16" y="1203"/>
                    </a:lnTo>
                    <a:close/>
                    <a:moveTo>
                      <a:pt x="2839" y="1297"/>
                    </a:moveTo>
                    <a:lnTo>
                      <a:pt x="2834" y="1276"/>
                    </a:lnTo>
                    <a:lnTo>
                      <a:pt x="2839" y="1264"/>
                    </a:lnTo>
                    <a:lnTo>
                      <a:pt x="2839" y="1297"/>
                    </a:lnTo>
                    <a:lnTo>
                      <a:pt x="2839" y="1297"/>
                    </a:lnTo>
                    <a:lnTo>
                      <a:pt x="2839" y="1297"/>
                    </a:lnTo>
                    <a:close/>
                    <a:moveTo>
                      <a:pt x="2839" y="1321"/>
                    </a:moveTo>
                    <a:lnTo>
                      <a:pt x="2839" y="1297"/>
                    </a:lnTo>
                    <a:lnTo>
                      <a:pt x="2851" y="1297"/>
                    </a:lnTo>
                    <a:lnTo>
                      <a:pt x="2839" y="1321"/>
                    </a:lnTo>
                    <a:lnTo>
                      <a:pt x="2839" y="1321"/>
                    </a:lnTo>
                    <a:lnTo>
                      <a:pt x="2839" y="1321"/>
                    </a:lnTo>
                    <a:close/>
                    <a:moveTo>
                      <a:pt x="1755" y="1963"/>
                    </a:moveTo>
                    <a:lnTo>
                      <a:pt x="1759" y="1963"/>
                    </a:lnTo>
                    <a:lnTo>
                      <a:pt x="1764" y="1968"/>
                    </a:lnTo>
                    <a:lnTo>
                      <a:pt x="1759" y="1980"/>
                    </a:lnTo>
                    <a:lnTo>
                      <a:pt x="1738" y="1968"/>
                    </a:lnTo>
                    <a:lnTo>
                      <a:pt x="1722" y="1996"/>
                    </a:lnTo>
                    <a:lnTo>
                      <a:pt x="1705" y="1980"/>
                    </a:lnTo>
                    <a:lnTo>
                      <a:pt x="1667" y="1985"/>
                    </a:lnTo>
                    <a:lnTo>
                      <a:pt x="1651" y="1980"/>
                    </a:lnTo>
                    <a:lnTo>
                      <a:pt x="1658" y="1963"/>
                    </a:lnTo>
                    <a:lnTo>
                      <a:pt x="1705" y="1947"/>
                    </a:lnTo>
                    <a:lnTo>
                      <a:pt x="1722" y="1959"/>
                    </a:lnTo>
                    <a:lnTo>
                      <a:pt x="1726" y="1963"/>
                    </a:lnTo>
                    <a:lnTo>
                      <a:pt x="1743" y="1968"/>
                    </a:lnTo>
                    <a:lnTo>
                      <a:pt x="1755" y="1963"/>
                    </a:lnTo>
                    <a:lnTo>
                      <a:pt x="1755" y="1963"/>
                    </a:lnTo>
                    <a:lnTo>
                      <a:pt x="1755" y="1963"/>
                    </a:lnTo>
                    <a:close/>
                    <a:moveTo>
                      <a:pt x="2267" y="2185"/>
                    </a:moveTo>
                    <a:lnTo>
                      <a:pt x="2267" y="2181"/>
                    </a:lnTo>
                    <a:lnTo>
                      <a:pt x="2284" y="2181"/>
                    </a:lnTo>
                    <a:lnTo>
                      <a:pt x="2267" y="2185"/>
                    </a:lnTo>
                    <a:lnTo>
                      <a:pt x="2267" y="2185"/>
                    </a:lnTo>
                    <a:lnTo>
                      <a:pt x="2267" y="2185"/>
                    </a:lnTo>
                    <a:close/>
                    <a:moveTo>
                      <a:pt x="2267" y="2202"/>
                    </a:moveTo>
                    <a:lnTo>
                      <a:pt x="2251" y="2190"/>
                    </a:lnTo>
                    <a:lnTo>
                      <a:pt x="2267" y="2185"/>
                    </a:lnTo>
                    <a:lnTo>
                      <a:pt x="2267" y="2202"/>
                    </a:lnTo>
                    <a:lnTo>
                      <a:pt x="2267" y="2202"/>
                    </a:lnTo>
                    <a:lnTo>
                      <a:pt x="2267" y="2202"/>
                    </a:lnTo>
                    <a:close/>
                    <a:moveTo>
                      <a:pt x="2352" y="2219"/>
                    </a:moveTo>
                    <a:lnTo>
                      <a:pt x="2359" y="2219"/>
                    </a:lnTo>
                    <a:lnTo>
                      <a:pt x="2352" y="2219"/>
                    </a:lnTo>
                    <a:lnTo>
                      <a:pt x="2352" y="2219"/>
                    </a:lnTo>
                    <a:lnTo>
                      <a:pt x="2352" y="2219"/>
                    </a:lnTo>
                    <a:close/>
                    <a:moveTo>
                      <a:pt x="2170" y="2330"/>
                    </a:moveTo>
                    <a:lnTo>
                      <a:pt x="2170" y="2301"/>
                    </a:lnTo>
                    <a:lnTo>
                      <a:pt x="2175" y="2280"/>
                    </a:lnTo>
                    <a:lnTo>
                      <a:pt x="2187" y="2289"/>
                    </a:lnTo>
                    <a:lnTo>
                      <a:pt x="2187" y="2313"/>
                    </a:lnTo>
                    <a:lnTo>
                      <a:pt x="2170" y="2330"/>
                    </a:lnTo>
                    <a:lnTo>
                      <a:pt x="2170" y="2330"/>
                    </a:lnTo>
                    <a:lnTo>
                      <a:pt x="2170" y="2330"/>
                    </a:lnTo>
                    <a:close/>
                    <a:moveTo>
                      <a:pt x="2466" y="2346"/>
                    </a:moveTo>
                    <a:lnTo>
                      <a:pt x="2440" y="2313"/>
                    </a:lnTo>
                    <a:lnTo>
                      <a:pt x="2444" y="2296"/>
                    </a:lnTo>
                    <a:lnTo>
                      <a:pt x="2456" y="2296"/>
                    </a:lnTo>
                    <a:lnTo>
                      <a:pt x="2477" y="2313"/>
                    </a:lnTo>
                    <a:lnTo>
                      <a:pt x="2477" y="2334"/>
                    </a:lnTo>
                    <a:lnTo>
                      <a:pt x="2466" y="2346"/>
                    </a:lnTo>
                    <a:lnTo>
                      <a:pt x="2466" y="2346"/>
                    </a:lnTo>
                    <a:lnTo>
                      <a:pt x="2466" y="2346"/>
                    </a:lnTo>
                    <a:close/>
                    <a:moveTo>
                      <a:pt x="2482" y="2363"/>
                    </a:moveTo>
                    <a:lnTo>
                      <a:pt x="2477" y="2351"/>
                    </a:lnTo>
                    <a:lnTo>
                      <a:pt x="2461" y="2363"/>
                    </a:lnTo>
                    <a:lnTo>
                      <a:pt x="2456" y="2351"/>
                    </a:lnTo>
                    <a:lnTo>
                      <a:pt x="2482" y="2346"/>
                    </a:lnTo>
                    <a:lnTo>
                      <a:pt x="2494" y="2351"/>
                    </a:lnTo>
                    <a:lnTo>
                      <a:pt x="2482" y="2363"/>
                    </a:lnTo>
                    <a:lnTo>
                      <a:pt x="2482" y="2363"/>
                    </a:lnTo>
                    <a:lnTo>
                      <a:pt x="2482" y="2363"/>
                    </a:lnTo>
                    <a:close/>
                    <a:moveTo>
                      <a:pt x="2239" y="2363"/>
                    </a:moveTo>
                    <a:lnTo>
                      <a:pt x="2239" y="2351"/>
                    </a:lnTo>
                    <a:lnTo>
                      <a:pt x="2246" y="2351"/>
                    </a:lnTo>
                    <a:lnTo>
                      <a:pt x="2239" y="2363"/>
                    </a:lnTo>
                    <a:lnTo>
                      <a:pt x="2239" y="2363"/>
                    </a:lnTo>
                    <a:lnTo>
                      <a:pt x="2239" y="2363"/>
                    </a:lnTo>
                    <a:close/>
                    <a:moveTo>
                      <a:pt x="2466" y="2367"/>
                    </a:moveTo>
                    <a:lnTo>
                      <a:pt x="2461" y="2367"/>
                    </a:lnTo>
                    <a:lnTo>
                      <a:pt x="2466" y="2363"/>
                    </a:lnTo>
                    <a:lnTo>
                      <a:pt x="2466" y="2367"/>
                    </a:lnTo>
                    <a:lnTo>
                      <a:pt x="2466" y="2367"/>
                    </a:lnTo>
                    <a:lnTo>
                      <a:pt x="2466" y="2367"/>
                    </a:lnTo>
                    <a:close/>
                    <a:moveTo>
                      <a:pt x="2239" y="2384"/>
                    </a:moveTo>
                    <a:lnTo>
                      <a:pt x="2246" y="2367"/>
                    </a:lnTo>
                    <a:lnTo>
                      <a:pt x="2246" y="2374"/>
                    </a:lnTo>
                    <a:lnTo>
                      <a:pt x="2239" y="2384"/>
                    </a:lnTo>
                    <a:lnTo>
                      <a:pt x="2239" y="2384"/>
                    </a:lnTo>
                    <a:lnTo>
                      <a:pt x="2239" y="2384"/>
                    </a:lnTo>
                    <a:close/>
                    <a:moveTo>
                      <a:pt x="2385" y="2630"/>
                    </a:moveTo>
                    <a:lnTo>
                      <a:pt x="2322" y="2622"/>
                    </a:lnTo>
                    <a:lnTo>
                      <a:pt x="2315" y="2613"/>
                    </a:lnTo>
                    <a:lnTo>
                      <a:pt x="2331" y="2613"/>
                    </a:lnTo>
                    <a:lnTo>
                      <a:pt x="2331" y="2606"/>
                    </a:lnTo>
                    <a:lnTo>
                      <a:pt x="2305" y="2606"/>
                    </a:lnTo>
                    <a:lnTo>
                      <a:pt x="2284" y="2573"/>
                    </a:lnTo>
                    <a:lnTo>
                      <a:pt x="2267" y="2540"/>
                    </a:lnTo>
                    <a:lnTo>
                      <a:pt x="2263" y="2511"/>
                    </a:lnTo>
                    <a:lnTo>
                      <a:pt x="2277" y="2528"/>
                    </a:lnTo>
                    <a:lnTo>
                      <a:pt x="2277" y="2535"/>
                    </a:lnTo>
                    <a:lnTo>
                      <a:pt x="2284" y="2518"/>
                    </a:lnTo>
                    <a:lnTo>
                      <a:pt x="2267" y="2502"/>
                    </a:lnTo>
                    <a:lnTo>
                      <a:pt x="2225" y="2424"/>
                    </a:lnTo>
                    <a:lnTo>
                      <a:pt x="2225" y="2400"/>
                    </a:lnTo>
                    <a:lnTo>
                      <a:pt x="2225" y="2384"/>
                    </a:lnTo>
                    <a:lnTo>
                      <a:pt x="2267" y="2384"/>
                    </a:lnTo>
                    <a:lnTo>
                      <a:pt x="2331" y="2417"/>
                    </a:lnTo>
                    <a:lnTo>
                      <a:pt x="2359" y="2424"/>
                    </a:lnTo>
                    <a:lnTo>
                      <a:pt x="2369" y="2407"/>
                    </a:lnTo>
                    <a:lnTo>
                      <a:pt x="2385" y="2417"/>
                    </a:lnTo>
                    <a:lnTo>
                      <a:pt x="2376" y="2407"/>
                    </a:lnTo>
                    <a:lnTo>
                      <a:pt x="2385" y="2400"/>
                    </a:lnTo>
                    <a:lnTo>
                      <a:pt x="2414" y="2407"/>
                    </a:lnTo>
                    <a:lnTo>
                      <a:pt x="2428" y="2391"/>
                    </a:lnTo>
                    <a:lnTo>
                      <a:pt x="2444" y="2391"/>
                    </a:lnTo>
                    <a:lnTo>
                      <a:pt x="2456" y="2384"/>
                    </a:lnTo>
                    <a:lnTo>
                      <a:pt x="2477" y="2400"/>
                    </a:lnTo>
                    <a:lnTo>
                      <a:pt x="2477" y="2474"/>
                    </a:lnTo>
                    <a:lnTo>
                      <a:pt x="2482" y="2511"/>
                    </a:lnTo>
                    <a:lnTo>
                      <a:pt x="2477" y="2511"/>
                    </a:lnTo>
                    <a:lnTo>
                      <a:pt x="2477" y="2502"/>
                    </a:lnTo>
                    <a:lnTo>
                      <a:pt x="2466" y="2485"/>
                    </a:lnTo>
                    <a:lnTo>
                      <a:pt x="2444" y="2568"/>
                    </a:lnTo>
                    <a:lnTo>
                      <a:pt x="2456" y="2568"/>
                    </a:lnTo>
                    <a:lnTo>
                      <a:pt x="2456" y="2596"/>
                    </a:lnTo>
                    <a:lnTo>
                      <a:pt x="2444" y="2589"/>
                    </a:lnTo>
                    <a:lnTo>
                      <a:pt x="2444" y="2596"/>
                    </a:lnTo>
                    <a:lnTo>
                      <a:pt x="2428" y="2585"/>
                    </a:lnTo>
                    <a:lnTo>
                      <a:pt x="2440" y="2573"/>
                    </a:lnTo>
                    <a:lnTo>
                      <a:pt x="2440" y="2585"/>
                    </a:lnTo>
                    <a:lnTo>
                      <a:pt x="2456" y="2585"/>
                    </a:lnTo>
                    <a:lnTo>
                      <a:pt x="2444" y="2573"/>
                    </a:lnTo>
                    <a:lnTo>
                      <a:pt x="2423" y="2568"/>
                    </a:lnTo>
                    <a:lnTo>
                      <a:pt x="2423" y="2573"/>
                    </a:lnTo>
                    <a:lnTo>
                      <a:pt x="2414" y="2585"/>
                    </a:lnTo>
                    <a:lnTo>
                      <a:pt x="2414" y="2568"/>
                    </a:lnTo>
                    <a:lnTo>
                      <a:pt x="2407" y="2568"/>
                    </a:lnTo>
                    <a:lnTo>
                      <a:pt x="2407" y="2596"/>
                    </a:lnTo>
                    <a:lnTo>
                      <a:pt x="2385" y="2589"/>
                    </a:lnTo>
                    <a:lnTo>
                      <a:pt x="2390" y="2606"/>
                    </a:lnTo>
                    <a:lnTo>
                      <a:pt x="2385" y="2630"/>
                    </a:lnTo>
                    <a:lnTo>
                      <a:pt x="2385" y="2630"/>
                    </a:lnTo>
                    <a:lnTo>
                      <a:pt x="2385" y="2630"/>
                    </a:lnTo>
                    <a:close/>
                    <a:moveTo>
                      <a:pt x="2461" y="2556"/>
                    </a:moveTo>
                    <a:lnTo>
                      <a:pt x="2461" y="2540"/>
                    </a:lnTo>
                    <a:lnTo>
                      <a:pt x="2466" y="2540"/>
                    </a:lnTo>
                    <a:lnTo>
                      <a:pt x="2466" y="2552"/>
                    </a:lnTo>
                    <a:lnTo>
                      <a:pt x="2461" y="2556"/>
                    </a:lnTo>
                    <a:lnTo>
                      <a:pt x="2461" y="2556"/>
                    </a:lnTo>
                    <a:lnTo>
                      <a:pt x="2461" y="2556"/>
                    </a:lnTo>
                    <a:close/>
                    <a:moveTo>
                      <a:pt x="2414" y="2596"/>
                    </a:moveTo>
                    <a:lnTo>
                      <a:pt x="2407" y="2589"/>
                    </a:lnTo>
                    <a:lnTo>
                      <a:pt x="2414" y="2585"/>
                    </a:lnTo>
                    <a:lnTo>
                      <a:pt x="2414" y="2596"/>
                    </a:lnTo>
                    <a:lnTo>
                      <a:pt x="2414" y="2596"/>
                    </a:lnTo>
                    <a:lnTo>
                      <a:pt x="2414" y="2596"/>
                    </a:lnTo>
                    <a:close/>
                    <a:moveTo>
                      <a:pt x="2407" y="2622"/>
                    </a:moveTo>
                    <a:lnTo>
                      <a:pt x="2390" y="2613"/>
                    </a:lnTo>
                    <a:lnTo>
                      <a:pt x="2407" y="2596"/>
                    </a:lnTo>
                    <a:lnTo>
                      <a:pt x="2414" y="2613"/>
                    </a:lnTo>
                    <a:lnTo>
                      <a:pt x="2407" y="2622"/>
                    </a:lnTo>
                    <a:lnTo>
                      <a:pt x="2407" y="2622"/>
                    </a:lnTo>
                    <a:lnTo>
                      <a:pt x="2407" y="2622"/>
                    </a:lnTo>
                    <a:close/>
                    <a:moveTo>
                      <a:pt x="3217" y="3666"/>
                    </a:moveTo>
                    <a:lnTo>
                      <a:pt x="3217" y="3659"/>
                    </a:lnTo>
                    <a:lnTo>
                      <a:pt x="3229" y="3643"/>
                    </a:lnTo>
                    <a:lnTo>
                      <a:pt x="3217" y="3666"/>
                    </a:lnTo>
                    <a:lnTo>
                      <a:pt x="3217" y="3666"/>
                    </a:lnTo>
                    <a:lnTo>
                      <a:pt x="3217" y="366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9" name="Freeform 395">
                <a:extLst>
                  <a:ext uri="{FF2B5EF4-FFF2-40B4-BE49-F238E27FC236}">
                    <a16:creationId xmlns:a16="http://schemas.microsoft.com/office/drawing/2014/main" id="{A321E9DA-7EE6-4F04-BFA9-743E8504B647}"/>
                  </a:ext>
                </a:extLst>
              </p:cNvPr>
              <p:cNvSpPr>
                <a:spLocks noEditPoints="1"/>
              </p:cNvSpPr>
              <p:nvPr/>
            </p:nvSpPr>
            <p:spPr bwMode="gray">
              <a:xfrm>
                <a:off x="9267064" y="3256451"/>
                <a:ext cx="132146" cy="183625"/>
              </a:xfrm>
              <a:custGeom>
                <a:avLst/>
                <a:gdLst>
                  <a:gd name="T0" fmla="*/ 71 w 321"/>
                  <a:gd name="T1" fmla="*/ 262 h 446"/>
                  <a:gd name="T2" fmla="*/ 38 w 321"/>
                  <a:gd name="T3" fmla="*/ 229 h 446"/>
                  <a:gd name="T4" fmla="*/ 55 w 321"/>
                  <a:gd name="T5" fmla="*/ 184 h 446"/>
                  <a:gd name="T6" fmla="*/ 5 w 321"/>
                  <a:gd name="T7" fmla="*/ 163 h 446"/>
                  <a:gd name="T8" fmla="*/ 5 w 321"/>
                  <a:gd name="T9" fmla="*/ 128 h 446"/>
                  <a:gd name="T10" fmla="*/ 71 w 321"/>
                  <a:gd name="T11" fmla="*/ 111 h 446"/>
                  <a:gd name="T12" fmla="*/ 55 w 321"/>
                  <a:gd name="T13" fmla="*/ 90 h 446"/>
                  <a:gd name="T14" fmla="*/ 5 w 321"/>
                  <a:gd name="T15" fmla="*/ 57 h 446"/>
                  <a:gd name="T16" fmla="*/ 33 w 321"/>
                  <a:gd name="T17" fmla="*/ 5 h 446"/>
                  <a:gd name="T18" fmla="*/ 59 w 321"/>
                  <a:gd name="T19" fmla="*/ 33 h 446"/>
                  <a:gd name="T20" fmla="*/ 71 w 321"/>
                  <a:gd name="T21" fmla="*/ 17 h 446"/>
                  <a:gd name="T22" fmla="*/ 92 w 321"/>
                  <a:gd name="T23" fmla="*/ 50 h 446"/>
                  <a:gd name="T24" fmla="*/ 123 w 321"/>
                  <a:gd name="T25" fmla="*/ 33 h 446"/>
                  <a:gd name="T26" fmla="*/ 168 w 321"/>
                  <a:gd name="T27" fmla="*/ 111 h 446"/>
                  <a:gd name="T28" fmla="*/ 312 w 321"/>
                  <a:gd name="T29" fmla="*/ 135 h 446"/>
                  <a:gd name="T30" fmla="*/ 274 w 321"/>
                  <a:gd name="T31" fmla="*/ 172 h 446"/>
                  <a:gd name="T32" fmla="*/ 232 w 321"/>
                  <a:gd name="T33" fmla="*/ 205 h 446"/>
                  <a:gd name="T34" fmla="*/ 236 w 321"/>
                  <a:gd name="T35" fmla="*/ 274 h 446"/>
                  <a:gd name="T36" fmla="*/ 258 w 321"/>
                  <a:gd name="T37" fmla="*/ 279 h 446"/>
                  <a:gd name="T38" fmla="*/ 274 w 321"/>
                  <a:gd name="T39" fmla="*/ 241 h 446"/>
                  <a:gd name="T40" fmla="*/ 300 w 321"/>
                  <a:gd name="T41" fmla="*/ 224 h 446"/>
                  <a:gd name="T42" fmla="*/ 312 w 321"/>
                  <a:gd name="T43" fmla="*/ 302 h 446"/>
                  <a:gd name="T44" fmla="*/ 321 w 321"/>
                  <a:gd name="T45" fmla="*/ 406 h 446"/>
                  <a:gd name="T46" fmla="*/ 291 w 321"/>
                  <a:gd name="T47" fmla="*/ 406 h 446"/>
                  <a:gd name="T48" fmla="*/ 286 w 321"/>
                  <a:gd name="T49" fmla="*/ 413 h 446"/>
                  <a:gd name="T50" fmla="*/ 269 w 321"/>
                  <a:gd name="T51" fmla="*/ 373 h 446"/>
                  <a:gd name="T52" fmla="*/ 220 w 321"/>
                  <a:gd name="T53" fmla="*/ 312 h 446"/>
                  <a:gd name="T54" fmla="*/ 182 w 321"/>
                  <a:gd name="T55" fmla="*/ 274 h 446"/>
                  <a:gd name="T56" fmla="*/ 182 w 321"/>
                  <a:gd name="T57" fmla="*/ 241 h 446"/>
                  <a:gd name="T58" fmla="*/ 177 w 321"/>
                  <a:gd name="T59" fmla="*/ 241 h 446"/>
                  <a:gd name="T60" fmla="*/ 182 w 321"/>
                  <a:gd name="T61" fmla="*/ 262 h 446"/>
                  <a:gd name="T62" fmla="*/ 168 w 321"/>
                  <a:gd name="T63" fmla="*/ 295 h 446"/>
                  <a:gd name="T64" fmla="*/ 168 w 321"/>
                  <a:gd name="T65" fmla="*/ 352 h 446"/>
                  <a:gd name="T66" fmla="*/ 151 w 321"/>
                  <a:gd name="T67" fmla="*/ 368 h 446"/>
                  <a:gd name="T68" fmla="*/ 144 w 321"/>
                  <a:gd name="T69" fmla="*/ 357 h 446"/>
                  <a:gd name="T70" fmla="*/ 140 w 321"/>
                  <a:gd name="T71" fmla="*/ 352 h 446"/>
                  <a:gd name="T72" fmla="*/ 130 w 321"/>
                  <a:gd name="T73" fmla="*/ 335 h 446"/>
                  <a:gd name="T74" fmla="*/ 109 w 321"/>
                  <a:gd name="T75" fmla="*/ 368 h 446"/>
                  <a:gd name="T76" fmla="*/ 97 w 321"/>
                  <a:gd name="T77" fmla="*/ 335 h 446"/>
                  <a:gd name="T78" fmla="*/ 92 w 321"/>
                  <a:gd name="T79" fmla="*/ 373 h 446"/>
                  <a:gd name="T80" fmla="*/ 76 w 321"/>
                  <a:gd name="T81" fmla="*/ 368 h 446"/>
                  <a:gd name="T82" fmla="*/ 76 w 321"/>
                  <a:gd name="T83" fmla="*/ 347 h 446"/>
                  <a:gd name="T84" fmla="*/ 168 w 321"/>
                  <a:gd name="T85" fmla="*/ 246 h 446"/>
                  <a:gd name="T86" fmla="*/ 177 w 321"/>
                  <a:gd name="T87" fmla="*/ 257 h 446"/>
                  <a:gd name="T88" fmla="*/ 177 w 321"/>
                  <a:gd name="T89" fmla="*/ 274 h 446"/>
                  <a:gd name="T90" fmla="*/ 182 w 321"/>
                  <a:gd name="T91" fmla="*/ 279 h 446"/>
                  <a:gd name="T92" fmla="*/ 182 w 321"/>
                  <a:gd name="T93" fmla="*/ 286 h 446"/>
                  <a:gd name="T94" fmla="*/ 177 w 321"/>
                  <a:gd name="T95" fmla="*/ 302 h 446"/>
                  <a:gd name="T96" fmla="*/ 182 w 321"/>
                  <a:gd name="T97" fmla="*/ 352 h 446"/>
                  <a:gd name="T98" fmla="*/ 182 w 321"/>
                  <a:gd name="T99" fmla="*/ 295 h 446"/>
                  <a:gd name="T100" fmla="*/ 199 w 321"/>
                  <a:gd name="T101" fmla="*/ 347 h 446"/>
                  <a:gd name="T102" fmla="*/ 182 w 321"/>
                  <a:gd name="T103" fmla="*/ 357 h 446"/>
                  <a:gd name="T104" fmla="*/ 236 w 321"/>
                  <a:gd name="T105" fmla="*/ 302 h 446"/>
                  <a:gd name="T106" fmla="*/ 248 w 321"/>
                  <a:gd name="T107" fmla="*/ 328 h 446"/>
                  <a:gd name="T108" fmla="*/ 215 w 321"/>
                  <a:gd name="T109" fmla="*/ 312 h 446"/>
                  <a:gd name="T110" fmla="*/ 215 w 321"/>
                  <a:gd name="T111" fmla="*/ 352 h 446"/>
                  <a:gd name="T112" fmla="*/ 177 w 321"/>
                  <a:gd name="T113" fmla="*/ 352 h 446"/>
                  <a:gd name="T114" fmla="*/ 177 w 321"/>
                  <a:gd name="T115" fmla="*/ 352 h 446"/>
                  <a:gd name="T116" fmla="*/ 168 w 321"/>
                  <a:gd name="T117" fmla="*/ 352 h 446"/>
                  <a:gd name="T118" fmla="*/ 168 w 321"/>
                  <a:gd name="T119" fmla="*/ 357 h 446"/>
                  <a:gd name="T120" fmla="*/ 269 w 321"/>
                  <a:gd name="T121" fmla="*/ 373 h 446"/>
                  <a:gd name="T122" fmla="*/ 269 w 321"/>
                  <a:gd name="T123" fmla="*/ 39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1" h="446">
                    <a:moveTo>
                      <a:pt x="76" y="347"/>
                    </a:moveTo>
                    <a:lnTo>
                      <a:pt x="59" y="279"/>
                    </a:lnTo>
                    <a:lnTo>
                      <a:pt x="71" y="262"/>
                    </a:lnTo>
                    <a:lnTo>
                      <a:pt x="55" y="257"/>
                    </a:lnTo>
                    <a:lnTo>
                      <a:pt x="55" y="241"/>
                    </a:lnTo>
                    <a:lnTo>
                      <a:pt x="38" y="229"/>
                    </a:lnTo>
                    <a:lnTo>
                      <a:pt x="38" y="217"/>
                    </a:lnTo>
                    <a:lnTo>
                      <a:pt x="55" y="205"/>
                    </a:lnTo>
                    <a:lnTo>
                      <a:pt x="55" y="184"/>
                    </a:lnTo>
                    <a:lnTo>
                      <a:pt x="43" y="172"/>
                    </a:lnTo>
                    <a:lnTo>
                      <a:pt x="38" y="172"/>
                    </a:lnTo>
                    <a:lnTo>
                      <a:pt x="5" y="163"/>
                    </a:lnTo>
                    <a:lnTo>
                      <a:pt x="0" y="151"/>
                    </a:lnTo>
                    <a:lnTo>
                      <a:pt x="17" y="135"/>
                    </a:lnTo>
                    <a:lnTo>
                      <a:pt x="5" y="128"/>
                    </a:lnTo>
                    <a:lnTo>
                      <a:pt x="21" y="135"/>
                    </a:lnTo>
                    <a:lnTo>
                      <a:pt x="33" y="111"/>
                    </a:lnTo>
                    <a:lnTo>
                      <a:pt x="71" y="111"/>
                    </a:lnTo>
                    <a:lnTo>
                      <a:pt x="71" y="106"/>
                    </a:lnTo>
                    <a:lnTo>
                      <a:pt x="59" y="94"/>
                    </a:lnTo>
                    <a:lnTo>
                      <a:pt x="55" y="90"/>
                    </a:lnTo>
                    <a:lnTo>
                      <a:pt x="38" y="90"/>
                    </a:lnTo>
                    <a:lnTo>
                      <a:pt x="21" y="61"/>
                    </a:lnTo>
                    <a:lnTo>
                      <a:pt x="5" y="57"/>
                    </a:lnTo>
                    <a:lnTo>
                      <a:pt x="17" y="33"/>
                    </a:lnTo>
                    <a:lnTo>
                      <a:pt x="38" y="17"/>
                    </a:lnTo>
                    <a:lnTo>
                      <a:pt x="33" y="5"/>
                    </a:lnTo>
                    <a:lnTo>
                      <a:pt x="21" y="5"/>
                    </a:lnTo>
                    <a:lnTo>
                      <a:pt x="33" y="0"/>
                    </a:lnTo>
                    <a:lnTo>
                      <a:pt x="59" y="33"/>
                    </a:lnTo>
                    <a:lnTo>
                      <a:pt x="76" y="24"/>
                    </a:lnTo>
                    <a:lnTo>
                      <a:pt x="59" y="17"/>
                    </a:lnTo>
                    <a:lnTo>
                      <a:pt x="71" y="17"/>
                    </a:lnTo>
                    <a:lnTo>
                      <a:pt x="76" y="17"/>
                    </a:lnTo>
                    <a:lnTo>
                      <a:pt x="76" y="33"/>
                    </a:lnTo>
                    <a:lnTo>
                      <a:pt x="92" y="50"/>
                    </a:lnTo>
                    <a:lnTo>
                      <a:pt x="109" y="50"/>
                    </a:lnTo>
                    <a:lnTo>
                      <a:pt x="114" y="33"/>
                    </a:lnTo>
                    <a:lnTo>
                      <a:pt x="123" y="33"/>
                    </a:lnTo>
                    <a:lnTo>
                      <a:pt x="130" y="57"/>
                    </a:lnTo>
                    <a:lnTo>
                      <a:pt x="130" y="106"/>
                    </a:lnTo>
                    <a:lnTo>
                      <a:pt x="168" y="111"/>
                    </a:lnTo>
                    <a:lnTo>
                      <a:pt x="286" y="111"/>
                    </a:lnTo>
                    <a:lnTo>
                      <a:pt x="307" y="118"/>
                    </a:lnTo>
                    <a:lnTo>
                      <a:pt x="312" y="135"/>
                    </a:lnTo>
                    <a:lnTo>
                      <a:pt x="300" y="135"/>
                    </a:lnTo>
                    <a:lnTo>
                      <a:pt x="291" y="168"/>
                    </a:lnTo>
                    <a:lnTo>
                      <a:pt x="274" y="172"/>
                    </a:lnTo>
                    <a:lnTo>
                      <a:pt x="269" y="189"/>
                    </a:lnTo>
                    <a:lnTo>
                      <a:pt x="236" y="189"/>
                    </a:lnTo>
                    <a:lnTo>
                      <a:pt x="232" y="205"/>
                    </a:lnTo>
                    <a:lnTo>
                      <a:pt x="220" y="229"/>
                    </a:lnTo>
                    <a:lnTo>
                      <a:pt x="232" y="274"/>
                    </a:lnTo>
                    <a:lnTo>
                      <a:pt x="236" y="274"/>
                    </a:lnTo>
                    <a:lnTo>
                      <a:pt x="236" y="257"/>
                    </a:lnTo>
                    <a:lnTo>
                      <a:pt x="248" y="279"/>
                    </a:lnTo>
                    <a:lnTo>
                      <a:pt x="258" y="279"/>
                    </a:lnTo>
                    <a:lnTo>
                      <a:pt x="269" y="274"/>
                    </a:lnTo>
                    <a:lnTo>
                      <a:pt x="258" y="257"/>
                    </a:lnTo>
                    <a:lnTo>
                      <a:pt x="274" y="241"/>
                    </a:lnTo>
                    <a:lnTo>
                      <a:pt x="274" y="224"/>
                    </a:lnTo>
                    <a:lnTo>
                      <a:pt x="286" y="229"/>
                    </a:lnTo>
                    <a:lnTo>
                      <a:pt x="300" y="224"/>
                    </a:lnTo>
                    <a:lnTo>
                      <a:pt x="307" y="257"/>
                    </a:lnTo>
                    <a:lnTo>
                      <a:pt x="307" y="279"/>
                    </a:lnTo>
                    <a:lnTo>
                      <a:pt x="312" y="302"/>
                    </a:lnTo>
                    <a:lnTo>
                      <a:pt x="321" y="357"/>
                    </a:lnTo>
                    <a:lnTo>
                      <a:pt x="321" y="406"/>
                    </a:lnTo>
                    <a:lnTo>
                      <a:pt x="321" y="406"/>
                    </a:lnTo>
                    <a:lnTo>
                      <a:pt x="307" y="390"/>
                    </a:lnTo>
                    <a:lnTo>
                      <a:pt x="300" y="402"/>
                    </a:lnTo>
                    <a:lnTo>
                      <a:pt x="291" y="406"/>
                    </a:lnTo>
                    <a:lnTo>
                      <a:pt x="300" y="425"/>
                    </a:lnTo>
                    <a:lnTo>
                      <a:pt x="300" y="446"/>
                    </a:lnTo>
                    <a:lnTo>
                      <a:pt x="286" y="413"/>
                    </a:lnTo>
                    <a:lnTo>
                      <a:pt x="274" y="402"/>
                    </a:lnTo>
                    <a:lnTo>
                      <a:pt x="286" y="385"/>
                    </a:lnTo>
                    <a:lnTo>
                      <a:pt x="269" y="373"/>
                    </a:lnTo>
                    <a:lnTo>
                      <a:pt x="258" y="319"/>
                    </a:lnTo>
                    <a:lnTo>
                      <a:pt x="236" y="295"/>
                    </a:lnTo>
                    <a:lnTo>
                      <a:pt x="220" y="312"/>
                    </a:lnTo>
                    <a:lnTo>
                      <a:pt x="203" y="312"/>
                    </a:lnTo>
                    <a:lnTo>
                      <a:pt x="199" y="302"/>
                    </a:lnTo>
                    <a:lnTo>
                      <a:pt x="182" y="274"/>
                    </a:lnTo>
                    <a:lnTo>
                      <a:pt x="182" y="241"/>
                    </a:lnTo>
                    <a:lnTo>
                      <a:pt x="194" y="241"/>
                    </a:lnTo>
                    <a:lnTo>
                      <a:pt x="182" y="241"/>
                    </a:lnTo>
                    <a:lnTo>
                      <a:pt x="182" y="229"/>
                    </a:lnTo>
                    <a:lnTo>
                      <a:pt x="177" y="229"/>
                    </a:lnTo>
                    <a:lnTo>
                      <a:pt x="177" y="241"/>
                    </a:lnTo>
                    <a:lnTo>
                      <a:pt x="177" y="246"/>
                    </a:lnTo>
                    <a:lnTo>
                      <a:pt x="161" y="246"/>
                    </a:lnTo>
                    <a:lnTo>
                      <a:pt x="182" y="262"/>
                    </a:lnTo>
                    <a:lnTo>
                      <a:pt x="177" y="274"/>
                    </a:lnTo>
                    <a:lnTo>
                      <a:pt x="168" y="274"/>
                    </a:lnTo>
                    <a:lnTo>
                      <a:pt x="168" y="295"/>
                    </a:lnTo>
                    <a:lnTo>
                      <a:pt x="177" y="312"/>
                    </a:lnTo>
                    <a:lnTo>
                      <a:pt x="182" y="328"/>
                    </a:lnTo>
                    <a:lnTo>
                      <a:pt x="168" y="352"/>
                    </a:lnTo>
                    <a:lnTo>
                      <a:pt x="168" y="335"/>
                    </a:lnTo>
                    <a:lnTo>
                      <a:pt x="161" y="368"/>
                    </a:lnTo>
                    <a:lnTo>
                      <a:pt x="151" y="368"/>
                    </a:lnTo>
                    <a:lnTo>
                      <a:pt x="140" y="368"/>
                    </a:lnTo>
                    <a:lnTo>
                      <a:pt x="151" y="347"/>
                    </a:lnTo>
                    <a:lnTo>
                      <a:pt x="144" y="357"/>
                    </a:lnTo>
                    <a:lnTo>
                      <a:pt x="140" y="352"/>
                    </a:lnTo>
                    <a:lnTo>
                      <a:pt x="144" y="347"/>
                    </a:lnTo>
                    <a:lnTo>
                      <a:pt x="140" y="352"/>
                    </a:lnTo>
                    <a:lnTo>
                      <a:pt x="130" y="335"/>
                    </a:lnTo>
                    <a:lnTo>
                      <a:pt x="140" y="319"/>
                    </a:lnTo>
                    <a:lnTo>
                      <a:pt x="130" y="335"/>
                    </a:lnTo>
                    <a:lnTo>
                      <a:pt x="130" y="357"/>
                    </a:lnTo>
                    <a:lnTo>
                      <a:pt x="109" y="373"/>
                    </a:lnTo>
                    <a:lnTo>
                      <a:pt x="109" y="368"/>
                    </a:lnTo>
                    <a:lnTo>
                      <a:pt x="114" y="328"/>
                    </a:lnTo>
                    <a:lnTo>
                      <a:pt x="109" y="357"/>
                    </a:lnTo>
                    <a:lnTo>
                      <a:pt x="97" y="335"/>
                    </a:lnTo>
                    <a:lnTo>
                      <a:pt x="109" y="357"/>
                    </a:lnTo>
                    <a:lnTo>
                      <a:pt x="97" y="373"/>
                    </a:lnTo>
                    <a:lnTo>
                      <a:pt x="92" y="373"/>
                    </a:lnTo>
                    <a:lnTo>
                      <a:pt x="92" y="357"/>
                    </a:lnTo>
                    <a:lnTo>
                      <a:pt x="88" y="385"/>
                    </a:lnTo>
                    <a:lnTo>
                      <a:pt x="76" y="368"/>
                    </a:lnTo>
                    <a:lnTo>
                      <a:pt x="76" y="347"/>
                    </a:lnTo>
                    <a:lnTo>
                      <a:pt x="76" y="347"/>
                    </a:lnTo>
                    <a:lnTo>
                      <a:pt x="76" y="347"/>
                    </a:lnTo>
                    <a:close/>
                    <a:moveTo>
                      <a:pt x="177" y="257"/>
                    </a:moveTo>
                    <a:lnTo>
                      <a:pt x="182" y="257"/>
                    </a:lnTo>
                    <a:lnTo>
                      <a:pt x="168" y="246"/>
                    </a:lnTo>
                    <a:lnTo>
                      <a:pt x="177" y="257"/>
                    </a:lnTo>
                    <a:lnTo>
                      <a:pt x="177" y="257"/>
                    </a:lnTo>
                    <a:lnTo>
                      <a:pt x="177" y="257"/>
                    </a:lnTo>
                    <a:close/>
                    <a:moveTo>
                      <a:pt x="182" y="279"/>
                    </a:moveTo>
                    <a:lnTo>
                      <a:pt x="177" y="279"/>
                    </a:lnTo>
                    <a:lnTo>
                      <a:pt x="177" y="274"/>
                    </a:lnTo>
                    <a:lnTo>
                      <a:pt x="182" y="279"/>
                    </a:lnTo>
                    <a:lnTo>
                      <a:pt x="182" y="279"/>
                    </a:lnTo>
                    <a:lnTo>
                      <a:pt x="182" y="279"/>
                    </a:lnTo>
                    <a:close/>
                    <a:moveTo>
                      <a:pt x="177" y="302"/>
                    </a:moveTo>
                    <a:lnTo>
                      <a:pt x="168" y="286"/>
                    </a:lnTo>
                    <a:lnTo>
                      <a:pt x="182" y="286"/>
                    </a:lnTo>
                    <a:lnTo>
                      <a:pt x="177" y="295"/>
                    </a:lnTo>
                    <a:lnTo>
                      <a:pt x="177" y="302"/>
                    </a:lnTo>
                    <a:lnTo>
                      <a:pt x="177" y="302"/>
                    </a:lnTo>
                    <a:lnTo>
                      <a:pt x="177" y="302"/>
                    </a:lnTo>
                    <a:close/>
                    <a:moveTo>
                      <a:pt x="182" y="357"/>
                    </a:moveTo>
                    <a:lnTo>
                      <a:pt x="182" y="352"/>
                    </a:lnTo>
                    <a:lnTo>
                      <a:pt x="182" y="319"/>
                    </a:lnTo>
                    <a:lnTo>
                      <a:pt x="177" y="302"/>
                    </a:lnTo>
                    <a:lnTo>
                      <a:pt x="182" y="295"/>
                    </a:lnTo>
                    <a:lnTo>
                      <a:pt x="182" y="295"/>
                    </a:lnTo>
                    <a:lnTo>
                      <a:pt x="199" y="319"/>
                    </a:lnTo>
                    <a:lnTo>
                      <a:pt x="199" y="347"/>
                    </a:lnTo>
                    <a:lnTo>
                      <a:pt x="182" y="357"/>
                    </a:lnTo>
                    <a:lnTo>
                      <a:pt x="182" y="357"/>
                    </a:lnTo>
                    <a:lnTo>
                      <a:pt x="182" y="357"/>
                    </a:lnTo>
                    <a:close/>
                    <a:moveTo>
                      <a:pt x="248" y="328"/>
                    </a:moveTo>
                    <a:lnTo>
                      <a:pt x="236" y="319"/>
                    </a:lnTo>
                    <a:lnTo>
                      <a:pt x="236" y="302"/>
                    </a:lnTo>
                    <a:lnTo>
                      <a:pt x="248" y="319"/>
                    </a:lnTo>
                    <a:lnTo>
                      <a:pt x="248" y="328"/>
                    </a:lnTo>
                    <a:lnTo>
                      <a:pt x="248" y="328"/>
                    </a:lnTo>
                    <a:lnTo>
                      <a:pt x="248" y="328"/>
                    </a:lnTo>
                    <a:close/>
                    <a:moveTo>
                      <a:pt x="215" y="352"/>
                    </a:moveTo>
                    <a:lnTo>
                      <a:pt x="215" y="312"/>
                    </a:lnTo>
                    <a:lnTo>
                      <a:pt x="220" y="335"/>
                    </a:lnTo>
                    <a:lnTo>
                      <a:pt x="215" y="352"/>
                    </a:lnTo>
                    <a:lnTo>
                      <a:pt x="215" y="352"/>
                    </a:lnTo>
                    <a:lnTo>
                      <a:pt x="215" y="352"/>
                    </a:lnTo>
                    <a:close/>
                    <a:moveTo>
                      <a:pt x="177" y="352"/>
                    </a:moveTo>
                    <a:lnTo>
                      <a:pt x="177" y="352"/>
                    </a:lnTo>
                    <a:lnTo>
                      <a:pt x="182" y="347"/>
                    </a:lnTo>
                    <a:lnTo>
                      <a:pt x="177" y="352"/>
                    </a:lnTo>
                    <a:lnTo>
                      <a:pt x="177" y="352"/>
                    </a:lnTo>
                    <a:lnTo>
                      <a:pt x="177" y="352"/>
                    </a:lnTo>
                    <a:close/>
                    <a:moveTo>
                      <a:pt x="168" y="357"/>
                    </a:moveTo>
                    <a:lnTo>
                      <a:pt x="168" y="352"/>
                    </a:lnTo>
                    <a:lnTo>
                      <a:pt x="177" y="357"/>
                    </a:lnTo>
                    <a:lnTo>
                      <a:pt x="168" y="357"/>
                    </a:lnTo>
                    <a:lnTo>
                      <a:pt x="168" y="357"/>
                    </a:lnTo>
                    <a:lnTo>
                      <a:pt x="168" y="357"/>
                    </a:lnTo>
                    <a:close/>
                    <a:moveTo>
                      <a:pt x="269" y="390"/>
                    </a:moveTo>
                    <a:lnTo>
                      <a:pt x="269" y="373"/>
                    </a:lnTo>
                    <a:lnTo>
                      <a:pt x="274" y="385"/>
                    </a:lnTo>
                    <a:lnTo>
                      <a:pt x="269" y="390"/>
                    </a:lnTo>
                    <a:lnTo>
                      <a:pt x="269" y="390"/>
                    </a:lnTo>
                    <a:lnTo>
                      <a:pt x="269" y="39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0" name="Freeform 399">
                <a:extLst>
                  <a:ext uri="{FF2B5EF4-FFF2-40B4-BE49-F238E27FC236}">
                    <a16:creationId xmlns:a16="http://schemas.microsoft.com/office/drawing/2014/main" id="{C3E537D9-2F9F-480F-803D-9C2279A65969}"/>
                  </a:ext>
                </a:extLst>
              </p:cNvPr>
              <p:cNvSpPr>
                <a:spLocks noEditPoints="1"/>
              </p:cNvSpPr>
              <p:nvPr/>
            </p:nvSpPr>
            <p:spPr bwMode="gray">
              <a:xfrm>
                <a:off x="9387682" y="3196342"/>
                <a:ext cx="259764" cy="576402"/>
              </a:xfrm>
              <a:custGeom>
                <a:avLst/>
                <a:gdLst>
                  <a:gd name="T0" fmla="*/ 31 w 631"/>
                  <a:gd name="T1" fmla="*/ 552 h 1400"/>
                  <a:gd name="T2" fmla="*/ 64 w 631"/>
                  <a:gd name="T3" fmla="*/ 448 h 1400"/>
                  <a:gd name="T4" fmla="*/ 92 w 631"/>
                  <a:gd name="T5" fmla="*/ 354 h 1400"/>
                  <a:gd name="T6" fmla="*/ 173 w 631"/>
                  <a:gd name="T7" fmla="*/ 243 h 1400"/>
                  <a:gd name="T8" fmla="*/ 286 w 631"/>
                  <a:gd name="T9" fmla="*/ 94 h 1400"/>
                  <a:gd name="T10" fmla="*/ 362 w 631"/>
                  <a:gd name="T11" fmla="*/ 23 h 1400"/>
                  <a:gd name="T12" fmla="*/ 442 w 631"/>
                  <a:gd name="T13" fmla="*/ 73 h 1400"/>
                  <a:gd name="T14" fmla="*/ 447 w 631"/>
                  <a:gd name="T15" fmla="*/ 205 h 1400"/>
                  <a:gd name="T16" fmla="*/ 392 w 631"/>
                  <a:gd name="T17" fmla="*/ 276 h 1400"/>
                  <a:gd name="T18" fmla="*/ 388 w 631"/>
                  <a:gd name="T19" fmla="*/ 366 h 1400"/>
                  <a:gd name="T20" fmla="*/ 463 w 631"/>
                  <a:gd name="T21" fmla="*/ 387 h 1400"/>
                  <a:gd name="T22" fmla="*/ 501 w 631"/>
                  <a:gd name="T23" fmla="*/ 448 h 1400"/>
                  <a:gd name="T24" fmla="*/ 555 w 631"/>
                  <a:gd name="T25" fmla="*/ 536 h 1400"/>
                  <a:gd name="T26" fmla="*/ 614 w 631"/>
                  <a:gd name="T27" fmla="*/ 548 h 1400"/>
                  <a:gd name="T28" fmla="*/ 555 w 631"/>
                  <a:gd name="T29" fmla="*/ 625 h 1400"/>
                  <a:gd name="T30" fmla="*/ 484 w 631"/>
                  <a:gd name="T31" fmla="*/ 647 h 1400"/>
                  <a:gd name="T32" fmla="*/ 399 w 631"/>
                  <a:gd name="T33" fmla="*/ 680 h 1400"/>
                  <a:gd name="T34" fmla="*/ 362 w 631"/>
                  <a:gd name="T35" fmla="*/ 758 h 1400"/>
                  <a:gd name="T36" fmla="*/ 451 w 631"/>
                  <a:gd name="T37" fmla="*/ 923 h 1400"/>
                  <a:gd name="T38" fmla="*/ 442 w 631"/>
                  <a:gd name="T39" fmla="*/ 996 h 1400"/>
                  <a:gd name="T40" fmla="*/ 496 w 631"/>
                  <a:gd name="T41" fmla="*/ 1112 h 1400"/>
                  <a:gd name="T42" fmla="*/ 506 w 631"/>
                  <a:gd name="T43" fmla="*/ 1216 h 1400"/>
                  <a:gd name="T44" fmla="*/ 447 w 631"/>
                  <a:gd name="T45" fmla="*/ 1388 h 1400"/>
                  <a:gd name="T46" fmla="*/ 463 w 631"/>
                  <a:gd name="T47" fmla="*/ 1256 h 1400"/>
                  <a:gd name="T48" fmla="*/ 447 w 631"/>
                  <a:gd name="T49" fmla="*/ 1223 h 1400"/>
                  <a:gd name="T50" fmla="*/ 425 w 631"/>
                  <a:gd name="T51" fmla="*/ 1088 h 1400"/>
                  <a:gd name="T52" fmla="*/ 388 w 631"/>
                  <a:gd name="T53" fmla="*/ 907 h 1400"/>
                  <a:gd name="T54" fmla="*/ 333 w 631"/>
                  <a:gd name="T55" fmla="*/ 869 h 1400"/>
                  <a:gd name="T56" fmla="*/ 286 w 631"/>
                  <a:gd name="T57" fmla="*/ 918 h 1400"/>
                  <a:gd name="T58" fmla="*/ 227 w 631"/>
                  <a:gd name="T59" fmla="*/ 940 h 1400"/>
                  <a:gd name="T60" fmla="*/ 199 w 631"/>
                  <a:gd name="T61" fmla="*/ 963 h 1400"/>
                  <a:gd name="T62" fmla="*/ 182 w 631"/>
                  <a:gd name="T63" fmla="*/ 940 h 1400"/>
                  <a:gd name="T64" fmla="*/ 144 w 631"/>
                  <a:gd name="T65" fmla="*/ 947 h 1400"/>
                  <a:gd name="T66" fmla="*/ 139 w 631"/>
                  <a:gd name="T67" fmla="*/ 737 h 1400"/>
                  <a:gd name="T68" fmla="*/ 102 w 631"/>
                  <a:gd name="T69" fmla="*/ 670 h 1400"/>
                  <a:gd name="T70" fmla="*/ 69 w 631"/>
                  <a:gd name="T71" fmla="*/ 659 h 1400"/>
                  <a:gd name="T72" fmla="*/ 47 w 631"/>
                  <a:gd name="T73" fmla="*/ 642 h 1400"/>
                  <a:gd name="T74" fmla="*/ 17 w 631"/>
                  <a:gd name="T75" fmla="*/ 602 h 1400"/>
                  <a:gd name="T76" fmla="*/ 102 w 631"/>
                  <a:gd name="T77" fmla="*/ 687 h 1400"/>
                  <a:gd name="T78" fmla="*/ 123 w 631"/>
                  <a:gd name="T79" fmla="*/ 725 h 1400"/>
                  <a:gd name="T80" fmla="*/ 118 w 631"/>
                  <a:gd name="T81" fmla="*/ 703 h 1400"/>
                  <a:gd name="T82" fmla="*/ 92 w 631"/>
                  <a:gd name="T83" fmla="*/ 737 h 1400"/>
                  <a:gd name="T84" fmla="*/ 376 w 631"/>
                  <a:gd name="T85" fmla="*/ 935 h 1400"/>
                  <a:gd name="T86" fmla="*/ 173 w 631"/>
                  <a:gd name="T87" fmla="*/ 940 h 1400"/>
                  <a:gd name="T88" fmla="*/ 430 w 631"/>
                  <a:gd name="T89" fmla="*/ 1216 h 1400"/>
                  <a:gd name="T90" fmla="*/ 430 w 631"/>
                  <a:gd name="T91" fmla="*/ 1216 h 1400"/>
                  <a:gd name="T92" fmla="*/ 409 w 631"/>
                  <a:gd name="T93" fmla="*/ 1216 h 1400"/>
                  <a:gd name="T94" fmla="*/ 413 w 631"/>
                  <a:gd name="T95" fmla="*/ 1223 h 1400"/>
                  <a:gd name="T96" fmla="*/ 442 w 631"/>
                  <a:gd name="T97" fmla="*/ 1233 h 1400"/>
                  <a:gd name="T98" fmla="*/ 447 w 631"/>
                  <a:gd name="T99" fmla="*/ 1256 h 1400"/>
                  <a:gd name="T100" fmla="*/ 430 w 631"/>
                  <a:gd name="T101" fmla="*/ 1256 h 1400"/>
                  <a:gd name="T102" fmla="*/ 447 w 631"/>
                  <a:gd name="T103" fmla="*/ 1306 h 1400"/>
                  <a:gd name="T104" fmla="*/ 425 w 631"/>
                  <a:gd name="T105" fmla="*/ 1332 h 1400"/>
                  <a:gd name="T106" fmla="*/ 425 w 631"/>
                  <a:gd name="T107" fmla="*/ 1332 h 1400"/>
                  <a:gd name="T108" fmla="*/ 399 w 631"/>
                  <a:gd name="T109" fmla="*/ 1348 h 1400"/>
                  <a:gd name="T110" fmla="*/ 425 w 631"/>
                  <a:gd name="T111" fmla="*/ 1384 h 1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1400">
                    <a:moveTo>
                      <a:pt x="10" y="569"/>
                    </a:moveTo>
                    <a:lnTo>
                      <a:pt x="0" y="552"/>
                    </a:lnTo>
                    <a:lnTo>
                      <a:pt x="10" y="548"/>
                    </a:lnTo>
                    <a:lnTo>
                      <a:pt x="17" y="536"/>
                    </a:lnTo>
                    <a:lnTo>
                      <a:pt x="31" y="552"/>
                    </a:lnTo>
                    <a:lnTo>
                      <a:pt x="31" y="552"/>
                    </a:lnTo>
                    <a:lnTo>
                      <a:pt x="31" y="503"/>
                    </a:lnTo>
                    <a:lnTo>
                      <a:pt x="38" y="493"/>
                    </a:lnTo>
                    <a:lnTo>
                      <a:pt x="54" y="498"/>
                    </a:lnTo>
                    <a:lnTo>
                      <a:pt x="64" y="481"/>
                    </a:lnTo>
                    <a:lnTo>
                      <a:pt x="69" y="481"/>
                    </a:lnTo>
                    <a:lnTo>
                      <a:pt x="64" y="448"/>
                    </a:lnTo>
                    <a:lnTo>
                      <a:pt x="69" y="420"/>
                    </a:lnTo>
                    <a:lnTo>
                      <a:pt x="76" y="427"/>
                    </a:lnTo>
                    <a:lnTo>
                      <a:pt x="85" y="411"/>
                    </a:lnTo>
                    <a:lnTo>
                      <a:pt x="85" y="370"/>
                    </a:lnTo>
                    <a:lnTo>
                      <a:pt x="85" y="337"/>
                    </a:lnTo>
                    <a:lnTo>
                      <a:pt x="92" y="354"/>
                    </a:lnTo>
                    <a:lnTo>
                      <a:pt x="106" y="349"/>
                    </a:lnTo>
                    <a:lnTo>
                      <a:pt x="139" y="366"/>
                    </a:lnTo>
                    <a:lnTo>
                      <a:pt x="177" y="266"/>
                    </a:lnTo>
                    <a:lnTo>
                      <a:pt x="177" y="259"/>
                    </a:lnTo>
                    <a:lnTo>
                      <a:pt x="173" y="255"/>
                    </a:lnTo>
                    <a:lnTo>
                      <a:pt x="173" y="243"/>
                    </a:lnTo>
                    <a:lnTo>
                      <a:pt x="194" y="226"/>
                    </a:lnTo>
                    <a:lnTo>
                      <a:pt x="210" y="188"/>
                    </a:lnTo>
                    <a:lnTo>
                      <a:pt x="199" y="172"/>
                    </a:lnTo>
                    <a:lnTo>
                      <a:pt x="210" y="151"/>
                    </a:lnTo>
                    <a:lnTo>
                      <a:pt x="232" y="144"/>
                    </a:lnTo>
                    <a:lnTo>
                      <a:pt x="286" y="94"/>
                    </a:lnTo>
                    <a:lnTo>
                      <a:pt x="317" y="94"/>
                    </a:lnTo>
                    <a:lnTo>
                      <a:pt x="333" y="99"/>
                    </a:lnTo>
                    <a:lnTo>
                      <a:pt x="345" y="111"/>
                    </a:lnTo>
                    <a:lnTo>
                      <a:pt x="333" y="73"/>
                    </a:lnTo>
                    <a:lnTo>
                      <a:pt x="362" y="44"/>
                    </a:lnTo>
                    <a:lnTo>
                      <a:pt x="362" y="23"/>
                    </a:lnTo>
                    <a:lnTo>
                      <a:pt x="371" y="16"/>
                    </a:lnTo>
                    <a:lnTo>
                      <a:pt x="376" y="0"/>
                    </a:lnTo>
                    <a:lnTo>
                      <a:pt x="409" y="23"/>
                    </a:lnTo>
                    <a:lnTo>
                      <a:pt x="413" y="33"/>
                    </a:lnTo>
                    <a:lnTo>
                      <a:pt x="430" y="77"/>
                    </a:lnTo>
                    <a:lnTo>
                      <a:pt x="442" y="73"/>
                    </a:lnTo>
                    <a:lnTo>
                      <a:pt x="451" y="77"/>
                    </a:lnTo>
                    <a:lnTo>
                      <a:pt x="463" y="134"/>
                    </a:lnTo>
                    <a:lnTo>
                      <a:pt x="463" y="184"/>
                    </a:lnTo>
                    <a:lnTo>
                      <a:pt x="447" y="188"/>
                    </a:lnTo>
                    <a:lnTo>
                      <a:pt x="451" y="205"/>
                    </a:lnTo>
                    <a:lnTo>
                      <a:pt x="447" y="205"/>
                    </a:lnTo>
                    <a:lnTo>
                      <a:pt x="430" y="226"/>
                    </a:lnTo>
                    <a:lnTo>
                      <a:pt x="425" y="226"/>
                    </a:lnTo>
                    <a:lnTo>
                      <a:pt x="409" y="255"/>
                    </a:lnTo>
                    <a:lnTo>
                      <a:pt x="399" y="259"/>
                    </a:lnTo>
                    <a:lnTo>
                      <a:pt x="392" y="255"/>
                    </a:lnTo>
                    <a:lnTo>
                      <a:pt x="392" y="276"/>
                    </a:lnTo>
                    <a:lnTo>
                      <a:pt x="376" y="292"/>
                    </a:lnTo>
                    <a:lnTo>
                      <a:pt x="376" y="316"/>
                    </a:lnTo>
                    <a:lnTo>
                      <a:pt x="388" y="316"/>
                    </a:lnTo>
                    <a:lnTo>
                      <a:pt x="392" y="337"/>
                    </a:lnTo>
                    <a:lnTo>
                      <a:pt x="376" y="354"/>
                    </a:lnTo>
                    <a:lnTo>
                      <a:pt x="388" y="366"/>
                    </a:lnTo>
                    <a:lnTo>
                      <a:pt x="413" y="337"/>
                    </a:lnTo>
                    <a:lnTo>
                      <a:pt x="468" y="337"/>
                    </a:lnTo>
                    <a:lnTo>
                      <a:pt x="451" y="354"/>
                    </a:lnTo>
                    <a:lnTo>
                      <a:pt x="451" y="366"/>
                    </a:lnTo>
                    <a:lnTo>
                      <a:pt x="463" y="370"/>
                    </a:lnTo>
                    <a:lnTo>
                      <a:pt x="463" y="387"/>
                    </a:lnTo>
                    <a:lnTo>
                      <a:pt x="468" y="394"/>
                    </a:lnTo>
                    <a:lnTo>
                      <a:pt x="468" y="411"/>
                    </a:lnTo>
                    <a:lnTo>
                      <a:pt x="484" y="420"/>
                    </a:lnTo>
                    <a:lnTo>
                      <a:pt x="517" y="420"/>
                    </a:lnTo>
                    <a:lnTo>
                      <a:pt x="517" y="427"/>
                    </a:lnTo>
                    <a:lnTo>
                      <a:pt x="501" y="448"/>
                    </a:lnTo>
                    <a:lnTo>
                      <a:pt x="506" y="465"/>
                    </a:lnTo>
                    <a:lnTo>
                      <a:pt x="484" y="493"/>
                    </a:lnTo>
                    <a:lnTo>
                      <a:pt x="550" y="498"/>
                    </a:lnTo>
                    <a:lnTo>
                      <a:pt x="550" y="519"/>
                    </a:lnTo>
                    <a:lnTo>
                      <a:pt x="555" y="531"/>
                    </a:lnTo>
                    <a:lnTo>
                      <a:pt x="555" y="536"/>
                    </a:lnTo>
                    <a:lnTo>
                      <a:pt x="560" y="548"/>
                    </a:lnTo>
                    <a:lnTo>
                      <a:pt x="576" y="536"/>
                    </a:lnTo>
                    <a:lnTo>
                      <a:pt x="588" y="548"/>
                    </a:lnTo>
                    <a:lnTo>
                      <a:pt x="624" y="519"/>
                    </a:lnTo>
                    <a:lnTo>
                      <a:pt x="631" y="531"/>
                    </a:lnTo>
                    <a:lnTo>
                      <a:pt x="614" y="548"/>
                    </a:lnTo>
                    <a:lnTo>
                      <a:pt x="602" y="552"/>
                    </a:lnTo>
                    <a:lnTo>
                      <a:pt x="588" y="576"/>
                    </a:lnTo>
                    <a:lnTo>
                      <a:pt x="588" y="585"/>
                    </a:lnTo>
                    <a:lnTo>
                      <a:pt x="593" y="585"/>
                    </a:lnTo>
                    <a:lnTo>
                      <a:pt x="560" y="592"/>
                    </a:lnTo>
                    <a:lnTo>
                      <a:pt x="555" y="625"/>
                    </a:lnTo>
                    <a:lnTo>
                      <a:pt x="550" y="614"/>
                    </a:lnTo>
                    <a:lnTo>
                      <a:pt x="534" y="625"/>
                    </a:lnTo>
                    <a:lnTo>
                      <a:pt x="517" y="625"/>
                    </a:lnTo>
                    <a:lnTo>
                      <a:pt x="517" y="642"/>
                    </a:lnTo>
                    <a:lnTo>
                      <a:pt x="506" y="642"/>
                    </a:lnTo>
                    <a:lnTo>
                      <a:pt x="484" y="647"/>
                    </a:lnTo>
                    <a:lnTo>
                      <a:pt x="480" y="663"/>
                    </a:lnTo>
                    <a:lnTo>
                      <a:pt x="468" y="663"/>
                    </a:lnTo>
                    <a:lnTo>
                      <a:pt x="425" y="670"/>
                    </a:lnTo>
                    <a:lnTo>
                      <a:pt x="409" y="663"/>
                    </a:lnTo>
                    <a:lnTo>
                      <a:pt x="409" y="680"/>
                    </a:lnTo>
                    <a:lnTo>
                      <a:pt x="399" y="680"/>
                    </a:lnTo>
                    <a:lnTo>
                      <a:pt x="392" y="696"/>
                    </a:lnTo>
                    <a:lnTo>
                      <a:pt x="392" y="720"/>
                    </a:lnTo>
                    <a:lnTo>
                      <a:pt x="388" y="725"/>
                    </a:lnTo>
                    <a:lnTo>
                      <a:pt x="392" y="758"/>
                    </a:lnTo>
                    <a:lnTo>
                      <a:pt x="371" y="770"/>
                    </a:lnTo>
                    <a:lnTo>
                      <a:pt x="362" y="758"/>
                    </a:lnTo>
                    <a:lnTo>
                      <a:pt x="371" y="779"/>
                    </a:lnTo>
                    <a:lnTo>
                      <a:pt x="388" y="779"/>
                    </a:lnTo>
                    <a:lnTo>
                      <a:pt x="392" y="824"/>
                    </a:lnTo>
                    <a:lnTo>
                      <a:pt x="447" y="881"/>
                    </a:lnTo>
                    <a:lnTo>
                      <a:pt x="442" y="890"/>
                    </a:lnTo>
                    <a:lnTo>
                      <a:pt x="451" y="923"/>
                    </a:lnTo>
                    <a:lnTo>
                      <a:pt x="468" y="918"/>
                    </a:lnTo>
                    <a:lnTo>
                      <a:pt x="468" y="918"/>
                    </a:lnTo>
                    <a:lnTo>
                      <a:pt x="468" y="940"/>
                    </a:lnTo>
                    <a:lnTo>
                      <a:pt x="451" y="947"/>
                    </a:lnTo>
                    <a:lnTo>
                      <a:pt x="447" y="996"/>
                    </a:lnTo>
                    <a:lnTo>
                      <a:pt x="442" y="996"/>
                    </a:lnTo>
                    <a:lnTo>
                      <a:pt x="425" y="1001"/>
                    </a:lnTo>
                    <a:lnTo>
                      <a:pt x="425" y="1018"/>
                    </a:lnTo>
                    <a:lnTo>
                      <a:pt x="430" y="1046"/>
                    </a:lnTo>
                    <a:lnTo>
                      <a:pt x="451" y="1072"/>
                    </a:lnTo>
                    <a:lnTo>
                      <a:pt x="480" y="1088"/>
                    </a:lnTo>
                    <a:lnTo>
                      <a:pt x="496" y="1112"/>
                    </a:lnTo>
                    <a:lnTo>
                      <a:pt x="496" y="1157"/>
                    </a:lnTo>
                    <a:lnTo>
                      <a:pt x="484" y="1157"/>
                    </a:lnTo>
                    <a:lnTo>
                      <a:pt x="484" y="1162"/>
                    </a:lnTo>
                    <a:lnTo>
                      <a:pt x="496" y="1183"/>
                    </a:lnTo>
                    <a:lnTo>
                      <a:pt x="506" y="1199"/>
                    </a:lnTo>
                    <a:lnTo>
                      <a:pt x="506" y="1216"/>
                    </a:lnTo>
                    <a:lnTo>
                      <a:pt x="522" y="1256"/>
                    </a:lnTo>
                    <a:lnTo>
                      <a:pt x="496" y="1311"/>
                    </a:lnTo>
                    <a:lnTo>
                      <a:pt x="463" y="1332"/>
                    </a:lnTo>
                    <a:lnTo>
                      <a:pt x="463" y="1348"/>
                    </a:lnTo>
                    <a:lnTo>
                      <a:pt x="463" y="1360"/>
                    </a:lnTo>
                    <a:lnTo>
                      <a:pt x="447" y="1388"/>
                    </a:lnTo>
                    <a:lnTo>
                      <a:pt x="442" y="1332"/>
                    </a:lnTo>
                    <a:lnTo>
                      <a:pt x="447" y="1332"/>
                    </a:lnTo>
                    <a:lnTo>
                      <a:pt x="451" y="1322"/>
                    </a:lnTo>
                    <a:lnTo>
                      <a:pt x="463" y="1266"/>
                    </a:lnTo>
                    <a:lnTo>
                      <a:pt x="468" y="1266"/>
                    </a:lnTo>
                    <a:lnTo>
                      <a:pt x="463" y="1256"/>
                    </a:lnTo>
                    <a:lnTo>
                      <a:pt x="451" y="1266"/>
                    </a:lnTo>
                    <a:lnTo>
                      <a:pt x="447" y="1256"/>
                    </a:lnTo>
                    <a:lnTo>
                      <a:pt x="451" y="1240"/>
                    </a:lnTo>
                    <a:lnTo>
                      <a:pt x="451" y="1223"/>
                    </a:lnTo>
                    <a:lnTo>
                      <a:pt x="451" y="1223"/>
                    </a:lnTo>
                    <a:lnTo>
                      <a:pt x="447" y="1223"/>
                    </a:lnTo>
                    <a:lnTo>
                      <a:pt x="451" y="1216"/>
                    </a:lnTo>
                    <a:lnTo>
                      <a:pt x="447" y="1211"/>
                    </a:lnTo>
                    <a:lnTo>
                      <a:pt x="451" y="1195"/>
                    </a:lnTo>
                    <a:lnTo>
                      <a:pt x="447" y="1157"/>
                    </a:lnTo>
                    <a:lnTo>
                      <a:pt x="430" y="1112"/>
                    </a:lnTo>
                    <a:lnTo>
                      <a:pt x="425" y="1088"/>
                    </a:lnTo>
                    <a:lnTo>
                      <a:pt x="413" y="1129"/>
                    </a:lnTo>
                    <a:lnTo>
                      <a:pt x="413" y="1084"/>
                    </a:lnTo>
                    <a:lnTo>
                      <a:pt x="392" y="1029"/>
                    </a:lnTo>
                    <a:lnTo>
                      <a:pt x="388" y="956"/>
                    </a:lnTo>
                    <a:lnTo>
                      <a:pt x="376" y="940"/>
                    </a:lnTo>
                    <a:lnTo>
                      <a:pt x="388" y="907"/>
                    </a:lnTo>
                    <a:lnTo>
                      <a:pt x="392" y="907"/>
                    </a:lnTo>
                    <a:lnTo>
                      <a:pt x="362" y="907"/>
                    </a:lnTo>
                    <a:lnTo>
                      <a:pt x="345" y="864"/>
                    </a:lnTo>
                    <a:lnTo>
                      <a:pt x="333" y="836"/>
                    </a:lnTo>
                    <a:lnTo>
                      <a:pt x="324" y="864"/>
                    </a:lnTo>
                    <a:lnTo>
                      <a:pt x="333" y="869"/>
                    </a:lnTo>
                    <a:lnTo>
                      <a:pt x="324" y="890"/>
                    </a:lnTo>
                    <a:lnTo>
                      <a:pt x="307" y="907"/>
                    </a:lnTo>
                    <a:lnTo>
                      <a:pt x="291" y="907"/>
                    </a:lnTo>
                    <a:lnTo>
                      <a:pt x="286" y="902"/>
                    </a:lnTo>
                    <a:lnTo>
                      <a:pt x="286" y="885"/>
                    </a:lnTo>
                    <a:lnTo>
                      <a:pt x="286" y="918"/>
                    </a:lnTo>
                    <a:lnTo>
                      <a:pt x="269" y="918"/>
                    </a:lnTo>
                    <a:lnTo>
                      <a:pt x="269" y="923"/>
                    </a:lnTo>
                    <a:lnTo>
                      <a:pt x="253" y="940"/>
                    </a:lnTo>
                    <a:lnTo>
                      <a:pt x="232" y="963"/>
                    </a:lnTo>
                    <a:lnTo>
                      <a:pt x="215" y="963"/>
                    </a:lnTo>
                    <a:lnTo>
                      <a:pt x="227" y="940"/>
                    </a:lnTo>
                    <a:lnTo>
                      <a:pt x="215" y="963"/>
                    </a:lnTo>
                    <a:lnTo>
                      <a:pt x="210" y="963"/>
                    </a:lnTo>
                    <a:lnTo>
                      <a:pt x="210" y="940"/>
                    </a:lnTo>
                    <a:lnTo>
                      <a:pt x="215" y="940"/>
                    </a:lnTo>
                    <a:lnTo>
                      <a:pt x="210" y="940"/>
                    </a:lnTo>
                    <a:lnTo>
                      <a:pt x="199" y="963"/>
                    </a:lnTo>
                    <a:lnTo>
                      <a:pt x="182" y="963"/>
                    </a:lnTo>
                    <a:lnTo>
                      <a:pt x="182" y="940"/>
                    </a:lnTo>
                    <a:lnTo>
                      <a:pt x="199" y="935"/>
                    </a:lnTo>
                    <a:lnTo>
                      <a:pt x="173" y="956"/>
                    </a:lnTo>
                    <a:lnTo>
                      <a:pt x="173" y="956"/>
                    </a:lnTo>
                    <a:lnTo>
                      <a:pt x="182" y="940"/>
                    </a:lnTo>
                    <a:lnTo>
                      <a:pt x="173" y="947"/>
                    </a:lnTo>
                    <a:lnTo>
                      <a:pt x="177" y="940"/>
                    </a:lnTo>
                    <a:lnTo>
                      <a:pt x="173" y="923"/>
                    </a:lnTo>
                    <a:lnTo>
                      <a:pt x="161" y="923"/>
                    </a:lnTo>
                    <a:lnTo>
                      <a:pt x="161" y="940"/>
                    </a:lnTo>
                    <a:lnTo>
                      <a:pt x="144" y="947"/>
                    </a:lnTo>
                    <a:lnTo>
                      <a:pt x="144" y="923"/>
                    </a:lnTo>
                    <a:lnTo>
                      <a:pt x="173" y="829"/>
                    </a:lnTo>
                    <a:lnTo>
                      <a:pt x="156" y="774"/>
                    </a:lnTo>
                    <a:lnTo>
                      <a:pt x="144" y="758"/>
                    </a:lnTo>
                    <a:lnTo>
                      <a:pt x="144" y="741"/>
                    </a:lnTo>
                    <a:lnTo>
                      <a:pt x="139" y="737"/>
                    </a:lnTo>
                    <a:lnTo>
                      <a:pt x="128" y="737"/>
                    </a:lnTo>
                    <a:lnTo>
                      <a:pt x="128" y="713"/>
                    </a:lnTo>
                    <a:lnTo>
                      <a:pt x="123" y="713"/>
                    </a:lnTo>
                    <a:lnTo>
                      <a:pt x="118" y="703"/>
                    </a:lnTo>
                    <a:lnTo>
                      <a:pt x="123" y="696"/>
                    </a:lnTo>
                    <a:lnTo>
                      <a:pt x="102" y="670"/>
                    </a:lnTo>
                    <a:lnTo>
                      <a:pt x="106" y="659"/>
                    </a:lnTo>
                    <a:lnTo>
                      <a:pt x="102" y="663"/>
                    </a:lnTo>
                    <a:lnTo>
                      <a:pt x="85" y="647"/>
                    </a:lnTo>
                    <a:lnTo>
                      <a:pt x="69" y="647"/>
                    </a:lnTo>
                    <a:lnTo>
                      <a:pt x="76" y="663"/>
                    </a:lnTo>
                    <a:lnTo>
                      <a:pt x="69" y="659"/>
                    </a:lnTo>
                    <a:lnTo>
                      <a:pt x="69" y="663"/>
                    </a:lnTo>
                    <a:lnTo>
                      <a:pt x="54" y="642"/>
                    </a:lnTo>
                    <a:lnTo>
                      <a:pt x="69" y="642"/>
                    </a:lnTo>
                    <a:lnTo>
                      <a:pt x="54" y="642"/>
                    </a:lnTo>
                    <a:lnTo>
                      <a:pt x="64" y="609"/>
                    </a:lnTo>
                    <a:lnTo>
                      <a:pt x="47" y="642"/>
                    </a:lnTo>
                    <a:lnTo>
                      <a:pt x="38" y="630"/>
                    </a:lnTo>
                    <a:lnTo>
                      <a:pt x="47" y="625"/>
                    </a:lnTo>
                    <a:lnTo>
                      <a:pt x="47" y="614"/>
                    </a:lnTo>
                    <a:lnTo>
                      <a:pt x="31" y="602"/>
                    </a:lnTo>
                    <a:lnTo>
                      <a:pt x="38" y="630"/>
                    </a:lnTo>
                    <a:lnTo>
                      <a:pt x="17" y="602"/>
                    </a:lnTo>
                    <a:lnTo>
                      <a:pt x="10" y="569"/>
                    </a:lnTo>
                    <a:lnTo>
                      <a:pt x="10" y="569"/>
                    </a:lnTo>
                    <a:lnTo>
                      <a:pt x="10" y="569"/>
                    </a:lnTo>
                    <a:close/>
                    <a:moveTo>
                      <a:pt x="123" y="696"/>
                    </a:moveTo>
                    <a:lnTo>
                      <a:pt x="118" y="703"/>
                    </a:lnTo>
                    <a:lnTo>
                      <a:pt x="102" y="687"/>
                    </a:lnTo>
                    <a:lnTo>
                      <a:pt x="106" y="687"/>
                    </a:lnTo>
                    <a:lnTo>
                      <a:pt x="123" y="696"/>
                    </a:lnTo>
                    <a:lnTo>
                      <a:pt x="123" y="696"/>
                    </a:lnTo>
                    <a:lnTo>
                      <a:pt x="123" y="696"/>
                    </a:lnTo>
                    <a:close/>
                    <a:moveTo>
                      <a:pt x="118" y="703"/>
                    </a:moveTo>
                    <a:lnTo>
                      <a:pt x="123" y="725"/>
                    </a:lnTo>
                    <a:lnTo>
                      <a:pt x="123" y="737"/>
                    </a:lnTo>
                    <a:lnTo>
                      <a:pt x="106" y="725"/>
                    </a:lnTo>
                    <a:lnTo>
                      <a:pt x="92" y="696"/>
                    </a:lnTo>
                    <a:lnTo>
                      <a:pt x="92" y="696"/>
                    </a:lnTo>
                    <a:lnTo>
                      <a:pt x="106" y="703"/>
                    </a:lnTo>
                    <a:lnTo>
                      <a:pt x="118" y="703"/>
                    </a:lnTo>
                    <a:lnTo>
                      <a:pt x="118" y="703"/>
                    </a:lnTo>
                    <a:lnTo>
                      <a:pt x="118" y="703"/>
                    </a:lnTo>
                    <a:close/>
                    <a:moveTo>
                      <a:pt x="102" y="737"/>
                    </a:moveTo>
                    <a:lnTo>
                      <a:pt x="106" y="737"/>
                    </a:lnTo>
                    <a:lnTo>
                      <a:pt x="106" y="753"/>
                    </a:lnTo>
                    <a:lnTo>
                      <a:pt x="92" y="737"/>
                    </a:lnTo>
                    <a:lnTo>
                      <a:pt x="102" y="737"/>
                    </a:lnTo>
                    <a:lnTo>
                      <a:pt x="102" y="737"/>
                    </a:lnTo>
                    <a:lnTo>
                      <a:pt x="102" y="737"/>
                    </a:lnTo>
                    <a:close/>
                    <a:moveTo>
                      <a:pt x="376" y="907"/>
                    </a:moveTo>
                    <a:lnTo>
                      <a:pt x="376" y="918"/>
                    </a:lnTo>
                    <a:lnTo>
                      <a:pt x="376" y="935"/>
                    </a:lnTo>
                    <a:lnTo>
                      <a:pt x="371" y="923"/>
                    </a:lnTo>
                    <a:lnTo>
                      <a:pt x="376" y="907"/>
                    </a:lnTo>
                    <a:lnTo>
                      <a:pt x="376" y="907"/>
                    </a:lnTo>
                    <a:lnTo>
                      <a:pt x="376" y="907"/>
                    </a:lnTo>
                    <a:close/>
                    <a:moveTo>
                      <a:pt x="173" y="935"/>
                    </a:moveTo>
                    <a:lnTo>
                      <a:pt x="173" y="940"/>
                    </a:lnTo>
                    <a:lnTo>
                      <a:pt x="156" y="956"/>
                    </a:lnTo>
                    <a:lnTo>
                      <a:pt x="156" y="947"/>
                    </a:lnTo>
                    <a:lnTo>
                      <a:pt x="173" y="935"/>
                    </a:lnTo>
                    <a:lnTo>
                      <a:pt x="173" y="935"/>
                    </a:lnTo>
                    <a:lnTo>
                      <a:pt x="173" y="935"/>
                    </a:lnTo>
                    <a:close/>
                    <a:moveTo>
                      <a:pt x="430" y="1216"/>
                    </a:moveTo>
                    <a:lnTo>
                      <a:pt x="430" y="1195"/>
                    </a:lnTo>
                    <a:lnTo>
                      <a:pt x="442" y="1195"/>
                    </a:lnTo>
                    <a:lnTo>
                      <a:pt x="442" y="1211"/>
                    </a:lnTo>
                    <a:lnTo>
                      <a:pt x="430" y="1216"/>
                    </a:lnTo>
                    <a:lnTo>
                      <a:pt x="430" y="1216"/>
                    </a:lnTo>
                    <a:lnTo>
                      <a:pt x="430" y="1216"/>
                    </a:lnTo>
                    <a:lnTo>
                      <a:pt x="430" y="1216"/>
                    </a:lnTo>
                    <a:close/>
                    <a:moveTo>
                      <a:pt x="409" y="1216"/>
                    </a:moveTo>
                    <a:lnTo>
                      <a:pt x="399" y="1216"/>
                    </a:lnTo>
                    <a:lnTo>
                      <a:pt x="413" y="1211"/>
                    </a:lnTo>
                    <a:lnTo>
                      <a:pt x="409" y="1216"/>
                    </a:lnTo>
                    <a:lnTo>
                      <a:pt x="409" y="1216"/>
                    </a:lnTo>
                    <a:lnTo>
                      <a:pt x="409" y="1216"/>
                    </a:lnTo>
                    <a:close/>
                    <a:moveTo>
                      <a:pt x="413" y="1223"/>
                    </a:moveTo>
                    <a:lnTo>
                      <a:pt x="409" y="1216"/>
                    </a:lnTo>
                    <a:lnTo>
                      <a:pt x="413" y="1216"/>
                    </a:lnTo>
                    <a:lnTo>
                      <a:pt x="413" y="1233"/>
                    </a:lnTo>
                    <a:lnTo>
                      <a:pt x="413" y="1223"/>
                    </a:lnTo>
                    <a:lnTo>
                      <a:pt x="413" y="1223"/>
                    </a:lnTo>
                    <a:lnTo>
                      <a:pt x="413" y="1223"/>
                    </a:lnTo>
                    <a:close/>
                    <a:moveTo>
                      <a:pt x="447" y="1240"/>
                    </a:moveTo>
                    <a:lnTo>
                      <a:pt x="451" y="1249"/>
                    </a:lnTo>
                    <a:lnTo>
                      <a:pt x="442" y="1249"/>
                    </a:lnTo>
                    <a:lnTo>
                      <a:pt x="442" y="1233"/>
                    </a:lnTo>
                    <a:lnTo>
                      <a:pt x="447" y="1240"/>
                    </a:lnTo>
                    <a:lnTo>
                      <a:pt x="447" y="1240"/>
                    </a:lnTo>
                    <a:lnTo>
                      <a:pt x="447" y="1240"/>
                    </a:lnTo>
                    <a:close/>
                    <a:moveTo>
                      <a:pt x="442" y="1273"/>
                    </a:moveTo>
                    <a:lnTo>
                      <a:pt x="430" y="1256"/>
                    </a:lnTo>
                    <a:lnTo>
                      <a:pt x="447" y="1256"/>
                    </a:lnTo>
                    <a:lnTo>
                      <a:pt x="447" y="1273"/>
                    </a:lnTo>
                    <a:lnTo>
                      <a:pt x="442" y="1273"/>
                    </a:lnTo>
                    <a:lnTo>
                      <a:pt x="442" y="1273"/>
                    </a:lnTo>
                    <a:lnTo>
                      <a:pt x="442" y="1273"/>
                    </a:lnTo>
                    <a:close/>
                    <a:moveTo>
                      <a:pt x="413" y="1277"/>
                    </a:moveTo>
                    <a:lnTo>
                      <a:pt x="430" y="1256"/>
                    </a:lnTo>
                    <a:lnTo>
                      <a:pt x="425" y="1277"/>
                    </a:lnTo>
                    <a:lnTo>
                      <a:pt x="413" y="1277"/>
                    </a:lnTo>
                    <a:lnTo>
                      <a:pt x="413" y="1277"/>
                    </a:lnTo>
                    <a:lnTo>
                      <a:pt x="413" y="1277"/>
                    </a:lnTo>
                    <a:close/>
                    <a:moveTo>
                      <a:pt x="442" y="1311"/>
                    </a:moveTo>
                    <a:lnTo>
                      <a:pt x="447" y="1306"/>
                    </a:lnTo>
                    <a:lnTo>
                      <a:pt x="447" y="1322"/>
                    </a:lnTo>
                    <a:lnTo>
                      <a:pt x="442" y="1311"/>
                    </a:lnTo>
                    <a:lnTo>
                      <a:pt x="442" y="1311"/>
                    </a:lnTo>
                    <a:lnTo>
                      <a:pt x="442" y="1311"/>
                    </a:lnTo>
                    <a:close/>
                    <a:moveTo>
                      <a:pt x="425" y="1332"/>
                    </a:moveTo>
                    <a:lnTo>
                      <a:pt x="425" y="1332"/>
                    </a:lnTo>
                    <a:lnTo>
                      <a:pt x="413" y="1322"/>
                    </a:lnTo>
                    <a:lnTo>
                      <a:pt x="413" y="1322"/>
                    </a:lnTo>
                    <a:lnTo>
                      <a:pt x="413" y="1311"/>
                    </a:lnTo>
                    <a:lnTo>
                      <a:pt x="425" y="1332"/>
                    </a:lnTo>
                    <a:lnTo>
                      <a:pt x="425" y="1332"/>
                    </a:lnTo>
                    <a:lnTo>
                      <a:pt x="425" y="1332"/>
                    </a:lnTo>
                    <a:close/>
                    <a:moveTo>
                      <a:pt x="399" y="1348"/>
                    </a:moveTo>
                    <a:lnTo>
                      <a:pt x="399" y="1360"/>
                    </a:lnTo>
                    <a:lnTo>
                      <a:pt x="399" y="1348"/>
                    </a:lnTo>
                    <a:lnTo>
                      <a:pt x="399" y="1348"/>
                    </a:lnTo>
                    <a:lnTo>
                      <a:pt x="399" y="1348"/>
                    </a:lnTo>
                    <a:lnTo>
                      <a:pt x="399" y="1348"/>
                    </a:lnTo>
                    <a:close/>
                    <a:moveTo>
                      <a:pt x="425" y="1384"/>
                    </a:moveTo>
                    <a:lnTo>
                      <a:pt x="413" y="1400"/>
                    </a:lnTo>
                    <a:lnTo>
                      <a:pt x="425" y="1384"/>
                    </a:lnTo>
                    <a:lnTo>
                      <a:pt x="425" y="1384"/>
                    </a:lnTo>
                    <a:lnTo>
                      <a:pt x="425" y="1384"/>
                    </a:lnTo>
                    <a:lnTo>
                      <a:pt x="425" y="138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1" name="Freeform 404">
                <a:extLst>
                  <a:ext uri="{FF2B5EF4-FFF2-40B4-BE49-F238E27FC236}">
                    <a16:creationId xmlns:a16="http://schemas.microsoft.com/office/drawing/2014/main" id="{021C119E-06DE-4A6E-9E7C-82D6AEBF1D77}"/>
                  </a:ext>
                </a:extLst>
              </p:cNvPr>
              <p:cNvSpPr>
                <a:spLocks/>
              </p:cNvSpPr>
              <p:nvPr/>
            </p:nvSpPr>
            <p:spPr bwMode="gray">
              <a:xfrm>
                <a:off x="9288470" y="3202106"/>
                <a:ext cx="97154" cy="52288"/>
              </a:xfrm>
              <a:custGeom>
                <a:avLst/>
                <a:gdLst>
                  <a:gd name="T0" fmla="*/ 5 w 236"/>
                  <a:gd name="T1" fmla="*/ 78 h 127"/>
                  <a:gd name="T2" fmla="*/ 55 w 236"/>
                  <a:gd name="T3" fmla="*/ 21 h 127"/>
                  <a:gd name="T4" fmla="*/ 88 w 236"/>
                  <a:gd name="T5" fmla="*/ 0 h 127"/>
                  <a:gd name="T6" fmla="*/ 116 w 236"/>
                  <a:gd name="T7" fmla="*/ 4 h 127"/>
                  <a:gd name="T8" fmla="*/ 116 w 236"/>
                  <a:gd name="T9" fmla="*/ 21 h 127"/>
                  <a:gd name="T10" fmla="*/ 166 w 236"/>
                  <a:gd name="T11" fmla="*/ 28 h 127"/>
                  <a:gd name="T12" fmla="*/ 182 w 236"/>
                  <a:gd name="T13" fmla="*/ 21 h 127"/>
                  <a:gd name="T14" fmla="*/ 203 w 236"/>
                  <a:gd name="T15" fmla="*/ 28 h 127"/>
                  <a:gd name="T16" fmla="*/ 203 w 236"/>
                  <a:gd name="T17" fmla="*/ 45 h 127"/>
                  <a:gd name="T18" fmla="*/ 203 w 236"/>
                  <a:gd name="T19" fmla="*/ 54 h 127"/>
                  <a:gd name="T20" fmla="*/ 203 w 236"/>
                  <a:gd name="T21" fmla="*/ 61 h 127"/>
                  <a:gd name="T22" fmla="*/ 225 w 236"/>
                  <a:gd name="T23" fmla="*/ 61 h 127"/>
                  <a:gd name="T24" fmla="*/ 236 w 236"/>
                  <a:gd name="T25" fmla="*/ 78 h 127"/>
                  <a:gd name="T26" fmla="*/ 225 w 236"/>
                  <a:gd name="T27" fmla="*/ 94 h 127"/>
                  <a:gd name="T28" fmla="*/ 236 w 236"/>
                  <a:gd name="T29" fmla="*/ 111 h 127"/>
                  <a:gd name="T30" fmla="*/ 236 w 236"/>
                  <a:gd name="T31" fmla="*/ 111 h 127"/>
                  <a:gd name="T32" fmla="*/ 199 w 236"/>
                  <a:gd name="T33" fmla="*/ 118 h 127"/>
                  <a:gd name="T34" fmla="*/ 187 w 236"/>
                  <a:gd name="T35" fmla="*/ 111 h 127"/>
                  <a:gd name="T36" fmla="*/ 182 w 236"/>
                  <a:gd name="T37" fmla="*/ 118 h 127"/>
                  <a:gd name="T38" fmla="*/ 142 w 236"/>
                  <a:gd name="T39" fmla="*/ 118 h 127"/>
                  <a:gd name="T40" fmla="*/ 116 w 236"/>
                  <a:gd name="T41" fmla="*/ 111 h 127"/>
                  <a:gd name="T42" fmla="*/ 92 w 236"/>
                  <a:gd name="T43" fmla="*/ 127 h 127"/>
                  <a:gd name="T44" fmla="*/ 62 w 236"/>
                  <a:gd name="T45" fmla="*/ 127 h 127"/>
                  <a:gd name="T46" fmla="*/ 38 w 236"/>
                  <a:gd name="T47" fmla="*/ 118 h 127"/>
                  <a:gd name="T48" fmla="*/ 21 w 236"/>
                  <a:gd name="T49" fmla="*/ 118 h 127"/>
                  <a:gd name="T50" fmla="*/ 5 w 236"/>
                  <a:gd name="T51" fmla="*/ 99 h 127"/>
                  <a:gd name="T52" fmla="*/ 0 w 236"/>
                  <a:gd name="T53" fmla="*/ 94 h 127"/>
                  <a:gd name="T54" fmla="*/ 5 w 236"/>
                  <a:gd name="T55" fmla="*/ 78 h 127"/>
                  <a:gd name="T56" fmla="*/ 5 w 236"/>
                  <a:gd name="T57" fmla="*/ 78 h 127"/>
                  <a:gd name="T58" fmla="*/ 5 w 236"/>
                  <a:gd name="T59" fmla="*/ 7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6" h="127">
                    <a:moveTo>
                      <a:pt x="5" y="78"/>
                    </a:moveTo>
                    <a:lnTo>
                      <a:pt x="55" y="21"/>
                    </a:lnTo>
                    <a:lnTo>
                      <a:pt x="88" y="0"/>
                    </a:lnTo>
                    <a:lnTo>
                      <a:pt x="116" y="4"/>
                    </a:lnTo>
                    <a:lnTo>
                      <a:pt x="116" y="21"/>
                    </a:lnTo>
                    <a:lnTo>
                      <a:pt x="166" y="28"/>
                    </a:lnTo>
                    <a:lnTo>
                      <a:pt x="182" y="21"/>
                    </a:lnTo>
                    <a:lnTo>
                      <a:pt x="203" y="28"/>
                    </a:lnTo>
                    <a:lnTo>
                      <a:pt x="203" y="45"/>
                    </a:lnTo>
                    <a:lnTo>
                      <a:pt x="203" y="54"/>
                    </a:lnTo>
                    <a:lnTo>
                      <a:pt x="203" y="61"/>
                    </a:lnTo>
                    <a:lnTo>
                      <a:pt x="225" y="61"/>
                    </a:lnTo>
                    <a:lnTo>
                      <a:pt x="236" y="78"/>
                    </a:lnTo>
                    <a:lnTo>
                      <a:pt x="225" y="94"/>
                    </a:lnTo>
                    <a:lnTo>
                      <a:pt x="236" y="111"/>
                    </a:lnTo>
                    <a:lnTo>
                      <a:pt x="236" y="111"/>
                    </a:lnTo>
                    <a:lnTo>
                      <a:pt x="199" y="118"/>
                    </a:lnTo>
                    <a:lnTo>
                      <a:pt x="187" y="111"/>
                    </a:lnTo>
                    <a:lnTo>
                      <a:pt x="182" y="118"/>
                    </a:lnTo>
                    <a:lnTo>
                      <a:pt x="142" y="118"/>
                    </a:lnTo>
                    <a:lnTo>
                      <a:pt x="116" y="111"/>
                    </a:lnTo>
                    <a:lnTo>
                      <a:pt x="92" y="127"/>
                    </a:lnTo>
                    <a:lnTo>
                      <a:pt x="62" y="127"/>
                    </a:lnTo>
                    <a:lnTo>
                      <a:pt x="38" y="118"/>
                    </a:lnTo>
                    <a:lnTo>
                      <a:pt x="21" y="118"/>
                    </a:lnTo>
                    <a:lnTo>
                      <a:pt x="5" y="99"/>
                    </a:lnTo>
                    <a:lnTo>
                      <a:pt x="0" y="94"/>
                    </a:lnTo>
                    <a:lnTo>
                      <a:pt x="5" y="78"/>
                    </a:lnTo>
                    <a:lnTo>
                      <a:pt x="5" y="78"/>
                    </a:lnTo>
                    <a:lnTo>
                      <a:pt x="5" y="7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2" name="Freeform 406">
                <a:extLst>
                  <a:ext uri="{FF2B5EF4-FFF2-40B4-BE49-F238E27FC236}">
                    <a16:creationId xmlns:a16="http://schemas.microsoft.com/office/drawing/2014/main" id="{97A27C26-53AD-474B-9AEA-7ED23F146C4A}"/>
                  </a:ext>
                </a:extLst>
              </p:cNvPr>
              <p:cNvSpPr>
                <a:spLocks noEditPoints="1"/>
              </p:cNvSpPr>
              <p:nvPr/>
            </p:nvSpPr>
            <p:spPr bwMode="gray">
              <a:xfrm>
                <a:off x="10020008" y="3917667"/>
                <a:ext cx="38697" cy="29232"/>
              </a:xfrm>
              <a:custGeom>
                <a:avLst/>
                <a:gdLst>
                  <a:gd name="T0" fmla="*/ 66 w 94"/>
                  <a:gd name="T1" fmla="*/ 5 h 71"/>
                  <a:gd name="T2" fmla="*/ 56 w 94"/>
                  <a:gd name="T3" fmla="*/ 21 h 71"/>
                  <a:gd name="T4" fmla="*/ 56 w 94"/>
                  <a:gd name="T5" fmla="*/ 45 h 71"/>
                  <a:gd name="T6" fmla="*/ 56 w 94"/>
                  <a:gd name="T7" fmla="*/ 62 h 71"/>
                  <a:gd name="T8" fmla="*/ 40 w 94"/>
                  <a:gd name="T9" fmla="*/ 71 h 71"/>
                  <a:gd name="T10" fmla="*/ 11 w 94"/>
                  <a:gd name="T11" fmla="*/ 26 h 71"/>
                  <a:gd name="T12" fmla="*/ 0 w 94"/>
                  <a:gd name="T13" fmla="*/ 26 h 71"/>
                  <a:gd name="T14" fmla="*/ 28 w 94"/>
                  <a:gd name="T15" fmla="*/ 21 h 71"/>
                  <a:gd name="T16" fmla="*/ 61 w 94"/>
                  <a:gd name="T17" fmla="*/ 0 h 71"/>
                  <a:gd name="T18" fmla="*/ 66 w 94"/>
                  <a:gd name="T19" fmla="*/ 0 h 71"/>
                  <a:gd name="T20" fmla="*/ 66 w 94"/>
                  <a:gd name="T21" fmla="*/ 5 h 71"/>
                  <a:gd name="T22" fmla="*/ 66 w 94"/>
                  <a:gd name="T23" fmla="*/ 5 h 71"/>
                  <a:gd name="T24" fmla="*/ 66 w 94"/>
                  <a:gd name="T25" fmla="*/ 5 h 71"/>
                  <a:gd name="T26" fmla="*/ 77 w 94"/>
                  <a:gd name="T27" fmla="*/ 5 h 71"/>
                  <a:gd name="T28" fmla="*/ 94 w 94"/>
                  <a:gd name="T29" fmla="*/ 45 h 71"/>
                  <a:gd name="T30" fmla="*/ 66 w 94"/>
                  <a:gd name="T31" fmla="*/ 45 h 71"/>
                  <a:gd name="T32" fmla="*/ 66 w 94"/>
                  <a:gd name="T33" fmla="*/ 17 h 71"/>
                  <a:gd name="T34" fmla="*/ 77 w 94"/>
                  <a:gd name="T35" fmla="*/ 5 h 71"/>
                  <a:gd name="T36" fmla="*/ 77 w 94"/>
                  <a:gd name="T37" fmla="*/ 5 h 71"/>
                  <a:gd name="T38" fmla="*/ 77 w 94"/>
                  <a:gd name="T39" fmla="*/ 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71">
                    <a:moveTo>
                      <a:pt x="66" y="5"/>
                    </a:moveTo>
                    <a:lnTo>
                      <a:pt x="56" y="21"/>
                    </a:lnTo>
                    <a:lnTo>
                      <a:pt x="56" y="45"/>
                    </a:lnTo>
                    <a:lnTo>
                      <a:pt x="56" y="62"/>
                    </a:lnTo>
                    <a:lnTo>
                      <a:pt x="40" y="71"/>
                    </a:lnTo>
                    <a:lnTo>
                      <a:pt x="11" y="26"/>
                    </a:lnTo>
                    <a:lnTo>
                      <a:pt x="0" y="26"/>
                    </a:lnTo>
                    <a:lnTo>
                      <a:pt x="28" y="21"/>
                    </a:lnTo>
                    <a:lnTo>
                      <a:pt x="61" y="0"/>
                    </a:lnTo>
                    <a:lnTo>
                      <a:pt x="66" y="0"/>
                    </a:lnTo>
                    <a:lnTo>
                      <a:pt x="66" y="5"/>
                    </a:lnTo>
                    <a:lnTo>
                      <a:pt x="66" y="5"/>
                    </a:lnTo>
                    <a:lnTo>
                      <a:pt x="66" y="5"/>
                    </a:lnTo>
                    <a:close/>
                    <a:moveTo>
                      <a:pt x="77" y="5"/>
                    </a:moveTo>
                    <a:lnTo>
                      <a:pt x="94" y="45"/>
                    </a:lnTo>
                    <a:lnTo>
                      <a:pt x="66" y="45"/>
                    </a:lnTo>
                    <a:lnTo>
                      <a:pt x="66" y="17"/>
                    </a:lnTo>
                    <a:lnTo>
                      <a:pt x="77" y="5"/>
                    </a:lnTo>
                    <a:lnTo>
                      <a:pt x="77" y="5"/>
                    </a:lnTo>
                    <a:lnTo>
                      <a:pt x="77" y="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3" name="Freeform 409">
                <a:extLst>
                  <a:ext uri="{FF2B5EF4-FFF2-40B4-BE49-F238E27FC236}">
                    <a16:creationId xmlns:a16="http://schemas.microsoft.com/office/drawing/2014/main" id="{DA39C090-FC32-409B-A560-39EA04E39A82}"/>
                  </a:ext>
                </a:extLst>
              </p:cNvPr>
              <p:cNvSpPr>
                <a:spLocks noEditPoints="1"/>
              </p:cNvSpPr>
              <p:nvPr/>
            </p:nvSpPr>
            <p:spPr bwMode="gray">
              <a:xfrm>
                <a:off x="9680380" y="3627820"/>
                <a:ext cx="150672" cy="128456"/>
              </a:xfrm>
              <a:custGeom>
                <a:avLst/>
                <a:gdLst>
                  <a:gd name="T0" fmla="*/ 28 w 366"/>
                  <a:gd name="T1" fmla="*/ 187 h 312"/>
                  <a:gd name="T2" fmla="*/ 12 w 366"/>
                  <a:gd name="T3" fmla="*/ 147 h 312"/>
                  <a:gd name="T4" fmla="*/ 0 w 366"/>
                  <a:gd name="T5" fmla="*/ 97 h 312"/>
                  <a:gd name="T6" fmla="*/ 21 w 366"/>
                  <a:gd name="T7" fmla="*/ 76 h 312"/>
                  <a:gd name="T8" fmla="*/ 28 w 366"/>
                  <a:gd name="T9" fmla="*/ 66 h 312"/>
                  <a:gd name="T10" fmla="*/ 59 w 366"/>
                  <a:gd name="T11" fmla="*/ 22 h 312"/>
                  <a:gd name="T12" fmla="*/ 114 w 366"/>
                  <a:gd name="T13" fmla="*/ 22 h 312"/>
                  <a:gd name="T14" fmla="*/ 189 w 366"/>
                  <a:gd name="T15" fmla="*/ 22 h 312"/>
                  <a:gd name="T16" fmla="*/ 199 w 366"/>
                  <a:gd name="T17" fmla="*/ 22 h 312"/>
                  <a:gd name="T18" fmla="*/ 227 w 366"/>
                  <a:gd name="T19" fmla="*/ 38 h 312"/>
                  <a:gd name="T20" fmla="*/ 258 w 366"/>
                  <a:gd name="T21" fmla="*/ 55 h 312"/>
                  <a:gd name="T22" fmla="*/ 258 w 366"/>
                  <a:gd name="T23" fmla="*/ 22 h 312"/>
                  <a:gd name="T24" fmla="*/ 274 w 366"/>
                  <a:gd name="T25" fmla="*/ 10 h 312"/>
                  <a:gd name="T26" fmla="*/ 295 w 366"/>
                  <a:gd name="T27" fmla="*/ 5 h 312"/>
                  <a:gd name="T28" fmla="*/ 366 w 366"/>
                  <a:gd name="T29" fmla="*/ 0 h 312"/>
                  <a:gd name="T30" fmla="*/ 359 w 366"/>
                  <a:gd name="T31" fmla="*/ 55 h 312"/>
                  <a:gd name="T32" fmla="*/ 366 w 366"/>
                  <a:gd name="T33" fmla="*/ 81 h 312"/>
                  <a:gd name="T34" fmla="*/ 366 w 366"/>
                  <a:gd name="T35" fmla="*/ 147 h 312"/>
                  <a:gd name="T36" fmla="*/ 359 w 366"/>
                  <a:gd name="T37" fmla="*/ 175 h 312"/>
                  <a:gd name="T38" fmla="*/ 333 w 366"/>
                  <a:gd name="T39" fmla="*/ 170 h 312"/>
                  <a:gd name="T40" fmla="*/ 279 w 366"/>
                  <a:gd name="T41" fmla="*/ 192 h 312"/>
                  <a:gd name="T42" fmla="*/ 258 w 366"/>
                  <a:gd name="T43" fmla="*/ 208 h 312"/>
                  <a:gd name="T44" fmla="*/ 241 w 366"/>
                  <a:gd name="T45" fmla="*/ 225 h 312"/>
                  <a:gd name="T46" fmla="*/ 269 w 366"/>
                  <a:gd name="T47" fmla="*/ 263 h 312"/>
                  <a:gd name="T48" fmla="*/ 241 w 366"/>
                  <a:gd name="T49" fmla="*/ 263 h 312"/>
                  <a:gd name="T50" fmla="*/ 215 w 366"/>
                  <a:gd name="T51" fmla="*/ 274 h 312"/>
                  <a:gd name="T52" fmla="*/ 189 w 366"/>
                  <a:gd name="T53" fmla="*/ 274 h 312"/>
                  <a:gd name="T54" fmla="*/ 182 w 366"/>
                  <a:gd name="T55" fmla="*/ 296 h 312"/>
                  <a:gd name="T56" fmla="*/ 151 w 366"/>
                  <a:gd name="T57" fmla="*/ 312 h 312"/>
                  <a:gd name="T58" fmla="*/ 114 w 366"/>
                  <a:gd name="T59" fmla="*/ 296 h 312"/>
                  <a:gd name="T60" fmla="*/ 80 w 366"/>
                  <a:gd name="T61" fmla="*/ 296 h 312"/>
                  <a:gd name="T62" fmla="*/ 97 w 366"/>
                  <a:gd name="T63" fmla="*/ 274 h 312"/>
                  <a:gd name="T64" fmla="*/ 76 w 366"/>
                  <a:gd name="T65" fmla="*/ 274 h 312"/>
                  <a:gd name="T66" fmla="*/ 54 w 366"/>
                  <a:gd name="T67" fmla="*/ 241 h 312"/>
                  <a:gd name="T68" fmla="*/ 43 w 366"/>
                  <a:gd name="T69" fmla="*/ 220 h 312"/>
                  <a:gd name="T70" fmla="*/ 43 w 366"/>
                  <a:gd name="T71" fmla="*/ 220 h 312"/>
                  <a:gd name="T72" fmla="*/ 43 w 366"/>
                  <a:gd name="T73" fmla="*/ 225 h 312"/>
                  <a:gd name="T74" fmla="*/ 43 w 366"/>
                  <a:gd name="T75" fmla="*/ 220 h 312"/>
                  <a:gd name="T76" fmla="*/ 66 w 366"/>
                  <a:gd name="T77" fmla="*/ 286 h 312"/>
                  <a:gd name="T78" fmla="*/ 66 w 366"/>
                  <a:gd name="T79" fmla="*/ 286 h 312"/>
                  <a:gd name="T80" fmla="*/ 66 w 366"/>
                  <a:gd name="T81" fmla="*/ 286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6" h="312">
                    <a:moveTo>
                      <a:pt x="43" y="220"/>
                    </a:moveTo>
                    <a:lnTo>
                      <a:pt x="28" y="187"/>
                    </a:lnTo>
                    <a:lnTo>
                      <a:pt x="28" y="163"/>
                    </a:lnTo>
                    <a:lnTo>
                      <a:pt x="12" y="147"/>
                    </a:lnTo>
                    <a:lnTo>
                      <a:pt x="12" y="121"/>
                    </a:lnTo>
                    <a:lnTo>
                      <a:pt x="0" y="97"/>
                    </a:lnTo>
                    <a:lnTo>
                      <a:pt x="7" y="76"/>
                    </a:lnTo>
                    <a:lnTo>
                      <a:pt x="21" y="76"/>
                    </a:lnTo>
                    <a:lnTo>
                      <a:pt x="12" y="66"/>
                    </a:lnTo>
                    <a:lnTo>
                      <a:pt x="28" y="66"/>
                    </a:lnTo>
                    <a:lnTo>
                      <a:pt x="43" y="38"/>
                    </a:lnTo>
                    <a:lnTo>
                      <a:pt x="59" y="22"/>
                    </a:lnTo>
                    <a:lnTo>
                      <a:pt x="92" y="10"/>
                    </a:lnTo>
                    <a:lnTo>
                      <a:pt x="114" y="22"/>
                    </a:lnTo>
                    <a:lnTo>
                      <a:pt x="173" y="10"/>
                    </a:lnTo>
                    <a:lnTo>
                      <a:pt x="189" y="22"/>
                    </a:lnTo>
                    <a:lnTo>
                      <a:pt x="189" y="38"/>
                    </a:lnTo>
                    <a:lnTo>
                      <a:pt x="199" y="22"/>
                    </a:lnTo>
                    <a:lnTo>
                      <a:pt x="215" y="43"/>
                    </a:lnTo>
                    <a:lnTo>
                      <a:pt x="227" y="38"/>
                    </a:lnTo>
                    <a:lnTo>
                      <a:pt x="253" y="55"/>
                    </a:lnTo>
                    <a:lnTo>
                      <a:pt x="258" y="55"/>
                    </a:lnTo>
                    <a:lnTo>
                      <a:pt x="269" y="43"/>
                    </a:lnTo>
                    <a:lnTo>
                      <a:pt x="258" y="22"/>
                    </a:lnTo>
                    <a:lnTo>
                      <a:pt x="274" y="22"/>
                    </a:lnTo>
                    <a:lnTo>
                      <a:pt x="274" y="10"/>
                    </a:lnTo>
                    <a:lnTo>
                      <a:pt x="279" y="10"/>
                    </a:lnTo>
                    <a:lnTo>
                      <a:pt x="295" y="5"/>
                    </a:lnTo>
                    <a:lnTo>
                      <a:pt x="312" y="26"/>
                    </a:lnTo>
                    <a:lnTo>
                      <a:pt x="366" y="0"/>
                    </a:lnTo>
                    <a:lnTo>
                      <a:pt x="350" y="38"/>
                    </a:lnTo>
                    <a:lnTo>
                      <a:pt x="359" y="55"/>
                    </a:lnTo>
                    <a:lnTo>
                      <a:pt x="359" y="59"/>
                    </a:lnTo>
                    <a:lnTo>
                      <a:pt x="366" y="81"/>
                    </a:lnTo>
                    <a:lnTo>
                      <a:pt x="359" y="121"/>
                    </a:lnTo>
                    <a:lnTo>
                      <a:pt x="366" y="147"/>
                    </a:lnTo>
                    <a:lnTo>
                      <a:pt x="366" y="170"/>
                    </a:lnTo>
                    <a:lnTo>
                      <a:pt x="359" y="175"/>
                    </a:lnTo>
                    <a:lnTo>
                      <a:pt x="350" y="170"/>
                    </a:lnTo>
                    <a:lnTo>
                      <a:pt x="333" y="170"/>
                    </a:lnTo>
                    <a:lnTo>
                      <a:pt x="307" y="192"/>
                    </a:lnTo>
                    <a:lnTo>
                      <a:pt x="279" y="192"/>
                    </a:lnTo>
                    <a:lnTo>
                      <a:pt x="291" y="220"/>
                    </a:lnTo>
                    <a:lnTo>
                      <a:pt x="258" y="208"/>
                    </a:lnTo>
                    <a:lnTo>
                      <a:pt x="253" y="220"/>
                    </a:lnTo>
                    <a:lnTo>
                      <a:pt x="241" y="225"/>
                    </a:lnTo>
                    <a:lnTo>
                      <a:pt x="241" y="246"/>
                    </a:lnTo>
                    <a:lnTo>
                      <a:pt x="269" y="263"/>
                    </a:lnTo>
                    <a:lnTo>
                      <a:pt x="269" y="279"/>
                    </a:lnTo>
                    <a:lnTo>
                      <a:pt x="241" y="263"/>
                    </a:lnTo>
                    <a:lnTo>
                      <a:pt x="220" y="274"/>
                    </a:lnTo>
                    <a:lnTo>
                      <a:pt x="215" y="274"/>
                    </a:lnTo>
                    <a:lnTo>
                      <a:pt x="199" y="274"/>
                    </a:lnTo>
                    <a:lnTo>
                      <a:pt x="189" y="274"/>
                    </a:lnTo>
                    <a:lnTo>
                      <a:pt x="189" y="286"/>
                    </a:lnTo>
                    <a:lnTo>
                      <a:pt x="182" y="296"/>
                    </a:lnTo>
                    <a:lnTo>
                      <a:pt x="161" y="303"/>
                    </a:lnTo>
                    <a:lnTo>
                      <a:pt x="151" y="312"/>
                    </a:lnTo>
                    <a:lnTo>
                      <a:pt x="135" y="296"/>
                    </a:lnTo>
                    <a:lnTo>
                      <a:pt x="114" y="296"/>
                    </a:lnTo>
                    <a:lnTo>
                      <a:pt x="92" y="303"/>
                    </a:lnTo>
                    <a:lnTo>
                      <a:pt x="80" y="296"/>
                    </a:lnTo>
                    <a:lnTo>
                      <a:pt x="97" y="286"/>
                    </a:lnTo>
                    <a:lnTo>
                      <a:pt x="97" y="274"/>
                    </a:lnTo>
                    <a:lnTo>
                      <a:pt x="80" y="258"/>
                    </a:lnTo>
                    <a:lnTo>
                      <a:pt x="76" y="274"/>
                    </a:lnTo>
                    <a:lnTo>
                      <a:pt x="59" y="274"/>
                    </a:lnTo>
                    <a:lnTo>
                      <a:pt x="54" y="241"/>
                    </a:lnTo>
                    <a:lnTo>
                      <a:pt x="43" y="225"/>
                    </a:lnTo>
                    <a:lnTo>
                      <a:pt x="43" y="220"/>
                    </a:lnTo>
                    <a:lnTo>
                      <a:pt x="54" y="220"/>
                    </a:lnTo>
                    <a:lnTo>
                      <a:pt x="43" y="220"/>
                    </a:lnTo>
                    <a:lnTo>
                      <a:pt x="38" y="208"/>
                    </a:lnTo>
                    <a:lnTo>
                      <a:pt x="43" y="225"/>
                    </a:lnTo>
                    <a:lnTo>
                      <a:pt x="43" y="220"/>
                    </a:lnTo>
                    <a:lnTo>
                      <a:pt x="43" y="220"/>
                    </a:lnTo>
                    <a:lnTo>
                      <a:pt x="43" y="220"/>
                    </a:lnTo>
                    <a:close/>
                    <a:moveTo>
                      <a:pt x="66" y="286"/>
                    </a:moveTo>
                    <a:lnTo>
                      <a:pt x="59" y="279"/>
                    </a:lnTo>
                    <a:lnTo>
                      <a:pt x="66" y="286"/>
                    </a:lnTo>
                    <a:lnTo>
                      <a:pt x="66" y="286"/>
                    </a:lnTo>
                    <a:lnTo>
                      <a:pt x="66" y="286"/>
                    </a:lnTo>
                    <a:lnTo>
                      <a:pt x="66" y="28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4" name="Freeform 414">
                <a:extLst>
                  <a:ext uri="{FF2B5EF4-FFF2-40B4-BE49-F238E27FC236}">
                    <a16:creationId xmlns:a16="http://schemas.microsoft.com/office/drawing/2014/main" id="{96D982A5-6C9F-4F51-93D2-EA789E6E8C52}"/>
                  </a:ext>
                </a:extLst>
              </p:cNvPr>
              <p:cNvSpPr>
                <a:spLocks noEditPoints="1"/>
              </p:cNvSpPr>
              <p:nvPr/>
            </p:nvSpPr>
            <p:spPr bwMode="gray">
              <a:xfrm>
                <a:off x="8852100" y="2306210"/>
                <a:ext cx="1764830" cy="1215798"/>
              </a:xfrm>
              <a:custGeom>
                <a:avLst/>
                <a:gdLst>
                  <a:gd name="T0" fmla="*/ 361 w 4287"/>
                  <a:gd name="T1" fmla="*/ 1833 h 2953"/>
                  <a:gd name="T2" fmla="*/ 314 w 4287"/>
                  <a:gd name="T3" fmla="*/ 1606 h 2953"/>
                  <a:gd name="T4" fmla="*/ 54 w 4287"/>
                  <a:gd name="T5" fmla="*/ 1462 h 2953"/>
                  <a:gd name="T6" fmla="*/ 7 w 4287"/>
                  <a:gd name="T7" fmla="*/ 1273 h 2953"/>
                  <a:gd name="T8" fmla="*/ 233 w 4287"/>
                  <a:gd name="T9" fmla="*/ 1146 h 2953"/>
                  <a:gd name="T10" fmla="*/ 474 w 4287"/>
                  <a:gd name="T11" fmla="*/ 869 h 2953"/>
                  <a:gd name="T12" fmla="*/ 777 w 4287"/>
                  <a:gd name="T13" fmla="*/ 614 h 2953"/>
                  <a:gd name="T14" fmla="*/ 999 w 4287"/>
                  <a:gd name="T15" fmla="*/ 432 h 2953"/>
                  <a:gd name="T16" fmla="*/ 1216 w 4287"/>
                  <a:gd name="T17" fmla="*/ 680 h 2953"/>
                  <a:gd name="T18" fmla="*/ 1821 w 4287"/>
                  <a:gd name="T19" fmla="*/ 1014 h 2953"/>
                  <a:gd name="T20" fmla="*/ 2581 w 4287"/>
                  <a:gd name="T21" fmla="*/ 985 h 2953"/>
                  <a:gd name="T22" fmla="*/ 3030 w 4287"/>
                  <a:gd name="T23" fmla="*/ 669 h 2953"/>
                  <a:gd name="T24" fmla="*/ 3099 w 4287"/>
                  <a:gd name="T25" fmla="*/ 520 h 2953"/>
                  <a:gd name="T26" fmla="*/ 3191 w 4287"/>
                  <a:gd name="T27" fmla="*/ 298 h 2953"/>
                  <a:gd name="T28" fmla="*/ 3569 w 4287"/>
                  <a:gd name="T29" fmla="*/ 26 h 2953"/>
                  <a:gd name="T30" fmla="*/ 3732 w 4287"/>
                  <a:gd name="T31" fmla="*/ 222 h 2953"/>
                  <a:gd name="T32" fmla="*/ 3947 w 4287"/>
                  <a:gd name="T33" fmla="*/ 425 h 2953"/>
                  <a:gd name="T34" fmla="*/ 4287 w 4287"/>
                  <a:gd name="T35" fmla="*/ 553 h 2953"/>
                  <a:gd name="T36" fmla="*/ 4055 w 4287"/>
                  <a:gd name="T37" fmla="*/ 796 h 2953"/>
                  <a:gd name="T38" fmla="*/ 3921 w 4287"/>
                  <a:gd name="T39" fmla="*/ 1025 h 2953"/>
                  <a:gd name="T40" fmla="*/ 3607 w 4287"/>
                  <a:gd name="T41" fmla="*/ 1195 h 2953"/>
                  <a:gd name="T42" fmla="*/ 3363 w 4287"/>
                  <a:gd name="T43" fmla="*/ 1295 h 2953"/>
                  <a:gd name="T44" fmla="*/ 3283 w 4287"/>
                  <a:gd name="T45" fmla="*/ 1207 h 2953"/>
                  <a:gd name="T46" fmla="*/ 3203 w 4287"/>
                  <a:gd name="T47" fmla="*/ 1472 h 2953"/>
                  <a:gd name="T48" fmla="*/ 3408 w 4287"/>
                  <a:gd name="T49" fmla="*/ 1495 h 2953"/>
                  <a:gd name="T50" fmla="*/ 3278 w 4287"/>
                  <a:gd name="T51" fmla="*/ 1540 h 2953"/>
                  <a:gd name="T52" fmla="*/ 3354 w 4287"/>
                  <a:gd name="T53" fmla="*/ 1862 h 2953"/>
                  <a:gd name="T54" fmla="*/ 3300 w 4287"/>
                  <a:gd name="T55" fmla="*/ 1888 h 2953"/>
                  <a:gd name="T56" fmla="*/ 3370 w 4287"/>
                  <a:gd name="T57" fmla="*/ 2048 h 2953"/>
                  <a:gd name="T58" fmla="*/ 3363 w 4287"/>
                  <a:gd name="T59" fmla="*/ 2105 h 2953"/>
                  <a:gd name="T60" fmla="*/ 3295 w 4287"/>
                  <a:gd name="T61" fmla="*/ 2199 h 2953"/>
                  <a:gd name="T62" fmla="*/ 3245 w 4287"/>
                  <a:gd name="T63" fmla="*/ 2294 h 2953"/>
                  <a:gd name="T64" fmla="*/ 3191 w 4287"/>
                  <a:gd name="T65" fmla="*/ 2343 h 2953"/>
                  <a:gd name="T66" fmla="*/ 3170 w 4287"/>
                  <a:gd name="T67" fmla="*/ 2426 h 2953"/>
                  <a:gd name="T68" fmla="*/ 3120 w 4287"/>
                  <a:gd name="T69" fmla="*/ 2492 h 2953"/>
                  <a:gd name="T70" fmla="*/ 2938 w 4287"/>
                  <a:gd name="T71" fmla="*/ 2608 h 2953"/>
                  <a:gd name="T72" fmla="*/ 2841 w 4287"/>
                  <a:gd name="T73" fmla="*/ 2624 h 2953"/>
                  <a:gd name="T74" fmla="*/ 2787 w 4287"/>
                  <a:gd name="T75" fmla="*/ 2653 h 2953"/>
                  <a:gd name="T76" fmla="*/ 2624 w 4287"/>
                  <a:gd name="T77" fmla="*/ 2698 h 2953"/>
                  <a:gd name="T78" fmla="*/ 2591 w 4287"/>
                  <a:gd name="T79" fmla="*/ 2776 h 2953"/>
                  <a:gd name="T80" fmla="*/ 2522 w 4287"/>
                  <a:gd name="T81" fmla="*/ 2698 h 2953"/>
                  <a:gd name="T82" fmla="*/ 2430 w 4287"/>
                  <a:gd name="T83" fmla="*/ 2691 h 2953"/>
                  <a:gd name="T84" fmla="*/ 2241 w 4287"/>
                  <a:gd name="T85" fmla="*/ 2580 h 2953"/>
                  <a:gd name="T86" fmla="*/ 1972 w 4287"/>
                  <a:gd name="T87" fmla="*/ 2624 h 2953"/>
                  <a:gd name="T88" fmla="*/ 1851 w 4287"/>
                  <a:gd name="T89" fmla="*/ 2681 h 2953"/>
                  <a:gd name="T90" fmla="*/ 1691 w 4287"/>
                  <a:gd name="T91" fmla="*/ 2525 h 2953"/>
                  <a:gd name="T92" fmla="*/ 1766 w 4287"/>
                  <a:gd name="T93" fmla="*/ 2294 h 2953"/>
                  <a:gd name="T94" fmla="*/ 1582 w 4287"/>
                  <a:gd name="T95" fmla="*/ 2126 h 2953"/>
                  <a:gd name="T96" fmla="*/ 1313 w 4287"/>
                  <a:gd name="T97" fmla="*/ 2216 h 2953"/>
                  <a:gd name="T98" fmla="*/ 1015 w 4287"/>
                  <a:gd name="T99" fmla="*/ 2204 h 2953"/>
                  <a:gd name="T100" fmla="*/ 810 w 4287"/>
                  <a:gd name="T101" fmla="*/ 2150 h 2953"/>
                  <a:gd name="T102" fmla="*/ 529 w 4287"/>
                  <a:gd name="T103" fmla="*/ 2039 h 2953"/>
                  <a:gd name="T104" fmla="*/ 3229 w 4287"/>
                  <a:gd name="T105" fmla="*/ 1866 h 2953"/>
                  <a:gd name="T106" fmla="*/ 3401 w 4287"/>
                  <a:gd name="T107" fmla="*/ 2032 h 2953"/>
                  <a:gd name="T108" fmla="*/ 3418 w 4287"/>
                  <a:gd name="T109" fmla="*/ 2048 h 2953"/>
                  <a:gd name="T110" fmla="*/ 3337 w 4287"/>
                  <a:gd name="T111" fmla="*/ 2192 h 2953"/>
                  <a:gd name="T112" fmla="*/ 3115 w 4287"/>
                  <a:gd name="T113" fmla="*/ 2476 h 2953"/>
                  <a:gd name="T114" fmla="*/ 2851 w 4287"/>
                  <a:gd name="T115" fmla="*/ 2641 h 2953"/>
                  <a:gd name="T116" fmla="*/ 2683 w 4287"/>
                  <a:gd name="T117" fmla="*/ 2691 h 2953"/>
                  <a:gd name="T118" fmla="*/ 2570 w 4287"/>
                  <a:gd name="T119" fmla="*/ 2731 h 2953"/>
                  <a:gd name="T120" fmla="*/ 2560 w 4287"/>
                  <a:gd name="T121" fmla="*/ 2809 h 2953"/>
                  <a:gd name="T122" fmla="*/ 2527 w 4287"/>
                  <a:gd name="T123" fmla="*/ 2941 h 2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87" h="2953">
                    <a:moveTo>
                      <a:pt x="524" y="2032"/>
                    </a:moveTo>
                    <a:lnTo>
                      <a:pt x="491" y="2010"/>
                    </a:lnTo>
                    <a:lnTo>
                      <a:pt x="460" y="1999"/>
                    </a:lnTo>
                    <a:lnTo>
                      <a:pt x="470" y="1982"/>
                    </a:lnTo>
                    <a:lnTo>
                      <a:pt x="437" y="1973"/>
                    </a:lnTo>
                    <a:lnTo>
                      <a:pt x="415" y="1973"/>
                    </a:lnTo>
                    <a:lnTo>
                      <a:pt x="385" y="1928"/>
                    </a:lnTo>
                    <a:lnTo>
                      <a:pt x="368" y="1944"/>
                    </a:lnTo>
                    <a:lnTo>
                      <a:pt x="361" y="1937"/>
                    </a:lnTo>
                    <a:lnTo>
                      <a:pt x="361" y="1921"/>
                    </a:lnTo>
                    <a:lnTo>
                      <a:pt x="368" y="1916"/>
                    </a:lnTo>
                    <a:lnTo>
                      <a:pt x="352" y="1904"/>
                    </a:lnTo>
                    <a:lnTo>
                      <a:pt x="361" y="1888"/>
                    </a:lnTo>
                    <a:lnTo>
                      <a:pt x="340" y="1866"/>
                    </a:lnTo>
                    <a:lnTo>
                      <a:pt x="340" y="1845"/>
                    </a:lnTo>
                    <a:lnTo>
                      <a:pt x="361" y="1833"/>
                    </a:lnTo>
                    <a:lnTo>
                      <a:pt x="361" y="1850"/>
                    </a:lnTo>
                    <a:lnTo>
                      <a:pt x="378" y="1862"/>
                    </a:lnTo>
                    <a:lnTo>
                      <a:pt x="394" y="1850"/>
                    </a:lnTo>
                    <a:lnTo>
                      <a:pt x="399" y="1850"/>
                    </a:lnTo>
                    <a:lnTo>
                      <a:pt x="415" y="1828"/>
                    </a:lnTo>
                    <a:lnTo>
                      <a:pt x="399" y="1812"/>
                    </a:lnTo>
                    <a:lnTo>
                      <a:pt x="406" y="1795"/>
                    </a:lnTo>
                    <a:lnTo>
                      <a:pt x="378" y="1776"/>
                    </a:lnTo>
                    <a:lnTo>
                      <a:pt x="361" y="1760"/>
                    </a:lnTo>
                    <a:lnTo>
                      <a:pt x="361" y="1717"/>
                    </a:lnTo>
                    <a:lnTo>
                      <a:pt x="378" y="1706"/>
                    </a:lnTo>
                    <a:lnTo>
                      <a:pt x="378" y="1701"/>
                    </a:lnTo>
                    <a:lnTo>
                      <a:pt x="352" y="1684"/>
                    </a:lnTo>
                    <a:lnTo>
                      <a:pt x="330" y="1677"/>
                    </a:lnTo>
                    <a:lnTo>
                      <a:pt x="309" y="1623"/>
                    </a:lnTo>
                    <a:lnTo>
                      <a:pt x="314" y="1606"/>
                    </a:lnTo>
                    <a:lnTo>
                      <a:pt x="297" y="1606"/>
                    </a:lnTo>
                    <a:lnTo>
                      <a:pt x="271" y="1606"/>
                    </a:lnTo>
                    <a:lnTo>
                      <a:pt x="233" y="1595"/>
                    </a:lnTo>
                    <a:lnTo>
                      <a:pt x="205" y="1583"/>
                    </a:lnTo>
                    <a:lnTo>
                      <a:pt x="205" y="1573"/>
                    </a:lnTo>
                    <a:lnTo>
                      <a:pt x="184" y="1583"/>
                    </a:lnTo>
                    <a:lnTo>
                      <a:pt x="179" y="1566"/>
                    </a:lnTo>
                    <a:lnTo>
                      <a:pt x="163" y="1557"/>
                    </a:lnTo>
                    <a:lnTo>
                      <a:pt x="167" y="1540"/>
                    </a:lnTo>
                    <a:lnTo>
                      <a:pt x="163" y="1512"/>
                    </a:lnTo>
                    <a:lnTo>
                      <a:pt x="146" y="1500"/>
                    </a:lnTo>
                    <a:lnTo>
                      <a:pt x="129" y="1500"/>
                    </a:lnTo>
                    <a:lnTo>
                      <a:pt x="125" y="1484"/>
                    </a:lnTo>
                    <a:lnTo>
                      <a:pt x="108" y="1479"/>
                    </a:lnTo>
                    <a:lnTo>
                      <a:pt x="70" y="1479"/>
                    </a:lnTo>
                    <a:lnTo>
                      <a:pt x="54" y="1462"/>
                    </a:lnTo>
                    <a:lnTo>
                      <a:pt x="82" y="1455"/>
                    </a:lnTo>
                    <a:lnTo>
                      <a:pt x="82" y="1462"/>
                    </a:lnTo>
                    <a:lnTo>
                      <a:pt x="92" y="1462"/>
                    </a:lnTo>
                    <a:lnTo>
                      <a:pt x="113" y="1446"/>
                    </a:lnTo>
                    <a:lnTo>
                      <a:pt x="92" y="1422"/>
                    </a:lnTo>
                    <a:lnTo>
                      <a:pt x="96" y="1417"/>
                    </a:lnTo>
                    <a:lnTo>
                      <a:pt x="82" y="1389"/>
                    </a:lnTo>
                    <a:lnTo>
                      <a:pt x="92" y="1363"/>
                    </a:lnTo>
                    <a:lnTo>
                      <a:pt x="54" y="1347"/>
                    </a:lnTo>
                    <a:lnTo>
                      <a:pt x="37" y="1347"/>
                    </a:lnTo>
                    <a:lnTo>
                      <a:pt x="28" y="1351"/>
                    </a:lnTo>
                    <a:lnTo>
                      <a:pt x="16" y="1347"/>
                    </a:lnTo>
                    <a:lnTo>
                      <a:pt x="7" y="1318"/>
                    </a:lnTo>
                    <a:lnTo>
                      <a:pt x="16" y="1311"/>
                    </a:lnTo>
                    <a:lnTo>
                      <a:pt x="0" y="1295"/>
                    </a:lnTo>
                    <a:lnTo>
                      <a:pt x="7" y="1273"/>
                    </a:lnTo>
                    <a:lnTo>
                      <a:pt x="16" y="1273"/>
                    </a:lnTo>
                    <a:lnTo>
                      <a:pt x="21" y="1262"/>
                    </a:lnTo>
                    <a:lnTo>
                      <a:pt x="16" y="1252"/>
                    </a:lnTo>
                    <a:lnTo>
                      <a:pt x="28" y="1224"/>
                    </a:lnTo>
                    <a:lnTo>
                      <a:pt x="54" y="1219"/>
                    </a:lnTo>
                    <a:lnTo>
                      <a:pt x="75" y="1202"/>
                    </a:lnTo>
                    <a:lnTo>
                      <a:pt x="92" y="1202"/>
                    </a:lnTo>
                    <a:lnTo>
                      <a:pt x="82" y="1186"/>
                    </a:lnTo>
                    <a:lnTo>
                      <a:pt x="113" y="1195"/>
                    </a:lnTo>
                    <a:lnTo>
                      <a:pt x="134" y="1179"/>
                    </a:lnTo>
                    <a:lnTo>
                      <a:pt x="146" y="1202"/>
                    </a:lnTo>
                    <a:lnTo>
                      <a:pt x="179" y="1195"/>
                    </a:lnTo>
                    <a:lnTo>
                      <a:pt x="189" y="1202"/>
                    </a:lnTo>
                    <a:lnTo>
                      <a:pt x="217" y="1179"/>
                    </a:lnTo>
                    <a:lnTo>
                      <a:pt x="217" y="1162"/>
                    </a:lnTo>
                    <a:lnTo>
                      <a:pt x="233" y="1146"/>
                    </a:lnTo>
                    <a:lnTo>
                      <a:pt x="314" y="1141"/>
                    </a:lnTo>
                    <a:lnTo>
                      <a:pt x="330" y="1125"/>
                    </a:lnTo>
                    <a:lnTo>
                      <a:pt x="340" y="1108"/>
                    </a:lnTo>
                    <a:lnTo>
                      <a:pt x="399" y="1075"/>
                    </a:lnTo>
                    <a:lnTo>
                      <a:pt x="432" y="1068"/>
                    </a:lnTo>
                    <a:lnTo>
                      <a:pt x="437" y="1058"/>
                    </a:lnTo>
                    <a:lnTo>
                      <a:pt x="460" y="1051"/>
                    </a:lnTo>
                    <a:lnTo>
                      <a:pt x="460" y="1042"/>
                    </a:lnTo>
                    <a:lnTo>
                      <a:pt x="470" y="1035"/>
                    </a:lnTo>
                    <a:lnTo>
                      <a:pt x="460" y="1002"/>
                    </a:lnTo>
                    <a:lnTo>
                      <a:pt x="470" y="985"/>
                    </a:lnTo>
                    <a:lnTo>
                      <a:pt x="491" y="980"/>
                    </a:lnTo>
                    <a:lnTo>
                      <a:pt x="474" y="969"/>
                    </a:lnTo>
                    <a:lnTo>
                      <a:pt x="507" y="957"/>
                    </a:lnTo>
                    <a:lnTo>
                      <a:pt x="503" y="931"/>
                    </a:lnTo>
                    <a:lnTo>
                      <a:pt x="474" y="869"/>
                    </a:lnTo>
                    <a:lnTo>
                      <a:pt x="474" y="829"/>
                    </a:lnTo>
                    <a:lnTo>
                      <a:pt x="486" y="820"/>
                    </a:lnTo>
                    <a:lnTo>
                      <a:pt x="470" y="813"/>
                    </a:lnTo>
                    <a:lnTo>
                      <a:pt x="448" y="813"/>
                    </a:lnTo>
                    <a:lnTo>
                      <a:pt x="437" y="803"/>
                    </a:lnTo>
                    <a:lnTo>
                      <a:pt x="453" y="791"/>
                    </a:lnTo>
                    <a:lnTo>
                      <a:pt x="566" y="763"/>
                    </a:lnTo>
                    <a:lnTo>
                      <a:pt x="583" y="780"/>
                    </a:lnTo>
                    <a:lnTo>
                      <a:pt x="611" y="775"/>
                    </a:lnTo>
                    <a:lnTo>
                      <a:pt x="633" y="780"/>
                    </a:lnTo>
                    <a:lnTo>
                      <a:pt x="633" y="758"/>
                    </a:lnTo>
                    <a:lnTo>
                      <a:pt x="611" y="742"/>
                    </a:lnTo>
                    <a:lnTo>
                      <a:pt x="663" y="614"/>
                    </a:lnTo>
                    <a:lnTo>
                      <a:pt x="663" y="593"/>
                    </a:lnTo>
                    <a:lnTo>
                      <a:pt x="725" y="614"/>
                    </a:lnTo>
                    <a:lnTo>
                      <a:pt x="777" y="614"/>
                    </a:lnTo>
                    <a:lnTo>
                      <a:pt x="784" y="626"/>
                    </a:lnTo>
                    <a:lnTo>
                      <a:pt x="784" y="631"/>
                    </a:lnTo>
                    <a:lnTo>
                      <a:pt x="815" y="610"/>
                    </a:lnTo>
                    <a:lnTo>
                      <a:pt x="838" y="610"/>
                    </a:lnTo>
                    <a:lnTo>
                      <a:pt x="848" y="593"/>
                    </a:lnTo>
                    <a:lnTo>
                      <a:pt x="848" y="581"/>
                    </a:lnTo>
                    <a:lnTo>
                      <a:pt x="838" y="569"/>
                    </a:lnTo>
                    <a:lnTo>
                      <a:pt x="838" y="527"/>
                    </a:lnTo>
                    <a:lnTo>
                      <a:pt x="852" y="487"/>
                    </a:lnTo>
                    <a:lnTo>
                      <a:pt x="907" y="470"/>
                    </a:lnTo>
                    <a:lnTo>
                      <a:pt x="923" y="458"/>
                    </a:lnTo>
                    <a:lnTo>
                      <a:pt x="918" y="432"/>
                    </a:lnTo>
                    <a:lnTo>
                      <a:pt x="935" y="416"/>
                    </a:lnTo>
                    <a:lnTo>
                      <a:pt x="961" y="425"/>
                    </a:lnTo>
                    <a:lnTo>
                      <a:pt x="999" y="416"/>
                    </a:lnTo>
                    <a:lnTo>
                      <a:pt x="999" y="432"/>
                    </a:lnTo>
                    <a:lnTo>
                      <a:pt x="994" y="442"/>
                    </a:lnTo>
                    <a:lnTo>
                      <a:pt x="1015" y="458"/>
                    </a:lnTo>
                    <a:lnTo>
                      <a:pt x="1011" y="470"/>
                    </a:lnTo>
                    <a:lnTo>
                      <a:pt x="1048" y="487"/>
                    </a:lnTo>
                    <a:lnTo>
                      <a:pt x="1053" y="503"/>
                    </a:lnTo>
                    <a:lnTo>
                      <a:pt x="1086" y="520"/>
                    </a:lnTo>
                    <a:lnTo>
                      <a:pt x="1117" y="520"/>
                    </a:lnTo>
                    <a:lnTo>
                      <a:pt x="1133" y="536"/>
                    </a:lnTo>
                    <a:lnTo>
                      <a:pt x="1155" y="536"/>
                    </a:lnTo>
                    <a:lnTo>
                      <a:pt x="1155" y="543"/>
                    </a:lnTo>
                    <a:lnTo>
                      <a:pt x="1178" y="569"/>
                    </a:lnTo>
                    <a:lnTo>
                      <a:pt x="1188" y="581"/>
                    </a:lnTo>
                    <a:lnTo>
                      <a:pt x="1204" y="610"/>
                    </a:lnTo>
                    <a:lnTo>
                      <a:pt x="1216" y="626"/>
                    </a:lnTo>
                    <a:lnTo>
                      <a:pt x="1226" y="652"/>
                    </a:lnTo>
                    <a:lnTo>
                      <a:pt x="1216" y="680"/>
                    </a:lnTo>
                    <a:lnTo>
                      <a:pt x="1226" y="704"/>
                    </a:lnTo>
                    <a:lnTo>
                      <a:pt x="1204" y="725"/>
                    </a:lnTo>
                    <a:lnTo>
                      <a:pt x="1192" y="747"/>
                    </a:lnTo>
                    <a:lnTo>
                      <a:pt x="1209" y="775"/>
                    </a:lnTo>
                    <a:lnTo>
                      <a:pt x="1259" y="791"/>
                    </a:lnTo>
                    <a:lnTo>
                      <a:pt x="1405" y="796"/>
                    </a:lnTo>
                    <a:lnTo>
                      <a:pt x="1481" y="853"/>
                    </a:lnTo>
                    <a:lnTo>
                      <a:pt x="1502" y="858"/>
                    </a:lnTo>
                    <a:lnTo>
                      <a:pt x="1528" y="858"/>
                    </a:lnTo>
                    <a:lnTo>
                      <a:pt x="1528" y="886"/>
                    </a:lnTo>
                    <a:lnTo>
                      <a:pt x="1540" y="886"/>
                    </a:lnTo>
                    <a:lnTo>
                      <a:pt x="1566" y="947"/>
                    </a:lnTo>
                    <a:lnTo>
                      <a:pt x="1594" y="980"/>
                    </a:lnTo>
                    <a:lnTo>
                      <a:pt x="1594" y="997"/>
                    </a:lnTo>
                    <a:lnTo>
                      <a:pt x="1646" y="985"/>
                    </a:lnTo>
                    <a:lnTo>
                      <a:pt x="1821" y="1014"/>
                    </a:lnTo>
                    <a:lnTo>
                      <a:pt x="1873" y="997"/>
                    </a:lnTo>
                    <a:lnTo>
                      <a:pt x="1911" y="997"/>
                    </a:lnTo>
                    <a:lnTo>
                      <a:pt x="1981" y="1014"/>
                    </a:lnTo>
                    <a:lnTo>
                      <a:pt x="1998" y="1035"/>
                    </a:lnTo>
                    <a:lnTo>
                      <a:pt x="2040" y="1042"/>
                    </a:lnTo>
                    <a:lnTo>
                      <a:pt x="2090" y="1068"/>
                    </a:lnTo>
                    <a:lnTo>
                      <a:pt x="2123" y="1075"/>
                    </a:lnTo>
                    <a:lnTo>
                      <a:pt x="2166" y="1068"/>
                    </a:lnTo>
                    <a:lnTo>
                      <a:pt x="2166" y="1084"/>
                    </a:lnTo>
                    <a:lnTo>
                      <a:pt x="2199" y="1091"/>
                    </a:lnTo>
                    <a:lnTo>
                      <a:pt x="2203" y="1091"/>
                    </a:lnTo>
                    <a:lnTo>
                      <a:pt x="2220" y="1084"/>
                    </a:lnTo>
                    <a:lnTo>
                      <a:pt x="2258" y="1058"/>
                    </a:lnTo>
                    <a:lnTo>
                      <a:pt x="2376" y="1018"/>
                    </a:lnTo>
                    <a:lnTo>
                      <a:pt x="2506" y="1018"/>
                    </a:lnTo>
                    <a:lnTo>
                      <a:pt x="2581" y="985"/>
                    </a:lnTo>
                    <a:lnTo>
                      <a:pt x="2624" y="940"/>
                    </a:lnTo>
                    <a:lnTo>
                      <a:pt x="2690" y="907"/>
                    </a:lnTo>
                    <a:lnTo>
                      <a:pt x="2683" y="886"/>
                    </a:lnTo>
                    <a:lnTo>
                      <a:pt x="2652" y="853"/>
                    </a:lnTo>
                    <a:lnTo>
                      <a:pt x="2678" y="796"/>
                    </a:lnTo>
                    <a:lnTo>
                      <a:pt x="2700" y="780"/>
                    </a:lnTo>
                    <a:lnTo>
                      <a:pt x="2721" y="791"/>
                    </a:lnTo>
                    <a:lnTo>
                      <a:pt x="2754" y="803"/>
                    </a:lnTo>
                    <a:lnTo>
                      <a:pt x="2808" y="813"/>
                    </a:lnTo>
                    <a:lnTo>
                      <a:pt x="2867" y="775"/>
                    </a:lnTo>
                    <a:lnTo>
                      <a:pt x="2867" y="758"/>
                    </a:lnTo>
                    <a:lnTo>
                      <a:pt x="2938" y="758"/>
                    </a:lnTo>
                    <a:lnTo>
                      <a:pt x="2985" y="737"/>
                    </a:lnTo>
                    <a:lnTo>
                      <a:pt x="3002" y="692"/>
                    </a:lnTo>
                    <a:lnTo>
                      <a:pt x="3023" y="680"/>
                    </a:lnTo>
                    <a:lnTo>
                      <a:pt x="3030" y="669"/>
                    </a:lnTo>
                    <a:lnTo>
                      <a:pt x="3068" y="669"/>
                    </a:lnTo>
                    <a:lnTo>
                      <a:pt x="3068" y="652"/>
                    </a:lnTo>
                    <a:lnTo>
                      <a:pt x="3099" y="652"/>
                    </a:lnTo>
                    <a:lnTo>
                      <a:pt x="3137" y="636"/>
                    </a:lnTo>
                    <a:lnTo>
                      <a:pt x="3170" y="647"/>
                    </a:lnTo>
                    <a:lnTo>
                      <a:pt x="3174" y="636"/>
                    </a:lnTo>
                    <a:lnTo>
                      <a:pt x="3207" y="647"/>
                    </a:lnTo>
                    <a:lnTo>
                      <a:pt x="3229" y="652"/>
                    </a:lnTo>
                    <a:lnTo>
                      <a:pt x="3245" y="636"/>
                    </a:lnTo>
                    <a:lnTo>
                      <a:pt x="3245" y="626"/>
                    </a:lnTo>
                    <a:lnTo>
                      <a:pt x="3229" y="598"/>
                    </a:lnTo>
                    <a:lnTo>
                      <a:pt x="3191" y="569"/>
                    </a:lnTo>
                    <a:lnTo>
                      <a:pt x="3191" y="553"/>
                    </a:lnTo>
                    <a:lnTo>
                      <a:pt x="3170" y="543"/>
                    </a:lnTo>
                    <a:lnTo>
                      <a:pt x="3153" y="520"/>
                    </a:lnTo>
                    <a:lnTo>
                      <a:pt x="3099" y="520"/>
                    </a:lnTo>
                    <a:lnTo>
                      <a:pt x="3068" y="553"/>
                    </a:lnTo>
                    <a:lnTo>
                      <a:pt x="3040" y="536"/>
                    </a:lnTo>
                    <a:lnTo>
                      <a:pt x="2992" y="536"/>
                    </a:lnTo>
                    <a:lnTo>
                      <a:pt x="2969" y="553"/>
                    </a:lnTo>
                    <a:lnTo>
                      <a:pt x="2948" y="527"/>
                    </a:lnTo>
                    <a:lnTo>
                      <a:pt x="2938" y="515"/>
                    </a:lnTo>
                    <a:lnTo>
                      <a:pt x="2959" y="499"/>
                    </a:lnTo>
                    <a:lnTo>
                      <a:pt x="2959" y="470"/>
                    </a:lnTo>
                    <a:lnTo>
                      <a:pt x="2976" y="449"/>
                    </a:lnTo>
                    <a:lnTo>
                      <a:pt x="3023" y="354"/>
                    </a:lnTo>
                    <a:lnTo>
                      <a:pt x="3111" y="388"/>
                    </a:lnTo>
                    <a:lnTo>
                      <a:pt x="3153" y="347"/>
                    </a:lnTo>
                    <a:lnTo>
                      <a:pt x="3191" y="338"/>
                    </a:lnTo>
                    <a:lnTo>
                      <a:pt x="3207" y="331"/>
                    </a:lnTo>
                    <a:lnTo>
                      <a:pt x="3207" y="305"/>
                    </a:lnTo>
                    <a:lnTo>
                      <a:pt x="3191" y="298"/>
                    </a:lnTo>
                    <a:lnTo>
                      <a:pt x="3219" y="265"/>
                    </a:lnTo>
                    <a:lnTo>
                      <a:pt x="3224" y="248"/>
                    </a:lnTo>
                    <a:lnTo>
                      <a:pt x="3240" y="239"/>
                    </a:lnTo>
                    <a:lnTo>
                      <a:pt x="3262" y="182"/>
                    </a:lnTo>
                    <a:lnTo>
                      <a:pt x="3300" y="154"/>
                    </a:lnTo>
                    <a:lnTo>
                      <a:pt x="3309" y="132"/>
                    </a:lnTo>
                    <a:lnTo>
                      <a:pt x="3300" y="116"/>
                    </a:lnTo>
                    <a:lnTo>
                      <a:pt x="3300" y="95"/>
                    </a:lnTo>
                    <a:lnTo>
                      <a:pt x="3283" y="83"/>
                    </a:lnTo>
                    <a:lnTo>
                      <a:pt x="3262" y="95"/>
                    </a:lnTo>
                    <a:lnTo>
                      <a:pt x="3257" y="71"/>
                    </a:lnTo>
                    <a:lnTo>
                      <a:pt x="3309" y="21"/>
                    </a:lnTo>
                    <a:lnTo>
                      <a:pt x="3510" y="0"/>
                    </a:lnTo>
                    <a:lnTo>
                      <a:pt x="3543" y="17"/>
                    </a:lnTo>
                    <a:lnTo>
                      <a:pt x="3552" y="17"/>
                    </a:lnTo>
                    <a:lnTo>
                      <a:pt x="3569" y="26"/>
                    </a:lnTo>
                    <a:lnTo>
                      <a:pt x="3597" y="38"/>
                    </a:lnTo>
                    <a:lnTo>
                      <a:pt x="3618" y="26"/>
                    </a:lnTo>
                    <a:lnTo>
                      <a:pt x="3649" y="43"/>
                    </a:lnTo>
                    <a:lnTo>
                      <a:pt x="3656" y="54"/>
                    </a:lnTo>
                    <a:lnTo>
                      <a:pt x="3649" y="62"/>
                    </a:lnTo>
                    <a:lnTo>
                      <a:pt x="3677" y="78"/>
                    </a:lnTo>
                    <a:lnTo>
                      <a:pt x="3673" y="95"/>
                    </a:lnTo>
                    <a:lnTo>
                      <a:pt x="3687" y="95"/>
                    </a:lnTo>
                    <a:lnTo>
                      <a:pt x="3703" y="111"/>
                    </a:lnTo>
                    <a:lnTo>
                      <a:pt x="3694" y="132"/>
                    </a:lnTo>
                    <a:lnTo>
                      <a:pt x="3715" y="132"/>
                    </a:lnTo>
                    <a:lnTo>
                      <a:pt x="3703" y="149"/>
                    </a:lnTo>
                    <a:lnTo>
                      <a:pt x="3725" y="170"/>
                    </a:lnTo>
                    <a:lnTo>
                      <a:pt x="3732" y="203"/>
                    </a:lnTo>
                    <a:lnTo>
                      <a:pt x="3741" y="203"/>
                    </a:lnTo>
                    <a:lnTo>
                      <a:pt x="3732" y="222"/>
                    </a:lnTo>
                    <a:lnTo>
                      <a:pt x="3741" y="210"/>
                    </a:lnTo>
                    <a:lnTo>
                      <a:pt x="3741" y="239"/>
                    </a:lnTo>
                    <a:lnTo>
                      <a:pt x="3762" y="265"/>
                    </a:lnTo>
                    <a:lnTo>
                      <a:pt x="3770" y="281"/>
                    </a:lnTo>
                    <a:lnTo>
                      <a:pt x="3762" y="293"/>
                    </a:lnTo>
                    <a:lnTo>
                      <a:pt x="3770" y="305"/>
                    </a:lnTo>
                    <a:lnTo>
                      <a:pt x="3786" y="314"/>
                    </a:lnTo>
                    <a:lnTo>
                      <a:pt x="3779" y="331"/>
                    </a:lnTo>
                    <a:lnTo>
                      <a:pt x="3779" y="354"/>
                    </a:lnTo>
                    <a:lnTo>
                      <a:pt x="3800" y="376"/>
                    </a:lnTo>
                    <a:lnTo>
                      <a:pt x="3871" y="376"/>
                    </a:lnTo>
                    <a:lnTo>
                      <a:pt x="3892" y="404"/>
                    </a:lnTo>
                    <a:lnTo>
                      <a:pt x="3921" y="392"/>
                    </a:lnTo>
                    <a:lnTo>
                      <a:pt x="3925" y="404"/>
                    </a:lnTo>
                    <a:lnTo>
                      <a:pt x="3930" y="409"/>
                    </a:lnTo>
                    <a:lnTo>
                      <a:pt x="3947" y="425"/>
                    </a:lnTo>
                    <a:lnTo>
                      <a:pt x="3975" y="442"/>
                    </a:lnTo>
                    <a:lnTo>
                      <a:pt x="4001" y="442"/>
                    </a:lnTo>
                    <a:lnTo>
                      <a:pt x="3996" y="465"/>
                    </a:lnTo>
                    <a:lnTo>
                      <a:pt x="4013" y="499"/>
                    </a:lnTo>
                    <a:lnTo>
                      <a:pt x="4001" y="515"/>
                    </a:lnTo>
                    <a:lnTo>
                      <a:pt x="4018" y="527"/>
                    </a:lnTo>
                    <a:lnTo>
                      <a:pt x="4027" y="553"/>
                    </a:lnTo>
                    <a:lnTo>
                      <a:pt x="4136" y="553"/>
                    </a:lnTo>
                    <a:lnTo>
                      <a:pt x="4140" y="536"/>
                    </a:lnTo>
                    <a:lnTo>
                      <a:pt x="4174" y="515"/>
                    </a:lnTo>
                    <a:lnTo>
                      <a:pt x="4202" y="520"/>
                    </a:lnTo>
                    <a:lnTo>
                      <a:pt x="4216" y="499"/>
                    </a:lnTo>
                    <a:lnTo>
                      <a:pt x="4266" y="487"/>
                    </a:lnTo>
                    <a:lnTo>
                      <a:pt x="4287" y="499"/>
                    </a:lnTo>
                    <a:lnTo>
                      <a:pt x="4270" y="520"/>
                    </a:lnTo>
                    <a:lnTo>
                      <a:pt x="4287" y="553"/>
                    </a:lnTo>
                    <a:lnTo>
                      <a:pt x="4270" y="569"/>
                    </a:lnTo>
                    <a:lnTo>
                      <a:pt x="4249" y="581"/>
                    </a:lnTo>
                    <a:lnTo>
                      <a:pt x="4249" y="610"/>
                    </a:lnTo>
                    <a:lnTo>
                      <a:pt x="4244" y="610"/>
                    </a:lnTo>
                    <a:lnTo>
                      <a:pt x="4233" y="647"/>
                    </a:lnTo>
                    <a:lnTo>
                      <a:pt x="4228" y="664"/>
                    </a:lnTo>
                    <a:lnTo>
                      <a:pt x="4233" y="669"/>
                    </a:lnTo>
                    <a:lnTo>
                      <a:pt x="4228" y="680"/>
                    </a:lnTo>
                    <a:lnTo>
                      <a:pt x="4195" y="721"/>
                    </a:lnTo>
                    <a:lnTo>
                      <a:pt x="4195" y="742"/>
                    </a:lnTo>
                    <a:lnTo>
                      <a:pt x="4174" y="758"/>
                    </a:lnTo>
                    <a:lnTo>
                      <a:pt x="4174" y="780"/>
                    </a:lnTo>
                    <a:lnTo>
                      <a:pt x="4157" y="791"/>
                    </a:lnTo>
                    <a:lnTo>
                      <a:pt x="4093" y="775"/>
                    </a:lnTo>
                    <a:lnTo>
                      <a:pt x="4088" y="763"/>
                    </a:lnTo>
                    <a:lnTo>
                      <a:pt x="4055" y="796"/>
                    </a:lnTo>
                    <a:lnTo>
                      <a:pt x="4018" y="803"/>
                    </a:lnTo>
                    <a:lnTo>
                      <a:pt x="4034" y="820"/>
                    </a:lnTo>
                    <a:lnTo>
                      <a:pt x="4051" y="874"/>
                    </a:lnTo>
                    <a:lnTo>
                      <a:pt x="4039" y="924"/>
                    </a:lnTo>
                    <a:lnTo>
                      <a:pt x="4051" y="940"/>
                    </a:lnTo>
                    <a:lnTo>
                      <a:pt x="4034" y="964"/>
                    </a:lnTo>
                    <a:lnTo>
                      <a:pt x="4034" y="980"/>
                    </a:lnTo>
                    <a:lnTo>
                      <a:pt x="3985" y="997"/>
                    </a:lnTo>
                    <a:lnTo>
                      <a:pt x="3996" y="1002"/>
                    </a:lnTo>
                    <a:lnTo>
                      <a:pt x="3996" y="1018"/>
                    </a:lnTo>
                    <a:lnTo>
                      <a:pt x="3996" y="1014"/>
                    </a:lnTo>
                    <a:lnTo>
                      <a:pt x="3975" y="997"/>
                    </a:lnTo>
                    <a:lnTo>
                      <a:pt x="3975" y="980"/>
                    </a:lnTo>
                    <a:lnTo>
                      <a:pt x="3947" y="969"/>
                    </a:lnTo>
                    <a:lnTo>
                      <a:pt x="3930" y="1018"/>
                    </a:lnTo>
                    <a:lnTo>
                      <a:pt x="3921" y="1025"/>
                    </a:lnTo>
                    <a:lnTo>
                      <a:pt x="3909" y="1018"/>
                    </a:lnTo>
                    <a:lnTo>
                      <a:pt x="3904" y="1035"/>
                    </a:lnTo>
                    <a:lnTo>
                      <a:pt x="3876" y="1058"/>
                    </a:lnTo>
                    <a:lnTo>
                      <a:pt x="3817" y="1058"/>
                    </a:lnTo>
                    <a:lnTo>
                      <a:pt x="3824" y="1075"/>
                    </a:lnTo>
                    <a:lnTo>
                      <a:pt x="3833" y="1091"/>
                    </a:lnTo>
                    <a:lnTo>
                      <a:pt x="3824" y="1113"/>
                    </a:lnTo>
                    <a:lnTo>
                      <a:pt x="3762" y="1108"/>
                    </a:lnTo>
                    <a:lnTo>
                      <a:pt x="3741" y="1075"/>
                    </a:lnTo>
                    <a:lnTo>
                      <a:pt x="3715" y="1091"/>
                    </a:lnTo>
                    <a:lnTo>
                      <a:pt x="3711" y="1113"/>
                    </a:lnTo>
                    <a:lnTo>
                      <a:pt x="3677" y="1151"/>
                    </a:lnTo>
                    <a:lnTo>
                      <a:pt x="3656" y="1151"/>
                    </a:lnTo>
                    <a:lnTo>
                      <a:pt x="3635" y="1169"/>
                    </a:lnTo>
                    <a:lnTo>
                      <a:pt x="3607" y="1186"/>
                    </a:lnTo>
                    <a:lnTo>
                      <a:pt x="3607" y="1195"/>
                    </a:lnTo>
                    <a:lnTo>
                      <a:pt x="3597" y="1186"/>
                    </a:lnTo>
                    <a:lnTo>
                      <a:pt x="3564" y="1219"/>
                    </a:lnTo>
                    <a:lnTo>
                      <a:pt x="3552" y="1236"/>
                    </a:lnTo>
                    <a:lnTo>
                      <a:pt x="3543" y="1240"/>
                    </a:lnTo>
                    <a:lnTo>
                      <a:pt x="3514" y="1240"/>
                    </a:lnTo>
                    <a:lnTo>
                      <a:pt x="3493" y="1252"/>
                    </a:lnTo>
                    <a:lnTo>
                      <a:pt x="3477" y="1240"/>
                    </a:lnTo>
                    <a:lnTo>
                      <a:pt x="3488" y="1257"/>
                    </a:lnTo>
                    <a:lnTo>
                      <a:pt x="3422" y="1278"/>
                    </a:lnTo>
                    <a:lnTo>
                      <a:pt x="3392" y="1311"/>
                    </a:lnTo>
                    <a:lnTo>
                      <a:pt x="3370" y="1311"/>
                    </a:lnTo>
                    <a:lnTo>
                      <a:pt x="3370" y="1330"/>
                    </a:lnTo>
                    <a:lnTo>
                      <a:pt x="3333" y="1335"/>
                    </a:lnTo>
                    <a:lnTo>
                      <a:pt x="3333" y="1318"/>
                    </a:lnTo>
                    <a:lnTo>
                      <a:pt x="3370" y="1306"/>
                    </a:lnTo>
                    <a:lnTo>
                      <a:pt x="3363" y="1295"/>
                    </a:lnTo>
                    <a:lnTo>
                      <a:pt x="3380" y="1278"/>
                    </a:lnTo>
                    <a:lnTo>
                      <a:pt x="3363" y="1278"/>
                    </a:lnTo>
                    <a:lnTo>
                      <a:pt x="3354" y="1273"/>
                    </a:lnTo>
                    <a:lnTo>
                      <a:pt x="3337" y="1262"/>
                    </a:lnTo>
                    <a:lnTo>
                      <a:pt x="3363" y="1257"/>
                    </a:lnTo>
                    <a:lnTo>
                      <a:pt x="3354" y="1240"/>
                    </a:lnTo>
                    <a:lnTo>
                      <a:pt x="3385" y="1236"/>
                    </a:lnTo>
                    <a:lnTo>
                      <a:pt x="3418" y="1186"/>
                    </a:lnTo>
                    <a:lnTo>
                      <a:pt x="3401" y="1162"/>
                    </a:lnTo>
                    <a:lnTo>
                      <a:pt x="3337" y="1151"/>
                    </a:lnTo>
                    <a:lnTo>
                      <a:pt x="3325" y="1162"/>
                    </a:lnTo>
                    <a:lnTo>
                      <a:pt x="3316" y="1162"/>
                    </a:lnTo>
                    <a:lnTo>
                      <a:pt x="3325" y="1169"/>
                    </a:lnTo>
                    <a:lnTo>
                      <a:pt x="3309" y="1169"/>
                    </a:lnTo>
                    <a:lnTo>
                      <a:pt x="3295" y="1195"/>
                    </a:lnTo>
                    <a:lnTo>
                      <a:pt x="3283" y="1207"/>
                    </a:lnTo>
                    <a:lnTo>
                      <a:pt x="3224" y="1240"/>
                    </a:lnTo>
                    <a:lnTo>
                      <a:pt x="3207" y="1252"/>
                    </a:lnTo>
                    <a:lnTo>
                      <a:pt x="3203" y="1278"/>
                    </a:lnTo>
                    <a:lnTo>
                      <a:pt x="3174" y="1306"/>
                    </a:lnTo>
                    <a:lnTo>
                      <a:pt x="3186" y="1295"/>
                    </a:lnTo>
                    <a:lnTo>
                      <a:pt x="3153" y="1295"/>
                    </a:lnTo>
                    <a:lnTo>
                      <a:pt x="3137" y="1311"/>
                    </a:lnTo>
                    <a:lnTo>
                      <a:pt x="3115" y="1295"/>
                    </a:lnTo>
                    <a:lnTo>
                      <a:pt x="3094" y="1306"/>
                    </a:lnTo>
                    <a:lnTo>
                      <a:pt x="3082" y="1347"/>
                    </a:lnTo>
                    <a:lnTo>
                      <a:pt x="3094" y="1368"/>
                    </a:lnTo>
                    <a:lnTo>
                      <a:pt x="3120" y="1384"/>
                    </a:lnTo>
                    <a:lnTo>
                      <a:pt x="3170" y="1384"/>
                    </a:lnTo>
                    <a:lnTo>
                      <a:pt x="3186" y="1406"/>
                    </a:lnTo>
                    <a:lnTo>
                      <a:pt x="3174" y="1455"/>
                    </a:lnTo>
                    <a:lnTo>
                      <a:pt x="3203" y="1472"/>
                    </a:lnTo>
                    <a:lnTo>
                      <a:pt x="3240" y="1472"/>
                    </a:lnTo>
                    <a:lnTo>
                      <a:pt x="3245" y="1462"/>
                    </a:lnTo>
                    <a:lnTo>
                      <a:pt x="3245" y="1446"/>
                    </a:lnTo>
                    <a:lnTo>
                      <a:pt x="3309" y="1406"/>
                    </a:lnTo>
                    <a:lnTo>
                      <a:pt x="3316" y="1417"/>
                    </a:lnTo>
                    <a:lnTo>
                      <a:pt x="3333" y="1429"/>
                    </a:lnTo>
                    <a:lnTo>
                      <a:pt x="3363" y="1446"/>
                    </a:lnTo>
                    <a:lnTo>
                      <a:pt x="3401" y="1429"/>
                    </a:lnTo>
                    <a:lnTo>
                      <a:pt x="3408" y="1446"/>
                    </a:lnTo>
                    <a:lnTo>
                      <a:pt x="3434" y="1446"/>
                    </a:lnTo>
                    <a:lnTo>
                      <a:pt x="3439" y="1462"/>
                    </a:lnTo>
                    <a:lnTo>
                      <a:pt x="3422" y="1472"/>
                    </a:lnTo>
                    <a:lnTo>
                      <a:pt x="3422" y="1479"/>
                    </a:lnTo>
                    <a:lnTo>
                      <a:pt x="3434" y="1479"/>
                    </a:lnTo>
                    <a:lnTo>
                      <a:pt x="3434" y="1484"/>
                    </a:lnTo>
                    <a:lnTo>
                      <a:pt x="3408" y="1495"/>
                    </a:lnTo>
                    <a:lnTo>
                      <a:pt x="3408" y="1484"/>
                    </a:lnTo>
                    <a:lnTo>
                      <a:pt x="3392" y="1479"/>
                    </a:lnTo>
                    <a:lnTo>
                      <a:pt x="3363" y="1500"/>
                    </a:lnTo>
                    <a:lnTo>
                      <a:pt x="3363" y="1495"/>
                    </a:lnTo>
                    <a:lnTo>
                      <a:pt x="3325" y="1517"/>
                    </a:lnTo>
                    <a:lnTo>
                      <a:pt x="3309" y="1512"/>
                    </a:lnTo>
                    <a:lnTo>
                      <a:pt x="3309" y="1517"/>
                    </a:lnTo>
                    <a:lnTo>
                      <a:pt x="3316" y="1512"/>
                    </a:lnTo>
                    <a:lnTo>
                      <a:pt x="3325" y="1517"/>
                    </a:lnTo>
                    <a:lnTo>
                      <a:pt x="3316" y="1533"/>
                    </a:lnTo>
                    <a:lnTo>
                      <a:pt x="3309" y="1528"/>
                    </a:lnTo>
                    <a:lnTo>
                      <a:pt x="3300" y="1528"/>
                    </a:lnTo>
                    <a:lnTo>
                      <a:pt x="3300" y="1550"/>
                    </a:lnTo>
                    <a:lnTo>
                      <a:pt x="3278" y="1557"/>
                    </a:lnTo>
                    <a:lnTo>
                      <a:pt x="3278" y="1550"/>
                    </a:lnTo>
                    <a:lnTo>
                      <a:pt x="3278" y="1540"/>
                    </a:lnTo>
                    <a:lnTo>
                      <a:pt x="3262" y="1550"/>
                    </a:lnTo>
                    <a:lnTo>
                      <a:pt x="3271" y="1566"/>
                    </a:lnTo>
                    <a:lnTo>
                      <a:pt x="3245" y="1583"/>
                    </a:lnTo>
                    <a:lnTo>
                      <a:pt x="3245" y="1590"/>
                    </a:lnTo>
                    <a:lnTo>
                      <a:pt x="3229" y="1595"/>
                    </a:lnTo>
                    <a:lnTo>
                      <a:pt x="3207" y="1639"/>
                    </a:lnTo>
                    <a:lnTo>
                      <a:pt x="3203" y="1639"/>
                    </a:lnTo>
                    <a:lnTo>
                      <a:pt x="3191" y="1651"/>
                    </a:lnTo>
                    <a:lnTo>
                      <a:pt x="3203" y="1661"/>
                    </a:lnTo>
                    <a:lnTo>
                      <a:pt x="3219" y="1668"/>
                    </a:lnTo>
                    <a:lnTo>
                      <a:pt x="3229" y="1684"/>
                    </a:lnTo>
                    <a:lnTo>
                      <a:pt x="3271" y="1701"/>
                    </a:lnTo>
                    <a:lnTo>
                      <a:pt x="3283" y="1755"/>
                    </a:lnTo>
                    <a:lnTo>
                      <a:pt x="3316" y="1812"/>
                    </a:lnTo>
                    <a:lnTo>
                      <a:pt x="3316" y="1833"/>
                    </a:lnTo>
                    <a:lnTo>
                      <a:pt x="3354" y="1862"/>
                    </a:lnTo>
                    <a:lnTo>
                      <a:pt x="3354" y="1871"/>
                    </a:lnTo>
                    <a:lnTo>
                      <a:pt x="3380" y="1888"/>
                    </a:lnTo>
                    <a:lnTo>
                      <a:pt x="3385" y="1904"/>
                    </a:lnTo>
                    <a:lnTo>
                      <a:pt x="3385" y="1916"/>
                    </a:lnTo>
                    <a:lnTo>
                      <a:pt x="3347" y="1899"/>
                    </a:lnTo>
                    <a:lnTo>
                      <a:pt x="3325" y="1899"/>
                    </a:lnTo>
                    <a:lnTo>
                      <a:pt x="3295" y="1883"/>
                    </a:lnTo>
                    <a:lnTo>
                      <a:pt x="3262" y="1888"/>
                    </a:lnTo>
                    <a:lnTo>
                      <a:pt x="3240" y="1862"/>
                    </a:lnTo>
                    <a:lnTo>
                      <a:pt x="3229" y="1866"/>
                    </a:lnTo>
                    <a:lnTo>
                      <a:pt x="3224" y="1871"/>
                    </a:lnTo>
                    <a:lnTo>
                      <a:pt x="3240" y="1871"/>
                    </a:lnTo>
                    <a:lnTo>
                      <a:pt x="3245" y="1888"/>
                    </a:lnTo>
                    <a:lnTo>
                      <a:pt x="3262" y="1888"/>
                    </a:lnTo>
                    <a:lnTo>
                      <a:pt x="3283" y="1883"/>
                    </a:lnTo>
                    <a:lnTo>
                      <a:pt x="3300" y="1888"/>
                    </a:lnTo>
                    <a:lnTo>
                      <a:pt x="3309" y="1899"/>
                    </a:lnTo>
                    <a:lnTo>
                      <a:pt x="3300" y="1899"/>
                    </a:lnTo>
                    <a:lnTo>
                      <a:pt x="3333" y="1904"/>
                    </a:lnTo>
                    <a:lnTo>
                      <a:pt x="3370" y="1937"/>
                    </a:lnTo>
                    <a:lnTo>
                      <a:pt x="3385" y="1973"/>
                    </a:lnTo>
                    <a:lnTo>
                      <a:pt x="3385" y="1977"/>
                    </a:lnTo>
                    <a:lnTo>
                      <a:pt x="3354" y="1977"/>
                    </a:lnTo>
                    <a:lnTo>
                      <a:pt x="3325" y="1999"/>
                    </a:lnTo>
                    <a:lnTo>
                      <a:pt x="3309" y="2015"/>
                    </a:lnTo>
                    <a:lnTo>
                      <a:pt x="3283" y="2015"/>
                    </a:lnTo>
                    <a:lnTo>
                      <a:pt x="3262" y="2032"/>
                    </a:lnTo>
                    <a:lnTo>
                      <a:pt x="3295" y="2015"/>
                    </a:lnTo>
                    <a:lnTo>
                      <a:pt x="3295" y="2032"/>
                    </a:lnTo>
                    <a:lnTo>
                      <a:pt x="3309" y="2039"/>
                    </a:lnTo>
                    <a:lnTo>
                      <a:pt x="3347" y="2027"/>
                    </a:lnTo>
                    <a:lnTo>
                      <a:pt x="3370" y="2048"/>
                    </a:lnTo>
                    <a:lnTo>
                      <a:pt x="3401" y="2055"/>
                    </a:lnTo>
                    <a:lnTo>
                      <a:pt x="3370" y="2081"/>
                    </a:lnTo>
                    <a:lnTo>
                      <a:pt x="3363" y="2081"/>
                    </a:lnTo>
                    <a:lnTo>
                      <a:pt x="3354" y="2088"/>
                    </a:lnTo>
                    <a:lnTo>
                      <a:pt x="3380" y="2081"/>
                    </a:lnTo>
                    <a:lnTo>
                      <a:pt x="3380" y="2088"/>
                    </a:lnTo>
                    <a:lnTo>
                      <a:pt x="3385" y="2081"/>
                    </a:lnTo>
                    <a:lnTo>
                      <a:pt x="3380" y="2081"/>
                    </a:lnTo>
                    <a:lnTo>
                      <a:pt x="3385" y="2072"/>
                    </a:lnTo>
                    <a:lnTo>
                      <a:pt x="3392" y="2081"/>
                    </a:lnTo>
                    <a:lnTo>
                      <a:pt x="3385" y="2105"/>
                    </a:lnTo>
                    <a:lnTo>
                      <a:pt x="3392" y="2105"/>
                    </a:lnTo>
                    <a:lnTo>
                      <a:pt x="3385" y="2110"/>
                    </a:lnTo>
                    <a:lnTo>
                      <a:pt x="3380" y="2093"/>
                    </a:lnTo>
                    <a:lnTo>
                      <a:pt x="3380" y="2110"/>
                    </a:lnTo>
                    <a:lnTo>
                      <a:pt x="3363" y="2105"/>
                    </a:lnTo>
                    <a:lnTo>
                      <a:pt x="3354" y="2110"/>
                    </a:lnTo>
                    <a:lnTo>
                      <a:pt x="3370" y="2121"/>
                    </a:lnTo>
                    <a:lnTo>
                      <a:pt x="3370" y="2126"/>
                    </a:lnTo>
                    <a:lnTo>
                      <a:pt x="3354" y="2126"/>
                    </a:lnTo>
                    <a:lnTo>
                      <a:pt x="3370" y="2138"/>
                    </a:lnTo>
                    <a:lnTo>
                      <a:pt x="3363" y="2143"/>
                    </a:lnTo>
                    <a:lnTo>
                      <a:pt x="3347" y="2143"/>
                    </a:lnTo>
                    <a:lnTo>
                      <a:pt x="3333" y="2138"/>
                    </a:lnTo>
                    <a:lnTo>
                      <a:pt x="3354" y="2150"/>
                    </a:lnTo>
                    <a:lnTo>
                      <a:pt x="3370" y="2176"/>
                    </a:lnTo>
                    <a:lnTo>
                      <a:pt x="3363" y="2183"/>
                    </a:lnTo>
                    <a:lnTo>
                      <a:pt x="3354" y="2176"/>
                    </a:lnTo>
                    <a:lnTo>
                      <a:pt x="3347" y="2192"/>
                    </a:lnTo>
                    <a:lnTo>
                      <a:pt x="3337" y="2176"/>
                    </a:lnTo>
                    <a:lnTo>
                      <a:pt x="3316" y="2199"/>
                    </a:lnTo>
                    <a:lnTo>
                      <a:pt x="3295" y="2199"/>
                    </a:lnTo>
                    <a:lnTo>
                      <a:pt x="3316" y="2204"/>
                    </a:lnTo>
                    <a:lnTo>
                      <a:pt x="3316" y="2216"/>
                    </a:lnTo>
                    <a:lnTo>
                      <a:pt x="3295" y="2232"/>
                    </a:lnTo>
                    <a:lnTo>
                      <a:pt x="3300" y="2249"/>
                    </a:lnTo>
                    <a:lnTo>
                      <a:pt x="3283" y="2258"/>
                    </a:lnTo>
                    <a:lnTo>
                      <a:pt x="3278" y="2254"/>
                    </a:lnTo>
                    <a:lnTo>
                      <a:pt x="3271" y="2254"/>
                    </a:lnTo>
                    <a:lnTo>
                      <a:pt x="3271" y="2258"/>
                    </a:lnTo>
                    <a:lnTo>
                      <a:pt x="3283" y="2270"/>
                    </a:lnTo>
                    <a:lnTo>
                      <a:pt x="3271" y="2270"/>
                    </a:lnTo>
                    <a:lnTo>
                      <a:pt x="3271" y="2287"/>
                    </a:lnTo>
                    <a:lnTo>
                      <a:pt x="3257" y="2287"/>
                    </a:lnTo>
                    <a:lnTo>
                      <a:pt x="3262" y="2310"/>
                    </a:lnTo>
                    <a:lnTo>
                      <a:pt x="3245" y="2315"/>
                    </a:lnTo>
                    <a:lnTo>
                      <a:pt x="3262" y="2294"/>
                    </a:lnTo>
                    <a:lnTo>
                      <a:pt x="3245" y="2294"/>
                    </a:lnTo>
                    <a:lnTo>
                      <a:pt x="3245" y="2310"/>
                    </a:lnTo>
                    <a:lnTo>
                      <a:pt x="3240" y="2294"/>
                    </a:lnTo>
                    <a:lnTo>
                      <a:pt x="3229" y="2294"/>
                    </a:lnTo>
                    <a:lnTo>
                      <a:pt x="3229" y="2303"/>
                    </a:lnTo>
                    <a:lnTo>
                      <a:pt x="3224" y="2294"/>
                    </a:lnTo>
                    <a:lnTo>
                      <a:pt x="3224" y="2310"/>
                    </a:lnTo>
                    <a:lnTo>
                      <a:pt x="3229" y="2310"/>
                    </a:lnTo>
                    <a:lnTo>
                      <a:pt x="3240" y="2327"/>
                    </a:lnTo>
                    <a:lnTo>
                      <a:pt x="3229" y="2315"/>
                    </a:lnTo>
                    <a:lnTo>
                      <a:pt x="3224" y="2327"/>
                    </a:lnTo>
                    <a:lnTo>
                      <a:pt x="3229" y="2332"/>
                    </a:lnTo>
                    <a:lnTo>
                      <a:pt x="3240" y="2327"/>
                    </a:lnTo>
                    <a:lnTo>
                      <a:pt x="3245" y="2327"/>
                    </a:lnTo>
                    <a:lnTo>
                      <a:pt x="3229" y="2332"/>
                    </a:lnTo>
                    <a:lnTo>
                      <a:pt x="3219" y="2360"/>
                    </a:lnTo>
                    <a:lnTo>
                      <a:pt x="3191" y="2343"/>
                    </a:lnTo>
                    <a:lnTo>
                      <a:pt x="3207" y="2360"/>
                    </a:lnTo>
                    <a:lnTo>
                      <a:pt x="3224" y="2348"/>
                    </a:lnTo>
                    <a:lnTo>
                      <a:pt x="3229" y="2360"/>
                    </a:lnTo>
                    <a:lnTo>
                      <a:pt x="3224" y="2365"/>
                    </a:lnTo>
                    <a:lnTo>
                      <a:pt x="3224" y="2381"/>
                    </a:lnTo>
                    <a:lnTo>
                      <a:pt x="3219" y="2381"/>
                    </a:lnTo>
                    <a:lnTo>
                      <a:pt x="3229" y="2402"/>
                    </a:lnTo>
                    <a:lnTo>
                      <a:pt x="3207" y="2386"/>
                    </a:lnTo>
                    <a:lnTo>
                      <a:pt x="3191" y="2402"/>
                    </a:lnTo>
                    <a:lnTo>
                      <a:pt x="3207" y="2414"/>
                    </a:lnTo>
                    <a:lnTo>
                      <a:pt x="3191" y="2426"/>
                    </a:lnTo>
                    <a:lnTo>
                      <a:pt x="3186" y="2419"/>
                    </a:lnTo>
                    <a:lnTo>
                      <a:pt x="3186" y="2414"/>
                    </a:lnTo>
                    <a:lnTo>
                      <a:pt x="3174" y="2414"/>
                    </a:lnTo>
                    <a:lnTo>
                      <a:pt x="3186" y="2419"/>
                    </a:lnTo>
                    <a:lnTo>
                      <a:pt x="3170" y="2426"/>
                    </a:lnTo>
                    <a:lnTo>
                      <a:pt x="3186" y="2438"/>
                    </a:lnTo>
                    <a:lnTo>
                      <a:pt x="3165" y="2443"/>
                    </a:lnTo>
                    <a:lnTo>
                      <a:pt x="3165" y="2438"/>
                    </a:lnTo>
                    <a:lnTo>
                      <a:pt x="3153" y="2443"/>
                    </a:lnTo>
                    <a:lnTo>
                      <a:pt x="3153" y="2454"/>
                    </a:lnTo>
                    <a:lnTo>
                      <a:pt x="3170" y="2454"/>
                    </a:lnTo>
                    <a:lnTo>
                      <a:pt x="3153" y="2471"/>
                    </a:lnTo>
                    <a:lnTo>
                      <a:pt x="3148" y="2459"/>
                    </a:lnTo>
                    <a:lnTo>
                      <a:pt x="3132" y="2471"/>
                    </a:lnTo>
                    <a:lnTo>
                      <a:pt x="3120" y="2459"/>
                    </a:lnTo>
                    <a:lnTo>
                      <a:pt x="3111" y="2471"/>
                    </a:lnTo>
                    <a:lnTo>
                      <a:pt x="3115" y="2471"/>
                    </a:lnTo>
                    <a:lnTo>
                      <a:pt x="3115" y="2476"/>
                    </a:lnTo>
                    <a:lnTo>
                      <a:pt x="3099" y="2476"/>
                    </a:lnTo>
                    <a:lnTo>
                      <a:pt x="3115" y="2476"/>
                    </a:lnTo>
                    <a:lnTo>
                      <a:pt x="3120" y="2492"/>
                    </a:lnTo>
                    <a:lnTo>
                      <a:pt x="3094" y="2513"/>
                    </a:lnTo>
                    <a:lnTo>
                      <a:pt x="3099" y="2509"/>
                    </a:lnTo>
                    <a:lnTo>
                      <a:pt x="3082" y="2525"/>
                    </a:lnTo>
                    <a:lnTo>
                      <a:pt x="3061" y="2530"/>
                    </a:lnTo>
                    <a:lnTo>
                      <a:pt x="3056" y="2537"/>
                    </a:lnTo>
                    <a:lnTo>
                      <a:pt x="3040" y="2530"/>
                    </a:lnTo>
                    <a:lnTo>
                      <a:pt x="3023" y="2563"/>
                    </a:lnTo>
                    <a:lnTo>
                      <a:pt x="3007" y="2554"/>
                    </a:lnTo>
                    <a:lnTo>
                      <a:pt x="3030" y="2570"/>
                    </a:lnTo>
                    <a:lnTo>
                      <a:pt x="3007" y="2570"/>
                    </a:lnTo>
                    <a:lnTo>
                      <a:pt x="3007" y="2587"/>
                    </a:lnTo>
                    <a:lnTo>
                      <a:pt x="2992" y="2591"/>
                    </a:lnTo>
                    <a:lnTo>
                      <a:pt x="2959" y="2603"/>
                    </a:lnTo>
                    <a:lnTo>
                      <a:pt x="2948" y="2591"/>
                    </a:lnTo>
                    <a:lnTo>
                      <a:pt x="2938" y="2591"/>
                    </a:lnTo>
                    <a:lnTo>
                      <a:pt x="2938" y="2608"/>
                    </a:lnTo>
                    <a:lnTo>
                      <a:pt x="2917" y="2603"/>
                    </a:lnTo>
                    <a:lnTo>
                      <a:pt x="2893" y="2608"/>
                    </a:lnTo>
                    <a:lnTo>
                      <a:pt x="2893" y="2620"/>
                    </a:lnTo>
                    <a:lnTo>
                      <a:pt x="2884" y="2620"/>
                    </a:lnTo>
                    <a:lnTo>
                      <a:pt x="2884" y="2603"/>
                    </a:lnTo>
                    <a:lnTo>
                      <a:pt x="2867" y="2608"/>
                    </a:lnTo>
                    <a:lnTo>
                      <a:pt x="2879" y="2624"/>
                    </a:lnTo>
                    <a:lnTo>
                      <a:pt x="2867" y="2624"/>
                    </a:lnTo>
                    <a:lnTo>
                      <a:pt x="2863" y="2620"/>
                    </a:lnTo>
                    <a:lnTo>
                      <a:pt x="2846" y="2620"/>
                    </a:lnTo>
                    <a:lnTo>
                      <a:pt x="2851" y="2624"/>
                    </a:lnTo>
                    <a:lnTo>
                      <a:pt x="2863" y="2624"/>
                    </a:lnTo>
                    <a:lnTo>
                      <a:pt x="2851" y="2636"/>
                    </a:lnTo>
                    <a:lnTo>
                      <a:pt x="2851" y="2641"/>
                    </a:lnTo>
                    <a:lnTo>
                      <a:pt x="2829" y="2636"/>
                    </a:lnTo>
                    <a:lnTo>
                      <a:pt x="2841" y="2624"/>
                    </a:lnTo>
                    <a:lnTo>
                      <a:pt x="2825" y="2624"/>
                    </a:lnTo>
                    <a:lnTo>
                      <a:pt x="2813" y="2603"/>
                    </a:lnTo>
                    <a:lnTo>
                      <a:pt x="2808" y="2591"/>
                    </a:lnTo>
                    <a:lnTo>
                      <a:pt x="2796" y="2580"/>
                    </a:lnTo>
                    <a:lnTo>
                      <a:pt x="2825" y="2580"/>
                    </a:lnTo>
                    <a:lnTo>
                      <a:pt x="2813" y="2570"/>
                    </a:lnTo>
                    <a:lnTo>
                      <a:pt x="2796" y="2580"/>
                    </a:lnTo>
                    <a:lnTo>
                      <a:pt x="2796" y="2591"/>
                    </a:lnTo>
                    <a:lnTo>
                      <a:pt x="2792" y="2591"/>
                    </a:lnTo>
                    <a:lnTo>
                      <a:pt x="2796" y="2620"/>
                    </a:lnTo>
                    <a:lnTo>
                      <a:pt x="2796" y="2641"/>
                    </a:lnTo>
                    <a:lnTo>
                      <a:pt x="2796" y="2653"/>
                    </a:lnTo>
                    <a:lnTo>
                      <a:pt x="2792" y="2653"/>
                    </a:lnTo>
                    <a:lnTo>
                      <a:pt x="2775" y="2620"/>
                    </a:lnTo>
                    <a:lnTo>
                      <a:pt x="2792" y="2653"/>
                    </a:lnTo>
                    <a:lnTo>
                      <a:pt x="2787" y="2653"/>
                    </a:lnTo>
                    <a:lnTo>
                      <a:pt x="2775" y="2658"/>
                    </a:lnTo>
                    <a:lnTo>
                      <a:pt x="2770" y="2658"/>
                    </a:lnTo>
                    <a:lnTo>
                      <a:pt x="2770" y="2641"/>
                    </a:lnTo>
                    <a:lnTo>
                      <a:pt x="2759" y="2674"/>
                    </a:lnTo>
                    <a:lnTo>
                      <a:pt x="2754" y="2665"/>
                    </a:lnTo>
                    <a:lnTo>
                      <a:pt x="2737" y="2681"/>
                    </a:lnTo>
                    <a:lnTo>
                      <a:pt x="2733" y="2674"/>
                    </a:lnTo>
                    <a:lnTo>
                      <a:pt x="2716" y="2681"/>
                    </a:lnTo>
                    <a:lnTo>
                      <a:pt x="2683" y="2665"/>
                    </a:lnTo>
                    <a:lnTo>
                      <a:pt x="2690" y="2681"/>
                    </a:lnTo>
                    <a:lnTo>
                      <a:pt x="2683" y="2691"/>
                    </a:lnTo>
                    <a:lnTo>
                      <a:pt x="2666" y="2674"/>
                    </a:lnTo>
                    <a:lnTo>
                      <a:pt x="2678" y="2691"/>
                    </a:lnTo>
                    <a:lnTo>
                      <a:pt x="2666" y="2698"/>
                    </a:lnTo>
                    <a:lnTo>
                      <a:pt x="2629" y="2707"/>
                    </a:lnTo>
                    <a:lnTo>
                      <a:pt x="2624" y="2698"/>
                    </a:lnTo>
                    <a:lnTo>
                      <a:pt x="2624" y="2707"/>
                    </a:lnTo>
                    <a:lnTo>
                      <a:pt x="2629" y="2698"/>
                    </a:lnTo>
                    <a:lnTo>
                      <a:pt x="2607" y="2707"/>
                    </a:lnTo>
                    <a:lnTo>
                      <a:pt x="2598" y="2714"/>
                    </a:lnTo>
                    <a:lnTo>
                      <a:pt x="2607" y="2707"/>
                    </a:lnTo>
                    <a:lnTo>
                      <a:pt x="2598" y="2707"/>
                    </a:lnTo>
                    <a:lnTo>
                      <a:pt x="2598" y="2719"/>
                    </a:lnTo>
                    <a:lnTo>
                      <a:pt x="2591" y="2719"/>
                    </a:lnTo>
                    <a:lnTo>
                      <a:pt x="2581" y="2719"/>
                    </a:lnTo>
                    <a:lnTo>
                      <a:pt x="2581" y="2707"/>
                    </a:lnTo>
                    <a:lnTo>
                      <a:pt x="2581" y="2719"/>
                    </a:lnTo>
                    <a:lnTo>
                      <a:pt x="2560" y="2736"/>
                    </a:lnTo>
                    <a:lnTo>
                      <a:pt x="2560" y="2747"/>
                    </a:lnTo>
                    <a:lnTo>
                      <a:pt x="2577" y="2747"/>
                    </a:lnTo>
                    <a:lnTo>
                      <a:pt x="2577" y="2764"/>
                    </a:lnTo>
                    <a:lnTo>
                      <a:pt x="2591" y="2776"/>
                    </a:lnTo>
                    <a:lnTo>
                      <a:pt x="2577" y="2792"/>
                    </a:lnTo>
                    <a:lnTo>
                      <a:pt x="2553" y="2792"/>
                    </a:lnTo>
                    <a:lnTo>
                      <a:pt x="2544" y="2792"/>
                    </a:lnTo>
                    <a:lnTo>
                      <a:pt x="2544" y="2785"/>
                    </a:lnTo>
                    <a:lnTo>
                      <a:pt x="2553" y="2776"/>
                    </a:lnTo>
                    <a:lnTo>
                      <a:pt x="2539" y="2764"/>
                    </a:lnTo>
                    <a:lnTo>
                      <a:pt x="2527" y="2747"/>
                    </a:lnTo>
                    <a:lnTo>
                      <a:pt x="2539" y="2714"/>
                    </a:lnTo>
                    <a:lnTo>
                      <a:pt x="2553" y="2707"/>
                    </a:lnTo>
                    <a:lnTo>
                      <a:pt x="2539" y="2707"/>
                    </a:lnTo>
                    <a:lnTo>
                      <a:pt x="2539" y="2691"/>
                    </a:lnTo>
                    <a:lnTo>
                      <a:pt x="2539" y="2698"/>
                    </a:lnTo>
                    <a:lnTo>
                      <a:pt x="2527" y="2698"/>
                    </a:lnTo>
                    <a:lnTo>
                      <a:pt x="2522" y="2681"/>
                    </a:lnTo>
                    <a:lnTo>
                      <a:pt x="2522" y="2691"/>
                    </a:lnTo>
                    <a:lnTo>
                      <a:pt x="2522" y="2698"/>
                    </a:lnTo>
                    <a:lnTo>
                      <a:pt x="2489" y="2707"/>
                    </a:lnTo>
                    <a:lnTo>
                      <a:pt x="2489" y="2691"/>
                    </a:lnTo>
                    <a:lnTo>
                      <a:pt x="2473" y="2681"/>
                    </a:lnTo>
                    <a:lnTo>
                      <a:pt x="2468" y="2674"/>
                    </a:lnTo>
                    <a:lnTo>
                      <a:pt x="2473" y="2691"/>
                    </a:lnTo>
                    <a:lnTo>
                      <a:pt x="2468" y="2691"/>
                    </a:lnTo>
                    <a:lnTo>
                      <a:pt x="2463" y="2665"/>
                    </a:lnTo>
                    <a:lnTo>
                      <a:pt x="2447" y="2665"/>
                    </a:lnTo>
                    <a:lnTo>
                      <a:pt x="2447" y="2674"/>
                    </a:lnTo>
                    <a:lnTo>
                      <a:pt x="2451" y="2681"/>
                    </a:lnTo>
                    <a:lnTo>
                      <a:pt x="2447" y="2691"/>
                    </a:lnTo>
                    <a:lnTo>
                      <a:pt x="2435" y="2698"/>
                    </a:lnTo>
                    <a:lnTo>
                      <a:pt x="2447" y="2691"/>
                    </a:lnTo>
                    <a:lnTo>
                      <a:pt x="2435" y="2681"/>
                    </a:lnTo>
                    <a:lnTo>
                      <a:pt x="2430" y="2698"/>
                    </a:lnTo>
                    <a:lnTo>
                      <a:pt x="2430" y="2691"/>
                    </a:lnTo>
                    <a:lnTo>
                      <a:pt x="2414" y="2698"/>
                    </a:lnTo>
                    <a:lnTo>
                      <a:pt x="2397" y="2691"/>
                    </a:lnTo>
                    <a:lnTo>
                      <a:pt x="2364" y="2691"/>
                    </a:lnTo>
                    <a:lnTo>
                      <a:pt x="2359" y="2681"/>
                    </a:lnTo>
                    <a:lnTo>
                      <a:pt x="2343" y="2674"/>
                    </a:lnTo>
                    <a:lnTo>
                      <a:pt x="2343" y="2665"/>
                    </a:lnTo>
                    <a:lnTo>
                      <a:pt x="2322" y="2658"/>
                    </a:lnTo>
                    <a:lnTo>
                      <a:pt x="2322" y="2641"/>
                    </a:lnTo>
                    <a:lnTo>
                      <a:pt x="2312" y="2624"/>
                    </a:lnTo>
                    <a:lnTo>
                      <a:pt x="2326" y="2603"/>
                    </a:lnTo>
                    <a:lnTo>
                      <a:pt x="2322" y="2591"/>
                    </a:lnTo>
                    <a:lnTo>
                      <a:pt x="2305" y="2587"/>
                    </a:lnTo>
                    <a:lnTo>
                      <a:pt x="2289" y="2591"/>
                    </a:lnTo>
                    <a:lnTo>
                      <a:pt x="2284" y="2587"/>
                    </a:lnTo>
                    <a:lnTo>
                      <a:pt x="2258" y="2591"/>
                    </a:lnTo>
                    <a:lnTo>
                      <a:pt x="2241" y="2580"/>
                    </a:lnTo>
                    <a:lnTo>
                      <a:pt x="2229" y="2563"/>
                    </a:lnTo>
                    <a:lnTo>
                      <a:pt x="2199" y="2570"/>
                    </a:lnTo>
                    <a:lnTo>
                      <a:pt x="2182" y="2603"/>
                    </a:lnTo>
                    <a:lnTo>
                      <a:pt x="2175" y="2591"/>
                    </a:lnTo>
                    <a:lnTo>
                      <a:pt x="2161" y="2608"/>
                    </a:lnTo>
                    <a:lnTo>
                      <a:pt x="2149" y="2603"/>
                    </a:lnTo>
                    <a:lnTo>
                      <a:pt x="2149" y="2591"/>
                    </a:lnTo>
                    <a:lnTo>
                      <a:pt x="2133" y="2603"/>
                    </a:lnTo>
                    <a:lnTo>
                      <a:pt x="2128" y="2624"/>
                    </a:lnTo>
                    <a:lnTo>
                      <a:pt x="2107" y="2603"/>
                    </a:lnTo>
                    <a:lnTo>
                      <a:pt x="2095" y="2620"/>
                    </a:lnTo>
                    <a:lnTo>
                      <a:pt x="2078" y="2603"/>
                    </a:lnTo>
                    <a:lnTo>
                      <a:pt x="2069" y="2624"/>
                    </a:lnTo>
                    <a:lnTo>
                      <a:pt x="2024" y="2603"/>
                    </a:lnTo>
                    <a:lnTo>
                      <a:pt x="2003" y="2636"/>
                    </a:lnTo>
                    <a:lnTo>
                      <a:pt x="1972" y="2624"/>
                    </a:lnTo>
                    <a:lnTo>
                      <a:pt x="1960" y="2641"/>
                    </a:lnTo>
                    <a:lnTo>
                      <a:pt x="1965" y="2665"/>
                    </a:lnTo>
                    <a:lnTo>
                      <a:pt x="1972" y="2674"/>
                    </a:lnTo>
                    <a:lnTo>
                      <a:pt x="1972" y="2714"/>
                    </a:lnTo>
                    <a:lnTo>
                      <a:pt x="1981" y="2719"/>
                    </a:lnTo>
                    <a:lnTo>
                      <a:pt x="1972" y="2731"/>
                    </a:lnTo>
                    <a:lnTo>
                      <a:pt x="1960" y="2719"/>
                    </a:lnTo>
                    <a:lnTo>
                      <a:pt x="1944" y="2719"/>
                    </a:lnTo>
                    <a:lnTo>
                      <a:pt x="1934" y="2691"/>
                    </a:lnTo>
                    <a:lnTo>
                      <a:pt x="1927" y="2681"/>
                    </a:lnTo>
                    <a:lnTo>
                      <a:pt x="1889" y="2707"/>
                    </a:lnTo>
                    <a:lnTo>
                      <a:pt x="1880" y="2698"/>
                    </a:lnTo>
                    <a:lnTo>
                      <a:pt x="1863" y="2707"/>
                    </a:lnTo>
                    <a:lnTo>
                      <a:pt x="1859" y="2698"/>
                    </a:lnTo>
                    <a:lnTo>
                      <a:pt x="1859" y="2691"/>
                    </a:lnTo>
                    <a:lnTo>
                      <a:pt x="1851" y="2681"/>
                    </a:lnTo>
                    <a:lnTo>
                      <a:pt x="1851" y="2658"/>
                    </a:lnTo>
                    <a:lnTo>
                      <a:pt x="1788" y="2653"/>
                    </a:lnTo>
                    <a:lnTo>
                      <a:pt x="1809" y="2624"/>
                    </a:lnTo>
                    <a:lnTo>
                      <a:pt x="1804" y="2608"/>
                    </a:lnTo>
                    <a:lnTo>
                      <a:pt x="1821" y="2587"/>
                    </a:lnTo>
                    <a:lnTo>
                      <a:pt x="1821" y="2580"/>
                    </a:lnTo>
                    <a:lnTo>
                      <a:pt x="1788" y="2580"/>
                    </a:lnTo>
                    <a:lnTo>
                      <a:pt x="1771" y="2570"/>
                    </a:lnTo>
                    <a:lnTo>
                      <a:pt x="1771" y="2554"/>
                    </a:lnTo>
                    <a:lnTo>
                      <a:pt x="1766" y="2547"/>
                    </a:lnTo>
                    <a:lnTo>
                      <a:pt x="1766" y="2530"/>
                    </a:lnTo>
                    <a:lnTo>
                      <a:pt x="1755" y="2525"/>
                    </a:lnTo>
                    <a:lnTo>
                      <a:pt x="1755" y="2513"/>
                    </a:lnTo>
                    <a:lnTo>
                      <a:pt x="1771" y="2497"/>
                    </a:lnTo>
                    <a:lnTo>
                      <a:pt x="1717" y="2497"/>
                    </a:lnTo>
                    <a:lnTo>
                      <a:pt x="1691" y="2525"/>
                    </a:lnTo>
                    <a:lnTo>
                      <a:pt x="1679" y="2513"/>
                    </a:lnTo>
                    <a:lnTo>
                      <a:pt x="1696" y="2497"/>
                    </a:lnTo>
                    <a:lnTo>
                      <a:pt x="1691" y="2476"/>
                    </a:lnTo>
                    <a:lnTo>
                      <a:pt x="1679" y="2476"/>
                    </a:lnTo>
                    <a:lnTo>
                      <a:pt x="1679" y="2454"/>
                    </a:lnTo>
                    <a:lnTo>
                      <a:pt x="1696" y="2438"/>
                    </a:lnTo>
                    <a:lnTo>
                      <a:pt x="1696" y="2414"/>
                    </a:lnTo>
                    <a:lnTo>
                      <a:pt x="1700" y="2419"/>
                    </a:lnTo>
                    <a:lnTo>
                      <a:pt x="1712" y="2414"/>
                    </a:lnTo>
                    <a:lnTo>
                      <a:pt x="1729" y="2386"/>
                    </a:lnTo>
                    <a:lnTo>
                      <a:pt x="1733" y="2386"/>
                    </a:lnTo>
                    <a:lnTo>
                      <a:pt x="1750" y="2365"/>
                    </a:lnTo>
                    <a:lnTo>
                      <a:pt x="1755" y="2365"/>
                    </a:lnTo>
                    <a:lnTo>
                      <a:pt x="1750" y="2348"/>
                    </a:lnTo>
                    <a:lnTo>
                      <a:pt x="1766" y="2343"/>
                    </a:lnTo>
                    <a:lnTo>
                      <a:pt x="1766" y="2294"/>
                    </a:lnTo>
                    <a:lnTo>
                      <a:pt x="1755" y="2237"/>
                    </a:lnTo>
                    <a:lnTo>
                      <a:pt x="1745" y="2232"/>
                    </a:lnTo>
                    <a:lnTo>
                      <a:pt x="1733" y="2237"/>
                    </a:lnTo>
                    <a:lnTo>
                      <a:pt x="1717" y="2192"/>
                    </a:lnTo>
                    <a:lnTo>
                      <a:pt x="1712" y="2183"/>
                    </a:lnTo>
                    <a:lnTo>
                      <a:pt x="1679" y="2159"/>
                    </a:lnTo>
                    <a:lnTo>
                      <a:pt x="1674" y="2176"/>
                    </a:lnTo>
                    <a:lnTo>
                      <a:pt x="1663" y="2183"/>
                    </a:lnTo>
                    <a:lnTo>
                      <a:pt x="1646" y="2176"/>
                    </a:lnTo>
                    <a:lnTo>
                      <a:pt x="1641" y="2176"/>
                    </a:lnTo>
                    <a:lnTo>
                      <a:pt x="1620" y="2166"/>
                    </a:lnTo>
                    <a:lnTo>
                      <a:pt x="1594" y="2176"/>
                    </a:lnTo>
                    <a:lnTo>
                      <a:pt x="1594" y="2159"/>
                    </a:lnTo>
                    <a:lnTo>
                      <a:pt x="1608" y="2143"/>
                    </a:lnTo>
                    <a:lnTo>
                      <a:pt x="1603" y="2121"/>
                    </a:lnTo>
                    <a:lnTo>
                      <a:pt x="1582" y="2126"/>
                    </a:lnTo>
                    <a:lnTo>
                      <a:pt x="1582" y="2121"/>
                    </a:lnTo>
                    <a:lnTo>
                      <a:pt x="1594" y="2105"/>
                    </a:lnTo>
                    <a:lnTo>
                      <a:pt x="1587" y="2105"/>
                    </a:lnTo>
                    <a:lnTo>
                      <a:pt x="1570" y="2088"/>
                    </a:lnTo>
                    <a:lnTo>
                      <a:pt x="1540" y="2105"/>
                    </a:lnTo>
                    <a:lnTo>
                      <a:pt x="1528" y="2121"/>
                    </a:lnTo>
                    <a:lnTo>
                      <a:pt x="1485" y="2110"/>
                    </a:lnTo>
                    <a:lnTo>
                      <a:pt x="1474" y="2093"/>
                    </a:lnTo>
                    <a:lnTo>
                      <a:pt x="1448" y="2121"/>
                    </a:lnTo>
                    <a:lnTo>
                      <a:pt x="1426" y="2150"/>
                    </a:lnTo>
                    <a:lnTo>
                      <a:pt x="1389" y="2150"/>
                    </a:lnTo>
                    <a:lnTo>
                      <a:pt x="1372" y="2176"/>
                    </a:lnTo>
                    <a:lnTo>
                      <a:pt x="1339" y="2192"/>
                    </a:lnTo>
                    <a:lnTo>
                      <a:pt x="1339" y="2204"/>
                    </a:lnTo>
                    <a:lnTo>
                      <a:pt x="1322" y="2216"/>
                    </a:lnTo>
                    <a:lnTo>
                      <a:pt x="1313" y="2216"/>
                    </a:lnTo>
                    <a:lnTo>
                      <a:pt x="1285" y="2221"/>
                    </a:lnTo>
                    <a:lnTo>
                      <a:pt x="1263" y="2221"/>
                    </a:lnTo>
                    <a:lnTo>
                      <a:pt x="1263" y="2204"/>
                    </a:lnTo>
                    <a:lnTo>
                      <a:pt x="1242" y="2199"/>
                    </a:lnTo>
                    <a:lnTo>
                      <a:pt x="1226" y="2204"/>
                    </a:lnTo>
                    <a:lnTo>
                      <a:pt x="1178" y="2199"/>
                    </a:lnTo>
                    <a:lnTo>
                      <a:pt x="1178" y="2183"/>
                    </a:lnTo>
                    <a:lnTo>
                      <a:pt x="1150" y="2176"/>
                    </a:lnTo>
                    <a:lnTo>
                      <a:pt x="1117" y="2199"/>
                    </a:lnTo>
                    <a:lnTo>
                      <a:pt x="1070" y="2254"/>
                    </a:lnTo>
                    <a:lnTo>
                      <a:pt x="1065" y="2237"/>
                    </a:lnTo>
                    <a:lnTo>
                      <a:pt x="1070" y="2216"/>
                    </a:lnTo>
                    <a:lnTo>
                      <a:pt x="1070" y="2199"/>
                    </a:lnTo>
                    <a:lnTo>
                      <a:pt x="1053" y="2192"/>
                    </a:lnTo>
                    <a:lnTo>
                      <a:pt x="1041" y="2199"/>
                    </a:lnTo>
                    <a:lnTo>
                      <a:pt x="1015" y="2204"/>
                    </a:lnTo>
                    <a:lnTo>
                      <a:pt x="1015" y="2216"/>
                    </a:lnTo>
                    <a:lnTo>
                      <a:pt x="999" y="2204"/>
                    </a:lnTo>
                    <a:lnTo>
                      <a:pt x="989" y="2216"/>
                    </a:lnTo>
                    <a:lnTo>
                      <a:pt x="956" y="2216"/>
                    </a:lnTo>
                    <a:lnTo>
                      <a:pt x="918" y="2192"/>
                    </a:lnTo>
                    <a:lnTo>
                      <a:pt x="907" y="2192"/>
                    </a:lnTo>
                    <a:lnTo>
                      <a:pt x="902" y="2204"/>
                    </a:lnTo>
                    <a:lnTo>
                      <a:pt x="885" y="2199"/>
                    </a:lnTo>
                    <a:lnTo>
                      <a:pt x="885" y="2192"/>
                    </a:lnTo>
                    <a:lnTo>
                      <a:pt x="881" y="2192"/>
                    </a:lnTo>
                    <a:lnTo>
                      <a:pt x="881" y="2204"/>
                    </a:lnTo>
                    <a:lnTo>
                      <a:pt x="869" y="2204"/>
                    </a:lnTo>
                    <a:lnTo>
                      <a:pt x="864" y="2192"/>
                    </a:lnTo>
                    <a:lnTo>
                      <a:pt x="848" y="2183"/>
                    </a:lnTo>
                    <a:lnTo>
                      <a:pt x="810" y="2176"/>
                    </a:lnTo>
                    <a:lnTo>
                      <a:pt x="810" y="2150"/>
                    </a:lnTo>
                    <a:lnTo>
                      <a:pt x="800" y="2150"/>
                    </a:lnTo>
                    <a:lnTo>
                      <a:pt x="784" y="2159"/>
                    </a:lnTo>
                    <a:lnTo>
                      <a:pt x="763" y="2143"/>
                    </a:lnTo>
                    <a:lnTo>
                      <a:pt x="746" y="2126"/>
                    </a:lnTo>
                    <a:lnTo>
                      <a:pt x="739" y="2105"/>
                    </a:lnTo>
                    <a:lnTo>
                      <a:pt x="725" y="2105"/>
                    </a:lnTo>
                    <a:lnTo>
                      <a:pt x="708" y="2110"/>
                    </a:lnTo>
                    <a:lnTo>
                      <a:pt x="701" y="2110"/>
                    </a:lnTo>
                    <a:lnTo>
                      <a:pt x="670" y="2072"/>
                    </a:lnTo>
                    <a:lnTo>
                      <a:pt x="649" y="2072"/>
                    </a:lnTo>
                    <a:lnTo>
                      <a:pt x="616" y="2039"/>
                    </a:lnTo>
                    <a:lnTo>
                      <a:pt x="600" y="2039"/>
                    </a:lnTo>
                    <a:lnTo>
                      <a:pt x="595" y="2015"/>
                    </a:lnTo>
                    <a:lnTo>
                      <a:pt x="545" y="2015"/>
                    </a:lnTo>
                    <a:lnTo>
                      <a:pt x="545" y="2032"/>
                    </a:lnTo>
                    <a:lnTo>
                      <a:pt x="529" y="2039"/>
                    </a:lnTo>
                    <a:lnTo>
                      <a:pt x="524" y="2039"/>
                    </a:lnTo>
                    <a:lnTo>
                      <a:pt x="524" y="2032"/>
                    </a:lnTo>
                    <a:lnTo>
                      <a:pt x="524" y="2032"/>
                    </a:lnTo>
                    <a:lnTo>
                      <a:pt x="524" y="2032"/>
                    </a:lnTo>
                    <a:close/>
                    <a:moveTo>
                      <a:pt x="3354" y="1278"/>
                    </a:moveTo>
                    <a:lnTo>
                      <a:pt x="3337" y="1278"/>
                    </a:lnTo>
                    <a:lnTo>
                      <a:pt x="3354" y="1273"/>
                    </a:lnTo>
                    <a:lnTo>
                      <a:pt x="3354" y="1278"/>
                    </a:lnTo>
                    <a:lnTo>
                      <a:pt x="3354" y="1278"/>
                    </a:lnTo>
                    <a:lnTo>
                      <a:pt x="3354" y="1278"/>
                    </a:lnTo>
                    <a:close/>
                    <a:moveTo>
                      <a:pt x="3229" y="1866"/>
                    </a:moveTo>
                    <a:lnTo>
                      <a:pt x="3240" y="1866"/>
                    </a:lnTo>
                    <a:lnTo>
                      <a:pt x="3245" y="1883"/>
                    </a:lnTo>
                    <a:lnTo>
                      <a:pt x="3229" y="1866"/>
                    </a:lnTo>
                    <a:lnTo>
                      <a:pt x="3229" y="1866"/>
                    </a:lnTo>
                    <a:lnTo>
                      <a:pt x="3229" y="1866"/>
                    </a:lnTo>
                    <a:close/>
                    <a:moveTo>
                      <a:pt x="3337" y="1904"/>
                    </a:moveTo>
                    <a:lnTo>
                      <a:pt x="3347" y="1899"/>
                    </a:lnTo>
                    <a:lnTo>
                      <a:pt x="3385" y="1928"/>
                    </a:lnTo>
                    <a:lnTo>
                      <a:pt x="3363" y="1921"/>
                    </a:lnTo>
                    <a:lnTo>
                      <a:pt x="3337" y="1904"/>
                    </a:lnTo>
                    <a:lnTo>
                      <a:pt x="3337" y="1904"/>
                    </a:lnTo>
                    <a:lnTo>
                      <a:pt x="3337" y="1904"/>
                    </a:lnTo>
                    <a:close/>
                    <a:moveTo>
                      <a:pt x="3401" y="2027"/>
                    </a:moveTo>
                    <a:lnTo>
                      <a:pt x="3408" y="2015"/>
                    </a:lnTo>
                    <a:lnTo>
                      <a:pt x="3408" y="2027"/>
                    </a:lnTo>
                    <a:lnTo>
                      <a:pt x="3401" y="2027"/>
                    </a:lnTo>
                    <a:lnTo>
                      <a:pt x="3401" y="2027"/>
                    </a:lnTo>
                    <a:lnTo>
                      <a:pt x="3401" y="2027"/>
                    </a:lnTo>
                    <a:close/>
                    <a:moveTo>
                      <a:pt x="3392" y="2039"/>
                    </a:moveTo>
                    <a:lnTo>
                      <a:pt x="3392" y="2032"/>
                    </a:lnTo>
                    <a:lnTo>
                      <a:pt x="3401" y="2032"/>
                    </a:lnTo>
                    <a:lnTo>
                      <a:pt x="3418" y="2039"/>
                    </a:lnTo>
                    <a:lnTo>
                      <a:pt x="3418" y="2048"/>
                    </a:lnTo>
                    <a:lnTo>
                      <a:pt x="3392" y="2039"/>
                    </a:lnTo>
                    <a:lnTo>
                      <a:pt x="3392" y="2039"/>
                    </a:lnTo>
                    <a:lnTo>
                      <a:pt x="3392" y="2039"/>
                    </a:lnTo>
                    <a:close/>
                    <a:moveTo>
                      <a:pt x="3385" y="2039"/>
                    </a:moveTo>
                    <a:lnTo>
                      <a:pt x="3385" y="2048"/>
                    </a:lnTo>
                    <a:lnTo>
                      <a:pt x="3385" y="2039"/>
                    </a:lnTo>
                    <a:lnTo>
                      <a:pt x="3385" y="2039"/>
                    </a:lnTo>
                    <a:lnTo>
                      <a:pt x="3385" y="2039"/>
                    </a:lnTo>
                    <a:close/>
                    <a:moveTo>
                      <a:pt x="3418" y="2048"/>
                    </a:moveTo>
                    <a:lnTo>
                      <a:pt x="3422" y="2048"/>
                    </a:lnTo>
                    <a:lnTo>
                      <a:pt x="3422" y="2055"/>
                    </a:lnTo>
                    <a:lnTo>
                      <a:pt x="3418" y="2048"/>
                    </a:lnTo>
                    <a:lnTo>
                      <a:pt x="3418" y="2048"/>
                    </a:lnTo>
                    <a:lnTo>
                      <a:pt x="3418" y="2048"/>
                    </a:lnTo>
                    <a:close/>
                    <a:moveTo>
                      <a:pt x="3401" y="2072"/>
                    </a:moveTo>
                    <a:lnTo>
                      <a:pt x="3392" y="2065"/>
                    </a:lnTo>
                    <a:lnTo>
                      <a:pt x="3401" y="2065"/>
                    </a:lnTo>
                    <a:lnTo>
                      <a:pt x="3408" y="2072"/>
                    </a:lnTo>
                    <a:lnTo>
                      <a:pt x="3401" y="2072"/>
                    </a:lnTo>
                    <a:lnTo>
                      <a:pt x="3401" y="2072"/>
                    </a:lnTo>
                    <a:lnTo>
                      <a:pt x="3401" y="2072"/>
                    </a:lnTo>
                    <a:close/>
                    <a:moveTo>
                      <a:pt x="3385" y="2121"/>
                    </a:moveTo>
                    <a:lnTo>
                      <a:pt x="3385" y="2110"/>
                    </a:lnTo>
                    <a:lnTo>
                      <a:pt x="3392" y="2110"/>
                    </a:lnTo>
                    <a:lnTo>
                      <a:pt x="3385" y="2121"/>
                    </a:lnTo>
                    <a:lnTo>
                      <a:pt x="3385" y="2121"/>
                    </a:lnTo>
                    <a:lnTo>
                      <a:pt x="3385" y="2121"/>
                    </a:lnTo>
                    <a:close/>
                    <a:moveTo>
                      <a:pt x="3333" y="2192"/>
                    </a:moveTo>
                    <a:lnTo>
                      <a:pt x="3337" y="2183"/>
                    </a:lnTo>
                    <a:lnTo>
                      <a:pt x="3337" y="2192"/>
                    </a:lnTo>
                    <a:lnTo>
                      <a:pt x="3337" y="2199"/>
                    </a:lnTo>
                    <a:lnTo>
                      <a:pt x="3333" y="2192"/>
                    </a:lnTo>
                    <a:lnTo>
                      <a:pt x="3333" y="2192"/>
                    </a:lnTo>
                    <a:lnTo>
                      <a:pt x="3333" y="2192"/>
                    </a:lnTo>
                    <a:close/>
                    <a:moveTo>
                      <a:pt x="3229" y="2398"/>
                    </a:moveTo>
                    <a:lnTo>
                      <a:pt x="3229" y="2386"/>
                    </a:lnTo>
                    <a:lnTo>
                      <a:pt x="3240" y="2381"/>
                    </a:lnTo>
                    <a:lnTo>
                      <a:pt x="3240" y="2386"/>
                    </a:lnTo>
                    <a:lnTo>
                      <a:pt x="3240" y="2402"/>
                    </a:lnTo>
                    <a:lnTo>
                      <a:pt x="3229" y="2398"/>
                    </a:lnTo>
                    <a:lnTo>
                      <a:pt x="3229" y="2398"/>
                    </a:lnTo>
                    <a:lnTo>
                      <a:pt x="3229" y="2398"/>
                    </a:lnTo>
                    <a:close/>
                    <a:moveTo>
                      <a:pt x="3115" y="2476"/>
                    </a:moveTo>
                    <a:lnTo>
                      <a:pt x="3120" y="2471"/>
                    </a:lnTo>
                    <a:lnTo>
                      <a:pt x="3115" y="2476"/>
                    </a:lnTo>
                    <a:lnTo>
                      <a:pt x="3115" y="2476"/>
                    </a:lnTo>
                    <a:lnTo>
                      <a:pt x="3115" y="2476"/>
                    </a:lnTo>
                    <a:close/>
                    <a:moveTo>
                      <a:pt x="3077" y="2530"/>
                    </a:moveTo>
                    <a:lnTo>
                      <a:pt x="3068" y="2537"/>
                    </a:lnTo>
                    <a:lnTo>
                      <a:pt x="3061" y="2537"/>
                    </a:lnTo>
                    <a:lnTo>
                      <a:pt x="3068" y="2525"/>
                    </a:lnTo>
                    <a:lnTo>
                      <a:pt x="3077" y="2530"/>
                    </a:lnTo>
                    <a:lnTo>
                      <a:pt x="3077" y="2530"/>
                    </a:lnTo>
                    <a:lnTo>
                      <a:pt x="3077" y="2530"/>
                    </a:lnTo>
                    <a:close/>
                    <a:moveTo>
                      <a:pt x="3056" y="2547"/>
                    </a:moveTo>
                    <a:lnTo>
                      <a:pt x="3056" y="2554"/>
                    </a:lnTo>
                    <a:lnTo>
                      <a:pt x="3040" y="2554"/>
                    </a:lnTo>
                    <a:lnTo>
                      <a:pt x="3056" y="2547"/>
                    </a:lnTo>
                    <a:lnTo>
                      <a:pt x="3056" y="2547"/>
                    </a:lnTo>
                    <a:lnTo>
                      <a:pt x="3056" y="2547"/>
                    </a:lnTo>
                    <a:close/>
                    <a:moveTo>
                      <a:pt x="2846" y="2641"/>
                    </a:moveTo>
                    <a:lnTo>
                      <a:pt x="2851" y="2641"/>
                    </a:lnTo>
                    <a:lnTo>
                      <a:pt x="2846" y="2641"/>
                    </a:lnTo>
                    <a:lnTo>
                      <a:pt x="2846" y="2641"/>
                    </a:lnTo>
                    <a:lnTo>
                      <a:pt x="2846" y="2641"/>
                    </a:lnTo>
                    <a:close/>
                    <a:moveTo>
                      <a:pt x="2792" y="2658"/>
                    </a:moveTo>
                    <a:lnTo>
                      <a:pt x="2787" y="2658"/>
                    </a:lnTo>
                    <a:lnTo>
                      <a:pt x="2792" y="2658"/>
                    </a:lnTo>
                    <a:lnTo>
                      <a:pt x="2792" y="2658"/>
                    </a:lnTo>
                    <a:lnTo>
                      <a:pt x="2792" y="2658"/>
                    </a:lnTo>
                    <a:close/>
                    <a:moveTo>
                      <a:pt x="2742" y="2691"/>
                    </a:moveTo>
                    <a:lnTo>
                      <a:pt x="2742" y="2681"/>
                    </a:lnTo>
                    <a:lnTo>
                      <a:pt x="2754" y="2681"/>
                    </a:lnTo>
                    <a:lnTo>
                      <a:pt x="2742" y="2691"/>
                    </a:lnTo>
                    <a:lnTo>
                      <a:pt x="2742" y="2691"/>
                    </a:lnTo>
                    <a:lnTo>
                      <a:pt x="2742" y="2691"/>
                    </a:lnTo>
                    <a:close/>
                    <a:moveTo>
                      <a:pt x="2683" y="2698"/>
                    </a:moveTo>
                    <a:lnTo>
                      <a:pt x="2683" y="2691"/>
                    </a:lnTo>
                    <a:lnTo>
                      <a:pt x="2690" y="2691"/>
                    </a:lnTo>
                    <a:lnTo>
                      <a:pt x="2683" y="2698"/>
                    </a:lnTo>
                    <a:lnTo>
                      <a:pt x="2683" y="2698"/>
                    </a:lnTo>
                    <a:lnTo>
                      <a:pt x="2683" y="2698"/>
                    </a:lnTo>
                    <a:close/>
                    <a:moveTo>
                      <a:pt x="2591" y="2719"/>
                    </a:moveTo>
                    <a:lnTo>
                      <a:pt x="2598" y="2719"/>
                    </a:lnTo>
                    <a:lnTo>
                      <a:pt x="2591" y="2731"/>
                    </a:lnTo>
                    <a:lnTo>
                      <a:pt x="2581" y="2719"/>
                    </a:lnTo>
                    <a:lnTo>
                      <a:pt x="2591" y="2719"/>
                    </a:lnTo>
                    <a:lnTo>
                      <a:pt x="2591" y="2719"/>
                    </a:lnTo>
                    <a:lnTo>
                      <a:pt x="2591" y="2719"/>
                    </a:lnTo>
                    <a:close/>
                    <a:moveTo>
                      <a:pt x="2581" y="2731"/>
                    </a:moveTo>
                    <a:lnTo>
                      <a:pt x="2591" y="2731"/>
                    </a:lnTo>
                    <a:lnTo>
                      <a:pt x="2591" y="2736"/>
                    </a:lnTo>
                    <a:lnTo>
                      <a:pt x="2570" y="2736"/>
                    </a:lnTo>
                    <a:lnTo>
                      <a:pt x="2570" y="2731"/>
                    </a:lnTo>
                    <a:lnTo>
                      <a:pt x="2581" y="2731"/>
                    </a:lnTo>
                    <a:lnTo>
                      <a:pt x="2581" y="2731"/>
                    </a:lnTo>
                    <a:lnTo>
                      <a:pt x="2581" y="2731"/>
                    </a:lnTo>
                    <a:close/>
                    <a:moveTo>
                      <a:pt x="2527" y="2941"/>
                    </a:moveTo>
                    <a:lnTo>
                      <a:pt x="2522" y="2953"/>
                    </a:lnTo>
                    <a:lnTo>
                      <a:pt x="2515" y="2941"/>
                    </a:lnTo>
                    <a:lnTo>
                      <a:pt x="2463" y="2920"/>
                    </a:lnTo>
                    <a:lnTo>
                      <a:pt x="2451" y="2880"/>
                    </a:lnTo>
                    <a:lnTo>
                      <a:pt x="2463" y="2858"/>
                    </a:lnTo>
                    <a:lnTo>
                      <a:pt x="2506" y="2830"/>
                    </a:lnTo>
                    <a:lnTo>
                      <a:pt x="2489" y="2830"/>
                    </a:lnTo>
                    <a:lnTo>
                      <a:pt x="2506" y="2818"/>
                    </a:lnTo>
                    <a:lnTo>
                      <a:pt x="2515" y="2825"/>
                    </a:lnTo>
                    <a:lnTo>
                      <a:pt x="2522" y="2809"/>
                    </a:lnTo>
                    <a:lnTo>
                      <a:pt x="2553" y="2818"/>
                    </a:lnTo>
                    <a:lnTo>
                      <a:pt x="2560" y="2809"/>
                    </a:lnTo>
                    <a:lnTo>
                      <a:pt x="2591" y="2809"/>
                    </a:lnTo>
                    <a:lnTo>
                      <a:pt x="2598" y="2802"/>
                    </a:lnTo>
                    <a:lnTo>
                      <a:pt x="2607" y="2809"/>
                    </a:lnTo>
                    <a:lnTo>
                      <a:pt x="2614" y="2809"/>
                    </a:lnTo>
                    <a:lnTo>
                      <a:pt x="2624" y="2842"/>
                    </a:lnTo>
                    <a:lnTo>
                      <a:pt x="2607" y="2847"/>
                    </a:lnTo>
                    <a:lnTo>
                      <a:pt x="2591" y="2875"/>
                    </a:lnTo>
                    <a:lnTo>
                      <a:pt x="2581" y="2875"/>
                    </a:lnTo>
                    <a:lnTo>
                      <a:pt x="2591" y="2880"/>
                    </a:lnTo>
                    <a:lnTo>
                      <a:pt x="2591" y="2901"/>
                    </a:lnTo>
                    <a:lnTo>
                      <a:pt x="2560" y="2920"/>
                    </a:lnTo>
                    <a:lnTo>
                      <a:pt x="2553" y="2936"/>
                    </a:lnTo>
                    <a:lnTo>
                      <a:pt x="2539" y="2936"/>
                    </a:lnTo>
                    <a:lnTo>
                      <a:pt x="2527" y="2941"/>
                    </a:lnTo>
                    <a:lnTo>
                      <a:pt x="2527" y="2941"/>
                    </a:lnTo>
                    <a:lnTo>
                      <a:pt x="2527" y="294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5" name="Freeform 467">
                <a:extLst>
                  <a:ext uri="{FF2B5EF4-FFF2-40B4-BE49-F238E27FC236}">
                    <a16:creationId xmlns:a16="http://schemas.microsoft.com/office/drawing/2014/main" id="{0097CBBC-BFBE-480D-85D7-2D4D48374CEF}"/>
                  </a:ext>
                </a:extLst>
              </p:cNvPr>
              <p:cNvSpPr>
                <a:spLocks noEditPoints="1"/>
              </p:cNvSpPr>
              <p:nvPr/>
            </p:nvSpPr>
            <p:spPr bwMode="gray">
              <a:xfrm>
                <a:off x="9476192" y="3888436"/>
                <a:ext cx="1322696" cy="501058"/>
              </a:xfrm>
              <a:custGeom>
                <a:avLst/>
                <a:gdLst>
                  <a:gd name="T0" fmla="*/ 647 w 3213"/>
                  <a:gd name="T1" fmla="*/ 629 h 1217"/>
                  <a:gd name="T2" fmla="*/ 392 w 3213"/>
                  <a:gd name="T3" fmla="*/ 600 h 1217"/>
                  <a:gd name="T4" fmla="*/ 123 w 3213"/>
                  <a:gd name="T5" fmla="*/ 52 h 1217"/>
                  <a:gd name="T6" fmla="*/ 2213 w 3213"/>
                  <a:gd name="T7" fmla="*/ 123 h 1217"/>
                  <a:gd name="T8" fmla="*/ 1403 w 3213"/>
                  <a:gd name="T9" fmla="*/ 206 h 1217"/>
                  <a:gd name="T10" fmla="*/ 1592 w 3213"/>
                  <a:gd name="T11" fmla="*/ 345 h 1217"/>
                  <a:gd name="T12" fmla="*/ 1365 w 3213"/>
                  <a:gd name="T13" fmla="*/ 733 h 1217"/>
                  <a:gd name="T14" fmla="*/ 1042 w 3213"/>
                  <a:gd name="T15" fmla="*/ 527 h 1217"/>
                  <a:gd name="T16" fmla="*/ 895 w 3213"/>
                  <a:gd name="T17" fmla="*/ 152 h 1217"/>
                  <a:gd name="T18" fmla="*/ 1545 w 3213"/>
                  <a:gd name="T19" fmla="*/ 180 h 1217"/>
                  <a:gd name="T20" fmla="*/ 735 w 3213"/>
                  <a:gd name="T21" fmla="*/ 222 h 1217"/>
                  <a:gd name="T22" fmla="*/ 2332 w 3213"/>
                  <a:gd name="T23" fmla="*/ 279 h 1217"/>
                  <a:gd name="T24" fmla="*/ 2284 w 3213"/>
                  <a:gd name="T25" fmla="*/ 456 h 1217"/>
                  <a:gd name="T26" fmla="*/ 1852 w 3213"/>
                  <a:gd name="T27" fmla="*/ 723 h 1217"/>
                  <a:gd name="T28" fmla="*/ 1651 w 3213"/>
                  <a:gd name="T29" fmla="*/ 629 h 1217"/>
                  <a:gd name="T30" fmla="*/ 1906 w 3213"/>
                  <a:gd name="T31" fmla="*/ 362 h 1217"/>
                  <a:gd name="T32" fmla="*/ 1781 w 3213"/>
                  <a:gd name="T33" fmla="*/ 527 h 1217"/>
                  <a:gd name="T34" fmla="*/ 1890 w 3213"/>
                  <a:gd name="T35" fmla="*/ 666 h 1217"/>
                  <a:gd name="T36" fmla="*/ 2105 w 3213"/>
                  <a:gd name="T37" fmla="*/ 317 h 1217"/>
                  <a:gd name="T38" fmla="*/ 610 w 3213"/>
                  <a:gd name="T39" fmla="*/ 350 h 1217"/>
                  <a:gd name="T40" fmla="*/ 605 w 3213"/>
                  <a:gd name="T41" fmla="*/ 350 h 1217"/>
                  <a:gd name="T42" fmla="*/ 555 w 3213"/>
                  <a:gd name="T43" fmla="*/ 378 h 1217"/>
                  <a:gd name="T44" fmla="*/ 232 w 3213"/>
                  <a:gd name="T45" fmla="*/ 456 h 1217"/>
                  <a:gd name="T46" fmla="*/ 593 w 3213"/>
                  <a:gd name="T47" fmla="*/ 444 h 1217"/>
                  <a:gd name="T48" fmla="*/ 2284 w 3213"/>
                  <a:gd name="T49" fmla="*/ 478 h 1217"/>
                  <a:gd name="T50" fmla="*/ 3149 w 3213"/>
                  <a:gd name="T51" fmla="*/ 995 h 1217"/>
                  <a:gd name="T52" fmla="*/ 2787 w 3213"/>
                  <a:gd name="T53" fmla="*/ 711 h 1217"/>
                  <a:gd name="T54" fmla="*/ 2575 w 3213"/>
                  <a:gd name="T55" fmla="*/ 629 h 1217"/>
                  <a:gd name="T56" fmla="*/ 2587 w 3213"/>
                  <a:gd name="T57" fmla="*/ 461 h 1217"/>
                  <a:gd name="T58" fmla="*/ 3149 w 3213"/>
                  <a:gd name="T59" fmla="*/ 600 h 1217"/>
                  <a:gd name="T60" fmla="*/ 2872 w 3213"/>
                  <a:gd name="T61" fmla="*/ 518 h 1217"/>
                  <a:gd name="T62" fmla="*/ 236 w 3213"/>
                  <a:gd name="T63" fmla="*/ 494 h 1217"/>
                  <a:gd name="T64" fmla="*/ 1954 w 3213"/>
                  <a:gd name="T65" fmla="*/ 527 h 1217"/>
                  <a:gd name="T66" fmla="*/ 749 w 3213"/>
                  <a:gd name="T67" fmla="*/ 629 h 1217"/>
                  <a:gd name="T68" fmla="*/ 2894 w 3213"/>
                  <a:gd name="T69" fmla="*/ 567 h 1217"/>
                  <a:gd name="T70" fmla="*/ 2117 w 3213"/>
                  <a:gd name="T71" fmla="*/ 555 h 1217"/>
                  <a:gd name="T72" fmla="*/ 345 w 3213"/>
                  <a:gd name="T73" fmla="*/ 629 h 1217"/>
                  <a:gd name="T74" fmla="*/ 2461 w 3213"/>
                  <a:gd name="T75" fmla="*/ 645 h 1217"/>
                  <a:gd name="T76" fmla="*/ 810 w 3213"/>
                  <a:gd name="T77" fmla="*/ 638 h 1217"/>
                  <a:gd name="T78" fmla="*/ 1474 w 3213"/>
                  <a:gd name="T79" fmla="*/ 711 h 1217"/>
                  <a:gd name="T80" fmla="*/ 2306 w 3213"/>
                  <a:gd name="T81" fmla="*/ 695 h 1217"/>
                  <a:gd name="T82" fmla="*/ 1970 w 3213"/>
                  <a:gd name="T83" fmla="*/ 723 h 1217"/>
                  <a:gd name="T84" fmla="*/ 1923 w 3213"/>
                  <a:gd name="T85" fmla="*/ 806 h 1217"/>
                  <a:gd name="T86" fmla="*/ 2662 w 3213"/>
                  <a:gd name="T87" fmla="*/ 811 h 1217"/>
                  <a:gd name="T88" fmla="*/ 1765 w 3213"/>
                  <a:gd name="T89" fmla="*/ 844 h 1217"/>
                  <a:gd name="T90" fmla="*/ 739 w 3213"/>
                  <a:gd name="T91" fmla="*/ 889 h 1217"/>
                  <a:gd name="T92" fmla="*/ 1214 w 3213"/>
                  <a:gd name="T93" fmla="*/ 933 h 1217"/>
                  <a:gd name="T94" fmla="*/ 2733 w 3213"/>
                  <a:gd name="T95" fmla="*/ 860 h 1217"/>
                  <a:gd name="T96" fmla="*/ 697 w 3213"/>
                  <a:gd name="T97" fmla="*/ 905 h 1217"/>
                  <a:gd name="T98" fmla="*/ 1781 w 3213"/>
                  <a:gd name="T99" fmla="*/ 938 h 1217"/>
                  <a:gd name="T100" fmla="*/ 2523 w 3213"/>
                  <a:gd name="T101" fmla="*/ 971 h 1217"/>
                  <a:gd name="T102" fmla="*/ 2511 w 3213"/>
                  <a:gd name="T103" fmla="*/ 962 h 1217"/>
                  <a:gd name="T104" fmla="*/ 1349 w 3213"/>
                  <a:gd name="T105" fmla="*/ 1011 h 1217"/>
                  <a:gd name="T106" fmla="*/ 1944 w 3213"/>
                  <a:gd name="T107" fmla="*/ 1016 h 1217"/>
                  <a:gd name="T108" fmla="*/ 1559 w 3213"/>
                  <a:gd name="T109" fmla="*/ 1044 h 1217"/>
                  <a:gd name="T110" fmla="*/ 2301 w 3213"/>
                  <a:gd name="T111" fmla="*/ 1028 h 1217"/>
                  <a:gd name="T112" fmla="*/ 3061 w 3213"/>
                  <a:gd name="T113" fmla="*/ 1033 h 1217"/>
                  <a:gd name="T114" fmla="*/ 2306 w 3213"/>
                  <a:gd name="T115" fmla="*/ 1016 h 1217"/>
                  <a:gd name="T116" fmla="*/ 2230 w 3213"/>
                  <a:gd name="T117" fmla="*/ 1028 h 1217"/>
                  <a:gd name="T118" fmla="*/ 1961 w 3213"/>
                  <a:gd name="T119" fmla="*/ 1044 h 1217"/>
                  <a:gd name="T120" fmla="*/ 1755 w 3213"/>
                  <a:gd name="T121" fmla="*/ 1127 h 1217"/>
                  <a:gd name="T122" fmla="*/ 1939 w 3213"/>
                  <a:gd name="T123" fmla="*/ 1210 h 1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13" h="1217">
                    <a:moveTo>
                      <a:pt x="10" y="12"/>
                    </a:moveTo>
                    <a:lnTo>
                      <a:pt x="0" y="12"/>
                    </a:lnTo>
                    <a:lnTo>
                      <a:pt x="0" y="0"/>
                    </a:lnTo>
                    <a:lnTo>
                      <a:pt x="10" y="12"/>
                    </a:lnTo>
                    <a:lnTo>
                      <a:pt x="10" y="12"/>
                    </a:lnTo>
                    <a:lnTo>
                      <a:pt x="10" y="12"/>
                    </a:lnTo>
                    <a:close/>
                    <a:moveTo>
                      <a:pt x="539" y="383"/>
                    </a:moveTo>
                    <a:lnTo>
                      <a:pt x="550" y="400"/>
                    </a:lnTo>
                    <a:lnTo>
                      <a:pt x="517" y="418"/>
                    </a:lnTo>
                    <a:lnTo>
                      <a:pt x="501" y="407"/>
                    </a:lnTo>
                    <a:lnTo>
                      <a:pt x="517" y="418"/>
                    </a:lnTo>
                    <a:lnTo>
                      <a:pt x="572" y="390"/>
                    </a:lnTo>
                    <a:lnTo>
                      <a:pt x="593" y="407"/>
                    </a:lnTo>
                    <a:lnTo>
                      <a:pt x="605" y="435"/>
                    </a:lnTo>
                    <a:lnTo>
                      <a:pt x="588" y="435"/>
                    </a:lnTo>
                    <a:lnTo>
                      <a:pt x="560" y="444"/>
                    </a:lnTo>
                    <a:lnTo>
                      <a:pt x="576" y="444"/>
                    </a:lnTo>
                    <a:lnTo>
                      <a:pt x="560" y="456"/>
                    </a:lnTo>
                    <a:lnTo>
                      <a:pt x="588" y="461"/>
                    </a:lnTo>
                    <a:lnTo>
                      <a:pt x="572" y="478"/>
                    </a:lnTo>
                    <a:lnTo>
                      <a:pt x="593" y="501"/>
                    </a:lnTo>
                    <a:lnTo>
                      <a:pt x="643" y="501"/>
                    </a:lnTo>
                    <a:lnTo>
                      <a:pt x="647" y="555"/>
                    </a:lnTo>
                    <a:lnTo>
                      <a:pt x="647" y="567"/>
                    </a:lnTo>
                    <a:lnTo>
                      <a:pt x="659" y="567"/>
                    </a:lnTo>
                    <a:lnTo>
                      <a:pt x="669" y="572"/>
                    </a:lnTo>
                    <a:lnTo>
                      <a:pt x="669" y="584"/>
                    </a:lnTo>
                    <a:lnTo>
                      <a:pt x="664" y="600"/>
                    </a:lnTo>
                    <a:lnTo>
                      <a:pt x="664" y="612"/>
                    </a:lnTo>
                    <a:lnTo>
                      <a:pt x="647" y="629"/>
                    </a:lnTo>
                    <a:lnTo>
                      <a:pt x="664" y="612"/>
                    </a:lnTo>
                    <a:lnTo>
                      <a:pt x="669" y="589"/>
                    </a:lnTo>
                    <a:lnTo>
                      <a:pt x="685" y="600"/>
                    </a:lnTo>
                    <a:lnTo>
                      <a:pt x="723" y="600"/>
                    </a:lnTo>
                    <a:lnTo>
                      <a:pt x="723" y="612"/>
                    </a:lnTo>
                    <a:lnTo>
                      <a:pt x="739" y="622"/>
                    </a:lnTo>
                    <a:lnTo>
                      <a:pt x="739" y="638"/>
                    </a:lnTo>
                    <a:lnTo>
                      <a:pt x="756" y="645"/>
                    </a:lnTo>
                    <a:lnTo>
                      <a:pt x="756" y="662"/>
                    </a:lnTo>
                    <a:lnTo>
                      <a:pt x="749" y="678"/>
                    </a:lnTo>
                    <a:lnTo>
                      <a:pt x="739" y="695"/>
                    </a:lnTo>
                    <a:lnTo>
                      <a:pt x="749" y="711"/>
                    </a:lnTo>
                    <a:lnTo>
                      <a:pt x="739" y="733"/>
                    </a:lnTo>
                    <a:lnTo>
                      <a:pt x="749" y="756"/>
                    </a:lnTo>
                    <a:lnTo>
                      <a:pt x="739" y="834"/>
                    </a:lnTo>
                    <a:lnTo>
                      <a:pt x="735" y="851"/>
                    </a:lnTo>
                    <a:lnTo>
                      <a:pt x="702" y="822"/>
                    </a:lnTo>
                    <a:lnTo>
                      <a:pt x="697" y="834"/>
                    </a:lnTo>
                    <a:lnTo>
                      <a:pt x="702" y="844"/>
                    </a:lnTo>
                    <a:lnTo>
                      <a:pt x="697" y="844"/>
                    </a:lnTo>
                    <a:lnTo>
                      <a:pt x="664" y="827"/>
                    </a:lnTo>
                    <a:lnTo>
                      <a:pt x="647" y="827"/>
                    </a:lnTo>
                    <a:lnTo>
                      <a:pt x="664" y="851"/>
                    </a:lnTo>
                    <a:lnTo>
                      <a:pt x="659" y="860"/>
                    </a:lnTo>
                    <a:lnTo>
                      <a:pt x="605" y="794"/>
                    </a:lnTo>
                    <a:lnTo>
                      <a:pt x="496" y="716"/>
                    </a:lnTo>
                    <a:lnTo>
                      <a:pt x="484" y="695"/>
                    </a:lnTo>
                    <a:lnTo>
                      <a:pt x="447" y="662"/>
                    </a:lnTo>
                    <a:lnTo>
                      <a:pt x="425" y="622"/>
                    </a:lnTo>
                    <a:lnTo>
                      <a:pt x="392" y="600"/>
                    </a:lnTo>
                    <a:lnTo>
                      <a:pt x="392" y="584"/>
                    </a:lnTo>
                    <a:lnTo>
                      <a:pt x="392" y="567"/>
                    </a:lnTo>
                    <a:lnTo>
                      <a:pt x="378" y="546"/>
                    </a:lnTo>
                    <a:lnTo>
                      <a:pt x="371" y="527"/>
                    </a:lnTo>
                    <a:lnTo>
                      <a:pt x="361" y="518"/>
                    </a:lnTo>
                    <a:lnTo>
                      <a:pt x="354" y="489"/>
                    </a:lnTo>
                    <a:lnTo>
                      <a:pt x="317" y="444"/>
                    </a:lnTo>
                    <a:lnTo>
                      <a:pt x="317" y="435"/>
                    </a:lnTo>
                    <a:lnTo>
                      <a:pt x="307" y="423"/>
                    </a:lnTo>
                    <a:lnTo>
                      <a:pt x="269" y="407"/>
                    </a:lnTo>
                    <a:lnTo>
                      <a:pt x="269" y="383"/>
                    </a:lnTo>
                    <a:lnTo>
                      <a:pt x="236" y="312"/>
                    </a:lnTo>
                    <a:lnTo>
                      <a:pt x="248" y="312"/>
                    </a:lnTo>
                    <a:lnTo>
                      <a:pt x="248" y="307"/>
                    </a:lnTo>
                    <a:lnTo>
                      <a:pt x="182" y="263"/>
                    </a:lnTo>
                    <a:lnTo>
                      <a:pt x="177" y="263"/>
                    </a:lnTo>
                    <a:lnTo>
                      <a:pt x="173" y="255"/>
                    </a:lnTo>
                    <a:lnTo>
                      <a:pt x="161" y="222"/>
                    </a:lnTo>
                    <a:lnTo>
                      <a:pt x="144" y="218"/>
                    </a:lnTo>
                    <a:lnTo>
                      <a:pt x="118" y="163"/>
                    </a:lnTo>
                    <a:lnTo>
                      <a:pt x="85" y="152"/>
                    </a:lnTo>
                    <a:lnTo>
                      <a:pt x="14" y="90"/>
                    </a:lnTo>
                    <a:lnTo>
                      <a:pt x="0" y="57"/>
                    </a:lnTo>
                    <a:lnTo>
                      <a:pt x="0" y="29"/>
                    </a:lnTo>
                    <a:lnTo>
                      <a:pt x="10" y="19"/>
                    </a:lnTo>
                    <a:lnTo>
                      <a:pt x="21" y="19"/>
                    </a:lnTo>
                    <a:lnTo>
                      <a:pt x="47" y="36"/>
                    </a:lnTo>
                    <a:lnTo>
                      <a:pt x="52" y="41"/>
                    </a:lnTo>
                    <a:lnTo>
                      <a:pt x="76" y="52"/>
                    </a:lnTo>
                    <a:lnTo>
                      <a:pt x="123" y="52"/>
                    </a:lnTo>
                    <a:lnTo>
                      <a:pt x="139" y="57"/>
                    </a:lnTo>
                    <a:lnTo>
                      <a:pt x="156" y="52"/>
                    </a:lnTo>
                    <a:lnTo>
                      <a:pt x="182" y="74"/>
                    </a:lnTo>
                    <a:lnTo>
                      <a:pt x="194" y="95"/>
                    </a:lnTo>
                    <a:lnTo>
                      <a:pt x="210" y="107"/>
                    </a:lnTo>
                    <a:lnTo>
                      <a:pt x="210" y="128"/>
                    </a:lnTo>
                    <a:lnTo>
                      <a:pt x="333" y="218"/>
                    </a:lnTo>
                    <a:lnTo>
                      <a:pt x="333" y="239"/>
                    </a:lnTo>
                    <a:lnTo>
                      <a:pt x="333" y="234"/>
                    </a:lnTo>
                    <a:lnTo>
                      <a:pt x="340" y="234"/>
                    </a:lnTo>
                    <a:lnTo>
                      <a:pt x="340" y="251"/>
                    </a:lnTo>
                    <a:lnTo>
                      <a:pt x="340" y="234"/>
                    </a:lnTo>
                    <a:lnTo>
                      <a:pt x="345" y="234"/>
                    </a:lnTo>
                    <a:lnTo>
                      <a:pt x="361" y="263"/>
                    </a:lnTo>
                    <a:lnTo>
                      <a:pt x="392" y="279"/>
                    </a:lnTo>
                    <a:lnTo>
                      <a:pt x="399" y="296"/>
                    </a:lnTo>
                    <a:lnTo>
                      <a:pt x="387" y="263"/>
                    </a:lnTo>
                    <a:lnTo>
                      <a:pt x="409" y="263"/>
                    </a:lnTo>
                    <a:lnTo>
                      <a:pt x="425" y="279"/>
                    </a:lnTo>
                    <a:lnTo>
                      <a:pt x="430" y="307"/>
                    </a:lnTo>
                    <a:lnTo>
                      <a:pt x="454" y="312"/>
                    </a:lnTo>
                    <a:lnTo>
                      <a:pt x="484" y="329"/>
                    </a:lnTo>
                    <a:lnTo>
                      <a:pt x="484" y="350"/>
                    </a:lnTo>
                    <a:lnTo>
                      <a:pt x="501" y="366"/>
                    </a:lnTo>
                    <a:lnTo>
                      <a:pt x="534" y="378"/>
                    </a:lnTo>
                    <a:lnTo>
                      <a:pt x="539" y="383"/>
                    </a:lnTo>
                    <a:lnTo>
                      <a:pt x="539" y="383"/>
                    </a:lnTo>
                    <a:lnTo>
                      <a:pt x="539" y="383"/>
                    </a:lnTo>
                    <a:close/>
                    <a:moveTo>
                      <a:pt x="2209" y="140"/>
                    </a:moveTo>
                    <a:lnTo>
                      <a:pt x="2213" y="123"/>
                    </a:lnTo>
                    <a:lnTo>
                      <a:pt x="2209" y="111"/>
                    </a:lnTo>
                    <a:lnTo>
                      <a:pt x="2209" y="95"/>
                    </a:lnTo>
                    <a:lnTo>
                      <a:pt x="2213" y="107"/>
                    </a:lnTo>
                    <a:lnTo>
                      <a:pt x="2225" y="123"/>
                    </a:lnTo>
                    <a:lnTo>
                      <a:pt x="2209" y="140"/>
                    </a:lnTo>
                    <a:lnTo>
                      <a:pt x="2209" y="140"/>
                    </a:lnTo>
                    <a:lnTo>
                      <a:pt x="2209" y="140"/>
                    </a:lnTo>
                    <a:close/>
                    <a:moveTo>
                      <a:pt x="1009" y="279"/>
                    </a:moveTo>
                    <a:lnTo>
                      <a:pt x="1004" y="291"/>
                    </a:lnTo>
                    <a:lnTo>
                      <a:pt x="1009" y="312"/>
                    </a:lnTo>
                    <a:lnTo>
                      <a:pt x="1075" y="366"/>
                    </a:lnTo>
                    <a:lnTo>
                      <a:pt x="1117" y="350"/>
                    </a:lnTo>
                    <a:lnTo>
                      <a:pt x="1167" y="362"/>
                    </a:lnTo>
                    <a:lnTo>
                      <a:pt x="1172" y="345"/>
                    </a:lnTo>
                    <a:lnTo>
                      <a:pt x="1181" y="345"/>
                    </a:lnTo>
                    <a:lnTo>
                      <a:pt x="1188" y="317"/>
                    </a:lnTo>
                    <a:lnTo>
                      <a:pt x="1205" y="312"/>
                    </a:lnTo>
                    <a:lnTo>
                      <a:pt x="1243" y="312"/>
                    </a:lnTo>
                    <a:lnTo>
                      <a:pt x="1252" y="329"/>
                    </a:lnTo>
                    <a:lnTo>
                      <a:pt x="1290" y="333"/>
                    </a:lnTo>
                    <a:lnTo>
                      <a:pt x="1311" y="317"/>
                    </a:lnTo>
                    <a:lnTo>
                      <a:pt x="1344" y="317"/>
                    </a:lnTo>
                    <a:lnTo>
                      <a:pt x="1361" y="329"/>
                    </a:lnTo>
                    <a:lnTo>
                      <a:pt x="1365" y="307"/>
                    </a:lnTo>
                    <a:lnTo>
                      <a:pt x="1377" y="291"/>
                    </a:lnTo>
                    <a:lnTo>
                      <a:pt x="1377" y="263"/>
                    </a:lnTo>
                    <a:lnTo>
                      <a:pt x="1403" y="251"/>
                    </a:lnTo>
                    <a:lnTo>
                      <a:pt x="1387" y="239"/>
                    </a:lnTo>
                    <a:lnTo>
                      <a:pt x="1398" y="218"/>
                    </a:lnTo>
                    <a:lnTo>
                      <a:pt x="1403" y="206"/>
                    </a:lnTo>
                    <a:lnTo>
                      <a:pt x="1420" y="206"/>
                    </a:lnTo>
                    <a:lnTo>
                      <a:pt x="1432" y="180"/>
                    </a:lnTo>
                    <a:lnTo>
                      <a:pt x="1432" y="163"/>
                    </a:lnTo>
                    <a:lnTo>
                      <a:pt x="1432" y="128"/>
                    </a:lnTo>
                    <a:lnTo>
                      <a:pt x="1441" y="111"/>
                    </a:lnTo>
                    <a:lnTo>
                      <a:pt x="1458" y="123"/>
                    </a:lnTo>
                    <a:lnTo>
                      <a:pt x="1469" y="111"/>
                    </a:lnTo>
                    <a:lnTo>
                      <a:pt x="1491" y="123"/>
                    </a:lnTo>
                    <a:lnTo>
                      <a:pt x="1545" y="111"/>
                    </a:lnTo>
                    <a:lnTo>
                      <a:pt x="1566" y="128"/>
                    </a:lnTo>
                    <a:lnTo>
                      <a:pt x="1550" y="128"/>
                    </a:lnTo>
                    <a:lnTo>
                      <a:pt x="1583" y="163"/>
                    </a:lnTo>
                    <a:lnTo>
                      <a:pt x="1576" y="168"/>
                    </a:lnTo>
                    <a:lnTo>
                      <a:pt x="1528" y="168"/>
                    </a:lnTo>
                    <a:lnTo>
                      <a:pt x="1538" y="168"/>
                    </a:lnTo>
                    <a:lnTo>
                      <a:pt x="1545" y="180"/>
                    </a:lnTo>
                    <a:lnTo>
                      <a:pt x="1559" y="180"/>
                    </a:lnTo>
                    <a:lnTo>
                      <a:pt x="1545" y="196"/>
                    </a:lnTo>
                    <a:lnTo>
                      <a:pt x="1566" y="206"/>
                    </a:lnTo>
                    <a:lnTo>
                      <a:pt x="1576" y="222"/>
                    </a:lnTo>
                    <a:lnTo>
                      <a:pt x="1583" y="222"/>
                    </a:lnTo>
                    <a:lnTo>
                      <a:pt x="1604" y="263"/>
                    </a:lnTo>
                    <a:lnTo>
                      <a:pt x="1592" y="279"/>
                    </a:lnTo>
                    <a:lnTo>
                      <a:pt x="1583" y="272"/>
                    </a:lnTo>
                    <a:lnTo>
                      <a:pt x="1592" y="296"/>
                    </a:lnTo>
                    <a:lnTo>
                      <a:pt x="1668" y="362"/>
                    </a:lnTo>
                    <a:lnTo>
                      <a:pt x="1651" y="366"/>
                    </a:lnTo>
                    <a:lnTo>
                      <a:pt x="1621" y="366"/>
                    </a:lnTo>
                    <a:lnTo>
                      <a:pt x="1597" y="362"/>
                    </a:lnTo>
                    <a:lnTo>
                      <a:pt x="1592" y="345"/>
                    </a:lnTo>
                    <a:lnTo>
                      <a:pt x="1597" y="366"/>
                    </a:lnTo>
                    <a:lnTo>
                      <a:pt x="1592" y="366"/>
                    </a:lnTo>
                    <a:lnTo>
                      <a:pt x="1576" y="378"/>
                    </a:lnTo>
                    <a:lnTo>
                      <a:pt x="1559" y="423"/>
                    </a:lnTo>
                    <a:lnTo>
                      <a:pt x="1559" y="435"/>
                    </a:lnTo>
                    <a:lnTo>
                      <a:pt x="1559" y="444"/>
                    </a:lnTo>
                    <a:lnTo>
                      <a:pt x="1559" y="461"/>
                    </a:lnTo>
                    <a:lnTo>
                      <a:pt x="1566" y="456"/>
                    </a:lnTo>
                    <a:lnTo>
                      <a:pt x="1566" y="489"/>
                    </a:lnTo>
                    <a:lnTo>
                      <a:pt x="1559" y="489"/>
                    </a:lnTo>
                    <a:lnTo>
                      <a:pt x="1545" y="489"/>
                    </a:lnTo>
                    <a:lnTo>
                      <a:pt x="1521" y="518"/>
                    </a:lnTo>
                    <a:lnTo>
                      <a:pt x="1512" y="518"/>
                    </a:lnTo>
                    <a:lnTo>
                      <a:pt x="1507" y="501"/>
                    </a:lnTo>
                    <a:lnTo>
                      <a:pt x="1507" y="527"/>
                    </a:lnTo>
                    <a:lnTo>
                      <a:pt x="1491" y="534"/>
                    </a:lnTo>
                    <a:lnTo>
                      <a:pt x="1491" y="546"/>
                    </a:lnTo>
                    <a:lnTo>
                      <a:pt x="1474" y="555"/>
                    </a:lnTo>
                    <a:lnTo>
                      <a:pt x="1491" y="555"/>
                    </a:lnTo>
                    <a:lnTo>
                      <a:pt x="1491" y="572"/>
                    </a:lnTo>
                    <a:lnTo>
                      <a:pt x="1484" y="584"/>
                    </a:lnTo>
                    <a:lnTo>
                      <a:pt x="1495" y="589"/>
                    </a:lnTo>
                    <a:lnTo>
                      <a:pt x="1491" y="612"/>
                    </a:lnTo>
                    <a:lnTo>
                      <a:pt x="1474" y="612"/>
                    </a:lnTo>
                    <a:lnTo>
                      <a:pt x="1484" y="629"/>
                    </a:lnTo>
                    <a:lnTo>
                      <a:pt x="1474" y="645"/>
                    </a:lnTo>
                    <a:lnTo>
                      <a:pt x="1469" y="629"/>
                    </a:lnTo>
                    <a:lnTo>
                      <a:pt x="1474" y="655"/>
                    </a:lnTo>
                    <a:lnTo>
                      <a:pt x="1453" y="683"/>
                    </a:lnTo>
                    <a:lnTo>
                      <a:pt x="1365" y="733"/>
                    </a:lnTo>
                    <a:lnTo>
                      <a:pt x="1361" y="723"/>
                    </a:lnTo>
                    <a:lnTo>
                      <a:pt x="1361" y="695"/>
                    </a:lnTo>
                    <a:lnTo>
                      <a:pt x="1349" y="678"/>
                    </a:lnTo>
                    <a:lnTo>
                      <a:pt x="1323" y="666"/>
                    </a:lnTo>
                    <a:lnTo>
                      <a:pt x="1290" y="678"/>
                    </a:lnTo>
                    <a:lnTo>
                      <a:pt x="1290" y="655"/>
                    </a:lnTo>
                    <a:lnTo>
                      <a:pt x="1273" y="662"/>
                    </a:lnTo>
                    <a:lnTo>
                      <a:pt x="1252" y="645"/>
                    </a:lnTo>
                    <a:lnTo>
                      <a:pt x="1243" y="655"/>
                    </a:lnTo>
                    <a:lnTo>
                      <a:pt x="1243" y="662"/>
                    </a:lnTo>
                    <a:lnTo>
                      <a:pt x="1219" y="678"/>
                    </a:lnTo>
                    <a:lnTo>
                      <a:pt x="1214" y="678"/>
                    </a:lnTo>
                    <a:lnTo>
                      <a:pt x="1188" y="666"/>
                    </a:lnTo>
                    <a:lnTo>
                      <a:pt x="1167" y="683"/>
                    </a:lnTo>
                    <a:lnTo>
                      <a:pt x="1160" y="683"/>
                    </a:lnTo>
                    <a:lnTo>
                      <a:pt x="1167" y="645"/>
                    </a:lnTo>
                    <a:lnTo>
                      <a:pt x="1160" y="629"/>
                    </a:lnTo>
                    <a:lnTo>
                      <a:pt x="1150" y="638"/>
                    </a:lnTo>
                    <a:lnTo>
                      <a:pt x="1143" y="645"/>
                    </a:lnTo>
                    <a:lnTo>
                      <a:pt x="1127" y="638"/>
                    </a:lnTo>
                    <a:lnTo>
                      <a:pt x="1106" y="655"/>
                    </a:lnTo>
                    <a:lnTo>
                      <a:pt x="1089" y="645"/>
                    </a:lnTo>
                    <a:lnTo>
                      <a:pt x="1096" y="638"/>
                    </a:lnTo>
                    <a:lnTo>
                      <a:pt x="1080" y="655"/>
                    </a:lnTo>
                    <a:lnTo>
                      <a:pt x="1075" y="638"/>
                    </a:lnTo>
                    <a:lnTo>
                      <a:pt x="1051" y="645"/>
                    </a:lnTo>
                    <a:lnTo>
                      <a:pt x="1042" y="572"/>
                    </a:lnTo>
                    <a:lnTo>
                      <a:pt x="1025" y="555"/>
                    </a:lnTo>
                    <a:lnTo>
                      <a:pt x="1037" y="551"/>
                    </a:lnTo>
                    <a:lnTo>
                      <a:pt x="1042" y="527"/>
                    </a:lnTo>
                    <a:lnTo>
                      <a:pt x="1021" y="494"/>
                    </a:lnTo>
                    <a:lnTo>
                      <a:pt x="983" y="489"/>
                    </a:lnTo>
                    <a:lnTo>
                      <a:pt x="983" y="478"/>
                    </a:lnTo>
                    <a:lnTo>
                      <a:pt x="1004" y="478"/>
                    </a:lnTo>
                    <a:lnTo>
                      <a:pt x="971" y="461"/>
                    </a:lnTo>
                    <a:lnTo>
                      <a:pt x="966" y="444"/>
                    </a:lnTo>
                    <a:lnTo>
                      <a:pt x="983" y="440"/>
                    </a:lnTo>
                    <a:lnTo>
                      <a:pt x="971" y="423"/>
                    </a:lnTo>
                    <a:lnTo>
                      <a:pt x="966" y="407"/>
                    </a:lnTo>
                    <a:lnTo>
                      <a:pt x="954" y="407"/>
                    </a:lnTo>
                    <a:lnTo>
                      <a:pt x="954" y="383"/>
                    </a:lnTo>
                    <a:lnTo>
                      <a:pt x="954" y="366"/>
                    </a:lnTo>
                    <a:lnTo>
                      <a:pt x="966" y="362"/>
                    </a:lnTo>
                    <a:lnTo>
                      <a:pt x="966" y="345"/>
                    </a:lnTo>
                    <a:lnTo>
                      <a:pt x="983" y="329"/>
                    </a:lnTo>
                    <a:lnTo>
                      <a:pt x="966" y="345"/>
                    </a:lnTo>
                    <a:lnTo>
                      <a:pt x="971" y="317"/>
                    </a:lnTo>
                    <a:lnTo>
                      <a:pt x="983" y="307"/>
                    </a:lnTo>
                    <a:lnTo>
                      <a:pt x="987" y="291"/>
                    </a:lnTo>
                    <a:lnTo>
                      <a:pt x="1009" y="279"/>
                    </a:lnTo>
                    <a:lnTo>
                      <a:pt x="1009" y="279"/>
                    </a:lnTo>
                    <a:lnTo>
                      <a:pt x="1009" y="279"/>
                    </a:lnTo>
                    <a:close/>
                    <a:moveTo>
                      <a:pt x="895" y="152"/>
                    </a:moveTo>
                    <a:lnTo>
                      <a:pt x="895" y="140"/>
                    </a:lnTo>
                    <a:lnTo>
                      <a:pt x="912" y="128"/>
                    </a:lnTo>
                    <a:lnTo>
                      <a:pt x="917" y="140"/>
                    </a:lnTo>
                    <a:lnTo>
                      <a:pt x="917" y="163"/>
                    </a:lnTo>
                    <a:lnTo>
                      <a:pt x="900" y="163"/>
                    </a:lnTo>
                    <a:lnTo>
                      <a:pt x="912" y="152"/>
                    </a:lnTo>
                    <a:lnTo>
                      <a:pt x="895" y="152"/>
                    </a:lnTo>
                    <a:lnTo>
                      <a:pt x="895" y="152"/>
                    </a:lnTo>
                    <a:lnTo>
                      <a:pt x="895" y="152"/>
                    </a:lnTo>
                    <a:close/>
                    <a:moveTo>
                      <a:pt x="1576" y="128"/>
                    </a:moveTo>
                    <a:lnTo>
                      <a:pt x="1592" y="128"/>
                    </a:lnTo>
                    <a:lnTo>
                      <a:pt x="1592" y="140"/>
                    </a:lnTo>
                    <a:lnTo>
                      <a:pt x="1576" y="128"/>
                    </a:lnTo>
                    <a:lnTo>
                      <a:pt x="1576" y="128"/>
                    </a:lnTo>
                    <a:lnTo>
                      <a:pt x="1576" y="128"/>
                    </a:lnTo>
                    <a:close/>
                    <a:moveTo>
                      <a:pt x="1566" y="128"/>
                    </a:moveTo>
                    <a:lnTo>
                      <a:pt x="1576" y="140"/>
                    </a:lnTo>
                    <a:lnTo>
                      <a:pt x="1566" y="140"/>
                    </a:lnTo>
                    <a:lnTo>
                      <a:pt x="1566" y="128"/>
                    </a:lnTo>
                    <a:lnTo>
                      <a:pt x="1566" y="128"/>
                    </a:lnTo>
                    <a:lnTo>
                      <a:pt x="1566" y="128"/>
                    </a:lnTo>
                    <a:close/>
                    <a:moveTo>
                      <a:pt x="2209" y="152"/>
                    </a:moveTo>
                    <a:lnTo>
                      <a:pt x="2197" y="140"/>
                    </a:lnTo>
                    <a:lnTo>
                      <a:pt x="2209" y="147"/>
                    </a:lnTo>
                    <a:lnTo>
                      <a:pt x="2209" y="152"/>
                    </a:lnTo>
                    <a:lnTo>
                      <a:pt x="2209" y="152"/>
                    </a:lnTo>
                    <a:lnTo>
                      <a:pt x="2209" y="152"/>
                    </a:lnTo>
                    <a:close/>
                    <a:moveTo>
                      <a:pt x="2143" y="185"/>
                    </a:moveTo>
                    <a:lnTo>
                      <a:pt x="2133" y="163"/>
                    </a:lnTo>
                    <a:lnTo>
                      <a:pt x="2143" y="163"/>
                    </a:lnTo>
                    <a:lnTo>
                      <a:pt x="2154" y="180"/>
                    </a:lnTo>
                    <a:lnTo>
                      <a:pt x="2143" y="185"/>
                    </a:lnTo>
                    <a:lnTo>
                      <a:pt x="2143" y="185"/>
                    </a:lnTo>
                    <a:lnTo>
                      <a:pt x="2143" y="185"/>
                    </a:lnTo>
                    <a:close/>
                    <a:moveTo>
                      <a:pt x="1545" y="168"/>
                    </a:moveTo>
                    <a:lnTo>
                      <a:pt x="1559" y="180"/>
                    </a:lnTo>
                    <a:lnTo>
                      <a:pt x="1545" y="180"/>
                    </a:lnTo>
                    <a:lnTo>
                      <a:pt x="1545" y="168"/>
                    </a:lnTo>
                    <a:lnTo>
                      <a:pt x="1545" y="168"/>
                    </a:lnTo>
                    <a:lnTo>
                      <a:pt x="1545" y="168"/>
                    </a:lnTo>
                    <a:close/>
                    <a:moveTo>
                      <a:pt x="1566" y="180"/>
                    </a:moveTo>
                    <a:lnTo>
                      <a:pt x="1576" y="185"/>
                    </a:lnTo>
                    <a:lnTo>
                      <a:pt x="1566" y="196"/>
                    </a:lnTo>
                    <a:lnTo>
                      <a:pt x="1566" y="180"/>
                    </a:lnTo>
                    <a:lnTo>
                      <a:pt x="1566" y="180"/>
                    </a:lnTo>
                    <a:lnTo>
                      <a:pt x="1566" y="180"/>
                    </a:lnTo>
                    <a:close/>
                    <a:moveTo>
                      <a:pt x="773" y="196"/>
                    </a:moveTo>
                    <a:lnTo>
                      <a:pt x="773" y="185"/>
                    </a:lnTo>
                    <a:lnTo>
                      <a:pt x="773" y="196"/>
                    </a:lnTo>
                    <a:lnTo>
                      <a:pt x="773" y="196"/>
                    </a:lnTo>
                    <a:lnTo>
                      <a:pt x="773" y="196"/>
                    </a:lnTo>
                    <a:close/>
                    <a:moveTo>
                      <a:pt x="1559" y="185"/>
                    </a:moveTo>
                    <a:lnTo>
                      <a:pt x="1559" y="196"/>
                    </a:lnTo>
                    <a:lnTo>
                      <a:pt x="1559" y="185"/>
                    </a:lnTo>
                    <a:lnTo>
                      <a:pt x="1559" y="185"/>
                    </a:lnTo>
                    <a:lnTo>
                      <a:pt x="1559" y="185"/>
                    </a:lnTo>
                    <a:close/>
                    <a:moveTo>
                      <a:pt x="773" y="201"/>
                    </a:moveTo>
                    <a:lnTo>
                      <a:pt x="773" y="196"/>
                    </a:lnTo>
                    <a:lnTo>
                      <a:pt x="773" y="201"/>
                    </a:lnTo>
                    <a:lnTo>
                      <a:pt x="773" y="201"/>
                    </a:lnTo>
                    <a:lnTo>
                      <a:pt x="773" y="201"/>
                    </a:lnTo>
                    <a:close/>
                    <a:moveTo>
                      <a:pt x="735" y="222"/>
                    </a:moveTo>
                    <a:lnTo>
                      <a:pt x="735" y="206"/>
                    </a:lnTo>
                    <a:lnTo>
                      <a:pt x="739" y="218"/>
                    </a:lnTo>
                    <a:lnTo>
                      <a:pt x="735" y="222"/>
                    </a:lnTo>
                    <a:lnTo>
                      <a:pt x="735" y="222"/>
                    </a:lnTo>
                    <a:lnTo>
                      <a:pt x="735" y="222"/>
                    </a:lnTo>
                    <a:close/>
                    <a:moveTo>
                      <a:pt x="950" y="218"/>
                    </a:moveTo>
                    <a:lnTo>
                      <a:pt x="954" y="206"/>
                    </a:lnTo>
                    <a:lnTo>
                      <a:pt x="954" y="218"/>
                    </a:lnTo>
                    <a:lnTo>
                      <a:pt x="950" y="218"/>
                    </a:lnTo>
                    <a:lnTo>
                      <a:pt x="950" y="218"/>
                    </a:lnTo>
                    <a:lnTo>
                      <a:pt x="950" y="218"/>
                    </a:lnTo>
                    <a:close/>
                    <a:moveTo>
                      <a:pt x="85" y="255"/>
                    </a:moveTo>
                    <a:lnTo>
                      <a:pt x="76" y="255"/>
                    </a:lnTo>
                    <a:lnTo>
                      <a:pt x="52" y="239"/>
                    </a:lnTo>
                    <a:lnTo>
                      <a:pt x="38" y="234"/>
                    </a:lnTo>
                    <a:lnTo>
                      <a:pt x="31" y="222"/>
                    </a:lnTo>
                    <a:lnTo>
                      <a:pt x="38" y="218"/>
                    </a:lnTo>
                    <a:lnTo>
                      <a:pt x="47" y="218"/>
                    </a:lnTo>
                    <a:lnTo>
                      <a:pt x="85" y="251"/>
                    </a:lnTo>
                    <a:lnTo>
                      <a:pt x="85" y="255"/>
                    </a:lnTo>
                    <a:lnTo>
                      <a:pt x="85" y="255"/>
                    </a:lnTo>
                    <a:lnTo>
                      <a:pt x="85" y="255"/>
                    </a:lnTo>
                    <a:close/>
                    <a:moveTo>
                      <a:pt x="2117" y="234"/>
                    </a:moveTo>
                    <a:lnTo>
                      <a:pt x="2117" y="239"/>
                    </a:lnTo>
                    <a:lnTo>
                      <a:pt x="2117" y="222"/>
                    </a:lnTo>
                    <a:lnTo>
                      <a:pt x="2117" y="234"/>
                    </a:lnTo>
                    <a:lnTo>
                      <a:pt x="2117" y="234"/>
                    </a:lnTo>
                    <a:lnTo>
                      <a:pt x="2117" y="234"/>
                    </a:lnTo>
                    <a:close/>
                    <a:moveTo>
                      <a:pt x="2317" y="279"/>
                    </a:moveTo>
                    <a:lnTo>
                      <a:pt x="2317" y="263"/>
                    </a:lnTo>
                    <a:lnTo>
                      <a:pt x="2332" y="239"/>
                    </a:lnTo>
                    <a:lnTo>
                      <a:pt x="2339" y="239"/>
                    </a:lnTo>
                    <a:lnTo>
                      <a:pt x="2348" y="251"/>
                    </a:lnTo>
                    <a:lnTo>
                      <a:pt x="2339" y="263"/>
                    </a:lnTo>
                    <a:lnTo>
                      <a:pt x="2332" y="279"/>
                    </a:lnTo>
                    <a:lnTo>
                      <a:pt x="2317" y="279"/>
                    </a:lnTo>
                    <a:lnTo>
                      <a:pt x="2317" y="279"/>
                    </a:lnTo>
                    <a:lnTo>
                      <a:pt x="2317" y="279"/>
                    </a:lnTo>
                    <a:close/>
                    <a:moveTo>
                      <a:pt x="144" y="279"/>
                    </a:moveTo>
                    <a:lnTo>
                      <a:pt x="128" y="263"/>
                    </a:lnTo>
                    <a:lnTo>
                      <a:pt x="139" y="263"/>
                    </a:lnTo>
                    <a:lnTo>
                      <a:pt x="144" y="279"/>
                    </a:lnTo>
                    <a:lnTo>
                      <a:pt x="144" y="279"/>
                    </a:lnTo>
                    <a:lnTo>
                      <a:pt x="144" y="279"/>
                    </a:lnTo>
                    <a:close/>
                    <a:moveTo>
                      <a:pt x="2284" y="366"/>
                    </a:moveTo>
                    <a:lnTo>
                      <a:pt x="2294" y="366"/>
                    </a:lnTo>
                    <a:lnTo>
                      <a:pt x="2294" y="350"/>
                    </a:lnTo>
                    <a:lnTo>
                      <a:pt x="2306" y="345"/>
                    </a:lnTo>
                    <a:lnTo>
                      <a:pt x="2306" y="329"/>
                    </a:lnTo>
                    <a:lnTo>
                      <a:pt x="2332" y="317"/>
                    </a:lnTo>
                    <a:lnTo>
                      <a:pt x="2348" y="312"/>
                    </a:lnTo>
                    <a:lnTo>
                      <a:pt x="2348" y="350"/>
                    </a:lnTo>
                    <a:lnTo>
                      <a:pt x="2317" y="366"/>
                    </a:lnTo>
                    <a:lnTo>
                      <a:pt x="2322" y="383"/>
                    </a:lnTo>
                    <a:lnTo>
                      <a:pt x="2348" y="390"/>
                    </a:lnTo>
                    <a:lnTo>
                      <a:pt x="2348" y="400"/>
                    </a:lnTo>
                    <a:lnTo>
                      <a:pt x="2360" y="418"/>
                    </a:lnTo>
                    <a:lnTo>
                      <a:pt x="2301" y="390"/>
                    </a:lnTo>
                    <a:lnTo>
                      <a:pt x="2294" y="400"/>
                    </a:lnTo>
                    <a:lnTo>
                      <a:pt x="2294" y="407"/>
                    </a:lnTo>
                    <a:lnTo>
                      <a:pt x="2294" y="435"/>
                    </a:lnTo>
                    <a:lnTo>
                      <a:pt x="2301" y="456"/>
                    </a:lnTo>
                    <a:lnTo>
                      <a:pt x="2322" y="494"/>
                    </a:lnTo>
                    <a:lnTo>
                      <a:pt x="2301" y="478"/>
                    </a:lnTo>
                    <a:lnTo>
                      <a:pt x="2284" y="456"/>
                    </a:lnTo>
                    <a:lnTo>
                      <a:pt x="2280" y="444"/>
                    </a:lnTo>
                    <a:lnTo>
                      <a:pt x="2280" y="418"/>
                    </a:lnTo>
                    <a:lnTo>
                      <a:pt x="2263" y="383"/>
                    </a:lnTo>
                    <a:lnTo>
                      <a:pt x="2268" y="366"/>
                    </a:lnTo>
                    <a:lnTo>
                      <a:pt x="2263" y="366"/>
                    </a:lnTo>
                    <a:lnTo>
                      <a:pt x="2263" y="350"/>
                    </a:lnTo>
                    <a:lnTo>
                      <a:pt x="2251" y="350"/>
                    </a:lnTo>
                    <a:lnTo>
                      <a:pt x="2268" y="307"/>
                    </a:lnTo>
                    <a:lnTo>
                      <a:pt x="2294" y="272"/>
                    </a:lnTo>
                    <a:lnTo>
                      <a:pt x="2301" y="272"/>
                    </a:lnTo>
                    <a:lnTo>
                      <a:pt x="2284" y="291"/>
                    </a:lnTo>
                    <a:lnTo>
                      <a:pt x="2301" y="307"/>
                    </a:lnTo>
                    <a:lnTo>
                      <a:pt x="2301" y="329"/>
                    </a:lnTo>
                    <a:lnTo>
                      <a:pt x="2268" y="362"/>
                    </a:lnTo>
                    <a:lnTo>
                      <a:pt x="2284" y="366"/>
                    </a:lnTo>
                    <a:lnTo>
                      <a:pt x="2284" y="366"/>
                    </a:lnTo>
                    <a:lnTo>
                      <a:pt x="2284" y="366"/>
                    </a:lnTo>
                    <a:close/>
                    <a:moveTo>
                      <a:pt x="454" y="291"/>
                    </a:moveTo>
                    <a:lnTo>
                      <a:pt x="447" y="307"/>
                    </a:lnTo>
                    <a:lnTo>
                      <a:pt x="430" y="307"/>
                    </a:lnTo>
                    <a:lnTo>
                      <a:pt x="430" y="291"/>
                    </a:lnTo>
                    <a:lnTo>
                      <a:pt x="430" y="279"/>
                    </a:lnTo>
                    <a:lnTo>
                      <a:pt x="447" y="272"/>
                    </a:lnTo>
                    <a:lnTo>
                      <a:pt x="454" y="291"/>
                    </a:lnTo>
                    <a:lnTo>
                      <a:pt x="454" y="291"/>
                    </a:lnTo>
                    <a:lnTo>
                      <a:pt x="454" y="291"/>
                    </a:lnTo>
                    <a:close/>
                    <a:moveTo>
                      <a:pt x="1873" y="778"/>
                    </a:moveTo>
                    <a:lnTo>
                      <a:pt x="1852" y="778"/>
                    </a:lnTo>
                    <a:lnTo>
                      <a:pt x="1835" y="766"/>
                    </a:lnTo>
                    <a:lnTo>
                      <a:pt x="1852" y="723"/>
                    </a:lnTo>
                    <a:lnTo>
                      <a:pt x="1831" y="716"/>
                    </a:lnTo>
                    <a:lnTo>
                      <a:pt x="1798" y="683"/>
                    </a:lnTo>
                    <a:lnTo>
                      <a:pt x="1798" y="666"/>
                    </a:lnTo>
                    <a:lnTo>
                      <a:pt x="1814" y="662"/>
                    </a:lnTo>
                    <a:lnTo>
                      <a:pt x="1814" y="629"/>
                    </a:lnTo>
                    <a:lnTo>
                      <a:pt x="1809" y="622"/>
                    </a:lnTo>
                    <a:lnTo>
                      <a:pt x="1793" y="612"/>
                    </a:lnTo>
                    <a:lnTo>
                      <a:pt x="1755" y="645"/>
                    </a:lnTo>
                    <a:lnTo>
                      <a:pt x="1765" y="662"/>
                    </a:lnTo>
                    <a:lnTo>
                      <a:pt x="1765" y="695"/>
                    </a:lnTo>
                    <a:lnTo>
                      <a:pt x="1760" y="723"/>
                    </a:lnTo>
                    <a:lnTo>
                      <a:pt x="1765" y="766"/>
                    </a:lnTo>
                    <a:lnTo>
                      <a:pt x="1755" y="794"/>
                    </a:lnTo>
                    <a:lnTo>
                      <a:pt x="1765" y="834"/>
                    </a:lnTo>
                    <a:lnTo>
                      <a:pt x="1760" y="827"/>
                    </a:lnTo>
                    <a:lnTo>
                      <a:pt x="1743" y="834"/>
                    </a:lnTo>
                    <a:lnTo>
                      <a:pt x="1727" y="827"/>
                    </a:lnTo>
                    <a:lnTo>
                      <a:pt x="1722" y="844"/>
                    </a:lnTo>
                    <a:lnTo>
                      <a:pt x="1710" y="844"/>
                    </a:lnTo>
                    <a:lnTo>
                      <a:pt x="1689" y="822"/>
                    </a:lnTo>
                    <a:lnTo>
                      <a:pt x="1706" y="740"/>
                    </a:lnTo>
                    <a:lnTo>
                      <a:pt x="1706" y="716"/>
                    </a:lnTo>
                    <a:lnTo>
                      <a:pt x="1701" y="695"/>
                    </a:lnTo>
                    <a:lnTo>
                      <a:pt x="1706" y="683"/>
                    </a:lnTo>
                    <a:lnTo>
                      <a:pt x="1689" y="678"/>
                    </a:lnTo>
                    <a:lnTo>
                      <a:pt x="1658" y="683"/>
                    </a:lnTo>
                    <a:lnTo>
                      <a:pt x="1651" y="666"/>
                    </a:lnTo>
                    <a:lnTo>
                      <a:pt x="1658" y="638"/>
                    </a:lnTo>
                    <a:lnTo>
                      <a:pt x="1651" y="638"/>
                    </a:lnTo>
                    <a:lnTo>
                      <a:pt x="1651" y="629"/>
                    </a:lnTo>
                    <a:lnTo>
                      <a:pt x="1651" y="612"/>
                    </a:lnTo>
                    <a:lnTo>
                      <a:pt x="1658" y="622"/>
                    </a:lnTo>
                    <a:lnTo>
                      <a:pt x="1672" y="605"/>
                    </a:lnTo>
                    <a:lnTo>
                      <a:pt x="1684" y="572"/>
                    </a:lnTo>
                    <a:lnTo>
                      <a:pt x="1689" y="567"/>
                    </a:lnTo>
                    <a:lnTo>
                      <a:pt x="1689" y="518"/>
                    </a:lnTo>
                    <a:lnTo>
                      <a:pt x="1706" y="494"/>
                    </a:lnTo>
                    <a:lnTo>
                      <a:pt x="1710" y="478"/>
                    </a:lnTo>
                    <a:lnTo>
                      <a:pt x="1727" y="489"/>
                    </a:lnTo>
                    <a:lnTo>
                      <a:pt x="1722" y="461"/>
                    </a:lnTo>
                    <a:lnTo>
                      <a:pt x="1722" y="440"/>
                    </a:lnTo>
                    <a:lnTo>
                      <a:pt x="1710" y="440"/>
                    </a:lnTo>
                    <a:lnTo>
                      <a:pt x="1706" y="435"/>
                    </a:lnTo>
                    <a:lnTo>
                      <a:pt x="1722" y="440"/>
                    </a:lnTo>
                    <a:lnTo>
                      <a:pt x="1727" y="423"/>
                    </a:lnTo>
                    <a:lnTo>
                      <a:pt x="1722" y="418"/>
                    </a:lnTo>
                    <a:lnTo>
                      <a:pt x="1727" y="390"/>
                    </a:lnTo>
                    <a:lnTo>
                      <a:pt x="1739" y="390"/>
                    </a:lnTo>
                    <a:lnTo>
                      <a:pt x="1739" y="378"/>
                    </a:lnTo>
                    <a:lnTo>
                      <a:pt x="1755" y="366"/>
                    </a:lnTo>
                    <a:lnTo>
                      <a:pt x="1760" y="362"/>
                    </a:lnTo>
                    <a:lnTo>
                      <a:pt x="1760" y="366"/>
                    </a:lnTo>
                    <a:lnTo>
                      <a:pt x="1776" y="378"/>
                    </a:lnTo>
                    <a:lnTo>
                      <a:pt x="1793" y="350"/>
                    </a:lnTo>
                    <a:lnTo>
                      <a:pt x="1793" y="333"/>
                    </a:lnTo>
                    <a:lnTo>
                      <a:pt x="1835" y="333"/>
                    </a:lnTo>
                    <a:lnTo>
                      <a:pt x="1847" y="350"/>
                    </a:lnTo>
                    <a:lnTo>
                      <a:pt x="1869" y="350"/>
                    </a:lnTo>
                    <a:lnTo>
                      <a:pt x="1873" y="350"/>
                    </a:lnTo>
                    <a:lnTo>
                      <a:pt x="1906" y="362"/>
                    </a:lnTo>
                    <a:lnTo>
                      <a:pt x="1939" y="366"/>
                    </a:lnTo>
                    <a:lnTo>
                      <a:pt x="1944" y="362"/>
                    </a:lnTo>
                    <a:lnTo>
                      <a:pt x="1961" y="362"/>
                    </a:lnTo>
                    <a:lnTo>
                      <a:pt x="2015" y="366"/>
                    </a:lnTo>
                    <a:lnTo>
                      <a:pt x="2036" y="350"/>
                    </a:lnTo>
                    <a:lnTo>
                      <a:pt x="2046" y="345"/>
                    </a:lnTo>
                    <a:lnTo>
                      <a:pt x="2062" y="345"/>
                    </a:lnTo>
                    <a:lnTo>
                      <a:pt x="2053" y="329"/>
                    </a:lnTo>
                    <a:lnTo>
                      <a:pt x="2079" y="317"/>
                    </a:lnTo>
                    <a:lnTo>
                      <a:pt x="2079" y="312"/>
                    </a:lnTo>
                    <a:lnTo>
                      <a:pt x="2084" y="307"/>
                    </a:lnTo>
                    <a:lnTo>
                      <a:pt x="2100" y="307"/>
                    </a:lnTo>
                    <a:lnTo>
                      <a:pt x="2105" y="317"/>
                    </a:lnTo>
                    <a:lnTo>
                      <a:pt x="2091" y="329"/>
                    </a:lnTo>
                    <a:lnTo>
                      <a:pt x="2079" y="362"/>
                    </a:lnTo>
                    <a:lnTo>
                      <a:pt x="2036" y="400"/>
                    </a:lnTo>
                    <a:lnTo>
                      <a:pt x="1991" y="407"/>
                    </a:lnTo>
                    <a:lnTo>
                      <a:pt x="1970" y="407"/>
                    </a:lnTo>
                    <a:lnTo>
                      <a:pt x="1954" y="390"/>
                    </a:lnTo>
                    <a:lnTo>
                      <a:pt x="1864" y="400"/>
                    </a:lnTo>
                    <a:lnTo>
                      <a:pt x="1847" y="390"/>
                    </a:lnTo>
                    <a:lnTo>
                      <a:pt x="1814" y="400"/>
                    </a:lnTo>
                    <a:lnTo>
                      <a:pt x="1776" y="390"/>
                    </a:lnTo>
                    <a:lnTo>
                      <a:pt x="1760" y="390"/>
                    </a:lnTo>
                    <a:lnTo>
                      <a:pt x="1743" y="418"/>
                    </a:lnTo>
                    <a:lnTo>
                      <a:pt x="1739" y="440"/>
                    </a:lnTo>
                    <a:lnTo>
                      <a:pt x="1743" y="473"/>
                    </a:lnTo>
                    <a:lnTo>
                      <a:pt x="1755" y="494"/>
                    </a:lnTo>
                    <a:lnTo>
                      <a:pt x="1776" y="501"/>
                    </a:lnTo>
                    <a:lnTo>
                      <a:pt x="1781" y="527"/>
                    </a:lnTo>
                    <a:lnTo>
                      <a:pt x="1793" y="527"/>
                    </a:lnTo>
                    <a:lnTo>
                      <a:pt x="1814" y="534"/>
                    </a:lnTo>
                    <a:lnTo>
                      <a:pt x="1835" y="494"/>
                    </a:lnTo>
                    <a:lnTo>
                      <a:pt x="1852" y="489"/>
                    </a:lnTo>
                    <a:lnTo>
                      <a:pt x="1852" y="494"/>
                    </a:lnTo>
                    <a:lnTo>
                      <a:pt x="1869" y="494"/>
                    </a:lnTo>
                    <a:lnTo>
                      <a:pt x="1885" y="494"/>
                    </a:lnTo>
                    <a:lnTo>
                      <a:pt x="1890" y="489"/>
                    </a:lnTo>
                    <a:lnTo>
                      <a:pt x="1939" y="489"/>
                    </a:lnTo>
                    <a:lnTo>
                      <a:pt x="1944" y="478"/>
                    </a:lnTo>
                    <a:lnTo>
                      <a:pt x="1928" y="478"/>
                    </a:lnTo>
                    <a:lnTo>
                      <a:pt x="1954" y="473"/>
                    </a:lnTo>
                    <a:lnTo>
                      <a:pt x="1970" y="473"/>
                    </a:lnTo>
                    <a:lnTo>
                      <a:pt x="1977" y="489"/>
                    </a:lnTo>
                    <a:lnTo>
                      <a:pt x="1970" y="501"/>
                    </a:lnTo>
                    <a:lnTo>
                      <a:pt x="1961" y="494"/>
                    </a:lnTo>
                    <a:lnTo>
                      <a:pt x="1939" y="494"/>
                    </a:lnTo>
                    <a:lnTo>
                      <a:pt x="1906" y="534"/>
                    </a:lnTo>
                    <a:lnTo>
                      <a:pt x="1869" y="551"/>
                    </a:lnTo>
                    <a:lnTo>
                      <a:pt x="1852" y="567"/>
                    </a:lnTo>
                    <a:lnTo>
                      <a:pt x="1831" y="555"/>
                    </a:lnTo>
                    <a:lnTo>
                      <a:pt x="1831" y="572"/>
                    </a:lnTo>
                    <a:lnTo>
                      <a:pt x="1835" y="572"/>
                    </a:lnTo>
                    <a:lnTo>
                      <a:pt x="1847" y="584"/>
                    </a:lnTo>
                    <a:lnTo>
                      <a:pt x="1869" y="600"/>
                    </a:lnTo>
                    <a:lnTo>
                      <a:pt x="1873" y="622"/>
                    </a:lnTo>
                    <a:lnTo>
                      <a:pt x="1902" y="638"/>
                    </a:lnTo>
                    <a:lnTo>
                      <a:pt x="1902" y="645"/>
                    </a:lnTo>
                    <a:lnTo>
                      <a:pt x="1906" y="655"/>
                    </a:lnTo>
                    <a:lnTo>
                      <a:pt x="1890" y="666"/>
                    </a:lnTo>
                    <a:lnTo>
                      <a:pt x="1890" y="695"/>
                    </a:lnTo>
                    <a:lnTo>
                      <a:pt x="1923" y="711"/>
                    </a:lnTo>
                    <a:lnTo>
                      <a:pt x="1923" y="723"/>
                    </a:lnTo>
                    <a:lnTo>
                      <a:pt x="1939" y="723"/>
                    </a:lnTo>
                    <a:lnTo>
                      <a:pt x="1928" y="716"/>
                    </a:lnTo>
                    <a:lnTo>
                      <a:pt x="1939" y="733"/>
                    </a:lnTo>
                    <a:lnTo>
                      <a:pt x="1939" y="749"/>
                    </a:lnTo>
                    <a:lnTo>
                      <a:pt x="1928" y="749"/>
                    </a:lnTo>
                    <a:lnTo>
                      <a:pt x="1916" y="749"/>
                    </a:lnTo>
                    <a:lnTo>
                      <a:pt x="1885" y="756"/>
                    </a:lnTo>
                    <a:lnTo>
                      <a:pt x="1873" y="766"/>
                    </a:lnTo>
                    <a:lnTo>
                      <a:pt x="1885" y="773"/>
                    </a:lnTo>
                    <a:lnTo>
                      <a:pt x="1873" y="778"/>
                    </a:lnTo>
                    <a:lnTo>
                      <a:pt x="1873" y="778"/>
                    </a:lnTo>
                    <a:lnTo>
                      <a:pt x="1873" y="778"/>
                    </a:lnTo>
                    <a:close/>
                    <a:moveTo>
                      <a:pt x="508" y="329"/>
                    </a:moveTo>
                    <a:lnTo>
                      <a:pt x="508" y="333"/>
                    </a:lnTo>
                    <a:lnTo>
                      <a:pt x="496" y="329"/>
                    </a:lnTo>
                    <a:lnTo>
                      <a:pt x="480" y="317"/>
                    </a:lnTo>
                    <a:lnTo>
                      <a:pt x="470" y="312"/>
                    </a:lnTo>
                    <a:lnTo>
                      <a:pt x="501" y="317"/>
                    </a:lnTo>
                    <a:lnTo>
                      <a:pt x="508" y="329"/>
                    </a:lnTo>
                    <a:lnTo>
                      <a:pt x="508" y="329"/>
                    </a:lnTo>
                    <a:lnTo>
                      <a:pt x="508" y="329"/>
                    </a:lnTo>
                    <a:close/>
                    <a:moveTo>
                      <a:pt x="2105" y="317"/>
                    </a:moveTo>
                    <a:lnTo>
                      <a:pt x="2105" y="329"/>
                    </a:lnTo>
                    <a:lnTo>
                      <a:pt x="2100" y="329"/>
                    </a:lnTo>
                    <a:lnTo>
                      <a:pt x="2105" y="317"/>
                    </a:lnTo>
                    <a:lnTo>
                      <a:pt x="2105" y="317"/>
                    </a:lnTo>
                    <a:lnTo>
                      <a:pt x="2105" y="317"/>
                    </a:lnTo>
                    <a:close/>
                    <a:moveTo>
                      <a:pt x="177" y="390"/>
                    </a:moveTo>
                    <a:lnTo>
                      <a:pt x="173" y="383"/>
                    </a:lnTo>
                    <a:lnTo>
                      <a:pt x="161" y="366"/>
                    </a:lnTo>
                    <a:lnTo>
                      <a:pt x="128" y="329"/>
                    </a:lnTo>
                    <a:lnTo>
                      <a:pt x="144" y="317"/>
                    </a:lnTo>
                    <a:lnTo>
                      <a:pt x="156" y="317"/>
                    </a:lnTo>
                    <a:lnTo>
                      <a:pt x="173" y="345"/>
                    </a:lnTo>
                    <a:lnTo>
                      <a:pt x="182" y="350"/>
                    </a:lnTo>
                    <a:lnTo>
                      <a:pt x="182" y="383"/>
                    </a:lnTo>
                    <a:lnTo>
                      <a:pt x="177" y="390"/>
                    </a:lnTo>
                    <a:lnTo>
                      <a:pt x="177" y="390"/>
                    </a:lnTo>
                    <a:lnTo>
                      <a:pt x="177" y="390"/>
                    </a:lnTo>
                    <a:close/>
                    <a:moveTo>
                      <a:pt x="508" y="345"/>
                    </a:moveTo>
                    <a:lnTo>
                      <a:pt x="508" y="362"/>
                    </a:lnTo>
                    <a:lnTo>
                      <a:pt x="501" y="362"/>
                    </a:lnTo>
                    <a:lnTo>
                      <a:pt x="484" y="350"/>
                    </a:lnTo>
                    <a:lnTo>
                      <a:pt x="484" y="329"/>
                    </a:lnTo>
                    <a:lnTo>
                      <a:pt x="508" y="345"/>
                    </a:lnTo>
                    <a:lnTo>
                      <a:pt x="508" y="345"/>
                    </a:lnTo>
                    <a:lnTo>
                      <a:pt x="508" y="345"/>
                    </a:lnTo>
                    <a:close/>
                    <a:moveTo>
                      <a:pt x="664" y="350"/>
                    </a:moveTo>
                    <a:lnTo>
                      <a:pt x="659" y="366"/>
                    </a:lnTo>
                    <a:lnTo>
                      <a:pt x="631" y="350"/>
                    </a:lnTo>
                    <a:lnTo>
                      <a:pt x="643" y="345"/>
                    </a:lnTo>
                    <a:lnTo>
                      <a:pt x="664" y="350"/>
                    </a:lnTo>
                    <a:lnTo>
                      <a:pt x="664" y="350"/>
                    </a:lnTo>
                    <a:lnTo>
                      <a:pt x="664" y="350"/>
                    </a:lnTo>
                    <a:close/>
                    <a:moveTo>
                      <a:pt x="626" y="345"/>
                    </a:moveTo>
                    <a:lnTo>
                      <a:pt x="614" y="362"/>
                    </a:lnTo>
                    <a:lnTo>
                      <a:pt x="610" y="350"/>
                    </a:lnTo>
                    <a:lnTo>
                      <a:pt x="614" y="345"/>
                    </a:lnTo>
                    <a:lnTo>
                      <a:pt x="626" y="345"/>
                    </a:lnTo>
                    <a:lnTo>
                      <a:pt x="626" y="345"/>
                    </a:lnTo>
                    <a:lnTo>
                      <a:pt x="626" y="345"/>
                    </a:lnTo>
                    <a:close/>
                    <a:moveTo>
                      <a:pt x="550" y="366"/>
                    </a:moveTo>
                    <a:lnTo>
                      <a:pt x="522" y="350"/>
                    </a:lnTo>
                    <a:lnTo>
                      <a:pt x="522" y="345"/>
                    </a:lnTo>
                    <a:lnTo>
                      <a:pt x="550" y="350"/>
                    </a:lnTo>
                    <a:lnTo>
                      <a:pt x="555" y="366"/>
                    </a:lnTo>
                    <a:lnTo>
                      <a:pt x="550" y="366"/>
                    </a:lnTo>
                    <a:lnTo>
                      <a:pt x="550" y="366"/>
                    </a:lnTo>
                    <a:lnTo>
                      <a:pt x="550" y="366"/>
                    </a:lnTo>
                    <a:close/>
                    <a:moveTo>
                      <a:pt x="539" y="378"/>
                    </a:moveTo>
                    <a:lnTo>
                      <a:pt x="534" y="366"/>
                    </a:lnTo>
                    <a:lnTo>
                      <a:pt x="508" y="366"/>
                    </a:lnTo>
                    <a:lnTo>
                      <a:pt x="501" y="366"/>
                    </a:lnTo>
                    <a:lnTo>
                      <a:pt x="508" y="362"/>
                    </a:lnTo>
                    <a:lnTo>
                      <a:pt x="508" y="345"/>
                    </a:lnTo>
                    <a:lnTo>
                      <a:pt x="550" y="366"/>
                    </a:lnTo>
                    <a:lnTo>
                      <a:pt x="539" y="378"/>
                    </a:lnTo>
                    <a:lnTo>
                      <a:pt x="539" y="378"/>
                    </a:lnTo>
                    <a:lnTo>
                      <a:pt x="539" y="378"/>
                    </a:lnTo>
                    <a:close/>
                    <a:moveTo>
                      <a:pt x="572" y="350"/>
                    </a:moveTo>
                    <a:lnTo>
                      <a:pt x="572" y="362"/>
                    </a:lnTo>
                    <a:lnTo>
                      <a:pt x="560" y="345"/>
                    </a:lnTo>
                    <a:lnTo>
                      <a:pt x="572" y="350"/>
                    </a:lnTo>
                    <a:lnTo>
                      <a:pt x="572" y="350"/>
                    </a:lnTo>
                    <a:lnTo>
                      <a:pt x="572" y="350"/>
                    </a:lnTo>
                    <a:close/>
                    <a:moveTo>
                      <a:pt x="610" y="362"/>
                    </a:moveTo>
                    <a:lnTo>
                      <a:pt x="605" y="350"/>
                    </a:lnTo>
                    <a:lnTo>
                      <a:pt x="610" y="362"/>
                    </a:lnTo>
                    <a:lnTo>
                      <a:pt x="610" y="362"/>
                    </a:lnTo>
                    <a:lnTo>
                      <a:pt x="610" y="362"/>
                    </a:lnTo>
                    <a:close/>
                    <a:moveTo>
                      <a:pt x="626" y="366"/>
                    </a:moveTo>
                    <a:lnTo>
                      <a:pt x="614" y="362"/>
                    </a:lnTo>
                    <a:lnTo>
                      <a:pt x="631" y="366"/>
                    </a:lnTo>
                    <a:lnTo>
                      <a:pt x="626" y="366"/>
                    </a:lnTo>
                    <a:lnTo>
                      <a:pt x="626" y="366"/>
                    </a:lnTo>
                    <a:lnTo>
                      <a:pt x="626" y="366"/>
                    </a:lnTo>
                    <a:close/>
                    <a:moveTo>
                      <a:pt x="576" y="378"/>
                    </a:moveTo>
                    <a:lnTo>
                      <a:pt x="572" y="383"/>
                    </a:lnTo>
                    <a:lnTo>
                      <a:pt x="572" y="366"/>
                    </a:lnTo>
                    <a:lnTo>
                      <a:pt x="576" y="378"/>
                    </a:lnTo>
                    <a:lnTo>
                      <a:pt x="576" y="378"/>
                    </a:lnTo>
                    <a:lnTo>
                      <a:pt x="576" y="378"/>
                    </a:lnTo>
                    <a:close/>
                    <a:moveTo>
                      <a:pt x="631" y="378"/>
                    </a:moveTo>
                    <a:lnTo>
                      <a:pt x="626" y="378"/>
                    </a:lnTo>
                    <a:lnTo>
                      <a:pt x="631" y="366"/>
                    </a:lnTo>
                    <a:lnTo>
                      <a:pt x="631" y="378"/>
                    </a:lnTo>
                    <a:lnTo>
                      <a:pt x="631" y="378"/>
                    </a:lnTo>
                    <a:lnTo>
                      <a:pt x="631" y="378"/>
                    </a:lnTo>
                    <a:close/>
                    <a:moveTo>
                      <a:pt x="2263" y="378"/>
                    </a:moveTo>
                    <a:lnTo>
                      <a:pt x="2251" y="383"/>
                    </a:lnTo>
                    <a:lnTo>
                      <a:pt x="2251" y="378"/>
                    </a:lnTo>
                    <a:lnTo>
                      <a:pt x="2263" y="378"/>
                    </a:lnTo>
                    <a:lnTo>
                      <a:pt x="2263" y="378"/>
                    </a:lnTo>
                    <a:lnTo>
                      <a:pt x="2263" y="378"/>
                    </a:lnTo>
                    <a:close/>
                    <a:moveTo>
                      <a:pt x="560" y="383"/>
                    </a:moveTo>
                    <a:lnTo>
                      <a:pt x="555" y="390"/>
                    </a:lnTo>
                    <a:lnTo>
                      <a:pt x="555" y="378"/>
                    </a:lnTo>
                    <a:lnTo>
                      <a:pt x="560" y="383"/>
                    </a:lnTo>
                    <a:lnTo>
                      <a:pt x="560" y="383"/>
                    </a:lnTo>
                    <a:lnTo>
                      <a:pt x="560" y="383"/>
                    </a:lnTo>
                    <a:close/>
                    <a:moveTo>
                      <a:pt x="2251" y="400"/>
                    </a:moveTo>
                    <a:lnTo>
                      <a:pt x="2251" y="407"/>
                    </a:lnTo>
                    <a:lnTo>
                      <a:pt x="2251" y="400"/>
                    </a:lnTo>
                    <a:lnTo>
                      <a:pt x="2251" y="400"/>
                    </a:lnTo>
                    <a:lnTo>
                      <a:pt x="2251" y="400"/>
                    </a:lnTo>
                    <a:close/>
                    <a:moveTo>
                      <a:pt x="248" y="423"/>
                    </a:moveTo>
                    <a:lnTo>
                      <a:pt x="232" y="418"/>
                    </a:lnTo>
                    <a:lnTo>
                      <a:pt x="248" y="418"/>
                    </a:lnTo>
                    <a:lnTo>
                      <a:pt x="248" y="423"/>
                    </a:lnTo>
                    <a:lnTo>
                      <a:pt x="248" y="423"/>
                    </a:lnTo>
                    <a:lnTo>
                      <a:pt x="248" y="423"/>
                    </a:lnTo>
                    <a:close/>
                    <a:moveTo>
                      <a:pt x="2407" y="444"/>
                    </a:moveTo>
                    <a:lnTo>
                      <a:pt x="2386" y="423"/>
                    </a:lnTo>
                    <a:lnTo>
                      <a:pt x="2407" y="440"/>
                    </a:lnTo>
                    <a:lnTo>
                      <a:pt x="2407" y="444"/>
                    </a:lnTo>
                    <a:lnTo>
                      <a:pt x="2407" y="444"/>
                    </a:lnTo>
                    <a:lnTo>
                      <a:pt x="2407" y="444"/>
                    </a:lnTo>
                    <a:close/>
                    <a:moveTo>
                      <a:pt x="680" y="456"/>
                    </a:moveTo>
                    <a:lnTo>
                      <a:pt x="664" y="444"/>
                    </a:lnTo>
                    <a:lnTo>
                      <a:pt x="647" y="444"/>
                    </a:lnTo>
                    <a:lnTo>
                      <a:pt x="643" y="444"/>
                    </a:lnTo>
                    <a:lnTo>
                      <a:pt x="647" y="435"/>
                    </a:lnTo>
                    <a:lnTo>
                      <a:pt x="680" y="440"/>
                    </a:lnTo>
                    <a:lnTo>
                      <a:pt x="680" y="456"/>
                    </a:lnTo>
                    <a:lnTo>
                      <a:pt x="680" y="456"/>
                    </a:lnTo>
                    <a:lnTo>
                      <a:pt x="680" y="456"/>
                    </a:lnTo>
                    <a:close/>
                    <a:moveTo>
                      <a:pt x="232" y="456"/>
                    </a:moveTo>
                    <a:lnTo>
                      <a:pt x="215" y="435"/>
                    </a:lnTo>
                    <a:lnTo>
                      <a:pt x="227" y="435"/>
                    </a:lnTo>
                    <a:lnTo>
                      <a:pt x="232" y="456"/>
                    </a:lnTo>
                    <a:lnTo>
                      <a:pt x="232" y="456"/>
                    </a:lnTo>
                    <a:lnTo>
                      <a:pt x="232" y="456"/>
                    </a:lnTo>
                    <a:close/>
                    <a:moveTo>
                      <a:pt x="2485" y="435"/>
                    </a:moveTo>
                    <a:lnTo>
                      <a:pt x="2516" y="435"/>
                    </a:lnTo>
                    <a:lnTo>
                      <a:pt x="2532" y="440"/>
                    </a:lnTo>
                    <a:lnTo>
                      <a:pt x="2532" y="444"/>
                    </a:lnTo>
                    <a:lnTo>
                      <a:pt x="2523" y="456"/>
                    </a:lnTo>
                    <a:lnTo>
                      <a:pt x="2511" y="456"/>
                    </a:lnTo>
                    <a:lnTo>
                      <a:pt x="2478" y="435"/>
                    </a:lnTo>
                    <a:lnTo>
                      <a:pt x="2499" y="456"/>
                    </a:lnTo>
                    <a:lnTo>
                      <a:pt x="2495" y="461"/>
                    </a:lnTo>
                    <a:lnTo>
                      <a:pt x="2485" y="444"/>
                    </a:lnTo>
                    <a:lnTo>
                      <a:pt x="2478" y="456"/>
                    </a:lnTo>
                    <a:lnTo>
                      <a:pt x="2478" y="444"/>
                    </a:lnTo>
                    <a:lnTo>
                      <a:pt x="2457" y="444"/>
                    </a:lnTo>
                    <a:lnTo>
                      <a:pt x="2469" y="440"/>
                    </a:lnTo>
                    <a:lnTo>
                      <a:pt x="2461" y="440"/>
                    </a:lnTo>
                    <a:lnTo>
                      <a:pt x="2457" y="440"/>
                    </a:lnTo>
                    <a:lnTo>
                      <a:pt x="2485" y="435"/>
                    </a:lnTo>
                    <a:lnTo>
                      <a:pt x="2485" y="435"/>
                    </a:lnTo>
                    <a:lnTo>
                      <a:pt x="2485" y="435"/>
                    </a:lnTo>
                    <a:close/>
                    <a:moveTo>
                      <a:pt x="1890" y="444"/>
                    </a:moveTo>
                    <a:lnTo>
                      <a:pt x="1885" y="444"/>
                    </a:lnTo>
                    <a:lnTo>
                      <a:pt x="1890" y="444"/>
                    </a:lnTo>
                    <a:lnTo>
                      <a:pt x="1890" y="444"/>
                    </a:lnTo>
                    <a:lnTo>
                      <a:pt x="1890" y="444"/>
                    </a:lnTo>
                    <a:close/>
                    <a:moveTo>
                      <a:pt x="593" y="444"/>
                    </a:moveTo>
                    <a:lnTo>
                      <a:pt x="593" y="456"/>
                    </a:lnTo>
                    <a:lnTo>
                      <a:pt x="572" y="456"/>
                    </a:lnTo>
                    <a:lnTo>
                      <a:pt x="576" y="444"/>
                    </a:lnTo>
                    <a:lnTo>
                      <a:pt x="593" y="444"/>
                    </a:lnTo>
                    <a:lnTo>
                      <a:pt x="593" y="444"/>
                    </a:lnTo>
                    <a:lnTo>
                      <a:pt x="593" y="444"/>
                    </a:lnTo>
                    <a:close/>
                    <a:moveTo>
                      <a:pt x="227" y="461"/>
                    </a:moveTo>
                    <a:lnTo>
                      <a:pt x="227" y="473"/>
                    </a:lnTo>
                    <a:lnTo>
                      <a:pt x="215" y="473"/>
                    </a:lnTo>
                    <a:lnTo>
                      <a:pt x="227" y="444"/>
                    </a:lnTo>
                    <a:lnTo>
                      <a:pt x="227" y="461"/>
                    </a:lnTo>
                    <a:lnTo>
                      <a:pt x="227" y="461"/>
                    </a:lnTo>
                    <a:lnTo>
                      <a:pt x="227" y="461"/>
                    </a:lnTo>
                    <a:close/>
                    <a:moveTo>
                      <a:pt x="2246" y="444"/>
                    </a:moveTo>
                    <a:lnTo>
                      <a:pt x="2246" y="461"/>
                    </a:lnTo>
                    <a:lnTo>
                      <a:pt x="2242" y="461"/>
                    </a:lnTo>
                    <a:lnTo>
                      <a:pt x="2242" y="444"/>
                    </a:lnTo>
                    <a:lnTo>
                      <a:pt x="2246" y="444"/>
                    </a:lnTo>
                    <a:lnTo>
                      <a:pt x="2246" y="444"/>
                    </a:lnTo>
                    <a:lnTo>
                      <a:pt x="2246" y="444"/>
                    </a:lnTo>
                    <a:close/>
                    <a:moveTo>
                      <a:pt x="1885" y="456"/>
                    </a:moveTo>
                    <a:lnTo>
                      <a:pt x="1885" y="444"/>
                    </a:lnTo>
                    <a:lnTo>
                      <a:pt x="1885" y="456"/>
                    </a:lnTo>
                    <a:lnTo>
                      <a:pt x="1885" y="456"/>
                    </a:lnTo>
                    <a:lnTo>
                      <a:pt x="1885" y="456"/>
                    </a:lnTo>
                    <a:close/>
                    <a:moveTo>
                      <a:pt x="2263" y="444"/>
                    </a:moveTo>
                    <a:lnTo>
                      <a:pt x="2280" y="461"/>
                    </a:lnTo>
                    <a:lnTo>
                      <a:pt x="2268" y="473"/>
                    </a:lnTo>
                    <a:lnTo>
                      <a:pt x="2280" y="478"/>
                    </a:lnTo>
                    <a:lnTo>
                      <a:pt x="2284" y="478"/>
                    </a:lnTo>
                    <a:lnTo>
                      <a:pt x="2294" y="489"/>
                    </a:lnTo>
                    <a:lnTo>
                      <a:pt x="2284" y="494"/>
                    </a:lnTo>
                    <a:lnTo>
                      <a:pt x="2268" y="489"/>
                    </a:lnTo>
                    <a:lnTo>
                      <a:pt x="2263" y="489"/>
                    </a:lnTo>
                    <a:lnTo>
                      <a:pt x="2246" y="461"/>
                    </a:lnTo>
                    <a:lnTo>
                      <a:pt x="2246" y="456"/>
                    </a:lnTo>
                    <a:lnTo>
                      <a:pt x="2263" y="444"/>
                    </a:lnTo>
                    <a:lnTo>
                      <a:pt x="2263" y="444"/>
                    </a:lnTo>
                    <a:lnTo>
                      <a:pt x="2263" y="444"/>
                    </a:lnTo>
                    <a:close/>
                    <a:moveTo>
                      <a:pt x="1885" y="456"/>
                    </a:moveTo>
                    <a:lnTo>
                      <a:pt x="1869" y="456"/>
                    </a:lnTo>
                    <a:lnTo>
                      <a:pt x="1873" y="444"/>
                    </a:lnTo>
                    <a:lnTo>
                      <a:pt x="1885" y="456"/>
                    </a:lnTo>
                    <a:lnTo>
                      <a:pt x="1885" y="456"/>
                    </a:lnTo>
                    <a:lnTo>
                      <a:pt x="1885" y="456"/>
                    </a:lnTo>
                    <a:close/>
                    <a:moveTo>
                      <a:pt x="647" y="456"/>
                    </a:moveTo>
                    <a:lnTo>
                      <a:pt x="659" y="461"/>
                    </a:lnTo>
                    <a:lnTo>
                      <a:pt x="647" y="473"/>
                    </a:lnTo>
                    <a:lnTo>
                      <a:pt x="631" y="461"/>
                    </a:lnTo>
                    <a:lnTo>
                      <a:pt x="647" y="456"/>
                    </a:lnTo>
                    <a:lnTo>
                      <a:pt x="647" y="456"/>
                    </a:lnTo>
                    <a:lnTo>
                      <a:pt x="647" y="456"/>
                    </a:lnTo>
                    <a:close/>
                    <a:moveTo>
                      <a:pt x="3213" y="612"/>
                    </a:moveTo>
                    <a:lnTo>
                      <a:pt x="3213" y="884"/>
                    </a:lnTo>
                    <a:lnTo>
                      <a:pt x="3203" y="905"/>
                    </a:lnTo>
                    <a:lnTo>
                      <a:pt x="3203" y="922"/>
                    </a:lnTo>
                    <a:lnTo>
                      <a:pt x="3213" y="922"/>
                    </a:lnTo>
                    <a:lnTo>
                      <a:pt x="3213" y="1089"/>
                    </a:lnTo>
                    <a:lnTo>
                      <a:pt x="3142" y="1016"/>
                    </a:lnTo>
                    <a:lnTo>
                      <a:pt x="3149" y="995"/>
                    </a:lnTo>
                    <a:lnTo>
                      <a:pt x="3132" y="1016"/>
                    </a:lnTo>
                    <a:lnTo>
                      <a:pt x="3095" y="1016"/>
                    </a:lnTo>
                    <a:lnTo>
                      <a:pt x="3090" y="1011"/>
                    </a:lnTo>
                    <a:lnTo>
                      <a:pt x="3061" y="1028"/>
                    </a:lnTo>
                    <a:lnTo>
                      <a:pt x="3057" y="1016"/>
                    </a:lnTo>
                    <a:lnTo>
                      <a:pt x="3078" y="978"/>
                    </a:lnTo>
                    <a:lnTo>
                      <a:pt x="3052" y="945"/>
                    </a:lnTo>
                    <a:lnTo>
                      <a:pt x="3073" y="955"/>
                    </a:lnTo>
                    <a:lnTo>
                      <a:pt x="3090" y="945"/>
                    </a:lnTo>
                    <a:lnTo>
                      <a:pt x="3073" y="945"/>
                    </a:lnTo>
                    <a:lnTo>
                      <a:pt x="3057" y="945"/>
                    </a:lnTo>
                    <a:lnTo>
                      <a:pt x="3040" y="933"/>
                    </a:lnTo>
                    <a:lnTo>
                      <a:pt x="3061" y="922"/>
                    </a:lnTo>
                    <a:lnTo>
                      <a:pt x="3078" y="933"/>
                    </a:lnTo>
                    <a:lnTo>
                      <a:pt x="3052" y="917"/>
                    </a:lnTo>
                    <a:lnTo>
                      <a:pt x="3052" y="905"/>
                    </a:lnTo>
                    <a:lnTo>
                      <a:pt x="3024" y="884"/>
                    </a:lnTo>
                    <a:lnTo>
                      <a:pt x="3019" y="851"/>
                    </a:lnTo>
                    <a:lnTo>
                      <a:pt x="3007" y="844"/>
                    </a:lnTo>
                    <a:lnTo>
                      <a:pt x="3024" y="834"/>
                    </a:lnTo>
                    <a:lnTo>
                      <a:pt x="3002" y="844"/>
                    </a:lnTo>
                    <a:lnTo>
                      <a:pt x="3002" y="822"/>
                    </a:lnTo>
                    <a:lnTo>
                      <a:pt x="2998" y="822"/>
                    </a:lnTo>
                    <a:lnTo>
                      <a:pt x="2948" y="789"/>
                    </a:lnTo>
                    <a:lnTo>
                      <a:pt x="2915" y="778"/>
                    </a:lnTo>
                    <a:lnTo>
                      <a:pt x="2856" y="756"/>
                    </a:lnTo>
                    <a:lnTo>
                      <a:pt x="2802" y="749"/>
                    </a:lnTo>
                    <a:lnTo>
                      <a:pt x="2764" y="723"/>
                    </a:lnTo>
                    <a:lnTo>
                      <a:pt x="2771" y="711"/>
                    </a:lnTo>
                    <a:lnTo>
                      <a:pt x="2787" y="711"/>
                    </a:lnTo>
                    <a:lnTo>
                      <a:pt x="2764" y="711"/>
                    </a:lnTo>
                    <a:lnTo>
                      <a:pt x="2754" y="716"/>
                    </a:lnTo>
                    <a:lnTo>
                      <a:pt x="2750" y="711"/>
                    </a:lnTo>
                    <a:lnTo>
                      <a:pt x="2738" y="716"/>
                    </a:lnTo>
                    <a:lnTo>
                      <a:pt x="2733" y="716"/>
                    </a:lnTo>
                    <a:lnTo>
                      <a:pt x="2733" y="700"/>
                    </a:lnTo>
                    <a:lnTo>
                      <a:pt x="2717" y="700"/>
                    </a:lnTo>
                    <a:lnTo>
                      <a:pt x="2712" y="683"/>
                    </a:lnTo>
                    <a:lnTo>
                      <a:pt x="2700" y="695"/>
                    </a:lnTo>
                    <a:lnTo>
                      <a:pt x="2695" y="678"/>
                    </a:lnTo>
                    <a:lnTo>
                      <a:pt x="2700" y="662"/>
                    </a:lnTo>
                    <a:lnTo>
                      <a:pt x="2712" y="655"/>
                    </a:lnTo>
                    <a:lnTo>
                      <a:pt x="2712" y="645"/>
                    </a:lnTo>
                    <a:lnTo>
                      <a:pt x="2695" y="655"/>
                    </a:lnTo>
                    <a:lnTo>
                      <a:pt x="2695" y="678"/>
                    </a:lnTo>
                    <a:lnTo>
                      <a:pt x="2683" y="678"/>
                    </a:lnTo>
                    <a:lnTo>
                      <a:pt x="2683" y="683"/>
                    </a:lnTo>
                    <a:lnTo>
                      <a:pt x="2679" y="700"/>
                    </a:lnTo>
                    <a:lnTo>
                      <a:pt x="2679" y="711"/>
                    </a:lnTo>
                    <a:lnTo>
                      <a:pt x="2662" y="723"/>
                    </a:lnTo>
                    <a:lnTo>
                      <a:pt x="2641" y="723"/>
                    </a:lnTo>
                    <a:lnTo>
                      <a:pt x="2629" y="695"/>
                    </a:lnTo>
                    <a:lnTo>
                      <a:pt x="2641" y="683"/>
                    </a:lnTo>
                    <a:lnTo>
                      <a:pt x="2641" y="678"/>
                    </a:lnTo>
                    <a:lnTo>
                      <a:pt x="2629" y="666"/>
                    </a:lnTo>
                    <a:lnTo>
                      <a:pt x="2624" y="666"/>
                    </a:lnTo>
                    <a:lnTo>
                      <a:pt x="2620" y="655"/>
                    </a:lnTo>
                    <a:lnTo>
                      <a:pt x="2603" y="638"/>
                    </a:lnTo>
                    <a:lnTo>
                      <a:pt x="2587" y="645"/>
                    </a:lnTo>
                    <a:lnTo>
                      <a:pt x="2575" y="629"/>
                    </a:lnTo>
                    <a:lnTo>
                      <a:pt x="2603" y="622"/>
                    </a:lnTo>
                    <a:lnTo>
                      <a:pt x="2629" y="629"/>
                    </a:lnTo>
                    <a:lnTo>
                      <a:pt x="2646" y="605"/>
                    </a:lnTo>
                    <a:lnTo>
                      <a:pt x="2662" y="605"/>
                    </a:lnTo>
                    <a:lnTo>
                      <a:pt x="2683" y="612"/>
                    </a:lnTo>
                    <a:lnTo>
                      <a:pt x="2695" y="612"/>
                    </a:lnTo>
                    <a:lnTo>
                      <a:pt x="2695" y="622"/>
                    </a:lnTo>
                    <a:lnTo>
                      <a:pt x="2700" y="605"/>
                    </a:lnTo>
                    <a:lnTo>
                      <a:pt x="2712" y="622"/>
                    </a:lnTo>
                    <a:lnTo>
                      <a:pt x="2700" y="605"/>
                    </a:lnTo>
                    <a:lnTo>
                      <a:pt x="2717" y="600"/>
                    </a:lnTo>
                    <a:lnTo>
                      <a:pt x="2717" y="589"/>
                    </a:lnTo>
                    <a:lnTo>
                      <a:pt x="2712" y="600"/>
                    </a:lnTo>
                    <a:lnTo>
                      <a:pt x="2700" y="589"/>
                    </a:lnTo>
                    <a:lnTo>
                      <a:pt x="2717" y="584"/>
                    </a:lnTo>
                    <a:lnTo>
                      <a:pt x="2695" y="589"/>
                    </a:lnTo>
                    <a:lnTo>
                      <a:pt x="2674" y="589"/>
                    </a:lnTo>
                    <a:lnTo>
                      <a:pt x="2624" y="600"/>
                    </a:lnTo>
                    <a:lnTo>
                      <a:pt x="2620" y="589"/>
                    </a:lnTo>
                    <a:lnTo>
                      <a:pt x="2603" y="589"/>
                    </a:lnTo>
                    <a:lnTo>
                      <a:pt x="2575" y="584"/>
                    </a:lnTo>
                    <a:lnTo>
                      <a:pt x="2570" y="551"/>
                    </a:lnTo>
                    <a:lnTo>
                      <a:pt x="2523" y="527"/>
                    </a:lnTo>
                    <a:lnTo>
                      <a:pt x="2532" y="534"/>
                    </a:lnTo>
                    <a:lnTo>
                      <a:pt x="2523" y="534"/>
                    </a:lnTo>
                    <a:lnTo>
                      <a:pt x="2511" y="527"/>
                    </a:lnTo>
                    <a:lnTo>
                      <a:pt x="2523" y="511"/>
                    </a:lnTo>
                    <a:lnTo>
                      <a:pt x="2523" y="489"/>
                    </a:lnTo>
                    <a:lnTo>
                      <a:pt x="2570" y="478"/>
                    </a:lnTo>
                    <a:lnTo>
                      <a:pt x="2587" y="461"/>
                    </a:lnTo>
                    <a:lnTo>
                      <a:pt x="2608" y="456"/>
                    </a:lnTo>
                    <a:lnTo>
                      <a:pt x="2662" y="473"/>
                    </a:lnTo>
                    <a:lnTo>
                      <a:pt x="2679" y="478"/>
                    </a:lnTo>
                    <a:lnTo>
                      <a:pt x="2717" y="478"/>
                    </a:lnTo>
                    <a:lnTo>
                      <a:pt x="2726" y="489"/>
                    </a:lnTo>
                    <a:lnTo>
                      <a:pt x="2717" y="494"/>
                    </a:lnTo>
                    <a:lnTo>
                      <a:pt x="2738" y="527"/>
                    </a:lnTo>
                    <a:lnTo>
                      <a:pt x="2726" y="551"/>
                    </a:lnTo>
                    <a:lnTo>
                      <a:pt x="2733" y="600"/>
                    </a:lnTo>
                    <a:lnTo>
                      <a:pt x="2750" y="638"/>
                    </a:lnTo>
                    <a:lnTo>
                      <a:pt x="2754" y="629"/>
                    </a:lnTo>
                    <a:lnTo>
                      <a:pt x="2754" y="612"/>
                    </a:lnTo>
                    <a:lnTo>
                      <a:pt x="2754" y="605"/>
                    </a:lnTo>
                    <a:lnTo>
                      <a:pt x="2764" y="605"/>
                    </a:lnTo>
                    <a:lnTo>
                      <a:pt x="2771" y="645"/>
                    </a:lnTo>
                    <a:lnTo>
                      <a:pt x="2780" y="638"/>
                    </a:lnTo>
                    <a:lnTo>
                      <a:pt x="2780" y="655"/>
                    </a:lnTo>
                    <a:lnTo>
                      <a:pt x="2780" y="662"/>
                    </a:lnTo>
                    <a:lnTo>
                      <a:pt x="2792" y="666"/>
                    </a:lnTo>
                    <a:lnTo>
                      <a:pt x="2825" y="666"/>
                    </a:lnTo>
                    <a:lnTo>
                      <a:pt x="2856" y="645"/>
                    </a:lnTo>
                    <a:lnTo>
                      <a:pt x="2863" y="622"/>
                    </a:lnTo>
                    <a:lnTo>
                      <a:pt x="2877" y="612"/>
                    </a:lnTo>
                    <a:lnTo>
                      <a:pt x="2889" y="589"/>
                    </a:lnTo>
                    <a:lnTo>
                      <a:pt x="2910" y="589"/>
                    </a:lnTo>
                    <a:lnTo>
                      <a:pt x="2943" y="584"/>
                    </a:lnTo>
                    <a:lnTo>
                      <a:pt x="2943" y="555"/>
                    </a:lnTo>
                    <a:lnTo>
                      <a:pt x="2986" y="534"/>
                    </a:lnTo>
                    <a:lnTo>
                      <a:pt x="3128" y="600"/>
                    </a:lnTo>
                    <a:lnTo>
                      <a:pt x="3149" y="600"/>
                    </a:lnTo>
                    <a:lnTo>
                      <a:pt x="3165" y="605"/>
                    </a:lnTo>
                    <a:lnTo>
                      <a:pt x="3187" y="605"/>
                    </a:lnTo>
                    <a:lnTo>
                      <a:pt x="3187" y="622"/>
                    </a:lnTo>
                    <a:lnTo>
                      <a:pt x="3213" y="612"/>
                    </a:lnTo>
                    <a:lnTo>
                      <a:pt x="3213" y="612"/>
                    </a:lnTo>
                    <a:lnTo>
                      <a:pt x="3213" y="612"/>
                    </a:lnTo>
                    <a:close/>
                    <a:moveTo>
                      <a:pt x="1869" y="461"/>
                    </a:moveTo>
                    <a:lnTo>
                      <a:pt x="1852" y="473"/>
                    </a:lnTo>
                    <a:lnTo>
                      <a:pt x="1864" y="456"/>
                    </a:lnTo>
                    <a:lnTo>
                      <a:pt x="1869" y="461"/>
                    </a:lnTo>
                    <a:lnTo>
                      <a:pt x="1869" y="461"/>
                    </a:lnTo>
                    <a:lnTo>
                      <a:pt x="1869" y="461"/>
                    </a:lnTo>
                    <a:close/>
                    <a:moveTo>
                      <a:pt x="2485" y="456"/>
                    </a:moveTo>
                    <a:lnTo>
                      <a:pt x="2485" y="461"/>
                    </a:lnTo>
                    <a:lnTo>
                      <a:pt x="2469" y="461"/>
                    </a:lnTo>
                    <a:lnTo>
                      <a:pt x="2485" y="456"/>
                    </a:lnTo>
                    <a:lnTo>
                      <a:pt x="2485" y="456"/>
                    </a:lnTo>
                    <a:lnTo>
                      <a:pt x="2485" y="456"/>
                    </a:lnTo>
                    <a:close/>
                    <a:moveTo>
                      <a:pt x="2246" y="473"/>
                    </a:moveTo>
                    <a:lnTo>
                      <a:pt x="2246" y="489"/>
                    </a:lnTo>
                    <a:lnTo>
                      <a:pt x="2242" y="489"/>
                    </a:lnTo>
                    <a:lnTo>
                      <a:pt x="2246" y="473"/>
                    </a:lnTo>
                    <a:lnTo>
                      <a:pt x="2246" y="473"/>
                    </a:lnTo>
                    <a:lnTo>
                      <a:pt x="2246" y="473"/>
                    </a:lnTo>
                    <a:close/>
                    <a:moveTo>
                      <a:pt x="2818" y="478"/>
                    </a:moveTo>
                    <a:lnTo>
                      <a:pt x="2839" y="478"/>
                    </a:lnTo>
                    <a:lnTo>
                      <a:pt x="2846" y="478"/>
                    </a:lnTo>
                    <a:lnTo>
                      <a:pt x="2872" y="501"/>
                    </a:lnTo>
                    <a:lnTo>
                      <a:pt x="2889" y="511"/>
                    </a:lnTo>
                    <a:lnTo>
                      <a:pt x="2872" y="518"/>
                    </a:lnTo>
                    <a:lnTo>
                      <a:pt x="2846" y="511"/>
                    </a:lnTo>
                    <a:lnTo>
                      <a:pt x="2839" y="489"/>
                    </a:lnTo>
                    <a:lnTo>
                      <a:pt x="2835" y="494"/>
                    </a:lnTo>
                    <a:lnTo>
                      <a:pt x="2825" y="489"/>
                    </a:lnTo>
                    <a:lnTo>
                      <a:pt x="2818" y="478"/>
                    </a:lnTo>
                    <a:lnTo>
                      <a:pt x="2818" y="478"/>
                    </a:lnTo>
                    <a:lnTo>
                      <a:pt x="2818" y="478"/>
                    </a:lnTo>
                    <a:close/>
                    <a:moveTo>
                      <a:pt x="2495" y="489"/>
                    </a:moveTo>
                    <a:lnTo>
                      <a:pt x="2499" y="489"/>
                    </a:lnTo>
                    <a:lnTo>
                      <a:pt x="2495" y="489"/>
                    </a:lnTo>
                    <a:lnTo>
                      <a:pt x="2461" y="494"/>
                    </a:lnTo>
                    <a:lnTo>
                      <a:pt x="2469" y="489"/>
                    </a:lnTo>
                    <a:lnTo>
                      <a:pt x="2495" y="489"/>
                    </a:lnTo>
                    <a:lnTo>
                      <a:pt x="2495" y="489"/>
                    </a:lnTo>
                    <a:lnTo>
                      <a:pt x="2495" y="489"/>
                    </a:lnTo>
                    <a:close/>
                    <a:moveTo>
                      <a:pt x="2499" y="494"/>
                    </a:moveTo>
                    <a:lnTo>
                      <a:pt x="2516" y="494"/>
                    </a:lnTo>
                    <a:lnTo>
                      <a:pt x="2511" y="527"/>
                    </a:lnTo>
                    <a:lnTo>
                      <a:pt x="2495" y="518"/>
                    </a:lnTo>
                    <a:lnTo>
                      <a:pt x="2485" y="501"/>
                    </a:lnTo>
                    <a:lnTo>
                      <a:pt x="2499" y="494"/>
                    </a:lnTo>
                    <a:lnTo>
                      <a:pt x="2499" y="494"/>
                    </a:lnTo>
                    <a:lnTo>
                      <a:pt x="2499" y="494"/>
                    </a:lnTo>
                    <a:close/>
                    <a:moveTo>
                      <a:pt x="286" y="551"/>
                    </a:moveTo>
                    <a:lnTo>
                      <a:pt x="279" y="546"/>
                    </a:lnTo>
                    <a:lnTo>
                      <a:pt x="279" y="555"/>
                    </a:lnTo>
                    <a:lnTo>
                      <a:pt x="269" y="555"/>
                    </a:lnTo>
                    <a:lnTo>
                      <a:pt x="248" y="546"/>
                    </a:lnTo>
                    <a:lnTo>
                      <a:pt x="232" y="511"/>
                    </a:lnTo>
                    <a:lnTo>
                      <a:pt x="236" y="494"/>
                    </a:lnTo>
                    <a:lnTo>
                      <a:pt x="253" y="494"/>
                    </a:lnTo>
                    <a:lnTo>
                      <a:pt x="286" y="551"/>
                    </a:lnTo>
                    <a:lnTo>
                      <a:pt x="286" y="551"/>
                    </a:lnTo>
                    <a:lnTo>
                      <a:pt x="286" y="551"/>
                    </a:lnTo>
                    <a:close/>
                    <a:moveTo>
                      <a:pt x="2780" y="494"/>
                    </a:moveTo>
                    <a:lnTo>
                      <a:pt x="2787" y="501"/>
                    </a:lnTo>
                    <a:lnTo>
                      <a:pt x="2780" y="511"/>
                    </a:lnTo>
                    <a:lnTo>
                      <a:pt x="2771" y="501"/>
                    </a:lnTo>
                    <a:lnTo>
                      <a:pt x="2780" y="494"/>
                    </a:lnTo>
                    <a:lnTo>
                      <a:pt x="2780" y="494"/>
                    </a:lnTo>
                    <a:lnTo>
                      <a:pt x="2780" y="494"/>
                    </a:lnTo>
                    <a:close/>
                    <a:moveTo>
                      <a:pt x="1021" y="501"/>
                    </a:moveTo>
                    <a:lnTo>
                      <a:pt x="1021" y="511"/>
                    </a:lnTo>
                    <a:lnTo>
                      <a:pt x="999" y="518"/>
                    </a:lnTo>
                    <a:lnTo>
                      <a:pt x="999" y="501"/>
                    </a:lnTo>
                    <a:lnTo>
                      <a:pt x="1021" y="501"/>
                    </a:lnTo>
                    <a:lnTo>
                      <a:pt x="1021" y="501"/>
                    </a:lnTo>
                    <a:lnTo>
                      <a:pt x="1021" y="501"/>
                    </a:lnTo>
                    <a:close/>
                    <a:moveTo>
                      <a:pt x="2431" y="511"/>
                    </a:moveTo>
                    <a:lnTo>
                      <a:pt x="2414" y="518"/>
                    </a:lnTo>
                    <a:lnTo>
                      <a:pt x="2431" y="511"/>
                    </a:lnTo>
                    <a:lnTo>
                      <a:pt x="2431" y="511"/>
                    </a:lnTo>
                    <a:lnTo>
                      <a:pt x="2431" y="511"/>
                    </a:lnTo>
                    <a:close/>
                    <a:moveTo>
                      <a:pt x="1982" y="518"/>
                    </a:moveTo>
                    <a:lnTo>
                      <a:pt x="1977" y="534"/>
                    </a:lnTo>
                    <a:lnTo>
                      <a:pt x="1970" y="534"/>
                    </a:lnTo>
                    <a:lnTo>
                      <a:pt x="1961" y="546"/>
                    </a:lnTo>
                    <a:lnTo>
                      <a:pt x="1954" y="546"/>
                    </a:lnTo>
                    <a:lnTo>
                      <a:pt x="1961" y="534"/>
                    </a:lnTo>
                    <a:lnTo>
                      <a:pt x="1954" y="527"/>
                    </a:lnTo>
                    <a:lnTo>
                      <a:pt x="1939" y="546"/>
                    </a:lnTo>
                    <a:lnTo>
                      <a:pt x="1928" y="534"/>
                    </a:lnTo>
                    <a:lnTo>
                      <a:pt x="1939" y="511"/>
                    </a:lnTo>
                    <a:lnTo>
                      <a:pt x="1961" y="511"/>
                    </a:lnTo>
                    <a:lnTo>
                      <a:pt x="1961" y="527"/>
                    </a:lnTo>
                    <a:lnTo>
                      <a:pt x="1977" y="518"/>
                    </a:lnTo>
                    <a:lnTo>
                      <a:pt x="1982" y="518"/>
                    </a:lnTo>
                    <a:lnTo>
                      <a:pt x="1982" y="518"/>
                    </a:lnTo>
                    <a:lnTo>
                      <a:pt x="1982" y="518"/>
                    </a:lnTo>
                    <a:close/>
                    <a:moveTo>
                      <a:pt x="2268" y="511"/>
                    </a:moveTo>
                    <a:lnTo>
                      <a:pt x="2268" y="518"/>
                    </a:lnTo>
                    <a:lnTo>
                      <a:pt x="2263" y="518"/>
                    </a:lnTo>
                    <a:lnTo>
                      <a:pt x="2268" y="511"/>
                    </a:lnTo>
                    <a:lnTo>
                      <a:pt x="2268" y="511"/>
                    </a:lnTo>
                    <a:lnTo>
                      <a:pt x="2268" y="511"/>
                    </a:lnTo>
                    <a:close/>
                    <a:moveTo>
                      <a:pt x="2251" y="546"/>
                    </a:moveTo>
                    <a:lnTo>
                      <a:pt x="2263" y="534"/>
                    </a:lnTo>
                    <a:lnTo>
                      <a:pt x="2268" y="527"/>
                    </a:lnTo>
                    <a:lnTo>
                      <a:pt x="2306" y="551"/>
                    </a:lnTo>
                    <a:lnTo>
                      <a:pt x="2301" y="551"/>
                    </a:lnTo>
                    <a:lnTo>
                      <a:pt x="2268" y="551"/>
                    </a:lnTo>
                    <a:lnTo>
                      <a:pt x="2251" y="551"/>
                    </a:lnTo>
                    <a:lnTo>
                      <a:pt x="2251" y="546"/>
                    </a:lnTo>
                    <a:lnTo>
                      <a:pt x="2251" y="546"/>
                    </a:lnTo>
                    <a:lnTo>
                      <a:pt x="2251" y="546"/>
                    </a:lnTo>
                    <a:close/>
                    <a:moveTo>
                      <a:pt x="803" y="645"/>
                    </a:moveTo>
                    <a:lnTo>
                      <a:pt x="803" y="655"/>
                    </a:lnTo>
                    <a:lnTo>
                      <a:pt x="787" y="655"/>
                    </a:lnTo>
                    <a:lnTo>
                      <a:pt x="787" y="645"/>
                    </a:lnTo>
                    <a:lnTo>
                      <a:pt x="749" y="629"/>
                    </a:lnTo>
                    <a:lnTo>
                      <a:pt x="749" y="622"/>
                    </a:lnTo>
                    <a:lnTo>
                      <a:pt x="749" y="605"/>
                    </a:lnTo>
                    <a:lnTo>
                      <a:pt x="739" y="600"/>
                    </a:lnTo>
                    <a:lnTo>
                      <a:pt x="735" y="584"/>
                    </a:lnTo>
                    <a:lnTo>
                      <a:pt x="697" y="572"/>
                    </a:lnTo>
                    <a:lnTo>
                      <a:pt x="697" y="567"/>
                    </a:lnTo>
                    <a:lnTo>
                      <a:pt x="711" y="555"/>
                    </a:lnTo>
                    <a:lnTo>
                      <a:pt x="711" y="551"/>
                    </a:lnTo>
                    <a:lnTo>
                      <a:pt x="711" y="546"/>
                    </a:lnTo>
                    <a:lnTo>
                      <a:pt x="723" y="546"/>
                    </a:lnTo>
                    <a:lnTo>
                      <a:pt x="735" y="551"/>
                    </a:lnTo>
                    <a:lnTo>
                      <a:pt x="739" y="555"/>
                    </a:lnTo>
                    <a:lnTo>
                      <a:pt x="735" y="546"/>
                    </a:lnTo>
                    <a:lnTo>
                      <a:pt x="749" y="534"/>
                    </a:lnTo>
                    <a:lnTo>
                      <a:pt x="756" y="546"/>
                    </a:lnTo>
                    <a:lnTo>
                      <a:pt x="773" y="600"/>
                    </a:lnTo>
                    <a:lnTo>
                      <a:pt x="810" y="612"/>
                    </a:lnTo>
                    <a:lnTo>
                      <a:pt x="794" y="638"/>
                    </a:lnTo>
                    <a:lnTo>
                      <a:pt x="803" y="645"/>
                    </a:lnTo>
                    <a:lnTo>
                      <a:pt x="803" y="645"/>
                    </a:lnTo>
                    <a:lnTo>
                      <a:pt x="803" y="645"/>
                    </a:lnTo>
                    <a:close/>
                    <a:moveTo>
                      <a:pt x="966" y="546"/>
                    </a:moveTo>
                    <a:lnTo>
                      <a:pt x="954" y="551"/>
                    </a:lnTo>
                    <a:lnTo>
                      <a:pt x="950" y="546"/>
                    </a:lnTo>
                    <a:lnTo>
                      <a:pt x="966" y="546"/>
                    </a:lnTo>
                    <a:lnTo>
                      <a:pt x="966" y="546"/>
                    </a:lnTo>
                    <a:lnTo>
                      <a:pt x="966" y="546"/>
                    </a:lnTo>
                    <a:close/>
                    <a:moveTo>
                      <a:pt x="2825" y="546"/>
                    </a:moveTo>
                    <a:lnTo>
                      <a:pt x="2927" y="555"/>
                    </a:lnTo>
                    <a:lnTo>
                      <a:pt x="2894" y="567"/>
                    </a:lnTo>
                    <a:lnTo>
                      <a:pt x="2872" y="567"/>
                    </a:lnTo>
                    <a:lnTo>
                      <a:pt x="2818" y="546"/>
                    </a:lnTo>
                    <a:lnTo>
                      <a:pt x="2825" y="546"/>
                    </a:lnTo>
                    <a:lnTo>
                      <a:pt x="2825" y="546"/>
                    </a:lnTo>
                    <a:lnTo>
                      <a:pt x="2825" y="546"/>
                    </a:lnTo>
                    <a:close/>
                    <a:moveTo>
                      <a:pt x="2046" y="551"/>
                    </a:moveTo>
                    <a:lnTo>
                      <a:pt x="2100" y="551"/>
                    </a:lnTo>
                    <a:lnTo>
                      <a:pt x="2105" y="551"/>
                    </a:lnTo>
                    <a:lnTo>
                      <a:pt x="2105" y="567"/>
                    </a:lnTo>
                    <a:lnTo>
                      <a:pt x="2079" y="567"/>
                    </a:lnTo>
                    <a:lnTo>
                      <a:pt x="2046" y="572"/>
                    </a:lnTo>
                    <a:lnTo>
                      <a:pt x="2036" y="555"/>
                    </a:lnTo>
                    <a:lnTo>
                      <a:pt x="2046" y="551"/>
                    </a:lnTo>
                    <a:lnTo>
                      <a:pt x="2046" y="551"/>
                    </a:lnTo>
                    <a:lnTo>
                      <a:pt x="2046" y="551"/>
                    </a:lnTo>
                    <a:close/>
                    <a:moveTo>
                      <a:pt x="2461" y="551"/>
                    </a:moveTo>
                    <a:lnTo>
                      <a:pt x="2469" y="555"/>
                    </a:lnTo>
                    <a:lnTo>
                      <a:pt x="2461" y="572"/>
                    </a:lnTo>
                    <a:lnTo>
                      <a:pt x="2445" y="572"/>
                    </a:lnTo>
                    <a:lnTo>
                      <a:pt x="2414" y="567"/>
                    </a:lnTo>
                    <a:lnTo>
                      <a:pt x="2461" y="551"/>
                    </a:lnTo>
                    <a:lnTo>
                      <a:pt x="2461" y="551"/>
                    </a:lnTo>
                    <a:lnTo>
                      <a:pt x="2461" y="551"/>
                    </a:lnTo>
                    <a:close/>
                    <a:moveTo>
                      <a:pt x="1961" y="555"/>
                    </a:moveTo>
                    <a:lnTo>
                      <a:pt x="1954" y="567"/>
                    </a:lnTo>
                    <a:lnTo>
                      <a:pt x="1954" y="555"/>
                    </a:lnTo>
                    <a:lnTo>
                      <a:pt x="1961" y="555"/>
                    </a:lnTo>
                    <a:lnTo>
                      <a:pt x="1961" y="555"/>
                    </a:lnTo>
                    <a:lnTo>
                      <a:pt x="1961" y="555"/>
                    </a:lnTo>
                    <a:close/>
                    <a:moveTo>
                      <a:pt x="2117" y="555"/>
                    </a:moveTo>
                    <a:lnTo>
                      <a:pt x="2187" y="555"/>
                    </a:lnTo>
                    <a:lnTo>
                      <a:pt x="2121" y="567"/>
                    </a:lnTo>
                    <a:lnTo>
                      <a:pt x="2105" y="567"/>
                    </a:lnTo>
                    <a:lnTo>
                      <a:pt x="2117" y="555"/>
                    </a:lnTo>
                    <a:lnTo>
                      <a:pt x="2117" y="555"/>
                    </a:lnTo>
                    <a:lnTo>
                      <a:pt x="2117" y="555"/>
                    </a:lnTo>
                    <a:close/>
                    <a:moveTo>
                      <a:pt x="2008" y="567"/>
                    </a:moveTo>
                    <a:lnTo>
                      <a:pt x="2008" y="572"/>
                    </a:lnTo>
                    <a:lnTo>
                      <a:pt x="1998" y="567"/>
                    </a:lnTo>
                    <a:lnTo>
                      <a:pt x="2008" y="567"/>
                    </a:lnTo>
                    <a:lnTo>
                      <a:pt x="2008" y="567"/>
                    </a:lnTo>
                    <a:lnTo>
                      <a:pt x="2008" y="567"/>
                    </a:lnTo>
                    <a:close/>
                    <a:moveTo>
                      <a:pt x="2154" y="572"/>
                    </a:moveTo>
                    <a:lnTo>
                      <a:pt x="2159" y="605"/>
                    </a:lnTo>
                    <a:lnTo>
                      <a:pt x="2143" y="584"/>
                    </a:lnTo>
                    <a:lnTo>
                      <a:pt x="2154" y="572"/>
                    </a:lnTo>
                    <a:lnTo>
                      <a:pt x="2154" y="572"/>
                    </a:lnTo>
                    <a:lnTo>
                      <a:pt x="2154" y="572"/>
                    </a:lnTo>
                    <a:close/>
                    <a:moveTo>
                      <a:pt x="324" y="600"/>
                    </a:moveTo>
                    <a:lnTo>
                      <a:pt x="302" y="589"/>
                    </a:lnTo>
                    <a:lnTo>
                      <a:pt x="302" y="572"/>
                    </a:lnTo>
                    <a:lnTo>
                      <a:pt x="307" y="572"/>
                    </a:lnTo>
                    <a:lnTo>
                      <a:pt x="324" y="600"/>
                    </a:lnTo>
                    <a:lnTo>
                      <a:pt x="324" y="600"/>
                    </a:lnTo>
                    <a:lnTo>
                      <a:pt x="324" y="600"/>
                    </a:lnTo>
                    <a:close/>
                    <a:moveTo>
                      <a:pt x="345" y="629"/>
                    </a:moveTo>
                    <a:lnTo>
                      <a:pt x="333" y="629"/>
                    </a:lnTo>
                    <a:lnTo>
                      <a:pt x="333" y="605"/>
                    </a:lnTo>
                    <a:lnTo>
                      <a:pt x="345" y="629"/>
                    </a:lnTo>
                    <a:lnTo>
                      <a:pt x="345" y="629"/>
                    </a:lnTo>
                    <a:lnTo>
                      <a:pt x="345" y="629"/>
                    </a:lnTo>
                    <a:close/>
                    <a:moveTo>
                      <a:pt x="862" y="629"/>
                    </a:moveTo>
                    <a:lnTo>
                      <a:pt x="874" y="612"/>
                    </a:lnTo>
                    <a:lnTo>
                      <a:pt x="879" y="612"/>
                    </a:lnTo>
                    <a:lnTo>
                      <a:pt x="900" y="612"/>
                    </a:lnTo>
                    <a:lnTo>
                      <a:pt x="917" y="638"/>
                    </a:lnTo>
                    <a:lnTo>
                      <a:pt x="900" y="662"/>
                    </a:lnTo>
                    <a:lnTo>
                      <a:pt x="895" y="662"/>
                    </a:lnTo>
                    <a:lnTo>
                      <a:pt x="891" y="645"/>
                    </a:lnTo>
                    <a:lnTo>
                      <a:pt x="879" y="655"/>
                    </a:lnTo>
                    <a:lnTo>
                      <a:pt x="862" y="662"/>
                    </a:lnTo>
                    <a:lnTo>
                      <a:pt x="862" y="629"/>
                    </a:lnTo>
                    <a:lnTo>
                      <a:pt x="862" y="629"/>
                    </a:lnTo>
                    <a:lnTo>
                      <a:pt x="862" y="629"/>
                    </a:lnTo>
                    <a:close/>
                    <a:moveTo>
                      <a:pt x="361" y="666"/>
                    </a:moveTo>
                    <a:lnTo>
                      <a:pt x="345" y="645"/>
                    </a:lnTo>
                    <a:lnTo>
                      <a:pt x="345" y="629"/>
                    </a:lnTo>
                    <a:lnTo>
                      <a:pt x="361" y="645"/>
                    </a:lnTo>
                    <a:lnTo>
                      <a:pt x="361" y="655"/>
                    </a:lnTo>
                    <a:lnTo>
                      <a:pt x="361" y="666"/>
                    </a:lnTo>
                    <a:lnTo>
                      <a:pt x="361" y="666"/>
                    </a:lnTo>
                    <a:lnTo>
                      <a:pt x="361" y="666"/>
                    </a:lnTo>
                    <a:close/>
                    <a:moveTo>
                      <a:pt x="2294" y="683"/>
                    </a:moveTo>
                    <a:lnTo>
                      <a:pt x="2284" y="662"/>
                    </a:lnTo>
                    <a:lnTo>
                      <a:pt x="2306" y="638"/>
                    </a:lnTo>
                    <a:lnTo>
                      <a:pt x="2360" y="638"/>
                    </a:lnTo>
                    <a:lnTo>
                      <a:pt x="2376" y="645"/>
                    </a:lnTo>
                    <a:lnTo>
                      <a:pt x="2407" y="629"/>
                    </a:lnTo>
                    <a:lnTo>
                      <a:pt x="2440" y="645"/>
                    </a:lnTo>
                    <a:lnTo>
                      <a:pt x="2461" y="645"/>
                    </a:lnTo>
                    <a:lnTo>
                      <a:pt x="2478" y="655"/>
                    </a:lnTo>
                    <a:lnTo>
                      <a:pt x="2485" y="666"/>
                    </a:lnTo>
                    <a:lnTo>
                      <a:pt x="2495" y="678"/>
                    </a:lnTo>
                    <a:lnTo>
                      <a:pt x="2499" y="683"/>
                    </a:lnTo>
                    <a:lnTo>
                      <a:pt x="2495" y="711"/>
                    </a:lnTo>
                    <a:lnTo>
                      <a:pt x="2440" y="678"/>
                    </a:lnTo>
                    <a:lnTo>
                      <a:pt x="2431" y="666"/>
                    </a:lnTo>
                    <a:lnTo>
                      <a:pt x="2402" y="666"/>
                    </a:lnTo>
                    <a:lnTo>
                      <a:pt x="2402" y="678"/>
                    </a:lnTo>
                    <a:lnTo>
                      <a:pt x="2360" y="666"/>
                    </a:lnTo>
                    <a:lnTo>
                      <a:pt x="2369" y="662"/>
                    </a:lnTo>
                    <a:lnTo>
                      <a:pt x="2360" y="662"/>
                    </a:lnTo>
                    <a:lnTo>
                      <a:pt x="2332" y="678"/>
                    </a:lnTo>
                    <a:lnTo>
                      <a:pt x="2306" y="655"/>
                    </a:lnTo>
                    <a:lnTo>
                      <a:pt x="2294" y="683"/>
                    </a:lnTo>
                    <a:lnTo>
                      <a:pt x="2294" y="683"/>
                    </a:lnTo>
                    <a:lnTo>
                      <a:pt x="2294" y="683"/>
                    </a:lnTo>
                    <a:close/>
                    <a:moveTo>
                      <a:pt x="858" y="629"/>
                    </a:moveTo>
                    <a:lnTo>
                      <a:pt x="858" y="638"/>
                    </a:lnTo>
                    <a:lnTo>
                      <a:pt x="848" y="638"/>
                    </a:lnTo>
                    <a:lnTo>
                      <a:pt x="858" y="629"/>
                    </a:lnTo>
                    <a:lnTo>
                      <a:pt x="858" y="629"/>
                    </a:lnTo>
                    <a:lnTo>
                      <a:pt x="858" y="629"/>
                    </a:lnTo>
                    <a:close/>
                    <a:moveTo>
                      <a:pt x="810" y="638"/>
                    </a:moveTo>
                    <a:lnTo>
                      <a:pt x="820" y="638"/>
                    </a:lnTo>
                    <a:lnTo>
                      <a:pt x="820" y="645"/>
                    </a:lnTo>
                    <a:lnTo>
                      <a:pt x="803" y="645"/>
                    </a:lnTo>
                    <a:lnTo>
                      <a:pt x="810" y="638"/>
                    </a:lnTo>
                    <a:lnTo>
                      <a:pt x="810" y="638"/>
                    </a:lnTo>
                    <a:lnTo>
                      <a:pt x="810" y="638"/>
                    </a:lnTo>
                    <a:close/>
                    <a:moveTo>
                      <a:pt x="2294" y="638"/>
                    </a:moveTo>
                    <a:lnTo>
                      <a:pt x="2294" y="645"/>
                    </a:lnTo>
                    <a:lnTo>
                      <a:pt x="2284" y="645"/>
                    </a:lnTo>
                    <a:lnTo>
                      <a:pt x="2294" y="638"/>
                    </a:lnTo>
                    <a:lnTo>
                      <a:pt x="2294" y="638"/>
                    </a:lnTo>
                    <a:lnTo>
                      <a:pt x="2294" y="638"/>
                    </a:lnTo>
                    <a:close/>
                    <a:moveTo>
                      <a:pt x="2171" y="655"/>
                    </a:moveTo>
                    <a:lnTo>
                      <a:pt x="2171" y="662"/>
                    </a:lnTo>
                    <a:lnTo>
                      <a:pt x="2187" y="655"/>
                    </a:lnTo>
                    <a:lnTo>
                      <a:pt x="2209" y="645"/>
                    </a:lnTo>
                    <a:lnTo>
                      <a:pt x="2230" y="655"/>
                    </a:lnTo>
                    <a:lnTo>
                      <a:pt x="2242" y="662"/>
                    </a:lnTo>
                    <a:lnTo>
                      <a:pt x="2230" y="666"/>
                    </a:lnTo>
                    <a:lnTo>
                      <a:pt x="2246" y="666"/>
                    </a:lnTo>
                    <a:lnTo>
                      <a:pt x="2246" y="695"/>
                    </a:lnTo>
                    <a:lnTo>
                      <a:pt x="2209" y="700"/>
                    </a:lnTo>
                    <a:lnTo>
                      <a:pt x="2192" y="700"/>
                    </a:lnTo>
                    <a:lnTo>
                      <a:pt x="2159" y="678"/>
                    </a:lnTo>
                    <a:lnTo>
                      <a:pt x="2159" y="662"/>
                    </a:lnTo>
                    <a:lnTo>
                      <a:pt x="2171" y="655"/>
                    </a:lnTo>
                    <a:lnTo>
                      <a:pt x="2171" y="655"/>
                    </a:lnTo>
                    <a:lnTo>
                      <a:pt x="2171" y="655"/>
                    </a:lnTo>
                    <a:close/>
                    <a:moveTo>
                      <a:pt x="2280" y="655"/>
                    </a:moveTo>
                    <a:lnTo>
                      <a:pt x="2284" y="662"/>
                    </a:lnTo>
                    <a:lnTo>
                      <a:pt x="2268" y="662"/>
                    </a:lnTo>
                    <a:lnTo>
                      <a:pt x="2280" y="655"/>
                    </a:lnTo>
                    <a:lnTo>
                      <a:pt x="2280" y="655"/>
                    </a:lnTo>
                    <a:lnTo>
                      <a:pt x="2280" y="655"/>
                    </a:lnTo>
                    <a:close/>
                    <a:moveTo>
                      <a:pt x="1474" y="662"/>
                    </a:moveTo>
                    <a:lnTo>
                      <a:pt x="1474" y="711"/>
                    </a:lnTo>
                    <a:lnTo>
                      <a:pt x="1458" y="716"/>
                    </a:lnTo>
                    <a:lnTo>
                      <a:pt x="1458" y="695"/>
                    </a:lnTo>
                    <a:lnTo>
                      <a:pt x="1469" y="666"/>
                    </a:lnTo>
                    <a:lnTo>
                      <a:pt x="1474" y="662"/>
                    </a:lnTo>
                    <a:lnTo>
                      <a:pt x="1474" y="662"/>
                    </a:lnTo>
                    <a:lnTo>
                      <a:pt x="1474" y="662"/>
                    </a:lnTo>
                    <a:close/>
                    <a:moveTo>
                      <a:pt x="2268" y="662"/>
                    </a:moveTo>
                    <a:lnTo>
                      <a:pt x="2268" y="666"/>
                    </a:lnTo>
                    <a:lnTo>
                      <a:pt x="2263" y="666"/>
                    </a:lnTo>
                    <a:lnTo>
                      <a:pt x="2268" y="662"/>
                    </a:lnTo>
                    <a:lnTo>
                      <a:pt x="2268" y="662"/>
                    </a:lnTo>
                    <a:lnTo>
                      <a:pt x="2268" y="662"/>
                    </a:lnTo>
                    <a:close/>
                    <a:moveTo>
                      <a:pt x="1484" y="678"/>
                    </a:moveTo>
                    <a:lnTo>
                      <a:pt x="1484" y="695"/>
                    </a:lnTo>
                    <a:lnTo>
                      <a:pt x="1474" y="683"/>
                    </a:lnTo>
                    <a:lnTo>
                      <a:pt x="1484" y="678"/>
                    </a:lnTo>
                    <a:lnTo>
                      <a:pt x="1484" y="678"/>
                    </a:lnTo>
                    <a:lnTo>
                      <a:pt x="1484" y="678"/>
                    </a:lnTo>
                    <a:close/>
                    <a:moveTo>
                      <a:pt x="2339" y="678"/>
                    </a:moveTo>
                    <a:lnTo>
                      <a:pt x="2348" y="678"/>
                    </a:lnTo>
                    <a:lnTo>
                      <a:pt x="2348" y="683"/>
                    </a:lnTo>
                    <a:lnTo>
                      <a:pt x="2339" y="695"/>
                    </a:lnTo>
                    <a:lnTo>
                      <a:pt x="2339" y="678"/>
                    </a:lnTo>
                    <a:lnTo>
                      <a:pt x="2339" y="678"/>
                    </a:lnTo>
                    <a:lnTo>
                      <a:pt x="2339" y="678"/>
                    </a:lnTo>
                    <a:close/>
                    <a:moveTo>
                      <a:pt x="2301" y="683"/>
                    </a:moveTo>
                    <a:lnTo>
                      <a:pt x="2322" y="683"/>
                    </a:lnTo>
                    <a:lnTo>
                      <a:pt x="2317" y="700"/>
                    </a:lnTo>
                    <a:lnTo>
                      <a:pt x="2306" y="700"/>
                    </a:lnTo>
                    <a:lnTo>
                      <a:pt x="2306" y="695"/>
                    </a:lnTo>
                    <a:lnTo>
                      <a:pt x="2294" y="700"/>
                    </a:lnTo>
                    <a:lnTo>
                      <a:pt x="2294" y="695"/>
                    </a:lnTo>
                    <a:lnTo>
                      <a:pt x="2301" y="683"/>
                    </a:lnTo>
                    <a:lnTo>
                      <a:pt x="2301" y="683"/>
                    </a:lnTo>
                    <a:lnTo>
                      <a:pt x="2301" y="683"/>
                    </a:lnTo>
                    <a:close/>
                    <a:moveTo>
                      <a:pt x="2332" y="683"/>
                    </a:moveTo>
                    <a:lnTo>
                      <a:pt x="2339" y="683"/>
                    </a:lnTo>
                    <a:lnTo>
                      <a:pt x="2322" y="695"/>
                    </a:lnTo>
                    <a:lnTo>
                      <a:pt x="2332" y="683"/>
                    </a:lnTo>
                    <a:lnTo>
                      <a:pt x="2332" y="683"/>
                    </a:lnTo>
                    <a:lnTo>
                      <a:pt x="2332" y="683"/>
                    </a:lnTo>
                    <a:close/>
                    <a:moveTo>
                      <a:pt x="1954" y="683"/>
                    </a:moveTo>
                    <a:lnTo>
                      <a:pt x="1961" y="683"/>
                    </a:lnTo>
                    <a:lnTo>
                      <a:pt x="1954" y="695"/>
                    </a:lnTo>
                    <a:lnTo>
                      <a:pt x="1954" y="683"/>
                    </a:lnTo>
                    <a:lnTo>
                      <a:pt x="1954" y="683"/>
                    </a:lnTo>
                    <a:lnTo>
                      <a:pt x="1954" y="683"/>
                    </a:lnTo>
                    <a:close/>
                    <a:moveTo>
                      <a:pt x="2246" y="700"/>
                    </a:moveTo>
                    <a:lnTo>
                      <a:pt x="2246" y="711"/>
                    </a:lnTo>
                    <a:lnTo>
                      <a:pt x="2242" y="711"/>
                    </a:lnTo>
                    <a:lnTo>
                      <a:pt x="2246" y="700"/>
                    </a:lnTo>
                    <a:lnTo>
                      <a:pt x="2246" y="700"/>
                    </a:lnTo>
                    <a:lnTo>
                      <a:pt x="2246" y="700"/>
                    </a:lnTo>
                    <a:close/>
                    <a:moveTo>
                      <a:pt x="2726" y="711"/>
                    </a:moveTo>
                    <a:lnTo>
                      <a:pt x="2733" y="716"/>
                    </a:lnTo>
                    <a:lnTo>
                      <a:pt x="2726" y="711"/>
                    </a:lnTo>
                    <a:lnTo>
                      <a:pt x="2726" y="711"/>
                    </a:lnTo>
                    <a:lnTo>
                      <a:pt x="2726" y="711"/>
                    </a:lnTo>
                    <a:close/>
                    <a:moveTo>
                      <a:pt x="1954" y="716"/>
                    </a:moveTo>
                    <a:lnTo>
                      <a:pt x="1970" y="723"/>
                    </a:lnTo>
                    <a:lnTo>
                      <a:pt x="1961" y="733"/>
                    </a:lnTo>
                    <a:lnTo>
                      <a:pt x="1944" y="723"/>
                    </a:lnTo>
                    <a:lnTo>
                      <a:pt x="1954" y="716"/>
                    </a:lnTo>
                    <a:lnTo>
                      <a:pt x="1954" y="716"/>
                    </a:lnTo>
                    <a:lnTo>
                      <a:pt x="1954" y="716"/>
                    </a:lnTo>
                    <a:close/>
                    <a:moveTo>
                      <a:pt x="2674" y="723"/>
                    </a:moveTo>
                    <a:lnTo>
                      <a:pt x="2695" y="740"/>
                    </a:lnTo>
                    <a:lnTo>
                      <a:pt x="2674" y="733"/>
                    </a:lnTo>
                    <a:lnTo>
                      <a:pt x="2674" y="723"/>
                    </a:lnTo>
                    <a:lnTo>
                      <a:pt x="2674" y="723"/>
                    </a:lnTo>
                    <a:lnTo>
                      <a:pt x="2674" y="723"/>
                    </a:lnTo>
                    <a:close/>
                    <a:moveTo>
                      <a:pt x="1954" y="749"/>
                    </a:moveTo>
                    <a:lnTo>
                      <a:pt x="1961" y="756"/>
                    </a:lnTo>
                    <a:lnTo>
                      <a:pt x="1961" y="778"/>
                    </a:lnTo>
                    <a:lnTo>
                      <a:pt x="1954" y="766"/>
                    </a:lnTo>
                    <a:lnTo>
                      <a:pt x="1954" y="773"/>
                    </a:lnTo>
                    <a:lnTo>
                      <a:pt x="1944" y="794"/>
                    </a:lnTo>
                    <a:lnTo>
                      <a:pt x="1961" y="811"/>
                    </a:lnTo>
                    <a:lnTo>
                      <a:pt x="1939" y="822"/>
                    </a:lnTo>
                    <a:lnTo>
                      <a:pt x="1939" y="834"/>
                    </a:lnTo>
                    <a:lnTo>
                      <a:pt x="1923" y="834"/>
                    </a:lnTo>
                    <a:lnTo>
                      <a:pt x="1916" y="827"/>
                    </a:lnTo>
                    <a:lnTo>
                      <a:pt x="1928" y="794"/>
                    </a:lnTo>
                    <a:lnTo>
                      <a:pt x="1939" y="756"/>
                    </a:lnTo>
                    <a:lnTo>
                      <a:pt x="1954" y="749"/>
                    </a:lnTo>
                    <a:lnTo>
                      <a:pt x="1954" y="749"/>
                    </a:lnTo>
                    <a:lnTo>
                      <a:pt x="1954" y="749"/>
                    </a:lnTo>
                    <a:close/>
                    <a:moveTo>
                      <a:pt x="1928" y="766"/>
                    </a:moveTo>
                    <a:lnTo>
                      <a:pt x="1928" y="789"/>
                    </a:lnTo>
                    <a:lnTo>
                      <a:pt x="1923" y="806"/>
                    </a:lnTo>
                    <a:lnTo>
                      <a:pt x="1923" y="811"/>
                    </a:lnTo>
                    <a:lnTo>
                      <a:pt x="1916" y="822"/>
                    </a:lnTo>
                    <a:lnTo>
                      <a:pt x="1902" y="822"/>
                    </a:lnTo>
                    <a:lnTo>
                      <a:pt x="1906" y="794"/>
                    </a:lnTo>
                    <a:lnTo>
                      <a:pt x="1902" y="778"/>
                    </a:lnTo>
                    <a:lnTo>
                      <a:pt x="1928" y="766"/>
                    </a:lnTo>
                    <a:lnTo>
                      <a:pt x="1928" y="766"/>
                    </a:lnTo>
                    <a:lnTo>
                      <a:pt x="1928" y="766"/>
                    </a:lnTo>
                    <a:close/>
                    <a:moveTo>
                      <a:pt x="1873" y="794"/>
                    </a:moveTo>
                    <a:lnTo>
                      <a:pt x="1885" y="822"/>
                    </a:lnTo>
                    <a:lnTo>
                      <a:pt x="1873" y="822"/>
                    </a:lnTo>
                    <a:lnTo>
                      <a:pt x="1864" y="811"/>
                    </a:lnTo>
                    <a:lnTo>
                      <a:pt x="1869" y="794"/>
                    </a:lnTo>
                    <a:lnTo>
                      <a:pt x="1873" y="794"/>
                    </a:lnTo>
                    <a:lnTo>
                      <a:pt x="1873" y="794"/>
                    </a:lnTo>
                    <a:lnTo>
                      <a:pt x="1873" y="794"/>
                    </a:lnTo>
                    <a:close/>
                    <a:moveTo>
                      <a:pt x="501" y="827"/>
                    </a:moveTo>
                    <a:lnTo>
                      <a:pt x="480" y="811"/>
                    </a:lnTo>
                    <a:lnTo>
                      <a:pt x="484" y="811"/>
                    </a:lnTo>
                    <a:lnTo>
                      <a:pt x="501" y="822"/>
                    </a:lnTo>
                    <a:lnTo>
                      <a:pt x="501" y="827"/>
                    </a:lnTo>
                    <a:lnTo>
                      <a:pt x="501" y="827"/>
                    </a:lnTo>
                    <a:lnTo>
                      <a:pt x="501" y="827"/>
                    </a:lnTo>
                    <a:close/>
                    <a:moveTo>
                      <a:pt x="2662" y="811"/>
                    </a:moveTo>
                    <a:lnTo>
                      <a:pt x="2658" y="834"/>
                    </a:lnTo>
                    <a:lnTo>
                      <a:pt x="2641" y="860"/>
                    </a:lnTo>
                    <a:lnTo>
                      <a:pt x="2658" y="811"/>
                    </a:lnTo>
                    <a:lnTo>
                      <a:pt x="2662" y="811"/>
                    </a:lnTo>
                    <a:lnTo>
                      <a:pt x="2662" y="811"/>
                    </a:lnTo>
                    <a:lnTo>
                      <a:pt x="2662" y="811"/>
                    </a:lnTo>
                    <a:close/>
                    <a:moveTo>
                      <a:pt x="2754" y="822"/>
                    </a:moveTo>
                    <a:lnTo>
                      <a:pt x="2764" y="827"/>
                    </a:lnTo>
                    <a:lnTo>
                      <a:pt x="2771" y="851"/>
                    </a:lnTo>
                    <a:lnTo>
                      <a:pt x="2771" y="860"/>
                    </a:lnTo>
                    <a:lnTo>
                      <a:pt x="2764" y="860"/>
                    </a:lnTo>
                    <a:lnTo>
                      <a:pt x="2738" y="860"/>
                    </a:lnTo>
                    <a:lnTo>
                      <a:pt x="2750" y="844"/>
                    </a:lnTo>
                    <a:lnTo>
                      <a:pt x="2733" y="844"/>
                    </a:lnTo>
                    <a:lnTo>
                      <a:pt x="2738" y="844"/>
                    </a:lnTo>
                    <a:lnTo>
                      <a:pt x="2754" y="822"/>
                    </a:lnTo>
                    <a:lnTo>
                      <a:pt x="2754" y="822"/>
                    </a:lnTo>
                    <a:lnTo>
                      <a:pt x="2754" y="822"/>
                    </a:lnTo>
                    <a:close/>
                    <a:moveTo>
                      <a:pt x="2629" y="834"/>
                    </a:moveTo>
                    <a:lnTo>
                      <a:pt x="2629" y="851"/>
                    </a:lnTo>
                    <a:lnTo>
                      <a:pt x="2629" y="860"/>
                    </a:lnTo>
                    <a:lnTo>
                      <a:pt x="2624" y="834"/>
                    </a:lnTo>
                    <a:lnTo>
                      <a:pt x="2629" y="834"/>
                    </a:lnTo>
                    <a:lnTo>
                      <a:pt x="2629" y="834"/>
                    </a:lnTo>
                    <a:lnTo>
                      <a:pt x="2629" y="834"/>
                    </a:lnTo>
                    <a:close/>
                    <a:moveTo>
                      <a:pt x="1226" y="844"/>
                    </a:moveTo>
                    <a:lnTo>
                      <a:pt x="1226" y="851"/>
                    </a:lnTo>
                    <a:lnTo>
                      <a:pt x="1219" y="851"/>
                    </a:lnTo>
                    <a:lnTo>
                      <a:pt x="1226" y="844"/>
                    </a:lnTo>
                    <a:lnTo>
                      <a:pt x="1226" y="844"/>
                    </a:lnTo>
                    <a:lnTo>
                      <a:pt x="1226" y="844"/>
                    </a:lnTo>
                    <a:close/>
                    <a:moveTo>
                      <a:pt x="1765" y="844"/>
                    </a:moveTo>
                    <a:lnTo>
                      <a:pt x="1776" y="867"/>
                    </a:lnTo>
                    <a:lnTo>
                      <a:pt x="1765" y="900"/>
                    </a:lnTo>
                    <a:lnTo>
                      <a:pt x="1765" y="844"/>
                    </a:lnTo>
                    <a:lnTo>
                      <a:pt x="1765" y="844"/>
                    </a:lnTo>
                    <a:lnTo>
                      <a:pt x="1765" y="844"/>
                    </a:lnTo>
                    <a:close/>
                    <a:moveTo>
                      <a:pt x="1361" y="1066"/>
                    </a:moveTo>
                    <a:lnTo>
                      <a:pt x="1332" y="1049"/>
                    </a:lnTo>
                    <a:lnTo>
                      <a:pt x="1323" y="1049"/>
                    </a:lnTo>
                    <a:lnTo>
                      <a:pt x="1295" y="1044"/>
                    </a:lnTo>
                    <a:lnTo>
                      <a:pt x="1257" y="1028"/>
                    </a:lnTo>
                    <a:lnTo>
                      <a:pt x="1219" y="1033"/>
                    </a:lnTo>
                    <a:lnTo>
                      <a:pt x="1160" y="1028"/>
                    </a:lnTo>
                    <a:lnTo>
                      <a:pt x="1150" y="1033"/>
                    </a:lnTo>
                    <a:lnTo>
                      <a:pt x="1080" y="1016"/>
                    </a:lnTo>
                    <a:lnTo>
                      <a:pt x="1037" y="995"/>
                    </a:lnTo>
                    <a:lnTo>
                      <a:pt x="987" y="988"/>
                    </a:lnTo>
                    <a:lnTo>
                      <a:pt x="966" y="988"/>
                    </a:lnTo>
                    <a:lnTo>
                      <a:pt x="954" y="978"/>
                    </a:lnTo>
                    <a:lnTo>
                      <a:pt x="933" y="988"/>
                    </a:lnTo>
                    <a:lnTo>
                      <a:pt x="928" y="995"/>
                    </a:lnTo>
                    <a:lnTo>
                      <a:pt x="900" y="995"/>
                    </a:lnTo>
                    <a:lnTo>
                      <a:pt x="858" y="971"/>
                    </a:lnTo>
                    <a:lnTo>
                      <a:pt x="777" y="962"/>
                    </a:lnTo>
                    <a:lnTo>
                      <a:pt x="777" y="955"/>
                    </a:lnTo>
                    <a:lnTo>
                      <a:pt x="794" y="938"/>
                    </a:lnTo>
                    <a:lnTo>
                      <a:pt x="787" y="933"/>
                    </a:lnTo>
                    <a:lnTo>
                      <a:pt x="777" y="933"/>
                    </a:lnTo>
                    <a:lnTo>
                      <a:pt x="756" y="922"/>
                    </a:lnTo>
                    <a:lnTo>
                      <a:pt x="718" y="922"/>
                    </a:lnTo>
                    <a:lnTo>
                      <a:pt x="702" y="917"/>
                    </a:lnTo>
                    <a:lnTo>
                      <a:pt x="718" y="922"/>
                    </a:lnTo>
                    <a:lnTo>
                      <a:pt x="723" y="905"/>
                    </a:lnTo>
                    <a:lnTo>
                      <a:pt x="723" y="900"/>
                    </a:lnTo>
                    <a:lnTo>
                      <a:pt x="739" y="889"/>
                    </a:lnTo>
                    <a:lnTo>
                      <a:pt x="739" y="867"/>
                    </a:lnTo>
                    <a:lnTo>
                      <a:pt x="756" y="851"/>
                    </a:lnTo>
                    <a:lnTo>
                      <a:pt x="765" y="860"/>
                    </a:lnTo>
                    <a:lnTo>
                      <a:pt x="773" y="860"/>
                    </a:lnTo>
                    <a:lnTo>
                      <a:pt x="787" y="867"/>
                    </a:lnTo>
                    <a:lnTo>
                      <a:pt x="803" y="860"/>
                    </a:lnTo>
                    <a:lnTo>
                      <a:pt x="810" y="867"/>
                    </a:lnTo>
                    <a:lnTo>
                      <a:pt x="824" y="867"/>
                    </a:lnTo>
                    <a:lnTo>
                      <a:pt x="824" y="851"/>
                    </a:lnTo>
                    <a:lnTo>
                      <a:pt x="848" y="860"/>
                    </a:lnTo>
                    <a:lnTo>
                      <a:pt x="874" y="884"/>
                    </a:lnTo>
                    <a:lnTo>
                      <a:pt x="891" y="877"/>
                    </a:lnTo>
                    <a:lnTo>
                      <a:pt x="900" y="884"/>
                    </a:lnTo>
                    <a:lnTo>
                      <a:pt x="917" y="884"/>
                    </a:lnTo>
                    <a:lnTo>
                      <a:pt x="933" y="900"/>
                    </a:lnTo>
                    <a:lnTo>
                      <a:pt x="933" y="917"/>
                    </a:lnTo>
                    <a:lnTo>
                      <a:pt x="983" y="922"/>
                    </a:lnTo>
                    <a:lnTo>
                      <a:pt x="1004" y="922"/>
                    </a:lnTo>
                    <a:lnTo>
                      <a:pt x="1063" y="933"/>
                    </a:lnTo>
                    <a:lnTo>
                      <a:pt x="1075" y="922"/>
                    </a:lnTo>
                    <a:lnTo>
                      <a:pt x="1089" y="889"/>
                    </a:lnTo>
                    <a:lnTo>
                      <a:pt x="1096" y="889"/>
                    </a:lnTo>
                    <a:lnTo>
                      <a:pt x="1113" y="889"/>
                    </a:lnTo>
                    <a:lnTo>
                      <a:pt x="1113" y="917"/>
                    </a:lnTo>
                    <a:lnTo>
                      <a:pt x="1134" y="917"/>
                    </a:lnTo>
                    <a:lnTo>
                      <a:pt x="1143" y="905"/>
                    </a:lnTo>
                    <a:lnTo>
                      <a:pt x="1160" y="917"/>
                    </a:lnTo>
                    <a:lnTo>
                      <a:pt x="1172" y="917"/>
                    </a:lnTo>
                    <a:lnTo>
                      <a:pt x="1181" y="933"/>
                    </a:lnTo>
                    <a:lnTo>
                      <a:pt x="1214" y="933"/>
                    </a:lnTo>
                    <a:lnTo>
                      <a:pt x="1219" y="945"/>
                    </a:lnTo>
                    <a:lnTo>
                      <a:pt x="1226" y="945"/>
                    </a:lnTo>
                    <a:lnTo>
                      <a:pt x="1235" y="955"/>
                    </a:lnTo>
                    <a:lnTo>
                      <a:pt x="1226" y="971"/>
                    </a:lnTo>
                    <a:lnTo>
                      <a:pt x="1257" y="988"/>
                    </a:lnTo>
                    <a:lnTo>
                      <a:pt x="1295" y="988"/>
                    </a:lnTo>
                    <a:lnTo>
                      <a:pt x="1323" y="978"/>
                    </a:lnTo>
                    <a:lnTo>
                      <a:pt x="1344" y="995"/>
                    </a:lnTo>
                    <a:lnTo>
                      <a:pt x="1344" y="1033"/>
                    </a:lnTo>
                    <a:lnTo>
                      <a:pt x="1349" y="1049"/>
                    </a:lnTo>
                    <a:lnTo>
                      <a:pt x="1361" y="1056"/>
                    </a:lnTo>
                    <a:lnTo>
                      <a:pt x="1361" y="1066"/>
                    </a:lnTo>
                    <a:lnTo>
                      <a:pt x="1361" y="1066"/>
                    </a:lnTo>
                    <a:lnTo>
                      <a:pt x="1361" y="1066"/>
                    </a:lnTo>
                    <a:close/>
                    <a:moveTo>
                      <a:pt x="2754" y="860"/>
                    </a:moveTo>
                    <a:lnTo>
                      <a:pt x="2764" y="860"/>
                    </a:lnTo>
                    <a:lnTo>
                      <a:pt x="2771" y="867"/>
                    </a:lnTo>
                    <a:lnTo>
                      <a:pt x="2771" y="884"/>
                    </a:lnTo>
                    <a:lnTo>
                      <a:pt x="2764" y="889"/>
                    </a:lnTo>
                    <a:lnTo>
                      <a:pt x="2738" y="867"/>
                    </a:lnTo>
                    <a:lnTo>
                      <a:pt x="2754" y="860"/>
                    </a:lnTo>
                    <a:lnTo>
                      <a:pt x="2754" y="860"/>
                    </a:lnTo>
                    <a:lnTo>
                      <a:pt x="2754" y="860"/>
                    </a:lnTo>
                    <a:close/>
                    <a:moveTo>
                      <a:pt x="2733" y="860"/>
                    </a:moveTo>
                    <a:lnTo>
                      <a:pt x="2733" y="867"/>
                    </a:lnTo>
                    <a:lnTo>
                      <a:pt x="2750" y="884"/>
                    </a:lnTo>
                    <a:lnTo>
                      <a:pt x="2738" y="884"/>
                    </a:lnTo>
                    <a:lnTo>
                      <a:pt x="2726" y="867"/>
                    </a:lnTo>
                    <a:lnTo>
                      <a:pt x="2726" y="860"/>
                    </a:lnTo>
                    <a:lnTo>
                      <a:pt x="2733" y="860"/>
                    </a:lnTo>
                    <a:lnTo>
                      <a:pt x="2733" y="860"/>
                    </a:lnTo>
                    <a:lnTo>
                      <a:pt x="2733" y="860"/>
                    </a:lnTo>
                    <a:close/>
                    <a:moveTo>
                      <a:pt x="2726" y="877"/>
                    </a:moveTo>
                    <a:lnTo>
                      <a:pt x="2754" y="905"/>
                    </a:lnTo>
                    <a:lnTo>
                      <a:pt x="2733" y="933"/>
                    </a:lnTo>
                    <a:lnTo>
                      <a:pt x="2726" y="917"/>
                    </a:lnTo>
                    <a:lnTo>
                      <a:pt x="2726" y="877"/>
                    </a:lnTo>
                    <a:lnTo>
                      <a:pt x="2726" y="877"/>
                    </a:lnTo>
                    <a:lnTo>
                      <a:pt x="2726" y="877"/>
                    </a:lnTo>
                    <a:close/>
                    <a:moveTo>
                      <a:pt x="2750" y="884"/>
                    </a:moveTo>
                    <a:lnTo>
                      <a:pt x="2764" y="889"/>
                    </a:lnTo>
                    <a:lnTo>
                      <a:pt x="2754" y="900"/>
                    </a:lnTo>
                    <a:lnTo>
                      <a:pt x="2738" y="889"/>
                    </a:lnTo>
                    <a:lnTo>
                      <a:pt x="2750" y="884"/>
                    </a:lnTo>
                    <a:lnTo>
                      <a:pt x="2750" y="884"/>
                    </a:lnTo>
                    <a:lnTo>
                      <a:pt x="2750" y="884"/>
                    </a:lnTo>
                    <a:close/>
                    <a:moveTo>
                      <a:pt x="2780" y="884"/>
                    </a:moveTo>
                    <a:lnTo>
                      <a:pt x="2780" y="900"/>
                    </a:lnTo>
                    <a:lnTo>
                      <a:pt x="2771" y="889"/>
                    </a:lnTo>
                    <a:lnTo>
                      <a:pt x="2780" y="884"/>
                    </a:lnTo>
                    <a:lnTo>
                      <a:pt x="2780" y="884"/>
                    </a:lnTo>
                    <a:lnTo>
                      <a:pt x="2780" y="884"/>
                    </a:lnTo>
                    <a:close/>
                    <a:moveTo>
                      <a:pt x="2764" y="889"/>
                    </a:moveTo>
                    <a:lnTo>
                      <a:pt x="2771" y="900"/>
                    </a:lnTo>
                    <a:lnTo>
                      <a:pt x="2764" y="900"/>
                    </a:lnTo>
                    <a:lnTo>
                      <a:pt x="2764" y="889"/>
                    </a:lnTo>
                    <a:lnTo>
                      <a:pt x="2764" y="889"/>
                    </a:lnTo>
                    <a:lnTo>
                      <a:pt x="2764" y="889"/>
                    </a:lnTo>
                    <a:close/>
                    <a:moveTo>
                      <a:pt x="702" y="900"/>
                    </a:moveTo>
                    <a:lnTo>
                      <a:pt x="697" y="905"/>
                    </a:lnTo>
                    <a:lnTo>
                      <a:pt x="702" y="900"/>
                    </a:lnTo>
                    <a:lnTo>
                      <a:pt x="702" y="900"/>
                    </a:lnTo>
                    <a:lnTo>
                      <a:pt x="702" y="900"/>
                    </a:lnTo>
                    <a:close/>
                    <a:moveTo>
                      <a:pt x="3040" y="917"/>
                    </a:moveTo>
                    <a:lnTo>
                      <a:pt x="3057" y="922"/>
                    </a:lnTo>
                    <a:lnTo>
                      <a:pt x="3052" y="922"/>
                    </a:lnTo>
                    <a:lnTo>
                      <a:pt x="3040" y="917"/>
                    </a:lnTo>
                    <a:lnTo>
                      <a:pt x="3040" y="917"/>
                    </a:lnTo>
                    <a:lnTo>
                      <a:pt x="3040" y="917"/>
                    </a:lnTo>
                    <a:close/>
                    <a:moveTo>
                      <a:pt x="1403" y="922"/>
                    </a:moveTo>
                    <a:lnTo>
                      <a:pt x="1432" y="933"/>
                    </a:lnTo>
                    <a:lnTo>
                      <a:pt x="1415" y="933"/>
                    </a:lnTo>
                    <a:lnTo>
                      <a:pt x="1403" y="933"/>
                    </a:lnTo>
                    <a:lnTo>
                      <a:pt x="1398" y="933"/>
                    </a:lnTo>
                    <a:lnTo>
                      <a:pt x="1403" y="922"/>
                    </a:lnTo>
                    <a:lnTo>
                      <a:pt x="1403" y="922"/>
                    </a:lnTo>
                    <a:lnTo>
                      <a:pt x="1403" y="922"/>
                    </a:lnTo>
                    <a:close/>
                    <a:moveTo>
                      <a:pt x="1243" y="922"/>
                    </a:moveTo>
                    <a:lnTo>
                      <a:pt x="1311" y="922"/>
                    </a:lnTo>
                    <a:lnTo>
                      <a:pt x="1328" y="933"/>
                    </a:lnTo>
                    <a:lnTo>
                      <a:pt x="1280" y="945"/>
                    </a:lnTo>
                    <a:lnTo>
                      <a:pt x="1226" y="945"/>
                    </a:lnTo>
                    <a:lnTo>
                      <a:pt x="1219" y="938"/>
                    </a:lnTo>
                    <a:lnTo>
                      <a:pt x="1243" y="922"/>
                    </a:lnTo>
                    <a:lnTo>
                      <a:pt x="1243" y="922"/>
                    </a:lnTo>
                    <a:lnTo>
                      <a:pt x="1243" y="922"/>
                    </a:lnTo>
                    <a:close/>
                    <a:moveTo>
                      <a:pt x="1781" y="938"/>
                    </a:moveTo>
                    <a:lnTo>
                      <a:pt x="1793" y="938"/>
                    </a:lnTo>
                    <a:lnTo>
                      <a:pt x="1793" y="945"/>
                    </a:lnTo>
                    <a:lnTo>
                      <a:pt x="1781" y="938"/>
                    </a:lnTo>
                    <a:lnTo>
                      <a:pt x="1781" y="938"/>
                    </a:lnTo>
                    <a:lnTo>
                      <a:pt x="1781" y="938"/>
                    </a:lnTo>
                    <a:close/>
                    <a:moveTo>
                      <a:pt x="1332" y="938"/>
                    </a:moveTo>
                    <a:lnTo>
                      <a:pt x="1344" y="945"/>
                    </a:lnTo>
                    <a:lnTo>
                      <a:pt x="1332" y="945"/>
                    </a:lnTo>
                    <a:lnTo>
                      <a:pt x="1332" y="938"/>
                    </a:lnTo>
                    <a:lnTo>
                      <a:pt x="1332" y="938"/>
                    </a:lnTo>
                    <a:lnTo>
                      <a:pt x="1332" y="938"/>
                    </a:lnTo>
                    <a:close/>
                    <a:moveTo>
                      <a:pt x="2339" y="938"/>
                    </a:moveTo>
                    <a:lnTo>
                      <a:pt x="2348" y="938"/>
                    </a:lnTo>
                    <a:lnTo>
                      <a:pt x="2339" y="945"/>
                    </a:lnTo>
                    <a:lnTo>
                      <a:pt x="2332" y="945"/>
                    </a:lnTo>
                    <a:lnTo>
                      <a:pt x="2339" y="938"/>
                    </a:lnTo>
                    <a:lnTo>
                      <a:pt x="2339" y="938"/>
                    </a:lnTo>
                    <a:lnTo>
                      <a:pt x="2339" y="938"/>
                    </a:lnTo>
                    <a:close/>
                    <a:moveTo>
                      <a:pt x="2565" y="938"/>
                    </a:moveTo>
                    <a:lnTo>
                      <a:pt x="2570" y="938"/>
                    </a:lnTo>
                    <a:lnTo>
                      <a:pt x="2575" y="955"/>
                    </a:lnTo>
                    <a:lnTo>
                      <a:pt x="2565" y="938"/>
                    </a:lnTo>
                    <a:lnTo>
                      <a:pt x="2565" y="938"/>
                    </a:lnTo>
                    <a:lnTo>
                      <a:pt x="2565" y="938"/>
                    </a:lnTo>
                    <a:close/>
                    <a:moveTo>
                      <a:pt x="2554" y="938"/>
                    </a:moveTo>
                    <a:lnTo>
                      <a:pt x="2565" y="945"/>
                    </a:lnTo>
                    <a:lnTo>
                      <a:pt x="2554" y="955"/>
                    </a:lnTo>
                    <a:lnTo>
                      <a:pt x="2554" y="978"/>
                    </a:lnTo>
                    <a:lnTo>
                      <a:pt x="2537" y="995"/>
                    </a:lnTo>
                    <a:lnTo>
                      <a:pt x="2532" y="1011"/>
                    </a:lnTo>
                    <a:lnTo>
                      <a:pt x="2516" y="1011"/>
                    </a:lnTo>
                    <a:lnTo>
                      <a:pt x="2516" y="995"/>
                    </a:lnTo>
                    <a:lnTo>
                      <a:pt x="2523" y="971"/>
                    </a:lnTo>
                    <a:lnTo>
                      <a:pt x="2554" y="938"/>
                    </a:lnTo>
                    <a:lnTo>
                      <a:pt x="2554" y="938"/>
                    </a:lnTo>
                    <a:lnTo>
                      <a:pt x="2554" y="938"/>
                    </a:lnTo>
                    <a:close/>
                    <a:moveTo>
                      <a:pt x="1814" y="955"/>
                    </a:moveTo>
                    <a:lnTo>
                      <a:pt x="1819" y="962"/>
                    </a:lnTo>
                    <a:lnTo>
                      <a:pt x="1814" y="962"/>
                    </a:lnTo>
                    <a:lnTo>
                      <a:pt x="1814" y="955"/>
                    </a:lnTo>
                    <a:lnTo>
                      <a:pt x="1814" y="955"/>
                    </a:lnTo>
                    <a:lnTo>
                      <a:pt x="1814" y="955"/>
                    </a:lnTo>
                    <a:close/>
                    <a:moveTo>
                      <a:pt x="1864" y="962"/>
                    </a:moveTo>
                    <a:lnTo>
                      <a:pt x="1869" y="962"/>
                    </a:lnTo>
                    <a:lnTo>
                      <a:pt x="1864" y="962"/>
                    </a:lnTo>
                    <a:lnTo>
                      <a:pt x="1864" y="962"/>
                    </a:lnTo>
                    <a:lnTo>
                      <a:pt x="1864" y="962"/>
                    </a:lnTo>
                    <a:close/>
                    <a:moveTo>
                      <a:pt x="3040" y="962"/>
                    </a:moveTo>
                    <a:lnTo>
                      <a:pt x="3057" y="962"/>
                    </a:lnTo>
                    <a:lnTo>
                      <a:pt x="3073" y="978"/>
                    </a:lnTo>
                    <a:lnTo>
                      <a:pt x="3057" y="1011"/>
                    </a:lnTo>
                    <a:lnTo>
                      <a:pt x="3024" y="1033"/>
                    </a:lnTo>
                    <a:lnTo>
                      <a:pt x="2986" y="1033"/>
                    </a:lnTo>
                    <a:lnTo>
                      <a:pt x="2969" y="1033"/>
                    </a:lnTo>
                    <a:lnTo>
                      <a:pt x="3002" y="978"/>
                    </a:lnTo>
                    <a:lnTo>
                      <a:pt x="3040" y="962"/>
                    </a:lnTo>
                    <a:lnTo>
                      <a:pt x="3040" y="962"/>
                    </a:lnTo>
                    <a:lnTo>
                      <a:pt x="3040" y="962"/>
                    </a:lnTo>
                    <a:close/>
                    <a:moveTo>
                      <a:pt x="2511" y="962"/>
                    </a:moveTo>
                    <a:lnTo>
                      <a:pt x="2523" y="962"/>
                    </a:lnTo>
                    <a:lnTo>
                      <a:pt x="2511" y="971"/>
                    </a:lnTo>
                    <a:lnTo>
                      <a:pt x="2511" y="962"/>
                    </a:lnTo>
                    <a:lnTo>
                      <a:pt x="2511" y="962"/>
                    </a:lnTo>
                    <a:lnTo>
                      <a:pt x="2511" y="962"/>
                    </a:lnTo>
                    <a:close/>
                    <a:moveTo>
                      <a:pt x="2251" y="971"/>
                    </a:moveTo>
                    <a:lnTo>
                      <a:pt x="2263" y="978"/>
                    </a:lnTo>
                    <a:lnTo>
                      <a:pt x="2251" y="978"/>
                    </a:lnTo>
                    <a:lnTo>
                      <a:pt x="2251" y="971"/>
                    </a:lnTo>
                    <a:lnTo>
                      <a:pt x="2251" y="971"/>
                    </a:lnTo>
                    <a:lnTo>
                      <a:pt x="2251" y="971"/>
                    </a:lnTo>
                    <a:close/>
                    <a:moveTo>
                      <a:pt x="2154" y="978"/>
                    </a:moveTo>
                    <a:lnTo>
                      <a:pt x="2171" y="988"/>
                    </a:lnTo>
                    <a:lnTo>
                      <a:pt x="2197" y="978"/>
                    </a:lnTo>
                    <a:lnTo>
                      <a:pt x="2213" y="988"/>
                    </a:lnTo>
                    <a:lnTo>
                      <a:pt x="2187" y="1000"/>
                    </a:lnTo>
                    <a:lnTo>
                      <a:pt x="2159" y="995"/>
                    </a:lnTo>
                    <a:lnTo>
                      <a:pt x="2138" y="1011"/>
                    </a:lnTo>
                    <a:lnTo>
                      <a:pt x="2154" y="978"/>
                    </a:lnTo>
                    <a:lnTo>
                      <a:pt x="2154" y="978"/>
                    </a:lnTo>
                    <a:lnTo>
                      <a:pt x="2154" y="978"/>
                    </a:lnTo>
                    <a:close/>
                    <a:moveTo>
                      <a:pt x="2407" y="995"/>
                    </a:moveTo>
                    <a:lnTo>
                      <a:pt x="2424" y="995"/>
                    </a:lnTo>
                    <a:lnTo>
                      <a:pt x="2424" y="1011"/>
                    </a:lnTo>
                    <a:lnTo>
                      <a:pt x="2407" y="1000"/>
                    </a:lnTo>
                    <a:lnTo>
                      <a:pt x="2407" y="995"/>
                    </a:lnTo>
                    <a:lnTo>
                      <a:pt x="2407" y="995"/>
                    </a:lnTo>
                    <a:lnTo>
                      <a:pt x="2407" y="995"/>
                    </a:lnTo>
                    <a:close/>
                    <a:moveTo>
                      <a:pt x="2242" y="1011"/>
                    </a:moveTo>
                    <a:lnTo>
                      <a:pt x="2246" y="1011"/>
                    </a:lnTo>
                    <a:lnTo>
                      <a:pt x="2242" y="1011"/>
                    </a:lnTo>
                    <a:lnTo>
                      <a:pt x="2242" y="1011"/>
                    </a:lnTo>
                    <a:lnTo>
                      <a:pt x="2242" y="1011"/>
                    </a:lnTo>
                    <a:close/>
                    <a:moveTo>
                      <a:pt x="1349" y="1011"/>
                    </a:moveTo>
                    <a:lnTo>
                      <a:pt x="1382" y="1016"/>
                    </a:lnTo>
                    <a:lnTo>
                      <a:pt x="1398" y="1011"/>
                    </a:lnTo>
                    <a:lnTo>
                      <a:pt x="1420" y="1016"/>
                    </a:lnTo>
                    <a:lnTo>
                      <a:pt x="1436" y="1033"/>
                    </a:lnTo>
                    <a:lnTo>
                      <a:pt x="1403" y="1049"/>
                    </a:lnTo>
                    <a:lnTo>
                      <a:pt x="1398" y="1056"/>
                    </a:lnTo>
                    <a:lnTo>
                      <a:pt x="1403" y="1066"/>
                    </a:lnTo>
                    <a:lnTo>
                      <a:pt x="1398" y="1066"/>
                    </a:lnTo>
                    <a:lnTo>
                      <a:pt x="1398" y="1056"/>
                    </a:lnTo>
                    <a:lnTo>
                      <a:pt x="1377" y="1044"/>
                    </a:lnTo>
                    <a:lnTo>
                      <a:pt x="1361" y="1033"/>
                    </a:lnTo>
                    <a:lnTo>
                      <a:pt x="1349" y="1016"/>
                    </a:lnTo>
                    <a:lnTo>
                      <a:pt x="1349" y="1011"/>
                    </a:lnTo>
                    <a:lnTo>
                      <a:pt x="1349" y="1011"/>
                    </a:lnTo>
                    <a:lnTo>
                      <a:pt x="1349" y="1011"/>
                    </a:lnTo>
                    <a:close/>
                    <a:moveTo>
                      <a:pt x="1722" y="1056"/>
                    </a:moveTo>
                    <a:lnTo>
                      <a:pt x="1722" y="1049"/>
                    </a:lnTo>
                    <a:lnTo>
                      <a:pt x="1755" y="1028"/>
                    </a:lnTo>
                    <a:lnTo>
                      <a:pt x="1798" y="1033"/>
                    </a:lnTo>
                    <a:lnTo>
                      <a:pt x="1847" y="1049"/>
                    </a:lnTo>
                    <a:lnTo>
                      <a:pt x="1852" y="1044"/>
                    </a:lnTo>
                    <a:lnTo>
                      <a:pt x="1873" y="1044"/>
                    </a:lnTo>
                    <a:lnTo>
                      <a:pt x="1902" y="1049"/>
                    </a:lnTo>
                    <a:lnTo>
                      <a:pt x="1906" y="1049"/>
                    </a:lnTo>
                    <a:lnTo>
                      <a:pt x="1923" y="1033"/>
                    </a:lnTo>
                    <a:lnTo>
                      <a:pt x="1939" y="1028"/>
                    </a:lnTo>
                    <a:lnTo>
                      <a:pt x="1944" y="1016"/>
                    </a:lnTo>
                    <a:lnTo>
                      <a:pt x="1928" y="1028"/>
                    </a:lnTo>
                    <a:lnTo>
                      <a:pt x="1939" y="1011"/>
                    </a:lnTo>
                    <a:lnTo>
                      <a:pt x="1944" y="1016"/>
                    </a:lnTo>
                    <a:lnTo>
                      <a:pt x="1944" y="1028"/>
                    </a:lnTo>
                    <a:lnTo>
                      <a:pt x="1928" y="1033"/>
                    </a:lnTo>
                    <a:lnTo>
                      <a:pt x="1939" y="1049"/>
                    </a:lnTo>
                    <a:lnTo>
                      <a:pt x="1864" y="1073"/>
                    </a:lnTo>
                    <a:lnTo>
                      <a:pt x="1835" y="1066"/>
                    </a:lnTo>
                    <a:lnTo>
                      <a:pt x="1831" y="1073"/>
                    </a:lnTo>
                    <a:lnTo>
                      <a:pt x="1809" y="1073"/>
                    </a:lnTo>
                    <a:lnTo>
                      <a:pt x="1776" y="1066"/>
                    </a:lnTo>
                    <a:lnTo>
                      <a:pt x="1727" y="1066"/>
                    </a:lnTo>
                    <a:lnTo>
                      <a:pt x="1722" y="1056"/>
                    </a:lnTo>
                    <a:lnTo>
                      <a:pt x="1722" y="1056"/>
                    </a:lnTo>
                    <a:lnTo>
                      <a:pt x="1722" y="1056"/>
                    </a:lnTo>
                    <a:close/>
                    <a:moveTo>
                      <a:pt x="1684" y="1056"/>
                    </a:moveTo>
                    <a:lnTo>
                      <a:pt x="1668" y="1066"/>
                    </a:lnTo>
                    <a:lnTo>
                      <a:pt x="1658" y="1056"/>
                    </a:lnTo>
                    <a:lnTo>
                      <a:pt x="1651" y="1056"/>
                    </a:lnTo>
                    <a:lnTo>
                      <a:pt x="1647" y="1056"/>
                    </a:lnTo>
                    <a:lnTo>
                      <a:pt x="1658" y="1066"/>
                    </a:lnTo>
                    <a:lnTo>
                      <a:pt x="1630" y="1066"/>
                    </a:lnTo>
                    <a:lnTo>
                      <a:pt x="1621" y="1066"/>
                    </a:lnTo>
                    <a:lnTo>
                      <a:pt x="1621" y="1049"/>
                    </a:lnTo>
                    <a:lnTo>
                      <a:pt x="1604" y="1066"/>
                    </a:lnTo>
                    <a:lnTo>
                      <a:pt x="1576" y="1073"/>
                    </a:lnTo>
                    <a:lnTo>
                      <a:pt x="1550" y="1082"/>
                    </a:lnTo>
                    <a:lnTo>
                      <a:pt x="1545" y="1082"/>
                    </a:lnTo>
                    <a:lnTo>
                      <a:pt x="1528" y="1089"/>
                    </a:lnTo>
                    <a:lnTo>
                      <a:pt x="1507" y="1073"/>
                    </a:lnTo>
                    <a:lnTo>
                      <a:pt x="1512" y="1049"/>
                    </a:lnTo>
                    <a:lnTo>
                      <a:pt x="1538" y="1033"/>
                    </a:lnTo>
                    <a:lnTo>
                      <a:pt x="1559" y="1044"/>
                    </a:lnTo>
                    <a:lnTo>
                      <a:pt x="1566" y="1033"/>
                    </a:lnTo>
                    <a:lnTo>
                      <a:pt x="1566" y="1044"/>
                    </a:lnTo>
                    <a:lnTo>
                      <a:pt x="1592" y="1056"/>
                    </a:lnTo>
                    <a:lnTo>
                      <a:pt x="1597" y="1056"/>
                    </a:lnTo>
                    <a:lnTo>
                      <a:pt x="1613" y="1056"/>
                    </a:lnTo>
                    <a:lnTo>
                      <a:pt x="1613" y="1049"/>
                    </a:lnTo>
                    <a:lnTo>
                      <a:pt x="1597" y="1044"/>
                    </a:lnTo>
                    <a:lnTo>
                      <a:pt x="1576" y="1028"/>
                    </a:lnTo>
                    <a:lnTo>
                      <a:pt x="1576" y="1016"/>
                    </a:lnTo>
                    <a:lnTo>
                      <a:pt x="1592" y="1011"/>
                    </a:lnTo>
                    <a:lnTo>
                      <a:pt x="1604" y="1016"/>
                    </a:lnTo>
                    <a:lnTo>
                      <a:pt x="1621" y="1033"/>
                    </a:lnTo>
                    <a:lnTo>
                      <a:pt x="1630" y="1028"/>
                    </a:lnTo>
                    <a:lnTo>
                      <a:pt x="1647" y="1028"/>
                    </a:lnTo>
                    <a:lnTo>
                      <a:pt x="1647" y="1049"/>
                    </a:lnTo>
                    <a:lnTo>
                      <a:pt x="1651" y="1028"/>
                    </a:lnTo>
                    <a:lnTo>
                      <a:pt x="1668" y="1028"/>
                    </a:lnTo>
                    <a:lnTo>
                      <a:pt x="1668" y="1049"/>
                    </a:lnTo>
                    <a:lnTo>
                      <a:pt x="1684" y="1056"/>
                    </a:lnTo>
                    <a:lnTo>
                      <a:pt x="1684" y="1056"/>
                    </a:lnTo>
                    <a:lnTo>
                      <a:pt x="1684" y="1056"/>
                    </a:lnTo>
                    <a:close/>
                    <a:moveTo>
                      <a:pt x="2495" y="1033"/>
                    </a:moveTo>
                    <a:lnTo>
                      <a:pt x="2511" y="1011"/>
                    </a:lnTo>
                    <a:lnTo>
                      <a:pt x="2523" y="1016"/>
                    </a:lnTo>
                    <a:lnTo>
                      <a:pt x="2495" y="1033"/>
                    </a:lnTo>
                    <a:lnTo>
                      <a:pt x="2495" y="1033"/>
                    </a:lnTo>
                    <a:lnTo>
                      <a:pt x="2495" y="1033"/>
                    </a:lnTo>
                    <a:close/>
                    <a:moveTo>
                      <a:pt x="2284" y="1011"/>
                    </a:moveTo>
                    <a:lnTo>
                      <a:pt x="2306" y="1016"/>
                    </a:lnTo>
                    <a:lnTo>
                      <a:pt x="2301" y="1028"/>
                    </a:lnTo>
                    <a:lnTo>
                      <a:pt x="2284" y="1016"/>
                    </a:lnTo>
                    <a:lnTo>
                      <a:pt x="2284" y="1011"/>
                    </a:lnTo>
                    <a:lnTo>
                      <a:pt x="2284" y="1011"/>
                    </a:lnTo>
                    <a:lnTo>
                      <a:pt x="2284" y="1011"/>
                    </a:lnTo>
                    <a:close/>
                    <a:moveTo>
                      <a:pt x="2053" y="1016"/>
                    </a:moveTo>
                    <a:lnTo>
                      <a:pt x="2091" y="1016"/>
                    </a:lnTo>
                    <a:lnTo>
                      <a:pt x="2100" y="1028"/>
                    </a:lnTo>
                    <a:lnTo>
                      <a:pt x="2046" y="1044"/>
                    </a:lnTo>
                    <a:lnTo>
                      <a:pt x="2053" y="1016"/>
                    </a:lnTo>
                    <a:lnTo>
                      <a:pt x="2053" y="1016"/>
                    </a:lnTo>
                    <a:lnTo>
                      <a:pt x="2053" y="1016"/>
                    </a:lnTo>
                    <a:close/>
                    <a:moveTo>
                      <a:pt x="1672" y="1016"/>
                    </a:moveTo>
                    <a:lnTo>
                      <a:pt x="1668" y="1028"/>
                    </a:lnTo>
                    <a:lnTo>
                      <a:pt x="1672" y="1016"/>
                    </a:lnTo>
                    <a:lnTo>
                      <a:pt x="1672" y="1016"/>
                    </a:lnTo>
                    <a:lnTo>
                      <a:pt x="1672" y="1016"/>
                    </a:lnTo>
                    <a:close/>
                    <a:moveTo>
                      <a:pt x="1566" y="1033"/>
                    </a:moveTo>
                    <a:lnTo>
                      <a:pt x="1559" y="1016"/>
                    </a:lnTo>
                    <a:lnTo>
                      <a:pt x="1576" y="1016"/>
                    </a:lnTo>
                    <a:lnTo>
                      <a:pt x="1566" y="1033"/>
                    </a:lnTo>
                    <a:lnTo>
                      <a:pt x="1566" y="1033"/>
                    </a:lnTo>
                    <a:lnTo>
                      <a:pt x="1566" y="1033"/>
                    </a:lnTo>
                    <a:close/>
                    <a:moveTo>
                      <a:pt x="2280" y="1016"/>
                    </a:moveTo>
                    <a:lnTo>
                      <a:pt x="2284" y="1016"/>
                    </a:lnTo>
                    <a:lnTo>
                      <a:pt x="2268" y="1028"/>
                    </a:lnTo>
                    <a:lnTo>
                      <a:pt x="2280" y="1016"/>
                    </a:lnTo>
                    <a:lnTo>
                      <a:pt x="2280" y="1016"/>
                    </a:lnTo>
                    <a:lnTo>
                      <a:pt x="2280" y="1016"/>
                    </a:lnTo>
                    <a:close/>
                    <a:moveTo>
                      <a:pt x="3057" y="1016"/>
                    </a:moveTo>
                    <a:lnTo>
                      <a:pt x="3061" y="1033"/>
                    </a:lnTo>
                    <a:lnTo>
                      <a:pt x="3040" y="1033"/>
                    </a:lnTo>
                    <a:lnTo>
                      <a:pt x="3052" y="1016"/>
                    </a:lnTo>
                    <a:lnTo>
                      <a:pt x="3057" y="1016"/>
                    </a:lnTo>
                    <a:lnTo>
                      <a:pt x="3057" y="1016"/>
                    </a:lnTo>
                    <a:lnTo>
                      <a:pt x="3057" y="1016"/>
                    </a:lnTo>
                    <a:close/>
                    <a:moveTo>
                      <a:pt x="2015" y="1033"/>
                    </a:moveTo>
                    <a:lnTo>
                      <a:pt x="2024" y="1033"/>
                    </a:lnTo>
                    <a:lnTo>
                      <a:pt x="2036" y="1016"/>
                    </a:lnTo>
                    <a:lnTo>
                      <a:pt x="2024" y="1049"/>
                    </a:lnTo>
                    <a:lnTo>
                      <a:pt x="2015" y="1033"/>
                    </a:lnTo>
                    <a:lnTo>
                      <a:pt x="2008" y="1044"/>
                    </a:lnTo>
                    <a:lnTo>
                      <a:pt x="2015" y="1033"/>
                    </a:lnTo>
                    <a:lnTo>
                      <a:pt x="2015" y="1033"/>
                    </a:lnTo>
                    <a:lnTo>
                      <a:pt x="2015" y="1033"/>
                    </a:lnTo>
                    <a:close/>
                    <a:moveTo>
                      <a:pt x="1977" y="1049"/>
                    </a:moveTo>
                    <a:lnTo>
                      <a:pt x="1961" y="1044"/>
                    </a:lnTo>
                    <a:lnTo>
                      <a:pt x="1982" y="1033"/>
                    </a:lnTo>
                    <a:lnTo>
                      <a:pt x="1970" y="1028"/>
                    </a:lnTo>
                    <a:lnTo>
                      <a:pt x="1977" y="1028"/>
                    </a:lnTo>
                    <a:lnTo>
                      <a:pt x="1982" y="1028"/>
                    </a:lnTo>
                    <a:lnTo>
                      <a:pt x="1991" y="1033"/>
                    </a:lnTo>
                    <a:lnTo>
                      <a:pt x="1998" y="1016"/>
                    </a:lnTo>
                    <a:lnTo>
                      <a:pt x="2015" y="1028"/>
                    </a:lnTo>
                    <a:lnTo>
                      <a:pt x="1977" y="1049"/>
                    </a:lnTo>
                    <a:lnTo>
                      <a:pt x="1977" y="1049"/>
                    </a:lnTo>
                    <a:lnTo>
                      <a:pt x="1977" y="1049"/>
                    </a:lnTo>
                    <a:close/>
                    <a:moveTo>
                      <a:pt x="2306" y="1016"/>
                    </a:moveTo>
                    <a:lnTo>
                      <a:pt x="2317" y="1028"/>
                    </a:lnTo>
                    <a:lnTo>
                      <a:pt x="2306" y="1028"/>
                    </a:lnTo>
                    <a:lnTo>
                      <a:pt x="2306" y="1016"/>
                    </a:lnTo>
                    <a:lnTo>
                      <a:pt x="2306" y="1016"/>
                    </a:lnTo>
                    <a:lnTo>
                      <a:pt x="2306" y="1016"/>
                    </a:lnTo>
                    <a:close/>
                    <a:moveTo>
                      <a:pt x="1484" y="1016"/>
                    </a:moveTo>
                    <a:lnTo>
                      <a:pt x="1507" y="1033"/>
                    </a:lnTo>
                    <a:lnTo>
                      <a:pt x="1495" y="1066"/>
                    </a:lnTo>
                    <a:lnTo>
                      <a:pt x="1495" y="1073"/>
                    </a:lnTo>
                    <a:lnTo>
                      <a:pt x="1491" y="1073"/>
                    </a:lnTo>
                    <a:lnTo>
                      <a:pt x="1491" y="1066"/>
                    </a:lnTo>
                    <a:lnTo>
                      <a:pt x="1469" y="1073"/>
                    </a:lnTo>
                    <a:lnTo>
                      <a:pt x="1441" y="1066"/>
                    </a:lnTo>
                    <a:lnTo>
                      <a:pt x="1441" y="1056"/>
                    </a:lnTo>
                    <a:lnTo>
                      <a:pt x="1458" y="1056"/>
                    </a:lnTo>
                    <a:lnTo>
                      <a:pt x="1458" y="1033"/>
                    </a:lnTo>
                    <a:lnTo>
                      <a:pt x="1484" y="1016"/>
                    </a:lnTo>
                    <a:lnTo>
                      <a:pt x="1484" y="1016"/>
                    </a:lnTo>
                    <a:lnTo>
                      <a:pt x="1484" y="1016"/>
                    </a:lnTo>
                    <a:close/>
                    <a:moveTo>
                      <a:pt x="1954" y="1028"/>
                    </a:moveTo>
                    <a:lnTo>
                      <a:pt x="1970" y="1028"/>
                    </a:lnTo>
                    <a:lnTo>
                      <a:pt x="1970" y="1033"/>
                    </a:lnTo>
                    <a:lnTo>
                      <a:pt x="1944" y="1033"/>
                    </a:lnTo>
                    <a:lnTo>
                      <a:pt x="1954" y="1028"/>
                    </a:lnTo>
                    <a:lnTo>
                      <a:pt x="1954" y="1028"/>
                    </a:lnTo>
                    <a:lnTo>
                      <a:pt x="1954" y="1028"/>
                    </a:lnTo>
                    <a:close/>
                    <a:moveTo>
                      <a:pt x="2024" y="1106"/>
                    </a:moveTo>
                    <a:lnTo>
                      <a:pt x="2062" y="1089"/>
                    </a:lnTo>
                    <a:lnTo>
                      <a:pt x="2084" y="1073"/>
                    </a:lnTo>
                    <a:lnTo>
                      <a:pt x="2100" y="1049"/>
                    </a:lnTo>
                    <a:lnTo>
                      <a:pt x="2187" y="1033"/>
                    </a:lnTo>
                    <a:lnTo>
                      <a:pt x="2197" y="1044"/>
                    </a:lnTo>
                    <a:lnTo>
                      <a:pt x="2230" y="1028"/>
                    </a:lnTo>
                    <a:lnTo>
                      <a:pt x="2246" y="1033"/>
                    </a:lnTo>
                    <a:lnTo>
                      <a:pt x="2230" y="1056"/>
                    </a:lnTo>
                    <a:lnTo>
                      <a:pt x="2197" y="1066"/>
                    </a:lnTo>
                    <a:lnTo>
                      <a:pt x="2192" y="1073"/>
                    </a:lnTo>
                    <a:lnTo>
                      <a:pt x="2171" y="1082"/>
                    </a:lnTo>
                    <a:lnTo>
                      <a:pt x="2117" y="1099"/>
                    </a:lnTo>
                    <a:lnTo>
                      <a:pt x="2091" y="1111"/>
                    </a:lnTo>
                    <a:lnTo>
                      <a:pt x="2084" y="1127"/>
                    </a:lnTo>
                    <a:lnTo>
                      <a:pt x="2046" y="1160"/>
                    </a:lnTo>
                    <a:lnTo>
                      <a:pt x="2024" y="1160"/>
                    </a:lnTo>
                    <a:lnTo>
                      <a:pt x="2008" y="1177"/>
                    </a:lnTo>
                    <a:lnTo>
                      <a:pt x="1982" y="1177"/>
                    </a:lnTo>
                    <a:lnTo>
                      <a:pt x="1982" y="1165"/>
                    </a:lnTo>
                    <a:lnTo>
                      <a:pt x="1998" y="1160"/>
                    </a:lnTo>
                    <a:lnTo>
                      <a:pt x="1982" y="1155"/>
                    </a:lnTo>
                    <a:lnTo>
                      <a:pt x="1991" y="1127"/>
                    </a:lnTo>
                    <a:lnTo>
                      <a:pt x="2024" y="1106"/>
                    </a:lnTo>
                    <a:lnTo>
                      <a:pt x="2024" y="1106"/>
                    </a:lnTo>
                    <a:lnTo>
                      <a:pt x="2024" y="1106"/>
                    </a:lnTo>
                    <a:close/>
                    <a:moveTo>
                      <a:pt x="1701" y="1033"/>
                    </a:moveTo>
                    <a:lnTo>
                      <a:pt x="1706" y="1049"/>
                    </a:lnTo>
                    <a:lnTo>
                      <a:pt x="1701" y="1049"/>
                    </a:lnTo>
                    <a:lnTo>
                      <a:pt x="1701" y="1056"/>
                    </a:lnTo>
                    <a:lnTo>
                      <a:pt x="1689" y="1056"/>
                    </a:lnTo>
                    <a:lnTo>
                      <a:pt x="1701" y="1033"/>
                    </a:lnTo>
                    <a:lnTo>
                      <a:pt x="1701" y="1033"/>
                    </a:lnTo>
                    <a:lnTo>
                      <a:pt x="1701" y="1033"/>
                    </a:lnTo>
                    <a:close/>
                    <a:moveTo>
                      <a:pt x="1944" y="1049"/>
                    </a:moveTo>
                    <a:lnTo>
                      <a:pt x="1944" y="1044"/>
                    </a:lnTo>
                    <a:lnTo>
                      <a:pt x="1961" y="1044"/>
                    </a:lnTo>
                    <a:lnTo>
                      <a:pt x="1944" y="1049"/>
                    </a:lnTo>
                    <a:lnTo>
                      <a:pt x="1944" y="1049"/>
                    </a:lnTo>
                    <a:lnTo>
                      <a:pt x="1944" y="1049"/>
                    </a:lnTo>
                    <a:close/>
                    <a:moveTo>
                      <a:pt x="1269" y="1044"/>
                    </a:moveTo>
                    <a:lnTo>
                      <a:pt x="1269" y="1033"/>
                    </a:lnTo>
                    <a:lnTo>
                      <a:pt x="1273" y="1044"/>
                    </a:lnTo>
                    <a:lnTo>
                      <a:pt x="1269" y="1044"/>
                    </a:lnTo>
                    <a:lnTo>
                      <a:pt x="1269" y="1044"/>
                    </a:lnTo>
                    <a:lnTo>
                      <a:pt x="1269" y="1044"/>
                    </a:lnTo>
                    <a:close/>
                    <a:moveTo>
                      <a:pt x="1710" y="1056"/>
                    </a:moveTo>
                    <a:lnTo>
                      <a:pt x="1710" y="1066"/>
                    </a:lnTo>
                    <a:lnTo>
                      <a:pt x="1706" y="1066"/>
                    </a:lnTo>
                    <a:lnTo>
                      <a:pt x="1710" y="1049"/>
                    </a:lnTo>
                    <a:lnTo>
                      <a:pt x="1710" y="1056"/>
                    </a:lnTo>
                    <a:lnTo>
                      <a:pt x="1710" y="1056"/>
                    </a:lnTo>
                    <a:lnTo>
                      <a:pt x="1710" y="1056"/>
                    </a:lnTo>
                    <a:close/>
                    <a:moveTo>
                      <a:pt x="1432" y="1066"/>
                    </a:moveTo>
                    <a:lnTo>
                      <a:pt x="1420" y="1056"/>
                    </a:lnTo>
                    <a:lnTo>
                      <a:pt x="1432" y="1056"/>
                    </a:lnTo>
                    <a:lnTo>
                      <a:pt x="1432" y="1066"/>
                    </a:lnTo>
                    <a:lnTo>
                      <a:pt x="1432" y="1066"/>
                    </a:lnTo>
                    <a:lnTo>
                      <a:pt x="1432" y="1066"/>
                    </a:lnTo>
                    <a:close/>
                    <a:moveTo>
                      <a:pt x="1684" y="1139"/>
                    </a:moveTo>
                    <a:lnTo>
                      <a:pt x="1658" y="1122"/>
                    </a:lnTo>
                    <a:lnTo>
                      <a:pt x="1668" y="1111"/>
                    </a:lnTo>
                    <a:lnTo>
                      <a:pt x="1684" y="1106"/>
                    </a:lnTo>
                    <a:lnTo>
                      <a:pt x="1722" y="1106"/>
                    </a:lnTo>
                    <a:lnTo>
                      <a:pt x="1727" y="1099"/>
                    </a:lnTo>
                    <a:lnTo>
                      <a:pt x="1755" y="1111"/>
                    </a:lnTo>
                    <a:lnTo>
                      <a:pt x="1755" y="1127"/>
                    </a:lnTo>
                    <a:lnTo>
                      <a:pt x="1765" y="1122"/>
                    </a:lnTo>
                    <a:lnTo>
                      <a:pt x="1776" y="1127"/>
                    </a:lnTo>
                    <a:lnTo>
                      <a:pt x="1798" y="1160"/>
                    </a:lnTo>
                    <a:lnTo>
                      <a:pt x="1781" y="1165"/>
                    </a:lnTo>
                    <a:lnTo>
                      <a:pt x="1755" y="1165"/>
                    </a:lnTo>
                    <a:lnTo>
                      <a:pt x="1710" y="1139"/>
                    </a:lnTo>
                    <a:lnTo>
                      <a:pt x="1684" y="1139"/>
                    </a:lnTo>
                    <a:lnTo>
                      <a:pt x="1684" y="1139"/>
                    </a:lnTo>
                    <a:lnTo>
                      <a:pt x="1684" y="1139"/>
                    </a:lnTo>
                    <a:close/>
                    <a:moveTo>
                      <a:pt x="1977" y="1160"/>
                    </a:moveTo>
                    <a:lnTo>
                      <a:pt x="1982" y="1165"/>
                    </a:lnTo>
                    <a:lnTo>
                      <a:pt x="1970" y="1177"/>
                    </a:lnTo>
                    <a:lnTo>
                      <a:pt x="1977" y="1160"/>
                    </a:lnTo>
                    <a:lnTo>
                      <a:pt x="1977" y="1160"/>
                    </a:lnTo>
                    <a:lnTo>
                      <a:pt x="1977" y="1160"/>
                    </a:lnTo>
                    <a:close/>
                    <a:moveTo>
                      <a:pt x="1864" y="1193"/>
                    </a:moveTo>
                    <a:lnTo>
                      <a:pt x="1869" y="1181"/>
                    </a:lnTo>
                    <a:lnTo>
                      <a:pt x="1873" y="1181"/>
                    </a:lnTo>
                    <a:lnTo>
                      <a:pt x="1869" y="1193"/>
                    </a:lnTo>
                    <a:lnTo>
                      <a:pt x="1864" y="1193"/>
                    </a:lnTo>
                    <a:lnTo>
                      <a:pt x="1864" y="1193"/>
                    </a:lnTo>
                    <a:lnTo>
                      <a:pt x="1864" y="1193"/>
                    </a:lnTo>
                    <a:close/>
                    <a:moveTo>
                      <a:pt x="1939" y="1210"/>
                    </a:moveTo>
                    <a:lnTo>
                      <a:pt x="1977" y="1181"/>
                    </a:lnTo>
                    <a:lnTo>
                      <a:pt x="1977" y="1200"/>
                    </a:lnTo>
                    <a:lnTo>
                      <a:pt x="1961" y="1210"/>
                    </a:lnTo>
                    <a:lnTo>
                      <a:pt x="1939" y="1217"/>
                    </a:lnTo>
                    <a:lnTo>
                      <a:pt x="1939" y="1210"/>
                    </a:lnTo>
                    <a:lnTo>
                      <a:pt x="1939" y="1210"/>
                    </a:lnTo>
                    <a:lnTo>
                      <a:pt x="1939" y="121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6" name="Freeform 469">
                <a:extLst>
                  <a:ext uri="{FF2B5EF4-FFF2-40B4-BE49-F238E27FC236}">
                    <a16:creationId xmlns:a16="http://schemas.microsoft.com/office/drawing/2014/main" id="{125BA4BE-43B5-49BC-96A8-122D5B760EEC}"/>
                  </a:ext>
                </a:extLst>
              </p:cNvPr>
              <p:cNvSpPr>
                <a:spLocks noEditPoints="1"/>
              </p:cNvSpPr>
              <p:nvPr/>
            </p:nvSpPr>
            <p:spPr bwMode="gray">
              <a:xfrm>
                <a:off x="8691549" y="2966603"/>
                <a:ext cx="843924" cy="897542"/>
              </a:xfrm>
              <a:custGeom>
                <a:avLst/>
                <a:gdLst>
                  <a:gd name="T0" fmla="*/ 1634 w 2050"/>
                  <a:gd name="T1" fmla="*/ 959 h 2180"/>
                  <a:gd name="T2" fmla="*/ 1701 w 2050"/>
                  <a:gd name="T3" fmla="*/ 839 h 2180"/>
                  <a:gd name="T4" fmla="*/ 1507 w 2050"/>
                  <a:gd name="T5" fmla="*/ 756 h 2180"/>
                  <a:gd name="T6" fmla="*/ 1419 w 2050"/>
                  <a:gd name="T7" fmla="*/ 711 h 2180"/>
                  <a:gd name="T8" fmla="*/ 1469 w 2050"/>
                  <a:gd name="T9" fmla="*/ 810 h 2180"/>
                  <a:gd name="T10" fmla="*/ 1441 w 2050"/>
                  <a:gd name="T11" fmla="*/ 876 h 2180"/>
                  <a:gd name="T12" fmla="*/ 1474 w 2050"/>
                  <a:gd name="T13" fmla="*/ 1049 h 2180"/>
                  <a:gd name="T14" fmla="*/ 1431 w 2050"/>
                  <a:gd name="T15" fmla="*/ 1094 h 2180"/>
                  <a:gd name="T16" fmla="*/ 1386 w 2050"/>
                  <a:gd name="T17" fmla="*/ 1020 h 2180"/>
                  <a:gd name="T18" fmla="*/ 1327 w 2050"/>
                  <a:gd name="T19" fmla="*/ 1160 h 2180"/>
                  <a:gd name="T20" fmla="*/ 1219 w 2050"/>
                  <a:gd name="T21" fmla="*/ 1238 h 2180"/>
                  <a:gd name="T22" fmla="*/ 1171 w 2050"/>
                  <a:gd name="T23" fmla="*/ 1276 h 2180"/>
                  <a:gd name="T24" fmla="*/ 954 w 2050"/>
                  <a:gd name="T25" fmla="*/ 1481 h 2180"/>
                  <a:gd name="T26" fmla="*/ 848 w 2050"/>
                  <a:gd name="T27" fmla="*/ 1609 h 2180"/>
                  <a:gd name="T28" fmla="*/ 827 w 2050"/>
                  <a:gd name="T29" fmla="*/ 1864 h 2180"/>
                  <a:gd name="T30" fmla="*/ 765 w 2050"/>
                  <a:gd name="T31" fmla="*/ 1998 h 2180"/>
                  <a:gd name="T32" fmla="*/ 593 w 2050"/>
                  <a:gd name="T33" fmla="*/ 2020 h 2180"/>
                  <a:gd name="T34" fmla="*/ 534 w 2050"/>
                  <a:gd name="T35" fmla="*/ 1835 h 2180"/>
                  <a:gd name="T36" fmla="*/ 404 w 2050"/>
                  <a:gd name="T37" fmla="*/ 1547 h 2180"/>
                  <a:gd name="T38" fmla="*/ 340 w 2050"/>
                  <a:gd name="T39" fmla="*/ 1292 h 2180"/>
                  <a:gd name="T40" fmla="*/ 340 w 2050"/>
                  <a:gd name="T41" fmla="*/ 1148 h 2180"/>
                  <a:gd name="T42" fmla="*/ 356 w 2050"/>
                  <a:gd name="T43" fmla="*/ 1077 h 2180"/>
                  <a:gd name="T44" fmla="*/ 286 w 2050"/>
                  <a:gd name="T45" fmla="*/ 1037 h 2180"/>
                  <a:gd name="T46" fmla="*/ 297 w 2050"/>
                  <a:gd name="T47" fmla="*/ 1087 h 2180"/>
                  <a:gd name="T48" fmla="*/ 172 w 2050"/>
                  <a:gd name="T49" fmla="*/ 983 h 2180"/>
                  <a:gd name="T50" fmla="*/ 26 w 2050"/>
                  <a:gd name="T51" fmla="*/ 933 h 2180"/>
                  <a:gd name="T52" fmla="*/ 64 w 2050"/>
                  <a:gd name="T53" fmla="*/ 888 h 2180"/>
                  <a:gd name="T54" fmla="*/ 198 w 2050"/>
                  <a:gd name="T55" fmla="*/ 872 h 2180"/>
                  <a:gd name="T56" fmla="*/ 125 w 2050"/>
                  <a:gd name="T57" fmla="*/ 704 h 2180"/>
                  <a:gd name="T58" fmla="*/ 286 w 2050"/>
                  <a:gd name="T59" fmla="*/ 560 h 2180"/>
                  <a:gd name="T60" fmla="*/ 458 w 2050"/>
                  <a:gd name="T61" fmla="*/ 354 h 2180"/>
                  <a:gd name="T62" fmla="*/ 486 w 2050"/>
                  <a:gd name="T63" fmla="*/ 243 h 2180"/>
                  <a:gd name="T64" fmla="*/ 411 w 2050"/>
                  <a:gd name="T65" fmla="*/ 111 h 2180"/>
                  <a:gd name="T66" fmla="*/ 621 w 2050"/>
                  <a:gd name="T67" fmla="*/ 61 h 2180"/>
                  <a:gd name="T68" fmla="*/ 751 w 2050"/>
                  <a:gd name="T69" fmla="*/ 111 h 2180"/>
                  <a:gd name="T70" fmla="*/ 751 w 2050"/>
                  <a:gd name="T71" fmla="*/ 243 h 2180"/>
                  <a:gd name="T72" fmla="*/ 756 w 2050"/>
                  <a:gd name="T73" fmla="*/ 338 h 2180"/>
                  <a:gd name="T74" fmla="*/ 864 w 2050"/>
                  <a:gd name="T75" fmla="*/ 477 h 2180"/>
                  <a:gd name="T76" fmla="*/ 982 w 2050"/>
                  <a:gd name="T77" fmla="*/ 600 h 2180"/>
                  <a:gd name="T78" fmla="*/ 1129 w 2050"/>
                  <a:gd name="T79" fmla="*/ 633 h 2180"/>
                  <a:gd name="T80" fmla="*/ 1327 w 2050"/>
                  <a:gd name="T81" fmla="*/ 711 h 2180"/>
                  <a:gd name="T82" fmla="*/ 1403 w 2050"/>
                  <a:gd name="T83" fmla="*/ 600 h 2180"/>
                  <a:gd name="T84" fmla="*/ 1474 w 2050"/>
                  <a:gd name="T85" fmla="*/ 687 h 2180"/>
                  <a:gd name="T86" fmla="*/ 1684 w 2050"/>
                  <a:gd name="T87" fmla="*/ 683 h 2180"/>
                  <a:gd name="T88" fmla="*/ 1710 w 2050"/>
                  <a:gd name="T89" fmla="*/ 609 h 2180"/>
                  <a:gd name="T90" fmla="*/ 1916 w 2050"/>
                  <a:gd name="T91" fmla="*/ 517 h 2180"/>
                  <a:gd name="T92" fmla="*/ 1982 w 2050"/>
                  <a:gd name="T93" fmla="*/ 555 h 2180"/>
                  <a:gd name="T94" fmla="*/ 2024 w 2050"/>
                  <a:gd name="T95" fmla="*/ 654 h 2180"/>
                  <a:gd name="T96" fmla="*/ 1861 w 2050"/>
                  <a:gd name="T97" fmla="*/ 810 h 2180"/>
                  <a:gd name="T98" fmla="*/ 1764 w 2050"/>
                  <a:gd name="T99" fmla="*/ 983 h 2180"/>
                  <a:gd name="T100" fmla="*/ 1705 w 2050"/>
                  <a:gd name="T101" fmla="*/ 983 h 2180"/>
                  <a:gd name="T102" fmla="*/ 1441 w 2050"/>
                  <a:gd name="T103" fmla="*/ 1070 h 2180"/>
                  <a:gd name="T104" fmla="*/ 1743 w 2050"/>
                  <a:gd name="T105" fmla="*/ 1687 h 2180"/>
                  <a:gd name="T106" fmla="*/ 1727 w 2050"/>
                  <a:gd name="T107" fmla="*/ 1743 h 2180"/>
                  <a:gd name="T108" fmla="*/ 1727 w 2050"/>
                  <a:gd name="T109" fmla="*/ 1776 h 2180"/>
                  <a:gd name="T110" fmla="*/ 1727 w 2050"/>
                  <a:gd name="T111" fmla="*/ 1793 h 2180"/>
                  <a:gd name="T112" fmla="*/ 1701 w 2050"/>
                  <a:gd name="T113" fmla="*/ 1831 h 2180"/>
                  <a:gd name="T114" fmla="*/ 1722 w 2050"/>
                  <a:gd name="T115" fmla="*/ 1847 h 2180"/>
                  <a:gd name="T116" fmla="*/ 1710 w 2050"/>
                  <a:gd name="T117" fmla="*/ 1887 h 2180"/>
                  <a:gd name="T118" fmla="*/ 1755 w 2050"/>
                  <a:gd name="T119" fmla="*/ 2069 h 2180"/>
                  <a:gd name="T120" fmla="*/ 1776 w 2050"/>
                  <a:gd name="T121" fmla="*/ 2091 h 2180"/>
                  <a:gd name="T122" fmla="*/ 1793 w 2050"/>
                  <a:gd name="T123" fmla="*/ 2091 h 2180"/>
                  <a:gd name="T124" fmla="*/ 1814 w 2050"/>
                  <a:gd name="T125" fmla="*/ 2164 h 2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50" h="2180">
                    <a:moveTo>
                      <a:pt x="1701" y="926"/>
                    </a:moveTo>
                    <a:lnTo>
                      <a:pt x="1684" y="933"/>
                    </a:lnTo>
                    <a:lnTo>
                      <a:pt x="1672" y="926"/>
                    </a:lnTo>
                    <a:lnTo>
                      <a:pt x="1672" y="943"/>
                    </a:lnTo>
                    <a:lnTo>
                      <a:pt x="1656" y="959"/>
                    </a:lnTo>
                    <a:lnTo>
                      <a:pt x="1667" y="976"/>
                    </a:lnTo>
                    <a:lnTo>
                      <a:pt x="1656" y="983"/>
                    </a:lnTo>
                    <a:lnTo>
                      <a:pt x="1646" y="983"/>
                    </a:lnTo>
                    <a:lnTo>
                      <a:pt x="1634" y="959"/>
                    </a:lnTo>
                    <a:lnTo>
                      <a:pt x="1634" y="976"/>
                    </a:lnTo>
                    <a:lnTo>
                      <a:pt x="1630" y="976"/>
                    </a:lnTo>
                    <a:lnTo>
                      <a:pt x="1618" y="933"/>
                    </a:lnTo>
                    <a:lnTo>
                      <a:pt x="1630" y="909"/>
                    </a:lnTo>
                    <a:lnTo>
                      <a:pt x="1634" y="893"/>
                    </a:lnTo>
                    <a:lnTo>
                      <a:pt x="1667" y="893"/>
                    </a:lnTo>
                    <a:lnTo>
                      <a:pt x="1672" y="876"/>
                    </a:lnTo>
                    <a:lnTo>
                      <a:pt x="1689" y="872"/>
                    </a:lnTo>
                    <a:lnTo>
                      <a:pt x="1701" y="839"/>
                    </a:lnTo>
                    <a:lnTo>
                      <a:pt x="1710" y="839"/>
                    </a:lnTo>
                    <a:lnTo>
                      <a:pt x="1705" y="822"/>
                    </a:lnTo>
                    <a:lnTo>
                      <a:pt x="1684" y="815"/>
                    </a:lnTo>
                    <a:lnTo>
                      <a:pt x="1566" y="815"/>
                    </a:lnTo>
                    <a:lnTo>
                      <a:pt x="1528" y="810"/>
                    </a:lnTo>
                    <a:lnTo>
                      <a:pt x="1528" y="761"/>
                    </a:lnTo>
                    <a:lnTo>
                      <a:pt x="1521" y="737"/>
                    </a:lnTo>
                    <a:lnTo>
                      <a:pt x="1512" y="737"/>
                    </a:lnTo>
                    <a:lnTo>
                      <a:pt x="1507" y="756"/>
                    </a:lnTo>
                    <a:lnTo>
                      <a:pt x="1490" y="756"/>
                    </a:lnTo>
                    <a:lnTo>
                      <a:pt x="1474" y="737"/>
                    </a:lnTo>
                    <a:lnTo>
                      <a:pt x="1474" y="721"/>
                    </a:lnTo>
                    <a:lnTo>
                      <a:pt x="1469" y="721"/>
                    </a:lnTo>
                    <a:lnTo>
                      <a:pt x="1457" y="721"/>
                    </a:lnTo>
                    <a:lnTo>
                      <a:pt x="1474" y="728"/>
                    </a:lnTo>
                    <a:lnTo>
                      <a:pt x="1457" y="737"/>
                    </a:lnTo>
                    <a:lnTo>
                      <a:pt x="1431" y="704"/>
                    </a:lnTo>
                    <a:lnTo>
                      <a:pt x="1419" y="711"/>
                    </a:lnTo>
                    <a:lnTo>
                      <a:pt x="1431" y="711"/>
                    </a:lnTo>
                    <a:lnTo>
                      <a:pt x="1436" y="721"/>
                    </a:lnTo>
                    <a:lnTo>
                      <a:pt x="1415" y="737"/>
                    </a:lnTo>
                    <a:lnTo>
                      <a:pt x="1403" y="761"/>
                    </a:lnTo>
                    <a:lnTo>
                      <a:pt x="1419" y="765"/>
                    </a:lnTo>
                    <a:lnTo>
                      <a:pt x="1436" y="794"/>
                    </a:lnTo>
                    <a:lnTo>
                      <a:pt x="1453" y="794"/>
                    </a:lnTo>
                    <a:lnTo>
                      <a:pt x="1457" y="798"/>
                    </a:lnTo>
                    <a:lnTo>
                      <a:pt x="1469" y="810"/>
                    </a:lnTo>
                    <a:lnTo>
                      <a:pt x="1469" y="815"/>
                    </a:lnTo>
                    <a:lnTo>
                      <a:pt x="1431" y="815"/>
                    </a:lnTo>
                    <a:lnTo>
                      <a:pt x="1419" y="839"/>
                    </a:lnTo>
                    <a:lnTo>
                      <a:pt x="1403" y="832"/>
                    </a:lnTo>
                    <a:lnTo>
                      <a:pt x="1415" y="839"/>
                    </a:lnTo>
                    <a:lnTo>
                      <a:pt x="1398" y="855"/>
                    </a:lnTo>
                    <a:lnTo>
                      <a:pt x="1403" y="865"/>
                    </a:lnTo>
                    <a:lnTo>
                      <a:pt x="1436" y="876"/>
                    </a:lnTo>
                    <a:lnTo>
                      <a:pt x="1441" y="876"/>
                    </a:lnTo>
                    <a:lnTo>
                      <a:pt x="1453" y="888"/>
                    </a:lnTo>
                    <a:lnTo>
                      <a:pt x="1453" y="909"/>
                    </a:lnTo>
                    <a:lnTo>
                      <a:pt x="1436" y="921"/>
                    </a:lnTo>
                    <a:lnTo>
                      <a:pt x="1436" y="933"/>
                    </a:lnTo>
                    <a:lnTo>
                      <a:pt x="1453" y="943"/>
                    </a:lnTo>
                    <a:lnTo>
                      <a:pt x="1453" y="959"/>
                    </a:lnTo>
                    <a:lnTo>
                      <a:pt x="1469" y="966"/>
                    </a:lnTo>
                    <a:lnTo>
                      <a:pt x="1457" y="983"/>
                    </a:lnTo>
                    <a:lnTo>
                      <a:pt x="1474" y="1049"/>
                    </a:lnTo>
                    <a:lnTo>
                      <a:pt x="1469" y="1061"/>
                    </a:lnTo>
                    <a:lnTo>
                      <a:pt x="1474" y="1087"/>
                    </a:lnTo>
                    <a:lnTo>
                      <a:pt x="1441" y="1094"/>
                    </a:lnTo>
                    <a:lnTo>
                      <a:pt x="1453" y="1054"/>
                    </a:lnTo>
                    <a:lnTo>
                      <a:pt x="1441" y="1054"/>
                    </a:lnTo>
                    <a:lnTo>
                      <a:pt x="1441" y="1061"/>
                    </a:lnTo>
                    <a:lnTo>
                      <a:pt x="1441" y="1037"/>
                    </a:lnTo>
                    <a:lnTo>
                      <a:pt x="1436" y="1094"/>
                    </a:lnTo>
                    <a:lnTo>
                      <a:pt x="1431" y="1094"/>
                    </a:lnTo>
                    <a:lnTo>
                      <a:pt x="1436" y="1061"/>
                    </a:lnTo>
                    <a:lnTo>
                      <a:pt x="1431" y="1087"/>
                    </a:lnTo>
                    <a:lnTo>
                      <a:pt x="1419" y="1087"/>
                    </a:lnTo>
                    <a:lnTo>
                      <a:pt x="1415" y="1070"/>
                    </a:lnTo>
                    <a:lnTo>
                      <a:pt x="1415" y="1094"/>
                    </a:lnTo>
                    <a:lnTo>
                      <a:pt x="1403" y="1061"/>
                    </a:lnTo>
                    <a:lnTo>
                      <a:pt x="1415" y="1049"/>
                    </a:lnTo>
                    <a:lnTo>
                      <a:pt x="1398" y="1037"/>
                    </a:lnTo>
                    <a:lnTo>
                      <a:pt x="1386" y="1020"/>
                    </a:lnTo>
                    <a:lnTo>
                      <a:pt x="1398" y="1037"/>
                    </a:lnTo>
                    <a:lnTo>
                      <a:pt x="1415" y="1054"/>
                    </a:lnTo>
                    <a:lnTo>
                      <a:pt x="1382" y="1077"/>
                    </a:lnTo>
                    <a:lnTo>
                      <a:pt x="1344" y="1094"/>
                    </a:lnTo>
                    <a:lnTo>
                      <a:pt x="1327" y="1103"/>
                    </a:lnTo>
                    <a:lnTo>
                      <a:pt x="1311" y="1115"/>
                    </a:lnTo>
                    <a:lnTo>
                      <a:pt x="1327" y="1148"/>
                    </a:lnTo>
                    <a:lnTo>
                      <a:pt x="1323" y="1148"/>
                    </a:lnTo>
                    <a:lnTo>
                      <a:pt x="1327" y="1160"/>
                    </a:lnTo>
                    <a:lnTo>
                      <a:pt x="1311" y="1172"/>
                    </a:lnTo>
                    <a:lnTo>
                      <a:pt x="1306" y="1181"/>
                    </a:lnTo>
                    <a:lnTo>
                      <a:pt x="1311" y="1172"/>
                    </a:lnTo>
                    <a:lnTo>
                      <a:pt x="1311" y="1181"/>
                    </a:lnTo>
                    <a:lnTo>
                      <a:pt x="1290" y="1198"/>
                    </a:lnTo>
                    <a:lnTo>
                      <a:pt x="1290" y="1214"/>
                    </a:lnTo>
                    <a:lnTo>
                      <a:pt x="1273" y="1205"/>
                    </a:lnTo>
                    <a:lnTo>
                      <a:pt x="1280" y="1214"/>
                    </a:lnTo>
                    <a:lnTo>
                      <a:pt x="1219" y="1238"/>
                    </a:lnTo>
                    <a:lnTo>
                      <a:pt x="1226" y="1221"/>
                    </a:lnTo>
                    <a:lnTo>
                      <a:pt x="1219" y="1214"/>
                    </a:lnTo>
                    <a:lnTo>
                      <a:pt x="1205" y="1226"/>
                    </a:lnTo>
                    <a:lnTo>
                      <a:pt x="1197" y="1243"/>
                    </a:lnTo>
                    <a:lnTo>
                      <a:pt x="1205" y="1238"/>
                    </a:lnTo>
                    <a:lnTo>
                      <a:pt x="1214" y="1226"/>
                    </a:lnTo>
                    <a:lnTo>
                      <a:pt x="1214" y="1238"/>
                    </a:lnTo>
                    <a:lnTo>
                      <a:pt x="1167" y="1276"/>
                    </a:lnTo>
                    <a:lnTo>
                      <a:pt x="1171" y="1276"/>
                    </a:lnTo>
                    <a:lnTo>
                      <a:pt x="1167" y="1283"/>
                    </a:lnTo>
                    <a:lnTo>
                      <a:pt x="1129" y="1332"/>
                    </a:lnTo>
                    <a:lnTo>
                      <a:pt x="1091" y="1354"/>
                    </a:lnTo>
                    <a:lnTo>
                      <a:pt x="1063" y="1387"/>
                    </a:lnTo>
                    <a:lnTo>
                      <a:pt x="1004" y="1427"/>
                    </a:lnTo>
                    <a:lnTo>
                      <a:pt x="999" y="1436"/>
                    </a:lnTo>
                    <a:lnTo>
                      <a:pt x="1004" y="1443"/>
                    </a:lnTo>
                    <a:lnTo>
                      <a:pt x="999" y="1460"/>
                    </a:lnTo>
                    <a:lnTo>
                      <a:pt x="954" y="1481"/>
                    </a:lnTo>
                    <a:lnTo>
                      <a:pt x="928" y="1481"/>
                    </a:lnTo>
                    <a:lnTo>
                      <a:pt x="912" y="1521"/>
                    </a:lnTo>
                    <a:lnTo>
                      <a:pt x="895" y="1514"/>
                    </a:lnTo>
                    <a:lnTo>
                      <a:pt x="895" y="1505"/>
                    </a:lnTo>
                    <a:lnTo>
                      <a:pt x="895" y="1521"/>
                    </a:lnTo>
                    <a:lnTo>
                      <a:pt x="890" y="1514"/>
                    </a:lnTo>
                    <a:lnTo>
                      <a:pt x="857" y="1531"/>
                    </a:lnTo>
                    <a:lnTo>
                      <a:pt x="841" y="1576"/>
                    </a:lnTo>
                    <a:lnTo>
                      <a:pt x="848" y="1609"/>
                    </a:lnTo>
                    <a:lnTo>
                      <a:pt x="841" y="1642"/>
                    </a:lnTo>
                    <a:lnTo>
                      <a:pt x="857" y="1698"/>
                    </a:lnTo>
                    <a:lnTo>
                      <a:pt x="848" y="1670"/>
                    </a:lnTo>
                    <a:lnTo>
                      <a:pt x="841" y="1682"/>
                    </a:lnTo>
                    <a:lnTo>
                      <a:pt x="857" y="1703"/>
                    </a:lnTo>
                    <a:lnTo>
                      <a:pt x="848" y="1769"/>
                    </a:lnTo>
                    <a:lnTo>
                      <a:pt x="827" y="1798"/>
                    </a:lnTo>
                    <a:lnTo>
                      <a:pt x="819" y="1826"/>
                    </a:lnTo>
                    <a:lnTo>
                      <a:pt x="827" y="1864"/>
                    </a:lnTo>
                    <a:lnTo>
                      <a:pt x="827" y="1925"/>
                    </a:lnTo>
                    <a:lnTo>
                      <a:pt x="789" y="1925"/>
                    </a:lnTo>
                    <a:lnTo>
                      <a:pt x="782" y="1942"/>
                    </a:lnTo>
                    <a:lnTo>
                      <a:pt x="756" y="1980"/>
                    </a:lnTo>
                    <a:lnTo>
                      <a:pt x="765" y="1998"/>
                    </a:lnTo>
                    <a:lnTo>
                      <a:pt x="789" y="1998"/>
                    </a:lnTo>
                    <a:lnTo>
                      <a:pt x="793" y="2003"/>
                    </a:lnTo>
                    <a:lnTo>
                      <a:pt x="789" y="1998"/>
                    </a:lnTo>
                    <a:lnTo>
                      <a:pt x="765" y="1998"/>
                    </a:lnTo>
                    <a:lnTo>
                      <a:pt x="727" y="2015"/>
                    </a:lnTo>
                    <a:lnTo>
                      <a:pt x="713" y="2020"/>
                    </a:lnTo>
                    <a:lnTo>
                      <a:pt x="701" y="2057"/>
                    </a:lnTo>
                    <a:lnTo>
                      <a:pt x="664" y="2086"/>
                    </a:lnTo>
                    <a:lnTo>
                      <a:pt x="647" y="2086"/>
                    </a:lnTo>
                    <a:lnTo>
                      <a:pt x="626" y="2057"/>
                    </a:lnTo>
                    <a:lnTo>
                      <a:pt x="593" y="2031"/>
                    </a:lnTo>
                    <a:lnTo>
                      <a:pt x="605" y="2020"/>
                    </a:lnTo>
                    <a:lnTo>
                      <a:pt x="593" y="2020"/>
                    </a:lnTo>
                    <a:lnTo>
                      <a:pt x="576" y="1998"/>
                    </a:lnTo>
                    <a:lnTo>
                      <a:pt x="571" y="1946"/>
                    </a:lnTo>
                    <a:lnTo>
                      <a:pt x="576" y="1958"/>
                    </a:lnTo>
                    <a:lnTo>
                      <a:pt x="576" y="1980"/>
                    </a:lnTo>
                    <a:lnTo>
                      <a:pt x="588" y="1980"/>
                    </a:lnTo>
                    <a:lnTo>
                      <a:pt x="571" y="1937"/>
                    </a:lnTo>
                    <a:lnTo>
                      <a:pt x="571" y="1946"/>
                    </a:lnTo>
                    <a:lnTo>
                      <a:pt x="571" y="1942"/>
                    </a:lnTo>
                    <a:lnTo>
                      <a:pt x="534" y="1835"/>
                    </a:lnTo>
                    <a:lnTo>
                      <a:pt x="501" y="1798"/>
                    </a:lnTo>
                    <a:lnTo>
                      <a:pt x="470" y="1736"/>
                    </a:lnTo>
                    <a:lnTo>
                      <a:pt x="442" y="1616"/>
                    </a:lnTo>
                    <a:lnTo>
                      <a:pt x="442" y="1609"/>
                    </a:lnTo>
                    <a:lnTo>
                      <a:pt x="432" y="1616"/>
                    </a:lnTo>
                    <a:lnTo>
                      <a:pt x="432" y="1604"/>
                    </a:lnTo>
                    <a:lnTo>
                      <a:pt x="425" y="1592"/>
                    </a:lnTo>
                    <a:lnTo>
                      <a:pt x="411" y="1554"/>
                    </a:lnTo>
                    <a:lnTo>
                      <a:pt x="404" y="1547"/>
                    </a:lnTo>
                    <a:lnTo>
                      <a:pt x="411" y="1554"/>
                    </a:lnTo>
                    <a:lnTo>
                      <a:pt x="404" y="1547"/>
                    </a:lnTo>
                    <a:lnTo>
                      <a:pt x="378" y="1498"/>
                    </a:lnTo>
                    <a:lnTo>
                      <a:pt x="361" y="1427"/>
                    </a:lnTo>
                    <a:lnTo>
                      <a:pt x="335" y="1309"/>
                    </a:lnTo>
                    <a:lnTo>
                      <a:pt x="335" y="1299"/>
                    </a:lnTo>
                    <a:lnTo>
                      <a:pt x="340" y="1299"/>
                    </a:lnTo>
                    <a:lnTo>
                      <a:pt x="349" y="1299"/>
                    </a:lnTo>
                    <a:lnTo>
                      <a:pt x="340" y="1292"/>
                    </a:lnTo>
                    <a:lnTo>
                      <a:pt x="349" y="1283"/>
                    </a:lnTo>
                    <a:lnTo>
                      <a:pt x="340" y="1276"/>
                    </a:lnTo>
                    <a:lnTo>
                      <a:pt x="335" y="1292"/>
                    </a:lnTo>
                    <a:lnTo>
                      <a:pt x="335" y="1283"/>
                    </a:lnTo>
                    <a:lnTo>
                      <a:pt x="335" y="1259"/>
                    </a:lnTo>
                    <a:lnTo>
                      <a:pt x="349" y="1271"/>
                    </a:lnTo>
                    <a:lnTo>
                      <a:pt x="323" y="1254"/>
                    </a:lnTo>
                    <a:lnTo>
                      <a:pt x="323" y="1221"/>
                    </a:lnTo>
                    <a:lnTo>
                      <a:pt x="340" y="1148"/>
                    </a:lnTo>
                    <a:lnTo>
                      <a:pt x="335" y="1143"/>
                    </a:lnTo>
                    <a:lnTo>
                      <a:pt x="335" y="1127"/>
                    </a:lnTo>
                    <a:lnTo>
                      <a:pt x="319" y="1127"/>
                    </a:lnTo>
                    <a:lnTo>
                      <a:pt x="323" y="1115"/>
                    </a:lnTo>
                    <a:lnTo>
                      <a:pt x="319" y="1103"/>
                    </a:lnTo>
                    <a:lnTo>
                      <a:pt x="323" y="1103"/>
                    </a:lnTo>
                    <a:lnTo>
                      <a:pt x="319" y="1103"/>
                    </a:lnTo>
                    <a:lnTo>
                      <a:pt x="335" y="1087"/>
                    </a:lnTo>
                    <a:lnTo>
                      <a:pt x="356" y="1077"/>
                    </a:lnTo>
                    <a:lnTo>
                      <a:pt x="307" y="1087"/>
                    </a:lnTo>
                    <a:lnTo>
                      <a:pt x="319" y="1070"/>
                    </a:lnTo>
                    <a:lnTo>
                      <a:pt x="323" y="1061"/>
                    </a:lnTo>
                    <a:lnTo>
                      <a:pt x="319" y="1061"/>
                    </a:lnTo>
                    <a:lnTo>
                      <a:pt x="307" y="1061"/>
                    </a:lnTo>
                    <a:lnTo>
                      <a:pt x="319" y="1049"/>
                    </a:lnTo>
                    <a:lnTo>
                      <a:pt x="323" y="1049"/>
                    </a:lnTo>
                    <a:lnTo>
                      <a:pt x="340" y="1037"/>
                    </a:lnTo>
                    <a:lnTo>
                      <a:pt x="286" y="1037"/>
                    </a:lnTo>
                    <a:lnTo>
                      <a:pt x="302" y="1049"/>
                    </a:lnTo>
                    <a:lnTo>
                      <a:pt x="297" y="1054"/>
                    </a:lnTo>
                    <a:lnTo>
                      <a:pt x="281" y="1061"/>
                    </a:lnTo>
                    <a:lnTo>
                      <a:pt x="286" y="1061"/>
                    </a:lnTo>
                    <a:lnTo>
                      <a:pt x="286" y="1070"/>
                    </a:lnTo>
                    <a:lnTo>
                      <a:pt x="281" y="1070"/>
                    </a:lnTo>
                    <a:lnTo>
                      <a:pt x="281" y="1077"/>
                    </a:lnTo>
                    <a:lnTo>
                      <a:pt x="286" y="1070"/>
                    </a:lnTo>
                    <a:lnTo>
                      <a:pt x="297" y="1087"/>
                    </a:lnTo>
                    <a:lnTo>
                      <a:pt x="286" y="1115"/>
                    </a:lnTo>
                    <a:lnTo>
                      <a:pt x="243" y="1143"/>
                    </a:lnTo>
                    <a:lnTo>
                      <a:pt x="193" y="1160"/>
                    </a:lnTo>
                    <a:lnTo>
                      <a:pt x="139" y="1127"/>
                    </a:lnTo>
                    <a:lnTo>
                      <a:pt x="64" y="1037"/>
                    </a:lnTo>
                    <a:lnTo>
                      <a:pt x="71" y="1020"/>
                    </a:lnTo>
                    <a:lnTo>
                      <a:pt x="80" y="1037"/>
                    </a:lnTo>
                    <a:lnTo>
                      <a:pt x="146" y="1016"/>
                    </a:lnTo>
                    <a:lnTo>
                      <a:pt x="172" y="983"/>
                    </a:lnTo>
                    <a:lnTo>
                      <a:pt x="172" y="976"/>
                    </a:lnTo>
                    <a:lnTo>
                      <a:pt x="163" y="976"/>
                    </a:lnTo>
                    <a:lnTo>
                      <a:pt x="163" y="983"/>
                    </a:lnTo>
                    <a:lnTo>
                      <a:pt x="125" y="987"/>
                    </a:lnTo>
                    <a:lnTo>
                      <a:pt x="118" y="999"/>
                    </a:lnTo>
                    <a:lnTo>
                      <a:pt x="80" y="987"/>
                    </a:lnTo>
                    <a:lnTo>
                      <a:pt x="38" y="966"/>
                    </a:lnTo>
                    <a:lnTo>
                      <a:pt x="26" y="950"/>
                    </a:lnTo>
                    <a:lnTo>
                      <a:pt x="26" y="933"/>
                    </a:lnTo>
                    <a:lnTo>
                      <a:pt x="49" y="921"/>
                    </a:lnTo>
                    <a:lnTo>
                      <a:pt x="26" y="926"/>
                    </a:lnTo>
                    <a:lnTo>
                      <a:pt x="16" y="933"/>
                    </a:lnTo>
                    <a:lnTo>
                      <a:pt x="0" y="933"/>
                    </a:lnTo>
                    <a:lnTo>
                      <a:pt x="12" y="921"/>
                    </a:lnTo>
                    <a:lnTo>
                      <a:pt x="16" y="909"/>
                    </a:lnTo>
                    <a:lnTo>
                      <a:pt x="49" y="909"/>
                    </a:lnTo>
                    <a:lnTo>
                      <a:pt x="49" y="876"/>
                    </a:lnTo>
                    <a:lnTo>
                      <a:pt x="64" y="888"/>
                    </a:lnTo>
                    <a:lnTo>
                      <a:pt x="108" y="888"/>
                    </a:lnTo>
                    <a:lnTo>
                      <a:pt x="118" y="893"/>
                    </a:lnTo>
                    <a:lnTo>
                      <a:pt x="134" y="893"/>
                    </a:lnTo>
                    <a:lnTo>
                      <a:pt x="139" y="876"/>
                    </a:lnTo>
                    <a:lnTo>
                      <a:pt x="172" y="872"/>
                    </a:lnTo>
                    <a:lnTo>
                      <a:pt x="177" y="888"/>
                    </a:lnTo>
                    <a:lnTo>
                      <a:pt x="189" y="888"/>
                    </a:lnTo>
                    <a:lnTo>
                      <a:pt x="210" y="872"/>
                    </a:lnTo>
                    <a:lnTo>
                      <a:pt x="198" y="872"/>
                    </a:lnTo>
                    <a:lnTo>
                      <a:pt x="198" y="855"/>
                    </a:lnTo>
                    <a:lnTo>
                      <a:pt x="210" y="855"/>
                    </a:lnTo>
                    <a:lnTo>
                      <a:pt x="193" y="815"/>
                    </a:lnTo>
                    <a:lnTo>
                      <a:pt x="189" y="798"/>
                    </a:lnTo>
                    <a:lnTo>
                      <a:pt x="177" y="777"/>
                    </a:lnTo>
                    <a:lnTo>
                      <a:pt x="156" y="777"/>
                    </a:lnTo>
                    <a:lnTo>
                      <a:pt x="139" y="756"/>
                    </a:lnTo>
                    <a:lnTo>
                      <a:pt x="146" y="711"/>
                    </a:lnTo>
                    <a:lnTo>
                      <a:pt x="125" y="704"/>
                    </a:lnTo>
                    <a:lnTo>
                      <a:pt x="101" y="699"/>
                    </a:lnTo>
                    <a:lnTo>
                      <a:pt x="108" y="654"/>
                    </a:lnTo>
                    <a:lnTo>
                      <a:pt x="163" y="593"/>
                    </a:lnTo>
                    <a:lnTo>
                      <a:pt x="177" y="593"/>
                    </a:lnTo>
                    <a:lnTo>
                      <a:pt x="189" y="617"/>
                    </a:lnTo>
                    <a:lnTo>
                      <a:pt x="193" y="617"/>
                    </a:lnTo>
                    <a:lnTo>
                      <a:pt x="269" y="600"/>
                    </a:lnTo>
                    <a:lnTo>
                      <a:pt x="269" y="588"/>
                    </a:lnTo>
                    <a:lnTo>
                      <a:pt x="286" y="560"/>
                    </a:lnTo>
                    <a:lnTo>
                      <a:pt x="302" y="539"/>
                    </a:lnTo>
                    <a:lnTo>
                      <a:pt x="340" y="517"/>
                    </a:lnTo>
                    <a:lnTo>
                      <a:pt x="373" y="444"/>
                    </a:lnTo>
                    <a:lnTo>
                      <a:pt x="411" y="428"/>
                    </a:lnTo>
                    <a:lnTo>
                      <a:pt x="411" y="411"/>
                    </a:lnTo>
                    <a:lnTo>
                      <a:pt x="442" y="371"/>
                    </a:lnTo>
                    <a:lnTo>
                      <a:pt x="463" y="354"/>
                    </a:lnTo>
                    <a:lnTo>
                      <a:pt x="458" y="350"/>
                    </a:lnTo>
                    <a:lnTo>
                      <a:pt x="458" y="354"/>
                    </a:lnTo>
                    <a:lnTo>
                      <a:pt x="449" y="350"/>
                    </a:lnTo>
                    <a:lnTo>
                      <a:pt x="458" y="321"/>
                    </a:lnTo>
                    <a:lnTo>
                      <a:pt x="449" y="300"/>
                    </a:lnTo>
                    <a:lnTo>
                      <a:pt x="458" y="295"/>
                    </a:lnTo>
                    <a:lnTo>
                      <a:pt x="479" y="279"/>
                    </a:lnTo>
                    <a:lnTo>
                      <a:pt x="501" y="279"/>
                    </a:lnTo>
                    <a:lnTo>
                      <a:pt x="512" y="262"/>
                    </a:lnTo>
                    <a:lnTo>
                      <a:pt x="512" y="255"/>
                    </a:lnTo>
                    <a:lnTo>
                      <a:pt x="486" y="243"/>
                    </a:lnTo>
                    <a:lnTo>
                      <a:pt x="463" y="243"/>
                    </a:lnTo>
                    <a:lnTo>
                      <a:pt x="463" y="222"/>
                    </a:lnTo>
                    <a:lnTo>
                      <a:pt x="442" y="222"/>
                    </a:lnTo>
                    <a:lnTo>
                      <a:pt x="442" y="201"/>
                    </a:lnTo>
                    <a:lnTo>
                      <a:pt x="416" y="189"/>
                    </a:lnTo>
                    <a:lnTo>
                      <a:pt x="425" y="156"/>
                    </a:lnTo>
                    <a:lnTo>
                      <a:pt x="416" y="144"/>
                    </a:lnTo>
                    <a:lnTo>
                      <a:pt x="432" y="116"/>
                    </a:lnTo>
                    <a:lnTo>
                      <a:pt x="411" y="111"/>
                    </a:lnTo>
                    <a:lnTo>
                      <a:pt x="416" y="99"/>
                    </a:lnTo>
                    <a:lnTo>
                      <a:pt x="404" y="90"/>
                    </a:lnTo>
                    <a:lnTo>
                      <a:pt x="411" y="73"/>
                    </a:lnTo>
                    <a:lnTo>
                      <a:pt x="442" y="57"/>
                    </a:lnTo>
                    <a:lnTo>
                      <a:pt x="534" y="78"/>
                    </a:lnTo>
                    <a:lnTo>
                      <a:pt x="555" y="73"/>
                    </a:lnTo>
                    <a:lnTo>
                      <a:pt x="567" y="73"/>
                    </a:lnTo>
                    <a:lnTo>
                      <a:pt x="588" y="57"/>
                    </a:lnTo>
                    <a:lnTo>
                      <a:pt x="621" y="61"/>
                    </a:lnTo>
                    <a:lnTo>
                      <a:pt x="626" y="33"/>
                    </a:lnTo>
                    <a:lnTo>
                      <a:pt x="685" y="0"/>
                    </a:lnTo>
                    <a:lnTo>
                      <a:pt x="701" y="0"/>
                    </a:lnTo>
                    <a:lnTo>
                      <a:pt x="697" y="17"/>
                    </a:lnTo>
                    <a:lnTo>
                      <a:pt x="718" y="73"/>
                    </a:lnTo>
                    <a:lnTo>
                      <a:pt x="739" y="78"/>
                    </a:lnTo>
                    <a:lnTo>
                      <a:pt x="765" y="95"/>
                    </a:lnTo>
                    <a:lnTo>
                      <a:pt x="765" y="99"/>
                    </a:lnTo>
                    <a:lnTo>
                      <a:pt x="751" y="111"/>
                    </a:lnTo>
                    <a:lnTo>
                      <a:pt x="751" y="156"/>
                    </a:lnTo>
                    <a:lnTo>
                      <a:pt x="765" y="172"/>
                    </a:lnTo>
                    <a:lnTo>
                      <a:pt x="793" y="189"/>
                    </a:lnTo>
                    <a:lnTo>
                      <a:pt x="789" y="206"/>
                    </a:lnTo>
                    <a:lnTo>
                      <a:pt x="803" y="222"/>
                    </a:lnTo>
                    <a:lnTo>
                      <a:pt x="789" y="243"/>
                    </a:lnTo>
                    <a:lnTo>
                      <a:pt x="782" y="243"/>
                    </a:lnTo>
                    <a:lnTo>
                      <a:pt x="765" y="255"/>
                    </a:lnTo>
                    <a:lnTo>
                      <a:pt x="751" y="243"/>
                    </a:lnTo>
                    <a:lnTo>
                      <a:pt x="751" y="227"/>
                    </a:lnTo>
                    <a:lnTo>
                      <a:pt x="727" y="239"/>
                    </a:lnTo>
                    <a:lnTo>
                      <a:pt x="727" y="262"/>
                    </a:lnTo>
                    <a:lnTo>
                      <a:pt x="751" y="284"/>
                    </a:lnTo>
                    <a:lnTo>
                      <a:pt x="739" y="300"/>
                    </a:lnTo>
                    <a:lnTo>
                      <a:pt x="756" y="312"/>
                    </a:lnTo>
                    <a:lnTo>
                      <a:pt x="751" y="317"/>
                    </a:lnTo>
                    <a:lnTo>
                      <a:pt x="751" y="333"/>
                    </a:lnTo>
                    <a:lnTo>
                      <a:pt x="756" y="338"/>
                    </a:lnTo>
                    <a:lnTo>
                      <a:pt x="772" y="321"/>
                    </a:lnTo>
                    <a:lnTo>
                      <a:pt x="803" y="366"/>
                    </a:lnTo>
                    <a:lnTo>
                      <a:pt x="827" y="366"/>
                    </a:lnTo>
                    <a:lnTo>
                      <a:pt x="857" y="378"/>
                    </a:lnTo>
                    <a:lnTo>
                      <a:pt x="848" y="395"/>
                    </a:lnTo>
                    <a:lnTo>
                      <a:pt x="879" y="406"/>
                    </a:lnTo>
                    <a:lnTo>
                      <a:pt x="912" y="428"/>
                    </a:lnTo>
                    <a:lnTo>
                      <a:pt x="864" y="461"/>
                    </a:lnTo>
                    <a:lnTo>
                      <a:pt x="864" y="477"/>
                    </a:lnTo>
                    <a:lnTo>
                      <a:pt x="848" y="482"/>
                    </a:lnTo>
                    <a:lnTo>
                      <a:pt x="857" y="501"/>
                    </a:lnTo>
                    <a:lnTo>
                      <a:pt x="841" y="534"/>
                    </a:lnTo>
                    <a:lnTo>
                      <a:pt x="874" y="555"/>
                    </a:lnTo>
                    <a:lnTo>
                      <a:pt x="874" y="543"/>
                    </a:lnTo>
                    <a:lnTo>
                      <a:pt x="916" y="572"/>
                    </a:lnTo>
                    <a:lnTo>
                      <a:pt x="928" y="588"/>
                    </a:lnTo>
                    <a:lnTo>
                      <a:pt x="966" y="609"/>
                    </a:lnTo>
                    <a:lnTo>
                      <a:pt x="982" y="600"/>
                    </a:lnTo>
                    <a:lnTo>
                      <a:pt x="1004" y="628"/>
                    </a:lnTo>
                    <a:lnTo>
                      <a:pt x="1025" y="617"/>
                    </a:lnTo>
                    <a:lnTo>
                      <a:pt x="1025" y="633"/>
                    </a:lnTo>
                    <a:lnTo>
                      <a:pt x="1058" y="645"/>
                    </a:lnTo>
                    <a:lnTo>
                      <a:pt x="1063" y="650"/>
                    </a:lnTo>
                    <a:lnTo>
                      <a:pt x="1075" y="645"/>
                    </a:lnTo>
                    <a:lnTo>
                      <a:pt x="1105" y="650"/>
                    </a:lnTo>
                    <a:lnTo>
                      <a:pt x="1105" y="645"/>
                    </a:lnTo>
                    <a:lnTo>
                      <a:pt x="1129" y="633"/>
                    </a:lnTo>
                    <a:lnTo>
                      <a:pt x="1134" y="645"/>
                    </a:lnTo>
                    <a:lnTo>
                      <a:pt x="1160" y="650"/>
                    </a:lnTo>
                    <a:lnTo>
                      <a:pt x="1167" y="671"/>
                    </a:lnTo>
                    <a:lnTo>
                      <a:pt x="1214" y="699"/>
                    </a:lnTo>
                    <a:lnTo>
                      <a:pt x="1226" y="683"/>
                    </a:lnTo>
                    <a:lnTo>
                      <a:pt x="1252" y="704"/>
                    </a:lnTo>
                    <a:lnTo>
                      <a:pt x="1256" y="699"/>
                    </a:lnTo>
                    <a:lnTo>
                      <a:pt x="1311" y="721"/>
                    </a:lnTo>
                    <a:lnTo>
                      <a:pt x="1327" y="711"/>
                    </a:lnTo>
                    <a:lnTo>
                      <a:pt x="1344" y="721"/>
                    </a:lnTo>
                    <a:lnTo>
                      <a:pt x="1386" y="711"/>
                    </a:lnTo>
                    <a:lnTo>
                      <a:pt x="1398" y="721"/>
                    </a:lnTo>
                    <a:lnTo>
                      <a:pt x="1415" y="699"/>
                    </a:lnTo>
                    <a:lnTo>
                      <a:pt x="1398" y="666"/>
                    </a:lnTo>
                    <a:lnTo>
                      <a:pt x="1403" y="633"/>
                    </a:lnTo>
                    <a:lnTo>
                      <a:pt x="1415" y="609"/>
                    </a:lnTo>
                    <a:lnTo>
                      <a:pt x="1403" y="609"/>
                    </a:lnTo>
                    <a:lnTo>
                      <a:pt x="1403" y="600"/>
                    </a:lnTo>
                    <a:lnTo>
                      <a:pt x="1431" y="593"/>
                    </a:lnTo>
                    <a:lnTo>
                      <a:pt x="1441" y="588"/>
                    </a:lnTo>
                    <a:lnTo>
                      <a:pt x="1457" y="593"/>
                    </a:lnTo>
                    <a:lnTo>
                      <a:pt x="1457" y="609"/>
                    </a:lnTo>
                    <a:lnTo>
                      <a:pt x="1453" y="633"/>
                    </a:lnTo>
                    <a:lnTo>
                      <a:pt x="1457" y="650"/>
                    </a:lnTo>
                    <a:lnTo>
                      <a:pt x="1453" y="666"/>
                    </a:lnTo>
                    <a:lnTo>
                      <a:pt x="1457" y="671"/>
                    </a:lnTo>
                    <a:lnTo>
                      <a:pt x="1474" y="687"/>
                    </a:lnTo>
                    <a:lnTo>
                      <a:pt x="1490" y="687"/>
                    </a:lnTo>
                    <a:lnTo>
                      <a:pt x="1512" y="699"/>
                    </a:lnTo>
                    <a:lnTo>
                      <a:pt x="1545" y="699"/>
                    </a:lnTo>
                    <a:lnTo>
                      <a:pt x="1566" y="683"/>
                    </a:lnTo>
                    <a:lnTo>
                      <a:pt x="1592" y="687"/>
                    </a:lnTo>
                    <a:lnTo>
                      <a:pt x="1630" y="687"/>
                    </a:lnTo>
                    <a:lnTo>
                      <a:pt x="1634" y="683"/>
                    </a:lnTo>
                    <a:lnTo>
                      <a:pt x="1646" y="687"/>
                    </a:lnTo>
                    <a:lnTo>
                      <a:pt x="1684" y="683"/>
                    </a:lnTo>
                    <a:lnTo>
                      <a:pt x="1672" y="666"/>
                    </a:lnTo>
                    <a:lnTo>
                      <a:pt x="1684" y="650"/>
                    </a:lnTo>
                    <a:lnTo>
                      <a:pt x="1672" y="633"/>
                    </a:lnTo>
                    <a:lnTo>
                      <a:pt x="1651" y="633"/>
                    </a:lnTo>
                    <a:lnTo>
                      <a:pt x="1651" y="628"/>
                    </a:lnTo>
                    <a:lnTo>
                      <a:pt x="1651" y="617"/>
                    </a:lnTo>
                    <a:lnTo>
                      <a:pt x="1672" y="617"/>
                    </a:lnTo>
                    <a:lnTo>
                      <a:pt x="1701" y="609"/>
                    </a:lnTo>
                    <a:lnTo>
                      <a:pt x="1710" y="609"/>
                    </a:lnTo>
                    <a:lnTo>
                      <a:pt x="1727" y="600"/>
                    </a:lnTo>
                    <a:lnTo>
                      <a:pt x="1727" y="588"/>
                    </a:lnTo>
                    <a:lnTo>
                      <a:pt x="1760" y="572"/>
                    </a:lnTo>
                    <a:lnTo>
                      <a:pt x="1776" y="543"/>
                    </a:lnTo>
                    <a:lnTo>
                      <a:pt x="1814" y="543"/>
                    </a:lnTo>
                    <a:lnTo>
                      <a:pt x="1835" y="517"/>
                    </a:lnTo>
                    <a:lnTo>
                      <a:pt x="1861" y="489"/>
                    </a:lnTo>
                    <a:lnTo>
                      <a:pt x="1873" y="506"/>
                    </a:lnTo>
                    <a:lnTo>
                      <a:pt x="1916" y="517"/>
                    </a:lnTo>
                    <a:lnTo>
                      <a:pt x="1927" y="501"/>
                    </a:lnTo>
                    <a:lnTo>
                      <a:pt x="1958" y="482"/>
                    </a:lnTo>
                    <a:lnTo>
                      <a:pt x="1975" y="501"/>
                    </a:lnTo>
                    <a:lnTo>
                      <a:pt x="1982" y="501"/>
                    </a:lnTo>
                    <a:lnTo>
                      <a:pt x="1970" y="517"/>
                    </a:lnTo>
                    <a:lnTo>
                      <a:pt x="1970" y="522"/>
                    </a:lnTo>
                    <a:lnTo>
                      <a:pt x="1991" y="517"/>
                    </a:lnTo>
                    <a:lnTo>
                      <a:pt x="1996" y="539"/>
                    </a:lnTo>
                    <a:lnTo>
                      <a:pt x="1982" y="555"/>
                    </a:lnTo>
                    <a:lnTo>
                      <a:pt x="1982" y="572"/>
                    </a:lnTo>
                    <a:lnTo>
                      <a:pt x="2008" y="560"/>
                    </a:lnTo>
                    <a:lnTo>
                      <a:pt x="2029" y="572"/>
                    </a:lnTo>
                    <a:lnTo>
                      <a:pt x="2034" y="572"/>
                    </a:lnTo>
                    <a:lnTo>
                      <a:pt x="2050" y="576"/>
                    </a:lnTo>
                    <a:lnTo>
                      <a:pt x="2050" y="600"/>
                    </a:lnTo>
                    <a:lnTo>
                      <a:pt x="2024" y="628"/>
                    </a:lnTo>
                    <a:lnTo>
                      <a:pt x="2034" y="666"/>
                    </a:lnTo>
                    <a:lnTo>
                      <a:pt x="2024" y="654"/>
                    </a:lnTo>
                    <a:lnTo>
                      <a:pt x="2008" y="650"/>
                    </a:lnTo>
                    <a:lnTo>
                      <a:pt x="1975" y="650"/>
                    </a:lnTo>
                    <a:lnTo>
                      <a:pt x="1920" y="699"/>
                    </a:lnTo>
                    <a:lnTo>
                      <a:pt x="1899" y="704"/>
                    </a:lnTo>
                    <a:lnTo>
                      <a:pt x="1890" y="728"/>
                    </a:lnTo>
                    <a:lnTo>
                      <a:pt x="1899" y="744"/>
                    </a:lnTo>
                    <a:lnTo>
                      <a:pt x="1882" y="782"/>
                    </a:lnTo>
                    <a:lnTo>
                      <a:pt x="1861" y="798"/>
                    </a:lnTo>
                    <a:lnTo>
                      <a:pt x="1861" y="810"/>
                    </a:lnTo>
                    <a:lnTo>
                      <a:pt x="1868" y="815"/>
                    </a:lnTo>
                    <a:lnTo>
                      <a:pt x="1868" y="822"/>
                    </a:lnTo>
                    <a:lnTo>
                      <a:pt x="1830" y="921"/>
                    </a:lnTo>
                    <a:lnTo>
                      <a:pt x="1797" y="905"/>
                    </a:lnTo>
                    <a:lnTo>
                      <a:pt x="1781" y="909"/>
                    </a:lnTo>
                    <a:lnTo>
                      <a:pt x="1776" y="893"/>
                    </a:lnTo>
                    <a:lnTo>
                      <a:pt x="1776" y="926"/>
                    </a:lnTo>
                    <a:lnTo>
                      <a:pt x="1776" y="966"/>
                    </a:lnTo>
                    <a:lnTo>
                      <a:pt x="1764" y="983"/>
                    </a:lnTo>
                    <a:lnTo>
                      <a:pt x="1760" y="976"/>
                    </a:lnTo>
                    <a:lnTo>
                      <a:pt x="1755" y="1004"/>
                    </a:lnTo>
                    <a:lnTo>
                      <a:pt x="1760" y="1037"/>
                    </a:lnTo>
                    <a:lnTo>
                      <a:pt x="1755" y="1037"/>
                    </a:lnTo>
                    <a:lnTo>
                      <a:pt x="1743" y="1054"/>
                    </a:lnTo>
                    <a:lnTo>
                      <a:pt x="1727" y="1049"/>
                    </a:lnTo>
                    <a:lnTo>
                      <a:pt x="1722" y="1061"/>
                    </a:lnTo>
                    <a:lnTo>
                      <a:pt x="1710" y="1004"/>
                    </a:lnTo>
                    <a:lnTo>
                      <a:pt x="1705" y="983"/>
                    </a:lnTo>
                    <a:lnTo>
                      <a:pt x="1705" y="959"/>
                    </a:lnTo>
                    <a:lnTo>
                      <a:pt x="1701" y="926"/>
                    </a:lnTo>
                    <a:lnTo>
                      <a:pt x="1701" y="926"/>
                    </a:lnTo>
                    <a:lnTo>
                      <a:pt x="1701" y="926"/>
                    </a:lnTo>
                    <a:close/>
                    <a:moveTo>
                      <a:pt x="1441" y="1070"/>
                    </a:moveTo>
                    <a:lnTo>
                      <a:pt x="1436" y="1070"/>
                    </a:lnTo>
                    <a:lnTo>
                      <a:pt x="1441" y="1061"/>
                    </a:lnTo>
                    <a:lnTo>
                      <a:pt x="1441" y="1070"/>
                    </a:lnTo>
                    <a:lnTo>
                      <a:pt x="1441" y="1070"/>
                    </a:lnTo>
                    <a:lnTo>
                      <a:pt x="1441" y="1070"/>
                    </a:lnTo>
                    <a:close/>
                    <a:moveTo>
                      <a:pt x="1403" y="1070"/>
                    </a:moveTo>
                    <a:lnTo>
                      <a:pt x="1403" y="1087"/>
                    </a:lnTo>
                    <a:lnTo>
                      <a:pt x="1403" y="1070"/>
                    </a:lnTo>
                    <a:lnTo>
                      <a:pt x="1403" y="1070"/>
                    </a:lnTo>
                    <a:lnTo>
                      <a:pt x="1403" y="1070"/>
                    </a:lnTo>
                    <a:close/>
                    <a:moveTo>
                      <a:pt x="1738" y="1736"/>
                    </a:moveTo>
                    <a:lnTo>
                      <a:pt x="1738" y="1703"/>
                    </a:lnTo>
                    <a:lnTo>
                      <a:pt x="1743" y="1687"/>
                    </a:lnTo>
                    <a:lnTo>
                      <a:pt x="1755" y="1687"/>
                    </a:lnTo>
                    <a:lnTo>
                      <a:pt x="1755" y="1720"/>
                    </a:lnTo>
                    <a:lnTo>
                      <a:pt x="1743" y="1720"/>
                    </a:lnTo>
                    <a:lnTo>
                      <a:pt x="1738" y="1736"/>
                    </a:lnTo>
                    <a:lnTo>
                      <a:pt x="1738" y="1736"/>
                    </a:lnTo>
                    <a:lnTo>
                      <a:pt x="1738" y="1736"/>
                    </a:lnTo>
                    <a:close/>
                    <a:moveTo>
                      <a:pt x="1738" y="1776"/>
                    </a:moveTo>
                    <a:lnTo>
                      <a:pt x="1727" y="1776"/>
                    </a:lnTo>
                    <a:lnTo>
                      <a:pt x="1727" y="1743"/>
                    </a:lnTo>
                    <a:lnTo>
                      <a:pt x="1743" y="1736"/>
                    </a:lnTo>
                    <a:lnTo>
                      <a:pt x="1743" y="1760"/>
                    </a:lnTo>
                    <a:lnTo>
                      <a:pt x="1743" y="1769"/>
                    </a:lnTo>
                    <a:lnTo>
                      <a:pt x="1738" y="1769"/>
                    </a:lnTo>
                    <a:lnTo>
                      <a:pt x="1738" y="1776"/>
                    </a:lnTo>
                    <a:lnTo>
                      <a:pt x="1738" y="1776"/>
                    </a:lnTo>
                    <a:lnTo>
                      <a:pt x="1738" y="1776"/>
                    </a:lnTo>
                    <a:close/>
                    <a:moveTo>
                      <a:pt x="1727" y="1793"/>
                    </a:moveTo>
                    <a:lnTo>
                      <a:pt x="1727" y="1776"/>
                    </a:lnTo>
                    <a:lnTo>
                      <a:pt x="1743" y="1776"/>
                    </a:lnTo>
                    <a:lnTo>
                      <a:pt x="1727" y="1793"/>
                    </a:lnTo>
                    <a:lnTo>
                      <a:pt x="1727" y="1793"/>
                    </a:lnTo>
                    <a:lnTo>
                      <a:pt x="1727" y="1793"/>
                    </a:lnTo>
                    <a:close/>
                    <a:moveTo>
                      <a:pt x="1727" y="1793"/>
                    </a:moveTo>
                    <a:lnTo>
                      <a:pt x="1727" y="1835"/>
                    </a:lnTo>
                    <a:lnTo>
                      <a:pt x="1710" y="1809"/>
                    </a:lnTo>
                    <a:lnTo>
                      <a:pt x="1727" y="1781"/>
                    </a:lnTo>
                    <a:lnTo>
                      <a:pt x="1727" y="1793"/>
                    </a:lnTo>
                    <a:lnTo>
                      <a:pt x="1727" y="1793"/>
                    </a:lnTo>
                    <a:lnTo>
                      <a:pt x="1727" y="1793"/>
                    </a:lnTo>
                    <a:close/>
                    <a:moveTo>
                      <a:pt x="1755" y="1798"/>
                    </a:moveTo>
                    <a:lnTo>
                      <a:pt x="1755" y="1809"/>
                    </a:lnTo>
                    <a:lnTo>
                      <a:pt x="1743" y="1798"/>
                    </a:lnTo>
                    <a:lnTo>
                      <a:pt x="1755" y="1798"/>
                    </a:lnTo>
                    <a:lnTo>
                      <a:pt x="1755" y="1798"/>
                    </a:lnTo>
                    <a:lnTo>
                      <a:pt x="1755" y="1798"/>
                    </a:lnTo>
                    <a:close/>
                    <a:moveTo>
                      <a:pt x="1701" y="1831"/>
                    </a:moveTo>
                    <a:lnTo>
                      <a:pt x="1689" y="1831"/>
                    </a:lnTo>
                    <a:lnTo>
                      <a:pt x="1701" y="1831"/>
                    </a:lnTo>
                    <a:lnTo>
                      <a:pt x="1701" y="1831"/>
                    </a:lnTo>
                    <a:lnTo>
                      <a:pt x="1701" y="1831"/>
                    </a:lnTo>
                    <a:close/>
                    <a:moveTo>
                      <a:pt x="1722" y="1847"/>
                    </a:moveTo>
                    <a:lnTo>
                      <a:pt x="1722" y="1831"/>
                    </a:lnTo>
                    <a:lnTo>
                      <a:pt x="1727" y="1847"/>
                    </a:lnTo>
                    <a:lnTo>
                      <a:pt x="1722" y="1847"/>
                    </a:lnTo>
                    <a:lnTo>
                      <a:pt x="1722" y="1847"/>
                    </a:lnTo>
                    <a:lnTo>
                      <a:pt x="1722" y="1847"/>
                    </a:lnTo>
                    <a:close/>
                    <a:moveTo>
                      <a:pt x="1710" y="1887"/>
                    </a:moveTo>
                    <a:lnTo>
                      <a:pt x="1710" y="1909"/>
                    </a:lnTo>
                    <a:lnTo>
                      <a:pt x="1705" y="1904"/>
                    </a:lnTo>
                    <a:lnTo>
                      <a:pt x="1705" y="1887"/>
                    </a:lnTo>
                    <a:lnTo>
                      <a:pt x="1710" y="1880"/>
                    </a:lnTo>
                    <a:lnTo>
                      <a:pt x="1710" y="1887"/>
                    </a:lnTo>
                    <a:lnTo>
                      <a:pt x="1710" y="1887"/>
                    </a:lnTo>
                    <a:lnTo>
                      <a:pt x="1710" y="1887"/>
                    </a:lnTo>
                    <a:close/>
                    <a:moveTo>
                      <a:pt x="1738" y="1998"/>
                    </a:moveTo>
                    <a:lnTo>
                      <a:pt x="1738" y="2003"/>
                    </a:lnTo>
                    <a:lnTo>
                      <a:pt x="1727" y="2003"/>
                    </a:lnTo>
                    <a:lnTo>
                      <a:pt x="1738" y="1998"/>
                    </a:lnTo>
                    <a:lnTo>
                      <a:pt x="1738" y="1998"/>
                    </a:lnTo>
                    <a:lnTo>
                      <a:pt x="1738" y="1998"/>
                    </a:lnTo>
                    <a:close/>
                    <a:moveTo>
                      <a:pt x="1755" y="2069"/>
                    </a:moveTo>
                    <a:lnTo>
                      <a:pt x="1760" y="2074"/>
                    </a:lnTo>
                    <a:lnTo>
                      <a:pt x="1755" y="2069"/>
                    </a:lnTo>
                    <a:lnTo>
                      <a:pt x="1755" y="2069"/>
                    </a:lnTo>
                    <a:lnTo>
                      <a:pt x="1755" y="2069"/>
                    </a:lnTo>
                    <a:close/>
                    <a:moveTo>
                      <a:pt x="1781" y="2074"/>
                    </a:moveTo>
                    <a:lnTo>
                      <a:pt x="1781" y="2091"/>
                    </a:lnTo>
                    <a:lnTo>
                      <a:pt x="1776" y="2074"/>
                    </a:lnTo>
                    <a:lnTo>
                      <a:pt x="1781" y="2074"/>
                    </a:lnTo>
                    <a:lnTo>
                      <a:pt x="1781" y="2074"/>
                    </a:lnTo>
                    <a:lnTo>
                      <a:pt x="1781" y="2074"/>
                    </a:lnTo>
                    <a:close/>
                    <a:moveTo>
                      <a:pt x="1776" y="2091"/>
                    </a:moveTo>
                    <a:lnTo>
                      <a:pt x="1781" y="2102"/>
                    </a:lnTo>
                    <a:lnTo>
                      <a:pt x="1764" y="2091"/>
                    </a:lnTo>
                    <a:lnTo>
                      <a:pt x="1776" y="2091"/>
                    </a:lnTo>
                    <a:lnTo>
                      <a:pt x="1776" y="2091"/>
                    </a:lnTo>
                    <a:lnTo>
                      <a:pt x="1776" y="2091"/>
                    </a:lnTo>
                    <a:close/>
                    <a:moveTo>
                      <a:pt x="1793" y="2091"/>
                    </a:moveTo>
                    <a:lnTo>
                      <a:pt x="1781" y="2091"/>
                    </a:lnTo>
                    <a:lnTo>
                      <a:pt x="1793" y="2091"/>
                    </a:lnTo>
                    <a:lnTo>
                      <a:pt x="1793" y="2091"/>
                    </a:lnTo>
                    <a:lnTo>
                      <a:pt x="1793" y="2091"/>
                    </a:lnTo>
                    <a:close/>
                    <a:moveTo>
                      <a:pt x="1797" y="2131"/>
                    </a:moveTo>
                    <a:lnTo>
                      <a:pt x="1797" y="2143"/>
                    </a:lnTo>
                    <a:lnTo>
                      <a:pt x="1793" y="2147"/>
                    </a:lnTo>
                    <a:lnTo>
                      <a:pt x="1797" y="2131"/>
                    </a:lnTo>
                    <a:lnTo>
                      <a:pt x="1797" y="2131"/>
                    </a:lnTo>
                    <a:lnTo>
                      <a:pt x="1797" y="2131"/>
                    </a:lnTo>
                    <a:close/>
                    <a:moveTo>
                      <a:pt x="1807" y="2147"/>
                    </a:moveTo>
                    <a:lnTo>
                      <a:pt x="1814" y="2164"/>
                    </a:lnTo>
                    <a:lnTo>
                      <a:pt x="1807" y="2180"/>
                    </a:lnTo>
                    <a:lnTo>
                      <a:pt x="1793" y="2159"/>
                    </a:lnTo>
                    <a:lnTo>
                      <a:pt x="1807" y="2147"/>
                    </a:lnTo>
                    <a:lnTo>
                      <a:pt x="1807" y="2147"/>
                    </a:lnTo>
                    <a:lnTo>
                      <a:pt x="1807" y="214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7" name="Freeform 476">
                <a:extLst>
                  <a:ext uri="{FF2B5EF4-FFF2-40B4-BE49-F238E27FC236}">
                    <a16:creationId xmlns:a16="http://schemas.microsoft.com/office/drawing/2014/main" id="{69900101-6D78-4F89-8DDE-4037BB32BDC8}"/>
                  </a:ext>
                </a:extLst>
              </p:cNvPr>
              <p:cNvSpPr>
                <a:spLocks noEditPoints="1"/>
              </p:cNvSpPr>
              <p:nvPr/>
            </p:nvSpPr>
            <p:spPr bwMode="gray">
              <a:xfrm>
                <a:off x="10295004" y="2613763"/>
                <a:ext cx="641793" cy="718445"/>
              </a:xfrm>
              <a:custGeom>
                <a:avLst/>
                <a:gdLst>
                  <a:gd name="T0" fmla="*/ 1521 w 1559"/>
                  <a:gd name="T1" fmla="*/ 193 h 1745"/>
                  <a:gd name="T2" fmla="*/ 1483 w 1559"/>
                  <a:gd name="T3" fmla="*/ 215 h 1745"/>
                  <a:gd name="T4" fmla="*/ 1207 w 1559"/>
                  <a:gd name="T5" fmla="*/ 267 h 1745"/>
                  <a:gd name="T6" fmla="*/ 1181 w 1559"/>
                  <a:gd name="T7" fmla="*/ 337 h 1745"/>
                  <a:gd name="T8" fmla="*/ 1191 w 1559"/>
                  <a:gd name="T9" fmla="*/ 222 h 1745"/>
                  <a:gd name="T10" fmla="*/ 1278 w 1559"/>
                  <a:gd name="T11" fmla="*/ 82 h 1745"/>
                  <a:gd name="T12" fmla="*/ 1450 w 1559"/>
                  <a:gd name="T13" fmla="*/ 139 h 1745"/>
                  <a:gd name="T14" fmla="*/ 1245 w 1559"/>
                  <a:gd name="T15" fmla="*/ 33 h 1745"/>
                  <a:gd name="T16" fmla="*/ 1115 w 1559"/>
                  <a:gd name="T17" fmla="*/ 292 h 1745"/>
                  <a:gd name="T18" fmla="*/ 1136 w 1559"/>
                  <a:gd name="T19" fmla="*/ 897 h 1745"/>
                  <a:gd name="T20" fmla="*/ 1127 w 1559"/>
                  <a:gd name="T21" fmla="*/ 876 h 1745"/>
                  <a:gd name="T22" fmla="*/ 1072 w 1559"/>
                  <a:gd name="T23" fmla="*/ 897 h 1745"/>
                  <a:gd name="T24" fmla="*/ 943 w 1559"/>
                  <a:gd name="T25" fmla="*/ 914 h 1745"/>
                  <a:gd name="T26" fmla="*/ 938 w 1559"/>
                  <a:gd name="T27" fmla="*/ 947 h 1745"/>
                  <a:gd name="T28" fmla="*/ 801 w 1559"/>
                  <a:gd name="T29" fmla="*/ 987 h 1745"/>
                  <a:gd name="T30" fmla="*/ 737 w 1559"/>
                  <a:gd name="T31" fmla="*/ 930 h 1745"/>
                  <a:gd name="T32" fmla="*/ 666 w 1559"/>
                  <a:gd name="T33" fmla="*/ 954 h 1745"/>
                  <a:gd name="T34" fmla="*/ 574 w 1559"/>
                  <a:gd name="T35" fmla="*/ 975 h 1745"/>
                  <a:gd name="T36" fmla="*/ 633 w 1559"/>
                  <a:gd name="T37" fmla="*/ 864 h 1745"/>
                  <a:gd name="T38" fmla="*/ 829 w 1559"/>
                  <a:gd name="T39" fmla="*/ 859 h 1745"/>
                  <a:gd name="T40" fmla="*/ 921 w 1559"/>
                  <a:gd name="T41" fmla="*/ 753 h 1745"/>
                  <a:gd name="T42" fmla="*/ 943 w 1559"/>
                  <a:gd name="T43" fmla="*/ 732 h 1745"/>
                  <a:gd name="T44" fmla="*/ 1136 w 1559"/>
                  <a:gd name="T45" fmla="*/ 581 h 1745"/>
                  <a:gd name="T46" fmla="*/ 1169 w 1559"/>
                  <a:gd name="T47" fmla="*/ 415 h 1745"/>
                  <a:gd name="T48" fmla="*/ 1235 w 1559"/>
                  <a:gd name="T49" fmla="*/ 375 h 1745"/>
                  <a:gd name="T50" fmla="*/ 1283 w 1559"/>
                  <a:gd name="T51" fmla="*/ 543 h 1745"/>
                  <a:gd name="T52" fmla="*/ 1212 w 1559"/>
                  <a:gd name="T53" fmla="*/ 654 h 1745"/>
                  <a:gd name="T54" fmla="*/ 1051 w 1559"/>
                  <a:gd name="T55" fmla="*/ 642 h 1745"/>
                  <a:gd name="T56" fmla="*/ 683 w 1559"/>
                  <a:gd name="T57" fmla="*/ 786 h 1745"/>
                  <a:gd name="T58" fmla="*/ 1106 w 1559"/>
                  <a:gd name="T59" fmla="*/ 918 h 1745"/>
                  <a:gd name="T60" fmla="*/ 411 w 1559"/>
                  <a:gd name="T61" fmla="*/ 918 h 1745"/>
                  <a:gd name="T62" fmla="*/ 780 w 1559"/>
                  <a:gd name="T63" fmla="*/ 959 h 1745"/>
                  <a:gd name="T64" fmla="*/ 725 w 1559"/>
                  <a:gd name="T65" fmla="*/ 1025 h 1745"/>
                  <a:gd name="T66" fmla="*/ 628 w 1559"/>
                  <a:gd name="T67" fmla="*/ 1041 h 1745"/>
                  <a:gd name="T68" fmla="*/ 720 w 1559"/>
                  <a:gd name="T69" fmla="*/ 954 h 1745"/>
                  <a:gd name="T70" fmla="*/ 402 w 1559"/>
                  <a:gd name="T71" fmla="*/ 959 h 1745"/>
                  <a:gd name="T72" fmla="*/ 657 w 1559"/>
                  <a:gd name="T73" fmla="*/ 954 h 1745"/>
                  <a:gd name="T74" fmla="*/ 628 w 1559"/>
                  <a:gd name="T75" fmla="*/ 970 h 1745"/>
                  <a:gd name="T76" fmla="*/ 565 w 1559"/>
                  <a:gd name="T77" fmla="*/ 1008 h 1745"/>
                  <a:gd name="T78" fmla="*/ 527 w 1559"/>
                  <a:gd name="T79" fmla="*/ 1181 h 1745"/>
                  <a:gd name="T80" fmla="*/ 489 w 1559"/>
                  <a:gd name="T81" fmla="*/ 1174 h 1745"/>
                  <a:gd name="T82" fmla="*/ 489 w 1559"/>
                  <a:gd name="T83" fmla="*/ 1081 h 1745"/>
                  <a:gd name="T84" fmla="*/ 456 w 1559"/>
                  <a:gd name="T85" fmla="*/ 1098 h 1745"/>
                  <a:gd name="T86" fmla="*/ 435 w 1559"/>
                  <a:gd name="T87" fmla="*/ 1070 h 1745"/>
                  <a:gd name="T88" fmla="*/ 472 w 1559"/>
                  <a:gd name="T89" fmla="*/ 1008 h 1745"/>
                  <a:gd name="T90" fmla="*/ 423 w 1559"/>
                  <a:gd name="T91" fmla="*/ 1004 h 1745"/>
                  <a:gd name="T92" fmla="*/ 418 w 1559"/>
                  <a:gd name="T93" fmla="*/ 1029 h 1745"/>
                  <a:gd name="T94" fmla="*/ 385 w 1559"/>
                  <a:gd name="T95" fmla="*/ 1058 h 1745"/>
                  <a:gd name="T96" fmla="*/ 359 w 1559"/>
                  <a:gd name="T97" fmla="*/ 1081 h 1745"/>
                  <a:gd name="T98" fmla="*/ 465 w 1559"/>
                  <a:gd name="T99" fmla="*/ 1103 h 1745"/>
                  <a:gd name="T100" fmla="*/ 456 w 1559"/>
                  <a:gd name="T101" fmla="*/ 1124 h 1745"/>
                  <a:gd name="T102" fmla="*/ 527 w 1559"/>
                  <a:gd name="T103" fmla="*/ 1230 h 1745"/>
                  <a:gd name="T104" fmla="*/ 489 w 1559"/>
                  <a:gd name="T105" fmla="*/ 1280 h 1745"/>
                  <a:gd name="T106" fmla="*/ 385 w 1559"/>
                  <a:gd name="T107" fmla="*/ 1436 h 1745"/>
                  <a:gd name="T108" fmla="*/ 397 w 1559"/>
                  <a:gd name="T109" fmla="*/ 1436 h 1745"/>
                  <a:gd name="T110" fmla="*/ 359 w 1559"/>
                  <a:gd name="T111" fmla="*/ 1502 h 1745"/>
                  <a:gd name="T112" fmla="*/ 293 w 1559"/>
                  <a:gd name="T113" fmla="*/ 1596 h 1745"/>
                  <a:gd name="T114" fmla="*/ 217 w 1559"/>
                  <a:gd name="T115" fmla="*/ 1580 h 1745"/>
                  <a:gd name="T116" fmla="*/ 116 w 1559"/>
                  <a:gd name="T117" fmla="*/ 1696 h 1745"/>
                  <a:gd name="T118" fmla="*/ 33 w 1559"/>
                  <a:gd name="T119" fmla="*/ 1729 h 1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59" h="1745">
                    <a:moveTo>
                      <a:pt x="1450" y="139"/>
                    </a:moveTo>
                    <a:lnTo>
                      <a:pt x="1483" y="144"/>
                    </a:lnTo>
                    <a:lnTo>
                      <a:pt x="1521" y="104"/>
                    </a:lnTo>
                    <a:lnTo>
                      <a:pt x="1531" y="111"/>
                    </a:lnTo>
                    <a:lnTo>
                      <a:pt x="1505" y="155"/>
                    </a:lnTo>
                    <a:lnTo>
                      <a:pt x="1517" y="165"/>
                    </a:lnTo>
                    <a:lnTo>
                      <a:pt x="1521" y="177"/>
                    </a:lnTo>
                    <a:lnTo>
                      <a:pt x="1517" y="165"/>
                    </a:lnTo>
                    <a:lnTo>
                      <a:pt x="1521" y="193"/>
                    </a:lnTo>
                    <a:lnTo>
                      <a:pt x="1521" y="193"/>
                    </a:lnTo>
                    <a:lnTo>
                      <a:pt x="1538" y="198"/>
                    </a:lnTo>
                    <a:lnTo>
                      <a:pt x="1547" y="193"/>
                    </a:lnTo>
                    <a:lnTo>
                      <a:pt x="1559" y="193"/>
                    </a:lnTo>
                    <a:lnTo>
                      <a:pt x="1547" y="193"/>
                    </a:lnTo>
                    <a:lnTo>
                      <a:pt x="1538" y="210"/>
                    </a:lnTo>
                    <a:lnTo>
                      <a:pt x="1517" y="210"/>
                    </a:lnTo>
                    <a:lnTo>
                      <a:pt x="1500" y="222"/>
                    </a:lnTo>
                    <a:lnTo>
                      <a:pt x="1483" y="215"/>
                    </a:lnTo>
                    <a:lnTo>
                      <a:pt x="1479" y="231"/>
                    </a:lnTo>
                    <a:lnTo>
                      <a:pt x="1450" y="222"/>
                    </a:lnTo>
                    <a:lnTo>
                      <a:pt x="1429" y="231"/>
                    </a:lnTo>
                    <a:lnTo>
                      <a:pt x="1391" y="271"/>
                    </a:lnTo>
                    <a:lnTo>
                      <a:pt x="1375" y="321"/>
                    </a:lnTo>
                    <a:lnTo>
                      <a:pt x="1278" y="255"/>
                    </a:lnTo>
                    <a:lnTo>
                      <a:pt x="1250" y="267"/>
                    </a:lnTo>
                    <a:lnTo>
                      <a:pt x="1224" y="288"/>
                    </a:lnTo>
                    <a:lnTo>
                      <a:pt x="1207" y="267"/>
                    </a:lnTo>
                    <a:lnTo>
                      <a:pt x="1181" y="267"/>
                    </a:lnTo>
                    <a:lnTo>
                      <a:pt x="1174" y="271"/>
                    </a:lnTo>
                    <a:lnTo>
                      <a:pt x="1169" y="288"/>
                    </a:lnTo>
                    <a:lnTo>
                      <a:pt x="1191" y="304"/>
                    </a:lnTo>
                    <a:lnTo>
                      <a:pt x="1198" y="304"/>
                    </a:lnTo>
                    <a:lnTo>
                      <a:pt x="1235" y="326"/>
                    </a:lnTo>
                    <a:lnTo>
                      <a:pt x="1224" y="337"/>
                    </a:lnTo>
                    <a:lnTo>
                      <a:pt x="1198" y="326"/>
                    </a:lnTo>
                    <a:lnTo>
                      <a:pt x="1181" y="337"/>
                    </a:lnTo>
                    <a:lnTo>
                      <a:pt x="1181" y="349"/>
                    </a:lnTo>
                    <a:lnTo>
                      <a:pt x="1169" y="359"/>
                    </a:lnTo>
                    <a:lnTo>
                      <a:pt x="1153" y="359"/>
                    </a:lnTo>
                    <a:lnTo>
                      <a:pt x="1153" y="342"/>
                    </a:lnTo>
                    <a:lnTo>
                      <a:pt x="1157" y="309"/>
                    </a:lnTo>
                    <a:lnTo>
                      <a:pt x="1136" y="288"/>
                    </a:lnTo>
                    <a:lnTo>
                      <a:pt x="1136" y="255"/>
                    </a:lnTo>
                    <a:lnTo>
                      <a:pt x="1174" y="238"/>
                    </a:lnTo>
                    <a:lnTo>
                      <a:pt x="1191" y="222"/>
                    </a:lnTo>
                    <a:lnTo>
                      <a:pt x="1174" y="198"/>
                    </a:lnTo>
                    <a:lnTo>
                      <a:pt x="1181" y="193"/>
                    </a:lnTo>
                    <a:lnTo>
                      <a:pt x="1207" y="210"/>
                    </a:lnTo>
                    <a:lnTo>
                      <a:pt x="1228" y="210"/>
                    </a:lnTo>
                    <a:lnTo>
                      <a:pt x="1250" y="193"/>
                    </a:lnTo>
                    <a:lnTo>
                      <a:pt x="1245" y="160"/>
                    </a:lnTo>
                    <a:lnTo>
                      <a:pt x="1266" y="139"/>
                    </a:lnTo>
                    <a:lnTo>
                      <a:pt x="1266" y="111"/>
                    </a:lnTo>
                    <a:lnTo>
                      <a:pt x="1278" y="82"/>
                    </a:lnTo>
                    <a:lnTo>
                      <a:pt x="1261" y="28"/>
                    </a:lnTo>
                    <a:lnTo>
                      <a:pt x="1266" y="11"/>
                    </a:lnTo>
                    <a:lnTo>
                      <a:pt x="1287" y="0"/>
                    </a:lnTo>
                    <a:lnTo>
                      <a:pt x="1370" y="87"/>
                    </a:lnTo>
                    <a:lnTo>
                      <a:pt x="1408" y="111"/>
                    </a:lnTo>
                    <a:lnTo>
                      <a:pt x="1413" y="127"/>
                    </a:lnTo>
                    <a:lnTo>
                      <a:pt x="1446" y="127"/>
                    </a:lnTo>
                    <a:lnTo>
                      <a:pt x="1450" y="139"/>
                    </a:lnTo>
                    <a:lnTo>
                      <a:pt x="1450" y="139"/>
                    </a:lnTo>
                    <a:lnTo>
                      <a:pt x="1450" y="139"/>
                    </a:lnTo>
                    <a:close/>
                    <a:moveTo>
                      <a:pt x="1224" y="11"/>
                    </a:moveTo>
                    <a:lnTo>
                      <a:pt x="1228" y="11"/>
                    </a:lnTo>
                    <a:lnTo>
                      <a:pt x="1224" y="28"/>
                    </a:lnTo>
                    <a:lnTo>
                      <a:pt x="1224" y="11"/>
                    </a:lnTo>
                    <a:lnTo>
                      <a:pt x="1224" y="11"/>
                    </a:lnTo>
                    <a:lnTo>
                      <a:pt x="1224" y="11"/>
                    </a:lnTo>
                    <a:close/>
                    <a:moveTo>
                      <a:pt x="1228" y="28"/>
                    </a:moveTo>
                    <a:lnTo>
                      <a:pt x="1245" y="33"/>
                    </a:lnTo>
                    <a:lnTo>
                      <a:pt x="1228" y="33"/>
                    </a:lnTo>
                    <a:lnTo>
                      <a:pt x="1228" y="28"/>
                    </a:lnTo>
                    <a:lnTo>
                      <a:pt x="1228" y="28"/>
                    </a:lnTo>
                    <a:lnTo>
                      <a:pt x="1228" y="28"/>
                    </a:lnTo>
                    <a:close/>
                    <a:moveTo>
                      <a:pt x="1115" y="292"/>
                    </a:moveTo>
                    <a:lnTo>
                      <a:pt x="1120" y="288"/>
                    </a:lnTo>
                    <a:lnTo>
                      <a:pt x="1115" y="304"/>
                    </a:lnTo>
                    <a:lnTo>
                      <a:pt x="1115" y="292"/>
                    </a:lnTo>
                    <a:lnTo>
                      <a:pt x="1115" y="292"/>
                    </a:lnTo>
                    <a:lnTo>
                      <a:pt x="1115" y="292"/>
                    </a:lnTo>
                    <a:close/>
                    <a:moveTo>
                      <a:pt x="1207" y="748"/>
                    </a:moveTo>
                    <a:lnTo>
                      <a:pt x="1191" y="791"/>
                    </a:lnTo>
                    <a:lnTo>
                      <a:pt x="1207" y="843"/>
                    </a:lnTo>
                    <a:lnTo>
                      <a:pt x="1181" y="859"/>
                    </a:lnTo>
                    <a:lnTo>
                      <a:pt x="1174" y="892"/>
                    </a:lnTo>
                    <a:lnTo>
                      <a:pt x="1157" y="892"/>
                    </a:lnTo>
                    <a:lnTo>
                      <a:pt x="1143" y="902"/>
                    </a:lnTo>
                    <a:lnTo>
                      <a:pt x="1136" y="897"/>
                    </a:lnTo>
                    <a:lnTo>
                      <a:pt x="1143" y="897"/>
                    </a:lnTo>
                    <a:lnTo>
                      <a:pt x="1136" y="876"/>
                    </a:lnTo>
                    <a:lnTo>
                      <a:pt x="1157" y="848"/>
                    </a:lnTo>
                    <a:lnTo>
                      <a:pt x="1143" y="843"/>
                    </a:lnTo>
                    <a:lnTo>
                      <a:pt x="1136" y="843"/>
                    </a:lnTo>
                    <a:lnTo>
                      <a:pt x="1136" y="859"/>
                    </a:lnTo>
                    <a:lnTo>
                      <a:pt x="1127" y="859"/>
                    </a:lnTo>
                    <a:lnTo>
                      <a:pt x="1127" y="876"/>
                    </a:lnTo>
                    <a:lnTo>
                      <a:pt x="1127" y="876"/>
                    </a:lnTo>
                    <a:lnTo>
                      <a:pt x="1127" y="892"/>
                    </a:lnTo>
                    <a:lnTo>
                      <a:pt x="1120" y="876"/>
                    </a:lnTo>
                    <a:lnTo>
                      <a:pt x="1089" y="881"/>
                    </a:lnTo>
                    <a:lnTo>
                      <a:pt x="1082" y="892"/>
                    </a:lnTo>
                    <a:lnTo>
                      <a:pt x="1089" y="902"/>
                    </a:lnTo>
                    <a:lnTo>
                      <a:pt x="1068" y="930"/>
                    </a:lnTo>
                    <a:lnTo>
                      <a:pt x="1061" y="918"/>
                    </a:lnTo>
                    <a:lnTo>
                      <a:pt x="1068" y="897"/>
                    </a:lnTo>
                    <a:lnTo>
                      <a:pt x="1072" y="897"/>
                    </a:lnTo>
                    <a:lnTo>
                      <a:pt x="1061" y="892"/>
                    </a:lnTo>
                    <a:lnTo>
                      <a:pt x="1051" y="892"/>
                    </a:lnTo>
                    <a:lnTo>
                      <a:pt x="1035" y="902"/>
                    </a:lnTo>
                    <a:lnTo>
                      <a:pt x="1018" y="930"/>
                    </a:lnTo>
                    <a:lnTo>
                      <a:pt x="980" y="918"/>
                    </a:lnTo>
                    <a:lnTo>
                      <a:pt x="943" y="930"/>
                    </a:lnTo>
                    <a:lnTo>
                      <a:pt x="964" y="918"/>
                    </a:lnTo>
                    <a:lnTo>
                      <a:pt x="959" y="914"/>
                    </a:lnTo>
                    <a:lnTo>
                      <a:pt x="943" y="914"/>
                    </a:lnTo>
                    <a:lnTo>
                      <a:pt x="938" y="902"/>
                    </a:lnTo>
                    <a:lnTo>
                      <a:pt x="938" y="914"/>
                    </a:lnTo>
                    <a:lnTo>
                      <a:pt x="938" y="918"/>
                    </a:lnTo>
                    <a:lnTo>
                      <a:pt x="926" y="918"/>
                    </a:lnTo>
                    <a:lnTo>
                      <a:pt x="926" y="892"/>
                    </a:lnTo>
                    <a:lnTo>
                      <a:pt x="909" y="897"/>
                    </a:lnTo>
                    <a:lnTo>
                      <a:pt x="905" y="918"/>
                    </a:lnTo>
                    <a:lnTo>
                      <a:pt x="905" y="930"/>
                    </a:lnTo>
                    <a:lnTo>
                      <a:pt x="938" y="947"/>
                    </a:lnTo>
                    <a:lnTo>
                      <a:pt x="938" y="954"/>
                    </a:lnTo>
                    <a:lnTo>
                      <a:pt x="909" y="954"/>
                    </a:lnTo>
                    <a:lnTo>
                      <a:pt x="900" y="959"/>
                    </a:lnTo>
                    <a:lnTo>
                      <a:pt x="888" y="987"/>
                    </a:lnTo>
                    <a:lnTo>
                      <a:pt x="850" y="1025"/>
                    </a:lnTo>
                    <a:lnTo>
                      <a:pt x="829" y="1013"/>
                    </a:lnTo>
                    <a:lnTo>
                      <a:pt x="817" y="1008"/>
                    </a:lnTo>
                    <a:lnTo>
                      <a:pt x="829" y="1004"/>
                    </a:lnTo>
                    <a:lnTo>
                      <a:pt x="801" y="987"/>
                    </a:lnTo>
                    <a:lnTo>
                      <a:pt x="813" y="970"/>
                    </a:lnTo>
                    <a:lnTo>
                      <a:pt x="801" y="959"/>
                    </a:lnTo>
                    <a:lnTo>
                      <a:pt x="801" y="954"/>
                    </a:lnTo>
                    <a:lnTo>
                      <a:pt x="829" y="930"/>
                    </a:lnTo>
                    <a:lnTo>
                      <a:pt x="817" y="918"/>
                    </a:lnTo>
                    <a:lnTo>
                      <a:pt x="801" y="930"/>
                    </a:lnTo>
                    <a:lnTo>
                      <a:pt x="775" y="914"/>
                    </a:lnTo>
                    <a:lnTo>
                      <a:pt x="742" y="918"/>
                    </a:lnTo>
                    <a:lnTo>
                      <a:pt x="737" y="930"/>
                    </a:lnTo>
                    <a:lnTo>
                      <a:pt x="725" y="930"/>
                    </a:lnTo>
                    <a:lnTo>
                      <a:pt x="737" y="930"/>
                    </a:lnTo>
                    <a:lnTo>
                      <a:pt x="725" y="947"/>
                    </a:lnTo>
                    <a:lnTo>
                      <a:pt x="704" y="937"/>
                    </a:lnTo>
                    <a:lnTo>
                      <a:pt x="683" y="954"/>
                    </a:lnTo>
                    <a:lnTo>
                      <a:pt x="671" y="947"/>
                    </a:lnTo>
                    <a:lnTo>
                      <a:pt x="671" y="954"/>
                    </a:lnTo>
                    <a:lnTo>
                      <a:pt x="666" y="959"/>
                    </a:lnTo>
                    <a:lnTo>
                      <a:pt x="666" y="954"/>
                    </a:lnTo>
                    <a:lnTo>
                      <a:pt x="650" y="954"/>
                    </a:lnTo>
                    <a:lnTo>
                      <a:pt x="628" y="959"/>
                    </a:lnTo>
                    <a:lnTo>
                      <a:pt x="628" y="954"/>
                    </a:lnTo>
                    <a:lnTo>
                      <a:pt x="612" y="954"/>
                    </a:lnTo>
                    <a:lnTo>
                      <a:pt x="602" y="959"/>
                    </a:lnTo>
                    <a:lnTo>
                      <a:pt x="595" y="992"/>
                    </a:lnTo>
                    <a:lnTo>
                      <a:pt x="586" y="1004"/>
                    </a:lnTo>
                    <a:lnTo>
                      <a:pt x="586" y="987"/>
                    </a:lnTo>
                    <a:lnTo>
                      <a:pt x="574" y="975"/>
                    </a:lnTo>
                    <a:lnTo>
                      <a:pt x="532" y="987"/>
                    </a:lnTo>
                    <a:lnTo>
                      <a:pt x="520" y="975"/>
                    </a:lnTo>
                    <a:lnTo>
                      <a:pt x="510" y="987"/>
                    </a:lnTo>
                    <a:lnTo>
                      <a:pt x="510" y="947"/>
                    </a:lnTo>
                    <a:lnTo>
                      <a:pt x="548" y="947"/>
                    </a:lnTo>
                    <a:lnTo>
                      <a:pt x="557" y="930"/>
                    </a:lnTo>
                    <a:lnTo>
                      <a:pt x="579" y="918"/>
                    </a:lnTo>
                    <a:lnTo>
                      <a:pt x="633" y="876"/>
                    </a:lnTo>
                    <a:lnTo>
                      <a:pt x="633" y="864"/>
                    </a:lnTo>
                    <a:lnTo>
                      <a:pt x="666" y="848"/>
                    </a:lnTo>
                    <a:lnTo>
                      <a:pt x="687" y="859"/>
                    </a:lnTo>
                    <a:lnTo>
                      <a:pt x="742" y="848"/>
                    </a:lnTo>
                    <a:lnTo>
                      <a:pt x="763" y="843"/>
                    </a:lnTo>
                    <a:lnTo>
                      <a:pt x="796" y="843"/>
                    </a:lnTo>
                    <a:lnTo>
                      <a:pt x="813" y="836"/>
                    </a:lnTo>
                    <a:lnTo>
                      <a:pt x="817" y="843"/>
                    </a:lnTo>
                    <a:lnTo>
                      <a:pt x="813" y="848"/>
                    </a:lnTo>
                    <a:lnTo>
                      <a:pt x="829" y="859"/>
                    </a:lnTo>
                    <a:lnTo>
                      <a:pt x="817" y="848"/>
                    </a:lnTo>
                    <a:lnTo>
                      <a:pt x="829" y="848"/>
                    </a:lnTo>
                    <a:lnTo>
                      <a:pt x="834" y="859"/>
                    </a:lnTo>
                    <a:lnTo>
                      <a:pt x="850" y="859"/>
                    </a:lnTo>
                    <a:lnTo>
                      <a:pt x="872" y="836"/>
                    </a:lnTo>
                    <a:lnTo>
                      <a:pt x="872" y="843"/>
                    </a:lnTo>
                    <a:lnTo>
                      <a:pt x="872" y="836"/>
                    </a:lnTo>
                    <a:lnTo>
                      <a:pt x="867" y="819"/>
                    </a:lnTo>
                    <a:lnTo>
                      <a:pt x="921" y="753"/>
                    </a:lnTo>
                    <a:lnTo>
                      <a:pt x="921" y="737"/>
                    </a:lnTo>
                    <a:lnTo>
                      <a:pt x="921" y="715"/>
                    </a:lnTo>
                    <a:lnTo>
                      <a:pt x="926" y="699"/>
                    </a:lnTo>
                    <a:lnTo>
                      <a:pt x="964" y="692"/>
                    </a:lnTo>
                    <a:lnTo>
                      <a:pt x="964" y="699"/>
                    </a:lnTo>
                    <a:lnTo>
                      <a:pt x="943" y="715"/>
                    </a:lnTo>
                    <a:lnTo>
                      <a:pt x="938" y="715"/>
                    </a:lnTo>
                    <a:lnTo>
                      <a:pt x="926" y="725"/>
                    </a:lnTo>
                    <a:lnTo>
                      <a:pt x="943" y="732"/>
                    </a:lnTo>
                    <a:lnTo>
                      <a:pt x="943" y="748"/>
                    </a:lnTo>
                    <a:lnTo>
                      <a:pt x="959" y="753"/>
                    </a:lnTo>
                    <a:lnTo>
                      <a:pt x="976" y="737"/>
                    </a:lnTo>
                    <a:lnTo>
                      <a:pt x="1030" y="715"/>
                    </a:lnTo>
                    <a:lnTo>
                      <a:pt x="1051" y="699"/>
                    </a:lnTo>
                    <a:lnTo>
                      <a:pt x="1068" y="670"/>
                    </a:lnTo>
                    <a:lnTo>
                      <a:pt x="1115" y="637"/>
                    </a:lnTo>
                    <a:lnTo>
                      <a:pt x="1115" y="614"/>
                    </a:lnTo>
                    <a:lnTo>
                      <a:pt x="1136" y="581"/>
                    </a:lnTo>
                    <a:lnTo>
                      <a:pt x="1153" y="531"/>
                    </a:lnTo>
                    <a:lnTo>
                      <a:pt x="1153" y="503"/>
                    </a:lnTo>
                    <a:lnTo>
                      <a:pt x="1127" y="486"/>
                    </a:lnTo>
                    <a:lnTo>
                      <a:pt x="1127" y="486"/>
                    </a:lnTo>
                    <a:lnTo>
                      <a:pt x="1143" y="486"/>
                    </a:lnTo>
                    <a:lnTo>
                      <a:pt x="1153" y="460"/>
                    </a:lnTo>
                    <a:lnTo>
                      <a:pt x="1136" y="432"/>
                    </a:lnTo>
                    <a:lnTo>
                      <a:pt x="1153" y="415"/>
                    </a:lnTo>
                    <a:lnTo>
                      <a:pt x="1169" y="415"/>
                    </a:lnTo>
                    <a:lnTo>
                      <a:pt x="1174" y="375"/>
                    </a:lnTo>
                    <a:lnTo>
                      <a:pt x="1198" y="382"/>
                    </a:lnTo>
                    <a:lnTo>
                      <a:pt x="1198" y="415"/>
                    </a:lnTo>
                    <a:lnTo>
                      <a:pt x="1207" y="404"/>
                    </a:lnTo>
                    <a:lnTo>
                      <a:pt x="1212" y="399"/>
                    </a:lnTo>
                    <a:lnTo>
                      <a:pt x="1228" y="404"/>
                    </a:lnTo>
                    <a:lnTo>
                      <a:pt x="1235" y="404"/>
                    </a:lnTo>
                    <a:lnTo>
                      <a:pt x="1235" y="382"/>
                    </a:lnTo>
                    <a:lnTo>
                      <a:pt x="1235" y="375"/>
                    </a:lnTo>
                    <a:lnTo>
                      <a:pt x="1207" y="382"/>
                    </a:lnTo>
                    <a:lnTo>
                      <a:pt x="1212" y="349"/>
                    </a:lnTo>
                    <a:lnTo>
                      <a:pt x="1235" y="366"/>
                    </a:lnTo>
                    <a:lnTo>
                      <a:pt x="1250" y="366"/>
                    </a:lnTo>
                    <a:lnTo>
                      <a:pt x="1245" y="382"/>
                    </a:lnTo>
                    <a:lnTo>
                      <a:pt x="1250" y="432"/>
                    </a:lnTo>
                    <a:lnTo>
                      <a:pt x="1278" y="460"/>
                    </a:lnTo>
                    <a:lnTo>
                      <a:pt x="1299" y="515"/>
                    </a:lnTo>
                    <a:lnTo>
                      <a:pt x="1283" y="543"/>
                    </a:lnTo>
                    <a:lnTo>
                      <a:pt x="1283" y="564"/>
                    </a:lnTo>
                    <a:lnTo>
                      <a:pt x="1266" y="564"/>
                    </a:lnTo>
                    <a:lnTo>
                      <a:pt x="1266" y="571"/>
                    </a:lnTo>
                    <a:lnTo>
                      <a:pt x="1261" y="581"/>
                    </a:lnTo>
                    <a:lnTo>
                      <a:pt x="1261" y="626"/>
                    </a:lnTo>
                    <a:lnTo>
                      <a:pt x="1245" y="614"/>
                    </a:lnTo>
                    <a:lnTo>
                      <a:pt x="1228" y="621"/>
                    </a:lnTo>
                    <a:lnTo>
                      <a:pt x="1212" y="637"/>
                    </a:lnTo>
                    <a:lnTo>
                      <a:pt x="1212" y="654"/>
                    </a:lnTo>
                    <a:lnTo>
                      <a:pt x="1224" y="675"/>
                    </a:lnTo>
                    <a:lnTo>
                      <a:pt x="1224" y="699"/>
                    </a:lnTo>
                    <a:lnTo>
                      <a:pt x="1224" y="732"/>
                    </a:lnTo>
                    <a:lnTo>
                      <a:pt x="1207" y="748"/>
                    </a:lnTo>
                    <a:lnTo>
                      <a:pt x="1207" y="748"/>
                    </a:lnTo>
                    <a:lnTo>
                      <a:pt x="1207" y="748"/>
                    </a:lnTo>
                    <a:close/>
                    <a:moveTo>
                      <a:pt x="1044" y="626"/>
                    </a:moveTo>
                    <a:lnTo>
                      <a:pt x="1035" y="642"/>
                    </a:lnTo>
                    <a:lnTo>
                      <a:pt x="1051" y="642"/>
                    </a:lnTo>
                    <a:lnTo>
                      <a:pt x="1044" y="659"/>
                    </a:lnTo>
                    <a:lnTo>
                      <a:pt x="1030" y="670"/>
                    </a:lnTo>
                    <a:lnTo>
                      <a:pt x="1035" y="654"/>
                    </a:lnTo>
                    <a:lnTo>
                      <a:pt x="1030" y="654"/>
                    </a:lnTo>
                    <a:lnTo>
                      <a:pt x="1030" y="642"/>
                    </a:lnTo>
                    <a:lnTo>
                      <a:pt x="1044" y="626"/>
                    </a:lnTo>
                    <a:lnTo>
                      <a:pt x="1044" y="626"/>
                    </a:lnTo>
                    <a:lnTo>
                      <a:pt x="1044" y="626"/>
                    </a:lnTo>
                    <a:close/>
                    <a:moveTo>
                      <a:pt x="683" y="786"/>
                    </a:moveTo>
                    <a:lnTo>
                      <a:pt x="687" y="803"/>
                    </a:lnTo>
                    <a:lnTo>
                      <a:pt x="671" y="803"/>
                    </a:lnTo>
                    <a:lnTo>
                      <a:pt x="671" y="791"/>
                    </a:lnTo>
                    <a:lnTo>
                      <a:pt x="683" y="786"/>
                    </a:lnTo>
                    <a:lnTo>
                      <a:pt x="683" y="786"/>
                    </a:lnTo>
                    <a:lnTo>
                      <a:pt x="683" y="786"/>
                    </a:lnTo>
                    <a:close/>
                    <a:moveTo>
                      <a:pt x="1106" y="914"/>
                    </a:moveTo>
                    <a:lnTo>
                      <a:pt x="1115" y="918"/>
                    </a:lnTo>
                    <a:lnTo>
                      <a:pt x="1106" y="918"/>
                    </a:lnTo>
                    <a:lnTo>
                      <a:pt x="1106" y="914"/>
                    </a:lnTo>
                    <a:lnTo>
                      <a:pt x="1106" y="914"/>
                    </a:lnTo>
                    <a:lnTo>
                      <a:pt x="1106" y="914"/>
                    </a:lnTo>
                    <a:close/>
                    <a:moveTo>
                      <a:pt x="411" y="918"/>
                    </a:moveTo>
                    <a:lnTo>
                      <a:pt x="402" y="954"/>
                    </a:lnTo>
                    <a:lnTo>
                      <a:pt x="397" y="954"/>
                    </a:lnTo>
                    <a:lnTo>
                      <a:pt x="397" y="930"/>
                    </a:lnTo>
                    <a:lnTo>
                      <a:pt x="411" y="918"/>
                    </a:lnTo>
                    <a:lnTo>
                      <a:pt x="411" y="918"/>
                    </a:lnTo>
                    <a:lnTo>
                      <a:pt x="411" y="918"/>
                    </a:lnTo>
                    <a:close/>
                    <a:moveTo>
                      <a:pt x="780" y="959"/>
                    </a:moveTo>
                    <a:lnTo>
                      <a:pt x="775" y="954"/>
                    </a:lnTo>
                    <a:lnTo>
                      <a:pt x="796" y="930"/>
                    </a:lnTo>
                    <a:lnTo>
                      <a:pt x="791" y="947"/>
                    </a:lnTo>
                    <a:lnTo>
                      <a:pt x="796" y="959"/>
                    </a:lnTo>
                    <a:lnTo>
                      <a:pt x="780" y="959"/>
                    </a:lnTo>
                    <a:lnTo>
                      <a:pt x="780" y="959"/>
                    </a:lnTo>
                    <a:lnTo>
                      <a:pt x="780" y="959"/>
                    </a:lnTo>
                    <a:close/>
                    <a:moveTo>
                      <a:pt x="758" y="937"/>
                    </a:moveTo>
                    <a:lnTo>
                      <a:pt x="746" y="947"/>
                    </a:lnTo>
                    <a:lnTo>
                      <a:pt x="742" y="937"/>
                    </a:lnTo>
                    <a:lnTo>
                      <a:pt x="758" y="937"/>
                    </a:lnTo>
                    <a:lnTo>
                      <a:pt x="758" y="937"/>
                    </a:lnTo>
                    <a:lnTo>
                      <a:pt x="758" y="937"/>
                    </a:lnTo>
                    <a:close/>
                    <a:moveTo>
                      <a:pt x="746" y="1013"/>
                    </a:moveTo>
                    <a:lnTo>
                      <a:pt x="742" y="1041"/>
                    </a:lnTo>
                    <a:lnTo>
                      <a:pt x="725" y="1025"/>
                    </a:lnTo>
                    <a:lnTo>
                      <a:pt x="709" y="1013"/>
                    </a:lnTo>
                    <a:lnTo>
                      <a:pt x="683" y="1029"/>
                    </a:lnTo>
                    <a:lnTo>
                      <a:pt x="671" y="1041"/>
                    </a:lnTo>
                    <a:lnTo>
                      <a:pt x="657" y="1058"/>
                    </a:lnTo>
                    <a:lnTo>
                      <a:pt x="657" y="1081"/>
                    </a:lnTo>
                    <a:lnTo>
                      <a:pt x="633" y="1081"/>
                    </a:lnTo>
                    <a:lnTo>
                      <a:pt x="640" y="1065"/>
                    </a:lnTo>
                    <a:lnTo>
                      <a:pt x="619" y="1065"/>
                    </a:lnTo>
                    <a:lnTo>
                      <a:pt x="628" y="1041"/>
                    </a:lnTo>
                    <a:lnTo>
                      <a:pt x="612" y="1029"/>
                    </a:lnTo>
                    <a:lnTo>
                      <a:pt x="612" y="1025"/>
                    </a:lnTo>
                    <a:lnTo>
                      <a:pt x="586" y="1029"/>
                    </a:lnTo>
                    <a:lnTo>
                      <a:pt x="633" y="1008"/>
                    </a:lnTo>
                    <a:lnTo>
                      <a:pt x="650" y="970"/>
                    </a:lnTo>
                    <a:lnTo>
                      <a:pt x="666" y="987"/>
                    </a:lnTo>
                    <a:lnTo>
                      <a:pt x="694" y="987"/>
                    </a:lnTo>
                    <a:lnTo>
                      <a:pt x="704" y="959"/>
                    </a:lnTo>
                    <a:lnTo>
                      <a:pt x="720" y="954"/>
                    </a:lnTo>
                    <a:lnTo>
                      <a:pt x="737" y="947"/>
                    </a:lnTo>
                    <a:lnTo>
                      <a:pt x="758" y="959"/>
                    </a:lnTo>
                    <a:lnTo>
                      <a:pt x="763" y="959"/>
                    </a:lnTo>
                    <a:lnTo>
                      <a:pt x="775" y="975"/>
                    </a:lnTo>
                    <a:lnTo>
                      <a:pt x="780" y="992"/>
                    </a:lnTo>
                    <a:lnTo>
                      <a:pt x="746" y="1013"/>
                    </a:lnTo>
                    <a:lnTo>
                      <a:pt x="746" y="1013"/>
                    </a:lnTo>
                    <a:lnTo>
                      <a:pt x="746" y="1013"/>
                    </a:lnTo>
                    <a:close/>
                    <a:moveTo>
                      <a:pt x="402" y="959"/>
                    </a:moveTo>
                    <a:lnTo>
                      <a:pt x="385" y="970"/>
                    </a:lnTo>
                    <a:lnTo>
                      <a:pt x="397" y="954"/>
                    </a:lnTo>
                    <a:lnTo>
                      <a:pt x="402" y="959"/>
                    </a:lnTo>
                    <a:lnTo>
                      <a:pt x="402" y="959"/>
                    </a:lnTo>
                    <a:lnTo>
                      <a:pt x="402" y="959"/>
                    </a:lnTo>
                    <a:close/>
                    <a:moveTo>
                      <a:pt x="657" y="954"/>
                    </a:moveTo>
                    <a:lnTo>
                      <a:pt x="666" y="959"/>
                    </a:lnTo>
                    <a:lnTo>
                      <a:pt x="657" y="959"/>
                    </a:lnTo>
                    <a:lnTo>
                      <a:pt x="657" y="954"/>
                    </a:lnTo>
                    <a:lnTo>
                      <a:pt x="657" y="954"/>
                    </a:lnTo>
                    <a:lnTo>
                      <a:pt x="657" y="954"/>
                    </a:lnTo>
                    <a:close/>
                    <a:moveTo>
                      <a:pt x="628" y="959"/>
                    </a:moveTo>
                    <a:lnTo>
                      <a:pt x="619" y="970"/>
                    </a:lnTo>
                    <a:lnTo>
                      <a:pt x="619" y="959"/>
                    </a:lnTo>
                    <a:lnTo>
                      <a:pt x="628" y="959"/>
                    </a:lnTo>
                    <a:lnTo>
                      <a:pt x="628" y="959"/>
                    </a:lnTo>
                    <a:lnTo>
                      <a:pt x="628" y="959"/>
                    </a:lnTo>
                    <a:close/>
                    <a:moveTo>
                      <a:pt x="628" y="970"/>
                    </a:moveTo>
                    <a:lnTo>
                      <a:pt x="628" y="975"/>
                    </a:lnTo>
                    <a:lnTo>
                      <a:pt x="619" y="970"/>
                    </a:lnTo>
                    <a:lnTo>
                      <a:pt x="628" y="970"/>
                    </a:lnTo>
                    <a:lnTo>
                      <a:pt x="628" y="970"/>
                    </a:lnTo>
                    <a:lnTo>
                      <a:pt x="628" y="970"/>
                    </a:lnTo>
                    <a:close/>
                    <a:moveTo>
                      <a:pt x="532" y="1008"/>
                    </a:moveTo>
                    <a:lnTo>
                      <a:pt x="548" y="1013"/>
                    </a:lnTo>
                    <a:lnTo>
                      <a:pt x="557" y="1008"/>
                    </a:lnTo>
                    <a:lnTo>
                      <a:pt x="565" y="1008"/>
                    </a:lnTo>
                    <a:lnTo>
                      <a:pt x="574" y="1025"/>
                    </a:lnTo>
                    <a:lnTo>
                      <a:pt x="557" y="1029"/>
                    </a:lnTo>
                    <a:lnTo>
                      <a:pt x="557" y="1041"/>
                    </a:lnTo>
                    <a:lnTo>
                      <a:pt x="579" y="1041"/>
                    </a:lnTo>
                    <a:lnTo>
                      <a:pt x="574" y="1046"/>
                    </a:lnTo>
                    <a:lnTo>
                      <a:pt x="586" y="1070"/>
                    </a:lnTo>
                    <a:lnTo>
                      <a:pt x="565" y="1098"/>
                    </a:lnTo>
                    <a:lnTo>
                      <a:pt x="541" y="1190"/>
                    </a:lnTo>
                    <a:lnTo>
                      <a:pt x="527" y="1181"/>
                    </a:lnTo>
                    <a:lnTo>
                      <a:pt x="520" y="1190"/>
                    </a:lnTo>
                    <a:lnTo>
                      <a:pt x="527" y="1197"/>
                    </a:lnTo>
                    <a:lnTo>
                      <a:pt x="494" y="1226"/>
                    </a:lnTo>
                    <a:lnTo>
                      <a:pt x="503" y="1190"/>
                    </a:lnTo>
                    <a:lnTo>
                      <a:pt x="489" y="1174"/>
                    </a:lnTo>
                    <a:lnTo>
                      <a:pt x="503" y="1174"/>
                    </a:lnTo>
                    <a:lnTo>
                      <a:pt x="503" y="1169"/>
                    </a:lnTo>
                    <a:lnTo>
                      <a:pt x="494" y="1157"/>
                    </a:lnTo>
                    <a:lnTo>
                      <a:pt x="489" y="1174"/>
                    </a:lnTo>
                    <a:lnTo>
                      <a:pt x="494" y="1209"/>
                    </a:lnTo>
                    <a:lnTo>
                      <a:pt x="465" y="1197"/>
                    </a:lnTo>
                    <a:lnTo>
                      <a:pt x="472" y="1169"/>
                    </a:lnTo>
                    <a:lnTo>
                      <a:pt x="456" y="1157"/>
                    </a:lnTo>
                    <a:lnTo>
                      <a:pt x="456" y="1136"/>
                    </a:lnTo>
                    <a:lnTo>
                      <a:pt x="489" y="1103"/>
                    </a:lnTo>
                    <a:lnTo>
                      <a:pt x="489" y="1086"/>
                    </a:lnTo>
                    <a:lnTo>
                      <a:pt x="477" y="1086"/>
                    </a:lnTo>
                    <a:lnTo>
                      <a:pt x="489" y="1081"/>
                    </a:lnTo>
                    <a:lnTo>
                      <a:pt x="477" y="1065"/>
                    </a:lnTo>
                    <a:lnTo>
                      <a:pt x="477" y="1058"/>
                    </a:lnTo>
                    <a:lnTo>
                      <a:pt x="465" y="1046"/>
                    </a:lnTo>
                    <a:lnTo>
                      <a:pt x="456" y="1046"/>
                    </a:lnTo>
                    <a:lnTo>
                      <a:pt x="465" y="1065"/>
                    </a:lnTo>
                    <a:lnTo>
                      <a:pt x="456" y="1070"/>
                    </a:lnTo>
                    <a:lnTo>
                      <a:pt x="472" y="1070"/>
                    </a:lnTo>
                    <a:lnTo>
                      <a:pt x="472" y="1086"/>
                    </a:lnTo>
                    <a:lnTo>
                      <a:pt x="456" y="1098"/>
                    </a:lnTo>
                    <a:lnTo>
                      <a:pt x="456" y="1086"/>
                    </a:lnTo>
                    <a:lnTo>
                      <a:pt x="465" y="1081"/>
                    </a:lnTo>
                    <a:lnTo>
                      <a:pt x="456" y="1081"/>
                    </a:lnTo>
                    <a:lnTo>
                      <a:pt x="435" y="1098"/>
                    </a:lnTo>
                    <a:lnTo>
                      <a:pt x="439" y="1081"/>
                    </a:lnTo>
                    <a:lnTo>
                      <a:pt x="423" y="1070"/>
                    </a:lnTo>
                    <a:lnTo>
                      <a:pt x="423" y="1058"/>
                    </a:lnTo>
                    <a:lnTo>
                      <a:pt x="435" y="1065"/>
                    </a:lnTo>
                    <a:lnTo>
                      <a:pt x="435" y="1070"/>
                    </a:lnTo>
                    <a:lnTo>
                      <a:pt x="451" y="1070"/>
                    </a:lnTo>
                    <a:lnTo>
                      <a:pt x="439" y="1058"/>
                    </a:lnTo>
                    <a:lnTo>
                      <a:pt x="418" y="1041"/>
                    </a:lnTo>
                    <a:lnTo>
                      <a:pt x="418" y="1029"/>
                    </a:lnTo>
                    <a:lnTo>
                      <a:pt x="435" y="1029"/>
                    </a:lnTo>
                    <a:lnTo>
                      <a:pt x="439" y="1013"/>
                    </a:lnTo>
                    <a:lnTo>
                      <a:pt x="451" y="1025"/>
                    </a:lnTo>
                    <a:lnTo>
                      <a:pt x="465" y="1008"/>
                    </a:lnTo>
                    <a:lnTo>
                      <a:pt x="472" y="1008"/>
                    </a:lnTo>
                    <a:lnTo>
                      <a:pt x="477" y="992"/>
                    </a:lnTo>
                    <a:lnTo>
                      <a:pt x="494" y="987"/>
                    </a:lnTo>
                    <a:lnTo>
                      <a:pt x="520" y="987"/>
                    </a:lnTo>
                    <a:lnTo>
                      <a:pt x="527" y="1008"/>
                    </a:lnTo>
                    <a:lnTo>
                      <a:pt x="532" y="1008"/>
                    </a:lnTo>
                    <a:lnTo>
                      <a:pt x="532" y="1008"/>
                    </a:lnTo>
                    <a:lnTo>
                      <a:pt x="532" y="1008"/>
                    </a:lnTo>
                    <a:close/>
                    <a:moveTo>
                      <a:pt x="423" y="1004"/>
                    </a:moveTo>
                    <a:lnTo>
                      <a:pt x="423" y="1004"/>
                    </a:lnTo>
                    <a:lnTo>
                      <a:pt x="423" y="992"/>
                    </a:lnTo>
                    <a:lnTo>
                      <a:pt x="435" y="1004"/>
                    </a:lnTo>
                    <a:lnTo>
                      <a:pt x="423" y="1004"/>
                    </a:lnTo>
                    <a:lnTo>
                      <a:pt x="423" y="1004"/>
                    </a:lnTo>
                    <a:lnTo>
                      <a:pt x="423" y="1004"/>
                    </a:lnTo>
                    <a:close/>
                    <a:moveTo>
                      <a:pt x="418" y="1029"/>
                    </a:moveTo>
                    <a:lnTo>
                      <a:pt x="402" y="1046"/>
                    </a:lnTo>
                    <a:lnTo>
                      <a:pt x="418" y="1025"/>
                    </a:lnTo>
                    <a:lnTo>
                      <a:pt x="418" y="1029"/>
                    </a:lnTo>
                    <a:lnTo>
                      <a:pt x="418" y="1029"/>
                    </a:lnTo>
                    <a:lnTo>
                      <a:pt x="418" y="1029"/>
                    </a:lnTo>
                    <a:close/>
                    <a:moveTo>
                      <a:pt x="385" y="1058"/>
                    </a:moveTo>
                    <a:lnTo>
                      <a:pt x="385" y="1065"/>
                    </a:lnTo>
                    <a:lnTo>
                      <a:pt x="385" y="1065"/>
                    </a:lnTo>
                    <a:lnTo>
                      <a:pt x="380" y="1070"/>
                    </a:lnTo>
                    <a:lnTo>
                      <a:pt x="380" y="1065"/>
                    </a:lnTo>
                    <a:lnTo>
                      <a:pt x="385" y="1046"/>
                    </a:lnTo>
                    <a:lnTo>
                      <a:pt x="385" y="1058"/>
                    </a:lnTo>
                    <a:lnTo>
                      <a:pt x="385" y="1058"/>
                    </a:lnTo>
                    <a:lnTo>
                      <a:pt x="385" y="1058"/>
                    </a:lnTo>
                    <a:close/>
                    <a:moveTo>
                      <a:pt x="359" y="1081"/>
                    </a:moveTo>
                    <a:lnTo>
                      <a:pt x="359" y="1081"/>
                    </a:lnTo>
                    <a:lnTo>
                      <a:pt x="364" y="1081"/>
                    </a:lnTo>
                    <a:lnTo>
                      <a:pt x="369" y="1086"/>
                    </a:lnTo>
                    <a:lnTo>
                      <a:pt x="347" y="1086"/>
                    </a:lnTo>
                    <a:lnTo>
                      <a:pt x="359" y="1081"/>
                    </a:lnTo>
                    <a:lnTo>
                      <a:pt x="359" y="1081"/>
                    </a:lnTo>
                    <a:lnTo>
                      <a:pt x="359" y="1081"/>
                    </a:lnTo>
                    <a:close/>
                    <a:moveTo>
                      <a:pt x="451" y="1124"/>
                    </a:moveTo>
                    <a:lnTo>
                      <a:pt x="451" y="1103"/>
                    </a:lnTo>
                    <a:lnTo>
                      <a:pt x="456" y="1098"/>
                    </a:lnTo>
                    <a:lnTo>
                      <a:pt x="465" y="1115"/>
                    </a:lnTo>
                    <a:lnTo>
                      <a:pt x="451" y="1124"/>
                    </a:lnTo>
                    <a:lnTo>
                      <a:pt x="451" y="1124"/>
                    </a:lnTo>
                    <a:lnTo>
                      <a:pt x="451" y="1124"/>
                    </a:lnTo>
                    <a:close/>
                    <a:moveTo>
                      <a:pt x="465" y="1103"/>
                    </a:moveTo>
                    <a:lnTo>
                      <a:pt x="477" y="1098"/>
                    </a:lnTo>
                    <a:lnTo>
                      <a:pt x="472" y="1115"/>
                    </a:lnTo>
                    <a:lnTo>
                      <a:pt x="465" y="1103"/>
                    </a:lnTo>
                    <a:lnTo>
                      <a:pt x="465" y="1103"/>
                    </a:lnTo>
                    <a:lnTo>
                      <a:pt x="465" y="1103"/>
                    </a:lnTo>
                    <a:close/>
                    <a:moveTo>
                      <a:pt x="456" y="1124"/>
                    </a:moveTo>
                    <a:lnTo>
                      <a:pt x="465" y="1124"/>
                    </a:lnTo>
                    <a:lnTo>
                      <a:pt x="456" y="1124"/>
                    </a:lnTo>
                    <a:lnTo>
                      <a:pt x="456" y="1124"/>
                    </a:lnTo>
                    <a:lnTo>
                      <a:pt x="456" y="1124"/>
                    </a:lnTo>
                    <a:lnTo>
                      <a:pt x="456" y="1124"/>
                    </a:lnTo>
                    <a:close/>
                    <a:moveTo>
                      <a:pt x="423" y="1169"/>
                    </a:moveTo>
                    <a:lnTo>
                      <a:pt x="435" y="1157"/>
                    </a:lnTo>
                    <a:lnTo>
                      <a:pt x="423" y="1169"/>
                    </a:lnTo>
                    <a:lnTo>
                      <a:pt x="423" y="1169"/>
                    </a:lnTo>
                    <a:lnTo>
                      <a:pt x="423" y="1169"/>
                    </a:lnTo>
                    <a:lnTo>
                      <a:pt x="423" y="1169"/>
                    </a:lnTo>
                    <a:close/>
                    <a:moveTo>
                      <a:pt x="527" y="1230"/>
                    </a:moveTo>
                    <a:lnTo>
                      <a:pt x="520" y="1268"/>
                    </a:lnTo>
                    <a:lnTo>
                      <a:pt x="510" y="1268"/>
                    </a:lnTo>
                    <a:lnTo>
                      <a:pt x="510" y="1247"/>
                    </a:lnTo>
                    <a:lnTo>
                      <a:pt x="527" y="1230"/>
                    </a:lnTo>
                    <a:lnTo>
                      <a:pt x="527" y="1230"/>
                    </a:lnTo>
                    <a:lnTo>
                      <a:pt x="527" y="1230"/>
                    </a:lnTo>
                    <a:close/>
                    <a:moveTo>
                      <a:pt x="489" y="1263"/>
                    </a:moveTo>
                    <a:lnTo>
                      <a:pt x="494" y="1268"/>
                    </a:lnTo>
                    <a:lnTo>
                      <a:pt x="489" y="1280"/>
                    </a:lnTo>
                    <a:lnTo>
                      <a:pt x="477" y="1280"/>
                    </a:lnTo>
                    <a:lnTo>
                      <a:pt x="472" y="1268"/>
                    </a:lnTo>
                    <a:lnTo>
                      <a:pt x="489" y="1263"/>
                    </a:lnTo>
                    <a:lnTo>
                      <a:pt x="489" y="1263"/>
                    </a:lnTo>
                    <a:lnTo>
                      <a:pt x="489" y="1263"/>
                    </a:lnTo>
                    <a:close/>
                    <a:moveTo>
                      <a:pt x="423" y="1412"/>
                    </a:moveTo>
                    <a:lnTo>
                      <a:pt x="423" y="1419"/>
                    </a:lnTo>
                    <a:lnTo>
                      <a:pt x="402" y="1445"/>
                    </a:lnTo>
                    <a:lnTo>
                      <a:pt x="385" y="1436"/>
                    </a:lnTo>
                    <a:lnTo>
                      <a:pt x="423" y="1412"/>
                    </a:lnTo>
                    <a:lnTo>
                      <a:pt x="423" y="1412"/>
                    </a:lnTo>
                    <a:lnTo>
                      <a:pt x="423" y="1412"/>
                    </a:lnTo>
                    <a:close/>
                    <a:moveTo>
                      <a:pt x="397" y="1436"/>
                    </a:moveTo>
                    <a:lnTo>
                      <a:pt x="402" y="1445"/>
                    </a:lnTo>
                    <a:lnTo>
                      <a:pt x="397" y="1445"/>
                    </a:lnTo>
                    <a:lnTo>
                      <a:pt x="397" y="1436"/>
                    </a:lnTo>
                    <a:lnTo>
                      <a:pt x="397" y="1436"/>
                    </a:lnTo>
                    <a:lnTo>
                      <a:pt x="397" y="1436"/>
                    </a:lnTo>
                    <a:close/>
                    <a:moveTo>
                      <a:pt x="369" y="1457"/>
                    </a:moveTo>
                    <a:lnTo>
                      <a:pt x="380" y="1474"/>
                    </a:lnTo>
                    <a:lnTo>
                      <a:pt x="369" y="1485"/>
                    </a:lnTo>
                    <a:lnTo>
                      <a:pt x="369" y="1469"/>
                    </a:lnTo>
                    <a:lnTo>
                      <a:pt x="369" y="1457"/>
                    </a:lnTo>
                    <a:lnTo>
                      <a:pt x="369" y="1457"/>
                    </a:lnTo>
                    <a:lnTo>
                      <a:pt x="369" y="1457"/>
                    </a:lnTo>
                    <a:close/>
                    <a:moveTo>
                      <a:pt x="347" y="1502"/>
                    </a:moveTo>
                    <a:lnTo>
                      <a:pt x="359" y="1502"/>
                    </a:lnTo>
                    <a:lnTo>
                      <a:pt x="347" y="1507"/>
                    </a:lnTo>
                    <a:lnTo>
                      <a:pt x="347" y="1502"/>
                    </a:lnTo>
                    <a:lnTo>
                      <a:pt x="347" y="1502"/>
                    </a:lnTo>
                    <a:lnTo>
                      <a:pt x="347" y="1502"/>
                    </a:lnTo>
                    <a:close/>
                    <a:moveTo>
                      <a:pt x="326" y="1547"/>
                    </a:moveTo>
                    <a:lnTo>
                      <a:pt x="331" y="1547"/>
                    </a:lnTo>
                    <a:lnTo>
                      <a:pt x="326" y="1556"/>
                    </a:lnTo>
                    <a:lnTo>
                      <a:pt x="293" y="1580"/>
                    </a:lnTo>
                    <a:lnTo>
                      <a:pt x="293" y="1596"/>
                    </a:lnTo>
                    <a:lnTo>
                      <a:pt x="288" y="1601"/>
                    </a:lnTo>
                    <a:lnTo>
                      <a:pt x="288" y="1580"/>
                    </a:lnTo>
                    <a:lnTo>
                      <a:pt x="305" y="1568"/>
                    </a:lnTo>
                    <a:lnTo>
                      <a:pt x="305" y="1556"/>
                    </a:lnTo>
                    <a:lnTo>
                      <a:pt x="309" y="1563"/>
                    </a:lnTo>
                    <a:lnTo>
                      <a:pt x="326" y="1547"/>
                    </a:lnTo>
                    <a:lnTo>
                      <a:pt x="326" y="1547"/>
                    </a:lnTo>
                    <a:lnTo>
                      <a:pt x="326" y="1547"/>
                    </a:lnTo>
                    <a:close/>
                    <a:moveTo>
                      <a:pt x="217" y="1580"/>
                    </a:moveTo>
                    <a:lnTo>
                      <a:pt x="222" y="1585"/>
                    </a:lnTo>
                    <a:lnTo>
                      <a:pt x="217" y="1580"/>
                    </a:lnTo>
                    <a:lnTo>
                      <a:pt x="217" y="1580"/>
                    </a:lnTo>
                    <a:lnTo>
                      <a:pt x="217" y="1580"/>
                    </a:lnTo>
                    <a:lnTo>
                      <a:pt x="217" y="1580"/>
                    </a:lnTo>
                    <a:close/>
                    <a:moveTo>
                      <a:pt x="116" y="1696"/>
                    </a:moveTo>
                    <a:lnTo>
                      <a:pt x="125" y="1707"/>
                    </a:lnTo>
                    <a:lnTo>
                      <a:pt x="116" y="1707"/>
                    </a:lnTo>
                    <a:lnTo>
                      <a:pt x="116" y="1696"/>
                    </a:lnTo>
                    <a:lnTo>
                      <a:pt x="116" y="1696"/>
                    </a:lnTo>
                    <a:lnTo>
                      <a:pt x="116" y="1696"/>
                    </a:lnTo>
                    <a:close/>
                    <a:moveTo>
                      <a:pt x="33" y="1729"/>
                    </a:moveTo>
                    <a:lnTo>
                      <a:pt x="40" y="1729"/>
                    </a:lnTo>
                    <a:lnTo>
                      <a:pt x="45" y="1724"/>
                    </a:lnTo>
                    <a:lnTo>
                      <a:pt x="40" y="1736"/>
                    </a:lnTo>
                    <a:lnTo>
                      <a:pt x="33" y="1736"/>
                    </a:lnTo>
                    <a:lnTo>
                      <a:pt x="33" y="1729"/>
                    </a:lnTo>
                    <a:lnTo>
                      <a:pt x="33" y="1729"/>
                    </a:lnTo>
                    <a:lnTo>
                      <a:pt x="33" y="1729"/>
                    </a:lnTo>
                    <a:close/>
                    <a:moveTo>
                      <a:pt x="7" y="1729"/>
                    </a:moveTo>
                    <a:lnTo>
                      <a:pt x="24" y="1736"/>
                    </a:lnTo>
                    <a:lnTo>
                      <a:pt x="17" y="1745"/>
                    </a:lnTo>
                    <a:lnTo>
                      <a:pt x="0" y="1736"/>
                    </a:lnTo>
                    <a:lnTo>
                      <a:pt x="7" y="1729"/>
                    </a:lnTo>
                    <a:lnTo>
                      <a:pt x="7" y="1729"/>
                    </a:lnTo>
                    <a:lnTo>
                      <a:pt x="7" y="172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8" name="Freeform 485">
                <a:extLst>
                  <a:ext uri="{FF2B5EF4-FFF2-40B4-BE49-F238E27FC236}">
                    <a16:creationId xmlns:a16="http://schemas.microsoft.com/office/drawing/2014/main" id="{956B18B0-F17E-4BD1-B191-872287AA4EA5}"/>
                  </a:ext>
                </a:extLst>
              </p:cNvPr>
              <p:cNvSpPr>
                <a:spLocks noEditPoints="1"/>
              </p:cNvSpPr>
              <p:nvPr/>
            </p:nvSpPr>
            <p:spPr bwMode="gray">
              <a:xfrm>
                <a:off x="10325056" y="2860793"/>
                <a:ext cx="181136" cy="181567"/>
              </a:xfrm>
              <a:custGeom>
                <a:avLst/>
                <a:gdLst>
                  <a:gd name="T0" fmla="*/ 239 w 440"/>
                  <a:gd name="T1" fmla="*/ 23 h 441"/>
                  <a:gd name="T2" fmla="*/ 277 w 440"/>
                  <a:gd name="T3" fmla="*/ 40 h 441"/>
                  <a:gd name="T4" fmla="*/ 340 w 440"/>
                  <a:gd name="T5" fmla="*/ 155 h 441"/>
                  <a:gd name="T6" fmla="*/ 347 w 440"/>
                  <a:gd name="T7" fmla="*/ 210 h 441"/>
                  <a:gd name="T8" fmla="*/ 314 w 440"/>
                  <a:gd name="T9" fmla="*/ 292 h 441"/>
                  <a:gd name="T10" fmla="*/ 260 w 440"/>
                  <a:gd name="T11" fmla="*/ 297 h 441"/>
                  <a:gd name="T12" fmla="*/ 260 w 440"/>
                  <a:gd name="T13" fmla="*/ 297 h 441"/>
                  <a:gd name="T14" fmla="*/ 206 w 440"/>
                  <a:gd name="T15" fmla="*/ 304 h 441"/>
                  <a:gd name="T16" fmla="*/ 206 w 440"/>
                  <a:gd name="T17" fmla="*/ 333 h 441"/>
                  <a:gd name="T18" fmla="*/ 201 w 440"/>
                  <a:gd name="T19" fmla="*/ 333 h 441"/>
                  <a:gd name="T20" fmla="*/ 189 w 440"/>
                  <a:gd name="T21" fmla="*/ 333 h 441"/>
                  <a:gd name="T22" fmla="*/ 163 w 440"/>
                  <a:gd name="T23" fmla="*/ 349 h 441"/>
                  <a:gd name="T24" fmla="*/ 114 w 440"/>
                  <a:gd name="T25" fmla="*/ 321 h 441"/>
                  <a:gd name="T26" fmla="*/ 130 w 440"/>
                  <a:gd name="T27" fmla="*/ 333 h 441"/>
                  <a:gd name="T28" fmla="*/ 137 w 440"/>
                  <a:gd name="T29" fmla="*/ 314 h 441"/>
                  <a:gd name="T30" fmla="*/ 125 w 440"/>
                  <a:gd name="T31" fmla="*/ 314 h 441"/>
                  <a:gd name="T32" fmla="*/ 114 w 440"/>
                  <a:gd name="T33" fmla="*/ 292 h 441"/>
                  <a:gd name="T34" fmla="*/ 125 w 440"/>
                  <a:gd name="T35" fmla="*/ 281 h 441"/>
                  <a:gd name="T36" fmla="*/ 147 w 440"/>
                  <a:gd name="T37" fmla="*/ 248 h 441"/>
                  <a:gd name="T38" fmla="*/ 137 w 440"/>
                  <a:gd name="T39" fmla="*/ 226 h 441"/>
                  <a:gd name="T40" fmla="*/ 147 w 440"/>
                  <a:gd name="T41" fmla="*/ 222 h 441"/>
                  <a:gd name="T42" fmla="*/ 125 w 440"/>
                  <a:gd name="T43" fmla="*/ 155 h 441"/>
                  <a:gd name="T44" fmla="*/ 109 w 440"/>
                  <a:gd name="T45" fmla="*/ 155 h 441"/>
                  <a:gd name="T46" fmla="*/ 125 w 440"/>
                  <a:gd name="T47" fmla="*/ 148 h 441"/>
                  <a:gd name="T48" fmla="*/ 130 w 440"/>
                  <a:gd name="T49" fmla="*/ 148 h 441"/>
                  <a:gd name="T50" fmla="*/ 151 w 440"/>
                  <a:gd name="T51" fmla="*/ 155 h 441"/>
                  <a:gd name="T52" fmla="*/ 151 w 440"/>
                  <a:gd name="T53" fmla="*/ 115 h 441"/>
                  <a:gd name="T54" fmla="*/ 151 w 440"/>
                  <a:gd name="T55" fmla="*/ 111 h 441"/>
                  <a:gd name="T56" fmla="*/ 130 w 440"/>
                  <a:gd name="T57" fmla="*/ 73 h 441"/>
                  <a:gd name="T58" fmla="*/ 147 w 440"/>
                  <a:gd name="T59" fmla="*/ 61 h 441"/>
                  <a:gd name="T60" fmla="*/ 7 w 440"/>
                  <a:gd name="T61" fmla="*/ 61 h 441"/>
                  <a:gd name="T62" fmla="*/ 7 w 440"/>
                  <a:gd name="T63" fmla="*/ 56 h 441"/>
                  <a:gd name="T64" fmla="*/ 130 w 440"/>
                  <a:gd name="T65" fmla="*/ 82 h 441"/>
                  <a:gd name="T66" fmla="*/ 130 w 440"/>
                  <a:gd name="T67" fmla="*/ 73 h 441"/>
                  <a:gd name="T68" fmla="*/ 440 w 440"/>
                  <a:gd name="T69" fmla="*/ 94 h 441"/>
                  <a:gd name="T70" fmla="*/ 440 w 440"/>
                  <a:gd name="T71" fmla="*/ 94 h 441"/>
                  <a:gd name="T72" fmla="*/ 125 w 440"/>
                  <a:gd name="T73" fmla="*/ 181 h 441"/>
                  <a:gd name="T74" fmla="*/ 125 w 440"/>
                  <a:gd name="T75" fmla="*/ 181 h 441"/>
                  <a:gd name="T76" fmla="*/ 288 w 440"/>
                  <a:gd name="T77" fmla="*/ 304 h 441"/>
                  <a:gd name="T78" fmla="*/ 277 w 440"/>
                  <a:gd name="T79" fmla="*/ 314 h 441"/>
                  <a:gd name="T80" fmla="*/ 288 w 440"/>
                  <a:gd name="T81" fmla="*/ 304 h 441"/>
                  <a:gd name="T82" fmla="*/ 234 w 440"/>
                  <a:gd name="T83" fmla="*/ 314 h 441"/>
                  <a:gd name="T84" fmla="*/ 222 w 440"/>
                  <a:gd name="T85" fmla="*/ 321 h 441"/>
                  <a:gd name="T86" fmla="*/ 234 w 440"/>
                  <a:gd name="T87" fmla="*/ 304 h 441"/>
                  <a:gd name="T88" fmla="*/ 222 w 440"/>
                  <a:gd name="T89" fmla="*/ 333 h 441"/>
                  <a:gd name="T90" fmla="*/ 222 w 440"/>
                  <a:gd name="T91" fmla="*/ 333 h 441"/>
                  <a:gd name="T92" fmla="*/ 114 w 440"/>
                  <a:gd name="T93" fmla="*/ 349 h 441"/>
                  <a:gd name="T94" fmla="*/ 125 w 440"/>
                  <a:gd name="T95" fmla="*/ 337 h 441"/>
                  <a:gd name="T96" fmla="*/ 222 w 440"/>
                  <a:gd name="T97" fmla="*/ 337 h 441"/>
                  <a:gd name="T98" fmla="*/ 222 w 440"/>
                  <a:gd name="T99" fmla="*/ 337 h 441"/>
                  <a:gd name="T100" fmla="*/ 184 w 440"/>
                  <a:gd name="T101" fmla="*/ 337 h 441"/>
                  <a:gd name="T102" fmla="*/ 184 w 440"/>
                  <a:gd name="T103" fmla="*/ 337 h 441"/>
                  <a:gd name="T104" fmla="*/ 147 w 440"/>
                  <a:gd name="T105" fmla="*/ 349 h 441"/>
                  <a:gd name="T106" fmla="*/ 147 w 440"/>
                  <a:gd name="T107" fmla="*/ 349 h 441"/>
                  <a:gd name="T108" fmla="*/ 151 w 440"/>
                  <a:gd name="T109" fmla="*/ 415 h 441"/>
                  <a:gd name="T110" fmla="*/ 114 w 440"/>
                  <a:gd name="T111" fmla="*/ 441 h 441"/>
                  <a:gd name="T112" fmla="*/ 151 w 440"/>
                  <a:gd name="T113" fmla="*/ 415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0" h="441">
                    <a:moveTo>
                      <a:pt x="147" y="61"/>
                    </a:moveTo>
                    <a:lnTo>
                      <a:pt x="180" y="28"/>
                    </a:lnTo>
                    <a:lnTo>
                      <a:pt x="239" y="23"/>
                    </a:lnTo>
                    <a:lnTo>
                      <a:pt x="255" y="16"/>
                    </a:lnTo>
                    <a:lnTo>
                      <a:pt x="260" y="0"/>
                    </a:lnTo>
                    <a:lnTo>
                      <a:pt x="277" y="40"/>
                    </a:lnTo>
                    <a:lnTo>
                      <a:pt x="310" y="78"/>
                    </a:lnTo>
                    <a:lnTo>
                      <a:pt x="340" y="132"/>
                    </a:lnTo>
                    <a:lnTo>
                      <a:pt x="340" y="155"/>
                    </a:lnTo>
                    <a:lnTo>
                      <a:pt x="331" y="210"/>
                    </a:lnTo>
                    <a:lnTo>
                      <a:pt x="340" y="222"/>
                    </a:lnTo>
                    <a:lnTo>
                      <a:pt x="347" y="210"/>
                    </a:lnTo>
                    <a:lnTo>
                      <a:pt x="347" y="210"/>
                    </a:lnTo>
                    <a:lnTo>
                      <a:pt x="340" y="248"/>
                    </a:lnTo>
                    <a:lnTo>
                      <a:pt x="314" y="292"/>
                    </a:lnTo>
                    <a:lnTo>
                      <a:pt x="293" y="292"/>
                    </a:lnTo>
                    <a:lnTo>
                      <a:pt x="277" y="281"/>
                    </a:lnTo>
                    <a:lnTo>
                      <a:pt x="260" y="297"/>
                    </a:lnTo>
                    <a:lnTo>
                      <a:pt x="272" y="297"/>
                    </a:lnTo>
                    <a:lnTo>
                      <a:pt x="272" y="314"/>
                    </a:lnTo>
                    <a:lnTo>
                      <a:pt x="260" y="297"/>
                    </a:lnTo>
                    <a:lnTo>
                      <a:pt x="255" y="304"/>
                    </a:lnTo>
                    <a:lnTo>
                      <a:pt x="239" y="297"/>
                    </a:lnTo>
                    <a:lnTo>
                      <a:pt x="206" y="304"/>
                    </a:lnTo>
                    <a:lnTo>
                      <a:pt x="206" y="314"/>
                    </a:lnTo>
                    <a:lnTo>
                      <a:pt x="222" y="314"/>
                    </a:lnTo>
                    <a:lnTo>
                      <a:pt x="206" y="333"/>
                    </a:lnTo>
                    <a:lnTo>
                      <a:pt x="201" y="304"/>
                    </a:lnTo>
                    <a:lnTo>
                      <a:pt x="189" y="321"/>
                    </a:lnTo>
                    <a:lnTo>
                      <a:pt x="201" y="333"/>
                    </a:lnTo>
                    <a:lnTo>
                      <a:pt x="189" y="337"/>
                    </a:lnTo>
                    <a:lnTo>
                      <a:pt x="180" y="337"/>
                    </a:lnTo>
                    <a:lnTo>
                      <a:pt x="189" y="333"/>
                    </a:lnTo>
                    <a:lnTo>
                      <a:pt x="189" y="321"/>
                    </a:lnTo>
                    <a:lnTo>
                      <a:pt x="168" y="333"/>
                    </a:lnTo>
                    <a:lnTo>
                      <a:pt x="163" y="349"/>
                    </a:lnTo>
                    <a:lnTo>
                      <a:pt x="151" y="333"/>
                    </a:lnTo>
                    <a:lnTo>
                      <a:pt x="137" y="354"/>
                    </a:lnTo>
                    <a:lnTo>
                      <a:pt x="114" y="321"/>
                    </a:lnTo>
                    <a:lnTo>
                      <a:pt x="114" y="321"/>
                    </a:lnTo>
                    <a:lnTo>
                      <a:pt x="130" y="333"/>
                    </a:lnTo>
                    <a:lnTo>
                      <a:pt x="130" y="333"/>
                    </a:lnTo>
                    <a:lnTo>
                      <a:pt x="137" y="333"/>
                    </a:lnTo>
                    <a:lnTo>
                      <a:pt x="130" y="321"/>
                    </a:lnTo>
                    <a:lnTo>
                      <a:pt x="137" y="314"/>
                    </a:lnTo>
                    <a:lnTo>
                      <a:pt x="130" y="304"/>
                    </a:lnTo>
                    <a:lnTo>
                      <a:pt x="130" y="314"/>
                    </a:lnTo>
                    <a:lnTo>
                      <a:pt x="125" y="314"/>
                    </a:lnTo>
                    <a:lnTo>
                      <a:pt x="125" y="297"/>
                    </a:lnTo>
                    <a:lnTo>
                      <a:pt x="114" y="304"/>
                    </a:lnTo>
                    <a:lnTo>
                      <a:pt x="114" y="292"/>
                    </a:lnTo>
                    <a:lnTo>
                      <a:pt x="125" y="281"/>
                    </a:lnTo>
                    <a:lnTo>
                      <a:pt x="125" y="297"/>
                    </a:lnTo>
                    <a:lnTo>
                      <a:pt x="125" y="281"/>
                    </a:lnTo>
                    <a:lnTo>
                      <a:pt x="125" y="264"/>
                    </a:lnTo>
                    <a:lnTo>
                      <a:pt x="130" y="259"/>
                    </a:lnTo>
                    <a:lnTo>
                      <a:pt x="147" y="248"/>
                    </a:lnTo>
                    <a:lnTo>
                      <a:pt x="130" y="243"/>
                    </a:lnTo>
                    <a:lnTo>
                      <a:pt x="151" y="226"/>
                    </a:lnTo>
                    <a:lnTo>
                      <a:pt x="137" y="226"/>
                    </a:lnTo>
                    <a:lnTo>
                      <a:pt x="137" y="222"/>
                    </a:lnTo>
                    <a:lnTo>
                      <a:pt x="151" y="210"/>
                    </a:lnTo>
                    <a:lnTo>
                      <a:pt x="147" y="222"/>
                    </a:lnTo>
                    <a:lnTo>
                      <a:pt x="130" y="205"/>
                    </a:lnTo>
                    <a:lnTo>
                      <a:pt x="130" y="155"/>
                    </a:lnTo>
                    <a:lnTo>
                      <a:pt x="125" y="155"/>
                    </a:lnTo>
                    <a:lnTo>
                      <a:pt x="114" y="172"/>
                    </a:lnTo>
                    <a:lnTo>
                      <a:pt x="114" y="155"/>
                    </a:lnTo>
                    <a:lnTo>
                      <a:pt x="109" y="155"/>
                    </a:lnTo>
                    <a:lnTo>
                      <a:pt x="114" y="139"/>
                    </a:lnTo>
                    <a:lnTo>
                      <a:pt x="114" y="148"/>
                    </a:lnTo>
                    <a:lnTo>
                      <a:pt x="125" y="148"/>
                    </a:lnTo>
                    <a:lnTo>
                      <a:pt x="125" y="132"/>
                    </a:lnTo>
                    <a:lnTo>
                      <a:pt x="125" y="132"/>
                    </a:lnTo>
                    <a:lnTo>
                      <a:pt x="130" y="148"/>
                    </a:lnTo>
                    <a:lnTo>
                      <a:pt x="130" y="132"/>
                    </a:lnTo>
                    <a:lnTo>
                      <a:pt x="151" y="139"/>
                    </a:lnTo>
                    <a:lnTo>
                      <a:pt x="151" y="155"/>
                    </a:lnTo>
                    <a:lnTo>
                      <a:pt x="168" y="139"/>
                    </a:lnTo>
                    <a:lnTo>
                      <a:pt x="147" y="132"/>
                    </a:lnTo>
                    <a:lnTo>
                      <a:pt x="151" y="115"/>
                    </a:lnTo>
                    <a:lnTo>
                      <a:pt x="137" y="127"/>
                    </a:lnTo>
                    <a:lnTo>
                      <a:pt x="137" y="115"/>
                    </a:lnTo>
                    <a:lnTo>
                      <a:pt x="151" y="111"/>
                    </a:lnTo>
                    <a:lnTo>
                      <a:pt x="147" y="111"/>
                    </a:lnTo>
                    <a:lnTo>
                      <a:pt x="130" y="78"/>
                    </a:lnTo>
                    <a:lnTo>
                      <a:pt x="130" y="73"/>
                    </a:lnTo>
                    <a:lnTo>
                      <a:pt x="147" y="78"/>
                    </a:lnTo>
                    <a:lnTo>
                      <a:pt x="147" y="61"/>
                    </a:lnTo>
                    <a:lnTo>
                      <a:pt x="147" y="61"/>
                    </a:lnTo>
                    <a:lnTo>
                      <a:pt x="147" y="61"/>
                    </a:lnTo>
                    <a:close/>
                    <a:moveTo>
                      <a:pt x="7" y="56"/>
                    </a:moveTo>
                    <a:lnTo>
                      <a:pt x="7" y="61"/>
                    </a:lnTo>
                    <a:lnTo>
                      <a:pt x="0" y="56"/>
                    </a:lnTo>
                    <a:lnTo>
                      <a:pt x="7" y="56"/>
                    </a:lnTo>
                    <a:lnTo>
                      <a:pt x="7" y="56"/>
                    </a:lnTo>
                    <a:lnTo>
                      <a:pt x="7" y="56"/>
                    </a:lnTo>
                    <a:close/>
                    <a:moveTo>
                      <a:pt x="130" y="73"/>
                    </a:moveTo>
                    <a:lnTo>
                      <a:pt x="130" y="82"/>
                    </a:lnTo>
                    <a:lnTo>
                      <a:pt x="125" y="82"/>
                    </a:lnTo>
                    <a:lnTo>
                      <a:pt x="125" y="73"/>
                    </a:lnTo>
                    <a:lnTo>
                      <a:pt x="130" y="73"/>
                    </a:lnTo>
                    <a:lnTo>
                      <a:pt x="130" y="73"/>
                    </a:lnTo>
                    <a:lnTo>
                      <a:pt x="130" y="73"/>
                    </a:lnTo>
                    <a:close/>
                    <a:moveTo>
                      <a:pt x="440" y="94"/>
                    </a:moveTo>
                    <a:lnTo>
                      <a:pt x="440" y="99"/>
                    </a:lnTo>
                    <a:lnTo>
                      <a:pt x="433" y="94"/>
                    </a:lnTo>
                    <a:lnTo>
                      <a:pt x="440" y="94"/>
                    </a:lnTo>
                    <a:lnTo>
                      <a:pt x="440" y="94"/>
                    </a:lnTo>
                    <a:lnTo>
                      <a:pt x="440" y="94"/>
                    </a:lnTo>
                    <a:close/>
                    <a:moveTo>
                      <a:pt x="125" y="181"/>
                    </a:moveTo>
                    <a:lnTo>
                      <a:pt x="125" y="181"/>
                    </a:lnTo>
                    <a:lnTo>
                      <a:pt x="125" y="165"/>
                    </a:lnTo>
                    <a:lnTo>
                      <a:pt x="125" y="181"/>
                    </a:lnTo>
                    <a:lnTo>
                      <a:pt x="125" y="181"/>
                    </a:lnTo>
                    <a:lnTo>
                      <a:pt x="125" y="181"/>
                    </a:lnTo>
                    <a:close/>
                    <a:moveTo>
                      <a:pt x="288" y="304"/>
                    </a:moveTo>
                    <a:lnTo>
                      <a:pt x="288" y="314"/>
                    </a:lnTo>
                    <a:lnTo>
                      <a:pt x="277" y="321"/>
                    </a:lnTo>
                    <a:lnTo>
                      <a:pt x="277" y="314"/>
                    </a:lnTo>
                    <a:lnTo>
                      <a:pt x="272" y="304"/>
                    </a:lnTo>
                    <a:lnTo>
                      <a:pt x="288" y="304"/>
                    </a:lnTo>
                    <a:lnTo>
                      <a:pt x="288" y="304"/>
                    </a:lnTo>
                    <a:lnTo>
                      <a:pt x="288" y="304"/>
                    </a:lnTo>
                    <a:close/>
                    <a:moveTo>
                      <a:pt x="234" y="304"/>
                    </a:moveTo>
                    <a:lnTo>
                      <a:pt x="234" y="314"/>
                    </a:lnTo>
                    <a:lnTo>
                      <a:pt x="239" y="314"/>
                    </a:lnTo>
                    <a:lnTo>
                      <a:pt x="239" y="321"/>
                    </a:lnTo>
                    <a:lnTo>
                      <a:pt x="222" y="321"/>
                    </a:lnTo>
                    <a:lnTo>
                      <a:pt x="222" y="304"/>
                    </a:lnTo>
                    <a:lnTo>
                      <a:pt x="234" y="304"/>
                    </a:lnTo>
                    <a:lnTo>
                      <a:pt x="234" y="304"/>
                    </a:lnTo>
                    <a:lnTo>
                      <a:pt x="234" y="304"/>
                    </a:lnTo>
                    <a:close/>
                    <a:moveTo>
                      <a:pt x="222" y="333"/>
                    </a:moveTo>
                    <a:lnTo>
                      <a:pt x="222" y="333"/>
                    </a:lnTo>
                    <a:lnTo>
                      <a:pt x="218" y="333"/>
                    </a:lnTo>
                    <a:lnTo>
                      <a:pt x="222" y="333"/>
                    </a:lnTo>
                    <a:lnTo>
                      <a:pt x="222" y="333"/>
                    </a:lnTo>
                    <a:lnTo>
                      <a:pt x="222" y="333"/>
                    </a:lnTo>
                    <a:close/>
                    <a:moveTo>
                      <a:pt x="125" y="337"/>
                    </a:moveTo>
                    <a:lnTo>
                      <a:pt x="114" y="349"/>
                    </a:lnTo>
                    <a:lnTo>
                      <a:pt x="99" y="349"/>
                    </a:lnTo>
                    <a:lnTo>
                      <a:pt x="114" y="333"/>
                    </a:lnTo>
                    <a:lnTo>
                      <a:pt x="125" y="337"/>
                    </a:lnTo>
                    <a:lnTo>
                      <a:pt x="125" y="337"/>
                    </a:lnTo>
                    <a:lnTo>
                      <a:pt x="125" y="337"/>
                    </a:lnTo>
                    <a:close/>
                    <a:moveTo>
                      <a:pt x="222" y="337"/>
                    </a:moveTo>
                    <a:lnTo>
                      <a:pt x="222" y="337"/>
                    </a:lnTo>
                    <a:lnTo>
                      <a:pt x="218" y="337"/>
                    </a:lnTo>
                    <a:lnTo>
                      <a:pt x="222" y="337"/>
                    </a:lnTo>
                    <a:lnTo>
                      <a:pt x="222" y="337"/>
                    </a:lnTo>
                    <a:lnTo>
                      <a:pt x="222" y="337"/>
                    </a:lnTo>
                    <a:close/>
                    <a:moveTo>
                      <a:pt x="184" y="337"/>
                    </a:moveTo>
                    <a:lnTo>
                      <a:pt x="184" y="349"/>
                    </a:lnTo>
                    <a:lnTo>
                      <a:pt x="180" y="349"/>
                    </a:lnTo>
                    <a:lnTo>
                      <a:pt x="184" y="337"/>
                    </a:lnTo>
                    <a:lnTo>
                      <a:pt x="184" y="337"/>
                    </a:lnTo>
                    <a:lnTo>
                      <a:pt x="184" y="337"/>
                    </a:lnTo>
                    <a:close/>
                    <a:moveTo>
                      <a:pt x="147" y="349"/>
                    </a:moveTo>
                    <a:lnTo>
                      <a:pt x="147" y="354"/>
                    </a:lnTo>
                    <a:lnTo>
                      <a:pt x="137" y="354"/>
                    </a:lnTo>
                    <a:lnTo>
                      <a:pt x="147" y="349"/>
                    </a:lnTo>
                    <a:lnTo>
                      <a:pt x="147" y="349"/>
                    </a:lnTo>
                    <a:lnTo>
                      <a:pt x="147" y="349"/>
                    </a:lnTo>
                    <a:close/>
                    <a:moveTo>
                      <a:pt x="151" y="415"/>
                    </a:moveTo>
                    <a:lnTo>
                      <a:pt x="163" y="425"/>
                    </a:lnTo>
                    <a:lnTo>
                      <a:pt x="151" y="432"/>
                    </a:lnTo>
                    <a:lnTo>
                      <a:pt x="114" y="441"/>
                    </a:lnTo>
                    <a:lnTo>
                      <a:pt x="109" y="441"/>
                    </a:lnTo>
                    <a:lnTo>
                      <a:pt x="114" y="425"/>
                    </a:lnTo>
                    <a:lnTo>
                      <a:pt x="151" y="415"/>
                    </a:lnTo>
                    <a:lnTo>
                      <a:pt x="151" y="415"/>
                    </a:lnTo>
                    <a:lnTo>
                      <a:pt x="151" y="41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9" name="Freeform 486">
                <a:extLst>
                  <a:ext uri="{FF2B5EF4-FFF2-40B4-BE49-F238E27FC236}">
                    <a16:creationId xmlns:a16="http://schemas.microsoft.com/office/drawing/2014/main" id="{82C04D5C-0C5F-4747-9FA3-AEDE5B299E4A}"/>
                  </a:ext>
                </a:extLst>
              </p:cNvPr>
              <p:cNvSpPr>
                <a:spLocks/>
              </p:cNvSpPr>
              <p:nvPr/>
            </p:nvSpPr>
            <p:spPr bwMode="gray">
              <a:xfrm>
                <a:off x="9774653" y="4373025"/>
                <a:ext cx="2882" cy="6588"/>
              </a:xfrm>
              <a:custGeom>
                <a:avLst/>
                <a:gdLst>
                  <a:gd name="T0" fmla="*/ 7 w 7"/>
                  <a:gd name="T1" fmla="*/ 16 h 16"/>
                  <a:gd name="T2" fmla="*/ 0 w 7"/>
                  <a:gd name="T3" fmla="*/ 7 h 16"/>
                  <a:gd name="T4" fmla="*/ 7 w 7"/>
                  <a:gd name="T5" fmla="*/ 0 h 16"/>
                  <a:gd name="T6" fmla="*/ 7 w 7"/>
                  <a:gd name="T7" fmla="*/ 16 h 16"/>
                  <a:gd name="T8" fmla="*/ 7 w 7"/>
                  <a:gd name="T9" fmla="*/ 16 h 16"/>
                  <a:gd name="T10" fmla="*/ 7 w 7"/>
                  <a:gd name="T11" fmla="*/ 16 h 16"/>
                </a:gdLst>
                <a:ahLst/>
                <a:cxnLst>
                  <a:cxn ang="0">
                    <a:pos x="T0" y="T1"/>
                  </a:cxn>
                  <a:cxn ang="0">
                    <a:pos x="T2" y="T3"/>
                  </a:cxn>
                  <a:cxn ang="0">
                    <a:pos x="T4" y="T5"/>
                  </a:cxn>
                  <a:cxn ang="0">
                    <a:pos x="T6" y="T7"/>
                  </a:cxn>
                  <a:cxn ang="0">
                    <a:pos x="T8" y="T9"/>
                  </a:cxn>
                  <a:cxn ang="0">
                    <a:pos x="T10" y="T11"/>
                  </a:cxn>
                </a:cxnLst>
                <a:rect l="0" t="0" r="r" b="b"/>
                <a:pathLst>
                  <a:path w="7" h="16">
                    <a:moveTo>
                      <a:pt x="7" y="16"/>
                    </a:moveTo>
                    <a:lnTo>
                      <a:pt x="0" y="7"/>
                    </a:lnTo>
                    <a:lnTo>
                      <a:pt x="7" y="0"/>
                    </a:lnTo>
                    <a:lnTo>
                      <a:pt x="7" y="16"/>
                    </a:lnTo>
                    <a:lnTo>
                      <a:pt x="7" y="16"/>
                    </a:lnTo>
                    <a:lnTo>
                      <a:pt x="7" y="1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0" name="Freeform 489">
                <a:extLst>
                  <a:ext uri="{FF2B5EF4-FFF2-40B4-BE49-F238E27FC236}">
                    <a16:creationId xmlns:a16="http://schemas.microsoft.com/office/drawing/2014/main" id="{C54E9AE4-C9DF-4C8D-BC09-B36EEE36019F}"/>
                  </a:ext>
                </a:extLst>
              </p:cNvPr>
              <p:cNvSpPr>
                <a:spLocks/>
              </p:cNvSpPr>
              <p:nvPr/>
            </p:nvSpPr>
            <p:spPr bwMode="gray">
              <a:xfrm>
                <a:off x="9615337" y="3387789"/>
                <a:ext cx="220655" cy="262674"/>
              </a:xfrm>
              <a:custGeom>
                <a:avLst/>
                <a:gdLst>
                  <a:gd name="T0" fmla="*/ 5 w 536"/>
                  <a:gd name="T1" fmla="*/ 127 h 638"/>
                  <a:gd name="T2" fmla="*/ 33 w 536"/>
                  <a:gd name="T3" fmla="*/ 120 h 638"/>
                  <a:gd name="T4" fmla="*/ 49 w 536"/>
                  <a:gd name="T5" fmla="*/ 87 h 638"/>
                  <a:gd name="T6" fmla="*/ 75 w 536"/>
                  <a:gd name="T7" fmla="*/ 66 h 638"/>
                  <a:gd name="T8" fmla="*/ 104 w 536"/>
                  <a:gd name="T9" fmla="*/ 94 h 638"/>
                  <a:gd name="T10" fmla="*/ 125 w 536"/>
                  <a:gd name="T11" fmla="*/ 94 h 638"/>
                  <a:gd name="T12" fmla="*/ 113 w 536"/>
                  <a:gd name="T13" fmla="*/ 49 h 638"/>
                  <a:gd name="T14" fmla="*/ 104 w 536"/>
                  <a:gd name="T15" fmla="*/ 16 h 638"/>
                  <a:gd name="T16" fmla="*/ 146 w 536"/>
                  <a:gd name="T17" fmla="*/ 9 h 638"/>
                  <a:gd name="T18" fmla="*/ 179 w 536"/>
                  <a:gd name="T19" fmla="*/ 66 h 638"/>
                  <a:gd name="T20" fmla="*/ 196 w 536"/>
                  <a:gd name="T21" fmla="*/ 87 h 638"/>
                  <a:gd name="T22" fmla="*/ 255 w 536"/>
                  <a:gd name="T23" fmla="*/ 137 h 638"/>
                  <a:gd name="T24" fmla="*/ 276 w 536"/>
                  <a:gd name="T25" fmla="*/ 111 h 638"/>
                  <a:gd name="T26" fmla="*/ 305 w 536"/>
                  <a:gd name="T27" fmla="*/ 149 h 638"/>
                  <a:gd name="T28" fmla="*/ 342 w 536"/>
                  <a:gd name="T29" fmla="*/ 177 h 638"/>
                  <a:gd name="T30" fmla="*/ 331 w 536"/>
                  <a:gd name="T31" fmla="*/ 194 h 638"/>
                  <a:gd name="T32" fmla="*/ 319 w 536"/>
                  <a:gd name="T33" fmla="*/ 215 h 638"/>
                  <a:gd name="T34" fmla="*/ 276 w 536"/>
                  <a:gd name="T35" fmla="*/ 222 h 638"/>
                  <a:gd name="T36" fmla="*/ 288 w 536"/>
                  <a:gd name="T37" fmla="*/ 248 h 638"/>
                  <a:gd name="T38" fmla="*/ 357 w 536"/>
                  <a:gd name="T39" fmla="*/ 288 h 638"/>
                  <a:gd name="T40" fmla="*/ 357 w 536"/>
                  <a:gd name="T41" fmla="*/ 309 h 638"/>
                  <a:gd name="T42" fmla="*/ 380 w 536"/>
                  <a:gd name="T43" fmla="*/ 326 h 638"/>
                  <a:gd name="T44" fmla="*/ 439 w 536"/>
                  <a:gd name="T45" fmla="*/ 399 h 638"/>
                  <a:gd name="T46" fmla="*/ 456 w 536"/>
                  <a:gd name="T47" fmla="*/ 416 h 638"/>
                  <a:gd name="T48" fmla="*/ 465 w 536"/>
                  <a:gd name="T49" fmla="*/ 456 h 638"/>
                  <a:gd name="T50" fmla="*/ 482 w 536"/>
                  <a:gd name="T51" fmla="*/ 444 h 638"/>
                  <a:gd name="T52" fmla="*/ 494 w 536"/>
                  <a:gd name="T53" fmla="*/ 460 h 638"/>
                  <a:gd name="T54" fmla="*/ 520 w 536"/>
                  <a:gd name="T55" fmla="*/ 477 h 638"/>
                  <a:gd name="T56" fmla="*/ 494 w 536"/>
                  <a:gd name="T57" fmla="*/ 498 h 638"/>
                  <a:gd name="T58" fmla="*/ 527 w 536"/>
                  <a:gd name="T59" fmla="*/ 555 h 638"/>
                  <a:gd name="T60" fmla="*/ 527 w 536"/>
                  <a:gd name="T61" fmla="*/ 583 h 638"/>
                  <a:gd name="T62" fmla="*/ 456 w 536"/>
                  <a:gd name="T63" fmla="*/ 588 h 638"/>
                  <a:gd name="T64" fmla="*/ 435 w 536"/>
                  <a:gd name="T65" fmla="*/ 593 h 638"/>
                  <a:gd name="T66" fmla="*/ 418 w 536"/>
                  <a:gd name="T67" fmla="*/ 605 h 638"/>
                  <a:gd name="T68" fmla="*/ 418 w 536"/>
                  <a:gd name="T69" fmla="*/ 638 h 638"/>
                  <a:gd name="T70" fmla="*/ 385 w 536"/>
                  <a:gd name="T71" fmla="*/ 621 h 638"/>
                  <a:gd name="T72" fmla="*/ 357 w 536"/>
                  <a:gd name="T73" fmla="*/ 605 h 638"/>
                  <a:gd name="T74" fmla="*/ 385 w 536"/>
                  <a:gd name="T75" fmla="*/ 555 h 638"/>
                  <a:gd name="T76" fmla="*/ 385 w 536"/>
                  <a:gd name="T77" fmla="*/ 510 h 638"/>
                  <a:gd name="T78" fmla="*/ 373 w 536"/>
                  <a:gd name="T79" fmla="*/ 494 h 638"/>
                  <a:gd name="T80" fmla="*/ 347 w 536"/>
                  <a:gd name="T81" fmla="*/ 477 h 638"/>
                  <a:gd name="T82" fmla="*/ 331 w 536"/>
                  <a:gd name="T83" fmla="*/ 387 h 638"/>
                  <a:gd name="T84" fmla="*/ 293 w 536"/>
                  <a:gd name="T85" fmla="*/ 349 h 638"/>
                  <a:gd name="T86" fmla="*/ 234 w 536"/>
                  <a:gd name="T87" fmla="*/ 305 h 638"/>
                  <a:gd name="T88" fmla="*/ 222 w 536"/>
                  <a:gd name="T89" fmla="*/ 316 h 638"/>
                  <a:gd name="T90" fmla="*/ 212 w 536"/>
                  <a:gd name="T91" fmla="*/ 333 h 638"/>
                  <a:gd name="T92" fmla="*/ 179 w 536"/>
                  <a:gd name="T93" fmla="*/ 349 h 638"/>
                  <a:gd name="T94" fmla="*/ 163 w 536"/>
                  <a:gd name="T95" fmla="*/ 333 h 638"/>
                  <a:gd name="T96" fmla="*/ 125 w 536"/>
                  <a:gd name="T97" fmla="*/ 333 h 638"/>
                  <a:gd name="T98" fmla="*/ 104 w 536"/>
                  <a:gd name="T99" fmla="*/ 349 h 638"/>
                  <a:gd name="T100" fmla="*/ 59 w 536"/>
                  <a:gd name="T101" fmla="*/ 366 h 638"/>
                  <a:gd name="T102" fmla="*/ 75 w 536"/>
                  <a:gd name="T103" fmla="*/ 309 h 638"/>
                  <a:gd name="T104" fmla="*/ 87 w 536"/>
                  <a:gd name="T105" fmla="*/ 288 h 638"/>
                  <a:gd name="T106" fmla="*/ 87 w 536"/>
                  <a:gd name="T107" fmla="*/ 255 h 638"/>
                  <a:gd name="T108" fmla="*/ 87 w 536"/>
                  <a:gd name="T109" fmla="*/ 222 h 638"/>
                  <a:gd name="T110" fmla="*/ 49 w 536"/>
                  <a:gd name="T111" fmla="*/ 222 h 638"/>
                  <a:gd name="T112" fmla="*/ 21 w 536"/>
                  <a:gd name="T113" fmla="*/ 205 h 638"/>
                  <a:gd name="T114" fmla="*/ 21 w 536"/>
                  <a:gd name="T115" fmla="*/ 177 h 638"/>
                  <a:gd name="T116" fmla="*/ 5 w 536"/>
                  <a:gd name="T117" fmla="*/ 165 h 638"/>
                  <a:gd name="T118" fmla="*/ 0 w 536"/>
                  <a:gd name="T119" fmla="*/ 16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 h="638">
                    <a:moveTo>
                      <a:pt x="0" y="160"/>
                    </a:moveTo>
                    <a:lnTo>
                      <a:pt x="5" y="127"/>
                    </a:lnTo>
                    <a:lnTo>
                      <a:pt x="38" y="120"/>
                    </a:lnTo>
                    <a:lnTo>
                      <a:pt x="33" y="120"/>
                    </a:lnTo>
                    <a:lnTo>
                      <a:pt x="33" y="111"/>
                    </a:lnTo>
                    <a:lnTo>
                      <a:pt x="49" y="87"/>
                    </a:lnTo>
                    <a:lnTo>
                      <a:pt x="59" y="83"/>
                    </a:lnTo>
                    <a:lnTo>
                      <a:pt x="75" y="66"/>
                    </a:lnTo>
                    <a:lnTo>
                      <a:pt x="87" y="94"/>
                    </a:lnTo>
                    <a:lnTo>
                      <a:pt x="104" y="94"/>
                    </a:lnTo>
                    <a:lnTo>
                      <a:pt x="113" y="104"/>
                    </a:lnTo>
                    <a:lnTo>
                      <a:pt x="125" y="94"/>
                    </a:lnTo>
                    <a:lnTo>
                      <a:pt x="113" y="87"/>
                    </a:lnTo>
                    <a:lnTo>
                      <a:pt x="113" y="49"/>
                    </a:lnTo>
                    <a:lnTo>
                      <a:pt x="109" y="38"/>
                    </a:lnTo>
                    <a:lnTo>
                      <a:pt x="104" y="16"/>
                    </a:lnTo>
                    <a:lnTo>
                      <a:pt x="113" y="0"/>
                    </a:lnTo>
                    <a:lnTo>
                      <a:pt x="146" y="9"/>
                    </a:lnTo>
                    <a:lnTo>
                      <a:pt x="179" y="38"/>
                    </a:lnTo>
                    <a:lnTo>
                      <a:pt x="179" y="66"/>
                    </a:lnTo>
                    <a:lnTo>
                      <a:pt x="201" y="54"/>
                    </a:lnTo>
                    <a:lnTo>
                      <a:pt x="196" y="87"/>
                    </a:lnTo>
                    <a:lnTo>
                      <a:pt x="217" y="120"/>
                    </a:lnTo>
                    <a:lnTo>
                      <a:pt x="255" y="137"/>
                    </a:lnTo>
                    <a:lnTo>
                      <a:pt x="264" y="120"/>
                    </a:lnTo>
                    <a:lnTo>
                      <a:pt x="276" y="111"/>
                    </a:lnTo>
                    <a:lnTo>
                      <a:pt x="319" y="137"/>
                    </a:lnTo>
                    <a:lnTo>
                      <a:pt x="305" y="149"/>
                    </a:lnTo>
                    <a:lnTo>
                      <a:pt x="319" y="149"/>
                    </a:lnTo>
                    <a:lnTo>
                      <a:pt x="342" y="177"/>
                    </a:lnTo>
                    <a:lnTo>
                      <a:pt x="342" y="182"/>
                    </a:lnTo>
                    <a:lnTo>
                      <a:pt x="331" y="194"/>
                    </a:lnTo>
                    <a:lnTo>
                      <a:pt x="331" y="198"/>
                    </a:lnTo>
                    <a:lnTo>
                      <a:pt x="319" y="215"/>
                    </a:lnTo>
                    <a:lnTo>
                      <a:pt x="276" y="205"/>
                    </a:lnTo>
                    <a:lnTo>
                      <a:pt x="276" y="222"/>
                    </a:lnTo>
                    <a:lnTo>
                      <a:pt x="264" y="238"/>
                    </a:lnTo>
                    <a:lnTo>
                      <a:pt x="288" y="248"/>
                    </a:lnTo>
                    <a:lnTo>
                      <a:pt x="326" y="276"/>
                    </a:lnTo>
                    <a:lnTo>
                      <a:pt x="357" y="288"/>
                    </a:lnTo>
                    <a:lnTo>
                      <a:pt x="357" y="305"/>
                    </a:lnTo>
                    <a:lnTo>
                      <a:pt x="357" y="309"/>
                    </a:lnTo>
                    <a:lnTo>
                      <a:pt x="373" y="326"/>
                    </a:lnTo>
                    <a:lnTo>
                      <a:pt x="380" y="326"/>
                    </a:lnTo>
                    <a:lnTo>
                      <a:pt x="397" y="361"/>
                    </a:lnTo>
                    <a:lnTo>
                      <a:pt x="439" y="399"/>
                    </a:lnTo>
                    <a:lnTo>
                      <a:pt x="449" y="416"/>
                    </a:lnTo>
                    <a:lnTo>
                      <a:pt x="456" y="416"/>
                    </a:lnTo>
                    <a:lnTo>
                      <a:pt x="456" y="437"/>
                    </a:lnTo>
                    <a:lnTo>
                      <a:pt x="465" y="456"/>
                    </a:lnTo>
                    <a:lnTo>
                      <a:pt x="472" y="456"/>
                    </a:lnTo>
                    <a:lnTo>
                      <a:pt x="482" y="444"/>
                    </a:lnTo>
                    <a:lnTo>
                      <a:pt x="489" y="460"/>
                    </a:lnTo>
                    <a:lnTo>
                      <a:pt x="494" y="460"/>
                    </a:lnTo>
                    <a:lnTo>
                      <a:pt x="510" y="477"/>
                    </a:lnTo>
                    <a:lnTo>
                      <a:pt x="520" y="477"/>
                    </a:lnTo>
                    <a:lnTo>
                      <a:pt x="510" y="494"/>
                    </a:lnTo>
                    <a:lnTo>
                      <a:pt x="494" y="498"/>
                    </a:lnTo>
                    <a:lnTo>
                      <a:pt x="536" y="538"/>
                    </a:lnTo>
                    <a:lnTo>
                      <a:pt x="527" y="555"/>
                    </a:lnTo>
                    <a:lnTo>
                      <a:pt x="520" y="555"/>
                    </a:lnTo>
                    <a:lnTo>
                      <a:pt x="527" y="583"/>
                    </a:lnTo>
                    <a:lnTo>
                      <a:pt x="472" y="609"/>
                    </a:lnTo>
                    <a:lnTo>
                      <a:pt x="456" y="588"/>
                    </a:lnTo>
                    <a:lnTo>
                      <a:pt x="439" y="593"/>
                    </a:lnTo>
                    <a:lnTo>
                      <a:pt x="435" y="593"/>
                    </a:lnTo>
                    <a:lnTo>
                      <a:pt x="435" y="605"/>
                    </a:lnTo>
                    <a:lnTo>
                      <a:pt x="418" y="605"/>
                    </a:lnTo>
                    <a:lnTo>
                      <a:pt x="427" y="628"/>
                    </a:lnTo>
                    <a:lnTo>
                      <a:pt x="418" y="638"/>
                    </a:lnTo>
                    <a:lnTo>
                      <a:pt x="411" y="638"/>
                    </a:lnTo>
                    <a:lnTo>
                      <a:pt x="385" y="621"/>
                    </a:lnTo>
                    <a:lnTo>
                      <a:pt x="373" y="628"/>
                    </a:lnTo>
                    <a:lnTo>
                      <a:pt x="357" y="605"/>
                    </a:lnTo>
                    <a:lnTo>
                      <a:pt x="380" y="588"/>
                    </a:lnTo>
                    <a:lnTo>
                      <a:pt x="385" y="555"/>
                    </a:lnTo>
                    <a:lnTo>
                      <a:pt x="380" y="550"/>
                    </a:lnTo>
                    <a:lnTo>
                      <a:pt x="385" y="510"/>
                    </a:lnTo>
                    <a:lnTo>
                      <a:pt x="373" y="498"/>
                    </a:lnTo>
                    <a:lnTo>
                      <a:pt x="373" y="494"/>
                    </a:lnTo>
                    <a:lnTo>
                      <a:pt x="373" y="482"/>
                    </a:lnTo>
                    <a:lnTo>
                      <a:pt x="347" y="477"/>
                    </a:lnTo>
                    <a:lnTo>
                      <a:pt x="326" y="444"/>
                    </a:lnTo>
                    <a:lnTo>
                      <a:pt x="331" y="387"/>
                    </a:lnTo>
                    <a:lnTo>
                      <a:pt x="326" y="371"/>
                    </a:lnTo>
                    <a:lnTo>
                      <a:pt x="293" y="349"/>
                    </a:lnTo>
                    <a:lnTo>
                      <a:pt x="272" y="309"/>
                    </a:lnTo>
                    <a:lnTo>
                      <a:pt x="234" y="305"/>
                    </a:lnTo>
                    <a:lnTo>
                      <a:pt x="222" y="309"/>
                    </a:lnTo>
                    <a:lnTo>
                      <a:pt x="222" y="316"/>
                    </a:lnTo>
                    <a:lnTo>
                      <a:pt x="212" y="326"/>
                    </a:lnTo>
                    <a:lnTo>
                      <a:pt x="212" y="333"/>
                    </a:lnTo>
                    <a:lnTo>
                      <a:pt x="196" y="333"/>
                    </a:lnTo>
                    <a:lnTo>
                      <a:pt x="179" y="349"/>
                    </a:lnTo>
                    <a:lnTo>
                      <a:pt x="179" y="342"/>
                    </a:lnTo>
                    <a:lnTo>
                      <a:pt x="163" y="333"/>
                    </a:lnTo>
                    <a:lnTo>
                      <a:pt x="142" y="316"/>
                    </a:lnTo>
                    <a:lnTo>
                      <a:pt x="125" y="333"/>
                    </a:lnTo>
                    <a:lnTo>
                      <a:pt x="113" y="333"/>
                    </a:lnTo>
                    <a:lnTo>
                      <a:pt x="104" y="349"/>
                    </a:lnTo>
                    <a:lnTo>
                      <a:pt x="75" y="371"/>
                    </a:lnTo>
                    <a:lnTo>
                      <a:pt x="59" y="366"/>
                    </a:lnTo>
                    <a:lnTo>
                      <a:pt x="75" y="326"/>
                    </a:lnTo>
                    <a:lnTo>
                      <a:pt x="75" y="309"/>
                    </a:lnTo>
                    <a:lnTo>
                      <a:pt x="71" y="305"/>
                    </a:lnTo>
                    <a:lnTo>
                      <a:pt x="87" y="288"/>
                    </a:lnTo>
                    <a:lnTo>
                      <a:pt x="75" y="272"/>
                    </a:lnTo>
                    <a:lnTo>
                      <a:pt x="87" y="255"/>
                    </a:lnTo>
                    <a:lnTo>
                      <a:pt x="75" y="231"/>
                    </a:lnTo>
                    <a:lnTo>
                      <a:pt x="87" y="222"/>
                    </a:lnTo>
                    <a:lnTo>
                      <a:pt x="54" y="215"/>
                    </a:lnTo>
                    <a:lnTo>
                      <a:pt x="49" y="222"/>
                    </a:lnTo>
                    <a:lnTo>
                      <a:pt x="33" y="222"/>
                    </a:lnTo>
                    <a:lnTo>
                      <a:pt x="21" y="205"/>
                    </a:lnTo>
                    <a:lnTo>
                      <a:pt x="33" y="177"/>
                    </a:lnTo>
                    <a:lnTo>
                      <a:pt x="21" y="177"/>
                    </a:lnTo>
                    <a:lnTo>
                      <a:pt x="16" y="160"/>
                    </a:lnTo>
                    <a:lnTo>
                      <a:pt x="5" y="165"/>
                    </a:lnTo>
                    <a:lnTo>
                      <a:pt x="0" y="160"/>
                    </a:lnTo>
                    <a:lnTo>
                      <a:pt x="0" y="160"/>
                    </a:lnTo>
                    <a:lnTo>
                      <a:pt x="0" y="16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1" name="Freeform 515">
                <a:extLst>
                  <a:ext uri="{FF2B5EF4-FFF2-40B4-BE49-F238E27FC236}">
                    <a16:creationId xmlns:a16="http://schemas.microsoft.com/office/drawing/2014/main" id="{1AE74740-E533-4638-8522-566647F5DC33}"/>
                  </a:ext>
                </a:extLst>
              </p:cNvPr>
              <p:cNvSpPr>
                <a:spLocks noEditPoints="1"/>
              </p:cNvSpPr>
              <p:nvPr/>
            </p:nvSpPr>
            <p:spPr bwMode="gray">
              <a:xfrm>
                <a:off x="9602574" y="3848911"/>
                <a:ext cx="566869" cy="192272"/>
              </a:xfrm>
              <a:custGeom>
                <a:avLst/>
                <a:gdLst>
                  <a:gd name="T0" fmla="*/ 1205 w 1377"/>
                  <a:gd name="T1" fmla="*/ 4 h 467"/>
                  <a:gd name="T2" fmla="*/ 1238 w 1377"/>
                  <a:gd name="T3" fmla="*/ 0 h 467"/>
                  <a:gd name="T4" fmla="*/ 1233 w 1377"/>
                  <a:gd name="T5" fmla="*/ 0 h 467"/>
                  <a:gd name="T6" fmla="*/ 1184 w 1377"/>
                  <a:gd name="T7" fmla="*/ 222 h 467"/>
                  <a:gd name="T8" fmla="*/ 1125 w 1377"/>
                  <a:gd name="T9" fmla="*/ 226 h 467"/>
                  <a:gd name="T10" fmla="*/ 1099 w 1377"/>
                  <a:gd name="T11" fmla="*/ 304 h 467"/>
                  <a:gd name="T12" fmla="*/ 1070 w 1377"/>
                  <a:gd name="T13" fmla="*/ 361 h 467"/>
                  <a:gd name="T14" fmla="*/ 1037 w 1377"/>
                  <a:gd name="T15" fmla="*/ 415 h 467"/>
                  <a:gd name="T16" fmla="*/ 936 w 1377"/>
                  <a:gd name="T17" fmla="*/ 411 h 467"/>
                  <a:gd name="T18" fmla="*/ 865 w 1377"/>
                  <a:gd name="T19" fmla="*/ 444 h 467"/>
                  <a:gd name="T20" fmla="*/ 704 w 1377"/>
                  <a:gd name="T21" fmla="*/ 411 h 467"/>
                  <a:gd name="T22" fmla="*/ 718 w 1377"/>
                  <a:gd name="T23" fmla="*/ 406 h 467"/>
                  <a:gd name="T24" fmla="*/ 784 w 1377"/>
                  <a:gd name="T25" fmla="*/ 415 h 467"/>
                  <a:gd name="T26" fmla="*/ 827 w 1377"/>
                  <a:gd name="T27" fmla="*/ 427 h 467"/>
                  <a:gd name="T28" fmla="*/ 822 w 1377"/>
                  <a:gd name="T29" fmla="*/ 373 h 467"/>
                  <a:gd name="T30" fmla="*/ 827 w 1377"/>
                  <a:gd name="T31" fmla="*/ 333 h 467"/>
                  <a:gd name="T32" fmla="*/ 1006 w 1377"/>
                  <a:gd name="T33" fmla="*/ 193 h 467"/>
                  <a:gd name="T34" fmla="*/ 1070 w 1377"/>
                  <a:gd name="T35" fmla="*/ 226 h 467"/>
                  <a:gd name="T36" fmla="*/ 1082 w 1377"/>
                  <a:gd name="T37" fmla="*/ 181 h 467"/>
                  <a:gd name="T38" fmla="*/ 1091 w 1377"/>
                  <a:gd name="T39" fmla="*/ 172 h 467"/>
                  <a:gd name="T40" fmla="*/ 1108 w 1377"/>
                  <a:gd name="T41" fmla="*/ 139 h 467"/>
                  <a:gd name="T42" fmla="*/ 1151 w 1377"/>
                  <a:gd name="T43" fmla="*/ 99 h 467"/>
                  <a:gd name="T44" fmla="*/ 1205 w 1377"/>
                  <a:gd name="T45" fmla="*/ 25 h 467"/>
                  <a:gd name="T46" fmla="*/ 1238 w 1377"/>
                  <a:gd name="T47" fmla="*/ 44 h 467"/>
                  <a:gd name="T48" fmla="*/ 1259 w 1377"/>
                  <a:gd name="T49" fmla="*/ 77 h 467"/>
                  <a:gd name="T50" fmla="*/ 1292 w 1377"/>
                  <a:gd name="T51" fmla="*/ 82 h 467"/>
                  <a:gd name="T52" fmla="*/ 1314 w 1377"/>
                  <a:gd name="T53" fmla="*/ 111 h 467"/>
                  <a:gd name="T54" fmla="*/ 1377 w 1377"/>
                  <a:gd name="T55" fmla="*/ 155 h 467"/>
                  <a:gd name="T56" fmla="*/ 1297 w 1377"/>
                  <a:gd name="T57" fmla="*/ 172 h 467"/>
                  <a:gd name="T58" fmla="*/ 1330 w 1377"/>
                  <a:gd name="T59" fmla="*/ 205 h 467"/>
                  <a:gd name="T60" fmla="*/ 1271 w 1377"/>
                  <a:gd name="T61" fmla="*/ 210 h 467"/>
                  <a:gd name="T62" fmla="*/ 1243 w 1377"/>
                  <a:gd name="T63" fmla="*/ 44 h 467"/>
                  <a:gd name="T64" fmla="*/ 1243 w 1377"/>
                  <a:gd name="T65" fmla="*/ 44 h 467"/>
                  <a:gd name="T66" fmla="*/ 38 w 1377"/>
                  <a:gd name="T67" fmla="*/ 44 h 467"/>
                  <a:gd name="T68" fmla="*/ 83 w 1377"/>
                  <a:gd name="T69" fmla="*/ 54 h 467"/>
                  <a:gd name="T70" fmla="*/ 92 w 1377"/>
                  <a:gd name="T71" fmla="*/ 111 h 467"/>
                  <a:gd name="T72" fmla="*/ 158 w 1377"/>
                  <a:gd name="T73" fmla="*/ 111 h 467"/>
                  <a:gd name="T74" fmla="*/ 243 w 1377"/>
                  <a:gd name="T75" fmla="*/ 132 h 467"/>
                  <a:gd name="T76" fmla="*/ 272 w 1377"/>
                  <a:gd name="T77" fmla="*/ 278 h 467"/>
                  <a:gd name="T78" fmla="*/ 326 w 1377"/>
                  <a:gd name="T79" fmla="*/ 406 h 467"/>
                  <a:gd name="T80" fmla="*/ 303 w 1377"/>
                  <a:gd name="T81" fmla="*/ 427 h 467"/>
                  <a:gd name="T82" fmla="*/ 217 w 1377"/>
                  <a:gd name="T83" fmla="*/ 394 h 467"/>
                  <a:gd name="T84" fmla="*/ 121 w 1377"/>
                  <a:gd name="T85" fmla="*/ 321 h 467"/>
                  <a:gd name="T86" fmla="*/ 83 w 1377"/>
                  <a:gd name="T87" fmla="*/ 250 h 467"/>
                  <a:gd name="T88" fmla="*/ 88 w 1377"/>
                  <a:gd name="T89" fmla="*/ 238 h 467"/>
                  <a:gd name="T90" fmla="*/ 54 w 1377"/>
                  <a:gd name="T91" fmla="*/ 148 h 467"/>
                  <a:gd name="T92" fmla="*/ 33 w 1377"/>
                  <a:gd name="T93" fmla="*/ 61 h 467"/>
                  <a:gd name="T94" fmla="*/ 0 w 1377"/>
                  <a:gd name="T95" fmla="*/ 61 h 467"/>
                  <a:gd name="T96" fmla="*/ 50 w 1377"/>
                  <a:gd name="T97" fmla="*/ 132 h 467"/>
                  <a:gd name="T98" fmla="*/ 50 w 1377"/>
                  <a:gd name="T99" fmla="*/ 132 h 467"/>
                  <a:gd name="T100" fmla="*/ 1099 w 1377"/>
                  <a:gd name="T101" fmla="*/ 139 h 467"/>
                  <a:gd name="T102" fmla="*/ 1091 w 1377"/>
                  <a:gd name="T103" fmla="*/ 148 h 467"/>
                  <a:gd name="T104" fmla="*/ 1288 w 1377"/>
                  <a:gd name="T105" fmla="*/ 226 h 467"/>
                  <a:gd name="T106" fmla="*/ 822 w 1377"/>
                  <a:gd name="T107" fmla="*/ 321 h 467"/>
                  <a:gd name="T108" fmla="*/ 822 w 1377"/>
                  <a:gd name="T109" fmla="*/ 349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77" h="467">
                    <a:moveTo>
                      <a:pt x="1205" y="4"/>
                    </a:moveTo>
                    <a:lnTo>
                      <a:pt x="1221" y="0"/>
                    </a:lnTo>
                    <a:lnTo>
                      <a:pt x="1221" y="0"/>
                    </a:lnTo>
                    <a:lnTo>
                      <a:pt x="1205" y="4"/>
                    </a:lnTo>
                    <a:lnTo>
                      <a:pt x="1205" y="4"/>
                    </a:lnTo>
                    <a:lnTo>
                      <a:pt x="1205" y="4"/>
                    </a:lnTo>
                    <a:close/>
                    <a:moveTo>
                      <a:pt x="1233" y="0"/>
                    </a:moveTo>
                    <a:lnTo>
                      <a:pt x="1238" y="0"/>
                    </a:lnTo>
                    <a:lnTo>
                      <a:pt x="1238" y="4"/>
                    </a:lnTo>
                    <a:lnTo>
                      <a:pt x="1221" y="16"/>
                    </a:lnTo>
                    <a:lnTo>
                      <a:pt x="1233" y="0"/>
                    </a:lnTo>
                    <a:lnTo>
                      <a:pt x="1233" y="0"/>
                    </a:lnTo>
                    <a:lnTo>
                      <a:pt x="1233" y="0"/>
                    </a:lnTo>
                    <a:close/>
                    <a:moveTo>
                      <a:pt x="1259" y="226"/>
                    </a:moveTo>
                    <a:lnTo>
                      <a:pt x="1238" y="210"/>
                    </a:lnTo>
                    <a:lnTo>
                      <a:pt x="1184" y="222"/>
                    </a:lnTo>
                    <a:lnTo>
                      <a:pt x="1162" y="210"/>
                    </a:lnTo>
                    <a:lnTo>
                      <a:pt x="1151" y="222"/>
                    </a:lnTo>
                    <a:lnTo>
                      <a:pt x="1136" y="210"/>
                    </a:lnTo>
                    <a:lnTo>
                      <a:pt x="1125" y="226"/>
                    </a:lnTo>
                    <a:lnTo>
                      <a:pt x="1125" y="259"/>
                    </a:lnTo>
                    <a:lnTo>
                      <a:pt x="1125" y="278"/>
                    </a:lnTo>
                    <a:lnTo>
                      <a:pt x="1113" y="304"/>
                    </a:lnTo>
                    <a:lnTo>
                      <a:pt x="1099" y="304"/>
                    </a:lnTo>
                    <a:lnTo>
                      <a:pt x="1091" y="316"/>
                    </a:lnTo>
                    <a:lnTo>
                      <a:pt x="1082" y="337"/>
                    </a:lnTo>
                    <a:lnTo>
                      <a:pt x="1099" y="349"/>
                    </a:lnTo>
                    <a:lnTo>
                      <a:pt x="1070" y="361"/>
                    </a:lnTo>
                    <a:lnTo>
                      <a:pt x="1070" y="389"/>
                    </a:lnTo>
                    <a:lnTo>
                      <a:pt x="1061" y="406"/>
                    </a:lnTo>
                    <a:lnTo>
                      <a:pt x="1054" y="427"/>
                    </a:lnTo>
                    <a:lnTo>
                      <a:pt x="1037" y="415"/>
                    </a:lnTo>
                    <a:lnTo>
                      <a:pt x="1006" y="415"/>
                    </a:lnTo>
                    <a:lnTo>
                      <a:pt x="985" y="434"/>
                    </a:lnTo>
                    <a:lnTo>
                      <a:pt x="947" y="427"/>
                    </a:lnTo>
                    <a:lnTo>
                      <a:pt x="936" y="411"/>
                    </a:lnTo>
                    <a:lnTo>
                      <a:pt x="898" y="411"/>
                    </a:lnTo>
                    <a:lnTo>
                      <a:pt x="881" y="415"/>
                    </a:lnTo>
                    <a:lnTo>
                      <a:pt x="877" y="444"/>
                    </a:lnTo>
                    <a:lnTo>
                      <a:pt x="865" y="444"/>
                    </a:lnTo>
                    <a:lnTo>
                      <a:pt x="860" y="460"/>
                    </a:lnTo>
                    <a:lnTo>
                      <a:pt x="810" y="451"/>
                    </a:lnTo>
                    <a:lnTo>
                      <a:pt x="768" y="467"/>
                    </a:lnTo>
                    <a:lnTo>
                      <a:pt x="704" y="411"/>
                    </a:lnTo>
                    <a:lnTo>
                      <a:pt x="697" y="389"/>
                    </a:lnTo>
                    <a:lnTo>
                      <a:pt x="704" y="377"/>
                    </a:lnTo>
                    <a:lnTo>
                      <a:pt x="704" y="389"/>
                    </a:lnTo>
                    <a:lnTo>
                      <a:pt x="718" y="406"/>
                    </a:lnTo>
                    <a:lnTo>
                      <a:pt x="747" y="406"/>
                    </a:lnTo>
                    <a:lnTo>
                      <a:pt x="751" y="394"/>
                    </a:lnTo>
                    <a:lnTo>
                      <a:pt x="758" y="411"/>
                    </a:lnTo>
                    <a:lnTo>
                      <a:pt x="784" y="415"/>
                    </a:lnTo>
                    <a:lnTo>
                      <a:pt x="773" y="415"/>
                    </a:lnTo>
                    <a:lnTo>
                      <a:pt x="784" y="411"/>
                    </a:lnTo>
                    <a:lnTo>
                      <a:pt x="810" y="427"/>
                    </a:lnTo>
                    <a:lnTo>
                      <a:pt x="827" y="427"/>
                    </a:lnTo>
                    <a:lnTo>
                      <a:pt x="806" y="415"/>
                    </a:lnTo>
                    <a:lnTo>
                      <a:pt x="801" y="411"/>
                    </a:lnTo>
                    <a:lnTo>
                      <a:pt x="810" y="377"/>
                    </a:lnTo>
                    <a:lnTo>
                      <a:pt x="822" y="373"/>
                    </a:lnTo>
                    <a:lnTo>
                      <a:pt x="810" y="373"/>
                    </a:lnTo>
                    <a:lnTo>
                      <a:pt x="810" y="356"/>
                    </a:lnTo>
                    <a:lnTo>
                      <a:pt x="827" y="356"/>
                    </a:lnTo>
                    <a:lnTo>
                      <a:pt x="827" y="333"/>
                    </a:lnTo>
                    <a:lnTo>
                      <a:pt x="843" y="321"/>
                    </a:lnTo>
                    <a:lnTo>
                      <a:pt x="936" y="300"/>
                    </a:lnTo>
                    <a:lnTo>
                      <a:pt x="1006" y="222"/>
                    </a:lnTo>
                    <a:lnTo>
                      <a:pt x="1006" y="193"/>
                    </a:lnTo>
                    <a:lnTo>
                      <a:pt x="1016" y="193"/>
                    </a:lnTo>
                    <a:lnTo>
                      <a:pt x="1028" y="193"/>
                    </a:lnTo>
                    <a:lnTo>
                      <a:pt x="1054" y="238"/>
                    </a:lnTo>
                    <a:lnTo>
                      <a:pt x="1070" y="226"/>
                    </a:lnTo>
                    <a:lnTo>
                      <a:pt x="1070" y="210"/>
                    </a:lnTo>
                    <a:lnTo>
                      <a:pt x="1070" y="188"/>
                    </a:lnTo>
                    <a:lnTo>
                      <a:pt x="1082" y="172"/>
                    </a:lnTo>
                    <a:lnTo>
                      <a:pt x="1082" y="181"/>
                    </a:lnTo>
                    <a:lnTo>
                      <a:pt x="1082" y="210"/>
                    </a:lnTo>
                    <a:lnTo>
                      <a:pt x="1108" y="210"/>
                    </a:lnTo>
                    <a:lnTo>
                      <a:pt x="1091" y="172"/>
                    </a:lnTo>
                    <a:lnTo>
                      <a:pt x="1091" y="172"/>
                    </a:lnTo>
                    <a:lnTo>
                      <a:pt x="1108" y="172"/>
                    </a:lnTo>
                    <a:lnTo>
                      <a:pt x="1113" y="165"/>
                    </a:lnTo>
                    <a:lnTo>
                      <a:pt x="1125" y="148"/>
                    </a:lnTo>
                    <a:lnTo>
                      <a:pt x="1108" y="139"/>
                    </a:lnTo>
                    <a:lnTo>
                      <a:pt x="1108" y="132"/>
                    </a:lnTo>
                    <a:lnTo>
                      <a:pt x="1113" y="127"/>
                    </a:lnTo>
                    <a:lnTo>
                      <a:pt x="1136" y="127"/>
                    </a:lnTo>
                    <a:lnTo>
                      <a:pt x="1151" y="99"/>
                    </a:lnTo>
                    <a:lnTo>
                      <a:pt x="1162" y="82"/>
                    </a:lnTo>
                    <a:lnTo>
                      <a:pt x="1184" y="61"/>
                    </a:lnTo>
                    <a:lnTo>
                      <a:pt x="1200" y="21"/>
                    </a:lnTo>
                    <a:lnTo>
                      <a:pt x="1205" y="25"/>
                    </a:lnTo>
                    <a:lnTo>
                      <a:pt x="1205" y="54"/>
                    </a:lnTo>
                    <a:lnTo>
                      <a:pt x="1233" y="21"/>
                    </a:lnTo>
                    <a:lnTo>
                      <a:pt x="1238" y="21"/>
                    </a:lnTo>
                    <a:lnTo>
                      <a:pt x="1238" y="44"/>
                    </a:lnTo>
                    <a:lnTo>
                      <a:pt x="1271" y="54"/>
                    </a:lnTo>
                    <a:lnTo>
                      <a:pt x="1271" y="61"/>
                    </a:lnTo>
                    <a:lnTo>
                      <a:pt x="1271" y="77"/>
                    </a:lnTo>
                    <a:lnTo>
                      <a:pt x="1259" y="77"/>
                    </a:lnTo>
                    <a:lnTo>
                      <a:pt x="1271" y="94"/>
                    </a:lnTo>
                    <a:lnTo>
                      <a:pt x="1254" y="99"/>
                    </a:lnTo>
                    <a:lnTo>
                      <a:pt x="1276" y="99"/>
                    </a:lnTo>
                    <a:lnTo>
                      <a:pt x="1292" y="82"/>
                    </a:lnTo>
                    <a:lnTo>
                      <a:pt x="1297" y="99"/>
                    </a:lnTo>
                    <a:lnTo>
                      <a:pt x="1288" y="111"/>
                    </a:lnTo>
                    <a:lnTo>
                      <a:pt x="1288" y="115"/>
                    </a:lnTo>
                    <a:lnTo>
                      <a:pt x="1314" y="111"/>
                    </a:lnTo>
                    <a:lnTo>
                      <a:pt x="1351" y="132"/>
                    </a:lnTo>
                    <a:lnTo>
                      <a:pt x="1377" y="132"/>
                    </a:lnTo>
                    <a:lnTo>
                      <a:pt x="1377" y="139"/>
                    </a:lnTo>
                    <a:lnTo>
                      <a:pt x="1377" y="155"/>
                    </a:lnTo>
                    <a:lnTo>
                      <a:pt x="1363" y="155"/>
                    </a:lnTo>
                    <a:lnTo>
                      <a:pt x="1340" y="172"/>
                    </a:lnTo>
                    <a:lnTo>
                      <a:pt x="1314" y="165"/>
                    </a:lnTo>
                    <a:lnTo>
                      <a:pt x="1297" y="172"/>
                    </a:lnTo>
                    <a:lnTo>
                      <a:pt x="1309" y="188"/>
                    </a:lnTo>
                    <a:lnTo>
                      <a:pt x="1325" y="193"/>
                    </a:lnTo>
                    <a:lnTo>
                      <a:pt x="1325" y="205"/>
                    </a:lnTo>
                    <a:lnTo>
                      <a:pt x="1330" y="205"/>
                    </a:lnTo>
                    <a:lnTo>
                      <a:pt x="1340" y="205"/>
                    </a:lnTo>
                    <a:lnTo>
                      <a:pt x="1330" y="210"/>
                    </a:lnTo>
                    <a:lnTo>
                      <a:pt x="1292" y="222"/>
                    </a:lnTo>
                    <a:lnTo>
                      <a:pt x="1271" y="210"/>
                    </a:lnTo>
                    <a:lnTo>
                      <a:pt x="1259" y="226"/>
                    </a:lnTo>
                    <a:lnTo>
                      <a:pt x="1259" y="226"/>
                    </a:lnTo>
                    <a:lnTo>
                      <a:pt x="1259" y="226"/>
                    </a:lnTo>
                    <a:close/>
                    <a:moveTo>
                      <a:pt x="1243" y="44"/>
                    </a:moveTo>
                    <a:lnTo>
                      <a:pt x="1254" y="37"/>
                    </a:lnTo>
                    <a:lnTo>
                      <a:pt x="1254" y="44"/>
                    </a:lnTo>
                    <a:lnTo>
                      <a:pt x="1254" y="44"/>
                    </a:lnTo>
                    <a:lnTo>
                      <a:pt x="1243" y="44"/>
                    </a:lnTo>
                    <a:lnTo>
                      <a:pt x="1243" y="44"/>
                    </a:lnTo>
                    <a:lnTo>
                      <a:pt x="1243" y="44"/>
                    </a:lnTo>
                    <a:close/>
                    <a:moveTo>
                      <a:pt x="33" y="61"/>
                    </a:moveTo>
                    <a:lnTo>
                      <a:pt x="38" y="44"/>
                    </a:lnTo>
                    <a:lnTo>
                      <a:pt x="50" y="44"/>
                    </a:lnTo>
                    <a:lnTo>
                      <a:pt x="54" y="54"/>
                    </a:lnTo>
                    <a:lnTo>
                      <a:pt x="71" y="61"/>
                    </a:lnTo>
                    <a:lnTo>
                      <a:pt x="83" y="54"/>
                    </a:lnTo>
                    <a:lnTo>
                      <a:pt x="88" y="77"/>
                    </a:lnTo>
                    <a:lnTo>
                      <a:pt x="104" y="77"/>
                    </a:lnTo>
                    <a:lnTo>
                      <a:pt x="104" y="94"/>
                    </a:lnTo>
                    <a:lnTo>
                      <a:pt x="92" y="111"/>
                    </a:lnTo>
                    <a:lnTo>
                      <a:pt x="104" y="115"/>
                    </a:lnTo>
                    <a:lnTo>
                      <a:pt x="137" y="99"/>
                    </a:lnTo>
                    <a:lnTo>
                      <a:pt x="142" y="111"/>
                    </a:lnTo>
                    <a:lnTo>
                      <a:pt x="158" y="111"/>
                    </a:lnTo>
                    <a:lnTo>
                      <a:pt x="175" y="77"/>
                    </a:lnTo>
                    <a:lnTo>
                      <a:pt x="189" y="77"/>
                    </a:lnTo>
                    <a:lnTo>
                      <a:pt x="201" y="99"/>
                    </a:lnTo>
                    <a:lnTo>
                      <a:pt x="243" y="132"/>
                    </a:lnTo>
                    <a:lnTo>
                      <a:pt x="265" y="172"/>
                    </a:lnTo>
                    <a:lnTo>
                      <a:pt x="272" y="210"/>
                    </a:lnTo>
                    <a:lnTo>
                      <a:pt x="255" y="259"/>
                    </a:lnTo>
                    <a:lnTo>
                      <a:pt x="272" y="278"/>
                    </a:lnTo>
                    <a:lnTo>
                      <a:pt x="265" y="316"/>
                    </a:lnTo>
                    <a:lnTo>
                      <a:pt x="281" y="333"/>
                    </a:lnTo>
                    <a:lnTo>
                      <a:pt x="298" y="337"/>
                    </a:lnTo>
                    <a:lnTo>
                      <a:pt x="326" y="406"/>
                    </a:lnTo>
                    <a:lnTo>
                      <a:pt x="326" y="427"/>
                    </a:lnTo>
                    <a:lnTo>
                      <a:pt x="310" y="427"/>
                    </a:lnTo>
                    <a:lnTo>
                      <a:pt x="303" y="411"/>
                    </a:lnTo>
                    <a:lnTo>
                      <a:pt x="303" y="427"/>
                    </a:lnTo>
                    <a:lnTo>
                      <a:pt x="288" y="415"/>
                    </a:lnTo>
                    <a:lnTo>
                      <a:pt x="272" y="434"/>
                    </a:lnTo>
                    <a:lnTo>
                      <a:pt x="265" y="415"/>
                    </a:lnTo>
                    <a:lnTo>
                      <a:pt x="217" y="394"/>
                    </a:lnTo>
                    <a:lnTo>
                      <a:pt x="201" y="377"/>
                    </a:lnTo>
                    <a:lnTo>
                      <a:pt x="180" y="361"/>
                    </a:lnTo>
                    <a:lnTo>
                      <a:pt x="147" y="337"/>
                    </a:lnTo>
                    <a:lnTo>
                      <a:pt x="121" y="321"/>
                    </a:lnTo>
                    <a:lnTo>
                      <a:pt x="125" y="304"/>
                    </a:lnTo>
                    <a:lnTo>
                      <a:pt x="121" y="295"/>
                    </a:lnTo>
                    <a:lnTo>
                      <a:pt x="92" y="266"/>
                    </a:lnTo>
                    <a:lnTo>
                      <a:pt x="83" y="250"/>
                    </a:lnTo>
                    <a:lnTo>
                      <a:pt x="88" y="250"/>
                    </a:lnTo>
                    <a:lnTo>
                      <a:pt x="71" y="243"/>
                    </a:lnTo>
                    <a:lnTo>
                      <a:pt x="83" y="238"/>
                    </a:lnTo>
                    <a:lnTo>
                      <a:pt x="88" y="238"/>
                    </a:lnTo>
                    <a:lnTo>
                      <a:pt x="71" y="226"/>
                    </a:lnTo>
                    <a:lnTo>
                      <a:pt x="71" y="181"/>
                    </a:lnTo>
                    <a:lnTo>
                      <a:pt x="50" y="155"/>
                    </a:lnTo>
                    <a:lnTo>
                      <a:pt x="54" y="148"/>
                    </a:lnTo>
                    <a:lnTo>
                      <a:pt x="50" y="94"/>
                    </a:lnTo>
                    <a:lnTo>
                      <a:pt x="33" y="61"/>
                    </a:lnTo>
                    <a:lnTo>
                      <a:pt x="33" y="61"/>
                    </a:lnTo>
                    <a:lnTo>
                      <a:pt x="33" y="61"/>
                    </a:lnTo>
                    <a:close/>
                    <a:moveTo>
                      <a:pt x="17" y="61"/>
                    </a:moveTo>
                    <a:lnTo>
                      <a:pt x="17" y="70"/>
                    </a:lnTo>
                    <a:lnTo>
                      <a:pt x="12" y="77"/>
                    </a:lnTo>
                    <a:lnTo>
                      <a:pt x="0" y="61"/>
                    </a:lnTo>
                    <a:lnTo>
                      <a:pt x="17" y="61"/>
                    </a:lnTo>
                    <a:lnTo>
                      <a:pt x="17" y="61"/>
                    </a:lnTo>
                    <a:lnTo>
                      <a:pt x="17" y="61"/>
                    </a:lnTo>
                    <a:close/>
                    <a:moveTo>
                      <a:pt x="50" y="132"/>
                    </a:moveTo>
                    <a:lnTo>
                      <a:pt x="50" y="148"/>
                    </a:lnTo>
                    <a:lnTo>
                      <a:pt x="38" y="148"/>
                    </a:lnTo>
                    <a:lnTo>
                      <a:pt x="38" y="132"/>
                    </a:lnTo>
                    <a:lnTo>
                      <a:pt x="50" y="132"/>
                    </a:lnTo>
                    <a:lnTo>
                      <a:pt x="50" y="132"/>
                    </a:lnTo>
                    <a:lnTo>
                      <a:pt x="50" y="132"/>
                    </a:lnTo>
                    <a:close/>
                    <a:moveTo>
                      <a:pt x="1091" y="148"/>
                    </a:moveTo>
                    <a:lnTo>
                      <a:pt x="1099" y="139"/>
                    </a:lnTo>
                    <a:lnTo>
                      <a:pt x="1099" y="139"/>
                    </a:lnTo>
                    <a:lnTo>
                      <a:pt x="1091" y="148"/>
                    </a:lnTo>
                    <a:lnTo>
                      <a:pt x="1091" y="148"/>
                    </a:lnTo>
                    <a:lnTo>
                      <a:pt x="1091" y="148"/>
                    </a:lnTo>
                    <a:close/>
                    <a:moveTo>
                      <a:pt x="1288" y="226"/>
                    </a:moveTo>
                    <a:lnTo>
                      <a:pt x="1271" y="226"/>
                    </a:lnTo>
                    <a:lnTo>
                      <a:pt x="1271" y="222"/>
                    </a:lnTo>
                    <a:lnTo>
                      <a:pt x="1288" y="226"/>
                    </a:lnTo>
                    <a:lnTo>
                      <a:pt x="1288" y="226"/>
                    </a:lnTo>
                    <a:lnTo>
                      <a:pt x="1288" y="226"/>
                    </a:lnTo>
                    <a:close/>
                    <a:moveTo>
                      <a:pt x="822" y="349"/>
                    </a:moveTo>
                    <a:lnTo>
                      <a:pt x="822" y="321"/>
                    </a:lnTo>
                    <a:lnTo>
                      <a:pt x="827" y="356"/>
                    </a:lnTo>
                    <a:lnTo>
                      <a:pt x="822" y="349"/>
                    </a:lnTo>
                    <a:lnTo>
                      <a:pt x="822" y="349"/>
                    </a:lnTo>
                    <a:lnTo>
                      <a:pt x="822" y="34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2" name="Freeform 524">
                <a:extLst>
                  <a:ext uri="{FF2B5EF4-FFF2-40B4-BE49-F238E27FC236}">
                    <a16:creationId xmlns:a16="http://schemas.microsoft.com/office/drawing/2014/main" id="{BE960D24-AE00-418A-83D3-3AF88ED79C97}"/>
                  </a:ext>
                </a:extLst>
              </p:cNvPr>
              <p:cNvSpPr>
                <a:spLocks/>
              </p:cNvSpPr>
              <p:nvPr/>
            </p:nvSpPr>
            <p:spPr bwMode="gray">
              <a:xfrm>
                <a:off x="9037763" y="3136643"/>
                <a:ext cx="236298" cy="126808"/>
              </a:xfrm>
              <a:custGeom>
                <a:avLst/>
                <a:gdLst>
                  <a:gd name="T0" fmla="*/ 163 w 574"/>
                  <a:gd name="T1" fmla="*/ 215 h 308"/>
                  <a:gd name="T2" fmla="*/ 125 w 574"/>
                  <a:gd name="T3" fmla="*/ 199 h 308"/>
                  <a:gd name="T4" fmla="*/ 75 w 574"/>
                  <a:gd name="T5" fmla="*/ 159 h 308"/>
                  <a:gd name="T6" fmla="*/ 33 w 574"/>
                  <a:gd name="T7" fmla="*/ 142 h 308"/>
                  <a:gd name="T8" fmla="*/ 16 w 574"/>
                  <a:gd name="T9" fmla="*/ 88 h 308"/>
                  <a:gd name="T10" fmla="*/ 21 w 574"/>
                  <a:gd name="T11" fmla="*/ 67 h 308"/>
                  <a:gd name="T12" fmla="*/ 71 w 574"/>
                  <a:gd name="T13" fmla="*/ 17 h 308"/>
                  <a:gd name="T14" fmla="*/ 75 w 574"/>
                  <a:gd name="T15" fmla="*/ 22 h 308"/>
                  <a:gd name="T16" fmla="*/ 92 w 574"/>
                  <a:gd name="T17" fmla="*/ 0 h 308"/>
                  <a:gd name="T18" fmla="*/ 146 w 574"/>
                  <a:gd name="T19" fmla="*/ 22 h 308"/>
                  <a:gd name="T20" fmla="*/ 196 w 574"/>
                  <a:gd name="T21" fmla="*/ 55 h 308"/>
                  <a:gd name="T22" fmla="*/ 250 w 574"/>
                  <a:gd name="T23" fmla="*/ 93 h 308"/>
                  <a:gd name="T24" fmla="*/ 271 w 574"/>
                  <a:gd name="T25" fmla="*/ 88 h 308"/>
                  <a:gd name="T26" fmla="*/ 293 w 574"/>
                  <a:gd name="T27" fmla="*/ 109 h 308"/>
                  <a:gd name="T28" fmla="*/ 330 w 574"/>
                  <a:gd name="T29" fmla="*/ 142 h 308"/>
                  <a:gd name="T30" fmla="*/ 359 w 574"/>
                  <a:gd name="T31" fmla="*/ 133 h 308"/>
                  <a:gd name="T32" fmla="*/ 397 w 574"/>
                  <a:gd name="T33" fmla="*/ 166 h 308"/>
                  <a:gd name="T34" fmla="*/ 418 w 574"/>
                  <a:gd name="T35" fmla="*/ 187 h 308"/>
                  <a:gd name="T36" fmla="*/ 427 w 574"/>
                  <a:gd name="T37" fmla="*/ 175 h 308"/>
                  <a:gd name="T38" fmla="*/ 434 w 574"/>
                  <a:gd name="T39" fmla="*/ 182 h 308"/>
                  <a:gd name="T40" fmla="*/ 456 w 574"/>
                  <a:gd name="T41" fmla="*/ 175 h 308"/>
                  <a:gd name="T42" fmla="*/ 505 w 574"/>
                  <a:gd name="T43" fmla="*/ 199 h 308"/>
                  <a:gd name="T44" fmla="*/ 548 w 574"/>
                  <a:gd name="T45" fmla="*/ 187 h 308"/>
                  <a:gd name="T46" fmla="*/ 574 w 574"/>
                  <a:gd name="T47" fmla="*/ 199 h 308"/>
                  <a:gd name="T48" fmla="*/ 560 w 574"/>
                  <a:gd name="T49" fmla="*/ 253 h 308"/>
                  <a:gd name="T50" fmla="*/ 560 w 574"/>
                  <a:gd name="T51" fmla="*/ 308 h 308"/>
                  <a:gd name="T52" fmla="*/ 505 w 574"/>
                  <a:gd name="T53" fmla="*/ 308 h 308"/>
                  <a:gd name="T54" fmla="*/ 472 w 574"/>
                  <a:gd name="T55" fmla="*/ 308 h 308"/>
                  <a:gd name="T56" fmla="*/ 413 w 574"/>
                  <a:gd name="T57" fmla="*/ 291 h 308"/>
                  <a:gd name="T58" fmla="*/ 373 w 574"/>
                  <a:gd name="T59" fmla="*/ 286 h 308"/>
                  <a:gd name="T60" fmla="*/ 321 w 574"/>
                  <a:gd name="T61" fmla="*/ 237 h 308"/>
                  <a:gd name="T62" fmla="*/ 288 w 574"/>
                  <a:gd name="T63" fmla="*/ 220 h 308"/>
                  <a:gd name="T64" fmla="*/ 267 w 574"/>
                  <a:gd name="T65" fmla="*/ 237 h 308"/>
                  <a:gd name="T66" fmla="*/ 222 w 574"/>
                  <a:gd name="T67" fmla="*/ 237 h 308"/>
                  <a:gd name="T68" fmla="*/ 184 w 574"/>
                  <a:gd name="T69" fmla="*/ 220 h 308"/>
                  <a:gd name="T70" fmla="*/ 184 w 574"/>
                  <a:gd name="T71" fmla="*/ 2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74" h="308">
                    <a:moveTo>
                      <a:pt x="184" y="204"/>
                    </a:moveTo>
                    <a:lnTo>
                      <a:pt x="163" y="215"/>
                    </a:lnTo>
                    <a:lnTo>
                      <a:pt x="141" y="187"/>
                    </a:lnTo>
                    <a:lnTo>
                      <a:pt x="125" y="199"/>
                    </a:lnTo>
                    <a:lnTo>
                      <a:pt x="87" y="175"/>
                    </a:lnTo>
                    <a:lnTo>
                      <a:pt x="75" y="159"/>
                    </a:lnTo>
                    <a:lnTo>
                      <a:pt x="33" y="133"/>
                    </a:lnTo>
                    <a:lnTo>
                      <a:pt x="33" y="142"/>
                    </a:lnTo>
                    <a:lnTo>
                      <a:pt x="0" y="121"/>
                    </a:lnTo>
                    <a:lnTo>
                      <a:pt x="16" y="88"/>
                    </a:lnTo>
                    <a:lnTo>
                      <a:pt x="4" y="71"/>
                    </a:lnTo>
                    <a:lnTo>
                      <a:pt x="21" y="67"/>
                    </a:lnTo>
                    <a:lnTo>
                      <a:pt x="21" y="50"/>
                    </a:lnTo>
                    <a:lnTo>
                      <a:pt x="71" y="17"/>
                    </a:lnTo>
                    <a:lnTo>
                      <a:pt x="71" y="22"/>
                    </a:lnTo>
                    <a:lnTo>
                      <a:pt x="75" y="22"/>
                    </a:lnTo>
                    <a:lnTo>
                      <a:pt x="92" y="17"/>
                    </a:lnTo>
                    <a:lnTo>
                      <a:pt x="92" y="0"/>
                    </a:lnTo>
                    <a:lnTo>
                      <a:pt x="141" y="0"/>
                    </a:lnTo>
                    <a:lnTo>
                      <a:pt x="146" y="22"/>
                    </a:lnTo>
                    <a:lnTo>
                      <a:pt x="163" y="22"/>
                    </a:lnTo>
                    <a:lnTo>
                      <a:pt x="196" y="55"/>
                    </a:lnTo>
                    <a:lnTo>
                      <a:pt x="217" y="55"/>
                    </a:lnTo>
                    <a:lnTo>
                      <a:pt x="250" y="93"/>
                    </a:lnTo>
                    <a:lnTo>
                      <a:pt x="255" y="93"/>
                    </a:lnTo>
                    <a:lnTo>
                      <a:pt x="271" y="88"/>
                    </a:lnTo>
                    <a:lnTo>
                      <a:pt x="288" y="88"/>
                    </a:lnTo>
                    <a:lnTo>
                      <a:pt x="293" y="109"/>
                    </a:lnTo>
                    <a:lnTo>
                      <a:pt x="309" y="126"/>
                    </a:lnTo>
                    <a:lnTo>
                      <a:pt x="330" y="142"/>
                    </a:lnTo>
                    <a:lnTo>
                      <a:pt x="347" y="133"/>
                    </a:lnTo>
                    <a:lnTo>
                      <a:pt x="359" y="133"/>
                    </a:lnTo>
                    <a:lnTo>
                      <a:pt x="359" y="159"/>
                    </a:lnTo>
                    <a:lnTo>
                      <a:pt x="397" y="166"/>
                    </a:lnTo>
                    <a:lnTo>
                      <a:pt x="413" y="175"/>
                    </a:lnTo>
                    <a:lnTo>
                      <a:pt x="418" y="187"/>
                    </a:lnTo>
                    <a:lnTo>
                      <a:pt x="427" y="187"/>
                    </a:lnTo>
                    <a:lnTo>
                      <a:pt x="427" y="175"/>
                    </a:lnTo>
                    <a:lnTo>
                      <a:pt x="434" y="175"/>
                    </a:lnTo>
                    <a:lnTo>
                      <a:pt x="434" y="182"/>
                    </a:lnTo>
                    <a:lnTo>
                      <a:pt x="451" y="187"/>
                    </a:lnTo>
                    <a:lnTo>
                      <a:pt x="456" y="175"/>
                    </a:lnTo>
                    <a:lnTo>
                      <a:pt x="467" y="175"/>
                    </a:lnTo>
                    <a:lnTo>
                      <a:pt x="505" y="199"/>
                    </a:lnTo>
                    <a:lnTo>
                      <a:pt x="536" y="199"/>
                    </a:lnTo>
                    <a:lnTo>
                      <a:pt x="548" y="187"/>
                    </a:lnTo>
                    <a:lnTo>
                      <a:pt x="564" y="199"/>
                    </a:lnTo>
                    <a:lnTo>
                      <a:pt x="574" y="199"/>
                    </a:lnTo>
                    <a:lnTo>
                      <a:pt x="564" y="220"/>
                    </a:lnTo>
                    <a:lnTo>
                      <a:pt x="560" y="253"/>
                    </a:lnTo>
                    <a:lnTo>
                      <a:pt x="574" y="286"/>
                    </a:lnTo>
                    <a:lnTo>
                      <a:pt x="560" y="308"/>
                    </a:lnTo>
                    <a:lnTo>
                      <a:pt x="548" y="298"/>
                    </a:lnTo>
                    <a:lnTo>
                      <a:pt x="505" y="308"/>
                    </a:lnTo>
                    <a:lnTo>
                      <a:pt x="489" y="298"/>
                    </a:lnTo>
                    <a:lnTo>
                      <a:pt x="472" y="308"/>
                    </a:lnTo>
                    <a:lnTo>
                      <a:pt x="418" y="286"/>
                    </a:lnTo>
                    <a:lnTo>
                      <a:pt x="413" y="291"/>
                    </a:lnTo>
                    <a:lnTo>
                      <a:pt x="385" y="270"/>
                    </a:lnTo>
                    <a:lnTo>
                      <a:pt x="373" y="286"/>
                    </a:lnTo>
                    <a:lnTo>
                      <a:pt x="326" y="258"/>
                    </a:lnTo>
                    <a:lnTo>
                      <a:pt x="321" y="237"/>
                    </a:lnTo>
                    <a:lnTo>
                      <a:pt x="293" y="232"/>
                    </a:lnTo>
                    <a:lnTo>
                      <a:pt x="288" y="220"/>
                    </a:lnTo>
                    <a:lnTo>
                      <a:pt x="267" y="232"/>
                    </a:lnTo>
                    <a:lnTo>
                      <a:pt x="267" y="237"/>
                    </a:lnTo>
                    <a:lnTo>
                      <a:pt x="234" y="232"/>
                    </a:lnTo>
                    <a:lnTo>
                      <a:pt x="222" y="237"/>
                    </a:lnTo>
                    <a:lnTo>
                      <a:pt x="217" y="232"/>
                    </a:lnTo>
                    <a:lnTo>
                      <a:pt x="184" y="220"/>
                    </a:lnTo>
                    <a:lnTo>
                      <a:pt x="184" y="204"/>
                    </a:lnTo>
                    <a:lnTo>
                      <a:pt x="184" y="204"/>
                    </a:lnTo>
                    <a:lnTo>
                      <a:pt x="184" y="20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3" name="Freeform 531">
                <a:extLst>
                  <a:ext uri="{FF2B5EF4-FFF2-40B4-BE49-F238E27FC236}">
                    <a16:creationId xmlns:a16="http://schemas.microsoft.com/office/drawing/2014/main" id="{FAE3AABE-E368-47A9-AFBE-46AF7930CC1C}"/>
                  </a:ext>
                </a:extLst>
              </p:cNvPr>
              <p:cNvSpPr>
                <a:spLocks noEditPoints="1"/>
              </p:cNvSpPr>
              <p:nvPr/>
            </p:nvSpPr>
            <p:spPr bwMode="gray">
              <a:xfrm>
                <a:off x="8483244" y="2915139"/>
                <a:ext cx="491122" cy="433537"/>
              </a:xfrm>
              <a:custGeom>
                <a:avLst/>
                <a:gdLst>
                  <a:gd name="T0" fmla="*/ 248 w 1193"/>
                  <a:gd name="T1" fmla="*/ 605 h 1053"/>
                  <a:gd name="T2" fmla="*/ 378 w 1193"/>
                  <a:gd name="T3" fmla="*/ 560 h 1053"/>
                  <a:gd name="T4" fmla="*/ 399 w 1193"/>
                  <a:gd name="T5" fmla="*/ 494 h 1053"/>
                  <a:gd name="T6" fmla="*/ 485 w 1193"/>
                  <a:gd name="T7" fmla="*/ 460 h 1053"/>
                  <a:gd name="T8" fmla="*/ 539 w 1193"/>
                  <a:gd name="T9" fmla="*/ 427 h 1053"/>
                  <a:gd name="T10" fmla="*/ 577 w 1193"/>
                  <a:gd name="T11" fmla="*/ 439 h 1053"/>
                  <a:gd name="T12" fmla="*/ 598 w 1193"/>
                  <a:gd name="T13" fmla="*/ 349 h 1053"/>
                  <a:gd name="T14" fmla="*/ 664 w 1193"/>
                  <a:gd name="T15" fmla="*/ 300 h 1053"/>
                  <a:gd name="T16" fmla="*/ 643 w 1193"/>
                  <a:gd name="T17" fmla="*/ 262 h 1053"/>
                  <a:gd name="T18" fmla="*/ 723 w 1193"/>
                  <a:gd name="T19" fmla="*/ 222 h 1053"/>
                  <a:gd name="T20" fmla="*/ 749 w 1193"/>
                  <a:gd name="T21" fmla="*/ 168 h 1053"/>
                  <a:gd name="T22" fmla="*/ 749 w 1193"/>
                  <a:gd name="T23" fmla="*/ 94 h 1053"/>
                  <a:gd name="T24" fmla="*/ 756 w 1193"/>
                  <a:gd name="T25" fmla="*/ 52 h 1053"/>
                  <a:gd name="T26" fmla="*/ 900 w 1193"/>
                  <a:gd name="T27" fmla="*/ 7 h 1053"/>
                  <a:gd name="T28" fmla="*/ 966 w 1193"/>
                  <a:gd name="T29" fmla="*/ 0 h 1053"/>
                  <a:gd name="T30" fmla="*/ 1042 w 1193"/>
                  <a:gd name="T31" fmla="*/ 23 h 1053"/>
                  <a:gd name="T32" fmla="*/ 1073 w 1193"/>
                  <a:gd name="T33" fmla="*/ 90 h 1053"/>
                  <a:gd name="T34" fmla="*/ 1127 w 1193"/>
                  <a:gd name="T35" fmla="*/ 118 h 1053"/>
                  <a:gd name="T36" fmla="*/ 1127 w 1193"/>
                  <a:gd name="T37" fmla="*/ 189 h 1053"/>
                  <a:gd name="T38" fmla="*/ 1042 w 1193"/>
                  <a:gd name="T39" fmla="*/ 205 h 1053"/>
                  <a:gd name="T40" fmla="*/ 922 w 1193"/>
                  <a:gd name="T41" fmla="*/ 229 h 1053"/>
                  <a:gd name="T42" fmla="*/ 933 w 1193"/>
                  <a:gd name="T43" fmla="*/ 283 h 1053"/>
                  <a:gd name="T44" fmla="*/ 971 w 1193"/>
                  <a:gd name="T45" fmla="*/ 349 h 1053"/>
                  <a:gd name="T46" fmla="*/ 1018 w 1193"/>
                  <a:gd name="T47" fmla="*/ 387 h 1053"/>
                  <a:gd name="T48" fmla="*/ 955 w 1193"/>
                  <a:gd name="T49" fmla="*/ 427 h 1053"/>
                  <a:gd name="T50" fmla="*/ 966 w 1193"/>
                  <a:gd name="T51" fmla="*/ 477 h 1053"/>
                  <a:gd name="T52" fmla="*/ 917 w 1193"/>
                  <a:gd name="T53" fmla="*/ 555 h 1053"/>
                  <a:gd name="T54" fmla="*/ 794 w 1193"/>
                  <a:gd name="T55" fmla="*/ 687 h 1053"/>
                  <a:gd name="T56" fmla="*/ 695 w 1193"/>
                  <a:gd name="T57" fmla="*/ 742 h 1053"/>
                  <a:gd name="T58" fmla="*/ 610 w 1193"/>
                  <a:gd name="T59" fmla="*/ 827 h 1053"/>
                  <a:gd name="T60" fmla="*/ 664 w 1193"/>
                  <a:gd name="T61" fmla="*/ 902 h 1053"/>
                  <a:gd name="T62" fmla="*/ 718 w 1193"/>
                  <a:gd name="T63" fmla="*/ 980 h 1053"/>
                  <a:gd name="T64" fmla="*/ 695 w 1193"/>
                  <a:gd name="T65" fmla="*/ 1013 h 1053"/>
                  <a:gd name="T66" fmla="*/ 643 w 1193"/>
                  <a:gd name="T67" fmla="*/ 1020 h 1053"/>
                  <a:gd name="T68" fmla="*/ 555 w 1193"/>
                  <a:gd name="T69" fmla="*/ 1001 h 1053"/>
                  <a:gd name="T70" fmla="*/ 518 w 1193"/>
                  <a:gd name="T71" fmla="*/ 1037 h 1053"/>
                  <a:gd name="T72" fmla="*/ 501 w 1193"/>
                  <a:gd name="T73" fmla="*/ 1046 h 1053"/>
                  <a:gd name="T74" fmla="*/ 468 w 1193"/>
                  <a:gd name="T75" fmla="*/ 1037 h 1053"/>
                  <a:gd name="T76" fmla="*/ 437 w 1193"/>
                  <a:gd name="T77" fmla="*/ 980 h 1053"/>
                  <a:gd name="T78" fmla="*/ 399 w 1193"/>
                  <a:gd name="T79" fmla="*/ 926 h 1053"/>
                  <a:gd name="T80" fmla="*/ 383 w 1193"/>
                  <a:gd name="T81" fmla="*/ 909 h 1053"/>
                  <a:gd name="T82" fmla="*/ 265 w 1193"/>
                  <a:gd name="T83" fmla="*/ 935 h 1053"/>
                  <a:gd name="T84" fmla="*/ 220 w 1193"/>
                  <a:gd name="T85" fmla="*/ 926 h 1053"/>
                  <a:gd name="T86" fmla="*/ 69 w 1193"/>
                  <a:gd name="T87" fmla="*/ 947 h 1053"/>
                  <a:gd name="T88" fmla="*/ 59 w 1193"/>
                  <a:gd name="T89" fmla="*/ 893 h 1053"/>
                  <a:gd name="T90" fmla="*/ 97 w 1193"/>
                  <a:gd name="T91" fmla="*/ 848 h 1053"/>
                  <a:gd name="T92" fmla="*/ 161 w 1193"/>
                  <a:gd name="T93" fmla="*/ 831 h 1053"/>
                  <a:gd name="T94" fmla="*/ 140 w 1193"/>
                  <a:gd name="T95" fmla="*/ 782 h 1053"/>
                  <a:gd name="T96" fmla="*/ 107 w 1193"/>
                  <a:gd name="T97" fmla="*/ 687 h 1053"/>
                  <a:gd name="T98" fmla="*/ 0 w 1193"/>
                  <a:gd name="T99" fmla="*/ 576 h 1053"/>
                  <a:gd name="T100" fmla="*/ 166 w 1193"/>
                  <a:gd name="T101" fmla="*/ 609 h 1053"/>
                  <a:gd name="T102" fmla="*/ 463 w 1193"/>
                  <a:gd name="T103" fmla="*/ 1030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93" h="1053">
                    <a:moveTo>
                      <a:pt x="166" y="609"/>
                    </a:moveTo>
                    <a:lnTo>
                      <a:pt x="194" y="605"/>
                    </a:lnTo>
                    <a:lnTo>
                      <a:pt x="220" y="609"/>
                    </a:lnTo>
                    <a:lnTo>
                      <a:pt x="248" y="605"/>
                    </a:lnTo>
                    <a:lnTo>
                      <a:pt x="291" y="605"/>
                    </a:lnTo>
                    <a:lnTo>
                      <a:pt x="378" y="576"/>
                    </a:lnTo>
                    <a:lnTo>
                      <a:pt x="383" y="571"/>
                    </a:lnTo>
                    <a:lnTo>
                      <a:pt x="378" y="560"/>
                    </a:lnTo>
                    <a:lnTo>
                      <a:pt x="383" y="548"/>
                    </a:lnTo>
                    <a:lnTo>
                      <a:pt x="383" y="522"/>
                    </a:lnTo>
                    <a:lnTo>
                      <a:pt x="392" y="494"/>
                    </a:lnTo>
                    <a:lnTo>
                      <a:pt x="399" y="494"/>
                    </a:lnTo>
                    <a:lnTo>
                      <a:pt x="416" y="465"/>
                    </a:lnTo>
                    <a:lnTo>
                      <a:pt x="430" y="460"/>
                    </a:lnTo>
                    <a:lnTo>
                      <a:pt x="454" y="465"/>
                    </a:lnTo>
                    <a:lnTo>
                      <a:pt x="485" y="460"/>
                    </a:lnTo>
                    <a:lnTo>
                      <a:pt x="468" y="444"/>
                    </a:lnTo>
                    <a:lnTo>
                      <a:pt x="501" y="439"/>
                    </a:lnTo>
                    <a:lnTo>
                      <a:pt x="518" y="423"/>
                    </a:lnTo>
                    <a:lnTo>
                      <a:pt x="539" y="427"/>
                    </a:lnTo>
                    <a:lnTo>
                      <a:pt x="534" y="427"/>
                    </a:lnTo>
                    <a:lnTo>
                      <a:pt x="539" y="423"/>
                    </a:lnTo>
                    <a:lnTo>
                      <a:pt x="560" y="444"/>
                    </a:lnTo>
                    <a:lnTo>
                      <a:pt x="577" y="439"/>
                    </a:lnTo>
                    <a:lnTo>
                      <a:pt x="593" y="411"/>
                    </a:lnTo>
                    <a:lnTo>
                      <a:pt x="593" y="371"/>
                    </a:lnTo>
                    <a:lnTo>
                      <a:pt x="598" y="354"/>
                    </a:lnTo>
                    <a:lnTo>
                      <a:pt x="598" y="349"/>
                    </a:lnTo>
                    <a:lnTo>
                      <a:pt x="610" y="338"/>
                    </a:lnTo>
                    <a:lnTo>
                      <a:pt x="610" y="328"/>
                    </a:lnTo>
                    <a:lnTo>
                      <a:pt x="648" y="316"/>
                    </a:lnTo>
                    <a:lnTo>
                      <a:pt x="664" y="300"/>
                    </a:lnTo>
                    <a:lnTo>
                      <a:pt x="652" y="283"/>
                    </a:lnTo>
                    <a:lnTo>
                      <a:pt x="652" y="272"/>
                    </a:lnTo>
                    <a:lnTo>
                      <a:pt x="643" y="272"/>
                    </a:lnTo>
                    <a:lnTo>
                      <a:pt x="643" y="262"/>
                    </a:lnTo>
                    <a:lnTo>
                      <a:pt x="631" y="246"/>
                    </a:lnTo>
                    <a:lnTo>
                      <a:pt x="681" y="255"/>
                    </a:lnTo>
                    <a:lnTo>
                      <a:pt x="718" y="246"/>
                    </a:lnTo>
                    <a:lnTo>
                      <a:pt x="723" y="222"/>
                    </a:lnTo>
                    <a:lnTo>
                      <a:pt x="707" y="205"/>
                    </a:lnTo>
                    <a:lnTo>
                      <a:pt x="718" y="201"/>
                    </a:lnTo>
                    <a:lnTo>
                      <a:pt x="718" y="189"/>
                    </a:lnTo>
                    <a:lnTo>
                      <a:pt x="749" y="168"/>
                    </a:lnTo>
                    <a:lnTo>
                      <a:pt x="756" y="151"/>
                    </a:lnTo>
                    <a:lnTo>
                      <a:pt x="749" y="144"/>
                    </a:lnTo>
                    <a:lnTo>
                      <a:pt x="756" y="134"/>
                    </a:lnTo>
                    <a:lnTo>
                      <a:pt x="749" y="94"/>
                    </a:lnTo>
                    <a:lnTo>
                      <a:pt x="723" y="78"/>
                    </a:lnTo>
                    <a:lnTo>
                      <a:pt x="733" y="73"/>
                    </a:lnTo>
                    <a:lnTo>
                      <a:pt x="756" y="57"/>
                    </a:lnTo>
                    <a:lnTo>
                      <a:pt x="756" y="52"/>
                    </a:lnTo>
                    <a:lnTo>
                      <a:pt x="761" y="52"/>
                    </a:lnTo>
                    <a:lnTo>
                      <a:pt x="794" y="23"/>
                    </a:lnTo>
                    <a:lnTo>
                      <a:pt x="825" y="19"/>
                    </a:lnTo>
                    <a:lnTo>
                      <a:pt x="900" y="7"/>
                    </a:lnTo>
                    <a:lnTo>
                      <a:pt x="922" y="19"/>
                    </a:lnTo>
                    <a:lnTo>
                      <a:pt x="955" y="0"/>
                    </a:lnTo>
                    <a:lnTo>
                      <a:pt x="966" y="7"/>
                    </a:lnTo>
                    <a:lnTo>
                      <a:pt x="966" y="0"/>
                    </a:lnTo>
                    <a:lnTo>
                      <a:pt x="1004" y="0"/>
                    </a:lnTo>
                    <a:lnTo>
                      <a:pt x="1018" y="7"/>
                    </a:lnTo>
                    <a:lnTo>
                      <a:pt x="1025" y="23"/>
                    </a:lnTo>
                    <a:lnTo>
                      <a:pt x="1042" y="23"/>
                    </a:lnTo>
                    <a:lnTo>
                      <a:pt x="1056" y="35"/>
                    </a:lnTo>
                    <a:lnTo>
                      <a:pt x="1063" y="61"/>
                    </a:lnTo>
                    <a:lnTo>
                      <a:pt x="1056" y="78"/>
                    </a:lnTo>
                    <a:lnTo>
                      <a:pt x="1073" y="90"/>
                    </a:lnTo>
                    <a:lnTo>
                      <a:pt x="1080" y="106"/>
                    </a:lnTo>
                    <a:lnTo>
                      <a:pt x="1101" y="94"/>
                    </a:lnTo>
                    <a:lnTo>
                      <a:pt x="1101" y="106"/>
                    </a:lnTo>
                    <a:lnTo>
                      <a:pt x="1127" y="118"/>
                    </a:lnTo>
                    <a:lnTo>
                      <a:pt x="1165" y="127"/>
                    </a:lnTo>
                    <a:lnTo>
                      <a:pt x="1193" y="127"/>
                    </a:lnTo>
                    <a:lnTo>
                      <a:pt x="1132" y="160"/>
                    </a:lnTo>
                    <a:lnTo>
                      <a:pt x="1127" y="189"/>
                    </a:lnTo>
                    <a:lnTo>
                      <a:pt x="1094" y="184"/>
                    </a:lnTo>
                    <a:lnTo>
                      <a:pt x="1073" y="201"/>
                    </a:lnTo>
                    <a:lnTo>
                      <a:pt x="1063" y="201"/>
                    </a:lnTo>
                    <a:lnTo>
                      <a:pt x="1042" y="205"/>
                    </a:lnTo>
                    <a:lnTo>
                      <a:pt x="950" y="184"/>
                    </a:lnTo>
                    <a:lnTo>
                      <a:pt x="917" y="201"/>
                    </a:lnTo>
                    <a:lnTo>
                      <a:pt x="912" y="217"/>
                    </a:lnTo>
                    <a:lnTo>
                      <a:pt x="922" y="229"/>
                    </a:lnTo>
                    <a:lnTo>
                      <a:pt x="917" y="238"/>
                    </a:lnTo>
                    <a:lnTo>
                      <a:pt x="938" y="246"/>
                    </a:lnTo>
                    <a:lnTo>
                      <a:pt x="922" y="272"/>
                    </a:lnTo>
                    <a:lnTo>
                      <a:pt x="933" y="283"/>
                    </a:lnTo>
                    <a:lnTo>
                      <a:pt x="922" y="316"/>
                    </a:lnTo>
                    <a:lnTo>
                      <a:pt x="950" y="328"/>
                    </a:lnTo>
                    <a:lnTo>
                      <a:pt x="950" y="349"/>
                    </a:lnTo>
                    <a:lnTo>
                      <a:pt x="971" y="349"/>
                    </a:lnTo>
                    <a:lnTo>
                      <a:pt x="971" y="371"/>
                    </a:lnTo>
                    <a:lnTo>
                      <a:pt x="992" y="371"/>
                    </a:lnTo>
                    <a:lnTo>
                      <a:pt x="1018" y="383"/>
                    </a:lnTo>
                    <a:lnTo>
                      <a:pt x="1018" y="387"/>
                    </a:lnTo>
                    <a:lnTo>
                      <a:pt x="1009" y="404"/>
                    </a:lnTo>
                    <a:lnTo>
                      <a:pt x="988" y="404"/>
                    </a:lnTo>
                    <a:lnTo>
                      <a:pt x="966" y="423"/>
                    </a:lnTo>
                    <a:lnTo>
                      <a:pt x="955" y="427"/>
                    </a:lnTo>
                    <a:lnTo>
                      <a:pt x="966" y="449"/>
                    </a:lnTo>
                    <a:lnTo>
                      <a:pt x="955" y="477"/>
                    </a:lnTo>
                    <a:lnTo>
                      <a:pt x="966" y="482"/>
                    </a:lnTo>
                    <a:lnTo>
                      <a:pt x="966" y="477"/>
                    </a:lnTo>
                    <a:lnTo>
                      <a:pt x="971" y="482"/>
                    </a:lnTo>
                    <a:lnTo>
                      <a:pt x="950" y="498"/>
                    </a:lnTo>
                    <a:lnTo>
                      <a:pt x="917" y="538"/>
                    </a:lnTo>
                    <a:lnTo>
                      <a:pt x="917" y="555"/>
                    </a:lnTo>
                    <a:lnTo>
                      <a:pt x="879" y="571"/>
                    </a:lnTo>
                    <a:lnTo>
                      <a:pt x="846" y="642"/>
                    </a:lnTo>
                    <a:lnTo>
                      <a:pt x="808" y="666"/>
                    </a:lnTo>
                    <a:lnTo>
                      <a:pt x="794" y="687"/>
                    </a:lnTo>
                    <a:lnTo>
                      <a:pt x="777" y="716"/>
                    </a:lnTo>
                    <a:lnTo>
                      <a:pt x="777" y="725"/>
                    </a:lnTo>
                    <a:lnTo>
                      <a:pt x="702" y="742"/>
                    </a:lnTo>
                    <a:lnTo>
                      <a:pt x="695" y="742"/>
                    </a:lnTo>
                    <a:lnTo>
                      <a:pt x="685" y="720"/>
                    </a:lnTo>
                    <a:lnTo>
                      <a:pt x="669" y="720"/>
                    </a:lnTo>
                    <a:lnTo>
                      <a:pt x="614" y="782"/>
                    </a:lnTo>
                    <a:lnTo>
                      <a:pt x="610" y="827"/>
                    </a:lnTo>
                    <a:lnTo>
                      <a:pt x="631" y="831"/>
                    </a:lnTo>
                    <a:lnTo>
                      <a:pt x="652" y="836"/>
                    </a:lnTo>
                    <a:lnTo>
                      <a:pt x="648" y="881"/>
                    </a:lnTo>
                    <a:lnTo>
                      <a:pt x="664" y="902"/>
                    </a:lnTo>
                    <a:lnTo>
                      <a:pt x="685" y="902"/>
                    </a:lnTo>
                    <a:lnTo>
                      <a:pt x="695" y="926"/>
                    </a:lnTo>
                    <a:lnTo>
                      <a:pt x="702" y="942"/>
                    </a:lnTo>
                    <a:lnTo>
                      <a:pt x="718" y="980"/>
                    </a:lnTo>
                    <a:lnTo>
                      <a:pt x="707" y="980"/>
                    </a:lnTo>
                    <a:lnTo>
                      <a:pt x="707" y="997"/>
                    </a:lnTo>
                    <a:lnTo>
                      <a:pt x="718" y="997"/>
                    </a:lnTo>
                    <a:lnTo>
                      <a:pt x="695" y="1013"/>
                    </a:lnTo>
                    <a:lnTo>
                      <a:pt x="685" y="1013"/>
                    </a:lnTo>
                    <a:lnTo>
                      <a:pt x="681" y="997"/>
                    </a:lnTo>
                    <a:lnTo>
                      <a:pt x="648" y="1001"/>
                    </a:lnTo>
                    <a:lnTo>
                      <a:pt x="643" y="1020"/>
                    </a:lnTo>
                    <a:lnTo>
                      <a:pt x="626" y="1020"/>
                    </a:lnTo>
                    <a:lnTo>
                      <a:pt x="614" y="1013"/>
                    </a:lnTo>
                    <a:lnTo>
                      <a:pt x="572" y="1013"/>
                    </a:lnTo>
                    <a:lnTo>
                      <a:pt x="555" y="1001"/>
                    </a:lnTo>
                    <a:lnTo>
                      <a:pt x="555" y="1037"/>
                    </a:lnTo>
                    <a:lnTo>
                      <a:pt x="522" y="1037"/>
                    </a:lnTo>
                    <a:lnTo>
                      <a:pt x="518" y="1046"/>
                    </a:lnTo>
                    <a:lnTo>
                      <a:pt x="518" y="1037"/>
                    </a:lnTo>
                    <a:lnTo>
                      <a:pt x="518" y="1053"/>
                    </a:lnTo>
                    <a:lnTo>
                      <a:pt x="506" y="1053"/>
                    </a:lnTo>
                    <a:lnTo>
                      <a:pt x="501" y="1037"/>
                    </a:lnTo>
                    <a:lnTo>
                      <a:pt x="501" y="1046"/>
                    </a:lnTo>
                    <a:lnTo>
                      <a:pt x="492" y="1037"/>
                    </a:lnTo>
                    <a:lnTo>
                      <a:pt x="492" y="1046"/>
                    </a:lnTo>
                    <a:lnTo>
                      <a:pt x="485" y="1046"/>
                    </a:lnTo>
                    <a:lnTo>
                      <a:pt x="468" y="1037"/>
                    </a:lnTo>
                    <a:lnTo>
                      <a:pt x="468" y="1037"/>
                    </a:lnTo>
                    <a:lnTo>
                      <a:pt x="463" y="1030"/>
                    </a:lnTo>
                    <a:lnTo>
                      <a:pt x="454" y="1020"/>
                    </a:lnTo>
                    <a:lnTo>
                      <a:pt x="437" y="980"/>
                    </a:lnTo>
                    <a:lnTo>
                      <a:pt x="447" y="975"/>
                    </a:lnTo>
                    <a:lnTo>
                      <a:pt x="409" y="964"/>
                    </a:lnTo>
                    <a:lnTo>
                      <a:pt x="416" y="942"/>
                    </a:lnTo>
                    <a:lnTo>
                      <a:pt x="399" y="926"/>
                    </a:lnTo>
                    <a:lnTo>
                      <a:pt x="399" y="919"/>
                    </a:lnTo>
                    <a:lnTo>
                      <a:pt x="383" y="909"/>
                    </a:lnTo>
                    <a:lnTo>
                      <a:pt x="371" y="919"/>
                    </a:lnTo>
                    <a:lnTo>
                      <a:pt x="383" y="909"/>
                    </a:lnTo>
                    <a:lnTo>
                      <a:pt x="399" y="926"/>
                    </a:lnTo>
                    <a:lnTo>
                      <a:pt x="274" y="926"/>
                    </a:lnTo>
                    <a:lnTo>
                      <a:pt x="270" y="942"/>
                    </a:lnTo>
                    <a:lnTo>
                      <a:pt x="265" y="935"/>
                    </a:lnTo>
                    <a:lnTo>
                      <a:pt x="232" y="926"/>
                    </a:lnTo>
                    <a:lnTo>
                      <a:pt x="232" y="919"/>
                    </a:lnTo>
                    <a:lnTo>
                      <a:pt x="220" y="926"/>
                    </a:lnTo>
                    <a:lnTo>
                      <a:pt x="220" y="926"/>
                    </a:lnTo>
                    <a:lnTo>
                      <a:pt x="199" y="926"/>
                    </a:lnTo>
                    <a:lnTo>
                      <a:pt x="182" y="935"/>
                    </a:lnTo>
                    <a:lnTo>
                      <a:pt x="90" y="942"/>
                    </a:lnTo>
                    <a:lnTo>
                      <a:pt x="69" y="947"/>
                    </a:lnTo>
                    <a:lnTo>
                      <a:pt x="59" y="947"/>
                    </a:lnTo>
                    <a:lnTo>
                      <a:pt x="69" y="942"/>
                    </a:lnTo>
                    <a:lnTo>
                      <a:pt x="52" y="942"/>
                    </a:lnTo>
                    <a:lnTo>
                      <a:pt x="59" y="893"/>
                    </a:lnTo>
                    <a:lnTo>
                      <a:pt x="69" y="893"/>
                    </a:lnTo>
                    <a:lnTo>
                      <a:pt x="69" y="864"/>
                    </a:lnTo>
                    <a:lnTo>
                      <a:pt x="90" y="848"/>
                    </a:lnTo>
                    <a:lnTo>
                      <a:pt x="97" y="848"/>
                    </a:lnTo>
                    <a:lnTo>
                      <a:pt x="97" y="836"/>
                    </a:lnTo>
                    <a:lnTo>
                      <a:pt x="114" y="831"/>
                    </a:lnTo>
                    <a:lnTo>
                      <a:pt x="140" y="831"/>
                    </a:lnTo>
                    <a:lnTo>
                      <a:pt x="161" y="831"/>
                    </a:lnTo>
                    <a:lnTo>
                      <a:pt x="166" y="791"/>
                    </a:lnTo>
                    <a:lnTo>
                      <a:pt x="177" y="791"/>
                    </a:lnTo>
                    <a:lnTo>
                      <a:pt x="166" y="775"/>
                    </a:lnTo>
                    <a:lnTo>
                      <a:pt x="140" y="782"/>
                    </a:lnTo>
                    <a:lnTo>
                      <a:pt x="140" y="770"/>
                    </a:lnTo>
                    <a:lnTo>
                      <a:pt x="140" y="704"/>
                    </a:lnTo>
                    <a:lnTo>
                      <a:pt x="123" y="704"/>
                    </a:lnTo>
                    <a:lnTo>
                      <a:pt x="107" y="687"/>
                    </a:lnTo>
                    <a:lnTo>
                      <a:pt x="76" y="683"/>
                    </a:lnTo>
                    <a:lnTo>
                      <a:pt x="52" y="666"/>
                    </a:lnTo>
                    <a:lnTo>
                      <a:pt x="31" y="616"/>
                    </a:lnTo>
                    <a:lnTo>
                      <a:pt x="0" y="576"/>
                    </a:lnTo>
                    <a:lnTo>
                      <a:pt x="114" y="609"/>
                    </a:lnTo>
                    <a:lnTo>
                      <a:pt x="166" y="609"/>
                    </a:lnTo>
                    <a:lnTo>
                      <a:pt x="166" y="609"/>
                    </a:lnTo>
                    <a:lnTo>
                      <a:pt x="166" y="609"/>
                    </a:lnTo>
                    <a:close/>
                    <a:moveTo>
                      <a:pt x="463" y="1030"/>
                    </a:moveTo>
                    <a:lnTo>
                      <a:pt x="463" y="1030"/>
                    </a:lnTo>
                    <a:lnTo>
                      <a:pt x="463" y="1030"/>
                    </a:lnTo>
                    <a:lnTo>
                      <a:pt x="463" y="1030"/>
                    </a:lnTo>
                    <a:lnTo>
                      <a:pt x="463" y="1030"/>
                    </a:lnTo>
                    <a:lnTo>
                      <a:pt x="463" y="103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4" name="Freeform 535">
                <a:extLst>
                  <a:ext uri="{FF2B5EF4-FFF2-40B4-BE49-F238E27FC236}">
                    <a16:creationId xmlns:a16="http://schemas.microsoft.com/office/drawing/2014/main" id="{96D48C19-F207-4C34-8570-CA8F812D766C}"/>
                  </a:ext>
                </a:extLst>
              </p:cNvPr>
              <p:cNvSpPr>
                <a:spLocks noEditPoints="1"/>
              </p:cNvSpPr>
              <p:nvPr/>
            </p:nvSpPr>
            <p:spPr bwMode="gray">
              <a:xfrm>
                <a:off x="10793949" y="4106233"/>
                <a:ext cx="434724" cy="305494"/>
              </a:xfrm>
              <a:custGeom>
                <a:avLst/>
                <a:gdLst>
                  <a:gd name="T0" fmla="*/ 616 w 1056"/>
                  <a:gd name="T1" fmla="*/ 17 h 742"/>
                  <a:gd name="T2" fmla="*/ 394 w 1056"/>
                  <a:gd name="T3" fmla="*/ 62 h 742"/>
                  <a:gd name="T4" fmla="*/ 482 w 1056"/>
                  <a:gd name="T5" fmla="*/ 71 h 742"/>
                  <a:gd name="T6" fmla="*/ 666 w 1056"/>
                  <a:gd name="T7" fmla="*/ 95 h 742"/>
                  <a:gd name="T8" fmla="*/ 666 w 1056"/>
                  <a:gd name="T9" fmla="*/ 95 h 742"/>
                  <a:gd name="T10" fmla="*/ 860 w 1056"/>
                  <a:gd name="T11" fmla="*/ 227 h 742"/>
                  <a:gd name="T12" fmla="*/ 789 w 1056"/>
                  <a:gd name="T13" fmla="*/ 149 h 742"/>
                  <a:gd name="T14" fmla="*/ 768 w 1056"/>
                  <a:gd name="T15" fmla="*/ 133 h 742"/>
                  <a:gd name="T16" fmla="*/ 9 w 1056"/>
                  <a:gd name="T17" fmla="*/ 393 h 742"/>
                  <a:gd name="T18" fmla="*/ 118 w 1056"/>
                  <a:gd name="T19" fmla="*/ 133 h 742"/>
                  <a:gd name="T20" fmla="*/ 253 w 1056"/>
                  <a:gd name="T21" fmla="*/ 189 h 742"/>
                  <a:gd name="T22" fmla="*/ 340 w 1056"/>
                  <a:gd name="T23" fmla="*/ 300 h 742"/>
                  <a:gd name="T24" fmla="*/ 470 w 1056"/>
                  <a:gd name="T25" fmla="*/ 388 h 742"/>
                  <a:gd name="T26" fmla="*/ 482 w 1056"/>
                  <a:gd name="T27" fmla="*/ 471 h 742"/>
                  <a:gd name="T28" fmla="*/ 595 w 1056"/>
                  <a:gd name="T29" fmla="*/ 560 h 742"/>
                  <a:gd name="T30" fmla="*/ 616 w 1056"/>
                  <a:gd name="T31" fmla="*/ 610 h 742"/>
                  <a:gd name="T32" fmla="*/ 666 w 1056"/>
                  <a:gd name="T33" fmla="*/ 648 h 742"/>
                  <a:gd name="T34" fmla="*/ 616 w 1056"/>
                  <a:gd name="T35" fmla="*/ 648 h 742"/>
                  <a:gd name="T36" fmla="*/ 470 w 1056"/>
                  <a:gd name="T37" fmla="*/ 626 h 742"/>
                  <a:gd name="T38" fmla="*/ 399 w 1056"/>
                  <a:gd name="T39" fmla="*/ 553 h 742"/>
                  <a:gd name="T40" fmla="*/ 253 w 1056"/>
                  <a:gd name="T41" fmla="*/ 449 h 742"/>
                  <a:gd name="T42" fmla="*/ 238 w 1056"/>
                  <a:gd name="T43" fmla="*/ 449 h 742"/>
                  <a:gd name="T44" fmla="*/ 172 w 1056"/>
                  <a:gd name="T45" fmla="*/ 471 h 742"/>
                  <a:gd name="T46" fmla="*/ 101 w 1056"/>
                  <a:gd name="T47" fmla="*/ 487 h 742"/>
                  <a:gd name="T48" fmla="*/ 177 w 1056"/>
                  <a:gd name="T49" fmla="*/ 537 h 742"/>
                  <a:gd name="T50" fmla="*/ 47 w 1056"/>
                  <a:gd name="T51" fmla="*/ 570 h 742"/>
                  <a:gd name="T52" fmla="*/ 775 w 1056"/>
                  <a:gd name="T53" fmla="*/ 100 h 742"/>
                  <a:gd name="T54" fmla="*/ 697 w 1056"/>
                  <a:gd name="T55" fmla="*/ 116 h 742"/>
                  <a:gd name="T56" fmla="*/ 827 w 1056"/>
                  <a:gd name="T57" fmla="*/ 133 h 742"/>
                  <a:gd name="T58" fmla="*/ 897 w 1056"/>
                  <a:gd name="T59" fmla="*/ 194 h 742"/>
                  <a:gd name="T60" fmla="*/ 687 w 1056"/>
                  <a:gd name="T61" fmla="*/ 338 h 742"/>
                  <a:gd name="T62" fmla="*/ 553 w 1056"/>
                  <a:gd name="T63" fmla="*/ 322 h 742"/>
                  <a:gd name="T64" fmla="*/ 633 w 1056"/>
                  <a:gd name="T65" fmla="*/ 300 h 742"/>
                  <a:gd name="T66" fmla="*/ 642 w 1056"/>
                  <a:gd name="T67" fmla="*/ 284 h 742"/>
                  <a:gd name="T68" fmla="*/ 730 w 1056"/>
                  <a:gd name="T69" fmla="*/ 260 h 742"/>
                  <a:gd name="T70" fmla="*/ 789 w 1056"/>
                  <a:gd name="T71" fmla="*/ 211 h 742"/>
                  <a:gd name="T72" fmla="*/ 789 w 1056"/>
                  <a:gd name="T73" fmla="*/ 284 h 742"/>
                  <a:gd name="T74" fmla="*/ 687 w 1056"/>
                  <a:gd name="T75" fmla="*/ 338 h 742"/>
                  <a:gd name="T76" fmla="*/ 357 w 1056"/>
                  <a:gd name="T77" fmla="*/ 244 h 742"/>
                  <a:gd name="T78" fmla="*/ 612 w 1056"/>
                  <a:gd name="T79" fmla="*/ 244 h 742"/>
                  <a:gd name="T80" fmla="*/ 973 w 1056"/>
                  <a:gd name="T81" fmla="*/ 277 h 742"/>
                  <a:gd name="T82" fmla="*/ 432 w 1056"/>
                  <a:gd name="T83" fmla="*/ 277 h 742"/>
                  <a:gd name="T84" fmla="*/ 1023 w 1056"/>
                  <a:gd name="T85" fmla="*/ 350 h 742"/>
                  <a:gd name="T86" fmla="*/ 1006 w 1056"/>
                  <a:gd name="T87" fmla="*/ 371 h 742"/>
                  <a:gd name="T88" fmla="*/ 1006 w 1056"/>
                  <a:gd name="T89" fmla="*/ 322 h 742"/>
                  <a:gd name="T90" fmla="*/ 482 w 1056"/>
                  <a:gd name="T91" fmla="*/ 300 h 742"/>
                  <a:gd name="T92" fmla="*/ 194 w 1056"/>
                  <a:gd name="T93" fmla="*/ 482 h 742"/>
                  <a:gd name="T94" fmla="*/ 194 w 1056"/>
                  <a:gd name="T95" fmla="*/ 487 h 742"/>
                  <a:gd name="T96" fmla="*/ 172 w 1056"/>
                  <a:gd name="T97" fmla="*/ 504 h 742"/>
                  <a:gd name="T98" fmla="*/ 163 w 1056"/>
                  <a:gd name="T99" fmla="*/ 504 h 742"/>
                  <a:gd name="T100" fmla="*/ 713 w 1056"/>
                  <a:gd name="T101" fmla="*/ 515 h 742"/>
                  <a:gd name="T102" fmla="*/ 812 w 1056"/>
                  <a:gd name="T103" fmla="*/ 553 h 742"/>
                  <a:gd name="T104" fmla="*/ 666 w 1056"/>
                  <a:gd name="T105" fmla="*/ 582 h 742"/>
                  <a:gd name="T106" fmla="*/ 666 w 1056"/>
                  <a:gd name="T107" fmla="*/ 582 h 742"/>
                  <a:gd name="T108" fmla="*/ 697 w 1056"/>
                  <a:gd name="T109" fmla="*/ 598 h 742"/>
                  <a:gd name="T110" fmla="*/ 720 w 1056"/>
                  <a:gd name="T111" fmla="*/ 626 h 742"/>
                  <a:gd name="T112" fmla="*/ 697 w 1056"/>
                  <a:gd name="T113" fmla="*/ 671 h 742"/>
                  <a:gd name="T114" fmla="*/ 704 w 1056"/>
                  <a:gd name="T115" fmla="*/ 671 h 742"/>
                  <a:gd name="T116" fmla="*/ 704 w 1056"/>
                  <a:gd name="T117" fmla="*/ 671 h 742"/>
                  <a:gd name="T118" fmla="*/ 838 w 1056"/>
                  <a:gd name="T119" fmla="*/ 671 h 742"/>
                  <a:gd name="T120" fmla="*/ 864 w 1056"/>
                  <a:gd name="T121" fmla="*/ 721 h 742"/>
                  <a:gd name="T122" fmla="*/ 931 w 1056"/>
                  <a:gd name="T123" fmla="*/ 726 h 742"/>
                  <a:gd name="T124" fmla="*/ 893 w 1056"/>
                  <a:gd name="T125" fmla="*/ 74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6" h="742">
                    <a:moveTo>
                      <a:pt x="616" y="17"/>
                    </a:moveTo>
                    <a:lnTo>
                      <a:pt x="605" y="5"/>
                    </a:lnTo>
                    <a:lnTo>
                      <a:pt x="612" y="0"/>
                    </a:lnTo>
                    <a:lnTo>
                      <a:pt x="616" y="5"/>
                    </a:lnTo>
                    <a:lnTo>
                      <a:pt x="628" y="17"/>
                    </a:lnTo>
                    <a:lnTo>
                      <a:pt x="616" y="17"/>
                    </a:lnTo>
                    <a:lnTo>
                      <a:pt x="616" y="17"/>
                    </a:lnTo>
                    <a:lnTo>
                      <a:pt x="616" y="17"/>
                    </a:lnTo>
                    <a:close/>
                    <a:moveTo>
                      <a:pt x="453" y="38"/>
                    </a:moveTo>
                    <a:lnTo>
                      <a:pt x="453" y="45"/>
                    </a:lnTo>
                    <a:lnTo>
                      <a:pt x="444" y="62"/>
                    </a:lnTo>
                    <a:lnTo>
                      <a:pt x="394" y="62"/>
                    </a:lnTo>
                    <a:lnTo>
                      <a:pt x="399" y="45"/>
                    </a:lnTo>
                    <a:lnTo>
                      <a:pt x="453" y="45"/>
                    </a:lnTo>
                    <a:lnTo>
                      <a:pt x="453" y="38"/>
                    </a:lnTo>
                    <a:lnTo>
                      <a:pt x="453" y="38"/>
                    </a:lnTo>
                    <a:lnTo>
                      <a:pt x="453" y="38"/>
                    </a:lnTo>
                    <a:close/>
                    <a:moveTo>
                      <a:pt x="482" y="71"/>
                    </a:moveTo>
                    <a:lnTo>
                      <a:pt x="486" y="62"/>
                    </a:lnTo>
                    <a:lnTo>
                      <a:pt x="486" y="62"/>
                    </a:lnTo>
                    <a:lnTo>
                      <a:pt x="482" y="71"/>
                    </a:lnTo>
                    <a:lnTo>
                      <a:pt x="482" y="71"/>
                    </a:lnTo>
                    <a:lnTo>
                      <a:pt x="482" y="71"/>
                    </a:lnTo>
                    <a:close/>
                    <a:moveTo>
                      <a:pt x="666" y="95"/>
                    </a:moveTo>
                    <a:lnTo>
                      <a:pt x="649" y="95"/>
                    </a:lnTo>
                    <a:lnTo>
                      <a:pt x="633" y="78"/>
                    </a:lnTo>
                    <a:lnTo>
                      <a:pt x="659" y="71"/>
                    </a:lnTo>
                    <a:lnTo>
                      <a:pt x="666" y="78"/>
                    </a:lnTo>
                    <a:lnTo>
                      <a:pt x="671" y="95"/>
                    </a:lnTo>
                    <a:lnTo>
                      <a:pt x="666" y="95"/>
                    </a:lnTo>
                    <a:lnTo>
                      <a:pt x="666" y="95"/>
                    </a:lnTo>
                    <a:lnTo>
                      <a:pt x="666" y="95"/>
                    </a:lnTo>
                    <a:close/>
                    <a:moveTo>
                      <a:pt x="827" y="182"/>
                    </a:moveTo>
                    <a:lnTo>
                      <a:pt x="860" y="206"/>
                    </a:lnTo>
                    <a:lnTo>
                      <a:pt x="850" y="223"/>
                    </a:lnTo>
                    <a:lnTo>
                      <a:pt x="860" y="227"/>
                    </a:lnTo>
                    <a:lnTo>
                      <a:pt x="843" y="244"/>
                    </a:lnTo>
                    <a:lnTo>
                      <a:pt x="838" y="239"/>
                    </a:lnTo>
                    <a:lnTo>
                      <a:pt x="827" y="223"/>
                    </a:lnTo>
                    <a:lnTo>
                      <a:pt x="827" y="206"/>
                    </a:lnTo>
                    <a:lnTo>
                      <a:pt x="805" y="166"/>
                    </a:lnTo>
                    <a:lnTo>
                      <a:pt x="789" y="149"/>
                    </a:lnTo>
                    <a:lnTo>
                      <a:pt x="775" y="149"/>
                    </a:lnTo>
                    <a:lnTo>
                      <a:pt x="720" y="100"/>
                    </a:lnTo>
                    <a:lnTo>
                      <a:pt x="687" y="100"/>
                    </a:lnTo>
                    <a:lnTo>
                      <a:pt x="704" y="95"/>
                    </a:lnTo>
                    <a:lnTo>
                      <a:pt x="697" y="83"/>
                    </a:lnTo>
                    <a:lnTo>
                      <a:pt x="768" y="133"/>
                    </a:lnTo>
                    <a:lnTo>
                      <a:pt x="784" y="133"/>
                    </a:lnTo>
                    <a:lnTo>
                      <a:pt x="827" y="182"/>
                    </a:lnTo>
                    <a:lnTo>
                      <a:pt x="827" y="182"/>
                    </a:lnTo>
                    <a:lnTo>
                      <a:pt x="827" y="182"/>
                    </a:lnTo>
                    <a:close/>
                    <a:moveTo>
                      <a:pt x="9" y="560"/>
                    </a:moveTo>
                    <a:lnTo>
                      <a:pt x="9" y="393"/>
                    </a:lnTo>
                    <a:lnTo>
                      <a:pt x="0" y="393"/>
                    </a:lnTo>
                    <a:lnTo>
                      <a:pt x="0" y="376"/>
                    </a:lnTo>
                    <a:lnTo>
                      <a:pt x="9" y="355"/>
                    </a:lnTo>
                    <a:lnTo>
                      <a:pt x="9" y="83"/>
                    </a:lnTo>
                    <a:lnTo>
                      <a:pt x="21" y="83"/>
                    </a:lnTo>
                    <a:lnTo>
                      <a:pt x="118" y="133"/>
                    </a:lnTo>
                    <a:lnTo>
                      <a:pt x="184" y="149"/>
                    </a:lnTo>
                    <a:lnTo>
                      <a:pt x="215" y="173"/>
                    </a:lnTo>
                    <a:lnTo>
                      <a:pt x="231" y="182"/>
                    </a:lnTo>
                    <a:lnTo>
                      <a:pt x="238" y="173"/>
                    </a:lnTo>
                    <a:lnTo>
                      <a:pt x="253" y="173"/>
                    </a:lnTo>
                    <a:lnTo>
                      <a:pt x="253" y="189"/>
                    </a:lnTo>
                    <a:lnTo>
                      <a:pt x="281" y="194"/>
                    </a:lnTo>
                    <a:lnTo>
                      <a:pt x="293" y="211"/>
                    </a:lnTo>
                    <a:lnTo>
                      <a:pt x="307" y="223"/>
                    </a:lnTo>
                    <a:lnTo>
                      <a:pt x="340" y="244"/>
                    </a:lnTo>
                    <a:lnTo>
                      <a:pt x="345" y="265"/>
                    </a:lnTo>
                    <a:lnTo>
                      <a:pt x="340" y="300"/>
                    </a:lnTo>
                    <a:lnTo>
                      <a:pt x="394" y="305"/>
                    </a:lnTo>
                    <a:lnTo>
                      <a:pt x="432" y="334"/>
                    </a:lnTo>
                    <a:lnTo>
                      <a:pt x="465" y="334"/>
                    </a:lnTo>
                    <a:lnTo>
                      <a:pt x="486" y="355"/>
                    </a:lnTo>
                    <a:lnTo>
                      <a:pt x="486" y="376"/>
                    </a:lnTo>
                    <a:lnTo>
                      <a:pt x="470" y="388"/>
                    </a:lnTo>
                    <a:lnTo>
                      <a:pt x="427" y="388"/>
                    </a:lnTo>
                    <a:lnTo>
                      <a:pt x="427" y="404"/>
                    </a:lnTo>
                    <a:lnTo>
                      <a:pt x="444" y="416"/>
                    </a:lnTo>
                    <a:lnTo>
                      <a:pt x="444" y="445"/>
                    </a:lnTo>
                    <a:lnTo>
                      <a:pt x="465" y="449"/>
                    </a:lnTo>
                    <a:lnTo>
                      <a:pt x="482" y="471"/>
                    </a:lnTo>
                    <a:lnTo>
                      <a:pt x="508" y="482"/>
                    </a:lnTo>
                    <a:lnTo>
                      <a:pt x="519" y="520"/>
                    </a:lnTo>
                    <a:lnTo>
                      <a:pt x="524" y="527"/>
                    </a:lnTo>
                    <a:lnTo>
                      <a:pt x="541" y="553"/>
                    </a:lnTo>
                    <a:lnTo>
                      <a:pt x="590" y="553"/>
                    </a:lnTo>
                    <a:lnTo>
                      <a:pt x="595" y="560"/>
                    </a:lnTo>
                    <a:lnTo>
                      <a:pt x="579" y="577"/>
                    </a:lnTo>
                    <a:lnTo>
                      <a:pt x="590" y="582"/>
                    </a:lnTo>
                    <a:lnTo>
                      <a:pt x="605" y="593"/>
                    </a:lnTo>
                    <a:lnTo>
                      <a:pt x="642" y="593"/>
                    </a:lnTo>
                    <a:lnTo>
                      <a:pt x="642" y="598"/>
                    </a:lnTo>
                    <a:lnTo>
                      <a:pt x="616" y="610"/>
                    </a:lnTo>
                    <a:lnTo>
                      <a:pt x="633" y="626"/>
                    </a:lnTo>
                    <a:lnTo>
                      <a:pt x="682" y="638"/>
                    </a:lnTo>
                    <a:lnTo>
                      <a:pt x="704" y="638"/>
                    </a:lnTo>
                    <a:lnTo>
                      <a:pt x="682" y="648"/>
                    </a:lnTo>
                    <a:lnTo>
                      <a:pt x="666" y="648"/>
                    </a:lnTo>
                    <a:lnTo>
                      <a:pt x="666" y="648"/>
                    </a:lnTo>
                    <a:lnTo>
                      <a:pt x="687" y="655"/>
                    </a:lnTo>
                    <a:lnTo>
                      <a:pt x="687" y="664"/>
                    </a:lnTo>
                    <a:lnTo>
                      <a:pt x="659" y="671"/>
                    </a:lnTo>
                    <a:lnTo>
                      <a:pt x="628" y="664"/>
                    </a:lnTo>
                    <a:lnTo>
                      <a:pt x="642" y="655"/>
                    </a:lnTo>
                    <a:lnTo>
                      <a:pt x="616" y="648"/>
                    </a:lnTo>
                    <a:lnTo>
                      <a:pt x="562" y="638"/>
                    </a:lnTo>
                    <a:lnTo>
                      <a:pt x="553" y="631"/>
                    </a:lnTo>
                    <a:lnTo>
                      <a:pt x="524" y="638"/>
                    </a:lnTo>
                    <a:lnTo>
                      <a:pt x="508" y="631"/>
                    </a:lnTo>
                    <a:lnTo>
                      <a:pt x="498" y="631"/>
                    </a:lnTo>
                    <a:lnTo>
                      <a:pt x="470" y="626"/>
                    </a:lnTo>
                    <a:lnTo>
                      <a:pt x="449" y="593"/>
                    </a:lnTo>
                    <a:lnTo>
                      <a:pt x="432" y="582"/>
                    </a:lnTo>
                    <a:lnTo>
                      <a:pt x="416" y="570"/>
                    </a:lnTo>
                    <a:lnTo>
                      <a:pt x="427" y="553"/>
                    </a:lnTo>
                    <a:lnTo>
                      <a:pt x="427" y="560"/>
                    </a:lnTo>
                    <a:lnTo>
                      <a:pt x="399" y="553"/>
                    </a:lnTo>
                    <a:lnTo>
                      <a:pt x="394" y="537"/>
                    </a:lnTo>
                    <a:lnTo>
                      <a:pt x="361" y="482"/>
                    </a:lnTo>
                    <a:lnTo>
                      <a:pt x="281" y="466"/>
                    </a:lnTo>
                    <a:lnTo>
                      <a:pt x="281" y="449"/>
                    </a:lnTo>
                    <a:lnTo>
                      <a:pt x="281" y="461"/>
                    </a:lnTo>
                    <a:lnTo>
                      <a:pt x="253" y="449"/>
                    </a:lnTo>
                    <a:lnTo>
                      <a:pt x="253" y="445"/>
                    </a:lnTo>
                    <a:lnTo>
                      <a:pt x="253" y="449"/>
                    </a:lnTo>
                    <a:lnTo>
                      <a:pt x="248" y="445"/>
                    </a:lnTo>
                    <a:lnTo>
                      <a:pt x="248" y="461"/>
                    </a:lnTo>
                    <a:lnTo>
                      <a:pt x="238" y="461"/>
                    </a:lnTo>
                    <a:lnTo>
                      <a:pt x="238" y="449"/>
                    </a:lnTo>
                    <a:lnTo>
                      <a:pt x="231" y="466"/>
                    </a:lnTo>
                    <a:lnTo>
                      <a:pt x="210" y="461"/>
                    </a:lnTo>
                    <a:lnTo>
                      <a:pt x="194" y="445"/>
                    </a:lnTo>
                    <a:lnTo>
                      <a:pt x="215" y="471"/>
                    </a:lnTo>
                    <a:lnTo>
                      <a:pt x="201" y="482"/>
                    </a:lnTo>
                    <a:lnTo>
                      <a:pt x="172" y="471"/>
                    </a:lnTo>
                    <a:lnTo>
                      <a:pt x="184" y="482"/>
                    </a:lnTo>
                    <a:lnTo>
                      <a:pt x="194" y="499"/>
                    </a:lnTo>
                    <a:lnTo>
                      <a:pt x="146" y="504"/>
                    </a:lnTo>
                    <a:lnTo>
                      <a:pt x="123" y="499"/>
                    </a:lnTo>
                    <a:lnTo>
                      <a:pt x="108" y="504"/>
                    </a:lnTo>
                    <a:lnTo>
                      <a:pt x="101" y="487"/>
                    </a:lnTo>
                    <a:lnTo>
                      <a:pt x="85" y="499"/>
                    </a:lnTo>
                    <a:lnTo>
                      <a:pt x="101" y="487"/>
                    </a:lnTo>
                    <a:lnTo>
                      <a:pt x="108" y="504"/>
                    </a:lnTo>
                    <a:lnTo>
                      <a:pt x="130" y="499"/>
                    </a:lnTo>
                    <a:lnTo>
                      <a:pt x="156" y="515"/>
                    </a:lnTo>
                    <a:lnTo>
                      <a:pt x="177" y="537"/>
                    </a:lnTo>
                    <a:lnTo>
                      <a:pt x="177" y="544"/>
                    </a:lnTo>
                    <a:lnTo>
                      <a:pt x="172" y="553"/>
                    </a:lnTo>
                    <a:lnTo>
                      <a:pt x="146" y="553"/>
                    </a:lnTo>
                    <a:lnTo>
                      <a:pt x="123" y="577"/>
                    </a:lnTo>
                    <a:lnTo>
                      <a:pt x="92" y="560"/>
                    </a:lnTo>
                    <a:lnTo>
                      <a:pt x="47" y="570"/>
                    </a:lnTo>
                    <a:lnTo>
                      <a:pt x="33" y="560"/>
                    </a:lnTo>
                    <a:lnTo>
                      <a:pt x="16" y="570"/>
                    </a:lnTo>
                    <a:lnTo>
                      <a:pt x="9" y="560"/>
                    </a:lnTo>
                    <a:lnTo>
                      <a:pt x="9" y="560"/>
                    </a:lnTo>
                    <a:lnTo>
                      <a:pt x="9" y="560"/>
                    </a:lnTo>
                    <a:close/>
                    <a:moveTo>
                      <a:pt x="775" y="100"/>
                    </a:moveTo>
                    <a:lnTo>
                      <a:pt x="775" y="95"/>
                    </a:lnTo>
                    <a:lnTo>
                      <a:pt x="784" y="100"/>
                    </a:lnTo>
                    <a:lnTo>
                      <a:pt x="775" y="100"/>
                    </a:lnTo>
                    <a:lnTo>
                      <a:pt x="775" y="100"/>
                    </a:lnTo>
                    <a:lnTo>
                      <a:pt x="775" y="100"/>
                    </a:lnTo>
                    <a:close/>
                    <a:moveTo>
                      <a:pt x="697" y="116"/>
                    </a:moveTo>
                    <a:lnTo>
                      <a:pt x="704" y="112"/>
                    </a:lnTo>
                    <a:lnTo>
                      <a:pt x="713" y="116"/>
                    </a:lnTo>
                    <a:lnTo>
                      <a:pt x="697" y="116"/>
                    </a:lnTo>
                    <a:lnTo>
                      <a:pt x="697" y="116"/>
                    </a:lnTo>
                    <a:lnTo>
                      <a:pt x="697" y="116"/>
                    </a:lnTo>
                    <a:close/>
                    <a:moveTo>
                      <a:pt x="827" y="133"/>
                    </a:moveTo>
                    <a:lnTo>
                      <a:pt x="822" y="128"/>
                    </a:lnTo>
                    <a:lnTo>
                      <a:pt x="827" y="116"/>
                    </a:lnTo>
                    <a:lnTo>
                      <a:pt x="827" y="133"/>
                    </a:lnTo>
                    <a:lnTo>
                      <a:pt x="827" y="133"/>
                    </a:lnTo>
                    <a:lnTo>
                      <a:pt x="827" y="133"/>
                    </a:lnTo>
                    <a:close/>
                    <a:moveTo>
                      <a:pt x="897" y="194"/>
                    </a:moveTo>
                    <a:lnTo>
                      <a:pt x="893" y="194"/>
                    </a:lnTo>
                    <a:lnTo>
                      <a:pt x="897" y="189"/>
                    </a:lnTo>
                    <a:lnTo>
                      <a:pt x="897" y="194"/>
                    </a:lnTo>
                    <a:lnTo>
                      <a:pt x="897" y="194"/>
                    </a:lnTo>
                    <a:lnTo>
                      <a:pt x="897" y="194"/>
                    </a:lnTo>
                    <a:close/>
                    <a:moveTo>
                      <a:pt x="687" y="338"/>
                    </a:moveTo>
                    <a:lnTo>
                      <a:pt x="666" y="355"/>
                    </a:lnTo>
                    <a:lnTo>
                      <a:pt x="612" y="355"/>
                    </a:lnTo>
                    <a:lnTo>
                      <a:pt x="595" y="338"/>
                    </a:lnTo>
                    <a:lnTo>
                      <a:pt x="574" y="350"/>
                    </a:lnTo>
                    <a:lnTo>
                      <a:pt x="574" y="338"/>
                    </a:lnTo>
                    <a:lnTo>
                      <a:pt x="553" y="322"/>
                    </a:lnTo>
                    <a:lnTo>
                      <a:pt x="524" y="317"/>
                    </a:lnTo>
                    <a:lnTo>
                      <a:pt x="519" y="305"/>
                    </a:lnTo>
                    <a:lnTo>
                      <a:pt x="524" y="293"/>
                    </a:lnTo>
                    <a:lnTo>
                      <a:pt x="562" y="293"/>
                    </a:lnTo>
                    <a:lnTo>
                      <a:pt x="590" y="305"/>
                    </a:lnTo>
                    <a:lnTo>
                      <a:pt x="633" y="300"/>
                    </a:lnTo>
                    <a:lnTo>
                      <a:pt x="633" y="293"/>
                    </a:lnTo>
                    <a:lnTo>
                      <a:pt x="633" y="284"/>
                    </a:lnTo>
                    <a:lnTo>
                      <a:pt x="642" y="260"/>
                    </a:lnTo>
                    <a:lnTo>
                      <a:pt x="659" y="265"/>
                    </a:lnTo>
                    <a:lnTo>
                      <a:pt x="642" y="265"/>
                    </a:lnTo>
                    <a:lnTo>
                      <a:pt x="642" y="284"/>
                    </a:lnTo>
                    <a:lnTo>
                      <a:pt x="649" y="300"/>
                    </a:lnTo>
                    <a:lnTo>
                      <a:pt x="659" y="300"/>
                    </a:lnTo>
                    <a:lnTo>
                      <a:pt x="671" y="293"/>
                    </a:lnTo>
                    <a:lnTo>
                      <a:pt x="682" y="300"/>
                    </a:lnTo>
                    <a:lnTo>
                      <a:pt x="704" y="300"/>
                    </a:lnTo>
                    <a:lnTo>
                      <a:pt x="730" y="260"/>
                    </a:lnTo>
                    <a:lnTo>
                      <a:pt x="758" y="249"/>
                    </a:lnTo>
                    <a:lnTo>
                      <a:pt x="742" y="206"/>
                    </a:lnTo>
                    <a:lnTo>
                      <a:pt x="768" y="206"/>
                    </a:lnTo>
                    <a:lnTo>
                      <a:pt x="784" y="211"/>
                    </a:lnTo>
                    <a:lnTo>
                      <a:pt x="796" y="206"/>
                    </a:lnTo>
                    <a:lnTo>
                      <a:pt x="789" y="211"/>
                    </a:lnTo>
                    <a:lnTo>
                      <a:pt x="805" y="211"/>
                    </a:lnTo>
                    <a:lnTo>
                      <a:pt x="812" y="239"/>
                    </a:lnTo>
                    <a:lnTo>
                      <a:pt x="796" y="260"/>
                    </a:lnTo>
                    <a:lnTo>
                      <a:pt x="784" y="260"/>
                    </a:lnTo>
                    <a:lnTo>
                      <a:pt x="784" y="277"/>
                    </a:lnTo>
                    <a:lnTo>
                      <a:pt x="789" y="284"/>
                    </a:lnTo>
                    <a:lnTo>
                      <a:pt x="789" y="293"/>
                    </a:lnTo>
                    <a:lnTo>
                      <a:pt x="768" y="305"/>
                    </a:lnTo>
                    <a:lnTo>
                      <a:pt x="742" y="300"/>
                    </a:lnTo>
                    <a:lnTo>
                      <a:pt x="734" y="317"/>
                    </a:lnTo>
                    <a:lnTo>
                      <a:pt x="687" y="338"/>
                    </a:lnTo>
                    <a:lnTo>
                      <a:pt x="687" y="338"/>
                    </a:lnTo>
                    <a:lnTo>
                      <a:pt x="687" y="338"/>
                    </a:lnTo>
                    <a:close/>
                    <a:moveTo>
                      <a:pt x="357" y="244"/>
                    </a:moveTo>
                    <a:lnTo>
                      <a:pt x="345" y="239"/>
                    </a:lnTo>
                    <a:lnTo>
                      <a:pt x="357" y="227"/>
                    </a:lnTo>
                    <a:lnTo>
                      <a:pt x="361" y="239"/>
                    </a:lnTo>
                    <a:lnTo>
                      <a:pt x="357" y="244"/>
                    </a:lnTo>
                    <a:lnTo>
                      <a:pt x="357" y="244"/>
                    </a:lnTo>
                    <a:lnTo>
                      <a:pt x="357" y="244"/>
                    </a:lnTo>
                    <a:close/>
                    <a:moveTo>
                      <a:pt x="612" y="244"/>
                    </a:moveTo>
                    <a:lnTo>
                      <a:pt x="605" y="239"/>
                    </a:lnTo>
                    <a:lnTo>
                      <a:pt x="605" y="239"/>
                    </a:lnTo>
                    <a:lnTo>
                      <a:pt x="612" y="244"/>
                    </a:lnTo>
                    <a:lnTo>
                      <a:pt x="612" y="244"/>
                    </a:lnTo>
                    <a:lnTo>
                      <a:pt x="612" y="244"/>
                    </a:lnTo>
                    <a:close/>
                    <a:moveTo>
                      <a:pt x="968" y="293"/>
                    </a:moveTo>
                    <a:lnTo>
                      <a:pt x="956" y="265"/>
                    </a:lnTo>
                    <a:lnTo>
                      <a:pt x="968" y="260"/>
                    </a:lnTo>
                    <a:lnTo>
                      <a:pt x="973" y="277"/>
                    </a:lnTo>
                    <a:lnTo>
                      <a:pt x="968" y="293"/>
                    </a:lnTo>
                    <a:lnTo>
                      <a:pt x="968" y="293"/>
                    </a:lnTo>
                    <a:lnTo>
                      <a:pt x="968" y="293"/>
                    </a:lnTo>
                    <a:close/>
                    <a:moveTo>
                      <a:pt x="444" y="293"/>
                    </a:moveTo>
                    <a:lnTo>
                      <a:pt x="427" y="284"/>
                    </a:lnTo>
                    <a:lnTo>
                      <a:pt x="432" y="277"/>
                    </a:lnTo>
                    <a:lnTo>
                      <a:pt x="444" y="284"/>
                    </a:lnTo>
                    <a:lnTo>
                      <a:pt x="444" y="293"/>
                    </a:lnTo>
                    <a:lnTo>
                      <a:pt x="444" y="293"/>
                    </a:lnTo>
                    <a:lnTo>
                      <a:pt x="444" y="293"/>
                    </a:lnTo>
                    <a:close/>
                    <a:moveTo>
                      <a:pt x="1023" y="334"/>
                    </a:moveTo>
                    <a:lnTo>
                      <a:pt x="1023" y="350"/>
                    </a:lnTo>
                    <a:lnTo>
                      <a:pt x="1056" y="371"/>
                    </a:lnTo>
                    <a:lnTo>
                      <a:pt x="1056" y="393"/>
                    </a:lnTo>
                    <a:lnTo>
                      <a:pt x="1056" y="388"/>
                    </a:lnTo>
                    <a:lnTo>
                      <a:pt x="1039" y="393"/>
                    </a:lnTo>
                    <a:lnTo>
                      <a:pt x="1011" y="388"/>
                    </a:lnTo>
                    <a:lnTo>
                      <a:pt x="1006" y="371"/>
                    </a:lnTo>
                    <a:lnTo>
                      <a:pt x="1006" y="355"/>
                    </a:lnTo>
                    <a:lnTo>
                      <a:pt x="990" y="350"/>
                    </a:lnTo>
                    <a:lnTo>
                      <a:pt x="973" y="334"/>
                    </a:lnTo>
                    <a:lnTo>
                      <a:pt x="973" y="300"/>
                    </a:lnTo>
                    <a:lnTo>
                      <a:pt x="1001" y="300"/>
                    </a:lnTo>
                    <a:lnTo>
                      <a:pt x="1006" y="322"/>
                    </a:lnTo>
                    <a:lnTo>
                      <a:pt x="1023" y="334"/>
                    </a:lnTo>
                    <a:lnTo>
                      <a:pt x="1023" y="334"/>
                    </a:lnTo>
                    <a:lnTo>
                      <a:pt x="1023" y="334"/>
                    </a:lnTo>
                    <a:close/>
                    <a:moveTo>
                      <a:pt x="498" y="322"/>
                    </a:moveTo>
                    <a:lnTo>
                      <a:pt x="482" y="305"/>
                    </a:lnTo>
                    <a:lnTo>
                      <a:pt x="482" y="300"/>
                    </a:lnTo>
                    <a:lnTo>
                      <a:pt x="503" y="305"/>
                    </a:lnTo>
                    <a:lnTo>
                      <a:pt x="498" y="322"/>
                    </a:lnTo>
                    <a:lnTo>
                      <a:pt x="498" y="322"/>
                    </a:lnTo>
                    <a:lnTo>
                      <a:pt x="498" y="322"/>
                    </a:lnTo>
                    <a:close/>
                    <a:moveTo>
                      <a:pt x="194" y="487"/>
                    </a:moveTo>
                    <a:lnTo>
                      <a:pt x="194" y="482"/>
                    </a:lnTo>
                    <a:lnTo>
                      <a:pt x="194" y="487"/>
                    </a:lnTo>
                    <a:lnTo>
                      <a:pt x="194" y="487"/>
                    </a:lnTo>
                    <a:lnTo>
                      <a:pt x="194" y="487"/>
                    </a:lnTo>
                    <a:lnTo>
                      <a:pt x="194" y="487"/>
                    </a:lnTo>
                    <a:close/>
                    <a:moveTo>
                      <a:pt x="194" y="499"/>
                    </a:moveTo>
                    <a:lnTo>
                      <a:pt x="194" y="487"/>
                    </a:lnTo>
                    <a:lnTo>
                      <a:pt x="201" y="487"/>
                    </a:lnTo>
                    <a:lnTo>
                      <a:pt x="194" y="499"/>
                    </a:lnTo>
                    <a:lnTo>
                      <a:pt x="194" y="499"/>
                    </a:lnTo>
                    <a:lnTo>
                      <a:pt x="194" y="499"/>
                    </a:lnTo>
                    <a:close/>
                    <a:moveTo>
                      <a:pt x="184" y="515"/>
                    </a:moveTo>
                    <a:lnTo>
                      <a:pt x="172" y="504"/>
                    </a:lnTo>
                    <a:lnTo>
                      <a:pt x="184" y="504"/>
                    </a:lnTo>
                    <a:lnTo>
                      <a:pt x="184" y="515"/>
                    </a:lnTo>
                    <a:lnTo>
                      <a:pt x="184" y="515"/>
                    </a:lnTo>
                    <a:lnTo>
                      <a:pt x="184" y="515"/>
                    </a:lnTo>
                    <a:close/>
                    <a:moveTo>
                      <a:pt x="194" y="527"/>
                    </a:moveTo>
                    <a:lnTo>
                      <a:pt x="163" y="504"/>
                    </a:lnTo>
                    <a:lnTo>
                      <a:pt x="177" y="515"/>
                    </a:lnTo>
                    <a:lnTo>
                      <a:pt x="194" y="527"/>
                    </a:lnTo>
                    <a:lnTo>
                      <a:pt x="194" y="527"/>
                    </a:lnTo>
                    <a:lnTo>
                      <a:pt x="194" y="527"/>
                    </a:lnTo>
                    <a:close/>
                    <a:moveTo>
                      <a:pt x="720" y="537"/>
                    </a:moveTo>
                    <a:lnTo>
                      <a:pt x="713" y="515"/>
                    </a:lnTo>
                    <a:lnTo>
                      <a:pt x="720" y="504"/>
                    </a:lnTo>
                    <a:lnTo>
                      <a:pt x="720" y="537"/>
                    </a:lnTo>
                    <a:lnTo>
                      <a:pt x="720" y="537"/>
                    </a:lnTo>
                    <a:lnTo>
                      <a:pt x="720" y="537"/>
                    </a:lnTo>
                    <a:close/>
                    <a:moveTo>
                      <a:pt x="838" y="570"/>
                    </a:moveTo>
                    <a:lnTo>
                      <a:pt x="812" y="553"/>
                    </a:lnTo>
                    <a:lnTo>
                      <a:pt x="838" y="544"/>
                    </a:lnTo>
                    <a:lnTo>
                      <a:pt x="850" y="560"/>
                    </a:lnTo>
                    <a:lnTo>
                      <a:pt x="838" y="570"/>
                    </a:lnTo>
                    <a:lnTo>
                      <a:pt x="838" y="570"/>
                    </a:lnTo>
                    <a:lnTo>
                      <a:pt x="838" y="570"/>
                    </a:lnTo>
                    <a:close/>
                    <a:moveTo>
                      <a:pt x="666" y="582"/>
                    </a:moveTo>
                    <a:lnTo>
                      <a:pt x="649" y="577"/>
                    </a:lnTo>
                    <a:lnTo>
                      <a:pt x="649" y="570"/>
                    </a:lnTo>
                    <a:lnTo>
                      <a:pt x="666" y="570"/>
                    </a:lnTo>
                    <a:lnTo>
                      <a:pt x="666" y="582"/>
                    </a:lnTo>
                    <a:lnTo>
                      <a:pt x="666" y="582"/>
                    </a:lnTo>
                    <a:lnTo>
                      <a:pt x="666" y="582"/>
                    </a:lnTo>
                    <a:close/>
                    <a:moveTo>
                      <a:pt x="697" y="598"/>
                    </a:moveTo>
                    <a:lnTo>
                      <a:pt x="671" y="593"/>
                    </a:lnTo>
                    <a:lnTo>
                      <a:pt x="671" y="577"/>
                    </a:lnTo>
                    <a:lnTo>
                      <a:pt x="697" y="582"/>
                    </a:lnTo>
                    <a:lnTo>
                      <a:pt x="704" y="598"/>
                    </a:lnTo>
                    <a:lnTo>
                      <a:pt x="697" y="598"/>
                    </a:lnTo>
                    <a:lnTo>
                      <a:pt x="697" y="598"/>
                    </a:lnTo>
                    <a:lnTo>
                      <a:pt x="697" y="598"/>
                    </a:lnTo>
                    <a:close/>
                    <a:moveTo>
                      <a:pt x="730" y="638"/>
                    </a:moveTo>
                    <a:lnTo>
                      <a:pt x="704" y="631"/>
                    </a:lnTo>
                    <a:lnTo>
                      <a:pt x="697" y="598"/>
                    </a:lnTo>
                    <a:lnTo>
                      <a:pt x="720" y="626"/>
                    </a:lnTo>
                    <a:lnTo>
                      <a:pt x="730" y="615"/>
                    </a:lnTo>
                    <a:lnTo>
                      <a:pt x="730" y="638"/>
                    </a:lnTo>
                    <a:lnTo>
                      <a:pt x="730" y="638"/>
                    </a:lnTo>
                    <a:lnTo>
                      <a:pt x="730" y="638"/>
                    </a:lnTo>
                    <a:close/>
                    <a:moveTo>
                      <a:pt x="704" y="671"/>
                    </a:moveTo>
                    <a:lnTo>
                      <a:pt x="697" y="671"/>
                    </a:lnTo>
                    <a:lnTo>
                      <a:pt x="697" y="664"/>
                    </a:lnTo>
                    <a:lnTo>
                      <a:pt x="704" y="664"/>
                    </a:lnTo>
                    <a:lnTo>
                      <a:pt x="704" y="671"/>
                    </a:lnTo>
                    <a:lnTo>
                      <a:pt x="704" y="671"/>
                    </a:lnTo>
                    <a:lnTo>
                      <a:pt x="704" y="671"/>
                    </a:lnTo>
                    <a:close/>
                    <a:moveTo>
                      <a:pt x="704" y="671"/>
                    </a:moveTo>
                    <a:lnTo>
                      <a:pt x="704" y="664"/>
                    </a:lnTo>
                    <a:lnTo>
                      <a:pt x="713" y="664"/>
                    </a:lnTo>
                    <a:lnTo>
                      <a:pt x="713" y="671"/>
                    </a:lnTo>
                    <a:lnTo>
                      <a:pt x="704" y="671"/>
                    </a:lnTo>
                    <a:lnTo>
                      <a:pt x="704" y="671"/>
                    </a:lnTo>
                    <a:lnTo>
                      <a:pt x="704" y="671"/>
                    </a:lnTo>
                    <a:close/>
                    <a:moveTo>
                      <a:pt x="838" y="671"/>
                    </a:moveTo>
                    <a:lnTo>
                      <a:pt x="822" y="671"/>
                    </a:lnTo>
                    <a:lnTo>
                      <a:pt x="843" y="671"/>
                    </a:lnTo>
                    <a:lnTo>
                      <a:pt x="838" y="671"/>
                    </a:lnTo>
                    <a:lnTo>
                      <a:pt x="838" y="671"/>
                    </a:lnTo>
                    <a:lnTo>
                      <a:pt x="838" y="671"/>
                    </a:lnTo>
                    <a:close/>
                    <a:moveTo>
                      <a:pt x="864" y="721"/>
                    </a:moveTo>
                    <a:lnTo>
                      <a:pt x="860" y="709"/>
                    </a:lnTo>
                    <a:lnTo>
                      <a:pt x="864" y="709"/>
                    </a:lnTo>
                    <a:lnTo>
                      <a:pt x="864" y="721"/>
                    </a:lnTo>
                    <a:lnTo>
                      <a:pt x="864" y="721"/>
                    </a:lnTo>
                    <a:lnTo>
                      <a:pt x="864" y="721"/>
                    </a:lnTo>
                    <a:close/>
                    <a:moveTo>
                      <a:pt x="931" y="726"/>
                    </a:moveTo>
                    <a:lnTo>
                      <a:pt x="919" y="721"/>
                    </a:lnTo>
                    <a:lnTo>
                      <a:pt x="935" y="721"/>
                    </a:lnTo>
                    <a:lnTo>
                      <a:pt x="947" y="726"/>
                    </a:lnTo>
                    <a:lnTo>
                      <a:pt x="931" y="726"/>
                    </a:lnTo>
                    <a:lnTo>
                      <a:pt x="931" y="726"/>
                    </a:lnTo>
                    <a:lnTo>
                      <a:pt x="931" y="726"/>
                    </a:lnTo>
                    <a:close/>
                    <a:moveTo>
                      <a:pt x="893" y="742"/>
                    </a:moveTo>
                    <a:lnTo>
                      <a:pt x="876" y="737"/>
                    </a:lnTo>
                    <a:lnTo>
                      <a:pt x="864" y="721"/>
                    </a:lnTo>
                    <a:lnTo>
                      <a:pt x="905" y="742"/>
                    </a:lnTo>
                    <a:lnTo>
                      <a:pt x="893" y="742"/>
                    </a:lnTo>
                    <a:lnTo>
                      <a:pt x="893" y="742"/>
                    </a:lnTo>
                    <a:lnTo>
                      <a:pt x="893" y="74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5" name="Freeform 541">
                <a:extLst>
                  <a:ext uri="{FF2B5EF4-FFF2-40B4-BE49-F238E27FC236}">
                    <a16:creationId xmlns:a16="http://schemas.microsoft.com/office/drawing/2014/main" id="{4BA38F5A-C146-411A-B23F-6835946B8BA1}"/>
                  </a:ext>
                </a:extLst>
              </p:cNvPr>
              <p:cNvSpPr>
                <a:spLocks noEditPoints="1"/>
              </p:cNvSpPr>
              <p:nvPr/>
            </p:nvSpPr>
            <p:spPr bwMode="gray">
              <a:xfrm>
                <a:off x="10102341" y="3479191"/>
                <a:ext cx="278290" cy="438478"/>
              </a:xfrm>
              <a:custGeom>
                <a:avLst/>
                <a:gdLst>
                  <a:gd name="T0" fmla="*/ 324 w 676"/>
                  <a:gd name="T1" fmla="*/ 16 h 1065"/>
                  <a:gd name="T2" fmla="*/ 310 w 676"/>
                  <a:gd name="T3" fmla="*/ 50 h 1065"/>
                  <a:gd name="T4" fmla="*/ 459 w 676"/>
                  <a:gd name="T5" fmla="*/ 437 h 1065"/>
                  <a:gd name="T6" fmla="*/ 487 w 676"/>
                  <a:gd name="T7" fmla="*/ 494 h 1065"/>
                  <a:gd name="T8" fmla="*/ 395 w 676"/>
                  <a:gd name="T9" fmla="*/ 416 h 1065"/>
                  <a:gd name="T10" fmla="*/ 260 w 676"/>
                  <a:gd name="T11" fmla="*/ 416 h 1065"/>
                  <a:gd name="T12" fmla="*/ 239 w 676"/>
                  <a:gd name="T13" fmla="*/ 349 h 1065"/>
                  <a:gd name="T14" fmla="*/ 244 w 676"/>
                  <a:gd name="T15" fmla="*/ 250 h 1065"/>
                  <a:gd name="T16" fmla="*/ 378 w 676"/>
                  <a:gd name="T17" fmla="*/ 90 h 1065"/>
                  <a:gd name="T18" fmla="*/ 369 w 676"/>
                  <a:gd name="T19" fmla="*/ 250 h 1065"/>
                  <a:gd name="T20" fmla="*/ 369 w 676"/>
                  <a:gd name="T21" fmla="*/ 416 h 1065"/>
                  <a:gd name="T22" fmla="*/ 433 w 676"/>
                  <a:gd name="T23" fmla="*/ 437 h 1065"/>
                  <a:gd name="T24" fmla="*/ 362 w 676"/>
                  <a:gd name="T25" fmla="*/ 342 h 1065"/>
                  <a:gd name="T26" fmla="*/ 369 w 676"/>
                  <a:gd name="T27" fmla="*/ 361 h 1065"/>
                  <a:gd name="T28" fmla="*/ 508 w 676"/>
                  <a:gd name="T29" fmla="*/ 444 h 1065"/>
                  <a:gd name="T30" fmla="*/ 345 w 676"/>
                  <a:gd name="T31" fmla="*/ 461 h 1065"/>
                  <a:gd name="T32" fmla="*/ 239 w 676"/>
                  <a:gd name="T33" fmla="*/ 444 h 1065"/>
                  <a:gd name="T34" fmla="*/ 487 w 676"/>
                  <a:gd name="T35" fmla="*/ 453 h 1065"/>
                  <a:gd name="T36" fmla="*/ 492 w 676"/>
                  <a:gd name="T37" fmla="*/ 470 h 1065"/>
                  <a:gd name="T38" fmla="*/ 362 w 676"/>
                  <a:gd name="T39" fmla="*/ 510 h 1065"/>
                  <a:gd name="T40" fmla="*/ 503 w 676"/>
                  <a:gd name="T41" fmla="*/ 581 h 1065"/>
                  <a:gd name="T42" fmla="*/ 617 w 676"/>
                  <a:gd name="T43" fmla="*/ 626 h 1065"/>
                  <a:gd name="T44" fmla="*/ 584 w 676"/>
                  <a:gd name="T45" fmla="*/ 527 h 1065"/>
                  <a:gd name="T46" fmla="*/ 617 w 676"/>
                  <a:gd name="T47" fmla="*/ 626 h 1065"/>
                  <a:gd name="T48" fmla="*/ 218 w 676"/>
                  <a:gd name="T49" fmla="*/ 555 h 1065"/>
                  <a:gd name="T50" fmla="*/ 293 w 676"/>
                  <a:gd name="T51" fmla="*/ 538 h 1065"/>
                  <a:gd name="T52" fmla="*/ 433 w 676"/>
                  <a:gd name="T53" fmla="*/ 621 h 1065"/>
                  <a:gd name="T54" fmla="*/ 369 w 676"/>
                  <a:gd name="T55" fmla="*/ 572 h 1065"/>
                  <a:gd name="T56" fmla="*/ 529 w 676"/>
                  <a:gd name="T57" fmla="*/ 581 h 1065"/>
                  <a:gd name="T58" fmla="*/ 525 w 676"/>
                  <a:gd name="T59" fmla="*/ 638 h 1065"/>
                  <a:gd name="T60" fmla="*/ 546 w 676"/>
                  <a:gd name="T61" fmla="*/ 692 h 1065"/>
                  <a:gd name="T62" fmla="*/ 189 w 676"/>
                  <a:gd name="T63" fmla="*/ 666 h 1065"/>
                  <a:gd name="T64" fmla="*/ 24 w 676"/>
                  <a:gd name="T65" fmla="*/ 803 h 1065"/>
                  <a:gd name="T66" fmla="*/ 168 w 676"/>
                  <a:gd name="T67" fmla="*/ 659 h 1065"/>
                  <a:gd name="T68" fmla="*/ 185 w 676"/>
                  <a:gd name="T69" fmla="*/ 642 h 1065"/>
                  <a:gd name="T70" fmla="*/ 475 w 676"/>
                  <a:gd name="T71" fmla="*/ 666 h 1065"/>
                  <a:gd name="T72" fmla="*/ 449 w 676"/>
                  <a:gd name="T73" fmla="*/ 675 h 1065"/>
                  <a:gd name="T74" fmla="*/ 416 w 676"/>
                  <a:gd name="T75" fmla="*/ 699 h 1065"/>
                  <a:gd name="T76" fmla="*/ 617 w 676"/>
                  <a:gd name="T77" fmla="*/ 649 h 1065"/>
                  <a:gd name="T78" fmla="*/ 407 w 676"/>
                  <a:gd name="T79" fmla="*/ 659 h 1065"/>
                  <a:gd name="T80" fmla="*/ 513 w 676"/>
                  <a:gd name="T81" fmla="*/ 659 h 1065"/>
                  <a:gd name="T82" fmla="*/ 201 w 676"/>
                  <a:gd name="T83" fmla="*/ 666 h 1065"/>
                  <a:gd name="T84" fmla="*/ 529 w 676"/>
                  <a:gd name="T85" fmla="*/ 699 h 1065"/>
                  <a:gd name="T86" fmla="*/ 529 w 676"/>
                  <a:gd name="T87" fmla="*/ 699 h 1065"/>
                  <a:gd name="T88" fmla="*/ 638 w 676"/>
                  <a:gd name="T89" fmla="*/ 720 h 1065"/>
                  <a:gd name="T90" fmla="*/ 407 w 676"/>
                  <a:gd name="T91" fmla="*/ 886 h 1065"/>
                  <a:gd name="T92" fmla="*/ 421 w 676"/>
                  <a:gd name="T93" fmla="*/ 831 h 1065"/>
                  <a:gd name="T94" fmla="*/ 513 w 676"/>
                  <a:gd name="T95" fmla="*/ 815 h 1065"/>
                  <a:gd name="T96" fmla="*/ 631 w 676"/>
                  <a:gd name="T97" fmla="*/ 737 h 1065"/>
                  <a:gd name="T98" fmla="*/ 664 w 676"/>
                  <a:gd name="T99" fmla="*/ 860 h 1065"/>
                  <a:gd name="T100" fmla="*/ 622 w 676"/>
                  <a:gd name="T101" fmla="*/ 914 h 1065"/>
                  <a:gd name="T102" fmla="*/ 584 w 676"/>
                  <a:gd name="T103" fmla="*/ 1025 h 1065"/>
                  <a:gd name="T104" fmla="*/ 492 w 676"/>
                  <a:gd name="T105" fmla="*/ 869 h 1065"/>
                  <a:gd name="T106" fmla="*/ 454 w 676"/>
                  <a:gd name="T107" fmla="*/ 758 h 1065"/>
                  <a:gd name="T108" fmla="*/ 546 w 676"/>
                  <a:gd name="T109" fmla="*/ 770 h 1065"/>
                  <a:gd name="T110" fmla="*/ 416 w 676"/>
                  <a:gd name="T111" fmla="*/ 898 h 1065"/>
                  <a:gd name="T112" fmla="*/ 622 w 676"/>
                  <a:gd name="T113" fmla="*/ 914 h 1065"/>
                  <a:gd name="T114" fmla="*/ 352 w 676"/>
                  <a:gd name="T115" fmla="*/ 959 h 1065"/>
                  <a:gd name="T116" fmla="*/ 255 w 676"/>
                  <a:gd name="T117" fmla="*/ 959 h 1065"/>
                  <a:gd name="T118" fmla="*/ 310 w 676"/>
                  <a:gd name="T119" fmla="*/ 997 h 1065"/>
                  <a:gd name="T120" fmla="*/ 277 w 676"/>
                  <a:gd name="T121" fmla="*/ 1025 h 1065"/>
                  <a:gd name="T122" fmla="*/ 206 w 676"/>
                  <a:gd name="T123" fmla="*/ 1065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6" h="1065">
                    <a:moveTo>
                      <a:pt x="352" y="0"/>
                    </a:moveTo>
                    <a:lnTo>
                      <a:pt x="345" y="0"/>
                    </a:lnTo>
                    <a:lnTo>
                      <a:pt x="352" y="0"/>
                    </a:lnTo>
                    <a:lnTo>
                      <a:pt x="352" y="0"/>
                    </a:lnTo>
                    <a:lnTo>
                      <a:pt x="352" y="0"/>
                    </a:lnTo>
                    <a:close/>
                    <a:moveTo>
                      <a:pt x="324" y="16"/>
                    </a:moveTo>
                    <a:lnTo>
                      <a:pt x="314" y="12"/>
                    </a:lnTo>
                    <a:lnTo>
                      <a:pt x="324" y="12"/>
                    </a:lnTo>
                    <a:lnTo>
                      <a:pt x="324" y="16"/>
                    </a:lnTo>
                    <a:lnTo>
                      <a:pt x="324" y="16"/>
                    </a:lnTo>
                    <a:lnTo>
                      <a:pt x="324" y="16"/>
                    </a:lnTo>
                    <a:close/>
                    <a:moveTo>
                      <a:pt x="345" y="54"/>
                    </a:moveTo>
                    <a:lnTo>
                      <a:pt x="345" y="38"/>
                    </a:lnTo>
                    <a:lnTo>
                      <a:pt x="352" y="38"/>
                    </a:lnTo>
                    <a:lnTo>
                      <a:pt x="345" y="54"/>
                    </a:lnTo>
                    <a:lnTo>
                      <a:pt x="345" y="54"/>
                    </a:lnTo>
                    <a:lnTo>
                      <a:pt x="345" y="54"/>
                    </a:lnTo>
                    <a:close/>
                    <a:moveTo>
                      <a:pt x="310" y="50"/>
                    </a:moveTo>
                    <a:lnTo>
                      <a:pt x="314" y="50"/>
                    </a:lnTo>
                    <a:lnTo>
                      <a:pt x="310" y="50"/>
                    </a:lnTo>
                    <a:lnTo>
                      <a:pt x="310" y="50"/>
                    </a:lnTo>
                    <a:lnTo>
                      <a:pt x="310" y="50"/>
                    </a:lnTo>
                    <a:close/>
                    <a:moveTo>
                      <a:pt x="433" y="437"/>
                    </a:moveTo>
                    <a:lnTo>
                      <a:pt x="449" y="420"/>
                    </a:lnTo>
                    <a:lnTo>
                      <a:pt x="437" y="404"/>
                    </a:lnTo>
                    <a:lnTo>
                      <a:pt x="449" y="404"/>
                    </a:lnTo>
                    <a:lnTo>
                      <a:pt x="454" y="416"/>
                    </a:lnTo>
                    <a:lnTo>
                      <a:pt x="492" y="427"/>
                    </a:lnTo>
                    <a:lnTo>
                      <a:pt x="459" y="427"/>
                    </a:lnTo>
                    <a:lnTo>
                      <a:pt x="459" y="437"/>
                    </a:lnTo>
                    <a:lnTo>
                      <a:pt x="487" y="470"/>
                    </a:lnTo>
                    <a:lnTo>
                      <a:pt x="475" y="470"/>
                    </a:lnTo>
                    <a:lnTo>
                      <a:pt x="475" y="477"/>
                    </a:lnTo>
                    <a:lnTo>
                      <a:pt x="487" y="470"/>
                    </a:lnTo>
                    <a:lnTo>
                      <a:pt x="503" y="482"/>
                    </a:lnTo>
                    <a:lnTo>
                      <a:pt x="508" y="477"/>
                    </a:lnTo>
                    <a:lnTo>
                      <a:pt x="503" y="515"/>
                    </a:lnTo>
                    <a:lnTo>
                      <a:pt x="492" y="515"/>
                    </a:lnTo>
                    <a:lnTo>
                      <a:pt x="487" y="498"/>
                    </a:lnTo>
                    <a:lnTo>
                      <a:pt x="487" y="494"/>
                    </a:lnTo>
                    <a:lnTo>
                      <a:pt x="492" y="494"/>
                    </a:lnTo>
                    <a:lnTo>
                      <a:pt x="503" y="482"/>
                    </a:lnTo>
                    <a:lnTo>
                      <a:pt x="487" y="482"/>
                    </a:lnTo>
                    <a:lnTo>
                      <a:pt x="475" y="494"/>
                    </a:lnTo>
                    <a:lnTo>
                      <a:pt x="454" y="477"/>
                    </a:lnTo>
                    <a:lnTo>
                      <a:pt x="449" y="482"/>
                    </a:lnTo>
                    <a:lnTo>
                      <a:pt x="437" y="453"/>
                    </a:lnTo>
                    <a:lnTo>
                      <a:pt x="416" y="437"/>
                    </a:lnTo>
                    <a:lnTo>
                      <a:pt x="416" y="427"/>
                    </a:lnTo>
                    <a:lnTo>
                      <a:pt x="395" y="416"/>
                    </a:lnTo>
                    <a:lnTo>
                      <a:pt x="395" y="427"/>
                    </a:lnTo>
                    <a:lnTo>
                      <a:pt x="407" y="470"/>
                    </a:lnTo>
                    <a:lnTo>
                      <a:pt x="400" y="470"/>
                    </a:lnTo>
                    <a:lnTo>
                      <a:pt x="383" y="444"/>
                    </a:lnTo>
                    <a:lnTo>
                      <a:pt x="340" y="416"/>
                    </a:lnTo>
                    <a:lnTo>
                      <a:pt x="314" y="420"/>
                    </a:lnTo>
                    <a:lnTo>
                      <a:pt x="310" y="437"/>
                    </a:lnTo>
                    <a:lnTo>
                      <a:pt x="293" y="437"/>
                    </a:lnTo>
                    <a:lnTo>
                      <a:pt x="277" y="416"/>
                    </a:lnTo>
                    <a:lnTo>
                      <a:pt x="260" y="416"/>
                    </a:lnTo>
                    <a:lnTo>
                      <a:pt x="260" y="427"/>
                    </a:lnTo>
                    <a:lnTo>
                      <a:pt x="255" y="387"/>
                    </a:lnTo>
                    <a:lnTo>
                      <a:pt x="286" y="371"/>
                    </a:lnTo>
                    <a:lnTo>
                      <a:pt x="286" y="366"/>
                    </a:lnTo>
                    <a:lnTo>
                      <a:pt x="277" y="349"/>
                    </a:lnTo>
                    <a:lnTo>
                      <a:pt x="255" y="349"/>
                    </a:lnTo>
                    <a:lnTo>
                      <a:pt x="255" y="371"/>
                    </a:lnTo>
                    <a:lnTo>
                      <a:pt x="244" y="383"/>
                    </a:lnTo>
                    <a:lnTo>
                      <a:pt x="234" y="361"/>
                    </a:lnTo>
                    <a:lnTo>
                      <a:pt x="239" y="349"/>
                    </a:lnTo>
                    <a:lnTo>
                      <a:pt x="222" y="349"/>
                    </a:lnTo>
                    <a:lnTo>
                      <a:pt x="218" y="316"/>
                    </a:lnTo>
                    <a:lnTo>
                      <a:pt x="206" y="305"/>
                    </a:lnTo>
                    <a:lnTo>
                      <a:pt x="206" y="272"/>
                    </a:lnTo>
                    <a:lnTo>
                      <a:pt x="206" y="260"/>
                    </a:lnTo>
                    <a:lnTo>
                      <a:pt x="201" y="272"/>
                    </a:lnTo>
                    <a:lnTo>
                      <a:pt x="201" y="250"/>
                    </a:lnTo>
                    <a:lnTo>
                      <a:pt x="206" y="234"/>
                    </a:lnTo>
                    <a:lnTo>
                      <a:pt x="222" y="260"/>
                    </a:lnTo>
                    <a:lnTo>
                      <a:pt x="244" y="250"/>
                    </a:lnTo>
                    <a:lnTo>
                      <a:pt x="239" y="217"/>
                    </a:lnTo>
                    <a:lnTo>
                      <a:pt x="244" y="194"/>
                    </a:lnTo>
                    <a:lnTo>
                      <a:pt x="244" y="161"/>
                    </a:lnTo>
                    <a:lnTo>
                      <a:pt x="239" y="144"/>
                    </a:lnTo>
                    <a:lnTo>
                      <a:pt x="260" y="73"/>
                    </a:lnTo>
                    <a:lnTo>
                      <a:pt x="293" y="66"/>
                    </a:lnTo>
                    <a:lnTo>
                      <a:pt x="352" y="94"/>
                    </a:lnTo>
                    <a:lnTo>
                      <a:pt x="362" y="90"/>
                    </a:lnTo>
                    <a:lnTo>
                      <a:pt x="369" y="73"/>
                    </a:lnTo>
                    <a:lnTo>
                      <a:pt x="378" y="90"/>
                    </a:lnTo>
                    <a:lnTo>
                      <a:pt x="378" y="94"/>
                    </a:lnTo>
                    <a:lnTo>
                      <a:pt x="369" y="106"/>
                    </a:lnTo>
                    <a:lnTo>
                      <a:pt x="362" y="127"/>
                    </a:lnTo>
                    <a:lnTo>
                      <a:pt x="369" y="161"/>
                    </a:lnTo>
                    <a:lnTo>
                      <a:pt x="383" y="165"/>
                    </a:lnTo>
                    <a:lnTo>
                      <a:pt x="383" y="177"/>
                    </a:lnTo>
                    <a:lnTo>
                      <a:pt x="395" y="177"/>
                    </a:lnTo>
                    <a:lnTo>
                      <a:pt x="383" y="198"/>
                    </a:lnTo>
                    <a:lnTo>
                      <a:pt x="369" y="234"/>
                    </a:lnTo>
                    <a:lnTo>
                      <a:pt x="369" y="250"/>
                    </a:lnTo>
                    <a:lnTo>
                      <a:pt x="362" y="255"/>
                    </a:lnTo>
                    <a:lnTo>
                      <a:pt x="352" y="260"/>
                    </a:lnTo>
                    <a:lnTo>
                      <a:pt x="362" y="250"/>
                    </a:lnTo>
                    <a:lnTo>
                      <a:pt x="324" y="272"/>
                    </a:lnTo>
                    <a:lnTo>
                      <a:pt x="331" y="288"/>
                    </a:lnTo>
                    <a:lnTo>
                      <a:pt x="310" y="309"/>
                    </a:lnTo>
                    <a:lnTo>
                      <a:pt x="331" y="361"/>
                    </a:lnTo>
                    <a:lnTo>
                      <a:pt x="331" y="366"/>
                    </a:lnTo>
                    <a:lnTo>
                      <a:pt x="340" y="399"/>
                    </a:lnTo>
                    <a:lnTo>
                      <a:pt x="369" y="416"/>
                    </a:lnTo>
                    <a:lnTo>
                      <a:pt x="378" y="404"/>
                    </a:lnTo>
                    <a:lnTo>
                      <a:pt x="369" y="399"/>
                    </a:lnTo>
                    <a:lnTo>
                      <a:pt x="369" y="387"/>
                    </a:lnTo>
                    <a:lnTo>
                      <a:pt x="378" y="404"/>
                    </a:lnTo>
                    <a:lnTo>
                      <a:pt x="383" y="383"/>
                    </a:lnTo>
                    <a:lnTo>
                      <a:pt x="407" y="387"/>
                    </a:lnTo>
                    <a:lnTo>
                      <a:pt x="433" y="416"/>
                    </a:lnTo>
                    <a:lnTo>
                      <a:pt x="433" y="437"/>
                    </a:lnTo>
                    <a:lnTo>
                      <a:pt x="433" y="437"/>
                    </a:lnTo>
                    <a:lnTo>
                      <a:pt x="433" y="437"/>
                    </a:lnTo>
                    <a:close/>
                    <a:moveTo>
                      <a:pt x="218" y="250"/>
                    </a:moveTo>
                    <a:lnTo>
                      <a:pt x="206" y="238"/>
                    </a:lnTo>
                    <a:lnTo>
                      <a:pt x="218" y="238"/>
                    </a:lnTo>
                    <a:lnTo>
                      <a:pt x="218" y="250"/>
                    </a:lnTo>
                    <a:lnTo>
                      <a:pt x="218" y="250"/>
                    </a:lnTo>
                    <a:lnTo>
                      <a:pt x="218" y="250"/>
                    </a:lnTo>
                    <a:close/>
                    <a:moveTo>
                      <a:pt x="352" y="366"/>
                    </a:moveTo>
                    <a:lnTo>
                      <a:pt x="340" y="342"/>
                    </a:lnTo>
                    <a:lnTo>
                      <a:pt x="352" y="333"/>
                    </a:lnTo>
                    <a:lnTo>
                      <a:pt x="362" y="342"/>
                    </a:lnTo>
                    <a:lnTo>
                      <a:pt x="352" y="342"/>
                    </a:lnTo>
                    <a:lnTo>
                      <a:pt x="352" y="361"/>
                    </a:lnTo>
                    <a:lnTo>
                      <a:pt x="352" y="366"/>
                    </a:lnTo>
                    <a:lnTo>
                      <a:pt x="352" y="366"/>
                    </a:lnTo>
                    <a:lnTo>
                      <a:pt x="352" y="366"/>
                    </a:lnTo>
                    <a:close/>
                    <a:moveTo>
                      <a:pt x="369" y="361"/>
                    </a:moveTo>
                    <a:lnTo>
                      <a:pt x="362" y="349"/>
                    </a:lnTo>
                    <a:lnTo>
                      <a:pt x="369" y="349"/>
                    </a:lnTo>
                    <a:lnTo>
                      <a:pt x="369" y="361"/>
                    </a:lnTo>
                    <a:lnTo>
                      <a:pt x="369" y="361"/>
                    </a:lnTo>
                    <a:lnTo>
                      <a:pt x="369" y="361"/>
                    </a:lnTo>
                    <a:close/>
                    <a:moveTo>
                      <a:pt x="508" y="444"/>
                    </a:moveTo>
                    <a:lnTo>
                      <a:pt x="503" y="437"/>
                    </a:lnTo>
                    <a:lnTo>
                      <a:pt x="503" y="420"/>
                    </a:lnTo>
                    <a:lnTo>
                      <a:pt x="503" y="404"/>
                    </a:lnTo>
                    <a:lnTo>
                      <a:pt x="508" y="404"/>
                    </a:lnTo>
                    <a:lnTo>
                      <a:pt x="525" y="420"/>
                    </a:lnTo>
                    <a:lnTo>
                      <a:pt x="513" y="444"/>
                    </a:lnTo>
                    <a:lnTo>
                      <a:pt x="513" y="437"/>
                    </a:lnTo>
                    <a:lnTo>
                      <a:pt x="508" y="444"/>
                    </a:lnTo>
                    <a:lnTo>
                      <a:pt x="508" y="444"/>
                    </a:lnTo>
                    <a:lnTo>
                      <a:pt x="508" y="444"/>
                    </a:lnTo>
                    <a:close/>
                    <a:moveTo>
                      <a:pt x="234" y="437"/>
                    </a:moveTo>
                    <a:lnTo>
                      <a:pt x="222" y="420"/>
                    </a:lnTo>
                    <a:lnTo>
                      <a:pt x="234" y="420"/>
                    </a:lnTo>
                    <a:lnTo>
                      <a:pt x="234" y="437"/>
                    </a:lnTo>
                    <a:lnTo>
                      <a:pt x="234" y="437"/>
                    </a:lnTo>
                    <a:lnTo>
                      <a:pt x="234" y="437"/>
                    </a:lnTo>
                    <a:close/>
                    <a:moveTo>
                      <a:pt x="352" y="470"/>
                    </a:moveTo>
                    <a:lnTo>
                      <a:pt x="345" y="461"/>
                    </a:lnTo>
                    <a:lnTo>
                      <a:pt x="345" y="444"/>
                    </a:lnTo>
                    <a:lnTo>
                      <a:pt x="362" y="453"/>
                    </a:lnTo>
                    <a:lnTo>
                      <a:pt x="352" y="470"/>
                    </a:lnTo>
                    <a:lnTo>
                      <a:pt x="352" y="470"/>
                    </a:lnTo>
                    <a:lnTo>
                      <a:pt x="352" y="470"/>
                    </a:lnTo>
                    <a:close/>
                    <a:moveTo>
                      <a:pt x="314" y="531"/>
                    </a:moveTo>
                    <a:lnTo>
                      <a:pt x="293" y="538"/>
                    </a:lnTo>
                    <a:lnTo>
                      <a:pt x="272" y="498"/>
                    </a:lnTo>
                    <a:lnTo>
                      <a:pt x="260" y="477"/>
                    </a:lnTo>
                    <a:lnTo>
                      <a:pt x="239" y="444"/>
                    </a:lnTo>
                    <a:lnTo>
                      <a:pt x="286" y="444"/>
                    </a:lnTo>
                    <a:lnTo>
                      <a:pt x="324" y="470"/>
                    </a:lnTo>
                    <a:lnTo>
                      <a:pt x="314" y="498"/>
                    </a:lnTo>
                    <a:lnTo>
                      <a:pt x="324" y="510"/>
                    </a:lnTo>
                    <a:lnTo>
                      <a:pt x="314" y="527"/>
                    </a:lnTo>
                    <a:lnTo>
                      <a:pt x="314" y="531"/>
                    </a:lnTo>
                    <a:lnTo>
                      <a:pt x="314" y="531"/>
                    </a:lnTo>
                    <a:lnTo>
                      <a:pt x="314" y="531"/>
                    </a:lnTo>
                    <a:close/>
                    <a:moveTo>
                      <a:pt x="487" y="470"/>
                    </a:moveTo>
                    <a:lnTo>
                      <a:pt x="487" y="453"/>
                    </a:lnTo>
                    <a:lnTo>
                      <a:pt x="492" y="461"/>
                    </a:lnTo>
                    <a:lnTo>
                      <a:pt x="487" y="470"/>
                    </a:lnTo>
                    <a:lnTo>
                      <a:pt x="487" y="470"/>
                    </a:lnTo>
                    <a:lnTo>
                      <a:pt x="487" y="470"/>
                    </a:lnTo>
                    <a:close/>
                    <a:moveTo>
                      <a:pt x="492" y="470"/>
                    </a:moveTo>
                    <a:lnTo>
                      <a:pt x="492" y="461"/>
                    </a:lnTo>
                    <a:lnTo>
                      <a:pt x="503" y="461"/>
                    </a:lnTo>
                    <a:lnTo>
                      <a:pt x="492" y="470"/>
                    </a:lnTo>
                    <a:lnTo>
                      <a:pt x="492" y="470"/>
                    </a:lnTo>
                    <a:lnTo>
                      <a:pt x="492" y="470"/>
                    </a:lnTo>
                    <a:close/>
                    <a:moveTo>
                      <a:pt x="454" y="510"/>
                    </a:moveTo>
                    <a:lnTo>
                      <a:pt x="421" y="477"/>
                    </a:lnTo>
                    <a:lnTo>
                      <a:pt x="433" y="477"/>
                    </a:lnTo>
                    <a:lnTo>
                      <a:pt x="454" y="510"/>
                    </a:lnTo>
                    <a:lnTo>
                      <a:pt x="454" y="510"/>
                    </a:lnTo>
                    <a:lnTo>
                      <a:pt x="454" y="510"/>
                    </a:lnTo>
                    <a:close/>
                    <a:moveTo>
                      <a:pt x="352" y="548"/>
                    </a:moveTo>
                    <a:lnTo>
                      <a:pt x="345" y="531"/>
                    </a:lnTo>
                    <a:lnTo>
                      <a:pt x="352" y="515"/>
                    </a:lnTo>
                    <a:lnTo>
                      <a:pt x="362" y="510"/>
                    </a:lnTo>
                    <a:lnTo>
                      <a:pt x="352" y="548"/>
                    </a:lnTo>
                    <a:lnTo>
                      <a:pt x="352" y="548"/>
                    </a:lnTo>
                    <a:lnTo>
                      <a:pt x="352" y="548"/>
                    </a:lnTo>
                    <a:close/>
                    <a:moveTo>
                      <a:pt x="475" y="531"/>
                    </a:moveTo>
                    <a:lnTo>
                      <a:pt x="470" y="510"/>
                    </a:lnTo>
                    <a:lnTo>
                      <a:pt x="475" y="510"/>
                    </a:lnTo>
                    <a:lnTo>
                      <a:pt x="475" y="531"/>
                    </a:lnTo>
                    <a:lnTo>
                      <a:pt x="475" y="531"/>
                    </a:lnTo>
                    <a:lnTo>
                      <a:pt x="475" y="531"/>
                    </a:lnTo>
                    <a:close/>
                    <a:moveTo>
                      <a:pt x="503" y="581"/>
                    </a:moveTo>
                    <a:lnTo>
                      <a:pt x="459" y="538"/>
                    </a:lnTo>
                    <a:lnTo>
                      <a:pt x="437" y="564"/>
                    </a:lnTo>
                    <a:lnTo>
                      <a:pt x="449" y="538"/>
                    </a:lnTo>
                    <a:lnTo>
                      <a:pt x="437" y="510"/>
                    </a:lnTo>
                    <a:lnTo>
                      <a:pt x="492" y="538"/>
                    </a:lnTo>
                    <a:lnTo>
                      <a:pt x="503" y="555"/>
                    </a:lnTo>
                    <a:lnTo>
                      <a:pt x="503" y="581"/>
                    </a:lnTo>
                    <a:lnTo>
                      <a:pt x="503" y="581"/>
                    </a:lnTo>
                    <a:lnTo>
                      <a:pt x="503" y="581"/>
                    </a:lnTo>
                    <a:close/>
                    <a:moveTo>
                      <a:pt x="617" y="626"/>
                    </a:moveTo>
                    <a:lnTo>
                      <a:pt x="610" y="621"/>
                    </a:lnTo>
                    <a:lnTo>
                      <a:pt x="584" y="621"/>
                    </a:lnTo>
                    <a:lnTo>
                      <a:pt x="563" y="593"/>
                    </a:lnTo>
                    <a:lnTo>
                      <a:pt x="555" y="593"/>
                    </a:lnTo>
                    <a:lnTo>
                      <a:pt x="567" y="572"/>
                    </a:lnTo>
                    <a:lnTo>
                      <a:pt x="525" y="538"/>
                    </a:lnTo>
                    <a:lnTo>
                      <a:pt x="513" y="515"/>
                    </a:lnTo>
                    <a:lnTo>
                      <a:pt x="541" y="515"/>
                    </a:lnTo>
                    <a:lnTo>
                      <a:pt x="579" y="515"/>
                    </a:lnTo>
                    <a:lnTo>
                      <a:pt x="584" y="527"/>
                    </a:lnTo>
                    <a:lnTo>
                      <a:pt x="584" y="531"/>
                    </a:lnTo>
                    <a:lnTo>
                      <a:pt x="600" y="538"/>
                    </a:lnTo>
                    <a:lnTo>
                      <a:pt x="593" y="548"/>
                    </a:lnTo>
                    <a:lnTo>
                      <a:pt x="600" y="548"/>
                    </a:lnTo>
                    <a:lnTo>
                      <a:pt x="593" y="555"/>
                    </a:lnTo>
                    <a:lnTo>
                      <a:pt x="593" y="588"/>
                    </a:lnTo>
                    <a:lnTo>
                      <a:pt x="610" y="605"/>
                    </a:lnTo>
                    <a:lnTo>
                      <a:pt x="600" y="609"/>
                    </a:lnTo>
                    <a:lnTo>
                      <a:pt x="610" y="609"/>
                    </a:lnTo>
                    <a:lnTo>
                      <a:pt x="617" y="626"/>
                    </a:lnTo>
                    <a:lnTo>
                      <a:pt x="617" y="626"/>
                    </a:lnTo>
                    <a:lnTo>
                      <a:pt x="617" y="626"/>
                    </a:lnTo>
                    <a:close/>
                    <a:moveTo>
                      <a:pt x="400" y="538"/>
                    </a:moveTo>
                    <a:lnTo>
                      <a:pt x="383" y="527"/>
                    </a:lnTo>
                    <a:lnTo>
                      <a:pt x="400" y="527"/>
                    </a:lnTo>
                    <a:lnTo>
                      <a:pt x="400" y="538"/>
                    </a:lnTo>
                    <a:lnTo>
                      <a:pt x="400" y="538"/>
                    </a:lnTo>
                    <a:lnTo>
                      <a:pt x="400" y="538"/>
                    </a:lnTo>
                    <a:close/>
                    <a:moveTo>
                      <a:pt x="234" y="555"/>
                    </a:moveTo>
                    <a:lnTo>
                      <a:pt x="218" y="555"/>
                    </a:lnTo>
                    <a:lnTo>
                      <a:pt x="206" y="531"/>
                    </a:lnTo>
                    <a:lnTo>
                      <a:pt x="239" y="548"/>
                    </a:lnTo>
                    <a:lnTo>
                      <a:pt x="239" y="555"/>
                    </a:lnTo>
                    <a:lnTo>
                      <a:pt x="234" y="555"/>
                    </a:lnTo>
                    <a:lnTo>
                      <a:pt x="234" y="555"/>
                    </a:lnTo>
                    <a:lnTo>
                      <a:pt x="234" y="555"/>
                    </a:lnTo>
                    <a:close/>
                    <a:moveTo>
                      <a:pt x="293" y="538"/>
                    </a:moveTo>
                    <a:lnTo>
                      <a:pt x="293" y="548"/>
                    </a:lnTo>
                    <a:lnTo>
                      <a:pt x="286" y="538"/>
                    </a:lnTo>
                    <a:lnTo>
                      <a:pt x="293" y="538"/>
                    </a:lnTo>
                    <a:lnTo>
                      <a:pt x="293" y="538"/>
                    </a:lnTo>
                    <a:lnTo>
                      <a:pt x="293" y="538"/>
                    </a:lnTo>
                    <a:close/>
                    <a:moveTo>
                      <a:pt x="206" y="581"/>
                    </a:moveTo>
                    <a:lnTo>
                      <a:pt x="206" y="555"/>
                    </a:lnTo>
                    <a:lnTo>
                      <a:pt x="222" y="564"/>
                    </a:lnTo>
                    <a:lnTo>
                      <a:pt x="206" y="581"/>
                    </a:lnTo>
                    <a:lnTo>
                      <a:pt x="206" y="581"/>
                    </a:lnTo>
                    <a:lnTo>
                      <a:pt x="206" y="581"/>
                    </a:lnTo>
                    <a:close/>
                    <a:moveTo>
                      <a:pt x="433" y="609"/>
                    </a:moveTo>
                    <a:lnTo>
                      <a:pt x="433" y="621"/>
                    </a:lnTo>
                    <a:lnTo>
                      <a:pt x="407" y="638"/>
                    </a:lnTo>
                    <a:lnTo>
                      <a:pt x="407" y="642"/>
                    </a:lnTo>
                    <a:lnTo>
                      <a:pt x="369" y="659"/>
                    </a:lnTo>
                    <a:lnTo>
                      <a:pt x="352" y="675"/>
                    </a:lnTo>
                    <a:lnTo>
                      <a:pt x="345" y="666"/>
                    </a:lnTo>
                    <a:lnTo>
                      <a:pt x="362" y="581"/>
                    </a:lnTo>
                    <a:lnTo>
                      <a:pt x="362" y="572"/>
                    </a:lnTo>
                    <a:lnTo>
                      <a:pt x="345" y="572"/>
                    </a:lnTo>
                    <a:lnTo>
                      <a:pt x="345" y="564"/>
                    </a:lnTo>
                    <a:lnTo>
                      <a:pt x="369" y="572"/>
                    </a:lnTo>
                    <a:lnTo>
                      <a:pt x="395" y="588"/>
                    </a:lnTo>
                    <a:lnTo>
                      <a:pt x="416" y="588"/>
                    </a:lnTo>
                    <a:lnTo>
                      <a:pt x="416" y="593"/>
                    </a:lnTo>
                    <a:lnTo>
                      <a:pt x="437" y="588"/>
                    </a:lnTo>
                    <a:lnTo>
                      <a:pt x="433" y="609"/>
                    </a:lnTo>
                    <a:lnTo>
                      <a:pt x="433" y="609"/>
                    </a:lnTo>
                    <a:lnTo>
                      <a:pt x="433" y="609"/>
                    </a:lnTo>
                    <a:close/>
                    <a:moveTo>
                      <a:pt x="529" y="593"/>
                    </a:moveTo>
                    <a:lnTo>
                      <a:pt x="513" y="581"/>
                    </a:lnTo>
                    <a:lnTo>
                      <a:pt x="529" y="581"/>
                    </a:lnTo>
                    <a:lnTo>
                      <a:pt x="541" y="588"/>
                    </a:lnTo>
                    <a:lnTo>
                      <a:pt x="529" y="593"/>
                    </a:lnTo>
                    <a:lnTo>
                      <a:pt x="529" y="593"/>
                    </a:lnTo>
                    <a:lnTo>
                      <a:pt x="529" y="593"/>
                    </a:lnTo>
                    <a:close/>
                    <a:moveTo>
                      <a:pt x="546" y="659"/>
                    </a:moveTo>
                    <a:lnTo>
                      <a:pt x="555" y="649"/>
                    </a:lnTo>
                    <a:lnTo>
                      <a:pt x="541" y="638"/>
                    </a:lnTo>
                    <a:lnTo>
                      <a:pt x="529" y="626"/>
                    </a:lnTo>
                    <a:lnTo>
                      <a:pt x="529" y="638"/>
                    </a:lnTo>
                    <a:lnTo>
                      <a:pt x="525" y="638"/>
                    </a:lnTo>
                    <a:lnTo>
                      <a:pt x="513" y="588"/>
                    </a:lnTo>
                    <a:lnTo>
                      <a:pt x="541" y="605"/>
                    </a:lnTo>
                    <a:lnTo>
                      <a:pt x="555" y="593"/>
                    </a:lnTo>
                    <a:lnTo>
                      <a:pt x="563" y="605"/>
                    </a:lnTo>
                    <a:lnTo>
                      <a:pt x="563" y="649"/>
                    </a:lnTo>
                    <a:lnTo>
                      <a:pt x="584" y="683"/>
                    </a:lnTo>
                    <a:lnTo>
                      <a:pt x="567" y="692"/>
                    </a:lnTo>
                    <a:lnTo>
                      <a:pt x="563" y="675"/>
                    </a:lnTo>
                    <a:lnTo>
                      <a:pt x="567" y="699"/>
                    </a:lnTo>
                    <a:lnTo>
                      <a:pt x="546" y="692"/>
                    </a:lnTo>
                    <a:lnTo>
                      <a:pt x="546" y="659"/>
                    </a:lnTo>
                    <a:lnTo>
                      <a:pt x="546" y="659"/>
                    </a:lnTo>
                    <a:lnTo>
                      <a:pt x="546" y="659"/>
                    </a:lnTo>
                    <a:close/>
                    <a:moveTo>
                      <a:pt x="201" y="605"/>
                    </a:moveTo>
                    <a:lnTo>
                      <a:pt x="189" y="593"/>
                    </a:lnTo>
                    <a:lnTo>
                      <a:pt x="206" y="593"/>
                    </a:lnTo>
                    <a:lnTo>
                      <a:pt x="201" y="605"/>
                    </a:lnTo>
                    <a:lnTo>
                      <a:pt x="201" y="605"/>
                    </a:lnTo>
                    <a:lnTo>
                      <a:pt x="201" y="605"/>
                    </a:lnTo>
                    <a:close/>
                    <a:moveTo>
                      <a:pt x="189" y="666"/>
                    </a:moveTo>
                    <a:lnTo>
                      <a:pt x="168" y="683"/>
                    </a:lnTo>
                    <a:lnTo>
                      <a:pt x="163" y="699"/>
                    </a:lnTo>
                    <a:lnTo>
                      <a:pt x="130" y="704"/>
                    </a:lnTo>
                    <a:lnTo>
                      <a:pt x="126" y="720"/>
                    </a:lnTo>
                    <a:lnTo>
                      <a:pt x="130" y="732"/>
                    </a:lnTo>
                    <a:lnTo>
                      <a:pt x="100" y="758"/>
                    </a:lnTo>
                    <a:lnTo>
                      <a:pt x="83" y="758"/>
                    </a:lnTo>
                    <a:lnTo>
                      <a:pt x="76" y="786"/>
                    </a:lnTo>
                    <a:lnTo>
                      <a:pt x="17" y="827"/>
                    </a:lnTo>
                    <a:lnTo>
                      <a:pt x="24" y="803"/>
                    </a:lnTo>
                    <a:lnTo>
                      <a:pt x="55" y="770"/>
                    </a:lnTo>
                    <a:lnTo>
                      <a:pt x="71" y="753"/>
                    </a:lnTo>
                    <a:lnTo>
                      <a:pt x="76" y="753"/>
                    </a:lnTo>
                    <a:lnTo>
                      <a:pt x="130" y="692"/>
                    </a:lnTo>
                    <a:lnTo>
                      <a:pt x="130" y="699"/>
                    </a:lnTo>
                    <a:lnTo>
                      <a:pt x="130" y="692"/>
                    </a:lnTo>
                    <a:lnTo>
                      <a:pt x="137" y="692"/>
                    </a:lnTo>
                    <a:lnTo>
                      <a:pt x="147" y="666"/>
                    </a:lnTo>
                    <a:lnTo>
                      <a:pt x="151" y="675"/>
                    </a:lnTo>
                    <a:lnTo>
                      <a:pt x="168" y="659"/>
                    </a:lnTo>
                    <a:lnTo>
                      <a:pt x="168" y="649"/>
                    </a:lnTo>
                    <a:lnTo>
                      <a:pt x="163" y="638"/>
                    </a:lnTo>
                    <a:lnTo>
                      <a:pt x="180" y="649"/>
                    </a:lnTo>
                    <a:lnTo>
                      <a:pt x="168" y="626"/>
                    </a:lnTo>
                    <a:lnTo>
                      <a:pt x="168" y="621"/>
                    </a:lnTo>
                    <a:lnTo>
                      <a:pt x="180" y="626"/>
                    </a:lnTo>
                    <a:lnTo>
                      <a:pt x="180" y="593"/>
                    </a:lnTo>
                    <a:lnTo>
                      <a:pt x="185" y="609"/>
                    </a:lnTo>
                    <a:lnTo>
                      <a:pt x="180" y="638"/>
                    </a:lnTo>
                    <a:lnTo>
                      <a:pt x="185" y="642"/>
                    </a:lnTo>
                    <a:lnTo>
                      <a:pt x="189" y="666"/>
                    </a:lnTo>
                    <a:lnTo>
                      <a:pt x="189" y="666"/>
                    </a:lnTo>
                    <a:lnTo>
                      <a:pt x="189" y="666"/>
                    </a:lnTo>
                    <a:close/>
                    <a:moveTo>
                      <a:pt x="475" y="621"/>
                    </a:moveTo>
                    <a:lnTo>
                      <a:pt x="475" y="605"/>
                    </a:lnTo>
                    <a:lnTo>
                      <a:pt x="475" y="621"/>
                    </a:lnTo>
                    <a:lnTo>
                      <a:pt x="475" y="621"/>
                    </a:lnTo>
                    <a:lnTo>
                      <a:pt x="475" y="621"/>
                    </a:lnTo>
                    <a:close/>
                    <a:moveTo>
                      <a:pt x="454" y="699"/>
                    </a:moveTo>
                    <a:lnTo>
                      <a:pt x="475" y="666"/>
                    </a:lnTo>
                    <a:lnTo>
                      <a:pt x="492" y="621"/>
                    </a:lnTo>
                    <a:lnTo>
                      <a:pt x="503" y="609"/>
                    </a:lnTo>
                    <a:lnTo>
                      <a:pt x="503" y="675"/>
                    </a:lnTo>
                    <a:lnTo>
                      <a:pt x="470" y="699"/>
                    </a:lnTo>
                    <a:lnTo>
                      <a:pt x="459" y="732"/>
                    </a:lnTo>
                    <a:lnTo>
                      <a:pt x="449" y="749"/>
                    </a:lnTo>
                    <a:lnTo>
                      <a:pt x="454" y="699"/>
                    </a:lnTo>
                    <a:lnTo>
                      <a:pt x="454" y="699"/>
                    </a:lnTo>
                    <a:lnTo>
                      <a:pt x="454" y="699"/>
                    </a:lnTo>
                    <a:close/>
                    <a:moveTo>
                      <a:pt x="449" y="675"/>
                    </a:moveTo>
                    <a:lnTo>
                      <a:pt x="433" y="732"/>
                    </a:lnTo>
                    <a:lnTo>
                      <a:pt x="449" y="753"/>
                    </a:lnTo>
                    <a:lnTo>
                      <a:pt x="437" y="770"/>
                    </a:lnTo>
                    <a:lnTo>
                      <a:pt x="421" y="770"/>
                    </a:lnTo>
                    <a:lnTo>
                      <a:pt x="416" y="753"/>
                    </a:lnTo>
                    <a:lnTo>
                      <a:pt x="395" y="737"/>
                    </a:lnTo>
                    <a:lnTo>
                      <a:pt x="383" y="716"/>
                    </a:lnTo>
                    <a:lnTo>
                      <a:pt x="383" y="704"/>
                    </a:lnTo>
                    <a:lnTo>
                      <a:pt x="400" y="704"/>
                    </a:lnTo>
                    <a:lnTo>
                      <a:pt x="416" y="699"/>
                    </a:lnTo>
                    <a:lnTo>
                      <a:pt x="416" y="659"/>
                    </a:lnTo>
                    <a:lnTo>
                      <a:pt x="421" y="649"/>
                    </a:lnTo>
                    <a:lnTo>
                      <a:pt x="421" y="638"/>
                    </a:lnTo>
                    <a:lnTo>
                      <a:pt x="437" y="626"/>
                    </a:lnTo>
                    <a:lnTo>
                      <a:pt x="459" y="638"/>
                    </a:lnTo>
                    <a:lnTo>
                      <a:pt x="459" y="642"/>
                    </a:lnTo>
                    <a:lnTo>
                      <a:pt x="449" y="675"/>
                    </a:lnTo>
                    <a:lnTo>
                      <a:pt x="449" y="675"/>
                    </a:lnTo>
                    <a:lnTo>
                      <a:pt x="449" y="675"/>
                    </a:lnTo>
                    <a:close/>
                    <a:moveTo>
                      <a:pt x="617" y="649"/>
                    </a:moveTo>
                    <a:lnTo>
                      <a:pt x="610" y="642"/>
                    </a:lnTo>
                    <a:lnTo>
                      <a:pt x="617" y="642"/>
                    </a:lnTo>
                    <a:lnTo>
                      <a:pt x="622" y="649"/>
                    </a:lnTo>
                    <a:lnTo>
                      <a:pt x="617" y="649"/>
                    </a:lnTo>
                    <a:lnTo>
                      <a:pt x="617" y="649"/>
                    </a:lnTo>
                    <a:lnTo>
                      <a:pt x="617" y="649"/>
                    </a:lnTo>
                    <a:close/>
                    <a:moveTo>
                      <a:pt x="395" y="675"/>
                    </a:moveTo>
                    <a:lnTo>
                      <a:pt x="383" y="666"/>
                    </a:lnTo>
                    <a:lnTo>
                      <a:pt x="400" y="649"/>
                    </a:lnTo>
                    <a:lnTo>
                      <a:pt x="407" y="659"/>
                    </a:lnTo>
                    <a:lnTo>
                      <a:pt x="395" y="675"/>
                    </a:lnTo>
                    <a:lnTo>
                      <a:pt x="395" y="675"/>
                    </a:lnTo>
                    <a:lnTo>
                      <a:pt x="395" y="675"/>
                    </a:lnTo>
                    <a:close/>
                    <a:moveTo>
                      <a:pt x="525" y="659"/>
                    </a:moveTo>
                    <a:lnTo>
                      <a:pt x="525" y="649"/>
                    </a:lnTo>
                    <a:lnTo>
                      <a:pt x="529" y="649"/>
                    </a:lnTo>
                    <a:lnTo>
                      <a:pt x="525" y="659"/>
                    </a:lnTo>
                    <a:lnTo>
                      <a:pt x="525" y="659"/>
                    </a:lnTo>
                    <a:lnTo>
                      <a:pt x="525" y="659"/>
                    </a:lnTo>
                    <a:close/>
                    <a:moveTo>
                      <a:pt x="513" y="659"/>
                    </a:moveTo>
                    <a:lnTo>
                      <a:pt x="513" y="649"/>
                    </a:lnTo>
                    <a:lnTo>
                      <a:pt x="525" y="659"/>
                    </a:lnTo>
                    <a:lnTo>
                      <a:pt x="513" y="659"/>
                    </a:lnTo>
                    <a:lnTo>
                      <a:pt x="513" y="659"/>
                    </a:lnTo>
                    <a:lnTo>
                      <a:pt x="513" y="659"/>
                    </a:lnTo>
                    <a:close/>
                    <a:moveTo>
                      <a:pt x="201" y="666"/>
                    </a:moveTo>
                    <a:lnTo>
                      <a:pt x="201" y="659"/>
                    </a:lnTo>
                    <a:lnTo>
                      <a:pt x="218" y="659"/>
                    </a:lnTo>
                    <a:lnTo>
                      <a:pt x="201" y="666"/>
                    </a:lnTo>
                    <a:lnTo>
                      <a:pt x="201" y="666"/>
                    </a:lnTo>
                    <a:lnTo>
                      <a:pt x="201" y="666"/>
                    </a:lnTo>
                    <a:close/>
                    <a:moveTo>
                      <a:pt x="610" y="716"/>
                    </a:moveTo>
                    <a:lnTo>
                      <a:pt x="610" y="704"/>
                    </a:lnTo>
                    <a:lnTo>
                      <a:pt x="600" y="692"/>
                    </a:lnTo>
                    <a:lnTo>
                      <a:pt x="610" y="666"/>
                    </a:lnTo>
                    <a:lnTo>
                      <a:pt x="617" y="704"/>
                    </a:lnTo>
                    <a:lnTo>
                      <a:pt x="610" y="716"/>
                    </a:lnTo>
                    <a:lnTo>
                      <a:pt x="610" y="716"/>
                    </a:lnTo>
                    <a:lnTo>
                      <a:pt x="610" y="716"/>
                    </a:lnTo>
                    <a:close/>
                    <a:moveTo>
                      <a:pt x="529" y="699"/>
                    </a:moveTo>
                    <a:lnTo>
                      <a:pt x="529" y="716"/>
                    </a:lnTo>
                    <a:lnTo>
                      <a:pt x="541" y="720"/>
                    </a:lnTo>
                    <a:lnTo>
                      <a:pt x="525" y="732"/>
                    </a:lnTo>
                    <a:lnTo>
                      <a:pt x="492" y="732"/>
                    </a:lnTo>
                    <a:lnTo>
                      <a:pt x="475" y="720"/>
                    </a:lnTo>
                    <a:lnTo>
                      <a:pt x="475" y="716"/>
                    </a:lnTo>
                    <a:lnTo>
                      <a:pt x="508" y="692"/>
                    </a:lnTo>
                    <a:lnTo>
                      <a:pt x="529" y="699"/>
                    </a:lnTo>
                    <a:lnTo>
                      <a:pt x="529" y="699"/>
                    </a:lnTo>
                    <a:lnTo>
                      <a:pt x="529" y="699"/>
                    </a:lnTo>
                    <a:close/>
                    <a:moveTo>
                      <a:pt x="584" y="704"/>
                    </a:moveTo>
                    <a:lnTo>
                      <a:pt x="579" y="692"/>
                    </a:lnTo>
                    <a:lnTo>
                      <a:pt x="584" y="704"/>
                    </a:lnTo>
                    <a:lnTo>
                      <a:pt x="584" y="704"/>
                    </a:lnTo>
                    <a:lnTo>
                      <a:pt x="584" y="704"/>
                    </a:lnTo>
                    <a:close/>
                    <a:moveTo>
                      <a:pt x="638" y="720"/>
                    </a:moveTo>
                    <a:lnTo>
                      <a:pt x="631" y="716"/>
                    </a:lnTo>
                    <a:lnTo>
                      <a:pt x="638" y="699"/>
                    </a:lnTo>
                    <a:lnTo>
                      <a:pt x="648" y="716"/>
                    </a:lnTo>
                    <a:lnTo>
                      <a:pt x="638" y="720"/>
                    </a:lnTo>
                    <a:lnTo>
                      <a:pt x="638" y="720"/>
                    </a:lnTo>
                    <a:lnTo>
                      <a:pt x="638" y="720"/>
                    </a:lnTo>
                    <a:close/>
                    <a:moveTo>
                      <a:pt x="454" y="898"/>
                    </a:moveTo>
                    <a:lnTo>
                      <a:pt x="449" y="881"/>
                    </a:lnTo>
                    <a:lnTo>
                      <a:pt x="437" y="886"/>
                    </a:lnTo>
                    <a:lnTo>
                      <a:pt x="433" y="881"/>
                    </a:lnTo>
                    <a:lnTo>
                      <a:pt x="437" y="881"/>
                    </a:lnTo>
                    <a:lnTo>
                      <a:pt x="433" y="864"/>
                    </a:lnTo>
                    <a:lnTo>
                      <a:pt x="421" y="886"/>
                    </a:lnTo>
                    <a:lnTo>
                      <a:pt x="407" y="886"/>
                    </a:lnTo>
                    <a:lnTo>
                      <a:pt x="416" y="864"/>
                    </a:lnTo>
                    <a:lnTo>
                      <a:pt x="400" y="864"/>
                    </a:lnTo>
                    <a:lnTo>
                      <a:pt x="378" y="886"/>
                    </a:lnTo>
                    <a:lnTo>
                      <a:pt x="383" y="886"/>
                    </a:lnTo>
                    <a:lnTo>
                      <a:pt x="378" y="898"/>
                    </a:lnTo>
                    <a:lnTo>
                      <a:pt x="362" y="926"/>
                    </a:lnTo>
                    <a:lnTo>
                      <a:pt x="352" y="921"/>
                    </a:lnTo>
                    <a:lnTo>
                      <a:pt x="345" y="914"/>
                    </a:lnTo>
                    <a:lnTo>
                      <a:pt x="369" y="848"/>
                    </a:lnTo>
                    <a:lnTo>
                      <a:pt x="421" y="831"/>
                    </a:lnTo>
                    <a:lnTo>
                      <a:pt x="421" y="810"/>
                    </a:lnTo>
                    <a:lnTo>
                      <a:pt x="449" y="810"/>
                    </a:lnTo>
                    <a:lnTo>
                      <a:pt x="454" y="794"/>
                    </a:lnTo>
                    <a:lnTo>
                      <a:pt x="475" y="803"/>
                    </a:lnTo>
                    <a:lnTo>
                      <a:pt x="487" y="810"/>
                    </a:lnTo>
                    <a:lnTo>
                      <a:pt x="487" y="831"/>
                    </a:lnTo>
                    <a:lnTo>
                      <a:pt x="470" y="848"/>
                    </a:lnTo>
                    <a:lnTo>
                      <a:pt x="492" y="831"/>
                    </a:lnTo>
                    <a:lnTo>
                      <a:pt x="508" y="831"/>
                    </a:lnTo>
                    <a:lnTo>
                      <a:pt x="513" y="815"/>
                    </a:lnTo>
                    <a:lnTo>
                      <a:pt x="525" y="803"/>
                    </a:lnTo>
                    <a:lnTo>
                      <a:pt x="546" y="810"/>
                    </a:lnTo>
                    <a:lnTo>
                      <a:pt x="555" y="777"/>
                    </a:lnTo>
                    <a:lnTo>
                      <a:pt x="567" y="786"/>
                    </a:lnTo>
                    <a:lnTo>
                      <a:pt x="584" y="777"/>
                    </a:lnTo>
                    <a:lnTo>
                      <a:pt x="600" y="777"/>
                    </a:lnTo>
                    <a:lnTo>
                      <a:pt x="593" y="732"/>
                    </a:lnTo>
                    <a:lnTo>
                      <a:pt x="593" y="716"/>
                    </a:lnTo>
                    <a:lnTo>
                      <a:pt x="610" y="732"/>
                    </a:lnTo>
                    <a:lnTo>
                      <a:pt x="631" y="737"/>
                    </a:lnTo>
                    <a:lnTo>
                      <a:pt x="638" y="753"/>
                    </a:lnTo>
                    <a:lnTo>
                      <a:pt x="648" y="753"/>
                    </a:lnTo>
                    <a:lnTo>
                      <a:pt x="648" y="770"/>
                    </a:lnTo>
                    <a:lnTo>
                      <a:pt x="664" y="786"/>
                    </a:lnTo>
                    <a:lnTo>
                      <a:pt x="638" y="803"/>
                    </a:lnTo>
                    <a:lnTo>
                      <a:pt x="648" y="810"/>
                    </a:lnTo>
                    <a:lnTo>
                      <a:pt x="664" y="810"/>
                    </a:lnTo>
                    <a:lnTo>
                      <a:pt x="655" y="831"/>
                    </a:lnTo>
                    <a:lnTo>
                      <a:pt x="669" y="831"/>
                    </a:lnTo>
                    <a:lnTo>
                      <a:pt x="664" y="860"/>
                    </a:lnTo>
                    <a:lnTo>
                      <a:pt x="669" y="869"/>
                    </a:lnTo>
                    <a:lnTo>
                      <a:pt x="676" y="898"/>
                    </a:lnTo>
                    <a:lnTo>
                      <a:pt x="655" y="926"/>
                    </a:lnTo>
                    <a:lnTo>
                      <a:pt x="664" y="938"/>
                    </a:lnTo>
                    <a:lnTo>
                      <a:pt x="655" y="926"/>
                    </a:lnTo>
                    <a:lnTo>
                      <a:pt x="648" y="926"/>
                    </a:lnTo>
                    <a:lnTo>
                      <a:pt x="655" y="938"/>
                    </a:lnTo>
                    <a:lnTo>
                      <a:pt x="648" y="975"/>
                    </a:lnTo>
                    <a:lnTo>
                      <a:pt x="638" y="926"/>
                    </a:lnTo>
                    <a:lnTo>
                      <a:pt x="622" y="914"/>
                    </a:lnTo>
                    <a:lnTo>
                      <a:pt x="622" y="898"/>
                    </a:lnTo>
                    <a:lnTo>
                      <a:pt x="610" y="902"/>
                    </a:lnTo>
                    <a:lnTo>
                      <a:pt x="610" y="914"/>
                    </a:lnTo>
                    <a:lnTo>
                      <a:pt x="600" y="921"/>
                    </a:lnTo>
                    <a:lnTo>
                      <a:pt x="593" y="938"/>
                    </a:lnTo>
                    <a:lnTo>
                      <a:pt x="593" y="954"/>
                    </a:lnTo>
                    <a:lnTo>
                      <a:pt x="610" y="959"/>
                    </a:lnTo>
                    <a:lnTo>
                      <a:pt x="617" y="992"/>
                    </a:lnTo>
                    <a:lnTo>
                      <a:pt x="593" y="1025"/>
                    </a:lnTo>
                    <a:lnTo>
                      <a:pt x="584" y="1025"/>
                    </a:lnTo>
                    <a:lnTo>
                      <a:pt x="579" y="1009"/>
                    </a:lnTo>
                    <a:lnTo>
                      <a:pt x="584" y="980"/>
                    </a:lnTo>
                    <a:lnTo>
                      <a:pt x="579" y="980"/>
                    </a:lnTo>
                    <a:lnTo>
                      <a:pt x="567" y="997"/>
                    </a:lnTo>
                    <a:lnTo>
                      <a:pt x="563" y="997"/>
                    </a:lnTo>
                    <a:lnTo>
                      <a:pt x="513" y="980"/>
                    </a:lnTo>
                    <a:lnTo>
                      <a:pt x="503" y="971"/>
                    </a:lnTo>
                    <a:lnTo>
                      <a:pt x="492" y="926"/>
                    </a:lnTo>
                    <a:lnTo>
                      <a:pt x="513" y="886"/>
                    </a:lnTo>
                    <a:lnTo>
                      <a:pt x="492" y="869"/>
                    </a:lnTo>
                    <a:lnTo>
                      <a:pt x="459" y="860"/>
                    </a:lnTo>
                    <a:lnTo>
                      <a:pt x="454" y="860"/>
                    </a:lnTo>
                    <a:lnTo>
                      <a:pt x="454" y="869"/>
                    </a:lnTo>
                    <a:lnTo>
                      <a:pt x="449" y="881"/>
                    </a:lnTo>
                    <a:lnTo>
                      <a:pt x="454" y="886"/>
                    </a:lnTo>
                    <a:lnTo>
                      <a:pt x="454" y="898"/>
                    </a:lnTo>
                    <a:lnTo>
                      <a:pt x="454" y="898"/>
                    </a:lnTo>
                    <a:lnTo>
                      <a:pt x="454" y="898"/>
                    </a:lnTo>
                    <a:close/>
                    <a:moveTo>
                      <a:pt x="470" y="770"/>
                    </a:moveTo>
                    <a:lnTo>
                      <a:pt x="454" y="758"/>
                    </a:lnTo>
                    <a:lnTo>
                      <a:pt x="470" y="753"/>
                    </a:lnTo>
                    <a:lnTo>
                      <a:pt x="475" y="758"/>
                    </a:lnTo>
                    <a:lnTo>
                      <a:pt x="470" y="770"/>
                    </a:lnTo>
                    <a:lnTo>
                      <a:pt x="470" y="770"/>
                    </a:lnTo>
                    <a:lnTo>
                      <a:pt x="470" y="770"/>
                    </a:lnTo>
                    <a:close/>
                    <a:moveTo>
                      <a:pt x="546" y="770"/>
                    </a:moveTo>
                    <a:lnTo>
                      <a:pt x="541" y="758"/>
                    </a:lnTo>
                    <a:lnTo>
                      <a:pt x="541" y="753"/>
                    </a:lnTo>
                    <a:lnTo>
                      <a:pt x="546" y="758"/>
                    </a:lnTo>
                    <a:lnTo>
                      <a:pt x="546" y="770"/>
                    </a:lnTo>
                    <a:lnTo>
                      <a:pt x="546" y="770"/>
                    </a:lnTo>
                    <a:lnTo>
                      <a:pt x="546" y="770"/>
                    </a:lnTo>
                    <a:close/>
                    <a:moveTo>
                      <a:pt x="7" y="864"/>
                    </a:moveTo>
                    <a:lnTo>
                      <a:pt x="0" y="843"/>
                    </a:lnTo>
                    <a:lnTo>
                      <a:pt x="7" y="843"/>
                    </a:lnTo>
                    <a:lnTo>
                      <a:pt x="17" y="860"/>
                    </a:lnTo>
                    <a:lnTo>
                      <a:pt x="7" y="864"/>
                    </a:lnTo>
                    <a:lnTo>
                      <a:pt x="7" y="864"/>
                    </a:lnTo>
                    <a:lnTo>
                      <a:pt x="7" y="864"/>
                    </a:lnTo>
                    <a:close/>
                    <a:moveTo>
                      <a:pt x="416" y="898"/>
                    </a:moveTo>
                    <a:lnTo>
                      <a:pt x="407" y="886"/>
                    </a:lnTo>
                    <a:lnTo>
                      <a:pt x="421" y="886"/>
                    </a:lnTo>
                    <a:lnTo>
                      <a:pt x="421" y="898"/>
                    </a:lnTo>
                    <a:lnTo>
                      <a:pt x="416" y="898"/>
                    </a:lnTo>
                    <a:lnTo>
                      <a:pt x="416" y="898"/>
                    </a:lnTo>
                    <a:lnTo>
                      <a:pt x="416" y="898"/>
                    </a:lnTo>
                    <a:close/>
                    <a:moveTo>
                      <a:pt x="617" y="926"/>
                    </a:moveTo>
                    <a:lnTo>
                      <a:pt x="610" y="914"/>
                    </a:lnTo>
                    <a:lnTo>
                      <a:pt x="617" y="902"/>
                    </a:lnTo>
                    <a:lnTo>
                      <a:pt x="622" y="914"/>
                    </a:lnTo>
                    <a:lnTo>
                      <a:pt x="617" y="926"/>
                    </a:lnTo>
                    <a:lnTo>
                      <a:pt x="617" y="926"/>
                    </a:lnTo>
                    <a:lnTo>
                      <a:pt x="617" y="926"/>
                    </a:lnTo>
                    <a:close/>
                    <a:moveTo>
                      <a:pt x="114" y="921"/>
                    </a:moveTo>
                    <a:lnTo>
                      <a:pt x="109" y="921"/>
                    </a:lnTo>
                    <a:lnTo>
                      <a:pt x="114" y="914"/>
                    </a:lnTo>
                    <a:lnTo>
                      <a:pt x="114" y="921"/>
                    </a:lnTo>
                    <a:lnTo>
                      <a:pt x="114" y="921"/>
                    </a:lnTo>
                    <a:lnTo>
                      <a:pt x="114" y="921"/>
                    </a:lnTo>
                    <a:close/>
                    <a:moveTo>
                      <a:pt x="352" y="959"/>
                    </a:moveTo>
                    <a:lnTo>
                      <a:pt x="340" y="942"/>
                    </a:lnTo>
                    <a:lnTo>
                      <a:pt x="362" y="938"/>
                    </a:lnTo>
                    <a:lnTo>
                      <a:pt x="369" y="954"/>
                    </a:lnTo>
                    <a:lnTo>
                      <a:pt x="369" y="959"/>
                    </a:lnTo>
                    <a:lnTo>
                      <a:pt x="352" y="959"/>
                    </a:lnTo>
                    <a:lnTo>
                      <a:pt x="352" y="959"/>
                    </a:lnTo>
                    <a:lnTo>
                      <a:pt x="352" y="959"/>
                    </a:lnTo>
                    <a:close/>
                    <a:moveTo>
                      <a:pt x="255" y="975"/>
                    </a:moveTo>
                    <a:lnTo>
                      <a:pt x="244" y="975"/>
                    </a:lnTo>
                    <a:lnTo>
                      <a:pt x="255" y="959"/>
                    </a:lnTo>
                    <a:lnTo>
                      <a:pt x="255" y="975"/>
                    </a:lnTo>
                    <a:lnTo>
                      <a:pt x="255" y="975"/>
                    </a:lnTo>
                    <a:lnTo>
                      <a:pt x="255" y="975"/>
                    </a:lnTo>
                    <a:close/>
                    <a:moveTo>
                      <a:pt x="345" y="992"/>
                    </a:moveTo>
                    <a:lnTo>
                      <a:pt x="340" y="980"/>
                    </a:lnTo>
                    <a:lnTo>
                      <a:pt x="352" y="992"/>
                    </a:lnTo>
                    <a:lnTo>
                      <a:pt x="345" y="992"/>
                    </a:lnTo>
                    <a:lnTo>
                      <a:pt x="345" y="992"/>
                    </a:lnTo>
                    <a:lnTo>
                      <a:pt x="345" y="992"/>
                    </a:lnTo>
                    <a:close/>
                    <a:moveTo>
                      <a:pt x="310" y="997"/>
                    </a:moveTo>
                    <a:lnTo>
                      <a:pt x="298" y="997"/>
                    </a:lnTo>
                    <a:lnTo>
                      <a:pt x="277" y="997"/>
                    </a:lnTo>
                    <a:lnTo>
                      <a:pt x="277" y="992"/>
                    </a:lnTo>
                    <a:lnTo>
                      <a:pt x="293" y="980"/>
                    </a:lnTo>
                    <a:lnTo>
                      <a:pt x="314" y="992"/>
                    </a:lnTo>
                    <a:lnTo>
                      <a:pt x="310" y="997"/>
                    </a:lnTo>
                    <a:lnTo>
                      <a:pt x="310" y="997"/>
                    </a:lnTo>
                    <a:lnTo>
                      <a:pt x="310" y="997"/>
                    </a:lnTo>
                    <a:close/>
                    <a:moveTo>
                      <a:pt x="277" y="1030"/>
                    </a:moveTo>
                    <a:lnTo>
                      <a:pt x="277" y="1025"/>
                    </a:lnTo>
                    <a:lnTo>
                      <a:pt x="277" y="1030"/>
                    </a:lnTo>
                    <a:lnTo>
                      <a:pt x="277" y="1030"/>
                    </a:lnTo>
                    <a:lnTo>
                      <a:pt x="277" y="1030"/>
                    </a:lnTo>
                    <a:close/>
                    <a:moveTo>
                      <a:pt x="206" y="1065"/>
                    </a:moveTo>
                    <a:lnTo>
                      <a:pt x="201" y="1053"/>
                    </a:lnTo>
                    <a:lnTo>
                      <a:pt x="234" y="1037"/>
                    </a:lnTo>
                    <a:lnTo>
                      <a:pt x="234" y="1053"/>
                    </a:lnTo>
                    <a:lnTo>
                      <a:pt x="218" y="1046"/>
                    </a:lnTo>
                    <a:lnTo>
                      <a:pt x="206" y="1065"/>
                    </a:lnTo>
                    <a:lnTo>
                      <a:pt x="206" y="1065"/>
                    </a:lnTo>
                    <a:lnTo>
                      <a:pt x="206" y="106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6" name="Freeform 555">
                <a:extLst>
                  <a:ext uri="{FF2B5EF4-FFF2-40B4-BE49-F238E27FC236}">
                    <a16:creationId xmlns:a16="http://schemas.microsoft.com/office/drawing/2014/main" id="{51ABA6E6-8EAE-476A-829B-0CA5B3AB5E50}"/>
                  </a:ext>
                </a:extLst>
              </p:cNvPr>
              <p:cNvSpPr>
                <a:spLocks/>
              </p:cNvSpPr>
              <p:nvPr/>
            </p:nvSpPr>
            <p:spPr bwMode="gray">
              <a:xfrm>
                <a:off x="9717431" y="4024713"/>
                <a:ext cx="9880" cy="2059"/>
              </a:xfrm>
              <a:custGeom>
                <a:avLst/>
                <a:gdLst>
                  <a:gd name="T0" fmla="*/ 24 w 24"/>
                  <a:gd name="T1" fmla="*/ 0 h 5"/>
                  <a:gd name="T2" fmla="*/ 16 w 24"/>
                  <a:gd name="T3" fmla="*/ 5 h 5"/>
                  <a:gd name="T4" fmla="*/ 0 w 24"/>
                  <a:gd name="T5" fmla="*/ 5 h 5"/>
                  <a:gd name="T6" fmla="*/ 7 w 24"/>
                  <a:gd name="T7" fmla="*/ 0 h 5"/>
                  <a:gd name="T8" fmla="*/ 24 w 24"/>
                  <a:gd name="T9" fmla="*/ 0 h 5"/>
                  <a:gd name="T10" fmla="*/ 24 w 24"/>
                  <a:gd name="T11" fmla="*/ 0 h 5"/>
                  <a:gd name="T12" fmla="*/ 24 w 2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4" h="5">
                    <a:moveTo>
                      <a:pt x="24" y="0"/>
                    </a:moveTo>
                    <a:lnTo>
                      <a:pt x="16" y="5"/>
                    </a:lnTo>
                    <a:lnTo>
                      <a:pt x="0" y="5"/>
                    </a:lnTo>
                    <a:lnTo>
                      <a:pt x="7" y="0"/>
                    </a:lnTo>
                    <a:lnTo>
                      <a:pt x="24" y="0"/>
                    </a:lnTo>
                    <a:lnTo>
                      <a:pt x="24" y="0"/>
                    </a:lnTo>
                    <a:lnTo>
                      <a:pt x="24"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7" name="Freeform 567">
                <a:extLst>
                  <a:ext uri="{FF2B5EF4-FFF2-40B4-BE49-F238E27FC236}">
                    <a16:creationId xmlns:a16="http://schemas.microsoft.com/office/drawing/2014/main" id="{4A4B4625-93BA-4C3F-93FE-A19956927C07}"/>
                  </a:ext>
                </a:extLst>
              </p:cNvPr>
              <p:cNvSpPr>
                <a:spLocks noEditPoints="1"/>
              </p:cNvSpPr>
              <p:nvPr/>
            </p:nvSpPr>
            <p:spPr bwMode="gray">
              <a:xfrm>
                <a:off x="9535473" y="3449135"/>
                <a:ext cx="239180" cy="447123"/>
              </a:xfrm>
              <a:custGeom>
                <a:avLst/>
                <a:gdLst>
                  <a:gd name="T0" fmla="*/ 298 w 581"/>
                  <a:gd name="T1" fmla="*/ 1070 h 1086"/>
                  <a:gd name="T2" fmla="*/ 267 w 581"/>
                  <a:gd name="T3" fmla="*/ 1046 h 1086"/>
                  <a:gd name="T4" fmla="*/ 217 w 581"/>
                  <a:gd name="T5" fmla="*/ 1025 h 1086"/>
                  <a:gd name="T6" fmla="*/ 196 w 581"/>
                  <a:gd name="T7" fmla="*/ 1025 h 1086"/>
                  <a:gd name="T8" fmla="*/ 147 w 581"/>
                  <a:gd name="T9" fmla="*/ 968 h 1086"/>
                  <a:gd name="T10" fmla="*/ 121 w 581"/>
                  <a:gd name="T11" fmla="*/ 930 h 1086"/>
                  <a:gd name="T12" fmla="*/ 92 w 581"/>
                  <a:gd name="T13" fmla="*/ 885 h 1086"/>
                  <a:gd name="T14" fmla="*/ 66 w 581"/>
                  <a:gd name="T15" fmla="*/ 881 h 1086"/>
                  <a:gd name="T16" fmla="*/ 104 w 581"/>
                  <a:gd name="T17" fmla="*/ 720 h 1086"/>
                  <a:gd name="T18" fmla="*/ 147 w 581"/>
                  <a:gd name="T19" fmla="*/ 588 h 1086"/>
                  <a:gd name="T20" fmla="*/ 137 w 581"/>
                  <a:gd name="T21" fmla="*/ 543 h 1086"/>
                  <a:gd name="T22" fmla="*/ 71 w 581"/>
                  <a:gd name="T23" fmla="*/ 432 h 1086"/>
                  <a:gd name="T24" fmla="*/ 88 w 581"/>
                  <a:gd name="T25" fmla="*/ 382 h 1086"/>
                  <a:gd name="T26" fmla="*/ 109 w 581"/>
                  <a:gd name="T27" fmla="*/ 304 h 1086"/>
                  <a:gd name="T28" fmla="*/ 33 w 581"/>
                  <a:gd name="T29" fmla="*/ 210 h 1086"/>
                  <a:gd name="T30" fmla="*/ 12 w 581"/>
                  <a:gd name="T31" fmla="*/ 156 h 1086"/>
                  <a:gd name="T32" fmla="*/ 33 w 581"/>
                  <a:gd name="T33" fmla="*/ 82 h 1086"/>
                  <a:gd name="T34" fmla="*/ 66 w 581"/>
                  <a:gd name="T35" fmla="*/ 56 h 1086"/>
                  <a:gd name="T36" fmla="*/ 147 w 581"/>
                  <a:gd name="T37" fmla="*/ 28 h 1086"/>
                  <a:gd name="T38" fmla="*/ 191 w 581"/>
                  <a:gd name="T39" fmla="*/ 0 h 1086"/>
                  <a:gd name="T40" fmla="*/ 217 w 581"/>
                  <a:gd name="T41" fmla="*/ 28 h 1086"/>
                  <a:gd name="T42" fmla="*/ 243 w 581"/>
                  <a:gd name="T43" fmla="*/ 73 h 1086"/>
                  <a:gd name="T44" fmla="*/ 281 w 581"/>
                  <a:gd name="T45" fmla="*/ 106 h 1086"/>
                  <a:gd name="T46" fmla="*/ 272 w 581"/>
                  <a:gd name="T47" fmla="*/ 160 h 1086"/>
                  <a:gd name="T48" fmla="*/ 298 w 581"/>
                  <a:gd name="T49" fmla="*/ 200 h 1086"/>
                  <a:gd name="T50" fmla="*/ 359 w 581"/>
                  <a:gd name="T51" fmla="*/ 182 h 1086"/>
                  <a:gd name="T52" fmla="*/ 406 w 581"/>
                  <a:gd name="T53" fmla="*/ 182 h 1086"/>
                  <a:gd name="T54" fmla="*/ 428 w 581"/>
                  <a:gd name="T55" fmla="*/ 156 h 1086"/>
                  <a:gd name="T56" fmla="*/ 527 w 581"/>
                  <a:gd name="T57" fmla="*/ 238 h 1086"/>
                  <a:gd name="T58" fmla="*/ 569 w 581"/>
                  <a:gd name="T59" fmla="*/ 345 h 1086"/>
                  <a:gd name="T60" fmla="*/ 581 w 581"/>
                  <a:gd name="T61" fmla="*/ 404 h 1086"/>
                  <a:gd name="T62" fmla="*/ 543 w 581"/>
                  <a:gd name="T63" fmla="*/ 453 h 1086"/>
                  <a:gd name="T64" fmla="*/ 414 w 581"/>
                  <a:gd name="T65" fmla="*/ 453 h 1086"/>
                  <a:gd name="T66" fmla="*/ 373 w 581"/>
                  <a:gd name="T67" fmla="*/ 510 h 1086"/>
                  <a:gd name="T68" fmla="*/ 364 w 581"/>
                  <a:gd name="T69" fmla="*/ 581 h 1086"/>
                  <a:gd name="T70" fmla="*/ 373 w 581"/>
                  <a:gd name="T71" fmla="*/ 609 h 1086"/>
                  <a:gd name="T72" fmla="*/ 359 w 581"/>
                  <a:gd name="T73" fmla="*/ 604 h 1086"/>
                  <a:gd name="T74" fmla="*/ 310 w 581"/>
                  <a:gd name="T75" fmla="*/ 571 h 1086"/>
                  <a:gd name="T76" fmla="*/ 251 w 581"/>
                  <a:gd name="T77" fmla="*/ 581 h 1086"/>
                  <a:gd name="T78" fmla="*/ 191 w 581"/>
                  <a:gd name="T79" fmla="*/ 531 h 1086"/>
                  <a:gd name="T80" fmla="*/ 163 w 581"/>
                  <a:gd name="T81" fmla="*/ 666 h 1086"/>
                  <a:gd name="T82" fmla="*/ 142 w 581"/>
                  <a:gd name="T83" fmla="*/ 819 h 1086"/>
                  <a:gd name="T84" fmla="*/ 191 w 581"/>
                  <a:gd name="T85" fmla="*/ 876 h 1086"/>
                  <a:gd name="T86" fmla="*/ 201 w 581"/>
                  <a:gd name="T87" fmla="*/ 885 h 1086"/>
                  <a:gd name="T88" fmla="*/ 213 w 581"/>
                  <a:gd name="T89" fmla="*/ 935 h 1086"/>
                  <a:gd name="T90" fmla="*/ 217 w 581"/>
                  <a:gd name="T91" fmla="*/ 975 h 1086"/>
                  <a:gd name="T92" fmla="*/ 281 w 581"/>
                  <a:gd name="T93" fmla="*/ 996 h 1086"/>
                  <a:gd name="T94" fmla="*/ 336 w 581"/>
                  <a:gd name="T95" fmla="*/ 1046 h 1086"/>
                  <a:gd name="T96" fmla="*/ 352 w 581"/>
                  <a:gd name="T97" fmla="*/ 626 h 1086"/>
                  <a:gd name="T98" fmla="*/ 359 w 581"/>
                  <a:gd name="T99" fmla="*/ 626 h 1086"/>
                  <a:gd name="T100" fmla="*/ 364 w 581"/>
                  <a:gd name="T101" fmla="*/ 642 h 1086"/>
                  <a:gd name="T102" fmla="*/ 196 w 581"/>
                  <a:gd name="T103" fmla="*/ 791 h 1086"/>
                  <a:gd name="T104" fmla="*/ 191 w 581"/>
                  <a:gd name="T105" fmla="*/ 786 h 1086"/>
                  <a:gd name="T106" fmla="*/ 196 w 581"/>
                  <a:gd name="T107" fmla="*/ 808 h 1086"/>
                  <a:gd name="T108" fmla="*/ 66 w 581"/>
                  <a:gd name="T109" fmla="*/ 843 h 1086"/>
                  <a:gd name="T110" fmla="*/ 71 w 581"/>
                  <a:gd name="T111" fmla="*/ 843 h 1086"/>
                  <a:gd name="T112" fmla="*/ 66 w 581"/>
                  <a:gd name="T113" fmla="*/ 902 h 1086"/>
                  <a:gd name="T114" fmla="*/ 88 w 581"/>
                  <a:gd name="T115" fmla="*/ 914 h 1086"/>
                  <a:gd name="T116" fmla="*/ 88 w 581"/>
                  <a:gd name="T117" fmla="*/ 914 h 1086"/>
                  <a:gd name="T118" fmla="*/ 158 w 581"/>
                  <a:gd name="T119" fmla="*/ 1025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1" h="1086">
                    <a:moveTo>
                      <a:pt x="336" y="1046"/>
                    </a:moveTo>
                    <a:lnTo>
                      <a:pt x="321" y="1079"/>
                    </a:lnTo>
                    <a:lnTo>
                      <a:pt x="305" y="1079"/>
                    </a:lnTo>
                    <a:lnTo>
                      <a:pt x="298" y="1070"/>
                    </a:lnTo>
                    <a:lnTo>
                      <a:pt x="267" y="1086"/>
                    </a:lnTo>
                    <a:lnTo>
                      <a:pt x="255" y="1079"/>
                    </a:lnTo>
                    <a:lnTo>
                      <a:pt x="267" y="1063"/>
                    </a:lnTo>
                    <a:lnTo>
                      <a:pt x="267" y="1046"/>
                    </a:lnTo>
                    <a:lnTo>
                      <a:pt x="251" y="1046"/>
                    </a:lnTo>
                    <a:lnTo>
                      <a:pt x="243" y="1025"/>
                    </a:lnTo>
                    <a:lnTo>
                      <a:pt x="234" y="1030"/>
                    </a:lnTo>
                    <a:lnTo>
                      <a:pt x="217" y="1025"/>
                    </a:lnTo>
                    <a:lnTo>
                      <a:pt x="213" y="1013"/>
                    </a:lnTo>
                    <a:lnTo>
                      <a:pt x="201" y="1013"/>
                    </a:lnTo>
                    <a:lnTo>
                      <a:pt x="196" y="1030"/>
                    </a:lnTo>
                    <a:lnTo>
                      <a:pt x="196" y="1025"/>
                    </a:lnTo>
                    <a:lnTo>
                      <a:pt x="163" y="996"/>
                    </a:lnTo>
                    <a:lnTo>
                      <a:pt x="175" y="987"/>
                    </a:lnTo>
                    <a:lnTo>
                      <a:pt x="158" y="987"/>
                    </a:lnTo>
                    <a:lnTo>
                      <a:pt x="147" y="968"/>
                    </a:lnTo>
                    <a:lnTo>
                      <a:pt x="137" y="942"/>
                    </a:lnTo>
                    <a:lnTo>
                      <a:pt x="125" y="935"/>
                    </a:lnTo>
                    <a:lnTo>
                      <a:pt x="121" y="935"/>
                    </a:lnTo>
                    <a:lnTo>
                      <a:pt x="121" y="930"/>
                    </a:lnTo>
                    <a:lnTo>
                      <a:pt x="104" y="919"/>
                    </a:lnTo>
                    <a:lnTo>
                      <a:pt x="92" y="897"/>
                    </a:lnTo>
                    <a:lnTo>
                      <a:pt x="92" y="897"/>
                    </a:lnTo>
                    <a:lnTo>
                      <a:pt x="92" y="885"/>
                    </a:lnTo>
                    <a:lnTo>
                      <a:pt x="83" y="897"/>
                    </a:lnTo>
                    <a:lnTo>
                      <a:pt x="83" y="902"/>
                    </a:lnTo>
                    <a:lnTo>
                      <a:pt x="66" y="897"/>
                    </a:lnTo>
                    <a:lnTo>
                      <a:pt x="66" y="881"/>
                    </a:lnTo>
                    <a:lnTo>
                      <a:pt x="71" y="831"/>
                    </a:lnTo>
                    <a:lnTo>
                      <a:pt x="104" y="748"/>
                    </a:lnTo>
                    <a:lnTo>
                      <a:pt x="104" y="737"/>
                    </a:lnTo>
                    <a:lnTo>
                      <a:pt x="104" y="720"/>
                    </a:lnTo>
                    <a:lnTo>
                      <a:pt x="137" y="699"/>
                    </a:lnTo>
                    <a:lnTo>
                      <a:pt x="163" y="642"/>
                    </a:lnTo>
                    <a:lnTo>
                      <a:pt x="147" y="604"/>
                    </a:lnTo>
                    <a:lnTo>
                      <a:pt x="147" y="588"/>
                    </a:lnTo>
                    <a:lnTo>
                      <a:pt x="137" y="571"/>
                    </a:lnTo>
                    <a:lnTo>
                      <a:pt x="125" y="548"/>
                    </a:lnTo>
                    <a:lnTo>
                      <a:pt x="125" y="543"/>
                    </a:lnTo>
                    <a:lnTo>
                      <a:pt x="137" y="543"/>
                    </a:lnTo>
                    <a:lnTo>
                      <a:pt x="137" y="498"/>
                    </a:lnTo>
                    <a:lnTo>
                      <a:pt x="121" y="477"/>
                    </a:lnTo>
                    <a:lnTo>
                      <a:pt x="92" y="460"/>
                    </a:lnTo>
                    <a:lnTo>
                      <a:pt x="71" y="432"/>
                    </a:lnTo>
                    <a:lnTo>
                      <a:pt x="66" y="404"/>
                    </a:lnTo>
                    <a:lnTo>
                      <a:pt x="66" y="387"/>
                    </a:lnTo>
                    <a:lnTo>
                      <a:pt x="83" y="382"/>
                    </a:lnTo>
                    <a:lnTo>
                      <a:pt x="88" y="382"/>
                    </a:lnTo>
                    <a:lnTo>
                      <a:pt x="92" y="333"/>
                    </a:lnTo>
                    <a:lnTo>
                      <a:pt x="109" y="326"/>
                    </a:lnTo>
                    <a:lnTo>
                      <a:pt x="109" y="304"/>
                    </a:lnTo>
                    <a:lnTo>
                      <a:pt x="109" y="304"/>
                    </a:lnTo>
                    <a:lnTo>
                      <a:pt x="92" y="309"/>
                    </a:lnTo>
                    <a:lnTo>
                      <a:pt x="83" y="276"/>
                    </a:lnTo>
                    <a:lnTo>
                      <a:pt x="88" y="267"/>
                    </a:lnTo>
                    <a:lnTo>
                      <a:pt x="33" y="210"/>
                    </a:lnTo>
                    <a:lnTo>
                      <a:pt x="29" y="165"/>
                    </a:lnTo>
                    <a:lnTo>
                      <a:pt x="12" y="165"/>
                    </a:lnTo>
                    <a:lnTo>
                      <a:pt x="0" y="144"/>
                    </a:lnTo>
                    <a:lnTo>
                      <a:pt x="12" y="156"/>
                    </a:lnTo>
                    <a:lnTo>
                      <a:pt x="33" y="144"/>
                    </a:lnTo>
                    <a:lnTo>
                      <a:pt x="29" y="111"/>
                    </a:lnTo>
                    <a:lnTo>
                      <a:pt x="33" y="106"/>
                    </a:lnTo>
                    <a:lnTo>
                      <a:pt x="33" y="82"/>
                    </a:lnTo>
                    <a:lnTo>
                      <a:pt x="38" y="66"/>
                    </a:lnTo>
                    <a:lnTo>
                      <a:pt x="50" y="66"/>
                    </a:lnTo>
                    <a:lnTo>
                      <a:pt x="50" y="49"/>
                    </a:lnTo>
                    <a:lnTo>
                      <a:pt x="66" y="56"/>
                    </a:lnTo>
                    <a:lnTo>
                      <a:pt x="109" y="49"/>
                    </a:lnTo>
                    <a:lnTo>
                      <a:pt x="121" y="49"/>
                    </a:lnTo>
                    <a:lnTo>
                      <a:pt x="125" y="33"/>
                    </a:lnTo>
                    <a:lnTo>
                      <a:pt x="147" y="28"/>
                    </a:lnTo>
                    <a:lnTo>
                      <a:pt x="158" y="28"/>
                    </a:lnTo>
                    <a:lnTo>
                      <a:pt x="158" y="11"/>
                    </a:lnTo>
                    <a:lnTo>
                      <a:pt x="175" y="11"/>
                    </a:lnTo>
                    <a:lnTo>
                      <a:pt x="191" y="0"/>
                    </a:lnTo>
                    <a:lnTo>
                      <a:pt x="196" y="11"/>
                    </a:lnTo>
                    <a:lnTo>
                      <a:pt x="201" y="16"/>
                    </a:lnTo>
                    <a:lnTo>
                      <a:pt x="213" y="11"/>
                    </a:lnTo>
                    <a:lnTo>
                      <a:pt x="217" y="28"/>
                    </a:lnTo>
                    <a:lnTo>
                      <a:pt x="229" y="28"/>
                    </a:lnTo>
                    <a:lnTo>
                      <a:pt x="217" y="56"/>
                    </a:lnTo>
                    <a:lnTo>
                      <a:pt x="229" y="73"/>
                    </a:lnTo>
                    <a:lnTo>
                      <a:pt x="243" y="73"/>
                    </a:lnTo>
                    <a:lnTo>
                      <a:pt x="251" y="66"/>
                    </a:lnTo>
                    <a:lnTo>
                      <a:pt x="281" y="73"/>
                    </a:lnTo>
                    <a:lnTo>
                      <a:pt x="272" y="82"/>
                    </a:lnTo>
                    <a:lnTo>
                      <a:pt x="281" y="106"/>
                    </a:lnTo>
                    <a:lnTo>
                      <a:pt x="272" y="123"/>
                    </a:lnTo>
                    <a:lnTo>
                      <a:pt x="281" y="139"/>
                    </a:lnTo>
                    <a:lnTo>
                      <a:pt x="267" y="156"/>
                    </a:lnTo>
                    <a:lnTo>
                      <a:pt x="272" y="160"/>
                    </a:lnTo>
                    <a:lnTo>
                      <a:pt x="272" y="177"/>
                    </a:lnTo>
                    <a:lnTo>
                      <a:pt x="255" y="217"/>
                    </a:lnTo>
                    <a:lnTo>
                      <a:pt x="272" y="222"/>
                    </a:lnTo>
                    <a:lnTo>
                      <a:pt x="298" y="200"/>
                    </a:lnTo>
                    <a:lnTo>
                      <a:pt x="310" y="182"/>
                    </a:lnTo>
                    <a:lnTo>
                      <a:pt x="321" y="182"/>
                    </a:lnTo>
                    <a:lnTo>
                      <a:pt x="336" y="165"/>
                    </a:lnTo>
                    <a:lnTo>
                      <a:pt x="359" y="182"/>
                    </a:lnTo>
                    <a:lnTo>
                      <a:pt x="373" y="193"/>
                    </a:lnTo>
                    <a:lnTo>
                      <a:pt x="373" y="200"/>
                    </a:lnTo>
                    <a:lnTo>
                      <a:pt x="390" y="182"/>
                    </a:lnTo>
                    <a:lnTo>
                      <a:pt x="406" y="182"/>
                    </a:lnTo>
                    <a:lnTo>
                      <a:pt x="406" y="177"/>
                    </a:lnTo>
                    <a:lnTo>
                      <a:pt x="418" y="165"/>
                    </a:lnTo>
                    <a:lnTo>
                      <a:pt x="418" y="160"/>
                    </a:lnTo>
                    <a:lnTo>
                      <a:pt x="428" y="156"/>
                    </a:lnTo>
                    <a:lnTo>
                      <a:pt x="466" y="160"/>
                    </a:lnTo>
                    <a:lnTo>
                      <a:pt x="489" y="200"/>
                    </a:lnTo>
                    <a:lnTo>
                      <a:pt x="520" y="222"/>
                    </a:lnTo>
                    <a:lnTo>
                      <a:pt x="527" y="238"/>
                    </a:lnTo>
                    <a:lnTo>
                      <a:pt x="520" y="293"/>
                    </a:lnTo>
                    <a:lnTo>
                      <a:pt x="543" y="326"/>
                    </a:lnTo>
                    <a:lnTo>
                      <a:pt x="569" y="333"/>
                    </a:lnTo>
                    <a:lnTo>
                      <a:pt x="569" y="345"/>
                    </a:lnTo>
                    <a:lnTo>
                      <a:pt x="569" y="349"/>
                    </a:lnTo>
                    <a:lnTo>
                      <a:pt x="581" y="361"/>
                    </a:lnTo>
                    <a:lnTo>
                      <a:pt x="574" y="399"/>
                    </a:lnTo>
                    <a:lnTo>
                      <a:pt x="581" y="404"/>
                    </a:lnTo>
                    <a:lnTo>
                      <a:pt x="574" y="437"/>
                    </a:lnTo>
                    <a:lnTo>
                      <a:pt x="553" y="453"/>
                    </a:lnTo>
                    <a:lnTo>
                      <a:pt x="543" y="470"/>
                    </a:lnTo>
                    <a:lnTo>
                      <a:pt x="543" y="453"/>
                    </a:lnTo>
                    <a:lnTo>
                      <a:pt x="527" y="444"/>
                    </a:lnTo>
                    <a:lnTo>
                      <a:pt x="466" y="453"/>
                    </a:lnTo>
                    <a:lnTo>
                      <a:pt x="444" y="444"/>
                    </a:lnTo>
                    <a:lnTo>
                      <a:pt x="414" y="453"/>
                    </a:lnTo>
                    <a:lnTo>
                      <a:pt x="397" y="470"/>
                    </a:lnTo>
                    <a:lnTo>
                      <a:pt x="380" y="498"/>
                    </a:lnTo>
                    <a:lnTo>
                      <a:pt x="364" y="498"/>
                    </a:lnTo>
                    <a:lnTo>
                      <a:pt x="373" y="510"/>
                    </a:lnTo>
                    <a:lnTo>
                      <a:pt x="359" y="510"/>
                    </a:lnTo>
                    <a:lnTo>
                      <a:pt x="352" y="531"/>
                    </a:lnTo>
                    <a:lnTo>
                      <a:pt x="364" y="555"/>
                    </a:lnTo>
                    <a:lnTo>
                      <a:pt x="364" y="581"/>
                    </a:lnTo>
                    <a:lnTo>
                      <a:pt x="380" y="597"/>
                    </a:lnTo>
                    <a:lnTo>
                      <a:pt x="380" y="621"/>
                    </a:lnTo>
                    <a:lnTo>
                      <a:pt x="397" y="654"/>
                    </a:lnTo>
                    <a:lnTo>
                      <a:pt x="373" y="609"/>
                    </a:lnTo>
                    <a:lnTo>
                      <a:pt x="364" y="609"/>
                    </a:lnTo>
                    <a:lnTo>
                      <a:pt x="364" y="621"/>
                    </a:lnTo>
                    <a:lnTo>
                      <a:pt x="352" y="609"/>
                    </a:lnTo>
                    <a:lnTo>
                      <a:pt x="359" y="604"/>
                    </a:lnTo>
                    <a:lnTo>
                      <a:pt x="343" y="604"/>
                    </a:lnTo>
                    <a:lnTo>
                      <a:pt x="336" y="588"/>
                    </a:lnTo>
                    <a:lnTo>
                      <a:pt x="326" y="588"/>
                    </a:lnTo>
                    <a:lnTo>
                      <a:pt x="310" y="571"/>
                    </a:lnTo>
                    <a:lnTo>
                      <a:pt x="288" y="581"/>
                    </a:lnTo>
                    <a:lnTo>
                      <a:pt x="267" y="581"/>
                    </a:lnTo>
                    <a:lnTo>
                      <a:pt x="255" y="588"/>
                    </a:lnTo>
                    <a:lnTo>
                      <a:pt x="251" y="581"/>
                    </a:lnTo>
                    <a:lnTo>
                      <a:pt x="255" y="515"/>
                    </a:lnTo>
                    <a:lnTo>
                      <a:pt x="229" y="515"/>
                    </a:lnTo>
                    <a:lnTo>
                      <a:pt x="196" y="526"/>
                    </a:lnTo>
                    <a:lnTo>
                      <a:pt x="191" y="531"/>
                    </a:lnTo>
                    <a:lnTo>
                      <a:pt x="196" y="548"/>
                    </a:lnTo>
                    <a:lnTo>
                      <a:pt x="191" y="581"/>
                    </a:lnTo>
                    <a:lnTo>
                      <a:pt x="191" y="609"/>
                    </a:lnTo>
                    <a:lnTo>
                      <a:pt x="163" y="666"/>
                    </a:lnTo>
                    <a:lnTo>
                      <a:pt x="158" y="708"/>
                    </a:lnTo>
                    <a:lnTo>
                      <a:pt x="125" y="748"/>
                    </a:lnTo>
                    <a:lnTo>
                      <a:pt x="125" y="791"/>
                    </a:lnTo>
                    <a:lnTo>
                      <a:pt x="142" y="819"/>
                    </a:lnTo>
                    <a:lnTo>
                      <a:pt x="137" y="826"/>
                    </a:lnTo>
                    <a:lnTo>
                      <a:pt x="147" y="831"/>
                    </a:lnTo>
                    <a:lnTo>
                      <a:pt x="180" y="826"/>
                    </a:lnTo>
                    <a:lnTo>
                      <a:pt x="191" y="876"/>
                    </a:lnTo>
                    <a:lnTo>
                      <a:pt x="196" y="885"/>
                    </a:lnTo>
                    <a:lnTo>
                      <a:pt x="201" y="885"/>
                    </a:lnTo>
                    <a:lnTo>
                      <a:pt x="196" y="881"/>
                    </a:lnTo>
                    <a:lnTo>
                      <a:pt x="201" y="885"/>
                    </a:lnTo>
                    <a:lnTo>
                      <a:pt x="217" y="959"/>
                    </a:lnTo>
                    <a:lnTo>
                      <a:pt x="229" y="975"/>
                    </a:lnTo>
                    <a:lnTo>
                      <a:pt x="217" y="968"/>
                    </a:lnTo>
                    <a:lnTo>
                      <a:pt x="213" y="935"/>
                    </a:lnTo>
                    <a:lnTo>
                      <a:pt x="201" y="935"/>
                    </a:lnTo>
                    <a:lnTo>
                      <a:pt x="196" y="935"/>
                    </a:lnTo>
                    <a:lnTo>
                      <a:pt x="201" y="952"/>
                    </a:lnTo>
                    <a:lnTo>
                      <a:pt x="217" y="975"/>
                    </a:lnTo>
                    <a:lnTo>
                      <a:pt x="234" y="975"/>
                    </a:lnTo>
                    <a:lnTo>
                      <a:pt x="243" y="992"/>
                    </a:lnTo>
                    <a:lnTo>
                      <a:pt x="255" y="996"/>
                    </a:lnTo>
                    <a:lnTo>
                      <a:pt x="281" y="996"/>
                    </a:lnTo>
                    <a:lnTo>
                      <a:pt x="281" y="992"/>
                    </a:lnTo>
                    <a:lnTo>
                      <a:pt x="298" y="996"/>
                    </a:lnTo>
                    <a:lnTo>
                      <a:pt x="310" y="1030"/>
                    </a:lnTo>
                    <a:lnTo>
                      <a:pt x="336" y="1046"/>
                    </a:lnTo>
                    <a:lnTo>
                      <a:pt x="336" y="1046"/>
                    </a:lnTo>
                    <a:lnTo>
                      <a:pt x="336" y="1046"/>
                    </a:lnTo>
                    <a:close/>
                    <a:moveTo>
                      <a:pt x="359" y="626"/>
                    </a:moveTo>
                    <a:lnTo>
                      <a:pt x="352" y="626"/>
                    </a:lnTo>
                    <a:lnTo>
                      <a:pt x="352" y="621"/>
                    </a:lnTo>
                    <a:lnTo>
                      <a:pt x="359" y="626"/>
                    </a:lnTo>
                    <a:lnTo>
                      <a:pt x="359" y="626"/>
                    </a:lnTo>
                    <a:lnTo>
                      <a:pt x="359" y="626"/>
                    </a:lnTo>
                    <a:close/>
                    <a:moveTo>
                      <a:pt x="364" y="642"/>
                    </a:moveTo>
                    <a:lnTo>
                      <a:pt x="373" y="659"/>
                    </a:lnTo>
                    <a:lnTo>
                      <a:pt x="364" y="659"/>
                    </a:lnTo>
                    <a:lnTo>
                      <a:pt x="364" y="642"/>
                    </a:lnTo>
                    <a:lnTo>
                      <a:pt x="364" y="642"/>
                    </a:lnTo>
                    <a:lnTo>
                      <a:pt x="364" y="642"/>
                    </a:lnTo>
                    <a:close/>
                    <a:moveTo>
                      <a:pt x="191" y="786"/>
                    </a:moveTo>
                    <a:lnTo>
                      <a:pt x="196" y="791"/>
                    </a:lnTo>
                    <a:lnTo>
                      <a:pt x="191" y="791"/>
                    </a:lnTo>
                    <a:lnTo>
                      <a:pt x="191" y="786"/>
                    </a:lnTo>
                    <a:lnTo>
                      <a:pt x="191" y="786"/>
                    </a:lnTo>
                    <a:lnTo>
                      <a:pt x="191" y="786"/>
                    </a:lnTo>
                    <a:close/>
                    <a:moveTo>
                      <a:pt x="196" y="808"/>
                    </a:moveTo>
                    <a:lnTo>
                      <a:pt x="191" y="819"/>
                    </a:lnTo>
                    <a:lnTo>
                      <a:pt x="191" y="808"/>
                    </a:lnTo>
                    <a:lnTo>
                      <a:pt x="196" y="808"/>
                    </a:lnTo>
                    <a:lnTo>
                      <a:pt x="196" y="808"/>
                    </a:lnTo>
                    <a:lnTo>
                      <a:pt x="196" y="808"/>
                    </a:lnTo>
                    <a:close/>
                    <a:moveTo>
                      <a:pt x="71" y="843"/>
                    </a:moveTo>
                    <a:lnTo>
                      <a:pt x="66" y="843"/>
                    </a:lnTo>
                    <a:lnTo>
                      <a:pt x="66" y="831"/>
                    </a:lnTo>
                    <a:lnTo>
                      <a:pt x="71" y="843"/>
                    </a:lnTo>
                    <a:lnTo>
                      <a:pt x="71" y="843"/>
                    </a:lnTo>
                    <a:lnTo>
                      <a:pt x="71" y="843"/>
                    </a:lnTo>
                    <a:close/>
                    <a:moveTo>
                      <a:pt x="71" y="902"/>
                    </a:moveTo>
                    <a:lnTo>
                      <a:pt x="83" y="930"/>
                    </a:lnTo>
                    <a:lnTo>
                      <a:pt x="71" y="935"/>
                    </a:lnTo>
                    <a:lnTo>
                      <a:pt x="66" y="902"/>
                    </a:lnTo>
                    <a:lnTo>
                      <a:pt x="71" y="902"/>
                    </a:lnTo>
                    <a:lnTo>
                      <a:pt x="71" y="902"/>
                    </a:lnTo>
                    <a:lnTo>
                      <a:pt x="71" y="902"/>
                    </a:lnTo>
                    <a:close/>
                    <a:moveTo>
                      <a:pt x="88" y="914"/>
                    </a:moveTo>
                    <a:lnTo>
                      <a:pt x="88" y="914"/>
                    </a:lnTo>
                    <a:lnTo>
                      <a:pt x="88" y="930"/>
                    </a:lnTo>
                    <a:lnTo>
                      <a:pt x="88" y="914"/>
                    </a:lnTo>
                    <a:lnTo>
                      <a:pt x="88" y="914"/>
                    </a:lnTo>
                    <a:lnTo>
                      <a:pt x="88" y="914"/>
                    </a:lnTo>
                    <a:close/>
                    <a:moveTo>
                      <a:pt x="163" y="1013"/>
                    </a:moveTo>
                    <a:lnTo>
                      <a:pt x="163" y="1030"/>
                    </a:lnTo>
                    <a:lnTo>
                      <a:pt x="158" y="1025"/>
                    </a:lnTo>
                    <a:lnTo>
                      <a:pt x="163" y="1013"/>
                    </a:lnTo>
                    <a:lnTo>
                      <a:pt x="163" y="1013"/>
                    </a:lnTo>
                    <a:lnTo>
                      <a:pt x="163" y="101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8" name="Freeform 575">
                <a:extLst>
                  <a:ext uri="{FF2B5EF4-FFF2-40B4-BE49-F238E27FC236}">
                    <a16:creationId xmlns:a16="http://schemas.microsoft.com/office/drawing/2014/main" id="{F60EB5A2-9438-4808-A8E9-CECB57F8C157}"/>
                  </a:ext>
                </a:extLst>
              </p:cNvPr>
              <p:cNvSpPr>
                <a:spLocks noEditPoints="1"/>
              </p:cNvSpPr>
              <p:nvPr/>
            </p:nvSpPr>
            <p:spPr bwMode="gray">
              <a:xfrm>
                <a:off x="10140216" y="3301329"/>
                <a:ext cx="107034" cy="102106"/>
              </a:xfrm>
              <a:custGeom>
                <a:avLst/>
                <a:gdLst>
                  <a:gd name="T0" fmla="*/ 130 w 260"/>
                  <a:gd name="T1" fmla="*/ 132 h 248"/>
                  <a:gd name="T2" fmla="*/ 142 w 260"/>
                  <a:gd name="T3" fmla="*/ 108 h 248"/>
                  <a:gd name="T4" fmla="*/ 196 w 260"/>
                  <a:gd name="T5" fmla="*/ 21 h 248"/>
                  <a:gd name="T6" fmla="*/ 222 w 260"/>
                  <a:gd name="T7" fmla="*/ 4 h 248"/>
                  <a:gd name="T8" fmla="*/ 222 w 260"/>
                  <a:gd name="T9" fmla="*/ 4 h 248"/>
                  <a:gd name="T10" fmla="*/ 234 w 260"/>
                  <a:gd name="T11" fmla="*/ 0 h 248"/>
                  <a:gd name="T12" fmla="*/ 260 w 260"/>
                  <a:gd name="T13" fmla="*/ 9 h 248"/>
                  <a:gd name="T14" fmla="*/ 251 w 260"/>
                  <a:gd name="T15" fmla="*/ 26 h 248"/>
                  <a:gd name="T16" fmla="*/ 256 w 260"/>
                  <a:gd name="T17" fmla="*/ 59 h 248"/>
                  <a:gd name="T18" fmla="*/ 239 w 260"/>
                  <a:gd name="T19" fmla="*/ 82 h 248"/>
                  <a:gd name="T20" fmla="*/ 222 w 260"/>
                  <a:gd name="T21" fmla="*/ 148 h 248"/>
                  <a:gd name="T22" fmla="*/ 206 w 260"/>
                  <a:gd name="T23" fmla="*/ 174 h 248"/>
                  <a:gd name="T24" fmla="*/ 196 w 260"/>
                  <a:gd name="T25" fmla="*/ 203 h 248"/>
                  <a:gd name="T26" fmla="*/ 180 w 260"/>
                  <a:gd name="T27" fmla="*/ 248 h 248"/>
                  <a:gd name="T28" fmla="*/ 168 w 260"/>
                  <a:gd name="T29" fmla="*/ 248 h 248"/>
                  <a:gd name="T30" fmla="*/ 168 w 260"/>
                  <a:gd name="T31" fmla="*/ 226 h 248"/>
                  <a:gd name="T32" fmla="*/ 147 w 260"/>
                  <a:gd name="T33" fmla="*/ 203 h 248"/>
                  <a:gd name="T34" fmla="*/ 130 w 260"/>
                  <a:gd name="T35" fmla="*/ 170 h 248"/>
                  <a:gd name="T36" fmla="*/ 126 w 260"/>
                  <a:gd name="T37" fmla="*/ 165 h 248"/>
                  <a:gd name="T38" fmla="*/ 130 w 260"/>
                  <a:gd name="T39" fmla="*/ 132 h 248"/>
                  <a:gd name="T40" fmla="*/ 130 w 260"/>
                  <a:gd name="T41" fmla="*/ 132 h 248"/>
                  <a:gd name="T42" fmla="*/ 130 w 260"/>
                  <a:gd name="T43" fmla="*/ 132 h 248"/>
                  <a:gd name="T44" fmla="*/ 0 w 260"/>
                  <a:gd name="T45" fmla="*/ 59 h 248"/>
                  <a:gd name="T46" fmla="*/ 5 w 260"/>
                  <a:gd name="T47" fmla="*/ 54 h 248"/>
                  <a:gd name="T48" fmla="*/ 17 w 260"/>
                  <a:gd name="T49" fmla="*/ 59 h 248"/>
                  <a:gd name="T50" fmla="*/ 17 w 260"/>
                  <a:gd name="T51" fmla="*/ 59 h 248"/>
                  <a:gd name="T52" fmla="*/ 0 w 260"/>
                  <a:gd name="T53" fmla="*/ 59 h 248"/>
                  <a:gd name="T54" fmla="*/ 0 w 260"/>
                  <a:gd name="T55" fmla="*/ 59 h 248"/>
                  <a:gd name="T56" fmla="*/ 0 w 260"/>
                  <a:gd name="T57" fmla="*/ 59 h 248"/>
                  <a:gd name="T58" fmla="*/ 93 w 260"/>
                  <a:gd name="T59" fmla="*/ 132 h 248"/>
                  <a:gd name="T60" fmla="*/ 93 w 260"/>
                  <a:gd name="T61" fmla="*/ 120 h 248"/>
                  <a:gd name="T62" fmla="*/ 97 w 260"/>
                  <a:gd name="T63" fmla="*/ 132 h 248"/>
                  <a:gd name="T64" fmla="*/ 93 w 260"/>
                  <a:gd name="T65" fmla="*/ 132 h 248"/>
                  <a:gd name="T66" fmla="*/ 93 w 260"/>
                  <a:gd name="T67" fmla="*/ 132 h 248"/>
                  <a:gd name="T68" fmla="*/ 93 w 260"/>
                  <a:gd name="T69" fmla="*/ 13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0" h="248">
                    <a:moveTo>
                      <a:pt x="130" y="132"/>
                    </a:moveTo>
                    <a:lnTo>
                      <a:pt x="142" y="108"/>
                    </a:lnTo>
                    <a:lnTo>
                      <a:pt x="196" y="21"/>
                    </a:lnTo>
                    <a:lnTo>
                      <a:pt x="222" y="4"/>
                    </a:lnTo>
                    <a:lnTo>
                      <a:pt x="222" y="4"/>
                    </a:lnTo>
                    <a:lnTo>
                      <a:pt x="234" y="0"/>
                    </a:lnTo>
                    <a:lnTo>
                      <a:pt x="260" y="9"/>
                    </a:lnTo>
                    <a:lnTo>
                      <a:pt x="251" y="26"/>
                    </a:lnTo>
                    <a:lnTo>
                      <a:pt x="256" y="59"/>
                    </a:lnTo>
                    <a:lnTo>
                      <a:pt x="239" y="82"/>
                    </a:lnTo>
                    <a:lnTo>
                      <a:pt x="222" y="148"/>
                    </a:lnTo>
                    <a:lnTo>
                      <a:pt x="206" y="174"/>
                    </a:lnTo>
                    <a:lnTo>
                      <a:pt x="196" y="203"/>
                    </a:lnTo>
                    <a:lnTo>
                      <a:pt x="180" y="248"/>
                    </a:lnTo>
                    <a:lnTo>
                      <a:pt x="168" y="248"/>
                    </a:lnTo>
                    <a:lnTo>
                      <a:pt x="168" y="226"/>
                    </a:lnTo>
                    <a:lnTo>
                      <a:pt x="147" y="203"/>
                    </a:lnTo>
                    <a:lnTo>
                      <a:pt x="130" y="170"/>
                    </a:lnTo>
                    <a:lnTo>
                      <a:pt x="126" y="165"/>
                    </a:lnTo>
                    <a:lnTo>
                      <a:pt x="130" y="132"/>
                    </a:lnTo>
                    <a:lnTo>
                      <a:pt x="130" y="132"/>
                    </a:lnTo>
                    <a:lnTo>
                      <a:pt x="130" y="132"/>
                    </a:lnTo>
                    <a:close/>
                    <a:moveTo>
                      <a:pt x="0" y="59"/>
                    </a:moveTo>
                    <a:lnTo>
                      <a:pt x="5" y="54"/>
                    </a:lnTo>
                    <a:lnTo>
                      <a:pt x="17" y="59"/>
                    </a:lnTo>
                    <a:lnTo>
                      <a:pt x="17" y="59"/>
                    </a:lnTo>
                    <a:lnTo>
                      <a:pt x="0" y="59"/>
                    </a:lnTo>
                    <a:lnTo>
                      <a:pt x="0" y="59"/>
                    </a:lnTo>
                    <a:lnTo>
                      <a:pt x="0" y="59"/>
                    </a:lnTo>
                    <a:close/>
                    <a:moveTo>
                      <a:pt x="93" y="132"/>
                    </a:moveTo>
                    <a:lnTo>
                      <a:pt x="93" y="120"/>
                    </a:lnTo>
                    <a:lnTo>
                      <a:pt x="97" y="132"/>
                    </a:lnTo>
                    <a:lnTo>
                      <a:pt x="93" y="132"/>
                    </a:lnTo>
                    <a:lnTo>
                      <a:pt x="93" y="132"/>
                    </a:lnTo>
                    <a:lnTo>
                      <a:pt x="93" y="13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9" name="Freeform 588">
                <a:extLst>
                  <a:ext uri="{FF2B5EF4-FFF2-40B4-BE49-F238E27FC236}">
                    <a16:creationId xmlns:a16="http://schemas.microsoft.com/office/drawing/2014/main" id="{63EC2878-6F17-4E8B-A8CA-529FEAF22019}"/>
                  </a:ext>
                </a:extLst>
              </p:cNvPr>
              <p:cNvSpPr>
                <a:spLocks noEditPoints="1"/>
              </p:cNvSpPr>
              <p:nvPr/>
            </p:nvSpPr>
            <p:spPr bwMode="gray">
              <a:xfrm>
                <a:off x="9675441" y="3362263"/>
                <a:ext cx="212010" cy="447536"/>
              </a:xfrm>
              <a:custGeom>
                <a:avLst/>
                <a:gdLst>
                  <a:gd name="T0" fmla="*/ 374 w 515"/>
                  <a:gd name="T1" fmla="*/ 615 h 1087"/>
                  <a:gd name="T2" fmla="*/ 364 w 515"/>
                  <a:gd name="T3" fmla="*/ 556 h 1087"/>
                  <a:gd name="T4" fmla="*/ 340 w 515"/>
                  <a:gd name="T5" fmla="*/ 522 h 1087"/>
                  <a:gd name="T6" fmla="*/ 310 w 515"/>
                  <a:gd name="T7" fmla="*/ 499 h 1087"/>
                  <a:gd name="T8" fmla="*/ 248 w 515"/>
                  <a:gd name="T9" fmla="*/ 421 h 1087"/>
                  <a:gd name="T10" fmla="*/ 211 w 515"/>
                  <a:gd name="T11" fmla="*/ 367 h 1087"/>
                  <a:gd name="T12" fmla="*/ 118 w 515"/>
                  <a:gd name="T13" fmla="*/ 300 h 1087"/>
                  <a:gd name="T14" fmla="*/ 185 w 515"/>
                  <a:gd name="T15" fmla="*/ 260 h 1087"/>
                  <a:gd name="T16" fmla="*/ 173 w 515"/>
                  <a:gd name="T17" fmla="*/ 211 h 1087"/>
                  <a:gd name="T18" fmla="*/ 118 w 515"/>
                  <a:gd name="T19" fmla="*/ 182 h 1087"/>
                  <a:gd name="T20" fmla="*/ 55 w 515"/>
                  <a:gd name="T21" fmla="*/ 116 h 1087"/>
                  <a:gd name="T22" fmla="*/ 22 w 515"/>
                  <a:gd name="T23" fmla="*/ 41 h 1087"/>
                  <a:gd name="T24" fmla="*/ 102 w 515"/>
                  <a:gd name="T25" fmla="*/ 41 h 1087"/>
                  <a:gd name="T26" fmla="*/ 147 w 515"/>
                  <a:gd name="T27" fmla="*/ 41 h 1087"/>
                  <a:gd name="T28" fmla="*/ 194 w 515"/>
                  <a:gd name="T29" fmla="*/ 5 h 1087"/>
                  <a:gd name="T30" fmla="*/ 281 w 515"/>
                  <a:gd name="T31" fmla="*/ 22 h 1087"/>
                  <a:gd name="T32" fmla="*/ 326 w 515"/>
                  <a:gd name="T33" fmla="*/ 41 h 1087"/>
                  <a:gd name="T34" fmla="*/ 340 w 515"/>
                  <a:gd name="T35" fmla="*/ 100 h 1087"/>
                  <a:gd name="T36" fmla="*/ 395 w 515"/>
                  <a:gd name="T37" fmla="*/ 128 h 1087"/>
                  <a:gd name="T38" fmla="*/ 395 w 515"/>
                  <a:gd name="T39" fmla="*/ 133 h 1087"/>
                  <a:gd name="T40" fmla="*/ 348 w 515"/>
                  <a:gd name="T41" fmla="*/ 182 h 1087"/>
                  <a:gd name="T42" fmla="*/ 336 w 515"/>
                  <a:gd name="T43" fmla="*/ 173 h 1087"/>
                  <a:gd name="T44" fmla="*/ 310 w 515"/>
                  <a:gd name="T45" fmla="*/ 173 h 1087"/>
                  <a:gd name="T46" fmla="*/ 310 w 515"/>
                  <a:gd name="T47" fmla="*/ 201 h 1087"/>
                  <a:gd name="T48" fmla="*/ 265 w 515"/>
                  <a:gd name="T49" fmla="*/ 256 h 1087"/>
                  <a:gd name="T50" fmla="*/ 265 w 515"/>
                  <a:gd name="T51" fmla="*/ 367 h 1087"/>
                  <a:gd name="T52" fmla="*/ 348 w 515"/>
                  <a:gd name="T53" fmla="*/ 466 h 1087"/>
                  <a:gd name="T54" fmla="*/ 390 w 515"/>
                  <a:gd name="T55" fmla="*/ 504 h 1087"/>
                  <a:gd name="T56" fmla="*/ 418 w 515"/>
                  <a:gd name="T57" fmla="*/ 539 h 1087"/>
                  <a:gd name="T58" fmla="*/ 428 w 515"/>
                  <a:gd name="T59" fmla="*/ 539 h 1087"/>
                  <a:gd name="T60" fmla="*/ 503 w 515"/>
                  <a:gd name="T61" fmla="*/ 704 h 1087"/>
                  <a:gd name="T62" fmla="*/ 499 w 515"/>
                  <a:gd name="T63" fmla="*/ 737 h 1087"/>
                  <a:gd name="T64" fmla="*/ 487 w 515"/>
                  <a:gd name="T65" fmla="*/ 808 h 1087"/>
                  <a:gd name="T66" fmla="*/ 487 w 515"/>
                  <a:gd name="T67" fmla="*/ 848 h 1087"/>
                  <a:gd name="T68" fmla="*/ 482 w 515"/>
                  <a:gd name="T69" fmla="*/ 886 h 1087"/>
                  <a:gd name="T70" fmla="*/ 395 w 515"/>
                  <a:gd name="T71" fmla="*/ 931 h 1087"/>
                  <a:gd name="T72" fmla="*/ 336 w 515"/>
                  <a:gd name="T73" fmla="*/ 948 h 1087"/>
                  <a:gd name="T74" fmla="*/ 310 w 515"/>
                  <a:gd name="T75" fmla="*/ 948 h 1087"/>
                  <a:gd name="T76" fmla="*/ 326 w 515"/>
                  <a:gd name="T77" fmla="*/ 976 h 1087"/>
                  <a:gd name="T78" fmla="*/ 319 w 515"/>
                  <a:gd name="T79" fmla="*/ 988 h 1087"/>
                  <a:gd name="T80" fmla="*/ 310 w 515"/>
                  <a:gd name="T81" fmla="*/ 1014 h 1087"/>
                  <a:gd name="T82" fmla="*/ 281 w 515"/>
                  <a:gd name="T83" fmla="*/ 1030 h 1087"/>
                  <a:gd name="T84" fmla="*/ 180 w 515"/>
                  <a:gd name="T85" fmla="*/ 1087 h 1087"/>
                  <a:gd name="T86" fmla="*/ 201 w 515"/>
                  <a:gd name="T87" fmla="*/ 988 h 1087"/>
                  <a:gd name="T88" fmla="*/ 173 w 515"/>
                  <a:gd name="T89" fmla="*/ 976 h 1087"/>
                  <a:gd name="T90" fmla="*/ 201 w 515"/>
                  <a:gd name="T91" fmla="*/ 931 h 1087"/>
                  <a:gd name="T92" fmla="*/ 234 w 515"/>
                  <a:gd name="T93" fmla="*/ 919 h 1087"/>
                  <a:gd name="T94" fmla="*/ 255 w 515"/>
                  <a:gd name="T95" fmla="*/ 893 h 1087"/>
                  <a:gd name="T96" fmla="*/ 303 w 515"/>
                  <a:gd name="T97" fmla="*/ 865 h 1087"/>
                  <a:gd name="T98" fmla="*/ 364 w 515"/>
                  <a:gd name="T99" fmla="*/ 815 h 1087"/>
                  <a:gd name="T100" fmla="*/ 374 w 515"/>
                  <a:gd name="T101" fmla="*/ 766 h 1087"/>
                  <a:gd name="T102" fmla="*/ 374 w 515"/>
                  <a:gd name="T103" fmla="*/ 700 h 1087"/>
                  <a:gd name="T104" fmla="*/ 364 w 515"/>
                  <a:gd name="T105" fmla="*/ 166 h 1087"/>
                  <a:gd name="T106" fmla="*/ 378 w 515"/>
                  <a:gd name="T107" fmla="*/ 173 h 1087"/>
                  <a:gd name="T108" fmla="*/ 378 w 515"/>
                  <a:gd name="T109" fmla="*/ 173 h 1087"/>
                  <a:gd name="T110" fmla="*/ 336 w 515"/>
                  <a:gd name="T111" fmla="*/ 189 h 1087"/>
                  <a:gd name="T112" fmla="*/ 336 w 515"/>
                  <a:gd name="T113" fmla="*/ 182 h 1087"/>
                  <a:gd name="T114" fmla="*/ 336 w 515"/>
                  <a:gd name="T115" fmla="*/ 182 h 1087"/>
                  <a:gd name="T116" fmla="*/ 326 w 515"/>
                  <a:gd name="T117" fmla="*/ 959 h 1087"/>
                  <a:gd name="T118" fmla="*/ 326 w 515"/>
                  <a:gd name="T119" fmla="*/ 931 h 1087"/>
                  <a:gd name="T120" fmla="*/ 336 w 515"/>
                  <a:gd name="T121" fmla="*/ 948 h 1087"/>
                  <a:gd name="T122" fmla="*/ 130 w 515"/>
                  <a:gd name="T123" fmla="*/ 959 h 1087"/>
                  <a:gd name="T124" fmla="*/ 130 w 515"/>
                  <a:gd name="T125" fmla="*/ 948 h 1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5" h="1087">
                    <a:moveTo>
                      <a:pt x="374" y="700"/>
                    </a:moveTo>
                    <a:lnTo>
                      <a:pt x="364" y="683"/>
                    </a:lnTo>
                    <a:lnTo>
                      <a:pt x="378" y="643"/>
                    </a:lnTo>
                    <a:lnTo>
                      <a:pt x="374" y="615"/>
                    </a:lnTo>
                    <a:lnTo>
                      <a:pt x="378" y="615"/>
                    </a:lnTo>
                    <a:lnTo>
                      <a:pt x="390" y="598"/>
                    </a:lnTo>
                    <a:lnTo>
                      <a:pt x="348" y="560"/>
                    </a:lnTo>
                    <a:lnTo>
                      <a:pt x="364" y="556"/>
                    </a:lnTo>
                    <a:lnTo>
                      <a:pt x="374" y="539"/>
                    </a:lnTo>
                    <a:lnTo>
                      <a:pt x="364" y="539"/>
                    </a:lnTo>
                    <a:lnTo>
                      <a:pt x="348" y="522"/>
                    </a:lnTo>
                    <a:lnTo>
                      <a:pt x="340" y="522"/>
                    </a:lnTo>
                    <a:lnTo>
                      <a:pt x="336" y="504"/>
                    </a:lnTo>
                    <a:lnTo>
                      <a:pt x="326" y="515"/>
                    </a:lnTo>
                    <a:lnTo>
                      <a:pt x="319" y="515"/>
                    </a:lnTo>
                    <a:lnTo>
                      <a:pt x="310" y="499"/>
                    </a:lnTo>
                    <a:lnTo>
                      <a:pt x="310" y="478"/>
                    </a:lnTo>
                    <a:lnTo>
                      <a:pt x="303" y="478"/>
                    </a:lnTo>
                    <a:lnTo>
                      <a:pt x="293" y="461"/>
                    </a:lnTo>
                    <a:lnTo>
                      <a:pt x="248" y="421"/>
                    </a:lnTo>
                    <a:lnTo>
                      <a:pt x="234" y="388"/>
                    </a:lnTo>
                    <a:lnTo>
                      <a:pt x="227" y="388"/>
                    </a:lnTo>
                    <a:lnTo>
                      <a:pt x="211" y="371"/>
                    </a:lnTo>
                    <a:lnTo>
                      <a:pt x="211" y="367"/>
                    </a:lnTo>
                    <a:lnTo>
                      <a:pt x="211" y="350"/>
                    </a:lnTo>
                    <a:lnTo>
                      <a:pt x="180" y="338"/>
                    </a:lnTo>
                    <a:lnTo>
                      <a:pt x="140" y="310"/>
                    </a:lnTo>
                    <a:lnTo>
                      <a:pt x="118" y="300"/>
                    </a:lnTo>
                    <a:lnTo>
                      <a:pt x="130" y="284"/>
                    </a:lnTo>
                    <a:lnTo>
                      <a:pt x="130" y="267"/>
                    </a:lnTo>
                    <a:lnTo>
                      <a:pt x="173" y="277"/>
                    </a:lnTo>
                    <a:lnTo>
                      <a:pt x="185" y="260"/>
                    </a:lnTo>
                    <a:lnTo>
                      <a:pt x="185" y="256"/>
                    </a:lnTo>
                    <a:lnTo>
                      <a:pt x="194" y="244"/>
                    </a:lnTo>
                    <a:lnTo>
                      <a:pt x="194" y="239"/>
                    </a:lnTo>
                    <a:lnTo>
                      <a:pt x="173" y="211"/>
                    </a:lnTo>
                    <a:lnTo>
                      <a:pt x="156" y="211"/>
                    </a:lnTo>
                    <a:lnTo>
                      <a:pt x="173" y="201"/>
                    </a:lnTo>
                    <a:lnTo>
                      <a:pt x="130" y="173"/>
                    </a:lnTo>
                    <a:lnTo>
                      <a:pt x="118" y="182"/>
                    </a:lnTo>
                    <a:lnTo>
                      <a:pt x="109" y="201"/>
                    </a:lnTo>
                    <a:lnTo>
                      <a:pt x="71" y="182"/>
                    </a:lnTo>
                    <a:lnTo>
                      <a:pt x="48" y="149"/>
                    </a:lnTo>
                    <a:lnTo>
                      <a:pt x="55" y="116"/>
                    </a:lnTo>
                    <a:lnTo>
                      <a:pt x="33" y="128"/>
                    </a:lnTo>
                    <a:lnTo>
                      <a:pt x="33" y="100"/>
                    </a:lnTo>
                    <a:lnTo>
                      <a:pt x="0" y="74"/>
                    </a:lnTo>
                    <a:lnTo>
                      <a:pt x="22" y="41"/>
                    </a:lnTo>
                    <a:lnTo>
                      <a:pt x="64" y="62"/>
                    </a:lnTo>
                    <a:lnTo>
                      <a:pt x="76" y="41"/>
                    </a:lnTo>
                    <a:lnTo>
                      <a:pt x="92" y="57"/>
                    </a:lnTo>
                    <a:lnTo>
                      <a:pt x="102" y="41"/>
                    </a:lnTo>
                    <a:lnTo>
                      <a:pt x="126" y="62"/>
                    </a:lnTo>
                    <a:lnTo>
                      <a:pt x="130" y="41"/>
                    </a:lnTo>
                    <a:lnTo>
                      <a:pt x="147" y="29"/>
                    </a:lnTo>
                    <a:lnTo>
                      <a:pt x="147" y="41"/>
                    </a:lnTo>
                    <a:lnTo>
                      <a:pt x="156" y="45"/>
                    </a:lnTo>
                    <a:lnTo>
                      <a:pt x="173" y="29"/>
                    </a:lnTo>
                    <a:lnTo>
                      <a:pt x="180" y="41"/>
                    </a:lnTo>
                    <a:lnTo>
                      <a:pt x="194" y="5"/>
                    </a:lnTo>
                    <a:lnTo>
                      <a:pt x="227" y="0"/>
                    </a:lnTo>
                    <a:lnTo>
                      <a:pt x="239" y="17"/>
                    </a:lnTo>
                    <a:lnTo>
                      <a:pt x="255" y="29"/>
                    </a:lnTo>
                    <a:lnTo>
                      <a:pt x="281" y="22"/>
                    </a:lnTo>
                    <a:lnTo>
                      <a:pt x="286" y="29"/>
                    </a:lnTo>
                    <a:lnTo>
                      <a:pt x="303" y="22"/>
                    </a:lnTo>
                    <a:lnTo>
                      <a:pt x="319" y="29"/>
                    </a:lnTo>
                    <a:lnTo>
                      <a:pt x="326" y="41"/>
                    </a:lnTo>
                    <a:lnTo>
                      <a:pt x="310" y="62"/>
                    </a:lnTo>
                    <a:lnTo>
                      <a:pt x="319" y="78"/>
                    </a:lnTo>
                    <a:lnTo>
                      <a:pt x="319" y="95"/>
                    </a:lnTo>
                    <a:lnTo>
                      <a:pt x="340" y="100"/>
                    </a:lnTo>
                    <a:lnTo>
                      <a:pt x="340" y="111"/>
                    </a:lnTo>
                    <a:lnTo>
                      <a:pt x="357" y="116"/>
                    </a:lnTo>
                    <a:lnTo>
                      <a:pt x="364" y="128"/>
                    </a:lnTo>
                    <a:lnTo>
                      <a:pt x="395" y="128"/>
                    </a:lnTo>
                    <a:lnTo>
                      <a:pt x="411" y="133"/>
                    </a:lnTo>
                    <a:lnTo>
                      <a:pt x="411" y="133"/>
                    </a:lnTo>
                    <a:lnTo>
                      <a:pt x="407" y="145"/>
                    </a:lnTo>
                    <a:lnTo>
                      <a:pt x="395" y="133"/>
                    </a:lnTo>
                    <a:lnTo>
                      <a:pt x="378" y="149"/>
                    </a:lnTo>
                    <a:lnTo>
                      <a:pt x="374" y="149"/>
                    </a:lnTo>
                    <a:lnTo>
                      <a:pt x="364" y="173"/>
                    </a:lnTo>
                    <a:lnTo>
                      <a:pt x="348" y="182"/>
                    </a:lnTo>
                    <a:lnTo>
                      <a:pt x="340" y="173"/>
                    </a:lnTo>
                    <a:lnTo>
                      <a:pt x="348" y="173"/>
                    </a:lnTo>
                    <a:lnTo>
                      <a:pt x="340" y="173"/>
                    </a:lnTo>
                    <a:lnTo>
                      <a:pt x="336" y="173"/>
                    </a:lnTo>
                    <a:lnTo>
                      <a:pt x="336" y="182"/>
                    </a:lnTo>
                    <a:lnTo>
                      <a:pt x="326" y="182"/>
                    </a:lnTo>
                    <a:lnTo>
                      <a:pt x="326" y="173"/>
                    </a:lnTo>
                    <a:lnTo>
                      <a:pt x="310" y="173"/>
                    </a:lnTo>
                    <a:lnTo>
                      <a:pt x="326" y="182"/>
                    </a:lnTo>
                    <a:lnTo>
                      <a:pt x="319" y="182"/>
                    </a:lnTo>
                    <a:lnTo>
                      <a:pt x="326" y="201"/>
                    </a:lnTo>
                    <a:lnTo>
                      <a:pt x="310" y="201"/>
                    </a:lnTo>
                    <a:lnTo>
                      <a:pt x="310" y="227"/>
                    </a:lnTo>
                    <a:lnTo>
                      <a:pt x="303" y="227"/>
                    </a:lnTo>
                    <a:lnTo>
                      <a:pt x="310" y="227"/>
                    </a:lnTo>
                    <a:lnTo>
                      <a:pt x="265" y="256"/>
                    </a:lnTo>
                    <a:lnTo>
                      <a:pt x="255" y="277"/>
                    </a:lnTo>
                    <a:lnTo>
                      <a:pt x="255" y="300"/>
                    </a:lnTo>
                    <a:lnTo>
                      <a:pt x="239" y="322"/>
                    </a:lnTo>
                    <a:lnTo>
                      <a:pt x="265" y="367"/>
                    </a:lnTo>
                    <a:lnTo>
                      <a:pt x="303" y="404"/>
                    </a:lnTo>
                    <a:lnTo>
                      <a:pt x="293" y="421"/>
                    </a:lnTo>
                    <a:lnTo>
                      <a:pt x="319" y="445"/>
                    </a:lnTo>
                    <a:lnTo>
                      <a:pt x="348" y="466"/>
                    </a:lnTo>
                    <a:lnTo>
                      <a:pt x="348" y="482"/>
                    </a:lnTo>
                    <a:lnTo>
                      <a:pt x="378" y="499"/>
                    </a:lnTo>
                    <a:lnTo>
                      <a:pt x="374" y="499"/>
                    </a:lnTo>
                    <a:lnTo>
                      <a:pt x="390" y="504"/>
                    </a:lnTo>
                    <a:lnTo>
                      <a:pt x="395" y="522"/>
                    </a:lnTo>
                    <a:lnTo>
                      <a:pt x="411" y="522"/>
                    </a:lnTo>
                    <a:lnTo>
                      <a:pt x="428" y="532"/>
                    </a:lnTo>
                    <a:lnTo>
                      <a:pt x="418" y="539"/>
                    </a:lnTo>
                    <a:lnTo>
                      <a:pt x="428" y="544"/>
                    </a:lnTo>
                    <a:lnTo>
                      <a:pt x="428" y="532"/>
                    </a:lnTo>
                    <a:lnTo>
                      <a:pt x="433" y="539"/>
                    </a:lnTo>
                    <a:lnTo>
                      <a:pt x="428" y="539"/>
                    </a:lnTo>
                    <a:lnTo>
                      <a:pt x="433" y="544"/>
                    </a:lnTo>
                    <a:lnTo>
                      <a:pt x="461" y="589"/>
                    </a:lnTo>
                    <a:lnTo>
                      <a:pt x="466" y="589"/>
                    </a:lnTo>
                    <a:lnTo>
                      <a:pt x="503" y="704"/>
                    </a:lnTo>
                    <a:lnTo>
                      <a:pt x="503" y="709"/>
                    </a:lnTo>
                    <a:lnTo>
                      <a:pt x="499" y="704"/>
                    </a:lnTo>
                    <a:lnTo>
                      <a:pt x="499" y="704"/>
                    </a:lnTo>
                    <a:lnTo>
                      <a:pt x="499" y="737"/>
                    </a:lnTo>
                    <a:lnTo>
                      <a:pt x="515" y="775"/>
                    </a:lnTo>
                    <a:lnTo>
                      <a:pt x="499" y="792"/>
                    </a:lnTo>
                    <a:lnTo>
                      <a:pt x="503" y="815"/>
                    </a:lnTo>
                    <a:lnTo>
                      <a:pt x="487" y="808"/>
                    </a:lnTo>
                    <a:lnTo>
                      <a:pt x="499" y="848"/>
                    </a:lnTo>
                    <a:lnTo>
                      <a:pt x="499" y="832"/>
                    </a:lnTo>
                    <a:lnTo>
                      <a:pt x="499" y="837"/>
                    </a:lnTo>
                    <a:lnTo>
                      <a:pt x="487" y="848"/>
                    </a:lnTo>
                    <a:lnTo>
                      <a:pt x="499" y="853"/>
                    </a:lnTo>
                    <a:lnTo>
                      <a:pt x="487" y="870"/>
                    </a:lnTo>
                    <a:lnTo>
                      <a:pt x="482" y="870"/>
                    </a:lnTo>
                    <a:lnTo>
                      <a:pt x="482" y="886"/>
                    </a:lnTo>
                    <a:lnTo>
                      <a:pt x="466" y="886"/>
                    </a:lnTo>
                    <a:lnTo>
                      <a:pt x="418" y="919"/>
                    </a:lnTo>
                    <a:lnTo>
                      <a:pt x="411" y="931"/>
                    </a:lnTo>
                    <a:lnTo>
                      <a:pt x="395" y="931"/>
                    </a:lnTo>
                    <a:lnTo>
                      <a:pt x="357" y="959"/>
                    </a:lnTo>
                    <a:lnTo>
                      <a:pt x="340" y="948"/>
                    </a:lnTo>
                    <a:lnTo>
                      <a:pt x="340" y="931"/>
                    </a:lnTo>
                    <a:lnTo>
                      <a:pt x="336" y="948"/>
                    </a:lnTo>
                    <a:lnTo>
                      <a:pt x="336" y="943"/>
                    </a:lnTo>
                    <a:lnTo>
                      <a:pt x="319" y="931"/>
                    </a:lnTo>
                    <a:lnTo>
                      <a:pt x="319" y="948"/>
                    </a:lnTo>
                    <a:lnTo>
                      <a:pt x="310" y="948"/>
                    </a:lnTo>
                    <a:lnTo>
                      <a:pt x="319" y="948"/>
                    </a:lnTo>
                    <a:lnTo>
                      <a:pt x="326" y="964"/>
                    </a:lnTo>
                    <a:lnTo>
                      <a:pt x="293" y="964"/>
                    </a:lnTo>
                    <a:lnTo>
                      <a:pt x="326" y="976"/>
                    </a:lnTo>
                    <a:lnTo>
                      <a:pt x="326" y="981"/>
                    </a:lnTo>
                    <a:lnTo>
                      <a:pt x="310" y="988"/>
                    </a:lnTo>
                    <a:lnTo>
                      <a:pt x="286" y="964"/>
                    </a:lnTo>
                    <a:lnTo>
                      <a:pt x="319" y="988"/>
                    </a:lnTo>
                    <a:lnTo>
                      <a:pt x="310" y="997"/>
                    </a:lnTo>
                    <a:lnTo>
                      <a:pt x="281" y="964"/>
                    </a:lnTo>
                    <a:lnTo>
                      <a:pt x="310" y="1004"/>
                    </a:lnTo>
                    <a:lnTo>
                      <a:pt x="310" y="1014"/>
                    </a:lnTo>
                    <a:lnTo>
                      <a:pt x="293" y="1021"/>
                    </a:lnTo>
                    <a:lnTo>
                      <a:pt x="255" y="981"/>
                    </a:lnTo>
                    <a:lnTo>
                      <a:pt x="281" y="1014"/>
                    </a:lnTo>
                    <a:lnTo>
                      <a:pt x="281" y="1030"/>
                    </a:lnTo>
                    <a:lnTo>
                      <a:pt x="234" y="1042"/>
                    </a:lnTo>
                    <a:lnTo>
                      <a:pt x="218" y="1075"/>
                    </a:lnTo>
                    <a:lnTo>
                      <a:pt x="201" y="1087"/>
                    </a:lnTo>
                    <a:lnTo>
                      <a:pt x="180" y="1087"/>
                    </a:lnTo>
                    <a:lnTo>
                      <a:pt x="194" y="1075"/>
                    </a:lnTo>
                    <a:lnTo>
                      <a:pt x="185" y="1070"/>
                    </a:lnTo>
                    <a:lnTo>
                      <a:pt x="185" y="1004"/>
                    </a:lnTo>
                    <a:lnTo>
                      <a:pt x="201" y="988"/>
                    </a:lnTo>
                    <a:lnTo>
                      <a:pt x="211" y="997"/>
                    </a:lnTo>
                    <a:lnTo>
                      <a:pt x="211" y="988"/>
                    </a:lnTo>
                    <a:lnTo>
                      <a:pt x="185" y="964"/>
                    </a:lnTo>
                    <a:lnTo>
                      <a:pt x="173" y="976"/>
                    </a:lnTo>
                    <a:lnTo>
                      <a:pt x="163" y="959"/>
                    </a:lnTo>
                    <a:lnTo>
                      <a:pt x="173" y="948"/>
                    </a:lnTo>
                    <a:lnTo>
                      <a:pt x="194" y="943"/>
                    </a:lnTo>
                    <a:lnTo>
                      <a:pt x="201" y="931"/>
                    </a:lnTo>
                    <a:lnTo>
                      <a:pt x="201" y="919"/>
                    </a:lnTo>
                    <a:lnTo>
                      <a:pt x="211" y="919"/>
                    </a:lnTo>
                    <a:lnTo>
                      <a:pt x="227" y="919"/>
                    </a:lnTo>
                    <a:lnTo>
                      <a:pt x="234" y="919"/>
                    </a:lnTo>
                    <a:lnTo>
                      <a:pt x="255" y="910"/>
                    </a:lnTo>
                    <a:lnTo>
                      <a:pt x="281" y="926"/>
                    </a:lnTo>
                    <a:lnTo>
                      <a:pt x="281" y="910"/>
                    </a:lnTo>
                    <a:lnTo>
                      <a:pt x="255" y="893"/>
                    </a:lnTo>
                    <a:lnTo>
                      <a:pt x="255" y="870"/>
                    </a:lnTo>
                    <a:lnTo>
                      <a:pt x="265" y="865"/>
                    </a:lnTo>
                    <a:lnTo>
                      <a:pt x="272" y="853"/>
                    </a:lnTo>
                    <a:lnTo>
                      <a:pt x="303" y="865"/>
                    </a:lnTo>
                    <a:lnTo>
                      <a:pt x="293" y="837"/>
                    </a:lnTo>
                    <a:lnTo>
                      <a:pt x="319" y="837"/>
                    </a:lnTo>
                    <a:lnTo>
                      <a:pt x="348" y="815"/>
                    </a:lnTo>
                    <a:lnTo>
                      <a:pt x="364" y="815"/>
                    </a:lnTo>
                    <a:lnTo>
                      <a:pt x="374" y="820"/>
                    </a:lnTo>
                    <a:lnTo>
                      <a:pt x="378" y="815"/>
                    </a:lnTo>
                    <a:lnTo>
                      <a:pt x="378" y="792"/>
                    </a:lnTo>
                    <a:lnTo>
                      <a:pt x="374" y="766"/>
                    </a:lnTo>
                    <a:lnTo>
                      <a:pt x="378" y="726"/>
                    </a:lnTo>
                    <a:lnTo>
                      <a:pt x="374" y="704"/>
                    </a:lnTo>
                    <a:lnTo>
                      <a:pt x="374" y="700"/>
                    </a:lnTo>
                    <a:lnTo>
                      <a:pt x="374" y="700"/>
                    </a:lnTo>
                    <a:lnTo>
                      <a:pt x="374" y="700"/>
                    </a:lnTo>
                    <a:close/>
                    <a:moveTo>
                      <a:pt x="374" y="149"/>
                    </a:moveTo>
                    <a:lnTo>
                      <a:pt x="378" y="156"/>
                    </a:lnTo>
                    <a:lnTo>
                      <a:pt x="364" y="166"/>
                    </a:lnTo>
                    <a:lnTo>
                      <a:pt x="374" y="149"/>
                    </a:lnTo>
                    <a:lnTo>
                      <a:pt x="374" y="149"/>
                    </a:lnTo>
                    <a:lnTo>
                      <a:pt x="374" y="149"/>
                    </a:lnTo>
                    <a:close/>
                    <a:moveTo>
                      <a:pt x="378" y="173"/>
                    </a:moveTo>
                    <a:lnTo>
                      <a:pt x="374" y="182"/>
                    </a:lnTo>
                    <a:lnTo>
                      <a:pt x="364" y="182"/>
                    </a:lnTo>
                    <a:lnTo>
                      <a:pt x="378" y="173"/>
                    </a:lnTo>
                    <a:lnTo>
                      <a:pt x="378" y="173"/>
                    </a:lnTo>
                    <a:lnTo>
                      <a:pt x="378" y="173"/>
                    </a:lnTo>
                    <a:close/>
                    <a:moveTo>
                      <a:pt x="326" y="182"/>
                    </a:moveTo>
                    <a:lnTo>
                      <a:pt x="326" y="182"/>
                    </a:lnTo>
                    <a:lnTo>
                      <a:pt x="336" y="189"/>
                    </a:lnTo>
                    <a:lnTo>
                      <a:pt x="326" y="182"/>
                    </a:lnTo>
                    <a:lnTo>
                      <a:pt x="326" y="182"/>
                    </a:lnTo>
                    <a:lnTo>
                      <a:pt x="326" y="182"/>
                    </a:lnTo>
                    <a:close/>
                    <a:moveTo>
                      <a:pt x="336" y="182"/>
                    </a:moveTo>
                    <a:lnTo>
                      <a:pt x="348" y="189"/>
                    </a:lnTo>
                    <a:lnTo>
                      <a:pt x="340" y="201"/>
                    </a:lnTo>
                    <a:lnTo>
                      <a:pt x="336" y="182"/>
                    </a:lnTo>
                    <a:lnTo>
                      <a:pt x="336" y="182"/>
                    </a:lnTo>
                    <a:lnTo>
                      <a:pt x="336" y="182"/>
                    </a:lnTo>
                    <a:close/>
                    <a:moveTo>
                      <a:pt x="326" y="931"/>
                    </a:moveTo>
                    <a:lnTo>
                      <a:pt x="326" y="943"/>
                    </a:lnTo>
                    <a:lnTo>
                      <a:pt x="326" y="959"/>
                    </a:lnTo>
                    <a:lnTo>
                      <a:pt x="326" y="948"/>
                    </a:lnTo>
                    <a:lnTo>
                      <a:pt x="326" y="931"/>
                    </a:lnTo>
                    <a:lnTo>
                      <a:pt x="326" y="931"/>
                    </a:lnTo>
                    <a:lnTo>
                      <a:pt x="326" y="931"/>
                    </a:lnTo>
                    <a:close/>
                    <a:moveTo>
                      <a:pt x="336" y="948"/>
                    </a:moveTo>
                    <a:lnTo>
                      <a:pt x="340" y="959"/>
                    </a:lnTo>
                    <a:lnTo>
                      <a:pt x="336" y="959"/>
                    </a:lnTo>
                    <a:lnTo>
                      <a:pt x="336" y="948"/>
                    </a:lnTo>
                    <a:lnTo>
                      <a:pt x="336" y="948"/>
                    </a:lnTo>
                    <a:lnTo>
                      <a:pt x="336" y="948"/>
                    </a:lnTo>
                    <a:close/>
                    <a:moveTo>
                      <a:pt x="130" y="948"/>
                    </a:moveTo>
                    <a:lnTo>
                      <a:pt x="130" y="959"/>
                    </a:lnTo>
                    <a:lnTo>
                      <a:pt x="130" y="981"/>
                    </a:lnTo>
                    <a:lnTo>
                      <a:pt x="118" y="959"/>
                    </a:lnTo>
                    <a:lnTo>
                      <a:pt x="130" y="948"/>
                    </a:lnTo>
                    <a:lnTo>
                      <a:pt x="130" y="948"/>
                    </a:lnTo>
                    <a:lnTo>
                      <a:pt x="130" y="94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280" name="Gruppieren 8279">
              <a:extLst>
                <a:ext uri="{FF2B5EF4-FFF2-40B4-BE49-F238E27FC236}">
                  <a16:creationId xmlns:a16="http://schemas.microsoft.com/office/drawing/2014/main" id="{7E26025A-91EB-4950-AFFF-54B791C72EF1}"/>
                </a:ext>
              </a:extLst>
            </p:cNvPr>
            <p:cNvGrpSpPr/>
            <p:nvPr/>
          </p:nvGrpSpPr>
          <p:grpSpPr bwMode="gray">
            <a:xfrm>
              <a:off x="3007189" y="3346861"/>
              <a:ext cx="2412800" cy="2865131"/>
              <a:chOff x="3308961" y="3058829"/>
              <a:chExt cx="2412800" cy="2865131"/>
            </a:xfrm>
            <a:grpFill/>
          </p:grpSpPr>
          <p:sp>
            <p:nvSpPr>
              <p:cNvPr id="8281" name="Freeform 377">
                <a:extLst>
                  <a:ext uri="{FF2B5EF4-FFF2-40B4-BE49-F238E27FC236}">
                    <a16:creationId xmlns:a16="http://schemas.microsoft.com/office/drawing/2014/main" id="{736301B0-3EE3-4082-9DAE-3F6F89D31795}"/>
                  </a:ext>
                </a:extLst>
              </p:cNvPr>
              <p:cNvSpPr>
                <a:spLocks/>
              </p:cNvSpPr>
              <p:nvPr/>
            </p:nvSpPr>
            <p:spPr bwMode="gray">
              <a:xfrm>
                <a:off x="4700407" y="3689166"/>
                <a:ext cx="6998" cy="6999"/>
              </a:xfrm>
              <a:custGeom>
                <a:avLst/>
                <a:gdLst>
                  <a:gd name="T0" fmla="*/ 17 w 17"/>
                  <a:gd name="T1" fmla="*/ 17 h 17"/>
                  <a:gd name="T2" fmla="*/ 0 w 17"/>
                  <a:gd name="T3" fmla="*/ 7 h 17"/>
                  <a:gd name="T4" fmla="*/ 0 w 17"/>
                  <a:gd name="T5" fmla="*/ 0 h 17"/>
                  <a:gd name="T6" fmla="*/ 17 w 17"/>
                  <a:gd name="T7" fmla="*/ 17 h 17"/>
                  <a:gd name="T8" fmla="*/ 17 w 17"/>
                  <a:gd name="T9" fmla="*/ 17 h 17"/>
                  <a:gd name="T10" fmla="*/ 17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17" y="17"/>
                    </a:moveTo>
                    <a:lnTo>
                      <a:pt x="0" y="7"/>
                    </a:lnTo>
                    <a:lnTo>
                      <a:pt x="0" y="0"/>
                    </a:lnTo>
                    <a:lnTo>
                      <a:pt x="17" y="17"/>
                    </a:lnTo>
                    <a:lnTo>
                      <a:pt x="17" y="17"/>
                    </a:lnTo>
                    <a:lnTo>
                      <a:pt x="17"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2" name="Freeform 378">
                <a:extLst>
                  <a:ext uri="{FF2B5EF4-FFF2-40B4-BE49-F238E27FC236}">
                    <a16:creationId xmlns:a16="http://schemas.microsoft.com/office/drawing/2014/main" id="{F9727C42-1C31-4E63-B744-3137E5D5BB26}"/>
                  </a:ext>
                </a:extLst>
              </p:cNvPr>
              <p:cNvSpPr>
                <a:spLocks noEditPoints="1"/>
              </p:cNvSpPr>
              <p:nvPr/>
            </p:nvSpPr>
            <p:spPr bwMode="gray">
              <a:xfrm>
                <a:off x="4937941" y="3535595"/>
                <a:ext cx="6587" cy="23468"/>
              </a:xfrm>
              <a:custGeom>
                <a:avLst/>
                <a:gdLst>
                  <a:gd name="T0" fmla="*/ 16 w 16"/>
                  <a:gd name="T1" fmla="*/ 12 h 57"/>
                  <a:gd name="T2" fmla="*/ 9 w 16"/>
                  <a:gd name="T3" fmla="*/ 5 h 57"/>
                  <a:gd name="T4" fmla="*/ 9 w 16"/>
                  <a:gd name="T5" fmla="*/ 0 h 57"/>
                  <a:gd name="T6" fmla="*/ 16 w 16"/>
                  <a:gd name="T7" fmla="*/ 5 h 57"/>
                  <a:gd name="T8" fmla="*/ 16 w 16"/>
                  <a:gd name="T9" fmla="*/ 12 h 57"/>
                  <a:gd name="T10" fmla="*/ 16 w 16"/>
                  <a:gd name="T11" fmla="*/ 12 h 57"/>
                  <a:gd name="T12" fmla="*/ 16 w 16"/>
                  <a:gd name="T13" fmla="*/ 12 h 57"/>
                  <a:gd name="T14" fmla="*/ 16 w 16"/>
                  <a:gd name="T15" fmla="*/ 57 h 57"/>
                  <a:gd name="T16" fmla="*/ 0 w 16"/>
                  <a:gd name="T17" fmla="*/ 45 h 57"/>
                  <a:gd name="T18" fmla="*/ 9 w 16"/>
                  <a:gd name="T19" fmla="*/ 40 h 57"/>
                  <a:gd name="T20" fmla="*/ 16 w 16"/>
                  <a:gd name="T21" fmla="*/ 45 h 57"/>
                  <a:gd name="T22" fmla="*/ 16 w 16"/>
                  <a:gd name="T23" fmla="*/ 57 h 57"/>
                  <a:gd name="T24" fmla="*/ 16 w 16"/>
                  <a:gd name="T25" fmla="*/ 57 h 57"/>
                  <a:gd name="T26" fmla="*/ 16 w 16"/>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57">
                    <a:moveTo>
                      <a:pt x="16" y="12"/>
                    </a:moveTo>
                    <a:lnTo>
                      <a:pt x="9" y="5"/>
                    </a:lnTo>
                    <a:lnTo>
                      <a:pt x="9" y="0"/>
                    </a:lnTo>
                    <a:lnTo>
                      <a:pt x="16" y="5"/>
                    </a:lnTo>
                    <a:lnTo>
                      <a:pt x="16" y="12"/>
                    </a:lnTo>
                    <a:lnTo>
                      <a:pt x="16" y="12"/>
                    </a:lnTo>
                    <a:lnTo>
                      <a:pt x="16" y="12"/>
                    </a:lnTo>
                    <a:close/>
                    <a:moveTo>
                      <a:pt x="16" y="57"/>
                    </a:moveTo>
                    <a:lnTo>
                      <a:pt x="0" y="45"/>
                    </a:lnTo>
                    <a:lnTo>
                      <a:pt x="9" y="40"/>
                    </a:lnTo>
                    <a:lnTo>
                      <a:pt x="16" y="45"/>
                    </a:lnTo>
                    <a:lnTo>
                      <a:pt x="16" y="57"/>
                    </a:lnTo>
                    <a:lnTo>
                      <a:pt x="16" y="57"/>
                    </a:lnTo>
                    <a:lnTo>
                      <a:pt x="16" y="5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3" name="Freeform 387">
                <a:extLst>
                  <a:ext uri="{FF2B5EF4-FFF2-40B4-BE49-F238E27FC236}">
                    <a16:creationId xmlns:a16="http://schemas.microsoft.com/office/drawing/2014/main" id="{1ABBC502-DB1D-4987-912A-D2163236ED62}"/>
                  </a:ext>
                </a:extLst>
              </p:cNvPr>
              <p:cNvSpPr>
                <a:spLocks noEditPoints="1"/>
              </p:cNvSpPr>
              <p:nvPr/>
            </p:nvSpPr>
            <p:spPr bwMode="gray">
              <a:xfrm>
                <a:off x="4601195" y="4722984"/>
                <a:ext cx="573045" cy="1164333"/>
              </a:xfrm>
              <a:custGeom>
                <a:avLst/>
                <a:gdLst>
                  <a:gd name="T0" fmla="*/ 508 w 1392"/>
                  <a:gd name="T1" fmla="*/ 21 h 2828"/>
                  <a:gd name="T2" fmla="*/ 652 w 1392"/>
                  <a:gd name="T3" fmla="*/ 54 h 2828"/>
                  <a:gd name="T4" fmla="*/ 870 w 1392"/>
                  <a:gd name="T5" fmla="*/ 132 h 2828"/>
                  <a:gd name="T6" fmla="*/ 1118 w 1392"/>
                  <a:gd name="T7" fmla="*/ 267 h 2828"/>
                  <a:gd name="T8" fmla="*/ 1080 w 1392"/>
                  <a:gd name="T9" fmla="*/ 333 h 2828"/>
                  <a:gd name="T10" fmla="*/ 1170 w 1392"/>
                  <a:gd name="T11" fmla="*/ 428 h 2828"/>
                  <a:gd name="T12" fmla="*/ 1245 w 1392"/>
                  <a:gd name="T13" fmla="*/ 428 h 2828"/>
                  <a:gd name="T14" fmla="*/ 1333 w 1392"/>
                  <a:gd name="T15" fmla="*/ 284 h 2828"/>
                  <a:gd name="T16" fmla="*/ 1392 w 1392"/>
                  <a:gd name="T17" fmla="*/ 350 h 2828"/>
                  <a:gd name="T18" fmla="*/ 1278 w 1392"/>
                  <a:gd name="T19" fmla="*/ 465 h 2828"/>
                  <a:gd name="T20" fmla="*/ 1208 w 1392"/>
                  <a:gd name="T21" fmla="*/ 539 h 2828"/>
                  <a:gd name="T22" fmla="*/ 1118 w 1392"/>
                  <a:gd name="T23" fmla="*/ 650 h 2828"/>
                  <a:gd name="T24" fmla="*/ 1094 w 1392"/>
                  <a:gd name="T25" fmla="*/ 754 h 2828"/>
                  <a:gd name="T26" fmla="*/ 1063 w 1392"/>
                  <a:gd name="T27" fmla="*/ 876 h 2828"/>
                  <a:gd name="T28" fmla="*/ 1059 w 1392"/>
                  <a:gd name="T29" fmla="*/ 997 h 2828"/>
                  <a:gd name="T30" fmla="*/ 1156 w 1392"/>
                  <a:gd name="T31" fmla="*/ 1141 h 2828"/>
                  <a:gd name="T32" fmla="*/ 1068 w 1392"/>
                  <a:gd name="T33" fmla="*/ 1321 h 2828"/>
                  <a:gd name="T34" fmla="*/ 787 w 1392"/>
                  <a:gd name="T35" fmla="*/ 1387 h 2828"/>
                  <a:gd name="T36" fmla="*/ 787 w 1392"/>
                  <a:gd name="T37" fmla="*/ 1465 h 2828"/>
                  <a:gd name="T38" fmla="*/ 740 w 1392"/>
                  <a:gd name="T39" fmla="*/ 1547 h 2828"/>
                  <a:gd name="T40" fmla="*/ 593 w 1392"/>
                  <a:gd name="T41" fmla="*/ 1547 h 2828"/>
                  <a:gd name="T42" fmla="*/ 638 w 1392"/>
                  <a:gd name="T43" fmla="*/ 1658 h 2828"/>
                  <a:gd name="T44" fmla="*/ 702 w 1392"/>
                  <a:gd name="T45" fmla="*/ 1668 h 2828"/>
                  <a:gd name="T46" fmla="*/ 600 w 1392"/>
                  <a:gd name="T47" fmla="*/ 1680 h 2828"/>
                  <a:gd name="T48" fmla="*/ 584 w 1392"/>
                  <a:gd name="T49" fmla="*/ 1791 h 2828"/>
                  <a:gd name="T50" fmla="*/ 563 w 1392"/>
                  <a:gd name="T51" fmla="*/ 1869 h 2828"/>
                  <a:gd name="T52" fmla="*/ 421 w 1392"/>
                  <a:gd name="T53" fmla="*/ 2013 h 2828"/>
                  <a:gd name="T54" fmla="*/ 518 w 1392"/>
                  <a:gd name="T55" fmla="*/ 2140 h 2828"/>
                  <a:gd name="T56" fmla="*/ 421 w 1392"/>
                  <a:gd name="T57" fmla="*/ 2251 h 2828"/>
                  <a:gd name="T58" fmla="*/ 369 w 1392"/>
                  <a:gd name="T59" fmla="*/ 2350 h 2828"/>
                  <a:gd name="T60" fmla="*/ 315 w 1392"/>
                  <a:gd name="T61" fmla="*/ 2391 h 2828"/>
                  <a:gd name="T62" fmla="*/ 324 w 1392"/>
                  <a:gd name="T63" fmla="*/ 2495 h 2828"/>
                  <a:gd name="T64" fmla="*/ 93 w 1392"/>
                  <a:gd name="T65" fmla="*/ 2502 h 2828"/>
                  <a:gd name="T66" fmla="*/ 60 w 1392"/>
                  <a:gd name="T67" fmla="*/ 2400 h 2828"/>
                  <a:gd name="T68" fmla="*/ 8 w 1392"/>
                  <a:gd name="T69" fmla="*/ 2322 h 2828"/>
                  <a:gd name="T70" fmla="*/ 38 w 1392"/>
                  <a:gd name="T71" fmla="*/ 2239 h 2828"/>
                  <a:gd name="T72" fmla="*/ 83 w 1392"/>
                  <a:gd name="T73" fmla="*/ 2112 h 2828"/>
                  <a:gd name="T74" fmla="*/ 130 w 1392"/>
                  <a:gd name="T75" fmla="*/ 1996 h 2828"/>
                  <a:gd name="T76" fmla="*/ 147 w 1392"/>
                  <a:gd name="T77" fmla="*/ 1923 h 2828"/>
                  <a:gd name="T78" fmla="*/ 180 w 1392"/>
                  <a:gd name="T79" fmla="*/ 1835 h 2828"/>
                  <a:gd name="T80" fmla="*/ 130 w 1392"/>
                  <a:gd name="T81" fmla="*/ 1769 h 2828"/>
                  <a:gd name="T82" fmla="*/ 97 w 1392"/>
                  <a:gd name="T83" fmla="*/ 1713 h 2828"/>
                  <a:gd name="T84" fmla="*/ 130 w 1392"/>
                  <a:gd name="T85" fmla="*/ 1625 h 2828"/>
                  <a:gd name="T86" fmla="*/ 130 w 1392"/>
                  <a:gd name="T87" fmla="*/ 1474 h 2828"/>
                  <a:gd name="T88" fmla="*/ 152 w 1392"/>
                  <a:gd name="T89" fmla="*/ 1354 h 2828"/>
                  <a:gd name="T90" fmla="*/ 180 w 1392"/>
                  <a:gd name="T91" fmla="*/ 1235 h 2828"/>
                  <a:gd name="T92" fmla="*/ 201 w 1392"/>
                  <a:gd name="T93" fmla="*/ 1132 h 2828"/>
                  <a:gd name="T94" fmla="*/ 244 w 1392"/>
                  <a:gd name="T95" fmla="*/ 976 h 2828"/>
                  <a:gd name="T96" fmla="*/ 244 w 1392"/>
                  <a:gd name="T97" fmla="*/ 888 h 2828"/>
                  <a:gd name="T98" fmla="*/ 239 w 1392"/>
                  <a:gd name="T99" fmla="*/ 782 h 2828"/>
                  <a:gd name="T100" fmla="*/ 239 w 1392"/>
                  <a:gd name="T101" fmla="*/ 666 h 2828"/>
                  <a:gd name="T102" fmla="*/ 308 w 1392"/>
                  <a:gd name="T103" fmla="*/ 477 h 2828"/>
                  <a:gd name="T104" fmla="*/ 362 w 1392"/>
                  <a:gd name="T105" fmla="*/ 333 h 2828"/>
                  <a:gd name="T106" fmla="*/ 438 w 1392"/>
                  <a:gd name="T107" fmla="*/ 165 h 2828"/>
                  <a:gd name="T108" fmla="*/ 799 w 1392"/>
                  <a:gd name="T109" fmla="*/ 1370 h 2828"/>
                  <a:gd name="T110" fmla="*/ 345 w 1392"/>
                  <a:gd name="T111" fmla="*/ 2589 h 2828"/>
                  <a:gd name="T112" fmla="*/ 378 w 1392"/>
                  <a:gd name="T113" fmla="*/ 2655 h 2828"/>
                  <a:gd name="T114" fmla="*/ 593 w 1392"/>
                  <a:gd name="T115" fmla="*/ 2790 h 2828"/>
                  <a:gd name="T116" fmla="*/ 345 w 1392"/>
                  <a:gd name="T117" fmla="*/ 2806 h 2828"/>
                  <a:gd name="T118" fmla="*/ 686 w 1392"/>
                  <a:gd name="T119" fmla="*/ 2794 h 2828"/>
                  <a:gd name="T120" fmla="*/ 345 w 1392"/>
                  <a:gd name="T121" fmla="*/ 2811 h 2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92" h="2828">
                    <a:moveTo>
                      <a:pt x="449" y="78"/>
                    </a:moveTo>
                    <a:lnTo>
                      <a:pt x="466" y="61"/>
                    </a:lnTo>
                    <a:lnTo>
                      <a:pt x="466" y="54"/>
                    </a:lnTo>
                    <a:lnTo>
                      <a:pt x="475" y="45"/>
                    </a:lnTo>
                    <a:lnTo>
                      <a:pt x="475" y="33"/>
                    </a:lnTo>
                    <a:lnTo>
                      <a:pt x="508" y="21"/>
                    </a:lnTo>
                    <a:lnTo>
                      <a:pt x="518" y="0"/>
                    </a:lnTo>
                    <a:lnTo>
                      <a:pt x="546" y="21"/>
                    </a:lnTo>
                    <a:lnTo>
                      <a:pt x="600" y="21"/>
                    </a:lnTo>
                    <a:lnTo>
                      <a:pt x="631" y="33"/>
                    </a:lnTo>
                    <a:lnTo>
                      <a:pt x="648" y="78"/>
                    </a:lnTo>
                    <a:lnTo>
                      <a:pt x="652" y="54"/>
                    </a:lnTo>
                    <a:lnTo>
                      <a:pt x="681" y="17"/>
                    </a:lnTo>
                    <a:lnTo>
                      <a:pt x="756" y="17"/>
                    </a:lnTo>
                    <a:lnTo>
                      <a:pt x="761" y="33"/>
                    </a:lnTo>
                    <a:lnTo>
                      <a:pt x="794" y="54"/>
                    </a:lnTo>
                    <a:lnTo>
                      <a:pt x="811" y="95"/>
                    </a:lnTo>
                    <a:lnTo>
                      <a:pt x="870" y="132"/>
                    </a:lnTo>
                    <a:lnTo>
                      <a:pt x="879" y="149"/>
                    </a:lnTo>
                    <a:lnTo>
                      <a:pt x="934" y="165"/>
                    </a:lnTo>
                    <a:lnTo>
                      <a:pt x="950" y="165"/>
                    </a:lnTo>
                    <a:lnTo>
                      <a:pt x="1030" y="227"/>
                    </a:lnTo>
                    <a:lnTo>
                      <a:pt x="1101" y="255"/>
                    </a:lnTo>
                    <a:lnTo>
                      <a:pt x="1118" y="267"/>
                    </a:lnTo>
                    <a:lnTo>
                      <a:pt x="1123" y="276"/>
                    </a:lnTo>
                    <a:lnTo>
                      <a:pt x="1123" y="284"/>
                    </a:lnTo>
                    <a:lnTo>
                      <a:pt x="1101" y="300"/>
                    </a:lnTo>
                    <a:lnTo>
                      <a:pt x="1101" y="317"/>
                    </a:lnTo>
                    <a:lnTo>
                      <a:pt x="1101" y="317"/>
                    </a:lnTo>
                    <a:lnTo>
                      <a:pt x="1080" y="333"/>
                    </a:lnTo>
                    <a:lnTo>
                      <a:pt x="1080" y="371"/>
                    </a:lnTo>
                    <a:lnTo>
                      <a:pt x="1047" y="411"/>
                    </a:lnTo>
                    <a:lnTo>
                      <a:pt x="1047" y="421"/>
                    </a:lnTo>
                    <a:lnTo>
                      <a:pt x="1111" y="421"/>
                    </a:lnTo>
                    <a:lnTo>
                      <a:pt x="1156" y="432"/>
                    </a:lnTo>
                    <a:lnTo>
                      <a:pt x="1170" y="428"/>
                    </a:lnTo>
                    <a:lnTo>
                      <a:pt x="1177" y="432"/>
                    </a:lnTo>
                    <a:lnTo>
                      <a:pt x="1193" y="432"/>
                    </a:lnTo>
                    <a:lnTo>
                      <a:pt x="1203" y="444"/>
                    </a:lnTo>
                    <a:lnTo>
                      <a:pt x="1224" y="421"/>
                    </a:lnTo>
                    <a:lnTo>
                      <a:pt x="1241" y="421"/>
                    </a:lnTo>
                    <a:lnTo>
                      <a:pt x="1245" y="428"/>
                    </a:lnTo>
                    <a:lnTo>
                      <a:pt x="1262" y="421"/>
                    </a:lnTo>
                    <a:lnTo>
                      <a:pt x="1262" y="404"/>
                    </a:lnTo>
                    <a:lnTo>
                      <a:pt x="1274" y="395"/>
                    </a:lnTo>
                    <a:lnTo>
                      <a:pt x="1300" y="378"/>
                    </a:lnTo>
                    <a:lnTo>
                      <a:pt x="1328" y="354"/>
                    </a:lnTo>
                    <a:lnTo>
                      <a:pt x="1333" y="284"/>
                    </a:lnTo>
                    <a:lnTo>
                      <a:pt x="1337" y="293"/>
                    </a:lnTo>
                    <a:lnTo>
                      <a:pt x="1366" y="276"/>
                    </a:lnTo>
                    <a:lnTo>
                      <a:pt x="1380" y="293"/>
                    </a:lnTo>
                    <a:lnTo>
                      <a:pt x="1387" y="317"/>
                    </a:lnTo>
                    <a:lnTo>
                      <a:pt x="1392" y="338"/>
                    </a:lnTo>
                    <a:lnTo>
                      <a:pt x="1392" y="350"/>
                    </a:lnTo>
                    <a:lnTo>
                      <a:pt x="1392" y="387"/>
                    </a:lnTo>
                    <a:lnTo>
                      <a:pt x="1387" y="404"/>
                    </a:lnTo>
                    <a:lnTo>
                      <a:pt x="1349" y="428"/>
                    </a:lnTo>
                    <a:lnTo>
                      <a:pt x="1316" y="432"/>
                    </a:lnTo>
                    <a:lnTo>
                      <a:pt x="1300" y="461"/>
                    </a:lnTo>
                    <a:lnTo>
                      <a:pt x="1278" y="465"/>
                    </a:lnTo>
                    <a:lnTo>
                      <a:pt x="1274" y="482"/>
                    </a:lnTo>
                    <a:lnTo>
                      <a:pt x="1245" y="489"/>
                    </a:lnTo>
                    <a:lnTo>
                      <a:pt x="1257" y="498"/>
                    </a:lnTo>
                    <a:lnTo>
                      <a:pt x="1257" y="506"/>
                    </a:lnTo>
                    <a:lnTo>
                      <a:pt x="1241" y="506"/>
                    </a:lnTo>
                    <a:lnTo>
                      <a:pt x="1208" y="539"/>
                    </a:lnTo>
                    <a:lnTo>
                      <a:pt x="1203" y="560"/>
                    </a:lnTo>
                    <a:lnTo>
                      <a:pt x="1186" y="560"/>
                    </a:lnTo>
                    <a:lnTo>
                      <a:pt x="1156" y="610"/>
                    </a:lnTo>
                    <a:lnTo>
                      <a:pt x="1139" y="614"/>
                    </a:lnTo>
                    <a:lnTo>
                      <a:pt x="1139" y="633"/>
                    </a:lnTo>
                    <a:lnTo>
                      <a:pt x="1118" y="650"/>
                    </a:lnTo>
                    <a:lnTo>
                      <a:pt x="1118" y="654"/>
                    </a:lnTo>
                    <a:lnTo>
                      <a:pt x="1101" y="671"/>
                    </a:lnTo>
                    <a:lnTo>
                      <a:pt x="1111" y="699"/>
                    </a:lnTo>
                    <a:lnTo>
                      <a:pt x="1094" y="725"/>
                    </a:lnTo>
                    <a:lnTo>
                      <a:pt x="1085" y="742"/>
                    </a:lnTo>
                    <a:lnTo>
                      <a:pt x="1094" y="754"/>
                    </a:lnTo>
                    <a:lnTo>
                      <a:pt x="1085" y="765"/>
                    </a:lnTo>
                    <a:lnTo>
                      <a:pt x="1080" y="782"/>
                    </a:lnTo>
                    <a:lnTo>
                      <a:pt x="1085" y="815"/>
                    </a:lnTo>
                    <a:lnTo>
                      <a:pt x="1080" y="820"/>
                    </a:lnTo>
                    <a:lnTo>
                      <a:pt x="1080" y="869"/>
                    </a:lnTo>
                    <a:lnTo>
                      <a:pt x="1063" y="876"/>
                    </a:lnTo>
                    <a:lnTo>
                      <a:pt x="1059" y="910"/>
                    </a:lnTo>
                    <a:lnTo>
                      <a:pt x="1059" y="926"/>
                    </a:lnTo>
                    <a:lnTo>
                      <a:pt x="1063" y="959"/>
                    </a:lnTo>
                    <a:lnTo>
                      <a:pt x="1063" y="964"/>
                    </a:lnTo>
                    <a:lnTo>
                      <a:pt x="1059" y="976"/>
                    </a:lnTo>
                    <a:lnTo>
                      <a:pt x="1059" y="997"/>
                    </a:lnTo>
                    <a:lnTo>
                      <a:pt x="1123" y="1037"/>
                    </a:lnTo>
                    <a:lnTo>
                      <a:pt x="1149" y="1058"/>
                    </a:lnTo>
                    <a:lnTo>
                      <a:pt x="1156" y="1070"/>
                    </a:lnTo>
                    <a:lnTo>
                      <a:pt x="1132" y="1091"/>
                    </a:lnTo>
                    <a:lnTo>
                      <a:pt x="1132" y="1108"/>
                    </a:lnTo>
                    <a:lnTo>
                      <a:pt x="1156" y="1141"/>
                    </a:lnTo>
                    <a:lnTo>
                      <a:pt x="1165" y="1141"/>
                    </a:lnTo>
                    <a:lnTo>
                      <a:pt x="1177" y="1141"/>
                    </a:lnTo>
                    <a:lnTo>
                      <a:pt x="1186" y="1186"/>
                    </a:lnTo>
                    <a:lnTo>
                      <a:pt x="1123" y="1264"/>
                    </a:lnTo>
                    <a:lnTo>
                      <a:pt x="1123" y="1292"/>
                    </a:lnTo>
                    <a:lnTo>
                      <a:pt x="1068" y="1321"/>
                    </a:lnTo>
                    <a:lnTo>
                      <a:pt x="960" y="1347"/>
                    </a:lnTo>
                    <a:lnTo>
                      <a:pt x="879" y="1363"/>
                    </a:lnTo>
                    <a:lnTo>
                      <a:pt x="825" y="1363"/>
                    </a:lnTo>
                    <a:lnTo>
                      <a:pt x="787" y="1347"/>
                    </a:lnTo>
                    <a:lnTo>
                      <a:pt x="794" y="1363"/>
                    </a:lnTo>
                    <a:lnTo>
                      <a:pt x="787" y="1387"/>
                    </a:lnTo>
                    <a:lnTo>
                      <a:pt x="811" y="1391"/>
                    </a:lnTo>
                    <a:lnTo>
                      <a:pt x="794" y="1391"/>
                    </a:lnTo>
                    <a:lnTo>
                      <a:pt x="811" y="1408"/>
                    </a:lnTo>
                    <a:lnTo>
                      <a:pt x="799" y="1432"/>
                    </a:lnTo>
                    <a:lnTo>
                      <a:pt x="794" y="1432"/>
                    </a:lnTo>
                    <a:lnTo>
                      <a:pt x="787" y="1465"/>
                    </a:lnTo>
                    <a:lnTo>
                      <a:pt x="778" y="1474"/>
                    </a:lnTo>
                    <a:lnTo>
                      <a:pt x="794" y="1498"/>
                    </a:lnTo>
                    <a:lnTo>
                      <a:pt x="787" y="1502"/>
                    </a:lnTo>
                    <a:lnTo>
                      <a:pt x="799" y="1502"/>
                    </a:lnTo>
                    <a:lnTo>
                      <a:pt x="787" y="1531"/>
                    </a:lnTo>
                    <a:lnTo>
                      <a:pt x="740" y="1547"/>
                    </a:lnTo>
                    <a:lnTo>
                      <a:pt x="686" y="1547"/>
                    </a:lnTo>
                    <a:lnTo>
                      <a:pt x="626" y="1519"/>
                    </a:lnTo>
                    <a:lnTo>
                      <a:pt x="615" y="1514"/>
                    </a:lnTo>
                    <a:lnTo>
                      <a:pt x="600" y="1514"/>
                    </a:lnTo>
                    <a:lnTo>
                      <a:pt x="593" y="1519"/>
                    </a:lnTo>
                    <a:lnTo>
                      <a:pt x="593" y="1547"/>
                    </a:lnTo>
                    <a:lnTo>
                      <a:pt x="600" y="1576"/>
                    </a:lnTo>
                    <a:lnTo>
                      <a:pt x="593" y="1613"/>
                    </a:lnTo>
                    <a:lnTo>
                      <a:pt x="600" y="1625"/>
                    </a:lnTo>
                    <a:lnTo>
                      <a:pt x="638" y="1642"/>
                    </a:lnTo>
                    <a:lnTo>
                      <a:pt x="631" y="1658"/>
                    </a:lnTo>
                    <a:lnTo>
                      <a:pt x="638" y="1658"/>
                    </a:lnTo>
                    <a:lnTo>
                      <a:pt x="664" y="1658"/>
                    </a:lnTo>
                    <a:lnTo>
                      <a:pt x="669" y="1642"/>
                    </a:lnTo>
                    <a:lnTo>
                      <a:pt x="648" y="1642"/>
                    </a:lnTo>
                    <a:lnTo>
                      <a:pt x="686" y="1625"/>
                    </a:lnTo>
                    <a:lnTo>
                      <a:pt x="702" y="1646"/>
                    </a:lnTo>
                    <a:lnTo>
                      <a:pt x="702" y="1668"/>
                    </a:lnTo>
                    <a:lnTo>
                      <a:pt x="690" y="1687"/>
                    </a:lnTo>
                    <a:lnTo>
                      <a:pt x="664" y="1696"/>
                    </a:lnTo>
                    <a:lnTo>
                      <a:pt x="652" y="1687"/>
                    </a:lnTo>
                    <a:lnTo>
                      <a:pt x="652" y="1668"/>
                    </a:lnTo>
                    <a:lnTo>
                      <a:pt x="648" y="1663"/>
                    </a:lnTo>
                    <a:lnTo>
                      <a:pt x="600" y="1680"/>
                    </a:lnTo>
                    <a:lnTo>
                      <a:pt x="600" y="1687"/>
                    </a:lnTo>
                    <a:lnTo>
                      <a:pt x="652" y="1703"/>
                    </a:lnTo>
                    <a:lnTo>
                      <a:pt x="610" y="1724"/>
                    </a:lnTo>
                    <a:lnTo>
                      <a:pt x="577" y="1769"/>
                    </a:lnTo>
                    <a:lnTo>
                      <a:pt x="577" y="1774"/>
                    </a:lnTo>
                    <a:lnTo>
                      <a:pt x="584" y="1791"/>
                    </a:lnTo>
                    <a:lnTo>
                      <a:pt x="577" y="1814"/>
                    </a:lnTo>
                    <a:lnTo>
                      <a:pt x="584" y="1824"/>
                    </a:lnTo>
                    <a:lnTo>
                      <a:pt x="577" y="1835"/>
                    </a:lnTo>
                    <a:lnTo>
                      <a:pt x="556" y="1852"/>
                    </a:lnTo>
                    <a:lnTo>
                      <a:pt x="556" y="1869"/>
                    </a:lnTo>
                    <a:lnTo>
                      <a:pt x="563" y="1869"/>
                    </a:lnTo>
                    <a:lnTo>
                      <a:pt x="563" y="1885"/>
                    </a:lnTo>
                    <a:lnTo>
                      <a:pt x="518" y="1880"/>
                    </a:lnTo>
                    <a:lnTo>
                      <a:pt x="466" y="1902"/>
                    </a:lnTo>
                    <a:lnTo>
                      <a:pt x="421" y="1975"/>
                    </a:lnTo>
                    <a:lnTo>
                      <a:pt x="416" y="1991"/>
                    </a:lnTo>
                    <a:lnTo>
                      <a:pt x="421" y="2013"/>
                    </a:lnTo>
                    <a:lnTo>
                      <a:pt x="475" y="2058"/>
                    </a:lnTo>
                    <a:lnTo>
                      <a:pt x="530" y="2069"/>
                    </a:lnTo>
                    <a:lnTo>
                      <a:pt x="546" y="2074"/>
                    </a:lnTo>
                    <a:lnTo>
                      <a:pt x="546" y="2107"/>
                    </a:lnTo>
                    <a:lnTo>
                      <a:pt x="541" y="2128"/>
                    </a:lnTo>
                    <a:lnTo>
                      <a:pt x="518" y="2140"/>
                    </a:lnTo>
                    <a:lnTo>
                      <a:pt x="530" y="2128"/>
                    </a:lnTo>
                    <a:lnTo>
                      <a:pt x="546" y="2145"/>
                    </a:lnTo>
                    <a:lnTo>
                      <a:pt x="530" y="2145"/>
                    </a:lnTo>
                    <a:lnTo>
                      <a:pt x="530" y="2161"/>
                    </a:lnTo>
                    <a:lnTo>
                      <a:pt x="454" y="2213"/>
                    </a:lnTo>
                    <a:lnTo>
                      <a:pt x="421" y="2251"/>
                    </a:lnTo>
                    <a:lnTo>
                      <a:pt x="416" y="2268"/>
                    </a:lnTo>
                    <a:lnTo>
                      <a:pt x="400" y="2280"/>
                    </a:lnTo>
                    <a:lnTo>
                      <a:pt x="416" y="2272"/>
                    </a:lnTo>
                    <a:lnTo>
                      <a:pt x="412" y="2329"/>
                    </a:lnTo>
                    <a:lnTo>
                      <a:pt x="400" y="2334"/>
                    </a:lnTo>
                    <a:lnTo>
                      <a:pt x="369" y="2350"/>
                    </a:lnTo>
                    <a:lnTo>
                      <a:pt x="345" y="2329"/>
                    </a:lnTo>
                    <a:lnTo>
                      <a:pt x="324" y="2334"/>
                    </a:lnTo>
                    <a:lnTo>
                      <a:pt x="345" y="2334"/>
                    </a:lnTo>
                    <a:lnTo>
                      <a:pt x="362" y="2350"/>
                    </a:lnTo>
                    <a:lnTo>
                      <a:pt x="324" y="2379"/>
                    </a:lnTo>
                    <a:lnTo>
                      <a:pt x="315" y="2391"/>
                    </a:lnTo>
                    <a:lnTo>
                      <a:pt x="308" y="2424"/>
                    </a:lnTo>
                    <a:lnTo>
                      <a:pt x="293" y="2440"/>
                    </a:lnTo>
                    <a:lnTo>
                      <a:pt x="308" y="2433"/>
                    </a:lnTo>
                    <a:lnTo>
                      <a:pt x="324" y="2490"/>
                    </a:lnTo>
                    <a:lnTo>
                      <a:pt x="277" y="2495"/>
                    </a:lnTo>
                    <a:lnTo>
                      <a:pt x="324" y="2495"/>
                    </a:lnTo>
                    <a:lnTo>
                      <a:pt x="362" y="2556"/>
                    </a:lnTo>
                    <a:lnTo>
                      <a:pt x="362" y="2568"/>
                    </a:lnTo>
                    <a:lnTo>
                      <a:pt x="256" y="2528"/>
                    </a:lnTo>
                    <a:lnTo>
                      <a:pt x="114" y="2528"/>
                    </a:lnTo>
                    <a:lnTo>
                      <a:pt x="114" y="2518"/>
                    </a:lnTo>
                    <a:lnTo>
                      <a:pt x="93" y="2502"/>
                    </a:lnTo>
                    <a:lnTo>
                      <a:pt x="83" y="2478"/>
                    </a:lnTo>
                    <a:lnTo>
                      <a:pt x="93" y="2457"/>
                    </a:lnTo>
                    <a:lnTo>
                      <a:pt x="83" y="2445"/>
                    </a:lnTo>
                    <a:lnTo>
                      <a:pt x="93" y="2433"/>
                    </a:lnTo>
                    <a:lnTo>
                      <a:pt x="93" y="2400"/>
                    </a:lnTo>
                    <a:lnTo>
                      <a:pt x="60" y="2400"/>
                    </a:lnTo>
                    <a:lnTo>
                      <a:pt x="29" y="2407"/>
                    </a:lnTo>
                    <a:lnTo>
                      <a:pt x="22" y="2367"/>
                    </a:lnTo>
                    <a:lnTo>
                      <a:pt x="8" y="2350"/>
                    </a:lnTo>
                    <a:lnTo>
                      <a:pt x="8" y="2334"/>
                    </a:lnTo>
                    <a:lnTo>
                      <a:pt x="0" y="2329"/>
                    </a:lnTo>
                    <a:lnTo>
                      <a:pt x="8" y="2322"/>
                    </a:lnTo>
                    <a:lnTo>
                      <a:pt x="0" y="2296"/>
                    </a:lnTo>
                    <a:lnTo>
                      <a:pt x="8" y="2272"/>
                    </a:lnTo>
                    <a:lnTo>
                      <a:pt x="29" y="2272"/>
                    </a:lnTo>
                    <a:lnTo>
                      <a:pt x="38" y="2272"/>
                    </a:lnTo>
                    <a:lnTo>
                      <a:pt x="29" y="2268"/>
                    </a:lnTo>
                    <a:lnTo>
                      <a:pt x="38" y="2239"/>
                    </a:lnTo>
                    <a:lnTo>
                      <a:pt x="71" y="2223"/>
                    </a:lnTo>
                    <a:lnTo>
                      <a:pt x="71" y="2197"/>
                    </a:lnTo>
                    <a:lnTo>
                      <a:pt x="93" y="2185"/>
                    </a:lnTo>
                    <a:lnTo>
                      <a:pt x="83" y="2161"/>
                    </a:lnTo>
                    <a:lnTo>
                      <a:pt x="76" y="2145"/>
                    </a:lnTo>
                    <a:lnTo>
                      <a:pt x="83" y="2112"/>
                    </a:lnTo>
                    <a:lnTo>
                      <a:pt x="83" y="2107"/>
                    </a:lnTo>
                    <a:lnTo>
                      <a:pt x="126" y="2086"/>
                    </a:lnTo>
                    <a:lnTo>
                      <a:pt x="114" y="2069"/>
                    </a:lnTo>
                    <a:lnTo>
                      <a:pt x="114" y="2046"/>
                    </a:lnTo>
                    <a:lnTo>
                      <a:pt x="130" y="2034"/>
                    </a:lnTo>
                    <a:lnTo>
                      <a:pt x="130" y="1996"/>
                    </a:lnTo>
                    <a:lnTo>
                      <a:pt x="114" y="1991"/>
                    </a:lnTo>
                    <a:lnTo>
                      <a:pt x="135" y="1975"/>
                    </a:lnTo>
                    <a:lnTo>
                      <a:pt x="130" y="1958"/>
                    </a:lnTo>
                    <a:lnTo>
                      <a:pt x="126" y="1942"/>
                    </a:lnTo>
                    <a:lnTo>
                      <a:pt x="130" y="1935"/>
                    </a:lnTo>
                    <a:lnTo>
                      <a:pt x="147" y="1923"/>
                    </a:lnTo>
                    <a:lnTo>
                      <a:pt x="163" y="1906"/>
                    </a:lnTo>
                    <a:lnTo>
                      <a:pt x="135" y="1880"/>
                    </a:lnTo>
                    <a:lnTo>
                      <a:pt x="109" y="1880"/>
                    </a:lnTo>
                    <a:lnTo>
                      <a:pt x="109" y="1864"/>
                    </a:lnTo>
                    <a:lnTo>
                      <a:pt x="163" y="1864"/>
                    </a:lnTo>
                    <a:lnTo>
                      <a:pt x="180" y="1835"/>
                    </a:lnTo>
                    <a:lnTo>
                      <a:pt x="168" y="1831"/>
                    </a:lnTo>
                    <a:lnTo>
                      <a:pt x="126" y="1831"/>
                    </a:lnTo>
                    <a:lnTo>
                      <a:pt x="126" y="1807"/>
                    </a:lnTo>
                    <a:lnTo>
                      <a:pt x="135" y="1791"/>
                    </a:lnTo>
                    <a:lnTo>
                      <a:pt x="126" y="1774"/>
                    </a:lnTo>
                    <a:lnTo>
                      <a:pt x="130" y="1769"/>
                    </a:lnTo>
                    <a:lnTo>
                      <a:pt x="130" y="1758"/>
                    </a:lnTo>
                    <a:lnTo>
                      <a:pt x="114" y="1741"/>
                    </a:lnTo>
                    <a:lnTo>
                      <a:pt x="114" y="1736"/>
                    </a:lnTo>
                    <a:lnTo>
                      <a:pt x="130" y="1736"/>
                    </a:lnTo>
                    <a:lnTo>
                      <a:pt x="130" y="1720"/>
                    </a:lnTo>
                    <a:lnTo>
                      <a:pt x="97" y="1713"/>
                    </a:lnTo>
                    <a:lnTo>
                      <a:pt x="97" y="1668"/>
                    </a:lnTo>
                    <a:lnTo>
                      <a:pt x="109" y="1646"/>
                    </a:lnTo>
                    <a:lnTo>
                      <a:pt x="97" y="1646"/>
                    </a:lnTo>
                    <a:lnTo>
                      <a:pt x="109" y="1630"/>
                    </a:lnTo>
                    <a:lnTo>
                      <a:pt x="114" y="1630"/>
                    </a:lnTo>
                    <a:lnTo>
                      <a:pt x="130" y="1625"/>
                    </a:lnTo>
                    <a:lnTo>
                      <a:pt x="114" y="1592"/>
                    </a:lnTo>
                    <a:lnTo>
                      <a:pt x="126" y="1585"/>
                    </a:lnTo>
                    <a:lnTo>
                      <a:pt x="126" y="1531"/>
                    </a:lnTo>
                    <a:lnTo>
                      <a:pt x="114" y="1514"/>
                    </a:lnTo>
                    <a:lnTo>
                      <a:pt x="126" y="1481"/>
                    </a:lnTo>
                    <a:lnTo>
                      <a:pt x="130" y="1474"/>
                    </a:lnTo>
                    <a:lnTo>
                      <a:pt x="126" y="1465"/>
                    </a:lnTo>
                    <a:lnTo>
                      <a:pt x="135" y="1441"/>
                    </a:lnTo>
                    <a:lnTo>
                      <a:pt x="130" y="1408"/>
                    </a:lnTo>
                    <a:lnTo>
                      <a:pt x="147" y="1420"/>
                    </a:lnTo>
                    <a:lnTo>
                      <a:pt x="152" y="1387"/>
                    </a:lnTo>
                    <a:lnTo>
                      <a:pt x="152" y="1354"/>
                    </a:lnTo>
                    <a:lnTo>
                      <a:pt x="185" y="1337"/>
                    </a:lnTo>
                    <a:lnTo>
                      <a:pt x="189" y="1330"/>
                    </a:lnTo>
                    <a:lnTo>
                      <a:pt x="185" y="1313"/>
                    </a:lnTo>
                    <a:lnTo>
                      <a:pt x="185" y="1280"/>
                    </a:lnTo>
                    <a:lnTo>
                      <a:pt x="168" y="1252"/>
                    </a:lnTo>
                    <a:lnTo>
                      <a:pt x="180" y="1235"/>
                    </a:lnTo>
                    <a:lnTo>
                      <a:pt x="168" y="1219"/>
                    </a:lnTo>
                    <a:lnTo>
                      <a:pt x="180" y="1202"/>
                    </a:lnTo>
                    <a:lnTo>
                      <a:pt x="168" y="1181"/>
                    </a:lnTo>
                    <a:lnTo>
                      <a:pt x="180" y="1153"/>
                    </a:lnTo>
                    <a:lnTo>
                      <a:pt x="201" y="1148"/>
                    </a:lnTo>
                    <a:lnTo>
                      <a:pt x="201" y="1132"/>
                    </a:lnTo>
                    <a:lnTo>
                      <a:pt x="223" y="1124"/>
                    </a:lnTo>
                    <a:lnTo>
                      <a:pt x="232" y="1098"/>
                    </a:lnTo>
                    <a:lnTo>
                      <a:pt x="223" y="1058"/>
                    </a:lnTo>
                    <a:lnTo>
                      <a:pt x="206" y="1054"/>
                    </a:lnTo>
                    <a:lnTo>
                      <a:pt x="223" y="1042"/>
                    </a:lnTo>
                    <a:lnTo>
                      <a:pt x="244" y="976"/>
                    </a:lnTo>
                    <a:lnTo>
                      <a:pt x="260" y="964"/>
                    </a:lnTo>
                    <a:lnTo>
                      <a:pt x="256" y="931"/>
                    </a:lnTo>
                    <a:lnTo>
                      <a:pt x="270" y="905"/>
                    </a:lnTo>
                    <a:lnTo>
                      <a:pt x="260" y="893"/>
                    </a:lnTo>
                    <a:lnTo>
                      <a:pt x="256" y="893"/>
                    </a:lnTo>
                    <a:lnTo>
                      <a:pt x="244" y="888"/>
                    </a:lnTo>
                    <a:lnTo>
                      <a:pt x="256" y="865"/>
                    </a:lnTo>
                    <a:lnTo>
                      <a:pt x="239" y="848"/>
                    </a:lnTo>
                    <a:lnTo>
                      <a:pt x="239" y="832"/>
                    </a:lnTo>
                    <a:lnTo>
                      <a:pt x="232" y="810"/>
                    </a:lnTo>
                    <a:lnTo>
                      <a:pt x="223" y="798"/>
                    </a:lnTo>
                    <a:lnTo>
                      <a:pt x="239" y="782"/>
                    </a:lnTo>
                    <a:lnTo>
                      <a:pt x="223" y="777"/>
                    </a:lnTo>
                    <a:lnTo>
                      <a:pt x="206" y="754"/>
                    </a:lnTo>
                    <a:lnTo>
                      <a:pt x="218" y="725"/>
                    </a:lnTo>
                    <a:lnTo>
                      <a:pt x="232" y="709"/>
                    </a:lnTo>
                    <a:lnTo>
                      <a:pt x="232" y="699"/>
                    </a:lnTo>
                    <a:lnTo>
                      <a:pt x="239" y="666"/>
                    </a:lnTo>
                    <a:lnTo>
                      <a:pt x="256" y="654"/>
                    </a:lnTo>
                    <a:lnTo>
                      <a:pt x="260" y="650"/>
                    </a:lnTo>
                    <a:lnTo>
                      <a:pt x="244" y="576"/>
                    </a:lnTo>
                    <a:lnTo>
                      <a:pt x="270" y="560"/>
                    </a:lnTo>
                    <a:lnTo>
                      <a:pt x="277" y="506"/>
                    </a:lnTo>
                    <a:lnTo>
                      <a:pt x="308" y="477"/>
                    </a:lnTo>
                    <a:lnTo>
                      <a:pt x="331" y="404"/>
                    </a:lnTo>
                    <a:lnTo>
                      <a:pt x="362" y="404"/>
                    </a:lnTo>
                    <a:lnTo>
                      <a:pt x="369" y="387"/>
                    </a:lnTo>
                    <a:lnTo>
                      <a:pt x="345" y="354"/>
                    </a:lnTo>
                    <a:lnTo>
                      <a:pt x="352" y="338"/>
                    </a:lnTo>
                    <a:lnTo>
                      <a:pt x="362" y="333"/>
                    </a:lnTo>
                    <a:lnTo>
                      <a:pt x="345" y="276"/>
                    </a:lnTo>
                    <a:lnTo>
                      <a:pt x="352" y="255"/>
                    </a:lnTo>
                    <a:lnTo>
                      <a:pt x="369" y="255"/>
                    </a:lnTo>
                    <a:lnTo>
                      <a:pt x="352" y="222"/>
                    </a:lnTo>
                    <a:lnTo>
                      <a:pt x="369" y="199"/>
                    </a:lnTo>
                    <a:lnTo>
                      <a:pt x="438" y="165"/>
                    </a:lnTo>
                    <a:lnTo>
                      <a:pt x="466" y="87"/>
                    </a:lnTo>
                    <a:lnTo>
                      <a:pt x="449" y="78"/>
                    </a:lnTo>
                    <a:lnTo>
                      <a:pt x="449" y="78"/>
                    </a:lnTo>
                    <a:lnTo>
                      <a:pt x="449" y="78"/>
                    </a:lnTo>
                    <a:close/>
                    <a:moveTo>
                      <a:pt x="815" y="1387"/>
                    </a:moveTo>
                    <a:lnTo>
                      <a:pt x="799" y="1370"/>
                    </a:lnTo>
                    <a:lnTo>
                      <a:pt x="815" y="1375"/>
                    </a:lnTo>
                    <a:lnTo>
                      <a:pt x="815" y="1387"/>
                    </a:lnTo>
                    <a:lnTo>
                      <a:pt x="815" y="1387"/>
                    </a:lnTo>
                    <a:lnTo>
                      <a:pt x="815" y="1387"/>
                    </a:lnTo>
                    <a:close/>
                    <a:moveTo>
                      <a:pt x="345" y="2806"/>
                    </a:moveTo>
                    <a:lnTo>
                      <a:pt x="345" y="2589"/>
                    </a:lnTo>
                    <a:lnTo>
                      <a:pt x="369" y="2622"/>
                    </a:lnTo>
                    <a:lnTo>
                      <a:pt x="378" y="2639"/>
                    </a:lnTo>
                    <a:lnTo>
                      <a:pt x="362" y="2629"/>
                    </a:lnTo>
                    <a:lnTo>
                      <a:pt x="352" y="2639"/>
                    </a:lnTo>
                    <a:lnTo>
                      <a:pt x="352" y="2646"/>
                    </a:lnTo>
                    <a:lnTo>
                      <a:pt x="378" y="2655"/>
                    </a:lnTo>
                    <a:lnTo>
                      <a:pt x="395" y="2683"/>
                    </a:lnTo>
                    <a:lnTo>
                      <a:pt x="421" y="2712"/>
                    </a:lnTo>
                    <a:lnTo>
                      <a:pt x="421" y="2717"/>
                    </a:lnTo>
                    <a:lnTo>
                      <a:pt x="518" y="2778"/>
                    </a:lnTo>
                    <a:lnTo>
                      <a:pt x="556" y="2790"/>
                    </a:lnTo>
                    <a:lnTo>
                      <a:pt x="593" y="2790"/>
                    </a:lnTo>
                    <a:lnTo>
                      <a:pt x="577" y="2823"/>
                    </a:lnTo>
                    <a:lnTo>
                      <a:pt x="541" y="2811"/>
                    </a:lnTo>
                    <a:lnTo>
                      <a:pt x="504" y="2828"/>
                    </a:lnTo>
                    <a:lnTo>
                      <a:pt x="466" y="2811"/>
                    </a:lnTo>
                    <a:lnTo>
                      <a:pt x="352" y="2811"/>
                    </a:lnTo>
                    <a:lnTo>
                      <a:pt x="345" y="2806"/>
                    </a:lnTo>
                    <a:lnTo>
                      <a:pt x="345" y="2806"/>
                    </a:lnTo>
                    <a:lnTo>
                      <a:pt x="345" y="2806"/>
                    </a:lnTo>
                    <a:close/>
                    <a:moveTo>
                      <a:pt x="626" y="2811"/>
                    </a:moveTo>
                    <a:lnTo>
                      <a:pt x="615" y="2806"/>
                    </a:lnTo>
                    <a:lnTo>
                      <a:pt x="626" y="2806"/>
                    </a:lnTo>
                    <a:lnTo>
                      <a:pt x="686" y="2794"/>
                    </a:lnTo>
                    <a:lnTo>
                      <a:pt x="681" y="2806"/>
                    </a:lnTo>
                    <a:lnTo>
                      <a:pt x="648" y="2806"/>
                    </a:lnTo>
                    <a:lnTo>
                      <a:pt x="626" y="2811"/>
                    </a:lnTo>
                    <a:lnTo>
                      <a:pt x="626" y="2811"/>
                    </a:lnTo>
                    <a:lnTo>
                      <a:pt x="626" y="2811"/>
                    </a:lnTo>
                    <a:close/>
                    <a:moveTo>
                      <a:pt x="345" y="2811"/>
                    </a:moveTo>
                    <a:lnTo>
                      <a:pt x="345" y="2806"/>
                    </a:lnTo>
                    <a:lnTo>
                      <a:pt x="352" y="2811"/>
                    </a:lnTo>
                    <a:lnTo>
                      <a:pt x="345" y="2811"/>
                    </a:lnTo>
                    <a:lnTo>
                      <a:pt x="345" y="2811"/>
                    </a:lnTo>
                    <a:lnTo>
                      <a:pt x="345" y="281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4" name="Freeform 391">
                <a:extLst>
                  <a:ext uri="{FF2B5EF4-FFF2-40B4-BE49-F238E27FC236}">
                    <a16:creationId xmlns:a16="http://schemas.microsoft.com/office/drawing/2014/main" id="{64E6929E-1628-4E77-91C6-08A07EE8A9D4}"/>
                  </a:ext>
                </a:extLst>
              </p:cNvPr>
              <p:cNvSpPr>
                <a:spLocks/>
              </p:cNvSpPr>
              <p:nvPr/>
            </p:nvSpPr>
            <p:spPr bwMode="gray">
              <a:xfrm>
                <a:off x="5005042" y="3667755"/>
                <a:ext cx="4940" cy="7823"/>
              </a:xfrm>
              <a:custGeom>
                <a:avLst/>
                <a:gdLst>
                  <a:gd name="T0" fmla="*/ 7 w 12"/>
                  <a:gd name="T1" fmla="*/ 19 h 19"/>
                  <a:gd name="T2" fmla="*/ 0 w 12"/>
                  <a:gd name="T3" fmla="*/ 19 h 19"/>
                  <a:gd name="T4" fmla="*/ 0 w 12"/>
                  <a:gd name="T5" fmla="*/ 0 h 19"/>
                  <a:gd name="T6" fmla="*/ 12 w 12"/>
                  <a:gd name="T7" fmla="*/ 12 h 19"/>
                  <a:gd name="T8" fmla="*/ 7 w 12"/>
                  <a:gd name="T9" fmla="*/ 19 h 19"/>
                  <a:gd name="T10" fmla="*/ 7 w 12"/>
                  <a:gd name="T11" fmla="*/ 19 h 19"/>
                  <a:gd name="T12" fmla="*/ 7 w 12"/>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2" h="19">
                    <a:moveTo>
                      <a:pt x="7" y="19"/>
                    </a:moveTo>
                    <a:lnTo>
                      <a:pt x="0" y="19"/>
                    </a:lnTo>
                    <a:lnTo>
                      <a:pt x="0" y="0"/>
                    </a:lnTo>
                    <a:lnTo>
                      <a:pt x="12" y="12"/>
                    </a:lnTo>
                    <a:lnTo>
                      <a:pt x="7" y="19"/>
                    </a:lnTo>
                    <a:lnTo>
                      <a:pt x="7" y="19"/>
                    </a:lnTo>
                    <a:lnTo>
                      <a:pt x="7" y="1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5" name="Freeform 396">
                <a:extLst>
                  <a:ext uri="{FF2B5EF4-FFF2-40B4-BE49-F238E27FC236}">
                    <a16:creationId xmlns:a16="http://schemas.microsoft.com/office/drawing/2014/main" id="{386BFB62-D3AF-4FDA-871E-883FE526B9BE}"/>
                  </a:ext>
                </a:extLst>
              </p:cNvPr>
              <p:cNvSpPr>
                <a:spLocks noEditPoints="1"/>
              </p:cNvSpPr>
              <p:nvPr/>
            </p:nvSpPr>
            <p:spPr bwMode="gray">
              <a:xfrm>
                <a:off x="4149181" y="3513362"/>
                <a:ext cx="39108" cy="76579"/>
              </a:xfrm>
              <a:custGeom>
                <a:avLst/>
                <a:gdLst>
                  <a:gd name="T0" fmla="*/ 24 w 95"/>
                  <a:gd name="T1" fmla="*/ 186 h 186"/>
                  <a:gd name="T2" fmla="*/ 0 w 95"/>
                  <a:gd name="T3" fmla="*/ 186 h 186"/>
                  <a:gd name="T4" fmla="*/ 7 w 95"/>
                  <a:gd name="T5" fmla="*/ 42 h 186"/>
                  <a:gd name="T6" fmla="*/ 7 w 95"/>
                  <a:gd name="T7" fmla="*/ 37 h 186"/>
                  <a:gd name="T8" fmla="*/ 17 w 95"/>
                  <a:gd name="T9" fmla="*/ 26 h 186"/>
                  <a:gd name="T10" fmla="*/ 24 w 95"/>
                  <a:gd name="T11" fmla="*/ 37 h 186"/>
                  <a:gd name="T12" fmla="*/ 57 w 95"/>
                  <a:gd name="T13" fmla="*/ 0 h 186"/>
                  <a:gd name="T14" fmla="*/ 62 w 95"/>
                  <a:gd name="T15" fmla="*/ 0 h 186"/>
                  <a:gd name="T16" fmla="*/ 62 w 95"/>
                  <a:gd name="T17" fmla="*/ 4 h 186"/>
                  <a:gd name="T18" fmla="*/ 78 w 95"/>
                  <a:gd name="T19" fmla="*/ 4 h 186"/>
                  <a:gd name="T20" fmla="*/ 78 w 95"/>
                  <a:gd name="T21" fmla="*/ 9 h 186"/>
                  <a:gd name="T22" fmla="*/ 62 w 95"/>
                  <a:gd name="T23" fmla="*/ 59 h 186"/>
                  <a:gd name="T24" fmla="*/ 62 w 95"/>
                  <a:gd name="T25" fmla="*/ 92 h 186"/>
                  <a:gd name="T26" fmla="*/ 73 w 95"/>
                  <a:gd name="T27" fmla="*/ 111 h 186"/>
                  <a:gd name="T28" fmla="*/ 62 w 95"/>
                  <a:gd name="T29" fmla="*/ 137 h 186"/>
                  <a:gd name="T30" fmla="*/ 62 w 95"/>
                  <a:gd name="T31" fmla="*/ 132 h 186"/>
                  <a:gd name="T32" fmla="*/ 45 w 95"/>
                  <a:gd name="T33" fmla="*/ 153 h 186"/>
                  <a:gd name="T34" fmla="*/ 33 w 95"/>
                  <a:gd name="T35" fmla="*/ 165 h 186"/>
                  <a:gd name="T36" fmla="*/ 24 w 95"/>
                  <a:gd name="T37" fmla="*/ 177 h 186"/>
                  <a:gd name="T38" fmla="*/ 24 w 95"/>
                  <a:gd name="T39" fmla="*/ 186 h 186"/>
                  <a:gd name="T40" fmla="*/ 24 w 95"/>
                  <a:gd name="T41" fmla="*/ 186 h 186"/>
                  <a:gd name="T42" fmla="*/ 24 w 95"/>
                  <a:gd name="T43" fmla="*/ 186 h 186"/>
                  <a:gd name="T44" fmla="*/ 95 w 95"/>
                  <a:gd name="T45" fmla="*/ 26 h 186"/>
                  <a:gd name="T46" fmla="*/ 90 w 95"/>
                  <a:gd name="T47" fmla="*/ 37 h 186"/>
                  <a:gd name="T48" fmla="*/ 95 w 95"/>
                  <a:gd name="T49" fmla="*/ 21 h 186"/>
                  <a:gd name="T50" fmla="*/ 95 w 95"/>
                  <a:gd name="T51" fmla="*/ 26 h 186"/>
                  <a:gd name="T52" fmla="*/ 95 w 95"/>
                  <a:gd name="T53" fmla="*/ 26 h 186"/>
                  <a:gd name="T54" fmla="*/ 95 w 95"/>
                  <a:gd name="T55" fmla="*/ 2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5" h="186">
                    <a:moveTo>
                      <a:pt x="24" y="186"/>
                    </a:moveTo>
                    <a:lnTo>
                      <a:pt x="0" y="186"/>
                    </a:lnTo>
                    <a:lnTo>
                      <a:pt x="7" y="42"/>
                    </a:lnTo>
                    <a:lnTo>
                      <a:pt x="7" y="37"/>
                    </a:lnTo>
                    <a:lnTo>
                      <a:pt x="17" y="26"/>
                    </a:lnTo>
                    <a:lnTo>
                      <a:pt x="24" y="37"/>
                    </a:lnTo>
                    <a:lnTo>
                      <a:pt x="57" y="0"/>
                    </a:lnTo>
                    <a:lnTo>
                      <a:pt x="62" y="0"/>
                    </a:lnTo>
                    <a:lnTo>
                      <a:pt x="62" y="4"/>
                    </a:lnTo>
                    <a:lnTo>
                      <a:pt x="78" y="4"/>
                    </a:lnTo>
                    <a:lnTo>
                      <a:pt x="78" y="9"/>
                    </a:lnTo>
                    <a:lnTo>
                      <a:pt x="62" y="59"/>
                    </a:lnTo>
                    <a:lnTo>
                      <a:pt x="62" y="92"/>
                    </a:lnTo>
                    <a:lnTo>
                      <a:pt x="73" y="111"/>
                    </a:lnTo>
                    <a:lnTo>
                      <a:pt x="62" y="137"/>
                    </a:lnTo>
                    <a:lnTo>
                      <a:pt x="62" y="132"/>
                    </a:lnTo>
                    <a:lnTo>
                      <a:pt x="45" y="153"/>
                    </a:lnTo>
                    <a:lnTo>
                      <a:pt x="33" y="165"/>
                    </a:lnTo>
                    <a:lnTo>
                      <a:pt x="24" y="177"/>
                    </a:lnTo>
                    <a:lnTo>
                      <a:pt x="24" y="186"/>
                    </a:lnTo>
                    <a:lnTo>
                      <a:pt x="24" y="186"/>
                    </a:lnTo>
                    <a:lnTo>
                      <a:pt x="24" y="186"/>
                    </a:lnTo>
                    <a:close/>
                    <a:moveTo>
                      <a:pt x="95" y="26"/>
                    </a:moveTo>
                    <a:lnTo>
                      <a:pt x="90" y="37"/>
                    </a:lnTo>
                    <a:lnTo>
                      <a:pt x="95" y="21"/>
                    </a:lnTo>
                    <a:lnTo>
                      <a:pt x="95" y="26"/>
                    </a:lnTo>
                    <a:lnTo>
                      <a:pt x="95" y="26"/>
                    </a:lnTo>
                    <a:lnTo>
                      <a:pt x="95" y="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6" name="Freeform 398">
                <a:extLst>
                  <a:ext uri="{FF2B5EF4-FFF2-40B4-BE49-F238E27FC236}">
                    <a16:creationId xmlns:a16="http://schemas.microsoft.com/office/drawing/2014/main" id="{CE1A50CB-1C0C-4D7B-B5E7-3478B3A14CE4}"/>
                  </a:ext>
                </a:extLst>
              </p:cNvPr>
              <p:cNvSpPr>
                <a:spLocks/>
              </p:cNvSpPr>
              <p:nvPr/>
            </p:nvSpPr>
            <p:spPr bwMode="gray">
              <a:xfrm>
                <a:off x="4715228" y="4353263"/>
                <a:ext cx="349097" cy="401836"/>
              </a:xfrm>
              <a:custGeom>
                <a:avLst/>
                <a:gdLst>
                  <a:gd name="T0" fmla="*/ 482 w 848"/>
                  <a:gd name="T1" fmla="*/ 915 h 976"/>
                  <a:gd name="T2" fmla="*/ 378 w 848"/>
                  <a:gd name="T3" fmla="*/ 952 h 976"/>
                  <a:gd name="T4" fmla="*/ 357 w 848"/>
                  <a:gd name="T5" fmla="*/ 931 h 976"/>
                  <a:gd name="T6" fmla="*/ 269 w 848"/>
                  <a:gd name="T7" fmla="*/ 919 h 976"/>
                  <a:gd name="T8" fmla="*/ 231 w 848"/>
                  <a:gd name="T9" fmla="*/ 919 h 976"/>
                  <a:gd name="T10" fmla="*/ 198 w 848"/>
                  <a:gd name="T11" fmla="*/ 943 h 976"/>
                  <a:gd name="T12" fmla="*/ 189 w 848"/>
                  <a:gd name="T13" fmla="*/ 959 h 976"/>
                  <a:gd name="T14" fmla="*/ 144 w 848"/>
                  <a:gd name="T15" fmla="*/ 976 h 976"/>
                  <a:gd name="T16" fmla="*/ 123 w 848"/>
                  <a:gd name="T17" fmla="*/ 952 h 976"/>
                  <a:gd name="T18" fmla="*/ 106 w 848"/>
                  <a:gd name="T19" fmla="*/ 915 h 976"/>
                  <a:gd name="T20" fmla="*/ 101 w 848"/>
                  <a:gd name="T21" fmla="*/ 858 h 976"/>
                  <a:gd name="T22" fmla="*/ 75 w 848"/>
                  <a:gd name="T23" fmla="*/ 825 h 976"/>
                  <a:gd name="T24" fmla="*/ 85 w 848"/>
                  <a:gd name="T25" fmla="*/ 808 h 976"/>
                  <a:gd name="T26" fmla="*/ 64 w 848"/>
                  <a:gd name="T27" fmla="*/ 787 h 976"/>
                  <a:gd name="T28" fmla="*/ 75 w 848"/>
                  <a:gd name="T29" fmla="*/ 759 h 976"/>
                  <a:gd name="T30" fmla="*/ 64 w 848"/>
                  <a:gd name="T31" fmla="*/ 737 h 976"/>
                  <a:gd name="T32" fmla="*/ 47 w 848"/>
                  <a:gd name="T33" fmla="*/ 681 h 976"/>
                  <a:gd name="T34" fmla="*/ 38 w 848"/>
                  <a:gd name="T35" fmla="*/ 610 h 976"/>
                  <a:gd name="T36" fmla="*/ 9 w 848"/>
                  <a:gd name="T37" fmla="*/ 572 h 976"/>
                  <a:gd name="T38" fmla="*/ 0 w 848"/>
                  <a:gd name="T39" fmla="*/ 556 h 976"/>
                  <a:gd name="T40" fmla="*/ 47 w 848"/>
                  <a:gd name="T41" fmla="*/ 511 h 976"/>
                  <a:gd name="T42" fmla="*/ 54 w 848"/>
                  <a:gd name="T43" fmla="*/ 482 h 976"/>
                  <a:gd name="T44" fmla="*/ 31 w 848"/>
                  <a:gd name="T45" fmla="*/ 478 h 976"/>
                  <a:gd name="T46" fmla="*/ 21 w 848"/>
                  <a:gd name="T47" fmla="*/ 416 h 976"/>
                  <a:gd name="T48" fmla="*/ 16 w 848"/>
                  <a:gd name="T49" fmla="*/ 388 h 976"/>
                  <a:gd name="T50" fmla="*/ 47 w 848"/>
                  <a:gd name="T51" fmla="*/ 345 h 976"/>
                  <a:gd name="T52" fmla="*/ 54 w 848"/>
                  <a:gd name="T53" fmla="*/ 334 h 976"/>
                  <a:gd name="T54" fmla="*/ 47 w 848"/>
                  <a:gd name="T55" fmla="*/ 277 h 976"/>
                  <a:gd name="T56" fmla="*/ 68 w 848"/>
                  <a:gd name="T57" fmla="*/ 206 h 976"/>
                  <a:gd name="T58" fmla="*/ 54 w 848"/>
                  <a:gd name="T59" fmla="*/ 95 h 976"/>
                  <a:gd name="T60" fmla="*/ 68 w 848"/>
                  <a:gd name="T61" fmla="*/ 107 h 976"/>
                  <a:gd name="T62" fmla="*/ 106 w 848"/>
                  <a:gd name="T63" fmla="*/ 74 h 976"/>
                  <a:gd name="T64" fmla="*/ 144 w 848"/>
                  <a:gd name="T65" fmla="*/ 57 h 976"/>
                  <a:gd name="T66" fmla="*/ 177 w 848"/>
                  <a:gd name="T67" fmla="*/ 41 h 976"/>
                  <a:gd name="T68" fmla="*/ 248 w 848"/>
                  <a:gd name="T69" fmla="*/ 12 h 976"/>
                  <a:gd name="T70" fmla="*/ 302 w 848"/>
                  <a:gd name="T71" fmla="*/ 0 h 976"/>
                  <a:gd name="T72" fmla="*/ 298 w 848"/>
                  <a:gd name="T73" fmla="*/ 57 h 976"/>
                  <a:gd name="T74" fmla="*/ 302 w 848"/>
                  <a:gd name="T75" fmla="*/ 111 h 976"/>
                  <a:gd name="T76" fmla="*/ 319 w 848"/>
                  <a:gd name="T77" fmla="*/ 145 h 976"/>
                  <a:gd name="T78" fmla="*/ 323 w 848"/>
                  <a:gd name="T79" fmla="*/ 152 h 976"/>
                  <a:gd name="T80" fmla="*/ 340 w 848"/>
                  <a:gd name="T81" fmla="*/ 168 h 976"/>
                  <a:gd name="T82" fmla="*/ 361 w 848"/>
                  <a:gd name="T83" fmla="*/ 185 h 976"/>
                  <a:gd name="T84" fmla="*/ 404 w 848"/>
                  <a:gd name="T85" fmla="*/ 206 h 976"/>
                  <a:gd name="T86" fmla="*/ 444 w 848"/>
                  <a:gd name="T87" fmla="*/ 223 h 976"/>
                  <a:gd name="T88" fmla="*/ 465 w 848"/>
                  <a:gd name="T89" fmla="*/ 234 h 976"/>
                  <a:gd name="T90" fmla="*/ 486 w 848"/>
                  <a:gd name="T91" fmla="*/ 239 h 976"/>
                  <a:gd name="T92" fmla="*/ 524 w 848"/>
                  <a:gd name="T93" fmla="*/ 256 h 976"/>
                  <a:gd name="T94" fmla="*/ 605 w 848"/>
                  <a:gd name="T95" fmla="*/ 277 h 976"/>
                  <a:gd name="T96" fmla="*/ 649 w 848"/>
                  <a:gd name="T97" fmla="*/ 317 h 976"/>
                  <a:gd name="T98" fmla="*/ 659 w 848"/>
                  <a:gd name="T99" fmla="*/ 362 h 976"/>
                  <a:gd name="T100" fmla="*/ 633 w 848"/>
                  <a:gd name="T101" fmla="*/ 400 h 976"/>
                  <a:gd name="T102" fmla="*/ 664 w 848"/>
                  <a:gd name="T103" fmla="*/ 482 h 976"/>
                  <a:gd name="T104" fmla="*/ 794 w 848"/>
                  <a:gd name="T105" fmla="*/ 499 h 976"/>
                  <a:gd name="T106" fmla="*/ 789 w 848"/>
                  <a:gd name="T107" fmla="*/ 556 h 976"/>
                  <a:gd name="T108" fmla="*/ 838 w 848"/>
                  <a:gd name="T109" fmla="*/ 605 h 976"/>
                  <a:gd name="T110" fmla="*/ 838 w 848"/>
                  <a:gd name="T111" fmla="*/ 681 h 976"/>
                  <a:gd name="T112" fmla="*/ 838 w 848"/>
                  <a:gd name="T113" fmla="*/ 693 h 976"/>
                  <a:gd name="T114" fmla="*/ 827 w 848"/>
                  <a:gd name="T115" fmla="*/ 759 h 976"/>
                  <a:gd name="T116" fmla="*/ 805 w 848"/>
                  <a:gd name="T117" fmla="*/ 749 h 976"/>
                  <a:gd name="T118" fmla="*/ 675 w 848"/>
                  <a:gd name="T119" fmla="*/ 704 h 976"/>
                  <a:gd name="T120" fmla="*/ 541 w 848"/>
                  <a:gd name="T121" fmla="*/ 771 h 976"/>
                  <a:gd name="T122" fmla="*/ 520 w 848"/>
                  <a:gd name="T123" fmla="*/ 841 h 976"/>
                  <a:gd name="T124" fmla="*/ 486 w 848"/>
                  <a:gd name="T125" fmla="*/ 931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8" h="976">
                    <a:moveTo>
                      <a:pt x="486" y="931"/>
                    </a:moveTo>
                    <a:lnTo>
                      <a:pt x="482" y="915"/>
                    </a:lnTo>
                    <a:lnTo>
                      <a:pt x="404" y="915"/>
                    </a:lnTo>
                    <a:lnTo>
                      <a:pt x="378" y="952"/>
                    </a:lnTo>
                    <a:lnTo>
                      <a:pt x="373" y="976"/>
                    </a:lnTo>
                    <a:lnTo>
                      <a:pt x="357" y="931"/>
                    </a:lnTo>
                    <a:lnTo>
                      <a:pt x="323" y="919"/>
                    </a:lnTo>
                    <a:lnTo>
                      <a:pt x="269" y="919"/>
                    </a:lnTo>
                    <a:lnTo>
                      <a:pt x="243" y="898"/>
                    </a:lnTo>
                    <a:lnTo>
                      <a:pt x="231" y="919"/>
                    </a:lnTo>
                    <a:lnTo>
                      <a:pt x="198" y="931"/>
                    </a:lnTo>
                    <a:lnTo>
                      <a:pt x="198" y="943"/>
                    </a:lnTo>
                    <a:lnTo>
                      <a:pt x="189" y="952"/>
                    </a:lnTo>
                    <a:lnTo>
                      <a:pt x="189" y="959"/>
                    </a:lnTo>
                    <a:lnTo>
                      <a:pt x="172" y="976"/>
                    </a:lnTo>
                    <a:lnTo>
                      <a:pt x="144" y="976"/>
                    </a:lnTo>
                    <a:lnTo>
                      <a:pt x="123" y="976"/>
                    </a:lnTo>
                    <a:lnTo>
                      <a:pt x="123" y="952"/>
                    </a:lnTo>
                    <a:lnTo>
                      <a:pt x="118" y="919"/>
                    </a:lnTo>
                    <a:lnTo>
                      <a:pt x="106" y="915"/>
                    </a:lnTo>
                    <a:lnTo>
                      <a:pt x="101" y="882"/>
                    </a:lnTo>
                    <a:lnTo>
                      <a:pt x="101" y="858"/>
                    </a:lnTo>
                    <a:lnTo>
                      <a:pt x="85" y="832"/>
                    </a:lnTo>
                    <a:lnTo>
                      <a:pt x="75" y="825"/>
                    </a:lnTo>
                    <a:lnTo>
                      <a:pt x="75" y="820"/>
                    </a:lnTo>
                    <a:lnTo>
                      <a:pt x="85" y="808"/>
                    </a:lnTo>
                    <a:lnTo>
                      <a:pt x="64" y="792"/>
                    </a:lnTo>
                    <a:lnTo>
                      <a:pt x="64" y="787"/>
                    </a:lnTo>
                    <a:lnTo>
                      <a:pt x="64" y="771"/>
                    </a:lnTo>
                    <a:lnTo>
                      <a:pt x="75" y="759"/>
                    </a:lnTo>
                    <a:lnTo>
                      <a:pt x="75" y="754"/>
                    </a:lnTo>
                    <a:lnTo>
                      <a:pt x="64" y="737"/>
                    </a:lnTo>
                    <a:lnTo>
                      <a:pt x="85" y="716"/>
                    </a:lnTo>
                    <a:lnTo>
                      <a:pt x="47" y="681"/>
                    </a:lnTo>
                    <a:lnTo>
                      <a:pt x="31" y="622"/>
                    </a:lnTo>
                    <a:lnTo>
                      <a:pt x="38" y="610"/>
                    </a:lnTo>
                    <a:lnTo>
                      <a:pt x="21" y="610"/>
                    </a:lnTo>
                    <a:lnTo>
                      <a:pt x="9" y="572"/>
                    </a:lnTo>
                    <a:lnTo>
                      <a:pt x="9" y="565"/>
                    </a:lnTo>
                    <a:lnTo>
                      <a:pt x="0" y="556"/>
                    </a:lnTo>
                    <a:lnTo>
                      <a:pt x="0" y="556"/>
                    </a:lnTo>
                    <a:lnTo>
                      <a:pt x="47" y="511"/>
                    </a:lnTo>
                    <a:lnTo>
                      <a:pt x="38" y="499"/>
                    </a:lnTo>
                    <a:lnTo>
                      <a:pt x="54" y="482"/>
                    </a:lnTo>
                    <a:lnTo>
                      <a:pt x="47" y="478"/>
                    </a:lnTo>
                    <a:lnTo>
                      <a:pt x="31" y="478"/>
                    </a:lnTo>
                    <a:lnTo>
                      <a:pt x="16" y="437"/>
                    </a:lnTo>
                    <a:lnTo>
                      <a:pt x="21" y="416"/>
                    </a:lnTo>
                    <a:lnTo>
                      <a:pt x="31" y="404"/>
                    </a:lnTo>
                    <a:lnTo>
                      <a:pt x="16" y="388"/>
                    </a:lnTo>
                    <a:lnTo>
                      <a:pt x="16" y="371"/>
                    </a:lnTo>
                    <a:lnTo>
                      <a:pt x="47" y="345"/>
                    </a:lnTo>
                    <a:lnTo>
                      <a:pt x="47" y="334"/>
                    </a:lnTo>
                    <a:lnTo>
                      <a:pt x="54" y="334"/>
                    </a:lnTo>
                    <a:lnTo>
                      <a:pt x="38" y="293"/>
                    </a:lnTo>
                    <a:lnTo>
                      <a:pt x="47" y="277"/>
                    </a:lnTo>
                    <a:lnTo>
                      <a:pt x="47" y="234"/>
                    </a:lnTo>
                    <a:lnTo>
                      <a:pt x="68" y="206"/>
                    </a:lnTo>
                    <a:lnTo>
                      <a:pt x="9" y="95"/>
                    </a:lnTo>
                    <a:lnTo>
                      <a:pt x="54" y="95"/>
                    </a:lnTo>
                    <a:lnTo>
                      <a:pt x="64" y="107"/>
                    </a:lnTo>
                    <a:lnTo>
                      <a:pt x="68" y="107"/>
                    </a:lnTo>
                    <a:lnTo>
                      <a:pt x="92" y="95"/>
                    </a:lnTo>
                    <a:lnTo>
                      <a:pt x="106" y="74"/>
                    </a:lnTo>
                    <a:lnTo>
                      <a:pt x="135" y="74"/>
                    </a:lnTo>
                    <a:lnTo>
                      <a:pt x="144" y="57"/>
                    </a:lnTo>
                    <a:lnTo>
                      <a:pt x="161" y="50"/>
                    </a:lnTo>
                    <a:lnTo>
                      <a:pt x="177" y="41"/>
                    </a:lnTo>
                    <a:lnTo>
                      <a:pt x="210" y="17"/>
                    </a:lnTo>
                    <a:lnTo>
                      <a:pt x="248" y="12"/>
                    </a:lnTo>
                    <a:lnTo>
                      <a:pt x="286" y="12"/>
                    </a:lnTo>
                    <a:lnTo>
                      <a:pt x="302" y="0"/>
                    </a:lnTo>
                    <a:lnTo>
                      <a:pt x="302" y="41"/>
                    </a:lnTo>
                    <a:lnTo>
                      <a:pt x="298" y="57"/>
                    </a:lnTo>
                    <a:lnTo>
                      <a:pt x="302" y="95"/>
                    </a:lnTo>
                    <a:lnTo>
                      <a:pt x="302" y="111"/>
                    </a:lnTo>
                    <a:lnTo>
                      <a:pt x="302" y="128"/>
                    </a:lnTo>
                    <a:lnTo>
                      <a:pt x="319" y="145"/>
                    </a:lnTo>
                    <a:lnTo>
                      <a:pt x="307" y="152"/>
                    </a:lnTo>
                    <a:lnTo>
                      <a:pt x="323" y="152"/>
                    </a:lnTo>
                    <a:lnTo>
                      <a:pt x="323" y="168"/>
                    </a:lnTo>
                    <a:lnTo>
                      <a:pt x="340" y="168"/>
                    </a:lnTo>
                    <a:lnTo>
                      <a:pt x="340" y="185"/>
                    </a:lnTo>
                    <a:lnTo>
                      <a:pt x="361" y="185"/>
                    </a:lnTo>
                    <a:lnTo>
                      <a:pt x="373" y="206"/>
                    </a:lnTo>
                    <a:lnTo>
                      <a:pt x="404" y="206"/>
                    </a:lnTo>
                    <a:lnTo>
                      <a:pt x="416" y="206"/>
                    </a:lnTo>
                    <a:lnTo>
                      <a:pt x="444" y="223"/>
                    </a:lnTo>
                    <a:lnTo>
                      <a:pt x="465" y="218"/>
                    </a:lnTo>
                    <a:lnTo>
                      <a:pt x="465" y="234"/>
                    </a:lnTo>
                    <a:lnTo>
                      <a:pt x="482" y="251"/>
                    </a:lnTo>
                    <a:lnTo>
                      <a:pt x="486" y="239"/>
                    </a:lnTo>
                    <a:lnTo>
                      <a:pt x="512" y="256"/>
                    </a:lnTo>
                    <a:lnTo>
                      <a:pt x="524" y="256"/>
                    </a:lnTo>
                    <a:lnTo>
                      <a:pt x="550" y="289"/>
                    </a:lnTo>
                    <a:lnTo>
                      <a:pt x="605" y="277"/>
                    </a:lnTo>
                    <a:lnTo>
                      <a:pt x="642" y="305"/>
                    </a:lnTo>
                    <a:lnTo>
                      <a:pt x="649" y="317"/>
                    </a:lnTo>
                    <a:lnTo>
                      <a:pt x="642" y="326"/>
                    </a:lnTo>
                    <a:lnTo>
                      <a:pt x="659" y="362"/>
                    </a:lnTo>
                    <a:lnTo>
                      <a:pt x="659" y="400"/>
                    </a:lnTo>
                    <a:lnTo>
                      <a:pt x="633" y="400"/>
                    </a:lnTo>
                    <a:lnTo>
                      <a:pt x="659" y="421"/>
                    </a:lnTo>
                    <a:lnTo>
                      <a:pt x="664" y="482"/>
                    </a:lnTo>
                    <a:lnTo>
                      <a:pt x="794" y="482"/>
                    </a:lnTo>
                    <a:lnTo>
                      <a:pt x="794" y="499"/>
                    </a:lnTo>
                    <a:lnTo>
                      <a:pt x="784" y="515"/>
                    </a:lnTo>
                    <a:lnTo>
                      <a:pt x="789" y="556"/>
                    </a:lnTo>
                    <a:lnTo>
                      <a:pt x="838" y="582"/>
                    </a:lnTo>
                    <a:lnTo>
                      <a:pt x="838" y="605"/>
                    </a:lnTo>
                    <a:lnTo>
                      <a:pt x="848" y="626"/>
                    </a:lnTo>
                    <a:lnTo>
                      <a:pt x="838" y="681"/>
                    </a:lnTo>
                    <a:lnTo>
                      <a:pt x="838" y="693"/>
                    </a:lnTo>
                    <a:lnTo>
                      <a:pt x="838" y="693"/>
                    </a:lnTo>
                    <a:lnTo>
                      <a:pt x="810" y="737"/>
                    </a:lnTo>
                    <a:lnTo>
                      <a:pt x="827" y="759"/>
                    </a:lnTo>
                    <a:lnTo>
                      <a:pt x="805" y="771"/>
                    </a:lnTo>
                    <a:lnTo>
                      <a:pt x="805" y="749"/>
                    </a:lnTo>
                    <a:lnTo>
                      <a:pt x="742" y="716"/>
                    </a:lnTo>
                    <a:lnTo>
                      <a:pt x="675" y="704"/>
                    </a:lnTo>
                    <a:lnTo>
                      <a:pt x="557" y="733"/>
                    </a:lnTo>
                    <a:lnTo>
                      <a:pt x="541" y="771"/>
                    </a:lnTo>
                    <a:lnTo>
                      <a:pt x="520" y="804"/>
                    </a:lnTo>
                    <a:lnTo>
                      <a:pt x="520" y="841"/>
                    </a:lnTo>
                    <a:lnTo>
                      <a:pt x="486" y="931"/>
                    </a:lnTo>
                    <a:lnTo>
                      <a:pt x="486" y="931"/>
                    </a:lnTo>
                    <a:lnTo>
                      <a:pt x="486" y="93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7" name="Freeform 403">
                <a:extLst>
                  <a:ext uri="{FF2B5EF4-FFF2-40B4-BE49-F238E27FC236}">
                    <a16:creationId xmlns:a16="http://schemas.microsoft.com/office/drawing/2014/main" id="{15CAB0C8-9368-41A9-930C-52EF3594F500}"/>
                  </a:ext>
                </a:extLst>
              </p:cNvPr>
              <p:cNvSpPr>
                <a:spLocks noEditPoints="1"/>
              </p:cNvSpPr>
              <p:nvPr/>
            </p:nvSpPr>
            <p:spPr bwMode="gray">
              <a:xfrm>
                <a:off x="4587610" y="3909845"/>
                <a:ext cx="1134151" cy="1194389"/>
              </a:xfrm>
              <a:custGeom>
                <a:avLst/>
                <a:gdLst>
                  <a:gd name="T0" fmla="*/ 291 w 2755"/>
                  <a:gd name="T1" fmla="*/ 255 h 2901"/>
                  <a:gd name="T2" fmla="*/ 593 w 2755"/>
                  <a:gd name="T3" fmla="*/ 312 h 2901"/>
                  <a:gd name="T4" fmla="*/ 702 w 2755"/>
                  <a:gd name="T5" fmla="*/ 201 h 2901"/>
                  <a:gd name="T6" fmla="*/ 794 w 2755"/>
                  <a:gd name="T7" fmla="*/ 90 h 2901"/>
                  <a:gd name="T8" fmla="*/ 967 w 2755"/>
                  <a:gd name="T9" fmla="*/ 0 h 2901"/>
                  <a:gd name="T10" fmla="*/ 1009 w 2755"/>
                  <a:gd name="T11" fmla="*/ 246 h 2901"/>
                  <a:gd name="T12" fmla="*/ 1172 w 2755"/>
                  <a:gd name="T13" fmla="*/ 239 h 2901"/>
                  <a:gd name="T14" fmla="*/ 1366 w 2755"/>
                  <a:gd name="T15" fmla="*/ 206 h 2901"/>
                  <a:gd name="T16" fmla="*/ 1604 w 2755"/>
                  <a:gd name="T17" fmla="*/ 95 h 2901"/>
                  <a:gd name="T18" fmla="*/ 1600 w 2755"/>
                  <a:gd name="T19" fmla="*/ 390 h 2901"/>
                  <a:gd name="T20" fmla="*/ 1637 w 2755"/>
                  <a:gd name="T21" fmla="*/ 506 h 2901"/>
                  <a:gd name="T22" fmla="*/ 1637 w 2755"/>
                  <a:gd name="T23" fmla="*/ 539 h 2901"/>
                  <a:gd name="T24" fmla="*/ 1784 w 2755"/>
                  <a:gd name="T25" fmla="*/ 485 h 2901"/>
                  <a:gd name="T26" fmla="*/ 1869 w 2755"/>
                  <a:gd name="T27" fmla="*/ 423 h 2901"/>
                  <a:gd name="T28" fmla="*/ 1982 w 2755"/>
                  <a:gd name="T29" fmla="*/ 461 h 2901"/>
                  <a:gd name="T30" fmla="*/ 2063 w 2755"/>
                  <a:gd name="T31" fmla="*/ 506 h 2901"/>
                  <a:gd name="T32" fmla="*/ 2091 w 2755"/>
                  <a:gd name="T33" fmla="*/ 577 h 2901"/>
                  <a:gd name="T34" fmla="*/ 2301 w 2755"/>
                  <a:gd name="T35" fmla="*/ 589 h 2901"/>
                  <a:gd name="T36" fmla="*/ 2750 w 2755"/>
                  <a:gd name="T37" fmla="*/ 884 h 2901"/>
                  <a:gd name="T38" fmla="*/ 2594 w 2755"/>
                  <a:gd name="T39" fmla="*/ 1172 h 2901"/>
                  <a:gd name="T40" fmla="*/ 2469 w 2755"/>
                  <a:gd name="T41" fmla="*/ 1309 h 2901"/>
                  <a:gd name="T42" fmla="*/ 2448 w 2755"/>
                  <a:gd name="T43" fmla="*/ 1625 h 2901"/>
                  <a:gd name="T44" fmla="*/ 2322 w 2755"/>
                  <a:gd name="T45" fmla="*/ 1937 h 2901"/>
                  <a:gd name="T46" fmla="*/ 2117 w 2755"/>
                  <a:gd name="T47" fmla="*/ 2053 h 2901"/>
                  <a:gd name="T48" fmla="*/ 1944 w 2755"/>
                  <a:gd name="T49" fmla="*/ 2143 h 2901"/>
                  <a:gd name="T50" fmla="*/ 1777 w 2755"/>
                  <a:gd name="T51" fmla="*/ 2287 h 2901"/>
                  <a:gd name="T52" fmla="*/ 1767 w 2755"/>
                  <a:gd name="T53" fmla="*/ 2476 h 2901"/>
                  <a:gd name="T54" fmla="*/ 1600 w 2755"/>
                  <a:gd name="T55" fmla="*/ 2719 h 2901"/>
                  <a:gd name="T56" fmla="*/ 1604 w 2755"/>
                  <a:gd name="T57" fmla="*/ 2625 h 2901"/>
                  <a:gd name="T58" fmla="*/ 1496 w 2755"/>
                  <a:gd name="T59" fmla="*/ 2851 h 2901"/>
                  <a:gd name="T60" fmla="*/ 1210 w 2755"/>
                  <a:gd name="T61" fmla="*/ 2620 h 2901"/>
                  <a:gd name="T62" fmla="*/ 1281 w 2755"/>
                  <a:gd name="T63" fmla="*/ 2464 h 2901"/>
                  <a:gd name="T64" fmla="*/ 1366 w 2755"/>
                  <a:gd name="T65" fmla="*/ 2259 h 2901"/>
                  <a:gd name="T66" fmla="*/ 1238 w 2755"/>
                  <a:gd name="T67" fmla="*/ 1992 h 2901"/>
                  <a:gd name="T68" fmla="*/ 1146 w 2755"/>
                  <a:gd name="T69" fmla="*/ 1659 h 2901"/>
                  <a:gd name="T70" fmla="*/ 858 w 2755"/>
                  <a:gd name="T71" fmla="*/ 1366 h 2901"/>
                  <a:gd name="T72" fmla="*/ 631 w 2755"/>
                  <a:gd name="T73" fmla="*/ 1243 h 2901"/>
                  <a:gd name="T74" fmla="*/ 471 w 2755"/>
                  <a:gd name="T75" fmla="*/ 1127 h 2901"/>
                  <a:gd name="T76" fmla="*/ 248 w 2755"/>
                  <a:gd name="T77" fmla="*/ 1061 h 2901"/>
                  <a:gd name="T78" fmla="*/ 17 w 2755"/>
                  <a:gd name="T79" fmla="*/ 888 h 2901"/>
                  <a:gd name="T80" fmla="*/ 286 w 2755"/>
                  <a:gd name="T81" fmla="*/ 683 h 2901"/>
                  <a:gd name="T82" fmla="*/ 1685 w 2755"/>
                  <a:gd name="T83" fmla="*/ 312 h 2901"/>
                  <a:gd name="T84" fmla="*/ 1685 w 2755"/>
                  <a:gd name="T85" fmla="*/ 333 h 2901"/>
                  <a:gd name="T86" fmla="*/ 1706 w 2755"/>
                  <a:gd name="T87" fmla="*/ 357 h 2901"/>
                  <a:gd name="T88" fmla="*/ 1706 w 2755"/>
                  <a:gd name="T89" fmla="*/ 390 h 2901"/>
                  <a:gd name="T90" fmla="*/ 1621 w 2755"/>
                  <a:gd name="T91" fmla="*/ 383 h 2901"/>
                  <a:gd name="T92" fmla="*/ 1637 w 2755"/>
                  <a:gd name="T93" fmla="*/ 411 h 2901"/>
                  <a:gd name="T94" fmla="*/ 1685 w 2755"/>
                  <a:gd name="T95" fmla="*/ 501 h 2901"/>
                  <a:gd name="T96" fmla="*/ 1621 w 2755"/>
                  <a:gd name="T97" fmla="*/ 407 h 2901"/>
                  <a:gd name="T98" fmla="*/ 1630 w 2755"/>
                  <a:gd name="T99" fmla="*/ 407 h 2901"/>
                  <a:gd name="T100" fmla="*/ 1550 w 2755"/>
                  <a:gd name="T101" fmla="*/ 485 h 2901"/>
                  <a:gd name="T102" fmla="*/ 1831 w 2755"/>
                  <a:gd name="T103" fmla="*/ 428 h 2901"/>
                  <a:gd name="T104" fmla="*/ 1928 w 2755"/>
                  <a:gd name="T105" fmla="*/ 449 h 2901"/>
                  <a:gd name="T106" fmla="*/ 2037 w 2755"/>
                  <a:gd name="T107" fmla="*/ 468 h 2901"/>
                  <a:gd name="T108" fmla="*/ 1529 w 2755"/>
                  <a:gd name="T109" fmla="*/ 501 h 2901"/>
                  <a:gd name="T110" fmla="*/ 1760 w 2755"/>
                  <a:gd name="T111" fmla="*/ 506 h 2901"/>
                  <a:gd name="T112" fmla="*/ 2247 w 2755"/>
                  <a:gd name="T113" fmla="*/ 577 h 2901"/>
                  <a:gd name="T114" fmla="*/ 2485 w 2755"/>
                  <a:gd name="T115" fmla="*/ 1309 h 2901"/>
                  <a:gd name="T116" fmla="*/ 2464 w 2755"/>
                  <a:gd name="T117" fmla="*/ 1370 h 2901"/>
                  <a:gd name="T118" fmla="*/ 2020 w 2755"/>
                  <a:gd name="T119" fmla="*/ 2143 h 2901"/>
                  <a:gd name="T120" fmla="*/ 1777 w 2755"/>
                  <a:gd name="T121" fmla="*/ 2313 h 2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55" h="2901">
                    <a:moveTo>
                      <a:pt x="286" y="683"/>
                    </a:moveTo>
                    <a:lnTo>
                      <a:pt x="324" y="477"/>
                    </a:lnTo>
                    <a:lnTo>
                      <a:pt x="324" y="449"/>
                    </a:lnTo>
                    <a:lnTo>
                      <a:pt x="308" y="428"/>
                    </a:lnTo>
                    <a:lnTo>
                      <a:pt x="308" y="411"/>
                    </a:lnTo>
                    <a:lnTo>
                      <a:pt x="274" y="390"/>
                    </a:lnTo>
                    <a:lnTo>
                      <a:pt x="274" y="333"/>
                    </a:lnTo>
                    <a:lnTo>
                      <a:pt x="324" y="329"/>
                    </a:lnTo>
                    <a:lnTo>
                      <a:pt x="329" y="333"/>
                    </a:lnTo>
                    <a:lnTo>
                      <a:pt x="345" y="333"/>
                    </a:lnTo>
                    <a:lnTo>
                      <a:pt x="341" y="317"/>
                    </a:lnTo>
                    <a:lnTo>
                      <a:pt x="329" y="300"/>
                    </a:lnTo>
                    <a:lnTo>
                      <a:pt x="291" y="300"/>
                    </a:lnTo>
                    <a:lnTo>
                      <a:pt x="291" y="255"/>
                    </a:lnTo>
                    <a:lnTo>
                      <a:pt x="319" y="246"/>
                    </a:lnTo>
                    <a:lnTo>
                      <a:pt x="411" y="255"/>
                    </a:lnTo>
                    <a:lnTo>
                      <a:pt x="400" y="246"/>
                    </a:lnTo>
                    <a:lnTo>
                      <a:pt x="411" y="239"/>
                    </a:lnTo>
                    <a:lnTo>
                      <a:pt x="433" y="255"/>
                    </a:lnTo>
                    <a:lnTo>
                      <a:pt x="466" y="222"/>
                    </a:lnTo>
                    <a:lnTo>
                      <a:pt x="471" y="222"/>
                    </a:lnTo>
                    <a:lnTo>
                      <a:pt x="487" y="263"/>
                    </a:lnTo>
                    <a:lnTo>
                      <a:pt x="487" y="296"/>
                    </a:lnTo>
                    <a:lnTo>
                      <a:pt x="504" y="296"/>
                    </a:lnTo>
                    <a:lnTo>
                      <a:pt x="541" y="329"/>
                    </a:lnTo>
                    <a:lnTo>
                      <a:pt x="556" y="329"/>
                    </a:lnTo>
                    <a:lnTo>
                      <a:pt x="579" y="312"/>
                    </a:lnTo>
                    <a:lnTo>
                      <a:pt x="593" y="312"/>
                    </a:lnTo>
                    <a:lnTo>
                      <a:pt x="593" y="329"/>
                    </a:lnTo>
                    <a:lnTo>
                      <a:pt x="593" y="333"/>
                    </a:lnTo>
                    <a:lnTo>
                      <a:pt x="610" y="312"/>
                    </a:lnTo>
                    <a:lnTo>
                      <a:pt x="617" y="312"/>
                    </a:lnTo>
                    <a:lnTo>
                      <a:pt x="626" y="296"/>
                    </a:lnTo>
                    <a:lnTo>
                      <a:pt x="648" y="284"/>
                    </a:lnTo>
                    <a:lnTo>
                      <a:pt x="659" y="284"/>
                    </a:lnTo>
                    <a:lnTo>
                      <a:pt x="681" y="267"/>
                    </a:lnTo>
                    <a:lnTo>
                      <a:pt x="685" y="267"/>
                    </a:lnTo>
                    <a:lnTo>
                      <a:pt x="697" y="263"/>
                    </a:lnTo>
                    <a:lnTo>
                      <a:pt x="702" y="239"/>
                    </a:lnTo>
                    <a:lnTo>
                      <a:pt x="752" y="222"/>
                    </a:lnTo>
                    <a:lnTo>
                      <a:pt x="752" y="206"/>
                    </a:lnTo>
                    <a:lnTo>
                      <a:pt x="702" y="201"/>
                    </a:lnTo>
                    <a:lnTo>
                      <a:pt x="702" y="185"/>
                    </a:lnTo>
                    <a:lnTo>
                      <a:pt x="685" y="152"/>
                    </a:lnTo>
                    <a:lnTo>
                      <a:pt x="685" y="118"/>
                    </a:lnTo>
                    <a:lnTo>
                      <a:pt x="659" y="90"/>
                    </a:lnTo>
                    <a:lnTo>
                      <a:pt x="648" y="74"/>
                    </a:lnTo>
                    <a:lnTo>
                      <a:pt x="664" y="78"/>
                    </a:lnTo>
                    <a:lnTo>
                      <a:pt x="697" y="78"/>
                    </a:lnTo>
                    <a:lnTo>
                      <a:pt x="702" y="95"/>
                    </a:lnTo>
                    <a:lnTo>
                      <a:pt x="719" y="95"/>
                    </a:lnTo>
                    <a:lnTo>
                      <a:pt x="740" y="102"/>
                    </a:lnTo>
                    <a:lnTo>
                      <a:pt x="752" y="95"/>
                    </a:lnTo>
                    <a:lnTo>
                      <a:pt x="778" y="118"/>
                    </a:lnTo>
                    <a:lnTo>
                      <a:pt x="794" y="111"/>
                    </a:lnTo>
                    <a:lnTo>
                      <a:pt x="794" y="90"/>
                    </a:lnTo>
                    <a:lnTo>
                      <a:pt x="806" y="90"/>
                    </a:lnTo>
                    <a:lnTo>
                      <a:pt x="811" y="78"/>
                    </a:lnTo>
                    <a:lnTo>
                      <a:pt x="832" y="78"/>
                    </a:lnTo>
                    <a:lnTo>
                      <a:pt x="858" y="78"/>
                    </a:lnTo>
                    <a:lnTo>
                      <a:pt x="865" y="74"/>
                    </a:lnTo>
                    <a:lnTo>
                      <a:pt x="874" y="74"/>
                    </a:lnTo>
                    <a:lnTo>
                      <a:pt x="882" y="62"/>
                    </a:lnTo>
                    <a:lnTo>
                      <a:pt x="896" y="57"/>
                    </a:lnTo>
                    <a:lnTo>
                      <a:pt x="919" y="45"/>
                    </a:lnTo>
                    <a:lnTo>
                      <a:pt x="929" y="40"/>
                    </a:lnTo>
                    <a:lnTo>
                      <a:pt x="941" y="24"/>
                    </a:lnTo>
                    <a:lnTo>
                      <a:pt x="941" y="7"/>
                    </a:lnTo>
                    <a:lnTo>
                      <a:pt x="933" y="0"/>
                    </a:lnTo>
                    <a:lnTo>
                      <a:pt x="967" y="0"/>
                    </a:lnTo>
                    <a:lnTo>
                      <a:pt x="971" y="0"/>
                    </a:lnTo>
                    <a:lnTo>
                      <a:pt x="983" y="7"/>
                    </a:lnTo>
                    <a:lnTo>
                      <a:pt x="988" y="17"/>
                    </a:lnTo>
                    <a:lnTo>
                      <a:pt x="983" y="40"/>
                    </a:lnTo>
                    <a:lnTo>
                      <a:pt x="971" y="57"/>
                    </a:lnTo>
                    <a:lnTo>
                      <a:pt x="1004" y="62"/>
                    </a:lnTo>
                    <a:lnTo>
                      <a:pt x="1004" y="74"/>
                    </a:lnTo>
                    <a:lnTo>
                      <a:pt x="1009" y="95"/>
                    </a:lnTo>
                    <a:lnTo>
                      <a:pt x="995" y="128"/>
                    </a:lnTo>
                    <a:lnTo>
                      <a:pt x="988" y="185"/>
                    </a:lnTo>
                    <a:lnTo>
                      <a:pt x="995" y="206"/>
                    </a:lnTo>
                    <a:lnTo>
                      <a:pt x="1004" y="211"/>
                    </a:lnTo>
                    <a:lnTo>
                      <a:pt x="1004" y="246"/>
                    </a:lnTo>
                    <a:lnTo>
                      <a:pt x="1009" y="246"/>
                    </a:lnTo>
                    <a:lnTo>
                      <a:pt x="1009" y="255"/>
                    </a:lnTo>
                    <a:lnTo>
                      <a:pt x="1021" y="255"/>
                    </a:lnTo>
                    <a:lnTo>
                      <a:pt x="1037" y="279"/>
                    </a:lnTo>
                    <a:lnTo>
                      <a:pt x="1059" y="284"/>
                    </a:lnTo>
                    <a:lnTo>
                      <a:pt x="1063" y="296"/>
                    </a:lnTo>
                    <a:lnTo>
                      <a:pt x="1075" y="284"/>
                    </a:lnTo>
                    <a:lnTo>
                      <a:pt x="1092" y="284"/>
                    </a:lnTo>
                    <a:lnTo>
                      <a:pt x="1092" y="267"/>
                    </a:lnTo>
                    <a:lnTo>
                      <a:pt x="1101" y="263"/>
                    </a:lnTo>
                    <a:lnTo>
                      <a:pt x="1130" y="267"/>
                    </a:lnTo>
                    <a:lnTo>
                      <a:pt x="1130" y="263"/>
                    </a:lnTo>
                    <a:lnTo>
                      <a:pt x="1146" y="255"/>
                    </a:lnTo>
                    <a:lnTo>
                      <a:pt x="1156" y="255"/>
                    </a:lnTo>
                    <a:lnTo>
                      <a:pt x="1172" y="239"/>
                    </a:lnTo>
                    <a:lnTo>
                      <a:pt x="1189" y="229"/>
                    </a:lnTo>
                    <a:lnTo>
                      <a:pt x="1210" y="246"/>
                    </a:lnTo>
                    <a:lnTo>
                      <a:pt x="1238" y="239"/>
                    </a:lnTo>
                    <a:lnTo>
                      <a:pt x="1264" y="246"/>
                    </a:lnTo>
                    <a:lnTo>
                      <a:pt x="1276" y="239"/>
                    </a:lnTo>
                    <a:lnTo>
                      <a:pt x="1276" y="229"/>
                    </a:lnTo>
                    <a:lnTo>
                      <a:pt x="1259" y="211"/>
                    </a:lnTo>
                    <a:lnTo>
                      <a:pt x="1264" y="201"/>
                    </a:lnTo>
                    <a:lnTo>
                      <a:pt x="1290" y="206"/>
                    </a:lnTo>
                    <a:lnTo>
                      <a:pt x="1335" y="189"/>
                    </a:lnTo>
                    <a:lnTo>
                      <a:pt x="1345" y="201"/>
                    </a:lnTo>
                    <a:lnTo>
                      <a:pt x="1361" y="201"/>
                    </a:lnTo>
                    <a:lnTo>
                      <a:pt x="1361" y="206"/>
                    </a:lnTo>
                    <a:lnTo>
                      <a:pt x="1366" y="206"/>
                    </a:lnTo>
                    <a:lnTo>
                      <a:pt x="1399" y="222"/>
                    </a:lnTo>
                    <a:lnTo>
                      <a:pt x="1420" y="206"/>
                    </a:lnTo>
                    <a:lnTo>
                      <a:pt x="1437" y="211"/>
                    </a:lnTo>
                    <a:lnTo>
                      <a:pt x="1453" y="206"/>
                    </a:lnTo>
                    <a:lnTo>
                      <a:pt x="1458" y="222"/>
                    </a:lnTo>
                    <a:lnTo>
                      <a:pt x="1479" y="222"/>
                    </a:lnTo>
                    <a:lnTo>
                      <a:pt x="1507" y="201"/>
                    </a:lnTo>
                    <a:lnTo>
                      <a:pt x="1524" y="152"/>
                    </a:lnTo>
                    <a:lnTo>
                      <a:pt x="1567" y="90"/>
                    </a:lnTo>
                    <a:lnTo>
                      <a:pt x="1578" y="78"/>
                    </a:lnTo>
                    <a:lnTo>
                      <a:pt x="1583" y="90"/>
                    </a:lnTo>
                    <a:lnTo>
                      <a:pt x="1578" y="62"/>
                    </a:lnTo>
                    <a:lnTo>
                      <a:pt x="1600" y="78"/>
                    </a:lnTo>
                    <a:lnTo>
                      <a:pt x="1604" y="95"/>
                    </a:lnTo>
                    <a:lnTo>
                      <a:pt x="1616" y="95"/>
                    </a:lnTo>
                    <a:lnTo>
                      <a:pt x="1616" y="152"/>
                    </a:lnTo>
                    <a:lnTo>
                      <a:pt x="1637" y="222"/>
                    </a:lnTo>
                    <a:lnTo>
                      <a:pt x="1654" y="246"/>
                    </a:lnTo>
                    <a:lnTo>
                      <a:pt x="1675" y="246"/>
                    </a:lnTo>
                    <a:lnTo>
                      <a:pt x="1692" y="255"/>
                    </a:lnTo>
                    <a:lnTo>
                      <a:pt x="1692" y="284"/>
                    </a:lnTo>
                    <a:lnTo>
                      <a:pt x="1675" y="296"/>
                    </a:lnTo>
                    <a:lnTo>
                      <a:pt x="1692" y="284"/>
                    </a:lnTo>
                    <a:lnTo>
                      <a:pt x="1692" y="296"/>
                    </a:lnTo>
                    <a:lnTo>
                      <a:pt x="1654" y="333"/>
                    </a:lnTo>
                    <a:lnTo>
                      <a:pt x="1630" y="366"/>
                    </a:lnTo>
                    <a:lnTo>
                      <a:pt x="1621" y="366"/>
                    </a:lnTo>
                    <a:lnTo>
                      <a:pt x="1600" y="390"/>
                    </a:lnTo>
                    <a:lnTo>
                      <a:pt x="1567" y="428"/>
                    </a:lnTo>
                    <a:lnTo>
                      <a:pt x="1567" y="449"/>
                    </a:lnTo>
                    <a:lnTo>
                      <a:pt x="1550" y="461"/>
                    </a:lnTo>
                    <a:lnTo>
                      <a:pt x="1550" y="477"/>
                    </a:lnTo>
                    <a:lnTo>
                      <a:pt x="1545" y="485"/>
                    </a:lnTo>
                    <a:lnTo>
                      <a:pt x="1529" y="477"/>
                    </a:lnTo>
                    <a:lnTo>
                      <a:pt x="1496" y="494"/>
                    </a:lnTo>
                    <a:lnTo>
                      <a:pt x="1529" y="494"/>
                    </a:lnTo>
                    <a:lnTo>
                      <a:pt x="1529" y="501"/>
                    </a:lnTo>
                    <a:lnTo>
                      <a:pt x="1600" y="468"/>
                    </a:lnTo>
                    <a:lnTo>
                      <a:pt x="1616" y="444"/>
                    </a:lnTo>
                    <a:lnTo>
                      <a:pt x="1630" y="444"/>
                    </a:lnTo>
                    <a:lnTo>
                      <a:pt x="1630" y="485"/>
                    </a:lnTo>
                    <a:lnTo>
                      <a:pt x="1637" y="506"/>
                    </a:lnTo>
                    <a:lnTo>
                      <a:pt x="1630" y="518"/>
                    </a:lnTo>
                    <a:lnTo>
                      <a:pt x="1604" y="506"/>
                    </a:lnTo>
                    <a:lnTo>
                      <a:pt x="1588" y="501"/>
                    </a:lnTo>
                    <a:lnTo>
                      <a:pt x="1583" y="522"/>
                    </a:lnTo>
                    <a:lnTo>
                      <a:pt x="1583" y="539"/>
                    </a:lnTo>
                    <a:lnTo>
                      <a:pt x="1588" y="551"/>
                    </a:lnTo>
                    <a:lnTo>
                      <a:pt x="1583" y="522"/>
                    </a:lnTo>
                    <a:lnTo>
                      <a:pt x="1600" y="506"/>
                    </a:lnTo>
                    <a:lnTo>
                      <a:pt x="1616" y="522"/>
                    </a:lnTo>
                    <a:lnTo>
                      <a:pt x="1616" y="551"/>
                    </a:lnTo>
                    <a:lnTo>
                      <a:pt x="1630" y="555"/>
                    </a:lnTo>
                    <a:lnTo>
                      <a:pt x="1616" y="551"/>
                    </a:lnTo>
                    <a:lnTo>
                      <a:pt x="1621" y="522"/>
                    </a:lnTo>
                    <a:lnTo>
                      <a:pt x="1637" y="539"/>
                    </a:lnTo>
                    <a:lnTo>
                      <a:pt x="1630" y="518"/>
                    </a:lnTo>
                    <a:lnTo>
                      <a:pt x="1637" y="506"/>
                    </a:lnTo>
                    <a:lnTo>
                      <a:pt x="1654" y="506"/>
                    </a:lnTo>
                    <a:lnTo>
                      <a:pt x="1659" y="518"/>
                    </a:lnTo>
                    <a:lnTo>
                      <a:pt x="1685" y="506"/>
                    </a:lnTo>
                    <a:lnTo>
                      <a:pt x="1696" y="518"/>
                    </a:lnTo>
                    <a:lnTo>
                      <a:pt x="1713" y="518"/>
                    </a:lnTo>
                    <a:lnTo>
                      <a:pt x="1739" y="501"/>
                    </a:lnTo>
                    <a:lnTo>
                      <a:pt x="1722" y="539"/>
                    </a:lnTo>
                    <a:lnTo>
                      <a:pt x="1722" y="560"/>
                    </a:lnTo>
                    <a:lnTo>
                      <a:pt x="1744" y="518"/>
                    </a:lnTo>
                    <a:lnTo>
                      <a:pt x="1760" y="506"/>
                    </a:lnTo>
                    <a:lnTo>
                      <a:pt x="1777" y="485"/>
                    </a:lnTo>
                    <a:lnTo>
                      <a:pt x="1784" y="485"/>
                    </a:lnTo>
                    <a:lnTo>
                      <a:pt x="1798" y="501"/>
                    </a:lnTo>
                    <a:lnTo>
                      <a:pt x="1798" y="485"/>
                    </a:lnTo>
                    <a:lnTo>
                      <a:pt x="1815" y="485"/>
                    </a:lnTo>
                    <a:lnTo>
                      <a:pt x="1793" y="485"/>
                    </a:lnTo>
                    <a:lnTo>
                      <a:pt x="1793" y="468"/>
                    </a:lnTo>
                    <a:lnTo>
                      <a:pt x="1805" y="477"/>
                    </a:lnTo>
                    <a:lnTo>
                      <a:pt x="1805" y="444"/>
                    </a:lnTo>
                    <a:lnTo>
                      <a:pt x="1822" y="428"/>
                    </a:lnTo>
                    <a:lnTo>
                      <a:pt x="1831" y="440"/>
                    </a:lnTo>
                    <a:lnTo>
                      <a:pt x="1848" y="423"/>
                    </a:lnTo>
                    <a:lnTo>
                      <a:pt x="1848" y="440"/>
                    </a:lnTo>
                    <a:lnTo>
                      <a:pt x="1859" y="423"/>
                    </a:lnTo>
                    <a:lnTo>
                      <a:pt x="1869" y="440"/>
                    </a:lnTo>
                    <a:lnTo>
                      <a:pt x="1869" y="423"/>
                    </a:lnTo>
                    <a:lnTo>
                      <a:pt x="1890" y="428"/>
                    </a:lnTo>
                    <a:lnTo>
                      <a:pt x="1902" y="428"/>
                    </a:lnTo>
                    <a:lnTo>
                      <a:pt x="1902" y="444"/>
                    </a:lnTo>
                    <a:lnTo>
                      <a:pt x="1907" y="428"/>
                    </a:lnTo>
                    <a:lnTo>
                      <a:pt x="1911" y="440"/>
                    </a:lnTo>
                    <a:lnTo>
                      <a:pt x="1923" y="440"/>
                    </a:lnTo>
                    <a:lnTo>
                      <a:pt x="1923" y="449"/>
                    </a:lnTo>
                    <a:lnTo>
                      <a:pt x="1956" y="444"/>
                    </a:lnTo>
                    <a:lnTo>
                      <a:pt x="1944" y="461"/>
                    </a:lnTo>
                    <a:lnTo>
                      <a:pt x="1961" y="461"/>
                    </a:lnTo>
                    <a:lnTo>
                      <a:pt x="1961" y="468"/>
                    </a:lnTo>
                    <a:lnTo>
                      <a:pt x="1966" y="449"/>
                    </a:lnTo>
                    <a:lnTo>
                      <a:pt x="1978" y="468"/>
                    </a:lnTo>
                    <a:lnTo>
                      <a:pt x="1982" y="461"/>
                    </a:lnTo>
                    <a:lnTo>
                      <a:pt x="1994" y="477"/>
                    </a:lnTo>
                    <a:lnTo>
                      <a:pt x="1994" y="468"/>
                    </a:lnTo>
                    <a:lnTo>
                      <a:pt x="2011" y="477"/>
                    </a:lnTo>
                    <a:lnTo>
                      <a:pt x="2011" y="494"/>
                    </a:lnTo>
                    <a:lnTo>
                      <a:pt x="2015" y="477"/>
                    </a:lnTo>
                    <a:lnTo>
                      <a:pt x="2015" y="501"/>
                    </a:lnTo>
                    <a:lnTo>
                      <a:pt x="2020" y="501"/>
                    </a:lnTo>
                    <a:lnTo>
                      <a:pt x="2020" y="485"/>
                    </a:lnTo>
                    <a:lnTo>
                      <a:pt x="2037" y="485"/>
                    </a:lnTo>
                    <a:lnTo>
                      <a:pt x="2048" y="485"/>
                    </a:lnTo>
                    <a:lnTo>
                      <a:pt x="2037" y="494"/>
                    </a:lnTo>
                    <a:lnTo>
                      <a:pt x="2053" y="494"/>
                    </a:lnTo>
                    <a:lnTo>
                      <a:pt x="2053" y="501"/>
                    </a:lnTo>
                    <a:lnTo>
                      <a:pt x="2063" y="506"/>
                    </a:lnTo>
                    <a:lnTo>
                      <a:pt x="2070" y="506"/>
                    </a:lnTo>
                    <a:lnTo>
                      <a:pt x="2074" y="522"/>
                    </a:lnTo>
                    <a:lnTo>
                      <a:pt x="2063" y="551"/>
                    </a:lnTo>
                    <a:lnTo>
                      <a:pt x="2074" y="534"/>
                    </a:lnTo>
                    <a:lnTo>
                      <a:pt x="2086" y="551"/>
                    </a:lnTo>
                    <a:lnTo>
                      <a:pt x="2070" y="560"/>
                    </a:lnTo>
                    <a:lnTo>
                      <a:pt x="2063" y="596"/>
                    </a:lnTo>
                    <a:lnTo>
                      <a:pt x="2053" y="617"/>
                    </a:lnTo>
                    <a:lnTo>
                      <a:pt x="2074" y="589"/>
                    </a:lnTo>
                    <a:lnTo>
                      <a:pt x="2086" y="560"/>
                    </a:lnTo>
                    <a:lnTo>
                      <a:pt x="2100" y="551"/>
                    </a:lnTo>
                    <a:lnTo>
                      <a:pt x="2107" y="560"/>
                    </a:lnTo>
                    <a:lnTo>
                      <a:pt x="2086" y="577"/>
                    </a:lnTo>
                    <a:lnTo>
                      <a:pt x="2091" y="577"/>
                    </a:lnTo>
                    <a:lnTo>
                      <a:pt x="2091" y="589"/>
                    </a:lnTo>
                    <a:lnTo>
                      <a:pt x="2117" y="560"/>
                    </a:lnTo>
                    <a:lnTo>
                      <a:pt x="2145" y="560"/>
                    </a:lnTo>
                    <a:lnTo>
                      <a:pt x="2145" y="551"/>
                    </a:lnTo>
                    <a:lnTo>
                      <a:pt x="2155" y="551"/>
                    </a:lnTo>
                    <a:lnTo>
                      <a:pt x="2200" y="560"/>
                    </a:lnTo>
                    <a:lnTo>
                      <a:pt x="2230" y="577"/>
                    </a:lnTo>
                    <a:lnTo>
                      <a:pt x="2252" y="577"/>
                    </a:lnTo>
                    <a:lnTo>
                      <a:pt x="2247" y="577"/>
                    </a:lnTo>
                    <a:lnTo>
                      <a:pt x="2263" y="572"/>
                    </a:lnTo>
                    <a:lnTo>
                      <a:pt x="2268" y="589"/>
                    </a:lnTo>
                    <a:lnTo>
                      <a:pt x="2289" y="589"/>
                    </a:lnTo>
                    <a:lnTo>
                      <a:pt x="2301" y="596"/>
                    </a:lnTo>
                    <a:lnTo>
                      <a:pt x="2301" y="589"/>
                    </a:lnTo>
                    <a:lnTo>
                      <a:pt x="2356" y="577"/>
                    </a:lnTo>
                    <a:lnTo>
                      <a:pt x="2389" y="577"/>
                    </a:lnTo>
                    <a:lnTo>
                      <a:pt x="2495" y="645"/>
                    </a:lnTo>
                    <a:lnTo>
                      <a:pt x="2556" y="704"/>
                    </a:lnTo>
                    <a:lnTo>
                      <a:pt x="2578" y="716"/>
                    </a:lnTo>
                    <a:lnTo>
                      <a:pt x="2587" y="728"/>
                    </a:lnTo>
                    <a:lnTo>
                      <a:pt x="2608" y="740"/>
                    </a:lnTo>
                    <a:lnTo>
                      <a:pt x="2615" y="744"/>
                    </a:lnTo>
                    <a:lnTo>
                      <a:pt x="2670" y="744"/>
                    </a:lnTo>
                    <a:lnTo>
                      <a:pt x="2712" y="756"/>
                    </a:lnTo>
                    <a:lnTo>
                      <a:pt x="2738" y="839"/>
                    </a:lnTo>
                    <a:lnTo>
                      <a:pt x="2750" y="884"/>
                    </a:lnTo>
                    <a:lnTo>
                      <a:pt x="2750" y="893"/>
                    </a:lnTo>
                    <a:lnTo>
                      <a:pt x="2750" y="884"/>
                    </a:lnTo>
                    <a:lnTo>
                      <a:pt x="2755" y="922"/>
                    </a:lnTo>
                    <a:lnTo>
                      <a:pt x="2750" y="922"/>
                    </a:lnTo>
                    <a:lnTo>
                      <a:pt x="2755" y="926"/>
                    </a:lnTo>
                    <a:lnTo>
                      <a:pt x="2750" y="943"/>
                    </a:lnTo>
                    <a:lnTo>
                      <a:pt x="2750" y="950"/>
                    </a:lnTo>
                    <a:lnTo>
                      <a:pt x="2750" y="959"/>
                    </a:lnTo>
                    <a:lnTo>
                      <a:pt x="2717" y="1037"/>
                    </a:lnTo>
                    <a:lnTo>
                      <a:pt x="2684" y="1077"/>
                    </a:lnTo>
                    <a:lnTo>
                      <a:pt x="2641" y="1132"/>
                    </a:lnTo>
                    <a:lnTo>
                      <a:pt x="2608" y="1160"/>
                    </a:lnTo>
                    <a:lnTo>
                      <a:pt x="2594" y="1165"/>
                    </a:lnTo>
                    <a:lnTo>
                      <a:pt x="2587" y="1160"/>
                    </a:lnTo>
                    <a:lnTo>
                      <a:pt x="2594" y="1165"/>
                    </a:lnTo>
                    <a:lnTo>
                      <a:pt x="2594" y="1172"/>
                    </a:lnTo>
                    <a:lnTo>
                      <a:pt x="2587" y="1181"/>
                    </a:lnTo>
                    <a:lnTo>
                      <a:pt x="2578" y="1172"/>
                    </a:lnTo>
                    <a:lnTo>
                      <a:pt x="2587" y="1181"/>
                    </a:lnTo>
                    <a:lnTo>
                      <a:pt x="2587" y="1188"/>
                    </a:lnTo>
                    <a:lnTo>
                      <a:pt x="2570" y="1205"/>
                    </a:lnTo>
                    <a:lnTo>
                      <a:pt x="2578" y="1188"/>
                    </a:lnTo>
                    <a:lnTo>
                      <a:pt x="2570" y="1188"/>
                    </a:lnTo>
                    <a:lnTo>
                      <a:pt x="2556" y="1243"/>
                    </a:lnTo>
                    <a:lnTo>
                      <a:pt x="2523" y="1292"/>
                    </a:lnTo>
                    <a:lnTo>
                      <a:pt x="2495" y="1325"/>
                    </a:lnTo>
                    <a:lnTo>
                      <a:pt x="2495" y="1300"/>
                    </a:lnTo>
                    <a:lnTo>
                      <a:pt x="2485" y="1300"/>
                    </a:lnTo>
                    <a:lnTo>
                      <a:pt x="2481" y="1292"/>
                    </a:lnTo>
                    <a:lnTo>
                      <a:pt x="2469" y="1309"/>
                    </a:lnTo>
                    <a:lnTo>
                      <a:pt x="2469" y="1292"/>
                    </a:lnTo>
                    <a:lnTo>
                      <a:pt x="2464" y="1300"/>
                    </a:lnTo>
                    <a:lnTo>
                      <a:pt x="2469" y="1309"/>
                    </a:lnTo>
                    <a:lnTo>
                      <a:pt x="2481" y="1309"/>
                    </a:lnTo>
                    <a:lnTo>
                      <a:pt x="2464" y="1349"/>
                    </a:lnTo>
                    <a:lnTo>
                      <a:pt x="2452" y="1349"/>
                    </a:lnTo>
                    <a:lnTo>
                      <a:pt x="2452" y="1354"/>
                    </a:lnTo>
                    <a:lnTo>
                      <a:pt x="2464" y="1370"/>
                    </a:lnTo>
                    <a:lnTo>
                      <a:pt x="2452" y="1403"/>
                    </a:lnTo>
                    <a:lnTo>
                      <a:pt x="2464" y="1394"/>
                    </a:lnTo>
                    <a:lnTo>
                      <a:pt x="2464" y="1387"/>
                    </a:lnTo>
                    <a:lnTo>
                      <a:pt x="2452" y="1444"/>
                    </a:lnTo>
                    <a:lnTo>
                      <a:pt x="2469" y="1531"/>
                    </a:lnTo>
                    <a:lnTo>
                      <a:pt x="2448" y="1625"/>
                    </a:lnTo>
                    <a:lnTo>
                      <a:pt x="2448" y="1666"/>
                    </a:lnTo>
                    <a:lnTo>
                      <a:pt x="2415" y="1703"/>
                    </a:lnTo>
                    <a:lnTo>
                      <a:pt x="2410" y="1744"/>
                    </a:lnTo>
                    <a:lnTo>
                      <a:pt x="2410" y="1793"/>
                    </a:lnTo>
                    <a:lnTo>
                      <a:pt x="2398" y="1810"/>
                    </a:lnTo>
                    <a:lnTo>
                      <a:pt x="2389" y="1814"/>
                    </a:lnTo>
                    <a:lnTo>
                      <a:pt x="2372" y="1864"/>
                    </a:lnTo>
                    <a:lnTo>
                      <a:pt x="2360" y="1855"/>
                    </a:lnTo>
                    <a:lnTo>
                      <a:pt x="2360" y="1864"/>
                    </a:lnTo>
                    <a:lnTo>
                      <a:pt x="2372" y="1864"/>
                    </a:lnTo>
                    <a:lnTo>
                      <a:pt x="2360" y="1888"/>
                    </a:lnTo>
                    <a:lnTo>
                      <a:pt x="2344" y="1904"/>
                    </a:lnTo>
                    <a:lnTo>
                      <a:pt x="2334" y="1904"/>
                    </a:lnTo>
                    <a:lnTo>
                      <a:pt x="2322" y="1937"/>
                    </a:lnTo>
                    <a:lnTo>
                      <a:pt x="2318" y="1959"/>
                    </a:lnTo>
                    <a:lnTo>
                      <a:pt x="2322" y="1992"/>
                    </a:lnTo>
                    <a:lnTo>
                      <a:pt x="2263" y="2015"/>
                    </a:lnTo>
                    <a:lnTo>
                      <a:pt x="2247" y="2032"/>
                    </a:lnTo>
                    <a:lnTo>
                      <a:pt x="2247" y="2065"/>
                    </a:lnTo>
                    <a:lnTo>
                      <a:pt x="2171" y="2065"/>
                    </a:lnTo>
                    <a:lnTo>
                      <a:pt x="2176" y="2048"/>
                    </a:lnTo>
                    <a:lnTo>
                      <a:pt x="2171" y="2036"/>
                    </a:lnTo>
                    <a:lnTo>
                      <a:pt x="2162" y="2048"/>
                    </a:lnTo>
                    <a:lnTo>
                      <a:pt x="2171" y="2065"/>
                    </a:lnTo>
                    <a:lnTo>
                      <a:pt x="2162" y="2065"/>
                    </a:lnTo>
                    <a:lnTo>
                      <a:pt x="2107" y="2070"/>
                    </a:lnTo>
                    <a:lnTo>
                      <a:pt x="2138" y="2070"/>
                    </a:lnTo>
                    <a:lnTo>
                      <a:pt x="2117" y="2053"/>
                    </a:lnTo>
                    <a:lnTo>
                      <a:pt x="2091" y="2070"/>
                    </a:lnTo>
                    <a:lnTo>
                      <a:pt x="2086" y="2065"/>
                    </a:lnTo>
                    <a:lnTo>
                      <a:pt x="2063" y="2070"/>
                    </a:lnTo>
                    <a:lnTo>
                      <a:pt x="2063" y="2086"/>
                    </a:lnTo>
                    <a:lnTo>
                      <a:pt x="2070" y="2086"/>
                    </a:lnTo>
                    <a:lnTo>
                      <a:pt x="2070" y="2093"/>
                    </a:lnTo>
                    <a:lnTo>
                      <a:pt x="2048" y="2093"/>
                    </a:lnTo>
                    <a:lnTo>
                      <a:pt x="2032" y="2103"/>
                    </a:lnTo>
                    <a:lnTo>
                      <a:pt x="2011" y="2110"/>
                    </a:lnTo>
                    <a:lnTo>
                      <a:pt x="2011" y="2126"/>
                    </a:lnTo>
                    <a:lnTo>
                      <a:pt x="1978" y="2126"/>
                    </a:lnTo>
                    <a:lnTo>
                      <a:pt x="1956" y="2131"/>
                    </a:lnTo>
                    <a:lnTo>
                      <a:pt x="1961" y="2131"/>
                    </a:lnTo>
                    <a:lnTo>
                      <a:pt x="1944" y="2143"/>
                    </a:lnTo>
                    <a:lnTo>
                      <a:pt x="1940" y="2131"/>
                    </a:lnTo>
                    <a:lnTo>
                      <a:pt x="1940" y="2143"/>
                    </a:lnTo>
                    <a:lnTo>
                      <a:pt x="1822" y="2221"/>
                    </a:lnTo>
                    <a:lnTo>
                      <a:pt x="1836" y="2221"/>
                    </a:lnTo>
                    <a:lnTo>
                      <a:pt x="1831" y="2230"/>
                    </a:lnTo>
                    <a:lnTo>
                      <a:pt x="1815" y="2254"/>
                    </a:lnTo>
                    <a:lnTo>
                      <a:pt x="1815" y="2242"/>
                    </a:lnTo>
                    <a:lnTo>
                      <a:pt x="1815" y="2237"/>
                    </a:lnTo>
                    <a:lnTo>
                      <a:pt x="1798" y="2242"/>
                    </a:lnTo>
                    <a:lnTo>
                      <a:pt x="1793" y="2254"/>
                    </a:lnTo>
                    <a:lnTo>
                      <a:pt x="1777" y="2254"/>
                    </a:lnTo>
                    <a:lnTo>
                      <a:pt x="1798" y="2259"/>
                    </a:lnTo>
                    <a:lnTo>
                      <a:pt x="1793" y="2275"/>
                    </a:lnTo>
                    <a:lnTo>
                      <a:pt x="1777" y="2287"/>
                    </a:lnTo>
                    <a:lnTo>
                      <a:pt x="1784" y="2287"/>
                    </a:lnTo>
                    <a:lnTo>
                      <a:pt x="1784" y="2308"/>
                    </a:lnTo>
                    <a:lnTo>
                      <a:pt x="1777" y="2313"/>
                    </a:lnTo>
                    <a:lnTo>
                      <a:pt x="1767" y="2296"/>
                    </a:lnTo>
                    <a:lnTo>
                      <a:pt x="1777" y="2313"/>
                    </a:lnTo>
                    <a:lnTo>
                      <a:pt x="1784" y="2329"/>
                    </a:lnTo>
                    <a:lnTo>
                      <a:pt x="1777" y="2348"/>
                    </a:lnTo>
                    <a:lnTo>
                      <a:pt x="1784" y="2381"/>
                    </a:lnTo>
                    <a:lnTo>
                      <a:pt x="1793" y="2386"/>
                    </a:lnTo>
                    <a:lnTo>
                      <a:pt x="1784" y="2386"/>
                    </a:lnTo>
                    <a:lnTo>
                      <a:pt x="1784" y="2419"/>
                    </a:lnTo>
                    <a:lnTo>
                      <a:pt x="1784" y="2440"/>
                    </a:lnTo>
                    <a:lnTo>
                      <a:pt x="1777" y="2492"/>
                    </a:lnTo>
                    <a:lnTo>
                      <a:pt x="1767" y="2476"/>
                    </a:lnTo>
                    <a:lnTo>
                      <a:pt x="1777" y="2492"/>
                    </a:lnTo>
                    <a:lnTo>
                      <a:pt x="1730" y="2530"/>
                    </a:lnTo>
                    <a:lnTo>
                      <a:pt x="1706" y="2551"/>
                    </a:lnTo>
                    <a:lnTo>
                      <a:pt x="1685" y="2592"/>
                    </a:lnTo>
                    <a:lnTo>
                      <a:pt x="1668" y="2641"/>
                    </a:lnTo>
                    <a:lnTo>
                      <a:pt x="1637" y="2686"/>
                    </a:lnTo>
                    <a:lnTo>
                      <a:pt x="1583" y="2740"/>
                    </a:lnTo>
                    <a:lnTo>
                      <a:pt x="1550" y="2757"/>
                    </a:lnTo>
                    <a:lnTo>
                      <a:pt x="1545" y="2773"/>
                    </a:lnTo>
                    <a:lnTo>
                      <a:pt x="1545" y="2757"/>
                    </a:lnTo>
                    <a:lnTo>
                      <a:pt x="1533" y="2752"/>
                    </a:lnTo>
                    <a:lnTo>
                      <a:pt x="1562" y="2752"/>
                    </a:lnTo>
                    <a:lnTo>
                      <a:pt x="1588" y="2731"/>
                    </a:lnTo>
                    <a:lnTo>
                      <a:pt x="1600" y="2719"/>
                    </a:lnTo>
                    <a:lnTo>
                      <a:pt x="1604" y="2686"/>
                    </a:lnTo>
                    <a:lnTo>
                      <a:pt x="1621" y="2696"/>
                    </a:lnTo>
                    <a:lnTo>
                      <a:pt x="1621" y="2679"/>
                    </a:lnTo>
                    <a:lnTo>
                      <a:pt x="1637" y="2662"/>
                    </a:lnTo>
                    <a:lnTo>
                      <a:pt x="1637" y="2641"/>
                    </a:lnTo>
                    <a:lnTo>
                      <a:pt x="1642" y="2641"/>
                    </a:lnTo>
                    <a:lnTo>
                      <a:pt x="1654" y="2625"/>
                    </a:lnTo>
                    <a:lnTo>
                      <a:pt x="1642" y="2625"/>
                    </a:lnTo>
                    <a:lnTo>
                      <a:pt x="1637" y="2629"/>
                    </a:lnTo>
                    <a:lnTo>
                      <a:pt x="1621" y="2629"/>
                    </a:lnTo>
                    <a:lnTo>
                      <a:pt x="1621" y="2641"/>
                    </a:lnTo>
                    <a:lnTo>
                      <a:pt x="1616" y="2641"/>
                    </a:lnTo>
                    <a:lnTo>
                      <a:pt x="1616" y="2625"/>
                    </a:lnTo>
                    <a:lnTo>
                      <a:pt x="1604" y="2625"/>
                    </a:lnTo>
                    <a:lnTo>
                      <a:pt x="1600" y="2608"/>
                    </a:lnTo>
                    <a:lnTo>
                      <a:pt x="1600" y="2620"/>
                    </a:lnTo>
                    <a:lnTo>
                      <a:pt x="1604" y="2641"/>
                    </a:lnTo>
                    <a:lnTo>
                      <a:pt x="1600" y="2674"/>
                    </a:lnTo>
                    <a:lnTo>
                      <a:pt x="1588" y="2658"/>
                    </a:lnTo>
                    <a:lnTo>
                      <a:pt x="1583" y="2686"/>
                    </a:lnTo>
                    <a:lnTo>
                      <a:pt x="1550" y="2712"/>
                    </a:lnTo>
                    <a:lnTo>
                      <a:pt x="1545" y="2736"/>
                    </a:lnTo>
                    <a:lnTo>
                      <a:pt x="1529" y="2740"/>
                    </a:lnTo>
                    <a:lnTo>
                      <a:pt x="1533" y="2757"/>
                    </a:lnTo>
                    <a:lnTo>
                      <a:pt x="1529" y="2769"/>
                    </a:lnTo>
                    <a:lnTo>
                      <a:pt x="1533" y="2773"/>
                    </a:lnTo>
                    <a:lnTo>
                      <a:pt x="1524" y="2807"/>
                    </a:lnTo>
                    <a:lnTo>
                      <a:pt x="1496" y="2851"/>
                    </a:lnTo>
                    <a:lnTo>
                      <a:pt x="1453" y="2901"/>
                    </a:lnTo>
                    <a:lnTo>
                      <a:pt x="1437" y="2901"/>
                    </a:lnTo>
                    <a:lnTo>
                      <a:pt x="1437" y="2851"/>
                    </a:lnTo>
                    <a:lnTo>
                      <a:pt x="1470" y="2823"/>
                    </a:lnTo>
                    <a:lnTo>
                      <a:pt x="1437" y="2797"/>
                    </a:lnTo>
                    <a:lnTo>
                      <a:pt x="1415" y="2757"/>
                    </a:lnTo>
                    <a:lnTo>
                      <a:pt x="1382" y="2752"/>
                    </a:lnTo>
                    <a:lnTo>
                      <a:pt x="1366" y="2719"/>
                    </a:lnTo>
                    <a:lnTo>
                      <a:pt x="1319" y="2703"/>
                    </a:lnTo>
                    <a:lnTo>
                      <a:pt x="1297" y="2674"/>
                    </a:lnTo>
                    <a:lnTo>
                      <a:pt x="1276" y="2686"/>
                    </a:lnTo>
                    <a:lnTo>
                      <a:pt x="1264" y="2686"/>
                    </a:lnTo>
                    <a:lnTo>
                      <a:pt x="1264" y="2674"/>
                    </a:lnTo>
                    <a:lnTo>
                      <a:pt x="1210" y="2620"/>
                    </a:lnTo>
                    <a:lnTo>
                      <a:pt x="1189" y="2620"/>
                    </a:lnTo>
                    <a:lnTo>
                      <a:pt x="1184" y="2629"/>
                    </a:lnTo>
                    <a:lnTo>
                      <a:pt x="1156" y="2625"/>
                    </a:lnTo>
                    <a:lnTo>
                      <a:pt x="1151" y="2625"/>
                    </a:lnTo>
                    <a:lnTo>
                      <a:pt x="1172" y="2608"/>
                    </a:lnTo>
                    <a:lnTo>
                      <a:pt x="1172" y="2592"/>
                    </a:lnTo>
                    <a:lnTo>
                      <a:pt x="1189" y="2585"/>
                    </a:lnTo>
                    <a:lnTo>
                      <a:pt x="1222" y="2535"/>
                    </a:lnTo>
                    <a:lnTo>
                      <a:pt x="1238" y="2535"/>
                    </a:lnTo>
                    <a:lnTo>
                      <a:pt x="1243" y="2514"/>
                    </a:lnTo>
                    <a:lnTo>
                      <a:pt x="1276" y="2481"/>
                    </a:lnTo>
                    <a:lnTo>
                      <a:pt x="1290" y="2481"/>
                    </a:lnTo>
                    <a:lnTo>
                      <a:pt x="1290" y="2476"/>
                    </a:lnTo>
                    <a:lnTo>
                      <a:pt x="1281" y="2464"/>
                    </a:lnTo>
                    <a:lnTo>
                      <a:pt x="1307" y="2457"/>
                    </a:lnTo>
                    <a:lnTo>
                      <a:pt x="1314" y="2440"/>
                    </a:lnTo>
                    <a:lnTo>
                      <a:pt x="1335" y="2436"/>
                    </a:lnTo>
                    <a:lnTo>
                      <a:pt x="1352" y="2407"/>
                    </a:lnTo>
                    <a:lnTo>
                      <a:pt x="1382" y="2403"/>
                    </a:lnTo>
                    <a:lnTo>
                      <a:pt x="1420" y="2381"/>
                    </a:lnTo>
                    <a:lnTo>
                      <a:pt x="1427" y="2365"/>
                    </a:lnTo>
                    <a:lnTo>
                      <a:pt x="1427" y="2325"/>
                    </a:lnTo>
                    <a:lnTo>
                      <a:pt x="1427" y="2313"/>
                    </a:lnTo>
                    <a:lnTo>
                      <a:pt x="1420" y="2292"/>
                    </a:lnTo>
                    <a:lnTo>
                      <a:pt x="1415" y="2270"/>
                    </a:lnTo>
                    <a:lnTo>
                      <a:pt x="1399" y="2254"/>
                    </a:lnTo>
                    <a:lnTo>
                      <a:pt x="1373" y="2270"/>
                    </a:lnTo>
                    <a:lnTo>
                      <a:pt x="1366" y="2259"/>
                    </a:lnTo>
                    <a:lnTo>
                      <a:pt x="1361" y="2254"/>
                    </a:lnTo>
                    <a:lnTo>
                      <a:pt x="1373" y="2230"/>
                    </a:lnTo>
                    <a:lnTo>
                      <a:pt x="1373" y="2221"/>
                    </a:lnTo>
                    <a:lnTo>
                      <a:pt x="1389" y="2164"/>
                    </a:lnTo>
                    <a:lnTo>
                      <a:pt x="1382" y="2148"/>
                    </a:lnTo>
                    <a:lnTo>
                      <a:pt x="1389" y="2148"/>
                    </a:lnTo>
                    <a:lnTo>
                      <a:pt x="1361" y="2126"/>
                    </a:lnTo>
                    <a:lnTo>
                      <a:pt x="1335" y="2143"/>
                    </a:lnTo>
                    <a:lnTo>
                      <a:pt x="1307" y="2143"/>
                    </a:lnTo>
                    <a:lnTo>
                      <a:pt x="1290" y="2053"/>
                    </a:lnTo>
                    <a:lnTo>
                      <a:pt x="1290" y="2036"/>
                    </a:lnTo>
                    <a:lnTo>
                      <a:pt x="1276" y="2015"/>
                    </a:lnTo>
                    <a:lnTo>
                      <a:pt x="1252" y="2008"/>
                    </a:lnTo>
                    <a:lnTo>
                      <a:pt x="1238" y="1992"/>
                    </a:lnTo>
                    <a:lnTo>
                      <a:pt x="1222" y="2008"/>
                    </a:lnTo>
                    <a:lnTo>
                      <a:pt x="1205" y="2008"/>
                    </a:lnTo>
                    <a:lnTo>
                      <a:pt x="1130" y="1999"/>
                    </a:lnTo>
                    <a:lnTo>
                      <a:pt x="1130" y="1954"/>
                    </a:lnTo>
                    <a:lnTo>
                      <a:pt x="1134" y="1942"/>
                    </a:lnTo>
                    <a:lnTo>
                      <a:pt x="1134" y="1909"/>
                    </a:lnTo>
                    <a:lnTo>
                      <a:pt x="1113" y="1848"/>
                    </a:lnTo>
                    <a:lnTo>
                      <a:pt x="1134" y="1836"/>
                    </a:lnTo>
                    <a:lnTo>
                      <a:pt x="1118" y="1814"/>
                    </a:lnTo>
                    <a:lnTo>
                      <a:pt x="1146" y="1770"/>
                    </a:lnTo>
                    <a:lnTo>
                      <a:pt x="1146" y="1760"/>
                    </a:lnTo>
                    <a:lnTo>
                      <a:pt x="1156" y="1703"/>
                    </a:lnTo>
                    <a:lnTo>
                      <a:pt x="1146" y="1682"/>
                    </a:lnTo>
                    <a:lnTo>
                      <a:pt x="1146" y="1659"/>
                    </a:lnTo>
                    <a:lnTo>
                      <a:pt x="1096" y="1633"/>
                    </a:lnTo>
                    <a:lnTo>
                      <a:pt x="1092" y="1592"/>
                    </a:lnTo>
                    <a:lnTo>
                      <a:pt x="1101" y="1576"/>
                    </a:lnTo>
                    <a:lnTo>
                      <a:pt x="1101" y="1559"/>
                    </a:lnTo>
                    <a:lnTo>
                      <a:pt x="971" y="1559"/>
                    </a:lnTo>
                    <a:lnTo>
                      <a:pt x="967" y="1498"/>
                    </a:lnTo>
                    <a:lnTo>
                      <a:pt x="941" y="1477"/>
                    </a:lnTo>
                    <a:lnTo>
                      <a:pt x="967" y="1477"/>
                    </a:lnTo>
                    <a:lnTo>
                      <a:pt x="967" y="1437"/>
                    </a:lnTo>
                    <a:lnTo>
                      <a:pt x="950" y="1403"/>
                    </a:lnTo>
                    <a:lnTo>
                      <a:pt x="957" y="1394"/>
                    </a:lnTo>
                    <a:lnTo>
                      <a:pt x="950" y="1382"/>
                    </a:lnTo>
                    <a:lnTo>
                      <a:pt x="912" y="1354"/>
                    </a:lnTo>
                    <a:lnTo>
                      <a:pt x="858" y="1366"/>
                    </a:lnTo>
                    <a:lnTo>
                      <a:pt x="832" y="1333"/>
                    </a:lnTo>
                    <a:lnTo>
                      <a:pt x="820" y="1333"/>
                    </a:lnTo>
                    <a:lnTo>
                      <a:pt x="794" y="1316"/>
                    </a:lnTo>
                    <a:lnTo>
                      <a:pt x="789" y="1325"/>
                    </a:lnTo>
                    <a:lnTo>
                      <a:pt x="773" y="1309"/>
                    </a:lnTo>
                    <a:lnTo>
                      <a:pt x="773" y="1292"/>
                    </a:lnTo>
                    <a:lnTo>
                      <a:pt x="752" y="1300"/>
                    </a:lnTo>
                    <a:lnTo>
                      <a:pt x="723" y="1283"/>
                    </a:lnTo>
                    <a:lnTo>
                      <a:pt x="714" y="1283"/>
                    </a:lnTo>
                    <a:lnTo>
                      <a:pt x="681" y="1283"/>
                    </a:lnTo>
                    <a:lnTo>
                      <a:pt x="669" y="1259"/>
                    </a:lnTo>
                    <a:lnTo>
                      <a:pt x="648" y="1259"/>
                    </a:lnTo>
                    <a:lnTo>
                      <a:pt x="648" y="1243"/>
                    </a:lnTo>
                    <a:lnTo>
                      <a:pt x="631" y="1243"/>
                    </a:lnTo>
                    <a:lnTo>
                      <a:pt x="631" y="1226"/>
                    </a:lnTo>
                    <a:lnTo>
                      <a:pt x="617" y="1226"/>
                    </a:lnTo>
                    <a:lnTo>
                      <a:pt x="626" y="1222"/>
                    </a:lnTo>
                    <a:lnTo>
                      <a:pt x="610" y="1205"/>
                    </a:lnTo>
                    <a:lnTo>
                      <a:pt x="610" y="1188"/>
                    </a:lnTo>
                    <a:lnTo>
                      <a:pt x="610" y="1172"/>
                    </a:lnTo>
                    <a:lnTo>
                      <a:pt x="605" y="1132"/>
                    </a:lnTo>
                    <a:lnTo>
                      <a:pt x="610" y="1115"/>
                    </a:lnTo>
                    <a:lnTo>
                      <a:pt x="610" y="1077"/>
                    </a:lnTo>
                    <a:lnTo>
                      <a:pt x="593" y="1087"/>
                    </a:lnTo>
                    <a:lnTo>
                      <a:pt x="556" y="1087"/>
                    </a:lnTo>
                    <a:lnTo>
                      <a:pt x="518" y="1094"/>
                    </a:lnTo>
                    <a:lnTo>
                      <a:pt x="487" y="1115"/>
                    </a:lnTo>
                    <a:lnTo>
                      <a:pt x="471" y="1127"/>
                    </a:lnTo>
                    <a:lnTo>
                      <a:pt x="454" y="1132"/>
                    </a:lnTo>
                    <a:lnTo>
                      <a:pt x="442" y="1148"/>
                    </a:lnTo>
                    <a:lnTo>
                      <a:pt x="416" y="1148"/>
                    </a:lnTo>
                    <a:lnTo>
                      <a:pt x="400" y="1172"/>
                    </a:lnTo>
                    <a:lnTo>
                      <a:pt x="378" y="1181"/>
                    </a:lnTo>
                    <a:lnTo>
                      <a:pt x="374" y="1181"/>
                    </a:lnTo>
                    <a:lnTo>
                      <a:pt x="362" y="1172"/>
                    </a:lnTo>
                    <a:lnTo>
                      <a:pt x="319" y="1172"/>
                    </a:lnTo>
                    <a:lnTo>
                      <a:pt x="286" y="1165"/>
                    </a:lnTo>
                    <a:lnTo>
                      <a:pt x="265" y="1181"/>
                    </a:lnTo>
                    <a:lnTo>
                      <a:pt x="248" y="1165"/>
                    </a:lnTo>
                    <a:lnTo>
                      <a:pt x="237" y="1172"/>
                    </a:lnTo>
                    <a:lnTo>
                      <a:pt x="237" y="1087"/>
                    </a:lnTo>
                    <a:lnTo>
                      <a:pt x="248" y="1061"/>
                    </a:lnTo>
                    <a:lnTo>
                      <a:pt x="194" y="1106"/>
                    </a:lnTo>
                    <a:lnTo>
                      <a:pt x="130" y="1106"/>
                    </a:lnTo>
                    <a:lnTo>
                      <a:pt x="114" y="1061"/>
                    </a:lnTo>
                    <a:lnTo>
                      <a:pt x="55" y="1054"/>
                    </a:lnTo>
                    <a:lnTo>
                      <a:pt x="76" y="1037"/>
                    </a:lnTo>
                    <a:lnTo>
                      <a:pt x="76" y="1021"/>
                    </a:lnTo>
                    <a:lnTo>
                      <a:pt x="38" y="983"/>
                    </a:lnTo>
                    <a:lnTo>
                      <a:pt x="33" y="959"/>
                    </a:lnTo>
                    <a:lnTo>
                      <a:pt x="17" y="950"/>
                    </a:lnTo>
                    <a:lnTo>
                      <a:pt x="22" y="938"/>
                    </a:lnTo>
                    <a:lnTo>
                      <a:pt x="0" y="922"/>
                    </a:lnTo>
                    <a:lnTo>
                      <a:pt x="5" y="910"/>
                    </a:lnTo>
                    <a:lnTo>
                      <a:pt x="22" y="905"/>
                    </a:lnTo>
                    <a:lnTo>
                      <a:pt x="17" y="888"/>
                    </a:lnTo>
                    <a:lnTo>
                      <a:pt x="22" y="872"/>
                    </a:lnTo>
                    <a:lnTo>
                      <a:pt x="59" y="839"/>
                    </a:lnTo>
                    <a:lnTo>
                      <a:pt x="55" y="815"/>
                    </a:lnTo>
                    <a:lnTo>
                      <a:pt x="76" y="782"/>
                    </a:lnTo>
                    <a:lnTo>
                      <a:pt x="85" y="744"/>
                    </a:lnTo>
                    <a:lnTo>
                      <a:pt x="147" y="704"/>
                    </a:lnTo>
                    <a:lnTo>
                      <a:pt x="199" y="688"/>
                    </a:lnTo>
                    <a:lnTo>
                      <a:pt x="215" y="688"/>
                    </a:lnTo>
                    <a:lnTo>
                      <a:pt x="232" y="671"/>
                    </a:lnTo>
                    <a:lnTo>
                      <a:pt x="265" y="671"/>
                    </a:lnTo>
                    <a:lnTo>
                      <a:pt x="270" y="688"/>
                    </a:lnTo>
                    <a:lnTo>
                      <a:pt x="274" y="688"/>
                    </a:lnTo>
                    <a:lnTo>
                      <a:pt x="286" y="683"/>
                    </a:lnTo>
                    <a:lnTo>
                      <a:pt x="286" y="683"/>
                    </a:lnTo>
                    <a:lnTo>
                      <a:pt x="286" y="683"/>
                    </a:lnTo>
                    <a:close/>
                    <a:moveTo>
                      <a:pt x="1654" y="222"/>
                    </a:moveTo>
                    <a:lnTo>
                      <a:pt x="1659" y="222"/>
                    </a:lnTo>
                    <a:lnTo>
                      <a:pt x="1654" y="222"/>
                    </a:lnTo>
                    <a:lnTo>
                      <a:pt x="1654" y="222"/>
                    </a:lnTo>
                    <a:lnTo>
                      <a:pt x="1654" y="222"/>
                    </a:lnTo>
                    <a:close/>
                    <a:moveTo>
                      <a:pt x="1659" y="246"/>
                    </a:moveTo>
                    <a:lnTo>
                      <a:pt x="1654" y="229"/>
                    </a:lnTo>
                    <a:lnTo>
                      <a:pt x="1659" y="222"/>
                    </a:lnTo>
                    <a:lnTo>
                      <a:pt x="1668" y="239"/>
                    </a:lnTo>
                    <a:lnTo>
                      <a:pt x="1659" y="246"/>
                    </a:lnTo>
                    <a:lnTo>
                      <a:pt x="1659" y="246"/>
                    </a:lnTo>
                    <a:lnTo>
                      <a:pt x="1659" y="246"/>
                    </a:lnTo>
                    <a:close/>
                    <a:moveTo>
                      <a:pt x="1685" y="312"/>
                    </a:moveTo>
                    <a:lnTo>
                      <a:pt x="1692" y="300"/>
                    </a:lnTo>
                    <a:lnTo>
                      <a:pt x="1685" y="312"/>
                    </a:lnTo>
                    <a:lnTo>
                      <a:pt x="1685" y="312"/>
                    </a:lnTo>
                    <a:lnTo>
                      <a:pt x="1685" y="312"/>
                    </a:lnTo>
                    <a:close/>
                    <a:moveTo>
                      <a:pt x="1668" y="329"/>
                    </a:moveTo>
                    <a:lnTo>
                      <a:pt x="1675" y="317"/>
                    </a:lnTo>
                    <a:lnTo>
                      <a:pt x="1685" y="312"/>
                    </a:lnTo>
                    <a:lnTo>
                      <a:pt x="1685" y="317"/>
                    </a:lnTo>
                    <a:lnTo>
                      <a:pt x="1668" y="329"/>
                    </a:lnTo>
                    <a:lnTo>
                      <a:pt x="1668" y="329"/>
                    </a:lnTo>
                    <a:lnTo>
                      <a:pt x="1668" y="329"/>
                    </a:lnTo>
                    <a:close/>
                    <a:moveTo>
                      <a:pt x="1668" y="357"/>
                    </a:moveTo>
                    <a:lnTo>
                      <a:pt x="1668" y="338"/>
                    </a:lnTo>
                    <a:lnTo>
                      <a:pt x="1685" y="333"/>
                    </a:lnTo>
                    <a:lnTo>
                      <a:pt x="1685" y="338"/>
                    </a:lnTo>
                    <a:lnTo>
                      <a:pt x="1668" y="357"/>
                    </a:lnTo>
                    <a:lnTo>
                      <a:pt x="1668" y="357"/>
                    </a:lnTo>
                    <a:lnTo>
                      <a:pt x="1668" y="357"/>
                    </a:lnTo>
                    <a:close/>
                    <a:moveTo>
                      <a:pt x="1654" y="366"/>
                    </a:moveTo>
                    <a:lnTo>
                      <a:pt x="1659" y="333"/>
                    </a:lnTo>
                    <a:lnTo>
                      <a:pt x="1668" y="357"/>
                    </a:lnTo>
                    <a:lnTo>
                      <a:pt x="1654" y="366"/>
                    </a:lnTo>
                    <a:lnTo>
                      <a:pt x="1654" y="366"/>
                    </a:lnTo>
                    <a:lnTo>
                      <a:pt x="1654" y="366"/>
                    </a:lnTo>
                    <a:close/>
                    <a:moveTo>
                      <a:pt x="1685" y="383"/>
                    </a:moveTo>
                    <a:lnTo>
                      <a:pt x="1659" y="374"/>
                    </a:lnTo>
                    <a:lnTo>
                      <a:pt x="1659" y="366"/>
                    </a:lnTo>
                    <a:lnTo>
                      <a:pt x="1706" y="357"/>
                    </a:lnTo>
                    <a:lnTo>
                      <a:pt x="1713" y="366"/>
                    </a:lnTo>
                    <a:lnTo>
                      <a:pt x="1685" y="383"/>
                    </a:lnTo>
                    <a:lnTo>
                      <a:pt x="1685" y="383"/>
                    </a:lnTo>
                    <a:lnTo>
                      <a:pt x="1685" y="383"/>
                    </a:lnTo>
                    <a:close/>
                    <a:moveTo>
                      <a:pt x="1654" y="383"/>
                    </a:moveTo>
                    <a:lnTo>
                      <a:pt x="1642" y="366"/>
                    </a:lnTo>
                    <a:lnTo>
                      <a:pt x="1654" y="366"/>
                    </a:lnTo>
                    <a:lnTo>
                      <a:pt x="1654" y="383"/>
                    </a:lnTo>
                    <a:lnTo>
                      <a:pt x="1654" y="383"/>
                    </a:lnTo>
                    <a:lnTo>
                      <a:pt x="1654" y="383"/>
                    </a:lnTo>
                    <a:close/>
                    <a:moveTo>
                      <a:pt x="1730" y="383"/>
                    </a:moveTo>
                    <a:lnTo>
                      <a:pt x="1730" y="390"/>
                    </a:lnTo>
                    <a:lnTo>
                      <a:pt x="1722" y="390"/>
                    </a:lnTo>
                    <a:lnTo>
                      <a:pt x="1706" y="390"/>
                    </a:lnTo>
                    <a:lnTo>
                      <a:pt x="1696" y="383"/>
                    </a:lnTo>
                    <a:lnTo>
                      <a:pt x="1713" y="374"/>
                    </a:lnTo>
                    <a:lnTo>
                      <a:pt x="1730" y="383"/>
                    </a:lnTo>
                    <a:lnTo>
                      <a:pt x="1730" y="383"/>
                    </a:lnTo>
                    <a:lnTo>
                      <a:pt x="1730" y="383"/>
                    </a:lnTo>
                    <a:close/>
                    <a:moveTo>
                      <a:pt x="1621" y="383"/>
                    </a:moveTo>
                    <a:lnTo>
                      <a:pt x="1630" y="374"/>
                    </a:lnTo>
                    <a:lnTo>
                      <a:pt x="1637" y="374"/>
                    </a:lnTo>
                    <a:lnTo>
                      <a:pt x="1621" y="383"/>
                    </a:lnTo>
                    <a:lnTo>
                      <a:pt x="1621" y="383"/>
                    </a:lnTo>
                    <a:lnTo>
                      <a:pt x="1621" y="383"/>
                    </a:lnTo>
                    <a:close/>
                    <a:moveTo>
                      <a:pt x="1630" y="395"/>
                    </a:moveTo>
                    <a:lnTo>
                      <a:pt x="1616" y="395"/>
                    </a:lnTo>
                    <a:lnTo>
                      <a:pt x="1621" y="383"/>
                    </a:lnTo>
                    <a:lnTo>
                      <a:pt x="1637" y="383"/>
                    </a:lnTo>
                    <a:lnTo>
                      <a:pt x="1642" y="383"/>
                    </a:lnTo>
                    <a:lnTo>
                      <a:pt x="1630" y="395"/>
                    </a:lnTo>
                    <a:lnTo>
                      <a:pt x="1630" y="395"/>
                    </a:lnTo>
                    <a:lnTo>
                      <a:pt x="1630" y="395"/>
                    </a:lnTo>
                    <a:close/>
                    <a:moveTo>
                      <a:pt x="1630" y="485"/>
                    </a:moveTo>
                    <a:lnTo>
                      <a:pt x="1630" y="461"/>
                    </a:lnTo>
                    <a:lnTo>
                      <a:pt x="1642" y="449"/>
                    </a:lnTo>
                    <a:lnTo>
                      <a:pt x="1630" y="449"/>
                    </a:lnTo>
                    <a:lnTo>
                      <a:pt x="1630" y="428"/>
                    </a:lnTo>
                    <a:lnTo>
                      <a:pt x="1637" y="423"/>
                    </a:lnTo>
                    <a:lnTo>
                      <a:pt x="1654" y="428"/>
                    </a:lnTo>
                    <a:lnTo>
                      <a:pt x="1637" y="423"/>
                    </a:lnTo>
                    <a:lnTo>
                      <a:pt x="1637" y="411"/>
                    </a:lnTo>
                    <a:lnTo>
                      <a:pt x="1637" y="395"/>
                    </a:lnTo>
                    <a:lnTo>
                      <a:pt x="1654" y="390"/>
                    </a:lnTo>
                    <a:lnTo>
                      <a:pt x="1659" y="390"/>
                    </a:lnTo>
                    <a:lnTo>
                      <a:pt x="1713" y="395"/>
                    </a:lnTo>
                    <a:lnTo>
                      <a:pt x="1744" y="390"/>
                    </a:lnTo>
                    <a:lnTo>
                      <a:pt x="1798" y="395"/>
                    </a:lnTo>
                    <a:lnTo>
                      <a:pt x="1793" y="444"/>
                    </a:lnTo>
                    <a:lnTo>
                      <a:pt x="1760" y="485"/>
                    </a:lnTo>
                    <a:lnTo>
                      <a:pt x="1744" y="494"/>
                    </a:lnTo>
                    <a:lnTo>
                      <a:pt x="1722" y="494"/>
                    </a:lnTo>
                    <a:lnTo>
                      <a:pt x="1706" y="506"/>
                    </a:lnTo>
                    <a:lnTo>
                      <a:pt x="1706" y="494"/>
                    </a:lnTo>
                    <a:lnTo>
                      <a:pt x="1696" y="506"/>
                    </a:lnTo>
                    <a:lnTo>
                      <a:pt x="1685" y="501"/>
                    </a:lnTo>
                    <a:lnTo>
                      <a:pt x="1659" y="506"/>
                    </a:lnTo>
                    <a:lnTo>
                      <a:pt x="1642" y="506"/>
                    </a:lnTo>
                    <a:lnTo>
                      <a:pt x="1630" y="485"/>
                    </a:lnTo>
                    <a:lnTo>
                      <a:pt x="1630" y="485"/>
                    </a:lnTo>
                    <a:lnTo>
                      <a:pt x="1630" y="485"/>
                    </a:lnTo>
                    <a:close/>
                    <a:moveTo>
                      <a:pt x="1588" y="411"/>
                    </a:moveTo>
                    <a:lnTo>
                      <a:pt x="1600" y="390"/>
                    </a:lnTo>
                    <a:lnTo>
                      <a:pt x="1604" y="390"/>
                    </a:lnTo>
                    <a:lnTo>
                      <a:pt x="1604" y="395"/>
                    </a:lnTo>
                    <a:lnTo>
                      <a:pt x="1588" y="411"/>
                    </a:lnTo>
                    <a:lnTo>
                      <a:pt x="1588" y="411"/>
                    </a:lnTo>
                    <a:lnTo>
                      <a:pt x="1588" y="411"/>
                    </a:lnTo>
                    <a:close/>
                    <a:moveTo>
                      <a:pt x="1630" y="407"/>
                    </a:moveTo>
                    <a:lnTo>
                      <a:pt x="1621" y="407"/>
                    </a:lnTo>
                    <a:lnTo>
                      <a:pt x="1637" y="395"/>
                    </a:lnTo>
                    <a:lnTo>
                      <a:pt x="1630" y="407"/>
                    </a:lnTo>
                    <a:lnTo>
                      <a:pt x="1630" y="407"/>
                    </a:lnTo>
                    <a:lnTo>
                      <a:pt x="1630" y="407"/>
                    </a:lnTo>
                    <a:close/>
                    <a:moveTo>
                      <a:pt x="1604" y="423"/>
                    </a:moveTo>
                    <a:lnTo>
                      <a:pt x="1604" y="407"/>
                    </a:lnTo>
                    <a:lnTo>
                      <a:pt x="1616" y="395"/>
                    </a:lnTo>
                    <a:lnTo>
                      <a:pt x="1621" y="407"/>
                    </a:lnTo>
                    <a:lnTo>
                      <a:pt x="1604" y="423"/>
                    </a:lnTo>
                    <a:lnTo>
                      <a:pt x="1604" y="423"/>
                    </a:lnTo>
                    <a:lnTo>
                      <a:pt x="1604" y="423"/>
                    </a:lnTo>
                    <a:close/>
                    <a:moveTo>
                      <a:pt x="1621" y="423"/>
                    </a:moveTo>
                    <a:lnTo>
                      <a:pt x="1621" y="407"/>
                    </a:lnTo>
                    <a:lnTo>
                      <a:pt x="1630" y="407"/>
                    </a:lnTo>
                    <a:lnTo>
                      <a:pt x="1630" y="411"/>
                    </a:lnTo>
                    <a:lnTo>
                      <a:pt x="1621" y="423"/>
                    </a:lnTo>
                    <a:lnTo>
                      <a:pt x="1621" y="423"/>
                    </a:lnTo>
                    <a:lnTo>
                      <a:pt x="1621" y="423"/>
                    </a:lnTo>
                    <a:close/>
                    <a:moveTo>
                      <a:pt x="1550" y="485"/>
                    </a:moveTo>
                    <a:lnTo>
                      <a:pt x="1550" y="461"/>
                    </a:lnTo>
                    <a:lnTo>
                      <a:pt x="1567" y="449"/>
                    </a:lnTo>
                    <a:lnTo>
                      <a:pt x="1578" y="428"/>
                    </a:lnTo>
                    <a:lnTo>
                      <a:pt x="1588" y="423"/>
                    </a:lnTo>
                    <a:lnTo>
                      <a:pt x="1604" y="411"/>
                    </a:lnTo>
                    <a:lnTo>
                      <a:pt x="1604" y="428"/>
                    </a:lnTo>
                    <a:lnTo>
                      <a:pt x="1600" y="449"/>
                    </a:lnTo>
                    <a:lnTo>
                      <a:pt x="1583" y="468"/>
                    </a:lnTo>
                    <a:lnTo>
                      <a:pt x="1550" y="485"/>
                    </a:lnTo>
                    <a:lnTo>
                      <a:pt x="1550" y="485"/>
                    </a:lnTo>
                    <a:lnTo>
                      <a:pt x="1550" y="485"/>
                    </a:lnTo>
                    <a:close/>
                    <a:moveTo>
                      <a:pt x="1604" y="444"/>
                    </a:moveTo>
                    <a:lnTo>
                      <a:pt x="1616" y="428"/>
                    </a:lnTo>
                    <a:lnTo>
                      <a:pt x="1630" y="423"/>
                    </a:lnTo>
                    <a:lnTo>
                      <a:pt x="1630" y="428"/>
                    </a:lnTo>
                    <a:lnTo>
                      <a:pt x="1604" y="444"/>
                    </a:lnTo>
                    <a:lnTo>
                      <a:pt x="1604" y="444"/>
                    </a:lnTo>
                    <a:lnTo>
                      <a:pt x="1604" y="444"/>
                    </a:lnTo>
                    <a:close/>
                    <a:moveTo>
                      <a:pt x="1831" y="428"/>
                    </a:moveTo>
                    <a:lnTo>
                      <a:pt x="1831" y="423"/>
                    </a:lnTo>
                    <a:lnTo>
                      <a:pt x="1836" y="428"/>
                    </a:lnTo>
                    <a:lnTo>
                      <a:pt x="1831" y="428"/>
                    </a:lnTo>
                    <a:lnTo>
                      <a:pt x="1831" y="428"/>
                    </a:lnTo>
                    <a:lnTo>
                      <a:pt x="1831" y="428"/>
                    </a:lnTo>
                    <a:close/>
                    <a:moveTo>
                      <a:pt x="1621" y="440"/>
                    </a:moveTo>
                    <a:lnTo>
                      <a:pt x="1621" y="428"/>
                    </a:lnTo>
                    <a:lnTo>
                      <a:pt x="1630" y="428"/>
                    </a:lnTo>
                    <a:lnTo>
                      <a:pt x="1621" y="440"/>
                    </a:lnTo>
                    <a:lnTo>
                      <a:pt x="1621" y="440"/>
                    </a:lnTo>
                    <a:lnTo>
                      <a:pt x="1621" y="440"/>
                    </a:lnTo>
                    <a:close/>
                    <a:moveTo>
                      <a:pt x="1588" y="468"/>
                    </a:moveTo>
                    <a:lnTo>
                      <a:pt x="1604" y="440"/>
                    </a:lnTo>
                    <a:lnTo>
                      <a:pt x="1600" y="461"/>
                    </a:lnTo>
                    <a:lnTo>
                      <a:pt x="1588" y="468"/>
                    </a:lnTo>
                    <a:lnTo>
                      <a:pt x="1588" y="468"/>
                    </a:lnTo>
                    <a:lnTo>
                      <a:pt x="1588" y="468"/>
                    </a:lnTo>
                    <a:close/>
                    <a:moveTo>
                      <a:pt x="1928" y="449"/>
                    </a:moveTo>
                    <a:lnTo>
                      <a:pt x="1940" y="444"/>
                    </a:lnTo>
                    <a:lnTo>
                      <a:pt x="1940" y="449"/>
                    </a:lnTo>
                    <a:lnTo>
                      <a:pt x="1928" y="449"/>
                    </a:lnTo>
                    <a:lnTo>
                      <a:pt x="1928" y="449"/>
                    </a:lnTo>
                    <a:lnTo>
                      <a:pt x="1928" y="449"/>
                    </a:lnTo>
                    <a:close/>
                    <a:moveTo>
                      <a:pt x="1798" y="468"/>
                    </a:moveTo>
                    <a:lnTo>
                      <a:pt x="1793" y="461"/>
                    </a:lnTo>
                    <a:lnTo>
                      <a:pt x="1798" y="449"/>
                    </a:lnTo>
                    <a:lnTo>
                      <a:pt x="1805" y="449"/>
                    </a:lnTo>
                    <a:lnTo>
                      <a:pt x="1798" y="468"/>
                    </a:lnTo>
                    <a:lnTo>
                      <a:pt x="1798" y="468"/>
                    </a:lnTo>
                    <a:lnTo>
                      <a:pt x="1798" y="468"/>
                    </a:lnTo>
                    <a:close/>
                    <a:moveTo>
                      <a:pt x="2037" y="477"/>
                    </a:moveTo>
                    <a:lnTo>
                      <a:pt x="2037" y="468"/>
                    </a:lnTo>
                    <a:lnTo>
                      <a:pt x="2048" y="468"/>
                    </a:lnTo>
                    <a:lnTo>
                      <a:pt x="2037" y="477"/>
                    </a:lnTo>
                    <a:lnTo>
                      <a:pt x="2037" y="477"/>
                    </a:lnTo>
                    <a:lnTo>
                      <a:pt x="2037" y="477"/>
                    </a:lnTo>
                    <a:close/>
                    <a:moveTo>
                      <a:pt x="1512" y="485"/>
                    </a:moveTo>
                    <a:lnTo>
                      <a:pt x="1533" y="477"/>
                    </a:lnTo>
                    <a:lnTo>
                      <a:pt x="1512" y="485"/>
                    </a:lnTo>
                    <a:lnTo>
                      <a:pt x="1512" y="485"/>
                    </a:lnTo>
                    <a:lnTo>
                      <a:pt x="1512" y="485"/>
                    </a:lnTo>
                    <a:close/>
                    <a:moveTo>
                      <a:pt x="1529" y="501"/>
                    </a:moveTo>
                    <a:lnTo>
                      <a:pt x="1533" y="485"/>
                    </a:lnTo>
                    <a:lnTo>
                      <a:pt x="1545" y="485"/>
                    </a:lnTo>
                    <a:lnTo>
                      <a:pt x="1550" y="485"/>
                    </a:lnTo>
                    <a:lnTo>
                      <a:pt x="1529" y="501"/>
                    </a:lnTo>
                    <a:lnTo>
                      <a:pt x="1529" y="501"/>
                    </a:lnTo>
                    <a:lnTo>
                      <a:pt x="1529" y="501"/>
                    </a:lnTo>
                    <a:close/>
                    <a:moveTo>
                      <a:pt x="2053" y="501"/>
                    </a:moveTo>
                    <a:lnTo>
                      <a:pt x="2063" y="494"/>
                    </a:lnTo>
                    <a:lnTo>
                      <a:pt x="2063" y="501"/>
                    </a:lnTo>
                    <a:lnTo>
                      <a:pt x="2053" y="501"/>
                    </a:lnTo>
                    <a:lnTo>
                      <a:pt x="2053" y="501"/>
                    </a:lnTo>
                    <a:lnTo>
                      <a:pt x="2053" y="501"/>
                    </a:lnTo>
                    <a:close/>
                    <a:moveTo>
                      <a:pt x="1760" y="506"/>
                    </a:moveTo>
                    <a:lnTo>
                      <a:pt x="1751" y="501"/>
                    </a:lnTo>
                    <a:lnTo>
                      <a:pt x="1760" y="494"/>
                    </a:lnTo>
                    <a:lnTo>
                      <a:pt x="1760" y="506"/>
                    </a:lnTo>
                    <a:lnTo>
                      <a:pt x="1760" y="506"/>
                    </a:lnTo>
                    <a:lnTo>
                      <a:pt x="1760" y="506"/>
                    </a:lnTo>
                    <a:close/>
                    <a:moveTo>
                      <a:pt x="1744" y="518"/>
                    </a:moveTo>
                    <a:lnTo>
                      <a:pt x="1751" y="501"/>
                    </a:lnTo>
                    <a:lnTo>
                      <a:pt x="1751" y="506"/>
                    </a:lnTo>
                    <a:lnTo>
                      <a:pt x="1744" y="518"/>
                    </a:lnTo>
                    <a:lnTo>
                      <a:pt x="1744" y="518"/>
                    </a:lnTo>
                    <a:lnTo>
                      <a:pt x="1744" y="518"/>
                    </a:lnTo>
                    <a:close/>
                    <a:moveTo>
                      <a:pt x="1630" y="522"/>
                    </a:moveTo>
                    <a:lnTo>
                      <a:pt x="1616" y="522"/>
                    </a:lnTo>
                    <a:lnTo>
                      <a:pt x="1604" y="506"/>
                    </a:lnTo>
                    <a:lnTo>
                      <a:pt x="1630" y="518"/>
                    </a:lnTo>
                    <a:lnTo>
                      <a:pt x="1630" y="522"/>
                    </a:lnTo>
                    <a:lnTo>
                      <a:pt x="1630" y="522"/>
                    </a:lnTo>
                    <a:lnTo>
                      <a:pt x="1630" y="522"/>
                    </a:lnTo>
                    <a:close/>
                    <a:moveTo>
                      <a:pt x="2247" y="577"/>
                    </a:moveTo>
                    <a:lnTo>
                      <a:pt x="2237" y="572"/>
                    </a:lnTo>
                    <a:lnTo>
                      <a:pt x="2247" y="572"/>
                    </a:lnTo>
                    <a:lnTo>
                      <a:pt x="2247" y="577"/>
                    </a:lnTo>
                    <a:lnTo>
                      <a:pt x="2247" y="577"/>
                    </a:lnTo>
                    <a:lnTo>
                      <a:pt x="2247" y="577"/>
                    </a:lnTo>
                    <a:close/>
                    <a:moveTo>
                      <a:pt x="2070" y="596"/>
                    </a:moveTo>
                    <a:lnTo>
                      <a:pt x="2070" y="577"/>
                    </a:lnTo>
                    <a:lnTo>
                      <a:pt x="2074" y="572"/>
                    </a:lnTo>
                    <a:lnTo>
                      <a:pt x="2070" y="589"/>
                    </a:lnTo>
                    <a:lnTo>
                      <a:pt x="2070" y="596"/>
                    </a:lnTo>
                    <a:lnTo>
                      <a:pt x="2070" y="596"/>
                    </a:lnTo>
                    <a:lnTo>
                      <a:pt x="2070" y="596"/>
                    </a:lnTo>
                    <a:close/>
                    <a:moveTo>
                      <a:pt x="2469" y="1333"/>
                    </a:moveTo>
                    <a:lnTo>
                      <a:pt x="2485" y="1309"/>
                    </a:lnTo>
                    <a:lnTo>
                      <a:pt x="2485" y="1316"/>
                    </a:lnTo>
                    <a:lnTo>
                      <a:pt x="2469" y="1333"/>
                    </a:lnTo>
                    <a:lnTo>
                      <a:pt x="2469" y="1333"/>
                    </a:lnTo>
                    <a:lnTo>
                      <a:pt x="2469" y="1333"/>
                    </a:lnTo>
                    <a:close/>
                    <a:moveTo>
                      <a:pt x="2464" y="1366"/>
                    </a:moveTo>
                    <a:lnTo>
                      <a:pt x="2452" y="1349"/>
                    </a:lnTo>
                    <a:lnTo>
                      <a:pt x="2464" y="1349"/>
                    </a:lnTo>
                    <a:lnTo>
                      <a:pt x="2464" y="1366"/>
                    </a:lnTo>
                    <a:lnTo>
                      <a:pt x="2464" y="1366"/>
                    </a:lnTo>
                    <a:lnTo>
                      <a:pt x="2464" y="1366"/>
                    </a:lnTo>
                    <a:close/>
                    <a:moveTo>
                      <a:pt x="2464" y="1370"/>
                    </a:moveTo>
                    <a:lnTo>
                      <a:pt x="2464" y="1366"/>
                    </a:lnTo>
                    <a:lnTo>
                      <a:pt x="2464" y="1370"/>
                    </a:lnTo>
                    <a:lnTo>
                      <a:pt x="2464" y="1370"/>
                    </a:lnTo>
                    <a:lnTo>
                      <a:pt x="2464" y="1370"/>
                    </a:lnTo>
                    <a:close/>
                    <a:moveTo>
                      <a:pt x="2086" y="2086"/>
                    </a:moveTo>
                    <a:lnTo>
                      <a:pt x="2086" y="2074"/>
                    </a:lnTo>
                    <a:lnTo>
                      <a:pt x="2091" y="2070"/>
                    </a:lnTo>
                    <a:lnTo>
                      <a:pt x="2100" y="2074"/>
                    </a:lnTo>
                    <a:lnTo>
                      <a:pt x="2086" y="2086"/>
                    </a:lnTo>
                    <a:lnTo>
                      <a:pt x="2086" y="2086"/>
                    </a:lnTo>
                    <a:lnTo>
                      <a:pt x="2086" y="2086"/>
                    </a:lnTo>
                    <a:close/>
                    <a:moveTo>
                      <a:pt x="2020" y="2143"/>
                    </a:moveTo>
                    <a:lnTo>
                      <a:pt x="2011" y="2131"/>
                    </a:lnTo>
                    <a:lnTo>
                      <a:pt x="2015" y="2119"/>
                    </a:lnTo>
                    <a:lnTo>
                      <a:pt x="2020" y="2126"/>
                    </a:lnTo>
                    <a:lnTo>
                      <a:pt x="2020" y="2143"/>
                    </a:lnTo>
                    <a:lnTo>
                      <a:pt x="2020" y="2143"/>
                    </a:lnTo>
                    <a:lnTo>
                      <a:pt x="2020" y="2143"/>
                    </a:lnTo>
                    <a:close/>
                    <a:moveTo>
                      <a:pt x="1836" y="2221"/>
                    </a:moveTo>
                    <a:lnTo>
                      <a:pt x="1836" y="2214"/>
                    </a:lnTo>
                    <a:lnTo>
                      <a:pt x="1852" y="2202"/>
                    </a:lnTo>
                    <a:lnTo>
                      <a:pt x="1836" y="2221"/>
                    </a:lnTo>
                    <a:lnTo>
                      <a:pt x="1836" y="2221"/>
                    </a:lnTo>
                    <a:lnTo>
                      <a:pt x="1836" y="2221"/>
                    </a:lnTo>
                    <a:close/>
                    <a:moveTo>
                      <a:pt x="1805" y="2254"/>
                    </a:moveTo>
                    <a:lnTo>
                      <a:pt x="1805" y="2242"/>
                    </a:lnTo>
                    <a:lnTo>
                      <a:pt x="1805" y="2254"/>
                    </a:lnTo>
                    <a:lnTo>
                      <a:pt x="1805" y="2254"/>
                    </a:lnTo>
                    <a:lnTo>
                      <a:pt x="1805" y="2254"/>
                    </a:lnTo>
                    <a:close/>
                    <a:moveTo>
                      <a:pt x="1784" y="2329"/>
                    </a:moveTo>
                    <a:lnTo>
                      <a:pt x="1777" y="2313"/>
                    </a:lnTo>
                    <a:lnTo>
                      <a:pt x="1793" y="2308"/>
                    </a:lnTo>
                    <a:lnTo>
                      <a:pt x="1793" y="2313"/>
                    </a:lnTo>
                    <a:lnTo>
                      <a:pt x="1784" y="2329"/>
                    </a:lnTo>
                    <a:lnTo>
                      <a:pt x="1784" y="2329"/>
                    </a:lnTo>
                    <a:lnTo>
                      <a:pt x="1784" y="2329"/>
                    </a:lnTo>
                    <a:close/>
                    <a:moveTo>
                      <a:pt x="1793" y="2436"/>
                    </a:moveTo>
                    <a:lnTo>
                      <a:pt x="1793" y="2403"/>
                    </a:lnTo>
                    <a:lnTo>
                      <a:pt x="1798" y="2403"/>
                    </a:lnTo>
                    <a:lnTo>
                      <a:pt x="1798" y="2419"/>
                    </a:lnTo>
                    <a:lnTo>
                      <a:pt x="1793" y="2436"/>
                    </a:lnTo>
                    <a:lnTo>
                      <a:pt x="1793" y="2436"/>
                    </a:lnTo>
                    <a:lnTo>
                      <a:pt x="1793" y="243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8" name="Freeform 415">
                <a:extLst>
                  <a:ext uri="{FF2B5EF4-FFF2-40B4-BE49-F238E27FC236}">
                    <a16:creationId xmlns:a16="http://schemas.microsoft.com/office/drawing/2014/main" id="{1E647B36-ACFD-4355-9130-122B0B4C28A1}"/>
                  </a:ext>
                </a:extLst>
              </p:cNvPr>
              <p:cNvSpPr>
                <a:spLocks noEditPoints="1"/>
              </p:cNvSpPr>
              <p:nvPr/>
            </p:nvSpPr>
            <p:spPr bwMode="gray">
              <a:xfrm>
                <a:off x="3566668" y="4588765"/>
                <a:ext cx="1242009" cy="1335195"/>
              </a:xfrm>
              <a:custGeom>
                <a:avLst/>
                <a:gdLst>
                  <a:gd name="T0" fmla="*/ 2915 w 3017"/>
                  <a:gd name="T1" fmla="*/ 404 h 3243"/>
                  <a:gd name="T2" fmla="*/ 2736 w 3017"/>
                  <a:gd name="T3" fmla="*/ 1103 h 3243"/>
                  <a:gd name="T4" fmla="*/ 2698 w 3017"/>
                  <a:gd name="T5" fmla="*/ 1609 h 3243"/>
                  <a:gd name="T6" fmla="*/ 2643 w 3017"/>
                  <a:gd name="T7" fmla="*/ 2086 h 3243"/>
                  <a:gd name="T8" fmla="*/ 2596 w 3017"/>
                  <a:gd name="T9" fmla="*/ 2490 h 3243"/>
                  <a:gd name="T10" fmla="*/ 2811 w 3017"/>
                  <a:gd name="T11" fmla="*/ 2877 h 3243"/>
                  <a:gd name="T12" fmla="*/ 2651 w 3017"/>
                  <a:gd name="T13" fmla="*/ 2939 h 3243"/>
                  <a:gd name="T14" fmla="*/ 2596 w 3017"/>
                  <a:gd name="T15" fmla="*/ 2917 h 3243"/>
                  <a:gd name="T16" fmla="*/ 2551 w 3017"/>
                  <a:gd name="T17" fmla="*/ 2877 h 3243"/>
                  <a:gd name="T18" fmla="*/ 2537 w 3017"/>
                  <a:gd name="T19" fmla="*/ 2872 h 3243"/>
                  <a:gd name="T20" fmla="*/ 2466 w 3017"/>
                  <a:gd name="T21" fmla="*/ 2712 h 3243"/>
                  <a:gd name="T22" fmla="*/ 2483 w 3017"/>
                  <a:gd name="T23" fmla="*/ 2580 h 3243"/>
                  <a:gd name="T24" fmla="*/ 2504 w 3017"/>
                  <a:gd name="T25" fmla="*/ 2457 h 3243"/>
                  <a:gd name="T26" fmla="*/ 2407 w 3017"/>
                  <a:gd name="T27" fmla="*/ 2358 h 3243"/>
                  <a:gd name="T28" fmla="*/ 2483 w 3017"/>
                  <a:gd name="T29" fmla="*/ 2346 h 3243"/>
                  <a:gd name="T30" fmla="*/ 2542 w 3017"/>
                  <a:gd name="T31" fmla="*/ 2069 h 3243"/>
                  <a:gd name="T32" fmla="*/ 2483 w 3017"/>
                  <a:gd name="T33" fmla="*/ 1857 h 3243"/>
                  <a:gd name="T34" fmla="*/ 2665 w 3017"/>
                  <a:gd name="T35" fmla="*/ 1165 h 3243"/>
                  <a:gd name="T36" fmla="*/ 2736 w 3017"/>
                  <a:gd name="T37" fmla="*/ 421 h 3243"/>
                  <a:gd name="T38" fmla="*/ 2462 w 3017"/>
                  <a:gd name="T39" fmla="*/ 2053 h 3243"/>
                  <a:gd name="T40" fmla="*/ 2513 w 3017"/>
                  <a:gd name="T41" fmla="*/ 2029 h 3243"/>
                  <a:gd name="T42" fmla="*/ 2445 w 3017"/>
                  <a:gd name="T43" fmla="*/ 2086 h 3243"/>
                  <a:gd name="T44" fmla="*/ 2483 w 3017"/>
                  <a:gd name="T45" fmla="*/ 2135 h 3243"/>
                  <a:gd name="T46" fmla="*/ 2499 w 3017"/>
                  <a:gd name="T47" fmla="*/ 2152 h 3243"/>
                  <a:gd name="T48" fmla="*/ 2537 w 3017"/>
                  <a:gd name="T49" fmla="*/ 2173 h 3243"/>
                  <a:gd name="T50" fmla="*/ 2483 w 3017"/>
                  <a:gd name="T51" fmla="*/ 2173 h 3243"/>
                  <a:gd name="T52" fmla="*/ 2466 w 3017"/>
                  <a:gd name="T53" fmla="*/ 2190 h 3243"/>
                  <a:gd name="T54" fmla="*/ 2483 w 3017"/>
                  <a:gd name="T55" fmla="*/ 2197 h 3243"/>
                  <a:gd name="T56" fmla="*/ 2504 w 3017"/>
                  <a:gd name="T57" fmla="*/ 2235 h 3243"/>
                  <a:gd name="T58" fmla="*/ 2450 w 3017"/>
                  <a:gd name="T59" fmla="*/ 2263 h 3243"/>
                  <a:gd name="T60" fmla="*/ 2450 w 3017"/>
                  <a:gd name="T61" fmla="*/ 2272 h 3243"/>
                  <a:gd name="T62" fmla="*/ 2488 w 3017"/>
                  <a:gd name="T63" fmla="*/ 2301 h 3243"/>
                  <a:gd name="T64" fmla="*/ 2488 w 3017"/>
                  <a:gd name="T65" fmla="*/ 2395 h 3243"/>
                  <a:gd name="T66" fmla="*/ 2488 w 3017"/>
                  <a:gd name="T67" fmla="*/ 2473 h 3243"/>
                  <a:gd name="T68" fmla="*/ 2395 w 3017"/>
                  <a:gd name="T69" fmla="*/ 2490 h 3243"/>
                  <a:gd name="T70" fmla="*/ 2450 w 3017"/>
                  <a:gd name="T71" fmla="*/ 2511 h 3243"/>
                  <a:gd name="T72" fmla="*/ 2395 w 3017"/>
                  <a:gd name="T73" fmla="*/ 2551 h 3243"/>
                  <a:gd name="T74" fmla="*/ 2412 w 3017"/>
                  <a:gd name="T75" fmla="*/ 2622 h 3243"/>
                  <a:gd name="T76" fmla="*/ 2407 w 3017"/>
                  <a:gd name="T77" fmla="*/ 2561 h 3243"/>
                  <a:gd name="T78" fmla="*/ 2424 w 3017"/>
                  <a:gd name="T79" fmla="*/ 2601 h 3243"/>
                  <a:gd name="T80" fmla="*/ 2428 w 3017"/>
                  <a:gd name="T81" fmla="*/ 2679 h 3243"/>
                  <a:gd name="T82" fmla="*/ 2391 w 3017"/>
                  <a:gd name="T83" fmla="*/ 2745 h 3243"/>
                  <a:gd name="T84" fmla="*/ 2462 w 3017"/>
                  <a:gd name="T85" fmla="*/ 2745 h 3243"/>
                  <a:gd name="T86" fmla="*/ 2424 w 3017"/>
                  <a:gd name="T87" fmla="*/ 2790 h 3243"/>
                  <a:gd name="T88" fmla="*/ 2391 w 3017"/>
                  <a:gd name="T89" fmla="*/ 2823 h 3243"/>
                  <a:gd name="T90" fmla="*/ 2488 w 3017"/>
                  <a:gd name="T91" fmla="*/ 2823 h 3243"/>
                  <a:gd name="T92" fmla="*/ 2504 w 3017"/>
                  <a:gd name="T93" fmla="*/ 2877 h 3243"/>
                  <a:gd name="T94" fmla="*/ 2445 w 3017"/>
                  <a:gd name="T95" fmla="*/ 2877 h 3243"/>
                  <a:gd name="T96" fmla="*/ 2731 w 3017"/>
                  <a:gd name="T97" fmla="*/ 3116 h 3243"/>
                  <a:gd name="T98" fmla="*/ 2752 w 3017"/>
                  <a:gd name="T99" fmla="*/ 3106 h 3243"/>
                  <a:gd name="T100" fmla="*/ 2736 w 3017"/>
                  <a:gd name="T101" fmla="*/ 2950 h 3243"/>
                  <a:gd name="T102" fmla="*/ 2530 w 3017"/>
                  <a:gd name="T103" fmla="*/ 2983 h 3243"/>
                  <a:gd name="T104" fmla="*/ 2537 w 3017"/>
                  <a:gd name="T105" fmla="*/ 3012 h 3243"/>
                  <a:gd name="T106" fmla="*/ 2499 w 3017"/>
                  <a:gd name="T107" fmla="*/ 3012 h 3243"/>
                  <a:gd name="T108" fmla="*/ 2643 w 3017"/>
                  <a:gd name="T109" fmla="*/ 3045 h 3243"/>
                  <a:gd name="T110" fmla="*/ 2747 w 3017"/>
                  <a:gd name="T111" fmla="*/ 3078 h 3243"/>
                  <a:gd name="T112" fmla="*/ 2714 w 3017"/>
                  <a:gd name="T113" fmla="*/ 3139 h 3243"/>
                  <a:gd name="T114" fmla="*/ 2953 w 3017"/>
                  <a:gd name="T115" fmla="*/ 3149 h 3243"/>
                  <a:gd name="T116" fmla="*/ 2891 w 3017"/>
                  <a:gd name="T117" fmla="*/ 3177 h 3243"/>
                  <a:gd name="T118" fmla="*/ 2967 w 3017"/>
                  <a:gd name="T119" fmla="*/ 3156 h 3243"/>
                  <a:gd name="T120" fmla="*/ 2785 w 3017"/>
                  <a:gd name="T121" fmla="*/ 3194 h 3243"/>
                  <a:gd name="T122" fmla="*/ 2929 w 3017"/>
                  <a:gd name="T123" fmla="*/ 3243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17" h="3243">
                    <a:moveTo>
                      <a:pt x="2736" y="66"/>
                    </a:moveTo>
                    <a:lnTo>
                      <a:pt x="2769" y="54"/>
                    </a:lnTo>
                    <a:lnTo>
                      <a:pt x="2785" y="38"/>
                    </a:lnTo>
                    <a:lnTo>
                      <a:pt x="2773" y="17"/>
                    </a:lnTo>
                    <a:lnTo>
                      <a:pt x="2790" y="17"/>
                    </a:lnTo>
                    <a:lnTo>
                      <a:pt x="2802" y="0"/>
                    </a:lnTo>
                    <a:lnTo>
                      <a:pt x="2811" y="38"/>
                    </a:lnTo>
                    <a:lnTo>
                      <a:pt x="2828" y="38"/>
                    </a:lnTo>
                    <a:lnTo>
                      <a:pt x="2823" y="50"/>
                    </a:lnTo>
                    <a:lnTo>
                      <a:pt x="2839" y="111"/>
                    </a:lnTo>
                    <a:lnTo>
                      <a:pt x="2877" y="144"/>
                    </a:lnTo>
                    <a:lnTo>
                      <a:pt x="2854" y="165"/>
                    </a:lnTo>
                    <a:lnTo>
                      <a:pt x="2865" y="182"/>
                    </a:lnTo>
                    <a:lnTo>
                      <a:pt x="2865" y="189"/>
                    </a:lnTo>
                    <a:lnTo>
                      <a:pt x="2854" y="199"/>
                    </a:lnTo>
                    <a:lnTo>
                      <a:pt x="2854" y="215"/>
                    </a:lnTo>
                    <a:lnTo>
                      <a:pt x="2854" y="222"/>
                    </a:lnTo>
                    <a:lnTo>
                      <a:pt x="2877" y="239"/>
                    </a:lnTo>
                    <a:lnTo>
                      <a:pt x="2865" y="250"/>
                    </a:lnTo>
                    <a:lnTo>
                      <a:pt x="2865" y="255"/>
                    </a:lnTo>
                    <a:lnTo>
                      <a:pt x="2877" y="260"/>
                    </a:lnTo>
                    <a:lnTo>
                      <a:pt x="2891" y="288"/>
                    </a:lnTo>
                    <a:lnTo>
                      <a:pt x="2891" y="310"/>
                    </a:lnTo>
                    <a:lnTo>
                      <a:pt x="2899" y="343"/>
                    </a:lnTo>
                    <a:lnTo>
                      <a:pt x="2908" y="350"/>
                    </a:lnTo>
                    <a:lnTo>
                      <a:pt x="2915" y="383"/>
                    </a:lnTo>
                    <a:lnTo>
                      <a:pt x="2915" y="404"/>
                    </a:lnTo>
                    <a:lnTo>
                      <a:pt x="2936" y="404"/>
                    </a:lnTo>
                    <a:lnTo>
                      <a:pt x="2962" y="404"/>
                    </a:lnTo>
                    <a:lnTo>
                      <a:pt x="2979" y="416"/>
                    </a:lnTo>
                    <a:lnTo>
                      <a:pt x="2953" y="494"/>
                    </a:lnTo>
                    <a:lnTo>
                      <a:pt x="2882" y="527"/>
                    </a:lnTo>
                    <a:lnTo>
                      <a:pt x="2865" y="548"/>
                    </a:lnTo>
                    <a:lnTo>
                      <a:pt x="2882" y="581"/>
                    </a:lnTo>
                    <a:lnTo>
                      <a:pt x="2865" y="581"/>
                    </a:lnTo>
                    <a:lnTo>
                      <a:pt x="2861" y="605"/>
                    </a:lnTo>
                    <a:lnTo>
                      <a:pt x="2877" y="659"/>
                    </a:lnTo>
                    <a:lnTo>
                      <a:pt x="2865" y="666"/>
                    </a:lnTo>
                    <a:lnTo>
                      <a:pt x="2861" y="683"/>
                    </a:lnTo>
                    <a:lnTo>
                      <a:pt x="2882" y="716"/>
                    </a:lnTo>
                    <a:lnTo>
                      <a:pt x="2877" y="732"/>
                    </a:lnTo>
                    <a:lnTo>
                      <a:pt x="2844" y="732"/>
                    </a:lnTo>
                    <a:lnTo>
                      <a:pt x="2823" y="803"/>
                    </a:lnTo>
                    <a:lnTo>
                      <a:pt x="2790" y="832"/>
                    </a:lnTo>
                    <a:lnTo>
                      <a:pt x="2785" y="886"/>
                    </a:lnTo>
                    <a:lnTo>
                      <a:pt x="2757" y="905"/>
                    </a:lnTo>
                    <a:lnTo>
                      <a:pt x="2773" y="976"/>
                    </a:lnTo>
                    <a:lnTo>
                      <a:pt x="2769" y="980"/>
                    </a:lnTo>
                    <a:lnTo>
                      <a:pt x="2752" y="992"/>
                    </a:lnTo>
                    <a:lnTo>
                      <a:pt x="2747" y="1025"/>
                    </a:lnTo>
                    <a:lnTo>
                      <a:pt x="2747" y="1037"/>
                    </a:lnTo>
                    <a:lnTo>
                      <a:pt x="2731" y="1054"/>
                    </a:lnTo>
                    <a:lnTo>
                      <a:pt x="2719" y="1082"/>
                    </a:lnTo>
                    <a:lnTo>
                      <a:pt x="2736" y="1103"/>
                    </a:lnTo>
                    <a:lnTo>
                      <a:pt x="2752" y="1108"/>
                    </a:lnTo>
                    <a:lnTo>
                      <a:pt x="2736" y="1124"/>
                    </a:lnTo>
                    <a:lnTo>
                      <a:pt x="2747" y="1136"/>
                    </a:lnTo>
                    <a:lnTo>
                      <a:pt x="2752" y="1160"/>
                    </a:lnTo>
                    <a:lnTo>
                      <a:pt x="2752" y="1176"/>
                    </a:lnTo>
                    <a:lnTo>
                      <a:pt x="2769" y="1193"/>
                    </a:lnTo>
                    <a:lnTo>
                      <a:pt x="2757" y="1214"/>
                    </a:lnTo>
                    <a:lnTo>
                      <a:pt x="2769" y="1219"/>
                    </a:lnTo>
                    <a:lnTo>
                      <a:pt x="2773" y="1219"/>
                    </a:lnTo>
                    <a:lnTo>
                      <a:pt x="2785" y="1231"/>
                    </a:lnTo>
                    <a:lnTo>
                      <a:pt x="2769" y="1259"/>
                    </a:lnTo>
                    <a:lnTo>
                      <a:pt x="2773" y="1292"/>
                    </a:lnTo>
                    <a:lnTo>
                      <a:pt x="2757" y="1304"/>
                    </a:lnTo>
                    <a:lnTo>
                      <a:pt x="2736" y="1370"/>
                    </a:lnTo>
                    <a:lnTo>
                      <a:pt x="2719" y="1380"/>
                    </a:lnTo>
                    <a:lnTo>
                      <a:pt x="2736" y="1387"/>
                    </a:lnTo>
                    <a:lnTo>
                      <a:pt x="2747" y="1424"/>
                    </a:lnTo>
                    <a:lnTo>
                      <a:pt x="2736" y="1453"/>
                    </a:lnTo>
                    <a:lnTo>
                      <a:pt x="2714" y="1458"/>
                    </a:lnTo>
                    <a:lnTo>
                      <a:pt x="2714" y="1474"/>
                    </a:lnTo>
                    <a:lnTo>
                      <a:pt x="2693" y="1481"/>
                    </a:lnTo>
                    <a:lnTo>
                      <a:pt x="2681" y="1507"/>
                    </a:lnTo>
                    <a:lnTo>
                      <a:pt x="2693" y="1531"/>
                    </a:lnTo>
                    <a:lnTo>
                      <a:pt x="2681" y="1547"/>
                    </a:lnTo>
                    <a:lnTo>
                      <a:pt x="2693" y="1564"/>
                    </a:lnTo>
                    <a:lnTo>
                      <a:pt x="2681" y="1580"/>
                    </a:lnTo>
                    <a:lnTo>
                      <a:pt x="2698" y="1609"/>
                    </a:lnTo>
                    <a:lnTo>
                      <a:pt x="2698" y="1642"/>
                    </a:lnTo>
                    <a:lnTo>
                      <a:pt x="2702" y="1658"/>
                    </a:lnTo>
                    <a:lnTo>
                      <a:pt x="2698" y="1663"/>
                    </a:lnTo>
                    <a:lnTo>
                      <a:pt x="2665" y="1680"/>
                    </a:lnTo>
                    <a:lnTo>
                      <a:pt x="2665" y="1713"/>
                    </a:lnTo>
                    <a:lnTo>
                      <a:pt x="2660" y="1746"/>
                    </a:lnTo>
                    <a:lnTo>
                      <a:pt x="2643" y="1736"/>
                    </a:lnTo>
                    <a:lnTo>
                      <a:pt x="2651" y="1769"/>
                    </a:lnTo>
                    <a:lnTo>
                      <a:pt x="2639" y="1791"/>
                    </a:lnTo>
                    <a:lnTo>
                      <a:pt x="2643" y="1802"/>
                    </a:lnTo>
                    <a:lnTo>
                      <a:pt x="2639" y="1807"/>
                    </a:lnTo>
                    <a:lnTo>
                      <a:pt x="2627" y="1840"/>
                    </a:lnTo>
                    <a:lnTo>
                      <a:pt x="2639" y="1857"/>
                    </a:lnTo>
                    <a:lnTo>
                      <a:pt x="2639" y="1913"/>
                    </a:lnTo>
                    <a:lnTo>
                      <a:pt x="2627" y="1918"/>
                    </a:lnTo>
                    <a:lnTo>
                      <a:pt x="2643" y="1951"/>
                    </a:lnTo>
                    <a:lnTo>
                      <a:pt x="2627" y="1958"/>
                    </a:lnTo>
                    <a:lnTo>
                      <a:pt x="2622" y="1958"/>
                    </a:lnTo>
                    <a:lnTo>
                      <a:pt x="2613" y="1975"/>
                    </a:lnTo>
                    <a:lnTo>
                      <a:pt x="2622" y="1975"/>
                    </a:lnTo>
                    <a:lnTo>
                      <a:pt x="2613" y="1996"/>
                    </a:lnTo>
                    <a:lnTo>
                      <a:pt x="2613" y="2041"/>
                    </a:lnTo>
                    <a:lnTo>
                      <a:pt x="2643" y="2046"/>
                    </a:lnTo>
                    <a:lnTo>
                      <a:pt x="2643" y="2062"/>
                    </a:lnTo>
                    <a:lnTo>
                      <a:pt x="2627" y="2062"/>
                    </a:lnTo>
                    <a:lnTo>
                      <a:pt x="2627" y="2069"/>
                    </a:lnTo>
                    <a:lnTo>
                      <a:pt x="2643" y="2086"/>
                    </a:lnTo>
                    <a:lnTo>
                      <a:pt x="2643" y="2095"/>
                    </a:lnTo>
                    <a:lnTo>
                      <a:pt x="2639" y="2102"/>
                    </a:lnTo>
                    <a:lnTo>
                      <a:pt x="2651" y="2119"/>
                    </a:lnTo>
                    <a:lnTo>
                      <a:pt x="2639" y="2135"/>
                    </a:lnTo>
                    <a:lnTo>
                      <a:pt x="2639" y="2157"/>
                    </a:lnTo>
                    <a:lnTo>
                      <a:pt x="2681" y="2157"/>
                    </a:lnTo>
                    <a:lnTo>
                      <a:pt x="2693" y="2161"/>
                    </a:lnTo>
                    <a:lnTo>
                      <a:pt x="2676" y="2190"/>
                    </a:lnTo>
                    <a:lnTo>
                      <a:pt x="2622" y="2190"/>
                    </a:lnTo>
                    <a:lnTo>
                      <a:pt x="2622" y="2206"/>
                    </a:lnTo>
                    <a:lnTo>
                      <a:pt x="2651" y="2206"/>
                    </a:lnTo>
                    <a:lnTo>
                      <a:pt x="2676" y="2235"/>
                    </a:lnTo>
                    <a:lnTo>
                      <a:pt x="2660" y="2251"/>
                    </a:lnTo>
                    <a:lnTo>
                      <a:pt x="2643" y="2263"/>
                    </a:lnTo>
                    <a:lnTo>
                      <a:pt x="2639" y="2268"/>
                    </a:lnTo>
                    <a:lnTo>
                      <a:pt x="2643" y="2284"/>
                    </a:lnTo>
                    <a:lnTo>
                      <a:pt x="2651" y="2301"/>
                    </a:lnTo>
                    <a:lnTo>
                      <a:pt x="2627" y="2317"/>
                    </a:lnTo>
                    <a:lnTo>
                      <a:pt x="2643" y="2324"/>
                    </a:lnTo>
                    <a:lnTo>
                      <a:pt x="2643" y="2362"/>
                    </a:lnTo>
                    <a:lnTo>
                      <a:pt x="2627" y="2374"/>
                    </a:lnTo>
                    <a:lnTo>
                      <a:pt x="2627" y="2395"/>
                    </a:lnTo>
                    <a:lnTo>
                      <a:pt x="2639" y="2412"/>
                    </a:lnTo>
                    <a:lnTo>
                      <a:pt x="2596" y="2433"/>
                    </a:lnTo>
                    <a:lnTo>
                      <a:pt x="2596" y="2440"/>
                    </a:lnTo>
                    <a:lnTo>
                      <a:pt x="2589" y="2473"/>
                    </a:lnTo>
                    <a:lnTo>
                      <a:pt x="2596" y="2490"/>
                    </a:lnTo>
                    <a:lnTo>
                      <a:pt x="2606" y="2511"/>
                    </a:lnTo>
                    <a:lnTo>
                      <a:pt x="2584" y="2523"/>
                    </a:lnTo>
                    <a:lnTo>
                      <a:pt x="2584" y="2551"/>
                    </a:lnTo>
                    <a:lnTo>
                      <a:pt x="2551" y="2568"/>
                    </a:lnTo>
                    <a:lnTo>
                      <a:pt x="2542" y="2596"/>
                    </a:lnTo>
                    <a:lnTo>
                      <a:pt x="2551" y="2601"/>
                    </a:lnTo>
                    <a:lnTo>
                      <a:pt x="2542" y="2601"/>
                    </a:lnTo>
                    <a:lnTo>
                      <a:pt x="2521" y="2601"/>
                    </a:lnTo>
                    <a:lnTo>
                      <a:pt x="2513" y="2622"/>
                    </a:lnTo>
                    <a:lnTo>
                      <a:pt x="2521" y="2650"/>
                    </a:lnTo>
                    <a:lnTo>
                      <a:pt x="2513" y="2655"/>
                    </a:lnTo>
                    <a:lnTo>
                      <a:pt x="2521" y="2662"/>
                    </a:lnTo>
                    <a:lnTo>
                      <a:pt x="2521" y="2679"/>
                    </a:lnTo>
                    <a:lnTo>
                      <a:pt x="2537" y="2695"/>
                    </a:lnTo>
                    <a:lnTo>
                      <a:pt x="2542" y="2733"/>
                    </a:lnTo>
                    <a:lnTo>
                      <a:pt x="2575" y="2728"/>
                    </a:lnTo>
                    <a:lnTo>
                      <a:pt x="2606" y="2728"/>
                    </a:lnTo>
                    <a:lnTo>
                      <a:pt x="2606" y="2761"/>
                    </a:lnTo>
                    <a:lnTo>
                      <a:pt x="2596" y="2773"/>
                    </a:lnTo>
                    <a:lnTo>
                      <a:pt x="2606" y="2783"/>
                    </a:lnTo>
                    <a:lnTo>
                      <a:pt x="2596" y="2806"/>
                    </a:lnTo>
                    <a:lnTo>
                      <a:pt x="2606" y="2828"/>
                    </a:lnTo>
                    <a:lnTo>
                      <a:pt x="2627" y="2844"/>
                    </a:lnTo>
                    <a:lnTo>
                      <a:pt x="2627" y="2856"/>
                    </a:lnTo>
                    <a:lnTo>
                      <a:pt x="2769" y="2856"/>
                    </a:lnTo>
                    <a:lnTo>
                      <a:pt x="2877" y="2894"/>
                    </a:lnTo>
                    <a:lnTo>
                      <a:pt x="2811" y="2877"/>
                    </a:lnTo>
                    <a:lnTo>
                      <a:pt x="2802" y="2884"/>
                    </a:lnTo>
                    <a:lnTo>
                      <a:pt x="2802" y="2894"/>
                    </a:lnTo>
                    <a:lnTo>
                      <a:pt x="2790" y="2910"/>
                    </a:lnTo>
                    <a:lnTo>
                      <a:pt x="2773" y="2901"/>
                    </a:lnTo>
                    <a:lnTo>
                      <a:pt x="2702" y="2927"/>
                    </a:lnTo>
                    <a:lnTo>
                      <a:pt x="2702" y="2950"/>
                    </a:lnTo>
                    <a:lnTo>
                      <a:pt x="2698" y="2988"/>
                    </a:lnTo>
                    <a:lnTo>
                      <a:pt x="2698" y="3028"/>
                    </a:lnTo>
                    <a:lnTo>
                      <a:pt x="2676" y="3045"/>
                    </a:lnTo>
                    <a:lnTo>
                      <a:pt x="2613" y="3021"/>
                    </a:lnTo>
                    <a:lnTo>
                      <a:pt x="2589" y="2995"/>
                    </a:lnTo>
                    <a:lnTo>
                      <a:pt x="2606" y="2983"/>
                    </a:lnTo>
                    <a:lnTo>
                      <a:pt x="2613" y="2983"/>
                    </a:lnTo>
                    <a:lnTo>
                      <a:pt x="2622" y="2988"/>
                    </a:lnTo>
                    <a:lnTo>
                      <a:pt x="2606" y="2995"/>
                    </a:lnTo>
                    <a:lnTo>
                      <a:pt x="2613" y="2995"/>
                    </a:lnTo>
                    <a:lnTo>
                      <a:pt x="2622" y="2988"/>
                    </a:lnTo>
                    <a:lnTo>
                      <a:pt x="2622" y="2972"/>
                    </a:lnTo>
                    <a:lnTo>
                      <a:pt x="2639" y="2972"/>
                    </a:lnTo>
                    <a:lnTo>
                      <a:pt x="2639" y="2995"/>
                    </a:lnTo>
                    <a:lnTo>
                      <a:pt x="2622" y="3012"/>
                    </a:lnTo>
                    <a:lnTo>
                      <a:pt x="2639" y="3005"/>
                    </a:lnTo>
                    <a:lnTo>
                      <a:pt x="2643" y="2972"/>
                    </a:lnTo>
                    <a:lnTo>
                      <a:pt x="2665" y="2967"/>
                    </a:lnTo>
                    <a:lnTo>
                      <a:pt x="2681" y="2939"/>
                    </a:lnTo>
                    <a:lnTo>
                      <a:pt x="2681" y="2934"/>
                    </a:lnTo>
                    <a:lnTo>
                      <a:pt x="2651" y="2939"/>
                    </a:lnTo>
                    <a:lnTo>
                      <a:pt x="2622" y="2967"/>
                    </a:lnTo>
                    <a:lnTo>
                      <a:pt x="2606" y="2955"/>
                    </a:lnTo>
                    <a:lnTo>
                      <a:pt x="2584" y="2967"/>
                    </a:lnTo>
                    <a:lnTo>
                      <a:pt x="2613" y="2972"/>
                    </a:lnTo>
                    <a:lnTo>
                      <a:pt x="2589" y="2972"/>
                    </a:lnTo>
                    <a:lnTo>
                      <a:pt x="2596" y="2983"/>
                    </a:lnTo>
                    <a:lnTo>
                      <a:pt x="2589" y="2988"/>
                    </a:lnTo>
                    <a:lnTo>
                      <a:pt x="2575" y="2988"/>
                    </a:lnTo>
                    <a:lnTo>
                      <a:pt x="2596" y="3005"/>
                    </a:lnTo>
                    <a:lnTo>
                      <a:pt x="2537" y="2972"/>
                    </a:lnTo>
                    <a:lnTo>
                      <a:pt x="2537" y="2967"/>
                    </a:lnTo>
                    <a:lnTo>
                      <a:pt x="2558" y="2972"/>
                    </a:lnTo>
                    <a:lnTo>
                      <a:pt x="2575" y="2983"/>
                    </a:lnTo>
                    <a:lnTo>
                      <a:pt x="2568" y="2972"/>
                    </a:lnTo>
                    <a:lnTo>
                      <a:pt x="2575" y="2967"/>
                    </a:lnTo>
                    <a:lnTo>
                      <a:pt x="2558" y="2967"/>
                    </a:lnTo>
                    <a:lnTo>
                      <a:pt x="2568" y="2955"/>
                    </a:lnTo>
                    <a:lnTo>
                      <a:pt x="2558" y="2939"/>
                    </a:lnTo>
                    <a:lnTo>
                      <a:pt x="2575" y="2927"/>
                    </a:lnTo>
                    <a:lnTo>
                      <a:pt x="2589" y="2934"/>
                    </a:lnTo>
                    <a:lnTo>
                      <a:pt x="2613" y="2917"/>
                    </a:lnTo>
                    <a:lnTo>
                      <a:pt x="2639" y="2927"/>
                    </a:lnTo>
                    <a:lnTo>
                      <a:pt x="2660" y="2917"/>
                    </a:lnTo>
                    <a:lnTo>
                      <a:pt x="2660" y="2910"/>
                    </a:lnTo>
                    <a:lnTo>
                      <a:pt x="2613" y="2910"/>
                    </a:lnTo>
                    <a:lnTo>
                      <a:pt x="2596" y="2910"/>
                    </a:lnTo>
                    <a:lnTo>
                      <a:pt x="2596" y="2917"/>
                    </a:lnTo>
                    <a:lnTo>
                      <a:pt x="2584" y="2917"/>
                    </a:lnTo>
                    <a:lnTo>
                      <a:pt x="2596" y="2910"/>
                    </a:lnTo>
                    <a:lnTo>
                      <a:pt x="2568" y="2910"/>
                    </a:lnTo>
                    <a:lnTo>
                      <a:pt x="2558" y="2917"/>
                    </a:lnTo>
                    <a:lnTo>
                      <a:pt x="2575" y="2917"/>
                    </a:lnTo>
                    <a:lnTo>
                      <a:pt x="2551" y="2939"/>
                    </a:lnTo>
                    <a:lnTo>
                      <a:pt x="2558" y="2955"/>
                    </a:lnTo>
                    <a:lnTo>
                      <a:pt x="2542" y="2967"/>
                    </a:lnTo>
                    <a:lnTo>
                      <a:pt x="2521" y="2955"/>
                    </a:lnTo>
                    <a:lnTo>
                      <a:pt x="2537" y="2939"/>
                    </a:lnTo>
                    <a:lnTo>
                      <a:pt x="2513" y="2934"/>
                    </a:lnTo>
                    <a:lnTo>
                      <a:pt x="2537" y="2934"/>
                    </a:lnTo>
                    <a:lnTo>
                      <a:pt x="2542" y="2910"/>
                    </a:lnTo>
                    <a:lnTo>
                      <a:pt x="2558" y="2910"/>
                    </a:lnTo>
                    <a:lnTo>
                      <a:pt x="2542" y="2901"/>
                    </a:lnTo>
                    <a:lnTo>
                      <a:pt x="2537" y="2927"/>
                    </a:lnTo>
                    <a:lnTo>
                      <a:pt x="2530" y="2917"/>
                    </a:lnTo>
                    <a:lnTo>
                      <a:pt x="2504" y="2927"/>
                    </a:lnTo>
                    <a:lnTo>
                      <a:pt x="2504" y="2917"/>
                    </a:lnTo>
                    <a:lnTo>
                      <a:pt x="2513" y="2910"/>
                    </a:lnTo>
                    <a:lnTo>
                      <a:pt x="2504" y="2901"/>
                    </a:lnTo>
                    <a:lnTo>
                      <a:pt x="2513" y="2884"/>
                    </a:lnTo>
                    <a:lnTo>
                      <a:pt x="2504" y="2861"/>
                    </a:lnTo>
                    <a:lnTo>
                      <a:pt x="2513" y="2877"/>
                    </a:lnTo>
                    <a:lnTo>
                      <a:pt x="2530" y="2877"/>
                    </a:lnTo>
                    <a:lnTo>
                      <a:pt x="2551" y="2861"/>
                    </a:lnTo>
                    <a:lnTo>
                      <a:pt x="2551" y="2877"/>
                    </a:lnTo>
                    <a:lnTo>
                      <a:pt x="2568" y="2884"/>
                    </a:lnTo>
                    <a:lnTo>
                      <a:pt x="2568" y="2861"/>
                    </a:lnTo>
                    <a:lnTo>
                      <a:pt x="2558" y="2877"/>
                    </a:lnTo>
                    <a:lnTo>
                      <a:pt x="2558" y="2861"/>
                    </a:lnTo>
                    <a:lnTo>
                      <a:pt x="2568" y="2856"/>
                    </a:lnTo>
                    <a:lnTo>
                      <a:pt x="2575" y="2856"/>
                    </a:lnTo>
                    <a:lnTo>
                      <a:pt x="2589" y="2877"/>
                    </a:lnTo>
                    <a:lnTo>
                      <a:pt x="2584" y="2884"/>
                    </a:lnTo>
                    <a:lnTo>
                      <a:pt x="2558" y="2901"/>
                    </a:lnTo>
                    <a:lnTo>
                      <a:pt x="2589" y="2884"/>
                    </a:lnTo>
                    <a:lnTo>
                      <a:pt x="2589" y="2877"/>
                    </a:lnTo>
                    <a:lnTo>
                      <a:pt x="2575" y="2856"/>
                    </a:lnTo>
                    <a:lnTo>
                      <a:pt x="2589" y="2856"/>
                    </a:lnTo>
                    <a:lnTo>
                      <a:pt x="2589" y="2839"/>
                    </a:lnTo>
                    <a:lnTo>
                      <a:pt x="2575" y="2816"/>
                    </a:lnTo>
                    <a:lnTo>
                      <a:pt x="2537" y="2806"/>
                    </a:lnTo>
                    <a:lnTo>
                      <a:pt x="2584" y="2839"/>
                    </a:lnTo>
                    <a:lnTo>
                      <a:pt x="2575" y="2839"/>
                    </a:lnTo>
                    <a:lnTo>
                      <a:pt x="2537" y="2823"/>
                    </a:lnTo>
                    <a:lnTo>
                      <a:pt x="2537" y="2828"/>
                    </a:lnTo>
                    <a:lnTo>
                      <a:pt x="2551" y="2839"/>
                    </a:lnTo>
                    <a:lnTo>
                      <a:pt x="2542" y="2844"/>
                    </a:lnTo>
                    <a:lnTo>
                      <a:pt x="2558" y="2844"/>
                    </a:lnTo>
                    <a:lnTo>
                      <a:pt x="2542" y="2856"/>
                    </a:lnTo>
                    <a:lnTo>
                      <a:pt x="2537" y="2861"/>
                    </a:lnTo>
                    <a:lnTo>
                      <a:pt x="2530" y="2823"/>
                    </a:lnTo>
                    <a:lnTo>
                      <a:pt x="2537" y="2872"/>
                    </a:lnTo>
                    <a:lnTo>
                      <a:pt x="2513" y="2861"/>
                    </a:lnTo>
                    <a:lnTo>
                      <a:pt x="2504" y="2839"/>
                    </a:lnTo>
                    <a:lnTo>
                      <a:pt x="2530" y="2861"/>
                    </a:lnTo>
                    <a:lnTo>
                      <a:pt x="2513" y="2828"/>
                    </a:lnTo>
                    <a:lnTo>
                      <a:pt x="2521" y="2828"/>
                    </a:lnTo>
                    <a:lnTo>
                      <a:pt x="2504" y="2839"/>
                    </a:lnTo>
                    <a:lnTo>
                      <a:pt x="2499" y="2823"/>
                    </a:lnTo>
                    <a:lnTo>
                      <a:pt x="2488" y="2823"/>
                    </a:lnTo>
                    <a:lnTo>
                      <a:pt x="2488" y="2799"/>
                    </a:lnTo>
                    <a:lnTo>
                      <a:pt x="2513" y="2823"/>
                    </a:lnTo>
                    <a:lnTo>
                      <a:pt x="2499" y="2783"/>
                    </a:lnTo>
                    <a:lnTo>
                      <a:pt x="2504" y="2790"/>
                    </a:lnTo>
                    <a:lnTo>
                      <a:pt x="2504" y="2773"/>
                    </a:lnTo>
                    <a:lnTo>
                      <a:pt x="2488" y="2783"/>
                    </a:lnTo>
                    <a:lnTo>
                      <a:pt x="2476" y="2783"/>
                    </a:lnTo>
                    <a:lnTo>
                      <a:pt x="2466" y="2761"/>
                    </a:lnTo>
                    <a:lnTo>
                      <a:pt x="2476" y="2750"/>
                    </a:lnTo>
                    <a:lnTo>
                      <a:pt x="2499" y="2750"/>
                    </a:lnTo>
                    <a:lnTo>
                      <a:pt x="2504" y="2728"/>
                    </a:lnTo>
                    <a:lnTo>
                      <a:pt x="2521" y="2733"/>
                    </a:lnTo>
                    <a:lnTo>
                      <a:pt x="2521" y="2728"/>
                    </a:lnTo>
                    <a:lnTo>
                      <a:pt x="2504" y="2717"/>
                    </a:lnTo>
                    <a:lnTo>
                      <a:pt x="2513" y="2707"/>
                    </a:lnTo>
                    <a:lnTo>
                      <a:pt x="2499" y="2717"/>
                    </a:lnTo>
                    <a:lnTo>
                      <a:pt x="2499" y="2745"/>
                    </a:lnTo>
                    <a:lnTo>
                      <a:pt x="2483" y="2745"/>
                    </a:lnTo>
                    <a:lnTo>
                      <a:pt x="2466" y="2712"/>
                    </a:lnTo>
                    <a:lnTo>
                      <a:pt x="2488" y="2717"/>
                    </a:lnTo>
                    <a:lnTo>
                      <a:pt x="2466" y="2707"/>
                    </a:lnTo>
                    <a:lnTo>
                      <a:pt x="2433" y="2688"/>
                    </a:lnTo>
                    <a:lnTo>
                      <a:pt x="2445" y="2679"/>
                    </a:lnTo>
                    <a:lnTo>
                      <a:pt x="2462" y="2672"/>
                    </a:lnTo>
                    <a:lnTo>
                      <a:pt x="2466" y="2688"/>
                    </a:lnTo>
                    <a:lnTo>
                      <a:pt x="2499" y="2695"/>
                    </a:lnTo>
                    <a:lnTo>
                      <a:pt x="2476" y="2688"/>
                    </a:lnTo>
                    <a:lnTo>
                      <a:pt x="2462" y="2662"/>
                    </a:lnTo>
                    <a:lnTo>
                      <a:pt x="2466" y="2662"/>
                    </a:lnTo>
                    <a:lnTo>
                      <a:pt x="2488" y="2672"/>
                    </a:lnTo>
                    <a:lnTo>
                      <a:pt x="2466" y="2655"/>
                    </a:lnTo>
                    <a:lnTo>
                      <a:pt x="2462" y="2650"/>
                    </a:lnTo>
                    <a:lnTo>
                      <a:pt x="2483" y="2639"/>
                    </a:lnTo>
                    <a:lnTo>
                      <a:pt x="2466" y="2639"/>
                    </a:lnTo>
                    <a:lnTo>
                      <a:pt x="2462" y="2634"/>
                    </a:lnTo>
                    <a:lnTo>
                      <a:pt x="2488" y="2622"/>
                    </a:lnTo>
                    <a:lnTo>
                      <a:pt x="2504" y="2639"/>
                    </a:lnTo>
                    <a:lnTo>
                      <a:pt x="2499" y="2634"/>
                    </a:lnTo>
                    <a:lnTo>
                      <a:pt x="2488" y="2622"/>
                    </a:lnTo>
                    <a:lnTo>
                      <a:pt x="2476" y="2617"/>
                    </a:lnTo>
                    <a:lnTo>
                      <a:pt x="2483" y="2601"/>
                    </a:lnTo>
                    <a:lnTo>
                      <a:pt x="2499" y="2606"/>
                    </a:lnTo>
                    <a:lnTo>
                      <a:pt x="2483" y="2601"/>
                    </a:lnTo>
                    <a:lnTo>
                      <a:pt x="2483" y="2584"/>
                    </a:lnTo>
                    <a:lnTo>
                      <a:pt x="2499" y="2580"/>
                    </a:lnTo>
                    <a:lnTo>
                      <a:pt x="2483" y="2580"/>
                    </a:lnTo>
                    <a:lnTo>
                      <a:pt x="2466" y="2622"/>
                    </a:lnTo>
                    <a:lnTo>
                      <a:pt x="2462" y="2617"/>
                    </a:lnTo>
                    <a:lnTo>
                      <a:pt x="2450" y="2551"/>
                    </a:lnTo>
                    <a:lnTo>
                      <a:pt x="2462" y="2544"/>
                    </a:lnTo>
                    <a:lnTo>
                      <a:pt x="2483" y="2551"/>
                    </a:lnTo>
                    <a:lnTo>
                      <a:pt x="2462" y="2544"/>
                    </a:lnTo>
                    <a:lnTo>
                      <a:pt x="2462" y="2539"/>
                    </a:lnTo>
                    <a:lnTo>
                      <a:pt x="2466" y="2523"/>
                    </a:lnTo>
                    <a:lnTo>
                      <a:pt x="2483" y="2528"/>
                    </a:lnTo>
                    <a:lnTo>
                      <a:pt x="2483" y="2523"/>
                    </a:lnTo>
                    <a:lnTo>
                      <a:pt x="2466" y="2511"/>
                    </a:lnTo>
                    <a:lnTo>
                      <a:pt x="2476" y="2511"/>
                    </a:lnTo>
                    <a:lnTo>
                      <a:pt x="2433" y="2485"/>
                    </a:lnTo>
                    <a:lnTo>
                      <a:pt x="2450" y="2485"/>
                    </a:lnTo>
                    <a:lnTo>
                      <a:pt x="2466" y="2506"/>
                    </a:lnTo>
                    <a:lnTo>
                      <a:pt x="2462" y="2485"/>
                    </a:lnTo>
                    <a:lnTo>
                      <a:pt x="2499" y="2485"/>
                    </a:lnTo>
                    <a:lnTo>
                      <a:pt x="2513" y="2506"/>
                    </a:lnTo>
                    <a:lnTo>
                      <a:pt x="2521" y="2495"/>
                    </a:lnTo>
                    <a:lnTo>
                      <a:pt x="2530" y="2495"/>
                    </a:lnTo>
                    <a:lnTo>
                      <a:pt x="2537" y="2490"/>
                    </a:lnTo>
                    <a:lnTo>
                      <a:pt x="2530" y="2495"/>
                    </a:lnTo>
                    <a:lnTo>
                      <a:pt x="2521" y="2490"/>
                    </a:lnTo>
                    <a:lnTo>
                      <a:pt x="2504" y="2473"/>
                    </a:lnTo>
                    <a:lnTo>
                      <a:pt x="2537" y="2485"/>
                    </a:lnTo>
                    <a:lnTo>
                      <a:pt x="2521" y="2473"/>
                    </a:lnTo>
                    <a:lnTo>
                      <a:pt x="2504" y="2457"/>
                    </a:lnTo>
                    <a:lnTo>
                      <a:pt x="2504" y="2452"/>
                    </a:lnTo>
                    <a:lnTo>
                      <a:pt x="2504" y="2433"/>
                    </a:lnTo>
                    <a:lnTo>
                      <a:pt x="2499" y="2457"/>
                    </a:lnTo>
                    <a:lnTo>
                      <a:pt x="2488" y="2469"/>
                    </a:lnTo>
                    <a:lnTo>
                      <a:pt x="2433" y="2457"/>
                    </a:lnTo>
                    <a:lnTo>
                      <a:pt x="2445" y="2440"/>
                    </a:lnTo>
                    <a:lnTo>
                      <a:pt x="2462" y="2440"/>
                    </a:lnTo>
                    <a:lnTo>
                      <a:pt x="2466" y="2457"/>
                    </a:lnTo>
                    <a:lnTo>
                      <a:pt x="2476" y="2457"/>
                    </a:lnTo>
                    <a:lnTo>
                      <a:pt x="2466" y="2457"/>
                    </a:lnTo>
                    <a:lnTo>
                      <a:pt x="2466" y="2452"/>
                    </a:lnTo>
                    <a:lnTo>
                      <a:pt x="2483" y="2440"/>
                    </a:lnTo>
                    <a:lnTo>
                      <a:pt x="2462" y="2440"/>
                    </a:lnTo>
                    <a:lnTo>
                      <a:pt x="2445" y="2428"/>
                    </a:lnTo>
                    <a:lnTo>
                      <a:pt x="2462" y="2412"/>
                    </a:lnTo>
                    <a:lnTo>
                      <a:pt x="2476" y="2412"/>
                    </a:lnTo>
                    <a:lnTo>
                      <a:pt x="2476" y="2417"/>
                    </a:lnTo>
                    <a:lnTo>
                      <a:pt x="2476" y="2412"/>
                    </a:lnTo>
                    <a:lnTo>
                      <a:pt x="2488" y="2395"/>
                    </a:lnTo>
                    <a:lnTo>
                      <a:pt x="2476" y="2384"/>
                    </a:lnTo>
                    <a:lnTo>
                      <a:pt x="2466" y="2374"/>
                    </a:lnTo>
                    <a:lnTo>
                      <a:pt x="2445" y="2374"/>
                    </a:lnTo>
                    <a:lnTo>
                      <a:pt x="2450" y="2379"/>
                    </a:lnTo>
                    <a:lnTo>
                      <a:pt x="2412" y="2374"/>
                    </a:lnTo>
                    <a:lnTo>
                      <a:pt x="2407" y="2358"/>
                    </a:lnTo>
                    <a:lnTo>
                      <a:pt x="2424" y="2341"/>
                    </a:lnTo>
                    <a:lnTo>
                      <a:pt x="2407" y="2358"/>
                    </a:lnTo>
                    <a:lnTo>
                      <a:pt x="2369" y="2374"/>
                    </a:lnTo>
                    <a:lnTo>
                      <a:pt x="2379" y="2362"/>
                    </a:lnTo>
                    <a:lnTo>
                      <a:pt x="2391" y="2379"/>
                    </a:lnTo>
                    <a:lnTo>
                      <a:pt x="2379" y="2384"/>
                    </a:lnTo>
                    <a:lnTo>
                      <a:pt x="2374" y="2384"/>
                    </a:lnTo>
                    <a:lnTo>
                      <a:pt x="2369" y="2362"/>
                    </a:lnTo>
                    <a:lnTo>
                      <a:pt x="2369" y="2346"/>
                    </a:lnTo>
                    <a:lnTo>
                      <a:pt x="2395" y="2329"/>
                    </a:lnTo>
                    <a:lnTo>
                      <a:pt x="2395" y="2341"/>
                    </a:lnTo>
                    <a:lnTo>
                      <a:pt x="2407" y="2317"/>
                    </a:lnTo>
                    <a:lnTo>
                      <a:pt x="2428" y="2308"/>
                    </a:lnTo>
                    <a:lnTo>
                      <a:pt x="2433" y="2284"/>
                    </a:lnTo>
                    <a:lnTo>
                      <a:pt x="2462" y="2284"/>
                    </a:lnTo>
                    <a:lnTo>
                      <a:pt x="2476" y="2284"/>
                    </a:lnTo>
                    <a:lnTo>
                      <a:pt x="2483" y="2301"/>
                    </a:lnTo>
                    <a:lnTo>
                      <a:pt x="2476" y="2308"/>
                    </a:lnTo>
                    <a:lnTo>
                      <a:pt x="2483" y="2301"/>
                    </a:lnTo>
                    <a:lnTo>
                      <a:pt x="2488" y="2308"/>
                    </a:lnTo>
                    <a:lnTo>
                      <a:pt x="2462" y="2324"/>
                    </a:lnTo>
                    <a:lnTo>
                      <a:pt x="2450" y="2317"/>
                    </a:lnTo>
                    <a:lnTo>
                      <a:pt x="2462" y="2324"/>
                    </a:lnTo>
                    <a:lnTo>
                      <a:pt x="2483" y="2317"/>
                    </a:lnTo>
                    <a:lnTo>
                      <a:pt x="2499" y="2329"/>
                    </a:lnTo>
                    <a:lnTo>
                      <a:pt x="2483" y="2317"/>
                    </a:lnTo>
                    <a:lnTo>
                      <a:pt x="2488" y="2317"/>
                    </a:lnTo>
                    <a:lnTo>
                      <a:pt x="2499" y="2324"/>
                    </a:lnTo>
                    <a:lnTo>
                      <a:pt x="2483" y="2346"/>
                    </a:lnTo>
                    <a:lnTo>
                      <a:pt x="2499" y="2358"/>
                    </a:lnTo>
                    <a:lnTo>
                      <a:pt x="2521" y="2308"/>
                    </a:lnTo>
                    <a:lnTo>
                      <a:pt x="2504" y="2329"/>
                    </a:lnTo>
                    <a:lnTo>
                      <a:pt x="2504" y="2301"/>
                    </a:lnTo>
                    <a:lnTo>
                      <a:pt x="2530" y="2272"/>
                    </a:lnTo>
                    <a:lnTo>
                      <a:pt x="2542" y="2268"/>
                    </a:lnTo>
                    <a:lnTo>
                      <a:pt x="2530" y="2268"/>
                    </a:lnTo>
                    <a:lnTo>
                      <a:pt x="2513" y="2272"/>
                    </a:lnTo>
                    <a:lnTo>
                      <a:pt x="2521" y="2251"/>
                    </a:lnTo>
                    <a:lnTo>
                      <a:pt x="2537" y="2235"/>
                    </a:lnTo>
                    <a:lnTo>
                      <a:pt x="2551" y="2251"/>
                    </a:lnTo>
                    <a:lnTo>
                      <a:pt x="2568" y="2247"/>
                    </a:lnTo>
                    <a:lnTo>
                      <a:pt x="2537" y="2230"/>
                    </a:lnTo>
                    <a:lnTo>
                      <a:pt x="2521" y="2235"/>
                    </a:lnTo>
                    <a:lnTo>
                      <a:pt x="2521" y="2230"/>
                    </a:lnTo>
                    <a:lnTo>
                      <a:pt x="2537" y="2218"/>
                    </a:lnTo>
                    <a:lnTo>
                      <a:pt x="2530" y="2206"/>
                    </a:lnTo>
                    <a:lnTo>
                      <a:pt x="2568" y="2190"/>
                    </a:lnTo>
                    <a:lnTo>
                      <a:pt x="2584" y="2161"/>
                    </a:lnTo>
                    <a:lnTo>
                      <a:pt x="2584" y="2157"/>
                    </a:lnTo>
                    <a:lnTo>
                      <a:pt x="2575" y="2161"/>
                    </a:lnTo>
                    <a:lnTo>
                      <a:pt x="2537" y="2135"/>
                    </a:lnTo>
                    <a:lnTo>
                      <a:pt x="2551" y="2102"/>
                    </a:lnTo>
                    <a:lnTo>
                      <a:pt x="2568" y="2102"/>
                    </a:lnTo>
                    <a:lnTo>
                      <a:pt x="2568" y="2095"/>
                    </a:lnTo>
                    <a:lnTo>
                      <a:pt x="2551" y="2095"/>
                    </a:lnTo>
                    <a:lnTo>
                      <a:pt x="2542" y="2069"/>
                    </a:lnTo>
                    <a:lnTo>
                      <a:pt x="2551" y="2062"/>
                    </a:lnTo>
                    <a:lnTo>
                      <a:pt x="2558" y="2053"/>
                    </a:lnTo>
                    <a:lnTo>
                      <a:pt x="2568" y="2041"/>
                    </a:lnTo>
                    <a:lnTo>
                      <a:pt x="2575" y="2041"/>
                    </a:lnTo>
                    <a:lnTo>
                      <a:pt x="2568" y="1996"/>
                    </a:lnTo>
                    <a:lnTo>
                      <a:pt x="2568" y="1991"/>
                    </a:lnTo>
                    <a:lnTo>
                      <a:pt x="2589" y="1996"/>
                    </a:lnTo>
                    <a:lnTo>
                      <a:pt x="2568" y="1968"/>
                    </a:lnTo>
                    <a:lnTo>
                      <a:pt x="2584" y="1958"/>
                    </a:lnTo>
                    <a:lnTo>
                      <a:pt x="2596" y="1984"/>
                    </a:lnTo>
                    <a:lnTo>
                      <a:pt x="2589" y="1942"/>
                    </a:lnTo>
                    <a:lnTo>
                      <a:pt x="2575" y="1942"/>
                    </a:lnTo>
                    <a:lnTo>
                      <a:pt x="2568" y="1935"/>
                    </a:lnTo>
                    <a:lnTo>
                      <a:pt x="2575" y="1930"/>
                    </a:lnTo>
                    <a:lnTo>
                      <a:pt x="2596" y="1918"/>
                    </a:lnTo>
                    <a:lnTo>
                      <a:pt x="2606" y="1897"/>
                    </a:lnTo>
                    <a:lnTo>
                      <a:pt x="2596" y="1918"/>
                    </a:lnTo>
                    <a:lnTo>
                      <a:pt x="2584" y="1918"/>
                    </a:lnTo>
                    <a:lnTo>
                      <a:pt x="2558" y="1902"/>
                    </a:lnTo>
                    <a:lnTo>
                      <a:pt x="2551" y="1902"/>
                    </a:lnTo>
                    <a:lnTo>
                      <a:pt x="2551" y="1918"/>
                    </a:lnTo>
                    <a:lnTo>
                      <a:pt x="2537" y="1930"/>
                    </a:lnTo>
                    <a:lnTo>
                      <a:pt x="2504" y="1930"/>
                    </a:lnTo>
                    <a:lnTo>
                      <a:pt x="2521" y="1902"/>
                    </a:lnTo>
                    <a:lnTo>
                      <a:pt x="2504" y="1913"/>
                    </a:lnTo>
                    <a:lnTo>
                      <a:pt x="2488" y="1902"/>
                    </a:lnTo>
                    <a:lnTo>
                      <a:pt x="2483" y="1857"/>
                    </a:lnTo>
                    <a:lnTo>
                      <a:pt x="2504" y="1819"/>
                    </a:lnTo>
                    <a:lnTo>
                      <a:pt x="2504" y="1791"/>
                    </a:lnTo>
                    <a:lnTo>
                      <a:pt x="2504" y="1786"/>
                    </a:lnTo>
                    <a:lnTo>
                      <a:pt x="2504" y="1774"/>
                    </a:lnTo>
                    <a:lnTo>
                      <a:pt x="2530" y="1769"/>
                    </a:lnTo>
                    <a:lnTo>
                      <a:pt x="2537" y="1729"/>
                    </a:lnTo>
                    <a:lnTo>
                      <a:pt x="2513" y="1642"/>
                    </a:lnTo>
                    <a:lnTo>
                      <a:pt x="2521" y="1609"/>
                    </a:lnTo>
                    <a:lnTo>
                      <a:pt x="2504" y="1585"/>
                    </a:lnTo>
                    <a:lnTo>
                      <a:pt x="2513" y="1564"/>
                    </a:lnTo>
                    <a:lnTo>
                      <a:pt x="2504" y="1552"/>
                    </a:lnTo>
                    <a:lnTo>
                      <a:pt x="2513" y="1535"/>
                    </a:lnTo>
                    <a:lnTo>
                      <a:pt x="2530" y="1535"/>
                    </a:lnTo>
                    <a:lnTo>
                      <a:pt x="2542" y="1531"/>
                    </a:lnTo>
                    <a:lnTo>
                      <a:pt x="2542" y="1498"/>
                    </a:lnTo>
                    <a:lnTo>
                      <a:pt x="2551" y="1498"/>
                    </a:lnTo>
                    <a:lnTo>
                      <a:pt x="2568" y="1436"/>
                    </a:lnTo>
                    <a:lnTo>
                      <a:pt x="2584" y="1424"/>
                    </a:lnTo>
                    <a:lnTo>
                      <a:pt x="2584" y="1403"/>
                    </a:lnTo>
                    <a:lnTo>
                      <a:pt x="2606" y="1363"/>
                    </a:lnTo>
                    <a:lnTo>
                      <a:pt x="2627" y="1309"/>
                    </a:lnTo>
                    <a:lnTo>
                      <a:pt x="2622" y="1287"/>
                    </a:lnTo>
                    <a:lnTo>
                      <a:pt x="2639" y="1259"/>
                    </a:lnTo>
                    <a:lnTo>
                      <a:pt x="2651" y="1252"/>
                    </a:lnTo>
                    <a:lnTo>
                      <a:pt x="2643" y="1202"/>
                    </a:lnTo>
                    <a:lnTo>
                      <a:pt x="2651" y="1198"/>
                    </a:lnTo>
                    <a:lnTo>
                      <a:pt x="2665" y="1165"/>
                    </a:lnTo>
                    <a:lnTo>
                      <a:pt x="2665" y="1148"/>
                    </a:lnTo>
                    <a:lnTo>
                      <a:pt x="2660" y="1136"/>
                    </a:lnTo>
                    <a:lnTo>
                      <a:pt x="2660" y="1091"/>
                    </a:lnTo>
                    <a:lnTo>
                      <a:pt x="2643" y="1013"/>
                    </a:lnTo>
                    <a:lnTo>
                      <a:pt x="2643" y="980"/>
                    </a:lnTo>
                    <a:lnTo>
                      <a:pt x="2665" y="976"/>
                    </a:lnTo>
                    <a:lnTo>
                      <a:pt x="2676" y="954"/>
                    </a:lnTo>
                    <a:lnTo>
                      <a:pt x="2676" y="914"/>
                    </a:lnTo>
                    <a:lnTo>
                      <a:pt x="2660" y="898"/>
                    </a:lnTo>
                    <a:lnTo>
                      <a:pt x="2660" y="869"/>
                    </a:lnTo>
                    <a:lnTo>
                      <a:pt x="2681" y="827"/>
                    </a:lnTo>
                    <a:lnTo>
                      <a:pt x="2693" y="787"/>
                    </a:lnTo>
                    <a:lnTo>
                      <a:pt x="2698" y="770"/>
                    </a:lnTo>
                    <a:lnTo>
                      <a:pt x="2698" y="737"/>
                    </a:lnTo>
                    <a:lnTo>
                      <a:pt x="2702" y="721"/>
                    </a:lnTo>
                    <a:lnTo>
                      <a:pt x="2702" y="716"/>
                    </a:lnTo>
                    <a:lnTo>
                      <a:pt x="2719" y="666"/>
                    </a:lnTo>
                    <a:lnTo>
                      <a:pt x="2719" y="643"/>
                    </a:lnTo>
                    <a:lnTo>
                      <a:pt x="2714" y="626"/>
                    </a:lnTo>
                    <a:lnTo>
                      <a:pt x="2736" y="593"/>
                    </a:lnTo>
                    <a:lnTo>
                      <a:pt x="2719" y="548"/>
                    </a:lnTo>
                    <a:lnTo>
                      <a:pt x="2731" y="482"/>
                    </a:lnTo>
                    <a:lnTo>
                      <a:pt x="2736" y="461"/>
                    </a:lnTo>
                    <a:lnTo>
                      <a:pt x="2731" y="454"/>
                    </a:lnTo>
                    <a:lnTo>
                      <a:pt x="2719" y="454"/>
                    </a:lnTo>
                    <a:lnTo>
                      <a:pt x="2719" y="421"/>
                    </a:lnTo>
                    <a:lnTo>
                      <a:pt x="2736" y="421"/>
                    </a:lnTo>
                    <a:lnTo>
                      <a:pt x="2747" y="404"/>
                    </a:lnTo>
                    <a:lnTo>
                      <a:pt x="2752" y="317"/>
                    </a:lnTo>
                    <a:lnTo>
                      <a:pt x="2757" y="293"/>
                    </a:lnTo>
                    <a:lnTo>
                      <a:pt x="2752" y="250"/>
                    </a:lnTo>
                    <a:lnTo>
                      <a:pt x="2757" y="189"/>
                    </a:lnTo>
                    <a:lnTo>
                      <a:pt x="2747" y="104"/>
                    </a:lnTo>
                    <a:lnTo>
                      <a:pt x="2747" y="71"/>
                    </a:lnTo>
                    <a:lnTo>
                      <a:pt x="2736" y="66"/>
                    </a:lnTo>
                    <a:lnTo>
                      <a:pt x="2736" y="66"/>
                    </a:lnTo>
                    <a:lnTo>
                      <a:pt x="2736" y="66"/>
                    </a:lnTo>
                    <a:close/>
                    <a:moveTo>
                      <a:pt x="0" y="737"/>
                    </a:moveTo>
                    <a:lnTo>
                      <a:pt x="0" y="732"/>
                    </a:lnTo>
                    <a:lnTo>
                      <a:pt x="17" y="732"/>
                    </a:lnTo>
                    <a:lnTo>
                      <a:pt x="0" y="737"/>
                    </a:lnTo>
                    <a:lnTo>
                      <a:pt x="0" y="737"/>
                    </a:lnTo>
                    <a:lnTo>
                      <a:pt x="0" y="737"/>
                    </a:lnTo>
                    <a:close/>
                    <a:moveTo>
                      <a:pt x="2138" y="1252"/>
                    </a:moveTo>
                    <a:lnTo>
                      <a:pt x="2143" y="1247"/>
                    </a:lnTo>
                    <a:lnTo>
                      <a:pt x="2152" y="1247"/>
                    </a:lnTo>
                    <a:lnTo>
                      <a:pt x="2138" y="1252"/>
                    </a:lnTo>
                    <a:lnTo>
                      <a:pt x="2138" y="1252"/>
                    </a:lnTo>
                    <a:lnTo>
                      <a:pt x="2138" y="1252"/>
                    </a:lnTo>
                    <a:close/>
                    <a:moveTo>
                      <a:pt x="2513" y="2029"/>
                    </a:moveTo>
                    <a:lnTo>
                      <a:pt x="2521" y="2046"/>
                    </a:lnTo>
                    <a:lnTo>
                      <a:pt x="2499" y="2046"/>
                    </a:lnTo>
                    <a:lnTo>
                      <a:pt x="2504" y="2069"/>
                    </a:lnTo>
                    <a:lnTo>
                      <a:pt x="2462" y="2053"/>
                    </a:lnTo>
                    <a:lnTo>
                      <a:pt x="2476" y="2024"/>
                    </a:lnTo>
                    <a:lnTo>
                      <a:pt x="2476" y="1996"/>
                    </a:lnTo>
                    <a:lnTo>
                      <a:pt x="2466" y="1991"/>
                    </a:lnTo>
                    <a:lnTo>
                      <a:pt x="2476" y="1968"/>
                    </a:lnTo>
                    <a:lnTo>
                      <a:pt x="2483" y="1951"/>
                    </a:lnTo>
                    <a:lnTo>
                      <a:pt x="2483" y="1930"/>
                    </a:lnTo>
                    <a:lnTo>
                      <a:pt x="2488" y="1930"/>
                    </a:lnTo>
                    <a:lnTo>
                      <a:pt x="2483" y="1935"/>
                    </a:lnTo>
                    <a:lnTo>
                      <a:pt x="2488" y="1935"/>
                    </a:lnTo>
                    <a:lnTo>
                      <a:pt x="2504" y="1930"/>
                    </a:lnTo>
                    <a:lnTo>
                      <a:pt x="2521" y="1935"/>
                    </a:lnTo>
                    <a:lnTo>
                      <a:pt x="2521" y="1942"/>
                    </a:lnTo>
                    <a:lnTo>
                      <a:pt x="2521" y="1951"/>
                    </a:lnTo>
                    <a:lnTo>
                      <a:pt x="2521" y="1958"/>
                    </a:lnTo>
                    <a:lnTo>
                      <a:pt x="2530" y="1968"/>
                    </a:lnTo>
                    <a:lnTo>
                      <a:pt x="2530" y="1975"/>
                    </a:lnTo>
                    <a:lnTo>
                      <a:pt x="2504" y="1975"/>
                    </a:lnTo>
                    <a:lnTo>
                      <a:pt x="2513" y="1991"/>
                    </a:lnTo>
                    <a:lnTo>
                      <a:pt x="2504" y="1991"/>
                    </a:lnTo>
                    <a:lnTo>
                      <a:pt x="2499" y="1984"/>
                    </a:lnTo>
                    <a:lnTo>
                      <a:pt x="2499" y="1991"/>
                    </a:lnTo>
                    <a:lnTo>
                      <a:pt x="2499" y="1996"/>
                    </a:lnTo>
                    <a:lnTo>
                      <a:pt x="2521" y="2013"/>
                    </a:lnTo>
                    <a:lnTo>
                      <a:pt x="2521" y="2024"/>
                    </a:lnTo>
                    <a:lnTo>
                      <a:pt x="2504" y="2024"/>
                    </a:lnTo>
                    <a:lnTo>
                      <a:pt x="2513" y="2029"/>
                    </a:lnTo>
                    <a:lnTo>
                      <a:pt x="2513" y="2029"/>
                    </a:lnTo>
                    <a:lnTo>
                      <a:pt x="2513" y="2029"/>
                    </a:lnTo>
                    <a:close/>
                    <a:moveTo>
                      <a:pt x="2589" y="1958"/>
                    </a:moveTo>
                    <a:lnTo>
                      <a:pt x="2584" y="1958"/>
                    </a:lnTo>
                    <a:lnTo>
                      <a:pt x="2589" y="1951"/>
                    </a:lnTo>
                    <a:lnTo>
                      <a:pt x="2589" y="1958"/>
                    </a:lnTo>
                    <a:lnTo>
                      <a:pt x="2589" y="1958"/>
                    </a:lnTo>
                    <a:lnTo>
                      <a:pt x="2589" y="1958"/>
                    </a:lnTo>
                    <a:close/>
                    <a:moveTo>
                      <a:pt x="2542" y="1975"/>
                    </a:moveTo>
                    <a:lnTo>
                      <a:pt x="2542" y="1968"/>
                    </a:lnTo>
                    <a:lnTo>
                      <a:pt x="2551" y="1968"/>
                    </a:lnTo>
                    <a:lnTo>
                      <a:pt x="2542" y="1975"/>
                    </a:lnTo>
                    <a:lnTo>
                      <a:pt x="2542" y="1975"/>
                    </a:lnTo>
                    <a:lnTo>
                      <a:pt x="2542" y="1975"/>
                    </a:lnTo>
                    <a:close/>
                    <a:moveTo>
                      <a:pt x="2521" y="1996"/>
                    </a:moveTo>
                    <a:lnTo>
                      <a:pt x="2504" y="1984"/>
                    </a:lnTo>
                    <a:lnTo>
                      <a:pt x="2521" y="1984"/>
                    </a:lnTo>
                    <a:lnTo>
                      <a:pt x="2521" y="1996"/>
                    </a:lnTo>
                    <a:lnTo>
                      <a:pt x="2521" y="1996"/>
                    </a:lnTo>
                    <a:lnTo>
                      <a:pt x="2521" y="1996"/>
                    </a:lnTo>
                    <a:close/>
                    <a:moveTo>
                      <a:pt x="2513" y="1996"/>
                    </a:moveTo>
                    <a:lnTo>
                      <a:pt x="2504" y="1996"/>
                    </a:lnTo>
                    <a:lnTo>
                      <a:pt x="2513" y="1996"/>
                    </a:lnTo>
                    <a:lnTo>
                      <a:pt x="2513" y="1996"/>
                    </a:lnTo>
                    <a:lnTo>
                      <a:pt x="2513" y="1996"/>
                    </a:lnTo>
                    <a:close/>
                    <a:moveTo>
                      <a:pt x="2428" y="2095"/>
                    </a:moveTo>
                    <a:lnTo>
                      <a:pt x="2424" y="2086"/>
                    </a:lnTo>
                    <a:lnTo>
                      <a:pt x="2445" y="2086"/>
                    </a:lnTo>
                    <a:lnTo>
                      <a:pt x="2428" y="2095"/>
                    </a:lnTo>
                    <a:lnTo>
                      <a:pt x="2428" y="2095"/>
                    </a:lnTo>
                    <a:lnTo>
                      <a:pt x="2428" y="2095"/>
                    </a:lnTo>
                    <a:close/>
                    <a:moveTo>
                      <a:pt x="2483" y="2119"/>
                    </a:moveTo>
                    <a:lnTo>
                      <a:pt x="2476" y="2107"/>
                    </a:lnTo>
                    <a:lnTo>
                      <a:pt x="2476" y="2102"/>
                    </a:lnTo>
                    <a:lnTo>
                      <a:pt x="2499" y="2102"/>
                    </a:lnTo>
                    <a:lnTo>
                      <a:pt x="2499" y="2107"/>
                    </a:lnTo>
                    <a:lnTo>
                      <a:pt x="2488" y="2107"/>
                    </a:lnTo>
                    <a:lnTo>
                      <a:pt x="2483" y="2119"/>
                    </a:lnTo>
                    <a:lnTo>
                      <a:pt x="2483" y="2119"/>
                    </a:lnTo>
                    <a:lnTo>
                      <a:pt x="2483" y="2119"/>
                    </a:lnTo>
                    <a:close/>
                    <a:moveTo>
                      <a:pt x="2542" y="2124"/>
                    </a:moveTo>
                    <a:lnTo>
                      <a:pt x="2537" y="2119"/>
                    </a:lnTo>
                    <a:lnTo>
                      <a:pt x="2537" y="2107"/>
                    </a:lnTo>
                    <a:lnTo>
                      <a:pt x="2542" y="2107"/>
                    </a:lnTo>
                    <a:lnTo>
                      <a:pt x="2542" y="2124"/>
                    </a:lnTo>
                    <a:lnTo>
                      <a:pt x="2542" y="2124"/>
                    </a:lnTo>
                    <a:lnTo>
                      <a:pt x="2542" y="2124"/>
                    </a:lnTo>
                    <a:close/>
                    <a:moveTo>
                      <a:pt x="2504" y="2135"/>
                    </a:moveTo>
                    <a:lnTo>
                      <a:pt x="2504" y="2119"/>
                    </a:lnTo>
                    <a:lnTo>
                      <a:pt x="2513" y="2124"/>
                    </a:lnTo>
                    <a:lnTo>
                      <a:pt x="2504" y="2135"/>
                    </a:lnTo>
                    <a:lnTo>
                      <a:pt x="2504" y="2135"/>
                    </a:lnTo>
                    <a:lnTo>
                      <a:pt x="2504" y="2135"/>
                    </a:lnTo>
                    <a:close/>
                    <a:moveTo>
                      <a:pt x="2488" y="2140"/>
                    </a:moveTo>
                    <a:lnTo>
                      <a:pt x="2483" y="2135"/>
                    </a:lnTo>
                    <a:lnTo>
                      <a:pt x="2488" y="2135"/>
                    </a:lnTo>
                    <a:lnTo>
                      <a:pt x="2488" y="2140"/>
                    </a:lnTo>
                    <a:lnTo>
                      <a:pt x="2488" y="2140"/>
                    </a:lnTo>
                    <a:lnTo>
                      <a:pt x="2488" y="2140"/>
                    </a:lnTo>
                    <a:close/>
                    <a:moveTo>
                      <a:pt x="2462" y="2140"/>
                    </a:moveTo>
                    <a:lnTo>
                      <a:pt x="2462" y="2135"/>
                    </a:lnTo>
                    <a:lnTo>
                      <a:pt x="2466" y="2135"/>
                    </a:lnTo>
                    <a:lnTo>
                      <a:pt x="2462" y="2140"/>
                    </a:lnTo>
                    <a:lnTo>
                      <a:pt x="2462" y="2140"/>
                    </a:lnTo>
                    <a:lnTo>
                      <a:pt x="2462" y="2140"/>
                    </a:lnTo>
                    <a:close/>
                    <a:moveTo>
                      <a:pt x="2483" y="2152"/>
                    </a:moveTo>
                    <a:lnTo>
                      <a:pt x="2476" y="2140"/>
                    </a:lnTo>
                    <a:lnTo>
                      <a:pt x="2483" y="2135"/>
                    </a:lnTo>
                    <a:lnTo>
                      <a:pt x="2488" y="2140"/>
                    </a:lnTo>
                    <a:lnTo>
                      <a:pt x="2483" y="2152"/>
                    </a:lnTo>
                    <a:lnTo>
                      <a:pt x="2483" y="2152"/>
                    </a:lnTo>
                    <a:lnTo>
                      <a:pt x="2483" y="2152"/>
                    </a:lnTo>
                    <a:close/>
                    <a:moveTo>
                      <a:pt x="2504" y="2152"/>
                    </a:moveTo>
                    <a:lnTo>
                      <a:pt x="2499" y="2140"/>
                    </a:lnTo>
                    <a:lnTo>
                      <a:pt x="2504" y="2140"/>
                    </a:lnTo>
                    <a:lnTo>
                      <a:pt x="2504" y="2152"/>
                    </a:lnTo>
                    <a:lnTo>
                      <a:pt x="2504" y="2152"/>
                    </a:lnTo>
                    <a:lnTo>
                      <a:pt x="2504" y="2152"/>
                    </a:lnTo>
                    <a:close/>
                    <a:moveTo>
                      <a:pt x="2499" y="2152"/>
                    </a:moveTo>
                    <a:lnTo>
                      <a:pt x="2488" y="2152"/>
                    </a:lnTo>
                    <a:lnTo>
                      <a:pt x="2499" y="2140"/>
                    </a:lnTo>
                    <a:lnTo>
                      <a:pt x="2499" y="2152"/>
                    </a:lnTo>
                    <a:lnTo>
                      <a:pt x="2499" y="2152"/>
                    </a:lnTo>
                    <a:lnTo>
                      <a:pt x="2499" y="2152"/>
                    </a:lnTo>
                    <a:close/>
                    <a:moveTo>
                      <a:pt x="2537" y="2157"/>
                    </a:moveTo>
                    <a:lnTo>
                      <a:pt x="2537" y="2152"/>
                    </a:lnTo>
                    <a:lnTo>
                      <a:pt x="2542" y="2157"/>
                    </a:lnTo>
                    <a:lnTo>
                      <a:pt x="2537" y="2157"/>
                    </a:lnTo>
                    <a:lnTo>
                      <a:pt x="2537" y="2157"/>
                    </a:lnTo>
                    <a:lnTo>
                      <a:pt x="2537" y="2157"/>
                    </a:lnTo>
                    <a:close/>
                    <a:moveTo>
                      <a:pt x="2488" y="2157"/>
                    </a:moveTo>
                    <a:lnTo>
                      <a:pt x="2476" y="2152"/>
                    </a:lnTo>
                    <a:lnTo>
                      <a:pt x="2488" y="2152"/>
                    </a:lnTo>
                    <a:lnTo>
                      <a:pt x="2488" y="2157"/>
                    </a:lnTo>
                    <a:lnTo>
                      <a:pt x="2488" y="2157"/>
                    </a:lnTo>
                    <a:lnTo>
                      <a:pt x="2488" y="2157"/>
                    </a:lnTo>
                    <a:close/>
                    <a:moveTo>
                      <a:pt x="2504" y="2157"/>
                    </a:moveTo>
                    <a:lnTo>
                      <a:pt x="2499" y="2157"/>
                    </a:lnTo>
                    <a:lnTo>
                      <a:pt x="2504" y="2152"/>
                    </a:lnTo>
                    <a:lnTo>
                      <a:pt x="2504" y="2157"/>
                    </a:lnTo>
                    <a:lnTo>
                      <a:pt x="2504" y="2157"/>
                    </a:lnTo>
                    <a:lnTo>
                      <a:pt x="2504" y="2157"/>
                    </a:lnTo>
                    <a:close/>
                    <a:moveTo>
                      <a:pt x="2568" y="2190"/>
                    </a:moveTo>
                    <a:lnTo>
                      <a:pt x="2537" y="2206"/>
                    </a:lnTo>
                    <a:lnTo>
                      <a:pt x="2530" y="2197"/>
                    </a:lnTo>
                    <a:lnTo>
                      <a:pt x="2537" y="2190"/>
                    </a:lnTo>
                    <a:lnTo>
                      <a:pt x="2530" y="2190"/>
                    </a:lnTo>
                    <a:lnTo>
                      <a:pt x="2521" y="2180"/>
                    </a:lnTo>
                    <a:lnTo>
                      <a:pt x="2537" y="2173"/>
                    </a:lnTo>
                    <a:lnTo>
                      <a:pt x="2537" y="2157"/>
                    </a:lnTo>
                    <a:lnTo>
                      <a:pt x="2551" y="2157"/>
                    </a:lnTo>
                    <a:lnTo>
                      <a:pt x="2575" y="2161"/>
                    </a:lnTo>
                    <a:lnTo>
                      <a:pt x="2568" y="2180"/>
                    </a:lnTo>
                    <a:lnTo>
                      <a:pt x="2551" y="2173"/>
                    </a:lnTo>
                    <a:lnTo>
                      <a:pt x="2568" y="2180"/>
                    </a:lnTo>
                    <a:lnTo>
                      <a:pt x="2568" y="2190"/>
                    </a:lnTo>
                    <a:lnTo>
                      <a:pt x="2568" y="2190"/>
                    </a:lnTo>
                    <a:lnTo>
                      <a:pt x="2568" y="2190"/>
                    </a:lnTo>
                    <a:close/>
                    <a:moveTo>
                      <a:pt x="2488" y="2161"/>
                    </a:moveTo>
                    <a:lnTo>
                      <a:pt x="2488" y="2157"/>
                    </a:lnTo>
                    <a:lnTo>
                      <a:pt x="2499" y="2157"/>
                    </a:lnTo>
                    <a:lnTo>
                      <a:pt x="2488" y="2161"/>
                    </a:lnTo>
                    <a:lnTo>
                      <a:pt x="2488" y="2161"/>
                    </a:lnTo>
                    <a:lnTo>
                      <a:pt x="2488" y="2161"/>
                    </a:lnTo>
                    <a:close/>
                    <a:moveTo>
                      <a:pt x="2462" y="2173"/>
                    </a:moveTo>
                    <a:lnTo>
                      <a:pt x="2445" y="2161"/>
                    </a:lnTo>
                    <a:lnTo>
                      <a:pt x="2462" y="2157"/>
                    </a:lnTo>
                    <a:lnTo>
                      <a:pt x="2466" y="2161"/>
                    </a:lnTo>
                    <a:lnTo>
                      <a:pt x="2462" y="2173"/>
                    </a:lnTo>
                    <a:lnTo>
                      <a:pt x="2462" y="2173"/>
                    </a:lnTo>
                    <a:lnTo>
                      <a:pt x="2462" y="2173"/>
                    </a:lnTo>
                    <a:close/>
                    <a:moveTo>
                      <a:pt x="2483" y="2173"/>
                    </a:moveTo>
                    <a:lnTo>
                      <a:pt x="2476" y="2157"/>
                    </a:lnTo>
                    <a:lnTo>
                      <a:pt x="2488" y="2161"/>
                    </a:lnTo>
                    <a:lnTo>
                      <a:pt x="2488" y="2173"/>
                    </a:lnTo>
                    <a:lnTo>
                      <a:pt x="2483" y="2173"/>
                    </a:lnTo>
                    <a:lnTo>
                      <a:pt x="2483" y="2173"/>
                    </a:lnTo>
                    <a:lnTo>
                      <a:pt x="2483" y="2173"/>
                    </a:lnTo>
                    <a:close/>
                    <a:moveTo>
                      <a:pt x="2462" y="2173"/>
                    </a:moveTo>
                    <a:lnTo>
                      <a:pt x="2462" y="2161"/>
                    </a:lnTo>
                    <a:lnTo>
                      <a:pt x="2466" y="2161"/>
                    </a:lnTo>
                    <a:lnTo>
                      <a:pt x="2476" y="2173"/>
                    </a:lnTo>
                    <a:lnTo>
                      <a:pt x="2462" y="2173"/>
                    </a:lnTo>
                    <a:lnTo>
                      <a:pt x="2462" y="2173"/>
                    </a:lnTo>
                    <a:lnTo>
                      <a:pt x="2462" y="2173"/>
                    </a:lnTo>
                    <a:close/>
                    <a:moveTo>
                      <a:pt x="2504" y="2190"/>
                    </a:moveTo>
                    <a:lnTo>
                      <a:pt x="2499" y="2173"/>
                    </a:lnTo>
                    <a:lnTo>
                      <a:pt x="2504" y="2173"/>
                    </a:lnTo>
                    <a:lnTo>
                      <a:pt x="2513" y="2180"/>
                    </a:lnTo>
                    <a:lnTo>
                      <a:pt x="2504" y="2190"/>
                    </a:lnTo>
                    <a:lnTo>
                      <a:pt x="2504" y="2190"/>
                    </a:lnTo>
                    <a:lnTo>
                      <a:pt x="2504" y="2190"/>
                    </a:lnTo>
                    <a:close/>
                    <a:moveTo>
                      <a:pt x="2428" y="2180"/>
                    </a:moveTo>
                    <a:lnTo>
                      <a:pt x="2428" y="2173"/>
                    </a:lnTo>
                    <a:lnTo>
                      <a:pt x="2433" y="2173"/>
                    </a:lnTo>
                    <a:lnTo>
                      <a:pt x="2428" y="2180"/>
                    </a:lnTo>
                    <a:lnTo>
                      <a:pt x="2428" y="2180"/>
                    </a:lnTo>
                    <a:lnTo>
                      <a:pt x="2428" y="2180"/>
                    </a:lnTo>
                    <a:close/>
                    <a:moveTo>
                      <a:pt x="2466" y="2190"/>
                    </a:moveTo>
                    <a:lnTo>
                      <a:pt x="2462" y="2180"/>
                    </a:lnTo>
                    <a:lnTo>
                      <a:pt x="2483" y="2173"/>
                    </a:lnTo>
                    <a:lnTo>
                      <a:pt x="2488" y="2180"/>
                    </a:lnTo>
                    <a:lnTo>
                      <a:pt x="2466" y="2190"/>
                    </a:lnTo>
                    <a:lnTo>
                      <a:pt x="2466" y="2190"/>
                    </a:lnTo>
                    <a:lnTo>
                      <a:pt x="2466" y="2190"/>
                    </a:lnTo>
                    <a:close/>
                    <a:moveTo>
                      <a:pt x="2450" y="2180"/>
                    </a:moveTo>
                    <a:lnTo>
                      <a:pt x="2433" y="2180"/>
                    </a:lnTo>
                    <a:lnTo>
                      <a:pt x="2445" y="2173"/>
                    </a:lnTo>
                    <a:lnTo>
                      <a:pt x="2450" y="2180"/>
                    </a:lnTo>
                    <a:lnTo>
                      <a:pt x="2450" y="2180"/>
                    </a:lnTo>
                    <a:lnTo>
                      <a:pt x="2450" y="2180"/>
                    </a:lnTo>
                    <a:close/>
                    <a:moveTo>
                      <a:pt x="2462" y="2197"/>
                    </a:moveTo>
                    <a:lnTo>
                      <a:pt x="2445" y="2190"/>
                    </a:lnTo>
                    <a:lnTo>
                      <a:pt x="2450" y="2190"/>
                    </a:lnTo>
                    <a:lnTo>
                      <a:pt x="2462" y="2197"/>
                    </a:lnTo>
                    <a:lnTo>
                      <a:pt x="2462" y="2197"/>
                    </a:lnTo>
                    <a:lnTo>
                      <a:pt x="2462" y="2197"/>
                    </a:lnTo>
                    <a:close/>
                    <a:moveTo>
                      <a:pt x="2504" y="2197"/>
                    </a:moveTo>
                    <a:lnTo>
                      <a:pt x="2504" y="2190"/>
                    </a:lnTo>
                    <a:lnTo>
                      <a:pt x="2513" y="2190"/>
                    </a:lnTo>
                    <a:lnTo>
                      <a:pt x="2504" y="2197"/>
                    </a:lnTo>
                    <a:lnTo>
                      <a:pt x="2504" y="2197"/>
                    </a:lnTo>
                    <a:lnTo>
                      <a:pt x="2504" y="2197"/>
                    </a:lnTo>
                    <a:close/>
                    <a:moveTo>
                      <a:pt x="2499" y="2206"/>
                    </a:moveTo>
                    <a:lnTo>
                      <a:pt x="2488" y="2197"/>
                    </a:lnTo>
                    <a:lnTo>
                      <a:pt x="2488" y="2190"/>
                    </a:lnTo>
                    <a:lnTo>
                      <a:pt x="2499" y="2206"/>
                    </a:lnTo>
                    <a:lnTo>
                      <a:pt x="2499" y="2206"/>
                    </a:lnTo>
                    <a:lnTo>
                      <a:pt x="2499" y="2206"/>
                    </a:lnTo>
                    <a:close/>
                    <a:moveTo>
                      <a:pt x="2483" y="2197"/>
                    </a:moveTo>
                    <a:lnTo>
                      <a:pt x="2476" y="2197"/>
                    </a:lnTo>
                    <a:lnTo>
                      <a:pt x="2488" y="2190"/>
                    </a:lnTo>
                    <a:lnTo>
                      <a:pt x="2483" y="2197"/>
                    </a:lnTo>
                    <a:lnTo>
                      <a:pt x="2483" y="2197"/>
                    </a:lnTo>
                    <a:lnTo>
                      <a:pt x="2483" y="2197"/>
                    </a:lnTo>
                    <a:close/>
                    <a:moveTo>
                      <a:pt x="2407" y="2206"/>
                    </a:moveTo>
                    <a:lnTo>
                      <a:pt x="2407" y="2197"/>
                    </a:lnTo>
                    <a:lnTo>
                      <a:pt x="2407" y="2190"/>
                    </a:lnTo>
                    <a:lnTo>
                      <a:pt x="2412" y="2197"/>
                    </a:lnTo>
                    <a:lnTo>
                      <a:pt x="2407" y="2206"/>
                    </a:lnTo>
                    <a:lnTo>
                      <a:pt x="2407" y="2206"/>
                    </a:lnTo>
                    <a:lnTo>
                      <a:pt x="2407" y="2206"/>
                    </a:lnTo>
                    <a:close/>
                    <a:moveTo>
                      <a:pt x="2466" y="2213"/>
                    </a:moveTo>
                    <a:lnTo>
                      <a:pt x="2462" y="2213"/>
                    </a:lnTo>
                    <a:lnTo>
                      <a:pt x="2476" y="2197"/>
                    </a:lnTo>
                    <a:lnTo>
                      <a:pt x="2488" y="2206"/>
                    </a:lnTo>
                    <a:lnTo>
                      <a:pt x="2466" y="2213"/>
                    </a:lnTo>
                    <a:lnTo>
                      <a:pt x="2466" y="2213"/>
                    </a:lnTo>
                    <a:lnTo>
                      <a:pt x="2466" y="2213"/>
                    </a:lnTo>
                    <a:close/>
                    <a:moveTo>
                      <a:pt x="2504" y="2235"/>
                    </a:moveTo>
                    <a:lnTo>
                      <a:pt x="2466" y="2230"/>
                    </a:lnTo>
                    <a:lnTo>
                      <a:pt x="2466" y="2218"/>
                    </a:lnTo>
                    <a:lnTo>
                      <a:pt x="2499" y="2213"/>
                    </a:lnTo>
                    <a:lnTo>
                      <a:pt x="2504" y="2218"/>
                    </a:lnTo>
                    <a:lnTo>
                      <a:pt x="2504" y="2235"/>
                    </a:lnTo>
                    <a:lnTo>
                      <a:pt x="2504" y="2235"/>
                    </a:lnTo>
                    <a:lnTo>
                      <a:pt x="2504" y="2235"/>
                    </a:lnTo>
                    <a:close/>
                    <a:moveTo>
                      <a:pt x="2462" y="2235"/>
                    </a:moveTo>
                    <a:lnTo>
                      <a:pt x="2450" y="2230"/>
                    </a:lnTo>
                    <a:lnTo>
                      <a:pt x="2462" y="2218"/>
                    </a:lnTo>
                    <a:lnTo>
                      <a:pt x="2466" y="2230"/>
                    </a:lnTo>
                    <a:lnTo>
                      <a:pt x="2462" y="2235"/>
                    </a:lnTo>
                    <a:lnTo>
                      <a:pt x="2462" y="2235"/>
                    </a:lnTo>
                    <a:lnTo>
                      <a:pt x="2462" y="2235"/>
                    </a:lnTo>
                    <a:close/>
                    <a:moveTo>
                      <a:pt x="2483" y="2247"/>
                    </a:moveTo>
                    <a:lnTo>
                      <a:pt x="2476" y="2230"/>
                    </a:lnTo>
                    <a:lnTo>
                      <a:pt x="2483" y="2230"/>
                    </a:lnTo>
                    <a:lnTo>
                      <a:pt x="2499" y="2235"/>
                    </a:lnTo>
                    <a:lnTo>
                      <a:pt x="2483" y="2247"/>
                    </a:lnTo>
                    <a:lnTo>
                      <a:pt x="2483" y="2247"/>
                    </a:lnTo>
                    <a:lnTo>
                      <a:pt x="2483" y="2247"/>
                    </a:lnTo>
                    <a:close/>
                    <a:moveTo>
                      <a:pt x="2462" y="2247"/>
                    </a:moveTo>
                    <a:lnTo>
                      <a:pt x="2445" y="2235"/>
                    </a:lnTo>
                    <a:lnTo>
                      <a:pt x="2462" y="2235"/>
                    </a:lnTo>
                    <a:lnTo>
                      <a:pt x="2462" y="2247"/>
                    </a:lnTo>
                    <a:lnTo>
                      <a:pt x="2462" y="2247"/>
                    </a:lnTo>
                    <a:lnTo>
                      <a:pt x="2462" y="2247"/>
                    </a:lnTo>
                    <a:close/>
                    <a:moveTo>
                      <a:pt x="2488" y="2251"/>
                    </a:moveTo>
                    <a:lnTo>
                      <a:pt x="2483" y="2247"/>
                    </a:lnTo>
                    <a:lnTo>
                      <a:pt x="2499" y="2247"/>
                    </a:lnTo>
                    <a:lnTo>
                      <a:pt x="2488" y="2251"/>
                    </a:lnTo>
                    <a:lnTo>
                      <a:pt x="2488" y="2251"/>
                    </a:lnTo>
                    <a:lnTo>
                      <a:pt x="2488" y="2251"/>
                    </a:lnTo>
                    <a:close/>
                    <a:moveTo>
                      <a:pt x="2450" y="2263"/>
                    </a:moveTo>
                    <a:lnTo>
                      <a:pt x="2445" y="2263"/>
                    </a:lnTo>
                    <a:lnTo>
                      <a:pt x="2450" y="2247"/>
                    </a:lnTo>
                    <a:lnTo>
                      <a:pt x="2450" y="2263"/>
                    </a:lnTo>
                    <a:lnTo>
                      <a:pt x="2450" y="2263"/>
                    </a:lnTo>
                    <a:lnTo>
                      <a:pt x="2450" y="2263"/>
                    </a:lnTo>
                    <a:close/>
                    <a:moveTo>
                      <a:pt x="2476" y="2263"/>
                    </a:moveTo>
                    <a:lnTo>
                      <a:pt x="2483" y="2247"/>
                    </a:lnTo>
                    <a:lnTo>
                      <a:pt x="2499" y="2251"/>
                    </a:lnTo>
                    <a:lnTo>
                      <a:pt x="2499" y="2263"/>
                    </a:lnTo>
                    <a:lnTo>
                      <a:pt x="2483" y="2251"/>
                    </a:lnTo>
                    <a:lnTo>
                      <a:pt x="2476" y="2263"/>
                    </a:lnTo>
                    <a:lnTo>
                      <a:pt x="2476" y="2263"/>
                    </a:lnTo>
                    <a:lnTo>
                      <a:pt x="2476" y="2263"/>
                    </a:lnTo>
                    <a:close/>
                    <a:moveTo>
                      <a:pt x="2504" y="2272"/>
                    </a:moveTo>
                    <a:lnTo>
                      <a:pt x="2499" y="2268"/>
                    </a:lnTo>
                    <a:lnTo>
                      <a:pt x="2504" y="2251"/>
                    </a:lnTo>
                    <a:lnTo>
                      <a:pt x="2513" y="2251"/>
                    </a:lnTo>
                    <a:lnTo>
                      <a:pt x="2504" y="2272"/>
                    </a:lnTo>
                    <a:lnTo>
                      <a:pt x="2504" y="2272"/>
                    </a:lnTo>
                    <a:lnTo>
                      <a:pt x="2504" y="2272"/>
                    </a:lnTo>
                    <a:close/>
                    <a:moveTo>
                      <a:pt x="2450" y="2272"/>
                    </a:moveTo>
                    <a:lnTo>
                      <a:pt x="2450" y="2263"/>
                    </a:lnTo>
                    <a:lnTo>
                      <a:pt x="2462" y="2251"/>
                    </a:lnTo>
                    <a:lnTo>
                      <a:pt x="2466" y="2268"/>
                    </a:lnTo>
                    <a:lnTo>
                      <a:pt x="2450" y="2272"/>
                    </a:lnTo>
                    <a:lnTo>
                      <a:pt x="2450" y="2272"/>
                    </a:lnTo>
                    <a:lnTo>
                      <a:pt x="2450" y="2272"/>
                    </a:lnTo>
                    <a:close/>
                    <a:moveTo>
                      <a:pt x="2483" y="2272"/>
                    </a:moveTo>
                    <a:lnTo>
                      <a:pt x="2476" y="2263"/>
                    </a:lnTo>
                    <a:lnTo>
                      <a:pt x="2483" y="2263"/>
                    </a:lnTo>
                    <a:lnTo>
                      <a:pt x="2488" y="2268"/>
                    </a:lnTo>
                    <a:lnTo>
                      <a:pt x="2483" y="2272"/>
                    </a:lnTo>
                    <a:lnTo>
                      <a:pt x="2483" y="2272"/>
                    </a:lnTo>
                    <a:lnTo>
                      <a:pt x="2483" y="2272"/>
                    </a:lnTo>
                    <a:close/>
                    <a:moveTo>
                      <a:pt x="2433" y="2272"/>
                    </a:moveTo>
                    <a:lnTo>
                      <a:pt x="2433" y="2268"/>
                    </a:lnTo>
                    <a:lnTo>
                      <a:pt x="2445" y="2263"/>
                    </a:lnTo>
                    <a:lnTo>
                      <a:pt x="2445" y="2272"/>
                    </a:lnTo>
                    <a:lnTo>
                      <a:pt x="2433" y="2272"/>
                    </a:lnTo>
                    <a:lnTo>
                      <a:pt x="2433" y="2272"/>
                    </a:lnTo>
                    <a:lnTo>
                      <a:pt x="2433" y="2272"/>
                    </a:lnTo>
                    <a:close/>
                    <a:moveTo>
                      <a:pt x="2483" y="2289"/>
                    </a:moveTo>
                    <a:lnTo>
                      <a:pt x="2476" y="2284"/>
                    </a:lnTo>
                    <a:lnTo>
                      <a:pt x="2483" y="2272"/>
                    </a:lnTo>
                    <a:lnTo>
                      <a:pt x="2488" y="2284"/>
                    </a:lnTo>
                    <a:lnTo>
                      <a:pt x="2483" y="2289"/>
                    </a:lnTo>
                    <a:lnTo>
                      <a:pt x="2483" y="2289"/>
                    </a:lnTo>
                    <a:lnTo>
                      <a:pt x="2483" y="2289"/>
                    </a:lnTo>
                    <a:close/>
                    <a:moveTo>
                      <a:pt x="2488" y="2301"/>
                    </a:moveTo>
                    <a:lnTo>
                      <a:pt x="2488" y="2289"/>
                    </a:lnTo>
                    <a:lnTo>
                      <a:pt x="2504" y="2284"/>
                    </a:lnTo>
                    <a:lnTo>
                      <a:pt x="2504" y="2289"/>
                    </a:lnTo>
                    <a:lnTo>
                      <a:pt x="2488" y="2301"/>
                    </a:lnTo>
                    <a:lnTo>
                      <a:pt x="2488" y="2301"/>
                    </a:lnTo>
                    <a:lnTo>
                      <a:pt x="2488" y="2301"/>
                    </a:lnTo>
                    <a:close/>
                    <a:moveTo>
                      <a:pt x="2412" y="2308"/>
                    </a:moveTo>
                    <a:lnTo>
                      <a:pt x="2407" y="2301"/>
                    </a:lnTo>
                    <a:lnTo>
                      <a:pt x="2424" y="2301"/>
                    </a:lnTo>
                    <a:lnTo>
                      <a:pt x="2412" y="2301"/>
                    </a:lnTo>
                    <a:lnTo>
                      <a:pt x="2407" y="2289"/>
                    </a:lnTo>
                    <a:lnTo>
                      <a:pt x="2424" y="2289"/>
                    </a:lnTo>
                    <a:lnTo>
                      <a:pt x="2433" y="2284"/>
                    </a:lnTo>
                    <a:lnTo>
                      <a:pt x="2428" y="2301"/>
                    </a:lnTo>
                    <a:lnTo>
                      <a:pt x="2412" y="2308"/>
                    </a:lnTo>
                    <a:lnTo>
                      <a:pt x="2412" y="2308"/>
                    </a:lnTo>
                    <a:lnTo>
                      <a:pt x="2412" y="2308"/>
                    </a:lnTo>
                    <a:close/>
                    <a:moveTo>
                      <a:pt x="2504" y="2301"/>
                    </a:moveTo>
                    <a:lnTo>
                      <a:pt x="2499" y="2301"/>
                    </a:lnTo>
                    <a:lnTo>
                      <a:pt x="2499" y="2289"/>
                    </a:lnTo>
                    <a:lnTo>
                      <a:pt x="2504" y="2301"/>
                    </a:lnTo>
                    <a:lnTo>
                      <a:pt x="2504" y="2301"/>
                    </a:lnTo>
                    <a:lnTo>
                      <a:pt x="2504" y="2301"/>
                    </a:lnTo>
                    <a:close/>
                    <a:moveTo>
                      <a:pt x="2499" y="2317"/>
                    </a:moveTo>
                    <a:lnTo>
                      <a:pt x="2488" y="2301"/>
                    </a:lnTo>
                    <a:lnTo>
                      <a:pt x="2504" y="2308"/>
                    </a:lnTo>
                    <a:lnTo>
                      <a:pt x="2499" y="2317"/>
                    </a:lnTo>
                    <a:lnTo>
                      <a:pt x="2499" y="2317"/>
                    </a:lnTo>
                    <a:lnTo>
                      <a:pt x="2499" y="2317"/>
                    </a:lnTo>
                    <a:close/>
                    <a:moveTo>
                      <a:pt x="2476" y="2400"/>
                    </a:moveTo>
                    <a:lnTo>
                      <a:pt x="2476" y="2395"/>
                    </a:lnTo>
                    <a:lnTo>
                      <a:pt x="2488" y="2395"/>
                    </a:lnTo>
                    <a:lnTo>
                      <a:pt x="2476" y="2400"/>
                    </a:lnTo>
                    <a:lnTo>
                      <a:pt x="2476" y="2400"/>
                    </a:lnTo>
                    <a:lnTo>
                      <a:pt x="2476" y="2400"/>
                    </a:lnTo>
                    <a:close/>
                    <a:moveTo>
                      <a:pt x="2450" y="2400"/>
                    </a:moveTo>
                    <a:lnTo>
                      <a:pt x="2450" y="2395"/>
                    </a:lnTo>
                    <a:lnTo>
                      <a:pt x="2462" y="2395"/>
                    </a:lnTo>
                    <a:lnTo>
                      <a:pt x="2450" y="2400"/>
                    </a:lnTo>
                    <a:lnTo>
                      <a:pt x="2450" y="2400"/>
                    </a:lnTo>
                    <a:lnTo>
                      <a:pt x="2450" y="2400"/>
                    </a:lnTo>
                    <a:close/>
                    <a:moveTo>
                      <a:pt x="2412" y="2457"/>
                    </a:moveTo>
                    <a:lnTo>
                      <a:pt x="2407" y="2452"/>
                    </a:lnTo>
                    <a:lnTo>
                      <a:pt x="2424" y="2457"/>
                    </a:lnTo>
                    <a:lnTo>
                      <a:pt x="2412" y="2457"/>
                    </a:lnTo>
                    <a:lnTo>
                      <a:pt x="2412" y="2457"/>
                    </a:lnTo>
                    <a:lnTo>
                      <a:pt x="2412" y="2457"/>
                    </a:lnTo>
                    <a:close/>
                    <a:moveTo>
                      <a:pt x="2407" y="2469"/>
                    </a:moveTo>
                    <a:lnTo>
                      <a:pt x="2391" y="2457"/>
                    </a:lnTo>
                    <a:lnTo>
                      <a:pt x="2407" y="2452"/>
                    </a:lnTo>
                    <a:lnTo>
                      <a:pt x="2412" y="2469"/>
                    </a:lnTo>
                    <a:lnTo>
                      <a:pt x="2407" y="2469"/>
                    </a:lnTo>
                    <a:lnTo>
                      <a:pt x="2407" y="2469"/>
                    </a:lnTo>
                    <a:lnTo>
                      <a:pt x="2407" y="2469"/>
                    </a:lnTo>
                    <a:close/>
                    <a:moveTo>
                      <a:pt x="2462" y="2485"/>
                    </a:moveTo>
                    <a:lnTo>
                      <a:pt x="2450" y="2473"/>
                    </a:lnTo>
                    <a:lnTo>
                      <a:pt x="2466" y="2469"/>
                    </a:lnTo>
                    <a:lnTo>
                      <a:pt x="2499" y="2473"/>
                    </a:lnTo>
                    <a:lnTo>
                      <a:pt x="2488" y="2473"/>
                    </a:lnTo>
                    <a:lnTo>
                      <a:pt x="2462" y="2485"/>
                    </a:lnTo>
                    <a:lnTo>
                      <a:pt x="2462" y="2485"/>
                    </a:lnTo>
                    <a:lnTo>
                      <a:pt x="2462" y="2485"/>
                    </a:lnTo>
                    <a:close/>
                    <a:moveTo>
                      <a:pt x="2424" y="2490"/>
                    </a:moveTo>
                    <a:lnTo>
                      <a:pt x="2412" y="2485"/>
                    </a:lnTo>
                    <a:lnTo>
                      <a:pt x="2395" y="2485"/>
                    </a:lnTo>
                    <a:lnTo>
                      <a:pt x="2428" y="2469"/>
                    </a:lnTo>
                    <a:lnTo>
                      <a:pt x="2428" y="2485"/>
                    </a:lnTo>
                    <a:lnTo>
                      <a:pt x="2424" y="2490"/>
                    </a:lnTo>
                    <a:lnTo>
                      <a:pt x="2424" y="2490"/>
                    </a:lnTo>
                    <a:lnTo>
                      <a:pt x="2424" y="2490"/>
                    </a:lnTo>
                    <a:close/>
                    <a:moveTo>
                      <a:pt x="2395" y="2544"/>
                    </a:moveTo>
                    <a:lnTo>
                      <a:pt x="2395" y="2539"/>
                    </a:lnTo>
                    <a:lnTo>
                      <a:pt x="2391" y="2523"/>
                    </a:lnTo>
                    <a:lnTo>
                      <a:pt x="2374" y="2523"/>
                    </a:lnTo>
                    <a:lnTo>
                      <a:pt x="2391" y="2506"/>
                    </a:lnTo>
                    <a:lnTo>
                      <a:pt x="2374" y="2511"/>
                    </a:lnTo>
                    <a:lnTo>
                      <a:pt x="2374" y="2490"/>
                    </a:lnTo>
                    <a:lnTo>
                      <a:pt x="2379" y="2485"/>
                    </a:lnTo>
                    <a:lnTo>
                      <a:pt x="2391" y="2485"/>
                    </a:lnTo>
                    <a:lnTo>
                      <a:pt x="2407" y="2528"/>
                    </a:lnTo>
                    <a:lnTo>
                      <a:pt x="2407" y="2539"/>
                    </a:lnTo>
                    <a:lnTo>
                      <a:pt x="2395" y="2544"/>
                    </a:lnTo>
                    <a:lnTo>
                      <a:pt x="2395" y="2544"/>
                    </a:lnTo>
                    <a:lnTo>
                      <a:pt x="2395" y="2544"/>
                    </a:lnTo>
                    <a:close/>
                    <a:moveTo>
                      <a:pt x="2412" y="2523"/>
                    </a:moveTo>
                    <a:lnTo>
                      <a:pt x="2395" y="2490"/>
                    </a:lnTo>
                    <a:lnTo>
                      <a:pt x="2428" y="2495"/>
                    </a:lnTo>
                    <a:lnTo>
                      <a:pt x="2428" y="2511"/>
                    </a:lnTo>
                    <a:lnTo>
                      <a:pt x="2412" y="2523"/>
                    </a:lnTo>
                    <a:lnTo>
                      <a:pt x="2412" y="2523"/>
                    </a:lnTo>
                    <a:lnTo>
                      <a:pt x="2412" y="2523"/>
                    </a:lnTo>
                    <a:close/>
                    <a:moveTo>
                      <a:pt x="2445" y="2511"/>
                    </a:moveTo>
                    <a:lnTo>
                      <a:pt x="2445" y="2506"/>
                    </a:lnTo>
                    <a:lnTo>
                      <a:pt x="2445" y="2490"/>
                    </a:lnTo>
                    <a:lnTo>
                      <a:pt x="2462" y="2506"/>
                    </a:lnTo>
                    <a:lnTo>
                      <a:pt x="2445" y="2511"/>
                    </a:lnTo>
                    <a:lnTo>
                      <a:pt x="2445" y="2511"/>
                    </a:lnTo>
                    <a:lnTo>
                      <a:pt x="2445" y="2511"/>
                    </a:lnTo>
                    <a:close/>
                    <a:moveTo>
                      <a:pt x="2445" y="2544"/>
                    </a:moveTo>
                    <a:lnTo>
                      <a:pt x="2412" y="2539"/>
                    </a:lnTo>
                    <a:lnTo>
                      <a:pt x="2412" y="2528"/>
                    </a:lnTo>
                    <a:lnTo>
                      <a:pt x="2424" y="2523"/>
                    </a:lnTo>
                    <a:lnTo>
                      <a:pt x="2433" y="2523"/>
                    </a:lnTo>
                    <a:lnTo>
                      <a:pt x="2428" y="2511"/>
                    </a:lnTo>
                    <a:lnTo>
                      <a:pt x="2433" y="2490"/>
                    </a:lnTo>
                    <a:lnTo>
                      <a:pt x="2445" y="2523"/>
                    </a:lnTo>
                    <a:lnTo>
                      <a:pt x="2445" y="2539"/>
                    </a:lnTo>
                    <a:lnTo>
                      <a:pt x="2450" y="2539"/>
                    </a:lnTo>
                    <a:lnTo>
                      <a:pt x="2445" y="2544"/>
                    </a:lnTo>
                    <a:lnTo>
                      <a:pt x="2445" y="2544"/>
                    </a:lnTo>
                    <a:lnTo>
                      <a:pt x="2445" y="2544"/>
                    </a:lnTo>
                    <a:close/>
                    <a:moveTo>
                      <a:pt x="2466" y="2523"/>
                    </a:moveTo>
                    <a:lnTo>
                      <a:pt x="2450" y="2511"/>
                    </a:lnTo>
                    <a:lnTo>
                      <a:pt x="2462" y="2506"/>
                    </a:lnTo>
                    <a:lnTo>
                      <a:pt x="2466" y="2523"/>
                    </a:lnTo>
                    <a:lnTo>
                      <a:pt x="2466" y="2523"/>
                    </a:lnTo>
                    <a:lnTo>
                      <a:pt x="2466" y="2523"/>
                    </a:lnTo>
                    <a:close/>
                    <a:moveTo>
                      <a:pt x="2483" y="2528"/>
                    </a:moveTo>
                    <a:lnTo>
                      <a:pt x="2466" y="2511"/>
                    </a:lnTo>
                    <a:lnTo>
                      <a:pt x="2483" y="2523"/>
                    </a:lnTo>
                    <a:lnTo>
                      <a:pt x="2483" y="2528"/>
                    </a:lnTo>
                    <a:lnTo>
                      <a:pt x="2483" y="2528"/>
                    </a:lnTo>
                    <a:lnTo>
                      <a:pt x="2483" y="2528"/>
                    </a:lnTo>
                    <a:close/>
                    <a:moveTo>
                      <a:pt x="2450" y="2528"/>
                    </a:moveTo>
                    <a:lnTo>
                      <a:pt x="2450" y="2523"/>
                    </a:lnTo>
                    <a:lnTo>
                      <a:pt x="2466" y="2523"/>
                    </a:lnTo>
                    <a:lnTo>
                      <a:pt x="2450" y="2528"/>
                    </a:lnTo>
                    <a:lnTo>
                      <a:pt x="2450" y="2528"/>
                    </a:lnTo>
                    <a:lnTo>
                      <a:pt x="2450" y="2528"/>
                    </a:lnTo>
                    <a:close/>
                    <a:moveTo>
                      <a:pt x="2374" y="2544"/>
                    </a:moveTo>
                    <a:lnTo>
                      <a:pt x="2379" y="2539"/>
                    </a:lnTo>
                    <a:lnTo>
                      <a:pt x="2369" y="2539"/>
                    </a:lnTo>
                    <a:lnTo>
                      <a:pt x="2374" y="2523"/>
                    </a:lnTo>
                    <a:lnTo>
                      <a:pt x="2391" y="2523"/>
                    </a:lnTo>
                    <a:lnTo>
                      <a:pt x="2391" y="2539"/>
                    </a:lnTo>
                    <a:lnTo>
                      <a:pt x="2374" y="2544"/>
                    </a:lnTo>
                    <a:lnTo>
                      <a:pt x="2374" y="2544"/>
                    </a:lnTo>
                    <a:lnTo>
                      <a:pt x="2374" y="2544"/>
                    </a:lnTo>
                    <a:close/>
                    <a:moveTo>
                      <a:pt x="2407" y="2561"/>
                    </a:moveTo>
                    <a:lnTo>
                      <a:pt x="2395" y="2551"/>
                    </a:lnTo>
                    <a:lnTo>
                      <a:pt x="2412" y="2539"/>
                    </a:lnTo>
                    <a:lnTo>
                      <a:pt x="2407" y="2561"/>
                    </a:lnTo>
                    <a:lnTo>
                      <a:pt x="2407" y="2561"/>
                    </a:lnTo>
                    <a:lnTo>
                      <a:pt x="2407" y="2561"/>
                    </a:lnTo>
                    <a:close/>
                    <a:moveTo>
                      <a:pt x="2374" y="2551"/>
                    </a:moveTo>
                    <a:lnTo>
                      <a:pt x="2369" y="2544"/>
                    </a:lnTo>
                    <a:lnTo>
                      <a:pt x="2391" y="2539"/>
                    </a:lnTo>
                    <a:lnTo>
                      <a:pt x="2395" y="2544"/>
                    </a:lnTo>
                    <a:lnTo>
                      <a:pt x="2374" y="2551"/>
                    </a:lnTo>
                    <a:lnTo>
                      <a:pt x="2374" y="2551"/>
                    </a:lnTo>
                    <a:lnTo>
                      <a:pt x="2374" y="2551"/>
                    </a:lnTo>
                    <a:close/>
                    <a:moveTo>
                      <a:pt x="2412" y="2551"/>
                    </a:moveTo>
                    <a:lnTo>
                      <a:pt x="2412" y="2539"/>
                    </a:lnTo>
                    <a:lnTo>
                      <a:pt x="2428" y="2544"/>
                    </a:lnTo>
                    <a:lnTo>
                      <a:pt x="2412" y="2551"/>
                    </a:lnTo>
                    <a:lnTo>
                      <a:pt x="2412" y="2551"/>
                    </a:lnTo>
                    <a:lnTo>
                      <a:pt x="2412" y="2551"/>
                    </a:lnTo>
                    <a:close/>
                    <a:moveTo>
                      <a:pt x="2428" y="2672"/>
                    </a:moveTo>
                    <a:lnTo>
                      <a:pt x="2424" y="2662"/>
                    </a:lnTo>
                    <a:lnTo>
                      <a:pt x="2433" y="2662"/>
                    </a:lnTo>
                    <a:lnTo>
                      <a:pt x="2433" y="2655"/>
                    </a:lnTo>
                    <a:lnTo>
                      <a:pt x="2424" y="2662"/>
                    </a:lnTo>
                    <a:lnTo>
                      <a:pt x="2424" y="2639"/>
                    </a:lnTo>
                    <a:lnTo>
                      <a:pt x="2424" y="2622"/>
                    </a:lnTo>
                    <a:lnTo>
                      <a:pt x="2433" y="2606"/>
                    </a:lnTo>
                    <a:lnTo>
                      <a:pt x="2424" y="2622"/>
                    </a:lnTo>
                    <a:lnTo>
                      <a:pt x="2412" y="2622"/>
                    </a:lnTo>
                    <a:lnTo>
                      <a:pt x="2412" y="2655"/>
                    </a:lnTo>
                    <a:lnTo>
                      <a:pt x="2407" y="2655"/>
                    </a:lnTo>
                    <a:lnTo>
                      <a:pt x="2391" y="2634"/>
                    </a:lnTo>
                    <a:lnTo>
                      <a:pt x="2395" y="2617"/>
                    </a:lnTo>
                    <a:lnTo>
                      <a:pt x="2379" y="2617"/>
                    </a:lnTo>
                    <a:lnTo>
                      <a:pt x="2379" y="2601"/>
                    </a:lnTo>
                    <a:lnTo>
                      <a:pt x="2391" y="2601"/>
                    </a:lnTo>
                    <a:lnTo>
                      <a:pt x="2407" y="2617"/>
                    </a:lnTo>
                    <a:lnTo>
                      <a:pt x="2391" y="2601"/>
                    </a:lnTo>
                    <a:lnTo>
                      <a:pt x="2407" y="2606"/>
                    </a:lnTo>
                    <a:lnTo>
                      <a:pt x="2407" y="2596"/>
                    </a:lnTo>
                    <a:lnTo>
                      <a:pt x="2424" y="2601"/>
                    </a:lnTo>
                    <a:lnTo>
                      <a:pt x="2428" y="2584"/>
                    </a:lnTo>
                    <a:lnTo>
                      <a:pt x="2412" y="2561"/>
                    </a:lnTo>
                    <a:lnTo>
                      <a:pt x="2428" y="2544"/>
                    </a:lnTo>
                    <a:lnTo>
                      <a:pt x="2450" y="2544"/>
                    </a:lnTo>
                    <a:lnTo>
                      <a:pt x="2450" y="2601"/>
                    </a:lnTo>
                    <a:lnTo>
                      <a:pt x="2445" y="2639"/>
                    </a:lnTo>
                    <a:lnTo>
                      <a:pt x="2450" y="2634"/>
                    </a:lnTo>
                    <a:lnTo>
                      <a:pt x="2462" y="2639"/>
                    </a:lnTo>
                    <a:lnTo>
                      <a:pt x="2450" y="2662"/>
                    </a:lnTo>
                    <a:lnTo>
                      <a:pt x="2428" y="2672"/>
                    </a:lnTo>
                    <a:lnTo>
                      <a:pt x="2428" y="2672"/>
                    </a:lnTo>
                    <a:lnTo>
                      <a:pt x="2428" y="2672"/>
                    </a:lnTo>
                    <a:close/>
                    <a:moveTo>
                      <a:pt x="2395" y="2568"/>
                    </a:moveTo>
                    <a:lnTo>
                      <a:pt x="2391" y="2551"/>
                    </a:lnTo>
                    <a:lnTo>
                      <a:pt x="2407" y="2561"/>
                    </a:lnTo>
                    <a:lnTo>
                      <a:pt x="2412" y="2568"/>
                    </a:lnTo>
                    <a:lnTo>
                      <a:pt x="2395" y="2568"/>
                    </a:lnTo>
                    <a:lnTo>
                      <a:pt x="2395" y="2568"/>
                    </a:lnTo>
                    <a:lnTo>
                      <a:pt x="2395" y="2568"/>
                    </a:lnTo>
                    <a:close/>
                    <a:moveTo>
                      <a:pt x="2395" y="2584"/>
                    </a:moveTo>
                    <a:lnTo>
                      <a:pt x="2391" y="2568"/>
                    </a:lnTo>
                    <a:lnTo>
                      <a:pt x="2379" y="2580"/>
                    </a:lnTo>
                    <a:lnTo>
                      <a:pt x="2369" y="2561"/>
                    </a:lnTo>
                    <a:lnTo>
                      <a:pt x="2391" y="2561"/>
                    </a:lnTo>
                    <a:lnTo>
                      <a:pt x="2395" y="2580"/>
                    </a:lnTo>
                    <a:lnTo>
                      <a:pt x="2395" y="2584"/>
                    </a:lnTo>
                    <a:lnTo>
                      <a:pt x="2395" y="2584"/>
                    </a:lnTo>
                    <a:lnTo>
                      <a:pt x="2395" y="2584"/>
                    </a:lnTo>
                    <a:close/>
                    <a:moveTo>
                      <a:pt x="2374" y="2601"/>
                    </a:moveTo>
                    <a:lnTo>
                      <a:pt x="2369" y="2596"/>
                    </a:lnTo>
                    <a:lnTo>
                      <a:pt x="2391" y="2568"/>
                    </a:lnTo>
                    <a:lnTo>
                      <a:pt x="2395" y="2584"/>
                    </a:lnTo>
                    <a:lnTo>
                      <a:pt x="2374" y="2601"/>
                    </a:lnTo>
                    <a:lnTo>
                      <a:pt x="2374" y="2601"/>
                    </a:lnTo>
                    <a:lnTo>
                      <a:pt x="2374" y="2601"/>
                    </a:lnTo>
                    <a:close/>
                    <a:moveTo>
                      <a:pt x="2424" y="2601"/>
                    </a:moveTo>
                    <a:lnTo>
                      <a:pt x="2395" y="2584"/>
                    </a:lnTo>
                    <a:lnTo>
                      <a:pt x="2407" y="2580"/>
                    </a:lnTo>
                    <a:lnTo>
                      <a:pt x="2412" y="2580"/>
                    </a:lnTo>
                    <a:lnTo>
                      <a:pt x="2424" y="2584"/>
                    </a:lnTo>
                    <a:lnTo>
                      <a:pt x="2424" y="2601"/>
                    </a:lnTo>
                    <a:lnTo>
                      <a:pt x="2424" y="2601"/>
                    </a:lnTo>
                    <a:lnTo>
                      <a:pt x="2424" y="2601"/>
                    </a:lnTo>
                    <a:close/>
                    <a:moveTo>
                      <a:pt x="2450" y="2634"/>
                    </a:moveTo>
                    <a:lnTo>
                      <a:pt x="2450" y="2617"/>
                    </a:lnTo>
                    <a:lnTo>
                      <a:pt x="2466" y="2622"/>
                    </a:lnTo>
                    <a:lnTo>
                      <a:pt x="2450" y="2634"/>
                    </a:lnTo>
                    <a:lnTo>
                      <a:pt x="2450" y="2634"/>
                    </a:lnTo>
                    <a:lnTo>
                      <a:pt x="2450" y="2634"/>
                    </a:lnTo>
                    <a:close/>
                    <a:moveTo>
                      <a:pt x="2407" y="2655"/>
                    </a:moveTo>
                    <a:lnTo>
                      <a:pt x="2379" y="2650"/>
                    </a:lnTo>
                    <a:lnTo>
                      <a:pt x="2374" y="2650"/>
                    </a:lnTo>
                    <a:lnTo>
                      <a:pt x="2374" y="2634"/>
                    </a:lnTo>
                    <a:lnTo>
                      <a:pt x="2391" y="2634"/>
                    </a:lnTo>
                    <a:lnTo>
                      <a:pt x="2407" y="2655"/>
                    </a:lnTo>
                    <a:lnTo>
                      <a:pt x="2407" y="2655"/>
                    </a:lnTo>
                    <a:lnTo>
                      <a:pt x="2407" y="2655"/>
                    </a:lnTo>
                    <a:close/>
                    <a:moveTo>
                      <a:pt x="2412" y="2695"/>
                    </a:moveTo>
                    <a:lnTo>
                      <a:pt x="2395" y="2712"/>
                    </a:lnTo>
                    <a:lnTo>
                      <a:pt x="2391" y="2707"/>
                    </a:lnTo>
                    <a:lnTo>
                      <a:pt x="2395" y="2695"/>
                    </a:lnTo>
                    <a:lnTo>
                      <a:pt x="2379" y="2707"/>
                    </a:lnTo>
                    <a:lnTo>
                      <a:pt x="2391" y="2679"/>
                    </a:lnTo>
                    <a:lnTo>
                      <a:pt x="2407" y="2688"/>
                    </a:lnTo>
                    <a:lnTo>
                      <a:pt x="2391" y="2672"/>
                    </a:lnTo>
                    <a:lnTo>
                      <a:pt x="2407" y="2672"/>
                    </a:lnTo>
                    <a:lnTo>
                      <a:pt x="2412" y="2679"/>
                    </a:lnTo>
                    <a:lnTo>
                      <a:pt x="2412" y="2688"/>
                    </a:lnTo>
                    <a:lnTo>
                      <a:pt x="2428" y="2679"/>
                    </a:lnTo>
                    <a:lnTo>
                      <a:pt x="2428" y="2688"/>
                    </a:lnTo>
                    <a:lnTo>
                      <a:pt x="2412" y="2695"/>
                    </a:lnTo>
                    <a:lnTo>
                      <a:pt x="2412" y="2695"/>
                    </a:lnTo>
                    <a:lnTo>
                      <a:pt x="2412" y="2695"/>
                    </a:lnTo>
                    <a:close/>
                    <a:moveTo>
                      <a:pt x="2428" y="2712"/>
                    </a:moveTo>
                    <a:lnTo>
                      <a:pt x="2428" y="2707"/>
                    </a:lnTo>
                    <a:lnTo>
                      <a:pt x="2445" y="2707"/>
                    </a:lnTo>
                    <a:lnTo>
                      <a:pt x="2428" y="2712"/>
                    </a:lnTo>
                    <a:lnTo>
                      <a:pt x="2428" y="2712"/>
                    </a:lnTo>
                    <a:lnTo>
                      <a:pt x="2428" y="2712"/>
                    </a:lnTo>
                    <a:close/>
                    <a:moveTo>
                      <a:pt x="2466" y="2745"/>
                    </a:moveTo>
                    <a:lnTo>
                      <a:pt x="2445" y="2728"/>
                    </a:lnTo>
                    <a:lnTo>
                      <a:pt x="2450" y="2717"/>
                    </a:lnTo>
                    <a:lnTo>
                      <a:pt x="2433" y="2712"/>
                    </a:lnTo>
                    <a:lnTo>
                      <a:pt x="2445" y="2707"/>
                    </a:lnTo>
                    <a:lnTo>
                      <a:pt x="2462" y="2712"/>
                    </a:lnTo>
                    <a:lnTo>
                      <a:pt x="2476" y="2745"/>
                    </a:lnTo>
                    <a:lnTo>
                      <a:pt x="2466" y="2745"/>
                    </a:lnTo>
                    <a:lnTo>
                      <a:pt x="2466" y="2745"/>
                    </a:lnTo>
                    <a:lnTo>
                      <a:pt x="2466" y="2745"/>
                    </a:lnTo>
                    <a:close/>
                    <a:moveTo>
                      <a:pt x="2391" y="2745"/>
                    </a:moveTo>
                    <a:lnTo>
                      <a:pt x="2374" y="2728"/>
                    </a:lnTo>
                    <a:lnTo>
                      <a:pt x="2391" y="2728"/>
                    </a:lnTo>
                    <a:lnTo>
                      <a:pt x="2379" y="2712"/>
                    </a:lnTo>
                    <a:lnTo>
                      <a:pt x="2407" y="2712"/>
                    </a:lnTo>
                    <a:lnTo>
                      <a:pt x="2395" y="2717"/>
                    </a:lnTo>
                    <a:lnTo>
                      <a:pt x="2391" y="2745"/>
                    </a:lnTo>
                    <a:lnTo>
                      <a:pt x="2391" y="2745"/>
                    </a:lnTo>
                    <a:lnTo>
                      <a:pt x="2391" y="2745"/>
                    </a:lnTo>
                    <a:close/>
                    <a:moveTo>
                      <a:pt x="2433" y="2717"/>
                    </a:moveTo>
                    <a:lnTo>
                      <a:pt x="2433" y="2712"/>
                    </a:lnTo>
                    <a:lnTo>
                      <a:pt x="2445" y="2717"/>
                    </a:lnTo>
                    <a:lnTo>
                      <a:pt x="2433" y="2717"/>
                    </a:lnTo>
                    <a:lnTo>
                      <a:pt x="2433" y="2717"/>
                    </a:lnTo>
                    <a:lnTo>
                      <a:pt x="2433" y="2717"/>
                    </a:lnTo>
                    <a:close/>
                    <a:moveTo>
                      <a:pt x="2412" y="2745"/>
                    </a:moveTo>
                    <a:lnTo>
                      <a:pt x="2407" y="2733"/>
                    </a:lnTo>
                    <a:lnTo>
                      <a:pt x="2412" y="2728"/>
                    </a:lnTo>
                    <a:lnTo>
                      <a:pt x="2412" y="2745"/>
                    </a:lnTo>
                    <a:lnTo>
                      <a:pt x="2412" y="2745"/>
                    </a:lnTo>
                    <a:lnTo>
                      <a:pt x="2412" y="2745"/>
                    </a:lnTo>
                    <a:close/>
                    <a:moveTo>
                      <a:pt x="2433" y="2750"/>
                    </a:moveTo>
                    <a:lnTo>
                      <a:pt x="2424" y="2750"/>
                    </a:lnTo>
                    <a:lnTo>
                      <a:pt x="2424" y="2733"/>
                    </a:lnTo>
                    <a:lnTo>
                      <a:pt x="2428" y="2733"/>
                    </a:lnTo>
                    <a:lnTo>
                      <a:pt x="2433" y="2750"/>
                    </a:lnTo>
                    <a:lnTo>
                      <a:pt x="2433" y="2750"/>
                    </a:lnTo>
                    <a:lnTo>
                      <a:pt x="2433" y="2750"/>
                    </a:lnTo>
                    <a:close/>
                    <a:moveTo>
                      <a:pt x="2433" y="2773"/>
                    </a:moveTo>
                    <a:lnTo>
                      <a:pt x="2424" y="2766"/>
                    </a:lnTo>
                    <a:lnTo>
                      <a:pt x="2424" y="2750"/>
                    </a:lnTo>
                    <a:lnTo>
                      <a:pt x="2445" y="2750"/>
                    </a:lnTo>
                    <a:lnTo>
                      <a:pt x="2433" y="2733"/>
                    </a:lnTo>
                    <a:lnTo>
                      <a:pt x="2462" y="2745"/>
                    </a:lnTo>
                    <a:lnTo>
                      <a:pt x="2462" y="2766"/>
                    </a:lnTo>
                    <a:lnTo>
                      <a:pt x="2450" y="2761"/>
                    </a:lnTo>
                    <a:lnTo>
                      <a:pt x="2433" y="2773"/>
                    </a:lnTo>
                    <a:lnTo>
                      <a:pt x="2433" y="2773"/>
                    </a:lnTo>
                    <a:lnTo>
                      <a:pt x="2433" y="2773"/>
                    </a:lnTo>
                    <a:close/>
                    <a:moveTo>
                      <a:pt x="2466" y="2783"/>
                    </a:moveTo>
                    <a:lnTo>
                      <a:pt x="2462" y="2750"/>
                    </a:lnTo>
                    <a:lnTo>
                      <a:pt x="2476" y="2783"/>
                    </a:lnTo>
                    <a:lnTo>
                      <a:pt x="2466" y="2783"/>
                    </a:lnTo>
                    <a:lnTo>
                      <a:pt x="2466" y="2783"/>
                    </a:lnTo>
                    <a:lnTo>
                      <a:pt x="2466" y="2783"/>
                    </a:lnTo>
                    <a:close/>
                    <a:moveTo>
                      <a:pt x="2450" y="2783"/>
                    </a:moveTo>
                    <a:lnTo>
                      <a:pt x="2445" y="2766"/>
                    </a:lnTo>
                    <a:lnTo>
                      <a:pt x="2450" y="2766"/>
                    </a:lnTo>
                    <a:lnTo>
                      <a:pt x="2462" y="2773"/>
                    </a:lnTo>
                    <a:lnTo>
                      <a:pt x="2450" y="2783"/>
                    </a:lnTo>
                    <a:lnTo>
                      <a:pt x="2450" y="2783"/>
                    </a:lnTo>
                    <a:lnTo>
                      <a:pt x="2450" y="2783"/>
                    </a:lnTo>
                    <a:close/>
                    <a:moveTo>
                      <a:pt x="2412" y="2773"/>
                    </a:moveTo>
                    <a:lnTo>
                      <a:pt x="2424" y="2766"/>
                    </a:lnTo>
                    <a:lnTo>
                      <a:pt x="2424" y="2773"/>
                    </a:lnTo>
                    <a:lnTo>
                      <a:pt x="2412" y="2773"/>
                    </a:lnTo>
                    <a:lnTo>
                      <a:pt x="2412" y="2773"/>
                    </a:lnTo>
                    <a:lnTo>
                      <a:pt x="2412" y="2773"/>
                    </a:lnTo>
                    <a:close/>
                    <a:moveTo>
                      <a:pt x="2412" y="2806"/>
                    </a:moveTo>
                    <a:lnTo>
                      <a:pt x="2428" y="2790"/>
                    </a:lnTo>
                    <a:lnTo>
                      <a:pt x="2424" y="2790"/>
                    </a:lnTo>
                    <a:lnTo>
                      <a:pt x="2428" y="2783"/>
                    </a:lnTo>
                    <a:lnTo>
                      <a:pt x="2445" y="2783"/>
                    </a:lnTo>
                    <a:lnTo>
                      <a:pt x="2445" y="2790"/>
                    </a:lnTo>
                    <a:lnTo>
                      <a:pt x="2445" y="2799"/>
                    </a:lnTo>
                    <a:lnTo>
                      <a:pt x="2433" y="2790"/>
                    </a:lnTo>
                    <a:lnTo>
                      <a:pt x="2412" y="2806"/>
                    </a:lnTo>
                    <a:lnTo>
                      <a:pt x="2412" y="2806"/>
                    </a:lnTo>
                    <a:lnTo>
                      <a:pt x="2412" y="2806"/>
                    </a:lnTo>
                    <a:close/>
                    <a:moveTo>
                      <a:pt x="2483" y="2799"/>
                    </a:moveTo>
                    <a:lnTo>
                      <a:pt x="2476" y="2783"/>
                    </a:lnTo>
                    <a:lnTo>
                      <a:pt x="2488" y="2783"/>
                    </a:lnTo>
                    <a:lnTo>
                      <a:pt x="2488" y="2790"/>
                    </a:lnTo>
                    <a:lnTo>
                      <a:pt x="2483" y="2799"/>
                    </a:lnTo>
                    <a:lnTo>
                      <a:pt x="2483" y="2799"/>
                    </a:lnTo>
                    <a:lnTo>
                      <a:pt x="2483" y="2799"/>
                    </a:lnTo>
                    <a:close/>
                    <a:moveTo>
                      <a:pt x="2499" y="2799"/>
                    </a:moveTo>
                    <a:lnTo>
                      <a:pt x="2488" y="2790"/>
                    </a:lnTo>
                    <a:lnTo>
                      <a:pt x="2499" y="2783"/>
                    </a:lnTo>
                    <a:lnTo>
                      <a:pt x="2499" y="2799"/>
                    </a:lnTo>
                    <a:lnTo>
                      <a:pt x="2499" y="2799"/>
                    </a:lnTo>
                    <a:lnTo>
                      <a:pt x="2499" y="2799"/>
                    </a:lnTo>
                    <a:close/>
                    <a:moveTo>
                      <a:pt x="2391" y="2823"/>
                    </a:moveTo>
                    <a:lnTo>
                      <a:pt x="2395" y="2790"/>
                    </a:lnTo>
                    <a:lnTo>
                      <a:pt x="2412" y="2790"/>
                    </a:lnTo>
                    <a:lnTo>
                      <a:pt x="2407" y="2816"/>
                    </a:lnTo>
                    <a:lnTo>
                      <a:pt x="2391" y="2823"/>
                    </a:lnTo>
                    <a:lnTo>
                      <a:pt x="2391" y="2823"/>
                    </a:lnTo>
                    <a:lnTo>
                      <a:pt x="2391" y="2823"/>
                    </a:lnTo>
                    <a:close/>
                    <a:moveTo>
                      <a:pt x="2476" y="2806"/>
                    </a:moveTo>
                    <a:lnTo>
                      <a:pt x="2466" y="2799"/>
                    </a:lnTo>
                    <a:lnTo>
                      <a:pt x="2466" y="2790"/>
                    </a:lnTo>
                    <a:lnTo>
                      <a:pt x="2476" y="2790"/>
                    </a:lnTo>
                    <a:lnTo>
                      <a:pt x="2476" y="2806"/>
                    </a:lnTo>
                    <a:lnTo>
                      <a:pt x="2476" y="2806"/>
                    </a:lnTo>
                    <a:lnTo>
                      <a:pt x="2476" y="2806"/>
                    </a:lnTo>
                    <a:close/>
                    <a:moveTo>
                      <a:pt x="2483" y="2839"/>
                    </a:moveTo>
                    <a:lnTo>
                      <a:pt x="2466" y="2828"/>
                    </a:lnTo>
                    <a:lnTo>
                      <a:pt x="2476" y="2816"/>
                    </a:lnTo>
                    <a:lnTo>
                      <a:pt x="2488" y="2828"/>
                    </a:lnTo>
                    <a:lnTo>
                      <a:pt x="2483" y="2839"/>
                    </a:lnTo>
                    <a:lnTo>
                      <a:pt x="2483" y="2839"/>
                    </a:lnTo>
                    <a:lnTo>
                      <a:pt x="2483" y="2839"/>
                    </a:lnTo>
                    <a:close/>
                    <a:moveTo>
                      <a:pt x="2412" y="2872"/>
                    </a:moveTo>
                    <a:lnTo>
                      <a:pt x="2412" y="2856"/>
                    </a:lnTo>
                    <a:lnTo>
                      <a:pt x="2424" y="2839"/>
                    </a:lnTo>
                    <a:lnTo>
                      <a:pt x="2428" y="2839"/>
                    </a:lnTo>
                    <a:lnTo>
                      <a:pt x="2424" y="2823"/>
                    </a:lnTo>
                    <a:lnTo>
                      <a:pt x="2428" y="2823"/>
                    </a:lnTo>
                    <a:lnTo>
                      <a:pt x="2428" y="2839"/>
                    </a:lnTo>
                    <a:lnTo>
                      <a:pt x="2412" y="2872"/>
                    </a:lnTo>
                    <a:lnTo>
                      <a:pt x="2412" y="2872"/>
                    </a:lnTo>
                    <a:lnTo>
                      <a:pt x="2412" y="2872"/>
                    </a:lnTo>
                    <a:close/>
                    <a:moveTo>
                      <a:pt x="2499" y="2839"/>
                    </a:moveTo>
                    <a:lnTo>
                      <a:pt x="2488" y="2823"/>
                    </a:lnTo>
                    <a:lnTo>
                      <a:pt x="2499" y="2828"/>
                    </a:lnTo>
                    <a:lnTo>
                      <a:pt x="2499" y="2839"/>
                    </a:lnTo>
                    <a:lnTo>
                      <a:pt x="2499" y="2839"/>
                    </a:lnTo>
                    <a:lnTo>
                      <a:pt x="2499" y="2839"/>
                    </a:lnTo>
                    <a:close/>
                    <a:moveTo>
                      <a:pt x="2476" y="2856"/>
                    </a:moveTo>
                    <a:lnTo>
                      <a:pt x="2462" y="2844"/>
                    </a:lnTo>
                    <a:lnTo>
                      <a:pt x="2450" y="2828"/>
                    </a:lnTo>
                    <a:lnTo>
                      <a:pt x="2476" y="2844"/>
                    </a:lnTo>
                    <a:lnTo>
                      <a:pt x="2476" y="2856"/>
                    </a:lnTo>
                    <a:lnTo>
                      <a:pt x="2476" y="2856"/>
                    </a:lnTo>
                    <a:lnTo>
                      <a:pt x="2476" y="2856"/>
                    </a:lnTo>
                    <a:close/>
                    <a:moveTo>
                      <a:pt x="2407" y="2844"/>
                    </a:moveTo>
                    <a:lnTo>
                      <a:pt x="2412" y="2828"/>
                    </a:lnTo>
                    <a:lnTo>
                      <a:pt x="2407" y="2844"/>
                    </a:lnTo>
                    <a:lnTo>
                      <a:pt x="2407" y="2844"/>
                    </a:lnTo>
                    <a:lnTo>
                      <a:pt x="2407" y="2844"/>
                    </a:lnTo>
                    <a:close/>
                    <a:moveTo>
                      <a:pt x="2424" y="2872"/>
                    </a:moveTo>
                    <a:lnTo>
                      <a:pt x="2428" y="2839"/>
                    </a:lnTo>
                    <a:lnTo>
                      <a:pt x="2445" y="2839"/>
                    </a:lnTo>
                    <a:lnTo>
                      <a:pt x="2424" y="2872"/>
                    </a:lnTo>
                    <a:lnTo>
                      <a:pt x="2424" y="2872"/>
                    </a:lnTo>
                    <a:lnTo>
                      <a:pt x="2424" y="2872"/>
                    </a:lnTo>
                    <a:close/>
                    <a:moveTo>
                      <a:pt x="2504" y="2877"/>
                    </a:moveTo>
                    <a:lnTo>
                      <a:pt x="2476" y="2856"/>
                    </a:lnTo>
                    <a:lnTo>
                      <a:pt x="2476" y="2844"/>
                    </a:lnTo>
                    <a:lnTo>
                      <a:pt x="2499" y="2861"/>
                    </a:lnTo>
                    <a:lnTo>
                      <a:pt x="2504" y="2877"/>
                    </a:lnTo>
                    <a:lnTo>
                      <a:pt x="2504" y="2877"/>
                    </a:lnTo>
                    <a:lnTo>
                      <a:pt x="2504" y="2877"/>
                    </a:lnTo>
                    <a:close/>
                    <a:moveTo>
                      <a:pt x="2428" y="2877"/>
                    </a:moveTo>
                    <a:lnTo>
                      <a:pt x="2428" y="2872"/>
                    </a:lnTo>
                    <a:lnTo>
                      <a:pt x="2445" y="2861"/>
                    </a:lnTo>
                    <a:lnTo>
                      <a:pt x="2428" y="2877"/>
                    </a:lnTo>
                    <a:lnTo>
                      <a:pt x="2428" y="2877"/>
                    </a:lnTo>
                    <a:lnTo>
                      <a:pt x="2428" y="2877"/>
                    </a:lnTo>
                    <a:close/>
                    <a:moveTo>
                      <a:pt x="2476" y="2894"/>
                    </a:moveTo>
                    <a:lnTo>
                      <a:pt x="2466" y="2877"/>
                    </a:lnTo>
                    <a:lnTo>
                      <a:pt x="2476" y="2877"/>
                    </a:lnTo>
                    <a:lnTo>
                      <a:pt x="2450" y="2872"/>
                    </a:lnTo>
                    <a:lnTo>
                      <a:pt x="2466" y="2861"/>
                    </a:lnTo>
                    <a:lnTo>
                      <a:pt x="2488" y="2884"/>
                    </a:lnTo>
                    <a:lnTo>
                      <a:pt x="2476" y="2894"/>
                    </a:lnTo>
                    <a:lnTo>
                      <a:pt x="2476" y="2894"/>
                    </a:lnTo>
                    <a:lnTo>
                      <a:pt x="2476" y="2894"/>
                    </a:lnTo>
                    <a:close/>
                    <a:moveTo>
                      <a:pt x="2499" y="2894"/>
                    </a:moveTo>
                    <a:lnTo>
                      <a:pt x="2476" y="2872"/>
                    </a:lnTo>
                    <a:lnTo>
                      <a:pt x="2499" y="2884"/>
                    </a:lnTo>
                    <a:lnTo>
                      <a:pt x="2504" y="2894"/>
                    </a:lnTo>
                    <a:lnTo>
                      <a:pt x="2499" y="2894"/>
                    </a:lnTo>
                    <a:lnTo>
                      <a:pt x="2499" y="2894"/>
                    </a:lnTo>
                    <a:lnTo>
                      <a:pt x="2499" y="2894"/>
                    </a:lnTo>
                    <a:close/>
                    <a:moveTo>
                      <a:pt x="2428" y="2884"/>
                    </a:moveTo>
                    <a:lnTo>
                      <a:pt x="2428" y="2877"/>
                    </a:lnTo>
                    <a:lnTo>
                      <a:pt x="2445" y="2877"/>
                    </a:lnTo>
                    <a:lnTo>
                      <a:pt x="2428" y="2884"/>
                    </a:lnTo>
                    <a:lnTo>
                      <a:pt x="2428" y="2884"/>
                    </a:lnTo>
                    <a:lnTo>
                      <a:pt x="2428" y="2884"/>
                    </a:lnTo>
                    <a:close/>
                    <a:moveTo>
                      <a:pt x="2488" y="2927"/>
                    </a:moveTo>
                    <a:lnTo>
                      <a:pt x="2483" y="2910"/>
                    </a:lnTo>
                    <a:lnTo>
                      <a:pt x="2504" y="2894"/>
                    </a:lnTo>
                    <a:lnTo>
                      <a:pt x="2504" y="2901"/>
                    </a:lnTo>
                    <a:lnTo>
                      <a:pt x="2504" y="2917"/>
                    </a:lnTo>
                    <a:lnTo>
                      <a:pt x="2488" y="2927"/>
                    </a:lnTo>
                    <a:lnTo>
                      <a:pt x="2488" y="2927"/>
                    </a:lnTo>
                    <a:lnTo>
                      <a:pt x="2488" y="2927"/>
                    </a:lnTo>
                    <a:close/>
                    <a:moveTo>
                      <a:pt x="2861" y="2917"/>
                    </a:moveTo>
                    <a:lnTo>
                      <a:pt x="2861" y="3132"/>
                    </a:lnTo>
                    <a:lnTo>
                      <a:pt x="2861" y="3139"/>
                    </a:lnTo>
                    <a:lnTo>
                      <a:pt x="2844" y="3132"/>
                    </a:lnTo>
                    <a:lnTo>
                      <a:pt x="2854" y="3139"/>
                    </a:lnTo>
                    <a:lnTo>
                      <a:pt x="2828" y="3149"/>
                    </a:lnTo>
                    <a:lnTo>
                      <a:pt x="2790" y="3132"/>
                    </a:lnTo>
                    <a:lnTo>
                      <a:pt x="2790" y="3123"/>
                    </a:lnTo>
                    <a:lnTo>
                      <a:pt x="2785" y="3132"/>
                    </a:lnTo>
                    <a:lnTo>
                      <a:pt x="2747" y="3139"/>
                    </a:lnTo>
                    <a:lnTo>
                      <a:pt x="2747" y="3132"/>
                    </a:lnTo>
                    <a:lnTo>
                      <a:pt x="2747" y="3123"/>
                    </a:lnTo>
                    <a:lnTo>
                      <a:pt x="2736" y="3132"/>
                    </a:lnTo>
                    <a:lnTo>
                      <a:pt x="2714" y="3139"/>
                    </a:lnTo>
                    <a:lnTo>
                      <a:pt x="2702" y="3132"/>
                    </a:lnTo>
                    <a:lnTo>
                      <a:pt x="2731" y="3116"/>
                    </a:lnTo>
                    <a:lnTo>
                      <a:pt x="2693" y="3132"/>
                    </a:lnTo>
                    <a:lnTo>
                      <a:pt x="2698" y="3116"/>
                    </a:lnTo>
                    <a:lnTo>
                      <a:pt x="2676" y="3123"/>
                    </a:lnTo>
                    <a:lnTo>
                      <a:pt x="2665" y="3106"/>
                    </a:lnTo>
                    <a:lnTo>
                      <a:pt x="2660" y="3123"/>
                    </a:lnTo>
                    <a:lnTo>
                      <a:pt x="2643" y="3116"/>
                    </a:lnTo>
                    <a:lnTo>
                      <a:pt x="2627" y="3116"/>
                    </a:lnTo>
                    <a:lnTo>
                      <a:pt x="2622" y="3099"/>
                    </a:lnTo>
                    <a:lnTo>
                      <a:pt x="2627" y="3099"/>
                    </a:lnTo>
                    <a:lnTo>
                      <a:pt x="2643" y="3106"/>
                    </a:lnTo>
                    <a:lnTo>
                      <a:pt x="2651" y="3106"/>
                    </a:lnTo>
                    <a:lnTo>
                      <a:pt x="2639" y="3095"/>
                    </a:lnTo>
                    <a:lnTo>
                      <a:pt x="2643" y="3095"/>
                    </a:lnTo>
                    <a:lnTo>
                      <a:pt x="2651" y="3099"/>
                    </a:lnTo>
                    <a:lnTo>
                      <a:pt x="2660" y="3099"/>
                    </a:lnTo>
                    <a:lnTo>
                      <a:pt x="2651" y="3095"/>
                    </a:lnTo>
                    <a:lnTo>
                      <a:pt x="2665" y="3095"/>
                    </a:lnTo>
                    <a:lnTo>
                      <a:pt x="2698" y="3099"/>
                    </a:lnTo>
                    <a:lnTo>
                      <a:pt x="2698" y="3083"/>
                    </a:lnTo>
                    <a:lnTo>
                      <a:pt x="2702" y="3083"/>
                    </a:lnTo>
                    <a:lnTo>
                      <a:pt x="2719" y="3083"/>
                    </a:lnTo>
                    <a:lnTo>
                      <a:pt x="2714" y="3106"/>
                    </a:lnTo>
                    <a:lnTo>
                      <a:pt x="2719" y="3116"/>
                    </a:lnTo>
                    <a:lnTo>
                      <a:pt x="2714" y="3106"/>
                    </a:lnTo>
                    <a:lnTo>
                      <a:pt x="2719" y="3095"/>
                    </a:lnTo>
                    <a:lnTo>
                      <a:pt x="2747" y="3106"/>
                    </a:lnTo>
                    <a:lnTo>
                      <a:pt x="2752" y="3106"/>
                    </a:lnTo>
                    <a:lnTo>
                      <a:pt x="2736" y="3095"/>
                    </a:lnTo>
                    <a:lnTo>
                      <a:pt x="2719" y="3083"/>
                    </a:lnTo>
                    <a:lnTo>
                      <a:pt x="2702" y="3078"/>
                    </a:lnTo>
                    <a:lnTo>
                      <a:pt x="2702" y="3066"/>
                    </a:lnTo>
                    <a:lnTo>
                      <a:pt x="2752" y="3095"/>
                    </a:lnTo>
                    <a:lnTo>
                      <a:pt x="2757" y="3095"/>
                    </a:lnTo>
                    <a:lnTo>
                      <a:pt x="2752" y="3083"/>
                    </a:lnTo>
                    <a:lnTo>
                      <a:pt x="2757" y="3078"/>
                    </a:lnTo>
                    <a:lnTo>
                      <a:pt x="2785" y="3106"/>
                    </a:lnTo>
                    <a:lnTo>
                      <a:pt x="2773" y="3083"/>
                    </a:lnTo>
                    <a:lnTo>
                      <a:pt x="2823" y="3099"/>
                    </a:lnTo>
                    <a:lnTo>
                      <a:pt x="2806" y="3116"/>
                    </a:lnTo>
                    <a:lnTo>
                      <a:pt x="2806" y="3123"/>
                    </a:lnTo>
                    <a:lnTo>
                      <a:pt x="2811" y="3106"/>
                    </a:lnTo>
                    <a:lnTo>
                      <a:pt x="2823" y="3106"/>
                    </a:lnTo>
                    <a:lnTo>
                      <a:pt x="2823" y="3099"/>
                    </a:lnTo>
                    <a:lnTo>
                      <a:pt x="2839" y="3095"/>
                    </a:lnTo>
                    <a:lnTo>
                      <a:pt x="2757" y="3061"/>
                    </a:lnTo>
                    <a:lnTo>
                      <a:pt x="2752" y="3038"/>
                    </a:lnTo>
                    <a:lnTo>
                      <a:pt x="2769" y="3021"/>
                    </a:lnTo>
                    <a:lnTo>
                      <a:pt x="2811" y="3005"/>
                    </a:lnTo>
                    <a:lnTo>
                      <a:pt x="2806" y="2988"/>
                    </a:lnTo>
                    <a:lnTo>
                      <a:pt x="2773" y="2988"/>
                    </a:lnTo>
                    <a:lnTo>
                      <a:pt x="2752" y="2995"/>
                    </a:lnTo>
                    <a:lnTo>
                      <a:pt x="2736" y="2988"/>
                    </a:lnTo>
                    <a:lnTo>
                      <a:pt x="2736" y="2955"/>
                    </a:lnTo>
                    <a:lnTo>
                      <a:pt x="2736" y="2950"/>
                    </a:lnTo>
                    <a:lnTo>
                      <a:pt x="2747" y="2955"/>
                    </a:lnTo>
                    <a:lnTo>
                      <a:pt x="2752" y="2955"/>
                    </a:lnTo>
                    <a:lnTo>
                      <a:pt x="2757" y="2939"/>
                    </a:lnTo>
                    <a:lnTo>
                      <a:pt x="2736" y="2934"/>
                    </a:lnTo>
                    <a:lnTo>
                      <a:pt x="2752" y="2927"/>
                    </a:lnTo>
                    <a:lnTo>
                      <a:pt x="2769" y="2934"/>
                    </a:lnTo>
                    <a:lnTo>
                      <a:pt x="2785" y="2934"/>
                    </a:lnTo>
                    <a:lnTo>
                      <a:pt x="2790" y="2910"/>
                    </a:lnTo>
                    <a:lnTo>
                      <a:pt x="2806" y="2901"/>
                    </a:lnTo>
                    <a:lnTo>
                      <a:pt x="2823" y="2927"/>
                    </a:lnTo>
                    <a:lnTo>
                      <a:pt x="2844" y="2910"/>
                    </a:lnTo>
                    <a:lnTo>
                      <a:pt x="2861" y="2917"/>
                    </a:lnTo>
                    <a:lnTo>
                      <a:pt x="2861" y="2917"/>
                    </a:lnTo>
                    <a:lnTo>
                      <a:pt x="2861" y="2917"/>
                    </a:lnTo>
                    <a:close/>
                    <a:moveTo>
                      <a:pt x="2530" y="2983"/>
                    </a:moveTo>
                    <a:lnTo>
                      <a:pt x="2551" y="2988"/>
                    </a:lnTo>
                    <a:lnTo>
                      <a:pt x="2521" y="2988"/>
                    </a:lnTo>
                    <a:lnTo>
                      <a:pt x="2488" y="2955"/>
                    </a:lnTo>
                    <a:lnTo>
                      <a:pt x="2462" y="2967"/>
                    </a:lnTo>
                    <a:lnTo>
                      <a:pt x="2433" y="2934"/>
                    </a:lnTo>
                    <a:lnTo>
                      <a:pt x="2433" y="2927"/>
                    </a:lnTo>
                    <a:lnTo>
                      <a:pt x="2462" y="2950"/>
                    </a:lnTo>
                    <a:lnTo>
                      <a:pt x="2513" y="2955"/>
                    </a:lnTo>
                    <a:lnTo>
                      <a:pt x="2521" y="2983"/>
                    </a:lnTo>
                    <a:lnTo>
                      <a:pt x="2521" y="2967"/>
                    </a:lnTo>
                    <a:lnTo>
                      <a:pt x="2537" y="2983"/>
                    </a:lnTo>
                    <a:lnTo>
                      <a:pt x="2530" y="2983"/>
                    </a:lnTo>
                    <a:lnTo>
                      <a:pt x="2530" y="2983"/>
                    </a:lnTo>
                    <a:lnTo>
                      <a:pt x="2530" y="2983"/>
                    </a:lnTo>
                    <a:close/>
                    <a:moveTo>
                      <a:pt x="2530" y="2950"/>
                    </a:moveTo>
                    <a:lnTo>
                      <a:pt x="2504" y="2939"/>
                    </a:lnTo>
                    <a:lnTo>
                      <a:pt x="2521" y="2939"/>
                    </a:lnTo>
                    <a:lnTo>
                      <a:pt x="2530" y="2950"/>
                    </a:lnTo>
                    <a:lnTo>
                      <a:pt x="2530" y="2950"/>
                    </a:lnTo>
                    <a:lnTo>
                      <a:pt x="2530" y="2950"/>
                    </a:lnTo>
                    <a:close/>
                    <a:moveTo>
                      <a:pt x="2521" y="2995"/>
                    </a:moveTo>
                    <a:lnTo>
                      <a:pt x="2530" y="3005"/>
                    </a:lnTo>
                    <a:lnTo>
                      <a:pt x="2521" y="3012"/>
                    </a:lnTo>
                    <a:lnTo>
                      <a:pt x="2499" y="2995"/>
                    </a:lnTo>
                    <a:lnTo>
                      <a:pt x="2513" y="2995"/>
                    </a:lnTo>
                    <a:lnTo>
                      <a:pt x="2521" y="2995"/>
                    </a:lnTo>
                    <a:lnTo>
                      <a:pt x="2513" y="2988"/>
                    </a:lnTo>
                    <a:lnTo>
                      <a:pt x="2521" y="2995"/>
                    </a:lnTo>
                    <a:lnTo>
                      <a:pt x="2521" y="2995"/>
                    </a:lnTo>
                    <a:lnTo>
                      <a:pt x="2521" y="2995"/>
                    </a:lnTo>
                    <a:close/>
                    <a:moveTo>
                      <a:pt x="2537" y="3038"/>
                    </a:moveTo>
                    <a:lnTo>
                      <a:pt x="2537" y="3021"/>
                    </a:lnTo>
                    <a:lnTo>
                      <a:pt x="2513" y="3028"/>
                    </a:lnTo>
                    <a:lnTo>
                      <a:pt x="2521" y="3021"/>
                    </a:lnTo>
                    <a:lnTo>
                      <a:pt x="2513" y="3012"/>
                    </a:lnTo>
                    <a:lnTo>
                      <a:pt x="2521" y="3012"/>
                    </a:lnTo>
                    <a:lnTo>
                      <a:pt x="2537" y="3021"/>
                    </a:lnTo>
                    <a:lnTo>
                      <a:pt x="2558" y="3021"/>
                    </a:lnTo>
                    <a:lnTo>
                      <a:pt x="2537" y="3012"/>
                    </a:lnTo>
                    <a:lnTo>
                      <a:pt x="2521" y="2995"/>
                    </a:lnTo>
                    <a:lnTo>
                      <a:pt x="2542" y="3005"/>
                    </a:lnTo>
                    <a:lnTo>
                      <a:pt x="2542" y="2995"/>
                    </a:lnTo>
                    <a:lnTo>
                      <a:pt x="2551" y="2995"/>
                    </a:lnTo>
                    <a:lnTo>
                      <a:pt x="2558" y="2995"/>
                    </a:lnTo>
                    <a:lnTo>
                      <a:pt x="2558" y="3021"/>
                    </a:lnTo>
                    <a:lnTo>
                      <a:pt x="2568" y="2995"/>
                    </a:lnTo>
                    <a:lnTo>
                      <a:pt x="2575" y="3012"/>
                    </a:lnTo>
                    <a:lnTo>
                      <a:pt x="2589" y="3012"/>
                    </a:lnTo>
                    <a:lnTo>
                      <a:pt x="2589" y="3028"/>
                    </a:lnTo>
                    <a:lnTo>
                      <a:pt x="2596" y="3021"/>
                    </a:lnTo>
                    <a:lnTo>
                      <a:pt x="2613" y="3038"/>
                    </a:lnTo>
                    <a:lnTo>
                      <a:pt x="2596" y="3045"/>
                    </a:lnTo>
                    <a:lnTo>
                      <a:pt x="2596" y="3061"/>
                    </a:lnTo>
                    <a:lnTo>
                      <a:pt x="2568" y="3066"/>
                    </a:lnTo>
                    <a:lnTo>
                      <a:pt x="2551" y="3061"/>
                    </a:lnTo>
                    <a:lnTo>
                      <a:pt x="2568" y="3050"/>
                    </a:lnTo>
                    <a:lnTo>
                      <a:pt x="2575" y="3038"/>
                    </a:lnTo>
                    <a:lnTo>
                      <a:pt x="2551" y="3038"/>
                    </a:lnTo>
                    <a:lnTo>
                      <a:pt x="2542" y="3050"/>
                    </a:lnTo>
                    <a:lnTo>
                      <a:pt x="2537" y="3038"/>
                    </a:lnTo>
                    <a:lnTo>
                      <a:pt x="2537" y="3038"/>
                    </a:lnTo>
                    <a:lnTo>
                      <a:pt x="2537" y="3038"/>
                    </a:lnTo>
                    <a:close/>
                    <a:moveTo>
                      <a:pt x="2499" y="3012"/>
                    </a:moveTo>
                    <a:lnTo>
                      <a:pt x="2499" y="2995"/>
                    </a:lnTo>
                    <a:lnTo>
                      <a:pt x="2504" y="3005"/>
                    </a:lnTo>
                    <a:lnTo>
                      <a:pt x="2499" y="3012"/>
                    </a:lnTo>
                    <a:lnTo>
                      <a:pt x="2499" y="3012"/>
                    </a:lnTo>
                    <a:lnTo>
                      <a:pt x="2499" y="3012"/>
                    </a:lnTo>
                    <a:close/>
                    <a:moveTo>
                      <a:pt x="2731" y="3078"/>
                    </a:moveTo>
                    <a:lnTo>
                      <a:pt x="2702" y="3061"/>
                    </a:lnTo>
                    <a:lnTo>
                      <a:pt x="2698" y="3038"/>
                    </a:lnTo>
                    <a:lnTo>
                      <a:pt x="2719" y="3038"/>
                    </a:lnTo>
                    <a:lnTo>
                      <a:pt x="2714" y="3021"/>
                    </a:lnTo>
                    <a:lnTo>
                      <a:pt x="2731" y="3012"/>
                    </a:lnTo>
                    <a:lnTo>
                      <a:pt x="2736" y="3050"/>
                    </a:lnTo>
                    <a:lnTo>
                      <a:pt x="2731" y="3050"/>
                    </a:lnTo>
                    <a:lnTo>
                      <a:pt x="2719" y="3045"/>
                    </a:lnTo>
                    <a:lnTo>
                      <a:pt x="2731" y="3078"/>
                    </a:lnTo>
                    <a:lnTo>
                      <a:pt x="2731" y="3078"/>
                    </a:lnTo>
                    <a:lnTo>
                      <a:pt x="2731" y="3078"/>
                    </a:lnTo>
                    <a:close/>
                    <a:moveTo>
                      <a:pt x="2643" y="3045"/>
                    </a:moveTo>
                    <a:lnTo>
                      <a:pt x="2651" y="3061"/>
                    </a:lnTo>
                    <a:lnTo>
                      <a:pt x="2643" y="3066"/>
                    </a:lnTo>
                    <a:lnTo>
                      <a:pt x="2627" y="3050"/>
                    </a:lnTo>
                    <a:lnTo>
                      <a:pt x="2643" y="3078"/>
                    </a:lnTo>
                    <a:lnTo>
                      <a:pt x="2639" y="3083"/>
                    </a:lnTo>
                    <a:lnTo>
                      <a:pt x="2613" y="3061"/>
                    </a:lnTo>
                    <a:lnTo>
                      <a:pt x="2606" y="3045"/>
                    </a:lnTo>
                    <a:lnTo>
                      <a:pt x="2622" y="3050"/>
                    </a:lnTo>
                    <a:lnTo>
                      <a:pt x="2627" y="3038"/>
                    </a:lnTo>
                    <a:lnTo>
                      <a:pt x="2643" y="3045"/>
                    </a:lnTo>
                    <a:lnTo>
                      <a:pt x="2643" y="3045"/>
                    </a:lnTo>
                    <a:lnTo>
                      <a:pt x="2643" y="3045"/>
                    </a:lnTo>
                    <a:close/>
                    <a:moveTo>
                      <a:pt x="2676" y="3050"/>
                    </a:moveTo>
                    <a:lnTo>
                      <a:pt x="2693" y="3061"/>
                    </a:lnTo>
                    <a:lnTo>
                      <a:pt x="2698" y="3078"/>
                    </a:lnTo>
                    <a:lnTo>
                      <a:pt x="2681" y="3095"/>
                    </a:lnTo>
                    <a:lnTo>
                      <a:pt x="2665" y="3083"/>
                    </a:lnTo>
                    <a:lnTo>
                      <a:pt x="2660" y="3066"/>
                    </a:lnTo>
                    <a:lnTo>
                      <a:pt x="2665" y="3061"/>
                    </a:lnTo>
                    <a:lnTo>
                      <a:pt x="2660" y="3078"/>
                    </a:lnTo>
                    <a:lnTo>
                      <a:pt x="2643" y="3066"/>
                    </a:lnTo>
                    <a:lnTo>
                      <a:pt x="2651" y="3045"/>
                    </a:lnTo>
                    <a:lnTo>
                      <a:pt x="2676" y="3050"/>
                    </a:lnTo>
                    <a:lnTo>
                      <a:pt x="2676" y="3050"/>
                    </a:lnTo>
                    <a:lnTo>
                      <a:pt x="2676" y="3050"/>
                    </a:lnTo>
                    <a:close/>
                    <a:moveTo>
                      <a:pt x="2537" y="3066"/>
                    </a:moveTo>
                    <a:lnTo>
                      <a:pt x="2521" y="3061"/>
                    </a:lnTo>
                    <a:lnTo>
                      <a:pt x="2542" y="3061"/>
                    </a:lnTo>
                    <a:lnTo>
                      <a:pt x="2537" y="3066"/>
                    </a:lnTo>
                    <a:lnTo>
                      <a:pt x="2537" y="3066"/>
                    </a:lnTo>
                    <a:lnTo>
                      <a:pt x="2537" y="3066"/>
                    </a:lnTo>
                    <a:close/>
                    <a:moveTo>
                      <a:pt x="2606" y="3061"/>
                    </a:moveTo>
                    <a:lnTo>
                      <a:pt x="2613" y="3066"/>
                    </a:lnTo>
                    <a:lnTo>
                      <a:pt x="2606" y="3078"/>
                    </a:lnTo>
                    <a:lnTo>
                      <a:pt x="2589" y="3078"/>
                    </a:lnTo>
                    <a:lnTo>
                      <a:pt x="2606" y="3061"/>
                    </a:lnTo>
                    <a:lnTo>
                      <a:pt x="2606" y="3061"/>
                    </a:lnTo>
                    <a:lnTo>
                      <a:pt x="2606" y="3061"/>
                    </a:lnTo>
                    <a:close/>
                    <a:moveTo>
                      <a:pt x="2747" y="3078"/>
                    </a:moveTo>
                    <a:lnTo>
                      <a:pt x="2731" y="3066"/>
                    </a:lnTo>
                    <a:lnTo>
                      <a:pt x="2752" y="3078"/>
                    </a:lnTo>
                    <a:lnTo>
                      <a:pt x="2747" y="3078"/>
                    </a:lnTo>
                    <a:lnTo>
                      <a:pt x="2747" y="3078"/>
                    </a:lnTo>
                    <a:lnTo>
                      <a:pt x="2747" y="3078"/>
                    </a:lnTo>
                    <a:close/>
                    <a:moveTo>
                      <a:pt x="2589" y="3095"/>
                    </a:moveTo>
                    <a:lnTo>
                      <a:pt x="2589" y="3083"/>
                    </a:lnTo>
                    <a:lnTo>
                      <a:pt x="2606" y="3083"/>
                    </a:lnTo>
                    <a:lnTo>
                      <a:pt x="2589" y="3095"/>
                    </a:lnTo>
                    <a:lnTo>
                      <a:pt x="2589" y="3095"/>
                    </a:lnTo>
                    <a:lnTo>
                      <a:pt x="2589" y="3095"/>
                    </a:lnTo>
                    <a:close/>
                    <a:moveTo>
                      <a:pt x="2627" y="3132"/>
                    </a:moveTo>
                    <a:lnTo>
                      <a:pt x="2622" y="3116"/>
                    </a:lnTo>
                    <a:lnTo>
                      <a:pt x="2627" y="3123"/>
                    </a:lnTo>
                    <a:lnTo>
                      <a:pt x="2627" y="3132"/>
                    </a:lnTo>
                    <a:lnTo>
                      <a:pt x="2627" y="3132"/>
                    </a:lnTo>
                    <a:lnTo>
                      <a:pt x="2627" y="3132"/>
                    </a:lnTo>
                    <a:close/>
                    <a:moveTo>
                      <a:pt x="2693" y="3149"/>
                    </a:moveTo>
                    <a:lnTo>
                      <a:pt x="2660" y="3139"/>
                    </a:lnTo>
                    <a:lnTo>
                      <a:pt x="2665" y="3132"/>
                    </a:lnTo>
                    <a:lnTo>
                      <a:pt x="2698" y="3149"/>
                    </a:lnTo>
                    <a:lnTo>
                      <a:pt x="2693" y="3149"/>
                    </a:lnTo>
                    <a:lnTo>
                      <a:pt x="2693" y="3149"/>
                    </a:lnTo>
                    <a:lnTo>
                      <a:pt x="2693" y="3149"/>
                    </a:lnTo>
                    <a:close/>
                    <a:moveTo>
                      <a:pt x="2731" y="3139"/>
                    </a:moveTo>
                    <a:lnTo>
                      <a:pt x="2736" y="3139"/>
                    </a:lnTo>
                    <a:lnTo>
                      <a:pt x="2714" y="3139"/>
                    </a:lnTo>
                    <a:lnTo>
                      <a:pt x="2731" y="3139"/>
                    </a:lnTo>
                    <a:lnTo>
                      <a:pt x="2731" y="3139"/>
                    </a:lnTo>
                    <a:lnTo>
                      <a:pt x="2731" y="3139"/>
                    </a:lnTo>
                    <a:close/>
                    <a:moveTo>
                      <a:pt x="2769" y="3156"/>
                    </a:moveTo>
                    <a:lnTo>
                      <a:pt x="2769" y="3149"/>
                    </a:lnTo>
                    <a:lnTo>
                      <a:pt x="2773" y="3139"/>
                    </a:lnTo>
                    <a:lnTo>
                      <a:pt x="2823" y="3149"/>
                    </a:lnTo>
                    <a:lnTo>
                      <a:pt x="2769" y="3156"/>
                    </a:lnTo>
                    <a:lnTo>
                      <a:pt x="2769" y="3156"/>
                    </a:lnTo>
                    <a:lnTo>
                      <a:pt x="2769" y="3156"/>
                    </a:lnTo>
                    <a:close/>
                    <a:moveTo>
                      <a:pt x="2736" y="3139"/>
                    </a:moveTo>
                    <a:lnTo>
                      <a:pt x="2714" y="3156"/>
                    </a:lnTo>
                    <a:lnTo>
                      <a:pt x="2747" y="3156"/>
                    </a:lnTo>
                    <a:lnTo>
                      <a:pt x="2747" y="3161"/>
                    </a:lnTo>
                    <a:lnTo>
                      <a:pt x="2736" y="3161"/>
                    </a:lnTo>
                    <a:lnTo>
                      <a:pt x="2736" y="3172"/>
                    </a:lnTo>
                    <a:lnTo>
                      <a:pt x="2731" y="3172"/>
                    </a:lnTo>
                    <a:lnTo>
                      <a:pt x="2719" y="3161"/>
                    </a:lnTo>
                    <a:lnTo>
                      <a:pt x="2714" y="3161"/>
                    </a:lnTo>
                    <a:lnTo>
                      <a:pt x="2693" y="3156"/>
                    </a:lnTo>
                    <a:lnTo>
                      <a:pt x="2698" y="3149"/>
                    </a:lnTo>
                    <a:lnTo>
                      <a:pt x="2719" y="3149"/>
                    </a:lnTo>
                    <a:lnTo>
                      <a:pt x="2736" y="3139"/>
                    </a:lnTo>
                    <a:lnTo>
                      <a:pt x="2736" y="3139"/>
                    </a:lnTo>
                    <a:lnTo>
                      <a:pt x="2736" y="3139"/>
                    </a:lnTo>
                    <a:close/>
                    <a:moveTo>
                      <a:pt x="2899" y="3139"/>
                    </a:moveTo>
                    <a:lnTo>
                      <a:pt x="2953" y="3149"/>
                    </a:lnTo>
                    <a:lnTo>
                      <a:pt x="2967" y="3161"/>
                    </a:lnTo>
                    <a:lnTo>
                      <a:pt x="2962" y="3177"/>
                    </a:lnTo>
                    <a:lnTo>
                      <a:pt x="2946" y="3177"/>
                    </a:lnTo>
                    <a:lnTo>
                      <a:pt x="2946" y="3172"/>
                    </a:lnTo>
                    <a:lnTo>
                      <a:pt x="2936" y="3172"/>
                    </a:lnTo>
                    <a:lnTo>
                      <a:pt x="2929" y="3177"/>
                    </a:lnTo>
                    <a:lnTo>
                      <a:pt x="2915" y="3177"/>
                    </a:lnTo>
                    <a:lnTo>
                      <a:pt x="2915" y="3172"/>
                    </a:lnTo>
                    <a:lnTo>
                      <a:pt x="2899" y="3177"/>
                    </a:lnTo>
                    <a:lnTo>
                      <a:pt x="2891" y="3149"/>
                    </a:lnTo>
                    <a:lnTo>
                      <a:pt x="2877" y="3149"/>
                    </a:lnTo>
                    <a:lnTo>
                      <a:pt x="2899" y="3139"/>
                    </a:lnTo>
                    <a:lnTo>
                      <a:pt x="2899" y="3139"/>
                    </a:lnTo>
                    <a:lnTo>
                      <a:pt x="2899" y="3139"/>
                    </a:lnTo>
                    <a:close/>
                    <a:moveTo>
                      <a:pt x="2802" y="3189"/>
                    </a:moveTo>
                    <a:lnTo>
                      <a:pt x="2785" y="3177"/>
                    </a:lnTo>
                    <a:lnTo>
                      <a:pt x="2802" y="3172"/>
                    </a:lnTo>
                    <a:lnTo>
                      <a:pt x="2773" y="3177"/>
                    </a:lnTo>
                    <a:lnTo>
                      <a:pt x="2757" y="3161"/>
                    </a:lnTo>
                    <a:lnTo>
                      <a:pt x="2773" y="3156"/>
                    </a:lnTo>
                    <a:lnTo>
                      <a:pt x="2865" y="3149"/>
                    </a:lnTo>
                    <a:lnTo>
                      <a:pt x="2882" y="3156"/>
                    </a:lnTo>
                    <a:lnTo>
                      <a:pt x="2861" y="3172"/>
                    </a:lnTo>
                    <a:lnTo>
                      <a:pt x="2828" y="3156"/>
                    </a:lnTo>
                    <a:lnTo>
                      <a:pt x="2854" y="3172"/>
                    </a:lnTo>
                    <a:lnTo>
                      <a:pt x="2882" y="3172"/>
                    </a:lnTo>
                    <a:lnTo>
                      <a:pt x="2891" y="3177"/>
                    </a:lnTo>
                    <a:lnTo>
                      <a:pt x="2854" y="3177"/>
                    </a:lnTo>
                    <a:lnTo>
                      <a:pt x="2891" y="3194"/>
                    </a:lnTo>
                    <a:lnTo>
                      <a:pt x="2908" y="3210"/>
                    </a:lnTo>
                    <a:lnTo>
                      <a:pt x="2899" y="3227"/>
                    </a:lnTo>
                    <a:lnTo>
                      <a:pt x="2877" y="3206"/>
                    </a:lnTo>
                    <a:lnTo>
                      <a:pt x="2844" y="3206"/>
                    </a:lnTo>
                    <a:lnTo>
                      <a:pt x="2839" y="3194"/>
                    </a:lnTo>
                    <a:lnTo>
                      <a:pt x="2854" y="3189"/>
                    </a:lnTo>
                    <a:lnTo>
                      <a:pt x="2844" y="3189"/>
                    </a:lnTo>
                    <a:lnTo>
                      <a:pt x="2844" y="3172"/>
                    </a:lnTo>
                    <a:lnTo>
                      <a:pt x="2828" y="3177"/>
                    </a:lnTo>
                    <a:lnTo>
                      <a:pt x="2823" y="3161"/>
                    </a:lnTo>
                    <a:lnTo>
                      <a:pt x="2806" y="3172"/>
                    </a:lnTo>
                    <a:lnTo>
                      <a:pt x="2811" y="3172"/>
                    </a:lnTo>
                    <a:lnTo>
                      <a:pt x="2806" y="3177"/>
                    </a:lnTo>
                    <a:lnTo>
                      <a:pt x="2811" y="3194"/>
                    </a:lnTo>
                    <a:lnTo>
                      <a:pt x="2823" y="3194"/>
                    </a:lnTo>
                    <a:lnTo>
                      <a:pt x="2823" y="3206"/>
                    </a:lnTo>
                    <a:lnTo>
                      <a:pt x="2806" y="3206"/>
                    </a:lnTo>
                    <a:lnTo>
                      <a:pt x="2802" y="3194"/>
                    </a:lnTo>
                    <a:lnTo>
                      <a:pt x="2806" y="3189"/>
                    </a:lnTo>
                    <a:lnTo>
                      <a:pt x="2802" y="3189"/>
                    </a:lnTo>
                    <a:lnTo>
                      <a:pt x="2802" y="3189"/>
                    </a:lnTo>
                    <a:lnTo>
                      <a:pt x="2802" y="3189"/>
                    </a:lnTo>
                    <a:close/>
                    <a:moveTo>
                      <a:pt x="2979" y="3156"/>
                    </a:moveTo>
                    <a:lnTo>
                      <a:pt x="2988" y="3161"/>
                    </a:lnTo>
                    <a:lnTo>
                      <a:pt x="2967" y="3156"/>
                    </a:lnTo>
                    <a:lnTo>
                      <a:pt x="2979" y="3156"/>
                    </a:lnTo>
                    <a:lnTo>
                      <a:pt x="2979" y="3156"/>
                    </a:lnTo>
                    <a:lnTo>
                      <a:pt x="2979" y="3156"/>
                    </a:lnTo>
                    <a:close/>
                    <a:moveTo>
                      <a:pt x="3005" y="3177"/>
                    </a:moveTo>
                    <a:lnTo>
                      <a:pt x="3000" y="3172"/>
                    </a:lnTo>
                    <a:lnTo>
                      <a:pt x="3017" y="3172"/>
                    </a:lnTo>
                    <a:lnTo>
                      <a:pt x="3005" y="3177"/>
                    </a:lnTo>
                    <a:lnTo>
                      <a:pt x="3005" y="3177"/>
                    </a:lnTo>
                    <a:lnTo>
                      <a:pt x="3005" y="3177"/>
                    </a:lnTo>
                    <a:close/>
                    <a:moveTo>
                      <a:pt x="2984" y="3177"/>
                    </a:moveTo>
                    <a:lnTo>
                      <a:pt x="2984" y="3189"/>
                    </a:lnTo>
                    <a:lnTo>
                      <a:pt x="2967" y="3189"/>
                    </a:lnTo>
                    <a:lnTo>
                      <a:pt x="2979" y="3177"/>
                    </a:lnTo>
                    <a:lnTo>
                      <a:pt x="2984" y="3177"/>
                    </a:lnTo>
                    <a:lnTo>
                      <a:pt x="2984" y="3177"/>
                    </a:lnTo>
                    <a:lnTo>
                      <a:pt x="2984" y="3177"/>
                    </a:lnTo>
                    <a:close/>
                    <a:moveTo>
                      <a:pt x="2769" y="3189"/>
                    </a:moveTo>
                    <a:lnTo>
                      <a:pt x="2757" y="3177"/>
                    </a:lnTo>
                    <a:lnTo>
                      <a:pt x="2769" y="3177"/>
                    </a:lnTo>
                    <a:lnTo>
                      <a:pt x="2769" y="3189"/>
                    </a:lnTo>
                    <a:lnTo>
                      <a:pt x="2769" y="3189"/>
                    </a:lnTo>
                    <a:lnTo>
                      <a:pt x="2769" y="3189"/>
                    </a:lnTo>
                    <a:close/>
                    <a:moveTo>
                      <a:pt x="2785" y="3194"/>
                    </a:moveTo>
                    <a:lnTo>
                      <a:pt x="2785" y="3189"/>
                    </a:lnTo>
                    <a:lnTo>
                      <a:pt x="2790" y="3189"/>
                    </a:lnTo>
                    <a:lnTo>
                      <a:pt x="2785" y="3194"/>
                    </a:lnTo>
                    <a:lnTo>
                      <a:pt x="2785" y="3194"/>
                    </a:lnTo>
                    <a:lnTo>
                      <a:pt x="2785" y="3194"/>
                    </a:lnTo>
                    <a:close/>
                    <a:moveTo>
                      <a:pt x="2925" y="3210"/>
                    </a:moveTo>
                    <a:lnTo>
                      <a:pt x="2929" y="3206"/>
                    </a:lnTo>
                    <a:lnTo>
                      <a:pt x="2936" y="3206"/>
                    </a:lnTo>
                    <a:lnTo>
                      <a:pt x="2925" y="3210"/>
                    </a:lnTo>
                    <a:lnTo>
                      <a:pt x="2925" y="3210"/>
                    </a:lnTo>
                    <a:lnTo>
                      <a:pt x="2925" y="3210"/>
                    </a:lnTo>
                    <a:close/>
                    <a:moveTo>
                      <a:pt x="2953" y="3234"/>
                    </a:moveTo>
                    <a:lnTo>
                      <a:pt x="2936" y="3227"/>
                    </a:lnTo>
                    <a:lnTo>
                      <a:pt x="2936" y="3217"/>
                    </a:lnTo>
                    <a:lnTo>
                      <a:pt x="2953" y="3210"/>
                    </a:lnTo>
                    <a:lnTo>
                      <a:pt x="2962" y="3227"/>
                    </a:lnTo>
                    <a:lnTo>
                      <a:pt x="2953" y="3234"/>
                    </a:lnTo>
                    <a:lnTo>
                      <a:pt x="2953" y="3234"/>
                    </a:lnTo>
                    <a:lnTo>
                      <a:pt x="2953" y="3234"/>
                    </a:lnTo>
                    <a:close/>
                    <a:moveTo>
                      <a:pt x="2967" y="3243"/>
                    </a:moveTo>
                    <a:lnTo>
                      <a:pt x="2962" y="3243"/>
                    </a:lnTo>
                    <a:lnTo>
                      <a:pt x="2967" y="3234"/>
                    </a:lnTo>
                    <a:lnTo>
                      <a:pt x="2967" y="3243"/>
                    </a:lnTo>
                    <a:lnTo>
                      <a:pt x="2967" y="3243"/>
                    </a:lnTo>
                    <a:lnTo>
                      <a:pt x="2967" y="3243"/>
                    </a:lnTo>
                    <a:close/>
                    <a:moveTo>
                      <a:pt x="2929" y="3243"/>
                    </a:moveTo>
                    <a:lnTo>
                      <a:pt x="2915" y="3234"/>
                    </a:lnTo>
                    <a:lnTo>
                      <a:pt x="2936" y="3234"/>
                    </a:lnTo>
                    <a:lnTo>
                      <a:pt x="2929" y="3243"/>
                    </a:lnTo>
                    <a:lnTo>
                      <a:pt x="2929" y="3243"/>
                    </a:lnTo>
                    <a:lnTo>
                      <a:pt x="2929" y="3243"/>
                    </a:lnTo>
                    <a:close/>
                    <a:moveTo>
                      <a:pt x="2962" y="3243"/>
                    </a:moveTo>
                    <a:lnTo>
                      <a:pt x="2946" y="3234"/>
                    </a:lnTo>
                    <a:lnTo>
                      <a:pt x="2962" y="3234"/>
                    </a:lnTo>
                    <a:lnTo>
                      <a:pt x="2962" y="3243"/>
                    </a:lnTo>
                    <a:lnTo>
                      <a:pt x="2962" y="3243"/>
                    </a:lnTo>
                    <a:lnTo>
                      <a:pt x="2962" y="324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9" name="Freeform 418">
                <a:extLst>
                  <a:ext uri="{FF2B5EF4-FFF2-40B4-BE49-F238E27FC236}">
                    <a16:creationId xmlns:a16="http://schemas.microsoft.com/office/drawing/2014/main" id="{0B182540-66C4-46F4-B612-92CDC49F10F6}"/>
                  </a:ext>
                </a:extLst>
              </p:cNvPr>
              <p:cNvSpPr>
                <a:spLocks noEditPoints="1"/>
              </p:cNvSpPr>
              <p:nvPr/>
            </p:nvSpPr>
            <p:spPr bwMode="gray">
              <a:xfrm>
                <a:off x="4441054" y="3696164"/>
                <a:ext cx="352801" cy="494883"/>
              </a:xfrm>
              <a:custGeom>
                <a:avLst/>
                <a:gdLst>
                  <a:gd name="T0" fmla="*/ 92 w 857"/>
                  <a:gd name="T1" fmla="*/ 337 h 1202"/>
                  <a:gd name="T2" fmla="*/ 134 w 857"/>
                  <a:gd name="T3" fmla="*/ 321 h 1202"/>
                  <a:gd name="T4" fmla="*/ 146 w 857"/>
                  <a:gd name="T5" fmla="*/ 304 h 1202"/>
                  <a:gd name="T6" fmla="*/ 163 w 857"/>
                  <a:gd name="T7" fmla="*/ 288 h 1202"/>
                  <a:gd name="T8" fmla="*/ 243 w 857"/>
                  <a:gd name="T9" fmla="*/ 212 h 1202"/>
                  <a:gd name="T10" fmla="*/ 269 w 857"/>
                  <a:gd name="T11" fmla="*/ 122 h 1202"/>
                  <a:gd name="T12" fmla="*/ 323 w 857"/>
                  <a:gd name="T13" fmla="*/ 101 h 1202"/>
                  <a:gd name="T14" fmla="*/ 335 w 857"/>
                  <a:gd name="T15" fmla="*/ 122 h 1202"/>
                  <a:gd name="T16" fmla="*/ 479 w 857"/>
                  <a:gd name="T17" fmla="*/ 40 h 1202"/>
                  <a:gd name="T18" fmla="*/ 496 w 857"/>
                  <a:gd name="T19" fmla="*/ 11 h 1202"/>
                  <a:gd name="T20" fmla="*/ 517 w 857"/>
                  <a:gd name="T21" fmla="*/ 0 h 1202"/>
                  <a:gd name="T22" fmla="*/ 503 w 857"/>
                  <a:gd name="T23" fmla="*/ 56 h 1202"/>
                  <a:gd name="T24" fmla="*/ 427 w 857"/>
                  <a:gd name="T25" fmla="*/ 193 h 1202"/>
                  <a:gd name="T26" fmla="*/ 441 w 857"/>
                  <a:gd name="T27" fmla="*/ 245 h 1202"/>
                  <a:gd name="T28" fmla="*/ 465 w 857"/>
                  <a:gd name="T29" fmla="*/ 321 h 1202"/>
                  <a:gd name="T30" fmla="*/ 524 w 857"/>
                  <a:gd name="T31" fmla="*/ 389 h 1202"/>
                  <a:gd name="T32" fmla="*/ 630 w 857"/>
                  <a:gd name="T33" fmla="*/ 394 h 1202"/>
                  <a:gd name="T34" fmla="*/ 701 w 857"/>
                  <a:gd name="T35" fmla="*/ 448 h 1202"/>
                  <a:gd name="T36" fmla="*/ 819 w 857"/>
                  <a:gd name="T37" fmla="*/ 448 h 1202"/>
                  <a:gd name="T38" fmla="*/ 789 w 857"/>
                  <a:gd name="T39" fmla="*/ 510 h 1202"/>
                  <a:gd name="T40" fmla="*/ 827 w 857"/>
                  <a:gd name="T41" fmla="*/ 654 h 1202"/>
                  <a:gd name="T42" fmla="*/ 836 w 857"/>
                  <a:gd name="T43" fmla="*/ 732 h 1202"/>
                  <a:gd name="T44" fmla="*/ 827 w 857"/>
                  <a:gd name="T45" fmla="*/ 744 h 1202"/>
                  <a:gd name="T46" fmla="*/ 756 w 857"/>
                  <a:gd name="T47" fmla="*/ 765 h 1202"/>
                  <a:gd name="T48" fmla="*/ 647 w 857"/>
                  <a:gd name="T49" fmla="*/ 819 h 1202"/>
                  <a:gd name="T50" fmla="*/ 685 w 857"/>
                  <a:gd name="T51" fmla="*/ 852 h 1202"/>
                  <a:gd name="T52" fmla="*/ 664 w 857"/>
                  <a:gd name="T53" fmla="*/ 930 h 1202"/>
                  <a:gd name="T54" fmla="*/ 642 w 857"/>
                  <a:gd name="T55" fmla="*/ 1202 h 1202"/>
                  <a:gd name="T56" fmla="*/ 630 w 857"/>
                  <a:gd name="T57" fmla="*/ 1098 h 1202"/>
                  <a:gd name="T58" fmla="*/ 541 w 857"/>
                  <a:gd name="T59" fmla="*/ 1070 h 1202"/>
                  <a:gd name="T60" fmla="*/ 479 w 857"/>
                  <a:gd name="T61" fmla="*/ 1074 h 1202"/>
                  <a:gd name="T62" fmla="*/ 415 w 857"/>
                  <a:gd name="T63" fmla="*/ 1070 h 1202"/>
                  <a:gd name="T64" fmla="*/ 411 w 857"/>
                  <a:gd name="T65" fmla="*/ 1037 h 1202"/>
                  <a:gd name="T66" fmla="*/ 340 w 857"/>
                  <a:gd name="T67" fmla="*/ 970 h 1202"/>
                  <a:gd name="T68" fmla="*/ 297 w 857"/>
                  <a:gd name="T69" fmla="*/ 914 h 1202"/>
                  <a:gd name="T70" fmla="*/ 215 w 857"/>
                  <a:gd name="T71" fmla="*/ 876 h 1202"/>
                  <a:gd name="T72" fmla="*/ 177 w 857"/>
                  <a:gd name="T73" fmla="*/ 888 h 1202"/>
                  <a:gd name="T74" fmla="*/ 101 w 857"/>
                  <a:gd name="T75" fmla="*/ 836 h 1202"/>
                  <a:gd name="T76" fmla="*/ 16 w 857"/>
                  <a:gd name="T77" fmla="*/ 786 h 1202"/>
                  <a:gd name="T78" fmla="*/ 38 w 857"/>
                  <a:gd name="T79" fmla="*/ 760 h 1202"/>
                  <a:gd name="T80" fmla="*/ 54 w 857"/>
                  <a:gd name="T81" fmla="*/ 720 h 1202"/>
                  <a:gd name="T82" fmla="*/ 87 w 857"/>
                  <a:gd name="T83" fmla="*/ 708 h 1202"/>
                  <a:gd name="T84" fmla="*/ 118 w 857"/>
                  <a:gd name="T85" fmla="*/ 654 h 1202"/>
                  <a:gd name="T86" fmla="*/ 125 w 857"/>
                  <a:gd name="T87" fmla="*/ 616 h 1202"/>
                  <a:gd name="T88" fmla="*/ 118 w 857"/>
                  <a:gd name="T89" fmla="*/ 609 h 1202"/>
                  <a:gd name="T90" fmla="*/ 125 w 857"/>
                  <a:gd name="T91" fmla="*/ 567 h 1202"/>
                  <a:gd name="T92" fmla="*/ 134 w 857"/>
                  <a:gd name="T93" fmla="*/ 482 h 1202"/>
                  <a:gd name="T94" fmla="*/ 125 w 857"/>
                  <a:gd name="T95" fmla="*/ 427 h 1202"/>
                  <a:gd name="T96" fmla="*/ 118 w 857"/>
                  <a:gd name="T97" fmla="*/ 583 h 1202"/>
                  <a:gd name="T98" fmla="*/ 118 w 857"/>
                  <a:gd name="T99" fmla="*/ 583 h 1202"/>
                  <a:gd name="T100" fmla="*/ 118 w 857"/>
                  <a:gd name="T101" fmla="*/ 609 h 1202"/>
                  <a:gd name="T102" fmla="*/ 118 w 857"/>
                  <a:gd name="T103" fmla="*/ 666 h 1202"/>
                  <a:gd name="T104" fmla="*/ 118 w 857"/>
                  <a:gd name="T105" fmla="*/ 666 h 1202"/>
                  <a:gd name="T106" fmla="*/ 108 w 857"/>
                  <a:gd name="T107" fmla="*/ 675 h 1202"/>
                  <a:gd name="T108" fmla="*/ 108 w 857"/>
                  <a:gd name="T109" fmla="*/ 671 h 1202"/>
                  <a:gd name="T110" fmla="*/ 87 w 857"/>
                  <a:gd name="T111" fmla="*/ 708 h 1202"/>
                  <a:gd name="T112" fmla="*/ 71 w 857"/>
                  <a:gd name="T113" fmla="*/ 708 h 1202"/>
                  <a:gd name="T114" fmla="*/ 80 w 857"/>
                  <a:gd name="T115" fmla="*/ 720 h 1202"/>
                  <a:gd name="T116" fmla="*/ 71 w 857"/>
                  <a:gd name="T117" fmla="*/ 720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7" h="1202">
                    <a:moveTo>
                      <a:pt x="87" y="378"/>
                    </a:moveTo>
                    <a:lnTo>
                      <a:pt x="92" y="361"/>
                    </a:lnTo>
                    <a:lnTo>
                      <a:pt x="92" y="354"/>
                    </a:lnTo>
                    <a:lnTo>
                      <a:pt x="92" y="337"/>
                    </a:lnTo>
                    <a:lnTo>
                      <a:pt x="108" y="354"/>
                    </a:lnTo>
                    <a:lnTo>
                      <a:pt x="125" y="345"/>
                    </a:lnTo>
                    <a:lnTo>
                      <a:pt x="125" y="337"/>
                    </a:lnTo>
                    <a:lnTo>
                      <a:pt x="134" y="321"/>
                    </a:lnTo>
                    <a:lnTo>
                      <a:pt x="134" y="316"/>
                    </a:lnTo>
                    <a:lnTo>
                      <a:pt x="118" y="283"/>
                    </a:lnTo>
                    <a:lnTo>
                      <a:pt x="125" y="278"/>
                    </a:lnTo>
                    <a:lnTo>
                      <a:pt x="146" y="304"/>
                    </a:lnTo>
                    <a:lnTo>
                      <a:pt x="156" y="316"/>
                    </a:lnTo>
                    <a:lnTo>
                      <a:pt x="156" y="321"/>
                    </a:lnTo>
                    <a:lnTo>
                      <a:pt x="163" y="333"/>
                    </a:lnTo>
                    <a:lnTo>
                      <a:pt x="163" y="288"/>
                    </a:lnTo>
                    <a:lnTo>
                      <a:pt x="156" y="283"/>
                    </a:lnTo>
                    <a:lnTo>
                      <a:pt x="193" y="250"/>
                    </a:lnTo>
                    <a:lnTo>
                      <a:pt x="210" y="229"/>
                    </a:lnTo>
                    <a:lnTo>
                      <a:pt x="243" y="212"/>
                    </a:lnTo>
                    <a:lnTo>
                      <a:pt x="248" y="205"/>
                    </a:lnTo>
                    <a:lnTo>
                      <a:pt x="243" y="193"/>
                    </a:lnTo>
                    <a:lnTo>
                      <a:pt x="252" y="134"/>
                    </a:lnTo>
                    <a:lnTo>
                      <a:pt x="269" y="122"/>
                    </a:lnTo>
                    <a:lnTo>
                      <a:pt x="269" y="118"/>
                    </a:lnTo>
                    <a:lnTo>
                      <a:pt x="286" y="111"/>
                    </a:lnTo>
                    <a:lnTo>
                      <a:pt x="297" y="94"/>
                    </a:lnTo>
                    <a:lnTo>
                      <a:pt x="323" y="101"/>
                    </a:lnTo>
                    <a:lnTo>
                      <a:pt x="340" y="101"/>
                    </a:lnTo>
                    <a:lnTo>
                      <a:pt x="319" y="111"/>
                    </a:lnTo>
                    <a:lnTo>
                      <a:pt x="319" y="118"/>
                    </a:lnTo>
                    <a:lnTo>
                      <a:pt x="335" y="122"/>
                    </a:lnTo>
                    <a:lnTo>
                      <a:pt x="352" y="78"/>
                    </a:lnTo>
                    <a:lnTo>
                      <a:pt x="411" y="85"/>
                    </a:lnTo>
                    <a:lnTo>
                      <a:pt x="449" y="56"/>
                    </a:lnTo>
                    <a:lnTo>
                      <a:pt x="479" y="40"/>
                    </a:lnTo>
                    <a:lnTo>
                      <a:pt x="486" y="23"/>
                    </a:lnTo>
                    <a:lnTo>
                      <a:pt x="486" y="11"/>
                    </a:lnTo>
                    <a:lnTo>
                      <a:pt x="503" y="11"/>
                    </a:lnTo>
                    <a:lnTo>
                      <a:pt x="496" y="11"/>
                    </a:lnTo>
                    <a:lnTo>
                      <a:pt x="503" y="23"/>
                    </a:lnTo>
                    <a:lnTo>
                      <a:pt x="524" y="0"/>
                    </a:lnTo>
                    <a:lnTo>
                      <a:pt x="517" y="0"/>
                    </a:lnTo>
                    <a:lnTo>
                      <a:pt x="517" y="0"/>
                    </a:lnTo>
                    <a:lnTo>
                      <a:pt x="555" y="7"/>
                    </a:lnTo>
                    <a:lnTo>
                      <a:pt x="555" y="28"/>
                    </a:lnTo>
                    <a:lnTo>
                      <a:pt x="550" y="40"/>
                    </a:lnTo>
                    <a:lnTo>
                      <a:pt x="503" y="56"/>
                    </a:lnTo>
                    <a:lnTo>
                      <a:pt x="486" y="85"/>
                    </a:lnTo>
                    <a:lnTo>
                      <a:pt x="465" y="94"/>
                    </a:lnTo>
                    <a:lnTo>
                      <a:pt x="432" y="139"/>
                    </a:lnTo>
                    <a:lnTo>
                      <a:pt x="427" y="193"/>
                    </a:lnTo>
                    <a:lnTo>
                      <a:pt x="404" y="234"/>
                    </a:lnTo>
                    <a:lnTo>
                      <a:pt x="427" y="229"/>
                    </a:lnTo>
                    <a:lnTo>
                      <a:pt x="432" y="234"/>
                    </a:lnTo>
                    <a:lnTo>
                      <a:pt x="441" y="245"/>
                    </a:lnTo>
                    <a:lnTo>
                      <a:pt x="449" y="278"/>
                    </a:lnTo>
                    <a:lnTo>
                      <a:pt x="470" y="288"/>
                    </a:lnTo>
                    <a:lnTo>
                      <a:pt x="470" y="316"/>
                    </a:lnTo>
                    <a:lnTo>
                      <a:pt x="465" y="321"/>
                    </a:lnTo>
                    <a:lnTo>
                      <a:pt x="465" y="354"/>
                    </a:lnTo>
                    <a:lnTo>
                      <a:pt x="486" y="373"/>
                    </a:lnTo>
                    <a:lnTo>
                      <a:pt x="496" y="394"/>
                    </a:lnTo>
                    <a:lnTo>
                      <a:pt x="524" y="389"/>
                    </a:lnTo>
                    <a:lnTo>
                      <a:pt x="555" y="394"/>
                    </a:lnTo>
                    <a:lnTo>
                      <a:pt x="588" y="389"/>
                    </a:lnTo>
                    <a:lnTo>
                      <a:pt x="621" y="394"/>
                    </a:lnTo>
                    <a:lnTo>
                      <a:pt x="630" y="394"/>
                    </a:lnTo>
                    <a:lnTo>
                      <a:pt x="680" y="456"/>
                    </a:lnTo>
                    <a:lnTo>
                      <a:pt x="685" y="456"/>
                    </a:lnTo>
                    <a:lnTo>
                      <a:pt x="697" y="456"/>
                    </a:lnTo>
                    <a:lnTo>
                      <a:pt x="701" y="448"/>
                    </a:lnTo>
                    <a:lnTo>
                      <a:pt x="734" y="456"/>
                    </a:lnTo>
                    <a:lnTo>
                      <a:pt x="782" y="448"/>
                    </a:lnTo>
                    <a:lnTo>
                      <a:pt x="789" y="444"/>
                    </a:lnTo>
                    <a:lnTo>
                      <a:pt x="819" y="448"/>
                    </a:lnTo>
                    <a:lnTo>
                      <a:pt x="819" y="465"/>
                    </a:lnTo>
                    <a:lnTo>
                      <a:pt x="805" y="482"/>
                    </a:lnTo>
                    <a:lnTo>
                      <a:pt x="805" y="498"/>
                    </a:lnTo>
                    <a:lnTo>
                      <a:pt x="789" y="510"/>
                    </a:lnTo>
                    <a:lnTo>
                      <a:pt x="789" y="567"/>
                    </a:lnTo>
                    <a:lnTo>
                      <a:pt x="805" y="621"/>
                    </a:lnTo>
                    <a:lnTo>
                      <a:pt x="810" y="633"/>
                    </a:lnTo>
                    <a:lnTo>
                      <a:pt x="827" y="654"/>
                    </a:lnTo>
                    <a:lnTo>
                      <a:pt x="789" y="692"/>
                    </a:lnTo>
                    <a:lnTo>
                      <a:pt x="805" y="692"/>
                    </a:lnTo>
                    <a:lnTo>
                      <a:pt x="836" y="727"/>
                    </a:lnTo>
                    <a:lnTo>
                      <a:pt x="836" y="732"/>
                    </a:lnTo>
                    <a:lnTo>
                      <a:pt x="857" y="815"/>
                    </a:lnTo>
                    <a:lnTo>
                      <a:pt x="843" y="815"/>
                    </a:lnTo>
                    <a:lnTo>
                      <a:pt x="843" y="782"/>
                    </a:lnTo>
                    <a:lnTo>
                      <a:pt x="827" y="744"/>
                    </a:lnTo>
                    <a:lnTo>
                      <a:pt x="819" y="744"/>
                    </a:lnTo>
                    <a:lnTo>
                      <a:pt x="789" y="777"/>
                    </a:lnTo>
                    <a:lnTo>
                      <a:pt x="767" y="760"/>
                    </a:lnTo>
                    <a:lnTo>
                      <a:pt x="756" y="765"/>
                    </a:lnTo>
                    <a:lnTo>
                      <a:pt x="767" y="777"/>
                    </a:lnTo>
                    <a:lnTo>
                      <a:pt x="675" y="765"/>
                    </a:lnTo>
                    <a:lnTo>
                      <a:pt x="647" y="777"/>
                    </a:lnTo>
                    <a:lnTo>
                      <a:pt x="647" y="819"/>
                    </a:lnTo>
                    <a:lnTo>
                      <a:pt x="685" y="819"/>
                    </a:lnTo>
                    <a:lnTo>
                      <a:pt x="697" y="836"/>
                    </a:lnTo>
                    <a:lnTo>
                      <a:pt x="701" y="852"/>
                    </a:lnTo>
                    <a:lnTo>
                      <a:pt x="685" y="852"/>
                    </a:lnTo>
                    <a:lnTo>
                      <a:pt x="680" y="848"/>
                    </a:lnTo>
                    <a:lnTo>
                      <a:pt x="630" y="852"/>
                    </a:lnTo>
                    <a:lnTo>
                      <a:pt x="630" y="909"/>
                    </a:lnTo>
                    <a:lnTo>
                      <a:pt x="664" y="930"/>
                    </a:lnTo>
                    <a:lnTo>
                      <a:pt x="664" y="947"/>
                    </a:lnTo>
                    <a:lnTo>
                      <a:pt x="680" y="970"/>
                    </a:lnTo>
                    <a:lnTo>
                      <a:pt x="680" y="996"/>
                    </a:lnTo>
                    <a:lnTo>
                      <a:pt x="642" y="1202"/>
                    </a:lnTo>
                    <a:lnTo>
                      <a:pt x="621" y="1169"/>
                    </a:lnTo>
                    <a:lnTo>
                      <a:pt x="604" y="1181"/>
                    </a:lnTo>
                    <a:lnTo>
                      <a:pt x="588" y="1169"/>
                    </a:lnTo>
                    <a:lnTo>
                      <a:pt x="630" y="1098"/>
                    </a:lnTo>
                    <a:lnTo>
                      <a:pt x="621" y="1074"/>
                    </a:lnTo>
                    <a:lnTo>
                      <a:pt x="593" y="1074"/>
                    </a:lnTo>
                    <a:lnTo>
                      <a:pt x="578" y="1058"/>
                    </a:lnTo>
                    <a:lnTo>
                      <a:pt x="541" y="1070"/>
                    </a:lnTo>
                    <a:lnTo>
                      <a:pt x="517" y="1058"/>
                    </a:lnTo>
                    <a:lnTo>
                      <a:pt x="517" y="1053"/>
                    </a:lnTo>
                    <a:lnTo>
                      <a:pt x="503" y="1070"/>
                    </a:lnTo>
                    <a:lnTo>
                      <a:pt x="479" y="1074"/>
                    </a:lnTo>
                    <a:lnTo>
                      <a:pt x="458" y="1070"/>
                    </a:lnTo>
                    <a:lnTo>
                      <a:pt x="432" y="1074"/>
                    </a:lnTo>
                    <a:lnTo>
                      <a:pt x="432" y="1070"/>
                    </a:lnTo>
                    <a:lnTo>
                      <a:pt x="415" y="1070"/>
                    </a:lnTo>
                    <a:lnTo>
                      <a:pt x="427" y="1053"/>
                    </a:lnTo>
                    <a:lnTo>
                      <a:pt x="415" y="1025"/>
                    </a:lnTo>
                    <a:lnTo>
                      <a:pt x="415" y="1025"/>
                    </a:lnTo>
                    <a:lnTo>
                      <a:pt x="411" y="1037"/>
                    </a:lnTo>
                    <a:lnTo>
                      <a:pt x="394" y="1020"/>
                    </a:lnTo>
                    <a:lnTo>
                      <a:pt x="394" y="1013"/>
                    </a:lnTo>
                    <a:lnTo>
                      <a:pt x="389" y="996"/>
                    </a:lnTo>
                    <a:lnTo>
                      <a:pt x="340" y="970"/>
                    </a:lnTo>
                    <a:lnTo>
                      <a:pt x="335" y="942"/>
                    </a:lnTo>
                    <a:lnTo>
                      <a:pt x="307" y="926"/>
                    </a:lnTo>
                    <a:lnTo>
                      <a:pt x="302" y="909"/>
                    </a:lnTo>
                    <a:lnTo>
                      <a:pt x="297" y="914"/>
                    </a:lnTo>
                    <a:lnTo>
                      <a:pt x="269" y="904"/>
                    </a:lnTo>
                    <a:lnTo>
                      <a:pt x="269" y="909"/>
                    </a:lnTo>
                    <a:lnTo>
                      <a:pt x="231" y="893"/>
                    </a:lnTo>
                    <a:lnTo>
                      <a:pt x="215" y="876"/>
                    </a:lnTo>
                    <a:lnTo>
                      <a:pt x="201" y="869"/>
                    </a:lnTo>
                    <a:lnTo>
                      <a:pt x="189" y="869"/>
                    </a:lnTo>
                    <a:lnTo>
                      <a:pt x="189" y="876"/>
                    </a:lnTo>
                    <a:lnTo>
                      <a:pt x="177" y="888"/>
                    </a:lnTo>
                    <a:lnTo>
                      <a:pt x="125" y="869"/>
                    </a:lnTo>
                    <a:lnTo>
                      <a:pt x="118" y="852"/>
                    </a:lnTo>
                    <a:lnTo>
                      <a:pt x="101" y="848"/>
                    </a:lnTo>
                    <a:lnTo>
                      <a:pt x="101" y="836"/>
                    </a:lnTo>
                    <a:lnTo>
                      <a:pt x="87" y="836"/>
                    </a:lnTo>
                    <a:lnTo>
                      <a:pt x="71" y="831"/>
                    </a:lnTo>
                    <a:lnTo>
                      <a:pt x="26" y="798"/>
                    </a:lnTo>
                    <a:lnTo>
                      <a:pt x="16" y="786"/>
                    </a:lnTo>
                    <a:lnTo>
                      <a:pt x="0" y="782"/>
                    </a:lnTo>
                    <a:lnTo>
                      <a:pt x="16" y="765"/>
                    </a:lnTo>
                    <a:lnTo>
                      <a:pt x="38" y="777"/>
                    </a:lnTo>
                    <a:lnTo>
                      <a:pt x="38" y="760"/>
                    </a:lnTo>
                    <a:lnTo>
                      <a:pt x="33" y="744"/>
                    </a:lnTo>
                    <a:lnTo>
                      <a:pt x="38" y="727"/>
                    </a:lnTo>
                    <a:lnTo>
                      <a:pt x="49" y="720"/>
                    </a:lnTo>
                    <a:lnTo>
                      <a:pt x="54" y="720"/>
                    </a:lnTo>
                    <a:lnTo>
                      <a:pt x="64" y="720"/>
                    </a:lnTo>
                    <a:lnTo>
                      <a:pt x="80" y="720"/>
                    </a:lnTo>
                    <a:lnTo>
                      <a:pt x="80" y="704"/>
                    </a:lnTo>
                    <a:lnTo>
                      <a:pt x="87" y="708"/>
                    </a:lnTo>
                    <a:lnTo>
                      <a:pt x="92" y="708"/>
                    </a:lnTo>
                    <a:lnTo>
                      <a:pt x="92" y="704"/>
                    </a:lnTo>
                    <a:lnTo>
                      <a:pt x="118" y="666"/>
                    </a:lnTo>
                    <a:lnTo>
                      <a:pt x="118" y="654"/>
                    </a:lnTo>
                    <a:lnTo>
                      <a:pt x="139" y="633"/>
                    </a:lnTo>
                    <a:lnTo>
                      <a:pt x="146" y="616"/>
                    </a:lnTo>
                    <a:lnTo>
                      <a:pt x="134" y="621"/>
                    </a:lnTo>
                    <a:lnTo>
                      <a:pt x="125" y="616"/>
                    </a:lnTo>
                    <a:lnTo>
                      <a:pt x="134" y="609"/>
                    </a:lnTo>
                    <a:lnTo>
                      <a:pt x="134" y="600"/>
                    </a:lnTo>
                    <a:lnTo>
                      <a:pt x="125" y="616"/>
                    </a:lnTo>
                    <a:lnTo>
                      <a:pt x="118" y="609"/>
                    </a:lnTo>
                    <a:lnTo>
                      <a:pt x="118" y="600"/>
                    </a:lnTo>
                    <a:lnTo>
                      <a:pt x="134" y="593"/>
                    </a:lnTo>
                    <a:lnTo>
                      <a:pt x="118" y="583"/>
                    </a:lnTo>
                    <a:lnTo>
                      <a:pt x="125" y="567"/>
                    </a:lnTo>
                    <a:lnTo>
                      <a:pt x="125" y="522"/>
                    </a:lnTo>
                    <a:lnTo>
                      <a:pt x="118" y="505"/>
                    </a:lnTo>
                    <a:lnTo>
                      <a:pt x="108" y="498"/>
                    </a:lnTo>
                    <a:lnTo>
                      <a:pt x="134" y="482"/>
                    </a:lnTo>
                    <a:lnTo>
                      <a:pt x="118" y="448"/>
                    </a:lnTo>
                    <a:lnTo>
                      <a:pt x="118" y="444"/>
                    </a:lnTo>
                    <a:lnTo>
                      <a:pt x="118" y="448"/>
                    </a:lnTo>
                    <a:lnTo>
                      <a:pt x="125" y="427"/>
                    </a:lnTo>
                    <a:lnTo>
                      <a:pt x="87" y="378"/>
                    </a:lnTo>
                    <a:lnTo>
                      <a:pt x="87" y="378"/>
                    </a:lnTo>
                    <a:lnTo>
                      <a:pt x="87" y="378"/>
                    </a:lnTo>
                    <a:close/>
                    <a:moveTo>
                      <a:pt x="118" y="583"/>
                    </a:moveTo>
                    <a:lnTo>
                      <a:pt x="125" y="593"/>
                    </a:lnTo>
                    <a:lnTo>
                      <a:pt x="108" y="593"/>
                    </a:lnTo>
                    <a:lnTo>
                      <a:pt x="118" y="583"/>
                    </a:lnTo>
                    <a:lnTo>
                      <a:pt x="118" y="583"/>
                    </a:lnTo>
                    <a:lnTo>
                      <a:pt x="118" y="583"/>
                    </a:lnTo>
                    <a:close/>
                    <a:moveTo>
                      <a:pt x="108" y="600"/>
                    </a:moveTo>
                    <a:lnTo>
                      <a:pt x="118" y="600"/>
                    </a:lnTo>
                    <a:lnTo>
                      <a:pt x="118" y="609"/>
                    </a:lnTo>
                    <a:lnTo>
                      <a:pt x="108" y="600"/>
                    </a:lnTo>
                    <a:lnTo>
                      <a:pt x="108" y="600"/>
                    </a:lnTo>
                    <a:lnTo>
                      <a:pt x="108" y="600"/>
                    </a:lnTo>
                    <a:close/>
                    <a:moveTo>
                      <a:pt x="118" y="666"/>
                    </a:moveTo>
                    <a:lnTo>
                      <a:pt x="108" y="666"/>
                    </a:lnTo>
                    <a:lnTo>
                      <a:pt x="118" y="666"/>
                    </a:lnTo>
                    <a:lnTo>
                      <a:pt x="118" y="666"/>
                    </a:lnTo>
                    <a:lnTo>
                      <a:pt x="118" y="666"/>
                    </a:lnTo>
                    <a:lnTo>
                      <a:pt x="118" y="666"/>
                    </a:lnTo>
                    <a:close/>
                    <a:moveTo>
                      <a:pt x="108" y="671"/>
                    </a:moveTo>
                    <a:lnTo>
                      <a:pt x="108" y="666"/>
                    </a:lnTo>
                    <a:lnTo>
                      <a:pt x="108" y="675"/>
                    </a:lnTo>
                    <a:lnTo>
                      <a:pt x="101" y="675"/>
                    </a:lnTo>
                    <a:lnTo>
                      <a:pt x="108" y="671"/>
                    </a:lnTo>
                    <a:lnTo>
                      <a:pt x="108" y="671"/>
                    </a:lnTo>
                    <a:lnTo>
                      <a:pt x="108" y="671"/>
                    </a:lnTo>
                    <a:close/>
                    <a:moveTo>
                      <a:pt x="87" y="708"/>
                    </a:moveTo>
                    <a:lnTo>
                      <a:pt x="87" y="704"/>
                    </a:lnTo>
                    <a:lnTo>
                      <a:pt x="92" y="708"/>
                    </a:lnTo>
                    <a:lnTo>
                      <a:pt x="87" y="708"/>
                    </a:lnTo>
                    <a:lnTo>
                      <a:pt x="87" y="708"/>
                    </a:lnTo>
                    <a:lnTo>
                      <a:pt x="87" y="708"/>
                    </a:lnTo>
                    <a:close/>
                    <a:moveTo>
                      <a:pt x="80" y="720"/>
                    </a:moveTo>
                    <a:lnTo>
                      <a:pt x="71" y="708"/>
                    </a:lnTo>
                    <a:lnTo>
                      <a:pt x="80" y="704"/>
                    </a:lnTo>
                    <a:lnTo>
                      <a:pt x="80" y="720"/>
                    </a:lnTo>
                    <a:lnTo>
                      <a:pt x="80" y="720"/>
                    </a:lnTo>
                    <a:lnTo>
                      <a:pt x="80" y="720"/>
                    </a:lnTo>
                    <a:close/>
                    <a:moveTo>
                      <a:pt x="71" y="720"/>
                    </a:moveTo>
                    <a:lnTo>
                      <a:pt x="64" y="708"/>
                    </a:lnTo>
                    <a:lnTo>
                      <a:pt x="71" y="708"/>
                    </a:lnTo>
                    <a:lnTo>
                      <a:pt x="71" y="720"/>
                    </a:lnTo>
                    <a:lnTo>
                      <a:pt x="71" y="720"/>
                    </a:lnTo>
                    <a:lnTo>
                      <a:pt x="71" y="72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0" name="Freeform 420">
                <a:extLst>
                  <a:ext uri="{FF2B5EF4-FFF2-40B4-BE49-F238E27FC236}">
                    <a16:creationId xmlns:a16="http://schemas.microsoft.com/office/drawing/2014/main" id="{A144A883-DB5E-41EF-A377-3127FABA96BD}"/>
                  </a:ext>
                </a:extLst>
              </p:cNvPr>
              <p:cNvSpPr>
                <a:spLocks/>
              </p:cNvSpPr>
              <p:nvPr/>
            </p:nvSpPr>
            <p:spPr bwMode="gray">
              <a:xfrm>
                <a:off x="4246335" y="3729925"/>
                <a:ext cx="95508" cy="95519"/>
              </a:xfrm>
              <a:custGeom>
                <a:avLst/>
                <a:gdLst>
                  <a:gd name="T0" fmla="*/ 232 w 232"/>
                  <a:gd name="T1" fmla="*/ 121 h 232"/>
                  <a:gd name="T2" fmla="*/ 232 w 232"/>
                  <a:gd name="T3" fmla="*/ 128 h 232"/>
                  <a:gd name="T4" fmla="*/ 215 w 232"/>
                  <a:gd name="T5" fmla="*/ 121 h 232"/>
                  <a:gd name="T6" fmla="*/ 206 w 232"/>
                  <a:gd name="T7" fmla="*/ 128 h 232"/>
                  <a:gd name="T8" fmla="*/ 206 w 232"/>
                  <a:gd name="T9" fmla="*/ 161 h 232"/>
                  <a:gd name="T10" fmla="*/ 222 w 232"/>
                  <a:gd name="T11" fmla="*/ 166 h 232"/>
                  <a:gd name="T12" fmla="*/ 206 w 232"/>
                  <a:gd name="T13" fmla="*/ 182 h 232"/>
                  <a:gd name="T14" fmla="*/ 215 w 232"/>
                  <a:gd name="T15" fmla="*/ 199 h 232"/>
                  <a:gd name="T16" fmla="*/ 201 w 232"/>
                  <a:gd name="T17" fmla="*/ 215 h 232"/>
                  <a:gd name="T18" fmla="*/ 206 w 232"/>
                  <a:gd name="T19" fmla="*/ 215 h 232"/>
                  <a:gd name="T20" fmla="*/ 206 w 232"/>
                  <a:gd name="T21" fmla="*/ 232 h 232"/>
                  <a:gd name="T22" fmla="*/ 206 w 232"/>
                  <a:gd name="T23" fmla="*/ 220 h 232"/>
                  <a:gd name="T24" fmla="*/ 189 w 232"/>
                  <a:gd name="T25" fmla="*/ 203 h 232"/>
                  <a:gd name="T26" fmla="*/ 201 w 232"/>
                  <a:gd name="T27" fmla="*/ 203 h 232"/>
                  <a:gd name="T28" fmla="*/ 189 w 232"/>
                  <a:gd name="T29" fmla="*/ 194 h 232"/>
                  <a:gd name="T30" fmla="*/ 180 w 232"/>
                  <a:gd name="T31" fmla="*/ 182 h 232"/>
                  <a:gd name="T32" fmla="*/ 168 w 232"/>
                  <a:gd name="T33" fmla="*/ 182 h 232"/>
                  <a:gd name="T34" fmla="*/ 185 w 232"/>
                  <a:gd name="T35" fmla="*/ 199 h 232"/>
                  <a:gd name="T36" fmla="*/ 185 w 232"/>
                  <a:gd name="T37" fmla="*/ 203 h 232"/>
                  <a:gd name="T38" fmla="*/ 151 w 232"/>
                  <a:gd name="T39" fmla="*/ 194 h 232"/>
                  <a:gd name="T40" fmla="*/ 163 w 232"/>
                  <a:gd name="T41" fmla="*/ 177 h 232"/>
                  <a:gd name="T42" fmla="*/ 163 w 232"/>
                  <a:gd name="T43" fmla="*/ 161 h 232"/>
                  <a:gd name="T44" fmla="*/ 114 w 232"/>
                  <a:gd name="T45" fmla="*/ 128 h 232"/>
                  <a:gd name="T46" fmla="*/ 92 w 232"/>
                  <a:gd name="T47" fmla="*/ 121 h 232"/>
                  <a:gd name="T48" fmla="*/ 81 w 232"/>
                  <a:gd name="T49" fmla="*/ 95 h 232"/>
                  <a:gd name="T50" fmla="*/ 43 w 232"/>
                  <a:gd name="T51" fmla="*/ 83 h 232"/>
                  <a:gd name="T52" fmla="*/ 43 w 232"/>
                  <a:gd name="T53" fmla="*/ 88 h 232"/>
                  <a:gd name="T54" fmla="*/ 71 w 232"/>
                  <a:gd name="T55" fmla="*/ 104 h 232"/>
                  <a:gd name="T56" fmla="*/ 55 w 232"/>
                  <a:gd name="T57" fmla="*/ 121 h 232"/>
                  <a:gd name="T58" fmla="*/ 38 w 232"/>
                  <a:gd name="T59" fmla="*/ 104 h 232"/>
                  <a:gd name="T60" fmla="*/ 17 w 232"/>
                  <a:gd name="T61" fmla="*/ 95 h 232"/>
                  <a:gd name="T62" fmla="*/ 0 w 232"/>
                  <a:gd name="T63" fmla="*/ 66 h 232"/>
                  <a:gd name="T64" fmla="*/ 22 w 232"/>
                  <a:gd name="T65" fmla="*/ 50 h 232"/>
                  <a:gd name="T66" fmla="*/ 17 w 232"/>
                  <a:gd name="T67" fmla="*/ 33 h 232"/>
                  <a:gd name="T68" fmla="*/ 0 w 232"/>
                  <a:gd name="T69" fmla="*/ 29 h 232"/>
                  <a:gd name="T70" fmla="*/ 17 w 232"/>
                  <a:gd name="T71" fmla="*/ 29 h 232"/>
                  <a:gd name="T72" fmla="*/ 17 w 232"/>
                  <a:gd name="T73" fmla="*/ 17 h 232"/>
                  <a:gd name="T74" fmla="*/ 22 w 232"/>
                  <a:gd name="T75" fmla="*/ 0 h 232"/>
                  <a:gd name="T76" fmla="*/ 71 w 232"/>
                  <a:gd name="T77" fmla="*/ 29 h 232"/>
                  <a:gd name="T78" fmla="*/ 81 w 232"/>
                  <a:gd name="T79" fmla="*/ 17 h 232"/>
                  <a:gd name="T80" fmla="*/ 135 w 232"/>
                  <a:gd name="T81" fmla="*/ 38 h 232"/>
                  <a:gd name="T82" fmla="*/ 151 w 232"/>
                  <a:gd name="T83" fmla="*/ 33 h 232"/>
                  <a:gd name="T84" fmla="*/ 163 w 232"/>
                  <a:gd name="T85" fmla="*/ 29 h 232"/>
                  <a:gd name="T86" fmla="*/ 180 w 232"/>
                  <a:gd name="T87" fmla="*/ 71 h 232"/>
                  <a:gd name="T88" fmla="*/ 222 w 232"/>
                  <a:gd name="T89" fmla="*/ 121 h 232"/>
                  <a:gd name="T90" fmla="*/ 232 w 232"/>
                  <a:gd name="T91" fmla="*/ 121 h 232"/>
                  <a:gd name="T92" fmla="*/ 232 w 232"/>
                  <a:gd name="T93" fmla="*/ 121 h 232"/>
                  <a:gd name="T94" fmla="*/ 232 w 232"/>
                  <a:gd name="T95" fmla="*/ 12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2" h="232">
                    <a:moveTo>
                      <a:pt x="232" y="121"/>
                    </a:moveTo>
                    <a:lnTo>
                      <a:pt x="232" y="128"/>
                    </a:lnTo>
                    <a:lnTo>
                      <a:pt x="215" y="121"/>
                    </a:lnTo>
                    <a:lnTo>
                      <a:pt x="206" y="128"/>
                    </a:lnTo>
                    <a:lnTo>
                      <a:pt x="206" y="161"/>
                    </a:lnTo>
                    <a:lnTo>
                      <a:pt x="222" y="166"/>
                    </a:lnTo>
                    <a:lnTo>
                      <a:pt x="206" y="182"/>
                    </a:lnTo>
                    <a:lnTo>
                      <a:pt x="215" y="199"/>
                    </a:lnTo>
                    <a:lnTo>
                      <a:pt x="201" y="215"/>
                    </a:lnTo>
                    <a:lnTo>
                      <a:pt x="206" y="215"/>
                    </a:lnTo>
                    <a:lnTo>
                      <a:pt x="206" y="232"/>
                    </a:lnTo>
                    <a:lnTo>
                      <a:pt x="206" y="220"/>
                    </a:lnTo>
                    <a:lnTo>
                      <a:pt x="189" y="203"/>
                    </a:lnTo>
                    <a:lnTo>
                      <a:pt x="201" y="203"/>
                    </a:lnTo>
                    <a:lnTo>
                      <a:pt x="189" y="194"/>
                    </a:lnTo>
                    <a:lnTo>
                      <a:pt x="180" y="182"/>
                    </a:lnTo>
                    <a:lnTo>
                      <a:pt x="168" y="182"/>
                    </a:lnTo>
                    <a:lnTo>
                      <a:pt x="185" y="199"/>
                    </a:lnTo>
                    <a:lnTo>
                      <a:pt x="185" y="203"/>
                    </a:lnTo>
                    <a:lnTo>
                      <a:pt x="151" y="194"/>
                    </a:lnTo>
                    <a:lnTo>
                      <a:pt x="163" y="177"/>
                    </a:lnTo>
                    <a:lnTo>
                      <a:pt x="163" y="161"/>
                    </a:lnTo>
                    <a:lnTo>
                      <a:pt x="114" y="128"/>
                    </a:lnTo>
                    <a:lnTo>
                      <a:pt x="92" y="121"/>
                    </a:lnTo>
                    <a:lnTo>
                      <a:pt x="81" y="95"/>
                    </a:lnTo>
                    <a:lnTo>
                      <a:pt x="43" y="83"/>
                    </a:lnTo>
                    <a:lnTo>
                      <a:pt x="43" y="88"/>
                    </a:lnTo>
                    <a:lnTo>
                      <a:pt x="71" y="104"/>
                    </a:lnTo>
                    <a:lnTo>
                      <a:pt x="55" y="121"/>
                    </a:lnTo>
                    <a:lnTo>
                      <a:pt x="38" y="104"/>
                    </a:lnTo>
                    <a:lnTo>
                      <a:pt x="17" y="95"/>
                    </a:lnTo>
                    <a:lnTo>
                      <a:pt x="0" y="66"/>
                    </a:lnTo>
                    <a:lnTo>
                      <a:pt x="22" y="50"/>
                    </a:lnTo>
                    <a:lnTo>
                      <a:pt x="17" y="33"/>
                    </a:lnTo>
                    <a:lnTo>
                      <a:pt x="0" y="29"/>
                    </a:lnTo>
                    <a:lnTo>
                      <a:pt x="17" y="29"/>
                    </a:lnTo>
                    <a:lnTo>
                      <a:pt x="17" y="17"/>
                    </a:lnTo>
                    <a:lnTo>
                      <a:pt x="22" y="0"/>
                    </a:lnTo>
                    <a:lnTo>
                      <a:pt x="71" y="29"/>
                    </a:lnTo>
                    <a:lnTo>
                      <a:pt x="81" y="17"/>
                    </a:lnTo>
                    <a:lnTo>
                      <a:pt x="135" y="38"/>
                    </a:lnTo>
                    <a:lnTo>
                      <a:pt x="151" y="33"/>
                    </a:lnTo>
                    <a:lnTo>
                      <a:pt x="163" y="29"/>
                    </a:lnTo>
                    <a:lnTo>
                      <a:pt x="180" y="71"/>
                    </a:lnTo>
                    <a:lnTo>
                      <a:pt x="222" y="121"/>
                    </a:lnTo>
                    <a:lnTo>
                      <a:pt x="232" y="121"/>
                    </a:lnTo>
                    <a:lnTo>
                      <a:pt x="232" y="121"/>
                    </a:lnTo>
                    <a:lnTo>
                      <a:pt x="232" y="1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1" name="Freeform 422">
                <a:extLst>
                  <a:ext uri="{FF2B5EF4-FFF2-40B4-BE49-F238E27FC236}">
                    <a16:creationId xmlns:a16="http://schemas.microsoft.com/office/drawing/2014/main" id="{0293F0AC-D339-4B2A-B149-1892CA15DB5A}"/>
                  </a:ext>
                </a:extLst>
              </p:cNvPr>
              <p:cNvSpPr>
                <a:spLocks noEditPoints="1"/>
              </p:cNvSpPr>
              <p:nvPr/>
            </p:nvSpPr>
            <p:spPr bwMode="gray">
              <a:xfrm>
                <a:off x="4274740" y="3364322"/>
                <a:ext cx="311223" cy="106223"/>
              </a:xfrm>
              <a:custGeom>
                <a:avLst/>
                <a:gdLst>
                  <a:gd name="T0" fmla="*/ 685 w 756"/>
                  <a:gd name="T1" fmla="*/ 241 h 258"/>
                  <a:gd name="T2" fmla="*/ 605 w 756"/>
                  <a:gd name="T3" fmla="*/ 241 h 258"/>
                  <a:gd name="T4" fmla="*/ 545 w 756"/>
                  <a:gd name="T5" fmla="*/ 217 h 258"/>
                  <a:gd name="T6" fmla="*/ 475 w 756"/>
                  <a:gd name="T7" fmla="*/ 196 h 258"/>
                  <a:gd name="T8" fmla="*/ 432 w 756"/>
                  <a:gd name="T9" fmla="*/ 123 h 258"/>
                  <a:gd name="T10" fmla="*/ 314 w 756"/>
                  <a:gd name="T11" fmla="*/ 95 h 258"/>
                  <a:gd name="T12" fmla="*/ 281 w 756"/>
                  <a:gd name="T13" fmla="*/ 90 h 258"/>
                  <a:gd name="T14" fmla="*/ 243 w 756"/>
                  <a:gd name="T15" fmla="*/ 83 h 258"/>
                  <a:gd name="T16" fmla="*/ 227 w 756"/>
                  <a:gd name="T17" fmla="*/ 57 h 258"/>
                  <a:gd name="T18" fmla="*/ 151 w 756"/>
                  <a:gd name="T19" fmla="*/ 40 h 258"/>
                  <a:gd name="T20" fmla="*/ 59 w 756"/>
                  <a:gd name="T21" fmla="*/ 95 h 258"/>
                  <a:gd name="T22" fmla="*/ 28 w 756"/>
                  <a:gd name="T23" fmla="*/ 95 h 258"/>
                  <a:gd name="T24" fmla="*/ 28 w 756"/>
                  <a:gd name="T25" fmla="*/ 90 h 258"/>
                  <a:gd name="T26" fmla="*/ 54 w 756"/>
                  <a:gd name="T27" fmla="*/ 50 h 258"/>
                  <a:gd name="T28" fmla="*/ 189 w 756"/>
                  <a:gd name="T29" fmla="*/ 0 h 258"/>
                  <a:gd name="T30" fmla="*/ 260 w 756"/>
                  <a:gd name="T31" fmla="*/ 0 h 258"/>
                  <a:gd name="T32" fmla="*/ 297 w 756"/>
                  <a:gd name="T33" fmla="*/ 12 h 258"/>
                  <a:gd name="T34" fmla="*/ 368 w 756"/>
                  <a:gd name="T35" fmla="*/ 33 h 258"/>
                  <a:gd name="T36" fmla="*/ 444 w 756"/>
                  <a:gd name="T37" fmla="*/ 66 h 258"/>
                  <a:gd name="T38" fmla="*/ 524 w 756"/>
                  <a:gd name="T39" fmla="*/ 111 h 258"/>
                  <a:gd name="T40" fmla="*/ 508 w 756"/>
                  <a:gd name="T41" fmla="*/ 106 h 258"/>
                  <a:gd name="T42" fmla="*/ 545 w 756"/>
                  <a:gd name="T43" fmla="*/ 123 h 258"/>
                  <a:gd name="T44" fmla="*/ 545 w 756"/>
                  <a:gd name="T45" fmla="*/ 123 h 258"/>
                  <a:gd name="T46" fmla="*/ 567 w 756"/>
                  <a:gd name="T47" fmla="*/ 140 h 258"/>
                  <a:gd name="T48" fmla="*/ 595 w 756"/>
                  <a:gd name="T49" fmla="*/ 151 h 258"/>
                  <a:gd name="T50" fmla="*/ 621 w 756"/>
                  <a:gd name="T51" fmla="*/ 163 h 258"/>
                  <a:gd name="T52" fmla="*/ 647 w 756"/>
                  <a:gd name="T53" fmla="*/ 180 h 258"/>
                  <a:gd name="T54" fmla="*/ 701 w 756"/>
                  <a:gd name="T55" fmla="*/ 196 h 258"/>
                  <a:gd name="T56" fmla="*/ 744 w 756"/>
                  <a:gd name="T57" fmla="*/ 241 h 258"/>
                  <a:gd name="T58" fmla="*/ 685 w 756"/>
                  <a:gd name="T59" fmla="*/ 253 h 258"/>
                  <a:gd name="T60" fmla="*/ 437 w 756"/>
                  <a:gd name="T61" fmla="*/ 50 h 258"/>
                  <a:gd name="T62" fmla="*/ 453 w 756"/>
                  <a:gd name="T63" fmla="*/ 57 h 258"/>
                  <a:gd name="T64" fmla="*/ 486 w 756"/>
                  <a:gd name="T65" fmla="*/ 73 h 258"/>
                  <a:gd name="T66" fmla="*/ 486 w 756"/>
                  <a:gd name="T67" fmla="*/ 73 h 258"/>
                  <a:gd name="T68" fmla="*/ 491 w 756"/>
                  <a:gd name="T69" fmla="*/ 83 h 258"/>
                  <a:gd name="T70" fmla="*/ 491 w 756"/>
                  <a:gd name="T71" fmla="*/ 73 h 258"/>
                  <a:gd name="T72" fmla="*/ 491 w 756"/>
                  <a:gd name="T73" fmla="*/ 83 h 258"/>
                  <a:gd name="T74" fmla="*/ 508 w 756"/>
                  <a:gd name="T75" fmla="*/ 90 h 258"/>
                  <a:gd name="T76" fmla="*/ 508 w 756"/>
                  <a:gd name="T77" fmla="*/ 95 h 258"/>
                  <a:gd name="T78" fmla="*/ 120 w 756"/>
                  <a:gd name="T79" fmla="*/ 123 h 258"/>
                  <a:gd name="T80" fmla="*/ 130 w 756"/>
                  <a:gd name="T81" fmla="*/ 106 h 258"/>
                  <a:gd name="T82" fmla="*/ 168 w 756"/>
                  <a:gd name="T83" fmla="*/ 123 h 258"/>
                  <a:gd name="T84" fmla="*/ 134 w 756"/>
                  <a:gd name="T85" fmla="*/ 14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56" h="258">
                    <a:moveTo>
                      <a:pt x="685" y="253"/>
                    </a:moveTo>
                    <a:lnTo>
                      <a:pt x="685" y="253"/>
                    </a:lnTo>
                    <a:lnTo>
                      <a:pt x="685" y="241"/>
                    </a:lnTo>
                    <a:lnTo>
                      <a:pt x="685" y="253"/>
                    </a:lnTo>
                    <a:lnTo>
                      <a:pt x="675" y="253"/>
                    </a:lnTo>
                    <a:lnTo>
                      <a:pt x="605" y="241"/>
                    </a:lnTo>
                    <a:lnTo>
                      <a:pt x="496" y="258"/>
                    </a:lnTo>
                    <a:lnTo>
                      <a:pt x="512" y="241"/>
                    </a:lnTo>
                    <a:lnTo>
                      <a:pt x="545" y="217"/>
                    </a:lnTo>
                    <a:lnTo>
                      <a:pt x="545" y="208"/>
                    </a:lnTo>
                    <a:lnTo>
                      <a:pt x="541" y="196"/>
                    </a:lnTo>
                    <a:lnTo>
                      <a:pt x="475" y="196"/>
                    </a:lnTo>
                    <a:lnTo>
                      <a:pt x="444" y="168"/>
                    </a:lnTo>
                    <a:lnTo>
                      <a:pt x="437" y="128"/>
                    </a:lnTo>
                    <a:lnTo>
                      <a:pt x="432" y="123"/>
                    </a:lnTo>
                    <a:lnTo>
                      <a:pt x="399" y="128"/>
                    </a:lnTo>
                    <a:lnTo>
                      <a:pt x="345" y="111"/>
                    </a:lnTo>
                    <a:lnTo>
                      <a:pt x="314" y="95"/>
                    </a:lnTo>
                    <a:lnTo>
                      <a:pt x="307" y="83"/>
                    </a:lnTo>
                    <a:lnTo>
                      <a:pt x="297" y="90"/>
                    </a:lnTo>
                    <a:lnTo>
                      <a:pt x="281" y="90"/>
                    </a:lnTo>
                    <a:lnTo>
                      <a:pt x="260" y="83"/>
                    </a:lnTo>
                    <a:lnTo>
                      <a:pt x="243" y="90"/>
                    </a:lnTo>
                    <a:lnTo>
                      <a:pt x="243" y="83"/>
                    </a:lnTo>
                    <a:lnTo>
                      <a:pt x="217" y="83"/>
                    </a:lnTo>
                    <a:lnTo>
                      <a:pt x="189" y="66"/>
                    </a:lnTo>
                    <a:lnTo>
                      <a:pt x="227" y="57"/>
                    </a:lnTo>
                    <a:lnTo>
                      <a:pt x="227" y="50"/>
                    </a:lnTo>
                    <a:lnTo>
                      <a:pt x="217" y="40"/>
                    </a:lnTo>
                    <a:lnTo>
                      <a:pt x="151" y="40"/>
                    </a:lnTo>
                    <a:lnTo>
                      <a:pt x="108" y="73"/>
                    </a:lnTo>
                    <a:lnTo>
                      <a:pt x="66" y="83"/>
                    </a:lnTo>
                    <a:lnTo>
                      <a:pt x="59" y="95"/>
                    </a:lnTo>
                    <a:lnTo>
                      <a:pt x="45" y="95"/>
                    </a:lnTo>
                    <a:lnTo>
                      <a:pt x="28" y="111"/>
                    </a:lnTo>
                    <a:lnTo>
                      <a:pt x="28" y="95"/>
                    </a:lnTo>
                    <a:lnTo>
                      <a:pt x="7" y="106"/>
                    </a:lnTo>
                    <a:lnTo>
                      <a:pt x="0" y="106"/>
                    </a:lnTo>
                    <a:lnTo>
                      <a:pt x="28" y="90"/>
                    </a:lnTo>
                    <a:lnTo>
                      <a:pt x="38" y="90"/>
                    </a:lnTo>
                    <a:lnTo>
                      <a:pt x="28" y="73"/>
                    </a:lnTo>
                    <a:lnTo>
                      <a:pt x="54" y="50"/>
                    </a:lnTo>
                    <a:lnTo>
                      <a:pt x="113" y="17"/>
                    </a:lnTo>
                    <a:lnTo>
                      <a:pt x="134" y="17"/>
                    </a:lnTo>
                    <a:lnTo>
                      <a:pt x="189" y="0"/>
                    </a:lnTo>
                    <a:lnTo>
                      <a:pt x="227" y="0"/>
                    </a:lnTo>
                    <a:lnTo>
                      <a:pt x="238" y="12"/>
                    </a:lnTo>
                    <a:lnTo>
                      <a:pt x="260" y="0"/>
                    </a:lnTo>
                    <a:lnTo>
                      <a:pt x="255" y="12"/>
                    </a:lnTo>
                    <a:lnTo>
                      <a:pt x="260" y="17"/>
                    </a:lnTo>
                    <a:lnTo>
                      <a:pt x="297" y="12"/>
                    </a:lnTo>
                    <a:lnTo>
                      <a:pt x="323" y="21"/>
                    </a:lnTo>
                    <a:lnTo>
                      <a:pt x="335" y="17"/>
                    </a:lnTo>
                    <a:lnTo>
                      <a:pt x="368" y="33"/>
                    </a:lnTo>
                    <a:lnTo>
                      <a:pt x="390" y="66"/>
                    </a:lnTo>
                    <a:lnTo>
                      <a:pt x="420" y="66"/>
                    </a:lnTo>
                    <a:lnTo>
                      <a:pt x="444" y="66"/>
                    </a:lnTo>
                    <a:lnTo>
                      <a:pt x="475" y="90"/>
                    </a:lnTo>
                    <a:lnTo>
                      <a:pt x="496" y="106"/>
                    </a:lnTo>
                    <a:lnTo>
                      <a:pt x="524" y="111"/>
                    </a:lnTo>
                    <a:lnTo>
                      <a:pt x="524" y="123"/>
                    </a:lnTo>
                    <a:lnTo>
                      <a:pt x="529" y="123"/>
                    </a:lnTo>
                    <a:lnTo>
                      <a:pt x="508" y="106"/>
                    </a:lnTo>
                    <a:lnTo>
                      <a:pt x="512" y="95"/>
                    </a:lnTo>
                    <a:lnTo>
                      <a:pt x="545" y="123"/>
                    </a:lnTo>
                    <a:lnTo>
                      <a:pt x="545" y="123"/>
                    </a:lnTo>
                    <a:lnTo>
                      <a:pt x="529" y="123"/>
                    </a:lnTo>
                    <a:lnTo>
                      <a:pt x="541" y="128"/>
                    </a:lnTo>
                    <a:lnTo>
                      <a:pt x="545" y="123"/>
                    </a:lnTo>
                    <a:lnTo>
                      <a:pt x="562" y="140"/>
                    </a:lnTo>
                    <a:lnTo>
                      <a:pt x="562" y="147"/>
                    </a:lnTo>
                    <a:lnTo>
                      <a:pt x="567" y="140"/>
                    </a:lnTo>
                    <a:lnTo>
                      <a:pt x="579" y="147"/>
                    </a:lnTo>
                    <a:lnTo>
                      <a:pt x="583" y="151"/>
                    </a:lnTo>
                    <a:lnTo>
                      <a:pt x="595" y="151"/>
                    </a:lnTo>
                    <a:lnTo>
                      <a:pt x="595" y="147"/>
                    </a:lnTo>
                    <a:lnTo>
                      <a:pt x="600" y="147"/>
                    </a:lnTo>
                    <a:lnTo>
                      <a:pt x="621" y="163"/>
                    </a:lnTo>
                    <a:lnTo>
                      <a:pt x="647" y="163"/>
                    </a:lnTo>
                    <a:lnTo>
                      <a:pt x="654" y="168"/>
                    </a:lnTo>
                    <a:lnTo>
                      <a:pt x="647" y="180"/>
                    </a:lnTo>
                    <a:lnTo>
                      <a:pt x="638" y="184"/>
                    </a:lnTo>
                    <a:lnTo>
                      <a:pt x="638" y="196"/>
                    </a:lnTo>
                    <a:lnTo>
                      <a:pt x="701" y="196"/>
                    </a:lnTo>
                    <a:lnTo>
                      <a:pt x="730" y="217"/>
                    </a:lnTo>
                    <a:lnTo>
                      <a:pt x="756" y="225"/>
                    </a:lnTo>
                    <a:lnTo>
                      <a:pt x="744" y="241"/>
                    </a:lnTo>
                    <a:lnTo>
                      <a:pt x="706" y="241"/>
                    </a:lnTo>
                    <a:lnTo>
                      <a:pt x="685" y="253"/>
                    </a:lnTo>
                    <a:lnTo>
                      <a:pt x="685" y="253"/>
                    </a:lnTo>
                    <a:lnTo>
                      <a:pt x="685" y="253"/>
                    </a:lnTo>
                    <a:close/>
                    <a:moveTo>
                      <a:pt x="453" y="57"/>
                    </a:moveTo>
                    <a:lnTo>
                      <a:pt x="437" y="50"/>
                    </a:lnTo>
                    <a:lnTo>
                      <a:pt x="453" y="50"/>
                    </a:lnTo>
                    <a:lnTo>
                      <a:pt x="458" y="57"/>
                    </a:lnTo>
                    <a:lnTo>
                      <a:pt x="453" y="57"/>
                    </a:lnTo>
                    <a:lnTo>
                      <a:pt x="453" y="57"/>
                    </a:lnTo>
                    <a:lnTo>
                      <a:pt x="453" y="57"/>
                    </a:lnTo>
                    <a:close/>
                    <a:moveTo>
                      <a:pt x="486" y="73"/>
                    </a:moveTo>
                    <a:lnTo>
                      <a:pt x="458" y="57"/>
                    </a:lnTo>
                    <a:lnTo>
                      <a:pt x="475" y="57"/>
                    </a:lnTo>
                    <a:lnTo>
                      <a:pt x="486" y="73"/>
                    </a:lnTo>
                    <a:lnTo>
                      <a:pt x="486" y="73"/>
                    </a:lnTo>
                    <a:lnTo>
                      <a:pt x="486" y="73"/>
                    </a:lnTo>
                    <a:close/>
                    <a:moveTo>
                      <a:pt x="491" y="83"/>
                    </a:moveTo>
                    <a:lnTo>
                      <a:pt x="475" y="83"/>
                    </a:lnTo>
                    <a:lnTo>
                      <a:pt x="486" y="73"/>
                    </a:lnTo>
                    <a:lnTo>
                      <a:pt x="491" y="73"/>
                    </a:lnTo>
                    <a:lnTo>
                      <a:pt x="491" y="83"/>
                    </a:lnTo>
                    <a:lnTo>
                      <a:pt x="491" y="83"/>
                    </a:lnTo>
                    <a:lnTo>
                      <a:pt x="491" y="83"/>
                    </a:lnTo>
                    <a:close/>
                    <a:moveTo>
                      <a:pt x="508" y="95"/>
                    </a:moveTo>
                    <a:lnTo>
                      <a:pt x="486" y="83"/>
                    </a:lnTo>
                    <a:lnTo>
                      <a:pt x="508" y="90"/>
                    </a:lnTo>
                    <a:lnTo>
                      <a:pt x="508" y="95"/>
                    </a:lnTo>
                    <a:lnTo>
                      <a:pt x="508" y="95"/>
                    </a:lnTo>
                    <a:lnTo>
                      <a:pt x="508" y="95"/>
                    </a:lnTo>
                    <a:close/>
                    <a:moveTo>
                      <a:pt x="134" y="140"/>
                    </a:moveTo>
                    <a:lnTo>
                      <a:pt x="130" y="140"/>
                    </a:lnTo>
                    <a:lnTo>
                      <a:pt x="120" y="123"/>
                    </a:lnTo>
                    <a:lnTo>
                      <a:pt x="130" y="128"/>
                    </a:lnTo>
                    <a:lnTo>
                      <a:pt x="134" y="123"/>
                    </a:lnTo>
                    <a:lnTo>
                      <a:pt x="130" y="106"/>
                    </a:lnTo>
                    <a:lnTo>
                      <a:pt x="134" y="95"/>
                    </a:lnTo>
                    <a:lnTo>
                      <a:pt x="151" y="95"/>
                    </a:lnTo>
                    <a:lnTo>
                      <a:pt x="168" y="123"/>
                    </a:lnTo>
                    <a:lnTo>
                      <a:pt x="134" y="140"/>
                    </a:lnTo>
                    <a:lnTo>
                      <a:pt x="134" y="140"/>
                    </a:lnTo>
                    <a:lnTo>
                      <a:pt x="134" y="14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2" name="Freeform 427">
                <a:extLst>
                  <a:ext uri="{FF2B5EF4-FFF2-40B4-BE49-F238E27FC236}">
                    <a16:creationId xmlns:a16="http://schemas.microsoft.com/office/drawing/2014/main" id="{13F5379E-B5E8-4840-83AD-E8FEB34B36C4}"/>
                  </a:ext>
                </a:extLst>
              </p:cNvPr>
              <p:cNvSpPr>
                <a:spLocks/>
              </p:cNvSpPr>
              <p:nvPr/>
            </p:nvSpPr>
            <p:spPr bwMode="gray">
              <a:xfrm>
                <a:off x="4949467" y="3597764"/>
                <a:ext cx="7822" cy="10705"/>
              </a:xfrm>
              <a:custGeom>
                <a:avLst/>
                <a:gdLst>
                  <a:gd name="T0" fmla="*/ 7 w 19"/>
                  <a:gd name="T1" fmla="*/ 26 h 26"/>
                  <a:gd name="T2" fmla="*/ 0 w 19"/>
                  <a:gd name="T3" fmla="*/ 5 h 26"/>
                  <a:gd name="T4" fmla="*/ 0 w 19"/>
                  <a:gd name="T5" fmla="*/ 0 h 26"/>
                  <a:gd name="T6" fmla="*/ 19 w 19"/>
                  <a:gd name="T7" fmla="*/ 14 h 26"/>
                  <a:gd name="T8" fmla="*/ 19 w 19"/>
                  <a:gd name="T9" fmla="*/ 26 h 26"/>
                  <a:gd name="T10" fmla="*/ 7 w 19"/>
                  <a:gd name="T11" fmla="*/ 26 h 26"/>
                  <a:gd name="T12" fmla="*/ 7 w 19"/>
                  <a:gd name="T13" fmla="*/ 26 h 26"/>
                  <a:gd name="T14" fmla="*/ 7 w 19"/>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26">
                    <a:moveTo>
                      <a:pt x="7" y="26"/>
                    </a:moveTo>
                    <a:lnTo>
                      <a:pt x="0" y="5"/>
                    </a:lnTo>
                    <a:lnTo>
                      <a:pt x="0" y="0"/>
                    </a:lnTo>
                    <a:lnTo>
                      <a:pt x="19" y="14"/>
                    </a:lnTo>
                    <a:lnTo>
                      <a:pt x="19" y="26"/>
                    </a:lnTo>
                    <a:lnTo>
                      <a:pt x="7" y="26"/>
                    </a:lnTo>
                    <a:lnTo>
                      <a:pt x="7" y="26"/>
                    </a:lnTo>
                    <a:lnTo>
                      <a:pt x="7" y="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3" name="Freeform 428">
                <a:extLst>
                  <a:ext uri="{FF2B5EF4-FFF2-40B4-BE49-F238E27FC236}">
                    <a16:creationId xmlns:a16="http://schemas.microsoft.com/office/drawing/2014/main" id="{387C74A8-E511-4FD2-A9AA-481B81A0ED7F}"/>
                  </a:ext>
                </a:extLst>
              </p:cNvPr>
              <p:cNvSpPr>
                <a:spLocks noEditPoints="1"/>
              </p:cNvSpPr>
              <p:nvPr/>
            </p:nvSpPr>
            <p:spPr bwMode="gray">
              <a:xfrm>
                <a:off x="4646066" y="3466426"/>
                <a:ext cx="106212" cy="74933"/>
              </a:xfrm>
              <a:custGeom>
                <a:avLst/>
                <a:gdLst>
                  <a:gd name="T0" fmla="*/ 21 w 258"/>
                  <a:gd name="T1" fmla="*/ 142 h 182"/>
                  <a:gd name="T2" fmla="*/ 21 w 258"/>
                  <a:gd name="T3" fmla="*/ 118 h 182"/>
                  <a:gd name="T4" fmla="*/ 5 w 258"/>
                  <a:gd name="T5" fmla="*/ 114 h 182"/>
                  <a:gd name="T6" fmla="*/ 0 w 258"/>
                  <a:gd name="T7" fmla="*/ 102 h 182"/>
                  <a:gd name="T8" fmla="*/ 17 w 258"/>
                  <a:gd name="T9" fmla="*/ 97 h 182"/>
                  <a:gd name="T10" fmla="*/ 21 w 258"/>
                  <a:gd name="T11" fmla="*/ 85 h 182"/>
                  <a:gd name="T12" fmla="*/ 17 w 258"/>
                  <a:gd name="T13" fmla="*/ 69 h 182"/>
                  <a:gd name="T14" fmla="*/ 26 w 258"/>
                  <a:gd name="T15" fmla="*/ 57 h 182"/>
                  <a:gd name="T16" fmla="*/ 21 w 258"/>
                  <a:gd name="T17" fmla="*/ 45 h 182"/>
                  <a:gd name="T18" fmla="*/ 21 w 258"/>
                  <a:gd name="T19" fmla="*/ 29 h 182"/>
                  <a:gd name="T20" fmla="*/ 21 w 258"/>
                  <a:gd name="T21" fmla="*/ 12 h 182"/>
                  <a:gd name="T22" fmla="*/ 21 w 258"/>
                  <a:gd name="T23" fmla="*/ 0 h 182"/>
                  <a:gd name="T24" fmla="*/ 52 w 258"/>
                  <a:gd name="T25" fmla="*/ 7 h 182"/>
                  <a:gd name="T26" fmla="*/ 76 w 258"/>
                  <a:gd name="T27" fmla="*/ 0 h 182"/>
                  <a:gd name="T28" fmla="*/ 97 w 258"/>
                  <a:gd name="T29" fmla="*/ 12 h 182"/>
                  <a:gd name="T30" fmla="*/ 106 w 258"/>
                  <a:gd name="T31" fmla="*/ 7 h 182"/>
                  <a:gd name="T32" fmla="*/ 123 w 258"/>
                  <a:gd name="T33" fmla="*/ 24 h 182"/>
                  <a:gd name="T34" fmla="*/ 144 w 258"/>
                  <a:gd name="T35" fmla="*/ 12 h 182"/>
                  <a:gd name="T36" fmla="*/ 161 w 258"/>
                  <a:gd name="T37" fmla="*/ 45 h 182"/>
                  <a:gd name="T38" fmla="*/ 199 w 258"/>
                  <a:gd name="T39" fmla="*/ 40 h 182"/>
                  <a:gd name="T40" fmla="*/ 199 w 258"/>
                  <a:gd name="T41" fmla="*/ 45 h 182"/>
                  <a:gd name="T42" fmla="*/ 199 w 258"/>
                  <a:gd name="T43" fmla="*/ 57 h 182"/>
                  <a:gd name="T44" fmla="*/ 166 w 258"/>
                  <a:gd name="T45" fmla="*/ 57 h 182"/>
                  <a:gd name="T46" fmla="*/ 166 w 258"/>
                  <a:gd name="T47" fmla="*/ 64 h 182"/>
                  <a:gd name="T48" fmla="*/ 215 w 258"/>
                  <a:gd name="T49" fmla="*/ 69 h 182"/>
                  <a:gd name="T50" fmla="*/ 258 w 258"/>
                  <a:gd name="T51" fmla="*/ 102 h 182"/>
                  <a:gd name="T52" fmla="*/ 253 w 258"/>
                  <a:gd name="T53" fmla="*/ 118 h 182"/>
                  <a:gd name="T54" fmla="*/ 236 w 258"/>
                  <a:gd name="T55" fmla="*/ 118 h 182"/>
                  <a:gd name="T56" fmla="*/ 236 w 258"/>
                  <a:gd name="T57" fmla="*/ 125 h 182"/>
                  <a:gd name="T58" fmla="*/ 229 w 258"/>
                  <a:gd name="T59" fmla="*/ 125 h 182"/>
                  <a:gd name="T60" fmla="*/ 220 w 258"/>
                  <a:gd name="T61" fmla="*/ 114 h 182"/>
                  <a:gd name="T62" fmla="*/ 149 w 258"/>
                  <a:gd name="T63" fmla="*/ 114 h 182"/>
                  <a:gd name="T64" fmla="*/ 128 w 258"/>
                  <a:gd name="T65" fmla="*/ 125 h 182"/>
                  <a:gd name="T66" fmla="*/ 106 w 258"/>
                  <a:gd name="T67" fmla="*/ 125 h 182"/>
                  <a:gd name="T68" fmla="*/ 97 w 258"/>
                  <a:gd name="T69" fmla="*/ 114 h 182"/>
                  <a:gd name="T70" fmla="*/ 90 w 258"/>
                  <a:gd name="T71" fmla="*/ 114 h 182"/>
                  <a:gd name="T72" fmla="*/ 76 w 258"/>
                  <a:gd name="T73" fmla="*/ 125 h 182"/>
                  <a:gd name="T74" fmla="*/ 69 w 258"/>
                  <a:gd name="T75" fmla="*/ 118 h 182"/>
                  <a:gd name="T76" fmla="*/ 69 w 258"/>
                  <a:gd name="T77" fmla="*/ 137 h 182"/>
                  <a:gd name="T78" fmla="*/ 43 w 258"/>
                  <a:gd name="T79" fmla="*/ 175 h 182"/>
                  <a:gd name="T80" fmla="*/ 21 w 258"/>
                  <a:gd name="T81" fmla="*/ 142 h 182"/>
                  <a:gd name="T82" fmla="*/ 21 w 258"/>
                  <a:gd name="T83" fmla="*/ 142 h 182"/>
                  <a:gd name="T84" fmla="*/ 21 w 258"/>
                  <a:gd name="T85" fmla="*/ 142 h 182"/>
                  <a:gd name="T86" fmla="*/ 38 w 258"/>
                  <a:gd name="T87" fmla="*/ 182 h 182"/>
                  <a:gd name="T88" fmla="*/ 38 w 258"/>
                  <a:gd name="T89" fmla="*/ 175 h 182"/>
                  <a:gd name="T90" fmla="*/ 38 w 258"/>
                  <a:gd name="T91" fmla="*/ 175 h 182"/>
                  <a:gd name="T92" fmla="*/ 38 w 258"/>
                  <a:gd name="T93" fmla="*/ 182 h 182"/>
                  <a:gd name="T94" fmla="*/ 38 w 258"/>
                  <a:gd name="T95" fmla="*/ 182 h 182"/>
                  <a:gd name="T96" fmla="*/ 38 w 258"/>
                  <a:gd name="T9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8" h="182">
                    <a:moveTo>
                      <a:pt x="21" y="142"/>
                    </a:moveTo>
                    <a:lnTo>
                      <a:pt x="21" y="118"/>
                    </a:lnTo>
                    <a:lnTo>
                      <a:pt x="5" y="114"/>
                    </a:lnTo>
                    <a:lnTo>
                      <a:pt x="0" y="102"/>
                    </a:lnTo>
                    <a:lnTo>
                      <a:pt x="17" y="97"/>
                    </a:lnTo>
                    <a:lnTo>
                      <a:pt x="21" y="85"/>
                    </a:lnTo>
                    <a:lnTo>
                      <a:pt x="17" y="69"/>
                    </a:lnTo>
                    <a:lnTo>
                      <a:pt x="26" y="57"/>
                    </a:lnTo>
                    <a:lnTo>
                      <a:pt x="21" y="45"/>
                    </a:lnTo>
                    <a:lnTo>
                      <a:pt x="21" y="29"/>
                    </a:lnTo>
                    <a:lnTo>
                      <a:pt x="21" y="12"/>
                    </a:lnTo>
                    <a:lnTo>
                      <a:pt x="21" y="0"/>
                    </a:lnTo>
                    <a:lnTo>
                      <a:pt x="52" y="7"/>
                    </a:lnTo>
                    <a:lnTo>
                      <a:pt x="76" y="0"/>
                    </a:lnTo>
                    <a:lnTo>
                      <a:pt x="97" y="12"/>
                    </a:lnTo>
                    <a:lnTo>
                      <a:pt x="106" y="7"/>
                    </a:lnTo>
                    <a:lnTo>
                      <a:pt x="123" y="24"/>
                    </a:lnTo>
                    <a:lnTo>
                      <a:pt x="144" y="12"/>
                    </a:lnTo>
                    <a:lnTo>
                      <a:pt x="161" y="45"/>
                    </a:lnTo>
                    <a:lnTo>
                      <a:pt x="199" y="40"/>
                    </a:lnTo>
                    <a:lnTo>
                      <a:pt x="199" y="45"/>
                    </a:lnTo>
                    <a:lnTo>
                      <a:pt x="199" y="57"/>
                    </a:lnTo>
                    <a:lnTo>
                      <a:pt x="166" y="57"/>
                    </a:lnTo>
                    <a:lnTo>
                      <a:pt x="166" y="64"/>
                    </a:lnTo>
                    <a:lnTo>
                      <a:pt x="215" y="69"/>
                    </a:lnTo>
                    <a:lnTo>
                      <a:pt x="258" y="102"/>
                    </a:lnTo>
                    <a:lnTo>
                      <a:pt x="253" y="118"/>
                    </a:lnTo>
                    <a:lnTo>
                      <a:pt x="236" y="118"/>
                    </a:lnTo>
                    <a:lnTo>
                      <a:pt x="236" y="125"/>
                    </a:lnTo>
                    <a:lnTo>
                      <a:pt x="229" y="125"/>
                    </a:lnTo>
                    <a:lnTo>
                      <a:pt x="220" y="114"/>
                    </a:lnTo>
                    <a:lnTo>
                      <a:pt x="149" y="114"/>
                    </a:lnTo>
                    <a:lnTo>
                      <a:pt x="128" y="125"/>
                    </a:lnTo>
                    <a:lnTo>
                      <a:pt x="106" y="125"/>
                    </a:lnTo>
                    <a:lnTo>
                      <a:pt x="97" y="114"/>
                    </a:lnTo>
                    <a:lnTo>
                      <a:pt x="90" y="114"/>
                    </a:lnTo>
                    <a:lnTo>
                      <a:pt x="76" y="125"/>
                    </a:lnTo>
                    <a:lnTo>
                      <a:pt x="69" y="118"/>
                    </a:lnTo>
                    <a:lnTo>
                      <a:pt x="69" y="137"/>
                    </a:lnTo>
                    <a:lnTo>
                      <a:pt x="43" y="175"/>
                    </a:lnTo>
                    <a:lnTo>
                      <a:pt x="21" y="142"/>
                    </a:lnTo>
                    <a:lnTo>
                      <a:pt x="21" y="142"/>
                    </a:lnTo>
                    <a:lnTo>
                      <a:pt x="21" y="142"/>
                    </a:lnTo>
                    <a:close/>
                    <a:moveTo>
                      <a:pt x="38" y="182"/>
                    </a:moveTo>
                    <a:lnTo>
                      <a:pt x="38" y="175"/>
                    </a:lnTo>
                    <a:lnTo>
                      <a:pt x="38" y="175"/>
                    </a:lnTo>
                    <a:lnTo>
                      <a:pt x="38" y="182"/>
                    </a:lnTo>
                    <a:lnTo>
                      <a:pt x="38" y="182"/>
                    </a:lnTo>
                    <a:lnTo>
                      <a:pt x="38" y="18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4" name="Freeform 429">
                <a:extLst>
                  <a:ext uri="{FF2B5EF4-FFF2-40B4-BE49-F238E27FC236}">
                    <a16:creationId xmlns:a16="http://schemas.microsoft.com/office/drawing/2014/main" id="{C8FBA307-F145-45A6-BEA6-A9C61BA39A84}"/>
                  </a:ext>
                </a:extLst>
              </p:cNvPr>
              <p:cNvSpPr>
                <a:spLocks noEditPoints="1"/>
              </p:cNvSpPr>
              <p:nvPr/>
            </p:nvSpPr>
            <p:spPr bwMode="gray">
              <a:xfrm>
                <a:off x="4079196" y="4024713"/>
                <a:ext cx="473420" cy="189801"/>
              </a:xfrm>
              <a:custGeom>
                <a:avLst/>
                <a:gdLst>
                  <a:gd name="T0" fmla="*/ 966 w 1150"/>
                  <a:gd name="T1" fmla="*/ 40 h 461"/>
                  <a:gd name="T2" fmla="*/ 999 w 1150"/>
                  <a:gd name="T3" fmla="*/ 57 h 461"/>
                  <a:gd name="T4" fmla="*/ 1068 w 1150"/>
                  <a:gd name="T5" fmla="*/ 78 h 461"/>
                  <a:gd name="T6" fmla="*/ 1096 w 1150"/>
                  <a:gd name="T7" fmla="*/ 78 h 461"/>
                  <a:gd name="T8" fmla="*/ 1122 w 1150"/>
                  <a:gd name="T9" fmla="*/ 111 h 461"/>
                  <a:gd name="T10" fmla="*/ 1150 w 1150"/>
                  <a:gd name="T11" fmla="*/ 168 h 461"/>
                  <a:gd name="T12" fmla="*/ 1089 w 1150"/>
                  <a:gd name="T13" fmla="*/ 255 h 461"/>
                  <a:gd name="T14" fmla="*/ 945 w 1150"/>
                  <a:gd name="T15" fmla="*/ 338 h 461"/>
                  <a:gd name="T16" fmla="*/ 928 w 1150"/>
                  <a:gd name="T17" fmla="*/ 371 h 461"/>
                  <a:gd name="T18" fmla="*/ 895 w 1150"/>
                  <a:gd name="T19" fmla="*/ 437 h 461"/>
                  <a:gd name="T20" fmla="*/ 841 w 1150"/>
                  <a:gd name="T21" fmla="*/ 421 h 461"/>
                  <a:gd name="T22" fmla="*/ 787 w 1150"/>
                  <a:gd name="T23" fmla="*/ 421 h 461"/>
                  <a:gd name="T24" fmla="*/ 782 w 1150"/>
                  <a:gd name="T25" fmla="*/ 404 h 461"/>
                  <a:gd name="T26" fmla="*/ 803 w 1150"/>
                  <a:gd name="T27" fmla="*/ 383 h 461"/>
                  <a:gd name="T28" fmla="*/ 820 w 1150"/>
                  <a:gd name="T29" fmla="*/ 333 h 461"/>
                  <a:gd name="T30" fmla="*/ 836 w 1150"/>
                  <a:gd name="T31" fmla="*/ 243 h 461"/>
                  <a:gd name="T32" fmla="*/ 810 w 1150"/>
                  <a:gd name="T33" fmla="*/ 284 h 461"/>
                  <a:gd name="T34" fmla="*/ 798 w 1150"/>
                  <a:gd name="T35" fmla="*/ 293 h 461"/>
                  <a:gd name="T36" fmla="*/ 765 w 1150"/>
                  <a:gd name="T37" fmla="*/ 255 h 461"/>
                  <a:gd name="T38" fmla="*/ 765 w 1150"/>
                  <a:gd name="T39" fmla="*/ 201 h 461"/>
                  <a:gd name="T40" fmla="*/ 772 w 1150"/>
                  <a:gd name="T41" fmla="*/ 168 h 461"/>
                  <a:gd name="T42" fmla="*/ 787 w 1150"/>
                  <a:gd name="T43" fmla="*/ 144 h 461"/>
                  <a:gd name="T44" fmla="*/ 820 w 1150"/>
                  <a:gd name="T45" fmla="*/ 73 h 461"/>
                  <a:gd name="T46" fmla="*/ 891 w 1150"/>
                  <a:gd name="T47" fmla="*/ 17 h 461"/>
                  <a:gd name="T48" fmla="*/ 907 w 1150"/>
                  <a:gd name="T49" fmla="*/ 0 h 461"/>
                  <a:gd name="T50" fmla="*/ 895 w 1150"/>
                  <a:gd name="T51" fmla="*/ 0 h 461"/>
                  <a:gd name="T52" fmla="*/ 891 w 1150"/>
                  <a:gd name="T53" fmla="*/ 7 h 461"/>
                  <a:gd name="T54" fmla="*/ 80 w 1150"/>
                  <a:gd name="T55" fmla="*/ 73 h 461"/>
                  <a:gd name="T56" fmla="*/ 80 w 1150"/>
                  <a:gd name="T57" fmla="*/ 78 h 461"/>
                  <a:gd name="T58" fmla="*/ 14 w 1150"/>
                  <a:gd name="T59" fmla="*/ 172 h 461"/>
                  <a:gd name="T60" fmla="*/ 31 w 1150"/>
                  <a:gd name="T61" fmla="*/ 151 h 461"/>
                  <a:gd name="T62" fmla="*/ 14 w 1150"/>
                  <a:gd name="T63" fmla="*/ 106 h 461"/>
                  <a:gd name="T64" fmla="*/ 31 w 1150"/>
                  <a:gd name="T65" fmla="*/ 106 h 461"/>
                  <a:gd name="T66" fmla="*/ 47 w 1150"/>
                  <a:gd name="T67" fmla="*/ 144 h 461"/>
                  <a:gd name="T68" fmla="*/ 31 w 1150"/>
                  <a:gd name="T69" fmla="*/ 172 h 461"/>
                  <a:gd name="T70" fmla="*/ 69 w 1150"/>
                  <a:gd name="T71" fmla="*/ 128 h 461"/>
                  <a:gd name="T72" fmla="*/ 69 w 1150"/>
                  <a:gd name="T73" fmla="*/ 118 h 461"/>
                  <a:gd name="T74" fmla="*/ 69 w 1150"/>
                  <a:gd name="T75" fmla="*/ 128 h 461"/>
                  <a:gd name="T76" fmla="*/ 0 w 1150"/>
                  <a:gd name="T77" fmla="*/ 128 h 461"/>
                  <a:gd name="T78" fmla="*/ 9 w 1150"/>
                  <a:gd name="T79" fmla="*/ 135 h 461"/>
                  <a:gd name="T80" fmla="*/ 97 w 1150"/>
                  <a:gd name="T81" fmla="*/ 161 h 461"/>
                  <a:gd name="T82" fmla="*/ 102 w 1150"/>
                  <a:gd name="T83" fmla="*/ 144 h 461"/>
                  <a:gd name="T84" fmla="*/ 97 w 1150"/>
                  <a:gd name="T85" fmla="*/ 161 h 461"/>
                  <a:gd name="T86" fmla="*/ 139 w 1150"/>
                  <a:gd name="T87" fmla="*/ 168 h 461"/>
                  <a:gd name="T88" fmla="*/ 151 w 1150"/>
                  <a:gd name="T89" fmla="*/ 168 h 461"/>
                  <a:gd name="T90" fmla="*/ 85 w 1150"/>
                  <a:gd name="T91" fmla="*/ 201 h 461"/>
                  <a:gd name="T92" fmla="*/ 85 w 1150"/>
                  <a:gd name="T93" fmla="*/ 189 h 461"/>
                  <a:gd name="T94" fmla="*/ 85 w 1150"/>
                  <a:gd name="T95" fmla="*/ 201 h 461"/>
                  <a:gd name="T96" fmla="*/ 803 w 1150"/>
                  <a:gd name="T97" fmla="*/ 293 h 461"/>
                  <a:gd name="T98" fmla="*/ 803 w 1150"/>
                  <a:gd name="T99" fmla="*/ 317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50" h="461">
                    <a:moveTo>
                      <a:pt x="907" y="0"/>
                    </a:moveTo>
                    <a:lnTo>
                      <a:pt x="950" y="33"/>
                    </a:lnTo>
                    <a:lnTo>
                      <a:pt x="966" y="40"/>
                    </a:lnTo>
                    <a:lnTo>
                      <a:pt x="983" y="40"/>
                    </a:lnTo>
                    <a:lnTo>
                      <a:pt x="983" y="50"/>
                    </a:lnTo>
                    <a:lnTo>
                      <a:pt x="999" y="57"/>
                    </a:lnTo>
                    <a:lnTo>
                      <a:pt x="1004" y="73"/>
                    </a:lnTo>
                    <a:lnTo>
                      <a:pt x="1058" y="90"/>
                    </a:lnTo>
                    <a:lnTo>
                      <a:pt x="1068" y="78"/>
                    </a:lnTo>
                    <a:lnTo>
                      <a:pt x="1068" y="73"/>
                    </a:lnTo>
                    <a:lnTo>
                      <a:pt x="1080" y="73"/>
                    </a:lnTo>
                    <a:lnTo>
                      <a:pt x="1096" y="78"/>
                    </a:lnTo>
                    <a:lnTo>
                      <a:pt x="1113" y="95"/>
                    </a:lnTo>
                    <a:lnTo>
                      <a:pt x="1150" y="111"/>
                    </a:lnTo>
                    <a:lnTo>
                      <a:pt x="1122" y="111"/>
                    </a:lnTo>
                    <a:lnTo>
                      <a:pt x="1150" y="144"/>
                    </a:lnTo>
                    <a:lnTo>
                      <a:pt x="1150" y="151"/>
                    </a:lnTo>
                    <a:lnTo>
                      <a:pt x="1150" y="168"/>
                    </a:lnTo>
                    <a:lnTo>
                      <a:pt x="1143" y="168"/>
                    </a:lnTo>
                    <a:lnTo>
                      <a:pt x="1127" y="217"/>
                    </a:lnTo>
                    <a:lnTo>
                      <a:pt x="1089" y="255"/>
                    </a:lnTo>
                    <a:lnTo>
                      <a:pt x="1051" y="284"/>
                    </a:lnTo>
                    <a:lnTo>
                      <a:pt x="966" y="317"/>
                    </a:lnTo>
                    <a:lnTo>
                      <a:pt x="945" y="338"/>
                    </a:lnTo>
                    <a:lnTo>
                      <a:pt x="945" y="354"/>
                    </a:lnTo>
                    <a:lnTo>
                      <a:pt x="933" y="350"/>
                    </a:lnTo>
                    <a:lnTo>
                      <a:pt x="928" y="371"/>
                    </a:lnTo>
                    <a:lnTo>
                      <a:pt x="912" y="411"/>
                    </a:lnTo>
                    <a:lnTo>
                      <a:pt x="912" y="428"/>
                    </a:lnTo>
                    <a:lnTo>
                      <a:pt x="895" y="437"/>
                    </a:lnTo>
                    <a:lnTo>
                      <a:pt x="879" y="461"/>
                    </a:lnTo>
                    <a:lnTo>
                      <a:pt x="862" y="461"/>
                    </a:lnTo>
                    <a:lnTo>
                      <a:pt x="841" y="421"/>
                    </a:lnTo>
                    <a:lnTo>
                      <a:pt x="824" y="421"/>
                    </a:lnTo>
                    <a:lnTo>
                      <a:pt x="803" y="411"/>
                    </a:lnTo>
                    <a:lnTo>
                      <a:pt x="787" y="421"/>
                    </a:lnTo>
                    <a:lnTo>
                      <a:pt x="782" y="421"/>
                    </a:lnTo>
                    <a:lnTo>
                      <a:pt x="798" y="404"/>
                    </a:lnTo>
                    <a:lnTo>
                      <a:pt x="782" y="404"/>
                    </a:lnTo>
                    <a:lnTo>
                      <a:pt x="782" y="387"/>
                    </a:lnTo>
                    <a:lnTo>
                      <a:pt x="798" y="387"/>
                    </a:lnTo>
                    <a:lnTo>
                      <a:pt x="803" y="383"/>
                    </a:lnTo>
                    <a:lnTo>
                      <a:pt x="798" y="350"/>
                    </a:lnTo>
                    <a:lnTo>
                      <a:pt x="798" y="338"/>
                    </a:lnTo>
                    <a:lnTo>
                      <a:pt x="820" y="333"/>
                    </a:lnTo>
                    <a:lnTo>
                      <a:pt x="836" y="284"/>
                    </a:lnTo>
                    <a:lnTo>
                      <a:pt x="824" y="272"/>
                    </a:lnTo>
                    <a:lnTo>
                      <a:pt x="836" y="243"/>
                    </a:lnTo>
                    <a:lnTo>
                      <a:pt x="824" y="255"/>
                    </a:lnTo>
                    <a:lnTo>
                      <a:pt x="824" y="284"/>
                    </a:lnTo>
                    <a:lnTo>
                      <a:pt x="810" y="284"/>
                    </a:lnTo>
                    <a:lnTo>
                      <a:pt x="820" y="272"/>
                    </a:lnTo>
                    <a:lnTo>
                      <a:pt x="820" y="272"/>
                    </a:lnTo>
                    <a:lnTo>
                      <a:pt x="798" y="293"/>
                    </a:lnTo>
                    <a:lnTo>
                      <a:pt x="756" y="272"/>
                    </a:lnTo>
                    <a:lnTo>
                      <a:pt x="749" y="255"/>
                    </a:lnTo>
                    <a:lnTo>
                      <a:pt x="765" y="255"/>
                    </a:lnTo>
                    <a:lnTo>
                      <a:pt x="765" y="239"/>
                    </a:lnTo>
                    <a:lnTo>
                      <a:pt x="756" y="217"/>
                    </a:lnTo>
                    <a:lnTo>
                      <a:pt x="765" y="201"/>
                    </a:lnTo>
                    <a:lnTo>
                      <a:pt x="749" y="172"/>
                    </a:lnTo>
                    <a:lnTo>
                      <a:pt x="756" y="168"/>
                    </a:lnTo>
                    <a:lnTo>
                      <a:pt x="772" y="168"/>
                    </a:lnTo>
                    <a:lnTo>
                      <a:pt x="787" y="144"/>
                    </a:lnTo>
                    <a:lnTo>
                      <a:pt x="798" y="144"/>
                    </a:lnTo>
                    <a:lnTo>
                      <a:pt x="787" y="144"/>
                    </a:lnTo>
                    <a:lnTo>
                      <a:pt x="782" y="128"/>
                    </a:lnTo>
                    <a:lnTo>
                      <a:pt x="810" y="95"/>
                    </a:lnTo>
                    <a:lnTo>
                      <a:pt x="820" y="73"/>
                    </a:lnTo>
                    <a:lnTo>
                      <a:pt x="810" y="50"/>
                    </a:lnTo>
                    <a:lnTo>
                      <a:pt x="810" y="40"/>
                    </a:lnTo>
                    <a:lnTo>
                      <a:pt x="891" y="17"/>
                    </a:lnTo>
                    <a:lnTo>
                      <a:pt x="907" y="0"/>
                    </a:lnTo>
                    <a:lnTo>
                      <a:pt x="907" y="0"/>
                    </a:lnTo>
                    <a:lnTo>
                      <a:pt x="907" y="0"/>
                    </a:lnTo>
                    <a:close/>
                    <a:moveTo>
                      <a:pt x="891" y="7"/>
                    </a:moveTo>
                    <a:lnTo>
                      <a:pt x="891" y="7"/>
                    </a:lnTo>
                    <a:lnTo>
                      <a:pt x="895" y="0"/>
                    </a:lnTo>
                    <a:lnTo>
                      <a:pt x="891" y="7"/>
                    </a:lnTo>
                    <a:lnTo>
                      <a:pt x="891" y="7"/>
                    </a:lnTo>
                    <a:lnTo>
                      <a:pt x="891" y="7"/>
                    </a:lnTo>
                    <a:close/>
                    <a:moveTo>
                      <a:pt x="80" y="78"/>
                    </a:moveTo>
                    <a:lnTo>
                      <a:pt x="80" y="78"/>
                    </a:lnTo>
                    <a:lnTo>
                      <a:pt x="80" y="73"/>
                    </a:lnTo>
                    <a:lnTo>
                      <a:pt x="85" y="78"/>
                    </a:lnTo>
                    <a:lnTo>
                      <a:pt x="80" y="78"/>
                    </a:lnTo>
                    <a:lnTo>
                      <a:pt x="80" y="78"/>
                    </a:lnTo>
                    <a:lnTo>
                      <a:pt x="80" y="78"/>
                    </a:lnTo>
                    <a:close/>
                    <a:moveTo>
                      <a:pt x="31" y="172"/>
                    </a:moveTo>
                    <a:lnTo>
                      <a:pt x="14" y="172"/>
                    </a:lnTo>
                    <a:lnTo>
                      <a:pt x="9" y="168"/>
                    </a:lnTo>
                    <a:lnTo>
                      <a:pt x="26" y="151"/>
                    </a:lnTo>
                    <a:lnTo>
                      <a:pt x="31" y="151"/>
                    </a:lnTo>
                    <a:lnTo>
                      <a:pt x="43" y="144"/>
                    </a:lnTo>
                    <a:lnTo>
                      <a:pt x="14" y="118"/>
                    </a:lnTo>
                    <a:lnTo>
                      <a:pt x="14" y="106"/>
                    </a:lnTo>
                    <a:lnTo>
                      <a:pt x="0" y="106"/>
                    </a:lnTo>
                    <a:lnTo>
                      <a:pt x="14" y="90"/>
                    </a:lnTo>
                    <a:lnTo>
                      <a:pt x="31" y="106"/>
                    </a:lnTo>
                    <a:lnTo>
                      <a:pt x="31" y="118"/>
                    </a:lnTo>
                    <a:lnTo>
                      <a:pt x="47" y="128"/>
                    </a:lnTo>
                    <a:lnTo>
                      <a:pt x="47" y="144"/>
                    </a:lnTo>
                    <a:lnTo>
                      <a:pt x="52" y="151"/>
                    </a:lnTo>
                    <a:lnTo>
                      <a:pt x="47" y="168"/>
                    </a:lnTo>
                    <a:lnTo>
                      <a:pt x="31" y="172"/>
                    </a:lnTo>
                    <a:lnTo>
                      <a:pt x="31" y="172"/>
                    </a:lnTo>
                    <a:lnTo>
                      <a:pt x="31" y="172"/>
                    </a:lnTo>
                    <a:close/>
                    <a:moveTo>
                      <a:pt x="69" y="128"/>
                    </a:moveTo>
                    <a:lnTo>
                      <a:pt x="52" y="128"/>
                    </a:lnTo>
                    <a:lnTo>
                      <a:pt x="52" y="111"/>
                    </a:lnTo>
                    <a:lnTo>
                      <a:pt x="69" y="118"/>
                    </a:lnTo>
                    <a:lnTo>
                      <a:pt x="80" y="118"/>
                    </a:lnTo>
                    <a:lnTo>
                      <a:pt x="69" y="128"/>
                    </a:lnTo>
                    <a:lnTo>
                      <a:pt x="69" y="128"/>
                    </a:lnTo>
                    <a:lnTo>
                      <a:pt x="69" y="128"/>
                    </a:lnTo>
                    <a:close/>
                    <a:moveTo>
                      <a:pt x="9" y="135"/>
                    </a:moveTo>
                    <a:lnTo>
                      <a:pt x="0" y="128"/>
                    </a:lnTo>
                    <a:lnTo>
                      <a:pt x="9" y="118"/>
                    </a:lnTo>
                    <a:lnTo>
                      <a:pt x="14" y="135"/>
                    </a:lnTo>
                    <a:lnTo>
                      <a:pt x="9" y="135"/>
                    </a:lnTo>
                    <a:lnTo>
                      <a:pt x="9" y="135"/>
                    </a:lnTo>
                    <a:lnTo>
                      <a:pt x="9" y="135"/>
                    </a:lnTo>
                    <a:close/>
                    <a:moveTo>
                      <a:pt x="97" y="161"/>
                    </a:moveTo>
                    <a:lnTo>
                      <a:pt x="80" y="151"/>
                    </a:lnTo>
                    <a:lnTo>
                      <a:pt x="80" y="135"/>
                    </a:lnTo>
                    <a:lnTo>
                      <a:pt x="102" y="144"/>
                    </a:lnTo>
                    <a:lnTo>
                      <a:pt x="102" y="151"/>
                    </a:lnTo>
                    <a:lnTo>
                      <a:pt x="97" y="161"/>
                    </a:lnTo>
                    <a:lnTo>
                      <a:pt x="97" y="161"/>
                    </a:lnTo>
                    <a:lnTo>
                      <a:pt x="97" y="161"/>
                    </a:lnTo>
                    <a:close/>
                    <a:moveTo>
                      <a:pt x="151" y="168"/>
                    </a:moveTo>
                    <a:lnTo>
                      <a:pt x="139" y="168"/>
                    </a:lnTo>
                    <a:lnTo>
                      <a:pt x="172" y="151"/>
                    </a:lnTo>
                    <a:lnTo>
                      <a:pt x="156" y="168"/>
                    </a:lnTo>
                    <a:lnTo>
                      <a:pt x="151" y="168"/>
                    </a:lnTo>
                    <a:lnTo>
                      <a:pt x="151" y="168"/>
                    </a:lnTo>
                    <a:lnTo>
                      <a:pt x="151" y="168"/>
                    </a:lnTo>
                    <a:close/>
                    <a:moveTo>
                      <a:pt x="85" y="201"/>
                    </a:moveTo>
                    <a:lnTo>
                      <a:pt x="80" y="189"/>
                    </a:lnTo>
                    <a:lnTo>
                      <a:pt x="80" y="189"/>
                    </a:lnTo>
                    <a:lnTo>
                      <a:pt x="85" y="189"/>
                    </a:lnTo>
                    <a:lnTo>
                      <a:pt x="85" y="201"/>
                    </a:lnTo>
                    <a:lnTo>
                      <a:pt x="85" y="201"/>
                    </a:lnTo>
                    <a:lnTo>
                      <a:pt x="85" y="201"/>
                    </a:lnTo>
                    <a:close/>
                    <a:moveTo>
                      <a:pt x="803" y="317"/>
                    </a:moveTo>
                    <a:lnTo>
                      <a:pt x="798" y="317"/>
                    </a:lnTo>
                    <a:lnTo>
                      <a:pt x="803" y="293"/>
                    </a:lnTo>
                    <a:lnTo>
                      <a:pt x="820" y="293"/>
                    </a:lnTo>
                    <a:lnTo>
                      <a:pt x="824" y="293"/>
                    </a:lnTo>
                    <a:lnTo>
                      <a:pt x="803" y="317"/>
                    </a:lnTo>
                    <a:lnTo>
                      <a:pt x="803" y="317"/>
                    </a:lnTo>
                    <a:lnTo>
                      <a:pt x="803" y="3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5" name="Freeform 435">
                <a:extLst>
                  <a:ext uri="{FF2B5EF4-FFF2-40B4-BE49-F238E27FC236}">
                    <a16:creationId xmlns:a16="http://schemas.microsoft.com/office/drawing/2014/main" id="{3FBDD03D-9048-45EC-9B8E-70EB4508D24D}"/>
                  </a:ext>
                </a:extLst>
              </p:cNvPr>
              <p:cNvSpPr>
                <a:spLocks/>
              </p:cNvSpPr>
              <p:nvPr/>
            </p:nvSpPr>
            <p:spPr bwMode="gray">
              <a:xfrm>
                <a:off x="4122834" y="3636878"/>
                <a:ext cx="72865" cy="36644"/>
              </a:xfrm>
              <a:custGeom>
                <a:avLst/>
                <a:gdLst>
                  <a:gd name="T0" fmla="*/ 0 w 177"/>
                  <a:gd name="T1" fmla="*/ 44 h 89"/>
                  <a:gd name="T2" fmla="*/ 12 w 177"/>
                  <a:gd name="T3" fmla="*/ 33 h 89"/>
                  <a:gd name="T4" fmla="*/ 45 w 177"/>
                  <a:gd name="T5" fmla="*/ 4 h 89"/>
                  <a:gd name="T6" fmla="*/ 45 w 177"/>
                  <a:gd name="T7" fmla="*/ 0 h 89"/>
                  <a:gd name="T8" fmla="*/ 55 w 177"/>
                  <a:gd name="T9" fmla="*/ 0 h 89"/>
                  <a:gd name="T10" fmla="*/ 83 w 177"/>
                  <a:gd name="T11" fmla="*/ 0 h 89"/>
                  <a:gd name="T12" fmla="*/ 100 w 177"/>
                  <a:gd name="T13" fmla="*/ 21 h 89"/>
                  <a:gd name="T14" fmla="*/ 100 w 177"/>
                  <a:gd name="T15" fmla="*/ 16 h 89"/>
                  <a:gd name="T16" fmla="*/ 111 w 177"/>
                  <a:gd name="T17" fmla="*/ 33 h 89"/>
                  <a:gd name="T18" fmla="*/ 121 w 177"/>
                  <a:gd name="T19" fmla="*/ 37 h 89"/>
                  <a:gd name="T20" fmla="*/ 144 w 177"/>
                  <a:gd name="T21" fmla="*/ 33 h 89"/>
                  <a:gd name="T22" fmla="*/ 154 w 177"/>
                  <a:gd name="T23" fmla="*/ 37 h 89"/>
                  <a:gd name="T24" fmla="*/ 166 w 177"/>
                  <a:gd name="T25" fmla="*/ 33 h 89"/>
                  <a:gd name="T26" fmla="*/ 177 w 177"/>
                  <a:gd name="T27" fmla="*/ 37 h 89"/>
                  <a:gd name="T28" fmla="*/ 166 w 177"/>
                  <a:gd name="T29" fmla="*/ 61 h 89"/>
                  <a:gd name="T30" fmla="*/ 177 w 177"/>
                  <a:gd name="T31" fmla="*/ 61 h 89"/>
                  <a:gd name="T32" fmla="*/ 166 w 177"/>
                  <a:gd name="T33" fmla="*/ 73 h 89"/>
                  <a:gd name="T34" fmla="*/ 161 w 177"/>
                  <a:gd name="T35" fmla="*/ 73 h 89"/>
                  <a:gd name="T36" fmla="*/ 166 w 177"/>
                  <a:gd name="T37" fmla="*/ 78 h 89"/>
                  <a:gd name="T38" fmla="*/ 161 w 177"/>
                  <a:gd name="T39" fmla="*/ 89 h 89"/>
                  <a:gd name="T40" fmla="*/ 100 w 177"/>
                  <a:gd name="T41" fmla="*/ 78 h 89"/>
                  <a:gd name="T42" fmla="*/ 111 w 177"/>
                  <a:gd name="T43" fmla="*/ 89 h 89"/>
                  <a:gd name="T44" fmla="*/ 55 w 177"/>
                  <a:gd name="T45" fmla="*/ 61 h 89"/>
                  <a:gd name="T46" fmla="*/ 29 w 177"/>
                  <a:gd name="T47" fmla="*/ 61 h 89"/>
                  <a:gd name="T48" fmla="*/ 0 w 177"/>
                  <a:gd name="T49" fmla="*/ 44 h 89"/>
                  <a:gd name="T50" fmla="*/ 0 w 177"/>
                  <a:gd name="T51" fmla="*/ 44 h 89"/>
                  <a:gd name="T52" fmla="*/ 0 w 177"/>
                  <a:gd name="T53"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7" h="89">
                    <a:moveTo>
                      <a:pt x="0" y="44"/>
                    </a:moveTo>
                    <a:lnTo>
                      <a:pt x="12" y="33"/>
                    </a:lnTo>
                    <a:lnTo>
                      <a:pt x="45" y="4"/>
                    </a:lnTo>
                    <a:lnTo>
                      <a:pt x="45" y="0"/>
                    </a:lnTo>
                    <a:lnTo>
                      <a:pt x="55" y="0"/>
                    </a:lnTo>
                    <a:lnTo>
                      <a:pt x="83" y="0"/>
                    </a:lnTo>
                    <a:lnTo>
                      <a:pt x="100" y="21"/>
                    </a:lnTo>
                    <a:lnTo>
                      <a:pt x="100" y="16"/>
                    </a:lnTo>
                    <a:lnTo>
                      <a:pt x="111" y="33"/>
                    </a:lnTo>
                    <a:lnTo>
                      <a:pt x="121" y="37"/>
                    </a:lnTo>
                    <a:lnTo>
                      <a:pt x="144" y="33"/>
                    </a:lnTo>
                    <a:lnTo>
                      <a:pt x="154" y="37"/>
                    </a:lnTo>
                    <a:lnTo>
                      <a:pt x="166" y="33"/>
                    </a:lnTo>
                    <a:lnTo>
                      <a:pt x="177" y="37"/>
                    </a:lnTo>
                    <a:lnTo>
                      <a:pt x="166" y="61"/>
                    </a:lnTo>
                    <a:lnTo>
                      <a:pt x="177" y="61"/>
                    </a:lnTo>
                    <a:lnTo>
                      <a:pt x="166" y="73"/>
                    </a:lnTo>
                    <a:lnTo>
                      <a:pt x="161" y="73"/>
                    </a:lnTo>
                    <a:lnTo>
                      <a:pt x="166" y="78"/>
                    </a:lnTo>
                    <a:lnTo>
                      <a:pt x="161" y="89"/>
                    </a:lnTo>
                    <a:lnTo>
                      <a:pt x="100" y="78"/>
                    </a:lnTo>
                    <a:lnTo>
                      <a:pt x="111" y="89"/>
                    </a:lnTo>
                    <a:lnTo>
                      <a:pt x="55" y="61"/>
                    </a:lnTo>
                    <a:lnTo>
                      <a:pt x="29" y="61"/>
                    </a:lnTo>
                    <a:lnTo>
                      <a:pt x="0" y="44"/>
                    </a:lnTo>
                    <a:lnTo>
                      <a:pt x="0" y="44"/>
                    </a:lnTo>
                    <a:lnTo>
                      <a:pt x="0" y="4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6" name="Freeform 438">
                <a:extLst>
                  <a:ext uri="{FF2B5EF4-FFF2-40B4-BE49-F238E27FC236}">
                    <a16:creationId xmlns:a16="http://schemas.microsoft.com/office/drawing/2014/main" id="{CED85BB9-1473-475F-82FA-8993F77D9F0E}"/>
                  </a:ext>
                </a:extLst>
              </p:cNvPr>
              <p:cNvSpPr>
                <a:spLocks/>
              </p:cNvSpPr>
              <p:nvPr/>
            </p:nvSpPr>
            <p:spPr bwMode="gray">
              <a:xfrm>
                <a:off x="5150774" y="3894612"/>
                <a:ext cx="81922" cy="107870"/>
              </a:xfrm>
              <a:custGeom>
                <a:avLst/>
                <a:gdLst>
                  <a:gd name="T0" fmla="*/ 0 w 199"/>
                  <a:gd name="T1" fmla="*/ 245 h 262"/>
                  <a:gd name="T2" fmla="*/ 17 w 199"/>
                  <a:gd name="T3" fmla="*/ 238 h 262"/>
                  <a:gd name="T4" fmla="*/ 21 w 199"/>
                  <a:gd name="T5" fmla="*/ 212 h 262"/>
                  <a:gd name="T6" fmla="*/ 21 w 199"/>
                  <a:gd name="T7" fmla="*/ 189 h 262"/>
                  <a:gd name="T8" fmla="*/ 33 w 199"/>
                  <a:gd name="T9" fmla="*/ 184 h 262"/>
                  <a:gd name="T10" fmla="*/ 38 w 199"/>
                  <a:gd name="T11" fmla="*/ 155 h 262"/>
                  <a:gd name="T12" fmla="*/ 17 w 199"/>
                  <a:gd name="T13" fmla="*/ 127 h 262"/>
                  <a:gd name="T14" fmla="*/ 7 w 199"/>
                  <a:gd name="T15" fmla="*/ 73 h 262"/>
                  <a:gd name="T16" fmla="*/ 7 w 199"/>
                  <a:gd name="T17" fmla="*/ 54 h 262"/>
                  <a:gd name="T18" fmla="*/ 33 w 199"/>
                  <a:gd name="T19" fmla="*/ 28 h 262"/>
                  <a:gd name="T20" fmla="*/ 38 w 199"/>
                  <a:gd name="T21" fmla="*/ 4 h 262"/>
                  <a:gd name="T22" fmla="*/ 50 w 199"/>
                  <a:gd name="T23" fmla="*/ 0 h 262"/>
                  <a:gd name="T24" fmla="*/ 76 w 199"/>
                  <a:gd name="T25" fmla="*/ 16 h 262"/>
                  <a:gd name="T26" fmla="*/ 114 w 199"/>
                  <a:gd name="T27" fmla="*/ 21 h 262"/>
                  <a:gd name="T28" fmla="*/ 177 w 199"/>
                  <a:gd name="T29" fmla="*/ 77 h 262"/>
                  <a:gd name="T30" fmla="*/ 182 w 199"/>
                  <a:gd name="T31" fmla="*/ 94 h 262"/>
                  <a:gd name="T32" fmla="*/ 177 w 199"/>
                  <a:gd name="T33" fmla="*/ 99 h 262"/>
                  <a:gd name="T34" fmla="*/ 182 w 199"/>
                  <a:gd name="T35" fmla="*/ 99 h 262"/>
                  <a:gd name="T36" fmla="*/ 182 w 199"/>
                  <a:gd name="T37" fmla="*/ 77 h 262"/>
                  <a:gd name="T38" fmla="*/ 194 w 199"/>
                  <a:gd name="T39" fmla="*/ 82 h 262"/>
                  <a:gd name="T40" fmla="*/ 199 w 199"/>
                  <a:gd name="T41" fmla="*/ 111 h 262"/>
                  <a:gd name="T42" fmla="*/ 199 w 199"/>
                  <a:gd name="T43" fmla="*/ 127 h 262"/>
                  <a:gd name="T44" fmla="*/ 156 w 199"/>
                  <a:gd name="T45" fmla="*/ 189 h 262"/>
                  <a:gd name="T46" fmla="*/ 139 w 199"/>
                  <a:gd name="T47" fmla="*/ 238 h 262"/>
                  <a:gd name="T48" fmla="*/ 114 w 199"/>
                  <a:gd name="T49" fmla="*/ 262 h 262"/>
                  <a:gd name="T50" fmla="*/ 92 w 199"/>
                  <a:gd name="T51" fmla="*/ 262 h 262"/>
                  <a:gd name="T52" fmla="*/ 85 w 199"/>
                  <a:gd name="T53" fmla="*/ 245 h 262"/>
                  <a:gd name="T54" fmla="*/ 71 w 199"/>
                  <a:gd name="T55" fmla="*/ 250 h 262"/>
                  <a:gd name="T56" fmla="*/ 54 w 199"/>
                  <a:gd name="T57" fmla="*/ 245 h 262"/>
                  <a:gd name="T58" fmla="*/ 33 w 199"/>
                  <a:gd name="T59" fmla="*/ 262 h 262"/>
                  <a:gd name="T60" fmla="*/ 0 w 199"/>
                  <a:gd name="T61" fmla="*/ 245 h 262"/>
                  <a:gd name="T62" fmla="*/ 0 w 199"/>
                  <a:gd name="T63" fmla="*/ 245 h 262"/>
                  <a:gd name="T64" fmla="*/ 0 w 199"/>
                  <a:gd name="T65" fmla="*/ 24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9" h="262">
                    <a:moveTo>
                      <a:pt x="0" y="245"/>
                    </a:moveTo>
                    <a:lnTo>
                      <a:pt x="17" y="238"/>
                    </a:lnTo>
                    <a:lnTo>
                      <a:pt x="21" y="212"/>
                    </a:lnTo>
                    <a:lnTo>
                      <a:pt x="21" y="189"/>
                    </a:lnTo>
                    <a:lnTo>
                      <a:pt x="33" y="184"/>
                    </a:lnTo>
                    <a:lnTo>
                      <a:pt x="38" y="155"/>
                    </a:lnTo>
                    <a:lnTo>
                      <a:pt x="17" y="127"/>
                    </a:lnTo>
                    <a:lnTo>
                      <a:pt x="7" y="73"/>
                    </a:lnTo>
                    <a:lnTo>
                      <a:pt x="7" y="54"/>
                    </a:lnTo>
                    <a:lnTo>
                      <a:pt x="33" y="28"/>
                    </a:lnTo>
                    <a:lnTo>
                      <a:pt x="38" y="4"/>
                    </a:lnTo>
                    <a:lnTo>
                      <a:pt x="50" y="0"/>
                    </a:lnTo>
                    <a:lnTo>
                      <a:pt x="76" y="16"/>
                    </a:lnTo>
                    <a:lnTo>
                      <a:pt x="114" y="21"/>
                    </a:lnTo>
                    <a:lnTo>
                      <a:pt x="177" y="77"/>
                    </a:lnTo>
                    <a:lnTo>
                      <a:pt x="182" y="94"/>
                    </a:lnTo>
                    <a:lnTo>
                      <a:pt x="177" y="99"/>
                    </a:lnTo>
                    <a:lnTo>
                      <a:pt x="182" y="99"/>
                    </a:lnTo>
                    <a:lnTo>
                      <a:pt x="182" y="77"/>
                    </a:lnTo>
                    <a:lnTo>
                      <a:pt x="194" y="82"/>
                    </a:lnTo>
                    <a:lnTo>
                      <a:pt x="199" y="111"/>
                    </a:lnTo>
                    <a:lnTo>
                      <a:pt x="199" y="127"/>
                    </a:lnTo>
                    <a:lnTo>
                      <a:pt x="156" y="189"/>
                    </a:lnTo>
                    <a:lnTo>
                      <a:pt x="139" y="238"/>
                    </a:lnTo>
                    <a:lnTo>
                      <a:pt x="114" y="262"/>
                    </a:lnTo>
                    <a:lnTo>
                      <a:pt x="92" y="262"/>
                    </a:lnTo>
                    <a:lnTo>
                      <a:pt x="85" y="245"/>
                    </a:lnTo>
                    <a:lnTo>
                      <a:pt x="71" y="250"/>
                    </a:lnTo>
                    <a:lnTo>
                      <a:pt x="54" y="245"/>
                    </a:lnTo>
                    <a:lnTo>
                      <a:pt x="33" y="262"/>
                    </a:lnTo>
                    <a:lnTo>
                      <a:pt x="0" y="245"/>
                    </a:lnTo>
                    <a:lnTo>
                      <a:pt x="0" y="245"/>
                    </a:lnTo>
                    <a:lnTo>
                      <a:pt x="0" y="24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7" name="Freeform 451">
                <a:extLst>
                  <a:ext uri="{FF2B5EF4-FFF2-40B4-BE49-F238E27FC236}">
                    <a16:creationId xmlns:a16="http://schemas.microsoft.com/office/drawing/2014/main" id="{CB0EB758-BA98-4E31-AD8D-0CD9F57F88E4}"/>
                  </a:ext>
                </a:extLst>
              </p:cNvPr>
              <p:cNvSpPr>
                <a:spLocks/>
              </p:cNvSpPr>
              <p:nvPr/>
            </p:nvSpPr>
            <p:spPr bwMode="gray">
              <a:xfrm>
                <a:off x="4940822" y="3699870"/>
                <a:ext cx="6587" cy="6999"/>
              </a:xfrm>
              <a:custGeom>
                <a:avLst/>
                <a:gdLst>
                  <a:gd name="T0" fmla="*/ 16 w 16"/>
                  <a:gd name="T1" fmla="*/ 0 h 17"/>
                  <a:gd name="T2" fmla="*/ 16 w 16"/>
                  <a:gd name="T3" fmla="*/ 17 h 17"/>
                  <a:gd name="T4" fmla="*/ 0 w 16"/>
                  <a:gd name="T5" fmla="*/ 17 h 17"/>
                  <a:gd name="T6" fmla="*/ 7 w 16"/>
                  <a:gd name="T7" fmla="*/ 0 h 17"/>
                  <a:gd name="T8" fmla="*/ 16 w 16"/>
                  <a:gd name="T9" fmla="*/ 0 h 17"/>
                  <a:gd name="T10" fmla="*/ 16 w 16"/>
                  <a:gd name="T11" fmla="*/ 0 h 17"/>
                  <a:gd name="T12" fmla="*/ 16 w 16"/>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16" y="0"/>
                    </a:moveTo>
                    <a:lnTo>
                      <a:pt x="16" y="17"/>
                    </a:lnTo>
                    <a:lnTo>
                      <a:pt x="0" y="17"/>
                    </a:lnTo>
                    <a:lnTo>
                      <a:pt x="7" y="0"/>
                    </a:lnTo>
                    <a:lnTo>
                      <a:pt x="16" y="0"/>
                    </a:lnTo>
                    <a:lnTo>
                      <a:pt x="16" y="0"/>
                    </a:lnTo>
                    <a:lnTo>
                      <a:pt x="16"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8" name="Freeform 454">
                <a:extLst>
                  <a:ext uri="{FF2B5EF4-FFF2-40B4-BE49-F238E27FC236}">
                    <a16:creationId xmlns:a16="http://schemas.microsoft.com/office/drawing/2014/main" id="{4B1BC9F1-56CF-40E2-B6CB-B0C56CD4A1E9}"/>
                  </a:ext>
                </a:extLst>
              </p:cNvPr>
              <p:cNvSpPr>
                <a:spLocks noEditPoints="1"/>
              </p:cNvSpPr>
              <p:nvPr/>
            </p:nvSpPr>
            <p:spPr bwMode="gray">
              <a:xfrm>
                <a:off x="4903771" y="3522008"/>
                <a:ext cx="54341" cy="67933"/>
              </a:xfrm>
              <a:custGeom>
                <a:avLst/>
                <a:gdLst>
                  <a:gd name="T0" fmla="*/ 5 w 132"/>
                  <a:gd name="T1" fmla="*/ 5 h 165"/>
                  <a:gd name="T2" fmla="*/ 0 w 132"/>
                  <a:gd name="T3" fmla="*/ 5 h 165"/>
                  <a:gd name="T4" fmla="*/ 5 w 132"/>
                  <a:gd name="T5" fmla="*/ 0 h 165"/>
                  <a:gd name="T6" fmla="*/ 5 w 132"/>
                  <a:gd name="T7" fmla="*/ 5 h 165"/>
                  <a:gd name="T8" fmla="*/ 5 w 132"/>
                  <a:gd name="T9" fmla="*/ 5 h 165"/>
                  <a:gd name="T10" fmla="*/ 5 w 132"/>
                  <a:gd name="T11" fmla="*/ 5 h 165"/>
                  <a:gd name="T12" fmla="*/ 21 w 132"/>
                  <a:gd name="T13" fmla="*/ 16 h 165"/>
                  <a:gd name="T14" fmla="*/ 12 w 132"/>
                  <a:gd name="T15" fmla="*/ 16 h 165"/>
                  <a:gd name="T16" fmla="*/ 21 w 132"/>
                  <a:gd name="T17" fmla="*/ 16 h 165"/>
                  <a:gd name="T18" fmla="*/ 21 w 132"/>
                  <a:gd name="T19" fmla="*/ 16 h 165"/>
                  <a:gd name="T20" fmla="*/ 21 w 132"/>
                  <a:gd name="T21" fmla="*/ 16 h 165"/>
                  <a:gd name="T22" fmla="*/ 21 w 132"/>
                  <a:gd name="T23" fmla="*/ 16 h 165"/>
                  <a:gd name="T24" fmla="*/ 111 w 132"/>
                  <a:gd name="T25" fmla="*/ 132 h 165"/>
                  <a:gd name="T26" fmla="*/ 111 w 132"/>
                  <a:gd name="T27" fmla="*/ 116 h 165"/>
                  <a:gd name="T28" fmla="*/ 118 w 132"/>
                  <a:gd name="T29" fmla="*/ 132 h 165"/>
                  <a:gd name="T30" fmla="*/ 132 w 132"/>
                  <a:gd name="T31" fmla="*/ 132 h 165"/>
                  <a:gd name="T32" fmla="*/ 106 w 132"/>
                  <a:gd name="T33" fmla="*/ 144 h 165"/>
                  <a:gd name="T34" fmla="*/ 106 w 132"/>
                  <a:gd name="T35" fmla="*/ 156 h 165"/>
                  <a:gd name="T36" fmla="*/ 97 w 132"/>
                  <a:gd name="T37" fmla="*/ 156 h 165"/>
                  <a:gd name="T38" fmla="*/ 90 w 132"/>
                  <a:gd name="T39" fmla="*/ 132 h 165"/>
                  <a:gd name="T40" fmla="*/ 111 w 132"/>
                  <a:gd name="T41" fmla="*/ 132 h 165"/>
                  <a:gd name="T42" fmla="*/ 111 w 132"/>
                  <a:gd name="T43" fmla="*/ 132 h 165"/>
                  <a:gd name="T44" fmla="*/ 111 w 132"/>
                  <a:gd name="T45" fmla="*/ 132 h 165"/>
                  <a:gd name="T46" fmla="*/ 128 w 132"/>
                  <a:gd name="T47" fmla="*/ 165 h 165"/>
                  <a:gd name="T48" fmla="*/ 118 w 132"/>
                  <a:gd name="T49" fmla="*/ 165 h 165"/>
                  <a:gd name="T50" fmla="*/ 128 w 132"/>
                  <a:gd name="T51" fmla="*/ 156 h 165"/>
                  <a:gd name="T52" fmla="*/ 132 w 132"/>
                  <a:gd name="T53" fmla="*/ 165 h 165"/>
                  <a:gd name="T54" fmla="*/ 128 w 132"/>
                  <a:gd name="T55" fmla="*/ 165 h 165"/>
                  <a:gd name="T56" fmla="*/ 128 w 132"/>
                  <a:gd name="T57" fmla="*/ 165 h 165"/>
                  <a:gd name="T58" fmla="*/ 128 w 132"/>
                  <a:gd name="T59"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2" h="165">
                    <a:moveTo>
                      <a:pt x="5" y="5"/>
                    </a:moveTo>
                    <a:lnTo>
                      <a:pt x="0" y="5"/>
                    </a:lnTo>
                    <a:lnTo>
                      <a:pt x="5" y="0"/>
                    </a:lnTo>
                    <a:lnTo>
                      <a:pt x="5" y="5"/>
                    </a:lnTo>
                    <a:lnTo>
                      <a:pt x="5" y="5"/>
                    </a:lnTo>
                    <a:lnTo>
                      <a:pt x="5" y="5"/>
                    </a:lnTo>
                    <a:close/>
                    <a:moveTo>
                      <a:pt x="21" y="16"/>
                    </a:moveTo>
                    <a:lnTo>
                      <a:pt x="12" y="16"/>
                    </a:lnTo>
                    <a:lnTo>
                      <a:pt x="21" y="16"/>
                    </a:lnTo>
                    <a:lnTo>
                      <a:pt x="21" y="16"/>
                    </a:lnTo>
                    <a:lnTo>
                      <a:pt x="21" y="16"/>
                    </a:lnTo>
                    <a:lnTo>
                      <a:pt x="21" y="16"/>
                    </a:lnTo>
                    <a:close/>
                    <a:moveTo>
                      <a:pt x="111" y="132"/>
                    </a:moveTo>
                    <a:lnTo>
                      <a:pt x="111" y="116"/>
                    </a:lnTo>
                    <a:lnTo>
                      <a:pt x="118" y="132"/>
                    </a:lnTo>
                    <a:lnTo>
                      <a:pt x="132" y="132"/>
                    </a:lnTo>
                    <a:lnTo>
                      <a:pt x="106" y="144"/>
                    </a:lnTo>
                    <a:lnTo>
                      <a:pt x="106" y="156"/>
                    </a:lnTo>
                    <a:lnTo>
                      <a:pt x="97" y="156"/>
                    </a:lnTo>
                    <a:lnTo>
                      <a:pt x="90" y="132"/>
                    </a:lnTo>
                    <a:lnTo>
                      <a:pt x="111" y="132"/>
                    </a:lnTo>
                    <a:lnTo>
                      <a:pt x="111" y="132"/>
                    </a:lnTo>
                    <a:lnTo>
                      <a:pt x="111" y="132"/>
                    </a:lnTo>
                    <a:close/>
                    <a:moveTo>
                      <a:pt x="128" y="165"/>
                    </a:moveTo>
                    <a:lnTo>
                      <a:pt x="118" y="165"/>
                    </a:lnTo>
                    <a:lnTo>
                      <a:pt x="128" y="156"/>
                    </a:lnTo>
                    <a:lnTo>
                      <a:pt x="132" y="165"/>
                    </a:lnTo>
                    <a:lnTo>
                      <a:pt x="128" y="165"/>
                    </a:lnTo>
                    <a:lnTo>
                      <a:pt x="128" y="165"/>
                    </a:lnTo>
                    <a:lnTo>
                      <a:pt x="128" y="16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9" name="Freeform 457">
                <a:extLst>
                  <a:ext uri="{FF2B5EF4-FFF2-40B4-BE49-F238E27FC236}">
                    <a16:creationId xmlns:a16="http://schemas.microsoft.com/office/drawing/2014/main" id="{7556CE7D-7187-4919-8302-FF85C4999547}"/>
                  </a:ext>
                </a:extLst>
              </p:cNvPr>
              <p:cNvSpPr>
                <a:spLocks/>
              </p:cNvSpPr>
              <p:nvPr/>
            </p:nvSpPr>
            <p:spPr bwMode="gray">
              <a:xfrm>
                <a:off x="4060672" y="3530655"/>
                <a:ext cx="118561" cy="123515"/>
              </a:xfrm>
              <a:custGeom>
                <a:avLst/>
                <a:gdLst>
                  <a:gd name="T0" fmla="*/ 0 w 288"/>
                  <a:gd name="T1" fmla="*/ 239 h 300"/>
                  <a:gd name="T2" fmla="*/ 17 w 288"/>
                  <a:gd name="T3" fmla="*/ 206 h 300"/>
                  <a:gd name="T4" fmla="*/ 7 w 288"/>
                  <a:gd name="T5" fmla="*/ 189 h 300"/>
                  <a:gd name="T6" fmla="*/ 40 w 288"/>
                  <a:gd name="T7" fmla="*/ 128 h 300"/>
                  <a:gd name="T8" fmla="*/ 132 w 288"/>
                  <a:gd name="T9" fmla="*/ 128 h 300"/>
                  <a:gd name="T10" fmla="*/ 132 w 288"/>
                  <a:gd name="T11" fmla="*/ 104 h 300"/>
                  <a:gd name="T12" fmla="*/ 116 w 288"/>
                  <a:gd name="T13" fmla="*/ 104 h 300"/>
                  <a:gd name="T14" fmla="*/ 109 w 288"/>
                  <a:gd name="T15" fmla="*/ 78 h 300"/>
                  <a:gd name="T16" fmla="*/ 62 w 288"/>
                  <a:gd name="T17" fmla="*/ 38 h 300"/>
                  <a:gd name="T18" fmla="*/ 95 w 288"/>
                  <a:gd name="T19" fmla="*/ 38 h 300"/>
                  <a:gd name="T20" fmla="*/ 95 w 288"/>
                  <a:gd name="T21" fmla="*/ 0 h 300"/>
                  <a:gd name="T22" fmla="*/ 225 w 288"/>
                  <a:gd name="T23" fmla="*/ 0 h 300"/>
                  <a:gd name="T24" fmla="*/ 217 w 288"/>
                  <a:gd name="T25" fmla="*/ 144 h 300"/>
                  <a:gd name="T26" fmla="*/ 241 w 288"/>
                  <a:gd name="T27" fmla="*/ 144 h 300"/>
                  <a:gd name="T28" fmla="*/ 255 w 288"/>
                  <a:gd name="T29" fmla="*/ 161 h 300"/>
                  <a:gd name="T30" fmla="*/ 272 w 288"/>
                  <a:gd name="T31" fmla="*/ 144 h 300"/>
                  <a:gd name="T32" fmla="*/ 262 w 288"/>
                  <a:gd name="T33" fmla="*/ 132 h 300"/>
                  <a:gd name="T34" fmla="*/ 288 w 288"/>
                  <a:gd name="T35" fmla="*/ 161 h 300"/>
                  <a:gd name="T36" fmla="*/ 225 w 288"/>
                  <a:gd name="T37" fmla="*/ 206 h 300"/>
                  <a:gd name="T38" fmla="*/ 217 w 288"/>
                  <a:gd name="T39" fmla="*/ 222 h 300"/>
                  <a:gd name="T40" fmla="*/ 225 w 288"/>
                  <a:gd name="T41" fmla="*/ 234 h 300"/>
                  <a:gd name="T42" fmla="*/ 208 w 288"/>
                  <a:gd name="T43" fmla="*/ 255 h 300"/>
                  <a:gd name="T44" fmla="*/ 196 w 288"/>
                  <a:gd name="T45" fmla="*/ 255 h 300"/>
                  <a:gd name="T46" fmla="*/ 196 w 288"/>
                  <a:gd name="T47" fmla="*/ 260 h 300"/>
                  <a:gd name="T48" fmla="*/ 163 w 288"/>
                  <a:gd name="T49" fmla="*/ 288 h 300"/>
                  <a:gd name="T50" fmla="*/ 154 w 288"/>
                  <a:gd name="T51" fmla="*/ 300 h 300"/>
                  <a:gd name="T52" fmla="*/ 116 w 288"/>
                  <a:gd name="T53" fmla="*/ 288 h 300"/>
                  <a:gd name="T54" fmla="*/ 62 w 288"/>
                  <a:gd name="T55" fmla="*/ 288 h 300"/>
                  <a:gd name="T56" fmla="*/ 0 w 288"/>
                  <a:gd name="T57" fmla="*/ 239 h 300"/>
                  <a:gd name="T58" fmla="*/ 0 w 288"/>
                  <a:gd name="T59" fmla="*/ 239 h 300"/>
                  <a:gd name="T60" fmla="*/ 0 w 288"/>
                  <a:gd name="T61" fmla="*/ 23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8" h="300">
                    <a:moveTo>
                      <a:pt x="0" y="239"/>
                    </a:moveTo>
                    <a:lnTo>
                      <a:pt x="17" y="206"/>
                    </a:lnTo>
                    <a:lnTo>
                      <a:pt x="7" y="189"/>
                    </a:lnTo>
                    <a:lnTo>
                      <a:pt x="40" y="128"/>
                    </a:lnTo>
                    <a:lnTo>
                      <a:pt x="132" y="128"/>
                    </a:lnTo>
                    <a:lnTo>
                      <a:pt x="132" y="104"/>
                    </a:lnTo>
                    <a:lnTo>
                      <a:pt x="116" y="104"/>
                    </a:lnTo>
                    <a:lnTo>
                      <a:pt x="109" y="78"/>
                    </a:lnTo>
                    <a:lnTo>
                      <a:pt x="62" y="38"/>
                    </a:lnTo>
                    <a:lnTo>
                      <a:pt x="95" y="38"/>
                    </a:lnTo>
                    <a:lnTo>
                      <a:pt x="95" y="0"/>
                    </a:lnTo>
                    <a:lnTo>
                      <a:pt x="225" y="0"/>
                    </a:lnTo>
                    <a:lnTo>
                      <a:pt x="217" y="144"/>
                    </a:lnTo>
                    <a:lnTo>
                      <a:pt x="241" y="144"/>
                    </a:lnTo>
                    <a:lnTo>
                      <a:pt x="255" y="161"/>
                    </a:lnTo>
                    <a:lnTo>
                      <a:pt x="272" y="144"/>
                    </a:lnTo>
                    <a:lnTo>
                      <a:pt x="262" y="132"/>
                    </a:lnTo>
                    <a:lnTo>
                      <a:pt x="288" y="161"/>
                    </a:lnTo>
                    <a:lnTo>
                      <a:pt x="225" y="206"/>
                    </a:lnTo>
                    <a:lnTo>
                      <a:pt x="217" y="222"/>
                    </a:lnTo>
                    <a:lnTo>
                      <a:pt x="225" y="234"/>
                    </a:lnTo>
                    <a:lnTo>
                      <a:pt x="208" y="255"/>
                    </a:lnTo>
                    <a:lnTo>
                      <a:pt x="196" y="255"/>
                    </a:lnTo>
                    <a:lnTo>
                      <a:pt x="196" y="260"/>
                    </a:lnTo>
                    <a:lnTo>
                      <a:pt x="163" y="288"/>
                    </a:lnTo>
                    <a:lnTo>
                      <a:pt x="154" y="300"/>
                    </a:lnTo>
                    <a:lnTo>
                      <a:pt x="116" y="288"/>
                    </a:lnTo>
                    <a:lnTo>
                      <a:pt x="62" y="288"/>
                    </a:lnTo>
                    <a:lnTo>
                      <a:pt x="0" y="239"/>
                    </a:lnTo>
                    <a:lnTo>
                      <a:pt x="0" y="239"/>
                    </a:lnTo>
                    <a:lnTo>
                      <a:pt x="0" y="23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00" name="Freeform 459">
                <a:extLst>
                  <a:ext uri="{FF2B5EF4-FFF2-40B4-BE49-F238E27FC236}">
                    <a16:creationId xmlns:a16="http://schemas.microsoft.com/office/drawing/2014/main" id="{070D2C4F-90D0-4A88-B240-5F701F3C546A}"/>
                  </a:ext>
                </a:extLst>
              </p:cNvPr>
              <p:cNvSpPr>
                <a:spLocks/>
              </p:cNvSpPr>
              <p:nvPr/>
            </p:nvSpPr>
            <p:spPr bwMode="gray">
              <a:xfrm>
                <a:off x="4953584" y="3811857"/>
                <a:ext cx="142849" cy="218622"/>
              </a:xfrm>
              <a:custGeom>
                <a:avLst/>
                <a:gdLst>
                  <a:gd name="T0" fmla="*/ 85 w 347"/>
                  <a:gd name="T1" fmla="*/ 236 h 531"/>
                  <a:gd name="T2" fmla="*/ 47 w 347"/>
                  <a:gd name="T3" fmla="*/ 236 h 531"/>
                  <a:gd name="T4" fmla="*/ 16 w 347"/>
                  <a:gd name="T5" fmla="*/ 165 h 531"/>
                  <a:gd name="T6" fmla="*/ 16 w 347"/>
                  <a:gd name="T7" fmla="*/ 127 h 531"/>
                  <a:gd name="T8" fmla="*/ 80 w 347"/>
                  <a:gd name="T9" fmla="*/ 104 h 531"/>
                  <a:gd name="T10" fmla="*/ 63 w 347"/>
                  <a:gd name="T11" fmla="*/ 104 h 531"/>
                  <a:gd name="T12" fmla="*/ 54 w 347"/>
                  <a:gd name="T13" fmla="*/ 87 h 531"/>
                  <a:gd name="T14" fmla="*/ 63 w 347"/>
                  <a:gd name="T15" fmla="*/ 49 h 531"/>
                  <a:gd name="T16" fmla="*/ 101 w 347"/>
                  <a:gd name="T17" fmla="*/ 21 h 531"/>
                  <a:gd name="T18" fmla="*/ 101 w 347"/>
                  <a:gd name="T19" fmla="*/ 0 h 531"/>
                  <a:gd name="T20" fmla="*/ 118 w 347"/>
                  <a:gd name="T21" fmla="*/ 4 h 531"/>
                  <a:gd name="T22" fmla="*/ 203 w 347"/>
                  <a:gd name="T23" fmla="*/ 87 h 531"/>
                  <a:gd name="T24" fmla="*/ 203 w 347"/>
                  <a:gd name="T25" fmla="*/ 115 h 531"/>
                  <a:gd name="T26" fmla="*/ 207 w 347"/>
                  <a:gd name="T27" fmla="*/ 115 h 531"/>
                  <a:gd name="T28" fmla="*/ 241 w 347"/>
                  <a:gd name="T29" fmla="*/ 127 h 531"/>
                  <a:gd name="T30" fmla="*/ 267 w 347"/>
                  <a:gd name="T31" fmla="*/ 165 h 531"/>
                  <a:gd name="T32" fmla="*/ 293 w 347"/>
                  <a:gd name="T33" fmla="*/ 170 h 531"/>
                  <a:gd name="T34" fmla="*/ 293 w 347"/>
                  <a:gd name="T35" fmla="*/ 219 h 531"/>
                  <a:gd name="T36" fmla="*/ 293 w 347"/>
                  <a:gd name="T37" fmla="*/ 243 h 531"/>
                  <a:gd name="T38" fmla="*/ 283 w 347"/>
                  <a:gd name="T39" fmla="*/ 253 h 531"/>
                  <a:gd name="T40" fmla="*/ 241 w 347"/>
                  <a:gd name="T41" fmla="*/ 271 h 531"/>
                  <a:gd name="T42" fmla="*/ 229 w 347"/>
                  <a:gd name="T43" fmla="*/ 314 h 531"/>
                  <a:gd name="T44" fmla="*/ 262 w 347"/>
                  <a:gd name="T45" fmla="*/ 364 h 531"/>
                  <a:gd name="T46" fmla="*/ 283 w 347"/>
                  <a:gd name="T47" fmla="*/ 371 h 531"/>
                  <a:gd name="T48" fmla="*/ 330 w 347"/>
                  <a:gd name="T49" fmla="*/ 465 h 531"/>
                  <a:gd name="T50" fmla="*/ 321 w 347"/>
                  <a:gd name="T51" fmla="*/ 482 h 531"/>
                  <a:gd name="T52" fmla="*/ 283 w 347"/>
                  <a:gd name="T53" fmla="*/ 475 h 531"/>
                  <a:gd name="T54" fmla="*/ 257 w 347"/>
                  <a:gd name="T55" fmla="*/ 491 h 531"/>
                  <a:gd name="T56" fmla="*/ 241 w 347"/>
                  <a:gd name="T57" fmla="*/ 503 h 531"/>
                  <a:gd name="T58" fmla="*/ 203 w 347"/>
                  <a:gd name="T59" fmla="*/ 503 h 531"/>
                  <a:gd name="T60" fmla="*/ 186 w 347"/>
                  <a:gd name="T61" fmla="*/ 519 h 531"/>
                  <a:gd name="T62" fmla="*/ 170 w 347"/>
                  <a:gd name="T63" fmla="*/ 519 h 531"/>
                  <a:gd name="T64" fmla="*/ 132 w 347"/>
                  <a:gd name="T65" fmla="*/ 491 h 531"/>
                  <a:gd name="T66" fmla="*/ 122 w 347"/>
                  <a:gd name="T67" fmla="*/ 482 h 531"/>
                  <a:gd name="T68" fmla="*/ 118 w 347"/>
                  <a:gd name="T69" fmla="*/ 449 h 531"/>
                  <a:gd name="T70" fmla="*/ 101 w 347"/>
                  <a:gd name="T71" fmla="*/ 420 h 531"/>
                  <a:gd name="T72" fmla="*/ 122 w 347"/>
                  <a:gd name="T73" fmla="*/ 330 h 531"/>
                  <a:gd name="T74" fmla="*/ 118 w 347"/>
                  <a:gd name="T75" fmla="*/ 297 h 531"/>
                  <a:gd name="T76" fmla="*/ 96 w 347"/>
                  <a:gd name="T77" fmla="*/ 276 h 531"/>
                  <a:gd name="T78" fmla="*/ 96 w 347"/>
                  <a:gd name="T79" fmla="*/ 243 h 531"/>
                  <a:gd name="T80" fmla="*/ 96 w 347"/>
                  <a:gd name="T81" fmla="*/ 243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7" h="531">
                    <a:moveTo>
                      <a:pt x="96" y="243"/>
                    </a:moveTo>
                    <a:lnTo>
                      <a:pt x="85" y="236"/>
                    </a:lnTo>
                    <a:lnTo>
                      <a:pt x="80" y="236"/>
                    </a:lnTo>
                    <a:lnTo>
                      <a:pt x="47" y="236"/>
                    </a:lnTo>
                    <a:lnTo>
                      <a:pt x="0" y="186"/>
                    </a:lnTo>
                    <a:lnTo>
                      <a:pt x="16" y="165"/>
                    </a:lnTo>
                    <a:lnTo>
                      <a:pt x="16" y="144"/>
                    </a:lnTo>
                    <a:lnTo>
                      <a:pt x="16" y="127"/>
                    </a:lnTo>
                    <a:lnTo>
                      <a:pt x="47" y="127"/>
                    </a:lnTo>
                    <a:lnTo>
                      <a:pt x="80" y="104"/>
                    </a:lnTo>
                    <a:lnTo>
                      <a:pt x="68" y="92"/>
                    </a:lnTo>
                    <a:lnTo>
                      <a:pt x="63" y="104"/>
                    </a:lnTo>
                    <a:lnTo>
                      <a:pt x="54" y="92"/>
                    </a:lnTo>
                    <a:lnTo>
                      <a:pt x="54" y="87"/>
                    </a:lnTo>
                    <a:lnTo>
                      <a:pt x="47" y="71"/>
                    </a:lnTo>
                    <a:lnTo>
                      <a:pt x="63" y="49"/>
                    </a:lnTo>
                    <a:lnTo>
                      <a:pt x="96" y="33"/>
                    </a:lnTo>
                    <a:lnTo>
                      <a:pt x="101" y="21"/>
                    </a:lnTo>
                    <a:lnTo>
                      <a:pt x="106" y="21"/>
                    </a:lnTo>
                    <a:lnTo>
                      <a:pt x="101" y="0"/>
                    </a:lnTo>
                    <a:lnTo>
                      <a:pt x="106" y="4"/>
                    </a:lnTo>
                    <a:lnTo>
                      <a:pt x="118" y="4"/>
                    </a:lnTo>
                    <a:lnTo>
                      <a:pt x="160" y="33"/>
                    </a:lnTo>
                    <a:lnTo>
                      <a:pt x="203" y="87"/>
                    </a:lnTo>
                    <a:lnTo>
                      <a:pt x="203" y="108"/>
                    </a:lnTo>
                    <a:lnTo>
                      <a:pt x="203" y="115"/>
                    </a:lnTo>
                    <a:lnTo>
                      <a:pt x="191" y="149"/>
                    </a:lnTo>
                    <a:lnTo>
                      <a:pt x="207" y="115"/>
                    </a:lnTo>
                    <a:lnTo>
                      <a:pt x="212" y="115"/>
                    </a:lnTo>
                    <a:lnTo>
                      <a:pt x="241" y="127"/>
                    </a:lnTo>
                    <a:lnTo>
                      <a:pt x="262" y="149"/>
                    </a:lnTo>
                    <a:lnTo>
                      <a:pt x="267" y="165"/>
                    </a:lnTo>
                    <a:lnTo>
                      <a:pt x="278" y="160"/>
                    </a:lnTo>
                    <a:lnTo>
                      <a:pt x="293" y="170"/>
                    </a:lnTo>
                    <a:lnTo>
                      <a:pt x="300" y="182"/>
                    </a:lnTo>
                    <a:lnTo>
                      <a:pt x="293" y="219"/>
                    </a:lnTo>
                    <a:lnTo>
                      <a:pt x="283" y="227"/>
                    </a:lnTo>
                    <a:lnTo>
                      <a:pt x="293" y="243"/>
                    </a:lnTo>
                    <a:lnTo>
                      <a:pt x="283" y="243"/>
                    </a:lnTo>
                    <a:lnTo>
                      <a:pt x="283" y="253"/>
                    </a:lnTo>
                    <a:lnTo>
                      <a:pt x="262" y="253"/>
                    </a:lnTo>
                    <a:lnTo>
                      <a:pt x="241" y="271"/>
                    </a:lnTo>
                    <a:lnTo>
                      <a:pt x="245" y="276"/>
                    </a:lnTo>
                    <a:lnTo>
                      <a:pt x="229" y="314"/>
                    </a:lnTo>
                    <a:lnTo>
                      <a:pt x="229" y="326"/>
                    </a:lnTo>
                    <a:lnTo>
                      <a:pt x="262" y="364"/>
                    </a:lnTo>
                    <a:lnTo>
                      <a:pt x="262" y="371"/>
                    </a:lnTo>
                    <a:lnTo>
                      <a:pt x="283" y="371"/>
                    </a:lnTo>
                    <a:lnTo>
                      <a:pt x="293" y="408"/>
                    </a:lnTo>
                    <a:lnTo>
                      <a:pt x="330" y="465"/>
                    </a:lnTo>
                    <a:lnTo>
                      <a:pt x="347" y="475"/>
                    </a:lnTo>
                    <a:lnTo>
                      <a:pt x="321" y="482"/>
                    </a:lnTo>
                    <a:lnTo>
                      <a:pt x="300" y="465"/>
                    </a:lnTo>
                    <a:lnTo>
                      <a:pt x="283" y="475"/>
                    </a:lnTo>
                    <a:lnTo>
                      <a:pt x="267" y="491"/>
                    </a:lnTo>
                    <a:lnTo>
                      <a:pt x="257" y="491"/>
                    </a:lnTo>
                    <a:lnTo>
                      <a:pt x="241" y="498"/>
                    </a:lnTo>
                    <a:lnTo>
                      <a:pt x="241" y="503"/>
                    </a:lnTo>
                    <a:lnTo>
                      <a:pt x="212" y="498"/>
                    </a:lnTo>
                    <a:lnTo>
                      <a:pt x="203" y="503"/>
                    </a:lnTo>
                    <a:lnTo>
                      <a:pt x="203" y="519"/>
                    </a:lnTo>
                    <a:lnTo>
                      <a:pt x="186" y="519"/>
                    </a:lnTo>
                    <a:lnTo>
                      <a:pt x="177" y="531"/>
                    </a:lnTo>
                    <a:lnTo>
                      <a:pt x="170" y="519"/>
                    </a:lnTo>
                    <a:lnTo>
                      <a:pt x="148" y="515"/>
                    </a:lnTo>
                    <a:lnTo>
                      <a:pt x="132" y="491"/>
                    </a:lnTo>
                    <a:lnTo>
                      <a:pt x="122" y="491"/>
                    </a:lnTo>
                    <a:lnTo>
                      <a:pt x="122" y="482"/>
                    </a:lnTo>
                    <a:lnTo>
                      <a:pt x="118" y="482"/>
                    </a:lnTo>
                    <a:lnTo>
                      <a:pt x="118" y="449"/>
                    </a:lnTo>
                    <a:lnTo>
                      <a:pt x="106" y="441"/>
                    </a:lnTo>
                    <a:lnTo>
                      <a:pt x="101" y="420"/>
                    </a:lnTo>
                    <a:lnTo>
                      <a:pt x="106" y="364"/>
                    </a:lnTo>
                    <a:lnTo>
                      <a:pt x="122" y="330"/>
                    </a:lnTo>
                    <a:lnTo>
                      <a:pt x="118" y="309"/>
                    </a:lnTo>
                    <a:lnTo>
                      <a:pt x="118" y="297"/>
                    </a:lnTo>
                    <a:lnTo>
                      <a:pt x="85" y="293"/>
                    </a:lnTo>
                    <a:lnTo>
                      <a:pt x="96" y="276"/>
                    </a:lnTo>
                    <a:lnTo>
                      <a:pt x="101" y="253"/>
                    </a:lnTo>
                    <a:lnTo>
                      <a:pt x="96" y="243"/>
                    </a:lnTo>
                    <a:lnTo>
                      <a:pt x="96" y="243"/>
                    </a:lnTo>
                    <a:lnTo>
                      <a:pt x="96" y="24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01" name="Freeform 461">
                <a:extLst>
                  <a:ext uri="{FF2B5EF4-FFF2-40B4-BE49-F238E27FC236}">
                    <a16:creationId xmlns:a16="http://schemas.microsoft.com/office/drawing/2014/main" id="{490639D3-E379-4589-8542-B15EEC8D98E7}"/>
                  </a:ext>
                </a:extLst>
              </p:cNvPr>
              <p:cNvSpPr>
                <a:spLocks noEditPoints="1"/>
              </p:cNvSpPr>
              <p:nvPr/>
            </p:nvSpPr>
            <p:spPr bwMode="gray">
              <a:xfrm>
                <a:off x="4575260" y="3463545"/>
                <a:ext cx="81511" cy="61346"/>
              </a:xfrm>
              <a:custGeom>
                <a:avLst/>
                <a:gdLst>
                  <a:gd name="T0" fmla="*/ 134 w 198"/>
                  <a:gd name="T1" fmla="*/ 10 h 149"/>
                  <a:gd name="T2" fmla="*/ 106 w 198"/>
                  <a:gd name="T3" fmla="*/ 0 h 149"/>
                  <a:gd name="T4" fmla="*/ 118 w 198"/>
                  <a:gd name="T5" fmla="*/ 0 h 149"/>
                  <a:gd name="T6" fmla="*/ 134 w 198"/>
                  <a:gd name="T7" fmla="*/ 10 h 149"/>
                  <a:gd name="T8" fmla="*/ 134 w 198"/>
                  <a:gd name="T9" fmla="*/ 10 h 149"/>
                  <a:gd name="T10" fmla="*/ 134 w 198"/>
                  <a:gd name="T11" fmla="*/ 10 h 149"/>
                  <a:gd name="T12" fmla="*/ 191 w 198"/>
                  <a:gd name="T13" fmla="*/ 21 h 149"/>
                  <a:gd name="T14" fmla="*/ 191 w 198"/>
                  <a:gd name="T15" fmla="*/ 38 h 149"/>
                  <a:gd name="T16" fmla="*/ 191 w 198"/>
                  <a:gd name="T17" fmla="*/ 54 h 149"/>
                  <a:gd name="T18" fmla="*/ 198 w 198"/>
                  <a:gd name="T19" fmla="*/ 66 h 149"/>
                  <a:gd name="T20" fmla="*/ 186 w 198"/>
                  <a:gd name="T21" fmla="*/ 78 h 149"/>
                  <a:gd name="T22" fmla="*/ 191 w 198"/>
                  <a:gd name="T23" fmla="*/ 95 h 149"/>
                  <a:gd name="T24" fmla="*/ 186 w 198"/>
                  <a:gd name="T25" fmla="*/ 104 h 149"/>
                  <a:gd name="T26" fmla="*/ 170 w 198"/>
                  <a:gd name="T27" fmla="*/ 111 h 149"/>
                  <a:gd name="T28" fmla="*/ 177 w 198"/>
                  <a:gd name="T29" fmla="*/ 121 h 149"/>
                  <a:gd name="T30" fmla="*/ 191 w 198"/>
                  <a:gd name="T31" fmla="*/ 128 h 149"/>
                  <a:gd name="T32" fmla="*/ 191 w 198"/>
                  <a:gd name="T33" fmla="*/ 149 h 149"/>
                  <a:gd name="T34" fmla="*/ 170 w 198"/>
                  <a:gd name="T35" fmla="*/ 132 h 149"/>
                  <a:gd name="T36" fmla="*/ 118 w 198"/>
                  <a:gd name="T37" fmla="*/ 144 h 149"/>
                  <a:gd name="T38" fmla="*/ 80 w 198"/>
                  <a:gd name="T39" fmla="*/ 132 h 149"/>
                  <a:gd name="T40" fmla="*/ 47 w 198"/>
                  <a:gd name="T41" fmla="*/ 144 h 149"/>
                  <a:gd name="T42" fmla="*/ 47 w 198"/>
                  <a:gd name="T43" fmla="*/ 149 h 149"/>
                  <a:gd name="T44" fmla="*/ 38 w 198"/>
                  <a:gd name="T45" fmla="*/ 149 h 149"/>
                  <a:gd name="T46" fmla="*/ 26 w 198"/>
                  <a:gd name="T47" fmla="*/ 132 h 149"/>
                  <a:gd name="T48" fmla="*/ 0 w 198"/>
                  <a:gd name="T49" fmla="*/ 128 h 149"/>
                  <a:gd name="T50" fmla="*/ 0 w 198"/>
                  <a:gd name="T51" fmla="*/ 121 h 149"/>
                  <a:gd name="T52" fmla="*/ 0 w 198"/>
                  <a:gd name="T53" fmla="*/ 104 h 149"/>
                  <a:gd name="T54" fmla="*/ 16 w 198"/>
                  <a:gd name="T55" fmla="*/ 104 h 149"/>
                  <a:gd name="T56" fmla="*/ 47 w 198"/>
                  <a:gd name="T57" fmla="*/ 111 h 149"/>
                  <a:gd name="T58" fmla="*/ 63 w 198"/>
                  <a:gd name="T59" fmla="*/ 111 h 149"/>
                  <a:gd name="T60" fmla="*/ 54 w 198"/>
                  <a:gd name="T61" fmla="*/ 111 h 149"/>
                  <a:gd name="T62" fmla="*/ 54 w 198"/>
                  <a:gd name="T63" fmla="*/ 121 h 149"/>
                  <a:gd name="T64" fmla="*/ 123 w 198"/>
                  <a:gd name="T65" fmla="*/ 121 h 149"/>
                  <a:gd name="T66" fmla="*/ 134 w 198"/>
                  <a:gd name="T67" fmla="*/ 111 h 149"/>
                  <a:gd name="T68" fmla="*/ 144 w 198"/>
                  <a:gd name="T69" fmla="*/ 111 h 149"/>
                  <a:gd name="T70" fmla="*/ 144 w 198"/>
                  <a:gd name="T71" fmla="*/ 104 h 149"/>
                  <a:gd name="T72" fmla="*/ 118 w 198"/>
                  <a:gd name="T73" fmla="*/ 71 h 149"/>
                  <a:gd name="T74" fmla="*/ 123 w 198"/>
                  <a:gd name="T75" fmla="*/ 50 h 149"/>
                  <a:gd name="T76" fmla="*/ 92 w 198"/>
                  <a:gd name="T77" fmla="*/ 33 h 149"/>
                  <a:gd name="T78" fmla="*/ 80 w 198"/>
                  <a:gd name="T79" fmla="*/ 33 h 149"/>
                  <a:gd name="T80" fmla="*/ 80 w 198"/>
                  <a:gd name="T81" fmla="*/ 17 h 149"/>
                  <a:gd name="T82" fmla="*/ 118 w 198"/>
                  <a:gd name="T83" fmla="*/ 10 h 149"/>
                  <a:gd name="T84" fmla="*/ 156 w 198"/>
                  <a:gd name="T85" fmla="*/ 21 h 149"/>
                  <a:gd name="T86" fmla="*/ 191 w 198"/>
                  <a:gd name="T87" fmla="*/ 21 h 149"/>
                  <a:gd name="T88" fmla="*/ 191 w 198"/>
                  <a:gd name="T89" fmla="*/ 21 h 149"/>
                  <a:gd name="T90" fmla="*/ 191 w 198"/>
                  <a:gd name="T91" fmla="*/ 21 h 149"/>
                  <a:gd name="T92" fmla="*/ 118 w 198"/>
                  <a:gd name="T93" fmla="*/ 104 h 149"/>
                  <a:gd name="T94" fmla="*/ 85 w 198"/>
                  <a:gd name="T95" fmla="*/ 88 h 149"/>
                  <a:gd name="T96" fmla="*/ 92 w 198"/>
                  <a:gd name="T97" fmla="*/ 78 h 149"/>
                  <a:gd name="T98" fmla="*/ 118 w 198"/>
                  <a:gd name="T99" fmla="*/ 88 h 149"/>
                  <a:gd name="T100" fmla="*/ 118 w 198"/>
                  <a:gd name="T101" fmla="*/ 104 h 149"/>
                  <a:gd name="T102" fmla="*/ 118 w 198"/>
                  <a:gd name="T103" fmla="*/ 104 h 149"/>
                  <a:gd name="T104" fmla="*/ 118 w 198"/>
                  <a:gd name="T105" fmla="*/ 104 h 149"/>
                  <a:gd name="T106" fmla="*/ 54 w 198"/>
                  <a:gd name="T107" fmla="*/ 111 h 149"/>
                  <a:gd name="T108" fmla="*/ 47 w 198"/>
                  <a:gd name="T109" fmla="*/ 104 h 149"/>
                  <a:gd name="T110" fmla="*/ 54 w 198"/>
                  <a:gd name="T111" fmla="*/ 104 h 149"/>
                  <a:gd name="T112" fmla="*/ 54 w 198"/>
                  <a:gd name="T113" fmla="*/ 111 h 149"/>
                  <a:gd name="T114" fmla="*/ 54 w 198"/>
                  <a:gd name="T115" fmla="*/ 111 h 149"/>
                  <a:gd name="T116" fmla="*/ 54 w 198"/>
                  <a:gd name="T117" fmla="*/ 11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 h="149">
                    <a:moveTo>
                      <a:pt x="134" y="10"/>
                    </a:moveTo>
                    <a:lnTo>
                      <a:pt x="106" y="0"/>
                    </a:lnTo>
                    <a:lnTo>
                      <a:pt x="118" y="0"/>
                    </a:lnTo>
                    <a:lnTo>
                      <a:pt x="134" y="10"/>
                    </a:lnTo>
                    <a:lnTo>
                      <a:pt x="134" y="10"/>
                    </a:lnTo>
                    <a:lnTo>
                      <a:pt x="134" y="10"/>
                    </a:lnTo>
                    <a:close/>
                    <a:moveTo>
                      <a:pt x="191" y="21"/>
                    </a:moveTo>
                    <a:lnTo>
                      <a:pt x="191" y="38"/>
                    </a:lnTo>
                    <a:lnTo>
                      <a:pt x="191" y="54"/>
                    </a:lnTo>
                    <a:lnTo>
                      <a:pt x="198" y="66"/>
                    </a:lnTo>
                    <a:lnTo>
                      <a:pt x="186" y="78"/>
                    </a:lnTo>
                    <a:lnTo>
                      <a:pt x="191" y="95"/>
                    </a:lnTo>
                    <a:lnTo>
                      <a:pt x="186" y="104"/>
                    </a:lnTo>
                    <a:lnTo>
                      <a:pt x="170" y="111"/>
                    </a:lnTo>
                    <a:lnTo>
                      <a:pt x="177" y="121"/>
                    </a:lnTo>
                    <a:lnTo>
                      <a:pt x="191" y="128"/>
                    </a:lnTo>
                    <a:lnTo>
                      <a:pt x="191" y="149"/>
                    </a:lnTo>
                    <a:lnTo>
                      <a:pt x="170" y="132"/>
                    </a:lnTo>
                    <a:lnTo>
                      <a:pt x="118" y="144"/>
                    </a:lnTo>
                    <a:lnTo>
                      <a:pt x="80" y="132"/>
                    </a:lnTo>
                    <a:lnTo>
                      <a:pt x="47" y="144"/>
                    </a:lnTo>
                    <a:lnTo>
                      <a:pt x="47" y="149"/>
                    </a:lnTo>
                    <a:lnTo>
                      <a:pt x="38" y="149"/>
                    </a:lnTo>
                    <a:lnTo>
                      <a:pt x="26" y="132"/>
                    </a:lnTo>
                    <a:lnTo>
                      <a:pt x="0" y="128"/>
                    </a:lnTo>
                    <a:lnTo>
                      <a:pt x="0" y="121"/>
                    </a:lnTo>
                    <a:lnTo>
                      <a:pt x="0" y="104"/>
                    </a:lnTo>
                    <a:lnTo>
                      <a:pt x="16" y="104"/>
                    </a:lnTo>
                    <a:lnTo>
                      <a:pt x="47" y="111"/>
                    </a:lnTo>
                    <a:lnTo>
                      <a:pt x="63" y="111"/>
                    </a:lnTo>
                    <a:lnTo>
                      <a:pt x="54" y="111"/>
                    </a:lnTo>
                    <a:lnTo>
                      <a:pt x="54" y="121"/>
                    </a:lnTo>
                    <a:lnTo>
                      <a:pt x="123" y="121"/>
                    </a:lnTo>
                    <a:lnTo>
                      <a:pt x="134" y="111"/>
                    </a:lnTo>
                    <a:lnTo>
                      <a:pt x="144" y="111"/>
                    </a:lnTo>
                    <a:lnTo>
                      <a:pt x="144" y="104"/>
                    </a:lnTo>
                    <a:lnTo>
                      <a:pt x="118" y="71"/>
                    </a:lnTo>
                    <a:lnTo>
                      <a:pt x="123" y="50"/>
                    </a:lnTo>
                    <a:lnTo>
                      <a:pt x="92" y="33"/>
                    </a:lnTo>
                    <a:lnTo>
                      <a:pt x="80" y="33"/>
                    </a:lnTo>
                    <a:lnTo>
                      <a:pt x="80" y="17"/>
                    </a:lnTo>
                    <a:lnTo>
                      <a:pt x="118" y="10"/>
                    </a:lnTo>
                    <a:lnTo>
                      <a:pt x="156" y="21"/>
                    </a:lnTo>
                    <a:lnTo>
                      <a:pt x="191" y="21"/>
                    </a:lnTo>
                    <a:lnTo>
                      <a:pt x="191" y="21"/>
                    </a:lnTo>
                    <a:lnTo>
                      <a:pt x="191" y="21"/>
                    </a:lnTo>
                    <a:close/>
                    <a:moveTo>
                      <a:pt x="118" y="104"/>
                    </a:moveTo>
                    <a:lnTo>
                      <a:pt x="85" y="88"/>
                    </a:lnTo>
                    <a:lnTo>
                      <a:pt x="92" y="78"/>
                    </a:lnTo>
                    <a:lnTo>
                      <a:pt x="118" y="88"/>
                    </a:lnTo>
                    <a:lnTo>
                      <a:pt x="118" y="104"/>
                    </a:lnTo>
                    <a:lnTo>
                      <a:pt x="118" y="104"/>
                    </a:lnTo>
                    <a:lnTo>
                      <a:pt x="118" y="104"/>
                    </a:lnTo>
                    <a:close/>
                    <a:moveTo>
                      <a:pt x="54" y="111"/>
                    </a:moveTo>
                    <a:lnTo>
                      <a:pt x="47" y="104"/>
                    </a:lnTo>
                    <a:lnTo>
                      <a:pt x="54" y="104"/>
                    </a:lnTo>
                    <a:lnTo>
                      <a:pt x="54" y="111"/>
                    </a:lnTo>
                    <a:lnTo>
                      <a:pt x="54" y="111"/>
                    </a:lnTo>
                    <a:lnTo>
                      <a:pt x="54" y="11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02" name="Freeform 463">
                <a:extLst>
                  <a:ext uri="{FF2B5EF4-FFF2-40B4-BE49-F238E27FC236}">
                    <a16:creationId xmlns:a16="http://schemas.microsoft.com/office/drawing/2014/main" id="{7D3F9231-9B3B-42D8-8B9F-F7FDAD353403}"/>
                  </a:ext>
                </a:extLst>
              </p:cNvPr>
              <p:cNvSpPr>
                <a:spLocks noEditPoints="1"/>
              </p:cNvSpPr>
              <p:nvPr/>
            </p:nvSpPr>
            <p:spPr bwMode="gray">
              <a:xfrm>
                <a:off x="4146299" y="3574296"/>
                <a:ext cx="177842" cy="102106"/>
              </a:xfrm>
              <a:custGeom>
                <a:avLst/>
                <a:gdLst>
                  <a:gd name="T0" fmla="*/ 206 w 432"/>
                  <a:gd name="T1" fmla="*/ 0 h 248"/>
                  <a:gd name="T2" fmla="*/ 189 w 432"/>
                  <a:gd name="T3" fmla="*/ 5 h 248"/>
                  <a:gd name="T4" fmla="*/ 189 w 432"/>
                  <a:gd name="T5" fmla="*/ 5 h 248"/>
                  <a:gd name="T6" fmla="*/ 43 w 432"/>
                  <a:gd name="T7" fmla="*/ 166 h 248"/>
                  <a:gd name="T8" fmla="*/ 26 w 432"/>
                  <a:gd name="T9" fmla="*/ 149 h 248"/>
                  <a:gd name="T10" fmla="*/ 17 w 432"/>
                  <a:gd name="T11" fmla="*/ 128 h 248"/>
                  <a:gd name="T12" fmla="*/ 17 w 432"/>
                  <a:gd name="T13" fmla="*/ 100 h 248"/>
                  <a:gd name="T14" fmla="*/ 85 w 432"/>
                  <a:gd name="T15" fmla="*/ 57 h 248"/>
                  <a:gd name="T16" fmla="*/ 135 w 432"/>
                  <a:gd name="T17" fmla="*/ 45 h 248"/>
                  <a:gd name="T18" fmla="*/ 210 w 432"/>
                  <a:gd name="T19" fmla="*/ 45 h 248"/>
                  <a:gd name="T20" fmla="*/ 243 w 432"/>
                  <a:gd name="T21" fmla="*/ 29 h 248"/>
                  <a:gd name="T22" fmla="*/ 269 w 432"/>
                  <a:gd name="T23" fmla="*/ 38 h 248"/>
                  <a:gd name="T24" fmla="*/ 324 w 432"/>
                  <a:gd name="T25" fmla="*/ 38 h 248"/>
                  <a:gd name="T26" fmla="*/ 340 w 432"/>
                  <a:gd name="T27" fmla="*/ 45 h 248"/>
                  <a:gd name="T28" fmla="*/ 357 w 432"/>
                  <a:gd name="T29" fmla="*/ 45 h 248"/>
                  <a:gd name="T30" fmla="*/ 357 w 432"/>
                  <a:gd name="T31" fmla="*/ 62 h 248"/>
                  <a:gd name="T32" fmla="*/ 390 w 432"/>
                  <a:gd name="T33" fmla="*/ 83 h 248"/>
                  <a:gd name="T34" fmla="*/ 378 w 432"/>
                  <a:gd name="T35" fmla="*/ 74 h 248"/>
                  <a:gd name="T36" fmla="*/ 411 w 432"/>
                  <a:gd name="T37" fmla="*/ 83 h 248"/>
                  <a:gd name="T38" fmla="*/ 406 w 432"/>
                  <a:gd name="T39" fmla="*/ 95 h 248"/>
                  <a:gd name="T40" fmla="*/ 406 w 432"/>
                  <a:gd name="T41" fmla="*/ 78 h 248"/>
                  <a:gd name="T42" fmla="*/ 428 w 432"/>
                  <a:gd name="T43" fmla="*/ 100 h 248"/>
                  <a:gd name="T44" fmla="*/ 411 w 432"/>
                  <a:gd name="T45" fmla="*/ 100 h 248"/>
                  <a:gd name="T46" fmla="*/ 340 w 432"/>
                  <a:gd name="T47" fmla="*/ 133 h 248"/>
                  <a:gd name="T48" fmla="*/ 298 w 432"/>
                  <a:gd name="T49" fmla="*/ 149 h 248"/>
                  <a:gd name="T50" fmla="*/ 260 w 432"/>
                  <a:gd name="T51" fmla="*/ 182 h 248"/>
                  <a:gd name="T52" fmla="*/ 231 w 432"/>
                  <a:gd name="T53" fmla="*/ 173 h 248"/>
                  <a:gd name="T54" fmla="*/ 177 w 432"/>
                  <a:gd name="T55" fmla="*/ 194 h 248"/>
                  <a:gd name="T56" fmla="*/ 172 w 432"/>
                  <a:gd name="T57" fmla="*/ 239 h 248"/>
                  <a:gd name="T58" fmla="*/ 139 w 432"/>
                  <a:gd name="T59" fmla="*/ 248 h 248"/>
                  <a:gd name="T60" fmla="*/ 135 w 432"/>
                  <a:gd name="T61" fmla="*/ 222 h 248"/>
                  <a:gd name="T62" fmla="*/ 118 w 432"/>
                  <a:gd name="T63" fmla="*/ 222 h 248"/>
                  <a:gd name="T64" fmla="*/ 109 w 432"/>
                  <a:gd name="T65" fmla="*/ 222 h 248"/>
                  <a:gd name="T66" fmla="*/ 109 w 432"/>
                  <a:gd name="T67" fmla="*/ 211 h 248"/>
                  <a:gd name="T68" fmla="*/ 109 w 432"/>
                  <a:gd name="T69" fmla="*/ 182 h 248"/>
                  <a:gd name="T70" fmla="*/ 85 w 432"/>
                  <a:gd name="T71" fmla="*/ 182 h 248"/>
                  <a:gd name="T72" fmla="*/ 54 w 432"/>
                  <a:gd name="T73" fmla="*/ 182 h 248"/>
                  <a:gd name="T74" fmla="*/ 54 w 432"/>
                  <a:gd name="T75" fmla="*/ 182 h 248"/>
                  <a:gd name="T76" fmla="*/ 118 w 432"/>
                  <a:gd name="T77" fmla="*/ 222 h 248"/>
                  <a:gd name="T78" fmla="*/ 123 w 432"/>
                  <a:gd name="T79" fmla="*/ 227 h 248"/>
                  <a:gd name="T80" fmla="*/ 123 w 432"/>
                  <a:gd name="T81" fmla="*/ 2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2" h="248">
                    <a:moveTo>
                      <a:pt x="189" y="5"/>
                    </a:moveTo>
                    <a:lnTo>
                      <a:pt x="206" y="0"/>
                    </a:lnTo>
                    <a:lnTo>
                      <a:pt x="215" y="0"/>
                    </a:lnTo>
                    <a:lnTo>
                      <a:pt x="189" y="5"/>
                    </a:lnTo>
                    <a:lnTo>
                      <a:pt x="189" y="5"/>
                    </a:lnTo>
                    <a:lnTo>
                      <a:pt x="189" y="5"/>
                    </a:lnTo>
                    <a:close/>
                    <a:moveTo>
                      <a:pt x="54" y="182"/>
                    </a:moveTo>
                    <a:lnTo>
                      <a:pt x="43" y="166"/>
                    </a:lnTo>
                    <a:lnTo>
                      <a:pt x="43" y="173"/>
                    </a:lnTo>
                    <a:lnTo>
                      <a:pt x="26" y="149"/>
                    </a:lnTo>
                    <a:lnTo>
                      <a:pt x="0" y="149"/>
                    </a:lnTo>
                    <a:lnTo>
                      <a:pt x="17" y="128"/>
                    </a:lnTo>
                    <a:lnTo>
                      <a:pt x="9" y="116"/>
                    </a:lnTo>
                    <a:lnTo>
                      <a:pt x="17" y="100"/>
                    </a:lnTo>
                    <a:lnTo>
                      <a:pt x="80" y="57"/>
                    </a:lnTo>
                    <a:lnTo>
                      <a:pt x="85" y="57"/>
                    </a:lnTo>
                    <a:lnTo>
                      <a:pt x="118" y="38"/>
                    </a:lnTo>
                    <a:lnTo>
                      <a:pt x="135" y="45"/>
                    </a:lnTo>
                    <a:lnTo>
                      <a:pt x="139" y="38"/>
                    </a:lnTo>
                    <a:lnTo>
                      <a:pt x="210" y="45"/>
                    </a:lnTo>
                    <a:lnTo>
                      <a:pt x="243" y="38"/>
                    </a:lnTo>
                    <a:lnTo>
                      <a:pt x="243" y="29"/>
                    </a:lnTo>
                    <a:lnTo>
                      <a:pt x="231" y="29"/>
                    </a:lnTo>
                    <a:lnTo>
                      <a:pt x="269" y="38"/>
                    </a:lnTo>
                    <a:lnTo>
                      <a:pt x="302" y="29"/>
                    </a:lnTo>
                    <a:lnTo>
                      <a:pt x="324" y="38"/>
                    </a:lnTo>
                    <a:lnTo>
                      <a:pt x="335" y="45"/>
                    </a:lnTo>
                    <a:lnTo>
                      <a:pt x="340" y="45"/>
                    </a:lnTo>
                    <a:lnTo>
                      <a:pt x="340" y="38"/>
                    </a:lnTo>
                    <a:lnTo>
                      <a:pt x="357" y="45"/>
                    </a:lnTo>
                    <a:lnTo>
                      <a:pt x="390" y="74"/>
                    </a:lnTo>
                    <a:lnTo>
                      <a:pt x="357" y="62"/>
                    </a:lnTo>
                    <a:lnTo>
                      <a:pt x="373" y="78"/>
                    </a:lnTo>
                    <a:lnTo>
                      <a:pt x="390" y="83"/>
                    </a:lnTo>
                    <a:lnTo>
                      <a:pt x="373" y="78"/>
                    </a:lnTo>
                    <a:lnTo>
                      <a:pt x="378" y="74"/>
                    </a:lnTo>
                    <a:lnTo>
                      <a:pt x="394" y="83"/>
                    </a:lnTo>
                    <a:lnTo>
                      <a:pt x="411" y="83"/>
                    </a:lnTo>
                    <a:lnTo>
                      <a:pt x="406" y="83"/>
                    </a:lnTo>
                    <a:lnTo>
                      <a:pt x="406" y="95"/>
                    </a:lnTo>
                    <a:lnTo>
                      <a:pt x="411" y="83"/>
                    </a:lnTo>
                    <a:lnTo>
                      <a:pt x="406" y="78"/>
                    </a:lnTo>
                    <a:lnTo>
                      <a:pt x="423" y="83"/>
                    </a:lnTo>
                    <a:lnTo>
                      <a:pt x="428" y="100"/>
                    </a:lnTo>
                    <a:lnTo>
                      <a:pt x="432" y="100"/>
                    </a:lnTo>
                    <a:lnTo>
                      <a:pt x="411" y="100"/>
                    </a:lnTo>
                    <a:lnTo>
                      <a:pt x="390" y="116"/>
                    </a:lnTo>
                    <a:lnTo>
                      <a:pt x="340" y="133"/>
                    </a:lnTo>
                    <a:lnTo>
                      <a:pt x="314" y="116"/>
                    </a:lnTo>
                    <a:lnTo>
                      <a:pt x="298" y="149"/>
                    </a:lnTo>
                    <a:lnTo>
                      <a:pt x="298" y="149"/>
                    </a:lnTo>
                    <a:lnTo>
                      <a:pt x="260" y="182"/>
                    </a:lnTo>
                    <a:lnTo>
                      <a:pt x="260" y="189"/>
                    </a:lnTo>
                    <a:lnTo>
                      <a:pt x="231" y="173"/>
                    </a:lnTo>
                    <a:lnTo>
                      <a:pt x="210" y="194"/>
                    </a:lnTo>
                    <a:lnTo>
                      <a:pt x="177" y="194"/>
                    </a:lnTo>
                    <a:lnTo>
                      <a:pt x="189" y="227"/>
                    </a:lnTo>
                    <a:lnTo>
                      <a:pt x="172" y="239"/>
                    </a:lnTo>
                    <a:lnTo>
                      <a:pt x="161" y="248"/>
                    </a:lnTo>
                    <a:lnTo>
                      <a:pt x="139" y="248"/>
                    </a:lnTo>
                    <a:lnTo>
                      <a:pt x="123" y="227"/>
                    </a:lnTo>
                    <a:lnTo>
                      <a:pt x="135" y="222"/>
                    </a:lnTo>
                    <a:lnTo>
                      <a:pt x="123" y="227"/>
                    </a:lnTo>
                    <a:lnTo>
                      <a:pt x="118" y="222"/>
                    </a:lnTo>
                    <a:lnTo>
                      <a:pt x="118" y="222"/>
                    </a:lnTo>
                    <a:lnTo>
                      <a:pt x="109" y="222"/>
                    </a:lnTo>
                    <a:lnTo>
                      <a:pt x="118" y="211"/>
                    </a:lnTo>
                    <a:lnTo>
                      <a:pt x="109" y="211"/>
                    </a:lnTo>
                    <a:lnTo>
                      <a:pt x="118" y="189"/>
                    </a:lnTo>
                    <a:lnTo>
                      <a:pt x="109" y="182"/>
                    </a:lnTo>
                    <a:lnTo>
                      <a:pt x="97" y="189"/>
                    </a:lnTo>
                    <a:lnTo>
                      <a:pt x="85" y="182"/>
                    </a:lnTo>
                    <a:lnTo>
                      <a:pt x="64" y="189"/>
                    </a:lnTo>
                    <a:lnTo>
                      <a:pt x="54" y="182"/>
                    </a:lnTo>
                    <a:lnTo>
                      <a:pt x="54" y="182"/>
                    </a:lnTo>
                    <a:lnTo>
                      <a:pt x="54" y="182"/>
                    </a:lnTo>
                    <a:close/>
                    <a:moveTo>
                      <a:pt x="123" y="227"/>
                    </a:moveTo>
                    <a:lnTo>
                      <a:pt x="118" y="222"/>
                    </a:lnTo>
                    <a:lnTo>
                      <a:pt x="123" y="222"/>
                    </a:lnTo>
                    <a:lnTo>
                      <a:pt x="123" y="227"/>
                    </a:lnTo>
                    <a:lnTo>
                      <a:pt x="123" y="227"/>
                    </a:lnTo>
                    <a:lnTo>
                      <a:pt x="123" y="22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03" name="Freeform 500">
                <a:extLst>
                  <a:ext uri="{FF2B5EF4-FFF2-40B4-BE49-F238E27FC236}">
                    <a16:creationId xmlns:a16="http://schemas.microsoft.com/office/drawing/2014/main" id="{AB40F934-6EFE-4467-8DA5-158552C3298A}"/>
                  </a:ext>
                </a:extLst>
              </p:cNvPr>
              <p:cNvSpPr>
                <a:spLocks/>
              </p:cNvSpPr>
              <p:nvPr/>
            </p:nvSpPr>
            <p:spPr bwMode="gray">
              <a:xfrm>
                <a:off x="4957289" y="3619997"/>
                <a:ext cx="13585" cy="16880"/>
              </a:xfrm>
              <a:custGeom>
                <a:avLst/>
                <a:gdLst>
                  <a:gd name="T0" fmla="*/ 33 w 33"/>
                  <a:gd name="T1" fmla="*/ 41 h 41"/>
                  <a:gd name="T2" fmla="*/ 17 w 33"/>
                  <a:gd name="T3" fmla="*/ 29 h 41"/>
                  <a:gd name="T4" fmla="*/ 0 w 33"/>
                  <a:gd name="T5" fmla="*/ 7 h 41"/>
                  <a:gd name="T6" fmla="*/ 5 w 33"/>
                  <a:gd name="T7" fmla="*/ 0 h 41"/>
                  <a:gd name="T8" fmla="*/ 21 w 33"/>
                  <a:gd name="T9" fmla="*/ 17 h 41"/>
                  <a:gd name="T10" fmla="*/ 33 w 33"/>
                  <a:gd name="T11" fmla="*/ 24 h 41"/>
                  <a:gd name="T12" fmla="*/ 33 w 33"/>
                  <a:gd name="T13" fmla="*/ 41 h 41"/>
                  <a:gd name="T14" fmla="*/ 33 w 33"/>
                  <a:gd name="T15" fmla="*/ 41 h 41"/>
                  <a:gd name="T16" fmla="*/ 33 w 33"/>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1">
                    <a:moveTo>
                      <a:pt x="33" y="41"/>
                    </a:moveTo>
                    <a:lnTo>
                      <a:pt x="17" y="29"/>
                    </a:lnTo>
                    <a:lnTo>
                      <a:pt x="0" y="7"/>
                    </a:lnTo>
                    <a:lnTo>
                      <a:pt x="5" y="0"/>
                    </a:lnTo>
                    <a:lnTo>
                      <a:pt x="21" y="17"/>
                    </a:lnTo>
                    <a:lnTo>
                      <a:pt x="33" y="24"/>
                    </a:lnTo>
                    <a:lnTo>
                      <a:pt x="33" y="41"/>
                    </a:lnTo>
                    <a:lnTo>
                      <a:pt x="33" y="41"/>
                    </a:lnTo>
                    <a:lnTo>
                      <a:pt x="33" y="4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04" name="Freeform 504">
                <a:extLst>
                  <a:ext uri="{FF2B5EF4-FFF2-40B4-BE49-F238E27FC236}">
                    <a16:creationId xmlns:a16="http://schemas.microsoft.com/office/drawing/2014/main" id="{E50CC9B7-510E-43F4-BC14-067359D6A525}"/>
                  </a:ext>
                </a:extLst>
              </p:cNvPr>
              <p:cNvSpPr>
                <a:spLocks/>
              </p:cNvSpPr>
              <p:nvPr/>
            </p:nvSpPr>
            <p:spPr bwMode="gray">
              <a:xfrm>
                <a:off x="4928061" y="3560710"/>
                <a:ext cx="2058" cy="6999"/>
              </a:xfrm>
              <a:custGeom>
                <a:avLst/>
                <a:gdLst>
                  <a:gd name="T0" fmla="*/ 5 w 5"/>
                  <a:gd name="T1" fmla="*/ 17 h 17"/>
                  <a:gd name="T2" fmla="*/ 0 w 5"/>
                  <a:gd name="T3" fmla="*/ 5 h 17"/>
                  <a:gd name="T4" fmla="*/ 5 w 5"/>
                  <a:gd name="T5" fmla="*/ 0 h 17"/>
                  <a:gd name="T6" fmla="*/ 5 w 5"/>
                  <a:gd name="T7" fmla="*/ 17 h 17"/>
                  <a:gd name="T8" fmla="*/ 5 w 5"/>
                  <a:gd name="T9" fmla="*/ 17 h 17"/>
                  <a:gd name="T10" fmla="*/ 5 w 5"/>
                  <a:gd name="T11" fmla="*/ 17 h 17"/>
                </a:gdLst>
                <a:ahLst/>
                <a:cxnLst>
                  <a:cxn ang="0">
                    <a:pos x="T0" y="T1"/>
                  </a:cxn>
                  <a:cxn ang="0">
                    <a:pos x="T2" y="T3"/>
                  </a:cxn>
                  <a:cxn ang="0">
                    <a:pos x="T4" y="T5"/>
                  </a:cxn>
                  <a:cxn ang="0">
                    <a:pos x="T6" y="T7"/>
                  </a:cxn>
                  <a:cxn ang="0">
                    <a:pos x="T8" y="T9"/>
                  </a:cxn>
                  <a:cxn ang="0">
                    <a:pos x="T10" y="T11"/>
                  </a:cxn>
                </a:cxnLst>
                <a:rect l="0" t="0" r="r" b="b"/>
                <a:pathLst>
                  <a:path w="5" h="17">
                    <a:moveTo>
                      <a:pt x="5" y="17"/>
                    </a:moveTo>
                    <a:lnTo>
                      <a:pt x="0" y="5"/>
                    </a:lnTo>
                    <a:lnTo>
                      <a:pt x="5" y="0"/>
                    </a:lnTo>
                    <a:lnTo>
                      <a:pt x="5" y="17"/>
                    </a:lnTo>
                    <a:lnTo>
                      <a:pt x="5" y="17"/>
                    </a:lnTo>
                    <a:lnTo>
                      <a:pt x="5"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05" name="Freeform 514">
                <a:extLst>
                  <a:ext uri="{FF2B5EF4-FFF2-40B4-BE49-F238E27FC236}">
                    <a16:creationId xmlns:a16="http://schemas.microsoft.com/office/drawing/2014/main" id="{BE04D71A-55F6-4C29-A901-CB7583CACD5E}"/>
                  </a:ext>
                </a:extLst>
              </p:cNvPr>
              <p:cNvSpPr>
                <a:spLocks noEditPoints="1"/>
              </p:cNvSpPr>
              <p:nvPr/>
            </p:nvSpPr>
            <p:spPr bwMode="gray">
              <a:xfrm>
                <a:off x="3308961" y="3058829"/>
                <a:ext cx="909379" cy="570227"/>
              </a:xfrm>
              <a:custGeom>
                <a:avLst/>
                <a:gdLst>
                  <a:gd name="T0" fmla="*/ 1918 w 2209"/>
                  <a:gd name="T1" fmla="*/ 1146 h 1385"/>
                  <a:gd name="T2" fmla="*/ 1864 w 2209"/>
                  <a:gd name="T3" fmla="*/ 1274 h 1385"/>
                  <a:gd name="T4" fmla="*/ 1708 w 2209"/>
                  <a:gd name="T5" fmla="*/ 1274 h 1385"/>
                  <a:gd name="T6" fmla="*/ 1649 w 2209"/>
                  <a:gd name="T7" fmla="*/ 1269 h 1385"/>
                  <a:gd name="T8" fmla="*/ 1481 w 2209"/>
                  <a:gd name="T9" fmla="*/ 1293 h 1385"/>
                  <a:gd name="T10" fmla="*/ 1217 w 2209"/>
                  <a:gd name="T11" fmla="*/ 1186 h 1385"/>
                  <a:gd name="T12" fmla="*/ 900 w 2209"/>
                  <a:gd name="T13" fmla="*/ 993 h 1385"/>
                  <a:gd name="T14" fmla="*/ 900 w 2209"/>
                  <a:gd name="T15" fmla="*/ 865 h 1385"/>
                  <a:gd name="T16" fmla="*/ 754 w 2209"/>
                  <a:gd name="T17" fmla="*/ 648 h 1385"/>
                  <a:gd name="T18" fmla="*/ 728 w 2209"/>
                  <a:gd name="T19" fmla="*/ 610 h 1385"/>
                  <a:gd name="T20" fmla="*/ 695 w 2209"/>
                  <a:gd name="T21" fmla="*/ 586 h 1385"/>
                  <a:gd name="T22" fmla="*/ 673 w 2209"/>
                  <a:gd name="T23" fmla="*/ 544 h 1385"/>
                  <a:gd name="T24" fmla="*/ 624 w 2209"/>
                  <a:gd name="T25" fmla="*/ 475 h 1385"/>
                  <a:gd name="T26" fmla="*/ 548 w 2209"/>
                  <a:gd name="T27" fmla="*/ 388 h 1385"/>
                  <a:gd name="T28" fmla="*/ 430 w 2209"/>
                  <a:gd name="T29" fmla="*/ 298 h 1385"/>
                  <a:gd name="T30" fmla="*/ 371 w 2209"/>
                  <a:gd name="T31" fmla="*/ 116 h 1385"/>
                  <a:gd name="T32" fmla="*/ 253 w 2209"/>
                  <a:gd name="T33" fmla="*/ 88 h 1385"/>
                  <a:gd name="T34" fmla="*/ 345 w 2209"/>
                  <a:gd name="T35" fmla="*/ 298 h 1385"/>
                  <a:gd name="T36" fmla="*/ 392 w 2209"/>
                  <a:gd name="T37" fmla="*/ 388 h 1385"/>
                  <a:gd name="T38" fmla="*/ 458 w 2209"/>
                  <a:gd name="T39" fmla="*/ 459 h 1385"/>
                  <a:gd name="T40" fmla="*/ 522 w 2209"/>
                  <a:gd name="T41" fmla="*/ 593 h 1385"/>
                  <a:gd name="T42" fmla="*/ 569 w 2209"/>
                  <a:gd name="T43" fmla="*/ 664 h 1385"/>
                  <a:gd name="T44" fmla="*/ 593 w 2209"/>
                  <a:gd name="T45" fmla="*/ 766 h 1385"/>
                  <a:gd name="T46" fmla="*/ 442 w 2209"/>
                  <a:gd name="T47" fmla="*/ 626 h 1385"/>
                  <a:gd name="T48" fmla="*/ 397 w 2209"/>
                  <a:gd name="T49" fmla="*/ 504 h 1385"/>
                  <a:gd name="T50" fmla="*/ 307 w 2209"/>
                  <a:gd name="T51" fmla="*/ 449 h 1385"/>
                  <a:gd name="T52" fmla="*/ 300 w 2209"/>
                  <a:gd name="T53" fmla="*/ 393 h 1385"/>
                  <a:gd name="T54" fmla="*/ 182 w 2209"/>
                  <a:gd name="T55" fmla="*/ 239 h 1385"/>
                  <a:gd name="T56" fmla="*/ 140 w 2209"/>
                  <a:gd name="T57" fmla="*/ 116 h 1385"/>
                  <a:gd name="T58" fmla="*/ 510 w 2209"/>
                  <a:gd name="T59" fmla="*/ 111 h 1385"/>
                  <a:gd name="T60" fmla="*/ 952 w 2209"/>
                  <a:gd name="T61" fmla="*/ 222 h 1385"/>
                  <a:gd name="T62" fmla="*/ 1125 w 2209"/>
                  <a:gd name="T63" fmla="*/ 227 h 1385"/>
                  <a:gd name="T64" fmla="*/ 1292 w 2209"/>
                  <a:gd name="T65" fmla="*/ 393 h 1385"/>
                  <a:gd name="T66" fmla="*/ 1448 w 2209"/>
                  <a:gd name="T67" fmla="*/ 532 h 1385"/>
                  <a:gd name="T68" fmla="*/ 1472 w 2209"/>
                  <a:gd name="T69" fmla="*/ 870 h 1385"/>
                  <a:gd name="T70" fmla="*/ 1536 w 2209"/>
                  <a:gd name="T71" fmla="*/ 997 h 1385"/>
                  <a:gd name="T72" fmla="*/ 1649 w 2209"/>
                  <a:gd name="T73" fmla="*/ 1092 h 1385"/>
                  <a:gd name="T74" fmla="*/ 1762 w 2209"/>
                  <a:gd name="T75" fmla="*/ 1108 h 1385"/>
                  <a:gd name="T76" fmla="*/ 1864 w 2209"/>
                  <a:gd name="T77" fmla="*/ 1104 h 1385"/>
                  <a:gd name="T78" fmla="*/ 1935 w 2209"/>
                  <a:gd name="T79" fmla="*/ 1037 h 1385"/>
                  <a:gd name="T80" fmla="*/ 2095 w 2209"/>
                  <a:gd name="T81" fmla="*/ 870 h 1385"/>
                  <a:gd name="T82" fmla="*/ 2209 w 2209"/>
                  <a:gd name="T83" fmla="*/ 893 h 1385"/>
                  <a:gd name="T84" fmla="*/ 2150 w 2209"/>
                  <a:gd name="T85" fmla="*/ 1021 h 1385"/>
                  <a:gd name="T86" fmla="*/ 2133 w 2209"/>
                  <a:gd name="T87" fmla="*/ 1104 h 1385"/>
                  <a:gd name="T88" fmla="*/ 359 w 2209"/>
                  <a:gd name="T89" fmla="*/ 293 h 1385"/>
                  <a:gd name="T90" fmla="*/ 359 w 2209"/>
                  <a:gd name="T91" fmla="*/ 293 h 1385"/>
                  <a:gd name="T92" fmla="*/ 425 w 2209"/>
                  <a:gd name="T93" fmla="*/ 315 h 1385"/>
                  <a:gd name="T94" fmla="*/ 0 w 2209"/>
                  <a:gd name="T95" fmla="*/ 298 h 1385"/>
                  <a:gd name="T96" fmla="*/ 225 w 2209"/>
                  <a:gd name="T97" fmla="*/ 371 h 1385"/>
                  <a:gd name="T98" fmla="*/ 501 w 2209"/>
                  <a:gd name="T99" fmla="*/ 544 h 1385"/>
                  <a:gd name="T100" fmla="*/ 442 w 2209"/>
                  <a:gd name="T101" fmla="*/ 586 h 1385"/>
                  <a:gd name="T102" fmla="*/ 539 w 2209"/>
                  <a:gd name="T103" fmla="*/ 598 h 1385"/>
                  <a:gd name="T104" fmla="*/ 463 w 2209"/>
                  <a:gd name="T105" fmla="*/ 655 h 1385"/>
                  <a:gd name="T106" fmla="*/ 825 w 2209"/>
                  <a:gd name="T107" fmla="*/ 870 h 1385"/>
                  <a:gd name="T108" fmla="*/ 855 w 2209"/>
                  <a:gd name="T109" fmla="*/ 886 h 1385"/>
                  <a:gd name="T110" fmla="*/ 2204 w 2209"/>
                  <a:gd name="T111" fmla="*/ 943 h 1385"/>
                  <a:gd name="T112" fmla="*/ 517 w 2209"/>
                  <a:gd name="T113" fmla="*/ 1071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9" h="1385">
                    <a:moveTo>
                      <a:pt x="2103" y="1104"/>
                    </a:moveTo>
                    <a:lnTo>
                      <a:pt x="2095" y="1104"/>
                    </a:lnTo>
                    <a:lnTo>
                      <a:pt x="2065" y="1141"/>
                    </a:lnTo>
                    <a:lnTo>
                      <a:pt x="2058" y="1130"/>
                    </a:lnTo>
                    <a:lnTo>
                      <a:pt x="2048" y="1141"/>
                    </a:lnTo>
                    <a:lnTo>
                      <a:pt x="2048" y="1146"/>
                    </a:lnTo>
                    <a:lnTo>
                      <a:pt x="1918" y="1146"/>
                    </a:lnTo>
                    <a:lnTo>
                      <a:pt x="1918" y="1186"/>
                    </a:lnTo>
                    <a:lnTo>
                      <a:pt x="1885" y="1186"/>
                    </a:lnTo>
                    <a:lnTo>
                      <a:pt x="1935" y="1224"/>
                    </a:lnTo>
                    <a:lnTo>
                      <a:pt x="1940" y="1252"/>
                    </a:lnTo>
                    <a:lnTo>
                      <a:pt x="1956" y="1252"/>
                    </a:lnTo>
                    <a:lnTo>
                      <a:pt x="1956" y="1274"/>
                    </a:lnTo>
                    <a:lnTo>
                      <a:pt x="1864" y="1274"/>
                    </a:lnTo>
                    <a:lnTo>
                      <a:pt x="1831" y="1335"/>
                    </a:lnTo>
                    <a:lnTo>
                      <a:pt x="1843" y="1352"/>
                    </a:lnTo>
                    <a:lnTo>
                      <a:pt x="1826" y="1385"/>
                    </a:lnTo>
                    <a:lnTo>
                      <a:pt x="1793" y="1352"/>
                    </a:lnTo>
                    <a:lnTo>
                      <a:pt x="1793" y="1347"/>
                    </a:lnTo>
                    <a:lnTo>
                      <a:pt x="1779" y="1335"/>
                    </a:lnTo>
                    <a:lnTo>
                      <a:pt x="1708" y="1274"/>
                    </a:lnTo>
                    <a:lnTo>
                      <a:pt x="1682" y="1257"/>
                    </a:lnTo>
                    <a:lnTo>
                      <a:pt x="1682" y="1269"/>
                    </a:lnTo>
                    <a:lnTo>
                      <a:pt x="1703" y="1281"/>
                    </a:lnTo>
                    <a:lnTo>
                      <a:pt x="1654" y="1269"/>
                    </a:lnTo>
                    <a:lnTo>
                      <a:pt x="1666" y="1257"/>
                    </a:lnTo>
                    <a:lnTo>
                      <a:pt x="1654" y="1257"/>
                    </a:lnTo>
                    <a:lnTo>
                      <a:pt x="1649" y="1269"/>
                    </a:lnTo>
                    <a:lnTo>
                      <a:pt x="1649" y="1252"/>
                    </a:lnTo>
                    <a:lnTo>
                      <a:pt x="1632" y="1257"/>
                    </a:lnTo>
                    <a:lnTo>
                      <a:pt x="1649" y="1269"/>
                    </a:lnTo>
                    <a:lnTo>
                      <a:pt x="1616" y="1269"/>
                    </a:lnTo>
                    <a:lnTo>
                      <a:pt x="1611" y="1281"/>
                    </a:lnTo>
                    <a:lnTo>
                      <a:pt x="1536" y="1309"/>
                    </a:lnTo>
                    <a:lnTo>
                      <a:pt x="1481" y="1293"/>
                    </a:lnTo>
                    <a:lnTo>
                      <a:pt x="1439" y="1281"/>
                    </a:lnTo>
                    <a:lnTo>
                      <a:pt x="1417" y="1269"/>
                    </a:lnTo>
                    <a:lnTo>
                      <a:pt x="1384" y="1257"/>
                    </a:lnTo>
                    <a:lnTo>
                      <a:pt x="1373" y="1241"/>
                    </a:lnTo>
                    <a:lnTo>
                      <a:pt x="1309" y="1224"/>
                    </a:lnTo>
                    <a:lnTo>
                      <a:pt x="1292" y="1219"/>
                    </a:lnTo>
                    <a:lnTo>
                      <a:pt x="1217" y="1186"/>
                    </a:lnTo>
                    <a:lnTo>
                      <a:pt x="1169" y="1158"/>
                    </a:lnTo>
                    <a:lnTo>
                      <a:pt x="1148" y="1130"/>
                    </a:lnTo>
                    <a:lnTo>
                      <a:pt x="1132" y="1141"/>
                    </a:lnTo>
                    <a:lnTo>
                      <a:pt x="1051" y="1108"/>
                    </a:lnTo>
                    <a:lnTo>
                      <a:pt x="1006" y="1071"/>
                    </a:lnTo>
                    <a:lnTo>
                      <a:pt x="943" y="1037"/>
                    </a:lnTo>
                    <a:lnTo>
                      <a:pt x="900" y="993"/>
                    </a:lnTo>
                    <a:lnTo>
                      <a:pt x="888" y="959"/>
                    </a:lnTo>
                    <a:lnTo>
                      <a:pt x="914" y="943"/>
                    </a:lnTo>
                    <a:lnTo>
                      <a:pt x="910" y="926"/>
                    </a:lnTo>
                    <a:lnTo>
                      <a:pt x="893" y="926"/>
                    </a:lnTo>
                    <a:lnTo>
                      <a:pt x="914" y="903"/>
                    </a:lnTo>
                    <a:lnTo>
                      <a:pt x="926" y="882"/>
                    </a:lnTo>
                    <a:lnTo>
                      <a:pt x="900" y="865"/>
                    </a:lnTo>
                    <a:lnTo>
                      <a:pt x="893" y="837"/>
                    </a:lnTo>
                    <a:lnTo>
                      <a:pt x="893" y="808"/>
                    </a:lnTo>
                    <a:lnTo>
                      <a:pt x="879" y="782"/>
                    </a:lnTo>
                    <a:lnTo>
                      <a:pt x="841" y="742"/>
                    </a:lnTo>
                    <a:lnTo>
                      <a:pt x="791" y="688"/>
                    </a:lnTo>
                    <a:lnTo>
                      <a:pt x="749" y="648"/>
                    </a:lnTo>
                    <a:lnTo>
                      <a:pt x="754" y="648"/>
                    </a:lnTo>
                    <a:lnTo>
                      <a:pt x="754" y="643"/>
                    </a:lnTo>
                    <a:lnTo>
                      <a:pt x="749" y="648"/>
                    </a:lnTo>
                    <a:lnTo>
                      <a:pt x="732" y="631"/>
                    </a:lnTo>
                    <a:lnTo>
                      <a:pt x="737" y="643"/>
                    </a:lnTo>
                    <a:lnTo>
                      <a:pt x="728" y="631"/>
                    </a:lnTo>
                    <a:lnTo>
                      <a:pt x="728" y="610"/>
                    </a:lnTo>
                    <a:lnTo>
                      <a:pt x="728" y="610"/>
                    </a:lnTo>
                    <a:lnTo>
                      <a:pt x="728" y="615"/>
                    </a:lnTo>
                    <a:lnTo>
                      <a:pt x="716" y="615"/>
                    </a:lnTo>
                    <a:lnTo>
                      <a:pt x="711" y="598"/>
                    </a:lnTo>
                    <a:lnTo>
                      <a:pt x="728" y="610"/>
                    </a:lnTo>
                    <a:lnTo>
                      <a:pt x="728" y="598"/>
                    </a:lnTo>
                    <a:lnTo>
                      <a:pt x="699" y="593"/>
                    </a:lnTo>
                    <a:lnTo>
                      <a:pt x="695" y="586"/>
                    </a:lnTo>
                    <a:lnTo>
                      <a:pt x="678" y="577"/>
                    </a:lnTo>
                    <a:lnTo>
                      <a:pt x="673" y="560"/>
                    </a:lnTo>
                    <a:lnTo>
                      <a:pt x="662" y="560"/>
                    </a:lnTo>
                    <a:lnTo>
                      <a:pt x="662" y="570"/>
                    </a:lnTo>
                    <a:lnTo>
                      <a:pt x="645" y="560"/>
                    </a:lnTo>
                    <a:lnTo>
                      <a:pt x="657" y="560"/>
                    </a:lnTo>
                    <a:lnTo>
                      <a:pt x="673" y="544"/>
                    </a:lnTo>
                    <a:lnTo>
                      <a:pt x="645" y="560"/>
                    </a:lnTo>
                    <a:lnTo>
                      <a:pt x="631" y="544"/>
                    </a:lnTo>
                    <a:lnTo>
                      <a:pt x="624" y="532"/>
                    </a:lnTo>
                    <a:lnTo>
                      <a:pt x="640" y="504"/>
                    </a:lnTo>
                    <a:lnTo>
                      <a:pt x="645" y="515"/>
                    </a:lnTo>
                    <a:lnTo>
                      <a:pt x="645" y="504"/>
                    </a:lnTo>
                    <a:lnTo>
                      <a:pt x="624" y="475"/>
                    </a:lnTo>
                    <a:lnTo>
                      <a:pt x="619" y="466"/>
                    </a:lnTo>
                    <a:lnTo>
                      <a:pt x="603" y="475"/>
                    </a:lnTo>
                    <a:lnTo>
                      <a:pt x="586" y="442"/>
                    </a:lnTo>
                    <a:lnTo>
                      <a:pt x="565" y="442"/>
                    </a:lnTo>
                    <a:lnTo>
                      <a:pt x="548" y="426"/>
                    </a:lnTo>
                    <a:lnTo>
                      <a:pt x="539" y="404"/>
                    </a:lnTo>
                    <a:lnTo>
                      <a:pt x="548" y="388"/>
                    </a:lnTo>
                    <a:lnTo>
                      <a:pt x="532" y="376"/>
                    </a:lnTo>
                    <a:lnTo>
                      <a:pt x="522" y="388"/>
                    </a:lnTo>
                    <a:lnTo>
                      <a:pt x="510" y="376"/>
                    </a:lnTo>
                    <a:lnTo>
                      <a:pt x="484" y="350"/>
                    </a:lnTo>
                    <a:lnTo>
                      <a:pt x="468" y="338"/>
                    </a:lnTo>
                    <a:lnTo>
                      <a:pt x="458" y="310"/>
                    </a:lnTo>
                    <a:lnTo>
                      <a:pt x="430" y="298"/>
                    </a:lnTo>
                    <a:lnTo>
                      <a:pt x="430" y="265"/>
                    </a:lnTo>
                    <a:lnTo>
                      <a:pt x="414" y="260"/>
                    </a:lnTo>
                    <a:lnTo>
                      <a:pt x="414" y="260"/>
                    </a:lnTo>
                    <a:lnTo>
                      <a:pt x="392" y="222"/>
                    </a:lnTo>
                    <a:lnTo>
                      <a:pt x="392" y="199"/>
                    </a:lnTo>
                    <a:lnTo>
                      <a:pt x="371" y="166"/>
                    </a:lnTo>
                    <a:lnTo>
                      <a:pt x="371" y="116"/>
                    </a:lnTo>
                    <a:lnTo>
                      <a:pt x="333" y="111"/>
                    </a:lnTo>
                    <a:lnTo>
                      <a:pt x="333" y="95"/>
                    </a:lnTo>
                    <a:lnTo>
                      <a:pt x="307" y="88"/>
                    </a:lnTo>
                    <a:lnTo>
                      <a:pt x="300" y="100"/>
                    </a:lnTo>
                    <a:lnTo>
                      <a:pt x="291" y="95"/>
                    </a:lnTo>
                    <a:lnTo>
                      <a:pt x="232" y="60"/>
                    </a:lnTo>
                    <a:lnTo>
                      <a:pt x="253" y="88"/>
                    </a:lnTo>
                    <a:lnTo>
                      <a:pt x="248" y="128"/>
                    </a:lnTo>
                    <a:lnTo>
                      <a:pt x="253" y="145"/>
                    </a:lnTo>
                    <a:lnTo>
                      <a:pt x="262" y="204"/>
                    </a:lnTo>
                    <a:lnTo>
                      <a:pt x="269" y="222"/>
                    </a:lnTo>
                    <a:lnTo>
                      <a:pt x="333" y="277"/>
                    </a:lnTo>
                    <a:lnTo>
                      <a:pt x="338" y="310"/>
                    </a:lnTo>
                    <a:lnTo>
                      <a:pt x="345" y="298"/>
                    </a:lnTo>
                    <a:lnTo>
                      <a:pt x="354" y="310"/>
                    </a:lnTo>
                    <a:lnTo>
                      <a:pt x="359" y="310"/>
                    </a:lnTo>
                    <a:lnTo>
                      <a:pt x="371" y="338"/>
                    </a:lnTo>
                    <a:lnTo>
                      <a:pt x="388" y="338"/>
                    </a:lnTo>
                    <a:lnTo>
                      <a:pt x="388" y="355"/>
                    </a:lnTo>
                    <a:lnTo>
                      <a:pt x="392" y="371"/>
                    </a:lnTo>
                    <a:lnTo>
                      <a:pt x="392" y="388"/>
                    </a:lnTo>
                    <a:lnTo>
                      <a:pt x="409" y="404"/>
                    </a:lnTo>
                    <a:lnTo>
                      <a:pt x="425" y="409"/>
                    </a:lnTo>
                    <a:lnTo>
                      <a:pt x="458" y="475"/>
                    </a:lnTo>
                    <a:lnTo>
                      <a:pt x="463" y="487"/>
                    </a:lnTo>
                    <a:lnTo>
                      <a:pt x="468" y="482"/>
                    </a:lnTo>
                    <a:lnTo>
                      <a:pt x="458" y="466"/>
                    </a:lnTo>
                    <a:lnTo>
                      <a:pt x="458" y="459"/>
                    </a:lnTo>
                    <a:lnTo>
                      <a:pt x="480" y="475"/>
                    </a:lnTo>
                    <a:lnTo>
                      <a:pt x="480" y="482"/>
                    </a:lnTo>
                    <a:lnTo>
                      <a:pt x="484" y="504"/>
                    </a:lnTo>
                    <a:lnTo>
                      <a:pt x="496" y="544"/>
                    </a:lnTo>
                    <a:lnTo>
                      <a:pt x="501" y="560"/>
                    </a:lnTo>
                    <a:lnTo>
                      <a:pt x="517" y="570"/>
                    </a:lnTo>
                    <a:lnTo>
                      <a:pt x="522" y="593"/>
                    </a:lnTo>
                    <a:lnTo>
                      <a:pt x="539" y="615"/>
                    </a:lnTo>
                    <a:lnTo>
                      <a:pt x="532" y="643"/>
                    </a:lnTo>
                    <a:lnTo>
                      <a:pt x="539" y="655"/>
                    </a:lnTo>
                    <a:lnTo>
                      <a:pt x="565" y="664"/>
                    </a:lnTo>
                    <a:lnTo>
                      <a:pt x="555" y="664"/>
                    </a:lnTo>
                    <a:lnTo>
                      <a:pt x="565" y="671"/>
                    </a:lnTo>
                    <a:lnTo>
                      <a:pt x="569" y="664"/>
                    </a:lnTo>
                    <a:lnTo>
                      <a:pt x="565" y="655"/>
                    </a:lnTo>
                    <a:lnTo>
                      <a:pt x="569" y="655"/>
                    </a:lnTo>
                    <a:lnTo>
                      <a:pt x="603" y="681"/>
                    </a:lnTo>
                    <a:lnTo>
                      <a:pt x="607" y="704"/>
                    </a:lnTo>
                    <a:lnTo>
                      <a:pt x="624" y="721"/>
                    </a:lnTo>
                    <a:lnTo>
                      <a:pt x="619" y="754"/>
                    </a:lnTo>
                    <a:lnTo>
                      <a:pt x="593" y="766"/>
                    </a:lnTo>
                    <a:lnTo>
                      <a:pt x="586" y="766"/>
                    </a:lnTo>
                    <a:lnTo>
                      <a:pt x="565" y="709"/>
                    </a:lnTo>
                    <a:lnTo>
                      <a:pt x="484" y="655"/>
                    </a:lnTo>
                    <a:lnTo>
                      <a:pt x="468" y="643"/>
                    </a:lnTo>
                    <a:lnTo>
                      <a:pt x="463" y="643"/>
                    </a:lnTo>
                    <a:lnTo>
                      <a:pt x="447" y="626"/>
                    </a:lnTo>
                    <a:lnTo>
                      <a:pt x="442" y="626"/>
                    </a:lnTo>
                    <a:lnTo>
                      <a:pt x="442" y="598"/>
                    </a:lnTo>
                    <a:lnTo>
                      <a:pt x="430" y="615"/>
                    </a:lnTo>
                    <a:lnTo>
                      <a:pt x="442" y="560"/>
                    </a:lnTo>
                    <a:lnTo>
                      <a:pt x="442" y="570"/>
                    </a:lnTo>
                    <a:lnTo>
                      <a:pt x="442" y="544"/>
                    </a:lnTo>
                    <a:lnTo>
                      <a:pt x="414" y="504"/>
                    </a:lnTo>
                    <a:lnTo>
                      <a:pt x="397" y="504"/>
                    </a:lnTo>
                    <a:lnTo>
                      <a:pt x="359" y="475"/>
                    </a:lnTo>
                    <a:lnTo>
                      <a:pt x="371" y="459"/>
                    </a:lnTo>
                    <a:lnTo>
                      <a:pt x="354" y="466"/>
                    </a:lnTo>
                    <a:lnTo>
                      <a:pt x="345" y="466"/>
                    </a:lnTo>
                    <a:lnTo>
                      <a:pt x="333" y="475"/>
                    </a:lnTo>
                    <a:lnTo>
                      <a:pt x="317" y="449"/>
                    </a:lnTo>
                    <a:lnTo>
                      <a:pt x="307" y="449"/>
                    </a:lnTo>
                    <a:lnTo>
                      <a:pt x="291" y="442"/>
                    </a:lnTo>
                    <a:lnTo>
                      <a:pt x="269" y="433"/>
                    </a:lnTo>
                    <a:lnTo>
                      <a:pt x="269" y="421"/>
                    </a:lnTo>
                    <a:lnTo>
                      <a:pt x="236" y="393"/>
                    </a:lnTo>
                    <a:lnTo>
                      <a:pt x="232" y="388"/>
                    </a:lnTo>
                    <a:lnTo>
                      <a:pt x="307" y="393"/>
                    </a:lnTo>
                    <a:lnTo>
                      <a:pt x="300" y="393"/>
                    </a:lnTo>
                    <a:lnTo>
                      <a:pt x="291" y="393"/>
                    </a:lnTo>
                    <a:lnTo>
                      <a:pt x="286" y="388"/>
                    </a:lnTo>
                    <a:lnTo>
                      <a:pt x="291" y="371"/>
                    </a:lnTo>
                    <a:lnTo>
                      <a:pt x="300" y="331"/>
                    </a:lnTo>
                    <a:lnTo>
                      <a:pt x="236" y="265"/>
                    </a:lnTo>
                    <a:lnTo>
                      <a:pt x="225" y="260"/>
                    </a:lnTo>
                    <a:lnTo>
                      <a:pt x="182" y="239"/>
                    </a:lnTo>
                    <a:lnTo>
                      <a:pt x="177" y="187"/>
                    </a:lnTo>
                    <a:lnTo>
                      <a:pt x="173" y="182"/>
                    </a:lnTo>
                    <a:lnTo>
                      <a:pt x="173" y="187"/>
                    </a:lnTo>
                    <a:lnTo>
                      <a:pt x="161" y="182"/>
                    </a:lnTo>
                    <a:lnTo>
                      <a:pt x="161" y="154"/>
                    </a:lnTo>
                    <a:lnTo>
                      <a:pt x="144" y="145"/>
                    </a:lnTo>
                    <a:lnTo>
                      <a:pt x="140" y="116"/>
                    </a:lnTo>
                    <a:lnTo>
                      <a:pt x="118" y="95"/>
                    </a:lnTo>
                    <a:lnTo>
                      <a:pt x="123" y="71"/>
                    </a:lnTo>
                    <a:lnTo>
                      <a:pt x="106" y="60"/>
                    </a:lnTo>
                    <a:lnTo>
                      <a:pt x="85" y="17"/>
                    </a:lnTo>
                    <a:lnTo>
                      <a:pt x="253" y="0"/>
                    </a:lnTo>
                    <a:lnTo>
                      <a:pt x="248" y="17"/>
                    </a:lnTo>
                    <a:lnTo>
                      <a:pt x="510" y="111"/>
                    </a:lnTo>
                    <a:lnTo>
                      <a:pt x="711" y="111"/>
                    </a:lnTo>
                    <a:lnTo>
                      <a:pt x="711" y="76"/>
                    </a:lnTo>
                    <a:lnTo>
                      <a:pt x="841" y="76"/>
                    </a:lnTo>
                    <a:lnTo>
                      <a:pt x="846" y="100"/>
                    </a:lnTo>
                    <a:lnTo>
                      <a:pt x="943" y="171"/>
                    </a:lnTo>
                    <a:lnTo>
                      <a:pt x="952" y="204"/>
                    </a:lnTo>
                    <a:lnTo>
                      <a:pt x="952" y="222"/>
                    </a:lnTo>
                    <a:lnTo>
                      <a:pt x="969" y="244"/>
                    </a:lnTo>
                    <a:lnTo>
                      <a:pt x="1002" y="265"/>
                    </a:lnTo>
                    <a:lnTo>
                      <a:pt x="1051" y="293"/>
                    </a:lnTo>
                    <a:lnTo>
                      <a:pt x="1061" y="298"/>
                    </a:lnTo>
                    <a:lnTo>
                      <a:pt x="1089" y="277"/>
                    </a:lnTo>
                    <a:lnTo>
                      <a:pt x="1103" y="239"/>
                    </a:lnTo>
                    <a:lnTo>
                      <a:pt x="1125" y="227"/>
                    </a:lnTo>
                    <a:lnTo>
                      <a:pt x="1141" y="239"/>
                    </a:lnTo>
                    <a:lnTo>
                      <a:pt x="1186" y="239"/>
                    </a:lnTo>
                    <a:lnTo>
                      <a:pt x="1195" y="244"/>
                    </a:lnTo>
                    <a:lnTo>
                      <a:pt x="1238" y="282"/>
                    </a:lnTo>
                    <a:lnTo>
                      <a:pt x="1266" y="355"/>
                    </a:lnTo>
                    <a:lnTo>
                      <a:pt x="1276" y="367"/>
                    </a:lnTo>
                    <a:lnTo>
                      <a:pt x="1292" y="393"/>
                    </a:lnTo>
                    <a:lnTo>
                      <a:pt x="1321" y="409"/>
                    </a:lnTo>
                    <a:lnTo>
                      <a:pt x="1325" y="449"/>
                    </a:lnTo>
                    <a:lnTo>
                      <a:pt x="1342" y="466"/>
                    </a:lnTo>
                    <a:lnTo>
                      <a:pt x="1347" y="499"/>
                    </a:lnTo>
                    <a:lnTo>
                      <a:pt x="1396" y="515"/>
                    </a:lnTo>
                    <a:lnTo>
                      <a:pt x="1410" y="520"/>
                    </a:lnTo>
                    <a:lnTo>
                      <a:pt x="1448" y="532"/>
                    </a:lnTo>
                    <a:lnTo>
                      <a:pt x="1465" y="537"/>
                    </a:lnTo>
                    <a:lnTo>
                      <a:pt x="1486" y="532"/>
                    </a:lnTo>
                    <a:lnTo>
                      <a:pt x="1448" y="643"/>
                    </a:lnTo>
                    <a:lnTo>
                      <a:pt x="1439" y="766"/>
                    </a:lnTo>
                    <a:lnTo>
                      <a:pt x="1434" y="792"/>
                    </a:lnTo>
                    <a:lnTo>
                      <a:pt x="1448" y="837"/>
                    </a:lnTo>
                    <a:lnTo>
                      <a:pt x="1472" y="870"/>
                    </a:lnTo>
                    <a:lnTo>
                      <a:pt x="1465" y="886"/>
                    </a:lnTo>
                    <a:lnTo>
                      <a:pt x="1465" y="882"/>
                    </a:lnTo>
                    <a:lnTo>
                      <a:pt x="1472" y="870"/>
                    </a:lnTo>
                    <a:lnTo>
                      <a:pt x="1439" y="832"/>
                    </a:lnTo>
                    <a:lnTo>
                      <a:pt x="1448" y="865"/>
                    </a:lnTo>
                    <a:lnTo>
                      <a:pt x="1486" y="936"/>
                    </a:lnTo>
                    <a:lnTo>
                      <a:pt x="1536" y="997"/>
                    </a:lnTo>
                    <a:lnTo>
                      <a:pt x="1545" y="1037"/>
                    </a:lnTo>
                    <a:lnTo>
                      <a:pt x="1573" y="1059"/>
                    </a:lnTo>
                    <a:lnTo>
                      <a:pt x="1573" y="1071"/>
                    </a:lnTo>
                    <a:lnTo>
                      <a:pt x="1578" y="1075"/>
                    </a:lnTo>
                    <a:lnTo>
                      <a:pt x="1628" y="1087"/>
                    </a:lnTo>
                    <a:lnTo>
                      <a:pt x="1632" y="1092"/>
                    </a:lnTo>
                    <a:lnTo>
                      <a:pt x="1649" y="1092"/>
                    </a:lnTo>
                    <a:lnTo>
                      <a:pt x="1670" y="1125"/>
                    </a:lnTo>
                    <a:lnTo>
                      <a:pt x="1720" y="1113"/>
                    </a:lnTo>
                    <a:lnTo>
                      <a:pt x="1734" y="1104"/>
                    </a:lnTo>
                    <a:lnTo>
                      <a:pt x="1720" y="1108"/>
                    </a:lnTo>
                    <a:lnTo>
                      <a:pt x="1734" y="1104"/>
                    </a:lnTo>
                    <a:lnTo>
                      <a:pt x="1762" y="1104"/>
                    </a:lnTo>
                    <a:lnTo>
                      <a:pt x="1762" y="1108"/>
                    </a:lnTo>
                    <a:lnTo>
                      <a:pt x="1805" y="1087"/>
                    </a:lnTo>
                    <a:lnTo>
                      <a:pt x="1847" y="1075"/>
                    </a:lnTo>
                    <a:lnTo>
                      <a:pt x="1859" y="1087"/>
                    </a:lnTo>
                    <a:lnTo>
                      <a:pt x="1843" y="1092"/>
                    </a:lnTo>
                    <a:lnTo>
                      <a:pt x="1859" y="1092"/>
                    </a:lnTo>
                    <a:lnTo>
                      <a:pt x="1859" y="1108"/>
                    </a:lnTo>
                    <a:lnTo>
                      <a:pt x="1864" y="1104"/>
                    </a:lnTo>
                    <a:lnTo>
                      <a:pt x="1880" y="1104"/>
                    </a:lnTo>
                    <a:lnTo>
                      <a:pt x="1885" y="1092"/>
                    </a:lnTo>
                    <a:lnTo>
                      <a:pt x="1902" y="1087"/>
                    </a:lnTo>
                    <a:lnTo>
                      <a:pt x="1885" y="1075"/>
                    </a:lnTo>
                    <a:lnTo>
                      <a:pt x="1897" y="1071"/>
                    </a:lnTo>
                    <a:lnTo>
                      <a:pt x="1885" y="1071"/>
                    </a:lnTo>
                    <a:lnTo>
                      <a:pt x="1935" y="1037"/>
                    </a:lnTo>
                    <a:lnTo>
                      <a:pt x="1940" y="1002"/>
                    </a:lnTo>
                    <a:lnTo>
                      <a:pt x="1956" y="993"/>
                    </a:lnTo>
                    <a:lnTo>
                      <a:pt x="1951" y="943"/>
                    </a:lnTo>
                    <a:lnTo>
                      <a:pt x="1965" y="910"/>
                    </a:lnTo>
                    <a:lnTo>
                      <a:pt x="1994" y="886"/>
                    </a:lnTo>
                    <a:lnTo>
                      <a:pt x="2065" y="882"/>
                    </a:lnTo>
                    <a:lnTo>
                      <a:pt x="2095" y="870"/>
                    </a:lnTo>
                    <a:lnTo>
                      <a:pt x="2128" y="865"/>
                    </a:lnTo>
                    <a:lnTo>
                      <a:pt x="2183" y="882"/>
                    </a:lnTo>
                    <a:lnTo>
                      <a:pt x="2188" y="870"/>
                    </a:lnTo>
                    <a:lnTo>
                      <a:pt x="2166" y="870"/>
                    </a:lnTo>
                    <a:lnTo>
                      <a:pt x="2192" y="865"/>
                    </a:lnTo>
                    <a:lnTo>
                      <a:pt x="2209" y="882"/>
                    </a:lnTo>
                    <a:lnTo>
                      <a:pt x="2209" y="893"/>
                    </a:lnTo>
                    <a:lnTo>
                      <a:pt x="2204" y="926"/>
                    </a:lnTo>
                    <a:lnTo>
                      <a:pt x="2166" y="964"/>
                    </a:lnTo>
                    <a:lnTo>
                      <a:pt x="2166" y="997"/>
                    </a:lnTo>
                    <a:lnTo>
                      <a:pt x="2166" y="993"/>
                    </a:lnTo>
                    <a:lnTo>
                      <a:pt x="2154" y="997"/>
                    </a:lnTo>
                    <a:lnTo>
                      <a:pt x="2138" y="1002"/>
                    </a:lnTo>
                    <a:lnTo>
                      <a:pt x="2150" y="1021"/>
                    </a:lnTo>
                    <a:lnTo>
                      <a:pt x="2166" y="1014"/>
                    </a:lnTo>
                    <a:lnTo>
                      <a:pt x="2166" y="1030"/>
                    </a:lnTo>
                    <a:lnTo>
                      <a:pt x="2150" y="1037"/>
                    </a:lnTo>
                    <a:lnTo>
                      <a:pt x="2150" y="1047"/>
                    </a:lnTo>
                    <a:lnTo>
                      <a:pt x="2166" y="1037"/>
                    </a:lnTo>
                    <a:lnTo>
                      <a:pt x="2133" y="1113"/>
                    </a:lnTo>
                    <a:lnTo>
                      <a:pt x="2133" y="1104"/>
                    </a:lnTo>
                    <a:lnTo>
                      <a:pt x="2117" y="1092"/>
                    </a:lnTo>
                    <a:lnTo>
                      <a:pt x="2128" y="1087"/>
                    </a:lnTo>
                    <a:lnTo>
                      <a:pt x="2128" y="1071"/>
                    </a:lnTo>
                    <a:lnTo>
                      <a:pt x="2103" y="1104"/>
                    </a:lnTo>
                    <a:lnTo>
                      <a:pt x="2103" y="1104"/>
                    </a:lnTo>
                    <a:lnTo>
                      <a:pt x="2103" y="1104"/>
                    </a:lnTo>
                    <a:close/>
                    <a:moveTo>
                      <a:pt x="359" y="293"/>
                    </a:moveTo>
                    <a:lnTo>
                      <a:pt x="333" y="260"/>
                    </a:lnTo>
                    <a:lnTo>
                      <a:pt x="333" y="256"/>
                    </a:lnTo>
                    <a:lnTo>
                      <a:pt x="345" y="260"/>
                    </a:lnTo>
                    <a:lnTo>
                      <a:pt x="345" y="265"/>
                    </a:lnTo>
                    <a:lnTo>
                      <a:pt x="359" y="277"/>
                    </a:lnTo>
                    <a:lnTo>
                      <a:pt x="359" y="293"/>
                    </a:lnTo>
                    <a:lnTo>
                      <a:pt x="359" y="293"/>
                    </a:lnTo>
                    <a:lnTo>
                      <a:pt x="359" y="293"/>
                    </a:lnTo>
                    <a:close/>
                    <a:moveTo>
                      <a:pt x="425" y="315"/>
                    </a:moveTo>
                    <a:lnTo>
                      <a:pt x="409" y="310"/>
                    </a:lnTo>
                    <a:lnTo>
                      <a:pt x="414" y="282"/>
                    </a:lnTo>
                    <a:lnTo>
                      <a:pt x="425" y="277"/>
                    </a:lnTo>
                    <a:lnTo>
                      <a:pt x="430" y="298"/>
                    </a:lnTo>
                    <a:lnTo>
                      <a:pt x="425" y="315"/>
                    </a:lnTo>
                    <a:lnTo>
                      <a:pt x="425" y="315"/>
                    </a:lnTo>
                    <a:lnTo>
                      <a:pt x="425" y="315"/>
                    </a:lnTo>
                    <a:close/>
                    <a:moveTo>
                      <a:pt x="0" y="298"/>
                    </a:moveTo>
                    <a:lnTo>
                      <a:pt x="0" y="282"/>
                    </a:lnTo>
                    <a:lnTo>
                      <a:pt x="0" y="282"/>
                    </a:lnTo>
                    <a:lnTo>
                      <a:pt x="10" y="293"/>
                    </a:lnTo>
                    <a:lnTo>
                      <a:pt x="0" y="298"/>
                    </a:lnTo>
                    <a:lnTo>
                      <a:pt x="0" y="298"/>
                    </a:lnTo>
                    <a:lnTo>
                      <a:pt x="0" y="298"/>
                    </a:lnTo>
                    <a:close/>
                    <a:moveTo>
                      <a:pt x="225" y="371"/>
                    </a:moveTo>
                    <a:lnTo>
                      <a:pt x="215" y="367"/>
                    </a:lnTo>
                    <a:lnTo>
                      <a:pt x="215" y="350"/>
                    </a:lnTo>
                    <a:lnTo>
                      <a:pt x="225" y="367"/>
                    </a:lnTo>
                    <a:lnTo>
                      <a:pt x="225" y="371"/>
                    </a:lnTo>
                    <a:lnTo>
                      <a:pt x="225" y="371"/>
                    </a:lnTo>
                    <a:lnTo>
                      <a:pt x="225" y="371"/>
                    </a:lnTo>
                    <a:close/>
                    <a:moveTo>
                      <a:pt x="501" y="544"/>
                    </a:moveTo>
                    <a:lnTo>
                      <a:pt x="501" y="532"/>
                    </a:lnTo>
                    <a:lnTo>
                      <a:pt x="510" y="520"/>
                    </a:lnTo>
                    <a:lnTo>
                      <a:pt x="501" y="544"/>
                    </a:lnTo>
                    <a:lnTo>
                      <a:pt x="501" y="544"/>
                    </a:lnTo>
                    <a:lnTo>
                      <a:pt x="501" y="544"/>
                    </a:lnTo>
                    <a:close/>
                    <a:moveTo>
                      <a:pt x="442" y="586"/>
                    </a:moveTo>
                    <a:lnTo>
                      <a:pt x="430" y="615"/>
                    </a:lnTo>
                    <a:lnTo>
                      <a:pt x="442" y="643"/>
                    </a:lnTo>
                    <a:lnTo>
                      <a:pt x="430" y="615"/>
                    </a:lnTo>
                    <a:lnTo>
                      <a:pt x="442" y="586"/>
                    </a:lnTo>
                    <a:lnTo>
                      <a:pt x="442" y="586"/>
                    </a:lnTo>
                    <a:lnTo>
                      <a:pt x="442" y="586"/>
                    </a:lnTo>
                    <a:close/>
                    <a:moveTo>
                      <a:pt x="539" y="598"/>
                    </a:moveTo>
                    <a:lnTo>
                      <a:pt x="548" y="598"/>
                    </a:lnTo>
                    <a:lnTo>
                      <a:pt x="548" y="615"/>
                    </a:lnTo>
                    <a:lnTo>
                      <a:pt x="539" y="610"/>
                    </a:lnTo>
                    <a:lnTo>
                      <a:pt x="539" y="598"/>
                    </a:lnTo>
                    <a:lnTo>
                      <a:pt x="539" y="598"/>
                    </a:lnTo>
                    <a:lnTo>
                      <a:pt x="539" y="598"/>
                    </a:lnTo>
                    <a:close/>
                    <a:moveTo>
                      <a:pt x="463" y="655"/>
                    </a:moveTo>
                    <a:lnTo>
                      <a:pt x="447" y="643"/>
                    </a:lnTo>
                    <a:lnTo>
                      <a:pt x="458" y="643"/>
                    </a:lnTo>
                    <a:lnTo>
                      <a:pt x="463" y="655"/>
                    </a:lnTo>
                    <a:lnTo>
                      <a:pt x="463" y="655"/>
                    </a:lnTo>
                    <a:lnTo>
                      <a:pt x="463" y="655"/>
                    </a:lnTo>
                    <a:close/>
                    <a:moveTo>
                      <a:pt x="825" y="870"/>
                    </a:moveTo>
                    <a:lnTo>
                      <a:pt x="817" y="853"/>
                    </a:lnTo>
                    <a:lnTo>
                      <a:pt x="834" y="853"/>
                    </a:lnTo>
                    <a:lnTo>
                      <a:pt x="834" y="870"/>
                    </a:lnTo>
                    <a:lnTo>
                      <a:pt x="825" y="870"/>
                    </a:lnTo>
                    <a:lnTo>
                      <a:pt x="825" y="870"/>
                    </a:lnTo>
                    <a:lnTo>
                      <a:pt x="825" y="870"/>
                    </a:lnTo>
                    <a:close/>
                    <a:moveTo>
                      <a:pt x="841" y="882"/>
                    </a:moveTo>
                    <a:lnTo>
                      <a:pt x="834" y="882"/>
                    </a:lnTo>
                    <a:lnTo>
                      <a:pt x="841" y="870"/>
                    </a:lnTo>
                    <a:lnTo>
                      <a:pt x="841" y="882"/>
                    </a:lnTo>
                    <a:lnTo>
                      <a:pt x="841" y="882"/>
                    </a:lnTo>
                    <a:lnTo>
                      <a:pt x="841" y="882"/>
                    </a:lnTo>
                    <a:close/>
                    <a:moveTo>
                      <a:pt x="855" y="886"/>
                    </a:moveTo>
                    <a:lnTo>
                      <a:pt x="846" y="886"/>
                    </a:lnTo>
                    <a:lnTo>
                      <a:pt x="855" y="886"/>
                    </a:lnTo>
                    <a:lnTo>
                      <a:pt x="855" y="886"/>
                    </a:lnTo>
                    <a:lnTo>
                      <a:pt x="855" y="886"/>
                    </a:lnTo>
                    <a:lnTo>
                      <a:pt x="855" y="886"/>
                    </a:lnTo>
                    <a:close/>
                    <a:moveTo>
                      <a:pt x="2192" y="964"/>
                    </a:moveTo>
                    <a:lnTo>
                      <a:pt x="2204" y="943"/>
                    </a:lnTo>
                    <a:lnTo>
                      <a:pt x="2209" y="943"/>
                    </a:lnTo>
                    <a:lnTo>
                      <a:pt x="2192" y="964"/>
                    </a:lnTo>
                    <a:lnTo>
                      <a:pt x="2192" y="964"/>
                    </a:lnTo>
                    <a:lnTo>
                      <a:pt x="2192" y="964"/>
                    </a:lnTo>
                    <a:close/>
                    <a:moveTo>
                      <a:pt x="517" y="1075"/>
                    </a:moveTo>
                    <a:lnTo>
                      <a:pt x="510" y="1075"/>
                    </a:lnTo>
                    <a:lnTo>
                      <a:pt x="517" y="1071"/>
                    </a:lnTo>
                    <a:lnTo>
                      <a:pt x="522" y="1075"/>
                    </a:lnTo>
                    <a:lnTo>
                      <a:pt x="517" y="1075"/>
                    </a:lnTo>
                    <a:lnTo>
                      <a:pt x="517" y="1075"/>
                    </a:lnTo>
                    <a:lnTo>
                      <a:pt x="517" y="107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06" name="Freeform 525">
                <a:extLst>
                  <a:ext uri="{FF2B5EF4-FFF2-40B4-BE49-F238E27FC236}">
                    <a16:creationId xmlns:a16="http://schemas.microsoft.com/office/drawing/2014/main" id="{69CADF6A-6BA1-4662-9C28-259AAB1577C6}"/>
                  </a:ext>
                </a:extLst>
              </p:cNvPr>
              <p:cNvSpPr>
                <a:spLocks/>
              </p:cNvSpPr>
              <p:nvPr/>
            </p:nvSpPr>
            <p:spPr bwMode="gray">
              <a:xfrm>
                <a:off x="5048680" y="3887613"/>
                <a:ext cx="116914" cy="123515"/>
              </a:xfrm>
              <a:custGeom>
                <a:avLst/>
                <a:gdLst>
                  <a:gd name="T0" fmla="*/ 279 w 284"/>
                  <a:gd name="T1" fmla="*/ 198 h 300"/>
                  <a:gd name="T2" fmla="*/ 267 w 284"/>
                  <a:gd name="T3" fmla="*/ 206 h 300"/>
                  <a:gd name="T4" fmla="*/ 267 w 284"/>
                  <a:gd name="T5" fmla="*/ 227 h 300"/>
                  <a:gd name="T6" fmla="*/ 262 w 284"/>
                  <a:gd name="T7" fmla="*/ 255 h 300"/>
                  <a:gd name="T8" fmla="*/ 246 w 284"/>
                  <a:gd name="T9" fmla="*/ 260 h 300"/>
                  <a:gd name="T10" fmla="*/ 241 w 284"/>
                  <a:gd name="T11" fmla="*/ 260 h 300"/>
                  <a:gd name="T12" fmla="*/ 241 w 284"/>
                  <a:gd name="T13" fmla="*/ 255 h 300"/>
                  <a:gd name="T14" fmla="*/ 225 w 284"/>
                  <a:gd name="T15" fmla="*/ 255 h 300"/>
                  <a:gd name="T16" fmla="*/ 213 w 284"/>
                  <a:gd name="T17" fmla="*/ 243 h 300"/>
                  <a:gd name="T18" fmla="*/ 170 w 284"/>
                  <a:gd name="T19" fmla="*/ 260 h 300"/>
                  <a:gd name="T20" fmla="*/ 144 w 284"/>
                  <a:gd name="T21" fmla="*/ 255 h 300"/>
                  <a:gd name="T22" fmla="*/ 139 w 284"/>
                  <a:gd name="T23" fmla="*/ 267 h 300"/>
                  <a:gd name="T24" fmla="*/ 156 w 284"/>
                  <a:gd name="T25" fmla="*/ 283 h 300"/>
                  <a:gd name="T26" fmla="*/ 156 w 284"/>
                  <a:gd name="T27" fmla="*/ 293 h 300"/>
                  <a:gd name="T28" fmla="*/ 144 w 284"/>
                  <a:gd name="T29" fmla="*/ 300 h 300"/>
                  <a:gd name="T30" fmla="*/ 118 w 284"/>
                  <a:gd name="T31" fmla="*/ 293 h 300"/>
                  <a:gd name="T32" fmla="*/ 102 w 284"/>
                  <a:gd name="T33" fmla="*/ 283 h 300"/>
                  <a:gd name="T34" fmla="*/ 64 w 284"/>
                  <a:gd name="T35" fmla="*/ 227 h 300"/>
                  <a:gd name="T36" fmla="*/ 54 w 284"/>
                  <a:gd name="T37" fmla="*/ 189 h 300"/>
                  <a:gd name="T38" fmla="*/ 33 w 284"/>
                  <a:gd name="T39" fmla="*/ 189 h 300"/>
                  <a:gd name="T40" fmla="*/ 33 w 284"/>
                  <a:gd name="T41" fmla="*/ 182 h 300"/>
                  <a:gd name="T42" fmla="*/ 0 w 284"/>
                  <a:gd name="T43" fmla="*/ 144 h 300"/>
                  <a:gd name="T44" fmla="*/ 0 w 284"/>
                  <a:gd name="T45" fmla="*/ 132 h 300"/>
                  <a:gd name="T46" fmla="*/ 17 w 284"/>
                  <a:gd name="T47" fmla="*/ 94 h 300"/>
                  <a:gd name="T48" fmla="*/ 12 w 284"/>
                  <a:gd name="T49" fmla="*/ 87 h 300"/>
                  <a:gd name="T50" fmla="*/ 33 w 284"/>
                  <a:gd name="T51" fmla="*/ 71 h 300"/>
                  <a:gd name="T52" fmla="*/ 54 w 284"/>
                  <a:gd name="T53" fmla="*/ 71 h 300"/>
                  <a:gd name="T54" fmla="*/ 54 w 284"/>
                  <a:gd name="T55" fmla="*/ 61 h 300"/>
                  <a:gd name="T56" fmla="*/ 64 w 284"/>
                  <a:gd name="T57" fmla="*/ 61 h 300"/>
                  <a:gd name="T58" fmla="*/ 54 w 284"/>
                  <a:gd name="T59" fmla="*/ 43 h 300"/>
                  <a:gd name="T60" fmla="*/ 64 w 284"/>
                  <a:gd name="T61" fmla="*/ 38 h 300"/>
                  <a:gd name="T62" fmla="*/ 64 w 284"/>
                  <a:gd name="T63" fmla="*/ 33 h 300"/>
                  <a:gd name="T64" fmla="*/ 69 w 284"/>
                  <a:gd name="T65" fmla="*/ 5 h 300"/>
                  <a:gd name="T66" fmla="*/ 80 w 284"/>
                  <a:gd name="T67" fmla="*/ 0 h 300"/>
                  <a:gd name="T68" fmla="*/ 144 w 284"/>
                  <a:gd name="T69" fmla="*/ 17 h 300"/>
                  <a:gd name="T70" fmla="*/ 156 w 284"/>
                  <a:gd name="T71" fmla="*/ 17 h 300"/>
                  <a:gd name="T72" fmla="*/ 156 w 284"/>
                  <a:gd name="T73" fmla="*/ 21 h 300"/>
                  <a:gd name="T74" fmla="*/ 156 w 284"/>
                  <a:gd name="T75" fmla="*/ 5 h 300"/>
                  <a:gd name="T76" fmla="*/ 156 w 284"/>
                  <a:gd name="T77" fmla="*/ 0 h 300"/>
                  <a:gd name="T78" fmla="*/ 191 w 284"/>
                  <a:gd name="T79" fmla="*/ 0 h 300"/>
                  <a:gd name="T80" fmla="*/ 208 w 284"/>
                  <a:gd name="T81" fmla="*/ 5 h 300"/>
                  <a:gd name="T82" fmla="*/ 208 w 284"/>
                  <a:gd name="T83" fmla="*/ 17 h 300"/>
                  <a:gd name="T84" fmla="*/ 225 w 284"/>
                  <a:gd name="T85" fmla="*/ 5 h 300"/>
                  <a:gd name="T86" fmla="*/ 208 w 284"/>
                  <a:gd name="T87" fmla="*/ 0 h 300"/>
                  <a:gd name="T88" fmla="*/ 213 w 284"/>
                  <a:gd name="T89" fmla="*/ 0 h 300"/>
                  <a:gd name="T90" fmla="*/ 284 w 284"/>
                  <a:gd name="T91" fmla="*/ 17 h 300"/>
                  <a:gd name="T92" fmla="*/ 284 w 284"/>
                  <a:gd name="T93" fmla="*/ 33 h 300"/>
                  <a:gd name="T94" fmla="*/ 279 w 284"/>
                  <a:gd name="T95" fmla="*/ 43 h 300"/>
                  <a:gd name="T96" fmla="*/ 250 w 284"/>
                  <a:gd name="T97" fmla="*/ 71 h 300"/>
                  <a:gd name="T98" fmla="*/ 250 w 284"/>
                  <a:gd name="T99" fmla="*/ 87 h 300"/>
                  <a:gd name="T100" fmla="*/ 262 w 284"/>
                  <a:gd name="T101" fmla="*/ 144 h 300"/>
                  <a:gd name="T102" fmla="*/ 284 w 284"/>
                  <a:gd name="T103" fmla="*/ 172 h 300"/>
                  <a:gd name="T104" fmla="*/ 279 w 284"/>
                  <a:gd name="T105" fmla="*/ 198 h 300"/>
                  <a:gd name="T106" fmla="*/ 279 w 284"/>
                  <a:gd name="T107" fmla="*/ 198 h 300"/>
                  <a:gd name="T108" fmla="*/ 279 w 284"/>
                  <a:gd name="T109" fmla="*/ 19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4" h="300">
                    <a:moveTo>
                      <a:pt x="279" y="198"/>
                    </a:moveTo>
                    <a:lnTo>
                      <a:pt x="267" y="206"/>
                    </a:lnTo>
                    <a:lnTo>
                      <a:pt x="267" y="227"/>
                    </a:lnTo>
                    <a:lnTo>
                      <a:pt x="262" y="255"/>
                    </a:lnTo>
                    <a:lnTo>
                      <a:pt x="246" y="260"/>
                    </a:lnTo>
                    <a:lnTo>
                      <a:pt x="241" y="260"/>
                    </a:lnTo>
                    <a:lnTo>
                      <a:pt x="241" y="255"/>
                    </a:lnTo>
                    <a:lnTo>
                      <a:pt x="225" y="255"/>
                    </a:lnTo>
                    <a:lnTo>
                      <a:pt x="213" y="243"/>
                    </a:lnTo>
                    <a:lnTo>
                      <a:pt x="170" y="260"/>
                    </a:lnTo>
                    <a:lnTo>
                      <a:pt x="144" y="255"/>
                    </a:lnTo>
                    <a:lnTo>
                      <a:pt x="139" y="267"/>
                    </a:lnTo>
                    <a:lnTo>
                      <a:pt x="156" y="283"/>
                    </a:lnTo>
                    <a:lnTo>
                      <a:pt x="156" y="293"/>
                    </a:lnTo>
                    <a:lnTo>
                      <a:pt x="144" y="300"/>
                    </a:lnTo>
                    <a:lnTo>
                      <a:pt x="118" y="293"/>
                    </a:lnTo>
                    <a:lnTo>
                      <a:pt x="102" y="283"/>
                    </a:lnTo>
                    <a:lnTo>
                      <a:pt x="64" y="227"/>
                    </a:lnTo>
                    <a:lnTo>
                      <a:pt x="54" y="189"/>
                    </a:lnTo>
                    <a:lnTo>
                      <a:pt x="33" y="189"/>
                    </a:lnTo>
                    <a:lnTo>
                      <a:pt x="33" y="182"/>
                    </a:lnTo>
                    <a:lnTo>
                      <a:pt x="0" y="144"/>
                    </a:lnTo>
                    <a:lnTo>
                      <a:pt x="0" y="132"/>
                    </a:lnTo>
                    <a:lnTo>
                      <a:pt x="17" y="94"/>
                    </a:lnTo>
                    <a:lnTo>
                      <a:pt x="12" y="87"/>
                    </a:lnTo>
                    <a:lnTo>
                      <a:pt x="33" y="71"/>
                    </a:lnTo>
                    <a:lnTo>
                      <a:pt x="54" y="71"/>
                    </a:lnTo>
                    <a:lnTo>
                      <a:pt x="54" y="61"/>
                    </a:lnTo>
                    <a:lnTo>
                      <a:pt x="64" y="61"/>
                    </a:lnTo>
                    <a:lnTo>
                      <a:pt x="54" y="43"/>
                    </a:lnTo>
                    <a:lnTo>
                      <a:pt x="64" y="38"/>
                    </a:lnTo>
                    <a:lnTo>
                      <a:pt x="64" y="33"/>
                    </a:lnTo>
                    <a:lnTo>
                      <a:pt x="69" y="5"/>
                    </a:lnTo>
                    <a:lnTo>
                      <a:pt x="80" y="0"/>
                    </a:lnTo>
                    <a:lnTo>
                      <a:pt x="144" y="17"/>
                    </a:lnTo>
                    <a:lnTo>
                      <a:pt x="156" y="17"/>
                    </a:lnTo>
                    <a:lnTo>
                      <a:pt x="156" y="21"/>
                    </a:lnTo>
                    <a:lnTo>
                      <a:pt x="156" y="5"/>
                    </a:lnTo>
                    <a:lnTo>
                      <a:pt x="156" y="0"/>
                    </a:lnTo>
                    <a:lnTo>
                      <a:pt x="191" y="0"/>
                    </a:lnTo>
                    <a:lnTo>
                      <a:pt x="208" y="5"/>
                    </a:lnTo>
                    <a:lnTo>
                      <a:pt x="208" y="17"/>
                    </a:lnTo>
                    <a:lnTo>
                      <a:pt x="225" y="5"/>
                    </a:lnTo>
                    <a:lnTo>
                      <a:pt x="208" y="0"/>
                    </a:lnTo>
                    <a:lnTo>
                      <a:pt x="213" y="0"/>
                    </a:lnTo>
                    <a:lnTo>
                      <a:pt x="284" y="17"/>
                    </a:lnTo>
                    <a:lnTo>
                      <a:pt x="284" y="33"/>
                    </a:lnTo>
                    <a:lnTo>
                      <a:pt x="279" y="43"/>
                    </a:lnTo>
                    <a:lnTo>
                      <a:pt x="250" y="71"/>
                    </a:lnTo>
                    <a:lnTo>
                      <a:pt x="250" y="87"/>
                    </a:lnTo>
                    <a:lnTo>
                      <a:pt x="262" y="144"/>
                    </a:lnTo>
                    <a:lnTo>
                      <a:pt x="284" y="172"/>
                    </a:lnTo>
                    <a:lnTo>
                      <a:pt x="279" y="198"/>
                    </a:lnTo>
                    <a:lnTo>
                      <a:pt x="279" y="198"/>
                    </a:lnTo>
                    <a:lnTo>
                      <a:pt x="279" y="19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07" name="Freeform 526">
                <a:extLst>
                  <a:ext uri="{FF2B5EF4-FFF2-40B4-BE49-F238E27FC236}">
                    <a16:creationId xmlns:a16="http://schemas.microsoft.com/office/drawing/2014/main" id="{A4A397CD-15BD-4FA0-B291-1F443CF7C1DF}"/>
                  </a:ext>
                </a:extLst>
              </p:cNvPr>
              <p:cNvSpPr>
                <a:spLocks noEditPoints="1"/>
              </p:cNvSpPr>
              <p:nvPr/>
            </p:nvSpPr>
            <p:spPr bwMode="gray">
              <a:xfrm>
                <a:off x="4728812" y="3697812"/>
                <a:ext cx="27993" cy="9058"/>
              </a:xfrm>
              <a:custGeom>
                <a:avLst/>
                <a:gdLst>
                  <a:gd name="T0" fmla="*/ 33 w 68"/>
                  <a:gd name="T1" fmla="*/ 22 h 22"/>
                  <a:gd name="T2" fmla="*/ 5 w 68"/>
                  <a:gd name="T3" fmla="*/ 7 h 22"/>
                  <a:gd name="T4" fmla="*/ 0 w 68"/>
                  <a:gd name="T5" fmla="*/ 0 h 22"/>
                  <a:gd name="T6" fmla="*/ 33 w 68"/>
                  <a:gd name="T7" fmla="*/ 22 h 22"/>
                  <a:gd name="T8" fmla="*/ 33 w 68"/>
                  <a:gd name="T9" fmla="*/ 22 h 22"/>
                  <a:gd name="T10" fmla="*/ 33 w 68"/>
                  <a:gd name="T11" fmla="*/ 22 h 22"/>
                  <a:gd name="T12" fmla="*/ 68 w 68"/>
                  <a:gd name="T13" fmla="*/ 22 h 22"/>
                  <a:gd name="T14" fmla="*/ 54 w 68"/>
                  <a:gd name="T15" fmla="*/ 0 h 22"/>
                  <a:gd name="T16" fmla="*/ 68 w 68"/>
                  <a:gd name="T17" fmla="*/ 7 h 22"/>
                  <a:gd name="T18" fmla="*/ 68 w 68"/>
                  <a:gd name="T19" fmla="*/ 22 h 22"/>
                  <a:gd name="T20" fmla="*/ 68 w 68"/>
                  <a:gd name="T21" fmla="*/ 22 h 22"/>
                  <a:gd name="T22" fmla="*/ 68 w 68"/>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22">
                    <a:moveTo>
                      <a:pt x="33" y="22"/>
                    </a:moveTo>
                    <a:lnTo>
                      <a:pt x="5" y="7"/>
                    </a:lnTo>
                    <a:lnTo>
                      <a:pt x="0" y="0"/>
                    </a:lnTo>
                    <a:lnTo>
                      <a:pt x="33" y="22"/>
                    </a:lnTo>
                    <a:lnTo>
                      <a:pt x="33" y="22"/>
                    </a:lnTo>
                    <a:lnTo>
                      <a:pt x="33" y="22"/>
                    </a:lnTo>
                    <a:close/>
                    <a:moveTo>
                      <a:pt x="68" y="22"/>
                    </a:moveTo>
                    <a:lnTo>
                      <a:pt x="54" y="0"/>
                    </a:lnTo>
                    <a:lnTo>
                      <a:pt x="68" y="7"/>
                    </a:lnTo>
                    <a:lnTo>
                      <a:pt x="68" y="22"/>
                    </a:lnTo>
                    <a:lnTo>
                      <a:pt x="68" y="22"/>
                    </a:lnTo>
                    <a:lnTo>
                      <a:pt x="68" y="2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08" name="Freeform 527">
                <a:extLst>
                  <a:ext uri="{FF2B5EF4-FFF2-40B4-BE49-F238E27FC236}">
                    <a16:creationId xmlns:a16="http://schemas.microsoft.com/office/drawing/2014/main" id="{68660596-D802-4A3B-9A8A-461855F22721}"/>
                  </a:ext>
                </a:extLst>
              </p:cNvPr>
              <p:cNvSpPr>
                <a:spLocks/>
              </p:cNvSpPr>
              <p:nvPr/>
            </p:nvSpPr>
            <p:spPr bwMode="gray">
              <a:xfrm>
                <a:off x="4195699" y="3615469"/>
                <a:ext cx="128441" cy="130103"/>
              </a:xfrm>
              <a:custGeom>
                <a:avLst/>
                <a:gdLst>
                  <a:gd name="T0" fmla="*/ 22 w 312"/>
                  <a:gd name="T1" fmla="*/ 151 h 316"/>
                  <a:gd name="T2" fmla="*/ 43 w 312"/>
                  <a:gd name="T3" fmla="*/ 151 h 316"/>
                  <a:gd name="T4" fmla="*/ 52 w 312"/>
                  <a:gd name="T5" fmla="*/ 139 h 316"/>
                  <a:gd name="T6" fmla="*/ 69 w 312"/>
                  <a:gd name="T7" fmla="*/ 127 h 316"/>
                  <a:gd name="T8" fmla="*/ 60 w 312"/>
                  <a:gd name="T9" fmla="*/ 94 h 316"/>
                  <a:gd name="T10" fmla="*/ 90 w 312"/>
                  <a:gd name="T11" fmla="*/ 94 h 316"/>
                  <a:gd name="T12" fmla="*/ 114 w 312"/>
                  <a:gd name="T13" fmla="*/ 73 h 316"/>
                  <a:gd name="T14" fmla="*/ 140 w 312"/>
                  <a:gd name="T15" fmla="*/ 89 h 316"/>
                  <a:gd name="T16" fmla="*/ 140 w 312"/>
                  <a:gd name="T17" fmla="*/ 82 h 316"/>
                  <a:gd name="T18" fmla="*/ 178 w 312"/>
                  <a:gd name="T19" fmla="*/ 49 h 316"/>
                  <a:gd name="T20" fmla="*/ 178 w 312"/>
                  <a:gd name="T21" fmla="*/ 49 h 316"/>
                  <a:gd name="T22" fmla="*/ 194 w 312"/>
                  <a:gd name="T23" fmla="*/ 16 h 316"/>
                  <a:gd name="T24" fmla="*/ 220 w 312"/>
                  <a:gd name="T25" fmla="*/ 33 h 316"/>
                  <a:gd name="T26" fmla="*/ 270 w 312"/>
                  <a:gd name="T27" fmla="*/ 16 h 316"/>
                  <a:gd name="T28" fmla="*/ 291 w 312"/>
                  <a:gd name="T29" fmla="*/ 0 h 316"/>
                  <a:gd name="T30" fmla="*/ 312 w 312"/>
                  <a:gd name="T31" fmla="*/ 0 h 316"/>
                  <a:gd name="T32" fmla="*/ 303 w 312"/>
                  <a:gd name="T33" fmla="*/ 16 h 316"/>
                  <a:gd name="T34" fmla="*/ 308 w 312"/>
                  <a:gd name="T35" fmla="*/ 28 h 316"/>
                  <a:gd name="T36" fmla="*/ 312 w 312"/>
                  <a:gd name="T37" fmla="*/ 54 h 316"/>
                  <a:gd name="T38" fmla="*/ 303 w 312"/>
                  <a:gd name="T39" fmla="*/ 82 h 316"/>
                  <a:gd name="T40" fmla="*/ 286 w 312"/>
                  <a:gd name="T41" fmla="*/ 122 h 316"/>
                  <a:gd name="T42" fmla="*/ 291 w 312"/>
                  <a:gd name="T43" fmla="*/ 193 h 316"/>
                  <a:gd name="T44" fmla="*/ 286 w 312"/>
                  <a:gd name="T45" fmla="*/ 193 h 316"/>
                  <a:gd name="T46" fmla="*/ 291 w 312"/>
                  <a:gd name="T47" fmla="*/ 167 h 316"/>
                  <a:gd name="T48" fmla="*/ 286 w 312"/>
                  <a:gd name="T49" fmla="*/ 160 h 316"/>
                  <a:gd name="T50" fmla="*/ 286 w 312"/>
                  <a:gd name="T51" fmla="*/ 177 h 316"/>
                  <a:gd name="T52" fmla="*/ 274 w 312"/>
                  <a:gd name="T53" fmla="*/ 193 h 316"/>
                  <a:gd name="T54" fmla="*/ 274 w 312"/>
                  <a:gd name="T55" fmla="*/ 222 h 316"/>
                  <a:gd name="T56" fmla="*/ 270 w 312"/>
                  <a:gd name="T57" fmla="*/ 233 h 316"/>
                  <a:gd name="T58" fmla="*/ 270 w 312"/>
                  <a:gd name="T59" fmla="*/ 238 h 316"/>
                  <a:gd name="T60" fmla="*/ 274 w 312"/>
                  <a:gd name="T61" fmla="*/ 233 h 316"/>
                  <a:gd name="T62" fmla="*/ 286 w 312"/>
                  <a:gd name="T63" fmla="*/ 255 h 316"/>
                  <a:gd name="T64" fmla="*/ 270 w 312"/>
                  <a:gd name="T65" fmla="*/ 271 h 316"/>
                  <a:gd name="T66" fmla="*/ 270 w 312"/>
                  <a:gd name="T67" fmla="*/ 290 h 316"/>
                  <a:gd name="T68" fmla="*/ 286 w 312"/>
                  <a:gd name="T69" fmla="*/ 307 h 316"/>
                  <a:gd name="T70" fmla="*/ 274 w 312"/>
                  <a:gd name="T71" fmla="*/ 311 h 316"/>
                  <a:gd name="T72" fmla="*/ 258 w 312"/>
                  <a:gd name="T73" fmla="*/ 316 h 316"/>
                  <a:gd name="T74" fmla="*/ 204 w 312"/>
                  <a:gd name="T75" fmla="*/ 295 h 316"/>
                  <a:gd name="T76" fmla="*/ 194 w 312"/>
                  <a:gd name="T77" fmla="*/ 307 h 316"/>
                  <a:gd name="T78" fmla="*/ 145 w 312"/>
                  <a:gd name="T79" fmla="*/ 278 h 316"/>
                  <a:gd name="T80" fmla="*/ 140 w 312"/>
                  <a:gd name="T81" fmla="*/ 295 h 316"/>
                  <a:gd name="T82" fmla="*/ 86 w 312"/>
                  <a:gd name="T83" fmla="*/ 238 h 316"/>
                  <a:gd name="T84" fmla="*/ 60 w 312"/>
                  <a:gd name="T85" fmla="*/ 205 h 316"/>
                  <a:gd name="T86" fmla="*/ 0 w 312"/>
                  <a:gd name="T87" fmla="*/ 160 h 316"/>
                  <a:gd name="T88" fmla="*/ 5 w 312"/>
                  <a:gd name="T89" fmla="*/ 144 h 316"/>
                  <a:gd name="T90" fmla="*/ 22 w 312"/>
                  <a:gd name="T91" fmla="*/ 160 h 316"/>
                  <a:gd name="T92" fmla="*/ 22 w 312"/>
                  <a:gd name="T93" fmla="*/ 160 h 316"/>
                  <a:gd name="T94" fmla="*/ 22 w 312"/>
                  <a:gd name="T95" fmla="*/ 151 h 316"/>
                  <a:gd name="T96" fmla="*/ 22 w 312"/>
                  <a:gd name="T97" fmla="*/ 151 h 316"/>
                  <a:gd name="T98" fmla="*/ 22 w 312"/>
                  <a:gd name="T99" fmla="*/ 15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2" h="316">
                    <a:moveTo>
                      <a:pt x="22" y="151"/>
                    </a:moveTo>
                    <a:lnTo>
                      <a:pt x="43" y="151"/>
                    </a:lnTo>
                    <a:lnTo>
                      <a:pt x="52" y="139"/>
                    </a:lnTo>
                    <a:lnTo>
                      <a:pt x="69" y="127"/>
                    </a:lnTo>
                    <a:lnTo>
                      <a:pt x="60" y="94"/>
                    </a:lnTo>
                    <a:lnTo>
                      <a:pt x="90" y="94"/>
                    </a:lnTo>
                    <a:lnTo>
                      <a:pt x="114" y="73"/>
                    </a:lnTo>
                    <a:lnTo>
                      <a:pt x="140" y="89"/>
                    </a:lnTo>
                    <a:lnTo>
                      <a:pt x="140" y="82"/>
                    </a:lnTo>
                    <a:lnTo>
                      <a:pt x="178" y="49"/>
                    </a:lnTo>
                    <a:lnTo>
                      <a:pt x="178" y="49"/>
                    </a:lnTo>
                    <a:lnTo>
                      <a:pt x="194" y="16"/>
                    </a:lnTo>
                    <a:lnTo>
                      <a:pt x="220" y="33"/>
                    </a:lnTo>
                    <a:lnTo>
                      <a:pt x="270" y="16"/>
                    </a:lnTo>
                    <a:lnTo>
                      <a:pt x="291" y="0"/>
                    </a:lnTo>
                    <a:lnTo>
                      <a:pt x="312" y="0"/>
                    </a:lnTo>
                    <a:lnTo>
                      <a:pt x="303" y="16"/>
                    </a:lnTo>
                    <a:lnTo>
                      <a:pt x="308" y="28"/>
                    </a:lnTo>
                    <a:lnTo>
                      <a:pt x="312" y="54"/>
                    </a:lnTo>
                    <a:lnTo>
                      <a:pt x="303" y="82"/>
                    </a:lnTo>
                    <a:lnTo>
                      <a:pt x="286" y="122"/>
                    </a:lnTo>
                    <a:lnTo>
                      <a:pt x="291" y="193"/>
                    </a:lnTo>
                    <a:lnTo>
                      <a:pt x="286" y="193"/>
                    </a:lnTo>
                    <a:lnTo>
                      <a:pt x="291" y="167"/>
                    </a:lnTo>
                    <a:lnTo>
                      <a:pt x="286" y="160"/>
                    </a:lnTo>
                    <a:lnTo>
                      <a:pt x="286" y="177"/>
                    </a:lnTo>
                    <a:lnTo>
                      <a:pt x="274" y="193"/>
                    </a:lnTo>
                    <a:lnTo>
                      <a:pt x="274" y="222"/>
                    </a:lnTo>
                    <a:lnTo>
                      <a:pt x="270" y="233"/>
                    </a:lnTo>
                    <a:lnTo>
                      <a:pt x="270" y="238"/>
                    </a:lnTo>
                    <a:lnTo>
                      <a:pt x="274" y="233"/>
                    </a:lnTo>
                    <a:lnTo>
                      <a:pt x="286" y="255"/>
                    </a:lnTo>
                    <a:lnTo>
                      <a:pt x="270" y="271"/>
                    </a:lnTo>
                    <a:lnTo>
                      <a:pt x="270" y="290"/>
                    </a:lnTo>
                    <a:lnTo>
                      <a:pt x="286" y="307"/>
                    </a:lnTo>
                    <a:lnTo>
                      <a:pt x="274" y="311"/>
                    </a:lnTo>
                    <a:lnTo>
                      <a:pt x="258" y="316"/>
                    </a:lnTo>
                    <a:lnTo>
                      <a:pt x="204" y="295"/>
                    </a:lnTo>
                    <a:lnTo>
                      <a:pt x="194" y="307"/>
                    </a:lnTo>
                    <a:lnTo>
                      <a:pt x="145" y="278"/>
                    </a:lnTo>
                    <a:lnTo>
                      <a:pt x="140" y="295"/>
                    </a:lnTo>
                    <a:lnTo>
                      <a:pt x="86" y="238"/>
                    </a:lnTo>
                    <a:lnTo>
                      <a:pt x="60" y="205"/>
                    </a:lnTo>
                    <a:lnTo>
                      <a:pt x="0" y="160"/>
                    </a:lnTo>
                    <a:lnTo>
                      <a:pt x="5" y="144"/>
                    </a:lnTo>
                    <a:lnTo>
                      <a:pt x="22" y="160"/>
                    </a:lnTo>
                    <a:lnTo>
                      <a:pt x="22" y="160"/>
                    </a:lnTo>
                    <a:lnTo>
                      <a:pt x="22" y="151"/>
                    </a:lnTo>
                    <a:lnTo>
                      <a:pt x="22" y="151"/>
                    </a:lnTo>
                    <a:lnTo>
                      <a:pt x="22" y="15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09" name="Freeform 529">
                <a:extLst>
                  <a:ext uri="{FF2B5EF4-FFF2-40B4-BE49-F238E27FC236}">
                    <a16:creationId xmlns:a16="http://schemas.microsoft.com/office/drawing/2014/main" id="{36C8FDF5-CC20-4DDA-B7BA-2411B8AF4751}"/>
                  </a:ext>
                </a:extLst>
              </p:cNvPr>
              <p:cNvSpPr>
                <a:spLocks/>
              </p:cNvSpPr>
              <p:nvPr/>
            </p:nvSpPr>
            <p:spPr bwMode="gray">
              <a:xfrm>
                <a:off x="4914476" y="4643111"/>
                <a:ext cx="244943" cy="261852"/>
              </a:xfrm>
              <a:custGeom>
                <a:avLst/>
                <a:gdLst>
                  <a:gd name="T0" fmla="*/ 343 w 595"/>
                  <a:gd name="T1" fmla="*/ 449 h 636"/>
                  <a:gd name="T2" fmla="*/ 189 w 595"/>
                  <a:gd name="T3" fmla="*/ 359 h 636"/>
                  <a:gd name="T4" fmla="*/ 118 w 595"/>
                  <a:gd name="T5" fmla="*/ 343 h 636"/>
                  <a:gd name="T6" fmla="*/ 50 w 595"/>
                  <a:gd name="T7" fmla="*/ 289 h 636"/>
                  <a:gd name="T8" fmla="*/ 0 w 595"/>
                  <a:gd name="T9" fmla="*/ 227 h 636"/>
                  <a:gd name="T10" fmla="*/ 33 w 595"/>
                  <a:gd name="T11" fmla="*/ 100 h 636"/>
                  <a:gd name="T12" fmla="*/ 71 w 595"/>
                  <a:gd name="T13" fmla="*/ 29 h 636"/>
                  <a:gd name="T14" fmla="*/ 255 w 595"/>
                  <a:gd name="T15" fmla="*/ 12 h 636"/>
                  <a:gd name="T16" fmla="*/ 319 w 595"/>
                  <a:gd name="T17" fmla="*/ 67 h 636"/>
                  <a:gd name="T18" fmla="*/ 343 w 595"/>
                  <a:gd name="T19" fmla="*/ 161 h 636"/>
                  <a:gd name="T20" fmla="*/ 336 w 595"/>
                  <a:gd name="T21" fmla="*/ 215 h 636"/>
                  <a:gd name="T22" fmla="*/ 428 w 595"/>
                  <a:gd name="T23" fmla="*/ 227 h 636"/>
                  <a:gd name="T24" fmla="*/ 461 w 595"/>
                  <a:gd name="T25" fmla="*/ 227 h 636"/>
                  <a:gd name="T26" fmla="*/ 499 w 595"/>
                  <a:gd name="T27" fmla="*/ 255 h 636"/>
                  <a:gd name="T28" fmla="*/ 515 w 595"/>
                  <a:gd name="T29" fmla="*/ 359 h 636"/>
                  <a:gd name="T30" fmla="*/ 569 w 595"/>
                  <a:gd name="T31" fmla="*/ 343 h 636"/>
                  <a:gd name="T32" fmla="*/ 591 w 595"/>
                  <a:gd name="T33" fmla="*/ 364 h 636"/>
                  <a:gd name="T34" fmla="*/ 581 w 595"/>
                  <a:gd name="T35" fmla="*/ 437 h 636"/>
                  <a:gd name="T36" fmla="*/ 569 w 595"/>
                  <a:gd name="T37" fmla="*/ 470 h 636"/>
                  <a:gd name="T38" fmla="*/ 569 w 595"/>
                  <a:gd name="T39" fmla="*/ 548 h 636"/>
                  <a:gd name="T40" fmla="*/ 515 w 595"/>
                  <a:gd name="T41" fmla="*/ 586 h 636"/>
                  <a:gd name="T42" fmla="*/ 503 w 595"/>
                  <a:gd name="T43" fmla="*/ 615 h 636"/>
                  <a:gd name="T44" fmla="*/ 482 w 595"/>
                  <a:gd name="T45" fmla="*/ 615 h 636"/>
                  <a:gd name="T46" fmla="*/ 444 w 595"/>
                  <a:gd name="T47" fmla="*/ 636 h 636"/>
                  <a:gd name="T48" fmla="*/ 418 w 595"/>
                  <a:gd name="T49" fmla="*/ 624 h 636"/>
                  <a:gd name="T50" fmla="*/ 397 w 595"/>
                  <a:gd name="T51" fmla="*/ 624 h 636"/>
                  <a:gd name="T52" fmla="*/ 288 w 595"/>
                  <a:gd name="T53" fmla="*/ 615 h 636"/>
                  <a:gd name="T54" fmla="*/ 319 w 595"/>
                  <a:gd name="T55" fmla="*/ 565 h 636"/>
                  <a:gd name="T56" fmla="*/ 343 w 595"/>
                  <a:gd name="T57" fmla="*/ 508 h 636"/>
                  <a:gd name="T58" fmla="*/ 343 w 595"/>
                  <a:gd name="T59" fmla="*/ 492 h 636"/>
                  <a:gd name="T60" fmla="*/ 364 w 595"/>
                  <a:gd name="T61" fmla="*/ 470 h 636"/>
                  <a:gd name="T62" fmla="*/ 357 w 595"/>
                  <a:gd name="T63" fmla="*/ 45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5" h="636">
                    <a:moveTo>
                      <a:pt x="357" y="459"/>
                    </a:moveTo>
                    <a:lnTo>
                      <a:pt x="343" y="449"/>
                    </a:lnTo>
                    <a:lnTo>
                      <a:pt x="272" y="421"/>
                    </a:lnTo>
                    <a:lnTo>
                      <a:pt x="189" y="359"/>
                    </a:lnTo>
                    <a:lnTo>
                      <a:pt x="173" y="359"/>
                    </a:lnTo>
                    <a:lnTo>
                      <a:pt x="118" y="343"/>
                    </a:lnTo>
                    <a:lnTo>
                      <a:pt x="109" y="326"/>
                    </a:lnTo>
                    <a:lnTo>
                      <a:pt x="50" y="289"/>
                    </a:lnTo>
                    <a:lnTo>
                      <a:pt x="33" y="248"/>
                    </a:lnTo>
                    <a:lnTo>
                      <a:pt x="0" y="227"/>
                    </a:lnTo>
                    <a:lnTo>
                      <a:pt x="33" y="140"/>
                    </a:lnTo>
                    <a:lnTo>
                      <a:pt x="33" y="100"/>
                    </a:lnTo>
                    <a:lnTo>
                      <a:pt x="54" y="67"/>
                    </a:lnTo>
                    <a:lnTo>
                      <a:pt x="71" y="29"/>
                    </a:lnTo>
                    <a:lnTo>
                      <a:pt x="189" y="0"/>
                    </a:lnTo>
                    <a:lnTo>
                      <a:pt x="255" y="12"/>
                    </a:lnTo>
                    <a:lnTo>
                      <a:pt x="319" y="45"/>
                    </a:lnTo>
                    <a:lnTo>
                      <a:pt x="319" y="67"/>
                    </a:lnTo>
                    <a:lnTo>
                      <a:pt x="343" y="128"/>
                    </a:lnTo>
                    <a:lnTo>
                      <a:pt x="343" y="161"/>
                    </a:lnTo>
                    <a:lnTo>
                      <a:pt x="336" y="173"/>
                    </a:lnTo>
                    <a:lnTo>
                      <a:pt x="336" y="215"/>
                    </a:lnTo>
                    <a:lnTo>
                      <a:pt x="411" y="227"/>
                    </a:lnTo>
                    <a:lnTo>
                      <a:pt x="428" y="227"/>
                    </a:lnTo>
                    <a:lnTo>
                      <a:pt x="444" y="211"/>
                    </a:lnTo>
                    <a:lnTo>
                      <a:pt x="461" y="227"/>
                    </a:lnTo>
                    <a:lnTo>
                      <a:pt x="482" y="232"/>
                    </a:lnTo>
                    <a:lnTo>
                      <a:pt x="499" y="255"/>
                    </a:lnTo>
                    <a:lnTo>
                      <a:pt x="499" y="272"/>
                    </a:lnTo>
                    <a:lnTo>
                      <a:pt x="515" y="359"/>
                    </a:lnTo>
                    <a:lnTo>
                      <a:pt x="541" y="359"/>
                    </a:lnTo>
                    <a:lnTo>
                      <a:pt x="569" y="343"/>
                    </a:lnTo>
                    <a:lnTo>
                      <a:pt x="595" y="364"/>
                    </a:lnTo>
                    <a:lnTo>
                      <a:pt x="591" y="364"/>
                    </a:lnTo>
                    <a:lnTo>
                      <a:pt x="595" y="381"/>
                    </a:lnTo>
                    <a:lnTo>
                      <a:pt x="581" y="437"/>
                    </a:lnTo>
                    <a:lnTo>
                      <a:pt x="581" y="449"/>
                    </a:lnTo>
                    <a:lnTo>
                      <a:pt x="569" y="470"/>
                    </a:lnTo>
                    <a:lnTo>
                      <a:pt x="574" y="475"/>
                    </a:lnTo>
                    <a:lnTo>
                      <a:pt x="569" y="548"/>
                    </a:lnTo>
                    <a:lnTo>
                      <a:pt x="541" y="570"/>
                    </a:lnTo>
                    <a:lnTo>
                      <a:pt x="515" y="586"/>
                    </a:lnTo>
                    <a:lnTo>
                      <a:pt x="503" y="598"/>
                    </a:lnTo>
                    <a:lnTo>
                      <a:pt x="503" y="615"/>
                    </a:lnTo>
                    <a:lnTo>
                      <a:pt x="489" y="619"/>
                    </a:lnTo>
                    <a:lnTo>
                      <a:pt x="482" y="615"/>
                    </a:lnTo>
                    <a:lnTo>
                      <a:pt x="465" y="615"/>
                    </a:lnTo>
                    <a:lnTo>
                      <a:pt x="444" y="636"/>
                    </a:lnTo>
                    <a:lnTo>
                      <a:pt x="435" y="624"/>
                    </a:lnTo>
                    <a:lnTo>
                      <a:pt x="418" y="624"/>
                    </a:lnTo>
                    <a:lnTo>
                      <a:pt x="411" y="619"/>
                    </a:lnTo>
                    <a:lnTo>
                      <a:pt x="397" y="624"/>
                    </a:lnTo>
                    <a:lnTo>
                      <a:pt x="352" y="615"/>
                    </a:lnTo>
                    <a:lnTo>
                      <a:pt x="288" y="615"/>
                    </a:lnTo>
                    <a:lnTo>
                      <a:pt x="288" y="603"/>
                    </a:lnTo>
                    <a:lnTo>
                      <a:pt x="319" y="565"/>
                    </a:lnTo>
                    <a:lnTo>
                      <a:pt x="319" y="525"/>
                    </a:lnTo>
                    <a:lnTo>
                      <a:pt x="343" y="508"/>
                    </a:lnTo>
                    <a:lnTo>
                      <a:pt x="343" y="508"/>
                    </a:lnTo>
                    <a:lnTo>
                      <a:pt x="343" y="492"/>
                    </a:lnTo>
                    <a:lnTo>
                      <a:pt x="364" y="475"/>
                    </a:lnTo>
                    <a:lnTo>
                      <a:pt x="364" y="470"/>
                    </a:lnTo>
                    <a:lnTo>
                      <a:pt x="357" y="459"/>
                    </a:lnTo>
                    <a:lnTo>
                      <a:pt x="357" y="459"/>
                    </a:lnTo>
                    <a:lnTo>
                      <a:pt x="357" y="45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10" name="Freeform 530">
                <a:extLst>
                  <a:ext uri="{FF2B5EF4-FFF2-40B4-BE49-F238E27FC236}">
                    <a16:creationId xmlns:a16="http://schemas.microsoft.com/office/drawing/2014/main" id="{3987E54C-6172-4F10-AD89-6193E975A9E9}"/>
                  </a:ext>
                </a:extLst>
              </p:cNvPr>
              <p:cNvSpPr>
                <a:spLocks/>
              </p:cNvSpPr>
              <p:nvPr/>
            </p:nvSpPr>
            <p:spPr bwMode="gray">
              <a:xfrm>
                <a:off x="4375599" y="4067532"/>
                <a:ext cx="367621" cy="547583"/>
              </a:xfrm>
              <a:custGeom>
                <a:avLst/>
                <a:gdLst>
                  <a:gd name="T0" fmla="*/ 872 w 893"/>
                  <a:gd name="T1" fmla="*/ 926 h 1330"/>
                  <a:gd name="T2" fmla="*/ 877 w 893"/>
                  <a:gd name="T3" fmla="*/ 1025 h 1330"/>
                  <a:gd name="T4" fmla="*/ 839 w 893"/>
                  <a:gd name="T5" fmla="*/ 1063 h 1330"/>
                  <a:gd name="T6" fmla="*/ 844 w 893"/>
                  <a:gd name="T7" fmla="*/ 1108 h 1330"/>
                  <a:gd name="T8" fmla="*/ 872 w 893"/>
                  <a:gd name="T9" fmla="*/ 1169 h 1330"/>
                  <a:gd name="T10" fmla="*/ 872 w 893"/>
                  <a:gd name="T11" fmla="*/ 1202 h 1330"/>
                  <a:gd name="T12" fmla="*/ 834 w 893"/>
                  <a:gd name="T13" fmla="*/ 1259 h 1330"/>
                  <a:gd name="T14" fmla="*/ 806 w 893"/>
                  <a:gd name="T15" fmla="*/ 1280 h 1330"/>
                  <a:gd name="T16" fmla="*/ 768 w 893"/>
                  <a:gd name="T17" fmla="*/ 1330 h 1330"/>
                  <a:gd name="T18" fmla="*/ 671 w 893"/>
                  <a:gd name="T19" fmla="*/ 1242 h 1330"/>
                  <a:gd name="T20" fmla="*/ 515 w 893"/>
                  <a:gd name="T21" fmla="*/ 1153 h 1330"/>
                  <a:gd name="T22" fmla="*/ 388 w 893"/>
                  <a:gd name="T23" fmla="*/ 1058 h 1330"/>
                  <a:gd name="T24" fmla="*/ 350 w 893"/>
                  <a:gd name="T25" fmla="*/ 1004 h 1330"/>
                  <a:gd name="T26" fmla="*/ 360 w 893"/>
                  <a:gd name="T27" fmla="*/ 964 h 1330"/>
                  <a:gd name="T28" fmla="*/ 300 w 893"/>
                  <a:gd name="T29" fmla="*/ 869 h 1330"/>
                  <a:gd name="T30" fmla="*/ 263 w 893"/>
                  <a:gd name="T31" fmla="*/ 782 h 1330"/>
                  <a:gd name="T32" fmla="*/ 194 w 893"/>
                  <a:gd name="T33" fmla="*/ 647 h 1330"/>
                  <a:gd name="T34" fmla="*/ 145 w 893"/>
                  <a:gd name="T35" fmla="*/ 565 h 1330"/>
                  <a:gd name="T36" fmla="*/ 17 w 893"/>
                  <a:gd name="T37" fmla="*/ 432 h 1330"/>
                  <a:gd name="T38" fmla="*/ 38 w 893"/>
                  <a:gd name="T39" fmla="*/ 399 h 1330"/>
                  <a:gd name="T40" fmla="*/ 26 w 893"/>
                  <a:gd name="T41" fmla="*/ 354 h 1330"/>
                  <a:gd name="T42" fmla="*/ 38 w 893"/>
                  <a:gd name="T43" fmla="*/ 267 h 1330"/>
                  <a:gd name="T44" fmla="*/ 86 w 893"/>
                  <a:gd name="T45" fmla="*/ 276 h 1330"/>
                  <a:gd name="T46" fmla="*/ 64 w 893"/>
                  <a:gd name="T47" fmla="*/ 300 h 1330"/>
                  <a:gd name="T48" fmla="*/ 69 w 893"/>
                  <a:gd name="T49" fmla="*/ 317 h 1330"/>
                  <a:gd name="T50" fmla="*/ 123 w 893"/>
                  <a:gd name="T51" fmla="*/ 317 h 1330"/>
                  <a:gd name="T52" fmla="*/ 178 w 893"/>
                  <a:gd name="T53" fmla="*/ 333 h 1330"/>
                  <a:gd name="T54" fmla="*/ 211 w 893"/>
                  <a:gd name="T55" fmla="*/ 267 h 1330"/>
                  <a:gd name="T56" fmla="*/ 225 w 893"/>
                  <a:gd name="T57" fmla="*/ 234 h 1330"/>
                  <a:gd name="T58" fmla="*/ 371 w 893"/>
                  <a:gd name="T59" fmla="*/ 149 h 1330"/>
                  <a:gd name="T60" fmla="*/ 430 w 893"/>
                  <a:gd name="T61" fmla="*/ 61 h 1330"/>
                  <a:gd name="T62" fmla="*/ 404 w 893"/>
                  <a:gd name="T63" fmla="*/ 5 h 1330"/>
                  <a:gd name="T64" fmla="*/ 456 w 893"/>
                  <a:gd name="T65" fmla="*/ 12 h 1330"/>
                  <a:gd name="T66" fmla="*/ 494 w 893"/>
                  <a:gd name="T67" fmla="*/ 38 h 1330"/>
                  <a:gd name="T68" fmla="*/ 553 w 893"/>
                  <a:gd name="T69" fmla="*/ 111 h 1330"/>
                  <a:gd name="T70" fmla="*/ 574 w 893"/>
                  <a:gd name="T71" fmla="*/ 123 h 1330"/>
                  <a:gd name="T72" fmla="*/ 574 w 893"/>
                  <a:gd name="T73" fmla="*/ 165 h 1330"/>
                  <a:gd name="T74" fmla="*/ 619 w 893"/>
                  <a:gd name="T75" fmla="*/ 165 h 1330"/>
                  <a:gd name="T76" fmla="*/ 678 w 893"/>
                  <a:gd name="T77" fmla="*/ 149 h 1330"/>
                  <a:gd name="T78" fmla="*/ 737 w 893"/>
                  <a:gd name="T79" fmla="*/ 156 h 1330"/>
                  <a:gd name="T80" fmla="*/ 789 w 893"/>
                  <a:gd name="T81" fmla="*/ 194 h 1330"/>
                  <a:gd name="T82" fmla="*/ 780 w 893"/>
                  <a:gd name="T83" fmla="*/ 267 h 1330"/>
                  <a:gd name="T84" fmla="*/ 785 w 893"/>
                  <a:gd name="T85" fmla="*/ 305 h 1330"/>
                  <a:gd name="T86" fmla="*/ 730 w 893"/>
                  <a:gd name="T87" fmla="*/ 305 h 1330"/>
                  <a:gd name="T88" fmla="*/ 603 w 893"/>
                  <a:gd name="T89" fmla="*/ 359 h 1330"/>
                  <a:gd name="T90" fmla="*/ 574 w 893"/>
                  <a:gd name="T91" fmla="*/ 454 h 1330"/>
                  <a:gd name="T92" fmla="*/ 537 w 893"/>
                  <a:gd name="T93" fmla="*/ 522 h 1330"/>
                  <a:gd name="T94" fmla="*/ 537 w 893"/>
                  <a:gd name="T95" fmla="*/ 555 h 1330"/>
                  <a:gd name="T96" fmla="*/ 553 w 893"/>
                  <a:gd name="T97" fmla="*/ 598 h 1330"/>
                  <a:gd name="T98" fmla="*/ 570 w 893"/>
                  <a:gd name="T99" fmla="*/ 671 h 1330"/>
                  <a:gd name="T100" fmla="*/ 709 w 893"/>
                  <a:gd name="T101" fmla="*/ 720 h 1330"/>
                  <a:gd name="T102" fmla="*/ 754 w 893"/>
                  <a:gd name="T103" fmla="*/ 787 h 1330"/>
                  <a:gd name="T104" fmla="*/ 801 w 893"/>
                  <a:gd name="T105" fmla="*/ 782 h 1330"/>
                  <a:gd name="T106" fmla="*/ 834 w 893"/>
                  <a:gd name="T107" fmla="*/ 787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3" h="1330">
                    <a:moveTo>
                      <a:pt x="834" y="787"/>
                    </a:moveTo>
                    <a:lnTo>
                      <a:pt x="893" y="898"/>
                    </a:lnTo>
                    <a:lnTo>
                      <a:pt x="872" y="926"/>
                    </a:lnTo>
                    <a:lnTo>
                      <a:pt x="872" y="971"/>
                    </a:lnTo>
                    <a:lnTo>
                      <a:pt x="860" y="987"/>
                    </a:lnTo>
                    <a:lnTo>
                      <a:pt x="877" y="1025"/>
                    </a:lnTo>
                    <a:lnTo>
                      <a:pt x="872" y="1025"/>
                    </a:lnTo>
                    <a:lnTo>
                      <a:pt x="872" y="1037"/>
                    </a:lnTo>
                    <a:lnTo>
                      <a:pt x="839" y="1063"/>
                    </a:lnTo>
                    <a:lnTo>
                      <a:pt x="839" y="1082"/>
                    </a:lnTo>
                    <a:lnTo>
                      <a:pt x="856" y="1098"/>
                    </a:lnTo>
                    <a:lnTo>
                      <a:pt x="844" y="1108"/>
                    </a:lnTo>
                    <a:lnTo>
                      <a:pt x="839" y="1131"/>
                    </a:lnTo>
                    <a:lnTo>
                      <a:pt x="856" y="1169"/>
                    </a:lnTo>
                    <a:lnTo>
                      <a:pt x="872" y="1169"/>
                    </a:lnTo>
                    <a:lnTo>
                      <a:pt x="877" y="1174"/>
                    </a:lnTo>
                    <a:lnTo>
                      <a:pt x="860" y="1191"/>
                    </a:lnTo>
                    <a:lnTo>
                      <a:pt x="872" y="1202"/>
                    </a:lnTo>
                    <a:lnTo>
                      <a:pt x="823" y="1247"/>
                    </a:lnTo>
                    <a:lnTo>
                      <a:pt x="823" y="1247"/>
                    </a:lnTo>
                    <a:lnTo>
                      <a:pt x="834" y="1259"/>
                    </a:lnTo>
                    <a:lnTo>
                      <a:pt x="834" y="1264"/>
                    </a:lnTo>
                    <a:lnTo>
                      <a:pt x="823" y="1280"/>
                    </a:lnTo>
                    <a:lnTo>
                      <a:pt x="806" y="1280"/>
                    </a:lnTo>
                    <a:lnTo>
                      <a:pt x="818" y="1302"/>
                    </a:lnTo>
                    <a:lnTo>
                      <a:pt x="801" y="1318"/>
                    </a:lnTo>
                    <a:lnTo>
                      <a:pt x="768" y="1330"/>
                    </a:lnTo>
                    <a:lnTo>
                      <a:pt x="709" y="1280"/>
                    </a:lnTo>
                    <a:lnTo>
                      <a:pt x="693" y="1247"/>
                    </a:lnTo>
                    <a:lnTo>
                      <a:pt x="671" y="1242"/>
                    </a:lnTo>
                    <a:lnTo>
                      <a:pt x="624" y="1207"/>
                    </a:lnTo>
                    <a:lnTo>
                      <a:pt x="532" y="1169"/>
                    </a:lnTo>
                    <a:lnTo>
                      <a:pt x="515" y="1153"/>
                    </a:lnTo>
                    <a:lnTo>
                      <a:pt x="447" y="1115"/>
                    </a:lnTo>
                    <a:lnTo>
                      <a:pt x="409" y="1075"/>
                    </a:lnTo>
                    <a:lnTo>
                      <a:pt x="388" y="1058"/>
                    </a:lnTo>
                    <a:lnTo>
                      <a:pt x="360" y="1020"/>
                    </a:lnTo>
                    <a:lnTo>
                      <a:pt x="355" y="1004"/>
                    </a:lnTo>
                    <a:lnTo>
                      <a:pt x="350" y="1004"/>
                    </a:lnTo>
                    <a:lnTo>
                      <a:pt x="355" y="997"/>
                    </a:lnTo>
                    <a:lnTo>
                      <a:pt x="360" y="997"/>
                    </a:lnTo>
                    <a:lnTo>
                      <a:pt x="360" y="964"/>
                    </a:lnTo>
                    <a:lnTo>
                      <a:pt x="350" y="942"/>
                    </a:lnTo>
                    <a:lnTo>
                      <a:pt x="322" y="893"/>
                    </a:lnTo>
                    <a:lnTo>
                      <a:pt x="300" y="869"/>
                    </a:lnTo>
                    <a:lnTo>
                      <a:pt x="296" y="836"/>
                    </a:lnTo>
                    <a:lnTo>
                      <a:pt x="263" y="815"/>
                    </a:lnTo>
                    <a:lnTo>
                      <a:pt x="263" y="782"/>
                    </a:lnTo>
                    <a:lnTo>
                      <a:pt x="232" y="742"/>
                    </a:lnTo>
                    <a:lnTo>
                      <a:pt x="199" y="654"/>
                    </a:lnTo>
                    <a:lnTo>
                      <a:pt x="194" y="647"/>
                    </a:lnTo>
                    <a:lnTo>
                      <a:pt x="189" y="614"/>
                    </a:lnTo>
                    <a:lnTo>
                      <a:pt x="173" y="593"/>
                    </a:lnTo>
                    <a:lnTo>
                      <a:pt x="145" y="565"/>
                    </a:lnTo>
                    <a:lnTo>
                      <a:pt x="119" y="503"/>
                    </a:lnTo>
                    <a:lnTo>
                      <a:pt x="102" y="482"/>
                    </a:lnTo>
                    <a:lnTo>
                      <a:pt x="17" y="432"/>
                    </a:lnTo>
                    <a:lnTo>
                      <a:pt x="17" y="416"/>
                    </a:lnTo>
                    <a:lnTo>
                      <a:pt x="31" y="416"/>
                    </a:lnTo>
                    <a:lnTo>
                      <a:pt x="38" y="399"/>
                    </a:lnTo>
                    <a:lnTo>
                      <a:pt x="31" y="387"/>
                    </a:lnTo>
                    <a:lnTo>
                      <a:pt x="17" y="371"/>
                    </a:lnTo>
                    <a:lnTo>
                      <a:pt x="26" y="354"/>
                    </a:lnTo>
                    <a:lnTo>
                      <a:pt x="0" y="333"/>
                    </a:lnTo>
                    <a:lnTo>
                      <a:pt x="10" y="305"/>
                    </a:lnTo>
                    <a:lnTo>
                      <a:pt x="38" y="267"/>
                    </a:lnTo>
                    <a:lnTo>
                      <a:pt x="81" y="234"/>
                    </a:lnTo>
                    <a:lnTo>
                      <a:pt x="81" y="243"/>
                    </a:lnTo>
                    <a:lnTo>
                      <a:pt x="86" y="276"/>
                    </a:lnTo>
                    <a:lnTo>
                      <a:pt x="81" y="283"/>
                    </a:lnTo>
                    <a:lnTo>
                      <a:pt x="64" y="283"/>
                    </a:lnTo>
                    <a:lnTo>
                      <a:pt x="64" y="300"/>
                    </a:lnTo>
                    <a:lnTo>
                      <a:pt x="81" y="300"/>
                    </a:lnTo>
                    <a:lnTo>
                      <a:pt x="64" y="317"/>
                    </a:lnTo>
                    <a:lnTo>
                      <a:pt x="69" y="317"/>
                    </a:lnTo>
                    <a:lnTo>
                      <a:pt x="86" y="305"/>
                    </a:lnTo>
                    <a:lnTo>
                      <a:pt x="107" y="317"/>
                    </a:lnTo>
                    <a:lnTo>
                      <a:pt x="123" y="317"/>
                    </a:lnTo>
                    <a:lnTo>
                      <a:pt x="145" y="354"/>
                    </a:lnTo>
                    <a:lnTo>
                      <a:pt x="161" y="354"/>
                    </a:lnTo>
                    <a:lnTo>
                      <a:pt x="178" y="333"/>
                    </a:lnTo>
                    <a:lnTo>
                      <a:pt x="194" y="321"/>
                    </a:lnTo>
                    <a:lnTo>
                      <a:pt x="194" y="305"/>
                    </a:lnTo>
                    <a:lnTo>
                      <a:pt x="211" y="267"/>
                    </a:lnTo>
                    <a:lnTo>
                      <a:pt x="215" y="243"/>
                    </a:lnTo>
                    <a:lnTo>
                      <a:pt x="225" y="250"/>
                    </a:lnTo>
                    <a:lnTo>
                      <a:pt x="225" y="234"/>
                    </a:lnTo>
                    <a:lnTo>
                      <a:pt x="249" y="210"/>
                    </a:lnTo>
                    <a:lnTo>
                      <a:pt x="334" y="177"/>
                    </a:lnTo>
                    <a:lnTo>
                      <a:pt x="371" y="149"/>
                    </a:lnTo>
                    <a:lnTo>
                      <a:pt x="409" y="111"/>
                    </a:lnTo>
                    <a:lnTo>
                      <a:pt x="426" y="61"/>
                    </a:lnTo>
                    <a:lnTo>
                      <a:pt x="430" y="61"/>
                    </a:lnTo>
                    <a:lnTo>
                      <a:pt x="430" y="45"/>
                    </a:lnTo>
                    <a:lnTo>
                      <a:pt x="430" y="38"/>
                    </a:lnTo>
                    <a:lnTo>
                      <a:pt x="404" y="5"/>
                    </a:lnTo>
                    <a:lnTo>
                      <a:pt x="430" y="5"/>
                    </a:lnTo>
                    <a:lnTo>
                      <a:pt x="430" y="0"/>
                    </a:lnTo>
                    <a:lnTo>
                      <a:pt x="456" y="12"/>
                    </a:lnTo>
                    <a:lnTo>
                      <a:pt x="463" y="5"/>
                    </a:lnTo>
                    <a:lnTo>
                      <a:pt x="468" y="21"/>
                    </a:lnTo>
                    <a:lnTo>
                      <a:pt x="494" y="38"/>
                    </a:lnTo>
                    <a:lnTo>
                      <a:pt x="501" y="66"/>
                    </a:lnTo>
                    <a:lnTo>
                      <a:pt x="548" y="94"/>
                    </a:lnTo>
                    <a:lnTo>
                      <a:pt x="553" y="111"/>
                    </a:lnTo>
                    <a:lnTo>
                      <a:pt x="553" y="116"/>
                    </a:lnTo>
                    <a:lnTo>
                      <a:pt x="570" y="132"/>
                    </a:lnTo>
                    <a:lnTo>
                      <a:pt x="574" y="123"/>
                    </a:lnTo>
                    <a:lnTo>
                      <a:pt x="574" y="123"/>
                    </a:lnTo>
                    <a:lnTo>
                      <a:pt x="586" y="149"/>
                    </a:lnTo>
                    <a:lnTo>
                      <a:pt x="574" y="165"/>
                    </a:lnTo>
                    <a:lnTo>
                      <a:pt x="591" y="165"/>
                    </a:lnTo>
                    <a:lnTo>
                      <a:pt x="591" y="172"/>
                    </a:lnTo>
                    <a:lnTo>
                      <a:pt x="619" y="165"/>
                    </a:lnTo>
                    <a:lnTo>
                      <a:pt x="641" y="172"/>
                    </a:lnTo>
                    <a:lnTo>
                      <a:pt x="662" y="165"/>
                    </a:lnTo>
                    <a:lnTo>
                      <a:pt x="678" y="149"/>
                    </a:lnTo>
                    <a:lnTo>
                      <a:pt x="678" y="156"/>
                    </a:lnTo>
                    <a:lnTo>
                      <a:pt x="700" y="165"/>
                    </a:lnTo>
                    <a:lnTo>
                      <a:pt x="737" y="156"/>
                    </a:lnTo>
                    <a:lnTo>
                      <a:pt x="754" y="172"/>
                    </a:lnTo>
                    <a:lnTo>
                      <a:pt x="780" y="172"/>
                    </a:lnTo>
                    <a:lnTo>
                      <a:pt x="789" y="194"/>
                    </a:lnTo>
                    <a:lnTo>
                      <a:pt x="747" y="267"/>
                    </a:lnTo>
                    <a:lnTo>
                      <a:pt x="763" y="276"/>
                    </a:lnTo>
                    <a:lnTo>
                      <a:pt x="780" y="267"/>
                    </a:lnTo>
                    <a:lnTo>
                      <a:pt x="801" y="300"/>
                    </a:lnTo>
                    <a:lnTo>
                      <a:pt x="789" y="305"/>
                    </a:lnTo>
                    <a:lnTo>
                      <a:pt x="785" y="305"/>
                    </a:lnTo>
                    <a:lnTo>
                      <a:pt x="780" y="288"/>
                    </a:lnTo>
                    <a:lnTo>
                      <a:pt x="747" y="288"/>
                    </a:lnTo>
                    <a:lnTo>
                      <a:pt x="730" y="305"/>
                    </a:lnTo>
                    <a:lnTo>
                      <a:pt x="716" y="305"/>
                    </a:lnTo>
                    <a:lnTo>
                      <a:pt x="662" y="321"/>
                    </a:lnTo>
                    <a:lnTo>
                      <a:pt x="603" y="359"/>
                    </a:lnTo>
                    <a:lnTo>
                      <a:pt x="591" y="399"/>
                    </a:lnTo>
                    <a:lnTo>
                      <a:pt x="570" y="432"/>
                    </a:lnTo>
                    <a:lnTo>
                      <a:pt x="574" y="454"/>
                    </a:lnTo>
                    <a:lnTo>
                      <a:pt x="537" y="487"/>
                    </a:lnTo>
                    <a:lnTo>
                      <a:pt x="532" y="503"/>
                    </a:lnTo>
                    <a:lnTo>
                      <a:pt x="537" y="522"/>
                    </a:lnTo>
                    <a:lnTo>
                      <a:pt x="523" y="527"/>
                    </a:lnTo>
                    <a:lnTo>
                      <a:pt x="515" y="539"/>
                    </a:lnTo>
                    <a:lnTo>
                      <a:pt x="537" y="555"/>
                    </a:lnTo>
                    <a:lnTo>
                      <a:pt x="532" y="565"/>
                    </a:lnTo>
                    <a:lnTo>
                      <a:pt x="548" y="576"/>
                    </a:lnTo>
                    <a:lnTo>
                      <a:pt x="553" y="598"/>
                    </a:lnTo>
                    <a:lnTo>
                      <a:pt x="591" y="638"/>
                    </a:lnTo>
                    <a:lnTo>
                      <a:pt x="591" y="654"/>
                    </a:lnTo>
                    <a:lnTo>
                      <a:pt x="570" y="671"/>
                    </a:lnTo>
                    <a:lnTo>
                      <a:pt x="629" y="676"/>
                    </a:lnTo>
                    <a:lnTo>
                      <a:pt x="645" y="720"/>
                    </a:lnTo>
                    <a:lnTo>
                      <a:pt x="709" y="720"/>
                    </a:lnTo>
                    <a:lnTo>
                      <a:pt x="763" y="676"/>
                    </a:lnTo>
                    <a:lnTo>
                      <a:pt x="754" y="704"/>
                    </a:lnTo>
                    <a:lnTo>
                      <a:pt x="754" y="787"/>
                    </a:lnTo>
                    <a:lnTo>
                      <a:pt x="763" y="782"/>
                    </a:lnTo>
                    <a:lnTo>
                      <a:pt x="780" y="798"/>
                    </a:lnTo>
                    <a:lnTo>
                      <a:pt x="801" y="782"/>
                    </a:lnTo>
                    <a:lnTo>
                      <a:pt x="834" y="787"/>
                    </a:lnTo>
                    <a:lnTo>
                      <a:pt x="834" y="787"/>
                    </a:lnTo>
                    <a:lnTo>
                      <a:pt x="834" y="78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11" name="Freeform 533">
                <a:extLst>
                  <a:ext uri="{FF2B5EF4-FFF2-40B4-BE49-F238E27FC236}">
                    <a16:creationId xmlns:a16="http://schemas.microsoft.com/office/drawing/2014/main" id="{140D683A-E791-4273-889D-83308ED72828}"/>
                  </a:ext>
                </a:extLst>
              </p:cNvPr>
              <p:cNvSpPr>
                <a:spLocks noEditPoints="1"/>
              </p:cNvSpPr>
              <p:nvPr/>
            </p:nvSpPr>
            <p:spPr bwMode="gray">
              <a:xfrm>
                <a:off x="4328257" y="3779743"/>
                <a:ext cx="169197" cy="69991"/>
              </a:xfrm>
              <a:custGeom>
                <a:avLst/>
                <a:gdLst>
                  <a:gd name="T0" fmla="*/ 4 w 411"/>
                  <a:gd name="T1" fmla="*/ 94 h 170"/>
                  <a:gd name="T2" fmla="*/ 16 w 411"/>
                  <a:gd name="T3" fmla="*/ 78 h 170"/>
                  <a:gd name="T4" fmla="*/ 21 w 411"/>
                  <a:gd name="T5" fmla="*/ 45 h 170"/>
                  <a:gd name="T6" fmla="*/ 4 w 411"/>
                  <a:gd name="T7" fmla="*/ 5 h 170"/>
                  <a:gd name="T8" fmla="*/ 33 w 411"/>
                  <a:gd name="T9" fmla="*/ 5 h 170"/>
                  <a:gd name="T10" fmla="*/ 42 w 411"/>
                  <a:gd name="T11" fmla="*/ 16 h 170"/>
                  <a:gd name="T12" fmla="*/ 87 w 411"/>
                  <a:gd name="T13" fmla="*/ 45 h 170"/>
                  <a:gd name="T14" fmla="*/ 108 w 411"/>
                  <a:gd name="T15" fmla="*/ 54 h 170"/>
                  <a:gd name="T16" fmla="*/ 205 w 411"/>
                  <a:gd name="T17" fmla="*/ 28 h 170"/>
                  <a:gd name="T18" fmla="*/ 286 w 411"/>
                  <a:gd name="T19" fmla="*/ 5 h 170"/>
                  <a:gd name="T20" fmla="*/ 314 w 411"/>
                  <a:gd name="T21" fmla="*/ 16 h 170"/>
                  <a:gd name="T22" fmla="*/ 385 w 411"/>
                  <a:gd name="T23" fmla="*/ 61 h 170"/>
                  <a:gd name="T24" fmla="*/ 394 w 411"/>
                  <a:gd name="T25" fmla="*/ 78 h 170"/>
                  <a:gd name="T26" fmla="*/ 411 w 411"/>
                  <a:gd name="T27" fmla="*/ 116 h 170"/>
                  <a:gd name="T28" fmla="*/ 401 w 411"/>
                  <a:gd name="T29" fmla="*/ 137 h 170"/>
                  <a:gd name="T30" fmla="*/ 368 w 411"/>
                  <a:gd name="T31" fmla="*/ 132 h 170"/>
                  <a:gd name="T32" fmla="*/ 368 w 411"/>
                  <a:gd name="T33" fmla="*/ 153 h 170"/>
                  <a:gd name="T34" fmla="*/ 340 w 411"/>
                  <a:gd name="T35" fmla="*/ 149 h 170"/>
                  <a:gd name="T36" fmla="*/ 340 w 411"/>
                  <a:gd name="T37" fmla="*/ 111 h 170"/>
                  <a:gd name="T38" fmla="*/ 347 w 411"/>
                  <a:gd name="T39" fmla="*/ 82 h 170"/>
                  <a:gd name="T40" fmla="*/ 368 w 411"/>
                  <a:gd name="T41" fmla="*/ 99 h 170"/>
                  <a:gd name="T42" fmla="*/ 347 w 411"/>
                  <a:gd name="T43" fmla="*/ 82 h 170"/>
                  <a:gd name="T44" fmla="*/ 314 w 411"/>
                  <a:gd name="T45" fmla="*/ 71 h 170"/>
                  <a:gd name="T46" fmla="*/ 286 w 411"/>
                  <a:gd name="T47" fmla="*/ 28 h 170"/>
                  <a:gd name="T48" fmla="*/ 248 w 411"/>
                  <a:gd name="T49" fmla="*/ 45 h 170"/>
                  <a:gd name="T50" fmla="*/ 231 w 411"/>
                  <a:gd name="T51" fmla="*/ 54 h 170"/>
                  <a:gd name="T52" fmla="*/ 217 w 411"/>
                  <a:gd name="T53" fmla="*/ 82 h 170"/>
                  <a:gd name="T54" fmla="*/ 184 w 411"/>
                  <a:gd name="T55" fmla="*/ 111 h 170"/>
                  <a:gd name="T56" fmla="*/ 193 w 411"/>
                  <a:gd name="T57" fmla="*/ 153 h 170"/>
                  <a:gd name="T58" fmla="*/ 146 w 411"/>
                  <a:gd name="T59" fmla="*/ 170 h 170"/>
                  <a:gd name="T60" fmla="*/ 139 w 411"/>
                  <a:gd name="T61" fmla="*/ 127 h 170"/>
                  <a:gd name="T62" fmla="*/ 130 w 411"/>
                  <a:gd name="T63" fmla="*/ 137 h 170"/>
                  <a:gd name="T64" fmla="*/ 92 w 411"/>
                  <a:gd name="T65" fmla="*/ 99 h 170"/>
                  <a:gd name="T66" fmla="*/ 54 w 411"/>
                  <a:gd name="T67" fmla="*/ 94 h 170"/>
                  <a:gd name="T68" fmla="*/ 16 w 411"/>
                  <a:gd name="T69" fmla="*/ 94 h 170"/>
                  <a:gd name="T70" fmla="*/ 4 w 411"/>
                  <a:gd name="T71" fmla="*/ 111 h 170"/>
                  <a:gd name="T72" fmla="*/ 54 w 411"/>
                  <a:gd name="T73" fmla="*/ 16 h 170"/>
                  <a:gd name="T74" fmla="*/ 54 w 411"/>
                  <a:gd name="T75" fmla="*/ 16 h 170"/>
                  <a:gd name="T76" fmla="*/ 54 w 411"/>
                  <a:gd name="T77" fmla="*/ 16 h 170"/>
                  <a:gd name="T78" fmla="*/ 293 w 411"/>
                  <a:gd name="T79" fmla="*/ 82 h 170"/>
                  <a:gd name="T80" fmla="*/ 293 w 411"/>
                  <a:gd name="T81" fmla="*/ 94 h 170"/>
                  <a:gd name="T82" fmla="*/ 293 w 411"/>
                  <a:gd name="T83" fmla="*/ 82 h 170"/>
                  <a:gd name="T84" fmla="*/ 293 w 411"/>
                  <a:gd name="T85" fmla="*/ 82 h 170"/>
                  <a:gd name="T86" fmla="*/ 92 w 411"/>
                  <a:gd name="T87" fmla="*/ 153 h 170"/>
                  <a:gd name="T88" fmla="*/ 87 w 411"/>
                  <a:gd name="T89" fmla="*/ 153 h 170"/>
                  <a:gd name="T90" fmla="*/ 92 w 411"/>
                  <a:gd name="T91" fmla="*/ 137 h 170"/>
                  <a:gd name="T92" fmla="*/ 92 w 411"/>
                  <a:gd name="T93" fmla="*/ 13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1" h="170">
                    <a:moveTo>
                      <a:pt x="4" y="111"/>
                    </a:moveTo>
                    <a:lnTo>
                      <a:pt x="4" y="94"/>
                    </a:lnTo>
                    <a:lnTo>
                      <a:pt x="0" y="94"/>
                    </a:lnTo>
                    <a:lnTo>
                      <a:pt x="16" y="78"/>
                    </a:lnTo>
                    <a:lnTo>
                      <a:pt x="4" y="61"/>
                    </a:lnTo>
                    <a:lnTo>
                      <a:pt x="21" y="45"/>
                    </a:lnTo>
                    <a:lnTo>
                      <a:pt x="4" y="38"/>
                    </a:lnTo>
                    <a:lnTo>
                      <a:pt x="4" y="5"/>
                    </a:lnTo>
                    <a:lnTo>
                      <a:pt x="16" y="0"/>
                    </a:lnTo>
                    <a:lnTo>
                      <a:pt x="33" y="5"/>
                    </a:lnTo>
                    <a:lnTo>
                      <a:pt x="33" y="0"/>
                    </a:lnTo>
                    <a:lnTo>
                      <a:pt x="42" y="16"/>
                    </a:lnTo>
                    <a:lnTo>
                      <a:pt x="54" y="45"/>
                    </a:lnTo>
                    <a:lnTo>
                      <a:pt x="87" y="45"/>
                    </a:lnTo>
                    <a:lnTo>
                      <a:pt x="87" y="28"/>
                    </a:lnTo>
                    <a:lnTo>
                      <a:pt x="108" y="54"/>
                    </a:lnTo>
                    <a:lnTo>
                      <a:pt x="130" y="61"/>
                    </a:lnTo>
                    <a:lnTo>
                      <a:pt x="205" y="28"/>
                    </a:lnTo>
                    <a:lnTo>
                      <a:pt x="238" y="0"/>
                    </a:lnTo>
                    <a:lnTo>
                      <a:pt x="286" y="5"/>
                    </a:lnTo>
                    <a:lnTo>
                      <a:pt x="276" y="16"/>
                    </a:lnTo>
                    <a:lnTo>
                      <a:pt x="314" y="16"/>
                    </a:lnTo>
                    <a:lnTo>
                      <a:pt x="356" y="21"/>
                    </a:lnTo>
                    <a:lnTo>
                      <a:pt x="385" y="61"/>
                    </a:lnTo>
                    <a:lnTo>
                      <a:pt x="401" y="71"/>
                    </a:lnTo>
                    <a:lnTo>
                      <a:pt x="394" y="78"/>
                    </a:lnTo>
                    <a:lnTo>
                      <a:pt x="411" y="111"/>
                    </a:lnTo>
                    <a:lnTo>
                      <a:pt x="411" y="116"/>
                    </a:lnTo>
                    <a:lnTo>
                      <a:pt x="401" y="132"/>
                    </a:lnTo>
                    <a:lnTo>
                      <a:pt x="401" y="137"/>
                    </a:lnTo>
                    <a:lnTo>
                      <a:pt x="385" y="149"/>
                    </a:lnTo>
                    <a:lnTo>
                      <a:pt x="368" y="132"/>
                    </a:lnTo>
                    <a:lnTo>
                      <a:pt x="368" y="149"/>
                    </a:lnTo>
                    <a:lnTo>
                      <a:pt x="368" y="153"/>
                    </a:lnTo>
                    <a:lnTo>
                      <a:pt x="364" y="170"/>
                    </a:lnTo>
                    <a:lnTo>
                      <a:pt x="340" y="149"/>
                    </a:lnTo>
                    <a:lnTo>
                      <a:pt x="323" y="111"/>
                    </a:lnTo>
                    <a:lnTo>
                      <a:pt x="340" y="111"/>
                    </a:lnTo>
                    <a:lnTo>
                      <a:pt x="330" y="94"/>
                    </a:lnTo>
                    <a:lnTo>
                      <a:pt x="347" y="82"/>
                    </a:lnTo>
                    <a:lnTo>
                      <a:pt x="356" y="94"/>
                    </a:lnTo>
                    <a:lnTo>
                      <a:pt x="368" y="99"/>
                    </a:lnTo>
                    <a:lnTo>
                      <a:pt x="356" y="94"/>
                    </a:lnTo>
                    <a:lnTo>
                      <a:pt x="347" y="82"/>
                    </a:lnTo>
                    <a:lnTo>
                      <a:pt x="323" y="94"/>
                    </a:lnTo>
                    <a:lnTo>
                      <a:pt x="314" y="71"/>
                    </a:lnTo>
                    <a:lnTo>
                      <a:pt x="276" y="45"/>
                    </a:lnTo>
                    <a:lnTo>
                      <a:pt x="286" y="28"/>
                    </a:lnTo>
                    <a:lnTo>
                      <a:pt x="276" y="38"/>
                    </a:lnTo>
                    <a:lnTo>
                      <a:pt x="248" y="45"/>
                    </a:lnTo>
                    <a:lnTo>
                      <a:pt x="248" y="45"/>
                    </a:lnTo>
                    <a:lnTo>
                      <a:pt x="231" y="54"/>
                    </a:lnTo>
                    <a:lnTo>
                      <a:pt x="231" y="71"/>
                    </a:lnTo>
                    <a:lnTo>
                      <a:pt x="217" y="82"/>
                    </a:lnTo>
                    <a:lnTo>
                      <a:pt x="179" y="99"/>
                    </a:lnTo>
                    <a:lnTo>
                      <a:pt x="184" y="111"/>
                    </a:lnTo>
                    <a:lnTo>
                      <a:pt x="217" y="149"/>
                    </a:lnTo>
                    <a:lnTo>
                      <a:pt x="193" y="153"/>
                    </a:lnTo>
                    <a:lnTo>
                      <a:pt x="184" y="170"/>
                    </a:lnTo>
                    <a:lnTo>
                      <a:pt x="146" y="170"/>
                    </a:lnTo>
                    <a:lnTo>
                      <a:pt x="151" y="165"/>
                    </a:lnTo>
                    <a:lnTo>
                      <a:pt x="139" y="127"/>
                    </a:lnTo>
                    <a:lnTo>
                      <a:pt x="130" y="127"/>
                    </a:lnTo>
                    <a:lnTo>
                      <a:pt x="130" y="137"/>
                    </a:lnTo>
                    <a:lnTo>
                      <a:pt x="108" y="137"/>
                    </a:lnTo>
                    <a:lnTo>
                      <a:pt x="92" y="99"/>
                    </a:lnTo>
                    <a:lnTo>
                      <a:pt x="59" y="99"/>
                    </a:lnTo>
                    <a:lnTo>
                      <a:pt x="54" y="94"/>
                    </a:lnTo>
                    <a:lnTo>
                      <a:pt x="21" y="94"/>
                    </a:lnTo>
                    <a:lnTo>
                      <a:pt x="16" y="94"/>
                    </a:lnTo>
                    <a:lnTo>
                      <a:pt x="4" y="111"/>
                    </a:lnTo>
                    <a:lnTo>
                      <a:pt x="4" y="111"/>
                    </a:lnTo>
                    <a:lnTo>
                      <a:pt x="4" y="111"/>
                    </a:lnTo>
                    <a:close/>
                    <a:moveTo>
                      <a:pt x="54" y="16"/>
                    </a:moveTo>
                    <a:lnTo>
                      <a:pt x="54" y="21"/>
                    </a:lnTo>
                    <a:lnTo>
                      <a:pt x="54" y="16"/>
                    </a:lnTo>
                    <a:lnTo>
                      <a:pt x="54" y="16"/>
                    </a:lnTo>
                    <a:lnTo>
                      <a:pt x="54" y="16"/>
                    </a:lnTo>
                    <a:lnTo>
                      <a:pt x="54" y="16"/>
                    </a:lnTo>
                    <a:close/>
                    <a:moveTo>
                      <a:pt x="293" y="82"/>
                    </a:moveTo>
                    <a:lnTo>
                      <a:pt x="293" y="94"/>
                    </a:lnTo>
                    <a:lnTo>
                      <a:pt x="293" y="94"/>
                    </a:lnTo>
                    <a:lnTo>
                      <a:pt x="286" y="82"/>
                    </a:lnTo>
                    <a:lnTo>
                      <a:pt x="293" y="82"/>
                    </a:lnTo>
                    <a:lnTo>
                      <a:pt x="293" y="82"/>
                    </a:lnTo>
                    <a:lnTo>
                      <a:pt x="293" y="82"/>
                    </a:lnTo>
                    <a:close/>
                    <a:moveTo>
                      <a:pt x="92" y="137"/>
                    </a:moveTo>
                    <a:lnTo>
                      <a:pt x="92" y="153"/>
                    </a:lnTo>
                    <a:lnTo>
                      <a:pt x="97" y="165"/>
                    </a:lnTo>
                    <a:lnTo>
                      <a:pt x="87" y="153"/>
                    </a:lnTo>
                    <a:lnTo>
                      <a:pt x="87" y="149"/>
                    </a:lnTo>
                    <a:lnTo>
                      <a:pt x="92" y="137"/>
                    </a:lnTo>
                    <a:lnTo>
                      <a:pt x="92" y="137"/>
                    </a:lnTo>
                    <a:lnTo>
                      <a:pt x="92" y="13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12" name="Freeform 547">
                <a:extLst>
                  <a:ext uri="{FF2B5EF4-FFF2-40B4-BE49-F238E27FC236}">
                    <a16:creationId xmlns:a16="http://schemas.microsoft.com/office/drawing/2014/main" id="{928968BB-48C5-429B-91D8-78E4519239E6}"/>
                  </a:ext>
                </a:extLst>
              </p:cNvPr>
              <p:cNvSpPr>
                <a:spLocks/>
              </p:cNvSpPr>
              <p:nvPr/>
            </p:nvSpPr>
            <p:spPr bwMode="gray">
              <a:xfrm>
                <a:off x="4912417" y="3544240"/>
                <a:ext cx="2058" cy="6999"/>
              </a:xfrm>
              <a:custGeom>
                <a:avLst/>
                <a:gdLst>
                  <a:gd name="T0" fmla="*/ 5 w 5"/>
                  <a:gd name="T1" fmla="*/ 17 h 17"/>
                  <a:gd name="T2" fmla="*/ 0 w 5"/>
                  <a:gd name="T3" fmla="*/ 0 h 17"/>
                  <a:gd name="T4" fmla="*/ 5 w 5"/>
                  <a:gd name="T5" fmla="*/ 0 h 17"/>
                  <a:gd name="T6" fmla="*/ 5 w 5"/>
                  <a:gd name="T7" fmla="*/ 17 h 17"/>
                  <a:gd name="T8" fmla="*/ 5 w 5"/>
                  <a:gd name="T9" fmla="*/ 17 h 17"/>
                  <a:gd name="T10" fmla="*/ 5 w 5"/>
                  <a:gd name="T11" fmla="*/ 17 h 17"/>
                </a:gdLst>
                <a:ahLst/>
                <a:cxnLst>
                  <a:cxn ang="0">
                    <a:pos x="T0" y="T1"/>
                  </a:cxn>
                  <a:cxn ang="0">
                    <a:pos x="T2" y="T3"/>
                  </a:cxn>
                  <a:cxn ang="0">
                    <a:pos x="T4" y="T5"/>
                  </a:cxn>
                  <a:cxn ang="0">
                    <a:pos x="T6" y="T7"/>
                  </a:cxn>
                  <a:cxn ang="0">
                    <a:pos x="T8" y="T9"/>
                  </a:cxn>
                  <a:cxn ang="0">
                    <a:pos x="T10" y="T11"/>
                  </a:cxn>
                </a:cxnLst>
                <a:rect l="0" t="0" r="r" b="b"/>
                <a:pathLst>
                  <a:path w="5" h="17">
                    <a:moveTo>
                      <a:pt x="5" y="17"/>
                    </a:moveTo>
                    <a:lnTo>
                      <a:pt x="0" y="0"/>
                    </a:lnTo>
                    <a:lnTo>
                      <a:pt x="5" y="0"/>
                    </a:lnTo>
                    <a:lnTo>
                      <a:pt x="5" y="17"/>
                    </a:lnTo>
                    <a:lnTo>
                      <a:pt x="5" y="17"/>
                    </a:lnTo>
                    <a:lnTo>
                      <a:pt x="5"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13" name="Freeform 559">
                <a:extLst>
                  <a:ext uri="{FF2B5EF4-FFF2-40B4-BE49-F238E27FC236}">
                    <a16:creationId xmlns:a16="http://schemas.microsoft.com/office/drawing/2014/main" id="{8B3C25F6-B225-4FE2-BE06-D0A993AD39B3}"/>
                  </a:ext>
                </a:extLst>
              </p:cNvPr>
              <p:cNvSpPr>
                <a:spLocks/>
              </p:cNvSpPr>
              <p:nvPr/>
            </p:nvSpPr>
            <p:spPr bwMode="gray">
              <a:xfrm>
                <a:off x="4964288" y="3645523"/>
                <a:ext cx="6587" cy="8646"/>
              </a:xfrm>
              <a:custGeom>
                <a:avLst/>
                <a:gdLst>
                  <a:gd name="T0" fmla="*/ 4 w 16"/>
                  <a:gd name="T1" fmla="*/ 21 h 21"/>
                  <a:gd name="T2" fmla="*/ 0 w 16"/>
                  <a:gd name="T3" fmla="*/ 16 h 21"/>
                  <a:gd name="T4" fmla="*/ 4 w 16"/>
                  <a:gd name="T5" fmla="*/ 0 h 21"/>
                  <a:gd name="T6" fmla="*/ 16 w 16"/>
                  <a:gd name="T7" fmla="*/ 9 h 21"/>
                  <a:gd name="T8" fmla="*/ 4 w 16"/>
                  <a:gd name="T9" fmla="*/ 21 h 21"/>
                  <a:gd name="T10" fmla="*/ 4 w 16"/>
                  <a:gd name="T11" fmla="*/ 21 h 21"/>
                  <a:gd name="T12" fmla="*/ 4 w 16"/>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6" h="21">
                    <a:moveTo>
                      <a:pt x="4" y="21"/>
                    </a:moveTo>
                    <a:lnTo>
                      <a:pt x="0" y="16"/>
                    </a:lnTo>
                    <a:lnTo>
                      <a:pt x="4" y="0"/>
                    </a:lnTo>
                    <a:lnTo>
                      <a:pt x="16" y="9"/>
                    </a:lnTo>
                    <a:lnTo>
                      <a:pt x="4" y="21"/>
                    </a:lnTo>
                    <a:lnTo>
                      <a:pt x="4" y="21"/>
                    </a:lnTo>
                    <a:lnTo>
                      <a:pt x="4" y="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14" name="Freeform 569">
                <a:extLst>
                  <a:ext uri="{FF2B5EF4-FFF2-40B4-BE49-F238E27FC236}">
                    <a16:creationId xmlns:a16="http://schemas.microsoft.com/office/drawing/2014/main" id="{3A857AAB-1DDD-4209-80ED-D29FD946A2EB}"/>
                  </a:ext>
                </a:extLst>
              </p:cNvPr>
              <p:cNvSpPr>
                <a:spLocks noEditPoints="1"/>
              </p:cNvSpPr>
              <p:nvPr/>
            </p:nvSpPr>
            <p:spPr bwMode="gray">
              <a:xfrm>
                <a:off x="4646066" y="3403434"/>
                <a:ext cx="10704" cy="6588"/>
              </a:xfrm>
              <a:custGeom>
                <a:avLst/>
                <a:gdLst>
                  <a:gd name="T0" fmla="*/ 14 w 26"/>
                  <a:gd name="T1" fmla="*/ 11 h 16"/>
                  <a:gd name="T2" fmla="*/ 0 w 26"/>
                  <a:gd name="T3" fmla="*/ 0 h 16"/>
                  <a:gd name="T4" fmla="*/ 5 w 26"/>
                  <a:gd name="T5" fmla="*/ 0 h 16"/>
                  <a:gd name="T6" fmla="*/ 14 w 26"/>
                  <a:gd name="T7" fmla="*/ 11 h 16"/>
                  <a:gd name="T8" fmla="*/ 14 w 26"/>
                  <a:gd name="T9" fmla="*/ 11 h 16"/>
                  <a:gd name="T10" fmla="*/ 14 w 26"/>
                  <a:gd name="T11" fmla="*/ 11 h 16"/>
                  <a:gd name="T12" fmla="*/ 26 w 26"/>
                  <a:gd name="T13" fmla="*/ 16 h 16"/>
                  <a:gd name="T14" fmla="*/ 14 w 26"/>
                  <a:gd name="T15" fmla="*/ 16 h 16"/>
                  <a:gd name="T16" fmla="*/ 14 w 26"/>
                  <a:gd name="T17" fmla="*/ 11 h 16"/>
                  <a:gd name="T18" fmla="*/ 21 w 26"/>
                  <a:gd name="T19" fmla="*/ 11 h 16"/>
                  <a:gd name="T20" fmla="*/ 26 w 26"/>
                  <a:gd name="T21" fmla="*/ 16 h 16"/>
                  <a:gd name="T22" fmla="*/ 26 w 26"/>
                  <a:gd name="T23" fmla="*/ 16 h 16"/>
                  <a:gd name="T24" fmla="*/ 26 w 26"/>
                  <a:gd name="T2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6">
                    <a:moveTo>
                      <a:pt x="14" y="11"/>
                    </a:moveTo>
                    <a:lnTo>
                      <a:pt x="0" y="0"/>
                    </a:lnTo>
                    <a:lnTo>
                      <a:pt x="5" y="0"/>
                    </a:lnTo>
                    <a:lnTo>
                      <a:pt x="14" y="11"/>
                    </a:lnTo>
                    <a:lnTo>
                      <a:pt x="14" y="11"/>
                    </a:lnTo>
                    <a:lnTo>
                      <a:pt x="14" y="11"/>
                    </a:lnTo>
                    <a:close/>
                    <a:moveTo>
                      <a:pt x="26" y="16"/>
                    </a:moveTo>
                    <a:lnTo>
                      <a:pt x="14" y="16"/>
                    </a:lnTo>
                    <a:lnTo>
                      <a:pt x="14" y="11"/>
                    </a:lnTo>
                    <a:lnTo>
                      <a:pt x="21" y="11"/>
                    </a:lnTo>
                    <a:lnTo>
                      <a:pt x="26" y="16"/>
                    </a:lnTo>
                    <a:lnTo>
                      <a:pt x="26" y="16"/>
                    </a:lnTo>
                    <a:lnTo>
                      <a:pt x="26" y="1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15" name="Freeform 584">
                <a:extLst>
                  <a:ext uri="{FF2B5EF4-FFF2-40B4-BE49-F238E27FC236}">
                    <a16:creationId xmlns:a16="http://schemas.microsoft.com/office/drawing/2014/main" id="{5A7E2EFE-67B4-45D9-B9B3-5CB30FA01D51}"/>
                  </a:ext>
                </a:extLst>
              </p:cNvPr>
              <p:cNvSpPr>
                <a:spLocks/>
              </p:cNvSpPr>
              <p:nvPr/>
            </p:nvSpPr>
            <p:spPr bwMode="gray">
              <a:xfrm>
                <a:off x="5040035" y="4987718"/>
                <a:ext cx="153554" cy="159334"/>
              </a:xfrm>
              <a:custGeom>
                <a:avLst/>
                <a:gdLst>
                  <a:gd name="T0" fmla="*/ 16 w 373"/>
                  <a:gd name="T1" fmla="*/ 177 h 387"/>
                  <a:gd name="T2" fmla="*/ 21 w 373"/>
                  <a:gd name="T3" fmla="*/ 172 h 387"/>
                  <a:gd name="T4" fmla="*/ 16 w 373"/>
                  <a:gd name="T5" fmla="*/ 139 h 387"/>
                  <a:gd name="T6" fmla="*/ 21 w 373"/>
                  <a:gd name="T7" fmla="*/ 122 h 387"/>
                  <a:gd name="T8" fmla="*/ 33 w 373"/>
                  <a:gd name="T9" fmla="*/ 111 h 387"/>
                  <a:gd name="T10" fmla="*/ 21 w 373"/>
                  <a:gd name="T11" fmla="*/ 99 h 387"/>
                  <a:gd name="T12" fmla="*/ 33 w 373"/>
                  <a:gd name="T13" fmla="*/ 82 h 387"/>
                  <a:gd name="T14" fmla="*/ 49 w 373"/>
                  <a:gd name="T15" fmla="*/ 56 h 387"/>
                  <a:gd name="T16" fmla="*/ 38 w 373"/>
                  <a:gd name="T17" fmla="*/ 28 h 387"/>
                  <a:gd name="T18" fmla="*/ 54 w 373"/>
                  <a:gd name="T19" fmla="*/ 11 h 387"/>
                  <a:gd name="T20" fmla="*/ 54 w 373"/>
                  <a:gd name="T21" fmla="*/ 7 h 387"/>
                  <a:gd name="T22" fmla="*/ 59 w 373"/>
                  <a:gd name="T23" fmla="*/ 7 h 387"/>
                  <a:gd name="T24" fmla="*/ 87 w 373"/>
                  <a:gd name="T25" fmla="*/ 11 h 387"/>
                  <a:gd name="T26" fmla="*/ 92 w 373"/>
                  <a:gd name="T27" fmla="*/ 0 h 387"/>
                  <a:gd name="T28" fmla="*/ 113 w 373"/>
                  <a:gd name="T29" fmla="*/ 0 h 387"/>
                  <a:gd name="T30" fmla="*/ 168 w 373"/>
                  <a:gd name="T31" fmla="*/ 56 h 387"/>
                  <a:gd name="T32" fmla="*/ 168 w 373"/>
                  <a:gd name="T33" fmla="*/ 66 h 387"/>
                  <a:gd name="T34" fmla="*/ 177 w 373"/>
                  <a:gd name="T35" fmla="*/ 66 h 387"/>
                  <a:gd name="T36" fmla="*/ 201 w 373"/>
                  <a:gd name="T37" fmla="*/ 56 h 387"/>
                  <a:gd name="T38" fmla="*/ 222 w 373"/>
                  <a:gd name="T39" fmla="*/ 82 h 387"/>
                  <a:gd name="T40" fmla="*/ 269 w 373"/>
                  <a:gd name="T41" fmla="*/ 99 h 387"/>
                  <a:gd name="T42" fmla="*/ 286 w 373"/>
                  <a:gd name="T43" fmla="*/ 132 h 387"/>
                  <a:gd name="T44" fmla="*/ 319 w 373"/>
                  <a:gd name="T45" fmla="*/ 139 h 387"/>
                  <a:gd name="T46" fmla="*/ 340 w 373"/>
                  <a:gd name="T47" fmla="*/ 177 h 387"/>
                  <a:gd name="T48" fmla="*/ 373 w 373"/>
                  <a:gd name="T49" fmla="*/ 205 h 387"/>
                  <a:gd name="T50" fmla="*/ 340 w 373"/>
                  <a:gd name="T51" fmla="*/ 233 h 387"/>
                  <a:gd name="T52" fmla="*/ 340 w 373"/>
                  <a:gd name="T53" fmla="*/ 283 h 387"/>
                  <a:gd name="T54" fmla="*/ 357 w 373"/>
                  <a:gd name="T55" fmla="*/ 283 h 387"/>
                  <a:gd name="T56" fmla="*/ 340 w 373"/>
                  <a:gd name="T57" fmla="*/ 316 h 387"/>
                  <a:gd name="T58" fmla="*/ 302 w 373"/>
                  <a:gd name="T59" fmla="*/ 359 h 387"/>
                  <a:gd name="T60" fmla="*/ 286 w 373"/>
                  <a:gd name="T61" fmla="*/ 354 h 387"/>
                  <a:gd name="T62" fmla="*/ 286 w 373"/>
                  <a:gd name="T63" fmla="*/ 359 h 387"/>
                  <a:gd name="T64" fmla="*/ 248 w 373"/>
                  <a:gd name="T65" fmla="*/ 387 h 387"/>
                  <a:gd name="T66" fmla="*/ 194 w 373"/>
                  <a:gd name="T67" fmla="*/ 370 h 387"/>
                  <a:gd name="T68" fmla="*/ 146 w 373"/>
                  <a:gd name="T69" fmla="*/ 375 h 387"/>
                  <a:gd name="T70" fmla="*/ 139 w 373"/>
                  <a:gd name="T71" fmla="*/ 375 h 387"/>
                  <a:gd name="T72" fmla="*/ 146 w 373"/>
                  <a:gd name="T73" fmla="*/ 370 h 387"/>
                  <a:gd name="T74" fmla="*/ 108 w 373"/>
                  <a:gd name="T75" fmla="*/ 359 h 387"/>
                  <a:gd name="T76" fmla="*/ 92 w 373"/>
                  <a:gd name="T77" fmla="*/ 342 h 387"/>
                  <a:gd name="T78" fmla="*/ 38 w 373"/>
                  <a:gd name="T79" fmla="*/ 342 h 387"/>
                  <a:gd name="T80" fmla="*/ 0 w 373"/>
                  <a:gd name="T81" fmla="*/ 300 h 387"/>
                  <a:gd name="T82" fmla="*/ 0 w 373"/>
                  <a:gd name="T83" fmla="*/ 267 h 387"/>
                  <a:gd name="T84" fmla="*/ 0 w 373"/>
                  <a:gd name="T85" fmla="*/ 233 h 387"/>
                  <a:gd name="T86" fmla="*/ 16 w 373"/>
                  <a:gd name="T87" fmla="*/ 233 h 387"/>
                  <a:gd name="T88" fmla="*/ 21 w 373"/>
                  <a:gd name="T89" fmla="*/ 222 h 387"/>
                  <a:gd name="T90" fmla="*/ 16 w 373"/>
                  <a:gd name="T91" fmla="*/ 177 h 387"/>
                  <a:gd name="T92" fmla="*/ 16 w 373"/>
                  <a:gd name="T93" fmla="*/ 177 h 387"/>
                  <a:gd name="T94" fmla="*/ 16 w 373"/>
                  <a:gd name="T95" fmla="*/ 17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87">
                    <a:moveTo>
                      <a:pt x="16" y="177"/>
                    </a:moveTo>
                    <a:lnTo>
                      <a:pt x="21" y="172"/>
                    </a:lnTo>
                    <a:lnTo>
                      <a:pt x="16" y="139"/>
                    </a:lnTo>
                    <a:lnTo>
                      <a:pt x="21" y="122"/>
                    </a:lnTo>
                    <a:lnTo>
                      <a:pt x="33" y="111"/>
                    </a:lnTo>
                    <a:lnTo>
                      <a:pt x="21" y="99"/>
                    </a:lnTo>
                    <a:lnTo>
                      <a:pt x="33" y="82"/>
                    </a:lnTo>
                    <a:lnTo>
                      <a:pt x="49" y="56"/>
                    </a:lnTo>
                    <a:lnTo>
                      <a:pt x="38" y="28"/>
                    </a:lnTo>
                    <a:lnTo>
                      <a:pt x="54" y="11"/>
                    </a:lnTo>
                    <a:lnTo>
                      <a:pt x="54" y="7"/>
                    </a:lnTo>
                    <a:lnTo>
                      <a:pt x="59" y="7"/>
                    </a:lnTo>
                    <a:lnTo>
                      <a:pt x="87" y="11"/>
                    </a:lnTo>
                    <a:lnTo>
                      <a:pt x="92" y="0"/>
                    </a:lnTo>
                    <a:lnTo>
                      <a:pt x="113" y="0"/>
                    </a:lnTo>
                    <a:lnTo>
                      <a:pt x="168" y="56"/>
                    </a:lnTo>
                    <a:lnTo>
                      <a:pt x="168" y="66"/>
                    </a:lnTo>
                    <a:lnTo>
                      <a:pt x="177" y="66"/>
                    </a:lnTo>
                    <a:lnTo>
                      <a:pt x="201" y="56"/>
                    </a:lnTo>
                    <a:lnTo>
                      <a:pt x="222" y="82"/>
                    </a:lnTo>
                    <a:lnTo>
                      <a:pt x="269" y="99"/>
                    </a:lnTo>
                    <a:lnTo>
                      <a:pt x="286" y="132"/>
                    </a:lnTo>
                    <a:lnTo>
                      <a:pt x="319" y="139"/>
                    </a:lnTo>
                    <a:lnTo>
                      <a:pt x="340" y="177"/>
                    </a:lnTo>
                    <a:lnTo>
                      <a:pt x="373" y="205"/>
                    </a:lnTo>
                    <a:lnTo>
                      <a:pt x="340" y="233"/>
                    </a:lnTo>
                    <a:lnTo>
                      <a:pt x="340" y="283"/>
                    </a:lnTo>
                    <a:lnTo>
                      <a:pt x="357" y="283"/>
                    </a:lnTo>
                    <a:lnTo>
                      <a:pt x="340" y="316"/>
                    </a:lnTo>
                    <a:lnTo>
                      <a:pt x="302" y="359"/>
                    </a:lnTo>
                    <a:lnTo>
                      <a:pt x="286" y="354"/>
                    </a:lnTo>
                    <a:lnTo>
                      <a:pt x="286" y="359"/>
                    </a:lnTo>
                    <a:lnTo>
                      <a:pt x="248" y="387"/>
                    </a:lnTo>
                    <a:lnTo>
                      <a:pt x="194" y="370"/>
                    </a:lnTo>
                    <a:lnTo>
                      <a:pt x="146" y="375"/>
                    </a:lnTo>
                    <a:lnTo>
                      <a:pt x="139" y="375"/>
                    </a:lnTo>
                    <a:lnTo>
                      <a:pt x="146" y="370"/>
                    </a:lnTo>
                    <a:lnTo>
                      <a:pt x="108" y="359"/>
                    </a:lnTo>
                    <a:lnTo>
                      <a:pt x="92" y="342"/>
                    </a:lnTo>
                    <a:lnTo>
                      <a:pt x="38" y="342"/>
                    </a:lnTo>
                    <a:lnTo>
                      <a:pt x="0" y="300"/>
                    </a:lnTo>
                    <a:lnTo>
                      <a:pt x="0" y="267"/>
                    </a:lnTo>
                    <a:lnTo>
                      <a:pt x="0" y="233"/>
                    </a:lnTo>
                    <a:lnTo>
                      <a:pt x="16" y="233"/>
                    </a:lnTo>
                    <a:lnTo>
                      <a:pt x="21" y="222"/>
                    </a:lnTo>
                    <a:lnTo>
                      <a:pt x="16" y="177"/>
                    </a:lnTo>
                    <a:lnTo>
                      <a:pt x="16" y="177"/>
                    </a:lnTo>
                    <a:lnTo>
                      <a:pt x="16" y="17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16" name="Freeform 586">
                <a:extLst>
                  <a:ext uri="{FF2B5EF4-FFF2-40B4-BE49-F238E27FC236}">
                    <a16:creationId xmlns:a16="http://schemas.microsoft.com/office/drawing/2014/main" id="{C655E311-3D5F-4402-BADA-41FB70DCE87B}"/>
                  </a:ext>
                </a:extLst>
              </p:cNvPr>
              <p:cNvSpPr>
                <a:spLocks/>
              </p:cNvSpPr>
              <p:nvPr/>
            </p:nvSpPr>
            <p:spPr bwMode="gray">
              <a:xfrm>
                <a:off x="4957289" y="3666933"/>
                <a:ext cx="824" cy="8646"/>
              </a:xfrm>
              <a:custGeom>
                <a:avLst/>
                <a:gdLst>
                  <a:gd name="T0" fmla="*/ 2 w 2"/>
                  <a:gd name="T1" fmla="*/ 21 h 21"/>
                  <a:gd name="T2" fmla="*/ 0 w 2"/>
                  <a:gd name="T3" fmla="*/ 14 h 21"/>
                  <a:gd name="T4" fmla="*/ 2 w 2"/>
                  <a:gd name="T5" fmla="*/ 0 h 21"/>
                  <a:gd name="T6" fmla="*/ 2 w 2"/>
                  <a:gd name="T7" fmla="*/ 5 h 21"/>
                  <a:gd name="T8" fmla="*/ 2 w 2"/>
                  <a:gd name="T9" fmla="*/ 21 h 21"/>
                  <a:gd name="T10" fmla="*/ 2 w 2"/>
                  <a:gd name="T11" fmla="*/ 21 h 21"/>
                  <a:gd name="T12" fmla="*/ 2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2" y="21"/>
                    </a:moveTo>
                    <a:lnTo>
                      <a:pt x="0" y="14"/>
                    </a:lnTo>
                    <a:lnTo>
                      <a:pt x="2" y="0"/>
                    </a:lnTo>
                    <a:lnTo>
                      <a:pt x="2" y="5"/>
                    </a:lnTo>
                    <a:lnTo>
                      <a:pt x="2" y="21"/>
                    </a:lnTo>
                    <a:lnTo>
                      <a:pt x="2" y="21"/>
                    </a:lnTo>
                    <a:lnTo>
                      <a:pt x="2" y="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17" name="Freeform 587">
                <a:extLst>
                  <a:ext uri="{FF2B5EF4-FFF2-40B4-BE49-F238E27FC236}">
                    <a16:creationId xmlns:a16="http://schemas.microsoft.com/office/drawing/2014/main" id="{5DDD82C5-6142-4A20-8821-BD14159DA125}"/>
                  </a:ext>
                </a:extLst>
              </p:cNvPr>
              <p:cNvSpPr>
                <a:spLocks noEditPoints="1"/>
              </p:cNvSpPr>
              <p:nvPr/>
            </p:nvSpPr>
            <p:spPr bwMode="gray">
              <a:xfrm>
                <a:off x="4609016" y="3699870"/>
                <a:ext cx="388205" cy="348312"/>
              </a:xfrm>
              <a:custGeom>
                <a:avLst/>
                <a:gdLst>
                  <a:gd name="T0" fmla="*/ 900 w 943"/>
                  <a:gd name="T1" fmla="*/ 324 h 846"/>
                  <a:gd name="T2" fmla="*/ 905 w 943"/>
                  <a:gd name="T3" fmla="*/ 366 h 846"/>
                  <a:gd name="T4" fmla="*/ 851 w 943"/>
                  <a:gd name="T5" fmla="*/ 439 h 846"/>
                  <a:gd name="T6" fmla="*/ 879 w 943"/>
                  <a:gd name="T7" fmla="*/ 550 h 846"/>
                  <a:gd name="T8" fmla="*/ 813 w 943"/>
                  <a:gd name="T9" fmla="*/ 584 h 846"/>
                  <a:gd name="T10" fmla="*/ 744 w 943"/>
                  <a:gd name="T11" fmla="*/ 600 h 846"/>
                  <a:gd name="T12" fmla="*/ 669 w 943"/>
                  <a:gd name="T13" fmla="*/ 607 h 846"/>
                  <a:gd name="T14" fmla="*/ 610 w 943"/>
                  <a:gd name="T15" fmla="*/ 600 h 846"/>
                  <a:gd name="T16" fmla="*/ 702 w 943"/>
                  <a:gd name="T17" fmla="*/ 718 h 846"/>
                  <a:gd name="T18" fmla="*/ 631 w 943"/>
                  <a:gd name="T19" fmla="*/ 780 h 846"/>
                  <a:gd name="T20" fmla="*/ 560 w 943"/>
                  <a:gd name="T21" fmla="*/ 824 h 846"/>
                  <a:gd name="T22" fmla="*/ 527 w 943"/>
                  <a:gd name="T23" fmla="*/ 824 h 846"/>
                  <a:gd name="T24" fmla="*/ 430 w 943"/>
                  <a:gd name="T25" fmla="*/ 718 h 846"/>
                  <a:gd name="T26" fmla="*/ 400 w 943"/>
                  <a:gd name="T27" fmla="*/ 612 h 846"/>
                  <a:gd name="T28" fmla="*/ 414 w 943"/>
                  <a:gd name="T29" fmla="*/ 456 h 846"/>
                  <a:gd name="T30" fmla="*/ 296 w 943"/>
                  <a:gd name="T31" fmla="*/ 439 h 846"/>
                  <a:gd name="T32" fmla="*/ 215 w 943"/>
                  <a:gd name="T33" fmla="*/ 385 h 846"/>
                  <a:gd name="T34" fmla="*/ 81 w 943"/>
                  <a:gd name="T35" fmla="*/ 362 h 846"/>
                  <a:gd name="T36" fmla="*/ 43 w 943"/>
                  <a:gd name="T37" fmla="*/ 267 h 846"/>
                  <a:gd name="T38" fmla="*/ 22 w 943"/>
                  <a:gd name="T39" fmla="*/ 184 h 846"/>
                  <a:gd name="T40" fmla="*/ 144 w 943"/>
                  <a:gd name="T41" fmla="*/ 28 h 846"/>
                  <a:gd name="T42" fmla="*/ 81 w 943"/>
                  <a:gd name="T43" fmla="*/ 177 h 846"/>
                  <a:gd name="T44" fmla="*/ 161 w 943"/>
                  <a:gd name="T45" fmla="*/ 213 h 846"/>
                  <a:gd name="T46" fmla="*/ 199 w 943"/>
                  <a:gd name="T47" fmla="*/ 73 h 846"/>
                  <a:gd name="T48" fmla="*/ 241 w 943"/>
                  <a:gd name="T49" fmla="*/ 45 h 846"/>
                  <a:gd name="T50" fmla="*/ 241 w 943"/>
                  <a:gd name="T51" fmla="*/ 12 h 846"/>
                  <a:gd name="T52" fmla="*/ 362 w 943"/>
                  <a:gd name="T53" fmla="*/ 99 h 846"/>
                  <a:gd name="T54" fmla="*/ 506 w 943"/>
                  <a:gd name="T55" fmla="*/ 123 h 846"/>
                  <a:gd name="T56" fmla="*/ 636 w 943"/>
                  <a:gd name="T57" fmla="*/ 128 h 846"/>
                  <a:gd name="T58" fmla="*/ 685 w 943"/>
                  <a:gd name="T59" fmla="*/ 123 h 846"/>
                  <a:gd name="T60" fmla="*/ 770 w 943"/>
                  <a:gd name="T61" fmla="*/ 128 h 846"/>
                  <a:gd name="T62" fmla="*/ 723 w 943"/>
                  <a:gd name="T63" fmla="*/ 139 h 846"/>
                  <a:gd name="T64" fmla="*/ 754 w 943"/>
                  <a:gd name="T65" fmla="*/ 156 h 846"/>
                  <a:gd name="T66" fmla="*/ 770 w 943"/>
                  <a:gd name="T67" fmla="*/ 184 h 846"/>
                  <a:gd name="T68" fmla="*/ 792 w 943"/>
                  <a:gd name="T69" fmla="*/ 177 h 846"/>
                  <a:gd name="T70" fmla="*/ 808 w 943"/>
                  <a:gd name="T71" fmla="*/ 177 h 846"/>
                  <a:gd name="T72" fmla="*/ 879 w 943"/>
                  <a:gd name="T73" fmla="*/ 213 h 846"/>
                  <a:gd name="T74" fmla="*/ 851 w 943"/>
                  <a:gd name="T75" fmla="*/ 267 h 846"/>
                  <a:gd name="T76" fmla="*/ 863 w 943"/>
                  <a:gd name="T77" fmla="*/ 279 h 846"/>
                  <a:gd name="T78" fmla="*/ 938 w 943"/>
                  <a:gd name="T79" fmla="*/ 272 h 846"/>
                  <a:gd name="T80" fmla="*/ 506 w 943"/>
                  <a:gd name="T81" fmla="*/ 33 h 846"/>
                  <a:gd name="T82" fmla="*/ 648 w 943"/>
                  <a:gd name="T83" fmla="*/ 99 h 846"/>
                  <a:gd name="T84" fmla="*/ 664 w 943"/>
                  <a:gd name="T85" fmla="*/ 83 h 846"/>
                  <a:gd name="T86" fmla="*/ 565 w 943"/>
                  <a:gd name="T87" fmla="*/ 99 h 846"/>
                  <a:gd name="T88" fmla="*/ 565 w 943"/>
                  <a:gd name="T89" fmla="*/ 99 h 846"/>
                  <a:gd name="T90" fmla="*/ 879 w 943"/>
                  <a:gd name="T91" fmla="*/ 234 h 846"/>
                  <a:gd name="T92" fmla="*/ 867 w 943"/>
                  <a:gd name="T93" fmla="*/ 250 h 846"/>
                  <a:gd name="T94" fmla="*/ 879 w 943"/>
                  <a:gd name="T95" fmla="*/ 250 h 846"/>
                  <a:gd name="T96" fmla="*/ 867 w 943"/>
                  <a:gd name="T97" fmla="*/ 267 h 846"/>
                  <a:gd name="T98" fmla="*/ 867 w 943"/>
                  <a:gd name="T99" fmla="*/ 267 h 846"/>
                  <a:gd name="T100" fmla="*/ 863 w 943"/>
                  <a:gd name="T101" fmla="*/ 267 h 846"/>
                  <a:gd name="T102" fmla="*/ 851 w 943"/>
                  <a:gd name="T103" fmla="*/ 272 h 846"/>
                  <a:gd name="T104" fmla="*/ 867 w 943"/>
                  <a:gd name="T105" fmla="*/ 267 h 846"/>
                  <a:gd name="T106" fmla="*/ 825 w 943"/>
                  <a:gd name="T107" fmla="*/ 272 h 846"/>
                  <a:gd name="T108" fmla="*/ 846 w 943"/>
                  <a:gd name="T109" fmla="*/ 272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43" h="846">
                    <a:moveTo>
                      <a:pt x="938" y="272"/>
                    </a:moveTo>
                    <a:lnTo>
                      <a:pt x="943" y="295"/>
                    </a:lnTo>
                    <a:lnTo>
                      <a:pt x="938" y="295"/>
                    </a:lnTo>
                    <a:lnTo>
                      <a:pt x="933" y="307"/>
                    </a:lnTo>
                    <a:lnTo>
                      <a:pt x="900" y="324"/>
                    </a:lnTo>
                    <a:lnTo>
                      <a:pt x="884" y="345"/>
                    </a:lnTo>
                    <a:lnTo>
                      <a:pt x="889" y="362"/>
                    </a:lnTo>
                    <a:lnTo>
                      <a:pt x="889" y="366"/>
                    </a:lnTo>
                    <a:lnTo>
                      <a:pt x="900" y="378"/>
                    </a:lnTo>
                    <a:lnTo>
                      <a:pt x="905" y="366"/>
                    </a:lnTo>
                    <a:lnTo>
                      <a:pt x="917" y="378"/>
                    </a:lnTo>
                    <a:lnTo>
                      <a:pt x="884" y="402"/>
                    </a:lnTo>
                    <a:lnTo>
                      <a:pt x="851" y="402"/>
                    </a:lnTo>
                    <a:lnTo>
                      <a:pt x="851" y="418"/>
                    </a:lnTo>
                    <a:lnTo>
                      <a:pt x="851" y="439"/>
                    </a:lnTo>
                    <a:lnTo>
                      <a:pt x="837" y="463"/>
                    </a:lnTo>
                    <a:lnTo>
                      <a:pt x="884" y="513"/>
                    </a:lnTo>
                    <a:lnTo>
                      <a:pt x="889" y="517"/>
                    </a:lnTo>
                    <a:lnTo>
                      <a:pt x="889" y="534"/>
                    </a:lnTo>
                    <a:lnTo>
                      <a:pt x="879" y="550"/>
                    </a:lnTo>
                    <a:lnTo>
                      <a:pt x="867" y="558"/>
                    </a:lnTo>
                    <a:lnTo>
                      <a:pt x="846" y="567"/>
                    </a:lnTo>
                    <a:lnTo>
                      <a:pt x="830" y="574"/>
                    </a:lnTo>
                    <a:lnTo>
                      <a:pt x="825" y="584"/>
                    </a:lnTo>
                    <a:lnTo>
                      <a:pt x="813" y="584"/>
                    </a:lnTo>
                    <a:lnTo>
                      <a:pt x="808" y="591"/>
                    </a:lnTo>
                    <a:lnTo>
                      <a:pt x="782" y="591"/>
                    </a:lnTo>
                    <a:lnTo>
                      <a:pt x="761" y="591"/>
                    </a:lnTo>
                    <a:lnTo>
                      <a:pt x="754" y="600"/>
                    </a:lnTo>
                    <a:lnTo>
                      <a:pt x="744" y="600"/>
                    </a:lnTo>
                    <a:lnTo>
                      <a:pt x="744" y="624"/>
                    </a:lnTo>
                    <a:lnTo>
                      <a:pt x="728" y="628"/>
                    </a:lnTo>
                    <a:lnTo>
                      <a:pt x="702" y="607"/>
                    </a:lnTo>
                    <a:lnTo>
                      <a:pt x="690" y="612"/>
                    </a:lnTo>
                    <a:lnTo>
                      <a:pt x="669" y="607"/>
                    </a:lnTo>
                    <a:lnTo>
                      <a:pt x="652" y="607"/>
                    </a:lnTo>
                    <a:lnTo>
                      <a:pt x="648" y="591"/>
                    </a:lnTo>
                    <a:lnTo>
                      <a:pt x="615" y="591"/>
                    </a:lnTo>
                    <a:lnTo>
                      <a:pt x="598" y="584"/>
                    </a:lnTo>
                    <a:lnTo>
                      <a:pt x="610" y="600"/>
                    </a:lnTo>
                    <a:lnTo>
                      <a:pt x="636" y="628"/>
                    </a:lnTo>
                    <a:lnTo>
                      <a:pt x="636" y="662"/>
                    </a:lnTo>
                    <a:lnTo>
                      <a:pt x="652" y="695"/>
                    </a:lnTo>
                    <a:lnTo>
                      <a:pt x="652" y="711"/>
                    </a:lnTo>
                    <a:lnTo>
                      <a:pt x="702" y="718"/>
                    </a:lnTo>
                    <a:lnTo>
                      <a:pt x="702" y="735"/>
                    </a:lnTo>
                    <a:lnTo>
                      <a:pt x="652" y="751"/>
                    </a:lnTo>
                    <a:lnTo>
                      <a:pt x="648" y="773"/>
                    </a:lnTo>
                    <a:lnTo>
                      <a:pt x="636" y="780"/>
                    </a:lnTo>
                    <a:lnTo>
                      <a:pt x="631" y="780"/>
                    </a:lnTo>
                    <a:lnTo>
                      <a:pt x="610" y="796"/>
                    </a:lnTo>
                    <a:lnTo>
                      <a:pt x="598" y="796"/>
                    </a:lnTo>
                    <a:lnTo>
                      <a:pt x="577" y="806"/>
                    </a:lnTo>
                    <a:lnTo>
                      <a:pt x="565" y="824"/>
                    </a:lnTo>
                    <a:lnTo>
                      <a:pt x="560" y="824"/>
                    </a:lnTo>
                    <a:lnTo>
                      <a:pt x="544" y="846"/>
                    </a:lnTo>
                    <a:lnTo>
                      <a:pt x="544" y="841"/>
                    </a:lnTo>
                    <a:lnTo>
                      <a:pt x="544" y="824"/>
                    </a:lnTo>
                    <a:lnTo>
                      <a:pt x="544" y="824"/>
                    </a:lnTo>
                    <a:lnTo>
                      <a:pt x="527" y="824"/>
                    </a:lnTo>
                    <a:lnTo>
                      <a:pt x="506" y="841"/>
                    </a:lnTo>
                    <a:lnTo>
                      <a:pt x="489" y="841"/>
                    </a:lnTo>
                    <a:lnTo>
                      <a:pt x="452" y="806"/>
                    </a:lnTo>
                    <a:lnTo>
                      <a:pt x="430" y="723"/>
                    </a:lnTo>
                    <a:lnTo>
                      <a:pt x="430" y="718"/>
                    </a:lnTo>
                    <a:lnTo>
                      <a:pt x="400" y="685"/>
                    </a:lnTo>
                    <a:lnTo>
                      <a:pt x="383" y="685"/>
                    </a:lnTo>
                    <a:lnTo>
                      <a:pt x="421" y="645"/>
                    </a:lnTo>
                    <a:lnTo>
                      <a:pt x="404" y="624"/>
                    </a:lnTo>
                    <a:lnTo>
                      <a:pt x="400" y="612"/>
                    </a:lnTo>
                    <a:lnTo>
                      <a:pt x="383" y="558"/>
                    </a:lnTo>
                    <a:lnTo>
                      <a:pt x="383" y="501"/>
                    </a:lnTo>
                    <a:lnTo>
                      <a:pt x="400" y="489"/>
                    </a:lnTo>
                    <a:lnTo>
                      <a:pt x="400" y="473"/>
                    </a:lnTo>
                    <a:lnTo>
                      <a:pt x="414" y="456"/>
                    </a:lnTo>
                    <a:lnTo>
                      <a:pt x="414" y="439"/>
                    </a:lnTo>
                    <a:lnTo>
                      <a:pt x="383" y="435"/>
                    </a:lnTo>
                    <a:lnTo>
                      <a:pt x="378" y="439"/>
                    </a:lnTo>
                    <a:lnTo>
                      <a:pt x="329" y="444"/>
                    </a:lnTo>
                    <a:lnTo>
                      <a:pt x="296" y="439"/>
                    </a:lnTo>
                    <a:lnTo>
                      <a:pt x="291" y="444"/>
                    </a:lnTo>
                    <a:lnTo>
                      <a:pt x="279" y="444"/>
                    </a:lnTo>
                    <a:lnTo>
                      <a:pt x="274" y="444"/>
                    </a:lnTo>
                    <a:lnTo>
                      <a:pt x="227" y="385"/>
                    </a:lnTo>
                    <a:lnTo>
                      <a:pt x="215" y="385"/>
                    </a:lnTo>
                    <a:lnTo>
                      <a:pt x="182" y="378"/>
                    </a:lnTo>
                    <a:lnTo>
                      <a:pt x="152" y="385"/>
                    </a:lnTo>
                    <a:lnTo>
                      <a:pt x="119" y="378"/>
                    </a:lnTo>
                    <a:lnTo>
                      <a:pt x="90" y="385"/>
                    </a:lnTo>
                    <a:lnTo>
                      <a:pt x="81" y="362"/>
                    </a:lnTo>
                    <a:lnTo>
                      <a:pt x="59" y="345"/>
                    </a:lnTo>
                    <a:lnTo>
                      <a:pt x="59" y="312"/>
                    </a:lnTo>
                    <a:lnTo>
                      <a:pt x="64" y="307"/>
                    </a:lnTo>
                    <a:lnTo>
                      <a:pt x="64" y="279"/>
                    </a:lnTo>
                    <a:lnTo>
                      <a:pt x="43" y="267"/>
                    </a:lnTo>
                    <a:lnTo>
                      <a:pt x="38" y="234"/>
                    </a:lnTo>
                    <a:lnTo>
                      <a:pt x="26" y="222"/>
                    </a:lnTo>
                    <a:lnTo>
                      <a:pt x="22" y="217"/>
                    </a:lnTo>
                    <a:lnTo>
                      <a:pt x="0" y="222"/>
                    </a:lnTo>
                    <a:lnTo>
                      <a:pt x="22" y="184"/>
                    </a:lnTo>
                    <a:lnTo>
                      <a:pt x="26" y="128"/>
                    </a:lnTo>
                    <a:lnTo>
                      <a:pt x="59" y="83"/>
                    </a:lnTo>
                    <a:lnTo>
                      <a:pt x="81" y="73"/>
                    </a:lnTo>
                    <a:lnTo>
                      <a:pt x="97" y="45"/>
                    </a:lnTo>
                    <a:lnTo>
                      <a:pt x="144" y="28"/>
                    </a:lnTo>
                    <a:lnTo>
                      <a:pt x="135" y="33"/>
                    </a:lnTo>
                    <a:lnTo>
                      <a:pt x="97" y="50"/>
                    </a:lnTo>
                    <a:lnTo>
                      <a:pt x="119" y="111"/>
                    </a:lnTo>
                    <a:lnTo>
                      <a:pt x="119" y="128"/>
                    </a:lnTo>
                    <a:lnTo>
                      <a:pt x="81" y="177"/>
                    </a:lnTo>
                    <a:lnTo>
                      <a:pt x="114" y="213"/>
                    </a:lnTo>
                    <a:lnTo>
                      <a:pt x="114" y="222"/>
                    </a:lnTo>
                    <a:lnTo>
                      <a:pt x="119" y="234"/>
                    </a:lnTo>
                    <a:lnTo>
                      <a:pt x="144" y="222"/>
                    </a:lnTo>
                    <a:lnTo>
                      <a:pt x="161" y="213"/>
                    </a:lnTo>
                    <a:lnTo>
                      <a:pt x="161" y="177"/>
                    </a:lnTo>
                    <a:lnTo>
                      <a:pt x="128" y="123"/>
                    </a:lnTo>
                    <a:lnTo>
                      <a:pt x="128" y="106"/>
                    </a:lnTo>
                    <a:lnTo>
                      <a:pt x="128" y="99"/>
                    </a:lnTo>
                    <a:lnTo>
                      <a:pt x="199" y="73"/>
                    </a:lnTo>
                    <a:lnTo>
                      <a:pt x="227" y="57"/>
                    </a:lnTo>
                    <a:lnTo>
                      <a:pt x="227" y="50"/>
                    </a:lnTo>
                    <a:lnTo>
                      <a:pt x="241" y="57"/>
                    </a:lnTo>
                    <a:lnTo>
                      <a:pt x="253" y="57"/>
                    </a:lnTo>
                    <a:lnTo>
                      <a:pt x="241" y="45"/>
                    </a:lnTo>
                    <a:lnTo>
                      <a:pt x="215" y="45"/>
                    </a:lnTo>
                    <a:lnTo>
                      <a:pt x="215" y="28"/>
                    </a:lnTo>
                    <a:lnTo>
                      <a:pt x="220" y="12"/>
                    </a:lnTo>
                    <a:lnTo>
                      <a:pt x="237" y="0"/>
                    </a:lnTo>
                    <a:lnTo>
                      <a:pt x="241" y="12"/>
                    </a:lnTo>
                    <a:lnTo>
                      <a:pt x="258" y="57"/>
                    </a:lnTo>
                    <a:lnTo>
                      <a:pt x="279" y="50"/>
                    </a:lnTo>
                    <a:lnTo>
                      <a:pt x="312" y="57"/>
                    </a:lnTo>
                    <a:lnTo>
                      <a:pt x="345" y="83"/>
                    </a:lnTo>
                    <a:lnTo>
                      <a:pt x="362" y="99"/>
                    </a:lnTo>
                    <a:lnTo>
                      <a:pt x="350" y="106"/>
                    </a:lnTo>
                    <a:lnTo>
                      <a:pt x="350" y="123"/>
                    </a:lnTo>
                    <a:lnTo>
                      <a:pt x="367" y="128"/>
                    </a:lnTo>
                    <a:lnTo>
                      <a:pt x="501" y="123"/>
                    </a:lnTo>
                    <a:lnTo>
                      <a:pt x="506" y="123"/>
                    </a:lnTo>
                    <a:lnTo>
                      <a:pt x="506" y="128"/>
                    </a:lnTo>
                    <a:lnTo>
                      <a:pt x="527" y="144"/>
                    </a:lnTo>
                    <a:lnTo>
                      <a:pt x="577" y="161"/>
                    </a:lnTo>
                    <a:lnTo>
                      <a:pt x="598" y="161"/>
                    </a:lnTo>
                    <a:lnTo>
                      <a:pt x="636" y="128"/>
                    </a:lnTo>
                    <a:lnTo>
                      <a:pt x="674" y="128"/>
                    </a:lnTo>
                    <a:lnTo>
                      <a:pt x="652" y="123"/>
                    </a:lnTo>
                    <a:lnTo>
                      <a:pt x="636" y="128"/>
                    </a:lnTo>
                    <a:lnTo>
                      <a:pt x="636" y="111"/>
                    </a:lnTo>
                    <a:lnTo>
                      <a:pt x="685" y="123"/>
                    </a:lnTo>
                    <a:lnTo>
                      <a:pt x="716" y="111"/>
                    </a:lnTo>
                    <a:lnTo>
                      <a:pt x="799" y="111"/>
                    </a:lnTo>
                    <a:lnTo>
                      <a:pt x="799" y="111"/>
                    </a:lnTo>
                    <a:lnTo>
                      <a:pt x="778" y="123"/>
                    </a:lnTo>
                    <a:lnTo>
                      <a:pt x="770" y="128"/>
                    </a:lnTo>
                    <a:lnTo>
                      <a:pt x="728" y="128"/>
                    </a:lnTo>
                    <a:lnTo>
                      <a:pt x="723" y="128"/>
                    </a:lnTo>
                    <a:lnTo>
                      <a:pt x="740" y="128"/>
                    </a:lnTo>
                    <a:lnTo>
                      <a:pt x="740" y="139"/>
                    </a:lnTo>
                    <a:lnTo>
                      <a:pt x="723" y="139"/>
                    </a:lnTo>
                    <a:lnTo>
                      <a:pt x="723" y="144"/>
                    </a:lnTo>
                    <a:lnTo>
                      <a:pt x="728" y="144"/>
                    </a:lnTo>
                    <a:lnTo>
                      <a:pt x="728" y="139"/>
                    </a:lnTo>
                    <a:lnTo>
                      <a:pt x="740" y="139"/>
                    </a:lnTo>
                    <a:lnTo>
                      <a:pt x="754" y="156"/>
                    </a:lnTo>
                    <a:lnTo>
                      <a:pt x="723" y="161"/>
                    </a:lnTo>
                    <a:lnTo>
                      <a:pt x="740" y="161"/>
                    </a:lnTo>
                    <a:lnTo>
                      <a:pt x="754" y="161"/>
                    </a:lnTo>
                    <a:lnTo>
                      <a:pt x="754" y="144"/>
                    </a:lnTo>
                    <a:lnTo>
                      <a:pt x="770" y="184"/>
                    </a:lnTo>
                    <a:lnTo>
                      <a:pt x="778" y="168"/>
                    </a:lnTo>
                    <a:lnTo>
                      <a:pt x="778" y="168"/>
                    </a:lnTo>
                    <a:lnTo>
                      <a:pt x="778" y="194"/>
                    </a:lnTo>
                    <a:lnTo>
                      <a:pt x="782" y="177"/>
                    </a:lnTo>
                    <a:lnTo>
                      <a:pt x="792" y="177"/>
                    </a:lnTo>
                    <a:lnTo>
                      <a:pt x="778" y="168"/>
                    </a:lnTo>
                    <a:lnTo>
                      <a:pt x="782" y="161"/>
                    </a:lnTo>
                    <a:lnTo>
                      <a:pt x="799" y="168"/>
                    </a:lnTo>
                    <a:lnTo>
                      <a:pt x="813" y="194"/>
                    </a:lnTo>
                    <a:lnTo>
                      <a:pt x="808" y="177"/>
                    </a:lnTo>
                    <a:lnTo>
                      <a:pt x="825" y="177"/>
                    </a:lnTo>
                    <a:lnTo>
                      <a:pt x="825" y="168"/>
                    </a:lnTo>
                    <a:lnTo>
                      <a:pt x="846" y="194"/>
                    </a:lnTo>
                    <a:lnTo>
                      <a:pt x="863" y="194"/>
                    </a:lnTo>
                    <a:lnTo>
                      <a:pt x="879" y="213"/>
                    </a:lnTo>
                    <a:lnTo>
                      <a:pt x="879" y="217"/>
                    </a:lnTo>
                    <a:lnTo>
                      <a:pt x="863" y="234"/>
                    </a:lnTo>
                    <a:lnTo>
                      <a:pt x="863" y="234"/>
                    </a:lnTo>
                    <a:lnTo>
                      <a:pt x="867" y="222"/>
                    </a:lnTo>
                    <a:lnTo>
                      <a:pt x="851" y="267"/>
                    </a:lnTo>
                    <a:lnTo>
                      <a:pt x="825" y="267"/>
                    </a:lnTo>
                    <a:lnTo>
                      <a:pt x="825" y="272"/>
                    </a:lnTo>
                    <a:lnTo>
                      <a:pt x="837" y="279"/>
                    </a:lnTo>
                    <a:lnTo>
                      <a:pt x="863" y="272"/>
                    </a:lnTo>
                    <a:lnTo>
                      <a:pt x="863" y="279"/>
                    </a:lnTo>
                    <a:lnTo>
                      <a:pt x="867" y="267"/>
                    </a:lnTo>
                    <a:lnTo>
                      <a:pt x="900" y="272"/>
                    </a:lnTo>
                    <a:lnTo>
                      <a:pt x="905" y="267"/>
                    </a:lnTo>
                    <a:lnTo>
                      <a:pt x="917" y="267"/>
                    </a:lnTo>
                    <a:lnTo>
                      <a:pt x="938" y="272"/>
                    </a:lnTo>
                    <a:lnTo>
                      <a:pt x="938" y="272"/>
                    </a:lnTo>
                    <a:lnTo>
                      <a:pt x="938" y="272"/>
                    </a:lnTo>
                    <a:close/>
                    <a:moveTo>
                      <a:pt x="506" y="33"/>
                    </a:moveTo>
                    <a:lnTo>
                      <a:pt x="501" y="33"/>
                    </a:lnTo>
                    <a:lnTo>
                      <a:pt x="506" y="33"/>
                    </a:lnTo>
                    <a:lnTo>
                      <a:pt x="506" y="33"/>
                    </a:lnTo>
                    <a:lnTo>
                      <a:pt x="506" y="33"/>
                    </a:lnTo>
                    <a:lnTo>
                      <a:pt x="506" y="33"/>
                    </a:lnTo>
                    <a:close/>
                    <a:moveTo>
                      <a:pt x="652" y="106"/>
                    </a:moveTo>
                    <a:lnTo>
                      <a:pt x="648" y="99"/>
                    </a:lnTo>
                    <a:lnTo>
                      <a:pt x="631" y="99"/>
                    </a:lnTo>
                    <a:lnTo>
                      <a:pt x="631" y="90"/>
                    </a:lnTo>
                    <a:lnTo>
                      <a:pt x="636" y="83"/>
                    </a:lnTo>
                    <a:lnTo>
                      <a:pt x="652" y="90"/>
                    </a:lnTo>
                    <a:lnTo>
                      <a:pt x="664" y="83"/>
                    </a:lnTo>
                    <a:lnTo>
                      <a:pt x="669" y="90"/>
                    </a:lnTo>
                    <a:lnTo>
                      <a:pt x="652" y="106"/>
                    </a:lnTo>
                    <a:lnTo>
                      <a:pt x="652" y="106"/>
                    </a:lnTo>
                    <a:lnTo>
                      <a:pt x="652" y="106"/>
                    </a:lnTo>
                    <a:close/>
                    <a:moveTo>
                      <a:pt x="565" y="99"/>
                    </a:moveTo>
                    <a:lnTo>
                      <a:pt x="556" y="99"/>
                    </a:lnTo>
                    <a:lnTo>
                      <a:pt x="565" y="99"/>
                    </a:lnTo>
                    <a:lnTo>
                      <a:pt x="565" y="99"/>
                    </a:lnTo>
                    <a:lnTo>
                      <a:pt x="565" y="99"/>
                    </a:lnTo>
                    <a:lnTo>
                      <a:pt x="565" y="99"/>
                    </a:lnTo>
                    <a:close/>
                    <a:moveTo>
                      <a:pt x="879" y="234"/>
                    </a:moveTo>
                    <a:lnTo>
                      <a:pt x="867" y="234"/>
                    </a:lnTo>
                    <a:lnTo>
                      <a:pt x="879" y="222"/>
                    </a:lnTo>
                    <a:lnTo>
                      <a:pt x="879" y="234"/>
                    </a:lnTo>
                    <a:lnTo>
                      <a:pt x="879" y="234"/>
                    </a:lnTo>
                    <a:lnTo>
                      <a:pt x="879" y="234"/>
                    </a:lnTo>
                    <a:close/>
                    <a:moveTo>
                      <a:pt x="867" y="250"/>
                    </a:moveTo>
                    <a:lnTo>
                      <a:pt x="863" y="250"/>
                    </a:lnTo>
                    <a:lnTo>
                      <a:pt x="879" y="234"/>
                    </a:lnTo>
                    <a:lnTo>
                      <a:pt x="867" y="250"/>
                    </a:lnTo>
                    <a:lnTo>
                      <a:pt x="867" y="250"/>
                    </a:lnTo>
                    <a:lnTo>
                      <a:pt x="867" y="250"/>
                    </a:lnTo>
                    <a:close/>
                    <a:moveTo>
                      <a:pt x="851" y="255"/>
                    </a:moveTo>
                    <a:lnTo>
                      <a:pt x="863" y="250"/>
                    </a:lnTo>
                    <a:lnTo>
                      <a:pt x="879" y="250"/>
                    </a:lnTo>
                    <a:lnTo>
                      <a:pt x="867" y="255"/>
                    </a:lnTo>
                    <a:lnTo>
                      <a:pt x="851" y="255"/>
                    </a:lnTo>
                    <a:lnTo>
                      <a:pt x="851" y="255"/>
                    </a:lnTo>
                    <a:lnTo>
                      <a:pt x="851" y="255"/>
                    </a:lnTo>
                    <a:close/>
                    <a:moveTo>
                      <a:pt x="867" y="267"/>
                    </a:moveTo>
                    <a:lnTo>
                      <a:pt x="867" y="267"/>
                    </a:lnTo>
                    <a:lnTo>
                      <a:pt x="879" y="255"/>
                    </a:lnTo>
                    <a:lnTo>
                      <a:pt x="867" y="267"/>
                    </a:lnTo>
                    <a:lnTo>
                      <a:pt x="867" y="267"/>
                    </a:lnTo>
                    <a:lnTo>
                      <a:pt x="867" y="267"/>
                    </a:lnTo>
                    <a:close/>
                    <a:moveTo>
                      <a:pt x="863" y="267"/>
                    </a:moveTo>
                    <a:lnTo>
                      <a:pt x="851" y="267"/>
                    </a:lnTo>
                    <a:lnTo>
                      <a:pt x="867" y="255"/>
                    </a:lnTo>
                    <a:lnTo>
                      <a:pt x="863" y="267"/>
                    </a:lnTo>
                    <a:lnTo>
                      <a:pt x="863" y="267"/>
                    </a:lnTo>
                    <a:lnTo>
                      <a:pt x="863" y="267"/>
                    </a:lnTo>
                    <a:close/>
                    <a:moveTo>
                      <a:pt x="851" y="272"/>
                    </a:moveTo>
                    <a:lnTo>
                      <a:pt x="851" y="267"/>
                    </a:lnTo>
                    <a:lnTo>
                      <a:pt x="863" y="267"/>
                    </a:lnTo>
                    <a:lnTo>
                      <a:pt x="851" y="272"/>
                    </a:lnTo>
                    <a:lnTo>
                      <a:pt x="851" y="272"/>
                    </a:lnTo>
                    <a:lnTo>
                      <a:pt x="851" y="272"/>
                    </a:lnTo>
                    <a:close/>
                    <a:moveTo>
                      <a:pt x="851" y="272"/>
                    </a:moveTo>
                    <a:lnTo>
                      <a:pt x="846" y="272"/>
                    </a:lnTo>
                    <a:lnTo>
                      <a:pt x="867" y="267"/>
                    </a:lnTo>
                    <a:lnTo>
                      <a:pt x="851" y="272"/>
                    </a:lnTo>
                    <a:lnTo>
                      <a:pt x="851" y="272"/>
                    </a:lnTo>
                    <a:lnTo>
                      <a:pt x="851" y="272"/>
                    </a:lnTo>
                    <a:close/>
                    <a:moveTo>
                      <a:pt x="846" y="272"/>
                    </a:moveTo>
                    <a:lnTo>
                      <a:pt x="825" y="272"/>
                    </a:lnTo>
                    <a:lnTo>
                      <a:pt x="846" y="272"/>
                    </a:lnTo>
                    <a:lnTo>
                      <a:pt x="851" y="272"/>
                    </a:lnTo>
                    <a:lnTo>
                      <a:pt x="846" y="272"/>
                    </a:lnTo>
                    <a:lnTo>
                      <a:pt x="846" y="272"/>
                    </a:lnTo>
                    <a:lnTo>
                      <a:pt x="846" y="27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18" name="Freeform 589">
                <a:extLst>
                  <a:ext uri="{FF2B5EF4-FFF2-40B4-BE49-F238E27FC236}">
                    <a16:creationId xmlns:a16="http://schemas.microsoft.com/office/drawing/2014/main" id="{4FD91613-B628-4A3E-BA40-A8B92360BF20}"/>
                  </a:ext>
                </a:extLst>
              </p:cNvPr>
              <p:cNvSpPr>
                <a:spLocks noEditPoints="1"/>
              </p:cNvSpPr>
              <p:nvPr/>
            </p:nvSpPr>
            <p:spPr bwMode="gray">
              <a:xfrm>
                <a:off x="4852313" y="3514186"/>
                <a:ext cx="8645" cy="21409"/>
              </a:xfrm>
              <a:custGeom>
                <a:avLst/>
                <a:gdLst>
                  <a:gd name="T0" fmla="*/ 16 w 21"/>
                  <a:gd name="T1" fmla="*/ 0 h 52"/>
                  <a:gd name="T2" fmla="*/ 7 w 21"/>
                  <a:gd name="T3" fmla="*/ 0 h 52"/>
                  <a:gd name="T4" fmla="*/ 16 w 21"/>
                  <a:gd name="T5" fmla="*/ 0 h 52"/>
                  <a:gd name="T6" fmla="*/ 16 w 21"/>
                  <a:gd name="T7" fmla="*/ 0 h 52"/>
                  <a:gd name="T8" fmla="*/ 16 w 21"/>
                  <a:gd name="T9" fmla="*/ 0 h 52"/>
                  <a:gd name="T10" fmla="*/ 16 w 21"/>
                  <a:gd name="T11" fmla="*/ 0 h 52"/>
                  <a:gd name="T12" fmla="*/ 0 w 21"/>
                  <a:gd name="T13" fmla="*/ 52 h 52"/>
                  <a:gd name="T14" fmla="*/ 0 w 21"/>
                  <a:gd name="T15" fmla="*/ 40 h 52"/>
                  <a:gd name="T16" fmla="*/ 21 w 21"/>
                  <a:gd name="T17" fmla="*/ 52 h 52"/>
                  <a:gd name="T18" fmla="*/ 0 w 21"/>
                  <a:gd name="T19" fmla="*/ 52 h 52"/>
                  <a:gd name="T20" fmla="*/ 0 w 21"/>
                  <a:gd name="T21" fmla="*/ 52 h 52"/>
                  <a:gd name="T22" fmla="*/ 0 w 21"/>
                  <a:gd name="T23"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2">
                    <a:moveTo>
                      <a:pt x="16" y="0"/>
                    </a:moveTo>
                    <a:lnTo>
                      <a:pt x="7" y="0"/>
                    </a:lnTo>
                    <a:lnTo>
                      <a:pt x="16" y="0"/>
                    </a:lnTo>
                    <a:lnTo>
                      <a:pt x="16" y="0"/>
                    </a:lnTo>
                    <a:lnTo>
                      <a:pt x="16" y="0"/>
                    </a:lnTo>
                    <a:lnTo>
                      <a:pt x="16" y="0"/>
                    </a:lnTo>
                    <a:close/>
                    <a:moveTo>
                      <a:pt x="0" y="52"/>
                    </a:moveTo>
                    <a:lnTo>
                      <a:pt x="0" y="40"/>
                    </a:lnTo>
                    <a:lnTo>
                      <a:pt x="21" y="52"/>
                    </a:lnTo>
                    <a:lnTo>
                      <a:pt x="0" y="52"/>
                    </a:lnTo>
                    <a:lnTo>
                      <a:pt x="0" y="52"/>
                    </a:lnTo>
                    <a:lnTo>
                      <a:pt x="0" y="5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319" name="Gruppieren 8318">
              <a:extLst>
                <a:ext uri="{FF2B5EF4-FFF2-40B4-BE49-F238E27FC236}">
                  <a16:creationId xmlns:a16="http://schemas.microsoft.com/office/drawing/2014/main" id="{7C625989-7BBD-43DB-875F-54C58143AACD}"/>
                </a:ext>
              </a:extLst>
            </p:cNvPr>
            <p:cNvGrpSpPr/>
            <p:nvPr/>
          </p:nvGrpSpPr>
          <p:grpSpPr bwMode="gray">
            <a:xfrm>
              <a:off x="5694161" y="3109711"/>
              <a:ext cx="3093288" cy="2989470"/>
              <a:chOff x="5995933" y="2821679"/>
              <a:chExt cx="3093288" cy="2989470"/>
            </a:xfrm>
            <a:grpFill/>
          </p:grpSpPr>
          <p:sp>
            <p:nvSpPr>
              <p:cNvPr id="8320" name="Freeform 380">
                <a:extLst>
                  <a:ext uri="{FF2B5EF4-FFF2-40B4-BE49-F238E27FC236}">
                    <a16:creationId xmlns:a16="http://schemas.microsoft.com/office/drawing/2014/main" id="{AC992748-4B2B-4B9F-9B24-A190CF12FFD9}"/>
                  </a:ext>
                </a:extLst>
              </p:cNvPr>
              <p:cNvSpPr>
                <a:spLocks/>
              </p:cNvSpPr>
              <p:nvPr/>
            </p:nvSpPr>
            <p:spPr bwMode="gray">
              <a:xfrm>
                <a:off x="6476353" y="2912257"/>
                <a:ext cx="594864" cy="582578"/>
              </a:xfrm>
              <a:custGeom>
                <a:avLst/>
                <a:gdLst>
                  <a:gd name="T0" fmla="*/ 399 w 1445"/>
                  <a:gd name="T1" fmla="*/ 427 h 1415"/>
                  <a:gd name="T2" fmla="*/ 446 w 1445"/>
                  <a:gd name="T3" fmla="*/ 399 h 1415"/>
                  <a:gd name="T4" fmla="*/ 522 w 1445"/>
                  <a:gd name="T5" fmla="*/ 399 h 1415"/>
                  <a:gd name="T6" fmla="*/ 522 w 1445"/>
                  <a:gd name="T7" fmla="*/ 387 h 1415"/>
                  <a:gd name="T8" fmla="*/ 508 w 1445"/>
                  <a:gd name="T9" fmla="*/ 354 h 1415"/>
                  <a:gd name="T10" fmla="*/ 508 w 1445"/>
                  <a:gd name="T11" fmla="*/ 333 h 1415"/>
                  <a:gd name="T12" fmla="*/ 491 w 1445"/>
                  <a:gd name="T13" fmla="*/ 283 h 1415"/>
                  <a:gd name="T14" fmla="*/ 491 w 1445"/>
                  <a:gd name="T15" fmla="*/ 243 h 1415"/>
                  <a:gd name="T16" fmla="*/ 491 w 1445"/>
                  <a:gd name="T17" fmla="*/ 210 h 1415"/>
                  <a:gd name="T18" fmla="*/ 484 w 1445"/>
                  <a:gd name="T19" fmla="*/ 193 h 1415"/>
                  <a:gd name="T20" fmla="*/ 484 w 1445"/>
                  <a:gd name="T21" fmla="*/ 165 h 1415"/>
                  <a:gd name="T22" fmla="*/ 538 w 1445"/>
                  <a:gd name="T23" fmla="*/ 116 h 1415"/>
                  <a:gd name="T24" fmla="*/ 560 w 1445"/>
                  <a:gd name="T25" fmla="*/ 116 h 1415"/>
                  <a:gd name="T26" fmla="*/ 597 w 1445"/>
                  <a:gd name="T27" fmla="*/ 111 h 1415"/>
                  <a:gd name="T28" fmla="*/ 690 w 1445"/>
                  <a:gd name="T29" fmla="*/ 45 h 1415"/>
                  <a:gd name="T30" fmla="*/ 786 w 1445"/>
                  <a:gd name="T31" fmla="*/ 45 h 1415"/>
                  <a:gd name="T32" fmla="*/ 853 w 1445"/>
                  <a:gd name="T33" fmla="*/ 28 h 1415"/>
                  <a:gd name="T34" fmla="*/ 938 w 1445"/>
                  <a:gd name="T35" fmla="*/ 12 h 1415"/>
                  <a:gd name="T36" fmla="*/ 1008 w 1445"/>
                  <a:gd name="T37" fmla="*/ 21 h 1415"/>
                  <a:gd name="T38" fmla="*/ 1046 w 1445"/>
                  <a:gd name="T39" fmla="*/ 4 h 1415"/>
                  <a:gd name="T40" fmla="*/ 1067 w 1445"/>
                  <a:gd name="T41" fmla="*/ 12 h 1415"/>
                  <a:gd name="T42" fmla="*/ 1110 w 1445"/>
                  <a:gd name="T43" fmla="*/ 12 h 1415"/>
                  <a:gd name="T44" fmla="*/ 1117 w 1445"/>
                  <a:gd name="T45" fmla="*/ 0 h 1415"/>
                  <a:gd name="T46" fmla="*/ 1164 w 1445"/>
                  <a:gd name="T47" fmla="*/ 21 h 1415"/>
                  <a:gd name="T48" fmla="*/ 1209 w 1445"/>
                  <a:gd name="T49" fmla="*/ 12 h 1415"/>
                  <a:gd name="T50" fmla="*/ 1176 w 1445"/>
                  <a:gd name="T51" fmla="*/ 45 h 1415"/>
                  <a:gd name="T52" fmla="*/ 1186 w 1445"/>
                  <a:gd name="T53" fmla="*/ 99 h 1415"/>
                  <a:gd name="T54" fmla="*/ 1193 w 1445"/>
                  <a:gd name="T55" fmla="*/ 139 h 1415"/>
                  <a:gd name="T56" fmla="*/ 1186 w 1445"/>
                  <a:gd name="T57" fmla="*/ 205 h 1415"/>
                  <a:gd name="T58" fmla="*/ 1155 w 1445"/>
                  <a:gd name="T59" fmla="*/ 234 h 1415"/>
                  <a:gd name="T60" fmla="*/ 1134 w 1445"/>
                  <a:gd name="T61" fmla="*/ 260 h 1415"/>
                  <a:gd name="T62" fmla="*/ 1176 w 1445"/>
                  <a:gd name="T63" fmla="*/ 321 h 1415"/>
                  <a:gd name="T64" fmla="*/ 1193 w 1445"/>
                  <a:gd name="T65" fmla="*/ 371 h 1415"/>
                  <a:gd name="T66" fmla="*/ 1278 w 1445"/>
                  <a:gd name="T67" fmla="*/ 555 h 1415"/>
                  <a:gd name="T68" fmla="*/ 1285 w 1445"/>
                  <a:gd name="T69" fmla="*/ 600 h 1415"/>
                  <a:gd name="T70" fmla="*/ 1294 w 1445"/>
                  <a:gd name="T71" fmla="*/ 711 h 1415"/>
                  <a:gd name="T72" fmla="*/ 1285 w 1445"/>
                  <a:gd name="T73" fmla="*/ 782 h 1415"/>
                  <a:gd name="T74" fmla="*/ 1299 w 1445"/>
                  <a:gd name="T75" fmla="*/ 822 h 1415"/>
                  <a:gd name="T76" fmla="*/ 1273 w 1445"/>
                  <a:gd name="T77" fmla="*/ 855 h 1415"/>
                  <a:gd name="T78" fmla="*/ 1311 w 1445"/>
                  <a:gd name="T79" fmla="*/ 933 h 1415"/>
                  <a:gd name="T80" fmla="*/ 1327 w 1445"/>
                  <a:gd name="T81" fmla="*/ 982 h 1415"/>
                  <a:gd name="T82" fmla="*/ 1337 w 1445"/>
                  <a:gd name="T83" fmla="*/ 1004 h 1415"/>
                  <a:gd name="T84" fmla="*/ 1419 w 1445"/>
                  <a:gd name="T85" fmla="*/ 1011 h 1415"/>
                  <a:gd name="T86" fmla="*/ 1134 w 1445"/>
                  <a:gd name="T87" fmla="*/ 1278 h 1415"/>
                  <a:gd name="T88" fmla="*/ 907 w 1445"/>
                  <a:gd name="T89" fmla="*/ 1405 h 1415"/>
                  <a:gd name="T90" fmla="*/ 824 w 1445"/>
                  <a:gd name="T91" fmla="*/ 1405 h 1415"/>
                  <a:gd name="T92" fmla="*/ 831 w 1445"/>
                  <a:gd name="T93" fmla="*/ 1353 h 1415"/>
                  <a:gd name="T94" fmla="*/ 760 w 1445"/>
                  <a:gd name="T95" fmla="*/ 1320 h 1415"/>
                  <a:gd name="T96" fmla="*/ 734 w 1445"/>
                  <a:gd name="T97" fmla="*/ 1315 h 1415"/>
                  <a:gd name="T98" fmla="*/ 690 w 1445"/>
                  <a:gd name="T99" fmla="*/ 1282 h 1415"/>
                  <a:gd name="T100" fmla="*/ 269 w 1445"/>
                  <a:gd name="T101" fmla="*/ 966 h 1415"/>
                  <a:gd name="T102" fmla="*/ 0 w 1445"/>
                  <a:gd name="T103" fmla="*/ 760 h 1415"/>
                  <a:gd name="T104" fmla="*/ 108 w 1445"/>
                  <a:gd name="T105" fmla="*/ 600 h 1415"/>
                  <a:gd name="T106" fmla="*/ 160 w 1445"/>
                  <a:gd name="T107" fmla="*/ 593 h 1415"/>
                  <a:gd name="T108" fmla="*/ 236 w 1445"/>
                  <a:gd name="T109" fmla="*/ 567 h 1415"/>
                  <a:gd name="T110" fmla="*/ 302 w 1445"/>
                  <a:gd name="T111" fmla="*/ 522 h 1415"/>
                  <a:gd name="T112" fmla="*/ 356 w 1445"/>
                  <a:gd name="T113" fmla="*/ 498 h 1415"/>
                  <a:gd name="T114" fmla="*/ 340 w 1445"/>
                  <a:gd name="T115" fmla="*/ 482 h 1415"/>
                  <a:gd name="T116" fmla="*/ 366 w 1445"/>
                  <a:gd name="T117" fmla="*/ 432 h 1415"/>
                  <a:gd name="T118" fmla="*/ 366 w 1445"/>
                  <a:gd name="T119" fmla="*/ 432 h 1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5" h="1415">
                    <a:moveTo>
                      <a:pt x="366" y="432"/>
                    </a:moveTo>
                    <a:lnTo>
                      <a:pt x="399" y="427"/>
                    </a:lnTo>
                    <a:lnTo>
                      <a:pt x="408" y="411"/>
                    </a:lnTo>
                    <a:lnTo>
                      <a:pt x="446" y="399"/>
                    </a:lnTo>
                    <a:lnTo>
                      <a:pt x="522" y="411"/>
                    </a:lnTo>
                    <a:lnTo>
                      <a:pt x="522" y="399"/>
                    </a:lnTo>
                    <a:lnTo>
                      <a:pt x="517" y="399"/>
                    </a:lnTo>
                    <a:lnTo>
                      <a:pt x="522" y="387"/>
                    </a:lnTo>
                    <a:lnTo>
                      <a:pt x="538" y="371"/>
                    </a:lnTo>
                    <a:lnTo>
                      <a:pt x="508" y="354"/>
                    </a:lnTo>
                    <a:lnTo>
                      <a:pt x="501" y="338"/>
                    </a:lnTo>
                    <a:lnTo>
                      <a:pt x="508" y="333"/>
                    </a:lnTo>
                    <a:lnTo>
                      <a:pt x="491" y="316"/>
                    </a:lnTo>
                    <a:lnTo>
                      <a:pt x="491" y="283"/>
                    </a:lnTo>
                    <a:lnTo>
                      <a:pt x="484" y="276"/>
                    </a:lnTo>
                    <a:lnTo>
                      <a:pt x="491" y="243"/>
                    </a:lnTo>
                    <a:lnTo>
                      <a:pt x="484" y="222"/>
                    </a:lnTo>
                    <a:lnTo>
                      <a:pt x="491" y="210"/>
                    </a:lnTo>
                    <a:lnTo>
                      <a:pt x="475" y="205"/>
                    </a:lnTo>
                    <a:lnTo>
                      <a:pt x="484" y="193"/>
                    </a:lnTo>
                    <a:lnTo>
                      <a:pt x="453" y="165"/>
                    </a:lnTo>
                    <a:lnTo>
                      <a:pt x="484" y="165"/>
                    </a:lnTo>
                    <a:lnTo>
                      <a:pt x="517" y="139"/>
                    </a:lnTo>
                    <a:lnTo>
                      <a:pt x="538" y="116"/>
                    </a:lnTo>
                    <a:lnTo>
                      <a:pt x="555" y="111"/>
                    </a:lnTo>
                    <a:lnTo>
                      <a:pt x="560" y="116"/>
                    </a:lnTo>
                    <a:lnTo>
                      <a:pt x="583" y="99"/>
                    </a:lnTo>
                    <a:lnTo>
                      <a:pt x="597" y="111"/>
                    </a:lnTo>
                    <a:lnTo>
                      <a:pt x="626" y="82"/>
                    </a:lnTo>
                    <a:lnTo>
                      <a:pt x="690" y="45"/>
                    </a:lnTo>
                    <a:lnTo>
                      <a:pt x="772" y="38"/>
                    </a:lnTo>
                    <a:lnTo>
                      <a:pt x="786" y="45"/>
                    </a:lnTo>
                    <a:lnTo>
                      <a:pt x="810" y="21"/>
                    </a:lnTo>
                    <a:lnTo>
                      <a:pt x="853" y="28"/>
                    </a:lnTo>
                    <a:lnTo>
                      <a:pt x="878" y="12"/>
                    </a:lnTo>
                    <a:lnTo>
                      <a:pt x="938" y="12"/>
                    </a:lnTo>
                    <a:lnTo>
                      <a:pt x="975" y="38"/>
                    </a:lnTo>
                    <a:lnTo>
                      <a:pt x="1008" y="21"/>
                    </a:lnTo>
                    <a:lnTo>
                      <a:pt x="1046" y="12"/>
                    </a:lnTo>
                    <a:lnTo>
                      <a:pt x="1046" y="4"/>
                    </a:lnTo>
                    <a:lnTo>
                      <a:pt x="1063" y="0"/>
                    </a:lnTo>
                    <a:lnTo>
                      <a:pt x="1067" y="12"/>
                    </a:lnTo>
                    <a:lnTo>
                      <a:pt x="1096" y="12"/>
                    </a:lnTo>
                    <a:lnTo>
                      <a:pt x="1110" y="12"/>
                    </a:lnTo>
                    <a:lnTo>
                      <a:pt x="1117" y="4"/>
                    </a:lnTo>
                    <a:lnTo>
                      <a:pt x="1117" y="0"/>
                    </a:lnTo>
                    <a:lnTo>
                      <a:pt x="1155" y="12"/>
                    </a:lnTo>
                    <a:lnTo>
                      <a:pt x="1164" y="21"/>
                    </a:lnTo>
                    <a:lnTo>
                      <a:pt x="1186" y="12"/>
                    </a:lnTo>
                    <a:lnTo>
                      <a:pt x="1209" y="12"/>
                    </a:lnTo>
                    <a:lnTo>
                      <a:pt x="1219" y="21"/>
                    </a:lnTo>
                    <a:lnTo>
                      <a:pt x="1176" y="45"/>
                    </a:lnTo>
                    <a:lnTo>
                      <a:pt x="1193" y="54"/>
                    </a:lnTo>
                    <a:lnTo>
                      <a:pt x="1186" y="99"/>
                    </a:lnTo>
                    <a:lnTo>
                      <a:pt x="1193" y="116"/>
                    </a:lnTo>
                    <a:lnTo>
                      <a:pt x="1193" y="139"/>
                    </a:lnTo>
                    <a:lnTo>
                      <a:pt x="1193" y="156"/>
                    </a:lnTo>
                    <a:lnTo>
                      <a:pt x="1186" y="205"/>
                    </a:lnTo>
                    <a:lnTo>
                      <a:pt x="1155" y="222"/>
                    </a:lnTo>
                    <a:lnTo>
                      <a:pt x="1155" y="234"/>
                    </a:lnTo>
                    <a:lnTo>
                      <a:pt x="1134" y="243"/>
                    </a:lnTo>
                    <a:lnTo>
                      <a:pt x="1134" y="260"/>
                    </a:lnTo>
                    <a:lnTo>
                      <a:pt x="1148" y="316"/>
                    </a:lnTo>
                    <a:lnTo>
                      <a:pt x="1176" y="321"/>
                    </a:lnTo>
                    <a:lnTo>
                      <a:pt x="1193" y="345"/>
                    </a:lnTo>
                    <a:lnTo>
                      <a:pt x="1193" y="371"/>
                    </a:lnTo>
                    <a:lnTo>
                      <a:pt x="1240" y="411"/>
                    </a:lnTo>
                    <a:lnTo>
                      <a:pt x="1278" y="555"/>
                    </a:lnTo>
                    <a:lnTo>
                      <a:pt x="1261" y="560"/>
                    </a:lnTo>
                    <a:lnTo>
                      <a:pt x="1285" y="600"/>
                    </a:lnTo>
                    <a:lnTo>
                      <a:pt x="1294" y="638"/>
                    </a:lnTo>
                    <a:lnTo>
                      <a:pt x="1294" y="711"/>
                    </a:lnTo>
                    <a:lnTo>
                      <a:pt x="1311" y="744"/>
                    </a:lnTo>
                    <a:lnTo>
                      <a:pt x="1285" y="782"/>
                    </a:lnTo>
                    <a:lnTo>
                      <a:pt x="1299" y="815"/>
                    </a:lnTo>
                    <a:lnTo>
                      <a:pt x="1299" y="822"/>
                    </a:lnTo>
                    <a:lnTo>
                      <a:pt x="1299" y="843"/>
                    </a:lnTo>
                    <a:lnTo>
                      <a:pt x="1273" y="855"/>
                    </a:lnTo>
                    <a:lnTo>
                      <a:pt x="1261" y="871"/>
                    </a:lnTo>
                    <a:lnTo>
                      <a:pt x="1311" y="933"/>
                    </a:lnTo>
                    <a:lnTo>
                      <a:pt x="1311" y="971"/>
                    </a:lnTo>
                    <a:lnTo>
                      <a:pt x="1327" y="982"/>
                    </a:lnTo>
                    <a:lnTo>
                      <a:pt x="1327" y="987"/>
                    </a:lnTo>
                    <a:lnTo>
                      <a:pt x="1337" y="1004"/>
                    </a:lnTo>
                    <a:lnTo>
                      <a:pt x="1353" y="999"/>
                    </a:lnTo>
                    <a:lnTo>
                      <a:pt x="1419" y="1011"/>
                    </a:lnTo>
                    <a:lnTo>
                      <a:pt x="1445" y="1077"/>
                    </a:lnTo>
                    <a:lnTo>
                      <a:pt x="1134" y="1278"/>
                    </a:lnTo>
                    <a:lnTo>
                      <a:pt x="1013" y="1389"/>
                    </a:lnTo>
                    <a:lnTo>
                      <a:pt x="907" y="1405"/>
                    </a:lnTo>
                    <a:lnTo>
                      <a:pt x="841" y="1415"/>
                    </a:lnTo>
                    <a:lnTo>
                      <a:pt x="824" y="1405"/>
                    </a:lnTo>
                    <a:lnTo>
                      <a:pt x="841" y="1389"/>
                    </a:lnTo>
                    <a:lnTo>
                      <a:pt x="831" y="1353"/>
                    </a:lnTo>
                    <a:lnTo>
                      <a:pt x="777" y="1337"/>
                    </a:lnTo>
                    <a:lnTo>
                      <a:pt x="760" y="1320"/>
                    </a:lnTo>
                    <a:lnTo>
                      <a:pt x="756" y="1320"/>
                    </a:lnTo>
                    <a:lnTo>
                      <a:pt x="734" y="1315"/>
                    </a:lnTo>
                    <a:lnTo>
                      <a:pt x="723" y="1299"/>
                    </a:lnTo>
                    <a:lnTo>
                      <a:pt x="690" y="1282"/>
                    </a:lnTo>
                    <a:lnTo>
                      <a:pt x="690" y="1261"/>
                    </a:lnTo>
                    <a:lnTo>
                      <a:pt x="269" y="966"/>
                    </a:lnTo>
                    <a:lnTo>
                      <a:pt x="0" y="782"/>
                    </a:lnTo>
                    <a:lnTo>
                      <a:pt x="0" y="760"/>
                    </a:lnTo>
                    <a:lnTo>
                      <a:pt x="0" y="671"/>
                    </a:lnTo>
                    <a:lnTo>
                      <a:pt x="108" y="600"/>
                    </a:lnTo>
                    <a:lnTo>
                      <a:pt x="146" y="609"/>
                    </a:lnTo>
                    <a:lnTo>
                      <a:pt x="160" y="593"/>
                    </a:lnTo>
                    <a:lnTo>
                      <a:pt x="222" y="583"/>
                    </a:lnTo>
                    <a:lnTo>
                      <a:pt x="236" y="567"/>
                    </a:lnTo>
                    <a:lnTo>
                      <a:pt x="260" y="538"/>
                    </a:lnTo>
                    <a:lnTo>
                      <a:pt x="302" y="522"/>
                    </a:lnTo>
                    <a:lnTo>
                      <a:pt x="323" y="498"/>
                    </a:lnTo>
                    <a:lnTo>
                      <a:pt x="356" y="498"/>
                    </a:lnTo>
                    <a:lnTo>
                      <a:pt x="356" y="489"/>
                    </a:lnTo>
                    <a:lnTo>
                      <a:pt x="340" y="482"/>
                    </a:lnTo>
                    <a:lnTo>
                      <a:pt x="340" y="444"/>
                    </a:lnTo>
                    <a:lnTo>
                      <a:pt x="366" y="432"/>
                    </a:lnTo>
                    <a:lnTo>
                      <a:pt x="366" y="432"/>
                    </a:lnTo>
                    <a:lnTo>
                      <a:pt x="366" y="43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21" name="Freeform 385">
                <a:extLst>
                  <a:ext uri="{FF2B5EF4-FFF2-40B4-BE49-F238E27FC236}">
                    <a16:creationId xmlns:a16="http://schemas.microsoft.com/office/drawing/2014/main" id="{12E694E9-18B7-41F9-8F60-7218210F8A2F}"/>
                  </a:ext>
                </a:extLst>
              </p:cNvPr>
              <p:cNvSpPr>
                <a:spLocks noEditPoints="1"/>
              </p:cNvSpPr>
              <p:nvPr/>
            </p:nvSpPr>
            <p:spPr bwMode="gray">
              <a:xfrm>
                <a:off x="7066686" y="4198046"/>
                <a:ext cx="356918" cy="406364"/>
              </a:xfrm>
              <a:custGeom>
                <a:avLst/>
                <a:gdLst>
                  <a:gd name="T0" fmla="*/ 75 w 867"/>
                  <a:gd name="T1" fmla="*/ 23 h 987"/>
                  <a:gd name="T2" fmla="*/ 54 w 867"/>
                  <a:gd name="T3" fmla="*/ 94 h 987"/>
                  <a:gd name="T4" fmla="*/ 21 w 867"/>
                  <a:gd name="T5" fmla="*/ 85 h 987"/>
                  <a:gd name="T6" fmla="*/ 9 w 867"/>
                  <a:gd name="T7" fmla="*/ 40 h 987"/>
                  <a:gd name="T8" fmla="*/ 37 w 867"/>
                  <a:gd name="T9" fmla="*/ 23 h 987"/>
                  <a:gd name="T10" fmla="*/ 59 w 867"/>
                  <a:gd name="T11" fmla="*/ 7 h 987"/>
                  <a:gd name="T12" fmla="*/ 75 w 867"/>
                  <a:gd name="T13" fmla="*/ 0 h 987"/>
                  <a:gd name="T14" fmla="*/ 92 w 867"/>
                  <a:gd name="T15" fmla="*/ 16 h 987"/>
                  <a:gd name="T16" fmla="*/ 817 w 867"/>
                  <a:gd name="T17" fmla="*/ 966 h 987"/>
                  <a:gd name="T18" fmla="*/ 654 w 867"/>
                  <a:gd name="T19" fmla="*/ 982 h 987"/>
                  <a:gd name="T20" fmla="*/ 616 w 867"/>
                  <a:gd name="T21" fmla="*/ 987 h 987"/>
                  <a:gd name="T22" fmla="*/ 498 w 867"/>
                  <a:gd name="T23" fmla="*/ 970 h 987"/>
                  <a:gd name="T24" fmla="*/ 470 w 867"/>
                  <a:gd name="T25" fmla="*/ 942 h 987"/>
                  <a:gd name="T26" fmla="*/ 118 w 867"/>
                  <a:gd name="T27" fmla="*/ 916 h 987"/>
                  <a:gd name="T28" fmla="*/ 54 w 867"/>
                  <a:gd name="T29" fmla="*/ 933 h 987"/>
                  <a:gd name="T30" fmla="*/ 0 w 867"/>
                  <a:gd name="T31" fmla="*/ 933 h 987"/>
                  <a:gd name="T32" fmla="*/ 0 w 867"/>
                  <a:gd name="T33" fmla="*/ 838 h 987"/>
                  <a:gd name="T34" fmla="*/ 9 w 867"/>
                  <a:gd name="T35" fmla="*/ 814 h 987"/>
                  <a:gd name="T36" fmla="*/ 37 w 867"/>
                  <a:gd name="T37" fmla="*/ 748 h 987"/>
                  <a:gd name="T38" fmla="*/ 54 w 867"/>
                  <a:gd name="T39" fmla="*/ 682 h 987"/>
                  <a:gd name="T40" fmla="*/ 80 w 867"/>
                  <a:gd name="T41" fmla="*/ 616 h 987"/>
                  <a:gd name="T42" fmla="*/ 113 w 867"/>
                  <a:gd name="T43" fmla="*/ 583 h 987"/>
                  <a:gd name="T44" fmla="*/ 146 w 867"/>
                  <a:gd name="T45" fmla="*/ 472 h 987"/>
                  <a:gd name="T46" fmla="*/ 134 w 867"/>
                  <a:gd name="T47" fmla="*/ 451 h 987"/>
                  <a:gd name="T48" fmla="*/ 80 w 867"/>
                  <a:gd name="T49" fmla="*/ 333 h 987"/>
                  <a:gd name="T50" fmla="*/ 80 w 867"/>
                  <a:gd name="T51" fmla="*/ 333 h 987"/>
                  <a:gd name="T52" fmla="*/ 113 w 867"/>
                  <a:gd name="T53" fmla="*/ 283 h 987"/>
                  <a:gd name="T54" fmla="*/ 75 w 867"/>
                  <a:gd name="T55" fmla="*/ 184 h 987"/>
                  <a:gd name="T56" fmla="*/ 26 w 867"/>
                  <a:gd name="T57" fmla="*/ 118 h 987"/>
                  <a:gd name="T58" fmla="*/ 96 w 867"/>
                  <a:gd name="T59" fmla="*/ 101 h 987"/>
                  <a:gd name="T60" fmla="*/ 335 w 867"/>
                  <a:gd name="T61" fmla="*/ 111 h 987"/>
                  <a:gd name="T62" fmla="*/ 344 w 867"/>
                  <a:gd name="T63" fmla="*/ 139 h 987"/>
                  <a:gd name="T64" fmla="*/ 361 w 867"/>
                  <a:gd name="T65" fmla="*/ 196 h 987"/>
                  <a:gd name="T66" fmla="*/ 432 w 867"/>
                  <a:gd name="T67" fmla="*/ 262 h 987"/>
                  <a:gd name="T68" fmla="*/ 444 w 867"/>
                  <a:gd name="T69" fmla="*/ 262 h 987"/>
                  <a:gd name="T70" fmla="*/ 470 w 867"/>
                  <a:gd name="T71" fmla="*/ 250 h 987"/>
                  <a:gd name="T72" fmla="*/ 529 w 867"/>
                  <a:gd name="T73" fmla="*/ 229 h 987"/>
                  <a:gd name="T74" fmla="*/ 545 w 867"/>
                  <a:gd name="T75" fmla="*/ 184 h 987"/>
                  <a:gd name="T76" fmla="*/ 600 w 867"/>
                  <a:gd name="T77" fmla="*/ 184 h 987"/>
                  <a:gd name="T78" fmla="*/ 616 w 867"/>
                  <a:gd name="T79" fmla="*/ 205 h 987"/>
                  <a:gd name="T80" fmla="*/ 708 w 867"/>
                  <a:gd name="T81" fmla="*/ 222 h 987"/>
                  <a:gd name="T82" fmla="*/ 708 w 867"/>
                  <a:gd name="T83" fmla="*/ 295 h 987"/>
                  <a:gd name="T84" fmla="*/ 708 w 867"/>
                  <a:gd name="T85" fmla="*/ 377 h 987"/>
                  <a:gd name="T86" fmla="*/ 741 w 867"/>
                  <a:gd name="T87" fmla="*/ 427 h 987"/>
                  <a:gd name="T88" fmla="*/ 730 w 867"/>
                  <a:gd name="T89" fmla="*/ 467 h 987"/>
                  <a:gd name="T90" fmla="*/ 758 w 867"/>
                  <a:gd name="T91" fmla="*/ 472 h 987"/>
                  <a:gd name="T92" fmla="*/ 817 w 867"/>
                  <a:gd name="T93" fmla="*/ 472 h 987"/>
                  <a:gd name="T94" fmla="*/ 855 w 867"/>
                  <a:gd name="T95" fmla="*/ 467 h 987"/>
                  <a:gd name="T96" fmla="*/ 855 w 867"/>
                  <a:gd name="T97" fmla="*/ 522 h 987"/>
                  <a:gd name="T98" fmla="*/ 867 w 867"/>
                  <a:gd name="T99" fmla="*/ 578 h 987"/>
                  <a:gd name="T100" fmla="*/ 855 w 867"/>
                  <a:gd name="T101" fmla="*/ 628 h 987"/>
                  <a:gd name="T102" fmla="*/ 720 w 867"/>
                  <a:gd name="T103" fmla="*/ 855 h 987"/>
                  <a:gd name="T104" fmla="*/ 800 w 867"/>
                  <a:gd name="T105" fmla="*/ 949 h 987"/>
                  <a:gd name="T106" fmla="*/ 817 w 867"/>
                  <a:gd name="T107" fmla="*/ 966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7" h="987">
                    <a:moveTo>
                      <a:pt x="92" y="16"/>
                    </a:moveTo>
                    <a:lnTo>
                      <a:pt x="75" y="23"/>
                    </a:lnTo>
                    <a:lnTo>
                      <a:pt x="54" y="40"/>
                    </a:lnTo>
                    <a:lnTo>
                      <a:pt x="54" y="94"/>
                    </a:lnTo>
                    <a:lnTo>
                      <a:pt x="26" y="94"/>
                    </a:lnTo>
                    <a:lnTo>
                      <a:pt x="21" y="85"/>
                    </a:lnTo>
                    <a:lnTo>
                      <a:pt x="26" y="73"/>
                    </a:lnTo>
                    <a:lnTo>
                      <a:pt x="9" y="40"/>
                    </a:lnTo>
                    <a:lnTo>
                      <a:pt x="26" y="23"/>
                    </a:lnTo>
                    <a:lnTo>
                      <a:pt x="37" y="23"/>
                    </a:lnTo>
                    <a:lnTo>
                      <a:pt x="42" y="16"/>
                    </a:lnTo>
                    <a:lnTo>
                      <a:pt x="59" y="7"/>
                    </a:lnTo>
                    <a:lnTo>
                      <a:pt x="63" y="0"/>
                    </a:lnTo>
                    <a:lnTo>
                      <a:pt x="75" y="0"/>
                    </a:lnTo>
                    <a:lnTo>
                      <a:pt x="92" y="16"/>
                    </a:lnTo>
                    <a:lnTo>
                      <a:pt x="92" y="16"/>
                    </a:lnTo>
                    <a:lnTo>
                      <a:pt x="92" y="16"/>
                    </a:lnTo>
                    <a:close/>
                    <a:moveTo>
                      <a:pt x="817" y="966"/>
                    </a:moveTo>
                    <a:lnTo>
                      <a:pt x="670" y="987"/>
                    </a:lnTo>
                    <a:lnTo>
                      <a:pt x="654" y="982"/>
                    </a:lnTo>
                    <a:lnTo>
                      <a:pt x="637" y="987"/>
                    </a:lnTo>
                    <a:lnTo>
                      <a:pt x="616" y="987"/>
                    </a:lnTo>
                    <a:lnTo>
                      <a:pt x="600" y="982"/>
                    </a:lnTo>
                    <a:lnTo>
                      <a:pt x="498" y="970"/>
                    </a:lnTo>
                    <a:lnTo>
                      <a:pt x="474" y="966"/>
                    </a:lnTo>
                    <a:lnTo>
                      <a:pt x="470" y="942"/>
                    </a:lnTo>
                    <a:lnTo>
                      <a:pt x="151" y="949"/>
                    </a:lnTo>
                    <a:lnTo>
                      <a:pt x="118" y="916"/>
                    </a:lnTo>
                    <a:lnTo>
                      <a:pt x="96" y="909"/>
                    </a:lnTo>
                    <a:lnTo>
                      <a:pt x="54" y="933"/>
                    </a:lnTo>
                    <a:lnTo>
                      <a:pt x="21" y="925"/>
                    </a:lnTo>
                    <a:lnTo>
                      <a:pt x="0" y="933"/>
                    </a:lnTo>
                    <a:lnTo>
                      <a:pt x="0" y="876"/>
                    </a:lnTo>
                    <a:lnTo>
                      <a:pt x="0" y="838"/>
                    </a:lnTo>
                    <a:lnTo>
                      <a:pt x="0" y="831"/>
                    </a:lnTo>
                    <a:lnTo>
                      <a:pt x="9" y="814"/>
                    </a:lnTo>
                    <a:lnTo>
                      <a:pt x="21" y="781"/>
                    </a:lnTo>
                    <a:lnTo>
                      <a:pt x="37" y="748"/>
                    </a:lnTo>
                    <a:lnTo>
                      <a:pt x="37" y="703"/>
                    </a:lnTo>
                    <a:lnTo>
                      <a:pt x="54" y="682"/>
                    </a:lnTo>
                    <a:lnTo>
                      <a:pt x="54" y="649"/>
                    </a:lnTo>
                    <a:lnTo>
                      <a:pt x="80" y="616"/>
                    </a:lnTo>
                    <a:lnTo>
                      <a:pt x="80" y="600"/>
                    </a:lnTo>
                    <a:lnTo>
                      <a:pt x="113" y="583"/>
                    </a:lnTo>
                    <a:lnTo>
                      <a:pt x="134" y="526"/>
                    </a:lnTo>
                    <a:lnTo>
                      <a:pt x="146" y="472"/>
                    </a:lnTo>
                    <a:lnTo>
                      <a:pt x="134" y="460"/>
                    </a:lnTo>
                    <a:lnTo>
                      <a:pt x="134" y="451"/>
                    </a:lnTo>
                    <a:lnTo>
                      <a:pt x="118" y="432"/>
                    </a:lnTo>
                    <a:lnTo>
                      <a:pt x="80" y="333"/>
                    </a:lnTo>
                    <a:lnTo>
                      <a:pt x="92" y="316"/>
                    </a:lnTo>
                    <a:lnTo>
                      <a:pt x="80" y="333"/>
                    </a:lnTo>
                    <a:lnTo>
                      <a:pt x="113" y="304"/>
                    </a:lnTo>
                    <a:lnTo>
                      <a:pt x="113" y="283"/>
                    </a:lnTo>
                    <a:lnTo>
                      <a:pt x="75" y="205"/>
                    </a:lnTo>
                    <a:lnTo>
                      <a:pt x="75" y="184"/>
                    </a:lnTo>
                    <a:lnTo>
                      <a:pt x="54" y="155"/>
                    </a:lnTo>
                    <a:lnTo>
                      <a:pt x="26" y="118"/>
                    </a:lnTo>
                    <a:lnTo>
                      <a:pt x="63" y="111"/>
                    </a:lnTo>
                    <a:lnTo>
                      <a:pt x="96" y="101"/>
                    </a:lnTo>
                    <a:lnTo>
                      <a:pt x="297" y="101"/>
                    </a:lnTo>
                    <a:lnTo>
                      <a:pt x="335" y="111"/>
                    </a:lnTo>
                    <a:lnTo>
                      <a:pt x="344" y="127"/>
                    </a:lnTo>
                    <a:lnTo>
                      <a:pt x="344" y="139"/>
                    </a:lnTo>
                    <a:lnTo>
                      <a:pt x="361" y="184"/>
                    </a:lnTo>
                    <a:lnTo>
                      <a:pt x="361" y="196"/>
                    </a:lnTo>
                    <a:lnTo>
                      <a:pt x="406" y="262"/>
                    </a:lnTo>
                    <a:lnTo>
                      <a:pt x="432" y="262"/>
                    </a:lnTo>
                    <a:lnTo>
                      <a:pt x="444" y="262"/>
                    </a:lnTo>
                    <a:lnTo>
                      <a:pt x="444" y="262"/>
                    </a:lnTo>
                    <a:lnTo>
                      <a:pt x="470" y="250"/>
                    </a:lnTo>
                    <a:lnTo>
                      <a:pt x="470" y="250"/>
                    </a:lnTo>
                    <a:lnTo>
                      <a:pt x="529" y="250"/>
                    </a:lnTo>
                    <a:lnTo>
                      <a:pt x="529" y="229"/>
                    </a:lnTo>
                    <a:lnTo>
                      <a:pt x="545" y="222"/>
                    </a:lnTo>
                    <a:lnTo>
                      <a:pt x="545" y="184"/>
                    </a:lnTo>
                    <a:lnTo>
                      <a:pt x="600" y="184"/>
                    </a:lnTo>
                    <a:lnTo>
                      <a:pt x="600" y="184"/>
                    </a:lnTo>
                    <a:lnTo>
                      <a:pt x="621" y="184"/>
                    </a:lnTo>
                    <a:lnTo>
                      <a:pt x="616" y="205"/>
                    </a:lnTo>
                    <a:lnTo>
                      <a:pt x="704" y="205"/>
                    </a:lnTo>
                    <a:lnTo>
                      <a:pt x="708" y="222"/>
                    </a:lnTo>
                    <a:lnTo>
                      <a:pt x="704" y="250"/>
                    </a:lnTo>
                    <a:lnTo>
                      <a:pt x="708" y="295"/>
                    </a:lnTo>
                    <a:lnTo>
                      <a:pt x="704" y="356"/>
                    </a:lnTo>
                    <a:lnTo>
                      <a:pt x="708" y="377"/>
                    </a:lnTo>
                    <a:lnTo>
                      <a:pt x="725" y="394"/>
                    </a:lnTo>
                    <a:lnTo>
                      <a:pt x="741" y="427"/>
                    </a:lnTo>
                    <a:lnTo>
                      <a:pt x="741" y="460"/>
                    </a:lnTo>
                    <a:lnTo>
                      <a:pt x="730" y="467"/>
                    </a:lnTo>
                    <a:lnTo>
                      <a:pt x="730" y="488"/>
                    </a:lnTo>
                    <a:lnTo>
                      <a:pt x="758" y="472"/>
                    </a:lnTo>
                    <a:lnTo>
                      <a:pt x="796" y="484"/>
                    </a:lnTo>
                    <a:lnTo>
                      <a:pt x="817" y="472"/>
                    </a:lnTo>
                    <a:lnTo>
                      <a:pt x="850" y="472"/>
                    </a:lnTo>
                    <a:lnTo>
                      <a:pt x="855" y="467"/>
                    </a:lnTo>
                    <a:lnTo>
                      <a:pt x="867" y="505"/>
                    </a:lnTo>
                    <a:lnTo>
                      <a:pt x="855" y="522"/>
                    </a:lnTo>
                    <a:lnTo>
                      <a:pt x="855" y="559"/>
                    </a:lnTo>
                    <a:lnTo>
                      <a:pt x="867" y="578"/>
                    </a:lnTo>
                    <a:lnTo>
                      <a:pt x="850" y="600"/>
                    </a:lnTo>
                    <a:lnTo>
                      <a:pt x="855" y="628"/>
                    </a:lnTo>
                    <a:lnTo>
                      <a:pt x="720" y="616"/>
                    </a:lnTo>
                    <a:lnTo>
                      <a:pt x="720" y="855"/>
                    </a:lnTo>
                    <a:lnTo>
                      <a:pt x="725" y="876"/>
                    </a:lnTo>
                    <a:lnTo>
                      <a:pt x="800" y="949"/>
                    </a:lnTo>
                    <a:lnTo>
                      <a:pt x="817" y="966"/>
                    </a:lnTo>
                    <a:lnTo>
                      <a:pt x="817" y="966"/>
                    </a:lnTo>
                    <a:lnTo>
                      <a:pt x="817" y="96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22" name="Freeform 390">
                <a:extLst>
                  <a:ext uri="{FF2B5EF4-FFF2-40B4-BE49-F238E27FC236}">
                    <a16:creationId xmlns:a16="http://schemas.microsoft.com/office/drawing/2014/main" id="{629ED89C-0137-4D84-91C9-6398EA3D483E}"/>
                  </a:ext>
                </a:extLst>
              </p:cNvPr>
              <p:cNvSpPr>
                <a:spLocks/>
              </p:cNvSpPr>
              <p:nvPr/>
            </p:nvSpPr>
            <p:spPr bwMode="gray">
              <a:xfrm>
                <a:off x="8184783" y="3270861"/>
                <a:ext cx="824" cy="11941"/>
              </a:xfrm>
              <a:custGeom>
                <a:avLst/>
                <a:gdLst>
                  <a:gd name="T0" fmla="*/ 2 w 2"/>
                  <a:gd name="T1" fmla="*/ 0 h 29"/>
                  <a:gd name="T2" fmla="*/ 2 w 2"/>
                  <a:gd name="T3" fmla="*/ 29 h 29"/>
                  <a:gd name="T4" fmla="*/ 0 w 2"/>
                  <a:gd name="T5" fmla="*/ 17 h 29"/>
                  <a:gd name="T6" fmla="*/ 0 w 2"/>
                  <a:gd name="T7" fmla="*/ 0 h 29"/>
                  <a:gd name="T8" fmla="*/ 2 w 2"/>
                  <a:gd name="T9" fmla="*/ 0 h 29"/>
                  <a:gd name="T10" fmla="*/ 2 w 2"/>
                  <a:gd name="T11" fmla="*/ 0 h 29"/>
                  <a:gd name="T12" fmla="*/ 2 w 2"/>
                  <a:gd name="T13" fmla="*/ 0 h 29"/>
                  <a:gd name="T14" fmla="*/ 2 w 2"/>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9">
                    <a:moveTo>
                      <a:pt x="2" y="0"/>
                    </a:moveTo>
                    <a:lnTo>
                      <a:pt x="2" y="29"/>
                    </a:lnTo>
                    <a:lnTo>
                      <a:pt x="0" y="17"/>
                    </a:lnTo>
                    <a:lnTo>
                      <a:pt x="0" y="0"/>
                    </a:lnTo>
                    <a:lnTo>
                      <a:pt x="2" y="0"/>
                    </a:lnTo>
                    <a:lnTo>
                      <a:pt x="2" y="0"/>
                    </a:lnTo>
                    <a:lnTo>
                      <a:pt x="2" y="0"/>
                    </a:lnTo>
                    <a:lnTo>
                      <a:pt x="2"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23" name="Freeform 392">
                <a:extLst>
                  <a:ext uri="{FF2B5EF4-FFF2-40B4-BE49-F238E27FC236}">
                    <a16:creationId xmlns:a16="http://schemas.microsoft.com/office/drawing/2014/main" id="{08172385-1B9A-43CF-A6BA-D12D36AE85AC}"/>
                  </a:ext>
                </a:extLst>
              </p:cNvPr>
              <p:cNvSpPr>
                <a:spLocks/>
              </p:cNvSpPr>
              <p:nvPr/>
            </p:nvSpPr>
            <p:spPr bwMode="gray">
              <a:xfrm>
                <a:off x="7304632" y="4597410"/>
                <a:ext cx="268408" cy="284085"/>
              </a:xfrm>
              <a:custGeom>
                <a:avLst/>
                <a:gdLst>
                  <a:gd name="T0" fmla="*/ 0 w 652"/>
                  <a:gd name="T1" fmla="*/ 525 h 690"/>
                  <a:gd name="T2" fmla="*/ 0 w 652"/>
                  <a:gd name="T3" fmla="*/ 322 h 690"/>
                  <a:gd name="T4" fmla="*/ 71 w 652"/>
                  <a:gd name="T5" fmla="*/ 322 h 690"/>
                  <a:gd name="T6" fmla="*/ 71 w 652"/>
                  <a:gd name="T7" fmla="*/ 45 h 690"/>
                  <a:gd name="T8" fmla="*/ 232 w 652"/>
                  <a:gd name="T9" fmla="*/ 17 h 690"/>
                  <a:gd name="T10" fmla="*/ 253 w 652"/>
                  <a:gd name="T11" fmla="*/ 55 h 690"/>
                  <a:gd name="T12" fmla="*/ 303 w 652"/>
                  <a:gd name="T13" fmla="*/ 17 h 690"/>
                  <a:gd name="T14" fmla="*/ 312 w 652"/>
                  <a:gd name="T15" fmla="*/ 29 h 690"/>
                  <a:gd name="T16" fmla="*/ 340 w 652"/>
                  <a:gd name="T17" fmla="*/ 0 h 690"/>
                  <a:gd name="T18" fmla="*/ 366 w 652"/>
                  <a:gd name="T19" fmla="*/ 0 h 690"/>
                  <a:gd name="T20" fmla="*/ 366 w 652"/>
                  <a:gd name="T21" fmla="*/ 29 h 690"/>
                  <a:gd name="T22" fmla="*/ 416 w 652"/>
                  <a:gd name="T23" fmla="*/ 88 h 690"/>
                  <a:gd name="T24" fmla="*/ 416 w 652"/>
                  <a:gd name="T25" fmla="*/ 100 h 690"/>
                  <a:gd name="T26" fmla="*/ 430 w 652"/>
                  <a:gd name="T27" fmla="*/ 128 h 690"/>
                  <a:gd name="T28" fmla="*/ 468 w 652"/>
                  <a:gd name="T29" fmla="*/ 161 h 690"/>
                  <a:gd name="T30" fmla="*/ 501 w 652"/>
                  <a:gd name="T31" fmla="*/ 178 h 690"/>
                  <a:gd name="T32" fmla="*/ 506 w 652"/>
                  <a:gd name="T33" fmla="*/ 211 h 690"/>
                  <a:gd name="T34" fmla="*/ 539 w 652"/>
                  <a:gd name="T35" fmla="*/ 211 h 690"/>
                  <a:gd name="T36" fmla="*/ 539 w 652"/>
                  <a:gd name="T37" fmla="*/ 248 h 690"/>
                  <a:gd name="T38" fmla="*/ 560 w 652"/>
                  <a:gd name="T39" fmla="*/ 289 h 690"/>
                  <a:gd name="T40" fmla="*/ 598 w 652"/>
                  <a:gd name="T41" fmla="*/ 289 h 690"/>
                  <a:gd name="T42" fmla="*/ 631 w 652"/>
                  <a:gd name="T43" fmla="*/ 305 h 690"/>
                  <a:gd name="T44" fmla="*/ 631 w 652"/>
                  <a:gd name="T45" fmla="*/ 322 h 690"/>
                  <a:gd name="T46" fmla="*/ 648 w 652"/>
                  <a:gd name="T47" fmla="*/ 322 h 690"/>
                  <a:gd name="T48" fmla="*/ 652 w 652"/>
                  <a:gd name="T49" fmla="*/ 338 h 690"/>
                  <a:gd name="T50" fmla="*/ 631 w 652"/>
                  <a:gd name="T51" fmla="*/ 338 h 690"/>
                  <a:gd name="T52" fmla="*/ 626 w 652"/>
                  <a:gd name="T53" fmla="*/ 348 h 690"/>
                  <a:gd name="T54" fmla="*/ 577 w 652"/>
                  <a:gd name="T55" fmla="*/ 364 h 690"/>
                  <a:gd name="T56" fmla="*/ 555 w 652"/>
                  <a:gd name="T57" fmla="*/ 397 h 690"/>
                  <a:gd name="T58" fmla="*/ 529 w 652"/>
                  <a:gd name="T59" fmla="*/ 414 h 690"/>
                  <a:gd name="T60" fmla="*/ 522 w 652"/>
                  <a:gd name="T61" fmla="*/ 421 h 690"/>
                  <a:gd name="T62" fmla="*/ 518 w 652"/>
                  <a:gd name="T63" fmla="*/ 421 h 690"/>
                  <a:gd name="T64" fmla="*/ 485 w 652"/>
                  <a:gd name="T65" fmla="*/ 447 h 690"/>
                  <a:gd name="T66" fmla="*/ 475 w 652"/>
                  <a:gd name="T67" fmla="*/ 492 h 690"/>
                  <a:gd name="T68" fmla="*/ 447 w 652"/>
                  <a:gd name="T69" fmla="*/ 515 h 690"/>
                  <a:gd name="T70" fmla="*/ 409 w 652"/>
                  <a:gd name="T71" fmla="*/ 525 h 690"/>
                  <a:gd name="T72" fmla="*/ 392 w 652"/>
                  <a:gd name="T73" fmla="*/ 581 h 690"/>
                  <a:gd name="T74" fmla="*/ 383 w 652"/>
                  <a:gd name="T75" fmla="*/ 598 h 690"/>
                  <a:gd name="T76" fmla="*/ 324 w 652"/>
                  <a:gd name="T77" fmla="*/ 615 h 690"/>
                  <a:gd name="T78" fmla="*/ 303 w 652"/>
                  <a:gd name="T79" fmla="*/ 603 h 690"/>
                  <a:gd name="T80" fmla="*/ 291 w 652"/>
                  <a:gd name="T81" fmla="*/ 598 h 690"/>
                  <a:gd name="T82" fmla="*/ 270 w 652"/>
                  <a:gd name="T83" fmla="*/ 598 h 690"/>
                  <a:gd name="T84" fmla="*/ 237 w 652"/>
                  <a:gd name="T85" fmla="*/ 565 h 690"/>
                  <a:gd name="T86" fmla="*/ 206 w 652"/>
                  <a:gd name="T87" fmla="*/ 570 h 690"/>
                  <a:gd name="T88" fmla="*/ 194 w 652"/>
                  <a:gd name="T89" fmla="*/ 586 h 690"/>
                  <a:gd name="T90" fmla="*/ 182 w 652"/>
                  <a:gd name="T91" fmla="*/ 624 h 690"/>
                  <a:gd name="T92" fmla="*/ 152 w 652"/>
                  <a:gd name="T93" fmla="*/ 652 h 690"/>
                  <a:gd name="T94" fmla="*/ 140 w 652"/>
                  <a:gd name="T95" fmla="*/ 674 h 690"/>
                  <a:gd name="T96" fmla="*/ 123 w 652"/>
                  <a:gd name="T97" fmla="*/ 674 h 690"/>
                  <a:gd name="T98" fmla="*/ 114 w 652"/>
                  <a:gd name="T99" fmla="*/ 690 h 690"/>
                  <a:gd name="T100" fmla="*/ 43 w 652"/>
                  <a:gd name="T101" fmla="*/ 681 h 690"/>
                  <a:gd name="T102" fmla="*/ 38 w 652"/>
                  <a:gd name="T103" fmla="*/ 657 h 690"/>
                  <a:gd name="T104" fmla="*/ 59 w 652"/>
                  <a:gd name="T105" fmla="*/ 636 h 690"/>
                  <a:gd name="T106" fmla="*/ 55 w 652"/>
                  <a:gd name="T107" fmla="*/ 615 h 690"/>
                  <a:gd name="T108" fmla="*/ 22 w 652"/>
                  <a:gd name="T109" fmla="*/ 548 h 690"/>
                  <a:gd name="T110" fmla="*/ 0 w 652"/>
                  <a:gd name="T111" fmla="*/ 525 h 690"/>
                  <a:gd name="T112" fmla="*/ 0 w 652"/>
                  <a:gd name="T113" fmla="*/ 525 h 690"/>
                  <a:gd name="T114" fmla="*/ 0 w 652"/>
                  <a:gd name="T115" fmla="*/ 52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2" h="690">
                    <a:moveTo>
                      <a:pt x="0" y="525"/>
                    </a:moveTo>
                    <a:lnTo>
                      <a:pt x="0" y="322"/>
                    </a:lnTo>
                    <a:lnTo>
                      <a:pt x="71" y="322"/>
                    </a:lnTo>
                    <a:lnTo>
                      <a:pt x="71" y="45"/>
                    </a:lnTo>
                    <a:lnTo>
                      <a:pt x="232" y="17"/>
                    </a:lnTo>
                    <a:lnTo>
                      <a:pt x="253" y="55"/>
                    </a:lnTo>
                    <a:lnTo>
                      <a:pt x="303" y="17"/>
                    </a:lnTo>
                    <a:lnTo>
                      <a:pt x="312" y="29"/>
                    </a:lnTo>
                    <a:lnTo>
                      <a:pt x="340" y="0"/>
                    </a:lnTo>
                    <a:lnTo>
                      <a:pt x="366" y="0"/>
                    </a:lnTo>
                    <a:lnTo>
                      <a:pt x="366" y="29"/>
                    </a:lnTo>
                    <a:lnTo>
                      <a:pt x="416" y="88"/>
                    </a:lnTo>
                    <a:lnTo>
                      <a:pt x="416" y="100"/>
                    </a:lnTo>
                    <a:lnTo>
                      <a:pt x="430" y="128"/>
                    </a:lnTo>
                    <a:lnTo>
                      <a:pt x="468" y="161"/>
                    </a:lnTo>
                    <a:lnTo>
                      <a:pt x="501" y="178"/>
                    </a:lnTo>
                    <a:lnTo>
                      <a:pt x="506" y="211"/>
                    </a:lnTo>
                    <a:lnTo>
                      <a:pt x="539" y="211"/>
                    </a:lnTo>
                    <a:lnTo>
                      <a:pt x="539" y="248"/>
                    </a:lnTo>
                    <a:lnTo>
                      <a:pt x="560" y="289"/>
                    </a:lnTo>
                    <a:lnTo>
                      <a:pt x="598" y="289"/>
                    </a:lnTo>
                    <a:lnTo>
                      <a:pt x="631" y="305"/>
                    </a:lnTo>
                    <a:lnTo>
                      <a:pt x="631" y="322"/>
                    </a:lnTo>
                    <a:lnTo>
                      <a:pt x="648" y="322"/>
                    </a:lnTo>
                    <a:lnTo>
                      <a:pt x="652" y="338"/>
                    </a:lnTo>
                    <a:lnTo>
                      <a:pt x="631" y="338"/>
                    </a:lnTo>
                    <a:lnTo>
                      <a:pt x="626" y="348"/>
                    </a:lnTo>
                    <a:lnTo>
                      <a:pt x="577" y="364"/>
                    </a:lnTo>
                    <a:lnTo>
                      <a:pt x="555" y="397"/>
                    </a:lnTo>
                    <a:lnTo>
                      <a:pt x="529" y="414"/>
                    </a:lnTo>
                    <a:lnTo>
                      <a:pt x="522" y="421"/>
                    </a:lnTo>
                    <a:lnTo>
                      <a:pt x="518" y="421"/>
                    </a:lnTo>
                    <a:lnTo>
                      <a:pt x="485" y="447"/>
                    </a:lnTo>
                    <a:lnTo>
                      <a:pt x="475" y="492"/>
                    </a:lnTo>
                    <a:lnTo>
                      <a:pt x="447" y="515"/>
                    </a:lnTo>
                    <a:lnTo>
                      <a:pt x="409" y="525"/>
                    </a:lnTo>
                    <a:lnTo>
                      <a:pt x="392" y="581"/>
                    </a:lnTo>
                    <a:lnTo>
                      <a:pt x="383" y="598"/>
                    </a:lnTo>
                    <a:lnTo>
                      <a:pt x="324" y="615"/>
                    </a:lnTo>
                    <a:lnTo>
                      <a:pt x="303" y="603"/>
                    </a:lnTo>
                    <a:lnTo>
                      <a:pt x="291" y="598"/>
                    </a:lnTo>
                    <a:lnTo>
                      <a:pt x="270" y="598"/>
                    </a:lnTo>
                    <a:lnTo>
                      <a:pt x="237" y="565"/>
                    </a:lnTo>
                    <a:lnTo>
                      <a:pt x="206" y="570"/>
                    </a:lnTo>
                    <a:lnTo>
                      <a:pt x="194" y="586"/>
                    </a:lnTo>
                    <a:lnTo>
                      <a:pt x="182" y="624"/>
                    </a:lnTo>
                    <a:lnTo>
                      <a:pt x="152" y="652"/>
                    </a:lnTo>
                    <a:lnTo>
                      <a:pt x="140" y="674"/>
                    </a:lnTo>
                    <a:lnTo>
                      <a:pt x="123" y="674"/>
                    </a:lnTo>
                    <a:lnTo>
                      <a:pt x="114" y="690"/>
                    </a:lnTo>
                    <a:lnTo>
                      <a:pt x="43" y="681"/>
                    </a:lnTo>
                    <a:lnTo>
                      <a:pt x="38" y="657"/>
                    </a:lnTo>
                    <a:lnTo>
                      <a:pt x="59" y="636"/>
                    </a:lnTo>
                    <a:lnTo>
                      <a:pt x="55" y="615"/>
                    </a:lnTo>
                    <a:lnTo>
                      <a:pt x="22" y="548"/>
                    </a:lnTo>
                    <a:lnTo>
                      <a:pt x="0" y="525"/>
                    </a:lnTo>
                    <a:lnTo>
                      <a:pt x="0" y="525"/>
                    </a:lnTo>
                    <a:lnTo>
                      <a:pt x="0" y="52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24" name="Freeform 400">
                <a:extLst>
                  <a:ext uri="{FF2B5EF4-FFF2-40B4-BE49-F238E27FC236}">
                    <a16:creationId xmlns:a16="http://schemas.microsoft.com/office/drawing/2014/main" id="{2BE93CE9-3161-43E8-9CC6-A8957CD4282F}"/>
                  </a:ext>
                </a:extLst>
              </p:cNvPr>
              <p:cNvSpPr>
                <a:spLocks/>
              </p:cNvSpPr>
              <p:nvPr/>
            </p:nvSpPr>
            <p:spPr bwMode="gray">
              <a:xfrm>
                <a:off x="6748466" y="3696164"/>
                <a:ext cx="89332" cy="183625"/>
              </a:xfrm>
              <a:custGeom>
                <a:avLst/>
                <a:gdLst>
                  <a:gd name="T0" fmla="*/ 59 w 217"/>
                  <a:gd name="T1" fmla="*/ 446 h 446"/>
                  <a:gd name="T2" fmla="*/ 71 w 217"/>
                  <a:gd name="T3" fmla="*/ 441 h 446"/>
                  <a:gd name="T4" fmla="*/ 55 w 217"/>
                  <a:gd name="T5" fmla="*/ 413 h 446"/>
                  <a:gd name="T6" fmla="*/ 55 w 217"/>
                  <a:gd name="T7" fmla="*/ 392 h 446"/>
                  <a:gd name="T8" fmla="*/ 59 w 217"/>
                  <a:gd name="T9" fmla="*/ 392 h 446"/>
                  <a:gd name="T10" fmla="*/ 59 w 217"/>
                  <a:gd name="T11" fmla="*/ 354 h 446"/>
                  <a:gd name="T12" fmla="*/ 59 w 217"/>
                  <a:gd name="T13" fmla="*/ 243 h 446"/>
                  <a:gd name="T14" fmla="*/ 38 w 217"/>
                  <a:gd name="T15" fmla="*/ 210 h 446"/>
                  <a:gd name="T16" fmla="*/ 38 w 217"/>
                  <a:gd name="T17" fmla="*/ 172 h 446"/>
                  <a:gd name="T18" fmla="*/ 0 w 217"/>
                  <a:gd name="T19" fmla="*/ 148 h 446"/>
                  <a:gd name="T20" fmla="*/ 5 w 217"/>
                  <a:gd name="T21" fmla="*/ 99 h 446"/>
                  <a:gd name="T22" fmla="*/ 26 w 217"/>
                  <a:gd name="T23" fmla="*/ 82 h 446"/>
                  <a:gd name="T24" fmla="*/ 38 w 217"/>
                  <a:gd name="T25" fmla="*/ 78 h 446"/>
                  <a:gd name="T26" fmla="*/ 43 w 217"/>
                  <a:gd name="T27" fmla="*/ 66 h 446"/>
                  <a:gd name="T28" fmla="*/ 59 w 217"/>
                  <a:gd name="T29" fmla="*/ 78 h 446"/>
                  <a:gd name="T30" fmla="*/ 80 w 217"/>
                  <a:gd name="T31" fmla="*/ 66 h 446"/>
                  <a:gd name="T32" fmla="*/ 109 w 217"/>
                  <a:gd name="T33" fmla="*/ 56 h 446"/>
                  <a:gd name="T34" fmla="*/ 114 w 217"/>
                  <a:gd name="T35" fmla="*/ 40 h 446"/>
                  <a:gd name="T36" fmla="*/ 114 w 217"/>
                  <a:gd name="T37" fmla="*/ 11 h 446"/>
                  <a:gd name="T38" fmla="*/ 147 w 217"/>
                  <a:gd name="T39" fmla="*/ 0 h 446"/>
                  <a:gd name="T40" fmla="*/ 201 w 217"/>
                  <a:gd name="T41" fmla="*/ 56 h 446"/>
                  <a:gd name="T42" fmla="*/ 192 w 217"/>
                  <a:gd name="T43" fmla="*/ 66 h 446"/>
                  <a:gd name="T44" fmla="*/ 208 w 217"/>
                  <a:gd name="T45" fmla="*/ 94 h 446"/>
                  <a:gd name="T46" fmla="*/ 208 w 217"/>
                  <a:gd name="T47" fmla="*/ 115 h 446"/>
                  <a:gd name="T48" fmla="*/ 217 w 217"/>
                  <a:gd name="T49" fmla="*/ 132 h 446"/>
                  <a:gd name="T50" fmla="*/ 217 w 217"/>
                  <a:gd name="T51" fmla="*/ 148 h 446"/>
                  <a:gd name="T52" fmla="*/ 208 w 217"/>
                  <a:gd name="T53" fmla="*/ 139 h 446"/>
                  <a:gd name="T54" fmla="*/ 201 w 217"/>
                  <a:gd name="T55" fmla="*/ 156 h 446"/>
                  <a:gd name="T56" fmla="*/ 208 w 217"/>
                  <a:gd name="T57" fmla="*/ 165 h 446"/>
                  <a:gd name="T58" fmla="*/ 201 w 217"/>
                  <a:gd name="T59" fmla="*/ 177 h 446"/>
                  <a:gd name="T60" fmla="*/ 180 w 217"/>
                  <a:gd name="T61" fmla="*/ 189 h 446"/>
                  <a:gd name="T62" fmla="*/ 184 w 217"/>
                  <a:gd name="T63" fmla="*/ 193 h 446"/>
                  <a:gd name="T64" fmla="*/ 168 w 217"/>
                  <a:gd name="T65" fmla="*/ 222 h 446"/>
                  <a:gd name="T66" fmla="*/ 163 w 217"/>
                  <a:gd name="T67" fmla="*/ 243 h 446"/>
                  <a:gd name="T68" fmla="*/ 137 w 217"/>
                  <a:gd name="T69" fmla="*/ 243 h 446"/>
                  <a:gd name="T70" fmla="*/ 130 w 217"/>
                  <a:gd name="T71" fmla="*/ 330 h 446"/>
                  <a:gd name="T72" fmla="*/ 137 w 217"/>
                  <a:gd name="T73" fmla="*/ 387 h 446"/>
                  <a:gd name="T74" fmla="*/ 137 w 217"/>
                  <a:gd name="T75" fmla="*/ 441 h 446"/>
                  <a:gd name="T76" fmla="*/ 59 w 217"/>
                  <a:gd name="T77" fmla="*/ 446 h 446"/>
                  <a:gd name="T78" fmla="*/ 59 w 217"/>
                  <a:gd name="T79" fmla="*/ 446 h 446"/>
                  <a:gd name="T80" fmla="*/ 59 w 217"/>
                  <a:gd name="T81"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7" h="446">
                    <a:moveTo>
                      <a:pt x="59" y="446"/>
                    </a:moveTo>
                    <a:lnTo>
                      <a:pt x="71" y="441"/>
                    </a:lnTo>
                    <a:lnTo>
                      <a:pt x="55" y="413"/>
                    </a:lnTo>
                    <a:lnTo>
                      <a:pt x="55" y="392"/>
                    </a:lnTo>
                    <a:lnTo>
                      <a:pt x="59" y="392"/>
                    </a:lnTo>
                    <a:lnTo>
                      <a:pt x="59" y="354"/>
                    </a:lnTo>
                    <a:lnTo>
                      <a:pt x="59" y="243"/>
                    </a:lnTo>
                    <a:lnTo>
                      <a:pt x="38" y="210"/>
                    </a:lnTo>
                    <a:lnTo>
                      <a:pt x="38" y="172"/>
                    </a:lnTo>
                    <a:lnTo>
                      <a:pt x="0" y="148"/>
                    </a:lnTo>
                    <a:lnTo>
                      <a:pt x="5" y="99"/>
                    </a:lnTo>
                    <a:lnTo>
                      <a:pt x="26" y="82"/>
                    </a:lnTo>
                    <a:lnTo>
                      <a:pt x="38" y="78"/>
                    </a:lnTo>
                    <a:lnTo>
                      <a:pt x="43" y="66"/>
                    </a:lnTo>
                    <a:lnTo>
                      <a:pt x="59" y="78"/>
                    </a:lnTo>
                    <a:lnTo>
                      <a:pt x="80" y="66"/>
                    </a:lnTo>
                    <a:lnTo>
                      <a:pt x="109" y="56"/>
                    </a:lnTo>
                    <a:lnTo>
                      <a:pt x="114" y="40"/>
                    </a:lnTo>
                    <a:lnTo>
                      <a:pt x="114" y="11"/>
                    </a:lnTo>
                    <a:lnTo>
                      <a:pt x="147" y="0"/>
                    </a:lnTo>
                    <a:lnTo>
                      <a:pt x="201" y="56"/>
                    </a:lnTo>
                    <a:lnTo>
                      <a:pt x="192" y="66"/>
                    </a:lnTo>
                    <a:lnTo>
                      <a:pt x="208" y="94"/>
                    </a:lnTo>
                    <a:lnTo>
                      <a:pt x="208" y="115"/>
                    </a:lnTo>
                    <a:lnTo>
                      <a:pt x="217" y="132"/>
                    </a:lnTo>
                    <a:lnTo>
                      <a:pt x="217" y="148"/>
                    </a:lnTo>
                    <a:lnTo>
                      <a:pt x="208" y="139"/>
                    </a:lnTo>
                    <a:lnTo>
                      <a:pt x="201" y="156"/>
                    </a:lnTo>
                    <a:lnTo>
                      <a:pt x="208" y="165"/>
                    </a:lnTo>
                    <a:lnTo>
                      <a:pt x="201" y="177"/>
                    </a:lnTo>
                    <a:lnTo>
                      <a:pt x="180" y="189"/>
                    </a:lnTo>
                    <a:lnTo>
                      <a:pt x="184" y="193"/>
                    </a:lnTo>
                    <a:lnTo>
                      <a:pt x="168" y="222"/>
                    </a:lnTo>
                    <a:lnTo>
                      <a:pt x="163" y="243"/>
                    </a:lnTo>
                    <a:lnTo>
                      <a:pt x="137" y="243"/>
                    </a:lnTo>
                    <a:lnTo>
                      <a:pt x="130" y="330"/>
                    </a:lnTo>
                    <a:lnTo>
                      <a:pt x="137" y="387"/>
                    </a:lnTo>
                    <a:lnTo>
                      <a:pt x="137" y="441"/>
                    </a:lnTo>
                    <a:lnTo>
                      <a:pt x="59" y="446"/>
                    </a:lnTo>
                    <a:lnTo>
                      <a:pt x="59" y="446"/>
                    </a:lnTo>
                    <a:lnTo>
                      <a:pt x="59" y="44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25" name="Freeform 407">
                <a:extLst>
                  <a:ext uri="{FF2B5EF4-FFF2-40B4-BE49-F238E27FC236}">
                    <a16:creationId xmlns:a16="http://schemas.microsoft.com/office/drawing/2014/main" id="{EDA24DBB-61D5-4759-B90E-D482F9A7C699}"/>
                  </a:ext>
                </a:extLst>
              </p:cNvPr>
              <p:cNvSpPr>
                <a:spLocks/>
              </p:cNvSpPr>
              <p:nvPr/>
            </p:nvSpPr>
            <p:spPr bwMode="gray">
              <a:xfrm>
                <a:off x="7564396" y="4136700"/>
                <a:ext cx="51458" cy="61346"/>
              </a:xfrm>
              <a:custGeom>
                <a:avLst/>
                <a:gdLst>
                  <a:gd name="T0" fmla="*/ 21 w 125"/>
                  <a:gd name="T1" fmla="*/ 149 h 149"/>
                  <a:gd name="T2" fmla="*/ 21 w 125"/>
                  <a:gd name="T3" fmla="*/ 123 h 149"/>
                  <a:gd name="T4" fmla="*/ 17 w 125"/>
                  <a:gd name="T5" fmla="*/ 111 h 149"/>
                  <a:gd name="T6" fmla="*/ 17 w 125"/>
                  <a:gd name="T7" fmla="*/ 45 h 149"/>
                  <a:gd name="T8" fmla="*/ 0 w 125"/>
                  <a:gd name="T9" fmla="*/ 28 h 149"/>
                  <a:gd name="T10" fmla="*/ 0 w 125"/>
                  <a:gd name="T11" fmla="*/ 28 h 149"/>
                  <a:gd name="T12" fmla="*/ 0 w 125"/>
                  <a:gd name="T13" fmla="*/ 12 h 149"/>
                  <a:gd name="T14" fmla="*/ 5 w 125"/>
                  <a:gd name="T15" fmla="*/ 12 h 149"/>
                  <a:gd name="T16" fmla="*/ 21 w 125"/>
                  <a:gd name="T17" fmla="*/ 21 h 149"/>
                  <a:gd name="T18" fmla="*/ 21 w 125"/>
                  <a:gd name="T19" fmla="*/ 28 h 149"/>
                  <a:gd name="T20" fmla="*/ 54 w 125"/>
                  <a:gd name="T21" fmla="*/ 28 h 149"/>
                  <a:gd name="T22" fmla="*/ 59 w 125"/>
                  <a:gd name="T23" fmla="*/ 0 h 149"/>
                  <a:gd name="T24" fmla="*/ 76 w 125"/>
                  <a:gd name="T25" fmla="*/ 4 h 149"/>
                  <a:gd name="T26" fmla="*/ 92 w 125"/>
                  <a:gd name="T27" fmla="*/ 0 h 149"/>
                  <a:gd name="T28" fmla="*/ 109 w 125"/>
                  <a:gd name="T29" fmla="*/ 0 h 149"/>
                  <a:gd name="T30" fmla="*/ 102 w 125"/>
                  <a:gd name="T31" fmla="*/ 38 h 149"/>
                  <a:gd name="T32" fmla="*/ 102 w 125"/>
                  <a:gd name="T33" fmla="*/ 38 h 149"/>
                  <a:gd name="T34" fmla="*/ 109 w 125"/>
                  <a:gd name="T35" fmla="*/ 38 h 149"/>
                  <a:gd name="T36" fmla="*/ 125 w 125"/>
                  <a:gd name="T37" fmla="*/ 45 h 149"/>
                  <a:gd name="T38" fmla="*/ 125 w 125"/>
                  <a:gd name="T39" fmla="*/ 61 h 149"/>
                  <a:gd name="T40" fmla="*/ 102 w 125"/>
                  <a:gd name="T41" fmla="*/ 82 h 149"/>
                  <a:gd name="T42" fmla="*/ 92 w 125"/>
                  <a:gd name="T43" fmla="*/ 99 h 149"/>
                  <a:gd name="T44" fmla="*/ 92 w 125"/>
                  <a:gd name="T45" fmla="*/ 99 h 149"/>
                  <a:gd name="T46" fmla="*/ 71 w 125"/>
                  <a:gd name="T47" fmla="*/ 132 h 149"/>
                  <a:gd name="T48" fmla="*/ 54 w 125"/>
                  <a:gd name="T49" fmla="*/ 149 h 149"/>
                  <a:gd name="T50" fmla="*/ 21 w 125"/>
                  <a:gd name="T51" fmla="*/ 149 h 149"/>
                  <a:gd name="T52" fmla="*/ 21 w 125"/>
                  <a:gd name="T53" fmla="*/ 149 h 149"/>
                  <a:gd name="T54" fmla="*/ 21 w 125"/>
                  <a:gd name="T55"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5" h="149">
                    <a:moveTo>
                      <a:pt x="21" y="149"/>
                    </a:moveTo>
                    <a:lnTo>
                      <a:pt x="21" y="123"/>
                    </a:lnTo>
                    <a:lnTo>
                      <a:pt x="17" y="111"/>
                    </a:lnTo>
                    <a:lnTo>
                      <a:pt x="17" y="45"/>
                    </a:lnTo>
                    <a:lnTo>
                      <a:pt x="0" y="28"/>
                    </a:lnTo>
                    <a:lnTo>
                      <a:pt x="0" y="28"/>
                    </a:lnTo>
                    <a:lnTo>
                      <a:pt x="0" y="12"/>
                    </a:lnTo>
                    <a:lnTo>
                      <a:pt x="5" y="12"/>
                    </a:lnTo>
                    <a:lnTo>
                      <a:pt x="21" y="21"/>
                    </a:lnTo>
                    <a:lnTo>
                      <a:pt x="21" y="28"/>
                    </a:lnTo>
                    <a:lnTo>
                      <a:pt x="54" y="28"/>
                    </a:lnTo>
                    <a:lnTo>
                      <a:pt x="59" y="0"/>
                    </a:lnTo>
                    <a:lnTo>
                      <a:pt x="76" y="4"/>
                    </a:lnTo>
                    <a:lnTo>
                      <a:pt x="92" y="0"/>
                    </a:lnTo>
                    <a:lnTo>
                      <a:pt x="109" y="0"/>
                    </a:lnTo>
                    <a:lnTo>
                      <a:pt x="102" y="38"/>
                    </a:lnTo>
                    <a:lnTo>
                      <a:pt x="102" y="38"/>
                    </a:lnTo>
                    <a:lnTo>
                      <a:pt x="109" y="38"/>
                    </a:lnTo>
                    <a:lnTo>
                      <a:pt x="125" y="45"/>
                    </a:lnTo>
                    <a:lnTo>
                      <a:pt x="125" y="61"/>
                    </a:lnTo>
                    <a:lnTo>
                      <a:pt x="102" y="82"/>
                    </a:lnTo>
                    <a:lnTo>
                      <a:pt x="92" y="99"/>
                    </a:lnTo>
                    <a:lnTo>
                      <a:pt x="92" y="99"/>
                    </a:lnTo>
                    <a:lnTo>
                      <a:pt x="71" y="132"/>
                    </a:lnTo>
                    <a:lnTo>
                      <a:pt x="54" y="149"/>
                    </a:lnTo>
                    <a:lnTo>
                      <a:pt x="21" y="149"/>
                    </a:lnTo>
                    <a:lnTo>
                      <a:pt x="21" y="149"/>
                    </a:lnTo>
                    <a:lnTo>
                      <a:pt x="21" y="14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26" name="Freeform 410">
                <a:extLst>
                  <a:ext uri="{FF2B5EF4-FFF2-40B4-BE49-F238E27FC236}">
                    <a16:creationId xmlns:a16="http://schemas.microsoft.com/office/drawing/2014/main" id="{3EB57329-0B42-4DD4-8F8F-1C4BDE33F0FA}"/>
                  </a:ext>
                </a:extLst>
              </p:cNvPr>
              <p:cNvSpPr>
                <a:spLocks/>
              </p:cNvSpPr>
              <p:nvPr/>
            </p:nvSpPr>
            <p:spPr bwMode="gray">
              <a:xfrm>
                <a:off x="7114029" y="3357734"/>
                <a:ext cx="303401" cy="483354"/>
              </a:xfrm>
              <a:custGeom>
                <a:avLst/>
                <a:gdLst>
                  <a:gd name="T0" fmla="*/ 17 w 737"/>
                  <a:gd name="T1" fmla="*/ 720 h 1174"/>
                  <a:gd name="T2" fmla="*/ 17 w 737"/>
                  <a:gd name="T3" fmla="*/ 659 h 1174"/>
                  <a:gd name="T4" fmla="*/ 69 w 737"/>
                  <a:gd name="T5" fmla="*/ 569 h 1174"/>
                  <a:gd name="T6" fmla="*/ 161 w 737"/>
                  <a:gd name="T7" fmla="*/ 264 h 1174"/>
                  <a:gd name="T8" fmla="*/ 156 w 737"/>
                  <a:gd name="T9" fmla="*/ 198 h 1174"/>
                  <a:gd name="T10" fmla="*/ 123 w 737"/>
                  <a:gd name="T11" fmla="*/ 144 h 1174"/>
                  <a:gd name="T12" fmla="*/ 107 w 737"/>
                  <a:gd name="T13" fmla="*/ 33 h 1174"/>
                  <a:gd name="T14" fmla="*/ 452 w 737"/>
                  <a:gd name="T15" fmla="*/ 137 h 1174"/>
                  <a:gd name="T16" fmla="*/ 737 w 737"/>
                  <a:gd name="T17" fmla="*/ 581 h 1174"/>
                  <a:gd name="T18" fmla="*/ 666 w 737"/>
                  <a:gd name="T19" fmla="*/ 588 h 1174"/>
                  <a:gd name="T20" fmla="*/ 666 w 737"/>
                  <a:gd name="T21" fmla="*/ 621 h 1174"/>
                  <a:gd name="T22" fmla="*/ 645 w 737"/>
                  <a:gd name="T23" fmla="*/ 654 h 1174"/>
                  <a:gd name="T24" fmla="*/ 641 w 737"/>
                  <a:gd name="T25" fmla="*/ 692 h 1174"/>
                  <a:gd name="T26" fmla="*/ 607 w 737"/>
                  <a:gd name="T27" fmla="*/ 720 h 1174"/>
                  <a:gd name="T28" fmla="*/ 603 w 737"/>
                  <a:gd name="T29" fmla="*/ 770 h 1174"/>
                  <a:gd name="T30" fmla="*/ 603 w 737"/>
                  <a:gd name="T31" fmla="*/ 803 h 1174"/>
                  <a:gd name="T32" fmla="*/ 615 w 737"/>
                  <a:gd name="T33" fmla="*/ 791 h 1174"/>
                  <a:gd name="T34" fmla="*/ 631 w 737"/>
                  <a:gd name="T35" fmla="*/ 819 h 1174"/>
                  <a:gd name="T36" fmla="*/ 641 w 737"/>
                  <a:gd name="T37" fmla="*/ 881 h 1174"/>
                  <a:gd name="T38" fmla="*/ 662 w 737"/>
                  <a:gd name="T39" fmla="*/ 885 h 1174"/>
                  <a:gd name="T40" fmla="*/ 662 w 737"/>
                  <a:gd name="T41" fmla="*/ 930 h 1174"/>
                  <a:gd name="T42" fmla="*/ 577 w 737"/>
                  <a:gd name="T43" fmla="*/ 952 h 1174"/>
                  <a:gd name="T44" fmla="*/ 570 w 737"/>
                  <a:gd name="T45" fmla="*/ 987 h 1174"/>
                  <a:gd name="T46" fmla="*/ 548 w 737"/>
                  <a:gd name="T47" fmla="*/ 996 h 1174"/>
                  <a:gd name="T48" fmla="*/ 494 w 737"/>
                  <a:gd name="T49" fmla="*/ 1046 h 1174"/>
                  <a:gd name="T50" fmla="*/ 463 w 737"/>
                  <a:gd name="T51" fmla="*/ 1053 h 1174"/>
                  <a:gd name="T52" fmla="*/ 392 w 737"/>
                  <a:gd name="T53" fmla="*/ 1070 h 1174"/>
                  <a:gd name="T54" fmla="*/ 397 w 737"/>
                  <a:gd name="T55" fmla="*/ 1098 h 1174"/>
                  <a:gd name="T56" fmla="*/ 291 w 737"/>
                  <a:gd name="T57" fmla="*/ 1141 h 1174"/>
                  <a:gd name="T58" fmla="*/ 220 w 737"/>
                  <a:gd name="T59" fmla="*/ 1157 h 1174"/>
                  <a:gd name="T60" fmla="*/ 211 w 737"/>
                  <a:gd name="T61" fmla="*/ 1164 h 1174"/>
                  <a:gd name="T62" fmla="*/ 144 w 737"/>
                  <a:gd name="T63" fmla="*/ 1174 h 1174"/>
                  <a:gd name="T64" fmla="*/ 144 w 737"/>
                  <a:gd name="T65" fmla="*/ 1152 h 1174"/>
                  <a:gd name="T66" fmla="*/ 59 w 737"/>
                  <a:gd name="T67" fmla="*/ 1053 h 1174"/>
                  <a:gd name="T68" fmla="*/ 52 w 737"/>
                  <a:gd name="T69" fmla="*/ 996 h 1174"/>
                  <a:gd name="T70" fmla="*/ 161 w 737"/>
                  <a:gd name="T71" fmla="*/ 996 h 1174"/>
                  <a:gd name="T72" fmla="*/ 114 w 737"/>
                  <a:gd name="T73" fmla="*/ 935 h 1174"/>
                  <a:gd name="T74" fmla="*/ 114 w 737"/>
                  <a:gd name="T75" fmla="*/ 885 h 1174"/>
                  <a:gd name="T76" fmla="*/ 102 w 737"/>
                  <a:gd name="T77" fmla="*/ 843 h 1174"/>
                  <a:gd name="T78" fmla="*/ 76 w 737"/>
                  <a:gd name="T79" fmla="*/ 791 h 1174"/>
                  <a:gd name="T80" fmla="*/ 48 w 737"/>
                  <a:gd name="T81" fmla="*/ 770 h 1174"/>
                  <a:gd name="T82" fmla="*/ 48 w 737"/>
                  <a:gd name="T83" fmla="*/ 770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37" h="1174">
                    <a:moveTo>
                      <a:pt x="48" y="770"/>
                    </a:moveTo>
                    <a:lnTo>
                      <a:pt x="17" y="720"/>
                    </a:lnTo>
                    <a:lnTo>
                      <a:pt x="0" y="663"/>
                    </a:lnTo>
                    <a:lnTo>
                      <a:pt x="17" y="659"/>
                    </a:lnTo>
                    <a:lnTo>
                      <a:pt x="31" y="626"/>
                    </a:lnTo>
                    <a:lnTo>
                      <a:pt x="69" y="569"/>
                    </a:lnTo>
                    <a:lnTo>
                      <a:pt x="144" y="486"/>
                    </a:lnTo>
                    <a:lnTo>
                      <a:pt x="161" y="264"/>
                    </a:lnTo>
                    <a:lnTo>
                      <a:pt x="178" y="231"/>
                    </a:lnTo>
                    <a:lnTo>
                      <a:pt x="156" y="198"/>
                    </a:lnTo>
                    <a:lnTo>
                      <a:pt x="156" y="182"/>
                    </a:lnTo>
                    <a:lnTo>
                      <a:pt x="123" y="144"/>
                    </a:lnTo>
                    <a:lnTo>
                      <a:pt x="123" y="104"/>
                    </a:lnTo>
                    <a:lnTo>
                      <a:pt x="107" y="33"/>
                    </a:lnTo>
                    <a:lnTo>
                      <a:pt x="178" y="0"/>
                    </a:lnTo>
                    <a:lnTo>
                      <a:pt x="452" y="137"/>
                    </a:lnTo>
                    <a:lnTo>
                      <a:pt x="737" y="293"/>
                    </a:lnTo>
                    <a:lnTo>
                      <a:pt x="737" y="581"/>
                    </a:lnTo>
                    <a:lnTo>
                      <a:pt x="678" y="581"/>
                    </a:lnTo>
                    <a:lnTo>
                      <a:pt x="666" y="588"/>
                    </a:lnTo>
                    <a:lnTo>
                      <a:pt x="666" y="604"/>
                    </a:lnTo>
                    <a:lnTo>
                      <a:pt x="666" y="621"/>
                    </a:lnTo>
                    <a:lnTo>
                      <a:pt x="645" y="642"/>
                    </a:lnTo>
                    <a:lnTo>
                      <a:pt x="645" y="654"/>
                    </a:lnTo>
                    <a:lnTo>
                      <a:pt x="631" y="659"/>
                    </a:lnTo>
                    <a:lnTo>
                      <a:pt x="641" y="692"/>
                    </a:lnTo>
                    <a:lnTo>
                      <a:pt x="615" y="708"/>
                    </a:lnTo>
                    <a:lnTo>
                      <a:pt x="607" y="720"/>
                    </a:lnTo>
                    <a:lnTo>
                      <a:pt x="624" y="748"/>
                    </a:lnTo>
                    <a:lnTo>
                      <a:pt x="603" y="770"/>
                    </a:lnTo>
                    <a:lnTo>
                      <a:pt x="586" y="791"/>
                    </a:lnTo>
                    <a:lnTo>
                      <a:pt x="603" y="803"/>
                    </a:lnTo>
                    <a:lnTo>
                      <a:pt x="607" y="803"/>
                    </a:lnTo>
                    <a:lnTo>
                      <a:pt x="615" y="791"/>
                    </a:lnTo>
                    <a:lnTo>
                      <a:pt x="631" y="803"/>
                    </a:lnTo>
                    <a:lnTo>
                      <a:pt x="631" y="819"/>
                    </a:lnTo>
                    <a:lnTo>
                      <a:pt x="645" y="848"/>
                    </a:lnTo>
                    <a:lnTo>
                      <a:pt x="641" y="881"/>
                    </a:lnTo>
                    <a:lnTo>
                      <a:pt x="657" y="885"/>
                    </a:lnTo>
                    <a:lnTo>
                      <a:pt x="662" y="885"/>
                    </a:lnTo>
                    <a:lnTo>
                      <a:pt x="666" y="902"/>
                    </a:lnTo>
                    <a:lnTo>
                      <a:pt x="662" y="930"/>
                    </a:lnTo>
                    <a:lnTo>
                      <a:pt x="631" y="919"/>
                    </a:lnTo>
                    <a:lnTo>
                      <a:pt x="577" y="952"/>
                    </a:lnTo>
                    <a:lnTo>
                      <a:pt x="577" y="975"/>
                    </a:lnTo>
                    <a:lnTo>
                      <a:pt x="570" y="987"/>
                    </a:lnTo>
                    <a:lnTo>
                      <a:pt x="555" y="996"/>
                    </a:lnTo>
                    <a:lnTo>
                      <a:pt x="548" y="996"/>
                    </a:lnTo>
                    <a:lnTo>
                      <a:pt x="518" y="1041"/>
                    </a:lnTo>
                    <a:lnTo>
                      <a:pt x="494" y="1046"/>
                    </a:lnTo>
                    <a:lnTo>
                      <a:pt x="485" y="1063"/>
                    </a:lnTo>
                    <a:lnTo>
                      <a:pt x="463" y="1053"/>
                    </a:lnTo>
                    <a:lnTo>
                      <a:pt x="452" y="1063"/>
                    </a:lnTo>
                    <a:lnTo>
                      <a:pt x="392" y="1070"/>
                    </a:lnTo>
                    <a:lnTo>
                      <a:pt x="383" y="1079"/>
                    </a:lnTo>
                    <a:lnTo>
                      <a:pt x="397" y="1098"/>
                    </a:lnTo>
                    <a:lnTo>
                      <a:pt x="359" y="1136"/>
                    </a:lnTo>
                    <a:lnTo>
                      <a:pt x="291" y="1141"/>
                    </a:lnTo>
                    <a:lnTo>
                      <a:pt x="237" y="1174"/>
                    </a:lnTo>
                    <a:lnTo>
                      <a:pt x="220" y="1157"/>
                    </a:lnTo>
                    <a:lnTo>
                      <a:pt x="220" y="1152"/>
                    </a:lnTo>
                    <a:lnTo>
                      <a:pt x="211" y="1164"/>
                    </a:lnTo>
                    <a:lnTo>
                      <a:pt x="178" y="1174"/>
                    </a:lnTo>
                    <a:lnTo>
                      <a:pt x="144" y="1174"/>
                    </a:lnTo>
                    <a:lnTo>
                      <a:pt x="156" y="1157"/>
                    </a:lnTo>
                    <a:lnTo>
                      <a:pt x="144" y="1152"/>
                    </a:lnTo>
                    <a:lnTo>
                      <a:pt x="123" y="1103"/>
                    </a:lnTo>
                    <a:lnTo>
                      <a:pt x="59" y="1053"/>
                    </a:lnTo>
                    <a:lnTo>
                      <a:pt x="38" y="1025"/>
                    </a:lnTo>
                    <a:lnTo>
                      <a:pt x="52" y="996"/>
                    </a:lnTo>
                    <a:lnTo>
                      <a:pt x="90" y="996"/>
                    </a:lnTo>
                    <a:lnTo>
                      <a:pt x="161" y="996"/>
                    </a:lnTo>
                    <a:lnTo>
                      <a:pt x="140" y="975"/>
                    </a:lnTo>
                    <a:lnTo>
                      <a:pt x="114" y="935"/>
                    </a:lnTo>
                    <a:lnTo>
                      <a:pt x="114" y="902"/>
                    </a:lnTo>
                    <a:lnTo>
                      <a:pt x="114" y="885"/>
                    </a:lnTo>
                    <a:lnTo>
                      <a:pt x="114" y="843"/>
                    </a:lnTo>
                    <a:lnTo>
                      <a:pt x="102" y="843"/>
                    </a:lnTo>
                    <a:lnTo>
                      <a:pt x="102" y="803"/>
                    </a:lnTo>
                    <a:lnTo>
                      <a:pt x="76" y="791"/>
                    </a:lnTo>
                    <a:lnTo>
                      <a:pt x="69" y="770"/>
                    </a:lnTo>
                    <a:lnTo>
                      <a:pt x="48" y="770"/>
                    </a:lnTo>
                    <a:lnTo>
                      <a:pt x="48" y="770"/>
                    </a:lnTo>
                    <a:lnTo>
                      <a:pt x="48" y="77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27" name="Freeform 411">
                <a:extLst>
                  <a:ext uri="{FF2B5EF4-FFF2-40B4-BE49-F238E27FC236}">
                    <a16:creationId xmlns:a16="http://schemas.microsoft.com/office/drawing/2014/main" id="{054CBB1A-D08D-47D3-816A-AC92368E274E}"/>
                  </a:ext>
                </a:extLst>
              </p:cNvPr>
              <p:cNvSpPr>
                <a:spLocks noEditPoints="1"/>
              </p:cNvSpPr>
              <p:nvPr/>
            </p:nvSpPr>
            <p:spPr bwMode="gray">
              <a:xfrm>
                <a:off x="9025001" y="3772743"/>
                <a:ext cx="64220" cy="115691"/>
              </a:xfrm>
              <a:custGeom>
                <a:avLst/>
                <a:gdLst>
                  <a:gd name="T0" fmla="*/ 17 w 156"/>
                  <a:gd name="T1" fmla="*/ 182 h 281"/>
                  <a:gd name="T2" fmla="*/ 12 w 156"/>
                  <a:gd name="T3" fmla="*/ 116 h 281"/>
                  <a:gd name="T4" fmla="*/ 12 w 156"/>
                  <a:gd name="T5" fmla="*/ 111 h 281"/>
                  <a:gd name="T6" fmla="*/ 12 w 156"/>
                  <a:gd name="T7" fmla="*/ 133 h 281"/>
                  <a:gd name="T8" fmla="*/ 17 w 156"/>
                  <a:gd name="T9" fmla="*/ 133 h 281"/>
                  <a:gd name="T10" fmla="*/ 17 w 156"/>
                  <a:gd name="T11" fmla="*/ 95 h 281"/>
                  <a:gd name="T12" fmla="*/ 28 w 156"/>
                  <a:gd name="T13" fmla="*/ 88 h 281"/>
                  <a:gd name="T14" fmla="*/ 28 w 156"/>
                  <a:gd name="T15" fmla="*/ 59 h 281"/>
                  <a:gd name="T16" fmla="*/ 33 w 156"/>
                  <a:gd name="T17" fmla="*/ 55 h 281"/>
                  <a:gd name="T18" fmla="*/ 33 w 156"/>
                  <a:gd name="T19" fmla="*/ 33 h 281"/>
                  <a:gd name="T20" fmla="*/ 38 w 156"/>
                  <a:gd name="T21" fmla="*/ 22 h 281"/>
                  <a:gd name="T22" fmla="*/ 33 w 156"/>
                  <a:gd name="T23" fmla="*/ 17 h 281"/>
                  <a:gd name="T24" fmla="*/ 71 w 156"/>
                  <a:gd name="T25" fmla="*/ 33 h 281"/>
                  <a:gd name="T26" fmla="*/ 28 w 156"/>
                  <a:gd name="T27" fmla="*/ 5 h 281"/>
                  <a:gd name="T28" fmla="*/ 28 w 156"/>
                  <a:gd name="T29" fmla="*/ 0 h 281"/>
                  <a:gd name="T30" fmla="*/ 33 w 156"/>
                  <a:gd name="T31" fmla="*/ 0 h 281"/>
                  <a:gd name="T32" fmla="*/ 54 w 156"/>
                  <a:gd name="T33" fmla="*/ 17 h 281"/>
                  <a:gd name="T34" fmla="*/ 38 w 156"/>
                  <a:gd name="T35" fmla="*/ 0 h 281"/>
                  <a:gd name="T36" fmla="*/ 50 w 156"/>
                  <a:gd name="T37" fmla="*/ 0 h 281"/>
                  <a:gd name="T38" fmla="*/ 85 w 156"/>
                  <a:gd name="T39" fmla="*/ 38 h 281"/>
                  <a:gd name="T40" fmla="*/ 92 w 156"/>
                  <a:gd name="T41" fmla="*/ 59 h 281"/>
                  <a:gd name="T42" fmla="*/ 102 w 156"/>
                  <a:gd name="T43" fmla="*/ 59 h 281"/>
                  <a:gd name="T44" fmla="*/ 106 w 156"/>
                  <a:gd name="T45" fmla="*/ 88 h 281"/>
                  <a:gd name="T46" fmla="*/ 118 w 156"/>
                  <a:gd name="T47" fmla="*/ 95 h 281"/>
                  <a:gd name="T48" fmla="*/ 106 w 156"/>
                  <a:gd name="T49" fmla="*/ 95 h 281"/>
                  <a:gd name="T50" fmla="*/ 123 w 156"/>
                  <a:gd name="T51" fmla="*/ 95 h 281"/>
                  <a:gd name="T52" fmla="*/ 123 w 156"/>
                  <a:gd name="T53" fmla="*/ 116 h 281"/>
                  <a:gd name="T54" fmla="*/ 156 w 156"/>
                  <a:gd name="T55" fmla="*/ 170 h 281"/>
                  <a:gd name="T56" fmla="*/ 156 w 156"/>
                  <a:gd name="T57" fmla="*/ 206 h 281"/>
                  <a:gd name="T58" fmla="*/ 139 w 156"/>
                  <a:gd name="T59" fmla="*/ 244 h 281"/>
                  <a:gd name="T60" fmla="*/ 118 w 156"/>
                  <a:gd name="T61" fmla="*/ 260 h 281"/>
                  <a:gd name="T62" fmla="*/ 71 w 156"/>
                  <a:gd name="T63" fmla="*/ 281 h 281"/>
                  <a:gd name="T64" fmla="*/ 38 w 156"/>
                  <a:gd name="T65" fmla="*/ 277 h 281"/>
                  <a:gd name="T66" fmla="*/ 33 w 156"/>
                  <a:gd name="T67" fmla="*/ 260 h 281"/>
                  <a:gd name="T68" fmla="*/ 17 w 156"/>
                  <a:gd name="T69" fmla="*/ 222 h 281"/>
                  <a:gd name="T70" fmla="*/ 17 w 156"/>
                  <a:gd name="T71" fmla="*/ 182 h 281"/>
                  <a:gd name="T72" fmla="*/ 17 w 156"/>
                  <a:gd name="T73" fmla="*/ 182 h 281"/>
                  <a:gd name="T74" fmla="*/ 17 w 156"/>
                  <a:gd name="T75" fmla="*/ 182 h 281"/>
                  <a:gd name="T76" fmla="*/ 17 w 156"/>
                  <a:gd name="T77" fmla="*/ 5 h 281"/>
                  <a:gd name="T78" fmla="*/ 28 w 156"/>
                  <a:gd name="T79" fmla="*/ 17 h 281"/>
                  <a:gd name="T80" fmla="*/ 17 w 156"/>
                  <a:gd name="T81" fmla="*/ 5 h 281"/>
                  <a:gd name="T82" fmla="*/ 17 w 156"/>
                  <a:gd name="T83" fmla="*/ 5 h 281"/>
                  <a:gd name="T84" fmla="*/ 17 w 156"/>
                  <a:gd name="T85" fmla="*/ 5 h 281"/>
                  <a:gd name="T86" fmla="*/ 17 w 156"/>
                  <a:gd name="T87" fmla="*/ 5 h 281"/>
                  <a:gd name="T88" fmla="*/ 12 w 156"/>
                  <a:gd name="T89" fmla="*/ 55 h 281"/>
                  <a:gd name="T90" fmla="*/ 17 w 156"/>
                  <a:gd name="T91" fmla="*/ 59 h 281"/>
                  <a:gd name="T92" fmla="*/ 0 w 156"/>
                  <a:gd name="T93" fmla="*/ 55 h 281"/>
                  <a:gd name="T94" fmla="*/ 12 w 156"/>
                  <a:gd name="T95" fmla="*/ 55 h 281"/>
                  <a:gd name="T96" fmla="*/ 12 w 156"/>
                  <a:gd name="T97" fmla="*/ 55 h 281"/>
                  <a:gd name="T98" fmla="*/ 12 w 156"/>
                  <a:gd name="T99" fmla="*/ 55 h 281"/>
                  <a:gd name="T100" fmla="*/ 144 w 156"/>
                  <a:gd name="T101" fmla="*/ 154 h 281"/>
                  <a:gd name="T102" fmla="*/ 156 w 156"/>
                  <a:gd name="T103" fmla="*/ 170 h 281"/>
                  <a:gd name="T104" fmla="*/ 144 w 156"/>
                  <a:gd name="T105" fmla="*/ 149 h 281"/>
                  <a:gd name="T106" fmla="*/ 144 w 156"/>
                  <a:gd name="T107" fmla="*/ 154 h 281"/>
                  <a:gd name="T108" fmla="*/ 144 w 156"/>
                  <a:gd name="T109" fmla="*/ 154 h 281"/>
                  <a:gd name="T110" fmla="*/ 144 w 156"/>
                  <a:gd name="T111" fmla="*/ 15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6" h="281">
                    <a:moveTo>
                      <a:pt x="17" y="182"/>
                    </a:moveTo>
                    <a:lnTo>
                      <a:pt x="12" y="116"/>
                    </a:lnTo>
                    <a:lnTo>
                      <a:pt x="12" y="111"/>
                    </a:lnTo>
                    <a:lnTo>
                      <a:pt x="12" y="133"/>
                    </a:lnTo>
                    <a:lnTo>
                      <a:pt x="17" y="133"/>
                    </a:lnTo>
                    <a:lnTo>
                      <a:pt x="17" y="95"/>
                    </a:lnTo>
                    <a:lnTo>
                      <a:pt x="28" y="88"/>
                    </a:lnTo>
                    <a:lnTo>
                      <a:pt x="28" y="59"/>
                    </a:lnTo>
                    <a:lnTo>
                      <a:pt x="33" y="55"/>
                    </a:lnTo>
                    <a:lnTo>
                      <a:pt x="33" y="33"/>
                    </a:lnTo>
                    <a:lnTo>
                      <a:pt x="38" y="22"/>
                    </a:lnTo>
                    <a:lnTo>
                      <a:pt x="33" y="17"/>
                    </a:lnTo>
                    <a:lnTo>
                      <a:pt x="71" y="33"/>
                    </a:lnTo>
                    <a:lnTo>
                      <a:pt x="28" y="5"/>
                    </a:lnTo>
                    <a:lnTo>
                      <a:pt x="28" y="0"/>
                    </a:lnTo>
                    <a:lnTo>
                      <a:pt x="33" y="0"/>
                    </a:lnTo>
                    <a:lnTo>
                      <a:pt x="54" y="17"/>
                    </a:lnTo>
                    <a:lnTo>
                      <a:pt x="38" y="0"/>
                    </a:lnTo>
                    <a:lnTo>
                      <a:pt x="50" y="0"/>
                    </a:lnTo>
                    <a:lnTo>
                      <a:pt x="85" y="38"/>
                    </a:lnTo>
                    <a:lnTo>
                      <a:pt x="92" y="59"/>
                    </a:lnTo>
                    <a:lnTo>
                      <a:pt x="102" y="59"/>
                    </a:lnTo>
                    <a:lnTo>
                      <a:pt x="106" y="88"/>
                    </a:lnTo>
                    <a:lnTo>
                      <a:pt x="118" y="95"/>
                    </a:lnTo>
                    <a:lnTo>
                      <a:pt x="106" y="95"/>
                    </a:lnTo>
                    <a:lnTo>
                      <a:pt x="123" y="95"/>
                    </a:lnTo>
                    <a:lnTo>
                      <a:pt x="123" y="116"/>
                    </a:lnTo>
                    <a:lnTo>
                      <a:pt x="156" y="170"/>
                    </a:lnTo>
                    <a:lnTo>
                      <a:pt x="156" y="206"/>
                    </a:lnTo>
                    <a:lnTo>
                      <a:pt x="139" y="244"/>
                    </a:lnTo>
                    <a:lnTo>
                      <a:pt x="118" y="260"/>
                    </a:lnTo>
                    <a:lnTo>
                      <a:pt x="71" y="281"/>
                    </a:lnTo>
                    <a:lnTo>
                      <a:pt x="38" y="277"/>
                    </a:lnTo>
                    <a:lnTo>
                      <a:pt x="33" y="260"/>
                    </a:lnTo>
                    <a:lnTo>
                      <a:pt x="17" y="222"/>
                    </a:lnTo>
                    <a:lnTo>
                      <a:pt x="17" y="182"/>
                    </a:lnTo>
                    <a:lnTo>
                      <a:pt x="17" y="182"/>
                    </a:lnTo>
                    <a:lnTo>
                      <a:pt x="17" y="182"/>
                    </a:lnTo>
                    <a:close/>
                    <a:moveTo>
                      <a:pt x="17" y="5"/>
                    </a:moveTo>
                    <a:lnTo>
                      <a:pt x="28" y="17"/>
                    </a:lnTo>
                    <a:lnTo>
                      <a:pt x="17" y="5"/>
                    </a:lnTo>
                    <a:lnTo>
                      <a:pt x="17" y="5"/>
                    </a:lnTo>
                    <a:lnTo>
                      <a:pt x="17" y="5"/>
                    </a:lnTo>
                    <a:lnTo>
                      <a:pt x="17" y="5"/>
                    </a:lnTo>
                    <a:close/>
                    <a:moveTo>
                      <a:pt x="12" y="55"/>
                    </a:moveTo>
                    <a:lnTo>
                      <a:pt x="17" y="59"/>
                    </a:lnTo>
                    <a:lnTo>
                      <a:pt x="0" y="55"/>
                    </a:lnTo>
                    <a:lnTo>
                      <a:pt x="12" y="55"/>
                    </a:lnTo>
                    <a:lnTo>
                      <a:pt x="12" y="55"/>
                    </a:lnTo>
                    <a:lnTo>
                      <a:pt x="12" y="55"/>
                    </a:lnTo>
                    <a:close/>
                    <a:moveTo>
                      <a:pt x="144" y="154"/>
                    </a:moveTo>
                    <a:lnTo>
                      <a:pt x="156" y="170"/>
                    </a:lnTo>
                    <a:lnTo>
                      <a:pt x="144" y="149"/>
                    </a:lnTo>
                    <a:lnTo>
                      <a:pt x="144" y="154"/>
                    </a:lnTo>
                    <a:lnTo>
                      <a:pt x="144" y="154"/>
                    </a:lnTo>
                    <a:lnTo>
                      <a:pt x="144" y="15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28" name="Freeform 412">
                <a:extLst>
                  <a:ext uri="{FF2B5EF4-FFF2-40B4-BE49-F238E27FC236}">
                    <a16:creationId xmlns:a16="http://schemas.microsoft.com/office/drawing/2014/main" id="{E026A07D-DDBA-439B-91FC-5F80483C9F7E}"/>
                  </a:ext>
                </a:extLst>
              </p:cNvPr>
              <p:cNvSpPr>
                <a:spLocks/>
              </p:cNvSpPr>
              <p:nvPr/>
            </p:nvSpPr>
            <p:spPr bwMode="gray">
              <a:xfrm>
                <a:off x="7046927" y="3955546"/>
                <a:ext cx="214892" cy="258970"/>
              </a:xfrm>
              <a:custGeom>
                <a:avLst/>
                <a:gdLst>
                  <a:gd name="T0" fmla="*/ 123 w 522"/>
                  <a:gd name="T1" fmla="*/ 589 h 629"/>
                  <a:gd name="T2" fmla="*/ 107 w 522"/>
                  <a:gd name="T3" fmla="*/ 596 h 629"/>
                  <a:gd name="T4" fmla="*/ 85 w 522"/>
                  <a:gd name="T5" fmla="*/ 612 h 629"/>
                  <a:gd name="T6" fmla="*/ 59 w 522"/>
                  <a:gd name="T7" fmla="*/ 629 h 629"/>
                  <a:gd name="T8" fmla="*/ 48 w 522"/>
                  <a:gd name="T9" fmla="*/ 596 h 629"/>
                  <a:gd name="T10" fmla="*/ 5 w 522"/>
                  <a:gd name="T11" fmla="*/ 534 h 629"/>
                  <a:gd name="T12" fmla="*/ 48 w 522"/>
                  <a:gd name="T13" fmla="*/ 534 h 629"/>
                  <a:gd name="T14" fmla="*/ 52 w 522"/>
                  <a:gd name="T15" fmla="*/ 522 h 629"/>
                  <a:gd name="T16" fmla="*/ 38 w 522"/>
                  <a:gd name="T17" fmla="*/ 501 h 629"/>
                  <a:gd name="T18" fmla="*/ 38 w 522"/>
                  <a:gd name="T19" fmla="*/ 468 h 629"/>
                  <a:gd name="T20" fmla="*/ 38 w 522"/>
                  <a:gd name="T21" fmla="*/ 452 h 629"/>
                  <a:gd name="T22" fmla="*/ 48 w 522"/>
                  <a:gd name="T23" fmla="*/ 444 h 629"/>
                  <a:gd name="T24" fmla="*/ 69 w 522"/>
                  <a:gd name="T25" fmla="*/ 444 h 629"/>
                  <a:gd name="T26" fmla="*/ 90 w 522"/>
                  <a:gd name="T27" fmla="*/ 407 h 629"/>
                  <a:gd name="T28" fmla="*/ 107 w 522"/>
                  <a:gd name="T29" fmla="*/ 395 h 629"/>
                  <a:gd name="T30" fmla="*/ 128 w 522"/>
                  <a:gd name="T31" fmla="*/ 440 h 629"/>
                  <a:gd name="T32" fmla="*/ 182 w 522"/>
                  <a:gd name="T33" fmla="*/ 423 h 629"/>
                  <a:gd name="T34" fmla="*/ 211 w 522"/>
                  <a:gd name="T35" fmla="*/ 444 h 629"/>
                  <a:gd name="T36" fmla="*/ 232 w 522"/>
                  <a:gd name="T37" fmla="*/ 407 h 629"/>
                  <a:gd name="T38" fmla="*/ 232 w 522"/>
                  <a:gd name="T39" fmla="*/ 340 h 629"/>
                  <a:gd name="T40" fmla="*/ 232 w 522"/>
                  <a:gd name="T41" fmla="*/ 300 h 629"/>
                  <a:gd name="T42" fmla="*/ 211 w 522"/>
                  <a:gd name="T43" fmla="*/ 284 h 629"/>
                  <a:gd name="T44" fmla="*/ 194 w 522"/>
                  <a:gd name="T45" fmla="*/ 279 h 629"/>
                  <a:gd name="T46" fmla="*/ 211 w 522"/>
                  <a:gd name="T47" fmla="*/ 229 h 629"/>
                  <a:gd name="T48" fmla="*/ 237 w 522"/>
                  <a:gd name="T49" fmla="*/ 201 h 629"/>
                  <a:gd name="T50" fmla="*/ 182 w 522"/>
                  <a:gd name="T51" fmla="*/ 168 h 629"/>
                  <a:gd name="T52" fmla="*/ 144 w 522"/>
                  <a:gd name="T53" fmla="*/ 168 h 629"/>
                  <a:gd name="T54" fmla="*/ 156 w 522"/>
                  <a:gd name="T55" fmla="*/ 111 h 629"/>
                  <a:gd name="T56" fmla="*/ 265 w 522"/>
                  <a:gd name="T57" fmla="*/ 118 h 629"/>
                  <a:gd name="T58" fmla="*/ 345 w 522"/>
                  <a:gd name="T59" fmla="*/ 152 h 629"/>
                  <a:gd name="T60" fmla="*/ 345 w 522"/>
                  <a:gd name="T61" fmla="*/ 111 h 629"/>
                  <a:gd name="T62" fmla="*/ 378 w 522"/>
                  <a:gd name="T63" fmla="*/ 62 h 629"/>
                  <a:gd name="T64" fmla="*/ 383 w 522"/>
                  <a:gd name="T65" fmla="*/ 7 h 629"/>
                  <a:gd name="T66" fmla="*/ 447 w 522"/>
                  <a:gd name="T67" fmla="*/ 0 h 629"/>
                  <a:gd name="T68" fmla="*/ 468 w 522"/>
                  <a:gd name="T69" fmla="*/ 7 h 629"/>
                  <a:gd name="T70" fmla="*/ 492 w 522"/>
                  <a:gd name="T71" fmla="*/ 19 h 629"/>
                  <a:gd name="T72" fmla="*/ 522 w 522"/>
                  <a:gd name="T73" fmla="*/ 19 h 629"/>
                  <a:gd name="T74" fmla="*/ 485 w 522"/>
                  <a:gd name="T75" fmla="*/ 102 h 629"/>
                  <a:gd name="T76" fmla="*/ 480 w 522"/>
                  <a:gd name="T77" fmla="*/ 201 h 629"/>
                  <a:gd name="T78" fmla="*/ 463 w 522"/>
                  <a:gd name="T79" fmla="*/ 279 h 629"/>
                  <a:gd name="T80" fmla="*/ 437 w 522"/>
                  <a:gd name="T81" fmla="*/ 340 h 629"/>
                  <a:gd name="T82" fmla="*/ 378 w 522"/>
                  <a:gd name="T83" fmla="*/ 407 h 629"/>
                  <a:gd name="T84" fmla="*/ 362 w 522"/>
                  <a:gd name="T85" fmla="*/ 506 h 629"/>
                  <a:gd name="T86" fmla="*/ 307 w 522"/>
                  <a:gd name="T87" fmla="*/ 555 h 629"/>
                  <a:gd name="T88" fmla="*/ 286 w 522"/>
                  <a:gd name="T89" fmla="*/ 579 h 629"/>
                  <a:gd name="T90" fmla="*/ 248 w 522"/>
                  <a:gd name="T91" fmla="*/ 617 h 629"/>
                  <a:gd name="T92" fmla="*/ 232 w 522"/>
                  <a:gd name="T93" fmla="*/ 596 h 629"/>
                  <a:gd name="T94" fmla="*/ 232 w 522"/>
                  <a:gd name="T95" fmla="*/ 579 h 629"/>
                  <a:gd name="T96" fmla="*/ 182 w 522"/>
                  <a:gd name="T97" fmla="*/ 589 h 629"/>
                  <a:gd name="T98" fmla="*/ 166 w 522"/>
                  <a:gd name="T99" fmla="*/ 612 h 629"/>
                  <a:gd name="T100" fmla="*/ 140 w 522"/>
                  <a:gd name="T101" fmla="*/ 596 h 629"/>
                  <a:gd name="T102" fmla="*/ 140 w 522"/>
                  <a:gd name="T103" fmla="*/ 605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2" h="629">
                    <a:moveTo>
                      <a:pt x="140" y="605"/>
                    </a:moveTo>
                    <a:lnTo>
                      <a:pt x="123" y="589"/>
                    </a:lnTo>
                    <a:lnTo>
                      <a:pt x="114" y="589"/>
                    </a:lnTo>
                    <a:lnTo>
                      <a:pt x="107" y="596"/>
                    </a:lnTo>
                    <a:lnTo>
                      <a:pt x="90" y="605"/>
                    </a:lnTo>
                    <a:lnTo>
                      <a:pt x="85" y="612"/>
                    </a:lnTo>
                    <a:lnTo>
                      <a:pt x="76" y="612"/>
                    </a:lnTo>
                    <a:lnTo>
                      <a:pt x="59" y="629"/>
                    </a:lnTo>
                    <a:lnTo>
                      <a:pt x="48" y="612"/>
                    </a:lnTo>
                    <a:lnTo>
                      <a:pt x="48" y="596"/>
                    </a:lnTo>
                    <a:lnTo>
                      <a:pt x="0" y="551"/>
                    </a:lnTo>
                    <a:lnTo>
                      <a:pt x="5" y="534"/>
                    </a:lnTo>
                    <a:lnTo>
                      <a:pt x="31" y="522"/>
                    </a:lnTo>
                    <a:lnTo>
                      <a:pt x="48" y="534"/>
                    </a:lnTo>
                    <a:lnTo>
                      <a:pt x="52" y="534"/>
                    </a:lnTo>
                    <a:lnTo>
                      <a:pt x="52" y="522"/>
                    </a:lnTo>
                    <a:lnTo>
                      <a:pt x="59" y="506"/>
                    </a:lnTo>
                    <a:lnTo>
                      <a:pt x="38" y="501"/>
                    </a:lnTo>
                    <a:lnTo>
                      <a:pt x="48" y="485"/>
                    </a:lnTo>
                    <a:lnTo>
                      <a:pt x="38" y="468"/>
                    </a:lnTo>
                    <a:lnTo>
                      <a:pt x="31" y="478"/>
                    </a:lnTo>
                    <a:lnTo>
                      <a:pt x="38" y="452"/>
                    </a:lnTo>
                    <a:lnTo>
                      <a:pt x="31" y="440"/>
                    </a:lnTo>
                    <a:lnTo>
                      <a:pt x="48" y="444"/>
                    </a:lnTo>
                    <a:lnTo>
                      <a:pt x="59" y="440"/>
                    </a:lnTo>
                    <a:lnTo>
                      <a:pt x="69" y="444"/>
                    </a:lnTo>
                    <a:lnTo>
                      <a:pt x="90" y="440"/>
                    </a:lnTo>
                    <a:lnTo>
                      <a:pt x="90" y="407"/>
                    </a:lnTo>
                    <a:lnTo>
                      <a:pt x="102" y="407"/>
                    </a:lnTo>
                    <a:lnTo>
                      <a:pt x="107" y="395"/>
                    </a:lnTo>
                    <a:lnTo>
                      <a:pt x="123" y="407"/>
                    </a:lnTo>
                    <a:lnTo>
                      <a:pt x="128" y="440"/>
                    </a:lnTo>
                    <a:lnTo>
                      <a:pt x="166" y="444"/>
                    </a:lnTo>
                    <a:lnTo>
                      <a:pt x="182" y="423"/>
                    </a:lnTo>
                    <a:lnTo>
                      <a:pt x="194" y="444"/>
                    </a:lnTo>
                    <a:lnTo>
                      <a:pt x="211" y="444"/>
                    </a:lnTo>
                    <a:lnTo>
                      <a:pt x="220" y="411"/>
                    </a:lnTo>
                    <a:lnTo>
                      <a:pt x="232" y="407"/>
                    </a:lnTo>
                    <a:lnTo>
                      <a:pt x="237" y="357"/>
                    </a:lnTo>
                    <a:lnTo>
                      <a:pt x="232" y="340"/>
                    </a:lnTo>
                    <a:lnTo>
                      <a:pt x="237" y="312"/>
                    </a:lnTo>
                    <a:lnTo>
                      <a:pt x="232" y="300"/>
                    </a:lnTo>
                    <a:lnTo>
                      <a:pt x="215" y="300"/>
                    </a:lnTo>
                    <a:lnTo>
                      <a:pt x="211" y="284"/>
                    </a:lnTo>
                    <a:lnTo>
                      <a:pt x="194" y="284"/>
                    </a:lnTo>
                    <a:lnTo>
                      <a:pt x="194" y="279"/>
                    </a:lnTo>
                    <a:lnTo>
                      <a:pt x="199" y="246"/>
                    </a:lnTo>
                    <a:lnTo>
                      <a:pt x="211" y="229"/>
                    </a:lnTo>
                    <a:lnTo>
                      <a:pt x="220" y="222"/>
                    </a:lnTo>
                    <a:lnTo>
                      <a:pt x="237" y="201"/>
                    </a:lnTo>
                    <a:lnTo>
                      <a:pt x="215" y="168"/>
                    </a:lnTo>
                    <a:lnTo>
                      <a:pt x="182" y="168"/>
                    </a:lnTo>
                    <a:lnTo>
                      <a:pt x="144" y="185"/>
                    </a:lnTo>
                    <a:lnTo>
                      <a:pt x="144" y="168"/>
                    </a:lnTo>
                    <a:lnTo>
                      <a:pt x="140" y="147"/>
                    </a:lnTo>
                    <a:lnTo>
                      <a:pt x="156" y="111"/>
                    </a:lnTo>
                    <a:lnTo>
                      <a:pt x="237" y="111"/>
                    </a:lnTo>
                    <a:lnTo>
                      <a:pt x="265" y="118"/>
                    </a:lnTo>
                    <a:lnTo>
                      <a:pt x="324" y="128"/>
                    </a:lnTo>
                    <a:lnTo>
                      <a:pt x="345" y="152"/>
                    </a:lnTo>
                    <a:lnTo>
                      <a:pt x="355" y="147"/>
                    </a:lnTo>
                    <a:lnTo>
                      <a:pt x="345" y="111"/>
                    </a:lnTo>
                    <a:lnTo>
                      <a:pt x="355" y="102"/>
                    </a:lnTo>
                    <a:lnTo>
                      <a:pt x="378" y="62"/>
                    </a:lnTo>
                    <a:lnTo>
                      <a:pt x="378" y="41"/>
                    </a:lnTo>
                    <a:lnTo>
                      <a:pt x="383" y="7"/>
                    </a:lnTo>
                    <a:lnTo>
                      <a:pt x="437" y="7"/>
                    </a:lnTo>
                    <a:lnTo>
                      <a:pt x="447" y="0"/>
                    </a:lnTo>
                    <a:lnTo>
                      <a:pt x="468" y="7"/>
                    </a:lnTo>
                    <a:lnTo>
                      <a:pt x="468" y="7"/>
                    </a:lnTo>
                    <a:lnTo>
                      <a:pt x="492" y="7"/>
                    </a:lnTo>
                    <a:lnTo>
                      <a:pt x="492" y="19"/>
                    </a:lnTo>
                    <a:lnTo>
                      <a:pt x="518" y="0"/>
                    </a:lnTo>
                    <a:lnTo>
                      <a:pt x="522" y="19"/>
                    </a:lnTo>
                    <a:lnTo>
                      <a:pt x="522" y="41"/>
                    </a:lnTo>
                    <a:lnTo>
                      <a:pt x="485" y="102"/>
                    </a:lnTo>
                    <a:lnTo>
                      <a:pt x="485" y="156"/>
                    </a:lnTo>
                    <a:lnTo>
                      <a:pt x="480" y="201"/>
                    </a:lnTo>
                    <a:lnTo>
                      <a:pt x="480" y="239"/>
                    </a:lnTo>
                    <a:lnTo>
                      <a:pt x="463" y="279"/>
                    </a:lnTo>
                    <a:lnTo>
                      <a:pt x="463" y="312"/>
                    </a:lnTo>
                    <a:lnTo>
                      <a:pt x="437" y="340"/>
                    </a:lnTo>
                    <a:lnTo>
                      <a:pt x="400" y="357"/>
                    </a:lnTo>
                    <a:lnTo>
                      <a:pt x="378" y="407"/>
                    </a:lnTo>
                    <a:lnTo>
                      <a:pt x="355" y="423"/>
                    </a:lnTo>
                    <a:lnTo>
                      <a:pt x="362" y="506"/>
                    </a:lnTo>
                    <a:lnTo>
                      <a:pt x="329" y="551"/>
                    </a:lnTo>
                    <a:lnTo>
                      <a:pt x="307" y="555"/>
                    </a:lnTo>
                    <a:lnTo>
                      <a:pt x="307" y="572"/>
                    </a:lnTo>
                    <a:lnTo>
                      <a:pt x="286" y="579"/>
                    </a:lnTo>
                    <a:lnTo>
                      <a:pt x="265" y="612"/>
                    </a:lnTo>
                    <a:lnTo>
                      <a:pt x="248" y="617"/>
                    </a:lnTo>
                    <a:lnTo>
                      <a:pt x="232" y="617"/>
                    </a:lnTo>
                    <a:lnTo>
                      <a:pt x="232" y="596"/>
                    </a:lnTo>
                    <a:lnTo>
                      <a:pt x="237" y="589"/>
                    </a:lnTo>
                    <a:lnTo>
                      <a:pt x="232" y="579"/>
                    </a:lnTo>
                    <a:lnTo>
                      <a:pt x="199" y="589"/>
                    </a:lnTo>
                    <a:lnTo>
                      <a:pt x="182" y="589"/>
                    </a:lnTo>
                    <a:lnTo>
                      <a:pt x="182" y="612"/>
                    </a:lnTo>
                    <a:lnTo>
                      <a:pt x="166" y="612"/>
                    </a:lnTo>
                    <a:lnTo>
                      <a:pt x="161" y="617"/>
                    </a:lnTo>
                    <a:lnTo>
                      <a:pt x="140" y="596"/>
                    </a:lnTo>
                    <a:lnTo>
                      <a:pt x="140" y="605"/>
                    </a:lnTo>
                    <a:lnTo>
                      <a:pt x="140" y="605"/>
                    </a:lnTo>
                    <a:lnTo>
                      <a:pt x="140" y="60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29" name="Freeform 413">
                <a:extLst>
                  <a:ext uri="{FF2B5EF4-FFF2-40B4-BE49-F238E27FC236}">
                    <a16:creationId xmlns:a16="http://schemas.microsoft.com/office/drawing/2014/main" id="{67328B63-F6AA-4DEC-9602-5A230C219CC8}"/>
                  </a:ext>
                </a:extLst>
              </p:cNvPr>
              <p:cNvSpPr>
                <a:spLocks noEditPoints="1"/>
              </p:cNvSpPr>
              <p:nvPr/>
            </p:nvSpPr>
            <p:spPr bwMode="gray">
              <a:xfrm>
                <a:off x="7078214" y="3905316"/>
                <a:ext cx="553285" cy="561993"/>
              </a:xfrm>
              <a:custGeom>
                <a:avLst/>
                <a:gdLst>
                  <a:gd name="T0" fmla="*/ 38 w 1344"/>
                  <a:gd name="T1" fmla="*/ 819 h 1365"/>
                  <a:gd name="T2" fmla="*/ 28 w 1344"/>
                  <a:gd name="T3" fmla="*/ 748 h 1365"/>
                  <a:gd name="T4" fmla="*/ 87 w 1344"/>
                  <a:gd name="T5" fmla="*/ 737 h 1365"/>
                  <a:gd name="T6" fmla="*/ 125 w 1344"/>
                  <a:gd name="T7" fmla="*/ 708 h 1365"/>
                  <a:gd name="T8" fmla="*/ 158 w 1344"/>
                  <a:gd name="T9" fmla="*/ 737 h 1365"/>
                  <a:gd name="T10" fmla="*/ 234 w 1344"/>
                  <a:gd name="T11" fmla="*/ 692 h 1365"/>
                  <a:gd name="T12" fmla="*/ 281 w 1344"/>
                  <a:gd name="T13" fmla="*/ 543 h 1365"/>
                  <a:gd name="T14" fmla="*/ 390 w 1344"/>
                  <a:gd name="T15" fmla="*/ 432 h 1365"/>
                  <a:gd name="T16" fmla="*/ 411 w 1344"/>
                  <a:gd name="T17" fmla="*/ 276 h 1365"/>
                  <a:gd name="T18" fmla="*/ 458 w 1344"/>
                  <a:gd name="T19" fmla="*/ 99 h 1365"/>
                  <a:gd name="T20" fmla="*/ 503 w 1344"/>
                  <a:gd name="T21" fmla="*/ 16 h 1365"/>
                  <a:gd name="T22" fmla="*/ 588 w 1344"/>
                  <a:gd name="T23" fmla="*/ 70 h 1365"/>
                  <a:gd name="T24" fmla="*/ 713 w 1344"/>
                  <a:gd name="T25" fmla="*/ 87 h 1365"/>
                  <a:gd name="T26" fmla="*/ 751 w 1344"/>
                  <a:gd name="T27" fmla="*/ 44 h 1365"/>
                  <a:gd name="T28" fmla="*/ 857 w 1344"/>
                  <a:gd name="T29" fmla="*/ 16 h 1365"/>
                  <a:gd name="T30" fmla="*/ 933 w 1344"/>
                  <a:gd name="T31" fmla="*/ 0 h 1365"/>
                  <a:gd name="T32" fmla="*/ 1020 w 1344"/>
                  <a:gd name="T33" fmla="*/ 16 h 1365"/>
                  <a:gd name="T34" fmla="*/ 1091 w 1344"/>
                  <a:gd name="T35" fmla="*/ 44 h 1365"/>
                  <a:gd name="T36" fmla="*/ 1198 w 1344"/>
                  <a:gd name="T37" fmla="*/ 70 h 1365"/>
                  <a:gd name="T38" fmla="*/ 1235 w 1344"/>
                  <a:gd name="T39" fmla="*/ 70 h 1365"/>
                  <a:gd name="T40" fmla="*/ 1290 w 1344"/>
                  <a:gd name="T41" fmla="*/ 127 h 1365"/>
                  <a:gd name="T42" fmla="*/ 1311 w 1344"/>
                  <a:gd name="T43" fmla="*/ 144 h 1365"/>
                  <a:gd name="T44" fmla="*/ 1311 w 1344"/>
                  <a:gd name="T45" fmla="*/ 214 h 1365"/>
                  <a:gd name="T46" fmla="*/ 1268 w 1344"/>
                  <a:gd name="T47" fmla="*/ 304 h 1365"/>
                  <a:gd name="T48" fmla="*/ 1231 w 1344"/>
                  <a:gd name="T49" fmla="*/ 382 h 1365"/>
                  <a:gd name="T50" fmla="*/ 1188 w 1344"/>
                  <a:gd name="T51" fmla="*/ 526 h 1365"/>
                  <a:gd name="T52" fmla="*/ 1181 w 1344"/>
                  <a:gd name="T53" fmla="*/ 588 h 1365"/>
                  <a:gd name="T54" fmla="*/ 1205 w 1344"/>
                  <a:gd name="T55" fmla="*/ 682 h 1365"/>
                  <a:gd name="T56" fmla="*/ 1214 w 1344"/>
                  <a:gd name="T57" fmla="*/ 819 h 1365"/>
                  <a:gd name="T58" fmla="*/ 1273 w 1344"/>
                  <a:gd name="T59" fmla="*/ 904 h 1365"/>
                  <a:gd name="T60" fmla="*/ 1167 w 1344"/>
                  <a:gd name="T61" fmla="*/ 1025 h 1365"/>
                  <a:gd name="T62" fmla="*/ 1150 w 1344"/>
                  <a:gd name="T63" fmla="*/ 1126 h 1365"/>
                  <a:gd name="T64" fmla="*/ 1143 w 1344"/>
                  <a:gd name="T65" fmla="*/ 1247 h 1365"/>
                  <a:gd name="T66" fmla="*/ 1214 w 1344"/>
                  <a:gd name="T67" fmla="*/ 1287 h 1365"/>
                  <a:gd name="T68" fmla="*/ 1219 w 1344"/>
                  <a:gd name="T69" fmla="*/ 1358 h 1365"/>
                  <a:gd name="T70" fmla="*/ 1181 w 1344"/>
                  <a:gd name="T71" fmla="*/ 1358 h 1365"/>
                  <a:gd name="T72" fmla="*/ 1096 w 1344"/>
                  <a:gd name="T73" fmla="*/ 1280 h 1365"/>
                  <a:gd name="T74" fmla="*/ 1053 w 1344"/>
                  <a:gd name="T75" fmla="*/ 1225 h 1365"/>
                  <a:gd name="T76" fmla="*/ 966 w 1344"/>
                  <a:gd name="T77" fmla="*/ 1247 h 1365"/>
                  <a:gd name="T78" fmla="*/ 881 w 1344"/>
                  <a:gd name="T79" fmla="*/ 1209 h 1365"/>
                  <a:gd name="T80" fmla="*/ 827 w 1344"/>
                  <a:gd name="T81" fmla="*/ 1176 h 1365"/>
                  <a:gd name="T82" fmla="*/ 730 w 1344"/>
                  <a:gd name="T83" fmla="*/ 1181 h 1365"/>
                  <a:gd name="T84" fmla="*/ 713 w 1344"/>
                  <a:gd name="T85" fmla="*/ 1136 h 1365"/>
                  <a:gd name="T86" fmla="*/ 680 w 1344"/>
                  <a:gd name="T87" fmla="*/ 1003 h 1365"/>
                  <a:gd name="T88" fmla="*/ 588 w 1344"/>
                  <a:gd name="T89" fmla="*/ 914 h 1365"/>
                  <a:gd name="T90" fmla="*/ 520 w 1344"/>
                  <a:gd name="T91" fmla="*/ 892 h 1365"/>
                  <a:gd name="T92" fmla="*/ 444 w 1344"/>
                  <a:gd name="T93" fmla="*/ 959 h 1365"/>
                  <a:gd name="T94" fmla="*/ 406 w 1344"/>
                  <a:gd name="T95" fmla="*/ 970 h 1365"/>
                  <a:gd name="T96" fmla="*/ 319 w 1344"/>
                  <a:gd name="T97" fmla="*/ 848 h 1365"/>
                  <a:gd name="T98" fmla="*/ 272 w 1344"/>
                  <a:gd name="T99" fmla="*/ 810 h 1365"/>
                  <a:gd name="T100" fmla="*/ 54 w 1344"/>
                  <a:gd name="T101" fmla="*/ 810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4" h="1365">
                    <a:moveTo>
                      <a:pt x="272" y="810"/>
                    </a:moveTo>
                    <a:lnTo>
                      <a:pt x="71" y="810"/>
                    </a:lnTo>
                    <a:lnTo>
                      <a:pt x="50" y="810"/>
                    </a:lnTo>
                    <a:lnTo>
                      <a:pt x="38" y="819"/>
                    </a:lnTo>
                    <a:lnTo>
                      <a:pt x="16" y="819"/>
                    </a:lnTo>
                    <a:lnTo>
                      <a:pt x="0" y="803"/>
                    </a:lnTo>
                    <a:lnTo>
                      <a:pt x="28" y="803"/>
                    </a:lnTo>
                    <a:lnTo>
                      <a:pt x="28" y="748"/>
                    </a:lnTo>
                    <a:lnTo>
                      <a:pt x="50" y="732"/>
                    </a:lnTo>
                    <a:lnTo>
                      <a:pt x="66" y="725"/>
                    </a:lnTo>
                    <a:lnTo>
                      <a:pt x="66" y="715"/>
                    </a:lnTo>
                    <a:lnTo>
                      <a:pt x="87" y="737"/>
                    </a:lnTo>
                    <a:lnTo>
                      <a:pt x="92" y="732"/>
                    </a:lnTo>
                    <a:lnTo>
                      <a:pt x="109" y="732"/>
                    </a:lnTo>
                    <a:lnTo>
                      <a:pt x="109" y="708"/>
                    </a:lnTo>
                    <a:lnTo>
                      <a:pt x="125" y="708"/>
                    </a:lnTo>
                    <a:lnTo>
                      <a:pt x="158" y="699"/>
                    </a:lnTo>
                    <a:lnTo>
                      <a:pt x="163" y="708"/>
                    </a:lnTo>
                    <a:lnTo>
                      <a:pt x="158" y="715"/>
                    </a:lnTo>
                    <a:lnTo>
                      <a:pt x="158" y="737"/>
                    </a:lnTo>
                    <a:lnTo>
                      <a:pt x="172" y="737"/>
                    </a:lnTo>
                    <a:lnTo>
                      <a:pt x="189" y="732"/>
                    </a:lnTo>
                    <a:lnTo>
                      <a:pt x="210" y="699"/>
                    </a:lnTo>
                    <a:lnTo>
                      <a:pt x="234" y="692"/>
                    </a:lnTo>
                    <a:lnTo>
                      <a:pt x="234" y="675"/>
                    </a:lnTo>
                    <a:lnTo>
                      <a:pt x="255" y="670"/>
                    </a:lnTo>
                    <a:lnTo>
                      <a:pt x="286" y="625"/>
                    </a:lnTo>
                    <a:lnTo>
                      <a:pt x="281" y="543"/>
                    </a:lnTo>
                    <a:lnTo>
                      <a:pt x="302" y="526"/>
                    </a:lnTo>
                    <a:lnTo>
                      <a:pt x="324" y="477"/>
                    </a:lnTo>
                    <a:lnTo>
                      <a:pt x="361" y="460"/>
                    </a:lnTo>
                    <a:lnTo>
                      <a:pt x="390" y="432"/>
                    </a:lnTo>
                    <a:lnTo>
                      <a:pt x="390" y="399"/>
                    </a:lnTo>
                    <a:lnTo>
                      <a:pt x="406" y="359"/>
                    </a:lnTo>
                    <a:lnTo>
                      <a:pt x="406" y="321"/>
                    </a:lnTo>
                    <a:lnTo>
                      <a:pt x="411" y="276"/>
                    </a:lnTo>
                    <a:lnTo>
                      <a:pt x="411" y="222"/>
                    </a:lnTo>
                    <a:lnTo>
                      <a:pt x="449" y="160"/>
                    </a:lnTo>
                    <a:lnTo>
                      <a:pt x="449" y="139"/>
                    </a:lnTo>
                    <a:lnTo>
                      <a:pt x="458" y="99"/>
                    </a:lnTo>
                    <a:lnTo>
                      <a:pt x="449" y="70"/>
                    </a:lnTo>
                    <a:lnTo>
                      <a:pt x="458" y="70"/>
                    </a:lnTo>
                    <a:lnTo>
                      <a:pt x="482" y="33"/>
                    </a:lnTo>
                    <a:lnTo>
                      <a:pt x="503" y="16"/>
                    </a:lnTo>
                    <a:lnTo>
                      <a:pt x="534" y="16"/>
                    </a:lnTo>
                    <a:lnTo>
                      <a:pt x="572" y="44"/>
                    </a:lnTo>
                    <a:lnTo>
                      <a:pt x="583" y="54"/>
                    </a:lnTo>
                    <a:lnTo>
                      <a:pt x="588" y="70"/>
                    </a:lnTo>
                    <a:lnTo>
                      <a:pt x="621" y="66"/>
                    </a:lnTo>
                    <a:lnTo>
                      <a:pt x="638" y="82"/>
                    </a:lnTo>
                    <a:lnTo>
                      <a:pt x="676" y="82"/>
                    </a:lnTo>
                    <a:lnTo>
                      <a:pt x="713" y="87"/>
                    </a:lnTo>
                    <a:lnTo>
                      <a:pt x="730" y="82"/>
                    </a:lnTo>
                    <a:lnTo>
                      <a:pt x="730" y="66"/>
                    </a:lnTo>
                    <a:lnTo>
                      <a:pt x="735" y="66"/>
                    </a:lnTo>
                    <a:lnTo>
                      <a:pt x="751" y="44"/>
                    </a:lnTo>
                    <a:lnTo>
                      <a:pt x="789" y="54"/>
                    </a:lnTo>
                    <a:lnTo>
                      <a:pt x="798" y="49"/>
                    </a:lnTo>
                    <a:lnTo>
                      <a:pt x="857" y="28"/>
                    </a:lnTo>
                    <a:lnTo>
                      <a:pt x="857" y="16"/>
                    </a:lnTo>
                    <a:lnTo>
                      <a:pt x="881" y="33"/>
                    </a:lnTo>
                    <a:lnTo>
                      <a:pt x="919" y="28"/>
                    </a:lnTo>
                    <a:lnTo>
                      <a:pt x="928" y="0"/>
                    </a:lnTo>
                    <a:lnTo>
                      <a:pt x="933" y="0"/>
                    </a:lnTo>
                    <a:lnTo>
                      <a:pt x="966" y="11"/>
                    </a:lnTo>
                    <a:lnTo>
                      <a:pt x="983" y="11"/>
                    </a:lnTo>
                    <a:lnTo>
                      <a:pt x="1004" y="28"/>
                    </a:lnTo>
                    <a:lnTo>
                      <a:pt x="1020" y="16"/>
                    </a:lnTo>
                    <a:lnTo>
                      <a:pt x="1025" y="28"/>
                    </a:lnTo>
                    <a:lnTo>
                      <a:pt x="1042" y="11"/>
                    </a:lnTo>
                    <a:lnTo>
                      <a:pt x="1075" y="28"/>
                    </a:lnTo>
                    <a:lnTo>
                      <a:pt x="1091" y="44"/>
                    </a:lnTo>
                    <a:lnTo>
                      <a:pt x="1096" y="54"/>
                    </a:lnTo>
                    <a:lnTo>
                      <a:pt x="1134" y="82"/>
                    </a:lnTo>
                    <a:lnTo>
                      <a:pt x="1167" y="54"/>
                    </a:lnTo>
                    <a:lnTo>
                      <a:pt x="1198" y="70"/>
                    </a:lnTo>
                    <a:lnTo>
                      <a:pt x="1214" y="49"/>
                    </a:lnTo>
                    <a:lnTo>
                      <a:pt x="1219" y="49"/>
                    </a:lnTo>
                    <a:lnTo>
                      <a:pt x="1235" y="54"/>
                    </a:lnTo>
                    <a:lnTo>
                      <a:pt x="1235" y="70"/>
                    </a:lnTo>
                    <a:lnTo>
                      <a:pt x="1257" y="87"/>
                    </a:lnTo>
                    <a:lnTo>
                      <a:pt x="1268" y="103"/>
                    </a:lnTo>
                    <a:lnTo>
                      <a:pt x="1290" y="103"/>
                    </a:lnTo>
                    <a:lnTo>
                      <a:pt x="1290" y="127"/>
                    </a:lnTo>
                    <a:lnTo>
                      <a:pt x="1306" y="120"/>
                    </a:lnTo>
                    <a:lnTo>
                      <a:pt x="1311" y="139"/>
                    </a:lnTo>
                    <a:lnTo>
                      <a:pt x="1311" y="139"/>
                    </a:lnTo>
                    <a:lnTo>
                      <a:pt x="1311" y="144"/>
                    </a:lnTo>
                    <a:lnTo>
                      <a:pt x="1306" y="165"/>
                    </a:lnTo>
                    <a:lnTo>
                      <a:pt x="1311" y="181"/>
                    </a:lnTo>
                    <a:lnTo>
                      <a:pt x="1294" y="210"/>
                    </a:lnTo>
                    <a:lnTo>
                      <a:pt x="1311" y="214"/>
                    </a:lnTo>
                    <a:lnTo>
                      <a:pt x="1323" y="214"/>
                    </a:lnTo>
                    <a:lnTo>
                      <a:pt x="1344" y="231"/>
                    </a:lnTo>
                    <a:lnTo>
                      <a:pt x="1285" y="304"/>
                    </a:lnTo>
                    <a:lnTo>
                      <a:pt x="1268" y="304"/>
                    </a:lnTo>
                    <a:lnTo>
                      <a:pt x="1257" y="321"/>
                    </a:lnTo>
                    <a:lnTo>
                      <a:pt x="1242" y="325"/>
                    </a:lnTo>
                    <a:lnTo>
                      <a:pt x="1242" y="349"/>
                    </a:lnTo>
                    <a:lnTo>
                      <a:pt x="1231" y="382"/>
                    </a:lnTo>
                    <a:lnTo>
                      <a:pt x="1219" y="453"/>
                    </a:lnTo>
                    <a:lnTo>
                      <a:pt x="1219" y="486"/>
                    </a:lnTo>
                    <a:lnTo>
                      <a:pt x="1198" y="505"/>
                    </a:lnTo>
                    <a:lnTo>
                      <a:pt x="1188" y="526"/>
                    </a:lnTo>
                    <a:lnTo>
                      <a:pt x="1188" y="548"/>
                    </a:lnTo>
                    <a:lnTo>
                      <a:pt x="1167" y="559"/>
                    </a:lnTo>
                    <a:lnTo>
                      <a:pt x="1176" y="581"/>
                    </a:lnTo>
                    <a:lnTo>
                      <a:pt x="1181" y="588"/>
                    </a:lnTo>
                    <a:lnTo>
                      <a:pt x="1181" y="588"/>
                    </a:lnTo>
                    <a:lnTo>
                      <a:pt x="1198" y="604"/>
                    </a:lnTo>
                    <a:lnTo>
                      <a:pt x="1198" y="670"/>
                    </a:lnTo>
                    <a:lnTo>
                      <a:pt x="1205" y="682"/>
                    </a:lnTo>
                    <a:lnTo>
                      <a:pt x="1205" y="708"/>
                    </a:lnTo>
                    <a:lnTo>
                      <a:pt x="1205" y="748"/>
                    </a:lnTo>
                    <a:lnTo>
                      <a:pt x="1219" y="803"/>
                    </a:lnTo>
                    <a:lnTo>
                      <a:pt x="1214" y="819"/>
                    </a:lnTo>
                    <a:lnTo>
                      <a:pt x="1219" y="843"/>
                    </a:lnTo>
                    <a:lnTo>
                      <a:pt x="1231" y="864"/>
                    </a:lnTo>
                    <a:lnTo>
                      <a:pt x="1252" y="881"/>
                    </a:lnTo>
                    <a:lnTo>
                      <a:pt x="1273" y="904"/>
                    </a:lnTo>
                    <a:lnTo>
                      <a:pt x="1306" y="975"/>
                    </a:lnTo>
                    <a:lnTo>
                      <a:pt x="1176" y="1003"/>
                    </a:lnTo>
                    <a:lnTo>
                      <a:pt x="1176" y="1015"/>
                    </a:lnTo>
                    <a:lnTo>
                      <a:pt x="1167" y="1025"/>
                    </a:lnTo>
                    <a:lnTo>
                      <a:pt x="1134" y="1058"/>
                    </a:lnTo>
                    <a:lnTo>
                      <a:pt x="1143" y="1065"/>
                    </a:lnTo>
                    <a:lnTo>
                      <a:pt x="1160" y="1098"/>
                    </a:lnTo>
                    <a:lnTo>
                      <a:pt x="1150" y="1126"/>
                    </a:lnTo>
                    <a:lnTo>
                      <a:pt x="1160" y="1159"/>
                    </a:lnTo>
                    <a:lnTo>
                      <a:pt x="1150" y="1176"/>
                    </a:lnTo>
                    <a:lnTo>
                      <a:pt x="1134" y="1225"/>
                    </a:lnTo>
                    <a:lnTo>
                      <a:pt x="1143" y="1247"/>
                    </a:lnTo>
                    <a:lnTo>
                      <a:pt x="1167" y="1263"/>
                    </a:lnTo>
                    <a:lnTo>
                      <a:pt x="1181" y="1287"/>
                    </a:lnTo>
                    <a:lnTo>
                      <a:pt x="1198" y="1287"/>
                    </a:lnTo>
                    <a:lnTo>
                      <a:pt x="1214" y="1287"/>
                    </a:lnTo>
                    <a:lnTo>
                      <a:pt x="1214" y="1270"/>
                    </a:lnTo>
                    <a:lnTo>
                      <a:pt x="1235" y="1270"/>
                    </a:lnTo>
                    <a:lnTo>
                      <a:pt x="1235" y="1365"/>
                    </a:lnTo>
                    <a:lnTo>
                      <a:pt x="1219" y="1358"/>
                    </a:lnTo>
                    <a:lnTo>
                      <a:pt x="1231" y="1346"/>
                    </a:lnTo>
                    <a:lnTo>
                      <a:pt x="1219" y="1346"/>
                    </a:lnTo>
                    <a:lnTo>
                      <a:pt x="1188" y="1358"/>
                    </a:lnTo>
                    <a:lnTo>
                      <a:pt x="1181" y="1358"/>
                    </a:lnTo>
                    <a:lnTo>
                      <a:pt x="1160" y="1325"/>
                    </a:lnTo>
                    <a:lnTo>
                      <a:pt x="1150" y="1320"/>
                    </a:lnTo>
                    <a:lnTo>
                      <a:pt x="1143" y="1292"/>
                    </a:lnTo>
                    <a:lnTo>
                      <a:pt x="1096" y="1280"/>
                    </a:lnTo>
                    <a:lnTo>
                      <a:pt x="1079" y="1280"/>
                    </a:lnTo>
                    <a:lnTo>
                      <a:pt x="1075" y="1254"/>
                    </a:lnTo>
                    <a:lnTo>
                      <a:pt x="1058" y="1237"/>
                    </a:lnTo>
                    <a:lnTo>
                      <a:pt x="1053" y="1225"/>
                    </a:lnTo>
                    <a:lnTo>
                      <a:pt x="1042" y="1230"/>
                    </a:lnTo>
                    <a:lnTo>
                      <a:pt x="1037" y="1247"/>
                    </a:lnTo>
                    <a:lnTo>
                      <a:pt x="1025" y="1254"/>
                    </a:lnTo>
                    <a:lnTo>
                      <a:pt x="966" y="1247"/>
                    </a:lnTo>
                    <a:lnTo>
                      <a:pt x="928" y="1230"/>
                    </a:lnTo>
                    <a:lnTo>
                      <a:pt x="919" y="1209"/>
                    </a:lnTo>
                    <a:lnTo>
                      <a:pt x="919" y="1197"/>
                    </a:lnTo>
                    <a:lnTo>
                      <a:pt x="881" y="1209"/>
                    </a:lnTo>
                    <a:lnTo>
                      <a:pt x="857" y="1214"/>
                    </a:lnTo>
                    <a:lnTo>
                      <a:pt x="853" y="1209"/>
                    </a:lnTo>
                    <a:lnTo>
                      <a:pt x="857" y="1192"/>
                    </a:lnTo>
                    <a:lnTo>
                      <a:pt x="827" y="1176"/>
                    </a:lnTo>
                    <a:lnTo>
                      <a:pt x="820" y="1181"/>
                    </a:lnTo>
                    <a:lnTo>
                      <a:pt x="789" y="1181"/>
                    </a:lnTo>
                    <a:lnTo>
                      <a:pt x="768" y="1192"/>
                    </a:lnTo>
                    <a:lnTo>
                      <a:pt x="730" y="1181"/>
                    </a:lnTo>
                    <a:lnTo>
                      <a:pt x="702" y="1197"/>
                    </a:lnTo>
                    <a:lnTo>
                      <a:pt x="702" y="1176"/>
                    </a:lnTo>
                    <a:lnTo>
                      <a:pt x="713" y="1169"/>
                    </a:lnTo>
                    <a:lnTo>
                      <a:pt x="713" y="1136"/>
                    </a:lnTo>
                    <a:lnTo>
                      <a:pt x="697" y="1103"/>
                    </a:lnTo>
                    <a:lnTo>
                      <a:pt x="680" y="1086"/>
                    </a:lnTo>
                    <a:lnTo>
                      <a:pt x="676" y="1065"/>
                    </a:lnTo>
                    <a:lnTo>
                      <a:pt x="680" y="1003"/>
                    </a:lnTo>
                    <a:lnTo>
                      <a:pt x="676" y="959"/>
                    </a:lnTo>
                    <a:lnTo>
                      <a:pt x="680" y="930"/>
                    </a:lnTo>
                    <a:lnTo>
                      <a:pt x="676" y="914"/>
                    </a:lnTo>
                    <a:lnTo>
                      <a:pt x="588" y="914"/>
                    </a:lnTo>
                    <a:lnTo>
                      <a:pt x="595" y="892"/>
                    </a:lnTo>
                    <a:lnTo>
                      <a:pt x="572" y="892"/>
                    </a:lnTo>
                    <a:lnTo>
                      <a:pt x="572" y="892"/>
                    </a:lnTo>
                    <a:lnTo>
                      <a:pt x="520" y="892"/>
                    </a:lnTo>
                    <a:lnTo>
                      <a:pt x="520" y="930"/>
                    </a:lnTo>
                    <a:lnTo>
                      <a:pt x="503" y="937"/>
                    </a:lnTo>
                    <a:lnTo>
                      <a:pt x="503" y="959"/>
                    </a:lnTo>
                    <a:lnTo>
                      <a:pt x="444" y="959"/>
                    </a:lnTo>
                    <a:lnTo>
                      <a:pt x="444" y="959"/>
                    </a:lnTo>
                    <a:lnTo>
                      <a:pt x="416" y="970"/>
                    </a:lnTo>
                    <a:lnTo>
                      <a:pt x="416" y="970"/>
                    </a:lnTo>
                    <a:lnTo>
                      <a:pt x="406" y="970"/>
                    </a:lnTo>
                    <a:lnTo>
                      <a:pt x="378" y="970"/>
                    </a:lnTo>
                    <a:lnTo>
                      <a:pt x="335" y="904"/>
                    </a:lnTo>
                    <a:lnTo>
                      <a:pt x="335" y="892"/>
                    </a:lnTo>
                    <a:lnTo>
                      <a:pt x="319" y="848"/>
                    </a:lnTo>
                    <a:lnTo>
                      <a:pt x="319" y="836"/>
                    </a:lnTo>
                    <a:lnTo>
                      <a:pt x="307" y="819"/>
                    </a:lnTo>
                    <a:lnTo>
                      <a:pt x="272" y="810"/>
                    </a:lnTo>
                    <a:lnTo>
                      <a:pt x="272" y="810"/>
                    </a:lnTo>
                    <a:lnTo>
                      <a:pt x="272" y="810"/>
                    </a:lnTo>
                    <a:close/>
                    <a:moveTo>
                      <a:pt x="38" y="819"/>
                    </a:moveTo>
                    <a:lnTo>
                      <a:pt x="50" y="810"/>
                    </a:lnTo>
                    <a:lnTo>
                      <a:pt x="54" y="810"/>
                    </a:lnTo>
                    <a:lnTo>
                      <a:pt x="38" y="819"/>
                    </a:lnTo>
                    <a:lnTo>
                      <a:pt x="38" y="819"/>
                    </a:lnTo>
                    <a:lnTo>
                      <a:pt x="38" y="81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30" name="Freeform 416">
                <a:extLst>
                  <a:ext uri="{FF2B5EF4-FFF2-40B4-BE49-F238E27FC236}">
                    <a16:creationId xmlns:a16="http://schemas.microsoft.com/office/drawing/2014/main" id="{B745B180-F00B-49E4-9DCB-72DBA89705C5}"/>
                  </a:ext>
                </a:extLst>
              </p:cNvPr>
              <p:cNvSpPr>
                <a:spLocks/>
              </p:cNvSpPr>
              <p:nvPr/>
            </p:nvSpPr>
            <p:spPr bwMode="gray">
              <a:xfrm>
                <a:off x="6971179" y="3675578"/>
                <a:ext cx="221890" cy="342548"/>
              </a:xfrm>
              <a:custGeom>
                <a:avLst/>
                <a:gdLst>
                  <a:gd name="T0" fmla="*/ 21 w 539"/>
                  <a:gd name="T1" fmla="*/ 572 h 832"/>
                  <a:gd name="T2" fmla="*/ 26 w 539"/>
                  <a:gd name="T3" fmla="*/ 522 h 832"/>
                  <a:gd name="T4" fmla="*/ 80 w 539"/>
                  <a:gd name="T5" fmla="*/ 477 h 832"/>
                  <a:gd name="T6" fmla="*/ 97 w 539"/>
                  <a:gd name="T7" fmla="*/ 461 h 832"/>
                  <a:gd name="T8" fmla="*/ 123 w 539"/>
                  <a:gd name="T9" fmla="*/ 449 h 832"/>
                  <a:gd name="T10" fmla="*/ 144 w 539"/>
                  <a:gd name="T11" fmla="*/ 437 h 832"/>
                  <a:gd name="T12" fmla="*/ 182 w 539"/>
                  <a:gd name="T13" fmla="*/ 482 h 832"/>
                  <a:gd name="T14" fmla="*/ 215 w 539"/>
                  <a:gd name="T15" fmla="*/ 465 h 832"/>
                  <a:gd name="T16" fmla="*/ 236 w 539"/>
                  <a:gd name="T17" fmla="*/ 437 h 832"/>
                  <a:gd name="T18" fmla="*/ 232 w 539"/>
                  <a:gd name="T19" fmla="*/ 421 h 832"/>
                  <a:gd name="T20" fmla="*/ 243 w 539"/>
                  <a:gd name="T21" fmla="*/ 387 h 832"/>
                  <a:gd name="T22" fmla="*/ 258 w 539"/>
                  <a:gd name="T23" fmla="*/ 338 h 832"/>
                  <a:gd name="T24" fmla="*/ 274 w 539"/>
                  <a:gd name="T25" fmla="*/ 326 h 832"/>
                  <a:gd name="T26" fmla="*/ 295 w 539"/>
                  <a:gd name="T27" fmla="*/ 317 h 832"/>
                  <a:gd name="T28" fmla="*/ 328 w 539"/>
                  <a:gd name="T29" fmla="*/ 255 h 832"/>
                  <a:gd name="T30" fmla="*/ 345 w 539"/>
                  <a:gd name="T31" fmla="*/ 215 h 832"/>
                  <a:gd name="T32" fmla="*/ 366 w 539"/>
                  <a:gd name="T33" fmla="*/ 149 h 832"/>
                  <a:gd name="T34" fmla="*/ 399 w 539"/>
                  <a:gd name="T35" fmla="*/ 132 h 832"/>
                  <a:gd name="T36" fmla="*/ 432 w 539"/>
                  <a:gd name="T37" fmla="*/ 95 h 832"/>
                  <a:gd name="T38" fmla="*/ 421 w 539"/>
                  <a:gd name="T39" fmla="*/ 54 h 832"/>
                  <a:gd name="T40" fmla="*/ 395 w 539"/>
                  <a:gd name="T41" fmla="*/ 0 h 832"/>
                  <a:gd name="T42" fmla="*/ 421 w 539"/>
                  <a:gd name="T43" fmla="*/ 21 h 832"/>
                  <a:gd name="T44" fmla="*/ 449 w 539"/>
                  <a:gd name="T45" fmla="*/ 71 h 832"/>
                  <a:gd name="T46" fmla="*/ 458 w 539"/>
                  <a:gd name="T47" fmla="*/ 116 h 832"/>
                  <a:gd name="T48" fmla="*/ 458 w 539"/>
                  <a:gd name="T49" fmla="*/ 165 h 832"/>
                  <a:gd name="T50" fmla="*/ 508 w 539"/>
                  <a:gd name="T51" fmla="*/ 227 h 832"/>
                  <a:gd name="T52" fmla="*/ 399 w 539"/>
                  <a:gd name="T53" fmla="*/ 227 h 832"/>
                  <a:gd name="T54" fmla="*/ 404 w 539"/>
                  <a:gd name="T55" fmla="*/ 281 h 832"/>
                  <a:gd name="T56" fmla="*/ 491 w 539"/>
                  <a:gd name="T57" fmla="*/ 383 h 832"/>
                  <a:gd name="T58" fmla="*/ 491 w 539"/>
                  <a:gd name="T59" fmla="*/ 404 h 832"/>
                  <a:gd name="T60" fmla="*/ 449 w 539"/>
                  <a:gd name="T61" fmla="*/ 494 h 832"/>
                  <a:gd name="T62" fmla="*/ 421 w 539"/>
                  <a:gd name="T63" fmla="*/ 522 h 832"/>
                  <a:gd name="T64" fmla="*/ 432 w 539"/>
                  <a:gd name="T65" fmla="*/ 548 h 832"/>
                  <a:gd name="T66" fmla="*/ 432 w 539"/>
                  <a:gd name="T67" fmla="*/ 572 h 832"/>
                  <a:gd name="T68" fmla="*/ 458 w 539"/>
                  <a:gd name="T69" fmla="*/ 631 h 832"/>
                  <a:gd name="T70" fmla="*/ 458 w 539"/>
                  <a:gd name="T71" fmla="*/ 659 h 832"/>
                  <a:gd name="T72" fmla="*/ 529 w 539"/>
                  <a:gd name="T73" fmla="*/ 737 h 832"/>
                  <a:gd name="T74" fmla="*/ 539 w 539"/>
                  <a:gd name="T75" fmla="*/ 782 h 832"/>
                  <a:gd name="T76" fmla="*/ 539 w 539"/>
                  <a:gd name="T77" fmla="*/ 827 h 832"/>
                  <a:gd name="T78" fmla="*/ 508 w 539"/>
                  <a:gd name="T79" fmla="*/ 810 h 832"/>
                  <a:gd name="T80" fmla="*/ 421 w 539"/>
                  <a:gd name="T81" fmla="*/ 794 h 832"/>
                  <a:gd name="T82" fmla="*/ 328 w 539"/>
                  <a:gd name="T83" fmla="*/ 782 h 832"/>
                  <a:gd name="T84" fmla="*/ 269 w 539"/>
                  <a:gd name="T85" fmla="*/ 782 h 832"/>
                  <a:gd name="T86" fmla="*/ 199 w 539"/>
                  <a:gd name="T87" fmla="*/ 794 h 832"/>
                  <a:gd name="T88" fmla="*/ 90 w 539"/>
                  <a:gd name="T89" fmla="*/ 777 h 832"/>
                  <a:gd name="T90" fmla="*/ 97 w 539"/>
                  <a:gd name="T91" fmla="*/ 716 h 832"/>
                  <a:gd name="T92" fmla="*/ 90 w 539"/>
                  <a:gd name="T93" fmla="*/ 687 h 832"/>
                  <a:gd name="T94" fmla="*/ 76 w 539"/>
                  <a:gd name="T95" fmla="*/ 671 h 832"/>
                  <a:gd name="T96" fmla="*/ 69 w 539"/>
                  <a:gd name="T97" fmla="*/ 650 h 832"/>
                  <a:gd name="T98" fmla="*/ 69 w 539"/>
                  <a:gd name="T99" fmla="*/ 666 h 832"/>
                  <a:gd name="T100" fmla="*/ 26 w 539"/>
                  <a:gd name="T101" fmla="*/ 614 h 832"/>
                  <a:gd name="T102" fmla="*/ 26 w 539"/>
                  <a:gd name="T103" fmla="*/ 614 h 832"/>
                  <a:gd name="T104" fmla="*/ 14 w 539"/>
                  <a:gd name="T105" fmla="*/ 626 h 832"/>
                  <a:gd name="T106" fmla="*/ 5 w 539"/>
                  <a:gd name="T107" fmla="*/ 605 h 832"/>
                  <a:gd name="T108" fmla="*/ 5 w 539"/>
                  <a:gd name="T109" fmla="*/ 605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9" h="832">
                    <a:moveTo>
                      <a:pt x="5" y="605"/>
                    </a:moveTo>
                    <a:lnTo>
                      <a:pt x="21" y="572"/>
                    </a:lnTo>
                    <a:lnTo>
                      <a:pt x="26" y="548"/>
                    </a:lnTo>
                    <a:lnTo>
                      <a:pt x="26" y="522"/>
                    </a:lnTo>
                    <a:lnTo>
                      <a:pt x="59" y="494"/>
                    </a:lnTo>
                    <a:lnTo>
                      <a:pt x="80" y="477"/>
                    </a:lnTo>
                    <a:lnTo>
                      <a:pt x="90" y="461"/>
                    </a:lnTo>
                    <a:lnTo>
                      <a:pt x="97" y="461"/>
                    </a:lnTo>
                    <a:lnTo>
                      <a:pt x="113" y="444"/>
                    </a:lnTo>
                    <a:lnTo>
                      <a:pt x="123" y="449"/>
                    </a:lnTo>
                    <a:lnTo>
                      <a:pt x="144" y="449"/>
                    </a:lnTo>
                    <a:lnTo>
                      <a:pt x="144" y="437"/>
                    </a:lnTo>
                    <a:lnTo>
                      <a:pt x="182" y="461"/>
                    </a:lnTo>
                    <a:lnTo>
                      <a:pt x="182" y="482"/>
                    </a:lnTo>
                    <a:lnTo>
                      <a:pt x="199" y="482"/>
                    </a:lnTo>
                    <a:lnTo>
                      <a:pt x="215" y="465"/>
                    </a:lnTo>
                    <a:lnTo>
                      <a:pt x="215" y="449"/>
                    </a:lnTo>
                    <a:lnTo>
                      <a:pt x="236" y="437"/>
                    </a:lnTo>
                    <a:lnTo>
                      <a:pt x="232" y="421"/>
                    </a:lnTo>
                    <a:lnTo>
                      <a:pt x="232" y="421"/>
                    </a:lnTo>
                    <a:lnTo>
                      <a:pt x="243" y="404"/>
                    </a:lnTo>
                    <a:lnTo>
                      <a:pt x="243" y="387"/>
                    </a:lnTo>
                    <a:lnTo>
                      <a:pt x="258" y="371"/>
                    </a:lnTo>
                    <a:lnTo>
                      <a:pt x="258" y="338"/>
                    </a:lnTo>
                    <a:lnTo>
                      <a:pt x="274" y="333"/>
                    </a:lnTo>
                    <a:lnTo>
                      <a:pt x="274" y="326"/>
                    </a:lnTo>
                    <a:lnTo>
                      <a:pt x="291" y="326"/>
                    </a:lnTo>
                    <a:lnTo>
                      <a:pt x="295" y="317"/>
                    </a:lnTo>
                    <a:lnTo>
                      <a:pt x="307" y="272"/>
                    </a:lnTo>
                    <a:lnTo>
                      <a:pt x="328" y="255"/>
                    </a:lnTo>
                    <a:lnTo>
                      <a:pt x="340" y="222"/>
                    </a:lnTo>
                    <a:lnTo>
                      <a:pt x="345" y="215"/>
                    </a:lnTo>
                    <a:lnTo>
                      <a:pt x="350" y="182"/>
                    </a:lnTo>
                    <a:lnTo>
                      <a:pt x="366" y="149"/>
                    </a:lnTo>
                    <a:lnTo>
                      <a:pt x="383" y="132"/>
                    </a:lnTo>
                    <a:lnTo>
                      <a:pt x="399" y="132"/>
                    </a:lnTo>
                    <a:lnTo>
                      <a:pt x="432" y="111"/>
                    </a:lnTo>
                    <a:lnTo>
                      <a:pt x="432" y="95"/>
                    </a:lnTo>
                    <a:lnTo>
                      <a:pt x="432" y="59"/>
                    </a:lnTo>
                    <a:lnTo>
                      <a:pt x="421" y="54"/>
                    </a:lnTo>
                    <a:lnTo>
                      <a:pt x="399" y="50"/>
                    </a:lnTo>
                    <a:lnTo>
                      <a:pt x="395" y="0"/>
                    </a:lnTo>
                    <a:lnTo>
                      <a:pt x="416" y="0"/>
                    </a:lnTo>
                    <a:lnTo>
                      <a:pt x="421" y="21"/>
                    </a:lnTo>
                    <a:lnTo>
                      <a:pt x="449" y="33"/>
                    </a:lnTo>
                    <a:lnTo>
                      <a:pt x="449" y="71"/>
                    </a:lnTo>
                    <a:lnTo>
                      <a:pt x="458" y="71"/>
                    </a:lnTo>
                    <a:lnTo>
                      <a:pt x="458" y="116"/>
                    </a:lnTo>
                    <a:lnTo>
                      <a:pt x="458" y="132"/>
                    </a:lnTo>
                    <a:lnTo>
                      <a:pt x="458" y="165"/>
                    </a:lnTo>
                    <a:lnTo>
                      <a:pt x="487" y="206"/>
                    </a:lnTo>
                    <a:lnTo>
                      <a:pt x="508" y="227"/>
                    </a:lnTo>
                    <a:lnTo>
                      <a:pt x="437" y="227"/>
                    </a:lnTo>
                    <a:lnTo>
                      <a:pt x="399" y="227"/>
                    </a:lnTo>
                    <a:lnTo>
                      <a:pt x="383" y="255"/>
                    </a:lnTo>
                    <a:lnTo>
                      <a:pt x="404" y="281"/>
                    </a:lnTo>
                    <a:lnTo>
                      <a:pt x="470" y="333"/>
                    </a:lnTo>
                    <a:lnTo>
                      <a:pt x="491" y="383"/>
                    </a:lnTo>
                    <a:lnTo>
                      <a:pt x="501" y="387"/>
                    </a:lnTo>
                    <a:lnTo>
                      <a:pt x="491" y="404"/>
                    </a:lnTo>
                    <a:lnTo>
                      <a:pt x="470" y="428"/>
                    </a:lnTo>
                    <a:lnTo>
                      <a:pt x="449" y="494"/>
                    </a:lnTo>
                    <a:lnTo>
                      <a:pt x="416" y="515"/>
                    </a:lnTo>
                    <a:lnTo>
                      <a:pt x="421" y="522"/>
                    </a:lnTo>
                    <a:lnTo>
                      <a:pt x="432" y="522"/>
                    </a:lnTo>
                    <a:lnTo>
                      <a:pt x="432" y="548"/>
                    </a:lnTo>
                    <a:lnTo>
                      <a:pt x="421" y="560"/>
                    </a:lnTo>
                    <a:lnTo>
                      <a:pt x="432" y="572"/>
                    </a:lnTo>
                    <a:lnTo>
                      <a:pt x="437" y="614"/>
                    </a:lnTo>
                    <a:lnTo>
                      <a:pt x="458" y="631"/>
                    </a:lnTo>
                    <a:lnTo>
                      <a:pt x="470" y="659"/>
                    </a:lnTo>
                    <a:lnTo>
                      <a:pt x="458" y="659"/>
                    </a:lnTo>
                    <a:lnTo>
                      <a:pt x="475" y="683"/>
                    </a:lnTo>
                    <a:lnTo>
                      <a:pt x="529" y="737"/>
                    </a:lnTo>
                    <a:lnTo>
                      <a:pt x="529" y="770"/>
                    </a:lnTo>
                    <a:lnTo>
                      <a:pt x="539" y="782"/>
                    </a:lnTo>
                    <a:lnTo>
                      <a:pt x="529" y="794"/>
                    </a:lnTo>
                    <a:lnTo>
                      <a:pt x="539" y="827"/>
                    </a:lnTo>
                    <a:lnTo>
                      <a:pt x="529" y="832"/>
                    </a:lnTo>
                    <a:lnTo>
                      <a:pt x="508" y="810"/>
                    </a:lnTo>
                    <a:lnTo>
                      <a:pt x="449" y="798"/>
                    </a:lnTo>
                    <a:lnTo>
                      <a:pt x="421" y="794"/>
                    </a:lnTo>
                    <a:lnTo>
                      <a:pt x="340" y="794"/>
                    </a:lnTo>
                    <a:lnTo>
                      <a:pt x="328" y="782"/>
                    </a:lnTo>
                    <a:lnTo>
                      <a:pt x="295" y="782"/>
                    </a:lnTo>
                    <a:lnTo>
                      <a:pt x="269" y="782"/>
                    </a:lnTo>
                    <a:lnTo>
                      <a:pt x="199" y="782"/>
                    </a:lnTo>
                    <a:lnTo>
                      <a:pt x="199" y="794"/>
                    </a:lnTo>
                    <a:lnTo>
                      <a:pt x="106" y="794"/>
                    </a:lnTo>
                    <a:lnTo>
                      <a:pt x="90" y="777"/>
                    </a:lnTo>
                    <a:lnTo>
                      <a:pt x="106" y="725"/>
                    </a:lnTo>
                    <a:lnTo>
                      <a:pt x="97" y="716"/>
                    </a:lnTo>
                    <a:lnTo>
                      <a:pt x="80" y="687"/>
                    </a:lnTo>
                    <a:lnTo>
                      <a:pt x="90" y="687"/>
                    </a:lnTo>
                    <a:lnTo>
                      <a:pt x="80" y="687"/>
                    </a:lnTo>
                    <a:lnTo>
                      <a:pt x="76" y="671"/>
                    </a:lnTo>
                    <a:lnTo>
                      <a:pt x="80" y="666"/>
                    </a:lnTo>
                    <a:lnTo>
                      <a:pt x="69" y="650"/>
                    </a:lnTo>
                    <a:lnTo>
                      <a:pt x="76" y="659"/>
                    </a:lnTo>
                    <a:lnTo>
                      <a:pt x="69" y="666"/>
                    </a:lnTo>
                    <a:lnTo>
                      <a:pt x="38" y="650"/>
                    </a:lnTo>
                    <a:lnTo>
                      <a:pt x="26" y="614"/>
                    </a:lnTo>
                    <a:lnTo>
                      <a:pt x="21" y="609"/>
                    </a:lnTo>
                    <a:lnTo>
                      <a:pt x="26" y="614"/>
                    </a:lnTo>
                    <a:lnTo>
                      <a:pt x="14" y="609"/>
                    </a:lnTo>
                    <a:lnTo>
                      <a:pt x="14" y="626"/>
                    </a:lnTo>
                    <a:lnTo>
                      <a:pt x="0" y="614"/>
                    </a:lnTo>
                    <a:lnTo>
                      <a:pt x="5" y="605"/>
                    </a:lnTo>
                    <a:lnTo>
                      <a:pt x="5" y="605"/>
                    </a:lnTo>
                    <a:lnTo>
                      <a:pt x="5" y="60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31" name="Freeform 417">
                <a:extLst>
                  <a:ext uri="{FF2B5EF4-FFF2-40B4-BE49-F238E27FC236}">
                    <a16:creationId xmlns:a16="http://schemas.microsoft.com/office/drawing/2014/main" id="{34735394-5314-492A-AB12-8369A0658F8F}"/>
                  </a:ext>
                </a:extLst>
              </p:cNvPr>
              <p:cNvSpPr>
                <a:spLocks noEditPoints="1"/>
              </p:cNvSpPr>
              <p:nvPr/>
            </p:nvSpPr>
            <p:spPr bwMode="gray">
              <a:xfrm>
                <a:off x="7974008" y="4405140"/>
                <a:ext cx="37873" cy="30056"/>
              </a:xfrm>
              <a:custGeom>
                <a:avLst/>
                <a:gdLst>
                  <a:gd name="T0" fmla="*/ 16 w 92"/>
                  <a:gd name="T1" fmla="*/ 40 h 73"/>
                  <a:gd name="T2" fmla="*/ 0 w 92"/>
                  <a:gd name="T3" fmla="*/ 21 h 73"/>
                  <a:gd name="T4" fmla="*/ 0 w 92"/>
                  <a:gd name="T5" fmla="*/ 0 h 73"/>
                  <a:gd name="T6" fmla="*/ 16 w 92"/>
                  <a:gd name="T7" fmla="*/ 0 h 73"/>
                  <a:gd name="T8" fmla="*/ 16 w 92"/>
                  <a:gd name="T9" fmla="*/ 40 h 73"/>
                  <a:gd name="T10" fmla="*/ 16 w 92"/>
                  <a:gd name="T11" fmla="*/ 40 h 73"/>
                  <a:gd name="T12" fmla="*/ 16 w 92"/>
                  <a:gd name="T13" fmla="*/ 40 h 73"/>
                  <a:gd name="T14" fmla="*/ 92 w 92"/>
                  <a:gd name="T15" fmla="*/ 73 h 73"/>
                  <a:gd name="T16" fmla="*/ 70 w 92"/>
                  <a:gd name="T17" fmla="*/ 56 h 73"/>
                  <a:gd name="T18" fmla="*/ 80 w 92"/>
                  <a:gd name="T19" fmla="*/ 56 h 73"/>
                  <a:gd name="T20" fmla="*/ 85 w 92"/>
                  <a:gd name="T21" fmla="*/ 49 h 73"/>
                  <a:gd name="T22" fmla="*/ 92 w 92"/>
                  <a:gd name="T23" fmla="*/ 73 h 73"/>
                  <a:gd name="T24" fmla="*/ 92 w 92"/>
                  <a:gd name="T25" fmla="*/ 73 h 73"/>
                  <a:gd name="T26" fmla="*/ 92 w 92"/>
                  <a:gd name="T27" fmla="*/ 73 h 73"/>
                  <a:gd name="T28" fmla="*/ 49 w 92"/>
                  <a:gd name="T29" fmla="*/ 73 h 73"/>
                  <a:gd name="T30" fmla="*/ 33 w 92"/>
                  <a:gd name="T31" fmla="*/ 73 h 73"/>
                  <a:gd name="T32" fmla="*/ 33 w 92"/>
                  <a:gd name="T33" fmla="*/ 66 h 73"/>
                  <a:gd name="T34" fmla="*/ 49 w 92"/>
                  <a:gd name="T35" fmla="*/ 73 h 73"/>
                  <a:gd name="T36" fmla="*/ 49 w 92"/>
                  <a:gd name="T37" fmla="*/ 73 h 73"/>
                  <a:gd name="T38" fmla="*/ 49 w 92"/>
                  <a:gd name="T3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 h="73">
                    <a:moveTo>
                      <a:pt x="16" y="40"/>
                    </a:moveTo>
                    <a:lnTo>
                      <a:pt x="0" y="21"/>
                    </a:lnTo>
                    <a:lnTo>
                      <a:pt x="0" y="0"/>
                    </a:lnTo>
                    <a:lnTo>
                      <a:pt x="16" y="0"/>
                    </a:lnTo>
                    <a:lnTo>
                      <a:pt x="16" y="40"/>
                    </a:lnTo>
                    <a:lnTo>
                      <a:pt x="16" y="40"/>
                    </a:lnTo>
                    <a:lnTo>
                      <a:pt x="16" y="40"/>
                    </a:lnTo>
                    <a:close/>
                    <a:moveTo>
                      <a:pt x="92" y="73"/>
                    </a:moveTo>
                    <a:lnTo>
                      <a:pt x="70" y="56"/>
                    </a:lnTo>
                    <a:lnTo>
                      <a:pt x="80" y="56"/>
                    </a:lnTo>
                    <a:lnTo>
                      <a:pt x="85" y="49"/>
                    </a:lnTo>
                    <a:lnTo>
                      <a:pt x="92" y="73"/>
                    </a:lnTo>
                    <a:lnTo>
                      <a:pt x="92" y="73"/>
                    </a:lnTo>
                    <a:lnTo>
                      <a:pt x="92" y="73"/>
                    </a:lnTo>
                    <a:close/>
                    <a:moveTo>
                      <a:pt x="49" y="73"/>
                    </a:moveTo>
                    <a:lnTo>
                      <a:pt x="33" y="73"/>
                    </a:lnTo>
                    <a:lnTo>
                      <a:pt x="33" y="66"/>
                    </a:lnTo>
                    <a:lnTo>
                      <a:pt x="49" y="73"/>
                    </a:lnTo>
                    <a:lnTo>
                      <a:pt x="49" y="73"/>
                    </a:lnTo>
                    <a:lnTo>
                      <a:pt x="49" y="7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32" name="Freeform 421">
                <a:extLst>
                  <a:ext uri="{FF2B5EF4-FFF2-40B4-BE49-F238E27FC236}">
                    <a16:creationId xmlns:a16="http://schemas.microsoft.com/office/drawing/2014/main" id="{987EE72A-A945-463E-A63E-B823633B5B4C}"/>
                  </a:ext>
                </a:extLst>
              </p:cNvPr>
              <p:cNvSpPr>
                <a:spLocks/>
              </p:cNvSpPr>
              <p:nvPr/>
            </p:nvSpPr>
            <p:spPr bwMode="gray">
              <a:xfrm>
                <a:off x="7142434" y="3736924"/>
                <a:ext cx="377090" cy="259793"/>
              </a:xfrm>
              <a:custGeom>
                <a:avLst/>
                <a:gdLst>
                  <a:gd name="T0" fmla="*/ 416 w 916"/>
                  <a:gd name="T1" fmla="*/ 453 h 631"/>
                  <a:gd name="T2" fmla="*/ 345 w 916"/>
                  <a:gd name="T3" fmla="*/ 427 h 631"/>
                  <a:gd name="T4" fmla="*/ 302 w 916"/>
                  <a:gd name="T5" fmla="*/ 482 h 631"/>
                  <a:gd name="T6" fmla="*/ 302 w 916"/>
                  <a:gd name="T7" fmla="*/ 510 h 631"/>
                  <a:gd name="T8" fmla="*/ 286 w 916"/>
                  <a:gd name="T9" fmla="*/ 531 h 631"/>
                  <a:gd name="T10" fmla="*/ 260 w 916"/>
                  <a:gd name="T11" fmla="*/ 536 h 631"/>
                  <a:gd name="T12" fmla="*/ 236 w 916"/>
                  <a:gd name="T13" fmla="*/ 536 h 631"/>
                  <a:gd name="T14" fmla="*/ 205 w 916"/>
                  <a:gd name="T15" fmla="*/ 536 h 631"/>
                  <a:gd name="T16" fmla="*/ 144 w 916"/>
                  <a:gd name="T17" fmla="*/ 572 h 631"/>
                  <a:gd name="T18" fmla="*/ 123 w 916"/>
                  <a:gd name="T19" fmla="*/ 631 h 631"/>
                  <a:gd name="T20" fmla="*/ 113 w 916"/>
                  <a:gd name="T21" fmla="*/ 588 h 631"/>
                  <a:gd name="T22" fmla="*/ 42 w 916"/>
                  <a:gd name="T23" fmla="*/ 510 h 631"/>
                  <a:gd name="T24" fmla="*/ 42 w 916"/>
                  <a:gd name="T25" fmla="*/ 482 h 631"/>
                  <a:gd name="T26" fmla="*/ 16 w 916"/>
                  <a:gd name="T27" fmla="*/ 420 h 631"/>
                  <a:gd name="T28" fmla="*/ 16 w 916"/>
                  <a:gd name="T29" fmla="*/ 399 h 631"/>
                  <a:gd name="T30" fmla="*/ 5 w 916"/>
                  <a:gd name="T31" fmla="*/ 371 h 631"/>
                  <a:gd name="T32" fmla="*/ 31 w 916"/>
                  <a:gd name="T33" fmla="*/ 342 h 631"/>
                  <a:gd name="T34" fmla="*/ 75 w 916"/>
                  <a:gd name="T35" fmla="*/ 255 h 631"/>
                  <a:gd name="T36" fmla="*/ 139 w 916"/>
                  <a:gd name="T37" fmla="*/ 243 h 631"/>
                  <a:gd name="T38" fmla="*/ 151 w 916"/>
                  <a:gd name="T39" fmla="*/ 238 h 631"/>
                  <a:gd name="T40" fmla="*/ 220 w 916"/>
                  <a:gd name="T41" fmla="*/ 222 h 631"/>
                  <a:gd name="T42" fmla="*/ 328 w 916"/>
                  <a:gd name="T43" fmla="*/ 177 h 631"/>
                  <a:gd name="T44" fmla="*/ 323 w 916"/>
                  <a:gd name="T45" fmla="*/ 149 h 631"/>
                  <a:gd name="T46" fmla="*/ 394 w 916"/>
                  <a:gd name="T47" fmla="*/ 132 h 631"/>
                  <a:gd name="T48" fmla="*/ 425 w 916"/>
                  <a:gd name="T49" fmla="*/ 127 h 631"/>
                  <a:gd name="T50" fmla="*/ 479 w 916"/>
                  <a:gd name="T51" fmla="*/ 78 h 631"/>
                  <a:gd name="T52" fmla="*/ 501 w 916"/>
                  <a:gd name="T53" fmla="*/ 66 h 631"/>
                  <a:gd name="T54" fmla="*/ 508 w 916"/>
                  <a:gd name="T55" fmla="*/ 33 h 631"/>
                  <a:gd name="T56" fmla="*/ 593 w 916"/>
                  <a:gd name="T57" fmla="*/ 12 h 631"/>
                  <a:gd name="T58" fmla="*/ 647 w 916"/>
                  <a:gd name="T59" fmla="*/ 90 h 631"/>
                  <a:gd name="T60" fmla="*/ 642 w 916"/>
                  <a:gd name="T61" fmla="*/ 132 h 631"/>
                  <a:gd name="T62" fmla="*/ 642 w 916"/>
                  <a:gd name="T63" fmla="*/ 149 h 631"/>
                  <a:gd name="T64" fmla="*/ 685 w 916"/>
                  <a:gd name="T65" fmla="*/ 168 h 631"/>
                  <a:gd name="T66" fmla="*/ 685 w 916"/>
                  <a:gd name="T67" fmla="*/ 184 h 631"/>
                  <a:gd name="T68" fmla="*/ 723 w 916"/>
                  <a:gd name="T69" fmla="*/ 205 h 631"/>
                  <a:gd name="T70" fmla="*/ 760 w 916"/>
                  <a:gd name="T71" fmla="*/ 234 h 631"/>
                  <a:gd name="T72" fmla="*/ 756 w 916"/>
                  <a:gd name="T73" fmla="*/ 255 h 631"/>
                  <a:gd name="T74" fmla="*/ 810 w 916"/>
                  <a:gd name="T75" fmla="*/ 293 h 631"/>
                  <a:gd name="T76" fmla="*/ 841 w 916"/>
                  <a:gd name="T77" fmla="*/ 316 h 631"/>
                  <a:gd name="T78" fmla="*/ 848 w 916"/>
                  <a:gd name="T79" fmla="*/ 349 h 631"/>
                  <a:gd name="T80" fmla="*/ 869 w 916"/>
                  <a:gd name="T81" fmla="*/ 366 h 631"/>
                  <a:gd name="T82" fmla="*/ 902 w 916"/>
                  <a:gd name="T83" fmla="*/ 399 h 631"/>
                  <a:gd name="T84" fmla="*/ 916 w 916"/>
                  <a:gd name="T85" fmla="*/ 437 h 631"/>
                  <a:gd name="T86" fmla="*/ 869 w 916"/>
                  <a:gd name="T87" fmla="*/ 437 h 631"/>
                  <a:gd name="T88" fmla="*/ 848 w 916"/>
                  <a:gd name="T89" fmla="*/ 437 h 631"/>
                  <a:gd name="T90" fmla="*/ 810 w 916"/>
                  <a:gd name="T91" fmla="*/ 420 h 631"/>
                  <a:gd name="T92" fmla="*/ 772 w 916"/>
                  <a:gd name="T93" fmla="*/ 411 h 631"/>
                  <a:gd name="T94" fmla="*/ 723 w 916"/>
                  <a:gd name="T95" fmla="*/ 444 h 631"/>
                  <a:gd name="T96" fmla="*/ 701 w 916"/>
                  <a:gd name="T97" fmla="*/ 437 h 631"/>
                  <a:gd name="T98" fmla="*/ 631 w 916"/>
                  <a:gd name="T99" fmla="*/ 465 h 631"/>
                  <a:gd name="T100" fmla="*/ 576 w 916"/>
                  <a:gd name="T101" fmla="*/ 477 h 631"/>
                  <a:gd name="T102" fmla="*/ 572 w 916"/>
                  <a:gd name="T103" fmla="*/ 494 h 631"/>
                  <a:gd name="T104" fmla="*/ 517 w 916"/>
                  <a:gd name="T105" fmla="*/ 494 h 631"/>
                  <a:gd name="T106" fmla="*/ 463 w 916"/>
                  <a:gd name="T107" fmla="*/ 477 h 631"/>
                  <a:gd name="T108" fmla="*/ 425 w 916"/>
                  <a:gd name="T109" fmla="*/ 465 h 631"/>
                  <a:gd name="T110" fmla="*/ 425 w 916"/>
                  <a:gd name="T111" fmla="*/ 465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16" h="631">
                    <a:moveTo>
                      <a:pt x="425" y="465"/>
                    </a:moveTo>
                    <a:lnTo>
                      <a:pt x="416" y="453"/>
                    </a:lnTo>
                    <a:lnTo>
                      <a:pt x="378" y="427"/>
                    </a:lnTo>
                    <a:lnTo>
                      <a:pt x="345" y="427"/>
                    </a:lnTo>
                    <a:lnTo>
                      <a:pt x="323" y="444"/>
                    </a:lnTo>
                    <a:lnTo>
                      <a:pt x="302" y="482"/>
                    </a:lnTo>
                    <a:lnTo>
                      <a:pt x="290" y="482"/>
                    </a:lnTo>
                    <a:lnTo>
                      <a:pt x="302" y="510"/>
                    </a:lnTo>
                    <a:lnTo>
                      <a:pt x="290" y="548"/>
                    </a:lnTo>
                    <a:lnTo>
                      <a:pt x="286" y="531"/>
                    </a:lnTo>
                    <a:lnTo>
                      <a:pt x="260" y="548"/>
                    </a:lnTo>
                    <a:lnTo>
                      <a:pt x="260" y="536"/>
                    </a:lnTo>
                    <a:lnTo>
                      <a:pt x="236" y="536"/>
                    </a:lnTo>
                    <a:lnTo>
                      <a:pt x="236" y="536"/>
                    </a:lnTo>
                    <a:lnTo>
                      <a:pt x="215" y="531"/>
                    </a:lnTo>
                    <a:lnTo>
                      <a:pt x="205" y="536"/>
                    </a:lnTo>
                    <a:lnTo>
                      <a:pt x="151" y="536"/>
                    </a:lnTo>
                    <a:lnTo>
                      <a:pt x="144" y="572"/>
                    </a:lnTo>
                    <a:lnTo>
                      <a:pt x="144" y="593"/>
                    </a:lnTo>
                    <a:lnTo>
                      <a:pt x="123" y="631"/>
                    </a:lnTo>
                    <a:lnTo>
                      <a:pt x="113" y="621"/>
                    </a:lnTo>
                    <a:lnTo>
                      <a:pt x="113" y="588"/>
                    </a:lnTo>
                    <a:lnTo>
                      <a:pt x="59" y="531"/>
                    </a:lnTo>
                    <a:lnTo>
                      <a:pt x="42" y="510"/>
                    </a:lnTo>
                    <a:lnTo>
                      <a:pt x="54" y="510"/>
                    </a:lnTo>
                    <a:lnTo>
                      <a:pt x="42" y="482"/>
                    </a:lnTo>
                    <a:lnTo>
                      <a:pt x="21" y="465"/>
                    </a:lnTo>
                    <a:lnTo>
                      <a:pt x="16" y="420"/>
                    </a:lnTo>
                    <a:lnTo>
                      <a:pt x="5" y="411"/>
                    </a:lnTo>
                    <a:lnTo>
                      <a:pt x="16" y="399"/>
                    </a:lnTo>
                    <a:lnTo>
                      <a:pt x="16" y="371"/>
                    </a:lnTo>
                    <a:lnTo>
                      <a:pt x="5" y="371"/>
                    </a:lnTo>
                    <a:lnTo>
                      <a:pt x="0" y="366"/>
                    </a:lnTo>
                    <a:lnTo>
                      <a:pt x="31" y="342"/>
                    </a:lnTo>
                    <a:lnTo>
                      <a:pt x="54" y="276"/>
                    </a:lnTo>
                    <a:lnTo>
                      <a:pt x="75" y="255"/>
                    </a:lnTo>
                    <a:lnTo>
                      <a:pt x="106" y="255"/>
                    </a:lnTo>
                    <a:lnTo>
                      <a:pt x="139" y="243"/>
                    </a:lnTo>
                    <a:lnTo>
                      <a:pt x="151" y="234"/>
                    </a:lnTo>
                    <a:lnTo>
                      <a:pt x="151" y="238"/>
                    </a:lnTo>
                    <a:lnTo>
                      <a:pt x="168" y="255"/>
                    </a:lnTo>
                    <a:lnTo>
                      <a:pt x="220" y="222"/>
                    </a:lnTo>
                    <a:lnTo>
                      <a:pt x="290" y="217"/>
                    </a:lnTo>
                    <a:lnTo>
                      <a:pt x="328" y="177"/>
                    </a:lnTo>
                    <a:lnTo>
                      <a:pt x="312" y="160"/>
                    </a:lnTo>
                    <a:lnTo>
                      <a:pt x="323" y="149"/>
                    </a:lnTo>
                    <a:lnTo>
                      <a:pt x="383" y="144"/>
                    </a:lnTo>
                    <a:lnTo>
                      <a:pt x="394" y="132"/>
                    </a:lnTo>
                    <a:lnTo>
                      <a:pt x="416" y="144"/>
                    </a:lnTo>
                    <a:lnTo>
                      <a:pt x="425" y="127"/>
                    </a:lnTo>
                    <a:lnTo>
                      <a:pt x="449" y="123"/>
                    </a:lnTo>
                    <a:lnTo>
                      <a:pt x="479" y="78"/>
                    </a:lnTo>
                    <a:lnTo>
                      <a:pt x="486" y="78"/>
                    </a:lnTo>
                    <a:lnTo>
                      <a:pt x="501" y="66"/>
                    </a:lnTo>
                    <a:lnTo>
                      <a:pt x="508" y="57"/>
                    </a:lnTo>
                    <a:lnTo>
                      <a:pt x="508" y="33"/>
                    </a:lnTo>
                    <a:lnTo>
                      <a:pt x="562" y="0"/>
                    </a:lnTo>
                    <a:lnTo>
                      <a:pt x="593" y="12"/>
                    </a:lnTo>
                    <a:lnTo>
                      <a:pt x="626" y="40"/>
                    </a:lnTo>
                    <a:lnTo>
                      <a:pt x="647" y="90"/>
                    </a:lnTo>
                    <a:lnTo>
                      <a:pt x="647" y="127"/>
                    </a:lnTo>
                    <a:lnTo>
                      <a:pt x="642" y="132"/>
                    </a:lnTo>
                    <a:lnTo>
                      <a:pt x="631" y="144"/>
                    </a:lnTo>
                    <a:lnTo>
                      <a:pt x="642" y="149"/>
                    </a:lnTo>
                    <a:lnTo>
                      <a:pt x="642" y="168"/>
                    </a:lnTo>
                    <a:lnTo>
                      <a:pt x="685" y="168"/>
                    </a:lnTo>
                    <a:lnTo>
                      <a:pt x="697" y="177"/>
                    </a:lnTo>
                    <a:lnTo>
                      <a:pt x="685" y="184"/>
                    </a:lnTo>
                    <a:lnTo>
                      <a:pt x="685" y="201"/>
                    </a:lnTo>
                    <a:lnTo>
                      <a:pt x="723" y="205"/>
                    </a:lnTo>
                    <a:lnTo>
                      <a:pt x="751" y="234"/>
                    </a:lnTo>
                    <a:lnTo>
                      <a:pt x="760" y="234"/>
                    </a:lnTo>
                    <a:lnTo>
                      <a:pt x="760" y="243"/>
                    </a:lnTo>
                    <a:lnTo>
                      <a:pt x="756" y="255"/>
                    </a:lnTo>
                    <a:lnTo>
                      <a:pt x="756" y="255"/>
                    </a:lnTo>
                    <a:lnTo>
                      <a:pt x="810" y="293"/>
                    </a:lnTo>
                    <a:lnTo>
                      <a:pt x="815" y="300"/>
                    </a:lnTo>
                    <a:lnTo>
                      <a:pt x="841" y="316"/>
                    </a:lnTo>
                    <a:lnTo>
                      <a:pt x="831" y="333"/>
                    </a:lnTo>
                    <a:lnTo>
                      <a:pt x="848" y="349"/>
                    </a:lnTo>
                    <a:lnTo>
                      <a:pt x="841" y="354"/>
                    </a:lnTo>
                    <a:lnTo>
                      <a:pt x="869" y="366"/>
                    </a:lnTo>
                    <a:lnTo>
                      <a:pt x="895" y="383"/>
                    </a:lnTo>
                    <a:lnTo>
                      <a:pt x="902" y="399"/>
                    </a:lnTo>
                    <a:lnTo>
                      <a:pt x="902" y="411"/>
                    </a:lnTo>
                    <a:lnTo>
                      <a:pt x="916" y="437"/>
                    </a:lnTo>
                    <a:lnTo>
                      <a:pt x="886" y="420"/>
                    </a:lnTo>
                    <a:lnTo>
                      <a:pt x="869" y="437"/>
                    </a:lnTo>
                    <a:lnTo>
                      <a:pt x="864" y="427"/>
                    </a:lnTo>
                    <a:lnTo>
                      <a:pt x="848" y="437"/>
                    </a:lnTo>
                    <a:lnTo>
                      <a:pt x="827" y="420"/>
                    </a:lnTo>
                    <a:lnTo>
                      <a:pt x="810" y="420"/>
                    </a:lnTo>
                    <a:lnTo>
                      <a:pt x="777" y="411"/>
                    </a:lnTo>
                    <a:lnTo>
                      <a:pt x="772" y="411"/>
                    </a:lnTo>
                    <a:lnTo>
                      <a:pt x="760" y="437"/>
                    </a:lnTo>
                    <a:lnTo>
                      <a:pt x="723" y="444"/>
                    </a:lnTo>
                    <a:lnTo>
                      <a:pt x="701" y="427"/>
                    </a:lnTo>
                    <a:lnTo>
                      <a:pt x="701" y="437"/>
                    </a:lnTo>
                    <a:lnTo>
                      <a:pt x="642" y="460"/>
                    </a:lnTo>
                    <a:lnTo>
                      <a:pt x="631" y="465"/>
                    </a:lnTo>
                    <a:lnTo>
                      <a:pt x="593" y="453"/>
                    </a:lnTo>
                    <a:lnTo>
                      <a:pt x="576" y="477"/>
                    </a:lnTo>
                    <a:lnTo>
                      <a:pt x="572" y="477"/>
                    </a:lnTo>
                    <a:lnTo>
                      <a:pt x="572" y="494"/>
                    </a:lnTo>
                    <a:lnTo>
                      <a:pt x="555" y="498"/>
                    </a:lnTo>
                    <a:lnTo>
                      <a:pt x="517" y="494"/>
                    </a:lnTo>
                    <a:lnTo>
                      <a:pt x="479" y="494"/>
                    </a:lnTo>
                    <a:lnTo>
                      <a:pt x="463" y="477"/>
                    </a:lnTo>
                    <a:lnTo>
                      <a:pt x="432" y="482"/>
                    </a:lnTo>
                    <a:lnTo>
                      <a:pt x="425" y="465"/>
                    </a:lnTo>
                    <a:lnTo>
                      <a:pt x="425" y="465"/>
                    </a:lnTo>
                    <a:lnTo>
                      <a:pt x="425" y="46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33" name="Freeform 423">
                <a:extLst>
                  <a:ext uri="{FF2B5EF4-FFF2-40B4-BE49-F238E27FC236}">
                    <a16:creationId xmlns:a16="http://schemas.microsoft.com/office/drawing/2014/main" id="{E36ECC4A-0E72-4840-9F17-0DA4989C73B3}"/>
                  </a:ext>
                </a:extLst>
              </p:cNvPr>
              <p:cNvSpPr>
                <a:spLocks noEditPoints="1"/>
              </p:cNvSpPr>
              <p:nvPr/>
            </p:nvSpPr>
            <p:spPr bwMode="gray">
              <a:xfrm>
                <a:off x="5995933" y="3551240"/>
                <a:ext cx="75748" cy="70815"/>
              </a:xfrm>
              <a:custGeom>
                <a:avLst/>
                <a:gdLst>
                  <a:gd name="T0" fmla="*/ 0 w 184"/>
                  <a:gd name="T1" fmla="*/ 19 h 172"/>
                  <a:gd name="T2" fmla="*/ 0 w 184"/>
                  <a:gd name="T3" fmla="*/ 7 h 172"/>
                  <a:gd name="T4" fmla="*/ 16 w 184"/>
                  <a:gd name="T5" fmla="*/ 0 h 172"/>
                  <a:gd name="T6" fmla="*/ 21 w 184"/>
                  <a:gd name="T7" fmla="*/ 7 h 172"/>
                  <a:gd name="T8" fmla="*/ 0 w 184"/>
                  <a:gd name="T9" fmla="*/ 19 h 172"/>
                  <a:gd name="T10" fmla="*/ 0 w 184"/>
                  <a:gd name="T11" fmla="*/ 19 h 172"/>
                  <a:gd name="T12" fmla="*/ 0 w 184"/>
                  <a:gd name="T13" fmla="*/ 19 h 172"/>
                  <a:gd name="T14" fmla="*/ 21 w 184"/>
                  <a:gd name="T15" fmla="*/ 28 h 172"/>
                  <a:gd name="T16" fmla="*/ 16 w 184"/>
                  <a:gd name="T17" fmla="*/ 23 h 172"/>
                  <a:gd name="T18" fmla="*/ 21 w 184"/>
                  <a:gd name="T19" fmla="*/ 19 h 172"/>
                  <a:gd name="T20" fmla="*/ 33 w 184"/>
                  <a:gd name="T21" fmla="*/ 23 h 172"/>
                  <a:gd name="T22" fmla="*/ 21 w 184"/>
                  <a:gd name="T23" fmla="*/ 28 h 172"/>
                  <a:gd name="T24" fmla="*/ 21 w 184"/>
                  <a:gd name="T25" fmla="*/ 28 h 172"/>
                  <a:gd name="T26" fmla="*/ 21 w 184"/>
                  <a:gd name="T27" fmla="*/ 28 h 172"/>
                  <a:gd name="T28" fmla="*/ 71 w 184"/>
                  <a:gd name="T29" fmla="*/ 45 h 172"/>
                  <a:gd name="T30" fmla="*/ 59 w 184"/>
                  <a:gd name="T31" fmla="*/ 40 h 172"/>
                  <a:gd name="T32" fmla="*/ 92 w 184"/>
                  <a:gd name="T33" fmla="*/ 45 h 172"/>
                  <a:gd name="T34" fmla="*/ 71 w 184"/>
                  <a:gd name="T35" fmla="*/ 40 h 172"/>
                  <a:gd name="T36" fmla="*/ 71 w 184"/>
                  <a:gd name="T37" fmla="*/ 45 h 172"/>
                  <a:gd name="T38" fmla="*/ 71 w 184"/>
                  <a:gd name="T39" fmla="*/ 45 h 172"/>
                  <a:gd name="T40" fmla="*/ 71 w 184"/>
                  <a:gd name="T41" fmla="*/ 45 h 172"/>
                  <a:gd name="T42" fmla="*/ 179 w 184"/>
                  <a:gd name="T43" fmla="*/ 85 h 172"/>
                  <a:gd name="T44" fmla="*/ 163 w 184"/>
                  <a:gd name="T45" fmla="*/ 85 h 172"/>
                  <a:gd name="T46" fmla="*/ 179 w 184"/>
                  <a:gd name="T47" fmla="*/ 73 h 172"/>
                  <a:gd name="T48" fmla="*/ 184 w 184"/>
                  <a:gd name="T49" fmla="*/ 78 h 172"/>
                  <a:gd name="T50" fmla="*/ 179 w 184"/>
                  <a:gd name="T51" fmla="*/ 85 h 172"/>
                  <a:gd name="T52" fmla="*/ 179 w 184"/>
                  <a:gd name="T53" fmla="*/ 85 h 172"/>
                  <a:gd name="T54" fmla="*/ 179 w 184"/>
                  <a:gd name="T55" fmla="*/ 85 h 172"/>
                  <a:gd name="T56" fmla="*/ 125 w 184"/>
                  <a:gd name="T57" fmla="*/ 167 h 172"/>
                  <a:gd name="T58" fmla="*/ 109 w 184"/>
                  <a:gd name="T59" fmla="*/ 156 h 172"/>
                  <a:gd name="T60" fmla="*/ 118 w 184"/>
                  <a:gd name="T61" fmla="*/ 139 h 172"/>
                  <a:gd name="T62" fmla="*/ 130 w 184"/>
                  <a:gd name="T63" fmla="*/ 156 h 172"/>
                  <a:gd name="T64" fmla="*/ 125 w 184"/>
                  <a:gd name="T65" fmla="*/ 167 h 172"/>
                  <a:gd name="T66" fmla="*/ 125 w 184"/>
                  <a:gd name="T67" fmla="*/ 167 h 172"/>
                  <a:gd name="T68" fmla="*/ 125 w 184"/>
                  <a:gd name="T69" fmla="*/ 167 h 172"/>
                  <a:gd name="T70" fmla="*/ 59 w 184"/>
                  <a:gd name="T71" fmla="*/ 172 h 172"/>
                  <a:gd name="T72" fmla="*/ 54 w 184"/>
                  <a:gd name="T73" fmla="*/ 167 h 172"/>
                  <a:gd name="T74" fmla="*/ 59 w 184"/>
                  <a:gd name="T75" fmla="*/ 156 h 172"/>
                  <a:gd name="T76" fmla="*/ 71 w 184"/>
                  <a:gd name="T77" fmla="*/ 167 h 172"/>
                  <a:gd name="T78" fmla="*/ 59 w 184"/>
                  <a:gd name="T79" fmla="*/ 172 h 172"/>
                  <a:gd name="T80" fmla="*/ 59 w 184"/>
                  <a:gd name="T81" fmla="*/ 172 h 172"/>
                  <a:gd name="T82" fmla="*/ 59 w 184"/>
                  <a:gd name="T8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4" h="172">
                    <a:moveTo>
                      <a:pt x="0" y="19"/>
                    </a:moveTo>
                    <a:lnTo>
                      <a:pt x="0" y="7"/>
                    </a:lnTo>
                    <a:lnTo>
                      <a:pt x="16" y="0"/>
                    </a:lnTo>
                    <a:lnTo>
                      <a:pt x="21" y="7"/>
                    </a:lnTo>
                    <a:lnTo>
                      <a:pt x="0" y="19"/>
                    </a:lnTo>
                    <a:lnTo>
                      <a:pt x="0" y="19"/>
                    </a:lnTo>
                    <a:lnTo>
                      <a:pt x="0" y="19"/>
                    </a:lnTo>
                    <a:close/>
                    <a:moveTo>
                      <a:pt x="21" y="28"/>
                    </a:moveTo>
                    <a:lnTo>
                      <a:pt x="16" y="23"/>
                    </a:lnTo>
                    <a:lnTo>
                      <a:pt x="21" y="19"/>
                    </a:lnTo>
                    <a:lnTo>
                      <a:pt x="33" y="23"/>
                    </a:lnTo>
                    <a:lnTo>
                      <a:pt x="21" y="28"/>
                    </a:lnTo>
                    <a:lnTo>
                      <a:pt x="21" y="28"/>
                    </a:lnTo>
                    <a:lnTo>
                      <a:pt x="21" y="28"/>
                    </a:lnTo>
                    <a:close/>
                    <a:moveTo>
                      <a:pt x="71" y="45"/>
                    </a:moveTo>
                    <a:lnTo>
                      <a:pt x="59" y="40"/>
                    </a:lnTo>
                    <a:lnTo>
                      <a:pt x="92" y="45"/>
                    </a:lnTo>
                    <a:lnTo>
                      <a:pt x="71" y="40"/>
                    </a:lnTo>
                    <a:lnTo>
                      <a:pt x="71" y="45"/>
                    </a:lnTo>
                    <a:lnTo>
                      <a:pt x="71" y="45"/>
                    </a:lnTo>
                    <a:lnTo>
                      <a:pt x="71" y="45"/>
                    </a:lnTo>
                    <a:close/>
                    <a:moveTo>
                      <a:pt x="179" y="85"/>
                    </a:moveTo>
                    <a:lnTo>
                      <a:pt x="163" y="85"/>
                    </a:lnTo>
                    <a:lnTo>
                      <a:pt x="179" y="73"/>
                    </a:lnTo>
                    <a:lnTo>
                      <a:pt x="184" y="78"/>
                    </a:lnTo>
                    <a:lnTo>
                      <a:pt x="179" y="85"/>
                    </a:lnTo>
                    <a:lnTo>
                      <a:pt x="179" y="85"/>
                    </a:lnTo>
                    <a:lnTo>
                      <a:pt x="179" y="85"/>
                    </a:lnTo>
                    <a:close/>
                    <a:moveTo>
                      <a:pt x="125" y="167"/>
                    </a:moveTo>
                    <a:lnTo>
                      <a:pt x="109" y="156"/>
                    </a:lnTo>
                    <a:lnTo>
                      <a:pt x="118" y="139"/>
                    </a:lnTo>
                    <a:lnTo>
                      <a:pt x="130" y="156"/>
                    </a:lnTo>
                    <a:lnTo>
                      <a:pt x="125" y="167"/>
                    </a:lnTo>
                    <a:lnTo>
                      <a:pt x="125" y="167"/>
                    </a:lnTo>
                    <a:lnTo>
                      <a:pt x="125" y="167"/>
                    </a:lnTo>
                    <a:close/>
                    <a:moveTo>
                      <a:pt x="59" y="172"/>
                    </a:moveTo>
                    <a:lnTo>
                      <a:pt x="54" y="167"/>
                    </a:lnTo>
                    <a:lnTo>
                      <a:pt x="59" y="156"/>
                    </a:lnTo>
                    <a:lnTo>
                      <a:pt x="71" y="167"/>
                    </a:lnTo>
                    <a:lnTo>
                      <a:pt x="59" y="172"/>
                    </a:lnTo>
                    <a:lnTo>
                      <a:pt x="59" y="172"/>
                    </a:lnTo>
                    <a:lnTo>
                      <a:pt x="59" y="17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34" name="Freeform 424">
                <a:extLst>
                  <a:ext uri="{FF2B5EF4-FFF2-40B4-BE49-F238E27FC236}">
                    <a16:creationId xmlns:a16="http://schemas.microsoft.com/office/drawing/2014/main" id="{CA8A808F-549A-4507-A48E-EAD6071BBD3D}"/>
                  </a:ext>
                </a:extLst>
              </p:cNvPr>
              <p:cNvSpPr>
                <a:spLocks/>
              </p:cNvSpPr>
              <p:nvPr/>
            </p:nvSpPr>
            <p:spPr bwMode="gray">
              <a:xfrm>
                <a:off x="7655787" y="2960016"/>
                <a:ext cx="66280" cy="36644"/>
              </a:xfrm>
              <a:custGeom>
                <a:avLst/>
                <a:gdLst>
                  <a:gd name="T0" fmla="*/ 71 w 161"/>
                  <a:gd name="T1" fmla="*/ 77 h 89"/>
                  <a:gd name="T2" fmla="*/ 64 w 161"/>
                  <a:gd name="T3" fmla="*/ 77 h 89"/>
                  <a:gd name="T4" fmla="*/ 54 w 161"/>
                  <a:gd name="T5" fmla="*/ 89 h 89"/>
                  <a:gd name="T6" fmla="*/ 50 w 161"/>
                  <a:gd name="T7" fmla="*/ 77 h 89"/>
                  <a:gd name="T8" fmla="*/ 17 w 161"/>
                  <a:gd name="T9" fmla="*/ 77 h 89"/>
                  <a:gd name="T10" fmla="*/ 0 w 161"/>
                  <a:gd name="T11" fmla="*/ 49 h 89"/>
                  <a:gd name="T12" fmla="*/ 17 w 161"/>
                  <a:gd name="T13" fmla="*/ 56 h 89"/>
                  <a:gd name="T14" fmla="*/ 33 w 161"/>
                  <a:gd name="T15" fmla="*/ 40 h 89"/>
                  <a:gd name="T16" fmla="*/ 50 w 161"/>
                  <a:gd name="T17" fmla="*/ 40 h 89"/>
                  <a:gd name="T18" fmla="*/ 50 w 161"/>
                  <a:gd name="T19" fmla="*/ 21 h 89"/>
                  <a:gd name="T20" fmla="*/ 102 w 161"/>
                  <a:gd name="T21" fmla="*/ 21 h 89"/>
                  <a:gd name="T22" fmla="*/ 161 w 161"/>
                  <a:gd name="T23" fmla="*/ 0 h 89"/>
                  <a:gd name="T24" fmla="*/ 118 w 161"/>
                  <a:gd name="T25" fmla="*/ 33 h 89"/>
                  <a:gd name="T26" fmla="*/ 118 w 161"/>
                  <a:gd name="T27" fmla="*/ 40 h 89"/>
                  <a:gd name="T28" fmla="*/ 132 w 161"/>
                  <a:gd name="T29" fmla="*/ 56 h 89"/>
                  <a:gd name="T30" fmla="*/ 102 w 161"/>
                  <a:gd name="T31" fmla="*/ 56 h 89"/>
                  <a:gd name="T32" fmla="*/ 102 w 161"/>
                  <a:gd name="T33" fmla="*/ 73 h 89"/>
                  <a:gd name="T34" fmla="*/ 71 w 161"/>
                  <a:gd name="T35" fmla="*/ 77 h 89"/>
                  <a:gd name="T36" fmla="*/ 71 w 161"/>
                  <a:gd name="T37" fmla="*/ 77 h 89"/>
                  <a:gd name="T38" fmla="*/ 71 w 161"/>
                  <a:gd name="T39" fmla="*/ 7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1" h="89">
                    <a:moveTo>
                      <a:pt x="71" y="77"/>
                    </a:moveTo>
                    <a:lnTo>
                      <a:pt x="64" y="77"/>
                    </a:lnTo>
                    <a:lnTo>
                      <a:pt x="54" y="89"/>
                    </a:lnTo>
                    <a:lnTo>
                      <a:pt x="50" y="77"/>
                    </a:lnTo>
                    <a:lnTo>
                      <a:pt x="17" y="77"/>
                    </a:lnTo>
                    <a:lnTo>
                      <a:pt x="0" y="49"/>
                    </a:lnTo>
                    <a:lnTo>
                      <a:pt x="17" y="56"/>
                    </a:lnTo>
                    <a:lnTo>
                      <a:pt x="33" y="40"/>
                    </a:lnTo>
                    <a:lnTo>
                      <a:pt x="50" y="40"/>
                    </a:lnTo>
                    <a:lnTo>
                      <a:pt x="50" y="21"/>
                    </a:lnTo>
                    <a:lnTo>
                      <a:pt x="102" y="21"/>
                    </a:lnTo>
                    <a:lnTo>
                      <a:pt x="161" y="0"/>
                    </a:lnTo>
                    <a:lnTo>
                      <a:pt x="118" y="33"/>
                    </a:lnTo>
                    <a:lnTo>
                      <a:pt x="118" y="40"/>
                    </a:lnTo>
                    <a:lnTo>
                      <a:pt x="132" y="56"/>
                    </a:lnTo>
                    <a:lnTo>
                      <a:pt x="102" y="56"/>
                    </a:lnTo>
                    <a:lnTo>
                      <a:pt x="102" y="73"/>
                    </a:lnTo>
                    <a:lnTo>
                      <a:pt x="71" y="77"/>
                    </a:lnTo>
                    <a:lnTo>
                      <a:pt x="71" y="77"/>
                    </a:lnTo>
                    <a:lnTo>
                      <a:pt x="71" y="7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35" name="Freeform 426">
                <a:extLst>
                  <a:ext uri="{FF2B5EF4-FFF2-40B4-BE49-F238E27FC236}">
                    <a16:creationId xmlns:a16="http://schemas.microsoft.com/office/drawing/2014/main" id="{FC868417-E42D-46E6-8418-AAF435B8EBB8}"/>
                  </a:ext>
                </a:extLst>
              </p:cNvPr>
              <p:cNvSpPr>
                <a:spLocks/>
              </p:cNvSpPr>
              <p:nvPr/>
            </p:nvSpPr>
            <p:spPr bwMode="gray">
              <a:xfrm>
                <a:off x="7934076" y="3684225"/>
                <a:ext cx="45695" cy="56405"/>
              </a:xfrm>
              <a:custGeom>
                <a:avLst/>
                <a:gdLst>
                  <a:gd name="T0" fmla="*/ 73 w 111"/>
                  <a:gd name="T1" fmla="*/ 126 h 137"/>
                  <a:gd name="T2" fmla="*/ 56 w 111"/>
                  <a:gd name="T3" fmla="*/ 121 h 137"/>
                  <a:gd name="T4" fmla="*/ 14 w 111"/>
                  <a:gd name="T5" fmla="*/ 137 h 137"/>
                  <a:gd name="T6" fmla="*/ 0 w 111"/>
                  <a:gd name="T7" fmla="*/ 126 h 137"/>
                  <a:gd name="T8" fmla="*/ 0 w 111"/>
                  <a:gd name="T9" fmla="*/ 92 h 137"/>
                  <a:gd name="T10" fmla="*/ 0 w 111"/>
                  <a:gd name="T11" fmla="*/ 71 h 137"/>
                  <a:gd name="T12" fmla="*/ 35 w 111"/>
                  <a:gd name="T13" fmla="*/ 26 h 137"/>
                  <a:gd name="T14" fmla="*/ 42 w 111"/>
                  <a:gd name="T15" fmla="*/ 17 h 137"/>
                  <a:gd name="T16" fmla="*/ 56 w 111"/>
                  <a:gd name="T17" fmla="*/ 33 h 137"/>
                  <a:gd name="T18" fmla="*/ 68 w 111"/>
                  <a:gd name="T19" fmla="*/ 26 h 137"/>
                  <a:gd name="T20" fmla="*/ 68 w 111"/>
                  <a:gd name="T21" fmla="*/ 17 h 137"/>
                  <a:gd name="T22" fmla="*/ 89 w 111"/>
                  <a:gd name="T23" fmla="*/ 0 h 137"/>
                  <a:gd name="T24" fmla="*/ 106 w 111"/>
                  <a:gd name="T25" fmla="*/ 26 h 137"/>
                  <a:gd name="T26" fmla="*/ 111 w 111"/>
                  <a:gd name="T27" fmla="*/ 55 h 137"/>
                  <a:gd name="T28" fmla="*/ 78 w 111"/>
                  <a:gd name="T29" fmla="*/ 71 h 137"/>
                  <a:gd name="T30" fmla="*/ 68 w 111"/>
                  <a:gd name="T31" fmla="*/ 71 h 137"/>
                  <a:gd name="T32" fmla="*/ 56 w 111"/>
                  <a:gd name="T33" fmla="*/ 88 h 137"/>
                  <a:gd name="T34" fmla="*/ 42 w 111"/>
                  <a:gd name="T35" fmla="*/ 88 h 137"/>
                  <a:gd name="T36" fmla="*/ 52 w 111"/>
                  <a:gd name="T37" fmla="*/ 92 h 137"/>
                  <a:gd name="T38" fmla="*/ 73 w 111"/>
                  <a:gd name="T39" fmla="*/ 88 h 137"/>
                  <a:gd name="T40" fmla="*/ 89 w 111"/>
                  <a:gd name="T41" fmla="*/ 88 h 137"/>
                  <a:gd name="T42" fmla="*/ 94 w 111"/>
                  <a:gd name="T43" fmla="*/ 92 h 137"/>
                  <a:gd name="T44" fmla="*/ 73 w 111"/>
                  <a:gd name="T45" fmla="*/ 126 h 137"/>
                  <a:gd name="T46" fmla="*/ 73 w 111"/>
                  <a:gd name="T47" fmla="*/ 126 h 137"/>
                  <a:gd name="T48" fmla="*/ 73 w 111"/>
                  <a:gd name="T49" fmla="*/ 12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1" h="137">
                    <a:moveTo>
                      <a:pt x="73" y="126"/>
                    </a:moveTo>
                    <a:lnTo>
                      <a:pt x="56" y="121"/>
                    </a:lnTo>
                    <a:lnTo>
                      <a:pt x="14" y="137"/>
                    </a:lnTo>
                    <a:lnTo>
                      <a:pt x="0" y="126"/>
                    </a:lnTo>
                    <a:lnTo>
                      <a:pt x="0" y="92"/>
                    </a:lnTo>
                    <a:lnTo>
                      <a:pt x="0" y="71"/>
                    </a:lnTo>
                    <a:lnTo>
                      <a:pt x="35" y="26"/>
                    </a:lnTo>
                    <a:lnTo>
                      <a:pt x="42" y="17"/>
                    </a:lnTo>
                    <a:lnTo>
                      <a:pt x="56" y="33"/>
                    </a:lnTo>
                    <a:lnTo>
                      <a:pt x="68" y="26"/>
                    </a:lnTo>
                    <a:lnTo>
                      <a:pt x="68" y="17"/>
                    </a:lnTo>
                    <a:lnTo>
                      <a:pt x="89" y="0"/>
                    </a:lnTo>
                    <a:lnTo>
                      <a:pt x="106" y="26"/>
                    </a:lnTo>
                    <a:lnTo>
                      <a:pt x="111" y="55"/>
                    </a:lnTo>
                    <a:lnTo>
                      <a:pt x="78" y="71"/>
                    </a:lnTo>
                    <a:lnTo>
                      <a:pt x="68" y="71"/>
                    </a:lnTo>
                    <a:lnTo>
                      <a:pt x="56" y="88"/>
                    </a:lnTo>
                    <a:lnTo>
                      <a:pt x="42" y="88"/>
                    </a:lnTo>
                    <a:lnTo>
                      <a:pt x="52" y="92"/>
                    </a:lnTo>
                    <a:lnTo>
                      <a:pt x="73" y="88"/>
                    </a:lnTo>
                    <a:lnTo>
                      <a:pt x="89" y="88"/>
                    </a:lnTo>
                    <a:lnTo>
                      <a:pt x="94" y="92"/>
                    </a:lnTo>
                    <a:lnTo>
                      <a:pt x="73" y="126"/>
                    </a:lnTo>
                    <a:lnTo>
                      <a:pt x="73" y="126"/>
                    </a:lnTo>
                    <a:lnTo>
                      <a:pt x="73" y="1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36" name="Freeform 430">
                <a:extLst>
                  <a:ext uri="{FF2B5EF4-FFF2-40B4-BE49-F238E27FC236}">
                    <a16:creationId xmlns:a16="http://schemas.microsoft.com/office/drawing/2014/main" id="{4AAADB9E-E6DB-4ED5-B3CE-866B1B55B61F}"/>
                  </a:ext>
                </a:extLst>
              </p:cNvPr>
              <p:cNvSpPr>
                <a:spLocks/>
              </p:cNvSpPr>
              <p:nvPr/>
            </p:nvSpPr>
            <p:spPr bwMode="gray">
              <a:xfrm>
                <a:off x="7440895" y="3095882"/>
                <a:ext cx="348273" cy="305494"/>
              </a:xfrm>
              <a:custGeom>
                <a:avLst/>
                <a:gdLst>
                  <a:gd name="T0" fmla="*/ 468 w 846"/>
                  <a:gd name="T1" fmla="*/ 742 h 742"/>
                  <a:gd name="T2" fmla="*/ 468 w 846"/>
                  <a:gd name="T3" fmla="*/ 725 h 742"/>
                  <a:gd name="T4" fmla="*/ 17 w 846"/>
                  <a:gd name="T5" fmla="*/ 742 h 742"/>
                  <a:gd name="T6" fmla="*/ 17 w 846"/>
                  <a:gd name="T7" fmla="*/ 189 h 742"/>
                  <a:gd name="T8" fmla="*/ 17 w 846"/>
                  <a:gd name="T9" fmla="*/ 66 h 742"/>
                  <a:gd name="T10" fmla="*/ 31 w 846"/>
                  <a:gd name="T11" fmla="*/ 0 h 742"/>
                  <a:gd name="T12" fmla="*/ 38 w 846"/>
                  <a:gd name="T13" fmla="*/ 10 h 742"/>
                  <a:gd name="T14" fmla="*/ 177 w 846"/>
                  <a:gd name="T15" fmla="*/ 21 h 742"/>
                  <a:gd name="T16" fmla="*/ 198 w 846"/>
                  <a:gd name="T17" fmla="*/ 38 h 742"/>
                  <a:gd name="T18" fmla="*/ 224 w 846"/>
                  <a:gd name="T19" fmla="*/ 45 h 742"/>
                  <a:gd name="T20" fmla="*/ 300 w 846"/>
                  <a:gd name="T21" fmla="*/ 62 h 742"/>
                  <a:gd name="T22" fmla="*/ 371 w 846"/>
                  <a:gd name="T23" fmla="*/ 21 h 742"/>
                  <a:gd name="T24" fmla="*/ 387 w 846"/>
                  <a:gd name="T25" fmla="*/ 29 h 742"/>
                  <a:gd name="T26" fmla="*/ 404 w 846"/>
                  <a:gd name="T27" fmla="*/ 10 h 742"/>
                  <a:gd name="T28" fmla="*/ 409 w 846"/>
                  <a:gd name="T29" fmla="*/ 21 h 742"/>
                  <a:gd name="T30" fmla="*/ 446 w 846"/>
                  <a:gd name="T31" fmla="*/ 10 h 742"/>
                  <a:gd name="T32" fmla="*/ 480 w 846"/>
                  <a:gd name="T33" fmla="*/ 10 h 742"/>
                  <a:gd name="T34" fmla="*/ 522 w 846"/>
                  <a:gd name="T35" fmla="*/ 29 h 742"/>
                  <a:gd name="T36" fmla="*/ 494 w 846"/>
                  <a:gd name="T37" fmla="*/ 29 h 742"/>
                  <a:gd name="T38" fmla="*/ 510 w 846"/>
                  <a:gd name="T39" fmla="*/ 29 h 742"/>
                  <a:gd name="T40" fmla="*/ 532 w 846"/>
                  <a:gd name="T41" fmla="*/ 38 h 742"/>
                  <a:gd name="T42" fmla="*/ 555 w 846"/>
                  <a:gd name="T43" fmla="*/ 45 h 742"/>
                  <a:gd name="T44" fmla="*/ 586 w 846"/>
                  <a:gd name="T45" fmla="*/ 45 h 742"/>
                  <a:gd name="T46" fmla="*/ 628 w 846"/>
                  <a:gd name="T47" fmla="*/ 38 h 742"/>
                  <a:gd name="T48" fmla="*/ 673 w 846"/>
                  <a:gd name="T49" fmla="*/ 29 h 742"/>
                  <a:gd name="T50" fmla="*/ 699 w 846"/>
                  <a:gd name="T51" fmla="*/ 177 h 742"/>
                  <a:gd name="T52" fmla="*/ 678 w 846"/>
                  <a:gd name="T53" fmla="*/ 260 h 742"/>
                  <a:gd name="T54" fmla="*/ 661 w 846"/>
                  <a:gd name="T55" fmla="*/ 305 h 742"/>
                  <a:gd name="T56" fmla="*/ 591 w 846"/>
                  <a:gd name="T57" fmla="*/ 244 h 742"/>
                  <a:gd name="T58" fmla="*/ 565 w 846"/>
                  <a:gd name="T59" fmla="*/ 170 h 742"/>
                  <a:gd name="T60" fmla="*/ 532 w 846"/>
                  <a:gd name="T61" fmla="*/ 166 h 742"/>
                  <a:gd name="T62" fmla="*/ 555 w 846"/>
                  <a:gd name="T63" fmla="*/ 222 h 742"/>
                  <a:gd name="T64" fmla="*/ 619 w 846"/>
                  <a:gd name="T65" fmla="*/ 288 h 742"/>
                  <a:gd name="T66" fmla="*/ 607 w 846"/>
                  <a:gd name="T67" fmla="*/ 298 h 742"/>
                  <a:gd name="T68" fmla="*/ 640 w 846"/>
                  <a:gd name="T69" fmla="*/ 343 h 742"/>
                  <a:gd name="T70" fmla="*/ 645 w 846"/>
                  <a:gd name="T71" fmla="*/ 388 h 742"/>
                  <a:gd name="T72" fmla="*/ 725 w 846"/>
                  <a:gd name="T73" fmla="*/ 553 h 742"/>
                  <a:gd name="T74" fmla="*/ 754 w 846"/>
                  <a:gd name="T75" fmla="*/ 598 h 742"/>
                  <a:gd name="T76" fmla="*/ 763 w 846"/>
                  <a:gd name="T77" fmla="*/ 671 h 742"/>
                  <a:gd name="T78" fmla="*/ 801 w 846"/>
                  <a:gd name="T79" fmla="*/ 692 h 742"/>
                  <a:gd name="T80" fmla="*/ 846 w 846"/>
                  <a:gd name="T81" fmla="*/ 742 h 742"/>
                  <a:gd name="T82" fmla="*/ 846 w 846"/>
                  <a:gd name="T83" fmla="*/ 74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6" h="742">
                    <a:moveTo>
                      <a:pt x="846" y="742"/>
                    </a:moveTo>
                    <a:lnTo>
                      <a:pt x="468" y="742"/>
                    </a:lnTo>
                    <a:lnTo>
                      <a:pt x="480" y="737"/>
                    </a:lnTo>
                    <a:lnTo>
                      <a:pt x="468" y="725"/>
                    </a:lnTo>
                    <a:lnTo>
                      <a:pt x="458" y="742"/>
                    </a:lnTo>
                    <a:lnTo>
                      <a:pt x="17" y="742"/>
                    </a:lnTo>
                    <a:lnTo>
                      <a:pt x="17" y="314"/>
                    </a:lnTo>
                    <a:lnTo>
                      <a:pt x="17" y="189"/>
                    </a:lnTo>
                    <a:lnTo>
                      <a:pt x="0" y="116"/>
                    </a:lnTo>
                    <a:lnTo>
                      <a:pt x="17" y="66"/>
                    </a:lnTo>
                    <a:lnTo>
                      <a:pt x="9" y="21"/>
                    </a:lnTo>
                    <a:lnTo>
                      <a:pt x="31" y="0"/>
                    </a:lnTo>
                    <a:lnTo>
                      <a:pt x="31" y="5"/>
                    </a:lnTo>
                    <a:lnTo>
                      <a:pt x="38" y="10"/>
                    </a:lnTo>
                    <a:lnTo>
                      <a:pt x="85" y="0"/>
                    </a:lnTo>
                    <a:lnTo>
                      <a:pt x="177" y="21"/>
                    </a:lnTo>
                    <a:lnTo>
                      <a:pt x="189" y="29"/>
                    </a:lnTo>
                    <a:lnTo>
                      <a:pt x="198" y="38"/>
                    </a:lnTo>
                    <a:lnTo>
                      <a:pt x="215" y="29"/>
                    </a:lnTo>
                    <a:lnTo>
                      <a:pt x="224" y="45"/>
                    </a:lnTo>
                    <a:lnTo>
                      <a:pt x="253" y="45"/>
                    </a:lnTo>
                    <a:lnTo>
                      <a:pt x="300" y="62"/>
                    </a:lnTo>
                    <a:lnTo>
                      <a:pt x="333" y="55"/>
                    </a:lnTo>
                    <a:lnTo>
                      <a:pt x="371" y="21"/>
                    </a:lnTo>
                    <a:lnTo>
                      <a:pt x="376" y="29"/>
                    </a:lnTo>
                    <a:lnTo>
                      <a:pt x="387" y="29"/>
                    </a:lnTo>
                    <a:lnTo>
                      <a:pt x="392" y="5"/>
                    </a:lnTo>
                    <a:lnTo>
                      <a:pt x="404" y="10"/>
                    </a:lnTo>
                    <a:lnTo>
                      <a:pt x="442" y="5"/>
                    </a:lnTo>
                    <a:lnTo>
                      <a:pt x="409" y="21"/>
                    </a:lnTo>
                    <a:lnTo>
                      <a:pt x="430" y="10"/>
                    </a:lnTo>
                    <a:lnTo>
                      <a:pt x="446" y="10"/>
                    </a:lnTo>
                    <a:lnTo>
                      <a:pt x="442" y="5"/>
                    </a:lnTo>
                    <a:lnTo>
                      <a:pt x="480" y="10"/>
                    </a:lnTo>
                    <a:lnTo>
                      <a:pt x="501" y="5"/>
                    </a:lnTo>
                    <a:lnTo>
                      <a:pt x="522" y="29"/>
                    </a:lnTo>
                    <a:lnTo>
                      <a:pt x="501" y="5"/>
                    </a:lnTo>
                    <a:lnTo>
                      <a:pt x="494" y="29"/>
                    </a:lnTo>
                    <a:lnTo>
                      <a:pt x="501" y="38"/>
                    </a:lnTo>
                    <a:lnTo>
                      <a:pt x="510" y="29"/>
                    </a:lnTo>
                    <a:lnTo>
                      <a:pt x="517" y="45"/>
                    </a:lnTo>
                    <a:lnTo>
                      <a:pt x="532" y="38"/>
                    </a:lnTo>
                    <a:lnTo>
                      <a:pt x="522" y="29"/>
                    </a:lnTo>
                    <a:lnTo>
                      <a:pt x="555" y="45"/>
                    </a:lnTo>
                    <a:lnTo>
                      <a:pt x="586" y="38"/>
                    </a:lnTo>
                    <a:lnTo>
                      <a:pt x="586" y="45"/>
                    </a:lnTo>
                    <a:lnTo>
                      <a:pt x="607" y="38"/>
                    </a:lnTo>
                    <a:lnTo>
                      <a:pt x="628" y="38"/>
                    </a:lnTo>
                    <a:lnTo>
                      <a:pt x="661" y="21"/>
                    </a:lnTo>
                    <a:lnTo>
                      <a:pt x="673" y="29"/>
                    </a:lnTo>
                    <a:lnTo>
                      <a:pt x="711" y="170"/>
                    </a:lnTo>
                    <a:lnTo>
                      <a:pt x="699" y="177"/>
                    </a:lnTo>
                    <a:lnTo>
                      <a:pt x="695" y="227"/>
                    </a:lnTo>
                    <a:lnTo>
                      <a:pt x="678" y="260"/>
                    </a:lnTo>
                    <a:lnTo>
                      <a:pt x="678" y="281"/>
                    </a:lnTo>
                    <a:lnTo>
                      <a:pt x="661" y="305"/>
                    </a:lnTo>
                    <a:lnTo>
                      <a:pt x="628" y="281"/>
                    </a:lnTo>
                    <a:lnTo>
                      <a:pt x="591" y="244"/>
                    </a:lnTo>
                    <a:lnTo>
                      <a:pt x="591" y="206"/>
                    </a:lnTo>
                    <a:lnTo>
                      <a:pt x="565" y="170"/>
                    </a:lnTo>
                    <a:lnTo>
                      <a:pt x="548" y="121"/>
                    </a:lnTo>
                    <a:lnTo>
                      <a:pt x="532" y="166"/>
                    </a:lnTo>
                    <a:lnTo>
                      <a:pt x="548" y="177"/>
                    </a:lnTo>
                    <a:lnTo>
                      <a:pt x="555" y="222"/>
                    </a:lnTo>
                    <a:lnTo>
                      <a:pt x="586" y="265"/>
                    </a:lnTo>
                    <a:lnTo>
                      <a:pt x="619" y="288"/>
                    </a:lnTo>
                    <a:lnTo>
                      <a:pt x="619" y="298"/>
                    </a:lnTo>
                    <a:lnTo>
                      <a:pt x="607" y="298"/>
                    </a:lnTo>
                    <a:lnTo>
                      <a:pt x="607" y="314"/>
                    </a:lnTo>
                    <a:lnTo>
                      <a:pt x="640" y="343"/>
                    </a:lnTo>
                    <a:lnTo>
                      <a:pt x="645" y="371"/>
                    </a:lnTo>
                    <a:lnTo>
                      <a:pt x="645" y="388"/>
                    </a:lnTo>
                    <a:lnTo>
                      <a:pt x="683" y="466"/>
                    </a:lnTo>
                    <a:lnTo>
                      <a:pt x="725" y="553"/>
                    </a:lnTo>
                    <a:lnTo>
                      <a:pt x="780" y="598"/>
                    </a:lnTo>
                    <a:lnTo>
                      <a:pt x="754" y="598"/>
                    </a:lnTo>
                    <a:lnTo>
                      <a:pt x="754" y="631"/>
                    </a:lnTo>
                    <a:lnTo>
                      <a:pt x="763" y="671"/>
                    </a:lnTo>
                    <a:lnTo>
                      <a:pt x="780" y="688"/>
                    </a:lnTo>
                    <a:lnTo>
                      <a:pt x="801" y="692"/>
                    </a:lnTo>
                    <a:lnTo>
                      <a:pt x="824" y="721"/>
                    </a:lnTo>
                    <a:lnTo>
                      <a:pt x="846" y="742"/>
                    </a:lnTo>
                    <a:lnTo>
                      <a:pt x="846" y="742"/>
                    </a:lnTo>
                    <a:lnTo>
                      <a:pt x="846" y="74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37" name="Freeform 432">
                <a:extLst>
                  <a:ext uri="{FF2B5EF4-FFF2-40B4-BE49-F238E27FC236}">
                    <a16:creationId xmlns:a16="http://schemas.microsoft.com/office/drawing/2014/main" id="{C2BE9215-1E86-4C4F-A7FD-DA22C6256279}"/>
                  </a:ext>
                </a:extLst>
              </p:cNvPr>
              <p:cNvSpPr>
                <a:spLocks noEditPoints="1"/>
              </p:cNvSpPr>
              <p:nvPr/>
            </p:nvSpPr>
            <p:spPr bwMode="gray">
              <a:xfrm>
                <a:off x="6971179" y="3955546"/>
                <a:ext cx="82746" cy="81931"/>
              </a:xfrm>
              <a:custGeom>
                <a:avLst/>
                <a:gdLst>
                  <a:gd name="T0" fmla="*/ 26 w 201"/>
                  <a:gd name="T1" fmla="*/ 17 h 199"/>
                  <a:gd name="T2" fmla="*/ 14 w 201"/>
                  <a:gd name="T3" fmla="*/ 41 h 199"/>
                  <a:gd name="T4" fmla="*/ 0 w 201"/>
                  <a:gd name="T5" fmla="*/ 33 h 199"/>
                  <a:gd name="T6" fmla="*/ 0 w 201"/>
                  <a:gd name="T7" fmla="*/ 17 h 199"/>
                  <a:gd name="T8" fmla="*/ 5 w 201"/>
                  <a:gd name="T9" fmla="*/ 17 h 199"/>
                  <a:gd name="T10" fmla="*/ 14 w 201"/>
                  <a:gd name="T11" fmla="*/ 0 h 199"/>
                  <a:gd name="T12" fmla="*/ 26 w 201"/>
                  <a:gd name="T13" fmla="*/ 0 h 199"/>
                  <a:gd name="T14" fmla="*/ 26 w 201"/>
                  <a:gd name="T15" fmla="*/ 17 h 199"/>
                  <a:gd name="T16" fmla="*/ 26 w 201"/>
                  <a:gd name="T17" fmla="*/ 17 h 199"/>
                  <a:gd name="T18" fmla="*/ 26 w 201"/>
                  <a:gd name="T19" fmla="*/ 17 h 199"/>
                  <a:gd name="T20" fmla="*/ 92 w 201"/>
                  <a:gd name="T21" fmla="*/ 95 h 199"/>
                  <a:gd name="T22" fmla="*/ 109 w 201"/>
                  <a:gd name="T23" fmla="*/ 111 h 199"/>
                  <a:gd name="T24" fmla="*/ 201 w 201"/>
                  <a:gd name="T25" fmla="*/ 111 h 199"/>
                  <a:gd name="T26" fmla="*/ 201 w 201"/>
                  <a:gd name="T27" fmla="*/ 199 h 199"/>
                  <a:gd name="T28" fmla="*/ 109 w 201"/>
                  <a:gd name="T29" fmla="*/ 199 h 199"/>
                  <a:gd name="T30" fmla="*/ 97 w 201"/>
                  <a:gd name="T31" fmla="*/ 199 h 199"/>
                  <a:gd name="T32" fmla="*/ 92 w 201"/>
                  <a:gd name="T33" fmla="*/ 199 h 199"/>
                  <a:gd name="T34" fmla="*/ 92 w 201"/>
                  <a:gd name="T35" fmla="*/ 187 h 199"/>
                  <a:gd name="T36" fmla="*/ 76 w 201"/>
                  <a:gd name="T37" fmla="*/ 187 h 199"/>
                  <a:gd name="T38" fmla="*/ 59 w 201"/>
                  <a:gd name="T39" fmla="*/ 182 h 199"/>
                  <a:gd name="T40" fmla="*/ 92 w 201"/>
                  <a:gd name="T41" fmla="*/ 128 h 199"/>
                  <a:gd name="T42" fmla="*/ 92 w 201"/>
                  <a:gd name="T43" fmla="*/ 95 h 199"/>
                  <a:gd name="T44" fmla="*/ 92 w 201"/>
                  <a:gd name="T45" fmla="*/ 95 h 199"/>
                  <a:gd name="T46" fmla="*/ 92 w 201"/>
                  <a:gd name="T47" fmla="*/ 9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1" h="199">
                    <a:moveTo>
                      <a:pt x="26" y="17"/>
                    </a:moveTo>
                    <a:lnTo>
                      <a:pt x="14" y="41"/>
                    </a:lnTo>
                    <a:lnTo>
                      <a:pt x="0" y="33"/>
                    </a:lnTo>
                    <a:lnTo>
                      <a:pt x="0" y="17"/>
                    </a:lnTo>
                    <a:lnTo>
                      <a:pt x="5" y="17"/>
                    </a:lnTo>
                    <a:lnTo>
                      <a:pt x="14" y="0"/>
                    </a:lnTo>
                    <a:lnTo>
                      <a:pt x="26" y="0"/>
                    </a:lnTo>
                    <a:lnTo>
                      <a:pt x="26" y="17"/>
                    </a:lnTo>
                    <a:lnTo>
                      <a:pt x="26" y="17"/>
                    </a:lnTo>
                    <a:lnTo>
                      <a:pt x="26" y="17"/>
                    </a:lnTo>
                    <a:close/>
                    <a:moveTo>
                      <a:pt x="92" y="95"/>
                    </a:moveTo>
                    <a:lnTo>
                      <a:pt x="109" y="111"/>
                    </a:lnTo>
                    <a:lnTo>
                      <a:pt x="201" y="111"/>
                    </a:lnTo>
                    <a:lnTo>
                      <a:pt x="201" y="199"/>
                    </a:lnTo>
                    <a:lnTo>
                      <a:pt x="109" y="199"/>
                    </a:lnTo>
                    <a:lnTo>
                      <a:pt x="97" y="199"/>
                    </a:lnTo>
                    <a:lnTo>
                      <a:pt x="92" y="199"/>
                    </a:lnTo>
                    <a:lnTo>
                      <a:pt x="92" y="187"/>
                    </a:lnTo>
                    <a:lnTo>
                      <a:pt x="76" y="187"/>
                    </a:lnTo>
                    <a:lnTo>
                      <a:pt x="59" y="182"/>
                    </a:lnTo>
                    <a:lnTo>
                      <a:pt x="92" y="128"/>
                    </a:lnTo>
                    <a:lnTo>
                      <a:pt x="92" y="95"/>
                    </a:lnTo>
                    <a:lnTo>
                      <a:pt x="92" y="95"/>
                    </a:lnTo>
                    <a:lnTo>
                      <a:pt x="92" y="9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38" name="Freeform 434">
                <a:extLst>
                  <a:ext uri="{FF2B5EF4-FFF2-40B4-BE49-F238E27FC236}">
                    <a16:creationId xmlns:a16="http://schemas.microsoft.com/office/drawing/2014/main" id="{0AB95FC2-DE37-41CB-B113-98FFCC5BEA3D}"/>
                  </a:ext>
                </a:extLst>
              </p:cNvPr>
              <p:cNvSpPr>
                <a:spLocks noEditPoints="1"/>
              </p:cNvSpPr>
              <p:nvPr/>
            </p:nvSpPr>
            <p:spPr bwMode="gray">
              <a:xfrm>
                <a:off x="7778465" y="3524890"/>
                <a:ext cx="192250" cy="172921"/>
              </a:xfrm>
              <a:custGeom>
                <a:avLst/>
                <a:gdLst>
                  <a:gd name="T0" fmla="*/ 446 w 467"/>
                  <a:gd name="T1" fmla="*/ 404 h 420"/>
                  <a:gd name="T2" fmla="*/ 434 w 467"/>
                  <a:gd name="T3" fmla="*/ 420 h 420"/>
                  <a:gd name="T4" fmla="*/ 413 w 467"/>
                  <a:gd name="T5" fmla="*/ 416 h 420"/>
                  <a:gd name="T6" fmla="*/ 380 w 467"/>
                  <a:gd name="T7" fmla="*/ 383 h 420"/>
                  <a:gd name="T8" fmla="*/ 338 w 467"/>
                  <a:gd name="T9" fmla="*/ 326 h 420"/>
                  <a:gd name="T10" fmla="*/ 269 w 467"/>
                  <a:gd name="T11" fmla="*/ 260 h 420"/>
                  <a:gd name="T12" fmla="*/ 215 w 467"/>
                  <a:gd name="T13" fmla="*/ 255 h 420"/>
                  <a:gd name="T14" fmla="*/ 182 w 467"/>
                  <a:gd name="T15" fmla="*/ 250 h 420"/>
                  <a:gd name="T16" fmla="*/ 144 w 467"/>
                  <a:gd name="T17" fmla="*/ 272 h 420"/>
                  <a:gd name="T18" fmla="*/ 113 w 467"/>
                  <a:gd name="T19" fmla="*/ 250 h 420"/>
                  <a:gd name="T20" fmla="*/ 80 w 467"/>
                  <a:gd name="T21" fmla="*/ 293 h 420"/>
                  <a:gd name="T22" fmla="*/ 52 w 467"/>
                  <a:gd name="T23" fmla="*/ 272 h 420"/>
                  <a:gd name="T24" fmla="*/ 26 w 467"/>
                  <a:gd name="T25" fmla="*/ 272 h 420"/>
                  <a:gd name="T26" fmla="*/ 0 w 467"/>
                  <a:gd name="T27" fmla="*/ 217 h 420"/>
                  <a:gd name="T28" fmla="*/ 26 w 467"/>
                  <a:gd name="T29" fmla="*/ 111 h 420"/>
                  <a:gd name="T30" fmla="*/ 38 w 467"/>
                  <a:gd name="T31" fmla="*/ 73 h 420"/>
                  <a:gd name="T32" fmla="*/ 75 w 467"/>
                  <a:gd name="T33" fmla="*/ 57 h 420"/>
                  <a:gd name="T34" fmla="*/ 127 w 467"/>
                  <a:gd name="T35" fmla="*/ 40 h 420"/>
                  <a:gd name="T36" fmla="*/ 182 w 467"/>
                  <a:gd name="T37" fmla="*/ 66 h 420"/>
                  <a:gd name="T38" fmla="*/ 203 w 467"/>
                  <a:gd name="T39" fmla="*/ 168 h 420"/>
                  <a:gd name="T40" fmla="*/ 219 w 467"/>
                  <a:gd name="T41" fmla="*/ 194 h 420"/>
                  <a:gd name="T42" fmla="*/ 236 w 467"/>
                  <a:gd name="T43" fmla="*/ 222 h 420"/>
                  <a:gd name="T44" fmla="*/ 236 w 467"/>
                  <a:gd name="T45" fmla="*/ 201 h 420"/>
                  <a:gd name="T46" fmla="*/ 257 w 467"/>
                  <a:gd name="T47" fmla="*/ 222 h 420"/>
                  <a:gd name="T48" fmla="*/ 283 w 467"/>
                  <a:gd name="T49" fmla="*/ 222 h 420"/>
                  <a:gd name="T50" fmla="*/ 304 w 467"/>
                  <a:gd name="T51" fmla="*/ 250 h 420"/>
                  <a:gd name="T52" fmla="*/ 366 w 467"/>
                  <a:gd name="T53" fmla="*/ 305 h 420"/>
                  <a:gd name="T54" fmla="*/ 397 w 467"/>
                  <a:gd name="T55" fmla="*/ 326 h 420"/>
                  <a:gd name="T56" fmla="*/ 401 w 467"/>
                  <a:gd name="T57" fmla="*/ 326 h 420"/>
                  <a:gd name="T58" fmla="*/ 434 w 467"/>
                  <a:gd name="T59" fmla="*/ 366 h 420"/>
                  <a:gd name="T60" fmla="*/ 451 w 467"/>
                  <a:gd name="T61" fmla="*/ 387 h 420"/>
                  <a:gd name="T62" fmla="*/ 467 w 467"/>
                  <a:gd name="T63" fmla="*/ 387 h 420"/>
                  <a:gd name="T64" fmla="*/ 467 w 467"/>
                  <a:gd name="T65" fmla="*/ 387 h 420"/>
                  <a:gd name="T66" fmla="*/ 252 w 467"/>
                  <a:gd name="T67" fmla="*/ 144 h 420"/>
                  <a:gd name="T68" fmla="*/ 257 w 467"/>
                  <a:gd name="T69" fmla="*/ 149 h 420"/>
                  <a:gd name="T70" fmla="*/ 252 w 467"/>
                  <a:gd name="T71" fmla="*/ 149 h 420"/>
                  <a:gd name="T72" fmla="*/ 252 w 467"/>
                  <a:gd name="T73" fmla="*/ 161 h 420"/>
                  <a:gd name="T74" fmla="*/ 257 w 467"/>
                  <a:gd name="T75" fmla="*/ 177 h 420"/>
                  <a:gd name="T76" fmla="*/ 274 w 467"/>
                  <a:gd name="T77" fmla="*/ 184 h 420"/>
                  <a:gd name="T78" fmla="*/ 241 w 467"/>
                  <a:gd name="T79" fmla="*/ 177 h 420"/>
                  <a:gd name="T80" fmla="*/ 241 w 467"/>
                  <a:gd name="T81" fmla="*/ 168 h 420"/>
                  <a:gd name="T82" fmla="*/ 252 w 467"/>
                  <a:gd name="T83" fmla="*/ 161 h 420"/>
                  <a:gd name="T84" fmla="*/ 252 w 467"/>
                  <a:gd name="T85" fmla="*/ 161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7" h="420">
                    <a:moveTo>
                      <a:pt x="467" y="387"/>
                    </a:moveTo>
                    <a:lnTo>
                      <a:pt x="446" y="404"/>
                    </a:lnTo>
                    <a:lnTo>
                      <a:pt x="446" y="416"/>
                    </a:lnTo>
                    <a:lnTo>
                      <a:pt x="434" y="420"/>
                    </a:lnTo>
                    <a:lnTo>
                      <a:pt x="418" y="404"/>
                    </a:lnTo>
                    <a:lnTo>
                      <a:pt x="413" y="416"/>
                    </a:lnTo>
                    <a:lnTo>
                      <a:pt x="401" y="387"/>
                    </a:lnTo>
                    <a:lnTo>
                      <a:pt x="380" y="383"/>
                    </a:lnTo>
                    <a:lnTo>
                      <a:pt x="375" y="359"/>
                    </a:lnTo>
                    <a:lnTo>
                      <a:pt x="338" y="326"/>
                    </a:lnTo>
                    <a:lnTo>
                      <a:pt x="304" y="288"/>
                    </a:lnTo>
                    <a:lnTo>
                      <a:pt x="269" y="260"/>
                    </a:lnTo>
                    <a:lnTo>
                      <a:pt x="241" y="272"/>
                    </a:lnTo>
                    <a:lnTo>
                      <a:pt x="215" y="255"/>
                    </a:lnTo>
                    <a:lnTo>
                      <a:pt x="198" y="260"/>
                    </a:lnTo>
                    <a:lnTo>
                      <a:pt x="182" y="250"/>
                    </a:lnTo>
                    <a:lnTo>
                      <a:pt x="177" y="260"/>
                    </a:lnTo>
                    <a:lnTo>
                      <a:pt x="144" y="272"/>
                    </a:lnTo>
                    <a:lnTo>
                      <a:pt x="127" y="250"/>
                    </a:lnTo>
                    <a:lnTo>
                      <a:pt x="113" y="250"/>
                    </a:lnTo>
                    <a:lnTo>
                      <a:pt x="106" y="234"/>
                    </a:lnTo>
                    <a:lnTo>
                      <a:pt x="80" y="293"/>
                    </a:lnTo>
                    <a:lnTo>
                      <a:pt x="59" y="260"/>
                    </a:lnTo>
                    <a:lnTo>
                      <a:pt x="52" y="272"/>
                    </a:lnTo>
                    <a:lnTo>
                      <a:pt x="38" y="276"/>
                    </a:lnTo>
                    <a:lnTo>
                      <a:pt x="26" y="272"/>
                    </a:lnTo>
                    <a:lnTo>
                      <a:pt x="4" y="276"/>
                    </a:lnTo>
                    <a:lnTo>
                      <a:pt x="0" y="217"/>
                    </a:lnTo>
                    <a:lnTo>
                      <a:pt x="38" y="127"/>
                    </a:lnTo>
                    <a:lnTo>
                      <a:pt x="26" y="111"/>
                    </a:lnTo>
                    <a:lnTo>
                      <a:pt x="38" y="94"/>
                    </a:lnTo>
                    <a:lnTo>
                      <a:pt x="38" y="73"/>
                    </a:lnTo>
                    <a:lnTo>
                      <a:pt x="68" y="73"/>
                    </a:lnTo>
                    <a:lnTo>
                      <a:pt x="75" y="57"/>
                    </a:lnTo>
                    <a:lnTo>
                      <a:pt x="113" y="33"/>
                    </a:lnTo>
                    <a:lnTo>
                      <a:pt x="127" y="40"/>
                    </a:lnTo>
                    <a:lnTo>
                      <a:pt x="149" y="0"/>
                    </a:lnTo>
                    <a:lnTo>
                      <a:pt x="182" y="66"/>
                    </a:lnTo>
                    <a:lnTo>
                      <a:pt x="198" y="149"/>
                    </a:lnTo>
                    <a:lnTo>
                      <a:pt x="203" y="168"/>
                    </a:lnTo>
                    <a:lnTo>
                      <a:pt x="215" y="184"/>
                    </a:lnTo>
                    <a:lnTo>
                      <a:pt x="219" y="194"/>
                    </a:lnTo>
                    <a:lnTo>
                      <a:pt x="231" y="217"/>
                    </a:lnTo>
                    <a:lnTo>
                      <a:pt x="236" y="222"/>
                    </a:lnTo>
                    <a:lnTo>
                      <a:pt x="236" y="217"/>
                    </a:lnTo>
                    <a:lnTo>
                      <a:pt x="236" y="201"/>
                    </a:lnTo>
                    <a:lnTo>
                      <a:pt x="241" y="194"/>
                    </a:lnTo>
                    <a:lnTo>
                      <a:pt x="257" y="222"/>
                    </a:lnTo>
                    <a:lnTo>
                      <a:pt x="269" y="234"/>
                    </a:lnTo>
                    <a:lnTo>
                      <a:pt x="283" y="222"/>
                    </a:lnTo>
                    <a:lnTo>
                      <a:pt x="295" y="234"/>
                    </a:lnTo>
                    <a:lnTo>
                      <a:pt x="304" y="250"/>
                    </a:lnTo>
                    <a:lnTo>
                      <a:pt x="328" y="255"/>
                    </a:lnTo>
                    <a:lnTo>
                      <a:pt x="366" y="305"/>
                    </a:lnTo>
                    <a:lnTo>
                      <a:pt x="380" y="309"/>
                    </a:lnTo>
                    <a:lnTo>
                      <a:pt x="397" y="326"/>
                    </a:lnTo>
                    <a:lnTo>
                      <a:pt x="397" y="326"/>
                    </a:lnTo>
                    <a:lnTo>
                      <a:pt x="401" y="326"/>
                    </a:lnTo>
                    <a:lnTo>
                      <a:pt x="413" y="359"/>
                    </a:lnTo>
                    <a:lnTo>
                      <a:pt x="434" y="366"/>
                    </a:lnTo>
                    <a:lnTo>
                      <a:pt x="446" y="383"/>
                    </a:lnTo>
                    <a:lnTo>
                      <a:pt x="451" y="387"/>
                    </a:lnTo>
                    <a:lnTo>
                      <a:pt x="456" y="383"/>
                    </a:lnTo>
                    <a:lnTo>
                      <a:pt x="467" y="387"/>
                    </a:lnTo>
                    <a:lnTo>
                      <a:pt x="467" y="387"/>
                    </a:lnTo>
                    <a:lnTo>
                      <a:pt x="467" y="387"/>
                    </a:lnTo>
                    <a:close/>
                    <a:moveTo>
                      <a:pt x="252" y="149"/>
                    </a:moveTo>
                    <a:lnTo>
                      <a:pt x="252" y="144"/>
                    </a:lnTo>
                    <a:lnTo>
                      <a:pt x="257" y="144"/>
                    </a:lnTo>
                    <a:lnTo>
                      <a:pt x="257" y="149"/>
                    </a:lnTo>
                    <a:lnTo>
                      <a:pt x="252" y="149"/>
                    </a:lnTo>
                    <a:lnTo>
                      <a:pt x="252" y="149"/>
                    </a:lnTo>
                    <a:lnTo>
                      <a:pt x="252" y="149"/>
                    </a:lnTo>
                    <a:close/>
                    <a:moveTo>
                      <a:pt x="252" y="161"/>
                    </a:moveTo>
                    <a:lnTo>
                      <a:pt x="257" y="168"/>
                    </a:lnTo>
                    <a:lnTo>
                      <a:pt x="257" y="177"/>
                    </a:lnTo>
                    <a:lnTo>
                      <a:pt x="269" y="177"/>
                    </a:lnTo>
                    <a:lnTo>
                      <a:pt x="274" y="184"/>
                    </a:lnTo>
                    <a:lnTo>
                      <a:pt x="241" y="184"/>
                    </a:lnTo>
                    <a:lnTo>
                      <a:pt x="241" y="177"/>
                    </a:lnTo>
                    <a:lnTo>
                      <a:pt x="252" y="177"/>
                    </a:lnTo>
                    <a:lnTo>
                      <a:pt x="241" y="168"/>
                    </a:lnTo>
                    <a:lnTo>
                      <a:pt x="252" y="168"/>
                    </a:lnTo>
                    <a:lnTo>
                      <a:pt x="252" y="161"/>
                    </a:lnTo>
                    <a:lnTo>
                      <a:pt x="252" y="161"/>
                    </a:lnTo>
                    <a:lnTo>
                      <a:pt x="252" y="16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39" name="Freeform 436">
                <a:extLst>
                  <a:ext uri="{FF2B5EF4-FFF2-40B4-BE49-F238E27FC236}">
                    <a16:creationId xmlns:a16="http://schemas.microsoft.com/office/drawing/2014/main" id="{06C905C1-1C2C-417B-A10A-6D6A89F34C01}"/>
                  </a:ext>
                </a:extLst>
              </p:cNvPr>
              <p:cNvSpPr>
                <a:spLocks/>
              </p:cNvSpPr>
              <p:nvPr/>
            </p:nvSpPr>
            <p:spPr bwMode="gray">
              <a:xfrm>
                <a:off x="7677194" y="3619997"/>
                <a:ext cx="434724" cy="345430"/>
              </a:xfrm>
              <a:custGeom>
                <a:avLst/>
                <a:gdLst>
                  <a:gd name="T0" fmla="*/ 628 w 1056"/>
                  <a:gd name="T1" fmla="*/ 794 h 839"/>
                  <a:gd name="T2" fmla="*/ 553 w 1056"/>
                  <a:gd name="T3" fmla="*/ 778 h 839"/>
                  <a:gd name="T4" fmla="*/ 461 w 1056"/>
                  <a:gd name="T5" fmla="*/ 839 h 839"/>
                  <a:gd name="T6" fmla="*/ 369 w 1056"/>
                  <a:gd name="T7" fmla="*/ 822 h 839"/>
                  <a:gd name="T8" fmla="*/ 217 w 1056"/>
                  <a:gd name="T9" fmla="*/ 761 h 839"/>
                  <a:gd name="T10" fmla="*/ 196 w 1056"/>
                  <a:gd name="T11" fmla="*/ 737 h 839"/>
                  <a:gd name="T12" fmla="*/ 180 w 1056"/>
                  <a:gd name="T13" fmla="*/ 688 h 839"/>
                  <a:gd name="T14" fmla="*/ 163 w 1056"/>
                  <a:gd name="T15" fmla="*/ 688 h 839"/>
                  <a:gd name="T16" fmla="*/ 142 w 1056"/>
                  <a:gd name="T17" fmla="*/ 650 h 839"/>
                  <a:gd name="T18" fmla="*/ 109 w 1056"/>
                  <a:gd name="T19" fmla="*/ 593 h 839"/>
                  <a:gd name="T20" fmla="*/ 87 w 1056"/>
                  <a:gd name="T21" fmla="*/ 577 h 839"/>
                  <a:gd name="T22" fmla="*/ 33 w 1056"/>
                  <a:gd name="T23" fmla="*/ 522 h 839"/>
                  <a:gd name="T24" fmla="*/ 0 w 1056"/>
                  <a:gd name="T25" fmla="*/ 506 h 839"/>
                  <a:gd name="T26" fmla="*/ 17 w 1056"/>
                  <a:gd name="T27" fmla="*/ 473 h 839"/>
                  <a:gd name="T28" fmla="*/ 50 w 1056"/>
                  <a:gd name="T29" fmla="*/ 466 h 839"/>
                  <a:gd name="T30" fmla="*/ 83 w 1056"/>
                  <a:gd name="T31" fmla="*/ 461 h 839"/>
                  <a:gd name="T32" fmla="*/ 97 w 1056"/>
                  <a:gd name="T33" fmla="*/ 338 h 839"/>
                  <a:gd name="T34" fmla="*/ 121 w 1056"/>
                  <a:gd name="T35" fmla="*/ 296 h 839"/>
                  <a:gd name="T36" fmla="*/ 142 w 1056"/>
                  <a:gd name="T37" fmla="*/ 296 h 839"/>
                  <a:gd name="T38" fmla="*/ 151 w 1056"/>
                  <a:gd name="T39" fmla="*/ 246 h 839"/>
                  <a:gd name="T40" fmla="*/ 163 w 1056"/>
                  <a:gd name="T41" fmla="*/ 222 h 839"/>
                  <a:gd name="T42" fmla="*/ 227 w 1056"/>
                  <a:gd name="T43" fmla="*/ 156 h 839"/>
                  <a:gd name="T44" fmla="*/ 250 w 1056"/>
                  <a:gd name="T45" fmla="*/ 78 h 839"/>
                  <a:gd name="T46" fmla="*/ 250 w 1056"/>
                  <a:gd name="T47" fmla="*/ 45 h 839"/>
                  <a:gd name="T48" fmla="*/ 281 w 1056"/>
                  <a:gd name="T49" fmla="*/ 45 h 839"/>
                  <a:gd name="T50" fmla="*/ 305 w 1056"/>
                  <a:gd name="T51" fmla="*/ 29 h 839"/>
                  <a:gd name="T52" fmla="*/ 352 w 1056"/>
                  <a:gd name="T53" fmla="*/ 0 h 839"/>
                  <a:gd name="T54" fmla="*/ 373 w 1056"/>
                  <a:gd name="T55" fmla="*/ 17 h 839"/>
                  <a:gd name="T56" fmla="*/ 423 w 1056"/>
                  <a:gd name="T57" fmla="*/ 29 h 839"/>
                  <a:gd name="T58" fmla="*/ 444 w 1056"/>
                  <a:gd name="T59" fmla="*/ 29 h 839"/>
                  <a:gd name="T60" fmla="*/ 487 w 1056"/>
                  <a:gd name="T61" fmla="*/ 41 h 839"/>
                  <a:gd name="T62" fmla="*/ 553 w 1056"/>
                  <a:gd name="T63" fmla="*/ 57 h 839"/>
                  <a:gd name="T64" fmla="*/ 624 w 1056"/>
                  <a:gd name="T65" fmla="*/ 128 h 839"/>
                  <a:gd name="T66" fmla="*/ 650 w 1056"/>
                  <a:gd name="T67" fmla="*/ 156 h 839"/>
                  <a:gd name="T68" fmla="*/ 624 w 1056"/>
                  <a:gd name="T69" fmla="*/ 230 h 839"/>
                  <a:gd name="T70" fmla="*/ 624 w 1056"/>
                  <a:gd name="T71" fmla="*/ 284 h 839"/>
                  <a:gd name="T72" fmla="*/ 683 w 1056"/>
                  <a:gd name="T73" fmla="*/ 279 h 839"/>
                  <a:gd name="T74" fmla="*/ 683 w 1056"/>
                  <a:gd name="T75" fmla="*/ 317 h 839"/>
                  <a:gd name="T76" fmla="*/ 716 w 1056"/>
                  <a:gd name="T77" fmla="*/ 362 h 839"/>
                  <a:gd name="T78" fmla="*/ 737 w 1056"/>
                  <a:gd name="T79" fmla="*/ 407 h 839"/>
                  <a:gd name="T80" fmla="*/ 775 w 1056"/>
                  <a:gd name="T81" fmla="*/ 433 h 839"/>
                  <a:gd name="T82" fmla="*/ 1056 w 1056"/>
                  <a:gd name="T83" fmla="*/ 506 h 839"/>
                  <a:gd name="T84" fmla="*/ 775 w 1056"/>
                  <a:gd name="T85" fmla="*/ 721 h 839"/>
                  <a:gd name="T86" fmla="*/ 716 w 1056"/>
                  <a:gd name="T87" fmla="*/ 744 h 839"/>
                  <a:gd name="T88" fmla="*/ 640 w 1056"/>
                  <a:gd name="T89" fmla="*/ 782 h 839"/>
                  <a:gd name="T90" fmla="*/ 640 w 1056"/>
                  <a:gd name="T91" fmla="*/ 782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56" h="839">
                    <a:moveTo>
                      <a:pt x="640" y="782"/>
                    </a:moveTo>
                    <a:lnTo>
                      <a:pt x="628" y="794"/>
                    </a:lnTo>
                    <a:lnTo>
                      <a:pt x="574" y="799"/>
                    </a:lnTo>
                    <a:lnTo>
                      <a:pt x="553" y="778"/>
                    </a:lnTo>
                    <a:lnTo>
                      <a:pt x="482" y="799"/>
                    </a:lnTo>
                    <a:lnTo>
                      <a:pt x="461" y="839"/>
                    </a:lnTo>
                    <a:lnTo>
                      <a:pt x="390" y="822"/>
                    </a:lnTo>
                    <a:lnTo>
                      <a:pt x="369" y="822"/>
                    </a:lnTo>
                    <a:lnTo>
                      <a:pt x="288" y="766"/>
                    </a:lnTo>
                    <a:lnTo>
                      <a:pt x="217" y="761"/>
                    </a:lnTo>
                    <a:lnTo>
                      <a:pt x="213" y="749"/>
                    </a:lnTo>
                    <a:lnTo>
                      <a:pt x="196" y="737"/>
                    </a:lnTo>
                    <a:lnTo>
                      <a:pt x="206" y="695"/>
                    </a:lnTo>
                    <a:lnTo>
                      <a:pt x="180" y="688"/>
                    </a:lnTo>
                    <a:lnTo>
                      <a:pt x="163" y="695"/>
                    </a:lnTo>
                    <a:lnTo>
                      <a:pt x="163" y="688"/>
                    </a:lnTo>
                    <a:lnTo>
                      <a:pt x="151" y="671"/>
                    </a:lnTo>
                    <a:lnTo>
                      <a:pt x="142" y="650"/>
                    </a:lnTo>
                    <a:lnTo>
                      <a:pt x="125" y="600"/>
                    </a:lnTo>
                    <a:lnTo>
                      <a:pt x="109" y="593"/>
                    </a:lnTo>
                    <a:lnTo>
                      <a:pt x="104" y="584"/>
                    </a:lnTo>
                    <a:lnTo>
                      <a:pt x="87" y="577"/>
                    </a:lnTo>
                    <a:lnTo>
                      <a:pt x="66" y="539"/>
                    </a:lnTo>
                    <a:lnTo>
                      <a:pt x="33" y="522"/>
                    </a:lnTo>
                    <a:lnTo>
                      <a:pt x="0" y="522"/>
                    </a:lnTo>
                    <a:lnTo>
                      <a:pt x="0" y="506"/>
                    </a:lnTo>
                    <a:lnTo>
                      <a:pt x="17" y="489"/>
                    </a:lnTo>
                    <a:lnTo>
                      <a:pt x="17" y="473"/>
                    </a:lnTo>
                    <a:lnTo>
                      <a:pt x="17" y="473"/>
                    </a:lnTo>
                    <a:lnTo>
                      <a:pt x="50" y="466"/>
                    </a:lnTo>
                    <a:lnTo>
                      <a:pt x="54" y="473"/>
                    </a:lnTo>
                    <a:lnTo>
                      <a:pt x="83" y="461"/>
                    </a:lnTo>
                    <a:lnTo>
                      <a:pt x="83" y="395"/>
                    </a:lnTo>
                    <a:lnTo>
                      <a:pt x="97" y="338"/>
                    </a:lnTo>
                    <a:lnTo>
                      <a:pt x="97" y="317"/>
                    </a:lnTo>
                    <a:lnTo>
                      <a:pt x="121" y="296"/>
                    </a:lnTo>
                    <a:lnTo>
                      <a:pt x="135" y="305"/>
                    </a:lnTo>
                    <a:lnTo>
                      <a:pt x="142" y="296"/>
                    </a:lnTo>
                    <a:lnTo>
                      <a:pt x="142" y="267"/>
                    </a:lnTo>
                    <a:lnTo>
                      <a:pt x="151" y="246"/>
                    </a:lnTo>
                    <a:lnTo>
                      <a:pt x="151" y="230"/>
                    </a:lnTo>
                    <a:lnTo>
                      <a:pt x="163" y="222"/>
                    </a:lnTo>
                    <a:lnTo>
                      <a:pt x="196" y="168"/>
                    </a:lnTo>
                    <a:lnTo>
                      <a:pt x="227" y="156"/>
                    </a:lnTo>
                    <a:lnTo>
                      <a:pt x="227" y="135"/>
                    </a:lnTo>
                    <a:lnTo>
                      <a:pt x="250" y="78"/>
                    </a:lnTo>
                    <a:lnTo>
                      <a:pt x="243" y="74"/>
                    </a:lnTo>
                    <a:lnTo>
                      <a:pt x="250" y="45"/>
                    </a:lnTo>
                    <a:lnTo>
                      <a:pt x="272" y="41"/>
                    </a:lnTo>
                    <a:lnTo>
                      <a:pt x="281" y="45"/>
                    </a:lnTo>
                    <a:lnTo>
                      <a:pt x="298" y="41"/>
                    </a:lnTo>
                    <a:lnTo>
                      <a:pt x="305" y="29"/>
                    </a:lnTo>
                    <a:lnTo>
                      <a:pt x="326" y="62"/>
                    </a:lnTo>
                    <a:lnTo>
                      <a:pt x="352" y="0"/>
                    </a:lnTo>
                    <a:lnTo>
                      <a:pt x="357" y="17"/>
                    </a:lnTo>
                    <a:lnTo>
                      <a:pt x="373" y="17"/>
                    </a:lnTo>
                    <a:lnTo>
                      <a:pt x="390" y="41"/>
                    </a:lnTo>
                    <a:lnTo>
                      <a:pt x="423" y="29"/>
                    </a:lnTo>
                    <a:lnTo>
                      <a:pt x="428" y="17"/>
                    </a:lnTo>
                    <a:lnTo>
                      <a:pt x="444" y="29"/>
                    </a:lnTo>
                    <a:lnTo>
                      <a:pt x="461" y="24"/>
                    </a:lnTo>
                    <a:lnTo>
                      <a:pt x="487" y="41"/>
                    </a:lnTo>
                    <a:lnTo>
                      <a:pt x="515" y="29"/>
                    </a:lnTo>
                    <a:lnTo>
                      <a:pt x="553" y="57"/>
                    </a:lnTo>
                    <a:lnTo>
                      <a:pt x="586" y="95"/>
                    </a:lnTo>
                    <a:lnTo>
                      <a:pt x="624" y="128"/>
                    </a:lnTo>
                    <a:lnTo>
                      <a:pt x="628" y="152"/>
                    </a:lnTo>
                    <a:lnTo>
                      <a:pt x="650" y="156"/>
                    </a:lnTo>
                    <a:lnTo>
                      <a:pt x="661" y="185"/>
                    </a:lnTo>
                    <a:lnTo>
                      <a:pt x="624" y="230"/>
                    </a:lnTo>
                    <a:lnTo>
                      <a:pt x="624" y="251"/>
                    </a:lnTo>
                    <a:lnTo>
                      <a:pt x="624" y="284"/>
                    </a:lnTo>
                    <a:lnTo>
                      <a:pt x="640" y="296"/>
                    </a:lnTo>
                    <a:lnTo>
                      <a:pt x="683" y="279"/>
                    </a:lnTo>
                    <a:lnTo>
                      <a:pt x="699" y="284"/>
                    </a:lnTo>
                    <a:lnTo>
                      <a:pt x="683" y="317"/>
                    </a:lnTo>
                    <a:lnTo>
                      <a:pt x="699" y="338"/>
                    </a:lnTo>
                    <a:lnTo>
                      <a:pt x="716" y="362"/>
                    </a:lnTo>
                    <a:lnTo>
                      <a:pt x="721" y="362"/>
                    </a:lnTo>
                    <a:lnTo>
                      <a:pt x="737" y="407"/>
                    </a:lnTo>
                    <a:lnTo>
                      <a:pt x="754" y="407"/>
                    </a:lnTo>
                    <a:lnTo>
                      <a:pt x="775" y="433"/>
                    </a:lnTo>
                    <a:lnTo>
                      <a:pt x="985" y="506"/>
                    </a:lnTo>
                    <a:lnTo>
                      <a:pt x="1056" y="506"/>
                    </a:lnTo>
                    <a:lnTo>
                      <a:pt x="846" y="728"/>
                    </a:lnTo>
                    <a:lnTo>
                      <a:pt x="775" y="721"/>
                    </a:lnTo>
                    <a:lnTo>
                      <a:pt x="754" y="728"/>
                    </a:lnTo>
                    <a:lnTo>
                      <a:pt x="716" y="744"/>
                    </a:lnTo>
                    <a:lnTo>
                      <a:pt x="699" y="766"/>
                    </a:lnTo>
                    <a:lnTo>
                      <a:pt x="640" y="782"/>
                    </a:lnTo>
                    <a:lnTo>
                      <a:pt x="640" y="782"/>
                    </a:lnTo>
                    <a:lnTo>
                      <a:pt x="640" y="78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40" name="Freeform 446">
                <a:extLst>
                  <a:ext uri="{FF2B5EF4-FFF2-40B4-BE49-F238E27FC236}">
                    <a16:creationId xmlns:a16="http://schemas.microsoft.com/office/drawing/2014/main" id="{60DACD22-0123-48AE-B711-AC3413AE84C9}"/>
                  </a:ext>
                </a:extLst>
              </p:cNvPr>
              <p:cNvSpPr>
                <a:spLocks noEditPoints="1"/>
              </p:cNvSpPr>
              <p:nvPr/>
            </p:nvSpPr>
            <p:spPr bwMode="gray">
              <a:xfrm>
                <a:off x="8174080" y="5244217"/>
                <a:ext cx="791641" cy="431068"/>
              </a:xfrm>
              <a:custGeom>
                <a:avLst/>
                <a:gdLst>
                  <a:gd name="T0" fmla="*/ 1916 w 1923"/>
                  <a:gd name="T1" fmla="*/ 0 h 1047"/>
                  <a:gd name="T2" fmla="*/ 1923 w 1923"/>
                  <a:gd name="T3" fmla="*/ 12 h 1047"/>
                  <a:gd name="T4" fmla="*/ 1923 w 1923"/>
                  <a:gd name="T5" fmla="*/ 12 h 1047"/>
                  <a:gd name="T6" fmla="*/ 0 w 1923"/>
                  <a:gd name="T7" fmla="*/ 714 h 1047"/>
                  <a:gd name="T8" fmla="*/ 10 w 1923"/>
                  <a:gd name="T9" fmla="*/ 714 h 1047"/>
                  <a:gd name="T10" fmla="*/ 10 w 1923"/>
                  <a:gd name="T11" fmla="*/ 714 h 1047"/>
                  <a:gd name="T12" fmla="*/ 106 w 1923"/>
                  <a:gd name="T13" fmla="*/ 737 h 1047"/>
                  <a:gd name="T14" fmla="*/ 118 w 1923"/>
                  <a:gd name="T15" fmla="*/ 747 h 1047"/>
                  <a:gd name="T16" fmla="*/ 118 w 1923"/>
                  <a:gd name="T17" fmla="*/ 747 h 1047"/>
                  <a:gd name="T18" fmla="*/ 139 w 1923"/>
                  <a:gd name="T19" fmla="*/ 747 h 1047"/>
                  <a:gd name="T20" fmla="*/ 156 w 1923"/>
                  <a:gd name="T21" fmla="*/ 747 h 1047"/>
                  <a:gd name="T22" fmla="*/ 139 w 1923"/>
                  <a:gd name="T23" fmla="*/ 747 h 1047"/>
                  <a:gd name="T24" fmla="*/ 1339 w 1923"/>
                  <a:gd name="T25" fmla="*/ 992 h 1047"/>
                  <a:gd name="T26" fmla="*/ 1365 w 1923"/>
                  <a:gd name="T27" fmla="*/ 992 h 1047"/>
                  <a:gd name="T28" fmla="*/ 1361 w 1923"/>
                  <a:gd name="T29" fmla="*/ 992 h 1047"/>
                  <a:gd name="T30" fmla="*/ 1377 w 1923"/>
                  <a:gd name="T31" fmla="*/ 1009 h 1047"/>
                  <a:gd name="T32" fmla="*/ 1429 w 1923"/>
                  <a:gd name="T33" fmla="*/ 992 h 1047"/>
                  <a:gd name="T34" fmla="*/ 1420 w 1923"/>
                  <a:gd name="T35" fmla="*/ 1014 h 1047"/>
                  <a:gd name="T36" fmla="*/ 1429 w 1923"/>
                  <a:gd name="T37" fmla="*/ 1025 h 1047"/>
                  <a:gd name="T38" fmla="*/ 1382 w 1923"/>
                  <a:gd name="T39" fmla="*/ 1014 h 1047"/>
                  <a:gd name="T40" fmla="*/ 1377 w 1923"/>
                  <a:gd name="T41" fmla="*/ 1014 h 1047"/>
                  <a:gd name="T42" fmla="*/ 1415 w 1923"/>
                  <a:gd name="T43" fmla="*/ 1030 h 1047"/>
                  <a:gd name="T44" fmla="*/ 1382 w 1923"/>
                  <a:gd name="T45" fmla="*/ 1047 h 1047"/>
                  <a:gd name="T46" fmla="*/ 1377 w 1923"/>
                  <a:gd name="T47" fmla="*/ 1042 h 1047"/>
                  <a:gd name="T48" fmla="*/ 1328 w 1923"/>
                  <a:gd name="T49" fmla="*/ 1030 h 1047"/>
                  <a:gd name="T50" fmla="*/ 1306 w 1923"/>
                  <a:gd name="T51" fmla="*/ 1047 h 1047"/>
                  <a:gd name="T52" fmla="*/ 1306 w 1923"/>
                  <a:gd name="T53" fmla="*/ 985 h 1047"/>
                  <a:gd name="T54" fmla="*/ 1328 w 1923"/>
                  <a:gd name="T55" fmla="*/ 952 h 1047"/>
                  <a:gd name="T56" fmla="*/ 1339 w 1923"/>
                  <a:gd name="T57" fmla="*/ 959 h 1047"/>
                  <a:gd name="T58" fmla="*/ 1328 w 1923"/>
                  <a:gd name="T59" fmla="*/ 992 h 1047"/>
                  <a:gd name="T60" fmla="*/ 1339 w 1923"/>
                  <a:gd name="T61" fmla="*/ 992 h 1047"/>
                  <a:gd name="T62" fmla="*/ 1339 w 1923"/>
                  <a:gd name="T63" fmla="*/ 992 h 1047"/>
                  <a:gd name="T64" fmla="*/ 1339 w 1923"/>
                  <a:gd name="T65" fmla="*/ 976 h 1047"/>
                  <a:gd name="T66" fmla="*/ 1349 w 1923"/>
                  <a:gd name="T67" fmla="*/ 976 h 1047"/>
                  <a:gd name="T68" fmla="*/ 1339 w 1923"/>
                  <a:gd name="T69" fmla="*/ 992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3" h="1047">
                    <a:moveTo>
                      <a:pt x="1923" y="12"/>
                    </a:moveTo>
                    <a:lnTo>
                      <a:pt x="1916" y="0"/>
                    </a:lnTo>
                    <a:lnTo>
                      <a:pt x="1923" y="0"/>
                    </a:lnTo>
                    <a:lnTo>
                      <a:pt x="1923" y="12"/>
                    </a:lnTo>
                    <a:lnTo>
                      <a:pt x="1923" y="12"/>
                    </a:lnTo>
                    <a:lnTo>
                      <a:pt x="1923" y="12"/>
                    </a:lnTo>
                    <a:close/>
                    <a:moveTo>
                      <a:pt x="10" y="714"/>
                    </a:moveTo>
                    <a:lnTo>
                      <a:pt x="0" y="714"/>
                    </a:lnTo>
                    <a:lnTo>
                      <a:pt x="10" y="714"/>
                    </a:lnTo>
                    <a:lnTo>
                      <a:pt x="10" y="714"/>
                    </a:lnTo>
                    <a:lnTo>
                      <a:pt x="10" y="714"/>
                    </a:lnTo>
                    <a:lnTo>
                      <a:pt x="10" y="714"/>
                    </a:lnTo>
                    <a:close/>
                    <a:moveTo>
                      <a:pt x="118" y="747"/>
                    </a:moveTo>
                    <a:lnTo>
                      <a:pt x="106" y="737"/>
                    </a:lnTo>
                    <a:lnTo>
                      <a:pt x="118" y="737"/>
                    </a:lnTo>
                    <a:lnTo>
                      <a:pt x="118" y="747"/>
                    </a:lnTo>
                    <a:lnTo>
                      <a:pt x="118" y="747"/>
                    </a:lnTo>
                    <a:lnTo>
                      <a:pt x="118" y="747"/>
                    </a:lnTo>
                    <a:lnTo>
                      <a:pt x="118" y="747"/>
                    </a:lnTo>
                    <a:close/>
                    <a:moveTo>
                      <a:pt x="139" y="747"/>
                    </a:moveTo>
                    <a:lnTo>
                      <a:pt x="139" y="747"/>
                    </a:lnTo>
                    <a:lnTo>
                      <a:pt x="156" y="747"/>
                    </a:lnTo>
                    <a:lnTo>
                      <a:pt x="139" y="747"/>
                    </a:lnTo>
                    <a:lnTo>
                      <a:pt x="139" y="747"/>
                    </a:lnTo>
                    <a:lnTo>
                      <a:pt x="139" y="747"/>
                    </a:lnTo>
                    <a:close/>
                    <a:moveTo>
                      <a:pt x="1339" y="992"/>
                    </a:moveTo>
                    <a:lnTo>
                      <a:pt x="1365" y="976"/>
                    </a:lnTo>
                    <a:lnTo>
                      <a:pt x="1365" y="992"/>
                    </a:lnTo>
                    <a:lnTo>
                      <a:pt x="1344" y="1002"/>
                    </a:lnTo>
                    <a:lnTo>
                      <a:pt x="1361" y="992"/>
                    </a:lnTo>
                    <a:lnTo>
                      <a:pt x="1361" y="1009"/>
                    </a:lnTo>
                    <a:lnTo>
                      <a:pt x="1377" y="1009"/>
                    </a:lnTo>
                    <a:lnTo>
                      <a:pt x="1415" y="985"/>
                    </a:lnTo>
                    <a:lnTo>
                      <a:pt x="1429" y="992"/>
                    </a:lnTo>
                    <a:lnTo>
                      <a:pt x="1436" y="1002"/>
                    </a:lnTo>
                    <a:lnTo>
                      <a:pt x="1420" y="1014"/>
                    </a:lnTo>
                    <a:lnTo>
                      <a:pt x="1415" y="1014"/>
                    </a:lnTo>
                    <a:lnTo>
                      <a:pt x="1429" y="1025"/>
                    </a:lnTo>
                    <a:lnTo>
                      <a:pt x="1403" y="1014"/>
                    </a:lnTo>
                    <a:lnTo>
                      <a:pt x="1382" y="1014"/>
                    </a:lnTo>
                    <a:lnTo>
                      <a:pt x="1391" y="1025"/>
                    </a:lnTo>
                    <a:lnTo>
                      <a:pt x="1377" y="1014"/>
                    </a:lnTo>
                    <a:lnTo>
                      <a:pt x="1382" y="1030"/>
                    </a:lnTo>
                    <a:lnTo>
                      <a:pt x="1415" y="1030"/>
                    </a:lnTo>
                    <a:lnTo>
                      <a:pt x="1415" y="1047"/>
                    </a:lnTo>
                    <a:lnTo>
                      <a:pt x="1382" y="1047"/>
                    </a:lnTo>
                    <a:lnTo>
                      <a:pt x="1365" y="1025"/>
                    </a:lnTo>
                    <a:lnTo>
                      <a:pt x="1377" y="1042"/>
                    </a:lnTo>
                    <a:lnTo>
                      <a:pt x="1344" y="1030"/>
                    </a:lnTo>
                    <a:lnTo>
                      <a:pt x="1328" y="1030"/>
                    </a:lnTo>
                    <a:lnTo>
                      <a:pt x="1328" y="1047"/>
                    </a:lnTo>
                    <a:lnTo>
                      <a:pt x="1306" y="1047"/>
                    </a:lnTo>
                    <a:lnTo>
                      <a:pt x="1311" y="1014"/>
                    </a:lnTo>
                    <a:lnTo>
                      <a:pt x="1306" y="985"/>
                    </a:lnTo>
                    <a:lnTo>
                      <a:pt x="1323" y="952"/>
                    </a:lnTo>
                    <a:lnTo>
                      <a:pt x="1328" y="952"/>
                    </a:lnTo>
                    <a:lnTo>
                      <a:pt x="1323" y="969"/>
                    </a:lnTo>
                    <a:lnTo>
                      <a:pt x="1339" y="959"/>
                    </a:lnTo>
                    <a:lnTo>
                      <a:pt x="1323" y="992"/>
                    </a:lnTo>
                    <a:lnTo>
                      <a:pt x="1328" y="992"/>
                    </a:lnTo>
                    <a:lnTo>
                      <a:pt x="1328" y="976"/>
                    </a:lnTo>
                    <a:lnTo>
                      <a:pt x="1339" y="992"/>
                    </a:lnTo>
                    <a:lnTo>
                      <a:pt x="1339" y="992"/>
                    </a:lnTo>
                    <a:lnTo>
                      <a:pt x="1339" y="992"/>
                    </a:lnTo>
                    <a:close/>
                    <a:moveTo>
                      <a:pt x="1339" y="992"/>
                    </a:moveTo>
                    <a:lnTo>
                      <a:pt x="1339" y="976"/>
                    </a:lnTo>
                    <a:lnTo>
                      <a:pt x="1349" y="969"/>
                    </a:lnTo>
                    <a:lnTo>
                      <a:pt x="1349" y="976"/>
                    </a:lnTo>
                    <a:lnTo>
                      <a:pt x="1339" y="992"/>
                    </a:lnTo>
                    <a:lnTo>
                      <a:pt x="1339" y="992"/>
                    </a:lnTo>
                    <a:lnTo>
                      <a:pt x="1339" y="99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41" name="Freeform 447">
                <a:extLst>
                  <a:ext uri="{FF2B5EF4-FFF2-40B4-BE49-F238E27FC236}">
                    <a16:creationId xmlns:a16="http://schemas.microsoft.com/office/drawing/2014/main" id="{3237432D-8B88-4870-8840-0D8C4101AF8F}"/>
                  </a:ext>
                </a:extLst>
              </p:cNvPr>
              <p:cNvSpPr>
                <a:spLocks/>
              </p:cNvSpPr>
              <p:nvPr/>
            </p:nvSpPr>
            <p:spPr bwMode="gray">
              <a:xfrm>
                <a:off x="6238819" y="3652111"/>
                <a:ext cx="90567" cy="23468"/>
              </a:xfrm>
              <a:custGeom>
                <a:avLst/>
                <a:gdLst>
                  <a:gd name="T0" fmla="*/ 17 w 220"/>
                  <a:gd name="T1" fmla="*/ 17 h 57"/>
                  <a:gd name="T2" fmla="*/ 95 w 220"/>
                  <a:gd name="T3" fmla="*/ 17 h 57"/>
                  <a:gd name="T4" fmla="*/ 104 w 220"/>
                  <a:gd name="T5" fmla="*/ 5 h 57"/>
                  <a:gd name="T6" fmla="*/ 128 w 220"/>
                  <a:gd name="T7" fmla="*/ 0 h 57"/>
                  <a:gd name="T8" fmla="*/ 144 w 220"/>
                  <a:gd name="T9" fmla="*/ 5 h 57"/>
                  <a:gd name="T10" fmla="*/ 149 w 220"/>
                  <a:gd name="T11" fmla="*/ 17 h 57"/>
                  <a:gd name="T12" fmla="*/ 166 w 220"/>
                  <a:gd name="T13" fmla="*/ 17 h 57"/>
                  <a:gd name="T14" fmla="*/ 182 w 220"/>
                  <a:gd name="T15" fmla="*/ 33 h 57"/>
                  <a:gd name="T16" fmla="*/ 204 w 220"/>
                  <a:gd name="T17" fmla="*/ 17 h 57"/>
                  <a:gd name="T18" fmla="*/ 220 w 220"/>
                  <a:gd name="T19" fmla="*/ 33 h 57"/>
                  <a:gd name="T20" fmla="*/ 215 w 220"/>
                  <a:gd name="T21" fmla="*/ 41 h 57"/>
                  <a:gd name="T22" fmla="*/ 182 w 220"/>
                  <a:gd name="T23" fmla="*/ 50 h 57"/>
                  <a:gd name="T24" fmla="*/ 128 w 220"/>
                  <a:gd name="T25" fmla="*/ 17 h 57"/>
                  <a:gd name="T26" fmla="*/ 111 w 220"/>
                  <a:gd name="T27" fmla="*/ 33 h 57"/>
                  <a:gd name="T28" fmla="*/ 74 w 220"/>
                  <a:gd name="T29" fmla="*/ 41 h 57"/>
                  <a:gd name="T30" fmla="*/ 74 w 220"/>
                  <a:gd name="T31" fmla="*/ 50 h 57"/>
                  <a:gd name="T32" fmla="*/ 12 w 220"/>
                  <a:gd name="T33" fmla="*/ 50 h 57"/>
                  <a:gd name="T34" fmla="*/ 12 w 220"/>
                  <a:gd name="T35" fmla="*/ 57 h 57"/>
                  <a:gd name="T36" fmla="*/ 0 w 220"/>
                  <a:gd name="T37" fmla="*/ 33 h 57"/>
                  <a:gd name="T38" fmla="*/ 12 w 220"/>
                  <a:gd name="T39" fmla="*/ 22 h 57"/>
                  <a:gd name="T40" fmla="*/ 17 w 220"/>
                  <a:gd name="T41" fmla="*/ 33 h 57"/>
                  <a:gd name="T42" fmla="*/ 24 w 220"/>
                  <a:gd name="T43" fmla="*/ 41 h 57"/>
                  <a:gd name="T44" fmla="*/ 41 w 220"/>
                  <a:gd name="T45" fmla="*/ 41 h 57"/>
                  <a:gd name="T46" fmla="*/ 50 w 220"/>
                  <a:gd name="T47" fmla="*/ 41 h 57"/>
                  <a:gd name="T48" fmla="*/ 50 w 220"/>
                  <a:gd name="T49" fmla="*/ 41 h 57"/>
                  <a:gd name="T50" fmla="*/ 41 w 220"/>
                  <a:gd name="T51" fmla="*/ 41 h 57"/>
                  <a:gd name="T52" fmla="*/ 50 w 220"/>
                  <a:gd name="T53" fmla="*/ 33 h 57"/>
                  <a:gd name="T54" fmla="*/ 111 w 220"/>
                  <a:gd name="T55" fmla="*/ 22 h 57"/>
                  <a:gd name="T56" fmla="*/ 95 w 220"/>
                  <a:gd name="T57" fmla="*/ 22 h 57"/>
                  <a:gd name="T58" fmla="*/ 50 w 220"/>
                  <a:gd name="T59" fmla="*/ 33 h 57"/>
                  <a:gd name="T60" fmla="*/ 33 w 220"/>
                  <a:gd name="T61" fmla="*/ 41 h 57"/>
                  <a:gd name="T62" fmla="*/ 24 w 220"/>
                  <a:gd name="T63" fmla="*/ 33 h 57"/>
                  <a:gd name="T64" fmla="*/ 17 w 220"/>
                  <a:gd name="T65" fmla="*/ 17 h 57"/>
                  <a:gd name="T66" fmla="*/ 17 w 220"/>
                  <a:gd name="T67" fmla="*/ 17 h 57"/>
                  <a:gd name="T68" fmla="*/ 17 w 220"/>
                  <a:gd name="T69" fmla="*/ 1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0" h="57">
                    <a:moveTo>
                      <a:pt x="17" y="17"/>
                    </a:moveTo>
                    <a:lnTo>
                      <a:pt x="95" y="17"/>
                    </a:lnTo>
                    <a:lnTo>
                      <a:pt x="104" y="5"/>
                    </a:lnTo>
                    <a:lnTo>
                      <a:pt x="128" y="0"/>
                    </a:lnTo>
                    <a:lnTo>
                      <a:pt x="144" y="5"/>
                    </a:lnTo>
                    <a:lnTo>
                      <a:pt x="149" y="17"/>
                    </a:lnTo>
                    <a:lnTo>
                      <a:pt x="166" y="17"/>
                    </a:lnTo>
                    <a:lnTo>
                      <a:pt x="182" y="33"/>
                    </a:lnTo>
                    <a:lnTo>
                      <a:pt x="204" y="17"/>
                    </a:lnTo>
                    <a:lnTo>
                      <a:pt x="220" y="33"/>
                    </a:lnTo>
                    <a:lnTo>
                      <a:pt x="215" y="41"/>
                    </a:lnTo>
                    <a:lnTo>
                      <a:pt x="182" y="50"/>
                    </a:lnTo>
                    <a:lnTo>
                      <a:pt x="128" y="17"/>
                    </a:lnTo>
                    <a:lnTo>
                      <a:pt x="111" y="33"/>
                    </a:lnTo>
                    <a:lnTo>
                      <a:pt x="74" y="41"/>
                    </a:lnTo>
                    <a:lnTo>
                      <a:pt x="74" y="50"/>
                    </a:lnTo>
                    <a:lnTo>
                      <a:pt x="12" y="50"/>
                    </a:lnTo>
                    <a:lnTo>
                      <a:pt x="12" y="57"/>
                    </a:lnTo>
                    <a:lnTo>
                      <a:pt x="0" y="33"/>
                    </a:lnTo>
                    <a:lnTo>
                      <a:pt x="12" y="22"/>
                    </a:lnTo>
                    <a:lnTo>
                      <a:pt x="17" y="33"/>
                    </a:lnTo>
                    <a:lnTo>
                      <a:pt x="24" y="41"/>
                    </a:lnTo>
                    <a:lnTo>
                      <a:pt x="41" y="41"/>
                    </a:lnTo>
                    <a:lnTo>
                      <a:pt x="50" y="41"/>
                    </a:lnTo>
                    <a:lnTo>
                      <a:pt x="50" y="41"/>
                    </a:lnTo>
                    <a:lnTo>
                      <a:pt x="41" y="41"/>
                    </a:lnTo>
                    <a:lnTo>
                      <a:pt x="50" y="33"/>
                    </a:lnTo>
                    <a:lnTo>
                      <a:pt x="111" y="22"/>
                    </a:lnTo>
                    <a:lnTo>
                      <a:pt x="95" y="22"/>
                    </a:lnTo>
                    <a:lnTo>
                      <a:pt x="50" y="33"/>
                    </a:lnTo>
                    <a:lnTo>
                      <a:pt x="33" y="41"/>
                    </a:lnTo>
                    <a:lnTo>
                      <a:pt x="24" y="33"/>
                    </a:lnTo>
                    <a:lnTo>
                      <a:pt x="17" y="17"/>
                    </a:lnTo>
                    <a:lnTo>
                      <a:pt x="17" y="17"/>
                    </a:lnTo>
                    <a:lnTo>
                      <a:pt x="17"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42" name="Freeform 448">
                <a:extLst>
                  <a:ext uri="{FF2B5EF4-FFF2-40B4-BE49-F238E27FC236}">
                    <a16:creationId xmlns:a16="http://schemas.microsoft.com/office/drawing/2014/main" id="{780402FA-C929-4737-90BD-C8183A2F553B}"/>
                  </a:ext>
                </a:extLst>
              </p:cNvPr>
              <p:cNvSpPr>
                <a:spLocks noEditPoints="1"/>
              </p:cNvSpPr>
              <p:nvPr/>
            </p:nvSpPr>
            <p:spPr bwMode="gray">
              <a:xfrm>
                <a:off x="6978178" y="3996717"/>
                <a:ext cx="166315" cy="185684"/>
              </a:xfrm>
              <a:custGeom>
                <a:avLst/>
                <a:gdLst>
                  <a:gd name="T0" fmla="*/ 359 w 404"/>
                  <a:gd name="T1" fmla="*/ 184 h 451"/>
                  <a:gd name="T2" fmla="*/ 380 w 404"/>
                  <a:gd name="T3" fmla="*/ 200 h 451"/>
                  <a:gd name="T4" fmla="*/ 404 w 404"/>
                  <a:gd name="T5" fmla="*/ 212 h 451"/>
                  <a:gd name="T6" fmla="*/ 404 w 404"/>
                  <a:gd name="T7" fmla="*/ 257 h 451"/>
                  <a:gd name="T8" fmla="*/ 387 w 404"/>
                  <a:gd name="T9" fmla="*/ 311 h 451"/>
                  <a:gd name="T10" fmla="*/ 359 w 404"/>
                  <a:gd name="T11" fmla="*/ 344 h 451"/>
                  <a:gd name="T12" fmla="*/ 333 w 404"/>
                  <a:gd name="T13" fmla="*/ 344 h 451"/>
                  <a:gd name="T14" fmla="*/ 290 w 404"/>
                  <a:gd name="T15" fmla="*/ 307 h 451"/>
                  <a:gd name="T16" fmla="*/ 269 w 404"/>
                  <a:gd name="T17" fmla="*/ 307 h 451"/>
                  <a:gd name="T18" fmla="*/ 257 w 404"/>
                  <a:gd name="T19" fmla="*/ 340 h 451"/>
                  <a:gd name="T20" fmla="*/ 224 w 404"/>
                  <a:gd name="T21" fmla="*/ 340 h 451"/>
                  <a:gd name="T22" fmla="*/ 198 w 404"/>
                  <a:gd name="T23" fmla="*/ 340 h 451"/>
                  <a:gd name="T24" fmla="*/ 198 w 404"/>
                  <a:gd name="T25" fmla="*/ 378 h 451"/>
                  <a:gd name="T26" fmla="*/ 215 w 404"/>
                  <a:gd name="T27" fmla="*/ 385 h 451"/>
                  <a:gd name="T28" fmla="*/ 224 w 404"/>
                  <a:gd name="T29" fmla="*/ 406 h 451"/>
                  <a:gd name="T30" fmla="*/ 219 w 404"/>
                  <a:gd name="T31" fmla="*/ 434 h 451"/>
                  <a:gd name="T32" fmla="*/ 198 w 404"/>
                  <a:gd name="T33" fmla="*/ 422 h 451"/>
                  <a:gd name="T34" fmla="*/ 165 w 404"/>
                  <a:gd name="T35" fmla="*/ 451 h 451"/>
                  <a:gd name="T36" fmla="*/ 63 w 404"/>
                  <a:gd name="T37" fmla="*/ 344 h 451"/>
                  <a:gd name="T38" fmla="*/ 96 w 404"/>
                  <a:gd name="T39" fmla="*/ 352 h 451"/>
                  <a:gd name="T40" fmla="*/ 89 w 404"/>
                  <a:gd name="T41" fmla="*/ 352 h 451"/>
                  <a:gd name="T42" fmla="*/ 75 w 404"/>
                  <a:gd name="T43" fmla="*/ 344 h 451"/>
                  <a:gd name="T44" fmla="*/ 42 w 404"/>
                  <a:gd name="T45" fmla="*/ 307 h 451"/>
                  <a:gd name="T46" fmla="*/ 59 w 404"/>
                  <a:gd name="T47" fmla="*/ 311 h 451"/>
                  <a:gd name="T48" fmla="*/ 37 w 404"/>
                  <a:gd name="T49" fmla="*/ 295 h 451"/>
                  <a:gd name="T50" fmla="*/ 21 w 404"/>
                  <a:gd name="T51" fmla="*/ 257 h 451"/>
                  <a:gd name="T52" fmla="*/ 54 w 404"/>
                  <a:gd name="T53" fmla="*/ 290 h 451"/>
                  <a:gd name="T54" fmla="*/ 54 w 404"/>
                  <a:gd name="T55" fmla="*/ 274 h 451"/>
                  <a:gd name="T56" fmla="*/ 42 w 404"/>
                  <a:gd name="T57" fmla="*/ 257 h 451"/>
                  <a:gd name="T58" fmla="*/ 21 w 404"/>
                  <a:gd name="T59" fmla="*/ 257 h 451"/>
                  <a:gd name="T60" fmla="*/ 0 w 404"/>
                  <a:gd name="T61" fmla="*/ 212 h 451"/>
                  <a:gd name="T62" fmla="*/ 42 w 404"/>
                  <a:gd name="T63" fmla="*/ 196 h 451"/>
                  <a:gd name="T64" fmla="*/ 54 w 404"/>
                  <a:gd name="T65" fmla="*/ 155 h 451"/>
                  <a:gd name="T66" fmla="*/ 80 w 404"/>
                  <a:gd name="T67" fmla="*/ 155 h 451"/>
                  <a:gd name="T68" fmla="*/ 42 w 404"/>
                  <a:gd name="T69" fmla="*/ 127 h 451"/>
                  <a:gd name="T70" fmla="*/ 59 w 404"/>
                  <a:gd name="T71" fmla="*/ 118 h 451"/>
                  <a:gd name="T72" fmla="*/ 59 w 404"/>
                  <a:gd name="T73" fmla="*/ 101 h 451"/>
                  <a:gd name="T74" fmla="*/ 75 w 404"/>
                  <a:gd name="T75" fmla="*/ 101 h 451"/>
                  <a:gd name="T76" fmla="*/ 89 w 404"/>
                  <a:gd name="T77" fmla="*/ 101 h 451"/>
                  <a:gd name="T78" fmla="*/ 182 w 404"/>
                  <a:gd name="T79" fmla="*/ 11 h 451"/>
                  <a:gd name="T80" fmla="*/ 252 w 404"/>
                  <a:gd name="T81" fmla="*/ 0 h 451"/>
                  <a:gd name="T82" fmla="*/ 311 w 404"/>
                  <a:gd name="T83" fmla="*/ 0 h 451"/>
                  <a:gd name="T84" fmla="*/ 307 w 404"/>
                  <a:gd name="T85" fmla="*/ 44 h 451"/>
                  <a:gd name="T86" fmla="*/ 311 w 404"/>
                  <a:gd name="T87" fmla="*/ 85 h 451"/>
                  <a:gd name="T88" fmla="*/ 380 w 404"/>
                  <a:gd name="T89" fmla="*/ 68 h 451"/>
                  <a:gd name="T90" fmla="*/ 387 w 404"/>
                  <a:gd name="T91" fmla="*/ 122 h 451"/>
                  <a:gd name="T92" fmla="*/ 366 w 404"/>
                  <a:gd name="T93" fmla="*/ 146 h 451"/>
                  <a:gd name="T94" fmla="*/ 359 w 404"/>
                  <a:gd name="T95" fmla="*/ 179 h 451"/>
                  <a:gd name="T96" fmla="*/ 21 w 404"/>
                  <a:gd name="T97" fmla="*/ 229 h 451"/>
                  <a:gd name="T98" fmla="*/ 21 w 404"/>
                  <a:gd name="T99" fmla="*/ 212 h 451"/>
                  <a:gd name="T100" fmla="*/ 21 w 404"/>
                  <a:gd name="T101" fmla="*/ 229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4" h="451">
                    <a:moveTo>
                      <a:pt x="359" y="179"/>
                    </a:moveTo>
                    <a:lnTo>
                      <a:pt x="359" y="184"/>
                    </a:lnTo>
                    <a:lnTo>
                      <a:pt x="375" y="184"/>
                    </a:lnTo>
                    <a:lnTo>
                      <a:pt x="380" y="200"/>
                    </a:lnTo>
                    <a:lnTo>
                      <a:pt x="396" y="200"/>
                    </a:lnTo>
                    <a:lnTo>
                      <a:pt x="404" y="212"/>
                    </a:lnTo>
                    <a:lnTo>
                      <a:pt x="396" y="240"/>
                    </a:lnTo>
                    <a:lnTo>
                      <a:pt x="404" y="257"/>
                    </a:lnTo>
                    <a:lnTo>
                      <a:pt x="396" y="307"/>
                    </a:lnTo>
                    <a:lnTo>
                      <a:pt x="387" y="311"/>
                    </a:lnTo>
                    <a:lnTo>
                      <a:pt x="375" y="344"/>
                    </a:lnTo>
                    <a:lnTo>
                      <a:pt x="359" y="344"/>
                    </a:lnTo>
                    <a:lnTo>
                      <a:pt x="349" y="323"/>
                    </a:lnTo>
                    <a:lnTo>
                      <a:pt x="333" y="344"/>
                    </a:lnTo>
                    <a:lnTo>
                      <a:pt x="295" y="340"/>
                    </a:lnTo>
                    <a:lnTo>
                      <a:pt x="290" y="307"/>
                    </a:lnTo>
                    <a:lnTo>
                      <a:pt x="274" y="295"/>
                    </a:lnTo>
                    <a:lnTo>
                      <a:pt x="269" y="307"/>
                    </a:lnTo>
                    <a:lnTo>
                      <a:pt x="257" y="307"/>
                    </a:lnTo>
                    <a:lnTo>
                      <a:pt x="257" y="340"/>
                    </a:lnTo>
                    <a:lnTo>
                      <a:pt x="236" y="344"/>
                    </a:lnTo>
                    <a:lnTo>
                      <a:pt x="224" y="340"/>
                    </a:lnTo>
                    <a:lnTo>
                      <a:pt x="215" y="344"/>
                    </a:lnTo>
                    <a:lnTo>
                      <a:pt x="198" y="340"/>
                    </a:lnTo>
                    <a:lnTo>
                      <a:pt x="203" y="352"/>
                    </a:lnTo>
                    <a:lnTo>
                      <a:pt x="198" y="378"/>
                    </a:lnTo>
                    <a:lnTo>
                      <a:pt x="203" y="368"/>
                    </a:lnTo>
                    <a:lnTo>
                      <a:pt x="215" y="385"/>
                    </a:lnTo>
                    <a:lnTo>
                      <a:pt x="203" y="401"/>
                    </a:lnTo>
                    <a:lnTo>
                      <a:pt x="224" y="406"/>
                    </a:lnTo>
                    <a:lnTo>
                      <a:pt x="219" y="422"/>
                    </a:lnTo>
                    <a:lnTo>
                      <a:pt x="219" y="434"/>
                    </a:lnTo>
                    <a:lnTo>
                      <a:pt x="215" y="434"/>
                    </a:lnTo>
                    <a:lnTo>
                      <a:pt x="198" y="422"/>
                    </a:lnTo>
                    <a:lnTo>
                      <a:pt x="172" y="434"/>
                    </a:lnTo>
                    <a:lnTo>
                      <a:pt x="165" y="451"/>
                    </a:lnTo>
                    <a:lnTo>
                      <a:pt x="118" y="394"/>
                    </a:lnTo>
                    <a:lnTo>
                      <a:pt x="63" y="344"/>
                    </a:lnTo>
                    <a:lnTo>
                      <a:pt x="89" y="361"/>
                    </a:lnTo>
                    <a:lnTo>
                      <a:pt x="96" y="352"/>
                    </a:lnTo>
                    <a:lnTo>
                      <a:pt x="96" y="352"/>
                    </a:lnTo>
                    <a:lnTo>
                      <a:pt x="89" y="352"/>
                    </a:lnTo>
                    <a:lnTo>
                      <a:pt x="80" y="344"/>
                    </a:lnTo>
                    <a:lnTo>
                      <a:pt x="75" y="344"/>
                    </a:lnTo>
                    <a:lnTo>
                      <a:pt x="59" y="340"/>
                    </a:lnTo>
                    <a:lnTo>
                      <a:pt x="42" y="307"/>
                    </a:lnTo>
                    <a:lnTo>
                      <a:pt x="54" y="307"/>
                    </a:lnTo>
                    <a:lnTo>
                      <a:pt x="59" y="311"/>
                    </a:lnTo>
                    <a:lnTo>
                      <a:pt x="54" y="307"/>
                    </a:lnTo>
                    <a:lnTo>
                      <a:pt x="37" y="295"/>
                    </a:lnTo>
                    <a:lnTo>
                      <a:pt x="37" y="283"/>
                    </a:lnTo>
                    <a:lnTo>
                      <a:pt x="21" y="257"/>
                    </a:lnTo>
                    <a:lnTo>
                      <a:pt x="37" y="290"/>
                    </a:lnTo>
                    <a:lnTo>
                      <a:pt x="54" y="290"/>
                    </a:lnTo>
                    <a:lnTo>
                      <a:pt x="54" y="283"/>
                    </a:lnTo>
                    <a:lnTo>
                      <a:pt x="54" y="274"/>
                    </a:lnTo>
                    <a:lnTo>
                      <a:pt x="37" y="283"/>
                    </a:lnTo>
                    <a:lnTo>
                      <a:pt x="42" y="257"/>
                    </a:lnTo>
                    <a:lnTo>
                      <a:pt x="37" y="266"/>
                    </a:lnTo>
                    <a:lnTo>
                      <a:pt x="21" y="257"/>
                    </a:lnTo>
                    <a:lnTo>
                      <a:pt x="0" y="212"/>
                    </a:lnTo>
                    <a:lnTo>
                      <a:pt x="0" y="212"/>
                    </a:lnTo>
                    <a:lnTo>
                      <a:pt x="21" y="229"/>
                    </a:lnTo>
                    <a:lnTo>
                      <a:pt x="42" y="196"/>
                    </a:lnTo>
                    <a:lnTo>
                      <a:pt x="42" y="139"/>
                    </a:lnTo>
                    <a:lnTo>
                      <a:pt x="54" y="155"/>
                    </a:lnTo>
                    <a:lnTo>
                      <a:pt x="75" y="163"/>
                    </a:lnTo>
                    <a:lnTo>
                      <a:pt x="80" y="155"/>
                    </a:lnTo>
                    <a:lnTo>
                      <a:pt x="54" y="146"/>
                    </a:lnTo>
                    <a:lnTo>
                      <a:pt x="42" y="127"/>
                    </a:lnTo>
                    <a:lnTo>
                      <a:pt x="42" y="122"/>
                    </a:lnTo>
                    <a:lnTo>
                      <a:pt x="59" y="118"/>
                    </a:lnTo>
                    <a:lnTo>
                      <a:pt x="59" y="127"/>
                    </a:lnTo>
                    <a:lnTo>
                      <a:pt x="59" y="101"/>
                    </a:lnTo>
                    <a:lnTo>
                      <a:pt x="63" y="89"/>
                    </a:lnTo>
                    <a:lnTo>
                      <a:pt x="75" y="101"/>
                    </a:lnTo>
                    <a:lnTo>
                      <a:pt x="80" y="101"/>
                    </a:lnTo>
                    <a:lnTo>
                      <a:pt x="89" y="101"/>
                    </a:lnTo>
                    <a:lnTo>
                      <a:pt x="182" y="101"/>
                    </a:lnTo>
                    <a:lnTo>
                      <a:pt x="182" y="11"/>
                    </a:lnTo>
                    <a:lnTo>
                      <a:pt x="182" y="0"/>
                    </a:lnTo>
                    <a:lnTo>
                      <a:pt x="252" y="0"/>
                    </a:lnTo>
                    <a:lnTo>
                      <a:pt x="278" y="0"/>
                    </a:lnTo>
                    <a:lnTo>
                      <a:pt x="311" y="0"/>
                    </a:lnTo>
                    <a:lnTo>
                      <a:pt x="321" y="11"/>
                    </a:lnTo>
                    <a:lnTo>
                      <a:pt x="307" y="44"/>
                    </a:lnTo>
                    <a:lnTo>
                      <a:pt x="311" y="68"/>
                    </a:lnTo>
                    <a:lnTo>
                      <a:pt x="311" y="85"/>
                    </a:lnTo>
                    <a:lnTo>
                      <a:pt x="349" y="68"/>
                    </a:lnTo>
                    <a:lnTo>
                      <a:pt x="380" y="68"/>
                    </a:lnTo>
                    <a:lnTo>
                      <a:pt x="404" y="101"/>
                    </a:lnTo>
                    <a:lnTo>
                      <a:pt x="387" y="122"/>
                    </a:lnTo>
                    <a:lnTo>
                      <a:pt x="375" y="127"/>
                    </a:lnTo>
                    <a:lnTo>
                      <a:pt x="366" y="146"/>
                    </a:lnTo>
                    <a:lnTo>
                      <a:pt x="359" y="179"/>
                    </a:lnTo>
                    <a:lnTo>
                      <a:pt x="359" y="179"/>
                    </a:lnTo>
                    <a:lnTo>
                      <a:pt x="359" y="179"/>
                    </a:lnTo>
                    <a:close/>
                    <a:moveTo>
                      <a:pt x="21" y="229"/>
                    </a:moveTo>
                    <a:lnTo>
                      <a:pt x="9" y="217"/>
                    </a:lnTo>
                    <a:lnTo>
                      <a:pt x="21" y="212"/>
                    </a:lnTo>
                    <a:lnTo>
                      <a:pt x="21" y="229"/>
                    </a:lnTo>
                    <a:lnTo>
                      <a:pt x="21" y="229"/>
                    </a:lnTo>
                    <a:lnTo>
                      <a:pt x="21" y="22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43" name="Freeform 450">
                <a:extLst>
                  <a:ext uri="{FF2B5EF4-FFF2-40B4-BE49-F238E27FC236}">
                    <a16:creationId xmlns:a16="http://schemas.microsoft.com/office/drawing/2014/main" id="{64702991-1C02-467E-9498-65B2D489DEE3}"/>
                  </a:ext>
                </a:extLst>
              </p:cNvPr>
              <p:cNvSpPr>
                <a:spLocks/>
              </p:cNvSpPr>
              <p:nvPr/>
            </p:nvSpPr>
            <p:spPr bwMode="gray">
              <a:xfrm>
                <a:off x="6631964" y="3734043"/>
                <a:ext cx="128441" cy="192272"/>
              </a:xfrm>
              <a:custGeom>
                <a:avLst/>
                <a:gdLst>
                  <a:gd name="T0" fmla="*/ 16 w 312"/>
                  <a:gd name="T1" fmla="*/ 432 h 467"/>
                  <a:gd name="T2" fmla="*/ 16 w 312"/>
                  <a:gd name="T3" fmla="*/ 432 h 467"/>
                  <a:gd name="T4" fmla="*/ 21 w 312"/>
                  <a:gd name="T5" fmla="*/ 432 h 467"/>
                  <a:gd name="T6" fmla="*/ 38 w 312"/>
                  <a:gd name="T7" fmla="*/ 432 h 467"/>
                  <a:gd name="T8" fmla="*/ 38 w 312"/>
                  <a:gd name="T9" fmla="*/ 406 h 467"/>
                  <a:gd name="T10" fmla="*/ 21 w 312"/>
                  <a:gd name="T11" fmla="*/ 394 h 467"/>
                  <a:gd name="T12" fmla="*/ 0 w 312"/>
                  <a:gd name="T13" fmla="*/ 321 h 467"/>
                  <a:gd name="T14" fmla="*/ 4 w 312"/>
                  <a:gd name="T15" fmla="*/ 316 h 467"/>
                  <a:gd name="T16" fmla="*/ 21 w 312"/>
                  <a:gd name="T17" fmla="*/ 295 h 467"/>
                  <a:gd name="T18" fmla="*/ 38 w 312"/>
                  <a:gd name="T19" fmla="*/ 227 h 467"/>
                  <a:gd name="T20" fmla="*/ 54 w 312"/>
                  <a:gd name="T21" fmla="*/ 210 h 467"/>
                  <a:gd name="T22" fmla="*/ 42 w 312"/>
                  <a:gd name="T23" fmla="*/ 156 h 467"/>
                  <a:gd name="T24" fmla="*/ 38 w 312"/>
                  <a:gd name="T25" fmla="*/ 149 h 467"/>
                  <a:gd name="T26" fmla="*/ 42 w 312"/>
                  <a:gd name="T27" fmla="*/ 116 h 467"/>
                  <a:gd name="T28" fmla="*/ 38 w 312"/>
                  <a:gd name="T29" fmla="*/ 111 h 467"/>
                  <a:gd name="T30" fmla="*/ 38 w 312"/>
                  <a:gd name="T31" fmla="*/ 61 h 467"/>
                  <a:gd name="T32" fmla="*/ 21 w 312"/>
                  <a:gd name="T33" fmla="*/ 26 h 467"/>
                  <a:gd name="T34" fmla="*/ 30 w 312"/>
                  <a:gd name="T35" fmla="*/ 5 h 467"/>
                  <a:gd name="T36" fmla="*/ 160 w 312"/>
                  <a:gd name="T37" fmla="*/ 5 h 467"/>
                  <a:gd name="T38" fmla="*/ 182 w 312"/>
                  <a:gd name="T39" fmla="*/ 5 h 467"/>
                  <a:gd name="T40" fmla="*/ 182 w 312"/>
                  <a:gd name="T41" fmla="*/ 16 h 467"/>
                  <a:gd name="T42" fmla="*/ 205 w 312"/>
                  <a:gd name="T43" fmla="*/ 0 h 467"/>
                  <a:gd name="T44" fmla="*/ 219 w 312"/>
                  <a:gd name="T45" fmla="*/ 0 h 467"/>
                  <a:gd name="T46" fmla="*/ 231 w 312"/>
                  <a:gd name="T47" fmla="*/ 5 h 467"/>
                  <a:gd name="T48" fmla="*/ 219 w 312"/>
                  <a:gd name="T49" fmla="*/ 26 h 467"/>
                  <a:gd name="T50" fmla="*/ 252 w 312"/>
                  <a:gd name="T51" fmla="*/ 54 h 467"/>
                  <a:gd name="T52" fmla="*/ 252 w 312"/>
                  <a:gd name="T53" fmla="*/ 61 h 467"/>
                  <a:gd name="T54" fmla="*/ 257 w 312"/>
                  <a:gd name="T55" fmla="*/ 78 h 467"/>
                  <a:gd name="T56" fmla="*/ 248 w 312"/>
                  <a:gd name="T57" fmla="*/ 116 h 467"/>
                  <a:gd name="T58" fmla="*/ 257 w 312"/>
                  <a:gd name="T59" fmla="*/ 116 h 467"/>
                  <a:gd name="T60" fmla="*/ 269 w 312"/>
                  <a:gd name="T61" fmla="*/ 127 h 467"/>
                  <a:gd name="T62" fmla="*/ 257 w 312"/>
                  <a:gd name="T63" fmla="*/ 149 h 467"/>
                  <a:gd name="T64" fmla="*/ 269 w 312"/>
                  <a:gd name="T65" fmla="*/ 165 h 467"/>
                  <a:gd name="T66" fmla="*/ 252 w 312"/>
                  <a:gd name="T67" fmla="*/ 172 h 467"/>
                  <a:gd name="T68" fmla="*/ 286 w 312"/>
                  <a:gd name="T69" fmla="*/ 205 h 467"/>
                  <a:gd name="T70" fmla="*/ 274 w 312"/>
                  <a:gd name="T71" fmla="*/ 210 h 467"/>
                  <a:gd name="T72" fmla="*/ 269 w 312"/>
                  <a:gd name="T73" fmla="*/ 243 h 467"/>
                  <a:gd name="T74" fmla="*/ 269 w 312"/>
                  <a:gd name="T75" fmla="*/ 260 h 467"/>
                  <a:gd name="T76" fmla="*/ 269 w 312"/>
                  <a:gd name="T77" fmla="*/ 267 h 467"/>
                  <a:gd name="T78" fmla="*/ 274 w 312"/>
                  <a:gd name="T79" fmla="*/ 276 h 467"/>
                  <a:gd name="T80" fmla="*/ 274 w 312"/>
                  <a:gd name="T81" fmla="*/ 300 h 467"/>
                  <a:gd name="T82" fmla="*/ 269 w 312"/>
                  <a:gd name="T83" fmla="*/ 300 h 467"/>
                  <a:gd name="T84" fmla="*/ 286 w 312"/>
                  <a:gd name="T85" fmla="*/ 338 h 467"/>
                  <a:gd name="T86" fmla="*/ 302 w 312"/>
                  <a:gd name="T87" fmla="*/ 349 h 467"/>
                  <a:gd name="T88" fmla="*/ 312 w 312"/>
                  <a:gd name="T89" fmla="*/ 361 h 467"/>
                  <a:gd name="T90" fmla="*/ 302 w 312"/>
                  <a:gd name="T91" fmla="*/ 390 h 467"/>
                  <a:gd name="T92" fmla="*/ 274 w 312"/>
                  <a:gd name="T93" fmla="*/ 390 h 467"/>
                  <a:gd name="T94" fmla="*/ 269 w 312"/>
                  <a:gd name="T95" fmla="*/ 373 h 467"/>
                  <a:gd name="T96" fmla="*/ 248 w 312"/>
                  <a:gd name="T97" fmla="*/ 361 h 467"/>
                  <a:gd name="T98" fmla="*/ 269 w 312"/>
                  <a:gd name="T99" fmla="*/ 373 h 467"/>
                  <a:gd name="T100" fmla="*/ 274 w 312"/>
                  <a:gd name="T101" fmla="*/ 390 h 467"/>
                  <a:gd name="T102" fmla="*/ 248 w 312"/>
                  <a:gd name="T103" fmla="*/ 390 h 467"/>
                  <a:gd name="T104" fmla="*/ 177 w 312"/>
                  <a:gd name="T105" fmla="*/ 427 h 467"/>
                  <a:gd name="T106" fmla="*/ 113 w 312"/>
                  <a:gd name="T107" fmla="*/ 444 h 467"/>
                  <a:gd name="T108" fmla="*/ 85 w 312"/>
                  <a:gd name="T109" fmla="*/ 467 h 467"/>
                  <a:gd name="T110" fmla="*/ 68 w 312"/>
                  <a:gd name="T111" fmla="*/ 451 h 467"/>
                  <a:gd name="T112" fmla="*/ 16 w 312"/>
                  <a:gd name="T113" fmla="*/ 432 h 467"/>
                  <a:gd name="T114" fmla="*/ 16 w 312"/>
                  <a:gd name="T115" fmla="*/ 432 h 467"/>
                  <a:gd name="T116" fmla="*/ 16 w 312"/>
                  <a:gd name="T117" fmla="*/ 432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2" h="467">
                    <a:moveTo>
                      <a:pt x="16" y="432"/>
                    </a:moveTo>
                    <a:lnTo>
                      <a:pt x="16" y="432"/>
                    </a:lnTo>
                    <a:lnTo>
                      <a:pt x="21" y="432"/>
                    </a:lnTo>
                    <a:lnTo>
                      <a:pt x="38" y="432"/>
                    </a:lnTo>
                    <a:lnTo>
                      <a:pt x="38" y="406"/>
                    </a:lnTo>
                    <a:lnTo>
                      <a:pt x="21" y="394"/>
                    </a:lnTo>
                    <a:lnTo>
                      <a:pt x="0" y="321"/>
                    </a:lnTo>
                    <a:lnTo>
                      <a:pt x="4" y="316"/>
                    </a:lnTo>
                    <a:lnTo>
                      <a:pt x="21" y="295"/>
                    </a:lnTo>
                    <a:lnTo>
                      <a:pt x="38" y="227"/>
                    </a:lnTo>
                    <a:lnTo>
                      <a:pt x="54" y="210"/>
                    </a:lnTo>
                    <a:lnTo>
                      <a:pt x="42" y="156"/>
                    </a:lnTo>
                    <a:lnTo>
                      <a:pt x="38" y="149"/>
                    </a:lnTo>
                    <a:lnTo>
                      <a:pt x="42" y="116"/>
                    </a:lnTo>
                    <a:lnTo>
                      <a:pt x="38" y="111"/>
                    </a:lnTo>
                    <a:lnTo>
                      <a:pt x="38" y="61"/>
                    </a:lnTo>
                    <a:lnTo>
                      <a:pt x="21" y="26"/>
                    </a:lnTo>
                    <a:lnTo>
                      <a:pt x="30" y="5"/>
                    </a:lnTo>
                    <a:lnTo>
                      <a:pt x="160" y="5"/>
                    </a:lnTo>
                    <a:lnTo>
                      <a:pt x="182" y="5"/>
                    </a:lnTo>
                    <a:lnTo>
                      <a:pt x="182" y="16"/>
                    </a:lnTo>
                    <a:lnTo>
                      <a:pt x="205" y="0"/>
                    </a:lnTo>
                    <a:lnTo>
                      <a:pt x="219" y="0"/>
                    </a:lnTo>
                    <a:lnTo>
                      <a:pt x="231" y="5"/>
                    </a:lnTo>
                    <a:lnTo>
                      <a:pt x="219" y="26"/>
                    </a:lnTo>
                    <a:lnTo>
                      <a:pt x="252" y="54"/>
                    </a:lnTo>
                    <a:lnTo>
                      <a:pt x="252" y="61"/>
                    </a:lnTo>
                    <a:lnTo>
                      <a:pt x="257" y="78"/>
                    </a:lnTo>
                    <a:lnTo>
                      <a:pt x="248" y="116"/>
                    </a:lnTo>
                    <a:lnTo>
                      <a:pt x="257" y="116"/>
                    </a:lnTo>
                    <a:lnTo>
                      <a:pt x="269" y="127"/>
                    </a:lnTo>
                    <a:lnTo>
                      <a:pt x="257" y="149"/>
                    </a:lnTo>
                    <a:lnTo>
                      <a:pt x="269" y="165"/>
                    </a:lnTo>
                    <a:lnTo>
                      <a:pt x="252" y="172"/>
                    </a:lnTo>
                    <a:lnTo>
                      <a:pt x="286" y="205"/>
                    </a:lnTo>
                    <a:lnTo>
                      <a:pt x="274" y="210"/>
                    </a:lnTo>
                    <a:lnTo>
                      <a:pt x="269" y="243"/>
                    </a:lnTo>
                    <a:lnTo>
                      <a:pt x="269" y="260"/>
                    </a:lnTo>
                    <a:lnTo>
                      <a:pt x="269" y="267"/>
                    </a:lnTo>
                    <a:lnTo>
                      <a:pt x="274" y="276"/>
                    </a:lnTo>
                    <a:lnTo>
                      <a:pt x="274" y="300"/>
                    </a:lnTo>
                    <a:lnTo>
                      <a:pt x="269" y="300"/>
                    </a:lnTo>
                    <a:lnTo>
                      <a:pt x="286" y="338"/>
                    </a:lnTo>
                    <a:lnTo>
                      <a:pt x="302" y="349"/>
                    </a:lnTo>
                    <a:lnTo>
                      <a:pt x="312" y="361"/>
                    </a:lnTo>
                    <a:lnTo>
                      <a:pt x="302" y="390"/>
                    </a:lnTo>
                    <a:lnTo>
                      <a:pt x="274" y="390"/>
                    </a:lnTo>
                    <a:lnTo>
                      <a:pt x="269" y="373"/>
                    </a:lnTo>
                    <a:lnTo>
                      <a:pt x="248" y="361"/>
                    </a:lnTo>
                    <a:lnTo>
                      <a:pt x="269" y="373"/>
                    </a:lnTo>
                    <a:lnTo>
                      <a:pt x="274" y="390"/>
                    </a:lnTo>
                    <a:lnTo>
                      <a:pt x="248" y="390"/>
                    </a:lnTo>
                    <a:lnTo>
                      <a:pt x="177" y="427"/>
                    </a:lnTo>
                    <a:lnTo>
                      <a:pt x="113" y="444"/>
                    </a:lnTo>
                    <a:lnTo>
                      <a:pt x="85" y="467"/>
                    </a:lnTo>
                    <a:lnTo>
                      <a:pt x="68" y="451"/>
                    </a:lnTo>
                    <a:lnTo>
                      <a:pt x="16" y="432"/>
                    </a:lnTo>
                    <a:lnTo>
                      <a:pt x="16" y="432"/>
                    </a:lnTo>
                    <a:lnTo>
                      <a:pt x="16" y="43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44" name="Freeform 458">
                <a:extLst>
                  <a:ext uri="{FF2B5EF4-FFF2-40B4-BE49-F238E27FC236}">
                    <a16:creationId xmlns:a16="http://schemas.microsoft.com/office/drawing/2014/main" id="{751EE4DD-A341-46E9-B569-FDD25F2C8554}"/>
                  </a:ext>
                </a:extLst>
              </p:cNvPr>
              <p:cNvSpPr>
                <a:spLocks/>
              </p:cNvSpPr>
              <p:nvPr/>
            </p:nvSpPr>
            <p:spPr bwMode="gray">
              <a:xfrm>
                <a:off x="6290689" y="3689166"/>
                <a:ext cx="213657" cy="160570"/>
              </a:xfrm>
              <a:custGeom>
                <a:avLst/>
                <a:gdLst>
                  <a:gd name="T0" fmla="*/ 21 w 519"/>
                  <a:gd name="T1" fmla="*/ 83 h 390"/>
                  <a:gd name="T2" fmla="*/ 54 w 519"/>
                  <a:gd name="T3" fmla="*/ 71 h 390"/>
                  <a:gd name="T4" fmla="*/ 92 w 519"/>
                  <a:gd name="T5" fmla="*/ 71 h 390"/>
                  <a:gd name="T6" fmla="*/ 75 w 519"/>
                  <a:gd name="T7" fmla="*/ 38 h 390"/>
                  <a:gd name="T8" fmla="*/ 92 w 519"/>
                  <a:gd name="T9" fmla="*/ 0 h 390"/>
                  <a:gd name="T10" fmla="*/ 141 w 519"/>
                  <a:gd name="T11" fmla="*/ 17 h 390"/>
                  <a:gd name="T12" fmla="*/ 196 w 519"/>
                  <a:gd name="T13" fmla="*/ 21 h 390"/>
                  <a:gd name="T14" fmla="*/ 264 w 519"/>
                  <a:gd name="T15" fmla="*/ 17 h 390"/>
                  <a:gd name="T16" fmla="*/ 271 w 519"/>
                  <a:gd name="T17" fmla="*/ 45 h 390"/>
                  <a:gd name="T18" fmla="*/ 309 w 519"/>
                  <a:gd name="T19" fmla="*/ 54 h 390"/>
                  <a:gd name="T20" fmla="*/ 363 w 519"/>
                  <a:gd name="T21" fmla="*/ 45 h 390"/>
                  <a:gd name="T22" fmla="*/ 378 w 519"/>
                  <a:gd name="T23" fmla="*/ 38 h 390"/>
                  <a:gd name="T24" fmla="*/ 401 w 519"/>
                  <a:gd name="T25" fmla="*/ 17 h 390"/>
                  <a:gd name="T26" fmla="*/ 427 w 519"/>
                  <a:gd name="T27" fmla="*/ 28 h 390"/>
                  <a:gd name="T28" fmla="*/ 439 w 519"/>
                  <a:gd name="T29" fmla="*/ 71 h 390"/>
                  <a:gd name="T30" fmla="*/ 448 w 519"/>
                  <a:gd name="T31" fmla="*/ 83 h 390"/>
                  <a:gd name="T32" fmla="*/ 448 w 519"/>
                  <a:gd name="T33" fmla="*/ 128 h 390"/>
                  <a:gd name="T34" fmla="*/ 481 w 519"/>
                  <a:gd name="T35" fmla="*/ 116 h 390"/>
                  <a:gd name="T36" fmla="*/ 491 w 519"/>
                  <a:gd name="T37" fmla="*/ 165 h 390"/>
                  <a:gd name="T38" fmla="*/ 486 w 519"/>
                  <a:gd name="T39" fmla="*/ 194 h 390"/>
                  <a:gd name="T40" fmla="*/ 491 w 519"/>
                  <a:gd name="T41" fmla="*/ 236 h 390"/>
                  <a:gd name="T42" fmla="*/ 503 w 519"/>
                  <a:gd name="T43" fmla="*/ 248 h 390"/>
                  <a:gd name="T44" fmla="*/ 503 w 519"/>
                  <a:gd name="T45" fmla="*/ 260 h 390"/>
                  <a:gd name="T46" fmla="*/ 519 w 519"/>
                  <a:gd name="T47" fmla="*/ 293 h 390"/>
                  <a:gd name="T48" fmla="*/ 519 w 519"/>
                  <a:gd name="T49" fmla="*/ 302 h 390"/>
                  <a:gd name="T50" fmla="*/ 481 w 519"/>
                  <a:gd name="T51" fmla="*/ 298 h 390"/>
                  <a:gd name="T52" fmla="*/ 491 w 519"/>
                  <a:gd name="T53" fmla="*/ 319 h 390"/>
                  <a:gd name="T54" fmla="*/ 491 w 519"/>
                  <a:gd name="T55" fmla="*/ 331 h 390"/>
                  <a:gd name="T56" fmla="*/ 470 w 519"/>
                  <a:gd name="T57" fmla="*/ 359 h 390"/>
                  <a:gd name="T58" fmla="*/ 453 w 519"/>
                  <a:gd name="T59" fmla="*/ 359 h 390"/>
                  <a:gd name="T60" fmla="*/ 439 w 519"/>
                  <a:gd name="T61" fmla="*/ 385 h 390"/>
                  <a:gd name="T62" fmla="*/ 401 w 519"/>
                  <a:gd name="T63" fmla="*/ 376 h 390"/>
                  <a:gd name="T64" fmla="*/ 401 w 519"/>
                  <a:gd name="T65" fmla="*/ 352 h 390"/>
                  <a:gd name="T66" fmla="*/ 373 w 519"/>
                  <a:gd name="T67" fmla="*/ 298 h 390"/>
                  <a:gd name="T68" fmla="*/ 309 w 519"/>
                  <a:gd name="T69" fmla="*/ 314 h 390"/>
                  <a:gd name="T70" fmla="*/ 318 w 519"/>
                  <a:gd name="T71" fmla="*/ 276 h 390"/>
                  <a:gd name="T72" fmla="*/ 302 w 519"/>
                  <a:gd name="T73" fmla="*/ 260 h 390"/>
                  <a:gd name="T74" fmla="*/ 271 w 519"/>
                  <a:gd name="T75" fmla="*/ 187 h 390"/>
                  <a:gd name="T76" fmla="*/ 222 w 519"/>
                  <a:gd name="T77" fmla="*/ 194 h 390"/>
                  <a:gd name="T78" fmla="*/ 200 w 519"/>
                  <a:gd name="T79" fmla="*/ 194 h 390"/>
                  <a:gd name="T80" fmla="*/ 167 w 519"/>
                  <a:gd name="T81" fmla="*/ 236 h 390"/>
                  <a:gd name="T82" fmla="*/ 141 w 519"/>
                  <a:gd name="T83" fmla="*/ 260 h 390"/>
                  <a:gd name="T84" fmla="*/ 125 w 519"/>
                  <a:gd name="T85" fmla="*/ 248 h 390"/>
                  <a:gd name="T86" fmla="*/ 108 w 519"/>
                  <a:gd name="T87" fmla="*/ 220 h 390"/>
                  <a:gd name="T88" fmla="*/ 104 w 519"/>
                  <a:gd name="T89" fmla="*/ 220 h 390"/>
                  <a:gd name="T90" fmla="*/ 104 w 519"/>
                  <a:gd name="T91" fmla="*/ 203 h 390"/>
                  <a:gd name="T92" fmla="*/ 92 w 519"/>
                  <a:gd name="T93" fmla="*/ 210 h 390"/>
                  <a:gd name="T94" fmla="*/ 87 w 519"/>
                  <a:gd name="T95" fmla="*/ 203 h 390"/>
                  <a:gd name="T96" fmla="*/ 37 w 519"/>
                  <a:gd name="T97" fmla="*/ 154 h 390"/>
                  <a:gd name="T98" fmla="*/ 37 w 519"/>
                  <a:gd name="T99" fmla="*/ 132 h 390"/>
                  <a:gd name="T100" fmla="*/ 16 w 519"/>
                  <a:gd name="T101" fmla="*/ 128 h 390"/>
                  <a:gd name="T102" fmla="*/ 16 w 519"/>
                  <a:gd name="T103" fmla="*/ 116 h 390"/>
                  <a:gd name="T104" fmla="*/ 0 w 519"/>
                  <a:gd name="T105" fmla="*/ 132 h 390"/>
                  <a:gd name="T106" fmla="*/ 0 w 519"/>
                  <a:gd name="T107" fmla="*/ 128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9" h="390">
                    <a:moveTo>
                      <a:pt x="0" y="128"/>
                    </a:moveTo>
                    <a:lnTo>
                      <a:pt x="21" y="83"/>
                    </a:lnTo>
                    <a:lnTo>
                      <a:pt x="37" y="78"/>
                    </a:lnTo>
                    <a:lnTo>
                      <a:pt x="54" y="71"/>
                    </a:lnTo>
                    <a:lnTo>
                      <a:pt x="75" y="71"/>
                    </a:lnTo>
                    <a:lnTo>
                      <a:pt x="92" y="71"/>
                    </a:lnTo>
                    <a:lnTo>
                      <a:pt x="92" y="45"/>
                    </a:lnTo>
                    <a:lnTo>
                      <a:pt x="75" y="38"/>
                    </a:lnTo>
                    <a:lnTo>
                      <a:pt x="104" y="21"/>
                    </a:lnTo>
                    <a:lnTo>
                      <a:pt x="92" y="0"/>
                    </a:lnTo>
                    <a:lnTo>
                      <a:pt x="141" y="0"/>
                    </a:lnTo>
                    <a:lnTo>
                      <a:pt x="141" y="17"/>
                    </a:lnTo>
                    <a:lnTo>
                      <a:pt x="158" y="7"/>
                    </a:lnTo>
                    <a:lnTo>
                      <a:pt x="196" y="21"/>
                    </a:lnTo>
                    <a:lnTo>
                      <a:pt x="217" y="17"/>
                    </a:lnTo>
                    <a:lnTo>
                      <a:pt x="264" y="17"/>
                    </a:lnTo>
                    <a:lnTo>
                      <a:pt x="255" y="28"/>
                    </a:lnTo>
                    <a:lnTo>
                      <a:pt x="271" y="45"/>
                    </a:lnTo>
                    <a:lnTo>
                      <a:pt x="285" y="28"/>
                    </a:lnTo>
                    <a:lnTo>
                      <a:pt x="309" y="54"/>
                    </a:lnTo>
                    <a:lnTo>
                      <a:pt x="330" y="28"/>
                    </a:lnTo>
                    <a:lnTo>
                      <a:pt x="363" y="45"/>
                    </a:lnTo>
                    <a:lnTo>
                      <a:pt x="378" y="45"/>
                    </a:lnTo>
                    <a:lnTo>
                      <a:pt x="378" y="38"/>
                    </a:lnTo>
                    <a:lnTo>
                      <a:pt x="401" y="28"/>
                    </a:lnTo>
                    <a:lnTo>
                      <a:pt x="401" y="17"/>
                    </a:lnTo>
                    <a:lnTo>
                      <a:pt x="427" y="17"/>
                    </a:lnTo>
                    <a:lnTo>
                      <a:pt x="427" y="28"/>
                    </a:lnTo>
                    <a:lnTo>
                      <a:pt x="439" y="54"/>
                    </a:lnTo>
                    <a:lnTo>
                      <a:pt x="439" y="71"/>
                    </a:lnTo>
                    <a:lnTo>
                      <a:pt x="448" y="71"/>
                    </a:lnTo>
                    <a:lnTo>
                      <a:pt x="448" y="83"/>
                    </a:lnTo>
                    <a:lnTo>
                      <a:pt x="470" y="95"/>
                    </a:lnTo>
                    <a:lnTo>
                      <a:pt x="448" y="128"/>
                    </a:lnTo>
                    <a:lnTo>
                      <a:pt x="465" y="116"/>
                    </a:lnTo>
                    <a:lnTo>
                      <a:pt x="481" y="116"/>
                    </a:lnTo>
                    <a:lnTo>
                      <a:pt x="481" y="154"/>
                    </a:lnTo>
                    <a:lnTo>
                      <a:pt x="491" y="165"/>
                    </a:lnTo>
                    <a:lnTo>
                      <a:pt x="491" y="182"/>
                    </a:lnTo>
                    <a:lnTo>
                      <a:pt x="486" y="194"/>
                    </a:lnTo>
                    <a:lnTo>
                      <a:pt x="486" y="227"/>
                    </a:lnTo>
                    <a:lnTo>
                      <a:pt x="491" y="236"/>
                    </a:lnTo>
                    <a:lnTo>
                      <a:pt x="503" y="236"/>
                    </a:lnTo>
                    <a:lnTo>
                      <a:pt x="503" y="248"/>
                    </a:lnTo>
                    <a:lnTo>
                      <a:pt x="519" y="260"/>
                    </a:lnTo>
                    <a:lnTo>
                      <a:pt x="503" y="260"/>
                    </a:lnTo>
                    <a:lnTo>
                      <a:pt x="503" y="276"/>
                    </a:lnTo>
                    <a:lnTo>
                      <a:pt x="519" y="293"/>
                    </a:lnTo>
                    <a:lnTo>
                      <a:pt x="519" y="302"/>
                    </a:lnTo>
                    <a:lnTo>
                      <a:pt x="519" y="302"/>
                    </a:lnTo>
                    <a:lnTo>
                      <a:pt x="507" y="298"/>
                    </a:lnTo>
                    <a:lnTo>
                      <a:pt x="481" y="298"/>
                    </a:lnTo>
                    <a:lnTo>
                      <a:pt x="481" y="319"/>
                    </a:lnTo>
                    <a:lnTo>
                      <a:pt x="491" y="319"/>
                    </a:lnTo>
                    <a:lnTo>
                      <a:pt x="503" y="336"/>
                    </a:lnTo>
                    <a:lnTo>
                      <a:pt x="491" y="331"/>
                    </a:lnTo>
                    <a:lnTo>
                      <a:pt x="481" y="369"/>
                    </a:lnTo>
                    <a:lnTo>
                      <a:pt x="470" y="359"/>
                    </a:lnTo>
                    <a:lnTo>
                      <a:pt x="465" y="369"/>
                    </a:lnTo>
                    <a:lnTo>
                      <a:pt x="453" y="359"/>
                    </a:lnTo>
                    <a:lnTo>
                      <a:pt x="448" y="359"/>
                    </a:lnTo>
                    <a:lnTo>
                      <a:pt x="439" y="385"/>
                    </a:lnTo>
                    <a:lnTo>
                      <a:pt x="415" y="390"/>
                    </a:lnTo>
                    <a:lnTo>
                      <a:pt x="401" y="376"/>
                    </a:lnTo>
                    <a:lnTo>
                      <a:pt x="394" y="385"/>
                    </a:lnTo>
                    <a:lnTo>
                      <a:pt x="401" y="352"/>
                    </a:lnTo>
                    <a:lnTo>
                      <a:pt x="394" y="314"/>
                    </a:lnTo>
                    <a:lnTo>
                      <a:pt x="373" y="298"/>
                    </a:lnTo>
                    <a:lnTo>
                      <a:pt x="340" y="298"/>
                    </a:lnTo>
                    <a:lnTo>
                      <a:pt x="309" y="314"/>
                    </a:lnTo>
                    <a:lnTo>
                      <a:pt x="323" y="281"/>
                    </a:lnTo>
                    <a:lnTo>
                      <a:pt x="318" y="276"/>
                    </a:lnTo>
                    <a:lnTo>
                      <a:pt x="318" y="260"/>
                    </a:lnTo>
                    <a:lnTo>
                      <a:pt x="302" y="260"/>
                    </a:lnTo>
                    <a:lnTo>
                      <a:pt x="309" y="243"/>
                    </a:lnTo>
                    <a:lnTo>
                      <a:pt x="271" y="187"/>
                    </a:lnTo>
                    <a:lnTo>
                      <a:pt x="222" y="187"/>
                    </a:lnTo>
                    <a:lnTo>
                      <a:pt x="222" y="194"/>
                    </a:lnTo>
                    <a:lnTo>
                      <a:pt x="210" y="203"/>
                    </a:lnTo>
                    <a:lnTo>
                      <a:pt x="200" y="194"/>
                    </a:lnTo>
                    <a:lnTo>
                      <a:pt x="184" y="194"/>
                    </a:lnTo>
                    <a:lnTo>
                      <a:pt x="167" y="236"/>
                    </a:lnTo>
                    <a:lnTo>
                      <a:pt x="146" y="243"/>
                    </a:lnTo>
                    <a:lnTo>
                      <a:pt x="141" y="260"/>
                    </a:lnTo>
                    <a:lnTo>
                      <a:pt x="125" y="260"/>
                    </a:lnTo>
                    <a:lnTo>
                      <a:pt x="125" y="248"/>
                    </a:lnTo>
                    <a:lnTo>
                      <a:pt x="108" y="227"/>
                    </a:lnTo>
                    <a:lnTo>
                      <a:pt x="108" y="220"/>
                    </a:lnTo>
                    <a:lnTo>
                      <a:pt x="108" y="227"/>
                    </a:lnTo>
                    <a:lnTo>
                      <a:pt x="104" y="220"/>
                    </a:lnTo>
                    <a:lnTo>
                      <a:pt x="104" y="210"/>
                    </a:lnTo>
                    <a:lnTo>
                      <a:pt x="104" y="203"/>
                    </a:lnTo>
                    <a:lnTo>
                      <a:pt x="104" y="210"/>
                    </a:lnTo>
                    <a:lnTo>
                      <a:pt x="92" y="210"/>
                    </a:lnTo>
                    <a:lnTo>
                      <a:pt x="104" y="194"/>
                    </a:lnTo>
                    <a:lnTo>
                      <a:pt x="87" y="203"/>
                    </a:lnTo>
                    <a:lnTo>
                      <a:pt x="49" y="170"/>
                    </a:lnTo>
                    <a:lnTo>
                      <a:pt x="37" y="154"/>
                    </a:lnTo>
                    <a:lnTo>
                      <a:pt x="33" y="154"/>
                    </a:lnTo>
                    <a:lnTo>
                      <a:pt x="37" y="132"/>
                    </a:lnTo>
                    <a:lnTo>
                      <a:pt x="21" y="149"/>
                    </a:lnTo>
                    <a:lnTo>
                      <a:pt x="16" y="128"/>
                    </a:lnTo>
                    <a:lnTo>
                      <a:pt x="21" y="116"/>
                    </a:lnTo>
                    <a:lnTo>
                      <a:pt x="16" y="116"/>
                    </a:lnTo>
                    <a:lnTo>
                      <a:pt x="4" y="132"/>
                    </a:lnTo>
                    <a:lnTo>
                      <a:pt x="0" y="132"/>
                    </a:lnTo>
                    <a:lnTo>
                      <a:pt x="0" y="128"/>
                    </a:lnTo>
                    <a:lnTo>
                      <a:pt x="0" y="128"/>
                    </a:lnTo>
                    <a:lnTo>
                      <a:pt x="0" y="12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45" name="Freeform 460">
                <a:extLst>
                  <a:ext uri="{FF2B5EF4-FFF2-40B4-BE49-F238E27FC236}">
                    <a16:creationId xmlns:a16="http://schemas.microsoft.com/office/drawing/2014/main" id="{9E9668C7-20FB-482A-A196-20FCBC4D0DA8}"/>
                  </a:ext>
                </a:extLst>
              </p:cNvPr>
              <p:cNvSpPr>
                <a:spLocks/>
              </p:cNvSpPr>
              <p:nvPr/>
            </p:nvSpPr>
            <p:spPr bwMode="gray">
              <a:xfrm>
                <a:off x="7713009" y="3097941"/>
                <a:ext cx="9057" cy="8646"/>
              </a:xfrm>
              <a:custGeom>
                <a:avLst/>
                <a:gdLst>
                  <a:gd name="T0" fmla="*/ 22 w 22"/>
                  <a:gd name="T1" fmla="*/ 0 h 21"/>
                  <a:gd name="T2" fmla="*/ 22 w 22"/>
                  <a:gd name="T3" fmla="*/ 0 h 21"/>
                  <a:gd name="T4" fmla="*/ 10 w 22"/>
                  <a:gd name="T5" fmla="*/ 21 h 21"/>
                  <a:gd name="T6" fmla="*/ 0 w 22"/>
                  <a:gd name="T7" fmla="*/ 14 h 21"/>
                  <a:gd name="T8" fmla="*/ 22 w 22"/>
                  <a:gd name="T9" fmla="*/ 0 h 21"/>
                  <a:gd name="T10" fmla="*/ 22 w 22"/>
                  <a:gd name="T11" fmla="*/ 0 h 21"/>
                  <a:gd name="T12" fmla="*/ 22 w 2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22" y="0"/>
                    </a:moveTo>
                    <a:lnTo>
                      <a:pt x="22" y="0"/>
                    </a:lnTo>
                    <a:lnTo>
                      <a:pt x="10" y="21"/>
                    </a:lnTo>
                    <a:lnTo>
                      <a:pt x="0" y="14"/>
                    </a:lnTo>
                    <a:lnTo>
                      <a:pt x="22" y="0"/>
                    </a:lnTo>
                    <a:lnTo>
                      <a:pt x="22" y="0"/>
                    </a:lnTo>
                    <a:lnTo>
                      <a:pt x="22"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46" name="Freeform 462">
                <a:extLst>
                  <a:ext uri="{FF2B5EF4-FFF2-40B4-BE49-F238E27FC236}">
                    <a16:creationId xmlns:a16="http://schemas.microsoft.com/office/drawing/2014/main" id="{0F07981A-7B46-4E76-A249-6FDC46DA8FBE}"/>
                  </a:ext>
                </a:extLst>
              </p:cNvPr>
              <p:cNvSpPr>
                <a:spLocks/>
              </p:cNvSpPr>
              <p:nvPr/>
            </p:nvSpPr>
            <p:spPr bwMode="gray">
              <a:xfrm>
                <a:off x="8840161" y="5802503"/>
                <a:ext cx="17702" cy="8646"/>
              </a:xfrm>
              <a:custGeom>
                <a:avLst/>
                <a:gdLst>
                  <a:gd name="T0" fmla="*/ 43 w 43"/>
                  <a:gd name="T1" fmla="*/ 17 h 21"/>
                  <a:gd name="T2" fmla="*/ 14 w 43"/>
                  <a:gd name="T3" fmla="*/ 21 h 21"/>
                  <a:gd name="T4" fmla="*/ 0 w 43"/>
                  <a:gd name="T5" fmla="*/ 0 h 21"/>
                  <a:gd name="T6" fmla="*/ 43 w 43"/>
                  <a:gd name="T7" fmla="*/ 17 h 21"/>
                  <a:gd name="T8" fmla="*/ 43 w 43"/>
                  <a:gd name="T9" fmla="*/ 17 h 21"/>
                  <a:gd name="T10" fmla="*/ 43 w 43"/>
                  <a:gd name="T11" fmla="*/ 17 h 21"/>
                </a:gdLst>
                <a:ahLst/>
                <a:cxnLst>
                  <a:cxn ang="0">
                    <a:pos x="T0" y="T1"/>
                  </a:cxn>
                  <a:cxn ang="0">
                    <a:pos x="T2" y="T3"/>
                  </a:cxn>
                  <a:cxn ang="0">
                    <a:pos x="T4" y="T5"/>
                  </a:cxn>
                  <a:cxn ang="0">
                    <a:pos x="T6" y="T7"/>
                  </a:cxn>
                  <a:cxn ang="0">
                    <a:pos x="T8" y="T9"/>
                  </a:cxn>
                  <a:cxn ang="0">
                    <a:pos x="T10" y="T11"/>
                  </a:cxn>
                </a:cxnLst>
                <a:rect l="0" t="0" r="r" b="b"/>
                <a:pathLst>
                  <a:path w="43" h="21">
                    <a:moveTo>
                      <a:pt x="43" y="17"/>
                    </a:moveTo>
                    <a:lnTo>
                      <a:pt x="14" y="21"/>
                    </a:lnTo>
                    <a:lnTo>
                      <a:pt x="0" y="0"/>
                    </a:lnTo>
                    <a:lnTo>
                      <a:pt x="43" y="17"/>
                    </a:lnTo>
                    <a:lnTo>
                      <a:pt x="43" y="17"/>
                    </a:lnTo>
                    <a:lnTo>
                      <a:pt x="43"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47" name="Freeform 470">
                <a:extLst>
                  <a:ext uri="{FF2B5EF4-FFF2-40B4-BE49-F238E27FC236}">
                    <a16:creationId xmlns:a16="http://schemas.microsoft.com/office/drawing/2014/main" id="{F0DD9C46-7EC3-4AD3-9037-0BC71755047C}"/>
                  </a:ext>
                </a:extLst>
              </p:cNvPr>
              <p:cNvSpPr>
                <a:spLocks/>
              </p:cNvSpPr>
              <p:nvPr/>
            </p:nvSpPr>
            <p:spPr bwMode="gray">
              <a:xfrm>
                <a:off x="8815050" y="4277508"/>
                <a:ext cx="3705" cy="6999"/>
              </a:xfrm>
              <a:custGeom>
                <a:avLst/>
                <a:gdLst>
                  <a:gd name="T0" fmla="*/ 9 w 9"/>
                  <a:gd name="T1" fmla="*/ 17 h 17"/>
                  <a:gd name="T2" fmla="*/ 0 w 9"/>
                  <a:gd name="T3" fmla="*/ 12 h 17"/>
                  <a:gd name="T4" fmla="*/ 9 w 9"/>
                  <a:gd name="T5" fmla="*/ 17 h 17"/>
                  <a:gd name="T6" fmla="*/ 9 w 9"/>
                  <a:gd name="T7" fmla="*/ 0 h 17"/>
                  <a:gd name="T8" fmla="*/ 9 w 9"/>
                  <a:gd name="T9" fmla="*/ 12 h 17"/>
                  <a:gd name="T10" fmla="*/ 9 w 9"/>
                  <a:gd name="T11" fmla="*/ 17 h 17"/>
                  <a:gd name="T12" fmla="*/ 9 w 9"/>
                  <a:gd name="T13" fmla="*/ 17 h 17"/>
                  <a:gd name="T14" fmla="*/ 9 w 9"/>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7">
                    <a:moveTo>
                      <a:pt x="9" y="17"/>
                    </a:moveTo>
                    <a:lnTo>
                      <a:pt x="0" y="12"/>
                    </a:lnTo>
                    <a:lnTo>
                      <a:pt x="9" y="17"/>
                    </a:lnTo>
                    <a:lnTo>
                      <a:pt x="9" y="0"/>
                    </a:lnTo>
                    <a:lnTo>
                      <a:pt x="9" y="12"/>
                    </a:lnTo>
                    <a:lnTo>
                      <a:pt x="9" y="17"/>
                    </a:lnTo>
                    <a:lnTo>
                      <a:pt x="9" y="17"/>
                    </a:lnTo>
                    <a:lnTo>
                      <a:pt x="9"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48" name="Freeform 471">
                <a:extLst>
                  <a:ext uri="{FF2B5EF4-FFF2-40B4-BE49-F238E27FC236}">
                    <a16:creationId xmlns:a16="http://schemas.microsoft.com/office/drawing/2014/main" id="{BC481D8E-A5D1-4DCB-B799-00C6315AF921}"/>
                  </a:ext>
                </a:extLst>
              </p:cNvPr>
              <p:cNvSpPr>
                <a:spLocks noEditPoints="1"/>
              </p:cNvSpPr>
              <p:nvPr/>
            </p:nvSpPr>
            <p:spPr bwMode="gray">
              <a:xfrm>
                <a:off x="7995003" y="2821679"/>
                <a:ext cx="560283" cy="484178"/>
              </a:xfrm>
              <a:custGeom>
                <a:avLst/>
                <a:gdLst>
                  <a:gd name="T0" fmla="*/ 1252 w 1361"/>
                  <a:gd name="T1" fmla="*/ 711 h 1176"/>
                  <a:gd name="T2" fmla="*/ 1238 w 1361"/>
                  <a:gd name="T3" fmla="*/ 893 h 1176"/>
                  <a:gd name="T4" fmla="*/ 1323 w 1361"/>
                  <a:gd name="T5" fmla="*/ 933 h 1176"/>
                  <a:gd name="T6" fmla="*/ 1361 w 1361"/>
                  <a:gd name="T7" fmla="*/ 1021 h 1176"/>
                  <a:gd name="T8" fmla="*/ 1297 w 1361"/>
                  <a:gd name="T9" fmla="*/ 1061 h 1176"/>
                  <a:gd name="T10" fmla="*/ 1252 w 1361"/>
                  <a:gd name="T11" fmla="*/ 1094 h 1176"/>
                  <a:gd name="T12" fmla="*/ 1222 w 1361"/>
                  <a:gd name="T13" fmla="*/ 1176 h 1176"/>
                  <a:gd name="T14" fmla="*/ 1163 w 1361"/>
                  <a:gd name="T15" fmla="*/ 1165 h 1176"/>
                  <a:gd name="T16" fmla="*/ 1059 w 1361"/>
                  <a:gd name="T17" fmla="*/ 1155 h 1176"/>
                  <a:gd name="T18" fmla="*/ 983 w 1361"/>
                  <a:gd name="T19" fmla="*/ 1132 h 1176"/>
                  <a:gd name="T20" fmla="*/ 898 w 1361"/>
                  <a:gd name="T21" fmla="*/ 1021 h 1176"/>
                  <a:gd name="T22" fmla="*/ 823 w 1361"/>
                  <a:gd name="T23" fmla="*/ 1028 h 1176"/>
                  <a:gd name="T24" fmla="*/ 730 w 1361"/>
                  <a:gd name="T25" fmla="*/ 1054 h 1176"/>
                  <a:gd name="T26" fmla="*/ 605 w 1361"/>
                  <a:gd name="T27" fmla="*/ 999 h 1176"/>
                  <a:gd name="T28" fmla="*/ 525 w 1361"/>
                  <a:gd name="T29" fmla="*/ 954 h 1176"/>
                  <a:gd name="T30" fmla="*/ 482 w 1361"/>
                  <a:gd name="T31" fmla="*/ 876 h 1176"/>
                  <a:gd name="T32" fmla="*/ 466 w 1361"/>
                  <a:gd name="T33" fmla="*/ 839 h 1176"/>
                  <a:gd name="T34" fmla="*/ 390 w 1361"/>
                  <a:gd name="T35" fmla="*/ 782 h 1176"/>
                  <a:gd name="T36" fmla="*/ 374 w 1361"/>
                  <a:gd name="T37" fmla="*/ 761 h 1176"/>
                  <a:gd name="T38" fmla="*/ 319 w 1361"/>
                  <a:gd name="T39" fmla="*/ 798 h 1176"/>
                  <a:gd name="T40" fmla="*/ 286 w 1361"/>
                  <a:gd name="T41" fmla="*/ 721 h 1176"/>
                  <a:gd name="T42" fmla="*/ 244 w 1361"/>
                  <a:gd name="T43" fmla="*/ 610 h 1176"/>
                  <a:gd name="T44" fmla="*/ 147 w 1361"/>
                  <a:gd name="T45" fmla="*/ 560 h 1176"/>
                  <a:gd name="T46" fmla="*/ 142 w 1361"/>
                  <a:gd name="T47" fmla="*/ 510 h 1176"/>
                  <a:gd name="T48" fmla="*/ 104 w 1361"/>
                  <a:gd name="T49" fmla="*/ 473 h 1176"/>
                  <a:gd name="T50" fmla="*/ 109 w 1361"/>
                  <a:gd name="T51" fmla="*/ 428 h 1176"/>
                  <a:gd name="T52" fmla="*/ 142 w 1361"/>
                  <a:gd name="T53" fmla="*/ 390 h 1176"/>
                  <a:gd name="T54" fmla="*/ 142 w 1361"/>
                  <a:gd name="T55" fmla="*/ 338 h 1176"/>
                  <a:gd name="T56" fmla="*/ 119 w 1361"/>
                  <a:gd name="T57" fmla="*/ 317 h 1176"/>
                  <a:gd name="T58" fmla="*/ 71 w 1361"/>
                  <a:gd name="T59" fmla="*/ 267 h 1176"/>
                  <a:gd name="T60" fmla="*/ 55 w 1361"/>
                  <a:gd name="T61" fmla="*/ 222 h 1176"/>
                  <a:gd name="T62" fmla="*/ 17 w 1361"/>
                  <a:gd name="T63" fmla="*/ 156 h 1176"/>
                  <a:gd name="T64" fmla="*/ 17 w 1361"/>
                  <a:gd name="T65" fmla="*/ 66 h 1176"/>
                  <a:gd name="T66" fmla="*/ 34 w 1361"/>
                  <a:gd name="T67" fmla="*/ 7 h 1176"/>
                  <a:gd name="T68" fmla="*/ 93 w 1361"/>
                  <a:gd name="T69" fmla="*/ 45 h 1176"/>
                  <a:gd name="T70" fmla="*/ 201 w 1361"/>
                  <a:gd name="T71" fmla="*/ 45 h 1176"/>
                  <a:gd name="T72" fmla="*/ 303 w 1361"/>
                  <a:gd name="T73" fmla="*/ 62 h 1176"/>
                  <a:gd name="T74" fmla="*/ 308 w 1361"/>
                  <a:gd name="T75" fmla="*/ 95 h 1176"/>
                  <a:gd name="T76" fmla="*/ 357 w 1361"/>
                  <a:gd name="T77" fmla="*/ 173 h 1176"/>
                  <a:gd name="T78" fmla="*/ 504 w 1361"/>
                  <a:gd name="T79" fmla="*/ 250 h 1176"/>
                  <a:gd name="T80" fmla="*/ 697 w 1361"/>
                  <a:gd name="T81" fmla="*/ 246 h 1176"/>
                  <a:gd name="T82" fmla="*/ 719 w 1361"/>
                  <a:gd name="T83" fmla="*/ 206 h 1176"/>
                  <a:gd name="T84" fmla="*/ 806 w 1361"/>
                  <a:gd name="T85" fmla="*/ 139 h 1176"/>
                  <a:gd name="T86" fmla="*/ 874 w 1361"/>
                  <a:gd name="T87" fmla="*/ 123 h 1176"/>
                  <a:gd name="T88" fmla="*/ 945 w 1361"/>
                  <a:gd name="T89" fmla="*/ 151 h 1176"/>
                  <a:gd name="T90" fmla="*/ 1075 w 1361"/>
                  <a:gd name="T91" fmla="*/ 189 h 1176"/>
                  <a:gd name="T92" fmla="*/ 1205 w 1361"/>
                  <a:gd name="T93" fmla="*/ 262 h 1176"/>
                  <a:gd name="T94" fmla="*/ 1189 w 1361"/>
                  <a:gd name="T95" fmla="*/ 428 h 1176"/>
                  <a:gd name="T96" fmla="*/ 1163 w 1361"/>
                  <a:gd name="T97" fmla="*/ 465 h 1176"/>
                  <a:gd name="T98" fmla="*/ 1184 w 1361"/>
                  <a:gd name="T99" fmla="*/ 617 h 1176"/>
                  <a:gd name="T100" fmla="*/ 865 w 1361"/>
                  <a:gd name="T101" fmla="*/ 1037 h 1176"/>
                  <a:gd name="T102" fmla="*/ 827 w 1361"/>
                  <a:gd name="T103" fmla="*/ 1044 h 1176"/>
                  <a:gd name="T104" fmla="*/ 865 w 1361"/>
                  <a:gd name="T105" fmla="*/ 1037 h 1176"/>
                  <a:gd name="T106" fmla="*/ 823 w 1361"/>
                  <a:gd name="T107" fmla="*/ 1044 h 1176"/>
                  <a:gd name="T108" fmla="*/ 697 w 1361"/>
                  <a:gd name="T109" fmla="*/ 1065 h 1176"/>
                  <a:gd name="T110" fmla="*/ 702 w 1361"/>
                  <a:gd name="T111" fmla="*/ 1065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61" h="1176">
                    <a:moveTo>
                      <a:pt x="1184" y="638"/>
                    </a:moveTo>
                    <a:lnTo>
                      <a:pt x="1184" y="678"/>
                    </a:lnTo>
                    <a:lnTo>
                      <a:pt x="1243" y="687"/>
                    </a:lnTo>
                    <a:lnTo>
                      <a:pt x="1252" y="711"/>
                    </a:lnTo>
                    <a:lnTo>
                      <a:pt x="1243" y="732"/>
                    </a:lnTo>
                    <a:lnTo>
                      <a:pt x="1184" y="806"/>
                    </a:lnTo>
                    <a:lnTo>
                      <a:pt x="1215" y="843"/>
                    </a:lnTo>
                    <a:lnTo>
                      <a:pt x="1238" y="893"/>
                    </a:lnTo>
                    <a:lnTo>
                      <a:pt x="1260" y="910"/>
                    </a:lnTo>
                    <a:lnTo>
                      <a:pt x="1290" y="917"/>
                    </a:lnTo>
                    <a:lnTo>
                      <a:pt x="1307" y="933"/>
                    </a:lnTo>
                    <a:lnTo>
                      <a:pt x="1323" y="933"/>
                    </a:lnTo>
                    <a:lnTo>
                      <a:pt x="1323" y="999"/>
                    </a:lnTo>
                    <a:lnTo>
                      <a:pt x="1323" y="1011"/>
                    </a:lnTo>
                    <a:lnTo>
                      <a:pt x="1349" y="1004"/>
                    </a:lnTo>
                    <a:lnTo>
                      <a:pt x="1361" y="1021"/>
                    </a:lnTo>
                    <a:lnTo>
                      <a:pt x="1349" y="1021"/>
                    </a:lnTo>
                    <a:lnTo>
                      <a:pt x="1345" y="1061"/>
                    </a:lnTo>
                    <a:lnTo>
                      <a:pt x="1323" y="1061"/>
                    </a:lnTo>
                    <a:lnTo>
                      <a:pt x="1297" y="1061"/>
                    </a:lnTo>
                    <a:lnTo>
                      <a:pt x="1281" y="1065"/>
                    </a:lnTo>
                    <a:lnTo>
                      <a:pt x="1281" y="1077"/>
                    </a:lnTo>
                    <a:lnTo>
                      <a:pt x="1276" y="1077"/>
                    </a:lnTo>
                    <a:lnTo>
                      <a:pt x="1252" y="1094"/>
                    </a:lnTo>
                    <a:lnTo>
                      <a:pt x="1252" y="1120"/>
                    </a:lnTo>
                    <a:lnTo>
                      <a:pt x="1243" y="1120"/>
                    </a:lnTo>
                    <a:lnTo>
                      <a:pt x="1238" y="1172"/>
                    </a:lnTo>
                    <a:lnTo>
                      <a:pt x="1222" y="1176"/>
                    </a:lnTo>
                    <a:lnTo>
                      <a:pt x="1167" y="1165"/>
                    </a:lnTo>
                    <a:lnTo>
                      <a:pt x="1163" y="1148"/>
                    </a:lnTo>
                    <a:lnTo>
                      <a:pt x="1151" y="1155"/>
                    </a:lnTo>
                    <a:lnTo>
                      <a:pt x="1163" y="1165"/>
                    </a:lnTo>
                    <a:lnTo>
                      <a:pt x="1146" y="1155"/>
                    </a:lnTo>
                    <a:lnTo>
                      <a:pt x="1097" y="1155"/>
                    </a:lnTo>
                    <a:lnTo>
                      <a:pt x="1092" y="1148"/>
                    </a:lnTo>
                    <a:lnTo>
                      <a:pt x="1059" y="1155"/>
                    </a:lnTo>
                    <a:lnTo>
                      <a:pt x="1042" y="1139"/>
                    </a:lnTo>
                    <a:lnTo>
                      <a:pt x="1011" y="1139"/>
                    </a:lnTo>
                    <a:lnTo>
                      <a:pt x="1000" y="1139"/>
                    </a:lnTo>
                    <a:lnTo>
                      <a:pt x="983" y="1132"/>
                    </a:lnTo>
                    <a:lnTo>
                      <a:pt x="936" y="1120"/>
                    </a:lnTo>
                    <a:lnTo>
                      <a:pt x="929" y="1098"/>
                    </a:lnTo>
                    <a:lnTo>
                      <a:pt x="912" y="1044"/>
                    </a:lnTo>
                    <a:lnTo>
                      <a:pt x="898" y="1021"/>
                    </a:lnTo>
                    <a:lnTo>
                      <a:pt x="891" y="1021"/>
                    </a:lnTo>
                    <a:lnTo>
                      <a:pt x="849" y="1021"/>
                    </a:lnTo>
                    <a:lnTo>
                      <a:pt x="844" y="1028"/>
                    </a:lnTo>
                    <a:lnTo>
                      <a:pt x="823" y="1028"/>
                    </a:lnTo>
                    <a:lnTo>
                      <a:pt x="811" y="1044"/>
                    </a:lnTo>
                    <a:lnTo>
                      <a:pt x="789" y="1044"/>
                    </a:lnTo>
                    <a:lnTo>
                      <a:pt x="756" y="1065"/>
                    </a:lnTo>
                    <a:lnTo>
                      <a:pt x="730" y="1054"/>
                    </a:lnTo>
                    <a:lnTo>
                      <a:pt x="686" y="1054"/>
                    </a:lnTo>
                    <a:lnTo>
                      <a:pt x="660" y="1028"/>
                    </a:lnTo>
                    <a:lnTo>
                      <a:pt x="605" y="1004"/>
                    </a:lnTo>
                    <a:lnTo>
                      <a:pt x="605" y="999"/>
                    </a:lnTo>
                    <a:lnTo>
                      <a:pt x="596" y="983"/>
                    </a:lnTo>
                    <a:lnTo>
                      <a:pt x="567" y="966"/>
                    </a:lnTo>
                    <a:lnTo>
                      <a:pt x="534" y="966"/>
                    </a:lnTo>
                    <a:lnTo>
                      <a:pt x="525" y="954"/>
                    </a:lnTo>
                    <a:lnTo>
                      <a:pt x="497" y="910"/>
                    </a:lnTo>
                    <a:lnTo>
                      <a:pt x="497" y="893"/>
                    </a:lnTo>
                    <a:lnTo>
                      <a:pt x="482" y="876"/>
                    </a:lnTo>
                    <a:lnTo>
                      <a:pt x="482" y="876"/>
                    </a:lnTo>
                    <a:lnTo>
                      <a:pt x="487" y="876"/>
                    </a:lnTo>
                    <a:lnTo>
                      <a:pt x="487" y="872"/>
                    </a:lnTo>
                    <a:lnTo>
                      <a:pt x="466" y="860"/>
                    </a:lnTo>
                    <a:lnTo>
                      <a:pt x="466" y="839"/>
                    </a:lnTo>
                    <a:lnTo>
                      <a:pt x="433" y="798"/>
                    </a:lnTo>
                    <a:lnTo>
                      <a:pt x="428" y="777"/>
                    </a:lnTo>
                    <a:lnTo>
                      <a:pt x="390" y="789"/>
                    </a:lnTo>
                    <a:lnTo>
                      <a:pt x="390" y="782"/>
                    </a:lnTo>
                    <a:lnTo>
                      <a:pt x="357" y="777"/>
                    </a:lnTo>
                    <a:lnTo>
                      <a:pt x="352" y="765"/>
                    </a:lnTo>
                    <a:lnTo>
                      <a:pt x="362" y="765"/>
                    </a:lnTo>
                    <a:lnTo>
                      <a:pt x="374" y="761"/>
                    </a:lnTo>
                    <a:lnTo>
                      <a:pt x="352" y="749"/>
                    </a:lnTo>
                    <a:lnTo>
                      <a:pt x="341" y="765"/>
                    </a:lnTo>
                    <a:lnTo>
                      <a:pt x="352" y="789"/>
                    </a:lnTo>
                    <a:lnTo>
                      <a:pt x="319" y="798"/>
                    </a:lnTo>
                    <a:lnTo>
                      <a:pt x="308" y="798"/>
                    </a:lnTo>
                    <a:lnTo>
                      <a:pt x="308" y="777"/>
                    </a:lnTo>
                    <a:lnTo>
                      <a:pt x="286" y="761"/>
                    </a:lnTo>
                    <a:lnTo>
                      <a:pt x="286" y="721"/>
                    </a:lnTo>
                    <a:lnTo>
                      <a:pt x="265" y="721"/>
                    </a:lnTo>
                    <a:lnTo>
                      <a:pt x="265" y="678"/>
                    </a:lnTo>
                    <a:lnTo>
                      <a:pt x="270" y="654"/>
                    </a:lnTo>
                    <a:lnTo>
                      <a:pt x="244" y="610"/>
                    </a:lnTo>
                    <a:lnTo>
                      <a:pt x="244" y="600"/>
                    </a:lnTo>
                    <a:lnTo>
                      <a:pt x="227" y="600"/>
                    </a:lnTo>
                    <a:lnTo>
                      <a:pt x="173" y="560"/>
                    </a:lnTo>
                    <a:lnTo>
                      <a:pt x="147" y="560"/>
                    </a:lnTo>
                    <a:lnTo>
                      <a:pt x="156" y="539"/>
                    </a:lnTo>
                    <a:lnTo>
                      <a:pt x="142" y="510"/>
                    </a:lnTo>
                    <a:lnTo>
                      <a:pt x="135" y="510"/>
                    </a:lnTo>
                    <a:lnTo>
                      <a:pt x="142" y="510"/>
                    </a:lnTo>
                    <a:lnTo>
                      <a:pt x="135" y="506"/>
                    </a:lnTo>
                    <a:lnTo>
                      <a:pt x="126" y="506"/>
                    </a:lnTo>
                    <a:lnTo>
                      <a:pt x="109" y="482"/>
                    </a:lnTo>
                    <a:lnTo>
                      <a:pt x="104" y="473"/>
                    </a:lnTo>
                    <a:lnTo>
                      <a:pt x="109" y="465"/>
                    </a:lnTo>
                    <a:lnTo>
                      <a:pt x="109" y="449"/>
                    </a:lnTo>
                    <a:lnTo>
                      <a:pt x="104" y="432"/>
                    </a:lnTo>
                    <a:lnTo>
                      <a:pt x="109" y="428"/>
                    </a:lnTo>
                    <a:lnTo>
                      <a:pt x="126" y="432"/>
                    </a:lnTo>
                    <a:lnTo>
                      <a:pt x="119" y="416"/>
                    </a:lnTo>
                    <a:lnTo>
                      <a:pt x="135" y="399"/>
                    </a:lnTo>
                    <a:lnTo>
                      <a:pt x="142" y="390"/>
                    </a:lnTo>
                    <a:lnTo>
                      <a:pt x="156" y="390"/>
                    </a:lnTo>
                    <a:lnTo>
                      <a:pt x="156" y="378"/>
                    </a:lnTo>
                    <a:lnTo>
                      <a:pt x="142" y="354"/>
                    </a:lnTo>
                    <a:lnTo>
                      <a:pt x="142" y="338"/>
                    </a:lnTo>
                    <a:lnTo>
                      <a:pt x="163" y="333"/>
                    </a:lnTo>
                    <a:lnTo>
                      <a:pt x="147" y="321"/>
                    </a:lnTo>
                    <a:lnTo>
                      <a:pt x="126" y="333"/>
                    </a:lnTo>
                    <a:lnTo>
                      <a:pt x="119" y="317"/>
                    </a:lnTo>
                    <a:lnTo>
                      <a:pt x="104" y="317"/>
                    </a:lnTo>
                    <a:lnTo>
                      <a:pt x="93" y="284"/>
                    </a:lnTo>
                    <a:lnTo>
                      <a:pt x="81" y="279"/>
                    </a:lnTo>
                    <a:lnTo>
                      <a:pt x="71" y="267"/>
                    </a:lnTo>
                    <a:lnTo>
                      <a:pt x="81" y="250"/>
                    </a:lnTo>
                    <a:lnTo>
                      <a:pt x="67" y="246"/>
                    </a:lnTo>
                    <a:lnTo>
                      <a:pt x="67" y="227"/>
                    </a:lnTo>
                    <a:lnTo>
                      <a:pt x="55" y="222"/>
                    </a:lnTo>
                    <a:lnTo>
                      <a:pt x="55" y="206"/>
                    </a:lnTo>
                    <a:lnTo>
                      <a:pt x="38" y="194"/>
                    </a:lnTo>
                    <a:lnTo>
                      <a:pt x="50" y="173"/>
                    </a:lnTo>
                    <a:lnTo>
                      <a:pt x="17" y="156"/>
                    </a:lnTo>
                    <a:lnTo>
                      <a:pt x="34" y="118"/>
                    </a:lnTo>
                    <a:lnTo>
                      <a:pt x="29" y="118"/>
                    </a:lnTo>
                    <a:lnTo>
                      <a:pt x="29" y="78"/>
                    </a:lnTo>
                    <a:lnTo>
                      <a:pt x="17" y="66"/>
                    </a:lnTo>
                    <a:lnTo>
                      <a:pt x="17" y="57"/>
                    </a:lnTo>
                    <a:lnTo>
                      <a:pt x="0" y="28"/>
                    </a:lnTo>
                    <a:lnTo>
                      <a:pt x="34" y="28"/>
                    </a:lnTo>
                    <a:lnTo>
                      <a:pt x="34" y="7"/>
                    </a:lnTo>
                    <a:lnTo>
                      <a:pt x="50" y="0"/>
                    </a:lnTo>
                    <a:lnTo>
                      <a:pt x="55" y="7"/>
                    </a:lnTo>
                    <a:lnTo>
                      <a:pt x="81" y="45"/>
                    </a:lnTo>
                    <a:lnTo>
                      <a:pt x="93" y="45"/>
                    </a:lnTo>
                    <a:lnTo>
                      <a:pt x="104" y="62"/>
                    </a:lnTo>
                    <a:lnTo>
                      <a:pt x="156" y="78"/>
                    </a:lnTo>
                    <a:lnTo>
                      <a:pt x="180" y="66"/>
                    </a:lnTo>
                    <a:lnTo>
                      <a:pt x="201" y="45"/>
                    </a:lnTo>
                    <a:lnTo>
                      <a:pt x="282" y="0"/>
                    </a:lnTo>
                    <a:lnTo>
                      <a:pt x="308" y="28"/>
                    </a:lnTo>
                    <a:lnTo>
                      <a:pt x="286" y="40"/>
                    </a:lnTo>
                    <a:lnTo>
                      <a:pt x="303" y="62"/>
                    </a:lnTo>
                    <a:lnTo>
                      <a:pt x="286" y="66"/>
                    </a:lnTo>
                    <a:lnTo>
                      <a:pt x="286" y="78"/>
                    </a:lnTo>
                    <a:lnTo>
                      <a:pt x="303" y="95"/>
                    </a:lnTo>
                    <a:lnTo>
                      <a:pt x="308" y="95"/>
                    </a:lnTo>
                    <a:lnTo>
                      <a:pt x="324" y="118"/>
                    </a:lnTo>
                    <a:lnTo>
                      <a:pt x="341" y="111"/>
                    </a:lnTo>
                    <a:lnTo>
                      <a:pt x="352" y="156"/>
                    </a:lnTo>
                    <a:lnTo>
                      <a:pt x="357" y="173"/>
                    </a:lnTo>
                    <a:lnTo>
                      <a:pt x="378" y="189"/>
                    </a:lnTo>
                    <a:lnTo>
                      <a:pt x="433" y="194"/>
                    </a:lnTo>
                    <a:lnTo>
                      <a:pt x="449" y="222"/>
                    </a:lnTo>
                    <a:lnTo>
                      <a:pt x="504" y="250"/>
                    </a:lnTo>
                    <a:lnTo>
                      <a:pt x="558" y="267"/>
                    </a:lnTo>
                    <a:lnTo>
                      <a:pt x="702" y="234"/>
                    </a:lnTo>
                    <a:lnTo>
                      <a:pt x="676" y="246"/>
                    </a:lnTo>
                    <a:lnTo>
                      <a:pt x="697" y="246"/>
                    </a:lnTo>
                    <a:lnTo>
                      <a:pt x="702" y="246"/>
                    </a:lnTo>
                    <a:lnTo>
                      <a:pt x="702" y="234"/>
                    </a:lnTo>
                    <a:lnTo>
                      <a:pt x="697" y="206"/>
                    </a:lnTo>
                    <a:lnTo>
                      <a:pt x="719" y="206"/>
                    </a:lnTo>
                    <a:lnTo>
                      <a:pt x="752" y="194"/>
                    </a:lnTo>
                    <a:lnTo>
                      <a:pt x="756" y="189"/>
                    </a:lnTo>
                    <a:lnTo>
                      <a:pt x="768" y="168"/>
                    </a:lnTo>
                    <a:lnTo>
                      <a:pt x="806" y="139"/>
                    </a:lnTo>
                    <a:lnTo>
                      <a:pt x="860" y="139"/>
                    </a:lnTo>
                    <a:lnTo>
                      <a:pt x="865" y="139"/>
                    </a:lnTo>
                    <a:lnTo>
                      <a:pt x="865" y="135"/>
                    </a:lnTo>
                    <a:lnTo>
                      <a:pt x="874" y="123"/>
                    </a:lnTo>
                    <a:lnTo>
                      <a:pt x="898" y="123"/>
                    </a:lnTo>
                    <a:lnTo>
                      <a:pt x="919" y="135"/>
                    </a:lnTo>
                    <a:lnTo>
                      <a:pt x="929" y="123"/>
                    </a:lnTo>
                    <a:lnTo>
                      <a:pt x="945" y="151"/>
                    </a:lnTo>
                    <a:lnTo>
                      <a:pt x="1000" y="168"/>
                    </a:lnTo>
                    <a:lnTo>
                      <a:pt x="1004" y="173"/>
                    </a:lnTo>
                    <a:lnTo>
                      <a:pt x="1054" y="173"/>
                    </a:lnTo>
                    <a:lnTo>
                      <a:pt x="1075" y="189"/>
                    </a:lnTo>
                    <a:lnTo>
                      <a:pt x="1092" y="210"/>
                    </a:lnTo>
                    <a:lnTo>
                      <a:pt x="1130" y="227"/>
                    </a:lnTo>
                    <a:lnTo>
                      <a:pt x="1146" y="262"/>
                    </a:lnTo>
                    <a:lnTo>
                      <a:pt x="1205" y="262"/>
                    </a:lnTo>
                    <a:lnTo>
                      <a:pt x="1215" y="345"/>
                    </a:lnTo>
                    <a:lnTo>
                      <a:pt x="1200" y="373"/>
                    </a:lnTo>
                    <a:lnTo>
                      <a:pt x="1200" y="411"/>
                    </a:lnTo>
                    <a:lnTo>
                      <a:pt x="1189" y="428"/>
                    </a:lnTo>
                    <a:lnTo>
                      <a:pt x="1172" y="432"/>
                    </a:lnTo>
                    <a:lnTo>
                      <a:pt x="1184" y="449"/>
                    </a:lnTo>
                    <a:lnTo>
                      <a:pt x="1167" y="449"/>
                    </a:lnTo>
                    <a:lnTo>
                      <a:pt x="1163" y="465"/>
                    </a:lnTo>
                    <a:lnTo>
                      <a:pt x="1163" y="506"/>
                    </a:lnTo>
                    <a:lnTo>
                      <a:pt x="1189" y="510"/>
                    </a:lnTo>
                    <a:lnTo>
                      <a:pt x="1167" y="543"/>
                    </a:lnTo>
                    <a:lnTo>
                      <a:pt x="1184" y="617"/>
                    </a:lnTo>
                    <a:lnTo>
                      <a:pt x="1184" y="638"/>
                    </a:lnTo>
                    <a:lnTo>
                      <a:pt x="1184" y="638"/>
                    </a:lnTo>
                    <a:lnTo>
                      <a:pt x="1184" y="638"/>
                    </a:lnTo>
                    <a:close/>
                    <a:moveTo>
                      <a:pt x="865" y="1037"/>
                    </a:moveTo>
                    <a:lnTo>
                      <a:pt x="844" y="1054"/>
                    </a:lnTo>
                    <a:lnTo>
                      <a:pt x="794" y="1061"/>
                    </a:lnTo>
                    <a:lnTo>
                      <a:pt x="794" y="1054"/>
                    </a:lnTo>
                    <a:lnTo>
                      <a:pt x="827" y="1044"/>
                    </a:lnTo>
                    <a:lnTo>
                      <a:pt x="827" y="1037"/>
                    </a:lnTo>
                    <a:lnTo>
                      <a:pt x="865" y="1037"/>
                    </a:lnTo>
                    <a:lnTo>
                      <a:pt x="865" y="1037"/>
                    </a:lnTo>
                    <a:lnTo>
                      <a:pt x="865" y="1037"/>
                    </a:lnTo>
                    <a:close/>
                    <a:moveTo>
                      <a:pt x="823" y="1044"/>
                    </a:moveTo>
                    <a:lnTo>
                      <a:pt x="823" y="1044"/>
                    </a:lnTo>
                    <a:lnTo>
                      <a:pt x="823" y="1037"/>
                    </a:lnTo>
                    <a:lnTo>
                      <a:pt x="823" y="1044"/>
                    </a:lnTo>
                    <a:lnTo>
                      <a:pt x="823" y="1044"/>
                    </a:lnTo>
                    <a:lnTo>
                      <a:pt x="823" y="1044"/>
                    </a:lnTo>
                    <a:close/>
                    <a:moveTo>
                      <a:pt x="702" y="1065"/>
                    </a:moveTo>
                    <a:lnTo>
                      <a:pt x="697" y="1065"/>
                    </a:lnTo>
                    <a:lnTo>
                      <a:pt x="702" y="1061"/>
                    </a:lnTo>
                    <a:lnTo>
                      <a:pt x="702" y="1065"/>
                    </a:lnTo>
                    <a:lnTo>
                      <a:pt x="702" y="1065"/>
                    </a:lnTo>
                    <a:lnTo>
                      <a:pt x="702" y="106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49" name="Freeform 472">
                <a:extLst>
                  <a:ext uri="{FF2B5EF4-FFF2-40B4-BE49-F238E27FC236}">
                    <a16:creationId xmlns:a16="http://schemas.microsoft.com/office/drawing/2014/main" id="{1A796708-7F13-4446-A72F-6A89C60B640B}"/>
                  </a:ext>
                </a:extLst>
              </p:cNvPr>
              <p:cNvSpPr>
                <a:spLocks/>
              </p:cNvSpPr>
              <p:nvPr/>
            </p:nvSpPr>
            <p:spPr bwMode="gray">
              <a:xfrm>
                <a:off x="7717948" y="3042360"/>
                <a:ext cx="37050" cy="123515"/>
              </a:xfrm>
              <a:custGeom>
                <a:avLst/>
                <a:gdLst>
                  <a:gd name="T0" fmla="*/ 52 w 90"/>
                  <a:gd name="T1" fmla="*/ 7 h 300"/>
                  <a:gd name="T2" fmla="*/ 73 w 90"/>
                  <a:gd name="T3" fmla="*/ 17 h 300"/>
                  <a:gd name="T4" fmla="*/ 90 w 90"/>
                  <a:gd name="T5" fmla="*/ 0 h 300"/>
                  <a:gd name="T6" fmla="*/ 90 w 90"/>
                  <a:gd name="T7" fmla="*/ 0 h 300"/>
                  <a:gd name="T8" fmla="*/ 90 w 90"/>
                  <a:gd name="T9" fmla="*/ 45 h 300"/>
                  <a:gd name="T10" fmla="*/ 81 w 90"/>
                  <a:gd name="T11" fmla="*/ 45 h 300"/>
                  <a:gd name="T12" fmla="*/ 81 w 90"/>
                  <a:gd name="T13" fmla="*/ 74 h 300"/>
                  <a:gd name="T14" fmla="*/ 59 w 90"/>
                  <a:gd name="T15" fmla="*/ 57 h 300"/>
                  <a:gd name="T16" fmla="*/ 52 w 90"/>
                  <a:gd name="T17" fmla="*/ 62 h 300"/>
                  <a:gd name="T18" fmla="*/ 43 w 90"/>
                  <a:gd name="T19" fmla="*/ 111 h 300"/>
                  <a:gd name="T20" fmla="*/ 59 w 90"/>
                  <a:gd name="T21" fmla="*/ 118 h 300"/>
                  <a:gd name="T22" fmla="*/ 43 w 90"/>
                  <a:gd name="T23" fmla="*/ 128 h 300"/>
                  <a:gd name="T24" fmla="*/ 38 w 90"/>
                  <a:gd name="T25" fmla="*/ 151 h 300"/>
                  <a:gd name="T26" fmla="*/ 52 w 90"/>
                  <a:gd name="T27" fmla="*/ 151 h 300"/>
                  <a:gd name="T28" fmla="*/ 81 w 90"/>
                  <a:gd name="T29" fmla="*/ 140 h 300"/>
                  <a:gd name="T30" fmla="*/ 73 w 90"/>
                  <a:gd name="T31" fmla="*/ 156 h 300"/>
                  <a:gd name="T32" fmla="*/ 73 w 90"/>
                  <a:gd name="T33" fmla="*/ 168 h 300"/>
                  <a:gd name="T34" fmla="*/ 59 w 90"/>
                  <a:gd name="T35" fmla="*/ 222 h 300"/>
                  <a:gd name="T36" fmla="*/ 59 w 90"/>
                  <a:gd name="T37" fmla="*/ 246 h 300"/>
                  <a:gd name="T38" fmla="*/ 43 w 90"/>
                  <a:gd name="T39" fmla="*/ 296 h 300"/>
                  <a:gd name="T40" fmla="*/ 38 w 90"/>
                  <a:gd name="T41" fmla="*/ 300 h 300"/>
                  <a:gd name="T42" fmla="*/ 0 w 90"/>
                  <a:gd name="T43" fmla="*/ 156 h 300"/>
                  <a:gd name="T44" fmla="*/ 10 w 90"/>
                  <a:gd name="T45" fmla="*/ 135 h 300"/>
                  <a:gd name="T46" fmla="*/ 10 w 90"/>
                  <a:gd name="T47" fmla="*/ 135 h 300"/>
                  <a:gd name="T48" fmla="*/ 26 w 90"/>
                  <a:gd name="T49" fmla="*/ 102 h 300"/>
                  <a:gd name="T50" fmla="*/ 43 w 90"/>
                  <a:gd name="T51" fmla="*/ 29 h 300"/>
                  <a:gd name="T52" fmla="*/ 52 w 90"/>
                  <a:gd name="T53" fmla="*/ 29 h 300"/>
                  <a:gd name="T54" fmla="*/ 52 w 90"/>
                  <a:gd name="T55" fmla="*/ 7 h 300"/>
                  <a:gd name="T56" fmla="*/ 52 w 90"/>
                  <a:gd name="T57" fmla="*/ 7 h 300"/>
                  <a:gd name="T58" fmla="*/ 52 w 90"/>
                  <a:gd name="T59" fmla="*/ 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 h="300">
                    <a:moveTo>
                      <a:pt x="52" y="7"/>
                    </a:moveTo>
                    <a:lnTo>
                      <a:pt x="73" y="17"/>
                    </a:lnTo>
                    <a:lnTo>
                      <a:pt x="90" y="0"/>
                    </a:lnTo>
                    <a:lnTo>
                      <a:pt x="90" y="0"/>
                    </a:lnTo>
                    <a:lnTo>
                      <a:pt x="90" y="45"/>
                    </a:lnTo>
                    <a:lnTo>
                      <a:pt x="81" y="45"/>
                    </a:lnTo>
                    <a:lnTo>
                      <a:pt x="81" y="74"/>
                    </a:lnTo>
                    <a:lnTo>
                      <a:pt x="59" y="57"/>
                    </a:lnTo>
                    <a:lnTo>
                      <a:pt x="52" y="62"/>
                    </a:lnTo>
                    <a:lnTo>
                      <a:pt x="43" y="111"/>
                    </a:lnTo>
                    <a:lnTo>
                      <a:pt x="59" y="118"/>
                    </a:lnTo>
                    <a:lnTo>
                      <a:pt x="43" y="128"/>
                    </a:lnTo>
                    <a:lnTo>
                      <a:pt x="38" y="151"/>
                    </a:lnTo>
                    <a:lnTo>
                      <a:pt x="52" y="151"/>
                    </a:lnTo>
                    <a:lnTo>
                      <a:pt x="81" y="140"/>
                    </a:lnTo>
                    <a:lnTo>
                      <a:pt x="73" y="156"/>
                    </a:lnTo>
                    <a:lnTo>
                      <a:pt x="73" y="168"/>
                    </a:lnTo>
                    <a:lnTo>
                      <a:pt x="59" y="222"/>
                    </a:lnTo>
                    <a:lnTo>
                      <a:pt x="59" y="246"/>
                    </a:lnTo>
                    <a:lnTo>
                      <a:pt x="43" y="296"/>
                    </a:lnTo>
                    <a:lnTo>
                      <a:pt x="38" y="300"/>
                    </a:lnTo>
                    <a:lnTo>
                      <a:pt x="0" y="156"/>
                    </a:lnTo>
                    <a:lnTo>
                      <a:pt x="10" y="135"/>
                    </a:lnTo>
                    <a:lnTo>
                      <a:pt x="10" y="135"/>
                    </a:lnTo>
                    <a:lnTo>
                      <a:pt x="26" y="102"/>
                    </a:lnTo>
                    <a:lnTo>
                      <a:pt x="43" y="29"/>
                    </a:lnTo>
                    <a:lnTo>
                      <a:pt x="52" y="29"/>
                    </a:lnTo>
                    <a:lnTo>
                      <a:pt x="52" y="7"/>
                    </a:lnTo>
                    <a:lnTo>
                      <a:pt x="52" y="7"/>
                    </a:lnTo>
                    <a:lnTo>
                      <a:pt x="52" y="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50" name="Freeform 474">
                <a:extLst>
                  <a:ext uri="{FF2B5EF4-FFF2-40B4-BE49-F238E27FC236}">
                    <a16:creationId xmlns:a16="http://schemas.microsoft.com/office/drawing/2014/main" id="{5E93BBB9-DEBA-4561-9371-6B48F3C09E89}"/>
                  </a:ext>
                </a:extLst>
              </p:cNvPr>
              <p:cNvSpPr>
                <a:spLocks noEditPoints="1"/>
              </p:cNvSpPr>
              <p:nvPr/>
            </p:nvSpPr>
            <p:spPr bwMode="gray">
              <a:xfrm>
                <a:off x="6477999" y="3745570"/>
                <a:ext cx="175371" cy="189801"/>
              </a:xfrm>
              <a:custGeom>
                <a:avLst/>
                <a:gdLst>
                  <a:gd name="T0" fmla="*/ 69 w 426"/>
                  <a:gd name="T1" fmla="*/ 421 h 461"/>
                  <a:gd name="T2" fmla="*/ 81 w 426"/>
                  <a:gd name="T3" fmla="*/ 383 h 461"/>
                  <a:gd name="T4" fmla="*/ 86 w 426"/>
                  <a:gd name="T5" fmla="*/ 350 h 461"/>
                  <a:gd name="T6" fmla="*/ 48 w 426"/>
                  <a:gd name="T7" fmla="*/ 326 h 461"/>
                  <a:gd name="T8" fmla="*/ 0 w 426"/>
                  <a:gd name="T9" fmla="*/ 305 h 461"/>
                  <a:gd name="T10" fmla="*/ 26 w 426"/>
                  <a:gd name="T11" fmla="*/ 255 h 461"/>
                  <a:gd name="T12" fmla="*/ 15 w 426"/>
                  <a:gd name="T13" fmla="*/ 222 h 461"/>
                  <a:gd name="T14" fmla="*/ 38 w 426"/>
                  <a:gd name="T15" fmla="*/ 194 h 461"/>
                  <a:gd name="T16" fmla="*/ 38 w 426"/>
                  <a:gd name="T17" fmla="*/ 184 h 461"/>
                  <a:gd name="T18" fmla="*/ 26 w 426"/>
                  <a:gd name="T19" fmla="*/ 161 h 461"/>
                  <a:gd name="T20" fmla="*/ 64 w 426"/>
                  <a:gd name="T21" fmla="*/ 168 h 461"/>
                  <a:gd name="T22" fmla="*/ 64 w 426"/>
                  <a:gd name="T23" fmla="*/ 156 h 461"/>
                  <a:gd name="T24" fmla="*/ 48 w 426"/>
                  <a:gd name="T25" fmla="*/ 123 h 461"/>
                  <a:gd name="T26" fmla="*/ 48 w 426"/>
                  <a:gd name="T27" fmla="*/ 111 h 461"/>
                  <a:gd name="T28" fmla="*/ 38 w 426"/>
                  <a:gd name="T29" fmla="*/ 99 h 461"/>
                  <a:gd name="T30" fmla="*/ 31 w 426"/>
                  <a:gd name="T31" fmla="*/ 57 h 461"/>
                  <a:gd name="T32" fmla="*/ 52 w 426"/>
                  <a:gd name="T33" fmla="*/ 45 h 461"/>
                  <a:gd name="T34" fmla="*/ 107 w 426"/>
                  <a:gd name="T35" fmla="*/ 45 h 461"/>
                  <a:gd name="T36" fmla="*/ 140 w 426"/>
                  <a:gd name="T37" fmla="*/ 28 h 461"/>
                  <a:gd name="T38" fmla="*/ 156 w 426"/>
                  <a:gd name="T39" fmla="*/ 12 h 461"/>
                  <a:gd name="T40" fmla="*/ 161 w 426"/>
                  <a:gd name="T41" fmla="*/ 0 h 461"/>
                  <a:gd name="T42" fmla="*/ 173 w 426"/>
                  <a:gd name="T43" fmla="*/ 45 h 461"/>
                  <a:gd name="T44" fmla="*/ 194 w 426"/>
                  <a:gd name="T45" fmla="*/ 28 h 461"/>
                  <a:gd name="T46" fmla="*/ 225 w 426"/>
                  <a:gd name="T47" fmla="*/ 33 h 461"/>
                  <a:gd name="T48" fmla="*/ 253 w 426"/>
                  <a:gd name="T49" fmla="*/ 57 h 461"/>
                  <a:gd name="T50" fmla="*/ 300 w 426"/>
                  <a:gd name="T51" fmla="*/ 83 h 461"/>
                  <a:gd name="T52" fmla="*/ 350 w 426"/>
                  <a:gd name="T53" fmla="*/ 57 h 461"/>
                  <a:gd name="T54" fmla="*/ 409 w 426"/>
                  <a:gd name="T55" fmla="*/ 99 h 461"/>
                  <a:gd name="T56" fmla="*/ 409 w 426"/>
                  <a:gd name="T57" fmla="*/ 123 h 461"/>
                  <a:gd name="T58" fmla="*/ 426 w 426"/>
                  <a:gd name="T59" fmla="*/ 184 h 461"/>
                  <a:gd name="T60" fmla="*/ 393 w 426"/>
                  <a:gd name="T61" fmla="*/ 267 h 461"/>
                  <a:gd name="T62" fmla="*/ 371 w 426"/>
                  <a:gd name="T63" fmla="*/ 293 h 461"/>
                  <a:gd name="T64" fmla="*/ 409 w 426"/>
                  <a:gd name="T65" fmla="*/ 378 h 461"/>
                  <a:gd name="T66" fmla="*/ 393 w 426"/>
                  <a:gd name="T67" fmla="*/ 404 h 461"/>
                  <a:gd name="T68" fmla="*/ 393 w 426"/>
                  <a:gd name="T69" fmla="*/ 404 h 461"/>
                  <a:gd name="T70" fmla="*/ 376 w 426"/>
                  <a:gd name="T71" fmla="*/ 388 h 461"/>
                  <a:gd name="T72" fmla="*/ 371 w 426"/>
                  <a:gd name="T73" fmla="*/ 404 h 461"/>
                  <a:gd name="T74" fmla="*/ 338 w 426"/>
                  <a:gd name="T75" fmla="*/ 399 h 461"/>
                  <a:gd name="T76" fmla="*/ 338 w 426"/>
                  <a:gd name="T77" fmla="*/ 399 h 461"/>
                  <a:gd name="T78" fmla="*/ 263 w 426"/>
                  <a:gd name="T79" fmla="*/ 404 h 461"/>
                  <a:gd name="T80" fmla="*/ 232 w 426"/>
                  <a:gd name="T81" fmla="*/ 399 h 461"/>
                  <a:gd name="T82" fmla="*/ 232 w 426"/>
                  <a:gd name="T83" fmla="*/ 404 h 461"/>
                  <a:gd name="T84" fmla="*/ 253 w 426"/>
                  <a:gd name="T85" fmla="*/ 404 h 461"/>
                  <a:gd name="T86" fmla="*/ 81 w 426"/>
                  <a:gd name="T87" fmla="*/ 461 h 461"/>
                  <a:gd name="T88" fmla="*/ 81 w 426"/>
                  <a:gd name="T89" fmla="*/ 461 h 461"/>
                  <a:gd name="T90" fmla="*/ 305 w 426"/>
                  <a:gd name="T91" fmla="*/ 399 h 461"/>
                  <a:gd name="T92" fmla="*/ 263 w 426"/>
                  <a:gd name="T93" fmla="*/ 404 h 461"/>
                  <a:gd name="T94" fmla="*/ 263 w 426"/>
                  <a:gd name="T95" fmla="*/ 404 h 461"/>
                  <a:gd name="T96" fmla="*/ 388 w 426"/>
                  <a:gd name="T97" fmla="*/ 404 h 461"/>
                  <a:gd name="T98" fmla="*/ 388 w 426"/>
                  <a:gd name="T99" fmla="*/ 404 h 461"/>
                  <a:gd name="T100" fmla="*/ 388 w 426"/>
                  <a:gd name="T101" fmla="*/ 404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6" h="461">
                    <a:moveTo>
                      <a:pt x="81" y="461"/>
                    </a:moveTo>
                    <a:lnTo>
                      <a:pt x="69" y="421"/>
                    </a:lnTo>
                    <a:lnTo>
                      <a:pt x="86" y="388"/>
                    </a:lnTo>
                    <a:lnTo>
                      <a:pt x="81" y="383"/>
                    </a:lnTo>
                    <a:lnTo>
                      <a:pt x="86" y="378"/>
                    </a:lnTo>
                    <a:lnTo>
                      <a:pt x="86" y="350"/>
                    </a:lnTo>
                    <a:lnTo>
                      <a:pt x="52" y="350"/>
                    </a:lnTo>
                    <a:lnTo>
                      <a:pt x="48" y="326"/>
                    </a:lnTo>
                    <a:lnTo>
                      <a:pt x="31" y="326"/>
                    </a:lnTo>
                    <a:lnTo>
                      <a:pt x="0" y="305"/>
                    </a:lnTo>
                    <a:lnTo>
                      <a:pt x="15" y="276"/>
                    </a:lnTo>
                    <a:lnTo>
                      <a:pt x="26" y="255"/>
                    </a:lnTo>
                    <a:lnTo>
                      <a:pt x="10" y="234"/>
                    </a:lnTo>
                    <a:lnTo>
                      <a:pt x="15" y="222"/>
                    </a:lnTo>
                    <a:lnTo>
                      <a:pt x="26" y="234"/>
                    </a:lnTo>
                    <a:lnTo>
                      <a:pt x="38" y="194"/>
                    </a:lnTo>
                    <a:lnTo>
                      <a:pt x="48" y="201"/>
                    </a:lnTo>
                    <a:lnTo>
                      <a:pt x="38" y="184"/>
                    </a:lnTo>
                    <a:lnTo>
                      <a:pt x="26" y="184"/>
                    </a:lnTo>
                    <a:lnTo>
                      <a:pt x="26" y="161"/>
                    </a:lnTo>
                    <a:lnTo>
                      <a:pt x="52" y="161"/>
                    </a:lnTo>
                    <a:lnTo>
                      <a:pt x="64" y="168"/>
                    </a:lnTo>
                    <a:lnTo>
                      <a:pt x="64" y="168"/>
                    </a:lnTo>
                    <a:lnTo>
                      <a:pt x="64" y="156"/>
                    </a:lnTo>
                    <a:lnTo>
                      <a:pt x="48" y="139"/>
                    </a:lnTo>
                    <a:lnTo>
                      <a:pt x="48" y="123"/>
                    </a:lnTo>
                    <a:lnTo>
                      <a:pt x="64" y="123"/>
                    </a:lnTo>
                    <a:lnTo>
                      <a:pt x="48" y="111"/>
                    </a:lnTo>
                    <a:lnTo>
                      <a:pt x="48" y="99"/>
                    </a:lnTo>
                    <a:lnTo>
                      <a:pt x="38" y="99"/>
                    </a:lnTo>
                    <a:lnTo>
                      <a:pt x="31" y="90"/>
                    </a:lnTo>
                    <a:lnTo>
                      <a:pt x="31" y="57"/>
                    </a:lnTo>
                    <a:lnTo>
                      <a:pt x="38" y="45"/>
                    </a:lnTo>
                    <a:lnTo>
                      <a:pt x="52" y="45"/>
                    </a:lnTo>
                    <a:lnTo>
                      <a:pt x="69" y="17"/>
                    </a:lnTo>
                    <a:lnTo>
                      <a:pt x="107" y="45"/>
                    </a:lnTo>
                    <a:lnTo>
                      <a:pt x="119" y="28"/>
                    </a:lnTo>
                    <a:lnTo>
                      <a:pt x="140" y="28"/>
                    </a:lnTo>
                    <a:lnTo>
                      <a:pt x="140" y="0"/>
                    </a:lnTo>
                    <a:lnTo>
                      <a:pt x="156" y="12"/>
                    </a:lnTo>
                    <a:lnTo>
                      <a:pt x="156" y="0"/>
                    </a:lnTo>
                    <a:lnTo>
                      <a:pt x="161" y="0"/>
                    </a:lnTo>
                    <a:lnTo>
                      <a:pt x="173" y="33"/>
                    </a:lnTo>
                    <a:lnTo>
                      <a:pt x="173" y="45"/>
                    </a:lnTo>
                    <a:lnTo>
                      <a:pt x="178" y="45"/>
                    </a:lnTo>
                    <a:lnTo>
                      <a:pt x="194" y="28"/>
                    </a:lnTo>
                    <a:lnTo>
                      <a:pt x="215" y="17"/>
                    </a:lnTo>
                    <a:lnTo>
                      <a:pt x="225" y="33"/>
                    </a:lnTo>
                    <a:lnTo>
                      <a:pt x="241" y="33"/>
                    </a:lnTo>
                    <a:lnTo>
                      <a:pt x="253" y="57"/>
                    </a:lnTo>
                    <a:lnTo>
                      <a:pt x="267" y="73"/>
                    </a:lnTo>
                    <a:lnTo>
                      <a:pt x="300" y="83"/>
                    </a:lnTo>
                    <a:lnTo>
                      <a:pt x="305" y="66"/>
                    </a:lnTo>
                    <a:lnTo>
                      <a:pt x="350" y="57"/>
                    </a:lnTo>
                    <a:lnTo>
                      <a:pt x="376" y="57"/>
                    </a:lnTo>
                    <a:lnTo>
                      <a:pt x="409" y="99"/>
                    </a:lnTo>
                    <a:lnTo>
                      <a:pt x="414" y="90"/>
                    </a:lnTo>
                    <a:lnTo>
                      <a:pt x="409" y="123"/>
                    </a:lnTo>
                    <a:lnTo>
                      <a:pt x="414" y="128"/>
                    </a:lnTo>
                    <a:lnTo>
                      <a:pt x="426" y="184"/>
                    </a:lnTo>
                    <a:lnTo>
                      <a:pt x="409" y="201"/>
                    </a:lnTo>
                    <a:lnTo>
                      <a:pt x="393" y="267"/>
                    </a:lnTo>
                    <a:lnTo>
                      <a:pt x="376" y="288"/>
                    </a:lnTo>
                    <a:lnTo>
                      <a:pt x="371" y="293"/>
                    </a:lnTo>
                    <a:lnTo>
                      <a:pt x="393" y="366"/>
                    </a:lnTo>
                    <a:lnTo>
                      <a:pt x="409" y="378"/>
                    </a:lnTo>
                    <a:lnTo>
                      <a:pt x="409" y="404"/>
                    </a:lnTo>
                    <a:lnTo>
                      <a:pt x="393" y="404"/>
                    </a:lnTo>
                    <a:lnTo>
                      <a:pt x="402" y="399"/>
                    </a:lnTo>
                    <a:lnTo>
                      <a:pt x="393" y="404"/>
                    </a:lnTo>
                    <a:lnTo>
                      <a:pt x="376" y="399"/>
                    </a:lnTo>
                    <a:lnTo>
                      <a:pt x="376" y="388"/>
                    </a:lnTo>
                    <a:lnTo>
                      <a:pt x="371" y="388"/>
                    </a:lnTo>
                    <a:lnTo>
                      <a:pt x="371" y="404"/>
                    </a:lnTo>
                    <a:lnTo>
                      <a:pt x="322" y="399"/>
                    </a:lnTo>
                    <a:lnTo>
                      <a:pt x="338" y="399"/>
                    </a:lnTo>
                    <a:lnTo>
                      <a:pt x="334" y="388"/>
                    </a:lnTo>
                    <a:lnTo>
                      <a:pt x="338" y="399"/>
                    </a:lnTo>
                    <a:lnTo>
                      <a:pt x="284" y="388"/>
                    </a:lnTo>
                    <a:lnTo>
                      <a:pt x="263" y="404"/>
                    </a:lnTo>
                    <a:lnTo>
                      <a:pt x="253" y="399"/>
                    </a:lnTo>
                    <a:lnTo>
                      <a:pt x="232" y="399"/>
                    </a:lnTo>
                    <a:lnTo>
                      <a:pt x="225" y="404"/>
                    </a:lnTo>
                    <a:lnTo>
                      <a:pt x="232" y="404"/>
                    </a:lnTo>
                    <a:lnTo>
                      <a:pt x="232" y="399"/>
                    </a:lnTo>
                    <a:lnTo>
                      <a:pt x="253" y="404"/>
                    </a:lnTo>
                    <a:lnTo>
                      <a:pt x="187" y="416"/>
                    </a:lnTo>
                    <a:lnTo>
                      <a:pt x="81" y="461"/>
                    </a:lnTo>
                    <a:lnTo>
                      <a:pt x="81" y="461"/>
                    </a:lnTo>
                    <a:lnTo>
                      <a:pt x="81" y="461"/>
                    </a:lnTo>
                    <a:close/>
                    <a:moveTo>
                      <a:pt x="263" y="404"/>
                    </a:moveTo>
                    <a:lnTo>
                      <a:pt x="305" y="399"/>
                    </a:lnTo>
                    <a:lnTo>
                      <a:pt x="322" y="399"/>
                    </a:lnTo>
                    <a:lnTo>
                      <a:pt x="263" y="404"/>
                    </a:lnTo>
                    <a:lnTo>
                      <a:pt x="263" y="404"/>
                    </a:lnTo>
                    <a:lnTo>
                      <a:pt x="263" y="404"/>
                    </a:lnTo>
                    <a:close/>
                    <a:moveTo>
                      <a:pt x="388" y="404"/>
                    </a:moveTo>
                    <a:lnTo>
                      <a:pt x="388" y="404"/>
                    </a:lnTo>
                    <a:lnTo>
                      <a:pt x="376" y="404"/>
                    </a:lnTo>
                    <a:lnTo>
                      <a:pt x="388" y="404"/>
                    </a:lnTo>
                    <a:lnTo>
                      <a:pt x="388" y="404"/>
                    </a:lnTo>
                    <a:lnTo>
                      <a:pt x="388" y="40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51" name="Freeform 475">
                <a:extLst>
                  <a:ext uri="{FF2B5EF4-FFF2-40B4-BE49-F238E27FC236}">
                    <a16:creationId xmlns:a16="http://schemas.microsoft.com/office/drawing/2014/main" id="{32944840-F9CE-4258-A9DF-13AD9F51187C}"/>
                  </a:ext>
                </a:extLst>
              </p:cNvPr>
              <p:cNvSpPr>
                <a:spLocks/>
              </p:cNvSpPr>
              <p:nvPr/>
            </p:nvSpPr>
            <p:spPr bwMode="gray">
              <a:xfrm>
                <a:off x="7847213" y="2901552"/>
                <a:ext cx="279112" cy="274203"/>
              </a:xfrm>
              <a:custGeom>
                <a:avLst/>
                <a:gdLst>
                  <a:gd name="T0" fmla="*/ 31 w 678"/>
                  <a:gd name="T1" fmla="*/ 420 h 666"/>
                  <a:gd name="T2" fmla="*/ 15 w 678"/>
                  <a:gd name="T3" fmla="*/ 416 h 666"/>
                  <a:gd name="T4" fmla="*/ 15 w 678"/>
                  <a:gd name="T5" fmla="*/ 399 h 666"/>
                  <a:gd name="T6" fmla="*/ 156 w 678"/>
                  <a:gd name="T7" fmla="*/ 250 h 666"/>
                  <a:gd name="T8" fmla="*/ 171 w 678"/>
                  <a:gd name="T9" fmla="*/ 182 h 666"/>
                  <a:gd name="T10" fmla="*/ 178 w 678"/>
                  <a:gd name="T11" fmla="*/ 127 h 666"/>
                  <a:gd name="T12" fmla="*/ 171 w 678"/>
                  <a:gd name="T13" fmla="*/ 87 h 666"/>
                  <a:gd name="T14" fmla="*/ 208 w 678"/>
                  <a:gd name="T15" fmla="*/ 66 h 666"/>
                  <a:gd name="T16" fmla="*/ 263 w 678"/>
                  <a:gd name="T17" fmla="*/ 28 h 666"/>
                  <a:gd name="T18" fmla="*/ 291 w 678"/>
                  <a:gd name="T19" fmla="*/ 12 h 666"/>
                  <a:gd name="T20" fmla="*/ 338 w 678"/>
                  <a:gd name="T21" fmla="*/ 16 h 666"/>
                  <a:gd name="T22" fmla="*/ 371 w 678"/>
                  <a:gd name="T23" fmla="*/ 12 h 666"/>
                  <a:gd name="T24" fmla="*/ 376 w 678"/>
                  <a:gd name="T25" fmla="*/ 28 h 666"/>
                  <a:gd name="T26" fmla="*/ 409 w 678"/>
                  <a:gd name="T27" fmla="*/ 16 h 666"/>
                  <a:gd name="T28" fmla="*/ 426 w 678"/>
                  <a:gd name="T29" fmla="*/ 33 h 666"/>
                  <a:gd name="T30" fmla="*/ 440 w 678"/>
                  <a:gd name="T31" fmla="*/ 54 h 666"/>
                  <a:gd name="T32" fmla="*/ 440 w 678"/>
                  <a:gd name="T33" fmla="*/ 82 h 666"/>
                  <a:gd name="T34" fmla="*/ 461 w 678"/>
                  <a:gd name="T35" fmla="*/ 123 h 666"/>
                  <a:gd name="T36" fmla="*/ 485 w 678"/>
                  <a:gd name="T37" fmla="*/ 139 h 666"/>
                  <a:gd name="T38" fmla="*/ 522 w 678"/>
                  <a:gd name="T39" fmla="*/ 139 h 666"/>
                  <a:gd name="T40" fmla="*/ 499 w 678"/>
                  <a:gd name="T41" fmla="*/ 160 h 666"/>
                  <a:gd name="T42" fmla="*/ 515 w 678"/>
                  <a:gd name="T43" fmla="*/ 193 h 666"/>
                  <a:gd name="T44" fmla="*/ 494 w 678"/>
                  <a:gd name="T45" fmla="*/ 205 h 666"/>
                  <a:gd name="T46" fmla="*/ 485 w 678"/>
                  <a:gd name="T47" fmla="*/ 238 h 666"/>
                  <a:gd name="T48" fmla="*/ 461 w 678"/>
                  <a:gd name="T49" fmla="*/ 238 h 666"/>
                  <a:gd name="T50" fmla="*/ 468 w 678"/>
                  <a:gd name="T51" fmla="*/ 271 h 666"/>
                  <a:gd name="T52" fmla="*/ 468 w 678"/>
                  <a:gd name="T53" fmla="*/ 288 h 666"/>
                  <a:gd name="T54" fmla="*/ 494 w 678"/>
                  <a:gd name="T55" fmla="*/ 309 h 666"/>
                  <a:gd name="T56" fmla="*/ 494 w 678"/>
                  <a:gd name="T57" fmla="*/ 316 h 666"/>
                  <a:gd name="T58" fmla="*/ 515 w 678"/>
                  <a:gd name="T59" fmla="*/ 342 h 666"/>
                  <a:gd name="T60" fmla="*/ 532 w 678"/>
                  <a:gd name="T61" fmla="*/ 366 h 666"/>
                  <a:gd name="T62" fmla="*/ 603 w 678"/>
                  <a:gd name="T63" fmla="*/ 404 h 666"/>
                  <a:gd name="T64" fmla="*/ 629 w 678"/>
                  <a:gd name="T65" fmla="*/ 460 h 666"/>
                  <a:gd name="T66" fmla="*/ 624 w 678"/>
                  <a:gd name="T67" fmla="*/ 527 h 666"/>
                  <a:gd name="T68" fmla="*/ 645 w 678"/>
                  <a:gd name="T69" fmla="*/ 564 h 666"/>
                  <a:gd name="T70" fmla="*/ 667 w 678"/>
                  <a:gd name="T71" fmla="*/ 604 h 666"/>
                  <a:gd name="T72" fmla="*/ 641 w 678"/>
                  <a:gd name="T73" fmla="*/ 593 h 666"/>
                  <a:gd name="T74" fmla="*/ 586 w 678"/>
                  <a:gd name="T75" fmla="*/ 593 h 666"/>
                  <a:gd name="T76" fmla="*/ 537 w 678"/>
                  <a:gd name="T77" fmla="*/ 666 h 666"/>
                  <a:gd name="T78" fmla="*/ 414 w 678"/>
                  <a:gd name="T79" fmla="*/ 666 h 666"/>
                  <a:gd name="T80" fmla="*/ 182 w 678"/>
                  <a:gd name="T81" fmla="*/ 493 h 666"/>
                  <a:gd name="T82" fmla="*/ 22 w 678"/>
                  <a:gd name="T83" fmla="*/ 427 h 666"/>
                  <a:gd name="T84" fmla="*/ 22 w 678"/>
                  <a:gd name="T85" fmla="*/ 427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8" h="666">
                    <a:moveTo>
                      <a:pt x="22" y="427"/>
                    </a:moveTo>
                    <a:lnTo>
                      <a:pt x="31" y="420"/>
                    </a:lnTo>
                    <a:lnTo>
                      <a:pt x="31" y="416"/>
                    </a:lnTo>
                    <a:lnTo>
                      <a:pt x="15" y="416"/>
                    </a:lnTo>
                    <a:lnTo>
                      <a:pt x="10" y="404"/>
                    </a:lnTo>
                    <a:lnTo>
                      <a:pt x="15" y="399"/>
                    </a:lnTo>
                    <a:lnTo>
                      <a:pt x="0" y="333"/>
                    </a:lnTo>
                    <a:lnTo>
                      <a:pt x="156" y="250"/>
                    </a:lnTo>
                    <a:lnTo>
                      <a:pt x="171" y="215"/>
                    </a:lnTo>
                    <a:lnTo>
                      <a:pt x="171" y="182"/>
                    </a:lnTo>
                    <a:lnTo>
                      <a:pt x="178" y="149"/>
                    </a:lnTo>
                    <a:lnTo>
                      <a:pt x="178" y="127"/>
                    </a:lnTo>
                    <a:lnTo>
                      <a:pt x="171" y="111"/>
                    </a:lnTo>
                    <a:lnTo>
                      <a:pt x="171" y="87"/>
                    </a:lnTo>
                    <a:lnTo>
                      <a:pt x="178" y="71"/>
                    </a:lnTo>
                    <a:lnTo>
                      <a:pt x="208" y="66"/>
                    </a:lnTo>
                    <a:lnTo>
                      <a:pt x="246" y="28"/>
                    </a:lnTo>
                    <a:lnTo>
                      <a:pt x="263" y="28"/>
                    </a:lnTo>
                    <a:lnTo>
                      <a:pt x="279" y="0"/>
                    </a:lnTo>
                    <a:lnTo>
                      <a:pt x="291" y="12"/>
                    </a:lnTo>
                    <a:lnTo>
                      <a:pt x="300" y="0"/>
                    </a:lnTo>
                    <a:lnTo>
                      <a:pt x="338" y="16"/>
                    </a:lnTo>
                    <a:lnTo>
                      <a:pt x="355" y="16"/>
                    </a:lnTo>
                    <a:lnTo>
                      <a:pt x="371" y="12"/>
                    </a:lnTo>
                    <a:lnTo>
                      <a:pt x="376" y="16"/>
                    </a:lnTo>
                    <a:lnTo>
                      <a:pt x="376" y="28"/>
                    </a:lnTo>
                    <a:lnTo>
                      <a:pt x="388" y="38"/>
                    </a:lnTo>
                    <a:lnTo>
                      <a:pt x="409" y="16"/>
                    </a:lnTo>
                    <a:lnTo>
                      <a:pt x="414" y="28"/>
                    </a:lnTo>
                    <a:lnTo>
                      <a:pt x="426" y="33"/>
                    </a:lnTo>
                    <a:lnTo>
                      <a:pt x="426" y="49"/>
                    </a:lnTo>
                    <a:lnTo>
                      <a:pt x="440" y="54"/>
                    </a:lnTo>
                    <a:lnTo>
                      <a:pt x="430" y="71"/>
                    </a:lnTo>
                    <a:lnTo>
                      <a:pt x="440" y="82"/>
                    </a:lnTo>
                    <a:lnTo>
                      <a:pt x="452" y="87"/>
                    </a:lnTo>
                    <a:lnTo>
                      <a:pt x="461" y="123"/>
                    </a:lnTo>
                    <a:lnTo>
                      <a:pt x="478" y="123"/>
                    </a:lnTo>
                    <a:lnTo>
                      <a:pt x="485" y="139"/>
                    </a:lnTo>
                    <a:lnTo>
                      <a:pt x="506" y="127"/>
                    </a:lnTo>
                    <a:lnTo>
                      <a:pt x="522" y="139"/>
                    </a:lnTo>
                    <a:lnTo>
                      <a:pt x="499" y="144"/>
                    </a:lnTo>
                    <a:lnTo>
                      <a:pt x="499" y="160"/>
                    </a:lnTo>
                    <a:lnTo>
                      <a:pt x="515" y="182"/>
                    </a:lnTo>
                    <a:lnTo>
                      <a:pt x="515" y="193"/>
                    </a:lnTo>
                    <a:lnTo>
                      <a:pt x="499" y="193"/>
                    </a:lnTo>
                    <a:lnTo>
                      <a:pt x="494" y="205"/>
                    </a:lnTo>
                    <a:lnTo>
                      <a:pt x="478" y="222"/>
                    </a:lnTo>
                    <a:lnTo>
                      <a:pt x="485" y="238"/>
                    </a:lnTo>
                    <a:lnTo>
                      <a:pt x="468" y="234"/>
                    </a:lnTo>
                    <a:lnTo>
                      <a:pt x="461" y="238"/>
                    </a:lnTo>
                    <a:lnTo>
                      <a:pt x="468" y="255"/>
                    </a:lnTo>
                    <a:lnTo>
                      <a:pt x="468" y="271"/>
                    </a:lnTo>
                    <a:lnTo>
                      <a:pt x="461" y="276"/>
                    </a:lnTo>
                    <a:lnTo>
                      <a:pt x="468" y="288"/>
                    </a:lnTo>
                    <a:lnTo>
                      <a:pt x="485" y="309"/>
                    </a:lnTo>
                    <a:lnTo>
                      <a:pt x="494" y="309"/>
                    </a:lnTo>
                    <a:lnTo>
                      <a:pt x="499" y="316"/>
                    </a:lnTo>
                    <a:lnTo>
                      <a:pt x="494" y="316"/>
                    </a:lnTo>
                    <a:lnTo>
                      <a:pt x="499" y="316"/>
                    </a:lnTo>
                    <a:lnTo>
                      <a:pt x="515" y="342"/>
                    </a:lnTo>
                    <a:lnTo>
                      <a:pt x="506" y="366"/>
                    </a:lnTo>
                    <a:lnTo>
                      <a:pt x="532" y="366"/>
                    </a:lnTo>
                    <a:lnTo>
                      <a:pt x="586" y="404"/>
                    </a:lnTo>
                    <a:lnTo>
                      <a:pt x="603" y="404"/>
                    </a:lnTo>
                    <a:lnTo>
                      <a:pt x="603" y="416"/>
                    </a:lnTo>
                    <a:lnTo>
                      <a:pt x="629" y="460"/>
                    </a:lnTo>
                    <a:lnTo>
                      <a:pt x="624" y="482"/>
                    </a:lnTo>
                    <a:lnTo>
                      <a:pt x="624" y="527"/>
                    </a:lnTo>
                    <a:lnTo>
                      <a:pt x="645" y="527"/>
                    </a:lnTo>
                    <a:lnTo>
                      <a:pt x="645" y="564"/>
                    </a:lnTo>
                    <a:lnTo>
                      <a:pt x="667" y="581"/>
                    </a:lnTo>
                    <a:lnTo>
                      <a:pt x="667" y="604"/>
                    </a:lnTo>
                    <a:lnTo>
                      <a:pt x="678" y="604"/>
                    </a:lnTo>
                    <a:lnTo>
                      <a:pt x="641" y="593"/>
                    </a:lnTo>
                    <a:lnTo>
                      <a:pt x="624" y="593"/>
                    </a:lnTo>
                    <a:lnTo>
                      <a:pt x="586" y="593"/>
                    </a:lnTo>
                    <a:lnTo>
                      <a:pt x="570" y="638"/>
                    </a:lnTo>
                    <a:lnTo>
                      <a:pt x="537" y="666"/>
                    </a:lnTo>
                    <a:lnTo>
                      <a:pt x="537" y="666"/>
                    </a:lnTo>
                    <a:lnTo>
                      <a:pt x="414" y="666"/>
                    </a:lnTo>
                    <a:lnTo>
                      <a:pt x="232" y="510"/>
                    </a:lnTo>
                    <a:lnTo>
                      <a:pt x="182" y="493"/>
                    </a:lnTo>
                    <a:lnTo>
                      <a:pt x="107" y="444"/>
                    </a:lnTo>
                    <a:lnTo>
                      <a:pt x="22" y="427"/>
                    </a:lnTo>
                    <a:lnTo>
                      <a:pt x="22" y="427"/>
                    </a:lnTo>
                    <a:lnTo>
                      <a:pt x="22" y="42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52" name="Freeform 480">
                <a:extLst>
                  <a:ext uri="{FF2B5EF4-FFF2-40B4-BE49-F238E27FC236}">
                    <a16:creationId xmlns:a16="http://schemas.microsoft.com/office/drawing/2014/main" id="{A5E9F373-D092-4F3E-98AB-9BD3C8C5F274}"/>
                  </a:ext>
                </a:extLst>
              </p:cNvPr>
              <p:cNvSpPr>
                <a:spLocks/>
              </p:cNvSpPr>
              <p:nvPr/>
            </p:nvSpPr>
            <p:spPr bwMode="gray">
              <a:xfrm>
                <a:off x="7735650" y="3037418"/>
                <a:ext cx="123501" cy="138337"/>
              </a:xfrm>
              <a:custGeom>
                <a:avLst/>
                <a:gdLst>
                  <a:gd name="T0" fmla="*/ 38 w 300"/>
                  <a:gd name="T1" fmla="*/ 152 h 336"/>
                  <a:gd name="T2" fmla="*/ 38 w 300"/>
                  <a:gd name="T3" fmla="*/ 90 h 336"/>
                  <a:gd name="T4" fmla="*/ 38 w 300"/>
                  <a:gd name="T5" fmla="*/ 83 h 336"/>
                  <a:gd name="T6" fmla="*/ 38 w 300"/>
                  <a:gd name="T7" fmla="*/ 55 h 336"/>
                  <a:gd name="T8" fmla="*/ 49 w 300"/>
                  <a:gd name="T9" fmla="*/ 55 h 336"/>
                  <a:gd name="T10" fmla="*/ 71 w 300"/>
                  <a:gd name="T11" fmla="*/ 50 h 336"/>
                  <a:gd name="T12" fmla="*/ 75 w 300"/>
                  <a:gd name="T13" fmla="*/ 67 h 336"/>
                  <a:gd name="T14" fmla="*/ 101 w 300"/>
                  <a:gd name="T15" fmla="*/ 83 h 336"/>
                  <a:gd name="T16" fmla="*/ 130 w 300"/>
                  <a:gd name="T17" fmla="*/ 83 h 336"/>
                  <a:gd name="T18" fmla="*/ 269 w 300"/>
                  <a:gd name="T19" fmla="*/ 0 h 336"/>
                  <a:gd name="T20" fmla="*/ 283 w 300"/>
                  <a:gd name="T21" fmla="*/ 67 h 336"/>
                  <a:gd name="T22" fmla="*/ 279 w 300"/>
                  <a:gd name="T23" fmla="*/ 74 h 336"/>
                  <a:gd name="T24" fmla="*/ 283 w 300"/>
                  <a:gd name="T25" fmla="*/ 83 h 336"/>
                  <a:gd name="T26" fmla="*/ 300 w 300"/>
                  <a:gd name="T27" fmla="*/ 83 h 336"/>
                  <a:gd name="T28" fmla="*/ 300 w 300"/>
                  <a:gd name="T29" fmla="*/ 90 h 336"/>
                  <a:gd name="T30" fmla="*/ 290 w 300"/>
                  <a:gd name="T31" fmla="*/ 95 h 336"/>
                  <a:gd name="T32" fmla="*/ 283 w 300"/>
                  <a:gd name="T33" fmla="*/ 107 h 336"/>
                  <a:gd name="T34" fmla="*/ 139 w 300"/>
                  <a:gd name="T35" fmla="*/ 145 h 336"/>
                  <a:gd name="T36" fmla="*/ 210 w 300"/>
                  <a:gd name="T37" fmla="*/ 234 h 336"/>
                  <a:gd name="T38" fmla="*/ 182 w 300"/>
                  <a:gd name="T39" fmla="*/ 239 h 336"/>
                  <a:gd name="T40" fmla="*/ 177 w 300"/>
                  <a:gd name="T41" fmla="*/ 274 h 336"/>
                  <a:gd name="T42" fmla="*/ 123 w 300"/>
                  <a:gd name="T43" fmla="*/ 279 h 336"/>
                  <a:gd name="T44" fmla="*/ 108 w 300"/>
                  <a:gd name="T45" fmla="*/ 312 h 336"/>
                  <a:gd name="T46" fmla="*/ 75 w 300"/>
                  <a:gd name="T47" fmla="*/ 336 h 336"/>
                  <a:gd name="T48" fmla="*/ 0 w 300"/>
                  <a:gd name="T49" fmla="*/ 317 h 336"/>
                  <a:gd name="T50" fmla="*/ 0 w 300"/>
                  <a:gd name="T51" fmla="*/ 308 h 336"/>
                  <a:gd name="T52" fmla="*/ 16 w 300"/>
                  <a:gd name="T53" fmla="*/ 256 h 336"/>
                  <a:gd name="T54" fmla="*/ 16 w 300"/>
                  <a:gd name="T55" fmla="*/ 234 h 336"/>
                  <a:gd name="T56" fmla="*/ 33 w 300"/>
                  <a:gd name="T57" fmla="*/ 178 h 336"/>
                  <a:gd name="T58" fmla="*/ 33 w 300"/>
                  <a:gd name="T59" fmla="*/ 168 h 336"/>
                  <a:gd name="T60" fmla="*/ 38 w 300"/>
                  <a:gd name="T61" fmla="*/ 152 h 336"/>
                  <a:gd name="T62" fmla="*/ 38 w 300"/>
                  <a:gd name="T63" fmla="*/ 152 h 336"/>
                  <a:gd name="T64" fmla="*/ 38 w 300"/>
                  <a:gd name="T65" fmla="*/ 15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336">
                    <a:moveTo>
                      <a:pt x="38" y="152"/>
                    </a:moveTo>
                    <a:lnTo>
                      <a:pt x="38" y="90"/>
                    </a:lnTo>
                    <a:lnTo>
                      <a:pt x="38" y="83"/>
                    </a:lnTo>
                    <a:lnTo>
                      <a:pt x="38" y="55"/>
                    </a:lnTo>
                    <a:lnTo>
                      <a:pt x="49" y="55"/>
                    </a:lnTo>
                    <a:lnTo>
                      <a:pt x="71" y="50"/>
                    </a:lnTo>
                    <a:lnTo>
                      <a:pt x="75" y="67"/>
                    </a:lnTo>
                    <a:lnTo>
                      <a:pt x="101" y="83"/>
                    </a:lnTo>
                    <a:lnTo>
                      <a:pt x="130" y="83"/>
                    </a:lnTo>
                    <a:lnTo>
                      <a:pt x="269" y="0"/>
                    </a:lnTo>
                    <a:lnTo>
                      <a:pt x="283" y="67"/>
                    </a:lnTo>
                    <a:lnTo>
                      <a:pt x="279" y="74"/>
                    </a:lnTo>
                    <a:lnTo>
                      <a:pt x="283" y="83"/>
                    </a:lnTo>
                    <a:lnTo>
                      <a:pt x="300" y="83"/>
                    </a:lnTo>
                    <a:lnTo>
                      <a:pt x="300" y="90"/>
                    </a:lnTo>
                    <a:lnTo>
                      <a:pt x="290" y="95"/>
                    </a:lnTo>
                    <a:lnTo>
                      <a:pt x="283" y="107"/>
                    </a:lnTo>
                    <a:lnTo>
                      <a:pt x="139" y="145"/>
                    </a:lnTo>
                    <a:lnTo>
                      <a:pt x="210" y="234"/>
                    </a:lnTo>
                    <a:lnTo>
                      <a:pt x="182" y="239"/>
                    </a:lnTo>
                    <a:lnTo>
                      <a:pt x="177" y="274"/>
                    </a:lnTo>
                    <a:lnTo>
                      <a:pt x="123" y="279"/>
                    </a:lnTo>
                    <a:lnTo>
                      <a:pt x="108" y="312"/>
                    </a:lnTo>
                    <a:lnTo>
                      <a:pt x="75" y="336"/>
                    </a:lnTo>
                    <a:lnTo>
                      <a:pt x="0" y="317"/>
                    </a:lnTo>
                    <a:lnTo>
                      <a:pt x="0" y="308"/>
                    </a:lnTo>
                    <a:lnTo>
                      <a:pt x="16" y="256"/>
                    </a:lnTo>
                    <a:lnTo>
                      <a:pt x="16" y="234"/>
                    </a:lnTo>
                    <a:lnTo>
                      <a:pt x="33" y="178"/>
                    </a:lnTo>
                    <a:lnTo>
                      <a:pt x="33" y="168"/>
                    </a:lnTo>
                    <a:lnTo>
                      <a:pt x="38" y="152"/>
                    </a:lnTo>
                    <a:lnTo>
                      <a:pt x="38" y="152"/>
                    </a:lnTo>
                    <a:lnTo>
                      <a:pt x="38" y="15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53" name="Freeform 481">
                <a:extLst>
                  <a:ext uri="{FF2B5EF4-FFF2-40B4-BE49-F238E27FC236}">
                    <a16:creationId xmlns:a16="http://schemas.microsoft.com/office/drawing/2014/main" id="{95A9DAC4-07AA-451B-829A-186BB2EDD36C}"/>
                  </a:ext>
                </a:extLst>
              </p:cNvPr>
              <p:cNvSpPr>
                <a:spLocks noEditPoints="1"/>
              </p:cNvSpPr>
              <p:nvPr/>
            </p:nvSpPr>
            <p:spPr bwMode="gray">
              <a:xfrm>
                <a:off x="7703540" y="3927548"/>
                <a:ext cx="231359" cy="277908"/>
              </a:xfrm>
              <a:custGeom>
                <a:avLst/>
                <a:gdLst>
                  <a:gd name="T0" fmla="*/ 0 w 562"/>
                  <a:gd name="T1" fmla="*/ 408 h 675"/>
                  <a:gd name="T2" fmla="*/ 7 w 562"/>
                  <a:gd name="T3" fmla="*/ 347 h 675"/>
                  <a:gd name="T4" fmla="*/ 0 w 562"/>
                  <a:gd name="T5" fmla="*/ 331 h 675"/>
                  <a:gd name="T6" fmla="*/ 23 w 562"/>
                  <a:gd name="T7" fmla="*/ 290 h 675"/>
                  <a:gd name="T8" fmla="*/ 38 w 562"/>
                  <a:gd name="T9" fmla="*/ 274 h 675"/>
                  <a:gd name="T10" fmla="*/ 45 w 562"/>
                  <a:gd name="T11" fmla="*/ 253 h 675"/>
                  <a:gd name="T12" fmla="*/ 71 w 562"/>
                  <a:gd name="T13" fmla="*/ 241 h 675"/>
                  <a:gd name="T14" fmla="*/ 61 w 562"/>
                  <a:gd name="T15" fmla="*/ 234 h 675"/>
                  <a:gd name="T16" fmla="*/ 75 w 562"/>
                  <a:gd name="T17" fmla="*/ 212 h 675"/>
                  <a:gd name="T18" fmla="*/ 75 w 562"/>
                  <a:gd name="T19" fmla="*/ 196 h 675"/>
                  <a:gd name="T20" fmla="*/ 71 w 562"/>
                  <a:gd name="T21" fmla="*/ 156 h 675"/>
                  <a:gd name="T22" fmla="*/ 61 w 562"/>
                  <a:gd name="T23" fmla="*/ 130 h 675"/>
                  <a:gd name="T24" fmla="*/ 45 w 562"/>
                  <a:gd name="T25" fmla="*/ 123 h 675"/>
                  <a:gd name="T26" fmla="*/ 38 w 562"/>
                  <a:gd name="T27" fmla="*/ 90 h 675"/>
                  <a:gd name="T28" fmla="*/ 38 w 562"/>
                  <a:gd name="T29" fmla="*/ 68 h 675"/>
                  <a:gd name="T30" fmla="*/ 23 w 562"/>
                  <a:gd name="T31" fmla="*/ 57 h 675"/>
                  <a:gd name="T32" fmla="*/ 7 w 562"/>
                  <a:gd name="T33" fmla="*/ 28 h 675"/>
                  <a:gd name="T34" fmla="*/ 38 w 562"/>
                  <a:gd name="T35" fmla="*/ 0 h 675"/>
                  <a:gd name="T36" fmla="*/ 146 w 562"/>
                  <a:gd name="T37" fmla="*/ 0 h 675"/>
                  <a:gd name="T38" fmla="*/ 153 w 562"/>
                  <a:gd name="T39" fmla="*/ 12 h 675"/>
                  <a:gd name="T40" fmla="*/ 222 w 562"/>
                  <a:gd name="T41" fmla="*/ 19 h 675"/>
                  <a:gd name="T42" fmla="*/ 305 w 562"/>
                  <a:gd name="T43" fmla="*/ 73 h 675"/>
                  <a:gd name="T44" fmla="*/ 326 w 562"/>
                  <a:gd name="T45" fmla="*/ 73 h 675"/>
                  <a:gd name="T46" fmla="*/ 394 w 562"/>
                  <a:gd name="T47" fmla="*/ 90 h 675"/>
                  <a:gd name="T48" fmla="*/ 418 w 562"/>
                  <a:gd name="T49" fmla="*/ 52 h 675"/>
                  <a:gd name="T50" fmla="*/ 486 w 562"/>
                  <a:gd name="T51" fmla="*/ 28 h 675"/>
                  <a:gd name="T52" fmla="*/ 510 w 562"/>
                  <a:gd name="T53" fmla="*/ 52 h 675"/>
                  <a:gd name="T54" fmla="*/ 562 w 562"/>
                  <a:gd name="T55" fmla="*/ 45 h 675"/>
                  <a:gd name="T56" fmla="*/ 524 w 562"/>
                  <a:gd name="T57" fmla="*/ 106 h 675"/>
                  <a:gd name="T58" fmla="*/ 503 w 562"/>
                  <a:gd name="T59" fmla="*/ 130 h 675"/>
                  <a:gd name="T60" fmla="*/ 503 w 562"/>
                  <a:gd name="T61" fmla="*/ 401 h 675"/>
                  <a:gd name="T62" fmla="*/ 541 w 562"/>
                  <a:gd name="T63" fmla="*/ 458 h 675"/>
                  <a:gd name="T64" fmla="*/ 524 w 562"/>
                  <a:gd name="T65" fmla="*/ 475 h 675"/>
                  <a:gd name="T66" fmla="*/ 494 w 562"/>
                  <a:gd name="T67" fmla="*/ 479 h 675"/>
                  <a:gd name="T68" fmla="*/ 494 w 562"/>
                  <a:gd name="T69" fmla="*/ 508 h 675"/>
                  <a:gd name="T70" fmla="*/ 486 w 562"/>
                  <a:gd name="T71" fmla="*/ 496 h 675"/>
                  <a:gd name="T72" fmla="*/ 486 w 562"/>
                  <a:gd name="T73" fmla="*/ 508 h 675"/>
                  <a:gd name="T74" fmla="*/ 472 w 562"/>
                  <a:gd name="T75" fmla="*/ 520 h 675"/>
                  <a:gd name="T76" fmla="*/ 465 w 562"/>
                  <a:gd name="T77" fmla="*/ 520 h 675"/>
                  <a:gd name="T78" fmla="*/ 449 w 562"/>
                  <a:gd name="T79" fmla="*/ 529 h 675"/>
                  <a:gd name="T80" fmla="*/ 439 w 562"/>
                  <a:gd name="T81" fmla="*/ 569 h 675"/>
                  <a:gd name="T82" fmla="*/ 423 w 562"/>
                  <a:gd name="T83" fmla="*/ 574 h 675"/>
                  <a:gd name="T84" fmla="*/ 385 w 562"/>
                  <a:gd name="T85" fmla="*/ 675 h 675"/>
                  <a:gd name="T86" fmla="*/ 368 w 562"/>
                  <a:gd name="T87" fmla="*/ 675 h 675"/>
                  <a:gd name="T88" fmla="*/ 260 w 562"/>
                  <a:gd name="T89" fmla="*/ 586 h 675"/>
                  <a:gd name="T90" fmla="*/ 271 w 562"/>
                  <a:gd name="T91" fmla="*/ 574 h 675"/>
                  <a:gd name="T92" fmla="*/ 260 w 562"/>
                  <a:gd name="T93" fmla="*/ 553 h 675"/>
                  <a:gd name="T94" fmla="*/ 0 w 562"/>
                  <a:gd name="T95" fmla="*/ 408 h 675"/>
                  <a:gd name="T96" fmla="*/ 0 w 562"/>
                  <a:gd name="T97" fmla="*/ 408 h 675"/>
                  <a:gd name="T98" fmla="*/ 0 w 562"/>
                  <a:gd name="T99" fmla="*/ 408 h 675"/>
                  <a:gd name="T100" fmla="*/ 503 w 562"/>
                  <a:gd name="T101" fmla="*/ 496 h 675"/>
                  <a:gd name="T102" fmla="*/ 503 w 562"/>
                  <a:gd name="T103" fmla="*/ 491 h 675"/>
                  <a:gd name="T104" fmla="*/ 510 w 562"/>
                  <a:gd name="T105" fmla="*/ 491 h 675"/>
                  <a:gd name="T106" fmla="*/ 503 w 562"/>
                  <a:gd name="T107" fmla="*/ 496 h 675"/>
                  <a:gd name="T108" fmla="*/ 503 w 562"/>
                  <a:gd name="T109" fmla="*/ 496 h 675"/>
                  <a:gd name="T110" fmla="*/ 503 w 562"/>
                  <a:gd name="T111" fmla="*/ 496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2" h="675">
                    <a:moveTo>
                      <a:pt x="0" y="408"/>
                    </a:moveTo>
                    <a:lnTo>
                      <a:pt x="7" y="347"/>
                    </a:lnTo>
                    <a:lnTo>
                      <a:pt x="0" y="331"/>
                    </a:lnTo>
                    <a:lnTo>
                      <a:pt x="23" y="290"/>
                    </a:lnTo>
                    <a:lnTo>
                      <a:pt x="38" y="274"/>
                    </a:lnTo>
                    <a:lnTo>
                      <a:pt x="45" y="253"/>
                    </a:lnTo>
                    <a:lnTo>
                      <a:pt x="71" y="241"/>
                    </a:lnTo>
                    <a:lnTo>
                      <a:pt x="61" y="234"/>
                    </a:lnTo>
                    <a:lnTo>
                      <a:pt x="75" y="212"/>
                    </a:lnTo>
                    <a:lnTo>
                      <a:pt x="75" y="196"/>
                    </a:lnTo>
                    <a:lnTo>
                      <a:pt x="71" y="156"/>
                    </a:lnTo>
                    <a:lnTo>
                      <a:pt x="61" y="130"/>
                    </a:lnTo>
                    <a:lnTo>
                      <a:pt x="45" y="123"/>
                    </a:lnTo>
                    <a:lnTo>
                      <a:pt x="38" y="90"/>
                    </a:lnTo>
                    <a:lnTo>
                      <a:pt x="38" y="68"/>
                    </a:lnTo>
                    <a:lnTo>
                      <a:pt x="23" y="57"/>
                    </a:lnTo>
                    <a:lnTo>
                      <a:pt x="7" y="28"/>
                    </a:lnTo>
                    <a:lnTo>
                      <a:pt x="38" y="0"/>
                    </a:lnTo>
                    <a:lnTo>
                      <a:pt x="146" y="0"/>
                    </a:lnTo>
                    <a:lnTo>
                      <a:pt x="153" y="12"/>
                    </a:lnTo>
                    <a:lnTo>
                      <a:pt x="222" y="19"/>
                    </a:lnTo>
                    <a:lnTo>
                      <a:pt x="305" y="73"/>
                    </a:lnTo>
                    <a:lnTo>
                      <a:pt x="326" y="73"/>
                    </a:lnTo>
                    <a:lnTo>
                      <a:pt x="394" y="90"/>
                    </a:lnTo>
                    <a:lnTo>
                      <a:pt x="418" y="52"/>
                    </a:lnTo>
                    <a:lnTo>
                      <a:pt x="486" y="28"/>
                    </a:lnTo>
                    <a:lnTo>
                      <a:pt x="510" y="52"/>
                    </a:lnTo>
                    <a:lnTo>
                      <a:pt x="562" y="45"/>
                    </a:lnTo>
                    <a:lnTo>
                      <a:pt x="524" y="106"/>
                    </a:lnTo>
                    <a:lnTo>
                      <a:pt x="503" y="130"/>
                    </a:lnTo>
                    <a:lnTo>
                      <a:pt x="503" y="401"/>
                    </a:lnTo>
                    <a:lnTo>
                      <a:pt x="541" y="458"/>
                    </a:lnTo>
                    <a:lnTo>
                      <a:pt x="524" y="475"/>
                    </a:lnTo>
                    <a:lnTo>
                      <a:pt x="494" y="479"/>
                    </a:lnTo>
                    <a:lnTo>
                      <a:pt x="494" y="508"/>
                    </a:lnTo>
                    <a:lnTo>
                      <a:pt x="486" y="496"/>
                    </a:lnTo>
                    <a:lnTo>
                      <a:pt x="486" y="508"/>
                    </a:lnTo>
                    <a:lnTo>
                      <a:pt x="472" y="520"/>
                    </a:lnTo>
                    <a:lnTo>
                      <a:pt x="465" y="520"/>
                    </a:lnTo>
                    <a:lnTo>
                      <a:pt x="449" y="529"/>
                    </a:lnTo>
                    <a:lnTo>
                      <a:pt x="439" y="569"/>
                    </a:lnTo>
                    <a:lnTo>
                      <a:pt x="423" y="574"/>
                    </a:lnTo>
                    <a:lnTo>
                      <a:pt x="385" y="675"/>
                    </a:lnTo>
                    <a:lnTo>
                      <a:pt x="368" y="675"/>
                    </a:lnTo>
                    <a:lnTo>
                      <a:pt x="260" y="586"/>
                    </a:lnTo>
                    <a:lnTo>
                      <a:pt x="271" y="574"/>
                    </a:lnTo>
                    <a:lnTo>
                      <a:pt x="260" y="553"/>
                    </a:lnTo>
                    <a:lnTo>
                      <a:pt x="0" y="408"/>
                    </a:lnTo>
                    <a:lnTo>
                      <a:pt x="0" y="408"/>
                    </a:lnTo>
                    <a:lnTo>
                      <a:pt x="0" y="408"/>
                    </a:lnTo>
                    <a:close/>
                    <a:moveTo>
                      <a:pt x="503" y="496"/>
                    </a:moveTo>
                    <a:lnTo>
                      <a:pt x="503" y="491"/>
                    </a:lnTo>
                    <a:lnTo>
                      <a:pt x="510" y="491"/>
                    </a:lnTo>
                    <a:lnTo>
                      <a:pt x="503" y="496"/>
                    </a:lnTo>
                    <a:lnTo>
                      <a:pt x="503" y="496"/>
                    </a:lnTo>
                    <a:lnTo>
                      <a:pt x="503" y="49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54" name="Freeform 487">
                <a:extLst>
                  <a:ext uri="{FF2B5EF4-FFF2-40B4-BE49-F238E27FC236}">
                    <a16:creationId xmlns:a16="http://schemas.microsoft.com/office/drawing/2014/main" id="{86B4E004-1C87-49C9-B263-41B9D0B6B0AF}"/>
                  </a:ext>
                </a:extLst>
              </p:cNvPr>
              <p:cNvSpPr>
                <a:spLocks noEditPoints="1"/>
              </p:cNvSpPr>
              <p:nvPr/>
            </p:nvSpPr>
            <p:spPr bwMode="gray">
              <a:xfrm>
                <a:off x="8069103" y="3145700"/>
                <a:ext cx="53518" cy="50641"/>
              </a:xfrm>
              <a:custGeom>
                <a:avLst/>
                <a:gdLst>
                  <a:gd name="T0" fmla="*/ 0 w 130"/>
                  <a:gd name="T1" fmla="*/ 73 h 123"/>
                  <a:gd name="T2" fmla="*/ 33 w 130"/>
                  <a:gd name="T3" fmla="*/ 45 h 123"/>
                  <a:gd name="T4" fmla="*/ 50 w 130"/>
                  <a:gd name="T5" fmla="*/ 0 h 123"/>
                  <a:gd name="T6" fmla="*/ 87 w 130"/>
                  <a:gd name="T7" fmla="*/ 0 h 123"/>
                  <a:gd name="T8" fmla="*/ 104 w 130"/>
                  <a:gd name="T9" fmla="*/ 0 h 123"/>
                  <a:gd name="T10" fmla="*/ 118 w 130"/>
                  <a:gd name="T11" fmla="*/ 45 h 123"/>
                  <a:gd name="T12" fmla="*/ 104 w 130"/>
                  <a:gd name="T13" fmla="*/ 33 h 123"/>
                  <a:gd name="T14" fmla="*/ 87 w 130"/>
                  <a:gd name="T15" fmla="*/ 56 h 123"/>
                  <a:gd name="T16" fmla="*/ 109 w 130"/>
                  <a:gd name="T17" fmla="*/ 56 h 123"/>
                  <a:gd name="T18" fmla="*/ 130 w 130"/>
                  <a:gd name="T19" fmla="*/ 123 h 123"/>
                  <a:gd name="T20" fmla="*/ 87 w 130"/>
                  <a:gd name="T21" fmla="*/ 123 h 123"/>
                  <a:gd name="T22" fmla="*/ 66 w 130"/>
                  <a:gd name="T23" fmla="*/ 85 h 123"/>
                  <a:gd name="T24" fmla="*/ 0 w 130"/>
                  <a:gd name="T25" fmla="*/ 73 h 123"/>
                  <a:gd name="T26" fmla="*/ 0 w 130"/>
                  <a:gd name="T27" fmla="*/ 73 h 123"/>
                  <a:gd name="T28" fmla="*/ 0 w 130"/>
                  <a:gd name="T29" fmla="*/ 73 h 123"/>
                  <a:gd name="T30" fmla="*/ 0 w 130"/>
                  <a:gd name="T31" fmla="*/ 73 h 123"/>
                  <a:gd name="T32" fmla="*/ 118 w 130"/>
                  <a:gd name="T33" fmla="*/ 9 h 123"/>
                  <a:gd name="T34" fmla="*/ 130 w 130"/>
                  <a:gd name="T35" fmla="*/ 28 h 123"/>
                  <a:gd name="T36" fmla="*/ 118 w 130"/>
                  <a:gd name="T37" fmla="*/ 45 h 123"/>
                  <a:gd name="T38" fmla="*/ 109 w 130"/>
                  <a:gd name="T39" fmla="*/ 28 h 123"/>
                  <a:gd name="T40" fmla="*/ 109 w 130"/>
                  <a:gd name="T41" fmla="*/ 9 h 123"/>
                  <a:gd name="T42" fmla="*/ 118 w 130"/>
                  <a:gd name="T43" fmla="*/ 9 h 123"/>
                  <a:gd name="T44" fmla="*/ 118 w 130"/>
                  <a:gd name="T45" fmla="*/ 9 h 123"/>
                  <a:gd name="T46" fmla="*/ 118 w 130"/>
                  <a:gd name="T47" fmla="*/ 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123">
                    <a:moveTo>
                      <a:pt x="0" y="73"/>
                    </a:moveTo>
                    <a:lnTo>
                      <a:pt x="33" y="45"/>
                    </a:lnTo>
                    <a:lnTo>
                      <a:pt x="50" y="0"/>
                    </a:lnTo>
                    <a:lnTo>
                      <a:pt x="87" y="0"/>
                    </a:lnTo>
                    <a:lnTo>
                      <a:pt x="104" y="0"/>
                    </a:lnTo>
                    <a:lnTo>
                      <a:pt x="118" y="45"/>
                    </a:lnTo>
                    <a:lnTo>
                      <a:pt x="104" y="33"/>
                    </a:lnTo>
                    <a:lnTo>
                      <a:pt x="87" y="56"/>
                    </a:lnTo>
                    <a:lnTo>
                      <a:pt x="109" y="56"/>
                    </a:lnTo>
                    <a:lnTo>
                      <a:pt x="130" y="123"/>
                    </a:lnTo>
                    <a:lnTo>
                      <a:pt x="87" y="123"/>
                    </a:lnTo>
                    <a:lnTo>
                      <a:pt x="66" y="85"/>
                    </a:lnTo>
                    <a:lnTo>
                      <a:pt x="0" y="73"/>
                    </a:lnTo>
                    <a:lnTo>
                      <a:pt x="0" y="73"/>
                    </a:lnTo>
                    <a:lnTo>
                      <a:pt x="0" y="73"/>
                    </a:lnTo>
                    <a:lnTo>
                      <a:pt x="0" y="73"/>
                    </a:lnTo>
                    <a:close/>
                    <a:moveTo>
                      <a:pt x="118" y="9"/>
                    </a:moveTo>
                    <a:lnTo>
                      <a:pt x="130" y="28"/>
                    </a:lnTo>
                    <a:lnTo>
                      <a:pt x="118" y="45"/>
                    </a:lnTo>
                    <a:lnTo>
                      <a:pt x="109" y="28"/>
                    </a:lnTo>
                    <a:lnTo>
                      <a:pt x="109" y="9"/>
                    </a:lnTo>
                    <a:lnTo>
                      <a:pt x="118" y="9"/>
                    </a:lnTo>
                    <a:lnTo>
                      <a:pt x="118" y="9"/>
                    </a:lnTo>
                    <a:lnTo>
                      <a:pt x="118" y="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55" name="Freeform 490">
                <a:extLst>
                  <a:ext uri="{FF2B5EF4-FFF2-40B4-BE49-F238E27FC236}">
                    <a16:creationId xmlns:a16="http://schemas.microsoft.com/office/drawing/2014/main" id="{ECE7244E-C449-40FC-B213-7D93D0BF5BA4}"/>
                  </a:ext>
                </a:extLst>
              </p:cNvPr>
              <p:cNvSpPr>
                <a:spLocks/>
              </p:cNvSpPr>
              <p:nvPr/>
            </p:nvSpPr>
            <p:spPr bwMode="gray">
              <a:xfrm>
                <a:off x="7739356" y="2996659"/>
                <a:ext cx="45695" cy="53524"/>
              </a:xfrm>
              <a:custGeom>
                <a:avLst/>
                <a:gdLst>
                  <a:gd name="T0" fmla="*/ 38 w 111"/>
                  <a:gd name="T1" fmla="*/ 111 h 130"/>
                  <a:gd name="T2" fmla="*/ 21 w 111"/>
                  <a:gd name="T3" fmla="*/ 130 h 130"/>
                  <a:gd name="T4" fmla="*/ 0 w 111"/>
                  <a:gd name="T5" fmla="*/ 118 h 130"/>
                  <a:gd name="T6" fmla="*/ 21 w 111"/>
                  <a:gd name="T7" fmla="*/ 57 h 130"/>
                  <a:gd name="T8" fmla="*/ 38 w 111"/>
                  <a:gd name="T9" fmla="*/ 45 h 130"/>
                  <a:gd name="T10" fmla="*/ 38 w 111"/>
                  <a:gd name="T11" fmla="*/ 24 h 130"/>
                  <a:gd name="T12" fmla="*/ 62 w 111"/>
                  <a:gd name="T13" fmla="*/ 5 h 130"/>
                  <a:gd name="T14" fmla="*/ 62 w 111"/>
                  <a:gd name="T15" fmla="*/ 0 h 130"/>
                  <a:gd name="T16" fmla="*/ 95 w 111"/>
                  <a:gd name="T17" fmla="*/ 0 h 130"/>
                  <a:gd name="T18" fmla="*/ 83 w 111"/>
                  <a:gd name="T19" fmla="*/ 5 h 130"/>
                  <a:gd name="T20" fmla="*/ 99 w 111"/>
                  <a:gd name="T21" fmla="*/ 17 h 130"/>
                  <a:gd name="T22" fmla="*/ 111 w 111"/>
                  <a:gd name="T23" fmla="*/ 29 h 130"/>
                  <a:gd name="T24" fmla="*/ 83 w 111"/>
                  <a:gd name="T25" fmla="*/ 57 h 130"/>
                  <a:gd name="T26" fmla="*/ 95 w 111"/>
                  <a:gd name="T27" fmla="*/ 62 h 130"/>
                  <a:gd name="T28" fmla="*/ 66 w 111"/>
                  <a:gd name="T29" fmla="*/ 62 h 130"/>
                  <a:gd name="T30" fmla="*/ 62 w 111"/>
                  <a:gd name="T31" fmla="*/ 78 h 130"/>
                  <a:gd name="T32" fmla="*/ 66 w 111"/>
                  <a:gd name="T33" fmla="*/ 78 h 130"/>
                  <a:gd name="T34" fmla="*/ 38 w 111"/>
                  <a:gd name="T35" fmla="*/ 111 h 130"/>
                  <a:gd name="T36" fmla="*/ 38 w 111"/>
                  <a:gd name="T37" fmla="*/ 111 h 130"/>
                  <a:gd name="T38" fmla="*/ 38 w 111"/>
                  <a:gd name="T39" fmla="*/ 111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30">
                    <a:moveTo>
                      <a:pt x="38" y="111"/>
                    </a:moveTo>
                    <a:lnTo>
                      <a:pt x="21" y="130"/>
                    </a:lnTo>
                    <a:lnTo>
                      <a:pt x="0" y="118"/>
                    </a:lnTo>
                    <a:lnTo>
                      <a:pt x="21" y="57"/>
                    </a:lnTo>
                    <a:lnTo>
                      <a:pt x="38" y="45"/>
                    </a:lnTo>
                    <a:lnTo>
                      <a:pt x="38" y="24"/>
                    </a:lnTo>
                    <a:lnTo>
                      <a:pt x="62" y="5"/>
                    </a:lnTo>
                    <a:lnTo>
                      <a:pt x="62" y="0"/>
                    </a:lnTo>
                    <a:lnTo>
                      <a:pt x="95" y="0"/>
                    </a:lnTo>
                    <a:lnTo>
                      <a:pt x="83" y="5"/>
                    </a:lnTo>
                    <a:lnTo>
                      <a:pt x="99" y="17"/>
                    </a:lnTo>
                    <a:lnTo>
                      <a:pt x="111" y="29"/>
                    </a:lnTo>
                    <a:lnTo>
                      <a:pt x="83" y="57"/>
                    </a:lnTo>
                    <a:lnTo>
                      <a:pt x="95" y="62"/>
                    </a:lnTo>
                    <a:lnTo>
                      <a:pt x="66" y="62"/>
                    </a:lnTo>
                    <a:lnTo>
                      <a:pt x="62" y="78"/>
                    </a:lnTo>
                    <a:lnTo>
                      <a:pt x="66" y="78"/>
                    </a:lnTo>
                    <a:lnTo>
                      <a:pt x="38" y="111"/>
                    </a:lnTo>
                    <a:lnTo>
                      <a:pt x="38" y="111"/>
                    </a:lnTo>
                    <a:lnTo>
                      <a:pt x="38" y="11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56" name="Freeform 493">
                <a:extLst>
                  <a:ext uri="{FF2B5EF4-FFF2-40B4-BE49-F238E27FC236}">
                    <a16:creationId xmlns:a16="http://schemas.microsoft.com/office/drawing/2014/main" id="{FD9EF29B-3279-448D-8934-6A2D0122DC23}"/>
                  </a:ext>
                </a:extLst>
              </p:cNvPr>
              <p:cNvSpPr>
                <a:spLocks/>
              </p:cNvSpPr>
              <p:nvPr/>
            </p:nvSpPr>
            <p:spPr bwMode="gray">
              <a:xfrm>
                <a:off x="6394430" y="3811857"/>
                <a:ext cx="118973" cy="123515"/>
              </a:xfrm>
              <a:custGeom>
                <a:avLst/>
                <a:gdLst>
                  <a:gd name="T0" fmla="*/ 0 w 289"/>
                  <a:gd name="T1" fmla="*/ 115 h 300"/>
                  <a:gd name="T2" fmla="*/ 12 w 289"/>
                  <a:gd name="T3" fmla="*/ 94 h 300"/>
                  <a:gd name="T4" fmla="*/ 38 w 289"/>
                  <a:gd name="T5" fmla="*/ 71 h 300"/>
                  <a:gd name="T6" fmla="*/ 66 w 289"/>
                  <a:gd name="T7" fmla="*/ 54 h 300"/>
                  <a:gd name="T8" fmla="*/ 66 w 289"/>
                  <a:gd name="T9" fmla="*/ 33 h 300"/>
                  <a:gd name="T10" fmla="*/ 76 w 289"/>
                  <a:gd name="T11" fmla="*/ 21 h 300"/>
                  <a:gd name="T12" fmla="*/ 88 w 289"/>
                  <a:gd name="T13" fmla="*/ 0 h 300"/>
                  <a:gd name="T14" fmla="*/ 121 w 289"/>
                  <a:gd name="T15" fmla="*/ 0 h 300"/>
                  <a:gd name="T16" fmla="*/ 142 w 289"/>
                  <a:gd name="T17" fmla="*/ 16 h 300"/>
                  <a:gd name="T18" fmla="*/ 147 w 289"/>
                  <a:gd name="T19" fmla="*/ 54 h 300"/>
                  <a:gd name="T20" fmla="*/ 142 w 289"/>
                  <a:gd name="T21" fmla="*/ 87 h 300"/>
                  <a:gd name="T22" fmla="*/ 147 w 289"/>
                  <a:gd name="T23" fmla="*/ 75 h 300"/>
                  <a:gd name="T24" fmla="*/ 163 w 289"/>
                  <a:gd name="T25" fmla="*/ 94 h 300"/>
                  <a:gd name="T26" fmla="*/ 185 w 289"/>
                  <a:gd name="T27" fmla="*/ 87 h 300"/>
                  <a:gd name="T28" fmla="*/ 196 w 289"/>
                  <a:gd name="T29" fmla="*/ 59 h 300"/>
                  <a:gd name="T30" fmla="*/ 201 w 289"/>
                  <a:gd name="T31" fmla="*/ 59 h 300"/>
                  <a:gd name="T32" fmla="*/ 213 w 289"/>
                  <a:gd name="T33" fmla="*/ 71 h 300"/>
                  <a:gd name="T34" fmla="*/ 229 w 289"/>
                  <a:gd name="T35" fmla="*/ 94 h 300"/>
                  <a:gd name="T36" fmla="*/ 218 w 289"/>
                  <a:gd name="T37" fmla="*/ 115 h 300"/>
                  <a:gd name="T38" fmla="*/ 201 w 289"/>
                  <a:gd name="T39" fmla="*/ 144 h 300"/>
                  <a:gd name="T40" fmla="*/ 234 w 289"/>
                  <a:gd name="T41" fmla="*/ 165 h 300"/>
                  <a:gd name="T42" fmla="*/ 251 w 289"/>
                  <a:gd name="T43" fmla="*/ 165 h 300"/>
                  <a:gd name="T44" fmla="*/ 255 w 289"/>
                  <a:gd name="T45" fmla="*/ 189 h 300"/>
                  <a:gd name="T46" fmla="*/ 289 w 289"/>
                  <a:gd name="T47" fmla="*/ 189 h 300"/>
                  <a:gd name="T48" fmla="*/ 289 w 289"/>
                  <a:gd name="T49" fmla="*/ 215 h 300"/>
                  <a:gd name="T50" fmla="*/ 284 w 289"/>
                  <a:gd name="T51" fmla="*/ 222 h 300"/>
                  <a:gd name="T52" fmla="*/ 289 w 289"/>
                  <a:gd name="T53" fmla="*/ 227 h 300"/>
                  <a:gd name="T54" fmla="*/ 272 w 289"/>
                  <a:gd name="T55" fmla="*/ 260 h 300"/>
                  <a:gd name="T56" fmla="*/ 284 w 289"/>
                  <a:gd name="T57" fmla="*/ 300 h 300"/>
                  <a:gd name="T58" fmla="*/ 229 w 289"/>
                  <a:gd name="T59" fmla="*/ 283 h 300"/>
                  <a:gd name="T60" fmla="*/ 163 w 289"/>
                  <a:gd name="T61" fmla="*/ 255 h 300"/>
                  <a:gd name="T62" fmla="*/ 76 w 289"/>
                  <a:gd name="T63" fmla="*/ 165 h 300"/>
                  <a:gd name="T64" fmla="*/ 50 w 289"/>
                  <a:gd name="T65" fmla="*/ 165 h 300"/>
                  <a:gd name="T66" fmla="*/ 38 w 289"/>
                  <a:gd name="T67" fmla="*/ 149 h 300"/>
                  <a:gd name="T68" fmla="*/ 12 w 289"/>
                  <a:gd name="T69" fmla="*/ 132 h 300"/>
                  <a:gd name="T70" fmla="*/ 0 w 289"/>
                  <a:gd name="T71" fmla="*/ 115 h 300"/>
                  <a:gd name="T72" fmla="*/ 0 w 289"/>
                  <a:gd name="T73" fmla="*/ 115 h 300"/>
                  <a:gd name="T74" fmla="*/ 0 w 289"/>
                  <a:gd name="T75" fmla="*/ 11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9" h="300">
                    <a:moveTo>
                      <a:pt x="0" y="115"/>
                    </a:moveTo>
                    <a:lnTo>
                      <a:pt x="12" y="94"/>
                    </a:lnTo>
                    <a:lnTo>
                      <a:pt x="38" y="71"/>
                    </a:lnTo>
                    <a:lnTo>
                      <a:pt x="66" y="54"/>
                    </a:lnTo>
                    <a:lnTo>
                      <a:pt x="66" y="33"/>
                    </a:lnTo>
                    <a:lnTo>
                      <a:pt x="76" y="21"/>
                    </a:lnTo>
                    <a:lnTo>
                      <a:pt x="88" y="0"/>
                    </a:lnTo>
                    <a:lnTo>
                      <a:pt x="121" y="0"/>
                    </a:lnTo>
                    <a:lnTo>
                      <a:pt x="142" y="16"/>
                    </a:lnTo>
                    <a:lnTo>
                      <a:pt x="147" y="54"/>
                    </a:lnTo>
                    <a:lnTo>
                      <a:pt x="142" y="87"/>
                    </a:lnTo>
                    <a:lnTo>
                      <a:pt x="147" y="75"/>
                    </a:lnTo>
                    <a:lnTo>
                      <a:pt x="163" y="94"/>
                    </a:lnTo>
                    <a:lnTo>
                      <a:pt x="185" y="87"/>
                    </a:lnTo>
                    <a:lnTo>
                      <a:pt x="196" y="59"/>
                    </a:lnTo>
                    <a:lnTo>
                      <a:pt x="201" y="59"/>
                    </a:lnTo>
                    <a:lnTo>
                      <a:pt x="213" y="71"/>
                    </a:lnTo>
                    <a:lnTo>
                      <a:pt x="229" y="94"/>
                    </a:lnTo>
                    <a:lnTo>
                      <a:pt x="218" y="115"/>
                    </a:lnTo>
                    <a:lnTo>
                      <a:pt x="201" y="144"/>
                    </a:lnTo>
                    <a:lnTo>
                      <a:pt x="234" y="165"/>
                    </a:lnTo>
                    <a:lnTo>
                      <a:pt x="251" y="165"/>
                    </a:lnTo>
                    <a:lnTo>
                      <a:pt x="255" y="189"/>
                    </a:lnTo>
                    <a:lnTo>
                      <a:pt x="289" y="189"/>
                    </a:lnTo>
                    <a:lnTo>
                      <a:pt x="289" y="215"/>
                    </a:lnTo>
                    <a:lnTo>
                      <a:pt x="284" y="222"/>
                    </a:lnTo>
                    <a:lnTo>
                      <a:pt x="289" y="227"/>
                    </a:lnTo>
                    <a:lnTo>
                      <a:pt x="272" y="260"/>
                    </a:lnTo>
                    <a:lnTo>
                      <a:pt x="284" y="300"/>
                    </a:lnTo>
                    <a:lnTo>
                      <a:pt x="229" y="283"/>
                    </a:lnTo>
                    <a:lnTo>
                      <a:pt x="163" y="255"/>
                    </a:lnTo>
                    <a:lnTo>
                      <a:pt x="76" y="165"/>
                    </a:lnTo>
                    <a:lnTo>
                      <a:pt x="50" y="165"/>
                    </a:lnTo>
                    <a:lnTo>
                      <a:pt x="38" y="149"/>
                    </a:lnTo>
                    <a:lnTo>
                      <a:pt x="12" y="132"/>
                    </a:lnTo>
                    <a:lnTo>
                      <a:pt x="0" y="115"/>
                    </a:lnTo>
                    <a:lnTo>
                      <a:pt x="0" y="115"/>
                    </a:lnTo>
                    <a:lnTo>
                      <a:pt x="0" y="11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57" name="Freeform 496">
                <a:extLst>
                  <a:ext uri="{FF2B5EF4-FFF2-40B4-BE49-F238E27FC236}">
                    <a16:creationId xmlns:a16="http://schemas.microsoft.com/office/drawing/2014/main" id="{4D91CA91-DEBC-4BBE-8567-25E72BE30BC2}"/>
                  </a:ext>
                </a:extLst>
              </p:cNvPr>
              <p:cNvSpPr>
                <a:spLocks/>
              </p:cNvSpPr>
              <p:nvPr/>
            </p:nvSpPr>
            <p:spPr bwMode="gray">
              <a:xfrm>
                <a:off x="7505939" y="4937077"/>
                <a:ext cx="72043" cy="67109"/>
              </a:xfrm>
              <a:custGeom>
                <a:avLst/>
                <a:gdLst>
                  <a:gd name="T0" fmla="*/ 128 w 175"/>
                  <a:gd name="T1" fmla="*/ 12 h 163"/>
                  <a:gd name="T2" fmla="*/ 166 w 175"/>
                  <a:gd name="T3" fmla="*/ 38 h 163"/>
                  <a:gd name="T4" fmla="*/ 175 w 175"/>
                  <a:gd name="T5" fmla="*/ 56 h 163"/>
                  <a:gd name="T6" fmla="*/ 159 w 175"/>
                  <a:gd name="T7" fmla="*/ 73 h 163"/>
                  <a:gd name="T8" fmla="*/ 159 w 175"/>
                  <a:gd name="T9" fmla="*/ 78 h 163"/>
                  <a:gd name="T10" fmla="*/ 149 w 175"/>
                  <a:gd name="T11" fmla="*/ 78 h 163"/>
                  <a:gd name="T12" fmla="*/ 149 w 175"/>
                  <a:gd name="T13" fmla="*/ 106 h 163"/>
                  <a:gd name="T14" fmla="*/ 128 w 175"/>
                  <a:gd name="T15" fmla="*/ 123 h 163"/>
                  <a:gd name="T16" fmla="*/ 95 w 175"/>
                  <a:gd name="T17" fmla="*/ 123 h 163"/>
                  <a:gd name="T18" fmla="*/ 71 w 175"/>
                  <a:gd name="T19" fmla="*/ 163 h 163"/>
                  <a:gd name="T20" fmla="*/ 50 w 175"/>
                  <a:gd name="T21" fmla="*/ 163 h 163"/>
                  <a:gd name="T22" fmla="*/ 29 w 175"/>
                  <a:gd name="T23" fmla="*/ 134 h 163"/>
                  <a:gd name="T24" fmla="*/ 17 w 175"/>
                  <a:gd name="T25" fmla="*/ 111 h 163"/>
                  <a:gd name="T26" fmla="*/ 0 w 175"/>
                  <a:gd name="T27" fmla="*/ 78 h 163"/>
                  <a:gd name="T28" fmla="*/ 17 w 175"/>
                  <a:gd name="T29" fmla="*/ 73 h 163"/>
                  <a:gd name="T30" fmla="*/ 38 w 175"/>
                  <a:gd name="T31" fmla="*/ 33 h 163"/>
                  <a:gd name="T32" fmla="*/ 83 w 175"/>
                  <a:gd name="T33" fmla="*/ 12 h 163"/>
                  <a:gd name="T34" fmla="*/ 111 w 175"/>
                  <a:gd name="T35" fmla="*/ 0 h 163"/>
                  <a:gd name="T36" fmla="*/ 128 w 175"/>
                  <a:gd name="T37" fmla="*/ 12 h 163"/>
                  <a:gd name="T38" fmla="*/ 128 w 175"/>
                  <a:gd name="T39" fmla="*/ 12 h 163"/>
                  <a:gd name="T40" fmla="*/ 128 w 175"/>
                  <a:gd name="T41" fmla="*/ 1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63">
                    <a:moveTo>
                      <a:pt x="128" y="12"/>
                    </a:moveTo>
                    <a:lnTo>
                      <a:pt x="166" y="38"/>
                    </a:lnTo>
                    <a:lnTo>
                      <a:pt x="175" y="56"/>
                    </a:lnTo>
                    <a:lnTo>
                      <a:pt x="159" y="73"/>
                    </a:lnTo>
                    <a:lnTo>
                      <a:pt x="159" y="78"/>
                    </a:lnTo>
                    <a:lnTo>
                      <a:pt x="149" y="78"/>
                    </a:lnTo>
                    <a:lnTo>
                      <a:pt x="149" y="106"/>
                    </a:lnTo>
                    <a:lnTo>
                      <a:pt x="128" y="123"/>
                    </a:lnTo>
                    <a:lnTo>
                      <a:pt x="95" y="123"/>
                    </a:lnTo>
                    <a:lnTo>
                      <a:pt x="71" y="163"/>
                    </a:lnTo>
                    <a:lnTo>
                      <a:pt x="50" y="163"/>
                    </a:lnTo>
                    <a:lnTo>
                      <a:pt x="29" y="134"/>
                    </a:lnTo>
                    <a:lnTo>
                      <a:pt x="17" y="111"/>
                    </a:lnTo>
                    <a:lnTo>
                      <a:pt x="0" y="78"/>
                    </a:lnTo>
                    <a:lnTo>
                      <a:pt x="17" y="73"/>
                    </a:lnTo>
                    <a:lnTo>
                      <a:pt x="38" y="33"/>
                    </a:lnTo>
                    <a:lnTo>
                      <a:pt x="83" y="12"/>
                    </a:lnTo>
                    <a:lnTo>
                      <a:pt x="111" y="0"/>
                    </a:lnTo>
                    <a:lnTo>
                      <a:pt x="128" y="12"/>
                    </a:lnTo>
                    <a:lnTo>
                      <a:pt x="128" y="12"/>
                    </a:lnTo>
                    <a:lnTo>
                      <a:pt x="128" y="1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58" name="Freeform 498">
                <a:extLst>
                  <a:ext uri="{FF2B5EF4-FFF2-40B4-BE49-F238E27FC236}">
                    <a16:creationId xmlns:a16="http://schemas.microsoft.com/office/drawing/2014/main" id="{4104FE55-A065-4448-BB8C-0688209D5871}"/>
                  </a:ext>
                </a:extLst>
              </p:cNvPr>
              <p:cNvSpPr>
                <a:spLocks/>
              </p:cNvSpPr>
              <p:nvPr/>
            </p:nvSpPr>
            <p:spPr bwMode="gray">
              <a:xfrm>
                <a:off x="6995468" y="3044418"/>
                <a:ext cx="456953" cy="434772"/>
              </a:xfrm>
              <a:custGeom>
                <a:avLst/>
                <a:gdLst>
                  <a:gd name="T0" fmla="*/ 1096 w 1110"/>
                  <a:gd name="T1" fmla="*/ 867 h 1056"/>
                  <a:gd name="T2" fmla="*/ 1025 w 1110"/>
                  <a:gd name="T3" fmla="*/ 1018 h 1056"/>
                  <a:gd name="T4" fmla="*/ 740 w 1110"/>
                  <a:gd name="T5" fmla="*/ 900 h 1056"/>
                  <a:gd name="T6" fmla="*/ 395 w 1110"/>
                  <a:gd name="T7" fmla="*/ 794 h 1056"/>
                  <a:gd name="T8" fmla="*/ 291 w 1110"/>
                  <a:gd name="T9" fmla="*/ 777 h 1056"/>
                  <a:gd name="T10" fmla="*/ 156 w 1110"/>
                  <a:gd name="T11" fmla="*/ 690 h 1056"/>
                  <a:gd name="T12" fmla="*/ 76 w 1110"/>
                  <a:gd name="T13" fmla="*/ 683 h 1056"/>
                  <a:gd name="T14" fmla="*/ 64 w 1110"/>
                  <a:gd name="T15" fmla="*/ 661 h 1056"/>
                  <a:gd name="T16" fmla="*/ 50 w 1110"/>
                  <a:gd name="T17" fmla="*/ 612 h 1056"/>
                  <a:gd name="T18" fmla="*/ 12 w 1110"/>
                  <a:gd name="T19" fmla="*/ 534 h 1056"/>
                  <a:gd name="T20" fmla="*/ 38 w 1110"/>
                  <a:gd name="T21" fmla="*/ 501 h 1056"/>
                  <a:gd name="T22" fmla="*/ 21 w 1110"/>
                  <a:gd name="T23" fmla="*/ 461 h 1056"/>
                  <a:gd name="T24" fmla="*/ 33 w 1110"/>
                  <a:gd name="T25" fmla="*/ 390 h 1056"/>
                  <a:gd name="T26" fmla="*/ 21 w 1110"/>
                  <a:gd name="T27" fmla="*/ 279 h 1056"/>
                  <a:gd name="T28" fmla="*/ 17 w 1110"/>
                  <a:gd name="T29" fmla="*/ 234 h 1056"/>
                  <a:gd name="T30" fmla="*/ 64 w 1110"/>
                  <a:gd name="T31" fmla="*/ 189 h 1056"/>
                  <a:gd name="T32" fmla="*/ 54 w 1110"/>
                  <a:gd name="T33" fmla="*/ 135 h 1056"/>
                  <a:gd name="T34" fmla="*/ 76 w 1110"/>
                  <a:gd name="T35" fmla="*/ 111 h 1056"/>
                  <a:gd name="T36" fmla="*/ 156 w 1110"/>
                  <a:gd name="T37" fmla="*/ 57 h 1056"/>
                  <a:gd name="T38" fmla="*/ 156 w 1110"/>
                  <a:gd name="T39" fmla="*/ 0 h 1056"/>
                  <a:gd name="T40" fmla="*/ 248 w 1110"/>
                  <a:gd name="T41" fmla="*/ 24 h 1056"/>
                  <a:gd name="T42" fmla="*/ 340 w 1110"/>
                  <a:gd name="T43" fmla="*/ 33 h 1056"/>
                  <a:gd name="T44" fmla="*/ 411 w 1110"/>
                  <a:gd name="T45" fmla="*/ 57 h 1056"/>
                  <a:gd name="T46" fmla="*/ 432 w 1110"/>
                  <a:gd name="T47" fmla="*/ 123 h 1056"/>
                  <a:gd name="T48" fmla="*/ 480 w 1110"/>
                  <a:gd name="T49" fmla="*/ 151 h 1056"/>
                  <a:gd name="T50" fmla="*/ 560 w 1110"/>
                  <a:gd name="T51" fmla="*/ 168 h 1056"/>
                  <a:gd name="T52" fmla="*/ 680 w 1110"/>
                  <a:gd name="T53" fmla="*/ 234 h 1056"/>
                  <a:gd name="T54" fmla="*/ 718 w 1110"/>
                  <a:gd name="T55" fmla="*/ 217 h 1056"/>
                  <a:gd name="T56" fmla="*/ 756 w 1110"/>
                  <a:gd name="T57" fmla="*/ 161 h 1056"/>
                  <a:gd name="T58" fmla="*/ 756 w 1110"/>
                  <a:gd name="T59" fmla="*/ 78 h 1056"/>
                  <a:gd name="T60" fmla="*/ 820 w 1110"/>
                  <a:gd name="T61" fmla="*/ 33 h 1056"/>
                  <a:gd name="T62" fmla="*/ 862 w 1110"/>
                  <a:gd name="T63" fmla="*/ 17 h 1056"/>
                  <a:gd name="T64" fmla="*/ 966 w 1110"/>
                  <a:gd name="T65" fmla="*/ 40 h 1056"/>
                  <a:gd name="T66" fmla="*/ 971 w 1110"/>
                  <a:gd name="T67" fmla="*/ 73 h 1056"/>
                  <a:gd name="T68" fmla="*/ 1035 w 1110"/>
                  <a:gd name="T69" fmla="*/ 95 h 1056"/>
                  <a:gd name="T70" fmla="*/ 1110 w 1110"/>
                  <a:gd name="T71" fmla="*/ 123 h 1056"/>
                  <a:gd name="T72" fmla="*/ 1096 w 1110"/>
                  <a:gd name="T73" fmla="*/ 189 h 1056"/>
                  <a:gd name="T74" fmla="*/ 1096 w 1110"/>
                  <a:gd name="T75" fmla="*/ 312 h 1056"/>
                  <a:gd name="T76" fmla="*/ 1096 w 1110"/>
                  <a:gd name="T77" fmla="*/ 43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10" h="1056">
                    <a:moveTo>
                      <a:pt x="1096" y="439"/>
                    </a:moveTo>
                    <a:lnTo>
                      <a:pt x="1096" y="867"/>
                    </a:lnTo>
                    <a:lnTo>
                      <a:pt x="1096" y="1018"/>
                    </a:lnTo>
                    <a:lnTo>
                      <a:pt x="1025" y="1018"/>
                    </a:lnTo>
                    <a:lnTo>
                      <a:pt x="1025" y="1056"/>
                    </a:lnTo>
                    <a:lnTo>
                      <a:pt x="740" y="900"/>
                    </a:lnTo>
                    <a:lnTo>
                      <a:pt x="463" y="761"/>
                    </a:lnTo>
                    <a:lnTo>
                      <a:pt x="395" y="794"/>
                    </a:lnTo>
                    <a:lnTo>
                      <a:pt x="340" y="829"/>
                    </a:lnTo>
                    <a:lnTo>
                      <a:pt x="291" y="777"/>
                    </a:lnTo>
                    <a:lnTo>
                      <a:pt x="184" y="756"/>
                    </a:lnTo>
                    <a:lnTo>
                      <a:pt x="156" y="690"/>
                    </a:lnTo>
                    <a:lnTo>
                      <a:pt x="92" y="678"/>
                    </a:lnTo>
                    <a:lnTo>
                      <a:pt x="76" y="683"/>
                    </a:lnTo>
                    <a:lnTo>
                      <a:pt x="64" y="666"/>
                    </a:lnTo>
                    <a:lnTo>
                      <a:pt x="64" y="661"/>
                    </a:lnTo>
                    <a:lnTo>
                      <a:pt x="50" y="650"/>
                    </a:lnTo>
                    <a:lnTo>
                      <a:pt x="50" y="612"/>
                    </a:lnTo>
                    <a:lnTo>
                      <a:pt x="0" y="550"/>
                    </a:lnTo>
                    <a:lnTo>
                      <a:pt x="12" y="534"/>
                    </a:lnTo>
                    <a:lnTo>
                      <a:pt x="38" y="522"/>
                    </a:lnTo>
                    <a:lnTo>
                      <a:pt x="38" y="501"/>
                    </a:lnTo>
                    <a:lnTo>
                      <a:pt x="38" y="494"/>
                    </a:lnTo>
                    <a:lnTo>
                      <a:pt x="21" y="461"/>
                    </a:lnTo>
                    <a:lnTo>
                      <a:pt x="50" y="423"/>
                    </a:lnTo>
                    <a:lnTo>
                      <a:pt x="33" y="390"/>
                    </a:lnTo>
                    <a:lnTo>
                      <a:pt x="33" y="317"/>
                    </a:lnTo>
                    <a:lnTo>
                      <a:pt x="21" y="279"/>
                    </a:lnTo>
                    <a:lnTo>
                      <a:pt x="0" y="239"/>
                    </a:lnTo>
                    <a:lnTo>
                      <a:pt x="17" y="234"/>
                    </a:lnTo>
                    <a:lnTo>
                      <a:pt x="38" y="222"/>
                    </a:lnTo>
                    <a:lnTo>
                      <a:pt x="64" y="189"/>
                    </a:lnTo>
                    <a:lnTo>
                      <a:pt x="71" y="177"/>
                    </a:lnTo>
                    <a:lnTo>
                      <a:pt x="54" y="135"/>
                    </a:lnTo>
                    <a:lnTo>
                      <a:pt x="71" y="123"/>
                    </a:lnTo>
                    <a:lnTo>
                      <a:pt x="76" y="111"/>
                    </a:lnTo>
                    <a:lnTo>
                      <a:pt x="109" y="78"/>
                    </a:lnTo>
                    <a:lnTo>
                      <a:pt x="156" y="57"/>
                    </a:lnTo>
                    <a:lnTo>
                      <a:pt x="147" y="40"/>
                    </a:lnTo>
                    <a:lnTo>
                      <a:pt x="156" y="0"/>
                    </a:lnTo>
                    <a:lnTo>
                      <a:pt x="210" y="24"/>
                    </a:lnTo>
                    <a:lnTo>
                      <a:pt x="248" y="24"/>
                    </a:lnTo>
                    <a:lnTo>
                      <a:pt x="281" y="17"/>
                    </a:lnTo>
                    <a:lnTo>
                      <a:pt x="340" y="33"/>
                    </a:lnTo>
                    <a:lnTo>
                      <a:pt x="362" y="50"/>
                    </a:lnTo>
                    <a:lnTo>
                      <a:pt x="411" y="57"/>
                    </a:lnTo>
                    <a:lnTo>
                      <a:pt x="425" y="78"/>
                    </a:lnTo>
                    <a:lnTo>
                      <a:pt x="432" y="123"/>
                    </a:lnTo>
                    <a:lnTo>
                      <a:pt x="449" y="144"/>
                    </a:lnTo>
                    <a:lnTo>
                      <a:pt x="480" y="151"/>
                    </a:lnTo>
                    <a:lnTo>
                      <a:pt x="517" y="151"/>
                    </a:lnTo>
                    <a:lnTo>
                      <a:pt x="560" y="168"/>
                    </a:lnTo>
                    <a:lnTo>
                      <a:pt x="614" y="189"/>
                    </a:lnTo>
                    <a:lnTo>
                      <a:pt x="680" y="234"/>
                    </a:lnTo>
                    <a:lnTo>
                      <a:pt x="702" y="234"/>
                    </a:lnTo>
                    <a:lnTo>
                      <a:pt x="718" y="217"/>
                    </a:lnTo>
                    <a:lnTo>
                      <a:pt x="749" y="184"/>
                    </a:lnTo>
                    <a:lnTo>
                      <a:pt x="756" y="161"/>
                    </a:lnTo>
                    <a:lnTo>
                      <a:pt x="740" y="111"/>
                    </a:lnTo>
                    <a:lnTo>
                      <a:pt x="756" y="78"/>
                    </a:lnTo>
                    <a:lnTo>
                      <a:pt x="787" y="50"/>
                    </a:lnTo>
                    <a:lnTo>
                      <a:pt x="820" y="33"/>
                    </a:lnTo>
                    <a:lnTo>
                      <a:pt x="848" y="24"/>
                    </a:lnTo>
                    <a:lnTo>
                      <a:pt x="862" y="17"/>
                    </a:lnTo>
                    <a:lnTo>
                      <a:pt x="912" y="24"/>
                    </a:lnTo>
                    <a:lnTo>
                      <a:pt x="966" y="40"/>
                    </a:lnTo>
                    <a:lnTo>
                      <a:pt x="966" y="66"/>
                    </a:lnTo>
                    <a:lnTo>
                      <a:pt x="971" y="73"/>
                    </a:lnTo>
                    <a:lnTo>
                      <a:pt x="1009" y="78"/>
                    </a:lnTo>
                    <a:lnTo>
                      <a:pt x="1035" y="95"/>
                    </a:lnTo>
                    <a:lnTo>
                      <a:pt x="1096" y="95"/>
                    </a:lnTo>
                    <a:lnTo>
                      <a:pt x="1110" y="123"/>
                    </a:lnTo>
                    <a:lnTo>
                      <a:pt x="1089" y="144"/>
                    </a:lnTo>
                    <a:lnTo>
                      <a:pt x="1096" y="189"/>
                    </a:lnTo>
                    <a:lnTo>
                      <a:pt x="1080" y="239"/>
                    </a:lnTo>
                    <a:lnTo>
                      <a:pt x="1096" y="312"/>
                    </a:lnTo>
                    <a:lnTo>
                      <a:pt x="1096" y="439"/>
                    </a:lnTo>
                    <a:lnTo>
                      <a:pt x="1096" y="439"/>
                    </a:lnTo>
                    <a:lnTo>
                      <a:pt x="1096" y="43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59" name="Freeform 499">
                <a:extLst>
                  <a:ext uri="{FF2B5EF4-FFF2-40B4-BE49-F238E27FC236}">
                    <a16:creationId xmlns:a16="http://schemas.microsoft.com/office/drawing/2014/main" id="{B0C84EEE-9C90-473C-98C4-7845E443A281}"/>
                  </a:ext>
                </a:extLst>
              </p:cNvPr>
              <p:cNvSpPr>
                <a:spLocks noEditPoints="1"/>
              </p:cNvSpPr>
              <p:nvPr/>
            </p:nvSpPr>
            <p:spPr bwMode="gray">
              <a:xfrm>
                <a:off x="7974008" y="4420373"/>
                <a:ext cx="210775" cy="419538"/>
              </a:xfrm>
              <a:custGeom>
                <a:avLst/>
                <a:gdLst>
                  <a:gd name="T0" fmla="*/ 349 w 512"/>
                  <a:gd name="T1" fmla="*/ 723 h 1019"/>
                  <a:gd name="T2" fmla="*/ 307 w 512"/>
                  <a:gd name="T3" fmla="*/ 884 h 1019"/>
                  <a:gd name="T4" fmla="*/ 243 w 512"/>
                  <a:gd name="T5" fmla="*/ 995 h 1019"/>
                  <a:gd name="T6" fmla="*/ 163 w 512"/>
                  <a:gd name="T7" fmla="*/ 1019 h 1019"/>
                  <a:gd name="T8" fmla="*/ 108 w 512"/>
                  <a:gd name="T9" fmla="*/ 1002 h 1019"/>
                  <a:gd name="T10" fmla="*/ 82 w 512"/>
                  <a:gd name="T11" fmla="*/ 990 h 1019"/>
                  <a:gd name="T12" fmla="*/ 54 w 512"/>
                  <a:gd name="T13" fmla="*/ 978 h 1019"/>
                  <a:gd name="T14" fmla="*/ 33 w 512"/>
                  <a:gd name="T15" fmla="*/ 924 h 1019"/>
                  <a:gd name="T16" fmla="*/ 37 w 512"/>
                  <a:gd name="T17" fmla="*/ 863 h 1019"/>
                  <a:gd name="T18" fmla="*/ 28 w 512"/>
                  <a:gd name="T19" fmla="*/ 830 h 1019"/>
                  <a:gd name="T20" fmla="*/ 0 w 512"/>
                  <a:gd name="T21" fmla="*/ 756 h 1019"/>
                  <a:gd name="T22" fmla="*/ 16 w 512"/>
                  <a:gd name="T23" fmla="*/ 723 h 1019"/>
                  <a:gd name="T24" fmla="*/ 37 w 512"/>
                  <a:gd name="T25" fmla="*/ 685 h 1019"/>
                  <a:gd name="T26" fmla="*/ 87 w 512"/>
                  <a:gd name="T27" fmla="*/ 596 h 1019"/>
                  <a:gd name="T28" fmla="*/ 87 w 512"/>
                  <a:gd name="T29" fmla="*/ 558 h 1019"/>
                  <a:gd name="T30" fmla="*/ 70 w 512"/>
                  <a:gd name="T31" fmla="*/ 513 h 1019"/>
                  <a:gd name="T32" fmla="*/ 54 w 512"/>
                  <a:gd name="T33" fmla="*/ 428 h 1019"/>
                  <a:gd name="T34" fmla="*/ 87 w 512"/>
                  <a:gd name="T35" fmla="*/ 350 h 1019"/>
                  <a:gd name="T36" fmla="*/ 118 w 512"/>
                  <a:gd name="T37" fmla="*/ 312 h 1019"/>
                  <a:gd name="T38" fmla="*/ 146 w 512"/>
                  <a:gd name="T39" fmla="*/ 308 h 1019"/>
                  <a:gd name="T40" fmla="*/ 155 w 512"/>
                  <a:gd name="T41" fmla="*/ 296 h 1019"/>
                  <a:gd name="T42" fmla="*/ 172 w 512"/>
                  <a:gd name="T43" fmla="*/ 308 h 1019"/>
                  <a:gd name="T44" fmla="*/ 188 w 512"/>
                  <a:gd name="T45" fmla="*/ 279 h 1019"/>
                  <a:gd name="T46" fmla="*/ 200 w 512"/>
                  <a:gd name="T47" fmla="*/ 279 h 1019"/>
                  <a:gd name="T48" fmla="*/ 210 w 512"/>
                  <a:gd name="T49" fmla="*/ 279 h 1019"/>
                  <a:gd name="T50" fmla="*/ 214 w 512"/>
                  <a:gd name="T51" fmla="*/ 296 h 1019"/>
                  <a:gd name="T52" fmla="*/ 214 w 512"/>
                  <a:gd name="T53" fmla="*/ 279 h 1019"/>
                  <a:gd name="T54" fmla="*/ 264 w 512"/>
                  <a:gd name="T55" fmla="*/ 239 h 1019"/>
                  <a:gd name="T56" fmla="*/ 264 w 512"/>
                  <a:gd name="T57" fmla="*/ 263 h 1019"/>
                  <a:gd name="T58" fmla="*/ 269 w 512"/>
                  <a:gd name="T59" fmla="*/ 239 h 1019"/>
                  <a:gd name="T60" fmla="*/ 302 w 512"/>
                  <a:gd name="T61" fmla="*/ 206 h 1019"/>
                  <a:gd name="T62" fmla="*/ 323 w 512"/>
                  <a:gd name="T63" fmla="*/ 197 h 1019"/>
                  <a:gd name="T64" fmla="*/ 333 w 512"/>
                  <a:gd name="T65" fmla="*/ 206 h 1019"/>
                  <a:gd name="T66" fmla="*/ 318 w 512"/>
                  <a:gd name="T67" fmla="*/ 197 h 1019"/>
                  <a:gd name="T68" fmla="*/ 318 w 512"/>
                  <a:gd name="T69" fmla="*/ 168 h 1019"/>
                  <a:gd name="T70" fmla="*/ 323 w 512"/>
                  <a:gd name="T71" fmla="*/ 163 h 1019"/>
                  <a:gd name="T72" fmla="*/ 333 w 512"/>
                  <a:gd name="T73" fmla="*/ 180 h 1019"/>
                  <a:gd name="T74" fmla="*/ 333 w 512"/>
                  <a:gd name="T75" fmla="*/ 152 h 1019"/>
                  <a:gd name="T76" fmla="*/ 323 w 512"/>
                  <a:gd name="T77" fmla="*/ 140 h 1019"/>
                  <a:gd name="T78" fmla="*/ 340 w 512"/>
                  <a:gd name="T79" fmla="*/ 111 h 1019"/>
                  <a:gd name="T80" fmla="*/ 356 w 512"/>
                  <a:gd name="T81" fmla="*/ 123 h 1019"/>
                  <a:gd name="T82" fmla="*/ 403 w 512"/>
                  <a:gd name="T83" fmla="*/ 69 h 1019"/>
                  <a:gd name="T84" fmla="*/ 387 w 512"/>
                  <a:gd name="T85" fmla="*/ 34 h 1019"/>
                  <a:gd name="T86" fmla="*/ 403 w 512"/>
                  <a:gd name="T87" fmla="*/ 29 h 1019"/>
                  <a:gd name="T88" fmla="*/ 415 w 512"/>
                  <a:gd name="T89" fmla="*/ 12 h 1019"/>
                  <a:gd name="T90" fmla="*/ 429 w 512"/>
                  <a:gd name="T91" fmla="*/ 17 h 1019"/>
                  <a:gd name="T92" fmla="*/ 425 w 512"/>
                  <a:gd name="T93" fmla="*/ 17 h 1019"/>
                  <a:gd name="T94" fmla="*/ 446 w 512"/>
                  <a:gd name="T95" fmla="*/ 50 h 1019"/>
                  <a:gd name="T96" fmla="*/ 484 w 512"/>
                  <a:gd name="T97" fmla="*/ 140 h 1019"/>
                  <a:gd name="T98" fmla="*/ 512 w 512"/>
                  <a:gd name="T99" fmla="*/ 251 h 1019"/>
                  <a:gd name="T100" fmla="*/ 479 w 512"/>
                  <a:gd name="T101" fmla="*/ 291 h 1019"/>
                  <a:gd name="T102" fmla="*/ 458 w 512"/>
                  <a:gd name="T103" fmla="*/ 258 h 1019"/>
                  <a:gd name="T104" fmla="*/ 458 w 512"/>
                  <a:gd name="T105" fmla="*/ 291 h 1019"/>
                  <a:gd name="T106" fmla="*/ 462 w 512"/>
                  <a:gd name="T107" fmla="*/ 312 h 1019"/>
                  <a:gd name="T108" fmla="*/ 458 w 512"/>
                  <a:gd name="T109" fmla="*/ 350 h 1019"/>
                  <a:gd name="T110" fmla="*/ 446 w 512"/>
                  <a:gd name="T111" fmla="*/ 369 h 1019"/>
                  <a:gd name="T112" fmla="*/ 441 w 512"/>
                  <a:gd name="T113" fmla="*/ 423 h 1019"/>
                  <a:gd name="T114" fmla="*/ 377 w 512"/>
                  <a:gd name="T115" fmla="*/ 629 h 1019"/>
                  <a:gd name="T116" fmla="*/ 377 w 512"/>
                  <a:gd name="T117" fmla="*/ 629 h 1019"/>
                  <a:gd name="T118" fmla="*/ 349 w 512"/>
                  <a:gd name="T119" fmla="*/ 107 h 1019"/>
                  <a:gd name="T120" fmla="*/ 356 w 512"/>
                  <a:gd name="T121" fmla="*/ 107 h 1019"/>
                  <a:gd name="T122" fmla="*/ 356 w 512"/>
                  <a:gd name="T123" fmla="*/ 107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1019">
                    <a:moveTo>
                      <a:pt x="377" y="629"/>
                    </a:moveTo>
                    <a:lnTo>
                      <a:pt x="349" y="723"/>
                    </a:lnTo>
                    <a:lnTo>
                      <a:pt x="323" y="780"/>
                    </a:lnTo>
                    <a:lnTo>
                      <a:pt x="307" y="884"/>
                    </a:lnTo>
                    <a:lnTo>
                      <a:pt x="269" y="974"/>
                    </a:lnTo>
                    <a:lnTo>
                      <a:pt x="243" y="995"/>
                    </a:lnTo>
                    <a:lnTo>
                      <a:pt x="210" y="995"/>
                    </a:lnTo>
                    <a:lnTo>
                      <a:pt x="163" y="1019"/>
                    </a:lnTo>
                    <a:lnTo>
                      <a:pt x="141" y="1019"/>
                    </a:lnTo>
                    <a:lnTo>
                      <a:pt x="108" y="1002"/>
                    </a:lnTo>
                    <a:lnTo>
                      <a:pt x="82" y="995"/>
                    </a:lnTo>
                    <a:lnTo>
                      <a:pt x="82" y="990"/>
                    </a:lnTo>
                    <a:lnTo>
                      <a:pt x="87" y="995"/>
                    </a:lnTo>
                    <a:lnTo>
                      <a:pt x="54" y="978"/>
                    </a:lnTo>
                    <a:lnTo>
                      <a:pt x="49" y="945"/>
                    </a:lnTo>
                    <a:lnTo>
                      <a:pt x="33" y="924"/>
                    </a:lnTo>
                    <a:lnTo>
                      <a:pt x="33" y="879"/>
                    </a:lnTo>
                    <a:lnTo>
                      <a:pt x="37" y="863"/>
                    </a:lnTo>
                    <a:lnTo>
                      <a:pt x="33" y="851"/>
                    </a:lnTo>
                    <a:lnTo>
                      <a:pt x="28" y="830"/>
                    </a:lnTo>
                    <a:lnTo>
                      <a:pt x="11" y="813"/>
                    </a:lnTo>
                    <a:lnTo>
                      <a:pt x="0" y="756"/>
                    </a:lnTo>
                    <a:lnTo>
                      <a:pt x="11" y="735"/>
                    </a:lnTo>
                    <a:lnTo>
                      <a:pt x="16" y="723"/>
                    </a:lnTo>
                    <a:lnTo>
                      <a:pt x="16" y="702"/>
                    </a:lnTo>
                    <a:lnTo>
                      <a:pt x="37" y="685"/>
                    </a:lnTo>
                    <a:lnTo>
                      <a:pt x="49" y="662"/>
                    </a:lnTo>
                    <a:lnTo>
                      <a:pt x="87" y="596"/>
                    </a:lnTo>
                    <a:lnTo>
                      <a:pt x="82" y="584"/>
                    </a:lnTo>
                    <a:lnTo>
                      <a:pt x="87" y="558"/>
                    </a:lnTo>
                    <a:lnTo>
                      <a:pt x="70" y="530"/>
                    </a:lnTo>
                    <a:lnTo>
                      <a:pt x="70" y="513"/>
                    </a:lnTo>
                    <a:lnTo>
                      <a:pt x="54" y="480"/>
                    </a:lnTo>
                    <a:lnTo>
                      <a:pt x="54" y="428"/>
                    </a:lnTo>
                    <a:lnTo>
                      <a:pt x="49" y="419"/>
                    </a:lnTo>
                    <a:lnTo>
                      <a:pt x="87" y="350"/>
                    </a:lnTo>
                    <a:lnTo>
                      <a:pt x="87" y="312"/>
                    </a:lnTo>
                    <a:lnTo>
                      <a:pt x="118" y="312"/>
                    </a:lnTo>
                    <a:lnTo>
                      <a:pt x="146" y="296"/>
                    </a:lnTo>
                    <a:lnTo>
                      <a:pt x="146" y="308"/>
                    </a:lnTo>
                    <a:lnTo>
                      <a:pt x="155" y="308"/>
                    </a:lnTo>
                    <a:lnTo>
                      <a:pt x="155" y="296"/>
                    </a:lnTo>
                    <a:lnTo>
                      <a:pt x="163" y="296"/>
                    </a:lnTo>
                    <a:lnTo>
                      <a:pt x="172" y="308"/>
                    </a:lnTo>
                    <a:lnTo>
                      <a:pt x="177" y="279"/>
                    </a:lnTo>
                    <a:lnTo>
                      <a:pt x="188" y="279"/>
                    </a:lnTo>
                    <a:lnTo>
                      <a:pt x="200" y="291"/>
                    </a:lnTo>
                    <a:lnTo>
                      <a:pt x="200" y="279"/>
                    </a:lnTo>
                    <a:lnTo>
                      <a:pt x="193" y="279"/>
                    </a:lnTo>
                    <a:lnTo>
                      <a:pt x="210" y="279"/>
                    </a:lnTo>
                    <a:lnTo>
                      <a:pt x="210" y="279"/>
                    </a:lnTo>
                    <a:lnTo>
                      <a:pt x="214" y="296"/>
                    </a:lnTo>
                    <a:lnTo>
                      <a:pt x="231" y="296"/>
                    </a:lnTo>
                    <a:lnTo>
                      <a:pt x="214" y="279"/>
                    </a:lnTo>
                    <a:lnTo>
                      <a:pt x="214" y="274"/>
                    </a:lnTo>
                    <a:lnTo>
                      <a:pt x="264" y="239"/>
                    </a:lnTo>
                    <a:lnTo>
                      <a:pt x="269" y="251"/>
                    </a:lnTo>
                    <a:lnTo>
                      <a:pt x="264" y="263"/>
                    </a:lnTo>
                    <a:lnTo>
                      <a:pt x="281" y="258"/>
                    </a:lnTo>
                    <a:lnTo>
                      <a:pt x="269" y="239"/>
                    </a:lnTo>
                    <a:lnTo>
                      <a:pt x="297" y="201"/>
                    </a:lnTo>
                    <a:lnTo>
                      <a:pt x="302" y="206"/>
                    </a:lnTo>
                    <a:lnTo>
                      <a:pt x="297" y="234"/>
                    </a:lnTo>
                    <a:lnTo>
                      <a:pt x="323" y="197"/>
                    </a:lnTo>
                    <a:lnTo>
                      <a:pt x="333" y="201"/>
                    </a:lnTo>
                    <a:lnTo>
                      <a:pt x="333" y="206"/>
                    </a:lnTo>
                    <a:lnTo>
                      <a:pt x="333" y="197"/>
                    </a:lnTo>
                    <a:lnTo>
                      <a:pt x="318" y="197"/>
                    </a:lnTo>
                    <a:lnTo>
                      <a:pt x="318" y="185"/>
                    </a:lnTo>
                    <a:lnTo>
                      <a:pt x="318" y="168"/>
                    </a:lnTo>
                    <a:lnTo>
                      <a:pt x="333" y="168"/>
                    </a:lnTo>
                    <a:lnTo>
                      <a:pt x="323" y="163"/>
                    </a:lnTo>
                    <a:lnTo>
                      <a:pt x="340" y="163"/>
                    </a:lnTo>
                    <a:lnTo>
                      <a:pt x="333" y="180"/>
                    </a:lnTo>
                    <a:lnTo>
                      <a:pt x="340" y="163"/>
                    </a:lnTo>
                    <a:lnTo>
                      <a:pt x="333" y="152"/>
                    </a:lnTo>
                    <a:lnTo>
                      <a:pt x="340" y="145"/>
                    </a:lnTo>
                    <a:lnTo>
                      <a:pt x="323" y="140"/>
                    </a:lnTo>
                    <a:lnTo>
                      <a:pt x="333" y="123"/>
                    </a:lnTo>
                    <a:lnTo>
                      <a:pt x="340" y="111"/>
                    </a:lnTo>
                    <a:lnTo>
                      <a:pt x="356" y="140"/>
                    </a:lnTo>
                    <a:lnTo>
                      <a:pt x="356" y="123"/>
                    </a:lnTo>
                    <a:lnTo>
                      <a:pt x="394" y="107"/>
                    </a:lnTo>
                    <a:lnTo>
                      <a:pt x="403" y="69"/>
                    </a:lnTo>
                    <a:lnTo>
                      <a:pt x="394" y="50"/>
                    </a:lnTo>
                    <a:lnTo>
                      <a:pt x="387" y="34"/>
                    </a:lnTo>
                    <a:lnTo>
                      <a:pt x="403" y="41"/>
                    </a:lnTo>
                    <a:lnTo>
                      <a:pt x="403" y="29"/>
                    </a:lnTo>
                    <a:lnTo>
                      <a:pt x="415" y="17"/>
                    </a:lnTo>
                    <a:lnTo>
                      <a:pt x="415" y="12"/>
                    </a:lnTo>
                    <a:lnTo>
                      <a:pt x="425" y="0"/>
                    </a:lnTo>
                    <a:lnTo>
                      <a:pt x="429" y="17"/>
                    </a:lnTo>
                    <a:lnTo>
                      <a:pt x="425" y="17"/>
                    </a:lnTo>
                    <a:lnTo>
                      <a:pt x="425" y="17"/>
                    </a:lnTo>
                    <a:lnTo>
                      <a:pt x="441" y="29"/>
                    </a:lnTo>
                    <a:lnTo>
                      <a:pt x="446" y="50"/>
                    </a:lnTo>
                    <a:lnTo>
                      <a:pt x="467" y="85"/>
                    </a:lnTo>
                    <a:lnTo>
                      <a:pt x="484" y="140"/>
                    </a:lnTo>
                    <a:lnTo>
                      <a:pt x="484" y="197"/>
                    </a:lnTo>
                    <a:lnTo>
                      <a:pt x="512" y="251"/>
                    </a:lnTo>
                    <a:lnTo>
                      <a:pt x="496" y="296"/>
                    </a:lnTo>
                    <a:lnTo>
                      <a:pt x="479" y="291"/>
                    </a:lnTo>
                    <a:lnTo>
                      <a:pt x="462" y="258"/>
                    </a:lnTo>
                    <a:lnTo>
                      <a:pt x="458" y="258"/>
                    </a:lnTo>
                    <a:lnTo>
                      <a:pt x="446" y="263"/>
                    </a:lnTo>
                    <a:lnTo>
                      <a:pt x="458" y="291"/>
                    </a:lnTo>
                    <a:lnTo>
                      <a:pt x="458" y="308"/>
                    </a:lnTo>
                    <a:lnTo>
                      <a:pt x="462" y="312"/>
                    </a:lnTo>
                    <a:lnTo>
                      <a:pt x="462" y="334"/>
                    </a:lnTo>
                    <a:lnTo>
                      <a:pt x="458" y="350"/>
                    </a:lnTo>
                    <a:lnTo>
                      <a:pt x="462" y="362"/>
                    </a:lnTo>
                    <a:lnTo>
                      <a:pt x="446" y="369"/>
                    </a:lnTo>
                    <a:lnTo>
                      <a:pt x="429" y="402"/>
                    </a:lnTo>
                    <a:lnTo>
                      <a:pt x="441" y="423"/>
                    </a:lnTo>
                    <a:lnTo>
                      <a:pt x="429" y="473"/>
                    </a:lnTo>
                    <a:lnTo>
                      <a:pt x="377" y="629"/>
                    </a:lnTo>
                    <a:lnTo>
                      <a:pt x="377" y="629"/>
                    </a:lnTo>
                    <a:lnTo>
                      <a:pt x="377" y="629"/>
                    </a:lnTo>
                    <a:close/>
                    <a:moveTo>
                      <a:pt x="356" y="107"/>
                    </a:moveTo>
                    <a:lnTo>
                      <a:pt x="349" y="107"/>
                    </a:lnTo>
                    <a:lnTo>
                      <a:pt x="356" y="90"/>
                    </a:lnTo>
                    <a:lnTo>
                      <a:pt x="356" y="107"/>
                    </a:lnTo>
                    <a:lnTo>
                      <a:pt x="356" y="107"/>
                    </a:lnTo>
                    <a:lnTo>
                      <a:pt x="356" y="10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60" name="Freeform 502">
                <a:extLst>
                  <a:ext uri="{FF2B5EF4-FFF2-40B4-BE49-F238E27FC236}">
                    <a16:creationId xmlns:a16="http://schemas.microsoft.com/office/drawing/2014/main" id="{21793B96-8917-4E4C-A649-D207E5994AB1}"/>
                  </a:ext>
                </a:extLst>
              </p:cNvPr>
              <p:cNvSpPr>
                <a:spLocks/>
              </p:cNvSpPr>
              <p:nvPr/>
            </p:nvSpPr>
            <p:spPr bwMode="gray">
              <a:xfrm>
                <a:off x="8029172" y="4441782"/>
                <a:ext cx="2058" cy="9058"/>
              </a:xfrm>
              <a:custGeom>
                <a:avLst/>
                <a:gdLst>
                  <a:gd name="T0" fmla="*/ 0 w 5"/>
                  <a:gd name="T1" fmla="*/ 22 h 22"/>
                  <a:gd name="T2" fmla="*/ 0 w 5"/>
                  <a:gd name="T3" fmla="*/ 22 h 22"/>
                  <a:gd name="T4" fmla="*/ 0 w 5"/>
                  <a:gd name="T5" fmla="*/ 0 h 22"/>
                  <a:gd name="T6" fmla="*/ 5 w 5"/>
                  <a:gd name="T7" fmla="*/ 5 h 22"/>
                  <a:gd name="T8" fmla="*/ 0 w 5"/>
                  <a:gd name="T9" fmla="*/ 22 h 22"/>
                  <a:gd name="T10" fmla="*/ 0 w 5"/>
                  <a:gd name="T11" fmla="*/ 22 h 22"/>
                  <a:gd name="T12" fmla="*/ 0 w 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5" h="22">
                    <a:moveTo>
                      <a:pt x="0" y="22"/>
                    </a:moveTo>
                    <a:lnTo>
                      <a:pt x="0" y="22"/>
                    </a:lnTo>
                    <a:lnTo>
                      <a:pt x="0" y="0"/>
                    </a:lnTo>
                    <a:lnTo>
                      <a:pt x="5" y="5"/>
                    </a:lnTo>
                    <a:lnTo>
                      <a:pt x="0" y="22"/>
                    </a:lnTo>
                    <a:lnTo>
                      <a:pt x="0" y="22"/>
                    </a:lnTo>
                    <a:lnTo>
                      <a:pt x="0" y="2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61" name="Freeform 505">
                <a:extLst>
                  <a:ext uri="{FF2B5EF4-FFF2-40B4-BE49-F238E27FC236}">
                    <a16:creationId xmlns:a16="http://schemas.microsoft.com/office/drawing/2014/main" id="{816826E9-6605-4FD7-8C6D-4AA1CDD9B1E9}"/>
                  </a:ext>
                </a:extLst>
              </p:cNvPr>
              <p:cNvSpPr>
                <a:spLocks/>
              </p:cNvSpPr>
              <p:nvPr/>
            </p:nvSpPr>
            <p:spPr bwMode="gray">
              <a:xfrm>
                <a:off x="7668549" y="4342558"/>
                <a:ext cx="95095" cy="237560"/>
              </a:xfrm>
              <a:custGeom>
                <a:avLst/>
                <a:gdLst>
                  <a:gd name="T0" fmla="*/ 33 w 231"/>
                  <a:gd name="T1" fmla="*/ 336 h 577"/>
                  <a:gd name="T2" fmla="*/ 21 w 231"/>
                  <a:gd name="T3" fmla="*/ 336 h 577"/>
                  <a:gd name="T4" fmla="*/ 16 w 231"/>
                  <a:gd name="T5" fmla="*/ 298 h 577"/>
                  <a:gd name="T6" fmla="*/ 21 w 231"/>
                  <a:gd name="T7" fmla="*/ 246 h 577"/>
                  <a:gd name="T8" fmla="*/ 49 w 231"/>
                  <a:gd name="T9" fmla="*/ 230 h 577"/>
                  <a:gd name="T10" fmla="*/ 49 w 231"/>
                  <a:gd name="T11" fmla="*/ 220 h 577"/>
                  <a:gd name="T12" fmla="*/ 49 w 231"/>
                  <a:gd name="T13" fmla="*/ 175 h 577"/>
                  <a:gd name="T14" fmla="*/ 54 w 231"/>
                  <a:gd name="T15" fmla="*/ 130 h 577"/>
                  <a:gd name="T16" fmla="*/ 64 w 231"/>
                  <a:gd name="T17" fmla="*/ 107 h 577"/>
                  <a:gd name="T18" fmla="*/ 64 w 231"/>
                  <a:gd name="T19" fmla="*/ 74 h 577"/>
                  <a:gd name="T20" fmla="*/ 49 w 231"/>
                  <a:gd name="T21" fmla="*/ 52 h 577"/>
                  <a:gd name="T22" fmla="*/ 38 w 231"/>
                  <a:gd name="T23" fmla="*/ 17 h 577"/>
                  <a:gd name="T24" fmla="*/ 16 w 231"/>
                  <a:gd name="T25" fmla="*/ 0 h 577"/>
                  <a:gd name="T26" fmla="*/ 54 w 231"/>
                  <a:gd name="T27" fmla="*/ 17 h 577"/>
                  <a:gd name="T28" fmla="*/ 87 w 231"/>
                  <a:gd name="T29" fmla="*/ 24 h 577"/>
                  <a:gd name="T30" fmla="*/ 118 w 231"/>
                  <a:gd name="T31" fmla="*/ 24 h 577"/>
                  <a:gd name="T32" fmla="*/ 139 w 231"/>
                  <a:gd name="T33" fmla="*/ 107 h 577"/>
                  <a:gd name="T34" fmla="*/ 163 w 231"/>
                  <a:gd name="T35" fmla="*/ 163 h 577"/>
                  <a:gd name="T36" fmla="*/ 139 w 231"/>
                  <a:gd name="T37" fmla="*/ 175 h 577"/>
                  <a:gd name="T38" fmla="*/ 130 w 231"/>
                  <a:gd name="T39" fmla="*/ 246 h 577"/>
                  <a:gd name="T40" fmla="*/ 139 w 231"/>
                  <a:gd name="T41" fmla="*/ 303 h 577"/>
                  <a:gd name="T42" fmla="*/ 172 w 231"/>
                  <a:gd name="T43" fmla="*/ 319 h 577"/>
                  <a:gd name="T44" fmla="*/ 231 w 231"/>
                  <a:gd name="T45" fmla="*/ 409 h 577"/>
                  <a:gd name="T46" fmla="*/ 227 w 231"/>
                  <a:gd name="T47" fmla="*/ 447 h 577"/>
                  <a:gd name="T48" fmla="*/ 201 w 231"/>
                  <a:gd name="T49" fmla="*/ 504 h 577"/>
                  <a:gd name="T50" fmla="*/ 172 w 231"/>
                  <a:gd name="T51" fmla="*/ 527 h 577"/>
                  <a:gd name="T52" fmla="*/ 184 w 231"/>
                  <a:gd name="T53" fmla="*/ 577 h 577"/>
                  <a:gd name="T54" fmla="*/ 177 w 231"/>
                  <a:gd name="T55" fmla="*/ 553 h 577"/>
                  <a:gd name="T56" fmla="*/ 130 w 231"/>
                  <a:gd name="T57" fmla="*/ 508 h 577"/>
                  <a:gd name="T58" fmla="*/ 125 w 231"/>
                  <a:gd name="T59" fmla="*/ 499 h 577"/>
                  <a:gd name="T60" fmla="*/ 130 w 231"/>
                  <a:gd name="T61" fmla="*/ 442 h 577"/>
                  <a:gd name="T62" fmla="*/ 118 w 231"/>
                  <a:gd name="T63" fmla="*/ 369 h 577"/>
                  <a:gd name="T64" fmla="*/ 38 w 231"/>
                  <a:gd name="T65" fmla="*/ 343 h 577"/>
                  <a:gd name="T66" fmla="*/ 38 w 231"/>
                  <a:gd name="T67" fmla="*/ 343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 h="577">
                    <a:moveTo>
                      <a:pt x="38" y="343"/>
                    </a:moveTo>
                    <a:lnTo>
                      <a:pt x="33" y="336"/>
                    </a:lnTo>
                    <a:lnTo>
                      <a:pt x="33" y="343"/>
                    </a:lnTo>
                    <a:lnTo>
                      <a:pt x="21" y="336"/>
                    </a:lnTo>
                    <a:lnTo>
                      <a:pt x="0" y="315"/>
                    </a:lnTo>
                    <a:lnTo>
                      <a:pt x="16" y="298"/>
                    </a:lnTo>
                    <a:lnTo>
                      <a:pt x="21" y="263"/>
                    </a:lnTo>
                    <a:lnTo>
                      <a:pt x="21" y="246"/>
                    </a:lnTo>
                    <a:lnTo>
                      <a:pt x="21" y="241"/>
                    </a:lnTo>
                    <a:lnTo>
                      <a:pt x="49" y="230"/>
                    </a:lnTo>
                    <a:lnTo>
                      <a:pt x="64" y="225"/>
                    </a:lnTo>
                    <a:lnTo>
                      <a:pt x="49" y="220"/>
                    </a:lnTo>
                    <a:lnTo>
                      <a:pt x="38" y="208"/>
                    </a:lnTo>
                    <a:lnTo>
                      <a:pt x="49" y="175"/>
                    </a:lnTo>
                    <a:lnTo>
                      <a:pt x="38" y="152"/>
                    </a:lnTo>
                    <a:lnTo>
                      <a:pt x="54" y="130"/>
                    </a:lnTo>
                    <a:lnTo>
                      <a:pt x="38" y="114"/>
                    </a:lnTo>
                    <a:lnTo>
                      <a:pt x="64" y="107"/>
                    </a:lnTo>
                    <a:lnTo>
                      <a:pt x="71" y="90"/>
                    </a:lnTo>
                    <a:lnTo>
                      <a:pt x="64" y="74"/>
                    </a:lnTo>
                    <a:lnTo>
                      <a:pt x="64" y="62"/>
                    </a:lnTo>
                    <a:lnTo>
                      <a:pt x="49" y="52"/>
                    </a:lnTo>
                    <a:lnTo>
                      <a:pt x="49" y="41"/>
                    </a:lnTo>
                    <a:lnTo>
                      <a:pt x="38" y="17"/>
                    </a:lnTo>
                    <a:lnTo>
                      <a:pt x="21" y="17"/>
                    </a:lnTo>
                    <a:lnTo>
                      <a:pt x="16" y="0"/>
                    </a:lnTo>
                    <a:lnTo>
                      <a:pt x="49" y="8"/>
                    </a:lnTo>
                    <a:lnTo>
                      <a:pt x="54" y="17"/>
                    </a:lnTo>
                    <a:lnTo>
                      <a:pt x="75" y="17"/>
                    </a:lnTo>
                    <a:lnTo>
                      <a:pt x="87" y="24"/>
                    </a:lnTo>
                    <a:lnTo>
                      <a:pt x="92" y="8"/>
                    </a:lnTo>
                    <a:lnTo>
                      <a:pt x="118" y="24"/>
                    </a:lnTo>
                    <a:lnTo>
                      <a:pt x="130" y="52"/>
                    </a:lnTo>
                    <a:lnTo>
                      <a:pt x="139" y="107"/>
                    </a:lnTo>
                    <a:lnTo>
                      <a:pt x="139" y="130"/>
                    </a:lnTo>
                    <a:lnTo>
                      <a:pt x="163" y="163"/>
                    </a:lnTo>
                    <a:lnTo>
                      <a:pt x="139" y="163"/>
                    </a:lnTo>
                    <a:lnTo>
                      <a:pt x="139" y="175"/>
                    </a:lnTo>
                    <a:lnTo>
                      <a:pt x="125" y="208"/>
                    </a:lnTo>
                    <a:lnTo>
                      <a:pt x="130" y="246"/>
                    </a:lnTo>
                    <a:lnTo>
                      <a:pt x="130" y="298"/>
                    </a:lnTo>
                    <a:lnTo>
                      <a:pt x="139" y="303"/>
                    </a:lnTo>
                    <a:lnTo>
                      <a:pt x="156" y="303"/>
                    </a:lnTo>
                    <a:lnTo>
                      <a:pt x="172" y="319"/>
                    </a:lnTo>
                    <a:lnTo>
                      <a:pt x="227" y="393"/>
                    </a:lnTo>
                    <a:lnTo>
                      <a:pt x="231" y="409"/>
                    </a:lnTo>
                    <a:lnTo>
                      <a:pt x="215" y="430"/>
                    </a:lnTo>
                    <a:lnTo>
                      <a:pt x="227" y="447"/>
                    </a:lnTo>
                    <a:lnTo>
                      <a:pt x="227" y="487"/>
                    </a:lnTo>
                    <a:lnTo>
                      <a:pt x="201" y="504"/>
                    </a:lnTo>
                    <a:lnTo>
                      <a:pt x="193" y="499"/>
                    </a:lnTo>
                    <a:lnTo>
                      <a:pt x="172" y="527"/>
                    </a:lnTo>
                    <a:lnTo>
                      <a:pt x="184" y="544"/>
                    </a:lnTo>
                    <a:lnTo>
                      <a:pt x="184" y="577"/>
                    </a:lnTo>
                    <a:lnTo>
                      <a:pt x="172" y="577"/>
                    </a:lnTo>
                    <a:lnTo>
                      <a:pt x="177" y="553"/>
                    </a:lnTo>
                    <a:lnTo>
                      <a:pt x="163" y="553"/>
                    </a:lnTo>
                    <a:lnTo>
                      <a:pt x="130" y="508"/>
                    </a:lnTo>
                    <a:lnTo>
                      <a:pt x="125" y="508"/>
                    </a:lnTo>
                    <a:lnTo>
                      <a:pt x="125" y="499"/>
                    </a:lnTo>
                    <a:lnTo>
                      <a:pt x="108" y="482"/>
                    </a:lnTo>
                    <a:lnTo>
                      <a:pt x="130" y="442"/>
                    </a:lnTo>
                    <a:lnTo>
                      <a:pt x="130" y="386"/>
                    </a:lnTo>
                    <a:lnTo>
                      <a:pt x="118" y="369"/>
                    </a:lnTo>
                    <a:lnTo>
                      <a:pt x="71" y="386"/>
                    </a:lnTo>
                    <a:lnTo>
                      <a:pt x="38" y="343"/>
                    </a:lnTo>
                    <a:lnTo>
                      <a:pt x="38" y="343"/>
                    </a:lnTo>
                    <a:lnTo>
                      <a:pt x="38" y="34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62" name="Freeform 507">
                <a:extLst>
                  <a:ext uri="{FF2B5EF4-FFF2-40B4-BE49-F238E27FC236}">
                    <a16:creationId xmlns:a16="http://schemas.microsoft.com/office/drawing/2014/main" id="{5F6112E5-F492-4718-803D-AEFC3896C123}"/>
                  </a:ext>
                </a:extLst>
              </p:cNvPr>
              <p:cNvSpPr>
                <a:spLocks/>
              </p:cNvSpPr>
              <p:nvPr/>
            </p:nvSpPr>
            <p:spPr bwMode="gray">
              <a:xfrm>
                <a:off x="6373023" y="3309975"/>
                <a:ext cx="475479" cy="453300"/>
              </a:xfrm>
              <a:custGeom>
                <a:avLst/>
                <a:gdLst>
                  <a:gd name="T0" fmla="*/ 130 w 1155"/>
                  <a:gd name="T1" fmla="*/ 947 h 1101"/>
                  <a:gd name="T2" fmla="*/ 88 w 1155"/>
                  <a:gd name="T3" fmla="*/ 947 h 1101"/>
                  <a:gd name="T4" fmla="*/ 55 w 1155"/>
                  <a:gd name="T5" fmla="*/ 947 h 1101"/>
                  <a:gd name="T6" fmla="*/ 67 w 1155"/>
                  <a:gd name="T7" fmla="*/ 890 h 1101"/>
                  <a:gd name="T8" fmla="*/ 33 w 1155"/>
                  <a:gd name="T9" fmla="*/ 864 h 1101"/>
                  <a:gd name="T10" fmla="*/ 12 w 1155"/>
                  <a:gd name="T11" fmla="*/ 848 h 1101"/>
                  <a:gd name="T12" fmla="*/ 17 w 1155"/>
                  <a:gd name="T13" fmla="*/ 808 h 1101"/>
                  <a:gd name="T14" fmla="*/ 0 w 1155"/>
                  <a:gd name="T15" fmla="*/ 758 h 1101"/>
                  <a:gd name="T16" fmla="*/ 24 w 1155"/>
                  <a:gd name="T17" fmla="*/ 758 h 1101"/>
                  <a:gd name="T18" fmla="*/ 55 w 1155"/>
                  <a:gd name="T19" fmla="*/ 697 h 1101"/>
                  <a:gd name="T20" fmla="*/ 109 w 1155"/>
                  <a:gd name="T21" fmla="*/ 713 h 1101"/>
                  <a:gd name="T22" fmla="*/ 196 w 1155"/>
                  <a:gd name="T23" fmla="*/ 713 h 1101"/>
                  <a:gd name="T24" fmla="*/ 201 w 1155"/>
                  <a:gd name="T25" fmla="*/ 697 h 1101"/>
                  <a:gd name="T26" fmla="*/ 470 w 1155"/>
                  <a:gd name="T27" fmla="*/ 713 h 1101"/>
                  <a:gd name="T28" fmla="*/ 466 w 1155"/>
                  <a:gd name="T29" fmla="*/ 631 h 1101"/>
                  <a:gd name="T30" fmla="*/ 395 w 1155"/>
                  <a:gd name="T31" fmla="*/ 0 h 1101"/>
                  <a:gd name="T32" fmla="*/ 941 w 1155"/>
                  <a:gd name="T33" fmla="*/ 293 h 1101"/>
                  <a:gd name="T34" fmla="*/ 974 w 1155"/>
                  <a:gd name="T35" fmla="*/ 331 h 1101"/>
                  <a:gd name="T36" fmla="*/ 1004 w 1155"/>
                  <a:gd name="T37" fmla="*/ 354 h 1101"/>
                  <a:gd name="T38" fmla="*/ 1026 w 1155"/>
                  <a:gd name="T39" fmla="*/ 371 h 1101"/>
                  <a:gd name="T40" fmla="*/ 1092 w 1155"/>
                  <a:gd name="T41" fmla="*/ 420 h 1101"/>
                  <a:gd name="T42" fmla="*/ 1092 w 1155"/>
                  <a:gd name="T43" fmla="*/ 449 h 1101"/>
                  <a:gd name="T44" fmla="*/ 1151 w 1155"/>
                  <a:gd name="T45" fmla="*/ 642 h 1101"/>
                  <a:gd name="T46" fmla="*/ 1129 w 1155"/>
                  <a:gd name="T47" fmla="*/ 697 h 1101"/>
                  <a:gd name="T48" fmla="*/ 1101 w 1155"/>
                  <a:gd name="T49" fmla="*/ 720 h 1101"/>
                  <a:gd name="T50" fmla="*/ 1063 w 1155"/>
                  <a:gd name="T51" fmla="*/ 720 h 1101"/>
                  <a:gd name="T52" fmla="*/ 929 w 1155"/>
                  <a:gd name="T53" fmla="*/ 742 h 1101"/>
                  <a:gd name="T54" fmla="*/ 874 w 1155"/>
                  <a:gd name="T55" fmla="*/ 753 h 1101"/>
                  <a:gd name="T56" fmla="*/ 832 w 1155"/>
                  <a:gd name="T57" fmla="*/ 742 h 1101"/>
                  <a:gd name="T58" fmla="*/ 806 w 1155"/>
                  <a:gd name="T59" fmla="*/ 742 h 1101"/>
                  <a:gd name="T60" fmla="*/ 768 w 1155"/>
                  <a:gd name="T61" fmla="*/ 770 h 1101"/>
                  <a:gd name="T62" fmla="*/ 718 w 1155"/>
                  <a:gd name="T63" fmla="*/ 779 h 1101"/>
                  <a:gd name="T64" fmla="*/ 714 w 1155"/>
                  <a:gd name="T65" fmla="*/ 808 h 1101"/>
                  <a:gd name="T66" fmla="*/ 659 w 1155"/>
                  <a:gd name="T67" fmla="*/ 812 h 1101"/>
                  <a:gd name="T68" fmla="*/ 626 w 1155"/>
                  <a:gd name="T69" fmla="*/ 836 h 1101"/>
                  <a:gd name="T70" fmla="*/ 617 w 1155"/>
                  <a:gd name="T71" fmla="*/ 869 h 1101"/>
                  <a:gd name="T72" fmla="*/ 579 w 1155"/>
                  <a:gd name="T73" fmla="*/ 853 h 1101"/>
                  <a:gd name="T74" fmla="*/ 563 w 1155"/>
                  <a:gd name="T75" fmla="*/ 902 h 1101"/>
                  <a:gd name="T76" fmla="*/ 541 w 1155"/>
                  <a:gd name="T77" fmla="*/ 907 h 1101"/>
                  <a:gd name="T78" fmla="*/ 551 w 1155"/>
                  <a:gd name="T79" fmla="*/ 940 h 1101"/>
                  <a:gd name="T80" fmla="*/ 499 w 1155"/>
                  <a:gd name="T81" fmla="*/ 964 h 1101"/>
                  <a:gd name="T82" fmla="*/ 499 w 1155"/>
                  <a:gd name="T83" fmla="*/ 1001 h 1101"/>
                  <a:gd name="T84" fmla="*/ 470 w 1155"/>
                  <a:gd name="T85" fmla="*/ 1035 h 1101"/>
                  <a:gd name="T86" fmla="*/ 470 w 1155"/>
                  <a:gd name="T87" fmla="*/ 1075 h 1101"/>
                  <a:gd name="T88" fmla="*/ 433 w 1155"/>
                  <a:gd name="T89" fmla="*/ 1101 h 1101"/>
                  <a:gd name="T90" fmla="*/ 428 w 1155"/>
                  <a:gd name="T91" fmla="*/ 1091 h 1101"/>
                  <a:gd name="T92" fmla="*/ 411 w 1155"/>
                  <a:gd name="T93" fmla="*/ 1058 h 1101"/>
                  <a:gd name="T94" fmla="*/ 395 w 1155"/>
                  <a:gd name="T95" fmla="*/ 1058 h 1101"/>
                  <a:gd name="T96" fmla="*/ 374 w 1155"/>
                  <a:gd name="T97" fmla="*/ 1084 h 1101"/>
                  <a:gd name="T98" fmla="*/ 324 w 1155"/>
                  <a:gd name="T99" fmla="*/ 1075 h 1101"/>
                  <a:gd name="T100" fmla="*/ 293 w 1155"/>
                  <a:gd name="T101" fmla="*/ 1101 h 1101"/>
                  <a:gd name="T102" fmla="*/ 281 w 1155"/>
                  <a:gd name="T103" fmla="*/ 1075 h 1101"/>
                  <a:gd name="T104" fmla="*/ 265 w 1155"/>
                  <a:gd name="T105" fmla="*/ 1035 h 1101"/>
                  <a:gd name="T106" fmla="*/ 272 w 1155"/>
                  <a:gd name="T107" fmla="*/ 1013 h 1101"/>
                  <a:gd name="T108" fmla="*/ 251 w 1155"/>
                  <a:gd name="T109" fmla="*/ 992 h 1101"/>
                  <a:gd name="T110" fmla="*/ 239 w 1155"/>
                  <a:gd name="T111" fmla="*/ 975 h 1101"/>
                  <a:gd name="T112" fmla="*/ 227 w 1155"/>
                  <a:gd name="T113" fmla="*/ 935 h 1101"/>
                  <a:gd name="T114" fmla="*/ 201 w 1155"/>
                  <a:gd name="T115" fmla="*/ 947 h 1101"/>
                  <a:gd name="T116" fmla="*/ 180 w 1155"/>
                  <a:gd name="T117" fmla="*/ 964 h 1101"/>
                  <a:gd name="T118" fmla="*/ 163 w 1155"/>
                  <a:gd name="T119" fmla="*/ 964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55" h="1101">
                    <a:moveTo>
                      <a:pt x="163" y="964"/>
                    </a:moveTo>
                    <a:lnTo>
                      <a:pt x="130" y="947"/>
                    </a:lnTo>
                    <a:lnTo>
                      <a:pt x="109" y="975"/>
                    </a:lnTo>
                    <a:lnTo>
                      <a:pt x="88" y="947"/>
                    </a:lnTo>
                    <a:lnTo>
                      <a:pt x="71" y="964"/>
                    </a:lnTo>
                    <a:lnTo>
                      <a:pt x="55" y="947"/>
                    </a:lnTo>
                    <a:lnTo>
                      <a:pt x="67" y="935"/>
                    </a:lnTo>
                    <a:lnTo>
                      <a:pt x="67" y="890"/>
                    </a:lnTo>
                    <a:lnTo>
                      <a:pt x="38" y="864"/>
                    </a:lnTo>
                    <a:lnTo>
                      <a:pt x="33" y="864"/>
                    </a:lnTo>
                    <a:lnTo>
                      <a:pt x="33" y="869"/>
                    </a:lnTo>
                    <a:lnTo>
                      <a:pt x="12" y="848"/>
                    </a:lnTo>
                    <a:lnTo>
                      <a:pt x="17" y="831"/>
                    </a:lnTo>
                    <a:lnTo>
                      <a:pt x="17" y="808"/>
                    </a:lnTo>
                    <a:lnTo>
                      <a:pt x="0" y="791"/>
                    </a:lnTo>
                    <a:lnTo>
                      <a:pt x="0" y="758"/>
                    </a:lnTo>
                    <a:lnTo>
                      <a:pt x="12" y="770"/>
                    </a:lnTo>
                    <a:lnTo>
                      <a:pt x="24" y="758"/>
                    </a:lnTo>
                    <a:lnTo>
                      <a:pt x="38" y="704"/>
                    </a:lnTo>
                    <a:lnTo>
                      <a:pt x="55" y="697"/>
                    </a:lnTo>
                    <a:lnTo>
                      <a:pt x="93" y="737"/>
                    </a:lnTo>
                    <a:lnTo>
                      <a:pt x="109" y="713"/>
                    </a:lnTo>
                    <a:lnTo>
                      <a:pt x="159" y="720"/>
                    </a:lnTo>
                    <a:lnTo>
                      <a:pt x="196" y="713"/>
                    </a:lnTo>
                    <a:lnTo>
                      <a:pt x="196" y="704"/>
                    </a:lnTo>
                    <a:lnTo>
                      <a:pt x="201" y="697"/>
                    </a:lnTo>
                    <a:lnTo>
                      <a:pt x="201" y="713"/>
                    </a:lnTo>
                    <a:lnTo>
                      <a:pt x="470" y="713"/>
                    </a:lnTo>
                    <a:lnTo>
                      <a:pt x="487" y="647"/>
                    </a:lnTo>
                    <a:lnTo>
                      <a:pt x="466" y="631"/>
                    </a:lnTo>
                    <a:lnTo>
                      <a:pt x="411" y="149"/>
                    </a:lnTo>
                    <a:lnTo>
                      <a:pt x="395" y="0"/>
                    </a:lnTo>
                    <a:lnTo>
                      <a:pt x="520" y="0"/>
                    </a:lnTo>
                    <a:lnTo>
                      <a:pt x="941" y="293"/>
                    </a:lnTo>
                    <a:lnTo>
                      <a:pt x="941" y="314"/>
                    </a:lnTo>
                    <a:lnTo>
                      <a:pt x="974" y="331"/>
                    </a:lnTo>
                    <a:lnTo>
                      <a:pt x="983" y="347"/>
                    </a:lnTo>
                    <a:lnTo>
                      <a:pt x="1004" y="354"/>
                    </a:lnTo>
                    <a:lnTo>
                      <a:pt x="1011" y="354"/>
                    </a:lnTo>
                    <a:lnTo>
                      <a:pt x="1026" y="371"/>
                    </a:lnTo>
                    <a:lnTo>
                      <a:pt x="1080" y="387"/>
                    </a:lnTo>
                    <a:lnTo>
                      <a:pt x="1092" y="420"/>
                    </a:lnTo>
                    <a:lnTo>
                      <a:pt x="1075" y="437"/>
                    </a:lnTo>
                    <a:lnTo>
                      <a:pt x="1092" y="449"/>
                    </a:lnTo>
                    <a:lnTo>
                      <a:pt x="1155" y="437"/>
                    </a:lnTo>
                    <a:lnTo>
                      <a:pt x="1151" y="642"/>
                    </a:lnTo>
                    <a:lnTo>
                      <a:pt x="1146" y="647"/>
                    </a:lnTo>
                    <a:lnTo>
                      <a:pt x="1129" y="697"/>
                    </a:lnTo>
                    <a:lnTo>
                      <a:pt x="1101" y="704"/>
                    </a:lnTo>
                    <a:lnTo>
                      <a:pt x="1101" y="720"/>
                    </a:lnTo>
                    <a:lnTo>
                      <a:pt x="1075" y="713"/>
                    </a:lnTo>
                    <a:lnTo>
                      <a:pt x="1063" y="720"/>
                    </a:lnTo>
                    <a:lnTo>
                      <a:pt x="950" y="725"/>
                    </a:lnTo>
                    <a:lnTo>
                      <a:pt x="929" y="742"/>
                    </a:lnTo>
                    <a:lnTo>
                      <a:pt x="874" y="742"/>
                    </a:lnTo>
                    <a:lnTo>
                      <a:pt x="874" y="753"/>
                    </a:lnTo>
                    <a:lnTo>
                      <a:pt x="844" y="742"/>
                    </a:lnTo>
                    <a:lnTo>
                      <a:pt x="832" y="742"/>
                    </a:lnTo>
                    <a:lnTo>
                      <a:pt x="827" y="742"/>
                    </a:lnTo>
                    <a:lnTo>
                      <a:pt x="806" y="742"/>
                    </a:lnTo>
                    <a:lnTo>
                      <a:pt x="778" y="758"/>
                    </a:lnTo>
                    <a:lnTo>
                      <a:pt x="768" y="770"/>
                    </a:lnTo>
                    <a:lnTo>
                      <a:pt x="740" y="779"/>
                    </a:lnTo>
                    <a:lnTo>
                      <a:pt x="718" y="779"/>
                    </a:lnTo>
                    <a:lnTo>
                      <a:pt x="718" y="808"/>
                    </a:lnTo>
                    <a:lnTo>
                      <a:pt x="714" y="808"/>
                    </a:lnTo>
                    <a:lnTo>
                      <a:pt x="685" y="796"/>
                    </a:lnTo>
                    <a:lnTo>
                      <a:pt x="659" y="812"/>
                    </a:lnTo>
                    <a:lnTo>
                      <a:pt x="659" y="848"/>
                    </a:lnTo>
                    <a:lnTo>
                      <a:pt x="626" y="836"/>
                    </a:lnTo>
                    <a:lnTo>
                      <a:pt x="633" y="869"/>
                    </a:lnTo>
                    <a:lnTo>
                      <a:pt x="617" y="869"/>
                    </a:lnTo>
                    <a:lnTo>
                      <a:pt x="617" y="881"/>
                    </a:lnTo>
                    <a:lnTo>
                      <a:pt x="579" y="853"/>
                    </a:lnTo>
                    <a:lnTo>
                      <a:pt x="558" y="886"/>
                    </a:lnTo>
                    <a:lnTo>
                      <a:pt x="563" y="902"/>
                    </a:lnTo>
                    <a:lnTo>
                      <a:pt x="558" y="907"/>
                    </a:lnTo>
                    <a:lnTo>
                      <a:pt x="541" y="907"/>
                    </a:lnTo>
                    <a:lnTo>
                      <a:pt x="551" y="923"/>
                    </a:lnTo>
                    <a:lnTo>
                      <a:pt x="551" y="940"/>
                    </a:lnTo>
                    <a:lnTo>
                      <a:pt x="537" y="957"/>
                    </a:lnTo>
                    <a:lnTo>
                      <a:pt x="499" y="964"/>
                    </a:lnTo>
                    <a:lnTo>
                      <a:pt x="487" y="975"/>
                    </a:lnTo>
                    <a:lnTo>
                      <a:pt x="499" y="1001"/>
                    </a:lnTo>
                    <a:lnTo>
                      <a:pt x="487" y="1030"/>
                    </a:lnTo>
                    <a:lnTo>
                      <a:pt x="470" y="1035"/>
                    </a:lnTo>
                    <a:lnTo>
                      <a:pt x="482" y="1051"/>
                    </a:lnTo>
                    <a:lnTo>
                      <a:pt x="470" y="1075"/>
                    </a:lnTo>
                    <a:lnTo>
                      <a:pt x="449" y="1084"/>
                    </a:lnTo>
                    <a:lnTo>
                      <a:pt x="433" y="1101"/>
                    </a:lnTo>
                    <a:lnTo>
                      <a:pt x="428" y="1101"/>
                    </a:lnTo>
                    <a:lnTo>
                      <a:pt x="428" y="1091"/>
                    </a:lnTo>
                    <a:lnTo>
                      <a:pt x="416" y="1058"/>
                    </a:lnTo>
                    <a:lnTo>
                      <a:pt x="411" y="1058"/>
                    </a:lnTo>
                    <a:lnTo>
                      <a:pt x="411" y="1068"/>
                    </a:lnTo>
                    <a:lnTo>
                      <a:pt x="395" y="1058"/>
                    </a:lnTo>
                    <a:lnTo>
                      <a:pt x="395" y="1084"/>
                    </a:lnTo>
                    <a:lnTo>
                      <a:pt x="374" y="1084"/>
                    </a:lnTo>
                    <a:lnTo>
                      <a:pt x="362" y="1101"/>
                    </a:lnTo>
                    <a:lnTo>
                      <a:pt x="324" y="1075"/>
                    </a:lnTo>
                    <a:lnTo>
                      <a:pt x="310" y="1101"/>
                    </a:lnTo>
                    <a:lnTo>
                      <a:pt x="293" y="1101"/>
                    </a:lnTo>
                    <a:lnTo>
                      <a:pt x="293" y="1084"/>
                    </a:lnTo>
                    <a:lnTo>
                      <a:pt x="281" y="1075"/>
                    </a:lnTo>
                    <a:lnTo>
                      <a:pt x="281" y="1035"/>
                    </a:lnTo>
                    <a:lnTo>
                      <a:pt x="265" y="1035"/>
                    </a:lnTo>
                    <a:lnTo>
                      <a:pt x="251" y="1046"/>
                    </a:lnTo>
                    <a:lnTo>
                      <a:pt x="272" y="1013"/>
                    </a:lnTo>
                    <a:lnTo>
                      <a:pt x="251" y="1001"/>
                    </a:lnTo>
                    <a:lnTo>
                      <a:pt x="251" y="992"/>
                    </a:lnTo>
                    <a:lnTo>
                      <a:pt x="239" y="992"/>
                    </a:lnTo>
                    <a:lnTo>
                      <a:pt x="239" y="975"/>
                    </a:lnTo>
                    <a:lnTo>
                      <a:pt x="227" y="947"/>
                    </a:lnTo>
                    <a:lnTo>
                      <a:pt x="227" y="935"/>
                    </a:lnTo>
                    <a:lnTo>
                      <a:pt x="201" y="935"/>
                    </a:lnTo>
                    <a:lnTo>
                      <a:pt x="201" y="947"/>
                    </a:lnTo>
                    <a:lnTo>
                      <a:pt x="180" y="957"/>
                    </a:lnTo>
                    <a:lnTo>
                      <a:pt x="180" y="964"/>
                    </a:lnTo>
                    <a:lnTo>
                      <a:pt x="163" y="964"/>
                    </a:lnTo>
                    <a:lnTo>
                      <a:pt x="163" y="964"/>
                    </a:lnTo>
                    <a:lnTo>
                      <a:pt x="163" y="96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63" name="Freeform 508">
                <a:extLst>
                  <a:ext uri="{FF2B5EF4-FFF2-40B4-BE49-F238E27FC236}">
                    <a16:creationId xmlns:a16="http://schemas.microsoft.com/office/drawing/2014/main" id="{EFCE7DA8-C521-40CA-8191-CE6BAA4CD9D8}"/>
                  </a:ext>
                </a:extLst>
              </p:cNvPr>
              <p:cNvSpPr>
                <a:spLocks/>
              </p:cNvSpPr>
              <p:nvPr/>
            </p:nvSpPr>
            <p:spPr bwMode="gray">
              <a:xfrm>
                <a:off x="6344206" y="2950959"/>
                <a:ext cx="352801" cy="273379"/>
              </a:xfrm>
              <a:custGeom>
                <a:avLst/>
                <a:gdLst>
                  <a:gd name="T0" fmla="*/ 656 w 857"/>
                  <a:gd name="T1" fmla="*/ 350 h 664"/>
                  <a:gd name="T2" fmla="*/ 673 w 857"/>
                  <a:gd name="T3" fmla="*/ 392 h 664"/>
                  <a:gd name="T4" fmla="*/ 642 w 857"/>
                  <a:gd name="T5" fmla="*/ 404 h 664"/>
                  <a:gd name="T6" fmla="*/ 576 w 857"/>
                  <a:gd name="T7" fmla="*/ 444 h 664"/>
                  <a:gd name="T8" fmla="*/ 538 w 857"/>
                  <a:gd name="T9" fmla="*/ 487 h 664"/>
                  <a:gd name="T10" fmla="*/ 462 w 857"/>
                  <a:gd name="T11" fmla="*/ 515 h 664"/>
                  <a:gd name="T12" fmla="*/ 316 w 857"/>
                  <a:gd name="T13" fmla="*/ 577 h 664"/>
                  <a:gd name="T14" fmla="*/ 0 w 857"/>
                  <a:gd name="T15" fmla="*/ 664 h 664"/>
                  <a:gd name="T16" fmla="*/ 80 w 857"/>
                  <a:gd name="T17" fmla="*/ 631 h 664"/>
                  <a:gd name="T18" fmla="*/ 144 w 857"/>
                  <a:gd name="T19" fmla="*/ 577 h 664"/>
                  <a:gd name="T20" fmla="*/ 210 w 857"/>
                  <a:gd name="T21" fmla="*/ 527 h 664"/>
                  <a:gd name="T22" fmla="*/ 252 w 857"/>
                  <a:gd name="T23" fmla="*/ 444 h 664"/>
                  <a:gd name="T24" fmla="*/ 240 w 857"/>
                  <a:gd name="T25" fmla="*/ 371 h 664"/>
                  <a:gd name="T26" fmla="*/ 278 w 857"/>
                  <a:gd name="T27" fmla="*/ 305 h 664"/>
                  <a:gd name="T28" fmla="*/ 323 w 857"/>
                  <a:gd name="T29" fmla="*/ 222 h 664"/>
                  <a:gd name="T30" fmla="*/ 446 w 857"/>
                  <a:gd name="T31" fmla="*/ 156 h 664"/>
                  <a:gd name="T32" fmla="*/ 512 w 857"/>
                  <a:gd name="T33" fmla="*/ 17 h 664"/>
                  <a:gd name="T34" fmla="*/ 550 w 857"/>
                  <a:gd name="T35" fmla="*/ 5 h 664"/>
                  <a:gd name="T36" fmla="*/ 592 w 857"/>
                  <a:gd name="T37" fmla="*/ 62 h 664"/>
                  <a:gd name="T38" fmla="*/ 673 w 857"/>
                  <a:gd name="T39" fmla="*/ 55 h 664"/>
                  <a:gd name="T40" fmla="*/ 711 w 857"/>
                  <a:gd name="T41" fmla="*/ 55 h 664"/>
                  <a:gd name="T42" fmla="*/ 718 w 857"/>
                  <a:gd name="T43" fmla="*/ 55 h 664"/>
                  <a:gd name="T44" fmla="*/ 727 w 857"/>
                  <a:gd name="T45" fmla="*/ 71 h 664"/>
                  <a:gd name="T46" fmla="*/ 727 w 857"/>
                  <a:gd name="T47" fmla="*/ 55 h 664"/>
                  <a:gd name="T48" fmla="*/ 770 w 857"/>
                  <a:gd name="T49" fmla="*/ 71 h 664"/>
                  <a:gd name="T50" fmla="*/ 793 w 857"/>
                  <a:gd name="T51" fmla="*/ 111 h 664"/>
                  <a:gd name="T52" fmla="*/ 803 w 857"/>
                  <a:gd name="T53" fmla="*/ 128 h 664"/>
                  <a:gd name="T54" fmla="*/ 803 w 857"/>
                  <a:gd name="T55" fmla="*/ 182 h 664"/>
                  <a:gd name="T56" fmla="*/ 807 w 857"/>
                  <a:gd name="T57" fmla="*/ 222 h 664"/>
                  <a:gd name="T58" fmla="*/ 819 w 857"/>
                  <a:gd name="T59" fmla="*/ 244 h 664"/>
                  <a:gd name="T60" fmla="*/ 857 w 857"/>
                  <a:gd name="T61" fmla="*/ 277 h 664"/>
                  <a:gd name="T62" fmla="*/ 836 w 857"/>
                  <a:gd name="T63" fmla="*/ 305 h 664"/>
                  <a:gd name="T64" fmla="*/ 840 w 857"/>
                  <a:gd name="T65" fmla="*/ 317 h 664"/>
                  <a:gd name="T66" fmla="*/ 727 w 857"/>
                  <a:gd name="T67" fmla="*/ 317 h 664"/>
                  <a:gd name="T68" fmla="*/ 685 w 857"/>
                  <a:gd name="T69" fmla="*/ 338 h 664"/>
                  <a:gd name="T70" fmla="*/ 685 w 857"/>
                  <a:gd name="T71" fmla="*/ 338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7" h="664">
                    <a:moveTo>
                      <a:pt x="685" y="338"/>
                    </a:moveTo>
                    <a:lnTo>
                      <a:pt x="656" y="350"/>
                    </a:lnTo>
                    <a:lnTo>
                      <a:pt x="656" y="388"/>
                    </a:lnTo>
                    <a:lnTo>
                      <a:pt x="673" y="392"/>
                    </a:lnTo>
                    <a:lnTo>
                      <a:pt x="673" y="404"/>
                    </a:lnTo>
                    <a:lnTo>
                      <a:pt x="642" y="404"/>
                    </a:lnTo>
                    <a:lnTo>
                      <a:pt x="618" y="428"/>
                    </a:lnTo>
                    <a:lnTo>
                      <a:pt x="576" y="444"/>
                    </a:lnTo>
                    <a:lnTo>
                      <a:pt x="555" y="470"/>
                    </a:lnTo>
                    <a:lnTo>
                      <a:pt x="538" y="487"/>
                    </a:lnTo>
                    <a:lnTo>
                      <a:pt x="479" y="499"/>
                    </a:lnTo>
                    <a:lnTo>
                      <a:pt x="462" y="515"/>
                    </a:lnTo>
                    <a:lnTo>
                      <a:pt x="425" y="503"/>
                    </a:lnTo>
                    <a:lnTo>
                      <a:pt x="316" y="577"/>
                    </a:lnTo>
                    <a:lnTo>
                      <a:pt x="316" y="664"/>
                    </a:lnTo>
                    <a:lnTo>
                      <a:pt x="0" y="664"/>
                    </a:lnTo>
                    <a:lnTo>
                      <a:pt x="25" y="638"/>
                    </a:lnTo>
                    <a:lnTo>
                      <a:pt x="80" y="631"/>
                    </a:lnTo>
                    <a:lnTo>
                      <a:pt x="118" y="610"/>
                    </a:lnTo>
                    <a:lnTo>
                      <a:pt x="144" y="577"/>
                    </a:lnTo>
                    <a:lnTo>
                      <a:pt x="188" y="560"/>
                    </a:lnTo>
                    <a:lnTo>
                      <a:pt x="210" y="527"/>
                    </a:lnTo>
                    <a:lnTo>
                      <a:pt x="248" y="466"/>
                    </a:lnTo>
                    <a:lnTo>
                      <a:pt x="252" y="444"/>
                    </a:lnTo>
                    <a:lnTo>
                      <a:pt x="240" y="428"/>
                    </a:lnTo>
                    <a:lnTo>
                      <a:pt x="240" y="371"/>
                    </a:lnTo>
                    <a:lnTo>
                      <a:pt x="248" y="338"/>
                    </a:lnTo>
                    <a:lnTo>
                      <a:pt x="278" y="305"/>
                    </a:lnTo>
                    <a:lnTo>
                      <a:pt x="278" y="277"/>
                    </a:lnTo>
                    <a:lnTo>
                      <a:pt x="323" y="222"/>
                    </a:lnTo>
                    <a:lnTo>
                      <a:pt x="403" y="189"/>
                    </a:lnTo>
                    <a:lnTo>
                      <a:pt x="446" y="156"/>
                    </a:lnTo>
                    <a:lnTo>
                      <a:pt x="484" y="95"/>
                    </a:lnTo>
                    <a:lnTo>
                      <a:pt x="512" y="17"/>
                    </a:lnTo>
                    <a:lnTo>
                      <a:pt x="550" y="0"/>
                    </a:lnTo>
                    <a:lnTo>
                      <a:pt x="550" y="5"/>
                    </a:lnTo>
                    <a:lnTo>
                      <a:pt x="555" y="29"/>
                    </a:lnTo>
                    <a:lnTo>
                      <a:pt x="592" y="62"/>
                    </a:lnTo>
                    <a:lnTo>
                      <a:pt x="618" y="62"/>
                    </a:lnTo>
                    <a:lnTo>
                      <a:pt x="673" y="55"/>
                    </a:lnTo>
                    <a:lnTo>
                      <a:pt x="694" y="62"/>
                    </a:lnTo>
                    <a:lnTo>
                      <a:pt x="711" y="55"/>
                    </a:lnTo>
                    <a:lnTo>
                      <a:pt x="718" y="45"/>
                    </a:lnTo>
                    <a:lnTo>
                      <a:pt x="718" y="55"/>
                    </a:lnTo>
                    <a:lnTo>
                      <a:pt x="718" y="55"/>
                    </a:lnTo>
                    <a:lnTo>
                      <a:pt x="727" y="71"/>
                    </a:lnTo>
                    <a:lnTo>
                      <a:pt x="732" y="71"/>
                    </a:lnTo>
                    <a:lnTo>
                      <a:pt x="727" y="55"/>
                    </a:lnTo>
                    <a:lnTo>
                      <a:pt x="739" y="71"/>
                    </a:lnTo>
                    <a:lnTo>
                      <a:pt x="770" y="71"/>
                    </a:lnTo>
                    <a:lnTo>
                      <a:pt x="803" y="99"/>
                    </a:lnTo>
                    <a:lnTo>
                      <a:pt x="793" y="111"/>
                    </a:lnTo>
                    <a:lnTo>
                      <a:pt x="807" y="116"/>
                    </a:lnTo>
                    <a:lnTo>
                      <a:pt x="803" y="128"/>
                    </a:lnTo>
                    <a:lnTo>
                      <a:pt x="807" y="149"/>
                    </a:lnTo>
                    <a:lnTo>
                      <a:pt x="803" y="182"/>
                    </a:lnTo>
                    <a:lnTo>
                      <a:pt x="807" y="189"/>
                    </a:lnTo>
                    <a:lnTo>
                      <a:pt x="807" y="222"/>
                    </a:lnTo>
                    <a:lnTo>
                      <a:pt x="824" y="239"/>
                    </a:lnTo>
                    <a:lnTo>
                      <a:pt x="819" y="244"/>
                    </a:lnTo>
                    <a:lnTo>
                      <a:pt x="824" y="260"/>
                    </a:lnTo>
                    <a:lnTo>
                      <a:pt x="857" y="277"/>
                    </a:lnTo>
                    <a:lnTo>
                      <a:pt x="840" y="293"/>
                    </a:lnTo>
                    <a:lnTo>
                      <a:pt x="836" y="305"/>
                    </a:lnTo>
                    <a:lnTo>
                      <a:pt x="840" y="305"/>
                    </a:lnTo>
                    <a:lnTo>
                      <a:pt x="840" y="317"/>
                    </a:lnTo>
                    <a:lnTo>
                      <a:pt x="765" y="305"/>
                    </a:lnTo>
                    <a:lnTo>
                      <a:pt x="727" y="317"/>
                    </a:lnTo>
                    <a:lnTo>
                      <a:pt x="718" y="333"/>
                    </a:lnTo>
                    <a:lnTo>
                      <a:pt x="685" y="338"/>
                    </a:lnTo>
                    <a:lnTo>
                      <a:pt x="685" y="338"/>
                    </a:lnTo>
                    <a:lnTo>
                      <a:pt x="685" y="33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64" name="Freeform 509">
                <a:extLst>
                  <a:ext uri="{FF2B5EF4-FFF2-40B4-BE49-F238E27FC236}">
                    <a16:creationId xmlns:a16="http://schemas.microsoft.com/office/drawing/2014/main" id="{191149CC-72AE-488F-A4E9-9D6FB4D1E1EF}"/>
                  </a:ext>
                </a:extLst>
              </p:cNvPr>
              <p:cNvSpPr>
                <a:spLocks/>
              </p:cNvSpPr>
              <p:nvPr/>
            </p:nvSpPr>
            <p:spPr bwMode="gray">
              <a:xfrm>
                <a:off x="8380326" y="4666579"/>
                <a:ext cx="12762" cy="17704"/>
              </a:xfrm>
              <a:custGeom>
                <a:avLst/>
                <a:gdLst>
                  <a:gd name="T0" fmla="*/ 16 w 31"/>
                  <a:gd name="T1" fmla="*/ 43 h 43"/>
                  <a:gd name="T2" fmla="*/ 0 w 31"/>
                  <a:gd name="T3" fmla="*/ 31 h 43"/>
                  <a:gd name="T4" fmla="*/ 9 w 31"/>
                  <a:gd name="T5" fmla="*/ 17 h 43"/>
                  <a:gd name="T6" fmla="*/ 21 w 31"/>
                  <a:gd name="T7" fmla="*/ 0 h 43"/>
                  <a:gd name="T8" fmla="*/ 31 w 31"/>
                  <a:gd name="T9" fmla="*/ 26 h 43"/>
                  <a:gd name="T10" fmla="*/ 21 w 31"/>
                  <a:gd name="T11" fmla="*/ 31 h 43"/>
                  <a:gd name="T12" fmla="*/ 16 w 31"/>
                  <a:gd name="T13" fmla="*/ 43 h 43"/>
                  <a:gd name="T14" fmla="*/ 16 w 31"/>
                  <a:gd name="T15" fmla="*/ 43 h 43"/>
                  <a:gd name="T16" fmla="*/ 16 w 31"/>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43">
                    <a:moveTo>
                      <a:pt x="16" y="43"/>
                    </a:moveTo>
                    <a:lnTo>
                      <a:pt x="0" y="31"/>
                    </a:lnTo>
                    <a:lnTo>
                      <a:pt x="9" y="17"/>
                    </a:lnTo>
                    <a:lnTo>
                      <a:pt x="21" y="0"/>
                    </a:lnTo>
                    <a:lnTo>
                      <a:pt x="31" y="26"/>
                    </a:lnTo>
                    <a:lnTo>
                      <a:pt x="21" y="31"/>
                    </a:lnTo>
                    <a:lnTo>
                      <a:pt x="16" y="43"/>
                    </a:lnTo>
                    <a:lnTo>
                      <a:pt x="16" y="43"/>
                    </a:lnTo>
                    <a:lnTo>
                      <a:pt x="16" y="4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65" name="Freeform 510">
                <a:extLst>
                  <a:ext uri="{FF2B5EF4-FFF2-40B4-BE49-F238E27FC236}">
                    <a16:creationId xmlns:a16="http://schemas.microsoft.com/office/drawing/2014/main" id="{AF165D04-2896-4816-9445-2B9B4CB1B2A9}"/>
                  </a:ext>
                </a:extLst>
              </p:cNvPr>
              <p:cNvSpPr>
                <a:spLocks noEditPoints="1"/>
              </p:cNvSpPr>
              <p:nvPr/>
            </p:nvSpPr>
            <p:spPr bwMode="gray">
              <a:xfrm>
                <a:off x="6232232" y="3235043"/>
                <a:ext cx="352801" cy="392777"/>
              </a:xfrm>
              <a:custGeom>
                <a:avLst/>
                <a:gdLst>
                  <a:gd name="T0" fmla="*/ 805 w 857"/>
                  <a:gd name="T1" fmla="*/ 815 h 954"/>
                  <a:gd name="T2" fmla="*/ 810 w 857"/>
                  <a:gd name="T3" fmla="*/ 898 h 954"/>
                  <a:gd name="T4" fmla="*/ 541 w 857"/>
                  <a:gd name="T5" fmla="*/ 881 h 954"/>
                  <a:gd name="T6" fmla="*/ 534 w 857"/>
                  <a:gd name="T7" fmla="*/ 898 h 954"/>
                  <a:gd name="T8" fmla="*/ 449 w 857"/>
                  <a:gd name="T9" fmla="*/ 898 h 954"/>
                  <a:gd name="T10" fmla="*/ 394 w 857"/>
                  <a:gd name="T11" fmla="*/ 881 h 954"/>
                  <a:gd name="T12" fmla="*/ 361 w 857"/>
                  <a:gd name="T13" fmla="*/ 942 h 954"/>
                  <a:gd name="T14" fmla="*/ 340 w 857"/>
                  <a:gd name="T15" fmla="*/ 942 h 954"/>
                  <a:gd name="T16" fmla="*/ 297 w 857"/>
                  <a:gd name="T17" fmla="*/ 909 h 954"/>
                  <a:gd name="T18" fmla="*/ 286 w 857"/>
                  <a:gd name="T19" fmla="*/ 898 h 954"/>
                  <a:gd name="T20" fmla="*/ 269 w 857"/>
                  <a:gd name="T21" fmla="*/ 881 h 954"/>
                  <a:gd name="T22" fmla="*/ 248 w 857"/>
                  <a:gd name="T23" fmla="*/ 848 h 954"/>
                  <a:gd name="T24" fmla="*/ 231 w 857"/>
                  <a:gd name="T25" fmla="*/ 843 h 954"/>
                  <a:gd name="T26" fmla="*/ 194 w 857"/>
                  <a:gd name="T27" fmla="*/ 810 h 954"/>
                  <a:gd name="T28" fmla="*/ 104 w 857"/>
                  <a:gd name="T29" fmla="*/ 815 h 954"/>
                  <a:gd name="T30" fmla="*/ 38 w 857"/>
                  <a:gd name="T31" fmla="*/ 848 h 954"/>
                  <a:gd name="T32" fmla="*/ 71 w 857"/>
                  <a:gd name="T33" fmla="*/ 732 h 954"/>
                  <a:gd name="T34" fmla="*/ 66 w 857"/>
                  <a:gd name="T35" fmla="*/ 643 h 954"/>
                  <a:gd name="T36" fmla="*/ 54 w 857"/>
                  <a:gd name="T37" fmla="*/ 593 h 954"/>
                  <a:gd name="T38" fmla="*/ 54 w 857"/>
                  <a:gd name="T39" fmla="*/ 572 h 954"/>
                  <a:gd name="T40" fmla="*/ 38 w 857"/>
                  <a:gd name="T41" fmla="*/ 510 h 954"/>
                  <a:gd name="T42" fmla="*/ 33 w 857"/>
                  <a:gd name="T43" fmla="*/ 510 h 954"/>
                  <a:gd name="T44" fmla="*/ 0 w 857"/>
                  <a:gd name="T45" fmla="*/ 498 h 954"/>
                  <a:gd name="T46" fmla="*/ 194 w 857"/>
                  <a:gd name="T47" fmla="*/ 461 h 954"/>
                  <a:gd name="T48" fmla="*/ 281 w 857"/>
                  <a:gd name="T49" fmla="*/ 338 h 954"/>
                  <a:gd name="T50" fmla="*/ 357 w 857"/>
                  <a:gd name="T51" fmla="*/ 300 h 954"/>
                  <a:gd name="T52" fmla="*/ 588 w 857"/>
                  <a:gd name="T53" fmla="*/ 106 h 954"/>
                  <a:gd name="T54" fmla="*/ 857 w 857"/>
                  <a:gd name="T55" fmla="*/ 184 h 954"/>
                  <a:gd name="T56" fmla="*/ 751 w 857"/>
                  <a:gd name="T57" fmla="*/ 333 h 954"/>
                  <a:gd name="T58" fmla="*/ 751 w 857"/>
                  <a:gd name="T59" fmla="*/ 333 h 954"/>
                  <a:gd name="T60" fmla="*/ 38 w 857"/>
                  <a:gd name="T61" fmla="*/ 576 h 954"/>
                  <a:gd name="T62" fmla="*/ 49 w 857"/>
                  <a:gd name="T63" fmla="*/ 588 h 954"/>
                  <a:gd name="T64" fmla="*/ 49 w 857"/>
                  <a:gd name="T65" fmla="*/ 58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7" h="954">
                    <a:moveTo>
                      <a:pt x="751" y="333"/>
                    </a:moveTo>
                    <a:lnTo>
                      <a:pt x="805" y="815"/>
                    </a:lnTo>
                    <a:lnTo>
                      <a:pt x="827" y="831"/>
                    </a:lnTo>
                    <a:lnTo>
                      <a:pt x="810" y="898"/>
                    </a:lnTo>
                    <a:lnTo>
                      <a:pt x="541" y="898"/>
                    </a:lnTo>
                    <a:lnTo>
                      <a:pt x="541" y="881"/>
                    </a:lnTo>
                    <a:lnTo>
                      <a:pt x="534" y="886"/>
                    </a:lnTo>
                    <a:lnTo>
                      <a:pt x="534" y="898"/>
                    </a:lnTo>
                    <a:lnTo>
                      <a:pt x="496" y="902"/>
                    </a:lnTo>
                    <a:lnTo>
                      <a:pt x="449" y="898"/>
                    </a:lnTo>
                    <a:lnTo>
                      <a:pt x="432" y="921"/>
                    </a:lnTo>
                    <a:lnTo>
                      <a:pt x="394" y="881"/>
                    </a:lnTo>
                    <a:lnTo>
                      <a:pt x="378" y="886"/>
                    </a:lnTo>
                    <a:lnTo>
                      <a:pt x="361" y="942"/>
                    </a:lnTo>
                    <a:lnTo>
                      <a:pt x="352" y="954"/>
                    </a:lnTo>
                    <a:lnTo>
                      <a:pt x="340" y="942"/>
                    </a:lnTo>
                    <a:lnTo>
                      <a:pt x="319" y="926"/>
                    </a:lnTo>
                    <a:lnTo>
                      <a:pt x="297" y="909"/>
                    </a:lnTo>
                    <a:lnTo>
                      <a:pt x="297" y="902"/>
                    </a:lnTo>
                    <a:lnTo>
                      <a:pt x="286" y="898"/>
                    </a:lnTo>
                    <a:lnTo>
                      <a:pt x="281" y="898"/>
                    </a:lnTo>
                    <a:lnTo>
                      <a:pt x="269" y="881"/>
                    </a:lnTo>
                    <a:lnTo>
                      <a:pt x="255" y="848"/>
                    </a:lnTo>
                    <a:lnTo>
                      <a:pt x="248" y="848"/>
                    </a:lnTo>
                    <a:lnTo>
                      <a:pt x="243" y="848"/>
                    </a:lnTo>
                    <a:lnTo>
                      <a:pt x="231" y="843"/>
                    </a:lnTo>
                    <a:lnTo>
                      <a:pt x="227" y="848"/>
                    </a:lnTo>
                    <a:lnTo>
                      <a:pt x="194" y="810"/>
                    </a:lnTo>
                    <a:lnTo>
                      <a:pt x="146" y="798"/>
                    </a:lnTo>
                    <a:lnTo>
                      <a:pt x="104" y="815"/>
                    </a:lnTo>
                    <a:lnTo>
                      <a:pt x="54" y="815"/>
                    </a:lnTo>
                    <a:lnTo>
                      <a:pt x="38" y="848"/>
                    </a:lnTo>
                    <a:lnTo>
                      <a:pt x="38" y="810"/>
                    </a:lnTo>
                    <a:lnTo>
                      <a:pt x="71" y="732"/>
                    </a:lnTo>
                    <a:lnTo>
                      <a:pt x="71" y="676"/>
                    </a:lnTo>
                    <a:lnTo>
                      <a:pt x="66" y="643"/>
                    </a:lnTo>
                    <a:lnTo>
                      <a:pt x="38" y="605"/>
                    </a:lnTo>
                    <a:lnTo>
                      <a:pt x="54" y="593"/>
                    </a:lnTo>
                    <a:lnTo>
                      <a:pt x="38" y="605"/>
                    </a:lnTo>
                    <a:lnTo>
                      <a:pt x="54" y="572"/>
                    </a:lnTo>
                    <a:lnTo>
                      <a:pt x="66" y="539"/>
                    </a:lnTo>
                    <a:lnTo>
                      <a:pt x="38" y="510"/>
                    </a:lnTo>
                    <a:lnTo>
                      <a:pt x="38" y="515"/>
                    </a:lnTo>
                    <a:lnTo>
                      <a:pt x="33" y="510"/>
                    </a:lnTo>
                    <a:lnTo>
                      <a:pt x="12" y="465"/>
                    </a:lnTo>
                    <a:lnTo>
                      <a:pt x="0" y="498"/>
                    </a:lnTo>
                    <a:lnTo>
                      <a:pt x="12" y="461"/>
                    </a:lnTo>
                    <a:lnTo>
                      <a:pt x="194" y="461"/>
                    </a:lnTo>
                    <a:lnTo>
                      <a:pt x="286" y="461"/>
                    </a:lnTo>
                    <a:lnTo>
                      <a:pt x="281" y="338"/>
                    </a:lnTo>
                    <a:lnTo>
                      <a:pt x="319" y="312"/>
                    </a:lnTo>
                    <a:lnTo>
                      <a:pt x="357" y="300"/>
                    </a:lnTo>
                    <a:lnTo>
                      <a:pt x="357" y="106"/>
                    </a:lnTo>
                    <a:lnTo>
                      <a:pt x="588" y="106"/>
                    </a:lnTo>
                    <a:lnTo>
                      <a:pt x="588" y="0"/>
                    </a:lnTo>
                    <a:lnTo>
                      <a:pt x="857" y="184"/>
                    </a:lnTo>
                    <a:lnTo>
                      <a:pt x="734" y="184"/>
                    </a:lnTo>
                    <a:lnTo>
                      <a:pt x="751" y="333"/>
                    </a:lnTo>
                    <a:lnTo>
                      <a:pt x="751" y="333"/>
                    </a:lnTo>
                    <a:lnTo>
                      <a:pt x="751" y="333"/>
                    </a:lnTo>
                    <a:close/>
                    <a:moveTo>
                      <a:pt x="49" y="588"/>
                    </a:moveTo>
                    <a:lnTo>
                      <a:pt x="38" y="576"/>
                    </a:lnTo>
                    <a:lnTo>
                      <a:pt x="49" y="572"/>
                    </a:lnTo>
                    <a:lnTo>
                      <a:pt x="49" y="588"/>
                    </a:lnTo>
                    <a:lnTo>
                      <a:pt x="49" y="588"/>
                    </a:lnTo>
                    <a:lnTo>
                      <a:pt x="49" y="58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66" name="Freeform 512">
                <a:extLst>
                  <a:ext uri="{FF2B5EF4-FFF2-40B4-BE49-F238E27FC236}">
                    <a16:creationId xmlns:a16="http://schemas.microsoft.com/office/drawing/2014/main" id="{90B7D1E0-BF08-481F-852C-B40CB79E6849}"/>
                  </a:ext>
                </a:extLst>
              </p:cNvPr>
              <p:cNvSpPr>
                <a:spLocks noEditPoints="1"/>
              </p:cNvSpPr>
              <p:nvPr/>
            </p:nvSpPr>
            <p:spPr bwMode="gray">
              <a:xfrm>
                <a:off x="8228420" y="3263451"/>
                <a:ext cx="224772" cy="304258"/>
              </a:xfrm>
              <a:custGeom>
                <a:avLst/>
                <a:gdLst>
                  <a:gd name="T0" fmla="*/ 282 w 546"/>
                  <a:gd name="T1" fmla="*/ 56 h 739"/>
                  <a:gd name="T2" fmla="*/ 282 w 546"/>
                  <a:gd name="T3" fmla="*/ 23 h 739"/>
                  <a:gd name="T4" fmla="*/ 307 w 546"/>
                  <a:gd name="T5" fmla="*/ 16 h 739"/>
                  <a:gd name="T6" fmla="*/ 298 w 546"/>
                  <a:gd name="T7" fmla="*/ 0 h 739"/>
                  <a:gd name="T8" fmla="*/ 307 w 546"/>
                  <a:gd name="T9" fmla="*/ 7 h 739"/>
                  <a:gd name="T10" fmla="*/ 298 w 546"/>
                  <a:gd name="T11" fmla="*/ 16 h 739"/>
                  <a:gd name="T12" fmla="*/ 298 w 546"/>
                  <a:gd name="T13" fmla="*/ 56 h 739"/>
                  <a:gd name="T14" fmla="*/ 298 w 546"/>
                  <a:gd name="T15" fmla="*/ 56 h 739"/>
                  <a:gd name="T16" fmla="*/ 0 w 546"/>
                  <a:gd name="T17" fmla="*/ 562 h 739"/>
                  <a:gd name="T18" fmla="*/ 253 w 546"/>
                  <a:gd name="T19" fmla="*/ 333 h 739"/>
                  <a:gd name="T20" fmla="*/ 222 w 546"/>
                  <a:gd name="T21" fmla="*/ 255 h 739"/>
                  <a:gd name="T22" fmla="*/ 244 w 546"/>
                  <a:gd name="T23" fmla="*/ 184 h 739"/>
                  <a:gd name="T24" fmla="*/ 274 w 546"/>
                  <a:gd name="T25" fmla="*/ 167 h 739"/>
                  <a:gd name="T26" fmla="*/ 260 w 546"/>
                  <a:gd name="T27" fmla="*/ 118 h 739"/>
                  <a:gd name="T28" fmla="*/ 282 w 546"/>
                  <a:gd name="T29" fmla="*/ 118 h 739"/>
                  <a:gd name="T30" fmla="*/ 282 w 546"/>
                  <a:gd name="T31" fmla="*/ 127 h 739"/>
                  <a:gd name="T32" fmla="*/ 298 w 546"/>
                  <a:gd name="T33" fmla="*/ 111 h 739"/>
                  <a:gd name="T34" fmla="*/ 362 w 546"/>
                  <a:gd name="T35" fmla="*/ 188 h 739"/>
                  <a:gd name="T36" fmla="*/ 459 w 546"/>
                  <a:gd name="T37" fmla="*/ 212 h 739"/>
                  <a:gd name="T38" fmla="*/ 546 w 546"/>
                  <a:gd name="T39" fmla="*/ 295 h 739"/>
                  <a:gd name="T40" fmla="*/ 513 w 546"/>
                  <a:gd name="T41" fmla="*/ 382 h 739"/>
                  <a:gd name="T42" fmla="*/ 454 w 546"/>
                  <a:gd name="T43" fmla="*/ 451 h 739"/>
                  <a:gd name="T44" fmla="*/ 437 w 546"/>
                  <a:gd name="T45" fmla="*/ 444 h 739"/>
                  <a:gd name="T46" fmla="*/ 404 w 546"/>
                  <a:gd name="T47" fmla="*/ 467 h 739"/>
                  <a:gd name="T48" fmla="*/ 404 w 546"/>
                  <a:gd name="T49" fmla="*/ 562 h 739"/>
                  <a:gd name="T50" fmla="*/ 329 w 546"/>
                  <a:gd name="T51" fmla="*/ 578 h 739"/>
                  <a:gd name="T52" fmla="*/ 312 w 546"/>
                  <a:gd name="T53" fmla="*/ 628 h 739"/>
                  <a:gd name="T54" fmla="*/ 237 w 546"/>
                  <a:gd name="T55" fmla="*/ 649 h 739"/>
                  <a:gd name="T56" fmla="*/ 227 w 546"/>
                  <a:gd name="T57" fmla="*/ 682 h 739"/>
                  <a:gd name="T58" fmla="*/ 189 w 546"/>
                  <a:gd name="T59" fmla="*/ 715 h 739"/>
                  <a:gd name="T60" fmla="*/ 147 w 546"/>
                  <a:gd name="T61" fmla="*/ 706 h 739"/>
                  <a:gd name="T62" fmla="*/ 76 w 546"/>
                  <a:gd name="T63" fmla="*/ 739 h 739"/>
                  <a:gd name="T64" fmla="*/ 76 w 546"/>
                  <a:gd name="T65" fmla="*/ 739 h 739"/>
                  <a:gd name="T66" fmla="*/ 459 w 546"/>
                  <a:gd name="T67" fmla="*/ 460 h 739"/>
                  <a:gd name="T68" fmla="*/ 487 w 546"/>
                  <a:gd name="T69" fmla="*/ 451 h 739"/>
                  <a:gd name="T70" fmla="*/ 459 w 546"/>
                  <a:gd name="T71" fmla="*/ 477 h 739"/>
                  <a:gd name="T72" fmla="*/ 274 w 546"/>
                  <a:gd name="T73" fmla="*/ 673 h 739"/>
                  <a:gd name="T74" fmla="*/ 282 w 546"/>
                  <a:gd name="T75" fmla="*/ 673 h 739"/>
                  <a:gd name="T76" fmla="*/ 274 w 546"/>
                  <a:gd name="T77" fmla="*/ 673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6" h="739">
                    <a:moveTo>
                      <a:pt x="298" y="56"/>
                    </a:moveTo>
                    <a:lnTo>
                      <a:pt x="282" y="56"/>
                    </a:lnTo>
                    <a:lnTo>
                      <a:pt x="291" y="33"/>
                    </a:lnTo>
                    <a:lnTo>
                      <a:pt x="282" y="23"/>
                    </a:lnTo>
                    <a:lnTo>
                      <a:pt x="291" y="7"/>
                    </a:lnTo>
                    <a:lnTo>
                      <a:pt x="307" y="16"/>
                    </a:lnTo>
                    <a:lnTo>
                      <a:pt x="298" y="16"/>
                    </a:lnTo>
                    <a:lnTo>
                      <a:pt x="298" y="0"/>
                    </a:lnTo>
                    <a:lnTo>
                      <a:pt x="312" y="0"/>
                    </a:lnTo>
                    <a:lnTo>
                      <a:pt x="307" y="7"/>
                    </a:lnTo>
                    <a:lnTo>
                      <a:pt x="307" y="16"/>
                    </a:lnTo>
                    <a:lnTo>
                      <a:pt x="298" y="16"/>
                    </a:lnTo>
                    <a:lnTo>
                      <a:pt x="307" y="23"/>
                    </a:lnTo>
                    <a:lnTo>
                      <a:pt x="298" y="56"/>
                    </a:lnTo>
                    <a:lnTo>
                      <a:pt x="298" y="56"/>
                    </a:lnTo>
                    <a:lnTo>
                      <a:pt x="298" y="56"/>
                    </a:lnTo>
                    <a:close/>
                    <a:moveTo>
                      <a:pt x="76" y="739"/>
                    </a:moveTo>
                    <a:lnTo>
                      <a:pt x="0" y="562"/>
                    </a:lnTo>
                    <a:lnTo>
                      <a:pt x="206" y="484"/>
                    </a:lnTo>
                    <a:lnTo>
                      <a:pt x="253" y="333"/>
                    </a:lnTo>
                    <a:lnTo>
                      <a:pt x="222" y="283"/>
                    </a:lnTo>
                    <a:lnTo>
                      <a:pt x="222" y="255"/>
                    </a:lnTo>
                    <a:lnTo>
                      <a:pt x="244" y="200"/>
                    </a:lnTo>
                    <a:lnTo>
                      <a:pt x="244" y="184"/>
                    </a:lnTo>
                    <a:lnTo>
                      <a:pt x="274" y="172"/>
                    </a:lnTo>
                    <a:lnTo>
                      <a:pt x="274" y="167"/>
                    </a:lnTo>
                    <a:lnTo>
                      <a:pt x="260" y="167"/>
                    </a:lnTo>
                    <a:lnTo>
                      <a:pt x="260" y="118"/>
                    </a:lnTo>
                    <a:lnTo>
                      <a:pt x="274" y="111"/>
                    </a:lnTo>
                    <a:lnTo>
                      <a:pt x="282" y="118"/>
                    </a:lnTo>
                    <a:lnTo>
                      <a:pt x="274" y="118"/>
                    </a:lnTo>
                    <a:lnTo>
                      <a:pt x="282" y="127"/>
                    </a:lnTo>
                    <a:lnTo>
                      <a:pt x="298" y="118"/>
                    </a:lnTo>
                    <a:lnTo>
                      <a:pt x="298" y="111"/>
                    </a:lnTo>
                    <a:lnTo>
                      <a:pt x="324" y="151"/>
                    </a:lnTo>
                    <a:lnTo>
                      <a:pt x="362" y="188"/>
                    </a:lnTo>
                    <a:lnTo>
                      <a:pt x="437" y="212"/>
                    </a:lnTo>
                    <a:lnTo>
                      <a:pt x="459" y="212"/>
                    </a:lnTo>
                    <a:lnTo>
                      <a:pt x="513" y="283"/>
                    </a:lnTo>
                    <a:lnTo>
                      <a:pt x="546" y="295"/>
                    </a:lnTo>
                    <a:lnTo>
                      <a:pt x="546" y="316"/>
                    </a:lnTo>
                    <a:lnTo>
                      <a:pt x="513" y="382"/>
                    </a:lnTo>
                    <a:lnTo>
                      <a:pt x="475" y="411"/>
                    </a:lnTo>
                    <a:lnTo>
                      <a:pt x="454" y="451"/>
                    </a:lnTo>
                    <a:lnTo>
                      <a:pt x="433" y="460"/>
                    </a:lnTo>
                    <a:lnTo>
                      <a:pt x="437" y="444"/>
                    </a:lnTo>
                    <a:lnTo>
                      <a:pt x="433" y="444"/>
                    </a:lnTo>
                    <a:lnTo>
                      <a:pt x="404" y="467"/>
                    </a:lnTo>
                    <a:lnTo>
                      <a:pt x="388" y="505"/>
                    </a:lnTo>
                    <a:lnTo>
                      <a:pt x="404" y="562"/>
                    </a:lnTo>
                    <a:lnTo>
                      <a:pt x="362" y="571"/>
                    </a:lnTo>
                    <a:lnTo>
                      <a:pt x="329" y="578"/>
                    </a:lnTo>
                    <a:lnTo>
                      <a:pt x="324" y="595"/>
                    </a:lnTo>
                    <a:lnTo>
                      <a:pt x="312" y="628"/>
                    </a:lnTo>
                    <a:lnTo>
                      <a:pt x="298" y="644"/>
                    </a:lnTo>
                    <a:lnTo>
                      <a:pt x="237" y="649"/>
                    </a:lnTo>
                    <a:lnTo>
                      <a:pt x="222" y="673"/>
                    </a:lnTo>
                    <a:lnTo>
                      <a:pt x="227" y="682"/>
                    </a:lnTo>
                    <a:lnTo>
                      <a:pt x="206" y="706"/>
                    </a:lnTo>
                    <a:lnTo>
                      <a:pt x="189" y="715"/>
                    </a:lnTo>
                    <a:lnTo>
                      <a:pt x="173" y="706"/>
                    </a:lnTo>
                    <a:lnTo>
                      <a:pt x="147" y="706"/>
                    </a:lnTo>
                    <a:lnTo>
                      <a:pt x="109" y="727"/>
                    </a:lnTo>
                    <a:lnTo>
                      <a:pt x="76" y="739"/>
                    </a:lnTo>
                    <a:lnTo>
                      <a:pt x="76" y="739"/>
                    </a:lnTo>
                    <a:lnTo>
                      <a:pt x="76" y="739"/>
                    </a:lnTo>
                    <a:close/>
                    <a:moveTo>
                      <a:pt x="459" y="477"/>
                    </a:moveTo>
                    <a:lnTo>
                      <a:pt x="459" y="460"/>
                    </a:lnTo>
                    <a:lnTo>
                      <a:pt x="487" y="439"/>
                    </a:lnTo>
                    <a:lnTo>
                      <a:pt x="487" y="451"/>
                    </a:lnTo>
                    <a:lnTo>
                      <a:pt x="459" y="477"/>
                    </a:lnTo>
                    <a:lnTo>
                      <a:pt x="459" y="477"/>
                    </a:lnTo>
                    <a:lnTo>
                      <a:pt x="459" y="477"/>
                    </a:lnTo>
                    <a:close/>
                    <a:moveTo>
                      <a:pt x="274" y="673"/>
                    </a:moveTo>
                    <a:lnTo>
                      <a:pt x="274" y="673"/>
                    </a:lnTo>
                    <a:lnTo>
                      <a:pt x="282" y="673"/>
                    </a:lnTo>
                    <a:lnTo>
                      <a:pt x="274" y="673"/>
                    </a:lnTo>
                    <a:lnTo>
                      <a:pt x="274" y="673"/>
                    </a:lnTo>
                    <a:lnTo>
                      <a:pt x="274" y="67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67" name="Freeform 516">
                <a:extLst>
                  <a:ext uri="{FF2B5EF4-FFF2-40B4-BE49-F238E27FC236}">
                    <a16:creationId xmlns:a16="http://schemas.microsoft.com/office/drawing/2014/main" id="{FEB2A65B-B79A-431D-9C44-B34A28A1ED6E}"/>
                  </a:ext>
                </a:extLst>
              </p:cNvPr>
              <p:cNvSpPr>
                <a:spLocks noEditPoints="1"/>
              </p:cNvSpPr>
              <p:nvPr/>
            </p:nvSpPr>
            <p:spPr bwMode="gray">
              <a:xfrm>
                <a:off x="7599388" y="4376731"/>
                <a:ext cx="306283" cy="504764"/>
              </a:xfrm>
              <a:custGeom>
                <a:avLst/>
                <a:gdLst>
                  <a:gd name="T0" fmla="*/ 206 w 744"/>
                  <a:gd name="T1" fmla="*/ 260 h 1226"/>
                  <a:gd name="T2" fmla="*/ 298 w 744"/>
                  <a:gd name="T3" fmla="*/ 305 h 1226"/>
                  <a:gd name="T4" fmla="*/ 293 w 744"/>
                  <a:gd name="T5" fmla="*/ 414 h 1226"/>
                  <a:gd name="T6" fmla="*/ 331 w 744"/>
                  <a:gd name="T7" fmla="*/ 470 h 1226"/>
                  <a:gd name="T8" fmla="*/ 352 w 744"/>
                  <a:gd name="T9" fmla="*/ 491 h 1226"/>
                  <a:gd name="T10" fmla="*/ 364 w 744"/>
                  <a:gd name="T11" fmla="*/ 414 h 1226"/>
                  <a:gd name="T12" fmla="*/ 397 w 744"/>
                  <a:gd name="T13" fmla="*/ 364 h 1226"/>
                  <a:gd name="T14" fmla="*/ 397 w 744"/>
                  <a:gd name="T15" fmla="*/ 310 h 1226"/>
                  <a:gd name="T16" fmla="*/ 310 w 744"/>
                  <a:gd name="T17" fmla="*/ 220 h 1226"/>
                  <a:gd name="T18" fmla="*/ 293 w 744"/>
                  <a:gd name="T19" fmla="*/ 128 h 1226"/>
                  <a:gd name="T20" fmla="*/ 331 w 744"/>
                  <a:gd name="T21" fmla="*/ 83 h 1226"/>
                  <a:gd name="T22" fmla="*/ 418 w 744"/>
                  <a:gd name="T23" fmla="*/ 83 h 1226"/>
                  <a:gd name="T24" fmla="*/ 461 w 744"/>
                  <a:gd name="T25" fmla="*/ 83 h 1226"/>
                  <a:gd name="T26" fmla="*/ 543 w 744"/>
                  <a:gd name="T27" fmla="*/ 66 h 1226"/>
                  <a:gd name="T28" fmla="*/ 612 w 744"/>
                  <a:gd name="T29" fmla="*/ 54 h 1226"/>
                  <a:gd name="T30" fmla="*/ 721 w 744"/>
                  <a:gd name="T31" fmla="*/ 0 h 1226"/>
                  <a:gd name="T32" fmla="*/ 728 w 744"/>
                  <a:gd name="T33" fmla="*/ 33 h 1226"/>
                  <a:gd name="T34" fmla="*/ 728 w 744"/>
                  <a:gd name="T35" fmla="*/ 38 h 1226"/>
                  <a:gd name="T36" fmla="*/ 721 w 744"/>
                  <a:gd name="T37" fmla="*/ 88 h 1226"/>
                  <a:gd name="T38" fmla="*/ 732 w 744"/>
                  <a:gd name="T39" fmla="*/ 166 h 1226"/>
                  <a:gd name="T40" fmla="*/ 728 w 744"/>
                  <a:gd name="T41" fmla="*/ 182 h 1226"/>
                  <a:gd name="T42" fmla="*/ 721 w 744"/>
                  <a:gd name="T43" fmla="*/ 272 h 1226"/>
                  <a:gd name="T44" fmla="*/ 728 w 744"/>
                  <a:gd name="T45" fmla="*/ 293 h 1226"/>
                  <a:gd name="T46" fmla="*/ 732 w 744"/>
                  <a:gd name="T47" fmla="*/ 343 h 1226"/>
                  <a:gd name="T48" fmla="*/ 728 w 744"/>
                  <a:gd name="T49" fmla="*/ 364 h 1226"/>
                  <a:gd name="T50" fmla="*/ 673 w 744"/>
                  <a:gd name="T51" fmla="*/ 425 h 1226"/>
                  <a:gd name="T52" fmla="*/ 624 w 744"/>
                  <a:gd name="T53" fmla="*/ 470 h 1226"/>
                  <a:gd name="T54" fmla="*/ 489 w 744"/>
                  <a:gd name="T55" fmla="*/ 536 h 1226"/>
                  <a:gd name="T56" fmla="*/ 473 w 744"/>
                  <a:gd name="T57" fmla="*/ 565 h 1226"/>
                  <a:gd name="T58" fmla="*/ 406 w 744"/>
                  <a:gd name="T59" fmla="*/ 619 h 1226"/>
                  <a:gd name="T60" fmla="*/ 314 w 744"/>
                  <a:gd name="T61" fmla="*/ 690 h 1226"/>
                  <a:gd name="T62" fmla="*/ 343 w 744"/>
                  <a:gd name="T63" fmla="*/ 775 h 1226"/>
                  <a:gd name="T64" fmla="*/ 352 w 744"/>
                  <a:gd name="T65" fmla="*/ 884 h 1226"/>
                  <a:gd name="T66" fmla="*/ 369 w 744"/>
                  <a:gd name="T67" fmla="*/ 874 h 1226"/>
                  <a:gd name="T68" fmla="*/ 380 w 744"/>
                  <a:gd name="T69" fmla="*/ 928 h 1226"/>
                  <a:gd name="T70" fmla="*/ 352 w 744"/>
                  <a:gd name="T71" fmla="*/ 1006 h 1226"/>
                  <a:gd name="T72" fmla="*/ 331 w 744"/>
                  <a:gd name="T73" fmla="*/ 1051 h 1226"/>
                  <a:gd name="T74" fmla="*/ 163 w 744"/>
                  <a:gd name="T75" fmla="*/ 1155 h 1226"/>
                  <a:gd name="T76" fmla="*/ 184 w 744"/>
                  <a:gd name="T77" fmla="*/ 1226 h 1226"/>
                  <a:gd name="T78" fmla="*/ 125 w 744"/>
                  <a:gd name="T79" fmla="*/ 1155 h 1226"/>
                  <a:gd name="T80" fmla="*/ 92 w 744"/>
                  <a:gd name="T81" fmla="*/ 966 h 1226"/>
                  <a:gd name="T82" fmla="*/ 151 w 744"/>
                  <a:gd name="T83" fmla="*/ 801 h 1226"/>
                  <a:gd name="T84" fmla="*/ 163 w 744"/>
                  <a:gd name="T85" fmla="*/ 768 h 1226"/>
                  <a:gd name="T86" fmla="*/ 184 w 744"/>
                  <a:gd name="T87" fmla="*/ 730 h 1226"/>
                  <a:gd name="T88" fmla="*/ 184 w 744"/>
                  <a:gd name="T89" fmla="*/ 636 h 1226"/>
                  <a:gd name="T90" fmla="*/ 184 w 744"/>
                  <a:gd name="T91" fmla="*/ 607 h 1226"/>
                  <a:gd name="T92" fmla="*/ 191 w 744"/>
                  <a:gd name="T93" fmla="*/ 569 h 1226"/>
                  <a:gd name="T94" fmla="*/ 191 w 744"/>
                  <a:gd name="T95" fmla="*/ 515 h 1226"/>
                  <a:gd name="T96" fmla="*/ 191 w 744"/>
                  <a:gd name="T97" fmla="*/ 458 h 1226"/>
                  <a:gd name="T98" fmla="*/ 147 w 744"/>
                  <a:gd name="T99" fmla="*/ 442 h 1226"/>
                  <a:gd name="T100" fmla="*/ 83 w 744"/>
                  <a:gd name="T101" fmla="*/ 421 h 1226"/>
                  <a:gd name="T102" fmla="*/ 17 w 744"/>
                  <a:gd name="T103" fmla="*/ 380 h 1226"/>
                  <a:gd name="T104" fmla="*/ 678 w 744"/>
                  <a:gd name="T105" fmla="*/ 437 h 1226"/>
                  <a:gd name="T106" fmla="*/ 678 w 744"/>
                  <a:gd name="T107" fmla="*/ 437 h 1226"/>
                  <a:gd name="T108" fmla="*/ 191 w 744"/>
                  <a:gd name="T109" fmla="*/ 1160 h 1226"/>
                  <a:gd name="T110" fmla="*/ 191 w 744"/>
                  <a:gd name="T111" fmla="*/ 116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44" h="1226">
                    <a:moveTo>
                      <a:pt x="17" y="380"/>
                    </a:moveTo>
                    <a:lnTo>
                      <a:pt x="0" y="331"/>
                    </a:lnTo>
                    <a:lnTo>
                      <a:pt x="206" y="260"/>
                    </a:lnTo>
                    <a:lnTo>
                      <a:pt x="239" y="305"/>
                    </a:lnTo>
                    <a:lnTo>
                      <a:pt x="288" y="288"/>
                    </a:lnTo>
                    <a:lnTo>
                      <a:pt x="298" y="305"/>
                    </a:lnTo>
                    <a:lnTo>
                      <a:pt x="298" y="359"/>
                    </a:lnTo>
                    <a:lnTo>
                      <a:pt x="276" y="397"/>
                    </a:lnTo>
                    <a:lnTo>
                      <a:pt x="293" y="414"/>
                    </a:lnTo>
                    <a:lnTo>
                      <a:pt x="293" y="425"/>
                    </a:lnTo>
                    <a:lnTo>
                      <a:pt x="298" y="425"/>
                    </a:lnTo>
                    <a:lnTo>
                      <a:pt x="331" y="470"/>
                    </a:lnTo>
                    <a:lnTo>
                      <a:pt x="347" y="470"/>
                    </a:lnTo>
                    <a:lnTo>
                      <a:pt x="343" y="491"/>
                    </a:lnTo>
                    <a:lnTo>
                      <a:pt x="352" y="491"/>
                    </a:lnTo>
                    <a:lnTo>
                      <a:pt x="352" y="458"/>
                    </a:lnTo>
                    <a:lnTo>
                      <a:pt x="343" y="442"/>
                    </a:lnTo>
                    <a:lnTo>
                      <a:pt x="364" y="414"/>
                    </a:lnTo>
                    <a:lnTo>
                      <a:pt x="369" y="421"/>
                    </a:lnTo>
                    <a:lnTo>
                      <a:pt x="397" y="404"/>
                    </a:lnTo>
                    <a:lnTo>
                      <a:pt x="397" y="364"/>
                    </a:lnTo>
                    <a:lnTo>
                      <a:pt x="385" y="347"/>
                    </a:lnTo>
                    <a:lnTo>
                      <a:pt x="402" y="326"/>
                    </a:lnTo>
                    <a:lnTo>
                      <a:pt x="397" y="310"/>
                    </a:lnTo>
                    <a:lnTo>
                      <a:pt x="343" y="236"/>
                    </a:lnTo>
                    <a:lnTo>
                      <a:pt x="326" y="220"/>
                    </a:lnTo>
                    <a:lnTo>
                      <a:pt x="310" y="220"/>
                    </a:lnTo>
                    <a:lnTo>
                      <a:pt x="298" y="215"/>
                    </a:lnTo>
                    <a:lnTo>
                      <a:pt x="298" y="166"/>
                    </a:lnTo>
                    <a:lnTo>
                      <a:pt x="293" y="128"/>
                    </a:lnTo>
                    <a:lnTo>
                      <a:pt x="310" y="95"/>
                    </a:lnTo>
                    <a:lnTo>
                      <a:pt x="310" y="83"/>
                    </a:lnTo>
                    <a:lnTo>
                      <a:pt x="331" y="83"/>
                    </a:lnTo>
                    <a:lnTo>
                      <a:pt x="369" y="88"/>
                    </a:lnTo>
                    <a:lnTo>
                      <a:pt x="397" y="71"/>
                    </a:lnTo>
                    <a:lnTo>
                      <a:pt x="418" y="83"/>
                    </a:lnTo>
                    <a:lnTo>
                      <a:pt x="418" y="95"/>
                    </a:lnTo>
                    <a:lnTo>
                      <a:pt x="439" y="95"/>
                    </a:lnTo>
                    <a:lnTo>
                      <a:pt x="461" y="83"/>
                    </a:lnTo>
                    <a:lnTo>
                      <a:pt x="510" y="95"/>
                    </a:lnTo>
                    <a:lnTo>
                      <a:pt x="532" y="83"/>
                    </a:lnTo>
                    <a:lnTo>
                      <a:pt x="543" y="66"/>
                    </a:lnTo>
                    <a:lnTo>
                      <a:pt x="548" y="54"/>
                    </a:lnTo>
                    <a:lnTo>
                      <a:pt x="581" y="71"/>
                    </a:lnTo>
                    <a:lnTo>
                      <a:pt x="612" y="54"/>
                    </a:lnTo>
                    <a:lnTo>
                      <a:pt x="636" y="54"/>
                    </a:lnTo>
                    <a:lnTo>
                      <a:pt x="721" y="0"/>
                    </a:lnTo>
                    <a:lnTo>
                      <a:pt x="721" y="0"/>
                    </a:lnTo>
                    <a:lnTo>
                      <a:pt x="728" y="17"/>
                    </a:lnTo>
                    <a:lnTo>
                      <a:pt x="721" y="29"/>
                    </a:lnTo>
                    <a:lnTo>
                      <a:pt x="728" y="33"/>
                    </a:lnTo>
                    <a:lnTo>
                      <a:pt x="721" y="33"/>
                    </a:lnTo>
                    <a:lnTo>
                      <a:pt x="721" y="38"/>
                    </a:lnTo>
                    <a:lnTo>
                      <a:pt x="728" y="38"/>
                    </a:lnTo>
                    <a:lnTo>
                      <a:pt x="711" y="66"/>
                    </a:lnTo>
                    <a:lnTo>
                      <a:pt x="721" y="71"/>
                    </a:lnTo>
                    <a:lnTo>
                      <a:pt x="721" y="88"/>
                    </a:lnTo>
                    <a:lnTo>
                      <a:pt x="721" y="111"/>
                    </a:lnTo>
                    <a:lnTo>
                      <a:pt x="721" y="149"/>
                    </a:lnTo>
                    <a:lnTo>
                      <a:pt x="732" y="166"/>
                    </a:lnTo>
                    <a:lnTo>
                      <a:pt x="711" y="182"/>
                    </a:lnTo>
                    <a:lnTo>
                      <a:pt x="721" y="194"/>
                    </a:lnTo>
                    <a:lnTo>
                      <a:pt x="728" y="182"/>
                    </a:lnTo>
                    <a:lnTo>
                      <a:pt x="721" y="220"/>
                    </a:lnTo>
                    <a:lnTo>
                      <a:pt x="732" y="260"/>
                    </a:lnTo>
                    <a:lnTo>
                      <a:pt x="721" y="272"/>
                    </a:lnTo>
                    <a:lnTo>
                      <a:pt x="728" y="277"/>
                    </a:lnTo>
                    <a:lnTo>
                      <a:pt x="732" y="277"/>
                    </a:lnTo>
                    <a:lnTo>
                      <a:pt x="728" y="293"/>
                    </a:lnTo>
                    <a:lnTo>
                      <a:pt x="744" y="288"/>
                    </a:lnTo>
                    <a:lnTo>
                      <a:pt x="744" y="310"/>
                    </a:lnTo>
                    <a:lnTo>
                      <a:pt x="732" y="343"/>
                    </a:lnTo>
                    <a:lnTo>
                      <a:pt x="721" y="343"/>
                    </a:lnTo>
                    <a:lnTo>
                      <a:pt x="732" y="347"/>
                    </a:lnTo>
                    <a:lnTo>
                      <a:pt x="728" y="364"/>
                    </a:lnTo>
                    <a:lnTo>
                      <a:pt x="695" y="404"/>
                    </a:lnTo>
                    <a:lnTo>
                      <a:pt x="690" y="421"/>
                    </a:lnTo>
                    <a:lnTo>
                      <a:pt x="673" y="425"/>
                    </a:lnTo>
                    <a:lnTo>
                      <a:pt x="673" y="437"/>
                    </a:lnTo>
                    <a:lnTo>
                      <a:pt x="666" y="442"/>
                    </a:lnTo>
                    <a:lnTo>
                      <a:pt x="624" y="470"/>
                    </a:lnTo>
                    <a:lnTo>
                      <a:pt x="619" y="475"/>
                    </a:lnTo>
                    <a:lnTo>
                      <a:pt x="532" y="508"/>
                    </a:lnTo>
                    <a:lnTo>
                      <a:pt x="489" y="536"/>
                    </a:lnTo>
                    <a:lnTo>
                      <a:pt x="473" y="553"/>
                    </a:lnTo>
                    <a:lnTo>
                      <a:pt x="461" y="548"/>
                    </a:lnTo>
                    <a:lnTo>
                      <a:pt x="473" y="565"/>
                    </a:lnTo>
                    <a:lnTo>
                      <a:pt x="423" y="619"/>
                    </a:lnTo>
                    <a:lnTo>
                      <a:pt x="406" y="619"/>
                    </a:lnTo>
                    <a:lnTo>
                      <a:pt x="406" y="619"/>
                    </a:lnTo>
                    <a:lnTo>
                      <a:pt x="326" y="697"/>
                    </a:lnTo>
                    <a:lnTo>
                      <a:pt x="310" y="673"/>
                    </a:lnTo>
                    <a:lnTo>
                      <a:pt x="314" y="690"/>
                    </a:lnTo>
                    <a:lnTo>
                      <a:pt x="314" y="718"/>
                    </a:lnTo>
                    <a:lnTo>
                      <a:pt x="310" y="735"/>
                    </a:lnTo>
                    <a:lnTo>
                      <a:pt x="343" y="775"/>
                    </a:lnTo>
                    <a:lnTo>
                      <a:pt x="343" y="801"/>
                    </a:lnTo>
                    <a:lnTo>
                      <a:pt x="352" y="825"/>
                    </a:lnTo>
                    <a:lnTo>
                      <a:pt x="352" y="884"/>
                    </a:lnTo>
                    <a:lnTo>
                      <a:pt x="364" y="884"/>
                    </a:lnTo>
                    <a:lnTo>
                      <a:pt x="369" y="862"/>
                    </a:lnTo>
                    <a:lnTo>
                      <a:pt x="369" y="874"/>
                    </a:lnTo>
                    <a:lnTo>
                      <a:pt x="369" y="917"/>
                    </a:lnTo>
                    <a:lnTo>
                      <a:pt x="369" y="928"/>
                    </a:lnTo>
                    <a:lnTo>
                      <a:pt x="380" y="928"/>
                    </a:lnTo>
                    <a:lnTo>
                      <a:pt x="369" y="940"/>
                    </a:lnTo>
                    <a:lnTo>
                      <a:pt x="352" y="995"/>
                    </a:lnTo>
                    <a:lnTo>
                      <a:pt x="352" y="1006"/>
                    </a:lnTo>
                    <a:lnTo>
                      <a:pt x="369" y="990"/>
                    </a:lnTo>
                    <a:lnTo>
                      <a:pt x="369" y="1011"/>
                    </a:lnTo>
                    <a:lnTo>
                      <a:pt x="331" y="1051"/>
                    </a:lnTo>
                    <a:lnTo>
                      <a:pt x="239" y="1094"/>
                    </a:lnTo>
                    <a:lnTo>
                      <a:pt x="180" y="1134"/>
                    </a:lnTo>
                    <a:lnTo>
                      <a:pt x="163" y="1155"/>
                    </a:lnTo>
                    <a:lnTo>
                      <a:pt x="184" y="1177"/>
                    </a:lnTo>
                    <a:lnTo>
                      <a:pt x="191" y="1160"/>
                    </a:lnTo>
                    <a:lnTo>
                      <a:pt x="184" y="1226"/>
                    </a:lnTo>
                    <a:lnTo>
                      <a:pt x="130" y="1226"/>
                    </a:lnTo>
                    <a:lnTo>
                      <a:pt x="130" y="1172"/>
                    </a:lnTo>
                    <a:lnTo>
                      <a:pt x="125" y="1155"/>
                    </a:lnTo>
                    <a:lnTo>
                      <a:pt x="125" y="1040"/>
                    </a:lnTo>
                    <a:lnTo>
                      <a:pt x="113" y="1006"/>
                    </a:lnTo>
                    <a:lnTo>
                      <a:pt x="92" y="966"/>
                    </a:lnTo>
                    <a:lnTo>
                      <a:pt x="92" y="940"/>
                    </a:lnTo>
                    <a:lnTo>
                      <a:pt x="76" y="884"/>
                    </a:lnTo>
                    <a:lnTo>
                      <a:pt x="151" y="801"/>
                    </a:lnTo>
                    <a:lnTo>
                      <a:pt x="151" y="808"/>
                    </a:lnTo>
                    <a:lnTo>
                      <a:pt x="147" y="791"/>
                    </a:lnTo>
                    <a:lnTo>
                      <a:pt x="163" y="768"/>
                    </a:lnTo>
                    <a:lnTo>
                      <a:pt x="151" y="751"/>
                    </a:lnTo>
                    <a:lnTo>
                      <a:pt x="168" y="747"/>
                    </a:lnTo>
                    <a:lnTo>
                      <a:pt x="184" y="730"/>
                    </a:lnTo>
                    <a:lnTo>
                      <a:pt x="201" y="690"/>
                    </a:lnTo>
                    <a:lnTo>
                      <a:pt x="180" y="664"/>
                    </a:lnTo>
                    <a:lnTo>
                      <a:pt x="184" y="636"/>
                    </a:lnTo>
                    <a:lnTo>
                      <a:pt x="168" y="624"/>
                    </a:lnTo>
                    <a:lnTo>
                      <a:pt x="168" y="619"/>
                    </a:lnTo>
                    <a:lnTo>
                      <a:pt x="184" y="607"/>
                    </a:lnTo>
                    <a:lnTo>
                      <a:pt x="184" y="591"/>
                    </a:lnTo>
                    <a:lnTo>
                      <a:pt x="201" y="581"/>
                    </a:lnTo>
                    <a:lnTo>
                      <a:pt x="191" y="569"/>
                    </a:lnTo>
                    <a:lnTo>
                      <a:pt x="184" y="553"/>
                    </a:lnTo>
                    <a:lnTo>
                      <a:pt x="191" y="525"/>
                    </a:lnTo>
                    <a:lnTo>
                      <a:pt x="191" y="515"/>
                    </a:lnTo>
                    <a:lnTo>
                      <a:pt x="191" y="508"/>
                    </a:lnTo>
                    <a:lnTo>
                      <a:pt x="184" y="475"/>
                    </a:lnTo>
                    <a:lnTo>
                      <a:pt x="191" y="458"/>
                    </a:lnTo>
                    <a:lnTo>
                      <a:pt x="180" y="458"/>
                    </a:lnTo>
                    <a:lnTo>
                      <a:pt x="168" y="454"/>
                    </a:lnTo>
                    <a:lnTo>
                      <a:pt x="147" y="442"/>
                    </a:lnTo>
                    <a:lnTo>
                      <a:pt x="113" y="437"/>
                    </a:lnTo>
                    <a:lnTo>
                      <a:pt x="99" y="421"/>
                    </a:lnTo>
                    <a:lnTo>
                      <a:pt x="83" y="421"/>
                    </a:lnTo>
                    <a:lnTo>
                      <a:pt x="71" y="404"/>
                    </a:lnTo>
                    <a:lnTo>
                      <a:pt x="17" y="404"/>
                    </a:lnTo>
                    <a:lnTo>
                      <a:pt x="17" y="380"/>
                    </a:lnTo>
                    <a:lnTo>
                      <a:pt x="17" y="380"/>
                    </a:lnTo>
                    <a:lnTo>
                      <a:pt x="17" y="380"/>
                    </a:lnTo>
                    <a:close/>
                    <a:moveTo>
                      <a:pt x="678" y="437"/>
                    </a:moveTo>
                    <a:lnTo>
                      <a:pt x="673" y="425"/>
                    </a:lnTo>
                    <a:lnTo>
                      <a:pt x="678" y="425"/>
                    </a:lnTo>
                    <a:lnTo>
                      <a:pt x="678" y="437"/>
                    </a:lnTo>
                    <a:lnTo>
                      <a:pt x="678" y="437"/>
                    </a:lnTo>
                    <a:lnTo>
                      <a:pt x="678" y="437"/>
                    </a:lnTo>
                    <a:close/>
                    <a:moveTo>
                      <a:pt x="191" y="1160"/>
                    </a:moveTo>
                    <a:lnTo>
                      <a:pt x="184" y="1155"/>
                    </a:lnTo>
                    <a:lnTo>
                      <a:pt x="191" y="1155"/>
                    </a:lnTo>
                    <a:lnTo>
                      <a:pt x="191" y="1160"/>
                    </a:lnTo>
                    <a:lnTo>
                      <a:pt x="191" y="1160"/>
                    </a:lnTo>
                    <a:lnTo>
                      <a:pt x="191" y="116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68" name="Freeform 519">
                <a:extLst>
                  <a:ext uri="{FF2B5EF4-FFF2-40B4-BE49-F238E27FC236}">
                    <a16:creationId xmlns:a16="http://schemas.microsoft.com/office/drawing/2014/main" id="{3853AA0F-34CB-4CFB-83FC-5FFDB706DAB2}"/>
                  </a:ext>
                </a:extLst>
              </p:cNvPr>
              <p:cNvSpPr>
                <a:spLocks/>
              </p:cNvSpPr>
              <p:nvPr/>
            </p:nvSpPr>
            <p:spPr bwMode="gray">
              <a:xfrm>
                <a:off x="6729118" y="3355676"/>
                <a:ext cx="456953" cy="361899"/>
              </a:xfrm>
              <a:custGeom>
                <a:avLst/>
                <a:gdLst>
                  <a:gd name="T0" fmla="*/ 194 w 1110"/>
                  <a:gd name="T1" fmla="*/ 824 h 879"/>
                  <a:gd name="T2" fmla="*/ 161 w 1110"/>
                  <a:gd name="T3" fmla="*/ 862 h 879"/>
                  <a:gd name="T4" fmla="*/ 144 w 1110"/>
                  <a:gd name="T5" fmla="*/ 824 h 879"/>
                  <a:gd name="T6" fmla="*/ 102 w 1110"/>
                  <a:gd name="T7" fmla="*/ 808 h 879"/>
                  <a:gd name="T8" fmla="*/ 64 w 1110"/>
                  <a:gd name="T9" fmla="*/ 751 h 879"/>
                  <a:gd name="T10" fmla="*/ 64 w 1110"/>
                  <a:gd name="T11" fmla="*/ 742 h 879"/>
                  <a:gd name="T12" fmla="*/ 31 w 1110"/>
                  <a:gd name="T13" fmla="*/ 725 h 879"/>
                  <a:gd name="T14" fmla="*/ 21 w 1110"/>
                  <a:gd name="T15" fmla="*/ 685 h 879"/>
                  <a:gd name="T16" fmla="*/ 9 w 1110"/>
                  <a:gd name="T17" fmla="*/ 642 h 879"/>
                  <a:gd name="T18" fmla="*/ 64 w 1110"/>
                  <a:gd name="T19" fmla="*/ 631 h 879"/>
                  <a:gd name="T20" fmla="*/ 198 w 1110"/>
                  <a:gd name="T21" fmla="*/ 607 h 879"/>
                  <a:gd name="T22" fmla="*/ 236 w 1110"/>
                  <a:gd name="T23" fmla="*/ 607 h 879"/>
                  <a:gd name="T24" fmla="*/ 264 w 1110"/>
                  <a:gd name="T25" fmla="*/ 586 h 879"/>
                  <a:gd name="T26" fmla="*/ 286 w 1110"/>
                  <a:gd name="T27" fmla="*/ 531 h 879"/>
                  <a:gd name="T28" fmla="*/ 399 w 1110"/>
                  <a:gd name="T29" fmla="*/ 309 h 879"/>
                  <a:gd name="T30" fmla="*/ 829 w 1110"/>
                  <a:gd name="T31" fmla="*/ 0 h 879"/>
                  <a:gd name="T32" fmla="*/ 987 w 1110"/>
                  <a:gd name="T33" fmla="*/ 71 h 879"/>
                  <a:gd name="T34" fmla="*/ 1056 w 1110"/>
                  <a:gd name="T35" fmla="*/ 111 h 879"/>
                  <a:gd name="T36" fmla="*/ 1089 w 1110"/>
                  <a:gd name="T37" fmla="*/ 187 h 879"/>
                  <a:gd name="T38" fmla="*/ 1110 w 1110"/>
                  <a:gd name="T39" fmla="*/ 238 h 879"/>
                  <a:gd name="T40" fmla="*/ 1077 w 1110"/>
                  <a:gd name="T41" fmla="*/ 491 h 879"/>
                  <a:gd name="T42" fmla="*/ 964 w 1110"/>
                  <a:gd name="T43" fmla="*/ 631 h 879"/>
                  <a:gd name="T44" fmla="*/ 933 w 1110"/>
                  <a:gd name="T45" fmla="*/ 668 h 879"/>
                  <a:gd name="T46" fmla="*/ 926 w 1110"/>
                  <a:gd name="T47" fmla="*/ 725 h 879"/>
                  <a:gd name="T48" fmla="*/ 895 w 1110"/>
                  <a:gd name="T49" fmla="*/ 742 h 879"/>
                  <a:gd name="T50" fmla="*/ 791 w 1110"/>
                  <a:gd name="T51" fmla="*/ 751 h 879"/>
                  <a:gd name="T52" fmla="*/ 701 w 1110"/>
                  <a:gd name="T53" fmla="*/ 758 h 879"/>
                  <a:gd name="T54" fmla="*/ 602 w 1110"/>
                  <a:gd name="T55" fmla="*/ 779 h 879"/>
                  <a:gd name="T56" fmla="*/ 539 w 1110"/>
                  <a:gd name="T57" fmla="*/ 751 h 879"/>
                  <a:gd name="T58" fmla="*/ 501 w 1110"/>
                  <a:gd name="T59" fmla="*/ 775 h 879"/>
                  <a:gd name="T60" fmla="*/ 479 w 1110"/>
                  <a:gd name="T61" fmla="*/ 779 h 879"/>
                  <a:gd name="T62" fmla="*/ 425 w 1110"/>
                  <a:gd name="T63" fmla="*/ 735 h 879"/>
                  <a:gd name="T64" fmla="*/ 361 w 1110"/>
                  <a:gd name="T65" fmla="*/ 725 h 879"/>
                  <a:gd name="T66" fmla="*/ 307 w 1110"/>
                  <a:gd name="T67" fmla="*/ 725 h 879"/>
                  <a:gd name="T68" fmla="*/ 279 w 1110"/>
                  <a:gd name="T69" fmla="*/ 779 h 879"/>
                  <a:gd name="T70" fmla="*/ 248 w 1110"/>
                  <a:gd name="T71" fmla="*/ 812 h 879"/>
                  <a:gd name="T72" fmla="*/ 253 w 1110"/>
                  <a:gd name="T73" fmla="*/ 869 h 879"/>
                  <a:gd name="T74" fmla="*/ 248 w 1110"/>
                  <a:gd name="T75"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0" h="879">
                    <a:moveTo>
                      <a:pt x="248" y="879"/>
                    </a:moveTo>
                    <a:lnTo>
                      <a:pt x="194" y="824"/>
                    </a:lnTo>
                    <a:lnTo>
                      <a:pt x="161" y="836"/>
                    </a:lnTo>
                    <a:lnTo>
                      <a:pt x="161" y="862"/>
                    </a:lnTo>
                    <a:lnTo>
                      <a:pt x="139" y="829"/>
                    </a:lnTo>
                    <a:lnTo>
                      <a:pt x="144" y="824"/>
                    </a:lnTo>
                    <a:lnTo>
                      <a:pt x="139" y="808"/>
                    </a:lnTo>
                    <a:lnTo>
                      <a:pt x="102" y="808"/>
                    </a:lnTo>
                    <a:lnTo>
                      <a:pt x="64" y="775"/>
                    </a:lnTo>
                    <a:lnTo>
                      <a:pt x="64" y="751"/>
                    </a:lnTo>
                    <a:lnTo>
                      <a:pt x="85" y="758"/>
                    </a:lnTo>
                    <a:lnTo>
                      <a:pt x="64" y="742"/>
                    </a:lnTo>
                    <a:lnTo>
                      <a:pt x="64" y="742"/>
                    </a:lnTo>
                    <a:lnTo>
                      <a:pt x="31" y="725"/>
                    </a:lnTo>
                    <a:lnTo>
                      <a:pt x="14" y="697"/>
                    </a:lnTo>
                    <a:lnTo>
                      <a:pt x="21" y="685"/>
                    </a:lnTo>
                    <a:lnTo>
                      <a:pt x="0" y="668"/>
                    </a:lnTo>
                    <a:lnTo>
                      <a:pt x="9" y="642"/>
                    </a:lnTo>
                    <a:lnTo>
                      <a:pt x="9" y="631"/>
                    </a:lnTo>
                    <a:lnTo>
                      <a:pt x="64" y="631"/>
                    </a:lnTo>
                    <a:lnTo>
                      <a:pt x="85" y="614"/>
                    </a:lnTo>
                    <a:lnTo>
                      <a:pt x="198" y="607"/>
                    </a:lnTo>
                    <a:lnTo>
                      <a:pt x="210" y="602"/>
                    </a:lnTo>
                    <a:lnTo>
                      <a:pt x="236" y="607"/>
                    </a:lnTo>
                    <a:lnTo>
                      <a:pt x="236" y="590"/>
                    </a:lnTo>
                    <a:lnTo>
                      <a:pt x="264" y="586"/>
                    </a:lnTo>
                    <a:lnTo>
                      <a:pt x="279" y="536"/>
                    </a:lnTo>
                    <a:lnTo>
                      <a:pt x="286" y="531"/>
                    </a:lnTo>
                    <a:lnTo>
                      <a:pt x="290" y="326"/>
                    </a:lnTo>
                    <a:lnTo>
                      <a:pt x="399" y="309"/>
                    </a:lnTo>
                    <a:lnTo>
                      <a:pt x="517" y="198"/>
                    </a:lnTo>
                    <a:lnTo>
                      <a:pt x="829" y="0"/>
                    </a:lnTo>
                    <a:lnTo>
                      <a:pt x="938" y="21"/>
                    </a:lnTo>
                    <a:lnTo>
                      <a:pt x="987" y="71"/>
                    </a:lnTo>
                    <a:lnTo>
                      <a:pt x="1039" y="38"/>
                    </a:lnTo>
                    <a:lnTo>
                      <a:pt x="1056" y="111"/>
                    </a:lnTo>
                    <a:lnTo>
                      <a:pt x="1056" y="149"/>
                    </a:lnTo>
                    <a:lnTo>
                      <a:pt x="1089" y="187"/>
                    </a:lnTo>
                    <a:lnTo>
                      <a:pt x="1089" y="203"/>
                    </a:lnTo>
                    <a:lnTo>
                      <a:pt x="1110" y="238"/>
                    </a:lnTo>
                    <a:lnTo>
                      <a:pt x="1094" y="272"/>
                    </a:lnTo>
                    <a:lnTo>
                      <a:pt x="1077" y="491"/>
                    </a:lnTo>
                    <a:lnTo>
                      <a:pt x="1001" y="574"/>
                    </a:lnTo>
                    <a:lnTo>
                      <a:pt x="964" y="631"/>
                    </a:lnTo>
                    <a:lnTo>
                      <a:pt x="950" y="664"/>
                    </a:lnTo>
                    <a:lnTo>
                      <a:pt x="933" y="668"/>
                    </a:lnTo>
                    <a:lnTo>
                      <a:pt x="950" y="725"/>
                    </a:lnTo>
                    <a:lnTo>
                      <a:pt x="926" y="725"/>
                    </a:lnTo>
                    <a:lnTo>
                      <a:pt x="916" y="742"/>
                    </a:lnTo>
                    <a:lnTo>
                      <a:pt x="895" y="742"/>
                    </a:lnTo>
                    <a:lnTo>
                      <a:pt x="862" y="775"/>
                    </a:lnTo>
                    <a:lnTo>
                      <a:pt x="791" y="751"/>
                    </a:lnTo>
                    <a:lnTo>
                      <a:pt x="739" y="751"/>
                    </a:lnTo>
                    <a:lnTo>
                      <a:pt x="701" y="758"/>
                    </a:lnTo>
                    <a:lnTo>
                      <a:pt x="668" y="796"/>
                    </a:lnTo>
                    <a:lnTo>
                      <a:pt x="602" y="779"/>
                    </a:lnTo>
                    <a:lnTo>
                      <a:pt x="560" y="758"/>
                    </a:lnTo>
                    <a:lnTo>
                      <a:pt x="539" y="751"/>
                    </a:lnTo>
                    <a:lnTo>
                      <a:pt x="505" y="775"/>
                    </a:lnTo>
                    <a:lnTo>
                      <a:pt x="501" y="775"/>
                    </a:lnTo>
                    <a:lnTo>
                      <a:pt x="484" y="779"/>
                    </a:lnTo>
                    <a:lnTo>
                      <a:pt x="479" y="779"/>
                    </a:lnTo>
                    <a:lnTo>
                      <a:pt x="430" y="725"/>
                    </a:lnTo>
                    <a:lnTo>
                      <a:pt x="425" y="735"/>
                    </a:lnTo>
                    <a:lnTo>
                      <a:pt x="378" y="718"/>
                    </a:lnTo>
                    <a:lnTo>
                      <a:pt x="361" y="725"/>
                    </a:lnTo>
                    <a:lnTo>
                      <a:pt x="333" y="725"/>
                    </a:lnTo>
                    <a:lnTo>
                      <a:pt x="307" y="725"/>
                    </a:lnTo>
                    <a:lnTo>
                      <a:pt x="286" y="742"/>
                    </a:lnTo>
                    <a:lnTo>
                      <a:pt x="279" y="779"/>
                    </a:lnTo>
                    <a:lnTo>
                      <a:pt x="269" y="796"/>
                    </a:lnTo>
                    <a:lnTo>
                      <a:pt x="248" y="812"/>
                    </a:lnTo>
                    <a:lnTo>
                      <a:pt x="248" y="862"/>
                    </a:lnTo>
                    <a:lnTo>
                      <a:pt x="253" y="869"/>
                    </a:lnTo>
                    <a:lnTo>
                      <a:pt x="248" y="879"/>
                    </a:lnTo>
                    <a:lnTo>
                      <a:pt x="248" y="879"/>
                    </a:lnTo>
                    <a:lnTo>
                      <a:pt x="248" y="87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69" name="Freeform 521">
                <a:extLst>
                  <a:ext uri="{FF2B5EF4-FFF2-40B4-BE49-F238E27FC236}">
                    <a16:creationId xmlns:a16="http://schemas.microsoft.com/office/drawing/2014/main" id="{B6857DA1-8AD1-45C2-ACCB-984BBAAA6CDB}"/>
                  </a:ext>
                </a:extLst>
              </p:cNvPr>
              <p:cNvSpPr>
                <a:spLocks noEditPoints="1"/>
              </p:cNvSpPr>
              <p:nvPr/>
            </p:nvSpPr>
            <p:spPr bwMode="gray">
              <a:xfrm>
                <a:off x="6802807" y="3652111"/>
                <a:ext cx="346214" cy="288202"/>
              </a:xfrm>
              <a:custGeom>
                <a:avLst/>
                <a:gdLst>
                  <a:gd name="T0" fmla="*/ 648 w 841"/>
                  <a:gd name="T1" fmla="*/ 494 h 700"/>
                  <a:gd name="T2" fmla="*/ 610 w 841"/>
                  <a:gd name="T3" fmla="*/ 539 h 700"/>
                  <a:gd name="T4" fmla="*/ 556 w 841"/>
                  <a:gd name="T5" fmla="*/ 494 h 700"/>
                  <a:gd name="T6" fmla="*/ 522 w 841"/>
                  <a:gd name="T7" fmla="*/ 501 h 700"/>
                  <a:gd name="T8" fmla="*/ 492 w 841"/>
                  <a:gd name="T9" fmla="*/ 534 h 700"/>
                  <a:gd name="T10" fmla="*/ 437 w 841"/>
                  <a:gd name="T11" fmla="*/ 605 h 700"/>
                  <a:gd name="T12" fmla="*/ 409 w 841"/>
                  <a:gd name="T13" fmla="*/ 666 h 700"/>
                  <a:gd name="T14" fmla="*/ 395 w 841"/>
                  <a:gd name="T15" fmla="*/ 671 h 700"/>
                  <a:gd name="T16" fmla="*/ 345 w 841"/>
                  <a:gd name="T17" fmla="*/ 666 h 700"/>
                  <a:gd name="T18" fmla="*/ 308 w 841"/>
                  <a:gd name="T19" fmla="*/ 662 h 700"/>
                  <a:gd name="T20" fmla="*/ 303 w 841"/>
                  <a:gd name="T21" fmla="*/ 666 h 700"/>
                  <a:gd name="T22" fmla="*/ 291 w 841"/>
                  <a:gd name="T23" fmla="*/ 688 h 700"/>
                  <a:gd name="T24" fmla="*/ 286 w 841"/>
                  <a:gd name="T25" fmla="*/ 688 h 700"/>
                  <a:gd name="T26" fmla="*/ 286 w 841"/>
                  <a:gd name="T27" fmla="*/ 688 h 700"/>
                  <a:gd name="T28" fmla="*/ 253 w 841"/>
                  <a:gd name="T29" fmla="*/ 683 h 700"/>
                  <a:gd name="T30" fmla="*/ 215 w 841"/>
                  <a:gd name="T31" fmla="*/ 683 h 700"/>
                  <a:gd name="T32" fmla="*/ 199 w 841"/>
                  <a:gd name="T33" fmla="*/ 633 h 700"/>
                  <a:gd name="T34" fmla="*/ 211 w 841"/>
                  <a:gd name="T35" fmla="*/ 605 h 700"/>
                  <a:gd name="T36" fmla="*/ 178 w 841"/>
                  <a:gd name="T37" fmla="*/ 605 h 700"/>
                  <a:gd name="T38" fmla="*/ 156 w 841"/>
                  <a:gd name="T39" fmla="*/ 572 h 700"/>
                  <a:gd name="T40" fmla="*/ 85 w 841"/>
                  <a:gd name="T41" fmla="*/ 522 h 700"/>
                  <a:gd name="T42" fmla="*/ 48 w 841"/>
                  <a:gd name="T43" fmla="*/ 551 h 700"/>
                  <a:gd name="T44" fmla="*/ 0 w 841"/>
                  <a:gd name="T45" fmla="*/ 440 h 700"/>
                  <a:gd name="T46" fmla="*/ 38 w 841"/>
                  <a:gd name="T47" fmla="*/ 329 h 700"/>
                  <a:gd name="T48" fmla="*/ 71 w 841"/>
                  <a:gd name="T49" fmla="*/ 284 h 700"/>
                  <a:gd name="T50" fmla="*/ 76 w 841"/>
                  <a:gd name="T51" fmla="*/ 244 h 700"/>
                  <a:gd name="T52" fmla="*/ 76 w 841"/>
                  <a:gd name="T53" fmla="*/ 222 h 700"/>
                  <a:gd name="T54" fmla="*/ 71 w 841"/>
                  <a:gd name="T55" fmla="*/ 161 h 700"/>
                  <a:gd name="T56" fmla="*/ 71 w 841"/>
                  <a:gd name="T57" fmla="*/ 95 h 700"/>
                  <a:gd name="T58" fmla="*/ 109 w 841"/>
                  <a:gd name="T59" fmla="*/ 22 h 700"/>
                  <a:gd name="T60" fmla="*/ 185 w 841"/>
                  <a:gd name="T61" fmla="*/ 5 h 700"/>
                  <a:gd name="T62" fmla="*/ 253 w 841"/>
                  <a:gd name="T63" fmla="*/ 5 h 700"/>
                  <a:gd name="T64" fmla="*/ 324 w 841"/>
                  <a:gd name="T65" fmla="*/ 57 h 700"/>
                  <a:gd name="T66" fmla="*/ 383 w 841"/>
                  <a:gd name="T67" fmla="*/ 38 h 700"/>
                  <a:gd name="T68" fmla="*/ 522 w 841"/>
                  <a:gd name="T69" fmla="*/ 38 h 700"/>
                  <a:gd name="T70" fmla="*/ 685 w 841"/>
                  <a:gd name="T71" fmla="*/ 57 h 700"/>
                  <a:gd name="T72" fmla="*/ 749 w 841"/>
                  <a:gd name="T73" fmla="*/ 5 h 700"/>
                  <a:gd name="T74" fmla="*/ 808 w 841"/>
                  <a:gd name="T75" fmla="*/ 107 h 700"/>
                  <a:gd name="T76" fmla="*/ 841 w 841"/>
                  <a:gd name="T77" fmla="*/ 149 h 700"/>
                  <a:gd name="T78" fmla="*/ 792 w 841"/>
                  <a:gd name="T79" fmla="*/ 189 h 700"/>
                  <a:gd name="T80" fmla="*/ 754 w 841"/>
                  <a:gd name="T81" fmla="*/ 272 h 700"/>
                  <a:gd name="T82" fmla="*/ 719 w 841"/>
                  <a:gd name="T83" fmla="*/ 329 h 700"/>
                  <a:gd name="T84" fmla="*/ 685 w 841"/>
                  <a:gd name="T85" fmla="*/ 383 h 700"/>
                  <a:gd name="T86" fmla="*/ 669 w 841"/>
                  <a:gd name="T87" fmla="*/ 428 h 700"/>
                  <a:gd name="T88" fmla="*/ 643 w 841"/>
                  <a:gd name="T89" fmla="*/ 478 h 700"/>
                  <a:gd name="T90" fmla="*/ 319 w 841"/>
                  <a:gd name="T91" fmla="*/ 688 h 700"/>
                  <a:gd name="T92" fmla="*/ 319 w 841"/>
                  <a:gd name="T93" fmla="*/ 688 h 700"/>
                  <a:gd name="T94" fmla="*/ 341 w 841"/>
                  <a:gd name="T95" fmla="*/ 683 h 700"/>
                  <a:gd name="T96" fmla="*/ 341 w 841"/>
                  <a:gd name="T97" fmla="*/ 683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1" h="700">
                    <a:moveTo>
                      <a:pt x="643" y="478"/>
                    </a:moveTo>
                    <a:lnTo>
                      <a:pt x="643" y="478"/>
                    </a:lnTo>
                    <a:lnTo>
                      <a:pt x="648" y="494"/>
                    </a:lnTo>
                    <a:lnTo>
                      <a:pt x="626" y="506"/>
                    </a:lnTo>
                    <a:lnTo>
                      <a:pt x="626" y="522"/>
                    </a:lnTo>
                    <a:lnTo>
                      <a:pt x="610" y="539"/>
                    </a:lnTo>
                    <a:lnTo>
                      <a:pt x="593" y="539"/>
                    </a:lnTo>
                    <a:lnTo>
                      <a:pt x="593" y="518"/>
                    </a:lnTo>
                    <a:lnTo>
                      <a:pt x="556" y="494"/>
                    </a:lnTo>
                    <a:lnTo>
                      <a:pt x="556" y="506"/>
                    </a:lnTo>
                    <a:lnTo>
                      <a:pt x="534" y="506"/>
                    </a:lnTo>
                    <a:lnTo>
                      <a:pt x="522" y="501"/>
                    </a:lnTo>
                    <a:lnTo>
                      <a:pt x="506" y="518"/>
                    </a:lnTo>
                    <a:lnTo>
                      <a:pt x="501" y="518"/>
                    </a:lnTo>
                    <a:lnTo>
                      <a:pt x="492" y="534"/>
                    </a:lnTo>
                    <a:lnTo>
                      <a:pt x="471" y="551"/>
                    </a:lnTo>
                    <a:lnTo>
                      <a:pt x="437" y="577"/>
                    </a:lnTo>
                    <a:lnTo>
                      <a:pt x="437" y="605"/>
                    </a:lnTo>
                    <a:lnTo>
                      <a:pt x="433" y="629"/>
                    </a:lnTo>
                    <a:lnTo>
                      <a:pt x="416" y="662"/>
                    </a:lnTo>
                    <a:lnTo>
                      <a:pt x="409" y="666"/>
                    </a:lnTo>
                    <a:lnTo>
                      <a:pt x="395" y="650"/>
                    </a:lnTo>
                    <a:lnTo>
                      <a:pt x="400" y="666"/>
                    </a:lnTo>
                    <a:lnTo>
                      <a:pt x="395" y="671"/>
                    </a:lnTo>
                    <a:lnTo>
                      <a:pt x="357" y="683"/>
                    </a:lnTo>
                    <a:lnTo>
                      <a:pt x="345" y="671"/>
                    </a:lnTo>
                    <a:lnTo>
                      <a:pt x="345" y="666"/>
                    </a:lnTo>
                    <a:lnTo>
                      <a:pt x="341" y="671"/>
                    </a:lnTo>
                    <a:lnTo>
                      <a:pt x="324" y="671"/>
                    </a:lnTo>
                    <a:lnTo>
                      <a:pt x="308" y="662"/>
                    </a:lnTo>
                    <a:lnTo>
                      <a:pt x="319" y="683"/>
                    </a:lnTo>
                    <a:lnTo>
                      <a:pt x="308" y="683"/>
                    </a:lnTo>
                    <a:lnTo>
                      <a:pt x="303" y="666"/>
                    </a:lnTo>
                    <a:lnTo>
                      <a:pt x="303" y="666"/>
                    </a:lnTo>
                    <a:lnTo>
                      <a:pt x="308" y="688"/>
                    </a:lnTo>
                    <a:lnTo>
                      <a:pt x="291" y="688"/>
                    </a:lnTo>
                    <a:lnTo>
                      <a:pt x="291" y="662"/>
                    </a:lnTo>
                    <a:lnTo>
                      <a:pt x="291" y="688"/>
                    </a:lnTo>
                    <a:lnTo>
                      <a:pt x="286" y="688"/>
                    </a:lnTo>
                    <a:lnTo>
                      <a:pt x="286" y="671"/>
                    </a:lnTo>
                    <a:lnTo>
                      <a:pt x="286" y="683"/>
                    </a:lnTo>
                    <a:lnTo>
                      <a:pt x="286" y="688"/>
                    </a:lnTo>
                    <a:lnTo>
                      <a:pt x="253" y="700"/>
                    </a:lnTo>
                    <a:lnTo>
                      <a:pt x="265" y="683"/>
                    </a:lnTo>
                    <a:lnTo>
                      <a:pt x="253" y="683"/>
                    </a:lnTo>
                    <a:lnTo>
                      <a:pt x="248" y="688"/>
                    </a:lnTo>
                    <a:lnTo>
                      <a:pt x="237" y="700"/>
                    </a:lnTo>
                    <a:lnTo>
                      <a:pt x="215" y="683"/>
                    </a:lnTo>
                    <a:lnTo>
                      <a:pt x="199" y="650"/>
                    </a:lnTo>
                    <a:lnTo>
                      <a:pt x="194" y="633"/>
                    </a:lnTo>
                    <a:lnTo>
                      <a:pt x="199" y="633"/>
                    </a:lnTo>
                    <a:lnTo>
                      <a:pt x="194" y="633"/>
                    </a:lnTo>
                    <a:lnTo>
                      <a:pt x="194" y="617"/>
                    </a:lnTo>
                    <a:lnTo>
                      <a:pt x="211" y="605"/>
                    </a:lnTo>
                    <a:lnTo>
                      <a:pt x="199" y="612"/>
                    </a:lnTo>
                    <a:lnTo>
                      <a:pt x="185" y="612"/>
                    </a:lnTo>
                    <a:lnTo>
                      <a:pt x="178" y="605"/>
                    </a:lnTo>
                    <a:lnTo>
                      <a:pt x="199" y="593"/>
                    </a:lnTo>
                    <a:lnTo>
                      <a:pt x="178" y="605"/>
                    </a:lnTo>
                    <a:lnTo>
                      <a:pt x="156" y="572"/>
                    </a:lnTo>
                    <a:lnTo>
                      <a:pt x="130" y="551"/>
                    </a:lnTo>
                    <a:lnTo>
                      <a:pt x="55" y="539"/>
                    </a:lnTo>
                    <a:lnTo>
                      <a:pt x="85" y="522"/>
                    </a:lnTo>
                    <a:lnTo>
                      <a:pt x="60" y="534"/>
                    </a:lnTo>
                    <a:lnTo>
                      <a:pt x="60" y="534"/>
                    </a:lnTo>
                    <a:lnTo>
                      <a:pt x="48" y="551"/>
                    </a:lnTo>
                    <a:lnTo>
                      <a:pt x="5" y="551"/>
                    </a:lnTo>
                    <a:lnTo>
                      <a:pt x="5" y="494"/>
                    </a:lnTo>
                    <a:lnTo>
                      <a:pt x="0" y="440"/>
                    </a:lnTo>
                    <a:lnTo>
                      <a:pt x="5" y="350"/>
                    </a:lnTo>
                    <a:lnTo>
                      <a:pt x="34" y="350"/>
                    </a:lnTo>
                    <a:lnTo>
                      <a:pt x="38" y="329"/>
                    </a:lnTo>
                    <a:lnTo>
                      <a:pt x="55" y="300"/>
                    </a:lnTo>
                    <a:lnTo>
                      <a:pt x="48" y="296"/>
                    </a:lnTo>
                    <a:lnTo>
                      <a:pt x="71" y="284"/>
                    </a:lnTo>
                    <a:lnTo>
                      <a:pt x="76" y="272"/>
                    </a:lnTo>
                    <a:lnTo>
                      <a:pt x="71" y="260"/>
                    </a:lnTo>
                    <a:lnTo>
                      <a:pt x="76" y="244"/>
                    </a:lnTo>
                    <a:lnTo>
                      <a:pt x="85" y="255"/>
                    </a:lnTo>
                    <a:lnTo>
                      <a:pt x="85" y="239"/>
                    </a:lnTo>
                    <a:lnTo>
                      <a:pt x="76" y="222"/>
                    </a:lnTo>
                    <a:lnTo>
                      <a:pt x="76" y="201"/>
                    </a:lnTo>
                    <a:lnTo>
                      <a:pt x="60" y="173"/>
                    </a:lnTo>
                    <a:lnTo>
                      <a:pt x="71" y="161"/>
                    </a:lnTo>
                    <a:lnTo>
                      <a:pt x="76" y="149"/>
                    </a:lnTo>
                    <a:lnTo>
                      <a:pt x="71" y="144"/>
                    </a:lnTo>
                    <a:lnTo>
                      <a:pt x="71" y="95"/>
                    </a:lnTo>
                    <a:lnTo>
                      <a:pt x="93" y="78"/>
                    </a:lnTo>
                    <a:lnTo>
                      <a:pt x="102" y="62"/>
                    </a:lnTo>
                    <a:lnTo>
                      <a:pt x="109" y="22"/>
                    </a:lnTo>
                    <a:lnTo>
                      <a:pt x="130" y="5"/>
                    </a:lnTo>
                    <a:lnTo>
                      <a:pt x="156" y="5"/>
                    </a:lnTo>
                    <a:lnTo>
                      <a:pt x="185" y="5"/>
                    </a:lnTo>
                    <a:lnTo>
                      <a:pt x="199" y="0"/>
                    </a:lnTo>
                    <a:lnTo>
                      <a:pt x="248" y="17"/>
                    </a:lnTo>
                    <a:lnTo>
                      <a:pt x="253" y="5"/>
                    </a:lnTo>
                    <a:lnTo>
                      <a:pt x="303" y="62"/>
                    </a:lnTo>
                    <a:lnTo>
                      <a:pt x="308" y="62"/>
                    </a:lnTo>
                    <a:lnTo>
                      <a:pt x="324" y="57"/>
                    </a:lnTo>
                    <a:lnTo>
                      <a:pt x="329" y="57"/>
                    </a:lnTo>
                    <a:lnTo>
                      <a:pt x="362" y="33"/>
                    </a:lnTo>
                    <a:lnTo>
                      <a:pt x="383" y="38"/>
                    </a:lnTo>
                    <a:lnTo>
                      <a:pt x="426" y="62"/>
                    </a:lnTo>
                    <a:lnTo>
                      <a:pt x="492" y="78"/>
                    </a:lnTo>
                    <a:lnTo>
                      <a:pt x="522" y="38"/>
                    </a:lnTo>
                    <a:lnTo>
                      <a:pt x="560" y="33"/>
                    </a:lnTo>
                    <a:lnTo>
                      <a:pt x="615" y="33"/>
                    </a:lnTo>
                    <a:lnTo>
                      <a:pt x="685" y="57"/>
                    </a:lnTo>
                    <a:lnTo>
                      <a:pt x="719" y="22"/>
                    </a:lnTo>
                    <a:lnTo>
                      <a:pt x="740" y="22"/>
                    </a:lnTo>
                    <a:lnTo>
                      <a:pt x="749" y="5"/>
                    </a:lnTo>
                    <a:lnTo>
                      <a:pt x="771" y="5"/>
                    </a:lnTo>
                    <a:lnTo>
                      <a:pt x="804" y="57"/>
                    </a:lnTo>
                    <a:lnTo>
                      <a:pt x="808" y="107"/>
                    </a:lnTo>
                    <a:lnTo>
                      <a:pt x="830" y="111"/>
                    </a:lnTo>
                    <a:lnTo>
                      <a:pt x="841" y="116"/>
                    </a:lnTo>
                    <a:lnTo>
                      <a:pt x="841" y="149"/>
                    </a:lnTo>
                    <a:lnTo>
                      <a:pt x="841" y="168"/>
                    </a:lnTo>
                    <a:lnTo>
                      <a:pt x="808" y="189"/>
                    </a:lnTo>
                    <a:lnTo>
                      <a:pt x="792" y="189"/>
                    </a:lnTo>
                    <a:lnTo>
                      <a:pt x="778" y="206"/>
                    </a:lnTo>
                    <a:lnTo>
                      <a:pt x="761" y="239"/>
                    </a:lnTo>
                    <a:lnTo>
                      <a:pt x="754" y="272"/>
                    </a:lnTo>
                    <a:lnTo>
                      <a:pt x="749" y="279"/>
                    </a:lnTo>
                    <a:lnTo>
                      <a:pt x="740" y="312"/>
                    </a:lnTo>
                    <a:lnTo>
                      <a:pt x="719" y="329"/>
                    </a:lnTo>
                    <a:lnTo>
                      <a:pt x="707" y="371"/>
                    </a:lnTo>
                    <a:lnTo>
                      <a:pt x="702" y="383"/>
                    </a:lnTo>
                    <a:lnTo>
                      <a:pt x="685" y="383"/>
                    </a:lnTo>
                    <a:lnTo>
                      <a:pt x="685" y="390"/>
                    </a:lnTo>
                    <a:lnTo>
                      <a:pt x="669" y="395"/>
                    </a:lnTo>
                    <a:lnTo>
                      <a:pt x="669" y="428"/>
                    </a:lnTo>
                    <a:lnTo>
                      <a:pt x="652" y="444"/>
                    </a:lnTo>
                    <a:lnTo>
                      <a:pt x="652" y="461"/>
                    </a:lnTo>
                    <a:lnTo>
                      <a:pt x="643" y="478"/>
                    </a:lnTo>
                    <a:lnTo>
                      <a:pt x="643" y="478"/>
                    </a:lnTo>
                    <a:lnTo>
                      <a:pt x="643" y="478"/>
                    </a:lnTo>
                    <a:close/>
                    <a:moveTo>
                      <a:pt x="319" y="688"/>
                    </a:moveTo>
                    <a:lnTo>
                      <a:pt x="324" y="671"/>
                    </a:lnTo>
                    <a:lnTo>
                      <a:pt x="329" y="683"/>
                    </a:lnTo>
                    <a:lnTo>
                      <a:pt x="319" y="688"/>
                    </a:lnTo>
                    <a:lnTo>
                      <a:pt x="319" y="688"/>
                    </a:lnTo>
                    <a:lnTo>
                      <a:pt x="319" y="688"/>
                    </a:lnTo>
                    <a:close/>
                    <a:moveTo>
                      <a:pt x="341" y="683"/>
                    </a:moveTo>
                    <a:lnTo>
                      <a:pt x="329" y="683"/>
                    </a:lnTo>
                    <a:lnTo>
                      <a:pt x="341" y="683"/>
                    </a:lnTo>
                    <a:lnTo>
                      <a:pt x="341" y="683"/>
                    </a:lnTo>
                    <a:lnTo>
                      <a:pt x="341" y="683"/>
                    </a:lnTo>
                    <a:lnTo>
                      <a:pt x="341" y="68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70" name="Freeform 537">
                <a:extLst>
                  <a:ext uri="{FF2B5EF4-FFF2-40B4-BE49-F238E27FC236}">
                    <a16:creationId xmlns:a16="http://schemas.microsoft.com/office/drawing/2014/main" id="{40E15210-893E-4EB9-8A85-3FBBDB8371A5}"/>
                  </a:ext>
                </a:extLst>
              </p:cNvPr>
              <p:cNvSpPr>
                <a:spLocks noEditPoints="1"/>
              </p:cNvSpPr>
              <p:nvPr/>
            </p:nvSpPr>
            <p:spPr bwMode="gray">
              <a:xfrm>
                <a:off x="6244993" y="3689166"/>
                <a:ext cx="88509" cy="51464"/>
              </a:xfrm>
              <a:custGeom>
                <a:avLst/>
                <a:gdLst>
                  <a:gd name="T0" fmla="*/ 37 w 215"/>
                  <a:gd name="T1" fmla="*/ 17 h 125"/>
                  <a:gd name="T2" fmla="*/ 106 w 215"/>
                  <a:gd name="T3" fmla="*/ 0 h 125"/>
                  <a:gd name="T4" fmla="*/ 203 w 215"/>
                  <a:gd name="T5" fmla="*/ 0 h 125"/>
                  <a:gd name="T6" fmla="*/ 186 w 215"/>
                  <a:gd name="T7" fmla="*/ 38 h 125"/>
                  <a:gd name="T8" fmla="*/ 203 w 215"/>
                  <a:gd name="T9" fmla="*/ 71 h 125"/>
                  <a:gd name="T10" fmla="*/ 165 w 215"/>
                  <a:gd name="T11" fmla="*/ 71 h 125"/>
                  <a:gd name="T12" fmla="*/ 134 w 215"/>
                  <a:gd name="T13" fmla="*/ 83 h 125"/>
                  <a:gd name="T14" fmla="*/ 113 w 215"/>
                  <a:gd name="T15" fmla="*/ 114 h 125"/>
                  <a:gd name="T16" fmla="*/ 106 w 215"/>
                  <a:gd name="T17" fmla="*/ 114 h 125"/>
                  <a:gd name="T18" fmla="*/ 96 w 215"/>
                  <a:gd name="T19" fmla="*/ 109 h 125"/>
                  <a:gd name="T20" fmla="*/ 89 w 215"/>
                  <a:gd name="T21" fmla="*/ 92 h 125"/>
                  <a:gd name="T22" fmla="*/ 80 w 215"/>
                  <a:gd name="T23" fmla="*/ 92 h 125"/>
                  <a:gd name="T24" fmla="*/ 113 w 215"/>
                  <a:gd name="T25" fmla="*/ 76 h 125"/>
                  <a:gd name="T26" fmla="*/ 89 w 215"/>
                  <a:gd name="T27" fmla="*/ 76 h 125"/>
                  <a:gd name="T28" fmla="*/ 80 w 215"/>
                  <a:gd name="T29" fmla="*/ 71 h 125"/>
                  <a:gd name="T30" fmla="*/ 106 w 215"/>
                  <a:gd name="T31" fmla="*/ 54 h 125"/>
                  <a:gd name="T32" fmla="*/ 113 w 215"/>
                  <a:gd name="T33" fmla="*/ 54 h 125"/>
                  <a:gd name="T34" fmla="*/ 106 w 215"/>
                  <a:gd name="T35" fmla="*/ 54 h 125"/>
                  <a:gd name="T36" fmla="*/ 75 w 215"/>
                  <a:gd name="T37" fmla="*/ 59 h 125"/>
                  <a:gd name="T38" fmla="*/ 59 w 215"/>
                  <a:gd name="T39" fmla="*/ 45 h 125"/>
                  <a:gd name="T40" fmla="*/ 37 w 215"/>
                  <a:gd name="T41" fmla="*/ 54 h 125"/>
                  <a:gd name="T42" fmla="*/ 21 w 215"/>
                  <a:gd name="T43" fmla="*/ 38 h 125"/>
                  <a:gd name="T44" fmla="*/ 9 w 215"/>
                  <a:gd name="T45" fmla="*/ 28 h 125"/>
                  <a:gd name="T46" fmla="*/ 0 w 215"/>
                  <a:gd name="T47" fmla="*/ 21 h 125"/>
                  <a:gd name="T48" fmla="*/ 26 w 215"/>
                  <a:gd name="T49" fmla="*/ 59 h 125"/>
                  <a:gd name="T50" fmla="*/ 37 w 215"/>
                  <a:gd name="T51" fmla="*/ 54 h 125"/>
                  <a:gd name="T52" fmla="*/ 26 w 215"/>
                  <a:gd name="T53" fmla="*/ 59 h 125"/>
                  <a:gd name="T54" fmla="*/ 42 w 215"/>
                  <a:gd name="T55" fmla="*/ 59 h 125"/>
                  <a:gd name="T56" fmla="*/ 54 w 215"/>
                  <a:gd name="T57" fmla="*/ 54 h 125"/>
                  <a:gd name="T58" fmla="*/ 42 w 215"/>
                  <a:gd name="T59" fmla="*/ 59 h 125"/>
                  <a:gd name="T60" fmla="*/ 42 w 215"/>
                  <a:gd name="T61" fmla="*/ 83 h 125"/>
                  <a:gd name="T62" fmla="*/ 54 w 215"/>
                  <a:gd name="T63" fmla="*/ 76 h 125"/>
                  <a:gd name="T64" fmla="*/ 42 w 215"/>
                  <a:gd name="T65" fmla="*/ 83 h 125"/>
                  <a:gd name="T66" fmla="*/ 42 w 215"/>
                  <a:gd name="T67" fmla="*/ 83 h 125"/>
                  <a:gd name="T68" fmla="*/ 21 w 215"/>
                  <a:gd name="T69" fmla="*/ 76 h 125"/>
                  <a:gd name="T70" fmla="*/ 26 w 215"/>
                  <a:gd name="T71" fmla="*/ 83 h 125"/>
                  <a:gd name="T72" fmla="*/ 26 w 215"/>
                  <a:gd name="T73" fmla="*/ 83 h 125"/>
                  <a:gd name="T74" fmla="*/ 26 w 215"/>
                  <a:gd name="T75" fmla="*/ 83 h 125"/>
                  <a:gd name="T76" fmla="*/ 26 w 215"/>
                  <a:gd name="T77" fmla="*/ 83 h 125"/>
                  <a:gd name="T78" fmla="*/ 26 w 215"/>
                  <a:gd name="T79" fmla="*/ 83 h 125"/>
                  <a:gd name="T80" fmla="*/ 26 w 215"/>
                  <a:gd name="T81" fmla="*/ 97 h 125"/>
                  <a:gd name="T82" fmla="*/ 26 w 215"/>
                  <a:gd name="T83" fmla="*/ 97 h 125"/>
                  <a:gd name="T84" fmla="*/ 26 w 215"/>
                  <a:gd name="T85" fmla="*/ 97 h 125"/>
                  <a:gd name="T86" fmla="*/ 26 w 215"/>
                  <a:gd name="T87" fmla="*/ 109 h 125"/>
                  <a:gd name="T88" fmla="*/ 42 w 215"/>
                  <a:gd name="T89" fmla="*/ 114 h 125"/>
                  <a:gd name="T90" fmla="*/ 37 w 215"/>
                  <a:gd name="T91" fmla="*/ 114 h 125"/>
                  <a:gd name="T92" fmla="*/ 42 w 215"/>
                  <a:gd name="T93" fmla="*/ 114 h 125"/>
                  <a:gd name="T94" fmla="*/ 54 w 215"/>
                  <a:gd name="T95" fmla="*/ 97 h 125"/>
                  <a:gd name="T96" fmla="*/ 42 w 215"/>
                  <a:gd name="T97" fmla="*/ 11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5" h="125">
                    <a:moveTo>
                      <a:pt x="0" y="21"/>
                    </a:moveTo>
                    <a:lnTo>
                      <a:pt x="37" y="17"/>
                    </a:lnTo>
                    <a:lnTo>
                      <a:pt x="63" y="17"/>
                    </a:lnTo>
                    <a:lnTo>
                      <a:pt x="106" y="0"/>
                    </a:lnTo>
                    <a:lnTo>
                      <a:pt x="165" y="0"/>
                    </a:lnTo>
                    <a:lnTo>
                      <a:pt x="203" y="0"/>
                    </a:lnTo>
                    <a:lnTo>
                      <a:pt x="215" y="21"/>
                    </a:lnTo>
                    <a:lnTo>
                      <a:pt x="186" y="38"/>
                    </a:lnTo>
                    <a:lnTo>
                      <a:pt x="203" y="45"/>
                    </a:lnTo>
                    <a:lnTo>
                      <a:pt x="203" y="71"/>
                    </a:lnTo>
                    <a:lnTo>
                      <a:pt x="186" y="71"/>
                    </a:lnTo>
                    <a:lnTo>
                      <a:pt x="165" y="71"/>
                    </a:lnTo>
                    <a:lnTo>
                      <a:pt x="148" y="76"/>
                    </a:lnTo>
                    <a:lnTo>
                      <a:pt x="134" y="83"/>
                    </a:lnTo>
                    <a:lnTo>
                      <a:pt x="113" y="125"/>
                    </a:lnTo>
                    <a:lnTo>
                      <a:pt x="113" y="114"/>
                    </a:lnTo>
                    <a:lnTo>
                      <a:pt x="113" y="97"/>
                    </a:lnTo>
                    <a:lnTo>
                      <a:pt x="106" y="114"/>
                    </a:lnTo>
                    <a:lnTo>
                      <a:pt x="106" y="97"/>
                    </a:lnTo>
                    <a:lnTo>
                      <a:pt x="96" y="109"/>
                    </a:lnTo>
                    <a:lnTo>
                      <a:pt x="89" y="109"/>
                    </a:lnTo>
                    <a:lnTo>
                      <a:pt x="89" y="92"/>
                    </a:lnTo>
                    <a:lnTo>
                      <a:pt x="96" y="83"/>
                    </a:lnTo>
                    <a:lnTo>
                      <a:pt x="80" y="92"/>
                    </a:lnTo>
                    <a:lnTo>
                      <a:pt x="96" y="76"/>
                    </a:lnTo>
                    <a:lnTo>
                      <a:pt x="113" y="76"/>
                    </a:lnTo>
                    <a:lnTo>
                      <a:pt x="96" y="71"/>
                    </a:lnTo>
                    <a:lnTo>
                      <a:pt x="89" y="76"/>
                    </a:lnTo>
                    <a:lnTo>
                      <a:pt x="89" y="71"/>
                    </a:lnTo>
                    <a:lnTo>
                      <a:pt x="80" y="71"/>
                    </a:lnTo>
                    <a:lnTo>
                      <a:pt x="89" y="54"/>
                    </a:lnTo>
                    <a:lnTo>
                      <a:pt x="106" y="54"/>
                    </a:lnTo>
                    <a:lnTo>
                      <a:pt x="118" y="59"/>
                    </a:lnTo>
                    <a:lnTo>
                      <a:pt x="113" y="54"/>
                    </a:lnTo>
                    <a:lnTo>
                      <a:pt x="118" y="45"/>
                    </a:lnTo>
                    <a:lnTo>
                      <a:pt x="106" y="54"/>
                    </a:lnTo>
                    <a:lnTo>
                      <a:pt x="89" y="45"/>
                    </a:lnTo>
                    <a:lnTo>
                      <a:pt x="75" y="59"/>
                    </a:lnTo>
                    <a:lnTo>
                      <a:pt x="54" y="59"/>
                    </a:lnTo>
                    <a:lnTo>
                      <a:pt x="59" y="45"/>
                    </a:lnTo>
                    <a:lnTo>
                      <a:pt x="63" y="45"/>
                    </a:lnTo>
                    <a:lnTo>
                      <a:pt x="37" y="54"/>
                    </a:lnTo>
                    <a:lnTo>
                      <a:pt x="26" y="54"/>
                    </a:lnTo>
                    <a:lnTo>
                      <a:pt x="21" y="38"/>
                    </a:lnTo>
                    <a:lnTo>
                      <a:pt x="42" y="21"/>
                    </a:lnTo>
                    <a:lnTo>
                      <a:pt x="9" y="28"/>
                    </a:lnTo>
                    <a:lnTo>
                      <a:pt x="0" y="21"/>
                    </a:lnTo>
                    <a:lnTo>
                      <a:pt x="0" y="21"/>
                    </a:lnTo>
                    <a:lnTo>
                      <a:pt x="0" y="21"/>
                    </a:lnTo>
                    <a:close/>
                    <a:moveTo>
                      <a:pt x="26" y="59"/>
                    </a:moveTo>
                    <a:lnTo>
                      <a:pt x="26" y="45"/>
                    </a:lnTo>
                    <a:lnTo>
                      <a:pt x="37" y="54"/>
                    </a:lnTo>
                    <a:lnTo>
                      <a:pt x="26" y="59"/>
                    </a:lnTo>
                    <a:lnTo>
                      <a:pt x="26" y="59"/>
                    </a:lnTo>
                    <a:lnTo>
                      <a:pt x="26" y="59"/>
                    </a:lnTo>
                    <a:close/>
                    <a:moveTo>
                      <a:pt x="42" y="59"/>
                    </a:moveTo>
                    <a:lnTo>
                      <a:pt x="37" y="54"/>
                    </a:lnTo>
                    <a:lnTo>
                      <a:pt x="54" y="54"/>
                    </a:lnTo>
                    <a:lnTo>
                      <a:pt x="42" y="59"/>
                    </a:lnTo>
                    <a:lnTo>
                      <a:pt x="42" y="59"/>
                    </a:lnTo>
                    <a:lnTo>
                      <a:pt x="42" y="59"/>
                    </a:lnTo>
                    <a:close/>
                    <a:moveTo>
                      <a:pt x="42" y="83"/>
                    </a:moveTo>
                    <a:lnTo>
                      <a:pt x="42" y="76"/>
                    </a:lnTo>
                    <a:lnTo>
                      <a:pt x="54" y="76"/>
                    </a:lnTo>
                    <a:lnTo>
                      <a:pt x="54" y="83"/>
                    </a:lnTo>
                    <a:lnTo>
                      <a:pt x="42" y="83"/>
                    </a:lnTo>
                    <a:lnTo>
                      <a:pt x="42" y="83"/>
                    </a:lnTo>
                    <a:lnTo>
                      <a:pt x="42" y="83"/>
                    </a:lnTo>
                    <a:close/>
                    <a:moveTo>
                      <a:pt x="26" y="83"/>
                    </a:moveTo>
                    <a:lnTo>
                      <a:pt x="21" y="76"/>
                    </a:lnTo>
                    <a:lnTo>
                      <a:pt x="26" y="76"/>
                    </a:lnTo>
                    <a:lnTo>
                      <a:pt x="26" y="83"/>
                    </a:lnTo>
                    <a:lnTo>
                      <a:pt x="26" y="83"/>
                    </a:lnTo>
                    <a:lnTo>
                      <a:pt x="26" y="83"/>
                    </a:lnTo>
                    <a:close/>
                    <a:moveTo>
                      <a:pt x="26" y="83"/>
                    </a:moveTo>
                    <a:lnTo>
                      <a:pt x="26" y="83"/>
                    </a:lnTo>
                    <a:lnTo>
                      <a:pt x="37" y="76"/>
                    </a:lnTo>
                    <a:lnTo>
                      <a:pt x="26" y="83"/>
                    </a:lnTo>
                    <a:lnTo>
                      <a:pt x="26" y="83"/>
                    </a:lnTo>
                    <a:lnTo>
                      <a:pt x="26" y="83"/>
                    </a:lnTo>
                    <a:close/>
                    <a:moveTo>
                      <a:pt x="26" y="97"/>
                    </a:moveTo>
                    <a:lnTo>
                      <a:pt x="26" y="97"/>
                    </a:lnTo>
                    <a:lnTo>
                      <a:pt x="37" y="97"/>
                    </a:lnTo>
                    <a:lnTo>
                      <a:pt x="26" y="97"/>
                    </a:lnTo>
                    <a:lnTo>
                      <a:pt x="26" y="97"/>
                    </a:lnTo>
                    <a:lnTo>
                      <a:pt x="26" y="97"/>
                    </a:lnTo>
                    <a:close/>
                    <a:moveTo>
                      <a:pt x="37" y="114"/>
                    </a:moveTo>
                    <a:lnTo>
                      <a:pt x="26" y="109"/>
                    </a:lnTo>
                    <a:lnTo>
                      <a:pt x="42" y="97"/>
                    </a:lnTo>
                    <a:lnTo>
                      <a:pt x="42" y="114"/>
                    </a:lnTo>
                    <a:lnTo>
                      <a:pt x="37" y="114"/>
                    </a:lnTo>
                    <a:lnTo>
                      <a:pt x="37" y="114"/>
                    </a:lnTo>
                    <a:lnTo>
                      <a:pt x="37" y="114"/>
                    </a:lnTo>
                    <a:close/>
                    <a:moveTo>
                      <a:pt x="42" y="114"/>
                    </a:moveTo>
                    <a:lnTo>
                      <a:pt x="42" y="109"/>
                    </a:lnTo>
                    <a:lnTo>
                      <a:pt x="54" y="97"/>
                    </a:lnTo>
                    <a:lnTo>
                      <a:pt x="42" y="114"/>
                    </a:lnTo>
                    <a:lnTo>
                      <a:pt x="42" y="114"/>
                    </a:lnTo>
                    <a:lnTo>
                      <a:pt x="42" y="11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71" name="Freeform 538">
                <a:extLst>
                  <a:ext uri="{FF2B5EF4-FFF2-40B4-BE49-F238E27FC236}">
                    <a16:creationId xmlns:a16="http://schemas.microsoft.com/office/drawing/2014/main" id="{C127BD66-83E1-485D-AE5A-E50D38DEA28D}"/>
                  </a:ext>
                </a:extLst>
              </p:cNvPr>
              <p:cNvSpPr>
                <a:spLocks/>
              </p:cNvSpPr>
              <p:nvPr/>
            </p:nvSpPr>
            <p:spPr bwMode="gray">
              <a:xfrm>
                <a:off x="8189722" y="3270861"/>
                <a:ext cx="26347" cy="52699"/>
              </a:xfrm>
              <a:custGeom>
                <a:avLst/>
                <a:gdLst>
                  <a:gd name="T0" fmla="*/ 42 w 64"/>
                  <a:gd name="T1" fmla="*/ 116 h 128"/>
                  <a:gd name="T2" fmla="*/ 16 w 64"/>
                  <a:gd name="T3" fmla="*/ 128 h 128"/>
                  <a:gd name="T4" fmla="*/ 12 w 64"/>
                  <a:gd name="T5" fmla="*/ 111 h 128"/>
                  <a:gd name="T6" fmla="*/ 0 w 64"/>
                  <a:gd name="T7" fmla="*/ 55 h 128"/>
                  <a:gd name="T8" fmla="*/ 12 w 64"/>
                  <a:gd name="T9" fmla="*/ 55 h 128"/>
                  <a:gd name="T10" fmla="*/ 12 w 64"/>
                  <a:gd name="T11" fmla="*/ 45 h 128"/>
                  <a:gd name="T12" fmla="*/ 16 w 64"/>
                  <a:gd name="T13" fmla="*/ 38 h 128"/>
                  <a:gd name="T14" fmla="*/ 16 w 64"/>
                  <a:gd name="T15" fmla="*/ 38 h 128"/>
                  <a:gd name="T16" fmla="*/ 26 w 64"/>
                  <a:gd name="T17" fmla="*/ 5 h 128"/>
                  <a:gd name="T18" fmla="*/ 42 w 64"/>
                  <a:gd name="T19" fmla="*/ 0 h 128"/>
                  <a:gd name="T20" fmla="*/ 47 w 64"/>
                  <a:gd name="T21" fmla="*/ 17 h 128"/>
                  <a:gd name="T22" fmla="*/ 64 w 64"/>
                  <a:gd name="T23" fmla="*/ 22 h 128"/>
                  <a:gd name="T24" fmla="*/ 64 w 64"/>
                  <a:gd name="T25" fmla="*/ 38 h 128"/>
                  <a:gd name="T26" fmla="*/ 54 w 64"/>
                  <a:gd name="T27" fmla="*/ 55 h 128"/>
                  <a:gd name="T28" fmla="*/ 54 w 64"/>
                  <a:gd name="T29" fmla="*/ 71 h 128"/>
                  <a:gd name="T30" fmla="*/ 64 w 64"/>
                  <a:gd name="T31" fmla="*/ 71 h 128"/>
                  <a:gd name="T32" fmla="*/ 64 w 64"/>
                  <a:gd name="T33" fmla="*/ 83 h 128"/>
                  <a:gd name="T34" fmla="*/ 47 w 64"/>
                  <a:gd name="T35" fmla="*/ 128 h 128"/>
                  <a:gd name="T36" fmla="*/ 42 w 64"/>
                  <a:gd name="T37" fmla="*/ 116 h 128"/>
                  <a:gd name="T38" fmla="*/ 42 w 64"/>
                  <a:gd name="T39" fmla="*/ 116 h 128"/>
                  <a:gd name="T40" fmla="*/ 42 w 64"/>
                  <a:gd name="T41" fmla="*/ 1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128">
                    <a:moveTo>
                      <a:pt x="42" y="116"/>
                    </a:moveTo>
                    <a:lnTo>
                      <a:pt x="16" y="128"/>
                    </a:lnTo>
                    <a:lnTo>
                      <a:pt x="12" y="111"/>
                    </a:lnTo>
                    <a:lnTo>
                      <a:pt x="0" y="55"/>
                    </a:lnTo>
                    <a:lnTo>
                      <a:pt x="12" y="55"/>
                    </a:lnTo>
                    <a:lnTo>
                      <a:pt x="12" y="45"/>
                    </a:lnTo>
                    <a:lnTo>
                      <a:pt x="16" y="38"/>
                    </a:lnTo>
                    <a:lnTo>
                      <a:pt x="16" y="38"/>
                    </a:lnTo>
                    <a:lnTo>
                      <a:pt x="26" y="5"/>
                    </a:lnTo>
                    <a:lnTo>
                      <a:pt x="42" y="0"/>
                    </a:lnTo>
                    <a:lnTo>
                      <a:pt x="47" y="17"/>
                    </a:lnTo>
                    <a:lnTo>
                      <a:pt x="64" y="22"/>
                    </a:lnTo>
                    <a:lnTo>
                      <a:pt x="64" y="38"/>
                    </a:lnTo>
                    <a:lnTo>
                      <a:pt x="54" y="55"/>
                    </a:lnTo>
                    <a:lnTo>
                      <a:pt x="54" y="71"/>
                    </a:lnTo>
                    <a:lnTo>
                      <a:pt x="64" y="71"/>
                    </a:lnTo>
                    <a:lnTo>
                      <a:pt x="64" y="83"/>
                    </a:lnTo>
                    <a:lnTo>
                      <a:pt x="47" y="128"/>
                    </a:lnTo>
                    <a:lnTo>
                      <a:pt x="42" y="116"/>
                    </a:lnTo>
                    <a:lnTo>
                      <a:pt x="42" y="116"/>
                    </a:lnTo>
                    <a:lnTo>
                      <a:pt x="42" y="11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72" name="Freeform 539">
                <a:extLst>
                  <a:ext uri="{FF2B5EF4-FFF2-40B4-BE49-F238E27FC236}">
                    <a16:creationId xmlns:a16="http://schemas.microsoft.com/office/drawing/2014/main" id="{5EE90B63-5F7C-4233-9D61-3292F168230C}"/>
                  </a:ext>
                </a:extLst>
              </p:cNvPr>
              <p:cNvSpPr>
                <a:spLocks/>
              </p:cNvSpPr>
              <p:nvPr/>
            </p:nvSpPr>
            <p:spPr bwMode="gray">
              <a:xfrm>
                <a:off x="8319811" y="4692929"/>
                <a:ext cx="19760" cy="15645"/>
              </a:xfrm>
              <a:custGeom>
                <a:avLst/>
                <a:gdLst>
                  <a:gd name="T0" fmla="*/ 34 w 48"/>
                  <a:gd name="T1" fmla="*/ 5 h 38"/>
                  <a:gd name="T2" fmla="*/ 48 w 48"/>
                  <a:gd name="T3" fmla="*/ 21 h 38"/>
                  <a:gd name="T4" fmla="*/ 38 w 48"/>
                  <a:gd name="T5" fmla="*/ 33 h 38"/>
                  <a:gd name="T6" fmla="*/ 34 w 48"/>
                  <a:gd name="T7" fmla="*/ 38 h 38"/>
                  <a:gd name="T8" fmla="*/ 8 w 48"/>
                  <a:gd name="T9" fmla="*/ 33 h 38"/>
                  <a:gd name="T10" fmla="*/ 0 w 48"/>
                  <a:gd name="T11" fmla="*/ 16 h 38"/>
                  <a:gd name="T12" fmla="*/ 17 w 48"/>
                  <a:gd name="T13" fmla="*/ 0 h 38"/>
                  <a:gd name="T14" fmla="*/ 34 w 48"/>
                  <a:gd name="T15" fmla="*/ 0 h 38"/>
                  <a:gd name="T16" fmla="*/ 34 w 48"/>
                  <a:gd name="T17" fmla="*/ 5 h 38"/>
                  <a:gd name="T18" fmla="*/ 34 w 48"/>
                  <a:gd name="T19" fmla="*/ 5 h 38"/>
                  <a:gd name="T20" fmla="*/ 34 w 48"/>
                  <a:gd name="T21"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38">
                    <a:moveTo>
                      <a:pt x="34" y="5"/>
                    </a:moveTo>
                    <a:lnTo>
                      <a:pt x="48" y="21"/>
                    </a:lnTo>
                    <a:lnTo>
                      <a:pt x="38" y="33"/>
                    </a:lnTo>
                    <a:lnTo>
                      <a:pt x="34" y="38"/>
                    </a:lnTo>
                    <a:lnTo>
                      <a:pt x="8" y="33"/>
                    </a:lnTo>
                    <a:lnTo>
                      <a:pt x="0" y="16"/>
                    </a:lnTo>
                    <a:lnTo>
                      <a:pt x="17" y="0"/>
                    </a:lnTo>
                    <a:lnTo>
                      <a:pt x="34" y="0"/>
                    </a:lnTo>
                    <a:lnTo>
                      <a:pt x="34" y="5"/>
                    </a:lnTo>
                    <a:lnTo>
                      <a:pt x="34" y="5"/>
                    </a:lnTo>
                    <a:lnTo>
                      <a:pt x="34" y="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73" name="Freeform 544">
                <a:extLst>
                  <a:ext uri="{FF2B5EF4-FFF2-40B4-BE49-F238E27FC236}">
                    <a16:creationId xmlns:a16="http://schemas.microsoft.com/office/drawing/2014/main" id="{A6D2359A-D41A-41F3-8F79-CC9859D81CE7}"/>
                  </a:ext>
                </a:extLst>
              </p:cNvPr>
              <p:cNvSpPr>
                <a:spLocks/>
              </p:cNvSpPr>
              <p:nvPr/>
            </p:nvSpPr>
            <p:spPr bwMode="gray">
              <a:xfrm>
                <a:off x="7557810" y="4095528"/>
                <a:ext cx="59281" cy="51876"/>
              </a:xfrm>
              <a:custGeom>
                <a:avLst/>
                <a:gdLst>
                  <a:gd name="T0" fmla="*/ 16 w 144"/>
                  <a:gd name="T1" fmla="*/ 126 h 126"/>
                  <a:gd name="T2" fmla="*/ 9 w 144"/>
                  <a:gd name="T3" fmla="*/ 119 h 126"/>
                  <a:gd name="T4" fmla="*/ 0 w 144"/>
                  <a:gd name="T5" fmla="*/ 97 h 126"/>
                  <a:gd name="T6" fmla="*/ 21 w 144"/>
                  <a:gd name="T7" fmla="*/ 88 h 126"/>
                  <a:gd name="T8" fmla="*/ 21 w 144"/>
                  <a:gd name="T9" fmla="*/ 64 h 126"/>
                  <a:gd name="T10" fmla="*/ 30 w 144"/>
                  <a:gd name="T11" fmla="*/ 43 h 126"/>
                  <a:gd name="T12" fmla="*/ 54 w 144"/>
                  <a:gd name="T13" fmla="*/ 26 h 126"/>
                  <a:gd name="T14" fmla="*/ 68 w 144"/>
                  <a:gd name="T15" fmla="*/ 26 h 126"/>
                  <a:gd name="T16" fmla="*/ 85 w 144"/>
                  <a:gd name="T17" fmla="*/ 34 h 126"/>
                  <a:gd name="T18" fmla="*/ 106 w 144"/>
                  <a:gd name="T19" fmla="*/ 0 h 126"/>
                  <a:gd name="T20" fmla="*/ 118 w 144"/>
                  <a:gd name="T21" fmla="*/ 0 h 126"/>
                  <a:gd name="T22" fmla="*/ 122 w 144"/>
                  <a:gd name="T23" fmla="*/ 26 h 126"/>
                  <a:gd name="T24" fmla="*/ 129 w 144"/>
                  <a:gd name="T25" fmla="*/ 34 h 126"/>
                  <a:gd name="T26" fmla="*/ 139 w 144"/>
                  <a:gd name="T27" fmla="*/ 50 h 126"/>
                  <a:gd name="T28" fmla="*/ 139 w 144"/>
                  <a:gd name="T29" fmla="*/ 64 h 126"/>
                  <a:gd name="T30" fmla="*/ 144 w 144"/>
                  <a:gd name="T31" fmla="*/ 71 h 126"/>
                  <a:gd name="T32" fmla="*/ 139 w 144"/>
                  <a:gd name="T33" fmla="*/ 97 h 126"/>
                  <a:gd name="T34" fmla="*/ 122 w 144"/>
                  <a:gd name="T35" fmla="*/ 97 h 126"/>
                  <a:gd name="T36" fmla="*/ 106 w 144"/>
                  <a:gd name="T37" fmla="*/ 97 h 126"/>
                  <a:gd name="T38" fmla="*/ 92 w 144"/>
                  <a:gd name="T39" fmla="*/ 104 h 126"/>
                  <a:gd name="T40" fmla="*/ 75 w 144"/>
                  <a:gd name="T41" fmla="*/ 97 h 126"/>
                  <a:gd name="T42" fmla="*/ 68 w 144"/>
                  <a:gd name="T43" fmla="*/ 126 h 126"/>
                  <a:gd name="T44" fmla="*/ 37 w 144"/>
                  <a:gd name="T45" fmla="*/ 126 h 126"/>
                  <a:gd name="T46" fmla="*/ 37 w 144"/>
                  <a:gd name="T47" fmla="*/ 119 h 126"/>
                  <a:gd name="T48" fmla="*/ 21 w 144"/>
                  <a:gd name="T49" fmla="*/ 109 h 126"/>
                  <a:gd name="T50" fmla="*/ 16 w 144"/>
                  <a:gd name="T51" fmla="*/ 109 h 126"/>
                  <a:gd name="T52" fmla="*/ 16 w 144"/>
                  <a:gd name="T53" fmla="*/ 126 h 126"/>
                  <a:gd name="T54" fmla="*/ 16 w 144"/>
                  <a:gd name="T55" fmla="*/ 126 h 126"/>
                  <a:gd name="T56" fmla="*/ 16 w 144"/>
                  <a:gd name="T5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26">
                    <a:moveTo>
                      <a:pt x="16" y="126"/>
                    </a:moveTo>
                    <a:lnTo>
                      <a:pt x="9" y="119"/>
                    </a:lnTo>
                    <a:lnTo>
                      <a:pt x="0" y="97"/>
                    </a:lnTo>
                    <a:lnTo>
                      <a:pt x="21" y="88"/>
                    </a:lnTo>
                    <a:lnTo>
                      <a:pt x="21" y="64"/>
                    </a:lnTo>
                    <a:lnTo>
                      <a:pt x="30" y="43"/>
                    </a:lnTo>
                    <a:lnTo>
                      <a:pt x="54" y="26"/>
                    </a:lnTo>
                    <a:lnTo>
                      <a:pt x="68" y="26"/>
                    </a:lnTo>
                    <a:lnTo>
                      <a:pt x="85" y="34"/>
                    </a:lnTo>
                    <a:lnTo>
                      <a:pt x="106" y="0"/>
                    </a:lnTo>
                    <a:lnTo>
                      <a:pt x="118" y="0"/>
                    </a:lnTo>
                    <a:lnTo>
                      <a:pt x="122" y="26"/>
                    </a:lnTo>
                    <a:lnTo>
                      <a:pt x="129" y="34"/>
                    </a:lnTo>
                    <a:lnTo>
                      <a:pt x="139" y="50"/>
                    </a:lnTo>
                    <a:lnTo>
                      <a:pt x="139" y="64"/>
                    </a:lnTo>
                    <a:lnTo>
                      <a:pt x="144" y="71"/>
                    </a:lnTo>
                    <a:lnTo>
                      <a:pt x="139" y="97"/>
                    </a:lnTo>
                    <a:lnTo>
                      <a:pt x="122" y="97"/>
                    </a:lnTo>
                    <a:lnTo>
                      <a:pt x="106" y="97"/>
                    </a:lnTo>
                    <a:lnTo>
                      <a:pt x="92" y="104"/>
                    </a:lnTo>
                    <a:lnTo>
                      <a:pt x="75" y="97"/>
                    </a:lnTo>
                    <a:lnTo>
                      <a:pt x="68" y="126"/>
                    </a:lnTo>
                    <a:lnTo>
                      <a:pt x="37" y="126"/>
                    </a:lnTo>
                    <a:lnTo>
                      <a:pt x="37" y="119"/>
                    </a:lnTo>
                    <a:lnTo>
                      <a:pt x="21" y="109"/>
                    </a:lnTo>
                    <a:lnTo>
                      <a:pt x="16" y="109"/>
                    </a:lnTo>
                    <a:lnTo>
                      <a:pt x="16" y="126"/>
                    </a:lnTo>
                    <a:lnTo>
                      <a:pt x="16" y="126"/>
                    </a:lnTo>
                    <a:lnTo>
                      <a:pt x="16" y="1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74" name="Freeform 545">
                <a:extLst>
                  <a:ext uri="{FF2B5EF4-FFF2-40B4-BE49-F238E27FC236}">
                    <a16:creationId xmlns:a16="http://schemas.microsoft.com/office/drawing/2014/main" id="{92975E1B-DC2B-46E8-AAED-2618B16F662F}"/>
                  </a:ext>
                </a:extLst>
              </p:cNvPr>
              <p:cNvSpPr>
                <a:spLocks noEditPoints="1"/>
              </p:cNvSpPr>
              <p:nvPr/>
            </p:nvSpPr>
            <p:spPr bwMode="gray">
              <a:xfrm>
                <a:off x="7722065" y="3076532"/>
                <a:ext cx="610507" cy="521233"/>
              </a:xfrm>
              <a:custGeom>
                <a:avLst/>
                <a:gdLst>
                  <a:gd name="T0" fmla="*/ 997 w 1483"/>
                  <a:gd name="T1" fmla="*/ 1070 h 1266"/>
                  <a:gd name="T2" fmla="*/ 694 w 1483"/>
                  <a:gd name="T3" fmla="*/ 1139 h 1266"/>
                  <a:gd name="T4" fmla="*/ 619 w 1483"/>
                  <a:gd name="T5" fmla="*/ 1127 h 1266"/>
                  <a:gd name="T6" fmla="*/ 609 w 1483"/>
                  <a:gd name="T7" fmla="*/ 1193 h 1266"/>
                  <a:gd name="T8" fmla="*/ 581 w 1483"/>
                  <a:gd name="T9" fmla="*/ 1209 h 1266"/>
                  <a:gd name="T10" fmla="*/ 567 w 1483"/>
                  <a:gd name="T11" fmla="*/ 1172 h 1266"/>
                  <a:gd name="T12" fmla="*/ 550 w 1483"/>
                  <a:gd name="T13" fmla="*/ 1127 h 1266"/>
                  <a:gd name="T14" fmla="*/ 475 w 1483"/>
                  <a:gd name="T15" fmla="*/ 1044 h 1266"/>
                  <a:gd name="T16" fmla="*/ 463 w 1483"/>
                  <a:gd name="T17" fmla="*/ 1011 h 1266"/>
                  <a:gd name="T18" fmla="*/ 441 w 1483"/>
                  <a:gd name="T19" fmla="*/ 971 h 1266"/>
                  <a:gd name="T20" fmla="*/ 378 w 1483"/>
                  <a:gd name="T21" fmla="*/ 921 h 1266"/>
                  <a:gd name="T22" fmla="*/ 323 w 1483"/>
                  <a:gd name="T23" fmla="*/ 860 h 1266"/>
                  <a:gd name="T24" fmla="*/ 312 w 1483"/>
                  <a:gd name="T25" fmla="*/ 805 h 1266"/>
                  <a:gd name="T26" fmla="*/ 278 w 1483"/>
                  <a:gd name="T27" fmla="*/ 654 h 1266"/>
                  <a:gd name="T28" fmla="*/ 189 w 1483"/>
                  <a:gd name="T29" fmla="*/ 572 h 1266"/>
                  <a:gd name="T30" fmla="*/ 172 w 1483"/>
                  <a:gd name="T31" fmla="*/ 510 h 1266"/>
                  <a:gd name="T32" fmla="*/ 156 w 1483"/>
                  <a:gd name="T33" fmla="*/ 489 h 1266"/>
                  <a:gd name="T34" fmla="*/ 47 w 1483"/>
                  <a:gd name="T35" fmla="*/ 326 h 1266"/>
                  <a:gd name="T36" fmla="*/ 0 w 1483"/>
                  <a:gd name="T37" fmla="*/ 321 h 1266"/>
                  <a:gd name="T38" fmla="*/ 106 w 1483"/>
                  <a:gd name="T39" fmla="*/ 239 h 1266"/>
                  <a:gd name="T40" fmla="*/ 210 w 1483"/>
                  <a:gd name="T41" fmla="*/ 177 h 1266"/>
                  <a:gd name="T42" fmla="*/ 172 w 1483"/>
                  <a:gd name="T43" fmla="*/ 50 h 1266"/>
                  <a:gd name="T44" fmla="*/ 408 w 1483"/>
                  <a:gd name="T45" fmla="*/ 17 h 1266"/>
                  <a:gd name="T46" fmla="*/ 718 w 1483"/>
                  <a:gd name="T47" fmla="*/ 239 h 1266"/>
                  <a:gd name="T48" fmla="*/ 928 w 1483"/>
                  <a:gd name="T49" fmla="*/ 288 h 1266"/>
                  <a:gd name="T50" fmla="*/ 987 w 1483"/>
                  <a:gd name="T51" fmla="*/ 326 h 1266"/>
                  <a:gd name="T52" fmla="*/ 1004 w 1483"/>
                  <a:gd name="T53" fmla="*/ 345 h 1266"/>
                  <a:gd name="T54" fmla="*/ 1034 w 1483"/>
                  <a:gd name="T55" fmla="*/ 378 h 1266"/>
                  <a:gd name="T56" fmla="*/ 1051 w 1483"/>
                  <a:gd name="T57" fmla="*/ 387 h 1266"/>
                  <a:gd name="T58" fmla="*/ 1089 w 1483"/>
                  <a:gd name="T59" fmla="*/ 432 h 1266"/>
                  <a:gd name="T60" fmla="*/ 1105 w 1483"/>
                  <a:gd name="T61" fmla="*/ 461 h 1266"/>
                  <a:gd name="T62" fmla="*/ 1089 w 1483"/>
                  <a:gd name="T63" fmla="*/ 489 h 1266"/>
                  <a:gd name="T64" fmla="*/ 1122 w 1483"/>
                  <a:gd name="T65" fmla="*/ 531 h 1266"/>
                  <a:gd name="T66" fmla="*/ 1143 w 1483"/>
                  <a:gd name="T67" fmla="*/ 583 h 1266"/>
                  <a:gd name="T68" fmla="*/ 1176 w 1483"/>
                  <a:gd name="T69" fmla="*/ 588 h 1266"/>
                  <a:gd name="T70" fmla="*/ 1186 w 1483"/>
                  <a:gd name="T71" fmla="*/ 600 h 1266"/>
                  <a:gd name="T72" fmla="*/ 1197 w 1483"/>
                  <a:gd name="T73" fmla="*/ 626 h 1266"/>
                  <a:gd name="T74" fmla="*/ 1450 w 1483"/>
                  <a:gd name="T75" fmla="*/ 737 h 1266"/>
                  <a:gd name="T76" fmla="*/ 1436 w 1483"/>
                  <a:gd name="T77" fmla="*/ 938 h 1266"/>
                  <a:gd name="T78" fmla="*/ 9 w 1483"/>
                  <a:gd name="T79" fmla="*/ 333 h 1266"/>
                  <a:gd name="T80" fmla="*/ 0 w 1483"/>
                  <a:gd name="T81" fmla="*/ 326 h 1266"/>
                  <a:gd name="T82" fmla="*/ 1051 w 1483"/>
                  <a:gd name="T83" fmla="*/ 383 h 1266"/>
                  <a:gd name="T84" fmla="*/ 1051 w 1483"/>
                  <a:gd name="T85" fmla="*/ 383 h 1266"/>
                  <a:gd name="T86" fmla="*/ 517 w 1483"/>
                  <a:gd name="T87" fmla="*/ 1172 h 1266"/>
                  <a:gd name="T88" fmla="*/ 517 w 1483"/>
                  <a:gd name="T89" fmla="*/ 1172 h 1266"/>
                  <a:gd name="T90" fmla="*/ 517 w 1483"/>
                  <a:gd name="T91" fmla="*/ 1172 h 1266"/>
                  <a:gd name="T92" fmla="*/ 512 w 1483"/>
                  <a:gd name="T93" fmla="*/ 1181 h 1266"/>
                  <a:gd name="T94" fmla="*/ 529 w 1483"/>
                  <a:gd name="T95" fmla="*/ 1181 h 1266"/>
                  <a:gd name="T96" fmla="*/ 534 w 1483"/>
                  <a:gd name="T97" fmla="*/ 1200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3" h="1266">
                    <a:moveTo>
                      <a:pt x="1436" y="938"/>
                    </a:moveTo>
                    <a:lnTo>
                      <a:pt x="1230" y="1016"/>
                    </a:lnTo>
                    <a:lnTo>
                      <a:pt x="997" y="1070"/>
                    </a:lnTo>
                    <a:lnTo>
                      <a:pt x="824" y="1266"/>
                    </a:lnTo>
                    <a:lnTo>
                      <a:pt x="824" y="1193"/>
                    </a:lnTo>
                    <a:lnTo>
                      <a:pt x="694" y="1139"/>
                    </a:lnTo>
                    <a:lnTo>
                      <a:pt x="656" y="1143"/>
                    </a:lnTo>
                    <a:lnTo>
                      <a:pt x="635" y="1127"/>
                    </a:lnTo>
                    <a:lnTo>
                      <a:pt x="619" y="1127"/>
                    </a:lnTo>
                    <a:lnTo>
                      <a:pt x="609" y="1139"/>
                    </a:lnTo>
                    <a:lnTo>
                      <a:pt x="604" y="1172"/>
                    </a:lnTo>
                    <a:lnTo>
                      <a:pt x="609" y="1193"/>
                    </a:lnTo>
                    <a:lnTo>
                      <a:pt x="604" y="1193"/>
                    </a:lnTo>
                    <a:lnTo>
                      <a:pt x="593" y="1200"/>
                    </a:lnTo>
                    <a:lnTo>
                      <a:pt x="581" y="1209"/>
                    </a:lnTo>
                    <a:lnTo>
                      <a:pt x="581" y="1193"/>
                    </a:lnTo>
                    <a:lnTo>
                      <a:pt x="567" y="1176"/>
                    </a:lnTo>
                    <a:lnTo>
                      <a:pt x="567" y="1172"/>
                    </a:lnTo>
                    <a:lnTo>
                      <a:pt x="555" y="1155"/>
                    </a:lnTo>
                    <a:lnTo>
                      <a:pt x="550" y="1160"/>
                    </a:lnTo>
                    <a:lnTo>
                      <a:pt x="550" y="1127"/>
                    </a:lnTo>
                    <a:lnTo>
                      <a:pt x="500" y="1098"/>
                    </a:lnTo>
                    <a:lnTo>
                      <a:pt x="484" y="1061"/>
                    </a:lnTo>
                    <a:lnTo>
                      <a:pt x="475" y="1044"/>
                    </a:lnTo>
                    <a:lnTo>
                      <a:pt x="475" y="1028"/>
                    </a:lnTo>
                    <a:lnTo>
                      <a:pt x="463" y="1016"/>
                    </a:lnTo>
                    <a:lnTo>
                      <a:pt x="463" y="1011"/>
                    </a:lnTo>
                    <a:lnTo>
                      <a:pt x="458" y="1004"/>
                    </a:lnTo>
                    <a:lnTo>
                      <a:pt x="446" y="987"/>
                    </a:lnTo>
                    <a:lnTo>
                      <a:pt x="441" y="971"/>
                    </a:lnTo>
                    <a:lnTo>
                      <a:pt x="441" y="959"/>
                    </a:lnTo>
                    <a:lnTo>
                      <a:pt x="392" y="921"/>
                    </a:lnTo>
                    <a:lnTo>
                      <a:pt x="378" y="921"/>
                    </a:lnTo>
                    <a:lnTo>
                      <a:pt x="366" y="905"/>
                    </a:lnTo>
                    <a:lnTo>
                      <a:pt x="349" y="883"/>
                    </a:lnTo>
                    <a:lnTo>
                      <a:pt x="323" y="860"/>
                    </a:lnTo>
                    <a:lnTo>
                      <a:pt x="323" y="843"/>
                    </a:lnTo>
                    <a:lnTo>
                      <a:pt x="323" y="827"/>
                    </a:lnTo>
                    <a:lnTo>
                      <a:pt x="312" y="805"/>
                    </a:lnTo>
                    <a:lnTo>
                      <a:pt x="323" y="765"/>
                    </a:lnTo>
                    <a:lnTo>
                      <a:pt x="316" y="749"/>
                    </a:lnTo>
                    <a:lnTo>
                      <a:pt x="278" y="654"/>
                    </a:lnTo>
                    <a:lnTo>
                      <a:pt x="257" y="638"/>
                    </a:lnTo>
                    <a:lnTo>
                      <a:pt x="203" y="609"/>
                    </a:lnTo>
                    <a:lnTo>
                      <a:pt x="189" y="572"/>
                    </a:lnTo>
                    <a:lnTo>
                      <a:pt x="193" y="572"/>
                    </a:lnTo>
                    <a:lnTo>
                      <a:pt x="189" y="548"/>
                    </a:lnTo>
                    <a:lnTo>
                      <a:pt x="172" y="510"/>
                    </a:lnTo>
                    <a:lnTo>
                      <a:pt x="156" y="498"/>
                    </a:lnTo>
                    <a:lnTo>
                      <a:pt x="151" y="494"/>
                    </a:lnTo>
                    <a:lnTo>
                      <a:pt x="156" y="489"/>
                    </a:lnTo>
                    <a:lnTo>
                      <a:pt x="139" y="477"/>
                    </a:lnTo>
                    <a:lnTo>
                      <a:pt x="118" y="437"/>
                    </a:lnTo>
                    <a:lnTo>
                      <a:pt x="47" y="326"/>
                    </a:lnTo>
                    <a:lnTo>
                      <a:pt x="14" y="321"/>
                    </a:lnTo>
                    <a:lnTo>
                      <a:pt x="9" y="326"/>
                    </a:lnTo>
                    <a:lnTo>
                      <a:pt x="0" y="321"/>
                    </a:lnTo>
                    <a:lnTo>
                      <a:pt x="14" y="288"/>
                    </a:lnTo>
                    <a:lnTo>
                      <a:pt x="30" y="222"/>
                    </a:lnTo>
                    <a:lnTo>
                      <a:pt x="106" y="239"/>
                    </a:lnTo>
                    <a:lnTo>
                      <a:pt x="139" y="215"/>
                    </a:lnTo>
                    <a:lnTo>
                      <a:pt x="156" y="182"/>
                    </a:lnTo>
                    <a:lnTo>
                      <a:pt x="210" y="177"/>
                    </a:lnTo>
                    <a:lnTo>
                      <a:pt x="215" y="144"/>
                    </a:lnTo>
                    <a:lnTo>
                      <a:pt x="241" y="139"/>
                    </a:lnTo>
                    <a:lnTo>
                      <a:pt x="172" y="50"/>
                    </a:lnTo>
                    <a:lnTo>
                      <a:pt x="316" y="9"/>
                    </a:lnTo>
                    <a:lnTo>
                      <a:pt x="323" y="0"/>
                    </a:lnTo>
                    <a:lnTo>
                      <a:pt x="408" y="17"/>
                    </a:lnTo>
                    <a:lnTo>
                      <a:pt x="484" y="66"/>
                    </a:lnTo>
                    <a:lnTo>
                      <a:pt x="534" y="83"/>
                    </a:lnTo>
                    <a:lnTo>
                      <a:pt x="718" y="239"/>
                    </a:lnTo>
                    <a:lnTo>
                      <a:pt x="841" y="239"/>
                    </a:lnTo>
                    <a:lnTo>
                      <a:pt x="907" y="250"/>
                    </a:lnTo>
                    <a:lnTo>
                      <a:pt x="928" y="288"/>
                    </a:lnTo>
                    <a:lnTo>
                      <a:pt x="971" y="288"/>
                    </a:lnTo>
                    <a:lnTo>
                      <a:pt x="982" y="288"/>
                    </a:lnTo>
                    <a:lnTo>
                      <a:pt x="987" y="326"/>
                    </a:lnTo>
                    <a:lnTo>
                      <a:pt x="1004" y="345"/>
                    </a:lnTo>
                    <a:lnTo>
                      <a:pt x="1004" y="350"/>
                    </a:lnTo>
                    <a:lnTo>
                      <a:pt x="1004" y="345"/>
                    </a:lnTo>
                    <a:lnTo>
                      <a:pt x="1004" y="361"/>
                    </a:lnTo>
                    <a:lnTo>
                      <a:pt x="1034" y="366"/>
                    </a:lnTo>
                    <a:lnTo>
                      <a:pt x="1034" y="378"/>
                    </a:lnTo>
                    <a:lnTo>
                      <a:pt x="1025" y="378"/>
                    </a:lnTo>
                    <a:lnTo>
                      <a:pt x="1041" y="399"/>
                    </a:lnTo>
                    <a:lnTo>
                      <a:pt x="1051" y="387"/>
                    </a:lnTo>
                    <a:lnTo>
                      <a:pt x="1067" y="404"/>
                    </a:lnTo>
                    <a:lnTo>
                      <a:pt x="1096" y="437"/>
                    </a:lnTo>
                    <a:lnTo>
                      <a:pt x="1089" y="432"/>
                    </a:lnTo>
                    <a:lnTo>
                      <a:pt x="1089" y="444"/>
                    </a:lnTo>
                    <a:lnTo>
                      <a:pt x="1096" y="456"/>
                    </a:lnTo>
                    <a:lnTo>
                      <a:pt x="1105" y="461"/>
                    </a:lnTo>
                    <a:lnTo>
                      <a:pt x="1096" y="477"/>
                    </a:lnTo>
                    <a:lnTo>
                      <a:pt x="1089" y="472"/>
                    </a:lnTo>
                    <a:lnTo>
                      <a:pt x="1089" y="489"/>
                    </a:lnTo>
                    <a:lnTo>
                      <a:pt x="1105" y="515"/>
                    </a:lnTo>
                    <a:lnTo>
                      <a:pt x="1096" y="510"/>
                    </a:lnTo>
                    <a:lnTo>
                      <a:pt x="1122" y="531"/>
                    </a:lnTo>
                    <a:lnTo>
                      <a:pt x="1126" y="555"/>
                    </a:lnTo>
                    <a:lnTo>
                      <a:pt x="1143" y="583"/>
                    </a:lnTo>
                    <a:lnTo>
                      <a:pt x="1143" y="583"/>
                    </a:lnTo>
                    <a:lnTo>
                      <a:pt x="1148" y="600"/>
                    </a:lnTo>
                    <a:lnTo>
                      <a:pt x="1176" y="588"/>
                    </a:lnTo>
                    <a:lnTo>
                      <a:pt x="1176" y="588"/>
                    </a:lnTo>
                    <a:lnTo>
                      <a:pt x="1176" y="600"/>
                    </a:lnTo>
                    <a:lnTo>
                      <a:pt x="1181" y="588"/>
                    </a:lnTo>
                    <a:lnTo>
                      <a:pt x="1186" y="600"/>
                    </a:lnTo>
                    <a:lnTo>
                      <a:pt x="1176" y="609"/>
                    </a:lnTo>
                    <a:lnTo>
                      <a:pt x="1197" y="621"/>
                    </a:lnTo>
                    <a:lnTo>
                      <a:pt x="1197" y="626"/>
                    </a:lnTo>
                    <a:lnTo>
                      <a:pt x="1268" y="716"/>
                    </a:lnTo>
                    <a:lnTo>
                      <a:pt x="1445" y="737"/>
                    </a:lnTo>
                    <a:lnTo>
                      <a:pt x="1450" y="737"/>
                    </a:lnTo>
                    <a:lnTo>
                      <a:pt x="1483" y="789"/>
                    </a:lnTo>
                    <a:lnTo>
                      <a:pt x="1436" y="938"/>
                    </a:lnTo>
                    <a:lnTo>
                      <a:pt x="1436" y="938"/>
                    </a:lnTo>
                    <a:lnTo>
                      <a:pt x="1436" y="938"/>
                    </a:lnTo>
                    <a:close/>
                    <a:moveTo>
                      <a:pt x="0" y="326"/>
                    </a:moveTo>
                    <a:lnTo>
                      <a:pt x="9" y="333"/>
                    </a:lnTo>
                    <a:lnTo>
                      <a:pt x="0" y="333"/>
                    </a:lnTo>
                    <a:lnTo>
                      <a:pt x="0" y="326"/>
                    </a:lnTo>
                    <a:lnTo>
                      <a:pt x="0" y="326"/>
                    </a:lnTo>
                    <a:lnTo>
                      <a:pt x="0" y="326"/>
                    </a:lnTo>
                    <a:close/>
                    <a:moveTo>
                      <a:pt x="1051" y="383"/>
                    </a:moveTo>
                    <a:lnTo>
                      <a:pt x="1051" y="383"/>
                    </a:lnTo>
                    <a:lnTo>
                      <a:pt x="1058" y="383"/>
                    </a:lnTo>
                    <a:lnTo>
                      <a:pt x="1051" y="383"/>
                    </a:lnTo>
                    <a:lnTo>
                      <a:pt x="1051" y="383"/>
                    </a:lnTo>
                    <a:lnTo>
                      <a:pt x="1051" y="383"/>
                    </a:lnTo>
                    <a:close/>
                    <a:moveTo>
                      <a:pt x="517" y="1172"/>
                    </a:moveTo>
                    <a:lnTo>
                      <a:pt x="517" y="1172"/>
                    </a:lnTo>
                    <a:lnTo>
                      <a:pt x="529" y="1181"/>
                    </a:lnTo>
                    <a:lnTo>
                      <a:pt x="512" y="1176"/>
                    </a:lnTo>
                    <a:lnTo>
                      <a:pt x="517" y="1172"/>
                    </a:lnTo>
                    <a:lnTo>
                      <a:pt x="517" y="1172"/>
                    </a:lnTo>
                    <a:lnTo>
                      <a:pt x="517" y="1172"/>
                    </a:lnTo>
                    <a:lnTo>
                      <a:pt x="517" y="1172"/>
                    </a:lnTo>
                    <a:close/>
                    <a:moveTo>
                      <a:pt x="534" y="1200"/>
                    </a:moveTo>
                    <a:lnTo>
                      <a:pt x="534" y="1193"/>
                    </a:lnTo>
                    <a:lnTo>
                      <a:pt x="512" y="1181"/>
                    </a:lnTo>
                    <a:lnTo>
                      <a:pt x="512" y="1176"/>
                    </a:lnTo>
                    <a:lnTo>
                      <a:pt x="517" y="1181"/>
                    </a:lnTo>
                    <a:lnTo>
                      <a:pt x="529" y="1181"/>
                    </a:lnTo>
                    <a:lnTo>
                      <a:pt x="529" y="1181"/>
                    </a:lnTo>
                    <a:lnTo>
                      <a:pt x="534" y="1176"/>
                    </a:lnTo>
                    <a:lnTo>
                      <a:pt x="534" y="1200"/>
                    </a:lnTo>
                    <a:lnTo>
                      <a:pt x="534" y="1200"/>
                    </a:lnTo>
                    <a:lnTo>
                      <a:pt x="534" y="120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75" name="Freeform 548">
                <a:extLst>
                  <a:ext uri="{FF2B5EF4-FFF2-40B4-BE49-F238E27FC236}">
                    <a16:creationId xmlns:a16="http://schemas.microsoft.com/office/drawing/2014/main" id="{F83D284A-C429-4B6C-A125-2DFCF26CA065}"/>
                  </a:ext>
                </a:extLst>
              </p:cNvPr>
              <p:cNvSpPr>
                <a:spLocks noEditPoints="1"/>
              </p:cNvSpPr>
              <p:nvPr/>
            </p:nvSpPr>
            <p:spPr bwMode="gray">
              <a:xfrm>
                <a:off x="8060458" y="4199694"/>
                <a:ext cx="269233" cy="146983"/>
              </a:xfrm>
              <a:custGeom>
                <a:avLst/>
                <a:gdLst>
                  <a:gd name="T0" fmla="*/ 654 w 654"/>
                  <a:gd name="T1" fmla="*/ 17 h 357"/>
                  <a:gd name="T2" fmla="*/ 638 w 654"/>
                  <a:gd name="T3" fmla="*/ 12 h 357"/>
                  <a:gd name="T4" fmla="*/ 647 w 654"/>
                  <a:gd name="T5" fmla="*/ 0 h 357"/>
                  <a:gd name="T6" fmla="*/ 654 w 654"/>
                  <a:gd name="T7" fmla="*/ 17 h 357"/>
                  <a:gd name="T8" fmla="*/ 654 w 654"/>
                  <a:gd name="T9" fmla="*/ 17 h 357"/>
                  <a:gd name="T10" fmla="*/ 654 w 654"/>
                  <a:gd name="T11" fmla="*/ 17 h 357"/>
                  <a:gd name="T12" fmla="*/ 7 w 654"/>
                  <a:gd name="T13" fmla="*/ 357 h 357"/>
                  <a:gd name="T14" fmla="*/ 0 w 654"/>
                  <a:gd name="T15" fmla="*/ 352 h 357"/>
                  <a:gd name="T16" fmla="*/ 23 w 654"/>
                  <a:gd name="T17" fmla="*/ 352 h 357"/>
                  <a:gd name="T18" fmla="*/ 7 w 654"/>
                  <a:gd name="T19" fmla="*/ 357 h 357"/>
                  <a:gd name="T20" fmla="*/ 7 w 654"/>
                  <a:gd name="T21" fmla="*/ 357 h 357"/>
                  <a:gd name="T22" fmla="*/ 7 w 654"/>
                  <a:gd name="T23"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4" h="357">
                    <a:moveTo>
                      <a:pt x="654" y="17"/>
                    </a:moveTo>
                    <a:lnTo>
                      <a:pt x="638" y="12"/>
                    </a:lnTo>
                    <a:lnTo>
                      <a:pt x="647" y="0"/>
                    </a:lnTo>
                    <a:lnTo>
                      <a:pt x="654" y="17"/>
                    </a:lnTo>
                    <a:lnTo>
                      <a:pt x="654" y="17"/>
                    </a:lnTo>
                    <a:lnTo>
                      <a:pt x="654" y="17"/>
                    </a:lnTo>
                    <a:close/>
                    <a:moveTo>
                      <a:pt x="7" y="357"/>
                    </a:moveTo>
                    <a:lnTo>
                      <a:pt x="0" y="352"/>
                    </a:lnTo>
                    <a:lnTo>
                      <a:pt x="23" y="352"/>
                    </a:lnTo>
                    <a:lnTo>
                      <a:pt x="7" y="357"/>
                    </a:lnTo>
                    <a:lnTo>
                      <a:pt x="7" y="357"/>
                    </a:lnTo>
                    <a:lnTo>
                      <a:pt x="7" y="35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76" name="Freeform 549">
                <a:extLst>
                  <a:ext uri="{FF2B5EF4-FFF2-40B4-BE49-F238E27FC236}">
                    <a16:creationId xmlns:a16="http://schemas.microsoft.com/office/drawing/2014/main" id="{0E8487D9-53D9-425A-AA7C-46CC43720E6D}"/>
                  </a:ext>
                </a:extLst>
              </p:cNvPr>
              <p:cNvSpPr>
                <a:spLocks noEditPoints="1"/>
              </p:cNvSpPr>
              <p:nvPr/>
            </p:nvSpPr>
            <p:spPr bwMode="gray">
              <a:xfrm>
                <a:off x="7142434" y="4731631"/>
                <a:ext cx="676786" cy="837430"/>
              </a:xfrm>
              <a:custGeom>
                <a:avLst/>
                <a:gdLst>
                  <a:gd name="T0" fmla="*/ 449 w 1644"/>
                  <a:gd name="T1" fmla="*/ 289 h 2034"/>
                  <a:gd name="T2" fmla="*/ 437 w 1644"/>
                  <a:gd name="T3" fmla="*/ 355 h 2034"/>
                  <a:gd name="T4" fmla="*/ 534 w 1644"/>
                  <a:gd name="T5" fmla="*/ 350 h 2034"/>
                  <a:gd name="T6" fmla="*/ 588 w 1644"/>
                  <a:gd name="T7" fmla="*/ 260 h 2034"/>
                  <a:gd name="T8" fmla="*/ 664 w 1644"/>
                  <a:gd name="T9" fmla="*/ 272 h 2034"/>
                  <a:gd name="T10" fmla="*/ 718 w 1644"/>
                  <a:gd name="T11" fmla="*/ 289 h 2034"/>
                  <a:gd name="T12" fmla="*/ 805 w 1644"/>
                  <a:gd name="T13" fmla="*/ 199 h 2034"/>
                  <a:gd name="T14" fmla="*/ 881 w 1644"/>
                  <a:gd name="T15" fmla="*/ 123 h 2034"/>
                  <a:gd name="T16" fmla="*/ 923 w 1644"/>
                  <a:gd name="T17" fmla="*/ 90 h 2034"/>
                  <a:gd name="T18" fmla="*/ 1020 w 1644"/>
                  <a:gd name="T19" fmla="*/ 22 h 2034"/>
                  <a:gd name="T20" fmla="*/ 1075 w 1644"/>
                  <a:gd name="T21" fmla="*/ 0 h 2034"/>
                  <a:gd name="T22" fmla="*/ 1188 w 1644"/>
                  <a:gd name="T23" fmla="*/ 22 h 2034"/>
                  <a:gd name="T24" fmla="*/ 1226 w 1644"/>
                  <a:gd name="T25" fmla="*/ 144 h 2034"/>
                  <a:gd name="T26" fmla="*/ 1226 w 1644"/>
                  <a:gd name="T27" fmla="*/ 293 h 2034"/>
                  <a:gd name="T28" fmla="*/ 1171 w 1644"/>
                  <a:gd name="T29" fmla="*/ 293 h 2034"/>
                  <a:gd name="T30" fmla="*/ 1157 w 1644"/>
                  <a:gd name="T31" fmla="*/ 355 h 2034"/>
                  <a:gd name="T32" fmla="*/ 1238 w 1644"/>
                  <a:gd name="T33" fmla="*/ 400 h 2034"/>
                  <a:gd name="T34" fmla="*/ 1297 w 1644"/>
                  <a:gd name="T35" fmla="*/ 366 h 2034"/>
                  <a:gd name="T36" fmla="*/ 1221 w 1644"/>
                  <a:gd name="T37" fmla="*/ 522 h 2034"/>
                  <a:gd name="T38" fmla="*/ 1167 w 1644"/>
                  <a:gd name="T39" fmla="*/ 605 h 2034"/>
                  <a:gd name="T40" fmla="*/ 990 w 1644"/>
                  <a:gd name="T41" fmla="*/ 815 h 2034"/>
                  <a:gd name="T42" fmla="*/ 848 w 1644"/>
                  <a:gd name="T43" fmla="*/ 910 h 2034"/>
                  <a:gd name="T44" fmla="*/ 794 w 1644"/>
                  <a:gd name="T45" fmla="*/ 926 h 2034"/>
                  <a:gd name="T46" fmla="*/ 734 w 1644"/>
                  <a:gd name="T47" fmla="*/ 943 h 2034"/>
                  <a:gd name="T48" fmla="*/ 626 w 1644"/>
                  <a:gd name="T49" fmla="*/ 938 h 2034"/>
                  <a:gd name="T50" fmla="*/ 517 w 1644"/>
                  <a:gd name="T51" fmla="*/ 959 h 2034"/>
                  <a:gd name="T52" fmla="*/ 453 w 1644"/>
                  <a:gd name="T53" fmla="*/ 959 h 2034"/>
                  <a:gd name="T54" fmla="*/ 394 w 1644"/>
                  <a:gd name="T55" fmla="*/ 992 h 2034"/>
                  <a:gd name="T56" fmla="*/ 345 w 1644"/>
                  <a:gd name="T57" fmla="*/ 964 h 2034"/>
                  <a:gd name="T58" fmla="*/ 307 w 1644"/>
                  <a:gd name="T59" fmla="*/ 943 h 2034"/>
                  <a:gd name="T60" fmla="*/ 286 w 1644"/>
                  <a:gd name="T61" fmla="*/ 959 h 2034"/>
                  <a:gd name="T62" fmla="*/ 286 w 1644"/>
                  <a:gd name="T63" fmla="*/ 922 h 2034"/>
                  <a:gd name="T64" fmla="*/ 248 w 1644"/>
                  <a:gd name="T65" fmla="*/ 848 h 2034"/>
                  <a:gd name="T66" fmla="*/ 260 w 1644"/>
                  <a:gd name="T67" fmla="*/ 832 h 2034"/>
                  <a:gd name="T68" fmla="*/ 269 w 1644"/>
                  <a:gd name="T69" fmla="*/ 759 h 2034"/>
                  <a:gd name="T70" fmla="*/ 151 w 1644"/>
                  <a:gd name="T71" fmla="*/ 522 h 2034"/>
                  <a:gd name="T72" fmla="*/ 168 w 1644"/>
                  <a:gd name="T73" fmla="*/ 461 h 2034"/>
                  <a:gd name="T74" fmla="*/ 205 w 1644"/>
                  <a:gd name="T75" fmla="*/ 466 h 2034"/>
                  <a:gd name="T76" fmla="*/ 222 w 1644"/>
                  <a:gd name="T77" fmla="*/ 515 h 2034"/>
                  <a:gd name="T78" fmla="*/ 302 w 1644"/>
                  <a:gd name="T79" fmla="*/ 515 h 2034"/>
                  <a:gd name="T80" fmla="*/ 340 w 1644"/>
                  <a:gd name="T81" fmla="*/ 511 h 2034"/>
                  <a:gd name="T82" fmla="*/ 394 w 1644"/>
                  <a:gd name="T83" fmla="*/ 482 h 2034"/>
                  <a:gd name="T84" fmla="*/ 394 w 1644"/>
                  <a:gd name="T85" fmla="*/ 199 h 2034"/>
                  <a:gd name="T86" fmla="*/ 966 w 1644"/>
                  <a:gd name="T87" fmla="*/ 511 h 2034"/>
                  <a:gd name="T88" fmla="*/ 886 w 1644"/>
                  <a:gd name="T89" fmla="*/ 577 h 2034"/>
                  <a:gd name="T90" fmla="*/ 935 w 1644"/>
                  <a:gd name="T91" fmla="*/ 659 h 2034"/>
                  <a:gd name="T92" fmla="*/ 1011 w 1644"/>
                  <a:gd name="T93" fmla="*/ 622 h 2034"/>
                  <a:gd name="T94" fmla="*/ 1042 w 1644"/>
                  <a:gd name="T95" fmla="*/ 577 h 2034"/>
                  <a:gd name="T96" fmla="*/ 1049 w 1644"/>
                  <a:gd name="T97" fmla="*/ 539 h 2034"/>
                  <a:gd name="T98" fmla="*/ 1011 w 1644"/>
                  <a:gd name="T99" fmla="*/ 511 h 2034"/>
                  <a:gd name="T100" fmla="*/ 21 w 1644"/>
                  <a:gd name="T101" fmla="*/ 78 h 2034"/>
                  <a:gd name="T102" fmla="*/ 0 w 1644"/>
                  <a:gd name="T103" fmla="*/ 55 h 2034"/>
                  <a:gd name="T104" fmla="*/ 5 w 1644"/>
                  <a:gd name="T105" fmla="*/ 38 h 2034"/>
                  <a:gd name="T106" fmla="*/ 1644 w 1644"/>
                  <a:gd name="T107" fmla="*/ 2034 h 2034"/>
                  <a:gd name="T108" fmla="*/ 1644 w 1644"/>
                  <a:gd name="T109" fmla="*/ 2029 h 2034"/>
                  <a:gd name="T110" fmla="*/ 1644 w 1644"/>
                  <a:gd name="T111" fmla="*/ 2034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44" h="2034">
                    <a:moveTo>
                      <a:pt x="394" y="199"/>
                    </a:moveTo>
                    <a:lnTo>
                      <a:pt x="416" y="222"/>
                    </a:lnTo>
                    <a:lnTo>
                      <a:pt x="449" y="289"/>
                    </a:lnTo>
                    <a:lnTo>
                      <a:pt x="453" y="310"/>
                    </a:lnTo>
                    <a:lnTo>
                      <a:pt x="432" y="333"/>
                    </a:lnTo>
                    <a:lnTo>
                      <a:pt x="437" y="355"/>
                    </a:lnTo>
                    <a:lnTo>
                      <a:pt x="508" y="366"/>
                    </a:lnTo>
                    <a:lnTo>
                      <a:pt x="517" y="350"/>
                    </a:lnTo>
                    <a:lnTo>
                      <a:pt x="534" y="350"/>
                    </a:lnTo>
                    <a:lnTo>
                      <a:pt x="546" y="326"/>
                    </a:lnTo>
                    <a:lnTo>
                      <a:pt x="579" y="300"/>
                    </a:lnTo>
                    <a:lnTo>
                      <a:pt x="588" y="260"/>
                    </a:lnTo>
                    <a:lnTo>
                      <a:pt x="600" y="244"/>
                    </a:lnTo>
                    <a:lnTo>
                      <a:pt x="633" y="239"/>
                    </a:lnTo>
                    <a:lnTo>
                      <a:pt x="664" y="272"/>
                    </a:lnTo>
                    <a:lnTo>
                      <a:pt x="685" y="272"/>
                    </a:lnTo>
                    <a:lnTo>
                      <a:pt x="697" y="277"/>
                    </a:lnTo>
                    <a:lnTo>
                      <a:pt x="718" y="289"/>
                    </a:lnTo>
                    <a:lnTo>
                      <a:pt x="777" y="272"/>
                    </a:lnTo>
                    <a:lnTo>
                      <a:pt x="789" y="255"/>
                    </a:lnTo>
                    <a:lnTo>
                      <a:pt x="805" y="199"/>
                    </a:lnTo>
                    <a:lnTo>
                      <a:pt x="843" y="189"/>
                    </a:lnTo>
                    <a:lnTo>
                      <a:pt x="869" y="166"/>
                    </a:lnTo>
                    <a:lnTo>
                      <a:pt x="881" y="123"/>
                    </a:lnTo>
                    <a:lnTo>
                      <a:pt x="914" y="95"/>
                    </a:lnTo>
                    <a:lnTo>
                      <a:pt x="919" y="95"/>
                    </a:lnTo>
                    <a:lnTo>
                      <a:pt x="923" y="90"/>
                    </a:lnTo>
                    <a:lnTo>
                      <a:pt x="952" y="74"/>
                    </a:lnTo>
                    <a:lnTo>
                      <a:pt x="973" y="38"/>
                    </a:lnTo>
                    <a:lnTo>
                      <a:pt x="1020" y="22"/>
                    </a:lnTo>
                    <a:lnTo>
                      <a:pt x="1027" y="12"/>
                    </a:lnTo>
                    <a:lnTo>
                      <a:pt x="1049" y="12"/>
                    </a:lnTo>
                    <a:lnTo>
                      <a:pt x="1075" y="0"/>
                    </a:lnTo>
                    <a:lnTo>
                      <a:pt x="1120" y="17"/>
                    </a:lnTo>
                    <a:lnTo>
                      <a:pt x="1157" y="17"/>
                    </a:lnTo>
                    <a:lnTo>
                      <a:pt x="1188" y="22"/>
                    </a:lnTo>
                    <a:lnTo>
                      <a:pt x="1205" y="78"/>
                    </a:lnTo>
                    <a:lnTo>
                      <a:pt x="1205" y="107"/>
                    </a:lnTo>
                    <a:lnTo>
                      <a:pt x="1226" y="144"/>
                    </a:lnTo>
                    <a:lnTo>
                      <a:pt x="1238" y="178"/>
                    </a:lnTo>
                    <a:lnTo>
                      <a:pt x="1238" y="293"/>
                    </a:lnTo>
                    <a:lnTo>
                      <a:pt x="1226" y="293"/>
                    </a:lnTo>
                    <a:lnTo>
                      <a:pt x="1195" y="277"/>
                    </a:lnTo>
                    <a:lnTo>
                      <a:pt x="1188" y="277"/>
                    </a:lnTo>
                    <a:lnTo>
                      <a:pt x="1171" y="293"/>
                    </a:lnTo>
                    <a:lnTo>
                      <a:pt x="1150" y="326"/>
                    </a:lnTo>
                    <a:lnTo>
                      <a:pt x="1150" y="355"/>
                    </a:lnTo>
                    <a:lnTo>
                      <a:pt x="1157" y="355"/>
                    </a:lnTo>
                    <a:lnTo>
                      <a:pt x="1171" y="388"/>
                    </a:lnTo>
                    <a:lnTo>
                      <a:pt x="1205" y="400"/>
                    </a:lnTo>
                    <a:lnTo>
                      <a:pt x="1238" y="400"/>
                    </a:lnTo>
                    <a:lnTo>
                      <a:pt x="1238" y="355"/>
                    </a:lnTo>
                    <a:lnTo>
                      <a:pt x="1242" y="366"/>
                    </a:lnTo>
                    <a:lnTo>
                      <a:pt x="1297" y="366"/>
                    </a:lnTo>
                    <a:lnTo>
                      <a:pt x="1259" y="494"/>
                    </a:lnTo>
                    <a:lnTo>
                      <a:pt x="1238" y="522"/>
                    </a:lnTo>
                    <a:lnTo>
                      <a:pt x="1221" y="522"/>
                    </a:lnTo>
                    <a:lnTo>
                      <a:pt x="1188" y="565"/>
                    </a:lnTo>
                    <a:lnTo>
                      <a:pt x="1167" y="605"/>
                    </a:lnTo>
                    <a:lnTo>
                      <a:pt x="1167" y="605"/>
                    </a:lnTo>
                    <a:lnTo>
                      <a:pt x="1096" y="716"/>
                    </a:lnTo>
                    <a:lnTo>
                      <a:pt x="1049" y="742"/>
                    </a:lnTo>
                    <a:lnTo>
                      <a:pt x="990" y="815"/>
                    </a:lnTo>
                    <a:lnTo>
                      <a:pt x="952" y="848"/>
                    </a:lnTo>
                    <a:lnTo>
                      <a:pt x="886" y="886"/>
                    </a:lnTo>
                    <a:lnTo>
                      <a:pt x="848" y="910"/>
                    </a:lnTo>
                    <a:lnTo>
                      <a:pt x="794" y="910"/>
                    </a:lnTo>
                    <a:lnTo>
                      <a:pt x="789" y="922"/>
                    </a:lnTo>
                    <a:lnTo>
                      <a:pt x="794" y="926"/>
                    </a:lnTo>
                    <a:lnTo>
                      <a:pt x="739" y="926"/>
                    </a:lnTo>
                    <a:lnTo>
                      <a:pt x="739" y="926"/>
                    </a:lnTo>
                    <a:lnTo>
                      <a:pt x="734" y="943"/>
                    </a:lnTo>
                    <a:lnTo>
                      <a:pt x="647" y="926"/>
                    </a:lnTo>
                    <a:lnTo>
                      <a:pt x="633" y="926"/>
                    </a:lnTo>
                    <a:lnTo>
                      <a:pt x="626" y="938"/>
                    </a:lnTo>
                    <a:lnTo>
                      <a:pt x="572" y="926"/>
                    </a:lnTo>
                    <a:lnTo>
                      <a:pt x="541" y="938"/>
                    </a:lnTo>
                    <a:lnTo>
                      <a:pt x="517" y="959"/>
                    </a:lnTo>
                    <a:lnTo>
                      <a:pt x="503" y="959"/>
                    </a:lnTo>
                    <a:lnTo>
                      <a:pt x="486" y="959"/>
                    </a:lnTo>
                    <a:lnTo>
                      <a:pt x="453" y="959"/>
                    </a:lnTo>
                    <a:lnTo>
                      <a:pt x="449" y="964"/>
                    </a:lnTo>
                    <a:lnTo>
                      <a:pt x="427" y="964"/>
                    </a:lnTo>
                    <a:lnTo>
                      <a:pt x="394" y="992"/>
                    </a:lnTo>
                    <a:lnTo>
                      <a:pt x="373" y="992"/>
                    </a:lnTo>
                    <a:lnTo>
                      <a:pt x="345" y="976"/>
                    </a:lnTo>
                    <a:lnTo>
                      <a:pt x="345" y="964"/>
                    </a:lnTo>
                    <a:lnTo>
                      <a:pt x="340" y="959"/>
                    </a:lnTo>
                    <a:lnTo>
                      <a:pt x="307" y="959"/>
                    </a:lnTo>
                    <a:lnTo>
                      <a:pt x="307" y="943"/>
                    </a:lnTo>
                    <a:lnTo>
                      <a:pt x="307" y="938"/>
                    </a:lnTo>
                    <a:lnTo>
                      <a:pt x="286" y="938"/>
                    </a:lnTo>
                    <a:lnTo>
                      <a:pt x="286" y="959"/>
                    </a:lnTo>
                    <a:lnTo>
                      <a:pt x="274" y="955"/>
                    </a:lnTo>
                    <a:lnTo>
                      <a:pt x="269" y="926"/>
                    </a:lnTo>
                    <a:lnTo>
                      <a:pt x="286" y="922"/>
                    </a:lnTo>
                    <a:lnTo>
                      <a:pt x="286" y="903"/>
                    </a:lnTo>
                    <a:lnTo>
                      <a:pt x="253" y="848"/>
                    </a:lnTo>
                    <a:lnTo>
                      <a:pt x="248" y="848"/>
                    </a:lnTo>
                    <a:lnTo>
                      <a:pt x="236" y="832"/>
                    </a:lnTo>
                    <a:lnTo>
                      <a:pt x="253" y="827"/>
                    </a:lnTo>
                    <a:lnTo>
                      <a:pt x="260" y="832"/>
                    </a:lnTo>
                    <a:lnTo>
                      <a:pt x="269" y="815"/>
                    </a:lnTo>
                    <a:lnTo>
                      <a:pt x="274" y="794"/>
                    </a:lnTo>
                    <a:lnTo>
                      <a:pt x="269" y="759"/>
                    </a:lnTo>
                    <a:lnTo>
                      <a:pt x="198" y="631"/>
                    </a:lnTo>
                    <a:lnTo>
                      <a:pt x="168" y="539"/>
                    </a:lnTo>
                    <a:lnTo>
                      <a:pt x="151" y="522"/>
                    </a:lnTo>
                    <a:lnTo>
                      <a:pt x="146" y="499"/>
                    </a:lnTo>
                    <a:lnTo>
                      <a:pt x="160" y="494"/>
                    </a:lnTo>
                    <a:lnTo>
                      <a:pt x="168" y="461"/>
                    </a:lnTo>
                    <a:lnTo>
                      <a:pt x="184" y="454"/>
                    </a:lnTo>
                    <a:lnTo>
                      <a:pt x="198" y="466"/>
                    </a:lnTo>
                    <a:lnTo>
                      <a:pt x="205" y="466"/>
                    </a:lnTo>
                    <a:lnTo>
                      <a:pt x="205" y="511"/>
                    </a:lnTo>
                    <a:lnTo>
                      <a:pt x="222" y="511"/>
                    </a:lnTo>
                    <a:lnTo>
                      <a:pt x="222" y="515"/>
                    </a:lnTo>
                    <a:lnTo>
                      <a:pt x="248" y="515"/>
                    </a:lnTo>
                    <a:lnTo>
                      <a:pt x="260" y="522"/>
                    </a:lnTo>
                    <a:lnTo>
                      <a:pt x="302" y="515"/>
                    </a:lnTo>
                    <a:lnTo>
                      <a:pt x="328" y="522"/>
                    </a:lnTo>
                    <a:lnTo>
                      <a:pt x="340" y="522"/>
                    </a:lnTo>
                    <a:lnTo>
                      <a:pt x="340" y="511"/>
                    </a:lnTo>
                    <a:lnTo>
                      <a:pt x="357" y="511"/>
                    </a:lnTo>
                    <a:lnTo>
                      <a:pt x="361" y="494"/>
                    </a:lnTo>
                    <a:lnTo>
                      <a:pt x="394" y="482"/>
                    </a:lnTo>
                    <a:lnTo>
                      <a:pt x="394" y="199"/>
                    </a:lnTo>
                    <a:lnTo>
                      <a:pt x="394" y="199"/>
                    </a:lnTo>
                    <a:lnTo>
                      <a:pt x="394" y="199"/>
                    </a:lnTo>
                    <a:close/>
                    <a:moveTo>
                      <a:pt x="1011" y="511"/>
                    </a:moveTo>
                    <a:lnTo>
                      <a:pt x="994" y="499"/>
                    </a:lnTo>
                    <a:lnTo>
                      <a:pt x="966" y="511"/>
                    </a:lnTo>
                    <a:lnTo>
                      <a:pt x="923" y="532"/>
                    </a:lnTo>
                    <a:lnTo>
                      <a:pt x="902" y="572"/>
                    </a:lnTo>
                    <a:lnTo>
                      <a:pt x="886" y="577"/>
                    </a:lnTo>
                    <a:lnTo>
                      <a:pt x="902" y="610"/>
                    </a:lnTo>
                    <a:lnTo>
                      <a:pt x="914" y="631"/>
                    </a:lnTo>
                    <a:lnTo>
                      <a:pt x="935" y="659"/>
                    </a:lnTo>
                    <a:lnTo>
                      <a:pt x="957" y="659"/>
                    </a:lnTo>
                    <a:lnTo>
                      <a:pt x="978" y="622"/>
                    </a:lnTo>
                    <a:lnTo>
                      <a:pt x="1011" y="622"/>
                    </a:lnTo>
                    <a:lnTo>
                      <a:pt x="1032" y="605"/>
                    </a:lnTo>
                    <a:lnTo>
                      <a:pt x="1032" y="577"/>
                    </a:lnTo>
                    <a:lnTo>
                      <a:pt x="1042" y="577"/>
                    </a:lnTo>
                    <a:lnTo>
                      <a:pt x="1042" y="572"/>
                    </a:lnTo>
                    <a:lnTo>
                      <a:pt x="1058" y="555"/>
                    </a:lnTo>
                    <a:lnTo>
                      <a:pt x="1049" y="539"/>
                    </a:lnTo>
                    <a:lnTo>
                      <a:pt x="1011" y="511"/>
                    </a:lnTo>
                    <a:lnTo>
                      <a:pt x="1011" y="511"/>
                    </a:lnTo>
                    <a:lnTo>
                      <a:pt x="1011" y="511"/>
                    </a:lnTo>
                    <a:close/>
                    <a:moveTo>
                      <a:pt x="5" y="38"/>
                    </a:moveTo>
                    <a:lnTo>
                      <a:pt x="16" y="38"/>
                    </a:lnTo>
                    <a:lnTo>
                      <a:pt x="21" y="78"/>
                    </a:lnTo>
                    <a:lnTo>
                      <a:pt x="0" y="78"/>
                    </a:lnTo>
                    <a:lnTo>
                      <a:pt x="0" y="66"/>
                    </a:lnTo>
                    <a:lnTo>
                      <a:pt x="0" y="55"/>
                    </a:lnTo>
                    <a:lnTo>
                      <a:pt x="0" y="66"/>
                    </a:lnTo>
                    <a:lnTo>
                      <a:pt x="5" y="66"/>
                    </a:lnTo>
                    <a:lnTo>
                      <a:pt x="5" y="38"/>
                    </a:lnTo>
                    <a:lnTo>
                      <a:pt x="5" y="38"/>
                    </a:lnTo>
                    <a:lnTo>
                      <a:pt x="5" y="38"/>
                    </a:lnTo>
                    <a:close/>
                    <a:moveTo>
                      <a:pt x="1644" y="2034"/>
                    </a:moveTo>
                    <a:lnTo>
                      <a:pt x="1627" y="2029"/>
                    </a:lnTo>
                    <a:lnTo>
                      <a:pt x="1637" y="2022"/>
                    </a:lnTo>
                    <a:lnTo>
                      <a:pt x="1644" y="2029"/>
                    </a:lnTo>
                    <a:lnTo>
                      <a:pt x="1644" y="2034"/>
                    </a:lnTo>
                    <a:lnTo>
                      <a:pt x="1644" y="2034"/>
                    </a:lnTo>
                    <a:lnTo>
                      <a:pt x="1644" y="203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77" name="Freeform 550">
                <a:extLst>
                  <a:ext uri="{FF2B5EF4-FFF2-40B4-BE49-F238E27FC236}">
                    <a16:creationId xmlns:a16="http://schemas.microsoft.com/office/drawing/2014/main" id="{D264767B-47C3-48B5-918D-D30759712328}"/>
                  </a:ext>
                </a:extLst>
              </p:cNvPr>
              <p:cNvSpPr>
                <a:spLocks/>
              </p:cNvSpPr>
              <p:nvPr/>
            </p:nvSpPr>
            <p:spPr bwMode="gray">
              <a:xfrm>
                <a:off x="6221528" y="3563591"/>
                <a:ext cx="179076" cy="134220"/>
              </a:xfrm>
              <a:custGeom>
                <a:avLst/>
                <a:gdLst>
                  <a:gd name="T0" fmla="*/ 163 w 435"/>
                  <a:gd name="T1" fmla="*/ 305 h 326"/>
                  <a:gd name="T2" fmla="*/ 92 w 435"/>
                  <a:gd name="T3" fmla="*/ 322 h 326"/>
                  <a:gd name="T4" fmla="*/ 45 w 435"/>
                  <a:gd name="T5" fmla="*/ 322 h 326"/>
                  <a:gd name="T6" fmla="*/ 75 w 435"/>
                  <a:gd name="T7" fmla="*/ 310 h 326"/>
                  <a:gd name="T8" fmla="*/ 130 w 435"/>
                  <a:gd name="T9" fmla="*/ 310 h 326"/>
                  <a:gd name="T10" fmla="*/ 137 w 435"/>
                  <a:gd name="T11" fmla="*/ 293 h 326"/>
                  <a:gd name="T12" fmla="*/ 137 w 435"/>
                  <a:gd name="T13" fmla="*/ 293 h 326"/>
                  <a:gd name="T14" fmla="*/ 130 w 435"/>
                  <a:gd name="T15" fmla="*/ 310 h 326"/>
                  <a:gd name="T16" fmla="*/ 99 w 435"/>
                  <a:gd name="T17" fmla="*/ 293 h 326"/>
                  <a:gd name="T18" fmla="*/ 75 w 435"/>
                  <a:gd name="T19" fmla="*/ 310 h 326"/>
                  <a:gd name="T20" fmla="*/ 59 w 435"/>
                  <a:gd name="T21" fmla="*/ 293 h 326"/>
                  <a:gd name="T22" fmla="*/ 54 w 435"/>
                  <a:gd name="T23" fmla="*/ 272 h 326"/>
                  <a:gd name="T24" fmla="*/ 113 w 435"/>
                  <a:gd name="T25" fmla="*/ 267 h 326"/>
                  <a:gd name="T26" fmla="*/ 151 w 435"/>
                  <a:gd name="T27" fmla="*/ 251 h 326"/>
                  <a:gd name="T28" fmla="*/ 222 w 435"/>
                  <a:gd name="T29" fmla="*/ 267 h 326"/>
                  <a:gd name="T30" fmla="*/ 260 w 435"/>
                  <a:gd name="T31" fmla="*/ 251 h 326"/>
                  <a:gd name="T32" fmla="*/ 222 w 435"/>
                  <a:gd name="T33" fmla="*/ 251 h 326"/>
                  <a:gd name="T34" fmla="*/ 191 w 435"/>
                  <a:gd name="T35" fmla="*/ 232 h 326"/>
                  <a:gd name="T36" fmla="*/ 168 w 435"/>
                  <a:gd name="T37" fmla="*/ 215 h 326"/>
                  <a:gd name="T38" fmla="*/ 137 w 435"/>
                  <a:gd name="T39" fmla="*/ 232 h 326"/>
                  <a:gd name="T40" fmla="*/ 59 w 435"/>
                  <a:gd name="T41" fmla="*/ 222 h 326"/>
                  <a:gd name="T42" fmla="*/ 54 w 435"/>
                  <a:gd name="T43" fmla="*/ 222 h 326"/>
                  <a:gd name="T44" fmla="*/ 75 w 435"/>
                  <a:gd name="T45" fmla="*/ 194 h 326"/>
                  <a:gd name="T46" fmla="*/ 59 w 435"/>
                  <a:gd name="T47" fmla="*/ 199 h 326"/>
                  <a:gd name="T48" fmla="*/ 21 w 435"/>
                  <a:gd name="T49" fmla="*/ 156 h 326"/>
                  <a:gd name="T50" fmla="*/ 0 w 435"/>
                  <a:gd name="T51" fmla="*/ 156 h 326"/>
                  <a:gd name="T52" fmla="*/ 21 w 435"/>
                  <a:gd name="T53" fmla="*/ 140 h 326"/>
                  <a:gd name="T54" fmla="*/ 66 w 435"/>
                  <a:gd name="T55" fmla="*/ 74 h 326"/>
                  <a:gd name="T56" fmla="*/ 83 w 435"/>
                  <a:gd name="T57" fmla="*/ 17 h 326"/>
                  <a:gd name="T58" fmla="*/ 175 w 435"/>
                  <a:gd name="T59" fmla="*/ 0 h 326"/>
                  <a:gd name="T60" fmla="*/ 255 w 435"/>
                  <a:gd name="T61" fmla="*/ 50 h 326"/>
                  <a:gd name="T62" fmla="*/ 272 w 435"/>
                  <a:gd name="T63" fmla="*/ 50 h 326"/>
                  <a:gd name="T64" fmla="*/ 283 w 435"/>
                  <a:gd name="T65" fmla="*/ 50 h 326"/>
                  <a:gd name="T66" fmla="*/ 309 w 435"/>
                  <a:gd name="T67" fmla="*/ 100 h 326"/>
                  <a:gd name="T68" fmla="*/ 326 w 435"/>
                  <a:gd name="T69" fmla="*/ 107 h 326"/>
                  <a:gd name="T70" fmla="*/ 347 w 435"/>
                  <a:gd name="T71" fmla="*/ 128 h 326"/>
                  <a:gd name="T72" fmla="*/ 368 w 435"/>
                  <a:gd name="T73" fmla="*/ 178 h 326"/>
                  <a:gd name="T74" fmla="*/ 385 w 435"/>
                  <a:gd name="T75" fmla="*/ 215 h 326"/>
                  <a:gd name="T76" fmla="*/ 401 w 435"/>
                  <a:gd name="T77" fmla="*/ 256 h 326"/>
                  <a:gd name="T78" fmla="*/ 406 w 435"/>
                  <a:gd name="T79" fmla="*/ 251 h 326"/>
                  <a:gd name="T80" fmla="*/ 435 w 435"/>
                  <a:gd name="T81" fmla="*/ 322 h 326"/>
                  <a:gd name="T82" fmla="*/ 364 w 435"/>
                  <a:gd name="T83" fmla="*/ 326 h 326"/>
                  <a:gd name="T84" fmla="*/ 309 w 435"/>
                  <a:gd name="T85" fmla="*/ 322 h 326"/>
                  <a:gd name="T86" fmla="*/ 260 w 435"/>
                  <a:gd name="T87" fmla="*/ 305 h 326"/>
                  <a:gd name="T88" fmla="*/ 222 w 435"/>
                  <a:gd name="T89" fmla="*/ 30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5" h="326">
                    <a:moveTo>
                      <a:pt x="222" y="305"/>
                    </a:moveTo>
                    <a:lnTo>
                      <a:pt x="163" y="305"/>
                    </a:lnTo>
                    <a:lnTo>
                      <a:pt x="120" y="322"/>
                    </a:lnTo>
                    <a:lnTo>
                      <a:pt x="92" y="322"/>
                    </a:lnTo>
                    <a:lnTo>
                      <a:pt x="54" y="326"/>
                    </a:lnTo>
                    <a:lnTo>
                      <a:pt x="45" y="322"/>
                    </a:lnTo>
                    <a:lnTo>
                      <a:pt x="59" y="305"/>
                    </a:lnTo>
                    <a:lnTo>
                      <a:pt x="75" y="310"/>
                    </a:lnTo>
                    <a:lnTo>
                      <a:pt x="99" y="305"/>
                    </a:lnTo>
                    <a:lnTo>
                      <a:pt x="130" y="310"/>
                    </a:lnTo>
                    <a:lnTo>
                      <a:pt x="137" y="305"/>
                    </a:lnTo>
                    <a:lnTo>
                      <a:pt x="137" y="293"/>
                    </a:lnTo>
                    <a:lnTo>
                      <a:pt x="146" y="289"/>
                    </a:lnTo>
                    <a:lnTo>
                      <a:pt x="137" y="293"/>
                    </a:lnTo>
                    <a:lnTo>
                      <a:pt x="137" y="305"/>
                    </a:lnTo>
                    <a:lnTo>
                      <a:pt x="130" y="310"/>
                    </a:lnTo>
                    <a:lnTo>
                      <a:pt x="109" y="310"/>
                    </a:lnTo>
                    <a:lnTo>
                      <a:pt x="99" y="293"/>
                    </a:lnTo>
                    <a:lnTo>
                      <a:pt x="99" y="305"/>
                    </a:lnTo>
                    <a:lnTo>
                      <a:pt x="75" y="310"/>
                    </a:lnTo>
                    <a:lnTo>
                      <a:pt x="59" y="305"/>
                    </a:lnTo>
                    <a:lnTo>
                      <a:pt x="59" y="293"/>
                    </a:lnTo>
                    <a:lnTo>
                      <a:pt x="54" y="310"/>
                    </a:lnTo>
                    <a:lnTo>
                      <a:pt x="54" y="272"/>
                    </a:lnTo>
                    <a:lnTo>
                      <a:pt x="54" y="267"/>
                    </a:lnTo>
                    <a:lnTo>
                      <a:pt x="113" y="267"/>
                    </a:lnTo>
                    <a:lnTo>
                      <a:pt x="113" y="256"/>
                    </a:lnTo>
                    <a:lnTo>
                      <a:pt x="151" y="251"/>
                    </a:lnTo>
                    <a:lnTo>
                      <a:pt x="168" y="232"/>
                    </a:lnTo>
                    <a:lnTo>
                      <a:pt x="222" y="267"/>
                    </a:lnTo>
                    <a:lnTo>
                      <a:pt x="255" y="256"/>
                    </a:lnTo>
                    <a:lnTo>
                      <a:pt x="260" y="251"/>
                    </a:lnTo>
                    <a:lnTo>
                      <a:pt x="243" y="232"/>
                    </a:lnTo>
                    <a:lnTo>
                      <a:pt x="222" y="251"/>
                    </a:lnTo>
                    <a:lnTo>
                      <a:pt x="205" y="232"/>
                    </a:lnTo>
                    <a:lnTo>
                      <a:pt x="191" y="232"/>
                    </a:lnTo>
                    <a:lnTo>
                      <a:pt x="184" y="222"/>
                    </a:lnTo>
                    <a:lnTo>
                      <a:pt x="168" y="215"/>
                    </a:lnTo>
                    <a:lnTo>
                      <a:pt x="146" y="222"/>
                    </a:lnTo>
                    <a:lnTo>
                      <a:pt x="137" y="232"/>
                    </a:lnTo>
                    <a:lnTo>
                      <a:pt x="59" y="232"/>
                    </a:lnTo>
                    <a:lnTo>
                      <a:pt x="59" y="222"/>
                    </a:lnTo>
                    <a:lnTo>
                      <a:pt x="66" y="211"/>
                    </a:lnTo>
                    <a:lnTo>
                      <a:pt x="54" y="222"/>
                    </a:lnTo>
                    <a:lnTo>
                      <a:pt x="54" y="211"/>
                    </a:lnTo>
                    <a:lnTo>
                      <a:pt x="75" y="194"/>
                    </a:lnTo>
                    <a:lnTo>
                      <a:pt x="66" y="194"/>
                    </a:lnTo>
                    <a:lnTo>
                      <a:pt x="59" y="199"/>
                    </a:lnTo>
                    <a:lnTo>
                      <a:pt x="45" y="199"/>
                    </a:lnTo>
                    <a:lnTo>
                      <a:pt x="21" y="156"/>
                    </a:lnTo>
                    <a:lnTo>
                      <a:pt x="7" y="156"/>
                    </a:lnTo>
                    <a:lnTo>
                      <a:pt x="0" y="156"/>
                    </a:lnTo>
                    <a:lnTo>
                      <a:pt x="0" y="156"/>
                    </a:lnTo>
                    <a:lnTo>
                      <a:pt x="21" y="140"/>
                    </a:lnTo>
                    <a:lnTo>
                      <a:pt x="45" y="111"/>
                    </a:lnTo>
                    <a:lnTo>
                      <a:pt x="66" y="74"/>
                    </a:lnTo>
                    <a:lnTo>
                      <a:pt x="66" y="50"/>
                    </a:lnTo>
                    <a:lnTo>
                      <a:pt x="83" y="17"/>
                    </a:lnTo>
                    <a:lnTo>
                      <a:pt x="130" y="17"/>
                    </a:lnTo>
                    <a:lnTo>
                      <a:pt x="175" y="0"/>
                    </a:lnTo>
                    <a:lnTo>
                      <a:pt x="222" y="12"/>
                    </a:lnTo>
                    <a:lnTo>
                      <a:pt x="255" y="50"/>
                    </a:lnTo>
                    <a:lnTo>
                      <a:pt x="260" y="45"/>
                    </a:lnTo>
                    <a:lnTo>
                      <a:pt x="272" y="50"/>
                    </a:lnTo>
                    <a:lnTo>
                      <a:pt x="276" y="50"/>
                    </a:lnTo>
                    <a:lnTo>
                      <a:pt x="283" y="50"/>
                    </a:lnTo>
                    <a:lnTo>
                      <a:pt x="298" y="83"/>
                    </a:lnTo>
                    <a:lnTo>
                      <a:pt x="309" y="100"/>
                    </a:lnTo>
                    <a:lnTo>
                      <a:pt x="314" y="100"/>
                    </a:lnTo>
                    <a:lnTo>
                      <a:pt x="326" y="107"/>
                    </a:lnTo>
                    <a:lnTo>
                      <a:pt x="326" y="111"/>
                    </a:lnTo>
                    <a:lnTo>
                      <a:pt x="347" y="128"/>
                    </a:lnTo>
                    <a:lnTo>
                      <a:pt x="368" y="144"/>
                    </a:lnTo>
                    <a:lnTo>
                      <a:pt x="368" y="178"/>
                    </a:lnTo>
                    <a:lnTo>
                      <a:pt x="385" y="194"/>
                    </a:lnTo>
                    <a:lnTo>
                      <a:pt x="385" y="215"/>
                    </a:lnTo>
                    <a:lnTo>
                      <a:pt x="380" y="232"/>
                    </a:lnTo>
                    <a:lnTo>
                      <a:pt x="401" y="256"/>
                    </a:lnTo>
                    <a:lnTo>
                      <a:pt x="401" y="251"/>
                    </a:lnTo>
                    <a:lnTo>
                      <a:pt x="406" y="251"/>
                    </a:lnTo>
                    <a:lnTo>
                      <a:pt x="435" y="277"/>
                    </a:lnTo>
                    <a:lnTo>
                      <a:pt x="435" y="322"/>
                    </a:lnTo>
                    <a:lnTo>
                      <a:pt x="385" y="322"/>
                    </a:lnTo>
                    <a:lnTo>
                      <a:pt x="364" y="326"/>
                    </a:lnTo>
                    <a:lnTo>
                      <a:pt x="326" y="310"/>
                    </a:lnTo>
                    <a:lnTo>
                      <a:pt x="309" y="322"/>
                    </a:lnTo>
                    <a:lnTo>
                      <a:pt x="309" y="305"/>
                    </a:lnTo>
                    <a:lnTo>
                      <a:pt x="260" y="305"/>
                    </a:lnTo>
                    <a:lnTo>
                      <a:pt x="222" y="305"/>
                    </a:lnTo>
                    <a:lnTo>
                      <a:pt x="222" y="305"/>
                    </a:lnTo>
                    <a:lnTo>
                      <a:pt x="222" y="30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78" name="Freeform 551">
                <a:extLst>
                  <a:ext uri="{FF2B5EF4-FFF2-40B4-BE49-F238E27FC236}">
                    <a16:creationId xmlns:a16="http://schemas.microsoft.com/office/drawing/2014/main" id="{34408EE1-3583-4956-A170-C7EE4853B416}"/>
                  </a:ext>
                </a:extLst>
              </p:cNvPr>
              <p:cNvSpPr>
                <a:spLocks noEditPoints="1"/>
              </p:cNvSpPr>
              <p:nvPr/>
            </p:nvSpPr>
            <p:spPr bwMode="gray">
              <a:xfrm>
                <a:off x="6310037" y="4298917"/>
                <a:ext cx="249060" cy="921832"/>
              </a:xfrm>
              <a:custGeom>
                <a:avLst/>
                <a:gdLst>
                  <a:gd name="T0" fmla="*/ 0 w 605"/>
                  <a:gd name="T1" fmla="*/ 5 h 2239"/>
                  <a:gd name="T2" fmla="*/ 0 w 605"/>
                  <a:gd name="T3" fmla="*/ 0 h 2239"/>
                  <a:gd name="T4" fmla="*/ 5 w 605"/>
                  <a:gd name="T5" fmla="*/ 5 h 2239"/>
                  <a:gd name="T6" fmla="*/ 0 w 605"/>
                  <a:gd name="T7" fmla="*/ 5 h 2239"/>
                  <a:gd name="T8" fmla="*/ 0 w 605"/>
                  <a:gd name="T9" fmla="*/ 5 h 2239"/>
                  <a:gd name="T10" fmla="*/ 0 w 605"/>
                  <a:gd name="T11" fmla="*/ 5 h 2239"/>
                  <a:gd name="T12" fmla="*/ 605 w 605"/>
                  <a:gd name="T13" fmla="*/ 593 h 2239"/>
                  <a:gd name="T14" fmla="*/ 600 w 605"/>
                  <a:gd name="T15" fmla="*/ 593 h 2239"/>
                  <a:gd name="T16" fmla="*/ 605 w 605"/>
                  <a:gd name="T17" fmla="*/ 588 h 2239"/>
                  <a:gd name="T18" fmla="*/ 605 w 605"/>
                  <a:gd name="T19" fmla="*/ 593 h 2239"/>
                  <a:gd name="T20" fmla="*/ 605 w 605"/>
                  <a:gd name="T21" fmla="*/ 593 h 2239"/>
                  <a:gd name="T22" fmla="*/ 605 w 605"/>
                  <a:gd name="T23" fmla="*/ 593 h 2239"/>
                  <a:gd name="T24" fmla="*/ 146 w 605"/>
                  <a:gd name="T25" fmla="*/ 2239 h 2239"/>
                  <a:gd name="T26" fmla="*/ 146 w 605"/>
                  <a:gd name="T27" fmla="*/ 2235 h 2239"/>
                  <a:gd name="T28" fmla="*/ 151 w 605"/>
                  <a:gd name="T29" fmla="*/ 2235 h 2239"/>
                  <a:gd name="T30" fmla="*/ 146 w 605"/>
                  <a:gd name="T31" fmla="*/ 2239 h 2239"/>
                  <a:gd name="T32" fmla="*/ 146 w 605"/>
                  <a:gd name="T33" fmla="*/ 2239 h 2239"/>
                  <a:gd name="T34" fmla="*/ 146 w 605"/>
                  <a:gd name="T35" fmla="*/ 2239 h 2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5" h="2239">
                    <a:moveTo>
                      <a:pt x="0" y="5"/>
                    </a:moveTo>
                    <a:lnTo>
                      <a:pt x="0" y="0"/>
                    </a:lnTo>
                    <a:lnTo>
                      <a:pt x="5" y="5"/>
                    </a:lnTo>
                    <a:lnTo>
                      <a:pt x="0" y="5"/>
                    </a:lnTo>
                    <a:lnTo>
                      <a:pt x="0" y="5"/>
                    </a:lnTo>
                    <a:lnTo>
                      <a:pt x="0" y="5"/>
                    </a:lnTo>
                    <a:close/>
                    <a:moveTo>
                      <a:pt x="605" y="593"/>
                    </a:moveTo>
                    <a:lnTo>
                      <a:pt x="600" y="593"/>
                    </a:lnTo>
                    <a:lnTo>
                      <a:pt x="605" y="588"/>
                    </a:lnTo>
                    <a:lnTo>
                      <a:pt x="605" y="593"/>
                    </a:lnTo>
                    <a:lnTo>
                      <a:pt x="605" y="593"/>
                    </a:lnTo>
                    <a:lnTo>
                      <a:pt x="605" y="593"/>
                    </a:lnTo>
                    <a:close/>
                    <a:moveTo>
                      <a:pt x="146" y="2239"/>
                    </a:moveTo>
                    <a:lnTo>
                      <a:pt x="146" y="2235"/>
                    </a:lnTo>
                    <a:lnTo>
                      <a:pt x="151" y="2235"/>
                    </a:lnTo>
                    <a:lnTo>
                      <a:pt x="146" y="2239"/>
                    </a:lnTo>
                    <a:lnTo>
                      <a:pt x="146" y="2239"/>
                    </a:lnTo>
                    <a:lnTo>
                      <a:pt x="146" y="223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79" name="Freeform 553">
                <a:extLst>
                  <a:ext uri="{FF2B5EF4-FFF2-40B4-BE49-F238E27FC236}">
                    <a16:creationId xmlns:a16="http://schemas.microsoft.com/office/drawing/2014/main" id="{CF524EE1-5545-4E73-A415-C97AE1AF46CC}"/>
                  </a:ext>
                </a:extLst>
              </p:cNvPr>
              <p:cNvSpPr>
                <a:spLocks noEditPoints="1"/>
              </p:cNvSpPr>
              <p:nvPr/>
            </p:nvSpPr>
            <p:spPr bwMode="gray">
              <a:xfrm>
                <a:off x="6342147" y="3766980"/>
                <a:ext cx="88509" cy="93459"/>
              </a:xfrm>
              <a:custGeom>
                <a:avLst/>
                <a:gdLst>
                  <a:gd name="T0" fmla="*/ 165 w 215"/>
                  <a:gd name="T1" fmla="*/ 184 h 227"/>
                  <a:gd name="T2" fmla="*/ 139 w 215"/>
                  <a:gd name="T3" fmla="*/ 206 h 227"/>
                  <a:gd name="T4" fmla="*/ 127 w 215"/>
                  <a:gd name="T5" fmla="*/ 227 h 227"/>
                  <a:gd name="T6" fmla="*/ 97 w 215"/>
                  <a:gd name="T7" fmla="*/ 217 h 227"/>
                  <a:gd name="T8" fmla="*/ 52 w 215"/>
                  <a:gd name="T9" fmla="*/ 189 h 227"/>
                  <a:gd name="T10" fmla="*/ 59 w 215"/>
                  <a:gd name="T11" fmla="*/ 184 h 227"/>
                  <a:gd name="T12" fmla="*/ 75 w 215"/>
                  <a:gd name="T13" fmla="*/ 173 h 227"/>
                  <a:gd name="T14" fmla="*/ 59 w 215"/>
                  <a:gd name="T15" fmla="*/ 184 h 227"/>
                  <a:gd name="T16" fmla="*/ 21 w 215"/>
                  <a:gd name="T17" fmla="*/ 161 h 227"/>
                  <a:gd name="T18" fmla="*/ 30 w 215"/>
                  <a:gd name="T19" fmla="*/ 151 h 227"/>
                  <a:gd name="T20" fmla="*/ 21 w 215"/>
                  <a:gd name="T21" fmla="*/ 128 h 227"/>
                  <a:gd name="T22" fmla="*/ 16 w 215"/>
                  <a:gd name="T23" fmla="*/ 132 h 227"/>
                  <a:gd name="T24" fmla="*/ 0 w 215"/>
                  <a:gd name="T25" fmla="*/ 111 h 227"/>
                  <a:gd name="T26" fmla="*/ 16 w 215"/>
                  <a:gd name="T27" fmla="*/ 116 h 227"/>
                  <a:gd name="T28" fmla="*/ 16 w 215"/>
                  <a:gd name="T29" fmla="*/ 116 h 227"/>
                  <a:gd name="T30" fmla="*/ 30 w 215"/>
                  <a:gd name="T31" fmla="*/ 111 h 227"/>
                  <a:gd name="T32" fmla="*/ 5 w 215"/>
                  <a:gd name="T33" fmla="*/ 111 h 227"/>
                  <a:gd name="T34" fmla="*/ 5 w 215"/>
                  <a:gd name="T35" fmla="*/ 90 h 227"/>
                  <a:gd name="T36" fmla="*/ 16 w 215"/>
                  <a:gd name="T37" fmla="*/ 90 h 227"/>
                  <a:gd name="T38" fmla="*/ 0 w 215"/>
                  <a:gd name="T39" fmla="*/ 73 h 227"/>
                  <a:gd name="T40" fmla="*/ 16 w 215"/>
                  <a:gd name="T41" fmla="*/ 73 h 227"/>
                  <a:gd name="T42" fmla="*/ 21 w 215"/>
                  <a:gd name="T43" fmla="*/ 57 h 227"/>
                  <a:gd name="T44" fmla="*/ 42 w 215"/>
                  <a:gd name="T45" fmla="*/ 50 h 227"/>
                  <a:gd name="T46" fmla="*/ 59 w 215"/>
                  <a:gd name="T47" fmla="*/ 5 h 227"/>
                  <a:gd name="T48" fmla="*/ 75 w 215"/>
                  <a:gd name="T49" fmla="*/ 5 h 227"/>
                  <a:gd name="T50" fmla="*/ 85 w 215"/>
                  <a:gd name="T51" fmla="*/ 17 h 227"/>
                  <a:gd name="T52" fmla="*/ 97 w 215"/>
                  <a:gd name="T53" fmla="*/ 5 h 227"/>
                  <a:gd name="T54" fmla="*/ 97 w 215"/>
                  <a:gd name="T55" fmla="*/ 0 h 227"/>
                  <a:gd name="T56" fmla="*/ 144 w 215"/>
                  <a:gd name="T57" fmla="*/ 0 h 227"/>
                  <a:gd name="T58" fmla="*/ 182 w 215"/>
                  <a:gd name="T59" fmla="*/ 57 h 227"/>
                  <a:gd name="T60" fmla="*/ 177 w 215"/>
                  <a:gd name="T61" fmla="*/ 73 h 227"/>
                  <a:gd name="T62" fmla="*/ 193 w 215"/>
                  <a:gd name="T63" fmla="*/ 73 h 227"/>
                  <a:gd name="T64" fmla="*/ 193 w 215"/>
                  <a:gd name="T65" fmla="*/ 90 h 227"/>
                  <a:gd name="T66" fmla="*/ 198 w 215"/>
                  <a:gd name="T67" fmla="*/ 95 h 227"/>
                  <a:gd name="T68" fmla="*/ 182 w 215"/>
                  <a:gd name="T69" fmla="*/ 128 h 227"/>
                  <a:gd name="T70" fmla="*/ 215 w 215"/>
                  <a:gd name="T71" fmla="*/ 111 h 227"/>
                  <a:gd name="T72" fmla="*/ 203 w 215"/>
                  <a:gd name="T73" fmla="*/ 132 h 227"/>
                  <a:gd name="T74" fmla="*/ 193 w 215"/>
                  <a:gd name="T75" fmla="*/ 144 h 227"/>
                  <a:gd name="T76" fmla="*/ 193 w 215"/>
                  <a:gd name="T77" fmla="*/ 168 h 227"/>
                  <a:gd name="T78" fmla="*/ 165 w 215"/>
                  <a:gd name="T79" fmla="*/ 184 h 227"/>
                  <a:gd name="T80" fmla="*/ 165 w 215"/>
                  <a:gd name="T81" fmla="*/ 184 h 227"/>
                  <a:gd name="T82" fmla="*/ 165 w 215"/>
                  <a:gd name="T83" fmla="*/ 184 h 227"/>
                  <a:gd name="T84" fmla="*/ 30 w 215"/>
                  <a:gd name="T85" fmla="*/ 173 h 227"/>
                  <a:gd name="T86" fmla="*/ 52 w 215"/>
                  <a:gd name="T87" fmla="*/ 173 h 227"/>
                  <a:gd name="T88" fmla="*/ 52 w 215"/>
                  <a:gd name="T89" fmla="*/ 184 h 227"/>
                  <a:gd name="T90" fmla="*/ 52 w 215"/>
                  <a:gd name="T91" fmla="*/ 189 h 227"/>
                  <a:gd name="T92" fmla="*/ 21 w 215"/>
                  <a:gd name="T93" fmla="*/ 184 h 227"/>
                  <a:gd name="T94" fmla="*/ 30 w 215"/>
                  <a:gd name="T95" fmla="*/ 173 h 227"/>
                  <a:gd name="T96" fmla="*/ 30 w 215"/>
                  <a:gd name="T97" fmla="*/ 173 h 227"/>
                  <a:gd name="T98" fmla="*/ 30 w 215"/>
                  <a:gd name="T99" fmla="*/ 17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5" h="227">
                    <a:moveTo>
                      <a:pt x="165" y="184"/>
                    </a:moveTo>
                    <a:lnTo>
                      <a:pt x="139" y="206"/>
                    </a:lnTo>
                    <a:lnTo>
                      <a:pt x="127" y="227"/>
                    </a:lnTo>
                    <a:lnTo>
                      <a:pt x="97" y="217"/>
                    </a:lnTo>
                    <a:lnTo>
                      <a:pt x="52" y="189"/>
                    </a:lnTo>
                    <a:lnTo>
                      <a:pt x="59" y="184"/>
                    </a:lnTo>
                    <a:lnTo>
                      <a:pt x="75" y="173"/>
                    </a:lnTo>
                    <a:lnTo>
                      <a:pt x="59" y="184"/>
                    </a:lnTo>
                    <a:lnTo>
                      <a:pt x="21" y="161"/>
                    </a:lnTo>
                    <a:lnTo>
                      <a:pt x="30" y="151"/>
                    </a:lnTo>
                    <a:lnTo>
                      <a:pt x="21" y="128"/>
                    </a:lnTo>
                    <a:lnTo>
                      <a:pt x="16" y="132"/>
                    </a:lnTo>
                    <a:lnTo>
                      <a:pt x="0" y="111"/>
                    </a:lnTo>
                    <a:lnTo>
                      <a:pt x="16" y="116"/>
                    </a:lnTo>
                    <a:lnTo>
                      <a:pt x="16" y="116"/>
                    </a:lnTo>
                    <a:lnTo>
                      <a:pt x="30" y="111"/>
                    </a:lnTo>
                    <a:lnTo>
                      <a:pt x="5" y="111"/>
                    </a:lnTo>
                    <a:lnTo>
                      <a:pt x="5" y="90"/>
                    </a:lnTo>
                    <a:lnTo>
                      <a:pt x="16" y="90"/>
                    </a:lnTo>
                    <a:lnTo>
                      <a:pt x="0" y="73"/>
                    </a:lnTo>
                    <a:lnTo>
                      <a:pt x="16" y="73"/>
                    </a:lnTo>
                    <a:lnTo>
                      <a:pt x="21" y="57"/>
                    </a:lnTo>
                    <a:lnTo>
                      <a:pt x="42" y="50"/>
                    </a:lnTo>
                    <a:lnTo>
                      <a:pt x="59" y="5"/>
                    </a:lnTo>
                    <a:lnTo>
                      <a:pt x="75" y="5"/>
                    </a:lnTo>
                    <a:lnTo>
                      <a:pt x="85" y="17"/>
                    </a:lnTo>
                    <a:lnTo>
                      <a:pt x="97" y="5"/>
                    </a:lnTo>
                    <a:lnTo>
                      <a:pt x="97" y="0"/>
                    </a:lnTo>
                    <a:lnTo>
                      <a:pt x="144" y="0"/>
                    </a:lnTo>
                    <a:lnTo>
                      <a:pt x="182" y="57"/>
                    </a:lnTo>
                    <a:lnTo>
                      <a:pt x="177" y="73"/>
                    </a:lnTo>
                    <a:lnTo>
                      <a:pt x="193" y="73"/>
                    </a:lnTo>
                    <a:lnTo>
                      <a:pt x="193" y="90"/>
                    </a:lnTo>
                    <a:lnTo>
                      <a:pt x="198" y="95"/>
                    </a:lnTo>
                    <a:lnTo>
                      <a:pt x="182" y="128"/>
                    </a:lnTo>
                    <a:lnTo>
                      <a:pt x="215" y="111"/>
                    </a:lnTo>
                    <a:lnTo>
                      <a:pt x="203" y="132"/>
                    </a:lnTo>
                    <a:lnTo>
                      <a:pt x="193" y="144"/>
                    </a:lnTo>
                    <a:lnTo>
                      <a:pt x="193" y="168"/>
                    </a:lnTo>
                    <a:lnTo>
                      <a:pt x="165" y="184"/>
                    </a:lnTo>
                    <a:lnTo>
                      <a:pt x="165" y="184"/>
                    </a:lnTo>
                    <a:lnTo>
                      <a:pt x="165" y="184"/>
                    </a:lnTo>
                    <a:close/>
                    <a:moveTo>
                      <a:pt x="30" y="173"/>
                    </a:moveTo>
                    <a:lnTo>
                      <a:pt x="52" y="173"/>
                    </a:lnTo>
                    <a:lnTo>
                      <a:pt x="52" y="184"/>
                    </a:lnTo>
                    <a:lnTo>
                      <a:pt x="52" y="189"/>
                    </a:lnTo>
                    <a:lnTo>
                      <a:pt x="21" y="184"/>
                    </a:lnTo>
                    <a:lnTo>
                      <a:pt x="30" y="173"/>
                    </a:lnTo>
                    <a:lnTo>
                      <a:pt x="30" y="173"/>
                    </a:lnTo>
                    <a:lnTo>
                      <a:pt x="30" y="17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80" name="Freeform 556">
                <a:extLst>
                  <a:ext uri="{FF2B5EF4-FFF2-40B4-BE49-F238E27FC236}">
                    <a16:creationId xmlns:a16="http://schemas.microsoft.com/office/drawing/2014/main" id="{EEEC2A44-3321-4847-B70D-52B4CE7452B0}"/>
                  </a:ext>
                </a:extLst>
              </p:cNvPr>
              <p:cNvSpPr>
                <a:spLocks/>
              </p:cNvSpPr>
              <p:nvPr/>
            </p:nvSpPr>
            <p:spPr bwMode="gray">
              <a:xfrm>
                <a:off x="7910610" y="3706868"/>
                <a:ext cx="298461" cy="408422"/>
              </a:xfrm>
              <a:custGeom>
                <a:avLst/>
                <a:gdLst>
                  <a:gd name="T0" fmla="*/ 130 w 725"/>
                  <a:gd name="T1" fmla="*/ 555 h 992"/>
                  <a:gd name="T2" fmla="*/ 184 w 725"/>
                  <a:gd name="T3" fmla="*/ 515 h 992"/>
                  <a:gd name="T4" fmla="*/ 276 w 725"/>
                  <a:gd name="T5" fmla="*/ 515 h 992"/>
                  <a:gd name="T6" fmla="*/ 416 w 725"/>
                  <a:gd name="T7" fmla="*/ 295 h 992"/>
                  <a:gd name="T8" fmla="*/ 184 w 725"/>
                  <a:gd name="T9" fmla="*/ 193 h 992"/>
                  <a:gd name="T10" fmla="*/ 151 w 725"/>
                  <a:gd name="T11" fmla="*/ 151 h 992"/>
                  <a:gd name="T12" fmla="*/ 130 w 725"/>
                  <a:gd name="T13" fmla="*/ 127 h 992"/>
                  <a:gd name="T14" fmla="*/ 130 w 725"/>
                  <a:gd name="T15" fmla="*/ 73 h 992"/>
                  <a:gd name="T16" fmla="*/ 168 w 725"/>
                  <a:gd name="T17" fmla="*/ 49 h 992"/>
                  <a:gd name="T18" fmla="*/ 234 w 725"/>
                  <a:gd name="T19" fmla="*/ 111 h 992"/>
                  <a:gd name="T20" fmla="*/ 331 w 725"/>
                  <a:gd name="T21" fmla="*/ 85 h 992"/>
                  <a:gd name="T22" fmla="*/ 449 w 725"/>
                  <a:gd name="T23" fmla="*/ 66 h 992"/>
                  <a:gd name="T24" fmla="*/ 503 w 725"/>
                  <a:gd name="T25" fmla="*/ 66 h 992"/>
                  <a:gd name="T26" fmla="*/ 557 w 725"/>
                  <a:gd name="T27" fmla="*/ 56 h 992"/>
                  <a:gd name="T28" fmla="*/ 600 w 725"/>
                  <a:gd name="T29" fmla="*/ 40 h 992"/>
                  <a:gd name="T30" fmla="*/ 654 w 725"/>
                  <a:gd name="T31" fmla="*/ 28 h 992"/>
                  <a:gd name="T32" fmla="*/ 687 w 725"/>
                  <a:gd name="T33" fmla="*/ 0 h 992"/>
                  <a:gd name="T34" fmla="*/ 704 w 725"/>
                  <a:gd name="T35" fmla="*/ 49 h 992"/>
                  <a:gd name="T36" fmla="*/ 709 w 725"/>
                  <a:gd name="T37" fmla="*/ 66 h 992"/>
                  <a:gd name="T38" fmla="*/ 704 w 725"/>
                  <a:gd name="T39" fmla="*/ 111 h 992"/>
                  <a:gd name="T40" fmla="*/ 709 w 725"/>
                  <a:gd name="T41" fmla="*/ 106 h 992"/>
                  <a:gd name="T42" fmla="*/ 725 w 725"/>
                  <a:gd name="T43" fmla="*/ 122 h 992"/>
                  <a:gd name="T44" fmla="*/ 692 w 725"/>
                  <a:gd name="T45" fmla="*/ 122 h 992"/>
                  <a:gd name="T46" fmla="*/ 654 w 725"/>
                  <a:gd name="T47" fmla="*/ 233 h 992"/>
                  <a:gd name="T48" fmla="*/ 616 w 725"/>
                  <a:gd name="T49" fmla="*/ 295 h 992"/>
                  <a:gd name="T50" fmla="*/ 569 w 725"/>
                  <a:gd name="T51" fmla="*/ 382 h 992"/>
                  <a:gd name="T52" fmla="*/ 487 w 725"/>
                  <a:gd name="T53" fmla="*/ 548 h 992"/>
                  <a:gd name="T54" fmla="*/ 243 w 725"/>
                  <a:gd name="T55" fmla="*/ 753 h 992"/>
                  <a:gd name="T56" fmla="*/ 71 w 725"/>
                  <a:gd name="T57" fmla="*/ 937 h 992"/>
                  <a:gd name="T58" fmla="*/ 0 w 725"/>
                  <a:gd name="T59" fmla="*/ 937 h 992"/>
                  <a:gd name="T60" fmla="*/ 21 w 725"/>
                  <a:gd name="T61" fmla="*/ 642 h 992"/>
                  <a:gd name="T62" fmla="*/ 71 w 725"/>
                  <a:gd name="T63" fmla="*/ 571 h 992"/>
                  <a:gd name="T64" fmla="*/ 71 w 725"/>
                  <a:gd name="T65" fmla="*/ 571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5" h="992">
                    <a:moveTo>
                      <a:pt x="71" y="571"/>
                    </a:moveTo>
                    <a:lnTo>
                      <a:pt x="130" y="555"/>
                    </a:lnTo>
                    <a:lnTo>
                      <a:pt x="146" y="531"/>
                    </a:lnTo>
                    <a:lnTo>
                      <a:pt x="184" y="515"/>
                    </a:lnTo>
                    <a:lnTo>
                      <a:pt x="205" y="510"/>
                    </a:lnTo>
                    <a:lnTo>
                      <a:pt x="276" y="515"/>
                    </a:lnTo>
                    <a:lnTo>
                      <a:pt x="487" y="295"/>
                    </a:lnTo>
                    <a:lnTo>
                      <a:pt x="416" y="295"/>
                    </a:lnTo>
                    <a:lnTo>
                      <a:pt x="205" y="222"/>
                    </a:lnTo>
                    <a:lnTo>
                      <a:pt x="184" y="193"/>
                    </a:lnTo>
                    <a:lnTo>
                      <a:pt x="168" y="193"/>
                    </a:lnTo>
                    <a:lnTo>
                      <a:pt x="151" y="151"/>
                    </a:lnTo>
                    <a:lnTo>
                      <a:pt x="146" y="151"/>
                    </a:lnTo>
                    <a:lnTo>
                      <a:pt x="130" y="127"/>
                    </a:lnTo>
                    <a:lnTo>
                      <a:pt x="113" y="106"/>
                    </a:lnTo>
                    <a:lnTo>
                      <a:pt x="130" y="73"/>
                    </a:lnTo>
                    <a:lnTo>
                      <a:pt x="151" y="40"/>
                    </a:lnTo>
                    <a:lnTo>
                      <a:pt x="168" y="49"/>
                    </a:lnTo>
                    <a:lnTo>
                      <a:pt x="189" y="89"/>
                    </a:lnTo>
                    <a:lnTo>
                      <a:pt x="234" y="111"/>
                    </a:lnTo>
                    <a:lnTo>
                      <a:pt x="272" y="122"/>
                    </a:lnTo>
                    <a:lnTo>
                      <a:pt x="331" y="85"/>
                    </a:lnTo>
                    <a:lnTo>
                      <a:pt x="378" y="94"/>
                    </a:lnTo>
                    <a:lnTo>
                      <a:pt x="449" y="66"/>
                    </a:lnTo>
                    <a:lnTo>
                      <a:pt x="470" y="66"/>
                    </a:lnTo>
                    <a:lnTo>
                      <a:pt x="503" y="66"/>
                    </a:lnTo>
                    <a:lnTo>
                      <a:pt x="524" y="49"/>
                    </a:lnTo>
                    <a:lnTo>
                      <a:pt x="557" y="56"/>
                    </a:lnTo>
                    <a:lnTo>
                      <a:pt x="583" y="49"/>
                    </a:lnTo>
                    <a:lnTo>
                      <a:pt x="600" y="40"/>
                    </a:lnTo>
                    <a:lnTo>
                      <a:pt x="633" y="40"/>
                    </a:lnTo>
                    <a:lnTo>
                      <a:pt x="654" y="28"/>
                    </a:lnTo>
                    <a:lnTo>
                      <a:pt x="671" y="11"/>
                    </a:lnTo>
                    <a:lnTo>
                      <a:pt x="687" y="0"/>
                    </a:lnTo>
                    <a:lnTo>
                      <a:pt x="720" y="11"/>
                    </a:lnTo>
                    <a:lnTo>
                      <a:pt x="704" y="49"/>
                    </a:lnTo>
                    <a:lnTo>
                      <a:pt x="704" y="56"/>
                    </a:lnTo>
                    <a:lnTo>
                      <a:pt x="709" y="66"/>
                    </a:lnTo>
                    <a:lnTo>
                      <a:pt x="709" y="106"/>
                    </a:lnTo>
                    <a:lnTo>
                      <a:pt x="704" y="111"/>
                    </a:lnTo>
                    <a:lnTo>
                      <a:pt x="709" y="111"/>
                    </a:lnTo>
                    <a:lnTo>
                      <a:pt x="709" y="106"/>
                    </a:lnTo>
                    <a:lnTo>
                      <a:pt x="725" y="111"/>
                    </a:lnTo>
                    <a:lnTo>
                      <a:pt x="725" y="122"/>
                    </a:lnTo>
                    <a:lnTo>
                      <a:pt x="720" y="111"/>
                    </a:lnTo>
                    <a:lnTo>
                      <a:pt x="692" y="122"/>
                    </a:lnTo>
                    <a:lnTo>
                      <a:pt x="687" y="193"/>
                    </a:lnTo>
                    <a:lnTo>
                      <a:pt x="654" y="233"/>
                    </a:lnTo>
                    <a:lnTo>
                      <a:pt x="638" y="278"/>
                    </a:lnTo>
                    <a:lnTo>
                      <a:pt x="616" y="295"/>
                    </a:lnTo>
                    <a:lnTo>
                      <a:pt x="612" y="328"/>
                    </a:lnTo>
                    <a:lnTo>
                      <a:pt x="569" y="382"/>
                    </a:lnTo>
                    <a:lnTo>
                      <a:pt x="562" y="427"/>
                    </a:lnTo>
                    <a:lnTo>
                      <a:pt x="487" y="548"/>
                    </a:lnTo>
                    <a:lnTo>
                      <a:pt x="347" y="699"/>
                    </a:lnTo>
                    <a:lnTo>
                      <a:pt x="243" y="753"/>
                    </a:lnTo>
                    <a:lnTo>
                      <a:pt x="168" y="826"/>
                    </a:lnTo>
                    <a:lnTo>
                      <a:pt x="71" y="937"/>
                    </a:lnTo>
                    <a:lnTo>
                      <a:pt x="38" y="992"/>
                    </a:lnTo>
                    <a:lnTo>
                      <a:pt x="0" y="937"/>
                    </a:lnTo>
                    <a:lnTo>
                      <a:pt x="0" y="666"/>
                    </a:lnTo>
                    <a:lnTo>
                      <a:pt x="21" y="642"/>
                    </a:lnTo>
                    <a:lnTo>
                      <a:pt x="59" y="583"/>
                    </a:lnTo>
                    <a:lnTo>
                      <a:pt x="71" y="571"/>
                    </a:lnTo>
                    <a:lnTo>
                      <a:pt x="71" y="571"/>
                    </a:lnTo>
                    <a:lnTo>
                      <a:pt x="71" y="57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81" name="Freeform 563">
                <a:extLst>
                  <a:ext uri="{FF2B5EF4-FFF2-40B4-BE49-F238E27FC236}">
                    <a16:creationId xmlns:a16="http://schemas.microsoft.com/office/drawing/2014/main" id="{82F438DA-70F1-449A-A301-DA652F4E7632}"/>
                  </a:ext>
                </a:extLst>
              </p:cNvPr>
              <p:cNvSpPr>
                <a:spLocks/>
              </p:cNvSpPr>
              <p:nvPr/>
            </p:nvSpPr>
            <p:spPr bwMode="gray">
              <a:xfrm>
                <a:off x="7754999" y="2905258"/>
                <a:ext cx="194308" cy="167569"/>
              </a:xfrm>
              <a:custGeom>
                <a:avLst/>
                <a:gdLst>
                  <a:gd name="T0" fmla="*/ 0 w 472"/>
                  <a:gd name="T1" fmla="*/ 333 h 407"/>
                  <a:gd name="T2" fmla="*/ 0 w 472"/>
                  <a:gd name="T3" fmla="*/ 333 h 407"/>
                  <a:gd name="T4" fmla="*/ 28 w 472"/>
                  <a:gd name="T5" fmla="*/ 300 h 407"/>
                  <a:gd name="T6" fmla="*/ 21 w 472"/>
                  <a:gd name="T7" fmla="*/ 300 h 407"/>
                  <a:gd name="T8" fmla="*/ 28 w 472"/>
                  <a:gd name="T9" fmla="*/ 284 h 407"/>
                  <a:gd name="T10" fmla="*/ 54 w 472"/>
                  <a:gd name="T11" fmla="*/ 284 h 407"/>
                  <a:gd name="T12" fmla="*/ 43 w 472"/>
                  <a:gd name="T13" fmla="*/ 279 h 407"/>
                  <a:gd name="T14" fmla="*/ 71 w 472"/>
                  <a:gd name="T15" fmla="*/ 251 h 407"/>
                  <a:gd name="T16" fmla="*/ 59 w 472"/>
                  <a:gd name="T17" fmla="*/ 239 h 407"/>
                  <a:gd name="T18" fmla="*/ 43 w 472"/>
                  <a:gd name="T19" fmla="*/ 229 h 407"/>
                  <a:gd name="T20" fmla="*/ 54 w 472"/>
                  <a:gd name="T21" fmla="*/ 222 h 407"/>
                  <a:gd name="T22" fmla="*/ 21 w 472"/>
                  <a:gd name="T23" fmla="*/ 222 h 407"/>
                  <a:gd name="T24" fmla="*/ 17 w 472"/>
                  <a:gd name="T25" fmla="*/ 194 h 407"/>
                  <a:gd name="T26" fmla="*/ 21 w 472"/>
                  <a:gd name="T27" fmla="*/ 173 h 407"/>
                  <a:gd name="T28" fmla="*/ 21 w 472"/>
                  <a:gd name="T29" fmla="*/ 156 h 407"/>
                  <a:gd name="T30" fmla="*/ 5 w 472"/>
                  <a:gd name="T31" fmla="*/ 140 h 407"/>
                  <a:gd name="T32" fmla="*/ 21 w 472"/>
                  <a:gd name="T33" fmla="*/ 111 h 407"/>
                  <a:gd name="T34" fmla="*/ 38 w 472"/>
                  <a:gd name="T35" fmla="*/ 128 h 407"/>
                  <a:gd name="T36" fmla="*/ 38 w 472"/>
                  <a:gd name="T37" fmla="*/ 111 h 407"/>
                  <a:gd name="T38" fmla="*/ 54 w 472"/>
                  <a:gd name="T39" fmla="*/ 111 h 407"/>
                  <a:gd name="T40" fmla="*/ 54 w 472"/>
                  <a:gd name="T41" fmla="*/ 83 h 407"/>
                  <a:gd name="T42" fmla="*/ 76 w 472"/>
                  <a:gd name="T43" fmla="*/ 83 h 407"/>
                  <a:gd name="T44" fmla="*/ 59 w 472"/>
                  <a:gd name="T45" fmla="*/ 71 h 407"/>
                  <a:gd name="T46" fmla="*/ 71 w 472"/>
                  <a:gd name="T47" fmla="*/ 38 h 407"/>
                  <a:gd name="T48" fmla="*/ 109 w 472"/>
                  <a:gd name="T49" fmla="*/ 55 h 407"/>
                  <a:gd name="T50" fmla="*/ 125 w 472"/>
                  <a:gd name="T51" fmla="*/ 55 h 407"/>
                  <a:gd name="T52" fmla="*/ 184 w 472"/>
                  <a:gd name="T53" fmla="*/ 26 h 407"/>
                  <a:gd name="T54" fmla="*/ 201 w 472"/>
                  <a:gd name="T55" fmla="*/ 38 h 407"/>
                  <a:gd name="T56" fmla="*/ 217 w 472"/>
                  <a:gd name="T57" fmla="*/ 43 h 407"/>
                  <a:gd name="T58" fmla="*/ 255 w 472"/>
                  <a:gd name="T59" fmla="*/ 55 h 407"/>
                  <a:gd name="T60" fmla="*/ 293 w 472"/>
                  <a:gd name="T61" fmla="*/ 43 h 407"/>
                  <a:gd name="T62" fmla="*/ 364 w 472"/>
                  <a:gd name="T63" fmla="*/ 17 h 407"/>
                  <a:gd name="T64" fmla="*/ 418 w 472"/>
                  <a:gd name="T65" fmla="*/ 17 h 407"/>
                  <a:gd name="T66" fmla="*/ 451 w 472"/>
                  <a:gd name="T67" fmla="*/ 5 h 407"/>
                  <a:gd name="T68" fmla="*/ 456 w 472"/>
                  <a:gd name="T69" fmla="*/ 0 h 407"/>
                  <a:gd name="T70" fmla="*/ 472 w 472"/>
                  <a:gd name="T71" fmla="*/ 5 h 407"/>
                  <a:gd name="T72" fmla="*/ 472 w 472"/>
                  <a:gd name="T73" fmla="*/ 17 h 407"/>
                  <a:gd name="T74" fmla="*/ 435 w 472"/>
                  <a:gd name="T75" fmla="*/ 55 h 407"/>
                  <a:gd name="T76" fmla="*/ 402 w 472"/>
                  <a:gd name="T77" fmla="*/ 62 h 407"/>
                  <a:gd name="T78" fmla="*/ 397 w 472"/>
                  <a:gd name="T79" fmla="*/ 78 h 407"/>
                  <a:gd name="T80" fmla="*/ 397 w 472"/>
                  <a:gd name="T81" fmla="*/ 99 h 407"/>
                  <a:gd name="T82" fmla="*/ 402 w 472"/>
                  <a:gd name="T83" fmla="*/ 116 h 407"/>
                  <a:gd name="T84" fmla="*/ 402 w 472"/>
                  <a:gd name="T85" fmla="*/ 140 h 407"/>
                  <a:gd name="T86" fmla="*/ 397 w 472"/>
                  <a:gd name="T87" fmla="*/ 173 h 407"/>
                  <a:gd name="T88" fmla="*/ 397 w 472"/>
                  <a:gd name="T89" fmla="*/ 206 h 407"/>
                  <a:gd name="T90" fmla="*/ 380 w 472"/>
                  <a:gd name="T91" fmla="*/ 239 h 407"/>
                  <a:gd name="T92" fmla="*/ 222 w 472"/>
                  <a:gd name="T93" fmla="*/ 324 h 407"/>
                  <a:gd name="T94" fmla="*/ 83 w 472"/>
                  <a:gd name="T95" fmla="*/ 407 h 407"/>
                  <a:gd name="T96" fmla="*/ 54 w 472"/>
                  <a:gd name="T97" fmla="*/ 407 h 407"/>
                  <a:gd name="T98" fmla="*/ 28 w 472"/>
                  <a:gd name="T99" fmla="*/ 390 h 407"/>
                  <a:gd name="T100" fmla="*/ 21 w 472"/>
                  <a:gd name="T101" fmla="*/ 373 h 407"/>
                  <a:gd name="T102" fmla="*/ 0 w 472"/>
                  <a:gd name="T103" fmla="*/ 378 h 407"/>
                  <a:gd name="T104" fmla="*/ 0 w 472"/>
                  <a:gd name="T105" fmla="*/ 333 h 407"/>
                  <a:gd name="T106" fmla="*/ 0 w 472"/>
                  <a:gd name="T107" fmla="*/ 333 h 407"/>
                  <a:gd name="T108" fmla="*/ 0 w 472"/>
                  <a:gd name="T109" fmla="*/ 333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2" h="407">
                    <a:moveTo>
                      <a:pt x="0" y="333"/>
                    </a:moveTo>
                    <a:lnTo>
                      <a:pt x="0" y="333"/>
                    </a:lnTo>
                    <a:lnTo>
                      <a:pt x="28" y="300"/>
                    </a:lnTo>
                    <a:lnTo>
                      <a:pt x="21" y="300"/>
                    </a:lnTo>
                    <a:lnTo>
                      <a:pt x="28" y="284"/>
                    </a:lnTo>
                    <a:lnTo>
                      <a:pt x="54" y="284"/>
                    </a:lnTo>
                    <a:lnTo>
                      <a:pt x="43" y="279"/>
                    </a:lnTo>
                    <a:lnTo>
                      <a:pt x="71" y="251"/>
                    </a:lnTo>
                    <a:lnTo>
                      <a:pt x="59" y="239"/>
                    </a:lnTo>
                    <a:lnTo>
                      <a:pt x="43" y="229"/>
                    </a:lnTo>
                    <a:lnTo>
                      <a:pt x="54" y="222"/>
                    </a:lnTo>
                    <a:lnTo>
                      <a:pt x="21" y="222"/>
                    </a:lnTo>
                    <a:lnTo>
                      <a:pt x="17" y="194"/>
                    </a:lnTo>
                    <a:lnTo>
                      <a:pt x="21" y="173"/>
                    </a:lnTo>
                    <a:lnTo>
                      <a:pt x="21" y="156"/>
                    </a:lnTo>
                    <a:lnTo>
                      <a:pt x="5" y="140"/>
                    </a:lnTo>
                    <a:lnTo>
                      <a:pt x="21" y="111"/>
                    </a:lnTo>
                    <a:lnTo>
                      <a:pt x="38" y="128"/>
                    </a:lnTo>
                    <a:lnTo>
                      <a:pt x="38" y="111"/>
                    </a:lnTo>
                    <a:lnTo>
                      <a:pt x="54" y="111"/>
                    </a:lnTo>
                    <a:lnTo>
                      <a:pt x="54" y="83"/>
                    </a:lnTo>
                    <a:lnTo>
                      <a:pt x="76" y="83"/>
                    </a:lnTo>
                    <a:lnTo>
                      <a:pt x="59" y="71"/>
                    </a:lnTo>
                    <a:lnTo>
                      <a:pt x="71" y="38"/>
                    </a:lnTo>
                    <a:lnTo>
                      <a:pt x="109" y="55"/>
                    </a:lnTo>
                    <a:lnTo>
                      <a:pt x="125" y="55"/>
                    </a:lnTo>
                    <a:lnTo>
                      <a:pt x="184" y="26"/>
                    </a:lnTo>
                    <a:lnTo>
                      <a:pt x="201" y="38"/>
                    </a:lnTo>
                    <a:lnTo>
                      <a:pt x="217" y="43"/>
                    </a:lnTo>
                    <a:lnTo>
                      <a:pt x="255" y="55"/>
                    </a:lnTo>
                    <a:lnTo>
                      <a:pt x="293" y="43"/>
                    </a:lnTo>
                    <a:lnTo>
                      <a:pt x="364" y="17"/>
                    </a:lnTo>
                    <a:lnTo>
                      <a:pt x="418" y="17"/>
                    </a:lnTo>
                    <a:lnTo>
                      <a:pt x="451" y="5"/>
                    </a:lnTo>
                    <a:lnTo>
                      <a:pt x="456" y="0"/>
                    </a:lnTo>
                    <a:lnTo>
                      <a:pt x="472" y="5"/>
                    </a:lnTo>
                    <a:lnTo>
                      <a:pt x="472" y="17"/>
                    </a:lnTo>
                    <a:lnTo>
                      <a:pt x="435" y="55"/>
                    </a:lnTo>
                    <a:lnTo>
                      <a:pt x="402" y="62"/>
                    </a:lnTo>
                    <a:lnTo>
                      <a:pt x="397" y="78"/>
                    </a:lnTo>
                    <a:lnTo>
                      <a:pt x="397" y="99"/>
                    </a:lnTo>
                    <a:lnTo>
                      <a:pt x="402" y="116"/>
                    </a:lnTo>
                    <a:lnTo>
                      <a:pt x="402" y="140"/>
                    </a:lnTo>
                    <a:lnTo>
                      <a:pt x="397" y="173"/>
                    </a:lnTo>
                    <a:lnTo>
                      <a:pt x="397" y="206"/>
                    </a:lnTo>
                    <a:lnTo>
                      <a:pt x="380" y="239"/>
                    </a:lnTo>
                    <a:lnTo>
                      <a:pt x="222" y="324"/>
                    </a:lnTo>
                    <a:lnTo>
                      <a:pt x="83" y="407"/>
                    </a:lnTo>
                    <a:lnTo>
                      <a:pt x="54" y="407"/>
                    </a:lnTo>
                    <a:lnTo>
                      <a:pt x="28" y="390"/>
                    </a:lnTo>
                    <a:lnTo>
                      <a:pt x="21" y="373"/>
                    </a:lnTo>
                    <a:lnTo>
                      <a:pt x="0" y="378"/>
                    </a:lnTo>
                    <a:lnTo>
                      <a:pt x="0" y="333"/>
                    </a:lnTo>
                    <a:lnTo>
                      <a:pt x="0" y="333"/>
                    </a:lnTo>
                    <a:lnTo>
                      <a:pt x="0" y="33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82" name="Freeform 565">
                <a:extLst>
                  <a:ext uri="{FF2B5EF4-FFF2-40B4-BE49-F238E27FC236}">
                    <a16:creationId xmlns:a16="http://schemas.microsoft.com/office/drawing/2014/main" id="{C1B5E06F-BBD3-43B8-9017-9C6BFC01AF37}"/>
                  </a:ext>
                </a:extLst>
              </p:cNvPr>
              <p:cNvSpPr>
                <a:spLocks noEditPoints="1"/>
              </p:cNvSpPr>
              <p:nvPr/>
            </p:nvSpPr>
            <p:spPr bwMode="gray">
              <a:xfrm>
                <a:off x="8216070" y="3272096"/>
                <a:ext cx="134205" cy="107870"/>
              </a:xfrm>
              <a:custGeom>
                <a:avLst/>
                <a:gdLst>
                  <a:gd name="T0" fmla="*/ 326 w 326"/>
                  <a:gd name="T1" fmla="*/ 97 h 262"/>
                  <a:gd name="T2" fmla="*/ 312 w 326"/>
                  <a:gd name="T3" fmla="*/ 106 h 262"/>
                  <a:gd name="T4" fmla="*/ 304 w 326"/>
                  <a:gd name="T5" fmla="*/ 97 h 262"/>
                  <a:gd name="T6" fmla="*/ 312 w 326"/>
                  <a:gd name="T7" fmla="*/ 97 h 262"/>
                  <a:gd name="T8" fmla="*/ 304 w 326"/>
                  <a:gd name="T9" fmla="*/ 90 h 262"/>
                  <a:gd name="T10" fmla="*/ 288 w 326"/>
                  <a:gd name="T11" fmla="*/ 97 h 262"/>
                  <a:gd name="T12" fmla="*/ 288 w 326"/>
                  <a:gd name="T13" fmla="*/ 146 h 262"/>
                  <a:gd name="T14" fmla="*/ 304 w 326"/>
                  <a:gd name="T15" fmla="*/ 146 h 262"/>
                  <a:gd name="T16" fmla="*/ 304 w 326"/>
                  <a:gd name="T17" fmla="*/ 151 h 262"/>
                  <a:gd name="T18" fmla="*/ 274 w 326"/>
                  <a:gd name="T19" fmla="*/ 163 h 262"/>
                  <a:gd name="T20" fmla="*/ 274 w 326"/>
                  <a:gd name="T21" fmla="*/ 179 h 262"/>
                  <a:gd name="T22" fmla="*/ 252 w 326"/>
                  <a:gd name="T23" fmla="*/ 234 h 262"/>
                  <a:gd name="T24" fmla="*/ 252 w 326"/>
                  <a:gd name="T25" fmla="*/ 262 h 262"/>
                  <a:gd name="T26" fmla="*/ 245 w 326"/>
                  <a:gd name="T27" fmla="*/ 262 h 262"/>
                  <a:gd name="T28" fmla="*/ 71 w 326"/>
                  <a:gd name="T29" fmla="*/ 241 h 262"/>
                  <a:gd name="T30" fmla="*/ 0 w 326"/>
                  <a:gd name="T31" fmla="*/ 151 h 262"/>
                  <a:gd name="T32" fmla="*/ 0 w 326"/>
                  <a:gd name="T33" fmla="*/ 146 h 262"/>
                  <a:gd name="T34" fmla="*/ 7 w 326"/>
                  <a:gd name="T35" fmla="*/ 146 h 262"/>
                  <a:gd name="T36" fmla="*/ 16 w 326"/>
                  <a:gd name="T37" fmla="*/ 163 h 262"/>
                  <a:gd name="T38" fmla="*/ 33 w 326"/>
                  <a:gd name="T39" fmla="*/ 167 h 262"/>
                  <a:gd name="T40" fmla="*/ 54 w 326"/>
                  <a:gd name="T41" fmla="*/ 163 h 262"/>
                  <a:gd name="T42" fmla="*/ 71 w 326"/>
                  <a:gd name="T43" fmla="*/ 146 h 262"/>
                  <a:gd name="T44" fmla="*/ 139 w 326"/>
                  <a:gd name="T45" fmla="*/ 163 h 262"/>
                  <a:gd name="T46" fmla="*/ 177 w 326"/>
                  <a:gd name="T47" fmla="*/ 151 h 262"/>
                  <a:gd name="T48" fmla="*/ 198 w 326"/>
                  <a:gd name="T49" fmla="*/ 146 h 262"/>
                  <a:gd name="T50" fmla="*/ 198 w 326"/>
                  <a:gd name="T51" fmla="*/ 130 h 262"/>
                  <a:gd name="T52" fmla="*/ 203 w 326"/>
                  <a:gd name="T53" fmla="*/ 130 h 262"/>
                  <a:gd name="T54" fmla="*/ 215 w 326"/>
                  <a:gd name="T55" fmla="*/ 106 h 262"/>
                  <a:gd name="T56" fmla="*/ 245 w 326"/>
                  <a:gd name="T57" fmla="*/ 78 h 262"/>
                  <a:gd name="T58" fmla="*/ 274 w 326"/>
                  <a:gd name="T59" fmla="*/ 40 h 262"/>
                  <a:gd name="T60" fmla="*/ 283 w 326"/>
                  <a:gd name="T61" fmla="*/ 40 h 262"/>
                  <a:gd name="T62" fmla="*/ 300 w 326"/>
                  <a:gd name="T63" fmla="*/ 35 h 262"/>
                  <a:gd name="T64" fmla="*/ 312 w 326"/>
                  <a:gd name="T65" fmla="*/ 0 h 262"/>
                  <a:gd name="T66" fmla="*/ 321 w 326"/>
                  <a:gd name="T67" fmla="*/ 12 h 262"/>
                  <a:gd name="T68" fmla="*/ 312 w 326"/>
                  <a:gd name="T69" fmla="*/ 35 h 262"/>
                  <a:gd name="T70" fmla="*/ 326 w 326"/>
                  <a:gd name="T71" fmla="*/ 35 h 262"/>
                  <a:gd name="T72" fmla="*/ 326 w 326"/>
                  <a:gd name="T73" fmla="*/ 40 h 262"/>
                  <a:gd name="T74" fmla="*/ 326 w 326"/>
                  <a:gd name="T75" fmla="*/ 90 h 262"/>
                  <a:gd name="T76" fmla="*/ 326 w 326"/>
                  <a:gd name="T77" fmla="*/ 97 h 262"/>
                  <a:gd name="T78" fmla="*/ 326 w 326"/>
                  <a:gd name="T79" fmla="*/ 97 h 262"/>
                  <a:gd name="T80" fmla="*/ 326 w 326"/>
                  <a:gd name="T81" fmla="*/ 97 h 262"/>
                  <a:gd name="T82" fmla="*/ 198 w 326"/>
                  <a:gd name="T83" fmla="*/ 130 h 262"/>
                  <a:gd name="T84" fmla="*/ 193 w 326"/>
                  <a:gd name="T85" fmla="*/ 130 h 262"/>
                  <a:gd name="T86" fmla="*/ 193 w 326"/>
                  <a:gd name="T87" fmla="*/ 123 h 262"/>
                  <a:gd name="T88" fmla="*/ 198 w 326"/>
                  <a:gd name="T89" fmla="*/ 130 h 262"/>
                  <a:gd name="T90" fmla="*/ 198 w 326"/>
                  <a:gd name="T91" fmla="*/ 130 h 262"/>
                  <a:gd name="T92" fmla="*/ 198 w 326"/>
                  <a:gd name="T93" fmla="*/ 130 h 262"/>
                  <a:gd name="T94" fmla="*/ 71 w 326"/>
                  <a:gd name="T95" fmla="*/ 146 h 262"/>
                  <a:gd name="T96" fmla="*/ 71 w 326"/>
                  <a:gd name="T97" fmla="*/ 134 h 262"/>
                  <a:gd name="T98" fmla="*/ 75 w 326"/>
                  <a:gd name="T99" fmla="*/ 134 h 262"/>
                  <a:gd name="T100" fmla="*/ 71 w 326"/>
                  <a:gd name="T101" fmla="*/ 146 h 262"/>
                  <a:gd name="T102" fmla="*/ 71 w 326"/>
                  <a:gd name="T103" fmla="*/ 146 h 262"/>
                  <a:gd name="T104" fmla="*/ 71 w 326"/>
                  <a:gd name="T105" fmla="*/ 146 h 262"/>
                  <a:gd name="T106" fmla="*/ 151 w 326"/>
                  <a:gd name="T107" fmla="*/ 151 h 262"/>
                  <a:gd name="T108" fmla="*/ 144 w 326"/>
                  <a:gd name="T109" fmla="*/ 151 h 262"/>
                  <a:gd name="T110" fmla="*/ 160 w 326"/>
                  <a:gd name="T111" fmla="*/ 146 h 262"/>
                  <a:gd name="T112" fmla="*/ 165 w 326"/>
                  <a:gd name="T113" fmla="*/ 146 h 262"/>
                  <a:gd name="T114" fmla="*/ 151 w 326"/>
                  <a:gd name="T115" fmla="*/ 151 h 262"/>
                  <a:gd name="T116" fmla="*/ 151 w 326"/>
                  <a:gd name="T117" fmla="*/ 151 h 262"/>
                  <a:gd name="T118" fmla="*/ 151 w 326"/>
                  <a:gd name="T119" fmla="*/ 15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6" h="262">
                    <a:moveTo>
                      <a:pt x="326" y="97"/>
                    </a:moveTo>
                    <a:lnTo>
                      <a:pt x="312" y="106"/>
                    </a:lnTo>
                    <a:lnTo>
                      <a:pt x="304" y="97"/>
                    </a:lnTo>
                    <a:lnTo>
                      <a:pt x="312" y="97"/>
                    </a:lnTo>
                    <a:lnTo>
                      <a:pt x="304" y="90"/>
                    </a:lnTo>
                    <a:lnTo>
                      <a:pt x="288" y="97"/>
                    </a:lnTo>
                    <a:lnTo>
                      <a:pt x="288" y="146"/>
                    </a:lnTo>
                    <a:lnTo>
                      <a:pt x="304" y="146"/>
                    </a:lnTo>
                    <a:lnTo>
                      <a:pt x="304" y="151"/>
                    </a:lnTo>
                    <a:lnTo>
                      <a:pt x="274" y="163"/>
                    </a:lnTo>
                    <a:lnTo>
                      <a:pt x="274" y="179"/>
                    </a:lnTo>
                    <a:lnTo>
                      <a:pt x="252" y="234"/>
                    </a:lnTo>
                    <a:lnTo>
                      <a:pt x="252" y="262"/>
                    </a:lnTo>
                    <a:lnTo>
                      <a:pt x="245" y="262"/>
                    </a:lnTo>
                    <a:lnTo>
                      <a:pt x="71" y="241"/>
                    </a:lnTo>
                    <a:lnTo>
                      <a:pt x="0" y="151"/>
                    </a:lnTo>
                    <a:lnTo>
                      <a:pt x="0" y="146"/>
                    </a:lnTo>
                    <a:lnTo>
                      <a:pt x="7" y="146"/>
                    </a:lnTo>
                    <a:lnTo>
                      <a:pt x="16" y="163"/>
                    </a:lnTo>
                    <a:lnTo>
                      <a:pt x="33" y="167"/>
                    </a:lnTo>
                    <a:lnTo>
                      <a:pt x="54" y="163"/>
                    </a:lnTo>
                    <a:lnTo>
                      <a:pt x="71" y="146"/>
                    </a:lnTo>
                    <a:lnTo>
                      <a:pt x="139" y="163"/>
                    </a:lnTo>
                    <a:lnTo>
                      <a:pt x="177" y="151"/>
                    </a:lnTo>
                    <a:lnTo>
                      <a:pt x="198" y="146"/>
                    </a:lnTo>
                    <a:lnTo>
                      <a:pt x="198" y="130"/>
                    </a:lnTo>
                    <a:lnTo>
                      <a:pt x="203" y="130"/>
                    </a:lnTo>
                    <a:lnTo>
                      <a:pt x="215" y="106"/>
                    </a:lnTo>
                    <a:lnTo>
                      <a:pt x="245" y="78"/>
                    </a:lnTo>
                    <a:lnTo>
                      <a:pt x="274" y="40"/>
                    </a:lnTo>
                    <a:lnTo>
                      <a:pt x="283" y="40"/>
                    </a:lnTo>
                    <a:lnTo>
                      <a:pt x="300" y="35"/>
                    </a:lnTo>
                    <a:lnTo>
                      <a:pt x="312" y="0"/>
                    </a:lnTo>
                    <a:lnTo>
                      <a:pt x="321" y="12"/>
                    </a:lnTo>
                    <a:lnTo>
                      <a:pt x="312" y="35"/>
                    </a:lnTo>
                    <a:lnTo>
                      <a:pt x="326" y="35"/>
                    </a:lnTo>
                    <a:lnTo>
                      <a:pt x="326" y="40"/>
                    </a:lnTo>
                    <a:lnTo>
                      <a:pt x="326" y="90"/>
                    </a:lnTo>
                    <a:lnTo>
                      <a:pt x="326" y="97"/>
                    </a:lnTo>
                    <a:lnTo>
                      <a:pt x="326" y="97"/>
                    </a:lnTo>
                    <a:lnTo>
                      <a:pt x="326" y="97"/>
                    </a:lnTo>
                    <a:close/>
                    <a:moveTo>
                      <a:pt x="198" y="130"/>
                    </a:moveTo>
                    <a:lnTo>
                      <a:pt x="193" y="130"/>
                    </a:lnTo>
                    <a:lnTo>
                      <a:pt x="193" y="123"/>
                    </a:lnTo>
                    <a:lnTo>
                      <a:pt x="198" y="130"/>
                    </a:lnTo>
                    <a:lnTo>
                      <a:pt x="198" y="130"/>
                    </a:lnTo>
                    <a:lnTo>
                      <a:pt x="198" y="130"/>
                    </a:lnTo>
                    <a:close/>
                    <a:moveTo>
                      <a:pt x="71" y="146"/>
                    </a:moveTo>
                    <a:lnTo>
                      <a:pt x="71" y="134"/>
                    </a:lnTo>
                    <a:lnTo>
                      <a:pt x="75" y="134"/>
                    </a:lnTo>
                    <a:lnTo>
                      <a:pt x="71" y="146"/>
                    </a:lnTo>
                    <a:lnTo>
                      <a:pt x="71" y="146"/>
                    </a:lnTo>
                    <a:lnTo>
                      <a:pt x="71" y="146"/>
                    </a:lnTo>
                    <a:close/>
                    <a:moveTo>
                      <a:pt x="151" y="151"/>
                    </a:moveTo>
                    <a:lnTo>
                      <a:pt x="144" y="151"/>
                    </a:lnTo>
                    <a:lnTo>
                      <a:pt x="160" y="146"/>
                    </a:lnTo>
                    <a:lnTo>
                      <a:pt x="165" y="146"/>
                    </a:lnTo>
                    <a:lnTo>
                      <a:pt x="151" y="151"/>
                    </a:lnTo>
                    <a:lnTo>
                      <a:pt x="151" y="151"/>
                    </a:lnTo>
                    <a:lnTo>
                      <a:pt x="151" y="15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83" name="Freeform 571">
                <a:extLst>
                  <a:ext uri="{FF2B5EF4-FFF2-40B4-BE49-F238E27FC236}">
                    <a16:creationId xmlns:a16="http://schemas.microsoft.com/office/drawing/2014/main" id="{F19A9D18-FB87-40CC-82FD-A2A53D74EE6D}"/>
                  </a:ext>
                </a:extLst>
              </p:cNvPr>
              <p:cNvSpPr>
                <a:spLocks/>
              </p:cNvSpPr>
              <p:nvPr/>
            </p:nvSpPr>
            <p:spPr bwMode="gray">
              <a:xfrm>
                <a:off x="6721296" y="3734043"/>
                <a:ext cx="57222" cy="147806"/>
              </a:xfrm>
              <a:custGeom>
                <a:avLst/>
                <a:gdLst>
                  <a:gd name="T0" fmla="*/ 128 w 139"/>
                  <a:gd name="T1" fmla="*/ 260 h 359"/>
                  <a:gd name="T2" fmla="*/ 128 w 139"/>
                  <a:gd name="T3" fmla="*/ 297 h 359"/>
                  <a:gd name="T4" fmla="*/ 123 w 139"/>
                  <a:gd name="T5" fmla="*/ 297 h 359"/>
                  <a:gd name="T6" fmla="*/ 123 w 139"/>
                  <a:gd name="T7" fmla="*/ 321 h 359"/>
                  <a:gd name="T8" fmla="*/ 139 w 139"/>
                  <a:gd name="T9" fmla="*/ 349 h 359"/>
                  <a:gd name="T10" fmla="*/ 128 w 139"/>
                  <a:gd name="T11" fmla="*/ 354 h 359"/>
                  <a:gd name="T12" fmla="*/ 95 w 139"/>
                  <a:gd name="T13" fmla="*/ 359 h 359"/>
                  <a:gd name="T14" fmla="*/ 83 w 139"/>
                  <a:gd name="T15" fmla="*/ 349 h 359"/>
                  <a:gd name="T16" fmla="*/ 66 w 139"/>
                  <a:gd name="T17" fmla="*/ 338 h 359"/>
                  <a:gd name="T18" fmla="*/ 50 w 139"/>
                  <a:gd name="T19" fmla="*/ 297 h 359"/>
                  <a:gd name="T20" fmla="*/ 57 w 139"/>
                  <a:gd name="T21" fmla="*/ 297 h 359"/>
                  <a:gd name="T22" fmla="*/ 57 w 139"/>
                  <a:gd name="T23" fmla="*/ 276 h 359"/>
                  <a:gd name="T24" fmla="*/ 50 w 139"/>
                  <a:gd name="T25" fmla="*/ 264 h 359"/>
                  <a:gd name="T26" fmla="*/ 50 w 139"/>
                  <a:gd name="T27" fmla="*/ 260 h 359"/>
                  <a:gd name="T28" fmla="*/ 50 w 139"/>
                  <a:gd name="T29" fmla="*/ 243 h 359"/>
                  <a:gd name="T30" fmla="*/ 57 w 139"/>
                  <a:gd name="T31" fmla="*/ 210 h 359"/>
                  <a:gd name="T32" fmla="*/ 66 w 139"/>
                  <a:gd name="T33" fmla="*/ 203 h 359"/>
                  <a:gd name="T34" fmla="*/ 33 w 139"/>
                  <a:gd name="T35" fmla="*/ 170 h 359"/>
                  <a:gd name="T36" fmla="*/ 50 w 139"/>
                  <a:gd name="T37" fmla="*/ 165 h 359"/>
                  <a:gd name="T38" fmla="*/ 40 w 139"/>
                  <a:gd name="T39" fmla="*/ 149 h 359"/>
                  <a:gd name="T40" fmla="*/ 50 w 139"/>
                  <a:gd name="T41" fmla="*/ 127 h 359"/>
                  <a:gd name="T42" fmla="*/ 40 w 139"/>
                  <a:gd name="T43" fmla="*/ 116 h 359"/>
                  <a:gd name="T44" fmla="*/ 28 w 139"/>
                  <a:gd name="T45" fmla="*/ 116 h 359"/>
                  <a:gd name="T46" fmla="*/ 40 w 139"/>
                  <a:gd name="T47" fmla="*/ 75 h 359"/>
                  <a:gd name="T48" fmla="*/ 33 w 139"/>
                  <a:gd name="T49" fmla="*/ 59 h 359"/>
                  <a:gd name="T50" fmla="*/ 33 w 139"/>
                  <a:gd name="T51" fmla="*/ 54 h 359"/>
                  <a:gd name="T52" fmla="*/ 0 w 139"/>
                  <a:gd name="T53" fmla="*/ 26 h 359"/>
                  <a:gd name="T54" fmla="*/ 12 w 139"/>
                  <a:gd name="T55" fmla="*/ 5 h 359"/>
                  <a:gd name="T56" fmla="*/ 0 w 139"/>
                  <a:gd name="T57" fmla="*/ 0 h 359"/>
                  <a:gd name="T58" fmla="*/ 50 w 139"/>
                  <a:gd name="T59" fmla="*/ 5 h 359"/>
                  <a:gd name="T60" fmla="*/ 50 w 139"/>
                  <a:gd name="T61" fmla="*/ 16 h 359"/>
                  <a:gd name="T62" fmla="*/ 73 w 139"/>
                  <a:gd name="T63" fmla="*/ 5 h 359"/>
                  <a:gd name="T64" fmla="*/ 66 w 139"/>
                  <a:gd name="T65" fmla="*/ 54 h 359"/>
                  <a:gd name="T66" fmla="*/ 106 w 139"/>
                  <a:gd name="T67" fmla="*/ 75 h 359"/>
                  <a:gd name="T68" fmla="*/ 106 w 139"/>
                  <a:gd name="T69" fmla="*/ 116 h 359"/>
                  <a:gd name="T70" fmla="*/ 128 w 139"/>
                  <a:gd name="T71" fmla="*/ 149 h 359"/>
                  <a:gd name="T72" fmla="*/ 128 w 139"/>
                  <a:gd name="T73" fmla="*/ 260 h 359"/>
                  <a:gd name="T74" fmla="*/ 128 w 139"/>
                  <a:gd name="T75" fmla="*/ 260 h 359"/>
                  <a:gd name="T76" fmla="*/ 128 w 139"/>
                  <a:gd name="T77" fmla="*/ 26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359">
                    <a:moveTo>
                      <a:pt x="128" y="260"/>
                    </a:moveTo>
                    <a:lnTo>
                      <a:pt x="128" y="297"/>
                    </a:lnTo>
                    <a:lnTo>
                      <a:pt x="123" y="297"/>
                    </a:lnTo>
                    <a:lnTo>
                      <a:pt x="123" y="321"/>
                    </a:lnTo>
                    <a:lnTo>
                      <a:pt x="139" y="349"/>
                    </a:lnTo>
                    <a:lnTo>
                      <a:pt x="128" y="354"/>
                    </a:lnTo>
                    <a:lnTo>
                      <a:pt x="95" y="359"/>
                    </a:lnTo>
                    <a:lnTo>
                      <a:pt x="83" y="349"/>
                    </a:lnTo>
                    <a:lnTo>
                      <a:pt x="66" y="338"/>
                    </a:lnTo>
                    <a:lnTo>
                      <a:pt x="50" y="297"/>
                    </a:lnTo>
                    <a:lnTo>
                      <a:pt x="57" y="297"/>
                    </a:lnTo>
                    <a:lnTo>
                      <a:pt x="57" y="276"/>
                    </a:lnTo>
                    <a:lnTo>
                      <a:pt x="50" y="264"/>
                    </a:lnTo>
                    <a:lnTo>
                      <a:pt x="50" y="260"/>
                    </a:lnTo>
                    <a:lnTo>
                      <a:pt x="50" y="243"/>
                    </a:lnTo>
                    <a:lnTo>
                      <a:pt x="57" y="210"/>
                    </a:lnTo>
                    <a:lnTo>
                      <a:pt x="66" y="203"/>
                    </a:lnTo>
                    <a:lnTo>
                      <a:pt x="33" y="170"/>
                    </a:lnTo>
                    <a:lnTo>
                      <a:pt x="50" y="165"/>
                    </a:lnTo>
                    <a:lnTo>
                      <a:pt x="40" y="149"/>
                    </a:lnTo>
                    <a:lnTo>
                      <a:pt x="50" y="127"/>
                    </a:lnTo>
                    <a:lnTo>
                      <a:pt x="40" y="116"/>
                    </a:lnTo>
                    <a:lnTo>
                      <a:pt x="28" y="116"/>
                    </a:lnTo>
                    <a:lnTo>
                      <a:pt x="40" y="75"/>
                    </a:lnTo>
                    <a:lnTo>
                      <a:pt x="33" y="59"/>
                    </a:lnTo>
                    <a:lnTo>
                      <a:pt x="33" y="54"/>
                    </a:lnTo>
                    <a:lnTo>
                      <a:pt x="0" y="26"/>
                    </a:lnTo>
                    <a:lnTo>
                      <a:pt x="12" y="5"/>
                    </a:lnTo>
                    <a:lnTo>
                      <a:pt x="0" y="0"/>
                    </a:lnTo>
                    <a:lnTo>
                      <a:pt x="50" y="5"/>
                    </a:lnTo>
                    <a:lnTo>
                      <a:pt x="50" y="16"/>
                    </a:lnTo>
                    <a:lnTo>
                      <a:pt x="73" y="5"/>
                    </a:lnTo>
                    <a:lnTo>
                      <a:pt x="66" y="54"/>
                    </a:lnTo>
                    <a:lnTo>
                      <a:pt x="106" y="75"/>
                    </a:lnTo>
                    <a:lnTo>
                      <a:pt x="106" y="116"/>
                    </a:lnTo>
                    <a:lnTo>
                      <a:pt x="128" y="149"/>
                    </a:lnTo>
                    <a:lnTo>
                      <a:pt x="128" y="260"/>
                    </a:lnTo>
                    <a:lnTo>
                      <a:pt x="128" y="260"/>
                    </a:lnTo>
                    <a:lnTo>
                      <a:pt x="128" y="26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84" name="Freeform 572">
                <a:extLst>
                  <a:ext uri="{FF2B5EF4-FFF2-40B4-BE49-F238E27FC236}">
                    <a16:creationId xmlns:a16="http://schemas.microsoft.com/office/drawing/2014/main" id="{909D9A0E-E712-4B48-8D5A-E0EE7F8DB1B4}"/>
                  </a:ext>
                </a:extLst>
              </p:cNvPr>
              <p:cNvSpPr>
                <a:spLocks noEditPoints="1"/>
              </p:cNvSpPr>
              <p:nvPr/>
            </p:nvSpPr>
            <p:spPr bwMode="gray">
              <a:xfrm>
                <a:off x="6912722" y="4014010"/>
                <a:ext cx="29228" cy="49818"/>
              </a:xfrm>
              <a:custGeom>
                <a:avLst/>
                <a:gdLst>
                  <a:gd name="T0" fmla="*/ 62 w 71"/>
                  <a:gd name="T1" fmla="*/ 12 h 121"/>
                  <a:gd name="T2" fmla="*/ 62 w 71"/>
                  <a:gd name="T3" fmla="*/ 7 h 121"/>
                  <a:gd name="T4" fmla="*/ 62 w 71"/>
                  <a:gd name="T5" fmla="*/ 0 h 121"/>
                  <a:gd name="T6" fmla="*/ 71 w 71"/>
                  <a:gd name="T7" fmla="*/ 7 h 121"/>
                  <a:gd name="T8" fmla="*/ 62 w 71"/>
                  <a:gd name="T9" fmla="*/ 12 h 121"/>
                  <a:gd name="T10" fmla="*/ 62 w 71"/>
                  <a:gd name="T11" fmla="*/ 12 h 121"/>
                  <a:gd name="T12" fmla="*/ 62 w 71"/>
                  <a:gd name="T13" fmla="*/ 12 h 121"/>
                  <a:gd name="T14" fmla="*/ 0 w 71"/>
                  <a:gd name="T15" fmla="*/ 121 h 121"/>
                  <a:gd name="T16" fmla="*/ 0 w 71"/>
                  <a:gd name="T17" fmla="*/ 104 h 121"/>
                  <a:gd name="T18" fmla="*/ 17 w 71"/>
                  <a:gd name="T19" fmla="*/ 99 h 121"/>
                  <a:gd name="T20" fmla="*/ 17 w 71"/>
                  <a:gd name="T21" fmla="*/ 116 h 121"/>
                  <a:gd name="T22" fmla="*/ 0 w 71"/>
                  <a:gd name="T23" fmla="*/ 121 h 121"/>
                  <a:gd name="T24" fmla="*/ 0 w 71"/>
                  <a:gd name="T25" fmla="*/ 121 h 121"/>
                  <a:gd name="T26" fmla="*/ 0 w 71"/>
                  <a:gd name="T2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121">
                    <a:moveTo>
                      <a:pt x="62" y="12"/>
                    </a:moveTo>
                    <a:lnTo>
                      <a:pt x="62" y="7"/>
                    </a:lnTo>
                    <a:lnTo>
                      <a:pt x="62" y="0"/>
                    </a:lnTo>
                    <a:lnTo>
                      <a:pt x="71" y="7"/>
                    </a:lnTo>
                    <a:lnTo>
                      <a:pt x="62" y="12"/>
                    </a:lnTo>
                    <a:lnTo>
                      <a:pt x="62" y="12"/>
                    </a:lnTo>
                    <a:lnTo>
                      <a:pt x="62" y="12"/>
                    </a:lnTo>
                    <a:close/>
                    <a:moveTo>
                      <a:pt x="0" y="121"/>
                    </a:moveTo>
                    <a:lnTo>
                      <a:pt x="0" y="104"/>
                    </a:lnTo>
                    <a:lnTo>
                      <a:pt x="17" y="99"/>
                    </a:lnTo>
                    <a:lnTo>
                      <a:pt x="17" y="116"/>
                    </a:lnTo>
                    <a:lnTo>
                      <a:pt x="0" y="121"/>
                    </a:lnTo>
                    <a:lnTo>
                      <a:pt x="0" y="121"/>
                    </a:lnTo>
                    <a:lnTo>
                      <a:pt x="0" y="1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85" name="Freeform 573">
                <a:extLst>
                  <a:ext uri="{FF2B5EF4-FFF2-40B4-BE49-F238E27FC236}">
                    <a16:creationId xmlns:a16="http://schemas.microsoft.com/office/drawing/2014/main" id="{8E8A6B37-56C8-4A80-910C-2005418F58D5}"/>
                  </a:ext>
                </a:extLst>
              </p:cNvPr>
              <p:cNvSpPr>
                <a:spLocks noEditPoints="1"/>
              </p:cNvSpPr>
              <p:nvPr/>
            </p:nvSpPr>
            <p:spPr bwMode="gray">
              <a:xfrm>
                <a:off x="6941951" y="2905258"/>
                <a:ext cx="116914" cy="236325"/>
              </a:xfrm>
              <a:custGeom>
                <a:avLst/>
                <a:gdLst>
                  <a:gd name="T0" fmla="*/ 24 w 284"/>
                  <a:gd name="T1" fmla="*/ 251 h 574"/>
                  <a:gd name="T2" fmla="*/ 55 w 284"/>
                  <a:gd name="T3" fmla="*/ 222 h 574"/>
                  <a:gd name="T4" fmla="*/ 59 w 284"/>
                  <a:gd name="T5" fmla="*/ 156 h 574"/>
                  <a:gd name="T6" fmla="*/ 55 w 284"/>
                  <a:gd name="T7" fmla="*/ 116 h 574"/>
                  <a:gd name="T8" fmla="*/ 45 w 284"/>
                  <a:gd name="T9" fmla="*/ 62 h 574"/>
                  <a:gd name="T10" fmla="*/ 76 w 284"/>
                  <a:gd name="T11" fmla="*/ 26 h 574"/>
                  <a:gd name="T12" fmla="*/ 168 w 284"/>
                  <a:gd name="T13" fmla="*/ 0 h 574"/>
                  <a:gd name="T14" fmla="*/ 161 w 284"/>
                  <a:gd name="T15" fmla="*/ 17 h 574"/>
                  <a:gd name="T16" fmla="*/ 168 w 284"/>
                  <a:gd name="T17" fmla="*/ 5 h 574"/>
                  <a:gd name="T18" fmla="*/ 194 w 284"/>
                  <a:gd name="T19" fmla="*/ 5 h 574"/>
                  <a:gd name="T20" fmla="*/ 194 w 284"/>
                  <a:gd name="T21" fmla="*/ 17 h 574"/>
                  <a:gd name="T22" fmla="*/ 199 w 284"/>
                  <a:gd name="T23" fmla="*/ 38 h 574"/>
                  <a:gd name="T24" fmla="*/ 199 w 284"/>
                  <a:gd name="T25" fmla="*/ 43 h 574"/>
                  <a:gd name="T26" fmla="*/ 253 w 284"/>
                  <a:gd name="T27" fmla="*/ 26 h 574"/>
                  <a:gd name="T28" fmla="*/ 215 w 284"/>
                  <a:gd name="T29" fmla="*/ 78 h 574"/>
                  <a:gd name="T30" fmla="*/ 220 w 284"/>
                  <a:gd name="T31" fmla="*/ 128 h 574"/>
                  <a:gd name="T32" fmla="*/ 248 w 284"/>
                  <a:gd name="T33" fmla="*/ 156 h 574"/>
                  <a:gd name="T34" fmla="*/ 232 w 284"/>
                  <a:gd name="T35" fmla="*/ 210 h 574"/>
                  <a:gd name="T36" fmla="*/ 177 w 284"/>
                  <a:gd name="T37" fmla="*/ 251 h 574"/>
                  <a:gd name="T38" fmla="*/ 199 w 284"/>
                  <a:gd name="T39" fmla="*/ 296 h 574"/>
                  <a:gd name="T40" fmla="*/ 220 w 284"/>
                  <a:gd name="T41" fmla="*/ 296 h 574"/>
                  <a:gd name="T42" fmla="*/ 232 w 284"/>
                  <a:gd name="T43" fmla="*/ 317 h 574"/>
                  <a:gd name="T44" fmla="*/ 236 w 284"/>
                  <a:gd name="T45" fmla="*/ 300 h 574"/>
                  <a:gd name="T46" fmla="*/ 258 w 284"/>
                  <a:gd name="T47" fmla="*/ 333 h 574"/>
                  <a:gd name="T48" fmla="*/ 274 w 284"/>
                  <a:gd name="T49" fmla="*/ 378 h 574"/>
                  <a:gd name="T50" fmla="*/ 236 w 284"/>
                  <a:gd name="T51" fmla="*/ 418 h 574"/>
                  <a:gd name="T52" fmla="*/ 199 w 284"/>
                  <a:gd name="T53" fmla="*/ 463 h 574"/>
                  <a:gd name="T54" fmla="*/ 199 w 284"/>
                  <a:gd name="T55" fmla="*/ 518 h 574"/>
                  <a:gd name="T56" fmla="*/ 168 w 284"/>
                  <a:gd name="T57" fmla="*/ 562 h 574"/>
                  <a:gd name="T58" fmla="*/ 109 w 284"/>
                  <a:gd name="T59" fmla="*/ 430 h 574"/>
                  <a:gd name="T60" fmla="*/ 59 w 284"/>
                  <a:gd name="T61" fmla="*/ 362 h 574"/>
                  <a:gd name="T62" fmla="*/ 17 w 284"/>
                  <a:gd name="T63" fmla="*/ 333 h 574"/>
                  <a:gd name="T64" fmla="*/ 0 w 284"/>
                  <a:gd name="T65" fmla="*/ 262 h 574"/>
                  <a:gd name="T66" fmla="*/ 0 w 284"/>
                  <a:gd name="T67" fmla="*/ 262 h 574"/>
                  <a:gd name="T68" fmla="*/ 258 w 284"/>
                  <a:gd name="T69" fmla="*/ 206 h 574"/>
                  <a:gd name="T70" fmla="*/ 253 w 284"/>
                  <a:gd name="T71" fmla="*/ 210 h 574"/>
                  <a:gd name="T72" fmla="*/ 253 w 284"/>
                  <a:gd name="T73" fmla="*/ 210 h 574"/>
                  <a:gd name="T74" fmla="*/ 232 w 284"/>
                  <a:gd name="T75" fmla="*/ 296 h 574"/>
                  <a:gd name="T76" fmla="*/ 232 w 284"/>
                  <a:gd name="T77" fmla="*/ 279 h 574"/>
                  <a:gd name="T78" fmla="*/ 236 w 284"/>
                  <a:gd name="T79" fmla="*/ 300 h 574"/>
                  <a:gd name="T80" fmla="*/ 236 w 284"/>
                  <a:gd name="T81" fmla="*/ 30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4" h="574">
                    <a:moveTo>
                      <a:pt x="0" y="262"/>
                    </a:moveTo>
                    <a:lnTo>
                      <a:pt x="24" y="251"/>
                    </a:lnTo>
                    <a:lnTo>
                      <a:pt x="24" y="239"/>
                    </a:lnTo>
                    <a:lnTo>
                      <a:pt x="55" y="222"/>
                    </a:lnTo>
                    <a:lnTo>
                      <a:pt x="59" y="173"/>
                    </a:lnTo>
                    <a:lnTo>
                      <a:pt x="59" y="156"/>
                    </a:lnTo>
                    <a:lnTo>
                      <a:pt x="59" y="133"/>
                    </a:lnTo>
                    <a:lnTo>
                      <a:pt x="55" y="116"/>
                    </a:lnTo>
                    <a:lnTo>
                      <a:pt x="59" y="71"/>
                    </a:lnTo>
                    <a:lnTo>
                      <a:pt x="45" y="62"/>
                    </a:lnTo>
                    <a:lnTo>
                      <a:pt x="88" y="38"/>
                    </a:lnTo>
                    <a:lnTo>
                      <a:pt x="76" y="26"/>
                    </a:lnTo>
                    <a:lnTo>
                      <a:pt x="151" y="0"/>
                    </a:lnTo>
                    <a:lnTo>
                      <a:pt x="168" y="0"/>
                    </a:lnTo>
                    <a:lnTo>
                      <a:pt x="161" y="5"/>
                    </a:lnTo>
                    <a:lnTo>
                      <a:pt x="161" y="17"/>
                    </a:lnTo>
                    <a:lnTo>
                      <a:pt x="168" y="5"/>
                    </a:lnTo>
                    <a:lnTo>
                      <a:pt x="168" y="5"/>
                    </a:lnTo>
                    <a:lnTo>
                      <a:pt x="177" y="0"/>
                    </a:lnTo>
                    <a:lnTo>
                      <a:pt x="194" y="5"/>
                    </a:lnTo>
                    <a:lnTo>
                      <a:pt x="182" y="17"/>
                    </a:lnTo>
                    <a:lnTo>
                      <a:pt x="194" y="17"/>
                    </a:lnTo>
                    <a:lnTo>
                      <a:pt x="194" y="21"/>
                    </a:lnTo>
                    <a:lnTo>
                      <a:pt x="199" y="38"/>
                    </a:lnTo>
                    <a:lnTo>
                      <a:pt x="194" y="38"/>
                    </a:lnTo>
                    <a:lnTo>
                      <a:pt x="199" y="43"/>
                    </a:lnTo>
                    <a:lnTo>
                      <a:pt x="248" y="17"/>
                    </a:lnTo>
                    <a:lnTo>
                      <a:pt x="253" y="26"/>
                    </a:lnTo>
                    <a:lnTo>
                      <a:pt x="232" y="71"/>
                    </a:lnTo>
                    <a:lnTo>
                      <a:pt x="215" y="78"/>
                    </a:lnTo>
                    <a:lnTo>
                      <a:pt x="203" y="95"/>
                    </a:lnTo>
                    <a:lnTo>
                      <a:pt x="220" y="128"/>
                    </a:lnTo>
                    <a:lnTo>
                      <a:pt x="248" y="133"/>
                    </a:lnTo>
                    <a:lnTo>
                      <a:pt x="248" y="156"/>
                    </a:lnTo>
                    <a:lnTo>
                      <a:pt x="253" y="173"/>
                    </a:lnTo>
                    <a:lnTo>
                      <a:pt x="232" y="210"/>
                    </a:lnTo>
                    <a:lnTo>
                      <a:pt x="182" y="246"/>
                    </a:lnTo>
                    <a:lnTo>
                      <a:pt x="177" y="251"/>
                    </a:lnTo>
                    <a:lnTo>
                      <a:pt x="182" y="279"/>
                    </a:lnTo>
                    <a:lnTo>
                      <a:pt x="199" y="296"/>
                    </a:lnTo>
                    <a:lnTo>
                      <a:pt x="203" y="300"/>
                    </a:lnTo>
                    <a:lnTo>
                      <a:pt x="220" y="296"/>
                    </a:lnTo>
                    <a:lnTo>
                      <a:pt x="220" y="307"/>
                    </a:lnTo>
                    <a:lnTo>
                      <a:pt x="232" y="317"/>
                    </a:lnTo>
                    <a:lnTo>
                      <a:pt x="236" y="307"/>
                    </a:lnTo>
                    <a:lnTo>
                      <a:pt x="236" y="300"/>
                    </a:lnTo>
                    <a:lnTo>
                      <a:pt x="248" y="300"/>
                    </a:lnTo>
                    <a:lnTo>
                      <a:pt x="258" y="333"/>
                    </a:lnTo>
                    <a:lnTo>
                      <a:pt x="284" y="340"/>
                    </a:lnTo>
                    <a:lnTo>
                      <a:pt x="274" y="378"/>
                    </a:lnTo>
                    <a:lnTo>
                      <a:pt x="284" y="395"/>
                    </a:lnTo>
                    <a:lnTo>
                      <a:pt x="236" y="418"/>
                    </a:lnTo>
                    <a:lnTo>
                      <a:pt x="203" y="451"/>
                    </a:lnTo>
                    <a:lnTo>
                      <a:pt x="199" y="463"/>
                    </a:lnTo>
                    <a:lnTo>
                      <a:pt x="182" y="473"/>
                    </a:lnTo>
                    <a:lnTo>
                      <a:pt x="199" y="518"/>
                    </a:lnTo>
                    <a:lnTo>
                      <a:pt x="194" y="529"/>
                    </a:lnTo>
                    <a:lnTo>
                      <a:pt x="168" y="562"/>
                    </a:lnTo>
                    <a:lnTo>
                      <a:pt x="147" y="574"/>
                    </a:lnTo>
                    <a:lnTo>
                      <a:pt x="109" y="430"/>
                    </a:lnTo>
                    <a:lnTo>
                      <a:pt x="59" y="390"/>
                    </a:lnTo>
                    <a:lnTo>
                      <a:pt x="59" y="362"/>
                    </a:lnTo>
                    <a:lnTo>
                      <a:pt x="45" y="340"/>
                    </a:lnTo>
                    <a:lnTo>
                      <a:pt x="17" y="333"/>
                    </a:lnTo>
                    <a:lnTo>
                      <a:pt x="0" y="279"/>
                    </a:lnTo>
                    <a:lnTo>
                      <a:pt x="0" y="262"/>
                    </a:lnTo>
                    <a:lnTo>
                      <a:pt x="0" y="262"/>
                    </a:lnTo>
                    <a:lnTo>
                      <a:pt x="0" y="262"/>
                    </a:lnTo>
                    <a:close/>
                    <a:moveTo>
                      <a:pt x="253" y="210"/>
                    </a:moveTo>
                    <a:lnTo>
                      <a:pt x="258" y="206"/>
                    </a:lnTo>
                    <a:lnTo>
                      <a:pt x="270" y="206"/>
                    </a:lnTo>
                    <a:lnTo>
                      <a:pt x="253" y="210"/>
                    </a:lnTo>
                    <a:lnTo>
                      <a:pt x="253" y="210"/>
                    </a:lnTo>
                    <a:lnTo>
                      <a:pt x="253" y="210"/>
                    </a:lnTo>
                    <a:close/>
                    <a:moveTo>
                      <a:pt x="236" y="300"/>
                    </a:moveTo>
                    <a:lnTo>
                      <a:pt x="232" y="296"/>
                    </a:lnTo>
                    <a:lnTo>
                      <a:pt x="232" y="296"/>
                    </a:lnTo>
                    <a:lnTo>
                      <a:pt x="232" y="279"/>
                    </a:lnTo>
                    <a:lnTo>
                      <a:pt x="248" y="284"/>
                    </a:lnTo>
                    <a:lnTo>
                      <a:pt x="236" y="300"/>
                    </a:lnTo>
                    <a:lnTo>
                      <a:pt x="236" y="300"/>
                    </a:lnTo>
                    <a:lnTo>
                      <a:pt x="236" y="30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86" name="Freeform 578">
                <a:extLst>
                  <a:ext uri="{FF2B5EF4-FFF2-40B4-BE49-F238E27FC236}">
                    <a16:creationId xmlns:a16="http://schemas.microsoft.com/office/drawing/2014/main" id="{E5FB284D-7E20-4034-841A-E80324380265}"/>
                  </a:ext>
                </a:extLst>
              </p:cNvPr>
              <p:cNvSpPr>
                <a:spLocks noEditPoints="1"/>
              </p:cNvSpPr>
              <p:nvPr/>
            </p:nvSpPr>
            <p:spPr bwMode="gray">
              <a:xfrm>
                <a:off x="7573041" y="4095528"/>
                <a:ext cx="323162" cy="320316"/>
              </a:xfrm>
              <a:custGeom>
                <a:avLst/>
                <a:gdLst>
                  <a:gd name="T0" fmla="*/ 612 w 785"/>
                  <a:gd name="T1" fmla="*/ 737 h 778"/>
                  <a:gd name="T2" fmla="*/ 596 w 785"/>
                  <a:gd name="T3" fmla="*/ 766 h 778"/>
                  <a:gd name="T4" fmla="*/ 525 w 785"/>
                  <a:gd name="T5" fmla="*/ 766 h 778"/>
                  <a:gd name="T6" fmla="*/ 482 w 785"/>
                  <a:gd name="T7" fmla="*/ 778 h 778"/>
                  <a:gd name="T8" fmla="*/ 461 w 785"/>
                  <a:gd name="T9" fmla="*/ 754 h 778"/>
                  <a:gd name="T10" fmla="*/ 395 w 785"/>
                  <a:gd name="T11" fmla="*/ 766 h 778"/>
                  <a:gd name="T12" fmla="*/ 374 w 785"/>
                  <a:gd name="T13" fmla="*/ 712 h 778"/>
                  <a:gd name="T14" fmla="*/ 352 w 785"/>
                  <a:gd name="T15" fmla="*/ 626 h 778"/>
                  <a:gd name="T16" fmla="*/ 319 w 785"/>
                  <a:gd name="T17" fmla="*/ 626 h 778"/>
                  <a:gd name="T18" fmla="*/ 288 w 785"/>
                  <a:gd name="T19" fmla="*/ 622 h 778"/>
                  <a:gd name="T20" fmla="*/ 248 w 785"/>
                  <a:gd name="T21" fmla="*/ 605 h 778"/>
                  <a:gd name="T22" fmla="*/ 218 w 785"/>
                  <a:gd name="T23" fmla="*/ 589 h 778"/>
                  <a:gd name="T24" fmla="*/ 189 w 785"/>
                  <a:gd name="T25" fmla="*/ 572 h 778"/>
                  <a:gd name="T26" fmla="*/ 147 w 785"/>
                  <a:gd name="T27" fmla="*/ 551 h 778"/>
                  <a:gd name="T28" fmla="*/ 104 w 785"/>
                  <a:gd name="T29" fmla="*/ 515 h 778"/>
                  <a:gd name="T30" fmla="*/ 50 w 785"/>
                  <a:gd name="T31" fmla="*/ 423 h 778"/>
                  <a:gd name="T32" fmla="*/ 17 w 785"/>
                  <a:gd name="T33" fmla="*/ 383 h 778"/>
                  <a:gd name="T34" fmla="*/ 17 w 785"/>
                  <a:gd name="T35" fmla="*/ 345 h 778"/>
                  <a:gd name="T36" fmla="*/ 0 w 785"/>
                  <a:gd name="T37" fmla="*/ 251 h 778"/>
                  <a:gd name="T38" fmla="*/ 50 w 785"/>
                  <a:gd name="T39" fmla="*/ 234 h 778"/>
                  <a:gd name="T40" fmla="*/ 71 w 785"/>
                  <a:gd name="T41" fmla="*/ 201 h 778"/>
                  <a:gd name="T42" fmla="*/ 104 w 785"/>
                  <a:gd name="T43" fmla="*/ 161 h 778"/>
                  <a:gd name="T44" fmla="*/ 88 w 785"/>
                  <a:gd name="T45" fmla="*/ 140 h 778"/>
                  <a:gd name="T46" fmla="*/ 81 w 785"/>
                  <a:gd name="T47" fmla="*/ 140 h 778"/>
                  <a:gd name="T48" fmla="*/ 104 w 785"/>
                  <a:gd name="T49" fmla="*/ 100 h 778"/>
                  <a:gd name="T50" fmla="*/ 104 w 785"/>
                  <a:gd name="T51" fmla="*/ 67 h 778"/>
                  <a:gd name="T52" fmla="*/ 92 w 785"/>
                  <a:gd name="T53" fmla="*/ 34 h 778"/>
                  <a:gd name="T54" fmla="*/ 81 w 785"/>
                  <a:gd name="T55" fmla="*/ 0 h 778"/>
                  <a:gd name="T56" fmla="*/ 248 w 785"/>
                  <a:gd name="T57" fmla="*/ 0 h 778"/>
                  <a:gd name="T58" fmla="*/ 579 w 785"/>
                  <a:gd name="T59" fmla="*/ 145 h 778"/>
                  <a:gd name="T60" fmla="*/ 579 w 785"/>
                  <a:gd name="T61" fmla="*/ 178 h 778"/>
                  <a:gd name="T62" fmla="*/ 700 w 785"/>
                  <a:gd name="T63" fmla="*/ 277 h 778"/>
                  <a:gd name="T64" fmla="*/ 688 w 785"/>
                  <a:gd name="T65" fmla="*/ 277 h 778"/>
                  <a:gd name="T66" fmla="*/ 678 w 785"/>
                  <a:gd name="T67" fmla="*/ 388 h 778"/>
                  <a:gd name="T68" fmla="*/ 721 w 785"/>
                  <a:gd name="T69" fmla="*/ 433 h 778"/>
                  <a:gd name="T70" fmla="*/ 700 w 785"/>
                  <a:gd name="T71" fmla="*/ 489 h 778"/>
                  <a:gd name="T72" fmla="*/ 716 w 785"/>
                  <a:gd name="T73" fmla="*/ 499 h 778"/>
                  <a:gd name="T74" fmla="*/ 704 w 785"/>
                  <a:gd name="T75" fmla="*/ 556 h 778"/>
                  <a:gd name="T76" fmla="*/ 704 w 785"/>
                  <a:gd name="T77" fmla="*/ 572 h 778"/>
                  <a:gd name="T78" fmla="*/ 737 w 785"/>
                  <a:gd name="T79" fmla="*/ 655 h 778"/>
                  <a:gd name="T80" fmla="*/ 754 w 785"/>
                  <a:gd name="T81" fmla="*/ 662 h 778"/>
                  <a:gd name="T82" fmla="*/ 770 w 785"/>
                  <a:gd name="T83" fmla="*/ 667 h 778"/>
                  <a:gd name="T84" fmla="*/ 700 w 785"/>
                  <a:gd name="T85" fmla="*/ 737 h 778"/>
                  <a:gd name="T86" fmla="*/ 645 w 785"/>
                  <a:gd name="T87" fmla="*/ 754 h 778"/>
                  <a:gd name="T88" fmla="*/ 645 w 785"/>
                  <a:gd name="T89" fmla="*/ 754 h 778"/>
                  <a:gd name="T90" fmla="*/ 733 w 785"/>
                  <a:gd name="T91" fmla="*/ 277 h 778"/>
                  <a:gd name="T92" fmla="*/ 737 w 785"/>
                  <a:gd name="T93" fmla="*/ 305 h 778"/>
                  <a:gd name="T94" fmla="*/ 721 w 785"/>
                  <a:gd name="T95" fmla="*/ 322 h 778"/>
                  <a:gd name="T96" fmla="*/ 733 w 785"/>
                  <a:gd name="T97" fmla="*/ 305 h 778"/>
                  <a:gd name="T98" fmla="*/ 704 w 785"/>
                  <a:gd name="T99" fmla="*/ 362 h 778"/>
                  <a:gd name="T100" fmla="*/ 716 w 785"/>
                  <a:gd name="T101" fmla="*/ 367 h 778"/>
                  <a:gd name="T102" fmla="*/ 721 w 785"/>
                  <a:gd name="T103" fmla="*/ 388 h 778"/>
                  <a:gd name="T104" fmla="*/ 688 w 785"/>
                  <a:gd name="T105" fmla="*/ 378 h 778"/>
                  <a:gd name="T106" fmla="*/ 700 w 785"/>
                  <a:gd name="T107" fmla="*/ 345 h 778"/>
                  <a:gd name="T108" fmla="*/ 704 w 785"/>
                  <a:gd name="T109" fmla="*/ 362 h 778"/>
                  <a:gd name="T110" fmla="*/ 721 w 785"/>
                  <a:gd name="T111" fmla="*/ 499 h 778"/>
                  <a:gd name="T112" fmla="*/ 742 w 785"/>
                  <a:gd name="T113" fmla="*/ 478 h 778"/>
                  <a:gd name="T114" fmla="*/ 721 w 785"/>
                  <a:gd name="T115" fmla="*/ 499 h 778"/>
                  <a:gd name="T116" fmla="*/ 721 w 785"/>
                  <a:gd name="T117" fmla="*/ 499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5" h="778">
                    <a:moveTo>
                      <a:pt x="645" y="754"/>
                    </a:moveTo>
                    <a:lnTo>
                      <a:pt x="612" y="737"/>
                    </a:lnTo>
                    <a:lnTo>
                      <a:pt x="607" y="749"/>
                    </a:lnTo>
                    <a:lnTo>
                      <a:pt x="596" y="766"/>
                    </a:lnTo>
                    <a:lnTo>
                      <a:pt x="574" y="778"/>
                    </a:lnTo>
                    <a:lnTo>
                      <a:pt x="525" y="766"/>
                    </a:lnTo>
                    <a:lnTo>
                      <a:pt x="503" y="778"/>
                    </a:lnTo>
                    <a:lnTo>
                      <a:pt x="482" y="778"/>
                    </a:lnTo>
                    <a:lnTo>
                      <a:pt x="482" y="766"/>
                    </a:lnTo>
                    <a:lnTo>
                      <a:pt x="461" y="754"/>
                    </a:lnTo>
                    <a:lnTo>
                      <a:pt x="433" y="771"/>
                    </a:lnTo>
                    <a:lnTo>
                      <a:pt x="395" y="766"/>
                    </a:lnTo>
                    <a:lnTo>
                      <a:pt x="374" y="733"/>
                    </a:lnTo>
                    <a:lnTo>
                      <a:pt x="374" y="712"/>
                    </a:lnTo>
                    <a:lnTo>
                      <a:pt x="364" y="655"/>
                    </a:lnTo>
                    <a:lnTo>
                      <a:pt x="352" y="626"/>
                    </a:lnTo>
                    <a:lnTo>
                      <a:pt x="326" y="610"/>
                    </a:lnTo>
                    <a:lnTo>
                      <a:pt x="319" y="626"/>
                    </a:lnTo>
                    <a:lnTo>
                      <a:pt x="310" y="622"/>
                    </a:lnTo>
                    <a:lnTo>
                      <a:pt x="288" y="622"/>
                    </a:lnTo>
                    <a:lnTo>
                      <a:pt x="281" y="610"/>
                    </a:lnTo>
                    <a:lnTo>
                      <a:pt x="248" y="605"/>
                    </a:lnTo>
                    <a:lnTo>
                      <a:pt x="227" y="600"/>
                    </a:lnTo>
                    <a:lnTo>
                      <a:pt x="218" y="589"/>
                    </a:lnTo>
                    <a:lnTo>
                      <a:pt x="189" y="584"/>
                    </a:lnTo>
                    <a:lnTo>
                      <a:pt x="189" y="572"/>
                    </a:lnTo>
                    <a:lnTo>
                      <a:pt x="163" y="572"/>
                    </a:lnTo>
                    <a:lnTo>
                      <a:pt x="147" y="551"/>
                    </a:lnTo>
                    <a:lnTo>
                      <a:pt x="118" y="551"/>
                    </a:lnTo>
                    <a:lnTo>
                      <a:pt x="104" y="515"/>
                    </a:lnTo>
                    <a:lnTo>
                      <a:pt x="71" y="445"/>
                    </a:lnTo>
                    <a:lnTo>
                      <a:pt x="50" y="423"/>
                    </a:lnTo>
                    <a:lnTo>
                      <a:pt x="26" y="404"/>
                    </a:lnTo>
                    <a:lnTo>
                      <a:pt x="17" y="383"/>
                    </a:lnTo>
                    <a:lnTo>
                      <a:pt x="12" y="362"/>
                    </a:lnTo>
                    <a:lnTo>
                      <a:pt x="17" y="345"/>
                    </a:lnTo>
                    <a:lnTo>
                      <a:pt x="0" y="289"/>
                    </a:lnTo>
                    <a:lnTo>
                      <a:pt x="0" y="251"/>
                    </a:lnTo>
                    <a:lnTo>
                      <a:pt x="33" y="251"/>
                    </a:lnTo>
                    <a:lnTo>
                      <a:pt x="50" y="234"/>
                    </a:lnTo>
                    <a:lnTo>
                      <a:pt x="71" y="201"/>
                    </a:lnTo>
                    <a:lnTo>
                      <a:pt x="71" y="201"/>
                    </a:lnTo>
                    <a:lnTo>
                      <a:pt x="81" y="185"/>
                    </a:lnTo>
                    <a:lnTo>
                      <a:pt x="104" y="161"/>
                    </a:lnTo>
                    <a:lnTo>
                      <a:pt x="104" y="145"/>
                    </a:lnTo>
                    <a:lnTo>
                      <a:pt x="88" y="140"/>
                    </a:lnTo>
                    <a:lnTo>
                      <a:pt x="81" y="140"/>
                    </a:lnTo>
                    <a:lnTo>
                      <a:pt x="81" y="140"/>
                    </a:lnTo>
                    <a:lnTo>
                      <a:pt x="88" y="100"/>
                    </a:lnTo>
                    <a:lnTo>
                      <a:pt x="104" y="100"/>
                    </a:lnTo>
                    <a:lnTo>
                      <a:pt x="109" y="74"/>
                    </a:lnTo>
                    <a:lnTo>
                      <a:pt x="104" y="67"/>
                    </a:lnTo>
                    <a:lnTo>
                      <a:pt x="104" y="50"/>
                    </a:lnTo>
                    <a:lnTo>
                      <a:pt x="92" y="34"/>
                    </a:lnTo>
                    <a:lnTo>
                      <a:pt x="88" y="29"/>
                    </a:lnTo>
                    <a:lnTo>
                      <a:pt x="81" y="0"/>
                    </a:lnTo>
                    <a:lnTo>
                      <a:pt x="104" y="0"/>
                    </a:lnTo>
                    <a:lnTo>
                      <a:pt x="248" y="0"/>
                    </a:lnTo>
                    <a:lnTo>
                      <a:pt x="319" y="0"/>
                    </a:lnTo>
                    <a:lnTo>
                      <a:pt x="579" y="145"/>
                    </a:lnTo>
                    <a:lnTo>
                      <a:pt x="591" y="166"/>
                    </a:lnTo>
                    <a:lnTo>
                      <a:pt x="579" y="178"/>
                    </a:lnTo>
                    <a:lnTo>
                      <a:pt x="688" y="267"/>
                    </a:lnTo>
                    <a:lnTo>
                      <a:pt x="700" y="277"/>
                    </a:lnTo>
                    <a:lnTo>
                      <a:pt x="688" y="289"/>
                    </a:lnTo>
                    <a:lnTo>
                      <a:pt x="688" y="277"/>
                    </a:lnTo>
                    <a:lnTo>
                      <a:pt x="666" y="367"/>
                    </a:lnTo>
                    <a:lnTo>
                      <a:pt x="678" y="388"/>
                    </a:lnTo>
                    <a:lnTo>
                      <a:pt x="683" y="400"/>
                    </a:lnTo>
                    <a:lnTo>
                      <a:pt x="721" y="433"/>
                    </a:lnTo>
                    <a:lnTo>
                      <a:pt x="700" y="478"/>
                    </a:lnTo>
                    <a:lnTo>
                      <a:pt x="700" y="489"/>
                    </a:lnTo>
                    <a:lnTo>
                      <a:pt x="716" y="494"/>
                    </a:lnTo>
                    <a:lnTo>
                      <a:pt x="716" y="499"/>
                    </a:lnTo>
                    <a:lnTo>
                      <a:pt x="700" y="527"/>
                    </a:lnTo>
                    <a:lnTo>
                      <a:pt x="704" y="556"/>
                    </a:lnTo>
                    <a:lnTo>
                      <a:pt x="716" y="572"/>
                    </a:lnTo>
                    <a:lnTo>
                      <a:pt x="704" y="572"/>
                    </a:lnTo>
                    <a:lnTo>
                      <a:pt x="721" y="589"/>
                    </a:lnTo>
                    <a:lnTo>
                      <a:pt x="737" y="655"/>
                    </a:lnTo>
                    <a:lnTo>
                      <a:pt x="754" y="667"/>
                    </a:lnTo>
                    <a:lnTo>
                      <a:pt x="754" y="662"/>
                    </a:lnTo>
                    <a:lnTo>
                      <a:pt x="770" y="678"/>
                    </a:lnTo>
                    <a:lnTo>
                      <a:pt x="770" y="667"/>
                    </a:lnTo>
                    <a:lnTo>
                      <a:pt x="785" y="683"/>
                    </a:lnTo>
                    <a:lnTo>
                      <a:pt x="700" y="737"/>
                    </a:lnTo>
                    <a:lnTo>
                      <a:pt x="678" y="737"/>
                    </a:lnTo>
                    <a:lnTo>
                      <a:pt x="645" y="754"/>
                    </a:lnTo>
                    <a:lnTo>
                      <a:pt x="645" y="754"/>
                    </a:lnTo>
                    <a:lnTo>
                      <a:pt x="645" y="754"/>
                    </a:lnTo>
                    <a:close/>
                    <a:moveTo>
                      <a:pt x="733" y="305"/>
                    </a:moveTo>
                    <a:lnTo>
                      <a:pt x="733" y="277"/>
                    </a:lnTo>
                    <a:lnTo>
                      <a:pt x="737" y="277"/>
                    </a:lnTo>
                    <a:lnTo>
                      <a:pt x="737" y="305"/>
                    </a:lnTo>
                    <a:lnTo>
                      <a:pt x="733" y="322"/>
                    </a:lnTo>
                    <a:lnTo>
                      <a:pt x="721" y="322"/>
                    </a:lnTo>
                    <a:lnTo>
                      <a:pt x="733" y="305"/>
                    </a:lnTo>
                    <a:lnTo>
                      <a:pt x="733" y="305"/>
                    </a:lnTo>
                    <a:lnTo>
                      <a:pt x="733" y="305"/>
                    </a:lnTo>
                    <a:close/>
                    <a:moveTo>
                      <a:pt x="704" y="362"/>
                    </a:moveTo>
                    <a:lnTo>
                      <a:pt x="716" y="378"/>
                    </a:lnTo>
                    <a:lnTo>
                      <a:pt x="716" y="367"/>
                    </a:lnTo>
                    <a:lnTo>
                      <a:pt x="716" y="378"/>
                    </a:lnTo>
                    <a:lnTo>
                      <a:pt x="721" y="388"/>
                    </a:lnTo>
                    <a:lnTo>
                      <a:pt x="716" y="400"/>
                    </a:lnTo>
                    <a:lnTo>
                      <a:pt x="688" y="378"/>
                    </a:lnTo>
                    <a:lnTo>
                      <a:pt x="688" y="362"/>
                    </a:lnTo>
                    <a:lnTo>
                      <a:pt x="700" y="345"/>
                    </a:lnTo>
                    <a:lnTo>
                      <a:pt x="704" y="362"/>
                    </a:lnTo>
                    <a:lnTo>
                      <a:pt x="704" y="362"/>
                    </a:lnTo>
                    <a:lnTo>
                      <a:pt x="704" y="362"/>
                    </a:lnTo>
                    <a:close/>
                    <a:moveTo>
                      <a:pt x="721" y="499"/>
                    </a:moveTo>
                    <a:lnTo>
                      <a:pt x="721" y="499"/>
                    </a:lnTo>
                    <a:lnTo>
                      <a:pt x="742" y="478"/>
                    </a:lnTo>
                    <a:lnTo>
                      <a:pt x="737" y="499"/>
                    </a:lnTo>
                    <a:lnTo>
                      <a:pt x="721" y="499"/>
                    </a:lnTo>
                    <a:lnTo>
                      <a:pt x="721" y="499"/>
                    </a:lnTo>
                    <a:lnTo>
                      <a:pt x="721" y="49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87" name="Freeform 579">
                <a:extLst>
                  <a:ext uri="{FF2B5EF4-FFF2-40B4-BE49-F238E27FC236}">
                    <a16:creationId xmlns:a16="http://schemas.microsoft.com/office/drawing/2014/main" id="{D32DD648-D5C1-467B-9CAE-A6B8185853F1}"/>
                  </a:ext>
                </a:extLst>
              </p:cNvPr>
              <p:cNvSpPr>
                <a:spLocks/>
              </p:cNvSpPr>
              <p:nvPr/>
            </p:nvSpPr>
            <p:spPr bwMode="gray">
              <a:xfrm>
                <a:off x="7580039" y="3940312"/>
                <a:ext cx="155611" cy="167980"/>
              </a:xfrm>
              <a:custGeom>
                <a:avLst/>
                <a:gdLst>
                  <a:gd name="T0" fmla="*/ 231 w 378"/>
                  <a:gd name="T1" fmla="*/ 375 h 408"/>
                  <a:gd name="T2" fmla="*/ 87 w 378"/>
                  <a:gd name="T3" fmla="*/ 375 h 408"/>
                  <a:gd name="T4" fmla="*/ 66 w 378"/>
                  <a:gd name="T5" fmla="*/ 375 h 408"/>
                  <a:gd name="T6" fmla="*/ 54 w 378"/>
                  <a:gd name="T7" fmla="*/ 375 h 408"/>
                  <a:gd name="T8" fmla="*/ 33 w 378"/>
                  <a:gd name="T9" fmla="*/ 408 h 408"/>
                  <a:gd name="T10" fmla="*/ 16 w 378"/>
                  <a:gd name="T11" fmla="*/ 401 h 408"/>
                  <a:gd name="T12" fmla="*/ 0 w 378"/>
                  <a:gd name="T13" fmla="*/ 401 h 408"/>
                  <a:gd name="T14" fmla="*/ 0 w 378"/>
                  <a:gd name="T15" fmla="*/ 368 h 408"/>
                  <a:gd name="T16" fmla="*/ 12 w 378"/>
                  <a:gd name="T17" fmla="*/ 297 h 408"/>
                  <a:gd name="T18" fmla="*/ 21 w 378"/>
                  <a:gd name="T19" fmla="*/ 264 h 408"/>
                  <a:gd name="T20" fmla="*/ 21 w 378"/>
                  <a:gd name="T21" fmla="*/ 243 h 408"/>
                  <a:gd name="T22" fmla="*/ 38 w 378"/>
                  <a:gd name="T23" fmla="*/ 236 h 408"/>
                  <a:gd name="T24" fmla="*/ 49 w 378"/>
                  <a:gd name="T25" fmla="*/ 219 h 408"/>
                  <a:gd name="T26" fmla="*/ 66 w 378"/>
                  <a:gd name="T27" fmla="*/ 219 h 408"/>
                  <a:gd name="T28" fmla="*/ 125 w 378"/>
                  <a:gd name="T29" fmla="*/ 148 h 408"/>
                  <a:gd name="T30" fmla="*/ 104 w 378"/>
                  <a:gd name="T31" fmla="*/ 132 h 408"/>
                  <a:gd name="T32" fmla="*/ 92 w 378"/>
                  <a:gd name="T33" fmla="*/ 132 h 408"/>
                  <a:gd name="T34" fmla="*/ 75 w 378"/>
                  <a:gd name="T35" fmla="*/ 127 h 408"/>
                  <a:gd name="T36" fmla="*/ 92 w 378"/>
                  <a:gd name="T37" fmla="*/ 99 h 408"/>
                  <a:gd name="T38" fmla="*/ 87 w 378"/>
                  <a:gd name="T39" fmla="*/ 82 h 408"/>
                  <a:gd name="T40" fmla="*/ 92 w 378"/>
                  <a:gd name="T41" fmla="*/ 61 h 408"/>
                  <a:gd name="T42" fmla="*/ 92 w 378"/>
                  <a:gd name="T43" fmla="*/ 54 h 408"/>
                  <a:gd name="T44" fmla="*/ 92 w 378"/>
                  <a:gd name="T45" fmla="*/ 54 h 408"/>
                  <a:gd name="T46" fmla="*/ 104 w 378"/>
                  <a:gd name="T47" fmla="*/ 37 h 408"/>
                  <a:gd name="T48" fmla="*/ 108 w 378"/>
                  <a:gd name="T49" fmla="*/ 28 h 408"/>
                  <a:gd name="T50" fmla="*/ 142 w 378"/>
                  <a:gd name="T51" fmla="*/ 37 h 408"/>
                  <a:gd name="T52" fmla="*/ 156 w 378"/>
                  <a:gd name="T53" fmla="*/ 28 h 408"/>
                  <a:gd name="T54" fmla="*/ 163 w 378"/>
                  <a:gd name="T55" fmla="*/ 44 h 408"/>
                  <a:gd name="T56" fmla="*/ 184 w 378"/>
                  <a:gd name="T57" fmla="*/ 54 h 408"/>
                  <a:gd name="T58" fmla="*/ 184 w 378"/>
                  <a:gd name="T59" fmla="*/ 44 h 408"/>
                  <a:gd name="T60" fmla="*/ 201 w 378"/>
                  <a:gd name="T61" fmla="*/ 37 h 408"/>
                  <a:gd name="T62" fmla="*/ 217 w 378"/>
                  <a:gd name="T63" fmla="*/ 28 h 408"/>
                  <a:gd name="T64" fmla="*/ 238 w 378"/>
                  <a:gd name="T65" fmla="*/ 21 h 408"/>
                  <a:gd name="T66" fmla="*/ 255 w 378"/>
                  <a:gd name="T67" fmla="*/ 28 h 408"/>
                  <a:gd name="T68" fmla="*/ 281 w 378"/>
                  <a:gd name="T69" fmla="*/ 28 h 408"/>
                  <a:gd name="T70" fmla="*/ 307 w 378"/>
                  <a:gd name="T71" fmla="*/ 0 h 408"/>
                  <a:gd name="T72" fmla="*/ 323 w 378"/>
                  <a:gd name="T73" fmla="*/ 28 h 408"/>
                  <a:gd name="T74" fmla="*/ 340 w 378"/>
                  <a:gd name="T75" fmla="*/ 37 h 408"/>
                  <a:gd name="T76" fmla="*/ 340 w 378"/>
                  <a:gd name="T77" fmla="*/ 61 h 408"/>
                  <a:gd name="T78" fmla="*/ 345 w 378"/>
                  <a:gd name="T79" fmla="*/ 94 h 408"/>
                  <a:gd name="T80" fmla="*/ 361 w 378"/>
                  <a:gd name="T81" fmla="*/ 99 h 408"/>
                  <a:gd name="T82" fmla="*/ 373 w 378"/>
                  <a:gd name="T83" fmla="*/ 127 h 408"/>
                  <a:gd name="T84" fmla="*/ 378 w 378"/>
                  <a:gd name="T85" fmla="*/ 165 h 408"/>
                  <a:gd name="T86" fmla="*/ 378 w 378"/>
                  <a:gd name="T87" fmla="*/ 181 h 408"/>
                  <a:gd name="T88" fmla="*/ 361 w 378"/>
                  <a:gd name="T89" fmla="*/ 203 h 408"/>
                  <a:gd name="T90" fmla="*/ 373 w 378"/>
                  <a:gd name="T91" fmla="*/ 210 h 408"/>
                  <a:gd name="T92" fmla="*/ 345 w 378"/>
                  <a:gd name="T93" fmla="*/ 219 h 408"/>
                  <a:gd name="T94" fmla="*/ 340 w 378"/>
                  <a:gd name="T95" fmla="*/ 243 h 408"/>
                  <a:gd name="T96" fmla="*/ 323 w 378"/>
                  <a:gd name="T97" fmla="*/ 259 h 408"/>
                  <a:gd name="T98" fmla="*/ 302 w 378"/>
                  <a:gd name="T99" fmla="*/ 297 h 408"/>
                  <a:gd name="T100" fmla="*/ 307 w 378"/>
                  <a:gd name="T101" fmla="*/ 314 h 408"/>
                  <a:gd name="T102" fmla="*/ 302 w 378"/>
                  <a:gd name="T103" fmla="*/ 375 h 408"/>
                  <a:gd name="T104" fmla="*/ 231 w 378"/>
                  <a:gd name="T105" fmla="*/ 375 h 408"/>
                  <a:gd name="T106" fmla="*/ 231 w 378"/>
                  <a:gd name="T107" fmla="*/ 375 h 408"/>
                  <a:gd name="T108" fmla="*/ 231 w 378"/>
                  <a:gd name="T109" fmla="*/ 375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8" h="408">
                    <a:moveTo>
                      <a:pt x="231" y="375"/>
                    </a:moveTo>
                    <a:lnTo>
                      <a:pt x="87" y="375"/>
                    </a:lnTo>
                    <a:lnTo>
                      <a:pt x="66" y="375"/>
                    </a:lnTo>
                    <a:lnTo>
                      <a:pt x="54" y="375"/>
                    </a:lnTo>
                    <a:lnTo>
                      <a:pt x="33" y="408"/>
                    </a:lnTo>
                    <a:lnTo>
                      <a:pt x="16" y="401"/>
                    </a:lnTo>
                    <a:lnTo>
                      <a:pt x="0" y="401"/>
                    </a:lnTo>
                    <a:lnTo>
                      <a:pt x="0" y="368"/>
                    </a:lnTo>
                    <a:lnTo>
                      <a:pt x="12" y="297"/>
                    </a:lnTo>
                    <a:lnTo>
                      <a:pt x="21" y="264"/>
                    </a:lnTo>
                    <a:lnTo>
                      <a:pt x="21" y="243"/>
                    </a:lnTo>
                    <a:lnTo>
                      <a:pt x="38" y="236"/>
                    </a:lnTo>
                    <a:lnTo>
                      <a:pt x="49" y="219"/>
                    </a:lnTo>
                    <a:lnTo>
                      <a:pt x="66" y="219"/>
                    </a:lnTo>
                    <a:lnTo>
                      <a:pt x="125" y="148"/>
                    </a:lnTo>
                    <a:lnTo>
                      <a:pt x="104" y="132"/>
                    </a:lnTo>
                    <a:lnTo>
                      <a:pt x="92" y="132"/>
                    </a:lnTo>
                    <a:lnTo>
                      <a:pt x="75" y="127"/>
                    </a:lnTo>
                    <a:lnTo>
                      <a:pt x="92" y="99"/>
                    </a:lnTo>
                    <a:lnTo>
                      <a:pt x="87" y="82"/>
                    </a:lnTo>
                    <a:lnTo>
                      <a:pt x="92" y="61"/>
                    </a:lnTo>
                    <a:lnTo>
                      <a:pt x="92" y="54"/>
                    </a:lnTo>
                    <a:lnTo>
                      <a:pt x="92" y="54"/>
                    </a:lnTo>
                    <a:lnTo>
                      <a:pt x="104" y="37"/>
                    </a:lnTo>
                    <a:lnTo>
                      <a:pt x="108" y="28"/>
                    </a:lnTo>
                    <a:lnTo>
                      <a:pt x="142" y="37"/>
                    </a:lnTo>
                    <a:lnTo>
                      <a:pt x="156" y="28"/>
                    </a:lnTo>
                    <a:lnTo>
                      <a:pt x="163" y="44"/>
                    </a:lnTo>
                    <a:lnTo>
                      <a:pt x="184" y="54"/>
                    </a:lnTo>
                    <a:lnTo>
                      <a:pt x="184" y="44"/>
                    </a:lnTo>
                    <a:lnTo>
                      <a:pt x="201" y="37"/>
                    </a:lnTo>
                    <a:lnTo>
                      <a:pt x="217" y="28"/>
                    </a:lnTo>
                    <a:lnTo>
                      <a:pt x="238" y="21"/>
                    </a:lnTo>
                    <a:lnTo>
                      <a:pt x="255" y="28"/>
                    </a:lnTo>
                    <a:lnTo>
                      <a:pt x="281" y="28"/>
                    </a:lnTo>
                    <a:lnTo>
                      <a:pt x="307" y="0"/>
                    </a:lnTo>
                    <a:lnTo>
                      <a:pt x="323" y="28"/>
                    </a:lnTo>
                    <a:lnTo>
                      <a:pt x="340" y="37"/>
                    </a:lnTo>
                    <a:lnTo>
                      <a:pt x="340" y="61"/>
                    </a:lnTo>
                    <a:lnTo>
                      <a:pt x="345" y="94"/>
                    </a:lnTo>
                    <a:lnTo>
                      <a:pt x="361" y="99"/>
                    </a:lnTo>
                    <a:lnTo>
                      <a:pt x="373" y="127"/>
                    </a:lnTo>
                    <a:lnTo>
                      <a:pt x="378" y="165"/>
                    </a:lnTo>
                    <a:lnTo>
                      <a:pt x="378" y="181"/>
                    </a:lnTo>
                    <a:lnTo>
                      <a:pt x="361" y="203"/>
                    </a:lnTo>
                    <a:lnTo>
                      <a:pt x="373" y="210"/>
                    </a:lnTo>
                    <a:lnTo>
                      <a:pt x="345" y="219"/>
                    </a:lnTo>
                    <a:lnTo>
                      <a:pt x="340" y="243"/>
                    </a:lnTo>
                    <a:lnTo>
                      <a:pt x="323" y="259"/>
                    </a:lnTo>
                    <a:lnTo>
                      <a:pt x="302" y="297"/>
                    </a:lnTo>
                    <a:lnTo>
                      <a:pt x="307" y="314"/>
                    </a:lnTo>
                    <a:lnTo>
                      <a:pt x="302" y="375"/>
                    </a:lnTo>
                    <a:lnTo>
                      <a:pt x="231" y="375"/>
                    </a:lnTo>
                    <a:lnTo>
                      <a:pt x="231" y="375"/>
                    </a:lnTo>
                    <a:lnTo>
                      <a:pt x="231" y="37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88" name="Freeform 583">
                <a:extLst>
                  <a:ext uri="{FF2B5EF4-FFF2-40B4-BE49-F238E27FC236}">
                    <a16:creationId xmlns:a16="http://schemas.microsoft.com/office/drawing/2014/main" id="{135837BB-DA83-44ED-BADB-9B34FFB2A5FF}"/>
                  </a:ext>
                </a:extLst>
              </p:cNvPr>
              <p:cNvSpPr>
                <a:spLocks/>
              </p:cNvSpPr>
              <p:nvPr/>
            </p:nvSpPr>
            <p:spPr bwMode="gray">
              <a:xfrm>
                <a:off x="6566508" y="3615469"/>
                <a:ext cx="229712" cy="170862"/>
              </a:xfrm>
              <a:custGeom>
                <a:avLst/>
                <a:gdLst>
                  <a:gd name="T0" fmla="*/ 428 w 558"/>
                  <a:gd name="T1" fmla="*/ 304 h 415"/>
                  <a:gd name="T2" fmla="*/ 378 w 558"/>
                  <a:gd name="T3" fmla="*/ 288 h 415"/>
                  <a:gd name="T4" fmla="*/ 341 w 558"/>
                  <a:gd name="T5" fmla="*/ 304 h 415"/>
                  <a:gd name="T6" fmla="*/ 319 w 558"/>
                  <a:gd name="T7" fmla="*/ 293 h 415"/>
                  <a:gd name="T8" fmla="*/ 178 w 558"/>
                  <a:gd name="T9" fmla="*/ 316 h 415"/>
                  <a:gd name="T10" fmla="*/ 194 w 558"/>
                  <a:gd name="T11" fmla="*/ 399 h 415"/>
                  <a:gd name="T12" fmla="*/ 194 w 558"/>
                  <a:gd name="T13" fmla="*/ 415 h 415"/>
                  <a:gd name="T14" fmla="*/ 135 w 558"/>
                  <a:gd name="T15" fmla="*/ 370 h 415"/>
                  <a:gd name="T16" fmla="*/ 85 w 558"/>
                  <a:gd name="T17" fmla="*/ 399 h 415"/>
                  <a:gd name="T18" fmla="*/ 38 w 558"/>
                  <a:gd name="T19" fmla="*/ 370 h 415"/>
                  <a:gd name="T20" fmla="*/ 10 w 558"/>
                  <a:gd name="T21" fmla="*/ 349 h 415"/>
                  <a:gd name="T22" fmla="*/ 10 w 558"/>
                  <a:gd name="T23" fmla="*/ 309 h 415"/>
                  <a:gd name="T24" fmla="*/ 15 w 558"/>
                  <a:gd name="T25" fmla="*/ 288 h 415"/>
                  <a:gd name="T26" fmla="*/ 15 w 558"/>
                  <a:gd name="T27" fmla="*/ 233 h 415"/>
                  <a:gd name="T28" fmla="*/ 64 w 558"/>
                  <a:gd name="T29" fmla="*/ 217 h 415"/>
                  <a:gd name="T30" fmla="*/ 81 w 558"/>
                  <a:gd name="T31" fmla="*/ 181 h 415"/>
                  <a:gd name="T32" fmla="*/ 85 w 558"/>
                  <a:gd name="T33" fmla="*/ 165 h 415"/>
                  <a:gd name="T34" fmla="*/ 85 w 558"/>
                  <a:gd name="T35" fmla="*/ 144 h 415"/>
                  <a:gd name="T36" fmla="*/ 145 w 558"/>
                  <a:gd name="T37" fmla="*/ 139 h 415"/>
                  <a:gd name="T38" fmla="*/ 161 w 558"/>
                  <a:gd name="T39" fmla="*/ 127 h 415"/>
                  <a:gd name="T40" fmla="*/ 189 w 558"/>
                  <a:gd name="T41" fmla="*/ 106 h 415"/>
                  <a:gd name="T42" fmla="*/ 215 w 558"/>
                  <a:gd name="T43" fmla="*/ 54 h 415"/>
                  <a:gd name="T44" fmla="*/ 248 w 558"/>
                  <a:gd name="T45" fmla="*/ 66 h 415"/>
                  <a:gd name="T46" fmla="*/ 270 w 558"/>
                  <a:gd name="T47" fmla="*/ 37 h 415"/>
                  <a:gd name="T48" fmla="*/ 308 w 558"/>
                  <a:gd name="T49" fmla="*/ 16 h 415"/>
                  <a:gd name="T50" fmla="*/ 357 w 558"/>
                  <a:gd name="T51" fmla="*/ 0 h 415"/>
                  <a:gd name="T52" fmla="*/ 374 w 558"/>
                  <a:gd name="T53" fmla="*/ 0 h 415"/>
                  <a:gd name="T54" fmla="*/ 395 w 558"/>
                  <a:gd name="T55" fmla="*/ 37 h 415"/>
                  <a:gd name="T56" fmla="*/ 411 w 558"/>
                  <a:gd name="T57" fmla="*/ 66 h 415"/>
                  <a:gd name="T58" fmla="*/ 459 w 558"/>
                  <a:gd name="T59" fmla="*/ 111 h 415"/>
                  <a:gd name="T60" fmla="*/ 482 w 558"/>
                  <a:gd name="T61" fmla="*/ 127 h 415"/>
                  <a:gd name="T62" fmla="*/ 459 w 558"/>
                  <a:gd name="T63" fmla="*/ 144 h 415"/>
                  <a:gd name="T64" fmla="*/ 534 w 558"/>
                  <a:gd name="T65" fmla="*/ 177 h 415"/>
                  <a:gd name="T66" fmla="*/ 534 w 558"/>
                  <a:gd name="T67" fmla="*/ 198 h 415"/>
                  <a:gd name="T68" fmla="*/ 551 w 558"/>
                  <a:gd name="T69" fmla="*/ 250 h 415"/>
                  <a:gd name="T70" fmla="*/ 504 w 558"/>
                  <a:gd name="T71" fmla="*/ 271 h 415"/>
                  <a:gd name="T72" fmla="*/ 482 w 558"/>
                  <a:gd name="T73" fmla="*/ 271 h 415"/>
                  <a:gd name="T74" fmla="*/ 449 w 558"/>
                  <a:gd name="T75" fmla="*/ 293 h 415"/>
                  <a:gd name="T76" fmla="*/ 449 w 558"/>
                  <a:gd name="T77" fmla="*/ 293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8" h="415">
                    <a:moveTo>
                      <a:pt x="449" y="293"/>
                    </a:moveTo>
                    <a:lnTo>
                      <a:pt x="428" y="304"/>
                    </a:lnTo>
                    <a:lnTo>
                      <a:pt x="428" y="293"/>
                    </a:lnTo>
                    <a:lnTo>
                      <a:pt x="378" y="288"/>
                    </a:lnTo>
                    <a:lnTo>
                      <a:pt x="362" y="288"/>
                    </a:lnTo>
                    <a:lnTo>
                      <a:pt x="341" y="304"/>
                    </a:lnTo>
                    <a:lnTo>
                      <a:pt x="341" y="293"/>
                    </a:lnTo>
                    <a:lnTo>
                      <a:pt x="319" y="293"/>
                    </a:lnTo>
                    <a:lnTo>
                      <a:pt x="189" y="293"/>
                    </a:lnTo>
                    <a:lnTo>
                      <a:pt x="178" y="316"/>
                    </a:lnTo>
                    <a:lnTo>
                      <a:pt x="194" y="349"/>
                    </a:lnTo>
                    <a:lnTo>
                      <a:pt x="194" y="399"/>
                    </a:lnTo>
                    <a:lnTo>
                      <a:pt x="199" y="404"/>
                    </a:lnTo>
                    <a:lnTo>
                      <a:pt x="194" y="415"/>
                    </a:lnTo>
                    <a:lnTo>
                      <a:pt x="161" y="370"/>
                    </a:lnTo>
                    <a:lnTo>
                      <a:pt x="135" y="370"/>
                    </a:lnTo>
                    <a:lnTo>
                      <a:pt x="90" y="382"/>
                    </a:lnTo>
                    <a:lnTo>
                      <a:pt x="85" y="399"/>
                    </a:lnTo>
                    <a:lnTo>
                      <a:pt x="52" y="387"/>
                    </a:lnTo>
                    <a:lnTo>
                      <a:pt x="38" y="370"/>
                    </a:lnTo>
                    <a:lnTo>
                      <a:pt x="26" y="349"/>
                    </a:lnTo>
                    <a:lnTo>
                      <a:pt x="10" y="349"/>
                    </a:lnTo>
                    <a:lnTo>
                      <a:pt x="0" y="333"/>
                    </a:lnTo>
                    <a:lnTo>
                      <a:pt x="10" y="309"/>
                    </a:lnTo>
                    <a:lnTo>
                      <a:pt x="0" y="293"/>
                    </a:lnTo>
                    <a:lnTo>
                      <a:pt x="15" y="288"/>
                    </a:lnTo>
                    <a:lnTo>
                      <a:pt x="26" y="259"/>
                    </a:lnTo>
                    <a:lnTo>
                      <a:pt x="15" y="233"/>
                    </a:lnTo>
                    <a:lnTo>
                      <a:pt x="26" y="222"/>
                    </a:lnTo>
                    <a:lnTo>
                      <a:pt x="64" y="217"/>
                    </a:lnTo>
                    <a:lnTo>
                      <a:pt x="81" y="198"/>
                    </a:lnTo>
                    <a:lnTo>
                      <a:pt x="81" y="181"/>
                    </a:lnTo>
                    <a:lnTo>
                      <a:pt x="69" y="165"/>
                    </a:lnTo>
                    <a:lnTo>
                      <a:pt x="85" y="165"/>
                    </a:lnTo>
                    <a:lnTo>
                      <a:pt x="90" y="160"/>
                    </a:lnTo>
                    <a:lnTo>
                      <a:pt x="85" y="144"/>
                    </a:lnTo>
                    <a:lnTo>
                      <a:pt x="107" y="111"/>
                    </a:lnTo>
                    <a:lnTo>
                      <a:pt x="145" y="139"/>
                    </a:lnTo>
                    <a:lnTo>
                      <a:pt x="145" y="127"/>
                    </a:lnTo>
                    <a:lnTo>
                      <a:pt x="161" y="127"/>
                    </a:lnTo>
                    <a:lnTo>
                      <a:pt x="156" y="94"/>
                    </a:lnTo>
                    <a:lnTo>
                      <a:pt x="189" y="106"/>
                    </a:lnTo>
                    <a:lnTo>
                      <a:pt x="189" y="70"/>
                    </a:lnTo>
                    <a:lnTo>
                      <a:pt x="215" y="54"/>
                    </a:lnTo>
                    <a:lnTo>
                      <a:pt x="244" y="66"/>
                    </a:lnTo>
                    <a:lnTo>
                      <a:pt x="248" y="66"/>
                    </a:lnTo>
                    <a:lnTo>
                      <a:pt x="248" y="37"/>
                    </a:lnTo>
                    <a:lnTo>
                      <a:pt x="270" y="37"/>
                    </a:lnTo>
                    <a:lnTo>
                      <a:pt x="298" y="28"/>
                    </a:lnTo>
                    <a:lnTo>
                      <a:pt x="308" y="16"/>
                    </a:lnTo>
                    <a:lnTo>
                      <a:pt x="336" y="0"/>
                    </a:lnTo>
                    <a:lnTo>
                      <a:pt x="357" y="0"/>
                    </a:lnTo>
                    <a:lnTo>
                      <a:pt x="362" y="0"/>
                    </a:lnTo>
                    <a:lnTo>
                      <a:pt x="374" y="0"/>
                    </a:lnTo>
                    <a:lnTo>
                      <a:pt x="404" y="11"/>
                    </a:lnTo>
                    <a:lnTo>
                      <a:pt x="395" y="37"/>
                    </a:lnTo>
                    <a:lnTo>
                      <a:pt x="416" y="54"/>
                    </a:lnTo>
                    <a:lnTo>
                      <a:pt x="411" y="66"/>
                    </a:lnTo>
                    <a:lnTo>
                      <a:pt x="428" y="94"/>
                    </a:lnTo>
                    <a:lnTo>
                      <a:pt x="459" y="111"/>
                    </a:lnTo>
                    <a:lnTo>
                      <a:pt x="459" y="111"/>
                    </a:lnTo>
                    <a:lnTo>
                      <a:pt x="482" y="127"/>
                    </a:lnTo>
                    <a:lnTo>
                      <a:pt x="459" y="122"/>
                    </a:lnTo>
                    <a:lnTo>
                      <a:pt x="459" y="144"/>
                    </a:lnTo>
                    <a:lnTo>
                      <a:pt x="497" y="177"/>
                    </a:lnTo>
                    <a:lnTo>
                      <a:pt x="534" y="177"/>
                    </a:lnTo>
                    <a:lnTo>
                      <a:pt x="541" y="193"/>
                    </a:lnTo>
                    <a:lnTo>
                      <a:pt x="534" y="198"/>
                    </a:lnTo>
                    <a:lnTo>
                      <a:pt x="558" y="233"/>
                    </a:lnTo>
                    <a:lnTo>
                      <a:pt x="551" y="250"/>
                    </a:lnTo>
                    <a:lnTo>
                      <a:pt x="525" y="259"/>
                    </a:lnTo>
                    <a:lnTo>
                      <a:pt x="504" y="271"/>
                    </a:lnTo>
                    <a:lnTo>
                      <a:pt x="487" y="259"/>
                    </a:lnTo>
                    <a:lnTo>
                      <a:pt x="482" y="271"/>
                    </a:lnTo>
                    <a:lnTo>
                      <a:pt x="471" y="276"/>
                    </a:lnTo>
                    <a:lnTo>
                      <a:pt x="449" y="293"/>
                    </a:lnTo>
                    <a:lnTo>
                      <a:pt x="449" y="293"/>
                    </a:lnTo>
                    <a:lnTo>
                      <a:pt x="449" y="29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89" name="Freeform 590">
                <a:extLst>
                  <a:ext uri="{FF2B5EF4-FFF2-40B4-BE49-F238E27FC236}">
                    <a16:creationId xmlns:a16="http://schemas.microsoft.com/office/drawing/2014/main" id="{94BB9F2D-E0FF-4D30-AA7D-B2057E71E70A}"/>
                  </a:ext>
                </a:extLst>
              </p:cNvPr>
              <p:cNvSpPr>
                <a:spLocks/>
              </p:cNvSpPr>
              <p:nvPr/>
            </p:nvSpPr>
            <p:spPr bwMode="gray">
              <a:xfrm>
                <a:off x="7066686" y="4573120"/>
                <a:ext cx="387792" cy="374661"/>
              </a:xfrm>
              <a:custGeom>
                <a:avLst/>
                <a:gdLst>
                  <a:gd name="T0" fmla="*/ 21 w 942"/>
                  <a:gd name="T1" fmla="*/ 17 h 910"/>
                  <a:gd name="T2" fmla="*/ 96 w 942"/>
                  <a:gd name="T3" fmla="*/ 0 h 910"/>
                  <a:gd name="T4" fmla="*/ 151 w 942"/>
                  <a:gd name="T5" fmla="*/ 38 h 910"/>
                  <a:gd name="T6" fmla="*/ 474 w 942"/>
                  <a:gd name="T7" fmla="*/ 55 h 910"/>
                  <a:gd name="T8" fmla="*/ 597 w 942"/>
                  <a:gd name="T9" fmla="*/ 71 h 910"/>
                  <a:gd name="T10" fmla="*/ 635 w 942"/>
                  <a:gd name="T11" fmla="*/ 76 h 910"/>
                  <a:gd name="T12" fmla="*/ 668 w 942"/>
                  <a:gd name="T13" fmla="*/ 76 h 910"/>
                  <a:gd name="T14" fmla="*/ 867 w 942"/>
                  <a:gd name="T15" fmla="*/ 38 h 910"/>
                  <a:gd name="T16" fmla="*/ 921 w 942"/>
                  <a:gd name="T17" fmla="*/ 50 h 910"/>
                  <a:gd name="T18" fmla="*/ 916 w 942"/>
                  <a:gd name="T19" fmla="*/ 59 h 910"/>
                  <a:gd name="T20" fmla="*/ 878 w 942"/>
                  <a:gd name="T21" fmla="*/ 76 h 910"/>
                  <a:gd name="T22" fmla="*/ 807 w 942"/>
                  <a:gd name="T23" fmla="*/ 76 h 910"/>
                  <a:gd name="T24" fmla="*/ 647 w 942"/>
                  <a:gd name="T25" fmla="*/ 383 h 910"/>
                  <a:gd name="T26" fmla="*/ 576 w 942"/>
                  <a:gd name="T27" fmla="*/ 586 h 910"/>
                  <a:gd name="T28" fmla="*/ 543 w 942"/>
                  <a:gd name="T29" fmla="*/ 881 h 910"/>
                  <a:gd name="T30" fmla="*/ 522 w 942"/>
                  <a:gd name="T31" fmla="*/ 898 h 910"/>
                  <a:gd name="T32" fmla="*/ 512 w 942"/>
                  <a:gd name="T33" fmla="*/ 910 h 910"/>
                  <a:gd name="T34" fmla="*/ 441 w 942"/>
                  <a:gd name="T35" fmla="*/ 910 h 910"/>
                  <a:gd name="T36" fmla="*/ 404 w 942"/>
                  <a:gd name="T37" fmla="*/ 903 h 910"/>
                  <a:gd name="T38" fmla="*/ 387 w 942"/>
                  <a:gd name="T39" fmla="*/ 898 h 910"/>
                  <a:gd name="T40" fmla="*/ 382 w 942"/>
                  <a:gd name="T41" fmla="*/ 853 h 910"/>
                  <a:gd name="T42" fmla="*/ 349 w 942"/>
                  <a:gd name="T43" fmla="*/ 848 h 910"/>
                  <a:gd name="T44" fmla="*/ 328 w 942"/>
                  <a:gd name="T45" fmla="*/ 886 h 910"/>
                  <a:gd name="T46" fmla="*/ 274 w 942"/>
                  <a:gd name="T47" fmla="*/ 841 h 910"/>
                  <a:gd name="T48" fmla="*/ 236 w 942"/>
                  <a:gd name="T49" fmla="*/ 759 h 910"/>
                  <a:gd name="T50" fmla="*/ 236 w 942"/>
                  <a:gd name="T51" fmla="*/ 730 h 910"/>
                  <a:gd name="T52" fmla="*/ 219 w 942"/>
                  <a:gd name="T53" fmla="*/ 714 h 910"/>
                  <a:gd name="T54" fmla="*/ 215 w 942"/>
                  <a:gd name="T55" fmla="*/ 664 h 910"/>
                  <a:gd name="T56" fmla="*/ 181 w 942"/>
                  <a:gd name="T57" fmla="*/ 537 h 910"/>
                  <a:gd name="T58" fmla="*/ 203 w 942"/>
                  <a:gd name="T59" fmla="*/ 466 h 910"/>
                  <a:gd name="T60" fmla="*/ 189 w 942"/>
                  <a:gd name="T61" fmla="*/ 425 h 910"/>
                  <a:gd name="T62" fmla="*/ 151 w 942"/>
                  <a:gd name="T63" fmla="*/ 366 h 910"/>
                  <a:gd name="T64" fmla="*/ 113 w 942"/>
                  <a:gd name="T65" fmla="*/ 293 h 910"/>
                  <a:gd name="T66" fmla="*/ 42 w 942"/>
                  <a:gd name="T67" fmla="*/ 149 h 910"/>
                  <a:gd name="T68" fmla="*/ 0 w 942"/>
                  <a:gd name="T69" fmla="*/ 88 h 910"/>
                  <a:gd name="T70" fmla="*/ 0 w 942"/>
                  <a:gd name="T71" fmla="*/ 22 h 910"/>
                  <a:gd name="T72" fmla="*/ 0 w 942"/>
                  <a:gd name="T73" fmla="*/ 22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2" h="910">
                    <a:moveTo>
                      <a:pt x="0" y="22"/>
                    </a:moveTo>
                    <a:lnTo>
                      <a:pt x="21" y="17"/>
                    </a:lnTo>
                    <a:lnTo>
                      <a:pt x="52" y="22"/>
                    </a:lnTo>
                    <a:lnTo>
                      <a:pt x="96" y="0"/>
                    </a:lnTo>
                    <a:lnTo>
                      <a:pt x="118" y="5"/>
                    </a:lnTo>
                    <a:lnTo>
                      <a:pt x="151" y="38"/>
                    </a:lnTo>
                    <a:lnTo>
                      <a:pt x="467" y="33"/>
                    </a:lnTo>
                    <a:lnTo>
                      <a:pt x="474" y="55"/>
                    </a:lnTo>
                    <a:lnTo>
                      <a:pt x="496" y="59"/>
                    </a:lnTo>
                    <a:lnTo>
                      <a:pt x="597" y="71"/>
                    </a:lnTo>
                    <a:lnTo>
                      <a:pt x="614" y="76"/>
                    </a:lnTo>
                    <a:lnTo>
                      <a:pt x="635" y="76"/>
                    </a:lnTo>
                    <a:lnTo>
                      <a:pt x="652" y="71"/>
                    </a:lnTo>
                    <a:lnTo>
                      <a:pt x="668" y="76"/>
                    </a:lnTo>
                    <a:lnTo>
                      <a:pt x="812" y="55"/>
                    </a:lnTo>
                    <a:lnTo>
                      <a:pt x="867" y="38"/>
                    </a:lnTo>
                    <a:lnTo>
                      <a:pt x="900" y="38"/>
                    </a:lnTo>
                    <a:lnTo>
                      <a:pt x="921" y="50"/>
                    </a:lnTo>
                    <a:lnTo>
                      <a:pt x="942" y="59"/>
                    </a:lnTo>
                    <a:lnTo>
                      <a:pt x="916" y="59"/>
                    </a:lnTo>
                    <a:lnTo>
                      <a:pt x="888" y="88"/>
                    </a:lnTo>
                    <a:lnTo>
                      <a:pt x="878" y="76"/>
                    </a:lnTo>
                    <a:lnTo>
                      <a:pt x="829" y="116"/>
                    </a:lnTo>
                    <a:lnTo>
                      <a:pt x="807" y="76"/>
                    </a:lnTo>
                    <a:lnTo>
                      <a:pt x="647" y="104"/>
                    </a:lnTo>
                    <a:lnTo>
                      <a:pt x="647" y="383"/>
                    </a:lnTo>
                    <a:lnTo>
                      <a:pt x="576" y="383"/>
                    </a:lnTo>
                    <a:lnTo>
                      <a:pt x="576" y="586"/>
                    </a:lnTo>
                    <a:lnTo>
                      <a:pt x="576" y="870"/>
                    </a:lnTo>
                    <a:lnTo>
                      <a:pt x="543" y="881"/>
                    </a:lnTo>
                    <a:lnTo>
                      <a:pt x="538" y="898"/>
                    </a:lnTo>
                    <a:lnTo>
                      <a:pt x="522" y="898"/>
                    </a:lnTo>
                    <a:lnTo>
                      <a:pt x="522" y="910"/>
                    </a:lnTo>
                    <a:lnTo>
                      <a:pt x="512" y="910"/>
                    </a:lnTo>
                    <a:lnTo>
                      <a:pt x="484" y="903"/>
                    </a:lnTo>
                    <a:lnTo>
                      <a:pt x="441" y="910"/>
                    </a:lnTo>
                    <a:lnTo>
                      <a:pt x="430" y="903"/>
                    </a:lnTo>
                    <a:lnTo>
                      <a:pt x="404" y="903"/>
                    </a:lnTo>
                    <a:lnTo>
                      <a:pt x="404" y="898"/>
                    </a:lnTo>
                    <a:lnTo>
                      <a:pt x="387" y="898"/>
                    </a:lnTo>
                    <a:lnTo>
                      <a:pt x="387" y="853"/>
                    </a:lnTo>
                    <a:lnTo>
                      <a:pt x="382" y="853"/>
                    </a:lnTo>
                    <a:lnTo>
                      <a:pt x="366" y="841"/>
                    </a:lnTo>
                    <a:lnTo>
                      <a:pt x="349" y="848"/>
                    </a:lnTo>
                    <a:lnTo>
                      <a:pt x="344" y="881"/>
                    </a:lnTo>
                    <a:lnTo>
                      <a:pt x="328" y="886"/>
                    </a:lnTo>
                    <a:lnTo>
                      <a:pt x="323" y="881"/>
                    </a:lnTo>
                    <a:lnTo>
                      <a:pt x="274" y="841"/>
                    </a:lnTo>
                    <a:lnTo>
                      <a:pt x="241" y="787"/>
                    </a:lnTo>
                    <a:lnTo>
                      <a:pt x="236" y="759"/>
                    </a:lnTo>
                    <a:lnTo>
                      <a:pt x="226" y="737"/>
                    </a:lnTo>
                    <a:lnTo>
                      <a:pt x="236" y="730"/>
                    </a:lnTo>
                    <a:lnTo>
                      <a:pt x="226" y="714"/>
                    </a:lnTo>
                    <a:lnTo>
                      <a:pt x="219" y="714"/>
                    </a:lnTo>
                    <a:lnTo>
                      <a:pt x="219" y="688"/>
                    </a:lnTo>
                    <a:lnTo>
                      <a:pt x="215" y="664"/>
                    </a:lnTo>
                    <a:lnTo>
                      <a:pt x="215" y="610"/>
                    </a:lnTo>
                    <a:lnTo>
                      <a:pt x="181" y="537"/>
                    </a:lnTo>
                    <a:lnTo>
                      <a:pt x="181" y="466"/>
                    </a:lnTo>
                    <a:lnTo>
                      <a:pt x="203" y="466"/>
                    </a:lnTo>
                    <a:lnTo>
                      <a:pt x="198" y="425"/>
                    </a:lnTo>
                    <a:lnTo>
                      <a:pt x="189" y="425"/>
                    </a:lnTo>
                    <a:lnTo>
                      <a:pt x="181" y="404"/>
                    </a:lnTo>
                    <a:lnTo>
                      <a:pt x="151" y="366"/>
                    </a:lnTo>
                    <a:lnTo>
                      <a:pt x="144" y="343"/>
                    </a:lnTo>
                    <a:lnTo>
                      <a:pt x="113" y="293"/>
                    </a:lnTo>
                    <a:lnTo>
                      <a:pt x="96" y="244"/>
                    </a:lnTo>
                    <a:lnTo>
                      <a:pt x="42" y="149"/>
                    </a:lnTo>
                    <a:lnTo>
                      <a:pt x="9" y="109"/>
                    </a:lnTo>
                    <a:lnTo>
                      <a:pt x="0" y="88"/>
                    </a:lnTo>
                    <a:lnTo>
                      <a:pt x="0" y="50"/>
                    </a:lnTo>
                    <a:lnTo>
                      <a:pt x="0" y="22"/>
                    </a:lnTo>
                    <a:lnTo>
                      <a:pt x="0" y="22"/>
                    </a:lnTo>
                    <a:lnTo>
                      <a:pt x="0" y="2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90" name="Freeform 591">
                <a:extLst>
                  <a:ext uri="{FF2B5EF4-FFF2-40B4-BE49-F238E27FC236}">
                    <a16:creationId xmlns:a16="http://schemas.microsoft.com/office/drawing/2014/main" id="{CD49DB31-A231-4253-9EA2-524540818059}"/>
                  </a:ext>
                </a:extLst>
              </p:cNvPr>
              <p:cNvSpPr>
                <a:spLocks/>
              </p:cNvSpPr>
              <p:nvPr/>
            </p:nvSpPr>
            <p:spPr bwMode="gray">
              <a:xfrm>
                <a:off x="7733593" y="3065827"/>
                <a:ext cx="17702" cy="38702"/>
              </a:xfrm>
              <a:custGeom>
                <a:avLst/>
                <a:gdLst>
                  <a:gd name="T0" fmla="*/ 43 w 43"/>
                  <a:gd name="T1" fmla="*/ 21 h 94"/>
                  <a:gd name="T2" fmla="*/ 43 w 43"/>
                  <a:gd name="T3" fmla="*/ 83 h 94"/>
                  <a:gd name="T4" fmla="*/ 17 w 43"/>
                  <a:gd name="T5" fmla="*/ 94 h 94"/>
                  <a:gd name="T6" fmla="*/ 0 w 43"/>
                  <a:gd name="T7" fmla="*/ 94 h 94"/>
                  <a:gd name="T8" fmla="*/ 7 w 43"/>
                  <a:gd name="T9" fmla="*/ 71 h 94"/>
                  <a:gd name="T10" fmla="*/ 21 w 43"/>
                  <a:gd name="T11" fmla="*/ 61 h 94"/>
                  <a:gd name="T12" fmla="*/ 7 w 43"/>
                  <a:gd name="T13" fmla="*/ 54 h 94"/>
                  <a:gd name="T14" fmla="*/ 17 w 43"/>
                  <a:gd name="T15" fmla="*/ 5 h 94"/>
                  <a:gd name="T16" fmla="*/ 21 w 43"/>
                  <a:gd name="T17" fmla="*/ 0 h 94"/>
                  <a:gd name="T18" fmla="*/ 43 w 43"/>
                  <a:gd name="T19" fmla="*/ 17 h 94"/>
                  <a:gd name="T20" fmla="*/ 43 w 43"/>
                  <a:gd name="T21" fmla="*/ 21 h 94"/>
                  <a:gd name="T22" fmla="*/ 43 w 43"/>
                  <a:gd name="T23" fmla="*/ 21 h 94"/>
                  <a:gd name="T24" fmla="*/ 43 w 43"/>
                  <a:gd name="T25" fmla="*/ 2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94">
                    <a:moveTo>
                      <a:pt x="43" y="21"/>
                    </a:moveTo>
                    <a:lnTo>
                      <a:pt x="43" y="83"/>
                    </a:lnTo>
                    <a:lnTo>
                      <a:pt x="17" y="94"/>
                    </a:lnTo>
                    <a:lnTo>
                      <a:pt x="0" y="94"/>
                    </a:lnTo>
                    <a:lnTo>
                      <a:pt x="7" y="71"/>
                    </a:lnTo>
                    <a:lnTo>
                      <a:pt x="21" y="61"/>
                    </a:lnTo>
                    <a:lnTo>
                      <a:pt x="7" y="54"/>
                    </a:lnTo>
                    <a:lnTo>
                      <a:pt x="17" y="5"/>
                    </a:lnTo>
                    <a:lnTo>
                      <a:pt x="21" y="0"/>
                    </a:lnTo>
                    <a:lnTo>
                      <a:pt x="43" y="17"/>
                    </a:lnTo>
                    <a:lnTo>
                      <a:pt x="43" y="21"/>
                    </a:lnTo>
                    <a:lnTo>
                      <a:pt x="43" y="21"/>
                    </a:lnTo>
                    <a:lnTo>
                      <a:pt x="43" y="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91" name="Freeform 592">
                <a:extLst>
                  <a:ext uri="{FF2B5EF4-FFF2-40B4-BE49-F238E27FC236}">
                    <a16:creationId xmlns:a16="http://schemas.microsoft.com/office/drawing/2014/main" id="{7BC4FC67-7611-45A1-9033-1AA1C5A65625}"/>
                  </a:ext>
                </a:extLst>
              </p:cNvPr>
              <p:cNvSpPr>
                <a:spLocks/>
              </p:cNvSpPr>
              <p:nvPr/>
            </p:nvSpPr>
            <p:spPr bwMode="gray">
              <a:xfrm>
                <a:off x="6232232" y="3224338"/>
                <a:ext cx="244120" cy="215739"/>
              </a:xfrm>
              <a:custGeom>
                <a:avLst/>
                <a:gdLst>
                  <a:gd name="T0" fmla="*/ 196 w 593"/>
                  <a:gd name="T1" fmla="*/ 487 h 524"/>
                  <a:gd name="T2" fmla="*/ 12 w 593"/>
                  <a:gd name="T3" fmla="*/ 487 h 524"/>
                  <a:gd name="T4" fmla="*/ 0 w 593"/>
                  <a:gd name="T5" fmla="*/ 524 h 524"/>
                  <a:gd name="T6" fmla="*/ 0 w 593"/>
                  <a:gd name="T7" fmla="*/ 508 h 524"/>
                  <a:gd name="T8" fmla="*/ 12 w 593"/>
                  <a:gd name="T9" fmla="*/ 435 h 524"/>
                  <a:gd name="T10" fmla="*/ 28 w 593"/>
                  <a:gd name="T11" fmla="*/ 413 h 524"/>
                  <a:gd name="T12" fmla="*/ 38 w 593"/>
                  <a:gd name="T13" fmla="*/ 409 h 524"/>
                  <a:gd name="T14" fmla="*/ 71 w 593"/>
                  <a:gd name="T15" fmla="*/ 335 h 524"/>
                  <a:gd name="T16" fmla="*/ 92 w 593"/>
                  <a:gd name="T17" fmla="*/ 295 h 524"/>
                  <a:gd name="T18" fmla="*/ 92 w 593"/>
                  <a:gd name="T19" fmla="*/ 286 h 524"/>
                  <a:gd name="T20" fmla="*/ 71 w 593"/>
                  <a:gd name="T21" fmla="*/ 302 h 524"/>
                  <a:gd name="T22" fmla="*/ 158 w 593"/>
                  <a:gd name="T23" fmla="*/ 229 h 524"/>
                  <a:gd name="T24" fmla="*/ 163 w 593"/>
                  <a:gd name="T25" fmla="*/ 168 h 524"/>
                  <a:gd name="T26" fmla="*/ 179 w 593"/>
                  <a:gd name="T27" fmla="*/ 135 h 524"/>
                  <a:gd name="T28" fmla="*/ 179 w 593"/>
                  <a:gd name="T29" fmla="*/ 113 h 524"/>
                  <a:gd name="T30" fmla="*/ 250 w 593"/>
                  <a:gd name="T31" fmla="*/ 73 h 524"/>
                  <a:gd name="T32" fmla="*/ 272 w 593"/>
                  <a:gd name="T33" fmla="*/ 0 h 524"/>
                  <a:gd name="T34" fmla="*/ 593 w 593"/>
                  <a:gd name="T35" fmla="*/ 0 h 524"/>
                  <a:gd name="T36" fmla="*/ 593 w 593"/>
                  <a:gd name="T37" fmla="*/ 24 h 524"/>
                  <a:gd name="T38" fmla="*/ 593 w 593"/>
                  <a:gd name="T39" fmla="*/ 130 h 524"/>
                  <a:gd name="T40" fmla="*/ 359 w 593"/>
                  <a:gd name="T41" fmla="*/ 130 h 524"/>
                  <a:gd name="T42" fmla="*/ 359 w 593"/>
                  <a:gd name="T43" fmla="*/ 324 h 524"/>
                  <a:gd name="T44" fmla="*/ 321 w 593"/>
                  <a:gd name="T45" fmla="*/ 335 h 524"/>
                  <a:gd name="T46" fmla="*/ 283 w 593"/>
                  <a:gd name="T47" fmla="*/ 364 h 524"/>
                  <a:gd name="T48" fmla="*/ 288 w 593"/>
                  <a:gd name="T49" fmla="*/ 487 h 524"/>
                  <a:gd name="T50" fmla="*/ 196 w 593"/>
                  <a:gd name="T51" fmla="*/ 487 h 524"/>
                  <a:gd name="T52" fmla="*/ 196 w 593"/>
                  <a:gd name="T53" fmla="*/ 487 h 524"/>
                  <a:gd name="T54" fmla="*/ 196 w 593"/>
                  <a:gd name="T55" fmla="*/ 48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93" h="524">
                    <a:moveTo>
                      <a:pt x="196" y="487"/>
                    </a:moveTo>
                    <a:lnTo>
                      <a:pt x="12" y="487"/>
                    </a:lnTo>
                    <a:lnTo>
                      <a:pt x="0" y="524"/>
                    </a:lnTo>
                    <a:lnTo>
                      <a:pt x="0" y="508"/>
                    </a:lnTo>
                    <a:lnTo>
                      <a:pt x="12" y="435"/>
                    </a:lnTo>
                    <a:lnTo>
                      <a:pt x="28" y="413"/>
                    </a:lnTo>
                    <a:lnTo>
                      <a:pt x="38" y="409"/>
                    </a:lnTo>
                    <a:lnTo>
                      <a:pt x="71" y="335"/>
                    </a:lnTo>
                    <a:lnTo>
                      <a:pt x="92" y="295"/>
                    </a:lnTo>
                    <a:lnTo>
                      <a:pt x="92" y="286"/>
                    </a:lnTo>
                    <a:lnTo>
                      <a:pt x="71" y="302"/>
                    </a:lnTo>
                    <a:lnTo>
                      <a:pt x="158" y="229"/>
                    </a:lnTo>
                    <a:lnTo>
                      <a:pt x="163" y="168"/>
                    </a:lnTo>
                    <a:lnTo>
                      <a:pt x="179" y="135"/>
                    </a:lnTo>
                    <a:lnTo>
                      <a:pt x="179" y="113"/>
                    </a:lnTo>
                    <a:lnTo>
                      <a:pt x="250" y="73"/>
                    </a:lnTo>
                    <a:lnTo>
                      <a:pt x="272" y="0"/>
                    </a:lnTo>
                    <a:lnTo>
                      <a:pt x="593" y="0"/>
                    </a:lnTo>
                    <a:lnTo>
                      <a:pt x="593" y="24"/>
                    </a:lnTo>
                    <a:lnTo>
                      <a:pt x="593" y="130"/>
                    </a:lnTo>
                    <a:lnTo>
                      <a:pt x="359" y="130"/>
                    </a:lnTo>
                    <a:lnTo>
                      <a:pt x="359" y="324"/>
                    </a:lnTo>
                    <a:lnTo>
                      <a:pt x="321" y="335"/>
                    </a:lnTo>
                    <a:lnTo>
                      <a:pt x="283" y="364"/>
                    </a:lnTo>
                    <a:lnTo>
                      <a:pt x="288" y="487"/>
                    </a:lnTo>
                    <a:lnTo>
                      <a:pt x="196" y="487"/>
                    </a:lnTo>
                    <a:lnTo>
                      <a:pt x="196" y="487"/>
                    </a:lnTo>
                    <a:lnTo>
                      <a:pt x="196" y="48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92" name="Freeform 594">
                <a:extLst>
                  <a:ext uri="{FF2B5EF4-FFF2-40B4-BE49-F238E27FC236}">
                    <a16:creationId xmlns:a16="http://schemas.microsoft.com/office/drawing/2014/main" id="{61E3317E-CED5-47A2-8DC7-9332A8F3A2AA}"/>
                  </a:ext>
                </a:extLst>
              </p:cNvPr>
              <p:cNvSpPr>
                <a:spLocks/>
              </p:cNvSpPr>
              <p:nvPr/>
            </p:nvSpPr>
            <p:spPr bwMode="gray">
              <a:xfrm>
                <a:off x="7615855" y="4846500"/>
                <a:ext cx="37050" cy="49818"/>
              </a:xfrm>
              <a:custGeom>
                <a:avLst/>
                <a:gdLst>
                  <a:gd name="T0" fmla="*/ 5 w 90"/>
                  <a:gd name="T1" fmla="*/ 76 h 121"/>
                  <a:gd name="T2" fmla="*/ 0 w 90"/>
                  <a:gd name="T3" fmla="*/ 76 h 121"/>
                  <a:gd name="T4" fmla="*/ 0 w 90"/>
                  <a:gd name="T5" fmla="*/ 50 h 121"/>
                  <a:gd name="T6" fmla="*/ 21 w 90"/>
                  <a:gd name="T7" fmla="*/ 17 h 121"/>
                  <a:gd name="T8" fmla="*/ 36 w 90"/>
                  <a:gd name="T9" fmla="*/ 0 h 121"/>
                  <a:gd name="T10" fmla="*/ 43 w 90"/>
                  <a:gd name="T11" fmla="*/ 0 h 121"/>
                  <a:gd name="T12" fmla="*/ 73 w 90"/>
                  <a:gd name="T13" fmla="*/ 17 h 121"/>
                  <a:gd name="T14" fmla="*/ 85 w 90"/>
                  <a:gd name="T15" fmla="*/ 17 h 121"/>
                  <a:gd name="T16" fmla="*/ 90 w 90"/>
                  <a:gd name="T17" fmla="*/ 33 h 121"/>
                  <a:gd name="T18" fmla="*/ 90 w 90"/>
                  <a:gd name="T19" fmla="*/ 87 h 121"/>
                  <a:gd name="T20" fmla="*/ 85 w 90"/>
                  <a:gd name="T21" fmla="*/ 76 h 121"/>
                  <a:gd name="T22" fmla="*/ 85 w 90"/>
                  <a:gd name="T23" fmla="*/ 121 h 121"/>
                  <a:gd name="T24" fmla="*/ 52 w 90"/>
                  <a:gd name="T25" fmla="*/ 121 h 121"/>
                  <a:gd name="T26" fmla="*/ 21 w 90"/>
                  <a:gd name="T27" fmla="*/ 109 h 121"/>
                  <a:gd name="T28" fmla="*/ 5 w 90"/>
                  <a:gd name="T29" fmla="*/ 76 h 121"/>
                  <a:gd name="T30" fmla="*/ 5 w 90"/>
                  <a:gd name="T31" fmla="*/ 76 h 121"/>
                  <a:gd name="T32" fmla="*/ 5 w 90"/>
                  <a:gd name="T33" fmla="*/ 7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21">
                    <a:moveTo>
                      <a:pt x="5" y="76"/>
                    </a:moveTo>
                    <a:lnTo>
                      <a:pt x="0" y="76"/>
                    </a:lnTo>
                    <a:lnTo>
                      <a:pt x="0" y="50"/>
                    </a:lnTo>
                    <a:lnTo>
                      <a:pt x="21" y="17"/>
                    </a:lnTo>
                    <a:lnTo>
                      <a:pt x="36" y="0"/>
                    </a:lnTo>
                    <a:lnTo>
                      <a:pt x="43" y="0"/>
                    </a:lnTo>
                    <a:lnTo>
                      <a:pt x="73" y="17"/>
                    </a:lnTo>
                    <a:lnTo>
                      <a:pt x="85" y="17"/>
                    </a:lnTo>
                    <a:lnTo>
                      <a:pt x="90" y="33"/>
                    </a:lnTo>
                    <a:lnTo>
                      <a:pt x="90" y="87"/>
                    </a:lnTo>
                    <a:lnTo>
                      <a:pt x="85" y="76"/>
                    </a:lnTo>
                    <a:lnTo>
                      <a:pt x="85" y="121"/>
                    </a:lnTo>
                    <a:lnTo>
                      <a:pt x="52" y="121"/>
                    </a:lnTo>
                    <a:lnTo>
                      <a:pt x="21" y="109"/>
                    </a:lnTo>
                    <a:lnTo>
                      <a:pt x="5" y="76"/>
                    </a:lnTo>
                    <a:lnTo>
                      <a:pt x="5" y="76"/>
                    </a:lnTo>
                    <a:lnTo>
                      <a:pt x="5" y="7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93" name="Freeform 595">
                <a:extLst>
                  <a:ext uri="{FF2B5EF4-FFF2-40B4-BE49-F238E27FC236}">
                    <a16:creationId xmlns:a16="http://schemas.microsoft.com/office/drawing/2014/main" id="{B406D548-1F52-4FF8-B73E-189E0532B626}"/>
                  </a:ext>
                </a:extLst>
              </p:cNvPr>
              <p:cNvSpPr>
                <a:spLocks noEditPoints="1"/>
              </p:cNvSpPr>
              <p:nvPr/>
            </p:nvSpPr>
            <p:spPr bwMode="gray">
              <a:xfrm>
                <a:off x="7958365" y="3494836"/>
                <a:ext cx="339216" cy="210798"/>
              </a:xfrm>
              <a:custGeom>
                <a:avLst/>
                <a:gdLst>
                  <a:gd name="T0" fmla="*/ 21 w 824"/>
                  <a:gd name="T1" fmla="*/ 184 h 512"/>
                  <a:gd name="T2" fmla="*/ 38 w 824"/>
                  <a:gd name="T3" fmla="*/ 179 h 512"/>
                  <a:gd name="T4" fmla="*/ 38 w 824"/>
                  <a:gd name="T5" fmla="*/ 123 h 512"/>
                  <a:gd name="T6" fmla="*/ 63 w 824"/>
                  <a:gd name="T7" fmla="*/ 111 h 512"/>
                  <a:gd name="T8" fmla="*/ 123 w 824"/>
                  <a:gd name="T9" fmla="*/ 123 h 512"/>
                  <a:gd name="T10" fmla="*/ 252 w 824"/>
                  <a:gd name="T11" fmla="*/ 250 h 512"/>
                  <a:gd name="T12" fmla="*/ 656 w 824"/>
                  <a:gd name="T13" fmla="*/ 0 h 512"/>
                  <a:gd name="T14" fmla="*/ 694 w 824"/>
                  <a:gd name="T15" fmla="*/ 196 h 512"/>
                  <a:gd name="T16" fmla="*/ 661 w 824"/>
                  <a:gd name="T17" fmla="*/ 222 h 512"/>
                  <a:gd name="T18" fmla="*/ 602 w 824"/>
                  <a:gd name="T19" fmla="*/ 278 h 512"/>
                  <a:gd name="T20" fmla="*/ 522 w 824"/>
                  <a:gd name="T21" fmla="*/ 311 h 512"/>
                  <a:gd name="T22" fmla="*/ 446 w 824"/>
                  <a:gd name="T23" fmla="*/ 333 h 512"/>
                  <a:gd name="T24" fmla="*/ 425 w 824"/>
                  <a:gd name="T25" fmla="*/ 366 h 512"/>
                  <a:gd name="T26" fmla="*/ 371 w 824"/>
                  <a:gd name="T27" fmla="*/ 366 h 512"/>
                  <a:gd name="T28" fmla="*/ 281 w 824"/>
                  <a:gd name="T29" fmla="*/ 418 h 512"/>
                  <a:gd name="T30" fmla="*/ 193 w 824"/>
                  <a:gd name="T31" fmla="*/ 439 h 512"/>
                  <a:gd name="T32" fmla="*/ 172 w 824"/>
                  <a:gd name="T33" fmla="*/ 460 h 512"/>
                  <a:gd name="T34" fmla="*/ 160 w 824"/>
                  <a:gd name="T35" fmla="*/ 456 h 512"/>
                  <a:gd name="T36" fmla="*/ 156 w 824"/>
                  <a:gd name="T37" fmla="*/ 460 h 512"/>
                  <a:gd name="T38" fmla="*/ 118 w 824"/>
                  <a:gd name="T39" fmla="*/ 472 h 512"/>
                  <a:gd name="T40" fmla="*/ 63 w 824"/>
                  <a:gd name="T41" fmla="*/ 460 h 512"/>
                  <a:gd name="T42" fmla="*/ 54 w 824"/>
                  <a:gd name="T43" fmla="*/ 456 h 512"/>
                  <a:gd name="T44" fmla="*/ 38 w 824"/>
                  <a:gd name="T45" fmla="*/ 389 h 512"/>
                  <a:gd name="T46" fmla="*/ 16 w 824"/>
                  <a:gd name="T47" fmla="*/ 307 h 512"/>
                  <a:gd name="T48" fmla="*/ 0 w 824"/>
                  <a:gd name="T49" fmla="*/ 278 h 512"/>
                  <a:gd name="T50" fmla="*/ 12 w 824"/>
                  <a:gd name="T51" fmla="*/ 278 h 512"/>
                  <a:gd name="T52" fmla="*/ 12 w 824"/>
                  <a:gd name="T53" fmla="*/ 234 h 512"/>
                  <a:gd name="T54" fmla="*/ 12 w 824"/>
                  <a:gd name="T55" fmla="*/ 196 h 512"/>
                  <a:gd name="T56" fmla="*/ 12 w 824"/>
                  <a:gd name="T57" fmla="*/ 378 h 512"/>
                  <a:gd name="T58" fmla="*/ 12 w 824"/>
                  <a:gd name="T59" fmla="*/ 366 h 512"/>
                  <a:gd name="T60" fmla="*/ 12 w 824"/>
                  <a:gd name="T61" fmla="*/ 378 h 512"/>
                  <a:gd name="T62" fmla="*/ 808 w 824"/>
                  <a:gd name="T63" fmla="*/ 472 h 512"/>
                  <a:gd name="T64" fmla="*/ 803 w 824"/>
                  <a:gd name="T65" fmla="*/ 493 h 512"/>
                  <a:gd name="T66" fmla="*/ 749 w 824"/>
                  <a:gd name="T67" fmla="*/ 477 h 512"/>
                  <a:gd name="T68" fmla="*/ 775 w 824"/>
                  <a:gd name="T69" fmla="*/ 472 h 512"/>
                  <a:gd name="T70" fmla="*/ 808 w 824"/>
                  <a:gd name="T71" fmla="*/ 472 h 512"/>
                  <a:gd name="T72" fmla="*/ 808 w 824"/>
                  <a:gd name="T73" fmla="*/ 472 h 512"/>
                  <a:gd name="T74" fmla="*/ 656 w 824"/>
                  <a:gd name="T75" fmla="*/ 500 h 512"/>
                  <a:gd name="T76" fmla="*/ 678 w 824"/>
                  <a:gd name="T77" fmla="*/ 512 h 512"/>
                  <a:gd name="T78" fmla="*/ 678 w 824"/>
                  <a:gd name="T79" fmla="*/ 5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24" h="512">
                    <a:moveTo>
                      <a:pt x="12" y="196"/>
                    </a:moveTo>
                    <a:lnTo>
                      <a:pt x="21" y="184"/>
                    </a:lnTo>
                    <a:lnTo>
                      <a:pt x="33" y="179"/>
                    </a:lnTo>
                    <a:lnTo>
                      <a:pt x="38" y="179"/>
                    </a:lnTo>
                    <a:lnTo>
                      <a:pt x="33" y="156"/>
                    </a:lnTo>
                    <a:lnTo>
                      <a:pt x="38" y="123"/>
                    </a:lnTo>
                    <a:lnTo>
                      <a:pt x="49" y="111"/>
                    </a:lnTo>
                    <a:lnTo>
                      <a:pt x="63" y="111"/>
                    </a:lnTo>
                    <a:lnTo>
                      <a:pt x="87" y="127"/>
                    </a:lnTo>
                    <a:lnTo>
                      <a:pt x="123" y="123"/>
                    </a:lnTo>
                    <a:lnTo>
                      <a:pt x="252" y="179"/>
                    </a:lnTo>
                    <a:lnTo>
                      <a:pt x="252" y="250"/>
                    </a:lnTo>
                    <a:lnTo>
                      <a:pt x="425" y="56"/>
                    </a:lnTo>
                    <a:lnTo>
                      <a:pt x="656" y="0"/>
                    </a:lnTo>
                    <a:lnTo>
                      <a:pt x="732" y="179"/>
                    </a:lnTo>
                    <a:lnTo>
                      <a:pt x="694" y="196"/>
                    </a:lnTo>
                    <a:lnTo>
                      <a:pt x="668" y="200"/>
                    </a:lnTo>
                    <a:lnTo>
                      <a:pt x="661" y="222"/>
                    </a:lnTo>
                    <a:lnTo>
                      <a:pt x="661" y="255"/>
                    </a:lnTo>
                    <a:lnTo>
                      <a:pt x="602" y="278"/>
                    </a:lnTo>
                    <a:lnTo>
                      <a:pt x="550" y="295"/>
                    </a:lnTo>
                    <a:lnTo>
                      <a:pt x="522" y="311"/>
                    </a:lnTo>
                    <a:lnTo>
                      <a:pt x="505" y="311"/>
                    </a:lnTo>
                    <a:lnTo>
                      <a:pt x="446" y="333"/>
                    </a:lnTo>
                    <a:lnTo>
                      <a:pt x="441" y="349"/>
                    </a:lnTo>
                    <a:lnTo>
                      <a:pt x="425" y="366"/>
                    </a:lnTo>
                    <a:lnTo>
                      <a:pt x="392" y="378"/>
                    </a:lnTo>
                    <a:lnTo>
                      <a:pt x="371" y="366"/>
                    </a:lnTo>
                    <a:lnTo>
                      <a:pt x="333" y="401"/>
                    </a:lnTo>
                    <a:lnTo>
                      <a:pt x="281" y="418"/>
                    </a:lnTo>
                    <a:lnTo>
                      <a:pt x="210" y="423"/>
                    </a:lnTo>
                    <a:lnTo>
                      <a:pt x="193" y="439"/>
                    </a:lnTo>
                    <a:lnTo>
                      <a:pt x="172" y="444"/>
                    </a:lnTo>
                    <a:lnTo>
                      <a:pt x="172" y="460"/>
                    </a:lnTo>
                    <a:lnTo>
                      <a:pt x="160" y="460"/>
                    </a:lnTo>
                    <a:lnTo>
                      <a:pt x="160" y="456"/>
                    </a:lnTo>
                    <a:lnTo>
                      <a:pt x="156" y="460"/>
                    </a:lnTo>
                    <a:lnTo>
                      <a:pt x="156" y="460"/>
                    </a:lnTo>
                    <a:lnTo>
                      <a:pt x="130" y="456"/>
                    </a:lnTo>
                    <a:lnTo>
                      <a:pt x="118" y="472"/>
                    </a:lnTo>
                    <a:lnTo>
                      <a:pt x="92" y="477"/>
                    </a:lnTo>
                    <a:lnTo>
                      <a:pt x="63" y="460"/>
                    </a:lnTo>
                    <a:lnTo>
                      <a:pt x="54" y="472"/>
                    </a:lnTo>
                    <a:lnTo>
                      <a:pt x="54" y="456"/>
                    </a:lnTo>
                    <a:lnTo>
                      <a:pt x="38" y="434"/>
                    </a:lnTo>
                    <a:lnTo>
                      <a:pt x="38" y="389"/>
                    </a:lnTo>
                    <a:lnTo>
                      <a:pt x="33" y="378"/>
                    </a:lnTo>
                    <a:lnTo>
                      <a:pt x="16" y="307"/>
                    </a:lnTo>
                    <a:lnTo>
                      <a:pt x="16" y="290"/>
                    </a:lnTo>
                    <a:lnTo>
                      <a:pt x="0" y="278"/>
                    </a:lnTo>
                    <a:lnTo>
                      <a:pt x="0" y="271"/>
                    </a:lnTo>
                    <a:lnTo>
                      <a:pt x="12" y="278"/>
                    </a:lnTo>
                    <a:lnTo>
                      <a:pt x="0" y="250"/>
                    </a:lnTo>
                    <a:lnTo>
                      <a:pt x="12" y="234"/>
                    </a:lnTo>
                    <a:lnTo>
                      <a:pt x="12" y="196"/>
                    </a:lnTo>
                    <a:lnTo>
                      <a:pt x="12" y="196"/>
                    </a:lnTo>
                    <a:lnTo>
                      <a:pt x="12" y="196"/>
                    </a:lnTo>
                    <a:close/>
                    <a:moveTo>
                      <a:pt x="12" y="378"/>
                    </a:moveTo>
                    <a:lnTo>
                      <a:pt x="0" y="366"/>
                    </a:lnTo>
                    <a:lnTo>
                      <a:pt x="12" y="366"/>
                    </a:lnTo>
                    <a:lnTo>
                      <a:pt x="12" y="378"/>
                    </a:lnTo>
                    <a:lnTo>
                      <a:pt x="12" y="378"/>
                    </a:lnTo>
                    <a:lnTo>
                      <a:pt x="12" y="378"/>
                    </a:lnTo>
                    <a:close/>
                    <a:moveTo>
                      <a:pt x="808" y="472"/>
                    </a:moveTo>
                    <a:lnTo>
                      <a:pt x="824" y="477"/>
                    </a:lnTo>
                    <a:lnTo>
                      <a:pt x="803" y="493"/>
                    </a:lnTo>
                    <a:lnTo>
                      <a:pt x="770" y="493"/>
                    </a:lnTo>
                    <a:lnTo>
                      <a:pt x="749" y="477"/>
                    </a:lnTo>
                    <a:lnTo>
                      <a:pt x="753" y="460"/>
                    </a:lnTo>
                    <a:lnTo>
                      <a:pt x="775" y="472"/>
                    </a:lnTo>
                    <a:lnTo>
                      <a:pt x="803" y="472"/>
                    </a:lnTo>
                    <a:lnTo>
                      <a:pt x="808" y="472"/>
                    </a:lnTo>
                    <a:lnTo>
                      <a:pt x="808" y="472"/>
                    </a:lnTo>
                    <a:lnTo>
                      <a:pt x="808" y="472"/>
                    </a:lnTo>
                    <a:close/>
                    <a:moveTo>
                      <a:pt x="678" y="512"/>
                    </a:moveTo>
                    <a:lnTo>
                      <a:pt x="656" y="500"/>
                    </a:lnTo>
                    <a:lnTo>
                      <a:pt x="678" y="500"/>
                    </a:lnTo>
                    <a:lnTo>
                      <a:pt x="678" y="512"/>
                    </a:lnTo>
                    <a:lnTo>
                      <a:pt x="678" y="512"/>
                    </a:lnTo>
                    <a:lnTo>
                      <a:pt x="678" y="51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94" name="Freeform 596">
                <a:extLst>
                  <a:ext uri="{FF2B5EF4-FFF2-40B4-BE49-F238E27FC236}">
                    <a16:creationId xmlns:a16="http://schemas.microsoft.com/office/drawing/2014/main" id="{FB1AE581-C365-4E2A-969F-E04BFF1D81AE}"/>
                  </a:ext>
                </a:extLst>
              </p:cNvPr>
              <p:cNvSpPr>
                <a:spLocks/>
              </p:cNvSpPr>
              <p:nvPr/>
            </p:nvSpPr>
            <p:spPr bwMode="gray">
              <a:xfrm>
                <a:off x="7363090" y="4307563"/>
                <a:ext cx="335511" cy="300553"/>
              </a:xfrm>
              <a:custGeom>
                <a:avLst/>
                <a:gdLst>
                  <a:gd name="T0" fmla="*/ 593 w 815"/>
                  <a:gd name="T1" fmla="*/ 548 h 730"/>
                  <a:gd name="T2" fmla="*/ 487 w 815"/>
                  <a:gd name="T3" fmla="*/ 570 h 730"/>
                  <a:gd name="T4" fmla="*/ 404 w 815"/>
                  <a:gd name="T5" fmla="*/ 641 h 730"/>
                  <a:gd name="T6" fmla="*/ 350 w 815"/>
                  <a:gd name="T7" fmla="*/ 719 h 730"/>
                  <a:gd name="T8" fmla="*/ 291 w 815"/>
                  <a:gd name="T9" fmla="*/ 714 h 730"/>
                  <a:gd name="T10" fmla="*/ 260 w 815"/>
                  <a:gd name="T11" fmla="*/ 702 h 730"/>
                  <a:gd name="T12" fmla="*/ 227 w 815"/>
                  <a:gd name="T13" fmla="*/ 702 h 730"/>
                  <a:gd name="T14" fmla="*/ 184 w 815"/>
                  <a:gd name="T15" fmla="*/ 681 h 730"/>
                  <a:gd name="T16" fmla="*/ 97 w 815"/>
                  <a:gd name="T17" fmla="*/ 697 h 730"/>
                  <a:gd name="T18" fmla="*/ 5 w 815"/>
                  <a:gd name="T19" fmla="*/ 608 h 730"/>
                  <a:gd name="T20" fmla="*/ 0 w 815"/>
                  <a:gd name="T21" fmla="*/ 348 h 730"/>
                  <a:gd name="T22" fmla="*/ 130 w 815"/>
                  <a:gd name="T23" fmla="*/ 331 h 730"/>
                  <a:gd name="T24" fmla="*/ 135 w 815"/>
                  <a:gd name="T25" fmla="*/ 293 h 730"/>
                  <a:gd name="T26" fmla="*/ 147 w 815"/>
                  <a:gd name="T27" fmla="*/ 239 h 730"/>
                  <a:gd name="T28" fmla="*/ 168 w 815"/>
                  <a:gd name="T29" fmla="*/ 215 h 730"/>
                  <a:gd name="T30" fmla="*/ 168 w 815"/>
                  <a:gd name="T31" fmla="*/ 239 h 730"/>
                  <a:gd name="T32" fmla="*/ 227 w 815"/>
                  <a:gd name="T33" fmla="*/ 222 h 730"/>
                  <a:gd name="T34" fmla="*/ 236 w 815"/>
                  <a:gd name="T35" fmla="*/ 256 h 730"/>
                  <a:gd name="T36" fmla="*/ 335 w 815"/>
                  <a:gd name="T37" fmla="*/ 277 h 730"/>
                  <a:gd name="T38" fmla="*/ 350 w 815"/>
                  <a:gd name="T39" fmla="*/ 256 h 730"/>
                  <a:gd name="T40" fmla="*/ 366 w 815"/>
                  <a:gd name="T41" fmla="*/ 260 h 730"/>
                  <a:gd name="T42" fmla="*/ 387 w 815"/>
                  <a:gd name="T43" fmla="*/ 305 h 730"/>
                  <a:gd name="T44" fmla="*/ 454 w 815"/>
                  <a:gd name="T45" fmla="*/ 315 h 730"/>
                  <a:gd name="T46" fmla="*/ 470 w 815"/>
                  <a:gd name="T47" fmla="*/ 348 h 730"/>
                  <a:gd name="T48" fmla="*/ 496 w 815"/>
                  <a:gd name="T49" fmla="*/ 381 h 730"/>
                  <a:gd name="T50" fmla="*/ 539 w 815"/>
                  <a:gd name="T51" fmla="*/ 371 h 730"/>
                  <a:gd name="T52" fmla="*/ 546 w 815"/>
                  <a:gd name="T53" fmla="*/ 388 h 730"/>
                  <a:gd name="T54" fmla="*/ 524 w 815"/>
                  <a:gd name="T55" fmla="*/ 293 h 730"/>
                  <a:gd name="T56" fmla="*/ 508 w 815"/>
                  <a:gd name="T57" fmla="*/ 310 h 730"/>
                  <a:gd name="T58" fmla="*/ 475 w 815"/>
                  <a:gd name="T59" fmla="*/ 289 h 730"/>
                  <a:gd name="T60" fmla="*/ 442 w 815"/>
                  <a:gd name="T61" fmla="*/ 248 h 730"/>
                  <a:gd name="T62" fmla="*/ 470 w 815"/>
                  <a:gd name="T63" fmla="*/ 182 h 730"/>
                  <a:gd name="T64" fmla="*/ 470 w 815"/>
                  <a:gd name="T65" fmla="*/ 121 h 730"/>
                  <a:gd name="T66" fmla="*/ 442 w 815"/>
                  <a:gd name="T67" fmla="*/ 83 h 730"/>
                  <a:gd name="T68" fmla="*/ 487 w 815"/>
                  <a:gd name="T69" fmla="*/ 38 h 730"/>
                  <a:gd name="T70" fmla="*/ 614 w 815"/>
                  <a:gd name="T71" fmla="*/ 0 h 730"/>
                  <a:gd name="T72" fmla="*/ 659 w 815"/>
                  <a:gd name="T73" fmla="*/ 34 h 730"/>
                  <a:gd name="T74" fmla="*/ 702 w 815"/>
                  <a:gd name="T75" fmla="*/ 55 h 730"/>
                  <a:gd name="T76" fmla="*/ 728 w 815"/>
                  <a:gd name="T77" fmla="*/ 71 h 730"/>
                  <a:gd name="T78" fmla="*/ 761 w 815"/>
                  <a:gd name="T79" fmla="*/ 88 h 730"/>
                  <a:gd name="T80" fmla="*/ 782 w 815"/>
                  <a:gd name="T81" fmla="*/ 104 h 730"/>
                  <a:gd name="T82" fmla="*/ 794 w 815"/>
                  <a:gd name="T83" fmla="*/ 140 h 730"/>
                  <a:gd name="T84" fmla="*/ 810 w 815"/>
                  <a:gd name="T85" fmla="*/ 161 h 730"/>
                  <a:gd name="T86" fmla="*/ 810 w 815"/>
                  <a:gd name="T87" fmla="*/ 194 h 730"/>
                  <a:gd name="T88" fmla="*/ 798 w 815"/>
                  <a:gd name="T89" fmla="*/ 215 h 730"/>
                  <a:gd name="T90" fmla="*/ 794 w 815"/>
                  <a:gd name="T91" fmla="*/ 260 h 730"/>
                  <a:gd name="T92" fmla="*/ 794 w 815"/>
                  <a:gd name="T93" fmla="*/ 305 h 730"/>
                  <a:gd name="T94" fmla="*/ 794 w 815"/>
                  <a:gd name="T95" fmla="*/ 315 h 730"/>
                  <a:gd name="T96" fmla="*/ 765 w 815"/>
                  <a:gd name="T97" fmla="*/ 331 h 730"/>
                  <a:gd name="T98" fmla="*/ 761 w 815"/>
                  <a:gd name="T99" fmla="*/ 381 h 730"/>
                  <a:gd name="T100" fmla="*/ 765 w 815"/>
                  <a:gd name="T101" fmla="*/ 421 h 730"/>
                  <a:gd name="T102" fmla="*/ 777 w 815"/>
                  <a:gd name="T103" fmla="*/ 421 h 730"/>
                  <a:gd name="T104" fmla="*/ 576 w 815"/>
                  <a:gd name="T105" fmla="*/ 499 h 730"/>
                  <a:gd name="T106" fmla="*/ 576 w 815"/>
                  <a:gd name="T107" fmla="*/ 499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5" h="730">
                    <a:moveTo>
                      <a:pt x="576" y="499"/>
                    </a:moveTo>
                    <a:lnTo>
                      <a:pt x="593" y="548"/>
                    </a:lnTo>
                    <a:lnTo>
                      <a:pt x="529" y="548"/>
                    </a:lnTo>
                    <a:lnTo>
                      <a:pt x="487" y="570"/>
                    </a:lnTo>
                    <a:lnTo>
                      <a:pt x="470" y="608"/>
                    </a:lnTo>
                    <a:lnTo>
                      <a:pt x="404" y="641"/>
                    </a:lnTo>
                    <a:lnTo>
                      <a:pt x="387" y="674"/>
                    </a:lnTo>
                    <a:lnTo>
                      <a:pt x="350" y="719"/>
                    </a:lnTo>
                    <a:lnTo>
                      <a:pt x="328" y="730"/>
                    </a:lnTo>
                    <a:lnTo>
                      <a:pt x="291" y="714"/>
                    </a:lnTo>
                    <a:lnTo>
                      <a:pt x="274" y="719"/>
                    </a:lnTo>
                    <a:lnTo>
                      <a:pt x="260" y="702"/>
                    </a:lnTo>
                    <a:lnTo>
                      <a:pt x="243" y="714"/>
                    </a:lnTo>
                    <a:lnTo>
                      <a:pt x="227" y="702"/>
                    </a:lnTo>
                    <a:lnTo>
                      <a:pt x="206" y="690"/>
                    </a:lnTo>
                    <a:lnTo>
                      <a:pt x="184" y="681"/>
                    </a:lnTo>
                    <a:lnTo>
                      <a:pt x="151" y="681"/>
                    </a:lnTo>
                    <a:lnTo>
                      <a:pt x="97" y="697"/>
                    </a:lnTo>
                    <a:lnTo>
                      <a:pt x="80" y="681"/>
                    </a:lnTo>
                    <a:lnTo>
                      <a:pt x="5" y="608"/>
                    </a:lnTo>
                    <a:lnTo>
                      <a:pt x="0" y="586"/>
                    </a:lnTo>
                    <a:lnTo>
                      <a:pt x="0" y="348"/>
                    </a:lnTo>
                    <a:lnTo>
                      <a:pt x="135" y="359"/>
                    </a:lnTo>
                    <a:lnTo>
                      <a:pt x="130" y="331"/>
                    </a:lnTo>
                    <a:lnTo>
                      <a:pt x="147" y="310"/>
                    </a:lnTo>
                    <a:lnTo>
                      <a:pt x="135" y="293"/>
                    </a:lnTo>
                    <a:lnTo>
                      <a:pt x="135" y="256"/>
                    </a:lnTo>
                    <a:lnTo>
                      <a:pt x="147" y="239"/>
                    </a:lnTo>
                    <a:lnTo>
                      <a:pt x="135" y="199"/>
                    </a:lnTo>
                    <a:lnTo>
                      <a:pt x="168" y="215"/>
                    </a:lnTo>
                    <a:lnTo>
                      <a:pt x="161" y="232"/>
                    </a:lnTo>
                    <a:lnTo>
                      <a:pt x="168" y="239"/>
                    </a:lnTo>
                    <a:lnTo>
                      <a:pt x="189" y="232"/>
                    </a:lnTo>
                    <a:lnTo>
                      <a:pt x="227" y="222"/>
                    </a:lnTo>
                    <a:lnTo>
                      <a:pt x="227" y="232"/>
                    </a:lnTo>
                    <a:lnTo>
                      <a:pt x="236" y="256"/>
                    </a:lnTo>
                    <a:lnTo>
                      <a:pt x="274" y="272"/>
                    </a:lnTo>
                    <a:lnTo>
                      <a:pt x="335" y="277"/>
                    </a:lnTo>
                    <a:lnTo>
                      <a:pt x="345" y="272"/>
                    </a:lnTo>
                    <a:lnTo>
                      <a:pt x="350" y="256"/>
                    </a:lnTo>
                    <a:lnTo>
                      <a:pt x="361" y="248"/>
                    </a:lnTo>
                    <a:lnTo>
                      <a:pt x="366" y="260"/>
                    </a:lnTo>
                    <a:lnTo>
                      <a:pt x="383" y="277"/>
                    </a:lnTo>
                    <a:lnTo>
                      <a:pt x="387" y="305"/>
                    </a:lnTo>
                    <a:lnTo>
                      <a:pt x="404" y="305"/>
                    </a:lnTo>
                    <a:lnTo>
                      <a:pt x="454" y="315"/>
                    </a:lnTo>
                    <a:lnTo>
                      <a:pt x="458" y="343"/>
                    </a:lnTo>
                    <a:lnTo>
                      <a:pt x="470" y="348"/>
                    </a:lnTo>
                    <a:lnTo>
                      <a:pt x="491" y="381"/>
                    </a:lnTo>
                    <a:lnTo>
                      <a:pt x="496" y="381"/>
                    </a:lnTo>
                    <a:lnTo>
                      <a:pt x="529" y="371"/>
                    </a:lnTo>
                    <a:lnTo>
                      <a:pt x="539" y="371"/>
                    </a:lnTo>
                    <a:lnTo>
                      <a:pt x="529" y="381"/>
                    </a:lnTo>
                    <a:lnTo>
                      <a:pt x="546" y="388"/>
                    </a:lnTo>
                    <a:lnTo>
                      <a:pt x="546" y="293"/>
                    </a:lnTo>
                    <a:lnTo>
                      <a:pt x="524" y="293"/>
                    </a:lnTo>
                    <a:lnTo>
                      <a:pt x="524" y="310"/>
                    </a:lnTo>
                    <a:lnTo>
                      <a:pt x="508" y="310"/>
                    </a:lnTo>
                    <a:lnTo>
                      <a:pt x="491" y="310"/>
                    </a:lnTo>
                    <a:lnTo>
                      <a:pt x="475" y="289"/>
                    </a:lnTo>
                    <a:lnTo>
                      <a:pt x="454" y="272"/>
                    </a:lnTo>
                    <a:lnTo>
                      <a:pt x="442" y="248"/>
                    </a:lnTo>
                    <a:lnTo>
                      <a:pt x="458" y="199"/>
                    </a:lnTo>
                    <a:lnTo>
                      <a:pt x="470" y="182"/>
                    </a:lnTo>
                    <a:lnTo>
                      <a:pt x="458" y="149"/>
                    </a:lnTo>
                    <a:lnTo>
                      <a:pt x="470" y="121"/>
                    </a:lnTo>
                    <a:lnTo>
                      <a:pt x="454" y="88"/>
                    </a:lnTo>
                    <a:lnTo>
                      <a:pt x="442" y="83"/>
                    </a:lnTo>
                    <a:lnTo>
                      <a:pt x="475" y="50"/>
                    </a:lnTo>
                    <a:lnTo>
                      <a:pt x="487" y="38"/>
                    </a:lnTo>
                    <a:lnTo>
                      <a:pt x="487" y="29"/>
                    </a:lnTo>
                    <a:lnTo>
                      <a:pt x="614" y="0"/>
                    </a:lnTo>
                    <a:lnTo>
                      <a:pt x="631" y="34"/>
                    </a:lnTo>
                    <a:lnTo>
                      <a:pt x="659" y="34"/>
                    </a:lnTo>
                    <a:lnTo>
                      <a:pt x="676" y="55"/>
                    </a:lnTo>
                    <a:lnTo>
                      <a:pt x="702" y="55"/>
                    </a:lnTo>
                    <a:lnTo>
                      <a:pt x="702" y="67"/>
                    </a:lnTo>
                    <a:lnTo>
                      <a:pt x="728" y="71"/>
                    </a:lnTo>
                    <a:lnTo>
                      <a:pt x="739" y="83"/>
                    </a:lnTo>
                    <a:lnTo>
                      <a:pt x="761" y="88"/>
                    </a:lnTo>
                    <a:lnTo>
                      <a:pt x="765" y="104"/>
                    </a:lnTo>
                    <a:lnTo>
                      <a:pt x="782" y="104"/>
                    </a:lnTo>
                    <a:lnTo>
                      <a:pt x="794" y="128"/>
                    </a:lnTo>
                    <a:lnTo>
                      <a:pt x="794" y="140"/>
                    </a:lnTo>
                    <a:lnTo>
                      <a:pt x="810" y="149"/>
                    </a:lnTo>
                    <a:lnTo>
                      <a:pt x="810" y="161"/>
                    </a:lnTo>
                    <a:lnTo>
                      <a:pt x="815" y="178"/>
                    </a:lnTo>
                    <a:lnTo>
                      <a:pt x="810" y="194"/>
                    </a:lnTo>
                    <a:lnTo>
                      <a:pt x="782" y="199"/>
                    </a:lnTo>
                    <a:lnTo>
                      <a:pt x="798" y="215"/>
                    </a:lnTo>
                    <a:lnTo>
                      <a:pt x="782" y="239"/>
                    </a:lnTo>
                    <a:lnTo>
                      <a:pt x="794" y="260"/>
                    </a:lnTo>
                    <a:lnTo>
                      <a:pt x="782" y="293"/>
                    </a:lnTo>
                    <a:lnTo>
                      <a:pt x="794" y="305"/>
                    </a:lnTo>
                    <a:lnTo>
                      <a:pt x="810" y="310"/>
                    </a:lnTo>
                    <a:lnTo>
                      <a:pt x="794" y="315"/>
                    </a:lnTo>
                    <a:lnTo>
                      <a:pt x="765" y="326"/>
                    </a:lnTo>
                    <a:lnTo>
                      <a:pt x="765" y="331"/>
                    </a:lnTo>
                    <a:lnTo>
                      <a:pt x="765" y="348"/>
                    </a:lnTo>
                    <a:lnTo>
                      <a:pt x="761" y="381"/>
                    </a:lnTo>
                    <a:lnTo>
                      <a:pt x="744" y="397"/>
                    </a:lnTo>
                    <a:lnTo>
                      <a:pt x="765" y="421"/>
                    </a:lnTo>
                    <a:lnTo>
                      <a:pt x="777" y="426"/>
                    </a:lnTo>
                    <a:lnTo>
                      <a:pt x="777" y="421"/>
                    </a:lnTo>
                    <a:lnTo>
                      <a:pt x="782" y="426"/>
                    </a:lnTo>
                    <a:lnTo>
                      <a:pt x="576" y="499"/>
                    </a:lnTo>
                    <a:lnTo>
                      <a:pt x="576" y="499"/>
                    </a:lnTo>
                    <a:lnTo>
                      <a:pt x="576" y="49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95" name="Freeform 597">
                <a:extLst>
                  <a:ext uri="{FF2B5EF4-FFF2-40B4-BE49-F238E27FC236}">
                    <a16:creationId xmlns:a16="http://schemas.microsoft.com/office/drawing/2014/main" id="{F30B6218-AE3D-4180-A33B-FA0287A4CD6C}"/>
                  </a:ext>
                </a:extLst>
              </p:cNvPr>
              <p:cNvSpPr>
                <a:spLocks/>
              </p:cNvSpPr>
              <p:nvPr/>
            </p:nvSpPr>
            <p:spPr bwMode="gray">
              <a:xfrm>
                <a:off x="7454480" y="4534418"/>
                <a:ext cx="228477" cy="206271"/>
              </a:xfrm>
              <a:custGeom>
                <a:avLst/>
                <a:gdLst>
                  <a:gd name="T0" fmla="*/ 506 w 555"/>
                  <a:gd name="T1" fmla="*/ 418 h 501"/>
                  <a:gd name="T2" fmla="*/ 397 w 555"/>
                  <a:gd name="T3" fmla="*/ 496 h 501"/>
                  <a:gd name="T4" fmla="*/ 317 w 555"/>
                  <a:gd name="T5" fmla="*/ 479 h 501"/>
                  <a:gd name="T6" fmla="*/ 284 w 555"/>
                  <a:gd name="T7" fmla="*/ 472 h 501"/>
                  <a:gd name="T8" fmla="*/ 267 w 555"/>
                  <a:gd name="T9" fmla="*/ 456 h 501"/>
                  <a:gd name="T10" fmla="*/ 196 w 555"/>
                  <a:gd name="T11" fmla="*/ 439 h 501"/>
                  <a:gd name="T12" fmla="*/ 175 w 555"/>
                  <a:gd name="T13" fmla="*/ 364 h 501"/>
                  <a:gd name="T14" fmla="*/ 137 w 555"/>
                  <a:gd name="T15" fmla="*/ 331 h 501"/>
                  <a:gd name="T16" fmla="*/ 66 w 555"/>
                  <a:gd name="T17" fmla="*/ 281 h 501"/>
                  <a:gd name="T18" fmla="*/ 50 w 555"/>
                  <a:gd name="T19" fmla="*/ 241 h 501"/>
                  <a:gd name="T20" fmla="*/ 0 w 555"/>
                  <a:gd name="T21" fmla="*/ 153 h 501"/>
                  <a:gd name="T22" fmla="*/ 33 w 555"/>
                  <a:gd name="T23" fmla="*/ 153 h 501"/>
                  <a:gd name="T24" fmla="*/ 66 w 555"/>
                  <a:gd name="T25" fmla="*/ 165 h 501"/>
                  <a:gd name="T26" fmla="*/ 125 w 555"/>
                  <a:gd name="T27" fmla="*/ 170 h 501"/>
                  <a:gd name="T28" fmla="*/ 180 w 555"/>
                  <a:gd name="T29" fmla="*/ 92 h 501"/>
                  <a:gd name="T30" fmla="*/ 262 w 555"/>
                  <a:gd name="T31" fmla="*/ 21 h 501"/>
                  <a:gd name="T32" fmla="*/ 371 w 555"/>
                  <a:gd name="T33" fmla="*/ 0 h 501"/>
                  <a:gd name="T34" fmla="*/ 423 w 555"/>
                  <a:gd name="T35" fmla="*/ 21 h 501"/>
                  <a:gd name="T36" fmla="*/ 451 w 555"/>
                  <a:gd name="T37" fmla="*/ 38 h 501"/>
                  <a:gd name="T38" fmla="*/ 501 w 555"/>
                  <a:gd name="T39" fmla="*/ 59 h 501"/>
                  <a:gd name="T40" fmla="*/ 532 w 555"/>
                  <a:gd name="T41" fmla="*/ 75 h 501"/>
                  <a:gd name="T42" fmla="*/ 539 w 555"/>
                  <a:gd name="T43" fmla="*/ 92 h 501"/>
                  <a:gd name="T44" fmla="*/ 543 w 555"/>
                  <a:gd name="T45" fmla="*/ 132 h 501"/>
                  <a:gd name="T46" fmla="*/ 539 w 555"/>
                  <a:gd name="T47" fmla="*/ 170 h 501"/>
                  <a:gd name="T48" fmla="*/ 555 w 555"/>
                  <a:gd name="T49" fmla="*/ 198 h 501"/>
                  <a:gd name="T50" fmla="*/ 539 w 555"/>
                  <a:gd name="T51" fmla="*/ 224 h 501"/>
                  <a:gd name="T52" fmla="*/ 522 w 555"/>
                  <a:gd name="T53" fmla="*/ 241 h 501"/>
                  <a:gd name="T54" fmla="*/ 532 w 555"/>
                  <a:gd name="T55" fmla="*/ 281 h 501"/>
                  <a:gd name="T56" fmla="*/ 539 w 555"/>
                  <a:gd name="T57" fmla="*/ 347 h 501"/>
                  <a:gd name="T58" fmla="*/ 506 w 555"/>
                  <a:gd name="T59" fmla="*/ 368 h 501"/>
                  <a:gd name="T60" fmla="*/ 501 w 555"/>
                  <a:gd name="T61" fmla="*/ 406 h 501"/>
                  <a:gd name="T62" fmla="*/ 506 w 555"/>
                  <a:gd name="T63" fmla="*/ 423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5" h="501">
                    <a:moveTo>
                      <a:pt x="506" y="423"/>
                    </a:moveTo>
                    <a:lnTo>
                      <a:pt x="506" y="418"/>
                    </a:lnTo>
                    <a:lnTo>
                      <a:pt x="430" y="501"/>
                    </a:lnTo>
                    <a:lnTo>
                      <a:pt x="397" y="496"/>
                    </a:lnTo>
                    <a:lnTo>
                      <a:pt x="359" y="496"/>
                    </a:lnTo>
                    <a:lnTo>
                      <a:pt x="317" y="479"/>
                    </a:lnTo>
                    <a:lnTo>
                      <a:pt x="288" y="489"/>
                    </a:lnTo>
                    <a:lnTo>
                      <a:pt x="284" y="472"/>
                    </a:lnTo>
                    <a:lnTo>
                      <a:pt x="267" y="472"/>
                    </a:lnTo>
                    <a:lnTo>
                      <a:pt x="267" y="456"/>
                    </a:lnTo>
                    <a:lnTo>
                      <a:pt x="234" y="439"/>
                    </a:lnTo>
                    <a:lnTo>
                      <a:pt x="196" y="439"/>
                    </a:lnTo>
                    <a:lnTo>
                      <a:pt x="175" y="401"/>
                    </a:lnTo>
                    <a:lnTo>
                      <a:pt x="175" y="364"/>
                    </a:lnTo>
                    <a:lnTo>
                      <a:pt x="142" y="364"/>
                    </a:lnTo>
                    <a:lnTo>
                      <a:pt x="137" y="331"/>
                    </a:lnTo>
                    <a:lnTo>
                      <a:pt x="104" y="314"/>
                    </a:lnTo>
                    <a:lnTo>
                      <a:pt x="66" y="281"/>
                    </a:lnTo>
                    <a:lnTo>
                      <a:pt x="50" y="253"/>
                    </a:lnTo>
                    <a:lnTo>
                      <a:pt x="50" y="241"/>
                    </a:lnTo>
                    <a:lnTo>
                      <a:pt x="0" y="182"/>
                    </a:lnTo>
                    <a:lnTo>
                      <a:pt x="0" y="153"/>
                    </a:lnTo>
                    <a:lnTo>
                      <a:pt x="17" y="165"/>
                    </a:lnTo>
                    <a:lnTo>
                      <a:pt x="33" y="153"/>
                    </a:lnTo>
                    <a:lnTo>
                      <a:pt x="50" y="170"/>
                    </a:lnTo>
                    <a:lnTo>
                      <a:pt x="66" y="165"/>
                    </a:lnTo>
                    <a:lnTo>
                      <a:pt x="104" y="182"/>
                    </a:lnTo>
                    <a:lnTo>
                      <a:pt x="125" y="170"/>
                    </a:lnTo>
                    <a:lnTo>
                      <a:pt x="163" y="125"/>
                    </a:lnTo>
                    <a:lnTo>
                      <a:pt x="180" y="92"/>
                    </a:lnTo>
                    <a:lnTo>
                      <a:pt x="246" y="59"/>
                    </a:lnTo>
                    <a:lnTo>
                      <a:pt x="262" y="21"/>
                    </a:lnTo>
                    <a:lnTo>
                      <a:pt x="305" y="0"/>
                    </a:lnTo>
                    <a:lnTo>
                      <a:pt x="371" y="0"/>
                    </a:lnTo>
                    <a:lnTo>
                      <a:pt x="371" y="21"/>
                    </a:lnTo>
                    <a:lnTo>
                      <a:pt x="423" y="21"/>
                    </a:lnTo>
                    <a:lnTo>
                      <a:pt x="435" y="38"/>
                    </a:lnTo>
                    <a:lnTo>
                      <a:pt x="451" y="38"/>
                    </a:lnTo>
                    <a:lnTo>
                      <a:pt x="468" y="54"/>
                    </a:lnTo>
                    <a:lnTo>
                      <a:pt x="501" y="59"/>
                    </a:lnTo>
                    <a:lnTo>
                      <a:pt x="522" y="71"/>
                    </a:lnTo>
                    <a:lnTo>
                      <a:pt x="532" y="75"/>
                    </a:lnTo>
                    <a:lnTo>
                      <a:pt x="543" y="75"/>
                    </a:lnTo>
                    <a:lnTo>
                      <a:pt x="539" y="92"/>
                    </a:lnTo>
                    <a:lnTo>
                      <a:pt x="543" y="125"/>
                    </a:lnTo>
                    <a:lnTo>
                      <a:pt x="543" y="132"/>
                    </a:lnTo>
                    <a:lnTo>
                      <a:pt x="543" y="142"/>
                    </a:lnTo>
                    <a:lnTo>
                      <a:pt x="539" y="170"/>
                    </a:lnTo>
                    <a:lnTo>
                      <a:pt x="543" y="186"/>
                    </a:lnTo>
                    <a:lnTo>
                      <a:pt x="555" y="198"/>
                    </a:lnTo>
                    <a:lnTo>
                      <a:pt x="539" y="208"/>
                    </a:lnTo>
                    <a:lnTo>
                      <a:pt x="539" y="224"/>
                    </a:lnTo>
                    <a:lnTo>
                      <a:pt x="522" y="236"/>
                    </a:lnTo>
                    <a:lnTo>
                      <a:pt x="522" y="241"/>
                    </a:lnTo>
                    <a:lnTo>
                      <a:pt x="539" y="253"/>
                    </a:lnTo>
                    <a:lnTo>
                      <a:pt x="532" y="281"/>
                    </a:lnTo>
                    <a:lnTo>
                      <a:pt x="555" y="307"/>
                    </a:lnTo>
                    <a:lnTo>
                      <a:pt x="539" y="347"/>
                    </a:lnTo>
                    <a:lnTo>
                      <a:pt x="522" y="364"/>
                    </a:lnTo>
                    <a:lnTo>
                      <a:pt x="506" y="368"/>
                    </a:lnTo>
                    <a:lnTo>
                      <a:pt x="517" y="385"/>
                    </a:lnTo>
                    <a:lnTo>
                      <a:pt x="501" y="406"/>
                    </a:lnTo>
                    <a:lnTo>
                      <a:pt x="506" y="423"/>
                    </a:lnTo>
                    <a:lnTo>
                      <a:pt x="506" y="423"/>
                    </a:lnTo>
                    <a:lnTo>
                      <a:pt x="506" y="42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96" name="Freeform 598">
                <a:extLst>
                  <a:ext uri="{FF2B5EF4-FFF2-40B4-BE49-F238E27FC236}">
                    <a16:creationId xmlns:a16="http://schemas.microsoft.com/office/drawing/2014/main" id="{1152F098-526E-40D8-86AC-60FCA93A11A4}"/>
                  </a:ext>
                </a:extLst>
              </p:cNvPr>
              <p:cNvSpPr>
                <a:spLocks/>
              </p:cNvSpPr>
              <p:nvPr/>
            </p:nvSpPr>
            <p:spPr bwMode="gray">
              <a:xfrm>
                <a:off x="7356503" y="3394376"/>
                <a:ext cx="483300" cy="411717"/>
              </a:xfrm>
              <a:custGeom>
                <a:avLst/>
                <a:gdLst>
                  <a:gd name="T0" fmla="*/ 67 w 497"/>
                  <a:gd name="T1" fmla="*/ 423 h 423"/>
                  <a:gd name="T2" fmla="*/ 119 w 497"/>
                  <a:gd name="T3" fmla="*/ 370 h 423"/>
                  <a:gd name="T4" fmla="*/ 186 w 497"/>
                  <a:gd name="T5" fmla="*/ 384 h 423"/>
                  <a:gd name="T6" fmla="*/ 210 w 497"/>
                  <a:gd name="T7" fmla="*/ 395 h 423"/>
                  <a:gd name="T8" fmla="*/ 238 w 497"/>
                  <a:gd name="T9" fmla="*/ 384 h 423"/>
                  <a:gd name="T10" fmla="*/ 257 w 497"/>
                  <a:gd name="T11" fmla="*/ 363 h 423"/>
                  <a:gd name="T12" fmla="*/ 289 w 497"/>
                  <a:gd name="T13" fmla="*/ 384 h 423"/>
                  <a:gd name="T14" fmla="*/ 325 w 497"/>
                  <a:gd name="T15" fmla="*/ 314 h 423"/>
                  <a:gd name="T16" fmla="*/ 337 w 497"/>
                  <a:gd name="T17" fmla="*/ 311 h 423"/>
                  <a:gd name="T18" fmla="*/ 352 w 497"/>
                  <a:gd name="T19" fmla="*/ 297 h 423"/>
                  <a:gd name="T20" fmla="*/ 372 w 497"/>
                  <a:gd name="T21" fmla="*/ 363 h 423"/>
                  <a:gd name="T22" fmla="*/ 375 w 497"/>
                  <a:gd name="T23" fmla="*/ 363 h 423"/>
                  <a:gd name="T24" fmla="*/ 388 w 497"/>
                  <a:gd name="T25" fmla="*/ 362 h 423"/>
                  <a:gd name="T26" fmla="*/ 390 w 497"/>
                  <a:gd name="T27" fmla="*/ 345 h 423"/>
                  <a:gd name="T28" fmla="*/ 395 w 497"/>
                  <a:gd name="T29" fmla="*/ 329 h 423"/>
                  <a:gd name="T30" fmla="*/ 413 w 497"/>
                  <a:gd name="T31" fmla="*/ 303 h 423"/>
                  <a:gd name="T32" fmla="*/ 427 w 497"/>
                  <a:gd name="T33" fmla="*/ 289 h 423"/>
                  <a:gd name="T34" fmla="*/ 433 w 497"/>
                  <a:gd name="T35" fmla="*/ 263 h 423"/>
                  <a:gd name="T36" fmla="*/ 433 w 497"/>
                  <a:gd name="T37" fmla="*/ 225 h 423"/>
                  <a:gd name="T38" fmla="*/ 445 w 497"/>
                  <a:gd name="T39" fmla="*/ 181 h 423"/>
                  <a:gd name="T40" fmla="*/ 449 w 497"/>
                  <a:gd name="T41" fmla="*/ 164 h 423"/>
                  <a:gd name="T42" fmla="*/ 465 w 497"/>
                  <a:gd name="T43" fmla="*/ 157 h 423"/>
                  <a:gd name="T44" fmla="*/ 488 w 497"/>
                  <a:gd name="T45" fmla="*/ 150 h 423"/>
                  <a:gd name="T46" fmla="*/ 495 w 497"/>
                  <a:gd name="T47" fmla="*/ 131 h 423"/>
                  <a:gd name="T48" fmla="*/ 472 w 497"/>
                  <a:gd name="T49" fmla="*/ 115 h 423"/>
                  <a:gd name="T50" fmla="*/ 463 w 497"/>
                  <a:gd name="T51" fmla="*/ 108 h 423"/>
                  <a:gd name="T52" fmla="*/ 456 w 497"/>
                  <a:gd name="T53" fmla="*/ 63 h 423"/>
                  <a:gd name="T54" fmla="*/ 452 w 497"/>
                  <a:gd name="T55" fmla="*/ 33 h 423"/>
                  <a:gd name="T56" fmla="*/ 458 w 497"/>
                  <a:gd name="T57" fmla="*/ 40 h 423"/>
                  <a:gd name="T58" fmla="*/ 449 w 497"/>
                  <a:gd name="T59" fmla="*/ 21 h 423"/>
                  <a:gd name="T60" fmla="*/ 285 w 497"/>
                  <a:gd name="T61" fmla="*/ 7 h 423"/>
                  <a:gd name="T62" fmla="*/ 285 w 497"/>
                  <a:gd name="T63" fmla="*/ 0 h 423"/>
                  <a:gd name="T64" fmla="*/ 93 w 497"/>
                  <a:gd name="T65" fmla="*/ 7 h 423"/>
                  <a:gd name="T66" fmla="*/ 63 w 497"/>
                  <a:gd name="T67" fmla="*/ 70 h 423"/>
                  <a:gd name="T68" fmla="*/ 63 w 497"/>
                  <a:gd name="T69" fmla="*/ 209 h 423"/>
                  <a:gd name="T70" fmla="*/ 34 w 497"/>
                  <a:gd name="T71" fmla="*/ 211 h 423"/>
                  <a:gd name="T72" fmla="*/ 34 w 497"/>
                  <a:gd name="T73" fmla="*/ 225 h 423"/>
                  <a:gd name="T74" fmla="*/ 25 w 497"/>
                  <a:gd name="T75" fmla="*/ 239 h 423"/>
                  <a:gd name="T76" fmla="*/ 22 w 497"/>
                  <a:gd name="T77" fmla="*/ 256 h 423"/>
                  <a:gd name="T78" fmla="*/ 9 w 497"/>
                  <a:gd name="T79" fmla="*/ 268 h 423"/>
                  <a:gd name="T80" fmla="*/ 6 w 497"/>
                  <a:gd name="T81" fmla="*/ 289 h 423"/>
                  <a:gd name="T82" fmla="*/ 6 w 497"/>
                  <a:gd name="T83" fmla="*/ 303 h 423"/>
                  <a:gd name="T84" fmla="*/ 11 w 497"/>
                  <a:gd name="T85" fmla="*/ 298 h 423"/>
                  <a:gd name="T86" fmla="*/ 18 w 497"/>
                  <a:gd name="T87" fmla="*/ 310 h 423"/>
                  <a:gd name="T88" fmla="*/ 22 w 497"/>
                  <a:gd name="T89" fmla="*/ 336 h 423"/>
                  <a:gd name="T90" fmla="*/ 32 w 497"/>
                  <a:gd name="T91" fmla="*/ 338 h 423"/>
                  <a:gd name="T92" fmla="*/ 32 w 497"/>
                  <a:gd name="T93" fmla="*/ 357 h 423"/>
                  <a:gd name="T94" fmla="*/ 54 w 497"/>
                  <a:gd name="T95" fmla="*/ 390 h 423"/>
                  <a:gd name="T96" fmla="*/ 52 w 497"/>
                  <a:gd name="T97" fmla="*/ 409 h 423"/>
                  <a:gd name="T98" fmla="*/ 52 w 497"/>
                  <a:gd name="T99" fmla="*/ 416 h 423"/>
                  <a:gd name="T100" fmla="*/ 67 w 497"/>
                  <a:gd name="T101"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7" h="423">
                    <a:moveTo>
                      <a:pt x="67" y="423"/>
                    </a:moveTo>
                    <a:cubicBezTo>
                      <a:pt x="67" y="423"/>
                      <a:pt x="67" y="423"/>
                      <a:pt x="67" y="423"/>
                    </a:cubicBezTo>
                    <a:cubicBezTo>
                      <a:pt x="67" y="423"/>
                      <a:pt x="67" y="423"/>
                      <a:pt x="95" y="367"/>
                    </a:cubicBezTo>
                    <a:cubicBezTo>
                      <a:pt x="95" y="367"/>
                      <a:pt x="95" y="367"/>
                      <a:pt x="119" y="370"/>
                    </a:cubicBezTo>
                    <a:cubicBezTo>
                      <a:pt x="119" y="370"/>
                      <a:pt x="119" y="370"/>
                      <a:pt x="135" y="391"/>
                    </a:cubicBezTo>
                    <a:cubicBezTo>
                      <a:pt x="135" y="391"/>
                      <a:pt x="135" y="391"/>
                      <a:pt x="186" y="384"/>
                    </a:cubicBezTo>
                    <a:cubicBezTo>
                      <a:pt x="186" y="384"/>
                      <a:pt x="186" y="384"/>
                      <a:pt x="186" y="395"/>
                    </a:cubicBezTo>
                    <a:cubicBezTo>
                      <a:pt x="186" y="395"/>
                      <a:pt x="186" y="395"/>
                      <a:pt x="210" y="395"/>
                    </a:cubicBezTo>
                    <a:cubicBezTo>
                      <a:pt x="210" y="395"/>
                      <a:pt x="210" y="395"/>
                      <a:pt x="222" y="384"/>
                    </a:cubicBezTo>
                    <a:cubicBezTo>
                      <a:pt x="222" y="384"/>
                      <a:pt x="222" y="384"/>
                      <a:pt x="238" y="384"/>
                    </a:cubicBezTo>
                    <a:cubicBezTo>
                      <a:pt x="238" y="384"/>
                      <a:pt x="238" y="384"/>
                      <a:pt x="238" y="370"/>
                    </a:cubicBezTo>
                    <a:cubicBezTo>
                      <a:pt x="238" y="370"/>
                      <a:pt x="238" y="370"/>
                      <a:pt x="257" y="363"/>
                    </a:cubicBezTo>
                    <a:cubicBezTo>
                      <a:pt x="257" y="363"/>
                      <a:pt x="257" y="363"/>
                      <a:pt x="281" y="384"/>
                    </a:cubicBezTo>
                    <a:cubicBezTo>
                      <a:pt x="281" y="384"/>
                      <a:pt x="281" y="384"/>
                      <a:pt x="289" y="384"/>
                    </a:cubicBezTo>
                    <a:cubicBezTo>
                      <a:pt x="289" y="384"/>
                      <a:pt x="289" y="384"/>
                      <a:pt x="325" y="342"/>
                    </a:cubicBezTo>
                    <a:cubicBezTo>
                      <a:pt x="325" y="342"/>
                      <a:pt x="325" y="342"/>
                      <a:pt x="325" y="314"/>
                    </a:cubicBezTo>
                    <a:cubicBezTo>
                      <a:pt x="325" y="314"/>
                      <a:pt x="325" y="314"/>
                      <a:pt x="321" y="314"/>
                    </a:cubicBezTo>
                    <a:cubicBezTo>
                      <a:pt x="321" y="314"/>
                      <a:pt x="321" y="314"/>
                      <a:pt x="337" y="311"/>
                    </a:cubicBezTo>
                    <a:cubicBezTo>
                      <a:pt x="337" y="311"/>
                      <a:pt x="337" y="311"/>
                      <a:pt x="337" y="297"/>
                    </a:cubicBezTo>
                    <a:cubicBezTo>
                      <a:pt x="337" y="297"/>
                      <a:pt x="337" y="297"/>
                      <a:pt x="352" y="297"/>
                    </a:cubicBezTo>
                    <a:cubicBezTo>
                      <a:pt x="352" y="297"/>
                      <a:pt x="352" y="297"/>
                      <a:pt x="352" y="360"/>
                    </a:cubicBezTo>
                    <a:cubicBezTo>
                      <a:pt x="372" y="363"/>
                      <a:pt x="372" y="363"/>
                      <a:pt x="372" y="363"/>
                    </a:cubicBezTo>
                    <a:cubicBezTo>
                      <a:pt x="372" y="363"/>
                      <a:pt x="372" y="363"/>
                      <a:pt x="372" y="364"/>
                    </a:cubicBezTo>
                    <a:cubicBezTo>
                      <a:pt x="375" y="363"/>
                      <a:pt x="375" y="363"/>
                      <a:pt x="375" y="363"/>
                    </a:cubicBezTo>
                    <a:cubicBezTo>
                      <a:pt x="381" y="357"/>
                      <a:pt x="381" y="357"/>
                      <a:pt x="381" y="357"/>
                    </a:cubicBezTo>
                    <a:cubicBezTo>
                      <a:pt x="388" y="362"/>
                      <a:pt x="388" y="362"/>
                      <a:pt x="388" y="362"/>
                    </a:cubicBezTo>
                    <a:cubicBezTo>
                      <a:pt x="390" y="357"/>
                      <a:pt x="390" y="357"/>
                      <a:pt x="390" y="357"/>
                    </a:cubicBezTo>
                    <a:cubicBezTo>
                      <a:pt x="390" y="345"/>
                      <a:pt x="390" y="345"/>
                      <a:pt x="390" y="345"/>
                    </a:cubicBezTo>
                    <a:cubicBezTo>
                      <a:pt x="395" y="336"/>
                      <a:pt x="395" y="336"/>
                      <a:pt x="395" y="336"/>
                    </a:cubicBezTo>
                    <a:cubicBezTo>
                      <a:pt x="395" y="329"/>
                      <a:pt x="395" y="329"/>
                      <a:pt x="395" y="329"/>
                    </a:cubicBezTo>
                    <a:cubicBezTo>
                      <a:pt x="399" y="326"/>
                      <a:pt x="399" y="326"/>
                      <a:pt x="399" y="326"/>
                    </a:cubicBezTo>
                    <a:cubicBezTo>
                      <a:pt x="413" y="303"/>
                      <a:pt x="413" y="303"/>
                      <a:pt x="413" y="303"/>
                    </a:cubicBezTo>
                    <a:cubicBezTo>
                      <a:pt x="427" y="298"/>
                      <a:pt x="427" y="298"/>
                      <a:pt x="427" y="298"/>
                    </a:cubicBezTo>
                    <a:cubicBezTo>
                      <a:pt x="427" y="289"/>
                      <a:pt x="427" y="289"/>
                      <a:pt x="427" y="289"/>
                    </a:cubicBezTo>
                    <a:cubicBezTo>
                      <a:pt x="436" y="265"/>
                      <a:pt x="436" y="265"/>
                      <a:pt x="436" y="265"/>
                    </a:cubicBezTo>
                    <a:cubicBezTo>
                      <a:pt x="433" y="263"/>
                      <a:pt x="433" y="263"/>
                      <a:pt x="433" y="263"/>
                    </a:cubicBezTo>
                    <a:cubicBezTo>
                      <a:pt x="436" y="251"/>
                      <a:pt x="436" y="251"/>
                      <a:pt x="436" y="251"/>
                    </a:cubicBezTo>
                    <a:cubicBezTo>
                      <a:pt x="433" y="225"/>
                      <a:pt x="433" y="225"/>
                      <a:pt x="433" y="225"/>
                    </a:cubicBezTo>
                    <a:cubicBezTo>
                      <a:pt x="449" y="188"/>
                      <a:pt x="449" y="188"/>
                      <a:pt x="449" y="188"/>
                    </a:cubicBezTo>
                    <a:cubicBezTo>
                      <a:pt x="445" y="181"/>
                      <a:pt x="445" y="181"/>
                      <a:pt x="445" y="181"/>
                    </a:cubicBezTo>
                    <a:cubicBezTo>
                      <a:pt x="449" y="174"/>
                      <a:pt x="449" y="174"/>
                      <a:pt x="449" y="174"/>
                    </a:cubicBezTo>
                    <a:cubicBezTo>
                      <a:pt x="449" y="164"/>
                      <a:pt x="449" y="164"/>
                      <a:pt x="449" y="164"/>
                    </a:cubicBezTo>
                    <a:cubicBezTo>
                      <a:pt x="463" y="164"/>
                      <a:pt x="463" y="164"/>
                      <a:pt x="463" y="164"/>
                    </a:cubicBezTo>
                    <a:cubicBezTo>
                      <a:pt x="465" y="157"/>
                      <a:pt x="465" y="157"/>
                      <a:pt x="465" y="157"/>
                    </a:cubicBezTo>
                    <a:cubicBezTo>
                      <a:pt x="481" y="148"/>
                      <a:pt x="481" y="148"/>
                      <a:pt x="481" y="148"/>
                    </a:cubicBezTo>
                    <a:cubicBezTo>
                      <a:pt x="488" y="150"/>
                      <a:pt x="488" y="150"/>
                      <a:pt x="488" y="150"/>
                    </a:cubicBezTo>
                    <a:cubicBezTo>
                      <a:pt x="497" y="134"/>
                      <a:pt x="497" y="134"/>
                      <a:pt x="497" y="134"/>
                    </a:cubicBezTo>
                    <a:cubicBezTo>
                      <a:pt x="495" y="131"/>
                      <a:pt x="495" y="131"/>
                      <a:pt x="495" y="131"/>
                    </a:cubicBezTo>
                    <a:cubicBezTo>
                      <a:pt x="481" y="124"/>
                      <a:pt x="481" y="124"/>
                      <a:pt x="481" y="124"/>
                    </a:cubicBezTo>
                    <a:cubicBezTo>
                      <a:pt x="472" y="115"/>
                      <a:pt x="472" y="115"/>
                      <a:pt x="472" y="115"/>
                    </a:cubicBezTo>
                    <a:cubicBezTo>
                      <a:pt x="465" y="110"/>
                      <a:pt x="465" y="110"/>
                      <a:pt x="465" y="110"/>
                    </a:cubicBezTo>
                    <a:cubicBezTo>
                      <a:pt x="463" y="108"/>
                      <a:pt x="463" y="108"/>
                      <a:pt x="463" y="108"/>
                    </a:cubicBezTo>
                    <a:cubicBezTo>
                      <a:pt x="458" y="84"/>
                      <a:pt x="458" y="84"/>
                      <a:pt x="458" y="84"/>
                    </a:cubicBezTo>
                    <a:cubicBezTo>
                      <a:pt x="456" y="63"/>
                      <a:pt x="456" y="63"/>
                      <a:pt x="456" y="63"/>
                    </a:cubicBezTo>
                    <a:cubicBezTo>
                      <a:pt x="456" y="54"/>
                      <a:pt x="456" y="54"/>
                      <a:pt x="456" y="54"/>
                    </a:cubicBezTo>
                    <a:cubicBezTo>
                      <a:pt x="452" y="33"/>
                      <a:pt x="452" y="33"/>
                      <a:pt x="452" y="33"/>
                    </a:cubicBezTo>
                    <a:cubicBezTo>
                      <a:pt x="456" y="37"/>
                      <a:pt x="456" y="37"/>
                      <a:pt x="456" y="37"/>
                    </a:cubicBezTo>
                    <a:cubicBezTo>
                      <a:pt x="458" y="40"/>
                      <a:pt x="458" y="40"/>
                      <a:pt x="458" y="40"/>
                    </a:cubicBezTo>
                    <a:cubicBezTo>
                      <a:pt x="458" y="37"/>
                      <a:pt x="458" y="37"/>
                      <a:pt x="458" y="37"/>
                    </a:cubicBezTo>
                    <a:cubicBezTo>
                      <a:pt x="449" y="21"/>
                      <a:pt x="449" y="21"/>
                      <a:pt x="449" y="21"/>
                    </a:cubicBezTo>
                    <a:cubicBezTo>
                      <a:pt x="445" y="7"/>
                      <a:pt x="445" y="7"/>
                      <a:pt x="445" y="7"/>
                    </a:cubicBezTo>
                    <a:cubicBezTo>
                      <a:pt x="285" y="7"/>
                      <a:pt x="285" y="7"/>
                      <a:pt x="285" y="7"/>
                    </a:cubicBezTo>
                    <a:cubicBezTo>
                      <a:pt x="290" y="4"/>
                      <a:pt x="290" y="4"/>
                      <a:pt x="290" y="4"/>
                    </a:cubicBezTo>
                    <a:cubicBezTo>
                      <a:pt x="285" y="0"/>
                      <a:pt x="285" y="0"/>
                      <a:pt x="285" y="0"/>
                    </a:cubicBezTo>
                    <a:cubicBezTo>
                      <a:pt x="280" y="7"/>
                      <a:pt x="280" y="7"/>
                      <a:pt x="280" y="7"/>
                    </a:cubicBezTo>
                    <a:cubicBezTo>
                      <a:pt x="93" y="7"/>
                      <a:pt x="93" y="7"/>
                      <a:pt x="93" y="7"/>
                    </a:cubicBezTo>
                    <a:cubicBezTo>
                      <a:pt x="93" y="70"/>
                      <a:pt x="93" y="70"/>
                      <a:pt x="93" y="70"/>
                    </a:cubicBezTo>
                    <a:cubicBezTo>
                      <a:pt x="63" y="70"/>
                      <a:pt x="63" y="70"/>
                      <a:pt x="63" y="70"/>
                    </a:cubicBezTo>
                    <a:cubicBezTo>
                      <a:pt x="63" y="87"/>
                      <a:pt x="63" y="87"/>
                      <a:pt x="63" y="87"/>
                    </a:cubicBezTo>
                    <a:cubicBezTo>
                      <a:pt x="63" y="209"/>
                      <a:pt x="63" y="209"/>
                      <a:pt x="63" y="209"/>
                    </a:cubicBezTo>
                    <a:cubicBezTo>
                      <a:pt x="38" y="209"/>
                      <a:pt x="38" y="209"/>
                      <a:pt x="38" y="209"/>
                    </a:cubicBezTo>
                    <a:cubicBezTo>
                      <a:pt x="34" y="211"/>
                      <a:pt x="34" y="211"/>
                      <a:pt x="34" y="211"/>
                    </a:cubicBezTo>
                    <a:cubicBezTo>
                      <a:pt x="34" y="218"/>
                      <a:pt x="34" y="218"/>
                      <a:pt x="34" y="218"/>
                    </a:cubicBezTo>
                    <a:cubicBezTo>
                      <a:pt x="34" y="225"/>
                      <a:pt x="34" y="225"/>
                      <a:pt x="34" y="225"/>
                    </a:cubicBezTo>
                    <a:cubicBezTo>
                      <a:pt x="25" y="235"/>
                      <a:pt x="25" y="235"/>
                      <a:pt x="25" y="235"/>
                    </a:cubicBezTo>
                    <a:cubicBezTo>
                      <a:pt x="25" y="239"/>
                      <a:pt x="25" y="239"/>
                      <a:pt x="25" y="239"/>
                    </a:cubicBezTo>
                    <a:cubicBezTo>
                      <a:pt x="18" y="242"/>
                      <a:pt x="18" y="242"/>
                      <a:pt x="18" y="242"/>
                    </a:cubicBezTo>
                    <a:cubicBezTo>
                      <a:pt x="22" y="256"/>
                      <a:pt x="22" y="256"/>
                      <a:pt x="22" y="256"/>
                    </a:cubicBezTo>
                    <a:cubicBezTo>
                      <a:pt x="11" y="263"/>
                      <a:pt x="11" y="263"/>
                      <a:pt x="11" y="263"/>
                    </a:cubicBezTo>
                    <a:cubicBezTo>
                      <a:pt x="9" y="268"/>
                      <a:pt x="9" y="268"/>
                      <a:pt x="9" y="268"/>
                    </a:cubicBezTo>
                    <a:cubicBezTo>
                      <a:pt x="16" y="279"/>
                      <a:pt x="16" y="279"/>
                      <a:pt x="16" y="279"/>
                    </a:cubicBezTo>
                    <a:cubicBezTo>
                      <a:pt x="6" y="289"/>
                      <a:pt x="6" y="289"/>
                      <a:pt x="6" y="289"/>
                    </a:cubicBezTo>
                    <a:cubicBezTo>
                      <a:pt x="0" y="298"/>
                      <a:pt x="0" y="298"/>
                      <a:pt x="0" y="298"/>
                    </a:cubicBezTo>
                    <a:cubicBezTo>
                      <a:pt x="6" y="303"/>
                      <a:pt x="6" y="303"/>
                      <a:pt x="6" y="303"/>
                    </a:cubicBezTo>
                    <a:cubicBezTo>
                      <a:pt x="9" y="303"/>
                      <a:pt x="9" y="303"/>
                      <a:pt x="9" y="303"/>
                    </a:cubicBezTo>
                    <a:cubicBezTo>
                      <a:pt x="11" y="298"/>
                      <a:pt x="11" y="298"/>
                      <a:pt x="11" y="298"/>
                    </a:cubicBezTo>
                    <a:cubicBezTo>
                      <a:pt x="18" y="303"/>
                      <a:pt x="18" y="303"/>
                      <a:pt x="18" y="303"/>
                    </a:cubicBezTo>
                    <a:cubicBezTo>
                      <a:pt x="18" y="310"/>
                      <a:pt x="18" y="310"/>
                      <a:pt x="18" y="310"/>
                    </a:cubicBezTo>
                    <a:cubicBezTo>
                      <a:pt x="25" y="322"/>
                      <a:pt x="25" y="322"/>
                      <a:pt x="25" y="322"/>
                    </a:cubicBezTo>
                    <a:cubicBezTo>
                      <a:pt x="22" y="336"/>
                      <a:pt x="22" y="336"/>
                      <a:pt x="22" y="336"/>
                    </a:cubicBezTo>
                    <a:cubicBezTo>
                      <a:pt x="29" y="338"/>
                      <a:pt x="29" y="338"/>
                      <a:pt x="29" y="338"/>
                    </a:cubicBezTo>
                    <a:cubicBezTo>
                      <a:pt x="32" y="338"/>
                      <a:pt x="32" y="338"/>
                      <a:pt x="32" y="338"/>
                    </a:cubicBezTo>
                    <a:cubicBezTo>
                      <a:pt x="34" y="345"/>
                      <a:pt x="34" y="345"/>
                      <a:pt x="34" y="345"/>
                    </a:cubicBezTo>
                    <a:cubicBezTo>
                      <a:pt x="32" y="357"/>
                      <a:pt x="32" y="357"/>
                      <a:pt x="32" y="357"/>
                    </a:cubicBezTo>
                    <a:cubicBezTo>
                      <a:pt x="45" y="369"/>
                      <a:pt x="45" y="369"/>
                      <a:pt x="45" y="369"/>
                    </a:cubicBezTo>
                    <a:cubicBezTo>
                      <a:pt x="54" y="390"/>
                      <a:pt x="54" y="390"/>
                      <a:pt x="54" y="390"/>
                    </a:cubicBezTo>
                    <a:cubicBezTo>
                      <a:pt x="54" y="406"/>
                      <a:pt x="54" y="406"/>
                      <a:pt x="54" y="406"/>
                    </a:cubicBezTo>
                    <a:cubicBezTo>
                      <a:pt x="52" y="409"/>
                      <a:pt x="52" y="409"/>
                      <a:pt x="52" y="409"/>
                    </a:cubicBezTo>
                    <a:cubicBezTo>
                      <a:pt x="47" y="413"/>
                      <a:pt x="47" y="413"/>
                      <a:pt x="47" y="413"/>
                    </a:cubicBezTo>
                    <a:cubicBezTo>
                      <a:pt x="52" y="416"/>
                      <a:pt x="52" y="416"/>
                      <a:pt x="52" y="416"/>
                    </a:cubicBezTo>
                    <a:cubicBezTo>
                      <a:pt x="52" y="423"/>
                      <a:pt x="52" y="423"/>
                      <a:pt x="52" y="423"/>
                    </a:cubicBezTo>
                    <a:lnTo>
                      <a:pt x="67" y="42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97" name="Freeform 599">
                <a:extLst>
                  <a:ext uri="{FF2B5EF4-FFF2-40B4-BE49-F238E27FC236}">
                    <a16:creationId xmlns:a16="http://schemas.microsoft.com/office/drawing/2014/main" id="{043623A3-E0EE-47D2-9F67-F98589F455B9}"/>
                  </a:ext>
                </a:extLst>
              </p:cNvPr>
              <p:cNvSpPr>
                <a:spLocks/>
              </p:cNvSpPr>
              <p:nvPr/>
            </p:nvSpPr>
            <p:spPr bwMode="gray">
              <a:xfrm>
                <a:off x="7421547" y="3683402"/>
                <a:ext cx="343333" cy="279967"/>
              </a:xfrm>
              <a:custGeom>
                <a:avLst/>
                <a:gdLst>
                  <a:gd name="T0" fmla="*/ 339 w 353"/>
                  <a:gd name="T1" fmla="*/ 227 h 288"/>
                  <a:gd name="T2" fmla="*/ 332 w 353"/>
                  <a:gd name="T3" fmla="*/ 227 h 288"/>
                  <a:gd name="T4" fmla="*/ 323 w 353"/>
                  <a:gd name="T5" fmla="*/ 210 h 288"/>
                  <a:gd name="T6" fmla="*/ 309 w 353"/>
                  <a:gd name="T7" fmla="*/ 187 h 288"/>
                  <a:gd name="T8" fmla="*/ 300 w 353"/>
                  <a:gd name="T9" fmla="*/ 180 h 288"/>
                  <a:gd name="T10" fmla="*/ 277 w 353"/>
                  <a:gd name="T11" fmla="*/ 156 h 288"/>
                  <a:gd name="T12" fmla="*/ 264 w 353"/>
                  <a:gd name="T13" fmla="*/ 149 h 288"/>
                  <a:gd name="T14" fmla="*/ 270 w 353"/>
                  <a:gd name="T15" fmla="*/ 135 h 288"/>
                  <a:gd name="T16" fmla="*/ 286 w 353"/>
                  <a:gd name="T17" fmla="*/ 135 h 288"/>
                  <a:gd name="T18" fmla="*/ 298 w 353"/>
                  <a:gd name="T19" fmla="*/ 102 h 288"/>
                  <a:gd name="T20" fmla="*/ 305 w 353"/>
                  <a:gd name="T21" fmla="*/ 69 h 288"/>
                  <a:gd name="T22" fmla="*/ 305 w 353"/>
                  <a:gd name="T23" fmla="*/ 67 h 288"/>
                  <a:gd name="T24" fmla="*/ 285 w 353"/>
                  <a:gd name="T25" fmla="*/ 63 h 288"/>
                  <a:gd name="T26" fmla="*/ 270 w 353"/>
                  <a:gd name="T27" fmla="*/ 0 h 288"/>
                  <a:gd name="T28" fmla="*/ 254 w 353"/>
                  <a:gd name="T29" fmla="*/ 17 h 288"/>
                  <a:gd name="T30" fmla="*/ 258 w 353"/>
                  <a:gd name="T31" fmla="*/ 45 h 288"/>
                  <a:gd name="T32" fmla="*/ 214 w 353"/>
                  <a:gd name="T33" fmla="*/ 87 h 288"/>
                  <a:gd name="T34" fmla="*/ 171 w 353"/>
                  <a:gd name="T35" fmla="*/ 73 h 288"/>
                  <a:gd name="T36" fmla="*/ 155 w 353"/>
                  <a:gd name="T37" fmla="*/ 87 h 288"/>
                  <a:gd name="T38" fmla="*/ 119 w 353"/>
                  <a:gd name="T39" fmla="*/ 98 h 288"/>
                  <a:gd name="T40" fmla="*/ 68 w 353"/>
                  <a:gd name="T41" fmla="*/ 94 h 288"/>
                  <a:gd name="T42" fmla="*/ 28 w 353"/>
                  <a:gd name="T43" fmla="*/ 70 h 288"/>
                  <a:gd name="T44" fmla="*/ 0 w 353"/>
                  <a:gd name="T45" fmla="*/ 126 h 288"/>
                  <a:gd name="T46" fmla="*/ 8 w 353"/>
                  <a:gd name="T47" fmla="*/ 130 h 288"/>
                  <a:gd name="T48" fmla="*/ 3 w 353"/>
                  <a:gd name="T49" fmla="*/ 140 h 288"/>
                  <a:gd name="T50" fmla="*/ 31 w 353"/>
                  <a:gd name="T51" fmla="*/ 154 h 288"/>
                  <a:gd name="T52" fmla="*/ 35 w 353"/>
                  <a:gd name="T53" fmla="*/ 159 h 288"/>
                  <a:gd name="T54" fmla="*/ 56 w 353"/>
                  <a:gd name="T55" fmla="*/ 180 h 288"/>
                  <a:gd name="T56" fmla="*/ 70 w 353"/>
                  <a:gd name="T57" fmla="*/ 189 h 288"/>
                  <a:gd name="T58" fmla="*/ 72 w 353"/>
                  <a:gd name="T59" fmla="*/ 203 h 288"/>
                  <a:gd name="T60" fmla="*/ 81 w 353"/>
                  <a:gd name="T61" fmla="*/ 210 h 288"/>
                  <a:gd name="T62" fmla="*/ 95 w 353"/>
                  <a:gd name="T63" fmla="*/ 224 h 288"/>
                  <a:gd name="T64" fmla="*/ 102 w 353"/>
                  <a:gd name="T65" fmla="*/ 241 h 288"/>
                  <a:gd name="T66" fmla="*/ 111 w 353"/>
                  <a:gd name="T67" fmla="*/ 253 h 288"/>
                  <a:gd name="T68" fmla="*/ 140 w 353"/>
                  <a:gd name="T69" fmla="*/ 253 h 288"/>
                  <a:gd name="T70" fmla="*/ 161 w 353"/>
                  <a:gd name="T71" fmla="*/ 250 h 288"/>
                  <a:gd name="T72" fmla="*/ 170 w 353"/>
                  <a:gd name="T73" fmla="*/ 253 h 288"/>
                  <a:gd name="T74" fmla="*/ 179 w 353"/>
                  <a:gd name="T75" fmla="*/ 267 h 288"/>
                  <a:gd name="T76" fmla="*/ 193 w 353"/>
                  <a:gd name="T77" fmla="*/ 274 h 288"/>
                  <a:gd name="T78" fmla="*/ 200 w 353"/>
                  <a:gd name="T79" fmla="*/ 281 h 288"/>
                  <a:gd name="T80" fmla="*/ 207 w 353"/>
                  <a:gd name="T81" fmla="*/ 281 h 288"/>
                  <a:gd name="T82" fmla="*/ 223 w 353"/>
                  <a:gd name="T83" fmla="*/ 281 h 288"/>
                  <a:gd name="T84" fmla="*/ 232 w 353"/>
                  <a:gd name="T85" fmla="*/ 283 h 288"/>
                  <a:gd name="T86" fmla="*/ 241 w 353"/>
                  <a:gd name="T87" fmla="*/ 283 h 288"/>
                  <a:gd name="T88" fmla="*/ 254 w 353"/>
                  <a:gd name="T89" fmla="*/ 276 h 288"/>
                  <a:gd name="T90" fmla="*/ 270 w 353"/>
                  <a:gd name="T91" fmla="*/ 276 h 288"/>
                  <a:gd name="T92" fmla="*/ 293 w 353"/>
                  <a:gd name="T93" fmla="*/ 264 h 288"/>
                  <a:gd name="T94" fmla="*/ 353 w 353"/>
                  <a:gd name="T95" fmla="*/ 253 h 288"/>
                  <a:gd name="T96" fmla="*/ 350 w 353"/>
                  <a:gd name="T97" fmla="*/ 22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3" h="288">
                    <a:moveTo>
                      <a:pt x="350" y="229"/>
                    </a:moveTo>
                    <a:cubicBezTo>
                      <a:pt x="339" y="227"/>
                      <a:pt x="339" y="227"/>
                      <a:pt x="339" y="227"/>
                    </a:cubicBezTo>
                    <a:cubicBezTo>
                      <a:pt x="332" y="229"/>
                      <a:pt x="332" y="229"/>
                      <a:pt x="332" y="229"/>
                    </a:cubicBezTo>
                    <a:cubicBezTo>
                      <a:pt x="332" y="227"/>
                      <a:pt x="332" y="227"/>
                      <a:pt x="332" y="227"/>
                    </a:cubicBezTo>
                    <a:cubicBezTo>
                      <a:pt x="328" y="220"/>
                      <a:pt x="328" y="220"/>
                      <a:pt x="328" y="220"/>
                    </a:cubicBezTo>
                    <a:cubicBezTo>
                      <a:pt x="323" y="210"/>
                      <a:pt x="323" y="210"/>
                      <a:pt x="323" y="210"/>
                    </a:cubicBezTo>
                    <a:cubicBezTo>
                      <a:pt x="316" y="189"/>
                      <a:pt x="316" y="189"/>
                      <a:pt x="316" y="189"/>
                    </a:cubicBezTo>
                    <a:cubicBezTo>
                      <a:pt x="309" y="187"/>
                      <a:pt x="309" y="187"/>
                      <a:pt x="309" y="187"/>
                    </a:cubicBezTo>
                    <a:cubicBezTo>
                      <a:pt x="307" y="182"/>
                      <a:pt x="307" y="182"/>
                      <a:pt x="307" y="182"/>
                    </a:cubicBezTo>
                    <a:cubicBezTo>
                      <a:pt x="300" y="180"/>
                      <a:pt x="300" y="180"/>
                      <a:pt x="300" y="180"/>
                    </a:cubicBezTo>
                    <a:cubicBezTo>
                      <a:pt x="291" y="163"/>
                      <a:pt x="291" y="163"/>
                      <a:pt x="291" y="163"/>
                    </a:cubicBezTo>
                    <a:cubicBezTo>
                      <a:pt x="277" y="156"/>
                      <a:pt x="277" y="156"/>
                      <a:pt x="277" y="156"/>
                    </a:cubicBezTo>
                    <a:cubicBezTo>
                      <a:pt x="264" y="156"/>
                      <a:pt x="264" y="156"/>
                      <a:pt x="264" y="156"/>
                    </a:cubicBezTo>
                    <a:cubicBezTo>
                      <a:pt x="264" y="149"/>
                      <a:pt x="264" y="149"/>
                      <a:pt x="264" y="149"/>
                    </a:cubicBezTo>
                    <a:cubicBezTo>
                      <a:pt x="270" y="142"/>
                      <a:pt x="270" y="142"/>
                      <a:pt x="270" y="142"/>
                    </a:cubicBezTo>
                    <a:cubicBezTo>
                      <a:pt x="270" y="135"/>
                      <a:pt x="270" y="135"/>
                      <a:pt x="270" y="135"/>
                    </a:cubicBezTo>
                    <a:cubicBezTo>
                      <a:pt x="284" y="133"/>
                      <a:pt x="284" y="133"/>
                      <a:pt x="284" y="133"/>
                    </a:cubicBezTo>
                    <a:cubicBezTo>
                      <a:pt x="286" y="135"/>
                      <a:pt x="286" y="135"/>
                      <a:pt x="286" y="135"/>
                    </a:cubicBezTo>
                    <a:cubicBezTo>
                      <a:pt x="298" y="130"/>
                      <a:pt x="298" y="130"/>
                      <a:pt x="298" y="130"/>
                    </a:cubicBezTo>
                    <a:cubicBezTo>
                      <a:pt x="298" y="102"/>
                      <a:pt x="298" y="102"/>
                      <a:pt x="298" y="102"/>
                    </a:cubicBezTo>
                    <a:cubicBezTo>
                      <a:pt x="305" y="79"/>
                      <a:pt x="305" y="79"/>
                      <a:pt x="305" y="79"/>
                    </a:cubicBezTo>
                    <a:cubicBezTo>
                      <a:pt x="305" y="69"/>
                      <a:pt x="305" y="69"/>
                      <a:pt x="305" y="69"/>
                    </a:cubicBezTo>
                    <a:cubicBezTo>
                      <a:pt x="308" y="66"/>
                      <a:pt x="308" y="66"/>
                      <a:pt x="308" y="66"/>
                    </a:cubicBezTo>
                    <a:cubicBezTo>
                      <a:pt x="305" y="67"/>
                      <a:pt x="305" y="67"/>
                      <a:pt x="305" y="67"/>
                    </a:cubicBezTo>
                    <a:cubicBezTo>
                      <a:pt x="305" y="66"/>
                      <a:pt x="305" y="66"/>
                      <a:pt x="305" y="66"/>
                    </a:cubicBezTo>
                    <a:cubicBezTo>
                      <a:pt x="285" y="63"/>
                      <a:pt x="285" y="63"/>
                      <a:pt x="285" y="63"/>
                    </a:cubicBezTo>
                    <a:cubicBezTo>
                      <a:pt x="285" y="0"/>
                      <a:pt x="285" y="0"/>
                      <a:pt x="285" y="0"/>
                    </a:cubicBezTo>
                    <a:cubicBezTo>
                      <a:pt x="270" y="0"/>
                      <a:pt x="270" y="0"/>
                      <a:pt x="270" y="0"/>
                    </a:cubicBezTo>
                    <a:cubicBezTo>
                      <a:pt x="270" y="14"/>
                      <a:pt x="270" y="14"/>
                      <a:pt x="270" y="14"/>
                    </a:cubicBezTo>
                    <a:cubicBezTo>
                      <a:pt x="254" y="17"/>
                      <a:pt x="254" y="17"/>
                      <a:pt x="254" y="17"/>
                    </a:cubicBezTo>
                    <a:cubicBezTo>
                      <a:pt x="258" y="17"/>
                      <a:pt x="258" y="17"/>
                      <a:pt x="258" y="17"/>
                    </a:cubicBezTo>
                    <a:cubicBezTo>
                      <a:pt x="258" y="45"/>
                      <a:pt x="258" y="45"/>
                      <a:pt x="258" y="45"/>
                    </a:cubicBezTo>
                    <a:cubicBezTo>
                      <a:pt x="222" y="87"/>
                      <a:pt x="222" y="87"/>
                      <a:pt x="222" y="87"/>
                    </a:cubicBezTo>
                    <a:cubicBezTo>
                      <a:pt x="214" y="87"/>
                      <a:pt x="214" y="87"/>
                      <a:pt x="214" y="87"/>
                    </a:cubicBezTo>
                    <a:cubicBezTo>
                      <a:pt x="190" y="66"/>
                      <a:pt x="190" y="66"/>
                      <a:pt x="190" y="66"/>
                    </a:cubicBezTo>
                    <a:cubicBezTo>
                      <a:pt x="171" y="73"/>
                      <a:pt x="171" y="73"/>
                      <a:pt x="171" y="73"/>
                    </a:cubicBezTo>
                    <a:cubicBezTo>
                      <a:pt x="171" y="87"/>
                      <a:pt x="171" y="87"/>
                      <a:pt x="171" y="87"/>
                    </a:cubicBezTo>
                    <a:cubicBezTo>
                      <a:pt x="155" y="87"/>
                      <a:pt x="155" y="87"/>
                      <a:pt x="155" y="87"/>
                    </a:cubicBezTo>
                    <a:cubicBezTo>
                      <a:pt x="143" y="98"/>
                      <a:pt x="143" y="98"/>
                      <a:pt x="143" y="98"/>
                    </a:cubicBezTo>
                    <a:cubicBezTo>
                      <a:pt x="119" y="98"/>
                      <a:pt x="119" y="98"/>
                      <a:pt x="119" y="98"/>
                    </a:cubicBezTo>
                    <a:cubicBezTo>
                      <a:pt x="119" y="87"/>
                      <a:pt x="119" y="87"/>
                      <a:pt x="119" y="87"/>
                    </a:cubicBezTo>
                    <a:cubicBezTo>
                      <a:pt x="68" y="94"/>
                      <a:pt x="68" y="94"/>
                      <a:pt x="68" y="94"/>
                    </a:cubicBezTo>
                    <a:cubicBezTo>
                      <a:pt x="52" y="73"/>
                      <a:pt x="52" y="73"/>
                      <a:pt x="52" y="73"/>
                    </a:cubicBezTo>
                    <a:cubicBezTo>
                      <a:pt x="28" y="70"/>
                      <a:pt x="28" y="70"/>
                      <a:pt x="28" y="70"/>
                    </a:cubicBezTo>
                    <a:cubicBezTo>
                      <a:pt x="0" y="126"/>
                      <a:pt x="0" y="126"/>
                      <a:pt x="0" y="126"/>
                    </a:cubicBezTo>
                    <a:cubicBezTo>
                      <a:pt x="0" y="126"/>
                      <a:pt x="0" y="126"/>
                      <a:pt x="0" y="126"/>
                    </a:cubicBezTo>
                    <a:cubicBezTo>
                      <a:pt x="3" y="126"/>
                      <a:pt x="3" y="126"/>
                      <a:pt x="3" y="126"/>
                    </a:cubicBezTo>
                    <a:cubicBezTo>
                      <a:pt x="8" y="130"/>
                      <a:pt x="8" y="130"/>
                      <a:pt x="8" y="130"/>
                    </a:cubicBezTo>
                    <a:cubicBezTo>
                      <a:pt x="3" y="133"/>
                      <a:pt x="3" y="133"/>
                      <a:pt x="3" y="133"/>
                    </a:cubicBezTo>
                    <a:cubicBezTo>
                      <a:pt x="3" y="140"/>
                      <a:pt x="3" y="140"/>
                      <a:pt x="3" y="140"/>
                    </a:cubicBezTo>
                    <a:cubicBezTo>
                      <a:pt x="19" y="142"/>
                      <a:pt x="19" y="142"/>
                      <a:pt x="19" y="142"/>
                    </a:cubicBezTo>
                    <a:cubicBezTo>
                      <a:pt x="31" y="154"/>
                      <a:pt x="31" y="154"/>
                      <a:pt x="31" y="154"/>
                    </a:cubicBezTo>
                    <a:cubicBezTo>
                      <a:pt x="35" y="154"/>
                      <a:pt x="35" y="154"/>
                      <a:pt x="35" y="154"/>
                    </a:cubicBezTo>
                    <a:cubicBezTo>
                      <a:pt x="35" y="159"/>
                      <a:pt x="35" y="159"/>
                      <a:pt x="35" y="159"/>
                    </a:cubicBezTo>
                    <a:cubicBezTo>
                      <a:pt x="33" y="163"/>
                      <a:pt x="33" y="163"/>
                      <a:pt x="33" y="163"/>
                    </a:cubicBezTo>
                    <a:cubicBezTo>
                      <a:pt x="56" y="180"/>
                      <a:pt x="56" y="180"/>
                      <a:pt x="56" y="180"/>
                    </a:cubicBezTo>
                    <a:cubicBezTo>
                      <a:pt x="58" y="182"/>
                      <a:pt x="58" y="182"/>
                      <a:pt x="58" y="182"/>
                    </a:cubicBezTo>
                    <a:cubicBezTo>
                      <a:pt x="70" y="189"/>
                      <a:pt x="70" y="189"/>
                      <a:pt x="70" y="189"/>
                    </a:cubicBezTo>
                    <a:cubicBezTo>
                      <a:pt x="65" y="196"/>
                      <a:pt x="65" y="196"/>
                      <a:pt x="65" y="196"/>
                    </a:cubicBezTo>
                    <a:cubicBezTo>
                      <a:pt x="72" y="203"/>
                      <a:pt x="72" y="203"/>
                      <a:pt x="72" y="203"/>
                    </a:cubicBezTo>
                    <a:cubicBezTo>
                      <a:pt x="70" y="206"/>
                      <a:pt x="70" y="206"/>
                      <a:pt x="70" y="206"/>
                    </a:cubicBezTo>
                    <a:cubicBezTo>
                      <a:pt x="81" y="210"/>
                      <a:pt x="81" y="210"/>
                      <a:pt x="81" y="210"/>
                    </a:cubicBezTo>
                    <a:cubicBezTo>
                      <a:pt x="92" y="217"/>
                      <a:pt x="92" y="217"/>
                      <a:pt x="92" y="217"/>
                    </a:cubicBezTo>
                    <a:cubicBezTo>
                      <a:pt x="95" y="224"/>
                      <a:pt x="95" y="224"/>
                      <a:pt x="95" y="224"/>
                    </a:cubicBezTo>
                    <a:cubicBezTo>
                      <a:pt x="95" y="229"/>
                      <a:pt x="95" y="229"/>
                      <a:pt x="95" y="229"/>
                    </a:cubicBezTo>
                    <a:cubicBezTo>
                      <a:pt x="102" y="241"/>
                      <a:pt x="102" y="241"/>
                      <a:pt x="102" y="241"/>
                    </a:cubicBezTo>
                    <a:cubicBezTo>
                      <a:pt x="108" y="248"/>
                      <a:pt x="108" y="248"/>
                      <a:pt x="108" y="248"/>
                    </a:cubicBezTo>
                    <a:cubicBezTo>
                      <a:pt x="111" y="253"/>
                      <a:pt x="111" y="253"/>
                      <a:pt x="111" y="253"/>
                    </a:cubicBezTo>
                    <a:cubicBezTo>
                      <a:pt x="127" y="264"/>
                      <a:pt x="127" y="264"/>
                      <a:pt x="127" y="264"/>
                    </a:cubicBezTo>
                    <a:cubicBezTo>
                      <a:pt x="140" y="253"/>
                      <a:pt x="140" y="253"/>
                      <a:pt x="140" y="253"/>
                    </a:cubicBezTo>
                    <a:cubicBezTo>
                      <a:pt x="154" y="260"/>
                      <a:pt x="154" y="260"/>
                      <a:pt x="154" y="260"/>
                    </a:cubicBezTo>
                    <a:cubicBezTo>
                      <a:pt x="161" y="250"/>
                      <a:pt x="161" y="250"/>
                      <a:pt x="161" y="250"/>
                    </a:cubicBezTo>
                    <a:cubicBezTo>
                      <a:pt x="163" y="250"/>
                      <a:pt x="163" y="250"/>
                      <a:pt x="163" y="250"/>
                    </a:cubicBezTo>
                    <a:cubicBezTo>
                      <a:pt x="170" y="253"/>
                      <a:pt x="170" y="253"/>
                      <a:pt x="170" y="253"/>
                    </a:cubicBezTo>
                    <a:cubicBezTo>
                      <a:pt x="170" y="260"/>
                      <a:pt x="170" y="260"/>
                      <a:pt x="170" y="260"/>
                    </a:cubicBezTo>
                    <a:cubicBezTo>
                      <a:pt x="179" y="267"/>
                      <a:pt x="179" y="267"/>
                      <a:pt x="179" y="267"/>
                    </a:cubicBezTo>
                    <a:cubicBezTo>
                      <a:pt x="184" y="274"/>
                      <a:pt x="184" y="274"/>
                      <a:pt x="184" y="274"/>
                    </a:cubicBezTo>
                    <a:cubicBezTo>
                      <a:pt x="193" y="274"/>
                      <a:pt x="193" y="274"/>
                      <a:pt x="193" y="274"/>
                    </a:cubicBezTo>
                    <a:cubicBezTo>
                      <a:pt x="193" y="283"/>
                      <a:pt x="193" y="283"/>
                      <a:pt x="193" y="283"/>
                    </a:cubicBezTo>
                    <a:cubicBezTo>
                      <a:pt x="200" y="281"/>
                      <a:pt x="200" y="281"/>
                      <a:pt x="200" y="281"/>
                    </a:cubicBezTo>
                    <a:cubicBezTo>
                      <a:pt x="202" y="288"/>
                      <a:pt x="202" y="288"/>
                      <a:pt x="202" y="288"/>
                    </a:cubicBezTo>
                    <a:cubicBezTo>
                      <a:pt x="207" y="281"/>
                      <a:pt x="207" y="281"/>
                      <a:pt x="207" y="281"/>
                    </a:cubicBezTo>
                    <a:cubicBezTo>
                      <a:pt x="209" y="276"/>
                      <a:pt x="209" y="276"/>
                      <a:pt x="209" y="276"/>
                    </a:cubicBezTo>
                    <a:cubicBezTo>
                      <a:pt x="223" y="281"/>
                      <a:pt x="223" y="281"/>
                      <a:pt x="223" y="281"/>
                    </a:cubicBezTo>
                    <a:cubicBezTo>
                      <a:pt x="229" y="276"/>
                      <a:pt x="229" y="276"/>
                      <a:pt x="229" y="276"/>
                    </a:cubicBezTo>
                    <a:cubicBezTo>
                      <a:pt x="232" y="283"/>
                      <a:pt x="232" y="283"/>
                      <a:pt x="232" y="283"/>
                    </a:cubicBezTo>
                    <a:cubicBezTo>
                      <a:pt x="241" y="288"/>
                      <a:pt x="241" y="288"/>
                      <a:pt x="241" y="288"/>
                    </a:cubicBezTo>
                    <a:cubicBezTo>
                      <a:pt x="241" y="283"/>
                      <a:pt x="241" y="283"/>
                      <a:pt x="241" y="283"/>
                    </a:cubicBezTo>
                    <a:cubicBezTo>
                      <a:pt x="248" y="281"/>
                      <a:pt x="248" y="281"/>
                      <a:pt x="248" y="281"/>
                    </a:cubicBezTo>
                    <a:cubicBezTo>
                      <a:pt x="254" y="276"/>
                      <a:pt x="254" y="276"/>
                      <a:pt x="254" y="276"/>
                    </a:cubicBezTo>
                    <a:cubicBezTo>
                      <a:pt x="264" y="274"/>
                      <a:pt x="264" y="274"/>
                      <a:pt x="264" y="274"/>
                    </a:cubicBezTo>
                    <a:cubicBezTo>
                      <a:pt x="270" y="276"/>
                      <a:pt x="270" y="276"/>
                      <a:pt x="270" y="276"/>
                    </a:cubicBezTo>
                    <a:cubicBezTo>
                      <a:pt x="282" y="276"/>
                      <a:pt x="282" y="276"/>
                      <a:pt x="282" y="276"/>
                    </a:cubicBezTo>
                    <a:cubicBezTo>
                      <a:pt x="293" y="264"/>
                      <a:pt x="293" y="264"/>
                      <a:pt x="293" y="264"/>
                    </a:cubicBezTo>
                    <a:cubicBezTo>
                      <a:pt x="307" y="253"/>
                      <a:pt x="307" y="253"/>
                      <a:pt x="307" y="253"/>
                    </a:cubicBezTo>
                    <a:cubicBezTo>
                      <a:pt x="353" y="253"/>
                      <a:pt x="353" y="253"/>
                      <a:pt x="353" y="253"/>
                    </a:cubicBezTo>
                    <a:cubicBezTo>
                      <a:pt x="346" y="248"/>
                      <a:pt x="346" y="248"/>
                      <a:pt x="346" y="248"/>
                    </a:cubicBezTo>
                    <a:lnTo>
                      <a:pt x="350" y="22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7990" name="Ellipse 7989">
            <a:extLst>
              <a:ext uri="{FF2B5EF4-FFF2-40B4-BE49-F238E27FC236}">
                <a16:creationId xmlns:a16="http://schemas.microsoft.com/office/drawing/2014/main" id="{D778CBD7-14AB-41E5-BC4A-3C2A6A99900E}"/>
              </a:ext>
            </a:extLst>
          </p:cNvPr>
          <p:cNvSpPr/>
          <p:nvPr/>
        </p:nvSpPr>
        <p:spPr bwMode="gray">
          <a:xfrm>
            <a:off x="3742791" y="3121269"/>
            <a:ext cx="108000" cy="108000"/>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7992" name="Ellipse 7991">
            <a:extLst>
              <a:ext uri="{FF2B5EF4-FFF2-40B4-BE49-F238E27FC236}">
                <a16:creationId xmlns:a16="http://schemas.microsoft.com/office/drawing/2014/main" id="{3E716E2D-9359-45B2-BCFE-A472A2CE46C7}"/>
              </a:ext>
            </a:extLst>
          </p:cNvPr>
          <p:cNvSpPr/>
          <p:nvPr/>
        </p:nvSpPr>
        <p:spPr bwMode="gray">
          <a:xfrm>
            <a:off x="4259702" y="2964787"/>
            <a:ext cx="108000" cy="108000"/>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7993" name="Ellipse 7992">
            <a:extLst>
              <a:ext uri="{FF2B5EF4-FFF2-40B4-BE49-F238E27FC236}">
                <a16:creationId xmlns:a16="http://schemas.microsoft.com/office/drawing/2014/main" id="{6A49585C-C0B5-4956-A3C6-7E916CD62E8F}"/>
              </a:ext>
            </a:extLst>
          </p:cNvPr>
          <p:cNvSpPr/>
          <p:nvPr/>
        </p:nvSpPr>
        <p:spPr bwMode="gray">
          <a:xfrm>
            <a:off x="4169215" y="3068743"/>
            <a:ext cx="108000" cy="108000"/>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7994" name="Ellipse 7993">
            <a:extLst>
              <a:ext uri="{FF2B5EF4-FFF2-40B4-BE49-F238E27FC236}">
                <a16:creationId xmlns:a16="http://schemas.microsoft.com/office/drawing/2014/main" id="{1EE7195D-CACA-4DB2-993F-2E2453C4B4F3}"/>
              </a:ext>
            </a:extLst>
          </p:cNvPr>
          <p:cNvSpPr/>
          <p:nvPr/>
        </p:nvSpPr>
        <p:spPr bwMode="gray">
          <a:xfrm>
            <a:off x="4042240" y="3030643"/>
            <a:ext cx="108000" cy="108000"/>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7995" name="Ellipse 7994">
            <a:extLst>
              <a:ext uri="{FF2B5EF4-FFF2-40B4-BE49-F238E27FC236}">
                <a16:creationId xmlns:a16="http://schemas.microsoft.com/office/drawing/2014/main" id="{0595E892-9B3D-4C20-9B7E-2F77A0CE03D7}"/>
              </a:ext>
            </a:extLst>
          </p:cNvPr>
          <p:cNvSpPr/>
          <p:nvPr/>
        </p:nvSpPr>
        <p:spPr bwMode="gray">
          <a:xfrm>
            <a:off x="5010293" y="5056188"/>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endParaRPr lang="en-US" sz="1600" dirty="0">
              <a:solidFill>
                <a:schemeClr val="tx1"/>
              </a:solidFill>
              <a:ea typeface="MS PGothic" pitchFamily="34" charset="-128"/>
            </a:endParaRPr>
          </a:p>
        </p:txBody>
      </p:sp>
      <p:sp>
        <p:nvSpPr>
          <p:cNvPr id="7996" name="Ellipse 7995">
            <a:extLst>
              <a:ext uri="{FF2B5EF4-FFF2-40B4-BE49-F238E27FC236}">
                <a16:creationId xmlns:a16="http://schemas.microsoft.com/office/drawing/2014/main" id="{FBC20F68-28BA-472B-BBA8-DC5254730FE6}"/>
              </a:ext>
            </a:extLst>
          </p:cNvPr>
          <p:cNvSpPr/>
          <p:nvPr/>
        </p:nvSpPr>
        <p:spPr bwMode="gray">
          <a:xfrm>
            <a:off x="7169799" y="5277747"/>
            <a:ext cx="108000" cy="108000"/>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04" name="Ellipse 8003">
            <a:extLst>
              <a:ext uri="{FF2B5EF4-FFF2-40B4-BE49-F238E27FC236}">
                <a16:creationId xmlns:a16="http://schemas.microsoft.com/office/drawing/2014/main" id="{B893C03B-708D-4D18-B078-E5888409589D}"/>
              </a:ext>
            </a:extLst>
          </p:cNvPr>
          <p:cNvSpPr/>
          <p:nvPr/>
        </p:nvSpPr>
        <p:spPr bwMode="gray">
          <a:xfrm>
            <a:off x="9872497" y="3068609"/>
            <a:ext cx="108000" cy="108000"/>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05" name="Ellipse 8004">
            <a:extLst>
              <a:ext uri="{FF2B5EF4-FFF2-40B4-BE49-F238E27FC236}">
                <a16:creationId xmlns:a16="http://schemas.microsoft.com/office/drawing/2014/main" id="{1CFB441A-4954-41D4-8F7A-577749CE0245}"/>
              </a:ext>
            </a:extLst>
          </p:cNvPr>
          <p:cNvSpPr/>
          <p:nvPr/>
        </p:nvSpPr>
        <p:spPr bwMode="gray">
          <a:xfrm>
            <a:off x="9848009" y="3299778"/>
            <a:ext cx="108000" cy="108000"/>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06" name="Ellipse 8005">
            <a:extLst>
              <a:ext uri="{FF2B5EF4-FFF2-40B4-BE49-F238E27FC236}">
                <a16:creationId xmlns:a16="http://schemas.microsoft.com/office/drawing/2014/main" id="{B6EBDC8C-9A26-4BBB-86DB-FD275DB7483D}"/>
              </a:ext>
            </a:extLst>
          </p:cNvPr>
          <p:cNvSpPr/>
          <p:nvPr/>
        </p:nvSpPr>
        <p:spPr bwMode="gray">
          <a:xfrm>
            <a:off x="3805555" y="3922688"/>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07" name="Ellipse 8006">
            <a:extLst>
              <a:ext uri="{FF2B5EF4-FFF2-40B4-BE49-F238E27FC236}">
                <a16:creationId xmlns:a16="http://schemas.microsoft.com/office/drawing/2014/main" id="{8CFAA494-2CC8-4ABA-BE9F-D9BED5E473C8}"/>
              </a:ext>
            </a:extLst>
          </p:cNvPr>
          <p:cNvSpPr/>
          <p:nvPr/>
        </p:nvSpPr>
        <p:spPr bwMode="gray">
          <a:xfrm>
            <a:off x="3466024" y="3707092"/>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08" name="Ellipse 8007">
            <a:extLst>
              <a:ext uri="{FF2B5EF4-FFF2-40B4-BE49-F238E27FC236}">
                <a16:creationId xmlns:a16="http://schemas.microsoft.com/office/drawing/2014/main" id="{CA3AEE07-F4D8-428B-9967-61D7D589EC3D}"/>
              </a:ext>
            </a:extLst>
          </p:cNvPr>
          <p:cNvSpPr/>
          <p:nvPr/>
        </p:nvSpPr>
        <p:spPr bwMode="gray">
          <a:xfrm>
            <a:off x="3520024" y="3788501"/>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09" name="Ellipse 8008">
            <a:extLst>
              <a:ext uri="{FF2B5EF4-FFF2-40B4-BE49-F238E27FC236}">
                <a16:creationId xmlns:a16="http://schemas.microsoft.com/office/drawing/2014/main" id="{0C1CC459-A34F-442B-92F5-3A9A14D56B57}"/>
              </a:ext>
            </a:extLst>
          </p:cNvPr>
          <p:cNvSpPr/>
          <p:nvPr/>
        </p:nvSpPr>
        <p:spPr bwMode="gray">
          <a:xfrm>
            <a:off x="3697555" y="3375000"/>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10" name="Ellipse 8009">
            <a:extLst>
              <a:ext uri="{FF2B5EF4-FFF2-40B4-BE49-F238E27FC236}">
                <a16:creationId xmlns:a16="http://schemas.microsoft.com/office/drawing/2014/main" id="{7328E87D-FF9E-4321-8CC0-F3C3AF38FCA5}"/>
              </a:ext>
            </a:extLst>
          </p:cNvPr>
          <p:cNvSpPr/>
          <p:nvPr/>
        </p:nvSpPr>
        <p:spPr bwMode="gray">
          <a:xfrm>
            <a:off x="3837813" y="2865984"/>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11" name="Ellipse 8010">
            <a:extLst>
              <a:ext uri="{FF2B5EF4-FFF2-40B4-BE49-F238E27FC236}">
                <a16:creationId xmlns:a16="http://schemas.microsoft.com/office/drawing/2014/main" id="{D92AFF6C-03AB-4A50-8BBF-8B948F696AE2}"/>
              </a:ext>
            </a:extLst>
          </p:cNvPr>
          <p:cNvSpPr/>
          <p:nvPr/>
        </p:nvSpPr>
        <p:spPr bwMode="gray">
          <a:xfrm>
            <a:off x="4032716" y="2822139"/>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12" name="Ellipse 8011">
            <a:extLst>
              <a:ext uri="{FF2B5EF4-FFF2-40B4-BE49-F238E27FC236}">
                <a16:creationId xmlns:a16="http://schemas.microsoft.com/office/drawing/2014/main" id="{FC1DC678-FA5F-46F8-8F7F-A7D29A7A21D5}"/>
              </a:ext>
            </a:extLst>
          </p:cNvPr>
          <p:cNvSpPr/>
          <p:nvPr/>
        </p:nvSpPr>
        <p:spPr bwMode="gray">
          <a:xfrm>
            <a:off x="4115266" y="2766576"/>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13" name="Ellipse 8012">
            <a:extLst>
              <a:ext uri="{FF2B5EF4-FFF2-40B4-BE49-F238E27FC236}">
                <a16:creationId xmlns:a16="http://schemas.microsoft.com/office/drawing/2014/main" id="{9E3332B4-9215-4C70-A6C7-3653550E0FA0}"/>
              </a:ext>
            </a:extLst>
          </p:cNvPr>
          <p:cNvSpPr/>
          <p:nvPr/>
        </p:nvSpPr>
        <p:spPr bwMode="gray">
          <a:xfrm>
            <a:off x="4251118" y="2801261"/>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14" name="Ellipse 8013">
            <a:extLst>
              <a:ext uri="{FF2B5EF4-FFF2-40B4-BE49-F238E27FC236}">
                <a16:creationId xmlns:a16="http://schemas.microsoft.com/office/drawing/2014/main" id="{9ACEB2C0-7CA3-46EE-9E13-60EC74E93E18}"/>
              </a:ext>
            </a:extLst>
          </p:cNvPr>
          <p:cNvSpPr/>
          <p:nvPr/>
        </p:nvSpPr>
        <p:spPr bwMode="gray">
          <a:xfrm>
            <a:off x="4165971" y="4644134"/>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15" name="Ellipse 8014">
            <a:extLst>
              <a:ext uri="{FF2B5EF4-FFF2-40B4-BE49-F238E27FC236}">
                <a16:creationId xmlns:a16="http://schemas.microsoft.com/office/drawing/2014/main" id="{2421D621-3F6D-435D-A6D1-52058E544FE2}"/>
              </a:ext>
            </a:extLst>
          </p:cNvPr>
          <p:cNvSpPr/>
          <p:nvPr/>
        </p:nvSpPr>
        <p:spPr bwMode="gray">
          <a:xfrm>
            <a:off x="4260924" y="4250446"/>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16" name="Ellipse 8015">
            <a:extLst>
              <a:ext uri="{FF2B5EF4-FFF2-40B4-BE49-F238E27FC236}">
                <a16:creationId xmlns:a16="http://schemas.microsoft.com/office/drawing/2014/main" id="{AF3DF29E-DAA3-49AE-9D11-1C6D5651DB26}"/>
              </a:ext>
            </a:extLst>
          </p:cNvPr>
          <p:cNvSpPr/>
          <p:nvPr/>
        </p:nvSpPr>
        <p:spPr bwMode="gray">
          <a:xfrm>
            <a:off x="4923204" y="5157192"/>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17" name="Ellipse 8016">
            <a:extLst>
              <a:ext uri="{FF2B5EF4-FFF2-40B4-BE49-F238E27FC236}">
                <a16:creationId xmlns:a16="http://schemas.microsoft.com/office/drawing/2014/main" id="{CBA15CF3-E6B4-4EF2-A3DF-D91A72C079EA}"/>
              </a:ext>
            </a:extLst>
          </p:cNvPr>
          <p:cNvSpPr/>
          <p:nvPr/>
        </p:nvSpPr>
        <p:spPr bwMode="gray">
          <a:xfrm>
            <a:off x="4693248" y="5434072"/>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18" name="Ellipse 8017">
            <a:extLst>
              <a:ext uri="{FF2B5EF4-FFF2-40B4-BE49-F238E27FC236}">
                <a16:creationId xmlns:a16="http://schemas.microsoft.com/office/drawing/2014/main" id="{F601C145-451B-462B-B09F-BCB54F3C9EAA}"/>
              </a:ext>
            </a:extLst>
          </p:cNvPr>
          <p:cNvSpPr/>
          <p:nvPr/>
        </p:nvSpPr>
        <p:spPr bwMode="gray">
          <a:xfrm>
            <a:off x="4310375" y="5486253"/>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19" name="Ellipse 8018">
            <a:extLst>
              <a:ext uri="{FF2B5EF4-FFF2-40B4-BE49-F238E27FC236}">
                <a16:creationId xmlns:a16="http://schemas.microsoft.com/office/drawing/2014/main" id="{6866F60C-AEE2-4DA9-BFF6-112072D2B338}"/>
              </a:ext>
            </a:extLst>
          </p:cNvPr>
          <p:cNvSpPr/>
          <p:nvPr/>
        </p:nvSpPr>
        <p:spPr bwMode="gray">
          <a:xfrm>
            <a:off x="7085041" y="5326563"/>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20" name="Ellipse 8019">
            <a:extLst>
              <a:ext uri="{FF2B5EF4-FFF2-40B4-BE49-F238E27FC236}">
                <a16:creationId xmlns:a16="http://schemas.microsoft.com/office/drawing/2014/main" id="{02BFA520-E6D2-429D-8325-FBC2F1B86DBC}"/>
              </a:ext>
            </a:extLst>
          </p:cNvPr>
          <p:cNvSpPr/>
          <p:nvPr/>
        </p:nvSpPr>
        <p:spPr bwMode="gray">
          <a:xfrm>
            <a:off x="7273185" y="5069734"/>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21" name="Ellipse 8020">
            <a:extLst>
              <a:ext uri="{FF2B5EF4-FFF2-40B4-BE49-F238E27FC236}">
                <a16:creationId xmlns:a16="http://schemas.microsoft.com/office/drawing/2014/main" id="{4A0A7E71-2D71-449A-B27E-D7560D8CC7D8}"/>
              </a:ext>
            </a:extLst>
          </p:cNvPr>
          <p:cNvSpPr/>
          <p:nvPr/>
        </p:nvSpPr>
        <p:spPr bwMode="gray">
          <a:xfrm>
            <a:off x="7997310" y="3621909"/>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22" name="Ellipse 8021">
            <a:extLst>
              <a:ext uri="{FF2B5EF4-FFF2-40B4-BE49-F238E27FC236}">
                <a16:creationId xmlns:a16="http://schemas.microsoft.com/office/drawing/2014/main" id="{7DA57694-521A-4D43-BF3E-F8DB833FA155}"/>
              </a:ext>
            </a:extLst>
          </p:cNvPr>
          <p:cNvSpPr/>
          <p:nvPr/>
        </p:nvSpPr>
        <p:spPr bwMode="gray">
          <a:xfrm>
            <a:off x="7816467" y="3656904"/>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23" name="Ellipse 8022">
            <a:extLst>
              <a:ext uri="{FF2B5EF4-FFF2-40B4-BE49-F238E27FC236}">
                <a16:creationId xmlns:a16="http://schemas.microsoft.com/office/drawing/2014/main" id="{A58A6176-703A-4EFB-A065-A547DC949F67}"/>
              </a:ext>
            </a:extLst>
          </p:cNvPr>
          <p:cNvSpPr/>
          <p:nvPr/>
        </p:nvSpPr>
        <p:spPr bwMode="gray">
          <a:xfrm>
            <a:off x="8588316" y="3698054"/>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24" name="Ellipse 8023">
            <a:extLst>
              <a:ext uri="{FF2B5EF4-FFF2-40B4-BE49-F238E27FC236}">
                <a16:creationId xmlns:a16="http://schemas.microsoft.com/office/drawing/2014/main" id="{3BEF92A4-0C1C-4FD9-BCFD-1574895A8112}"/>
              </a:ext>
            </a:extLst>
          </p:cNvPr>
          <p:cNvSpPr/>
          <p:nvPr/>
        </p:nvSpPr>
        <p:spPr bwMode="gray">
          <a:xfrm>
            <a:off x="6212105" y="3096867"/>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25" name="Ellipse 8024">
            <a:extLst>
              <a:ext uri="{FF2B5EF4-FFF2-40B4-BE49-F238E27FC236}">
                <a16:creationId xmlns:a16="http://schemas.microsoft.com/office/drawing/2014/main" id="{0AC72CD0-59A1-47DB-B673-6A92959040AF}"/>
              </a:ext>
            </a:extLst>
          </p:cNvPr>
          <p:cNvSpPr/>
          <p:nvPr/>
        </p:nvSpPr>
        <p:spPr bwMode="gray">
          <a:xfrm>
            <a:off x="6309537" y="3039502"/>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34" name="Ellipse 8033">
            <a:extLst>
              <a:ext uri="{FF2B5EF4-FFF2-40B4-BE49-F238E27FC236}">
                <a16:creationId xmlns:a16="http://schemas.microsoft.com/office/drawing/2014/main" id="{D5FDC9F8-EBAB-498A-9384-B6F2F5057DEC}"/>
              </a:ext>
            </a:extLst>
          </p:cNvPr>
          <p:cNvSpPr/>
          <p:nvPr/>
        </p:nvSpPr>
        <p:spPr bwMode="gray">
          <a:xfrm>
            <a:off x="6192742" y="3375000"/>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58" name="Ellipse 8057">
            <a:extLst>
              <a:ext uri="{FF2B5EF4-FFF2-40B4-BE49-F238E27FC236}">
                <a16:creationId xmlns:a16="http://schemas.microsoft.com/office/drawing/2014/main" id="{29193E67-1C3C-40EB-B442-CC92F0345369}"/>
              </a:ext>
            </a:extLst>
          </p:cNvPr>
          <p:cNvSpPr/>
          <p:nvPr/>
        </p:nvSpPr>
        <p:spPr bwMode="gray">
          <a:xfrm>
            <a:off x="10077845" y="3161932"/>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59" name="Ellipse 8058">
            <a:extLst>
              <a:ext uri="{FF2B5EF4-FFF2-40B4-BE49-F238E27FC236}">
                <a16:creationId xmlns:a16="http://schemas.microsoft.com/office/drawing/2014/main" id="{75B76C4A-DA31-40D8-975C-132C1484BB1E}"/>
              </a:ext>
            </a:extLst>
          </p:cNvPr>
          <p:cNvSpPr/>
          <p:nvPr/>
        </p:nvSpPr>
        <p:spPr bwMode="gray">
          <a:xfrm>
            <a:off x="10436433" y="3175722"/>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60" name="Ellipse 8059">
            <a:extLst>
              <a:ext uri="{FF2B5EF4-FFF2-40B4-BE49-F238E27FC236}">
                <a16:creationId xmlns:a16="http://schemas.microsoft.com/office/drawing/2014/main" id="{E26C8EFD-94D7-44E0-8785-F0E5AC07BE7D}"/>
              </a:ext>
            </a:extLst>
          </p:cNvPr>
          <p:cNvSpPr/>
          <p:nvPr/>
        </p:nvSpPr>
        <p:spPr bwMode="gray">
          <a:xfrm>
            <a:off x="9683584" y="3595099"/>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61" name="Ellipse 8060">
            <a:extLst>
              <a:ext uri="{FF2B5EF4-FFF2-40B4-BE49-F238E27FC236}">
                <a16:creationId xmlns:a16="http://schemas.microsoft.com/office/drawing/2014/main" id="{6F0562A5-69BD-4320-9870-BEE3695B21F6}"/>
              </a:ext>
            </a:extLst>
          </p:cNvPr>
          <p:cNvSpPr/>
          <p:nvPr/>
        </p:nvSpPr>
        <p:spPr bwMode="gray">
          <a:xfrm>
            <a:off x="9501104" y="3658343"/>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62" name="Ellipse 8061">
            <a:extLst>
              <a:ext uri="{FF2B5EF4-FFF2-40B4-BE49-F238E27FC236}">
                <a16:creationId xmlns:a16="http://schemas.microsoft.com/office/drawing/2014/main" id="{3E0D1424-0EEF-4796-99F1-F50E2FA5E383}"/>
              </a:ext>
            </a:extLst>
          </p:cNvPr>
          <p:cNvSpPr/>
          <p:nvPr/>
        </p:nvSpPr>
        <p:spPr bwMode="gray">
          <a:xfrm>
            <a:off x="9902653" y="3558904"/>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63" name="Ellipse 8062">
            <a:extLst>
              <a:ext uri="{FF2B5EF4-FFF2-40B4-BE49-F238E27FC236}">
                <a16:creationId xmlns:a16="http://schemas.microsoft.com/office/drawing/2014/main" id="{C0844C2C-0C91-4E80-851D-D46F182A4716}"/>
              </a:ext>
            </a:extLst>
          </p:cNvPr>
          <p:cNvSpPr/>
          <p:nvPr/>
        </p:nvSpPr>
        <p:spPr bwMode="gray">
          <a:xfrm>
            <a:off x="9856465" y="3635690"/>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64" name="Ellipse 8063">
            <a:extLst>
              <a:ext uri="{FF2B5EF4-FFF2-40B4-BE49-F238E27FC236}">
                <a16:creationId xmlns:a16="http://schemas.microsoft.com/office/drawing/2014/main" id="{D61DB4BF-2D64-4BAE-A49C-82FB28852AC4}"/>
              </a:ext>
            </a:extLst>
          </p:cNvPr>
          <p:cNvSpPr/>
          <p:nvPr/>
        </p:nvSpPr>
        <p:spPr bwMode="gray">
          <a:xfrm>
            <a:off x="9473822" y="3953416"/>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65" name="Ellipse 8064">
            <a:extLst>
              <a:ext uri="{FF2B5EF4-FFF2-40B4-BE49-F238E27FC236}">
                <a16:creationId xmlns:a16="http://schemas.microsoft.com/office/drawing/2014/main" id="{597FF900-9022-4F78-B5C0-8580AE0E5696}"/>
              </a:ext>
            </a:extLst>
          </p:cNvPr>
          <p:cNvSpPr/>
          <p:nvPr/>
        </p:nvSpPr>
        <p:spPr bwMode="gray">
          <a:xfrm>
            <a:off x="9319394" y="3884869"/>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66" name="Ellipse 8065">
            <a:extLst>
              <a:ext uri="{FF2B5EF4-FFF2-40B4-BE49-F238E27FC236}">
                <a16:creationId xmlns:a16="http://schemas.microsoft.com/office/drawing/2014/main" id="{4CADF25A-3557-436B-8610-A6941265C612}"/>
              </a:ext>
            </a:extLst>
          </p:cNvPr>
          <p:cNvSpPr/>
          <p:nvPr/>
        </p:nvSpPr>
        <p:spPr bwMode="gray">
          <a:xfrm>
            <a:off x="9356668" y="4242250"/>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67" name="Ellipse 8066">
            <a:extLst>
              <a:ext uri="{FF2B5EF4-FFF2-40B4-BE49-F238E27FC236}">
                <a16:creationId xmlns:a16="http://schemas.microsoft.com/office/drawing/2014/main" id="{D6865481-E2E9-4017-AD9E-7FCFCEB60CEC}"/>
              </a:ext>
            </a:extLst>
          </p:cNvPr>
          <p:cNvSpPr/>
          <p:nvPr/>
        </p:nvSpPr>
        <p:spPr bwMode="gray">
          <a:xfrm>
            <a:off x="9432256" y="4502579"/>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68" name="Ellipse 8067">
            <a:extLst>
              <a:ext uri="{FF2B5EF4-FFF2-40B4-BE49-F238E27FC236}">
                <a16:creationId xmlns:a16="http://schemas.microsoft.com/office/drawing/2014/main" id="{71603A48-4B63-411A-9E15-270533229A4C}"/>
              </a:ext>
            </a:extLst>
          </p:cNvPr>
          <p:cNvSpPr/>
          <p:nvPr/>
        </p:nvSpPr>
        <p:spPr bwMode="gray">
          <a:xfrm>
            <a:off x="10632504" y="5661248"/>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069" name="Ellipse 8068">
            <a:extLst>
              <a:ext uri="{FF2B5EF4-FFF2-40B4-BE49-F238E27FC236}">
                <a16:creationId xmlns:a16="http://schemas.microsoft.com/office/drawing/2014/main" id="{E02AF7D1-7144-4BB5-8BF1-978F250760B8}"/>
              </a:ext>
            </a:extLst>
          </p:cNvPr>
          <p:cNvSpPr/>
          <p:nvPr/>
        </p:nvSpPr>
        <p:spPr bwMode="gray">
          <a:xfrm>
            <a:off x="11064552" y="4869160"/>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4" name="Titel 3">
            <a:extLst>
              <a:ext uri="{FF2B5EF4-FFF2-40B4-BE49-F238E27FC236}">
                <a16:creationId xmlns:a16="http://schemas.microsoft.com/office/drawing/2014/main" id="{60EC8D8A-C876-4EC5-A94B-31EA320D0A60}"/>
              </a:ext>
            </a:extLst>
          </p:cNvPr>
          <p:cNvSpPr>
            <a:spLocks noGrp="1"/>
          </p:cNvSpPr>
          <p:nvPr>
            <p:ph type="title"/>
          </p:nvPr>
        </p:nvSpPr>
        <p:spPr bwMode="gray"/>
        <p:txBody>
          <a:bodyPr/>
          <a:lstStyle/>
          <a:p>
            <a:r>
              <a:rPr lang="en-US" dirty="0"/>
              <a:t>Nunc viverra imperdiet enim Fusce est Vivamus a tellus.</a:t>
            </a:r>
          </a:p>
        </p:txBody>
      </p:sp>
      <p:sp>
        <p:nvSpPr>
          <p:cNvPr id="6" name="Ellipse 5">
            <a:extLst>
              <a:ext uri="{FF2B5EF4-FFF2-40B4-BE49-F238E27FC236}">
                <a16:creationId xmlns:a16="http://schemas.microsoft.com/office/drawing/2014/main" id="{FFB46CD3-14D6-4067-9EBD-2C7C9C7BFF7E}"/>
              </a:ext>
            </a:extLst>
          </p:cNvPr>
          <p:cNvSpPr/>
          <p:nvPr/>
        </p:nvSpPr>
        <p:spPr bwMode="gray">
          <a:xfrm>
            <a:off x="623392" y="4113088"/>
            <a:ext cx="108000" cy="108000"/>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r>
              <a:rPr lang="en-US" sz="1600" dirty="0">
                <a:solidFill>
                  <a:schemeClr val="tx1"/>
                </a:solidFill>
                <a:ea typeface="MS PGothic" pitchFamily="34" charset="-128"/>
              </a:rPr>
              <a:t>Headquarters</a:t>
            </a:r>
          </a:p>
        </p:txBody>
      </p:sp>
      <p:sp>
        <p:nvSpPr>
          <p:cNvPr id="7986" name="Ellipse 7985">
            <a:extLst>
              <a:ext uri="{FF2B5EF4-FFF2-40B4-BE49-F238E27FC236}">
                <a16:creationId xmlns:a16="http://schemas.microsoft.com/office/drawing/2014/main" id="{D414BDBB-3F96-4BC8-9C72-50F67451E39F}"/>
              </a:ext>
            </a:extLst>
          </p:cNvPr>
          <p:cNvSpPr/>
          <p:nvPr/>
        </p:nvSpPr>
        <p:spPr bwMode="gray">
          <a:xfrm>
            <a:off x="623392" y="4401120"/>
            <a:ext cx="108000" cy="108000"/>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r>
              <a:rPr lang="en-US" sz="1600" dirty="0">
                <a:solidFill>
                  <a:schemeClr val="tx1"/>
                </a:solidFill>
                <a:ea typeface="MS PGothic" pitchFamily="34" charset="-128"/>
              </a:rPr>
              <a:t>Production facilities</a:t>
            </a:r>
          </a:p>
        </p:txBody>
      </p:sp>
      <p:sp>
        <p:nvSpPr>
          <p:cNvPr id="7987" name="Ellipse 7986">
            <a:extLst>
              <a:ext uri="{FF2B5EF4-FFF2-40B4-BE49-F238E27FC236}">
                <a16:creationId xmlns:a16="http://schemas.microsoft.com/office/drawing/2014/main" id="{D94C67EC-A0F4-4008-A870-9D0123094210}"/>
              </a:ext>
            </a:extLst>
          </p:cNvPr>
          <p:cNvSpPr/>
          <p:nvPr/>
        </p:nvSpPr>
        <p:spPr bwMode="gray">
          <a:xfrm>
            <a:off x="623392" y="4689152"/>
            <a:ext cx="108000" cy="108000"/>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r>
              <a:rPr lang="en-US" sz="1600" dirty="0">
                <a:solidFill>
                  <a:schemeClr val="tx1"/>
                </a:solidFill>
                <a:ea typeface="MS PGothic" pitchFamily="34" charset="-128"/>
              </a:rPr>
              <a:t>Logistic centers</a:t>
            </a:r>
          </a:p>
        </p:txBody>
      </p:sp>
      <p:sp>
        <p:nvSpPr>
          <p:cNvPr id="7988" name="Ellipse 7987">
            <a:extLst>
              <a:ext uri="{FF2B5EF4-FFF2-40B4-BE49-F238E27FC236}">
                <a16:creationId xmlns:a16="http://schemas.microsoft.com/office/drawing/2014/main" id="{78F1A238-2206-428B-BD9D-61A11C923275}"/>
              </a:ext>
            </a:extLst>
          </p:cNvPr>
          <p:cNvSpPr/>
          <p:nvPr/>
        </p:nvSpPr>
        <p:spPr bwMode="gray">
          <a:xfrm>
            <a:off x="623392" y="4977184"/>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r>
              <a:rPr lang="en-US" sz="1600" dirty="0">
                <a:solidFill>
                  <a:schemeClr val="tx1"/>
                </a:solidFill>
                <a:ea typeface="MS PGothic" pitchFamily="34" charset="-128"/>
              </a:rPr>
              <a:t>Sales and Service organizations</a:t>
            </a:r>
          </a:p>
        </p:txBody>
      </p:sp>
      <p:sp>
        <p:nvSpPr>
          <p:cNvPr id="15" name="Ellipse 14">
            <a:extLst>
              <a:ext uri="{FF2B5EF4-FFF2-40B4-BE49-F238E27FC236}">
                <a16:creationId xmlns:a16="http://schemas.microsoft.com/office/drawing/2014/main" id="{08499663-1914-4F67-8090-9A1E0B192547}"/>
              </a:ext>
            </a:extLst>
          </p:cNvPr>
          <p:cNvSpPr/>
          <p:nvPr/>
        </p:nvSpPr>
        <p:spPr bwMode="gray">
          <a:xfrm>
            <a:off x="5234046" y="-687236"/>
            <a:ext cx="3461788" cy="3461788"/>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sz="1600" dirty="0">
              <a:solidFill>
                <a:schemeClr val="bg1"/>
              </a:solidFill>
            </a:endParaRPr>
          </a:p>
        </p:txBody>
      </p:sp>
      <p:grpSp>
        <p:nvGrpSpPr>
          <p:cNvPr id="24" name="Group 4">
            <a:extLst>
              <a:ext uri="{FF2B5EF4-FFF2-40B4-BE49-F238E27FC236}">
                <a16:creationId xmlns:a16="http://schemas.microsoft.com/office/drawing/2014/main" id="{9CA97AA9-055D-43D0-85AA-A8CB0F4CE889}"/>
              </a:ext>
            </a:extLst>
          </p:cNvPr>
          <p:cNvGrpSpPr>
            <a:grpSpLocks noChangeAspect="1"/>
          </p:cNvGrpSpPr>
          <p:nvPr/>
        </p:nvGrpSpPr>
        <p:grpSpPr bwMode="gray">
          <a:xfrm>
            <a:off x="5741225" y="-597518"/>
            <a:ext cx="2890472" cy="3331029"/>
            <a:chOff x="-3463" y="-696"/>
            <a:chExt cx="3228" cy="3720"/>
          </a:xfrm>
          <a:pattFill prst="ltUpDiag">
            <a:fgClr>
              <a:schemeClr val="accent2"/>
            </a:fgClr>
            <a:bgClr>
              <a:schemeClr val="bg1"/>
            </a:bgClr>
          </a:pattFill>
        </p:grpSpPr>
        <p:grpSp>
          <p:nvGrpSpPr>
            <p:cNvPr id="26" name="Group 205">
              <a:extLst>
                <a:ext uri="{FF2B5EF4-FFF2-40B4-BE49-F238E27FC236}">
                  <a16:creationId xmlns:a16="http://schemas.microsoft.com/office/drawing/2014/main" id="{4450670F-926D-49D3-809B-25185B9300A9}"/>
                </a:ext>
              </a:extLst>
            </p:cNvPr>
            <p:cNvGrpSpPr>
              <a:grpSpLocks/>
            </p:cNvGrpSpPr>
            <p:nvPr/>
          </p:nvGrpSpPr>
          <p:grpSpPr bwMode="gray">
            <a:xfrm>
              <a:off x="-3463" y="48"/>
              <a:ext cx="2692" cy="2976"/>
              <a:chOff x="-3463" y="48"/>
              <a:chExt cx="2692" cy="2976"/>
            </a:xfrm>
            <a:grpFill/>
          </p:grpSpPr>
          <p:sp>
            <p:nvSpPr>
              <p:cNvPr id="20169" name="Freeform 5">
                <a:extLst>
                  <a:ext uri="{FF2B5EF4-FFF2-40B4-BE49-F238E27FC236}">
                    <a16:creationId xmlns:a16="http://schemas.microsoft.com/office/drawing/2014/main" id="{8CAABD4E-96AA-4F83-95CE-27CFBD383479}"/>
                  </a:ext>
                </a:extLst>
              </p:cNvPr>
              <p:cNvSpPr>
                <a:spLocks/>
              </p:cNvSpPr>
              <p:nvPr/>
            </p:nvSpPr>
            <p:spPr bwMode="gray">
              <a:xfrm>
                <a:off x="-2378" y="1257"/>
                <a:ext cx="16" cy="10"/>
              </a:xfrm>
              <a:custGeom>
                <a:avLst/>
                <a:gdLst>
                  <a:gd name="T0" fmla="*/ 0 w 16"/>
                  <a:gd name="T1" fmla="*/ 10 h 10"/>
                  <a:gd name="T2" fmla="*/ 2 w 16"/>
                  <a:gd name="T3" fmla="*/ 10 h 10"/>
                  <a:gd name="T4" fmla="*/ 2 w 16"/>
                  <a:gd name="T5" fmla="*/ 10 h 10"/>
                  <a:gd name="T6" fmla="*/ 5 w 16"/>
                  <a:gd name="T7" fmla="*/ 7 h 10"/>
                  <a:gd name="T8" fmla="*/ 12 w 16"/>
                  <a:gd name="T9" fmla="*/ 3 h 10"/>
                  <a:gd name="T10" fmla="*/ 12 w 16"/>
                  <a:gd name="T11" fmla="*/ 0 h 10"/>
                  <a:gd name="T12" fmla="*/ 14 w 16"/>
                  <a:gd name="T13" fmla="*/ 0 h 10"/>
                  <a:gd name="T14" fmla="*/ 16 w 16"/>
                  <a:gd name="T15" fmla="*/ 0 h 10"/>
                  <a:gd name="T16" fmla="*/ 16 w 16"/>
                  <a:gd name="T17" fmla="*/ 0 h 10"/>
                  <a:gd name="T18" fmla="*/ 12 w 16"/>
                  <a:gd name="T19" fmla="*/ 0 h 10"/>
                  <a:gd name="T20" fmla="*/ 7 w 16"/>
                  <a:gd name="T21" fmla="*/ 3 h 10"/>
                  <a:gd name="T22" fmla="*/ 2 w 16"/>
                  <a:gd name="T23" fmla="*/ 5 h 10"/>
                  <a:gd name="T24" fmla="*/ 0 w 16"/>
                  <a:gd name="T2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0">
                    <a:moveTo>
                      <a:pt x="0" y="10"/>
                    </a:moveTo>
                    <a:lnTo>
                      <a:pt x="2" y="10"/>
                    </a:lnTo>
                    <a:lnTo>
                      <a:pt x="2" y="10"/>
                    </a:lnTo>
                    <a:lnTo>
                      <a:pt x="5" y="7"/>
                    </a:lnTo>
                    <a:lnTo>
                      <a:pt x="12" y="3"/>
                    </a:lnTo>
                    <a:lnTo>
                      <a:pt x="12" y="0"/>
                    </a:lnTo>
                    <a:lnTo>
                      <a:pt x="14" y="0"/>
                    </a:lnTo>
                    <a:lnTo>
                      <a:pt x="16" y="0"/>
                    </a:lnTo>
                    <a:lnTo>
                      <a:pt x="16" y="0"/>
                    </a:lnTo>
                    <a:lnTo>
                      <a:pt x="12" y="0"/>
                    </a:lnTo>
                    <a:lnTo>
                      <a:pt x="7" y="3"/>
                    </a:lnTo>
                    <a:lnTo>
                      <a:pt x="2" y="5"/>
                    </a:ln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70" name="Freeform 6">
                <a:extLst>
                  <a:ext uri="{FF2B5EF4-FFF2-40B4-BE49-F238E27FC236}">
                    <a16:creationId xmlns:a16="http://schemas.microsoft.com/office/drawing/2014/main" id="{91615E8B-C7DA-4416-B3AD-807D2838B7A5}"/>
                  </a:ext>
                </a:extLst>
              </p:cNvPr>
              <p:cNvSpPr>
                <a:spLocks/>
              </p:cNvSpPr>
              <p:nvPr/>
            </p:nvSpPr>
            <p:spPr bwMode="gray">
              <a:xfrm>
                <a:off x="-2390" y="1271"/>
                <a:ext cx="14" cy="22"/>
              </a:xfrm>
              <a:custGeom>
                <a:avLst/>
                <a:gdLst>
                  <a:gd name="T0" fmla="*/ 0 w 14"/>
                  <a:gd name="T1" fmla="*/ 14 h 22"/>
                  <a:gd name="T2" fmla="*/ 0 w 14"/>
                  <a:gd name="T3" fmla="*/ 17 h 22"/>
                  <a:gd name="T4" fmla="*/ 0 w 14"/>
                  <a:gd name="T5" fmla="*/ 22 h 22"/>
                  <a:gd name="T6" fmla="*/ 3 w 14"/>
                  <a:gd name="T7" fmla="*/ 22 h 22"/>
                  <a:gd name="T8" fmla="*/ 5 w 14"/>
                  <a:gd name="T9" fmla="*/ 22 h 22"/>
                  <a:gd name="T10" fmla="*/ 7 w 14"/>
                  <a:gd name="T11" fmla="*/ 17 h 22"/>
                  <a:gd name="T12" fmla="*/ 10 w 14"/>
                  <a:gd name="T13" fmla="*/ 14 h 22"/>
                  <a:gd name="T14" fmla="*/ 12 w 14"/>
                  <a:gd name="T15" fmla="*/ 12 h 22"/>
                  <a:gd name="T16" fmla="*/ 12 w 14"/>
                  <a:gd name="T17" fmla="*/ 10 h 22"/>
                  <a:gd name="T18" fmla="*/ 14 w 14"/>
                  <a:gd name="T19" fmla="*/ 10 h 22"/>
                  <a:gd name="T20" fmla="*/ 12 w 14"/>
                  <a:gd name="T21" fmla="*/ 10 h 22"/>
                  <a:gd name="T22" fmla="*/ 12 w 14"/>
                  <a:gd name="T23" fmla="*/ 7 h 22"/>
                  <a:gd name="T24" fmla="*/ 14 w 14"/>
                  <a:gd name="T25" fmla="*/ 7 h 22"/>
                  <a:gd name="T26" fmla="*/ 14 w 14"/>
                  <a:gd name="T27" fmla="*/ 5 h 22"/>
                  <a:gd name="T28" fmla="*/ 12 w 14"/>
                  <a:gd name="T29" fmla="*/ 3 h 22"/>
                  <a:gd name="T30" fmla="*/ 12 w 14"/>
                  <a:gd name="T31" fmla="*/ 3 h 22"/>
                  <a:gd name="T32" fmla="*/ 12 w 14"/>
                  <a:gd name="T33" fmla="*/ 0 h 22"/>
                  <a:gd name="T34" fmla="*/ 12 w 14"/>
                  <a:gd name="T35" fmla="*/ 0 h 22"/>
                  <a:gd name="T36" fmla="*/ 12 w 14"/>
                  <a:gd name="T37" fmla="*/ 0 h 22"/>
                  <a:gd name="T38" fmla="*/ 12 w 14"/>
                  <a:gd name="T39" fmla="*/ 0 h 22"/>
                  <a:gd name="T40" fmla="*/ 10 w 14"/>
                  <a:gd name="T41" fmla="*/ 0 h 22"/>
                  <a:gd name="T42" fmla="*/ 7 w 14"/>
                  <a:gd name="T43" fmla="*/ 3 h 22"/>
                  <a:gd name="T44" fmla="*/ 7 w 14"/>
                  <a:gd name="T45" fmla="*/ 5 h 22"/>
                  <a:gd name="T46" fmla="*/ 3 w 14"/>
                  <a:gd name="T47" fmla="*/ 10 h 22"/>
                  <a:gd name="T48" fmla="*/ 0 w 14"/>
                  <a:gd name="T49" fmla="*/ 12 h 22"/>
                  <a:gd name="T50" fmla="*/ 0 w 14"/>
                  <a:gd name="T51"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 h="22">
                    <a:moveTo>
                      <a:pt x="0" y="14"/>
                    </a:moveTo>
                    <a:lnTo>
                      <a:pt x="0" y="17"/>
                    </a:lnTo>
                    <a:lnTo>
                      <a:pt x="0" y="22"/>
                    </a:lnTo>
                    <a:lnTo>
                      <a:pt x="3" y="22"/>
                    </a:lnTo>
                    <a:lnTo>
                      <a:pt x="5" y="22"/>
                    </a:lnTo>
                    <a:lnTo>
                      <a:pt x="7" y="17"/>
                    </a:lnTo>
                    <a:lnTo>
                      <a:pt x="10" y="14"/>
                    </a:lnTo>
                    <a:lnTo>
                      <a:pt x="12" y="12"/>
                    </a:lnTo>
                    <a:lnTo>
                      <a:pt x="12" y="10"/>
                    </a:lnTo>
                    <a:lnTo>
                      <a:pt x="14" y="10"/>
                    </a:lnTo>
                    <a:lnTo>
                      <a:pt x="12" y="10"/>
                    </a:lnTo>
                    <a:lnTo>
                      <a:pt x="12" y="7"/>
                    </a:lnTo>
                    <a:lnTo>
                      <a:pt x="14" y="7"/>
                    </a:lnTo>
                    <a:lnTo>
                      <a:pt x="14" y="5"/>
                    </a:lnTo>
                    <a:lnTo>
                      <a:pt x="12" y="3"/>
                    </a:lnTo>
                    <a:lnTo>
                      <a:pt x="12" y="3"/>
                    </a:lnTo>
                    <a:lnTo>
                      <a:pt x="12" y="0"/>
                    </a:lnTo>
                    <a:lnTo>
                      <a:pt x="12" y="0"/>
                    </a:lnTo>
                    <a:lnTo>
                      <a:pt x="12" y="0"/>
                    </a:lnTo>
                    <a:lnTo>
                      <a:pt x="12" y="0"/>
                    </a:lnTo>
                    <a:lnTo>
                      <a:pt x="10" y="0"/>
                    </a:lnTo>
                    <a:lnTo>
                      <a:pt x="7" y="3"/>
                    </a:lnTo>
                    <a:lnTo>
                      <a:pt x="7" y="5"/>
                    </a:lnTo>
                    <a:lnTo>
                      <a:pt x="3" y="10"/>
                    </a:lnTo>
                    <a:lnTo>
                      <a:pt x="0" y="12"/>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71" name="Freeform 7">
                <a:extLst>
                  <a:ext uri="{FF2B5EF4-FFF2-40B4-BE49-F238E27FC236}">
                    <a16:creationId xmlns:a16="http://schemas.microsoft.com/office/drawing/2014/main" id="{9B5176EF-AB28-45CD-BB34-5CE59D1423E3}"/>
                  </a:ext>
                </a:extLst>
              </p:cNvPr>
              <p:cNvSpPr>
                <a:spLocks/>
              </p:cNvSpPr>
              <p:nvPr/>
            </p:nvSpPr>
            <p:spPr bwMode="gray">
              <a:xfrm>
                <a:off x="-2463" y="1434"/>
                <a:ext cx="28" cy="14"/>
              </a:xfrm>
              <a:custGeom>
                <a:avLst/>
                <a:gdLst>
                  <a:gd name="T0" fmla="*/ 2 w 28"/>
                  <a:gd name="T1" fmla="*/ 7 h 14"/>
                  <a:gd name="T2" fmla="*/ 5 w 28"/>
                  <a:gd name="T3" fmla="*/ 7 h 14"/>
                  <a:gd name="T4" fmla="*/ 5 w 28"/>
                  <a:gd name="T5" fmla="*/ 7 h 14"/>
                  <a:gd name="T6" fmla="*/ 7 w 28"/>
                  <a:gd name="T7" fmla="*/ 5 h 14"/>
                  <a:gd name="T8" fmla="*/ 7 w 28"/>
                  <a:gd name="T9" fmla="*/ 5 h 14"/>
                  <a:gd name="T10" fmla="*/ 9 w 28"/>
                  <a:gd name="T11" fmla="*/ 5 h 14"/>
                  <a:gd name="T12" fmla="*/ 9 w 28"/>
                  <a:gd name="T13" fmla="*/ 7 h 14"/>
                  <a:gd name="T14" fmla="*/ 9 w 28"/>
                  <a:gd name="T15" fmla="*/ 7 h 14"/>
                  <a:gd name="T16" fmla="*/ 12 w 28"/>
                  <a:gd name="T17" fmla="*/ 7 h 14"/>
                  <a:gd name="T18" fmla="*/ 14 w 28"/>
                  <a:gd name="T19" fmla="*/ 9 h 14"/>
                  <a:gd name="T20" fmla="*/ 14 w 28"/>
                  <a:gd name="T21" fmla="*/ 9 h 14"/>
                  <a:gd name="T22" fmla="*/ 14 w 28"/>
                  <a:gd name="T23" fmla="*/ 12 h 14"/>
                  <a:gd name="T24" fmla="*/ 17 w 28"/>
                  <a:gd name="T25" fmla="*/ 12 h 14"/>
                  <a:gd name="T26" fmla="*/ 19 w 28"/>
                  <a:gd name="T27" fmla="*/ 14 h 14"/>
                  <a:gd name="T28" fmla="*/ 19 w 28"/>
                  <a:gd name="T29" fmla="*/ 14 h 14"/>
                  <a:gd name="T30" fmla="*/ 26 w 28"/>
                  <a:gd name="T31" fmla="*/ 12 h 14"/>
                  <a:gd name="T32" fmla="*/ 26 w 28"/>
                  <a:gd name="T33" fmla="*/ 12 h 14"/>
                  <a:gd name="T34" fmla="*/ 28 w 28"/>
                  <a:gd name="T35" fmla="*/ 12 h 14"/>
                  <a:gd name="T36" fmla="*/ 28 w 28"/>
                  <a:gd name="T37" fmla="*/ 9 h 14"/>
                  <a:gd name="T38" fmla="*/ 28 w 28"/>
                  <a:gd name="T39" fmla="*/ 9 h 14"/>
                  <a:gd name="T40" fmla="*/ 28 w 28"/>
                  <a:gd name="T41" fmla="*/ 7 h 14"/>
                  <a:gd name="T42" fmla="*/ 24 w 28"/>
                  <a:gd name="T43" fmla="*/ 7 h 14"/>
                  <a:gd name="T44" fmla="*/ 24 w 28"/>
                  <a:gd name="T45" fmla="*/ 7 h 14"/>
                  <a:gd name="T46" fmla="*/ 24 w 28"/>
                  <a:gd name="T47" fmla="*/ 5 h 14"/>
                  <a:gd name="T48" fmla="*/ 24 w 28"/>
                  <a:gd name="T49" fmla="*/ 5 h 14"/>
                  <a:gd name="T50" fmla="*/ 19 w 28"/>
                  <a:gd name="T51" fmla="*/ 2 h 14"/>
                  <a:gd name="T52" fmla="*/ 19 w 28"/>
                  <a:gd name="T53" fmla="*/ 0 h 14"/>
                  <a:gd name="T54" fmla="*/ 17 w 28"/>
                  <a:gd name="T55" fmla="*/ 0 h 14"/>
                  <a:gd name="T56" fmla="*/ 9 w 28"/>
                  <a:gd name="T57" fmla="*/ 0 h 14"/>
                  <a:gd name="T58" fmla="*/ 9 w 28"/>
                  <a:gd name="T59" fmla="*/ 0 h 14"/>
                  <a:gd name="T60" fmla="*/ 7 w 28"/>
                  <a:gd name="T61" fmla="*/ 0 h 14"/>
                  <a:gd name="T62" fmla="*/ 7 w 28"/>
                  <a:gd name="T63" fmla="*/ 0 h 14"/>
                  <a:gd name="T64" fmla="*/ 2 w 28"/>
                  <a:gd name="T65" fmla="*/ 0 h 14"/>
                  <a:gd name="T66" fmla="*/ 0 w 28"/>
                  <a:gd name="T67" fmla="*/ 2 h 14"/>
                  <a:gd name="T68" fmla="*/ 0 w 28"/>
                  <a:gd name="T69" fmla="*/ 5 h 14"/>
                  <a:gd name="T70" fmla="*/ 0 w 28"/>
                  <a:gd name="T71" fmla="*/ 7 h 14"/>
                  <a:gd name="T72" fmla="*/ 2 w 28"/>
                  <a:gd name="T73"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 h="14">
                    <a:moveTo>
                      <a:pt x="2" y="7"/>
                    </a:moveTo>
                    <a:lnTo>
                      <a:pt x="5" y="7"/>
                    </a:lnTo>
                    <a:lnTo>
                      <a:pt x="5" y="7"/>
                    </a:lnTo>
                    <a:lnTo>
                      <a:pt x="7" y="5"/>
                    </a:lnTo>
                    <a:lnTo>
                      <a:pt x="7" y="5"/>
                    </a:lnTo>
                    <a:lnTo>
                      <a:pt x="9" y="5"/>
                    </a:lnTo>
                    <a:lnTo>
                      <a:pt x="9" y="7"/>
                    </a:lnTo>
                    <a:lnTo>
                      <a:pt x="9" y="7"/>
                    </a:lnTo>
                    <a:lnTo>
                      <a:pt x="12" y="7"/>
                    </a:lnTo>
                    <a:lnTo>
                      <a:pt x="14" y="9"/>
                    </a:lnTo>
                    <a:lnTo>
                      <a:pt x="14" y="9"/>
                    </a:lnTo>
                    <a:lnTo>
                      <a:pt x="14" y="12"/>
                    </a:lnTo>
                    <a:lnTo>
                      <a:pt x="17" y="12"/>
                    </a:lnTo>
                    <a:lnTo>
                      <a:pt x="19" y="14"/>
                    </a:lnTo>
                    <a:lnTo>
                      <a:pt x="19" y="14"/>
                    </a:lnTo>
                    <a:lnTo>
                      <a:pt x="26" y="12"/>
                    </a:lnTo>
                    <a:lnTo>
                      <a:pt x="26" y="12"/>
                    </a:lnTo>
                    <a:lnTo>
                      <a:pt x="28" y="12"/>
                    </a:lnTo>
                    <a:lnTo>
                      <a:pt x="28" y="9"/>
                    </a:lnTo>
                    <a:lnTo>
                      <a:pt x="28" y="9"/>
                    </a:lnTo>
                    <a:lnTo>
                      <a:pt x="28" y="7"/>
                    </a:lnTo>
                    <a:lnTo>
                      <a:pt x="24" y="7"/>
                    </a:lnTo>
                    <a:lnTo>
                      <a:pt x="24" y="7"/>
                    </a:lnTo>
                    <a:lnTo>
                      <a:pt x="24" y="5"/>
                    </a:lnTo>
                    <a:lnTo>
                      <a:pt x="24" y="5"/>
                    </a:lnTo>
                    <a:lnTo>
                      <a:pt x="19" y="2"/>
                    </a:lnTo>
                    <a:lnTo>
                      <a:pt x="19" y="0"/>
                    </a:lnTo>
                    <a:lnTo>
                      <a:pt x="17" y="0"/>
                    </a:lnTo>
                    <a:lnTo>
                      <a:pt x="9" y="0"/>
                    </a:lnTo>
                    <a:lnTo>
                      <a:pt x="9" y="0"/>
                    </a:lnTo>
                    <a:lnTo>
                      <a:pt x="7" y="0"/>
                    </a:lnTo>
                    <a:lnTo>
                      <a:pt x="7" y="0"/>
                    </a:lnTo>
                    <a:lnTo>
                      <a:pt x="2" y="0"/>
                    </a:lnTo>
                    <a:lnTo>
                      <a:pt x="0" y="2"/>
                    </a:lnTo>
                    <a:lnTo>
                      <a:pt x="0" y="5"/>
                    </a:lnTo>
                    <a:lnTo>
                      <a:pt x="0" y="7"/>
                    </a:ln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72" name="Freeform 8">
                <a:extLst>
                  <a:ext uri="{FF2B5EF4-FFF2-40B4-BE49-F238E27FC236}">
                    <a16:creationId xmlns:a16="http://schemas.microsoft.com/office/drawing/2014/main" id="{529C3890-A53E-4B39-9936-6077980BEB2B}"/>
                  </a:ext>
                </a:extLst>
              </p:cNvPr>
              <p:cNvSpPr>
                <a:spLocks/>
              </p:cNvSpPr>
              <p:nvPr/>
            </p:nvSpPr>
            <p:spPr bwMode="gray">
              <a:xfrm>
                <a:off x="-2267" y="1229"/>
                <a:ext cx="5" cy="2"/>
              </a:xfrm>
              <a:custGeom>
                <a:avLst/>
                <a:gdLst>
                  <a:gd name="T0" fmla="*/ 0 w 5"/>
                  <a:gd name="T1" fmla="*/ 0 h 2"/>
                  <a:gd name="T2" fmla="*/ 0 w 5"/>
                  <a:gd name="T3" fmla="*/ 0 h 2"/>
                  <a:gd name="T4" fmla="*/ 2 w 5"/>
                  <a:gd name="T5" fmla="*/ 0 h 2"/>
                  <a:gd name="T6" fmla="*/ 5 w 5"/>
                  <a:gd name="T7" fmla="*/ 2 h 2"/>
                  <a:gd name="T8" fmla="*/ 5 w 5"/>
                  <a:gd name="T9" fmla="*/ 0 h 2"/>
                  <a:gd name="T10" fmla="*/ 5 w 5"/>
                  <a:gd name="T11" fmla="*/ 0 h 2"/>
                  <a:gd name="T12" fmla="*/ 5 w 5"/>
                  <a:gd name="T13" fmla="*/ 0 h 2"/>
                  <a:gd name="T14" fmla="*/ 5 w 5"/>
                  <a:gd name="T15" fmla="*/ 0 h 2"/>
                  <a:gd name="T16" fmla="*/ 0 w 5"/>
                  <a:gd name="T17" fmla="*/ 0 h 2"/>
                  <a:gd name="T18" fmla="*/ 0 w 5"/>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2">
                    <a:moveTo>
                      <a:pt x="0" y="0"/>
                    </a:moveTo>
                    <a:lnTo>
                      <a:pt x="0" y="0"/>
                    </a:lnTo>
                    <a:lnTo>
                      <a:pt x="2" y="0"/>
                    </a:lnTo>
                    <a:lnTo>
                      <a:pt x="5" y="2"/>
                    </a:lnTo>
                    <a:lnTo>
                      <a:pt x="5" y="0"/>
                    </a:lnTo>
                    <a:lnTo>
                      <a:pt x="5" y="0"/>
                    </a:lnTo>
                    <a:lnTo>
                      <a:pt x="5" y="0"/>
                    </a:lnTo>
                    <a:lnTo>
                      <a:pt x="5"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73" name="Freeform 9">
                <a:extLst>
                  <a:ext uri="{FF2B5EF4-FFF2-40B4-BE49-F238E27FC236}">
                    <a16:creationId xmlns:a16="http://schemas.microsoft.com/office/drawing/2014/main" id="{1BC23663-7842-4783-AD8B-C54EBDBC4DB4}"/>
                  </a:ext>
                </a:extLst>
              </p:cNvPr>
              <p:cNvSpPr>
                <a:spLocks/>
              </p:cNvSpPr>
              <p:nvPr/>
            </p:nvSpPr>
            <p:spPr bwMode="gray">
              <a:xfrm>
                <a:off x="-2357" y="1241"/>
                <a:ext cx="29" cy="11"/>
              </a:xfrm>
              <a:custGeom>
                <a:avLst/>
                <a:gdLst>
                  <a:gd name="T0" fmla="*/ 26 w 29"/>
                  <a:gd name="T1" fmla="*/ 2 h 11"/>
                  <a:gd name="T2" fmla="*/ 29 w 29"/>
                  <a:gd name="T3" fmla="*/ 0 h 11"/>
                  <a:gd name="T4" fmla="*/ 19 w 29"/>
                  <a:gd name="T5" fmla="*/ 0 h 11"/>
                  <a:gd name="T6" fmla="*/ 17 w 29"/>
                  <a:gd name="T7" fmla="*/ 2 h 11"/>
                  <a:gd name="T8" fmla="*/ 17 w 29"/>
                  <a:gd name="T9" fmla="*/ 2 h 11"/>
                  <a:gd name="T10" fmla="*/ 7 w 29"/>
                  <a:gd name="T11" fmla="*/ 4 h 11"/>
                  <a:gd name="T12" fmla="*/ 5 w 29"/>
                  <a:gd name="T13" fmla="*/ 4 h 11"/>
                  <a:gd name="T14" fmla="*/ 3 w 29"/>
                  <a:gd name="T15" fmla="*/ 7 h 11"/>
                  <a:gd name="T16" fmla="*/ 0 w 29"/>
                  <a:gd name="T17" fmla="*/ 7 h 11"/>
                  <a:gd name="T18" fmla="*/ 0 w 29"/>
                  <a:gd name="T19" fmla="*/ 9 h 11"/>
                  <a:gd name="T20" fmla="*/ 0 w 29"/>
                  <a:gd name="T21" fmla="*/ 11 h 11"/>
                  <a:gd name="T22" fmla="*/ 3 w 29"/>
                  <a:gd name="T23" fmla="*/ 11 h 11"/>
                  <a:gd name="T24" fmla="*/ 12 w 29"/>
                  <a:gd name="T25" fmla="*/ 7 h 11"/>
                  <a:gd name="T26" fmla="*/ 14 w 29"/>
                  <a:gd name="T27" fmla="*/ 7 h 11"/>
                  <a:gd name="T28" fmla="*/ 17 w 29"/>
                  <a:gd name="T29" fmla="*/ 4 h 11"/>
                  <a:gd name="T30" fmla="*/ 21 w 29"/>
                  <a:gd name="T31" fmla="*/ 4 h 11"/>
                  <a:gd name="T32" fmla="*/ 21 w 29"/>
                  <a:gd name="T33" fmla="*/ 4 h 11"/>
                  <a:gd name="T34" fmla="*/ 21 w 29"/>
                  <a:gd name="T35" fmla="*/ 2 h 11"/>
                  <a:gd name="T36" fmla="*/ 21 w 29"/>
                  <a:gd name="T37" fmla="*/ 2 h 11"/>
                  <a:gd name="T38" fmla="*/ 26 w 29"/>
                  <a:gd name="T39" fmla="*/ 2 h 11"/>
                  <a:gd name="T40" fmla="*/ 26 w 29"/>
                  <a:gd name="T41"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11">
                    <a:moveTo>
                      <a:pt x="26" y="2"/>
                    </a:moveTo>
                    <a:lnTo>
                      <a:pt x="29" y="0"/>
                    </a:lnTo>
                    <a:lnTo>
                      <a:pt x="19" y="0"/>
                    </a:lnTo>
                    <a:lnTo>
                      <a:pt x="17" y="2"/>
                    </a:lnTo>
                    <a:lnTo>
                      <a:pt x="17" y="2"/>
                    </a:lnTo>
                    <a:lnTo>
                      <a:pt x="7" y="4"/>
                    </a:lnTo>
                    <a:lnTo>
                      <a:pt x="5" y="4"/>
                    </a:lnTo>
                    <a:lnTo>
                      <a:pt x="3" y="7"/>
                    </a:lnTo>
                    <a:lnTo>
                      <a:pt x="0" y="7"/>
                    </a:lnTo>
                    <a:lnTo>
                      <a:pt x="0" y="9"/>
                    </a:lnTo>
                    <a:lnTo>
                      <a:pt x="0" y="11"/>
                    </a:lnTo>
                    <a:lnTo>
                      <a:pt x="3" y="11"/>
                    </a:lnTo>
                    <a:lnTo>
                      <a:pt x="12" y="7"/>
                    </a:lnTo>
                    <a:lnTo>
                      <a:pt x="14" y="7"/>
                    </a:lnTo>
                    <a:lnTo>
                      <a:pt x="17" y="4"/>
                    </a:lnTo>
                    <a:lnTo>
                      <a:pt x="21" y="4"/>
                    </a:lnTo>
                    <a:lnTo>
                      <a:pt x="21" y="4"/>
                    </a:lnTo>
                    <a:lnTo>
                      <a:pt x="21" y="2"/>
                    </a:lnTo>
                    <a:lnTo>
                      <a:pt x="21" y="2"/>
                    </a:lnTo>
                    <a:lnTo>
                      <a:pt x="26" y="2"/>
                    </a:lnTo>
                    <a:lnTo>
                      <a:pt x="2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74" name="Freeform 10">
                <a:extLst>
                  <a:ext uri="{FF2B5EF4-FFF2-40B4-BE49-F238E27FC236}">
                    <a16:creationId xmlns:a16="http://schemas.microsoft.com/office/drawing/2014/main" id="{70ED01D1-0D17-4A7A-8EFA-F940FB7BD0EE}"/>
                  </a:ext>
                </a:extLst>
              </p:cNvPr>
              <p:cNvSpPr>
                <a:spLocks/>
              </p:cNvSpPr>
              <p:nvPr/>
            </p:nvSpPr>
            <p:spPr bwMode="gray">
              <a:xfrm>
                <a:off x="-2291" y="1234"/>
                <a:ext cx="17" cy="7"/>
              </a:xfrm>
              <a:custGeom>
                <a:avLst/>
                <a:gdLst>
                  <a:gd name="T0" fmla="*/ 0 w 17"/>
                  <a:gd name="T1" fmla="*/ 4 h 7"/>
                  <a:gd name="T2" fmla="*/ 3 w 17"/>
                  <a:gd name="T3" fmla="*/ 7 h 7"/>
                  <a:gd name="T4" fmla="*/ 3 w 17"/>
                  <a:gd name="T5" fmla="*/ 4 h 7"/>
                  <a:gd name="T6" fmla="*/ 17 w 17"/>
                  <a:gd name="T7" fmla="*/ 0 h 7"/>
                  <a:gd name="T8" fmla="*/ 17 w 17"/>
                  <a:gd name="T9" fmla="*/ 0 h 7"/>
                  <a:gd name="T10" fmla="*/ 17 w 17"/>
                  <a:gd name="T11" fmla="*/ 0 h 7"/>
                  <a:gd name="T12" fmla="*/ 14 w 17"/>
                  <a:gd name="T13" fmla="*/ 0 h 7"/>
                  <a:gd name="T14" fmla="*/ 7 w 17"/>
                  <a:gd name="T15" fmla="*/ 0 h 7"/>
                  <a:gd name="T16" fmla="*/ 5 w 17"/>
                  <a:gd name="T17" fmla="*/ 0 h 7"/>
                  <a:gd name="T18" fmla="*/ 3 w 17"/>
                  <a:gd name="T19" fmla="*/ 2 h 7"/>
                  <a:gd name="T20" fmla="*/ 0 w 17"/>
                  <a:gd name="T21" fmla="*/ 2 h 7"/>
                  <a:gd name="T22" fmla="*/ 3 w 17"/>
                  <a:gd name="T23" fmla="*/ 4 h 7"/>
                  <a:gd name="T24" fmla="*/ 0 w 17"/>
                  <a:gd name="T25" fmla="*/ 4 h 7"/>
                  <a:gd name="T26" fmla="*/ 0 w 17"/>
                  <a:gd name="T2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7">
                    <a:moveTo>
                      <a:pt x="0" y="4"/>
                    </a:moveTo>
                    <a:lnTo>
                      <a:pt x="3" y="7"/>
                    </a:lnTo>
                    <a:lnTo>
                      <a:pt x="3" y="4"/>
                    </a:lnTo>
                    <a:lnTo>
                      <a:pt x="17" y="0"/>
                    </a:lnTo>
                    <a:lnTo>
                      <a:pt x="17" y="0"/>
                    </a:lnTo>
                    <a:lnTo>
                      <a:pt x="17" y="0"/>
                    </a:lnTo>
                    <a:lnTo>
                      <a:pt x="14" y="0"/>
                    </a:lnTo>
                    <a:lnTo>
                      <a:pt x="7" y="0"/>
                    </a:lnTo>
                    <a:lnTo>
                      <a:pt x="5" y="0"/>
                    </a:lnTo>
                    <a:lnTo>
                      <a:pt x="3" y="2"/>
                    </a:lnTo>
                    <a:lnTo>
                      <a:pt x="0" y="2"/>
                    </a:lnTo>
                    <a:lnTo>
                      <a:pt x="3" y="4"/>
                    </a:lnTo>
                    <a:lnTo>
                      <a:pt x="0"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75" name="Freeform 11">
                <a:extLst>
                  <a:ext uri="{FF2B5EF4-FFF2-40B4-BE49-F238E27FC236}">
                    <a16:creationId xmlns:a16="http://schemas.microsoft.com/office/drawing/2014/main" id="{70983CE5-F2C1-4977-9143-1AF342A77F18}"/>
                  </a:ext>
                </a:extLst>
              </p:cNvPr>
              <p:cNvSpPr>
                <a:spLocks/>
              </p:cNvSpPr>
              <p:nvPr/>
            </p:nvSpPr>
            <p:spPr bwMode="gray">
              <a:xfrm>
                <a:off x="-2324" y="1238"/>
                <a:ext cx="21" cy="5"/>
              </a:xfrm>
              <a:custGeom>
                <a:avLst/>
                <a:gdLst>
                  <a:gd name="T0" fmla="*/ 3 w 21"/>
                  <a:gd name="T1" fmla="*/ 0 h 5"/>
                  <a:gd name="T2" fmla="*/ 0 w 21"/>
                  <a:gd name="T3" fmla="*/ 0 h 5"/>
                  <a:gd name="T4" fmla="*/ 0 w 21"/>
                  <a:gd name="T5" fmla="*/ 0 h 5"/>
                  <a:gd name="T6" fmla="*/ 0 w 21"/>
                  <a:gd name="T7" fmla="*/ 3 h 5"/>
                  <a:gd name="T8" fmla="*/ 0 w 21"/>
                  <a:gd name="T9" fmla="*/ 5 h 5"/>
                  <a:gd name="T10" fmla="*/ 3 w 21"/>
                  <a:gd name="T11" fmla="*/ 5 h 5"/>
                  <a:gd name="T12" fmla="*/ 5 w 21"/>
                  <a:gd name="T13" fmla="*/ 3 h 5"/>
                  <a:gd name="T14" fmla="*/ 7 w 21"/>
                  <a:gd name="T15" fmla="*/ 3 h 5"/>
                  <a:gd name="T16" fmla="*/ 14 w 21"/>
                  <a:gd name="T17" fmla="*/ 3 h 5"/>
                  <a:gd name="T18" fmla="*/ 21 w 21"/>
                  <a:gd name="T19" fmla="*/ 0 h 5"/>
                  <a:gd name="T20" fmla="*/ 19 w 21"/>
                  <a:gd name="T21" fmla="*/ 0 h 5"/>
                  <a:gd name="T22" fmla="*/ 3 w 21"/>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
                    <a:moveTo>
                      <a:pt x="3" y="0"/>
                    </a:moveTo>
                    <a:lnTo>
                      <a:pt x="0" y="0"/>
                    </a:lnTo>
                    <a:lnTo>
                      <a:pt x="0" y="0"/>
                    </a:lnTo>
                    <a:lnTo>
                      <a:pt x="0" y="3"/>
                    </a:lnTo>
                    <a:lnTo>
                      <a:pt x="0" y="5"/>
                    </a:lnTo>
                    <a:lnTo>
                      <a:pt x="3" y="5"/>
                    </a:lnTo>
                    <a:lnTo>
                      <a:pt x="5" y="3"/>
                    </a:lnTo>
                    <a:lnTo>
                      <a:pt x="7" y="3"/>
                    </a:lnTo>
                    <a:lnTo>
                      <a:pt x="14" y="3"/>
                    </a:lnTo>
                    <a:lnTo>
                      <a:pt x="21" y="0"/>
                    </a:lnTo>
                    <a:lnTo>
                      <a:pt x="19"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76" name="Freeform 12">
                <a:extLst>
                  <a:ext uri="{FF2B5EF4-FFF2-40B4-BE49-F238E27FC236}">
                    <a16:creationId xmlns:a16="http://schemas.microsoft.com/office/drawing/2014/main" id="{7BB09996-2E5E-41EC-A234-EE6413C34D43}"/>
                  </a:ext>
                </a:extLst>
              </p:cNvPr>
              <p:cNvSpPr>
                <a:spLocks/>
              </p:cNvSpPr>
              <p:nvPr/>
            </p:nvSpPr>
            <p:spPr bwMode="gray">
              <a:xfrm>
                <a:off x="-1722" y="2973"/>
                <a:ext cx="9" cy="7"/>
              </a:xfrm>
              <a:custGeom>
                <a:avLst/>
                <a:gdLst>
                  <a:gd name="T0" fmla="*/ 9 w 9"/>
                  <a:gd name="T1" fmla="*/ 4 h 7"/>
                  <a:gd name="T2" fmla="*/ 9 w 9"/>
                  <a:gd name="T3" fmla="*/ 2 h 7"/>
                  <a:gd name="T4" fmla="*/ 7 w 9"/>
                  <a:gd name="T5" fmla="*/ 2 h 7"/>
                  <a:gd name="T6" fmla="*/ 5 w 9"/>
                  <a:gd name="T7" fmla="*/ 0 h 7"/>
                  <a:gd name="T8" fmla="*/ 2 w 9"/>
                  <a:gd name="T9" fmla="*/ 2 h 7"/>
                  <a:gd name="T10" fmla="*/ 0 w 9"/>
                  <a:gd name="T11" fmla="*/ 2 h 7"/>
                  <a:gd name="T12" fmla="*/ 0 w 9"/>
                  <a:gd name="T13" fmla="*/ 2 h 7"/>
                  <a:gd name="T14" fmla="*/ 0 w 9"/>
                  <a:gd name="T15" fmla="*/ 4 h 7"/>
                  <a:gd name="T16" fmla="*/ 0 w 9"/>
                  <a:gd name="T17" fmla="*/ 4 h 7"/>
                  <a:gd name="T18" fmla="*/ 2 w 9"/>
                  <a:gd name="T19" fmla="*/ 4 h 7"/>
                  <a:gd name="T20" fmla="*/ 2 w 9"/>
                  <a:gd name="T21" fmla="*/ 7 h 7"/>
                  <a:gd name="T22" fmla="*/ 5 w 9"/>
                  <a:gd name="T23" fmla="*/ 7 h 7"/>
                  <a:gd name="T24" fmla="*/ 5 w 9"/>
                  <a:gd name="T25" fmla="*/ 7 h 7"/>
                  <a:gd name="T26" fmla="*/ 7 w 9"/>
                  <a:gd name="T27" fmla="*/ 7 h 7"/>
                  <a:gd name="T28" fmla="*/ 9 w 9"/>
                  <a:gd name="T29" fmla="*/ 4 h 7"/>
                  <a:gd name="T30" fmla="*/ 9 w 9"/>
                  <a:gd name="T31" fmla="*/ 4 h 7"/>
                  <a:gd name="T32" fmla="*/ 9 w 9"/>
                  <a:gd name="T3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7">
                    <a:moveTo>
                      <a:pt x="9" y="4"/>
                    </a:moveTo>
                    <a:lnTo>
                      <a:pt x="9" y="2"/>
                    </a:lnTo>
                    <a:lnTo>
                      <a:pt x="7" y="2"/>
                    </a:lnTo>
                    <a:lnTo>
                      <a:pt x="5" y="0"/>
                    </a:lnTo>
                    <a:lnTo>
                      <a:pt x="2" y="2"/>
                    </a:lnTo>
                    <a:lnTo>
                      <a:pt x="0" y="2"/>
                    </a:lnTo>
                    <a:lnTo>
                      <a:pt x="0" y="2"/>
                    </a:lnTo>
                    <a:lnTo>
                      <a:pt x="0" y="4"/>
                    </a:lnTo>
                    <a:lnTo>
                      <a:pt x="0" y="4"/>
                    </a:lnTo>
                    <a:lnTo>
                      <a:pt x="2" y="4"/>
                    </a:lnTo>
                    <a:lnTo>
                      <a:pt x="2" y="7"/>
                    </a:lnTo>
                    <a:lnTo>
                      <a:pt x="5" y="7"/>
                    </a:lnTo>
                    <a:lnTo>
                      <a:pt x="5" y="7"/>
                    </a:lnTo>
                    <a:lnTo>
                      <a:pt x="7" y="7"/>
                    </a:lnTo>
                    <a:lnTo>
                      <a:pt x="9" y="4"/>
                    </a:lnTo>
                    <a:lnTo>
                      <a:pt x="9" y="4"/>
                    </a:lnTo>
                    <a:lnTo>
                      <a:pt x="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77" name="Freeform 13">
                <a:extLst>
                  <a:ext uri="{FF2B5EF4-FFF2-40B4-BE49-F238E27FC236}">
                    <a16:creationId xmlns:a16="http://schemas.microsoft.com/office/drawing/2014/main" id="{D7911DC8-BDE4-4455-B058-E4421774FCCE}"/>
                  </a:ext>
                </a:extLst>
              </p:cNvPr>
              <p:cNvSpPr>
                <a:spLocks/>
              </p:cNvSpPr>
              <p:nvPr/>
            </p:nvSpPr>
            <p:spPr bwMode="gray">
              <a:xfrm>
                <a:off x="-1713" y="2982"/>
                <a:ext cx="17" cy="16"/>
              </a:xfrm>
              <a:custGeom>
                <a:avLst/>
                <a:gdLst>
                  <a:gd name="T0" fmla="*/ 15 w 17"/>
                  <a:gd name="T1" fmla="*/ 9 h 16"/>
                  <a:gd name="T2" fmla="*/ 12 w 17"/>
                  <a:gd name="T3" fmla="*/ 7 h 16"/>
                  <a:gd name="T4" fmla="*/ 12 w 17"/>
                  <a:gd name="T5" fmla="*/ 7 h 16"/>
                  <a:gd name="T6" fmla="*/ 12 w 17"/>
                  <a:gd name="T7" fmla="*/ 7 h 16"/>
                  <a:gd name="T8" fmla="*/ 12 w 17"/>
                  <a:gd name="T9" fmla="*/ 5 h 16"/>
                  <a:gd name="T10" fmla="*/ 12 w 17"/>
                  <a:gd name="T11" fmla="*/ 5 h 16"/>
                  <a:gd name="T12" fmla="*/ 10 w 17"/>
                  <a:gd name="T13" fmla="*/ 5 h 16"/>
                  <a:gd name="T14" fmla="*/ 10 w 17"/>
                  <a:gd name="T15" fmla="*/ 2 h 16"/>
                  <a:gd name="T16" fmla="*/ 7 w 17"/>
                  <a:gd name="T17" fmla="*/ 2 h 16"/>
                  <a:gd name="T18" fmla="*/ 3 w 17"/>
                  <a:gd name="T19" fmla="*/ 0 h 16"/>
                  <a:gd name="T20" fmla="*/ 3 w 17"/>
                  <a:gd name="T21" fmla="*/ 0 h 16"/>
                  <a:gd name="T22" fmla="*/ 3 w 17"/>
                  <a:gd name="T23" fmla="*/ 0 h 16"/>
                  <a:gd name="T24" fmla="*/ 5 w 17"/>
                  <a:gd name="T25" fmla="*/ 0 h 16"/>
                  <a:gd name="T26" fmla="*/ 5 w 17"/>
                  <a:gd name="T27" fmla="*/ 0 h 16"/>
                  <a:gd name="T28" fmla="*/ 3 w 17"/>
                  <a:gd name="T29" fmla="*/ 0 h 16"/>
                  <a:gd name="T30" fmla="*/ 3 w 17"/>
                  <a:gd name="T31" fmla="*/ 0 h 16"/>
                  <a:gd name="T32" fmla="*/ 0 w 17"/>
                  <a:gd name="T33" fmla="*/ 0 h 16"/>
                  <a:gd name="T34" fmla="*/ 0 w 17"/>
                  <a:gd name="T35" fmla="*/ 0 h 16"/>
                  <a:gd name="T36" fmla="*/ 0 w 17"/>
                  <a:gd name="T37" fmla="*/ 2 h 16"/>
                  <a:gd name="T38" fmla="*/ 3 w 17"/>
                  <a:gd name="T39" fmla="*/ 2 h 16"/>
                  <a:gd name="T40" fmla="*/ 3 w 17"/>
                  <a:gd name="T41" fmla="*/ 7 h 16"/>
                  <a:gd name="T42" fmla="*/ 3 w 17"/>
                  <a:gd name="T43" fmla="*/ 9 h 16"/>
                  <a:gd name="T44" fmla="*/ 3 w 17"/>
                  <a:gd name="T45" fmla="*/ 9 h 16"/>
                  <a:gd name="T46" fmla="*/ 3 w 17"/>
                  <a:gd name="T47" fmla="*/ 9 h 16"/>
                  <a:gd name="T48" fmla="*/ 5 w 17"/>
                  <a:gd name="T49" fmla="*/ 12 h 16"/>
                  <a:gd name="T50" fmla="*/ 7 w 17"/>
                  <a:gd name="T51" fmla="*/ 14 h 16"/>
                  <a:gd name="T52" fmla="*/ 10 w 17"/>
                  <a:gd name="T53" fmla="*/ 16 h 16"/>
                  <a:gd name="T54" fmla="*/ 12 w 17"/>
                  <a:gd name="T55" fmla="*/ 16 h 16"/>
                  <a:gd name="T56" fmla="*/ 15 w 17"/>
                  <a:gd name="T57" fmla="*/ 16 h 16"/>
                  <a:gd name="T58" fmla="*/ 15 w 17"/>
                  <a:gd name="T59" fmla="*/ 16 h 16"/>
                  <a:gd name="T60" fmla="*/ 15 w 17"/>
                  <a:gd name="T61" fmla="*/ 14 h 16"/>
                  <a:gd name="T62" fmla="*/ 15 w 17"/>
                  <a:gd name="T63" fmla="*/ 14 h 16"/>
                  <a:gd name="T64" fmla="*/ 17 w 17"/>
                  <a:gd name="T65" fmla="*/ 14 h 16"/>
                  <a:gd name="T66" fmla="*/ 17 w 17"/>
                  <a:gd name="T67" fmla="*/ 12 h 16"/>
                  <a:gd name="T68" fmla="*/ 17 w 17"/>
                  <a:gd name="T69" fmla="*/ 9 h 16"/>
                  <a:gd name="T70" fmla="*/ 15 w 17"/>
                  <a:gd name="T7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 h="16">
                    <a:moveTo>
                      <a:pt x="15" y="9"/>
                    </a:moveTo>
                    <a:lnTo>
                      <a:pt x="12" y="7"/>
                    </a:lnTo>
                    <a:lnTo>
                      <a:pt x="12" y="7"/>
                    </a:lnTo>
                    <a:lnTo>
                      <a:pt x="12" y="7"/>
                    </a:lnTo>
                    <a:lnTo>
                      <a:pt x="12" y="5"/>
                    </a:lnTo>
                    <a:lnTo>
                      <a:pt x="12" y="5"/>
                    </a:lnTo>
                    <a:lnTo>
                      <a:pt x="10" y="5"/>
                    </a:lnTo>
                    <a:lnTo>
                      <a:pt x="10" y="2"/>
                    </a:lnTo>
                    <a:lnTo>
                      <a:pt x="7" y="2"/>
                    </a:lnTo>
                    <a:lnTo>
                      <a:pt x="3" y="0"/>
                    </a:lnTo>
                    <a:lnTo>
                      <a:pt x="3" y="0"/>
                    </a:lnTo>
                    <a:lnTo>
                      <a:pt x="3" y="0"/>
                    </a:lnTo>
                    <a:lnTo>
                      <a:pt x="5" y="0"/>
                    </a:lnTo>
                    <a:lnTo>
                      <a:pt x="5" y="0"/>
                    </a:lnTo>
                    <a:lnTo>
                      <a:pt x="3" y="0"/>
                    </a:lnTo>
                    <a:lnTo>
                      <a:pt x="3" y="0"/>
                    </a:lnTo>
                    <a:lnTo>
                      <a:pt x="0" y="0"/>
                    </a:lnTo>
                    <a:lnTo>
                      <a:pt x="0" y="0"/>
                    </a:lnTo>
                    <a:lnTo>
                      <a:pt x="0" y="2"/>
                    </a:lnTo>
                    <a:lnTo>
                      <a:pt x="3" y="2"/>
                    </a:lnTo>
                    <a:lnTo>
                      <a:pt x="3" y="7"/>
                    </a:lnTo>
                    <a:lnTo>
                      <a:pt x="3" y="9"/>
                    </a:lnTo>
                    <a:lnTo>
                      <a:pt x="3" y="9"/>
                    </a:lnTo>
                    <a:lnTo>
                      <a:pt x="3" y="9"/>
                    </a:lnTo>
                    <a:lnTo>
                      <a:pt x="5" y="12"/>
                    </a:lnTo>
                    <a:lnTo>
                      <a:pt x="7" y="14"/>
                    </a:lnTo>
                    <a:lnTo>
                      <a:pt x="10" y="16"/>
                    </a:lnTo>
                    <a:lnTo>
                      <a:pt x="12" y="16"/>
                    </a:lnTo>
                    <a:lnTo>
                      <a:pt x="15" y="16"/>
                    </a:lnTo>
                    <a:lnTo>
                      <a:pt x="15" y="16"/>
                    </a:lnTo>
                    <a:lnTo>
                      <a:pt x="15" y="14"/>
                    </a:lnTo>
                    <a:lnTo>
                      <a:pt x="15" y="14"/>
                    </a:lnTo>
                    <a:lnTo>
                      <a:pt x="17" y="14"/>
                    </a:lnTo>
                    <a:lnTo>
                      <a:pt x="17" y="12"/>
                    </a:lnTo>
                    <a:lnTo>
                      <a:pt x="17" y="9"/>
                    </a:lnTo>
                    <a:lnTo>
                      <a:pt x="15"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78" name="Freeform 14">
                <a:extLst>
                  <a:ext uri="{FF2B5EF4-FFF2-40B4-BE49-F238E27FC236}">
                    <a16:creationId xmlns:a16="http://schemas.microsoft.com/office/drawing/2014/main" id="{AF633502-FEEA-47A4-8D4D-0449DF910006}"/>
                  </a:ext>
                </a:extLst>
              </p:cNvPr>
              <p:cNvSpPr>
                <a:spLocks/>
              </p:cNvSpPr>
              <p:nvPr/>
            </p:nvSpPr>
            <p:spPr bwMode="gray">
              <a:xfrm>
                <a:off x="-1245" y="960"/>
                <a:ext cx="14" cy="57"/>
              </a:xfrm>
              <a:custGeom>
                <a:avLst/>
                <a:gdLst>
                  <a:gd name="T0" fmla="*/ 9 w 14"/>
                  <a:gd name="T1" fmla="*/ 29 h 57"/>
                  <a:gd name="T2" fmla="*/ 7 w 14"/>
                  <a:gd name="T3" fmla="*/ 40 h 57"/>
                  <a:gd name="T4" fmla="*/ 4 w 14"/>
                  <a:gd name="T5" fmla="*/ 47 h 57"/>
                  <a:gd name="T6" fmla="*/ 0 w 14"/>
                  <a:gd name="T7" fmla="*/ 57 h 57"/>
                  <a:gd name="T8" fmla="*/ 2 w 14"/>
                  <a:gd name="T9" fmla="*/ 57 h 57"/>
                  <a:gd name="T10" fmla="*/ 2 w 14"/>
                  <a:gd name="T11" fmla="*/ 55 h 57"/>
                  <a:gd name="T12" fmla="*/ 7 w 14"/>
                  <a:gd name="T13" fmla="*/ 50 h 57"/>
                  <a:gd name="T14" fmla="*/ 7 w 14"/>
                  <a:gd name="T15" fmla="*/ 47 h 57"/>
                  <a:gd name="T16" fmla="*/ 7 w 14"/>
                  <a:gd name="T17" fmla="*/ 45 h 57"/>
                  <a:gd name="T18" fmla="*/ 9 w 14"/>
                  <a:gd name="T19" fmla="*/ 43 h 57"/>
                  <a:gd name="T20" fmla="*/ 11 w 14"/>
                  <a:gd name="T21" fmla="*/ 40 h 57"/>
                  <a:gd name="T22" fmla="*/ 11 w 14"/>
                  <a:gd name="T23" fmla="*/ 40 h 57"/>
                  <a:gd name="T24" fmla="*/ 11 w 14"/>
                  <a:gd name="T25" fmla="*/ 38 h 57"/>
                  <a:gd name="T26" fmla="*/ 9 w 14"/>
                  <a:gd name="T27" fmla="*/ 36 h 57"/>
                  <a:gd name="T28" fmla="*/ 11 w 14"/>
                  <a:gd name="T29" fmla="*/ 36 h 57"/>
                  <a:gd name="T30" fmla="*/ 11 w 14"/>
                  <a:gd name="T31" fmla="*/ 33 h 57"/>
                  <a:gd name="T32" fmla="*/ 11 w 14"/>
                  <a:gd name="T33" fmla="*/ 31 h 57"/>
                  <a:gd name="T34" fmla="*/ 11 w 14"/>
                  <a:gd name="T35" fmla="*/ 26 h 57"/>
                  <a:gd name="T36" fmla="*/ 14 w 14"/>
                  <a:gd name="T37" fmla="*/ 24 h 57"/>
                  <a:gd name="T38" fmla="*/ 14 w 14"/>
                  <a:gd name="T39" fmla="*/ 22 h 57"/>
                  <a:gd name="T40" fmla="*/ 14 w 14"/>
                  <a:gd name="T41" fmla="*/ 22 h 57"/>
                  <a:gd name="T42" fmla="*/ 14 w 14"/>
                  <a:gd name="T43" fmla="*/ 10 h 57"/>
                  <a:gd name="T44" fmla="*/ 11 w 14"/>
                  <a:gd name="T45" fmla="*/ 5 h 57"/>
                  <a:gd name="T46" fmla="*/ 9 w 14"/>
                  <a:gd name="T47" fmla="*/ 0 h 57"/>
                  <a:gd name="T48" fmla="*/ 11 w 14"/>
                  <a:gd name="T49" fmla="*/ 5 h 57"/>
                  <a:gd name="T50" fmla="*/ 11 w 14"/>
                  <a:gd name="T51" fmla="*/ 12 h 57"/>
                  <a:gd name="T52" fmla="*/ 11 w 14"/>
                  <a:gd name="T53" fmla="*/ 14 h 57"/>
                  <a:gd name="T54" fmla="*/ 11 w 14"/>
                  <a:gd name="T55" fmla="*/ 17 h 57"/>
                  <a:gd name="T56" fmla="*/ 11 w 14"/>
                  <a:gd name="T57" fmla="*/ 17 h 57"/>
                  <a:gd name="T58" fmla="*/ 11 w 14"/>
                  <a:gd name="T59" fmla="*/ 19 h 57"/>
                  <a:gd name="T60" fmla="*/ 9 w 14"/>
                  <a:gd name="T61"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57">
                    <a:moveTo>
                      <a:pt x="9" y="29"/>
                    </a:moveTo>
                    <a:lnTo>
                      <a:pt x="7" y="40"/>
                    </a:lnTo>
                    <a:lnTo>
                      <a:pt x="4" y="47"/>
                    </a:lnTo>
                    <a:lnTo>
                      <a:pt x="0" y="57"/>
                    </a:lnTo>
                    <a:lnTo>
                      <a:pt x="2" y="57"/>
                    </a:lnTo>
                    <a:lnTo>
                      <a:pt x="2" y="55"/>
                    </a:lnTo>
                    <a:lnTo>
                      <a:pt x="7" y="50"/>
                    </a:lnTo>
                    <a:lnTo>
                      <a:pt x="7" y="47"/>
                    </a:lnTo>
                    <a:lnTo>
                      <a:pt x="7" y="45"/>
                    </a:lnTo>
                    <a:lnTo>
                      <a:pt x="9" y="43"/>
                    </a:lnTo>
                    <a:lnTo>
                      <a:pt x="11" y="40"/>
                    </a:lnTo>
                    <a:lnTo>
                      <a:pt x="11" y="40"/>
                    </a:lnTo>
                    <a:lnTo>
                      <a:pt x="11" y="38"/>
                    </a:lnTo>
                    <a:lnTo>
                      <a:pt x="9" y="36"/>
                    </a:lnTo>
                    <a:lnTo>
                      <a:pt x="11" y="36"/>
                    </a:lnTo>
                    <a:lnTo>
                      <a:pt x="11" y="33"/>
                    </a:lnTo>
                    <a:lnTo>
                      <a:pt x="11" y="31"/>
                    </a:lnTo>
                    <a:lnTo>
                      <a:pt x="11" y="26"/>
                    </a:lnTo>
                    <a:lnTo>
                      <a:pt x="14" y="24"/>
                    </a:lnTo>
                    <a:lnTo>
                      <a:pt x="14" y="22"/>
                    </a:lnTo>
                    <a:lnTo>
                      <a:pt x="14" y="22"/>
                    </a:lnTo>
                    <a:lnTo>
                      <a:pt x="14" y="10"/>
                    </a:lnTo>
                    <a:lnTo>
                      <a:pt x="11" y="5"/>
                    </a:lnTo>
                    <a:lnTo>
                      <a:pt x="9" y="0"/>
                    </a:lnTo>
                    <a:lnTo>
                      <a:pt x="11" y="5"/>
                    </a:lnTo>
                    <a:lnTo>
                      <a:pt x="11" y="12"/>
                    </a:lnTo>
                    <a:lnTo>
                      <a:pt x="11" y="14"/>
                    </a:lnTo>
                    <a:lnTo>
                      <a:pt x="11" y="17"/>
                    </a:lnTo>
                    <a:lnTo>
                      <a:pt x="11" y="17"/>
                    </a:lnTo>
                    <a:lnTo>
                      <a:pt x="11" y="19"/>
                    </a:lnTo>
                    <a:lnTo>
                      <a:pt x="9"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79" name="Freeform 15">
                <a:extLst>
                  <a:ext uri="{FF2B5EF4-FFF2-40B4-BE49-F238E27FC236}">
                    <a16:creationId xmlns:a16="http://schemas.microsoft.com/office/drawing/2014/main" id="{86CDE8C9-7698-4923-B147-6E3FCCCA545E}"/>
                  </a:ext>
                </a:extLst>
              </p:cNvPr>
              <p:cNvSpPr>
                <a:spLocks/>
              </p:cNvSpPr>
              <p:nvPr/>
            </p:nvSpPr>
            <p:spPr bwMode="gray">
              <a:xfrm>
                <a:off x="-2031" y="2334"/>
                <a:ext cx="5" cy="7"/>
              </a:xfrm>
              <a:custGeom>
                <a:avLst/>
                <a:gdLst>
                  <a:gd name="T0" fmla="*/ 2 w 5"/>
                  <a:gd name="T1" fmla="*/ 0 h 7"/>
                  <a:gd name="T2" fmla="*/ 2 w 5"/>
                  <a:gd name="T3" fmla="*/ 0 h 7"/>
                  <a:gd name="T4" fmla="*/ 2 w 5"/>
                  <a:gd name="T5" fmla="*/ 0 h 7"/>
                  <a:gd name="T6" fmla="*/ 0 w 5"/>
                  <a:gd name="T7" fmla="*/ 0 h 7"/>
                  <a:gd name="T8" fmla="*/ 0 w 5"/>
                  <a:gd name="T9" fmla="*/ 5 h 7"/>
                  <a:gd name="T10" fmla="*/ 0 w 5"/>
                  <a:gd name="T11" fmla="*/ 7 h 7"/>
                  <a:gd name="T12" fmla="*/ 2 w 5"/>
                  <a:gd name="T13" fmla="*/ 7 h 7"/>
                  <a:gd name="T14" fmla="*/ 2 w 5"/>
                  <a:gd name="T15" fmla="*/ 5 h 7"/>
                  <a:gd name="T16" fmla="*/ 5 w 5"/>
                  <a:gd name="T17" fmla="*/ 2 h 7"/>
                  <a:gd name="T18" fmla="*/ 2 w 5"/>
                  <a:gd name="T19" fmla="*/ 0 h 7"/>
                  <a:gd name="T20" fmla="*/ 2 w 5"/>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7">
                    <a:moveTo>
                      <a:pt x="2" y="0"/>
                    </a:moveTo>
                    <a:lnTo>
                      <a:pt x="2" y="0"/>
                    </a:lnTo>
                    <a:lnTo>
                      <a:pt x="2" y="0"/>
                    </a:lnTo>
                    <a:lnTo>
                      <a:pt x="0" y="0"/>
                    </a:lnTo>
                    <a:lnTo>
                      <a:pt x="0" y="5"/>
                    </a:lnTo>
                    <a:lnTo>
                      <a:pt x="0" y="7"/>
                    </a:lnTo>
                    <a:lnTo>
                      <a:pt x="2" y="7"/>
                    </a:lnTo>
                    <a:lnTo>
                      <a:pt x="2" y="5"/>
                    </a:lnTo>
                    <a:lnTo>
                      <a:pt x="5" y="2"/>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80" name="Freeform 16">
                <a:extLst>
                  <a:ext uri="{FF2B5EF4-FFF2-40B4-BE49-F238E27FC236}">
                    <a16:creationId xmlns:a16="http://schemas.microsoft.com/office/drawing/2014/main" id="{3774076D-F282-43E5-B942-4DA704C3A9B8}"/>
                  </a:ext>
                </a:extLst>
              </p:cNvPr>
              <p:cNvSpPr>
                <a:spLocks/>
              </p:cNvSpPr>
              <p:nvPr/>
            </p:nvSpPr>
            <p:spPr bwMode="gray">
              <a:xfrm>
                <a:off x="-1654" y="2730"/>
                <a:ext cx="3" cy="5"/>
              </a:xfrm>
              <a:custGeom>
                <a:avLst/>
                <a:gdLst>
                  <a:gd name="T0" fmla="*/ 3 w 3"/>
                  <a:gd name="T1" fmla="*/ 5 h 5"/>
                  <a:gd name="T2" fmla="*/ 3 w 3"/>
                  <a:gd name="T3" fmla="*/ 5 h 5"/>
                  <a:gd name="T4" fmla="*/ 3 w 3"/>
                  <a:gd name="T5" fmla="*/ 2 h 5"/>
                  <a:gd name="T6" fmla="*/ 3 w 3"/>
                  <a:gd name="T7" fmla="*/ 2 h 5"/>
                  <a:gd name="T8" fmla="*/ 3 w 3"/>
                  <a:gd name="T9" fmla="*/ 2 h 5"/>
                  <a:gd name="T10" fmla="*/ 3 w 3"/>
                  <a:gd name="T11" fmla="*/ 0 h 5"/>
                  <a:gd name="T12" fmla="*/ 3 w 3"/>
                  <a:gd name="T13" fmla="*/ 0 h 5"/>
                  <a:gd name="T14" fmla="*/ 3 w 3"/>
                  <a:gd name="T15" fmla="*/ 0 h 5"/>
                  <a:gd name="T16" fmla="*/ 3 w 3"/>
                  <a:gd name="T17" fmla="*/ 0 h 5"/>
                  <a:gd name="T18" fmla="*/ 0 w 3"/>
                  <a:gd name="T19" fmla="*/ 0 h 5"/>
                  <a:gd name="T20" fmla="*/ 0 w 3"/>
                  <a:gd name="T21" fmla="*/ 0 h 5"/>
                  <a:gd name="T22" fmla="*/ 0 w 3"/>
                  <a:gd name="T23" fmla="*/ 2 h 5"/>
                  <a:gd name="T24" fmla="*/ 0 w 3"/>
                  <a:gd name="T25" fmla="*/ 2 h 5"/>
                  <a:gd name="T26" fmla="*/ 0 w 3"/>
                  <a:gd name="T27" fmla="*/ 2 h 5"/>
                  <a:gd name="T28" fmla="*/ 0 w 3"/>
                  <a:gd name="T29" fmla="*/ 5 h 5"/>
                  <a:gd name="T30" fmla="*/ 3 w 3"/>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5">
                    <a:moveTo>
                      <a:pt x="3" y="5"/>
                    </a:moveTo>
                    <a:lnTo>
                      <a:pt x="3" y="5"/>
                    </a:lnTo>
                    <a:lnTo>
                      <a:pt x="3" y="2"/>
                    </a:lnTo>
                    <a:lnTo>
                      <a:pt x="3" y="2"/>
                    </a:lnTo>
                    <a:lnTo>
                      <a:pt x="3" y="2"/>
                    </a:lnTo>
                    <a:lnTo>
                      <a:pt x="3" y="0"/>
                    </a:lnTo>
                    <a:lnTo>
                      <a:pt x="3" y="0"/>
                    </a:lnTo>
                    <a:lnTo>
                      <a:pt x="3" y="0"/>
                    </a:lnTo>
                    <a:lnTo>
                      <a:pt x="3" y="0"/>
                    </a:lnTo>
                    <a:lnTo>
                      <a:pt x="0" y="0"/>
                    </a:lnTo>
                    <a:lnTo>
                      <a:pt x="0" y="0"/>
                    </a:lnTo>
                    <a:lnTo>
                      <a:pt x="0" y="2"/>
                    </a:lnTo>
                    <a:lnTo>
                      <a:pt x="0" y="2"/>
                    </a:lnTo>
                    <a:lnTo>
                      <a:pt x="0" y="2"/>
                    </a:lnTo>
                    <a:lnTo>
                      <a:pt x="0"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81" name="Freeform 17">
                <a:extLst>
                  <a:ext uri="{FF2B5EF4-FFF2-40B4-BE49-F238E27FC236}">
                    <a16:creationId xmlns:a16="http://schemas.microsoft.com/office/drawing/2014/main" id="{6DBE9A43-7260-4D4F-A02F-7C78A53283B2}"/>
                  </a:ext>
                </a:extLst>
              </p:cNvPr>
              <p:cNvSpPr>
                <a:spLocks/>
              </p:cNvSpPr>
              <p:nvPr/>
            </p:nvSpPr>
            <p:spPr bwMode="gray">
              <a:xfrm>
                <a:off x="-2057" y="2508"/>
                <a:ext cx="2" cy="5"/>
              </a:xfrm>
              <a:custGeom>
                <a:avLst/>
                <a:gdLst>
                  <a:gd name="T0" fmla="*/ 2 w 2"/>
                  <a:gd name="T1" fmla="*/ 0 h 5"/>
                  <a:gd name="T2" fmla="*/ 2 w 2"/>
                  <a:gd name="T3" fmla="*/ 0 h 5"/>
                  <a:gd name="T4" fmla="*/ 2 w 2"/>
                  <a:gd name="T5" fmla="*/ 0 h 5"/>
                  <a:gd name="T6" fmla="*/ 2 w 2"/>
                  <a:gd name="T7" fmla="*/ 0 h 5"/>
                  <a:gd name="T8" fmla="*/ 2 w 2"/>
                  <a:gd name="T9" fmla="*/ 0 h 5"/>
                  <a:gd name="T10" fmla="*/ 2 w 2"/>
                  <a:gd name="T11" fmla="*/ 0 h 5"/>
                  <a:gd name="T12" fmla="*/ 0 w 2"/>
                  <a:gd name="T13" fmla="*/ 3 h 5"/>
                  <a:gd name="T14" fmla="*/ 0 w 2"/>
                  <a:gd name="T15" fmla="*/ 3 h 5"/>
                  <a:gd name="T16" fmla="*/ 0 w 2"/>
                  <a:gd name="T17" fmla="*/ 3 h 5"/>
                  <a:gd name="T18" fmla="*/ 0 w 2"/>
                  <a:gd name="T19" fmla="*/ 5 h 5"/>
                  <a:gd name="T20" fmla="*/ 2 w 2"/>
                  <a:gd name="T21" fmla="*/ 5 h 5"/>
                  <a:gd name="T22" fmla="*/ 2 w 2"/>
                  <a:gd name="T23" fmla="*/ 5 h 5"/>
                  <a:gd name="T24" fmla="*/ 2 w 2"/>
                  <a:gd name="T25" fmla="*/ 5 h 5"/>
                  <a:gd name="T26" fmla="*/ 2 w 2"/>
                  <a:gd name="T27" fmla="*/ 5 h 5"/>
                  <a:gd name="T28" fmla="*/ 2 w 2"/>
                  <a:gd name="T29" fmla="*/ 5 h 5"/>
                  <a:gd name="T30" fmla="*/ 2 w 2"/>
                  <a:gd name="T31" fmla="*/ 5 h 5"/>
                  <a:gd name="T32" fmla="*/ 2 w 2"/>
                  <a:gd name="T33" fmla="*/ 5 h 5"/>
                  <a:gd name="T34" fmla="*/ 2 w 2"/>
                  <a:gd name="T35" fmla="*/ 3 h 5"/>
                  <a:gd name="T36" fmla="*/ 2 w 2"/>
                  <a:gd name="T3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5">
                    <a:moveTo>
                      <a:pt x="2" y="0"/>
                    </a:moveTo>
                    <a:lnTo>
                      <a:pt x="2" y="0"/>
                    </a:lnTo>
                    <a:lnTo>
                      <a:pt x="2" y="0"/>
                    </a:lnTo>
                    <a:lnTo>
                      <a:pt x="2" y="0"/>
                    </a:lnTo>
                    <a:lnTo>
                      <a:pt x="2" y="0"/>
                    </a:lnTo>
                    <a:lnTo>
                      <a:pt x="2" y="0"/>
                    </a:lnTo>
                    <a:lnTo>
                      <a:pt x="0" y="3"/>
                    </a:lnTo>
                    <a:lnTo>
                      <a:pt x="0" y="3"/>
                    </a:lnTo>
                    <a:lnTo>
                      <a:pt x="0" y="3"/>
                    </a:lnTo>
                    <a:lnTo>
                      <a:pt x="0" y="5"/>
                    </a:lnTo>
                    <a:lnTo>
                      <a:pt x="2" y="5"/>
                    </a:lnTo>
                    <a:lnTo>
                      <a:pt x="2" y="5"/>
                    </a:lnTo>
                    <a:lnTo>
                      <a:pt x="2" y="5"/>
                    </a:lnTo>
                    <a:lnTo>
                      <a:pt x="2" y="5"/>
                    </a:lnTo>
                    <a:lnTo>
                      <a:pt x="2" y="5"/>
                    </a:lnTo>
                    <a:lnTo>
                      <a:pt x="2" y="5"/>
                    </a:lnTo>
                    <a:lnTo>
                      <a:pt x="2" y="5"/>
                    </a:lnTo>
                    <a:lnTo>
                      <a:pt x="2" y="3"/>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82" name="Freeform 18">
                <a:extLst>
                  <a:ext uri="{FF2B5EF4-FFF2-40B4-BE49-F238E27FC236}">
                    <a16:creationId xmlns:a16="http://schemas.microsoft.com/office/drawing/2014/main" id="{854EE821-0405-40AE-834F-616B43D05B6A}"/>
                  </a:ext>
                </a:extLst>
              </p:cNvPr>
              <p:cNvSpPr>
                <a:spLocks/>
              </p:cNvSpPr>
              <p:nvPr/>
            </p:nvSpPr>
            <p:spPr bwMode="gray">
              <a:xfrm>
                <a:off x="-2062" y="2506"/>
                <a:ext cx="5" cy="5"/>
              </a:xfrm>
              <a:custGeom>
                <a:avLst/>
                <a:gdLst>
                  <a:gd name="T0" fmla="*/ 5 w 5"/>
                  <a:gd name="T1" fmla="*/ 0 h 5"/>
                  <a:gd name="T2" fmla="*/ 5 w 5"/>
                  <a:gd name="T3" fmla="*/ 0 h 5"/>
                  <a:gd name="T4" fmla="*/ 5 w 5"/>
                  <a:gd name="T5" fmla="*/ 0 h 5"/>
                  <a:gd name="T6" fmla="*/ 5 w 5"/>
                  <a:gd name="T7" fmla="*/ 0 h 5"/>
                  <a:gd name="T8" fmla="*/ 3 w 5"/>
                  <a:gd name="T9" fmla="*/ 0 h 5"/>
                  <a:gd name="T10" fmla="*/ 3 w 5"/>
                  <a:gd name="T11" fmla="*/ 0 h 5"/>
                  <a:gd name="T12" fmla="*/ 3 w 5"/>
                  <a:gd name="T13" fmla="*/ 0 h 5"/>
                  <a:gd name="T14" fmla="*/ 3 w 5"/>
                  <a:gd name="T15" fmla="*/ 0 h 5"/>
                  <a:gd name="T16" fmla="*/ 3 w 5"/>
                  <a:gd name="T17" fmla="*/ 2 h 5"/>
                  <a:gd name="T18" fmla="*/ 3 w 5"/>
                  <a:gd name="T19" fmla="*/ 2 h 5"/>
                  <a:gd name="T20" fmla="*/ 0 w 5"/>
                  <a:gd name="T21" fmla="*/ 2 h 5"/>
                  <a:gd name="T22" fmla="*/ 0 w 5"/>
                  <a:gd name="T23" fmla="*/ 2 h 5"/>
                  <a:gd name="T24" fmla="*/ 0 w 5"/>
                  <a:gd name="T25" fmla="*/ 2 h 5"/>
                  <a:gd name="T26" fmla="*/ 0 w 5"/>
                  <a:gd name="T27" fmla="*/ 5 h 5"/>
                  <a:gd name="T28" fmla="*/ 3 w 5"/>
                  <a:gd name="T29" fmla="*/ 5 h 5"/>
                  <a:gd name="T30" fmla="*/ 5 w 5"/>
                  <a:gd name="T31" fmla="*/ 5 h 5"/>
                  <a:gd name="T32" fmla="*/ 5 w 5"/>
                  <a:gd name="T33" fmla="*/ 2 h 5"/>
                  <a:gd name="T34" fmla="*/ 5 w 5"/>
                  <a:gd name="T35" fmla="*/ 2 h 5"/>
                  <a:gd name="T36" fmla="*/ 5 w 5"/>
                  <a:gd name="T37" fmla="*/ 2 h 5"/>
                  <a:gd name="T38" fmla="*/ 5 w 5"/>
                  <a:gd name="T3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5">
                    <a:moveTo>
                      <a:pt x="5" y="0"/>
                    </a:moveTo>
                    <a:lnTo>
                      <a:pt x="5" y="0"/>
                    </a:lnTo>
                    <a:lnTo>
                      <a:pt x="5" y="0"/>
                    </a:lnTo>
                    <a:lnTo>
                      <a:pt x="5" y="0"/>
                    </a:lnTo>
                    <a:lnTo>
                      <a:pt x="3" y="0"/>
                    </a:lnTo>
                    <a:lnTo>
                      <a:pt x="3" y="0"/>
                    </a:lnTo>
                    <a:lnTo>
                      <a:pt x="3" y="0"/>
                    </a:lnTo>
                    <a:lnTo>
                      <a:pt x="3" y="0"/>
                    </a:lnTo>
                    <a:lnTo>
                      <a:pt x="3" y="2"/>
                    </a:lnTo>
                    <a:lnTo>
                      <a:pt x="3" y="2"/>
                    </a:lnTo>
                    <a:lnTo>
                      <a:pt x="0" y="2"/>
                    </a:lnTo>
                    <a:lnTo>
                      <a:pt x="0" y="2"/>
                    </a:lnTo>
                    <a:lnTo>
                      <a:pt x="0" y="2"/>
                    </a:lnTo>
                    <a:lnTo>
                      <a:pt x="0" y="5"/>
                    </a:lnTo>
                    <a:lnTo>
                      <a:pt x="3" y="5"/>
                    </a:lnTo>
                    <a:lnTo>
                      <a:pt x="5" y="5"/>
                    </a:lnTo>
                    <a:lnTo>
                      <a:pt x="5" y="2"/>
                    </a:lnTo>
                    <a:lnTo>
                      <a:pt x="5" y="2"/>
                    </a:lnTo>
                    <a:lnTo>
                      <a:pt x="5" y="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83" name="Freeform 19">
                <a:extLst>
                  <a:ext uri="{FF2B5EF4-FFF2-40B4-BE49-F238E27FC236}">
                    <a16:creationId xmlns:a16="http://schemas.microsoft.com/office/drawing/2014/main" id="{06180DCE-A513-4536-9EA1-0A8FD4D1F97B}"/>
                  </a:ext>
                </a:extLst>
              </p:cNvPr>
              <p:cNvSpPr>
                <a:spLocks/>
              </p:cNvSpPr>
              <p:nvPr/>
            </p:nvSpPr>
            <p:spPr bwMode="gray">
              <a:xfrm>
                <a:off x="-1698" y="2751"/>
                <a:ext cx="2" cy="2"/>
              </a:xfrm>
              <a:custGeom>
                <a:avLst/>
                <a:gdLst>
                  <a:gd name="T0" fmla="*/ 2 w 2"/>
                  <a:gd name="T1" fmla="*/ 2 h 2"/>
                  <a:gd name="T2" fmla="*/ 2 w 2"/>
                  <a:gd name="T3" fmla="*/ 2 h 2"/>
                  <a:gd name="T4" fmla="*/ 2 w 2"/>
                  <a:gd name="T5" fmla="*/ 0 h 2"/>
                  <a:gd name="T6" fmla="*/ 0 w 2"/>
                  <a:gd name="T7" fmla="*/ 0 h 2"/>
                  <a:gd name="T8" fmla="*/ 0 w 2"/>
                  <a:gd name="T9" fmla="*/ 0 h 2"/>
                  <a:gd name="T10" fmla="*/ 0 w 2"/>
                  <a:gd name="T11" fmla="*/ 0 h 2"/>
                  <a:gd name="T12" fmla="*/ 0 w 2"/>
                  <a:gd name="T13" fmla="*/ 0 h 2"/>
                  <a:gd name="T14" fmla="*/ 0 w 2"/>
                  <a:gd name="T15" fmla="*/ 2 h 2"/>
                  <a:gd name="T16" fmla="*/ 2 w 2"/>
                  <a:gd name="T17" fmla="*/ 2 h 2"/>
                  <a:gd name="T18" fmla="*/ 2 w 2"/>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2" y="2"/>
                    </a:moveTo>
                    <a:lnTo>
                      <a:pt x="2" y="2"/>
                    </a:lnTo>
                    <a:lnTo>
                      <a:pt x="2" y="0"/>
                    </a:lnTo>
                    <a:lnTo>
                      <a:pt x="0" y="0"/>
                    </a:lnTo>
                    <a:lnTo>
                      <a:pt x="0" y="0"/>
                    </a:lnTo>
                    <a:lnTo>
                      <a:pt x="0" y="0"/>
                    </a:lnTo>
                    <a:lnTo>
                      <a:pt x="0" y="0"/>
                    </a:lnTo>
                    <a:lnTo>
                      <a:pt x="0" y="2"/>
                    </a:lnTo>
                    <a:lnTo>
                      <a:pt x="2" y="2"/>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84" name="Freeform 20">
                <a:extLst>
                  <a:ext uri="{FF2B5EF4-FFF2-40B4-BE49-F238E27FC236}">
                    <a16:creationId xmlns:a16="http://schemas.microsoft.com/office/drawing/2014/main" id="{A7FF25E7-C177-447C-894F-FCC4F237272F}"/>
                  </a:ext>
                </a:extLst>
              </p:cNvPr>
              <p:cNvSpPr>
                <a:spLocks/>
              </p:cNvSpPr>
              <p:nvPr/>
            </p:nvSpPr>
            <p:spPr bwMode="gray">
              <a:xfrm>
                <a:off x="-1675" y="2756"/>
                <a:ext cx="5" cy="7"/>
              </a:xfrm>
              <a:custGeom>
                <a:avLst/>
                <a:gdLst>
                  <a:gd name="T0" fmla="*/ 5 w 5"/>
                  <a:gd name="T1" fmla="*/ 0 h 7"/>
                  <a:gd name="T2" fmla="*/ 3 w 5"/>
                  <a:gd name="T3" fmla="*/ 0 h 7"/>
                  <a:gd name="T4" fmla="*/ 0 w 5"/>
                  <a:gd name="T5" fmla="*/ 2 h 7"/>
                  <a:gd name="T6" fmla="*/ 0 w 5"/>
                  <a:gd name="T7" fmla="*/ 2 h 7"/>
                  <a:gd name="T8" fmla="*/ 0 w 5"/>
                  <a:gd name="T9" fmla="*/ 4 h 7"/>
                  <a:gd name="T10" fmla="*/ 0 w 5"/>
                  <a:gd name="T11" fmla="*/ 4 h 7"/>
                  <a:gd name="T12" fmla="*/ 3 w 5"/>
                  <a:gd name="T13" fmla="*/ 4 h 7"/>
                  <a:gd name="T14" fmla="*/ 3 w 5"/>
                  <a:gd name="T15" fmla="*/ 7 h 7"/>
                  <a:gd name="T16" fmla="*/ 5 w 5"/>
                  <a:gd name="T17" fmla="*/ 7 h 7"/>
                  <a:gd name="T18" fmla="*/ 5 w 5"/>
                  <a:gd name="T19" fmla="*/ 7 h 7"/>
                  <a:gd name="T20" fmla="*/ 5 w 5"/>
                  <a:gd name="T21" fmla="*/ 7 h 7"/>
                  <a:gd name="T22" fmla="*/ 5 w 5"/>
                  <a:gd name="T23" fmla="*/ 4 h 7"/>
                  <a:gd name="T24" fmla="*/ 5 w 5"/>
                  <a:gd name="T25" fmla="*/ 4 h 7"/>
                  <a:gd name="T26" fmla="*/ 5 w 5"/>
                  <a:gd name="T27" fmla="*/ 4 h 7"/>
                  <a:gd name="T28" fmla="*/ 5 w 5"/>
                  <a:gd name="T29" fmla="*/ 4 h 7"/>
                  <a:gd name="T30" fmla="*/ 5 w 5"/>
                  <a:gd name="T31" fmla="*/ 4 h 7"/>
                  <a:gd name="T32" fmla="*/ 5 w 5"/>
                  <a:gd name="T33" fmla="*/ 4 h 7"/>
                  <a:gd name="T34" fmla="*/ 5 w 5"/>
                  <a:gd name="T35" fmla="*/ 2 h 7"/>
                  <a:gd name="T36" fmla="*/ 5 w 5"/>
                  <a:gd name="T37" fmla="*/ 2 h 7"/>
                  <a:gd name="T38" fmla="*/ 5 w 5"/>
                  <a:gd name="T39" fmla="*/ 2 h 7"/>
                  <a:gd name="T40" fmla="*/ 5 w 5"/>
                  <a:gd name="T4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 h="7">
                    <a:moveTo>
                      <a:pt x="5" y="0"/>
                    </a:moveTo>
                    <a:lnTo>
                      <a:pt x="3" y="0"/>
                    </a:lnTo>
                    <a:lnTo>
                      <a:pt x="0" y="2"/>
                    </a:lnTo>
                    <a:lnTo>
                      <a:pt x="0" y="2"/>
                    </a:lnTo>
                    <a:lnTo>
                      <a:pt x="0" y="4"/>
                    </a:lnTo>
                    <a:lnTo>
                      <a:pt x="0" y="4"/>
                    </a:lnTo>
                    <a:lnTo>
                      <a:pt x="3" y="4"/>
                    </a:lnTo>
                    <a:lnTo>
                      <a:pt x="3" y="7"/>
                    </a:lnTo>
                    <a:lnTo>
                      <a:pt x="5" y="7"/>
                    </a:lnTo>
                    <a:lnTo>
                      <a:pt x="5" y="7"/>
                    </a:lnTo>
                    <a:lnTo>
                      <a:pt x="5" y="7"/>
                    </a:lnTo>
                    <a:lnTo>
                      <a:pt x="5" y="4"/>
                    </a:lnTo>
                    <a:lnTo>
                      <a:pt x="5" y="4"/>
                    </a:lnTo>
                    <a:lnTo>
                      <a:pt x="5" y="4"/>
                    </a:lnTo>
                    <a:lnTo>
                      <a:pt x="5" y="4"/>
                    </a:lnTo>
                    <a:lnTo>
                      <a:pt x="5" y="4"/>
                    </a:lnTo>
                    <a:lnTo>
                      <a:pt x="5" y="4"/>
                    </a:lnTo>
                    <a:lnTo>
                      <a:pt x="5" y="2"/>
                    </a:lnTo>
                    <a:lnTo>
                      <a:pt x="5" y="2"/>
                    </a:lnTo>
                    <a:lnTo>
                      <a:pt x="5" y="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85" name="Freeform 21">
                <a:extLst>
                  <a:ext uri="{FF2B5EF4-FFF2-40B4-BE49-F238E27FC236}">
                    <a16:creationId xmlns:a16="http://schemas.microsoft.com/office/drawing/2014/main" id="{282637EB-FCA5-4D39-86B3-F4EFEB26AE28}"/>
                  </a:ext>
                </a:extLst>
              </p:cNvPr>
              <p:cNvSpPr>
                <a:spLocks/>
              </p:cNvSpPr>
              <p:nvPr/>
            </p:nvSpPr>
            <p:spPr bwMode="gray">
              <a:xfrm>
                <a:off x="-1670" y="2765"/>
                <a:ext cx="2" cy="5"/>
              </a:xfrm>
              <a:custGeom>
                <a:avLst/>
                <a:gdLst>
                  <a:gd name="T0" fmla="*/ 0 w 2"/>
                  <a:gd name="T1" fmla="*/ 0 h 5"/>
                  <a:gd name="T2" fmla="*/ 0 w 2"/>
                  <a:gd name="T3" fmla="*/ 3 h 5"/>
                  <a:gd name="T4" fmla="*/ 0 w 2"/>
                  <a:gd name="T5" fmla="*/ 3 h 5"/>
                  <a:gd name="T6" fmla="*/ 0 w 2"/>
                  <a:gd name="T7" fmla="*/ 5 h 5"/>
                  <a:gd name="T8" fmla="*/ 2 w 2"/>
                  <a:gd name="T9" fmla="*/ 5 h 5"/>
                  <a:gd name="T10" fmla="*/ 2 w 2"/>
                  <a:gd name="T11" fmla="*/ 5 h 5"/>
                  <a:gd name="T12" fmla="*/ 2 w 2"/>
                  <a:gd name="T13" fmla="*/ 5 h 5"/>
                  <a:gd name="T14" fmla="*/ 2 w 2"/>
                  <a:gd name="T15" fmla="*/ 3 h 5"/>
                  <a:gd name="T16" fmla="*/ 2 w 2"/>
                  <a:gd name="T17" fmla="*/ 3 h 5"/>
                  <a:gd name="T18" fmla="*/ 2 w 2"/>
                  <a:gd name="T19" fmla="*/ 3 h 5"/>
                  <a:gd name="T20" fmla="*/ 0 w 2"/>
                  <a:gd name="T21" fmla="*/ 0 h 5"/>
                  <a:gd name="T22" fmla="*/ 0 w 2"/>
                  <a:gd name="T23" fmla="*/ 0 h 5"/>
                  <a:gd name="T24" fmla="*/ 0 w 2"/>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5">
                    <a:moveTo>
                      <a:pt x="0" y="0"/>
                    </a:moveTo>
                    <a:lnTo>
                      <a:pt x="0" y="3"/>
                    </a:lnTo>
                    <a:lnTo>
                      <a:pt x="0" y="3"/>
                    </a:lnTo>
                    <a:lnTo>
                      <a:pt x="0" y="5"/>
                    </a:lnTo>
                    <a:lnTo>
                      <a:pt x="2" y="5"/>
                    </a:lnTo>
                    <a:lnTo>
                      <a:pt x="2" y="5"/>
                    </a:lnTo>
                    <a:lnTo>
                      <a:pt x="2" y="5"/>
                    </a:lnTo>
                    <a:lnTo>
                      <a:pt x="2" y="3"/>
                    </a:lnTo>
                    <a:lnTo>
                      <a:pt x="2" y="3"/>
                    </a:lnTo>
                    <a:lnTo>
                      <a:pt x="2" y="3"/>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86" name="Freeform 22">
                <a:extLst>
                  <a:ext uri="{FF2B5EF4-FFF2-40B4-BE49-F238E27FC236}">
                    <a16:creationId xmlns:a16="http://schemas.microsoft.com/office/drawing/2014/main" id="{06A21A56-9DB2-4420-BB23-BD73D39A48AC}"/>
                  </a:ext>
                </a:extLst>
              </p:cNvPr>
              <p:cNvSpPr>
                <a:spLocks/>
              </p:cNvSpPr>
              <p:nvPr/>
            </p:nvSpPr>
            <p:spPr bwMode="gray">
              <a:xfrm>
                <a:off x="-1682" y="2751"/>
                <a:ext cx="5" cy="5"/>
              </a:xfrm>
              <a:custGeom>
                <a:avLst/>
                <a:gdLst>
                  <a:gd name="T0" fmla="*/ 5 w 5"/>
                  <a:gd name="T1" fmla="*/ 5 h 5"/>
                  <a:gd name="T2" fmla="*/ 5 w 5"/>
                  <a:gd name="T3" fmla="*/ 2 h 5"/>
                  <a:gd name="T4" fmla="*/ 5 w 5"/>
                  <a:gd name="T5" fmla="*/ 2 h 5"/>
                  <a:gd name="T6" fmla="*/ 5 w 5"/>
                  <a:gd name="T7" fmla="*/ 2 h 5"/>
                  <a:gd name="T8" fmla="*/ 5 w 5"/>
                  <a:gd name="T9" fmla="*/ 2 h 5"/>
                  <a:gd name="T10" fmla="*/ 5 w 5"/>
                  <a:gd name="T11" fmla="*/ 0 h 5"/>
                  <a:gd name="T12" fmla="*/ 5 w 5"/>
                  <a:gd name="T13" fmla="*/ 0 h 5"/>
                  <a:gd name="T14" fmla="*/ 2 w 5"/>
                  <a:gd name="T15" fmla="*/ 0 h 5"/>
                  <a:gd name="T16" fmla="*/ 0 w 5"/>
                  <a:gd name="T17" fmla="*/ 0 h 5"/>
                  <a:gd name="T18" fmla="*/ 2 w 5"/>
                  <a:gd name="T19" fmla="*/ 2 h 5"/>
                  <a:gd name="T20" fmla="*/ 5 w 5"/>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5">
                    <a:moveTo>
                      <a:pt x="5" y="5"/>
                    </a:moveTo>
                    <a:lnTo>
                      <a:pt x="5" y="2"/>
                    </a:lnTo>
                    <a:lnTo>
                      <a:pt x="5" y="2"/>
                    </a:lnTo>
                    <a:lnTo>
                      <a:pt x="5" y="2"/>
                    </a:lnTo>
                    <a:lnTo>
                      <a:pt x="5" y="2"/>
                    </a:lnTo>
                    <a:lnTo>
                      <a:pt x="5" y="0"/>
                    </a:lnTo>
                    <a:lnTo>
                      <a:pt x="5" y="0"/>
                    </a:lnTo>
                    <a:lnTo>
                      <a:pt x="2" y="0"/>
                    </a:lnTo>
                    <a:lnTo>
                      <a:pt x="0" y="0"/>
                    </a:lnTo>
                    <a:lnTo>
                      <a:pt x="2" y="2"/>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87" name="Freeform 23">
                <a:extLst>
                  <a:ext uri="{FF2B5EF4-FFF2-40B4-BE49-F238E27FC236}">
                    <a16:creationId xmlns:a16="http://schemas.microsoft.com/office/drawing/2014/main" id="{B53CB18A-C97D-4E76-8148-60B7A5717E07}"/>
                  </a:ext>
                </a:extLst>
              </p:cNvPr>
              <p:cNvSpPr>
                <a:spLocks/>
              </p:cNvSpPr>
              <p:nvPr/>
            </p:nvSpPr>
            <p:spPr bwMode="gray">
              <a:xfrm>
                <a:off x="-2142" y="2518"/>
                <a:ext cx="9" cy="12"/>
              </a:xfrm>
              <a:custGeom>
                <a:avLst/>
                <a:gdLst>
                  <a:gd name="T0" fmla="*/ 2 w 9"/>
                  <a:gd name="T1" fmla="*/ 7 h 12"/>
                  <a:gd name="T2" fmla="*/ 2 w 9"/>
                  <a:gd name="T3" fmla="*/ 7 h 12"/>
                  <a:gd name="T4" fmla="*/ 0 w 9"/>
                  <a:gd name="T5" fmla="*/ 9 h 12"/>
                  <a:gd name="T6" fmla="*/ 0 w 9"/>
                  <a:gd name="T7" fmla="*/ 9 h 12"/>
                  <a:gd name="T8" fmla="*/ 0 w 9"/>
                  <a:gd name="T9" fmla="*/ 9 h 12"/>
                  <a:gd name="T10" fmla="*/ 0 w 9"/>
                  <a:gd name="T11" fmla="*/ 12 h 12"/>
                  <a:gd name="T12" fmla="*/ 0 w 9"/>
                  <a:gd name="T13" fmla="*/ 12 h 12"/>
                  <a:gd name="T14" fmla="*/ 0 w 9"/>
                  <a:gd name="T15" fmla="*/ 12 h 12"/>
                  <a:gd name="T16" fmla="*/ 2 w 9"/>
                  <a:gd name="T17" fmla="*/ 12 h 12"/>
                  <a:gd name="T18" fmla="*/ 2 w 9"/>
                  <a:gd name="T19" fmla="*/ 9 h 12"/>
                  <a:gd name="T20" fmla="*/ 2 w 9"/>
                  <a:gd name="T21" fmla="*/ 7 h 12"/>
                  <a:gd name="T22" fmla="*/ 5 w 9"/>
                  <a:gd name="T23" fmla="*/ 7 h 12"/>
                  <a:gd name="T24" fmla="*/ 7 w 9"/>
                  <a:gd name="T25" fmla="*/ 7 h 12"/>
                  <a:gd name="T26" fmla="*/ 9 w 9"/>
                  <a:gd name="T27" fmla="*/ 4 h 12"/>
                  <a:gd name="T28" fmla="*/ 9 w 9"/>
                  <a:gd name="T29" fmla="*/ 4 h 12"/>
                  <a:gd name="T30" fmla="*/ 9 w 9"/>
                  <a:gd name="T31" fmla="*/ 2 h 12"/>
                  <a:gd name="T32" fmla="*/ 7 w 9"/>
                  <a:gd name="T33" fmla="*/ 2 h 12"/>
                  <a:gd name="T34" fmla="*/ 7 w 9"/>
                  <a:gd name="T35" fmla="*/ 2 h 12"/>
                  <a:gd name="T36" fmla="*/ 7 w 9"/>
                  <a:gd name="T37" fmla="*/ 2 h 12"/>
                  <a:gd name="T38" fmla="*/ 7 w 9"/>
                  <a:gd name="T39" fmla="*/ 0 h 12"/>
                  <a:gd name="T40" fmla="*/ 7 w 9"/>
                  <a:gd name="T41" fmla="*/ 2 h 12"/>
                  <a:gd name="T42" fmla="*/ 7 w 9"/>
                  <a:gd name="T43" fmla="*/ 2 h 12"/>
                  <a:gd name="T44" fmla="*/ 7 w 9"/>
                  <a:gd name="T45" fmla="*/ 2 h 12"/>
                  <a:gd name="T46" fmla="*/ 7 w 9"/>
                  <a:gd name="T47" fmla="*/ 2 h 12"/>
                  <a:gd name="T48" fmla="*/ 5 w 9"/>
                  <a:gd name="T49" fmla="*/ 2 h 12"/>
                  <a:gd name="T50" fmla="*/ 5 w 9"/>
                  <a:gd name="T51" fmla="*/ 2 h 12"/>
                  <a:gd name="T52" fmla="*/ 5 w 9"/>
                  <a:gd name="T53" fmla="*/ 2 h 12"/>
                  <a:gd name="T54" fmla="*/ 5 w 9"/>
                  <a:gd name="T55" fmla="*/ 4 h 12"/>
                  <a:gd name="T56" fmla="*/ 5 w 9"/>
                  <a:gd name="T57" fmla="*/ 4 h 12"/>
                  <a:gd name="T58" fmla="*/ 2 w 9"/>
                  <a:gd name="T59"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 h="12">
                    <a:moveTo>
                      <a:pt x="2" y="7"/>
                    </a:moveTo>
                    <a:lnTo>
                      <a:pt x="2" y="7"/>
                    </a:lnTo>
                    <a:lnTo>
                      <a:pt x="0" y="9"/>
                    </a:lnTo>
                    <a:lnTo>
                      <a:pt x="0" y="9"/>
                    </a:lnTo>
                    <a:lnTo>
                      <a:pt x="0" y="9"/>
                    </a:lnTo>
                    <a:lnTo>
                      <a:pt x="0" y="12"/>
                    </a:lnTo>
                    <a:lnTo>
                      <a:pt x="0" y="12"/>
                    </a:lnTo>
                    <a:lnTo>
                      <a:pt x="0" y="12"/>
                    </a:lnTo>
                    <a:lnTo>
                      <a:pt x="2" y="12"/>
                    </a:lnTo>
                    <a:lnTo>
                      <a:pt x="2" y="9"/>
                    </a:lnTo>
                    <a:lnTo>
                      <a:pt x="2" y="7"/>
                    </a:lnTo>
                    <a:lnTo>
                      <a:pt x="5" y="7"/>
                    </a:lnTo>
                    <a:lnTo>
                      <a:pt x="7" y="7"/>
                    </a:lnTo>
                    <a:lnTo>
                      <a:pt x="9" y="4"/>
                    </a:lnTo>
                    <a:lnTo>
                      <a:pt x="9" y="4"/>
                    </a:lnTo>
                    <a:lnTo>
                      <a:pt x="9" y="2"/>
                    </a:lnTo>
                    <a:lnTo>
                      <a:pt x="7" y="2"/>
                    </a:lnTo>
                    <a:lnTo>
                      <a:pt x="7" y="2"/>
                    </a:lnTo>
                    <a:lnTo>
                      <a:pt x="7" y="2"/>
                    </a:lnTo>
                    <a:lnTo>
                      <a:pt x="7" y="0"/>
                    </a:lnTo>
                    <a:lnTo>
                      <a:pt x="7" y="2"/>
                    </a:lnTo>
                    <a:lnTo>
                      <a:pt x="7" y="2"/>
                    </a:lnTo>
                    <a:lnTo>
                      <a:pt x="7" y="2"/>
                    </a:lnTo>
                    <a:lnTo>
                      <a:pt x="7" y="2"/>
                    </a:lnTo>
                    <a:lnTo>
                      <a:pt x="5" y="2"/>
                    </a:lnTo>
                    <a:lnTo>
                      <a:pt x="5" y="2"/>
                    </a:lnTo>
                    <a:lnTo>
                      <a:pt x="5" y="2"/>
                    </a:lnTo>
                    <a:lnTo>
                      <a:pt x="5" y="4"/>
                    </a:lnTo>
                    <a:lnTo>
                      <a:pt x="5" y="4"/>
                    </a:ln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88" name="Freeform 24">
                <a:extLst>
                  <a:ext uri="{FF2B5EF4-FFF2-40B4-BE49-F238E27FC236}">
                    <a16:creationId xmlns:a16="http://schemas.microsoft.com/office/drawing/2014/main" id="{86C2A475-3E39-474A-BAFC-C0A91B530DDD}"/>
                  </a:ext>
                </a:extLst>
              </p:cNvPr>
              <p:cNvSpPr>
                <a:spLocks/>
              </p:cNvSpPr>
              <p:nvPr/>
            </p:nvSpPr>
            <p:spPr bwMode="gray">
              <a:xfrm>
                <a:off x="-2015" y="2379"/>
                <a:ext cx="5" cy="2"/>
              </a:xfrm>
              <a:custGeom>
                <a:avLst/>
                <a:gdLst>
                  <a:gd name="T0" fmla="*/ 5 w 5"/>
                  <a:gd name="T1" fmla="*/ 0 h 2"/>
                  <a:gd name="T2" fmla="*/ 5 w 5"/>
                  <a:gd name="T3" fmla="*/ 0 h 2"/>
                  <a:gd name="T4" fmla="*/ 3 w 5"/>
                  <a:gd name="T5" fmla="*/ 0 h 2"/>
                  <a:gd name="T6" fmla="*/ 3 w 5"/>
                  <a:gd name="T7" fmla="*/ 0 h 2"/>
                  <a:gd name="T8" fmla="*/ 3 w 5"/>
                  <a:gd name="T9" fmla="*/ 0 h 2"/>
                  <a:gd name="T10" fmla="*/ 3 w 5"/>
                  <a:gd name="T11" fmla="*/ 2 h 2"/>
                  <a:gd name="T12" fmla="*/ 0 w 5"/>
                  <a:gd name="T13" fmla="*/ 2 h 2"/>
                  <a:gd name="T14" fmla="*/ 0 w 5"/>
                  <a:gd name="T15" fmla="*/ 2 h 2"/>
                  <a:gd name="T16" fmla="*/ 3 w 5"/>
                  <a:gd name="T17" fmla="*/ 2 h 2"/>
                  <a:gd name="T18" fmla="*/ 3 w 5"/>
                  <a:gd name="T19" fmla="*/ 2 h 2"/>
                  <a:gd name="T20" fmla="*/ 5 w 5"/>
                  <a:gd name="T21" fmla="*/ 2 h 2"/>
                  <a:gd name="T22" fmla="*/ 5 w 5"/>
                  <a:gd name="T23" fmla="*/ 2 h 2"/>
                  <a:gd name="T24" fmla="*/ 5 w 5"/>
                  <a:gd name="T25" fmla="*/ 2 h 2"/>
                  <a:gd name="T26" fmla="*/ 5 w 5"/>
                  <a:gd name="T27" fmla="*/ 2 h 2"/>
                  <a:gd name="T28" fmla="*/ 5 w 5"/>
                  <a:gd name="T29" fmla="*/ 2 h 2"/>
                  <a:gd name="T30" fmla="*/ 5 w 5"/>
                  <a:gd name="T3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2">
                    <a:moveTo>
                      <a:pt x="5" y="0"/>
                    </a:moveTo>
                    <a:lnTo>
                      <a:pt x="5" y="0"/>
                    </a:lnTo>
                    <a:lnTo>
                      <a:pt x="3" y="0"/>
                    </a:lnTo>
                    <a:lnTo>
                      <a:pt x="3" y="0"/>
                    </a:lnTo>
                    <a:lnTo>
                      <a:pt x="3" y="0"/>
                    </a:lnTo>
                    <a:lnTo>
                      <a:pt x="3" y="2"/>
                    </a:lnTo>
                    <a:lnTo>
                      <a:pt x="0" y="2"/>
                    </a:lnTo>
                    <a:lnTo>
                      <a:pt x="0" y="2"/>
                    </a:lnTo>
                    <a:lnTo>
                      <a:pt x="3" y="2"/>
                    </a:lnTo>
                    <a:lnTo>
                      <a:pt x="3" y="2"/>
                    </a:lnTo>
                    <a:lnTo>
                      <a:pt x="5" y="2"/>
                    </a:lnTo>
                    <a:lnTo>
                      <a:pt x="5" y="2"/>
                    </a:lnTo>
                    <a:lnTo>
                      <a:pt x="5" y="2"/>
                    </a:lnTo>
                    <a:lnTo>
                      <a:pt x="5" y="2"/>
                    </a:lnTo>
                    <a:lnTo>
                      <a:pt x="5" y="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89" name="Freeform 25">
                <a:extLst>
                  <a:ext uri="{FF2B5EF4-FFF2-40B4-BE49-F238E27FC236}">
                    <a16:creationId xmlns:a16="http://schemas.microsoft.com/office/drawing/2014/main" id="{96AB38F3-0C43-461A-BEEF-9F88DDC9A805}"/>
                  </a:ext>
                </a:extLst>
              </p:cNvPr>
              <p:cNvSpPr>
                <a:spLocks/>
              </p:cNvSpPr>
              <p:nvPr/>
            </p:nvSpPr>
            <p:spPr bwMode="gray">
              <a:xfrm>
                <a:off x="-2142" y="2697"/>
                <a:ext cx="7" cy="7"/>
              </a:xfrm>
              <a:custGeom>
                <a:avLst/>
                <a:gdLst>
                  <a:gd name="T0" fmla="*/ 7 w 7"/>
                  <a:gd name="T1" fmla="*/ 0 h 7"/>
                  <a:gd name="T2" fmla="*/ 5 w 7"/>
                  <a:gd name="T3" fmla="*/ 0 h 7"/>
                  <a:gd name="T4" fmla="*/ 2 w 7"/>
                  <a:gd name="T5" fmla="*/ 0 h 7"/>
                  <a:gd name="T6" fmla="*/ 0 w 7"/>
                  <a:gd name="T7" fmla="*/ 0 h 7"/>
                  <a:gd name="T8" fmla="*/ 0 w 7"/>
                  <a:gd name="T9" fmla="*/ 2 h 7"/>
                  <a:gd name="T10" fmla="*/ 0 w 7"/>
                  <a:gd name="T11" fmla="*/ 2 h 7"/>
                  <a:gd name="T12" fmla="*/ 2 w 7"/>
                  <a:gd name="T13" fmla="*/ 5 h 7"/>
                  <a:gd name="T14" fmla="*/ 2 w 7"/>
                  <a:gd name="T15" fmla="*/ 7 h 7"/>
                  <a:gd name="T16" fmla="*/ 2 w 7"/>
                  <a:gd name="T17" fmla="*/ 7 h 7"/>
                  <a:gd name="T18" fmla="*/ 5 w 7"/>
                  <a:gd name="T19" fmla="*/ 7 h 7"/>
                  <a:gd name="T20" fmla="*/ 5 w 7"/>
                  <a:gd name="T21" fmla="*/ 7 h 7"/>
                  <a:gd name="T22" fmla="*/ 7 w 7"/>
                  <a:gd name="T23" fmla="*/ 7 h 7"/>
                  <a:gd name="T24" fmla="*/ 7 w 7"/>
                  <a:gd name="T25" fmla="*/ 5 h 7"/>
                  <a:gd name="T26" fmla="*/ 7 w 7"/>
                  <a:gd name="T27" fmla="*/ 2 h 7"/>
                  <a:gd name="T28" fmla="*/ 7 w 7"/>
                  <a:gd name="T2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7">
                    <a:moveTo>
                      <a:pt x="7" y="0"/>
                    </a:moveTo>
                    <a:lnTo>
                      <a:pt x="5" y="0"/>
                    </a:lnTo>
                    <a:lnTo>
                      <a:pt x="2" y="0"/>
                    </a:lnTo>
                    <a:lnTo>
                      <a:pt x="0" y="0"/>
                    </a:lnTo>
                    <a:lnTo>
                      <a:pt x="0" y="2"/>
                    </a:lnTo>
                    <a:lnTo>
                      <a:pt x="0" y="2"/>
                    </a:lnTo>
                    <a:lnTo>
                      <a:pt x="2" y="5"/>
                    </a:lnTo>
                    <a:lnTo>
                      <a:pt x="2" y="7"/>
                    </a:lnTo>
                    <a:lnTo>
                      <a:pt x="2" y="7"/>
                    </a:lnTo>
                    <a:lnTo>
                      <a:pt x="5" y="7"/>
                    </a:lnTo>
                    <a:lnTo>
                      <a:pt x="5" y="7"/>
                    </a:lnTo>
                    <a:lnTo>
                      <a:pt x="7" y="7"/>
                    </a:lnTo>
                    <a:lnTo>
                      <a:pt x="7" y="5"/>
                    </a:lnTo>
                    <a:lnTo>
                      <a:pt x="7" y="2"/>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90" name="Rectangle 26">
                <a:extLst>
                  <a:ext uri="{FF2B5EF4-FFF2-40B4-BE49-F238E27FC236}">
                    <a16:creationId xmlns:a16="http://schemas.microsoft.com/office/drawing/2014/main" id="{022676AE-95B1-48EF-8D42-11CD838F8AC3}"/>
                  </a:ext>
                </a:extLst>
              </p:cNvPr>
              <p:cNvSpPr>
                <a:spLocks noChangeArrowheads="1"/>
              </p:cNvSpPr>
              <p:nvPr/>
            </p:nvSpPr>
            <p:spPr bwMode="gray">
              <a:xfrm>
                <a:off x="-2029" y="224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91" name="Freeform 27">
                <a:extLst>
                  <a:ext uri="{FF2B5EF4-FFF2-40B4-BE49-F238E27FC236}">
                    <a16:creationId xmlns:a16="http://schemas.microsoft.com/office/drawing/2014/main" id="{8623BD4A-8E1B-4A14-936B-0E837209C1E5}"/>
                  </a:ext>
                </a:extLst>
              </p:cNvPr>
              <p:cNvSpPr>
                <a:spLocks/>
              </p:cNvSpPr>
              <p:nvPr/>
            </p:nvSpPr>
            <p:spPr bwMode="gray">
              <a:xfrm>
                <a:off x="-2133" y="2704"/>
                <a:ext cx="10" cy="14"/>
              </a:xfrm>
              <a:custGeom>
                <a:avLst/>
                <a:gdLst>
                  <a:gd name="T0" fmla="*/ 10 w 10"/>
                  <a:gd name="T1" fmla="*/ 2 h 14"/>
                  <a:gd name="T2" fmla="*/ 7 w 10"/>
                  <a:gd name="T3" fmla="*/ 2 h 14"/>
                  <a:gd name="T4" fmla="*/ 7 w 10"/>
                  <a:gd name="T5" fmla="*/ 2 h 14"/>
                  <a:gd name="T6" fmla="*/ 7 w 10"/>
                  <a:gd name="T7" fmla="*/ 2 h 14"/>
                  <a:gd name="T8" fmla="*/ 7 w 10"/>
                  <a:gd name="T9" fmla="*/ 0 h 14"/>
                  <a:gd name="T10" fmla="*/ 5 w 10"/>
                  <a:gd name="T11" fmla="*/ 0 h 14"/>
                  <a:gd name="T12" fmla="*/ 3 w 10"/>
                  <a:gd name="T13" fmla="*/ 0 h 14"/>
                  <a:gd name="T14" fmla="*/ 0 w 10"/>
                  <a:gd name="T15" fmla="*/ 0 h 14"/>
                  <a:gd name="T16" fmla="*/ 0 w 10"/>
                  <a:gd name="T17" fmla="*/ 0 h 14"/>
                  <a:gd name="T18" fmla="*/ 0 w 10"/>
                  <a:gd name="T19" fmla="*/ 2 h 14"/>
                  <a:gd name="T20" fmla="*/ 0 w 10"/>
                  <a:gd name="T21" fmla="*/ 2 h 14"/>
                  <a:gd name="T22" fmla="*/ 0 w 10"/>
                  <a:gd name="T23" fmla="*/ 5 h 14"/>
                  <a:gd name="T24" fmla="*/ 0 w 10"/>
                  <a:gd name="T25" fmla="*/ 7 h 14"/>
                  <a:gd name="T26" fmla="*/ 3 w 10"/>
                  <a:gd name="T27" fmla="*/ 12 h 14"/>
                  <a:gd name="T28" fmla="*/ 5 w 10"/>
                  <a:gd name="T29" fmla="*/ 12 h 14"/>
                  <a:gd name="T30" fmla="*/ 5 w 10"/>
                  <a:gd name="T31" fmla="*/ 12 h 14"/>
                  <a:gd name="T32" fmla="*/ 5 w 10"/>
                  <a:gd name="T33" fmla="*/ 12 h 14"/>
                  <a:gd name="T34" fmla="*/ 5 w 10"/>
                  <a:gd name="T35" fmla="*/ 14 h 14"/>
                  <a:gd name="T36" fmla="*/ 5 w 10"/>
                  <a:gd name="T37" fmla="*/ 12 h 14"/>
                  <a:gd name="T38" fmla="*/ 7 w 10"/>
                  <a:gd name="T39" fmla="*/ 12 h 14"/>
                  <a:gd name="T40" fmla="*/ 7 w 10"/>
                  <a:gd name="T41" fmla="*/ 9 h 14"/>
                  <a:gd name="T42" fmla="*/ 7 w 10"/>
                  <a:gd name="T43" fmla="*/ 7 h 14"/>
                  <a:gd name="T44" fmla="*/ 7 w 10"/>
                  <a:gd name="T45" fmla="*/ 5 h 14"/>
                  <a:gd name="T46" fmla="*/ 7 w 10"/>
                  <a:gd name="T47" fmla="*/ 5 h 14"/>
                  <a:gd name="T48" fmla="*/ 7 w 10"/>
                  <a:gd name="T49" fmla="*/ 5 h 14"/>
                  <a:gd name="T50" fmla="*/ 10 w 10"/>
                  <a:gd name="T51" fmla="*/ 2 h 14"/>
                  <a:gd name="T52" fmla="*/ 10 w 10"/>
                  <a:gd name="T53" fmla="*/ 2 h 14"/>
                  <a:gd name="T54" fmla="*/ 10 w 10"/>
                  <a:gd name="T5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 h="14">
                    <a:moveTo>
                      <a:pt x="10" y="2"/>
                    </a:moveTo>
                    <a:lnTo>
                      <a:pt x="7" y="2"/>
                    </a:lnTo>
                    <a:lnTo>
                      <a:pt x="7" y="2"/>
                    </a:lnTo>
                    <a:lnTo>
                      <a:pt x="7" y="2"/>
                    </a:lnTo>
                    <a:lnTo>
                      <a:pt x="7" y="0"/>
                    </a:lnTo>
                    <a:lnTo>
                      <a:pt x="5" y="0"/>
                    </a:lnTo>
                    <a:lnTo>
                      <a:pt x="3" y="0"/>
                    </a:lnTo>
                    <a:lnTo>
                      <a:pt x="0" y="0"/>
                    </a:lnTo>
                    <a:lnTo>
                      <a:pt x="0" y="0"/>
                    </a:lnTo>
                    <a:lnTo>
                      <a:pt x="0" y="2"/>
                    </a:lnTo>
                    <a:lnTo>
                      <a:pt x="0" y="2"/>
                    </a:lnTo>
                    <a:lnTo>
                      <a:pt x="0" y="5"/>
                    </a:lnTo>
                    <a:lnTo>
                      <a:pt x="0" y="7"/>
                    </a:lnTo>
                    <a:lnTo>
                      <a:pt x="3" y="12"/>
                    </a:lnTo>
                    <a:lnTo>
                      <a:pt x="5" y="12"/>
                    </a:lnTo>
                    <a:lnTo>
                      <a:pt x="5" y="12"/>
                    </a:lnTo>
                    <a:lnTo>
                      <a:pt x="5" y="12"/>
                    </a:lnTo>
                    <a:lnTo>
                      <a:pt x="5" y="14"/>
                    </a:lnTo>
                    <a:lnTo>
                      <a:pt x="5" y="12"/>
                    </a:lnTo>
                    <a:lnTo>
                      <a:pt x="7" y="12"/>
                    </a:lnTo>
                    <a:lnTo>
                      <a:pt x="7" y="9"/>
                    </a:lnTo>
                    <a:lnTo>
                      <a:pt x="7" y="7"/>
                    </a:lnTo>
                    <a:lnTo>
                      <a:pt x="7" y="5"/>
                    </a:lnTo>
                    <a:lnTo>
                      <a:pt x="7" y="5"/>
                    </a:lnTo>
                    <a:lnTo>
                      <a:pt x="7" y="5"/>
                    </a:lnTo>
                    <a:lnTo>
                      <a:pt x="10" y="2"/>
                    </a:lnTo>
                    <a:lnTo>
                      <a:pt x="10" y="2"/>
                    </a:lnTo>
                    <a:lnTo>
                      <a:pt x="1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92" name="Freeform 28">
                <a:extLst>
                  <a:ext uri="{FF2B5EF4-FFF2-40B4-BE49-F238E27FC236}">
                    <a16:creationId xmlns:a16="http://schemas.microsoft.com/office/drawing/2014/main" id="{13045871-C97D-4B75-8CF5-9E3BFE353CB2}"/>
                  </a:ext>
                </a:extLst>
              </p:cNvPr>
              <p:cNvSpPr>
                <a:spLocks/>
              </p:cNvSpPr>
              <p:nvPr/>
            </p:nvSpPr>
            <p:spPr bwMode="gray">
              <a:xfrm>
                <a:off x="-2147" y="2506"/>
                <a:ext cx="118" cy="219"/>
              </a:xfrm>
              <a:custGeom>
                <a:avLst/>
                <a:gdLst>
                  <a:gd name="T0" fmla="*/ 111 w 118"/>
                  <a:gd name="T1" fmla="*/ 54 h 219"/>
                  <a:gd name="T2" fmla="*/ 109 w 118"/>
                  <a:gd name="T3" fmla="*/ 42 h 219"/>
                  <a:gd name="T4" fmla="*/ 106 w 118"/>
                  <a:gd name="T5" fmla="*/ 38 h 219"/>
                  <a:gd name="T6" fmla="*/ 104 w 118"/>
                  <a:gd name="T7" fmla="*/ 33 h 219"/>
                  <a:gd name="T8" fmla="*/ 97 w 118"/>
                  <a:gd name="T9" fmla="*/ 31 h 219"/>
                  <a:gd name="T10" fmla="*/ 99 w 118"/>
                  <a:gd name="T11" fmla="*/ 28 h 219"/>
                  <a:gd name="T12" fmla="*/ 104 w 118"/>
                  <a:gd name="T13" fmla="*/ 24 h 219"/>
                  <a:gd name="T14" fmla="*/ 99 w 118"/>
                  <a:gd name="T15" fmla="*/ 21 h 219"/>
                  <a:gd name="T16" fmla="*/ 97 w 118"/>
                  <a:gd name="T17" fmla="*/ 16 h 219"/>
                  <a:gd name="T18" fmla="*/ 99 w 118"/>
                  <a:gd name="T19" fmla="*/ 12 h 219"/>
                  <a:gd name="T20" fmla="*/ 95 w 118"/>
                  <a:gd name="T21" fmla="*/ 12 h 219"/>
                  <a:gd name="T22" fmla="*/ 92 w 118"/>
                  <a:gd name="T23" fmla="*/ 14 h 219"/>
                  <a:gd name="T24" fmla="*/ 90 w 118"/>
                  <a:gd name="T25" fmla="*/ 9 h 219"/>
                  <a:gd name="T26" fmla="*/ 85 w 118"/>
                  <a:gd name="T27" fmla="*/ 5 h 219"/>
                  <a:gd name="T28" fmla="*/ 80 w 118"/>
                  <a:gd name="T29" fmla="*/ 5 h 219"/>
                  <a:gd name="T30" fmla="*/ 78 w 118"/>
                  <a:gd name="T31" fmla="*/ 0 h 219"/>
                  <a:gd name="T32" fmla="*/ 71 w 118"/>
                  <a:gd name="T33" fmla="*/ 7 h 219"/>
                  <a:gd name="T34" fmla="*/ 57 w 118"/>
                  <a:gd name="T35" fmla="*/ 16 h 219"/>
                  <a:gd name="T36" fmla="*/ 52 w 118"/>
                  <a:gd name="T37" fmla="*/ 21 h 219"/>
                  <a:gd name="T38" fmla="*/ 33 w 118"/>
                  <a:gd name="T39" fmla="*/ 35 h 219"/>
                  <a:gd name="T40" fmla="*/ 5 w 118"/>
                  <a:gd name="T41" fmla="*/ 33 h 219"/>
                  <a:gd name="T42" fmla="*/ 5 w 118"/>
                  <a:gd name="T43" fmla="*/ 26 h 219"/>
                  <a:gd name="T44" fmla="*/ 0 w 118"/>
                  <a:gd name="T45" fmla="*/ 49 h 219"/>
                  <a:gd name="T46" fmla="*/ 3 w 118"/>
                  <a:gd name="T47" fmla="*/ 54 h 219"/>
                  <a:gd name="T48" fmla="*/ 3 w 118"/>
                  <a:gd name="T49" fmla="*/ 61 h 219"/>
                  <a:gd name="T50" fmla="*/ 12 w 118"/>
                  <a:gd name="T51" fmla="*/ 64 h 219"/>
                  <a:gd name="T52" fmla="*/ 17 w 118"/>
                  <a:gd name="T53" fmla="*/ 82 h 219"/>
                  <a:gd name="T54" fmla="*/ 21 w 118"/>
                  <a:gd name="T55" fmla="*/ 101 h 219"/>
                  <a:gd name="T56" fmla="*/ 21 w 118"/>
                  <a:gd name="T57" fmla="*/ 111 h 219"/>
                  <a:gd name="T58" fmla="*/ 17 w 118"/>
                  <a:gd name="T59" fmla="*/ 118 h 219"/>
                  <a:gd name="T60" fmla="*/ 19 w 118"/>
                  <a:gd name="T61" fmla="*/ 127 h 219"/>
                  <a:gd name="T62" fmla="*/ 21 w 118"/>
                  <a:gd name="T63" fmla="*/ 125 h 219"/>
                  <a:gd name="T64" fmla="*/ 29 w 118"/>
                  <a:gd name="T65" fmla="*/ 130 h 219"/>
                  <a:gd name="T66" fmla="*/ 29 w 118"/>
                  <a:gd name="T67" fmla="*/ 137 h 219"/>
                  <a:gd name="T68" fmla="*/ 26 w 118"/>
                  <a:gd name="T69" fmla="*/ 144 h 219"/>
                  <a:gd name="T70" fmla="*/ 21 w 118"/>
                  <a:gd name="T71" fmla="*/ 144 h 219"/>
                  <a:gd name="T72" fmla="*/ 17 w 118"/>
                  <a:gd name="T73" fmla="*/ 163 h 219"/>
                  <a:gd name="T74" fmla="*/ 17 w 118"/>
                  <a:gd name="T75" fmla="*/ 174 h 219"/>
                  <a:gd name="T76" fmla="*/ 17 w 118"/>
                  <a:gd name="T77" fmla="*/ 188 h 219"/>
                  <a:gd name="T78" fmla="*/ 19 w 118"/>
                  <a:gd name="T79" fmla="*/ 191 h 219"/>
                  <a:gd name="T80" fmla="*/ 24 w 118"/>
                  <a:gd name="T81" fmla="*/ 200 h 219"/>
                  <a:gd name="T82" fmla="*/ 31 w 118"/>
                  <a:gd name="T83" fmla="*/ 207 h 219"/>
                  <a:gd name="T84" fmla="*/ 36 w 118"/>
                  <a:gd name="T85" fmla="*/ 217 h 219"/>
                  <a:gd name="T86" fmla="*/ 43 w 118"/>
                  <a:gd name="T87" fmla="*/ 214 h 219"/>
                  <a:gd name="T88" fmla="*/ 52 w 118"/>
                  <a:gd name="T89" fmla="*/ 217 h 219"/>
                  <a:gd name="T90" fmla="*/ 62 w 118"/>
                  <a:gd name="T91" fmla="*/ 205 h 219"/>
                  <a:gd name="T92" fmla="*/ 62 w 118"/>
                  <a:gd name="T93" fmla="*/ 193 h 219"/>
                  <a:gd name="T94" fmla="*/ 62 w 118"/>
                  <a:gd name="T95" fmla="*/ 186 h 219"/>
                  <a:gd name="T96" fmla="*/ 64 w 118"/>
                  <a:gd name="T97" fmla="*/ 184 h 219"/>
                  <a:gd name="T98" fmla="*/ 76 w 118"/>
                  <a:gd name="T99" fmla="*/ 186 h 219"/>
                  <a:gd name="T100" fmla="*/ 85 w 118"/>
                  <a:gd name="T101" fmla="*/ 191 h 219"/>
                  <a:gd name="T102" fmla="*/ 92 w 118"/>
                  <a:gd name="T103" fmla="*/ 196 h 219"/>
                  <a:gd name="T104" fmla="*/ 97 w 118"/>
                  <a:gd name="T105" fmla="*/ 196 h 219"/>
                  <a:gd name="T106" fmla="*/ 99 w 118"/>
                  <a:gd name="T107" fmla="*/ 188 h 219"/>
                  <a:gd name="T108" fmla="*/ 102 w 118"/>
                  <a:gd name="T109" fmla="*/ 174 h 219"/>
                  <a:gd name="T110" fmla="*/ 106 w 118"/>
                  <a:gd name="T111" fmla="*/ 146 h 219"/>
                  <a:gd name="T112" fmla="*/ 106 w 118"/>
                  <a:gd name="T113" fmla="*/ 134 h 219"/>
                  <a:gd name="T114" fmla="*/ 109 w 118"/>
                  <a:gd name="T115" fmla="*/ 127 h 219"/>
                  <a:gd name="T116" fmla="*/ 111 w 118"/>
                  <a:gd name="T117" fmla="*/ 123 h 219"/>
                  <a:gd name="T118" fmla="*/ 109 w 118"/>
                  <a:gd name="T119" fmla="*/ 106 h 219"/>
                  <a:gd name="T120" fmla="*/ 104 w 118"/>
                  <a:gd name="T121" fmla="*/ 90 h 219"/>
                  <a:gd name="T122" fmla="*/ 116 w 118"/>
                  <a:gd name="T123" fmla="*/ 7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 h="219">
                    <a:moveTo>
                      <a:pt x="116" y="66"/>
                    </a:moveTo>
                    <a:lnTo>
                      <a:pt x="116" y="64"/>
                    </a:lnTo>
                    <a:lnTo>
                      <a:pt x="116" y="64"/>
                    </a:lnTo>
                    <a:lnTo>
                      <a:pt x="113" y="64"/>
                    </a:lnTo>
                    <a:lnTo>
                      <a:pt x="113" y="64"/>
                    </a:lnTo>
                    <a:lnTo>
                      <a:pt x="113" y="61"/>
                    </a:lnTo>
                    <a:lnTo>
                      <a:pt x="113" y="61"/>
                    </a:lnTo>
                    <a:lnTo>
                      <a:pt x="113" y="61"/>
                    </a:lnTo>
                    <a:lnTo>
                      <a:pt x="111" y="54"/>
                    </a:lnTo>
                    <a:lnTo>
                      <a:pt x="111" y="54"/>
                    </a:lnTo>
                    <a:lnTo>
                      <a:pt x="111" y="49"/>
                    </a:lnTo>
                    <a:lnTo>
                      <a:pt x="109" y="47"/>
                    </a:lnTo>
                    <a:lnTo>
                      <a:pt x="109" y="47"/>
                    </a:lnTo>
                    <a:lnTo>
                      <a:pt x="106" y="45"/>
                    </a:lnTo>
                    <a:lnTo>
                      <a:pt x="106" y="42"/>
                    </a:lnTo>
                    <a:lnTo>
                      <a:pt x="106" y="42"/>
                    </a:lnTo>
                    <a:lnTo>
                      <a:pt x="106" y="42"/>
                    </a:lnTo>
                    <a:lnTo>
                      <a:pt x="109" y="42"/>
                    </a:lnTo>
                    <a:lnTo>
                      <a:pt x="109" y="40"/>
                    </a:lnTo>
                    <a:lnTo>
                      <a:pt x="106" y="40"/>
                    </a:lnTo>
                    <a:lnTo>
                      <a:pt x="109" y="40"/>
                    </a:lnTo>
                    <a:lnTo>
                      <a:pt x="111" y="38"/>
                    </a:lnTo>
                    <a:lnTo>
                      <a:pt x="109" y="38"/>
                    </a:lnTo>
                    <a:lnTo>
                      <a:pt x="109" y="38"/>
                    </a:lnTo>
                    <a:lnTo>
                      <a:pt x="109" y="38"/>
                    </a:lnTo>
                    <a:lnTo>
                      <a:pt x="109" y="38"/>
                    </a:lnTo>
                    <a:lnTo>
                      <a:pt x="106" y="38"/>
                    </a:lnTo>
                    <a:lnTo>
                      <a:pt x="106" y="38"/>
                    </a:lnTo>
                    <a:lnTo>
                      <a:pt x="106" y="38"/>
                    </a:lnTo>
                    <a:lnTo>
                      <a:pt x="106" y="35"/>
                    </a:lnTo>
                    <a:lnTo>
                      <a:pt x="104" y="35"/>
                    </a:lnTo>
                    <a:lnTo>
                      <a:pt x="104" y="33"/>
                    </a:lnTo>
                    <a:lnTo>
                      <a:pt x="104" y="33"/>
                    </a:lnTo>
                    <a:lnTo>
                      <a:pt x="104" y="33"/>
                    </a:lnTo>
                    <a:lnTo>
                      <a:pt x="104" y="33"/>
                    </a:lnTo>
                    <a:lnTo>
                      <a:pt x="104" y="33"/>
                    </a:lnTo>
                    <a:lnTo>
                      <a:pt x="104" y="31"/>
                    </a:lnTo>
                    <a:lnTo>
                      <a:pt x="104" y="31"/>
                    </a:lnTo>
                    <a:lnTo>
                      <a:pt x="102" y="31"/>
                    </a:lnTo>
                    <a:lnTo>
                      <a:pt x="102" y="33"/>
                    </a:lnTo>
                    <a:lnTo>
                      <a:pt x="99" y="33"/>
                    </a:lnTo>
                    <a:lnTo>
                      <a:pt x="99" y="33"/>
                    </a:lnTo>
                    <a:lnTo>
                      <a:pt x="99" y="31"/>
                    </a:lnTo>
                    <a:lnTo>
                      <a:pt x="97" y="31"/>
                    </a:lnTo>
                    <a:lnTo>
                      <a:pt x="97" y="31"/>
                    </a:lnTo>
                    <a:lnTo>
                      <a:pt x="97" y="33"/>
                    </a:lnTo>
                    <a:lnTo>
                      <a:pt x="97" y="33"/>
                    </a:lnTo>
                    <a:lnTo>
                      <a:pt x="95" y="31"/>
                    </a:lnTo>
                    <a:lnTo>
                      <a:pt x="97" y="31"/>
                    </a:lnTo>
                    <a:lnTo>
                      <a:pt x="95" y="31"/>
                    </a:lnTo>
                    <a:lnTo>
                      <a:pt x="97" y="31"/>
                    </a:lnTo>
                    <a:lnTo>
                      <a:pt x="99" y="31"/>
                    </a:lnTo>
                    <a:lnTo>
                      <a:pt x="99" y="31"/>
                    </a:lnTo>
                    <a:lnTo>
                      <a:pt x="99" y="28"/>
                    </a:lnTo>
                    <a:lnTo>
                      <a:pt x="99" y="28"/>
                    </a:lnTo>
                    <a:lnTo>
                      <a:pt x="102" y="26"/>
                    </a:lnTo>
                    <a:lnTo>
                      <a:pt x="102" y="24"/>
                    </a:lnTo>
                    <a:lnTo>
                      <a:pt x="102" y="24"/>
                    </a:lnTo>
                    <a:lnTo>
                      <a:pt x="104" y="24"/>
                    </a:lnTo>
                    <a:lnTo>
                      <a:pt x="104" y="24"/>
                    </a:lnTo>
                    <a:lnTo>
                      <a:pt x="106" y="26"/>
                    </a:lnTo>
                    <a:lnTo>
                      <a:pt x="106" y="24"/>
                    </a:lnTo>
                    <a:lnTo>
                      <a:pt x="104" y="24"/>
                    </a:lnTo>
                    <a:lnTo>
                      <a:pt x="104" y="21"/>
                    </a:lnTo>
                    <a:lnTo>
                      <a:pt x="102" y="21"/>
                    </a:lnTo>
                    <a:lnTo>
                      <a:pt x="99" y="24"/>
                    </a:lnTo>
                    <a:lnTo>
                      <a:pt x="99" y="24"/>
                    </a:lnTo>
                    <a:lnTo>
                      <a:pt x="99" y="21"/>
                    </a:lnTo>
                    <a:lnTo>
                      <a:pt x="99" y="24"/>
                    </a:lnTo>
                    <a:lnTo>
                      <a:pt x="99" y="24"/>
                    </a:lnTo>
                    <a:lnTo>
                      <a:pt x="99" y="24"/>
                    </a:lnTo>
                    <a:lnTo>
                      <a:pt x="99" y="21"/>
                    </a:lnTo>
                    <a:lnTo>
                      <a:pt x="99" y="21"/>
                    </a:lnTo>
                    <a:lnTo>
                      <a:pt x="97" y="21"/>
                    </a:lnTo>
                    <a:lnTo>
                      <a:pt x="97" y="21"/>
                    </a:lnTo>
                    <a:lnTo>
                      <a:pt x="97" y="21"/>
                    </a:lnTo>
                    <a:lnTo>
                      <a:pt x="97" y="21"/>
                    </a:lnTo>
                    <a:lnTo>
                      <a:pt x="97" y="21"/>
                    </a:lnTo>
                    <a:lnTo>
                      <a:pt x="97" y="14"/>
                    </a:lnTo>
                    <a:lnTo>
                      <a:pt x="97" y="16"/>
                    </a:lnTo>
                    <a:lnTo>
                      <a:pt x="97" y="16"/>
                    </a:lnTo>
                    <a:lnTo>
                      <a:pt x="97" y="16"/>
                    </a:lnTo>
                    <a:lnTo>
                      <a:pt x="99" y="16"/>
                    </a:lnTo>
                    <a:lnTo>
                      <a:pt x="99" y="14"/>
                    </a:lnTo>
                    <a:lnTo>
                      <a:pt x="99" y="14"/>
                    </a:lnTo>
                    <a:lnTo>
                      <a:pt x="99" y="14"/>
                    </a:lnTo>
                    <a:lnTo>
                      <a:pt x="99" y="12"/>
                    </a:lnTo>
                    <a:lnTo>
                      <a:pt x="99" y="12"/>
                    </a:lnTo>
                    <a:lnTo>
                      <a:pt x="99" y="12"/>
                    </a:lnTo>
                    <a:lnTo>
                      <a:pt x="99" y="12"/>
                    </a:lnTo>
                    <a:lnTo>
                      <a:pt x="97" y="14"/>
                    </a:lnTo>
                    <a:lnTo>
                      <a:pt x="97" y="12"/>
                    </a:lnTo>
                    <a:lnTo>
                      <a:pt x="97" y="12"/>
                    </a:lnTo>
                    <a:lnTo>
                      <a:pt x="97" y="12"/>
                    </a:lnTo>
                    <a:lnTo>
                      <a:pt x="97" y="12"/>
                    </a:lnTo>
                    <a:lnTo>
                      <a:pt x="97" y="9"/>
                    </a:lnTo>
                    <a:lnTo>
                      <a:pt x="97" y="9"/>
                    </a:lnTo>
                    <a:lnTo>
                      <a:pt x="97" y="12"/>
                    </a:lnTo>
                    <a:lnTo>
                      <a:pt x="95" y="12"/>
                    </a:lnTo>
                    <a:lnTo>
                      <a:pt x="95" y="12"/>
                    </a:lnTo>
                    <a:lnTo>
                      <a:pt x="95" y="9"/>
                    </a:lnTo>
                    <a:lnTo>
                      <a:pt x="92" y="9"/>
                    </a:lnTo>
                    <a:lnTo>
                      <a:pt x="92" y="12"/>
                    </a:lnTo>
                    <a:lnTo>
                      <a:pt x="92" y="12"/>
                    </a:lnTo>
                    <a:lnTo>
                      <a:pt x="92" y="12"/>
                    </a:lnTo>
                    <a:lnTo>
                      <a:pt x="92" y="12"/>
                    </a:lnTo>
                    <a:lnTo>
                      <a:pt x="92" y="14"/>
                    </a:lnTo>
                    <a:lnTo>
                      <a:pt x="92" y="14"/>
                    </a:lnTo>
                    <a:lnTo>
                      <a:pt x="90" y="14"/>
                    </a:lnTo>
                    <a:lnTo>
                      <a:pt x="90" y="14"/>
                    </a:lnTo>
                    <a:lnTo>
                      <a:pt x="90" y="12"/>
                    </a:lnTo>
                    <a:lnTo>
                      <a:pt x="90" y="12"/>
                    </a:lnTo>
                    <a:lnTo>
                      <a:pt x="90" y="12"/>
                    </a:lnTo>
                    <a:lnTo>
                      <a:pt x="90" y="9"/>
                    </a:lnTo>
                    <a:lnTo>
                      <a:pt x="90" y="9"/>
                    </a:lnTo>
                    <a:lnTo>
                      <a:pt x="88" y="9"/>
                    </a:lnTo>
                    <a:lnTo>
                      <a:pt x="90" y="9"/>
                    </a:lnTo>
                    <a:lnTo>
                      <a:pt x="90" y="7"/>
                    </a:lnTo>
                    <a:lnTo>
                      <a:pt x="90" y="7"/>
                    </a:lnTo>
                    <a:lnTo>
                      <a:pt x="90" y="7"/>
                    </a:lnTo>
                    <a:lnTo>
                      <a:pt x="90" y="7"/>
                    </a:lnTo>
                    <a:lnTo>
                      <a:pt x="88" y="7"/>
                    </a:lnTo>
                    <a:lnTo>
                      <a:pt x="88" y="7"/>
                    </a:lnTo>
                    <a:lnTo>
                      <a:pt x="88" y="7"/>
                    </a:lnTo>
                    <a:lnTo>
                      <a:pt x="88" y="7"/>
                    </a:lnTo>
                    <a:lnTo>
                      <a:pt x="85" y="5"/>
                    </a:lnTo>
                    <a:lnTo>
                      <a:pt x="83" y="5"/>
                    </a:lnTo>
                    <a:lnTo>
                      <a:pt x="83" y="7"/>
                    </a:lnTo>
                    <a:lnTo>
                      <a:pt x="83" y="7"/>
                    </a:lnTo>
                    <a:lnTo>
                      <a:pt x="83" y="5"/>
                    </a:lnTo>
                    <a:lnTo>
                      <a:pt x="80" y="5"/>
                    </a:lnTo>
                    <a:lnTo>
                      <a:pt x="80" y="7"/>
                    </a:lnTo>
                    <a:lnTo>
                      <a:pt x="80" y="7"/>
                    </a:lnTo>
                    <a:lnTo>
                      <a:pt x="80" y="5"/>
                    </a:lnTo>
                    <a:lnTo>
                      <a:pt x="80" y="5"/>
                    </a:lnTo>
                    <a:lnTo>
                      <a:pt x="80" y="2"/>
                    </a:lnTo>
                    <a:lnTo>
                      <a:pt x="78" y="2"/>
                    </a:lnTo>
                    <a:lnTo>
                      <a:pt x="78" y="5"/>
                    </a:lnTo>
                    <a:lnTo>
                      <a:pt x="78" y="5"/>
                    </a:lnTo>
                    <a:lnTo>
                      <a:pt x="78" y="5"/>
                    </a:lnTo>
                    <a:lnTo>
                      <a:pt x="78" y="7"/>
                    </a:lnTo>
                    <a:lnTo>
                      <a:pt x="78" y="5"/>
                    </a:lnTo>
                    <a:lnTo>
                      <a:pt x="78" y="2"/>
                    </a:lnTo>
                    <a:lnTo>
                      <a:pt x="78" y="0"/>
                    </a:lnTo>
                    <a:lnTo>
                      <a:pt x="78" y="0"/>
                    </a:lnTo>
                    <a:lnTo>
                      <a:pt x="76" y="0"/>
                    </a:lnTo>
                    <a:lnTo>
                      <a:pt x="76" y="0"/>
                    </a:lnTo>
                    <a:lnTo>
                      <a:pt x="76" y="0"/>
                    </a:lnTo>
                    <a:lnTo>
                      <a:pt x="76" y="0"/>
                    </a:lnTo>
                    <a:lnTo>
                      <a:pt x="73" y="0"/>
                    </a:lnTo>
                    <a:lnTo>
                      <a:pt x="71" y="2"/>
                    </a:lnTo>
                    <a:lnTo>
                      <a:pt x="71" y="2"/>
                    </a:lnTo>
                    <a:lnTo>
                      <a:pt x="71" y="7"/>
                    </a:lnTo>
                    <a:lnTo>
                      <a:pt x="71" y="7"/>
                    </a:lnTo>
                    <a:lnTo>
                      <a:pt x="71" y="9"/>
                    </a:lnTo>
                    <a:lnTo>
                      <a:pt x="69" y="9"/>
                    </a:lnTo>
                    <a:lnTo>
                      <a:pt x="66" y="12"/>
                    </a:lnTo>
                    <a:lnTo>
                      <a:pt x="66" y="12"/>
                    </a:lnTo>
                    <a:lnTo>
                      <a:pt x="62" y="12"/>
                    </a:lnTo>
                    <a:lnTo>
                      <a:pt x="59" y="12"/>
                    </a:lnTo>
                    <a:lnTo>
                      <a:pt x="59" y="14"/>
                    </a:lnTo>
                    <a:lnTo>
                      <a:pt x="57" y="16"/>
                    </a:lnTo>
                    <a:lnTo>
                      <a:pt x="57" y="16"/>
                    </a:lnTo>
                    <a:lnTo>
                      <a:pt x="57" y="19"/>
                    </a:lnTo>
                    <a:lnTo>
                      <a:pt x="57" y="19"/>
                    </a:lnTo>
                    <a:lnTo>
                      <a:pt x="54" y="19"/>
                    </a:lnTo>
                    <a:lnTo>
                      <a:pt x="54" y="21"/>
                    </a:lnTo>
                    <a:lnTo>
                      <a:pt x="54" y="21"/>
                    </a:lnTo>
                    <a:lnTo>
                      <a:pt x="52" y="21"/>
                    </a:lnTo>
                    <a:lnTo>
                      <a:pt x="52" y="21"/>
                    </a:lnTo>
                    <a:lnTo>
                      <a:pt x="52" y="21"/>
                    </a:lnTo>
                    <a:lnTo>
                      <a:pt x="50" y="24"/>
                    </a:lnTo>
                    <a:lnTo>
                      <a:pt x="50" y="28"/>
                    </a:lnTo>
                    <a:lnTo>
                      <a:pt x="47" y="28"/>
                    </a:lnTo>
                    <a:lnTo>
                      <a:pt x="43" y="33"/>
                    </a:lnTo>
                    <a:lnTo>
                      <a:pt x="43" y="31"/>
                    </a:lnTo>
                    <a:lnTo>
                      <a:pt x="40" y="31"/>
                    </a:lnTo>
                    <a:lnTo>
                      <a:pt x="40" y="31"/>
                    </a:lnTo>
                    <a:lnTo>
                      <a:pt x="36" y="33"/>
                    </a:lnTo>
                    <a:lnTo>
                      <a:pt x="33" y="35"/>
                    </a:lnTo>
                    <a:lnTo>
                      <a:pt x="33" y="38"/>
                    </a:lnTo>
                    <a:lnTo>
                      <a:pt x="31" y="38"/>
                    </a:lnTo>
                    <a:lnTo>
                      <a:pt x="26" y="40"/>
                    </a:lnTo>
                    <a:lnTo>
                      <a:pt x="24" y="40"/>
                    </a:lnTo>
                    <a:lnTo>
                      <a:pt x="24" y="40"/>
                    </a:lnTo>
                    <a:lnTo>
                      <a:pt x="19" y="40"/>
                    </a:lnTo>
                    <a:lnTo>
                      <a:pt x="12" y="38"/>
                    </a:lnTo>
                    <a:lnTo>
                      <a:pt x="10" y="38"/>
                    </a:lnTo>
                    <a:lnTo>
                      <a:pt x="5" y="33"/>
                    </a:lnTo>
                    <a:lnTo>
                      <a:pt x="5" y="31"/>
                    </a:lnTo>
                    <a:lnTo>
                      <a:pt x="5" y="31"/>
                    </a:lnTo>
                    <a:lnTo>
                      <a:pt x="7" y="28"/>
                    </a:lnTo>
                    <a:lnTo>
                      <a:pt x="7" y="28"/>
                    </a:lnTo>
                    <a:lnTo>
                      <a:pt x="5" y="28"/>
                    </a:lnTo>
                    <a:lnTo>
                      <a:pt x="5" y="28"/>
                    </a:lnTo>
                    <a:lnTo>
                      <a:pt x="5" y="28"/>
                    </a:lnTo>
                    <a:lnTo>
                      <a:pt x="5" y="26"/>
                    </a:lnTo>
                    <a:lnTo>
                      <a:pt x="5" y="26"/>
                    </a:lnTo>
                    <a:lnTo>
                      <a:pt x="3" y="28"/>
                    </a:lnTo>
                    <a:lnTo>
                      <a:pt x="3" y="28"/>
                    </a:lnTo>
                    <a:lnTo>
                      <a:pt x="3" y="31"/>
                    </a:lnTo>
                    <a:lnTo>
                      <a:pt x="3" y="31"/>
                    </a:lnTo>
                    <a:lnTo>
                      <a:pt x="5" y="33"/>
                    </a:lnTo>
                    <a:lnTo>
                      <a:pt x="5" y="33"/>
                    </a:lnTo>
                    <a:lnTo>
                      <a:pt x="5" y="35"/>
                    </a:lnTo>
                    <a:lnTo>
                      <a:pt x="5" y="38"/>
                    </a:lnTo>
                    <a:lnTo>
                      <a:pt x="0" y="49"/>
                    </a:lnTo>
                    <a:lnTo>
                      <a:pt x="0" y="49"/>
                    </a:lnTo>
                    <a:lnTo>
                      <a:pt x="0" y="49"/>
                    </a:lnTo>
                    <a:lnTo>
                      <a:pt x="3" y="52"/>
                    </a:lnTo>
                    <a:lnTo>
                      <a:pt x="3" y="52"/>
                    </a:lnTo>
                    <a:lnTo>
                      <a:pt x="3" y="52"/>
                    </a:lnTo>
                    <a:lnTo>
                      <a:pt x="3" y="52"/>
                    </a:lnTo>
                    <a:lnTo>
                      <a:pt x="5" y="52"/>
                    </a:lnTo>
                    <a:lnTo>
                      <a:pt x="5" y="54"/>
                    </a:lnTo>
                    <a:lnTo>
                      <a:pt x="3" y="54"/>
                    </a:lnTo>
                    <a:lnTo>
                      <a:pt x="3" y="57"/>
                    </a:lnTo>
                    <a:lnTo>
                      <a:pt x="3" y="57"/>
                    </a:lnTo>
                    <a:lnTo>
                      <a:pt x="0" y="59"/>
                    </a:lnTo>
                    <a:lnTo>
                      <a:pt x="0" y="59"/>
                    </a:lnTo>
                    <a:lnTo>
                      <a:pt x="0" y="59"/>
                    </a:lnTo>
                    <a:lnTo>
                      <a:pt x="0" y="61"/>
                    </a:lnTo>
                    <a:lnTo>
                      <a:pt x="0" y="64"/>
                    </a:lnTo>
                    <a:lnTo>
                      <a:pt x="0" y="64"/>
                    </a:lnTo>
                    <a:lnTo>
                      <a:pt x="3" y="61"/>
                    </a:lnTo>
                    <a:lnTo>
                      <a:pt x="3" y="61"/>
                    </a:lnTo>
                    <a:lnTo>
                      <a:pt x="3" y="59"/>
                    </a:lnTo>
                    <a:lnTo>
                      <a:pt x="5" y="61"/>
                    </a:lnTo>
                    <a:lnTo>
                      <a:pt x="5" y="61"/>
                    </a:lnTo>
                    <a:lnTo>
                      <a:pt x="5" y="64"/>
                    </a:lnTo>
                    <a:lnTo>
                      <a:pt x="5" y="64"/>
                    </a:lnTo>
                    <a:lnTo>
                      <a:pt x="10" y="61"/>
                    </a:lnTo>
                    <a:lnTo>
                      <a:pt x="10" y="61"/>
                    </a:lnTo>
                    <a:lnTo>
                      <a:pt x="12" y="64"/>
                    </a:lnTo>
                    <a:lnTo>
                      <a:pt x="12" y="66"/>
                    </a:lnTo>
                    <a:lnTo>
                      <a:pt x="12" y="68"/>
                    </a:lnTo>
                    <a:lnTo>
                      <a:pt x="12" y="68"/>
                    </a:lnTo>
                    <a:lnTo>
                      <a:pt x="14" y="71"/>
                    </a:lnTo>
                    <a:lnTo>
                      <a:pt x="17" y="71"/>
                    </a:lnTo>
                    <a:lnTo>
                      <a:pt x="17" y="73"/>
                    </a:lnTo>
                    <a:lnTo>
                      <a:pt x="17" y="75"/>
                    </a:lnTo>
                    <a:lnTo>
                      <a:pt x="17" y="78"/>
                    </a:lnTo>
                    <a:lnTo>
                      <a:pt x="17" y="82"/>
                    </a:lnTo>
                    <a:lnTo>
                      <a:pt x="17" y="85"/>
                    </a:lnTo>
                    <a:lnTo>
                      <a:pt x="19" y="85"/>
                    </a:lnTo>
                    <a:lnTo>
                      <a:pt x="19" y="85"/>
                    </a:lnTo>
                    <a:lnTo>
                      <a:pt x="21" y="85"/>
                    </a:lnTo>
                    <a:lnTo>
                      <a:pt x="21" y="87"/>
                    </a:lnTo>
                    <a:lnTo>
                      <a:pt x="24" y="90"/>
                    </a:lnTo>
                    <a:lnTo>
                      <a:pt x="24" y="92"/>
                    </a:lnTo>
                    <a:lnTo>
                      <a:pt x="21" y="97"/>
                    </a:lnTo>
                    <a:lnTo>
                      <a:pt x="21" y="101"/>
                    </a:lnTo>
                    <a:lnTo>
                      <a:pt x="24" y="104"/>
                    </a:lnTo>
                    <a:lnTo>
                      <a:pt x="24" y="106"/>
                    </a:lnTo>
                    <a:lnTo>
                      <a:pt x="24" y="106"/>
                    </a:lnTo>
                    <a:lnTo>
                      <a:pt x="24" y="108"/>
                    </a:lnTo>
                    <a:lnTo>
                      <a:pt x="24" y="108"/>
                    </a:lnTo>
                    <a:lnTo>
                      <a:pt x="24" y="111"/>
                    </a:lnTo>
                    <a:lnTo>
                      <a:pt x="21" y="111"/>
                    </a:lnTo>
                    <a:lnTo>
                      <a:pt x="21" y="111"/>
                    </a:lnTo>
                    <a:lnTo>
                      <a:pt x="21" y="111"/>
                    </a:lnTo>
                    <a:lnTo>
                      <a:pt x="19" y="111"/>
                    </a:lnTo>
                    <a:lnTo>
                      <a:pt x="17" y="111"/>
                    </a:lnTo>
                    <a:lnTo>
                      <a:pt x="17" y="113"/>
                    </a:lnTo>
                    <a:lnTo>
                      <a:pt x="17" y="113"/>
                    </a:lnTo>
                    <a:lnTo>
                      <a:pt x="17" y="113"/>
                    </a:lnTo>
                    <a:lnTo>
                      <a:pt x="19" y="115"/>
                    </a:lnTo>
                    <a:lnTo>
                      <a:pt x="19" y="115"/>
                    </a:lnTo>
                    <a:lnTo>
                      <a:pt x="17" y="118"/>
                    </a:lnTo>
                    <a:lnTo>
                      <a:pt x="17" y="118"/>
                    </a:lnTo>
                    <a:lnTo>
                      <a:pt x="17" y="123"/>
                    </a:lnTo>
                    <a:lnTo>
                      <a:pt x="17" y="123"/>
                    </a:lnTo>
                    <a:lnTo>
                      <a:pt x="17" y="123"/>
                    </a:lnTo>
                    <a:lnTo>
                      <a:pt x="17" y="123"/>
                    </a:lnTo>
                    <a:lnTo>
                      <a:pt x="17" y="125"/>
                    </a:lnTo>
                    <a:lnTo>
                      <a:pt x="17" y="125"/>
                    </a:lnTo>
                    <a:lnTo>
                      <a:pt x="17" y="125"/>
                    </a:lnTo>
                    <a:lnTo>
                      <a:pt x="19" y="125"/>
                    </a:lnTo>
                    <a:lnTo>
                      <a:pt x="19" y="127"/>
                    </a:lnTo>
                    <a:lnTo>
                      <a:pt x="19" y="127"/>
                    </a:lnTo>
                    <a:lnTo>
                      <a:pt x="21" y="127"/>
                    </a:lnTo>
                    <a:lnTo>
                      <a:pt x="19" y="130"/>
                    </a:lnTo>
                    <a:lnTo>
                      <a:pt x="21" y="130"/>
                    </a:lnTo>
                    <a:lnTo>
                      <a:pt x="21" y="127"/>
                    </a:lnTo>
                    <a:lnTo>
                      <a:pt x="21" y="127"/>
                    </a:lnTo>
                    <a:lnTo>
                      <a:pt x="21" y="125"/>
                    </a:lnTo>
                    <a:lnTo>
                      <a:pt x="21" y="125"/>
                    </a:lnTo>
                    <a:lnTo>
                      <a:pt x="21" y="125"/>
                    </a:lnTo>
                    <a:lnTo>
                      <a:pt x="21" y="125"/>
                    </a:lnTo>
                    <a:lnTo>
                      <a:pt x="21" y="127"/>
                    </a:lnTo>
                    <a:lnTo>
                      <a:pt x="21" y="125"/>
                    </a:lnTo>
                    <a:lnTo>
                      <a:pt x="21" y="125"/>
                    </a:lnTo>
                    <a:lnTo>
                      <a:pt x="24" y="125"/>
                    </a:lnTo>
                    <a:lnTo>
                      <a:pt x="26" y="125"/>
                    </a:lnTo>
                    <a:lnTo>
                      <a:pt x="29" y="127"/>
                    </a:lnTo>
                    <a:lnTo>
                      <a:pt x="29" y="130"/>
                    </a:lnTo>
                    <a:lnTo>
                      <a:pt x="29" y="130"/>
                    </a:lnTo>
                    <a:lnTo>
                      <a:pt x="29" y="132"/>
                    </a:lnTo>
                    <a:lnTo>
                      <a:pt x="29" y="134"/>
                    </a:lnTo>
                    <a:lnTo>
                      <a:pt x="29" y="137"/>
                    </a:lnTo>
                    <a:lnTo>
                      <a:pt x="26" y="137"/>
                    </a:lnTo>
                    <a:lnTo>
                      <a:pt x="26" y="139"/>
                    </a:lnTo>
                    <a:lnTo>
                      <a:pt x="26" y="139"/>
                    </a:lnTo>
                    <a:lnTo>
                      <a:pt x="26" y="137"/>
                    </a:lnTo>
                    <a:lnTo>
                      <a:pt x="29" y="137"/>
                    </a:lnTo>
                    <a:lnTo>
                      <a:pt x="29" y="137"/>
                    </a:lnTo>
                    <a:lnTo>
                      <a:pt x="29" y="137"/>
                    </a:lnTo>
                    <a:lnTo>
                      <a:pt x="29" y="137"/>
                    </a:lnTo>
                    <a:lnTo>
                      <a:pt x="26" y="139"/>
                    </a:lnTo>
                    <a:lnTo>
                      <a:pt x="26" y="141"/>
                    </a:lnTo>
                    <a:lnTo>
                      <a:pt x="26" y="141"/>
                    </a:lnTo>
                    <a:lnTo>
                      <a:pt x="26" y="144"/>
                    </a:lnTo>
                    <a:lnTo>
                      <a:pt x="29" y="144"/>
                    </a:lnTo>
                    <a:lnTo>
                      <a:pt x="29" y="144"/>
                    </a:lnTo>
                    <a:lnTo>
                      <a:pt x="26" y="144"/>
                    </a:lnTo>
                    <a:lnTo>
                      <a:pt x="24" y="141"/>
                    </a:lnTo>
                    <a:lnTo>
                      <a:pt x="24" y="139"/>
                    </a:lnTo>
                    <a:lnTo>
                      <a:pt x="21" y="139"/>
                    </a:lnTo>
                    <a:lnTo>
                      <a:pt x="21" y="139"/>
                    </a:lnTo>
                    <a:lnTo>
                      <a:pt x="21" y="139"/>
                    </a:lnTo>
                    <a:lnTo>
                      <a:pt x="21" y="141"/>
                    </a:lnTo>
                    <a:lnTo>
                      <a:pt x="21" y="141"/>
                    </a:lnTo>
                    <a:lnTo>
                      <a:pt x="21" y="144"/>
                    </a:lnTo>
                    <a:lnTo>
                      <a:pt x="21" y="144"/>
                    </a:lnTo>
                    <a:lnTo>
                      <a:pt x="21" y="148"/>
                    </a:lnTo>
                    <a:lnTo>
                      <a:pt x="21" y="151"/>
                    </a:lnTo>
                    <a:lnTo>
                      <a:pt x="21" y="153"/>
                    </a:lnTo>
                    <a:lnTo>
                      <a:pt x="21" y="153"/>
                    </a:lnTo>
                    <a:lnTo>
                      <a:pt x="21" y="156"/>
                    </a:lnTo>
                    <a:lnTo>
                      <a:pt x="21" y="156"/>
                    </a:lnTo>
                    <a:lnTo>
                      <a:pt x="21" y="160"/>
                    </a:lnTo>
                    <a:lnTo>
                      <a:pt x="19" y="163"/>
                    </a:lnTo>
                    <a:lnTo>
                      <a:pt x="17" y="163"/>
                    </a:lnTo>
                    <a:lnTo>
                      <a:pt x="17" y="165"/>
                    </a:lnTo>
                    <a:lnTo>
                      <a:pt x="17" y="165"/>
                    </a:lnTo>
                    <a:lnTo>
                      <a:pt x="19" y="167"/>
                    </a:lnTo>
                    <a:lnTo>
                      <a:pt x="19" y="170"/>
                    </a:lnTo>
                    <a:lnTo>
                      <a:pt x="17" y="170"/>
                    </a:lnTo>
                    <a:lnTo>
                      <a:pt x="17" y="170"/>
                    </a:lnTo>
                    <a:lnTo>
                      <a:pt x="17" y="172"/>
                    </a:lnTo>
                    <a:lnTo>
                      <a:pt x="17" y="172"/>
                    </a:lnTo>
                    <a:lnTo>
                      <a:pt x="17" y="174"/>
                    </a:lnTo>
                    <a:lnTo>
                      <a:pt x="19" y="177"/>
                    </a:lnTo>
                    <a:lnTo>
                      <a:pt x="19" y="179"/>
                    </a:lnTo>
                    <a:lnTo>
                      <a:pt x="19" y="179"/>
                    </a:lnTo>
                    <a:lnTo>
                      <a:pt x="19" y="181"/>
                    </a:lnTo>
                    <a:lnTo>
                      <a:pt x="17" y="186"/>
                    </a:lnTo>
                    <a:lnTo>
                      <a:pt x="17" y="186"/>
                    </a:lnTo>
                    <a:lnTo>
                      <a:pt x="17" y="186"/>
                    </a:lnTo>
                    <a:lnTo>
                      <a:pt x="17" y="188"/>
                    </a:lnTo>
                    <a:lnTo>
                      <a:pt x="17" y="188"/>
                    </a:lnTo>
                    <a:lnTo>
                      <a:pt x="17" y="188"/>
                    </a:lnTo>
                    <a:lnTo>
                      <a:pt x="17" y="188"/>
                    </a:lnTo>
                    <a:lnTo>
                      <a:pt x="17" y="191"/>
                    </a:lnTo>
                    <a:lnTo>
                      <a:pt x="17" y="191"/>
                    </a:lnTo>
                    <a:lnTo>
                      <a:pt x="19" y="191"/>
                    </a:lnTo>
                    <a:lnTo>
                      <a:pt x="19" y="193"/>
                    </a:lnTo>
                    <a:lnTo>
                      <a:pt x="19" y="191"/>
                    </a:lnTo>
                    <a:lnTo>
                      <a:pt x="19" y="191"/>
                    </a:lnTo>
                    <a:lnTo>
                      <a:pt x="19" y="191"/>
                    </a:lnTo>
                    <a:lnTo>
                      <a:pt x="21" y="193"/>
                    </a:lnTo>
                    <a:lnTo>
                      <a:pt x="21" y="193"/>
                    </a:lnTo>
                    <a:lnTo>
                      <a:pt x="21" y="196"/>
                    </a:lnTo>
                    <a:lnTo>
                      <a:pt x="21" y="198"/>
                    </a:lnTo>
                    <a:lnTo>
                      <a:pt x="21" y="196"/>
                    </a:lnTo>
                    <a:lnTo>
                      <a:pt x="21" y="196"/>
                    </a:lnTo>
                    <a:lnTo>
                      <a:pt x="24" y="198"/>
                    </a:lnTo>
                    <a:lnTo>
                      <a:pt x="24" y="200"/>
                    </a:lnTo>
                    <a:lnTo>
                      <a:pt x="24" y="200"/>
                    </a:lnTo>
                    <a:lnTo>
                      <a:pt x="26" y="200"/>
                    </a:lnTo>
                    <a:lnTo>
                      <a:pt x="26" y="200"/>
                    </a:lnTo>
                    <a:lnTo>
                      <a:pt x="26" y="200"/>
                    </a:lnTo>
                    <a:lnTo>
                      <a:pt x="26" y="203"/>
                    </a:lnTo>
                    <a:lnTo>
                      <a:pt x="26" y="203"/>
                    </a:lnTo>
                    <a:lnTo>
                      <a:pt x="29" y="203"/>
                    </a:lnTo>
                    <a:lnTo>
                      <a:pt x="29" y="203"/>
                    </a:lnTo>
                    <a:lnTo>
                      <a:pt x="29" y="203"/>
                    </a:lnTo>
                    <a:lnTo>
                      <a:pt x="31" y="207"/>
                    </a:lnTo>
                    <a:lnTo>
                      <a:pt x="31" y="212"/>
                    </a:lnTo>
                    <a:lnTo>
                      <a:pt x="31" y="210"/>
                    </a:lnTo>
                    <a:lnTo>
                      <a:pt x="33" y="212"/>
                    </a:lnTo>
                    <a:lnTo>
                      <a:pt x="33" y="214"/>
                    </a:lnTo>
                    <a:lnTo>
                      <a:pt x="31" y="217"/>
                    </a:lnTo>
                    <a:lnTo>
                      <a:pt x="31" y="217"/>
                    </a:lnTo>
                    <a:lnTo>
                      <a:pt x="33" y="217"/>
                    </a:lnTo>
                    <a:lnTo>
                      <a:pt x="33" y="217"/>
                    </a:lnTo>
                    <a:lnTo>
                      <a:pt x="36" y="217"/>
                    </a:lnTo>
                    <a:lnTo>
                      <a:pt x="33" y="219"/>
                    </a:lnTo>
                    <a:lnTo>
                      <a:pt x="36" y="219"/>
                    </a:lnTo>
                    <a:lnTo>
                      <a:pt x="36" y="219"/>
                    </a:lnTo>
                    <a:lnTo>
                      <a:pt x="36" y="217"/>
                    </a:lnTo>
                    <a:lnTo>
                      <a:pt x="38" y="217"/>
                    </a:lnTo>
                    <a:lnTo>
                      <a:pt x="38" y="214"/>
                    </a:lnTo>
                    <a:lnTo>
                      <a:pt x="40" y="214"/>
                    </a:lnTo>
                    <a:lnTo>
                      <a:pt x="43" y="214"/>
                    </a:lnTo>
                    <a:lnTo>
                      <a:pt x="43" y="214"/>
                    </a:lnTo>
                    <a:lnTo>
                      <a:pt x="45" y="217"/>
                    </a:lnTo>
                    <a:lnTo>
                      <a:pt x="45" y="217"/>
                    </a:lnTo>
                    <a:lnTo>
                      <a:pt x="45" y="217"/>
                    </a:lnTo>
                    <a:lnTo>
                      <a:pt x="47" y="217"/>
                    </a:lnTo>
                    <a:lnTo>
                      <a:pt x="50" y="219"/>
                    </a:lnTo>
                    <a:lnTo>
                      <a:pt x="50" y="219"/>
                    </a:lnTo>
                    <a:lnTo>
                      <a:pt x="50" y="219"/>
                    </a:lnTo>
                    <a:lnTo>
                      <a:pt x="50" y="217"/>
                    </a:lnTo>
                    <a:lnTo>
                      <a:pt x="52" y="217"/>
                    </a:lnTo>
                    <a:lnTo>
                      <a:pt x="52" y="217"/>
                    </a:lnTo>
                    <a:lnTo>
                      <a:pt x="52" y="217"/>
                    </a:lnTo>
                    <a:lnTo>
                      <a:pt x="59" y="210"/>
                    </a:lnTo>
                    <a:lnTo>
                      <a:pt x="59" y="207"/>
                    </a:lnTo>
                    <a:lnTo>
                      <a:pt x="62" y="207"/>
                    </a:lnTo>
                    <a:lnTo>
                      <a:pt x="62" y="207"/>
                    </a:lnTo>
                    <a:lnTo>
                      <a:pt x="62" y="207"/>
                    </a:lnTo>
                    <a:lnTo>
                      <a:pt x="62" y="207"/>
                    </a:lnTo>
                    <a:lnTo>
                      <a:pt x="62" y="205"/>
                    </a:lnTo>
                    <a:lnTo>
                      <a:pt x="64" y="203"/>
                    </a:lnTo>
                    <a:lnTo>
                      <a:pt x="64" y="203"/>
                    </a:lnTo>
                    <a:lnTo>
                      <a:pt x="62" y="203"/>
                    </a:lnTo>
                    <a:lnTo>
                      <a:pt x="62" y="200"/>
                    </a:lnTo>
                    <a:lnTo>
                      <a:pt x="62" y="200"/>
                    </a:lnTo>
                    <a:lnTo>
                      <a:pt x="62" y="198"/>
                    </a:lnTo>
                    <a:lnTo>
                      <a:pt x="62" y="196"/>
                    </a:lnTo>
                    <a:lnTo>
                      <a:pt x="62" y="193"/>
                    </a:lnTo>
                    <a:lnTo>
                      <a:pt x="62" y="193"/>
                    </a:lnTo>
                    <a:lnTo>
                      <a:pt x="62" y="191"/>
                    </a:lnTo>
                    <a:lnTo>
                      <a:pt x="66" y="188"/>
                    </a:lnTo>
                    <a:lnTo>
                      <a:pt x="66" y="188"/>
                    </a:lnTo>
                    <a:lnTo>
                      <a:pt x="66" y="186"/>
                    </a:lnTo>
                    <a:lnTo>
                      <a:pt x="64" y="186"/>
                    </a:lnTo>
                    <a:lnTo>
                      <a:pt x="64" y="186"/>
                    </a:lnTo>
                    <a:lnTo>
                      <a:pt x="62" y="186"/>
                    </a:lnTo>
                    <a:lnTo>
                      <a:pt x="62" y="186"/>
                    </a:lnTo>
                    <a:lnTo>
                      <a:pt x="62" y="186"/>
                    </a:lnTo>
                    <a:lnTo>
                      <a:pt x="62" y="186"/>
                    </a:lnTo>
                    <a:lnTo>
                      <a:pt x="62" y="184"/>
                    </a:lnTo>
                    <a:lnTo>
                      <a:pt x="62" y="184"/>
                    </a:lnTo>
                    <a:lnTo>
                      <a:pt x="62" y="184"/>
                    </a:lnTo>
                    <a:lnTo>
                      <a:pt x="62" y="184"/>
                    </a:lnTo>
                    <a:lnTo>
                      <a:pt x="62" y="184"/>
                    </a:lnTo>
                    <a:lnTo>
                      <a:pt x="62" y="184"/>
                    </a:lnTo>
                    <a:lnTo>
                      <a:pt x="64" y="184"/>
                    </a:lnTo>
                    <a:lnTo>
                      <a:pt x="64" y="184"/>
                    </a:lnTo>
                    <a:lnTo>
                      <a:pt x="64" y="186"/>
                    </a:lnTo>
                    <a:lnTo>
                      <a:pt x="64" y="184"/>
                    </a:lnTo>
                    <a:lnTo>
                      <a:pt x="69" y="188"/>
                    </a:lnTo>
                    <a:lnTo>
                      <a:pt x="69" y="191"/>
                    </a:lnTo>
                    <a:lnTo>
                      <a:pt x="71" y="191"/>
                    </a:lnTo>
                    <a:lnTo>
                      <a:pt x="71" y="191"/>
                    </a:lnTo>
                    <a:lnTo>
                      <a:pt x="73" y="188"/>
                    </a:lnTo>
                    <a:lnTo>
                      <a:pt x="73" y="186"/>
                    </a:lnTo>
                    <a:lnTo>
                      <a:pt x="76" y="186"/>
                    </a:lnTo>
                    <a:lnTo>
                      <a:pt x="78" y="186"/>
                    </a:lnTo>
                    <a:lnTo>
                      <a:pt x="78" y="188"/>
                    </a:lnTo>
                    <a:lnTo>
                      <a:pt x="80" y="188"/>
                    </a:lnTo>
                    <a:lnTo>
                      <a:pt x="80" y="186"/>
                    </a:lnTo>
                    <a:lnTo>
                      <a:pt x="80" y="188"/>
                    </a:lnTo>
                    <a:lnTo>
                      <a:pt x="83" y="188"/>
                    </a:lnTo>
                    <a:lnTo>
                      <a:pt x="83" y="188"/>
                    </a:lnTo>
                    <a:lnTo>
                      <a:pt x="83" y="188"/>
                    </a:lnTo>
                    <a:lnTo>
                      <a:pt x="85" y="191"/>
                    </a:lnTo>
                    <a:lnTo>
                      <a:pt x="85" y="191"/>
                    </a:lnTo>
                    <a:lnTo>
                      <a:pt x="85" y="191"/>
                    </a:lnTo>
                    <a:lnTo>
                      <a:pt x="88" y="193"/>
                    </a:lnTo>
                    <a:lnTo>
                      <a:pt x="88" y="193"/>
                    </a:lnTo>
                    <a:lnTo>
                      <a:pt x="90" y="196"/>
                    </a:lnTo>
                    <a:lnTo>
                      <a:pt x="90" y="196"/>
                    </a:lnTo>
                    <a:lnTo>
                      <a:pt x="90" y="196"/>
                    </a:lnTo>
                    <a:lnTo>
                      <a:pt x="92" y="196"/>
                    </a:lnTo>
                    <a:lnTo>
                      <a:pt x="92" y="196"/>
                    </a:lnTo>
                    <a:lnTo>
                      <a:pt x="95" y="196"/>
                    </a:lnTo>
                    <a:lnTo>
                      <a:pt x="95" y="196"/>
                    </a:lnTo>
                    <a:lnTo>
                      <a:pt x="97" y="196"/>
                    </a:lnTo>
                    <a:lnTo>
                      <a:pt x="95" y="198"/>
                    </a:lnTo>
                    <a:lnTo>
                      <a:pt x="95" y="198"/>
                    </a:lnTo>
                    <a:lnTo>
                      <a:pt x="95" y="198"/>
                    </a:lnTo>
                    <a:lnTo>
                      <a:pt x="97" y="198"/>
                    </a:lnTo>
                    <a:lnTo>
                      <a:pt x="97" y="196"/>
                    </a:lnTo>
                    <a:lnTo>
                      <a:pt x="97" y="196"/>
                    </a:lnTo>
                    <a:lnTo>
                      <a:pt x="99" y="196"/>
                    </a:lnTo>
                    <a:lnTo>
                      <a:pt x="99" y="193"/>
                    </a:lnTo>
                    <a:lnTo>
                      <a:pt x="99" y="193"/>
                    </a:lnTo>
                    <a:lnTo>
                      <a:pt x="99" y="191"/>
                    </a:lnTo>
                    <a:lnTo>
                      <a:pt x="99" y="191"/>
                    </a:lnTo>
                    <a:lnTo>
                      <a:pt x="99" y="191"/>
                    </a:lnTo>
                    <a:lnTo>
                      <a:pt x="99" y="188"/>
                    </a:lnTo>
                    <a:lnTo>
                      <a:pt x="99" y="188"/>
                    </a:lnTo>
                    <a:lnTo>
                      <a:pt x="99" y="188"/>
                    </a:lnTo>
                    <a:lnTo>
                      <a:pt x="99" y="186"/>
                    </a:lnTo>
                    <a:lnTo>
                      <a:pt x="102" y="184"/>
                    </a:lnTo>
                    <a:lnTo>
                      <a:pt x="102" y="181"/>
                    </a:lnTo>
                    <a:lnTo>
                      <a:pt x="104" y="181"/>
                    </a:lnTo>
                    <a:lnTo>
                      <a:pt x="104" y="179"/>
                    </a:lnTo>
                    <a:lnTo>
                      <a:pt x="102" y="179"/>
                    </a:lnTo>
                    <a:lnTo>
                      <a:pt x="102" y="177"/>
                    </a:lnTo>
                    <a:lnTo>
                      <a:pt x="102" y="177"/>
                    </a:lnTo>
                    <a:lnTo>
                      <a:pt x="102" y="174"/>
                    </a:lnTo>
                    <a:lnTo>
                      <a:pt x="104" y="172"/>
                    </a:lnTo>
                    <a:lnTo>
                      <a:pt x="104" y="167"/>
                    </a:lnTo>
                    <a:lnTo>
                      <a:pt x="104" y="163"/>
                    </a:lnTo>
                    <a:lnTo>
                      <a:pt x="104" y="163"/>
                    </a:lnTo>
                    <a:lnTo>
                      <a:pt x="106" y="156"/>
                    </a:lnTo>
                    <a:lnTo>
                      <a:pt x="106" y="153"/>
                    </a:lnTo>
                    <a:lnTo>
                      <a:pt x="104" y="148"/>
                    </a:lnTo>
                    <a:lnTo>
                      <a:pt x="106" y="148"/>
                    </a:lnTo>
                    <a:lnTo>
                      <a:pt x="106" y="146"/>
                    </a:lnTo>
                    <a:lnTo>
                      <a:pt x="106" y="146"/>
                    </a:lnTo>
                    <a:lnTo>
                      <a:pt x="106" y="146"/>
                    </a:lnTo>
                    <a:lnTo>
                      <a:pt x="106" y="144"/>
                    </a:lnTo>
                    <a:lnTo>
                      <a:pt x="106" y="144"/>
                    </a:lnTo>
                    <a:lnTo>
                      <a:pt x="106" y="141"/>
                    </a:lnTo>
                    <a:lnTo>
                      <a:pt x="106" y="141"/>
                    </a:lnTo>
                    <a:lnTo>
                      <a:pt x="106" y="139"/>
                    </a:lnTo>
                    <a:lnTo>
                      <a:pt x="106" y="137"/>
                    </a:lnTo>
                    <a:lnTo>
                      <a:pt x="106" y="134"/>
                    </a:lnTo>
                    <a:lnTo>
                      <a:pt x="106" y="132"/>
                    </a:lnTo>
                    <a:lnTo>
                      <a:pt x="109" y="132"/>
                    </a:lnTo>
                    <a:lnTo>
                      <a:pt x="109" y="130"/>
                    </a:lnTo>
                    <a:lnTo>
                      <a:pt x="109" y="130"/>
                    </a:lnTo>
                    <a:lnTo>
                      <a:pt x="109" y="130"/>
                    </a:lnTo>
                    <a:lnTo>
                      <a:pt x="109" y="130"/>
                    </a:lnTo>
                    <a:lnTo>
                      <a:pt x="109" y="130"/>
                    </a:lnTo>
                    <a:lnTo>
                      <a:pt x="109" y="127"/>
                    </a:lnTo>
                    <a:lnTo>
                      <a:pt x="109" y="127"/>
                    </a:lnTo>
                    <a:lnTo>
                      <a:pt x="109" y="127"/>
                    </a:lnTo>
                    <a:lnTo>
                      <a:pt x="109" y="127"/>
                    </a:lnTo>
                    <a:lnTo>
                      <a:pt x="109" y="125"/>
                    </a:lnTo>
                    <a:lnTo>
                      <a:pt x="109" y="123"/>
                    </a:lnTo>
                    <a:lnTo>
                      <a:pt x="109" y="123"/>
                    </a:lnTo>
                    <a:lnTo>
                      <a:pt x="109" y="123"/>
                    </a:lnTo>
                    <a:lnTo>
                      <a:pt x="111" y="123"/>
                    </a:lnTo>
                    <a:lnTo>
                      <a:pt x="111" y="123"/>
                    </a:lnTo>
                    <a:lnTo>
                      <a:pt x="111" y="123"/>
                    </a:lnTo>
                    <a:lnTo>
                      <a:pt x="109" y="123"/>
                    </a:lnTo>
                    <a:lnTo>
                      <a:pt x="109" y="123"/>
                    </a:lnTo>
                    <a:lnTo>
                      <a:pt x="109" y="123"/>
                    </a:lnTo>
                    <a:lnTo>
                      <a:pt x="109" y="120"/>
                    </a:lnTo>
                    <a:lnTo>
                      <a:pt x="109" y="118"/>
                    </a:lnTo>
                    <a:lnTo>
                      <a:pt x="111" y="111"/>
                    </a:lnTo>
                    <a:lnTo>
                      <a:pt x="111" y="108"/>
                    </a:lnTo>
                    <a:lnTo>
                      <a:pt x="109" y="108"/>
                    </a:lnTo>
                    <a:lnTo>
                      <a:pt x="109" y="106"/>
                    </a:lnTo>
                    <a:lnTo>
                      <a:pt x="106" y="106"/>
                    </a:lnTo>
                    <a:lnTo>
                      <a:pt x="106" y="104"/>
                    </a:lnTo>
                    <a:lnTo>
                      <a:pt x="106" y="104"/>
                    </a:lnTo>
                    <a:lnTo>
                      <a:pt x="104" y="99"/>
                    </a:lnTo>
                    <a:lnTo>
                      <a:pt x="104" y="97"/>
                    </a:lnTo>
                    <a:lnTo>
                      <a:pt x="104" y="94"/>
                    </a:lnTo>
                    <a:lnTo>
                      <a:pt x="104" y="92"/>
                    </a:lnTo>
                    <a:lnTo>
                      <a:pt x="104" y="90"/>
                    </a:lnTo>
                    <a:lnTo>
                      <a:pt x="104" y="90"/>
                    </a:lnTo>
                    <a:lnTo>
                      <a:pt x="106" y="87"/>
                    </a:lnTo>
                    <a:lnTo>
                      <a:pt x="109" y="87"/>
                    </a:lnTo>
                    <a:lnTo>
                      <a:pt x="109" y="85"/>
                    </a:lnTo>
                    <a:lnTo>
                      <a:pt x="109" y="82"/>
                    </a:lnTo>
                    <a:lnTo>
                      <a:pt x="111" y="82"/>
                    </a:lnTo>
                    <a:lnTo>
                      <a:pt x="111" y="82"/>
                    </a:lnTo>
                    <a:lnTo>
                      <a:pt x="113" y="80"/>
                    </a:lnTo>
                    <a:lnTo>
                      <a:pt x="113" y="78"/>
                    </a:lnTo>
                    <a:lnTo>
                      <a:pt x="116" y="75"/>
                    </a:lnTo>
                    <a:lnTo>
                      <a:pt x="116" y="73"/>
                    </a:lnTo>
                    <a:lnTo>
                      <a:pt x="116" y="71"/>
                    </a:lnTo>
                    <a:lnTo>
                      <a:pt x="118" y="71"/>
                    </a:lnTo>
                    <a:lnTo>
                      <a:pt x="118" y="68"/>
                    </a:lnTo>
                    <a:lnTo>
                      <a:pt x="118" y="68"/>
                    </a:lnTo>
                    <a:lnTo>
                      <a:pt x="118" y="68"/>
                    </a:lnTo>
                    <a:lnTo>
                      <a:pt x="116"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93" name="Freeform 29">
                <a:extLst>
                  <a:ext uri="{FF2B5EF4-FFF2-40B4-BE49-F238E27FC236}">
                    <a16:creationId xmlns:a16="http://schemas.microsoft.com/office/drawing/2014/main" id="{0381D54E-75C5-497D-B383-EC4160AB86AF}"/>
                  </a:ext>
                </a:extLst>
              </p:cNvPr>
              <p:cNvSpPr>
                <a:spLocks/>
              </p:cNvSpPr>
              <p:nvPr/>
            </p:nvSpPr>
            <p:spPr bwMode="gray">
              <a:xfrm>
                <a:off x="-1819" y="2991"/>
                <a:ext cx="3" cy="0"/>
              </a:xfrm>
              <a:custGeom>
                <a:avLst/>
                <a:gdLst>
                  <a:gd name="T0" fmla="*/ 3 w 3"/>
                  <a:gd name="T1" fmla="*/ 3 w 3"/>
                  <a:gd name="T2" fmla="*/ 3 w 3"/>
                  <a:gd name="T3" fmla="*/ 0 w 3"/>
                  <a:gd name="T4" fmla="*/ 0 w 3"/>
                  <a:gd name="T5" fmla="*/ 0 w 3"/>
                  <a:gd name="T6" fmla="*/ 3 w 3"/>
                  <a:gd name="T7" fmla="*/ 3 w 3"/>
                  <a:gd name="T8" fmla="*/ 3 w 3"/>
                  <a:gd name="T9" fmla="*/ 3 w 3"/>
                  <a:gd name="T10" fmla="*/ 3 w 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3">
                    <a:moveTo>
                      <a:pt x="3" y="0"/>
                    </a:moveTo>
                    <a:lnTo>
                      <a:pt x="3" y="0"/>
                    </a:lnTo>
                    <a:lnTo>
                      <a:pt x="3" y="0"/>
                    </a:lnTo>
                    <a:lnTo>
                      <a:pt x="0" y="0"/>
                    </a:lnTo>
                    <a:lnTo>
                      <a:pt x="0" y="0"/>
                    </a:lnTo>
                    <a:lnTo>
                      <a:pt x="0" y="0"/>
                    </a:lnTo>
                    <a:lnTo>
                      <a:pt x="3" y="0"/>
                    </a:lnTo>
                    <a:lnTo>
                      <a:pt x="3" y="0"/>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94" name="Freeform 30">
                <a:extLst>
                  <a:ext uri="{FF2B5EF4-FFF2-40B4-BE49-F238E27FC236}">
                    <a16:creationId xmlns:a16="http://schemas.microsoft.com/office/drawing/2014/main" id="{76303C61-F244-46FE-9E86-1A47A4526776}"/>
                  </a:ext>
                </a:extLst>
              </p:cNvPr>
              <p:cNvSpPr>
                <a:spLocks/>
              </p:cNvSpPr>
              <p:nvPr/>
            </p:nvSpPr>
            <p:spPr bwMode="gray">
              <a:xfrm>
                <a:off x="-1854" y="2101"/>
                <a:ext cx="2" cy="2"/>
              </a:xfrm>
              <a:custGeom>
                <a:avLst/>
                <a:gdLst>
                  <a:gd name="T0" fmla="*/ 2 w 2"/>
                  <a:gd name="T1" fmla="*/ 2 h 2"/>
                  <a:gd name="T2" fmla="*/ 2 w 2"/>
                  <a:gd name="T3" fmla="*/ 0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2" y="2"/>
                    </a:moveTo>
                    <a:lnTo>
                      <a:pt x="2" y="0"/>
                    </a:lnTo>
                    <a:lnTo>
                      <a:pt x="2" y="0"/>
                    </a:lnTo>
                    <a:lnTo>
                      <a:pt x="2" y="0"/>
                    </a:lnTo>
                    <a:lnTo>
                      <a:pt x="0" y="0"/>
                    </a:lnTo>
                    <a:lnTo>
                      <a:pt x="0" y="0"/>
                    </a:lnTo>
                    <a:lnTo>
                      <a:pt x="0" y="2"/>
                    </a:lnTo>
                    <a:lnTo>
                      <a:pt x="0" y="2"/>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95" name="Freeform 31">
                <a:extLst>
                  <a:ext uri="{FF2B5EF4-FFF2-40B4-BE49-F238E27FC236}">
                    <a16:creationId xmlns:a16="http://schemas.microsoft.com/office/drawing/2014/main" id="{DF0CEDCC-F504-4542-8E72-864C2BEC3E9A}"/>
                  </a:ext>
                </a:extLst>
              </p:cNvPr>
              <p:cNvSpPr>
                <a:spLocks/>
              </p:cNvSpPr>
              <p:nvPr/>
            </p:nvSpPr>
            <p:spPr bwMode="gray">
              <a:xfrm>
                <a:off x="-2010" y="2353"/>
                <a:ext cx="24" cy="16"/>
              </a:xfrm>
              <a:custGeom>
                <a:avLst/>
                <a:gdLst>
                  <a:gd name="T0" fmla="*/ 21 w 24"/>
                  <a:gd name="T1" fmla="*/ 0 h 16"/>
                  <a:gd name="T2" fmla="*/ 21 w 24"/>
                  <a:gd name="T3" fmla="*/ 0 h 16"/>
                  <a:gd name="T4" fmla="*/ 19 w 24"/>
                  <a:gd name="T5" fmla="*/ 5 h 16"/>
                  <a:gd name="T6" fmla="*/ 19 w 24"/>
                  <a:gd name="T7" fmla="*/ 5 h 16"/>
                  <a:gd name="T8" fmla="*/ 17 w 24"/>
                  <a:gd name="T9" fmla="*/ 7 h 16"/>
                  <a:gd name="T10" fmla="*/ 17 w 24"/>
                  <a:gd name="T11" fmla="*/ 7 h 16"/>
                  <a:gd name="T12" fmla="*/ 17 w 24"/>
                  <a:gd name="T13" fmla="*/ 5 h 16"/>
                  <a:gd name="T14" fmla="*/ 12 w 24"/>
                  <a:gd name="T15" fmla="*/ 5 h 16"/>
                  <a:gd name="T16" fmla="*/ 12 w 24"/>
                  <a:gd name="T17" fmla="*/ 7 h 16"/>
                  <a:gd name="T18" fmla="*/ 12 w 24"/>
                  <a:gd name="T19" fmla="*/ 7 h 16"/>
                  <a:gd name="T20" fmla="*/ 10 w 24"/>
                  <a:gd name="T21" fmla="*/ 7 h 16"/>
                  <a:gd name="T22" fmla="*/ 7 w 24"/>
                  <a:gd name="T23" fmla="*/ 5 h 16"/>
                  <a:gd name="T24" fmla="*/ 5 w 24"/>
                  <a:gd name="T25" fmla="*/ 5 h 16"/>
                  <a:gd name="T26" fmla="*/ 0 w 24"/>
                  <a:gd name="T27" fmla="*/ 7 h 16"/>
                  <a:gd name="T28" fmla="*/ 0 w 24"/>
                  <a:gd name="T29" fmla="*/ 12 h 16"/>
                  <a:gd name="T30" fmla="*/ 2 w 24"/>
                  <a:gd name="T31" fmla="*/ 14 h 16"/>
                  <a:gd name="T32" fmla="*/ 10 w 24"/>
                  <a:gd name="T33" fmla="*/ 14 h 16"/>
                  <a:gd name="T34" fmla="*/ 10 w 24"/>
                  <a:gd name="T35" fmla="*/ 12 h 16"/>
                  <a:gd name="T36" fmla="*/ 14 w 24"/>
                  <a:gd name="T37" fmla="*/ 12 h 16"/>
                  <a:gd name="T38" fmla="*/ 14 w 24"/>
                  <a:gd name="T39" fmla="*/ 12 h 16"/>
                  <a:gd name="T40" fmla="*/ 17 w 24"/>
                  <a:gd name="T41" fmla="*/ 12 h 16"/>
                  <a:gd name="T42" fmla="*/ 19 w 24"/>
                  <a:gd name="T43" fmla="*/ 12 h 16"/>
                  <a:gd name="T44" fmla="*/ 19 w 24"/>
                  <a:gd name="T45" fmla="*/ 14 h 16"/>
                  <a:gd name="T46" fmla="*/ 21 w 24"/>
                  <a:gd name="T47" fmla="*/ 14 h 16"/>
                  <a:gd name="T48" fmla="*/ 21 w 24"/>
                  <a:gd name="T49" fmla="*/ 16 h 16"/>
                  <a:gd name="T50" fmla="*/ 21 w 24"/>
                  <a:gd name="T51" fmla="*/ 12 h 16"/>
                  <a:gd name="T52" fmla="*/ 21 w 24"/>
                  <a:gd name="T53" fmla="*/ 12 h 16"/>
                  <a:gd name="T54" fmla="*/ 21 w 24"/>
                  <a:gd name="T55" fmla="*/ 9 h 16"/>
                  <a:gd name="T56" fmla="*/ 24 w 24"/>
                  <a:gd name="T57" fmla="*/ 7 h 16"/>
                  <a:gd name="T58" fmla="*/ 24 w 24"/>
                  <a:gd name="T59" fmla="*/ 5 h 16"/>
                  <a:gd name="T60" fmla="*/ 24 w 24"/>
                  <a:gd name="T61" fmla="*/ 2 h 16"/>
                  <a:gd name="T62" fmla="*/ 24 w 24"/>
                  <a:gd name="T6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 h="16">
                    <a:moveTo>
                      <a:pt x="24" y="2"/>
                    </a:moveTo>
                    <a:lnTo>
                      <a:pt x="21" y="0"/>
                    </a:lnTo>
                    <a:lnTo>
                      <a:pt x="21" y="0"/>
                    </a:lnTo>
                    <a:lnTo>
                      <a:pt x="21" y="0"/>
                    </a:lnTo>
                    <a:lnTo>
                      <a:pt x="21" y="2"/>
                    </a:lnTo>
                    <a:lnTo>
                      <a:pt x="19" y="5"/>
                    </a:lnTo>
                    <a:lnTo>
                      <a:pt x="19" y="5"/>
                    </a:lnTo>
                    <a:lnTo>
                      <a:pt x="19" y="5"/>
                    </a:lnTo>
                    <a:lnTo>
                      <a:pt x="19" y="5"/>
                    </a:lnTo>
                    <a:lnTo>
                      <a:pt x="17" y="7"/>
                    </a:lnTo>
                    <a:lnTo>
                      <a:pt x="17" y="7"/>
                    </a:lnTo>
                    <a:lnTo>
                      <a:pt x="17" y="7"/>
                    </a:lnTo>
                    <a:lnTo>
                      <a:pt x="14" y="7"/>
                    </a:lnTo>
                    <a:lnTo>
                      <a:pt x="17" y="5"/>
                    </a:lnTo>
                    <a:lnTo>
                      <a:pt x="14" y="5"/>
                    </a:lnTo>
                    <a:lnTo>
                      <a:pt x="12" y="5"/>
                    </a:lnTo>
                    <a:lnTo>
                      <a:pt x="12" y="5"/>
                    </a:lnTo>
                    <a:lnTo>
                      <a:pt x="12" y="7"/>
                    </a:lnTo>
                    <a:lnTo>
                      <a:pt x="12" y="7"/>
                    </a:lnTo>
                    <a:lnTo>
                      <a:pt x="12" y="7"/>
                    </a:lnTo>
                    <a:lnTo>
                      <a:pt x="10" y="7"/>
                    </a:lnTo>
                    <a:lnTo>
                      <a:pt x="10" y="7"/>
                    </a:lnTo>
                    <a:lnTo>
                      <a:pt x="7" y="7"/>
                    </a:lnTo>
                    <a:lnTo>
                      <a:pt x="7" y="5"/>
                    </a:lnTo>
                    <a:lnTo>
                      <a:pt x="5" y="5"/>
                    </a:lnTo>
                    <a:lnTo>
                      <a:pt x="5" y="5"/>
                    </a:lnTo>
                    <a:lnTo>
                      <a:pt x="2" y="7"/>
                    </a:lnTo>
                    <a:lnTo>
                      <a:pt x="0" y="7"/>
                    </a:lnTo>
                    <a:lnTo>
                      <a:pt x="0" y="9"/>
                    </a:lnTo>
                    <a:lnTo>
                      <a:pt x="0" y="12"/>
                    </a:lnTo>
                    <a:lnTo>
                      <a:pt x="2" y="12"/>
                    </a:lnTo>
                    <a:lnTo>
                      <a:pt x="2" y="14"/>
                    </a:lnTo>
                    <a:lnTo>
                      <a:pt x="10" y="14"/>
                    </a:lnTo>
                    <a:lnTo>
                      <a:pt x="10" y="14"/>
                    </a:lnTo>
                    <a:lnTo>
                      <a:pt x="10" y="12"/>
                    </a:lnTo>
                    <a:lnTo>
                      <a:pt x="10" y="12"/>
                    </a:lnTo>
                    <a:lnTo>
                      <a:pt x="12" y="12"/>
                    </a:lnTo>
                    <a:lnTo>
                      <a:pt x="14" y="12"/>
                    </a:lnTo>
                    <a:lnTo>
                      <a:pt x="14" y="12"/>
                    </a:lnTo>
                    <a:lnTo>
                      <a:pt x="14" y="12"/>
                    </a:lnTo>
                    <a:lnTo>
                      <a:pt x="17" y="12"/>
                    </a:lnTo>
                    <a:lnTo>
                      <a:pt x="17" y="12"/>
                    </a:lnTo>
                    <a:lnTo>
                      <a:pt x="19" y="12"/>
                    </a:lnTo>
                    <a:lnTo>
                      <a:pt x="19" y="12"/>
                    </a:lnTo>
                    <a:lnTo>
                      <a:pt x="19" y="14"/>
                    </a:lnTo>
                    <a:lnTo>
                      <a:pt x="19" y="14"/>
                    </a:lnTo>
                    <a:lnTo>
                      <a:pt x="21" y="14"/>
                    </a:lnTo>
                    <a:lnTo>
                      <a:pt x="21" y="14"/>
                    </a:lnTo>
                    <a:lnTo>
                      <a:pt x="21" y="14"/>
                    </a:lnTo>
                    <a:lnTo>
                      <a:pt x="21" y="16"/>
                    </a:lnTo>
                    <a:lnTo>
                      <a:pt x="24" y="14"/>
                    </a:lnTo>
                    <a:lnTo>
                      <a:pt x="21" y="12"/>
                    </a:lnTo>
                    <a:lnTo>
                      <a:pt x="21" y="12"/>
                    </a:lnTo>
                    <a:lnTo>
                      <a:pt x="21" y="12"/>
                    </a:lnTo>
                    <a:lnTo>
                      <a:pt x="21" y="9"/>
                    </a:lnTo>
                    <a:lnTo>
                      <a:pt x="21" y="9"/>
                    </a:lnTo>
                    <a:lnTo>
                      <a:pt x="24" y="9"/>
                    </a:lnTo>
                    <a:lnTo>
                      <a:pt x="24" y="7"/>
                    </a:lnTo>
                    <a:lnTo>
                      <a:pt x="24" y="5"/>
                    </a:lnTo>
                    <a:lnTo>
                      <a:pt x="24" y="5"/>
                    </a:lnTo>
                    <a:lnTo>
                      <a:pt x="24" y="5"/>
                    </a:lnTo>
                    <a:lnTo>
                      <a:pt x="24" y="2"/>
                    </a:lnTo>
                    <a:lnTo>
                      <a:pt x="24" y="2"/>
                    </a:lnTo>
                    <a:lnTo>
                      <a:pt x="2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96" name="Freeform 32">
                <a:extLst>
                  <a:ext uri="{FF2B5EF4-FFF2-40B4-BE49-F238E27FC236}">
                    <a16:creationId xmlns:a16="http://schemas.microsoft.com/office/drawing/2014/main" id="{ECD18118-6CD9-4C9A-BFAF-E3B593256532}"/>
                  </a:ext>
                </a:extLst>
              </p:cNvPr>
              <p:cNvSpPr>
                <a:spLocks/>
              </p:cNvSpPr>
              <p:nvPr/>
            </p:nvSpPr>
            <p:spPr bwMode="gray">
              <a:xfrm>
                <a:off x="-1956" y="2400"/>
                <a:ext cx="5" cy="7"/>
              </a:xfrm>
              <a:custGeom>
                <a:avLst/>
                <a:gdLst>
                  <a:gd name="T0" fmla="*/ 3 w 5"/>
                  <a:gd name="T1" fmla="*/ 2 h 7"/>
                  <a:gd name="T2" fmla="*/ 3 w 5"/>
                  <a:gd name="T3" fmla="*/ 0 h 7"/>
                  <a:gd name="T4" fmla="*/ 0 w 5"/>
                  <a:gd name="T5" fmla="*/ 0 h 7"/>
                  <a:gd name="T6" fmla="*/ 0 w 5"/>
                  <a:gd name="T7" fmla="*/ 0 h 7"/>
                  <a:gd name="T8" fmla="*/ 0 w 5"/>
                  <a:gd name="T9" fmla="*/ 0 h 7"/>
                  <a:gd name="T10" fmla="*/ 0 w 5"/>
                  <a:gd name="T11" fmla="*/ 0 h 7"/>
                  <a:gd name="T12" fmla="*/ 0 w 5"/>
                  <a:gd name="T13" fmla="*/ 2 h 7"/>
                  <a:gd name="T14" fmla="*/ 0 w 5"/>
                  <a:gd name="T15" fmla="*/ 2 h 7"/>
                  <a:gd name="T16" fmla="*/ 3 w 5"/>
                  <a:gd name="T17" fmla="*/ 5 h 7"/>
                  <a:gd name="T18" fmla="*/ 3 w 5"/>
                  <a:gd name="T19" fmla="*/ 7 h 7"/>
                  <a:gd name="T20" fmla="*/ 5 w 5"/>
                  <a:gd name="T21" fmla="*/ 5 h 7"/>
                  <a:gd name="T22" fmla="*/ 5 w 5"/>
                  <a:gd name="T23" fmla="*/ 5 h 7"/>
                  <a:gd name="T24" fmla="*/ 3 w 5"/>
                  <a:gd name="T2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7">
                    <a:moveTo>
                      <a:pt x="3" y="2"/>
                    </a:moveTo>
                    <a:lnTo>
                      <a:pt x="3" y="0"/>
                    </a:lnTo>
                    <a:lnTo>
                      <a:pt x="0" y="0"/>
                    </a:lnTo>
                    <a:lnTo>
                      <a:pt x="0" y="0"/>
                    </a:lnTo>
                    <a:lnTo>
                      <a:pt x="0" y="0"/>
                    </a:lnTo>
                    <a:lnTo>
                      <a:pt x="0" y="0"/>
                    </a:lnTo>
                    <a:lnTo>
                      <a:pt x="0" y="2"/>
                    </a:lnTo>
                    <a:lnTo>
                      <a:pt x="0" y="2"/>
                    </a:lnTo>
                    <a:lnTo>
                      <a:pt x="3" y="5"/>
                    </a:lnTo>
                    <a:lnTo>
                      <a:pt x="3" y="7"/>
                    </a:lnTo>
                    <a:lnTo>
                      <a:pt x="5" y="5"/>
                    </a:lnTo>
                    <a:lnTo>
                      <a:pt x="5" y="5"/>
                    </a:lnTo>
                    <a:lnTo>
                      <a:pt x="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97" name="Freeform 33">
                <a:extLst>
                  <a:ext uri="{FF2B5EF4-FFF2-40B4-BE49-F238E27FC236}">
                    <a16:creationId xmlns:a16="http://schemas.microsoft.com/office/drawing/2014/main" id="{606D7982-4FCE-4903-8DF9-C65C7059F393}"/>
                  </a:ext>
                </a:extLst>
              </p:cNvPr>
              <p:cNvSpPr>
                <a:spLocks/>
              </p:cNvSpPr>
              <p:nvPr/>
            </p:nvSpPr>
            <p:spPr bwMode="gray">
              <a:xfrm>
                <a:off x="-1840" y="3020"/>
                <a:ext cx="7" cy="4"/>
              </a:xfrm>
              <a:custGeom>
                <a:avLst/>
                <a:gdLst>
                  <a:gd name="T0" fmla="*/ 7 w 7"/>
                  <a:gd name="T1" fmla="*/ 2 h 4"/>
                  <a:gd name="T2" fmla="*/ 5 w 7"/>
                  <a:gd name="T3" fmla="*/ 2 h 4"/>
                  <a:gd name="T4" fmla="*/ 2 w 7"/>
                  <a:gd name="T5" fmla="*/ 0 h 4"/>
                  <a:gd name="T6" fmla="*/ 2 w 7"/>
                  <a:gd name="T7" fmla="*/ 0 h 4"/>
                  <a:gd name="T8" fmla="*/ 0 w 7"/>
                  <a:gd name="T9" fmla="*/ 0 h 4"/>
                  <a:gd name="T10" fmla="*/ 0 w 7"/>
                  <a:gd name="T11" fmla="*/ 2 h 4"/>
                  <a:gd name="T12" fmla="*/ 0 w 7"/>
                  <a:gd name="T13" fmla="*/ 2 h 4"/>
                  <a:gd name="T14" fmla="*/ 2 w 7"/>
                  <a:gd name="T15" fmla="*/ 2 h 4"/>
                  <a:gd name="T16" fmla="*/ 5 w 7"/>
                  <a:gd name="T17" fmla="*/ 2 h 4"/>
                  <a:gd name="T18" fmla="*/ 5 w 7"/>
                  <a:gd name="T19" fmla="*/ 2 h 4"/>
                  <a:gd name="T20" fmla="*/ 5 w 7"/>
                  <a:gd name="T21" fmla="*/ 4 h 4"/>
                  <a:gd name="T22" fmla="*/ 7 w 7"/>
                  <a:gd name="T23" fmla="*/ 2 h 4"/>
                  <a:gd name="T24" fmla="*/ 7 w 7"/>
                  <a:gd name="T25" fmla="*/ 2 h 4"/>
                  <a:gd name="T26" fmla="*/ 7 w 7"/>
                  <a:gd name="T27" fmla="*/ 2 h 4"/>
                  <a:gd name="T28" fmla="*/ 7 w 7"/>
                  <a:gd name="T29" fmla="*/ 2 h 4"/>
                  <a:gd name="T30" fmla="*/ 7 w 7"/>
                  <a:gd name="T3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4">
                    <a:moveTo>
                      <a:pt x="7" y="2"/>
                    </a:moveTo>
                    <a:lnTo>
                      <a:pt x="5" y="2"/>
                    </a:lnTo>
                    <a:lnTo>
                      <a:pt x="2" y="0"/>
                    </a:lnTo>
                    <a:lnTo>
                      <a:pt x="2" y="0"/>
                    </a:lnTo>
                    <a:lnTo>
                      <a:pt x="0" y="0"/>
                    </a:lnTo>
                    <a:lnTo>
                      <a:pt x="0" y="2"/>
                    </a:lnTo>
                    <a:lnTo>
                      <a:pt x="0" y="2"/>
                    </a:lnTo>
                    <a:lnTo>
                      <a:pt x="2" y="2"/>
                    </a:lnTo>
                    <a:lnTo>
                      <a:pt x="5" y="2"/>
                    </a:lnTo>
                    <a:lnTo>
                      <a:pt x="5" y="2"/>
                    </a:lnTo>
                    <a:lnTo>
                      <a:pt x="5" y="4"/>
                    </a:lnTo>
                    <a:lnTo>
                      <a:pt x="7" y="2"/>
                    </a:lnTo>
                    <a:lnTo>
                      <a:pt x="7" y="2"/>
                    </a:lnTo>
                    <a:lnTo>
                      <a:pt x="7" y="2"/>
                    </a:lnTo>
                    <a:lnTo>
                      <a:pt x="7" y="2"/>
                    </a:lnTo>
                    <a:lnTo>
                      <a:pt x="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98" name="Freeform 34">
                <a:extLst>
                  <a:ext uri="{FF2B5EF4-FFF2-40B4-BE49-F238E27FC236}">
                    <a16:creationId xmlns:a16="http://schemas.microsoft.com/office/drawing/2014/main" id="{6BB05546-EAB2-4E78-999B-42C742E28A84}"/>
                  </a:ext>
                </a:extLst>
              </p:cNvPr>
              <p:cNvSpPr>
                <a:spLocks/>
              </p:cNvSpPr>
              <p:nvPr/>
            </p:nvSpPr>
            <p:spPr bwMode="gray">
              <a:xfrm>
                <a:off x="-1882" y="2907"/>
                <a:ext cx="9" cy="7"/>
              </a:xfrm>
              <a:custGeom>
                <a:avLst/>
                <a:gdLst>
                  <a:gd name="T0" fmla="*/ 4 w 9"/>
                  <a:gd name="T1" fmla="*/ 0 h 7"/>
                  <a:gd name="T2" fmla="*/ 4 w 9"/>
                  <a:gd name="T3" fmla="*/ 0 h 7"/>
                  <a:gd name="T4" fmla="*/ 4 w 9"/>
                  <a:gd name="T5" fmla="*/ 0 h 7"/>
                  <a:gd name="T6" fmla="*/ 4 w 9"/>
                  <a:gd name="T7" fmla="*/ 0 h 7"/>
                  <a:gd name="T8" fmla="*/ 2 w 9"/>
                  <a:gd name="T9" fmla="*/ 0 h 7"/>
                  <a:gd name="T10" fmla="*/ 2 w 9"/>
                  <a:gd name="T11" fmla="*/ 0 h 7"/>
                  <a:gd name="T12" fmla="*/ 2 w 9"/>
                  <a:gd name="T13" fmla="*/ 0 h 7"/>
                  <a:gd name="T14" fmla="*/ 2 w 9"/>
                  <a:gd name="T15" fmla="*/ 0 h 7"/>
                  <a:gd name="T16" fmla="*/ 2 w 9"/>
                  <a:gd name="T17" fmla="*/ 0 h 7"/>
                  <a:gd name="T18" fmla="*/ 0 w 9"/>
                  <a:gd name="T19" fmla="*/ 0 h 7"/>
                  <a:gd name="T20" fmla="*/ 0 w 9"/>
                  <a:gd name="T21" fmla="*/ 0 h 7"/>
                  <a:gd name="T22" fmla="*/ 0 w 9"/>
                  <a:gd name="T23" fmla="*/ 0 h 7"/>
                  <a:gd name="T24" fmla="*/ 0 w 9"/>
                  <a:gd name="T25" fmla="*/ 2 h 7"/>
                  <a:gd name="T26" fmla="*/ 0 w 9"/>
                  <a:gd name="T27" fmla="*/ 2 h 7"/>
                  <a:gd name="T28" fmla="*/ 0 w 9"/>
                  <a:gd name="T29" fmla="*/ 2 h 7"/>
                  <a:gd name="T30" fmla="*/ 2 w 9"/>
                  <a:gd name="T31" fmla="*/ 4 h 7"/>
                  <a:gd name="T32" fmla="*/ 4 w 9"/>
                  <a:gd name="T33" fmla="*/ 7 h 7"/>
                  <a:gd name="T34" fmla="*/ 7 w 9"/>
                  <a:gd name="T35" fmla="*/ 7 h 7"/>
                  <a:gd name="T36" fmla="*/ 9 w 9"/>
                  <a:gd name="T37" fmla="*/ 4 h 7"/>
                  <a:gd name="T38" fmla="*/ 9 w 9"/>
                  <a:gd name="T39" fmla="*/ 2 h 7"/>
                  <a:gd name="T40" fmla="*/ 7 w 9"/>
                  <a:gd name="T41" fmla="*/ 2 h 7"/>
                  <a:gd name="T42" fmla="*/ 4 w 9"/>
                  <a:gd name="T4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 h="7">
                    <a:moveTo>
                      <a:pt x="4" y="0"/>
                    </a:moveTo>
                    <a:lnTo>
                      <a:pt x="4" y="0"/>
                    </a:lnTo>
                    <a:lnTo>
                      <a:pt x="4" y="0"/>
                    </a:lnTo>
                    <a:lnTo>
                      <a:pt x="4" y="0"/>
                    </a:lnTo>
                    <a:lnTo>
                      <a:pt x="2" y="0"/>
                    </a:lnTo>
                    <a:lnTo>
                      <a:pt x="2" y="0"/>
                    </a:lnTo>
                    <a:lnTo>
                      <a:pt x="2" y="0"/>
                    </a:lnTo>
                    <a:lnTo>
                      <a:pt x="2" y="0"/>
                    </a:lnTo>
                    <a:lnTo>
                      <a:pt x="2" y="0"/>
                    </a:lnTo>
                    <a:lnTo>
                      <a:pt x="0" y="0"/>
                    </a:lnTo>
                    <a:lnTo>
                      <a:pt x="0" y="0"/>
                    </a:lnTo>
                    <a:lnTo>
                      <a:pt x="0" y="0"/>
                    </a:lnTo>
                    <a:lnTo>
                      <a:pt x="0" y="2"/>
                    </a:lnTo>
                    <a:lnTo>
                      <a:pt x="0" y="2"/>
                    </a:lnTo>
                    <a:lnTo>
                      <a:pt x="0" y="2"/>
                    </a:lnTo>
                    <a:lnTo>
                      <a:pt x="2" y="4"/>
                    </a:lnTo>
                    <a:lnTo>
                      <a:pt x="4" y="7"/>
                    </a:lnTo>
                    <a:lnTo>
                      <a:pt x="7" y="7"/>
                    </a:lnTo>
                    <a:lnTo>
                      <a:pt x="9" y="4"/>
                    </a:lnTo>
                    <a:lnTo>
                      <a:pt x="9" y="2"/>
                    </a:lnTo>
                    <a:lnTo>
                      <a:pt x="7"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99" name="Freeform 35">
                <a:extLst>
                  <a:ext uri="{FF2B5EF4-FFF2-40B4-BE49-F238E27FC236}">
                    <a16:creationId xmlns:a16="http://schemas.microsoft.com/office/drawing/2014/main" id="{AB40F122-547C-429B-8BA1-77D2AF8F2D20}"/>
                  </a:ext>
                </a:extLst>
              </p:cNvPr>
              <p:cNvSpPr>
                <a:spLocks/>
              </p:cNvSpPr>
              <p:nvPr/>
            </p:nvSpPr>
            <p:spPr bwMode="gray">
              <a:xfrm>
                <a:off x="-1859" y="2808"/>
                <a:ext cx="7" cy="2"/>
              </a:xfrm>
              <a:custGeom>
                <a:avLst/>
                <a:gdLst>
                  <a:gd name="T0" fmla="*/ 5 w 7"/>
                  <a:gd name="T1" fmla="*/ 2 h 2"/>
                  <a:gd name="T2" fmla="*/ 5 w 7"/>
                  <a:gd name="T3" fmla="*/ 0 h 2"/>
                  <a:gd name="T4" fmla="*/ 2 w 7"/>
                  <a:gd name="T5" fmla="*/ 0 h 2"/>
                  <a:gd name="T6" fmla="*/ 2 w 7"/>
                  <a:gd name="T7" fmla="*/ 0 h 2"/>
                  <a:gd name="T8" fmla="*/ 2 w 7"/>
                  <a:gd name="T9" fmla="*/ 0 h 2"/>
                  <a:gd name="T10" fmla="*/ 2 w 7"/>
                  <a:gd name="T11" fmla="*/ 0 h 2"/>
                  <a:gd name="T12" fmla="*/ 0 w 7"/>
                  <a:gd name="T13" fmla="*/ 0 h 2"/>
                  <a:gd name="T14" fmla="*/ 2 w 7"/>
                  <a:gd name="T15" fmla="*/ 2 h 2"/>
                  <a:gd name="T16" fmla="*/ 2 w 7"/>
                  <a:gd name="T17" fmla="*/ 2 h 2"/>
                  <a:gd name="T18" fmla="*/ 2 w 7"/>
                  <a:gd name="T19" fmla="*/ 2 h 2"/>
                  <a:gd name="T20" fmla="*/ 2 w 7"/>
                  <a:gd name="T21" fmla="*/ 2 h 2"/>
                  <a:gd name="T22" fmla="*/ 5 w 7"/>
                  <a:gd name="T23" fmla="*/ 2 h 2"/>
                  <a:gd name="T24" fmla="*/ 5 w 7"/>
                  <a:gd name="T25" fmla="*/ 2 h 2"/>
                  <a:gd name="T26" fmla="*/ 7 w 7"/>
                  <a:gd name="T27" fmla="*/ 2 h 2"/>
                  <a:gd name="T28" fmla="*/ 7 w 7"/>
                  <a:gd name="T29" fmla="*/ 2 h 2"/>
                  <a:gd name="T30" fmla="*/ 7 w 7"/>
                  <a:gd name="T31" fmla="*/ 2 h 2"/>
                  <a:gd name="T32" fmla="*/ 5 w 7"/>
                  <a:gd name="T3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2">
                    <a:moveTo>
                      <a:pt x="5" y="2"/>
                    </a:moveTo>
                    <a:lnTo>
                      <a:pt x="5" y="0"/>
                    </a:lnTo>
                    <a:lnTo>
                      <a:pt x="2" y="0"/>
                    </a:lnTo>
                    <a:lnTo>
                      <a:pt x="2" y="0"/>
                    </a:lnTo>
                    <a:lnTo>
                      <a:pt x="2" y="0"/>
                    </a:lnTo>
                    <a:lnTo>
                      <a:pt x="2" y="0"/>
                    </a:lnTo>
                    <a:lnTo>
                      <a:pt x="0" y="0"/>
                    </a:lnTo>
                    <a:lnTo>
                      <a:pt x="2" y="2"/>
                    </a:lnTo>
                    <a:lnTo>
                      <a:pt x="2" y="2"/>
                    </a:lnTo>
                    <a:lnTo>
                      <a:pt x="2" y="2"/>
                    </a:lnTo>
                    <a:lnTo>
                      <a:pt x="2" y="2"/>
                    </a:lnTo>
                    <a:lnTo>
                      <a:pt x="5" y="2"/>
                    </a:lnTo>
                    <a:lnTo>
                      <a:pt x="5" y="2"/>
                    </a:lnTo>
                    <a:lnTo>
                      <a:pt x="7" y="2"/>
                    </a:lnTo>
                    <a:lnTo>
                      <a:pt x="7" y="2"/>
                    </a:lnTo>
                    <a:lnTo>
                      <a:pt x="7" y="2"/>
                    </a:lnTo>
                    <a:lnTo>
                      <a:pt x="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00" name="Freeform 36">
                <a:extLst>
                  <a:ext uri="{FF2B5EF4-FFF2-40B4-BE49-F238E27FC236}">
                    <a16:creationId xmlns:a16="http://schemas.microsoft.com/office/drawing/2014/main" id="{19B3F96C-FC26-48B1-B701-233A5F456893}"/>
                  </a:ext>
                </a:extLst>
              </p:cNvPr>
              <p:cNvSpPr>
                <a:spLocks/>
              </p:cNvSpPr>
              <p:nvPr/>
            </p:nvSpPr>
            <p:spPr bwMode="gray">
              <a:xfrm>
                <a:off x="-1875" y="2803"/>
                <a:ext cx="4" cy="5"/>
              </a:xfrm>
              <a:custGeom>
                <a:avLst/>
                <a:gdLst>
                  <a:gd name="T0" fmla="*/ 2 w 4"/>
                  <a:gd name="T1" fmla="*/ 2 h 5"/>
                  <a:gd name="T2" fmla="*/ 2 w 4"/>
                  <a:gd name="T3" fmla="*/ 0 h 5"/>
                  <a:gd name="T4" fmla="*/ 0 w 4"/>
                  <a:gd name="T5" fmla="*/ 0 h 5"/>
                  <a:gd name="T6" fmla="*/ 0 w 4"/>
                  <a:gd name="T7" fmla="*/ 2 h 5"/>
                  <a:gd name="T8" fmla="*/ 0 w 4"/>
                  <a:gd name="T9" fmla="*/ 2 h 5"/>
                  <a:gd name="T10" fmla="*/ 2 w 4"/>
                  <a:gd name="T11" fmla="*/ 5 h 5"/>
                  <a:gd name="T12" fmla="*/ 2 w 4"/>
                  <a:gd name="T13" fmla="*/ 5 h 5"/>
                  <a:gd name="T14" fmla="*/ 4 w 4"/>
                  <a:gd name="T15" fmla="*/ 5 h 5"/>
                  <a:gd name="T16" fmla="*/ 4 w 4"/>
                  <a:gd name="T17" fmla="*/ 5 h 5"/>
                  <a:gd name="T18" fmla="*/ 2 w 4"/>
                  <a:gd name="T19" fmla="*/ 2 h 5"/>
                  <a:gd name="T20" fmla="*/ 2 w 4"/>
                  <a:gd name="T2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
                    <a:moveTo>
                      <a:pt x="2" y="2"/>
                    </a:moveTo>
                    <a:lnTo>
                      <a:pt x="2" y="0"/>
                    </a:lnTo>
                    <a:lnTo>
                      <a:pt x="0" y="0"/>
                    </a:lnTo>
                    <a:lnTo>
                      <a:pt x="0" y="2"/>
                    </a:lnTo>
                    <a:lnTo>
                      <a:pt x="0" y="2"/>
                    </a:lnTo>
                    <a:lnTo>
                      <a:pt x="2" y="5"/>
                    </a:lnTo>
                    <a:lnTo>
                      <a:pt x="2" y="5"/>
                    </a:lnTo>
                    <a:lnTo>
                      <a:pt x="4" y="5"/>
                    </a:lnTo>
                    <a:lnTo>
                      <a:pt x="4" y="5"/>
                    </a:lnTo>
                    <a:lnTo>
                      <a:pt x="2" y="2"/>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01" name="Freeform 37">
                <a:extLst>
                  <a:ext uri="{FF2B5EF4-FFF2-40B4-BE49-F238E27FC236}">
                    <a16:creationId xmlns:a16="http://schemas.microsoft.com/office/drawing/2014/main" id="{BDE40991-4E06-4D5E-B4B7-D92A06B2EC1B}"/>
                  </a:ext>
                </a:extLst>
              </p:cNvPr>
              <p:cNvSpPr>
                <a:spLocks/>
              </p:cNvSpPr>
              <p:nvPr/>
            </p:nvSpPr>
            <p:spPr bwMode="gray">
              <a:xfrm>
                <a:off x="-1996" y="2402"/>
                <a:ext cx="0" cy="3"/>
              </a:xfrm>
              <a:custGeom>
                <a:avLst/>
                <a:gdLst>
                  <a:gd name="T0" fmla="*/ 3 h 3"/>
                  <a:gd name="T1" fmla="*/ 3 h 3"/>
                  <a:gd name="T2" fmla="*/ 3 h 3"/>
                  <a:gd name="T3" fmla="*/ 3 h 3"/>
                  <a:gd name="T4" fmla="*/ 0 h 3"/>
                  <a:gd name="T5" fmla="*/ 3 h 3"/>
                </a:gdLst>
                <a:ahLst/>
                <a:cxnLst>
                  <a:cxn ang="0">
                    <a:pos x="0" y="T0"/>
                  </a:cxn>
                  <a:cxn ang="0">
                    <a:pos x="0" y="T1"/>
                  </a:cxn>
                  <a:cxn ang="0">
                    <a:pos x="0" y="T2"/>
                  </a:cxn>
                  <a:cxn ang="0">
                    <a:pos x="0" y="T3"/>
                  </a:cxn>
                  <a:cxn ang="0">
                    <a:pos x="0" y="T4"/>
                  </a:cxn>
                  <a:cxn ang="0">
                    <a:pos x="0" y="T5"/>
                  </a:cxn>
                </a:cxnLst>
                <a:rect l="0" t="0" r="r" b="b"/>
                <a:pathLst>
                  <a:path h="3">
                    <a:moveTo>
                      <a:pt x="0" y="3"/>
                    </a:moveTo>
                    <a:lnTo>
                      <a:pt x="0" y="3"/>
                    </a:lnTo>
                    <a:lnTo>
                      <a:pt x="0" y="3"/>
                    </a:lnTo>
                    <a:lnTo>
                      <a:pt x="0" y="3"/>
                    </a:lnTo>
                    <a:lnTo>
                      <a:pt x="0"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02" name="Freeform 38">
                <a:extLst>
                  <a:ext uri="{FF2B5EF4-FFF2-40B4-BE49-F238E27FC236}">
                    <a16:creationId xmlns:a16="http://schemas.microsoft.com/office/drawing/2014/main" id="{5984A1DA-3B94-46BB-8968-7EEA54C15EDE}"/>
                  </a:ext>
                </a:extLst>
              </p:cNvPr>
              <p:cNvSpPr>
                <a:spLocks/>
              </p:cNvSpPr>
              <p:nvPr/>
            </p:nvSpPr>
            <p:spPr bwMode="gray">
              <a:xfrm>
                <a:off x="-1748" y="2551"/>
                <a:ext cx="7" cy="7"/>
              </a:xfrm>
              <a:custGeom>
                <a:avLst/>
                <a:gdLst>
                  <a:gd name="T0" fmla="*/ 0 w 7"/>
                  <a:gd name="T1" fmla="*/ 4 h 7"/>
                  <a:gd name="T2" fmla="*/ 0 w 7"/>
                  <a:gd name="T3" fmla="*/ 4 h 7"/>
                  <a:gd name="T4" fmla="*/ 0 w 7"/>
                  <a:gd name="T5" fmla="*/ 7 h 7"/>
                  <a:gd name="T6" fmla="*/ 2 w 7"/>
                  <a:gd name="T7" fmla="*/ 7 h 7"/>
                  <a:gd name="T8" fmla="*/ 2 w 7"/>
                  <a:gd name="T9" fmla="*/ 7 h 7"/>
                  <a:gd name="T10" fmla="*/ 5 w 7"/>
                  <a:gd name="T11" fmla="*/ 7 h 7"/>
                  <a:gd name="T12" fmla="*/ 5 w 7"/>
                  <a:gd name="T13" fmla="*/ 7 h 7"/>
                  <a:gd name="T14" fmla="*/ 7 w 7"/>
                  <a:gd name="T15" fmla="*/ 7 h 7"/>
                  <a:gd name="T16" fmla="*/ 7 w 7"/>
                  <a:gd name="T17" fmla="*/ 7 h 7"/>
                  <a:gd name="T18" fmla="*/ 7 w 7"/>
                  <a:gd name="T19" fmla="*/ 7 h 7"/>
                  <a:gd name="T20" fmla="*/ 7 w 7"/>
                  <a:gd name="T21" fmla="*/ 4 h 7"/>
                  <a:gd name="T22" fmla="*/ 7 w 7"/>
                  <a:gd name="T23" fmla="*/ 4 h 7"/>
                  <a:gd name="T24" fmla="*/ 7 w 7"/>
                  <a:gd name="T25" fmla="*/ 4 h 7"/>
                  <a:gd name="T26" fmla="*/ 7 w 7"/>
                  <a:gd name="T27" fmla="*/ 4 h 7"/>
                  <a:gd name="T28" fmla="*/ 7 w 7"/>
                  <a:gd name="T29" fmla="*/ 2 h 7"/>
                  <a:gd name="T30" fmla="*/ 2 w 7"/>
                  <a:gd name="T31" fmla="*/ 0 h 7"/>
                  <a:gd name="T32" fmla="*/ 0 w 7"/>
                  <a:gd name="T33" fmla="*/ 0 h 7"/>
                  <a:gd name="T34" fmla="*/ 2 w 7"/>
                  <a:gd name="T35" fmla="*/ 2 h 7"/>
                  <a:gd name="T36" fmla="*/ 0 w 7"/>
                  <a:gd name="T37" fmla="*/ 2 h 7"/>
                  <a:gd name="T38" fmla="*/ 0 w 7"/>
                  <a:gd name="T3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7">
                    <a:moveTo>
                      <a:pt x="0" y="4"/>
                    </a:moveTo>
                    <a:lnTo>
                      <a:pt x="0" y="4"/>
                    </a:lnTo>
                    <a:lnTo>
                      <a:pt x="0" y="7"/>
                    </a:lnTo>
                    <a:lnTo>
                      <a:pt x="2" y="7"/>
                    </a:lnTo>
                    <a:lnTo>
                      <a:pt x="2" y="7"/>
                    </a:lnTo>
                    <a:lnTo>
                      <a:pt x="5" y="7"/>
                    </a:lnTo>
                    <a:lnTo>
                      <a:pt x="5" y="7"/>
                    </a:lnTo>
                    <a:lnTo>
                      <a:pt x="7" y="7"/>
                    </a:lnTo>
                    <a:lnTo>
                      <a:pt x="7" y="7"/>
                    </a:lnTo>
                    <a:lnTo>
                      <a:pt x="7" y="7"/>
                    </a:lnTo>
                    <a:lnTo>
                      <a:pt x="7" y="4"/>
                    </a:lnTo>
                    <a:lnTo>
                      <a:pt x="7" y="4"/>
                    </a:lnTo>
                    <a:lnTo>
                      <a:pt x="7" y="4"/>
                    </a:lnTo>
                    <a:lnTo>
                      <a:pt x="7" y="4"/>
                    </a:lnTo>
                    <a:lnTo>
                      <a:pt x="7" y="2"/>
                    </a:lnTo>
                    <a:lnTo>
                      <a:pt x="2" y="0"/>
                    </a:lnTo>
                    <a:lnTo>
                      <a:pt x="0" y="0"/>
                    </a:lnTo>
                    <a:lnTo>
                      <a:pt x="2" y="2"/>
                    </a:lnTo>
                    <a:lnTo>
                      <a:pt x="0" y="2"/>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03" name="Rectangle 39">
                <a:extLst>
                  <a:ext uri="{FF2B5EF4-FFF2-40B4-BE49-F238E27FC236}">
                    <a16:creationId xmlns:a16="http://schemas.microsoft.com/office/drawing/2014/main" id="{9C4BF64E-8D91-4955-BCF3-9F7ED83E89BA}"/>
                  </a:ext>
                </a:extLst>
              </p:cNvPr>
              <p:cNvSpPr>
                <a:spLocks noChangeArrowheads="1"/>
              </p:cNvSpPr>
              <p:nvPr/>
            </p:nvSpPr>
            <p:spPr bwMode="gray">
              <a:xfrm>
                <a:off x="-1713" y="2753"/>
                <a:ext cx="1" cy="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04" name="Freeform 40">
                <a:extLst>
                  <a:ext uri="{FF2B5EF4-FFF2-40B4-BE49-F238E27FC236}">
                    <a16:creationId xmlns:a16="http://schemas.microsoft.com/office/drawing/2014/main" id="{7D3E928F-45E6-4EF5-95B6-D65ED67A2424}"/>
                  </a:ext>
                </a:extLst>
              </p:cNvPr>
              <p:cNvSpPr>
                <a:spLocks/>
              </p:cNvSpPr>
              <p:nvPr/>
            </p:nvSpPr>
            <p:spPr bwMode="gray">
              <a:xfrm>
                <a:off x="-1854" y="2103"/>
                <a:ext cx="7" cy="7"/>
              </a:xfrm>
              <a:custGeom>
                <a:avLst/>
                <a:gdLst>
                  <a:gd name="T0" fmla="*/ 0 w 7"/>
                  <a:gd name="T1" fmla="*/ 7 h 7"/>
                  <a:gd name="T2" fmla="*/ 2 w 7"/>
                  <a:gd name="T3" fmla="*/ 0 h 7"/>
                  <a:gd name="T4" fmla="*/ 5 w 7"/>
                  <a:gd name="T5" fmla="*/ 0 h 7"/>
                  <a:gd name="T6" fmla="*/ 7 w 7"/>
                  <a:gd name="T7" fmla="*/ 0 h 7"/>
                  <a:gd name="T8" fmla="*/ 7 w 7"/>
                  <a:gd name="T9" fmla="*/ 0 h 7"/>
                  <a:gd name="T10" fmla="*/ 5 w 7"/>
                  <a:gd name="T11" fmla="*/ 0 h 7"/>
                  <a:gd name="T12" fmla="*/ 5 w 7"/>
                  <a:gd name="T13" fmla="*/ 0 h 7"/>
                  <a:gd name="T14" fmla="*/ 2 w 7"/>
                  <a:gd name="T15" fmla="*/ 0 h 7"/>
                  <a:gd name="T16" fmla="*/ 2 w 7"/>
                  <a:gd name="T17" fmla="*/ 2 h 7"/>
                  <a:gd name="T18" fmla="*/ 0 w 7"/>
                  <a:gd name="T19" fmla="*/ 5 h 7"/>
                  <a:gd name="T20" fmla="*/ 0 w 7"/>
                  <a:gd name="T21" fmla="*/ 7 h 7"/>
                  <a:gd name="T22" fmla="*/ 0 w 7"/>
                  <a:gd name="T2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0" y="7"/>
                    </a:moveTo>
                    <a:lnTo>
                      <a:pt x="2" y="0"/>
                    </a:lnTo>
                    <a:lnTo>
                      <a:pt x="5" y="0"/>
                    </a:lnTo>
                    <a:lnTo>
                      <a:pt x="7" y="0"/>
                    </a:lnTo>
                    <a:lnTo>
                      <a:pt x="7" y="0"/>
                    </a:lnTo>
                    <a:lnTo>
                      <a:pt x="5" y="0"/>
                    </a:lnTo>
                    <a:lnTo>
                      <a:pt x="5" y="0"/>
                    </a:lnTo>
                    <a:lnTo>
                      <a:pt x="2" y="0"/>
                    </a:lnTo>
                    <a:lnTo>
                      <a:pt x="2" y="2"/>
                    </a:lnTo>
                    <a:lnTo>
                      <a:pt x="0" y="5"/>
                    </a:lnTo>
                    <a:lnTo>
                      <a:pt x="0" y="7"/>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05" name="Freeform 41">
                <a:extLst>
                  <a:ext uri="{FF2B5EF4-FFF2-40B4-BE49-F238E27FC236}">
                    <a16:creationId xmlns:a16="http://schemas.microsoft.com/office/drawing/2014/main" id="{9257E674-1413-4FD6-858F-9E4FB3A46757}"/>
                  </a:ext>
                </a:extLst>
              </p:cNvPr>
              <p:cNvSpPr>
                <a:spLocks/>
              </p:cNvSpPr>
              <p:nvPr/>
            </p:nvSpPr>
            <p:spPr bwMode="gray">
              <a:xfrm>
                <a:off x="-1847" y="2777"/>
                <a:ext cx="224" cy="146"/>
              </a:xfrm>
              <a:custGeom>
                <a:avLst/>
                <a:gdLst>
                  <a:gd name="T0" fmla="*/ 224 w 224"/>
                  <a:gd name="T1" fmla="*/ 2 h 146"/>
                  <a:gd name="T2" fmla="*/ 212 w 224"/>
                  <a:gd name="T3" fmla="*/ 2 h 146"/>
                  <a:gd name="T4" fmla="*/ 198 w 224"/>
                  <a:gd name="T5" fmla="*/ 7 h 146"/>
                  <a:gd name="T6" fmla="*/ 196 w 224"/>
                  <a:gd name="T7" fmla="*/ 5 h 146"/>
                  <a:gd name="T8" fmla="*/ 186 w 224"/>
                  <a:gd name="T9" fmla="*/ 14 h 146"/>
                  <a:gd name="T10" fmla="*/ 182 w 224"/>
                  <a:gd name="T11" fmla="*/ 12 h 146"/>
                  <a:gd name="T12" fmla="*/ 175 w 224"/>
                  <a:gd name="T13" fmla="*/ 9 h 146"/>
                  <a:gd name="T14" fmla="*/ 163 w 224"/>
                  <a:gd name="T15" fmla="*/ 12 h 146"/>
                  <a:gd name="T16" fmla="*/ 146 w 224"/>
                  <a:gd name="T17" fmla="*/ 21 h 146"/>
                  <a:gd name="T18" fmla="*/ 120 w 224"/>
                  <a:gd name="T19" fmla="*/ 24 h 146"/>
                  <a:gd name="T20" fmla="*/ 111 w 224"/>
                  <a:gd name="T21" fmla="*/ 24 h 146"/>
                  <a:gd name="T22" fmla="*/ 97 w 224"/>
                  <a:gd name="T23" fmla="*/ 28 h 146"/>
                  <a:gd name="T24" fmla="*/ 90 w 224"/>
                  <a:gd name="T25" fmla="*/ 26 h 146"/>
                  <a:gd name="T26" fmla="*/ 78 w 224"/>
                  <a:gd name="T27" fmla="*/ 21 h 146"/>
                  <a:gd name="T28" fmla="*/ 66 w 224"/>
                  <a:gd name="T29" fmla="*/ 14 h 146"/>
                  <a:gd name="T30" fmla="*/ 61 w 224"/>
                  <a:gd name="T31" fmla="*/ 7 h 146"/>
                  <a:gd name="T32" fmla="*/ 57 w 224"/>
                  <a:gd name="T33" fmla="*/ 7 h 146"/>
                  <a:gd name="T34" fmla="*/ 49 w 224"/>
                  <a:gd name="T35" fmla="*/ 9 h 146"/>
                  <a:gd name="T36" fmla="*/ 45 w 224"/>
                  <a:gd name="T37" fmla="*/ 14 h 146"/>
                  <a:gd name="T38" fmla="*/ 45 w 224"/>
                  <a:gd name="T39" fmla="*/ 19 h 146"/>
                  <a:gd name="T40" fmla="*/ 31 w 224"/>
                  <a:gd name="T41" fmla="*/ 21 h 146"/>
                  <a:gd name="T42" fmla="*/ 23 w 224"/>
                  <a:gd name="T43" fmla="*/ 9 h 146"/>
                  <a:gd name="T44" fmla="*/ 19 w 224"/>
                  <a:gd name="T45" fmla="*/ 16 h 146"/>
                  <a:gd name="T46" fmla="*/ 14 w 224"/>
                  <a:gd name="T47" fmla="*/ 19 h 146"/>
                  <a:gd name="T48" fmla="*/ 5 w 224"/>
                  <a:gd name="T49" fmla="*/ 26 h 146"/>
                  <a:gd name="T50" fmla="*/ 2 w 224"/>
                  <a:gd name="T51" fmla="*/ 35 h 146"/>
                  <a:gd name="T52" fmla="*/ 2 w 224"/>
                  <a:gd name="T53" fmla="*/ 40 h 146"/>
                  <a:gd name="T54" fmla="*/ 0 w 224"/>
                  <a:gd name="T55" fmla="*/ 45 h 146"/>
                  <a:gd name="T56" fmla="*/ 2 w 224"/>
                  <a:gd name="T57" fmla="*/ 52 h 146"/>
                  <a:gd name="T58" fmla="*/ 9 w 224"/>
                  <a:gd name="T59" fmla="*/ 57 h 146"/>
                  <a:gd name="T60" fmla="*/ 31 w 224"/>
                  <a:gd name="T61" fmla="*/ 64 h 146"/>
                  <a:gd name="T62" fmla="*/ 40 w 224"/>
                  <a:gd name="T63" fmla="*/ 71 h 146"/>
                  <a:gd name="T64" fmla="*/ 52 w 224"/>
                  <a:gd name="T65" fmla="*/ 73 h 146"/>
                  <a:gd name="T66" fmla="*/ 57 w 224"/>
                  <a:gd name="T67" fmla="*/ 78 h 146"/>
                  <a:gd name="T68" fmla="*/ 66 w 224"/>
                  <a:gd name="T69" fmla="*/ 85 h 146"/>
                  <a:gd name="T70" fmla="*/ 82 w 224"/>
                  <a:gd name="T71" fmla="*/ 92 h 146"/>
                  <a:gd name="T72" fmla="*/ 101 w 224"/>
                  <a:gd name="T73" fmla="*/ 106 h 146"/>
                  <a:gd name="T74" fmla="*/ 118 w 224"/>
                  <a:gd name="T75" fmla="*/ 106 h 146"/>
                  <a:gd name="T76" fmla="*/ 144 w 224"/>
                  <a:gd name="T77" fmla="*/ 132 h 146"/>
                  <a:gd name="T78" fmla="*/ 158 w 224"/>
                  <a:gd name="T79" fmla="*/ 139 h 146"/>
                  <a:gd name="T80" fmla="*/ 170 w 224"/>
                  <a:gd name="T81" fmla="*/ 139 h 146"/>
                  <a:gd name="T82" fmla="*/ 179 w 224"/>
                  <a:gd name="T83" fmla="*/ 141 h 146"/>
                  <a:gd name="T84" fmla="*/ 184 w 224"/>
                  <a:gd name="T85" fmla="*/ 144 h 146"/>
                  <a:gd name="T86" fmla="*/ 186 w 224"/>
                  <a:gd name="T87" fmla="*/ 134 h 146"/>
                  <a:gd name="T88" fmla="*/ 193 w 224"/>
                  <a:gd name="T89" fmla="*/ 118 h 146"/>
                  <a:gd name="T90" fmla="*/ 198 w 224"/>
                  <a:gd name="T91" fmla="*/ 115 h 146"/>
                  <a:gd name="T92" fmla="*/ 203 w 224"/>
                  <a:gd name="T93" fmla="*/ 113 h 146"/>
                  <a:gd name="T94" fmla="*/ 200 w 224"/>
                  <a:gd name="T95" fmla="*/ 111 h 146"/>
                  <a:gd name="T96" fmla="*/ 200 w 224"/>
                  <a:gd name="T97" fmla="*/ 106 h 146"/>
                  <a:gd name="T98" fmla="*/ 196 w 224"/>
                  <a:gd name="T99" fmla="*/ 101 h 146"/>
                  <a:gd name="T100" fmla="*/ 193 w 224"/>
                  <a:gd name="T101" fmla="*/ 94 h 146"/>
                  <a:gd name="T102" fmla="*/ 196 w 224"/>
                  <a:gd name="T103" fmla="*/ 94 h 146"/>
                  <a:gd name="T104" fmla="*/ 191 w 224"/>
                  <a:gd name="T105" fmla="*/ 89 h 146"/>
                  <a:gd name="T106" fmla="*/ 186 w 224"/>
                  <a:gd name="T107" fmla="*/ 73 h 146"/>
                  <a:gd name="T108" fmla="*/ 193 w 224"/>
                  <a:gd name="T109" fmla="*/ 57 h 146"/>
                  <a:gd name="T110" fmla="*/ 193 w 224"/>
                  <a:gd name="T111" fmla="*/ 49 h 146"/>
                  <a:gd name="T112" fmla="*/ 200 w 224"/>
                  <a:gd name="T113" fmla="*/ 38 h 146"/>
                  <a:gd name="T114" fmla="*/ 219 w 224"/>
                  <a:gd name="T115" fmla="*/ 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4" h="146">
                    <a:moveTo>
                      <a:pt x="219" y="7"/>
                    </a:moveTo>
                    <a:lnTo>
                      <a:pt x="219" y="5"/>
                    </a:lnTo>
                    <a:lnTo>
                      <a:pt x="224" y="2"/>
                    </a:lnTo>
                    <a:lnTo>
                      <a:pt x="224" y="2"/>
                    </a:lnTo>
                    <a:lnTo>
                      <a:pt x="224" y="2"/>
                    </a:lnTo>
                    <a:lnTo>
                      <a:pt x="224" y="2"/>
                    </a:lnTo>
                    <a:lnTo>
                      <a:pt x="224" y="2"/>
                    </a:lnTo>
                    <a:lnTo>
                      <a:pt x="222" y="0"/>
                    </a:lnTo>
                    <a:lnTo>
                      <a:pt x="219" y="0"/>
                    </a:lnTo>
                    <a:lnTo>
                      <a:pt x="217" y="0"/>
                    </a:lnTo>
                    <a:lnTo>
                      <a:pt x="215" y="0"/>
                    </a:lnTo>
                    <a:lnTo>
                      <a:pt x="212" y="2"/>
                    </a:lnTo>
                    <a:lnTo>
                      <a:pt x="210" y="5"/>
                    </a:lnTo>
                    <a:lnTo>
                      <a:pt x="210" y="5"/>
                    </a:lnTo>
                    <a:lnTo>
                      <a:pt x="208" y="5"/>
                    </a:lnTo>
                    <a:lnTo>
                      <a:pt x="203" y="7"/>
                    </a:lnTo>
                    <a:lnTo>
                      <a:pt x="200" y="7"/>
                    </a:lnTo>
                    <a:lnTo>
                      <a:pt x="198" y="7"/>
                    </a:lnTo>
                    <a:lnTo>
                      <a:pt x="198" y="7"/>
                    </a:lnTo>
                    <a:lnTo>
                      <a:pt x="196" y="7"/>
                    </a:lnTo>
                    <a:lnTo>
                      <a:pt x="196" y="5"/>
                    </a:lnTo>
                    <a:lnTo>
                      <a:pt x="196" y="2"/>
                    </a:lnTo>
                    <a:lnTo>
                      <a:pt x="196" y="2"/>
                    </a:lnTo>
                    <a:lnTo>
                      <a:pt x="196" y="5"/>
                    </a:lnTo>
                    <a:lnTo>
                      <a:pt x="196" y="5"/>
                    </a:lnTo>
                    <a:lnTo>
                      <a:pt x="196" y="5"/>
                    </a:lnTo>
                    <a:lnTo>
                      <a:pt x="193" y="9"/>
                    </a:lnTo>
                    <a:lnTo>
                      <a:pt x="191" y="12"/>
                    </a:lnTo>
                    <a:lnTo>
                      <a:pt x="189" y="14"/>
                    </a:lnTo>
                    <a:lnTo>
                      <a:pt x="186" y="14"/>
                    </a:lnTo>
                    <a:lnTo>
                      <a:pt x="186" y="14"/>
                    </a:lnTo>
                    <a:lnTo>
                      <a:pt x="184" y="14"/>
                    </a:lnTo>
                    <a:lnTo>
                      <a:pt x="184" y="14"/>
                    </a:lnTo>
                    <a:lnTo>
                      <a:pt x="184" y="14"/>
                    </a:lnTo>
                    <a:lnTo>
                      <a:pt x="184" y="12"/>
                    </a:lnTo>
                    <a:lnTo>
                      <a:pt x="182" y="12"/>
                    </a:lnTo>
                    <a:lnTo>
                      <a:pt x="179" y="12"/>
                    </a:lnTo>
                    <a:lnTo>
                      <a:pt x="179" y="12"/>
                    </a:lnTo>
                    <a:lnTo>
                      <a:pt x="177" y="12"/>
                    </a:lnTo>
                    <a:lnTo>
                      <a:pt x="177" y="12"/>
                    </a:lnTo>
                    <a:lnTo>
                      <a:pt x="177" y="9"/>
                    </a:lnTo>
                    <a:lnTo>
                      <a:pt x="175" y="9"/>
                    </a:lnTo>
                    <a:lnTo>
                      <a:pt x="172" y="9"/>
                    </a:lnTo>
                    <a:lnTo>
                      <a:pt x="172" y="9"/>
                    </a:lnTo>
                    <a:lnTo>
                      <a:pt x="172" y="9"/>
                    </a:lnTo>
                    <a:lnTo>
                      <a:pt x="170" y="9"/>
                    </a:lnTo>
                    <a:lnTo>
                      <a:pt x="165" y="12"/>
                    </a:lnTo>
                    <a:lnTo>
                      <a:pt x="163" y="12"/>
                    </a:lnTo>
                    <a:lnTo>
                      <a:pt x="163" y="12"/>
                    </a:lnTo>
                    <a:lnTo>
                      <a:pt x="160" y="12"/>
                    </a:lnTo>
                    <a:lnTo>
                      <a:pt x="158" y="14"/>
                    </a:lnTo>
                    <a:lnTo>
                      <a:pt x="156" y="16"/>
                    </a:lnTo>
                    <a:lnTo>
                      <a:pt x="153" y="19"/>
                    </a:lnTo>
                    <a:lnTo>
                      <a:pt x="146" y="21"/>
                    </a:lnTo>
                    <a:lnTo>
                      <a:pt x="141" y="24"/>
                    </a:lnTo>
                    <a:lnTo>
                      <a:pt x="139" y="21"/>
                    </a:lnTo>
                    <a:lnTo>
                      <a:pt x="137" y="24"/>
                    </a:lnTo>
                    <a:lnTo>
                      <a:pt x="132" y="24"/>
                    </a:lnTo>
                    <a:lnTo>
                      <a:pt x="130" y="24"/>
                    </a:lnTo>
                    <a:lnTo>
                      <a:pt x="120" y="24"/>
                    </a:lnTo>
                    <a:lnTo>
                      <a:pt x="118" y="24"/>
                    </a:lnTo>
                    <a:lnTo>
                      <a:pt x="118" y="24"/>
                    </a:lnTo>
                    <a:lnTo>
                      <a:pt x="116" y="24"/>
                    </a:lnTo>
                    <a:lnTo>
                      <a:pt x="113" y="24"/>
                    </a:lnTo>
                    <a:lnTo>
                      <a:pt x="111" y="21"/>
                    </a:lnTo>
                    <a:lnTo>
                      <a:pt x="111" y="24"/>
                    </a:lnTo>
                    <a:lnTo>
                      <a:pt x="106" y="24"/>
                    </a:lnTo>
                    <a:lnTo>
                      <a:pt x="104" y="24"/>
                    </a:lnTo>
                    <a:lnTo>
                      <a:pt x="104" y="26"/>
                    </a:lnTo>
                    <a:lnTo>
                      <a:pt x="104" y="26"/>
                    </a:lnTo>
                    <a:lnTo>
                      <a:pt x="99" y="26"/>
                    </a:lnTo>
                    <a:lnTo>
                      <a:pt x="97" y="28"/>
                    </a:lnTo>
                    <a:lnTo>
                      <a:pt x="94" y="28"/>
                    </a:lnTo>
                    <a:lnTo>
                      <a:pt x="90" y="28"/>
                    </a:lnTo>
                    <a:lnTo>
                      <a:pt x="90" y="28"/>
                    </a:lnTo>
                    <a:lnTo>
                      <a:pt x="90" y="28"/>
                    </a:lnTo>
                    <a:lnTo>
                      <a:pt x="90" y="28"/>
                    </a:lnTo>
                    <a:lnTo>
                      <a:pt x="90" y="26"/>
                    </a:lnTo>
                    <a:lnTo>
                      <a:pt x="85" y="26"/>
                    </a:lnTo>
                    <a:lnTo>
                      <a:pt x="82" y="24"/>
                    </a:lnTo>
                    <a:lnTo>
                      <a:pt x="80" y="24"/>
                    </a:lnTo>
                    <a:lnTo>
                      <a:pt x="78" y="21"/>
                    </a:lnTo>
                    <a:lnTo>
                      <a:pt x="78" y="21"/>
                    </a:lnTo>
                    <a:lnTo>
                      <a:pt x="78" y="21"/>
                    </a:lnTo>
                    <a:lnTo>
                      <a:pt x="78" y="19"/>
                    </a:lnTo>
                    <a:lnTo>
                      <a:pt x="78" y="19"/>
                    </a:lnTo>
                    <a:lnTo>
                      <a:pt x="75" y="16"/>
                    </a:lnTo>
                    <a:lnTo>
                      <a:pt x="66" y="16"/>
                    </a:lnTo>
                    <a:lnTo>
                      <a:pt x="66" y="14"/>
                    </a:lnTo>
                    <a:lnTo>
                      <a:pt x="66" y="14"/>
                    </a:lnTo>
                    <a:lnTo>
                      <a:pt x="66" y="12"/>
                    </a:lnTo>
                    <a:lnTo>
                      <a:pt x="66" y="9"/>
                    </a:lnTo>
                    <a:lnTo>
                      <a:pt x="64" y="7"/>
                    </a:lnTo>
                    <a:lnTo>
                      <a:pt x="64" y="7"/>
                    </a:lnTo>
                    <a:lnTo>
                      <a:pt x="64" y="7"/>
                    </a:lnTo>
                    <a:lnTo>
                      <a:pt x="61" y="7"/>
                    </a:lnTo>
                    <a:lnTo>
                      <a:pt x="61" y="7"/>
                    </a:lnTo>
                    <a:lnTo>
                      <a:pt x="61" y="7"/>
                    </a:lnTo>
                    <a:lnTo>
                      <a:pt x="61" y="7"/>
                    </a:lnTo>
                    <a:lnTo>
                      <a:pt x="59" y="7"/>
                    </a:lnTo>
                    <a:lnTo>
                      <a:pt x="59" y="7"/>
                    </a:lnTo>
                    <a:lnTo>
                      <a:pt x="57" y="7"/>
                    </a:lnTo>
                    <a:lnTo>
                      <a:pt x="57" y="7"/>
                    </a:lnTo>
                    <a:lnTo>
                      <a:pt x="57" y="9"/>
                    </a:lnTo>
                    <a:lnTo>
                      <a:pt x="54" y="9"/>
                    </a:lnTo>
                    <a:lnTo>
                      <a:pt x="52" y="9"/>
                    </a:lnTo>
                    <a:lnTo>
                      <a:pt x="49" y="9"/>
                    </a:lnTo>
                    <a:lnTo>
                      <a:pt x="49" y="9"/>
                    </a:lnTo>
                    <a:lnTo>
                      <a:pt x="47" y="9"/>
                    </a:lnTo>
                    <a:lnTo>
                      <a:pt x="47" y="9"/>
                    </a:lnTo>
                    <a:lnTo>
                      <a:pt x="47" y="9"/>
                    </a:lnTo>
                    <a:lnTo>
                      <a:pt x="45" y="12"/>
                    </a:lnTo>
                    <a:lnTo>
                      <a:pt x="45" y="12"/>
                    </a:lnTo>
                    <a:lnTo>
                      <a:pt x="45" y="14"/>
                    </a:lnTo>
                    <a:lnTo>
                      <a:pt x="45" y="14"/>
                    </a:lnTo>
                    <a:lnTo>
                      <a:pt x="45" y="14"/>
                    </a:lnTo>
                    <a:lnTo>
                      <a:pt x="45" y="16"/>
                    </a:lnTo>
                    <a:lnTo>
                      <a:pt x="45" y="16"/>
                    </a:lnTo>
                    <a:lnTo>
                      <a:pt x="45" y="19"/>
                    </a:lnTo>
                    <a:lnTo>
                      <a:pt x="45" y="19"/>
                    </a:lnTo>
                    <a:lnTo>
                      <a:pt x="42" y="21"/>
                    </a:lnTo>
                    <a:lnTo>
                      <a:pt x="35" y="24"/>
                    </a:lnTo>
                    <a:lnTo>
                      <a:pt x="33" y="24"/>
                    </a:lnTo>
                    <a:lnTo>
                      <a:pt x="31" y="21"/>
                    </a:lnTo>
                    <a:lnTo>
                      <a:pt x="31" y="21"/>
                    </a:lnTo>
                    <a:lnTo>
                      <a:pt x="31" y="21"/>
                    </a:lnTo>
                    <a:lnTo>
                      <a:pt x="28" y="21"/>
                    </a:lnTo>
                    <a:lnTo>
                      <a:pt x="26" y="19"/>
                    </a:lnTo>
                    <a:lnTo>
                      <a:pt x="26" y="16"/>
                    </a:lnTo>
                    <a:lnTo>
                      <a:pt x="23" y="12"/>
                    </a:lnTo>
                    <a:lnTo>
                      <a:pt x="23" y="9"/>
                    </a:lnTo>
                    <a:lnTo>
                      <a:pt x="23" y="9"/>
                    </a:lnTo>
                    <a:lnTo>
                      <a:pt x="21" y="9"/>
                    </a:lnTo>
                    <a:lnTo>
                      <a:pt x="21" y="9"/>
                    </a:lnTo>
                    <a:lnTo>
                      <a:pt x="21" y="9"/>
                    </a:lnTo>
                    <a:lnTo>
                      <a:pt x="21" y="12"/>
                    </a:lnTo>
                    <a:lnTo>
                      <a:pt x="21" y="14"/>
                    </a:lnTo>
                    <a:lnTo>
                      <a:pt x="19" y="16"/>
                    </a:lnTo>
                    <a:lnTo>
                      <a:pt x="19" y="16"/>
                    </a:lnTo>
                    <a:lnTo>
                      <a:pt x="16" y="16"/>
                    </a:lnTo>
                    <a:lnTo>
                      <a:pt x="16" y="16"/>
                    </a:lnTo>
                    <a:lnTo>
                      <a:pt x="16" y="16"/>
                    </a:lnTo>
                    <a:lnTo>
                      <a:pt x="16" y="19"/>
                    </a:lnTo>
                    <a:lnTo>
                      <a:pt x="14" y="19"/>
                    </a:lnTo>
                    <a:lnTo>
                      <a:pt x="12" y="21"/>
                    </a:lnTo>
                    <a:lnTo>
                      <a:pt x="9" y="19"/>
                    </a:lnTo>
                    <a:lnTo>
                      <a:pt x="9" y="21"/>
                    </a:lnTo>
                    <a:lnTo>
                      <a:pt x="7" y="24"/>
                    </a:lnTo>
                    <a:lnTo>
                      <a:pt x="5" y="24"/>
                    </a:lnTo>
                    <a:lnTo>
                      <a:pt x="5" y="26"/>
                    </a:lnTo>
                    <a:lnTo>
                      <a:pt x="5" y="26"/>
                    </a:lnTo>
                    <a:lnTo>
                      <a:pt x="5" y="28"/>
                    </a:lnTo>
                    <a:lnTo>
                      <a:pt x="5" y="31"/>
                    </a:lnTo>
                    <a:lnTo>
                      <a:pt x="2" y="33"/>
                    </a:lnTo>
                    <a:lnTo>
                      <a:pt x="2" y="33"/>
                    </a:lnTo>
                    <a:lnTo>
                      <a:pt x="2" y="35"/>
                    </a:lnTo>
                    <a:lnTo>
                      <a:pt x="2" y="35"/>
                    </a:lnTo>
                    <a:lnTo>
                      <a:pt x="2" y="35"/>
                    </a:lnTo>
                    <a:lnTo>
                      <a:pt x="2" y="38"/>
                    </a:lnTo>
                    <a:lnTo>
                      <a:pt x="2" y="38"/>
                    </a:lnTo>
                    <a:lnTo>
                      <a:pt x="2" y="40"/>
                    </a:lnTo>
                    <a:lnTo>
                      <a:pt x="2" y="40"/>
                    </a:lnTo>
                    <a:lnTo>
                      <a:pt x="2" y="42"/>
                    </a:lnTo>
                    <a:lnTo>
                      <a:pt x="2" y="42"/>
                    </a:lnTo>
                    <a:lnTo>
                      <a:pt x="0" y="42"/>
                    </a:lnTo>
                    <a:lnTo>
                      <a:pt x="0" y="42"/>
                    </a:lnTo>
                    <a:lnTo>
                      <a:pt x="0" y="42"/>
                    </a:lnTo>
                    <a:lnTo>
                      <a:pt x="0" y="45"/>
                    </a:lnTo>
                    <a:lnTo>
                      <a:pt x="0" y="45"/>
                    </a:lnTo>
                    <a:lnTo>
                      <a:pt x="0" y="47"/>
                    </a:lnTo>
                    <a:lnTo>
                      <a:pt x="2" y="47"/>
                    </a:lnTo>
                    <a:lnTo>
                      <a:pt x="2" y="49"/>
                    </a:lnTo>
                    <a:lnTo>
                      <a:pt x="2" y="49"/>
                    </a:lnTo>
                    <a:lnTo>
                      <a:pt x="2" y="52"/>
                    </a:lnTo>
                    <a:lnTo>
                      <a:pt x="2" y="52"/>
                    </a:lnTo>
                    <a:lnTo>
                      <a:pt x="5" y="54"/>
                    </a:lnTo>
                    <a:lnTo>
                      <a:pt x="5" y="57"/>
                    </a:lnTo>
                    <a:lnTo>
                      <a:pt x="7" y="57"/>
                    </a:lnTo>
                    <a:lnTo>
                      <a:pt x="9" y="57"/>
                    </a:lnTo>
                    <a:lnTo>
                      <a:pt x="9" y="57"/>
                    </a:lnTo>
                    <a:lnTo>
                      <a:pt x="12" y="59"/>
                    </a:lnTo>
                    <a:lnTo>
                      <a:pt x="14" y="64"/>
                    </a:lnTo>
                    <a:lnTo>
                      <a:pt x="16" y="66"/>
                    </a:lnTo>
                    <a:lnTo>
                      <a:pt x="19" y="66"/>
                    </a:lnTo>
                    <a:lnTo>
                      <a:pt x="23" y="64"/>
                    </a:lnTo>
                    <a:lnTo>
                      <a:pt x="31" y="64"/>
                    </a:lnTo>
                    <a:lnTo>
                      <a:pt x="35" y="64"/>
                    </a:lnTo>
                    <a:lnTo>
                      <a:pt x="38" y="66"/>
                    </a:lnTo>
                    <a:lnTo>
                      <a:pt x="40" y="68"/>
                    </a:lnTo>
                    <a:lnTo>
                      <a:pt x="40" y="68"/>
                    </a:lnTo>
                    <a:lnTo>
                      <a:pt x="40" y="71"/>
                    </a:lnTo>
                    <a:lnTo>
                      <a:pt x="40" y="71"/>
                    </a:lnTo>
                    <a:lnTo>
                      <a:pt x="42" y="71"/>
                    </a:lnTo>
                    <a:lnTo>
                      <a:pt x="42" y="71"/>
                    </a:lnTo>
                    <a:lnTo>
                      <a:pt x="42" y="71"/>
                    </a:lnTo>
                    <a:lnTo>
                      <a:pt x="52" y="71"/>
                    </a:lnTo>
                    <a:lnTo>
                      <a:pt x="52" y="73"/>
                    </a:lnTo>
                    <a:lnTo>
                      <a:pt x="52" y="73"/>
                    </a:lnTo>
                    <a:lnTo>
                      <a:pt x="54" y="73"/>
                    </a:lnTo>
                    <a:lnTo>
                      <a:pt x="54" y="73"/>
                    </a:lnTo>
                    <a:lnTo>
                      <a:pt x="54" y="75"/>
                    </a:lnTo>
                    <a:lnTo>
                      <a:pt x="57" y="75"/>
                    </a:lnTo>
                    <a:lnTo>
                      <a:pt x="57" y="75"/>
                    </a:lnTo>
                    <a:lnTo>
                      <a:pt x="57" y="78"/>
                    </a:lnTo>
                    <a:lnTo>
                      <a:pt x="59" y="80"/>
                    </a:lnTo>
                    <a:lnTo>
                      <a:pt x="59" y="80"/>
                    </a:lnTo>
                    <a:lnTo>
                      <a:pt x="61" y="80"/>
                    </a:lnTo>
                    <a:lnTo>
                      <a:pt x="61" y="80"/>
                    </a:lnTo>
                    <a:lnTo>
                      <a:pt x="64" y="82"/>
                    </a:lnTo>
                    <a:lnTo>
                      <a:pt x="66" y="85"/>
                    </a:lnTo>
                    <a:lnTo>
                      <a:pt x="68" y="87"/>
                    </a:lnTo>
                    <a:lnTo>
                      <a:pt x="71" y="89"/>
                    </a:lnTo>
                    <a:lnTo>
                      <a:pt x="73" y="89"/>
                    </a:lnTo>
                    <a:lnTo>
                      <a:pt x="78" y="89"/>
                    </a:lnTo>
                    <a:lnTo>
                      <a:pt x="80" y="92"/>
                    </a:lnTo>
                    <a:lnTo>
                      <a:pt x="82" y="92"/>
                    </a:lnTo>
                    <a:lnTo>
                      <a:pt x="87" y="99"/>
                    </a:lnTo>
                    <a:lnTo>
                      <a:pt x="90" y="99"/>
                    </a:lnTo>
                    <a:lnTo>
                      <a:pt x="92" y="101"/>
                    </a:lnTo>
                    <a:lnTo>
                      <a:pt x="94" y="101"/>
                    </a:lnTo>
                    <a:lnTo>
                      <a:pt x="97" y="101"/>
                    </a:lnTo>
                    <a:lnTo>
                      <a:pt x="101" y="106"/>
                    </a:lnTo>
                    <a:lnTo>
                      <a:pt x="106" y="106"/>
                    </a:lnTo>
                    <a:lnTo>
                      <a:pt x="106" y="106"/>
                    </a:lnTo>
                    <a:lnTo>
                      <a:pt x="108" y="106"/>
                    </a:lnTo>
                    <a:lnTo>
                      <a:pt x="108" y="106"/>
                    </a:lnTo>
                    <a:lnTo>
                      <a:pt x="116" y="104"/>
                    </a:lnTo>
                    <a:lnTo>
                      <a:pt x="118" y="106"/>
                    </a:lnTo>
                    <a:lnTo>
                      <a:pt x="125" y="108"/>
                    </a:lnTo>
                    <a:lnTo>
                      <a:pt x="130" y="111"/>
                    </a:lnTo>
                    <a:lnTo>
                      <a:pt x="137" y="118"/>
                    </a:lnTo>
                    <a:lnTo>
                      <a:pt x="137" y="120"/>
                    </a:lnTo>
                    <a:lnTo>
                      <a:pt x="144" y="132"/>
                    </a:lnTo>
                    <a:lnTo>
                      <a:pt x="144" y="132"/>
                    </a:lnTo>
                    <a:lnTo>
                      <a:pt x="149" y="134"/>
                    </a:lnTo>
                    <a:lnTo>
                      <a:pt x="151" y="134"/>
                    </a:lnTo>
                    <a:lnTo>
                      <a:pt x="151" y="134"/>
                    </a:lnTo>
                    <a:lnTo>
                      <a:pt x="156" y="137"/>
                    </a:lnTo>
                    <a:lnTo>
                      <a:pt x="156" y="137"/>
                    </a:lnTo>
                    <a:lnTo>
                      <a:pt x="158" y="139"/>
                    </a:lnTo>
                    <a:lnTo>
                      <a:pt x="163" y="139"/>
                    </a:lnTo>
                    <a:lnTo>
                      <a:pt x="163" y="141"/>
                    </a:lnTo>
                    <a:lnTo>
                      <a:pt x="163" y="139"/>
                    </a:lnTo>
                    <a:lnTo>
                      <a:pt x="163" y="141"/>
                    </a:lnTo>
                    <a:lnTo>
                      <a:pt x="165" y="141"/>
                    </a:lnTo>
                    <a:lnTo>
                      <a:pt x="170" y="139"/>
                    </a:lnTo>
                    <a:lnTo>
                      <a:pt x="172" y="139"/>
                    </a:lnTo>
                    <a:lnTo>
                      <a:pt x="175" y="139"/>
                    </a:lnTo>
                    <a:lnTo>
                      <a:pt x="177" y="141"/>
                    </a:lnTo>
                    <a:lnTo>
                      <a:pt x="179" y="141"/>
                    </a:lnTo>
                    <a:lnTo>
                      <a:pt x="179" y="141"/>
                    </a:lnTo>
                    <a:lnTo>
                      <a:pt x="179" y="141"/>
                    </a:lnTo>
                    <a:lnTo>
                      <a:pt x="179" y="141"/>
                    </a:lnTo>
                    <a:lnTo>
                      <a:pt x="182" y="141"/>
                    </a:lnTo>
                    <a:lnTo>
                      <a:pt x="182" y="141"/>
                    </a:lnTo>
                    <a:lnTo>
                      <a:pt x="182" y="141"/>
                    </a:lnTo>
                    <a:lnTo>
                      <a:pt x="184" y="144"/>
                    </a:lnTo>
                    <a:lnTo>
                      <a:pt x="184" y="144"/>
                    </a:lnTo>
                    <a:lnTo>
                      <a:pt x="186" y="146"/>
                    </a:lnTo>
                    <a:lnTo>
                      <a:pt x="189" y="144"/>
                    </a:lnTo>
                    <a:lnTo>
                      <a:pt x="189" y="144"/>
                    </a:lnTo>
                    <a:lnTo>
                      <a:pt x="189" y="141"/>
                    </a:lnTo>
                    <a:lnTo>
                      <a:pt x="189" y="137"/>
                    </a:lnTo>
                    <a:lnTo>
                      <a:pt x="186" y="134"/>
                    </a:lnTo>
                    <a:lnTo>
                      <a:pt x="186" y="132"/>
                    </a:lnTo>
                    <a:lnTo>
                      <a:pt x="186" y="132"/>
                    </a:lnTo>
                    <a:lnTo>
                      <a:pt x="186" y="132"/>
                    </a:lnTo>
                    <a:lnTo>
                      <a:pt x="191" y="122"/>
                    </a:lnTo>
                    <a:lnTo>
                      <a:pt x="191" y="120"/>
                    </a:lnTo>
                    <a:lnTo>
                      <a:pt x="193" y="118"/>
                    </a:lnTo>
                    <a:lnTo>
                      <a:pt x="193" y="118"/>
                    </a:lnTo>
                    <a:lnTo>
                      <a:pt x="196" y="118"/>
                    </a:lnTo>
                    <a:lnTo>
                      <a:pt x="196" y="118"/>
                    </a:lnTo>
                    <a:lnTo>
                      <a:pt x="198" y="118"/>
                    </a:lnTo>
                    <a:lnTo>
                      <a:pt x="198" y="115"/>
                    </a:lnTo>
                    <a:lnTo>
                      <a:pt x="198" y="115"/>
                    </a:lnTo>
                    <a:lnTo>
                      <a:pt x="198" y="115"/>
                    </a:lnTo>
                    <a:lnTo>
                      <a:pt x="198" y="115"/>
                    </a:lnTo>
                    <a:lnTo>
                      <a:pt x="200" y="113"/>
                    </a:lnTo>
                    <a:lnTo>
                      <a:pt x="200" y="113"/>
                    </a:lnTo>
                    <a:lnTo>
                      <a:pt x="200" y="113"/>
                    </a:lnTo>
                    <a:lnTo>
                      <a:pt x="203" y="113"/>
                    </a:lnTo>
                    <a:lnTo>
                      <a:pt x="203" y="113"/>
                    </a:lnTo>
                    <a:lnTo>
                      <a:pt x="203" y="113"/>
                    </a:lnTo>
                    <a:lnTo>
                      <a:pt x="203" y="111"/>
                    </a:lnTo>
                    <a:lnTo>
                      <a:pt x="200" y="111"/>
                    </a:lnTo>
                    <a:lnTo>
                      <a:pt x="200" y="111"/>
                    </a:lnTo>
                    <a:lnTo>
                      <a:pt x="200" y="111"/>
                    </a:lnTo>
                    <a:lnTo>
                      <a:pt x="198" y="108"/>
                    </a:lnTo>
                    <a:lnTo>
                      <a:pt x="200" y="108"/>
                    </a:lnTo>
                    <a:lnTo>
                      <a:pt x="200" y="108"/>
                    </a:lnTo>
                    <a:lnTo>
                      <a:pt x="200" y="108"/>
                    </a:lnTo>
                    <a:lnTo>
                      <a:pt x="200" y="106"/>
                    </a:lnTo>
                    <a:lnTo>
                      <a:pt x="200" y="106"/>
                    </a:lnTo>
                    <a:lnTo>
                      <a:pt x="198" y="106"/>
                    </a:lnTo>
                    <a:lnTo>
                      <a:pt x="196" y="104"/>
                    </a:lnTo>
                    <a:lnTo>
                      <a:pt x="196" y="104"/>
                    </a:lnTo>
                    <a:lnTo>
                      <a:pt x="196" y="101"/>
                    </a:lnTo>
                    <a:lnTo>
                      <a:pt x="196" y="101"/>
                    </a:lnTo>
                    <a:lnTo>
                      <a:pt x="196" y="101"/>
                    </a:lnTo>
                    <a:lnTo>
                      <a:pt x="196" y="99"/>
                    </a:lnTo>
                    <a:lnTo>
                      <a:pt x="196" y="101"/>
                    </a:lnTo>
                    <a:lnTo>
                      <a:pt x="193" y="99"/>
                    </a:lnTo>
                    <a:lnTo>
                      <a:pt x="193" y="97"/>
                    </a:lnTo>
                    <a:lnTo>
                      <a:pt x="193" y="94"/>
                    </a:lnTo>
                    <a:lnTo>
                      <a:pt x="193" y="94"/>
                    </a:lnTo>
                    <a:lnTo>
                      <a:pt x="193" y="92"/>
                    </a:lnTo>
                    <a:lnTo>
                      <a:pt x="196" y="92"/>
                    </a:lnTo>
                    <a:lnTo>
                      <a:pt x="196" y="94"/>
                    </a:lnTo>
                    <a:lnTo>
                      <a:pt x="196" y="94"/>
                    </a:lnTo>
                    <a:lnTo>
                      <a:pt x="196" y="94"/>
                    </a:lnTo>
                    <a:lnTo>
                      <a:pt x="196" y="94"/>
                    </a:lnTo>
                    <a:lnTo>
                      <a:pt x="196" y="92"/>
                    </a:lnTo>
                    <a:lnTo>
                      <a:pt x="198" y="94"/>
                    </a:lnTo>
                    <a:lnTo>
                      <a:pt x="198" y="92"/>
                    </a:lnTo>
                    <a:lnTo>
                      <a:pt x="196" y="89"/>
                    </a:lnTo>
                    <a:lnTo>
                      <a:pt x="196" y="89"/>
                    </a:lnTo>
                    <a:lnTo>
                      <a:pt x="191" y="89"/>
                    </a:lnTo>
                    <a:lnTo>
                      <a:pt x="186" y="87"/>
                    </a:lnTo>
                    <a:lnTo>
                      <a:pt x="186" y="85"/>
                    </a:lnTo>
                    <a:lnTo>
                      <a:pt x="186" y="85"/>
                    </a:lnTo>
                    <a:lnTo>
                      <a:pt x="186" y="82"/>
                    </a:lnTo>
                    <a:lnTo>
                      <a:pt x="186" y="75"/>
                    </a:lnTo>
                    <a:lnTo>
                      <a:pt x="186" y="73"/>
                    </a:lnTo>
                    <a:lnTo>
                      <a:pt x="186" y="71"/>
                    </a:lnTo>
                    <a:lnTo>
                      <a:pt x="189" y="68"/>
                    </a:lnTo>
                    <a:lnTo>
                      <a:pt x="191" y="64"/>
                    </a:lnTo>
                    <a:lnTo>
                      <a:pt x="191" y="61"/>
                    </a:lnTo>
                    <a:lnTo>
                      <a:pt x="193" y="59"/>
                    </a:lnTo>
                    <a:lnTo>
                      <a:pt x="193" y="57"/>
                    </a:lnTo>
                    <a:lnTo>
                      <a:pt x="193" y="54"/>
                    </a:lnTo>
                    <a:lnTo>
                      <a:pt x="193" y="54"/>
                    </a:lnTo>
                    <a:lnTo>
                      <a:pt x="196" y="54"/>
                    </a:lnTo>
                    <a:lnTo>
                      <a:pt x="196" y="52"/>
                    </a:lnTo>
                    <a:lnTo>
                      <a:pt x="196" y="52"/>
                    </a:lnTo>
                    <a:lnTo>
                      <a:pt x="193" y="49"/>
                    </a:lnTo>
                    <a:lnTo>
                      <a:pt x="193" y="49"/>
                    </a:lnTo>
                    <a:lnTo>
                      <a:pt x="196" y="47"/>
                    </a:lnTo>
                    <a:lnTo>
                      <a:pt x="196" y="45"/>
                    </a:lnTo>
                    <a:lnTo>
                      <a:pt x="198" y="42"/>
                    </a:lnTo>
                    <a:lnTo>
                      <a:pt x="200" y="40"/>
                    </a:lnTo>
                    <a:lnTo>
                      <a:pt x="200" y="38"/>
                    </a:lnTo>
                    <a:lnTo>
                      <a:pt x="208" y="28"/>
                    </a:lnTo>
                    <a:lnTo>
                      <a:pt x="215" y="19"/>
                    </a:lnTo>
                    <a:lnTo>
                      <a:pt x="217" y="14"/>
                    </a:lnTo>
                    <a:lnTo>
                      <a:pt x="219" y="7"/>
                    </a:lnTo>
                    <a:lnTo>
                      <a:pt x="219" y="9"/>
                    </a:lnTo>
                    <a:lnTo>
                      <a:pt x="219" y="7"/>
                    </a:lnTo>
                    <a:lnTo>
                      <a:pt x="219"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06" name="Freeform 42">
                <a:extLst>
                  <a:ext uri="{FF2B5EF4-FFF2-40B4-BE49-F238E27FC236}">
                    <a16:creationId xmlns:a16="http://schemas.microsoft.com/office/drawing/2014/main" id="{D07D5CAE-03DD-4928-9240-0AE39D8AAF17}"/>
                  </a:ext>
                </a:extLst>
              </p:cNvPr>
              <p:cNvSpPr>
                <a:spLocks/>
              </p:cNvSpPr>
              <p:nvPr/>
            </p:nvSpPr>
            <p:spPr bwMode="gray">
              <a:xfrm>
                <a:off x="-1798" y="2739"/>
                <a:ext cx="5" cy="3"/>
              </a:xfrm>
              <a:custGeom>
                <a:avLst/>
                <a:gdLst>
                  <a:gd name="T0" fmla="*/ 5 w 5"/>
                  <a:gd name="T1" fmla="*/ 0 h 3"/>
                  <a:gd name="T2" fmla="*/ 5 w 5"/>
                  <a:gd name="T3" fmla="*/ 0 h 3"/>
                  <a:gd name="T4" fmla="*/ 3 w 5"/>
                  <a:gd name="T5" fmla="*/ 0 h 3"/>
                  <a:gd name="T6" fmla="*/ 3 w 5"/>
                  <a:gd name="T7" fmla="*/ 0 h 3"/>
                  <a:gd name="T8" fmla="*/ 0 w 5"/>
                  <a:gd name="T9" fmla="*/ 0 h 3"/>
                  <a:gd name="T10" fmla="*/ 0 w 5"/>
                  <a:gd name="T11" fmla="*/ 0 h 3"/>
                  <a:gd name="T12" fmla="*/ 0 w 5"/>
                  <a:gd name="T13" fmla="*/ 3 h 3"/>
                  <a:gd name="T14" fmla="*/ 3 w 5"/>
                  <a:gd name="T15" fmla="*/ 3 h 3"/>
                  <a:gd name="T16" fmla="*/ 3 w 5"/>
                  <a:gd name="T17" fmla="*/ 3 h 3"/>
                  <a:gd name="T18" fmla="*/ 5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5" y="0"/>
                    </a:moveTo>
                    <a:lnTo>
                      <a:pt x="5" y="0"/>
                    </a:lnTo>
                    <a:lnTo>
                      <a:pt x="3" y="0"/>
                    </a:lnTo>
                    <a:lnTo>
                      <a:pt x="3" y="0"/>
                    </a:lnTo>
                    <a:lnTo>
                      <a:pt x="0" y="0"/>
                    </a:lnTo>
                    <a:lnTo>
                      <a:pt x="0" y="0"/>
                    </a:lnTo>
                    <a:lnTo>
                      <a:pt x="0" y="3"/>
                    </a:lnTo>
                    <a:lnTo>
                      <a:pt x="3" y="3"/>
                    </a:lnTo>
                    <a:lnTo>
                      <a:pt x="3" y="3"/>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07" name="Freeform 43">
                <a:extLst>
                  <a:ext uri="{FF2B5EF4-FFF2-40B4-BE49-F238E27FC236}">
                    <a16:creationId xmlns:a16="http://schemas.microsoft.com/office/drawing/2014/main" id="{17F6FCCD-B807-4B3A-90D8-69952AA5BC70}"/>
                  </a:ext>
                </a:extLst>
              </p:cNvPr>
              <p:cNvSpPr>
                <a:spLocks/>
              </p:cNvSpPr>
              <p:nvPr/>
            </p:nvSpPr>
            <p:spPr bwMode="gray">
              <a:xfrm>
                <a:off x="-1779" y="2548"/>
                <a:ext cx="3" cy="3"/>
              </a:xfrm>
              <a:custGeom>
                <a:avLst/>
                <a:gdLst>
                  <a:gd name="T0" fmla="*/ 3 w 3"/>
                  <a:gd name="T1" fmla="*/ 0 h 3"/>
                  <a:gd name="T2" fmla="*/ 0 w 3"/>
                  <a:gd name="T3" fmla="*/ 0 h 3"/>
                  <a:gd name="T4" fmla="*/ 0 w 3"/>
                  <a:gd name="T5" fmla="*/ 3 h 3"/>
                  <a:gd name="T6" fmla="*/ 3 w 3"/>
                  <a:gd name="T7" fmla="*/ 3 h 3"/>
                  <a:gd name="T8" fmla="*/ 3 w 3"/>
                  <a:gd name="T9" fmla="*/ 0 h 3"/>
                  <a:gd name="T10" fmla="*/ 3 w 3"/>
                  <a:gd name="T11" fmla="*/ 0 h 3"/>
                </a:gdLst>
                <a:ahLst/>
                <a:cxnLst>
                  <a:cxn ang="0">
                    <a:pos x="T0" y="T1"/>
                  </a:cxn>
                  <a:cxn ang="0">
                    <a:pos x="T2" y="T3"/>
                  </a:cxn>
                  <a:cxn ang="0">
                    <a:pos x="T4" y="T5"/>
                  </a:cxn>
                  <a:cxn ang="0">
                    <a:pos x="T6" y="T7"/>
                  </a:cxn>
                  <a:cxn ang="0">
                    <a:pos x="T8" y="T9"/>
                  </a:cxn>
                  <a:cxn ang="0">
                    <a:pos x="T10" y="T11"/>
                  </a:cxn>
                </a:cxnLst>
                <a:rect l="0" t="0" r="r" b="b"/>
                <a:pathLst>
                  <a:path w="3" h="3">
                    <a:moveTo>
                      <a:pt x="3" y="0"/>
                    </a:moveTo>
                    <a:lnTo>
                      <a:pt x="0" y="0"/>
                    </a:lnTo>
                    <a:lnTo>
                      <a:pt x="0" y="3"/>
                    </a:lnTo>
                    <a:lnTo>
                      <a:pt x="3" y="3"/>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08" name="Freeform 44">
                <a:extLst>
                  <a:ext uri="{FF2B5EF4-FFF2-40B4-BE49-F238E27FC236}">
                    <a16:creationId xmlns:a16="http://schemas.microsoft.com/office/drawing/2014/main" id="{2F4B708F-1DB9-45B3-B28E-A599AFB7ACE2}"/>
                  </a:ext>
                </a:extLst>
              </p:cNvPr>
              <p:cNvSpPr>
                <a:spLocks/>
              </p:cNvSpPr>
              <p:nvPr/>
            </p:nvSpPr>
            <p:spPr bwMode="gray">
              <a:xfrm>
                <a:off x="-3459" y="1413"/>
                <a:ext cx="10" cy="7"/>
              </a:xfrm>
              <a:custGeom>
                <a:avLst/>
                <a:gdLst>
                  <a:gd name="T0" fmla="*/ 5 w 10"/>
                  <a:gd name="T1" fmla="*/ 4 h 7"/>
                  <a:gd name="T2" fmla="*/ 7 w 10"/>
                  <a:gd name="T3" fmla="*/ 4 h 7"/>
                  <a:gd name="T4" fmla="*/ 7 w 10"/>
                  <a:gd name="T5" fmla="*/ 4 h 7"/>
                  <a:gd name="T6" fmla="*/ 10 w 10"/>
                  <a:gd name="T7" fmla="*/ 2 h 7"/>
                  <a:gd name="T8" fmla="*/ 10 w 10"/>
                  <a:gd name="T9" fmla="*/ 2 h 7"/>
                  <a:gd name="T10" fmla="*/ 7 w 10"/>
                  <a:gd name="T11" fmla="*/ 2 h 7"/>
                  <a:gd name="T12" fmla="*/ 7 w 10"/>
                  <a:gd name="T13" fmla="*/ 2 h 7"/>
                  <a:gd name="T14" fmla="*/ 7 w 10"/>
                  <a:gd name="T15" fmla="*/ 2 h 7"/>
                  <a:gd name="T16" fmla="*/ 7 w 10"/>
                  <a:gd name="T17" fmla="*/ 0 h 7"/>
                  <a:gd name="T18" fmla="*/ 5 w 10"/>
                  <a:gd name="T19" fmla="*/ 0 h 7"/>
                  <a:gd name="T20" fmla="*/ 5 w 10"/>
                  <a:gd name="T21" fmla="*/ 2 h 7"/>
                  <a:gd name="T22" fmla="*/ 0 w 10"/>
                  <a:gd name="T23" fmla="*/ 4 h 7"/>
                  <a:gd name="T24" fmla="*/ 0 w 10"/>
                  <a:gd name="T25" fmla="*/ 7 h 7"/>
                  <a:gd name="T26" fmla="*/ 0 w 10"/>
                  <a:gd name="T27" fmla="*/ 7 h 7"/>
                  <a:gd name="T28" fmla="*/ 0 w 10"/>
                  <a:gd name="T29" fmla="*/ 7 h 7"/>
                  <a:gd name="T30" fmla="*/ 3 w 10"/>
                  <a:gd name="T31" fmla="*/ 7 h 7"/>
                  <a:gd name="T32" fmla="*/ 5 w 10"/>
                  <a:gd name="T3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7">
                    <a:moveTo>
                      <a:pt x="5" y="4"/>
                    </a:moveTo>
                    <a:lnTo>
                      <a:pt x="7" y="4"/>
                    </a:lnTo>
                    <a:lnTo>
                      <a:pt x="7" y="4"/>
                    </a:lnTo>
                    <a:lnTo>
                      <a:pt x="10" y="2"/>
                    </a:lnTo>
                    <a:lnTo>
                      <a:pt x="10" y="2"/>
                    </a:lnTo>
                    <a:lnTo>
                      <a:pt x="7" y="2"/>
                    </a:lnTo>
                    <a:lnTo>
                      <a:pt x="7" y="2"/>
                    </a:lnTo>
                    <a:lnTo>
                      <a:pt x="7" y="2"/>
                    </a:lnTo>
                    <a:lnTo>
                      <a:pt x="7" y="0"/>
                    </a:lnTo>
                    <a:lnTo>
                      <a:pt x="5" y="0"/>
                    </a:lnTo>
                    <a:lnTo>
                      <a:pt x="5" y="2"/>
                    </a:lnTo>
                    <a:lnTo>
                      <a:pt x="0" y="4"/>
                    </a:lnTo>
                    <a:lnTo>
                      <a:pt x="0" y="7"/>
                    </a:lnTo>
                    <a:lnTo>
                      <a:pt x="0" y="7"/>
                    </a:lnTo>
                    <a:lnTo>
                      <a:pt x="0" y="7"/>
                    </a:lnTo>
                    <a:lnTo>
                      <a:pt x="3" y="7"/>
                    </a:ln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09" name="Freeform 45">
                <a:extLst>
                  <a:ext uri="{FF2B5EF4-FFF2-40B4-BE49-F238E27FC236}">
                    <a16:creationId xmlns:a16="http://schemas.microsoft.com/office/drawing/2014/main" id="{0F1CBCB2-207F-4691-ABDA-443F5305559E}"/>
                  </a:ext>
                </a:extLst>
              </p:cNvPr>
              <p:cNvSpPr>
                <a:spLocks/>
              </p:cNvSpPr>
              <p:nvPr/>
            </p:nvSpPr>
            <p:spPr bwMode="gray">
              <a:xfrm>
                <a:off x="-3329" y="1050"/>
                <a:ext cx="7" cy="5"/>
              </a:xfrm>
              <a:custGeom>
                <a:avLst/>
                <a:gdLst>
                  <a:gd name="T0" fmla="*/ 2 w 7"/>
                  <a:gd name="T1" fmla="*/ 0 h 5"/>
                  <a:gd name="T2" fmla="*/ 2 w 7"/>
                  <a:gd name="T3" fmla="*/ 0 h 5"/>
                  <a:gd name="T4" fmla="*/ 2 w 7"/>
                  <a:gd name="T5" fmla="*/ 0 h 5"/>
                  <a:gd name="T6" fmla="*/ 2 w 7"/>
                  <a:gd name="T7" fmla="*/ 0 h 5"/>
                  <a:gd name="T8" fmla="*/ 2 w 7"/>
                  <a:gd name="T9" fmla="*/ 0 h 5"/>
                  <a:gd name="T10" fmla="*/ 0 w 7"/>
                  <a:gd name="T11" fmla="*/ 2 h 5"/>
                  <a:gd name="T12" fmla="*/ 0 w 7"/>
                  <a:gd name="T13" fmla="*/ 2 h 5"/>
                  <a:gd name="T14" fmla="*/ 0 w 7"/>
                  <a:gd name="T15" fmla="*/ 5 h 5"/>
                  <a:gd name="T16" fmla="*/ 0 w 7"/>
                  <a:gd name="T17" fmla="*/ 5 h 5"/>
                  <a:gd name="T18" fmla="*/ 2 w 7"/>
                  <a:gd name="T19" fmla="*/ 5 h 5"/>
                  <a:gd name="T20" fmla="*/ 5 w 7"/>
                  <a:gd name="T21" fmla="*/ 5 h 5"/>
                  <a:gd name="T22" fmla="*/ 7 w 7"/>
                  <a:gd name="T23" fmla="*/ 5 h 5"/>
                  <a:gd name="T24" fmla="*/ 7 w 7"/>
                  <a:gd name="T25" fmla="*/ 2 h 5"/>
                  <a:gd name="T26" fmla="*/ 7 w 7"/>
                  <a:gd name="T27" fmla="*/ 0 h 5"/>
                  <a:gd name="T28" fmla="*/ 5 w 7"/>
                  <a:gd name="T29" fmla="*/ 0 h 5"/>
                  <a:gd name="T30" fmla="*/ 5 w 7"/>
                  <a:gd name="T31" fmla="*/ 0 h 5"/>
                  <a:gd name="T32" fmla="*/ 5 w 7"/>
                  <a:gd name="T33" fmla="*/ 0 h 5"/>
                  <a:gd name="T34" fmla="*/ 2 w 7"/>
                  <a:gd name="T35" fmla="*/ 0 h 5"/>
                  <a:gd name="T36" fmla="*/ 2 w 7"/>
                  <a:gd name="T3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5">
                    <a:moveTo>
                      <a:pt x="2" y="0"/>
                    </a:moveTo>
                    <a:lnTo>
                      <a:pt x="2" y="0"/>
                    </a:lnTo>
                    <a:lnTo>
                      <a:pt x="2" y="0"/>
                    </a:lnTo>
                    <a:lnTo>
                      <a:pt x="2" y="0"/>
                    </a:lnTo>
                    <a:lnTo>
                      <a:pt x="2" y="0"/>
                    </a:lnTo>
                    <a:lnTo>
                      <a:pt x="0" y="2"/>
                    </a:lnTo>
                    <a:lnTo>
                      <a:pt x="0" y="2"/>
                    </a:lnTo>
                    <a:lnTo>
                      <a:pt x="0" y="5"/>
                    </a:lnTo>
                    <a:lnTo>
                      <a:pt x="0" y="5"/>
                    </a:lnTo>
                    <a:lnTo>
                      <a:pt x="2" y="5"/>
                    </a:lnTo>
                    <a:lnTo>
                      <a:pt x="5" y="5"/>
                    </a:lnTo>
                    <a:lnTo>
                      <a:pt x="7" y="5"/>
                    </a:lnTo>
                    <a:lnTo>
                      <a:pt x="7" y="2"/>
                    </a:lnTo>
                    <a:lnTo>
                      <a:pt x="7" y="0"/>
                    </a:lnTo>
                    <a:lnTo>
                      <a:pt x="5" y="0"/>
                    </a:lnTo>
                    <a:lnTo>
                      <a:pt x="5" y="0"/>
                    </a:lnTo>
                    <a:lnTo>
                      <a:pt x="5"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10" name="Freeform 46">
                <a:extLst>
                  <a:ext uri="{FF2B5EF4-FFF2-40B4-BE49-F238E27FC236}">
                    <a16:creationId xmlns:a16="http://schemas.microsoft.com/office/drawing/2014/main" id="{BEE81A00-C0CB-4AE2-B077-D7CC1A879406}"/>
                  </a:ext>
                </a:extLst>
              </p:cNvPr>
              <p:cNvSpPr>
                <a:spLocks/>
              </p:cNvSpPr>
              <p:nvPr/>
            </p:nvSpPr>
            <p:spPr bwMode="gray">
              <a:xfrm>
                <a:off x="-3447" y="1170"/>
                <a:ext cx="24" cy="17"/>
              </a:xfrm>
              <a:custGeom>
                <a:avLst/>
                <a:gdLst>
                  <a:gd name="T0" fmla="*/ 5 w 24"/>
                  <a:gd name="T1" fmla="*/ 7 h 17"/>
                  <a:gd name="T2" fmla="*/ 7 w 24"/>
                  <a:gd name="T3" fmla="*/ 7 h 17"/>
                  <a:gd name="T4" fmla="*/ 12 w 24"/>
                  <a:gd name="T5" fmla="*/ 5 h 17"/>
                  <a:gd name="T6" fmla="*/ 14 w 24"/>
                  <a:gd name="T7" fmla="*/ 7 h 17"/>
                  <a:gd name="T8" fmla="*/ 14 w 24"/>
                  <a:gd name="T9" fmla="*/ 7 h 17"/>
                  <a:gd name="T10" fmla="*/ 14 w 24"/>
                  <a:gd name="T11" fmla="*/ 9 h 17"/>
                  <a:gd name="T12" fmla="*/ 14 w 24"/>
                  <a:gd name="T13" fmla="*/ 9 h 17"/>
                  <a:gd name="T14" fmla="*/ 14 w 24"/>
                  <a:gd name="T15" fmla="*/ 12 h 17"/>
                  <a:gd name="T16" fmla="*/ 14 w 24"/>
                  <a:gd name="T17" fmla="*/ 12 h 17"/>
                  <a:gd name="T18" fmla="*/ 14 w 24"/>
                  <a:gd name="T19" fmla="*/ 12 h 17"/>
                  <a:gd name="T20" fmla="*/ 17 w 24"/>
                  <a:gd name="T21" fmla="*/ 12 h 17"/>
                  <a:gd name="T22" fmla="*/ 17 w 24"/>
                  <a:gd name="T23" fmla="*/ 12 h 17"/>
                  <a:gd name="T24" fmla="*/ 19 w 24"/>
                  <a:gd name="T25" fmla="*/ 14 h 17"/>
                  <a:gd name="T26" fmla="*/ 19 w 24"/>
                  <a:gd name="T27" fmla="*/ 17 h 17"/>
                  <a:gd name="T28" fmla="*/ 21 w 24"/>
                  <a:gd name="T29" fmla="*/ 17 h 17"/>
                  <a:gd name="T30" fmla="*/ 24 w 24"/>
                  <a:gd name="T31" fmla="*/ 14 h 17"/>
                  <a:gd name="T32" fmla="*/ 21 w 24"/>
                  <a:gd name="T33" fmla="*/ 14 h 17"/>
                  <a:gd name="T34" fmla="*/ 21 w 24"/>
                  <a:gd name="T35" fmla="*/ 12 h 17"/>
                  <a:gd name="T36" fmla="*/ 24 w 24"/>
                  <a:gd name="T37" fmla="*/ 9 h 17"/>
                  <a:gd name="T38" fmla="*/ 24 w 24"/>
                  <a:gd name="T39" fmla="*/ 9 h 17"/>
                  <a:gd name="T40" fmla="*/ 24 w 24"/>
                  <a:gd name="T41" fmla="*/ 7 h 17"/>
                  <a:gd name="T42" fmla="*/ 24 w 24"/>
                  <a:gd name="T43" fmla="*/ 7 h 17"/>
                  <a:gd name="T44" fmla="*/ 21 w 24"/>
                  <a:gd name="T45" fmla="*/ 7 h 17"/>
                  <a:gd name="T46" fmla="*/ 21 w 24"/>
                  <a:gd name="T47" fmla="*/ 7 h 17"/>
                  <a:gd name="T48" fmla="*/ 21 w 24"/>
                  <a:gd name="T49" fmla="*/ 7 h 17"/>
                  <a:gd name="T50" fmla="*/ 21 w 24"/>
                  <a:gd name="T51" fmla="*/ 7 h 17"/>
                  <a:gd name="T52" fmla="*/ 21 w 24"/>
                  <a:gd name="T53" fmla="*/ 7 h 17"/>
                  <a:gd name="T54" fmla="*/ 21 w 24"/>
                  <a:gd name="T55" fmla="*/ 5 h 17"/>
                  <a:gd name="T56" fmla="*/ 21 w 24"/>
                  <a:gd name="T57" fmla="*/ 5 h 17"/>
                  <a:gd name="T58" fmla="*/ 21 w 24"/>
                  <a:gd name="T59" fmla="*/ 5 h 17"/>
                  <a:gd name="T60" fmla="*/ 24 w 24"/>
                  <a:gd name="T61" fmla="*/ 5 h 17"/>
                  <a:gd name="T62" fmla="*/ 21 w 24"/>
                  <a:gd name="T63" fmla="*/ 0 h 17"/>
                  <a:gd name="T64" fmla="*/ 19 w 24"/>
                  <a:gd name="T65" fmla="*/ 0 h 17"/>
                  <a:gd name="T66" fmla="*/ 14 w 24"/>
                  <a:gd name="T67" fmla="*/ 0 h 17"/>
                  <a:gd name="T68" fmla="*/ 12 w 24"/>
                  <a:gd name="T69" fmla="*/ 0 h 17"/>
                  <a:gd name="T70" fmla="*/ 9 w 24"/>
                  <a:gd name="T71" fmla="*/ 2 h 17"/>
                  <a:gd name="T72" fmla="*/ 9 w 24"/>
                  <a:gd name="T73" fmla="*/ 2 h 17"/>
                  <a:gd name="T74" fmla="*/ 7 w 24"/>
                  <a:gd name="T75" fmla="*/ 0 h 17"/>
                  <a:gd name="T76" fmla="*/ 7 w 24"/>
                  <a:gd name="T77" fmla="*/ 2 h 17"/>
                  <a:gd name="T78" fmla="*/ 5 w 24"/>
                  <a:gd name="T79" fmla="*/ 2 h 17"/>
                  <a:gd name="T80" fmla="*/ 5 w 24"/>
                  <a:gd name="T81" fmla="*/ 2 h 17"/>
                  <a:gd name="T82" fmla="*/ 5 w 24"/>
                  <a:gd name="T83" fmla="*/ 0 h 17"/>
                  <a:gd name="T84" fmla="*/ 2 w 24"/>
                  <a:gd name="T85" fmla="*/ 2 h 17"/>
                  <a:gd name="T86" fmla="*/ 2 w 24"/>
                  <a:gd name="T87" fmla="*/ 5 h 17"/>
                  <a:gd name="T88" fmla="*/ 0 w 24"/>
                  <a:gd name="T89" fmla="*/ 5 h 17"/>
                  <a:gd name="T90" fmla="*/ 0 w 24"/>
                  <a:gd name="T91" fmla="*/ 5 h 17"/>
                  <a:gd name="T92" fmla="*/ 0 w 24"/>
                  <a:gd name="T93" fmla="*/ 5 h 17"/>
                  <a:gd name="T94" fmla="*/ 2 w 24"/>
                  <a:gd name="T95" fmla="*/ 5 h 17"/>
                  <a:gd name="T96" fmla="*/ 5 w 24"/>
                  <a:gd name="T97"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 h="17">
                    <a:moveTo>
                      <a:pt x="5" y="7"/>
                    </a:moveTo>
                    <a:lnTo>
                      <a:pt x="7" y="7"/>
                    </a:lnTo>
                    <a:lnTo>
                      <a:pt x="12" y="5"/>
                    </a:lnTo>
                    <a:lnTo>
                      <a:pt x="14" y="7"/>
                    </a:lnTo>
                    <a:lnTo>
                      <a:pt x="14" y="7"/>
                    </a:lnTo>
                    <a:lnTo>
                      <a:pt x="14" y="9"/>
                    </a:lnTo>
                    <a:lnTo>
                      <a:pt x="14" y="9"/>
                    </a:lnTo>
                    <a:lnTo>
                      <a:pt x="14" y="12"/>
                    </a:lnTo>
                    <a:lnTo>
                      <a:pt x="14" y="12"/>
                    </a:lnTo>
                    <a:lnTo>
                      <a:pt x="14" y="12"/>
                    </a:lnTo>
                    <a:lnTo>
                      <a:pt x="17" y="12"/>
                    </a:lnTo>
                    <a:lnTo>
                      <a:pt x="17" y="12"/>
                    </a:lnTo>
                    <a:lnTo>
                      <a:pt x="19" y="14"/>
                    </a:lnTo>
                    <a:lnTo>
                      <a:pt x="19" y="17"/>
                    </a:lnTo>
                    <a:lnTo>
                      <a:pt x="21" y="17"/>
                    </a:lnTo>
                    <a:lnTo>
                      <a:pt x="24" y="14"/>
                    </a:lnTo>
                    <a:lnTo>
                      <a:pt x="21" y="14"/>
                    </a:lnTo>
                    <a:lnTo>
                      <a:pt x="21" y="12"/>
                    </a:lnTo>
                    <a:lnTo>
                      <a:pt x="24" y="9"/>
                    </a:lnTo>
                    <a:lnTo>
                      <a:pt x="24" y="9"/>
                    </a:lnTo>
                    <a:lnTo>
                      <a:pt x="24" y="7"/>
                    </a:lnTo>
                    <a:lnTo>
                      <a:pt x="24" y="7"/>
                    </a:lnTo>
                    <a:lnTo>
                      <a:pt x="21" y="7"/>
                    </a:lnTo>
                    <a:lnTo>
                      <a:pt x="21" y="7"/>
                    </a:lnTo>
                    <a:lnTo>
                      <a:pt x="21" y="7"/>
                    </a:lnTo>
                    <a:lnTo>
                      <a:pt x="21" y="7"/>
                    </a:lnTo>
                    <a:lnTo>
                      <a:pt x="21" y="7"/>
                    </a:lnTo>
                    <a:lnTo>
                      <a:pt x="21" y="5"/>
                    </a:lnTo>
                    <a:lnTo>
                      <a:pt x="21" y="5"/>
                    </a:lnTo>
                    <a:lnTo>
                      <a:pt x="21" y="5"/>
                    </a:lnTo>
                    <a:lnTo>
                      <a:pt x="24" y="5"/>
                    </a:lnTo>
                    <a:lnTo>
                      <a:pt x="21" y="0"/>
                    </a:lnTo>
                    <a:lnTo>
                      <a:pt x="19" y="0"/>
                    </a:lnTo>
                    <a:lnTo>
                      <a:pt x="14" y="0"/>
                    </a:lnTo>
                    <a:lnTo>
                      <a:pt x="12" y="0"/>
                    </a:lnTo>
                    <a:lnTo>
                      <a:pt x="9" y="2"/>
                    </a:lnTo>
                    <a:lnTo>
                      <a:pt x="9" y="2"/>
                    </a:lnTo>
                    <a:lnTo>
                      <a:pt x="7" y="0"/>
                    </a:lnTo>
                    <a:lnTo>
                      <a:pt x="7" y="2"/>
                    </a:lnTo>
                    <a:lnTo>
                      <a:pt x="5" y="2"/>
                    </a:lnTo>
                    <a:lnTo>
                      <a:pt x="5" y="2"/>
                    </a:lnTo>
                    <a:lnTo>
                      <a:pt x="5" y="0"/>
                    </a:lnTo>
                    <a:lnTo>
                      <a:pt x="2" y="2"/>
                    </a:lnTo>
                    <a:lnTo>
                      <a:pt x="2" y="5"/>
                    </a:lnTo>
                    <a:lnTo>
                      <a:pt x="0" y="5"/>
                    </a:lnTo>
                    <a:lnTo>
                      <a:pt x="0" y="5"/>
                    </a:lnTo>
                    <a:lnTo>
                      <a:pt x="0" y="5"/>
                    </a:lnTo>
                    <a:lnTo>
                      <a:pt x="2" y="5"/>
                    </a:ln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11" name="Freeform 47">
                <a:extLst>
                  <a:ext uri="{FF2B5EF4-FFF2-40B4-BE49-F238E27FC236}">
                    <a16:creationId xmlns:a16="http://schemas.microsoft.com/office/drawing/2014/main" id="{8054282E-ED12-4842-881C-E7E63349C53A}"/>
                  </a:ext>
                </a:extLst>
              </p:cNvPr>
              <p:cNvSpPr>
                <a:spLocks noEditPoints="1"/>
              </p:cNvSpPr>
              <p:nvPr/>
            </p:nvSpPr>
            <p:spPr bwMode="gray">
              <a:xfrm>
                <a:off x="-3463" y="1003"/>
                <a:ext cx="358" cy="466"/>
              </a:xfrm>
              <a:custGeom>
                <a:avLst/>
                <a:gdLst>
                  <a:gd name="T0" fmla="*/ 113 w 358"/>
                  <a:gd name="T1" fmla="*/ 454 h 466"/>
                  <a:gd name="T2" fmla="*/ 141 w 358"/>
                  <a:gd name="T3" fmla="*/ 438 h 466"/>
                  <a:gd name="T4" fmla="*/ 155 w 358"/>
                  <a:gd name="T5" fmla="*/ 424 h 466"/>
                  <a:gd name="T6" fmla="*/ 158 w 358"/>
                  <a:gd name="T7" fmla="*/ 426 h 466"/>
                  <a:gd name="T8" fmla="*/ 205 w 358"/>
                  <a:gd name="T9" fmla="*/ 403 h 466"/>
                  <a:gd name="T10" fmla="*/ 238 w 358"/>
                  <a:gd name="T11" fmla="*/ 384 h 466"/>
                  <a:gd name="T12" fmla="*/ 252 w 358"/>
                  <a:gd name="T13" fmla="*/ 386 h 466"/>
                  <a:gd name="T14" fmla="*/ 283 w 358"/>
                  <a:gd name="T15" fmla="*/ 381 h 466"/>
                  <a:gd name="T16" fmla="*/ 290 w 358"/>
                  <a:gd name="T17" fmla="*/ 363 h 466"/>
                  <a:gd name="T18" fmla="*/ 313 w 358"/>
                  <a:gd name="T19" fmla="*/ 280 h 466"/>
                  <a:gd name="T20" fmla="*/ 306 w 358"/>
                  <a:gd name="T21" fmla="*/ 240 h 466"/>
                  <a:gd name="T22" fmla="*/ 299 w 358"/>
                  <a:gd name="T23" fmla="*/ 186 h 466"/>
                  <a:gd name="T24" fmla="*/ 311 w 358"/>
                  <a:gd name="T25" fmla="*/ 165 h 466"/>
                  <a:gd name="T26" fmla="*/ 342 w 358"/>
                  <a:gd name="T27" fmla="*/ 125 h 466"/>
                  <a:gd name="T28" fmla="*/ 351 w 358"/>
                  <a:gd name="T29" fmla="*/ 127 h 466"/>
                  <a:gd name="T30" fmla="*/ 332 w 358"/>
                  <a:gd name="T31" fmla="*/ 92 h 466"/>
                  <a:gd name="T32" fmla="*/ 328 w 358"/>
                  <a:gd name="T33" fmla="*/ 63 h 466"/>
                  <a:gd name="T34" fmla="*/ 280 w 358"/>
                  <a:gd name="T35" fmla="*/ 23 h 466"/>
                  <a:gd name="T36" fmla="*/ 219 w 358"/>
                  <a:gd name="T37" fmla="*/ 56 h 466"/>
                  <a:gd name="T38" fmla="*/ 186 w 358"/>
                  <a:gd name="T39" fmla="*/ 82 h 466"/>
                  <a:gd name="T40" fmla="*/ 228 w 358"/>
                  <a:gd name="T41" fmla="*/ 40 h 466"/>
                  <a:gd name="T42" fmla="*/ 221 w 358"/>
                  <a:gd name="T43" fmla="*/ 12 h 466"/>
                  <a:gd name="T44" fmla="*/ 207 w 358"/>
                  <a:gd name="T45" fmla="*/ 47 h 466"/>
                  <a:gd name="T46" fmla="*/ 193 w 358"/>
                  <a:gd name="T47" fmla="*/ 16 h 466"/>
                  <a:gd name="T48" fmla="*/ 188 w 358"/>
                  <a:gd name="T49" fmla="*/ 26 h 466"/>
                  <a:gd name="T50" fmla="*/ 174 w 358"/>
                  <a:gd name="T51" fmla="*/ 21 h 466"/>
                  <a:gd name="T52" fmla="*/ 146 w 358"/>
                  <a:gd name="T53" fmla="*/ 47 h 466"/>
                  <a:gd name="T54" fmla="*/ 141 w 358"/>
                  <a:gd name="T55" fmla="*/ 66 h 466"/>
                  <a:gd name="T56" fmla="*/ 120 w 358"/>
                  <a:gd name="T57" fmla="*/ 89 h 466"/>
                  <a:gd name="T58" fmla="*/ 151 w 358"/>
                  <a:gd name="T59" fmla="*/ 96 h 466"/>
                  <a:gd name="T60" fmla="*/ 143 w 358"/>
                  <a:gd name="T61" fmla="*/ 113 h 466"/>
                  <a:gd name="T62" fmla="*/ 134 w 358"/>
                  <a:gd name="T63" fmla="*/ 139 h 466"/>
                  <a:gd name="T64" fmla="*/ 96 w 358"/>
                  <a:gd name="T65" fmla="*/ 148 h 466"/>
                  <a:gd name="T66" fmla="*/ 51 w 358"/>
                  <a:gd name="T67" fmla="*/ 129 h 466"/>
                  <a:gd name="T68" fmla="*/ 40 w 358"/>
                  <a:gd name="T69" fmla="*/ 136 h 466"/>
                  <a:gd name="T70" fmla="*/ 30 w 358"/>
                  <a:gd name="T71" fmla="*/ 155 h 466"/>
                  <a:gd name="T72" fmla="*/ 42 w 358"/>
                  <a:gd name="T73" fmla="*/ 158 h 466"/>
                  <a:gd name="T74" fmla="*/ 49 w 358"/>
                  <a:gd name="T75" fmla="*/ 179 h 466"/>
                  <a:gd name="T76" fmla="*/ 66 w 358"/>
                  <a:gd name="T77" fmla="*/ 193 h 466"/>
                  <a:gd name="T78" fmla="*/ 25 w 358"/>
                  <a:gd name="T79" fmla="*/ 221 h 466"/>
                  <a:gd name="T80" fmla="*/ 28 w 358"/>
                  <a:gd name="T81" fmla="*/ 240 h 466"/>
                  <a:gd name="T82" fmla="*/ 44 w 358"/>
                  <a:gd name="T83" fmla="*/ 245 h 466"/>
                  <a:gd name="T84" fmla="*/ 66 w 358"/>
                  <a:gd name="T85" fmla="*/ 249 h 466"/>
                  <a:gd name="T86" fmla="*/ 101 w 358"/>
                  <a:gd name="T87" fmla="*/ 261 h 466"/>
                  <a:gd name="T88" fmla="*/ 87 w 358"/>
                  <a:gd name="T89" fmla="*/ 271 h 466"/>
                  <a:gd name="T90" fmla="*/ 63 w 358"/>
                  <a:gd name="T91" fmla="*/ 318 h 466"/>
                  <a:gd name="T92" fmla="*/ 84 w 358"/>
                  <a:gd name="T93" fmla="*/ 332 h 466"/>
                  <a:gd name="T94" fmla="*/ 106 w 358"/>
                  <a:gd name="T95" fmla="*/ 330 h 466"/>
                  <a:gd name="T96" fmla="*/ 59 w 358"/>
                  <a:gd name="T97" fmla="*/ 346 h 466"/>
                  <a:gd name="T98" fmla="*/ 51 w 358"/>
                  <a:gd name="T99" fmla="*/ 374 h 466"/>
                  <a:gd name="T100" fmla="*/ 9 w 358"/>
                  <a:gd name="T101" fmla="*/ 381 h 466"/>
                  <a:gd name="T102" fmla="*/ 21 w 358"/>
                  <a:gd name="T103" fmla="*/ 391 h 466"/>
                  <a:gd name="T104" fmla="*/ 14 w 358"/>
                  <a:gd name="T105" fmla="*/ 410 h 466"/>
                  <a:gd name="T106" fmla="*/ 30 w 358"/>
                  <a:gd name="T107" fmla="*/ 429 h 466"/>
                  <a:gd name="T108" fmla="*/ 49 w 358"/>
                  <a:gd name="T109" fmla="*/ 429 h 466"/>
                  <a:gd name="T110" fmla="*/ 28 w 358"/>
                  <a:gd name="T111" fmla="*/ 447 h 466"/>
                  <a:gd name="T112" fmla="*/ 73 w 358"/>
                  <a:gd name="T113" fmla="*/ 436 h 466"/>
                  <a:gd name="T114" fmla="*/ 49 w 358"/>
                  <a:gd name="T115" fmla="*/ 464 h 466"/>
                  <a:gd name="T116" fmla="*/ 77 w 358"/>
                  <a:gd name="T117" fmla="*/ 462 h 466"/>
                  <a:gd name="T118" fmla="*/ 217 w 358"/>
                  <a:gd name="T119" fmla="*/ 153 h 466"/>
                  <a:gd name="T120" fmla="*/ 259 w 358"/>
                  <a:gd name="T121" fmla="*/ 143 h 466"/>
                  <a:gd name="T122" fmla="*/ 219 w 358"/>
                  <a:gd name="T123" fmla="*/ 155 h 466"/>
                  <a:gd name="T124" fmla="*/ 195 w 358"/>
                  <a:gd name="T125" fmla="*/ 96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8" h="466">
                    <a:moveTo>
                      <a:pt x="84" y="459"/>
                    </a:moveTo>
                    <a:lnTo>
                      <a:pt x="84" y="459"/>
                    </a:lnTo>
                    <a:lnTo>
                      <a:pt x="87" y="459"/>
                    </a:lnTo>
                    <a:lnTo>
                      <a:pt x="87" y="462"/>
                    </a:lnTo>
                    <a:lnTo>
                      <a:pt x="87" y="462"/>
                    </a:lnTo>
                    <a:lnTo>
                      <a:pt x="87" y="462"/>
                    </a:lnTo>
                    <a:lnTo>
                      <a:pt x="87" y="462"/>
                    </a:lnTo>
                    <a:lnTo>
                      <a:pt x="89" y="462"/>
                    </a:lnTo>
                    <a:lnTo>
                      <a:pt x="89" y="462"/>
                    </a:lnTo>
                    <a:lnTo>
                      <a:pt x="89" y="462"/>
                    </a:lnTo>
                    <a:lnTo>
                      <a:pt x="89" y="459"/>
                    </a:lnTo>
                    <a:lnTo>
                      <a:pt x="89" y="459"/>
                    </a:lnTo>
                    <a:lnTo>
                      <a:pt x="92" y="459"/>
                    </a:lnTo>
                    <a:lnTo>
                      <a:pt x="92" y="459"/>
                    </a:lnTo>
                    <a:lnTo>
                      <a:pt x="92" y="457"/>
                    </a:lnTo>
                    <a:lnTo>
                      <a:pt x="92" y="457"/>
                    </a:lnTo>
                    <a:lnTo>
                      <a:pt x="94" y="457"/>
                    </a:lnTo>
                    <a:lnTo>
                      <a:pt x="94" y="457"/>
                    </a:lnTo>
                    <a:lnTo>
                      <a:pt x="96" y="457"/>
                    </a:lnTo>
                    <a:lnTo>
                      <a:pt x="96" y="457"/>
                    </a:lnTo>
                    <a:lnTo>
                      <a:pt x="96" y="454"/>
                    </a:lnTo>
                    <a:lnTo>
                      <a:pt x="96" y="454"/>
                    </a:lnTo>
                    <a:lnTo>
                      <a:pt x="96" y="454"/>
                    </a:lnTo>
                    <a:lnTo>
                      <a:pt x="96" y="452"/>
                    </a:lnTo>
                    <a:lnTo>
                      <a:pt x="96" y="452"/>
                    </a:lnTo>
                    <a:lnTo>
                      <a:pt x="99" y="454"/>
                    </a:lnTo>
                    <a:lnTo>
                      <a:pt x="99" y="454"/>
                    </a:lnTo>
                    <a:lnTo>
                      <a:pt x="103" y="454"/>
                    </a:lnTo>
                    <a:lnTo>
                      <a:pt x="103" y="452"/>
                    </a:lnTo>
                    <a:lnTo>
                      <a:pt x="106" y="452"/>
                    </a:lnTo>
                    <a:lnTo>
                      <a:pt x="106" y="452"/>
                    </a:lnTo>
                    <a:lnTo>
                      <a:pt x="108" y="454"/>
                    </a:lnTo>
                    <a:lnTo>
                      <a:pt x="108" y="454"/>
                    </a:lnTo>
                    <a:lnTo>
                      <a:pt x="108" y="454"/>
                    </a:lnTo>
                    <a:lnTo>
                      <a:pt x="108" y="457"/>
                    </a:lnTo>
                    <a:lnTo>
                      <a:pt x="110" y="457"/>
                    </a:lnTo>
                    <a:lnTo>
                      <a:pt x="110" y="454"/>
                    </a:lnTo>
                    <a:lnTo>
                      <a:pt x="110" y="454"/>
                    </a:lnTo>
                    <a:lnTo>
                      <a:pt x="113" y="454"/>
                    </a:lnTo>
                    <a:lnTo>
                      <a:pt x="113" y="452"/>
                    </a:lnTo>
                    <a:lnTo>
                      <a:pt x="113" y="450"/>
                    </a:lnTo>
                    <a:lnTo>
                      <a:pt x="115" y="450"/>
                    </a:lnTo>
                    <a:lnTo>
                      <a:pt x="118" y="450"/>
                    </a:lnTo>
                    <a:lnTo>
                      <a:pt x="118" y="450"/>
                    </a:lnTo>
                    <a:lnTo>
                      <a:pt x="118" y="450"/>
                    </a:lnTo>
                    <a:lnTo>
                      <a:pt x="118" y="450"/>
                    </a:lnTo>
                    <a:lnTo>
                      <a:pt x="120" y="450"/>
                    </a:lnTo>
                    <a:lnTo>
                      <a:pt x="122" y="450"/>
                    </a:lnTo>
                    <a:lnTo>
                      <a:pt x="122" y="450"/>
                    </a:lnTo>
                    <a:lnTo>
                      <a:pt x="122" y="450"/>
                    </a:lnTo>
                    <a:lnTo>
                      <a:pt x="122" y="452"/>
                    </a:lnTo>
                    <a:lnTo>
                      <a:pt x="122" y="450"/>
                    </a:lnTo>
                    <a:lnTo>
                      <a:pt x="127" y="452"/>
                    </a:lnTo>
                    <a:lnTo>
                      <a:pt x="127" y="450"/>
                    </a:lnTo>
                    <a:lnTo>
                      <a:pt x="127" y="450"/>
                    </a:lnTo>
                    <a:lnTo>
                      <a:pt x="127" y="447"/>
                    </a:lnTo>
                    <a:lnTo>
                      <a:pt x="127" y="447"/>
                    </a:lnTo>
                    <a:lnTo>
                      <a:pt x="125" y="447"/>
                    </a:lnTo>
                    <a:lnTo>
                      <a:pt x="127" y="447"/>
                    </a:lnTo>
                    <a:lnTo>
                      <a:pt x="127" y="445"/>
                    </a:lnTo>
                    <a:lnTo>
                      <a:pt x="127" y="445"/>
                    </a:lnTo>
                    <a:lnTo>
                      <a:pt x="125" y="445"/>
                    </a:lnTo>
                    <a:lnTo>
                      <a:pt x="122" y="445"/>
                    </a:lnTo>
                    <a:lnTo>
                      <a:pt x="122" y="443"/>
                    </a:lnTo>
                    <a:lnTo>
                      <a:pt x="129" y="445"/>
                    </a:lnTo>
                    <a:lnTo>
                      <a:pt x="134" y="443"/>
                    </a:lnTo>
                    <a:lnTo>
                      <a:pt x="134" y="443"/>
                    </a:lnTo>
                    <a:lnTo>
                      <a:pt x="136" y="445"/>
                    </a:lnTo>
                    <a:lnTo>
                      <a:pt x="136" y="447"/>
                    </a:lnTo>
                    <a:lnTo>
                      <a:pt x="136" y="447"/>
                    </a:lnTo>
                    <a:lnTo>
                      <a:pt x="136" y="445"/>
                    </a:lnTo>
                    <a:lnTo>
                      <a:pt x="136" y="445"/>
                    </a:lnTo>
                    <a:lnTo>
                      <a:pt x="136" y="443"/>
                    </a:lnTo>
                    <a:lnTo>
                      <a:pt x="136" y="443"/>
                    </a:lnTo>
                    <a:lnTo>
                      <a:pt x="139" y="440"/>
                    </a:lnTo>
                    <a:lnTo>
                      <a:pt x="139" y="440"/>
                    </a:lnTo>
                    <a:lnTo>
                      <a:pt x="139" y="440"/>
                    </a:lnTo>
                    <a:lnTo>
                      <a:pt x="141" y="438"/>
                    </a:lnTo>
                    <a:lnTo>
                      <a:pt x="141" y="438"/>
                    </a:lnTo>
                    <a:lnTo>
                      <a:pt x="139" y="438"/>
                    </a:lnTo>
                    <a:lnTo>
                      <a:pt x="139" y="438"/>
                    </a:lnTo>
                    <a:lnTo>
                      <a:pt x="139" y="438"/>
                    </a:lnTo>
                    <a:lnTo>
                      <a:pt x="139" y="438"/>
                    </a:lnTo>
                    <a:lnTo>
                      <a:pt x="136" y="438"/>
                    </a:lnTo>
                    <a:lnTo>
                      <a:pt x="136" y="438"/>
                    </a:lnTo>
                    <a:lnTo>
                      <a:pt x="136" y="436"/>
                    </a:lnTo>
                    <a:lnTo>
                      <a:pt x="139" y="436"/>
                    </a:lnTo>
                    <a:lnTo>
                      <a:pt x="139" y="438"/>
                    </a:lnTo>
                    <a:lnTo>
                      <a:pt x="141" y="438"/>
                    </a:lnTo>
                    <a:lnTo>
                      <a:pt x="141" y="440"/>
                    </a:lnTo>
                    <a:lnTo>
                      <a:pt x="141" y="440"/>
                    </a:lnTo>
                    <a:lnTo>
                      <a:pt x="143" y="438"/>
                    </a:lnTo>
                    <a:lnTo>
                      <a:pt x="141" y="436"/>
                    </a:lnTo>
                    <a:lnTo>
                      <a:pt x="141" y="436"/>
                    </a:lnTo>
                    <a:lnTo>
                      <a:pt x="141" y="436"/>
                    </a:lnTo>
                    <a:lnTo>
                      <a:pt x="143" y="436"/>
                    </a:lnTo>
                    <a:lnTo>
                      <a:pt x="143" y="438"/>
                    </a:lnTo>
                    <a:lnTo>
                      <a:pt x="143" y="438"/>
                    </a:lnTo>
                    <a:lnTo>
                      <a:pt x="146" y="436"/>
                    </a:lnTo>
                    <a:lnTo>
                      <a:pt x="146" y="436"/>
                    </a:lnTo>
                    <a:lnTo>
                      <a:pt x="148" y="436"/>
                    </a:lnTo>
                    <a:lnTo>
                      <a:pt x="151" y="433"/>
                    </a:lnTo>
                    <a:lnTo>
                      <a:pt x="151" y="433"/>
                    </a:lnTo>
                    <a:lnTo>
                      <a:pt x="153" y="431"/>
                    </a:lnTo>
                    <a:lnTo>
                      <a:pt x="155" y="431"/>
                    </a:lnTo>
                    <a:lnTo>
                      <a:pt x="153" y="429"/>
                    </a:lnTo>
                    <a:lnTo>
                      <a:pt x="153" y="429"/>
                    </a:lnTo>
                    <a:lnTo>
                      <a:pt x="153" y="429"/>
                    </a:lnTo>
                    <a:lnTo>
                      <a:pt x="153" y="426"/>
                    </a:lnTo>
                    <a:lnTo>
                      <a:pt x="155" y="426"/>
                    </a:lnTo>
                    <a:lnTo>
                      <a:pt x="153" y="426"/>
                    </a:lnTo>
                    <a:lnTo>
                      <a:pt x="153" y="426"/>
                    </a:lnTo>
                    <a:lnTo>
                      <a:pt x="153" y="426"/>
                    </a:lnTo>
                    <a:lnTo>
                      <a:pt x="155" y="424"/>
                    </a:lnTo>
                    <a:lnTo>
                      <a:pt x="153" y="424"/>
                    </a:lnTo>
                    <a:lnTo>
                      <a:pt x="153" y="424"/>
                    </a:lnTo>
                    <a:lnTo>
                      <a:pt x="155" y="424"/>
                    </a:lnTo>
                    <a:lnTo>
                      <a:pt x="155" y="421"/>
                    </a:lnTo>
                    <a:lnTo>
                      <a:pt x="153" y="421"/>
                    </a:lnTo>
                    <a:lnTo>
                      <a:pt x="151" y="421"/>
                    </a:lnTo>
                    <a:lnTo>
                      <a:pt x="153" y="419"/>
                    </a:lnTo>
                    <a:lnTo>
                      <a:pt x="151" y="417"/>
                    </a:lnTo>
                    <a:lnTo>
                      <a:pt x="148" y="417"/>
                    </a:lnTo>
                    <a:lnTo>
                      <a:pt x="146" y="417"/>
                    </a:lnTo>
                    <a:lnTo>
                      <a:pt x="146" y="414"/>
                    </a:lnTo>
                    <a:lnTo>
                      <a:pt x="148" y="414"/>
                    </a:lnTo>
                    <a:lnTo>
                      <a:pt x="151" y="414"/>
                    </a:lnTo>
                    <a:lnTo>
                      <a:pt x="153" y="414"/>
                    </a:lnTo>
                    <a:lnTo>
                      <a:pt x="153" y="414"/>
                    </a:lnTo>
                    <a:lnTo>
                      <a:pt x="155" y="414"/>
                    </a:lnTo>
                    <a:lnTo>
                      <a:pt x="155" y="414"/>
                    </a:lnTo>
                    <a:lnTo>
                      <a:pt x="155" y="414"/>
                    </a:lnTo>
                    <a:lnTo>
                      <a:pt x="158" y="414"/>
                    </a:lnTo>
                    <a:lnTo>
                      <a:pt x="160" y="417"/>
                    </a:lnTo>
                    <a:lnTo>
                      <a:pt x="160" y="417"/>
                    </a:lnTo>
                    <a:lnTo>
                      <a:pt x="160" y="414"/>
                    </a:lnTo>
                    <a:lnTo>
                      <a:pt x="162" y="414"/>
                    </a:lnTo>
                    <a:lnTo>
                      <a:pt x="162" y="414"/>
                    </a:lnTo>
                    <a:lnTo>
                      <a:pt x="162" y="417"/>
                    </a:lnTo>
                    <a:lnTo>
                      <a:pt x="162" y="417"/>
                    </a:lnTo>
                    <a:lnTo>
                      <a:pt x="162" y="417"/>
                    </a:lnTo>
                    <a:lnTo>
                      <a:pt x="160" y="419"/>
                    </a:lnTo>
                    <a:lnTo>
                      <a:pt x="162" y="419"/>
                    </a:lnTo>
                    <a:lnTo>
                      <a:pt x="162" y="419"/>
                    </a:lnTo>
                    <a:lnTo>
                      <a:pt x="162" y="419"/>
                    </a:lnTo>
                    <a:lnTo>
                      <a:pt x="162" y="419"/>
                    </a:lnTo>
                    <a:lnTo>
                      <a:pt x="162" y="419"/>
                    </a:lnTo>
                    <a:lnTo>
                      <a:pt x="160" y="421"/>
                    </a:lnTo>
                    <a:lnTo>
                      <a:pt x="160" y="421"/>
                    </a:lnTo>
                    <a:lnTo>
                      <a:pt x="158" y="421"/>
                    </a:lnTo>
                    <a:lnTo>
                      <a:pt x="160" y="424"/>
                    </a:lnTo>
                    <a:lnTo>
                      <a:pt x="160" y="424"/>
                    </a:lnTo>
                    <a:lnTo>
                      <a:pt x="158" y="424"/>
                    </a:lnTo>
                    <a:lnTo>
                      <a:pt x="158" y="424"/>
                    </a:lnTo>
                    <a:lnTo>
                      <a:pt x="158" y="424"/>
                    </a:lnTo>
                    <a:lnTo>
                      <a:pt x="158" y="426"/>
                    </a:lnTo>
                    <a:lnTo>
                      <a:pt x="158" y="426"/>
                    </a:lnTo>
                    <a:lnTo>
                      <a:pt x="158" y="426"/>
                    </a:lnTo>
                    <a:lnTo>
                      <a:pt x="160" y="426"/>
                    </a:lnTo>
                    <a:lnTo>
                      <a:pt x="162" y="426"/>
                    </a:lnTo>
                    <a:lnTo>
                      <a:pt x="167" y="426"/>
                    </a:lnTo>
                    <a:lnTo>
                      <a:pt x="169" y="424"/>
                    </a:lnTo>
                    <a:lnTo>
                      <a:pt x="174" y="424"/>
                    </a:lnTo>
                    <a:lnTo>
                      <a:pt x="174" y="421"/>
                    </a:lnTo>
                    <a:lnTo>
                      <a:pt x="174" y="421"/>
                    </a:lnTo>
                    <a:lnTo>
                      <a:pt x="174" y="419"/>
                    </a:lnTo>
                    <a:lnTo>
                      <a:pt x="179" y="419"/>
                    </a:lnTo>
                    <a:lnTo>
                      <a:pt x="181" y="417"/>
                    </a:lnTo>
                    <a:lnTo>
                      <a:pt x="184" y="417"/>
                    </a:lnTo>
                    <a:lnTo>
                      <a:pt x="184" y="414"/>
                    </a:lnTo>
                    <a:lnTo>
                      <a:pt x="184" y="414"/>
                    </a:lnTo>
                    <a:lnTo>
                      <a:pt x="181" y="412"/>
                    </a:lnTo>
                    <a:lnTo>
                      <a:pt x="181" y="412"/>
                    </a:lnTo>
                    <a:lnTo>
                      <a:pt x="184" y="412"/>
                    </a:lnTo>
                    <a:lnTo>
                      <a:pt x="184" y="412"/>
                    </a:lnTo>
                    <a:lnTo>
                      <a:pt x="186" y="410"/>
                    </a:lnTo>
                    <a:lnTo>
                      <a:pt x="186" y="410"/>
                    </a:lnTo>
                    <a:lnTo>
                      <a:pt x="186" y="405"/>
                    </a:lnTo>
                    <a:lnTo>
                      <a:pt x="186" y="405"/>
                    </a:lnTo>
                    <a:lnTo>
                      <a:pt x="186" y="405"/>
                    </a:lnTo>
                    <a:lnTo>
                      <a:pt x="186" y="405"/>
                    </a:lnTo>
                    <a:lnTo>
                      <a:pt x="186" y="407"/>
                    </a:lnTo>
                    <a:lnTo>
                      <a:pt x="186" y="407"/>
                    </a:lnTo>
                    <a:lnTo>
                      <a:pt x="188" y="410"/>
                    </a:lnTo>
                    <a:lnTo>
                      <a:pt x="195" y="410"/>
                    </a:lnTo>
                    <a:lnTo>
                      <a:pt x="195" y="410"/>
                    </a:lnTo>
                    <a:lnTo>
                      <a:pt x="195" y="407"/>
                    </a:lnTo>
                    <a:lnTo>
                      <a:pt x="195" y="405"/>
                    </a:lnTo>
                    <a:lnTo>
                      <a:pt x="198" y="405"/>
                    </a:lnTo>
                    <a:lnTo>
                      <a:pt x="200" y="405"/>
                    </a:lnTo>
                    <a:lnTo>
                      <a:pt x="202" y="405"/>
                    </a:lnTo>
                    <a:lnTo>
                      <a:pt x="202" y="405"/>
                    </a:lnTo>
                    <a:lnTo>
                      <a:pt x="205" y="405"/>
                    </a:lnTo>
                    <a:lnTo>
                      <a:pt x="205" y="405"/>
                    </a:lnTo>
                    <a:lnTo>
                      <a:pt x="205" y="403"/>
                    </a:lnTo>
                    <a:lnTo>
                      <a:pt x="205" y="400"/>
                    </a:lnTo>
                    <a:lnTo>
                      <a:pt x="207" y="398"/>
                    </a:lnTo>
                    <a:lnTo>
                      <a:pt x="207" y="396"/>
                    </a:lnTo>
                    <a:lnTo>
                      <a:pt x="207" y="396"/>
                    </a:lnTo>
                    <a:lnTo>
                      <a:pt x="207" y="396"/>
                    </a:lnTo>
                    <a:lnTo>
                      <a:pt x="205" y="396"/>
                    </a:lnTo>
                    <a:lnTo>
                      <a:pt x="202" y="396"/>
                    </a:lnTo>
                    <a:lnTo>
                      <a:pt x="202" y="396"/>
                    </a:lnTo>
                    <a:lnTo>
                      <a:pt x="202" y="396"/>
                    </a:lnTo>
                    <a:lnTo>
                      <a:pt x="200" y="393"/>
                    </a:lnTo>
                    <a:lnTo>
                      <a:pt x="202" y="393"/>
                    </a:lnTo>
                    <a:lnTo>
                      <a:pt x="202" y="391"/>
                    </a:lnTo>
                    <a:lnTo>
                      <a:pt x="205" y="391"/>
                    </a:lnTo>
                    <a:lnTo>
                      <a:pt x="205" y="391"/>
                    </a:lnTo>
                    <a:lnTo>
                      <a:pt x="205" y="393"/>
                    </a:lnTo>
                    <a:lnTo>
                      <a:pt x="205" y="393"/>
                    </a:lnTo>
                    <a:lnTo>
                      <a:pt x="205" y="393"/>
                    </a:lnTo>
                    <a:lnTo>
                      <a:pt x="207" y="393"/>
                    </a:lnTo>
                    <a:lnTo>
                      <a:pt x="207" y="393"/>
                    </a:lnTo>
                    <a:lnTo>
                      <a:pt x="207" y="393"/>
                    </a:lnTo>
                    <a:lnTo>
                      <a:pt x="207" y="391"/>
                    </a:lnTo>
                    <a:lnTo>
                      <a:pt x="210" y="391"/>
                    </a:lnTo>
                    <a:lnTo>
                      <a:pt x="214" y="389"/>
                    </a:lnTo>
                    <a:lnTo>
                      <a:pt x="228" y="389"/>
                    </a:lnTo>
                    <a:lnTo>
                      <a:pt x="231" y="389"/>
                    </a:lnTo>
                    <a:lnTo>
                      <a:pt x="233" y="389"/>
                    </a:lnTo>
                    <a:lnTo>
                      <a:pt x="233" y="389"/>
                    </a:lnTo>
                    <a:lnTo>
                      <a:pt x="236" y="386"/>
                    </a:lnTo>
                    <a:lnTo>
                      <a:pt x="236" y="386"/>
                    </a:lnTo>
                    <a:lnTo>
                      <a:pt x="236" y="386"/>
                    </a:lnTo>
                    <a:lnTo>
                      <a:pt x="236" y="386"/>
                    </a:lnTo>
                    <a:lnTo>
                      <a:pt x="236" y="386"/>
                    </a:lnTo>
                    <a:lnTo>
                      <a:pt x="238" y="386"/>
                    </a:lnTo>
                    <a:lnTo>
                      <a:pt x="238" y="386"/>
                    </a:lnTo>
                    <a:lnTo>
                      <a:pt x="238" y="386"/>
                    </a:lnTo>
                    <a:lnTo>
                      <a:pt x="238" y="384"/>
                    </a:lnTo>
                    <a:lnTo>
                      <a:pt x="238" y="384"/>
                    </a:lnTo>
                    <a:lnTo>
                      <a:pt x="238" y="384"/>
                    </a:lnTo>
                    <a:lnTo>
                      <a:pt x="238" y="384"/>
                    </a:lnTo>
                    <a:lnTo>
                      <a:pt x="238" y="384"/>
                    </a:lnTo>
                    <a:lnTo>
                      <a:pt x="240" y="384"/>
                    </a:lnTo>
                    <a:lnTo>
                      <a:pt x="240" y="384"/>
                    </a:lnTo>
                    <a:lnTo>
                      <a:pt x="238" y="386"/>
                    </a:lnTo>
                    <a:lnTo>
                      <a:pt x="238" y="389"/>
                    </a:lnTo>
                    <a:lnTo>
                      <a:pt x="240" y="389"/>
                    </a:lnTo>
                    <a:lnTo>
                      <a:pt x="243" y="389"/>
                    </a:lnTo>
                    <a:lnTo>
                      <a:pt x="245" y="389"/>
                    </a:lnTo>
                    <a:lnTo>
                      <a:pt x="245" y="386"/>
                    </a:lnTo>
                    <a:lnTo>
                      <a:pt x="247" y="384"/>
                    </a:lnTo>
                    <a:lnTo>
                      <a:pt x="250" y="381"/>
                    </a:lnTo>
                    <a:lnTo>
                      <a:pt x="250" y="381"/>
                    </a:lnTo>
                    <a:lnTo>
                      <a:pt x="247" y="381"/>
                    </a:lnTo>
                    <a:lnTo>
                      <a:pt x="247" y="381"/>
                    </a:lnTo>
                    <a:lnTo>
                      <a:pt x="247" y="379"/>
                    </a:lnTo>
                    <a:lnTo>
                      <a:pt x="247" y="377"/>
                    </a:lnTo>
                    <a:lnTo>
                      <a:pt x="247" y="374"/>
                    </a:lnTo>
                    <a:lnTo>
                      <a:pt x="247" y="374"/>
                    </a:lnTo>
                    <a:lnTo>
                      <a:pt x="247" y="372"/>
                    </a:lnTo>
                    <a:lnTo>
                      <a:pt x="247" y="372"/>
                    </a:lnTo>
                    <a:lnTo>
                      <a:pt x="245" y="372"/>
                    </a:lnTo>
                    <a:lnTo>
                      <a:pt x="245" y="370"/>
                    </a:lnTo>
                    <a:lnTo>
                      <a:pt x="247" y="372"/>
                    </a:lnTo>
                    <a:lnTo>
                      <a:pt x="247" y="374"/>
                    </a:lnTo>
                    <a:lnTo>
                      <a:pt x="250" y="374"/>
                    </a:lnTo>
                    <a:lnTo>
                      <a:pt x="250" y="377"/>
                    </a:lnTo>
                    <a:lnTo>
                      <a:pt x="250" y="377"/>
                    </a:lnTo>
                    <a:lnTo>
                      <a:pt x="252" y="379"/>
                    </a:lnTo>
                    <a:lnTo>
                      <a:pt x="252" y="379"/>
                    </a:lnTo>
                    <a:lnTo>
                      <a:pt x="252" y="384"/>
                    </a:lnTo>
                    <a:lnTo>
                      <a:pt x="252" y="384"/>
                    </a:lnTo>
                    <a:lnTo>
                      <a:pt x="252" y="386"/>
                    </a:lnTo>
                    <a:lnTo>
                      <a:pt x="252" y="386"/>
                    </a:lnTo>
                    <a:lnTo>
                      <a:pt x="250" y="386"/>
                    </a:lnTo>
                    <a:lnTo>
                      <a:pt x="250" y="389"/>
                    </a:lnTo>
                    <a:lnTo>
                      <a:pt x="250" y="389"/>
                    </a:lnTo>
                    <a:lnTo>
                      <a:pt x="252" y="389"/>
                    </a:lnTo>
                    <a:lnTo>
                      <a:pt x="252" y="386"/>
                    </a:lnTo>
                    <a:lnTo>
                      <a:pt x="252" y="386"/>
                    </a:lnTo>
                    <a:lnTo>
                      <a:pt x="259" y="381"/>
                    </a:lnTo>
                    <a:lnTo>
                      <a:pt x="257" y="381"/>
                    </a:lnTo>
                    <a:lnTo>
                      <a:pt x="259" y="381"/>
                    </a:lnTo>
                    <a:lnTo>
                      <a:pt x="259" y="381"/>
                    </a:lnTo>
                    <a:lnTo>
                      <a:pt x="259" y="381"/>
                    </a:lnTo>
                    <a:lnTo>
                      <a:pt x="259" y="381"/>
                    </a:lnTo>
                    <a:lnTo>
                      <a:pt x="257" y="381"/>
                    </a:lnTo>
                    <a:lnTo>
                      <a:pt x="259" y="379"/>
                    </a:lnTo>
                    <a:lnTo>
                      <a:pt x="259" y="379"/>
                    </a:lnTo>
                    <a:lnTo>
                      <a:pt x="259" y="379"/>
                    </a:lnTo>
                    <a:lnTo>
                      <a:pt x="259" y="379"/>
                    </a:lnTo>
                    <a:lnTo>
                      <a:pt x="257" y="379"/>
                    </a:lnTo>
                    <a:lnTo>
                      <a:pt x="257" y="379"/>
                    </a:lnTo>
                    <a:lnTo>
                      <a:pt x="257" y="377"/>
                    </a:lnTo>
                    <a:lnTo>
                      <a:pt x="257" y="377"/>
                    </a:lnTo>
                    <a:lnTo>
                      <a:pt x="257" y="377"/>
                    </a:lnTo>
                    <a:lnTo>
                      <a:pt x="257" y="374"/>
                    </a:lnTo>
                    <a:lnTo>
                      <a:pt x="259" y="377"/>
                    </a:lnTo>
                    <a:lnTo>
                      <a:pt x="261" y="377"/>
                    </a:lnTo>
                    <a:lnTo>
                      <a:pt x="261" y="374"/>
                    </a:lnTo>
                    <a:lnTo>
                      <a:pt x="261" y="372"/>
                    </a:lnTo>
                    <a:lnTo>
                      <a:pt x="261" y="374"/>
                    </a:lnTo>
                    <a:lnTo>
                      <a:pt x="261" y="377"/>
                    </a:lnTo>
                    <a:lnTo>
                      <a:pt x="261" y="377"/>
                    </a:lnTo>
                    <a:lnTo>
                      <a:pt x="259" y="379"/>
                    </a:lnTo>
                    <a:lnTo>
                      <a:pt x="259" y="379"/>
                    </a:lnTo>
                    <a:lnTo>
                      <a:pt x="261" y="379"/>
                    </a:lnTo>
                    <a:lnTo>
                      <a:pt x="266" y="379"/>
                    </a:lnTo>
                    <a:lnTo>
                      <a:pt x="271" y="379"/>
                    </a:lnTo>
                    <a:lnTo>
                      <a:pt x="273" y="381"/>
                    </a:lnTo>
                    <a:lnTo>
                      <a:pt x="273" y="381"/>
                    </a:lnTo>
                    <a:lnTo>
                      <a:pt x="276" y="384"/>
                    </a:lnTo>
                    <a:lnTo>
                      <a:pt x="278" y="381"/>
                    </a:lnTo>
                    <a:lnTo>
                      <a:pt x="283" y="379"/>
                    </a:lnTo>
                    <a:lnTo>
                      <a:pt x="283" y="379"/>
                    </a:lnTo>
                    <a:lnTo>
                      <a:pt x="283" y="379"/>
                    </a:lnTo>
                    <a:lnTo>
                      <a:pt x="285" y="379"/>
                    </a:lnTo>
                    <a:lnTo>
                      <a:pt x="283" y="379"/>
                    </a:lnTo>
                    <a:lnTo>
                      <a:pt x="283" y="381"/>
                    </a:lnTo>
                    <a:lnTo>
                      <a:pt x="287" y="381"/>
                    </a:lnTo>
                    <a:lnTo>
                      <a:pt x="287" y="381"/>
                    </a:lnTo>
                    <a:lnTo>
                      <a:pt x="287" y="381"/>
                    </a:lnTo>
                    <a:lnTo>
                      <a:pt x="287" y="379"/>
                    </a:lnTo>
                    <a:lnTo>
                      <a:pt x="287" y="379"/>
                    </a:lnTo>
                    <a:lnTo>
                      <a:pt x="290" y="379"/>
                    </a:lnTo>
                    <a:lnTo>
                      <a:pt x="290" y="379"/>
                    </a:lnTo>
                    <a:lnTo>
                      <a:pt x="290" y="379"/>
                    </a:lnTo>
                    <a:lnTo>
                      <a:pt x="290" y="381"/>
                    </a:lnTo>
                    <a:lnTo>
                      <a:pt x="287" y="381"/>
                    </a:lnTo>
                    <a:lnTo>
                      <a:pt x="287" y="381"/>
                    </a:lnTo>
                    <a:lnTo>
                      <a:pt x="290" y="381"/>
                    </a:lnTo>
                    <a:lnTo>
                      <a:pt x="290" y="384"/>
                    </a:lnTo>
                    <a:lnTo>
                      <a:pt x="290" y="381"/>
                    </a:lnTo>
                    <a:lnTo>
                      <a:pt x="290" y="381"/>
                    </a:lnTo>
                    <a:lnTo>
                      <a:pt x="292" y="381"/>
                    </a:lnTo>
                    <a:lnTo>
                      <a:pt x="294" y="374"/>
                    </a:lnTo>
                    <a:lnTo>
                      <a:pt x="290" y="372"/>
                    </a:lnTo>
                    <a:lnTo>
                      <a:pt x="290" y="370"/>
                    </a:lnTo>
                    <a:lnTo>
                      <a:pt x="290" y="367"/>
                    </a:lnTo>
                    <a:lnTo>
                      <a:pt x="290" y="365"/>
                    </a:lnTo>
                    <a:lnTo>
                      <a:pt x="287" y="370"/>
                    </a:lnTo>
                    <a:lnTo>
                      <a:pt x="287" y="370"/>
                    </a:lnTo>
                    <a:lnTo>
                      <a:pt x="287" y="370"/>
                    </a:lnTo>
                    <a:lnTo>
                      <a:pt x="287" y="367"/>
                    </a:lnTo>
                    <a:lnTo>
                      <a:pt x="285" y="367"/>
                    </a:lnTo>
                    <a:lnTo>
                      <a:pt x="285" y="365"/>
                    </a:lnTo>
                    <a:lnTo>
                      <a:pt x="285" y="365"/>
                    </a:lnTo>
                    <a:lnTo>
                      <a:pt x="283" y="363"/>
                    </a:lnTo>
                    <a:lnTo>
                      <a:pt x="283" y="363"/>
                    </a:lnTo>
                    <a:lnTo>
                      <a:pt x="283" y="363"/>
                    </a:lnTo>
                    <a:lnTo>
                      <a:pt x="283" y="363"/>
                    </a:lnTo>
                    <a:lnTo>
                      <a:pt x="283" y="360"/>
                    </a:lnTo>
                    <a:lnTo>
                      <a:pt x="283" y="360"/>
                    </a:lnTo>
                    <a:lnTo>
                      <a:pt x="283" y="360"/>
                    </a:lnTo>
                    <a:lnTo>
                      <a:pt x="283" y="360"/>
                    </a:lnTo>
                    <a:lnTo>
                      <a:pt x="283" y="363"/>
                    </a:lnTo>
                    <a:lnTo>
                      <a:pt x="285" y="363"/>
                    </a:lnTo>
                    <a:lnTo>
                      <a:pt x="290" y="363"/>
                    </a:lnTo>
                    <a:lnTo>
                      <a:pt x="290" y="363"/>
                    </a:lnTo>
                    <a:lnTo>
                      <a:pt x="290" y="363"/>
                    </a:lnTo>
                    <a:lnTo>
                      <a:pt x="290" y="365"/>
                    </a:lnTo>
                    <a:lnTo>
                      <a:pt x="290" y="363"/>
                    </a:lnTo>
                    <a:lnTo>
                      <a:pt x="290" y="360"/>
                    </a:lnTo>
                    <a:lnTo>
                      <a:pt x="290" y="358"/>
                    </a:lnTo>
                    <a:lnTo>
                      <a:pt x="292" y="356"/>
                    </a:lnTo>
                    <a:lnTo>
                      <a:pt x="292" y="353"/>
                    </a:lnTo>
                    <a:lnTo>
                      <a:pt x="294" y="351"/>
                    </a:lnTo>
                    <a:lnTo>
                      <a:pt x="294" y="351"/>
                    </a:lnTo>
                    <a:lnTo>
                      <a:pt x="297" y="348"/>
                    </a:lnTo>
                    <a:lnTo>
                      <a:pt x="302" y="341"/>
                    </a:lnTo>
                    <a:lnTo>
                      <a:pt x="302" y="341"/>
                    </a:lnTo>
                    <a:lnTo>
                      <a:pt x="302" y="334"/>
                    </a:lnTo>
                    <a:lnTo>
                      <a:pt x="302" y="334"/>
                    </a:lnTo>
                    <a:lnTo>
                      <a:pt x="302" y="330"/>
                    </a:lnTo>
                    <a:lnTo>
                      <a:pt x="302" y="330"/>
                    </a:lnTo>
                    <a:lnTo>
                      <a:pt x="302" y="327"/>
                    </a:lnTo>
                    <a:lnTo>
                      <a:pt x="304" y="320"/>
                    </a:lnTo>
                    <a:lnTo>
                      <a:pt x="306" y="318"/>
                    </a:lnTo>
                    <a:lnTo>
                      <a:pt x="306" y="318"/>
                    </a:lnTo>
                    <a:lnTo>
                      <a:pt x="306" y="315"/>
                    </a:lnTo>
                    <a:lnTo>
                      <a:pt x="306" y="308"/>
                    </a:lnTo>
                    <a:lnTo>
                      <a:pt x="309" y="308"/>
                    </a:lnTo>
                    <a:lnTo>
                      <a:pt x="309" y="306"/>
                    </a:lnTo>
                    <a:lnTo>
                      <a:pt x="311" y="304"/>
                    </a:lnTo>
                    <a:lnTo>
                      <a:pt x="311" y="304"/>
                    </a:lnTo>
                    <a:lnTo>
                      <a:pt x="313" y="297"/>
                    </a:lnTo>
                    <a:lnTo>
                      <a:pt x="313" y="297"/>
                    </a:lnTo>
                    <a:lnTo>
                      <a:pt x="316" y="297"/>
                    </a:lnTo>
                    <a:lnTo>
                      <a:pt x="316" y="294"/>
                    </a:lnTo>
                    <a:lnTo>
                      <a:pt x="316" y="294"/>
                    </a:lnTo>
                    <a:lnTo>
                      <a:pt x="316" y="292"/>
                    </a:lnTo>
                    <a:lnTo>
                      <a:pt x="316" y="292"/>
                    </a:lnTo>
                    <a:lnTo>
                      <a:pt x="313" y="287"/>
                    </a:lnTo>
                    <a:lnTo>
                      <a:pt x="313" y="287"/>
                    </a:lnTo>
                    <a:lnTo>
                      <a:pt x="313" y="285"/>
                    </a:lnTo>
                    <a:lnTo>
                      <a:pt x="313" y="282"/>
                    </a:lnTo>
                    <a:lnTo>
                      <a:pt x="313" y="280"/>
                    </a:lnTo>
                    <a:lnTo>
                      <a:pt x="313" y="278"/>
                    </a:lnTo>
                    <a:lnTo>
                      <a:pt x="313" y="275"/>
                    </a:lnTo>
                    <a:lnTo>
                      <a:pt x="313" y="275"/>
                    </a:lnTo>
                    <a:lnTo>
                      <a:pt x="313" y="275"/>
                    </a:lnTo>
                    <a:lnTo>
                      <a:pt x="311" y="271"/>
                    </a:lnTo>
                    <a:lnTo>
                      <a:pt x="311" y="268"/>
                    </a:lnTo>
                    <a:lnTo>
                      <a:pt x="311" y="266"/>
                    </a:lnTo>
                    <a:lnTo>
                      <a:pt x="311" y="264"/>
                    </a:lnTo>
                    <a:lnTo>
                      <a:pt x="311" y="264"/>
                    </a:lnTo>
                    <a:lnTo>
                      <a:pt x="309" y="264"/>
                    </a:lnTo>
                    <a:lnTo>
                      <a:pt x="309" y="261"/>
                    </a:lnTo>
                    <a:lnTo>
                      <a:pt x="309" y="259"/>
                    </a:lnTo>
                    <a:lnTo>
                      <a:pt x="309" y="257"/>
                    </a:lnTo>
                    <a:lnTo>
                      <a:pt x="309" y="257"/>
                    </a:lnTo>
                    <a:lnTo>
                      <a:pt x="309" y="254"/>
                    </a:lnTo>
                    <a:lnTo>
                      <a:pt x="309" y="254"/>
                    </a:lnTo>
                    <a:lnTo>
                      <a:pt x="309" y="254"/>
                    </a:lnTo>
                    <a:lnTo>
                      <a:pt x="309" y="254"/>
                    </a:lnTo>
                    <a:lnTo>
                      <a:pt x="306" y="254"/>
                    </a:lnTo>
                    <a:lnTo>
                      <a:pt x="306" y="252"/>
                    </a:lnTo>
                    <a:lnTo>
                      <a:pt x="304" y="252"/>
                    </a:lnTo>
                    <a:lnTo>
                      <a:pt x="304" y="249"/>
                    </a:lnTo>
                    <a:lnTo>
                      <a:pt x="302" y="247"/>
                    </a:lnTo>
                    <a:lnTo>
                      <a:pt x="302" y="247"/>
                    </a:lnTo>
                    <a:lnTo>
                      <a:pt x="302" y="245"/>
                    </a:lnTo>
                    <a:lnTo>
                      <a:pt x="304" y="242"/>
                    </a:lnTo>
                    <a:lnTo>
                      <a:pt x="306" y="242"/>
                    </a:lnTo>
                    <a:lnTo>
                      <a:pt x="306" y="242"/>
                    </a:lnTo>
                    <a:lnTo>
                      <a:pt x="309" y="242"/>
                    </a:lnTo>
                    <a:lnTo>
                      <a:pt x="309" y="242"/>
                    </a:lnTo>
                    <a:lnTo>
                      <a:pt x="309" y="242"/>
                    </a:lnTo>
                    <a:lnTo>
                      <a:pt x="309" y="242"/>
                    </a:lnTo>
                    <a:lnTo>
                      <a:pt x="311" y="245"/>
                    </a:lnTo>
                    <a:lnTo>
                      <a:pt x="311" y="245"/>
                    </a:lnTo>
                    <a:lnTo>
                      <a:pt x="313" y="245"/>
                    </a:lnTo>
                    <a:lnTo>
                      <a:pt x="313" y="242"/>
                    </a:lnTo>
                    <a:lnTo>
                      <a:pt x="311" y="242"/>
                    </a:lnTo>
                    <a:lnTo>
                      <a:pt x="309" y="240"/>
                    </a:lnTo>
                    <a:lnTo>
                      <a:pt x="306" y="240"/>
                    </a:lnTo>
                    <a:lnTo>
                      <a:pt x="309" y="240"/>
                    </a:lnTo>
                    <a:lnTo>
                      <a:pt x="309" y="240"/>
                    </a:lnTo>
                    <a:lnTo>
                      <a:pt x="309" y="240"/>
                    </a:lnTo>
                    <a:lnTo>
                      <a:pt x="309" y="238"/>
                    </a:lnTo>
                    <a:lnTo>
                      <a:pt x="306" y="238"/>
                    </a:lnTo>
                    <a:lnTo>
                      <a:pt x="306" y="235"/>
                    </a:lnTo>
                    <a:lnTo>
                      <a:pt x="302" y="233"/>
                    </a:lnTo>
                    <a:lnTo>
                      <a:pt x="304" y="233"/>
                    </a:lnTo>
                    <a:lnTo>
                      <a:pt x="304" y="233"/>
                    </a:lnTo>
                    <a:lnTo>
                      <a:pt x="306" y="233"/>
                    </a:lnTo>
                    <a:lnTo>
                      <a:pt x="306" y="233"/>
                    </a:lnTo>
                    <a:lnTo>
                      <a:pt x="309" y="233"/>
                    </a:lnTo>
                    <a:lnTo>
                      <a:pt x="309" y="231"/>
                    </a:lnTo>
                    <a:lnTo>
                      <a:pt x="309" y="228"/>
                    </a:lnTo>
                    <a:lnTo>
                      <a:pt x="309" y="228"/>
                    </a:lnTo>
                    <a:lnTo>
                      <a:pt x="309" y="228"/>
                    </a:lnTo>
                    <a:lnTo>
                      <a:pt x="311" y="226"/>
                    </a:lnTo>
                    <a:lnTo>
                      <a:pt x="311" y="224"/>
                    </a:lnTo>
                    <a:lnTo>
                      <a:pt x="311" y="224"/>
                    </a:lnTo>
                    <a:lnTo>
                      <a:pt x="311" y="221"/>
                    </a:lnTo>
                    <a:lnTo>
                      <a:pt x="311" y="219"/>
                    </a:lnTo>
                    <a:lnTo>
                      <a:pt x="309" y="219"/>
                    </a:lnTo>
                    <a:lnTo>
                      <a:pt x="306" y="216"/>
                    </a:lnTo>
                    <a:lnTo>
                      <a:pt x="304" y="216"/>
                    </a:lnTo>
                    <a:lnTo>
                      <a:pt x="304" y="214"/>
                    </a:lnTo>
                    <a:lnTo>
                      <a:pt x="302" y="212"/>
                    </a:lnTo>
                    <a:lnTo>
                      <a:pt x="302" y="212"/>
                    </a:lnTo>
                    <a:lnTo>
                      <a:pt x="302" y="212"/>
                    </a:lnTo>
                    <a:lnTo>
                      <a:pt x="299" y="209"/>
                    </a:lnTo>
                    <a:lnTo>
                      <a:pt x="299" y="209"/>
                    </a:lnTo>
                    <a:lnTo>
                      <a:pt x="299" y="207"/>
                    </a:lnTo>
                    <a:lnTo>
                      <a:pt x="299" y="202"/>
                    </a:lnTo>
                    <a:lnTo>
                      <a:pt x="299" y="198"/>
                    </a:lnTo>
                    <a:lnTo>
                      <a:pt x="299" y="195"/>
                    </a:lnTo>
                    <a:lnTo>
                      <a:pt x="302" y="193"/>
                    </a:lnTo>
                    <a:lnTo>
                      <a:pt x="299" y="193"/>
                    </a:lnTo>
                    <a:lnTo>
                      <a:pt x="299" y="191"/>
                    </a:lnTo>
                    <a:lnTo>
                      <a:pt x="299" y="188"/>
                    </a:lnTo>
                    <a:lnTo>
                      <a:pt x="299" y="186"/>
                    </a:lnTo>
                    <a:lnTo>
                      <a:pt x="299" y="186"/>
                    </a:lnTo>
                    <a:lnTo>
                      <a:pt x="294" y="186"/>
                    </a:lnTo>
                    <a:lnTo>
                      <a:pt x="292" y="184"/>
                    </a:lnTo>
                    <a:lnTo>
                      <a:pt x="290" y="181"/>
                    </a:lnTo>
                    <a:lnTo>
                      <a:pt x="290" y="179"/>
                    </a:lnTo>
                    <a:lnTo>
                      <a:pt x="290" y="176"/>
                    </a:lnTo>
                    <a:lnTo>
                      <a:pt x="290" y="174"/>
                    </a:lnTo>
                    <a:lnTo>
                      <a:pt x="290" y="172"/>
                    </a:lnTo>
                    <a:lnTo>
                      <a:pt x="292" y="169"/>
                    </a:lnTo>
                    <a:lnTo>
                      <a:pt x="292" y="169"/>
                    </a:lnTo>
                    <a:lnTo>
                      <a:pt x="290" y="169"/>
                    </a:lnTo>
                    <a:lnTo>
                      <a:pt x="290" y="167"/>
                    </a:lnTo>
                    <a:lnTo>
                      <a:pt x="294" y="167"/>
                    </a:lnTo>
                    <a:lnTo>
                      <a:pt x="299" y="169"/>
                    </a:lnTo>
                    <a:lnTo>
                      <a:pt x="302" y="169"/>
                    </a:lnTo>
                    <a:lnTo>
                      <a:pt x="302" y="172"/>
                    </a:lnTo>
                    <a:lnTo>
                      <a:pt x="304" y="172"/>
                    </a:lnTo>
                    <a:lnTo>
                      <a:pt x="304" y="172"/>
                    </a:lnTo>
                    <a:lnTo>
                      <a:pt x="306" y="172"/>
                    </a:lnTo>
                    <a:lnTo>
                      <a:pt x="309" y="169"/>
                    </a:lnTo>
                    <a:lnTo>
                      <a:pt x="309" y="167"/>
                    </a:lnTo>
                    <a:lnTo>
                      <a:pt x="306" y="165"/>
                    </a:lnTo>
                    <a:lnTo>
                      <a:pt x="306" y="165"/>
                    </a:lnTo>
                    <a:lnTo>
                      <a:pt x="306" y="165"/>
                    </a:lnTo>
                    <a:lnTo>
                      <a:pt x="304" y="165"/>
                    </a:lnTo>
                    <a:lnTo>
                      <a:pt x="304" y="165"/>
                    </a:lnTo>
                    <a:lnTo>
                      <a:pt x="304" y="162"/>
                    </a:lnTo>
                    <a:lnTo>
                      <a:pt x="304" y="162"/>
                    </a:lnTo>
                    <a:lnTo>
                      <a:pt x="302" y="162"/>
                    </a:lnTo>
                    <a:lnTo>
                      <a:pt x="299" y="160"/>
                    </a:lnTo>
                    <a:lnTo>
                      <a:pt x="299" y="158"/>
                    </a:lnTo>
                    <a:lnTo>
                      <a:pt x="302" y="160"/>
                    </a:lnTo>
                    <a:lnTo>
                      <a:pt x="304" y="160"/>
                    </a:lnTo>
                    <a:lnTo>
                      <a:pt x="304" y="160"/>
                    </a:lnTo>
                    <a:lnTo>
                      <a:pt x="306" y="162"/>
                    </a:lnTo>
                    <a:lnTo>
                      <a:pt x="306" y="162"/>
                    </a:lnTo>
                    <a:lnTo>
                      <a:pt x="311" y="165"/>
                    </a:lnTo>
                    <a:lnTo>
                      <a:pt x="311" y="165"/>
                    </a:lnTo>
                    <a:lnTo>
                      <a:pt x="311" y="165"/>
                    </a:lnTo>
                    <a:lnTo>
                      <a:pt x="311" y="165"/>
                    </a:lnTo>
                    <a:lnTo>
                      <a:pt x="311" y="167"/>
                    </a:lnTo>
                    <a:lnTo>
                      <a:pt x="313" y="167"/>
                    </a:lnTo>
                    <a:lnTo>
                      <a:pt x="316" y="167"/>
                    </a:lnTo>
                    <a:lnTo>
                      <a:pt x="316" y="167"/>
                    </a:lnTo>
                    <a:lnTo>
                      <a:pt x="318" y="165"/>
                    </a:lnTo>
                    <a:lnTo>
                      <a:pt x="320" y="162"/>
                    </a:lnTo>
                    <a:lnTo>
                      <a:pt x="323" y="160"/>
                    </a:lnTo>
                    <a:lnTo>
                      <a:pt x="325" y="158"/>
                    </a:lnTo>
                    <a:lnTo>
                      <a:pt x="325" y="158"/>
                    </a:lnTo>
                    <a:lnTo>
                      <a:pt x="328" y="155"/>
                    </a:lnTo>
                    <a:lnTo>
                      <a:pt x="328" y="153"/>
                    </a:lnTo>
                    <a:lnTo>
                      <a:pt x="328" y="148"/>
                    </a:lnTo>
                    <a:lnTo>
                      <a:pt x="328" y="148"/>
                    </a:lnTo>
                    <a:lnTo>
                      <a:pt x="328" y="146"/>
                    </a:lnTo>
                    <a:lnTo>
                      <a:pt x="328" y="143"/>
                    </a:lnTo>
                    <a:lnTo>
                      <a:pt x="330" y="143"/>
                    </a:lnTo>
                    <a:lnTo>
                      <a:pt x="330" y="143"/>
                    </a:lnTo>
                    <a:lnTo>
                      <a:pt x="332" y="141"/>
                    </a:lnTo>
                    <a:lnTo>
                      <a:pt x="337" y="141"/>
                    </a:lnTo>
                    <a:lnTo>
                      <a:pt x="339" y="141"/>
                    </a:lnTo>
                    <a:lnTo>
                      <a:pt x="342" y="143"/>
                    </a:lnTo>
                    <a:lnTo>
                      <a:pt x="342" y="143"/>
                    </a:lnTo>
                    <a:lnTo>
                      <a:pt x="342" y="143"/>
                    </a:lnTo>
                    <a:lnTo>
                      <a:pt x="342" y="143"/>
                    </a:lnTo>
                    <a:lnTo>
                      <a:pt x="344" y="143"/>
                    </a:lnTo>
                    <a:lnTo>
                      <a:pt x="344" y="141"/>
                    </a:lnTo>
                    <a:lnTo>
                      <a:pt x="344" y="141"/>
                    </a:lnTo>
                    <a:lnTo>
                      <a:pt x="346" y="141"/>
                    </a:lnTo>
                    <a:lnTo>
                      <a:pt x="346" y="139"/>
                    </a:lnTo>
                    <a:lnTo>
                      <a:pt x="349" y="136"/>
                    </a:lnTo>
                    <a:lnTo>
                      <a:pt x="351" y="132"/>
                    </a:lnTo>
                    <a:lnTo>
                      <a:pt x="349" y="127"/>
                    </a:lnTo>
                    <a:lnTo>
                      <a:pt x="346" y="125"/>
                    </a:lnTo>
                    <a:lnTo>
                      <a:pt x="344" y="127"/>
                    </a:lnTo>
                    <a:lnTo>
                      <a:pt x="342" y="127"/>
                    </a:lnTo>
                    <a:lnTo>
                      <a:pt x="339" y="129"/>
                    </a:lnTo>
                    <a:lnTo>
                      <a:pt x="339" y="127"/>
                    </a:lnTo>
                    <a:lnTo>
                      <a:pt x="342" y="125"/>
                    </a:lnTo>
                    <a:lnTo>
                      <a:pt x="342" y="125"/>
                    </a:lnTo>
                    <a:lnTo>
                      <a:pt x="344" y="118"/>
                    </a:lnTo>
                    <a:lnTo>
                      <a:pt x="344" y="118"/>
                    </a:lnTo>
                    <a:lnTo>
                      <a:pt x="344" y="118"/>
                    </a:lnTo>
                    <a:lnTo>
                      <a:pt x="344" y="115"/>
                    </a:lnTo>
                    <a:lnTo>
                      <a:pt x="344" y="115"/>
                    </a:lnTo>
                    <a:lnTo>
                      <a:pt x="344" y="115"/>
                    </a:lnTo>
                    <a:lnTo>
                      <a:pt x="344" y="115"/>
                    </a:lnTo>
                    <a:lnTo>
                      <a:pt x="344" y="113"/>
                    </a:lnTo>
                    <a:lnTo>
                      <a:pt x="344" y="113"/>
                    </a:lnTo>
                    <a:lnTo>
                      <a:pt x="342" y="110"/>
                    </a:lnTo>
                    <a:lnTo>
                      <a:pt x="342" y="110"/>
                    </a:lnTo>
                    <a:lnTo>
                      <a:pt x="344" y="110"/>
                    </a:lnTo>
                    <a:lnTo>
                      <a:pt x="344" y="108"/>
                    </a:lnTo>
                    <a:lnTo>
                      <a:pt x="344" y="108"/>
                    </a:lnTo>
                    <a:lnTo>
                      <a:pt x="342" y="108"/>
                    </a:lnTo>
                    <a:lnTo>
                      <a:pt x="339" y="108"/>
                    </a:lnTo>
                    <a:lnTo>
                      <a:pt x="339" y="108"/>
                    </a:lnTo>
                    <a:lnTo>
                      <a:pt x="339" y="106"/>
                    </a:lnTo>
                    <a:lnTo>
                      <a:pt x="339" y="106"/>
                    </a:lnTo>
                    <a:lnTo>
                      <a:pt x="339" y="106"/>
                    </a:lnTo>
                    <a:lnTo>
                      <a:pt x="339" y="106"/>
                    </a:lnTo>
                    <a:lnTo>
                      <a:pt x="339" y="103"/>
                    </a:lnTo>
                    <a:lnTo>
                      <a:pt x="339" y="103"/>
                    </a:lnTo>
                    <a:lnTo>
                      <a:pt x="339" y="101"/>
                    </a:lnTo>
                    <a:lnTo>
                      <a:pt x="342" y="101"/>
                    </a:lnTo>
                    <a:lnTo>
                      <a:pt x="344" y="103"/>
                    </a:lnTo>
                    <a:lnTo>
                      <a:pt x="349" y="108"/>
                    </a:lnTo>
                    <a:lnTo>
                      <a:pt x="349" y="110"/>
                    </a:lnTo>
                    <a:lnTo>
                      <a:pt x="349" y="113"/>
                    </a:lnTo>
                    <a:lnTo>
                      <a:pt x="351" y="115"/>
                    </a:lnTo>
                    <a:lnTo>
                      <a:pt x="349" y="118"/>
                    </a:lnTo>
                    <a:lnTo>
                      <a:pt x="349" y="120"/>
                    </a:lnTo>
                    <a:lnTo>
                      <a:pt x="346" y="122"/>
                    </a:lnTo>
                    <a:lnTo>
                      <a:pt x="349" y="122"/>
                    </a:lnTo>
                    <a:lnTo>
                      <a:pt x="349" y="125"/>
                    </a:lnTo>
                    <a:lnTo>
                      <a:pt x="349" y="125"/>
                    </a:lnTo>
                    <a:lnTo>
                      <a:pt x="349" y="127"/>
                    </a:lnTo>
                    <a:lnTo>
                      <a:pt x="351" y="127"/>
                    </a:lnTo>
                    <a:lnTo>
                      <a:pt x="351" y="129"/>
                    </a:lnTo>
                    <a:lnTo>
                      <a:pt x="351" y="132"/>
                    </a:lnTo>
                    <a:lnTo>
                      <a:pt x="353" y="129"/>
                    </a:lnTo>
                    <a:lnTo>
                      <a:pt x="353" y="129"/>
                    </a:lnTo>
                    <a:lnTo>
                      <a:pt x="356" y="127"/>
                    </a:lnTo>
                    <a:lnTo>
                      <a:pt x="353" y="127"/>
                    </a:lnTo>
                    <a:lnTo>
                      <a:pt x="353" y="127"/>
                    </a:lnTo>
                    <a:lnTo>
                      <a:pt x="356" y="125"/>
                    </a:lnTo>
                    <a:lnTo>
                      <a:pt x="356" y="125"/>
                    </a:lnTo>
                    <a:lnTo>
                      <a:pt x="356" y="122"/>
                    </a:lnTo>
                    <a:lnTo>
                      <a:pt x="356" y="120"/>
                    </a:lnTo>
                    <a:lnTo>
                      <a:pt x="356" y="120"/>
                    </a:lnTo>
                    <a:lnTo>
                      <a:pt x="358" y="118"/>
                    </a:lnTo>
                    <a:lnTo>
                      <a:pt x="358" y="115"/>
                    </a:lnTo>
                    <a:lnTo>
                      <a:pt x="358" y="115"/>
                    </a:lnTo>
                    <a:lnTo>
                      <a:pt x="358" y="115"/>
                    </a:lnTo>
                    <a:lnTo>
                      <a:pt x="358" y="113"/>
                    </a:lnTo>
                    <a:lnTo>
                      <a:pt x="358" y="113"/>
                    </a:lnTo>
                    <a:lnTo>
                      <a:pt x="358" y="113"/>
                    </a:lnTo>
                    <a:lnTo>
                      <a:pt x="356" y="108"/>
                    </a:lnTo>
                    <a:lnTo>
                      <a:pt x="356" y="108"/>
                    </a:lnTo>
                    <a:lnTo>
                      <a:pt x="353" y="103"/>
                    </a:lnTo>
                    <a:lnTo>
                      <a:pt x="353" y="101"/>
                    </a:lnTo>
                    <a:lnTo>
                      <a:pt x="353" y="101"/>
                    </a:lnTo>
                    <a:lnTo>
                      <a:pt x="351" y="99"/>
                    </a:lnTo>
                    <a:lnTo>
                      <a:pt x="351" y="94"/>
                    </a:lnTo>
                    <a:lnTo>
                      <a:pt x="351" y="94"/>
                    </a:lnTo>
                    <a:lnTo>
                      <a:pt x="351" y="92"/>
                    </a:lnTo>
                    <a:lnTo>
                      <a:pt x="351" y="92"/>
                    </a:lnTo>
                    <a:lnTo>
                      <a:pt x="349" y="92"/>
                    </a:lnTo>
                    <a:lnTo>
                      <a:pt x="349" y="92"/>
                    </a:lnTo>
                    <a:lnTo>
                      <a:pt x="349" y="89"/>
                    </a:lnTo>
                    <a:lnTo>
                      <a:pt x="349" y="89"/>
                    </a:lnTo>
                    <a:lnTo>
                      <a:pt x="339" y="92"/>
                    </a:lnTo>
                    <a:lnTo>
                      <a:pt x="337" y="92"/>
                    </a:lnTo>
                    <a:lnTo>
                      <a:pt x="337" y="89"/>
                    </a:lnTo>
                    <a:lnTo>
                      <a:pt x="335" y="89"/>
                    </a:lnTo>
                    <a:lnTo>
                      <a:pt x="335" y="89"/>
                    </a:lnTo>
                    <a:lnTo>
                      <a:pt x="332" y="92"/>
                    </a:lnTo>
                    <a:lnTo>
                      <a:pt x="330" y="94"/>
                    </a:lnTo>
                    <a:lnTo>
                      <a:pt x="328" y="94"/>
                    </a:lnTo>
                    <a:lnTo>
                      <a:pt x="328" y="96"/>
                    </a:lnTo>
                    <a:lnTo>
                      <a:pt x="325" y="96"/>
                    </a:lnTo>
                    <a:lnTo>
                      <a:pt x="325" y="99"/>
                    </a:lnTo>
                    <a:lnTo>
                      <a:pt x="325" y="99"/>
                    </a:lnTo>
                    <a:lnTo>
                      <a:pt x="325" y="99"/>
                    </a:lnTo>
                    <a:lnTo>
                      <a:pt x="325" y="99"/>
                    </a:lnTo>
                    <a:lnTo>
                      <a:pt x="323" y="96"/>
                    </a:lnTo>
                    <a:lnTo>
                      <a:pt x="323" y="96"/>
                    </a:lnTo>
                    <a:lnTo>
                      <a:pt x="323" y="94"/>
                    </a:lnTo>
                    <a:lnTo>
                      <a:pt x="323" y="94"/>
                    </a:lnTo>
                    <a:lnTo>
                      <a:pt x="325" y="89"/>
                    </a:lnTo>
                    <a:lnTo>
                      <a:pt x="328" y="89"/>
                    </a:lnTo>
                    <a:lnTo>
                      <a:pt x="330" y="87"/>
                    </a:lnTo>
                    <a:lnTo>
                      <a:pt x="330" y="85"/>
                    </a:lnTo>
                    <a:lnTo>
                      <a:pt x="335" y="85"/>
                    </a:lnTo>
                    <a:lnTo>
                      <a:pt x="337" y="85"/>
                    </a:lnTo>
                    <a:lnTo>
                      <a:pt x="339" y="82"/>
                    </a:lnTo>
                    <a:lnTo>
                      <a:pt x="339" y="80"/>
                    </a:lnTo>
                    <a:lnTo>
                      <a:pt x="339" y="75"/>
                    </a:lnTo>
                    <a:lnTo>
                      <a:pt x="339" y="73"/>
                    </a:lnTo>
                    <a:lnTo>
                      <a:pt x="337" y="70"/>
                    </a:lnTo>
                    <a:lnTo>
                      <a:pt x="335" y="68"/>
                    </a:lnTo>
                    <a:lnTo>
                      <a:pt x="332" y="68"/>
                    </a:lnTo>
                    <a:lnTo>
                      <a:pt x="332" y="70"/>
                    </a:lnTo>
                    <a:lnTo>
                      <a:pt x="337" y="75"/>
                    </a:lnTo>
                    <a:lnTo>
                      <a:pt x="339" y="77"/>
                    </a:lnTo>
                    <a:lnTo>
                      <a:pt x="337" y="77"/>
                    </a:lnTo>
                    <a:lnTo>
                      <a:pt x="337" y="75"/>
                    </a:lnTo>
                    <a:lnTo>
                      <a:pt x="335" y="73"/>
                    </a:lnTo>
                    <a:lnTo>
                      <a:pt x="332" y="73"/>
                    </a:lnTo>
                    <a:lnTo>
                      <a:pt x="330" y="68"/>
                    </a:lnTo>
                    <a:lnTo>
                      <a:pt x="330" y="68"/>
                    </a:lnTo>
                    <a:lnTo>
                      <a:pt x="330" y="66"/>
                    </a:lnTo>
                    <a:lnTo>
                      <a:pt x="330" y="63"/>
                    </a:lnTo>
                    <a:lnTo>
                      <a:pt x="330" y="63"/>
                    </a:lnTo>
                    <a:lnTo>
                      <a:pt x="330" y="63"/>
                    </a:lnTo>
                    <a:lnTo>
                      <a:pt x="328" y="63"/>
                    </a:lnTo>
                    <a:lnTo>
                      <a:pt x="328" y="61"/>
                    </a:lnTo>
                    <a:lnTo>
                      <a:pt x="328" y="61"/>
                    </a:lnTo>
                    <a:lnTo>
                      <a:pt x="325" y="59"/>
                    </a:lnTo>
                    <a:lnTo>
                      <a:pt x="325" y="59"/>
                    </a:lnTo>
                    <a:lnTo>
                      <a:pt x="325" y="56"/>
                    </a:lnTo>
                    <a:lnTo>
                      <a:pt x="323" y="54"/>
                    </a:lnTo>
                    <a:lnTo>
                      <a:pt x="320" y="54"/>
                    </a:lnTo>
                    <a:lnTo>
                      <a:pt x="318" y="54"/>
                    </a:lnTo>
                    <a:lnTo>
                      <a:pt x="318" y="52"/>
                    </a:lnTo>
                    <a:lnTo>
                      <a:pt x="320" y="47"/>
                    </a:lnTo>
                    <a:lnTo>
                      <a:pt x="320" y="44"/>
                    </a:lnTo>
                    <a:lnTo>
                      <a:pt x="320" y="44"/>
                    </a:lnTo>
                    <a:lnTo>
                      <a:pt x="318" y="42"/>
                    </a:lnTo>
                    <a:lnTo>
                      <a:pt x="318" y="42"/>
                    </a:lnTo>
                    <a:lnTo>
                      <a:pt x="316" y="42"/>
                    </a:lnTo>
                    <a:lnTo>
                      <a:pt x="316" y="42"/>
                    </a:lnTo>
                    <a:lnTo>
                      <a:pt x="313" y="42"/>
                    </a:lnTo>
                    <a:lnTo>
                      <a:pt x="313" y="42"/>
                    </a:lnTo>
                    <a:lnTo>
                      <a:pt x="316" y="40"/>
                    </a:lnTo>
                    <a:lnTo>
                      <a:pt x="316" y="37"/>
                    </a:lnTo>
                    <a:lnTo>
                      <a:pt x="316" y="30"/>
                    </a:lnTo>
                    <a:lnTo>
                      <a:pt x="316" y="28"/>
                    </a:lnTo>
                    <a:lnTo>
                      <a:pt x="311" y="26"/>
                    </a:lnTo>
                    <a:lnTo>
                      <a:pt x="311" y="26"/>
                    </a:lnTo>
                    <a:lnTo>
                      <a:pt x="311" y="26"/>
                    </a:lnTo>
                    <a:lnTo>
                      <a:pt x="309" y="23"/>
                    </a:lnTo>
                    <a:lnTo>
                      <a:pt x="306" y="23"/>
                    </a:lnTo>
                    <a:lnTo>
                      <a:pt x="306" y="23"/>
                    </a:lnTo>
                    <a:lnTo>
                      <a:pt x="302" y="26"/>
                    </a:lnTo>
                    <a:lnTo>
                      <a:pt x="302" y="26"/>
                    </a:lnTo>
                    <a:lnTo>
                      <a:pt x="299" y="26"/>
                    </a:lnTo>
                    <a:lnTo>
                      <a:pt x="292" y="21"/>
                    </a:lnTo>
                    <a:lnTo>
                      <a:pt x="292" y="21"/>
                    </a:lnTo>
                    <a:lnTo>
                      <a:pt x="287" y="21"/>
                    </a:lnTo>
                    <a:lnTo>
                      <a:pt x="287" y="21"/>
                    </a:lnTo>
                    <a:lnTo>
                      <a:pt x="285" y="21"/>
                    </a:lnTo>
                    <a:lnTo>
                      <a:pt x="283" y="21"/>
                    </a:lnTo>
                    <a:lnTo>
                      <a:pt x="280" y="21"/>
                    </a:lnTo>
                    <a:lnTo>
                      <a:pt x="280" y="23"/>
                    </a:lnTo>
                    <a:lnTo>
                      <a:pt x="278" y="23"/>
                    </a:lnTo>
                    <a:lnTo>
                      <a:pt x="278" y="26"/>
                    </a:lnTo>
                    <a:lnTo>
                      <a:pt x="273" y="26"/>
                    </a:lnTo>
                    <a:lnTo>
                      <a:pt x="264" y="28"/>
                    </a:lnTo>
                    <a:lnTo>
                      <a:pt x="254" y="28"/>
                    </a:lnTo>
                    <a:lnTo>
                      <a:pt x="254" y="28"/>
                    </a:lnTo>
                    <a:lnTo>
                      <a:pt x="252" y="26"/>
                    </a:lnTo>
                    <a:lnTo>
                      <a:pt x="250" y="28"/>
                    </a:lnTo>
                    <a:lnTo>
                      <a:pt x="250" y="28"/>
                    </a:lnTo>
                    <a:lnTo>
                      <a:pt x="250" y="35"/>
                    </a:lnTo>
                    <a:lnTo>
                      <a:pt x="247" y="35"/>
                    </a:lnTo>
                    <a:lnTo>
                      <a:pt x="247" y="35"/>
                    </a:lnTo>
                    <a:lnTo>
                      <a:pt x="247" y="37"/>
                    </a:lnTo>
                    <a:lnTo>
                      <a:pt x="245" y="40"/>
                    </a:lnTo>
                    <a:lnTo>
                      <a:pt x="245" y="42"/>
                    </a:lnTo>
                    <a:lnTo>
                      <a:pt x="245" y="42"/>
                    </a:lnTo>
                    <a:lnTo>
                      <a:pt x="243" y="44"/>
                    </a:lnTo>
                    <a:lnTo>
                      <a:pt x="243" y="44"/>
                    </a:lnTo>
                    <a:lnTo>
                      <a:pt x="240" y="44"/>
                    </a:lnTo>
                    <a:lnTo>
                      <a:pt x="238" y="44"/>
                    </a:lnTo>
                    <a:lnTo>
                      <a:pt x="236" y="44"/>
                    </a:lnTo>
                    <a:lnTo>
                      <a:pt x="233" y="42"/>
                    </a:lnTo>
                    <a:lnTo>
                      <a:pt x="231" y="44"/>
                    </a:lnTo>
                    <a:lnTo>
                      <a:pt x="228" y="44"/>
                    </a:lnTo>
                    <a:lnTo>
                      <a:pt x="231" y="42"/>
                    </a:lnTo>
                    <a:lnTo>
                      <a:pt x="228" y="42"/>
                    </a:lnTo>
                    <a:lnTo>
                      <a:pt x="228" y="42"/>
                    </a:lnTo>
                    <a:lnTo>
                      <a:pt x="228" y="44"/>
                    </a:lnTo>
                    <a:lnTo>
                      <a:pt x="226" y="44"/>
                    </a:lnTo>
                    <a:lnTo>
                      <a:pt x="221" y="44"/>
                    </a:lnTo>
                    <a:lnTo>
                      <a:pt x="221" y="47"/>
                    </a:lnTo>
                    <a:lnTo>
                      <a:pt x="221" y="47"/>
                    </a:lnTo>
                    <a:lnTo>
                      <a:pt x="219" y="49"/>
                    </a:lnTo>
                    <a:lnTo>
                      <a:pt x="219" y="52"/>
                    </a:lnTo>
                    <a:lnTo>
                      <a:pt x="219" y="52"/>
                    </a:lnTo>
                    <a:lnTo>
                      <a:pt x="219" y="52"/>
                    </a:lnTo>
                    <a:lnTo>
                      <a:pt x="219" y="52"/>
                    </a:lnTo>
                    <a:lnTo>
                      <a:pt x="219" y="56"/>
                    </a:lnTo>
                    <a:lnTo>
                      <a:pt x="219" y="56"/>
                    </a:lnTo>
                    <a:lnTo>
                      <a:pt x="219" y="56"/>
                    </a:lnTo>
                    <a:lnTo>
                      <a:pt x="217" y="56"/>
                    </a:lnTo>
                    <a:lnTo>
                      <a:pt x="217" y="59"/>
                    </a:lnTo>
                    <a:lnTo>
                      <a:pt x="217" y="59"/>
                    </a:lnTo>
                    <a:lnTo>
                      <a:pt x="214" y="61"/>
                    </a:lnTo>
                    <a:lnTo>
                      <a:pt x="217" y="63"/>
                    </a:lnTo>
                    <a:lnTo>
                      <a:pt x="217" y="63"/>
                    </a:lnTo>
                    <a:lnTo>
                      <a:pt x="214" y="68"/>
                    </a:lnTo>
                    <a:lnTo>
                      <a:pt x="214" y="70"/>
                    </a:lnTo>
                    <a:lnTo>
                      <a:pt x="210" y="75"/>
                    </a:lnTo>
                    <a:lnTo>
                      <a:pt x="207" y="77"/>
                    </a:lnTo>
                    <a:lnTo>
                      <a:pt x="207" y="80"/>
                    </a:lnTo>
                    <a:lnTo>
                      <a:pt x="210" y="82"/>
                    </a:lnTo>
                    <a:lnTo>
                      <a:pt x="210" y="82"/>
                    </a:lnTo>
                    <a:lnTo>
                      <a:pt x="207" y="82"/>
                    </a:lnTo>
                    <a:lnTo>
                      <a:pt x="207" y="82"/>
                    </a:lnTo>
                    <a:lnTo>
                      <a:pt x="207" y="82"/>
                    </a:lnTo>
                    <a:lnTo>
                      <a:pt x="205" y="82"/>
                    </a:lnTo>
                    <a:lnTo>
                      <a:pt x="200" y="82"/>
                    </a:lnTo>
                    <a:lnTo>
                      <a:pt x="200" y="82"/>
                    </a:lnTo>
                    <a:lnTo>
                      <a:pt x="198" y="85"/>
                    </a:lnTo>
                    <a:lnTo>
                      <a:pt x="195" y="87"/>
                    </a:lnTo>
                    <a:lnTo>
                      <a:pt x="193" y="87"/>
                    </a:lnTo>
                    <a:lnTo>
                      <a:pt x="191" y="85"/>
                    </a:lnTo>
                    <a:lnTo>
                      <a:pt x="188" y="85"/>
                    </a:lnTo>
                    <a:lnTo>
                      <a:pt x="188" y="85"/>
                    </a:lnTo>
                    <a:lnTo>
                      <a:pt x="186" y="85"/>
                    </a:lnTo>
                    <a:lnTo>
                      <a:pt x="181" y="87"/>
                    </a:lnTo>
                    <a:lnTo>
                      <a:pt x="184" y="89"/>
                    </a:lnTo>
                    <a:lnTo>
                      <a:pt x="184" y="89"/>
                    </a:lnTo>
                    <a:lnTo>
                      <a:pt x="184" y="89"/>
                    </a:lnTo>
                    <a:lnTo>
                      <a:pt x="181" y="89"/>
                    </a:lnTo>
                    <a:lnTo>
                      <a:pt x="181" y="89"/>
                    </a:lnTo>
                    <a:lnTo>
                      <a:pt x="181" y="87"/>
                    </a:lnTo>
                    <a:lnTo>
                      <a:pt x="181" y="87"/>
                    </a:lnTo>
                    <a:lnTo>
                      <a:pt x="181" y="85"/>
                    </a:lnTo>
                    <a:lnTo>
                      <a:pt x="184" y="85"/>
                    </a:lnTo>
                    <a:lnTo>
                      <a:pt x="186" y="82"/>
                    </a:lnTo>
                    <a:lnTo>
                      <a:pt x="186" y="82"/>
                    </a:lnTo>
                    <a:lnTo>
                      <a:pt x="188" y="82"/>
                    </a:lnTo>
                    <a:lnTo>
                      <a:pt x="191" y="85"/>
                    </a:lnTo>
                    <a:lnTo>
                      <a:pt x="193" y="85"/>
                    </a:lnTo>
                    <a:lnTo>
                      <a:pt x="195" y="82"/>
                    </a:lnTo>
                    <a:lnTo>
                      <a:pt x="198" y="80"/>
                    </a:lnTo>
                    <a:lnTo>
                      <a:pt x="200" y="80"/>
                    </a:lnTo>
                    <a:lnTo>
                      <a:pt x="202" y="80"/>
                    </a:lnTo>
                    <a:lnTo>
                      <a:pt x="205" y="80"/>
                    </a:lnTo>
                    <a:lnTo>
                      <a:pt x="205" y="80"/>
                    </a:lnTo>
                    <a:lnTo>
                      <a:pt x="207" y="80"/>
                    </a:lnTo>
                    <a:lnTo>
                      <a:pt x="207" y="80"/>
                    </a:lnTo>
                    <a:lnTo>
                      <a:pt x="207" y="80"/>
                    </a:lnTo>
                    <a:lnTo>
                      <a:pt x="207" y="77"/>
                    </a:lnTo>
                    <a:lnTo>
                      <a:pt x="207" y="75"/>
                    </a:lnTo>
                    <a:lnTo>
                      <a:pt x="207" y="73"/>
                    </a:lnTo>
                    <a:lnTo>
                      <a:pt x="212" y="68"/>
                    </a:lnTo>
                    <a:lnTo>
                      <a:pt x="214" y="66"/>
                    </a:lnTo>
                    <a:lnTo>
                      <a:pt x="214" y="63"/>
                    </a:lnTo>
                    <a:lnTo>
                      <a:pt x="214" y="61"/>
                    </a:lnTo>
                    <a:lnTo>
                      <a:pt x="214" y="59"/>
                    </a:lnTo>
                    <a:lnTo>
                      <a:pt x="214" y="56"/>
                    </a:lnTo>
                    <a:lnTo>
                      <a:pt x="214" y="56"/>
                    </a:lnTo>
                    <a:lnTo>
                      <a:pt x="217" y="56"/>
                    </a:lnTo>
                    <a:lnTo>
                      <a:pt x="217" y="56"/>
                    </a:lnTo>
                    <a:lnTo>
                      <a:pt x="217" y="54"/>
                    </a:lnTo>
                    <a:lnTo>
                      <a:pt x="217" y="54"/>
                    </a:lnTo>
                    <a:lnTo>
                      <a:pt x="217" y="49"/>
                    </a:lnTo>
                    <a:lnTo>
                      <a:pt x="217" y="49"/>
                    </a:lnTo>
                    <a:lnTo>
                      <a:pt x="217" y="49"/>
                    </a:lnTo>
                    <a:lnTo>
                      <a:pt x="217" y="49"/>
                    </a:lnTo>
                    <a:lnTo>
                      <a:pt x="217" y="47"/>
                    </a:lnTo>
                    <a:lnTo>
                      <a:pt x="219" y="44"/>
                    </a:lnTo>
                    <a:lnTo>
                      <a:pt x="219" y="44"/>
                    </a:lnTo>
                    <a:lnTo>
                      <a:pt x="221" y="42"/>
                    </a:lnTo>
                    <a:lnTo>
                      <a:pt x="226" y="42"/>
                    </a:lnTo>
                    <a:lnTo>
                      <a:pt x="226" y="42"/>
                    </a:lnTo>
                    <a:lnTo>
                      <a:pt x="226" y="40"/>
                    </a:lnTo>
                    <a:lnTo>
                      <a:pt x="226" y="40"/>
                    </a:lnTo>
                    <a:lnTo>
                      <a:pt x="228" y="40"/>
                    </a:lnTo>
                    <a:lnTo>
                      <a:pt x="228" y="40"/>
                    </a:lnTo>
                    <a:lnTo>
                      <a:pt x="228" y="37"/>
                    </a:lnTo>
                    <a:lnTo>
                      <a:pt x="231" y="35"/>
                    </a:lnTo>
                    <a:lnTo>
                      <a:pt x="233" y="30"/>
                    </a:lnTo>
                    <a:lnTo>
                      <a:pt x="236" y="30"/>
                    </a:lnTo>
                    <a:lnTo>
                      <a:pt x="236" y="30"/>
                    </a:lnTo>
                    <a:lnTo>
                      <a:pt x="238" y="28"/>
                    </a:lnTo>
                    <a:lnTo>
                      <a:pt x="240" y="26"/>
                    </a:lnTo>
                    <a:lnTo>
                      <a:pt x="243" y="23"/>
                    </a:lnTo>
                    <a:lnTo>
                      <a:pt x="245" y="23"/>
                    </a:lnTo>
                    <a:lnTo>
                      <a:pt x="247" y="23"/>
                    </a:lnTo>
                    <a:lnTo>
                      <a:pt x="250" y="21"/>
                    </a:lnTo>
                    <a:lnTo>
                      <a:pt x="250" y="19"/>
                    </a:lnTo>
                    <a:lnTo>
                      <a:pt x="250" y="16"/>
                    </a:lnTo>
                    <a:lnTo>
                      <a:pt x="247" y="19"/>
                    </a:lnTo>
                    <a:lnTo>
                      <a:pt x="245" y="16"/>
                    </a:lnTo>
                    <a:lnTo>
                      <a:pt x="243" y="16"/>
                    </a:lnTo>
                    <a:lnTo>
                      <a:pt x="240" y="14"/>
                    </a:lnTo>
                    <a:lnTo>
                      <a:pt x="236" y="14"/>
                    </a:lnTo>
                    <a:lnTo>
                      <a:pt x="236" y="12"/>
                    </a:lnTo>
                    <a:lnTo>
                      <a:pt x="233" y="7"/>
                    </a:lnTo>
                    <a:lnTo>
                      <a:pt x="231" y="7"/>
                    </a:lnTo>
                    <a:lnTo>
                      <a:pt x="228" y="4"/>
                    </a:lnTo>
                    <a:lnTo>
                      <a:pt x="228" y="4"/>
                    </a:lnTo>
                    <a:lnTo>
                      <a:pt x="221" y="2"/>
                    </a:lnTo>
                    <a:lnTo>
                      <a:pt x="219" y="2"/>
                    </a:lnTo>
                    <a:lnTo>
                      <a:pt x="219" y="0"/>
                    </a:lnTo>
                    <a:lnTo>
                      <a:pt x="217" y="2"/>
                    </a:lnTo>
                    <a:lnTo>
                      <a:pt x="219" y="2"/>
                    </a:lnTo>
                    <a:lnTo>
                      <a:pt x="219" y="2"/>
                    </a:lnTo>
                    <a:lnTo>
                      <a:pt x="221" y="4"/>
                    </a:lnTo>
                    <a:lnTo>
                      <a:pt x="221" y="7"/>
                    </a:lnTo>
                    <a:lnTo>
                      <a:pt x="224" y="9"/>
                    </a:lnTo>
                    <a:lnTo>
                      <a:pt x="228" y="14"/>
                    </a:lnTo>
                    <a:lnTo>
                      <a:pt x="226" y="14"/>
                    </a:lnTo>
                    <a:lnTo>
                      <a:pt x="224" y="14"/>
                    </a:lnTo>
                    <a:lnTo>
                      <a:pt x="224" y="14"/>
                    </a:lnTo>
                    <a:lnTo>
                      <a:pt x="221" y="12"/>
                    </a:lnTo>
                    <a:lnTo>
                      <a:pt x="221" y="12"/>
                    </a:lnTo>
                    <a:lnTo>
                      <a:pt x="224" y="12"/>
                    </a:lnTo>
                    <a:lnTo>
                      <a:pt x="224" y="9"/>
                    </a:lnTo>
                    <a:lnTo>
                      <a:pt x="221" y="9"/>
                    </a:lnTo>
                    <a:lnTo>
                      <a:pt x="219" y="9"/>
                    </a:lnTo>
                    <a:lnTo>
                      <a:pt x="217" y="14"/>
                    </a:lnTo>
                    <a:lnTo>
                      <a:pt x="217" y="14"/>
                    </a:lnTo>
                    <a:lnTo>
                      <a:pt x="214" y="12"/>
                    </a:lnTo>
                    <a:lnTo>
                      <a:pt x="212" y="12"/>
                    </a:lnTo>
                    <a:lnTo>
                      <a:pt x="212" y="12"/>
                    </a:lnTo>
                    <a:lnTo>
                      <a:pt x="212" y="12"/>
                    </a:lnTo>
                    <a:lnTo>
                      <a:pt x="212" y="12"/>
                    </a:lnTo>
                    <a:lnTo>
                      <a:pt x="212" y="14"/>
                    </a:lnTo>
                    <a:lnTo>
                      <a:pt x="212" y="14"/>
                    </a:lnTo>
                    <a:lnTo>
                      <a:pt x="210" y="12"/>
                    </a:lnTo>
                    <a:lnTo>
                      <a:pt x="210" y="12"/>
                    </a:lnTo>
                    <a:lnTo>
                      <a:pt x="210" y="14"/>
                    </a:lnTo>
                    <a:lnTo>
                      <a:pt x="210" y="16"/>
                    </a:lnTo>
                    <a:lnTo>
                      <a:pt x="210" y="19"/>
                    </a:lnTo>
                    <a:lnTo>
                      <a:pt x="207" y="21"/>
                    </a:lnTo>
                    <a:lnTo>
                      <a:pt x="207" y="21"/>
                    </a:lnTo>
                    <a:lnTo>
                      <a:pt x="207" y="23"/>
                    </a:lnTo>
                    <a:lnTo>
                      <a:pt x="207" y="23"/>
                    </a:lnTo>
                    <a:lnTo>
                      <a:pt x="207" y="26"/>
                    </a:lnTo>
                    <a:lnTo>
                      <a:pt x="210" y="26"/>
                    </a:lnTo>
                    <a:lnTo>
                      <a:pt x="212" y="30"/>
                    </a:lnTo>
                    <a:lnTo>
                      <a:pt x="212" y="30"/>
                    </a:lnTo>
                    <a:lnTo>
                      <a:pt x="212" y="33"/>
                    </a:lnTo>
                    <a:lnTo>
                      <a:pt x="212" y="35"/>
                    </a:lnTo>
                    <a:lnTo>
                      <a:pt x="212" y="37"/>
                    </a:lnTo>
                    <a:lnTo>
                      <a:pt x="212" y="37"/>
                    </a:lnTo>
                    <a:lnTo>
                      <a:pt x="214" y="37"/>
                    </a:lnTo>
                    <a:lnTo>
                      <a:pt x="214" y="40"/>
                    </a:lnTo>
                    <a:lnTo>
                      <a:pt x="214" y="42"/>
                    </a:lnTo>
                    <a:lnTo>
                      <a:pt x="212" y="42"/>
                    </a:lnTo>
                    <a:lnTo>
                      <a:pt x="212" y="44"/>
                    </a:lnTo>
                    <a:lnTo>
                      <a:pt x="210" y="44"/>
                    </a:lnTo>
                    <a:lnTo>
                      <a:pt x="210" y="44"/>
                    </a:lnTo>
                    <a:lnTo>
                      <a:pt x="207" y="47"/>
                    </a:lnTo>
                    <a:lnTo>
                      <a:pt x="207" y="47"/>
                    </a:lnTo>
                    <a:lnTo>
                      <a:pt x="200" y="52"/>
                    </a:lnTo>
                    <a:lnTo>
                      <a:pt x="200" y="54"/>
                    </a:lnTo>
                    <a:lnTo>
                      <a:pt x="198" y="54"/>
                    </a:lnTo>
                    <a:lnTo>
                      <a:pt x="198" y="54"/>
                    </a:lnTo>
                    <a:lnTo>
                      <a:pt x="198" y="52"/>
                    </a:lnTo>
                    <a:lnTo>
                      <a:pt x="200" y="49"/>
                    </a:lnTo>
                    <a:lnTo>
                      <a:pt x="205" y="47"/>
                    </a:lnTo>
                    <a:lnTo>
                      <a:pt x="205" y="44"/>
                    </a:lnTo>
                    <a:lnTo>
                      <a:pt x="207" y="42"/>
                    </a:lnTo>
                    <a:lnTo>
                      <a:pt x="205" y="42"/>
                    </a:lnTo>
                    <a:lnTo>
                      <a:pt x="200" y="42"/>
                    </a:lnTo>
                    <a:lnTo>
                      <a:pt x="200" y="42"/>
                    </a:lnTo>
                    <a:lnTo>
                      <a:pt x="205" y="40"/>
                    </a:lnTo>
                    <a:lnTo>
                      <a:pt x="205" y="37"/>
                    </a:lnTo>
                    <a:lnTo>
                      <a:pt x="207" y="37"/>
                    </a:lnTo>
                    <a:lnTo>
                      <a:pt x="207" y="37"/>
                    </a:lnTo>
                    <a:lnTo>
                      <a:pt x="207" y="35"/>
                    </a:lnTo>
                    <a:lnTo>
                      <a:pt x="210" y="33"/>
                    </a:lnTo>
                    <a:lnTo>
                      <a:pt x="210" y="33"/>
                    </a:lnTo>
                    <a:lnTo>
                      <a:pt x="207" y="30"/>
                    </a:lnTo>
                    <a:lnTo>
                      <a:pt x="207" y="30"/>
                    </a:lnTo>
                    <a:lnTo>
                      <a:pt x="205" y="28"/>
                    </a:lnTo>
                    <a:lnTo>
                      <a:pt x="205" y="28"/>
                    </a:lnTo>
                    <a:lnTo>
                      <a:pt x="205" y="26"/>
                    </a:lnTo>
                    <a:lnTo>
                      <a:pt x="202" y="26"/>
                    </a:lnTo>
                    <a:lnTo>
                      <a:pt x="202" y="23"/>
                    </a:lnTo>
                    <a:lnTo>
                      <a:pt x="202" y="23"/>
                    </a:lnTo>
                    <a:lnTo>
                      <a:pt x="202" y="23"/>
                    </a:lnTo>
                    <a:lnTo>
                      <a:pt x="202" y="21"/>
                    </a:lnTo>
                    <a:lnTo>
                      <a:pt x="202" y="19"/>
                    </a:lnTo>
                    <a:lnTo>
                      <a:pt x="202" y="19"/>
                    </a:lnTo>
                    <a:lnTo>
                      <a:pt x="202" y="16"/>
                    </a:lnTo>
                    <a:lnTo>
                      <a:pt x="200" y="16"/>
                    </a:lnTo>
                    <a:lnTo>
                      <a:pt x="200" y="14"/>
                    </a:lnTo>
                    <a:lnTo>
                      <a:pt x="200" y="14"/>
                    </a:lnTo>
                    <a:lnTo>
                      <a:pt x="198" y="14"/>
                    </a:lnTo>
                    <a:lnTo>
                      <a:pt x="195" y="16"/>
                    </a:lnTo>
                    <a:lnTo>
                      <a:pt x="195" y="16"/>
                    </a:lnTo>
                    <a:lnTo>
                      <a:pt x="193" y="16"/>
                    </a:lnTo>
                    <a:lnTo>
                      <a:pt x="193" y="16"/>
                    </a:lnTo>
                    <a:lnTo>
                      <a:pt x="191" y="21"/>
                    </a:lnTo>
                    <a:lnTo>
                      <a:pt x="191" y="23"/>
                    </a:lnTo>
                    <a:lnTo>
                      <a:pt x="191" y="23"/>
                    </a:lnTo>
                    <a:lnTo>
                      <a:pt x="193" y="26"/>
                    </a:lnTo>
                    <a:lnTo>
                      <a:pt x="193" y="26"/>
                    </a:lnTo>
                    <a:lnTo>
                      <a:pt x="193" y="26"/>
                    </a:lnTo>
                    <a:lnTo>
                      <a:pt x="195" y="26"/>
                    </a:lnTo>
                    <a:lnTo>
                      <a:pt x="195" y="26"/>
                    </a:lnTo>
                    <a:lnTo>
                      <a:pt x="195" y="26"/>
                    </a:lnTo>
                    <a:lnTo>
                      <a:pt x="195" y="23"/>
                    </a:lnTo>
                    <a:lnTo>
                      <a:pt x="195" y="21"/>
                    </a:lnTo>
                    <a:lnTo>
                      <a:pt x="195" y="21"/>
                    </a:lnTo>
                    <a:lnTo>
                      <a:pt x="195" y="21"/>
                    </a:lnTo>
                    <a:lnTo>
                      <a:pt x="198" y="23"/>
                    </a:lnTo>
                    <a:lnTo>
                      <a:pt x="198" y="26"/>
                    </a:lnTo>
                    <a:lnTo>
                      <a:pt x="198" y="26"/>
                    </a:lnTo>
                    <a:lnTo>
                      <a:pt x="198" y="26"/>
                    </a:lnTo>
                    <a:lnTo>
                      <a:pt x="198" y="28"/>
                    </a:lnTo>
                    <a:lnTo>
                      <a:pt x="198" y="30"/>
                    </a:lnTo>
                    <a:lnTo>
                      <a:pt x="198" y="30"/>
                    </a:lnTo>
                    <a:lnTo>
                      <a:pt x="198" y="33"/>
                    </a:lnTo>
                    <a:lnTo>
                      <a:pt x="198" y="35"/>
                    </a:lnTo>
                    <a:lnTo>
                      <a:pt x="195" y="35"/>
                    </a:lnTo>
                    <a:lnTo>
                      <a:pt x="195" y="35"/>
                    </a:lnTo>
                    <a:lnTo>
                      <a:pt x="198" y="33"/>
                    </a:lnTo>
                    <a:lnTo>
                      <a:pt x="198" y="33"/>
                    </a:lnTo>
                    <a:lnTo>
                      <a:pt x="198" y="30"/>
                    </a:lnTo>
                    <a:lnTo>
                      <a:pt x="195" y="30"/>
                    </a:lnTo>
                    <a:lnTo>
                      <a:pt x="195" y="28"/>
                    </a:lnTo>
                    <a:lnTo>
                      <a:pt x="195" y="28"/>
                    </a:lnTo>
                    <a:lnTo>
                      <a:pt x="193" y="26"/>
                    </a:lnTo>
                    <a:lnTo>
                      <a:pt x="193" y="26"/>
                    </a:lnTo>
                    <a:lnTo>
                      <a:pt x="191" y="26"/>
                    </a:lnTo>
                    <a:lnTo>
                      <a:pt x="191" y="26"/>
                    </a:lnTo>
                    <a:lnTo>
                      <a:pt x="191" y="26"/>
                    </a:lnTo>
                    <a:lnTo>
                      <a:pt x="188" y="26"/>
                    </a:lnTo>
                    <a:lnTo>
                      <a:pt x="188" y="26"/>
                    </a:lnTo>
                    <a:lnTo>
                      <a:pt x="188" y="26"/>
                    </a:lnTo>
                    <a:lnTo>
                      <a:pt x="188" y="26"/>
                    </a:lnTo>
                    <a:lnTo>
                      <a:pt x="188" y="26"/>
                    </a:lnTo>
                    <a:lnTo>
                      <a:pt x="188" y="23"/>
                    </a:lnTo>
                    <a:lnTo>
                      <a:pt x="191" y="19"/>
                    </a:lnTo>
                    <a:lnTo>
                      <a:pt x="188" y="16"/>
                    </a:lnTo>
                    <a:lnTo>
                      <a:pt x="188" y="16"/>
                    </a:lnTo>
                    <a:lnTo>
                      <a:pt x="188" y="19"/>
                    </a:lnTo>
                    <a:lnTo>
                      <a:pt x="186" y="21"/>
                    </a:lnTo>
                    <a:lnTo>
                      <a:pt x="184" y="21"/>
                    </a:lnTo>
                    <a:lnTo>
                      <a:pt x="186" y="26"/>
                    </a:lnTo>
                    <a:lnTo>
                      <a:pt x="186" y="26"/>
                    </a:lnTo>
                    <a:lnTo>
                      <a:pt x="186" y="28"/>
                    </a:lnTo>
                    <a:lnTo>
                      <a:pt x="186" y="30"/>
                    </a:lnTo>
                    <a:lnTo>
                      <a:pt x="186" y="30"/>
                    </a:lnTo>
                    <a:lnTo>
                      <a:pt x="184" y="30"/>
                    </a:lnTo>
                    <a:lnTo>
                      <a:pt x="184" y="30"/>
                    </a:lnTo>
                    <a:lnTo>
                      <a:pt x="181" y="30"/>
                    </a:lnTo>
                    <a:lnTo>
                      <a:pt x="181" y="30"/>
                    </a:lnTo>
                    <a:lnTo>
                      <a:pt x="184" y="30"/>
                    </a:lnTo>
                    <a:lnTo>
                      <a:pt x="184" y="30"/>
                    </a:lnTo>
                    <a:lnTo>
                      <a:pt x="184" y="28"/>
                    </a:lnTo>
                    <a:lnTo>
                      <a:pt x="186" y="28"/>
                    </a:lnTo>
                    <a:lnTo>
                      <a:pt x="184" y="28"/>
                    </a:lnTo>
                    <a:lnTo>
                      <a:pt x="184" y="28"/>
                    </a:lnTo>
                    <a:lnTo>
                      <a:pt x="181" y="28"/>
                    </a:lnTo>
                    <a:lnTo>
                      <a:pt x="181" y="28"/>
                    </a:lnTo>
                    <a:lnTo>
                      <a:pt x="181" y="26"/>
                    </a:lnTo>
                    <a:lnTo>
                      <a:pt x="181" y="26"/>
                    </a:lnTo>
                    <a:lnTo>
                      <a:pt x="181" y="26"/>
                    </a:lnTo>
                    <a:lnTo>
                      <a:pt x="179" y="26"/>
                    </a:lnTo>
                    <a:lnTo>
                      <a:pt x="179" y="26"/>
                    </a:lnTo>
                    <a:lnTo>
                      <a:pt x="179" y="26"/>
                    </a:lnTo>
                    <a:lnTo>
                      <a:pt x="179" y="26"/>
                    </a:lnTo>
                    <a:lnTo>
                      <a:pt x="174" y="26"/>
                    </a:lnTo>
                    <a:lnTo>
                      <a:pt x="174" y="26"/>
                    </a:lnTo>
                    <a:lnTo>
                      <a:pt x="179" y="23"/>
                    </a:lnTo>
                    <a:lnTo>
                      <a:pt x="179" y="23"/>
                    </a:lnTo>
                    <a:lnTo>
                      <a:pt x="177" y="21"/>
                    </a:lnTo>
                    <a:lnTo>
                      <a:pt x="174" y="21"/>
                    </a:lnTo>
                    <a:lnTo>
                      <a:pt x="174" y="23"/>
                    </a:lnTo>
                    <a:lnTo>
                      <a:pt x="174" y="26"/>
                    </a:lnTo>
                    <a:lnTo>
                      <a:pt x="172" y="26"/>
                    </a:lnTo>
                    <a:lnTo>
                      <a:pt x="172" y="26"/>
                    </a:lnTo>
                    <a:lnTo>
                      <a:pt x="167" y="30"/>
                    </a:lnTo>
                    <a:lnTo>
                      <a:pt x="165" y="33"/>
                    </a:lnTo>
                    <a:lnTo>
                      <a:pt x="165" y="33"/>
                    </a:lnTo>
                    <a:lnTo>
                      <a:pt x="165" y="33"/>
                    </a:lnTo>
                    <a:lnTo>
                      <a:pt x="165" y="30"/>
                    </a:lnTo>
                    <a:lnTo>
                      <a:pt x="165" y="30"/>
                    </a:lnTo>
                    <a:lnTo>
                      <a:pt x="165" y="30"/>
                    </a:lnTo>
                    <a:lnTo>
                      <a:pt x="165" y="28"/>
                    </a:lnTo>
                    <a:lnTo>
                      <a:pt x="165" y="28"/>
                    </a:lnTo>
                    <a:lnTo>
                      <a:pt x="162" y="30"/>
                    </a:lnTo>
                    <a:lnTo>
                      <a:pt x="160" y="30"/>
                    </a:lnTo>
                    <a:lnTo>
                      <a:pt x="158" y="28"/>
                    </a:lnTo>
                    <a:lnTo>
                      <a:pt x="155" y="28"/>
                    </a:lnTo>
                    <a:lnTo>
                      <a:pt x="155" y="30"/>
                    </a:lnTo>
                    <a:lnTo>
                      <a:pt x="153" y="33"/>
                    </a:lnTo>
                    <a:lnTo>
                      <a:pt x="153" y="35"/>
                    </a:lnTo>
                    <a:lnTo>
                      <a:pt x="153" y="35"/>
                    </a:lnTo>
                    <a:lnTo>
                      <a:pt x="153" y="37"/>
                    </a:lnTo>
                    <a:lnTo>
                      <a:pt x="153" y="40"/>
                    </a:lnTo>
                    <a:lnTo>
                      <a:pt x="153" y="42"/>
                    </a:lnTo>
                    <a:lnTo>
                      <a:pt x="153" y="44"/>
                    </a:lnTo>
                    <a:lnTo>
                      <a:pt x="153" y="44"/>
                    </a:lnTo>
                    <a:lnTo>
                      <a:pt x="151" y="44"/>
                    </a:lnTo>
                    <a:lnTo>
                      <a:pt x="151" y="40"/>
                    </a:lnTo>
                    <a:lnTo>
                      <a:pt x="151" y="40"/>
                    </a:lnTo>
                    <a:lnTo>
                      <a:pt x="151" y="40"/>
                    </a:lnTo>
                    <a:lnTo>
                      <a:pt x="148" y="44"/>
                    </a:lnTo>
                    <a:lnTo>
                      <a:pt x="148" y="44"/>
                    </a:lnTo>
                    <a:lnTo>
                      <a:pt x="148" y="44"/>
                    </a:lnTo>
                    <a:lnTo>
                      <a:pt x="146" y="44"/>
                    </a:lnTo>
                    <a:lnTo>
                      <a:pt x="146" y="47"/>
                    </a:lnTo>
                    <a:lnTo>
                      <a:pt x="146" y="47"/>
                    </a:lnTo>
                    <a:lnTo>
                      <a:pt x="146" y="47"/>
                    </a:lnTo>
                    <a:lnTo>
                      <a:pt x="146" y="47"/>
                    </a:lnTo>
                    <a:lnTo>
                      <a:pt x="146" y="47"/>
                    </a:lnTo>
                    <a:lnTo>
                      <a:pt x="143" y="47"/>
                    </a:lnTo>
                    <a:lnTo>
                      <a:pt x="143" y="47"/>
                    </a:lnTo>
                    <a:lnTo>
                      <a:pt x="143" y="47"/>
                    </a:lnTo>
                    <a:lnTo>
                      <a:pt x="143" y="49"/>
                    </a:lnTo>
                    <a:lnTo>
                      <a:pt x="146" y="52"/>
                    </a:lnTo>
                    <a:lnTo>
                      <a:pt x="148" y="54"/>
                    </a:lnTo>
                    <a:lnTo>
                      <a:pt x="151" y="54"/>
                    </a:lnTo>
                    <a:lnTo>
                      <a:pt x="148" y="56"/>
                    </a:lnTo>
                    <a:lnTo>
                      <a:pt x="146" y="56"/>
                    </a:lnTo>
                    <a:lnTo>
                      <a:pt x="146" y="56"/>
                    </a:lnTo>
                    <a:lnTo>
                      <a:pt x="143" y="56"/>
                    </a:lnTo>
                    <a:lnTo>
                      <a:pt x="143" y="56"/>
                    </a:lnTo>
                    <a:lnTo>
                      <a:pt x="143" y="54"/>
                    </a:lnTo>
                    <a:lnTo>
                      <a:pt x="143" y="56"/>
                    </a:lnTo>
                    <a:lnTo>
                      <a:pt x="143" y="59"/>
                    </a:lnTo>
                    <a:lnTo>
                      <a:pt x="143" y="61"/>
                    </a:lnTo>
                    <a:lnTo>
                      <a:pt x="146" y="61"/>
                    </a:lnTo>
                    <a:lnTo>
                      <a:pt x="148" y="63"/>
                    </a:lnTo>
                    <a:lnTo>
                      <a:pt x="148" y="61"/>
                    </a:lnTo>
                    <a:lnTo>
                      <a:pt x="148" y="61"/>
                    </a:lnTo>
                    <a:lnTo>
                      <a:pt x="148" y="61"/>
                    </a:lnTo>
                    <a:lnTo>
                      <a:pt x="148" y="59"/>
                    </a:lnTo>
                    <a:lnTo>
                      <a:pt x="151" y="59"/>
                    </a:lnTo>
                    <a:lnTo>
                      <a:pt x="151" y="61"/>
                    </a:lnTo>
                    <a:lnTo>
                      <a:pt x="153" y="63"/>
                    </a:lnTo>
                    <a:lnTo>
                      <a:pt x="153" y="63"/>
                    </a:lnTo>
                    <a:lnTo>
                      <a:pt x="153" y="63"/>
                    </a:lnTo>
                    <a:lnTo>
                      <a:pt x="151" y="63"/>
                    </a:lnTo>
                    <a:lnTo>
                      <a:pt x="148" y="63"/>
                    </a:lnTo>
                    <a:lnTo>
                      <a:pt x="148" y="66"/>
                    </a:lnTo>
                    <a:lnTo>
                      <a:pt x="151" y="68"/>
                    </a:lnTo>
                    <a:lnTo>
                      <a:pt x="151" y="68"/>
                    </a:lnTo>
                    <a:lnTo>
                      <a:pt x="153" y="68"/>
                    </a:lnTo>
                    <a:lnTo>
                      <a:pt x="153" y="68"/>
                    </a:lnTo>
                    <a:lnTo>
                      <a:pt x="151" y="68"/>
                    </a:lnTo>
                    <a:lnTo>
                      <a:pt x="146" y="68"/>
                    </a:lnTo>
                    <a:lnTo>
                      <a:pt x="143" y="68"/>
                    </a:lnTo>
                    <a:lnTo>
                      <a:pt x="141" y="68"/>
                    </a:lnTo>
                    <a:lnTo>
                      <a:pt x="141" y="66"/>
                    </a:lnTo>
                    <a:lnTo>
                      <a:pt x="139" y="68"/>
                    </a:lnTo>
                    <a:lnTo>
                      <a:pt x="139" y="68"/>
                    </a:lnTo>
                    <a:lnTo>
                      <a:pt x="139" y="68"/>
                    </a:lnTo>
                    <a:lnTo>
                      <a:pt x="136" y="68"/>
                    </a:lnTo>
                    <a:lnTo>
                      <a:pt x="136" y="68"/>
                    </a:lnTo>
                    <a:lnTo>
                      <a:pt x="136" y="70"/>
                    </a:lnTo>
                    <a:lnTo>
                      <a:pt x="136" y="70"/>
                    </a:lnTo>
                    <a:lnTo>
                      <a:pt x="136" y="70"/>
                    </a:lnTo>
                    <a:lnTo>
                      <a:pt x="141" y="73"/>
                    </a:lnTo>
                    <a:lnTo>
                      <a:pt x="143" y="73"/>
                    </a:lnTo>
                    <a:lnTo>
                      <a:pt x="146" y="77"/>
                    </a:lnTo>
                    <a:lnTo>
                      <a:pt x="146" y="77"/>
                    </a:lnTo>
                    <a:lnTo>
                      <a:pt x="143" y="77"/>
                    </a:lnTo>
                    <a:lnTo>
                      <a:pt x="143" y="75"/>
                    </a:lnTo>
                    <a:lnTo>
                      <a:pt x="141" y="75"/>
                    </a:lnTo>
                    <a:lnTo>
                      <a:pt x="141" y="73"/>
                    </a:lnTo>
                    <a:lnTo>
                      <a:pt x="139" y="75"/>
                    </a:lnTo>
                    <a:lnTo>
                      <a:pt x="136" y="75"/>
                    </a:lnTo>
                    <a:lnTo>
                      <a:pt x="139" y="75"/>
                    </a:lnTo>
                    <a:lnTo>
                      <a:pt x="143" y="77"/>
                    </a:lnTo>
                    <a:lnTo>
                      <a:pt x="143" y="77"/>
                    </a:lnTo>
                    <a:lnTo>
                      <a:pt x="141" y="77"/>
                    </a:lnTo>
                    <a:lnTo>
                      <a:pt x="136" y="77"/>
                    </a:lnTo>
                    <a:lnTo>
                      <a:pt x="129" y="77"/>
                    </a:lnTo>
                    <a:lnTo>
                      <a:pt x="129" y="77"/>
                    </a:lnTo>
                    <a:lnTo>
                      <a:pt x="125" y="80"/>
                    </a:lnTo>
                    <a:lnTo>
                      <a:pt x="122" y="82"/>
                    </a:lnTo>
                    <a:lnTo>
                      <a:pt x="122" y="85"/>
                    </a:lnTo>
                    <a:lnTo>
                      <a:pt x="122" y="85"/>
                    </a:lnTo>
                    <a:lnTo>
                      <a:pt x="120" y="85"/>
                    </a:lnTo>
                    <a:lnTo>
                      <a:pt x="120" y="85"/>
                    </a:lnTo>
                    <a:lnTo>
                      <a:pt x="120" y="85"/>
                    </a:lnTo>
                    <a:lnTo>
                      <a:pt x="120" y="87"/>
                    </a:lnTo>
                    <a:lnTo>
                      <a:pt x="120" y="87"/>
                    </a:lnTo>
                    <a:lnTo>
                      <a:pt x="120" y="87"/>
                    </a:lnTo>
                    <a:lnTo>
                      <a:pt x="120" y="87"/>
                    </a:lnTo>
                    <a:lnTo>
                      <a:pt x="120" y="89"/>
                    </a:lnTo>
                    <a:lnTo>
                      <a:pt x="120" y="89"/>
                    </a:lnTo>
                    <a:lnTo>
                      <a:pt x="120" y="89"/>
                    </a:lnTo>
                    <a:lnTo>
                      <a:pt x="120" y="89"/>
                    </a:lnTo>
                    <a:lnTo>
                      <a:pt x="120" y="89"/>
                    </a:lnTo>
                    <a:lnTo>
                      <a:pt x="127" y="92"/>
                    </a:lnTo>
                    <a:lnTo>
                      <a:pt x="127" y="92"/>
                    </a:lnTo>
                    <a:lnTo>
                      <a:pt x="127" y="94"/>
                    </a:lnTo>
                    <a:lnTo>
                      <a:pt x="127" y="94"/>
                    </a:lnTo>
                    <a:lnTo>
                      <a:pt x="134" y="94"/>
                    </a:lnTo>
                    <a:lnTo>
                      <a:pt x="134" y="96"/>
                    </a:lnTo>
                    <a:lnTo>
                      <a:pt x="134" y="96"/>
                    </a:lnTo>
                    <a:lnTo>
                      <a:pt x="136" y="94"/>
                    </a:lnTo>
                    <a:lnTo>
                      <a:pt x="136" y="94"/>
                    </a:lnTo>
                    <a:lnTo>
                      <a:pt x="139" y="94"/>
                    </a:lnTo>
                    <a:lnTo>
                      <a:pt x="139" y="94"/>
                    </a:lnTo>
                    <a:lnTo>
                      <a:pt x="139" y="94"/>
                    </a:lnTo>
                    <a:lnTo>
                      <a:pt x="141" y="94"/>
                    </a:lnTo>
                    <a:lnTo>
                      <a:pt x="141" y="94"/>
                    </a:lnTo>
                    <a:lnTo>
                      <a:pt x="141" y="94"/>
                    </a:lnTo>
                    <a:lnTo>
                      <a:pt x="141" y="94"/>
                    </a:lnTo>
                    <a:lnTo>
                      <a:pt x="141" y="94"/>
                    </a:lnTo>
                    <a:lnTo>
                      <a:pt x="141" y="96"/>
                    </a:lnTo>
                    <a:lnTo>
                      <a:pt x="143" y="96"/>
                    </a:lnTo>
                    <a:lnTo>
                      <a:pt x="143" y="96"/>
                    </a:lnTo>
                    <a:lnTo>
                      <a:pt x="143" y="94"/>
                    </a:lnTo>
                    <a:lnTo>
                      <a:pt x="143" y="92"/>
                    </a:lnTo>
                    <a:lnTo>
                      <a:pt x="146" y="92"/>
                    </a:lnTo>
                    <a:lnTo>
                      <a:pt x="146" y="94"/>
                    </a:lnTo>
                    <a:lnTo>
                      <a:pt x="146" y="94"/>
                    </a:lnTo>
                    <a:lnTo>
                      <a:pt x="146" y="94"/>
                    </a:lnTo>
                    <a:lnTo>
                      <a:pt x="148" y="94"/>
                    </a:lnTo>
                    <a:lnTo>
                      <a:pt x="148" y="96"/>
                    </a:lnTo>
                    <a:lnTo>
                      <a:pt x="148" y="96"/>
                    </a:lnTo>
                    <a:lnTo>
                      <a:pt x="146" y="99"/>
                    </a:lnTo>
                    <a:lnTo>
                      <a:pt x="143" y="99"/>
                    </a:lnTo>
                    <a:lnTo>
                      <a:pt x="143" y="101"/>
                    </a:lnTo>
                    <a:lnTo>
                      <a:pt x="143" y="101"/>
                    </a:lnTo>
                    <a:lnTo>
                      <a:pt x="143" y="101"/>
                    </a:lnTo>
                    <a:lnTo>
                      <a:pt x="146" y="101"/>
                    </a:lnTo>
                    <a:lnTo>
                      <a:pt x="146" y="99"/>
                    </a:lnTo>
                    <a:lnTo>
                      <a:pt x="151" y="96"/>
                    </a:lnTo>
                    <a:lnTo>
                      <a:pt x="151" y="94"/>
                    </a:lnTo>
                    <a:lnTo>
                      <a:pt x="153" y="94"/>
                    </a:lnTo>
                    <a:lnTo>
                      <a:pt x="153" y="92"/>
                    </a:lnTo>
                    <a:lnTo>
                      <a:pt x="155" y="92"/>
                    </a:lnTo>
                    <a:lnTo>
                      <a:pt x="155" y="94"/>
                    </a:lnTo>
                    <a:lnTo>
                      <a:pt x="155" y="94"/>
                    </a:lnTo>
                    <a:lnTo>
                      <a:pt x="155" y="96"/>
                    </a:lnTo>
                    <a:lnTo>
                      <a:pt x="155" y="96"/>
                    </a:lnTo>
                    <a:lnTo>
                      <a:pt x="155" y="96"/>
                    </a:lnTo>
                    <a:lnTo>
                      <a:pt x="158" y="94"/>
                    </a:lnTo>
                    <a:lnTo>
                      <a:pt x="162" y="92"/>
                    </a:lnTo>
                    <a:lnTo>
                      <a:pt x="165" y="92"/>
                    </a:lnTo>
                    <a:lnTo>
                      <a:pt x="167" y="92"/>
                    </a:lnTo>
                    <a:lnTo>
                      <a:pt x="167" y="92"/>
                    </a:lnTo>
                    <a:lnTo>
                      <a:pt x="167" y="92"/>
                    </a:lnTo>
                    <a:lnTo>
                      <a:pt x="167" y="92"/>
                    </a:lnTo>
                    <a:lnTo>
                      <a:pt x="165" y="96"/>
                    </a:lnTo>
                    <a:lnTo>
                      <a:pt x="165" y="96"/>
                    </a:lnTo>
                    <a:lnTo>
                      <a:pt x="165" y="96"/>
                    </a:lnTo>
                    <a:lnTo>
                      <a:pt x="165" y="94"/>
                    </a:lnTo>
                    <a:lnTo>
                      <a:pt x="162" y="94"/>
                    </a:lnTo>
                    <a:lnTo>
                      <a:pt x="162" y="99"/>
                    </a:lnTo>
                    <a:lnTo>
                      <a:pt x="160" y="101"/>
                    </a:lnTo>
                    <a:lnTo>
                      <a:pt x="160" y="103"/>
                    </a:lnTo>
                    <a:lnTo>
                      <a:pt x="155" y="106"/>
                    </a:lnTo>
                    <a:lnTo>
                      <a:pt x="158" y="108"/>
                    </a:lnTo>
                    <a:lnTo>
                      <a:pt x="158" y="108"/>
                    </a:lnTo>
                    <a:lnTo>
                      <a:pt x="160" y="108"/>
                    </a:lnTo>
                    <a:lnTo>
                      <a:pt x="160" y="108"/>
                    </a:lnTo>
                    <a:lnTo>
                      <a:pt x="158" y="110"/>
                    </a:lnTo>
                    <a:lnTo>
                      <a:pt x="155" y="110"/>
                    </a:lnTo>
                    <a:lnTo>
                      <a:pt x="153" y="113"/>
                    </a:lnTo>
                    <a:lnTo>
                      <a:pt x="148" y="113"/>
                    </a:lnTo>
                    <a:lnTo>
                      <a:pt x="146" y="115"/>
                    </a:lnTo>
                    <a:lnTo>
                      <a:pt x="143" y="115"/>
                    </a:lnTo>
                    <a:lnTo>
                      <a:pt x="143" y="115"/>
                    </a:lnTo>
                    <a:lnTo>
                      <a:pt x="143" y="115"/>
                    </a:lnTo>
                    <a:lnTo>
                      <a:pt x="143" y="113"/>
                    </a:lnTo>
                    <a:lnTo>
                      <a:pt x="143" y="113"/>
                    </a:lnTo>
                    <a:lnTo>
                      <a:pt x="143" y="113"/>
                    </a:lnTo>
                    <a:lnTo>
                      <a:pt x="141" y="115"/>
                    </a:lnTo>
                    <a:lnTo>
                      <a:pt x="141" y="118"/>
                    </a:lnTo>
                    <a:lnTo>
                      <a:pt x="141" y="118"/>
                    </a:lnTo>
                    <a:lnTo>
                      <a:pt x="141" y="118"/>
                    </a:lnTo>
                    <a:lnTo>
                      <a:pt x="141" y="118"/>
                    </a:lnTo>
                    <a:lnTo>
                      <a:pt x="132" y="125"/>
                    </a:lnTo>
                    <a:lnTo>
                      <a:pt x="129" y="125"/>
                    </a:lnTo>
                    <a:lnTo>
                      <a:pt x="129" y="125"/>
                    </a:lnTo>
                    <a:lnTo>
                      <a:pt x="127" y="127"/>
                    </a:lnTo>
                    <a:lnTo>
                      <a:pt x="127" y="127"/>
                    </a:lnTo>
                    <a:lnTo>
                      <a:pt x="127" y="129"/>
                    </a:lnTo>
                    <a:lnTo>
                      <a:pt x="129" y="129"/>
                    </a:lnTo>
                    <a:lnTo>
                      <a:pt x="136" y="129"/>
                    </a:lnTo>
                    <a:lnTo>
                      <a:pt x="136" y="129"/>
                    </a:lnTo>
                    <a:lnTo>
                      <a:pt x="139" y="129"/>
                    </a:lnTo>
                    <a:lnTo>
                      <a:pt x="139" y="132"/>
                    </a:lnTo>
                    <a:lnTo>
                      <a:pt x="136" y="132"/>
                    </a:lnTo>
                    <a:lnTo>
                      <a:pt x="136" y="132"/>
                    </a:lnTo>
                    <a:lnTo>
                      <a:pt x="134" y="132"/>
                    </a:lnTo>
                    <a:lnTo>
                      <a:pt x="134" y="132"/>
                    </a:lnTo>
                    <a:lnTo>
                      <a:pt x="134" y="132"/>
                    </a:lnTo>
                    <a:lnTo>
                      <a:pt x="136" y="132"/>
                    </a:lnTo>
                    <a:lnTo>
                      <a:pt x="136" y="132"/>
                    </a:lnTo>
                    <a:lnTo>
                      <a:pt x="139" y="134"/>
                    </a:lnTo>
                    <a:lnTo>
                      <a:pt x="139" y="134"/>
                    </a:lnTo>
                    <a:lnTo>
                      <a:pt x="141" y="134"/>
                    </a:lnTo>
                    <a:lnTo>
                      <a:pt x="141" y="136"/>
                    </a:lnTo>
                    <a:lnTo>
                      <a:pt x="136" y="134"/>
                    </a:lnTo>
                    <a:lnTo>
                      <a:pt x="136" y="136"/>
                    </a:lnTo>
                    <a:lnTo>
                      <a:pt x="136" y="136"/>
                    </a:lnTo>
                    <a:lnTo>
                      <a:pt x="134" y="136"/>
                    </a:lnTo>
                    <a:lnTo>
                      <a:pt x="134" y="136"/>
                    </a:lnTo>
                    <a:lnTo>
                      <a:pt x="132" y="136"/>
                    </a:lnTo>
                    <a:lnTo>
                      <a:pt x="132" y="136"/>
                    </a:lnTo>
                    <a:lnTo>
                      <a:pt x="132" y="139"/>
                    </a:lnTo>
                    <a:lnTo>
                      <a:pt x="132" y="139"/>
                    </a:lnTo>
                    <a:lnTo>
                      <a:pt x="132" y="139"/>
                    </a:lnTo>
                    <a:lnTo>
                      <a:pt x="134" y="139"/>
                    </a:lnTo>
                    <a:lnTo>
                      <a:pt x="134" y="141"/>
                    </a:lnTo>
                    <a:lnTo>
                      <a:pt x="134" y="141"/>
                    </a:lnTo>
                    <a:lnTo>
                      <a:pt x="136" y="141"/>
                    </a:lnTo>
                    <a:lnTo>
                      <a:pt x="136" y="143"/>
                    </a:lnTo>
                    <a:lnTo>
                      <a:pt x="139" y="143"/>
                    </a:lnTo>
                    <a:lnTo>
                      <a:pt x="139" y="143"/>
                    </a:lnTo>
                    <a:lnTo>
                      <a:pt x="139" y="143"/>
                    </a:lnTo>
                    <a:lnTo>
                      <a:pt x="136" y="143"/>
                    </a:lnTo>
                    <a:lnTo>
                      <a:pt x="136" y="143"/>
                    </a:lnTo>
                    <a:lnTo>
                      <a:pt x="134" y="146"/>
                    </a:lnTo>
                    <a:lnTo>
                      <a:pt x="134" y="143"/>
                    </a:lnTo>
                    <a:lnTo>
                      <a:pt x="132" y="141"/>
                    </a:lnTo>
                    <a:lnTo>
                      <a:pt x="129" y="141"/>
                    </a:lnTo>
                    <a:lnTo>
                      <a:pt x="129" y="141"/>
                    </a:lnTo>
                    <a:lnTo>
                      <a:pt x="129" y="139"/>
                    </a:lnTo>
                    <a:lnTo>
                      <a:pt x="129" y="139"/>
                    </a:lnTo>
                    <a:lnTo>
                      <a:pt x="127" y="136"/>
                    </a:lnTo>
                    <a:lnTo>
                      <a:pt x="122" y="139"/>
                    </a:lnTo>
                    <a:lnTo>
                      <a:pt x="122" y="136"/>
                    </a:lnTo>
                    <a:lnTo>
                      <a:pt x="120" y="136"/>
                    </a:lnTo>
                    <a:lnTo>
                      <a:pt x="118" y="139"/>
                    </a:lnTo>
                    <a:lnTo>
                      <a:pt x="115" y="139"/>
                    </a:lnTo>
                    <a:lnTo>
                      <a:pt x="113" y="139"/>
                    </a:lnTo>
                    <a:lnTo>
                      <a:pt x="113" y="136"/>
                    </a:lnTo>
                    <a:lnTo>
                      <a:pt x="110" y="136"/>
                    </a:lnTo>
                    <a:lnTo>
                      <a:pt x="110" y="134"/>
                    </a:lnTo>
                    <a:lnTo>
                      <a:pt x="108" y="134"/>
                    </a:lnTo>
                    <a:lnTo>
                      <a:pt x="108" y="134"/>
                    </a:lnTo>
                    <a:lnTo>
                      <a:pt x="108" y="134"/>
                    </a:lnTo>
                    <a:lnTo>
                      <a:pt x="108" y="136"/>
                    </a:lnTo>
                    <a:lnTo>
                      <a:pt x="103" y="134"/>
                    </a:lnTo>
                    <a:lnTo>
                      <a:pt x="101" y="134"/>
                    </a:lnTo>
                    <a:lnTo>
                      <a:pt x="101" y="136"/>
                    </a:lnTo>
                    <a:lnTo>
                      <a:pt x="99" y="141"/>
                    </a:lnTo>
                    <a:lnTo>
                      <a:pt x="99" y="141"/>
                    </a:lnTo>
                    <a:lnTo>
                      <a:pt x="96" y="143"/>
                    </a:lnTo>
                    <a:lnTo>
                      <a:pt x="96" y="143"/>
                    </a:lnTo>
                    <a:lnTo>
                      <a:pt x="96" y="146"/>
                    </a:lnTo>
                    <a:lnTo>
                      <a:pt x="96" y="148"/>
                    </a:lnTo>
                    <a:lnTo>
                      <a:pt x="96" y="151"/>
                    </a:lnTo>
                    <a:lnTo>
                      <a:pt x="96" y="153"/>
                    </a:lnTo>
                    <a:lnTo>
                      <a:pt x="94" y="153"/>
                    </a:lnTo>
                    <a:lnTo>
                      <a:pt x="94" y="151"/>
                    </a:lnTo>
                    <a:lnTo>
                      <a:pt x="94" y="148"/>
                    </a:lnTo>
                    <a:lnTo>
                      <a:pt x="94" y="146"/>
                    </a:lnTo>
                    <a:lnTo>
                      <a:pt x="89" y="143"/>
                    </a:lnTo>
                    <a:lnTo>
                      <a:pt x="89" y="141"/>
                    </a:lnTo>
                    <a:lnTo>
                      <a:pt x="92" y="141"/>
                    </a:lnTo>
                    <a:lnTo>
                      <a:pt x="92" y="141"/>
                    </a:lnTo>
                    <a:lnTo>
                      <a:pt x="89" y="139"/>
                    </a:lnTo>
                    <a:lnTo>
                      <a:pt x="89" y="139"/>
                    </a:lnTo>
                    <a:lnTo>
                      <a:pt x="89" y="139"/>
                    </a:lnTo>
                    <a:lnTo>
                      <a:pt x="89" y="136"/>
                    </a:lnTo>
                    <a:lnTo>
                      <a:pt x="89" y="136"/>
                    </a:lnTo>
                    <a:lnTo>
                      <a:pt x="89" y="136"/>
                    </a:lnTo>
                    <a:lnTo>
                      <a:pt x="89" y="136"/>
                    </a:lnTo>
                    <a:lnTo>
                      <a:pt x="87" y="136"/>
                    </a:lnTo>
                    <a:lnTo>
                      <a:pt x="87" y="136"/>
                    </a:lnTo>
                    <a:lnTo>
                      <a:pt x="87" y="134"/>
                    </a:lnTo>
                    <a:lnTo>
                      <a:pt x="87" y="132"/>
                    </a:lnTo>
                    <a:lnTo>
                      <a:pt x="84" y="132"/>
                    </a:lnTo>
                    <a:lnTo>
                      <a:pt x="82" y="132"/>
                    </a:lnTo>
                    <a:lnTo>
                      <a:pt x="82" y="132"/>
                    </a:lnTo>
                    <a:lnTo>
                      <a:pt x="80" y="132"/>
                    </a:lnTo>
                    <a:lnTo>
                      <a:pt x="80" y="132"/>
                    </a:lnTo>
                    <a:lnTo>
                      <a:pt x="80" y="132"/>
                    </a:lnTo>
                    <a:lnTo>
                      <a:pt x="77" y="134"/>
                    </a:lnTo>
                    <a:lnTo>
                      <a:pt x="77" y="134"/>
                    </a:lnTo>
                    <a:lnTo>
                      <a:pt x="73" y="132"/>
                    </a:lnTo>
                    <a:lnTo>
                      <a:pt x="70" y="132"/>
                    </a:lnTo>
                    <a:lnTo>
                      <a:pt x="70" y="132"/>
                    </a:lnTo>
                    <a:lnTo>
                      <a:pt x="70" y="132"/>
                    </a:lnTo>
                    <a:lnTo>
                      <a:pt x="68" y="132"/>
                    </a:lnTo>
                    <a:lnTo>
                      <a:pt x="68" y="132"/>
                    </a:lnTo>
                    <a:lnTo>
                      <a:pt x="66" y="132"/>
                    </a:lnTo>
                    <a:lnTo>
                      <a:pt x="54" y="132"/>
                    </a:lnTo>
                    <a:lnTo>
                      <a:pt x="54" y="132"/>
                    </a:lnTo>
                    <a:lnTo>
                      <a:pt x="51" y="129"/>
                    </a:lnTo>
                    <a:lnTo>
                      <a:pt x="49" y="129"/>
                    </a:lnTo>
                    <a:lnTo>
                      <a:pt x="44" y="129"/>
                    </a:lnTo>
                    <a:lnTo>
                      <a:pt x="44" y="132"/>
                    </a:lnTo>
                    <a:lnTo>
                      <a:pt x="44" y="132"/>
                    </a:lnTo>
                    <a:lnTo>
                      <a:pt x="47" y="134"/>
                    </a:lnTo>
                    <a:lnTo>
                      <a:pt x="49" y="134"/>
                    </a:lnTo>
                    <a:lnTo>
                      <a:pt x="51" y="136"/>
                    </a:lnTo>
                    <a:lnTo>
                      <a:pt x="49" y="134"/>
                    </a:lnTo>
                    <a:lnTo>
                      <a:pt x="49" y="134"/>
                    </a:lnTo>
                    <a:lnTo>
                      <a:pt x="49" y="136"/>
                    </a:lnTo>
                    <a:lnTo>
                      <a:pt x="49" y="136"/>
                    </a:lnTo>
                    <a:lnTo>
                      <a:pt x="49" y="136"/>
                    </a:lnTo>
                    <a:lnTo>
                      <a:pt x="49" y="139"/>
                    </a:lnTo>
                    <a:lnTo>
                      <a:pt x="51" y="139"/>
                    </a:lnTo>
                    <a:lnTo>
                      <a:pt x="49" y="139"/>
                    </a:lnTo>
                    <a:lnTo>
                      <a:pt x="47" y="136"/>
                    </a:lnTo>
                    <a:lnTo>
                      <a:pt x="44" y="136"/>
                    </a:lnTo>
                    <a:lnTo>
                      <a:pt x="44" y="136"/>
                    </a:lnTo>
                    <a:lnTo>
                      <a:pt x="42" y="139"/>
                    </a:lnTo>
                    <a:lnTo>
                      <a:pt x="42" y="141"/>
                    </a:lnTo>
                    <a:lnTo>
                      <a:pt x="42" y="141"/>
                    </a:lnTo>
                    <a:lnTo>
                      <a:pt x="42" y="143"/>
                    </a:lnTo>
                    <a:lnTo>
                      <a:pt x="42" y="143"/>
                    </a:lnTo>
                    <a:lnTo>
                      <a:pt x="40" y="146"/>
                    </a:lnTo>
                    <a:lnTo>
                      <a:pt x="40" y="143"/>
                    </a:lnTo>
                    <a:lnTo>
                      <a:pt x="37" y="143"/>
                    </a:lnTo>
                    <a:lnTo>
                      <a:pt x="37" y="143"/>
                    </a:lnTo>
                    <a:lnTo>
                      <a:pt x="35" y="143"/>
                    </a:lnTo>
                    <a:lnTo>
                      <a:pt x="35" y="141"/>
                    </a:lnTo>
                    <a:lnTo>
                      <a:pt x="37" y="141"/>
                    </a:lnTo>
                    <a:lnTo>
                      <a:pt x="40" y="141"/>
                    </a:lnTo>
                    <a:lnTo>
                      <a:pt x="42" y="141"/>
                    </a:lnTo>
                    <a:lnTo>
                      <a:pt x="42" y="139"/>
                    </a:lnTo>
                    <a:lnTo>
                      <a:pt x="42" y="139"/>
                    </a:lnTo>
                    <a:lnTo>
                      <a:pt x="42" y="136"/>
                    </a:lnTo>
                    <a:lnTo>
                      <a:pt x="42" y="136"/>
                    </a:lnTo>
                    <a:lnTo>
                      <a:pt x="42" y="139"/>
                    </a:lnTo>
                    <a:lnTo>
                      <a:pt x="40" y="139"/>
                    </a:lnTo>
                    <a:lnTo>
                      <a:pt x="40" y="136"/>
                    </a:lnTo>
                    <a:lnTo>
                      <a:pt x="40" y="136"/>
                    </a:lnTo>
                    <a:lnTo>
                      <a:pt x="40" y="136"/>
                    </a:lnTo>
                    <a:lnTo>
                      <a:pt x="37" y="136"/>
                    </a:lnTo>
                    <a:lnTo>
                      <a:pt x="35" y="136"/>
                    </a:lnTo>
                    <a:lnTo>
                      <a:pt x="35" y="136"/>
                    </a:lnTo>
                    <a:lnTo>
                      <a:pt x="35" y="134"/>
                    </a:lnTo>
                    <a:lnTo>
                      <a:pt x="35" y="134"/>
                    </a:lnTo>
                    <a:lnTo>
                      <a:pt x="35" y="134"/>
                    </a:lnTo>
                    <a:lnTo>
                      <a:pt x="35" y="132"/>
                    </a:lnTo>
                    <a:lnTo>
                      <a:pt x="33" y="132"/>
                    </a:lnTo>
                    <a:lnTo>
                      <a:pt x="33" y="134"/>
                    </a:lnTo>
                    <a:lnTo>
                      <a:pt x="33" y="134"/>
                    </a:lnTo>
                    <a:lnTo>
                      <a:pt x="33" y="134"/>
                    </a:lnTo>
                    <a:lnTo>
                      <a:pt x="30" y="136"/>
                    </a:lnTo>
                    <a:lnTo>
                      <a:pt x="28" y="136"/>
                    </a:lnTo>
                    <a:lnTo>
                      <a:pt x="28" y="139"/>
                    </a:lnTo>
                    <a:lnTo>
                      <a:pt x="28" y="141"/>
                    </a:lnTo>
                    <a:lnTo>
                      <a:pt x="28" y="141"/>
                    </a:lnTo>
                    <a:lnTo>
                      <a:pt x="25" y="141"/>
                    </a:lnTo>
                    <a:lnTo>
                      <a:pt x="28" y="141"/>
                    </a:lnTo>
                    <a:lnTo>
                      <a:pt x="28" y="143"/>
                    </a:lnTo>
                    <a:lnTo>
                      <a:pt x="30" y="143"/>
                    </a:lnTo>
                    <a:lnTo>
                      <a:pt x="28" y="143"/>
                    </a:lnTo>
                    <a:lnTo>
                      <a:pt x="28" y="146"/>
                    </a:lnTo>
                    <a:lnTo>
                      <a:pt x="28" y="146"/>
                    </a:lnTo>
                    <a:lnTo>
                      <a:pt x="28" y="148"/>
                    </a:lnTo>
                    <a:lnTo>
                      <a:pt x="28" y="148"/>
                    </a:lnTo>
                    <a:lnTo>
                      <a:pt x="25" y="153"/>
                    </a:lnTo>
                    <a:lnTo>
                      <a:pt x="25" y="155"/>
                    </a:lnTo>
                    <a:lnTo>
                      <a:pt x="25" y="158"/>
                    </a:lnTo>
                    <a:lnTo>
                      <a:pt x="25" y="158"/>
                    </a:lnTo>
                    <a:lnTo>
                      <a:pt x="28" y="158"/>
                    </a:lnTo>
                    <a:lnTo>
                      <a:pt x="28" y="158"/>
                    </a:lnTo>
                    <a:lnTo>
                      <a:pt x="30" y="158"/>
                    </a:lnTo>
                    <a:lnTo>
                      <a:pt x="28" y="158"/>
                    </a:lnTo>
                    <a:lnTo>
                      <a:pt x="28" y="155"/>
                    </a:lnTo>
                    <a:lnTo>
                      <a:pt x="28" y="155"/>
                    </a:lnTo>
                    <a:lnTo>
                      <a:pt x="28" y="155"/>
                    </a:lnTo>
                    <a:lnTo>
                      <a:pt x="30" y="155"/>
                    </a:lnTo>
                    <a:lnTo>
                      <a:pt x="28" y="153"/>
                    </a:lnTo>
                    <a:lnTo>
                      <a:pt x="28" y="151"/>
                    </a:lnTo>
                    <a:lnTo>
                      <a:pt x="28" y="151"/>
                    </a:lnTo>
                    <a:lnTo>
                      <a:pt x="28" y="151"/>
                    </a:lnTo>
                    <a:lnTo>
                      <a:pt x="30" y="148"/>
                    </a:lnTo>
                    <a:lnTo>
                      <a:pt x="30" y="148"/>
                    </a:lnTo>
                    <a:lnTo>
                      <a:pt x="30" y="148"/>
                    </a:lnTo>
                    <a:lnTo>
                      <a:pt x="30" y="148"/>
                    </a:lnTo>
                    <a:lnTo>
                      <a:pt x="30" y="148"/>
                    </a:lnTo>
                    <a:lnTo>
                      <a:pt x="30" y="146"/>
                    </a:lnTo>
                    <a:lnTo>
                      <a:pt x="33" y="148"/>
                    </a:lnTo>
                    <a:lnTo>
                      <a:pt x="33" y="146"/>
                    </a:lnTo>
                    <a:lnTo>
                      <a:pt x="33" y="146"/>
                    </a:lnTo>
                    <a:lnTo>
                      <a:pt x="33" y="143"/>
                    </a:lnTo>
                    <a:lnTo>
                      <a:pt x="33" y="143"/>
                    </a:lnTo>
                    <a:lnTo>
                      <a:pt x="35" y="143"/>
                    </a:lnTo>
                    <a:lnTo>
                      <a:pt x="40" y="146"/>
                    </a:lnTo>
                    <a:lnTo>
                      <a:pt x="37" y="148"/>
                    </a:lnTo>
                    <a:lnTo>
                      <a:pt x="37" y="148"/>
                    </a:lnTo>
                    <a:lnTo>
                      <a:pt x="37" y="148"/>
                    </a:lnTo>
                    <a:lnTo>
                      <a:pt x="35" y="148"/>
                    </a:lnTo>
                    <a:lnTo>
                      <a:pt x="37" y="151"/>
                    </a:lnTo>
                    <a:lnTo>
                      <a:pt x="40" y="153"/>
                    </a:lnTo>
                    <a:lnTo>
                      <a:pt x="40" y="151"/>
                    </a:lnTo>
                    <a:lnTo>
                      <a:pt x="37" y="151"/>
                    </a:lnTo>
                    <a:lnTo>
                      <a:pt x="37" y="151"/>
                    </a:lnTo>
                    <a:lnTo>
                      <a:pt x="37" y="153"/>
                    </a:lnTo>
                    <a:lnTo>
                      <a:pt x="37" y="153"/>
                    </a:lnTo>
                    <a:lnTo>
                      <a:pt x="40" y="155"/>
                    </a:lnTo>
                    <a:lnTo>
                      <a:pt x="40" y="155"/>
                    </a:lnTo>
                    <a:lnTo>
                      <a:pt x="35" y="158"/>
                    </a:lnTo>
                    <a:lnTo>
                      <a:pt x="35" y="158"/>
                    </a:lnTo>
                    <a:lnTo>
                      <a:pt x="35" y="160"/>
                    </a:lnTo>
                    <a:lnTo>
                      <a:pt x="37" y="162"/>
                    </a:lnTo>
                    <a:lnTo>
                      <a:pt x="40" y="160"/>
                    </a:lnTo>
                    <a:lnTo>
                      <a:pt x="42" y="158"/>
                    </a:lnTo>
                    <a:lnTo>
                      <a:pt x="42" y="158"/>
                    </a:lnTo>
                    <a:lnTo>
                      <a:pt x="42" y="158"/>
                    </a:lnTo>
                    <a:lnTo>
                      <a:pt x="42" y="158"/>
                    </a:lnTo>
                    <a:lnTo>
                      <a:pt x="42" y="158"/>
                    </a:lnTo>
                    <a:lnTo>
                      <a:pt x="42" y="158"/>
                    </a:lnTo>
                    <a:lnTo>
                      <a:pt x="42" y="155"/>
                    </a:lnTo>
                    <a:lnTo>
                      <a:pt x="44" y="155"/>
                    </a:lnTo>
                    <a:lnTo>
                      <a:pt x="44" y="155"/>
                    </a:lnTo>
                    <a:lnTo>
                      <a:pt x="47" y="155"/>
                    </a:lnTo>
                    <a:lnTo>
                      <a:pt x="44" y="158"/>
                    </a:lnTo>
                    <a:lnTo>
                      <a:pt x="44" y="158"/>
                    </a:lnTo>
                    <a:lnTo>
                      <a:pt x="42" y="160"/>
                    </a:lnTo>
                    <a:lnTo>
                      <a:pt x="42" y="160"/>
                    </a:lnTo>
                    <a:lnTo>
                      <a:pt x="42" y="160"/>
                    </a:lnTo>
                    <a:lnTo>
                      <a:pt x="44" y="160"/>
                    </a:lnTo>
                    <a:lnTo>
                      <a:pt x="42" y="162"/>
                    </a:lnTo>
                    <a:lnTo>
                      <a:pt x="42" y="162"/>
                    </a:lnTo>
                    <a:lnTo>
                      <a:pt x="42" y="162"/>
                    </a:lnTo>
                    <a:lnTo>
                      <a:pt x="42" y="165"/>
                    </a:lnTo>
                    <a:lnTo>
                      <a:pt x="42" y="167"/>
                    </a:lnTo>
                    <a:lnTo>
                      <a:pt x="42" y="167"/>
                    </a:lnTo>
                    <a:lnTo>
                      <a:pt x="42" y="167"/>
                    </a:lnTo>
                    <a:lnTo>
                      <a:pt x="42" y="169"/>
                    </a:lnTo>
                    <a:lnTo>
                      <a:pt x="42" y="169"/>
                    </a:lnTo>
                    <a:lnTo>
                      <a:pt x="44" y="169"/>
                    </a:lnTo>
                    <a:lnTo>
                      <a:pt x="44" y="169"/>
                    </a:lnTo>
                    <a:lnTo>
                      <a:pt x="44" y="169"/>
                    </a:lnTo>
                    <a:lnTo>
                      <a:pt x="44" y="169"/>
                    </a:lnTo>
                    <a:lnTo>
                      <a:pt x="44" y="172"/>
                    </a:lnTo>
                    <a:lnTo>
                      <a:pt x="44" y="174"/>
                    </a:lnTo>
                    <a:lnTo>
                      <a:pt x="47" y="174"/>
                    </a:lnTo>
                    <a:lnTo>
                      <a:pt x="47" y="174"/>
                    </a:lnTo>
                    <a:lnTo>
                      <a:pt x="47" y="174"/>
                    </a:lnTo>
                    <a:lnTo>
                      <a:pt x="47" y="174"/>
                    </a:lnTo>
                    <a:lnTo>
                      <a:pt x="47" y="174"/>
                    </a:lnTo>
                    <a:lnTo>
                      <a:pt x="49" y="174"/>
                    </a:lnTo>
                    <a:lnTo>
                      <a:pt x="49" y="174"/>
                    </a:lnTo>
                    <a:lnTo>
                      <a:pt x="49" y="176"/>
                    </a:lnTo>
                    <a:lnTo>
                      <a:pt x="49" y="176"/>
                    </a:lnTo>
                    <a:lnTo>
                      <a:pt x="49" y="179"/>
                    </a:lnTo>
                    <a:lnTo>
                      <a:pt x="49" y="179"/>
                    </a:lnTo>
                    <a:lnTo>
                      <a:pt x="49" y="179"/>
                    </a:lnTo>
                    <a:lnTo>
                      <a:pt x="47" y="179"/>
                    </a:lnTo>
                    <a:lnTo>
                      <a:pt x="47" y="176"/>
                    </a:lnTo>
                    <a:lnTo>
                      <a:pt x="47" y="176"/>
                    </a:lnTo>
                    <a:lnTo>
                      <a:pt x="44" y="176"/>
                    </a:lnTo>
                    <a:lnTo>
                      <a:pt x="44" y="174"/>
                    </a:lnTo>
                    <a:lnTo>
                      <a:pt x="42" y="174"/>
                    </a:lnTo>
                    <a:lnTo>
                      <a:pt x="40" y="174"/>
                    </a:lnTo>
                    <a:lnTo>
                      <a:pt x="40" y="176"/>
                    </a:lnTo>
                    <a:lnTo>
                      <a:pt x="40" y="176"/>
                    </a:lnTo>
                    <a:lnTo>
                      <a:pt x="40" y="176"/>
                    </a:lnTo>
                    <a:lnTo>
                      <a:pt x="40" y="176"/>
                    </a:lnTo>
                    <a:lnTo>
                      <a:pt x="40" y="179"/>
                    </a:lnTo>
                    <a:lnTo>
                      <a:pt x="40" y="179"/>
                    </a:lnTo>
                    <a:lnTo>
                      <a:pt x="40" y="179"/>
                    </a:lnTo>
                    <a:lnTo>
                      <a:pt x="40" y="184"/>
                    </a:lnTo>
                    <a:lnTo>
                      <a:pt x="37" y="184"/>
                    </a:lnTo>
                    <a:lnTo>
                      <a:pt x="40" y="186"/>
                    </a:lnTo>
                    <a:lnTo>
                      <a:pt x="44" y="186"/>
                    </a:lnTo>
                    <a:lnTo>
                      <a:pt x="51" y="181"/>
                    </a:lnTo>
                    <a:lnTo>
                      <a:pt x="61" y="181"/>
                    </a:lnTo>
                    <a:lnTo>
                      <a:pt x="63" y="181"/>
                    </a:lnTo>
                    <a:lnTo>
                      <a:pt x="63" y="181"/>
                    </a:lnTo>
                    <a:lnTo>
                      <a:pt x="63" y="181"/>
                    </a:lnTo>
                    <a:lnTo>
                      <a:pt x="66" y="181"/>
                    </a:lnTo>
                    <a:lnTo>
                      <a:pt x="66" y="184"/>
                    </a:lnTo>
                    <a:lnTo>
                      <a:pt x="63" y="184"/>
                    </a:lnTo>
                    <a:lnTo>
                      <a:pt x="63" y="184"/>
                    </a:lnTo>
                    <a:lnTo>
                      <a:pt x="63" y="186"/>
                    </a:lnTo>
                    <a:lnTo>
                      <a:pt x="66" y="186"/>
                    </a:lnTo>
                    <a:lnTo>
                      <a:pt x="66" y="186"/>
                    </a:lnTo>
                    <a:lnTo>
                      <a:pt x="63" y="188"/>
                    </a:lnTo>
                    <a:lnTo>
                      <a:pt x="61" y="188"/>
                    </a:lnTo>
                    <a:lnTo>
                      <a:pt x="63" y="191"/>
                    </a:lnTo>
                    <a:lnTo>
                      <a:pt x="63" y="191"/>
                    </a:lnTo>
                    <a:lnTo>
                      <a:pt x="61" y="191"/>
                    </a:lnTo>
                    <a:lnTo>
                      <a:pt x="61" y="191"/>
                    </a:lnTo>
                    <a:lnTo>
                      <a:pt x="61" y="191"/>
                    </a:lnTo>
                    <a:lnTo>
                      <a:pt x="63" y="193"/>
                    </a:lnTo>
                    <a:lnTo>
                      <a:pt x="66" y="193"/>
                    </a:lnTo>
                    <a:lnTo>
                      <a:pt x="66" y="193"/>
                    </a:lnTo>
                    <a:lnTo>
                      <a:pt x="51" y="195"/>
                    </a:lnTo>
                    <a:lnTo>
                      <a:pt x="51" y="195"/>
                    </a:lnTo>
                    <a:lnTo>
                      <a:pt x="49" y="195"/>
                    </a:lnTo>
                    <a:lnTo>
                      <a:pt x="49" y="195"/>
                    </a:lnTo>
                    <a:lnTo>
                      <a:pt x="49" y="195"/>
                    </a:lnTo>
                    <a:lnTo>
                      <a:pt x="47" y="195"/>
                    </a:lnTo>
                    <a:lnTo>
                      <a:pt x="47" y="195"/>
                    </a:lnTo>
                    <a:lnTo>
                      <a:pt x="44" y="198"/>
                    </a:lnTo>
                    <a:lnTo>
                      <a:pt x="42" y="198"/>
                    </a:lnTo>
                    <a:lnTo>
                      <a:pt x="40" y="198"/>
                    </a:lnTo>
                    <a:lnTo>
                      <a:pt x="42" y="200"/>
                    </a:lnTo>
                    <a:lnTo>
                      <a:pt x="40" y="202"/>
                    </a:lnTo>
                    <a:lnTo>
                      <a:pt x="40" y="202"/>
                    </a:lnTo>
                    <a:lnTo>
                      <a:pt x="40" y="207"/>
                    </a:lnTo>
                    <a:lnTo>
                      <a:pt x="40" y="212"/>
                    </a:lnTo>
                    <a:lnTo>
                      <a:pt x="47" y="214"/>
                    </a:lnTo>
                    <a:lnTo>
                      <a:pt x="49" y="216"/>
                    </a:lnTo>
                    <a:lnTo>
                      <a:pt x="54" y="216"/>
                    </a:lnTo>
                    <a:lnTo>
                      <a:pt x="56" y="216"/>
                    </a:lnTo>
                    <a:lnTo>
                      <a:pt x="56" y="216"/>
                    </a:lnTo>
                    <a:lnTo>
                      <a:pt x="49" y="216"/>
                    </a:lnTo>
                    <a:lnTo>
                      <a:pt x="47" y="216"/>
                    </a:lnTo>
                    <a:lnTo>
                      <a:pt x="44" y="214"/>
                    </a:lnTo>
                    <a:lnTo>
                      <a:pt x="44" y="214"/>
                    </a:lnTo>
                    <a:lnTo>
                      <a:pt x="42" y="214"/>
                    </a:lnTo>
                    <a:lnTo>
                      <a:pt x="42" y="216"/>
                    </a:lnTo>
                    <a:lnTo>
                      <a:pt x="40" y="216"/>
                    </a:lnTo>
                    <a:lnTo>
                      <a:pt x="33" y="216"/>
                    </a:lnTo>
                    <a:lnTo>
                      <a:pt x="30" y="216"/>
                    </a:lnTo>
                    <a:lnTo>
                      <a:pt x="33" y="219"/>
                    </a:lnTo>
                    <a:lnTo>
                      <a:pt x="35" y="221"/>
                    </a:lnTo>
                    <a:lnTo>
                      <a:pt x="35" y="221"/>
                    </a:lnTo>
                    <a:lnTo>
                      <a:pt x="35" y="224"/>
                    </a:lnTo>
                    <a:lnTo>
                      <a:pt x="35" y="224"/>
                    </a:lnTo>
                    <a:lnTo>
                      <a:pt x="33" y="221"/>
                    </a:lnTo>
                    <a:lnTo>
                      <a:pt x="33" y="221"/>
                    </a:lnTo>
                    <a:lnTo>
                      <a:pt x="28" y="221"/>
                    </a:lnTo>
                    <a:lnTo>
                      <a:pt x="25" y="221"/>
                    </a:lnTo>
                    <a:lnTo>
                      <a:pt x="25" y="221"/>
                    </a:lnTo>
                    <a:lnTo>
                      <a:pt x="25" y="224"/>
                    </a:lnTo>
                    <a:lnTo>
                      <a:pt x="25" y="224"/>
                    </a:lnTo>
                    <a:lnTo>
                      <a:pt x="25" y="224"/>
                    </a:lnTo>
                    <a:lnTo>
                      <a:pt x="23" y="224"/>
                    </a:lnTo>
                    <a:lnTo>
                      <a:pt x="21" y="221"/>
                    </a:lnTo>
                    <a:lnTo>
                      <a:pt x="18" y="224"/>
                    </a:lnTo>
                    <a:lnTo>
                      <a:pt x="21" y="224"/>
                    </a:lnTo>
                    <a:lnTo>
                      <a:pt x="21" y="224"/>
                    </a:lnTo>
                    <a:lnTo>
                      <a:pt x="23" y="224"/>
                    </a:lnTo>
                    <a:lnTo>
                      <a:pt x="23" y="224"/>
                    </a:lnTo>
                    <a:lnTo>
                      <a:pt x="25" y="226"/>
                    </a:lnTo>
                    <a:lnTo>
                      <a:pt x="25" y="226"/>
                    </a:lnTo>
                    <a:lnTo>
                      <a:pt x="25" y="228"/>
                    </a:lnTo>
                    <a:lnTo>
                      <a:pt x="25" y="228"/>
                    </a:lnTo>
                    <a:lnTo>
                      <a:pt x="28" y="231"/>
                    </a:lnTo>
                    <a:lnTo>
                      <a:pt x="33" y="231"/>
                    </a:lnTo>
                    <a:lnTo>
                      <a:pt x="33" y="231"/>
                    </a:lnTo>
                    <a:lnTo>
                      <a:pt x="33" y="233"/>
                    </a:lnTo>
                    <a:lnTo>
                      <a:pt x="30" y="233"/>
                    </a:lnTo>
                    <a:lnTo>
                      <a:pt x="30" y="231"/>
                    </a:lnTo>
                    <a:lnTo>
                      <a:pt x="28" y="231"/>
                    </a:lnTo>
                    <a:lnTo>
                      <a:pt x="28" y="233"/>
                    </a:lnTo>
                    <a:lnTo>
                      <a:pt x="28" y="233"/>
                    </a:lnTo>
                    <a:lnTo>
                      <a:pt x="30" y="233"/>
                    </a:lnTo>
                    <a:lnTo>
                      <a:pt x="30" y="233"/>
                    </a:lnTo>
                    <a:lnTo>
                      <a:pt x="30" y="233"/>
                    </a:lnTo>
                    <a:lnTo>
                      <a:pt x="30" y="235"/>
                    </a:lnTo>
                    <a:lnTo>
                      <a:pt x="28" y="235"/>
                    </a:lnTo>
                    <a:lnTo>
                      <a:pt x="25" y="235"/>
                    </a:lnTo>
                    <a:lnTo>
                      <a:pt x="23" y="235"/>
                    </a:lnTo>
                    <a:lnTo>
                      <a:pt x="23" y="235"/>
                    </a:lnTo>
                    <a:lnTo>
                      <a:pt x="23" y="238"/>
                    </a:lnTo>
                    <a:lnTo>
                      <a:pt x="21" y="240"/>
                    </a:lnTo>
                    <a:lnTo>
                      <a:pt x="23" y="240"/>
                    </a:lnTo>
                    <a:lnTo>
                      <a:pt x="23" y="240"/>
                    </a:lnTo>
                    <a:lnTo>
                      <a:pt x="23" y="238"/>
                    </a:lnTo>
                    <a:lnTo>
                      <a:pt x="25" y="240"/>
                    </a:lnTo>
                    <a:lnTo>
                      <a:pt x="28" y="240"/>
                    </a:lnTo>
                    <a:lnTo>
                      <a:pt x="30" y="240"/>
                    </a:lnTo>
                    <a:lnTo>
                      <a:pt x="30" y="240"/>
                    </a:lnTo>
                    <a:lnTo>
                      <a:pt x="30" y="240"/>
                    </a:lnTo>
                    <a:lnTo>
                      <a:pt x="33" y="240"/>
                    </a:lnTo>
                    <a:lnTo>
                      <a:pt x="33" y="242"/>
                    </a:lnTo>
                    <a:lnTo>
                      <a:pt x="33" y="242"/>
                    </a:lnTo>
                    <a:lnTo>
                      <a:pt x="35" y="242"/>
                    </a:lnTo>
                    <a:lnTo>
                      <a:pt x="37" y="242"/>
                    </a:lnTo>
                    <a:lnTo>
                      <a:pt x="37" y="242"/>
                    </a:lnTo>
                    <a:lnTo>
                      <a:pt x="40" y="242"/>
                    </a:lnTo>
                    <a:lnTo>
                      <a:pt x="40" y="242"/>
                    </a:lnTo>
                    <a:lnTo>
                      <a:pt x="40" y="240"/>
                    </a:lnTo>
                    <a:lnTo>
                      <a:pt x="40" y="240"/>
                    </a:lnTo>
                    <a:lnTo>
                      <a:pt x="40" y="238"/>
                    </a:lnTo>
                    <a:lnTo>
                      <a:pt x="40" y="238"/>
                    </a:lnTo>
                    <a:lnTo>
                      <a:pt x="42" y="238"/>
                    </a:lnTo>
                    <a:lnTo>
                      <a:pt x="42" y="238"/>
                    </a:lnTo>
                    <a:lnTo>
                      <a:pt x="42" y="238"/>
                    </a:lnTo>
                    <a:lnTo>
                      <a:pt x="42" y="238"/>
                    </a:lnTo>
                    <a:lnTo>
                      <a:pt x="42" y="238"/>
                    </a:lnTo>
                    <a:lnTo>
                      <a:pt x="44" y="238"/>
                    </a:lnTo>
                    <a:lnTo>
                      <a:pt x="44" y="238"/>
                    </a:lnTo>
                    <a:lnTo>
                      <a:pt x="44" y="238"/>
                    </a:lnTo>
                    <a:lnTo>
                      <a:pt x="42" y="240"/>
                    </a:lnTo>
                    <a:lnTo>
                      <a:pt x="42" y="240"/>
                    </a:lnTo>
                    <a:lnTo>
                      <a:pt x="42" y="240"/>
                    </a:lnTo>
                    <a:lnTo>
                      <a:pt x="44" y="240"/>
                    </a:lnTo>
                    <a:lnTo>
                      <a:pt x="44" y="240"/>
                    </a:lnTo>
                    <a:lnTo>
                      <a:pt x="44" y="240"/>
                    </a:lnTo>
                    <a:lnTo>
                      <a:pt x="47" y="238"/>
                    </a:lnTo>
                    <a:lnTo>
                      <a:pt x="47" y="238"/>
                    </a:lnTo>
                    <a:lnTo>
                      <a:pt x="49" y="238"/>
                    </a:lnTo>
                    <a:lnTo>
                      <a:pt x="49" y="240"/>
                    </a:lnTo>
                    <a:lnTo>
                      <a:pt x="47" y="240"/>
                    </a:lnTo>
                    <a:lnTo>
                      <a:pt x="47" y="240"/>
                    </a:lnTo>
                    <a:lnTo>
                      <a:pt x="49" y="240"/>
                    </a:lnTo>
                    <a:lnTo>
                      <a:pt x="49" y="242"/>
                    </a:lnTo>
                    <a:lnTo>
                      <a:pt x="49" y="242"/>
                    </a:lnTo>
                    <a:lnTo>
                      <a:pt x="44" y="245"/>
                    </a:lnTo>
                    <a:lnTo>
                      <a:pt x="44" y="245"/>
                    </a:lnTo>
                    <a:lnTo>
                      <a:pt x="42" y="245"/>
                    </a:lnTo>
                    <a:lnTo>
                      <a:pt x="42" y="245"/>
                    </a:lnTo>
                    <a:lnTo>
                      <a:pt x="42" y="245"/>
                    </a:lnTo>
                    <a:lnTo>
                      <a:pt x="42" y="247"/>
                    </a:lnTo>
                    <a:lnTo>
                      <a:pt x="42" y="247"/>
                    </a:lnTo>
                    <a:lnTo>
                      <a:pt x="42" y="249"/>
                    </a:lnTo>
                    <a:lnTo>
                      <a:pt x="42" y="249"/>
                    </a:lnTo>
                    <a:lnTo>
                      <a:pt x="42" y="249"/>
                    </a:lnTo>
                    <a:lnTo>
                      <a:pt x="44" y="249"/>
                    </a:lnTo>
                    <a:lnTo>
                      <a:pt x="47" y="252"/>
                    </a:lnTo>
                    <a:lnTo>
                      <a:pt x="47" y="252"/>
                    </a:lnTo>
                    <a:lnTo>
                      <a:pt x="49" y="252"/>
                    </a:lnTo>
                    <a:lnTo>
                      <a:pt x="51" y="252"/>
                    </a:lnTo>
                    <a:lnTo>
                      <a:pt x="54" y="249"/>
                    </a:lnTo>
                    <a:lnTo>
                      <a:pt x="54" y="247"/>
                    </a:lnTo>
                    <a:lnTo>
                      <a:pt x="56" y="245"/>
                    </a:lnTo>
                    <a:lnTo>
                      <a:pt x="56" y="242"/>
                    </a:lnTo>
                    <a:lnTo>
                      <a:pt x="56" y="242"/>
                    </a:lnTo>
                    <a:lnTo>
                      <a:pt x="59" y="242"/>
                    </a:lnTo>
                    <a:lnTo>
                      <a:pt x="59" y="242"/>
                    </a:lnTo>
                    <a:lnTo>
                      <a:pt x="59" y="242"/>
                    </a:lnTo>
                    <a:lnTo>
                      <a:pt x="59" y="242"/>
                    </a:lnTo>
                    <a:lnTo>
                      <a:pt x="59" y="242"/>
                    </a:lnTo>
                    <a:lnTo>
                      <a:pt x="59" y="245"/>
                    </a:lnTo>
                    <a:lnTo>
                      <a:pt x="59" y="247"/>
                    </a:lnTo>
                    <a:lnTo>
                      <a:pt x="59" y="249"/>
                    </a:lnTo>
                    <a:lnTo>
                      <a:pt x="61" y="249"/>
                    </a:lnTo>
                    <a:lnTo>
                      <a:pt x="61" y="247"/>
                    </a:lnTo>
                    <a:lnTo>
                      <a:pt x="61" y="245"/>
                    </a:lnTo>
                    <a:lnTo>
                      <a:pt x="61" y="242"/>
                    </a:lnTo>
                    <a:lnTo>
                      <a:pt x="61" y="242"/>
                    </a:lnTo>
                    <a:lnTo>
                      <a:pt x="63" y="242"/>
                    </a:lnTo>
                    <a:lnTo>
                      <a:pt x="66" y="242"/>
                    </a:lnTo>
                    <a:lnTo>
                      <a:pt x="63" y="245"/>
                    </a:lnTo>
                    <a:lnTo>
                      <a:pt x="63" y="245"/>
                    </a:lnTo>
                    <a:lnTo>
                      <a:pt x="66" y="247"/>
                    </a:lnTo>
                    <a:lnTo>
                      <a:pt x="66" y="247"/>
                    </a:lnTo>
                    <a:lnTo>
                      <a:pt x="66" y="249"/>
                    </a:lnTo>
                    <a:lnTo>
                      <a:pt x="63" y="249"/>
                    </a:lnTo>
                    <a:lnTo>
                      <a:pt x="63" y="249"/>
                    </a:lnTo>
                    <a:lnTo>
                      <a:pt x="63" y="249"/>
                    </a:lnTo>
                    <a:lnTo>
                      <a:pt x="63" y="249"/>
                    </a:lnTo>
                    <a:lnTo>
                      <a:pt x="63" y="249"/>
                    </a:lnTo>
                    <a:lnTo>
                      <a:pt x="61" y="249"/>
                    </a:lnTo>
                    <a:lnTo>
                      <a:pt x="61" y="257"/>
                    </a:lnTo>
                    <a:lnTo>
                      <a:pt x="61" y="257"/>
                    </a:lnTo>
                    <a:lnTo>
                      <a:pt x="61" y="259"/>
                    </a:lnTo>
                    <a:lnTo>
                      <a:pt x="61" y="259"/>
                    </a:lnTo>
                    <a:lnTo>
                      <a:pt x="63" y="259"/>
                    </a:lnTo>
                    <a:lnTo>
                      <a:pt x="63" y="259"/>
                    </a:lnTo>
                    <a:lnTo>
                      <a:pt x="63" y="257"/>
                    </a:lnTo>
                    <a:lnTo>
                      <a:pt x="63" y="254"/>
                    </a:lnTo>
                    <a:lnTo>
                      <a:pt x="66" y="254"/>
                    </a:lnTo>
                    <a:lnTo>
                      <a:pt x="66" y="254"/>
                    </a:lnTo>
                    <a:lnTo>
                      <a:pt x="66" y="257"/>
                    </a:lnTo>
                    <a:lnTo>
                      <a:pt x="66" y="259"/>
                    </a:lnTo>
                    <a:lnTo>
                      <a:pt x="66" y="259"/>
                    </a:lnTo>
                    <a:lnTo>
                      <a:pt x="68" y="261"/>
                    </a:lnTo>
                    <a:lnTo>
                      <a:pt x="68" y="261"/>
                    </a:lnTo>
                    <a:lnTo>
                      <a:pt x="73" y="261"/>
                    </a:lnTo>
                    <a:lnTo>
                      <a:pt x="73" y="261"/>
                    </a:lnTo>
                    <a:lnTo>
                      <a:pt x="73" y="259"/>
                    </a:lnTo>
                    <a:lnTo>
                      <a:pt x="75" y="259"/>
                    </a:lnTo>
                    <a:lnTo>
                      <a:pt x="99" y="257"/>
                    </a:lnTo>
                    <a:lnTo>
                      <a:pt x="101" y="257"/>
                    </a:lnTo>
                    <a:lnTo>
                      <a:pt x="103" y="257"/>
                    </a:lnTo>
                    <a:lnTo>
                      <a:pt x="108" y="257"/>
                    </a:lnTo>
                    <a:lnTo>
                      <a:pt x="108" y="257"/>
                    </a:lnTo>
                    <a:lnTo>
                      <a:pt x="108" y="257"/>
                    </a:lnTo>
                    <a:lnTo>
                      <a:pt x="106" y="259"/>
                    </a:lnTo>
                    <a:lnTo>
                      <a:pt x="106" y="259"/>
                    </a:lnTo>
                    <a:lnTo>
                      <a:pt x="106" y="259"/>
                    </a:lnTo>
                    <a:lnTo>
                      <a:pt x="108" y="259"/>
                    </a:lnTo>
                    <a:lnTo>
                      <a:pt x="108" y="259"/>
                    </a:lnTo>
                    <a:lnTo>
                      <a:pt x="106" y="261"/>
                    </a:lnTo>
                    <a:lnTo>
                      <a:pt x="103" y="261"/>
                    </a:lnTo>
                    <a:lnTo>
                      <a:pt x="101" y="261"/>
                    </a:lnTo>
                    <a:lnTo>
                      <a:pt x="103" y="261"/>
                    </a:lnTo>
                    <a:lnTo>
                      <a:pt x="110" y="264"/>
                    </a:lnTo>
                    <a:lnTo>
                      <a:pt x="110" y="261"/>
                    </a:lnTo>
                    <a:lnTo>
                      <a:pt x="110" y="261"/>
                    </a:lnTo>
                    <a:lnTo>
                      <a:pt x="113" y="261"/>
                    </a:lnTo>
                    <a:lnTo>
                      <a:pt x="110" y="264"/>
                    </a:lnTo>
                    <a:lnTo>
                      <a:pt x="108" y="264"/>
                    </a:lnTo>
                    <a:lnTo>
                      <a:pt x="108" y="266"/>
                    </a:lnTo>
                    <a:lnTo>
                      <a:pt x="108" y="268"/>
                    </a:lnTo>
                    <a:lnTo>
                      <a:pt x="108" y="268"/>
                    </a:lnTo>
                    <a:lnTo>
                      <a:pt x="108" y="271"/>
                    </a:lnTo>
                    <a:lnTo>
                      <a:pt x="108" y="271"/>
                    </a:lnTo>
                    <a:lnTo>
                      <a:pt x="108" y="271"/>
                    </a:lnTo>
                    <a:lnTo>
                      <a:pt x="106" y="268"/>
                    </a:lnTo>
                    <a:lnTo>
                      <a:pt x="106" y="268"/>
                    </a:lnTo>
                    <a:lnTo>
                      <a:pt x="106" y="266"/>
                    </a:lnTo>
                    <a:lnTo>
                      <a:pt x="106" y="266"/>
                    </a:lnTo>
                    <a:lnTo>
                      <a:pt x="103" y="268"/>
                    </a:lnTo>
                    <a:lnTo>
                      <a:pt x="103" y="268"/>
                    </a:lnTo>
                    <a:lnTo>
                      <a:pt x="103" y="268"/>
                    </a:lnTo>
                    <a:lnTo>
                      <a:pt x="101" y="268"/>
                    </a:lnTo>
                    <a:lnTo>
                      <a:pt x="101" y="268"/>
                    </a:lnTo>
                    <a:lnTo>
                      <a:pt x="103" y="271"/>
                    </a:lnTo>
                    <a:lnTo>
                      <a:pt x="103" y="271"/>
                    </a:lnTo>
                    <a:lnTo>
                      <a:pt x="103" y="271"/>
                    </a:lnTo>
                    <a:lnTo>
                      <a:pt x="101" y="268"/>
                    </a:lnTo>
                    <a:lnTo>
                      <a:pt x="99" y="268"/>
                    </a:lnTo>
                    <a:lnTo>
                      <a:pt x="96" y="268"/>
                    </a:lnTo>
                    <a:lnTo>
                      <a:pt x="96" y="271"/>
                    </a:lnTo>
                    <a:lnTo>
                      <a:pt x="99" y="271"/>
                    </a:lnTo>
                    <a:lnTo>
                      <a:pt x="99" y="271"/>
                    </a:lnTo>
                    <a:lnTo>
                      <a:pt x="99" y="273"/>
                    </a:lnTo>
                    <a:lnTo>
                      <a:pt x="99" y="273"/>
                    </a:lnTo>
                    <a:lnTo>
                      <a:pt x="96" y="273"/>
                    </a:lnTo>
                    <a:lnTo>
                      <a:pt x="94" y="273"/>
                    </a:lnTo>
                    <a:lnTo>
                      <a:pt x="94" y="275"/>
                    </a:lnTo>
                    <a:lnTo>
                      <a:pt x="92" y="273"/>
                    </a:lnTo>
                    <a:lnTo>
                      <a:pt x="89" y="271"/>
                    </a:lnTo>
                    <a:lnTo>
                      <a:pt x="87" y="271"/>
                    </a:lnTo>
                    <a:lnTo>
                      <a:pt x="84" y="271"/>
                    </a:lnTo>
                    <a:lnTo>
                      <a:pt x="84" y="273"/>
                    </a:lnTo>
                    <a:lnTo>
                      <a:pt x="82" y="275"/>
                    </a:lnTo>
                    <a:lnTo>
                      <a:pt x="82" y="278"/>
                    </a:lnTo>
                    <a:lnTo>
                      <a:pt x="80" y="278"/>
                    </a:lnTo>
                    <a:lnTo>
                      <a:pt x="77" y="285"/>
                    </a:lnTo>
                    <a:lnTo>
                      <a:pt x="77" y="287"/>
                    </a:lnTo>
                    <a:lnTo>
                      <a:pt x="77" y="287"/>
                    </a:lnTo>
                    <a:lnTo>
                      <a:pt x="75" y="287"/>
                    </a:lnTo>
                    <a:lnTo>
                      <a:pt x="73" y="292"/>
                    </a:lnTo>
                    <a:lnTo>
                      <a:pt x="73" y="292"/>
                    </a:lnTo>
                    <a:lnTo>
                      <a:pt x="70" y="294"/>
                    </a:lnTo>
                    <a:lnTo>
                      <a:pt x="73" y="294"/>
                    </a:lnTo>
                    <a:lnTo>
                      <a:pt x="77" y="294"/>
                    </a:lnTo>
                    <a:lnTo>
                      <a:pt x="80" y="294"/>
                    </a:lnTo>
                    <a:lnTo>
                      <a:pt x="80" y="297"/>
                    </a:lnTo>
                    <a:lnTo>
                      <a:pt x="75" y="301"/>
                    </a:lnTo>
                    <a:lnTo>
                      <a:pt x="75" y="304"/>
                    </a:lnTo>
                    <a:lnTo>
                      <a:pt x="75" y="304"/>
                    </a:lnTo>
                    <a:lnTo>
                      <a:pt x="73" y="304"/>
                    </a:lnTo>
                    <a:lnTo>
                      <a:pt x="73" y="306"/>
                    </a:lnTo>
                    <a:lnTo>
                      <a:pt x="73" y="306"/>
                    </a:lnTo>
                    <a:lnTo>
                      <a:pt x="73" y="308"/>
                    </a:lnTo>
                    <a:lnTo>
                      <a:pt x="73" y="308"/>
                    </a:lnTo>
                    <a:lnTo>
                      <a:pt x="73" y="311"/>
                    </a:lnTo>
                    <a:lnTo>
                      <a:pt x="70" y="311"/>
                    </a:lnTo>
                    <a:lnTo>
                      <a:pt x="70" y="311"/>
                    </a:lnTo>
                    <a:lnTo>
                      <a:pt x="70" y="311"/>
                    </a:lnTo>
                    <a:lnTo>
                      <a:pt x="70" y="313"/>
                    </a:lnTo>
                    <a:lnTo>
                      <a:pt x="70" y="313"/>
                    </a:lnTo>
                    <a:lnTo>
                      <a:pt x="70" y="313"/>
                    </a:lnTo>
                    <a:lnTo>
                      <a:pt x="70" y="313"/>
                    </a:lnTo>
                    <a:lnTo>
                      <a:pt x="70" y="315"/>
                    </a:lnTo>
                    <a:lnTo>
                      <a:pt x="70" y="315"/>
                    </a:lnTo>
                    <a:lnTo>
                      <a:pt x="68" y="318"/>
                    </a:lnTo>
                    <a:lnTo>
                      <a:pt x="68" y="318"/>
                    </a:lnTo>
                    <a:lnTo>
                      <a:pt x="66" y="318"/>
                    </a:lnTo>
                    <a:lnTo>
                      <a:pt x="66" y="318"/>
                    </a:lnTo>
                    <a:lnTo>
                      <a:pt x="63" y="318"/>
                    </a:lnTo>
                    <a:lnTo>
                      <a:pt x="63" y="318"/>
                    </a:lnTo>
                    <a:lnTo>
                      <a:pt x="61" y="318"/>
                    </a:lnTo>
                    <a:lnTo>
                      <a:pt x="61" y="318"/>
                    </a:lnTo>
                    <a:lnTo>
                      <a:pt x="61" y="320"/>
                    </a:lnTo>
                    <a:lnTo>
                      <a:pt x="61" y="320"/>
                    </a:lnTo>
                    <a:lnTo>
                      <a:pt x="61" y="320"/>
                    </a:lnTo>
                    <a:lnTo>
                      <a:pt x="47" y="334"/>
                    </a:lnTo>
                    <a:lnTo>
                      <a:pt x="42" y="334"/>
                    </a:lnTo>
                    <a:lnTo>
                      <a:pt x="40" y="337"/>
                    </a:lnTo>
                    <a:lnTo>
                      <a:pt x="40" y="339"/>
                    </a:lnTo>
                    <a:lnTo>
                      <a:pt x="40" y="339"/>
                    </a:lnTo>
                    <a:lnTo>
                      <a:pt x="51" y="337"/>
                    </a:lnTo>
                    <a:lnTo>
                      <a:pt x="54" y="337"/>
                    </a:lnTo>
                    <a:lnTo>
                      <a:pt x="54" y="337"/>
                    </a:lnTo>
                    <a:lnTo>
                      <a:pt x="54" y="337"/>
                    </a:lnTo>
                    <a:lnTo>
                      <a:pt x="54" y="337"/>
                    </a:lnTo>
                    <a:lnTo>
                      <a:pt x="54" y="334"/>
                    </a:lnTo>
                    <a:lnTo>
                      <a:pt x="56" y="334"/>
                    </a:lnTo>
                    <a:lnTo>
                      <a:pt x="56" y="332"/>
                    </a:lnTo>
                    <a:lnTo>
                      <a:pt x="61" y="332"/>
                    </a:lnTo>
                    <a:lnTo>
                      <a:pt x="66" y="330"/>
                    </a:lnTo>
                    <a:lnTo>
                      <a:pt x="66" y="330"/>
                    </a:lnTo>
                    <a:lnTo>
                      <a:pt x="66" y="327"/>
                    </a:lnTo>
                    <a:lnTo>
                      <a:pt x="63" y="327"/>
                    </a:lnTo>
                    <a:lnTo>
                      <a:pt x="63" y="327"/>
                    </a:lnTo>
                    <a:lnTo>
                      <a:pt x="63" y="327"/>
                    </a:lnTo>
                    <a:lnTo>
                      <a:pt x="66" y="327"/>
                    </a:lnTo>
                    <a:lnTo>
                      <a:pt x="68" y="327"/>
                    </a:lnTo>
                    <a:lnTo>
                      <a:pt x="66" y="330"/>
                    </a:lnTo>
                    <a:lnTo>
                      <a:pt x="68" y="330"/>
                    </a:lnTo>
                    <a:lnTo>
                      <a:pt x="70" y="330"/>
                    </a:lnTo>
                    <a:lnTo>
                      <a:pt x="70" y="332"/>
                    </a:lnTo>
                    <a:lnTo>
                      <a:pt x="70" y="332"/>
                    </a:lnTo>
                    <a:lnTo>
                      <a:pt x="73" y="332"/>
                    </a:lnTo>
                    <a:lnTo>
                      <a:pt x="73" y="332"/>
                    </a:lnTo>
                    <a:lnTo>
                      <a:pt x="77" y="332"/>
                    </a:lnTo>
                    <a:lnTo>
                      <a:pt x="82" y="332"/>
                    </a:lnTo>
                    <a:lnTo>
                      <a:pt x="84" y="330"/>
                    </a:lnTo>
                    <a:lnTo>
                      <a:pt x="84" y="332"/>
                    </a:lnTo>
                    <a:lnTo>
                      <a:pt x="84" y="332"/>
                    </a:lnTo>
                    <a:lnTo>
                      <a:pt x="82" y="334"/>
                    </a:lnTo>
                    <a:lnTo>
                      <a:pt x="82" y="334"/>
                    </a:lnTo>
                    <a:lnTo>
                      <a:pt x="82" y="334"/>
                    </a:lnTo>
                    <a:lnTo>
                      <a:pt x="82" y="334"/>
                    </a:lnTo>
                    <a:lnTo>
                      <a:pt x="84" y="334"/>
                    </a:lnTo>
                    <a:lnTo>
                      <a:pt x="84" y="334"/>
                    </a:lnTo>
                    <a:lnTo>
                      <a:pt x="84" y="334"/>
                    </a:lnTo>
                    <a:lnTo>
                      <a:pt x="87" y="334"/>
                    </a:lnTo>
                    <a:lnTo>
                      <a:pt x="87" y="332"/>
                    </a:lnTo>
                    <a:lnTo>
                      <a:pt x="94" y="332"/>
                    </a:lnTo>
                    <a:lnTo>
                      <a:pt x="94" y="332"/>
                    </a:lnTo>
                    <a:lnTo>
                      <a:pt x="101" y="323"/>
                    </a:lnTo>
                    <a:lnTo>
                      <a:pt x="103" y="318"/>
                    </a:lnTo>
                    <a:lnTo>
                      <a:pt x="103" y="318"/>
                    </a:lnTo>
                    <a:lnTo>
                      <a:pt x="103" y="315"/>
                    </a:lnTo>
                    <a:lnTo>
                      <a:pt x="106" y="313"/>
                    </a:lnTo>
                    <a:lnTo>
                      <a:pt x="108" y="313"/>
                    </a:lnTo>
                    <a:lnTo>
                      <a:pt x="108" y="315"/>
                    </a:lnTo>
                    <a:lnTo>
                      <a:pt x="108" y="315"/>
                    </a:lnTo>
                    <a:lnTo>
                      <a:pt x="106" y="318"/>
                    </a:lnTo>
                    <a:lnTo>
                      <a:pt x="108" y="318"/>
                    </a:lnTo>
                    <a:lnTo>
                      <a:pt x="108" y="318"/>
                    </a:lnTo>
                    <a:lnTo>
                      <a:pt x="108" y="320"/>
                    </a:lnTo>
                    <a:lnTo>
                      <a:pt x="108" y="320"/>
                    </a:lnTo>
                    <a:lnTo>
                      <a:pt x="108" y="323"/>
                    </a:lnTo>
                    <a:lnTo>
                      <a:pt x="108" y="323"/>
                    </a:lnTo>
                    <a:lnTo>
                      <a:pt x="108" y="323"/>
                    </a:lnTo>
                    <a:lnTo>
                      <a:pt x="108" y="325"/>
                    </a:lnTo>
                    <a:lnTo>
                      <a:pt x="110" y="325"/>
                    </a:lnTo>
                    <a:lnTo>
                      <a:pt x="113" y="323"/>
                    </a:lnTo>
                    <a:lnTo>
                      <a:pt x="115" y="325"/>
                    </a:lnTo>
                    <a:lnTo>
                      <a:pt x="120" y="325"/>
                    </a:lnTo>
                    <a:lnTo>
                      <a:pt x="122" y="325"/>
                    </a:lnTo>
                    <a:lnTo>
                      <a:pt x="120" y="327"/>
                    </a:lnTo>
                    <a:lnTo>
                      <a:pt x="108" y="327"/>
                    </a:lnTo>
                    <a:lnTo>
                      <a:pt x="106" y="330"/>
                    </a:lnTo>
                    <a:lnTo>
                      <a:pt x="106" y="330"/>
                    </a:lnTo>
                    <a:lnTo>
                      <a:pt x="106" y="330"/>
                    </a:lnTo>
                    <a:lnTo>
                      <a:pt x="106" y="332"/>
                    </a:lnTo>
                    <a:lnTo>
                      <a:pt x="103" y="332"/>
                    </a:lnTo>
                    <a:lnTo>
                      <a:pt x="103" y="332"/>
                    </a:lnTo>
                    <a:lnTo>
                      <a:pt x="101" y="332"/>
                    </a:lnTo>
                    <a:lnTo>
                      <a:pt x="101" y="330"/>
                    </a:lnTo>
                    <a:lnTo>
                      <a:pt x="99" y="332"/>
                    </a:lnTo>
                    <a:lnTo>
                      <a:pt x="92" y="334"/>
                    </a:lnTo>
                    <a:lnTo>
                      <a:pt x="89" y="334"/>
                    </a:lnTo>
                    <a:lnTo>
                      <a:pt x="89" y="337"/>
                    </a:lnTo>
                    <a:lnTo>
                      <a:pt x="89" y="337"/>
                    </a:lnTo>
                    <a:lnTo>
                      <a:pt x="84" y="337"/>
                    </a:lnTo>
                    <a:lnTo>
                      <a:pt x="82" y="337"/>
                    </a:lnTo>
                    <a:lnTo>
                      <a:pt x="80" y="337"/>
                    </a:lnTo>
                    <a:lnTo>
                      <a:pt x="80" y="337"/>
                    </a:lnTo>
                    <a:lnTo>
                      <a:pt x="73" y="337"/>
                    </a:lnTo>
                    <a:lnTo>
                      <a:pt x="73" y="337"/>
                    </a:lnTo>
                    <a:lnTo>
                      <a:pt x="73" y="337"/>
                    </a:lnTo>
                    <a:lnTo>
                      <a:pt x="73" y="339"/>
                    </a:lnTo>
                    <a:lnTo>
                      <a:pt x="73" y="339"/>
                    </a:lnTo>
                    <a:lnTo>
                      <a:pt x="70" y="339"/>
                    </a:lnTo>
                    <a:lnTo>
                      <a:pt x="70" y="337"/>
                    </a:lnTo>
                    <a:lnTo>
                      <a:pt x="70" y="337"/>
                    </a:lnTo>
                    <a:lnTo>
                      <a:pt x="63" y="337"/>
                    </a:lnTo>
                    <a:lnTo>
                      <a:pt x="61" y="337"/>
                    </a:lnTo>
                    <a:lnTo>
                      <a:pt x="61" y="337"/>
                    </a:lnTo>
                    <a:lnTo>
                      <a:pt x="59" y="337"/>
                    </a:lnTo>
                    <a:lnTo>
                      <a:pt x="59" y="339"/>
                    </a:lnTo>
                    <a:lnTo>
                      <a:pt x="59" y="337"/>
                    </a:lnTo>
                    <a:lnTo>
                      <a:pt x="56" y="339"/>
                    </a:lnTo>
                    <a:lnTo>
                      <a:pt x="56" y="341"/>
                    </a:lnTo>
                    <a:lnTo>
                      <a:pt x="56" y="341"/>
                    </a:lnTo>
                    <a:lnTo>
                      <a:pt x="56" y="341"/>
                    </a:lnTo>
                    <a:lnTo>
                      <a:pt x="56" y="344"/>
                    </a:lnTo>
                    <a:lnTo>
                      <a:pt x="56" y="344"/>
                    </a:lnTo>
                    <a:lnTo>
                      <a:pt x="56" y="344"/>
                    </a:lnTo>
                    <a:lnTo>
                      <a:pt x="56" y="346"/>
                    </a:lnTo>
                    <a:lnTo>
                      <a:pt x="56" y="346"/>
                    </a:lnTo>
                    <a:lnTo>
                      <a:pt x="56" y="346"/>
                    </a:lnTo>
                    <a:lnTo>
                      <a:pt x="59" y="346"/>
                    </a:lnTo>
                    <a:lnTo>
                      <a:pt x="59" y="346"/>
                    </a:lnTo>
                    <a:lnTo>
                      <a:pt x="59" y="348"/>
                    </a:lnTo>
                    <a:lnTo>
                      <a:pt x="59" y="348"/>
                    </a:lnTo>
                    <a:lnTo>
                      <a:pt x="59" y="348"/>
                    </a:lnTo>
                    <a:lnTo>
                      <a:pt x="56" y="348"/>
                    </a:lnTo>
                    <a:lnTo>
                      <a:pt x="54" y="348"/>
                    </a:lnTo>
                    <a:lnTo>
                      <a:pt x="54" y="348"/>
                    </a:lnTo>
                    <a:lnTo>
                      <a:pt x="51" y="351"/>
                    </a:lnTo>
                    <a:lnTo>
                      <a:pt x="51" y="351"/>
                    </a:lnTo>
                    <a:lnTo>
                      <a:pt x="44" y="353"/>
                    </a:lnTo>
                    <a:lnTo>
                      <a:pt x="40" y="356"/>
                    </a:lnTo>
                    <a:lnTo>
                      <a:pt x="40" y="356"/>
                    </a:lnTo>
                    <a:lnTo>
                      <a:pt x="37" y="356"/>
                    </a:lnTo>
                    <a:lnTo>
                      <a:pt x="40" y="358"/>
                    </a:lnTo>
                    <a:lnTo>
                      <a:pt x="42" y="358"/>
                    </a:lnTo>
                    <a:lnTo>
                      <a:pt x="44" y="358"/>
                    </a:lnTo>
                    <a:lnTo>
                      <a:pt x="47" y="360"/>
                    </a:lnTo>
                    <a:lnTo>
                      <a:pt x="44" y="365"/>
                    </a:lnTo>
                    <a:lnTo>
                      <a:pt x="47" y="367"/>
                    </a:lnTo>
                    <a:lnTo>
                      <a:pt x="44" y="367"/>
                    </a:lnTo>
                    <a:lnTo>
                      <a:pt x="44" y="367"/>
                    </a:lnTo>
                    <a:lnTo>
                      <a:pt x="44" y="370"/>
                    </a:lnTo>
                    <a:lnTo>
                      <a:pt x="44" y="370"/>
                    </a:lnTo>
                    <a:lnTo>
                      <a:pt x="44" y="370"/>
                    </a:lnTo>
                    <a:lnTo>
                      <a:pt x="47" y="370"/>
                    </a:lnTo>
                    <a:lnTo>
                      <a:pt x="44" y="370"/>
                    </a:lnTo>
                    <a:lnTo>
                      <a:pt x="44" y="370"/>
                    </a:lnTo>
                    <a:lnTo>
                      <a:pt x="42" y="370"/>
                    </a:lnTo>
                    <a:lnTo>
                      <a:pt x="42" y="370"/>
                    </a:lnTo>
                    <a:lnTo>
                      <a:pt x="42" y="370"/>
                    </a:lnTo>
                    <a:lnTo>
                      <a:pt x="42" y="372"/>
                    </a:lnTo>
                    <a:lnTo>
                      <a:pt x="42" y="372"/>
                    </a:lnTo>
                    <a:lnTo>
                      <a:pt x="44" y="372"/>
                    </a:lnTo>
                    <a:lnTo>
                      <a:pt x="44" y="372"/>
                    </a:lnTo>
                    <a:lnTo>
                      <a:pt x="47" y="372"/>
                    </a:lnTo>
                    <a:lnTo>
                      <a:pt x="49" y="372"/>
                    </a:lnTo>
                    <a:lnTo>
                      <a:pt x="49" y="372"/>
                    </a:lnTo>
                    <a:lnTo>
                      <a:pt x="51" y="374"/>
                    </a:lnTo>
                    <a:lnTo>
                      <a:pt x="51" y="374"/>
                    </a:lnTo>
                    <a:lnTo>
                      <a:pt x="47" y="374"/>
                    </a:lnTo>
                    <a:lnTo>
                      <a:pt x="47" y="374"/>
                    </a:lnTo>
                    <a:lnTo>
                      <a:pt x="47" y="374"/>
                    </a:lnTo>
                    <a:lnTo>
                      <a:pt x="47" y="374"/>
                    </a:lnTo>
                    <a:lnTo>
                      <a:pt x="47" y="374"/>
                    </a:lnTo>
                    <a:lnTo>
                      <a:pt x="44" y="374"/>
                    </a:lnTo>
                    <a:lnTo>
                      <a:pt x="44" y="377"/>
                    </a:lnTo>
                    <a:lnTo>
                      <a:pt x="42" y="377"/>
                    </a:lnTo>
                    <a:lnTo>
                      <a:pt x="40" y="377"/>
                    </a:lnTo>
                    <a:lnTo>
                      <a:pt x="37" y="377"/>
                    </a:lnTo>
                    <a:lnTo>
                      <a:pt x="35" y="374"/>
                    </a:lnTo>
                    <a:lnTo>
                      <a:pt x="35" y="374"/>
                    </a:lnTo>
                    <a:lnTo>
                      <a:pt x="33" y="374"/>
                    </a:lnTo>
                    <a:lnTo>
                      <a:pt x="33" y="372"/>
                    </a:lnTo>
                    <a:lnTo>
                      <a:pt x="33" y="372"/>
                    </a:lnTo>
                    <a:lnTo>
                      <a:pt x="33" y="370"/>
                    </a:lnTo>
                    <a:lnTo>
                      <a:pt x="33" y="367"/>
                    </a:lnTo>
                    <a:lnTo>
                      <a:pt x="33" y="367"/>
                    </a:lnTo>
                    <a:lnTo>
                      <a:pt x="30" y="367"/>
                    </a:lnTo>
                    <a:lnTo>
                      <a:pt x="33" y="370"/>
                    </a:lnTo>
                    <a:lnTo>
                      <a:pt x="30" y="372"/>
                    </a:lnTo>
                    <a:lnTo>
                      <a:pt x="28" y="374"/>
                    </a:lnTo>
                    <a:lnTo>
                      <a:pt x="28" y="374"/>
                    </a:lnTo>
                    <a:lnTo>
                      <a:pt x="23" y="377"/>
                    </a:lnTo>
                    <a:lnTo>
                      <a:pt x="23" y="374"/>
                    </a:lnTo>
                    <a:lnTo>
                      <a:pt x="23" y="372"/>
                    </a:lnTo>
                    <a:lnTo>
                      <a:pt x="21" y="370"/>
                    </a:lnTo>
                    <a:lnTo>
                      <a:pt x="14" y="372"/>
                    </a:lnTo>
                    <a:lnTo>
                      <a:pt x="14" y="372"/>
                    </a:lnTo>
                    <a:lnTo>
                      <a:pt x="11" y="374"/>
                    </a:lnTo>
                    <a:lnTo>
                      <a:pt x="11" y="377"/>
                    </a:lnTo>
                    <a:lnTo>
                      <a:pt x="11" y="377"/>
                    </a:lnTo>
                    <a:lnTo>
                      <a:pt x="9" y="377"/>
                    </a:lnTo>
                    <a:lnTo>
                      <a:pt x="9" y="377"/>
                    </a:lnTo>
                    <a:lnTo>
                      <a:pt x="7" y="379"/>
                    </a:lnTo>
                    <a:lnTo>
                      <a:pt x="9" y="379"/>
                    </a:lnTo>
                    <a:lnTo>
                      <a:pt x="7" y="381"/>
                    </a:lnTo>
                    <a:lnTo>
                      <a:pt x="7" y="381"/>
                    </a:lnTo>
                    <a:lnTo>
                      <a:pt x="9" y="381"/>
                    </a:lnTo>
                    <a:lnTo>
                      <a:pt x="7" y="384"/>
                    </a:lnTo>
                    <a:lnTo>
                      <a:pt x="7" y="384"/>
                    </a:lnTo>
                    <a:lnTo>
                      <a:pt x="7" y="384"/>
                    </a:lnTo>
                    <a:lnTo>
                      <a:pt x="4" y="381"/>
                    </a:lnTo>
                    <a:lnTo>
                      <a:pt x="4" y="379"/>
                    </a:lnTo>
                    <a:lnTo>
                      <a:pt x="4" y="381"/>
                    </a:lnTo>
                    <a:lnTo>
                      <a:pt x="2" y="381"/>
                    </a:lnTo>
                    <a:lnTo>
                      <a:pt x="2" y="381"/>
                    </a:lnTo>
                    <a:lnTo>
                      <a:pt x="2" y="384"/>
                    </a:lnTo>
                    <a:lnTo>
                      <a:pt x="2" y="384"/>
                    </a:lnTo>
                    <a:lnTo>
                      <a:pt x="2" y="386"/>
                    </a:lnTo>
                    <a:lnTo>
                      <a:pt x="0" y="386"/>
                    </a:lnTo>
                    <a:lnTo>
                      <a:pt x="2" y="389"/>
                    </a:lnTo>
                    <a:lnTo>
                      <a:pt x="2" y="391"/>
                    </a:lnTo>
                    <a:lnTo>
                      <a:pt x="2" y="391"/>
                    </a:lnTo>
                    <a:lnTo>
                      <a:pt x="4" y="391"/>
                    </a:lnTo>
                    <a:lnTo>
                      <a:pt x="4" y="391"/>
                    </a:lnTo>
                    <a:lnTo>
                      <a:pt x="7" y="391"/>
                    </a:lnTo>
                    <a:lnTo>
                      <a:pt x="9" y="391"/>
                    </a:lnTo>
                    <a:lnTo>
                      <a:pt x="9" y="391"/>
                    </a:lnTo>
                    <a:lnTo>
                      <a:pt x="9" y="389"/>
                    </a:lnTo>
                    <a:lnTo>
                      <a:pt x="9" y="389"/>
                    </a:lnTo>
                    <a:lnTo>
                      <a:pt x="9" y="389"/>
                    </a:lnTo>
                    <a:lnTo>
                      <a:pt x="14" y="391"/>
                    </a:lnTo>
                    <a:lnTo>
                      <a:pt x="14" y="391"/>
                    </a:lnTo>
                    <a:lnTo>
                      <a:pt x="14" y="389"/>
                    </a:lnTo>
                    <a:lnTo>
                      <a:pt x="14" y="389"/>
                    </a:lnTo>
                    <a:lnTo>
                      <a:pt x="14" y="389"/>
                    </a:lnTo>
                    <a:lnTo>
                      <a:pt x="11" y="389"/>
                    </a:lnTo>
                    <a:lnTo>
                      <a:pt x="11" y="389"/>
                    </a:lnTo>
                    <a:lnTo>
                      <a:pt x="14" y="389"/>
                    </a:lnTo>
                    <a:lnTo>
                      <a:pt x="16" y="389"/>
                    </a:lnTo>
                    <a:lnTo>
                      <a:pt x="16" y="389"/>
                    </a:lnTo>
                    <a:lnTo>
                      <a:pt x="18" y="389"/>
                    </a:lnTo>
                    <a:lnTo>
                      <a:pt x="18" y="389"/>
                    </a:lnTo>
                    <a:lnTo>
                      <a:pt x="18" y="389"/>
                    </a:lnTo>
                    <a:lnTo>
                      <a:pt x="18" y="389"/>
                    </a:lnTo>
                    <a:lnTo>
                      <a:pt x="21" y="391"/>
                    </a:lnTo>
                    <a:lnTo>
                      <a:pt x="21" y="391"/>
                    </a:lnTo>
                    <a:lnTo>
                      <a:pt x="23" y="389"/>
                    </a:lnTo>
                    <a:lnTo>
                      <a:pt x="33" y="389"/>
                    </a:lnTo>
                    <a:lnTo>
                      <a:pt x="35" y="389"/>
                    </a:lnTo>
                    <a:lnTo>
                      <a:pt x="35" y="389"/>
                    </a:lnTo>
                    <a:lnTo>
                      <a:pt x="35" y="389"/>
                    </a:lnTo>
                    <a:lnTo>
                      <a:pt x="37" y="389"/>
                    </a:lnTo>
                    <a:lnTo>
                      <a:pt x="37" y="391"/>
                    </a:lnTo>
                    <a:lnTo>
                      <a:pt x="37" y="391"/>
                    </a:lnTo>
                    <a:lnTo>
                      <a:pt x="37" y="389"/>
                    </a:lnTo>
                    <a:lnTo>
                      <a:pt x="37" y="386"/>
                    </a:lnTo>
                    <a:lnTo>
                      <a:pt x="51" y="386"/>
                    </a:lnTo>
                    <a:lnTo>
                      <a:pt x="49" y="389"/>
                    </a:lnTo>
                    <a:lnTo>
                      <a:pt x="49" y="389"/>
                    </a:lnTo>
                    <a:lnTo>
                      <a:pt x="49" y="389"/>
                    </a:lnTo>
                    <a:lnTo>
                      <a:pt x="49" y="389"/>
                    </a:lnTo>
                    <a:lnTo>
                      <a:pt x="44" y="389"/>
                    </a:lnTo>
                    <a:lnTo>
                      <a:pt x="42" y="389"/>
                    </a:lnTo>
                    <a:lnTo>
                      <a:pt x="40" y="389"/>
                    </a:lnTo>
                    <a:lnTo>
                      <a:pt x="40" y="396"/>
                    </a:lnTo>
                    <a:lnTo>
                      <a:pt x="40" y="396"/>
                    </a:lnTo>
                    <a:lnTo>
                      <a:pt x="37" y="396"/>
                    </a:lnTo>
                    <a:lnTo>
                      <a:pt x="37" y="396"/>
                    </a:lnTo>
                    <a:lnTo>
                      <a:pt x="37" y="396"/>
                    </a:lnTo>
                    <a:lnTo>
                      <a:pt x="37" y="393"/>
                    </a:lnTo>
                    <a:lnTo>
                      <a:pt x="35" y="393"/>
                    </a:lnTo>
                    <a:lnTo>
                      <a:pt x="35" y="396"/>
                    </a:lnTo>
                    <a:lnTo>
                      <a:pt x="33" y="398"/>
                    </a:lnTo>
                    <a:lnTo>
                      <a:pt x="25" y="400"/>
                    </a:lnTo>
                    <a:lnTo>
                      <a:pt x="21" y="403"/>
                    </a:lnTo>
                    <a:lnTo>
                      <a:pt x="18" y="403"/>
                    </a:lnTo>
                    <a:lnTo>
                      <a:pt x="16" y="403"/>
                    </a:lnTo>
                    <a:lnTo>
                      <a:pt x="16" y="405"/>
                    </a:lnTo>
                    <a:lnTo>
                      <a:pt x="16" y="405"/>
                    </a:lnTo>
                    <a:lnTo>
                      <a:pt x="16" y="407"/>
                    </a:lnTo>
                    <a:lnTo>
                      <a:pt x="14" y="407"/>
                    </a:lnTo>
                    <a:lnTo>
                      <a:pt x="11" y="407"/>
                    </a:lnTo>
                    <a:lnTo>
                      <a:pt x="11" y="410"/>
                    </a:lnTo>
                    <a:lnTo>
                      <a:pt x="14" y="410"/>
                    </a:lnTo>
                    <a:lnTo>
                      <a:pt x="14" y="410"/>
                    </a:lnTo>
                    <a:lnTo>
                      <a:pt x="16" y="410"/>
                    </a:lnTo>
                    <a:lnTo>
                      <a:pt x="16" y="412"/>
                    </a:lnTo>
                    <a:lnTo>
                      <a:pt x="16" y="412"/>
                    </a:lnTo>
                    <a:lnTo>
                      <a:pt x="16" y="414"/>
                    </a:lnTo>
                    <a:lnTo>
                      <a:pt x="16" y="414"/>
                    </a:lnTo>
                    <a:lnTo>
                      <a:pt x="14" y="414"/>
                    </a:lnTo>
                    <a:lnTo>
                      <a:pt x="9" y="417"/>
                    </a:lnTo>
                    <a:lnTo>
                      <a:pt x="7" y="417"/>
                    </a:lnTo>
                    <a:lnTo>
                      <a:pt x="7" y="417"/>
                    </a:lnTo>
                    <a:lnTo>
                      <a:pt x="7" y="417"/>
                    </a:lnTo>
                    <a:lnTo>
                      <a:pt x="7" y="417"/>
                    </a:lnTo>
                    <a:lnTo>
                      <a:pt x="7" y="417"/>
                    </a:lnTo>
                    <a:lnTo>
                      <a:pt x="7" y="419"/>
                    </a:lnTo>
                    <a:lnTo>
                      <a:pt x="7" y="419"/>
                    </a:lnTo>
                    <a:lnTo>
                      <a:pt x="7" y="419"/>
                    </a:lnTo>
                    <a:lnTo>
                      <a:pt x="7" y="419"/>
                    </a:lnTo>
                    <a:lnTo>
                      <a:pt x="7" y="419"/>
                    </a:lnTo>
                    <a:lnTo>
                      <a:pt x="7" y="421"/>
                    </a:lnTo>
                    <a:lnTo>
                      <a:pt x="7" y="421"/>
                    </a:lnTo>
                    <a:lnTo>
                      <a:pt x="9" y="421"/>
                    </a:lnTo>
                    <a:lnTo>
                      <a:pt x="9" y="421"/>
                    </a:lnTo>
                    <a:lnTo>
                      <a:pt x="11" y="421"/>
                    </a:lnTo>
                    <a:lnTo>
                      <a:pt x="9" y="426"/>
                    </a:lnTo>
                    <a:lnTo>
                      <a:pt x="9" y="426"/>
                    </a:lnTo>
                    <a:lnTo>
                      <a:pt x="11" y="426"/>
                    </a:lnTo>
                    <a:lnTo>
                      <a:pt x="14" y="424"/>
                    </a:lnTo>
                    <a:lnTo>
                      <a:pt x="14" y="424"/>
                    </a:lnTo>
                    <a:lnTo>
                      <a:pt x="14" y="424"/>
                    </a:lnTo>
                    <a:lnTo>
                      <a:pt x="16" y="421"/>
                    </a:lnTo>
                    <a:lnTo>
                      <a:pt x="18" y="419"/>
                    </a:lnTo>
                    <a:lnTo>
                      <a:pt x="21" y="421"/>
                    </a:lnTo>
                    <a:lnTo>
                      <a:pt x="21" y="424"/>
                    </a:lnTo>
                    <a:lnTo>
                      <a:pt x="21" y="426"/>
                    </a:lnTo>
                    <a:lnTo>
                      <a:pt x="18" y="429"/>
                    </a:lnTo>
                    <a:lnTo>
                      <a:pt x="25" y="431"/>
                    </a:lnTo>
                    <a:lnTo>
                      <a:pt x="25" y="433"/>
                    </a:lnTo>
                    <a:lnTo>
                      <a:pt x="25" y="433"/>
                    </a:lnTo>
                    <a:lnTo>
                      <a:pt x="28" y="431"/>
                    </a:lnTo>
                    <a:lnTo>
                      <a:pt x="30" y="429"/>
                    </a:lnTo>
                    <a:lnTo>
                      <a:pt x="30" y="429"/>
                    </a:lnTo>
                    <a:lnTo>
                      <a:pt x="33" y="429"/>
                    </a:lnTo>
                    <a:lnTo>
                      <a:pt x="35" y="429"/>
                    </a:lnTo>
                    <a:lnTo>
                      <a:pt x="37" y="426"/>
                    </a:lnTo>
                    <a:lnTo>
                      <a:pt x="37" y="426"/>
                    </a:lnTo>
                    <a:lnTo>
                      <a:pt x="40" y="426"/>
                    </a:lnTo>
                    <a:lnTo>
                      <a:pt x="42" y="424"/>
                    </a:lnTo>
                    <a:lnTo>
                      <a:pt x="42" y="424"/>
                    </a:lnTo>
                    <a:lnTo>
                      <a:pt x="42" y="424"/>
                    </a:lnTo>
                    <a:lnTo>
                      <a:pt x="42" y="424"/>
                    </a:lnTo>
                    <a:lnTo>
                      <a:pt x="42" y="424"/>
                    </a:lnTo>
                    <a:lnTo>
                      <a:pt x="42" y="424"/>
                    </a:lnTo>
                    <a:lnTo>
                      <a:pt x="42" y="426"/>
                    </a:lnTo>
                    <a:lnTo>
                      <a:pt x="42" y="426"/>
                    </a:lnTo>
                    <a:lnTo>
                      <a:pt x="44" y="426"/>
                    </a:lnTo>
                    <a:lnTo>
                      <a:pt x="47" y="424"/>
                    </a:lnTo>
                    <a:lnTo>
                      <a:pt x="44" y="424"/>
                    </a:lnTo>
                    <a:lnTo>
                      <a:pt x="47" y="424"/>
                    </a:lnTo>
                    <a:lnTo>
                      <a:pt x="49" y="424"/>
                    </a:lnTo>
                    <a:lnTo>
                      <a:pt x="49" y="421"/>
                    </a:lnTo>
                    <a:lnTo>
                      <a:pt x="49" y="421"/>
                    </a:lnTo>
                    <a:lnTo>
                      <a:pt x="51" y="421"/>
                    </a:lnTo>
                    <a:lnTo>
                      <a:pt x="59" y="419"/>
                    </a:lnTo>
                    <a:lnTo>
                      <a:pt x="63" y="417"/>
                    </a:lnTo>
                    <a:lnTo>
                      <a:pt x="63" y="419"/>
                    </a:lnTo>
                    <a:lnTo>
                      <a:pt x="61" y="419"/>
                    </a:lnTo>
                    <a:lnTo>
                      <a:pt x="59" y="421"/>
                    </a:lnTo>
                    <a:lnTo>
                      <a:pt x="54" y="421"/>
                    </a:lnTo>
                    <a:lnTo>
                      <a:pt x="54" y="421"/>
                    </a:lnTo>
                    <a:lnTo>
                      <a:pt x="51" y="421"/>
                    </a:lnTo>
                    <a:lnTo>
                      <a:pt x="51" y="421"/>
                    </a:lnTo>
                    <a:lnTo>
                      <a:pt x="51" y="424"/>
                    </a:lnTo>
                    <a:lnTo>
                      <a:pt x="49" y="424"/>
                    </a:lnTo>
                    <a:lnTo>
                      <a:pt x="49" y="426"/>
                    </a:lnTo>
                    <a:lnTo>
                      <a:pt x="47" y="426"/>
                    </a:lnTo>
                    <a:lnTo>
                      <a:pt x="47" y="429"/>
                    </a:lnTo>
                    <a:lnTo>
                      <a:pt x="49" y="429"/>
                    </a:lnTo>
                    <a:lnTo>
                      <a:pt x="49" y="429"/>
                    </a:lnTo>
                    <a:lnTo>
                      <a:pt x="49" y="429"/>
                    </a:lnTo>
                    <a:lnTo>
                      <a:pt x="47" y="429"/>
                    </a:lnTo>
                    <a:lnTo>
                      <a:pt x="44" y="429"/>
                    </a:lnTo>
                    <a:lnTo>
                      <a:pt x="44" y="429"/>
                    </a:lnTo>
                    <a:lnTo>
                      <a:pt x="44" y="431"/>
                    </a:lnTo>
                    <a:lnTo>
                      <a:pt x="42" y="431"/>
                    </a:lnTo>
                    <a:lnTo>
                      <a:pt x="42" y="433"/>
                    </a:lnTo>
                    <a:lnTo>
                      <a:pt x="42" y="433"/>
                    </a:lnTo>
                    <a:lnTo>
                      <a:pt x="42" y="431"/>
                    </a:lnTo>
                    <a:lnTo>
                      <a:pt x="42" y="431"/>
                    </a:lnTo>
                    <a:lnTo>
                      <a:pt x="42" y="431"/>
                    </a:lnTo>
                    <a:lnTo>
                      <a:pt x="40" y="431"/>
                    </a:lnTo>
                    <a:lnTo>
                      <a:pt x="37" y="431"/>
                    </a:lnTo>
                    <a:lnTo>
                      <a:pt x="35" y="433"/>
                    </a:lnTo>
                    <a:lnTo>
                      <a:pt x="35" y="436"/>
                    </a:lnTo>
                    <a:lnTo>
                      <a:pt x="37" y="436"/>
                    </a:lnTo>
                    <a:lnTo>
                      <a:pt x="37" y="436"/>
                    </a:lnTo>
                    <a:lnTo>
                      <a:pt x="35" y="440"/>
                    </a:lnTo>
                    <a:lnTo>
                      <a:pt x="33" y="440"/>
                    </a:lnTo>
                    <a:lnTo>
                      <a:pt x="30" y="440"/>
                    </a:lnTo>
                    <a:lnTo>
                      <a:pt x="28" y="440"/>
                    </a:lnTo>
                    <a:lnTo>
                      <a:pt x="28" y="443"/>
                    </a:lnTo>
                    <a:lnTo>
                      <a:pt x="28" y="443"/>
                    </a:lnTo>
                    <a:lnTo>
                      <a:pt x="28" y="443"/>
                    </a:lnTo>
                    <a:lnTo>
                      <a:pt x="30" y="443"/>
                    </a:lnTo>
                    <a:lnTo>
                      <a:pt x="30" y="445"/>
                    </a:lnTo>
                    <a:lnTo>
                      <a:pt x="30" y="445"/>
                    </a:lnTo>
                    <a:lnTo>
                      <a:pt x="30" y="445"/>
                    </a:lnTo>
                    <a:lnTo>
                      <a:pt x="30" y="445"/>
                    </a:lnTo>
                    <a:lnTo>
                      <a:pt x="28" y="445"/>
                    </a:lnTo>
                    <a:lnTo>
                      <a:pt x="23" y="447"/>
                    </a:lnTo>
                    <a:lnTo>
                      <a:pt x="23" y="447"/>
                    </a:lnTo>
                    <a:lnTo>
                      <a:pt x="23" y="447"/>
                    </a:lnTo>
                    <a:lnTo>
                      <a:pt x="23" y="450"/>
                    </a:lnTo>
                    <a:lnTo>
                      <a:pt x="23" y="450"/>
                    </a:lnTo>
                    <a:lnTo>
                      <a:pt x="23" y="450"/>
                    </a:lnTo>
                    <a:lnTo>
                      <a:pt x="23" y="450"/>
                    </a:lnTo>
                    <a:lnTo>
                      <a:pt x="23" y="450"/>
                    </a:lnTo>
                    <a:lnTo>
                      <a:pt x="25" y="450"/>
                    </a:lnTo>
                    <a:lnTo>
                      <a:pt x="28" y="447"/>
                    </a:lnTo>
                    <a:lnTo>
                      <a:pt x="30" y="447"/>
                    </a:lnTo>
                    <a:lnTo>
                      <a:pt x="30" y="450"/>
                    </a:lnTo>
                    <a:lnTo>
                      <a:pt x="33" y="450"/>
                    </a:lnTo>
                    <a:lnTo>
                      <a:pt x="35" y="447"/>
                    </a:lnTo>
                    <a:lnTo>
                      <a:pt x="37" y="447"/>
                    </a:lnTo>
                    <a:lnTo>
                      <a:pt x="40" y="445"/>
                    </a:lnTo>
                    <a:lnTo>
                      <a:pt x="40" y="445"/>
                    </a:lnTo>
                    <a:lnTo>
                      <a:pt x="40" y="445"/>
                    </a:lnTo>
                    <a:lnTo>
                      <a:pt x="40" y="445"/>
                    </a:lnTo>
                    <a:lnTo>
                      <a:pt x="40" y="445"/>
                    </a:lnTo>
                    <a:lnTo>
                      <a:pt x="40" y="443"/>
                    </a:lnTo>
                    <a:lnTo>
                      <a:pt x="42" y="443"/>
                    </a:lnTo>
                    <a:lnTo>
                      <a:pt x="51" y="440"/>
                    </a:lnTo>
                    <a:lnTo>
                      <a:pt x="54" y="440"/>
                    </a:lnTo>
                    <a:lnTo>
                      <a:pt x="59" y="440"/>
                    </a:lnTo>
                    <a:lnTo>
                      <a:pt x="61" y="438"/>
                    </a:lnTo>
                    <a:lnTo>
                      <a:pt x="61" y="438"/>
                    </a:lnTo>
                    <a:lnTo>
                      <a:pt x="63" y="436"/>
                    </a:lnTo>
                    <a:lnTo>
                      <a:pt x="66" y="436"/>
                    </a:lnTo>
                    <a:lnTo>
                      <a:pt x="66" y="436"/>
                    </a:lnTo>
                    <a:lnTo>
                      <a:pt x="66" y="433"/>
                    </a:lnTo>
                    <a:lnTo>
                      <a:pt x="66" y="433"/>
                    </a:lnTo>
                    <a:lnTo>
                      <a:pt x="66" y="431"/>
                    </a:lnTo>
                    <a:lnTo>
                      <a:pt x="66" y="431"/>
                    </a:lnTo>
                    <a:lnTo>
                      <a:pt x="66" y="431"/>
                    </a:lnTo>
                    <a:lnTo>
                      <a:pt x="66" y="431"/>
                    </a:lnTo>
                    <a:lnTo>
                      <a:pt x="68" y="431"/>
                    </a:lnTo>
                    <a:lnTo>
                      <a:pt x="68" y="431"/>
                    </a:lnTo>
                    <a:lnTo>
                      <a:pt x="68" y="433"/>
                    </a:lnTo>
                    <a:lnTo>
                      <a:pt x="68" y="433"/>
                    </a:lnTo>
                    <a:lnTo>
                      <a:pt x="68" y="433"/>
                    </a:lnTo>
                    <a:lnTo>
                      <a:pt x="68" y="433"/>
                    </a:lnTo>
                    <a:lnTo>
                      <a:pt x="70" y="436"/>
                    </a:lnTo>
                    <a:lnTo>
                      <a:pt x="70" y="436"/>
                    </a:lnTo>
                    <a:lnTo>
                      <a:pt x="73" y="433"/>
                    </a:lnTo>
                    <a:lnTo>
                      <a:pt x="73" y="436"/>
                    </a:lnTo>
                    <a:lnTo>
                      <a:pt x="73" y="436"/>
                    </a:lnTo>
                    <a:lnTo>
                      <a:pt x="73" y="436"/>
                    </a:lnTo>
                    <a:lnTo>
                      <a:pt x="73" y="436"/>
                    </a:lnTo>
                    <a:lnTo>
                      <a:pt x="73" y="438"/>
                    </a:lnTo>
                    <a:lnTo>
                      <a:pt x="73" y="440"/>
                    </a:lnTo>
                    <a:lnTo>
                      <a:pt x="70" y="440"/>
                    </a:lnTo>
                    <a:lnTo>
                      <a:pt x="68" y="440"/>
                    </a:lnTo>
                    <a:lnTo>
                      <a:pt x="66" y="443"/>
                    </a:lnTo>
                    <a:lnTo>
                      <a:pt x="63" y="443"/>
                    </a:lnTo>
                    <a:lnTo>
                      <a:pt x="61" y="443"/>
                    </a:lnTo>
                    <a:lnTo>
                      <a:pt x="54" y="450"/>
                    </a:lnTo>
                    <a:lnTo>
                      <a:pt x="49" y="450"/>
                    </a:lnTo>
                    <a:lnTo>
                      <a:pt x="49" y="450"/>
                    </a:lnTo>
                    <a:lnTo>
                      <a:pt x="49" y="452"/>
                    </a:lnTo>
                    <a:lnTo>
                      <a:pt x="49" y="452"/>
                    </a:lnTo>
                    <a:lnTo>
                      <a:pt x="47" y="452"/>
                    </a:lnTo>
                    <a:lnTo>
                      <a:pt x="44" y="454"/>
                    </a:lnTo>
                    <a:lnTo>
                      <a:pt x="49" y="454"/>
                    </a:lnTo>
                    <a:lnTo>
                      <a:pt x="63" y="447"/>
                    </a:lnTo>
                    <a:lnTo>
                      <a:pt x="66" y="447"/>
                    </a:lnTo>
                    <a:lnTo>
                      <a:pt x="66" y="450"/>
                    </a:lnTo>
                    <a:lnTo>
                      <a:pt x="63" y="450"/>
                    </a:lnTo>
                    <a:lnTo>
                      <a:pt x="61" y="450"/>
                    </a:lnTo>
                    <a:lnTo>
                      <a:pt x="59" y="454"/>
                    </a:lnTo>
                    <a:lnTo>
                      <a:pt x="56" y="454"/>
                    </a:lnTo>
                    <a:lnTo>
                      <a:pt x="54" y="457"/>
                    </a:lnTo>
                    <a:lnTo>
                      <a:pt x="51" y="457"/>
                    </a:lnTo>
                    <a:lnTo>
                      <a:pt x="51" y="457"/>
                    </a:lnTo>
                    <a:lnTo>
                      <a:pt x="49" y="459"/>
                    </a:lnTo>
                    <a:lnTo>
                      <a:pt x="47" y="462"/>
                    </a:lnTo>
                    <a:lnTo>
                      <a:pt x="47" y="462"/>
                    </a:lnTo>
                    <a:lnTo>
                      <a:pt x="47" y="462"/>
                    </a:lnTo>
                    <a:lnTo>
                      <a:pt x="47" y="464"/>
                    </a:lnTo>
                    <a:lnTo>
                      <a:pt x="47" y="464"/>
                    </a:lnTo>
                    <a:lnTo>
                      <a:pt x="47" y="464"/>
                    </a:lnTo>
                    <a:lnTo>
                      <a:pt x="47" y="464"/>
                    </a:lnTo>
                    <a:lnTo>
                      <a:pt x="47" y="464"/>
                    </a:lnTo>
                    <a:lnTo>
                      <a:pt x="47" y="466"/>
                    </a:lnTo>
                    <a:lnTo>
                      <a:pt x="47" y="464"/>
                    </a:lnTo>
                    <a:lnTo>
                      <a:pt x="47" y="466"/>
                    </a:lnTo>
                    <a:lnTo>
                      <a:pt x="49" y="464"/>
                    </a:lnTo>
                    <a:lnTo>
                      <a:pt x="49" y="464"/>
                    </a:lnTo>
                    <a:lnTo>
                      <a:pt x="49" y="464"/>
                    </a:lnTo>
                    <a:lnTo>
                      <a:pt x="54" y="464"/>
                    </a:lnTo>
                    <a:lnTo>
                      <a:pt x="54" y="464"/>
                    </a:lnTo>
                    <a:lnTo>
                      <a:pt x="54" y="462"/>
                    </a:lnTo>
                    <a:lnTo>
                      <a:pt x="59" y="459"/>
                    </a:lnTo>
                    <a:lnTo>
                      <a:pt x="59" y="457"/>
                    </a:lnTo>
                    <a:lnTo>
                      <a:pt x="59" y="459"/>
                    </a:lnTo>
                    <a:lnTo>
                      <a:pt x="61" y="459"/>
                    </a:lnTo>
                    <a:lnTo>
                      <a:pt x="61" y="462"/>
                    </a:lnTo>
                    <a:lnTo>
                      <a:pt x="61" y="462"/>
                    </a:lnTo>
                    <a:lnTo>
                      <a:pt x="63" y="459"/>
                    </a:lnTo>
                    <a:lnTo>
                      <a:pt x="63" y="459"/>
                    </a:lnTo>
                    <a:lnTo>
                      <a:pt x="63" y="459"/>
                    </a:lnTo>
                    <a:lnTo>
                      <a:pt x="66" y="459"/>
                    </a:lnTo>
                    <a:lnTo>
                      <a:pt x="66" y="457"/>
                    </a:lnTo>
                    <a:lnTo>
                      <a:pt x="66" y="457"/>
                    </a:lnTo>
                    <a:lnTo>
                      <a:pt x="70" y="457"/>
                    </a:lnTo>
                    <a:lnTo>
                      <a:pt x="73" y="454"/>
                    </a:lnTo>
                    <a:lnTo>
                      <a:pt x="73" y="454"/>
                    </a:lnTo>
                    <a:lnTo>
                      <a:pt x="73" y="452"/>
                    </a:lnTo>
                    <a:lnTo>
                      <a:pt x="75" y="454"/>
                    </a:lnTo>
                    <a:lnTo>
                      <a:pt x="75" y="454"/>
                    </a:lnTo>
                    <a:lnTo>
                      <a:pt x="75" y="454"/>
                    </a:lnTo>
                    <a:lnTo>
                      <a:pt x="75" y="457"/>
                    </a:lnTo>
                    <a:lnTo>
                      <a:pt x="75" y="457"/>
                    </a:lnTo>
                    <a:lnTo>
                      <a:pt x="75" y="459"/>
                    </a:lnTo>
                    <a:lnTo>
                      <a:pt x="75" y="459"/>
                    </a:lnTo>
                    <a:lnTo>
                      <a:pt x="77" y="459"/>
                    </a:lnTo>
                    <a:lnTo>
                      <a:pt x="77" y="457"/>
                    </a:lnTo>
                    <a:lnTo>
                      <a:pt x="80" y="457"/>
                    </a:lnTo>
                    <a:lnTo>
                      <a:pt x="82" y="457"/>
                    </a:lnTo>
                    <a:lnTo>
                      <a:pt x="82" y="454"/>
                    </a:lnTo>
                    <a:lnTo>
                      <a:pt x="82" y="454"/>
                    </a:lnTo>
                    <a:lnTo>
                      <a:pt x="82" y="457"/>
                    </a:lnTo>
                    <a:lnTo>
                      <a:pt x="82" y="457"/>
                    </a:lnTo>
                    <a:lnTo>
                      <a:pt x="82" y="457"/>
                    </a:lnTo>
                    <a:lnTo>
                      <a:pt x="80" y="457"/>
                    </a:lnTo>
                    <a:lnTo>
                      <a:pt x="80" y="459"/>
                    </a:lnTo>
                    <a:lnTo>
                      <a:pt x="77" y="462"/>
                    </a:lnTo>
                    <a:lnTo>
                      <a:pt x="77" y="462"/>
                    </a:lnTo>
                    <a:lnTo>
                      <a:pt x="80" y="462"/>
                    </a:lnTo>
                    <a:lnTo>
                      <a:pt x="80" y="459"/>
                    </a:lnTo>
                    <a:lnTo>
                      <a:pt x="80" y="462"/>
                    </a:lnTo>
                    <a:lnTo>
                      <a:pt x="80" y="462"/>
                    </a:lnTo>
                    <a:lnTo>
                      <a:pt x="77" y="462"/>
                    </a:lnTo>
                    <a:lnTo>
                      <a:pt x="77" y="464"/>
                    </a:lnTo>
                    <a:lnTo>
                      <a:pt x="80" y="464"/>
                    </a:lnTo>
                    <a:lnTo>
                      <a:pt x="82" y="462"/>
                    </a:lnTo>
                    <a:lnTo>
                      <a:pt x="82" y="462"/>
                    </a:lnTo>
                    <a:lnTo>
                      <a:pt x="82" y="462"/>
                    </a:lnTo>
                    <a:lnTo>
                      <a:pt x="82" y="462"/>
                    </a:lnTo>
                    <a:lnTo>
                      <a:pt x="82" y="462"/>
                    </a:lnTo>
                    <a:lnTo>
                      <a:pt x="84" y="459"/>
                    </a:lnTo>
                    <a:lnTo>
                      <a:pt x="84" y="459"/>
                    </a:lnTo>
                    <a:close/>
                    <a:moveTo>
                      <a:pt x="167" y="120"/>
                    </a:moveTo>
                    <a:lnTo>
                      <a:pt x="167" y="122"/>
                    </a:lnTo>
                    <a:lnTo>
                      <a:pt x="169" y="125"/>
                    </a:lnTo>
                    <a:lnTo>
                      <a:pt x="169" y="125"/>
                    </a:lnTo>
                    <a:lnTo>
                      <a:pt x="167" y="120"/>
                    </a:lnTo>
                    <a:close/>
                    <a:moveTo>
                      <a:pt x="177" y="132"/>
                    </a:moveTo>
                    <a:lnTo>
                      <a:pt x="177" y="129"/>
                    </a:lnTo>
                    <a:lnTo>
                      <a:pt x="177" y="127"/>
                    </a:lnTo>
                    <a:lnTo>
                      <a:pt x="177" y="127"/>
                    </a:lnTo>
                    <a:lnTo>
                      <a:pt x="179" y="132"/>
                    </a:lnTo>
                    <a:lnTo>
                      <a:pt x="179" y="134"/>
                    </a:lnTo>
                    <a:lnTo>
                      <a:pt x="177" y="132"/>
                    </a:lnTo>
                    <a:close/>
                    <a:moveTo>
                      <a:pt x="186" y="143"/>
                    </a:moveTo>
                    <a:lnTo>
                      <a:pt x="184" y="141"/>
                    </a:lnTo>
                    <a:lnTo>
                      <a:pt x="184" y="136"/>
                    </a:lnTo>
                    <a:lnTo>
                      <a:pt x="184" y="136"/>
                    </a:lnTo>
                    <a:lnTo>
                      <a:pt x="186" y="136"/>
                    </a:lnTo>
                    <a:lnTo>
                      <a:pt x="186" y="139"/>
                    </a:lnTo>
                    <a:lnTo>
                      <a:pt x="186" y="143"/>
                    </a:lnTo>
                    <a:lnTo>
                      <a:pt x="186" y="143"/>
                    </a:lnTo>
                    <a:lnTo>
                      <a:pt x="186" y="143"/>
                    </a:lnTo>
                    <a:close/>
                    <a:moveTo>
                      <a:pt x="217" y="153"/>
                    </a:moveTo>
                    <a:lnTo>
                      <a:pt x="217" y="153"/>
                    </a:lnTo>
                    <a:lnTo>
                      <a:pt x="217" y="153"/>
                    </a:lnTo>
                    <a:lnTo>
                      <a:pt x="217" y="153"/>
                    </a:lnTo>
                    <a:close/>
                    <a:moveTo>
                      <a:pt x="233" y="134"/>
                    </a:moveTo>
                    <a:lnTo>
                      <a:pt x="233" y="136"/>
                    </a:lnTo>
                    <a:lnTo>
                      <a:pt x="233" y="136"/>
                    </a:lnTo>
                    <a:lnTo>
                      <a:pt x="233" y="136"/>
                    </a:lnTo>
                    <a:lnTo>
                      <a:pt x="233" y="134"/>
                    </a:lnTo>
                    <a:close/>
                    <a:moveTo>
                      <a:pt x="236" y="139"/>
                    </a:moveTo>
                    <a:lnTo>
                      <a:pt x="236" y="139"/>
                    </a:lnTo>
                    <a:lnTo>
                      <a:pt x="236" y="139"/>
                    </a:lnTo>
                    <a:lnTo>
                      <a:pt x="236" y="139"/>
                    </a:lnTo>
                    <a:lnTo>
                      <a:pt x="236" y="139"/>
                    </a:lnTo>
                    <a:close/>
                    <a:moveTo>
                      <a:pt x="271" y="162"/>
                    </a:moveTo>
                    <a:lnTo>
                      <a:pt x="271" y="165"/>
                    </a:lnTo>
                    <a:lnTo>
                      <a:pt x="271" y="165"/>
                    </a:lnTo>
                    <a:lnTo>
                      <a:pt x="271" y="165"/>
                    </a:lnTo>
                    <a:lnTo>
                      <a:pt x="271" y="162"/>
                    </a:lnTo>
                    <a:close/>
                    <a:moveTo>
                      <a:pt x="273" y="151"/>
                    </a:moveTo>
                    <a:lnTo>
                      <a:pt x="273" y="153"/>
                    </a:lnTo>
                    <a:lnTo>
                      <a:pt x="273" y="155"/>
                    </a:lnTo>
                    <a:lnTo>
                      <a:pt x="271" y="158"/>
                    </a:lnTo>
                    <a:lnTo>
                      <a:pt x="271" y="158"/>
                    </a:lnTo>
                    <a:lnTo>
                      <a:pt x="271" y="160"/>
                    </a:lnTo>
                    <a:lnTo>
                      <a:pt x="271" y="162"/>
                    </a:lnTo>
                    <a:lnTo>
                      <a:pt x="271" y="162"/>
                    </a:lnTo>
                    <a:lnTo>
                      <a:pt x="269" y="162"/>
                    </a:lnTo>
                    <a:lnTo>
                      <a:pt x="271" y="158"/>
                    </a:lnTo>
                    <a:lnTo>
                      <a:pt x="271" y="158"/>
                    </a:lnTo>
                    <a:lnTo>
                      <a:pt x="269" y="155"/>
                    </a:lnTo>
                    <a:lnTo>
                      <a:pt x="271" y="153"/>
                    </a:lnTo>
                    <a:lnTo>
                      <a:pt x="271" y="151"/>
                    </a:lnTo>
                    <a:lnTo>
                      <a:pt x="271" y="151"/>
                    </a:lnTo>
                    <a:lnTo>
                      <a:pt x="271" y="151"/>
                    </a:lnTo>
                    <a:lnTo>
                      <a:pt x="273" y="151"/>
                    </a:lnTo>
                    <a:close/>
                    <a:moveTo>
                      <a:pt x="259" y="141"/>
                    </a:moveTo>
                    <a:lnTo>
                      <a:pt x="259" y="141"/>
                    </a:lnTo>
                    <a:lnTo>
                      <a:pt x="259" y="141"/>
                    </a:lnTo>
                    <a:lnTo>
                      <a:pt x="259" y="143"/>
                    </a:lnTo>
                    <a:lnTo>
                      <a:pt x="261" y="146"/>
                    </a:lnTo>
                    <a:lnTo>
                      <a:pt x="259" y="143"/>
                    </a:lnTo>
                    <a:lnTo>
                      <a:pt x="259" y="141"/>
                    </a:lnTo>
                    <a:lnTo>
                      <a:pt x="259" y="141"/>
                    </a:lnTo>
                    <a:lnTo>
                      <a:pt x="257" y="139"/>
                    </a:lnTo>
                    <a:lnTo>
                      <a:pt x="257" y="139"/>
                    </a:lnTo>
                    <a:lnTo>
                      <a:pt x="259" y="139"/>
                    </a:lnTo>
                    <a:lnTo>
                      <a:pt x="259" y="141"/>
                    </a:lnTo>
                    <a:close/>
                    <a:moveTo>
                      <a:pt x="257" y="129"/>
                    </a:moveTo>
                    <a:lnTo>
                      <a:pt x="257" y="132"/>
                    </a:lnTo>
                    <a:lnTo>
                      <a:pt x="257" y="134"/>
                    </a:lnTo>
                    <a:lnTo>
                      <a:pt x="257" y="136"/>
                    </a:lnTo>
                    <a:lnTo>
                      <a:pt x="257" y="136"/>
                    </a:lnTo>
                    <a:lnTo>
                      <a:pt x="257" y="136"/>
                    </a:lnTo>
                    <a:lnTo>
                      <a:pt x="257" y="136"/>
                    </a:lnTo>
                    <a:lnTo>
                      <a:pt x="254" y="136"/>
                    </a:lnTo>
                    <a:lnTo>
                      <a:pt x="254" y="136"/>
                    </a:lnTo>
                    <a:lnTo>
                      <a:pt x="257" y="134"/>
                    </a:lnTo>
                    <a:lnTo>
                      <a:pt x="257" y="132"/>
                    </a:lnTo>
                    <a:lnTo>
                      <a:pt x="254" y="129"/>
                    </a:lnTo>
                    <a:lnTo>
                      <a:pt x="254" y="129"/>
                    </a:lnTo>
                    <a:lnTo>
                      <a:pt x="254" y="129"/>
                    </a:lnTo>
                    <a:lnTo>
                      <a:pt x="257" y="129"/>
                    </a:lnTo>
                    <a:close/>
                    <a:moveTo>
                      <a:pt x="254" y="127"/>
                    </a:moveTo>
                    <a:lnTo>
                      <a:pt x="254" y="127"/>
                    </a:lnTo>
                    <a:lnTo>
                      <a:pt x="252" y="127"/>
                    </a:lnTo>
                    <a:lnTo>
                      <a:pt x="252" y="127"/>
                    </a:lnTo>
                    <a:lnTo>
                      <a:pt x="252" y="125"/>
                    </a:lnTo>
                    <a:lnTo>
                      <a:pt x="252" y="127"/>
                    </a:lnTo>
                    <a:lnTo>
                      <a:pt x="254" y="127"/>
                    </a:lnTo>
                    <a:close/>
                    <a:moveTo>
                      <a:pt x="226" y="153"/>
                    </a:moveTo>
                    <a:lnTo>
                      <a:pt x="226" y="153"/>
                    </a:lnTo>
                    <a:lnTo>
                      <a:pt x="226" y="155"/>
                    </a:lnTo>
                    <a:lnTo>
                      <a:pt x="226" y="155"/>
                    </a:lnTo>
                    <a:lnTo>
                      <a:pt x="224" y="155"/>
                    </a:lnTo>
                    <a:lnTo>
                      <a:pt x="226" y="153"/>
                    </a:lnTo>
                    <a:lnTo>
                      <a:pt x="226" y="153"/>
                    </a:lnTo>
                    <a:lnTo>
                      <a:pt x="226" y="151"/>
                    </a:lnTo>
                    <a:lnTo>
                      <a:pt x="226" y="153"/>
                    </a:lnTo>
                    <a:close/>
                    <a:moveTo>
                      <a:pt x="219" y="155"/>
                    </a:moveTo>
                    <a:lnTo>
                      <a:pt x="219" y="155"/>
                    </a:lnTo>
                    <a:lnTo>
                      <a:pt x="219" y="155"/>
                    </a:lnTo>
                    <a:lnTo>
                      <a:pt x="219" y="155"/>
                    </a:lnTo>
                    <a:lnTo>
                      <a:pt x="219" y="155"/>
                    </a:lnTo>
                    <a:close/>
                    <a:moveTo>
                      <a:pt x="219" y="153"/>
                    </a:moveTo>
                    <a:lnTo>
                      <a:pt x="217" y="153"/>
                    </a:lnTo>
                    <a:lnTo>
                      <a:pt x="217" y="153"/>
                    </a:lnTo>
                    <a:lnTo>
                      <a:pt x="219" y="153"/>
                    </a:lnTo>
                    <a:close/>
                    <a:moveTo>
                      <a:pt x="202" y="151"/>
                    </a:moveTo>
                    <a:lnTo>
                      <a:pt x="202" y="153"/>
                    </a:lnTo>
                    <a:lnTo>
                      <a:pt x="202" y="153"/>
                    </a:lnTo>
                    <a:lnTo>
                      <a:pt x="202" y="153"/>
                    </a:lnTo>
                    <a:lnTo>
                      <a:pt x="202" y="153"/>
                    </a:lnTo>
                    <a:lnTo>
                      <a:pt x="202" y="151"/>
                    </a:lnTo>
                    <a:lnTo>
                      <a:pt x="202" y="151"/>
                    </a:lnTo>
                    <a:lnTo>
                      <a:pt x="202" y="151"/>
                    </a:lnTo>
                    <a:lnTo>
                      <a:pt x="202" y="151"/>
                    </a:lnTo>
                    <a:close/>
                    <a:moveTo>
                      <a:pt x="186" y="94"/>
                    </a:moveTo>
                    <a:lnTo>
                      <a:pt x="186" y="94"/>
                    </a:lnTo>
                    <a:lnTo>
                      <a:pt x="186" y="94"/>
                    </a:lnTo>
                    <a:lnTo>
                      <a:pt x="186" y="92"/>
                    </a:lnTo>
                    <a:lnTo>
                      <a:pt x="186" y="92"/>
                    </a:lnTo>
                    <a:lnTo>
                      <a:pt x="186" y="94"/>
                    </a:lnTo>
                    <a:close/>
                    <a:moveTo>
                      <a:pt x="162" y="113"/>
                    </a:moveTo>
                    <a:lnTo>
                      <a:pt x="165" y="113"/>
                    </a:lnTo>
                    <a:lnTo>
                      <a:pt x="167" y="113"/>
                    </a:lnTo>
                    <a:lnTo>
                      <a:pt x="169" y="110"/>
                    </a:lnTo>
                    <a:lnTo>
                      <a:pt x="172" y="110"/>
                    </a:lnTo>
                    <a:lnTo>
                      <a:pt x="172" y="110"/>
                    </a:lnTo>
                    <a:lnTo>
                      <a:pt x="172" y="108"/>
                    </a:lnTo>
                    <a:lnTo>
                      <a:pt x="174" y="106"/>
                    </a:lnTo>
                    <a:lnTo>
                      <a:pt x="174" y="103"/>
                    </a:lnTo>
                    <a:lnTo>
                      <a:pt x="181" y="106"/>
                    </a:lnTo>
                    <a:lnTo>
                      <a:pt x="184" y="106"/>
                    </a:lnTo>
                    <a:lnTo>
                      <a:pt x="186" y="103"/>
                    </a:lnTo>
                    <a:lnTo>
                      <a:pt x="193" y="96"/>
                    </a:lnTo>
                    <a:lnTo>
                      <a:pt x="193" y="96"/>
                    </a:lnTo>
                    <a:lnTo>
                      <a:pt x="193" y="96"/>
                    </a:lnTo>
                    <a:lnTo>
                      <a:pt x="195" y="96"/>
                    </a:lnTo>
                    <a:lnTo>
                      <a:pt x="195" y="96"/>
                    </a:lnTo>
                    <a:lnTo>
                      <a:pt x="195" y="96"/>
                    </a:lnTo>
                    <a:lnTo>
                      <a:pt x="195" y="96"/>
                    </a:lnTo>
                    <a:lnTo>
                      <a:pt x="195" y="96"/>
                    </a:lnTo>
                    <a:lnTo>
                      <a:pt x="198" y="96"/>
                    </a:lnTo>
                    <a:lnTo>
                      <a:pt x="198" y="99"/>
                    </a:lnTo>
                    <a:lnTo>
                      <a:pt x="195" y="99"/>
                    </a:lnTo>
                    <a:lnTo>
                      <a:pt x="188" y="106"/>
                    </a:lnTo>
                    <a:lnTo>
                      <a:pt x="184" y="108"/>
                    </a:lnTo>
                    <a:lnTo>
                      <a:pt x="181" y="108"/>
                    </a:lnTo>
                    <a:lnTo>
                      <a:pt x="177" y="106"/>
                    </a:lnTo>
                    <a:lnTo>
                      <a:pt x="174" y="108"/>
                    </a:lnTo>
                    <a:lnTo>
                      <a:pt x="174" y="110"/>
                    </a:lnTo>
                    <a:lnTo>
                      <a:pt x="172" y="110"/>
                    </a:lnTo>
                    <a:lnTo>
                      <a:pt x="172" y="113"/>
                    </a:lnTo>
                    <a:lnTo>
                      <a:pt x="172" y="113"/>
                    </a:lnTo>
                    <a:lnTo>
                      <a:pt x="169" y="113"/>
                    </a:lnTo>
                    <a:lnTo>
                      <a:pt x="167" y="115"/>
                    </a:lnTo>
                    <a:lnTo>
                      <a:pt x="165" y="115"/>
                    </a:lnTo>
                    <a:lnTo>
                      <a:pt x="165" y="115"/>
                    </a:lnTo>
                    <a:lnTo>
                      <a:pt x="165" y="118"/>
                    </a:lnTo>
                    <a:lnTo>
                      <a:pt x="165" y="118"/>
                    </a:lnTo>
                    <a:lnTo>
                      <a:pt x="165" y="118"/>
                    </a:lnTo>
                    <a:lnTo>
                      <a:pt x="165" y="118"/>
                    </a:lnTo>
                    <a:lnTo>
                      <a:pt x="165" y="118"/>
                    </a:lnTo>
                    <a:lnTo>
                      <a:pt x="165" y="118"/>
                    </a:lnTo>
                    <a:lnTo>
                      <a:pt x="165" y="115"/>
                    </a:lnTo>
                    <a:lnTo>
                      <a:pt x="165" y="115"/>
                    </a:lnTo>
                    <a:lnTo>
                      <a:pt x="162" y="113"/>
                    </a:lnTo>
                    <a:lnTo>
                      <a:pt x="16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12" name="Freeform 48">
                <a:extLst>
                  <a:ext uri="{FF2B5EF4-FFF2-40B4-BE49-F238E27FC236}">
                    <a16:creationId xmlns:a16="http://schemas.microsoft.com/office/drawing/2014/main" id="{00665692-BD42-4668-BFF7-C5786A70F206}"/>
                  </a:ext>
                </a:extLst>
              </p:cNvPr>
              <p:cNvSpPr>
                <a:spLocks/>
              </p:cNvSpPr>
              <p:nvPr/>
            </p:nvSpPr>
            <p:spPr bwMode="gray">
              <a:xfrm>
                <a:off x="-3423" y="1446"/>
                <a:ext cx="9" cy="4"/>
              </a:xfrm>
              <a:custGeom>
                <a:avLst/>
                <a:gdLst>
                  <a:gd name="T0" fmla="*/ 7 w 9"/>
                  <a:gd name="T1" fmla="*/ 2 h 4"/>
                  <a:gd name="T2" fmla="*/ 9 w 9"/>
                  <a:gd name="T3" fmla="*/ 2 h 4"/>
                  <a:gd name="T4" fmla="*/ 7 w 9"/>
                  <a:gd name="T5" fmla="*/ 2 h 4"/>
                  <a:gd name="T6" fmla="*/ 7 w 9"/>
                  <a:gd name="T7" fmla="*/ 2 h 4"/>
                  <a:gd name="T8" fmla="*/ 7 w 9"/>
                  <a:gd name="T9" fmla="*/ 2 h 4"/>
                  <a:gd name="T10" fmla="*/ 4 w 9"/>
                  <a:gd name="T11" fmla="*/ 0 h 4"/>
                  <a:gd name="T12" fmla="*/ 2 w 9"/>
                  <a:gd name="T13" fmla="*/ 2 h 4"/>
                  <a:gd name="T14" fmla="*/ 2 w 9"/>
                  <a:gd name="T15" fmla="*/ 2 h 4"/>
                  <a:gd name="T16" fmla="*/ 0 w 9"/>
                  <a:gd name="T17" fmla="*/ 2 h 4"/>
                  <a:gd name="T18" fmla="*/ 0 w 9"/>
                  <a:gd name="T19" fmla="*/ 4 h 4"/>
                  <a:gd name="T20" fmla="*/ 2 w 9"/>
                  <a:gd name="T21" fmla="*/ 4 h 4"/>
                  <a:gd name="T22" fmla="*/ 2 w 9"/>
                  <a:gd name="T23" fmla="*/ 4 h 4"/>
                  <a:gd name="T24" fmla="*/ 7 w 9"/>
                  <a:gd name="T25" fmla="*/ 2 h 4"/>
                  <a:gd name="T26" fmla="*/ 7 w 9"/>
                  <a:gd name="T2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4">
                    <a:moveTo>
                      <a:pt x="7" y="2"/>
                    </a:moveTo>
                    <a:lnTo>
                      <a:pt x="9" y="2"/>
                    </a:lnTo>
                    <a:lnTo>
                      <a:pt x="7" y="2"/>
                    </a:lnTo>
                    <a:lnTo>
                      <a:pt x="7" y="2"/>
                    </a:lnTo>
                    <a:lnTo>
                      <a:pt x="7" y="2"/>
                    </a:lnTo>
                    <a:lnTo>
                      <a:pt x="4" y="0"/>
                    </a:lnTo>
                    <a:lnTo>
                      <a:pt x="2" y="2"/>
                    </a:lnTo>
                    <a:lnTo>
                      <a:pt x="2" y="2"/>
                    </a:lnTo>
                    <a:lnTo>
                      <a:pt x="0" y="2"/>
                    </a:lnTo>
                    <a:lnTo>
                      <a:pt x="0" y="4"/>
                    </a:lnTo>
                    <a:lnTo>
                      <a:pt x="2" y="4"/>
                    </a:lnTo>
                    <a:lnTo>
                      <a:pt x="2" y="4"/>
                    </a:lnTo>
                    <a:lnTo>
                      <a:pt x="7" y="2"/>
                    </a:lnTo>
                    <a:lnTo>
                      <a:pt x="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13" name="Freeform 49">
                <a:extLst>
                  <a:ext uri="{FF2B5EF4-FFF2-40B4-BE49-F238E27FC236}">
                    <a16:creationId xmlns:a16="http://schemas.microsoft.com/office/drawing/2014/main" id="{81A4E5BC-CE60-4EB9-A886-F79ADC869390}"/>
                  </a:ext>
                </a:extLst>
              </p:cNvPr>
              <p:cNvSpPr>
                <a:spLocks/>
              </p:cNvSpPr>
              <p:nvPr/>
            </p:nvSpPr>
            <p:spPr bwMode="gray">
              <a:xfrm>
                <a:off x="-3416" y="1274"/>
                <a:ext cx="12" cy="7"/>
              </a:xfrm>
              <a:custGeom>
                <a:avLst/>
                <a:gdLst>
                  <a:gd name="T0" fmla="*/ 4 w 12"/>
                  <a:gd name="T1" fmla="*/ 0 h 7"/>
                  <a:gd name="T2" fmla="*/ 2 w 12"/>
                  <a:gd name="T3" fmla="*/ 0 h 7"/>
                  <a:gd name="T4" fmla="*/ 2 w 12"/>
                  <a:gd name="T5" fmla="*/ 0 h 7"/>
                  <a:gd name="T6" fmla="*/ 0 w 12"/>
                  <a:gd name="T7" fmla="*/ 0 h 7"/>
                  <a:gd name="T8" fmla="*/ 2 w 12"/>
                  <a:gd name="T9" fmla="*/ 2 h 7"/>
                  <a:gd name="T10" fmla="*/ 12 w 12"/>
                  <a:gd name="T11" fmla="*/ 7 h 7"/>
                  <a:gd name="T12" fmla="*/ 12 w 12"/>
                  <a:gd name="T13" fmla="*/ 7 h 7"/>
                  <a:gd name="T14" fmla="*/ 12 w 12"/>
                  <a:gd name="T15" fmla="*/ 4 h 7"/>
                  <a:gd name="T16" fmla="*/ 12 w 12"/>
                  <a:gd name="T17" fmla="*/ 4 h 7"/>
                  <a:gd name="T18" fmla="*/ 12 w 12"/>
                  <a:gd name="T19" fmla="*/ 4 h 7"/>
                  <a:gd name="T20" fmla="*/ 12 w 12"/>
                  <a:gd name="T21" fmla="*/ 4 h 7"/>
                  <a:gd name="T22" fmla="*/ 9 w 12"/>
                  <a:gd name="T23" fmla="*/ 2 h 7"/>
                  <a:gd name="T24" fmla="*/ 12 w 12"/>
                  <a:gd name="T25" fmla="*/ 2 h 7"/>
                  <a:gd name="T26" fmla="*/ 12 w 12"/>
                  <a:gd name="T27" fmla="*/ 2 h 7"/>
                  <a:gd name="T28" fmla="*/ 9 w 12"/>
                  <a:gd name="T29" fmla="*/ 0 h 7"/>
                  <a:gd name="T30" fmla="*/ 7 w 12"/>
                  <a:gd name="T31" fmla="*/ 0 h 7"/>
                  <a:gd name="T32" fmla="*/ 4 w 12"/>
                  <a:gd name="T33" fmla="*/ 0 h 7"/>
                  <a:gd name="T34" fmla="*/ 4 w 12"/>
                  <a:gd name="T3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7">
                    <a:moveTo>
                      <a:pt x="4" y="0"/>
                    </a:moveTo>
                    <a:lnTo>
                      <a:pt x="2" y="0"/>
                    </a:lnTo>
                    <a:lnTo>
                      <a:pt x="2" y="0"/>
                    </a:lnTo>
                    <a:lnTo>
                      <a:pt x="0" y="0"/>
                    </a:lnTo>
                    <a:lnTo>
                      <a:pt x="2" y="2"/>
                    </a:lnTo>
                    <a:lnTo>
                      <a:pt x="12" y="7"/>
                    </a:lnTo>
                    <a:lnTo>
                      <a:pt x="12" y="7"/>
                    </a:lnTo>
                    <a:lnTo>
                      <a:pt x="12" y="4"/>
                    </a:lnTo>
                    <a:lnTo>
                      <a:pt x="12" y="4"/>
                    </a:lnTo>
                    <a:lnTo>
                      <a:pt x="12" y="4"/>
                    </a:lnTo>
                    <a:lnTo>
                      <a:pt x="12" y="4"/>
                    </a:lnTo>
                    <a:lnTo>
                      <a:pt x="9" y="2"/>
                    </a:lnTo>
                    <a:lnTo>
                      <a:pt x="12" y="2"/>
                    </a:lnTo>
                    <a:lnTo>
                      <a:pt x="12" y="2"/>
                    </a:lnTo>
                    <a:lnTo>
                      <a:pt x="9" y="0"/>
                    </a:lnTo>
                    <a:lnTo>
                      <a:pt x="7" y="0"/>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15" name="Freeform 50">
                <a:extLst>
                  <a:ext uri="{FF2B5EF4-FFF2-40B4-BE49-F238E27FC236}">
                    <a16:creationId xmlns:a16="http://schemas.microsoft.com/office/drawing/2014/main" id="{64DE2283-778D-4A02-AEC3-924C78E58146}"/>
                  </a:ext>
                </a:extLst>
              </p:cNvPr>
              <p:cNvSpPr>
                <a:spLocks/>
              </p:cNvSpPr>
              <p:nvPr/>
            </p:nvSpPr>
            <p:spPr bwMode="gray">
              <a:xfrm>
                <a:off x="-3409" y="1257"/>
                <a:ext cx="5" cy="7"/>
              </a:xfrm>
              <a:custGeom>
                <a:avLst/>
                <a:gdLst>
                  <a:gd name="T0" fmla="*/ 2 w 5"/>
                  <a:gd name="T1" fmla="*/ 7 h 7"/>
                  <a:gd name="T2" fmla="*/ 5 w 5"/>
                  <a:gd name="T3" fmla="*/ 7 h 7"/>
                  <a:gd name="T4" fmla="*/ 5 w 5"/>
                  <a:gd name="T5" fmla="*/ 5 h 7"/>
                  <a:gd name="T6" fmla="*/ 5 w 5"/>
                  <a:gd name="T7" fmla="*/ 3 h 7"/>
                  <a:gd name="T8" fmla="*/ 5 w 5"/>
                  <a:gd name="T9" fmla="*/ 0 h 7"/>
                  <a:gd name="T10" fmla="*/ 2 w 5"/>
                  <a:gd name="T11" fmla="*/ 0 h 7"/>
                  <a:gd name="T12" fmla="*/ 2 w 5"/>
                  <a:gd name="T13" fmla="*/ 0 h 7"/>
                  <a:gd name="T14" fmla="*/ 0 w 5"/>
                  <a:gd name="T15" fmla="*/ 3 h 7"/>
                  <a:gd name="T16" fmla="*/ 0 w 5"/>
                  <a:gd name="T17" fmla="*/ 3 h 7"/>
                  <a:gd name="T18" fmla="*/ 0 w 5"/>
                  <a:gd name="T19" fmla="*/ 3 h 7"/>
                  <a:gd name="T20" fmla="*/ 0 w 5"/>
                  <a:gd name="T21" fmla="*/ 5 h 7"/>
                  <a:gd name="T22" fmla="*/ 0 w 5"/>
                  <a:gd name="T23" fmla="*/ 5 h 7"/>
                  <a:gd name="T24" fmla="*/ 2 w 5"/>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7">
                    <a:moveTo>
                      <a:pt x="2" y="7"/>
                    </a:moveTo>
                    <a:lnTo>
                      <a:pt x="5" y="7"/>
                    </a:lnTo>
                    <a:lnTo>
                      <a:pt x="5" y="5"/>
                    </a:lnTo>
                    <a:lnTo>
                      <a:pt x="5" y="3"/>
                    </a:lnTo>
                    <a:lnTo>
                      <a:pt x="5" y="0"/>
                    </a:lnTo>
                    <a:lnTo>
                      <a:pt x="2" y="0"/>
                    </a:lnTo>
                    <a:lnTo>
                      <a:pt x="2" y="0"/>
                    </a:lnTo>
                    <a:lnTo>
                      <a:pt x="0" y="3"/>
                    </a:lnTo>
                    <a:lnTo>
                      <a:pt x="0" y="3"/>
                    </a:lnTo>
                    <a:lnTo>
                      <a:pt x="0" y="3"/>
                    </a:lnTo>
                    <a:lnTo>
                      <a:pt x="0" y="5"/>
                    </a:lnTo>
                    <a:lnTo>
                      <a:pt x="0" y="5"/>
                    </a:ln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16" name="Freeform 51">
                <a:extLst>
                  <a:ext uri="{FF2B5EF4-FFF2-40B4-BE49-F238E27FC236}">
                    <a16:creationId xmlns:a16="http://schemas.microsoft.com/office/drawing/2014/main" id="{0A224AB5-30A9-4D39-ABEB-3FBC8364252E}"/>
                  </a:ext>
                </a:extLst>
              </p:cNvPr>
              <p:cNvSpPr>
                <a:spLocks/>
              </p:cNvSpPr>
              <p:nvPr/>
            </p:nvSpPr>
            <p:spPr bwMode="gray">
              <a:xfrm>
                <a:off x="-3202" y="711"/>
                <a:ext cx="81" cy="89"/>
              </a:xfrm>
              <a:custGeom>
                <a:avLst/>
                <a:gdLst>
                  <a:gd name="T0" fmla="*/ 41 w 81"/>
                  <a:gd name="T1" fmla="*/ 9 h 89"/>
                  <a:gd name="T2" fmla="*/ 36 w 81"/>
                  <a:gd name="T3" fmla="*/ 0 h 89"/>
                  <a:gd name="T4" fmla="*/ 31 w 81"/>
                  <a:gd name="T5" fmla="*/ 4 h 89"/>
                  <a:gd name="T6" fmla="*/ 26 w 81"/>
                  <a:gd name="T7" fmla="*/ 9 h 89"/>
                  <a:gd name="T8" fmla="*/ 29 w 81"/>
                  <a:gd name="T9" fmla="*/ 14 h 89"/>
                  <a:gd name="T10" fmla="*/ 31 w 81"/>
                  <a:gd name="T11" fmla="*/ 18 h 89"/>
                  <a:gd name="T12" fmla="*/ 33 w 81"/>
                  <a:gd name="T13" fmla="*/ 28 h 89"/>
                  <a:gd name="T14" fmla="*/ 36 w 81"/>
                  <a:gd name="T15" fmla="*/ 33 h 89"/>
                  <a:gd name="T16" fmla="*/ 26 w 81"/>
                  <a:gd name="T17" fmla="*/ 28 h 89"/>
                  <a:gd name="T18" fmla="*/ 24 w 81"/>
                  <a:gd name="T19" fmla="*/ 25 h 89"/>
                  <a:gd name="T20" fmla="*/ 17 w 81"/>
                  <a:gd name="T21" fmla="*/ 21 h 89"/>
                  <a:gd name="T22" fmla="*/ 15 w 81"/>
                  <a:gd name="T23" fmla="*/ 14 h 89"/>
                  <a:gd name="T24" fmla="*/ 12 w 81"/>
                  <a:gd name="T25" fmla="*/ 18 h 89"/>
                  <a:gd name="T26" fmla="*/ 17 w 81"/>
                  <a:gd name="T27" fmla="*/ 25 h 89"/>
                  <a:gd name="T28" fmla="*/ 12 w 81"/>
                  <a:gd name="T29" fmla="*/ 28 h 89"/>
                  <a:gd name="T30" fmla="*/ 12 w 81"/>
                  <a:gd name="T31" fmla="*/ 30 h 89"/>
                  <a:gd name="T32" fmla="*/ 15 w 81"/>
                  <a:gd name="T33" fmla="*/ 33 h 89"/>
                  <a:gd name="T34" fmla="*/ 12 w 81"/>
                  <a:gd name="T35" fmla="*/ 33 h 89"/>
                  <a:gd name="T36" fmla="*/ 5 w 81"/>
                  <a:gd name="T37" fmla="*/ 28 h 89"/>
                  <a:gd name="T38" fmla="*/ 0 w 81"/>
                  <a:gd name="T39" fmla="*/ 33 h 89"/>
                  <a:gd name="T40" fmla="*/ 8 w 81"/>
                  <a:gd name="T41" fmla="*/ 44 h 89"/>
                  <a:gd name="T42" fmla="*/ 17 w 81"/>
                  <a:gd name="T43" fmla="*/ 44 h 89"/>
                  <a:gd name="T44" fmla="*/ 19 w 81"/>
                  <a:gd name="T45" fmla="*/ 37 h 89"/>
                  <a:gd name="T46" fmla="*/ 22 w 81"/>
                  <a:gd name="T47" fmla="*/ 42 h 89"/>
                  <a:gd name="T48" fmla="*/ 24 w 81"/>
                  <a:gd name="T49" fmla="*/ 44 h 89"/>
                  <a:gd name="T50" fmla="*/ 24 w 81"/>
                  <a:gd name="T51" fmla="*/ 44 h 89"/>
                  <a:gd name="T52" fmla="*/ 26 w 81"/>
                  <a:gd name="T53" fmla="*/ 47 h 89"/>
                  <a:gd name="T54" fmla="*/ 36 w 81"/>
                  <a:gd name="T55" fmla="*/ 54 h 89"/>
                  <a:gd name="T56" fmla="*/ 26 w 81"/>
                  <a:gd name="T57" fmla="*/ 49 h 89"/>
                  <a:gd name="T58" fmla="*/ 24 w 81"/>
                  <a:gd name="T59" fmla="*/ 54 h 89"/>
                  <a:gd name="T60" fmla="*/ 29 w 81"/>
                  <a:gd name="T61" fmla="*/ 61 h 89"/>
                  <a:gd name="T62" fmla="*/ 31 w 81"/>
                  <a:gd name="T63" fmla="*/ 63 h 89"/>
                  <a:gd name="T64" fmla="*/ 36 w 81"/>
                  <a:gd name="T65" fmla="*/ 66 h 89"/>
                  <a:gd name="T66" fmla="*/ 33 w 81"/>
                  <a:gd name="T67" fmla="*/ 70 h 89"/>
                  <a:gd name="T68" fmla="*/ 45 w 81"/>
                  <a:gd name="T69" fmla="*/ 66 h 89"/>
                  <a:gd name="T70" fmla="*/ 48 w 81"/>
                  <a:gd name="T71" fmla="*/ 68 h 89"/>
                  <a:gd name="T72" fmla="*/ 50 w 81"/>
                  <a:gd name="T73" fmla="*/ 73 h 89"/>
                  <a:gd name="T74" fmla="*/ 52 w 81"/>
                  <a:gd name="T75" fmla="*/ 73 h 89"/>
                  <a:gd name="T76" fmla="*/ 55 w 81"/>
                  <a:gd name="T77" fmla="*/ 68 h 89"/>
                  <a:gd name="T78" fmla="*/ 55 w 81"/>
                  <a:gd name="T79" fmla="*/ 63 h 89"/>
                  <a:gd name="T80" fmla="*/ 57 w 81"/>
                  <a:gd name="T81" fmla="*/ 70 h 89"/>
                  <a:gd name="T82" fmla="*/ 62 w 81"/>
                  <a:gd name="T83" fmla="*/ 73 h 89"/>
                  <a:gd name="T84" fmla="*/ 57 w 81"/>
                  <a:gd name="T85" fmla="*/ 77 h 89"/>
                  <a:gd name="T86" fmla="*/ 57 w 81"/>
                  <a:gd name="T87" fmla="*/ 82 h 89"/>
                  <a:gd name="T88" fmla="*/ 59 w 81"/>
                  <a:gd name="T89" fmla="*/ 87 h 89"/>
                  <a:gd name="T90" fmla="*/ 69 w 81"/>
                  <a:gd name="T91" fmla="*/ 77 h 89"/>
                  <a:gd name="T92" fmla="*/ 71 w 81"/>
                  <a:gd name="T93" fmla="*/ 70 h 89"/>
                  <a:gd name="T94" fmla="*/ 81 w 81"/>
                  <a:gd name="T95" fmla="*/ 66 h 89"/>
                  <a:gd name="T96" fmla="*/ 76 w 81"/>
                  <a:gd name="T97" fmla="*/ 58 h 89"/>
                  <a:gd name="T98" fmla="*/ 67 w 81"/>
                  <a:gd name="T99" fmla="*/ 58 h 89"/>
                  <a:gd name="T100" fmla="*/ 64 w 81"/>
                  <a:gd name="T101" fmla="*/ 61 h 89"/>
                  <a:gd name="T102" fmla="*/ 59 w 81"/>
                  <a:gd name="T103" fmla="*/ 56 h 89"/>
                  <a:gd name="T104" fmla="*/ 52 w 81"/>
                  <a:gd name="T105" fmla="*/ 56 h 89"/>
                  <a:gd name="T106" fmla="*/ 52 w 81"/>
                  <a:gd name="T107" fmla="*/ 51 h 89"/>
                  <a:gd name="T108" fmla="*/ 50 w 81"/>
                  <a:gd name="T109" fmla="*/ 49 h 89"/>
                  <a:gd name="T110" fmla="*/ 48 w 81"/>
                  <a:gd name="T111" fmla="*/ 42 h 89"/>
                  <a:gd name="T112" fmla="*/ 45 w 81"/>
                  <a:gd name="T113" fmla="*/ 40 h 89"/>
                  <a:gd name="T114" fmla="*/ 48 w 81"/>
                  <a:gd name="T115" fmla="*/ 35 h 89"/>
                  <a:gd name="T116" fmla="*/ 45 w 81"/>
                  <a:gd name="T117" fmla="*/ 1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 h="89">
                    <a:moveTo>
                      <a:pt x="45" y="14"/>
                    </a:moveTo>
                    <a:lnTo>
                      <a:pt x="45" y="14"/>
                    </a:lnTo>
                    <a:lnTo>
                      <a:pt x="43" y="11"/>
                    </a:lnTo>
                    <a:lnTo>
                      <a:pt x="41" y="9"/>
                    </a:lnTo>
                    <a:lnTo>
                      <a:pt x="41" y="9"/>
                    </a:lnTo>
                    <a:lnTo>
                      <a:pt x="38" y="7"/>
                    </a:lnTo>
                    <a:lnTo>
                      <a:pt x="38" y="4"/>
                    </a:lnTo>
                    <a:lnTo>
                      <a:pt x="36" y="2"/>
                    </a:lnTo>
                    <a:lnTo>
                      <a:pt x="36" y="2"/>
                    </a:lnTo>
                    <a:lnTo>
                      <a:pt x="36" y="0"/>
                    </a:lnTo>
                    <a:lnTo>
                      <a:pt x="33" y="2"/>
                    </a:lnTo>
                    <a:lnTo>
                      <a:pt x="33" y="2"/>
                    </a:lnTo>
                    <a:lnTo>
                      <a:pt x="33" y="2"/>
                    </a:lnTo>
                    <a:lnTo>
                      <a:pt x="33" y="2"/>
                    </a:lnTo>
                    <a:lnTo>
                      <a:pt x="31" y="4"/>
                    </a:lnTo>
                    <a:lnTo>
                      <a:pt x="31" y="7"/>
                    </a:lnTo>
                    <a:lnTo>
                      <a:pt x="31" y="7"/>
                    </a:lnTo>
                    <a:lnTo>
                      <a:pt x="29" y="7"/>
                    </a:lnTo>
                    <a:lnTo>
                      <a:pt x="29" y="7"/>
                    </a:lnTo>
                    <a:lnTo>
                      <a:pt x="26" y="9"/>
                    </a:lnTo>
                    <a:lnTo>
                      <a:pt x="26" y="9"/>
                    </a:lnTo>
                    <a:lnTo>
                      <a:pt x="29" y="11"/>
                    </a:lnTo>
                    <a:lnTo>
                      <a:pt x="29" y="11"/>
                    </a:lnTo>
                    <a:lnTo>
                      <a:pt x="29" y="14"/>
                    </a:lnTo>
                    <a:lnTo>
                      <a:pt x="29" y="14"/>
                    </a:lnTo>
                    <a:lnTo>
                      <a:pt x="29" y="14"/>
                    </a:lnTo>
                    <a:lnTo>
                      <a:pt x="29" y="16"/>
                    </a:lnTo>
                    <a:lnTo>
                      <a:pt x="31" y="16"/>
                    </a:lnTo>
                    <a:lnTo>
                      <a:pt x="31" y="16"/>
                    </a:lnTo>
                    <a:lnTo>
                      <a:pt x="31" y="18"/>
                    </a:lnTo>
                    <a:lnTo>
                      <a:pt x="29" y="18"/>
                    </a:lnTo>
                    <a:lnTo>
                      <a:pt x="29" y="21"/>
                    </a:lnTo>
                    <a:lnTo>
                      <a:pt x="31" y="23"/>
                    </a:lnTo>
                    <a:lnTo>
                      <a:pt x="33" y="25"/>
                    </a:lnTo>
                    <a:lnTo>
                      <a:pt x="33" y="28"/>
                    </a:lnTo>
                    <a:lnTo>
                      <a:pt x="33" y="30"/>
                    </a:lnTo>
                    <a:lnTo>
                      <a:pt x="33" y="30"/>
                    </a:lnTo>
                    <a:lnTo>
                      <a:pt x="33" y="30"/>
                    </a:lnTo>
                    <a:lnTo>
                      <a:pt x="36" y="30"/>
                    </a:lnTo>
                    <a:lnTo>
                      <a:pt x="36" y="33"/>
                    </a:lnTo>
                    <a:lnTo>
                      <a:pt x="29" y="25"/>
                    </a:lnTo>
                    <a:lnTo>
                      <a:pt x="29" y="25"/>
                    </a:lnTo>
                    <a:lnTo>
                      <a:pt x="29" y="28"/>
                    </a:lnTo>
                    <a:lnTo>
                      <a:pt x="26" y="28"/>
                    </a:lnTo>
                    <a:lnTo>
                      <a:pt x="26" y="28"/>
                    </a:lnTo>
                    <a:lnTo>
                      <a:pt x="26" y="25"/>
                    </a:lnTo>
                    <a:lnTo>
                      <a:pt x="26" y="25"/>
                    </a:lnTo>
                    <a:lnTo>
                      <a:pt x="24" y="25"/>
                    </a:lnTo>
                    <a:lnTo>
                      <a:pt x="24" y="25"/>
                    </a:lnTo>
                    <a:lnTo>
                      <a:pt x="24" y="25"/>
                    </a:lnTo>
                    <a:lnTo>
                      <a:pt x="22" y="23"/>
                    </a:lnTo>
                    <a:lnTo>
                      <a:pt x="22" y="23"/>
                    </a:lnTo>
                    <a:lnTo>
                      <a:pt x="19" y="21"/>
                    </a:lnTo>
                    <a:lnTo>
                      <a:pt x="17" y="21"/>
                    </a:lnTo>
                    <a:lnTo>
                      <a:pt x="17" y="21"/>
                    </a:lnTo>
                    <a:lnTo>
                      <a:pt x="17" y="18"/>
                    </a:lnTo>
                    <a:lnTo>
                      <a:pt x="17" y="18"/>
                    </a:lnTo>
                    <a:lnTo>
                      <a:pt x="17" y="16"/>
                    </a:lnTo>
                    <a:lnTo>
                      <a:pt x="15" y="16"/>
                    </a:lnTo>
                    <a:lnTo>
                      <a:pt x="15" y="14"/>
                    </a:lnTo>
                    <a:lnTo>
                      <a:pt x="12" y="14"/>
                    </a:lnTo>
                    <a:lnTo>
                      <a:pt x="12" y="14"/>
                    </a:lnTo>
                    <a:lnTo>
                      <a:pt x="12" y="14"/>
                    </a:lnTo>
                    <a:lnTo>
                      <a:pt x="12" y="16"/>
                    </a:lnTo>
                    <a:lnTo>
                      <a:pt x="12" y="18"/>
                    </a:lnTo>
                    <a:lnTo>
                      <a:pt x="12" y="18"/>
                    </a:lnTo>
                    <a:lnTo>
                      <a:pt x="10" y="21"/>
                    </a:lnTo>
                    <a:lnTo>
                      <a:pt x="12" y="21"/>
                    </a:lnTo>
                    <a:lnTo>
                      <a:pt x="15" y="23"/>
                    </a:lnTo>
                    <a:lnTo>
                      <a:pt x="17" y="25"/>
                    </a:lnTo>
                    <a:lnTo>
                      <a:pt x="17" y="28"/>
                    </a:lnTo>
                    <a:lnTo>
                      <a:pt x="15" y="25"/>
                    </a:lnTo>
                    <a:lnTo>
                      <a:pt x="15" y="25"/>
                    </a:lnTo>
                    <a:lnTo>
                      <a:pt x="12" y="25"/>
                    </a:lnTo>
                    <a:lnTo>
                      <a:pt x="12" y="28"/>
                    </a:lnTo>
                    <a:lnTo>
                      <a:pt x="12" y="28"/>
                    </a:lnTo>
                    <a:lnTo>
                      <a:pt x="12" y="28"/>
                    </a:lnTo>
                    <a:lnTo>
                      <a:pt x="12" y="28"/>
                    </a:lnTo>
                    <a:lnTo>
                      <a:pt x="12" y="28"/>
                    </a:lnTo>
                    <a:lnTo>
                      <a:pt x="12" y="30"/>
                    </a:lnTo>
                    <a:lnTo>
                      <a:pt x="12" y="30"/>
                    </a:lnTo>
                    <a:lnTo>
                      <a:pt x="15" y="30"/>
                    </a:lnTo>
                    <a:lnTo>
                      <a:pt x="15" y="33"/>
                    </a:lnTo>
                    <a:lnTo>
                      <a:pt x="15" y="33"/>
                    </a:lnTo>
                    <a:lnTo>
                      <a:pt x="15" y="33"/>
                    </a:lnTo>
                    <a:lnTo>
                      <a:pt x="15" y="33"/>
                    </a:lnTo>
                    <a:lnTo>
                      <a:pt x="15" y="35"/>
                    </a:lnTo>
                    <a:lnTo>
                      <a:pt x="12" y="35"/>
                    </a:lnTo>
                    <a:lnTo>
                      <a:pt x="12" y="33"/>
                    </a:lnTo>
                    <a:lnTo>
                      <a:pt x="12" y="33"/>
                    </a:lnTo>
                    <a:lnTo>
                      <a:pt x="10" y="33"/>
                    </a:lnTo>
                    <a:lnTo>
                      <a:pt x="8" y="25"/>
                    </a:lnTo>
                    <a:lnTo>
                      <a:pt x="8" y="25"/>
                    </a:lnTo>
                    <a:lnTo>
                      <a:pt x="5" y="25"/>
                    </a:lnTo>
                    <a:lnTo>
                      <a:pt x="5" y="28"/>
                    </a:lnTo>
                    <a:lnTo>
                      <a:pt x="5" y="28"/>
                    </a:lnTo>
                    <a:lnTo>
                      <a:pt x="5" y="30"/>
                    </a:lnTo>
                    <a:lnTo>
                      <a:pt x="5" y="33"/>
                    </a:lnTo>
                    <a:lnTo>
                      <a:pt x="5" y="33"/>
                    </a:lnTo>
                    <a:lnTo>
                      <a:pt x="0" y="33"/>
                    </a:lnTo>
                    <a:lnTo>
                      <a:pt x="3" y="35"/>
                    </a:lnTo>
                    <a:lnTo>
                      <a:pt x="5" y="37"/>
                    </a:lnTo>
                    <a:lnTo>
                      <a:pt x="5" y="42"/>
                    </a:lnTo>
                    <a:lnTo>
                      <a:pt x="8" y="44"/>
                    </a:lnTo>
                    <a:lnTo>
                      <a:pt x="8" y="44"/>
                    </a:lnTo>
                    <a:lnTo>
                      <a:pt x="10" y="47"/>
                    </a:lnTo>
                    <a:lnTo>
                      <a:pt x="15" y="49"/>
                    </a:lnTo>
                    <a:lnTo>
                      <a:pt x="17" y="47"/>
                    </a:lnTo>
                    <a:lnTo>
                      <a:pt x="17" y="47"/>
                    </a:lnTo>
                    <a:lnTo>
                      <a:pt x="17" y="44"/>
                    </a:lnTo>
                    <a:lnTo>
                      <a:pt x="17" y="42"/>
                    </a:lnTo>
                    <a:lnTo>
                      <a:pt x="17" y="42"/>
                    </a:lnTo>
                    <a:lnTo>
                      <a:pt x="17" y="42"/>
                    </a:lnTo>
                    <a:lnTo>
                      <a:pt x="19" y="40"/>
                    </a:lnTo>
                    <a:lnTo>
                      <a:pt x="19" y="37"/>
                    </a:lnTo>
                    <a:lnTo>
                      <a:pt x="19" y="40"/>
                    </a:lnTo>
                    <a:lnTo>
                      <a:pt x="19" y="40"/>
                    </a:lnTo>
                    <a:lnTo>
                      <a:pt x="19" y="42"/>
                    </a:lnTo>
                    <a:lnTo>
                      <a:pt x="19" y="42"/>
                    </a:lnTo>
                    <a:lnTo>
                      <a:pt x="22" y="42"/>
                    </a:lnTo>
                    <a:lnTo>
                      <a:pt x="22" y="40"/>
                    </a:lnTo>
                    <a:lnTo>
                      <a:pt x="24" y="40"/>
                    </a:lnTo>
                    <a:lnTo>
                      <a:pt x="24" y="42"/>
                    </a:lnTo>
                    <a:lnTo>
                      <a:pt x="24" y="42"/>
                    </a:lnTo>
                    <a:lnTo>
                      <a:pt x="24" y="44"/>
                    </a:lnTo>
                    <a:lnTo>
                      <a:pt x="24" y="44"/>
                    </a:lnTo>
                    <a:lnTo>
                      <a:pt x="24" y="44"/>
                    </a:lnTo>
                    <a:lnTo>
                      <a:pt x="24" y="44"/>
                    </a:lnTo>
                    <a:lnTo>
                      <a:pt x="24" y="44"/>
                    </a:lnTo>
                    <a:lnTo>
                      <a:pt x="24" y="44"/>
                    </a:lnTo>
                    <a:lnTo>
                      <a:pt x="24" y="47"/>
                    </a:lnTo>
                    <a:lnTo>
                      <a:pt x="24" y="47"/>
                    </a:lnTo>
                    <a:lnTo>
                      <a:pt x="24" y="47"/>
                    </a:lnTo>
                    <a:lnTo>
                      <a:pt x="26" y="47"/>
                    </a:lnTo>
                    <a:lnTo>
                      <a:pt x="26" y="47"/>
                    </a:lnTo>
                    <a:lnTo>
                      <a:pt x="29" y="47"/>
                    </a:lnTo>
                    <a:lnTo>
                      <a:pt x="29" y="47"/>
                    </a:lnTo>
                    <a:lnTo>
                      <a:pt x="29" y="49"/>
                    </a:lnTo>
                    <a:lnTo>
                      <a:pt x="33" y="51"/>
                    </a:lnTo>
                    <a:lnTo>
                      <a:pt x="36" y="54"/>
                    </a:lnTo>
                    <a:lnTo>
                      <a:pt x="33" y="54"/>
                    </a:lnTo>
                    <a:lnTo>
                      <a:pt x="31" y="51"/>
                    </a:lnTo>
                    <a:lnTo>
                      <a:pt x="31" y="49"/>
                    </a:lnTo>
                    <a:lnTo>
                      <a:pt x="29" y="49"/>
                    </a:lnTo>
                    <a:lnTo>
                      <a:pt x="26" y="49"/>
                    </a:lnTo>
                    <a:lnTo>
                      <a:pt x="26" y="49"/>
                    </a:lnTo>
                    <a:lnTo>
                      <a:pt x="24" y="51"/>
                    </a:lnTo>
                    <a:lnTo>
                      <a:pt x="24" y="54"/>
                    </a:lnTo>
                    <a:lnTo>
                      <a:pt x="24" y="54"/>
                    </a:lnTo>
                    <a:lnTo>
                      <a:pt x="24" y="54"/>
                    </a:lnTo>
                    <a:lnTo>
                      <a:pt x="24" y="54"/>
                    </a:lnTo>
                    <a:lnTo>
                      <a:pt x="24" y="54"/>
                    </a:lnTo>
                    <a:lnTo>
                      <a:pt x="24" y="56"/>
                    </a:lnTo>
                    <a:lnTo>
                      <a:pt x="24" y="56"/>
                    </a:lnTo>
                    <a:lnTo>
                      <a:pt x="29" y="61"/>
                    </a:lnTo>
                    <a:lnTo>
                      <a:pt x="29" y="61"/>
                    </a:lnTo>
                    <a:lnTo>
                      <a:pt x="31" y="61"/>
                    </a:lnTo>
                    <a:lnTo>
                      <a:pt x="31" y="61"/>
                    </a:lnTo>
                    <a:lnTo>
                      <a:pt x="31" y="63"/>
                    </a:lnTo>
                    <a:lnTo>
                      <a:pt x="31" y="63"/>
                    </a:lnTo>
                    <a:lnTo>
                      <a:pt x="31" y="63"/>
                    </a:lnTo>
                    <a:lnTo>
                      <a:pt x="31" y="66"/>
                    </a:lnTo>
                    <a:lnTo>
                      <a:pt x="31" y="68"/>
                    </a:lnTo>
                    <a:lnTo>
                      <a:pt x="33" y="68"/>
                    </a:lnTo>
                    <a:lnTo>
                      <a:pt x="36" y="66"/>
                    </a:lnTo>
                    <a:lnTo>
                      <a:pt x="36" y="66"/>
                    </a:lnTo>
                    <a:lnTo>
                      <a:pt x="38" y="66"/>
                    </a:lnTo>
                    <a:lnTo>
                      <a:pt x="38" y="68"/>
                    </a:lnTo>
                    <a:lnTo>
                      <a:pt x="36" y="70"/>
                    </a:lnTo>
                    <a:lnTo>
                      <a:pt x="33" y="70"/>
                    </a:lnTo>
                    <a:lnTo>
                      <a:pt x="33" y="70"/>
                    </a:lnTo>
                    <a:lnTo>
                      <a:pt x="45" y="68"/>
                    </a:lnTo>
                    <a:lnTo>
                      <a:pt x="45" y="68"/>
                    </a:lnTo>
                    <a:lnTo>
                      <a:pt x="45" y="68"/>
                    </a:lnTo>
                    <a:lnTo>
                      <a:pt x="45" y="66"/>
                    </a:lnTo>
                    <a:lnTo>
                      <a:pt x="45" y="66"/>
                    </a:lnTo>
                    <a:lnTo>
                      <a:pt x="45" y="66"/>
                    </a:lnTo>
                    <a:lnTo>
                      <a:pt x="48" y="68"/>
                    </a:lnTo>
                    <a:lnTo>
                      <a:pt x="48" y="68"/>
                    </a:lnTo>
                    <a:lnTo>
                      <a:pt x="48" y="68"/>
                    </a:lnTo>
                    <a:lnTo>
                      <a:pt x="48" y="68"/>
                    </a:lnTo>
                    <a:lnTo>
                      <a:pt x="48" y="68"/>
                    </a:lnTo>
                    <a:lnTo>
                      <a:pt x="50" y="68"/>
                    </a:lnTo>
                    <a:lnTo>
                      <a:pt x="50" y="70"/>
                    </a:lnTo>
                    <a:lnTo>
                      <a:pt x="50" y="73"/>
                    </a:lnTo>
                    <a:lnTo>
                      <a:pt x="50" y="75"/>
                    </a:lnTo>
                    <a:lnTo>
                      <a:pt x="50" y="75"/>
                    </a:lnTo>
                    <a:lnTo>
                      <a:pt x="52" y="75"/>
                    </a:lnTo>
                    <a:lnTo>
                      <a:pt x="52" y="73"/>
                    </a:lnTo>
                    <a:lnTo>
                      <a:pt x="52" y="73"/>
                    </a:lnTo>
                    <a:lnTo>
                      <a:pt x="55" y="70"/>
                    </a:lnTo>
                    <a:lnTo>
                      <a:pt x="52" y="70"/>
                    </a:lnTo>
                    <a:lnTo>
                      <a:pt x="55" y="70"/>
                    </a:lnTo>
                    <a:lnTo>
                      <a:pt x="55" y="68"/>
                    </a:lnTo>
                    <a:lnTo>
                      <a:pt x="55" y="68"/>
                    </a:lnTo>
                    <a:lnTo>
                      <a:pt x="55" y="66"/>
                    </a:lnTo>
                    <a:lnTo>
                      <a:pt x="55" y="63"/>
                    </a:lnTo>
                    <a:lnTo>
                      <a:pt x="55" y="63"/>
                    </a:lnTo>
                    <a:lnTo>
                      <a:pt x="55" y="63"/>
                    </a:lnTo>
                    <a:lnTo>
                      <a:pt x="55" y="63"/>
                    </a:lnTo>
                    <a:lnTo>
                      <a:pt x="57" y="68"/>
                    </a:lnTo>
                    <a:lnTo>
                      <a:pt x="57" y="68"/>
                    </a:lnTo>
                    <a:lnTo>
                      <a:pt x="57" y="68"/>
                    </a:lnTo>
                    <a:lnTo>
                      <a:pt x="57" y="70"/>
                    </a:lnTo>
                    <a:lnTo>
                      <a:pt x="57" y="70"/>
                    </a:lnTo>
                    <a:lnTo>
                      <a:pt x="64" y="70"/>
                    </a:lnTo>
                    <a:lnTo>
                      <a:pt x="67" y="68"/>
                    </a:lnTo>
                    <a:lnTo>
                      <a:pt x="69" y="68"/>
                    </a:lnTo>
                    <a:lnTo>
                      <a:pt x="69" y="68"/>
                    </a:lnTo>
                    <a:lnTo>
                      <a:pt x="62" y="73"/>
                    </a:lnTo>
                    <a:lnTo>
                      <a:pt x="59" y="73"/>
                    </a:lnTo>
                    <a:lnTo>
                      <a:pt x="59" y="73"/>
                    </a:lnTo>
                    <a:lnTo>
                      <a:pt x="57" y="77"/>
                    </a:lnTo>
                    <a:lnTo>
                      <a:pt x="57" y="77"/>
                    </a:lnTo>
                    <a:lnTo>
                      <a:pt x="57" y="77"/>
                    </a:lnTo>
                    <a:lnTo>
                      <a:pt x="57" y="77"/>
                    </a:lnTo>
                    <a:lnTo>
                      <a:pt x="57" y="80"/>
                    </a:lnTo>
                    <a:lnTo>
                      <a:pt x="57" y="80"/>
                    </a:lnTo>
                    <a:lnTo>
                      <a:pt x="57" y="80"/>
                    </a:lnTo>
                    <a:lnTo>
                      <a:pt x="57" y="82"/>
                    </a:lnTo>
                    <a:lnTo>
                      <a:pt x="55" y="84"/>
                    </a:lnTo>
                    <a:lnTo>
                      <a:pt x="55" y="87"/>
                    </a:lnTo>
                    <a:lnTo>
                      <a:pt x="55" y="89"/>
                    </a:lnTo>
                    <a:lnTo>
                      <a:pt x="57" y="89"/>
                    </a:lnTo>
                    <a:lnTo>
                      <a:pt x="59" y="87"/>
                    </a:lnTo>
                    <a:lnTo>
                      <a:pt x="62" y="87"/>
                    </a:lnTo>
                    <a:lnTo>
                      <a:pt x="62" y="84"/>
                    </a:lnTo>
                    <a:lnTo>
                      <a:pt x="67" y="80"/>
                    </a:lnTo>
                    <a:lnTo>
                      <a:pt x="67" y="80"/>
                    </a:lnTo>
                    <a:lnTo>
                      <a:pt x="69" y="77"/>
                    </a:lnTo>
                    <a:lnTo>
                      <a:pt x="69" y="77"/>
                    </a:lnTo>
                    <a:lnTo>
                      <a:pt x="71" y="77"/>
                    </a:lnTo>
                    <a:lnTo>
                      <a:pt x="71" y="75"/>
                    </a:lnTo>
                    <a:lnTo>
                      <a:pt x="71" y="70"/>
                    </a:lnTo>
                    <a:lnTo>
                      <a:pt x="71" y="70"/>
                    </a:lnTo>
                    <a:lnTo>
                      <a:pt x="76" y="70"/>
                    </a:lnTo>
                    <a:lnTo>
                      <a:pt x="76" y="70"/>
                    </a:lnTo>
                    <a:lnTo>
                      <a:pt x="78" y="68"/>
                    </a:lnTo>
                    <a:lnTo>
                      <a:pt x="81" y="66"/>
                    </a:lnTo>
                    <a:lnTo>
                      <a:pt x="81" y="66"/>
                    </a:lnTo>
                    <a:lnTo>
                      <a:pt x="81" y="63"/>
                    </a:lnTo>
                    <a:lnTo>
                      <a:pt x="81" y="63"/>
                    </a:lnTo>
                    <a:lnTo>
                      <a:pt x="81" y="61"/>
                    </a:lnTo>
                    <a:lnTo>
                      <a:pt x="81" y="58"/>
                    </a:lnTo>
                    <a:lnTo>
                      <a:pt x="76" y="58"/>
                    </a:lnTo>
                    <a:lnTo>
                      <a:pt x="76" y="56"/>
                    </a:lnTo>
                    <a:lnTo>
                      <a:pt x="74" y="56"/>
                    </a:lnTo>
                    <a:lnTo>
                      <a:pt x="71" y="56"/>
                    </a:lnTo>
                    <a:lnTo>
                      <a:pt x="69" y="58"/>
                    </a:lnTo>
                    <a:lnTo>
                      <a:pt x="67" y="58"/>
                    </a:lnTo>
                    <a:lnTo>
                      <a:pt x="67" y="58"/>
                    </a:lnTo>
                    <a:lnTo>
                      <a:pt x="67" y="61"/>
                    </a:lnTo>
                    <a:lnTo>
                      <a:pt x="64" y="61"/>
                    </a:lnTo>
                    <a:lnTo>
                      <a:pt x="64" y="61"/>
                    </a:lnTo>
                    <a:lnTo>
                      <a:pt x="64" y="61"/>
                    </a:lnTo>
                    <a:lnTo>
                      <a:pt x="62" y="58"/>
                    </a:lnTo>
                    <a:lnTo>
                      <a:pt x="62" y="58"/>
                    </a:lnTo>
                    <a:lnTo>
                      <a:pt x="62" y="56"/>
                    </a:lnTo>
                    <a:lnTo>
                      <a:pt x="59" y="56"/>
                    </a:lnTo>
                    <a:lnTo>
                      <a:pt x="59" y="56"/>
                    </a:lnTo>
                    <a:lnTo>
                      <a:pt x="57" y="56"/>
                    </a:lnTo>
                    <a:lnTo>
                      <a:pt x="57" y="56"/>
                    </a:lnTo>
                    <a:lnTo>
                      <a:pt x="55" y="56"/>
                    </a:lnTo>
                    <a:lnTo>
                      <a:pt x="52" y="56"/>
                    </a:lnTo>
                    <a:lnTo>
                      <a:pt x="52" y="56"/>
                    </a:lnTo>
                    <a:lnTo>
                      <a:pt x="52" y="56"/>
                    </a:lnTo>
                    <a:lnTo>
                      <a:pt x="52" y="54"/>
                    </a:lnTo>
                    <a:lnTo>
                      <a:pt x="55" y="54"/>
                    </a:lnTo>
                    <a:lnTo>
                      <a:pt x="55" y="51"/>
                    </a:lnTo>
                    <a:lnTo>
                      <a:pt x="52" y="51"/>
                    </a:lnTo>
                    <a:lnTo>
                      <a:pt x="45" y="54"/>
                    </a:lnTo>
                    <a:lnTo>
                      <a:pt x="48" y="51"/>
                    </a:lnTo>
                    <a:lnTo>
                      <a:pt x="50" y="49"/>
                    </a:lnTo>
                    <a:lnTo>
                      <a:pt x="50" y="49"/>
                    </a:lnTo>
                    <a:lnTo>
                      <a:pt x="50" y="49"/>
                    </a:lnTo>
                    <a:lnTo>
                      <a:pt x="48" y="47"/>
                    </a:lnTo>
                    <a:lnTo>
                      <a:pt x="48" y="47"/>
                    </a:lnTo>
                    <a:lnTo>
                      <a:pt x="48" y="44"/>
                    </a:lnTo>
                    <a:lnTo>
                      <a:pt x="48" y="42"/>
                    </a:lnTo>
                    <a:lnTo>
                      <a:pt x="48" y="42"/>
                    </a:lnTo>
                    <a:lnTo>
                      <a:pt x="48" y="42"/>
                    </a:lnTo>
                    <a:lnTo>
                      <a:pt x="48" y="40"/>
                    </a:lnTo>
                    <a:lnTo>
                      <a:pt x="48" y="40"/>
                    </a:lnTo>
                    <a:lnTo>
                      <a:pt x="45" y="40"/>
                    </a:lnTo>
                    <a:lnTo>
                      <a:pt x="45" y="40"/>
                    </a:lnTo>
                    <a:lnTo>
                      <a:pt x="43" y="42"/>
                    </a:lnTo>
                    <a:lnTo>
                      <a:pt x="45" y="40"/>
                    </a:lnTo>
                    <a:lnTo>
                      <a:pt x="45" y="37"/>
                    </a:lnTo>
                    <a:lnTo>
                      <a:pt x="48" y="37"/>
                    </a:lnTo>
                    <a:lnTo>
                      <a:pt x="48" y="35"/>
                    </a:lnTo>
                    <a:lnTo>
                      <a:pt x="48" y="33"/>
                    </a:lnTo>
                    <a:lnTo>
                      <a:pt x="48" y="30"/>
                    </a:lnTo>
                    <a:lnTo>
                      <a:pt x="48" y="28"/>
                    </a:lnTo>
                    <a:lnTo>
                      <a:pt x="48" y="25"/>
                    </a:lnTo>
                    <a:lnTo>
                      <a:pt x="45" y="16"/>
                    </a:lnTo>
                    <a:lnTo>
                      <a:pt x="45"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17" name="Freeform 52">
                <a:extLst>
                  <a:ext uri="{FF2B5EF4-FFF2-40B4-BE49-F238E27FC236}">
                    <a16:creationId xmlns:a16="http://schemas.microsoft.com/office/drawing/2014/main" id="{B29948E1-0C8E-41A5-A738-A640C222CA3D}"/>
                  </a:ext>
                </a:extLst>
              </p:cNvPr>
              <p:cNvSpPr>
                <a:spLocks/>
              </p:cNvSpPr>
              <p:nvPr/>
            </p:nvSpPr>
            <p:spPr bwMode="gray">
              <a:xfrm>
                <a:off x="-3232" y="708"/>
                <a:ext cx="5" cy="3"/>
              </a:xfrm>
              <a:custGeom>
                <a:avLst/>
                <a:gdLst>
                  <a:gd name="T0" fmla="*/ 0 w 5"/>
                  <a:gd name="T1" fmla="*/ 3 h 3"/>
                  <a:gd name="T2" fmla="*/ 2 w 5"/>
                  <a:gd name="T3" fmla="*/ 3 h 3"/>
                  <a:gd name="T4" fmla="*/ 5 w 5"/>
                  <a:gd name="T5" fmla="*/ 3 h 3"/>
                  <a:gd name="T6" fmla="*/ 5 w 5"/>
                  <a:gd name="T7" fmla="*/ 0 h 3"/>
                  <a:gd name="T8" fmla="*/ 5 w 5"/>
                  <a:gd name="T9" fmla="*/ 0 h 3"/>
                  <a:gd name="T10" fmla="*/ 5 w 5"/>
                  <a:gd name="T11" fmla="*/ 0 h 3"/>
                  <a:gd name="T12" fmla="*/ 0 w 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5" h="3">
                    <a:moveTo>
                      <a:pt x="0" y="3"/>
                    </a:moveTo>
                    <a:lnTo>
                      <a:pt x="2" y="3"/>
                    </a:lnTo>
                    <a:lnTo>
                      <a:pt x="5" y="3"/>
                    </a:lnTo>
                    <a:lnTo>
                      <a:pt x="5" y="0"/>
                    </a:lnTo>
                    <a:lnTo>
                      <a:pt x="5" y="0"/>
                    </a:lnTo>
                    <a:lnTo>
                      <a:pt x="5"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18" name="Freeform 53">
                <a:extLst>
                  <a:ext uri="{FF2B5EF4-FFF2-40B4-BE49-F238E27FC236}">
                    <a16:creationId xmlns:a16="http://schemas.microsoft.com/office/drawing/2014/main" id="{623D3643-C086-4CEA-8C8E-A8F56CC60000}"/>
                  </a:ext>
                </a:extLst>
              </p:cNvPr>
              <p:cNvSpPr>
                <a:spLocks/>
              </p:cNvSpPr>
              <p:nvPr/>
            </p:nvSpPr>
            <p:spPr bwMode="gray">
              <a:xfrm>
                <a:off x="-3220" y="682"/>
                <a:ext cx="4" cy="7"/>
              </a:xfrm>
              <a:custGeom>
                <a:avLst/>
                <a:gdLst>
                  <a:gd name="T0" fmla="*/ 2 w 4"/>
                  <a:gd name="T1" fmla="*/ 5 h 7"/>
                  <a:gd name="T2" fmla="*/ 2 w 4"/>
                  <a:gd name="T3" fmla="*/ 3 h 7"/>
                  <a:gd name="T4" fmla="*/ 4 w 4"/>
                  <a:gd name="T5" fmla="*/ 5 h 7"/>
                  <a:gd name="T6" fmla="*/ 4 w 4"/>
                  <a:gd name="T7" fmla="*/ 5 h 7"/>
                  <a:gd name="T8" fmla="*/ 4 w 4"/>
                  <a:gd name="T9" fmla="*/ 3 h 7"/>
                  <a:gd name="T10" fmla="*/ 2 w 4"/>
                  <a:gd name="T11" fmla="*/ 0 h 7"/>
                  <a:gd name="T12" fmla="*/ 2 w 4"/>
                  <a:gd name="T13" fmla="*/ 3 h 7"/>
                  <a:gd name="T14" fmla="*/ 0 w 4"/>
                  <a:gd name="T15" fmla="*/ 5 h 7"/>
                  <a:gd name="T16" fmla="*/ 0 w 4"/>
                  <a:gd name="T17" fmla="*/ 5 h 7"/>
                  <a:gd name="T18" fmla="*/ 0 w 4"/>
                  <a:gd name="T19" fmla="*/ 5 h 7"/>
                  <a:gd name="T20" fmla="*/ 0 w 4"/>
                  <a:gd name="T21" fmla="*/ 7 h 7"/>
                  <a:gd name="T22" fmla="*/ 0 w 4"/>
                  <a:gd name="T23" fmla="*/ 7 h 7"/>
                  <a:gd name="T24" fmla="*/ 0 w 4"/>
                  <a:gd name="T25" fmla="*/ 5 h 7"/>
                  <a:gd name="T26" fmla="*/ 2 w 4"/>
                  <a:gd name="T2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7">
                    <a:moveTo>
                      <a:pt x="2" y="5"/>
                    </a:moveTo>
                    <a:lnTo>
                      <a:pt x="2" y="3"/>
                    </a:lnTo>
                    <a:lnTo>
                      <a:pt x="4" y="5"/>
                    </a:lnTo>
                    <a:lnTo>
                      <a:pt x="4" y="5"/>
                    </a:lnTo>
                    <a:lnTo>
                      <a:pt x="4" y="3"/>
                    </a:lnTo>
                    <a:lnTo>
                      <a:pt x="2" y="0"/>
                    </a:lnTo>
                    <a:lnTo>
                      <a:pt x="2" y="3"/>
                    </a:lnTo>
                    <a:lnTo>
                      <a:pt x="0" y="5"/>
                    </a:lnTo>
                    <a:lnTo>
                      <a:pt x="0" y="5"/>
                    </a:lnTo>
                    <a:lnTo>
                      <a:pt x="0" y="5"/>
                    </a:lnTo>
                    <a:lnTo>
                      <a:pt x="0" y="7"/>
                    </a:lnTo>
                    <a:lnTo>
                      <a:pt x="0" y="7"/>
                    </a:lnTo>
                    <a:lnTo>
                      <a:pt x="0"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19" name="Freeform 54">
                <a:extLst>
                  <a:ext uri="{FF2B5EF4-FFF2-40B4-BE49-F238E27FC236}">
                    <a16:creationId xmlns:a16="http://schemas.microsoft.com/office/drawing/2014/main" id="{65B6FF08-51BF-4D66-89C2-5F60EC0DFF83}"/>
                  </a:ext>
                </a:extLst>
              </p:cNvPr>
              <p:cNvSpPr>
                <a:spLocks/>
              </p:cNvSpPr>
              <p:nvPr/>
            </p:nvSpPr>
            <p:spPr bwMode="gray">
              <a:xfrm>
                <a:off x="-3216" y="861"/>
                <a:ext cx="19" cy="12"/>
              </a:xfrm>
              <a:custGeom>
                <a:avLst/>
                <a:gdLst>
                  <a:gd name="T0" fmla="*/ 17 w 19"/>
                  <a:gd name="T1" fmla="*/ 0 h 12"/>
                  <a:gd name="T2" fmla="*/ 12 w 19"/>
                  <a:gd name="T3" fmla="*/ 0 h 12"/>
                  <a:gd name="T4" fmla="*/ 12 w 19"/>
                  <a:gd name="T5" fmla="*/ 0 h 12"/>
                  <a:gd name="T6" fmla="*/ 10 w 19"/>
                  <a:gd name="T7" fmla="*/ 3 h 12"/>
                  <a:gd name="T8" fmla="*/ 7 w 19"/>
                  <a:gd name="T9" fmla="*/ 3 h 12"/>
                  <a:gd name="T10" fmla="*/ 3 w 19"/>
                  <a:gd name="T11" fmla="*/ 5 h 12"/>
                  <a:gd name="T12" fmla="*/ 0 w 19"/>
                  <a:gd name="T13" fmla="*/ 5 h 12"/>
                  <a:gd name="T14" fmla="*/ 3 w 19"/>
                  <a:gd name="T15" fmla="*/ 7 h 12"/>
                  <a:gd name="T16" fmla="*/ 3 w 19"/>
                  <a:gd name="T17" fmla="*/ 10 h 12"/>
                  <a:gd name="T18" fmla="*/ 3 w 19"/>
                  <a:gd name="T19" fmla="*/ 12 h 12"/>
                  <a:gd name="T20" fmla="*/ 7 w 19"/>
                  <a:gd name="T21" fmla="*/ 12 h 12"/>
                  <a:gd name="T22" fmla="*/ 7 w 19"/>
                  <a:gd name="T23" fmla="*/ 12 h 12"/>
                  <a:gd name="T24" fmla="*/ 7 w 19"/>
                  <a:gd name="T25" fmla="*/ 10 h 12"/>
                  <a:gd name="T26" fmla="*/ 10 w 19"/>
                  <a:gd name="T27" fmla="*/ 7 h 12"/>
                  <a:gd name="T28" fmla="*/ 12 w 19"/>
                  <a:gd name="T29" fmla="*/ 7 h 12"/>
                  <a:gd name="T30" fmla="*/ 12 w 19"/>
                  <a:gd name="T31" fmla="*/ 7 h 12"/>
                  <a:gd name="T32" fmla="*/ 14 w 19"/>
                  <a:gd name="T33" fmla="*/ 5 h 12"/>
                  <a:gd name="T34" fmla="*/ 14 w 19"/>
                  <a:gd name="T35" fmla="*/ 5 h 12"/>
                  <a:gd name="T36" fmla="*/ 19 w 19"/>
                  <a:gd name="T37" fmla="*/ 3 h 12"/>
                  <a:gd name="T38" fmla="*/ 19 w 19"/>
                  <a:gd name="T39" fmla="*/ 3 h 12"/>
                  <a:gd name="T40" fmla="*/ 19 w 19"/>
                  <a:gd name="T41" fmla="*/ 0 h 12"/>
                  <a:gd name="T42" fmla="*/ 17 w 19"/>
                  <a:gd name="T4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2">
                    <a:moveTo>
                      <a:pt x="17" y="0"/>
                    </a:moveTo>
                    <a:lnTo>
                      <a:pt x="12" y="0"/>
                    </a:lnTo>
                    <a:lnTo>
                      <a:pt x="12" y="0"/>
                    </a:lnTo>
                    <a:lnTo>
                      <a:pt x="10" y="3"/>
                    </a:lnTo>
                    <a:lnTo>
                      <a:pt x="7" y="3"/>
                    </a:lnTo>
                    <a:lnTo>
                      <a:pt x="3" y="5"/>
                    </a:lnTo>
                    <a:lnTo>
                      <a:pt x="0" y="5"/>
                    </a:lnTo>
                    <a:lnTo>
                      <a:pt x="3" y="7"/>
                    </a:lnTo>
                    <a:lnTo>
                      <a:pt x="3" y="10"/>
                    </a:lnTo>
                    <a:lnTo>
                      <a:pt x="3" y="12"/>
                    </a:lnTo>
                    <a:lnTo>
                      <a:pt x="7" y="12"/>
                    </a:lnTo>
                    <a:lnTo>
                      <a:pt x="7" y="12"/>
                    </a:lnTo>
                    <a:lnTo>
                      <a:pt x="7" y="10"/>
                    </a:lnTo>
                    <a:lnTo>
                      <a:pt x="10" y="7"/>
                    </a:lnTo>
                    <a:lnTo>
                      <a:pt x="12" y="7"/>
                    </a:lnTo>
                    <a:lnTo>
                      <a:pt x="12" y="7"/>
                    </a:lnTo>
                    <a:lnTo>
                      <a:pt x="14" y="5"/>
                    </a:lnTo>
                    <a:lnTo>
                      <a:pt x="14" y="5"/>
                    </a:lnTo>
                    <a:lnTo>
                      <a:pt x="19" y="3"/>
                    </a:lnTo>
                    <a:lnTo>
                      <a:pt x="19" y="3"/>
                    </a:lnTo>
                    <a:lnTo>
                      <a:pt x="19" y="0"/>
                    </a:lnTo>
                    <a:lnTo>
                      <a:pt x="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20" name="Freeform 55">
                <a:extLst>
                  <a:ext uri="{FF2B5EF4-FFF2-40B4-BE49-F238E27FC236}">
                    <a16:creationId xmlns:a16="http://schemas.microsoft.com/office/drawing/2014/main" id="{DA4FDFE2-CA01-41C9-BD8D-C72A67D7D133}"/>
                  </a:ext>
                </a:extLst>
              </p:cNvPr>
              <p:cNvSpPr>
                <a:spLocks/>
              </p:cNvSpPr>
              <p:nvPr/>
            </p:nvSpPr>
            <p:spPr bwMode="gray">
              <a:xfrm>
                <a:off x="-3225" y="605"/>
                <a:ext cx="71" cy="103"/>
              </a:xfrm>
              <a:custGeom>
                <a:avLst/>
                <a:gdLst>
                  <a:gd name="T0" fmla="*/ 35 w 71"/>
                  <a:gd name="T1" fmla="*/ 21 h 103"/>
                  <a:gd name="T2" fmla="*/ 31 w 71"/>
                  <a:gd name="T3" fmla="*/ 23 h 103"/>
                  <a:gd name="T4" fmla="*/ 23 w 71"/>
                  <a:gd name="T5" fmla="*/ 33 h 103"/>
                  <a:gd name="T6" fmla="*/ 23 w 71"/>
                  <a:gd name="T7" fmla="*/ 35 h 103"/>
                  <a:gd name="T8" fmla="*/ 26 w 71"/>
                  <a:gd name="T9" fmla="*/ 37 h 103"/>
                  <a:gd name="T10" fmla="*/ 31 w 71"/>
                  <a:gd name="T11" fmla="*/ 42 h 103"/>
                  <a:gd name="T12" fmla="*/ 21 w 71"/>
                  <a:gd name="T13" fmla="*/ 42 h 103"/>
                  <a:gd name="T14" fmla="*/ 16 w 71"/>
                  <a:gd name="T15" fmla="*/ 47 h 103"/>
                  <a:gd name="T16" fmla="*/ 19 w 71"/>
                  <a:gd name="T17" fmla="*/ 51 h 103"/>
                  <a:gd name="T18" fmla="*/ 14 w 71"/>
                  <a:gd name="T19" fmla="*/ 40 h 103"/>
                  <a:gd name="T20" fmla="*/ 7 w 71"/>
                  <a:gd name="T21" fmla="*/ 35 h 103"/>
                  <a:gd name="T22" fmla="*/ 7 w 71"/>
                  <a:gd name="T23" fmla="*/ 42 h 103"/>
                  <a:gd name="T24" fmla="*/ 2 w 71"/>
                  <a:gd name="T25" fmla="*/ 44 h 103"/>
                  <a:gd name="T26" fmla="*/ 2 w 71"/>
                  <a:gd name="T27" fmla="*/ 49 h 103"/>
                  <a:gd name="T28" fmla="*/ 2 w 71"/>
                  <a:gd name="T29" fmla="*/ 54 h 103"/>
                  <a:gd name="T30" fmla="*/ 7 w 71"/>
                  <a:gd name="T31" fmla="*/ 58 h 103"/>
                  <a:gd name="T32" fmla="*/ 7 w 71"/>
                  <a:gd name="T33" fmla="*/ 61 h 103"/>
                  <a:gd name="T34" fmla="*/ 7 w 71"/>
                  <a:gd name="T35" fmla="*/ 63 h 103"/>
                  <a:gd name="T36" fmla="*/ 5 w 71"/>
                  <a:gd name="T37" fmla="*/ 66 h 103"/>
                  <a:gd name="T38" fmla="*/ 7 w 71"/>
                  <a:gd name="T39" fmla="*/ 70 h 103"/>
                  <a:gd name="T40" fmla="*/ 16 w 71"/>
                  <a:gd name="T41" fmla="*/ 77 h 103"/>
                  <a:gd name="T42" fmla="*/ 19 w 71"/>
                  <a:gd name="T43" fmla="*/ 80 h 103"/>
                  <a:gd name="T44" fmla="*/ 16 w 71"/>
                  <a:gd name="T45" fmla="*/ 80 h 103"/>
                  <a:gd name="T46" fmla="*/ 9 w 71"/>
                  <a:gd name="T47" fmla="*/ 87 h 103"/>
                  <a:gd name="T48" fmla="*/ 0 w 71"/>
                  <a:gd name="T49" fmla="*/ 89 h 103"/>
                  <a:gd name="T50" fmla="*/ 7 w 71"/>
                  <a:gd name="T51" fmla="*/ 98 h 103"/>
                  <a:gd name="T52" fmla="*/ 19 w 71"/>
                  <a:gd name="T53" fmla="*/ 96 h 103"/>
                  <a:gd name="T54" fmla="*/ 21 w 71"/>
                  <a:gd name="T55" fmla="*/ 91 h 103"/>
                  <a:gd name="T56" fmla="*/ 23 w 71"/>
                  <a:gd name="T57" fmla="*/ 91 h 103"/>
                  <a:gd name="T58" fmla="*/ 28 w 71"/>
                  <a:gd name="T59" fmla="*/ 89 h 103"/>
                  <a:gd name="T60" fmla="*/ 23 w 71"/>
                  <a:gd name="T61" fmla="*/ 82 h 103"/>
                  <a:gd name="T62" fmla="*/ 33 w 71"/>
                  <a:gd name="T63" fmla="*/ 80 h 103"/>
                  <a:gd name="T64" fmla="*/ 31 w 71"/>
                  <a:gd name="T65" fmla="*/ 77 h 103"/>
                  <a:gd name="T66" fmla="*/ 28 w 71"/>
                  <a:gd name="T67" fmla="*/ 73 h 103"/>
                  <a:gd name="T68" fmla="*/ 31 w 71"/>
                  <a:gd name="T69" fmla="*/ 63 h 103"/>
                  <a:gd name="T70" fmla="*/ 33 w 71"/>
                  <a:gd name="T71" fmla="*/ 63 h 103"/>
                  <a:gd name="T72" fmla="*/ 33 w 71"/>
                  <a:gd name="T73" fmla="*/ 77 h 103"/>
                  <a:gd name="T74" fmla="*/ 35 w 71"/>
                  <a:gd name="T75" fmla="*/ 75 h 103"/>
                  <a:gd name="T76" fmla="*/ 38 w 71"/>
                  <a:gd name="T77" fmla="*/ 77 h 103"/>
                  <a:gd name="T78" fmla="*/ 42 w 71"/>
                  <a:gd name="T79" fmla="*/ 77 h 103"/>
                  <a:gd name="T80" fmla="*/ 45 w 71"/>
                  <a:gd name="T81" fmla="*/ 75 h 103"/>
                  <a:gd name="T82" fmla="*/ 45 w 71"/>
                  <a:gd name="T83" fmla="*/ 68 h 103"/>
                  <a:gd name="T84" fmla="*/ 42 w 71"/>
                  <a:gd name="T85" fmla="*/ 66 h 103"/>
                  <a:gd name="T86" fmla="*/ 54 w 71"/>
                  <a:gd name="T87" fmla="*/ 63 h 103"/>
                  <a:gd name="T88" fmla="*/ 54 w 71"/>
                  <a:gd name="T89" fmla="*/ 61 h 103"/>
                  <a:gd name="T90" fmla="*/ 52 w 71"/>
                  <a:gd name="T91" fmla="*/ 54 h 103"/>
                  <a:gd name="T92" fmla="*/ 35 w 71"/>
                  <a:gd name="T93" fmla="*/ 56 h 103"/>
                  <a:gd name="T94" fmla="*/ 45 w 71"/>
                  <a:gd name="T95" fmla="*/ 54 h 103"/>
                  <a:gd name="T96" fmla="*/ 54 w 71"/>
                  <a:gd name="T97" fmla="*/ 47 h 103"/>
                  <a:gd name="T98" fmla="*/ 54 w 71"/>
                  <a:gd name="T99" fmla="*/ 42 h 103"/>
                  <a:gd name="T100" fmla="*/ 64 w 71"/>
                  <a:gd name="T101" fmla="*/ 42 h 103"/>
                  <a:gd name="T102" fmla="*/ 68 w 71"/>
                  <a:gd name="T103" fmla="*/ 37 h 103"/>
                  <a:gd name="T104" fmla="*/ 68 w 71"/>
                  <a:gd name="T105" fmla="*/ 35 h 103"/>
                  <a:gd name="T106" fmla="*/ 61 w 71"/>
                  <a:gd name="T107" fmla="*/ 40 h 103"/>
                  <a:gd name="T108" fmla="*/ 56 w 71"/>
                  <a:gd name="T109" fmla="*/ 35 h 103"/>
                  <a:gd name="T110" fmla="*/ 61 w 71"/>
                  <a:gd name="T111" fmla="*/ 28 h 103"/>
                  <a:gd name="T112" fmla="*/ 66 w 71"/>
                  <a:gd name="T113" fmla="*/ 23 h 103"/>
                  <a:gd name="T114" fmla="*/ 64 w 71"/>
                  <a:gd name="T115" fmla="*/ 18 h 103"/>
                  <a:gd name="T116" fmla="*/ 66 w 71"/>
                  <a:gd name="T117" fmla="*/ 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1" h="103">
                    <a:moveTo>
                      <a:pt x="59" y="2"/>
                    </a:moveTo>
                    <a:lnTo>
                      <a:pt x="54" y="7"/>
                    </a:lnTo>
                    <a:lnTo>
                      <a:pt x="42" y="16"/>
                    </a:lnTo>
                    <a:lnTo>
                      <a:pt x="40" y="18"/>
                    </a:lnTo>
                    <a:lnTo>
                      <a:pt x="40" y="18"/>
                    </a:lnTo>
                    <a:lnTo>
                      <a:pt x="35" y="21"/>
                    </a:lnTo>
                    <a:lnTo>
                      <a:pt x="35" y="21"/>
                    </a:lnTo>
                    <a:lnTo>
                      <a:pt x="31" y="21"/>
                    </a:lnTo>
                    <a:lnTo>
                      <a:pt x="31" y="23"/>
                    </a:lnTo>
                    <a:lnTo>
                      <a:pt x="31" y="23"/>
                    </a:lnTo>
                    <a:lnTo>
                      <a:pt x="31" y="23"/>
                    </a:lnTo>
                    <a:lnTo>
                      <a:pt x="31" y="23"/>
                    </a:lnTo>
                    <a:lnTo>
                      <a:pt x="28" y="25"/>
                    </a:lnTo>
                    <a:lnTo>
                      <a:pt x="21" y="30"/>
                    </a:lnTo>
                    <a:lnTo>
                      <a:pt x="23" y="30"/>
                    </a:lnTo>
                    <a:lnTo>
                      <a:pt x="23" y="30"/>
                    </a:lnTo>
                    <a:lnTo>
                      <a:pt x="23" y="30"/>
                    </a:lnTo>
                    <a:lnTo>
                      <a:pt x="23" y="33"/>
                    </a:lnTo>
                    <a:lnTo>
                      <a:pt x="23" y="33"/>
                    </a:lnTo>
                    <a:lnTo>
                      <a:pt x="23" y="33"/>
                    </a:lnTo>
                    <a:lnTo>
                      <a:pt x="23" y="33"/>
                    </a:lnTo>
                    <a:lnTo>
                      <a:pt x="23" y="33"/>
                    </a:lnTo>
                    <a:lnTo>
                      <a:pt x="23" y="33"/>
                    </a:lnTo>
                    <a:lnTo>
                      <a:pt x="23" y="35"/>
                    </a:lnTo>
                    <a:lnTo>
                      <a:pt x="23" y="35"/>
                    </a:lnTo>
                    <a:lnTo>
                      <a:pt x="23" y="35"/>
                    </a:lnTo>
                    <a:lnTo>
                      <a:pt x="23" y="37"/>
                    </a:lnTo>
                    <a:lnTo>
                      <a:pt x="23" y="37"/>
                    </a:lnTo>
                    <a:lnTo>
                      <a:pt x="26" y="37"/>
                    </a:lnTo>
                    <a:lnTo>
                      <a:pt x="26" y="37"/>
                    </a:lnTo>
                    <a:lnTo>
                      <a:pt x="26" y="37"/>
                    </a:lnTo>
                    <a:lnTo>
                      <a:pt x="26" y="37"/>
                    </a:lnTo>
                    <a:lnTo>
                      <a:pt x="28" y="40"/>
                    </a:lnTo>
                    <a:lnTo>
                      <a:pt x="28" y="42"/>
                    </a:lnTo>
                    <a:lnTo>
                      <a:pt x="28" y="42"/>
                    </a:lnTo>
                    <a:lnTo>
                      <a:pt x="31" y="42"/>
                    </a:lnTo>
                    <a:lnTo>
                      <a:pt x="28" y="44"/>
                    </a:lnTo>
                    <a:lnTo>
                      <a:pt x="26" y="44"/>
                    </a:lnTo>
                    <a:lnTo>
                      <a:pt x="26" y="42"/>
                    </a:lnTo>
                    <a:lnTo>
                      <a:pt x="23" y="42"/>
                    </a:lnTo>
                    <a:lnTo>
                      <a:pt x="23" y="42"/>
                    </a:lnTo>
                    <a:lnTo>
                      <a:pt x="21" y="42"/>
                    </a:lnTo>
                    <a:lnTo>
                      <a:pt x="19" y="42"/>
                    </a:lnTo>
                    <a:lnTo>
                      <a:pt x="19" y="42"/>
                    </a:lnTo>
                    <a:lnTo>
                      <a:pt x="19" y="44"/>
                    </a:lnTo>
                    <a:lnTo>
                      <a:pt x="19" y="44"/>
                    </a:lnTo>
                    <a:lnTo>
                      <a:pt x="16" y="44"/>
                    </a:lnTo>
                    <a:lnTo>
                      <a:pt x="16" y="47"/>
                    </a:lnTo>
                    <a:lnTo>
                      <a:pt x="19" y="49"/>
                    </a:lnTo>
                    <a:lnTo>
                      <a:pt x="19" y="49"/>
                    </a:lnTo>
                    <a:lnTo>
                      <a:pt x="19" y="51"/>
                    </a:lnTo>
                    <a:lnTo>
                      <a:pt x="19" y="51"/>
                    </a:lnTo>
                    <a:lnTo>
                      <a:pt x="19" y="54"/>
                    </a:lnTo>
                    <a:lnTo>
                      <a:pt x="19" y="51"/>
                    </a:lnTo>
                    <a:lnTo>
                      <a:pt x="16" y="49"/>
                    </a:lnTo>
                    <a:lnTo>
                      <a:pt x="16" y="47"/>
                    </a:lnTo>
                    <a:lnTo>
                      <a:pt x="16" y="44"/>
                    </a:lnTo>
                    <a:lnTo>
                      <a:pt x="16" y="44"/>
                    </a:lnTo>
                    <a:lnTo>
                      <a:pt x="14" y="42"/>
                    </a:lnTo>
                    <a:lnTo>
                      <a:pt x="14" y="40"/>
                    </a:lnTo>
                    <a:lnTo>
                      <a:pt x="16" y="40"/>
                    </a:lnTo>
                    <a:lnTo>
                      <a:pt x="16" y="40"/>
                    </a:lnTo>
                    <a:lnTo>
                      <a:pt x="12" y="37"/>
                    </a:lnTo>
                    <a:lnTo>
                      <a:pt x="12" y="37"/>
                    </a:lnTo>
                    <a:lnTo>
                      <a:pt x="12" y="37"/>
                    </a:lnTo>
                    <a:lnTo>
                      <a:pt x="7" y="35"/>
                    </a:lnTo>
                    <a:lnTo>
                      <a:pt x="7" y="35"/>
                    </a:lnTo>
                    <a:lnTo>
                      <a:pt x="7" y="37"/>
                    </a:lnTo>
                    <a:lnTo>
                      <a:pt x="5" y="37"/>
                    </a:lnTo>
                    <a:lnTo>
                      <a:pt x="5" y="40"/>
                    </a:lnTo>
                    <a:lnTo>
                      <a:pt x="5" y="42"/>
                    </a:lnTo>
                    <a:lnTo>
                      <a:pt x="7" y="42"/>
                    </a:lnTo>
                    <a:lnTo>
                      <a:pt x="7" y="42"/>
                    </a:lnTo>
                    <a:lnTo>
                      <a:pt x="7" y="42"/>
                    </a:lnTo>
                    <a:lnTo>
                      <a:pt x="2" y="44"/>
                    </a:lnTo>
                    <a:lnTo>
                      <a:pt x="2" y="44"/>
                    </a:lnTo>
                    <a:lnTo>
                      <a:pt x="2" y="44"/>
                    </a:lnTo>
                    <a:lnTo>
                      <a:pt x="2" y="44"/>
                    </a:lnTo>
                    <a:lnTo>
                      <a:pt x="2" y="44"/>
                    </a:lnTo>
                    <a:lnTo>
                      <a:pt x="2" y="47"/>
                    </a:lnTo>
                    <a:lnTo>
                      <a:pt x="2" y="47"/>
                    </a:lnTo>
                    <a:lnTo>
                      <a:pt x="2" y="47"/>
                    </a:lnTo>
                    <a:lnTo>
                      <a:pt x="2" y="47"/>
                    </a:lnTo>
                    <a:lnTo>
                      <a:pt x="2" y="49"/>
                    </a:lnTo>
                    <a:lnTo>
                      <a:pt x="0" y="49"/>
                    </a:lnTo>
                    <a:lnTo>
                      <a:pt x="0" y="51"/>
                    </a:lnTo>
                    <a:lnTo>
                      <a:pt x="0" y="51"/>
                    </a:lnTo>
                    <a:lnTo>
                      <a:pt x="2" y="51"/>
                    </a:lnTo>
                    <a:lnTo>
                      <a:pt x="2" y="54"/>
                    </a:lnTo>
                    <a:lnTo>
                      <a:pt x="2" y="54"/>
                    </a:lnTo>
                    <a:lnTo>
                      <a:pt x="2" y="56"/>
                    </a:lnTo>
                    <a:lnTo>
                      <a:pt x="5" y="58"/>
                    </a:lnTo>
                    <a:lnTo>
                      <a:pt x="5" y="58"/>
                    </a:lnTo>
                    <a:lnTo>
                      <a:pt x="7" y="56"/>
                    </a:lnTo>
                    <a:lnTo>
                      <a:pt x="7" y="58"/>
                    </a:lnTo>
                    <a:lnTo>
                      <a:pt x="7" y="58"/>
                    </a:lnTo>
                    <a:lnTo>
                      <a:pt x="7" y="58"/>
                    </a:lnTo>
                    <a:lnTo>
                      <a:pt x="5" y="61"/>
                    </a:lnTo>
                    <a:lnTo>
                      <a:pt x="7" y="61"/>
                    </a:lnTo>
                    <a:lnTo>
                      <a:pt x="7" y="61"/>
                    </a:lnTo>
                    <a:lnTo>
                      <a:pt x="7" y="61"/>
                    </a:lnTo>
                    <a:lnTo>
                      <a:pt x="7" y="61"/>
                    </a:lnTo>
                    <a:lnTo>
                      <a:pt x="5" y="61"/>
                    </a:lnTo>
                    <a:lnTo>
                      <a:pt x="5" y="63"/>
                    </a:lnTo>
                    <a:lnTo>
                      <a:pt x="7" y="63"/>
                    </a:lnTo>
                    <a:lnTo>
                      <a:pt x="14" y="61"/>
                    </a:lnTo>
                    <a:lnTo>
                      <a:pt x="9" y="63"/>
                    </a:lnTo>
                    <a:lnTo>
                      <a:pt x="7" y="63"/>
                    </a:lnTo>
                    <a:lnTo>
                      <a:pt x="5" y="66"/>
                    </a:lnTo>
                    <a:lnTo>
                      <a:pt x="5" y="66"/>
                    </a:lnTo>
                    <a:lnTo>
                      <a:pt x="5" y="66"/>
                    </a:lnTo>
                    <a:lnTo>
                      <a:pt x="5" y="66"/>
                    </a:lnTo>
                    <a:lnTo>
                      <a:pt x="5" y="66"/>
                    </a:lnTo>
                    <a:lnTo>
                      <a:pt x="5" y="66"/>
                    </a:lnTo>
                    <a:lnTo>
                      <a:pt x="2" y="68"/>
                    </a:lnTo>
                    <a:lnTo>
                      <a:pt x="2" y="68"/>
                    </a:lnTo>
                    <a:lnTo>
                      <a:pt x="2" y="70"/>
                    </a:lnTo>
                    <a:lnTo>
                      <a:pt x="5" y="70"/>
                    </a:lnTo>
                    <a:lnTo>
                      <a:pt x="5" y="73"/>
                    </a:lnTo>
                    <a:lnTo>
                      <a:pt x="7" y="70"/>
                    </a:lnTo>
                    <a:lnTo>
                      <a:pt x="7" y="73"/>
                    </a:lnTo>
                    <a:lnTo>
                      <a:pt x="9" y="73"/>
                    </a:lnTo>
                    <a:lnTo>
                      <a:pt x="12" y="73"/>
                    </a:lnTo>
                    <a:lnTo>
                      <a:pt x="14" y="75"/>
                    </a:lnTo>
                    <a:lnTo>
                      <a:pt x="16" y="75"/>
                    </a:lnTo>
                    <a:lnTo>
                      <a:pt x="16" y="77"/>
                    </a:lnTo>
                    <a:lnTo>
                      <a:pt x="21" y="77"/>
                    </a:lnTo>
                    <a:lnTo>
                      <a:pt x="21" y="77"/>
                    </a:lnTo>
                    <a:lnTo>
                      <a:pt x="21" y="77"/>
                    </a:lnTo>
                    <a:lnTo>
                      <a:pt x="19" y="77"/>
                    </a:lnTo>
                    <a:lnTo>
                      <a:pt x="19" y="77"/>
                    </a:lnTo>
                    <a:lnTo>
                      <a:pt x="19" y="80"/>
                    </a:lnTo>
                    <a:lnTo>
                      <a:pt x="19" y="80"/>
                    </a:lnTo>
                    <a:lnTo>
                      <a:pt x="21" y="80"/>
                    </a:lnTo>
                    <a:lnTo>
                      <a:pt x="21" y="80"/>
                    </a:lnTo>
                    <a:lnTo>
                      <a:pt x="19" y="80"/>
                    </a:lnTo>
                    <a:lnTo>
                      <a:pt x="16" y="80"/>
                    </a:lnTo>
                    <a:lnTo>
                      <a:pt x="16" y="80"/>
                    </a:lnTo>
                    <a:lnTo>
                      <a:pt x="12" y="82"/>
                    </a:lnTo>
                    <a:lnTo>
                      <a:pt x="12" y="82"/>
                    </a:lnTo>
                    <a:lnTo>
                      <a:pt x="16" y="84"/>
                    </a:lnTo>
                    <a:lnTo>
                      <a:pt x="12" y="84"/>
                    </a:lnTo>
                    <a:lnTo>
                      <a:pt x="9" y="84"/>
                    </a:lnTo>
                    <a:lnTo>
                      <a:pt x="9" y="87"/>
                    </a:lnTo>
                    <a:lnTo>
                      <a:pt x="5" y="91"/>
                    </a:lnTo>
                    <a:lnTo>
                      <a:pt x="2" y="91"/>
                    </a:lnTo>
                    <a:lnTo>
                      <a:pt x="2" y="89"/>
                    </a:lnTo>
                    <a:lnTo>
                      <a:pt x="2" y="89"/>
                    </a:lnTo>
                    <a:lnTo>
                      <a:pt x="2" y="89"/>
                    </a:lnTo>
                    <a:lnTo>
                      <a:pt x="0" y="89"/>
                    </a:lnTo>
                    <a:lnTo>
                      <a:pt x="0" y="89"/>
                    </a:lnTo>
                    <a:lnTo>
                      <a:pt x="0" y="91"/>
                    </a:lnTo>
                    <a:lnTo>
                      <a:pt x="2" y="91"/>
                    </a:lnTo>
                    <a:lnTo>
                      <a:pt x="2" y="91"/>
                    </a:lnTo>
                    <a:lnTo>
                      <a:pt x="7" y="98"/>
                    </a:lnTo>
                    <a:lnTo>
                      <a:pt x="7" y="98"/>
                    </a:lnTo>
                    <a:lnTo>
                      <a:pt x="12" y="103"/>
                    </a:lnTo>
                    <a:lnTo>
                      <a:pt x="12" y="103"/>
                    </a:lnTo>
                    <a:lnTo>
                      <a:pt x="12" y="101"/>
                    </a:lnTo>
                    <a:lnTo>
                      <a:pt x="16" y="98"/>
                    </a:lnTo>
                    <a:lnTo>
                      <a:pt x="19" y="96"/>
                    </a:lnTo>
                    <a:lnTo>
                      <a:pt x="19" y="96"/>
                    </a:lnTo>
                    <a:lnTo>
                      <a:pt x="16" y="96"/>
                    </a:lnTo>
                    <a:lnTo>
                      <a:pt x="16" y="96"/>
                    </a:lnTo>
                    <a:lnTo>
                      <a:pt x="19" y="94"/>
                    </a:lnTo>
                    <a:lnTo>
                      <a:pt x="19" y="94"/>
                    </a:lnTo>
                    <a:lnTo>
                      <a:pt x="21" y="91"/>
                    </a:lnTo>
                    <a:lnTo>
                      <a:pt x="21" y="91"/>
                    </a:lnTo>
                    <a:lnTo>
                      <a:pt x="19" y="91"/>
                    </a:lnTo>
                    <a:lnTo>
                      <a:pt x="19" y="91"/>
                    </a:lnTo>
                    <a:lnTo>
                      <a:pt x="19" y="89"/>
                    </a:lnTo>
                    <a:lnTo>
                      <a:pt x="23" y="91"/>
                    </a:lnTo>
                    <a:lnTo>
                      <a:pt x="23" y="91"/>
                    </a:lnTo>
                    <a:lnTo>
                      <a:pt x="23" y="91"/>
                    </a:lnTo>
                    <a:lnTo>
                      <a:pt x="23" y="91"/>
                    </a:lnTo>
                    <a:lnTo>
                      <a:pt x="23" y="91"/>
                    </a:lnTo>
                    <a:lnTo>
                      <a:pt x="26" y="91"/>
                    </a:lnTo>
                    <a:lnTo>
                      <a:pt x="26" y="91"/>
                    </a:lnTo>
                    <a:lnTo>
                      <a:pt x="28" y="89"/>
                    </a:lnTo>
                    <a:lnTo>
                      <a:pt x="28" y="89"/>
                    </a:lnTo>
                    <a:lnTo>
                      <a:pt x="28" y="89"/>
                    </a:lnTo>
                    <a:lnTo>
                      <a:pt x="26" y="84"/>
                    </a:lnTo>
                    <a:lnTo>
                      <a:pt x="26" y="84"/>
                    </a:lnTo>
                    <a:lnTo>
                      <a:pt x="23" y="84"/>
                    </a:lnTo>
                    <a:lnTo>
                      <a:pt x="23" y="84"/>
                    </a:lnTo>
                    <a:lnTo>
                      <a:pt x="23" y="82"/>
                    </a:lnTo>
                    <a:lnTo>
                      <a:pt x="23" y="82"/>
                    </a:lnTo>
                    <a:lnTo>
                      <a:pt x="23" y="82"/>
                    </a:lnTo>
                    <a:lnTo>
                      <a:pt x="26" y="80"/>
                    </a:lnTo>
                    <a:lnTo>
                      <a:pt x="28" y="82"/>
                    </a:lnTo>
                    <a:lnTo>
                      <a:pt x="33" y="84"/>
                    </a:lnTo>
                    <a:lnTo>
                      <a:pt x="33" y="80"/>
                    </a:lnTo>
                    <a:lnTo>
                      <a:pt x="33" y="80"/>
                    </a:lnTo>
                    <a:lnTo>
                      <a:pt x="31" y="80"/>
                    </a:lnTo>
                    <a:lnTo>
                      <a:pt x="31" y="80"/>
                    </a:lnTo>
                    <a:lnTo>
                      <a:pt x="31" y="77"/>
                    </a:lnTo>
                    <a:lnTo>
                      <a:pt x="31" y="77"/>
                    </a:lnTo>
                    <a:lnTo>
                      <a:pt x="31" y="77"/>
                    </a:lnTo>
                    <a:lnTo>
                      <a:pt x="33" y="77"/>
                    </a:lnTo>
                    <a:lnTo>
                      <a:pt x="33" y="77"/>
                    </a:lnTo>
                    <a:lnTo>
                      <a:pt x="31" y="77"/>
                    </a:lnTo>
                    <a:lnTo>
                      <a:pt x="31" y="75"/>
                    </a:lnTo>
                    <a:lnTo>
                      <a:pt x="31" y="75"/>
                    </a:lnTo>
                    <a:lnTo>
                      <a:pt x="28" y="73"/>
                    </a:lnTo>
                    <a:lnTo>
                      <a:pt x="28" y="73"/>
                    </a:lnTo>
                    <a:lnTo>
                      <a:pt x="26" y="68"/>
                    </a:lnTo>
                    <a:lnTo>
                      <a:pt x="26" y="68"/>
                    </a:lnTo>
                    <a:lnTo>
                      <a:pt x="28" y="66"/>
                    </a:lnTo>
                    <a:lnTo>
                      <a:pt x="31" y="66"/>
                    </a:lnTo>
                    <a:lnTo>
                      <a:pt x="31" y="63"/>
                    </a:lnTo>
                    <a:lnTo>
                      <a:pt x="31" y="61"/>
                    </a:lnTo>
                    <a:lnTo>
                      <a:pt x="31" y="61"/>
                    </a:lnTo>
                    <a:lnTo>
                      <a:pt x="38" y="61"/>
                    </a:lnTo>
                    <a:lnTo>
                      <a:pt x="38" y="61"/>
                    </a:lnTo>
                    <a:lnTo>
                      <a:pt x="35" y="61"/>
                    </a:lnTo>
                    <a:lnTo>
                      <a:pt x="33" y="63"/>
                    </a:lnTo>
                    <a:lnTo>
                      <a:pt x="31" y="63"/>
                    </a:lnTo>
                    <a:lnTo>
                      <a:pt x="31" y="68"/>
                    </a:lnTo>
                    <a:lnTo>
                      <a:pt x="31" y="70"/>
                    </a:lnTo>
                    <a:lnTo>
                      <a:pt x="31" y="70"/>
                    </a:lnTo>
                    <a:lnTo>
                      <a:pt x="33" y="75"/>
                    </a:lnTo>
                    <a:lnTo>
                      <a:pt x="33" y="77"/>
                    </a:lnTo>
                    <a:lnTo>
                      <a:pt x="33" y="77"/>
                    </a:lnTo>
                    <a:lnTo>
                      <a:pt x="33" y="77"/>
                    </a:lnTo>
                    <a:lnTo>
                      <a:pt x="35" y="80"/>
                    </a:lnTo>
                    <a:lnTo>
                      <a:pt x="38" y="77"/>
                    </a:lnTo>
                    <a:lnTo>
                      <a:pt x="35" y="77"/>
                    </a:lnTo>
                    <a:lnTo>
                      <a:pt x="35" y="75"/>
                    </a:lnTo>
                    <a:lnTo>
                      <a:pt x="35" y="75"/>
                    </a:lnTo>
                    <a:lnTo>
                      <a:pt x="35" y="73"/>
                    </a:lnTo>
                    <a:lnTo>
                      <a:pt x="35" y="73"/>
                    </a:lnTo>
                    <a:lnTo>
                      <a:pt x="38" y="75"/>
                    </a:lnTo>
                    <a:lnTo>
                      <a:pt x="38" y="77"/>
                    </a:lnTo>
                    <a:lnTo>
                      <a:pt x="38" y="77"/>
                    </a:lnTo>
                    <a:lnTo>
                      <a:pt x="40" y="80"/>
                    </a:lnTo>
                    <a:lnTo>
                      <a:pt x="40" y="80"/>
                    </a:lnTo>
                    <a:lnTo>
                      <a:pt x="42" y="77"/>
                    </a:lnTo>
                    <a:lnTo>
                      <a:pt x="42" y="77"/>
                    </a:lnTo>
                    <a:lnTo>
                      <a:pt x="42" y="77"/>
                    </a:lnTo>
                    <a:lnTo>
                      <a:pt x="42" y="77"/>
                    </a:lnTo>
                    <a:lnTo>
                      <a:pt x="40" y="77"/>
                    </a:lnTo>
                    <a:lnTo>
                      <a:pt x="40" y="75"/>
                    </a:lnTo>
                    <a:lnTo>
                      <a:pt x="42" y="75"/>
                    </a:lnTo>
                    <a:lnTo>
                      <a:pt x="42" y="77"/>
                    </a:lnTo>
                    <a:lnTo>
                      <a:pt x="45" y="77"/>
                    </a:lnTo>
                    <a:lnTo>
                      <a:pt x="45" y="75"/>
                    </a:lnTo>
                    <a:lnTo>
                      <a:pt x="47" y="75"/>
                    </a:lnTo>
                    <a:lnTo>
                      <a:pt x="47" y="73"/>
                    </a:lnTo>
                    <a:lnTo>
                      <a:pt x="47" y="73"/>
                    </a:lnTo>
                    <a:lnTo>
                      <a:pt x="47" y="70"/>
                    </a:lnTo>
                    <a:lnTo>
                      <a:pt x="47" y="70"/>
                    </a:lnTo>
                    <a:lnTo>
                      <a:pt x="45" y="68"/>
                    </a:lnTo>
                    <a:lnTo>
                      <a:pt x="42" y="68"/>
                    </a:lnTo>
                    <a:lnTo>
                      <a:pt x="42" y="68"/>
                    </a:lnTo>
                    <a:lnTo>
                      <a:pt x="40" y="66"/>
                    </a:lnTo>
                    <a:lnTo>
                      <a:pt x="42" y="66"/>
                    </a:lnTo>
                    <a:lnTo>
                      <a:pt x="42" y="66"/>
                    </a:lnTo>
                    <a:lnTo>
                      <a:pt x="42" y="66"/>
                    </a:lnTo>
                    <a:lnTo>
                      <a:pt x="49" y="68"/>
                    </a:lnTo>
                    <a:lnTo>
                      <a:pt x="52" y="68"/>
                    </a:lnTo>
                    <a:lnTo>
                      <a:pt x="52" y="66"/>
                    </a:lnTo>
                    <a:lnTo>
                      <a:pt x="54" y="63"/>
                    </a:lnTo>
                    <a:lnTo>
                      <a:pt x="54" y="63"/>
                    </a:lnTo>
                    <a:lnTo>
                      <a:pt x="54" y="63"/>
                    </a:lnTo>
                    <a:lnTo>
                      <a:pt x="54" y="63"/>
                    </a:lnTo>
                    <a:lnTo>
                      <a:pt x="52" y="63"/>
                    </a:lnTo>
                    <a:lnTo>
                      <a:pt x="52" y="61"/>
                    </a:lnTo>
                    <a:lnTo>
                      <a:pt x="52" y="61"/>
                    </a:lnTo>
                    <a:lnTo>
                      <a:pt x="54" y="61"/>
                    </a:lnTo>
                    <a:lnTo>
                      <a:pt x="54" y="61"/>
                    </a:lnTo>
                    <a:lnTo>
                      <a:pt x="54" y="61"/>
                    </a:lnTo>
                    <a:lnTo>
                      <a:pt x="54" y="58"/>
                    </a:lnTo>
                    <a:lnTo>
                      <a:pt x="54" y="58"/>
                    </a:lnTo>
                    <a:lnTo>
                      <a:pt x="54" y="56"/>
                    </a:lnTo>
                    <a:lnTo>
                      <a:pt x="52" y="56"/>
                    </a:lnTo>
                    <a:lnTo>
                      <a:pt x="52" y="54"/>
                    </a:lnTo>
                    <a:lnTo>
                      <a:pt x="52" y="54"/>
                    </a:lnTo>
                    <a:lnTo>
                      <a:pt x="49" y="54"/>
                    </a:lnTo>
                    <a:lnTo>
                      <a:pt x="47" y="56"/>
                    </a:lnTo>
                    <a:lnTo>
                      <a:pt x="38" y="56"/>
                    </a:lnTo>
                    <a:lnTo>
                      <a:pt x="35" y="56"/>
                    </a:lnTo>
                    <a:lnTo>
                      <a:pt x="35" y="56"/>
                    </a:lnTo>
                    <a:lnTo>
                      <a:pt x="38" y="56"/>
                    </a:lnTo>
                    <a:lnTo>
                      <a:pt x="40" y="56"/>
                    </a:lnTo>
                    <a:lnTo>
                      <a:pt x="42" y="54"/>
                    </a:lnTo>
                    <a:lnTo>
                      <a:pt x="45" y="54"/>
                    </a:lnTo>
                    <a:lnTo>
                      <a:pt x="45" y="54"/>
                    </a:lnTo>
                    <a:lnTo>
                      <a:pt x="45" y="54"/>
                    </a:lnTo>
                    <a:lnTo>
                      <a:pt x="47" y="54"/>
                    </a:lnTo>
                    <a:lnTo>
                      <a:pt x="49" y="51"/>
                    </a:lnTo>
                    <a:lnTo>
                      <a:pt x="52" y="49"/>
                    </a:lnTo>
                    <a:lnTo>
                      <a:pt x="54" y="49"/>
                    </a:lnTo>
                    <a:lnTo>
                      <a:pt x="54" y="49"/>
                    </a:lnTo>
                    <a:lnTo>
                      <a:pt x="54" y="47"/>
                    </a:lnTo>
                    <a:lnTo>
                      <a:pt x="54" y="47"/>
                    </a:lnTo>
                    <a:lnTo>
                      <a:pt x="54" y="47"/>
                    </a:lnTo>
                    <a:lnTo>
                      <a:pt x="54" y="44"/>
                    </a:lnTo>
                    <a:lnTo>
                      <a:pt x="52" y="40"/>
                    </a:lnTo>
                    <a:lnTo>
                      <a:pt x="52" y="40"/>
                    </a:lnTo>
                    <a:lnTo>
                      <a:pt x="54" y="42"/>
                    </a:lnTo>
                    <a:lnTo>
                      <a:pt x="56" y="42"/>
                    </a:lnTo>
                    <a:lnTo>
                      <a:pt x="59" y="42"/>
                    </a:lnTo>
                    <a:lnTo>
                      <a:pt x="61" y="42"/>
                    </a:lnTo>
                    <a:lnTo>
                      <a:pt x="61" y="42"/>
                    </a:lnTo>
                    <a:lnTo>
                      <a:pt x="64" y="44"/>
                    </a:lnTo>
                    <a:lnTo>
                      <a:pt x="64" y="42"/>
                    </a:lnTo>
                    <a:lnTo>
                      <a:pt x="66" y="42"/>
                    </a:lnTo>
                    <a:lnTo>
                      <a:pt x="66" y="42"/>
                    </a:lnTo>
                    <a:lnTo>
                      <a:pt x="66" y="40"/>
                    </a:lnTo>
                    <a:lnTo>
                      <a:pt x="66" y="40"/>
                    </a:lnTo>
                    <a:lnTo>
                      <a:pt x="68" y="40"/>
                    </a:lnTo>
                    <a:lnTo>
                      <a:pt x="68" y="37"/>
                    </a:lnTo>
                    <a:lnTo>
                      <a:pt x="68" y="37"/>
                    </a:lnTo>
                    <a:lnTo>
                      <a:pt x="68" y="37"/>
                    </a:lnTo>
                    <a:lnTo>
                      <a:pt x="68" y="35"/>
                    </a:lnTo>
                    <a:lnTo>
                      <a:pt x="68" y="35"/>
                    </a:lnTo>
                    <a:lnTo>
                      <a:pt x="68" y="35"/>
                    </a:lnTo>
                    <a:lnTo>
                      <a:pt x="68" y="35"/>
                    </a:lnTo>
                    <a:lnTo>
                      <a:pt x="71" y="33"/>
                    </a:lnTo>
                    <a:lnTo>
                      <a:pt x="68" y="33"/>
                    </a:lnTo>
                    <a:lnTo>
                      <a:pt x="68" y="35"/>
                    </a:lnTo>
                    <a:lnTo>
                      <a:pt x="66" y="35"/>
                    </a:lnTo>
                    <a:lnTo>
                      <a:pt x="64" y="37"/>
                    </a:lnTo>
                    <a:lnTo>
                      <a:pt x="61" y="40"/>
                    </a:lnTo>
                    <a:lnTo>
                      <a:pt x="59" y="40"/>
                    </a:lnTo>
                    <a:lnTo>
                      <a:pt x="54" y="40"/>
                    </a:lnTo>
                    <a:lnTo>
                      <a:pt x="54" y="37"/>
                    </a:lnTo>
                    <a:lnTo>
                      <a:pt x="56" y="37"/>
                    </a:lnTo>
                    <a:lnTo>
                      <a:pt x="56" y="35"/>
                    </a:lnTo>
                    <a:lnTo>
                      <a:pt x="56" y="35"/>
                    </a:lnTo>
                    <a:lnTo>
                      <a:pt x="56" y="35"/>
                    </a:lnTo>
                    <a:lnTo>
                      <a:pt x="56" y="33"/>
                    </a:lnTo>
                    <a:lnTo>
                      <a:pt x="56" y="33"/>
                    </a:lnTo>
                    <a:lnTo>
                      <a:pt x="59" y="30"/>
                    </a:lnTo>
                    <a:lnTo>
                      <a:pt x="61" y="30"/>
                    </a:lnTo>
                    <a:lnTo>
                      <a:pt x="61" y="28"/>
                    </a:lnTo>
                    <a:lnTo>
                      <a:pt x="61" y="28"/>
                    </a:lnTo>
                    <a:lnTo>
                      <a:pt x="61" y="28"/>
                    </a:lnTo>
                    <a:lnTo>
                      <a:pt x="64" y="28"/>
                    </a:lnTo>
                    <a:lnTo>
                      <a:pt x="61" y="25"/>
                    </a:lnTo>
                    <a:lnTo>
                      <a:pt x="64" y="25"/>
                    </a:lnTo>
                    <a:lnTo>
                      <a:pt x="66" y="23"/>
                    </a:lnTo>
                    <a:lnTo>
                      <a:pt x="68" y="21"/>
                    </a:lnTo>
                    <a:lnTo>
                      <a:pt x="68" y="21"/>
                    </a:lnTo>
                    <a:lnTo>
                      <a:pt x="66" y="21"/>
                    </a:lnTo>
                    <a:lnTo>
                      <a:pt x="66" y="21"/>
                    </a:lnTo>
                    <a:lnTo>
                      <a:pt x="66" y="21"/>
                    </a:lnTo>
                    <a:lnTo>
                      <a:pt x="64" y="18"/>
                    </a:lnTo>
                    <a:lnTo>
                      <a:pt x="66" y="14"/>
                    </a:lnTo>
                    <a:lnTo>
                      <a:pt x="66" y="14"/>
                    </a:lnTo>
                    <a:lnTo>
                      <a:pt x="68" y="11"/>
                    </a:lnTo>
                    <a:lnTo>
                      <a:pt x="68" y="11"/>
                    </a:lnTo>
                    <a:lnTo>
                      <a:pt x="66" y="9"/>
                    </a:lnTo>
                    <a:lnTo>
                      <a:pt x="66" y="7"/>
                    </a:lnTo>
                    <a:lnTo>
                      <a:pt x="66" y="4"/>
                    </a:lnTo>
                    <a:lnTo>
                      <a:pt x="64" y="2"/>
                    </a:lnTo>
                    <a:lnTo>
                      <a:pt x="64" y="0"/>
                    </a:lnTo>
                    <a:lnTo>
                      <a:pt x="61" y="0"/>
                    </a:lnTo>
                    <a:lnTo>
                      <a:pt x="59"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21" name="Freeform 56">
                <a:extLst>
                  <a:ext uri="{FF2B5EF4-FFF2-40B4-BE49-F238E27FC236}">
                    <a16:creationId xmlns:a16="http://schemas.microsoft.com/office/drawing/2014/main" id="{10E14420-6E5B-4EB2-9715-F00F52993BD4}"/>
                  </a:ext>
                </a:extLst>
              </p:cNvPr>
              <p:cNvSpPr>
                <a:spLocks/>
              </p:cNvSpPr>
              <p:nvPr/>
            </p:nvSpPr>
            <p:spPr bwMode="gray">
              <a:xfrm>
                <a:off x="-3209" y="640"/>
                <a:ext cx="7" cy="5"/>
              </a:xfrm>
              <a:custGeom>
                <a:avLst/>
                <a:gdLst>
                  <a:gd name="T0" fmla="*/ 3 w 7"/>
                  <a:gd name="T1" fmla="*/ 5 h 5"/>
                  <a:gd name="T2" fmla="*/ 3 w 7"/>
                  <a:gd name="T3" fmla="*/ 5 h 5"/>
                  <a:gd name="T4" fmla="*/ 3 w 7"/>
                  <a:gd name="T5" fmla="*/ 5 h 5"/>
                  <a:gd name="T6" fmla="*/ 7 w 7"/>
                  <a:gd name="T7" fmla="*/ 5 h 5"/>
                  <a:gd name="T8" fmla="*/ 7 w 7"/>
                  <a:gd name="T9" fmla="*/ 5 h 5"/>
                  <a:gd name="T10" fmla="*/ 7 w 7"/>
                  <a:gd name="T11" fmla="*/ 2 h 5"/>
                  <a:gd name="T12" fmla="*/ 7 w 7"/>
                  <a:gd name="T13" fmla="*/ 2 h 5"/>
                  <a:gd name="T14" fmla="*/ 5 w 7"/>
                  <a:gd name="T15" fmla="*/ 2 h 5"/>
                  <a:gd name="T16" fmla="*/ 5 w 7"/>
                  <a:gd name="T17" fmla="*/ 2 h 5"/>
                  <a:gd name="T18" fmla="*/ 3 w 7"/>
                  <a:gd name="T19" fmla="*/ 0 h 5"/>
                  <a:gd name="T20" fmla="*/ 3 w 7"/>
                  <a:gd name="T21" fmla="*/ 0 h 5"/>
                  <a:gd name="T22" fmla="*/ 0 w 7"/>
                  <a:gd name="T23" fmla="*/ 0 h 5"/>
                  <a:gd name="T24" fmla="*/ 0 w 7"/>
                  <a:gd name="T25" fmla="*/ 2 h 5"/>
                  <a:gd name="T26" fmla="*/ 3 w 7"/>
                  <a:gd name="T27" fmla="*/ 2 h 5"/>
                  <a:gd name="T28" fmla="*/ 3 w 7"/>
                  <a:gd name="T29" fmla="*/ 2 h 5"/>
                  <a:gd name="T30" fmla="*/ 3 w 7"/>
                  <a:gd name="T31" fmla="*/ 5 h 5"/>
                  <a:gd name="T32" fmla="*/ 3 w 7"/>
                  <a:gd name="T3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5">
                    <a:moveTo>
                      <a:pt x="3" y="5"/>
                    </a:moveTo>
                    <a:lnTo>
                      <a:pt x="3" y="5"/>
                    </a:lnTo>
                    <a:lnTo>
                      <a:pt x="3" y="5"/>
                    </a:lnTo>
                    <a:lnTo>
                      <a:pt x="7" y="5"/>
                    </a:lnTo>
                    <a:lnTo>
                      <a:pt x="7" y="5"/>
                    </a:lnTo>
                    <a:lnTo>
                      <a:pt x="7" y="2"/>
                    </a:lnTo>
                    <a:lnTo>
                      <a:pt x="7" y="2"/>
                    </a:lnTo>
                    <a:lnTo>
                      <a:pt x="5" y="2"/>
                    </a:lnTo>
                    <a:lnTo>
                      <a:pt x="5" y="2"/>
                    </a:lnTo>
                    <a:lnTo>
                      <a:pt x="3" y="0"/>
                    </a:lnTo>
                    <a:lnTo>
                      <a:pt x="3" y="0"/>
                    </a:lnTo>
                    <a:lnTo>
                      <a:pt x="0" y="0"/>
                    </a:lnTo>
                    <a:lnTo>
                      <a:pt x="0" y="2"/>
                    </a:lnTo>
                    <a:lnTo>
                      <a:pt x="3" y="2"/>
                    </a:lnTo>
                    <a:lnTo>
                      <a:pt x="3" y="2"/>
                    </a:lnTo>
                    <a:lnTo>
                      <a:pt x="3"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22" name="Freeform 57">
                <a:extLst>
                  <a:ext uri="{FF2B5EF4-FFF2-40B4-BE49-F238E27FC236}">
                    <a16:creationId xmlns:a16="http://schemas.microsoft.com/office/drawing/2014/main" id="{AFC612FD-65FD-4643-B9C7-425D3DACE62E}"/>
                  </a:ext>
                </a:extLst>
              </p:cNvPr>
              <p:cNvSpPr>
                <a:spLocks/>
              </p:cNvSpPr>
              <p:nvPr/>
            </p:nvSpPr>
            <p:spPr bwMode="gray">
              <a:xfrm>
                <a:off x="-3166" y="1637"/>
                <a:ext cx="0" cy="2"/>
              </a:xfrm>
              <a:custGeom>
                <a:avLst/>
                <a:gdLst>
                  <a:gd name="T0" fmla="*/ 0 h 2"/>
                  <a:gd name="T1" fmla="*/ 2 h 2"/>
                  <a:gd name="T2" fmla="*/ 2 h 2"/>
                  <a:gd name="T3" fmla="*/ 2 h 2"/>
                  <a:gd name="T4" fmla="*/ 0 h 2"/>
                  <a:gd name="T5" fmla="*/ 0 h 2"/>
                  <a:gd name="T6" fmla="*/ 0 h 2"/>
                  <a:gd name="T7" fmla="*/ 0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0"/>
                    </a:moveTo>
                    <a:lnTo>
                      <a:pt x="0" y="2"/>
                    </a:lnTo>
                    <a:lnTo>
                      <a:pt x="0" y="2"/>
                    </a:lnTo>
                    <a:lnTo>
                      <a:pt x="0" y="2"/>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23" name="Freeform 58">
                <a:extLst>
                  <a:ext uri="{FF2B5EF4-FFF2-40B4-BE49-F238E27FC236}">
                    <a16:creationId xmlns:a16="http://schemas.microsoft.com/office/drawing/2014/main" id="{3BF4C75C-5DCB-4ED7-B126-236829A4EC63}"/>
                  </a:ext>
                </a:extLst>
              </p:cNvPr>
              <p:cNvSpPr>
                <a:spLocks/>
              </p:cNvSpPr>
              <p:nvPr/>
            </p:nvSpPr>
            <p:spPr bwMode="gray">
              <a:xfrm>
                <a:off x="-3171" y="1632"/>
                <a:ext cx="2" cy="2"/>
              </a:xfrm>
              <a:custGeom>
                <a:avLst/>
                <a:gdLst>
                  <a:gd name="T0" fmla="*/ 2 w 2"/>
                  <a:gd name="T1" fmla="*/ 0 h 2"/>
                  <a:gd name="T2" fmla="*/ 0 w 2"/>
                  <a:gd name="T3" fmla="*/ 0 h 2"/>
                  <a:gd name="T4" fmla="*/ 0 w 2"/>
                  <a:gd name="T5" fmla="*/ 2 h 2"/>
                  <a:gd name="T6" fmla="*/ 2 w 2"/>
                  <a:gd name="T7" fmla="*/ 2 h 2"/>
                  <a:gd name="T8" fmla="*/ 2 w 2"/>
                  <a:gd name="T9" fmla="*/ 2 h 2"/>
                  <a:gd name="T10" fmla="*/ 2 w 2"/>
                  <a:gd name="T11" fmla="*/ 2 h 2"/>
                  <a:gd name="T12" fmla="*/ 2 w 2"/>
                  <a:gd name="T13" fmla="*/ 2 h 2"/>
                  <a:gd name="T14" fmla="*/ 2 w 2"/>
                  <a:gd name="T15" fmla="*/ 2 h 2"/>
                  <a:gd name="T16" fmla="*/ 2 w 2"/>
                  <a:gd name="T17" fmla="*/ 0 h 2"/>
                  <a:gd name="T18" fmla="*/ 2 w 2"/>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2" y="0"/>
                    </a:moveTo>
                    <a:lnTo>
                      <a:pt x="0" y="0"/>
                    </a:lnTo>
                    <a:lnTo>
                      <a:pt x="0" y="2"/>
                    </a:lnTo>
                    <a:lnTo>
                      <a:pt x="2" y="2"/>
                    </a:lnTo>
                    <a:lnTo>
                      <a:pt x="2" y="2"/>
                    </a:lnTo>
                    <a:lnTo>
                      <a:pt x="2" y="2"/>
                    </a:lnTo>
                    <a:lnTo>
                      <a:pt x="2" y="2"/>
                    </a:lnTo>
                    <a:lnTo>
                      <a:pt x="2" y="2"/>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25" name="Freeform 59">
                <a:extLst>
                  <a:ext uri="{FF2B5EF4-FFF2-40B4-BE49-F238E27FC236}">
                    <a16:creationId xmlns:a16="http://schemas.microsoft.com/office/drawing/2014/main" id="{52D8C6DE-FD65-41FF-BAFC-5A41C8039AED}"/>
                  </a:ext>
                </a:extLst>
              </p:cNvPr>
              <p:cNvSpPr>
                <a:spLocks/>
              </p:cNvSpPr>
              <p:nvPr/>
            </p:nvSpPr>
            <p:spPr bwMode="gray">
              <a:xfrm>
                <a:off x="-3331" y="694"/>
                <a:ext cx="4" cy="5"/>
              </a:xfrm>
              <a:custGeom>
                <a:avLst/>
                <a:gdLst>
                  <a:gd name="T0" fmla="*/ 2 w 4"/>
                  <a:gd name="T1" fmla="*/ 5 h 5"/>
                  <a:gd name="T2" fmla="*/ 4 w 4"/>
                  <a:gd name="T3" fmla="*/ 5 h 5"/>
                  <a:gd name="T4" fmla="*/ 4 w 4"/>
                  <a:gd name="T5" fmla="*/ 2 h 5"/>
                  <a:gd name="T6" fmla="*/ 4 w 4"/>
                  <a:gd name="T7" fmla="*/ 2 h 5"/>
                  <a:gd name="T8" fmla="*/ 2 w 4"/>
                  <a:gd name="T9" fmla="*/ 2 h 5"/>
                  <a:gd name="T10" fmla="*/ 0 w 4"/>
                  <a:gd name="T11" fmla="*/ 0 h 5"/>
                  <a:gd name="T12" fmla="*/ 2 w 4"/>
                  <a:gd name="T13" fmla="*/ 2 h 5"/>
                  <a:gd name="T14" fmla="*/ 2 w 4"/>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2" y="5"/>
                    </a:moveTo>
                    <a:lnTo>
                      <a:pt x="4" y="5"/>
                    </a:lnTo>
                    <a:lnTo>
                      <a:pt x="4" y="2"/>
                    </a:lnTo>
                    <a:lnTo>
                      <a:pt x="4" y="2"/>
                    </a:lnTo>
                    <a:lnTo>
                      <a:pt x="2" y="2"/>
                    </a:lnTo>
                    <a:lnTo>
                      <a:pt x="0" y="0"/>
                    </a:lnTo>
                    <a:lnTo>
                      <a:pt x="2" y="2"/>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26" name="Freeform 60">
                <a:extLst>
                  <a:ext uri="{FF2B5EF4-FFF2-40B4-BE49-F238E27FC236}">
                    <a16:creationId xmlns:a16="http://schemas.microsoft.com/office/drawing/2014/main" id="{F2CDFDE2-D3E6-4C9C-8515-820750F7281A}"/>
                  </a:ext>
                </a:extLst>
              </p:cNvPr>
              <p:cNvSpPr>
                <a:spLocks/>
              </p:cNvSpPr>
              <p:nvPr/>
            </p:nvSpPr>
            <p:spPr bwMode="gray">
              <a:xfrm>
                <a:off x="-3256" y="795"/>
                <a:ext cx="14" cy="15"/>
              </a:xfrm>
              <a:custGeom>
                <a:avLst/>
                <a:gdLst>
                  <a:gd name="T0" fmla="*/ 7 w 14"/>
                  <a:gd name="T1" fmla="*/ 15 h 15"/>
                  <a:gd name="T2" fmla="*/ 7 w 14"/>
                  <a:gd name="T3" fmla="*/ 15 h 15"/>
                  <a:gd name="T4" fmla="*/ 10 w 14"/>
                  <a:gd name="T5" fmla="*/ 15 h 15"/>
                  <a:gd name="T6" fmla="*/ 10 w 14"/>
                  <a:gd name="T7" fmla="*/ 15 h 15"/>
                  <a:gd name="T8" fmla="*/ 10 w 14"/>
                  <a:gd name="T9" fmla="*/ 12 h 15"/>
                  <a:gd name="T10" fmla="*/ 10 w 14"/>
                  <a:gd name="T11" fmla="*/ 12 h 15"/>
                  <a:gd name="T12" fmla="*/ 10 w 14"/>
                  <a:gd name="T13" fmla="*/ 12 h 15"/>
                  <a:gd name="T14" fmla="*/ 10 w 14"/>
                  <a:gd name="T15" fmla="*/ 12 h 15"/>
                  <a:gd name="T16" fmla="*/ 12 w 14"/>
                  <a:gd name="T17" fmla="*/ 10 h 15"/>
                  <a:gd name="T18" fmla="*/ 12 w 14"/>
                  <a:gd name="T19" fmla="*/ 10 h 15"/>
                  <a:gd name="T20" fmla="*/ 14 w 14"/>
                  <a:gd name="T21" fmla="*/ 10 h 15"/>
                  <a:gd name="T22" fmla="*/ 14 w 14"/>
                  <a:gd name="T23" fmla="*/ 10 h 15"/>
                  <a:gd name="T24" fmla="*/ 12 w 14"/>
                  <a:gd name="T25" fmla="*/ 7 h 15"/>
                  <a:gd name="T26" fmla="*/ 12 w 14"/>
                  <a:gd name="T27" fmla="*/ 7 h 15"/>
                  <a:gd name="T28" fmla="*/ 12 w 14"/>
                  <a:gd name="T29" fmla="*/ 7 h 15"/>
                  <a:gd name="T30" fmla="*/ 12 w 14"/>
                  <a:gd name="T31" fmla="*/ 7 h 15"/>
                  <a:gd name="T32" fmla="*/ 10 w 14"/>
                  <a:gd name="T33" fmla="*/ 5 h 15"/>
                  <a:gd name="T34" fmla="*/ 10 w 14"/>
                  <a:gd name="T35" fmla="*/ 5 h 15"/>
                  <a:gd name="T36" fmla="*/ 12 w 14"/>
                  <a:gd name="T37" fmla="*/ 3 h 15"/>
                  <a:gd name="T38" fmla="*/ 10 w 14"/>
                  <a:gd name="T39" fmla="*/ 3 h 15"/>
                  <a:gd name="T40" fmla="*/ 10 w 14"/>
                  <a:gd name="T41" fmla="*/ 0 h 15"/>
                  <a:gd name="T42" fmla="*/ 10 w 14"/>
                  <a:gd name="T43" fmla="*/ 0 h 15"/>
                  <a:gd name="T44" fmla="*/ 10 w 14"/>
                  <a:gd name="T45" fmla="*/ 0 h 15"/>
                  <a:gd name="T46" fmla="*/ 10 w 14"/>
                  <a:gd name="T47" fmla="*/ 0 h 15"/>
                  <a:gd name="T48" fmla="*/ 7 w 14"/>
                  <a:gd name="T49" fmla="*/ 0 h 15"/>
                  <a:gd name="T50" fmla="*/ 7 w 14"/>
                  <a:gd name="T51" fmla="*/ 5 h 15"/>
                  <a:gd name="T52" fmla="*/ 7 w 14"/>
                  <a:gd name="T53" fmla="*/ 5 h 15"/>
                  <a:gd name="T54" fmla="*/ 5 w 14"/>
                  <a:gd name="T55" fmla="*/ 5 h 15"/>
                  <a:gd name="T56" fmla="*/ 3 w 14"/>
                  <a:gd name="T57" fmla="*/ 7 h 15"/>
                  <a:gd name="T58" fmla="*/ 5 w 14"/>
                  <a:gd name="T59" fmla="*/ 7 h 15"/>
                  <a:gd name="T60" fmla="*/ 5 w 14"/>
                  <a:gd name="T61" fmla="*/ 10 h 15"/>
                  <a:gd name="T62" fmla="*/ 5 w 14"/>
                  <a:gd name="T63" fmla="*/ 10 h 15"/>
                  <a:gd name="T64" fmla="*/ 3 w 14"/>
                  <a:gd name="T65" fmla="*/ 10 h 15"/>
                  <a:gd name="T66" fmla="*/ 3 w 14"/>
                  <a:gd name="T67" fmla="*/ 12 h 15"/>
                  <a:gd name="T68" fmla="*/ 0 w 14"/>
                  <a:gd name="T69" fmla="*/ 12 h 15"/>
                  <a:gd name="T70" fmla="*/ 0 w 14"/>
                  <a:gd name="T71" fmla="*/ 15 h 15"/>
                  <a:gd name="T72" fmla="*/ 3 w 14"/>
                  <a:gd name="T73" fmla="*/ 15 h 15"/>
                  <a:gd name="T74" fmla="*/ 7 w 14"/>
                  <a:gd name="T7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15">
                    <a:moveTo>
                      <a:pt x="7" y="15"/>
                    </a:moveTo>
                    <a:lnTo>
                      <a:pt x="7" y="15"/>
                    </a:lnTo>
                    <a:lnTo>
                      <a:pt x="10" y="15"/>
                    </a:lnTo>
                    <a:lnTo>
                      <a:pt x="10" y="15"/>
                    </a:lnTo>
                    <a:lnTo>
                      <a:pt x="10" y="12"/>
                    </a:lnTo>
                    <a:lnTo>
                      <a:pt x="10" y="12"/>
                    </a:lnTo>
                    <a:lnTo>
                      <a:pt x="10" y="12"/>
                    </a:lnTo>
                    <a:lnTo>
                      <a:pt x="10" y="12"/>
                    </a:lnTo>
                    <a:lnTo>
                      <a:pt x="12" y="10"/>
                    </a:lnTo>
                    <a:lnTo>
                      <a:pt x="12" y="10"/>
                    </a:lnTo>
                    <a:lnTo>
                      <a:pt x="14" y="10"/>
                    </a:lnTo>
                    <a:lnTo>
                      <a:pt x="14" y="10"/>
                    </a:lnTo>
                    <a:lnTo>
                      <a:pt x="12" y="7"/>
                    </a:lnTo>
                    <a:lnTo>
                      <a:pt x="12" y="7"/>
                    </a:lnTo>
                    <a:lnTo>
                      <a:pt x="12" y="7"/>
                    </a:lnTo>
                    <a:lnTo>
                      <a:pt x="12" y="7"/>
                    </a:lnTo>
                    <a:lnTo>
                      <a:pt x="10" y="5"/>
                    </a:lnTo>
                    <a:lnTo>
                      <a:pt x="10" y="5"/>
                    </a:lnTo>
                    <a:lnTo>
                      <a:pt x="12" y="3"/>
                    </a:lnTo>
                    <a:lnTo>
                      <a:pt x="10" y="3"/>
                    </a:lnTo>
                    <a:lnTo>
                      <a:pt x="10" y="0"/>
                    </a:lnTo>
                    <a:lnTo>
                      <a:pt x="10" y="0"/>
                    </a:lnTo>
                    <a:lnTo>
                      <a:pt x="10" y="0"/>
                    </a:lnTo>
                    <a:lnTo>
                      <a:pt x="10" y="0"/>
                    </a:lnTo>
                    <a:lnTo>
                      <a:pt x="7" y="0"/>
                    </a:lnTo>
                    <a:lnTo>
                      <a:pt x="7" y="5"/>
                    </a:lnTo>
                    <a:lnTo>
                      <a:pt x="7" y="5"/>
                    </a:lnTo>
                    <a:lnTo>
                      <a:pt x="5" y="5"/>
                    </a:lnTo>
                    <a:lnTo>
                      <a:pt x="3" y="7"/>
                    </a:lnTo>
                    <a:lnTo>
                      <a:pt x="5" y="7"/>
                    </a:lnTo>
                    <a:lnTo>
                      <a:pt x="5" y="10"/>
                    </a:lnTo>
                    <a:lnTo>
                      <a:pt x="5" y="10"/>
                    </a:lnTo>
                    <a:lnTo>
                      <a:pt x="3" y="10"/>
                    </a:lnTo>
                    <a:lnTo>
                      <a:pt x="3" y="12"/>
                    </a:lnTo>
                    <a:lnTo>
                      <a:pt x="0" y="12"/>
                    </a:lnTo>
                    <a:lnTo>
                      <a:pt x="0" y="15"/>
                    </a:lnTo>
                    <a:lnTo>
                      <a:pt x="3" y="15"/>
                    </a:lnTo>
                    <a:lnTo>
                      <a:pt x="7"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27" name="Freeform 61">
                <a:extLst>
                  <a:ext uri="{FF2B5EF4-FFF2-40B4-BE49-F238E27FC236}">
                    <a16:creationId xmlns:a16="http://schemas.microsoft.com/office/drawing/2014/main" id="{70E17D7C-3BE7-4EB8-B357-8DE4007A735A}"/>
                  </a:ext>
                </a:extLst>
              </p:cNvPr>
              <p:cNvSpPr>
                <a:spLocks/>
              </p:cNvSpPr>
              <p:nvPr/>
            </p:nvSpPr>
            <p:spPr bwMode="gray">
              <a:xfrm>
                <a:off x="-3249" y="751"/>
                <a:ext cx="19" cy="40"/>
              </a:xfrm>
              <a:custGeom>
                <a:avLst/>
                <a:gdLst>
                  <a:gd name="T0" fmla="*/ 14 w 19"/>
                  <a:gd name="T1" fmla="*/ 21 h 40"/>
                  <a:gd name="T2" fmla="*/ 17 w 19"/>
                  <a:gd name="T3" fmla="*/ 18 h 40"/>
                  <a:gd name="T4" fmla="*/ 17 w 19"/>
                  <a:gd name="T5" fmla="*/ 16 h 40"/>
                  <a:gd name="T6" fmla="*/ 19 w 19"/>
                  <a:gd name="T7" fmla="*/ 14 h 40"/>
                  <a:gd name="T8" fmla="*/ 19 w 19"/>
                  <a:gd name="T9" fmla="*/ 14 h 40"/>
                  <a:gd name="T10" fmla="*/ 17 w 19"/>
                  <a:gd name="T11" fmla="*/ 11 h 40"/>
                  <a:gd name="T12" fmla="*/ 14 w 19"/>
                  <a:gd name="T13" fmla="*/ 9 h 40"/>
                  <a:gd name="T14" fmla="*/ 12 w 19"/>
                  <a:gd name="T15" fmla="*/ 9 h 40"/>
                  <a:gd name="T16" fmla="*/ 10 w 19"/>
                  <a:gd name="T17" fmla="*/ 7 h 40"/>
                  <a:gd name="T18" fmla="*/ 7 w 19"/>
                  <a:gd name="T19" fmla="*/ 7 h 40"/>
                  <a:gd name="T20" fmla="*/ 7 w 19"/>
                  <a:gd name="T21" fmla="*/ 7 h 40"/>
                  <a:gd name="T22" fmla="*/ 7 w 19"/>
                  <a:gd name="T23" fmla="*/ 4 h 40"/>
                  <a:gd name="T24" fmla="*/ 5 w 19"/>
                  <a:gd name="T25" fmla="*/ 2 h 40"/>
                  <a:gd name="T26" fmla="*/ 7 w 19"/>
                  <a:gd name="T27" fmla="*/ 2 h 40"/>
                  <a:gd name="T28" fmla="*/ 10 w 19"/>
                  <a:gd name="T29" fmla="*/ 4 h 40"/>
                  <a:gd name="T30" fmla="*/ 14 w 19"/>
                  <a:gd name="T31" fmla="*/ 9 h 40"/>
                  <a:gd name="T32" fmla="*/ 17 w 19"/>
                  <a:gd name="T33" fmla="*/ 9 h 40"/>
                  <a:gd name="T34" fmla="*/ 17 w 19"/>
                  <a:gd name="T35" fmla="*/ 7 h 40"/>
                  <a:gd name="T36" fmla="*/ 12 w 19"/>
                  <a:gd name="T37" fmla="*/ 4 h 40"/>
                  <a:gd name="T38" fmla="*/ 14 w 19"/>
                  <a:gd name="T39" fmla="*/ 4 h 40"/>
                  <a:gd name="T40" fmla="*/ 14 w 19"/>
                  <a:gd name="T41" fmla="*/ 4 h 40"/>
                  <a:gd name="T42" fmla="*/ 7 w 19"/>
                  <a:gd name="T43" fmla="*/ 0 h 40"/>
                  <a:gd name="T44" fmla="*/ 3 w 19"/>
                  <a:gd name="T45" fmla="*/ 2 h 40"/>
                  <a:gd name="T46" fmla="*/ 5 w 19"/>
                  <a:gd name="T47" fmla="*/ 11 h 40"/>
                  <a:gd name="T48" fmla="*/ 5 w 19"/>
                  <a:gd name="T49" fmla="*/ 14 h 40"/>
                  <a:gd name="T50" fmla="*/ 3 w 19"/>
                  <a:gd name="T51" fmla="*/ 16 h 40"/>
                  <a:gd name="T52" fmla="*/ 3 w 19"/>
                  <a:gd name="T53" fmla="*/ 18 h 40"/>
                  <a:gd name="T54" fmla="*/ 0 w 19"/>
                  <a:gd name="T55" fmla="*/ 21 h 40"/>
                  <a:gd name="T56" fmla="*/ 3 w 19"/>
                  <a:gd name="T57" fmla="*/ 23 h 40"/>
                  <a:gd name="T58" fmla="*/ 5 w 19"/>
                  <a:gd name="T59" fmla="*/ 26 h 40"/>
                  <a:gd name="T60" fmla="*/ 5 w 19"/>
                  <a:gd name="T61" fmla="*/ 28 h 40"/>
                  <a:gd name="T62" fmla="*/ 7 w 19"/>
                  <a:gd name="T63" fmla="*/ 37 h 40"/>
                  <a:gd name="T64" fmla="*/ 10 w 19"/>
                  <a:gd name="T65" fmla="*/ 37 h 40"/>
                  <a:gd name="T66" fmla="*/ 17 w 19"/>
                  <a:gd name="T67" fmla="*/ 37 h 40"/>
                  <a:gd name="T68" fmla="*/ 17 w 19"/>
                  <a:gd name="T69" fmla="*/ 37 h 40"/>
                  <a:gd name="T70" fmla="*/ 14 w 19"/>
                  <a:gd name="T71" fmla="*/ 35 h 40"/>
                  <a:gd name="T72" fmla="*/ 12 w 19"/>
                  <a:gd name="T73" fmla="*/ 33 h 40"/>
                  <a:gd name="T74" fmla="*/ 10 w 19"/>
                  <a:gd name="T75" fmla="*/ 33 h 40"/>
                  <a:gd name="T76" fmla="*/ 12 w 19"/>
                  <a:gd name="T77" fmla="*/ 33 h 40"/>
                  <a:gd name="T78" fmla="*/ 14 w 19"/>
                  <a:gd name="T79" fmla="*/ 33 h 40"/>
                  <a:gd name="T80" fmla="*/ 14 w 19"/>
                  <a:gd name="T81" fmla="*/ 28 h 40"/>
                  <a:gd name="T82" fmla="*/ 14 w 19"/>
                  <a:gd name="T83" fmla="*/ 23 h 40"/>
                  <a:gd name="T84" fmla="*/ 7 w 19"/>
                  <a:gd name="T85" fmla="*/ 21 h 40"/>
                  <a:gd name="T86" fmla="*/ 14 w 19"/>
                  <a:gd name="T87" fmla="*/ 2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 h="40">
                    <a:moveTo>
                      <a:pt x="14" y="23"/>
                    </a:moveTo>
                    <a:lnTo>
                      <a:pt x="14" y="21"/>
                    </a:lnTo>
                    <a:lnTo>
                      <a:pt x="17" y="21"/>
                    </a:lnTo>
                    <a:lnTo>
                      <a:pt x="17" y="18"/>
                    </a:lnTo>
                    <a:lnTo>
                      <a:pt x="17" y="16"/>
                    </a:lnTo>
                    <a:lnTo>
                      <a:pt x="17" y="16"/>
                    </a:lnTo>
                    <a:lnTo>
                      <a:pt x="19" y="16"/>
                    </a:lnTo>
                    <a:lnTo>
                      <a:pt x="19" y="14"/>
                    </a:lnTo>
                    <a:lnTo>
                      <a:pt x="19" y="14"/>
                    </a:lnTo>
                    <a:lnTo>
                      <a:pt x="19" y="14"/>
                    </a:lnTo>
                    <a:lnTo>
                      <a:pt x="17" y="11"/>
                    </a:lnTo>
                    <a:lnTo>
                      <a:pt x="17" y="11"/>
                    </a:lnTo>
                    <a:lnTo>
                      <a:pt x="17" y="9"/>
                    </a:lnTo>
                    <a:lnTo>
                      <a:pt x="14" y="9"/>
                    </a:lnTo>
                    <a:lnTo>
                      <a:pt x="12" y="9"/>
                    </a:lnTo>
                    <a:lnTo>
                      <a:pt x="12" y="9"/>
                    </a:lnTo>
                    <a:lnTo>
                      <a:pt x="10" y="7"/>
                    </a:lnTo>
                    <a:lnTo>
                      <a:pt x="10" y="7"/>
                    </a:lnTo>
                    <a:lnTo>
                      <a:pt x="10" y="7"/>
                    </a:lnTo>
                    <a:lnTo>
                      <a:pt x="7" y="7"/>
                    </a:lnTo>
                    <a:lnTo>
                      <a:pt x="7" y="7"/>
                    </a:lnTo>
                    <a:lnTo>
                      <a:pt x="7" y="7"/>
                    </a:lnTo>
                    <a:lnTo>
                      <a:pt x="7" y="4"/>
                    </a:lnTo>
                    <a:lnTo>
                      <a:pt x="7" y="4"/>
                    </a:lnTo>
                    <a:lnTo>
                      <a:pt x="7" y="4"/>
                    </a:lnTo>
                    <a:lnTo>
                      <a:pt x="5" y="2"/>
                    </a:lnTo>
                    <a:lnTo>
                      <a:pt x="5" y="2"/>
                    </a:lnTo>
                    <a:lnTo>
                      <a:pt x="7" y="2"/>
                    </a:lnTo>
                    <a:lnTo>
                      <a:pt x="7" y="4"/>
                    </a:lnTo>
                    <a:lnTo>
                      <a:pt x="10" y="4"/>
                    </a:lnTo>
                    <a:lnTo>
                      <a:pt x="12" y="7"/>
                    </a:lnTo>
                    <a:lnTo>
                      <a:pt x="14" y="9"/>
                    </a:lnTo>
                    <a:lnTo>
                      <a:pt x="17" y="9"/>
                    </a:lnTo>
                    <a:lnTo>
                      <a:pt x="17" y="9"/>
                    </a:lnTo>
                    <a:lnTo>
                      <a:pt x="17" y="7"/>
                    </a:lnTo>
                    <a:lnTo>
                      <a:pt x="17" y="7"/>
                    </a:lnTo>
                    <a:lnTo>
                      <a:pt x="14" y="4"/>
                    </a:lnTo>
                    <a:lnTo>
                      <a:pt x="12" y="4"/>
                    </a:lnTo>
                    <a:lnTo>
                      <a:pt x="12" y="4"/>
                    </a:lnTo>
                    <a:lnTo>
                      <a:pt x="14" y="4"/>
                    </a:lnTo>
                    <a:lnTo>
                      <a:pt x="14" y="4"/>
                    </a:lnTo>
                    <a:lnTo>
                      <a:pt x="14" y="4"/>
                    </a:lnTo>
                    <a:lnTo>
                      <a:pt x="7" y="0"/>
                    </a:lnTo>
                    <a:lnTo>
                      <a:pt x="7" y="0"/>
                    </a:lnTo>
                    <a:lnTo>
                      <a:pt x="5" y="2"/>
                    </a:lnTo>
                    <a:lnTo>
                      <a:pt x="3" y="2"/>
                    </a:lnTo>
                    <a:lnTo>
                      <a:pt x="5" y="9"/>
                    </a:lnTo>
                    <a:lnTo>
                      <a:pt x="5" y="11"/>
                    </a:lnTo>
                    <a:lnTo>
                      <a:pt x="5" y="14"/>
                    </a:lnTo>
                    <a:lnTo>
                      <a:pt x="5" y="14"/>
                    </a:lnTo>
                    <a:lnTo>
                      <a:pt x="5" y="14"/>
                    </a:lnTo>
                    <a:lnTo>
                      <a:pt x="3" y="16"/>
                    </a:lnTo>
                    <a:lnTo>
                      <a:pt x="3" y="16"/>
                    </a:lnTo>
                    <a:lnTo>
                      <a:pt x="3" y="18"/>
                    </a:lnTo>
                    <a:lnTo>
                      <a:pt x="3" y="21"/>
                    </a:lnTo>
                    <a:lnTo>
                      <a:pt x="0" y="21"/>
                    </a:lnTo>
                    <a:lnTo>
                      <a:pt x="3" y="21"/>
                    </a:lnTo>
                    <a:lnTo>
                      <a:pt x="3" y="23"/>
                    </a:lnTo>
                    <a:lnTo>
                      <a:pt x="5" y="23"/>
                    </a:lnTo>
                    <a:lnTo>
                      <a:pt x="5" y="26"/>
                    </a:lnTo>
                    <a:lnTo>
                      <a:pt x="3" y="26"/>
                    </a:lnTo>
                    <a:lnTo>
                      <a:pt x="5" y="28"/>
                    </a:lnTo>
                    <a:lnTo>
                      <a:pt x="5" y="35"/>
                    </a:lnTo>
                    <a:lnTo>
                      <a:pt x="7" y="37"/>
                    </a:lnTo>
                    <a:lnTo>
                      <a:pt x="7" y="40"/>
                    </a:lnTo>
                    <a:lnTo>
                      <a:pt x="10" y="37"/>
                    </a:lnTo>
                    <a:lnTo>
                      <a:pt x="17" y="40"/>
                    </a:lnTo>
                    <a:lnTo>
                      <a:pt x="17" y="37"/>
                    </a:lnTo>
                    <a:lnTo>
                      <a:pt x="17" y="37"/>
                    </a:lnTo>
                    <a:lnTo>
                      <a:pt x="17" y="37"/>
                    </a:lnTo>
                    <a:lnTo>
                      <a:pt x="17" y="35"/>
                    </a:lnTo>
                    <a:lnTo>
                      <a:pt x="14" y="35"/>
                    </a:lnTo>
                    <a:lnTo>
                      <a:pt x="14" y="33"/>
                    </a:lnTo>
                    <a:lnTo>
                      <a:pt x="12" y="33"/>
                    </a:lnTo>
                    <a:lnTo>
                      <a:pt x="10" y="33"/>
                    </a:lnTo>
                    <a:lnTo>
                      <a:pt x="10" y="33"/>
                    </a:lnTo>
                    <a:lnTo>
                      <a:pt x="10" y="33"/>
                    </a:lnTo>
                    <a:lnTo>
                      <a:pt x="12" y="33"/>
                    </a:lnTo>
                    <a:lnTo>
                      <a:pt x="12" y="33"/>
                    </a:lnTo>
                    <a:lnTo>
                      <a:pt x="14" y="33"/>
                    </a:lnTo>
                    <a:lnTo>
                      <a:pt x="14" y="30"/>
                    </a:lnTo>
                    <a:lnTo>
                      <a:pt x="14" y="28"/>
                    </a:lnTo>
                    <a:lnTo>
                      <a:pt x="14" y="26"/>
                    </a:lnTo>
                    <a:lnTo>
                      <a:pt x="14" y="23"/>
                    </a:lnTo>
                    <a:lnTo>
                      <a:pt x="12" y="23"/>
                    </a:lnTo>
                    <a:lnTo>
                      <a:pt x="7" y="21"/>
                    </a:lnTo>
                    <a:lnTo>
                      <a:pt x="7" y="21"/>
                    </a:lnTo>
                    <a:lnTo>
                      <a:pt x="14"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28" name="Freeform 62">
                <a:extLst>
                  <a:ext uri="{FF2B5EF4-FFF2-40B4-BE49-F238E27FC236}">
                    <a16:creationId xmlns:a16="http://schemas.microsoft.com/office/drawing/2014/main" id="{1A8289A2-78DB-467B-AFFF-663B435B2180}"/>
                  </a:ext>
                </a:extLst>
              </p:cNvPr>
              <p:cNvSpPr>
                <a:spLocks/>
              </p:cNvSpPr>
              <p:nvPr/>
            </p:nvSpPr>
            <p:spPr bwMode="gray">
              <a:xfrm>
                <a:off x="-3253" y="713"/>
                <a:ext cx="33" cy="26"/>
              </a:xfrm>
              <a:custGeom>
                <a:avLst/>
                <a:gdLst>
                  <a:gd name="T0" fmla="*/ 4 w 33"/>
                  <a:gd name="T1" fmla="*/ 16 h 26"/>
                  <a:gd name="T2" fmla="*/ 4 w 33"/>
                  <a:gd name="T3" fmla="*/ 16 h 26"/>
                  <a:gd name="T4" fmla="*/ 7 w 33"/>
                  <a:gd name="T5" fmla="*/ 14 h 26"/>
                  <a:gd name="T6" fmla="*/ 11 w 33"/>
                  <a:gd name="T7" fmla="*/ 19 h 26"/>
                  <a:gd name="T8" fmla="*/ 14 w 33"/>
                  <a:gd name="T9" fmla="*/ 19 h 26"/>
                  <a:gd name="T10" fmla="*/ 14 w 33"/>
                  <a:gd name="T11" fmla="*/ 21 h 26"/>
                  <a:gd name="T12" fmla="*/ 14 w 33"/>
                  <a:gd name="T13" fmla="*/ 21 h 26"/>
                  <a:gd name="T14" fmla="*/ 16 w 33"/>
                  <a:gd name="T15" fmla="*/ 23 h 26"/>
                  <a:gd name="T16" fmla="*/ 16 w 33"/>
                  <a:gd name="T17" fmla="*/ 23 h 26"/>
                  <a:gd name="T18" fmla="*/ 21 w 33"/>
                  <a:gd name="T19" fmla="*/ 26 h 26"/>
                  <a:gd name="T20" fmla="*/ 23 w 33"/>
                  <a:gd name="T21" fmla="*/ 23 h 26"/>
                  <a:gd name="T22" fmla="*/ 28 w 33"/>
                  <a:gd name="T23" fmla="*/ 21 h 26"/>
                  <a:gd name="T24" fmla="*/ 28 w 33"/>
                  <a:gd name="T25" fmla="*/ 19 h 26"/>
                  <a:gd name="T26" fmla="*/ 26 w 33"/>
                  <a:gd name="T27" fmla="*/ 19 h 26"/>
                  <a:gd name="T28" fmla="*/ 21 w 33"/>
                  <a:gd name="T29" fmla="*/ 19 h 26"/>
                  <a:gd name="T30" fmla="*/ 16 w 33"/>
                  <a:gd name="T31" fmla="*/ 19 h 26"/>
                  <a:gd name="T32" fmla="*/ 18 w 33"/>
                  <a:gd name="T33" fmla="*/ 16 h 26"/>
                  <a:gd name="T34" fmla="*/ 21 w 33"/>
                  <a:gd name="T35" fmla="*/ 19 h 26"/>
                  <a:gd name="T36" fmla="*/ 21 w 33"/>
                  <a:gd name="T37" fmla="*/ 19 h 26"/>
                  <a:gd name="T38" fmla="*/ 23 w 33"/>
                  <a:gd name="T39" fmla="*/ 19 h 26"/>
                  <a:gd name="T40" fmla="*/ 28 w 33"/>
                  <a:gd name="T41" fmla="*/ 16 h 26"/>
                  <a:gd name="T42" fmla="*/ 28 w 33"/>
                  <a:gd name="T43" fmla="*/ 14 h 26"/>
                  <a:gd name="T44" fmla="*/ 26 w 33"/>
                  <a:gd name="T45" fmla="*/ 12 h 26"/>
                  <a:gd name="T46" fmla="*/ 26 w 33"/>
                  <a:gd name="T47" fmla="*/ 12 h 26"/>
                  <a:gd name="T48" fmla="*/ 23 w 33"/>
                  <a:gd name="T49" fmla="*/ 9 h 26"/>
                  <a:gd name="T50" fmla="*/ 23 w 33"/>
                  <a:gd name="T51" fmla="*/ 9 h 26"/>
                  <a:gd name="T52" fmla="*/ 21 w 33"/>
                  <a:gd name="T53" fmla="*/ 7 h 26"/>
                  <a:gd name="T54" fmla="*/ 26 w 33"/>
                  <a:gd name="T55" fmla="*/ 7 h 26"/>
                  <a:gd name="T56" fmla="*/ 28 w 33"/>
                  <a:gd name="T57" fmla="*/ 9 h 26"/>
                  <a:gd name="T58" fmla="*/ 28 w 33"/>
                  <a:gd name="T59" fmla="*/ 9 h 26"/>
                  <a:gd name="T60" fmla="*/ 30 w 33"/>
                  <a:gd name="T61" fmla="*/ 12 h 26"/>
                  <a:gd name="T62" fmla="*/ 33 w 33"/>
                  <a:gd name="T63" fmla="*/ 9 h 26"/>
                  <a:gd name="T64" fmla="*/ 33 w 33"/>
                  <a:gd name="T65" fmla="*/ 7 h 26"/>
                  <a:gd name="T66" fmla="*/ 28 w 33"/>
                  <a:gd name="T67" fmla="*/ 5 h 26"/>
                  <a:gd name="T68" fmla="*/ 28 w 33"/>
                  <a:gd name="T69" fmla="*/ 5 h 26"/>
                  <a:gd name="T70" fmla="*/ 23 w 33"/>
                  <a:gd name="T71" fmla="*/ 5 h 26"/>
                  <a:gd name="T72" fmla="*/ 26 w 33"/>
                  <a:gd name="T73" fmla="*/ 2 h 26"/>
                  <a:gd name="T74" fmla="*/ 26 w 33"/>
                  <a:gd name="T75" fmla="*/ 0 h 26"/>
                  <a:gd name="T76" fmla="*/ 18 w 33"/>
                  <a:gd name="T77" fmla="*/ 5 h 26"/>
                  <a:gd name="T78" fmla="*/ 18 w 33"/>
                  <a:gd name="T79" fmla="*/ 5 h 26"/>
                  <a:gd name="T80" fmla="*/ 18 w 33"/>
                  <a:gd name="T81" fmla="*/ 7 h 26"/>
                  <a:gd name="T82" fmla="*/ 14 w 33"/>
                  <a:gd name="T83" fmla="*/ 5 h 26"/>
                  <a:gd name="T84" fmla="*/ 14 w 33"/>
                  <a:gd name="T85" fmla="*/ 2 h 26"/>
                  <a:gd name="T86" fmla="*/ 16 w 33"/>
                  <a:gd name="T87" fmla="*/ 0 h 26"/>
                  <a:gd name="T88" fmla="*/ 11 w 33"/>
                  <a:gd name="T89" fmla="*/ 5 h 26"/>
                  <a:gd name="T90" fmla="*/ 9 w 33"/>
                  <a:gd name="T91" fmla="*/ 7 h 26"/>
                  <a:gd name="T92" fmla="*/ 9 w 33"/>
                  <a:gd name="T93" fmla="*/ 5 h 26"/>
                  <a:gd name="T94" fmla="*/ 4 w 33"/>
                  <a:gd name="T95" fmla="*/ 5 h 26"/>
                  <a:gd name="T96" fmla="*/ 2 w 33"/>
                  <a:gd name="T97" fmla="*/ 7 h 26"/>
                  <a:gd name="T98" fmla="*/ 0 w 33"/>
                  <a:gd name="T99" fmla="*/ 12 h 26"/>
                  <a:gd name="T100" fmla="*/ 0 w 33"/>
                  <a:gd name="T101" fmla="*/ 14 h 26"/>
                  <a:gd name="T102" fmla="*/ 4 w 33"/>
                  <a:gd name="T103"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 h="26">
                    <a:moveTo>
                      <a:pt x="4" y="16"/>
                    </a:moveTo>
                    <a:lnTo>
                      <a:pt x="4" y="16"/>
                    </a:lnTo>
                    <a:lnTo>
                      <a:pt x="4" y="16"/>
                    </a:lnTo>
                    <a:lnTo>
                      <a:pt x="4" y="16"/>
                    </a:lnTo>
                    <a:lnTo>
                      <a:pt x="4" y="16"/>
                    </a:lnTo>
                    <a:lnTo>
                      <a:pt x="7" y="14"/>
                    </a:lnTo>
                    <a:lnTo>
                      <a:pt x="9" y="16"/>
                    </a:lnTo>
                    <a:lnTo>
                      <a:pt x="11" y="19"/>
                    </a:lnTo>
                    <a:lnTo>
                      <a:pt x="14" y="19"/>
                    </a:lnTo>
                    <a:lnTo>
                      <a:pt x="14" y="19"/>
                    </a:lnTo>
                    <a:lnTo>
                      <a:pt x="14" y="19"/>
                    </a:lnTo>
                    <a:lnTo>
                      <a:pt x="14" y="21"/>
                    </a:lnTo>
                    <a:lnTo>
                      <a:pt x="14" y="21"/>
                    </a:lnTo>
                    <a:lnTo>
                      <a:pt x="14" y="21"/>
                    </a:lnTo>
                    <a:lnTo>
                      <a:pt x="14" y="23"/>
                    </a:lnTo>
                    <a:lnTo>
                      <a:pt x="16" y="23"/>
                    </a:lnTo>
                    <a:lnTo>
                      <a:pt x="16" y="23"/>
                    </a:lnTo>
                    <a:lnTo>
                      <a:pt x="16" y="23"/>
                    </a:lnTo>
                    <a:lnTo>
                      <a:pt x="21" y="23"/>
                    </a:lnTo>
                    <a:lnTo>
                      <a:pt x="21" y="26"/>
                    </a:lnTo>
                    <a:lnTo>
                      <a:pt x="21" y="23"/>
                    </a:lnTo>
                    <a:lnTo>
                      <a:pt x="23" y="23"/>
                    </a:lnTo>
                    <a:lnTo>
                      <a:pt x="26" y="23"/>
                    </a:lnTo>
                    <a:lnTo>
                      <a:pt x="28" y="21"/>
                    </a:lnTo>
                    <a:lnTo>
                      <a:pt x="28" y="21"/>
                    </a:lnTo>
                    <a:lnTo>
                      <a:pt x="28" y="19"/>
                    </a:lnTo>
                    <a:lnTo>
                      <a:pt x="28" y="19"/>
                    </a:lnTo>
                    <a:lnTo>
                      <a:pt x="26" y="19"/>
                    </a:lnTo>
                    <a:lnTo>
                      <a:pt x="26" y="19"/>
                    </a:lnTo>
                    <a:lnTo>
                      <a:pt x="21" y="19"/>
                    </a:lnTo>
                    <a:lnTo>
                      <a:pt x="16" y="19"/>
                    </a:lnTo>
                    <a:lnTo>
                      <a:pt x="16" y="19"/>
                    </a:lnTo>
                    <a:lnTo>
                      <a:pt x="18" y="16"/>
                    </a:lnTo>
                    <a:lnTo>
                      <a:pt x="18" y="16"/>
                    </a:lnTo>
                    <a:lnTo>
                      <a:pt x="21" y="16"/>
                    </a:lnTo>
                    <a:lnTo>
                      <a:pt x="21" y="19"/>
                    </a:lnTo>
                    <a:lnTo>
                      <a:pt x="21" y="19"/>
                    </a:lnTo>
                    <a:lnTo>
                      <a:pt x="21" y="19"/>
                    </a:lnTo>
                    <a:lnTo>
                      <a:pt x="21" y="19"/>
                    </a:lnTo>
                    <a:lnTo>
                      <a:pt x="23" y="19"/>
                    </a:lnTo>
                    <a:lnTo>
                      <a:pt x="28" y="16"/>
                    </a:lnTo>
                    <a:lnTo>
                      <a:pt x="28" y="16"/>
                    </a:lnTo>
                    <a:lnTo>
                      <a:pt x="30" y="14"/>
                    </a:lnTo>
                    <a:lnTo>
                      <a:pt x="28" y="14"/>
                    </a:lnTo>
                    <a:lnTo>
                      <a:pt x="26" y="14"/>
                    </a:lnTo>
                    <a:lnTo>
                      <a:pt x="26" y="12"/>
                    </a:lnTo>
                    <a:lnTo>
                      <a:pt x="26" y="12"/>
                    </a:lnTo>
                    <a:lnTo>
                      <a:pt x="26" y="12"/>
                    </a:lnTo>
                    <a:lnTo>
                      <a:pt x="23" y="12"/>
                    </a:lnTo>
                    <a:lnTo>
                      <a:pt x="23" y="9"/>
                    </a:lnTo>
                    <a:lnTo>
                      <a:pt x="23" y="9"/>
                    </a:lnTo>
                    <a:lnTo>
                      <a:pt x="23" y="9"/>
                    </a:lnTo>
                    <a:lnTo>
                      <a:pt x="23" y="7"/>
                    </a:lnTo>
                    <a:lnTo>
                      <a:pt x="21" y="7"/>
                    </a:lnTo>
                    <a:lnTo>
                      <a:pt x="21" y="7"/>
                    </a:lnTo>
                    <a:lnTo>
                      <a:pt x="26" y="7"/>
                    </a:lnTo>
                    <a:lnTo>
                      <a:pt x="28" y="9"/>
                    </a:lnTo>
                    <a:lnTo>
                      <a:pt x="28" y="9"/>
                    </a:lnTo>
                    <a:lnTo>
                      <a:pt x="28" y="9"/>
                    </a:lnTo>
                    <a:lnTo>
                      <a:pt x="28" y="9"/>
                    </a:lnTo>
                    <a:lnTo>
                      <a:pt x="30" y="12"/>
                    </a:lnTo>
                    <a:lnTo>
                      <a:pt x="30" y="12"/>
                    </a:lnTo>
                    <a:lnTo>
                      <a:pt x="30" y="12"/>
                    </a:lnTo>
                    <a:lnTo>
                      <a:pt x="33" y="9"/>
                    </a:lnTo>
                    <a:lnTo>
                      <a:pt x="33" y="7"/>
                    </a:lnTo>
                    <a:lnTo>
                      <a:pt x="33" y="7"/>
                    </a:lnTo>
                    <a:lnTo>
                      <a:pt x="30" y="5"/>
                    </a:lnTo>
                    <a:lnTo>
                      <a:pt x="28" y="5"/>
                    </a:lnTo>
                    <a:lnTo>
                      <a:pt x="28" y="5"/>
                    </a:lnTo>
                    <a:lnTo>
                      <a:pt x="28" y="5"/>
                    </a:lnTo>
                    <a:lnTo>
                      <a:pt x="26" y="5"/>
                    </a:lnTo>
                    <a:lnTo>
                      <a:pt x="23" y="5"/>
                    </a:lnTo>
                    <a:lnTo>
                      <a:pt x="26" y="5"/>
                    </a:lnTo>
                    <a:lnTo>
                      <a:pt x="26" y="2"/>
                    </a:lnTo>
                    <a:lnTo>
                      <a:pt x="26" y="2"/>
                    </a:lnTo>
                    <a:lnTo>
                      <a:pt x="26" y="0"/>
                    </a:lnTo>
                    <a:lnTo>
                      <a:pt x="23" y="0"/>
                    </a:lnTo>
                    <a:lnTo>
                      <a:pt x="18" y="5"/>
                    </a:lnTo>
                    <a:lnTo>
                      <a:pt x="18" y="5"/>
                    </a:lnTo>
                    <a:lnTo>
                      <a:pt x="18" y="5"/>
                    </a:lnTo>
                    <a:lnTo>
                      <a:pt x="18" y="5"/>
                    </a:lnTo>
                    <a:lnTo>
                      <a:pt x="18" y="7"/>
                    </a:lnTo>
                    <a:lnTo>
                      <a:pt x="18" y="5"/>
                    </a:lnTo>
                    <a:lnTo>
                      <a:pt x="14" y="5"/>
                    </a:lnTo>
                    <a:lnTo>
                      <a:pt x="14" y="2"/>
                    </a:lnTo>
                    <a:lnTo>
                      <a:pt x="14" y="2"/>
                    </a:lnTo>
                    <a:lnTo>
                      <a:pt x="16" y="2"/>
                    </a:lnTo>
                    <a:lnTo>
                      <a:pt x="16" y="0"/>
                    </a:lnTo>
                    <a:lnTo>
                      <a:pt x="14" y="2"/>
                    </a:lnTo>
                    <a:lnTo>
                      <a:pt x="11" y="5"/>
                    </a:lnTo>
                    <a:lnTo>
                      <a:pt x="9" y="7"/>
                    </a:lnTo>
                    <a:lnTo>
                      <a:pt x="9" y="7"/>
                    </a:lnTo>
                    <a:lnTo>
                      <a:pt x="9" y="5"/>
                    </a:lnTo>
                    <a:lnTo>
                      <a:pt x="9" y="5"/>
                    </a:lnTo>
                    <a:lnTo>
                      <a:pt x="9" y="5"/>
                    </a:lnTo>
                    <a:lnTo>
                      <a:pt x="4" y="5"/>
                    </a:lnTo>
                    <a:lnTo>
                      <a:pt x="4" y="5"/>
                    </a:lnTo>
                    <a:lnTo>
                      <a:pt x="2" y="7"/>
                    </a:lnTo>
                    <a:lnTo>
                      <a:pt x="2" y="9"/>
                    </a:lnTo>
                    <a:lnTo>
                      <a:pt x="0" y="12"/>
                    </a:lnTo>
                    <a:lnTo>
                      <a:pt x="0" y="12"/>
                    </a:lnTo>
                    <a:lnTo>
                      <a:pt x="0" y="14"/>
                    </a:lnTo>
                    <a:lnTo>
                      <a:pt x="2" y="16"/>
                    </a:ln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29" name="Freeform 63">
                <a:extLst>
                  <a:ext uri="{FF2B5EF4-FFF2-40B4-BE49-F238E27FC236}">
                    <a16:creationId xmlns:a16="http://schemas.microsoft.com/office/drawing/2014/main" id="{7BCB4E4D-9602-4EC5-9D1B-A2F31EACB9F1}"/>
                  </a:ext>
                </a:extLst>
              </p:cNvPr>
              <p:cNvSpPr>
                <a:spLocks/>
              </p:cNvSpPr>
              <p:nvPr/>
            </p:nvSpPr>
            <p:spPr bwMode="gray">
              <a:xfrm>
                <a:off x="-3152" y="911"/>
                <a:ext cx="28" cy="45"/>
              </a:xfrm>
              <a:custGeom>
                <a:avLst/>
                <a:gdLst>
                  <a:gd name="T0" fmla="*/ 9 w 28"/>
                  <a:gd name="T1" fmla="*/ 42 h 45"/>
                  <a:gd name="T2" fmla="*/ 9 w 28"/>
                  <a:gd name="T3" fmla="*/ 42 h 45"/>
                  <a:gd name="T4" fmla="*/ 12 w 28"/>
                  <a:gd name="T5" fmla="*/ 38 h 45"/>
                  <a:gd name="T6" fmla="*/ 12 w 28"/>
                  <a:gd name="T7" fmla="*/ 35 h 45"/>
                  <a:gd name="T8" fmla="*/ 12 w 28"/>
                  <a:gd name="T9" fmla="*/ 35 h 45"/>
                  <a:gd name="T10" fmla="*/ 14 w 28"/>
                  <a:gd name="T11" fmla="*/ 33 h 45"/>
                  <a:gd name="T12" fmla="*/ 14 w 28"/>
                  <a:gd name="T13" fmla="*/ 33 h 45"/>
                  <a:gd name="T14" fmla="*/ 17 w 28"/>
                  <a:gd name="T15" fmla="*/ 28 h 45"/>
                  <a:gd name="T16" fmla="*/ 21 w 28"/>
                  <a:gd name="T17" fmla="*/ 16 h 45"/>
                  <a:gd name="T18" fmla="*/ 26 w 28"/>
                  <a:gd name="T19" fmla="*/ 9 h 45"/>
                  <a:gd name="T20" fmla="*/ 26 w 28"/>
                  <a:gd name="T21" fmla="*/ 7 h 45"/>
                  <a:gd name="T22" fmla="*/ 28 w 28"/>
                  <a:gd name="T23" fmla="*/ 7 h 45"/>
                  <a:gd name="T24" fmla="*/ 28 w 28"/>
                  <a:gd name="T25" fmla="*/ 5 h 45"/>
                  <a:gd name="T26" fmla="*/ 28 w 28"/>
                  <a:gd name="T27" fmla="*/ 5 h 45"/>
                  <a:gd name="T28" fmla="*/ 28 w 28"/>
                  <a:gd name="T29" fmla="*/ 2 h 45"/>
                  <a:gd name="T30" fmla="*/ 28 w 28"/>
                  <a:gd name="T31" fmla="*/ 0 h 45"/>
                  <a:gd name="T32" fmla="*/ 28 w 28"/>
                  <a:gd name="T33" fmla="*/ 0 h 45"/>
                  <a:gd name="T34" fmla="*/ 26 w 28"/>
                  <a:gd name="T35" fmla="*/ 0 h 45"/>
                  <a:gd name="T36" fmla="*/ 21 w 28"/>
                  <a:gd name="T37" fmla="*/ 5 h 45"/>
                  <a:gd name="T38" fmla="*/ 17 w 28"/>
                  <a:gd name="T39" fmla="*/ 9 h 45"/>
                  <a:gd name="T40" fmla="*/ 14 w 28"/>
                  <a:gd name="T41" fmla="*/ 12 h 45"/>
                  <a:gd name="T42" fmla="*/ 12 w 28"/>
                  <a:gd name="T43" fmla="*/ 12 h 45"/>
                  <a:gd name="T44" fmla="*/ 9 w 28"/>
                  <a:gd name="T45" fmla="*/ 14 h 45"/>
                  <a:gd name="T46" fmla="*/ 7 w 28"/>
                  <a:gd name="T47" fmla="*/ 19 h 45"/>
                  <a:gd name="T48" fmla="*/ 7 w 28"/>
                  <a:gd name="T49" fmla="*/ 21 h 45"/>
                  <a:gd name="T50" fmla="*/ 7 w 28"/>
                  <a:gd name="T51" fmla="*/ 23 h 45"/>
                  <a:gd name="T52" fmla="*/ 12 w 28"/>
                  <a:gd name="T53" fmla="*/ 23 h 45"/>
                  <a:gd name="T54" fmla="*/ 14 w 28"/>
                  <a:gd name="T55" fmla="*/ 21 h 45"/>
                  <a:gd name="T56" fmla="*/ 14 w 28"/>
                  <a:gd name="T57" fmla="*/ 21 h 45"/>
                  <a:gd name="T58" fmla="*/ 12 w 28"/>
                  <a:gd name="T59" fmla="*/ 23 h 45"/>
                  <a:gd name="T60" fmla="*/ 7 w 28"/>
                  <a:gd name="T61" fmla="*/ 26 h 45"/>
                  <a:gd name="T62" fmla="*/ 5 w 28"/>
                  <a:gd name="T63" fmla="*/ 26 h 45"/>
                  <a:gd name="T64" fmla="*/ 5 w 28"/>
                  <a:gd name="T65" fmla="*/ 28 h 45"/>
                  <a:gd name="T66" fmla="*/ 2 w 28"/>
                  <a:gd name="T67" fmla="*/ 28 h 45"/>
                  <a:gd name="T68" fmla="*/ 2 w 28"/>
                  <a:gd name="T69" fmla="*/ 30 h 45"/>
                  <a:gd name="T70" fmla="*/ 0 w 28"/>
                  <a:gd name="T71" fmla="*/ 30 h 45"/>
                  <a:gd name="T72" fmla="*/ 0 w 28"/>
                  <a:gd name="T73" fmla="*/ 33 h 45"/>
                  <a:gd name="T74" fmla="*/ 2 w 28"/>
                  <a:gd name="T75" fmla="*/ 40 h 45"/>
                  <a:gd name="T76" fmla="*/ 2 w 28"/>
                  <a:gd name="T77" fmla="*/ 42 h 45"/>
                  <a:gd name="T78" fmla="*/ 5 w 28"/>
                  <a:gd name="T79" fmla="*/ 45 h 45"/>
                  <a:gd name="T80" fmla="*/ 7 w 28"/>
                  <a:gd name="T81" fmla="*/ 45 h 45"/>
                  <a:gd name="T82" fmla="*/ 9 w 28"/>
                  <a:gd name="T83" fmla="*/ 4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 h="45">
                    <a:moveTo>
                      <a:pt x="9" y="42"/>
                    </a:moveTo>
                    <a:lnTo>
                      <a:pt x="9" y="42"/>
                    </a:lnTo>
                    <a:lnTo>
                      <a:pt x="12" y="38"/>
                    </a:lnTo>
                    <a:lnTo>
                      <a:pt x="12" y="35"/>
                    </a:lnTo>
                    <a:lnTo>
                      <a:pt x="12" y="35"/>
                    </a:lnTo>
                    <a:lnTo>
                      <a:pt x="14" y="33"/>
                    </a:lnTo>
                    <a:lnTo>
                      <a:pt x="14" y="33"/>
                    </a:lnTo>
                    <a:lnTo>
                      <a:pt x="17" y="28"/>
                    </a:lnTo>
                    <a:lnTo>
                      <a:pt x="21" y="16"/>
                    </a:lnTo>
                    <a:lnTo>
                      <a:pt x="26" y="9"/>
                    </a:lnTo>
                    <a:lnTo>
                      <a:pt x="26" y="7"/>
                    </a:lnTo>
                    <a:lnTo>
                      <a:pt x="28" y="7"/>
                    </a:lnTo>
                    <a:lnTo>
                      <a:pt x="28" y="5"/>
                    </a:lnTo>
                    <a:lnTo>
                      <a:pt x="28" y="5"/>
                    </a:lnTo>
                    <a:lnTo>
                      <a:pt x="28" y="2"/>
                    </a:lnTo>
                    <a:lnTo>
                      <a:pt x="28" y="0"/>
                    </a:lnTo>
                    <a:lnTo>
                      <a:pt x="28" y="0"/>
                    </a:lnTo>
                    <a:lnTo>
                      <a:pt x="26" y="0"/>
                    </a:lnTo>
                    <a:lnTo>
                      <a:pt x="21" y="5"/>
                    </a:lnTo>
                    <a:lnTo>
                      <a:pt x="17" y="9"/>
                    </a:lnTo>
                    <a:lnTo>
                      <a:pt x="14" y="12"/>
                    </a:lnTo>
                    <a:lnTo>
                      <a:pt x="12" y="12"/>
                    </a:lnTo>
                    <a:lnTo>
                      <a:pt x="9" y="14"/>
                    </a:lnTo>
                    <a:lnTo>
                      <a:pt x="7" y="19"/>
                    </a:lnTo>
                    <a:lnTo>
                      <a:pt x="7" y="21"/>
                    </a:lnTo>
                    <a:lnTo>
                      <a:pt x="7" y="23"/>
                    </a:lnTo>
                    <a:lnTo>
                      <a:pt x="12" y="23"/>
                    </a:lnTo>
                    <a:lnTo>
                      <a:pt x="14" y="21"/>
                    </a:lnTo>
                    <a:lnTo>
                      <a:pt x="14" y="21"/>
                    </a:lnTo>
                    <a:lnTo>
                      <a:pt x="12" y="23"/>
                    </a:lnTo>
                    <a:lnTo>
                      <a:pt x="7" y="26"/>
                    </a:lnTo>
                    <a:lnTo>
                      <a:pt x="5" y="26"/>
                    </a:lnTo>
                    <a:lnTo>
                      <a:pt x="5" y="28"/>
                    </a:lnTo>
                    <a:lnTo>
                      <a:pt x="2" y="28"/>
                    </a:lnTo>
                    <a:lnTo>
                      <a:pt x="2" y="30"/>
                    </a:lnTo>
                    <a:lnTo>
                      <a:pt x="0" y="30"/>
                    </a:lnTo>
                    <a:lnTo>
                      <a:pt x="0" y="33"/>
                    </a:lnTo>
                    <a:lnTo>
                      <a:pt x="2" y="40"/>
                    </a:lnTo>
                    <a:lnTo>
                      <a:pt x="2" y="42"/>
                    </a:lnTo>
                    <a:lnTo>
                      <a:pt x="5" y="45"/>
                    </a:lnTo>
                    <a:lnTo>
                      <a:pt x="7" y="45"/>
                    </a:lnTo>
                    <a:lnTo>
                      <a:pt x="9"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230" name="Freeform 64">
                <a:extLst>
                  <a:ext uri="{FF2B5EF4-FFF2-40B4-BE49-F238E27FC236}">
                    <a16:creationId xmlns:a16="http://schemas.microsoft.com/office/drawing/2014/main" id="{708E731D-CF82-4552-963E-57091E5F02DE}"/>
                  </a:ext>
                </a:extLst>
              </p:cNvPr>
              <p:cNvSpPr>
                <a:spLocks/>
              </p:cNvSpPr>
              <p:nvPr/>
            </p:nvSpPr>
            <p:spPr bwMode="gray">
              <a:xfrm>
                <a:off x="-2935" y="560"/>
                <a:ext cx="10" cy="16"/>
              </a:xfrm>
              <a:custGeom>
                <a:avLst/>
                <a:gdLst>
                  <a:gd name="T0" fmla="*/ 7 w 10"/>
                  <a:gd name="T1" fmla="*/ 4 h 16"/>
                  <a:gd name="T2" fmla="*/ 10 w 10"/>
                  <a:gd name="T3" fmla="*/ 2 h 16"/>
                  <a:gd name="T4" fmla="*/ 10 w 10"/>
                  <a:gd name="T5" fmla="*/ 2 h 16"/>
                  <a:gd name="T6" fmla="*/ 7 w 10"/>
                  <a:gd name="T7" fmla="*/ 0 h 16"/>
                  <a:gd name="T8" fmla="*/ 5 w 10"/>
                  <a:gd name="T9" fmla="*/ 0 h 16"/>
                  <a:gd name="T10" fmla="*/ 2 w 10"/>
                  <a:gd name="T11" fmla="*/ 2 h 16"/>
                  <a:gd name="T12" fmla="*/ 0 w 10"/>
                  <a:gd name="T13" fmla="*/ 2 h 16"/>
                  <a:gd name="T14" fmla="*/ 0 w 10"/>
                  <a:gd name="T15" fmla="*/ 2 h 16"/>
                  <a:gd name="T16" fmla="*/ 5 w 10"/>
                  <a:gd name="T17" fmla="*/ 2 h 16"/>
                  <a:gd name="T18" fmla="*/ 5 w 10"/>
                  <a:gd name="T19" fmla="*/ 4 h 16"/>
                  <a:gd name="T20" fmla="*/ 2 w 10"/>
                  <a:gd name="T21" fmla="*/ 4 h 16"/>
                  <a:gd name="T22" fmla="*/ 2 w 10"/>
                  <a:gd name="T23" fmla="*/ 4 h 16"/>
                  <a:gd name="T24" fmla="*/ 2 w 10"/>
                  <a:gd name="T25" fmla="*/ 4 h 16"/>
                  <a:gd name="T26" fmla="*/ 0 w 10"/>
                  <a:gd name="T27" fmla="*/ 4 h 16"/>
                  <a:gd name="T28" fmla="*/ 2 w 10"/>
                  <a:gd name="T29" fmla="*/ 7 h 16"/>
                  <a:gd name="T30" fmla="*/ 2 w 10"/>
                  <a:gd name="T31" fmla="*/ 9 h 16"/>
                  <a:gd name="T32" fmla="*/ 2 w 10"/>
                  <a:gd name="T33" fmla="*/ 12 h 16"/>
                  <a:gd name="T34" fmla="*/ 2 w 10"/>
                  <a:gd name="T35" fmla="*/ 12 h 16"/>
                  <a:gd name="T36" fmla="*/ 5 w 10"/>
                  <a:gd name="T37" fmla="*/ 16 h 16"/>
                  <a:gd name="T38" fmla="*/ 7 w 10"/>
                  <a:gd name="T39" fmla="*/ 14 h 16"/>
                  <a:gd name="T40" fmla="*/ 7 w 10"/>
                  <a:gd name="T41" fmla="*/ 14 h 16"/>
                  <a:gd name="T42" fmla="*/ 7 w 10"/>
                  <a:gd name="T43" fmla="*/ 12 h 16"/>
                  <a:gd name="T44" fmla="*/ 7 w 10"/>
                  <a:gd name="T45" fmla="*/ 9 h 16"/>
                  <a:gd name="T46" fmla="*/ 7 w 10"/>
                  <a:gd name="T47" fmla="*/ 9 h 16"/>
                  <a:gd name="T48" fmla="*/ 7 w 10"/>
                  <a:gd name="T49" fmla="*/ 7 h 16"/>
                  <a:gd name="T50" fmla="*/ 7 w 10"/>
                  <a:gd name="T51" fmla="*/ 7 h 16"/>
                  <a:gd name="T52" fmla="*/ 7 w 10"/>
                  <a:gd name="T53" fmla="*/ 4 h 16"/>
                  <a:gd name="T54" fmla="*/ 7 w 10"/>
                  <a:gd name="T55"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 h="16">
                    <a:moveTo>
                      <a:pt x="7" y="4"/>
                    </a:moveTo>
                    <a:lnTo>
                      <a:pt x="10" y="2"/>
                    </a:lnTo>
                    <a:lnTo>
                      <a:pt x="10" y="2"/>
                    </a:lnTo>
                    <a:lnTo>
                      <a:pt x="7" y="0"/>
                    </a:lnTo>
                    <a:lnTo>
                      <a:pt x="5" y="0"/>
                    </a:lnTo>
                    <a:lnTo>
                      <a:pt x="2" y="2"/>
                    </a:lnTo>
                    <a:lnTo>
                      <a:pt x="0" y="2"/>
                    </a:lnTo>
                    <a:lnTo>
                      <a:pt x="0" y="2"/>
                    </a:lnTo>
                    <a:lnTo>
                      <a:pt x="5" y="2"/>
                    </a:lnTo>
                    <a:lnTo>
                      <a:pt x="5" y="4"/>
                    </a:lnTo>
                    <a:lnTo>
                      <a:pt x="2" y="4"/>
                    </a:lnTo>
                    <a:lnTo>
                      <a:pt x="2" y="4"/>
                    </a:lnTo>
                    <a:lnTo>
                      <a:pt x="2" y="4"/>
                    </a:lnTo>
                    <a:lnTo>
                      <a:pt x="0" y="4"/>
                    </a:lnTo>
                    <a:lnTo>
                      <a:pt x="2" y="7"/>
                    </a:lnTo>
                    <a:lnTo>
                      <a:pt x="2" y="9"/>
                    </a:lnTo>
                    <a:lnTo>
                      <a:pt x="2" y="12"/>
                    </a:lnTo>
                    <a:lnTo>
                      <a:pt x="2" y="12"/>
                    </a:lnTo>
                    <a:lnTo>
                      <a:pt x="5" y="16"/>
                    </a:lnTo>
                    <a:lnTo>
                      <a:pt x="7" y="14"/>
                    </a:lnTo>
                    <a:lnTo>
                      <a:pt x="7" y="14"/>
                    </a:lnTo>
                    <a:lnTo>
                      <a:pt x="7" y="12"/>
                    </a:lnTo>
                    <a:lnTo>
                      <a:pt x="7" y="9"/>
                    </a:lnTo>
                    <a:lnTo>
                      <a:pt x="7" y="9"/>
                    </a:lnTo>
                    <a:lnTo>
                      <a:pt x="7" y="7"/>
                    </a:lnTo>
                    <a:lnTo>
                      <a:pt x="7" y="7"/>
                    </a:lnTo>
                    <a:lnTo>
                      <a:pt x="7" y="4"/>
                    </a:lnTo>
                    <a:lnTo>
                      <a:pt x="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72" name="Freeform 65">
                <a:extLst>
                  <a:ext uri="{FF2B5EF4-FFF2-40B4-BE49-F238E27FC236}">
                    <a16:creationId xmlns:a16="http://schemas.microsoft.com/office/drawing/2014/main" id="{3640D27F-907F-4049-97AF-0B892F3A4A6F}"/>
                  </a:ext>
                </a:extLst>
              </p:cNvPr>
              <p:cNvSpPr>
                <a:spLocks/>
              </p:cNvSpPr>
              <p:nvPr/>
            </p:nvSpPr>
            <p:spPr bwMode="gray">
              <a:xfrm>
                <a:off x="-2958" y="520"/>
                <a:ext cx="44" cy="35"/>
              </a:xfrm>
              <a:custGeom>
                <a:avLst/>
                <a:gdLst>
                  <a:gd name="T0" fmla="*/ 4 w 44"/>
                  <a:gd name="T1" fmla="*/ 26 h 35"/>
                  <a:gd name="T2" fmla="*/ 7 w 44"/>
                  <a:gd name="T3" fmla="*/ 23 h 35"/>
                  <a:gd name="T4" fmla="*/ 7 w 44"/>
                  <a:gd name="T5" fmla="*/ 21 h 35"/>
                  <a:gd name="T6" fmla="*/ 7 w 44"/>
                  <a:gd name="T7" fmla="*/ 19 h 35"/>
                  <a:gd name="T8" fmla="*/ 7 w 44"/>
                  <a:gd name="T9" fmla="*/ 16 h 35"/>
                  <a:gd name="T10" fmla="*/ 7 w 44"/>
                  <a:gd name="T11" fmla="*/ 16 h 35"/>
                  <a:gd name="T12" fmla="*/ 7 w 44"/>
                  <a:gd name="T13" fmla="*/ 16 h 35"/>
                  <a:gd name="T14" fmla="*/ 7 w 44"/>
                  <a:gd name="T15" fmla="*/ 14 h 35"/>
                  <a:gd name="T16" fmla="*/ 9 w 44"/>
                  <a:gd name="T17" fmla="*/ 14 h 35"/>
                  <a:gd name="T18" fmla="*/ 9 w 44"/>
                  <a:gd name="T19" fmla="*/ 16 h 35"/>
                  <a:gd name="T20" fmla="*/ 11 w 44"/>
                  <a:gd name="T21" fmla="*/ 16 h 35"/>
                  <a:gd name="T22" fmla="*/ 9 w 44"/>
                  <a:gd name="T23" fmla="*/ 21 h 35"/>
                  <a:gd name="T24" fmla="*/ 9 w 44"/>
                  <a:gd name="T25" fmla="*/ 26 h 35"/>
                  <a:gd name="T26" fmla="*/ 11 w 44"/>
                  <a:gd name="T27" fmla="*/ 30 h 35"/>
                  <a:gd name="T28" fmla="*/ 16 w 44"/>
                  <a:gd name="T29" fmla="*/ 30 h 35"/>
                  <a:gd name="T30" fmla="*/ 18 w 44"/>
                  <a:gd name="T31" fmla="*/ 28 h 35"/>
                  <a:gd name="T32" fmla="*/ 18 w 44"/>
                  <a:gd name="T33" fmla="*/ 26 h 35"/>
                  <a:gd name="T34" fmla="*/ 21 w 44"/>
                  <a:gd name="T35" fmla="*/ 28 h 35"/>
                  <a:gd name="T36" fmla="*/ 21 w 44"/>
                  <a:gd name="T37" fmla="*/ 26 h 35"/>
                  <a:gd name="T38" fmla="*/ 23 w 44"/>
                  <a:gd name="T39" fmla="*/ 26 h 35"/>
                  <a:gd name="T40" fmla="*/ 25 w 44"/>
                  <a:gd name="T41" fmla="*/ 23 h 35"/>
                  <a:gd name="T42" fmla="*/ 28 w 44"/>
                  <a:gd name="T43" fmla="*/ 30 h 35"/>
                  <a:gd name="T44" fmla="*/ 30 w 44"/>
                  <a:gd name="T45" fmla="*/ 33 h 35"/>
                  <a:gd name="T46" fmla="*/ 37 w 44"/>
                  <a:gd name="T47" fmla="*/ 35 h 35"/>
                  <a:gd name="T48" fmla="*/ 40 w 44"/>
                  <a:gd name="T49" fmla="*/ 30 h 35"/>
                  <a:gd name="T50" fmla="*/ 44 w 44"/>
                  <a:gd name="T51" fmla="*/ 30 h 35"/>
                  <a:gd name="T52" fmla="*/ 44 w 44"/>
                  <a:gd name="T53" fmla="*/ 28 h 35"/>
                  <a:gd name="T54" fmla="*/ 44 w 44"/>
                  <a:gd name="T55" fmla="*/ 23 h 35"/>
                  <a:gd name="T56" fmla="*/ 44 w 44"/>
                  <a:gd name="T57" fmla="*/ 23 h 35"/>
                  <a:gd name="T58" fmla="*/ 40 w 44"/>
                  <a:gd name="T59" fmla="*/ 26 h 35"/>
                  <a:gd name="T60" fmla="*/ 40 w 44"/>
                  <a:gd name="T61" fmla="*/ 26 h 35"/>
                  <a:gd name="T62" fmla="*/ 40 w 44"/>
                  <a:gd name="T63" fmla="*/ 28 h 35"/>
                  <a:gd name="T64" fmla="*/ 37 w 44"/>
                  <a:gd name="T65" fmla="*/ 28 h 35"/>
                  <a:gd name="T66" fmla="*/ 37 w 44"/>
                  <a:gd name="T67" fmla="*/ 26 h 35"/>
                  <a:gd name="T68" fmla="*/ 40 w 44"/>
                  <a:gd name="T69" fmla="*/ 21 h 35"/>
                  <a:gd name="T70" fmla="*/ 40 w 44"/>
                  <a:gd name="T71" fmla="*/ 21 h 35"/>
                  <a:gd name="T72" fmla="*/ 37 w 44"/>
                  <a:gd name="T73" fmla="*/ 21 h 35"/>
                  <a:gd name="T74" fmla="*/ 35 w 44"/>
                  <a:gd name="T75" fmla="*/ 23 h 35"/>
                  <a:gd name="T76" fmla="*/ 33 w 44"/>
                  <a:gd name="T77" fmla="*/ 21 h 35"/>
                  <a:gd name="T78" fmla="*/ 33 w 44"/>
                  <a:gd name="T79" fmla="*/ 19 h 35"/>
                  <a:gd name="T80" fmla="*/ 30 w 44"/>
                  <a:gd name="T81" fmla="*/ 19 h 35"/>
                  <a:gd name="T82" fmla="*/ 30 w 44"/>
                  <a:gd name="T83" fmla="*/ 16 h 35"/>
                  <a:gd name="T84" fmla="*/ 28 w 44"/>
                  <a:gd name="T85" fmla="*/ 19 h 35"/>
                  <a:gd name="T86" fmla="*/ 23 w 44"/>
                  <a:gd name="T87" fmla="*/ 16 h 35"/>
                  <a:gd name="T88" fmla="*/ 21 w 44"/>
                  <a:gd name="T89" fmla="*/ 19 h 35"/>
                  <a:gd name="T90" fmla="*/ 18 w 44"/>
                  <a:gd name="T91" fmla="*/ 21 h 35"/>
                  <a:gd name="T92" fmla="*/ 16 w 44"/>
                  <a:gd name="T93" fmla="*/ 19 h 35"/>
                  <a:gd name="T94" fmla="*/ 18 w 44"/>
                  <a:gd name="T95" fmla="*/ 16 h 35"/>
                  <a:gd name="T96" fmla="*/ 21 w 44"/>
                  <a:gd name="T97" fmla="*/ 11 h 35"/>
                  <a:gd name="T98" fmla="*/ 25 w 44"/>
                  <a:gd name="T99" fmla="*/ 11 h 35"/>
                  <a:gd name="T100" fmla="*/ 23 w 44"/>
                  <a:gd name="T101" fmla="*/ 9 h 35"/>
                  <a:gd name="T102" fmla="*/ 25 w 44"/>
                  <a:gd name="T103" fmla="*/ 9 h 35"/>
                  <a:gd name="T104" fmla="*/ 21 w 44"/>
                  <a:gd name="T105" fmla="*/ 4 h 35"/>
                  <a:gd name="T106" fmla="*/ 21 w 44"/>
                  <a:gd name="T107" fmla="*/ 4 h 35"/>
                  <a:gd name="T108" fmla="*/ 21 w 44"/>
                  <a:gd name="T109" fmla="*/ 2 h 35"/>
                  <a:gd name="T110" fmla="*/ 18 w 44"/>
                  <a:gd name="T111" fmla="*/ 2 h 35"/>
                  <a:gd name="T112" fmla="*/ 16 w 44"/>
                  <a:gd name="T113" fmla="*/ 2 h 35"/>
                  <a:gd name="T114" fmla="*/ 11 w 44"/>
                  <a:gd name="T115" fmla="*/ 0 h 35"/>
                  <a:gd name="T116" fmla="*/ 4 w 44"/>
                  <a:gd name="T117" fmla="*/ 0 h 35"/>
                  <a:gd name="T118" fmla="*/ 0 w 44"/>
                  <a:gd name="T119" fmla="*/ 4 h 35"/>
                  <a:gd name="T120" fmla="*/ 0 w 44"/>
                  <a:gd name="T121" fmla="*/ 11 h 35"/>
                  <a:gd name="T122" fmla="*/ 0 w 44"/>
                  <a:gd name="T123" fmla="*/ 2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 h="35">
                    <a:moveTo>
                      <a:pt x="2" y="26"/>
                    </a:moveTo>
                    <a:lnTo>
                      <a:pt x="4" y="26"/>
                    </a:lnTo>
                    <a:lnTo>
                      <a:pt x="4" y="26"/>
                    </a:lnTo>
                    <a:lnTo>
                      <a:pt x="7" y="23"/>
                    </a:lnTo>
                    <a:lnTo>
                      <a:pt x="7" y="21"/>
                    </a:lnTo>
                    <a:lnTo>
                      <a:pt x="7" y="21"/>
                    </a:lnTo>
                    <a:lnTo>
                      <a:pt x="7" y="19"/>
                    </a:lnTo>
                    <a:lnTo>
                      <a:pt x="7" y="19"/>
                    </a:lnTo>
                    <a:lnTo>
                      <a:pt x="4" y="16"/>
                    </a:lnTo>
                    <a:lnTo>
                      <a:pt x="7" y="16"/>
                    </a:lnTo>
                    <a:lnTo>
                      <a:pt x="7" y="16"/>
                    </a:lnTo>
                    <a:lnTo>
                      <a:pt x="7" y="16"/>
                    </a:lnTo>
                    <a:lnTo>
                      <a:pt x="7" y="16"/>
                    </a:lnTo>
                    <a:lnTo>
                      <a:pt x="7" y="16"/>
                    </a:lnTo>
                    <a:lnTo>
                      <a:pt x="7" y="16"/>
                    </a:lnTo>
                    <a:lnTo>
                      <a:pt x="7" y="14"/>
                    </a:lnTo>
                    <a:lnTo>
                      <a:pt x="9" y="14"/>
                    </a:lnTo>
                    <a:lnTo>
                      <a:pt x="9" y="14"/>
                    </a:lnTo>
                    <a:lnTo>
                      <a:pt x="9" y="14"/>
                    </a:lnTo>
                    <a:lnTo>
                      <a:pt x="9" y="16"/>
                    </a:lnTo>
                    <a:lnTo>
                      <a:pt x="9" y="16"/>
                    </a:lnTo>
                    <a:lnTo>
                      <a:pt x="11" y="16"/>
                    </a:lnTo>
                    <a:lnTo>
                      <a:pt x="11" y="19"/>
                    </a:lnTo>
                    <a:lnTo>
                      <a:pt x="9" y="21"/>
                    </a:lnTo>
                    <a:lnTo>
                      <a:pt x="9" y="23"/>
                    </a:lnTo>
                    <a:lnTo>
                      <a:pt x="9" y="26"/>
                    </a:lnTo>
                    <a:lnTo>
                      <a:pt x="9" y="28"/>
                    </a:lnTo>
                    <a:lnTo>
                      <a:pt x="11" y="30"/>
                    </a:lnTo>
                    <a:lnTo>
                      <a:pt x="14" y="30"/>
                    </a:lnTo>
                    <a:lnTo>
                      <a:pt x="16" y="30"/>
                    </a:lnTo>
                    <a:lnTo>
                      <a:pt x="16" y="28"/>
                    </a:lnTo>
                    <a:lnTo>
                      <a:pt x="18" y="28"/>
                    </a:lnTo>
                    <a:lnTo>
                      <a:pt x="21" y="28"/>
                    </a:lnTo>
                    <a:lnTo>
                      <a:pt x="18" y="26"/>
                    </a:lnTo>
                    <a:lnTo>
                      <a:pt x="21" y="26"/>
                    </a:lnTo>
                    <a:lnTo>
                      <a:pt x="21" y="28"/>
                    </a:lnTo>
                    <a:lnTo>
                      <a:pt x="21" y="28"/>
                    </a:lnTo>
                    <a:lnTo>
                      <a:pt x="21" y="26"/>
                    </a:lnTo>
                    <a:lnTo>
                      <a:pt x="23" y="28"/>
                    </a:lnTo>
                    <a:lnTo>
                      <a:pt x="23" y="26"/>
                    </a:lnTo>
                    <a:lnTo>
                      <a:pt x="25" y="23"/>
                    </a:lnTo>
                    <a:lnTo>
                      <a:pt x="25" y="23"/>
                    </a:lnTo>
                    <a:lnTo>
                      <a:pt x="28" y="26"/>
                    </a:lnTo>
                    <a:lnTo>
                      <a:pt x="28" y="30"/>
                    </a:lnTo>
                    <a:lnTo>
                      <a:pt x="30" y="33"/>
                    </a:lnTo>
                    <a:lnTo>
                      <a:pt x="30" y="33"/>
                    </a:lnTo>
                    <a:lnTo>
                      <a:pt x="35" y="35"/>
                    </a:lnTo>
                    <a:lnTo>
                      <a:pt x="37" y="35"/>
                    </a:lnTo>
                    <a:lnTo>
                      <a:pt x="37" y="35"/>
                    </a:lnTo>
                    <a:lnTo>
                      <a:pt x="40" y="30"/>
                    </a:lnTo>
                    <a:lnTo>
                      <a:pt x="42" y="30"/>
                    </a:lnTo>
                    <a:lnTo>
                      <a:pt x="44" y="30"/>
                    </a:lnTo>
                    <a:lnTo>
                      <a:pt x="44" y="28"/>
                    </a:lnTo>
                    <a:lnTo>
                      <a:pt x="44" y="28"/>
                    </a:lnTo>
                    <a:lnTo>
                      <a:pt x="44" y="26"/>
                    </a:lnTo>
                    <a:lnTo>
                      <a:pt x="44" y="23"/>
                    </a:lnTo>
                    <a:lnTo>
                      <a:pt x="44" y="23"/>
                    </a:lnTo>
                    <a:lnTo>
                      <a:pt x="44" y="23"/>
                    </a:lnTo>
                    <a:lnTo>
                      <a:pt x="42" y="23"/>
                    </a:lnTo>
                    <a:lnTo>
                      <a:pt x="40" y="26"/>
                    </a:lnTo>
                    <a:lnTo>
                      <a:pt x="40" y="26"/>
                    </a:lnTo>
                    <a:lnTo>
                      <a:pt x="40" y="26"/>
                    </a:lnTo>
                    <a:lnTo>
                      <a:pt x="40" y="28"/>
                    </a:lnTo>
                    <a:lnTo>
                      <a:pt x="40" y="28"/>
                    </a:lnTo>
                    <a:lnTo>
                      <a:pt x="37" y="28"/>
                    </a:lnTo>
                    <a:lnTo>
                      <a:pt x="37" y="28"/>
                    </a:lnTo>
                    <a:lnTo>
                      <a:pt x="35" y="26"/>
                    </a:lnTo>
                    <a:lnTo>
                      <a:pt x="37" y="26"/>
                    </a:lnTo>
                    <a:lnTo>
                      <a:pt x="40" y="23"/>
                    </a:lnTo>
                    <a:lnTo>
                      <a:pt x="40" y="21"/>
                    </a:lnTo>
                    <a:lnTo>
                      <a:pt x="40" y="21"/>
                    </a:lnTo>
                    <a:lnTo>
                      <a:pt x="40" y="21"/>
                    </a:lnTo>
                    <a:lnTo>
                      <a:pt x="37" y="21"/>
                    </a:lnTo>
                    <a:lnTo>
                      <a:pt x="37" y="21"/>
                    </a:lnTo>
                    <a:lnTo>
                      <a:pt x="35" y="21"/>
                    </a:lnTo>
                    <a:lnTo>
                      <a:pt x="35" y="23"/>
                    </a:lnTo>
                    <a:lnTo>
                      <a:pt x="33" y="21"/>
                    </a:lnTo>
                    <a:lnTo>
                      <a:pt x="33" y="21"/>
                    </a:lnTo>
                    <a:lnTo>
                      <a:pt x="33" y="21"/>
                    </a:lnTo>
                    <a:lnTo>
                      <a:pt x="33" y="19"/>
                    </a:lnTo>
                    <a:lnTo>
                      <a:pt x="33" y="21"/>
                    </a:lnTo>
                    <a:lnTo>
                      <a:pt x="30" y="19"/>
                    </a:lnTo>
                    <a:lnTo>
                      <a:pt x="30" y="19"/>
                    </a:lnTo>
                    <a:lnTo>
                      <a:pt x="30" y="16"/>
                    </a:lnTo>
                    <a:lnTo>
                      <a:pt x="28" y="19"/>
                    </a:lnTo>
                    <a:lnTo>
                      <a:pt x="28" y="19"/>
                    </a:lnTo>
                    <a:lnTo>
                      <a:pt x="25" y="19"/>
                    </a:lnTo>
                    <a:lnTo>
                      <a:pt x="23" y="16"/>
                    </a:lnTo>
                    <a:lnTo>
                      <a:pt x="23" y="19"/>
                    </a:lnTo>
                    <a:lnTo>
                      <a:pt x="21" y="19"/>
                    </a:lnTo>
                    <a:lnTo>
                      <a:pt x="21" y="21"/>
                    </a:lnTo>
                    <a:lnTo>
                      <a:pt x="18" y="21"/>
                    </a:lnTo>
                    <a:lnTo>
                      <a:pt x="16" y="19"/>
                    </a:lnTo>
                    <a:lnTo>
                      <a:pt x="16" y="19"/>
                    </a:lnTo>
                    <a:lnTo>
                      <a:pt x="16" y="19"/>
                    </a:lnTo>
                    <a:lnTo>
                      <a:pt x="18" y="16"/>
                    </a:lnTo>
                    <a:lnTo>
                      <a:pt x="21" y="14"/>
                    </a:lnTo>
                    <a:lnTo>
                      <a:pt x="21" y="11"/>
                    </a:lnTo>
                    <a:lnTo>
                      <a:pt x="21" y="11"/>
                    </a:lnTo>
                    <a:lnTo>
                      <a:pt x="25" y="11"/>
                    </a:lnTo>
                    <a:lnTo>
                      <a:pt x="25" y="9"/>
                    </a:lnTo>
                    <a:lnTo>
                      <a:pt x="23" y="9"/>
                    </a:lnTo>
                    <a:lnTo>
                      <a:pt x="25" y="9"/>
                    </a:lnTo>
                    <a:lnTo>
                      <a:pt x="25" y="9"/>
                    </a:lnTo>
                    <a:lnTo>
                      <a:pt x="21" y="7"/>
                    </a:lnTo>
                    <a:lnTo>
                      <a:pt x="21" y="4"/>
                    </a:lnTo>
                    <a:lnTo>
                      <a:pt x="21" y="4"/>
                    </a:lnTo>
                    <a:lnTo>
                      <a:pt x="21" y="4"/>
                    </a:lnTo>
                    <a:lnTo>
                      <a:pt x="21" y="4"/>
                    </a:lnTo>
                    <a:lnTo>
                      <a:pt x="21" y="2"/>
                    </a:lnTo>
                    <a:lnTo>
                      <a:pt x="18" y="2"/>
                    </a:lnTo>
                    <a:lnTo>
                      <a:pt x="18" y="2"/>
                    </a:lnTo>
                    <a:lnTo>
                      <a:pt x="16" y="2"/>
                    </a:lnTo>
                    <a:lnTo>
                      <a:pt x="16" y="2"/>
                    </a:lnTo>
                    <a:lnTo>
                      <a:pt x="14" y="0"/>
                    </a:lnTo>
                    <a:lnTo>
                      <a:pt x="11" y="0"/>
                    </a:lnTo>
                    <a:lnTo>
                      <a:pt x="9" y="0"/>
                    </a:lnTo>
                    <a:lnTo>
                      <a:pt x="4" y="0"/>
                    </a:lnTo>
                    <a:lnTo>
                      <a:pt x="2" y="2"/>
                    </a:lnTo>
                    <a:lnTo>
                      <a:pt x="0" y="4"/>
                    </a:lnTo>
                    <a:lnTo>
                      <a:pt x="0" y="11"/>
                    </a:lnTo>
                    <a:lnTo>
                      <a:pt x="0" y="11"/>
                    </a:lnTo>
                    <a:lnTo>
                      <a:pt x="0" y="16"/>
                    </a:lnTo>
                    <a:lnTo>
                      <a:pt x="0" y="21"/>
                    </a:lnTo>
                    <a:lnTo>
                      <a:pt x="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73" name="Freeform 66">
                <a:extLst>
                  <a:ext uri="{FF2B5EF4-FFF2-40B4-BE49-F238E27FC236}">
                    <a16:creationId xmlns:a16="http://schemas.microsoft.com/office/drawing/2014/main" id="{26F9AD3C-8EAA-4D37-9C47-99C004AD8D69}"/>
                  </a:ext>
                </a:extLst>
              </p:cNvPr>
              <p:cNvSpPr>
                <a:spLocks/>
              </p:cNvSpPr>
              <p:nvPr/>
            </p:nvSpPr>
            <p:spPr bwMode="gray">
              <a:xfrm>
                <a:off x="-2942" y="513"/>
                <a:ext cx="12" cy="9"/>
              </a:xfrm>
              <a:custGeom>
                <a:avLst/>
                <a:gdLst>
                  <a:gd name="T0" fmla="*/ 2 w 12"/>
                  <a:gd name="T1" fmla="*/ 7 h 9"/>
                  <a:gd name="T2" fmla="*/ 5 w 12"/>
                  <a:gd name="T3" fmla="*/ 7 h 9"/>
                  <a:gd name="T4" fmla="*/ 7 w 12"/>
                  <a:gd name="T5" fmla="*/ 9 h 9"/>
                  <a:gd name="T6" fmla="*/ 9 w 12"/>
                  <a:gd name="T7" fmla="*/ 9 h 9"/>
                  <a:gd name="T8" fmla="*/ 9 w 12"/>
                  <a:gd name="T9" fmla="*/ 7 h 9"/>
                  <a:gd name="T10" fmla="*/ 9 w 12"/>
                  <a:gd name="T11" fmla="*/ 7 h 9"/>
                  <a:gd name="T12" fmla="*/ 9 w 12"/>
                  <a:gd name="T13" fmla="*/ 4 h 9"/>
                  <a:gd name="T14" fmla="*/ 12 w 12"/>
                  <a:gd name="T15" fmla="*/ 2 h 9"/>
                  <a:gd name="T16" fmla="*/ 12 w 12"/>
                  <a:gd name="T17" fmla="*/ 2 h 9"/>
                  <a:gd name="T18" fmla="*/ 12 w 12"/>
                  <a:gd name="T19" fmla="*/ 0 h 9"/>
                  <a:gd name="T20" fmla="*/ 12 w 12"/>
                  <a:gd name="T21" fmla="*/ 0 h 9"/>
                  <a:gd name="T22" fmla="*/ 9 w 12"/>
                  <a:gd name="T23" fmla="*/ 0 h 9"/>
                  <a:gd name="T24" fmla="*/ 7 w 12"/>
                  <a:gd name="T25" fmla="*/ 2 h 9"/>
                  <a:gd name="T26" fmla="*/ 7 w 12"/>
                  <a:gd name="T27" fmla="*/ 0 h 9"/>
                  <a:gd name="T28" fmla="*/ 7 w 12"/>
                  <a:gd name="T29" fmla="*/ 0 h 9"/>
                  <a:gd name="T30" fmla="*/ 5 w 12"/>
                  <a:gd name="T31" fmla="*/ 0 h 9"/>
                  <a:gd name="T32" fmla="*/ 5 w 12"/>
                  <a:gd name="T33" fmla="*/ 0 h 9"/>
                  <a:gd name="T34" fmla="*/ 5 w 12"/>
                  <a:gd name="T35" fmla="*/ 0 h 9"/>
                  <a:gd name="T36" fmla="*/ 5 w 12"/>
                  <a:gd name="T37" fmla="*/ 0 h 9"/>
                  <a:gd name="T38" fmla="*/ 2 w 12"/>
                  <a:gd name="T39" fmla="*/ 0 h 9"/>
                  <a:gd name="T40" fmla="*/ 0 w 12"/>
                  <a:gd name="T41" fmla="*/ 2 h 9"/>
                  <a:gd name="T42" fmla="*/ 0 w 12"/>
                  <a:gd name="T43" fmla="*/ 4 h 9"/>
                  <a:gd name="T44" fmla="*/ 2 w 12"/>
                  <a:gd name="T45"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9">
                    <a:moveTo>
                      <a:pt x="2" y="7"/>
                    </a:moveTo>
                    <a:lnTo>
                      <a:pt x="5" y="7"/>
                    </a:lnTo>
                    <a:lnTo>
                      <a:pt x="7" y="9"/>
                    </a:lnTo>
                    <a:lnTo>
                      <a:pt x="9" y="9"/>
                    </a:lnTo>
                    <a:lnTo>
                      <a:pt x="9" y="7"/>
                    </a:lnTo>
                    <a:lnTo>
                      <a:pt x="9" y="7"/>
                    </a:lnTo>
                    <a:lnTo>
                      <a:pt x="9" y="4"/>
                    </a:lnTo>
                    <a:lnTo>
                      <a:pt x="12" y="2"/>
                    </a:lnTo>
                    <a:lnTo>
                      <a:pt x="12" y="2"/>
                    </a:lnTo>
                    <a:lnTo>
                      <a:pt x="12" y="0"/>
                    </a:lnTo>
                    <a:lnTo>
                      <a:pt x="12" y="0"/>
                    </a:lnTo>
                    <a:lnTo>
                      <a:pt x="9" y="0"/>
                    </a:lnTo>
                    <a:lnTo>
                      <a:pt x="7" y="2"/>
                    </a:lnTo>
                    <a:lnTo>
                      <a:pt x="7" y="0"/>
                    </a:lnTo>
                    <a:lnTo>
                      <a:pt x="7" y="0"/>
                    </a:lnTo>
                    <a:lnTo>
                      <a:pt x="5" y="0"/>
                    </a:lnTo>
                    <a:lnTo>
                      <a:pt x="5" y="0"/>
                    </a:lnTo>
                    <a:lnTo>
                      <a:pt x="5" y="0"/>
                    </a:lnTo>
                    <a:lnTo>
                      <a:pt x="5" y="0"/>
                    </a:lnTo>
                    <a:lnTo>
                      <a:pt x="2" y="0"/>
                    </a:lnTo>
                    <a:lnTo>
                      <a:pt x="0" y="2"/>
                    </a:lnTo>
                    <a:lnTo>
                      <a:pt x="0" y="4"/>
                    </a:ln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74" name="Freeform 67">
                <a:extLst>
                  <a:ext uri="{FF2B5EF4-FFF2-40B4-BE49-F238E27FC236}">
                    <a16:creationId xmlns:a16="http://schemas.microsoft.com/office/drawing/2014/main" id="{2142022A-B275-4864-80AB-4DAEA3B4676B}"/>
                  </a:ext>
                </a:extLst>
              </p:cNvPr>
              <p:cNvSpPr>
                <a:spLocks/>
              </p:cNvSpPr>
              <p:nvPr/>
            </p:nvSpPr>
            <p:spPr bwMode="gray">
              <a:xfrm>
                <a:off x="-2963" y="548"/>
                <a:ext cx="21" cy="21"/>
              </a:xfrm>
              <a:custGeom>
                <a:avLst/>
                <a:gdLst>
                  <a:gd name="T0" fmla="*/ 0 w 21"/>
                  <a:gd name="T1" fmla="*/ 7 h 21"/>
                  <a:gd name="T2" fmla="*/ 2 w 21"/>
                  <a:gd name="T3" fmla="*/ 7 h 21"/>
                  <a:gd name="T4" fmla="*/ 2 w 21"/>
                  <a:gd name="T5" fmla="*/ 9 h 21"/>
                  <a:gd name="T6" fmla="*/ 2 w 21"/>
                  <a:gd name="T7" fmla="*/ 7 h 21"/>
                  <a:gd name="T8" fmla="*/ 2 w 21"/>
                  <a:gd name="T9" fmla="*/ 7 h 21"/>
                  <a:gd name="T10" fmla="*/ 2 w 21"/>
                  <a:gd name="T11" fmla="*/ 9 h 21"/>
                  <a:gd name="T12" fmla="*/ 2 w 21"/>
                  <a:gd name="T13" fmla="*/ 9 h 21"/>
                  <a:gd name="T14" fmla="*/ 2 w 21"/>
                  <a:gd name="T15" fmla="*/ 9 h 21"/>
                  <a:gd name="T16" fmla="*/ 2 w 21"/>
                  <a:gd name="T17" fmla="*/ 12 h 21"/>
                  <a:gd name="T18" fmla="*/ 5 w 21"/>
                  <a:gd name="T19" fmla="*/ 14 h 21"/>
                  <a:gd name="T20" fmla="*/ 5 w 21"/>
                  <a:gd name="T21" fmla="*/ 14 h 21"/>
                  <a:gd name="T22" fmla="*/ 7 w 21"/>
                  <a:gd name="T23" fmla="*/ 14 h 21"/>
                  <a:gd name="T24" fmla="*/ 7 w 21"/>
                  <a:gd name="T25" fmla="*/ 14 h 21"/>
                  <a:gd name="T26" fmla="*/ 7 w 21"/>
                  <a:gd name="T27" fmla="*/ 16 h 21"/>
                  <a:gd name="T28" fmla="*/ 9 w 21"/>
                  <a:gd name="T29" fmla="*/ 21 h 21"/>
                  <a:gd name="T30" fmla="*/ 9 w 21"/>
                  <a:gd name="T31" fmla="*/ 21 h 21"/>
                  <a:gd name="T32" fmla="*/ 16 w 21"/>
                  <a:gd name="T33" fmla="*/ 21 h 21"/>
                  <a:gd name="T34" fmla="*/ 19 w 21"/>
                  <a:gd name="T35" fmla="*/ 19 h 21"/>
                  <a:gd name="T36" fmla="*/ 21 w 21"/>
                  <a:gd name="T37" fmla="*/ 16 h 21"/>
                  <a:gd name="T38" fmla="*/ 19 w 21"/>
                  <a:gd name="T39" fmla="*/ 16 h 21"/>
                  <a:gd name="T40" fmla="*/ 14 w 21"/>
                  <a:gd name="T41" fmla="*/ 19 h 21"/>
                  <a:gd name="T42" fmla="*/ 12 w 21"/>
                  <a:gd name="T43" fmla="*/ 19 h 21"/>
                  <a:gd name="T44" fmla="*/ 14 w 21"/>
                  <a:gd name="T45" fmla="*/ 16 h 21"/>
                  <a:gd name="T46" fmla="*/ 14 w 21"/>
                  <a:gd name="T47" fmla="*/ 16 h 21"/>
                  <a:gd name="T48" fmla="*/ 16 w 21"/>
                  <a:gd name="T49" fmla="*/ 14 h 21"/>
                  <a:gd name="T50" fmla="*/ 16 w 21"/>
                  <a:gd name="T51" fmla="*/ 14 h 21"/>
                  <a:gd name="T52" fmla="*/ 16 w 21"/>
                  <a:gd name="T53" fmla="*/ 14 h 21"/>
                  <a:gd name="T54" fmla="*/ 16 w 21"/>
                  <a:gd name="T55" fmla="*/ 14 h 21"/>
                  <a:gd name="T56" fmla="*/ 16 w 21"/>
                  <a:gd name="T57" fmla="*/ 12 h 21"/>
                  <a:gd name="T58" fmla="*/ 16 w 21"/>
                  <a:gd name="T59" fmla="*/ 12 h 21"/>
                  <a:gd name="T60" fmla="*/ 16 w 21"/>
                  <a:gd name="T61" fmla="*/ 12 h 21"/>
                  <a:gd name="T62" fmla="*/ 16 w 21"/>
                  <a:gd name="T63" fmla="*/ 12 h 21"/>
                  <a:gd name="T64" fmla="*/ 12 w 21"/>
                  <a:gd name="T65" fmla="*/ 5 h 21"/>
                  <a:gd name="T66" fmla="*/ 12 w 21"/>
                  <a:gd name="T67" fmla="*/ 5 h 21"/>
                  <a:gd name="T68" fmla="*/ 9 w 21"/>
                  <a:gd name="T69" fmla="*/ 2 h 21"/>
                  <a:gd name="T70" fmla="*/ 7 w 21"/>
                  <a:gd name="T71" fmla="*/ 0 h 21"/>
                  <a:gd name="T72" fmla="*/ 7 w 21"/>
                  <a:gd name="T73" fmla="*/ 0 h 21"/>
                  <a:gd name="T74" fmla="*/ 5 w 21"/>
                  <a:gd name="T75" fmla="*/ 0 h 21"/>
                  <a:gd name="T76" fmla="*/ 2 w 21"/>
                  <a:gd name="T77" fmla="*/ 2 h 21"/>
                  <a:gd name="T78" fmla="*/ 0 w 21"/>
                  <a:gd name="T79" fmla="*/ 2 h 21"/>
                  <a:gd name="T80" fmla="*/ 0 w 21"/>
                  <a:gd name="T81" fmla="*/ 5 h 21"/>
                  <a:gd name="T82" fmla="*/ 0 w 21"/>
                  <a:gd name="T83" fmla="*/ 7 h 21"/>
                  <a:gd name="T84" fmla="*/ 0 w 21"/>
                  <a:gd name="T85" fmla="*/ 7 h 21"/>
                  <a:gd name="T86" fmla="*/ 0 w 21"/>
                  <a:gd name="T87" fmla="*/ 7 h 21"/>
                  <a:gd name="T88" fmla="*/ 0 w 21"/>
                  <a:gd name="T89"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 h="21">
                    <a:moveTo>
                      <a:pt x="0" y="7"/>
                    </a:moveTo>
                    <a:lnTo>
                      <a:pt x="2" y="7"/>
                    </a:lnTo>
                    <a:lnTo>
                      <a:pt x="2" y="9"/>
                    </a:lnTo>
                    <a:lnTo>
                      <a:pt x="2" y="7"/>
                    </a:lnTo>
                    <a:lnTo>
                      <a:pt x="2" y="7"/>
                    </a:lnTo>
                    <a:lnTo>
                      <a:pt x="2" y="9"/>
                    </a:lnTo>
                    <a:lnTo>
                      <a:pt x="2" y="9"/>
                    </a:lnTo>
                    <a:lnTo>
                      <a:pt x="2" y="9"/>
                    </a:lnTo>
                    <a:lnTo>
                      <a:pt x="2" y="12"/>
                    </a:lnTo>
                    <a:lnTo>
                      <a:pt x="5" y="14"/>
                    </a:lnTo>
                    <a:lnTo>
                      <a:pt x="5" y="14"/>
                    </a:lnTo>
                    <a:lnTo>
                      <a:pt x="7" y="14"/>
                    </a:lnTo>
                    <a:lnTo>
                      <a:pt x="7" y="14"/>
                    </a:lnTo>
                    <a:lnTo>
                      <a:pt x="7" y="16"/>
                    </a:lnTo>
                    <a:lnTo>
                      <a:pt x="9" y="21"/>
                    </a:lnTo>
                    <a:lnTo>
                      <a:pt x="9" y="21"/>
                    </a:lnTo>
                    <a:lnTo>
                      <a:pt x="16" y="21"/>
                    </a:lnTo>
                    <a:lnTo>
                      <a:pt x="19" y="19"/>
                    </a:lnTo>
                    <a:lnTo>
                      <a:pt x="21" y="16"/>
                    </a:lnTo>
                    <a:lnTo>
                      <a:pt x="19" y="16"/>
                    </a:lnTo>
                    <a:lnTo>
                      <a:pt x="14" y="19"/>
                    </a:lnTo>
                    <a:lnTo>
                      <a:pt x="12" y="19"/>
                    </a:lnTo>
                    <a:lnTo>
                      <a:pt x="14" y="16"/>
                    </a:lnTo>
                    <a:lnTo>
                      <a:pt x="14" y="16"/>
                    </a:lnTo>
                    <a:lnTo>
                      <a:pt x="16" y="14"/>
                    </a:lnTo>
                    <a:lnTo>
                      <a:pt x="16" y="14"/>
                    </a:lnTo>
                    <a:lnTo>
                      <a:pt x="16" y="14"/>
                    </a:lnTo>
                    <a:lnTo>
                      <a:pt x="16" y="14"/>
                    </a:lnTo>
                    <a:lnTo>
                      <a:pt x="16" y="12"/>
                    </a:lnTo>
                    <a:lnTo>
                      <a:pt x="16" y="12"/>
                    </a:lnTo>
                    <a:lnTo>
                      <a:pt x="16" y="12"/>
                    </a:lnTo>
                    <a:lnTo>
                      <a:pt x="16" y="12"/>
                    </a:lnTo>
                    <a:lnTo>
                      <a:pt x="12" y="5"/>
                    </a:lnTo>
                    <a:lnTo>
                      <a:pt x="12" y="5"/>
                    </a:lnTo>
                    <a:lnTo>
                      <a:pt x="9" y="2"/>
                    </a:lnTo>
                    <a:lnTo>
                      <a:pt x="7" y="0"/>
                    </a:lnTo>
                    <a:lnTo>
                      <a:pt x="7" y="0"/>
                    </a:lnTo>
                    <a:lnTo>
                      <a:pt x="5" y="0"/>
                    </a:lnTo>
                    <a:lnTo>
                      <a:pt x="2" y="2"/>
                    </a:lnTo>
                    <a:lnTo>
                      <a:pt x="0" y="2"/>
                    </a:lnTo>
                    <a:lnTo>
                      <a:pt x="0" y="5"/>
                    </a:lnTo>
                    <a:lnTo>
                      <a:pt x="0" y="7"/>
                    </a:lnTo>
                    <a:lnTo>
                      <a:pt x="0" y="7"/>
                    </a:lnTo>
                    <a:lnTo>
                      <a:pt x="0" y="7"/>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75" name="Freeform 68">
                <a:extLst>
                  <a:ext uri="{FF2B5EF4-FFF2-40B4-BE49-F238E27FC236}">
                    <a16:creationId xmlns:a16="http://schemas.microsoft.com/office/drawing/2014/main" id="{B74EE4E5-B6CF-4D70-AF8D-FD4A9BE0D50A}"/>
                  </a:ext>
                </a:extLst>
              </p:cNvPr>
              <p:cNvSpPr>
                <a:spLocks/>
              </p:cNvSpPr>
              <p:nvPr/>
            </p:nvSpPr>
            <p:spPr bwMode="gray">
              <a:xfrm>
                <a:off x="-2940" y="489"/>
                <a:ext cx="19" cy="19"/>
              </a:xfrm>
              <a:custGeom>
                <a:avLst/>
                <a:gdLst>
                  <a:gd name="T0" fmla="*/ 3 w 19"/>
                  <a:gd name="T1" fmla="*/ 5 h 19"/>
                  <a:gd name="T2" fmla="*/ 3 w 19"/>
                  <a:gd name="T3" fmla="*/ 5 h 19"/>
                  <a:gd name="T4" fmla="*/ 3 w 19"/>
                  <a:gd name="T5" fmla="*/ 7 h 19"/>
                  <a:gd name="T6" fmla="*/ 3 w 19"/>
                  <a:gd name="T7" fmla="*/ 7 h 19"/>
                  <a:gd name="T8" fmla="*/ 5 w 19"/>
                  <a:gd name="T9" fmla="*/ 7 h 19"/>
                  <a:gd name="T10" fmla="*/ 5 w 19"/>
                  <a:gd name="T11" fmla="*/ 9 h 19"/>
                  <a:gd name="T12" fmla="*/ 5 w 19"/>
                  <a:gd name="T13" fmla="*/ 12 h 19"/>
                  <a:gd name="T14" fmla="*/ 5 w 19"/>
                  <a:gd name="T15" fmla="*/ 12 h 19"/>
                  <a:gd name="T16" fmla="*/ 5 w 19"/>
                  <a:gd name="T17" fmla="*/ 12 h 19"/>
                  <a:gd name="T18" fmla="*/ 7 w 19"/>
                  <a:gd name="T19" fmla="*/ 14 h 19"/>
                  <a:gd name="T20" fmla="*/ 7 w 19"/>
                  <a:gd name="T21" fmla="*/ 14 h 19"/>
                  <a:gd name="T22" fmla="*/ 7 w 19"/>
                  <a:gd name="T23" fmla="*/ 12 h 19"/>
                  <a:gd name="T24" fmla="*/ 7 w 19"/>
                  <a:gd name="T25" fmla="*/ 12 h 19"/>
                  <a:gd name="T26" fmla="*/ 10 w 19"/>
                  <a:gd name="T27" fmla="*/ 12 h 19"/>
                  <a:gd name="T28" fmla="*/ 10 w 19"/>
                  <a:gd name="T29" fmla="*/ 12 h 19"/>
                  <a:gd name="T30" fmla="*/ 7 w 19"/>
                  <a:gd name="T31" fmla="*/ 9 h 19"/>
                  <a:gd name="T32" fmla="*/ 7 w 19"/>
                  <a:gd name="T33" fmla="*/ 9 h 19"/>
                  <a:gd name="T34" fmla="*/ 10 w 19"/>
                  <a:gd name="T35" fmla="*/ 9 h 19"/>
                  <a:gd name="T36" fmla="*/ 12 w 19"/>
                  <a:gd name="T37" fmla="*/ 12 h 19"/>
                  <a:gd name="T38" fmla="*/ 17 w 19"/>
                  <a:gd name="T39" fmla="*/ 14 h 19"/>
                  <a:gd name="T40" fmla="*/ 15 w 19"/>
                  <a:gd name="T41" fmla="*/ 17 h 19"/>
                  <a:gd name="T42" fmla="*/ 15 w 19"/>
                  <a:gd name="T43" fmla="*/ 17 h 19"/>
                  <a:gd name="T44" fmla="*/ 15 w 19"/>
                  <a:gd name="T45" fmla="*/ 17 h 19"/>
                  <a:gd name="T46" fmla="*/ 15 w 19"/>
                  <a:gd name="T47" fmla="*/ 19 h 19"/>
                  <a:gd name="T48" fmla="*/ 17 w 19"/>
                  <a:gd name="T49" fmla="*/ 17 h 19"/>
                  <a:gd name="T50" fmla="*/ 17 w 19"/>
                  <a:gd name="T51" fmla="*/ 17 h 19"/>
                  <a:gd name="T52" fmla="*/ 19 w 19"/>
                  <a:gd name="T53" fmla="*/ 17 h 19"/>
                  <a:gd name="T54" fmla="*/ 19 w 19"/>
                  <a:gd name="T55" fmla="*/ 14 h 19"/>
                  <a:gd name="T56" fmla="*/ 17 w 19"/>
                  <a:gd name="T57" fmla="*/ 14 h 19"/>
                  <a:gd name="T58" fmla="*/ 17 w 19"/>
                  <a:gd name="T59" fmla="*/ 14 h 19"/>
                  <a:gd name="T60" fmla="*/ 17 w 19"/>
                  <a:gd name="T61" fmla="*/ 14 h 19"/>
                  <a:gd name="T62" fmla="*/ 17 w 19"/>
                  <a:gd name="T63" fmla="*/ 12 h 19"/>
                  <a:gd name="T64" fmla="*/ 15 w 19"/>
                  <a:gd name="T65" fmla="*/ 12 h 19"/>
                  <a:gd name="T66" fmla="*/ 15 w 19"/>
                  <a:gd name="T67" fmla="*/ 9 h 19"/>
                  <a:gd name="T68" fmla="*/ 12 w 19"/>
                  <a:gd name="T69" fmla="*/ 7 h 19"/>
                  <a:gd name="T70" fmla="*/ 7 w 19"/>
                  <a:gd name="T71" fmla="*/ 7 h 19"/>
                  <a:gd name="T72" fmla="*/ 7 w 19"/>
                  <a:gd name="T73" fmla="*/ 5 h 19"/>
                  <a:gd name="T74" fmla="*/ 7 w 19"/>
                  <a:gd name="T75" fmla="*/ 5 h 19"/>
                  <a:gd name="T76" fmla="*/ 10 w 19"/>
                  <a:gd name="T77" fmla="*/ 5 h 19"/>
                  <a:gd name="T78" fmla="*/ 10 w 19"/>
                  <a:gd name="T79" fmla="*/ 5 h 19"/>
                  <a:gd name="T80" fmla="*/ 10 w 19"/>
                  <a:gd name="T81" fmla="*/ 2 h 19"/>
                  <a:gd name="T82" fmla="*/ 10 w 19"/>
                  <a:gd name="T83" fmla="*/ 2 h 19"/>
                  <a:gd name="T84" fmla="*/ 10 w 19"/>
                  <a:gd name="T85" fmla="*/ 2 h 19"/>
                  <a:gd name="T86" fmla="*/ 10 w 19"/>
                  <a:gd name="T87" fmla="*/ 2 h 19"/>
                  <a:gd name="T88" fmla="*/ 10 w 19"/>
                  <a:gd name="T89" fmla="*/ 2 h 19"/>
                  <a:gd name="T90" fmla="*/ 10 w 19"/>
                  <a:gd name="T91" fmla="*/ 0 h 19"/>
                  <a:gd name="T92" fmla="*/ 7 w 19"/>
                  <a:gd name="T93" fmla="*/ 2 h 19"/>
                  <a:gd name="T94" fmla="*/ 5 w 19"/>
                  <a:gd name="T95" fmla="*/ 5 h 19"/>
                  <a:gd name="T96" fmla="*/ 5 w 19"/>
                  <a:gd name="T97" fmla="*/ 5 h 19"/>
                  <a:gd name="T98" fmla="*/ 3 w 19"/>
                  <a:gd name="T99" fmla="*/ 5 h 19"/>
                  <a:gd name="T100" fmla="*/ 0 w 19"/>
                  <a:gd name="T101" fmla="*/ 5 h 19"/>
                  <a:gd name="T102" fmla="*/ 3 w 19"/>
                  <a:gd name="T103" fmla="*/ 5 h 19"/>
                  <a:gd name="T104" fmla="*/ 3 w 19"/>
                  <a:gd name="T105" fmla="*/ 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 h="19">
                    <a:moveTo>
                      <a:pt x="3" y="5"/>
                    </a:moveTo>
                    <a:lnTo>
                      <a:pt x="3" y="5"/>
                    </a:lnTo>
                    <a:lnTo>
                      <a:pt x="3" y="7"/>
                    </a:lnTo>
                    <a:lnTo>
                      <a:pt x="3" y="7"/>
                    </a:lnTo>
                    <a:lnTo>
                      <a:pt x="5" y="7"/>
                    </a:lnTo>
                    <a:lnTo>
                      <a:pt x="5" y="9"/>
                    </a:lnTo>
                    <a:lnTo>
                      <a:pt x="5" y="12"/>
                    </a:lnTo>
                    <a:lnTo>
                      <a:pt x="5" y="12"/>
                    </a:lnTo>
                    <a:lnTo>
                      <a:pt x="5" y="12"/>
                    </a:lnTo>
                    <a:lnTo>
                      <a:pt x="7" y="14"/>
                    </a:lnTo>
                    <a:lnTo>
                      <a:pt x="7" y="14"/>
                    </a:lnTo>
                    <a:lnTo>
                      <a:pt x="7" y="12"/>
                    </a:lnTo>
                    <a:lnTo>
                      <a:pt x="7" y="12"/>
                    </a:lnTo>
                    <a:lnTo>
                      <a:pt x="10" y="12"/>
                    </a:lnTo>
                    <a:lnTo>
                      <a:pt x="10" y="12"/>
                    </a:lnTo>
                    <a:lnTo>
                      <a:pt x="7" y="9"/>
                    </a:lnTo>
                    <a:lnTo>
                      <a:pt x="7" y="9"/>
                    </a:lnTo>
                    <a:lnTo>
                      <a:pt x="10" y="9"/>
                    </a:lnTo>
                    <a:lnTo>
                      <a:pt x="12" y="12"/>
                    </a:lnTo>
                    <a:lnTo>
                      <a:pt x="17" y="14"/>
                    </a:lnTo>
                    <a:lnTo>
                      <a:pt x="15" y="17"/>
                    </a:lnTo>
                    <a:lnTo>
                      <a:pt x="15" y="17"/>
                    </a:lnTo>
                    <a:lnTo>
                      <a:pt x="15" y="17"/>
                    </a:lnTo>
                    <a:lnTo>
                      <a:pt x="15" y="19"/>
                    </a:lnTo>
                    <a:lnTo>
                      <a:pt x="17" y="17"/>
                    </a:lnTo>
                    <a:lnTo>
                      <a:pt x="17" y="17"/>
                    </a:lnTo>
                    <a:lnTo>
                      <a:pt x="19" y="17"/>
                    </a:lnTo>
                    <a:lnTo>
                      <a:pt x="19" y="14"/>
                    </a:lnTo>
                    <a:lnTo>
                      <a:pt x="17" y="14"/>
                    </a:lnTo>
                    <a:lnTo>
                      <a:pt x="17" y="14"/>
                    </a:lnTo>
                    <a:lnTo>
                      <a:pt x="17" y="14"/>
                    </a:lnTo>
                    <a:lnTo>
                      <a:pt x="17" y="12"/>
                    </a:lnTo>
                    <a:lnTo>
                      <a:pt x="15" y="12"/>
                    </a:lnTo>
                    <a:lnTo>
                      <a:pt x="15" y="9"/>
                    </a:lnTo>
                    <a:lnTo>
                      <a:pt x="12" y="7"/>
                    </a:lnTo>
                    <a:lnTo>
                      <a:pt x="7" y="7"/>
                    </a:lnTo>
                    <a:lnTo>
                      <a:pt x="7" y="5"/>
                    </a:lnTo>
                    <a:lnTo>
                      <a:pt x="7" y="5"/>
                    </a:lnTo>
                    <a:lnTo>
                      <a:pt x="10" y="5"/>
                    </a:lnTo>
                    <a:lnTo>
                      <a:pt x="10" y="5"/>
                    </a:lnTo>
                    <a:lnTo>
                      <a:pt x="10" y="2"/>
                    </a:lnTo>
                    <a:lnTo>
                      <a:pt x="10" y="2"/>
                    </a:lnTo>
                    <a:lnTo>
                      <a:pt x="10" y="2"/>
                    </a:lnTo>
                    <a:lnTo>
                      <a:pt x="10" y="2"/>
                    </a:lnTo>
                    <a:lnTo>
                      <a:pt x="10" y="2"/>
                    </a:lnTo>
                    <a:lnTo>
                      <a:pt x="10" y="0"/>
                    </a:lnTo>
                    <a:lnTo>
                      <a:pt x="7" y="2"/>
                    </a:lnTo>
                    <a:lnTo>
                      <a:pt x="5" y="5"/>
                    </a:lnTo>
                    <a:lnTo>
                      <a:pt x="5" y="5"/>
                    </a:lnTo>
                    <a:lnTo>
                      <a:pt x="3" y="5"/>
                    </a:lnTo>
                    <a:lnTo>
                      <a:pt x="0" y="5"/>
                    </a:lnTo>
                    <a:lnTo>
                      <a:pt x="3"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76" name="Freeform 69">
                <a:extLst>
                  <a:ext uri="{FF2B5EF4-FFF2-40B4-BE49-F238E27FC236}">
                    <a16:creationId xmlns:a16="http://schemas.microsoft.com/office/drawing/2014/main" id="{3FD1B49F-CD40-4C1B-B557-15AB453F0CBA}"/>
                  </a:ext>
                </a:extLst>
              </p:cNvPr>
              <p:cNvSpPr>
                <a:spLocks/>
              </p:cNvSpPr>
              <p:nvPr/>
            </p:nvSpPr>
            <p:spPr bwMode="gray">
              <a:xfrm>
                <a:off x="-2793" y="1538"/>
                <a:ext cx="4" cy="4"/>
              </a:xfrm>
              <a:custGeom>
                <a:avLst/>
                <a:gdLst>
                  <a:gd name="T0" fmla="*/ 4 w 4"/>
                  <a:gd name="T1" fmla="*/ 2 h 4"/>
                  <a:gd name="T2" fmla="*/ 4 w 4"/>
                  <a:gd name="T3" fmla="*/ 2 h 4"/>
                  <a:gd name="T4" fmla="*/ 4 w 4"/>
                  <a:gd name="T5" fmla="*/ 0 h 4"/>
                  <a:gd name="T6" fmla="*/ 4 w 4"/>
                  <a:gd name="T7" fmla="*/ 0 h 4"/>
                  <a:gd name="T8" fmla="*/ 2 w 4"/>
                  <a:gd name="T9" fmla="*/ 0 h 4"/>
                  <a:gd name="T10" fmla="*/ 2 w 4"/>
                  <a:gd name="T11" fmla="*/ 2 h 4"/>
                  <a:gd name="T12" fmla="*/ 0 w 4"/>
                  <a:gd name="T13" fmla="*/ 4 h 4"/>
                  <a:gd name="T14" fmla="*/ 0 w 4"/>
                  <a:gd name="T15" fmla="*/ 4 h 4"/>
                  <a:gd name="T16" fmla="*/ 4 w 4"/>
                  <a:gd name="T17" fmla="*/ 4 h 4"/>
                  <a:gd name="T18" fmla="*/ 4 w 4"/>
                  <a:gd name="T19" fmla="*/ 4 h 4"/>
                  <a:gd name="T20" fmla="*/ 4 w 4"/>
                  <a:gd name="T21" fmla="*/ 4 h 4"/>
                  <a:gd name="T22" fmla="*/ 4 w 4"/>
                  <a:gd name="T23" fmla="*/ 2 h 4"/>
                  <a:gd name="T24" fmla="*/ 4 w 4"/>
                  <a:gd name="T25" fmla="*/ 2 h 4"/>
                  <a:gd name="T26" fmla="*/ 4 w 4"/>
                  <a:gd name="T27" fmla="*/ 2 h 4"/>
                  <a:gd name="T28" fmla="*/ 4 w 4"/>
                  <a:gd name="T2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4">
                    <a:moveTo>
                      <a:pt x="4" y="2"/>
                    </a:moveTo>
                    <a:lnTo>
                      <a:pt x="4" y="2"/>
                    </a:lnTo>
                    <a:lnTo>
                      <a:pt x="4" y="0"/>
                    </a:lnTo>
                    <a:lnTo>
                      <a:pt x="4" y="0"/>
                    </a:lnTo>
                    <a:lnTo>
                      <a:pt x="2" y="0"/>
                    </a:lnTo>
                    <a:lnTo>
                      <a:pt x="2" y="2"/>
                    </a:lnTo>
                    <a:lnTo>
                      <a:pt x="0" y="4"/>
                    </a:lnTo>
                    <a:lnTo>
                      <a:pt x="0" y="4"/>
                    </a:lnTo>
                    <a:lnTo>
                      <a:pt x="4" y="4"/>
                    </a:lnTo>
                    <a:lnTo>
                      <a:pt x="4" y="4"/>
                    </a:lnTo>
                    <a:lnTo>
                      <a:pt x="4" y="4"/>
                    </a:lnTo>
                    <a:lnTo>
                      <a:pt x="4" y="2"/>
                    </a:lnTo>
                    <a:lnTo>
                      <a:pt x="4" y="2"/>
                    </a:lnTo>
                    <a:lnTo>
                      <a:pt x="4" y="2"/>
                    </a:lnTo>
                    <a:lnTo>
                      <a:pt x="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77" name="Rectangle 70">
                <a:extLst>
                  <a:ext uri="{FF2B5EF4-FFF2-40B4-BE49-F238E27FC236}">
                    <a16:creationId xmlns:a16="http://schemas.microsoft.com/office/drawing/2014/main" id="{28EC1003-A097-4E9F-84A3-5454A1A24C98}"/>
                  </a:ext>
                </a:extLst>
              </p:cNvPr>
              <p:cNvSpPr>
                <a:spLocks noChangeArrowheads="1"/>
              </p:cNvSpPr>
              <p:nvPr/>
            </p:nvSpPr>
            <p:spPr bwMode="gray">
              <a:xfrm>
                <a:off x="-3020" y="144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78" name="Freeform 71">
                <a:extLst>
                  <a:ext uri="{FF2B5EF4-FFF2-40B4-BE49-F238E27FC236}">
                    <a16:creationId xmlns:a16="http://schemas.microsoft.com/office/drawing/2014/main" id="{CFF4E834-9B3E-426F-B824-AF685C8679AD}"/>
                  </a:ext>
                </a:extLst>
              </p:cNvPr>
              <p:cNvSpPr>
                <a:spLocks/>
              </p:cNvSpPr>
              <p:nvPr/>
            </p:nvSpPr>
            <p:spPr bwMode="gray">
              <a:xfrm>
                <a:off x="-2921" y="503"/>
                <a:ext cx="7" cy="17"/>
              </a:xfrm>
              <a:custGeom>
                <a:avLst/>
                <a:gdLst>
                  <a:gd name="T0" fmla="*/ 0 w 7"/>
                  <a:gd name="T1" fmla="*/ 12 h 17"/>
                  <a:gd name="T2" fmla="*/ 0 w 7"/>
                  <a:gd name="T3" fmla="*/ 12 h 17"/>
                  <a:gd name="T4" fmla="*/ 3 w 7"/>
                  <a:gd name="T5" fmla="*/ 12 h 17"/>
                  <a:gd name="T6" fmla="*/ 3 w 7"/>
                  <a:gd name="T7" fmla="*/ 14 h 17"/>
                  <a:gd name="T8" fmla="*/ 3 w 7"/>
                  <a:gd name="T9" fmla="*/ 17 h 17"/>
                  <a:gd name="T10" fmla="*/ 3 w 7"/>
                  <a:gd name="T11" fmla="*/ 17 h 17"/>
                  <a:gd name="T12" fmla="*/ 5 w 7"/>
                  <a:gd name="T13" fmla="*/ 17 h 17"/>
                  <a:gd name="T14" fmla="*/ 7 w 7"/>
                  <a:gd name="T15" fmla="*/ 17 h 17"/>
                  <a:gd name="T16" fmla="*/ 7 w 7"/>
                  <a:gd name="T17" fmla="*/ 14 h 17"/>
                  <a:gd name="T18" fmla="*/ 5 w 7"/>
                  <a:gd name="T19" fmla="*/ 14 h 17"/>
                  <a:gd name="T20" fmla="*/ 5 w 7"/>
                  <a:gd name="T21" fmla="*/ 14 h 17"/>
                  <a:gd name="T22" fmla="*/ 5 w 7"/>
                  <a:gd name="T23" fmla="*/ 12 h 17"/>
                  <a:gd name="T24" fmla="*/ 5 w 7"/>
                  <a:gd name="T25" fmla="*/ 10 h 17"/>
                  <a:gd name="T26" fmla="*/ 5 w 7"/>
                  <a:gd name="T27" fmla="*/ 10 h 17"/>
                  <a:gd name="T28" fmla="*/ 7 w 7"/>
                  <a:gd name="T29" fmla="*/ 7 h 17"/>
                  <a:gd name="T30" fmla="*/ 7 w 7"/>
                  <a:gd name="T31" fmla="*/ 5 h 17"/>
                  <a:gd name="T32" fmla="*/ 7 w 7"/>
                  <a:gd name="T33" fmla="*/ 5 h 17"/>
                  <a:gd name="T34" fmla="*/ 5 w 7"/>
                  <a:gd name="T35" fmla="*/ 3 h 17"/>
                  <a:gd name="T36" fmla="*/ 5 w 7"/>
                  <a:gd name="T37" fmla="*/ 3 h 17"/>
                  <a:gd name="T38" fmla="*/ 5 w 7"/>
                  <a:gd name="T39" fmla="*/ 3 h 17"/>
                  <a:gd name="T40" fmla="*/ 5 w 7"/>
                  <a:gd name="T41" fmla="*/ 3 h 17"/>
                  <a:gd name="T42" fmla="*/ 5 w 7"/>
                  <a:gd name="T43" fmla="*/ 3 h 17"/>
                  <a:gd name="T44" fmla="*/ 5 w 7"/>
                  <a:gd name="T45" fmla="*/ 3 h 17"/>
                  <a:gd name="T46" fmla="*/ 3 w 7"/>
                  <a:gd name="T47" fmla="*/ 0 h 17"/>
                  <a:gd name="T48" fmla="*/ 3 w 7"/>
                  <a:gd name="T49" fmla="*/ 3 h 17"/>
                  <a:gd name="T50" fmla="*/ 3 w 7"/>
                  <a:gd name="T51" fmla="*/ 3 h 17"/>
                  <a:gd name="T52" fmla="*/ 3 w 7"/>
                  <a:gd name="T53" fmla="*/ 5 h 17"/>
                  <a:gd name="T54" fmla="*/ 3 w 7"/>
                  <a:gd name="T55" fmla="*/ 7 h 17"/>
                  <a:gd name="T56" fmla="*/ 3 w 7"/>
                  <a:gd name="T57" fmla="*/ 10 h 17"/>
                  <a:gd name="T58" fmla="*/ 3 w 7"/>
                  <a:gd name="T59" fmla="*/ 10 h 17"/>
                  <a:gd name="T60" fmla="*/ 3 w 7"/>
                  <a:gd name="T61" fmla="*/ 10 h 17"/>
                  <a:gd name="T62" fmla="*/ 0 w 7"/>
                  <a:gd name="T63" fmla="*/ 10 h 17"/>
                  <a:gd name="T64" fmla="*/ 0 w 7"/>
                  <a:gd name="T65" fmla="*/ 10 h 17"/>
                  <a:gd name="T66" fmla="*/ 0 w 7"/>
                  <a:gd name="T67" fmla="*/ 10 h 17"/>
                  <a:gd name="T68" fmla="*/ 0 w 7"/>
                  <a:gd name="T69"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 h="17">
                    <a:moveTo>
                      <a:pt x="0" y="12"/>
                    </a:moveTo>
                    <a:lnTo>
                      <a:pt x="0" y="12"/>
                    </a:lnTo>
                    <a:lnTo>
                      <a:pt x="3" y="12"/>
                    </a:lnTo>
                    <a:lnTo>
                      <a:pt x="3" y="14"/>
                    </a:lnTo>
                    <a:lnTo>
                      <a:pt x="3" y="17"/>
                    </a:lnTo>
                    <a:lnTo>
                      <a:pt x="3" y="17"/>
                    </a:lnTo>
                    <a:lnTo>
                      <a:pt x="5" y="17"/>
                    </a:lnTo>
                    <a:lnTo>
                      <a:pt x="7" y="17"/>
                    </a:lnTo>
                    <a:lnTo>
                      <a:pt x="7" y="14"/>
                    </a:lnTo>
                    <a:lnTo>
                      <a:pt x="5" y="14"/>
                    </a:lnTo>
                    <a:lnTo>
                      <a:pt x="5" y="14"/>
                    </a:lnTo>
                    <a:lnTo>
                      <a:pt x="5" y="12"/>
                    </a:lnTo>
                    <a:lnTo>
                      <a:pt x="5" y="10"/>
                    </a:lnTo>
                    <a:lnTo>
                      <a:pt x="5" y="10"/>
                    </a:lnTo>
                    <a:lnTo>
                      <a:pt x="7" y="7"/>
                    </a:lnTo>
                    <a:lnTo>
                      <a:pt x="7" y="5"/>
                    </a:lnTo>
                    <a:lnTo>
                      <a:pt x="7" y="5"/>
                    </a:lnTo>
                    <a:lnTo>
                      <a:pt x="5" y="3"/>
                    </a:lnTo>
                    <a:lnTo>
                      <a:pt x="5" y="3"/>
                    </a:lnTo>
                    <a:lnTo>
                      <a:pt x="5" y="3"/>
                    </a:lnTo>
                    <a:lnTo>
                      <a:pt x="5" y="3"/>
                    </a:lnTo>
                    <a:lnTo>
                      <a:pt x="5" y="3"/>
                    </a:lnTo>
                    <a:lnTo>
                      <a:pt x="5" y="3"/>
                    </a:lnTo>
                    <a:lnTo>
                      <a:pt x="3" y="0"/>
                    </a:lnTo>
                    <a:lnTo>
                      <a:pt x="3" y="3"/>
                    </a:lnTo>
                    <a:lnTo>
                      <a:pt x="3" y="3"/>
                    </a:lnTo>
                    <a:lnTo>
                      <a:pt x="3" y="5"/>
                    </a:lnTo>
                    <a:lnTo>
                      <a:pt x="3" y="7"/>
                    </a:lnTo>
                    <a:lnTo>
                      <a:pt x="3" y="10"/>
                    </a:lnTo>
                    <a:lnTo>
                      <a:pt x="3" y="10"/>
                    </a:lnTo>
                    <a:lnTo>
                      <a:pt x="3" y="10"/>
                    </a:lnTo>
                    <a:lnTo>
                      <a:pt x="0" y="10"/>
                    </a:lnTo>
                    <a:lnTo>
                      <a:pt x="0" y="10"/>
                    </a:lnTo>
                    <a:lnTo>
                      <a:pt x="0" y="10"/>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79" name="Freeform 72">
                <a:extLst>
                  <a:ext uri="{FF2B5EF4-FFF2-40B4-BE49-F238E27FC236}">
                    <a16:creationId xmlns:a16="http://schemas.microsoft.com/office/drawing/2014/main" id="{7097B929-17CC-46BF-A5A5-C6F9A838B4FE}"/>
                  </a:ext>
                </a:extLst>
              </p:cNvPr>
              <p:cNvSpPr>
                <a:spLocks/>
              </p:cNvSpPr>
              <p:nvPr/>
            </p:nvSpPr>
            <p:spPr bwMode="gray">
              <a:xfrm>
                <a:off x="-2831" y="1545"/>
                <a:ext cx="35" cy="21"/>
              </a:xfrm>
              <a:custGeom>
                <a:avLst/>
                <a:gdLst>
                  <a:gd name="T0" fmla="*/ 9 w 35"/>
                  <a:gd name="T1" fmla="*/ 4 h 21"/>
                  <a:gd name="T2" fmla="*/ 9 w 35"/>
                  <a:gd name="T3" fmla="*/ 4 h 21"/>
                  <a:gd name="T4" fmla="*/ 2 w 35"/>
                  <a:gd name="T5" fmla="*/ 7 h 21"/>
                  <a:gd name="T6" fmla="*/ 0 w 35"/>
                  <a:gd name="T7" fmla="*/ 9 h 21"/>
                  <a:gd name="T8" fmla="*/ 0 w 35"/>
                  <a:gd name="T9" fmla="*/ 11 h 21"/>
                  <a:gd name="T10" fmla="*/ 0 w 35"/>
                  <a:gd name="T11" fmla="*/ 11 h 21"/>
                  <a:gd name="T12" fmla="*/ 2 w 35"/>
                  <a:gd name="T13" fmla="*/ 11 h 21"/>
                  <a:gd name="T14" fmla="*/ 5 w 35"/>
                  <a:gd name="T15" fmla="*/ 9 h 21"/>
                  <a:gd name="T16" fmla="*/ 5 w 35"/>
                  <a:gd name="T17" fmla="*/ 11 h 21"/>
                  <a:gd name="T18" fmla="*/ 7 w 35"/>
                  <a:gd name="T19" fmla="*/ 11 h 21"/>
                  <a:gd name="T20" fmla="*/ 7 w 35"/>
                  <a:gd name="T21" fmla="*/ 14 h 21"/>
                  <a:gd name="T22" fmla="*/ 16 w 35"/>
                  <a:gd name="T23" fmla="*/ 19 h 21"/>
                  <a:gd name="T24" fmla="*/ 19 w 35"/>
                  <a:gd name="T25" fmla="*/ 21 h 21"/>
                  <a:gd name="T26" fmla="*/ 26 w 35"/>
                  <a:gd name="T27" fmla="*/ 19 h 21"/>
                  <a:gd name="T28" fmla="*/ 28 w 35"/>
                  <a:gd name="T29" fmla="*/ 16 h 21"/>
                  <a:gd name="T30" fmla="*/ 28 w 35"/>
                  <a:gd name="T31" fmla="*/ 16 h 21"/>
                  <a:gd name="T32" fmla="*/ 28 w 35"/>
                  <a:gd name="T33" fmla="*/ 14 h 21"/>
                  <a:gd name="T34" fmla="*/ 28 w 35"/>
                  <a:gd name="T35" fmla="*/ 14 h 21"/>
                  <a:gd name="T36" fmla="*/ 28 w 35"/>
                  <a:gd name="T37" fmla="*/ 11 h 21"/>
                  <a:gd name="T38" fmla="*/ 31 w 35"/>
                  <a:gd name="T39" fmla="*/ 11 h 21"/>
                  <a:gd name="T40" fmla="*/ 31 w 35"/>
                  <a:gd name="T41" fmla="*/ 9 h 21"/>
                  <a:gd name="T42" fmla="*/ 33 w 35"/>
                  <a:gd name="T43" fmla="*/ 9 h 21"/>
                  <a:gd name="T44" fmla="*/ 33 w 35"/>
                  <a:gd name="T45" fmla="*/ 9 h 21"/>
                  <a:gd name="T46" fmla="*/ 33 w 35"/>
                  <a:gd name="T47" fmla="*/ 9 h 21"/>
                  <a:gd name="T48" fmla="*/ 35 w 35"/>
                  <a:gd name="T49" fmla="*/ 9 h 21"/>
                  <a:gd name="T50" fmla="*/ 35 w 35"/>
                  <a:gd name="T51" fmla="*/ 9 h 21"/>
                  <a:gd name="T52" fmla="*/ 33 w 35"/>
                  <a:gd name="T53" fmla="*/ 7 h 21"/>
                  <a:gd name="T54" fmla="*/ 33 w 35"/>
                  <a:gd name="T55" fmla="*/ 7 h 21"/>
                  <a:gd name="T56" fmla="*/ 33 w 35"/>
                  <a:gd name="T57" fmla="*/ 7 h 21"/>
                  <a:gd name="T58" fmla="*/ 33 w 35"/>
                  <a:gd name="T59" fmla="*/ 7 h 21"/>
                  <a:gd name="T60" fmla="*/ 33 w 35"/>
                  <a:gd name="T61" fmla="*/ 4 h 21"/>
                  <a:gd name="T62" fmla="*/ 33 w 35"/>
                  <a:gd name="T63" fmla="*/ 4 h 21"/>
                  <a:gd name="T64" fmla="*/ 33 w 35"/>
                  <a:gd name="T65" fmla="*/ 4 h 21"/>
                  <a:gd name="T66" fmla="*/ 31 w 35"/>
                  <a:gd name="T67" fmla="*/ 4 h 21"/>
                  <a:gd name="T68" fmla="*/ 31 w 35"/>
                  <a:gd name="T69" fmla="*/ 4 h 21"/>
                  <a:gd name="T70" fmla="*/ 28 w 35"/>
                  <a:gd name="T71" fmla="*/ 4 h 21"/>
                  <a:gd name="T72" fmla="*/ 19 w 35"/>
                  <a:gd name="T73" fmla="*/ 0 h 21"/>
                  <a:gd name="T74" fmla="*/ 16 w 35"/>
                  <a:gd name="T75" fmla="*/ 0 h 21"/>
                  <a:gd name="T76" fmla="*/ 14 w 35"/>
                  <a:gd name="T77" fmla="*/ 0 h 21"/>
                  <a:gd name="T78" fmla="*/ 12 w 35"/>
                  <a:gd name="T79" fmla="*/ 4 h 21"/>
                  <a:gd name="T80" fmla="*/ 9 w 35"/>
                  <a:gd name="T81" fmla="*/ 4 h 21"/>
                  <a:gd name="T82" fmla="*/ 9 w 35"/>
                  <a:gd name="T83" fmla="*/ 4 h 21"/>
                  <a:gd name="T84" fmla="*/ 9 w 35"/>
                  <a:gd name="T85" fmla="*/ 4 h 21"/>
                  <a:gd name="T86" fmla="*/ 9 w 35"/>
                  <a:gd name="T87" fmla="*/ 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 h="21">
                    <a:moveTo>
                      <a:pt x="9" y="4"/>
                    </a:moveTo>
                    <a:lnTo>
                      <a:pt x="9" y="4"/>
                    </a:lnTo>
                    <a:lnTo>
                      <a:pt x="2" y="7"/>
                    </a:lnTo>
                    <a:lnTo>
                      <a:pt x="0" y="9"/>
                    </a:lnTo>
                    <a:lnTo>
                      <a:pt x="0" y="11"/>
                    </a:lnTo>
                    <a:lnTo>
                      <a:pt x="0" y="11"/>
                    </a:lnTo>
                    <a:lnTo>
                      <a:pt x="2" y="11"/>
                    </a:lnTo>
                    <a:lnTo>
                      <a:pt x="5" y="9"/>
                    </a:lnTo>
                    <a:lnTo>
                      <a:pt x="5" y="11"/>
                    </a:lnTo>
                    <a:lnTo>
                      <a:pt x="7" y="11"/>
                    </a:lnTo>
                    <a:lnTo>
                      <a:pt x="7" y="14"/>
                    </a:lnTo>
                    <a:lnTo>
                      <a:pt x="16" y="19"/>
                    </a:lnTo>
                    <a:lnTo>
                      <a:pt x="19" y="21"/>
                    </a:lnTo>
                    <a:lnTo>
                      <a:pt x="26" y="19"/>
                    </a:lnTo>
                    <a:lnTo>
                      <a:pt x="28" y="16"/>
                    </a:lnTo>
                    <a:lnTo>
                      <a:pt x="28" y="16"/>
                    </a:lnTo>
                    <a:lnTo>
                      <a:pt x="28" y="14"/>
                    </a:lnTo>
                    <a:lnTo>
                      <a:pt x="28" y="14"/>
                    </a:lnTo>
                    <a:lnTo>
                      <a:pt x="28" y="11"/>
                    </a:lnTo>
                    <a:lnTo>
                      <a:pt x="31" y="11"/>
                    </a:lnTo>
                    <a:lnTo>
                      <a:pt x="31" y="9"/>
                    </a:lnTo>
                    <a:lnTo>
                      <a:pt x="33" y="9"/>
                    </a:lnTo>
                    <a:lnTo>
                      <a:pt x="33" y="9"/>
                    </a:lnTo>
                    <a:lnTo>
                      <a:pt x="33" y="9"/>
                    </a:lnTo>
                    <a:lnTo>
                      <a:pt x="35" y="9"/>
                    </a:lnTo>
                    <a:lnTo>
                      <a:pt x="35" y="9"/>
                    </a:lnTo>
                    <a:lnTo>
                      <a:pt x="33" y="7"/>
                    </a:lnTo>
                    <a:lnTo>
                      <a:pt x="33" y="7"/>
                    </a:lnTo>
                    <a:lnTo>
                      <a:pt x="33" y="7"/>
                    </a:lnTo>
                    <a:lnTo>
                      <a:pt x="33" y="7"/>
                    </a:lnTo>
                    <a:lnTo>
                      <a:pt x="33" y="4"/>
                    </a:lnTo>
                    <a:lnTo>
                      <a:pt x="33" y="4"/>
                    </a:lnTo>
                    <a:lnTo>
                      <a:pt x="33" y="4"/>
                    </a:lnTo>
                    <a:lnTo>
                      <a:pt x="31" y="4"/>
                    </a:lnTo>
                    <a:lnTo>
                      <a:pt x="31" y="4"/>
                    </a:lnTo>
                    <a:lnTo>
                      <a:pt x="28" y="4"/>
                    </a:lnTo>
                    <a:lnTo>
                      <a:pt x="19" y="0"/>
                    </a:lnTo>
                    <a:lnTo>
                      <a:pt x="16" y="0"/>
                    </a:lnTo>
                    <a:lnTo>
                      <a:pt x="14" y="0"/>
                    </a:lnTo>
                    <a:lnTo>
                      <a:pt x="12" y="4"/>
                    </a:lnTo>
                    <a:lnTo>
                      <a:pt x="9" y="4"/>
                    </a:lnTo>
                    <a:lnTo>
                      <a:pt x="9" y="4"/>
                    </a:lnTo>
                    <a:lnTo>
                      <a:pt x="9" y="4"/>
                    </a:lnTo>
                    <a:lnTo>
                      <a:pt x="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80" name="Freeform 73">
                <a:extLst>
                  <a:ext uri="{FF2B5EF4-FFF2-40B4-BE49-F238E27FC236}">
                    <a16:creationId xmlns:a16="http://schemas.microsoft.com/office/drawing/2014/main" id="{6764F515-5FB8-49BF-88F4-04BAA4A8AE3D}"/>
                  </a:ext>
                </a:extLst>
              </p:cNvPr>
              <p:cNvSpPr>
                <a:spLocks/>
              </p:cNvSpPr>
              <p:nvPr/>
            </p:nvSpPr>
            <p:spPr bwMode="gray">
              <a:xfrm>
                <a:off x="-3161" y="583"/>
                <a:ext cx="564" cy="1051"/>
              </a:xfrm>
              <a:custGeom>
                <a:avLst/>
                <a:gdLst>
                  <a:gd name="T0" fmla="*/ 54 w 564"/>
                  <a:gd name="T1" fmla="*/ 177 h 1051"/>
                  <a:gd name="T2" fmla="*/ 37 w 564"/>
                  <a:gd name="T3" fmla="*/ 215 h 1051"/>
                  <a:gd name="T4" fmla="*/ 26 w 564"/>
                  <a:gd name="T5" fmla="*/ 248 h 1051"/>
                  <a:gd name="T6" fmla="*/ 28 w 564"/>
                  <a:gd name="T7" fmla="*/ 269 h 1051"/>
                  <a:gd name="T8" fmla="*/ 70 w 564"/>
                  <a:gd name="T9" fmla="*/ 252 h 1051"/>
                  <a:gd name="T10" fmla="*/ 68 w 564"/>
                  <a:gd name="T11" fmla="*/ 290 h 1051"/>
                  <a:gd name="T12" fmla="*/ 51 w 564"/>
                  <a:gd name="T13" fmla="*/ 323 h 1051"/>
                  <a:gd name="T14" fmla="*/ 40 w 564"/>
                  <a:gd name="T15" fmla="*/ 370 h 1051"/>
                  <a:gd name="T16" fmla="*/ 47 w 564"/>
                  <a:gd name="T17" fmla="*/ 420 h 1051"/>
                  <a:gd name="T18" fmla="*/ 56 w 564"/>
                  <a:gd name="T19" fmla="*/ 344 h 1051"/>
                  <a:gd name="T20" fmla="*/ 70 w 564"/>
                  <a:gd name="T21" fmla="*/ 356 h 1051"/>
                  <a:gd name="T22" fmla="*/ 96 w 564"/>
                  <a:gd name="T23" fmla="*/ 333 h 1051"/>
                  <a:gd name="T24" fmla="*/ 99 w 564"/>
                  <a:gd name="T25" fmla="*/ 391 h 1051"/>
                  <a:gd name="T26" fmla="*/ 82 w 564"/>
                  <a:gd name="T27" fmla="*/ 472 h 1051"/>
                  <a:gd name="T28" fmla="*/ 99 w 564"/>
                  <a:gd name="T29" fmla="*/ 486 h 1051"/>
                  <a:gd name="T30" fmla="*/ 153 w 564"/>
                  <a:gd name="T31" fmla="*/ 493 h 1051"/>
                  <a:gd name="T32" fmla="*/ 226 w 564"/>
                  <a:gd name="T33" fmla="*/ 474 h 1051"/>
                  <a:gd name="T34" fmla="*/ 198 w 564"/>
                  <a:gd name="T35" fmla="*/ 556 h 1051"/>
                  <a:gd name="T36" fmla="*/ 243 w 564"/>
                  <a:gd name="T37" fmla="*/ 561 h 1051"/>
                  <a:gd name="T38" fmla="*/ 238 w 564"/>
                  <a:gd name="T39" fmla="*/ 672 h 1051"/>
                  <a:gd name="T40" fmla="*/ 177 w 564"/>
                  <a:gd name="T41" fmla="*/ 674 h 1051"/>
                  <a:gd name="T42" fmla="*/ 108 w 564"/>
                  <a:gd name="T43" fmla="*/ 731 h 1051"/>
                  <a:gd name="T44" fmla="*/ 153 w 564"/>
                  <a:gd name="T45" fmla="*/ 745 h 1051"/>
                  <a:gd name="T46" fmla="*/ 96 w 564"/>
                  <a:gd name="T47" fmla="*/ 823 h 1051"/>
                  <a:gd name="T48" fmla="*/ 73 w 564"/>
                  <a:gd name="T49" fmla="*/ 858 h 1051"/>
                  <a:gd name="T50" fmla="*/ 106 w 564"/>
                  <a:gd name="T51" fmla="*/ 863 h 1051"/>
                  <a:gd name="T52" fmla="*/ 141 w 564"/>
                  <a:gd name="T53" fmla="*/ 865 h 1051"/>
                  <a:gd name="T54" fmla="*/ 174 w 564"/>
                  <a:gd name="T55" fmla="*/ 879 h 1051"/>
                  <a:gd name="T56" fmla="*/ 271 w 564"/>
                  <a:gd name="T57" fmla="*/ 851 h 1051"/>
                  <a:gd name="T58" fmla="*/ 169 w 564"/>
                  <a:gd name="T59" fmla="*/ 910 h 1051"/>
                  <a:gd name="T60" fmla="*/ 92 w 564"/>
                  <a:gd name="T61" fmla="*/ 983 h 1051"/>
                  <a:gd name="T62" fmla="*/ 37 w 564"/>
                  <a:gd name="T63" fmla="*/ 1035 h 1051"/>
                  <a:gd name="T64" fmla="*/ 80 w 564"/>
                  <a:gd name="T65" fmla="*/ 1032 h 1051"/>
                  <a:gd name="T66" fmla="*/ 144 w 564"/>
                  <a:gd name="T67" fmla="*/ 1009 h 1051"/>
                  <a:gd name="T68" fmla="*/ 172 w 564"/>
                  <a:gd name="T69" fmla="*/ 1021 h 1051"/>
                  <a:gd name="T70" fmla="*/ 212 w 564"/>
                  <a:gd name="T71" fmla="*/ 971 h 1051"/>
                  <a:gd name="T72" fmla="*/ 297 w 564"/>
                  <a:gd name="T73" fmla="*/ 966 h 1051"/>
                  <a:gd name="T74" fmla="*/ 361 w 564"/>
                  <a:gd name="T75" fmla="*/ 959 h 1051"/>
                  <a:gd name="T76" fmla="*/ 450 w 564"/>
                  <a:gd name="T77" fmla="*/ 962 h 1051"/>
                  <a:gd name="T78" fmla="*/ 490 w 564"/>
                  <a:gd name="T79" fmla="*/ 889 h 1051"/>
                  <a:gd name="T80" fmla="*/ 505 w 564"/>
                  <a:gd name="T81" fmla="*/ 865 h 1051"/>
                  <a:gd name="T82" fmla="*/ 523 w 564"/>
                  <a:gd name="T83" fmla="*/ 837 h 1051"/>
                  <a:gd name="T84" fmla="*/ 564 w 564"/>
                  <a:gd name="T85" fmla="*/ 757 h 1051"/>
                  <a:gd name="T86" fmla="*/ 446 w 564"/>
                  <a:gd name="T87" fmla="*/ 717 h 1051"/>
                  <a:gd name="T88" fmla="*/ 401 w 564"/>
                  <a:gd name="T89" fmla="*/ 625 h 1051"/>
                  <a:gd name="T90" fmla="*/ 403 w 564"/>
                  <a:gd name="T91" fmla="*/ 542 h 1051"/>
                  <a:gd name="T92" fmla="*/ 339 w 564"/>
                  <a:gd name="T93" fmla="*/ 467 h 1051"/>
                  <a:gd name="T94" fmla="*/ 316 w 564"/>
                  <a:gd name="T95" fmla="*/ 394 h 1051"/>
                  <a:gd name="T96" fmla="*/ 221 w 564"/>
                  <a:gd name="T97" fmla="*/ 354 h 1051"/>
                  <a:gd name="T98" fmla="*/ 254 w 564"/>
                  <a:gd name="T99" fmla="*/ 316 h 1051"/>
                  <a:gd name="T100" fmla="*/ 264 w 564"/>
                  <a:gd name="T101" fmla="*/ 267 h 1051"/>
                  <a:gd name="T102" fmla="*/ 304 w 564"/>
                  <a:gd name="T103" fmla="*/ 132 h 1051"/>
                  <a:gd name="T104" fmla="*/ 193 w 564"/>
                  <a:gd name="T105" fmla="*/ 128 h 1051"/>
                  <a:gd name="T106" fmla="*/ 153 w 564"/>
                  <a:gd name="T107" fmla="*/ 137 h 1051"/>
                  <a:gd name="T108" fmla="*/ 160 w 564"/>
                  <a:gd name="T109" fmla="*/ 111 h 1051"/>
                  <a:gd name="T110" fmla="*/ 169 w 564"/>
                  <a:gd name="T111" fmla="*/ 83 h 1051"/>
                  <a:gd name="T112" fmla="*/ 191 w 564"/>
                  <a:gd name="T113" fmla="*/ 10 h 1051"/>
                  <a:gd name="T114" fmla="*/ 120 w 564"/>
                  <a:gd name="T115" fmla="*/ 14 h 1051"/>
                  <a:gd name="T116" fmla="*/ 85 w 564"/>
                  <a:gd name="T117" fmla="*/ 31 h 1051"/>
                  <a:gd name="T118" fmla="*/ 82 w 564"/>
                  <a:gd name="T119" fmla="*/ 57 h 1051"/>
                  <a:gd name="T120" fmla="*/ 59 w 564"/>
                  <a:gd name="T121" fmla="*/ 85 h 1051"/>
                  <a:gd name="T122" fmla="*/ 56 w 564"/>
                  <a:gd name="T123" fmla="*/ 104 h 1051"/>
                  <a:gd name="T124" fmla="*/ 40 w 564"/>
                  <a:gd name="T125" fmla="*/ 128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4" h="1051">
                    <a:moveTo>
                      <a:pt x="26" y="161"/>
                    </a:moveTo>
                    <a:lnTo>
                      <a:pt x="26" y="163"/>
                    </a:lnTo>
                    <a:lnTo>
                      <a:pt x="28" y="163"/>
                    </a:lnTo>
                    <a:lnTo>
                      <a:pt x="28" y="163"/>
                    </a:lnTo>
                    <a:lnTo>
                      <a:pt x="28" y="163"/>
                    </a:lnTo>
                    <a:lnTo>
                      <a:pt x="28" y="165"/>
                    </a:lnTo>
                    <a:lnTo>
                      <a:pt x="28" y="165"/>
                    </a:lnTo>
                    <a:lnTo>
                      <a:pt x="28" y="168"/>
                    </a:lnTo>
                    <a:lnTo>
                      <a:pt x="28" y="168"/>
                    </a:lnTo>
                    <a:lnTo>
                      <a:pt x="28" y="168"/>
                    </a:lnTo>
                    <a:lnTo>
                      <a:pt x="28" y="170"/>
                    </a:lnTo>
                    <a:lnTo>
                      <a:pt x="28" y="170"/>
                    </a:lnTo>
                    <a:lnTo>
                      <a:pt x="28" y="170"/>
                    </a:lnTo>
                    <a:lnTo>
                      <a:pt x="30" y="175"/>
                    </a:lnTo>
                    <a:lnTo>
                      <a:pt x="30" y="175"/>
                    </a:lnTo>
                    <a:lnTo>
                      <a:pt x="35" y="175"/>
                    </a:lnTo>
                    <a:lnTo>
                      <a:pt x="37" y="175"/>
                    </a:lnTo>
                    <a:lnTo>
                      <a:pt x="42" y="168"/>
                    </a:lnTo>
                    <a:lnTo>
                      <a:pt x="42" y="165"/>
                    </a:lnTo>
                    <a:lnTo>
                      <a:pt x="42" y="165"/>
                    </a:lnTo>
                    <a:lnTo>
                      <a:pt x="42" y="168"/>
                    </a:lnTo>
                    <a:lnTo>
                      <a:pt x="44" y="170"/>
                    </a:lnTo>
                    <a:lnTo>
                      <a:pt x="44" y="170"/>
                    </a:lnTo>
                    <a:lnTo>
                      <a:pt x="42" y="170"/>
                    </a:lnTo>
                    <a:lnTo>
                      <a:pt x="42" y="172"/>
                    </a:lnTo>
                    <a:lnTo>
                      <a:pt x="44" y="172"/>
                    </a:lnTo>
                    <a:lnTo>
                      <a:pt x="44" y="172"/>
                    </a:lnTo>
                    <a:lnTo>
                      <a:pt x="47" y="172"/>
                    </a:lnTo>
                    <a:lnTo>
                      <a:pt x="49" y="172"/>
                    </a:lnTo>
                    <a:lnTo>
                      <a:pt x="51" y="168"/>
                    </a:lnTo>
                    <a:lnTo>
                      <a:pt x="54" y="165"/>
                    </a:lnTo>
                    <a:lnTo>
                      <a:pt x="54" y="165"/>
                    </a:lnTo>
                    <a:lnTo>
                      <a:pt x="54" y="170"/>
                    </a:lnTo>
                    <a:lnTo>
                      <a:pt x="51" y="172"/>
                    </a:lnTo>
                    <a:lnTo>
                      <a:pt x="44" y="177"/>
                    </a:lnTo>
                    <a:lnTo>
                      <a:pt x="42" y="177"/>
                    </a:lnTo>
                    <a:lnTo>
                      <a:pt x="42" y="175"/>
                    </a:lnTo>
                    <a:lnTo>
                      <a:pt x="40" y="175"/>
                    </a:lnTo>
                    <a:lnTo>
                      <a:pt x="40" y="175"/>
                    </a:lnTo>
                    <a:lnTo>
                      <a:pt x="40" y="175"/>
                    </a:lnTo>
                    <a:lnTo>
                      <a:pt x="40" y="175"/>
                    </a:lnTo>
                    <a:lnTo>
                      <a:pt x="37" y="177"/>
                    </a:lnTo>
                    <a:lnTo>
                      <a:pt x="37" y="177"/>
                    </a:lnTo>
                    <a:lnTo>
                      <a:pt x="35" y="182"/>
                    </a:lnTo>
                    <a:lnTo>
                      <a:pt x="35" y="182"/>
                    </a:lnTo>
                    <a:lnTo>
                      <a:pt x="35" y="184"/>
                    </a:lnTo>
                    <a:lnTo>
                      <a:pt x="37" y="184"/>
                    </a:lnTo>
                    <a:lnTo>
                      <a:pt x="40" y="182"/>
                    </a:lnTo>
                    <a:lnTo>
                      <a:pt x="42" y="182"/>
                    </a:lnTo>
                    <a:lnTo>
                      <a:pt x="44" y="184"/>
                    </a:lnTo>
                    <a:lnTo>
                      <a:pt x="44" y="184"/>
                    </a:lnTo>
                    <a:lnTo>
                      <a:pt x="47" y="184"/>
                    </a:lnTo>
                    <a:lnTo>
                      <a:pt x="49" y="182"/>
                    </a:lnTo>
                    <a:lnTo>
                      <a:pt x="51" y="182"/>
                    </a:lnTo>
                    <a:lnTo>
                      <a:pt x="51" y="182"/>
                    </a:lnTo>
                    <a:lnTo>
                      <a:pt x="51" y="179"/>
                    </a:lnTo>
                    <a:lnTo>
                      <a:pt x="54" y="177"/>
                    </a:lnTo>
                    <a:lnTo>
                      <a:pt x="56" y="179"/>
                    </a:lnTo>
                    <a:lnTo>
                      <a:pt x="56" y="179"/>
                    </a:lnTo>
                    <a:lnTo>
                      <a:pt x="54" y="179"/>
                    </a:lnTo>
                    <a:lnTo>
                      <a:pt x="51" y="182"/>
                    </a:lnTo>
                    <a:lnTo>
                      <a:pt x="51" y="184"/>
                    </a:lnTo>
                    <a:lnTo>
                      <a:pt x="51" y="184"/>
                    </a:lnTo>
                    <a:lnTo>
                      <a:pt x="51" y="186"/>
                    </a:lnTo>
                    <a:lnTo>
                      <a:pt x="54" y="186"/>
                    </a:lnTo>
                    <a:lnTo>
                      <a:pt x="54" y="189"/>
                    </a:lnTo>
                    <a:lnTo>
                      <a:pt x="54" y="189"/>
                    </a:lnTo>
                    <a:lnTo>
                      <a:pt x="59" y="189"/>
                    </a:lnTo>
                    <a:lnTo>
                      <a:pt x="59" y="191"/>
                    </a:lnTo>
                    <a:lnTo>
                      <a:pt x="54" y="191"/>
                    </a:lnTo>
                    <a:lnTo>
                      <a:pt x="51" y="189"/>
                    </a:lnTo>
                    <a:lnTo>
                      <a:pt x="51" y="186"/>
                    </a:lnTo>
                    <a:lnTo>
                      <a:pt x="49" y="184"/>
                    </a:lnTo>
                    <a:lnTo>
                      <a:pt x="44" y="186"/>
                    </a:lnTo>
                    <a:lnTo>
                      <a:pt x="42" y="186"/>
                    </a:lnTo>
                    <a:lnTo>
                      <a:pt x="42" y="191"/>
                    </a:lnTo>
                    <a:lnTo>
                      <a:pt x="42" y="191"/>
                    </a:lnTo>
                    <a:lnTo>
                      <a:pt x="42" y="194"/>
                    </a:lnTo>
                    <a:lnTo>
                      <a:pt x="40" y="198"/>
                    </a:lnTo>
                    <a:lnTo>
                      <a:pt x="37" y="201"/>
                    </a:lnTo>
                    <a:lnTo>
                      <a:pt x="40" y="201"/>
                    </a:lnTo>
                    <a:lnTo>
                      <a:pt x="44" y="203"/>
                    </a:lnTo>
                    <a:lnTo>
                      <a:pt x="47" y="203"/>
                    </a:lnTo>
                    <a:lnTo>
                      <a:pt x="47" y="205"/>
                    </a:lnTo>
                    <a:lnTo>
                      <a:pt x="49" y="205"/>
                    </a:lnTo>
                    <a:lnTo>
                      <a:pt x="49" y="205"/>
                    </a:lnTo>
                    <a:lnTo>
                      <a:pt x="51" y="205"/>
                    </a:lnTo>
                    <a:lnTo>
                      <a:pt x="56" y="205"/>
                    </a:lnTo>
                    <a:lnTo>
                      <a:pt x="59" y="205"/>
                    </a:lnTo>
                    <a:lnTo>
                      <a:pt x="59" y="205"/>
                    </a:lnTo>
                    <a:lnTo>
                      <a:pt x="56" y="205"/>
                    </a:lnTo>
                    <a:lnTo>
                      <a:pt x="56" y="205"/>
                    </a:lnTo>
                    <a:lnTo>
                      <a:pt x="54" y="205"/>
                    </a:lnTo>
                    <a:lnTo>
                      <a:pt x="54" y="208"/>
                    </a:lnTo>
                    <a:lnTo>
                      <a:pt x="54" y="208"/>
                    </a:lnTo>
                    <a:lnTo>
                      <a:pt x="47" y="208"/>
                    </a:lnTo>
                    <a:lnTo>
                      <a:pt x="44" y="205"/>
                    </a:lnTo>
                    <a:lnTo>
                      <a:pt x="42" y="205"/>
                    </a:lnTo>
                    <a:lnTo>
                      <a:pt x="40" y="203"/>
                    </a:lnTo>
                    <a:lnTo>
                      <a:pt x="40" y="205"/>
                    </a:lnTo>
                    <a:lnTo>
                      <a:pt x="40" y="205"/>
                    </a:lnTo>
                    <a:lnTo>
                      <a:pt x="37" y="205"/>
                    </a:lnTo>
                    <a:lnTo>
                      <a:pt x="37" y="205"/>
                    </a:lnTo>
                    <a:lnTo>
                      <a:pt x="35" y="205"/>
                    </a:lnTo>
                    <a:lnTo>
                      <a:pt x="35" y="205"/>
                    </a:lnTo>
                    <a:lnTo>
                      <a:pt x="33" y="210"/>
                    </a:lnTo>
                    <a:lnTo>
                      <a:pt x="30" y="212"/>
                    </a:lnTo>
                    <a:lnTo>
                      <a:pt x="30" y="212"/>
                    </a:lnTo>
                    <a:lnTo>
                      <a:pt x="33" y="212"/>
                    </a:lnTo>
                    <a:lnTo>
                      <a:pt x="33" y="215"/>
                    </a:lnTo>
                    <a:lnTo>
                      <a:pt x="35" y="215"/>
                    </a:lnTo>
                    <a:lnTo>
                      <a:pt x="35" y="215"/>
                    </a:lnTo>
                    <a:lnTo>
                      <a:pt x="37" y="215"/>
                    </a:lnTo>
                    <a:lnTo>
                      <a:pt x="37" y="215"/>
                    </a:lnTo>
                    <a:lnTo>
                      <a:pt x="37" y="215"/>
                    </a:lnTo>
                    <a:lnTo>
                      <a:pt x="37" y="217"/>
                    </a:lnTo>
                    <a:lnTo>
                      <a:pt x="37" y="219"/>
                    </a:lnTo>
                    <a:lnTo>
                      <a:pt x="40" y="219"/>
                    </a:lnTo>
                    <a:lnTo>
                      <a:pt x="40" y="219"/>
                    </a:lnTo>
                    <a:lnTo>
                      <a:pt x="42" y="222"/>
                    </a:lnTo>
                    <a:lnTo>
                      <a:pt x="44" y="222"/>
                    </a:lnTo>
                    <a:lnTo>
                      <a:pt x="44" y="219"/>
                    </a:lnTo>
                    <a:lnTo>
                      <a:pt x="47" y="222"/>
                    </a:lnTo>
                    <a:lnTo>
                      <a:pt x="47" y="219"/>
                    </a:lnTo>
                    <a:lnTo>
                      <a:pt x="49" y="219"/>
                    </a:lnTo>
                    <a:lnTo>
                      <a:pt x="49" y="219"/>
                    </a:lnTo>
                    <a:lnTo>
                      <a:pt x="49" y="219"/>
                    </a:lnTo>
                    <a:lnTo>
                      <a:pt x="47" y="222"/>
                    </a:lnTo>
                    <a:lnTo>
                      <a:pt x="42" y="222"/>
                    </a:lnTo>
                    <a:lnTo>
                      <a:pt x="40" y="222"/>
                    </a:lnTo>
                    <a:lnTo>
                      <a:pt x="40" y="222"/>
                    </a:lnTo>
                    <a:lnTo>
                      <a:pt x="37" y="222"/>
                    </a:lnTo>
                    <a:lnTo>
                      <a:pt x="37" y="219"/>
                    </a:lnTo>
                    <a:lnTo>
                      <a:pt x="35" y="217"/>
                    </a:lnTo>
                    <a:lnTo>
                      <a:pt x="35" y="217"/>
                    </a:lnTo>
                    <a:lnTo>
                      <a:pt x="33" y="217"/>
                    </a:lnTo>
                    <a:lnTo>
                      <a:pt x="30" y="217"/>
                    </a:lnTo>
                    <a:lnTo>
                      <a:pt x="28" y="219"/>
                    </a:lnTo>
                    <a:lnTo>
                      <a:pt x="28" y="219"/>
                    </a:lnTo>
                    <a:lnTo>
                      <a:pt x="28" y="222"/>
                    </a:lnTo>
                    <a:lnTo>
                      <a:pt x="26" y="227"/>
                    </a:lnTo>
                    <a:lnTo>
                      <a:pt x="26" y="229"/>
                    </a:lnTo>
                    <a:lnTo>
                      <a:pt x="23" y="229"/>
                    </a:lnTo>
                    <a:lnTo>
                      <a:pt x="26" y="231"/>
                    </a:lnTo>
                    <a:lnTo>
                      <a:pt x="26" y="231"/>
                    </a:lnTo>
                    <a:lnTo>
                      <a:pt x="26" y="234"/>
                    </a:lnTo>
                    <a:lnTo>
                      <a:pt x="23" y="234"/>
                    </a:lnTo>
                    <a:lnTo>
                      <a:pt x="21" y="234"/>
                    </a:lnTo>
                    <a:lnTo>
                      <a:pt x="26" y="234"/>
                    </a:lnTo>
                    <a:lnTo>
                      <a:pt x="30" y="234"/>
                    </a:lnTo>
                    <a:lnTo>
                      <a:pt x="35" y="234"/>
                    </a:lnTo>
                    <a:lnTo>
                      <a:pt x="33" y="236"/>
                    </a:lnTo>
                    <a:lnTo>
                      <a:pt x="30" y="238"/>
                    </a:lnTo>
                    <a:lnTo>
                      <a:pt x="35" y="238"/>
                    </a:lnTo>
                    <a:lnTo>
                      <a:pt x="35" y="238"/>
                    </a:lnTo>
                    <a:lnTo>
                      <a:pt x="37" y="236"/>
                    </a:lnTo>
                    <a:lnTo>
                      <a:pt x="37" y="236"/>
                    </a:lnTo>
                    <a:lnTo>
                      <a:pt x="40" y="236"/>
                    </a:lnTo>
                    <a:lnTo>
                      <a:pt x="40" y="236"/>
                    </a:lnTo>
                    <a:lnTo>
                      <a:pt x="37" y="238"/>
                    </a:lnTo>
                    <a:lnTo>
                      <a:pt x="35" y="241"/>
                    </a:lnTo>
                    <a:lnTo>
                      <a:pt x="28" y="241"/>
                    </a:lnTo>
                    <a:lnTo>
                      <a:pt x="26" y="243"/>
                    </a:lnTo>
                    <a:lnTo>
                      <a:pt x="26" y="243"/>
                    </a:lnTo>
                    <a:lnTo>
                      <a:pt x="28" y="245"/>
                    </a:lnTo>
                    <a:lnTo>
                      <a:pt x="33" y="248"/>
                    </a:lnTo>
                    <a:lnTo>
                      <a:pt x="33" y="248"/>
                    </a:lnTo>
                    <a:lnTo>
                      <a:pt x="30" y="248"/>
                    </a:lnTo>
                    <a:lnTo>
                      <a:pt x="28" y="248"/>
                    </a:lnTo>
                    <a:lnTo>
                      <a:pt x="28" y="248"/>
                    </a:lnTo>
                    <a:lnTo>
                      <a:pt x="26" y="248"/>
                    </a:lnTo>
                    <a:lnTo>
                      <a:pt x="26" y="248"/>
                    </a:lnTo>
                    <a:lnTo>
                      <a:pt x="26" y="248"/>
                    </a:lnTo>
                    <a:lnTo>
                      <a:pt x="23" y="248"/>
                    </a:lnTo>
                    <a:lnTo>
                      <a:pt x="23" y="248"/>
                    </a:lnTo>
                    <a:lnTo>
                      <a:pt x="26" y="248"/>
                    </a:lnTo>
                    <a:lnTo>
                      <a:pt x="26" y="250"/>
                    </a:lnTo>
                    <a:lnTo>
                      <a:pt x="26" y="250"/>
                    </a:lnTo>
                    <a:lnTo>
                      <a:pt x="26" y="252"/>
                    </a:lnTo>
                    <a:lnTo>
                      <a:pt x="26" y="252"/>
                    </a:lnTo>
                    <a:lnTo>
                      <a:pt x="21" y="250"/>
                    </a:lnTo>
                    <a:lnTo>
                      <a:pt x="21" y="250"/>
                    </a:lnTo>
                    <a:lnTo>
                      <a:pt x="21" y="248"/>
                    </a:lnTo>
                    <a:lnTo>
                      <a:pt x="21" y="248"/>
                    </a:lnTo>
                    <a:lnTo>
                      <a:pt x="18" y="248"/>
                    </a:lnTo>
                    <a:lnTo>
                      <a:pt x="16" y="248"/>
                    </a:lnTo>
                    <a:lnTo>
                      <a:pt x="14" y="250"/>
                    </a:lnTo>
                    <a:lnTo>
                      <a:pt x="14" y="250"/>
                    </a:lnTo>
                    <a:lnTo>
                      <a:pt x="4" y="252"/>
                    </a:lnTo>
                    <a:lnTo>
                      <a:pt x="2" y="252"/>
                    </a:lnTo>
                    <a:lnTo>
                      <a:pt x="0" y="255"/>
                    </a:lnTo>
                    <a:lnTo>
                      <a:pt x="0" y="255"/>
                    </a:lnTo>
                    <a:lnTo>
                      <a:pt x="0" y="255"/>
                    </a:lnTo>
                    <a:lnTo>
                      <a:pt x="0" y="255"/>
                    </a:lnTo>
                    <a:lnTo>
                      <a:pt x="0" y="255"/>
                    </a:lnTo>
                    <a:lnTo>
                      <a:pt x="0" y="257"/>
                    </a:lnTo>
                    <a:lnTo>
                      <a:pt x="0" y="257"/>
                    </a:lnTo>
                    <a:lnTo>
                      <a:pt x="0" y="257"/>
                    </a:lnTo>
                    <a:lnTo>
                      <a:pt x="0" y="260"/>
                    </a:lnTo>
                    <a:lnTo>
                      <a:pt x="2" y="260"/>
                    </a:lnTo>
                    <a:lnTo>
                      <a:pt x="2" y="262"/>
                    </a:lnTo>
                    <a:lnTo>
                      <a:pt x="4" y="262"/>
                    </a:lnTo>
                    <a:lnTo>
                      <a:pt x="7" y="260"/>
                    </a:lnTo>
                    <a:lnTo>
                      <a:pt x="7" y="260"/>
                    </a:lnTo>
                    <a:lnTo>
                      <a:pt x="9" y="260"/>
                    </a:lnTo>
                    <a:lnTo>
                      <a:pt x="14" y="260"/>
                    </a:lnTo>
                    <a:lnTo>
                      <a:pt x="18" y="260"/>
                    </a:lnTo>
                    <a:lnTo>
                      <a:pt x="21" y="260"/>
                    </a:lnTo>
                    <a:lnTo>
                      <a:pt x="21" y="262"/>
                    </a:lnTo>
                    <a:lnTo>
                      <a:pt x="23" y="262"/>
                    </a:lnTo>
                    <a:lnTo>
                      <a:pt x="23" y="262"/>
                    </a:lnTo>
                    <a:lnTo>
                      <a:pt x="26" y="262"/>
                    </a:lnTo>
                    <a:lnTo>
                      <a:pt x="33" y="257"/>
                    </a:lnTo>
                    <a:lnTo>
                      <a:pt x="37" y="257"/>
                    </a:lnTo>
                    <a:lnTo>
                      <a:pt x="40" y="260"/>
                    </a:lnTo>
                    <a:lnTo>
                      <a:pt x="42" y="260"/>
                    </a:lnTo>
                    <a:lnTo>
                      <a:pt x="49" y="260"/>
                    </a:lnTo>
                    <a:lnTo>
                      <a:pt x="47" y="260"/>
                    </a:lnTo>
                    <a:lnTo>
                      <a:pt x="44" y="260"/>
                    </a:lnTo>
                    <a:lnTo>
                      <a:pt x="40" y="262"/>
                    </a:lnTo>
                    <a:lnTo>
                      <a:pt x="40" y="260"/>
                    </a:lnTo>
                    <a:lnTo>
                      <a:pt x="35" y="257"/>
                    </a:lnTo>
                    <a:lnTo>
                      <a:pt x="33" y="257"/>
                    </a:lnTo>
                    <a:lnTo>
                      <a:pt x="26" y="264"/>
                    </a:lnTo>
                    <a:lnTo>
                      <a:pt x="26" y="264"/>
                    </a:lnTo>
                    <a:lnTo>
                      <a:pt x="26" y="267"/>
                    </a:lnTo>
                    <a:lnTo>
                      <a:pt x="28" y="267"/>
                    </a:lnTo>
                    <a:lnTo>
                      <a:pt x="28" y="269"/>
                    </a:lnTo>
                    <a:lnTo>
                      <a:pt x="26" y="267"/>
                    </a:lnTo>
                    <a:lnTo>
                      <a:pt x="23" y="264"/>
                    </a:lnTo>
                    <a:lnTo>
                      <a:pt x="21" y="264"/>
                    </a:lnTo>
                    <a:lnTo>
                      <a:pt x="16" y="264"/>
                    </a:lnTo>
                    <a:lnTo>
                      <a:pt x="16" y="264"/>
                    </a:lnTo>
                    <a:lnTo>
                      <a:pt x="16" y="267"/>
                    </a:lnTo>
                    <a:lnTo>
                      <a:pt x="16" y="269"/>
                    </a:lnTo>
                    <a:lnTo>
                      <a:pt x="16" y="269"/>
                    </a:lnTo>
                    <a:lnTo>
                      <a:pt x="26" y="278"/>
                    </a:lnTo>
                    <a:lnTo>
                      <a:pt x="30" y="278"/>
                    </a:lnTo>
                    <a:lnTo>
                      <a:pt x="33" y="274"/>
                    </a:lnTo>
                    <a:lnTo>
                      <a:pt x="33" y="274"/>
                    </a:lnTo>
                    <a:lnTo>
                      <a:pt x="33" y="276"/>
                    </a:lnTo>
                    <a:lnTo>
                      <a:pt x="33" y="276"/>
                    </a:lnTo>
                    <a:lnTo>
                      <a:pt x="33" y="278"/>
                    </a:lnTo>
                    <a:lnTo>
                      <a:pt x="33" y="281"/>
                    </a:lnTo>
                    <a:lnTo>
                      <a:pt x="35" y="281"/>
                    </a:lnTo>
                    <a:lnTo>
                      <a:pt x="35" y="281"/>
                    </a:lnTo>
                    <a:lnTo>
                      <a:pt x="37" y="281"/>
                    </a:lnTo>
                    <a:lnTo>
                      <a:pt x="37" y="283"/>
                    </a:lnTo>
                    <a:lnTo>
                      <a:pt x="37" y="283"/>
                    </a:lnTo>
                    <a:lnTo>
                      <a:pt x="40" y="283"/>
                    </a:lnTo>
                    <a:lnTo>
                      <a:pt x="40" y="283"/>
                    </a:lnTo>
                    <a:lnTo>
                      <a:pt x="44" y="281"/>
                    </a:lnTo>
                    <a:lnTo>
                      <a:pt x="49" y="274"/>
                    </a:lnTo>
                    <a:lnTo>
                      <a:pt x="51" y="271"/>
                    </a:lnTo>
                    <a:lnTo>
                      <a:pt x="51" y="269"/>
                    </a:lnTo>
                    <a:lnTo>
                      <a:pt x="54" y="269"/>
                    </a:lnTo>
                    <a:lnTo>
                      <a:pt x="54" y="269"/>
                    </a:lnTo>
                    <a:lnTo>
                      <a:pt x="54" y="269"/>
                    </a:lnTo>
                    <a:lnTo>
                      <a:pt x="56" y="267"/>
                    </a:lnTo>
                    <a:lnTo>
                      <a:pt x="56" y="264"/>
                    </a:lnTo>
                    <a:lnTo>
                      <a:pt x="59" y="264"/>
                    </a:lnTo>
                    <a:lnTo>
                      <a:pt x="59" y="264"/>
                    </a:lnTo>
                    <a:lnTo>
                      <a:pt x="61" y="262"/>
                    </a:lnTo>
                    <a:lnTo>
                      <a:pt x="61" y="260"/>
                    </a:lnTo>
                    <a:lnTo>
                      <a:pt x="63" y="260"/>
                    </a:lnTo>
                    <a:lnTo>
                      <a:pt x="63" y="260"/>
                    </a:lnTo>
                    <a:lnTo>
                      <a:pt x="66" y="257"/>
                    </a:lnTo>
                    <a:lnTo>
                      <a:pt x="66" y="257"/>
                    </a:lnTo>
                    <a:lnTo>
                      <a:pt x="66" y="257"/>
                    </a:lnTo>
                    <a:lnTo>
                      <a:pt x="68" y="257"/>
                    </a:lnTo>
                    <a:lnTo>
                      <a:pt x="68" y="255"/>
                    </a:lnTo>
                    <a:lnTo>
                      <a:pt x="70" y="255"/>
                    </a:lnTo>
                    <a:lnTo>
                      <a:pt x="70" y="252"/>
                    </a:lnTo>
                    <a:lnTo>
                      <a:pt x="70" y="252"/>
                    </a:lnTo>
                    <a:lnTo>
                      <a:pt x="70" y="250"/>
                    </a:lnTo>
                    <a:lnTo>
                      <a:pt x="70" y="250"/>
                    </a:lnTo>
                    <a:lnTo>
                      <a:pt x="70" y="250"/>
                    </a:lnTo>
                    <a:lnTo>
                      <a:pt x="73" y="250"/>
                    </a:lnTo>
                    <a:lnTo>
                      <a:pt x="73" y="248"/>
                    </a:lnTo>
                    <a:lnTo>
                      <a:pt x="73" y="248"/>
                    </a:lnTo>
                    <a:lnTo>
                      <a:pt x="75" y="248"/>
                    </a:lnTo>
                    <a:lnTo>
                      <a:pt x="77" y="243"/>
                    </a:lnTo>
                    <a:lnTo>
                      <a:pt x="77" y="245"/>
                    </a:lnTo>
                    <a:lnTo>
                      <a:pt x="75" y="248"/>
                    </a:lnTo>
                    <a:lnTo>
                      <a:pt x="70" y="252"/>
                    </a:lnTo>
                    <a:lnTo>
                      <a:pt x="70" y="255"/>
                    </a:lnTo>
                    <a:lnTo>
                      <a:pt x="70" y="255"/>
                    </a:lnTo>
                    <a:lnTo>
                      <a:pt x="70" y="257"/>
                    </a:lnTo>
                    <a:lnTo>
                      <a:pt x="75" y="260"/>
                    </a:lnTo>
                    <a:lnTo>
                      <a:pt x="87" y="257"/>
                    </a:lnTo>
                    <a:lnTo>
                      <a:pt x="85" y="257"/>
                    </a:lnTo>
                    <a:lnTo>
                      <a:pt x="80" y="260"/>
                    </a:lnTo>
                    <a:lnTo>
                      <a:pt x="77" y="260"/>
                    </a:lnTo>
                    <a:lnTo>
                      <a:pt x="75" y="262"/>
                    </a:lnTo>
                    <a:lnTo>
                      <a:pt x="73" y="260"/>
                    </a:lnTo>
                    <a:lnTo>
                      <a:pt x="70" y="260"/>
                    </a:lnTo>
                    <a:lnTo>
                      <a:pt x="68" y="262"/>
                    </a:lnTo>
                    <a:lnTo>
                      <a:pt x="68" y="262"/>
                    </a:lnTo>
                    <a:lnTo>
                      <a:pt x="66" y="262"/>
                    </a:lnTo>
                    <a:lnTo>
                      <a:pt x="66" y="262"/>
                    </a:lnTo>
                    <a:lnTo>
                      <a:pt x="63" y="264"/>
                    </a:lnTo>
                    <a:lnTo>
                      <a:pt x="63" y="264"/>
                    </a:lnTo>
                    <a:lnTo>
                      <a:pt x="66" y="264"/>
                    </a:lnTo>
                    <a:lnTo>
                      <a:pt x="66" y="267"/>
                    </a:lnTo>
                    <a:lnTo>
                      <a:pt x="66" y="267"/>
                    </a:lnTo>
                    <a:lnTo>
                      <a:pt x="61" y="269"/>
                    </a:lnTo>
                    <a:lnTo>
                      <a:pt x="61" y="271"/>
                    </a:lnTo>
                    <a:lnTo>
                      <a:pt x="59" y="274"/>
                    </a:lnTo>
                    <a:lnTo>
                      <a:pt x="59" y="274"/>
                    </a:lnTo>
                    <a:lnTo>
                      <a:pt x="59" y="276"/>
                    </a:lnTo>
                    <a:lnTo>
                      <a:pt x="59" y="276"/>
                    </a:lnTo>
                    <a:lnTo>
                      <a:pt x="59" y="276"/>
                    </a:lnTo>
                    <a:lnTo>
                      <a:pt x="59" y="276"/>
                    </a:lnTo>
                    <a:lnTo>
                      <a:pt x="56" y="278"/>
                    </a:lnTo>
                    <a:lnTo>
                      <a:pt x="59" y="278"/>
                    </a:lnTo>
                    <a:lnTo>
                      <a:pt x="59" y="281"/>
                    </a:lnTo>
                    <a:lnTo>
                      <a:pt x="61" y="281"/>
                    </a:lnTo>
                    <a:lnTo>
                      <a:pt x="61" y="281"/>
                    </a:lnTo>
                    <a:lnTo>
                      <a:pt x="63" y="278"/>
                    </a:lnTo>
                    <a:lnTo>
                      <a:pt x="63" y="278"/>
                    </a:lnTo>
                    <a:lnTo>
                      <a:pt x="66" y="276"/>
                    </a:lnTo>
                    <a:lnTo>
                      <a:pt x="66" y="276"/>
                    </a:lnTo>
                    <a:lnTo>
                      <a:pt x="68" y="276"/>
                    </a:lnTo>
                    <a:lnTo>
                      <a:pt x="70" y="276"/>
                    </a:lnTo>
                    <a:lnTo>
                      <a:pt x="68" y="276"/>
                    </a:lnTo>
                    <a:lnTo>
                      <a:pt x="68" y="276"/>
                    </a:lnTo>
                    <a:lnTo>
                      <a:pt x="66" y="278"/>
                    </a:lnTo>
                    <a:lnTo>
                      <a:pt x="63" y="281"/>
                    </a:lnTo>
                    <a:lnTo>
                      <a:pt x="61" y="281"/>
                    </a:lnTo>
                    <a:lnTo>
                      <a:pt x="61" y="281"/>
                    </a:lnTo>
                    <a:lnTo>
                      <a:pt x="59" y="281"/>
                    </a:lnTo>
                    <a:lnTo>
                      <a:pt x="56" y="278"/>
                    </a:lnTo>
                    <a:lnTo>
                      <a:pt x="56" y="281"/>
                    </a:lnTo>
                    <a:lnTo>
                      <a:pt x="54" y="288"/>
                    </a:lnTo>
                    <a:lnTo>
                      <a:pt x="54" y="288"/>
                    </a:lnTo>
                    <a:lnTo>
                      <a:pt x="56" y="285"/>
                    </a:lnTo>
                    <a:lnTo>
                      <a:pt x="56" y="283"/>
                    </a:lnTo>
                    <a:lnTo>
                      <a:pt x="59" y="283"/>
                    </a:lnTo>
                    <a:lnTo>
                      <a:pt x="59" y="288"/>
                    </a:lnTo>
                    <a:lnTo>
                      <a:pt x="61" y="290"/>
                    </a:lnTo>
                    <a:lnTo>
                      <a:pt x="61" y="288"/>
                    </a:lnTo>
                    <a:lnTo>
                      <a:pt x="68" y="290"/>
                    </a:lnTo>
                    <a:lnTo>
                      <a:pt x="73" y="288"/>
                    </a:lnTo>
                    <a:lnTo>
                      <a:pt x="73" y="288"/>
                    </a:lnTo>
                    <a:lnTo>
                      <a:pt x="75" y="285"/>
                    </a:lnTo>
                    <a:lnTo>
                      <a:pt x="77" y="283"/>
                    </a:lnTo>
                    <a:lnTo>
                      <a:pt x="80" y="281"/>
                    </a:lnTo>
                    <a:lnTo>
                      <a:pt x="80" y="278"/>
                    </a:lnTo>
                    <a:lnTo>
                      <a:pt x="80" y="276"/>
                    </a:lnTo>
                    <a:lnTo>
                      <a:pt x="82" y="276"/>
                    </a:lnTo>
                    <a:lnTo>
                      <a:pt x="80" y="278"/>
                    </a:lnTo>
                    <a:lnTo>
                      <a:pt x="77" y="283"/>
                    </a:lnTo>
                    <a:lnTo>
                      <a:pt x="73" y="290"/>
                    </a:lnTo>
                    <a:lnTo>
                      <a:pt x="73" y="290"/>
                    </a:lnTo>
                    <a:lnTo>
                      <a:pt x="70" y="290"/>
                    </a:lnTo>
                    <a:lnTo>
                      <a:pt x="63" y="290"/>
                    </a:lnTo>
                    <a:lnTo>
                      <a:pt x="56" y="290"/>
                    </a:lnTo>
                    <a:lnTo>
                      <a:pt x="54" y="290"/>
                    </a:lnTo>
                    <a:lnTo>
                      <a:pt x="51" y="295"/>
                    </a:lnTo>
                    <a:lnTo>
                      <a:pt x="51" y="295"/>
                    </a:lnTo>
                    <a:lnTo>
                      <a:pt x="51" y="295"/>
                    </a:lnTo>
                    <a:lnTo>
                      <a:pt x="51" y="297"/>
                    </a:lnTo>
                    <a:lnTo>
                      <a:pt x="51" y="297"/>
                    </a:lnTo>
                    <a:lnTo>
                      <a:pt x="49" y="297"/>
                    </a:lnTo>
                    <a:lnTo>
                      <a:pt x="49" y="302"/>
                    </a:lnTo>
                    <a:lnTo>
                      <a:pt x="49" y="302"/>
                    </a:lnTo>
                    <a:lnTo>
                      <a:pt x="54" y="302"/>
                    </a:lnTo>
                    <a:lnTo>
                      <a:pt x="54" y="302"/>
                    </a:lnTo>
                    <a:lnTo>
                      <a:pt x="54" y="302"/>
                    </a:lnTo>
                    <a:lnTo>
                      <a:pt x="51" y="304"/>
                    </a:lnTo>
                    <a:lnTo>
                      <a:pt x="49" y="304"/>
                    </a:lnTo>
                    <a:lnTo>
                      <a:pt x="49" y="302"/>
                    </a:lnTo>
                    <a:lnTo>
                      <a:pt x="47" y="304"/>
                    </a:lnTo>
                    <a:lnTo>
                      <a:pt x="47" y="304"/>
                    </a:lnTo>
                    <a:lnTo>
                      <a:pt x="44" y="311"/>
                    </a:lnTo>
                    <a:lnTo>
                      <a:pt x="44" y="314"/>
                    </a:lnTo>
                    <a:lnTo>
                      <a:pt x="44" y="314"/>
                    </a:lnTo>
                    <a:lnTo>
                      <a:pt x="44" y="316"/>
                    </a:lnTo>
                    <a:lnTo>
                      <a:pt x="44" y="316"/>
                    </a:lnTo>
                    <a:lnTo>
                      <a:pt x="47" y="316"/>
                    </a:lnTo>
                    <a:lnTo>
                      <a:pt x="47" y="314"/>
                    </a:lnTo>
                    <a:lnTo>
                      <a:pt x="47" y="314"/>
                    </a:lnTo>
                    <a:lnTo>
                      <a:pt x="51" y="314"/>
                    </a:lnTo>
                    <a:lnTo>
                      <a:pt x="51" y="314"/>
                    </a:lnTo>
                    <a:lnTo>
                      <a:pt x="51" y="314"/>
                    </a:lnTo>
                    <a:lnTo>
                      <a:pt x="51" y="316"/>
                    </a:lnTo>
                    <a:lnTo>
                      <a:pt x="51" y="316"/>
                    </a:lnTo>
                    <a:lnTo>
                      <a:pt x="49" y="316"/>
                    </a:lnTo>
                    <a:lnTo>
                      <a:pt x="47" y="316"/>
                    </a:lnTo>
                    <a:lnTo>
                      <a:pt x="47" y="318"/>
                    </a:lnTo>
                    <a:lnTo>
                      <a:pt x="47" y="318"/>
                    </a:lnTo>
                    <a:lnTo>
                      <a:pt x="47" y="321"/>
                    </a:lnTo>
                    <a:lnTo>
                      <a:pt x="44" y="325"/>
                    </a:lnTo>
                    <a:lnTo>
                      <a:pt x="44" y="325"/>
                    </a:lnTo>
                    <a:lnTo>
                      <a:pt x="44" y="330"/>
                    </a:lnTo>
                    <a:lnTo>
                      <a:pt x="44" y="328"/>
                    </a:lnTo>
                    <a:lnTo>
                      <a:pt x="47" y="325"/>
                    </a:lnTo>
                    <a:lnTo>
                      <a:pt x="49" y="323"/>
                    </a:lnTo>
                    <a:lnTo>
                      <a:pt x="51" y="323"/>
                    </a:lnTo>
                    <a:lnTo>
                      <a:pt x="49" y="325"/>
                    </a:lnTo>
                    <a:lnTo>
                      <a:pt x="49" y="325"/>
                    </a:lnTo>
                    <a:lnTo>
                      <a:pt x="47" y="330"/>
                    </a:lnTo>
                    <a:lnTo>
                      <a:pt x="47" y="330"/>
                    </a:lnTo>
                    <a:lnTo>
                      <a:pt x="47" y="333"/>
                    </a:lnTo>
                    <a:lnTo>
                      <a:pt x="47" y="333"/>
                    </a:lnTo>
                    <a:lnTo>
                      <a:pt x="49" y="335"/>
                    </a:lnTo>
                    <a:lnTo>
                      <a:pt x="49" y="335"/>
                    </a:lnTo>
                    <a:lnTo>
                      <a:pt x="49" y="335"/>
                    </a:lnTo>
                    <a:lnTo>
                      <a:pt x="49" y="335"/>
                    </a:lnTo>
                    <a:lnTo>
                      <a:pt x="49" y="335"/>
                    </a:lnTo>
                    <a:lnTo>
                      <a:pt x="47" y="335"/>
                    </a:lnTo>
                    <a:lnTo>
                      <a:pt x="47" y="335"/>
                    </a:lnTo>
                    <a:lnTo>
                      <a:pt x="47" y="335"/>
                    </a:lnTo>
                    <a:lnTo>
                      <a:pt x="47" y="335"/>
                    </a:lnTo>
                    <a:lnTo>
                      <a:pt x="47" y="335"/>
                    </a:lnTo>
                    <a:lnTo>
                      <a:pt x="44" y="335"/>
                    </a:lnTo>
                    <a:lnTo>
                      <a:pt x="44" y="335"/>
                    </a:lnTo>
                    <a:lnTo>
                      <a:pt x="44" y="335"/>
                    </a:lnTo>
                    <a:lnTo>
                      <a:pt x="44" y="337"/>
                    </a:lnTo>
                    <a:lnTo>
                      <a:pt x="40" y="344"/>
                    </a:lnTo>
                    <a:lnTo>
                      <a:pt x="37" y="349"/>
                    </a:lnTo>
                    <a:lnTo>
                      <a:pt x="37" y="351"/>
                    </a:lnTo>
                    <a:lnTo>
                      <a:pt x="37" y="354"/>
                    </a:lnTo>
                    <a:lnTo>
                      <a:pt x="37" y="354"/>
                    </a:lnTo>
                    <a:lnTo>
                      <a:pt x="37" y="354"/>
                    </a:lnTo>
                    <a:lnTo>
                      <a:pt x="37" y="354"/>
                    </a:lnTo>
                    <a:lnTo>
                      <a:pt x="37" y="354"/>
                    </a:lnTo>
                    <a:lnTo>
                      <a:pt x="40" y="351"/>
                    </a:lnTo>
                    <a:lnTo>
                      <a:pt x="40" y="349"/>
                    </a:lnTo>
                    <a:lnTo>
                      <a:pt x="42" y="347"/>
                    </a:lnTo>
                    <a:lnTo>
                      <a:pt x="42" y="344"/>
                    </a:lnTo>
                    <a:lnTo>
                      <a:pt x="44" y="342"/>
                    </a:lnTo>
                    <a:lnTo>
                      <a:pt x="44" y="342"/>
                    </a:lnTo>
                    <a:lnTo>
                      <a:pt x="44" y="342"/>
                    </a:lnTo>
                    <a:lnTo>
                      <a:pt x="47" y="342"/>
                    </a:lnTo>
                    <a:lnTo>
                      <a:pt x="47" y="342"/>
                    </a:lnTo>
                    <a:lnTo>
                      <a:pt x="44" y="344"/>
                    </a:lnTo>
                    <a:lnTo>
                      <a:pt x="44" y="344"/>
                    </a:lnTo>
                    <a:lnTo>
                      <a:pt x="44" y="344"/>
                    </a:lnTo>
                    <a:lnTo>
                      <a:pt x="37" y="358"/>
                    </a:lnTo>
                    <a:lnTo>
                      <a:pt x="37" y="358"/>
                    </a:lnTo>
                    <a:lnTo>
                      <a:pt x="37" y="361"/>
                    </a:lnTo>
                    <a:lnTo>
                      <a:pt x="37" y="361"/>
                    </a:lnTo>
                    <a:lnTo>
                      <a:pt x="40" y="361"/>
                    </a:lnTo>
                    <a:lnTo>
                      <a:pt x="40" y="361"/>
                    </a:lnTo>
                    <a:lnTo>
                      <a:pt x="42" y="358"/>
                    </a:lnTo>
                    <a:lnTo>
                      <a:pt x="44" y="356"/>
                    </a:lnTo>
                    <a:lnTo>
                      <a:pt x="47" y="354"/>
                    </a:lnTo>
                    <a:lnTo>
                      <a:pt x="44" y="356"/>
                    </a:lnTo>
                    <a:lnTo>
                      <a:pt x="44" y="358"/>
                    </a:lnTo>
                    <a:lnTo>
                      <a:pt x="42" y="358"/>
                    </a:lnTo>
                    <a:lnTo>
                      <a:pt x="42" y="361"/>
                    </a:lnTo>
                    <a:lnTo>
                      <a:pt x="42" y="361"/>
                    </a:lnTo>
                    <a:lnTo>
                      <a:pt x="40" y="366"/>
                    </a:lnTo>
                    <a:lnTo>
                      <a:pt x="40" y="368"/>
                    </a:lnTo>
                    <a:lnTo>
                      <a:pt x="40" y="370"/>
                    </a:lnTo>
                    <a:lnTo>
                      <a:pt x="40" y="373"/>
                    </a:lnTo>
                    <a:lnTo>
                      <a:pt x="40" y="373"/>
                    </a:lnTo>
                    <a:lnTo>
                      <a:pt x="42" y="375"/>
                    </a:lnTo>
                    <a:lnTo>
                      <a:pt x="44" y="375"/>
                    </a:lnTo>
                    <a:lnTo>
                      <a:pt x="44" y="375"/>
                    </a:lnTo>
                    <a:lnTo>
                      <a:pt x="44" y="375"/>
                    </a:lnTo>
                    <a:lnTo>
                      <a:pt x="44" y="375"/>
                    </a:lnTo>
                    <a:lnTo>
                      <a:pt x="47" y="375"/>
                    </a:lnTo>
                    <a:lnTo>
                      <a:pt x="54" y="366"/>
                    </a:lnTo>
                    <a:lnTo>
                      <a:pt x="54" y="370"/>
                    </a:lnTo>
                    <a:lnTo>
                      <a:pt x="51" y="373"/>
                    </a:lnTo>
                    <a:lnTo>
                      <a:pt x="49" y="375"/>
                    </a:lnTo>
                    <a:lnTo>
                      <a:pt x="47" y="375"/>
                    </a:lnTo>
                    <a:lnTo>
                      <a:pt x="44" y="377"/>
                    </a:lnTo>
                    <a:lnTo>
                      <a:pt x="44" y="380"/>
                    </a:lnTo>
                    <a:lnTo>
                      <a:pt x="44" y="382"/>
                    </a:lnTo>
                    <a:lnTo>
                      <a:pt x="42" y="382"/>
                    </a:lnTo>
                    <a:lnTo>
                      <a:pt x="42" y="384"/>
                    </a:lnTo>
                    <a:lnTo>
                      <a:pt x="37" y="387"/>
                    </a:lnTo>
                    <a:lnTo>
                      <a:pt x="40" y="389"/>
                    </a:lnTo>
                    <a:lnTo>
                      <a:pt x="40" y="391"/>
                    </a:lnTo>
                    <a:lnTo>
                      <a:pt x="37" y="396"/>
                    </a:lnTo>
                    <a:lnTo>
                      <a:pt x="35" y="399"/>
                    </a:lnTo>
                    <a:lnTo>
                      <a:pt x="35" y="401"/>
                    </a:lnTo>
                    <a:lnTo>
                      <a:pt x="35" y="403"/>
                    </a:lnTo>
                    <a:lnTo>
                      <a:pt x="37" y="403"/>
                    </a:lnTo>
                    <a:lnTo>
                      <a:pt x="37" y="403"/>
                    </a:lnTo>
                    <a:lnTo>
                      <a:pt x="35" y="408"/>
                    </a:lnTo>
                    <a:lnTo>
                      <a:pt x="35" y="410"/>
                    </a:lnTo>
                    <a:lnTo>
                      <a:pt x="37" y="413"/>
                    </a:lnTo>
                    <a:lnTo>
                      <a:pt x="37" y="415"/>
                    </a:lnTo>
                    <a:lnTo>
                      <a:pt x="35" y="417"/>
                    </a:lnTo>
                    <a:lnTo>
                      <a:pt x="33" y="420"/>
                    </a:lnTo>
                    <a:lnTo>
                      <a:pt x="30" y="422"/>
                    </a:lnTo>
                    <a:lnTo>
                      <a:pt x="30" y="424"/>
                    </a:lnTo>
                    <a:lnTo>
                      <a:pt x="30" y="427"/>
                    </a:lnTo>
                    <a:lnTo>
                      <a:pt x="30" y="432"/>
                    </a:lnTo>
                    <a:lnTo>
                      <a:pt x="33" y="434"/>
                    </a:lnTo>
                    <a:lnTo>
                      <a:pt x="33" y="434"/>
                    </a:lnTo>
                    <a:lnTo>
                      <a:pt x="35" y="434"/>
                    </a:lnTo>
                    <a:lnTo>
                      <a:pt x="37" y="434"/>
                    </a:lnTo>
                    <a:lnTo>
                      <a:pt x="37" y="434"/>
                    </a:lnTo>
                    <a:lnTo>
                      <a:pt x="37" y="432"/>
                    </a:lnTo>
                    <a:lnTo>
                      <a:pt x="40" y="432"/>
                    </a:lnTo>
                    <a:lnTo>
                      <a:pt x="40" y="434"/>
                    </a:lnTo>
                    <a:lnTo>
                      <a:pt x="42" y="434"/>
                    </a:lnTo>
                    <a:lnTo>
                      <a:pt x="42" y="434"/>
                    </a:lnTo>
                    <a:lnTo>
                      <a:pt x="44" y="432"/>
                    </a:lnTo>
                    <a:lnTo>
                      <a:pt x="47" y="432"/>
                    </a:lnTo>
                    <a:lnTo>
                      <a:pt x="47" y="429"/>
                    </a:lnTo>
                    <a:lnTo>
                      <a:pt x="49" y="427"/>
                    </a:lnTo>
                    <a:lnTo>
                      <a:pt x="49" y="424"/>
                    </a:lnTo>
                    <a:lnTo>
                      <a:pt x="49" y="424"/>
                    </a:lnTo>
                    <a:lnTo>
                      <a:pt x="49" y="424"/>
                    </a:lnTo>
                    <a:lnTo>
                      <a:pt x="49" y="420"/>
                    </a:lnTo>
                    <a:lnTo>
                      <a:pt x="47" y="420"/>
                    </a:lnTo>
                    <a:lnTo>
                      <a:pt x="47" y="420"/>
                    </a:lnTo>
                    <a:lnTo>
                      <a:pt x="47" y="417"/>
                    </a:lnTo>
                    <a:lnTo>
                      <a:pt x="44" y="420"/>
                    </a:lnTo>
                    <a:lnTo>
                      <a:pt x="44" y="417"/>
                    </a:lnTo>
                    <a:lnTo>
                      <a:pt x="47" y="417"/>
                    </a:lnTo>
                    <a:lnTo>
                      <a:pt x="47" y="415"/>
                    </a:lnTo>
                    <a:lnTo>
                      <a:pt x="49" y="410"/>
                    </a:lnTo>
                    <a:lnTo>
                      <a:pt x="49" y="410"/>
                    </a:lnTo>
                    <a:lnTo>
                      <a:pt x="51" y="410"/>
                    </a:lnTo>
                    <a:lnTo>
                      <a:pt x="51" y="410"/>
                    </a:lnTo>
                    <a:lnTo>
                      <a:pt x="51" y="408"/>
                    </a:lnTo>
                    <a:lnTo>
                      <a:pt x="51" y="408"/>
                    </a:lnTo>
                    <a:lnTo>
                      <a:pt x="51" y="406"/>
                    </a:lnTo>
                    <a:lnTo>
                      <a:pt x="51" y="403"/>
                    </a:lnTo>
                    <a:lnTo>
                      <a:pt x="51" y="401"/>
                    </a:lnTo>
                    <a:lnTo>
                      <a:pt x="51" y="401"/>
                    </a:lnTo>
                    <a:lnTo>
                      <a:pt x="54" y="399"/>
                    </a:lnTo>
                    <a:lnTo>
                      <a:pt x="54" y="399"/>
                    </a:lnTo>
                    <a:lnTo>
                      <a:pt x="54" y="396"/>
                    </a:lnTo>
                    <a:lnTo>
                      <a:pt x="54" y="396"/>
                    </a:lnTo>
                    <a:lnTo>
                      <a:pt x="51" y="396"/>
                    </a:lnTo>
                    <a:lnTo>
                      <a:pt x="51" y="391"/>
                    </a:lnTo>
                    <a:lnTo>
                      <a:pt x="51" y="391"/>
                    </a:lnTo>
                    <a:lnTo>
                      <a:pt x="51" y="391"/>
                    </a:lnTo>
                    <a:lnTo>
                      <a:pt x="51" y="391"/>
                    </a:lnTo>
                    <a:lnTo>
                      <a:pt x="54" y="389"/>
                    </a:lnTo>
                    <a:lnTo>
                      <a:pt x="54" y="389"/>
                    </a:lnTo>
                    <a:lnTo>
                      <a:pt x="54" y="387"/>
                    </a:lnTo>
                    <a:lnTo>
                      <a:pt x="54" y="387"/>
                    </a:lnTo>
                    <a:lnTo>
                      <a:pt x="54" y="384"/>
                    </a:lnTo>
                    <a:lnTo>
                      <a:pt x="56" y="382"/>
                    </a:lnTo>
                    <a:lnTo>
                      <a:pt x="56" y="382"/>
                    </a:lnTo>
                    <a:lnTo>
                      <a:pt x="59" y="377"/>
                    </a:lnTo>
                    <a:lnTo>
                      <a:pt x="61" y="377"/>
                    </a:lnTo>
                    <a:lnTo>
                      <a:pt x="63" y="377"/>
                    </a:lnTo>
                    <a:lnTo>
                      <a:pt x="63" y="375"/>
                    </a:lnTo>
                    <a:lnTo>
                      <a:pt x="63" y="375"/>
                    </a:lnTo>
                    <a:lnTo>
                      <a:pt x="63" y="370"/>
                    </a:lnTo>
                    <a:lnTo>
                      <a:pt x="61" y="368"/>
                    </a:lnTo>
                    <a:lnTo>
                      <a:pt x="59" y="363"/>
                    </a:lnTo>
                    <a:lnTo>
                      <a:pt x="59" y="363"/>
                    </a:lnTo>
                    <a:lnTo>
                      <a:pt x="59" y="363"/>
                    </a:lnTo>
                    <a:lnTo>
                      <a:pt x="59" y="363"/>
                    </a:lnTo>
                    <a:lnTo>
                      <a:pt x="59" y="361"/>
                    </a:lnTo>
                    <a:lnTo>
                      <a:pt x="59" y="361"/>
                    </a:lnTo>
                    <a:lnTo>
                      <a:pt x="59" y="361"/>
                    </a:lnTo>
                    <a:lnTo>
                      <a:pt x="59" y="358"/>
                    </a:lnTo>
                    <a:lnTo>
                      <a:pt x="56" y="358"/>
                    </a:lnTo>
                    <a:lnTo>
                      <a:pt x="56" y="356"/>
                    </a:lnTo>
                    <a:lnTo>
                      <a:pt x="56" y="356"/>
                    </a:lnTo>
                    <a:lnTo>
                      <a:pt x="56" y="354"/>
                    </a:lnTo>
                    <a:lnTo>
                      <a:pt x="56" y="354"/>
                    </a:lnTo>
                    <a:lnTo>
                      <a:pt x="54" y="354"/>
                    </a:lnTo>
                    <a:lnTo>
                      <a:pt x="54" y="351"/>
                    </a:lnTo>
                    <a:lnTo>
                      <a:pt x="54" y="347"/>
                    </a:lnTo>
                    <a:lnTo>
                      <a:pt x="54" y="344"/>
                    </a:lnTo>
                    <a:lnTo>
                      <a:pt x="54" y="344"/>
                    </a:lnTo>
                    <a:lnTo>
                      <a:pt x="56" y="344"/>
                    </a:lnTo>
                    <a:lnTo>
                      <a:pt x="56" y="342"/>
                    </a:lnTo>
                    <a:lnTo>
                      <a:pt x="56" y="344"/>
                    </a:lnTo>
                    <a:lnTo>
                      <a:pt x="56" y="344"/>
                    </a:lnTo>
                    <a:lnTo>
                      <a:pt x="56" y="347"/>
                    </a:lnTo>
                    <a:lnTo>
                      <a:pt x="56" y="347"/>
                    </a:lnTo>
                    <a:lnTo>
                      <a:pt x="59" y="347"/>
                    </a:lnTo>
                    <a:lnTo>
                      <a:pt x="61" y="347"/>
                    </a:lnTo>
                    <a:lnTo>
                      <a:pt x="61" y="344"/>
                    </a:lnTo>
                    <a:lnTo>
                      <a:pt x="61" y="344"/>
                    </a:lnTo>
                    <a:lnTo>
                      <a:pt x="61" y="342"/>
                    </a:lnTo>
                    <a:lnTo>
                      <a:pt x="61" y="342"/>
                    </a:lnTo>
                    <a:lnTo>
                      <a:pt x="61" y="340"/>
                    </a:lnTo>
                    <a:lnTo>
                      <a:pt x="63" y="340"/>
                    </a:lnTo>
                    <a:lnTo>
                      <a:pt x="63" y="340"/>
                    </a:lnTo>
                    <a:lnTo>
                      <a:pt x="66" y="340"/>
                    </a:lnTo>
                    <a:lnTo>
                      <a:pt x="70" y="330"/>
                    </a:lnTo>
                    <a:lnTo>
                      <a:pt x="80" y="325"/>
                    </a:lnTo>
                    <a:lnTo>
                      <a:pt x="80" y="323"/>
                    </a:lnTo>
                    <a:lnTo>
                      <a:pt x="82" y="318"/>
                    </a:lnTo>
                    <a:lnTo>
                      <a:pt x="82" y="318"/>
                    </a:lnTo>
                    <a:lnTo>
                      <a:pt x="82" y="316"/>
                    </a:lnTo>
                    <a:lnTo>
                      <a:pt x="85" y="316"/>
                    </a:lnTo>
                    <a:lnTo>
                      <a:pt x="87" y="316"/>
                    </a:lnTo>
                    <a:lnTo>
                      <a:pt x="89" y="316"/>
                    </a:lnTo>
                    <a:lnTo>
                      <a:pt x="92" y="314"/>
                    </a:lnTo>
                    <a:lnTo>
                      <a:pt x="92" y="311"/>
                    </a:lnTo>
                    <a:lnTo>
                      <a:pt x="92" y="316"/>
                    </a:lnTo>
                    <a:lnTo>
                      <a:pt x="89" y="318"/>
                    </a:lnTo>
                    <a:lnTo>
                      <a:pt x="85" y="318"/>
                    </a:lnTo>
                    <a:lnTo>
                      <a:pt x="82" y="318"/>
                    </a:lnTo>
                    <a:lnTo>
                      <a:pt x="82" y="321"/>
                    </a:lnTo>
                    <a:lnTo>
                      <a:pt x="80" y="328"/>
                    </a:lnTo>
                    <a:lnTo>
                      <a:pt x="80" y="328"/>
                    </a:lnTo>
                    <a:lnTo>
                      <a:pt x="75" y="330"/>
                    </a:lnTo>
                    <a:lnTo>
                      <a:pt x="73" y="333"/>
                    </a:lnTo>
                    <a:lnTo>
                      <a:pt x="63" y="344"/>
                    </a:lnTo>
                    <a:lnTo>
                      <a:pt x="63" y="347"/>
                    </a:lnTo>
                    <a:lnTo>
                      <a:pt x="63" y="351"/>
                    </a:lnTo>
                    <a:lnTo>
                      <a:pt x="63" y="351"/>
                    </a:lnTo>
                    <a:lnTo>
                      <a:pt x="63" y="354"/>
                    </a:lnTo>
                    <a:lnTo>
                      <a:pt x="63" y="354"/>
                    </a:lnTo>
                    <a:lnTo>
                      <a:pt x="63" y="356"/>
                    </a:lnTo>
                    <a:lnTo>
                      <a:pt x="63" y="358"/>
                    </a:lnTo>
                    <a:lnTo>
                      <a:pt x="63" y="358"/>
                    </a:lnTo>
                    <a:lnTo>
                      <a:pt x="63" y="361"/>
                    </a:lnTo>
                    <a:lnTo>
                      <a:pt x="63" y="361"/>
                    </a:lnTo>
                    <a:lnTo>
                      <a:pt x="63" y="361"/>
                    </a:lnTo>
                    <a:lnTo>
                      <a:pt x="63" y="361"/>
                    </a:lnTo>
                    <a:lnTo>
                      <a:pt x="66" y="363"/>
                    </a:lnTo>
                    <a:lnTo>
                      <a:pt x="66" y="366"/>
                    </a:lnTo>
                    <a:lnTo>
                      <a:pt x="68" y="366"/>
                    </a:lnTo>
                    <a:lnTo>
                      <a:pt x="70" y="368"/>
                    </a:lnTo>
                    <a:lnTo>
                      <a:pt x="73" y="368"/>
                    </a:lnTo>
                    <a:lnTo>
                      <a:pt x="73" y="366"/>
                    </a:lnTo>
                    <a:lnTo>
                      <a:pt x="70" y="363"/>
                    </a:lnTo>
                    <a:lnTo>
                      <a:pt x="70" y="361"/>
                    </a:lnTo>
                    <a:lnTo>
                      <a:pt x="70" y="356"/>
                    </a:lnTo>
                    <a:lnTo>
                      <a:pt x="73" y="356"/>
                    </a:lnTo>
                    <a:lnTo>
                      <a:pt x="73" y="354"/>
                    </a:lnTo>
                    <a:lnTo>
                      <a:pt x="73" y="354"/>
                    </a:lnTo>
                    <a:lnTo>
                      <a:pt x="73" y="351"/>
                    </a:lnTo>
                    <a:lnTo>
                      <a:pt x="73" y="351"/>
                    </a:lnTo>
                    <a:lnTo>
                      <a:pt x="73" y="354"/>
                    </a:lnTo>
                    <a:lnTo>
                      <a:pt x="75" y="354"/>
                    </a:lnTo>
                    <a:lnTo>
                      <a:pt x="80" y="358"/>
                    </a:lnTo>
                    <a:lnTo>
                      <a:pt x="80" y="358"/>
                    </a:lnTo>
                    <a:lnTo>
                      <a:pt x="82" y="358"/>
                    </a:lnTo>
                    <a:lnTo>
                      <a:pt x="80" y="356"/>
                    </a:lnTo>
                    <a:lnTo>
                      <a:pt x="77" y="349"/>
                    </a:lnTo>
                    <a:lnTo>
                      <a:pt x="77" y="347"/>
                    </a:lnTo>
                    <a:lnTo>
                      <a:pt x="77" y="347"/>
                    </a:lnTo>
                    <a:lnTo>
                      <a:pt x="77" y="347"/>
                    </a:lnTo>
                    <a:lnTo>
                      <a:pt x="77" y="349"/>
                    </a:lnTo>
                    <a:lnTo>
                      <a:pt x="82" y="351"/>
                    </a:lnTo>
                    <a:lnTo>
                      <a:pt x="82" y="354"/>
                    </a:lnTo>
                    <a:lnTo>
                      <a:pt x="82" y="358"/>
                    </a:lnTo>
                    <a:lnTo>
                      <a:pt x="82" y="361"/>
                    </a:lnTo>
                    <a:lnTo>
                      <a:pt x="85" y="363"/>
                    </a:lnTo>
                    <a:lnTo>
                      <a:pt x="87" y="363"/>
                    </a:lnTo>
                    <a:lnTo>
                      <a:pt x="87" y="363"/>
                    </a:lnTo>
                    <a:lnTo>
                      <a:pt x="89" y="361"/>
                    </a:lnTo>
                    <a:lnTo>
                      <a:pt x="89" y="361"/>
                    </a:lnTo>
                    <a:lnTo>
                      <a:pt x="89" y="358"/>
                    </a:lnTo>
                    <a:lnTo>
                      <a:pt x="89" y="358"/>
                    </a:lnTo>
                    <a:lnTo>
                      <a:pt x="89" y="356"/>
                    </a:lnTo>
                    <a:lnTo>
                      <a:pt x="92" y="356"/>
                    </a:lnTo>
                    <a:lnTo>
                      <a:pt x="92" y="354"/>
                    </a:lnTo>
                    <a:lnTo>
                      <a:pt x="92" y="354"/>
                    </a:lnTo>
                    <a:lnTo>
                      <a:pt x="92" y="351"/>
                    </a:lnTo>
                    <a:lnTo>
                      <a:pt x="92" y="349"/>
                    </a:lnTo>
                    <a:lnTo>
                      <a:pt x="92" y="349"/>
                    </a:lnTo>
                    <a:lnTo>
                      <a:pt x="92" y="349"/>
                    </a:lnTo>
                    <a:lnTo>
                      <a:pt x="89" y="349"/>
                    </a:lnTo>
                    <a:lnTo>
                      <a:pt x="89" y="347"/>
                    </a:lnTo>
                    <a:lnTo>
                      <a:pt x="92" y="347"/>
                    </a:lnTo>
                    <a:lnTo>
                      <a:pt x="92" y="349"/>
                    </a:lnTo>
                    <a:lnTo>
                      <a:pt x="94" y="349"/>
                    </a:lnTo>
                    <a:lnTo>
                      <a:pt x="94" y="349"/>
                    </a:lnTo>
                    <a:lnTo>
                      <a:pt x="94" y="347"/>
                    </a:lnTo>
                    <a:lnTo>
                      <a:pt x="94" y="344"/>
                    </a:lnTo>
                    <a:lnTo>
                      <a:pt x="94" y="342"/>
                    </a:lnTo>
                    <a:lnTo>
                      <a:pt x="94" y="340"/>
                    </a:lnTo>
                    <a:lnTo>
                      <a:pt x="94" y="340"/>
                    </a:lnTo>
                    <a:lnTo>
                      <a:pt x="94" y="340"/>
                    </a:lnTo>
                    <a:lnTo>
                      <a:pt x="94" y="337"/>
                    </a:lnTo>
                    <a:lnTo>
                      <a:pt x="94" y="333"/>
                    </a:lnTo>
                    <a:lnTo>
                      <a:pt x="92" y="328"/>
                    </a:lnTo>
                    <a:lnTo>
                      <a:pt x="92" y="325"/>
                    </a:lnTo>
                    <a:lnTo>
                      <a:pt x="94" y="325"/>
                    </a:lnTo>
                    <a:lnTo>
                      <a:pt x="94" y="325"/>
                    </a:lnTo>
                    <a:lnTo>
                      <a:pt x="94" y="325"/>
                    </a:lnTo>
                    <a:lnTo>
                      <a:pt x="94" y="328"/>
                    </a:lnTo>
                    <a:lnTo>
                      <a:pt x="94" y="333"/>
                    </a:lnTo>
                    <a:lnTo>
                      <a:pt x="96" y="333"/>
                    </a:lnTo>
                    <a:lnTo>
                      <a:pt x="96" y="333"/>
                    </a:lnTo>
                    <a:lnTo>
                      <a:pt x="99" y="330"/>
                    </a:lnTo>
                    <a:lnTo>
                      <a:pt x="101" y="323"/>
                    </a:lnTo>
                    <a:lnTo>
                      <a:pt x="103" y="321"/>
                    </a:lnTo>
                    <a:lnTo>
                      <a:pt x="103" y="321"/>
                    </a:lnTo>
                    <a:lnTo>
                      <a:pt x="103" y="321"/>
                    </a:lnTo>
                    <a:lnTo>
                      <a:pt x="103" y="323"/>
                    </a:lnTo>
                    <a:lnTo>
                      <a:pt x="99" y="330"/>
                    </a:lnTo>
                    <a:lnTo>
                      <a:pt x="96" y="340"/>
                    </a:lnTo>
                    <a:lnTo>
                      <a:pt x="96" y="340"/>
                    </a:lnTo>
                    <a:lnTo>
                      <a:pt x="96" y="344"/>
                    </a:lnTo>
                    <a:lnTo>
                      <a:pt x="96" y="347"/>
                    </a:lnTo>
                    <a:lnTo>
                      <a:pt x="96" y="349"/>
                    </a:lnTo>
                    <a:lnTo>
                      <a:pt x="99" y="349"/>
                    </a:lnTo>
                    <a:lnTo>
                      <a:pt x="101" y="349"/>
                    </a:lnTo>
                    <a:lnTo>
                      <a:pt x="101" y="349"/>
                    </a:lnTo>
                    <a:lnTo>
                      <a:pt x="101" y="347"/>
                    </a:lnTo>
                    <a:lnTo>
                      <a:pt x="101" y="347"/>
                    </a:lnTo>
                    <a:lnTo>
                      <a:pt x="99" y="340"/>
                    </a:lnTo>
                    <a:lnTo>
                      <a:pt x="99" y="340"/>
                    </a:lnTo>
                    <a:lnTo>
                      <a:pt x="99" y="337"/>
                    </a:lnTo>
                    <a:lnTo>
                      <a:pt x="99" y="337"/>
                    </a:lnTo>
                    <a:lnTo>
                      <a:pt x="99" y="337"/>
                    </a:lnTo>
                    <a:lnTo>
                      <a:pt x="99" y="337"/>
                    </a:lnTo>
                    <a:lnTo>
                      <a:pt x="99" y="342"/>
                    </a:lnTo>
                    <a:lnTo>
                      <a:pt x="101" y="342"/>
                    </a:lnTo>
                    <a:lnTo>
                      <a:pt x="101" y="344"/>
                    </a:lnTo>
                    <a:lnTo>
                      <a:pt x="103" y="347"/>
                    </a:lnTo>
                    <a:lnTo>
                      <a:pt x="106" y="347"/>
                    </a:lnTo>
                    <a:lnTo>
                      <a:pt x="110" y="351"/>
                    </a:lnTo>
                    <a:lnTo>
                      <a:pt x="113" y="354"/>
                    </a:lnTo>
                    <a:lnTo>
                      <a:pt x="115" y="354"/>
                    </a:lnTo>
                    <a:lnTo>
                      <a:pt x="122" y="356"/>
                    </a:lnTo>
                    <a:lnTo>
                      <a:pt x="122" y="356"/>
                    </a:lnTo>
                    <a:lnTo>
                      <a:pt x="110" y="354"/>
                    </a:lnTo>
                    <a:lnTo>
                      <a:pt x="108" y="354"/>
                    </a:lnTo>
                    <a:lnTo>
                      <a:pt x="108" y="354"/>
                    </a:lnTo>
                    <a:lnTo>
                      <a:pt x="106" y="354"/>
                    </a:lnTo>
                    <a:lnTo>
                      <a:pt x="101" y="351"/>
                    </a:lnTo>
                    <a:lnTo>
                      <a:pt x="101" y="351"/>
                    </a:lnTo>
                    <a:lnTo>
                      <a:pt x="99" y="351"/>
                    </a:lnTo>
                    <a:lnTo>
                      <a:pt x="96" y="354"/>
                    </a:lnTo>
                    <a:lnTo>
                      <a:pt x="96" y="354"/>
                    </a:lnTo>
                    <a:lnTo>
                      <a:pt x="94" y="356"/>
                    </a:lnTo>
                    <a:lnTo>
                      <a:pt x="94" y="361"/>
                    </a:lnTo>
                    <a:lnTo>
                      <a:pt x="94" y="363"/>
                    </a:lnTo>
                    <a:lnTo>
                      <a:pt x="94" y="368"/>
                    </a:lnTo>
                    <a:lnTo>
                      <a:pt x="94" y="370"/>
                    </a:lnTo>
                    <a:lnTo>
                      <a:pt x="96" y="373"/>
                    </a:lnTo>
                    <a:lnTo>
                      <a:pt x="96" y="373"/>
                    </a:lnTo>
                    <a:lnTo>
                      <a:pt x="96" y="377"/>
                    </a:lnTo>
                    <a:lnTo>
                      <a:pt x="96" y="380"/>
                    </a:lnTo>
                    <a:lnTo>
                      <a:pt x="92" y="382"/>
                    </a:lnTo>
                    <a:lnTo>
                      <a:pt x="94" y="384"/>
                    </a:lnTo>
                    <a:lnTo>
                      <a:pt x="96" y="387"/>
                    </a:lnTo>
                    <a:lnTo>
                      <a:pt x="99" y="389"/>
                    </a:lnTo>
                    <a:lnTo>
                      <a:pt x="99" y="391"/>
                    </a:lnTo>
                    <a:lnTo>
                      <a:pt x="99" y="391"/>
                    </a:lnTo>
                    <a:lnTo>
                      <a:pt x="99" y="391"/>
                    </a:lnTo>
                    <a:lnTo>
                      <a:pt x="103" y="391"/>
                    </a:lnTo>
                    <a:lnTo>
                      <a:pt x="106" y="394"/>
                    </a:lnTo>
                    <a:lnTo>
                      <a:pt x="108" y="396"/>
                    </a:lnTo>
                    <a:lnTo>
                      <a:pt x="110" y="399"/>
                    </a:lnTo>
                    <a:lnTo>
                      <a:pt x="110" y="401"/>
                    </a:lnTo>
                    <a:lnTo>
                      <a:pt x="108" y="403"/>
                    </a:lnTo>
                    <a:lnTo>
                      <a:pt x="110" y="403"/>
                    </a:lnTo>
                    <a:lnTo>
                      <a:pt x="113" y="406"/>
                    </a:lnTo>
                    <a:lnTo>
                      <a:pt x="113" y="410"/>
                    </a:lnTo>
                    <a:lnTo>
                      <a:pt x="113" y="413"/>
                    </a:lnTo>
                    <a:lnTo>
                      <a:pt x="110" y="415"/>
                    </a:lnTo>
                    <a:lnTo>
                      <a:pt x="106" y="417"/>
                    </a:lnTo>
                    <a:lnTo>
                      <a:pt x="103" y="420"/>
                    </a:lnTo>
                    <a:lnTo>
                      <a:pt x="103" y="422"/>
                    </a:lnTo>
                    <a:lnTo>
                      <a:pt x="103" y="424"/>
                    </a:lnTo>
                    <a:lnTo>
                      <a:pt x="103" y="424"/>
                    </a:lnTo>
                    <a:lnTo>
                      <a:pt x="101" y="424"/>
                    </a:lnTo>
                    <a:lnTo>
                      <a:pt x="101" y="427"/>
                    </a:lnTo>
                    <a:lnTo>
                      <a:pt x="99" y="429"/>
                    </a:lnTo>
                    <a:lnTo>
                      <a:pt x="99" y="432"/>
                    </a:lnTo>
                    <a:lnTo>
                      <a:pt x="99" y="432"/>
                    </a:lnTo>
                    <a:lnTo>
                      <a:pt x="99" y="434"/>
                    </a:lnTo>
                    <a:lnTo>
                      <a:pt x="99" y="436"/>
                    </a:lnTo>
                    <a:lnTo>
                      <a:pt x="99" y="436"/>
                    </a:lnTo>
                    <a:lnTo>
                      <a:pt x="96" y="441"/>
                    </a:lnTo>
                    <a:lnTo>
                      <a:pt x="96" y="441"/>
                    </a:lnTo>
                    <a:lnTo>
                      <a:pt x="96" y="443"/>
                    </a:lnTo>
                    <a:lnTo>
                      <a:pt x="96" y="443"/>
                    </a:lnTo>
                    <a:lnTo>
                      <a:pt x="94" y="443"/>
                    </a:lnTo>
                    <a:lnTo>
                      <a:pt x="94" y="443"/>
                    </a:lnTo>
                    <a:lnTo>
                      <a:pt x="89" y="450"/>
                    </a:lnTo>
                    <a:lnTo>
                      <a:pt x="87" y="453"/>
                    </a:lnTo>
                    <a:lnTo>
                      <a:pt x="87" y="453"/>
                    </a:lnTo>
                    <a:lnTo>
                      <a:pt x="85" y="455"/>
                    </a:lnTo>
                    <a:lnTo>
                      <a:pt x="85" y="457"/>
                    </a:lnTo>
                    <a:lnTo>
                      <a:pt x="85" y="460"/>
                    </a:lnTo>
                    <a:lnTo>
                      <a:pt x="82" y="462"/>
                    </a:lnTo>
                    <a:lnTo>
                      <a:pt x="82" y="464"/>
                    </a:lnTo>
                    <a:lnTo>
                      <a:pt x="82" y="464"/>
                    </a:lnTo>
                    <a:lnTo>
                      <a:pt x="82" y="467"/>
                    </a:lnTo>
                    <a:lnTo>
                      <a:pt x="82" y="469"/>
                    </a:lnTo>
                    <a:lnTo>
                      <a:pt x="85" y="472"/>
                    </a:lnTo>
                    <a:lnTo>
                      <a:pt x="85" y="472"/>
                    </a:lnTo>
                    <a:lnTo>
                      <a:pt x="85" y="474"/>
                    </a:lnTo>
                    <a:lnTo>
                      <a:pt x="87" y="479"/>
                    </a:lnTo>
                    <a:lnTo>
                      <a:pt x="87" y="479"/>
                    </a:lnTo>
                    <a:lnTo>
                      <a:pt x="87" y="481"/>
                    </a:lnTo>
                    <a:lnTo>
                      <a:pt x="85" y="481"/>
                    </a:lnTo>
                    <a:lnTo>
                      <a:pt x="85" y="481"/>
                    </a:lnTo>
                    <a:lnTo>
                      <a:pt x="82" y="481"/>
                    </a:lnTo>
                    <a:lnTo>
                      <a:pt x="82" y="479"/>
                    </a:lnTo>
                    <a:lnTo>
                      <a:pt x="82" y="479"/>
                    </a:lnTo>
                    <a:lnTo>
                      <a:pt x="82" y="474"/>
                    </a:lnTo>
                    <a:lnTo>
                      <a:pt x="82" y="474"/>
                    </a:lnTo>
                    <a:lnTo>
                      <a:pt x="82" y="472"/>
                    </a:lnTo>
                    <a:lnTo>
                      <a:pt x="82" y="472"/>
                    </a:lnTo>
                    <a:lnTo>
                      <a:pt x="80" y="469"/>
                    </a:lnTo>
                    <a:lnTo>
                      <a:pt x="80" y="469"/>
                    </a:lnTo>
                    <a:lnTo>
                      <a:pt x="80" y="467"/>
                    </a:lnTo>
                    <a:lnTo>
                      <a:pt x="77" y="467"/>
                    </a:lnTo>
                    <a:lnTo>
                      <a:pt x="77" y="469"/>
                    </a:lnTo>
                    <a:lnTo>
                      <a:pt x="77" y="469"/>
                    </a:lnTo>
                    <a:lnTo>
                      <a:pt x="77" y="469"/>
                    </a:lnTo>
                    <a:lnTo>
                      <a:pt x="75" y="469"/>
                    </a:lnTo>
                    <a:lnTo>
                      <a:pt x="75" y="469"/>
                    </a:lnTo>
                    <a:lnTo>
                      <a:pt x="75" y="472"/>
                    </a:lnTo>
                    <a:lnTo>
                      <a:pt x="73" y="476"/>
                    </a:lnTo>
                    <a:lnTo>
                      <a:pt x="75" y="481"/>
                    </a:lnTo>
                    <a:lnTo>
                      <a:pt x="75" y="486"/>
                    </a:lnTo>
                    <a:lnTo>
                      <a:pt x="77" y="488"/>
                    </a:lnTo>
                    <a:lnTo>
                      <a:pt x="85" y="497"/>
                    </a:lnTo>
                    <a:lnTo>
                      <a:pt x="85" y="497"/>
                    </a:lnTo>
                    <a:lnTo>
                      <a:pt x="87" y="497"/>
                    </a:lnTo>
                    <a:lnTo>
                      <a:pt x="87" y="500"/>
                    </a:lnTo>
                    <a:lnTo>
                      <a:pt x="87" y="502"/>
                    </a:lnTo>
                    <a:lnTo>
                      <a:pt x="87" y="502"/>
                    </a:lnTo>
                    <a:lnTo>
                      <a:pt x="87" y="502"/>
                    </a:lnTo>
                    <a:lnTo>
                      <a:pt x="89" y="505"/>
                    </a:lnTo>
                    <a:lnTo>
                      <a:pt x="89" y="505"/>
                    </a:lnTo>
                    <a:lnTo>
                      <a:pt x="89" y="505"/>
                    </a:lnTo>
                    <a:lnTo>
                      <a:pt x="89" y="505"/>
                    </a:lnTo>
                    <a:lnTo>
                      <a:pt x="89" y="507"/>
                    </a:lnTo>
                    <a:lnTo>
                      <a:pt x="89" y="507"/>
                    </a:lnTo>
                    <a:lnTo>
                      <a:pt x="89" y="507"/>
                    </a:lnTo>
                    <a:lnTo>
                      <a:pt x="89" y="509"/>
                    </a:lnTo>
                    <a:lnTo>
                      <a:pt x="89" y="512"/>
                    </a:lnTo>
                    <a:lnTo>
                      <a:pt x="92" y="512"/>
                    </a:lnTo>
                    <a:lnTo>
                      <a:pt x="92" y="514"/>
                    </a:lnTo>
                    <a:lnTo>
                      <a:pt x="94" y="514"/>
                    </a:lnTo>
                    <a:lnTo>
                      <a:pt x="96" y="514"/>
                    </a:lnTo>
                    <a:lnTo>
                      <a:pt x="96" y="514"/>
                    </a:lnTo>
                    <a:lnTo>
                      <a:pt x="96" y="512"/>
                    </a:lnTo>
                    <a:lnTo>
                      <a:pt x="96" y="512"/>
                    </a:lnTo>
                    <a:lnTo>
                      <a:pt x="96" y="509"/>
                    </a:lnTo>
                    <a:lnTo>
                      <a:pt x="96" y="509"/>
                    </a:lnTo>
                    <a:lnTo>
                      <a:pt x="94" y="507"/>
                    </a:lnTo>
                    <a:lnTo>
                      <a:pt x="92" y="505"/>
                    </a:lnTo>
                    <a:lnTo>
                      <a:pt x="92" y="500"/>
                    </a:lnTo>
                    <a:lnTo>
                      <a:pt x="92" y="500"/>
                    </a:lnTo>
                    <a:lnTo>
                      <a:pt x="92" y="500"/>
                    </a:lnTo>
                    <a:lnTo>
                      <a:pt x="89" y="497"/>
                    </a:lnTo>
                    <a:lnTo>
                      <a:pt x="89" y="497"/>
                    </a:lnTo>
                    <a:lnTo>
                      <a:pt x="89" y="495"/>
                    </a:lnTo>
                    <a:lnTo>
                      <a:pt x="89" y="495"/>
                    </a:lnTo>
                    <a:lnTo>
                      <a:pt x="89" y="493"/>
                    </a:lnTo>
                    <a:lnTo>
                      <a:pt x="89" y="493"/>
                    </a:lnTo>
                    <a:lnTo>
                      <a:pt x="92" y="493"/>
                    </a:lnTo>
                    <a:lnTo>
                      <a:pt x="92" y="490"/>
                    </a:lnTo>
                    <a:lnTo>
                      <a:pt x="94" y="488"/>
                    </a:lnTo>
                    <a:lnTo>
                      <a:pt x="94" y="488"/>
                    </a:lnTo>
                    <a:lnTo>
                      <a:pt x="96" y="486"/>
                    </a:lnTo>
                    <a:lnTo>
                      <a:pt x="99" y="486"/>
                    </a:lnTo>
                    <a:lnTo>
                      <a:pt x="101" y="488"/>
                    </a:lnTo>
                    <a:lnTo>
                      <a:pt x="101" y="490"/>
                    </a:lnTo>
                    <a:lnTo>
                      <a:pt x="103" y="493"/>
                    </a:lnTo>
                    <a:lnTo>
                      <a:pt x="106" y="493"/>
                    </a:lnTo>
                    <a:lnTo>
                      <a:pt x="115" y="497"/>
                    </a:lnTo>
                    <a:lnTo>
                      <a:pt x="118" y="500"/>
                    </a:lnTo>
                    <a:lnTo>
                      <a:pt x="122" y="507"/>
                    </a:lnTo>
                    <a:lnTo>
                      <a:pt x="122" y="507"/>
                    </a:lnTo>
                    <a:lnTo>
                      <a:pt x="125" y="507"/>
                    </a:lnTo>
                    <a:lnTo>
                      <a:pt x="125" y="507"/>
                    </a:lnTo>
                    <a:lnTo>
                      <a:pt x="127" y="509"/>
                    </a:lnTo>
                    <a:lnTo>
                      <a:pt x="129" y="509"/>
                    </a:lnTo>
                    <a:lnTo>
                      <a:pt x="129" y="509"/>
                    </a:lnTo>
                    <a:lnTo>
                      <a:pt x="132" y="509"/>
                    </a:lnTo>
                    <a:lnTo>
                      <a:pt x="132" y="509"/>
                    </a:lnTo>
                    <a:lnTo>
                      <a:pt x="132" y="507"/>
                    </a:lnTo>
                    <a:lnTo>
                      <a:pt x="132" y="507"/>
                    </a:lnTo>
                    <a:lnTo>
                      <a:pt x="132" y="507"/>
                    </a:lnTo>
                    <a:lnTo>
                      <a:pt x="132" y="505"/>
                    </a:lnTo>
                    <a:lnTo>
                      <a:pt x="132" y="502"/>
                    </a:lnTo>
                    <a:lnTo>
                      <a:pt x="132" y="500"/>
                    </a:lnTo>
                    <a:lnTo>
                      <a:pt x="132" y="497"/>
                    </a:lnTo>
                    <a:lnTo>
                      <a:pt x="132" y="497"/>
                    </a:lnTo>
                    <a:lnTo>
                      <a:pt x="132" y="495"/>
                    </a:lnTo>
                    <a:lnTo>
                      <a:pt x="132" y="495"/>
                    </a:lnTo>
                    <a:lnTo>
                      <a:pt x="132" y="493"/>
                    </a:lnTo>
                    <a:lnTo>
                      <a:pt x="132" y="493"/>
                    </a:lnTo>
                    <a:lnTo>
                      <a:pt x="129" y="493"/>
                    </a:lnTo>
                    <a:lnTo>
                      <a:pt x="129" y="493"/>
                    </a:lnTo>
                    <a:lnTo>
                      <a:pt x="129" y="490"/>
                    </a:lnTo>
                    <a:lnTo>
                      <a:pt x="127" y="490"/>
                    </a:lnTo>
                    <a:lnTo>
                      <a:pt x="127" y="486"/>
                    </a:lnTo>
                    <a:lnTo>
                      <a:pt x="127" y="486"/>
                    </a:lnTo>
                    <a:lnTo>
                      <a:pt x="127" y="483"/>
                    </a:lnTo>
                    <a:lnTo>
                      <a:pt x="129" y="483"/>
                    </a:lnTo>
                    <a:lnTo>
                      <a:pt x="129" y="481"/>
                    </a:lnTo>
                    <a:lnTo>
                      <a:pt x="129" y="483"/>
                    </a:lnTo>
                    <a:lnTo>
                      <a:pt x="129" y="483"/>
                    </a:lnTo>
                    <a:lnTo>
                      <a:pt x="129" y="483"/>
                    </a:lnTo>
                    <a:lnTo>
                      <a:pt x="132" y="486"/>
                    </a:lnTo>
                    <a:lnTo>
                      <a:pt x="132" y="486"/>
                    </a:lnTo>
                    <a:lnTo>
                      <a:pt x="132" y="488"/>
                    </a:lnTo>
                    <a:lnTo>
                      <a:pt x="139" y="490"/>
                    </a:lnTo>
                    <a:lnTo>
                      <a:pt x="139" y="490"/>
                    </a:lnTo>
                    <a:lnTo>
                      <a:pt x="141" y="490"/>
                    </a:lnTo>
                    <a:lnTo>
                      <a:pt x="141" y="488"/>
                    </a:lnTo>
                    <a:lnTo>
                      <a:pt x="144" y="486"/>
                    </a:lnTo>
                    <a:lnTo>
                      <a:pt x="144" y="490"/>
                    </a:lnTo>
                    <a:lnTo>
                      <a:pt x="146" y="495"/>
                    </a:lnTo>
                    <a:lnTo>
                      <a:pt x="148" y="497"/>
                    </a:lnTo>
                    <a:lnTo>
                      <a:pt x="151" y="497"/>
                    </a:lnTo>
                    <a:lnTo>
                      <a:pt x="151" y="495"/>
                    </a:lnTo>
                    <a:lnTo>
                      <a:pt x="151" y="493"/>
                    </a:lnTo>
                    <a:lnTo>
                      <a:pt x="151" y="493"/>
                    </a:lnTo>
                    <a:lnTo>
                      <a:pt x="153" y="490"/>
                    </a:lnTo>
                    <a:lnTo>
                      <a:pt x="153" y="490"/>
                    </a:lnTo>
                    <a:lnTo>
                      <a:pt x="153" y="493"/>
                    </a:lnTo>
                    <a:lnTo>
                      <a:pt x="153" y="493"/>
                    </a:lnTo>
                    <a:lnTo>
                      <a:pt x="153" y="495"/>
                    </a:lnTo>
                    <a:lnTo>
                      <a:pt x="153" y="495"/>
                    </a:lnTo>
                    <a:lnTo>
                      <a:pt x="153" y="497"/>
                    </a:lnTo>
                    <a:lnTo>
                      <a:pt x="153" y="497"/>
                    </a:lnTo>
                    <a:lnTo>
                      <a:pt x="153" y="497"/>
                    </a:lnTo>
                    <a:lnTo>
                      <a:pt x="153" y="497"/>
                    </a:lnTo>
                    <a:lnTo>
                      <a:pt x="153" y="497"/>
                    </a:lnTo>
                    <a:lnTo>
                      <a:pt x="153" y="497"/>
                    </a:lnTo>
                    <a:lnTo>
                      <a:pt x="155" y="497"/>
                    </a:lnTo>
                    <a:lnTo>
                      <a:pt x="160" y="497"/>
                    </a:lnTo>
                    <a:lnTo>
                      <a:pt x="165" y="495"/>
                    </a:lnTo>
                    <a:lnTo>
                      <a:pt x="169" y="493"/>
                    </a:lnTo>
                    <a:lnTo>
                      <a:pt x="169" y="493"/>
                    </a:lnTo>
                    <a:lnTo>
                      <a:pt x="167" y="490"/>
                    </a:lnTo>
                    <a:lnTo>
                      <a:pt x="169" y="488"/>
                    </a:lnTo>
                    <a:lnTo>
                      <a:pt x="169" y="488"/>
                    </a:lnTo>
                    <a:lnTo>
                      <a:pt x="169" y="486"/>
                    </a:lnTo>
                    <a:lnTo>
                      <a:pt x="169" y="486"/>
                    </a:lnTo>
                    <a:lnTo>
                      <a:pt x="169" y="483"/>
                    </a:lnTo>
                    <a:lnTo>
                      <a:pt x="169" y="486"/>
                    </a:lnTo>
                    <a:lnTo>
                      <a:pt x="169" y="486"/>
                    </a:lnTo>
                    <a:lnTo>
                      <a:pt x="169" y="486"/>
                    </a:lnTo>
                    <a:lnTo>
                      <a:pt x="169" y="486"/>
                    </a:lnTo>
                    <a:lnTo>
                      <a:pt x="169" y="486"/>
                    </a:lnTo>
                    <a:lnTo>
                      <a:pt x="169" y="486"/>
                    </a:lnTo>
                    <a:lnTo>
                      <a:pt x="169" y="488"/>
                    </a:lnTo>
                    <a:lnTo>
                      <a:pt x="169" y="488"/>
                    </a:lnTo>
                    <a:lnTo>
                      <a:pt x="169" y="488"/>
                    </a:lnTo>
                    <a:lnTo>
                      <a:pt x="172" y="488"/>
                    </a:lnTo>
                    <a:lnTo>
                      <a:pt x="169" y="488"/>
                    </a:lnTo>
                    <a:lnTo>
                      <a:pt x="169" y="486"/>
                    </a:lnTo>
                    <a:lnTo>
                      <a:pt x="177" y="488"/>
                    </a:lnTo>
                    <a:lnTo>
                      <a:pt x="177" y="486"/>
                    </a:lnTo>
                    <a:lnTo>
                      <a:pt x="179" y="486"/>
                    </a:lnTo>
                    <a:lnTo>
                      <a:pt x="186" y="486"/>
                    </a:lnTo>
                    <a:lnTo>
                      <a:pt x="186" y="483"/>
                    </a:lnTo>
                    <a:lnTo>
                      <a:pt x="188" y="483"/>
                    </a:lnTo>
                    <a:lnTo>
                      <a:pt x="188" y="481"/>
                    </a:lnTo>
                    <a:lnTo>
                      <a:pt x="188" y="479"/>
                    </a:lnTo>
                    <a:lnTo>
                      <a:pt x="186" y="476"/>
                    </a:lnTo>
                    <a:lnTo>
                      <a:pt x="186" y="474"/>
                    </a:lnTo>
                    <a:lnTo>
                      <a:pt x="188" y="472"/>
                    </a:lnTo>
                    <a:lnTo>
                      <a:pt x="191" y="474"/>
                    </a:lnTo>
                    <a:lnTo>
                      <a:pt x="191" y="474"/>
                    </a:lnTo>
                    <a:lnTo>
                      <a:pt x="191" y="474"/>
                    </a:lnTo>
                    <a:lnTo>
                      <a:pt x="191" y="472"/>
                    </a:lnTo>
                    <a:lnTo>
                      <a:pt x="191" y="472"/>
                    </a:lnTo>
                    <a:lnTo>
                      <a:pt x="193" y="472"/>
                    </a:lnTo>
                    <a:lnTo>
                      <a:pt x="193" y="472"/>
                    </a:lnTo>
                    <a:lnTo>
                      <a:pt x="195" y="472"/>
                    </a:lnTo>
                    <a:lnTo>
                      <a:pt x="195" y="474"/>
                    </a:lnTo>
                    <a:lnTo>
                      <a:pt x="219" y="474"/>
                    </a:lnTo>
                    <a:lnTo>
                      <a:pt x="224" y="474"/>
                    </a:lnTo>
                    <a:lnTo>
                      <a:pt x="224" y="472"/>
                    </a:lnTo>
                    <a:lnTo>
                      <a:pt x="226" y="474"/>
                    </a:lnTo>
                    <a:lnTo>
                      <a:pt x="226" y="474"/>
                    </a:lnTo>
                    <a:lnTo>
                      <a:pt x="224" y="474"/>
                    </a:lnTo>
                    <a:lnTo>
                      <a:pt x="224" y="474"/>
                    </a:lnTo>
                    <a:lnTo>
                      <a:pt x="224" y="476"/>
                    </a:lnTo>
                    <a:lnTo>
                      <a:pt x="221" y="476"/>
                    </a:lnTo>
                    <a:lnTo>
                      <a:pt x="221" y="476"/>
                    </a:lnTo>
                    <a:lnTo>
                      <a:pt x="226" y="476"/>
                    </a:lnTo>
                    <a:lnTo>
                      <a:pt x="224" y="476"/>
                    </a:lnTo>
                    <a:lnTo>
                      <a:pt x="219" y="479"/>
                    </a:lnTo>
                    <a:lnTo>
                      <a:pt x="217" y="479"/>
                    </a:lnTo>
                    <a:lnTo>
                      <a:pt x="214" y="479"/>
                    </a:lnTo>
                    <a:lnTo>
                      <a:pt x="214" y="476"/>
                    </a:lnTo>
                    <a:lnTo>
                      <a:pt x="214" y="476"/>
                    </a:lnTo>
                    <a:lnTo>
                      <a:pt x="214" y="476"/>
                    </a:lnTo>
                    <a:lnTo>
                      <a:pt x="212" y="476"/>
                    </a:lnTo>
                    <a:lnTo>
                      <a:pt x="207" y="476"/>
                    </a:lnTo>
                    <a:lnTo>
                      <a:pt x="207" y="479"/>
                    </a:lnTo>
                    <a:lnTo>
                      <a:pt x="205" y="481"/>
                    </a:lnTo>
                    <a:lnTo>
                      <a:pt x="210" y="483"/>
                    </a:lnTo>
                    <a:lnTo>
                      <a:pt x="210" y="483"/>
                    </a:lnTo>
                    <a:lnTo>
                      <a:pt x="207" y="483"/>
                    </a:lnTo>
                    <a:lnTo>
                      <a:pt x="207" y="483"/>
                    </a:lnTo>
                    <a:lnTo>
                      <a:pt x="205" y="483"/>
                    </a:lnTo>
                    <a:lnTo>
                      <a:pt x="205" y="483"/>
                    </a:lnTo>
                    <a:lnTo>
                      <a:pt x="203" y="483"/>
                    </a:lnTo>
                    <a:lnTo>
                      <a:pt x="203" y="483"/>
                    </a:lnTo>
                    <a:lnTo>
                      <a:pt x="200" y="486"/>
                    </a:lnTo>
                    <a:lnTo>
                      <a:pt x="200" y="488"/>
                    </a:lnTo>
                    <a:lnTo>
                      <a:pt x="198" y="495"/>
                    </a:lnTo>
                    <a:lnTo>
                      <a:pt x="198" y="497"/>
                    </a:lnTo>
                    <a:lnTo>
                      <a:pt x="198" y="500"/>
                    </a:lnTo>
                    <a:lnTo>
                      <a:pt x="195" y="502"/>
                    </a:lnTo>
                    <a:lnTo>
                      <a:pt x="195" y="502"/>
                    </a:lnTo>
                    <a:lnTo>
                      <a:pt x="193" y="505"/>
                    </a:lnTo>
                    <a:lnTo>
                      <a:pt x="193" y="505"/>
                    </a:lnTo>
                    <a:lnTo>
                      <a:pt x="191" y="505"/>
                    </a:lnTo>
                    <a:lnTo>
                      <a:pt x="191" y="505"/>
                    </a:lnTo>
                    <a:lnTo>
                      <a:pt x="191" y="509"/>
                    </a:lnTo>
                    <a:lnTo>
                      <a:pt x="188" y="514"/>
                    </a:lnTo>
                    <a:lnTo>
                      <a:pt x="186" y="523"/>
                    </a:lnTo>
                    <a:lnTo>
                      <a:pt x="184" y="528"/>
                    </a:lnTo>
                    <a:lnTo>
                      <a:pt x="184" y="528"/>
                    </a:lnTo>
                    <a:lnTo>
                      <a:pt x="184" y="528"/>
                    </a:lnTo>
                    <a:lnTo>
                      <a:pt x="184" y="530"/>
                    </a:lnTo>
                    <a:lnTo>
                      <a:pt x="184" y="530"/>
                    </a:lnTo>
                    <a:lnTo>
                      <a:pt x="184" y="533"/>
                    </a:lnTo>
                    <a:lnTo>
                      <a:pt x="184" y="533"/>
                    </a:lnTo>
                    <a:lnTo>
                      <a:pt x="186" y="533"/>
                    </a:lnTo>
                    <a:lnTo>
                      <a:pt x="193" y="542"/>
                    </a:lnTo>
                    <a:lnTo>
                      <a:pt x="193" y="545"/>
                    </a:lnTo>
                    <a:lnTo>
                      <a:pt x="198" y="549"/>
                    </a:lnTo>
                    <a:lnTo>
                      <a:pt x="198" y="549"/>
                    </a:lnTo>
                    <a:lnTo>
                      <a:pt x="198" y="549"/>
                    </a:lnTo>
                    <a:lnTo>
                      <a:pt x="198" y="552"/>
                    </a:lnTo>
                    <a:lnTo>
                      <a:pt x="200" y="554"/>
                    </a:lnTo>
                    <a:lnTo>
                      <a:pt x="200" y="554"/>
                    </a:lnTo>
                    <a:lnTo>
                      <a:pt x="198" y="554"/>
                    </a:lnTo>
                    <a:lnTo>
                      <a:pt x="198" y="556"/>
                    </a:lnTo>
                    <a:lnTo>
                      <a:pt x="200" y="559"/>
                    </a:lnTo>
                    <a:lnTo>
                      <a:pt x="200" y="559"/>
                    </a:lnTo>
                    <a:lnTo>
                      <a:pt x="203" y="561"/>
                    </a:lnTo>
                    <a:lnTo>
                      <a:pt x="205" y="566"/>
                    </a:lnTo>
                    <a:lnTo>
                      <a:pt x="207" y="568"/>
                    </a:lnTo>
                    <a:lnTo>
                      <a:pt x="207" y="568"/>
                    </a:lnTo>
                    <a:lnTo>
                      <a:pt x="210" y="568"/>
                    </a:lnTo>
                    <a:lnTo>
                      <a:pt x="210" y="568"/>
                    </a:lnTo>
                    <a:lnTo>
                      <a:pt x="212" y="566"/>
                    </a:lnTo>
                    <a:lnTo>
                      <a:pt x="210" y="563"/>
                    </a:lnTo>
                    <a:lnTo>
                      <a:pt x="212" y="561"/>
                    </a:lnTo>
                    <a:lnTo>
                      <a:pt x="212" y="561"/>
                    </a:lnTo>
                    <a:lnTo>
                      <a:pt x="214" y="559"/>
                    </a:lnTo>
                    <a:lnTo>
                      <a:pt x="212" y="561"/>
                    </a:lnTo>
                    <a:lnTo>
                      <a:pt x="214" y="566"/>
                    </a:lnTo>
                    <a:lnTo>
                      <a:pt x="212" y="571"/>
                    </a:lnTo>
                    <a:lnTo>
                      <a:pt x="210" y="571"/>
                    </a:lnTo>
                    <a:lnTo>
                      <a:pt x="210" y="571"/>
                    </a:lnTo>
                    <a:lnTo>
                      <a:pt x="212" y="573"/>
                    </a:lnTo>
                    <a:lnTo>
                      <a:pt x="212" y="573"/>
                    </a:lnTo>
                    <a:lnTo>
                      <a:pt x="212" y="575"/>
                    </a:lnTo>
                    <a:lnTo>
                      <a:pt x="210" y="578"/>
                    </a:lnTo>
                    <a:lnTo>
                      <a:pt x="212" y="578"/>
                    </a:lnTo>
                    <a:lnTo>
                      <a:pt x="212" y="580"/>
                    </a:lnTo>
                    <a:lnTo>
                      <a:pt x="214" y="580"/>
                    </a:lnTo>
                    <a:lnTo>
                      <a:pt x="214" y="580"/>
                    </a:lnTo>
                    <a:lnTo>
                      <a:pt x="214" y="580"/>
                    </a:lnTo>
                    <a:lnTo>
                      <a:pt x="217" y="582"/>
                    </a:lnTo>
                    <a:lnTo>
                      <a:pt x="217" y="582"/>
                    </a:lnTo>
                    <a:lnTo>
                      <a:pt x="217" y="580"/>
                    </a:lnTo>
                    <a:lnTo>
                      <a:pt x="217" y="580"/>
                    </a:lnTo>
                    <a:lnTo>
                      <a:pt x="219" y="578"/>
                    </a:lnTo>
                    <a:lnTo>
                      <a:pt x="219" y="578"/>
                    </a:lnTo>
                    <a:lnTo>
                      <a:pt x="221" y="575"/>
                    </a:lnTo>
                    <a:lnTo>
                      <a:pt x="224" y="571"/>
                    </a:lnTo>
                    <a:lnTo>
                      <a:pt x="224" y="571"/>
                    </a:lnTo>
                    <a:lnTo>
                      <a:pt x="224" y="568"/>
                    </a:lnTo>
                    <a:lnTo>
                      <a:pt x="224" y="568"/>
                    </a:lnTo>
                    <a:lnTo>
                      <a:pt x="224" y="566"/>
                    </a:lnTo>
                    <a:lnTo>
                      <a:pt x="224" y="563"/>
                    </a:lnTo>
                    <a:lnTo>
                      <a:pt x="226" y="563"/>
                    </a:lnTo>
                    <a:lnTo>
                      <a:pt x="226" y="563"/>
                    </a:lnTo>
                    <a:lnTo>
                      <a:pt x="226" y="566"/>
                    </a:lnTo>
                    <a:lnTo>
                      <a:pt x="226" y="568"/>
                    </a:lnTo>
                    <a:lnTo>
                      <a:pt x="226" y="568"/>
                    </a:lnTo>
                    <a:lnTo>
                      <a:pt x="226" y="571"/>
                    </a:lnTo>
                    <a:lnTo>
                      <a:pt x="228" y="573"/>
                    </a:lnTo>
                    <a:lnTo>
                      <a:pt x="228" y="573"/>
                    </a:lnTo>
                    <a:lnTo>
                      <a:pt x="231" y="573"/>
                    </a:lnTo>
                    <a:lnTo>
                      <a:pt x="233" y="571"/>
                    </a:lnTo>
                    <a:lnTo>
                      <a:pt x="233" y="571"/>
                    </a:lnTo>
                    <a:lnTo>
                      <a:pt x="236" y="568"/>
                    </a:lnTo>
                    <a:lnTo>
                      <a:pt x="236" y="568"/>
                    </a:lnTo>
                    <a:lnTo>
                      <a:pt x="238" y="566"/>
                    </a:lnTo>
                    <a:lnTo>
                      <a:pt x="240" y="563"/>
                    </a:lnTo>
                    <a:lnTo>
                      <a:pt x="240" y="563"/>
                    </a:lnTo>
                    <a:lnTo>
                      <a:pt x="243" y="561"/>
                    </a:lnTo>
                    <a:lnTo>
                      <a:pt x="243" y="561"/>
                    </a:lnTo>
                    <a:lnTo>
                      <a:pt x="243" y="563"/>
                    </a:lnTo>
                    <a:lnTo>
                      <a:pt x="240" y="566"/>
                    </a:lnTo>
                    <a:lnTo>
                      <a:pt x="240" y="568"/>
                    </a:lnTo>
                    <a:lnTo>
                      <a:pt x="238" y="568"/>
                    </a:lnTo>
                    <a:lnTo>
                      <a:pt x="238" y="568"/>
                    </a:lnTo>
                    <a:lnTo>
                      <a:pt x="238" y="571"/>
                    </a:lnTo>
                    <a:lnTo>
                      <a:pt x="240" y="575"/>
                    </a:lnTo>
                    <a:lnTo>
                      <a:pt x="243" y="575"/>
                    </a:lnTo>
                    <a:lnTo>
                      <a:pt x="240" y="580"/>
                    </a:lnTo>
                    <a:lnTo>
                      <a:pt x="240" y="580"/>
                    </a:lnTo>
                    <a:lnTo>
                      <a:pt x="238" y="582"/>
                    </a:lnTo>
                    <a:lnTo>
                      <a:pt x="238" y="582"/>
                    </a:lnTo>
                    <a:lnTo>
                      <a:pt x="236" y="585"/>
                    </a:lnTo>
                    <a:lnTo>
                      <a:pt x="236" y="585"/>
                    </a:lnTo>
                    <a:lnTo>
                      <a:pt x="233" y="587"/>
                    </a:lnTo>
                    <a:lnTo>
                      <a:pt x="233" y="587"/>
                    </a:lnTo>
                    <a:lnTo>
                      <a:pt x="233" y="587"/>
                    </a:lnTo>
                    <a:lnTo>
                      <a:pt x="236" y="589"/>
                    </a:lnTo>
                    <a:lnTo>
                      <a:pt x="236" y="592"/>
                    </a:lnTo>
                    <a:lnTo>
                      <a:pt x="238" y="589"/>
                    </a:lnTo>
                    <a:lnTo>
                      <a:pt x="238" y="589"/>
                    </a:lnTo>
                    <a:lnTo>
                      <a:pt x="240" y="589"/>
                    </a:lnTo>
                    <a:lnTo>
                      <a:pt x="240" y="592"/>
                    </a:lnTo>
                    <a:lnTo>
                      <a:pt x="238" y="594"/>
                    </a:lnTo>
                    <a:lnTo>
                      <a:pt x="238" y="594"/>
                    </a:lnTo>
                    <a:lnTo>
                      <a:pt x="238" y="594"/>
                    </a:lnTo>
                    <a:lnTo>
                      <a:pt x="236" y="596"/>
                    </a:lnTo>
                    <a:lnTo>
                      <a:pt x="236" y="596"/>
                    </a:lnTo>
                    <a:lnTo>
                      <a:pt x="236" y="596"/>
                    </a:lnTo>
                    <a:lnTo>
                      <a:pt x="236" y="596"/>
                    </a:lnTo>
                    <a:lnTo>
                      <a:pt x="236" y="596"/>
                    </a:lnTo>
                    <a:lnTo>
                      <a:pt x="233" y="596"/>
                    </a:lnTo>
                    <a:lnTo>
                      <a:pt x="233" y="596"/>
                    </a:lnTo>
                    <a:lnTo>
                      <a:pt x="226" y="599"/>
                    </a:lnTo>
                    <a:lnTo>
                      <a:pt x="224" y="601"/>
                    </a:lnTo>
                    <a:lnTo>
                      <a:pt x="224" y="604"/>
                    </a:lnTo>
                    <a:lnTo>
                      <a:pt x="224" y="606"/>
                    </a:lnTo>
                    <a:lnTo>
                      <a:pt x="224" y="615"/>
                    </a:lnTo>
                    <a:lnTo>
                      <a:pt x="224" y="618"/>
                    </a:lnTo>
                    <a:lnTo>
                      <a:pt x="226" y="620"/>
                    </a:lnTo>
                    <a:lnTo>
                      <a:pt x="228" y="622"/>
                    </a:lnTo>
                    <a:lnTo>
                      <a:pt x="236" y="622"/>
                    </a:lnTo>
                    <a:lnTo>
                      <a:pt x="233" y="625"/>
                    </a:lnTo>
                    <a:lnTo>
                      <a:pt x="231" y="625"/>
                    </a:lnTo>
                    <a:lnTo>
                      <a:pt x="231" y="627"/>
                    </a:lnTo>
                    <a:lnTo>
                      <a:pt x="231" y="627"/>
                    </a:lnTo>
                    <a:lnTo>
                      <a:pt x="226" y="632"/>
                    </a:lnTo>
                    <a:lnTo>
                      <a:pt x="221" y="639"/>
                    </a:lnTo>
                    <a:lnTo>
                      <a:pt x="221" y="641"/>
                    </a:lnTo>
                    <a:lnTo>
                      <a:pt x="221" y="644"/>
                    </a:lnTo>
                    <a:lnTo>
                      <a:pt x="221" y="646"/>
                    </a:lnTo>
                    <a:lnTo>
                      <a:pt x="228" y="662"/>
                    </a:lnTo>
                    <a:lnTo>
                      <a:pt x="231" y="665"/>
                    </a:lnTo>
                    <a:lnTo>
                      <a:pt x="233" y="667"/>
                    </a:lnTo>
                    <a:lnTo>
                      <a:pt x="236" y="669"/>
                    </a:lnTo>
                    <a:lnTo>
                      <a:pt x="238" y="672"/>
                    </a:lnTo>
                    <a:lnTo>
                      <a:pt x="240" y="672"/>
                    </a:lnTo>
                    <a:lnTo>
                      <a:pt x="243" y="672"/>
                    </a:lnTo>
                    <a:lnTo>
                      <a:pt x="243" y="669"/>
                    </a:lnTo>
                    <a:lnTo>
                      <a:pt x="243" y="669"/>
                    </a:lnTo>
                    <a:lnTo>
                      <a:pt x="245" y="667"/>
                    </a:lnTo>
                    <a:lnTo>
                      <a:pt x="247" y="667"/>
                    </a:lnTo>
                    <a:lnTo>
                      <a:pt x="250" y="667"/>
                    </a:lnTo>
                    <a:lnTo>
                      <a:pt x="247" y="667"/>
                    </a:lnTo>
                    <a:lnTo>
                      <a:pt x="247" y="669"/>
                    </a:lnTo>
                    <a:lnTo>
                      <a:pt x="247" y="669"/>
                    </a:lnTo>
                    <a:lnTo>
                      <a:pt x="247" y="667"/>
                    </a:lnTo>
                    <a:lnTo>
                      <a:pt x="245" y="669"/>
                    </a:lnTo>
                    <a:lnTo>
                      <a:pt x="245" y="669"/>
                    </a:lnTo>
                    <a:lnTo>
                      <a:pt x="245" y="672"/>
                    </a:lnTo>
                    <a:lnTo>
                      <a:pt x="245" y="672"/>
                    </a:lnTo>
                    <a:lnTo>
                      <a:pt x="243" y="674"/>
                    </a:lnTo>
                    <a:lnTo>
                      <a:pt x="243" y="674"/>
                    </a:lnTo>
                    <a:lnTo>
                      <a:pt x="240" y="674"/>
                    </a:lnTo>
                    <a:lnTo>
                      <a:pt x="240" y="674"/>
                    </a:lnTo>
                    <a:lnTo>
                      <a:pt x="240" y="674"/>
                    </a:lnTo>
                    <a:lnTo>
                      <a:pt x="238" y="674"/>
                    </a:lnTo>
                    <a:lnTo>
                      <a:pt x="238" y="674"/>
                    </a:lnTo>
                    <a:lnTo>
                      <a:pt x="238" y="674"/>
                    </a:lnTo>
                    <a:lnTo>
                      <a:pt x="238" y="674"/>
                    </a:lnTo>
                    <a:lnTo>
                      <a:pt x="236" y="674"/>
                    </a:lnTo>
                    <a:lnTo>
                      <a:pt x="233" y="674"/>
                    </a:lnTo>
                    <a:lnTo>
                      <a:pt x="233" y="672"/>
                    </a:lnTo>
                    <a:lnTo>
                      <a:pt x="231" y="672"/>
                    </a:lnTo>
                    <a:lnTo>
                      <a:pt x="226" y="660"/>
                    </a:lnTo>
                    <a:lnTo>
                      <a:pt x="226" y="658"/>
                    </a:lnTo>
                    <a:lnTo>
                      <a:pt x="224" y="658"/>
                    </a:lnTo>
                    <a:lnTo>
                      <a:pt x="221" y="660"/>
                    </a:lnTo>
                    <a:lnTo>
                      <a:pt x="219" y="660"/>
                    </a:lnTo>
                    <a:lnTo>
                      <a:pt x="217" y="660"/>
                    </a:lnTo>
                    <a:lnTo>
                      <a:pt x="214" y="662"/>
                    </a:lnTo>
                    <a:lnTo>
                      <a:pt x="214" y="662"/>
                    </a:lnTo>
                    <a:lnTo>
                      <a:pt x="214" y="665"/>
                    </a:lnTo>
                    <a:lnTo>
                      <a:pt x="214" y="667"/>
                    </a:lnTo>
                    <a:lnTo>
                      <a:pt x="219" y="669"/>
                    </a:lnTo>
                    <a:lnTo>
                      <a:pt x="219" y="674"/>
                    </a:lnTo>
                    <a:lnTo>
                      <a:pt x="221" y="674"/>
                    </a:lnTo>
                    <a:lnTo>
                      <a:pt x="221" y="677"/>
                    </a:lnTo>
                    <a:lnTo>
                      <a:pt x="221" y="681"/>
                    </a:lnTo>
                    <a:lnTo>
                      <a:pt x="221" y="681"/>
                    </a:lnTo>
                    <a:lnTo>
                      <a:pt x="221" y="681"/>
                    </a:lnTo>
                    <a:lnTo>
                      <a:pt x="219" y="679"/>
                    </a:lnTo>
                    <a:lnTo>
                      <a:pt x="219" y="679"/>
                    </a:lnTo>
                    <a:lnTo>
                      <a:pt x="210" y="672"/>
                    </a:lnTo>
                    <a:lnTo>
                      <a:pt x="210" y="672"/>
                    </a:lnTo>
                    <a:lnTo>
                      <a:pt x="207" y="669"/>
                    </a:lnTo>
                    <a:lnTo>
                      <a:pt x="207" y="669"/>
                    </a:lnTo>
                    <a:lnTo>
                      <a:pt x="205" y="667"/>
                    </a:lnTo>
                    <a:lnTo>
                      <a:pt x="200" y="667"/>
                    </a:lnTo>
                    <a:lnTo>
                      <a:pt x="188" y="674"/>
                    </a:lnTo>
                    <a:lnTo>
                      <a:pt x="186" y="674"/>
                    </a:lnTo>
                    <a:lnTo>
                      <a:pt x="177" y="674"/>
                    </a:lnTo>
                    <a:lnTo>
                      <a:pt x="177" y="674"/>
                    </a:lnTo>
                    <a:lnTo>
                      <a:pt x="174" y="672"/>
                    </a:lnTo>
                    <a:lnTo>
                      <a:pt x="174" y="672"/>
                    </a:lnTo>
                    <a:lnTo>
                      <a:pt x="172" y="672"/>
                    </a:lnTo>
                    <a:lnTo>
                      <a:pt x="169" y="672"/>
                    </a:lnTo>
                    <a:lnTo>
                      <a:pt x="169" y="669"/>
                    </a:lnTo>
                    <a:lnTo>
                      <a:pt x="169" y="669"/>
                    </a:lnTo>
                    <a:lnTo>
                      <a:pt x="167" y="669"/>
                    </a:lnTo>
                    <a:lnTo>
                      <a:pt x="165" y="669"/>
                    </a:lnTo>
                    <a:lnTo>
                      <a:pt x="167" y="669"/>
                    </a:lnTo>
                    <a:lnTo>
                      <a:pt x="169" y="672"/>
                    </a:lnTo>
                    <a:lnTo>
                      <a:pt x="169" y="674"/>
                    </a:lnTo>
                    <a:lnTo>
                      <a:pt x="167" y="674"/>
                    </a:lnTo>
                    <a:lnTo>
                      <a:pt x="160" y="679"/>
                    </a:lnTo>
                    <a:lnTo>
                      <a:pt x="155" y="681"/>
                    </a:lnTo>
                    <a:lnTo>
                      <a:pt x="155" y="681"/>
                    </a:lnTo>
                    <a:lnTo>
                      <a:pt x="153" y="681"/>
                    </a:lnTo>
                    <a:lnTo>
                      <a:pt x="153" y="681"/>
                    </a:lnTo>
                    <a:lnTo>
                      <a:pt x="153" y="681"/>
                    </a:lnTo>
                    <a:lnTo>
                      <a:pt x="151" y="681"/>
                    </a:lnTo>
                    <a:lnTo>
                      <a:pt x="151" y="681"/>
                    </a:lnTo>
                    <a:lnTo>
                      <a:pt x="148" y="681"/>
                    </a:lnTo>
                    <a:lnTo>
                      <a:pt x="146" y="681"/>
                    </a:lnTo>
                    <a:lnTo>
                      <a:pt x="144" y="684"/>
                    </a:lnTo>
                    <a:lnTo>
                      <a:pt x="144" y="686"/>
                    </a:lnTo>
                    <a:lnTo>
                      <a:pt x="141" y="688"/>
                    </a:lnTo>
                    <a:lnTo>
                      <a:pt x="141" y="688"/>
                    </a:lnTo>
                    <a:lnTo>
                      <a:pt x="139" y="691"/>
                    </a:lnTo>
                    <a:lnTo>
                      <a:pt x="139" y="691"/>
                    </a:lnTo>
                    <a:lnTo>
                      <a:pt x="136" y="693"/>
                    </a:lnTo>
                    <a:lnTo>
                      <a:pt x="136" y="695"/>
                    </a:lnTo>
                    <a:lnTo>
                      <a:pt x="134" y="695"/>
                    </a:lnTo>
                    <a:lnTo>
                      <a:pt x="134" y="698"/>
                    </a:lnTo>
                    <a:lnTo>
                      <a:pt x="134" y="695"/>
                    </a:lnTo>
                    <a:lnTo>
                      <a:pt x="134" y="695"/>
                    </a:lnTo>
                    <a:lnTo>
                      <a:pt x="134" y="695"/>
                    </a:lnTo>
                    <a:lnTo>
                      <a:pt x="134" y="695"/>
                    </a:lnTo>
                    <a:lnTo>
                      <a:pt x="132" y="698"/>
                    </a:lnTo>
                    <a:lnTo>
                      <a:pt x="132" y="702"/>
                    </a:lnTo>
                    <a:lnTo>
                      <a:pt x="132" y="705"/>
                    </a:lnTo>
                    <a:lnTo>
                      <a:pt x="132" y="705"/>
                    </a:lnTo>
                    <a:lnTo>
                      <a:pt x="127" y="710"/>
                    </a:lnTo>
                    <a:lnTo>
                      <a:pt x="125" y="710"/>
                    </a:lnTo>
                    <a:lnTo>
                      <a:pt x="120" y="714"/>
                    </a:lnTo>
                    <a:lnTo>
                      <a:pt x="118" y="717"/>
                    </a:lnTo>
                    <a:lnTo>
                      <a:pt x="118" y="717"/>
                    </a:lnTo>
                    <a:lnTo>
                      <a:pt x="115" y="717"/>
                    </a:lnTo>
                    <a:lnTo>
                      <a:pt x="115" y="717"/>
                    </a:lnTo>
                    <a:lnTo>
                      <a:pt x="106" y="728"/>
                    </a:lnTo>
                    <a:lnTo>
                      <a:pt x="103" y="731"/>
                    </a:lnTo>
                    <a:lnTo>
                      <a:pt x="103" y="731"/>
                    </a:lnTo>
                    <a:lnTo>
                      <a:pt x="103" y="731"/>
                    </a:lnTo>
                    <a:lnTo>
                      <a:pt x="103" y="731"/>
                    </a:lnTo>
                    <a:lnTo>
                      <a:pt x="103" y="733"/>
                    </a:lnTo>
                    <a:lnTo>
                      <a:pt x="103" y="733"/>
                    </a:lnTo>
                    <a:lnTo>
                      <a:pt x="106" y="733"/>
                    </a:lnTo>
                    <a:lnTo>
                      <a:pt x="106" y="733"/>
                    </a:lnTo>
                    <a:lnTo>
                      <a:pt x="108" y="731"/>
                    </a:lnTo>
                    <a:lnTo>
                      <a:pt x="110" y="731"/>
                    </a:lnTo>
                    <a:lnTo>
                      <a:pt x="113" y="731"/>
                    </a:lnTo>
                    <a:lnTo>
                      <a:pt x="113" y="731"/>
                    </a:lnTo>
                    <a:lnTo>
                      <a:pt x="113" y="731"/>
                    </a:lnTo>
                    <a:lnTo>
                      <a:pt x="115" y="731"/>
                    </a:lnTo>
                    <a:lnTo>
                      <a:pt x="115" y="731"/>
                    </a:lnTo>
                    <a:lnTo>
                      <a:pt x="115" y="731"/>
                    </a:lnTo>
                    <a:lnTo>
                      <a:pt x="118" y="731"/>
                    </a:lnTo>
                    <a:lnTo>
                      <a:pt x="120" y="731"/>
                    </a:lnTo>
                    <a:lnTo>
                      <a:pt x="120" y="733"/>
                    </a:lnTo>
                    <a:lnTo>
                      <a:pt x="120" y="733"/>
                    </a:lnTo>
                    <a:lnTo>
                      <a:pt x="122" y="733"/>
                    </a:lnTo>
                    <a:lnTo>
                      <a:pt x="122" y="733"/>
                    </a:lnTo>
                    <a:lnTo>
                      <a:pt x="122" y="731"/>
                    </a:lnTo>
                    <a:lnTo>
                      <a:pt x="122" y="731"/>
                    </a:lnTo>
                    <a:lnTo>
                      <a:pt x="122" y="728"/>
                    </a:lnTo>
                    <a:lnTo>
                      <a:pt x="122" y="728"/>
                    </a:lnTo>
                    <a:lnTo>
                      <a:pt x="122" y="726"/>
                    </a:lnTo>
                    <a:lnTo>
                      <a:pt x="122" y="726"/>
                    </a:lnTo>
                    <a:lnTo>
                      <a:pt x="122" y="726"/>
                    </a:lnTo>
                    <a:lnTo>
                      <a:pt x="125" y="724"/>
                    </a:lnTo>
                    <a:lnTo>
                      <a:pt x="127" y="721"/>
                    </a:lnTo>
                    <a:lnTo>
                      <a:pt x="129" y="721"/>
                    </a:lnTo>
                    <a:lnTo>
                      <a:pt x="134" y="721"/>
                    </a:lnTo>
                    <a:lnTo>
                      <a:pt x="134" y="721"/>
                    </a:lnTo>
                    <a:lnTo>
                      <a:pt x="136" y="719"/>
                    </a:lnTo>
                    <a:lnTo>
                      <a:pt x="141" y="719"/>
                    </a:lnTo>
                    <a:lnTo>
                      <a:pt x="146" y="719"/>
                    </a:lnTo>
                    <a:lnTo>
                      <a:pt x="146" y="719"/>
                    </a:lnTo>
                    <a:lnTo>
                      <a:pt x="148" y="717"/>
                    </a:lnTo>
                    <a:lnTo>
                      <a:pt x="148" y="719"/>
                    </a:lnTo>
                    <a:lnTo>
                      <a:pt x="151" y="719"/>
                    </a:lnTo>
                    <a:lnTo>
                      <a:pt x="151" y="719"/>
                    </a:lnTo>
                    <a:lnTo>
                      <a:pt x="151" y="717"/>
                    </a:lnTo>
                    <a:lnTo>
                      <a:pt x="153" y="717"/>
                    </a:lnTo>
                    <a:lnTo>
                      <a:pt x="153" y="719"/>
                    </a:lnTo>
                    <a:lnTo>
                      <a:pt x="148" y="721"/>
                    </a:lnTo>
                    <a:lnTo>
                      <a:pt x="148" y="721"/>
                    </a:lnTo>
                    <a:lnTo>
                      <a:pt x="148" y="721"/>
                    </a:lnTo>
                    <a:lnTo>
                      <a:pt x="148" y="724"/>
                    </a:lnTo>
                    <a:lnTo>
                      <a:pt x="148" y="724"/>
                    </a:lnTo>
                    <a:lnTo>
                      <a:pt x="148" y="726"/>
                    </a:lnTo>
                    <a:lnTo>
                      <a:pt x="148" y="728"/>
                    </a:lnTo>
                    <a:lnTo>
                      <a:pt x="148" y="728"/>
                    </a:lnTo>
                    <a:lnTo>
                      <a:pt x="146" y="731"/>
                    </a:lnTo>
                    <a:lnTo>
                      <a:pt x="146" y="731"/>
                    </a:lnTo>
                    <a:lnTo>
                      <a:pt x="146" y="731"/>
                    </a:lnTo>
                    <a:lnTo>
                      <a:pt x="148" y="735"/>
                    </a:lnTo>
                    <a:lnTo>
                      <a:pt x="153" y="740"/>
                    </a:lnTo>
                    <a:lnTo>
                      <a:pt x="155" y="740"/>
                    </a:lnTo>
                    <a:lnTo>
                      <a:pt x="155" y="740"/>
                    </a:lnTo>
                    <a:lnTo>
                      <a:pt x="158" y="740"/>
                    </a:lnTo>
                    <a:lnTo>
                      <a:pt x="158" y="740"/>
                    </a:lnTo>
                    <a:lnTo>
                      <a:pt x="153" y="743"/>
                    </a:lnTo>
                    <a:lnTo>
                      <a:pt x="153" y="743"/>
                    </a:lnTo>
                    <a:lnTo>
                      <a:pt x="153" y="745"/>
                    </a:lnTo>
                    <a:lnTo>
                      <a:pt x="153" y="745"/>
                    </a:lnTo>
                    <a:lnTo>
                      <a:pt x="153" y="745"/>
                    </a:lnTo>
                    <a:lnTo>
                      <a:pt x="151" y="747"/>
                    </a:lnTo>
                    <a:lnTo>
                      <a:pt x="151" y="750"/>
                    </a:lnTo>
                    <a:lnTo>
                      <a:pt x="148" y="752"/>
                    </a:lnTo>
                    <a:lnTo>
                      <a:pt x="148" y="754"/>
                    </a:lnTo>
                    <a:lnTo>
                      <a:pt x="148" y="757"/>
                    </a:lnTo>
                    <a:lnTo>
                      <a:pt x="153" y="761"/>
                    </a:lnTo>
                    <a:lnTo>
                      <a:pt x="153" y="761"/>
                    </a:lnTo>
                    <a:lnTo>
                      <a:pt x="155" y="761"/>
                    </a:lnTo>
                    <a:lnTo>
                      <a:pt x="160" y="759"/>
                    </a:lnTo>
                    <a:lnTo>
                      <a:pt x="160" y="759"/>
                    </a:lnTo>
                    <a:lnTo>
                      <a:pt x="160" y="761"/>
                    </a:lnTo>
                    <a:lnTo>
                      <a:pt x="158" y="764"/>
                    </a:lnTo>
                    <a:lnTo>
                      <a:pt x="155" y="764"/>
                    </a:lnTo>
                    <a:lnTo>
                      <a:pt x="155" y="764"/>
                    </a:lnTo>
                    <a:lnTo>
                      <a:pt x="153" y="764"/>
                    </a:lnTo>
                    <a:lnTo>
                      <a:pt x="153" y="764"/>
                    </a:lnTo>
                    <a:lnTo>
                      <a:pt x="153" y="764"/>
                    </a:lnTo>
                    <a:lnTo>
                      <a:pt x="153" y="766"/>
                    </a:lnTo>
                    <a:lnTo>
                      <a:pt x="153" y="766"/>
                    </a:lnTo>
                    <a:lnTo>
                      <a:pt x="153" y="768"/>
                    </a:lnTo>
                    <a:lnTo>
                      <a:pt x="153" y="768"/>
                    </a:lnTo>
                    <a:lnTo>
                      <a:pt x="151" y="771"/>
                    </a:lnTo>
                    <a:lnTo>
                      <a:pt x="151" y="773"/>
                    </a:lnTo>
                    <a:lnTo>
                      <a:pt x="151" y="780"/>
                    </a:lnTo>
                    <a:lnTo>
                      <a:pt x="148" y="783"/>
                    </a:lnTo>
                    <a:lnTo>
                      <a:pt x="148" y="785"/>
                    </a:lnTo>
                    <a:lnTo>
                      <a:pt x="144" y="792"/>
                    </a:lnTo>
                    <a:lnTo>
                      <a:pt x="134" y="799"/>
                    </a:lnTo>
                    <a:lnTo>
                      <a:pt x="134" y="799"/>
                    </a:lnTo>
                    <a:lnTo>
                      <a:pt x="132" y="799"/>
                    </a:lnTo>
                    <a:lnTo>
                      <a:pt x="132" y="799"/>
                    </a:lnTo>
                    <a:lnTo>
                      <a:pt x="129" y="801"/>
                    </a:lnTo>
                    <a:lnTo>
                      <a:pt x="127" y="804"/>
                    </a:lnTo>
                    <a:lnTo>
                      <a:pt x="127" y="804"/>
                    </a:lnTo>
                    <a:lnTo>
                      <a:pt x="125" y="806"/>
                    </a:lnTo>
                    <a:lnTo>
                      <a:pt x="122" y="806"/>
                    </a:lnTo>
                    <a:lnTo>
                      <a:pt x="122" y="806"/>
                    </a:lnTo>
                    <a:lnTo>
                      <a:pt x="122" y="809"/>
                    </a:lnTo>
                    <a:lnTo>
                      <a:pt x="122" y="809"/>
                    </a:lnTo>
                    <a:lnTo>
                      <a:pt x="120" y="809"/>
                    </a:lnTo>
                    <a:lnTo>
                      <a:pt x="113" y="809"/>
                    </a:lnTo>
                    <a:lnTo>
                      <a:pt x="110" y="809"/>
                    </a:lnTo>
                    <a:lnTo>
                      <a:pt x="110" y="813"/>
                    </a:lnTo>
                    <a:lnTo>
                      <a:pt x="108" y="811"/>
                    </a:lnTo>
                    <a:lnTo>
                      <a:pt x="106" y="811"/>
                    </a:lnTo>
                    <a:lnTo>
                      <a:pt x="106" y="813"/>
                    </a:lnTo>
                    <a:lnTo>
                      <a:pt x="103" y="816"/>
                    </a:lnTo>
                    <a:lnTo>
                      <a:pt x="101" y="816"/>
                    </a:lnTo>
                    <a:lnTo>
                      <a:pt x="101" y="818"/>
                    </a:lnTo>
                    <a:lnTo>
                      <a:pt x="99" y="818"/>
                    </a:lnTo>
                    <a:lnTo>
                      <a:pt x="99" y="818"/>
                    </a:lnTo>
                    <a:lnTo>
                      <a:pt x="99" y="818"/>
                    </a:lnTo>
                    <a:lnTo>
                      <a:pt x="99" y="820"/>
                    </a:lnTo>
                    <a:lnTo>
                      <a:pt x="99" y="823"/>
                    </a:lnTo>
                    <a:lnTo>
                      <a:pt x="99" y="823"/>
                    </a:lnTo>
                    <a:lnTo>
                      <a:pt x="96" y="823"/>
                    </a:lnTo>
                    <a:lnTo>
                      <a:pt x="94" y="820"/>
                    </a:lnTo>
                    <a:lnTo>
                      <a:pt x="92" y="820"/>
                    </a:lnTo>
                    <a:lnTo>
                      <a:pt x="92" y="823"/>
                    </a:lnTo>
                    <a:lnTo>
                      <a:pt x="92" y="823"/>
                    </a:lnTo>
                    <a:lnTo>
                      <a:pt x="89" y="823"/>
                    </a:lnTo>
                    <a:lnTo>
                      <a:pt x="85" y="820"/>
                    </a:lnTo>
                    <a:lnTo>
                      <a:pt x="85" y="820"/>
                    </a:lnTo>
                    <a:lnTo>
                      <a:pt x="82" y="820"/>
                    </a:lnTo>
                    <a:lnTo>
                      <a:pt x="82" y="820"/>
                    </a:lnTo>
                    <a:lnTo>
                      <a:pt x="80" y="820"/>
                    </a:lnTo>
                    <a:lnTo>
                      <a:pt x="80" y="823"/>
                    </a:lnTo>
                    <a:lnTo>
                      <a:pt x="82" y="823"/>
                    </a:lnTo>
                    <a:lnTo>
                      <a:pt x="82" y="823"/>
                    </a:lnTo>
                    <a:lnTo>
                      <a:pt x="80" y="823"/>
                    </a:lnTo>
                    <a:lnTo>
                      <a:pt x="80" y="827"/>
                    </a:lnTo>
                    <a:lnTo>
                      <a:pt x="77" y="827"/>
                    </a:lnTo>
                    <a:lnTo>
                      <a:pt x="75" y="830"/>
                    </a:lnTo>
                    <a:lnTo>
                      <a:pt x="73" y="830"/>
                    </a:lnTo>
                    <a:lnTo>
                      <a:pt x="73" y="830"/>
                    </a:lnTo>
                    <a:lnTo>
                      <a:pt x="70" y="832"/>
                    </a:lnTo>
                    <a:lnTo>
                      <a:pt x="68" y="832"/>
                    </a:lnTo>
                    <a:lnTo>
                      <a:pt x="66" y="832"/>
                    </a:lnTo>
                    <a:lnTo>
                      <a:pt x="66" y="834"/>
                    </a:lnTo>
                    <a:lnTo>
                      <a:pt x="66" y="834"/>
                    </a:lnTo>
                    <a:lnTo>
                      <a:pt x="66" y="837"/>
                    </a:lnTo>
                    <a:lnTo>
                      <a:pt x="66" y="837"/>
                    </a:lnTo>
                    <a:lnTo>
                      <a:pt x="66" y="837"/>
                    </a:lnTo>
                    <a:lnTo>
                      <a:pt x="66" y="837"/>
                    </a:lnTo>
                    <a:lnTo>
                      <a:pt x="66" y="837"/>
                    </a:lnTo>
                    <a:lnTo>
                      <a:pt x="66" y="839"/>
                    </a:lnTo>
                    <a:lnTo>
                      <a:pt x="66" y="839"/>
                    </a:lnTo>
                    <a:lnTo>
                      <a:pt x="66" y="839"/>
                    </a:lnTo>
                    <a:lnTo>
                      <a:pt x="66" y="839"/>
                    </a:lnTo>
                    <a:lnTo>
                      <a:pt x="70" y="839"/>
                    </a:lnTo>
                    <a:lnTo>
                      <a:pt x="70" y="837"/>
                    </a:lnTo>
                    <a:lnTo>
                      <a:pt x="73" y="839"/>
                    </a:lnTo>
                    <a:lnTo>
                      <a:pt x="75" y="839"/>
                    </a:lnTo>
                    <a:lnTo>
                      <a:pt x="75" y="839"/>
                    </a:lnTo>
                    <a:lnTo>
                      <a:pt x="77" y="839"/>
                    </a:lnTo>
                    <a:lnTo>
                      <a:pt x="77" y="839"/>
                    </a:lnTo>
                    <a:lnTo>
                      <a:pt x="77" y="841"/>
                    </a:lnTo>
                    <a:lnTo>
                      <a:pt x="77" y="844"/>
                    </a:lnTo>
                    <a:lnTo>
                      <a:pt x="77" y="844"/>
                    </a:lnTo>
                    <a:lnTo>
                      <a:pt x="80" y="849"/>
                    </a:lnTo>
                    <a:lnTo>
                      <a:pt x="80" y="849"/>
                    </a:lnTo>
                    <a:lnTo>
                      <a:pt x="77" y="851"/>
                    </a:lnTo>
                    <a:lnTo>
                      <a:pt x="75" y="851"/>
                    </a:lnTo>
                    <a:lnTo>
                      <a:pt x="75" y="851"/>
                    </a:lnTo>
                    <a:lnTo>
                      <a:pt x="73" y="851"/>
                    </a:lnTo>
                    <a:lnTo>
                      <a:pt x="73" y="853"/>
                    </a:lnTo>
                    <a:lnTo>
                      <a:pt x="70" y="853"/>
                    </a:lnTo>
                    <a:lnTo>
                      <a:pt x="70" y="853"/>
                    </a:lnTo>
                    <a:lnTo>
                      <a:pt x="68" y="853"/>
                    </a:lnTo>
                    <a:lnTo>
                      <a:pt x="70" y="853"/>
                    </a:lnTo>
                    <a:lnTo>
                      <a:pt x="73" y="858"/>
                    </a:lnTo>
                    <a:lnTo>
                      <a:pt x="73" y="858"/>
                    </a:lnTo>
                    <a:lnTo>
                      <a:pt x="73" y="858"/>
                    </a:lnTo>
                    <a:lnTo>
                      <a:pt x="75" y="858"/>
                    </a:lnTo>
                    <a:lnTo>
                      <a:pt x="75" y="858"/>
                    </a:lnTo>
                    <a:lnTo>
                      <a:pt x="75" y="856"/>
                    </a:lnTo>
                    <a:lnTo>
                      <a:pt x="75" y="856"/>
                    </a:lnTo>
                    <a:lnTo>
                      <a:pt x="87" y="858"/>
                    </a:lnTo>
                    <a:lnTo>
                      <a:pt x="87" y="858"/>
                    </a:lnTo>
                    <a:lnTo>
                      <a:pt x="92" y="856"/>
                    </a:lnTo>
                    <a:lnTo>
                      <a:pt x="94" y="853"/>
                    </a:lnTo>
                    <a:lnTo>
                      <a:pt x="94" y="853"/>
                    </a:lnTo>
                    <a:lnTo>
                      <a:pt x="94" y="851"/>
                    </a:lnTo>
                    <a:lnTo>
                      <a:pt x="94" y="851"/>
                    </a:lnTo>
                    <a:lnTo>
                      <a:pt x="94" y="849"/>
                    </a:lnTo>
                    <a:lnTo>
                      <a:pt x="92" y="849"/>
                    </a:lnTo>
                    <a:lnTo>
                      <a:pt x="92" y="849"/>
                    </a:lnTo>
                    <a:lnTo>
                      <a:pt x="92" y="849"/>
                    </a:lnTo>
                    <a:lnTo>
                      <a:pt x="96" y="849"/>
                    </a:lnTo>
                    <a:lnTo>
                      <a:pt x="99" y="846"/>
                    </a:lnTo>
                    <a:lnTo>
                      <a:pt x="99" y="846"/>
                    </a:lnTo>
                    <a:lnTo>
                      <a:pt x="99" y="849"/>
                    </a:lnTo>
                    <a:lnTo>
                      <a:pt x="96" y="849"/>
                    </a:lnTo>
                    <a:lnTo>
                      <a:pt x="94" y="851"/>
                    </a:lnTo>
                    <a:lnTo>
                      <a:pt x="96" y="853"/>
                    </a:lnTo>
                    <a:lnTo>
                      <a:pt x="99" y="856"/>
                    </a:lnTo>
                    <a:lnTo>
                      <a:pt x="99" y="856"/>
                    </a:lnTo>
                    <a:lnTo>
                      <a:pt x="96" y="856"/>
                    </a:lnTo>
                    <a:lnTo>
                      <a:pt x="96" y="856"/>
                    </a:lnTo>
                    <a:lnTo>
                      <a:pt x="94" y="858"/>
                    </a:lnTo>
                    <a:lnTo>
                      <a:pt x="92" y="858"/>
                    </a:lnTo>
                    <a:lnTo>
                      <a:pt x="89" y="858"/>
                    </a:lnTo>
                    <a:lnTo>
                      <a:pt x="87" y="858"/>
                    </a:lnTo>
                    <a:lnTo>
                      <a:pt x="87" y="858"/>
                    </a:lnTo>
                    <a:lnTo>
                      <a:pt x="85" y="858"/>
                    </a:lnTo>
                    <a:lnTo>
                      <a:pt x="82" y="858"/>
                    </a:lnTo>
                    <a:lnTo>
                      <a:pt x="85" y="858"/>
                    </a:lnTo>
                    <a:lnTo>
                      <a:pt x="85" y="860"/>
                    </a:lnTo>
                    <a:lnTo>
                      <a:pt x="85" y="860"/>
                    </a:lnTo>
                    <a:lnTo>
                      <a:pt x="77" y="858"/>
                    </a:lnTo>
                    <a:lnTo>
                      <a:pt x="77" y="860"/>
                    </a:lnTo>
                    <a:lnTo>
                      <a:pt x="80" y="863"/>
                    </a:lnTo>
                    <a:lnTo>
                      <a:pt x="82" y="863"/>
                    </a:lnTo>
                    <a:lnTo>
                      <a:pt x="85" y="865"/>
                    </a:lnTo>
                    <a:lnTo>
                      <a:pt x="82" y="865"/>
                    </a:lnTo>
                    <a:lnTo>
                      <a:pt x="85" y="867"/>
                    </a:lnTo>
                    <a:lnTo>
                      <a:pt x="89" y="867"/>
                    </a:lnTo>
                    <a:lnTo>
                      <a:pt x="89" y="870"/>
                    </a:lnTo>
                    <a:lnTo>
                      <a:pt x="92" y="870"/>
                    </a:lnTo>
                    <a:lnTo>
                      <a:pt x="92" y="870"/>
                    </a:lnTo>
                    <a:lnTo>
                      <a:pt x="92" y="867"/>
                    </a:lnTo>
                    <a:lnTo>
                      <a:pt x="94" y="867"/>
                    </a:lnTo>
                    <a:lnTo>
                      <a:pt x="94" y="867"/>
                    </a:lnTo>
                    <a:lnTo>
                      <a:pt x="94" y="865"/>
                    </a:lnTo>
                    <a:lnTo>
                      <a:pt x="94" y="865"/>
                    </a:lnTo>
                    <a:lnTo>
                      <a:pt x="96" y="865"/>
                    </a:lnTo>
                    <a:lnTo>
                      <a:pt x="96" y="863"/>
                    </a:lnTo>
                    <a:lnTo>
                      <a:pt x="103" y="865"/>
                    </a:lnTo>
                    <a:lnTo>
                      <a:pt x="106" y="863"/>
                    </a:lnTo>
                    <a:lnTo>
                      <a:pt x="106" y="863"/>
                    </a:lnTo>
                    <a:lnTo>
                      <a:pt x="106" y="863"/>
                    </a:lnTo>
                    <a:lnTo>
                      <a:pt x="106" y="863"/>
                    </a:lnTo>
                    <a:lnTo>
                      <a:pt x="108" y="860"/>
                    </a:lnTo>
                    <a:lnTo>
                      <a:pt x="108" y="858"/>
                    </a:lnTo>
                    <a:lnTo>
                      <a:pt x="108" y="858"/>
                    </a:lnTo>
                    <a:lnTo>
                      <a:pt x="108" y="858"/>
                    </a:lnTo>
                    <a:lnTo>
                      <a:pt x="108" y="856"/>
                    </a:lnTo>
                    <a:lnTo>
                      <a:pt x="110" y="853"/>
                    </a:lnTo>
                    <a:lnTo>
                      <a:pt x="113" y="853"/>
                    </a:lnTo>
                    <a:lnTo>
                      <a:pt x="115" y="853"/>
                    </a:lnTo>
                    <a:lnTo>
                      <a:pt x="115" y="853"/>
                    </a:lnTo>
                    <a:lnTo>
                      <a:pt x="122" y="853"/>
                    </a:lnTo>
                    <a:lnTo>
                      <a:pt x="125" y="853"/>
                    </a:lnTo>
                    <a:lnTo>
                      <a:pt x="127" y="851"/>
                    </a:lnTo>
                    <a:lnTo>
                      <a:pt x="127" y="851"/>
                    </a:lnTo>
                    <a:lnTo>
                      <a:pt x="125" y="851"/>
                    </a:lnTo>
                    <a:lnTo>
                      <a:pt x="125" y="849"/>
                    </a:lnTo>
                    <a:lnTo>
                      <a:pt x="127" y="849"/>
                    </a:lnTo>
                    <a:lnTo>
                      <a:pt x="127" y="851"/>
                    </a:lnTo>
                    <a:lnTo>
                      <a:pt x="129" y="851"/>
                    </a:lnTo>
                    <a:lnTo>
                      <a:pt x="129" y="851"/>
                    </a:lnTo>
                    <a:lnTo>
                      <a:pt x="129" y="851"/>
                    </a:lnTo>
                    <a:lnTo>
                      <a:pt x="129" y="849"/>
                    </a:lnTo>
                    <a:lnTo>
                      <a:pt x="129" y="849"/>
                    </a:lnTo>
                    <a:lnTo>
                      <a:pt x="132" y="849"/>
                    </a:lnTo>
                    <a:lnTo>
                      <a:pt x="132" y="849"/>
                    </a:lnTo>
                    <a:lnTo>
                      <a:pt x="132" y="849"/>
                    </a:lnTo>
                    <a:lnTo>
                      <a:pt x="132" y="849"/>
                    </a:lnTo>
                    <a:lnTo>
                      <a:pt x="132" y="851"/>
                    </a:lnTo>
                    <a:lnTo>
                      <a:pt x="132" y="851"/>
                    </a:lnTo>
                    <a:lnTo>
                      <a:pt x="132" y="853"/>
                    </a:lnTo>
                    <a:lnTo>
                      <a:pt x="132" y="853"/>
                    </a:lnTo>
                    <a:lnTo>
                      <a:pt x="134" y="853"/>
                    </a:lnTo>
                    <a:lnTo>
                      <a:pt x="136" y="853"/>
                    </a:lnTo>
                    <a:lnTo>
                      <a:pt x="134" y="856"/>
                    </a:lnTo>
                    <a:lnTo>
                      <a:pt x="134" y="856"/>
                    </a:lnTo>
                    <a:lnTo>
                      <a:pt x="129" y="856"/>
                    </a:lnTo>
                    <a:lnTo>
                      <a:pt x="132" y="856"/>
                    </a:lnTo>
                    <a:lnTo>
                      <a:pt x="132" y="858"/>
                    </a:lnTo>
                    <a:lnTo>
                      <a:pt x="134" y="860"/>
                    </a:lnTo>
                    <a:lnTo>
                      <a:pt x="136" y="860"/>
                    </a:lnTo>
                    <a:lnTo>
                      <a:pt x="141" y="860"/>
                    </a:lnTo>
                    <a:lnTo>
                      <a:pt x="144" y="858"/>
                    </a:lnTo>
                    <a:lnTo>
                      <a:pt x="146" y="860"/>
                    </a:lnTo>
                    <a:lnTo>
                      <a:pt x="151" y="863"/>
                    </a:lnTo>
                    <a:lnTo>
                      <a:pt x="151" y="860"/>
                    </a:lnTo>
                    <a:lnTo>
                      <a:pt x="151" y="860"/>
                    </a:lnTo>
                    <a:lnTo>
                      <a:pt x="153" y="860"/>
                    </a:lnTo>
                    <a:lnTo>
                      <a:pt x="153" y="860"/>
                    </a:lnTo>
                    <a:lnTo>
                      <a:pt x="153" y="860"/>
                    </a:lnTo>
                    <a:lnTo>
                      <a:pt x="153" y="860"/>
                    </a:lnTo>
                    <a:lnTo>
                      <a:pt x="153" y="863"/>
                    </a:lnTo>
                    <a:lnTo>
                      <a:pt x="151" y="865"/>
                    </a:lnTo>
                    <a:lnTo>
                      <a:pt x="148" y="865"/>
                    </a:lnTo>
                    <a:lnTo>
                      <a:pt x="144" y="865"/>
                    </a:lnTo>
                    <a:lnTo>
                      <a:pt x="141" y="865"/>
                    </a:lnTo>
                    <a:lnTo>
                      <a:pt x="141" y="865"/>
                    </a:lnTo>
                    <a:lnTo>
                      <a:pt x="141" y="865"/>
                    </a:lnTo>
                    <a:lnTo>
                      <a:pt x="141" y="865"/>
                    </a:lnTo>
                    <a:lnTo>
                      <a:pt x="139" y="865"/>
                    </a:lnTo>
                    <a:lnTo>
                      <a:pt x="139" y="865"/>
                    </a:lnTo>
                    <a:lnTo>
                      <a:pt x="136" y="867"/>
                    </a:lnTo>
                    <a:lnTo>
                      <a:pt x="136" y="870"/>
                    </a:lnTo>
                    <a:lnTo>
                      <a:pt x="136" y="870"/>
                    </a:lnTo>
                    <a:lnTo>
                      <a:pt x="136" y="872"/>
                    </a:lnTo>
                    <a:lnTo>
                      <a:pt x="136" y="872"/>
                    </a:lnTo>
                    <a:lnTo>
                      <a:pt x="136" y="872"/>
                    </a:lnTo>
                    <a:lnTo>
                      <a:pt x="136" y="874"/>
                    </a:lnTo>
                    <a:lnTo>
                      <a:pt x="139" y="874"/>
                    </a:lnTo>
                    <a:lnTo>
                      <a:pt x="141" y="874"/>
                    </a:lnTo>
                    <a:lnTo>
                      <a:pt x="144" y="874"/>
                    </a:lnTo>
                    <a:lnTo>
                      <a:pt x="144" y="874"/>
                    </a:lnTo>
                    <a:lnTo>
                      <a:pt x="144" y="874"/>
                    </a:lnTo>
                    <a:lnTo>
                      <a:pt x="146" y="874"/>
                    </a:lnTo>
                    <a:lnTo>
                      <a:pt x="146" y="874"/>
                    </a:lnTo>
                    <a:lnTo>
                      <a:pt x="146" y="874"/>
                    </a:lnTo>
                    <a:lnTo>
                      <a:pt x="146" y="874"/>
                    </a:lnTo>
                    <a:lnTo>
                      <a:pt x="148" y="872"/>
                    </a:lnTo>
                    <a:lnTo>
                      <a:pt x="148" y="872"/>
                    </a:lnTo>
                    <a:lnTo>
                      <a:pt x="148" y="872"/>
                    </a:lnTo>
                    <a:lnTo>
                      <a:pt x="151" y="872"/>
                    </a:lnTo>
                    <a:lnTo>
                      <a:pt x="151" y="874"/>
                    </a:lnTo>
                    <a:lnTo>
                      <a:pt x="153" y="874"/>
                    </a:lnTo>
                    <a:lnTo>
                      <a:pt x="153" y="872"/>
                    </a:lnTo>
                    <a:lnTo>
                      <a:pt x="153" y="872"/>
                    </a:lnTo>
                    <a:lnTo>
                      <a:pt x="155" y="872"/>
                    </a:lnTo>
                    <a:lnTo>
                      <a:pt x="155" y="872"/>
                    </a:lnTo>
                    <a:lnTo>
                      <a:pt x="155" y="872"/>
                    </a:lnTo>
                    <a:lnTo>
                      <a:pt x="155" y="874"/>
                    </a:lnTo>
                    <a:lnTo>
                      <a:pt x="155" y="874"/>
                    </a:lnTo>
                    <a:lnTo>
                      <a:pt x="155" y="872"/>
                    </a:lnTo>
                    <a:lnTo>
                      <a:pt x="155" y="872"/>
                    </a:lnTo>
                    <a:lnTo>
                      <a:pt x="160" y="872"/>
                    </a:lnTo>
                    <a:lnTo>
                      <a:pt x="158" y="872"/>
                    </a:lnTo>
                    <a:lnTo>
                      <a:pt x="158" y="872"/>
                    </a:lnTo>
                    <a:lnTo>
                      <a:pt x="158" y="870"/>
                    </a:lnTo>
                    <a:lnTo>
                      <a:pt x="158" y="870"/>
                    </a:lnTo>
                    <a:lnTo>
                      <a:pt x="158" y="867"/>
                    </a:lnTo>
                    <a:lnTo>
                      <a:pt x="158" y="867"/>
                    </a:lnTo>
                    <a:lnTo>
                      <a:pt x="160" y="867"/>
                    </a:lnTo>
                    <a:lnTo>
                      <a:pt x="165" y="867"/>
                    </a:lnTo>
                    <a:lnTo>
                      <a:pt x="167" y="865"/>
                    </a:lnTo>
                    <a:lnTo>
                      <a:pt x="169" y="867"/>
                    </a:lnTo>
                    <a:lnTo>
                      <a:pt x="169" y="867"/>
                    </a:lnTo>
                    <a:lnTo>
                      <a:pt x="169" y="870"/>
                    </a:lnTo>
                    <a:lnTo>
                      <a:pt x="169" y="870"/>
                    </a:lnTo>
                    <a:lnTo>
                      <a:pt x="172" y="870"/>
                    </a:lnTo>
                    <a:lnTo>
                      <a:pt x="172" y="872"/>
                    </a:lnTo>
                    <a:lnTo>
                      <a:pt x="174" y="872"/>
                    </a:lnTo>
                    <a:lnTo>
                      <a:pt x="174" y="874"/>
                    </a:lnTo>
                    <a:lnTo>
                      <a:pt x="174" y="877"/>
                    </a:lnTo>
                    <a:lnTo>
                      <a:pt x="174" y="877"/>
                    </a:lnTo>
                    <a:lnTo>
                      <a:pt x="177" y="879"/>
                    </a:lnTo>
                    <a:lnTo>
                      <a:pt x="174" y="879"/>
                    </a:lnTo>
                    <a:lnTo>
                      <a:pt x="174" y="879"/>
                    </a:lnTo>
                    <a:lnTo>
                      <a:pt x="177" y="882"/>
                    </a:lnTo>
                    <a:lnTo>
                      <a:pt x="177" y="882"/>
                    </a:lnTo>
                    <a:lnTo>
                      <a:pt x="179" y="884"/>
                    </a:lnTo>
                    <a:lnTo>
                      <a:pt x="179" y="882"/>
                    </a:lnTo>
                    <a:lnTo>
                      <a:pt x="181" y="882"/>
                    </a:lnTo>
                    <a:lnTo>
                      <a:pt x="186" y="886"/>
                    </a:lnTo>
                    <a:lnTo>
                      <a:pt x="186" y="889"/>
                    </a:lnTo>
                    <a:lnTo>
                      <a:pt x="188" y="891"/>
                    </a:lnTo>
                    <a:lnTo>
                      <a:pt x="191" y="891"/>
                    </a:lnTo>
                    <a:lnTo>
                      <a:pt x="207" y="893"/>
                    </a:lnTo>
                    <a:lnTo>
                      <a:pt x="212" y="891"/>
                    </a:lnTo>
                    <a:lnTo>
                      <a:pt x="214" y="891"/>
                    </a:lnTo>
                    <a:lnTo>
                      <a:pt x="214" y="891"/>
                    </a:lnTo>
                    <a:lnTo>
                      <a:pt x="217" y="891"/>
                    </a:lnTo>
                    <a:lnTo>
                      <a:pt x="217" y="889"/>
                    </a:lnTo>
                    <a:lnTo>
                      <a:pt x="214" y="886"/>
                    </a:lnTo>
                    <a:lnTo>
                      <a:pt x="217" y="886"/>
                    </a:lnTo>
                    <a:lnTo>
                      <a:pt x="217" y="884"/>
                    </a:lnTo>
                    <a:lnTo>
                      <a:pt x="217" y="884"/>
                    </a:lnTo>
                    <a:lnTo>
                      <a:pt x="217" y="884"/>
                    </a:lnTo>
                    <a:lnTo>
                      <a:pt x="219" y="882"/>
                    </a:lnTo>
                    <a:lnTo>
                      <a:pt x="219" y="882"/>
                    </a:lnTo>
                    <a:lnTo>
                      <a:pt x="221" y="879"/>
                    </a:lnTo>
                    <a:lnTo>
                      <a:pt x="221" y="879"/>
                    </a:lnTo>
                    <a:lnTo>
                      <a:pt x="221" y="879"/>
                    </a:lnTo>
                    <a:lnTo>
                      <a:pt x="224" y="879"/>
                    </a:lnTo>
                    <a:lnTo>
                      <a:pt x="226" y="877"/>
                    </a:lnTo>
                    <a:lnTo>
                      <a:pt x="226" y="877"/>
                    </a:lnTo>
                    <a:lnTo>
                      <a:pt x="228" y="872"/>
                    </a:lnTo>
                    <a:lnTo>
                      <a:pt x="228" y="872"/>
                    </a:lnTo>
                    <a:lnTo>
                      <a:pt x="231" y="872"/>
                    </a:lnTo>
                    <a:lnTo>
                      <a:pt x="231" y="874"/>
                    </a:lnTo>
                    <a:lnTo>
                      <a:pt x="231" y="874"/>
                    </a:lnTo>
                    <a:lnTo>
                      <a:pt x="231" y="874"/>
                    </a:lnTo>
                    <a:lnTo>
                      <a:pt x="238" y="874"/>
                    </a:lnTo>
                    <a:lnTo>
                      <a:pt x="240" y="874"/>
                    </a:lnTo>
                    <a:lnTo>
                      <a:pt x="243" y="872"/>
                    </a:lnTo>
                    <a:lnTo>
                      <a:pt x="245" y="872"/>
                    </a:lnTo>
                    <a:lnTo>
                      <a:pt x="247" y="870"/>
                    </a:lnTo>
                    <a:lnTo>
                      <a:pt x="250" y="870"/>
                    </a:lnTo>
                    <a:lnTo>
                      <a:pt x="252" y="867"/>
                    </a:lnTo>
                    <a:lnTo>
                      <a:pt x="257" y="860"/>
                    </a:lnTo>
                    <a:lnTo>
                      <a:pt x="257" y="860"/>
                    </a:lnTo>
                    <a:lnTo>
                      <a:pt x="257" y="860"/>
                    </a:lnTo>
                    <a:lnTo>
                      <a:pt x="261" y="858"/>
                    </a:lnTo>
                    <a:lnTo>
                      <a:pt x="261" y="856"/>
                    </a:lnTo>
                    <a:lnTo>
                      <a:pt x="264" y="853"/>
                    </a:lnTo>
                    <a:lnTo>
                      <a:pt x="264" y="853"/>
                    </a:lnTo>
                    <a:lnTo>
                      <a:pt x="266" y="851"/>
                    </a:lnTo>
                    <a:lnTo>
                      <a:pt x="266" y="851"/>
                    </a:lnTo>
                    <a:lnTo>
                      <a:pt x="269" y="851"/>
                    </a:lnTo>
                    <a:lnTo>
                      <a:pt x="269" y="851"/>
                    </a:lnTo>
                    <a:lnTo>
                      <a:pt x="271" y="849"/>
                    </a:lnTo>
                    <a:lnTo>
                      <a:pt x="271" y="849"/>
                    </a:lnTo>
                    <a:lnTo>
                      <a:pt x="271" y="851"/>
                    </a:lnTo>
                    <a:lnTo>
                      <a:pt x="271" y="851"/>
                    </a:lnTo>
                    <a:lnTo>
                      <a:pt x="269" y="853"/>
                    </a:lnTo>
                    <a:lnTo>
                      <a:pt x="266" y="853"/>
                    </a:lnTo>
                    <a:lnTo>
                      <a:pt x="266" y="856"/>
                    </a:lnTo>
                    <a:lnTo>
                      <a:pt x="264" y="858"/>
                    </a:lnTo>
                    <a:lnTo>
                      <a:pt x="259" y="863"/>
                    </a:lnTo>
                    <a:lnTo>
                      <a:pt x="259" y="863"/>
                    </a:lnTo>
                    <a:lnTo>
                      <a:pt x="259" y="865"/>
                    </a:lnTo>
                    <a:lnTo>
                      <a:pt x="257" y="865"/>
                    </a:lnTo>
                    <a:lnTo>
                      <a:pt x="257" y="865"/>
                    </a:lnTo>
                    <a:lnTo>
                      <a:pt x="257" y="867"/>
                    </a:lnTo>
                    <a:lnTo>
                      <a:pt x="257" y="867"/>
                    </a:lnTo>
                    <a:lnTo>
                      <a:pt x="257" y="867"/>
                    </a:lnTo>
                    <a:lnTo>
                      <a:pt x="254" y="867"/>
                    </a:lnTo>
                    <a:lnTo>
                      <a:pt x="250" y="879"/>
                    </a:lnTo>
                    <a:lnTo>
                      <a:pt x="247" y="879"/>
                    </a:lnTo>
                    <a:lnTo>
                      <a:pt x="245" y="882"/>
                    </a:lnTo>
                    <a:lnTo>
                      <a:pt x="245" y="882"/>
                    </a:lnTo>
                    <a:lnTo>
                      <a:pt x="243" y="882"/>
                    </a:lnTo>
                    <a:lnTo>
                      <a:pt x="243" y="882"/>
                    </a:lnTo>
                    <a:lnTo>
                      <a:pt x="240" y="884"/>
                    </a:lnTo>
                    <a:lnTo>
                      <a:pt x="236" y="889"/>
                    </a:lnTo>
                    <a:lnTo>
                      <a:pt x="233" y="891"/>
                    </a:lnTo>
                    <a:lnTo>
                      <a:pt x="231" y="891"/>
                    </a:lnTo>
                    <a:lnTo>
                      <a:pt x="228" y="893"/>
                    </a:lnTo>
                    <a:lnTo>
                      <a:pt x="231" y="893"/>
                    </a:lnTo>
                    <a:lnTo>
                      <a:pt x="231" y="896"/>
                    </a:lnTo>
                    <a:lnTo>
                      <a:pt x="228" y="896"/>
                    </a:lnTo>
                    <a:lnTo>
                      <a:pt x="228" y="898"/>
                    </a:lnTo>
                    <a:lnTo>
                      <a:pt x="228" y="898"/>
                    </a:lnTo>
                    <a:lnTo>
                      <a:pt x="228" y="900"/>
                    </a:lnTo>
                    <a:lnTo>
                      <a:pt x="228" y="900"/>
                    </a:lnTo>
                    <a:lnTo>
                      <a:pt x="226" y="900"/>
                    </a:lnTo>
                    <a:lnTo>
                      <a:pt x="226" y="900"/>
                    </a:lnTo>
                    <a:lnTo>
                      <a:pt x="226" y="903"/>
                    </a:lnTo>
                    <a:lnTo>
                      <a:pt x="226" y="907"/>
                    </a:lnTo>
                    <a:lnTo>
                      <a:pt x="228" y="907"/>
                    </a:lnTo>
                    <a:lnTo>
                      <a:pt x="228" y="910"/>
                    </a:lnTo>
                    <a:lnTo>
                      <a:pt x="228" y="910"/>
                    </a:lnTo>
                    <a:lnTo>
                      <a:pt x="228" y="912"/>
                    </a:lnTo>
                    <a:lnTo>
                      <a:pt x="228" y="912"/>
                    </a:lnTo>
                    <a:lnTo>
                      <a:pt x="226" y="915"/>
                    </a:lnTo>
                    <a:lnTo>
                      <a:pt x="226" y="915"/>
                    </a:lnTo>
                    <a:lnTo>
                      <a:pt x="226" y="912"/>
                    </a:lnTo>
                    <a:lnTo>
                      <a:pt x="226" y="912"/>
                    </a:lnTo>
                    <a:lnTo>
                      <a:pt x="224" y="912"/>
                    </a:lnTo>
                    <a:lnTo>
                      <a:pt x="221" y="912"/>
                    </a:lnTo>
                    <a:lnTo>
                      <a:pt x="217" y="912"/>
                    </a:lnTo>
                    <a:lnTo>
                      <a:pt x="214" y="915"/>
                    </a:lnTo>
                    <a:lnTo>
                      <a:pt x="207" y="915"/>
                    </a:lnTo>
                    <a:lnTo>
                      <a:pt x="200" y="915"/>
                    </a:lnTo>
                    <a:lnTo>
                      <a:pt x="200" y="915"/>
                    </a:lnTo>
                    <a:lnTo>
                      <a:pt x="198" y="912"/>
                    </a:lnTo>
                    <a:lnTo>
                      <a:pt x="188" y="910"/>
                    </a:lnTo>
                    <a:lnTo>
                      <a:pt x="184" y="910"/>
                    </a:lnTo>
                    <a:lnTo>
                      <a:pt x="174" y="907"/>
                    </a:lnTo>
                    <a:lnTo>
                      <a:pt x="172" y="907"/>
                    </a:lnTo>
                    <a:lnTo>
                      <a:pt x="169" y="910"/>
                    </a:lnTo>
                    <a:lnTo>
                      <a:pt x="169" y="910"/>
                    </a:lnTo>
                    <a:lnTo>
                      <a:pt x="162" y="910"/>
                    </a:lnTo>
                    <a:lnTo>
                      <a:pt x="162" y="910"/>
                    </a:lnTo>
                    <a:lnTo>
                      <a:pt x="160" y="912"/>
                    </a:lnTo>
                    <a:lnTo>
                      <a:pt x="146" y="912"/>
                    </a:lnTo>
                    <a:lnTo>
                      <a:pt x="141" y="915"/>
                    </a:lnTo>
                    <a:lnTo>
                      <a:pt x="141" y="915"/>
                    </a:lnTo>
                    <a:lnTo>
                      <a:pt x="141" y="915"/>
                    </a:lnTo>
                    <a:lnTo>
                      <a:pt x="144" y="917"/>
                    </a:lnTo>
                    <a:lnTo>
                      <a:pt x="144" y="917"/>
                    </a:lnTo>
                    <a:lnTo>
                      <a:pt x="141" y="919"/>
                    </a:lnTo>
                    <a:lnTo>
                      <a:pt x="141" y="919"/>
                    </a:lnTo>
                    <a:lnTo>
                      <a:pt x="139" y="919"/>
                    </a:lnTo>
                    <a:lnTo>
                      <a:pt x="139" y="919"/>
                    </a:lnTo>
                    <a:lnTo>
                      <a:pt x="141" y="922"/>
                    </a:lnTo>
                    <a:lnTo>
                      <a:pt x="141" y="922"/>
                    </a:lnTo>
                    <a:lnTo>
                      <a:pt x="141" y="924"/>
                    </a:lnTo>
                    <a:lnTo>
                      <a:pt x="141" y="926"/>
                    </a:lnTo>
                    <a:lnTo>
                      <a:pt x="144" y="929"/>
                    </a:lnTo>
                    <a:lnTo>
                      <a:pt x="141" y="929"/>
                    </a:lnTo>
                    <a:lnTo>
                      <a:pt x="141" y="929"/>
                    </a:lnTo>
                    <a:lnTo>
                      <a:pt x="141" y="929"/>
                    </a:lnTo>
                    <a:lnTo>
                      <a:pt x="141" y="929"/>
                    </a:lnTo>
                    <a:lnTo>
                      <a:pt x="136" y="936"/>
                    </a:lnTo>
                    <a:lnTo>
                      <a:pt x="134" y="936"/>
                    </a:lnTo>
                    <a:lnTo>
                      <a:pt x="134" y="936"/>
                    </a:lnTo>
                    <a:lnTo>
                      <a:pt x="129" y="936"/>
                    </a:lnTo>
                    <a:lnTo>
                      <a:pt x="129" y="936"/>
                    </a:lnTo>
                    <a:lnTo>
                      <a:pt x="127" y="936"/>
                    </a:lnTo>
                    <a:lnTo>
                      <a:pt x="127" y="933"/>
                    </a:lnTo>
                    <a:lnTo>
                      <a:pt x="120" y="933"/>
                    </a:lnTo>
                    <a:lnTo>
                      <a:pt x="120" y="936"/>
                    </a:lnTo>
                    <a:lnTo>
                      <a:pt x="120" y="936"/>
                    </a:lnTo>
                    <a:lnTo>
                      <a:pt x="120" y="938"/>
                    </a:lnTo>
                    <a:lnTo>
                      <a:pt x="120" y="938"/>
                    </a:lnTo>
                    <a:lnTo>
                      <a:pt x="120" y="943"/>
                    </a:lnTo>
                    <a:lnTo>
                      <a:pt x="118" y="943"/>
                    </a:lnTo>
                    <a:lnTo>
                      <a:pt x="118" y="948"/>
                    </a:lnTo>
                    <a:lnTo>
                      <a:pt x="118" y="957"/>
                    </a:lnTo>
                    <a:lnTo>
                      <a:pt x="115" y="962"/>
                    </a:lnTo>
                    <a:lnTo>
                      <a:pt x="113" y="964"/>
                    </a:lnTo>
                    <a:lnTo>
                      <a:pt x="113" y="964"/>
                    </a:lnTo>
                    <a:lnTo>
                      <a:pt x="110" y="966"/>
                    </a:lnTo>
                    <a:lnTo>
                      <a:pt x="110" y="969"/>
                    </a:lnTo>
                    <a:lnTo>
                      <a:pt x="106" y="971"/>
                    </a:lnTo>
                    <a:lnTo>
                      <a:pt x="106" y="971"/>
                    </a:lnTo>
                    <a:lnTo>
                      <a:pt x="103" y="971"/>
                    </a:lnTo>
                    <a:lnTo>
                      <a:pt x="103" y="973"/>
                    </a:lnTo>
                    <a:lnTo>
                      <a:pt x="103" y="976"/>
                    </a:lnTo>
                    <a:lnTo>
                      <a:pt x="103" y="978"/>
                    </a:lnTo>
                    <a:lnTo>
                      <a:pt x="101" y="978"/>
                    </a:lnTo>
                    <a:lnTo>
                      <a:pt x="101" y="981"/>
                    </a:lnTo>
                    <a:lnTo>
                      <a:pt x="99" y="981"/>
                    </a:lnTo>
                    <a:lnTo>
                      <a:pt x="94" y="983"/>
                    </a:lnTo>
                    <a:lnTo>
                      <a:pt x="92" y="981"/>
                    </a:lnTo>
                    <a:lnTo>
                      <a:pt x="92" y="983"/>
                    </a:lnTo>
                    <a:lnTo>
                      <a:pt x="92" y="983"/>
                    </a:lnTo>
                    <a:lnTo>
                      <a:pt x="92" y="985"/>
                    </a:lnTo>
                    <a:lnTo>
                      <a:pt x="92" y="985"/>
                    </a:lnTo>
                    <a:lnTo>
                      <a:pt x="94" y="988"/>
                    </a:lnTo>
                    <a:lnTo>
                      <a:pt x="96" y="988"/>
                    </a:lnTo>
                    <a:lnTo>
                      <a:pt x="96" y="988"/>
                    </a:lnTo>
                    <a:lnTo>
                      <a:pt x="99" y="990"/>
                    </a:lnTo>
                    <a:lnTo>
                      <a:pt x="96" y="990"/>
                    </a:lnTo>
                    <a:lnTo>
                      <a:pt x="94" y="990"/>
                    </a:lnTo>
                    <a:lnTo>
                      <a:pt x="92" y="988"/>
                    </a:lnTo>
                    <a:lnTo>
                      <a:pt x="92" y="988"/>
                    </a:lnTo>
                    <a:lnTo>
                      <a:pt x="92" y="990"/>
                    </a:lnTo>
                    <a:lnTo>
                      <a:pt x="92" y="988"/>
                    </a:lnTo>
                    <a:lnTo>
                      <a:pt x="92" y="985"/>
                    </a:lnTo>
                    <a:lnTo>
                      <a:pt x="92" y="985"/>
                    </a:lnTo>
                    <a:lnTo>
                      <a:pt x="89" y="985"/>
                    </a:lnTo>
                    <a:lnTo>
                      <a:pt x="89" y="985"/>
                    </a:lnTo>
                    <a:lnTo>
                      <a:pt x="89" y="985"/>
                    </a:lnTo>
                    <a:lnTo>
                      <a:pt x="89" y="985"/>
                    </a:lnTo>
                    <a:lnTo>
                      <a:pt x="87" y="985"/>
                    </a:lnTo>
                    <a:lnTo>
                      <a:pt x="85" y="988"/>
                    </a:lnTo>
                    <a:lnTo>
                      <a:pt x="85" y="988"/>
                    </a:lnTo>
                    <a:lnTo>
                      <a:pt x="85" y="990"/>
                    </a:lnTo>
                    <a:lnTo>
                      <a:pt x="85" y="992"/>
                    </a:lnTo>
                    <a:lnTo>
                      <a:pt x="85" y="997"/>
                    </a:lnTo>
                    <a:lnTo>
                      <a:pt x="82" y="999"/>
                    </a:lnTo>
                    <a:lnTo>
                      <a:pt x="82" y="999"/>
                    </a:lnTo>
                    <a:lnTo>
                      <a:pt x="77" y="1002"/>
                    </a:lnTo>
                    <a:lnTo>
                      <a:pt x="77" y="1002"/>
                    </a:lnTo>
                    <a:lnTo>
                      <a:pt x="75" y="1002"/>
                    </a:lnTo>
                    <a:lnTo>
                      <a:pt x="75" y="1002"/>
                    </a:lnTo>
                    <a:lnTo>
                      <a:pt x="75" y="1004"/>
                    </a:lnTo>
                    <a:lnTo>
                      <a:pt x="75" y="1006"/>
                    </a:lnTo>
                    <a:lnTo>
                      <a:pt x="75" y="1006"/>
                    </a:lnTo>
                    <a:lnTo>
                      <a:pt x="75" y="1006"/>
                    </a:lnTo>
                    <a:lnTo>
                      <a:pt x="75" y="1009"/>
                    </a:lnTo>
                    <a:lnTo>
                      <a:pt x="73" y="1009"/>
                    </a:lnTo>
                    <a:lnTo>
                      <a:pt x="63" y="1018"/>
                    </a:lnTo>
                    <a:lnTo>
                      <a:pt x="61" y="1021"/>
                    </a:lnTo>
                    <a:lnTo>
                      <a:pt x="59" y="1021"/>
                    </a:lnTo>
                    <a:lnTo>
                      <a:pt x="59" y="1021"/>
                    </a:lnTo>
                    <a:lnTo>
                      <a:pt x="59" y="1021"/>
                    </a:lnTo>
                    <a:lnTo>
                      <a:pt x="59" y="1023"/>
                    </a:lnTo>
                    <a:lnTo>
                      <a:pt x="56" y="1023"/>
                    </a:lnTo>
                    <a:lnTo>
                      <a:pt x="56" y="1025"/>
                    </a:lnTo>
                    <a:lnTo>
                      <a:pt x="54" y="1023"/>
                    </a:lnTo>
                    <a:lnTo>
                      <a:pt x="51" y="1023"/>
                    </a:lnTo>
                    <a:lnTo>
                      <a:pt x="51" y="1023"/>
                    </a:lnTo>
                    <a:lnTo>
                      <a:pt x="47" y="1023"/>
                    </a:lnTo>
                    <a:lnTo>
                      <a:pt x="44" y="1025"/>
                    </a:lnTo>
                    <a:lnTo>
                      <a:pt x="40" y="1028"/>
                    </a:lnTo>
                    <a:lnTo>
                      <a:pt x="40" y="1028"/>
                    </a:lnTo>
                    <a:lnTo>
                      <a:pt x="37" y="1028"/>
                    </a:lnTo>
                    <a:lnTo>
                      <a:pt x="37" y="1030"/>
                    </a:lnTo>
                    <a:lnTo>
                      <a:pt x="37" y="1030"/>
                    </a:lnTo>
                    <a:lnTo>
                      <a:pt x="37" y="1032"/>
                    </a:lnTo>
                    <a:lnTo>
                      <a:pt x="37" y="1032"/>
                    </a:lnTo>
                    <a:lnTo>
                      <a:pt x="37" y="1035"/>
                    </a:lnTo>
                    <a:lnTo>
                      <a:pt x="37" y="1035"/>
                    </a:lnTo>
                    <a:lnTo>
                      <a:pt x="37" y="1035"/>
                    </a:lnTo>
                    <a:lnTo>
                      <a:pt x="37" y="1037"/>
                    </a:lnTo>
                    <a:lnTo>
                      <a:pt x="37" y="1037"/>
                    </a:lnTo>
                    <a:lnTo>
                      <a:pt x="37" y="1037"/>
                    </a:lnTo>
                    <a:lnTo>
                      <a:pt x="37" y="1037"/>
                    </a:lnTo>
                    <a:lnTo>
                      <a:pt x="37" y="1039"/>
                    </a:lnTo>
                    <a:lnTo>
                      <a:pt x="40" y="1042"/>
                    </a:lnTo>
                    <a:lnTo>
                      <a:pt x="42" y="1042"/>
                    </a:lnTo>
                    <a:lnTo>
                      <a:pt x="44" y="1039"/>
                    </a:lnTo>
                    <a:lnTo>
                      <a:pt x="47" y="1039"/>
                    </a:lnTo>
                    <a:lnTo>
                      <a:pt x="47" y="1039"/>
                    </a:lnTo>
                    <a:lnTo>
                      <a:pt x="49" y="1037"/>
                    </a:lnTo>
                    <a:lnTo>
                      <a:pt x="49" y="1035"/>
                    </a:lnTo>
                    <a:lnTo>
                      <a:pt x="49" y="1035"/>
                    </a:lnTo>
                    <a:lnTo>
                      <a:pt x="49" y="1032"/>
                    </a:lnTo>
                    <a:lnTo>
                      <a:pt x="51" y="1032"/>
                    </a:lnTo>
                    <a:lnTo>
                      <a:pt x="54" y="1032"/>
                    </a:lnTo>
                    <a:lnTo>
                      <a:pt x="54" y="1032"/>
                    </a:lnTo>
                    <a:lnTo>
                      <a:pt x="56" y="1035"/>
                    </a:lnTo>
                    <a:lnTo>
                      <a:pt x="59" y="1035"/>
                    </a:lnTo>
                    <a:lnTo>
                      <a:pt x="63" y="1037"/>
                    </a:lnTo>
                    <a:lnTo>
                      <a:pt x="66" y="1037"/>
                    </a:lnTo>
                    <a:lnTo>
                      <a:pt x="66" y="1039"/>
                    </a:lnTo>
                    <a:lnTo>
                      <a:pt x="68" y="1042"/>
                    </a:lnTo>
                    <a:lnTo>
                      <a:pt x="68" y="1042"/>
                    </a:lnTo>
                    <a:lnTo>
                      <a:pt x="68" y="1044"/>
                    </a:lnTo>
                    <a:lnTo>
                      <a:pt x="68" y="1044"/>
                    </a:lnTo>
                    <a:lnTo>
                      <a:pt x="68" y="1046"/>
                    </a:lnTo>
                    <a:lnTo>
                      <a:pt x="68" y="1046"/>
                    </a:lnTo>
                    <a:lnTo>
                      <a:pt x="70" y="1046"/>
                    </a:lnTo>
                    <a:lnTo>
                      <a:pt x="73" y="1049"/>
                    </a:lnTo>
                    <a:lnTo>
                      <a:pt x="73" y="1049"/>
                    </a:lnTo>
                    <a:lnTo>
                      <a:pt x="73" y="1051"/>
                    </a:lnTo>
                    <a:lnTo>
                      <a:pt x="73" y="1049"/>
                    </a:lnTo>
                    <a:lnTo>
                      <a:pt x="75" y="1046"/>
                    </a:lnTo>
                    <a:lnTo>
                      <a:pt x="75" y="1044"/>
                    </a:lnTo>
                    <a:lnTo>
                      <a:pt x="77" y="1044"/>
                    </a:lnTo>
                    <a:lnTo>
                      <a:pt x="77" y="1044"/>
                    </a:lnTo>
                    <a:lnTo>
                      <a:pt x="80" y="1044"/>
                    </a:lnTo>
                    <a:lnTo>
                      <a:pt x="80" y="1044"/>
                    </a:lnTo>
                    <a:lnTo>
                      <a:pt x="82" y="1042"/>
                    </a:lnTo>
                    <a:lnTo>
                      <a:pt x="82" y="1039"/>
                    </a:lnTo>
                    <a:lnTo>
                      <a:pt x="82" y="1039"/>
                    </a:lnTo>
                    <a:lnTo>
                      <a:pt x="82" y="1037"/>
                    </a:lnTo>
                    <a:lnTo>
                      <a:pt x="82" y="1037"/>
                    </a:lnTo>
                    <a:lnTo>
                      <a:pt x="82" y="1037"/>
                    </a:lnTo>
                    <a:lnTo>
                      <a:pt x="82" y="1035"/>
                    </a:lnTo>
                    <a:lnTo>
                      <a:pt x="80" y="1037"/>
                    </a:lnTo>
                    <a:lnTo>
                      <a:pt x="80" y="1037"/>
                    </a:lnTo>
                    <a:lnTo>
                      <a:pt x="80" y="1035"/>
                    </a:lnTo>
                    <a:lnTo>
                      <a:pt x="77" y="1035"/>
                    </a:lnTo>
                    <a:lnTo>
                      <a:pt x="77" y="1035"/>
                    </a:lnTo>
                    <a:lnTo>
                      <a:pt x="80" y="1035"/>
                    </a:lnTo>
                    <a:lnTo>
                      <a:pt x="80" y="1035"/>
                    </a:lnTo>
                    <a:lnTo>
                      <a:pt x="80" y="1032"/>
                    </a:lnTo>
                    <a:lnTo>
                      <a:pt x="80" y="1032"/>
                    </a:lnTo>
                    <a:lnTo>
                      <a:pt x="80" y="1032"/>
                    </a:lnTo>
                    <a:lnTo>
                      <a:pt x="82" y="1030"/>
                    </a:lnTo>
                    <a:lnTo>
                      <a:pt x="82" y="1030"/>
                    </a:lnTo>
                    <a:lnTo>
                      <a:pt x="82" y="1030"/>
                    </a:lnTo>
                    <a:lnTo>
                      <a:pt x="82" y="1030"/>
                    </a:lnTo>
                    <a:lnTo>
                      <a:pt x="82" y="1028"/>
                    </a:lnTo>
                    <a:lnTo>
                      <a:pt x="82" y="1028"/>
                    </a:lnTo>
                    <a:lnTo>
                      <a:pt x="82" y="1028"/>
                    </a:lnTo>
                    <a:lnTo>
                      <a:pt x="82" y="1028"/>
                    </a:lnTo>
                    <a:lnTo>
                      <a:pt x="82" y="1025"/>
                    </a:lnTo>
                    <a:lnTo>
                      <a:pt x="82" y="1025"/>
                    </a:lnTo>
                    <a:lnTo>
                      <a:pt x="85" y="1025"/>
                    </a:lnTo>
                    <a:lnTo>
                      <a:pt x="85" y="1025"/>
                    </a:lnTo>
                    <a:lnTo>
                      <a:pt x="85" y="1028"/>
                    </a:lnTo>
                    <a:lnTo>
                      <a:pt x="87" y="1030"/>
                    </a:lnTo>
                    <a:lnTo>
                      <a:pt x="89" y="1025"/>
                    </a:lnTo>
                    <a:lnTo>
                      <a:pt x="89" y="1025"/>
                    </a:lnTo>
                    <a:lnTo>
                      <a:pt x="94" y="1023"/>
                    </a:lnTo>
                    <a:lnTo>
                      <a:pt x="94" y="1023"/>
                    </a:lnTo>
                    <a:lnTo>
                      <a:pt x="96" y="1021"/>
                    </a:lnTo>
                    <a:lnTo>
                      <a:pt x="96" y="1021"/>
                    </a:lnTo>
                    <a:lnTo>
                      <a:pt x="101" y="1021"/>
                    </a:lnTo>
                    <a:lnTo>
                      <a:pt x="101" y="1021"/>
                    </a:lnTo>
                    <a:lnTo>
                      <a:pt x="101" y="1021"/>
                    </a:lnTo>
                    <a:lnTo>
                      <a:pt x="103" y="1018"/>
                    </a:lnTo>
                    <a:lnTo>
                      <a:pt x="103" y="1016"/>
                    </a:lnTo>
                    <a:lnTo>
                      <a:pt x="101" y="1016"/>
                    </a:lnTo>
                    <a:lnTo>
                      <a:pt x="101" y="1016"/>
                    </a:lnTo>
                    <a:lnTo>
                      <a:pt x="101" y="1016"/>
                    </a:lnTo>
                    <a:lnTo>
                      <a:pt x="103" y="1013"/>
                    </a:lnTo>
                    <a:lnTo>
                      <a:pt x="103" y="1013"/>
                    </a:lnTo>
                    <a:lnTo>
                      <a:pt x="103" y="1013"/>
                    </a:lnTo>
                    <a:lnTo>
                      <a:pt x="103" y="1011"/>
                    </a:lnTo>
                    <a:lnTo>
                      <a:pt x="103" y="1011"/>
                    </a:lnTo>
                    <a:lnTo>
                      <a:pt x="103" y="1009"/>
                    </a:lnTo>
                    <a:lnTo>
                      <a:pt x="106" y="1009"/>
                    </a:lnTo>
                    <a:lnTo>
                      <a:pt x="106" y="1009"/>
                    </a:lnTo>
                    <a:lnTo>
                      <a:pt x="108" y="1009"/>
                    </a:lnTo>
                    <a:lnTo>
                      <a:pt x="108" y="1009"/>
                    </a:lnTo>
                    <a:lnTo>
                      <a:pt x="108" y="1009"/>
                    </a:lnTo>
                    <a:lnTo>
                      <a:pt x="110" y="1011"/>
                    </a:lnTo>
                    <a:lnTo>
                      <a:pt x="110" y="1011"/>
                    </a:lnTo>
                    <a:lnTo>
                      <a:pt x="110" y="1011"/>
                    </a:lnTo>
                    <a:lnTo>
                      <a:pt x="110" y="1011"/>
                    </a:lnTo>
                    <a:lnTo>
                      <a:pt x="110" y="1011"/>
                    </a:lnTo>
                    <a:lnTo>
                      <a:pt x="122" y="1011"/>
                    </a:lnTo>
                    <a:lnTo>
                      <a:pt x="125" y="1009"/>
                    </a:lnTo>
                    <a:lnTo>
                      <a:pt x="129" y="1006"/>
                    </a:lnTo>
                    <a:lnTo>
                      <a:pt x="134" y="1006"/>
                    </a:lnTo>
                    <a:lnTo>
                      <a:pt x="139" y="1006"/>
                    </a:lnTo>
                    <a:lnTo>
                      <a:pt x="141" y="1006"/>
                    </a:lnTo>
                    <a:lnTo>
                      <a:pt x="141" y="1009"/>
                    </a:lnTo>
                    <a:lnTo>
                      <a:pt x="141" y="1011"/>
                    </a:lnTo>
                    <a:lnTo>
                      <a:pt x="144" y="1011"/>
                    </a:lnTo>
                    <a:lnTo>
                      <a:pt x="144" y="1011"/>
                    </a:lnTo>
                    <a:lnTo>
                      <a:pt x="144" y="1009"/>
                    </a:lnTo>
                    <a:lnTo>
                      <a:pt x="144" y="1009"/>
                    </a:lnTo>
                    <a:lnTo>
                      <a:pt x="144" y="1009"/>
                    </a:lnTo>
                    <a:lnTo>
                      <a:pt x="144" y="1006"/>
                    </a:lnTo>
                    <a:lnTo>
                      <a:pt x="144" y="1006"/>
                    </a:lnTo>
                    <a:lnTo>
                      <a:pt x="144" y="1006"/>
                    </a:lnTo>
                    <a:lnTo>
                      <a:pt x="144" y="1006"/>
                    </a:lnTo>
                    <a:lnTo>
                      <a:pt x="141" y="1006"/>
                    </a:lnTo>
                    <a:lnTo>
                      <a:pt x="141" y="1006"/>
                    </a:lnTo>
                    <a:lnTo>
                      <a:pt x="141" y="1006"/>
                    </a:lnTo>
                    <a:lnTo>
                      <a:pt x="144" y="1004"/>
                    </a:lnTo>
                    <a:lnTo>
                      <a:pt x="141" y="1004"/>
                    </a:lnTo>
                    <a:lnTo>
                      <a:pt x="139" y="1004"/>
                    </a:lnTo>
                    <a:lnTo>
                      <a:pt x="136" y="1002"/>
                    </a:lnTo>
                    <a:lnTo>
                      <a:pt x="141" y="1002"/>
                    </a:lnTo>
                    <a:lnTo>
                      <a:pt x="141" y="1002"/>
                    </a:lnTo>
                    <a:lnTo>
                      <a:pt x="141" y="1002"/>
                    </a:lnTo>
                    <a:lnTo>
                      <a:pt x="141" y="999"/>
                    </a:lnTo>
                    <a:lnTo>
                      <a:pt x="141" y="999"/>
                    </a:lnTo>
                    <a:lnTo>
                      <a:pt x="141" y="999"/>
                    </a:lnTo>
                    <a:lnTo>
                      <a:pt x="141" y="997"/>
                    </a:lnTo>
                    <a:lnTo>
                      <a:pt x="141" y="999"/>
                    </a:lnTo>
                    <a:lnTo>
                      <a:pt x="141" y="997"/>
                    </a:lnTo>
                    <a:lnTo>
                      <a:pt x="144" y="997"/>
                    </a:lnTo>
                    <a:lnTo>
                      <a:pt x="144" y="997"/>
                    </a:lnTo>
                    <a:lnTo>
                      <a:pt x="144" y="995"/>
                    </a:lnTo>
                    <a:lnTo>
                      <a:pt x="144" y="997"/>
                    </a:lnTo>
                    <a:lnTo>
                      <a:pt x="144" y="997"/>
                    </a:lnTo>
                    <a:lnTo>
                      <a:pt x="146" y="995"/>
                    </a:lnTo>
                    <a:lnTo>
                      <a:pt x="146" y="997"/>
                    </a:lnTo>
                    <a:lnTo>
                      <a:pt x="144" y="999"/>
                    </a:lnTo>
                    <a:lnTo>
                      <a:pt x="144" y="999"/>
                    </a:lnTo>
                    <a:lnTo>
                      <a:pt x="144" y="1002"/>
                    </a:lnTo>
                    <a:lnTo>
                      <a:pt x="146" y="1004"/>
                    </a:lnTo>
                    <a:lnTo>
                      <a:pt x="146" y="1004"/>
                    </a:lnTo>
                    <a:lnTo>
                      <a:pt x="146" y="1004"/>
                    </a:lnTo>
                    <a:lnTo>
                      <a:pt x="146" y="1006"/>
                    </a:lnTo>
                    <a:lnTo>
                      <a:pt x="146" y="1006"/>
                    </a:lnTo>
                    <a:lnTo>
                      <a:pt x="151" y="1006"/>
                    </a:lnTo>
                    <a:lnTo>
                      <a:pt x="148" y="1006"/>
                    </a:lnTo>
                    <a:lnTo>
                      <a:pt x="148" y="1009"/>
                    </a:lnTo>
                    <a:lnTo>
                      <a:pt x="151" y="1011"/>
                    </a:lnTo>
                    <a:lnTo>
                      <a:pt x="153" y="1011"/>
                    </a:lnTo>
                    <a:lnTo>
                      <a:pt x="153" y="1011"/>
                    </a:lnTo>
                    <a:lnTo>
                      <a:pt x="153" y="1011"/>
                    </a:lnTo>
                    <a:lnTo>
                      <a:pt x="153" y="1013"/>
                    </a:lnTo>
                    <a:lnTo>
                      <a:pt x="153" y="1013"/>
                    </a:lnTo>
                    <a:lnTo>
                      <a:pt x="155" y="1013"/>
                    </a:lnTo>
                    <a:lnTo>
                      <a:pt x="155" y="1013"/>
                    </a:lnTo>
                    <a:lnTo>
                      <a:pt x="155" y="1013"/>
                    </a:lnTo>
                    <a:lnTo>
                      <a:pt x="158" y="1011"/>
                    </a:lnTo>
                    <a:lnTo>
                      <a:pt x="158" y="1011"/>
                    </a:lnTo>
                    <a:lnTo>
                      <a:pt x="160" y="1011"/>
                    </a:lnTo>
                    <a:lnTo>
                      <a:pt x="160" y="1011"/>
                    </a:lnTo>
                    <a:lnTo>
                      <a:pt x="160" y="1011"/>
                    </a:lnTo>
                    <a:lnTo>
                      <a:pt x="165" y="1016"/>
                    </a:lnTo>
                    <a:lnTo>
                      <a:pt x="169" y="1021"/>
                    </a:lnTo>
                    <a:lnTo>
                      <a:pt x="172" y="1023"/>
                    </a:lnTo>
                    <a:lnTo>
                      <a:pt x="172" y="1021"/>
                    </a:lnTo>
                    <a:lnTo>
                      <a:pt x="174" y="1021"/>
                    </a:lnTo>
                    <a:lnTo>
                      <a:pt x="177" y="1023"/>
                    </a:lnTo>
                    <a:lnTo>
                      <a:pt x="177" y="1023"/>
                    </a:lnTo>
                    <a:lnTo>
                      <a:pt x="179" y="1023"/>
                    </a:lnTo>
                    <a:lnTo>
                      <a:pt x="181" y="1021"/>
                    </a:lnTo>
                    <a:lnTo>
                      <a:pt x="181" y="1021"/>
                    </a:lnTo>
                    <a:lnTo>
                      <a:pt x="181" y="1018"/>
                    </a:lnTo>
                    <a:lnTo>
                      <a:pt x="181" y="1016"/>
                    </a:lnTo>
                    <a:lnTo>
                      <a:pt x="184" y="1013"/>
                    </a:lnTo>
                    <a:lnTo>
                      <a:pt x="184" y="1011"/>
                    </a:lnTo>
                    <a:lnTo>
                      <a:pt x="184" y="1011"/>
                    </a:lnTo>
                    <a:lnTo>
                      <a:pt x="186" y="1011"/>
                    </a:lnTo>
                    <a:lnTo>
                      <a:pt x="186" y="1009"/>
                    </a:lnTo>
                    <a:lnTo>
                      <a:pt x="188" y="1006"/>
                    </a:lnTo>
                    <a:lnTo>
                      <a:pt x="188" y="1009"/>
                    </a:lnTo>
                    <a:lnTo>
                      <a:pt x="191" y="1009"/>
                    </a:lnTo>
                    <a:lnTo>
                      <a:pt x="191" y="1006"/>
                    </a:lnTo>
                    <a:lnTo>
                      <a:pt x="191" y="1004"/>
                    </a:lnTo>
                    <a:lnTo>
                      <a:pt x="191" y="1004"/>
                    </a:lnTo>
                    <a:lnTo>
                      <a:pt x="191" y="1004"/>
                    </a:lnTo>
                    <a:lnTo>
                      <a:pt x="193" y="1004"/>
                    </a:lnTo>
                    <a:lnTo>
                      <a:pt x="193" y="1004"/>
                    </a:lnTo>
                    <a:lnTo>
                      <a:pt x="193" y="1002"/>
                    </a:lnTo>
                    <a:lnTo>
                      <a:pt x="193" y="1002"/>
                    </a:lnTo>
                    <a:lnTo>
                      <a:pt x="191" y="1002"/>
                    </a:lnTo>
                    <a:lnTo>
                      <a:pt x="188" y="999"/>
                    </a:lnTo>
                    <a:lnTo>
                      <a:pt x="188" y="999"/>
                    </a:lnTo>
                    <a:lnTo>
                      <a:pt x="188" y="997"/>
                    </a:lnTo>
                    <a:lnTo>
                      <a:pt x="191" y="997"/>
                    </a:lnTo>
                    <a:lnTo>
                      <a:pt x="191" y="995"/>
                    </a:lnTo>
                    <a:lnTo>
                      <a:pt x="193" y="995"/>
                    </a:lnTo>
                    <a:lnTo>
                      <a:pt x="191" y="992"/>
                    </a:lnTo>
                    <a:lnTo>
                      <a:pt x="191" y="990"/>
                    </a:lnTo>
                    <a:lnTo>
                      <a:pt x="193" y="985"/>
                    </a:lnTo>
                    <a:lnTo>
                      <a:pt x="193" y="983"/>
                    </a:lnTo>
                    <a:lnTo>
                      <a:pt x="195" y="983"/>
                    </a:lnTo>
                    <a:lnTo>
                      <a:pt x="195" y="981"/>
                    </a:lnTo>
                    <a:lnTo>
                      <a:pt x="198" y="978"/>
                    </a:lnTo>
                    <a:lnTo>
                      <a:pt x="195" y="978"/>
                    </a:lnTo>
                    <a:lnTo>
                      <a:pt x="195" y="973"/>
                    </a:lnTo>
                    <a:lnTo>
                      <a:pt x="195" y="973"/>
                    </a:lnTo>
                    <a:lnTo>
                      <a:pt x="195" y="971"/>
                    </a:lnTo>
                    <a:lnTo>
                      <a:pt x="195" y="971"/>
                    </a:lnTo>
                    <a:lnTo>
                      <a:pt x="195" y="971"/>
                    </a:lnTo>
                    <a:lnTo>
                      <a:pt x="195" y="971"/>
                    </a:lnTo>
                    <a:lnTo>
                      <a:pt x="195" y="971"/>
                    </a:lnTo>
                    <a:lnTo>
                      <a:pt x="195" y="973"/>
                    </a:lnTo>
                    <a:lnTo>
                      <a:pt x="198" y="976"/>
                    </a:lnTo>
                    <a:lnTo>
                      <a:pt x="198" y="978"/>
                    </a:lnTo>
                    <a:lnTo>
                      <a:pt x="200" y="978"/>
                    </a:lnTo>
                    <a:lnTo>
                      <a:pt x="200" y="978"/>
                    </a:lnTo>
                    <a:lnTo>
                      <a:pt x="203" y="978"/>
                    </a:lnTo>
                    <a:lnTo>
                      <a:pt x="207" y="976"/>
                    </a:lnTo>
                    <a:lnTo>
                      <a:pt x="207" y="973"/>
                    </a:lnTo>
                    <a:lnTo>
                      <a:pt x="207" y="973"/>
                    </a:lnTo>
                    <a:lnTo>
                      <a:pt x="210" y="971"/>
                    </a:lnTo>
                    <a:lnTo>
                      <a:pt x="212" y="971"/>
                    </a:lnTo>
                    <a:lnTo>
                      <a:pt x="214" y="971"/>
                    </a:lnTo>
                    <a:lnTo>
                      <a:pt x="217" y="971"/>
                    </a:lnTo>
                    <a:lnTo>
                      <a:pt x="217" y="971"/>
                    </a:lnTo>
                    <a:lnTo>
                      <a:pt x="219" y="971"/>
                    </a:lnTo>
                    <a:lnTo>
                      <a:pt x="219" y="971"/>
                    </a:lnTo>
                    <a:lnTo>
                      <a:pt x="219" y="971"/>
                    </a:lnTo>
                    <a:lnTo>
                      <a:pt x="221" y="969"/>
                    </a:lnTo>
                    <a:lnTo>
                      <a:pt x="221" y="969"/>
                    </a:lnTo>
                    <a:lnTo>
                      <a:pt x="224" y="969"/>
                    </a:lnTo>
                    <a:lnTo>
                      <a:pt x="224" y="969"/>
                    </a:lnTo>
                    <a:lnTo>
                      <a:pt x="226" y="969"/>
                    </a:lnTo>
                    <a:lnTo>
                      <a:pt x="228" y="969"/>
                    </a:lnTo>
                    <a:lnTo>
                      <a:pt x="231" y="966"/>
                    </a:lnTo>
                    <a:lnTo>
                      <a:pt x="231" y="966"/>
                    </a:lnTo>
                    <a:lnTo>
                      <a:pt x="236" y="966"/>
                    </a:lnTo>
                    <a:lnTo>
                      <a:pt x="238" y="966"/>
                    </a:lnTo>
                    <a:lnTo>
                      <a:pt x="250" y="971"/>
                    </a:lnTo>
                    <a:lnTo>
                      <a:pt x="264" y="981"/>
                    </a:lnTo>
                    <a:lnTo>
                      <a:pt x="266" y="985"/>
                    </a:lnTo>
                    <a:lnTo>
                      <a:pt x="266" y="988"/>
                    </a:lnTo>
                    <a:lnTo>
                      <a:pt x="266" y="988"/>
                    </a:lnTo>
                    <a:lnTo>
                      <a:pt x="266" y="988"/>
                    </a:lnTo>
                    <a:lnTo>
                      <a:pt x="269" y="985"/>
                    </a:lnTo>
                    <a:lnTo>
                      <a:pt x="269" y="983"/>
                    </a:lnTo>
                    <a:lnTo>
                      <a:pt x="266" y="983"/>
                    </a:lnTo>
                    <a:lnTo>
                      <a:pt x="266" y="983"/>
                    </a:lnTo>
                    <a:lnTo>
                      <a:pt x="266" y="978"/>
                    </a:lnTo>
                    <a:lnTo>
                      <a:pt x="266" y="978"/>
                    </a:lnTo>
                    <a:lnTo>
                      <a:pt x="269" y="976"/>
                    </a:lnTo>
                    <a:lnTo>
                      <a:pt x="271" y="976"/>
                    </a:lnTo>
                    <a:lnTo>
                      <a:pt x="271" y="976"/>
                    </a:lnTo>
                    <a:lnTo>
                      <a:pt x="273" y="976"/>
                    </a:lnTo>
                    <a:lnTo>
                      <a:pt x="287" y="978"/>
                    </a:lnTo>
                    <a:lnTo>
                      <a:pt x="292" y="981"/>
                    </a:lnTo>
                    <a:lnTo>
                      <a:pt x="295" y="981"/>
                    </a:lnTo>
                    <a:lnTo>
                      <a:pt x="299" y="981"/>
                    </a:lnTo>
                    <a:lnTo>
                      <a:pt x="302" y="981"/>
                    </a:lnTo>
                    <a:lnTo>
                      <a:pt x="302" y="978"/>
                    </a:lnTo>
                    <a:lnTo>
                      <a:pt x="304" y="976"/>
                    </a:lnTo>
                    <a:lnTo>
                      <a:pt x="302" y="976"/>
                    </a:lnTo>
                    <a:lnTo>
                      <a:pt x="302" y="973"/>
                    </a:lnTo>
                    <a:lnTo>
                      <a:pt x="302" y="973"/>
                    </a:lnTo>
                    <a:lnTo>
                      <a:pt x="302" y="971"/>
                    </a:lnTo>
                    <a:lnTo>
                      <a:pt x="299" y="971"/>
                    </a:lnTo>
                    <a:lnTo>
                      <a:pt x="299" y="971"/>
                    </a:lnTo>
                    <a:lnTo>
                      <a:pt x="299" y="971"/>
                    </a:lnTo>
                    <a:lnTo>
                      <a:pt x="297" y="971"/>
                    </a:lnTo>
                    <a:lnTo>
                      <a:pt x="297" y="969"/>
                    </a:lnTo>
                    <a:lnTo>
                      <a:pt x="295" y="969"/>
                    </a:lnTo>
                    <a:lnTo>
                      <a:pt x="295" y="969"/>
                    </a:lnTo>
                    <a:lnTo>
                      <a:pt x="292" y="969"/>
                    </a:lnTo>
                    <a:lnTo>
                      <a:pt x="292" y="969"/>
                    </a:lnTo>
                    <a:lnTo>
                      <a:pt x="295" y="966"/>
                    </a:lnTo>
                    <a:lnTo>
                      <a:pt x="295" y="964"/>
                    </a:lnTo>
                    <a:lnTo>
                      <a:pt x="297" y="964"/>
                    </a:lnTo>
                    <a:lnTo>
                      <a:pt x="297" y="966"/>
                    </a:lnTo>
                    <a:lnTo>
                      <a:pt x="297" y="966"/>
                    </a:lnTo>
                    <a:lnTo>
                      <a:pt x="297" y="966"/>
                    </a:lnTo>
                    <a:lnTo>
                      <a:pt x="299" y="966"/>
                    </a:lnTo>
                    <a:lnTo>
                      <a:pt x="302" y="969"/>
                    </a:lnTo>
                    <a:lnTo>
                      <a:pt x="302" y="969"/>
                    </a:lnTo>
                    <a:lnTo>
                      <a:pt x="302" y="969"/>
                    </a:lnTo>
                    <a:lnTo>
                      <a:pt x="302" y="971"/>
                    </a:lnTo>
                    <a:lnTo>
                      <a:pt x="304" y="969"/>
                    </a:lnTo>
                    <a:lnTo>
                      <a:pt x="304" y="969"/>
                    </a:lnTo>
                    <a:lnTo>
                      <a:pt x="306" y="966"/>
                    </a:lnTo>
                    <a:lnTo>
                      <a:pt x="306" y="966"/>
                    </a:lnTo>
                    <a:lnTo>
                      <a:pt x="306" y="966"/>
                    </a:lnTo>
                    <a:lnTo>
                      <a:pt x="309" y="966"/>
                    </a:lnTo>
                    <a:lnTo>
                      <a:pt x="309" y="966"/>
                    </a:lnTo>
                    <a:lnTo>
                      <a:pt x="313" y="966"/>
                    </a:lnTo>
                    <a:lnTo>
                      <a:pt x="313" y="966"/>
                    </a:lnTo>
                    <a:lnTo>
                      <a:pt x="316" y="966"/>
                    </a:lnTo>
                    <a:lnTo>
                      <a:pt x="318" y="964"/>
                    </a:lnTo>
                    <a:lnTo>
                      <a:pt x="320" y="964"/>
                    </a:lnTo>
                    <a:lnTo>
                      <a:pt x="320" y="964"/>
                    </a:lnTo>
                    <a:lnTo>
                      <a:pt x="325" y="966"/>
                    </a:lnTo>
                    <a:lnTo>
                      <a:pt x="328" y="966"/>
                    </a:lnTo>
                    <a:lnTo>
                      <a:pt x="330" y="966"/>
                    </a:lnTo>
                    <a:lnTo>
                      <a:pt x="330" y="966"/>
                    </a:lnTo>
                    <a:lnTo>
                      <a:pt x="332" y="962"/>
                    </a:lnTo>
                    <a:lnTo>
                      <a:pt x="335" y="964"/>
                    </a:lnTo>
                    <a:lnTo>
                      <a:pt x="335" y="964"/>
                    </a:lnTo>
                    <a:lnTo>
                      <a:pt x="335" y="962"/>
                    </a:lnTo>
                    <a:lnTo>
                      <a:pt x="337" y="962"/>
                    </a:lnTo>
                    <a:lnTo>
                      <a:pt x="339" y="962"/>
                    </a:lnTo>
                    <a:lnTo>
                      <a:pt x="339" y="959"/>
                    </a:lnTo>
                    <a:lnTo>
                      <a:pt x="339" y="959"/>
                    </a:lnTo>
                    <a:lnTo>
                      <a:pt x="339" y="959"/>
                    </a:lnTo>
                    <a:lnTo>
                      <a:pt x="339" y="959"/>
                    </a:lnTo>
                    <a:lnTo>
                      <a:pt x="344" y="959"/>
                    </a:lnTo>
                    <a:lnTo>
                      <a:pt x="346" y="957"/>
                    </a:lnTo>
                    <a:lnTo>
                      <a:pt x="346" y="957"/>
                    </a:lnTo>
                    <a:lnTo>
                      <a:pt x="346" y="955"/>
                    </a:lnTo>
                    <a:lnTo>
                      <a:pt x="339" y="950"/>
                    </a:lnTo>
                    <a:lnTo>
                      <a:pt x="339" y="948"/>
                    </a:lnTo>
                    <a:lnTo>
                      <a:pt x="337" y="948"/>
                    </a:lnTo>
                    <a:lnTo>
                      <a:pt x="337" y="945"/>
                    </a:lnTo>
                    <a:lnTo>
                      <a:pt x="337" y="945"/>
                    </a:lnTo>
                    <a:lnTo>
                      <a:pt x="337" y="945"/>
                    </a:lnTo>
                    <a:lnTo>
                      <a:pt x="337" y="945"/>
                    </a:lnTo>
                    <a:lnTo>
                      <a:pt x="344" y="950"/>
                    </a:lnTo>
                    <a:lnTo>
                      <a:pt x="346" y="952"/>
                    </a:lnTo>
                    <a:lnTo>
                      <a:pt x="346" y="952"/>
                    </a:lnTo>
                    <a:lnTo>
                      <a:pt x="349" y="955"/>
                    </a:lnTo>
                    <a:lnTo>
                      <a:pt x="351" y="955"/>
                    </a:lnTo>
                    <a:lnTo>
                      <a:pt x="354" y="957"/>
                    </a:lnTo>
                    <a:lnTo>
                      <a:pt x="354" y="957"/>
                    </a:lnTo>
                    <a:lnTo>
                      <a:pt x="356" y="957"/>
                    </a:lnTo>
                    <a:lnTo>
                      <a:pt x="356" y="959"/>
                    </a:lnTo>
                    <a:lnTo>
                      <a:pt x="356" y="959"/>
                    </a:lnTo>
                    <a:lnTo>
                      <a:pt x="358" y="959"/>
                    </a:lnTo>
                    <a:lnTo>
                      <a:pt x="358" y="959"/>
                    </a:lnTo>
                    <a:lnTo>
                      <a:pt x="361" y="959"/>
                    </a:lnTo>
                    <a:lnTo>
                      <a:pt x="361" y="957"/>
                    </a:lnTo>
                    <a:lnTo>
                      <a:pt x="361" y="957"/>
                    </a:lnTo>
                    <a:lnTo>
                      <a:pt x="361" y="955"/>
                    </a:lnTo>
                    <a:lnTo>
                      <a:pt x="358" y="952"/>
                    </a:lnTo>
                    <a:lnTo>
                      <a:pt x="358" y="952"/>
                    </a:lnTo>
                    <a:lnTo>
                      <a:pt x="363" y="952"/>
                    </a:lnTo>
                    <a:lnTo>
                      <a:pt x="363" y="952"/>
                    </a:lnTo>
                    <a:lnTo>
                      <a:pt x="363" y="955"/>
                    </a:lnTo>
                    <a:lnTo>
                      <a:pt x="363" y="957"/>
                    </a:lnTo>
                    <a:lnTo>
                      <a:pt x="363" y="959"/>
                    </a:lnTo>
                    <a:lnTo>
                      <a:pt x="363" y="959"/>
                    </a:lnTo>
                    <a:lnTo>
                      <a:pt x="365" y="959"/>
                    </a:lnTo>
                    <a:lnTo>
                      <a:pt x="365" y="957"/>
                    </a:lnTo>
                    <a:lnTo>
                      <a:pt x="365" y="955"/>
                    </a:lnTo>
                    <a:lnTo>
                      <a:pt x="368" y="952"/>
                    </a:lnTo>
                    <a:lnTo>
                      <a:pt x="370" y="952"/>
                    </a:lnTo>
                    <a:lnTo>
                      <a:pt x="370" y="952"/>
                    </a:lnTo>
                    <a:lnTo>
                      <a:pt x="370" y="952"/>
                    </a:lnTo>
                    <a:lnTo>
                      <a:pt x="372" y="952"/>
                    </a:lnTo>
                    <a:lnTo>
                      <a:pt x="375" y="955"/>
                    </a:lnTo>
                    <a:lnTo>
                      <a:pt x="375" y="955"/>
                    </a:lnTo>
                    <a:lnTo>
                      <a:pt x="375" y="955"/>
                    </a:lnTo>
                    <a:lnTo>
                      <a:pt x="375" y="957"/>
                    </a:lnTo>
                    <a:lnTo>
                      <a:pt x="375" y="955"/>
                    </a:lnTo>
                    <a:lnTo>
                      <a:pt x="375" y="955"/>
                    </a:lnTo>
                    <a:lnTo>
                      <a:pt x="377" y="955"/>
                    </a:lnTo>
                    <a:lnTo>
                      <a:pt x="377" y="957"/>
                    </a:lnTo>
                    <a:lnTo>
                      <a:pt x="379" y="957"/>
                    </a:lnTo>
                    <a:lnTo>
                      <a:pt x="379" y="957"/>
                    </a:lnTo>
                    <a:lnTo>
                      <a:pt x="377" y="959"/>
                    </a:lnTo>
                    <a:lnTo>
                      <a:pt x="375" y="959"/>
                    </a:lnTo>
                    <a:lnTo>
                      <a:pt x="375" y="962"/>
                    </a:lnTo>
                    <a:lnTo>
                      <a:pt x="375" y="962"/>
                    </a:lnTo>
                    <a:lnTo>
                      <a:pt x="382" y="966"/>
                    </a:lnTo>
                    <a:lnTo>
                      <a:pt x="384" y="966"/>
                    </a:lnTo>
                    <a:lnTo>
                      <a:pt x="384" y="964"/>
                    </a:lnTo>
                    <a:lnTo>
                      <a:pt x="387" y="964"/>
                    </a:lnTo>
                    <a:lnTo>
                      <a:pt x="384" y="962"/>
                    </a:lnTo>
                    <a:lnTo>
                      <a:pt x="387" y="962"/>
                    </a:lnTo>
                    <a:lnTo>
                      <a:pt x="387" y="962"/>
                    </a:lnTo>
                    <a:lnTo>
                      <a:pt x="387" y="962"/>
                    </a:lnTo>
                    <a:lnTo>
                      <a:pt x="387" y="962"/>
                    </a:lnTo>
                    <a:lnTo>
                      <a:pt x="389" y="962"/>
                    </a:lnTo>
                    <a:lnTo>
                      <a:pt x="398" y="957"/>
                    </a:lnTo>
                    <a:lnTo>
                      <a:pt x="413" y="957"/>
                    </a:lnTo>
                    <a:lnTo>
                      <a:pt x="420" y="955"/>
                    </a:lnTo>
                    <a:lnTo>
                      <a:pt x="424" y="957"/>
                    </a:lnTo>
                    <a:lnTo>
                      <a:pt x="424" y="955"/>
                    </a:lnTo>
                    <a:lnTo>
                      <a:pt x="424" y="955"/>
                    </a:lnTo>
                    <a:lnTo>
                      <a:pt x="427" y="955"/>
                    </a:lnTo>
                    <a:lnTo>
                      <a:pt x="441" y="959"/>
                    </a:lnTo>
                    <a:lnTo>
                      <a:pt x="441" y="959"/>
                    </a:lnTo>
                    <a:lnTo>
                      <a:pt x="446" y="959"/>
                    </a:lnTo>
                    <a:lnTo>
                      <a:pt x="446" y="962"/>
                    </a:lnTo>
                    <a:lnTo>
                      <a:pt x="448" y="962"/>
                    </a:lnTo>
                    <a:lnTo>
                      <a:pt x="448" y="962"/>
                    </a:lnTo>
                    <a:lnTo>
                      <a:pt x="450" y="962"/>
                    </a:lnTo>
                    <a:lnTo>
                      <a:pt x="450" y="962"/>
                    </a:lnTo>
                    <a:lnTo>
                      <a:pt x="455" y="964"/>
                    </a:lnTo>
                    <a:lnTo>
                      <a:pt x="455" y="964"/>
                    </a:lnTo>
                    <a:lnTo>
                      <a:pt x="460" y="964"/>
                    </a:lnTo>
                    <a:lnTo>
                      <a:pt x="462" y="959"/>
                    </a:lnTo>
                    <a:lnTo>
                      <a:pt x="464" y="959"/>
                    </a:lnTo>
                    <a:lnTo>
                      <a:pt x="464" y="957"/>
                    </a:lnTo>
                    <a:lnTo>
                      <a:pt x="464" y="957"/>
                    </a:lnTo>
                    <a:lnTo>
                      <a:pt x="464" y="957"/>
                    </a:lnTo>
                    <a:lnTo>
                      <a:pt x="467" y="957"/>
                    </a:lnTo>
                    <a:lnTo>
                      <a:pt x="469" y="955"/>
                    </a:lnTo>
                    <a:lnTo>
                      <a:pt x="483" y="952"/>
                    </a:lnTo>
                    <a:lnTo>
                      <a:pt x="486" y="950"/>
                    </a:lnTo>
                    <a:lnTo>
                      <a:pt x="493" y="943"/>
                    </a:lnTo>
                    <a:lnTo>
                      <a:pt x="495" y="943"/>
                    </a:lnTo>
                    <a:lnTo>
                      <a:pt x="502" y="945"/>
                    </a:lnTo>
                    <a:lnTo>
                      <a:pt x="507" y="945"/>
                    </a:lnTo>
                    <a:lnTo>
                      <a:pt x="509" y="945"/>
                    </a:lnTo>
                    <a:lnTo>
                      <a:pt x="507" y="940"/>
                    </a:lnTo>
                    <a:lnTo>
                      <a:pt x="507" y="938"/>
                    </a:lnTo>
                    <a:lnTo>
                      <a:pt x="509" y="936"/>
                    </a:lnTo>
                    <a:lnTo>
                      <a:pt x="512" y="931"/>
                    </a:lnTo>
                    <a:lnTo>
                      <a:pt x="514" y="929"/>
                    </a:lnTo>
                    <a:lnTo>
                      <a:pt x="516" y="929"/>
                    </a:lnTo>
                    <a:lnTo>
                      <a:pt x="516" y="929"/>
                    </a:lnTo>
                    <a:lnTo>
                      <a:pt x="523" y="926"/>
                    </a:lnTo>
                    <a:lnTo>
                      <a:pt x="523" y="926"/>
                    </a:lnTo>
                    <a:lnTo>
                      <a:pt x="523" y="926"/>
                    </a:lnTo>
                    <a:lnTo>
                      <a:pt x="526" y="926"/>
                    </a:lnTo>
                    <a:lnTo>
                      <a:pt x="526" y="924"/>
                    </a:lnTo>
                    <a:lnTo>
                      <a:pt x="526" y="924"/>
                    </a:lnTo>
                    <a:lnTo>
                      <a:pt x="528" y="924"/>
                    </a:lnTo>
                    <a:lnTo>
                      <a:pt x="528" y="924"/>
                    </a:lnTo>
                    <a:lnTo>
                      <a:pt x="530" y="922"/>
                    </a:lnTo>
                    <a:lnTo>
                      <a:pt x="535" y="922"/>
                    </a:lnTo>
                    <a:lnTo>
                      <a:pt x="538" y="919"/>
                    </a:lnTo>
                    <a:lnTo>
                      <a:pt x="540" y="915"/>
                    </a:lnTo>
                    <a:lnTo>
                      <a:pt x="540" y="912"/>
                    </a:lnTo>
                    <a:lnTo>
                      <a:pt x="540" y="907"/>
                    </a:lnTo>
                    <a:lnTo>
                      <a:pt x="538" y="903"/>
                    </a:lnTo>
                    <a:lnTo>
                      <a:pt x="538" y="903"/>
                    </a:lnTo>
                    <a:lnTo>
                      <a:pt x="538" y="900"/>
                    </a:lnTo>
                    <a:lnTo>
                      <a:pt x="538" y="900"/>
                    </a:lnTo>
                    <a:lnTo>
                      <a:pt x="540" y="900"/>
                    </a:lnTo>
                    <a:lnTo>
                      <a:pt x="540" y="898"/>
                    </a:lnTo>
                    <a:lnTo>
                      <a:pt x="540" y="898"/>
                    </a:lnTo>
                    <a:lnTo>
                      <a:pt x="540" y="898"/>
                    </a:lnTo>
                    <a:lnTo>
                      <a:pt x="540" y="896"/>
                    </a:lnTo>
                    <a:lnTo>
                      <a:pt x="542" y="893"/>
                    </a:lnTo>
                    <a:lnTo>
                      <a:pt x="540" y="893"/>
                    </a:lnTo>
                    <a:lnTo>
                      <a:pt x="516" y="893"/>
                    </a:lnTo>
                    <a:lnTo>
                      <a:pt x="509" y="898"/>
                    </a:lnTo>
                    <a:lnTo>
                      <a:pt x="493" y="896"/>
                    </a:lnTo>
                    <a:lnTo>
                      <a:pt x="493" y="893"/>
                    </a:lnTo>
                    <a:lnTo>
                      <a:pt x="493" y="893"/>
                    </a:lnTo>
                    <a:lnTo>
                      <a:pt x="490" y="891"/>
                    </a:lnTo>
                    <a:lnTo>
                      <a:pt x="490" y="889"/>
                    </a:lnTo>
                    <a:lnTo>
                      <a:pt x="490" y="889"/>
                    </a:lnTo>
                    <a:lnTo>
                      <a:pt x="488" y="891"/>
                    </a:lnTo>
                    <a:lnTo>
                      <a:pt x="490" y="891"/>
                    </a:lnTo>
                    <a:lnTo>
                      <a:pt x="490" y="893"/>
                    </a:lnTo>
                    <a:lnTo>
                      <a:pt x="486" y="893"/>
                    </a:lnTo>
                    <a:lnTo>
                      <a:pt x="481" y="893"/>
                    </a:lnTo>
                    <a:lnTo>
                      <a:pt x="481" y="893"/>
                    </a:lnTo>
                    <a:lnTo>
                      <a:pt x="479" y="891"/>
                    </a:lnTo>
                    <a:lnTo>
                      <a:pt x="479" y="891"/>
                    </a:lnTo>
                    <a:lnTo>
                      <a:pt x="479" y="891"/>
                    </a:lnTo>
                    <a:lnTo>
                      <a:pt x="481" y="889"/>
                    </a:lnTo>
                    <a:lnTo>
                      <a:pt x="483" y="889"/>
                    </a:lnTo>
                    <a:lnTo>
                      <a:pt x="486" y="886"/>
                    </a:lnTo>
                    <a:lnTo>
                      <a:pt x="486" y="886"/>
                    </a:lnTo>
                    <a:lnTo>
                      <a:pt x="488" y="886"/>
                    </a:lnTo>
                    <a:lnTo>
                      <a:pt x="490" y="886"/>
                    </a:lnTo>
                    <a:lnTo>
                      <a:pt x="490" y="886"/>
                    </a:lnTo>
                    <a:lnTo>
                      <a:pt x="490" y="886"/>
                    </a:lnTo>
                    <a:lnTo>
                      <a:pt x="490" y="884"/>
                    </a:lnTo>
                    <a:lnTo>
                      <a:pt x="488" y="882"/>
                    </a:lnTo>
                    <a:lnTo>
                      <a:pt x="476" y="882"/>
                    </a:lnTo>
                    <a:lnTo>
                      <a:pt x="472" y="882"/>
                    </a:lnTo>
                    <a:lnTo>
                      <a:pt x="472" y="882"/>
                    </a:lnTo>
                    <a:lnTo>
                      <a:pt x="472" y="884"/>
                    </a:lnTo>
                    <a:lnTo>
                      <a:pt x="472" y="884"/>
                    </a:lnTo>
                    <a:lnTo>
                      <a:pt x="472" y="884"/>
                    </a:lnTo>
                    <a:lnTo>
                      <a:pt x="467" y="886"/>
                    </a:lnTo>
                    <a:lnTo>
                      <a:pt x="467" y="884"/>
                    </a:lnTo>
                    <a:lnTo>
                      <a:pt x="469" y="884"/>
                    </a:lnTo>
                    <a:lnTo>
                      <a:pt x="469" y="884"/>
                    </a:lnTo>
                    <a:lnTo>
                      <a:pt x="472" y="882"/>
                    </a:lnTo>
                    <a:lnTo>
                      <a:pt x="472" y="882"/>
                    </a:lnTo>
                    <a:lnTo>
                      <a:pt x="472" y="879"/>
                    </a:lnTo>
                    <a:lnTo>
                      <a:pt x="472" y="879"/>
                    </a:lnTo>
                    <a:lnTo>
                      <a:pt x="476" y="879"/>
                    </a:lnTo>
                    <a:lnTo>
                      <a:pt x="479" y="879"/>
                    </a:lnTo>
                    <a:lnTo>
                      <a:pt x="479" y="879"/>
                    </a:lnTo>
                    <a:lnTo>
                      <a:pt x="481" y="879"/>
                    </a:lnTo>
                    <a:lnTo>
                      <a:pt x="481" y="879"/>
                    </a:lnTo>
                    <a:lnTo>
                      <a:pt x="483" y="879"/>
                    </a:lnTo>
                    <a:lnTo>
                      <a:pt x="483" y="877"/>
                    </a:lnTo>
                    <a:lnTo>
                      <a:pt x="486" y="877"/>
                    </a:lnTo>
                    <a:lnTo>
                      <a:pt x="486" y="877"/>
                    </a:lnTo>
                    <a:lnTo>
                      <a:pt x="486" y="877"/>
                    </a:lnTo>
                    <a:lnTo>
                      <a:pt x="486" y="877"/>
                    </a:lnTo>
                    <a:lnTo>
                      <a:pt x="486" y="877"/>
                    </a:lnTo>
                    <a:lnTo>
                      <a:pt x="488" y="877"/>
                    </a:lnTo>
                    <a:lnTo>
                      <a:pt x="495" y="877"/>
                    </a:lnTo>
                    <a:lnTo>
                      <a:pt x="497" y="877"/>
                    </a:lnTo>
                    <a:lnTo>
                      <a:pt x="497" y="874"/>
                    </a:lnTo>
                    <a:lnTo>
                      <a:pt x="502" y="872"/>
                    </a:lnTo>
                    <a:lnTo>
                      <a:pt x="505" y="870"/>
                    </a:lnTo>
                    <a:lnTo>
                      <a:pt x="507" y="867"/>
                    </a:lnTo>
                    <a:lnTo>
                      <a:pt x="507" y="867"/>
                    </a:lnTo>
                    <a:lnTo>
                      <a:pt x="507" y="865"/>
                    </a:lnTo>
                    <a:lnTo>
                      <a:pt x="505" y="865"/>
                    </a:lnTo>
                    <a:lnTo>
                      <a:pt x="505" y="865"/>
                    </a:lnTo>
                    <a:lnTo>
                      <a:pt x="505" y="865"/>
                    </a:lnTo>
                    <a:lnTo>
                      <a:pt x="505" y="865"/>
                    </a:lnTo>
                    <a:lnTo>
                      <a:pt x="505" y="863"/>
                    </a:lnTo>
                    <a:lnTo>
                      <a:pt x="507" y="860"/>
                    </a:lnTo>
                    <a:lnTo>
                      <a:pt x="507" y="860"/>
                    </a:lnTo>
                    <a:lnTo>
                      <a:pt x="507" y="858"/>
                    </a:lnTo>
                    <a:lnTo>
                      <a:pt x="507" y="858"/>
                    </a:lnTo>
                    <a:lnTo>
                      <a:pt x="505" y="858"/>
                    </a:lnTo>
                    <a:lnTo>
                      <a:pt x="507" y="856"/>
                    </a:lnTo>
                    <a:lnTo>
                      <a:pt x="507" y="856"/>
                    </a:lnTo>
                    <a:lnTo>
                      <a:pt x="507" y="856"/>
                    </a:lnTo>
                    <a:lnTo>
                      <a:pt x="507" y="853"/>
                    </a:lnTo>
                    <a:lnTo>
                      <a:pt x="505" y="853"/>
                    </a:lnTo>
                    <a:lnTo>
                      <a:pt x="505" y="853"/>
                    </a:lnTo>
                    <a:lnTo>
                      <a:pt x="502" y="856"/>
                    </a:lnTo>
                    <a:lnTo>
                      <a:pt x="500" y="856"/>
                    </a:lnTo>
                    <a:lnTo>
                      <a:pt x="495" y="856"/>
                    </a:lnTo>
                    <a:lnTo>
                      <a:pt x="493" y="858"/>
                    </a:lnTo>
                    <a:lnTo>
                      <a:pt x="493" y="856"/>
                    </a:lnTo>
                    <a:lnTo>
                      <a:pt x="490" y="856"/>
                    </a:lnTo>
                    <a:lnTo>
                      <a:pt x="490" y="856"/>
                    </a:lnTo>
                    <a:lnTo>
                      <a:pt x="488" y="856"/>
                    </a:lnTo>
                    <a:lnTo>
                      <a:pt x="490" y="853"/>
                    </a:lnTo>
                    <a:lnTo>
                      <a:pt x="493" y="853"/>
                    </a:lnTo>
                    <a:lnTo>
                      <a:pt x="495" y="853"/>
                    </a:lnTo>
                    <a:lnTo>
                      <a:pt x="495" y="853"/>
                    </a:lnTo>
                    <a:lnTo>
                      <a:pt x="497" y="853"/>
                    </a:lnTo>
                    <a:lnTo>
                      <a:pt x="497" y="853"/>
                    </a:lnTo>
                    <a:lnTo>
                      <a:pt x="500" y="853"/>
                    </a:lnTo>
                    <a:lnTo>
                      <a:pt x="500" y="853"/>
                    </a:lnTo>
                    <a:lnTo>
                      <a:pt x="502" y="851"/>
                    </a:lnTo>
                    <a:lnTo>
                      <a:pt x="502" y="851"/>
                    </a:lnTo>
                    <a:lnTo>
                      <a:pt x="502" y="851"/>
                    </a:lnTo>
                    <a:lnTo>
                      <a:pt x="502" y="849"/>
                    </a:lnTo>
                    <a:lnTo>
                      <a:pt x="502" y="849"/>
                    </a:lnTo>
                    <a:lnTo>
                      <a:pt x="502" y="849"/>
                    </a:lnTo>
                    <a:lnTo>
                      <a:pt x="505" y="846"/>
                    </a:lnTo>
                    <a:lnTo>
                      <a:pt x="507" y="844"/>
                    </a:lnTo>
                    <a:lnTo>
                      <a:pt x="509" y="844"/>
                    </a:lnTo>
                    <a:lnTo>
                      <a:pt x="509" y="841"/>
                    </a:lnTo>
                    <a:lnTo>
                      <a:pt x="509" y="844"/>
                    </a:lnTo>
                    <a:lnTo>
                      <a:pt x="512" y="846"/>
                    </a:lnTo>
                    <a:lnTo>
                      <a:pt x="512" y="849"/>
                    </a:lnTo>
                    <a:lnTo>
                      <a:pt x="514" y="849"/>
                    </a:lnTo>
                    <a:lnTo>
                      <a:pt x="514" y="849"/>
                    </a:lnTo>
                    <a:lnTo>
                      <a:pt x="519" y="849"/>
                    </a:lnTo>
                    <a:lnTo>
                      <a:pt x="521" y="846"/>
                    </a:lnTo>
                    <a:lnTo>
                      <a:pt x="526" y="844"/>
                    </a:lnTo>
                    <a:lnTo>
                      <a:pt x="530" y="841"/>
                    </a:lnTo>
                    <a:lnTo>
                      <a:pt x="530" y="839"/>
                    </a:lnTo>
                    <a:lnTo>
                      <a:pt x="530" y="837"/>
                    </a:lnTo>
                    <a:lnTo>
                      <a:pt x="530" y="837"/>
                    </a:lnTo>
                    <a:lnTo>
                      <a:pt x="530" y="839"/>
                    </a:lnTo>
                    <a:lnTo>
                      <a:pt x="528" y="839"/>
                    </a:lnTo>
                    <a:lnTo>
                      <a:pt x="526" y="839"/>
                    </a:lnTo>
                    <a:lnTo>
                      <a:pt x="526" y="839"/>
                    </a:lnTo>
                    <a:lnTo>
                      <a:pt x="523" y="837"/>
                    </a:lnTo>
                    <a:lnTo>
                      <a:pt x="530" y="832"/>
                    </a:lnTo>
                    <a:lnTo>
                      <a:pt x="530" y="830"/>
                    </a:lnTo>
                    <a:lnTo>
                      <a:pt x="528" y="830"/>
                    </a:lnTo>
                    <a:lnTo>
                      <a:pt x="516" y="830"/>
                    </a:lnTo>
                    <a:lnTo>
                      <a:pt x="514" y="830"/>
                    </a:lnTo>
                    <a:lnTo>
                      <a:pt x="516" y="830"/>
                    </a:lnTo>
                    <a:lnTo>
                      <a:pt x="521" y="827"/>
                    </a:lnTo>
                    <a:lnTo>
                      <a:pt x="521" y="827"/>
                    </a:lnTo>
                    <a:lnTo>
                      <a:pt x="523" y="830"/>
                    </a:lnTo>
                    <a:lnTo>
                      <a:pt x="526" y="830"/>
                    </a:lnTo>
                    <a:lnTo>
                      <a:pt x="526" y="830"/>
                    </a:lnTo>
                    <a:lnTo>
                      <a:pt x="526" y="827"/>
                    </a:lnTo>
                    <a:lnTo>
                      <a:pt x="528" y="827"/>
                    </a:lnTo>
                    <a:lnTo>
                      <a:pt x="528" y="830"/>
                    </a:lnTo>
                    <a:lnTo>
                      <a:pt x="530" y="827"/>
                    </a:lnTo>
                    <a:lnTo>
                      <a:pt x="530" y="825"/>
                    </a:lnTo>
                    <a:lnTo>
                      <a:pt x="528" y="825"/>
                    </a:lnTo>
                    <a:lnTo>
                      <a:pt x="528" y="825"/>
                    </a:lnTo>
                    <a:lnTo>
                      <a:pt x="526" y="825"/>
                    </a:lnTo>
                    <a:lnTo>
                      <a:pt x="523" y="823"/>
                    </a:lnTo>
                    <a:lnTo>
                      <a:pt x="521" y="820"/>
                    </a:lnTo>
                    <a:lnTo>
                      <a:pt x="521" y="820"/>
                    </a:lnTo>
                    <a:lnTo>
                      <a:pt x="523" y="820"/>
                    </a:lnTo>
                    <a:lnTo>
                      <a:pt x="526" y="823"/>
                    </a:lnTo>
                    <a:lnTo>
                      <a:pt x="528" y="825"/>
                    </a:lnTo>
                    <a:lnTo>
                      <a:pt x="533" y="830"/>
                    </a:lnTo>
                    <a:lnTo>
                      <a:pt x="535" y="830"/>
                    </a:lnTo>
                    <a:lnTo>
                      <a:pt x="535" y="830"/>
                    </a:lnTo>
                    <a:lnTo>
                      <a:pt x="540" y="823"/>
                    </a:lnTo>
                    <a:lnTo>
                      <a:pt x="542" y="820"/>
                    </a:lnTo>
                    <a:lnTo>
                      <a:pt x="542" y="820"/>
                    </a:lnTo>
                    <a:lnTo>
                      <a:pt x="542" y="820"/>
                    </a:lnTo>
                    <a:lnTo>
                      <a:pt x="542" y="818"/>
                    </a:lnTo>
                    <a:lnTo>
                      <a:pt x="542" y="818"/>
                    </a:lnTo>
                    <a:lnTo>
                      <a:pt x="545" y="818"/>
                    </a:lnTo>
                    <a:lnTo>
                      <a:pt x="545" y="816"/>
                    </a:lnTo>
                    <a:lnTo>
                      <a:pt x="552" y="816"/>
                    </a:lnTo>
                    <a:lnTo>
                      <a:pt x="552" y="813"/>
                    </a:lnTo>
                    <a:lnTo>
                      <a:pt x="552" y="813"/>
                    </a:lnTo>
                    <a:lnTo>
                      <a:pt x="552" y="809"/>
                    </a:lnTo>
                    <a:lnTo>
                      <a:pt x="554" y="806"/>
                    </a:lnTo>
                    <a:lnTo>
                      <a:pt x="554" y="804"/>
                    </a:lnTo>
                    <a:lnTo>
                      <a:pt x="554" y="801"/>
                    </a:lnTo>
                    <a:lnTo>
                      <a:pt x="554" y="794"/>
                    </a:lnTo>
                    <a:lnTo>
                      <a:pt x="554" y="792"/>
                    </a:lnTo>
                    <a:lnTo>
                      <a:pt x="556" y="792"/>
                    </a:lnTo>
                    <a:lnTo>
                      <a:pt x="556" y="790"/>
                    </a:lnTo>
                    <a:lnTo>
                      <a:pt x="559" y="787"/>
                    </a:lnTo>
                    <a:lnTo>
                      <a:pt x="561" y="778"/>
                    </a:lnTo>
                    <a:lnTo>
                      <a:pt x="561" y="778"/>
                    </a:lnTo>
                    <a:lnTo>
                      <a:pt x="561" y="776"/>
                    </a:lnTo>
                    <a:lnTo>
                      <a:pt x="564" y="771"/>
                    </a:lnTo>
                    <a:lnTo>
                      <a:pt x="564" y="768"/>
                    </a:lnTo>
                    <a:lnTo>
                      <a:pt x="564" y="768"/>
                    </a:lnTo>
                    <a:lnTo>
                      <a:pt x="564" y="764"/>
                    </a:lnTo>
                    <a:lnTo>
                      <a:pt x="564" y="759"/>
                    </a:lnTo>
                    <a:lnTo>
                      <a:pt x="564" y="757"/>
                    </a:lnTo>
                    <a:lnTo>
                      <a:pt x="564" y="754"/>
                    </a:lnTo>
                    <a:lnTo>
                      <a:pt x="564" y="752"/>
                    </a:lnTo>
                    <a:lnTo>
                      <a:pt x="561" y="750"/>
                    </a:lnTo>
                    <a:lnTo>
                      <a:pt x="561" y="745"/>
                    </a:lnTo>
                    <a:lnTo>
                      <a:pt x="559" y="740"/>
                    </a:lnTo>
                    <a:lnTo>
                      <a:pt x="556" y="738"/>
                    </a:lnTo>
                    <a:lnTo>
                      <a:pt x="556" y="735"/>
                    </a:lnTo>
                    <a:lnTo>
                      <a:pt x="538" y="721"/>
                    </a:lnTo>
                    <a:lnTo>
                      <a:pt x="530" y="717"/>
                    </a:lnTo>
                    <a:lnTo>
                      <a:pt x="507" y="712"/>
                    </a:lnTo>
                    <a:lnTo>
                      <a:pt x="507" y="712"/>
                    </a:lnTo>
                    <a:lnTo>
                      <a:pt x="509" y="712"/>
                    </a:lnTo>
                    <a:lnTo>
                      <a:pt x="509" y="712"/>
                    </a:lnTo>
                    <a:lnTo>
                      <a:pt x="509" y="712"/>
                    </a:lnTo>
                    <a:lnTo>
                      <a:pt x="512" y="714"/>
                    </a:lnTo>
                    <a:lnTo>
                      <a:pt x="507" y="714"/>
                    </a:lnTo>
                    <a:lnTo>
                      <a:pt x="505" y="714"/>
                    </a:lnTo>
                    <a:lnTo>
                      <a:pt x="502" y="712"/>
                    </a:lnTo>
                    <a:lnTo>
                      <a:pt x="497" y="712"/>
                    </a:lnTo>
                    <a:lnTo>
                      <a:pt x="493" y="712"/>
                    </a:lnTo>
                    <a:lnTo>
                      <a:pt x="490" y="712"/>
                    </a:lnTo>
                    <a:lnTo>
                      <a:pt x="490" y="710"/>
                    </a:lnTo>
                    <a:lnTo>
                      <a:pt x="488" y="710"/>
                    </a:lnTo>
                    <a:lnTo>
                      <a:pt x="486" y="710"/>
                    </a:lnTo>
                    <a:lnTo>
                      <a:pt x="486" y="712"/>
                    </a:lnTo>
                    <a:lnTo>
                      <a:pt x="483" y="712"/>
                    </a:lnTo>
                    <a:lnTo>
                      <a:pt x="479" y="712"/>
                    </a:lnTo>
                    <a:lnTo>
                      <a:pt x="476" y="714"/>
                    </a:lnTo>
                    <a:lnTo>
                      <a:pt x="474" y="717"/>
                    </a:lnTo>
                    <a:lnTo>
                      <a:pt x="472" y="719"/>
                    </a:lnTo>
                    <a:lnTo>
                      <a:pt x="472" y="721"/>
                    </a:lnTo>
                    <a:lnTo>
                      <a:pt x="472" y="724"/>
                    </a:lnTo>
                    <a:lnTo>
                      <a:pt x="472" y="726"/>
                    </a:lnTo>
                    <a:lnTo>
                      <a:pt x="469" y="728"/>
                    </a:lnTo>
                    <a:lnTo>
                      <a:pt x="467" y="731"/>
                    </a:lnTo>
                    <a:lnTo>
                      <a:pt x="467" y="733"/>
                    </a:lnTo>
                    <a:lnTo>
                      <a:pt x="467" y="735"/>
                    </a:lnTo>
                    <a:lnTo>
                      <a:pt x="467" y="735"/>
                    </a:lnTo>
                    <a:lnTo>
                      <a:pt x="464" y="735"/>
                    </a:lnTo>
                    <a:lnTo>
                      <a:pt x="464" y="733"/>
                    </a:lnTo>
                    <a:lnTo>
                      <a:pt x="462" y="731"/>
                    </a:lnTo>
                    <a:lnTo>
                      <a:pt x="460" y="731"/>
                    </a:lnTo>
                    <a:lnTo>
                      <a:pt x="457" y="731"/>
                    </a:lnTo>
                    <a:lnTo>
                      <a:pt x="457" y="733"/>
                    </a:lnTo>
                    <a:lnTo>
                      <a:pt x="455" y="731"/>
                    </a:lnTo>
                    <a:lnTo>
                      <a:pt x="453" y="724"/>
                    </a:lnTo>
                    <a:lnTo>
                      <a:pt x="450" y="724"/>
                    </a:lnTo>
                    <a:lnTo>
                      <a:pt x="448" y="724"/>
                    </a:lnTo>
                    <a:lnTo>
                      <a:pt x="448" y="721"/>
                    </a:lnTo>
                    <a:lnTo>
                      <a:pt x="446" y="721"/>
                    </a:lnTo>
                    <a:lnTo>
                      <a:pt x="443" y="721"/>
                    </a:lnTo>
                    <a:lnTo>
                      <a:pt x="441" y="721"/>
                    </a:lnTo>
                    <a:lnTo>
                      <a:pt x="441" y="721"/>
                    </a:lnTo>
                    <a:lnTo>
                      <a:pt x="441" y="719"/>
                    </a:lnTo>
                    <a:lnTo>
                      <a:pt x="443" y="719"/>
                    </a:lnTo>
                    <a:lnTo>
                      <a:pt x="443" y="717"/>
                    </a:lnTo>
                    <a:lnTo>
                      <a:pt x="446" y="717"/>
                    </a:lnTo>
                    <a:lnTo>
                      <a:pt x="450" y="707"/>
                    </a:lnTo>
                    <a:lnTo>
                      <a:pt x="453" y="707"/>
                    </a:lnTo>
                    <a:lnTo>
                      <a:pt x="453" y="707"/>
                    </a:lnTo>
                    <a:lnTo>
                      <a:pt x="460" y="700"/>
                    </a:lnTo>
                    <a:lnTo>
                      <a:pt x="460" y="700"/>
                    </a:lnTo>
                    <a:lnTo>
                      <a:pt x="462" y="698"/>
                    </a:lnTo>
                    <a:lnTo>
                      <a:pt x="462" y="698"/>
                    </a:lnTo>
                    <a:lnTo>
                      <a:pt x="462" y="698"/>
                    </a:lnTo>
                    <a:lnTo>
                      <a:pt x="464" y="691"/>
                    </a:lnTo>
                    <a:lnTo>
                      <a:pt x="464" y="686"/>
                    </a:lnTo>
                    <a:lnTo>
                      <a:pt x="464" y="681"/>
                    </a:lnTo>
                    <a:lnTo>
                      <a:pt x="457" y="667"/>
                    </a:lnTo>
                    <a:lnTo>
                      <a:pt x="457" y="665"/>
                    </a:lnTo>
                    <a:lnTo>
                      <a:pt x="457" y="662"/>
                    </a:lnTo>
                    <a:lnTo>
                      <a:pt x="455" y="660"/>
                    </a:lnTo>
                    <a:lnTo>
                      <a:pt x="455" y="660"/>
                    </a:lnTo>
                    <a:lnTo>
                      <a:pt x="455" y="660"/>
                    </a:lnTo>
                    <a:lnTo>
                      <a:pt x="453" y="658"/>
                    </a:lnTo>
                    <a:lnTo>
                      <a:pt x="453" y="658"/>
                    </a:lnTo>
                    <a:lnTo>
                      <a:pt x="453" y="658"/>
                    </a:lnTo>
                    <a:lnTo>
                      <a:pt x="453" y="655"/>
                    </a:lnTo>
                    <a:lnTo>
                      <a:pt x="453" y="655"/>
                    </a:lnTo>
                    <a:lnTo>
                      <a:pt x="450" y="655"/>
                    </a:lnTo>
                    <a:lnTo>
                      <a:pt x="450" y="653"/>
                    </a:lnTo>
                    <a:lnTo>
                      <a:pt x="448" y="653"/>
                    </a:lnTo>
                    <a:lnTo>
                      <a:pt x="448" y="653"/>
                    </a:lnTo>
                    <a:lnTo>
                      <a:pt x="446" y="651"/>
                    </a:lnTo>
                    <a:lnTo>
                      <a:pt x="441" y="646"/>
                    </a:lnTo>
                    <a:lnTo>
                      <a:pt x="436" y="641"/>
                    </a:lnTo>
                    <a:lnTo>
                      <a:pt x="436" y="641"/>
                    </a:lnTo>
                    <a:lnTo>
                      <a:pt x="431" y="641"/>
                    </a:lnTo>
                    <a:lnTo>
                      <a:pt x="431" y="639"/>
                    </a:lnTo>
                    <a:lnTo>
                      <a:pt x="429" y="639"/>
                    </a:lnTo>
                    <a:lnTo>
                      <a:pt x="427" y="636"/>
                    </a:lnTo>
                    <a:lnTo>
                      <a:pt x="422" y="627"/>
                    </a:lnTo>
                    <a:lnTo>
                      <a:pt x="420" y="625"/>
                    </a:lnTo>
                    <a:lnTo>
                      <a:pt x="417" y="625"/>
                    </a:lnTo>
                    <a:lnTo>
                      <a:pt x="405" y="627"/>
                    </a:lnTo>
                    <a:lnTo>
                      <a:pt x="403" y="629"/>
                    </a:lnTo>
                    <a:lnTo>
                      <a:pt x="403" y="629"/>
                    </a:lnTo>
                    <a:lnTo>
                      <a:pt x="401" y="629"/>
                    </a:lnTo>
                    <a:lnTo>
                      <a:pt x="401" y="627"/>
                    </a:lnTo>
                    <a:lnTo>
                      <a:pt x="398" y="625"/>
                    </a:lnTo>
                    <a:lnTo>
                      <a:pt x="396" y="625"/>
                    </a:lnTo>
                    <a:lnTo>
                      <a:pt x="394" y="625"/>
                    </a:lnTo>
                    <a:lnTo>
                      <a:pt x="391" y="627"/>
                    </a:lnTo>
                    <a:lnTo>
                      <a:pt x="391" y="627"/>
                    </a:lnTo>
                    <a:lnTo>
                      <a:pt x="391" y="627"/>
                    </a:lnTo>
                    <a:lnTo>
                      <a:pt x="389" y="627"/>
                    </a:lnTo>
                    <a:lnTo>
                      <a:pt x="389" y="627"/>
                    </a:lnTo>
                    <a:lnTo>
                      <a:pt x="389" y="627"/>
                    </a:lnTo>
                    <a:lnTo>
                      <a:pt x="394" y="622"/>
                    </a:lnTo>
                    <a:lnTo>
                      <a:pt x="394" y="622"/>
                    </a:lnTo>
                    <a:lnTo>
                      <a:pt x="398" y="622"/>
                    </a:lnTo>
                    <a:lnTo>
                      <a:pt x="398" y="625"/>
                    </a:lnTo>
                    <a:lnTo>
                      <a:pt x="401" y="625"/>
                    </a:lnTo>
                    <a:lnTo>
                      <a:pt x="401" y="625"/>
                    </a:lnTo>
                    <a:lnTo>
                      <a:pt x="403" y="625"/>
                    </a:lnTo>
                    <a:lnTo>
                      <a:pt x="408" y="625"/>
                    </a:lnTo>
                    <a:lnTo>
                      <a:pt x="417" y="622"/>
                    </a:lnTo>
                    <a:lnTo>
                      <a:pt x="420" y="622"/>
                    </a:lnTo>
                    <a:lnTo>
                      <a:pt x="422" y="622"/>
                    </a:lnTo>
                    <a:lnTo>
                      <a:pt x="424" y="625"/>
                    </a:lnTo>
                    <a:lnTo>
                      <a:pt x="431" y="632"/>
                    </a:lnTo>
                    <a:lnTo>
                      <a:pt x="431" y="634"/>
                    </a:lnTo>
                    <a:lnTo>
                      <a:pt x="434" y="634"/>
                    </a:lnTo>
                    <a:lnTo>
                      <a:pt x="434" y="634"/>
                    </a:lnTo>
                    <a:lnTo>
                      <a:pt x="436" y="636"/>
                    </a:lnTo>
                    <a:lnTo>
                      <a:pt x="438" y="634"/>
                    </a:lnTo>
                    <a:lnTo>
                      <a:pt x="441" y="634"/>
                    </a:lnTo>
                    <a:lnTo>
                      <a:pt x="441" y="632"/>
                    </a:lnTo>
                    <a:lnTo>
                      <a:pt x="443" y="634"/>
                    </a:lnTo>
                    <a:lnTo>
                      <a:pt x="448" y="636"/>
                    </a:lnTo>
                    <a:lnTo>
                      <a:pt x="448" y="636"/>
                    </a:lnTo>
                    <a:lnTo>
                      <a:pt x="448" y="636"/>
                    </a:lnTo>
                    <a:lnTo>
                      <a:pt x="448" y="639"/>
                    </a:lnTo>
                    <a:lnTo>
                      <a:pt x="448" y="644"/>
                    </a:lnTo>
                    <a:lnTo>
                      <a:pt x="448" y="641"/>
                    </a:lnTo>
                    <a:lnTo>
                      <a:pt x="448" y="641"/>
                    </a:lnTo>
                    <a:lnTo>
                      <a:pt x="450" y="636"/>
                    </a:lnTo>
                    <a:lnTo>
                      <a:pt x="448" y="634"/>
                    </a:lnTo>
                    <a:lnTo>
                      <a:pt x="436" y="615"/>
                    </a:lnTo>
                    <a:lnTo>
                      <a:pt x="429" y="604"/>
                    </a:lnTo>
                    <a:lnTo>
                      <a:pt x="427" y="599"/>
                    </a:lnTo>
                    <a:lnTo>
                      <a:pt x="424" y="592"/>
                    </a:lnTo>
                    <a:lnTo>
                      <a:pt x="424" y="589"/>
                    </a:lnTo>
                    <a:lnTo>
                      <a:pt x="427" y="582"/>
                    </a:lnTo>
                    <a:lnTo>
                      <a:pt x="429" y="582"/>
                    </a:lnTo>
                    <a:lnTo>
                      <a:pt x="434" y="578"/>
                    </a:lnTo>
                    <a:lnTo>
                      <a:pt x="431" y="575"/>
                    </a:lnTo>
                    <a:lnTo>
                      <a:pt x="422" y="573"/>
                    </a:lnTo>
                    <a:lnTo>
                      <a:pt x="422" y="571"/>
                    </a:lnTo>
                    <a:lnTo>
                      <a:pt x="422" y="568"/>
                    </a:lnTo>
                    <a:lnTo>
                      <a:pt x="420" y="566"/>
                    </a:lnTo>
                    <a:lnTo>
                      <a:pt x="420" y="566"/>
                    </a:lnTo>
                    <a:lnTo>
                      <a:pt x="417" y="563"/>
                    </a:lnTo>
                    <a:lnTo>
                      <a:pt x="417" y="563"/>
                    </a:lnTo>
                    <a:lnTo>
                      <a:pt x="417" y="563"/>
                    </a:lnTo>
                    <a:lnTo>
                      <a:pt x="415" y="561"/>
                    </a:lnTo>
                    <a:lnTo>
                      <a:pt x="413" y="561"/>
                    </a:lnTo>
                    <a:lnTo>
                      <a:pt x="413" y="559"/>
                    </a:lnTo>
                    <a:lnTo>
                      <a:pt x="413" y="559"/>
                    </a:lnTo>
                    <a:lnTo>
                      <a:pt x="413" y="559"/>
                    </a:lnTo>
                    <a:lnTo>
                      <a:pt x="413" y="556"/>
                    </a:lnTo>
                    <a:lnTo>
                      <a:pt x="410" y="556"/>
                    </a:lnTo>
                    <a:lnTo>
                      <a:pt x="410" y="556"/>
                    </a:lnTo>
                    <a:lnTo>
                      <a:pt x="410" y="556"/>
                    </a:lnTo>
                    <a:lnTo>
                      <a:pt x="410" y="554"/>
                    </a:lnTo>
                    <a:lnTo>
                      <a:pt x="410" y="552"/>
                    </a:lnTo>
                    <a:lnTo>
                      <a:pt x="408" y="549"/>
                    </a:lnTo>
                    <a:lnTo>
                      <a:pt x="408" y="547"/>
                    </a:lnTo>
                    <a:lnTo>
                      <a:pt x="408" y="545"/>
                    </a:lnTo>
                    <a:lnTo>
                      <a:pt x="405" y="545"/>
                    </a:lnTo>
                    <a:lnTo>
                      <a:pt x="403" y="542"/>
                    </a:lnTo>
                    <a:lnTo>
                      <a:pt x="403" y="540"/>
                    </a:lnTo>
                    <a:lnTo>
                      <a:pt x="403" y="540"/>
                    </a:lnTo>
                    <a:lnTo>
                      <a:pt x="403" y="538"/>
                    </a:lnTo>
                    <a:lnTo>
                      <a:pt x="403" y="538"/>
                    </a:lnTo>
                    <a:lnTo>
                      <a:pt x="401" y="535"/>
                    </a:lnTo>
                    <a:lnTo>
                      <a:pt x="401" y="533"/>
                    </a:lnTo>
                    <a:lnTo>
                      <a:pt x="384" y="523"/>
                    </a:lnTo>
                    <a:lnTo>
                      <a:pt x="370" y="519"/>
                    </a:lnTo>
                    <a:lnTo>
                      <a:pt x="365" y="516"/>
                    </a:lnTo>
                    <a:lnTo>
                      <a:pt x="363" y="516"/>
                    </a:lnTo>
                    <a:lnTo>
                      <a:pt x="363" y="516"/>
                    </a:lnTo>
                    <a:lnTo>
                      <a:pt x="361" y="514"/>
                    </a:lnTo>
                    <a:lnTo>
                      <a:pt x="358" y="514"/>
                    </a:lnTo>
                    <a:lnTo>
                      <a:pt x="358" y="516"/>
                    </a:lnTo>
                    <a:lnTo>
                      <a:pt x="358" y="519"/>
                    </a:lnTo>
                    <a:lnTo>
                      <a:pt x="358" y="519"/>
                    </a:lnTo>
                    <a:lnTo>
                      <a:pt x="358" y="516"/>
                    </a:lnTo>
                    <a:lnTo>
                      <a:pt x="356" y="516"/>
                    </a:lnTo>
                    <a:lnTo>
                      <a:pt x="356" y="516"/>
                    </a:lnTo>
                    <a:lnTo>
                      <a:pt x="356" y="516"/>
                    </a:lnTo>
                    <a:lnTo>
                      <a:pt x="356" y="516"/>
                    </a:lnTo>
                    <a:lnTo>
                      <a:pt x="356" y="516"/>
                    </a:lnTo>
                    <a:lnTo>
                      <a:pt x="356" y="516"/>
                    </a:lnTo>
                    <a:lnTo>
                      <a:pt x="354" y="516"/>
                    </a:lnTo>
                    <a:lnTo>
                      <a:pt x="354" y="516"/>
                    </a:lnTo>
                    <a:lnTo>
                      <a:pt x="354" y="514"/>
                    </a:lnTo>
                    <a:lnTo>
                      <a:pt x="356" y="514"/>
                    </a:lnTo>
                    <a:lnTo>
                      <a:pt x="356" y="514"/>
                    </a:lnTo>
                    <a:lnTo>
                      <a:pt x="358" y="512"/>
                    </a:lnTo>
                    <a:lnTo>
                      <a:pt x="356" y="512"/>
                    </a:lnTo>
                    <a:lnTo>
                      <a:pt x="356" y="512"/>
                    </a:lnTo>
                    <a:lnTo>
                      <a:pt x="356" y="512"/>
                    </a:lnTo>
                    <a:lnTo>
                      <a:pt x="356" y="509"/>
                    </a:lnTo>
                    <a:lnTo>
                      <a:pt x="356" y="509"/>
                    </a:lnTo>
                    <a:lnTo>
                      <a:pt x="356" y="509"/>
                    </a:lnTo>
                    <a:lnTo>
                      <a:pt x="356" y="507"/>
                    </a:lnTo>
                    <a:lnTo>
                      <a:pt x="356" y="507"/>
                    </a:lnTo>
                    <a:lnTo>
                      <a:pt x="356" y="507"/>
                    </a:lnTo>
                    <a:lnTo>
                      <a:pt x="354" y="505"/>
                    </a:lnTo>
                    <a:lnTo>
                      <a:pt x="351" y="505"/>
                    </a:lnTo>
                    <a:lnTo>
                      <a:pt x="349" y="502"/>
                    </a:lnTo>
                    <a:lnTo>
                      <a:pt x="349" y="497"/>
                    </a:lnTo>
                    <a:lnTo>
                      <a:pt x="344" y="483"/>
                    </a:lnTo>
                    <a:lnTo>
                      <a:pt x="344" y="481"/>
                    </a:lnTo>
                    <a:lnTo>
                      <a:pt x="344" y="481"/>
                    </a:lnTo>
                    <a:lnTo>
                      <a:pt x="344" y="479"/>
                    </a:lnTo>
                    <a:lnTo>
                      <a:pt x="344" y="476"/>
                    </a:lnTo>
                    <a:lnTo>
                      <a:pt x="344" y="476"/>
                    </a:lnTo>
                    <a:lnTo>
                      <a:pt x="344" y="476"/>
                    </a:lnTo>
                    <a:lnTo>
                      <a:pt x="344" y="474"/>
                    </a:lnTo>
                    <a:lnTo>
                      <a:pt x="342" y="474"/>
                    </a:lnTo>
                    <a:lnTo>
                      <a:pt x="342" y="472"/>
                    </a:lnTo>
                    <a:lnTo>
                      <a:pt x="339" y="472"/>
                    </a:lnTo>
                    <a:lnTo>
                      <a:pt x="339" y="469"/>
                    </a:lnTo>
                    <a:lnTo>
                      <a:pt x="339" y="469"/>
                    </a:lnTo>
                    <a:lnTo>
                      <a:pt x="339" y="467"/>
                    </a:lnTo>
                    <a:lnTo>
                      <a:pt x="339" y="467"/>
                    </a:lnTo>
                    <a:lnTo>
                      <a:pt x="337" y="464"/>
                    </a:lnTo>
                    <a:lnTo>
                      <a:pt x="337" y="462"/>
                    </a:lnTo>
                    <a:lnTo>
                      <a:pt x="337" y="462"/>
                    </a:lnTo>
                    <a:lnTo>
                      <a:pt x="337" y="460"/>
                    </a:lnTo>
                    <a:lnTo>
                      <a:pt x="335" y="460"/>
                    </a:lnTo>
                    <a:lnTo>
                      <a:pt x="335" y="460"/>
                    </a:lnTo>
                    <a:lnTo>
                      <a:pt x="335" y="457"/>
                    </a:lnTo>
                    <a:lnTo>
                      <a:pt x="335" y="455"/>
                    </a:lnTo>
                    <a:lnTo>
                      <a:pt x="335" y="453"/>
                    </a:lnTo>
                    <a:lnTo>
                      <a:pt x="332" y="450"/>
                    </a:lnTo>
                    <a:lnTo>
                      <a:pt x="332" y="450"/>
                    </a:lnTo>
                    <a:lnTo>
                      <a:pt x="332" y="448"/>
                    </a:lnTo>
                    <a:lnTo>
                      <a:pt x="332" y="448"/>
                    </a:lnTo>
                    <a:lnTo>
                      <a:pt x="332" y="448"/>
                    </a:lnTo>
                    <a:lnTo>
                      <a:pt x="332" y="446"/>
                    </a:lnTo>
                    <a:lnTo>
                      <a:pt x="332" y="446"/>
                    </a:lnTo>
                    <a:lnTo>
                      <a:pt x="332" y="443"/>
                    </a:lnTo>
                    <a:lnTo>
                      <a:pt x="332" y="443"/>
                    </a:lnTo>
                    <a:lnTo>
                      <a:pt x="330" y="441"/>
                    </a:lnTo>
                    <a:lnTo>
                      <a:pt x="330" y="439"/>
                    </a:lnTo>
                    <a:lnTo>
                      <a:pt x="330" y="439"/>
                    </a:lnTo>
                    <a:lnTo>
                      <a:pt x="330" y="436"/>
                    </a:lnTo>
                    <a:lnTo>
                      <a:pt x="330" y="436"/>
                    </a:lnTo>
                    <a:lnTo>
                      <a:pt x="330" y="436"/>
                    </a:lnTo>
                    <a:lnTo>
                      <a:pt x="330" y="434"/>
                    </a:lnTo>
                    <a:lnTo>
                      <a:pt x="330" y="434"/>
                    </a:lnTo>
                    <a:lnTo>
                      <a:pt x="330" y="434"/>
                    </a:lnTo>
                    <a:lnTo>
                      <a:pt x="330" y="434"/>
                    </a:lnTo>
                    <a:lnTo>
                      <a:pt x="330" y="432"/>
                    </a:lnTo>
                    <a:lnTo>
                      <a:pt x="330" y="429"/>
                    </a:lnTo>
                    <a:lnTo>
                      <a:pt x="328" y="427"/>
                    </a:lnTo>
                    <a:lnTo>
                      <a:pt x="328" y="424"/>
                    </a:lnTo>
                    <a:lnTo>
                      <a:pt x="328" y="424"/>
                    </a:lnTo>
                    <a:lnTo>
                      <a:pt x="328" y="422"/>
                    </a:lnTo>
                    <a:lnTo>
                      <a:pt x="328" y="420"/>
                    </a:lnTo>
                    <a:lnTo>
                      <a:pt x="328" y="420"/>
                    </a:lnTo>
                    <a:lnTo>
                      <a:pt x="328" y="410"/>
                    </a:lnTo>
                    <a:lnTo>
                      <a:pt x="328" y="410"/>
                    </a:lnTo>
                    <a:lnTo>
                      <a:pt x="328" y="408"/>
                    </a:lnTo>
                    <a:lnTo>
                      <a:pt x="325" y="408"/>
                    </a:lnTo>
                    <a:lnTo>
                      <a:pt x="325" y="408"/>
                    </a:lnTo>
                    <a:lnTo>
                      <a:pt x="325" y="408"/>
                    </a:lnTo>
                    <a:lnTo>
                      <a:pt x="325" y="406"/>
                    </a:lnTo>
                    <a:lnTo>
                      <a:pt x="325" y="406"/>
                    </a:lnTo>
                    <a:lnTo>
                      <a:pt x="325" y="403"/>
                    </a:lnTo>
                    <a:lnTo>
                      <a:pt x="325" y="403"/>
                    </a:lnTo>
                    <a:lnTo>
                      <a:pt x="325" y="403"/>
                    </a:lnTo>
                    <a:lnTo>
                      <a:pt x="325" y="403"/>
                    </a:lnTo>
                    <a:lnTo>
                      <a:pt x="323" y="401"/>
                    </a:lnTo>
                    <a:lnTo>
                      <a:pt x="323" y="401"/>
                    </a:lnTo>
                    <a:lnTo>
                      <a:pt x="325" y="399"/>
                    </a:lnTo>
                    <a:lnTo>
                      <a:pt x="325" y="399"/>
                    </a:lnTo>
                    <a:lnTo>
                      <a:pt x="320" y="396"/>
                    </a:lnTo>
                    <a:lnTo>
                      <a:pt x="318" y="394"/>
                    </a:lnTo>
                    <a:lnTo>
                      <a:pt x="316" y="396"/>
                    </a:lnTo>
                    <a:lnTo>
                      <a:pt x="316" y="396"/>
                    </a:lnTo>
                    <a:lnTo>
                      <a:pt x="316" y="394"/>
                    </a:lnTo>
                    <a:lnTo>
                      <a:pt x="316" y="394"/>
                    </a:lnTo>
                    <a:lnTo>
                      <a:pt x="316" y="391"/>
                    </a:lnTo>
                    <a:lnTo>
                      <a:pt x="316" y="391"/>
                    </a:lnTo>
                    <a:lnTo>
                      <a:pt x="313" y="391"/>
                    </a:lnTo>
                    <a:lnTo>
                      <a:pt x="313" y="391"/>
                    </a:lnTo>
                    <a:lnTo>
                      <a:pt x="313" y="391"/>
                    </a:lnTo>
                    <a:lnTo>
                      <a:pt x="313" y="391"/>
                    </a:lnTo>
                    <a:lnTo>
                      <a:pt x="311" y="391"/>
                    </a:lnTo>
                    <a:lnTo>
                      <a:pt x="311" y="391"/>
                    </a:lnTo>
                    <a:lnTo>
                      <a:pt x="311" y="391"/>
                    </a:lnTo>
                    <a:lnTo>
                      <a:pt x="311" y="391"/>
                    </a:lnTo>
                    <a:lnTo>
                      <a:pt x="311" y="389"/>
                    </a:lnTo>
                    <a:lnTo>
                      <a:pt x="309" y="389"/>
                    </a:lnTo>
                    <a:lnTo>
                      <a:pt x="309" y="387"/>
                    </a:lnTo>
                    <a:lnTo>
                      <a:pt x="306" y="384"/>
                    </a:lnTo>
                    <a:lnTo>
                      <a:pt x="297" y="373"/>
                    </a:lnTo>
                    <a:lnTo>
                      <a:pt x="297" y="370"/>
                    </a:lnTo>
                    <a:lnTo>
                      <a:pt x="292" y="363"/>
                    </a:lnTo>
                    <a:lnTo>
                      <a:pt x="292" y="361"/>
                    </a:lnTo>
                    <a:lnTo>
                      <a:pt x="290" y="361"/>
                    </a:lnTo>
                    <a:lnTo>
                      <a:pt x="290" y="361"/>
                    </a:lnTo>
                    <a:lnTo>
                      <a:pt x="290" y="361"/>
                    </a:lnTo>
                    <a:lnTo>
                      <a:pt x="290" y="358"/>
                    </a:lnTo>
                    <a:lnTo>
                      <a:pt x="287" y="358"/>
                    </a:lnTo>
                    <a:lnTo>
                      <a:pt x="287" y="356"/>
                    </a:lnTo>
                    <a:lnTo>
                      <a:pt x="276" y="354"/>
                    </a:lnTo>
                    <a:lnTo>
                      <a:pt x="273" y="354"/>
                    </a:lnTo>
                    <a:lnTo>
                      <a:pt x="269" y="349"/>
                    </a:lnTo>
                    <a:lnTo>
                      <a:pt x="266" y="349"/>
                    </a:lnTo>
                    <a:lnTo>
                      <a:pt x="264" y="347"/>
                    </a:lnTo>
                    <a:lnTo>
                      <a:pt x="261" y="347"/>
                    </a:lnTo>
                    <a:lnTo>
                      <a:pt x="261" y="347"/>
                    </a:lnTo>
                    <a:lnTo>
                      <a:pt x="261" y="347"/>
                    </a:lnTo>
                    <a:lnTo>
                      <a:pt x="261" y="347"/>
                    </a:lnTo>
                    <a:lnTo>
                      <a:pt x="259" y="347"/>
                    </a:lnTo>
                    <a:lnTo>
                      <a:pt x="259" y="347"/>
                    </a:lnTo>
                    <a:lnTo>
                      <a:pt x="257" y="347"/>
                    </a:lnTo>
                    <a:lnTo>
                      <a:pt x="257" y="347"/>
                    </a:lnTo>
                    <a:lnTo>
                      <a:pt x="259" y="344"/>
                    </a:lnTo>
                    <a:lnTo>
                      <a:pt x="257" y="342"/>
                    </a:lnTo>
                    <a:lnTo>
                      <a:pt x="254" y="340"/>
                    </a:lnTo>
                    <a:lnTo>
                      <a:pt x="254" y="340"/>
                    </a:lnTo>
                    <a:lnTo>
                      <a:pt x="243" y="340"/>
                    </a:lnTo>
                    <a:lnTo>
                      <a:pt x="240" y="340"/>
                    </a:lnTo>
                    <a:lnTo>
                      <a:pt x="238" y="342"/>
                    </a:lnTo>
                    <a:lnTo>
                      <a:pt x="238" y="342"/>
                    </a:lnTo>
                    <a:lnTo>
                      <a:pt x="238" y="344"/>
                    </a:lnTo>
                    <a:lnTo>
                      <a:pt x="238" y="344"/>
                    </a:lnTo>
                    <a:lnTo>
                      <a:pt x="238" y="347"/>
                    </a:lnTo>
                    <a:lnTo>
                      <a:pt x="236" y="347"/>
                    </a:lnTo>
                    <a:lnTo>
                      <a:pt x="236" y="347"/>
                    </a:lnTo>
                    <a:lnTo>
                      <a:pt x="233" y="349"/>
                    </a:lnTo>
                    <a:lnTo>
                      <a:pt x="231" y="351"/>
                    </a:lnTo>
                    <a:lnTo>
                      <a:pt x="226" y="354"/>
                    </a:lnTo>
                    <a:lnTo>
                      <a:pt x="221" y="354"/>
                    </a:lnTo>
                    <a:lnTo>
                      <a:pt x="221" y="354"/>
                    </a:lnTo>
                    <a:lnTo>
                      <a:pt x="221" y="354"/>
                    </a:lnTo>
                    <a:lnTo>
                      <a:pt x="219" y="351"/>
                    </a:lnTo>
                    <a:lnTo>
                      <a:pt x="219" y="351"/>
                    </a:lnTo>
                    <a:lnTo>
                      <a:pt x="207" y="349"/>
                    </a:lnTo>
                    <a:lnTo>
                      <a:pt x="205" y="349"/>
                    </a:lnTo>
                    <a:lnTo>
                      <a:pt x="205" y="347"/>
                    </a:lnTo>
                    <a:lnTo>
                      <a:pt x="203" y="347"/>
                    </a:lnTo>
                    <a:lnTo>
                      <a:pt x="203" y="349"/>
                    </a:lnTo>
                    <a:lnTo>
                      <a:pt x="200" y="349"/>
                    </a:lnTo>
                    <a:lnTo>
                      <a:pt x="186" y="344"/>
                    </a:lnTo>
                    <a:lnTo>
                      <a:pt x="186" y="344"/>
                    </a:lnTo>
                    <a:lnTo>
                      <a:pt x="181" y="347"/>
                    </a:lnTo>
                    <a:lnTo>
                      <a:pt x="181" y="344"/>
                    </a:lnTo>
                    <a:lnTo>
                      <a:pt x="179" y="344"/>
                    </a:lnTo>
                    <a:lnTo>
                      <a:pt x="179" y="344"/>
                    </a:lnTo>
                    <a:lnTo>
                      <a:pt x="179" y="342"/>
                    </a:lnTo>
                    <a:lnTo>
                      <a:pt x="179" y="342"/>
                    </a:lnTo>
                    <a:lnTo>
                      <a:pt x="177" y="344"/>
                    </a:lnTo>
                    <a:lnTo>
                      <a:pt x="177" y="342"/>
                    </a:lnTo>
                    <a:lnTo>
                      <a:pt x="177" y="342"/>
                    </a:lnTo>
                    <a:lnTo>
                      <a:pt x="174" y="337"/>
                    </a:lnTo>
                    <a:lnTo>
                      <a:pt x="174" y="337"/>
                    </a:lnTo>
                    <a:lnTo>
                      <a:pt x="172" y="337"/>
                    </a:lnTo>
                    <a:lnTo>
                      <a:pt x="169" y="333"/>
                    </a:lnTo>
                    <a:lnTo>
                      <a:pt x="169" y="333"/>
                    </a:lnTo>
                    <a:lnTo>
                      <a:pt x="169" y="333"/>
                    </a:lnTo>
                    <a:lnTo>
                      <a:pt x="172" y="333"/>
                    </a:lnTo>
                    <a:lnTo>
                      <a:pt x="172" y="335"/>
                    </a:lnTo>
                    <a:lnTo>
                      <a:pt x="174" y="337"/>
                    </a:lnTo>
                    <a:lnTo>
                      <a:pt x="177" y="340"/>
                    </a:lnTo>
                    <a:lnTo>
                      <a:pt x="181" y="340"/>
                    </a:lnTo>
                    <a:lnTo>
                      <a:pt x="186" y="340"/>
                    </a:lnTo>
                    <a:lnTo>
                      <a:pt x="198" y="344"/>
                    </a:lnTo>
                    <a:lnTo>
                      <a:pt x="200" y="344"/>
                    </a:lnTo>
                    <a:lnTo>
                      <a:pt x="203" y="344"/>
                    </a:lnTo>
                    <a:lnTo>
                      <a:pt x="207" y="342"/>
                    </a:lnTo>
                    <a:lnTo>
                      <a:pt x="210" y="340"/>
                    </a:lnTo>
                    <a:lnTo>
                      <a:pt x="210" y="340"/>
                    </a:lnTo>
                    <a:lnTo>
                      <a:pt x="214" y="340"/>
                    </a:lnTo>
                    <a:lnTo>
                      <a:pt x="217" y="340"/>
                    </a:lnTo>
                    <a:lnTo>
                      <a:pt x="217" y="337"/>
                    </a:lnTo>
                    <a:lnTo>
                      <a:pt x="219" y="333"/>
                    </a:lnTo>
                    <a:lnTo>
                      <a:pt x="219" y="333"/>
                    </a:lnTo>
                    <a:lnTo>
                      <a:pt x="219" y="330"/>
                    </a:lnTo>
                    <a:lnTo>
                      <a:pt x="221" y="330"/>
                    </a:lnTo>
                    <a:lnTo>
                      <a:pt x="226" y="325"/>
                    </a:lnTo>
                    <a:lnTo>
                      <a:pt x="228" y="323"/>
                    </a:lnTo>
                    <a:lnTo>
                      <a:pt x="228" y="323"/>
                    </a:lnTo>
                    <a:lnTo>
                      <a:pt x="231" y="321"/>
                    </a:lnTo>
                    <a:lnTo>
                      <a:pt x="231" y="321"/>
                    </a:lnTo>
                    <a:lnTo>
                      <a:pt x="236" y="321"/>
                    </a:lnTo>
                    <a:lnTo>
                      <a:pt x="240" y="323"/>
                    </a:lnTo>
                    <a:lnTo>
                      <a:pt x="240" y="323"/>
                    </a:lnTo>
                    <a:lnTo>
                      <a:pt x="243" y="323"/>
                    </a:lnTo>
                    <a:lnTo>
                      <a:pt x="247" y="318"/>
                    </a:lnTo>
                    <a:lnTo>
                      <a:pt x="252" y="318"/>
                    </a:lnTo>
                    <a:lnTo>
                      <a:pt x="252" y="318"/>
                    </a:lnTo>
                    <a:lnTo>
                      <a:pt x="254" y="316"/>
                    </a:lnTo>
                    <a:lnTo>
                      <a:pt x="257" y="311"/>
                    </a:lnTo>
                    <a:lnTo>
                      <a:pt x="257" y="311"/>
                    </a:lnTo>
                    <a:lnTo>
                      <a:pt x="254" y="309"/>
                    </a:lnTo>
                    <a:lnTo>
                      <a:pt x="254" y="309"/>
                    </a:lnTo>
                    <a:lnTo>
                      <a:pt x="252" y="307"/>
                    </a:lnTo>
                    <a:lnTo>
                      <a:pt x="250" y="304"/>
                    </a:lnTo>
                    <a:lnTo>
                      <a:pt x="245" y="304"/>
                    </a:lnTo>
                    <a:lnTo>
                      <a:pt x="243" y="304"/>
                    </a:lnTo>
                    <a:lnTo>
                      <a:pt x="243" y="304"/>
                    </a:lnTo>
                    <a:lnTo>
                      <a:pt x="243" y="304"/>
                    </a:lnTo>
                    <a:lnTo>
                      <a:pt x="243" y="304"/>
                    </a:lnTo>
                    <a:lnTo>
                      <a:pt x="243" y="302"/>
                    </a:lnTo>
                    <a:lnTo>
                      <a:pt x="240" y="302"/>
                    </a:lnTo>
                    <a:lnTo>
                      <a:pt x="240" y="302"/>
                    </a:lnTo>
                    <a:lnTo>
                      <a:pt x="238" y="302"/>
                    </a:lnTo>
                    <a:lnTo>
                      <a:pt x="240" y="300"/>
                    </a:lnTo>
                    <a:lnTo>
                      <a:pt x="240" y="297"/>
                    </a:lnTo>
                    <a:lnTo>
                      <a:pt x="243" y="295"/>
                    </a:lnTo>
                    <a:lnTo>
                      <a:pt x="243" y="292"/>
                    </a:lnTo>
                    <a:lnTo>
                      <a:pt x="240" y="290"/>
                    </a:lnTo>
                    <a:lnTo>
                      <a:pt x="238" y="290"/>
                    </a:lnTo>
                    <a:lnTo>
                      <a:pt x="238" y="290"/>
                    </a:lnTo>
                    <a:lnTo>
                      <a:pt x="236" y="290"/>
                    </a:lnTo>
                    <a:lnTo>
                      <a:pt x="233" y="290"/>
                    </a:lnTo>
                    <a:lnTo>
                      <a:pt x="233" y="290"/>
                    </a:lnTo>
                    <a:lnTo>
                      <a:pt x="231" y="292"/>
                    </a:lnTo>
                    <a:lnTo>
                      <a:pt x="231" y="292"/>
                    </a:lnTo>
                    <a:lnTo>
                      <a:pt x="217" y="300"/>
                    </a:lnTo>
                    <a:lnTo>
                      <a:pt x="214" y="300"/>
                    </a:lnTo>
                    <a:lnTo>
                      <a:pt x="212" y="302"/>
                    </a:lnTo>
                    <a:lnTo>
                      <a:pt x="210" y="302"/>
                    </a:lnTo>
                    <a:lnTo>
                      <a:pt x="207" y="302"/>
                    </a:lnTo>
                    <a:lnTo>
                      <a:pt x="205" y="302"/>
                    </a:lnTo>
                    <a:lnTo>
                      <a:pt x="205" y="302"/>
                    </a:lnTo>
                    <a:lnTo>
                      <a:pt x="207" y="302"/>
                    </a:lnTo>
                    <a:lnTo>
                      <a:pt x="212" y="300"/>
                    </a:lnTo>
                    <a:lnTo>
                      <a:pt x="219" y="292"/>
                    </a:lnTo>
                    <a:lnTo>
                      <a:pt x="221" y="290"/>
                    </a:lnTo>
                    <a:lnTo>
                      <a:pt x="224" y="290"/>
                    </a:lnTo>
                    <a:lnTo>
                      <a:pt x="224" y="290"/>
                    </a:lnTo>
                    <a:lnTo>
                      <a:pt x="240" y="288"/>
                    </a:lnTo>
                    <a:lnTo>
                      <a:pt x="245" y="288"/>
                    </a:lnTo>
                    <a:lnTo>
                      <a:pt x="245" y="288"/>
                    </a:lnTo>
                    <a:lnTo>
                      <a:pt x="245" y="288"/>
                    </a:lnTo>
                    <a:lnTo>
                      <a:pt x="245" y="288"/>
                    </a:lnTo>
                    <a:lnTo>
                      <a:pt x="247" y="288"/>
                    </a:lnTo>
                    <a:lnTo>
                      <a:pt x="247" y="283"/>
                    </a:lnTo>
                    <a:lnTo>
                      <a:pt x="250" y="283"/>
                    </a:lnTo>
                    <a:lnTo>
                      <a:pt x="252" y="283"/>
                    </a:lnTo>
                    <a:lnTo>
                      <a:pt x="254" y="281"/>
                    </a:lnTo>
                    <a:lnTo>
                      <a:pt x="254" y="278"/>
                    </a:lnTo>
                    <a:lnTo>
                      <a:pt x="261" y="274"/>
                    </a:lnTo>
                    <a:lnTo>
                      <a:pt x="261" y="271"/>
                    </a:lnTo>
                    <a:lnTo>
                      <a:pt x="261" y="269"/>
                    </a:lnTo>
                    <a:lnTo>
                      <a:pt x="264" y="269"/>
                    </a:lnTo>
                    <a:lnTo>
                      <a:pt x="264" y="269"/>
                    </a:lnTo>
                    <a:lnTo>
                      <a:pt x="264" y="267"/>
                    </a:lnTo>
                    <a:lnTo>
                      <a:pt x="264" y="264"/>
                    </a:lnTo>
                    <a:lnTo>
                      <a:pt x="264" y="264"/>
                    </a:lnTo>
                    <a:lnTo>
                      <a:pt x="264" y="262"/>
                    </a:lnTo>
                    <a:lnTo>
                      <a:pt x="266" y="262"/>
                    </a:lnTo>
                    <a:lnTo>
                      <a:pt x="266" y="260"/>
                    </a:lnTo>
                    <a:lnTo>
                      <a:pt x="266" y="255"/>
                    </a:lnTo>
                    <a:lnTo>
                      <a:pt x="269" y="252"/>
                    </a:lnTo>
                    <a:lnTo>
                      <a:pt x="269" y="252"/>
                    </a:lnTo>
                    <a:lnTo>
                      <a:pt x="269" y="250"/>
                    </a:lnTo>
                    <a:lnTo>
                      <a:pt x="271" y="250"/>
                    </a:lnTo>
                    <a:lnTo>
                      <a:pt x="276" y="248"/>
                    </a:lnTo>
                    <a:lnTo>
                      <a:pt x="276" y="245"/>
                    </a:lnTo>
                    <a:lnTo>
                      <a:pt x="278" y="243"/>
                    </a:lnTo>
                    <a:lnTo>
                      <a:pt x="278" y="241"/>
                    </a:lnTo>
                    <a:lnTo>
                      <a:pt x="283" y="238"/>
                    </a:lnTo>
                    <a:lnTo>
                      <a:pt x="283" y="236"/>
                    </a:lnTo>
                    <a:lnTo>
                      <a:pt x="283" y="234"/>
                    </a:lnTo>
                    <a:lnTo>
                      <a:pt x="283" y="234"/>
                    </a:lnTo>
                    <a:lnTo>
                      <a:pt x="285" y="231"/>
                    </a:lnTo>
                    <a:lnTo>
                      <a:pt x="285" y="231"/>
                    </a:lnTo>
                    <a:lnTo>
                      <a:pt x="285" y="229"/>
                    </a:lnTo>
                    <a:lnTo>
                      <a:pt x="285" y="229"/>
                    </a:lnTo>
                    <a:lnTo>
                      <a:pt x="285" y="227"/>
                    </a:lnTo>
                    <a:lnTo>
                      <a:pt x="285" y="227"/>
                    </a:lnTo>
                    <a:lnTo>
                      <a:pt x="285" y="222"/>
                    </a:lnTo>
                    <a:lnTo>
                      <a:pt x="287" y="217"/>
                    </a:lnTo>
                    <a:lnTo>
                      <a:pt x="295" y="208"/>
                    </a:lnTo>
                    <a:lnTo>
                      <a:pt x="295" y="205"/>
                    </a:lnTo>
                    <a:lnTo>
                      <a:pt x="295" y="203"/>
                    </a:lnTo>
                    <a:lnTo>
                      <a:pt x="292" y="203"/>
                    </a:lnTo>
                    <a:lnTo>
                      <a:pt x="292" y="201"/>
                    </a:lnTo>
                    <a:lnTo>
                      <a:pt x="292" y="198"/>
                    </a:lnTo>
                    <a:lnTo>
                      <a:pt x="295" y="191"/>
                    </a:lnTo>
                    <a:lnTo>
                      <a:pt x="299" y="179"/>
                    </a:lnTo>
                    <a:lnTo>
                      <a:pt x="302" y="177"/>
                    </a:lnTo>
                    <a:lnTo>
                      <a:pt x="309" y="170"/>
                    </a:lnTo>
                    <a:lnTo>
                      <a:pt x="309" y="168"/>
                    </a:lnTo>
                    <a:lnTo>
                      <a:pt x="311" y="165"/>
                    </a:lnTo>
                    <a:lnTo>
                      <a:pt x="313" y="161"/>
                    </a:lnTo>
                    <a:lnTo>
                      <a:pt x="316" y="161"/>
                    </a:lnTo>
                    <a:lnTo>
                      <a:pt x="316" y="158"/>
                    </a:lnTo>
                    <a:lnTo>
                      <a:pt x="313" y="158"/>
                    </a:lnTo>
                    <a:lnTo>
                      <a:pt x="313" y="158"/>
                    </a:lnTo>
                    <a:lnTo>
                      <a:pt x="313" y="156"/>
                    </a:lnTo>
                    <a:lnTo>
                      <a:pt x="313" y="156"/>
                    </a:lnTo>
                    <a:lnTo>
                      <a:pt x="316" y="156"/>
                    </a:lnTo>
                    <a:lnTo>
                      <a:pt x="313" y="153"/>
                    </a:lnTo>
                    <a:lnTo>
                      <a:pt x="313" y="151"/>
                    </a:lnTo>
                    <a:lnTo>
                      <a:pt x="313" y="151"/>
                    </a:lnTo>
                    <a:lnTo>
                      <a:pt x="313" y="149"/>
                    </a:lnTo>
                    <a:lnTo>
                      <a:pt x="311" y="146"/>
                    </a:lnTo>
                    <a:lnTo>
                      <a:pt x="311" y="144"/>
                    </a:lnTo>
                    <a:lnTo>
                      <a:pt x="311" y="142"/>
                    </a:lnTo>
                    <a:lnTo>
                      <a:pt x="311" y="142"/>
                    </a:lnTo>
                    <a:lnTo>
                      <a:pt x="304" y="135"/>
                    </a:lnTo>
                    <a:lnTo>
                      <a:pt x="304" y="132"/>
                    </a:lnTo>
                    <a:lnTo>
                      <a:pt x="304" y="132"/>
                    </a:lnTo>
                    <a:lnTo>
                      <a:pt x="302" y="132"/>
                    </a:lnTo>
                    <a:lnTo>
                      <a:pt x="302" y="132"/>
                    </a:lnTo>
                    <a:lnTo>
                      <a:pt x="299" y="132"/>
                    </a:lnTo>
                    <a:lnTo>
                      <a:pt x="299" y="132"/>
                    </a:lnTo>
                    <a:lnTo>
                      <a:pt x="299" y="130"/>
                    </a:lnTo>
                    <a:lnTo>
                      <a:pt x="299" y="130"/>
                    </a:lnTo>
                    <a:lnTo>
                      <a:pt x="299" y="128"/>
                    </a:lnTo>
                    <a:lnTo>
                      <a:pt x="290" y="128"/>
                    </a:lnTo>
                    <a:lnTo>
                      <a:pt x="290" y="128"/>
                    </a:lnTo>
                    <a:lnTo>
                      <a:pt x="285" y="132"/>
                    </a:lnTo>
                    <a:lnTo>
                      <a:pt x="283" y="132"/>
                    </a:lnTo>
                    <a:lnTo>
                      <a:pt x="283" y="132"/>
                    </a:lnTo>
                    <a:lnTo>
                      <a:pt x="278" y="130"/>
                    </a:lnTo>
                    <a:lnTo>
                      <a:pt x="278" y="130"/>
                    </a:lnTo>
                    <a:lnTo>
                      <a:pt x="278" y="130"/>
                    </a:lnTo>
                    <a:lnTo>
                      <a:pt x="276" y="130"/>
                    </a:lnTo>
                    <a:lnTo>
                      <a:pt x="276" y="132"/>
                    </a:lnTo>
                    <a:lnTo>
                      <a:pt x="276" y="132"/>
                    </a:lnTo>
                    <a:lnTo>
                      <a:pt x="276" y="132"/>
                    </a:lnTo>
                    <a:lnTo>
                      <a:pt x="273" y="132"/>
                    </a:lnTo>
                    <a:lnTo>
                      <a:pt x="273" y="132"/>
                    </a:lnTo>
                    <a:lnTo>
                      <a:pt x="273" y="132"/>
                    </a:lnTo>
                    <a:lnTo>
                      <a:pt x="271" y="132"/>
                    </a:lnTo>
                    <a:lnTo>
                      <a:pt x="271" y="135"/>
                    </a:lnTo>
                    <a:lnTo>
                      <a:pt x="269" y="132"/>
                    </a:lnTo>
                    <a:lnTo>
                      <a:pt x="269" y="132"/>
                    </a:lnTo>
                    <a:lnTo>
                      <a:pt x="269" y="132"/>
                    </a:lnTo>
                    <a:lnTo>
                      <a:pt x="269" y="135"/>
                    </a:lnTo>
                    <a:lnTo>
                      <a:pt x="264" y="132"/>
                    </a:lnTo>
                    <a:lnTo>
                      <a:pt x="264" y="132"/>
                    </a:lnTo>
                    <a:lnTo>
                      <a:pt x="261" y="132"/>
                    </a:lnTo>
                    <a:lnTo>
                      <a:pt x="261" y="132"/>
                    </a:lnTo>
                    <a:lnTo>
                      <a:pt x="261" y="135"/>
                    </a:lnTo>
                    <a:lnTo>
                      <a:pt x="259" y="132"/>
                    </a:lnTo>
                    <a:lnTo>
                      <a:pt x="257" y="132"/>
                    </a:lnTo>
                    <a:lnTo>
                      <a:pt x="252" y="130"/>
                    </a:lnTo>
                    <a:lnTo>
                      <a:pt x="250" y="130"/>
                    </a:lnTo>
                    <a:lnTo>
                      <a:pt x="250" y="130"/>
                    </a:lnTo>
                    <a:lnTo>
                      <a:pt x="247" y="130"/>
                    </a:lnTo>
                    <a:lnTo>
                      <a:pt x="247" y="130"/>
                    </a:lnTo>
                    <a:lnTo>
                      <a:pt x="247" y="130"/>
                    </a:lnTo>
                    <a:lnTo>
                      <a:pt x="245" y="130"/>
                    </a:lnTo>
                    <a:lnTo>
                      <a:pt x="245" y="130"/>
                    </a:lnTo>
                    <a:lnTo>
                      <a:pt x="245" y="128"/>
                    </a:lnTo>
                    <a:lnTo>
                      <a:pt x="233" y="128"/>
                    </a:lnTo>
                    <a:lnTo>
                      <a:pt x="233" y="130"/>
                    </a:lnTo>
                    <a:lnTo>
                      <a:pt x="228" y="132"/>
                    </a:lnTo>
                    <a:lnTo>
                      <a:pt x="226" y="135"/>
                    </a:lnTo>
                    <a:lnTo>
                      <a:pt x="221" y="132"/>
                    </a:lnTo>
                    <a:lnTo>
                      <a:pt x="212" y="130"/>
                    </a:lnTo>
                    <a:lnTo>
                      <a:pt x="207" y="128"/>
                    </a:lnTo>
                    <a:lnTo>
                      <a:pt x="200" y="125"/>
                    </a:lnTo>
                    <a:lnTo>
                      <a:pt x="198" y="128"/>
                    </a:lnTo>
                    <a:lnTo>
                      <a:pt x="195" y="128"/>
                    </a:lnTo>
                    <a:lnTo>
                      <a:pt x="195" y="128"/>
                    </a:lnTo>
                    <a:lnTo>
                      <a:pt x="195" y="128"/>
                    </a:lnTo>
                    <a:lnTo>
                      <a:pt x="193" y="128"/>
                    </a:lnTo>
                    <a:lnTo>
                      <a:pt x="193" y="128"/>
                    </a:lnTo>
                    <a:lnTo>
                      <a:pt x="193" y="128"/>
                    </a:lnTo>
                    <a:lnTo>
                      <a:pt x="193" y="130"/>
                    </a:lnTo>
                    <a:lnTo>
                      <a:pt x="191" y="132"/>
                    </a:lnTo>
                    <a:lnTo>
                      <a:pt x="191" y="135"/>
                    </a:lnTo>
                    <a:lnTo>
                      <a:pt x="191" y="135"/>
                    </a:lnTo>
                    <a:lnTo>
                      <a:pt x="188" y="135"/>
                    </a:lnTo>
                    <a:lnTo>
                      <a:pt x="186" y="135"/>
                    </a:lnTo>
                    <a:lnTo>
                      <a:pt x="184" y="135"/>
                    </a:lnTo>
                    <a:lnTo>
                      <a:pt x="186" y="137"/>
                    </a:lnTo>
                    <a:lnTo>
                      <a:pt x="184" y="137"/>
                    </a:lnTo>
                    <a:lnTo>
                      <a:pt x="184" y="137"/>
                    </a:lnTo>
                    <a:lnTo>
                      <a:pt x="184" y="137"/>
                    </a:lnTo>
                    <a:lnTo>
                      <a:pt x="181" y="137"/>
                    </a:lnTo>
                    <a:lnTo>
                      <a:pt x="184" y="137"/>
                    </a:lnTo>
                    <a:lnTo>
                      <a:pt x="184" y="135"/>
                    </a:lnTo>
                    <a:lnTo>
                      <a:pt x="184" y="135"/>
                    </a:lnTo>
                    <a:lnTo>
                      <a:pt x="179" y="135"/>
                    </a:lnTo>
                    <a:lnTo>
                      <a:pt x="169" y="144"/>
                    </a:lnTo>
                    <a:lnTo>
                      <a:pt x="167" y="144"/>
                    </a:lnTo>
                    <a:lnTo>
                      <a:pt x="160" y="144"/>
                    </a:lnTo>
                    <a:lnTo>
                      <a:pt x="153" y="144"/>
                    </a:lnTo>
                    <a:lnTo>
                      <a:pt x="151" y="144"/>
                    </a:lnTo>
                    <a:lnTo>
                      <a:pt x="153" y="146"/>
                    </a:lnTo>
                    <a:lnTo>
                      <a:pt x="155" y="149"/>
                    </a:lnTo>
                    <a:lnTo>
                      <a:pt x="153" y="149"/>
                    </a:lnTo>
                    <a:lnTo>
                      <a:pt x="153" y="149"/>
                    </a:lnTo>
                    <a:lnTo>
                      <a:pt x="151" y="149"/>
                    </a:lnTo>
                    <a:lnTo>
                      <a:pt x="151" y="151"/>
                    </a:lnTo>
                    <a:lnTo>
                      <a:pt x="148" y="153"/>
                    </a:lnTo>
                    <a:lnTo>
                      <a:pt x="148" y="153"/>
                    </a:lnTo>
                    <a:lnTo>
                      <a:pt x="146" y="153"/>
                    </a:lnTo>
                    <a:lnTo>
                      <a:pt x="146" y="153"/>
                    </a:lnTo>
                    <a:lnTo>
                      <a:pt x="146" y="153"/>
                    </a:lnTo>
                    <a:lnTo>
                      <a:pt x="146" y="156"/>
                    </a:lnTo>
                    <a:lnTo>
                      <a:pt x="144" y="156"/>
                    </a:lnTo>
                    <a:lnTo>
                      <a:pt x="141" y="156"/>
                    </a:lnTo>
                    <a:lnTo>
                      <a:pt x="139" y="156"/>
                    </a:lnTo>
                    <a:lnTo>
                      <a:pt x="141" y="156"/>
                    </a:lnTo>
                    <a:lnTo>
                      <a:pt x="141" y="153"/>
                    </a:lnTo>
                    <a:lnTo>
                      <a:pt x="144" y="151"/>
                    </a:lnTo>
                    <a:lnTo>
                      <a:pt x="141" y="149"/>
                    </a:lnTo>
                    <a:lnTo>
                      <a:pt x="141" y="149"/>
                    </a:lnTo>
                    <a:lnTo>
                      <a:pt x="139" y="149"/>
                    </a:lnTo>
                    <a:lnTo>
                      <a:pt x="139" y="149"/>
                    </a:lnTo>
                    <a:lnTo>
                      <a:pt x="144" y="149"/>
                    </a:lnTo>
                    <a:lnTo>
                      <a:pt x="144" y="149"/>
                    </a:lnTo>
                    <a:lnTo>
                      <a:pt x="144" y="149"/>
                    </a:lnTo>
                    <a:lnTo>
                      <a:pt x="144" y="149"/>
                    </a:lnTo>
                    <a:lnTo>
                      <a:pt x="146" y="146"/>
                    </a:lnTo>
                    <a:lnTo>
                      <a:pt x="146" y="146"/>
                    </a:lnTo>
                    <a:lnTo>
                      <a:pt x="151" y="144"/>
                    </a:lnTo>
                    <a:lnTo>
                      <a:pt x="148" y="144"/>
                    </a:lnTo>
                    <a:lnTo>
                      <a:pt x="148" y="144"/>
                    </a:lnTo>
                    <a:lnTo>
                      <a:pt x="148" y="144"/>
                    </a:lnTo>
                    <a:lnTo>
                      <a:pt x="151" y="139"/>
                    </a:lnTo>
                    <a:lnTo>
                      <a:pt x="153" y="137"/>
                    </a:lnTo>
                    <a:lnTo>
                      <a:pt x="155" y="135"/>
                    </a:lnTo>
                    <a:lnTo>
                      <a:pt x="158" y="132"/>
                    </a:lnTo>
                    <a:lnTo>
                      <a:pt x="155" y="130"/>
                    </a:lnTo>
                    <a:lnTo>
                      <a:pt x="155" y="130"/>
                    </a:lnTo>
                    <a:lnTo>
                      <a:pt x="153" y="132"/>
                    </a:lnTo>
                    <a:lnTo>
                      <a:pt x="151" y="135"/>
                    </a:lnTo>
                    <a:lnTo>
                      <a:pt x="151" y="135"/>
                    </a:lnTo>
                    <a:lnTo>
                      <a:pt x="148" y="135"/>
                    </a:lnTo>
                    <a:lnTo>
                      <a:pt x="146" y="135"/>
                    </a:lnTo>
                    <a:lnTo>
                      <a:pt x="144" y="132"/>
                    </a:lnTo>
                    <a:lnTo>
                      <a:pt x="144" y="132"/>
                    </a:lnTo>
                    <a:lnTo>
                      <a:pt x="144" y="132"/>
                    </a:lnTo>
                    <a:lnTo>
                      <a:pt x="139" y="135"/>
                    </a:lnTo>
                    <a:lnTo>
                      <a:pt x="136" y="137"/>
                    </a:lnTo>
                    <a:lnTo>
                      <a:pt x="134" y="139"/>
                    </a:lnTo>
                    <a:lnTo>
                      <a:pt x="134" y="139"/>
                    </a:lnTo>
                    <a:lnTo>
                      <a:pt x="132" y="142"/>
                    </a:lnTo>
                    <a:lnTo>
                      <a:pt x="132" y="142"/>
                    </a:lnTo>
                    <a:lnTo>
                      <a:pt x="129" y="144"/>
                    </a:lnTo>
                    <a:lnTo>
                      <a:pt x="129" y="144"/>
                    </a:lnTo>
                    <a:lnTo>
                      <a:pt x="127" y="146"/>
                    </a:lnTo>
                    <a:lnTo>
                      <a:pt x="127" y="144"/>
                    </a:lnTo>
                    <a:lnTo>
                      <a:pt x="127" y="144"/>
                    </a:lnTo>
                    <a:lnTo>
                      <a:pt x="127" y="142"/>
                    </a:lnTo>
                    <a:lnTo>
                      <a:pt x="129" y="142"/>
                    </a:lnTo>
                    <a:lnTo>
                      <a:pt x="134" y="137"/>
                    </a:lnTo>
                    <a:lnTo>
                      <a:pt x="134" y="137"/>
                    </a:lnTo>
                    <a:lnTo>
                      <a:pt x="136" y="135"/>
                    </a:lnTo>
                    <a:lnTo>
                      <a:pt x="136" y="135"/>
                    </a:lnTo>
                    <a:lnTo>
                      <a:pt x="136" y="132"/>
                    </a:lnTo>
                    <a:lnTo>
                      <a:pt x="136" y="132"/>
                    </a:lnTo>
                    <a:lnTo>
                      <a:pt x="139" y="132"/>
                    </a:lnTo>
                    <a:lnTo>
                      <a:pt x="144" y="130"/>
                    </a:lnTo>
                    <a:lnTo>
                      <a:pt x="146" y="130"/>
                    </a:lnTo>
                    <a:lnTo>
                      <a:pt x="146" y="130"/>
                    </a:lnTo>
                    <a:lnTo>
                      <a:pt x="151" y="125"/>
                    </a:lnTo>
                    <a:lnTo>
                      <a:pt x="153" y="125"/>
                    </a:lnTo>
                    <a:lnTo>
                      <a:pt x="155" y="125"/>
                    </a:lnTo>
                    <a:lnTo>
                      <a:pt x="155" y="128"/>
                    </a:lnTo>
                    <a:lnTo>
                      <a:pt x="155" y="130"/>
                    </a:lnTo>
                    <a:lnTo>
                      <a:pt x="155" y="130"/>
                    </a:lnTo>
                    <a:lnTo>
                      <a:pt x="158" y="130"/>
                    </a:lnTo>
                    <a:lnTo>
                      <a:pt x="160" y="128"/>
                    </a:lnTo>
                    <a:lnTo>
                      <a:pt x="160" y="125"/>
                    </a:lnTo>
                    <a:lnTo>
                      <a:pt x="162" y="125"/>
                    </a:lnTo>
                    <a:lnTo>
                      <a:pt x="172" y="111"/>
                    </a:lnTo>
                    <a:lnTo>
                      <a:pt x="172" y="111"/>
                    </a:lnTo>
                    <a:lnTo>
                      <a:pt x="172" y="109"/>
                    </a:lnTo>
                    <a:lnTo>
                      <a:pt x="172" y="106"/>
                    </a:lnTo>
                    <a:lnTo>
                      <a:pt x="172" y="106"/>
                    </a:lnTo>
                    <a:lnTo>
                      <a:pt x="169" y="109"/>
                    </a:lnTo>
                    <a:lnTo>
                      <a:pt x="169" y="111"/>
                    </a:lnTo>
                    <a:lnTo>
                      <a:pt x="165" y="113"/>
                    </a:lnTo>
                    <a:lnTo>
                      <a:pt x="162" y="116"/>
                    </a:lnTo>
                    <a:lnTo>
                      <a:pt x="160" y="113"/>
                    </a:lnTo>
                    <a:lnTo>
                      <a:pt x="162" y="113"/>
                    </a:lnTo>
                    <a:lnTo>
                      <a:pt x="160" y="111"/>
                    </a:lnTo>
                    <a:lnTo>
                      <a:pt x="158" y="111"/>
                    </a:lnTo>
                    <a:lnTo>
                      <a:pt x="153" y="113"/>
                    </a:lnTo>
                    <a:lnTo>
                      <a:pt x="153" y="113"/>
                    </a:lnTo>
                    <a:lnTo>
                      <a:pt x="148" y="111"/>
                    </a:lnTo>
                    <a:lnTo>
                      <a:pt x="148" y="113"/>
                    </a:lnTo>
                    <a:lnTo>
                      <a:pt x="146" y="113"/>
                    </a:lnTo>
                    <a:lnTo>
                      <a:pt x="146" y="111"/>
                    </a:lnTo>
                    <a:lnTo>
                      <a:pt x="144" y="109"/>
                    </a:lnTo>
                    <a:lnTo>
                      <a:pt x="144" y="109"/>
                    </a:lnTo>
                    <a:lnTo>
                      <a:pt x="141" y="109"/>
                    </a:lnTo>
                    <a:lnTo>
                      <a:pt x="139" y="111"/>
                    </a:lnTo>
                    <a:lnTo>
                      <a:pt x="136" y="109"/>
                    </a:lnTo>
                    <a:lnTo>
                      <a:pt x="134" y="106"/>
                    </a:lnTo>
                    <a:lnTo>
                      <a:pt x="129" y="102"/>
                    </a:lnTo>
                    <a:lnTo>
                      <a:pt x="132" y="102"/>
                    </a:lnTo>
                    <a:lnTo>
                      <a:pt x="132" y="104"/>
                    </a:lnTo>
                    <a:lnTo>
                      <a:pt x="134" y="106"/>
                    </a:lnTo>
                    <a:lnTo>
                      <a:pt x="136" y="109"/>
                    </a:lnTo>
                    <a:lnTo>
                      <a:pt x="141" y="106"/>
                    </a:lnTo>
                    <a:lnTo>
                      <a:pt x="144" y="106"/>
                    </a:lnTo>
                    <a:lnTo>
                      <a:pt x="148" y="109"/>
                    </a:lnTo>
                    <a:lnTo>
                      <a:pt x="151" y="109"/>
                    </a:lnTo>
                    <a:lnTo>
                      <a:pt x="151" y="109"/>
                    </a:lnTo>
                    <a:lnTo>
                      <a:pt x="151" y="106"/>
                    </a:lnTo>
                    <a:lnTo>
                      <a:pt x="153" y="106"/>
                    </a:lnTo>
                    <a:lnTo>
                      <a:pt x="153" y="106"/>
                    </a:lnTo>
                    <a:lnTo>
                      <a:pt x="155" y="106"/>
                    </a:lnTo>
                    <a:lnTo>
                      <a:pt x="155" y="106"/>
                    </a:lnTo>
                    <a:lnTo>
                      <a:pt x="155" y="106"/>
                    </a:lnTo>
                    <a:lnTo>
                      <a:pt x="155" y="104"/>
                    </a:lnTo>
                    <a:lnTo>
                      <a:pt x="158" y="102"/>
                    </a:lnTo>
                    <a:lnTo>
                      <a:pt x="155" y="99"/>
                    </a:lnTo>
                    <a:lnTo>
                      <a:pt x="155" y="99"/>
                    </a:lnTo>
                    <a:lnTo>
                      <a:pt x="155" y="99"/>
                    </a:lnTo>
                    <a:lnTo>
                      <a:pt x="153" y="99"/>
                    </a:lnTo>
                    <a:lnTo>
                      <a:pt x="151" y="97"/>
                    </a:lnTo>
                    <a:lnTo>
                      <a:pt x="151" y="97"/>
                    </a:lnTo>
                    <a:lnTo>
                      <a:pt x="151" y="95"/>
                    </a:lnTo>
                    <a:lnTo>
                      <a:pt x="151" y="95"/>
                    </a:lnTo>
                    <a:lnTo>
                      <a:pt x="153" y="95"/>
                    </a:lnTo>
                    <a:lnTo>
                      <a:pt x="155" y="97"/>
                    </a:lnTo>
                    <a:lnTo>
                      <a:pt x="155" y="97"/>
                    </a:lnTo>
                    <a:lnTo>
                      <a:pt x="155" y="97"/>
                    </a:lnTo>
                    <a:lnTo>
                      <a:pt x="155" y="97"/>
                    </a:lnTo>
                    <a:lnTo>
                      <a:pt x="158" y="99"/>
                    </a:lnTo>
                    <a:lnTo>
                      <a:pt x="158" y="97"/>
                    </a:lnTo>
                    <a:lnTo>
                      <a:pt x="158" y="95"/>
                    </a:lnTo>
                    <a:lnTo>
                      <a:pt x="158" y="95"/>
                    </a:lnTo>
                    <a:lnTo>
                      <a:pt x="158" y="95"/>
                    </a:lnTo>
                    <a:lnTo>
                      <a:pt x="162" y="92"/>
                    </a:lnTo>
                    <a:lnTo>
                      <a:pt x="165" y="92"/>
                    </a:lnTo>
                    <a:lnTo>
                      <a:pt x="167" y="90"/>
                    </a:lnTo>
                    <a:lnTo>
                      <a:pt x="167" y="90"/>
                    </a:lnTo>
                    <a:lnTo>
                      <a:pt x="167" y="88"/>
                    </a:lnTo>
                    <a:lnTo>
                      <a:pt x="169" y="85"/>
                    </a:lnTo>
                    <a:lnTo>
                      <a:pt x="169" y="85"/>
                    </a:lnTo>
                    <a:lnTo>
                      <a:pt x="169" y="83"/>
                    </a:lnTo>
                    <a:lnTo>
                      <a:pt x="177" y="80"/>
                    </a:lnTo>
                    <a:lnTo>
                      <a:pt x="191" y="66"/>
                    </a:lnTo>
                    <a:lnTo>
                      <a:pt x="193" y="64"/>
                    </a:lnTo>
                    <a:lnTo>
                      <a:pt x="195" y="62"/>
                    </a:lnTo>
                    <a:lnTo>
                      <a:pt x="195" y="59"/>
                    </a:lnTo>
                    <a:lnTo>
                      <a:pt x="198" y="59"/>
                    </a:lnTo>
                    <a:lnTo>
                      <a:pt x="200" y="55"/>
                    </a:lnTo>
                    <a:lnTo>
                      <a:pt x="203" y="52"/>
                    </a:lnTo>
                    <a:lnTo>
                      <a:pt x="210" y="50"/>
                    </a:lnTo>
                    <a:lnTo>
                      <a:pt x="212" y="50"/>
                    </a:lnTo>
                    <a:lnTo>
                      <a:pt x="214" y="45"/>
                    </a:lnTo>
                    <a:lnTo>
                      <a:pt x="219" y="40"/>
                    </a:lnTo>
                    <a:lnTo>
                      <a:pt x="221" y="36"/>
                    </a:lnTo>
                    <a:lnTo>
                      <a:pt x="221" y="31"/>
                    </a:lnTo>
                    <a:lnTo>
                      <a:pt x="224" y="29"/>
                    </a:lnTo>
                    <a:lnTo>
                      <a:pt x="224" y="29"/>
                    </a:lnTo>
                    <a:lnTo>
                      <a:pt x="224" y="29"/>
                    </a:lnTo>
                    <a:lnTo>
                      <a:pt x="224" y="26"/>
                    </a:lnTo>
                    <a:lnTo>
                      <a:pt x="224" y="26"/>
                    </a:lnTo>
                    <a:lnTo>
                      <a:pt x="224" y="26"/>
                    </a:lnTo>
                    <a:lnTo>
                      <a:pt x="221" y="26"/>
                    </a:lnTo>
                    <a:lnTo>
                      <a:pt x="221" y="26"/>
                    </a:lnTo>
                    <a:lnTo>
                      <a:pt x="219" y="26"/>
                    </a:lnTo>
                    <a:lnTo>
                      <a:pt x="219" y="24"/>
                    </a:lnTo>
                    <a:lnTo>
                      <a:pt x="219" y="22"/>
                    </a:lnTo>
                    <a:lnTo>
                      <a:pt x="219" y="19"/>
                    </a:lnTo>
                    <a:lnTo>
                      <a:pt x="219" y="19"/>
                    </a:lnTo>
                    <a:lnTo>
                      <a:pt x="221" y="17"/>
                    </a:lnTo>
                    <a:lnTo>
                      <a:pt x="224" y="14"/>
                    </a:lnTo>
                    <a:lnTo>
                      <a:pt x="224" y="12"/>
                    </a:lnTo>
                    <a:lnTo>
                      <a:pt x="224" y="12"/>
                    </a:lnTo>
                    <a:lnTo>
                      <a:pt x="224" y="10"/>
                    </a:lnTo>
                    <a:lnTo>
                      <a:pt x="226" y="7"/>
                    </a:lnTo>
                    <a:lnTo>
                      <a:pt x="226" y="5"/>
                    </a:lnTo>
                    <a:lnTo>
                      <a:pt x="224" y="3"/>
                    </a:lnTo>
                    <a:lnTo>
                      <a:pt x="219" y="5"/>
                    </a:lnTo>
                    <a:lnTo>
                      <a:pt x="217" y="5"/>
                    </a:lnTo>
                    <a:lnTo>
                      <a:pt x="214" y="0"/>
                    </a:lnTo>
                    <a:lnTo>
                      <a:pt x="210" y="3"/>
                    </a:lnTo>
                    <a:lnTo>
                      <a:pt x="205" y="3"/>
                    </a:lnTo>
                    <a:lnTo>
                      <a:pt x="203" y="3"/>
                    </a:lnTo>
                    <a:lnTo>
                      <a:pt x="203" y="3"/>
                    </a:lnTo>
                    <a:lnTo>
                      <a:pt x="203" y="0"/>
                    </a:lnTo>
                    <a:lnTo>
                      <a:pt x="203" y="0"/>
                    </a:lnTo>
                    <a:lnTo>
                      <a:pt x="203" y="0"/>
                    </a:lnTo>
                    <a:lnTo>
                      <a:pt x="200" y="0"/>
                    </a:lnTo>
                    <a:lnTo>
                      <a:pt x="200" y="0"/>
                    </a:lnTo>
                    <a:lnTo>
                      <a:pt x="198" y="3"/>
                    </a:lnTo>
                    <a:lnTo>
                      <a:pt x="200" y="5"/>
                    </a:lnTo>
                    <a:lnTo>
                      <a:pt x="200" y="5"/>
                    </a:lnTo>
                    <a:lnTo>
                      <a:pt x="203" y="7"/>
                    </a:lnTo>
                    <a:lnTo>
                      <a:pt x="203" y="7"/>
                    </a:lnTo>
                    <a:lnTo>
                      <a:pt x="203" y="10"/>
                    </a:lnTo>
                    <a:lnTo>
                      <a:pt x="200" y="10"/>
                    </a:lnTo>
                    <a:lnTo>
                      <a:pt x="195" y="7"/>
                    </a:lnTo>
                    <a:lnTo>
                      <a:pt x="193" y="10"/>
                    </a:lnTo>
                    <a:lnTo>
                      <a:pt x="191" y="10"/>
                    </a:lnTo>
                    <a:lnTo>
                      <a:pt x="188" y="7"/>
                    </a:lnTo>
                    <a:lnTo>
                      <a:pt x="188" y="7"/>
                    </a:lnTo>
                    <a:lnTo>
                      <a:pt x="188" y="7"/>
                    </a:lnTo>
                    <a:lnTo>
                      <a:pt x="188" y="7"/>
                    </a:lnTo>
                    <a:lnTo>
                      <a:pt x="186" y="7"/>
                    </a:lnTo>
                    <a:lnTo>
                      <a:pt x="181" y="7"/>
                    </a:lnTo>
                    <a:lnTo>
                      <a:pt x="179" y="7"/>
                    </a:lnTo>
                    <a:lnTo>
                      <a:pt x="174" y="12"/>
                    </a:lnTo>
                    <a:lnTo>
                      <a:pt x="169" y="14"/>
                    </a:lnTo>
                    <a:lnTo>
                      <a:pt x="165" y="14"/>
                    </a:lnTo>
                    <a:lnTo>
                      <a:pt x="158" y="14"/>
                    </a:lnTo>
                    <a:lnTo>
                      <a:pt x="158" y="14"/>
                    </a:lnTo>
                    <a:lnTo>
                      <a:pt x="155" y="14"/>
                    </a:lnTo>
                    <a:lnTo>
                      <a:pt x="155" y="10"/>
                    </a:lnTo>
                    <a:lnTo>
                      <a:pt x="153" y="10"/>
                    </a:lnTo>
                    <a:lnTo>
                      <a:pt x="153" y="12"/>
                    </a:lnTo>
                    <a:lnTo>
                      <a:pt x="153" y="14"/>
                    </a:lnTo>
                    <a:lnTo>
                      <a:pt x="153" y="14"/>
                    </a:lnTo>
                    <a:lnTo>
                      <a:pt x="151" y="14"/>
                    </a:lnTo>
                    <a:lnTo>
                      <a:pt x="151" y="14"/>
                    </a:lnTo>
                    <a:lnTo>
                      <a:pt x="148" y="14"/>
                    </a:lnTo>
                    <a:lnTo>
                      <a:pt x="146" y="14"/>
                    </a:lnTo>
                    <a:lnTo>
                      <a:pt x="146" y="14"/>
                    </a:lnTo>
                    <a:lnTo>
                      <a:pt x="146" y="17"/>
                    </a:lnTo>
                    <a:lnTo>
                      <a:pt x="144" y="17"/>
                    </a:lnTo>
                    <a:lnTo>
                      <a:pt x="144" y="17"/>
                    </a:lnTo>
                    <a:lnTo>
                      <a:pt x="144" y="17"/>
                    </a:lnTo>
                    <a:lnTo>
                      <a:pt x="141" y="17"/>
                    </a:lnTo>
                    <a:lnTo>
                      <a:pt x="141" y="17"/>
                    </a:lnTo>
                    <a:lnTo>
                      <a:pt x="141" y="17"/>
                    </a:lnTo>
                    <a:lnTo>
                      <a:pt x="141" y="19"/>
                    </a:lnTo>
                    <a:lnTo>
                      <a:pt x="139" y="19"/>
                    </a:lnTo>
                    <a:lnTo>
                      <a:pt x="141" y="19"/>
                    </a:lnTo>
                    <a:lnTo>
                      <a:pt x="139" y="19"/>
                    </a:lnTo>
                    <a:lnTo>
                      <a:pt x="136" y="17"/>
                    </a:lnTo>
                    <a:lnTo>
                      <a:pt x="136" y="17"/>
                    </a:lnTo>
                    <a:lnTo>
                      <a:pt x="134" y="17"/>
                    </a:lnTo>
                    <a:lnTo>
                      <a:pt x="132" y="17"/>
                    </a:lnTo>
                    <a:lnTo>
                      <a:pt x="129" y="19"/>
                    </a:lnTo>
                    <a:lnTo>
                      <a:pt x="129" y="19"/>
                    </a:lnTo>
                    <a:lnTo>
                      <a:pt x="127" y="24"/>
                    </a:lnTo>
                    <a:lnTo>
                      <a:pt x="127" y="24"/>
                    </a:lnTo>
                    <a:lnTo>
                      <a:pt x="127" y="24"/>
                    </a:lnTo>
                    <a:lnTo>
                      <a:pt x="127" y="24"/>
                    </a:lnTo>
                    <a:lnTo>
                      <a:pt x="127" y="26"/>
                    </a:lnTo>
                    <a:lnTo>
                      <a:pt x="125" y="29"/>
                    </a:lnTo>
                    <a:lnTo>
                      <a:pt x="122" y="29"/>
                    </a:lnTo>
                    <a:lnTo>
                      <a:pt x="122" y="31"/>
                    </a:lnTo>
                    <a:lnTo>
                      <a:pt x="122" y="26"/>
                    </a:lnTo>
                    <a:lnTo>
                      <a:pt x="125" y="24"/>
                    </a:lnTo>
                    <a:lnTo>
                      <a:pt x="125" y="22"/>
                    </a:lnTo>
                    <a:lnTo>
                      <a:pt x="127" y="19"/>
                    </a:lnTo>
                    <a:lnTo>
                      <a:pt x="127" y="19"/>
                    </a:lnTo>
                    <a:lnTo>
                      <a:pt x="127" y="17"/>
                    </a:lnTo>
                    <a:lnTo>
                      <a:pt x="127" y="17"/>
                    </a:lnTo>
                    <a:lnTo>
                      <a:pt x="122" y="14"/>
                    </a:lnTo>
                    <a:lnTo>
                      <a:pt x="120" y="14"/>
                    </a:lnTo>
                    <a:lnTo>
                      <a:pt x="118" y="12"/>
                    </a:lnTo>
                    <a:lnTo>
                      <a:pt x="115" y="14"/>
                    </a:lnTo>
                    <a:lnTo>
                      <a:pt x="115" y="14"/>
                    </a:lnTo>
                    <a:lnTo>
                      <a:pt x="115" y="17"/>
                    </a:lnTo>
                    <a:lnTo>
                      <a:pt x="115" y="19"/>
                    </a:lnTo>
                    <a:lnTo>
                      <a:pt x="113" y="22"/>
                    </a:lnTo>
                    <a:lnTo>
                      <a:pt x="110" y="22"/>
                    </a:lnTo>
                    <a:lnTo>
                      <a:pt x="110" y="22"/>
                    </a:lnTo>
                    <a:lnTo>
                      <a:pt x="110" y="24"/>
                    </a:lnTo>
                    <a:lnTo>
                      <a:pt x="108" y="26"/>
                    </a:lnTo>
                    <a:lnTo>
                      <a:pt x="106" y="31"/>
                    </a:lnTo>
                    <a:lnTo>
                      <a:pt x="103" y="31"/>
                    </a:lnTo>
                    <a:lnTo>
                      <a:pt x="103" y="29"/>
                    </a:lnTo>
                    <a:lnTo>
                      <a:pt x="106" y="26"/>
                    </a:lnTo>
                    <a:lnTo>
                      <a:pt x="106" y="22"/>
                    </a:lnTo>
                    <a:lnTo>
                      <a:pt x="108" y="19"/>
                    </a:lnTo>
                    <a:lnTo>
                      <a:pt x="110" y="19"/>
                    </a:lnTo>
                    <a:lnTo>
                      <a:pt x="110" y="19"/>
                    </a:lnTo>
                    <a:lnTo>
                      <a:pt x="110" y="17"/>
                    </a:lnTo>
                    <a:lnTo>
                      <a:pt x="110" y="14"/>
                    </a:lnTo>
                    <a:lnTo>
                      <a:pt x="110" y="14"/>
                    </a:lnTo>
                    <a:lnTo>
                      <a:pt x="108" y="14"/>
                    </a:lnTo>
                    <a:lnTo>
                      <a:pt x="106" y="14"/>
                    </a:lnTo>
                    <a:lnTo>
                      <a:pt x="106" y="12"/>
                    </a:lnTo>
                    <a:lnTo>
                      <a:pt x="103" y="10"/>
                    </a:lnTo>
                    <a:lnTo>
                      <a:pt x="103" y="10"/>
                    </a:lnTo>
                    <a:lnTo>
                      <a:pt x="103" y="12"/>
                    </a:lnTo>
                    <a:lnTo>
                      <a:pt x="101" y="12"/>
                    </a:lnTo>
                    <a:lnTo>
                      <a:pt x="101" y="12"/>
                    </a:lnTo>
                    <a:lnTo>
                      <a:pt x="101" y="14"/>
                    </a:lnTo>
                    <a:lnTo>
                      <a:pt x="101" y="17"/>
                    </a:lnTo>
                    <a:lnTo>
                      <a:pt x="101" y="17"/>
                    </a:lnTo>
                    <a:lnTo>
                      <a:pt x="101" y="19"/>
                    </a:lnTo>
                    <a:lnTo>
                      <a:pt x="99" y="19"/>
                    </a:lnTo>
                    <a:lnTo>
                      <a:pt x="99" y="19"/>
                    </a:lnTo>
                    <a:lnTo>
                      <a:pt x="101" y="17"/>
                    </a:lnTo>
                    <a:lnTo>
                      <a:pt x="101" y="17"/>
                    </a:lnTo>
                    <a:lnTo>
                      <a:pt x="101" y="14"/>
                    </a:lnTo>
                    <a:lnTo>
                      <a:pt x="99" y="14"/>
                    </a:lnTo>
                    <a:lnTo>
                      <a:pt x="99" y="12"/>
                    </a:lnTo>
                    <a:lnTo>
                      <a:pt x="99" y="10"/>
                    </a:lnTo>
                    <a:lnTo>
                      <a:pt x="99" y="10"/>
                    </a:lnTo>
                    <a:lnTo>
                      <a:pt x="96" y="7"/>
                    </a:lnTo>
                    <a:lnTo>
                      <a:pt x="87" y="5"/>
                    </a:lnTo>
                    <a:lnTo>
                      <a:pt x="87" y="7"/>
                    </a:lnTo>
                    <a:lnTo>
                      <a:pt x="85" y="10"/>
                    </a:lnTo>
                    <a:lnTo>
                      <a:pt x="85" y="12"/>
                    </a:lnTo>
                    <a:lnTo>
                      <a:pt x="85" y="14"/>
                    </a:lnTo>
                    <a:lnTo>
                      <a:pt x="85" y="14"/>
                    </a:lnTo>
                    <a:lnTo>
                      <a:pt x="85" y="17"/>
                    </a:lnTo>
                    <a:lnTo>
                      <a:pt x="82" y="19"/>
                    </a:lnTo>
                    <a:lnTo>
                      <a:pt x="80" y="22"/>
                    </a:lnTo>
                    <a:lnTo>
                      <a:pt x="80" y="22"/>
                    </a:lnTo>
                    <a:lnTo>
                      <a:pt x="80" y="22"/>
                    </a:lnTo>
                    <a:lnTo>
                      <a:pt x="80" y="24"/>
                    </a:lnTo>
                    <a:lnTo>
                      <a:pt x="87" y="31"/>
                    </a:lnTo>
                    <a:lnTo>
                      <a:pt x="85" y="31"/>
                    </a:lnTo>
                    <a:lnTo>
                      <a:pt x="82" y="29"/>
                    </a:lnTo>
                    <a:lnTo>
                      <a:pt x="80" y="31"/>
                    </a:lnTo>
                    <a:lnTo>
                      <a:pt x="80" y="33"/>
                    </a:lnTo>
                    <a:lnTo>
                      <a:pt x="80" y="33"/>
                    </a:lnTo>
                    <a:lnTo>
                      <a:pt x="80" y="33"/>
                    </a:lnTo>
                    <a:lnTo>
                      <a:pt x="80" y="33"/>
                    </a:lnTo>
                    <a:lnTo>
                      <a:pt x="80" y="33"/>
                    </a:lnTo>
                    <a:lnTo>
                      <a:pt x="80" y="33"/>
                    </a:lnTo>
                    <a:lnTo>
                      <a:pt x="80" y="36"/>
                    </a:lnTo>
                    <a:lnTo>
                      <a:pt x="80" y="36"/>
                    </a:lnTo>
                    <a:lnTo>
                      <a:pt x="82" y="36"/>
                    </a:lnTo>
                    <a:lnTo>
                      <a:pt x="82" y="36"/>
                    </a:lnTo>
                    <a:lnTo>
                      <a:pt x="82" y="33"/>
                    </a:lnTo>
                    <a:lnTo>
                      <a:pt x="82" y="36"/>
                    </a:lnTo>
                    <a:lnTo>
                      <a:pt x="82" y="36"/>
                    </a:lnTo>
                    <a:lnTo>
                      <a:pt x="82" y="36"/>
                    </a:lnTo>
                    <a:lnTo>
                      <a:pt x="85" y="38"/>
                    </a:lnTo>
                    <a:lnTo>
                      <a:pt x="82" y="38"/>
                    </a:lnTo>
                    <a:lnTo>
                      <a:pt x="77" y="36"/>
                    </a:lnTo>
                    <a:lnTo>
                      <a:pt x="77" y="36"/>
                    </a:lnTo>
                    <a:lnTo>
                      <a:pt x="77" y="36"/>
                    </a:lnTo>
                    <a:lnTo>
                      <a:pt x="75" y="36"/>
                    </a:lnTo>
                    <a:lnTo>
                      <a:pt x="75" y="36"/>
                    </a:lnTo>
                    <a:lnTo>
                      <a:pt x="75" y="36"/>
                    </a:lnTo>
                    <a:lnTo>
                      <a:pt x="75" y="36"/>
                    </a:lnTo>
                    <a:lnTo>
                      <a:pt x="75" y="38"/>
                    </a:lnTo>
                    <a:lnTo>
                      <a:pt x="75" y="38"/>
                    </a:lnTo>
                    <a:lnTo>
                      <a:pt x="75" y="40"/>
                    </a:lnTo>
                    <a:lnTo>
                      <a:pt x="75" y="40"/>
                    </a:lnTo>
                    <a:lnTo>
                      <a:pt x="75" y="43"/>
                    </a:lnTo>
                    <a:lnTo>
                      <a:pt x="75" y="43"/>
                    </a:lnTo>
                    <a:lnTo>
                      <a:pt x="75" y="43"/>
                    </a:lnTo>
                    <a:lnTo>
                      <a:pt x="75" y="45"/>
                    </a:lnTo>
                    <a:lnTo>
                      <a:pt x="75" y="47"/>
                    </a:lnTo>
                    <a:lnTo>
                      <a:pt x="75" y="47"/>
                    </a:lnTo>
                    <a:lnTo>
                      <a:pt x="77" y="50"/>
                    </a:lnTo>
                    <a:lnTo>
                      <a:pt x="77" y="50"/>
                    </a:lnTo>
                    <a:lnTo>
                      <a:pt x="77" y="50"/>
                    </a:lnTo>
                    <a:lnTo>
                      <a:pt x="80" y="52"/>
                    </a:lnTo>
                    <a:lnTo>
                      <a:pt x="80" y="55"/>
                    </a:lnTo>
                    <a:lnTo>
                      <a:pt x="82" y="55"/>
                    </a:lnTo>
                    <a:lnTo>
                      <a:pt x="82" y="55"/>
                    </a:lnTo>
                    <a:lnTo>
                      <a:pt x="85" y="57"/>
                    </a:lnTo>
                    <a:lnTo>
                      <a:pt x="85" y="55"/>
                    </a:lnTo>
                    <a:lnTo>
                      <a:pt x="85" y="55"/>
                    </a:lnTo>
                    <a:lnTo>
                      <a:pt x="87" y="55"/>
                    </a:lnTo>
                    <a:lnTo>
                      <a:pt x="87" y="55"/>
                    </a:lnTo>
                    <a:lnTo>
                      <a:pt x="92" y="55"/>
                    </a:lnTo>
                    <a:lnTo>
                      <a:pt x="92" y="55"/>
                    </a:lnTo>
                    <a:lnTo>
                      <a:pt x="89" y="57"/>
                    </a:lnTo>
                    <a:lnTo>
                      <a:pt x="87" y="57"/>
                    </a:lnTo>
                    <a:lnTo>
                      <a:pt x="89" y="57"/>
                    </a:lnTo>
                    <a:lnTo>
                      <a:pt x="92" y="59"/>
                    </a:lnTo>
                    <a:lnTo>
                      <a:pt x="92" y="59"/>
                    </a:lnTo>
                    <a:lnTo>
                      <a:pt x="87" y="57"/>
                    </a:lnTo>
                    <a:lnTo>
                      <a:pt x="85" y="57"/>
                    </a:lnTo>
                    <a:lnTo>
                      <a:pt x="82" y="57"/>
                    </a:lnTo>
                    <a:lnTo>
                      <a:pt x="80" y="57"/>
                    </a:lnTo>
                    <a:lnTo>
                      <a:pt x="77" y="55"/>
                    </a:lnTo>
                    <a:lnTo>
                      <a:pt x="77" y="55"/>
                    </a:lnTo>
                    <a:lnTo>
                      <a:pt x="77" y="55"/>
                    </a:lnTo>
                    <a:lnTo>
                      <a:pt x="75" y="55"/>
                    </a:lnTo>
                    <a:lnTo>
                      <a:pt x="75" y="55"/>
                    </a:lnTo>
                    <a:lnTo>
                      <a:pt x="75" y="57"/>
                    </a:lnTo>
                    <a:lnTo>
                      <a:pt x="73" y="55"/>
                    </a:lnTo>
                    <a:lnTo>
                      <a:pt x="70" y="55"/>
                    </a:lnTo>
                    <a:lnTo>
                      <a:pt x="70" y="57"/>
                    </a:lnTo>
                    <a:lnTo>
                      <a:pt x="68" y="57"/>
                    </a:lnTo>
                    <a:lnTo>
                      <a:pt x="66" y="57"/>
                    </a:lnTo>
                    <a:lnTo>
                      <a:pt x="66" y="57"/>
                    </a:lnTo>
                    <a:lnTo>
                      <a:pt x="61" y="55"/>
                    </a:lnTo>
                    <a:lnTo>
                      <a:pt x="61" y="55"/>
                    </a:lnTo>
                    <a:lnTo>
                      <a:pt x="59" y="55"/>
                    </a:lnTo>
                    <a:lnTo>
                      <a:pt x="59" y="57"/>
                    </a:lnTo>
                    <a:lnTo>
                      <a:pt x="61" y="62"/>
                    </a:lnTo>
                    <a:lnTo>
                      <a:pt x="63" y="64"/>
                    </a:lnTo>
                    <a:lnTo>
                      <a:pt x="63" y="64"/>
                    </a:lnTo>
                    <a:lnTo>
                      <a:pt x="63" y="64"/>
                    </a:lnTo>
                    <a:lnTo>
                      <a:pt x="63" y="64"/>
                    </a:lnTo>
                    <a:lnTo>
                      <a:pt x="63" y="66"/>
                    </a:lnTo>
                    <a:lnTo>
                      <a:pt x="63" y="66"/>
                    </a:lnTo>
                    <a:lnTo>
                      <a:pt x="66" y="66"/>
                    </a:lnTo>
                    <a:lnTo>
                      <a:pt x="66" y="66"/>
                    </a:lnTo>
                    <a:lnTo>
                      <a:pt x="66" y="66"/>
                    </a:lnTo>
                    <a:lnTo>
                      <a:pt x="66" y="69"/>
                    </a:lnTo>
                    <a:lnTo>
                      <a:pt x="66" y="69"/>
                    </a:lnTo>
                    <a:lnTo>
                      <a:pt x="68" y="69"/>
                    </a:lnTo>
                    <a:lnTo>
                      <a:pt x="70" y="69"/>
                    </a:lnTo>
                    <a:lnTo>
                      <a:pt x="70" y="71"/>
                    </a:lnTo>
                    <a:lnTo>
                      <a:pt x="68" y="71"/>
                    </a:lnTo>
                    <a:lnTo>
                      <a:pt x="66" y="71"/>
                    </a:lnTo>
                    <a:lnTo>
                      <a:pt x="66" y="71"/>
                    </a:lnTo>
                    <a:lnTo>
                      <a:pt x="68" y="73"/>
                    </a:lnTo>
                    <a:lnTo>
                      <a:pt x="68" y="73"/>
                    </a:lnTo>
                    <a:lnTo>
                      <a:pt x="66" y="73"/>
                    </a:lnTo>
                    <a:lnTo>
                      <a:pt x="66" y="76"/>
                    </a:lnTo>
                    <a:lnTo>
                      <a:pt x="68" y="76"/>
                    </a:lnTo>
                    <a:lnTo>
                      <a:pt x="68" y="78"/>
                    </a:lnTo>
                    <a:lnTo>
                      <a:pt x="66" y="78"/>
                    </a:lnTo>
                    <a:lnTo>
                      <a:pt x="68" y="78"/>
                    </a:lnTo>
                    <a:lnTo>
                      <a:pt x="66" y="80"/>
                    </a:lnTo>
                    <a:lnTo>
                      <a:pt x="63" y="80"/>
                    </a:lnTo>
                    <a:lnTo>
                      <a:pt x="63" y="80"/>
                    </a:lnTo>
                    <a:lnTo>
                      <a:pt x="61" y="80"/>
                    </a:lnTo>
                    <a:lnTo>
                      <a:pt x="59" y="78"/>
                    </a:lnTo>
                    <a:lnTo>
                      <a:pt x="56" y="78"/>
                    </a:lnTo>
                    <a:lnTo>
                      <a:pt x="54" y="78"/>
                    </a:lnTo>
                    <a:lnTo>
                      <a:pt x="56" y="83"/>
                    </a:lnTo>
                    <a:lnTo>
                      <a:pt x="56" y="83"/>
                    </a:lnTo>
                    <a:lnTo>
                      <a:pt x="56" y="85"/>
                    </a:lnTo>
                    <a:lnTo>
                      <a:pt x="56" y="85"/>
                    </a:lnTo>
                    <a:lnTo>
                      <a:pt x="56" y="85"/>
                    </a:lnTo>
                    <a:lnTo>
                      <a:pt x="56" y="85"/>
                    </a:lnTo>
                    <a:lnTo>
                      <a:pt x="59" y="85"/>
                    </a:lnTo>
                    <a:lnTo>
                      <a:pt x="61" y="85"/>
                    </a:lnTo>
                    <a:lnTo>
                      <a:pt x="61" y="88"/>
                    </a:lnTo>
                    <a:lnTo>
                      <a:pt x="61" y="88"/>
                    </a:lnTo>
                    <a:lnTo>
                      <a:pt x="61" y="88"/>
                    </a:lnTo>
                    <a:lnTo>
                      <a:pt x="61" y="88"/>
                    </a:lnTo>
                    <a:lnTo>
                      <a:pt x="63" y="88"/>
                    </a:lnTo>
                    <a:lnTo>
                      <a:pt x="66" y="92"/>
                    </a:lnTo>
                    <a:lnTo>
                      <a:pt x="68" y="92"/>
                    </a:lnTo>
                    <a:lnTo>
                      <a:pt x="68" y="95"/>
                    </a:lnTo>
                    <a:lnTo>
                      <a:pt x="70" y="95"/>
                    </a:lnTo>
                    <a:lnTo>
                      <a:pt x="73" y="95"/>
                    </a:lnTo>
                    <a:lnTo>
                      <a:pt x="73" y="97"/>
                    </a:lnTo>
                    <a:lnTo>
                      <a:pt x="73" y="99"/>
                    </a:lnTo>
                    <a:lnTo>
                      <a:pt x="73" y="99"/>
                    </a:lnTo>
                    <a:lnTo>
                      <a:pt x="70" y="99"/>
                    </a:lnTo>
                    <a:lnTo>
                      <a:pt x="70" y="99"/>
                    </a:lnTo>
                    <a:lnTo>
                      <a:pt x="73" y="99"/>
                    </a:lnTo>
                    <a:lnTo>
                      <a:pt x="80" y="106"/>
                    </a:lnTo>
                    <a:lnTo>
                      <a:pt x="80" y="106"/>
                    </a:lnTo>
                    <a:lnTo>
                      <a:pt x="80" y="109"/>
                    </a:lnTo>
                    <a:lnTo>
                      <a:pt x="80" y="109"/>
                    </a:lnTo>
                    <a:lnTo>
                      <a:pt x="82" y="111"/>
                    </a:lnTo>
                    <a:lnTo>
                      <a:pt x="82" y="111"/>
                    </a:lnTo>
                    <a:lnTo>
                      <a:pt x="80" y="111"/>
                    </a:lnTo>
                    <a:lnTo>
                      <a:pt x="77" y="106"/>
                    </a:lnTo>
                    <a:lnTo>
                      <a:pt x="75" y="106"/>
                    </a:lnTo>
                    <a:lnTo>
                      <a:pt x="73" y="104"/>
                    </a:lnTo>
                    <a:lnTo>
                      <a:pt x="70" y="102"/>
                    </a:lnTo>
                    <a:lnTo>
                      <a:pt x="70" y="102"/>
                    </a:lnTo>
                    <a:lnTo>
                      <a:pt x="68" y="102"/>
                    </a:lnTo>
                    <a:lnTo>
                      <a:pt x="68" y="102"/>
                    </a:lnTo>
                    <a:lnTo>
                      <a:pt x="68" y="102"/>
                    </a:lnTo>
                    <a:lnTo>
                      <a:pt x="66" y="102"/>
                    </a:lnTo>
                    <a:lnTo>
                      <a:pt x="66" y="102"/>
                    </a:lnTo>
                    <a:lnTo>
                      <a:pt x="63" y="102"/>
                    </a:lnTo>
                    <a:lnTo>
                      <a:pt x="61" y="99"/>
                    </a:lnTo>
                    <a:lnTo>
                      <a:pt x="61" y="97"/>
                    </a:lnTo>
                    <a:lnTo>
                      <a:pt x="61" y="99"/>
                    </a:lnTo>
                    <a:lnTo>
                      <a:pt x="61" y="99"/>
                    </a:lnTo>
                    <a:lnTo>
                      <a:pt x="59" y="99"/>
                    </a:lnTo>
                    <a:lnTo>
                      <a:pt x="59" y="99"/>
                    </a:lnTo>
                    <a:lnTo>
                      <a:pt x="59" y="99"/>
                    </a:lnTo>
                    <a:lnTo>
                      <a:pt x="59" y="99"/>
                    </a:lnTo>
                    <a:lnTo>
                      <a:pt x="59" y="99"/>
                    </a:lnTo>
                    <a:lnTo>
                      <a:pt x="59" y="102"/>
                    </a:lnTo>
                    <a:lnTo>
                      <a:pt x="63" y="104"/>
                    </a:lnTo>
                    <a:lnTo>
                      <a:pt x="68" y="106"/>
                    </a:lnTo>
                    <a:lnTo>
                      <a:pt x="68" y="106"/>
                    </a:lnTo>
                    <a:lnTo>
                      <a:pt x="70" y="109"/>
                    </a:lnTo>
                    <a:lnTo>
                      <a:pt x="70" y="111"/>
                    </a:lnTo>
                    <a:lnTo>
                      <a:pt x="66" y="109"/>
                    </a:lnTo>
                    <a:lnTo>
                      <a:pt x="63" y="106"/>
                    </a:lnTo>
                    <a:lnTo>
                      <a:pt x="61" y="104"/>
                    </a:lnTo>
                    <a:lnTo>
                      <a:pt x="61" y="104"/>
                    </a:lnTo>
                    <a:lnTo>
                      <a:pt x="56" y="102"/>
                    </a:lnTo>
                    <a:lnTo>
                      <a:pt x="56" y="102"/>
                    </a:lnTo>
                    <a:lnTo>
                      <a:pt x="56" y="104"/>
                    </a:lnTo>
                    <a:lnTo>
                      <a:pt x="54" y="106"/>
                    </a:lnTo>
                    <a:lnTo>
                      <a:pt x="54" y="109"/>
                    </a:lnTo>
                    <a:lnTo>
                      <a:pt x="54" y="109"/>
                    </a:lnTo>
                    <a:lnTo>
                      <a:pt x="51" y="109"/>
                    </a:lnTo>
                    <a:lnTo>
                      <a:pt x="49" y="106"/>
                    </a:lnTo>
                    <a:lnTo>
                      <a:pt x="47" y="104"/>
                    </a:lnTo>
                    <a:lnTo>
                      <a:pt x="47" y="102"/>
                    </a:lnTo>
                    <a:lnTo>
                      <a:pt x="44" y="102"/>
                    </a:lnTo>
                    <a:lnTo>
                      <a:pt x="44" y="99"/>
                    </a:lnTo>
                    <a:lnTo>
                      <a:pt x="44" y="99"/>
                    </a:lnTo>
                    <a:lnTo>
                      <a:pt x="42" y="99"/>
                    </a:lnTo>
                    <a:lnTo>
                      <a:pt x="42" y="102"/>
                    </a:lnTo>
                    <a:lnTo>
                      <a:pt x="40" y="104"/>
                    </a:lnTo>
                    <a:lnTo>
                      <a:pt x="40" y="104"/>
                    </a:lnTo>
                    <a:lnTo>
                      <a:pt x="40" y="104"/>
                    </a:lnTo>
                    <a:lnTo>
                      <a:pt x="42" y="104"/>
                    </a:lnTo>
                    <a:lnTo>
                      <a:pt x="40" y="106"/>
                    </a:lnTo>
                    <a:lnTo>
                      <a:pt x="42" y="106"/>
                    </a:lnTo>
                    <a:lnTo>
                      <a:pt x="44" y="111"/>
                    </a:lnTo>
                    <a:lnTo>
                      <a:pt x="44" y="111"/>
                    </a:lnTo>
                    <a:lnTo>
                      <a:pt x="44" y="113"/>
                    </a:lnTo>
                    <a:lnTo>
                      <a:pt x="44" y="116"/>
                    </a:lnTo>
                    <a:lnTo>
                      <a:pt x="44" y="118"/>
                    </a:lnTo>
                    <a:lnTo>
                      <a:pt x="44" y="118"/>
                    </a:lnTo>
                    <a:lnTo>
                      <a:pt x="44" y="118"/>
                    </a:lnTo>
                    <a:lnTo>
                      <a:pt x="42" y="118"/>
                    </a:lnTo>
                    <a:lnTo>
                      <a:pt x="42" y="118"/>
                    </a:lnTo>
                    <a:lnTo>
                      <a:pt x="44" y="120"/>
                    </a:lnTo>
                    <a:lnTo>
                      <a:pt x="44" y="120"/>
                    </a:lnTo>
                    <a:lnTo>
                      <a:pt x="42" y="120"/>
                    </a:lnTo>
                    <a:lnTo>
                      <a:pt x="42" y="120"/>
                    </a:lnTo>
                    <a:lnTo>
                      <a:pt x="40" y="118"/>
                    </a:lnTo>
                    <a:lnTo>
                      <a:pt x="40" y="118"/>
                    </a:lnTo>
                    <a:lnTo>
                      <a:pt x="40" y="116"/>
                    </a:lnTo>
                    <a:lnTo>
                      <a:pt x="40" y="113"/>
                    </a:lnTo>
                    <a:lnTo>
                      <a:pt x="37" y="111"/>
                    </a:lnTo>
                    <a:lnTo>
                      <a:pt x="40" y="109"/>
                    </a:lnTo>
                    <a:lnTo>
                      <a:pt x="37" y="106"/>
                    </a:lnTo>
                    <a:lnTo>
                      <a:pt x="35" y="106"/>
                    </a:lnTo>
                    <a:lnTo>
                      <a:pt x="33" y="106"/>
                    </a:lnTo>
                    <a:lnTo>
                      <a:pt x="33" y="106"/>
                    </a:lnTo>
                    <a:lnTo>
                      <a:pt x="30" y="109"/>
                    </a:lnTo>
                    <a:lnTo>
                      <a:pt x="30" y="109"/>
                    </a:lnTo>
                    <a:lnTo>
                      <a:pt x="30" y="111"/>
                    </a:lnTo>
                    <a:lnTo>
                      <a:pt x="28" y="111"/>
                    </a:lnTo>
                    <a:lnTo>
                      <a:pt x="30" y="113"/>
                    </a:lnTo>
                    <a:lnTo>
                      <a:pt x="30" y="116"/>
                    </a:lnTo>
                    <a:lnTo>
                      <a:pt x="30" y="118"/>
                    </a:lnTo>
                    <a:lnTo>
                      <a:pt x="30" y="118"/>
                    </a:lnTo>
                    <a:lnTo>
                      <a:pt x="30" y="123"/>
                    </a:lnTo>
                    <a:lnTo>
                      <a:pt x="30" y="123"/>
                    </a:lnTo>
                    <a:lnTo>
                      <a:pt x="35" y="125"/>
                    </a:lnTo>
                    <a:lnTo>
                      <a:pt x="37" y="125"/>
                    </a:lnTo>
                    <a:lnTo>
                      <a:pt x="37" y="125"/>
                    </a:lnTo>
                    <a:lnTo>
                      <a:pt x="37" y="128"/>
                    </a:lnTo>
                    <a:lnTo>
                      <a:pt x="37" y="128"/>
                    </a:lnTo>
                    <a:lnTo>
                      <a:pt x="40" y="128"/>
                    </a:lnTo>
                    <a:lnTo>
                      <a:pt x="37" y="130"/>
                    </a:lnTo>
                    <a:lnTo>
                      <a:pt x="37" y="130"/>
                    </a:lnTo>
                    <a:lnTo>
                      <a:pt x="37" y="130"/>
                    </a:lnTo>
                    <a:lnTo>
                      <a:pt x="35" y="128"/>
                    </a:lnTo>
                    <a:lnTo>
                      <a:pt x="33" y="128"/>
                    </a:lnTo>
                    <a:lnTo>
                      <a:pt x="30" y="130"/>
                    </a:lnTo>
                    <a:lnTo>
                      <a:pt x="30" y="130"/>
                    </a:lnTo>
                    <a:lnTo>
                      <a:pt x="30" y="132"/>
                    </a:lnTo>
                    <a:lnTo>
                      <a:pt x="30" y="135"/>
                    </a:lnTo>
                    <a:lnTo>
                      <a:pt x="28" y="135"/>
                    </a:lnTo>
                    <a:lnTo>
                      <a:pt x="30" y="137"/>
                    </a:lnTo>
                    <a:lnTo>
                      <a:pt x="30" y="137"/>
                    </a:lnTo>
                    <a:lnTo>
                      <a:pt x="33" y="137"/>
                    </a:lnTo>
                    <a:lnTo>
                      <a:pt x="33" y="137"/>
                    </a:lnTo>
                    <a:lnTo>
                      <a:pt x="35" y="139"/>
                    </a:lnTo>
                    <a:lnTo>
                      <a:pt x="35" y="142"/>
                    </a:lnTo>
                    <a:lnTo>
                      <a:pt x="37" y="144"/>
                    </a:lnTo>
                    <a:lnTo>
                      <a:pt x="37" y="144"/>
                    </a:lnTo>
                    <a:lnTo>
                      <a:pt x="37" y="146"/>
                    </a:lnTo>
                    <a:lnTo>
                      <a:pt x="37" y="146"/>
                    </a:lnTo>
                    <a:lnTo>
                      <a:pt x="40" y="149"/>
                    </a:lnTo>
                    <a:lnTo>
                      <a:pt x="42" y="149"/>
                    </a:lnTo>
                    <a:lnTo>
                      <a:pt x="44" y="146"/>
                    </a:lnTo>
                    <a:lnTo>
                      <a:pt x="49" y="149"/>
                    </a:lnTo>
                    <a:lnTo>
                      <a:pt x="51" y="149"/>
                    </a:lnTo>
                    <a:lnTo>
                      <a:pt x="49" y="151"/>
                    </a:lnTo>
                    <a:lnTo>
                      <a:pt x="49" y="151"/>
                    </a:lnTo>
                    <a:lnTo>
                      <a:pt x="44" y="151"/>
                    </a:lnTo>
                    <a:lnTo>
                      <a:pt x="40" y="151"/>
                    </a:lnTo>
                    <a:lnTo>
                      <a:pt x="40" y="151"/>
                    </a:lnTo>
                    <a:lnTo>
                      <a:pt x="40" y="153"/>
                    </a:lnTo>
                    <a:lnTo>
                      <a:pt x="42" y="153"/>
                    </a:lnTo>
                    <a:lnTo>
                      <a:pt x="42" y="153"/>
                    </a:lnTo>
                    <a:lnTo>
                      <a:pt x="40" y="153"/>
                    </a:lnTo>
                    <a:lnTo>
                      <a:pt x="37" y="151"/>
                    </a:lnTo>
                    <a:lnTo>
                      <a:pt x="37" y="151"/>
                    </a:lnTo>
                    <a:lnTo>
                      <a:pt x="37" y="149"/>
                    </a:lnTo>
                    <a:lnTo>
                      <a:pt x="37" y="151"/>
                    </a:lnTo>
                    <a:lnTo>
                      <a:pt x="35" y="149"/>
                    </a:lnTo>
                    <a:lnTo>
                      <a:pt x="30" y="146"/>
                    </a:lnTo>
                    <a:lnTo>
                      <a:pt x="30" y="144"/>
                    </a:lnTo>
                    <a:lnTo>
                      <a:pt x="28" y="144"/>
                    </a:lnTo>
                    <a:lnTo>
                      <a:pt x="28" y="144"/>
                    </a:lnTo>
                    <a:lnTo>
                      <a:pt x="28" y="146"/>
                    </a:lnTo>
                    <a:lnTo>
                      <a:pt x="28" y="146"/>
                    </a:lnTo>
                    <a:lnTo>
                      <a:pt x="28" y="149"/>
                    </a:lnTo>
                    <a:lnTo>
                      <a:pt x="28" y="149"/>
                    </a:lnTo>
                    <a:lnTo>
                      <a:pt x="26" y="149"/>
                    </a:lnTo>
                    <a:lnTo>
                      <a:pt x="26" y="151"/>
                    </a:lnTo>
                    <a:lnTo>
                      <a:pt x="26" y="151"/>
                    </a:lnTo>
                    <a:lnTo>
                      <a:pt x="26" y="153"/>
                    </a:lnTo>
                    <a:lnTo>
                      <a:pt x="26" y="156"/>
                    </a:lnTo>
                    <a:lnTo>
                      <a:pt x="26" y="156"/>
                    </a:lnTo>
                    <a:lnTo>
                      <a:pt x="26" y="158"/>
                    </a:lnTo>
                    <a:lnTo>
                      <a:pt x="26" y="161"/>
                    </a:lnTo>
                    <a:lnTo>
                      <a:pt x="26" y="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5" name="Freeform 74">
                <a:extLst>
                  <a:ext uri="{FF2B5EF4-FFF2-40B4-BE49-F238E27FC236}">
                    <a16:creationId xmlns:a16="http://schemas.microsoft.com/office/drawing/2014/main" id="{AAFCBCC3-7D27-4038-BBF6-82877E312173}"/>
                  </a:ext>
                </a:extLst>
              </p:cNvPr>
              <p:cNvSpPr>
                <a:spLocks/>
              </p:cNvSpPr>
              <p:nvPr/>
            </p:nvSpPr>
            <p:spPr bwMode="gray">
              <a:xfrm>
                <a:off x="-2671" y="1469"/>
                <a:ext cx="17" cy="10"/>
              </a:xfrm>
              <a:custGeom>
                <a:avLst/>
                <a:gdLst>
                  <a:gd name="T0" fmla="*/ 12 w 17"/>
                  <a:gd name="T1" fmla="*/ 3 h 10"/>
                  <a:gd name="T2" fmla="*/ 12 w 17"/>
                  <a:gd name="T3" fmla="*/ 3 h 10"/>
                  <a:gd name="T4" fmla="*/ 3 w 17"/>
                  <a:gd name="T5" fmla="*/ 0 h 10"/>
                  <a:gd name="T6" fmla="*/ 3 w 17"/>
                  <a:gd name="T7" fmla="*/ 0 h 10"/>
                  <a:gd name="T8" fmla="*/ 3 w 17"/>
                  <a:gd name="T9" fmla="*/ 0 h 10"/>
                  <a:gd name="T10" fmla="*/ 0 w 17"/>
                  <a:gd name="T11" fmla="*/ 5 h 10"/>
                  <a:gd name="T12" fmla="*/ 3 w 17"/>
                  <a:gd name="T13" fmla="*/ 5 h 10"/>
                  <a:gd name="T14" fmla="*/ 3 w 17"/>
                  <a:gd name="T15" fmla="*/ 7 h 10"/>
                  <a:gd name="T16" fmla="*/ 5 w 17"/>
                  <a:gd name="T17" fmla="*/ 7 h 10"/>
                  <a:gd name="T18" fmla="*/ 5 w 17"/>
                  <a:gd name="T19" fmla="*/ 7 h 10"/>
                  <a:gd name="T20" fmla="*/ 15 w 17"/>
                  <a:gd name="T21" fmla="*/ 10 h 10"/>
                  <a:gd name="T22" fmla="*/ 15 w 17"/>
                  <a:gd name="T23" fmla="*/ 7 h 10"/>
                  <a:gd name="T24" fmla="*/ 17 w 17"/>
                  <a:gd name="T25" fmla="*/ 7 h 10"/>
                  <a:gd name="T26" fmla="*/ 15 w 17"/>
                  <a:gd name="T27" fmla="*/ 5 h 10"/>
                  <a:gd name="T28" fmla="*/ 15 w 17"/>
                  <a:gd name="T29" fmla="*/ 5 h 10"/>
                  <a:gd name="T30" fmla="*/ 12 w 17"/>
                  <a:gd name="T31"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0">
                    <a:moveTo>
                      <a:pt x="12" y="3"/>
                    </a:moveTo>
                    <a:lnTo>
                      <a:pt x="12" y="3"/>
                    </a:lnTo>
                    <a:lnTo>
                      <a:pt x="3" y="0"/>
                    </a:lnTo>
                    <a:lnTo>
                      <a:pt x="3" y="0"/>
                    </a:lnTo>
                    <a:lnTo>
                      <a:pt x="3" y="0"/>
                    </a:lnTo>
                    <a:lnTo>
                      <a:pt x="0" y="5"/>
                    </a:lnTo>
                    <a:lnTo>
                      <a:pt x="3" y="5"/>
                    </a:lnTo>
                    <a:lnTo>
                      <a:pt x="3" y="7"/>
                    </a:lnTo>
                    <a:lnTo>
                      <a:pt x="5" y="7"/>
                    </a:lnTo>
                    <a:lnTo>
                      <a:pt x="5" y="7"/>
                    </a:lnTo>
                    <a:lnTo>
                      <a:pt x="15" y="10"/>
                    </a:lnTo>
                    <a:lnTo>
                      <a:pt x="15" y="7"/>
                    </a:lnTo>
                    <a:lnTo>
                      <a:pt x="17" y="7"/>
                    </a:lnTo>
                    <a:lnTo>
                      <a:pt x="15" y="5"/>
                    </a:lnTo>
                    <a:lnTo>
                      <a:pt x="15" y="5"/>
                    </a:lnTo>
                    <a:lnTo>
                      <a:pt x="1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6" name="Freeform 75">
                <a:extLst>
                  <a:ext uri="{FF2B5EF4-FFF2-40B4-BE49-F238E27FC236}">
                    <a16:creationId xmlns:a16="http://schemas.microsoft.com/office/drawing/2014/main" id="{0527E806-8939-488E-9410-BE9A27A98FC3}"/>
                  </a:ext>
                </a:extLst>
              </p:cNvPr>
              <p:cNvSpPr>
                <a:spLocks/>
              </p:cNvSpPr>
              <p:nvPr/>
            </p:nvSpPr>
            <p:spPr bwMode="gray">
              <a:xfrm>
                <a:off x="-2819" y="385"/>
                <a:ext cx="4" cy="10"/>
              </a:xfrm>
              <a:custGeom>
                <a:avLst/>
                <a:gdLst>
                  <a:gd name="T0" fmla="*/ 2 w 4"/>
                  <a:gd name="T1" fmla="*/ 5 h 10"/>
                  <a:gd name="T2" fmla="*/ 2 w 4"/>
                  <a:gd name="T3" fmla="*/ 5 h 10"/>
                  <a:gd name="T4" fmla="*/ 2 w 4"/>
                  <a:gd name="T5" fmla="*/ 7 h 10"/>
                  <a:gd name="T6" fmla="*/ 0 w 4"/>
                  <a:gd name="T7" fmla="*/ 10 h 10"/>
                  <a:gd name="T8" fmla="*/ 0 w 4"/>
                  <a:gd name="T9" fmla="*/ 10 h 10"/>
                  <a:gd name="T10" fmla="*/ 2 w 4"/>
                  <a:gd name="T11" fmla="*/ 7 h 10"/>
                  <a:gd name="T12" fmla="*/ 2 w 4"/>
                  <a:gd name="T13" fmla="*/ 7 h 10"/>
                  <a:gd name="T14" fmla="*/ 4 w 4"/>
                  <a:gd name="T15" fmla="*/ 5 h 10"/>
                  <a:gd name="T16" fmla="*/ 4 w 4"/>
                  <a:gd name="T17" fmla="*/ 7 h 10"/>
                  <a:gd name="T18" fmla="*/ 2 w 4"/>
                  <a:gd name="T19" fmla="*/ 7 h 10"/>
                  <a:gd name="T20" fmla="*/ 2 w 4"/>
                  <a:gd name="T21" fmla="*/ 10 h 10"/>
                  <a:gd name="T22" fmla="*/ 4 w 4"/>
                  <a:gd name="T23" fmla="*/ 10 h 10"/>
                  <a:gd name="T24" fmla="*/ 4 w 4"/>
                  <a:gd name="T25" fmla="*/ 7 h 10"/>
                  <a:gd name="T26" fmla="*/ 4 w 4"/>
                  <a:gd name="T27" fmla="*/ 7 h 10"/>
                  <a:gd name="T28" fmla="*/ 4 w 4"/>
                  <a:gd name="T29" fmla="*/ 5 h 10"/>
                  <a:gd name="T30" fmla="*/ 4 w 4"/>
                  <a:gd name="T31" fmla="*/ 3 h 10"/>
                  <a:gd name="T32" fmla="*/ 4 w 4"/>
                  <a:gd name="T33" fmla="*/ 3 h 10"/>
                  <a:gd name="T34" fmla="*/ 4 w 4"/>
                  <a:gd name="T35" fmla="*/ 3 h 10"/>
                  <a:gd name="T36" fmla="*/ 4 w 4"/>
                  <a:gd name="T37" fmla="*/ 3 h 10"/>
                  <a:gd name="T38" fmla="*/ 4 w 4"/>
                  <a:gd name="T39" fmla="*/ 3 h 10"/>
                  <a:gd name="T40" fmla="*/ 4 w 4"/>
                  <a:gd name="T41" fmla="*/ 0 h 10"/>
                  <a:gd name="T42" fmla="*/ 4 w 4"/>
                  <a:gd name="T43" fmla="*/ 0 h 10"/>
                  <a:gd name="T44" fmla="*/ 4 w 4"/>
                  <a:gd name="T45" fmla="*/ 0 h 10"/>
                  <a:gd name="T46" fmla="*/ 4 w 4"/>
                  <a:gd name="T47" fmla="*/ 0 h 10"/>
                  <a:gd name="T48" fmla="*/ 2 w 4"/>
                  <a:gd name="T49" fmla="*/ 0 h 10"/>
                  <a:gd name="T50" fmla="*/ 2 w 4"/>
                  <a:gd name="T51" fmla="*/ 0 h 10"/>
                  <a:gd name="T52" fmla="*/ 2 w 4"/>
                  <a:gd name="T53" fmla="*/ 3 h 10"/>
                  <a:gd name="T54" fmla="*/ 2 w 4"/>
                  <a:gd name="T55" fmla="*/ 3 h 10"/>
                  <a:gd name="T56" fmla="*/ 2 w 4"/>
                  <a:gd name="T5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 h="10">
                    <a:moveTo>
                      <a:pt x="2" y="5"/>
                    </a:moveTo>
                    <a:lnTo>
                      <a:pt x="2" y="5"/>
                    </a:lnTo>
                    <a:lnTo>
                      <a:pt x="2" y="7"/>
                    </a:lnTo>
                    <a:lnTo>
                      <a:pt x="0" y="10"/>
                    </a:lnTo>
                    <a:lnTo>
                      <a:pt x="0" y="10"/>
                    </a:lnTo>
                    <a:lnTo>
                      <a:pt x="2" y="7"/>
                    </a:lnTo>
                    <a:lnTo>
                      <a:pt x="2" y="7"/>
                    </a:lnTo>
                    <a:lnTo>
                      <a:pt x="4" y="5"/>
                    </a:lnTo>
                    <a:lnTo>
                      <a:pt x="4" y="7"/>
                    </a:lnTo>
                    <a:lnTo>
                      <a:pt x="2" y="7"/>
                    </a:lnTo>
                    <a:lnTo>
                      <a:pt x="2" y="10"/>
                    </a:lnTo>
                    <a:lnTo>
                      <a:pt x="4" y="10"/>
                    </a:lnTo>
                    <a:lnTo>
                      <a:pt x="4" y="7"/>
                    </a:lnTo>
                    <a:lnTo>
                      <a:pt x="4" y="7"/>
                    </a:lnTo>
                    <a:lnTo>
                      <a:pt x="4" y="5"/>
                    </a:lnTo>
                    <a:lnTo>
                      <a:pt x="4" y="3"/>
                    </a:lnTo>
                    <a:lnTo>
                      <a:pt x="4" y="3"/>
                    </a:lnTo>
                    <a:lnTo>
                      <a:pt x="4" y="3"/>
                    </a:lnTo>
                    <a:lnTo>
                      <a:pt x="4" y="3"/>
                    </a:lnTo>
                    <a:lnTo>
                      <a:pt x="4" y="3"/>
                    </a:lnTo>
                    <a:lnTo>
                      <a:pt x="4" y="0"/>
                    </a:lnTo>
                    <a:lnTo>
                      <a:pt x="4" y="0"/>
                    </a:lnTo>
                    <a:lnTo>
                      <a:pt x="4" y="0"/>
                    </a:lnTo>
                    <a:lnTo>
                      <a:pt x="4" y="0"/>
                    </a:lnTo>
                    <a:lnTo>
                      <a:pt x="2" y="0"/>
                    </a:lnTo>
                    <a:lnTo>
                      <a:pt x="2" y="0"/>
                    </a:lnTo>
                    <a:lnTo>
                      <a:pt x="2" y="3"/>
                    </a:lnTo>
                    <a:lnTo>
                      <a:pt x="2" y="3"/>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7" name="Freeform 76">
                <a:extLst>
                  <a:ext uri="{FF2B5EF4-FFF2-40B4-BE49-F238E27FC236}">
                    <a16:creationId xmlns:a16="http://schemas.microsoft.com/office/drawing/2014/main" id="{274398EA-01E2-438C-A1E8-F13E2BDACD6D}"/>
                  </a:ext>
                </a:extLst>
              </p:cNvPr>
              <p:cNvSpPr>
                <a:spLocks/>
              </p:cNvSpPr>
              <p:nvPr/>
            </p:nvSpPr>
            <p:spPr bwMode="gray">
              <a:xfrm>
                <a:off x="-2805" y="296"/>
                <a:ext cx="14" cy="35"/>
              </a:xfrm>
              <a:custGeom>
                <a:avLst/>
                <a:gdLst>
                  <a:gd name="T0" fmla="*/ 5 w 14"/>
                  <a:gd name="T1" fmla="*/ 35 h 35"/>
                  <a:gd name="T2" fmla="*/ 7 w 14"/>
                  <a:gd name="T3" fmla="*/ 35 h 35"/>
                  <a:gd name="T4" fmla="*/ 5 w 14"/>
                  <a:gd name="T5" fmla="*/ 33 h 35"/>
                  <a:gd name="T6" fmla="*/ 7 w 14"/>
                  <a:gd name="T7" fmla="*/ 33 h 35"/>
                  <a:gd name="T8" fmla="*/ 9 w 14"/>
                  <a:gd name="T9" fmla="*/ 33 h 35"/>
                  <a:gd name="T10" fmla="*/ 12 w 14"/>
                  <a:gd name="T11" fmla="*/ 33 h 35"/>
                  <a:gd name="T12" fmla="*/ 12 w 14"/>
                  <a:gd name="T13" fmla="*/ 30 h 35"/>
                  <a:gd name="T14" fmla="*/ 9 w 14"/>
                  <a:gd name="T15" fmla="*/ 26 h 35"/>
                  <a:gd name="T16" fmla="*/ 12 w 14"/>
                  <a:gd name="T17" fmla="*/ 26 h 35"/>
                  <a:gd name="T18" fmla="*/ 12 w 14"/>
                  <a:gd name="T19" fmla="*/ 21 h 35"/>
                  <a:gd name="T20" fmla="*/ 12 w 14"/>
                  <a:gd name="T21" fmla="*/ 21 h 35"/>
                  <a:gd name="T22" fmla="*/ 9 w 14"/>
                  <a:gd name="T23" fmla="*/ 21 h 35"/>
                  <a:gd name="T24" fmla="*/ 7 w 14"/>
                  <a:gd name="T25" fmla="*/ 16 h 35"/>
                  <a:gd name="T26" fmla="*/ 9 w 14"/>
                  <a:gd name="T27" fmla="*/ 19 h 35"/>
                  <a:gd name="T28" fmla="*/ 12 w 14"/>
                  <a:gd name="T29" fmla="*/ 16 h 35"/>
                  <a:gd name="T30" fmla="*/ 9 w 14"/>
                  <a:gd name="T31" fmla="*/ 12 h 35"/>
                  <a:gd name="T32" fmla="*/ 9 w 14"/>
                  <a:gd name="T33" fmla="*/ 12 h 35"/>
                  <a:gd name="T34" fmla="*/ 14 w 14"/>
                  <a:gd name="T35" fmla="*/ 14 h 35"/>
                  <a:gd name="T36" fmla="*/ 14 w 14"/>
                  <a:gd name="T37" fmla="*/ 12 h 35"/>
                  <a:gd name="T38" fmla="*/ 14 w 14"/>
                  <a:gd name="T39" fmla="*/ 7 h 35"/>
                  <a:gd name="T40" fmla="*/ 14 w 14"/>
                  <a:gd name="T41" fmla="*/ 5 h 35"/>
                  <a:gd name="T42" fmla="*/ 14 w 14"/>
                  <a:gd name="T43" fmla="*/ 5 h 35"/>
                  <a:gd name="T44" fmla="*/ 14 w 14"/>
                  <a:gd name="T45" fmla="*/ 5 h 35"/>
                  <a:gd name="T46" fmla="*/ 14 w 14"/>
                  <a:gd name="T47" fmla="*/ 2 h 35"/>
                  <a:gd name="T48" fmla="*/ 9 w 14"/>
                  <a:gd name="T49" fmla="*/ 2 h 35"/>
                  <a:gd name="T50" fmla="*/ 7 w 14"/>
                  <a:gd name="T51" fmla="*/ 0 h 35"/>
                  <a:gd name="T52" fmla="*/ 7 w 14"/>
                  <a:gd name="T53" fmla="*/ 2 h 35"/>
                  <a:gd name="T54" fmla="*/ 5 w 14"/>
                  <a:gd name="T55" fmla="*/ 5 h 35"/>
                  <a:gd name="T56" fmla="*/ 5 w 14"/>
                  <a:gd name="T57" fmla="*/ 7 h 35"/>
                  <a:gd name="T58" fmla="*/ 5 w 14"/>
                  <a:gd name="T59" fmla="*/ 9 h 35"/>
                  <a:gd name="T60" fmla="*/ 5 w 14"/>
                  <a:gd name="T61" fmla="*/ 12 h 35"/>
                  <a:gd name="T62" fmla="*/ 5 w 14"/>
                  <a:gd name="T63" fmla="*/ 16 h 35"/>
                  <a:gd name="T64" fmla="*/ 5 w 14"/>
                  <a:gd name="T65" fmla="*/ 19 h 35"/>
                  <a:gd name="T66" fmla="*/ 2 w 14"/>
                  <a:gd name="T67" fmla="*/ 16 h 35"/>
                  <a:gd name="T68" fmla="*/ 2 w 14"/>
                  <a:gd name="T69" fmla="*/ 14 h 35"/>
                  <a:gd name="T70" fmla="*/ 0 w 14"/>
                  <a:gd name="T71" fmla="*/ 16 h 35"/>
                  <a:gd name="T72" fmla="*/ 2 w 14"/>
                  <a:gd name="T73"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35">
                    <a:moveTo>
                      <a:pt x="2" y="33"/>
                    </a:moveTo>
                    <a:lnTo>
                      <a:pt x="5" y="35"/>
                    </a:lnTo>
                    <a:lnTo>
                      <a:pt x="7" y="35"/>
                    </a:lnTo>
                    <a:lnTo>
                      <a:pt x="7" y="35"/>
                    </a:lnTo>
                    <a:lnTo>
                      <a:pt x="5" y="33"/>
                    </a:lnTo>
                    <a:lnTo>
                      <a:pt x="5" y="33"/>
                    </a:lnTo>
                    <a:lnTo>
                      <a:pt x="7" y="33"/>
                    </a:lnTo>
                    <a:lnTo>
                      <a:pt x="7" y="33"/>
                    </a:lnTo>
                    <a:lnTo>
                      <a:pt x="7" y="33"/>
                    </a:lnTo>
                    <a:lnTo>
                      <a:pt x="9" y="33"/>
                    </a:lnTo>
                    <a:lnTo>
                      <a:pt x="12" y="35"/>
                    </a:lnTo>
                    <a:lnTo>
                      <a:pt x="12" y="33"/>
                    </a:lnTo>
                    <a:lnTo>
                      <a:pt x="12" y="33"/>
                    </a:lnTo>
                    <a:lnTo>
                      <a:pt x="12" y="30"/>
                    </a:lnTo>
                    <a:lnTo>
                      <a:pt x="12" y="28"/>
                    </a:lnTo>
                    <a:lnTo>
                      <a:pt x="9" y="26"/>
                    </a:lnTo>
                    <a:lnTo>
                      <a:pt x="12" y="26"/>
                    </a:lnTo>
                    <a:lnTo>
                      <a:pt x="12" y="26"/>
                    </a:lnTo>
                    <a:lnTo>
                      <a:pt x="12" y="23"/>
                    </a:lnTo>
                    <a:lnTo>
                      <a:pt x="12" y="21"/>
                    </a:lnTo>
                    <a:lnTo>
                      <a:pt x="12" y="21"/>
                    </a:lnTo>
                    <a:lnTo>
                      <a:pt x="12" y="21"/>
                    </a:lnTo>
                    <a:lnTo>
                      <a:pt x="9" y="21"/>
                    </a:lnTo>
                    <a:lnTo>
                      <a:pt x="9" y="21"/>
                    </a:lnTo>
                    <a:lnTo>
                      <a:pt x="9" y="19"/>
                    </a:lnTo>
                    <a:lnTo>
                      <a:pt x="7" y="16"/>
                    </a:lnTo>
                    <a:lnTo>
                      <a:pt x="9" y="19"/>
                    </a:lnTo>
                    <a:lnTo>
                      <a:pt x="9" y="19"/>
                    </a:lnTo>
                    <a:lnTo>
                      <a:pt x="12" y="19"/>
                    </a:lnTo>
                    <a:lnTo>
                      <a:pt x="12" y="16"/>
                    </a:lnTo>
                    <a:lnTo>
                      <a:pt x="9" y="14"/>
                    </a:lnTo>
                    <a:lnTo>
                      <a:pt x="9" y="12"/>
                    </a:lnTo>
                    <a:lnTo>
                      <a:pt x="9" y="12"/>
                    </a:lnTo>
                    <a:lnTo>
                      <a:pt x="9" y="12"/>
                    </a:lnTo>
                    <a:lnTo>
                      <a:pt x="12" y="12"/>
                    </a:lnTo>
                    <a:lnTo>
                      <a:pt x="14" y="14"/>
                    </a:lnTo>
                    <a:lnTo>
                      <a:pt x="14" y="14"/>
                    </a:lnTo>
                    <a:lnTo>
                      <a:pt x="14" y="12"/>
                    </a:lnTo>
                    <a:lnTo>
                      <a:pt x="14" y="9"/>
                    </a:lnTo>
                    <a:lnTo>
                      <a:pt x="14" y="7"/>
                    </a:lnTo>
                    <a:lnTo>
                      <a:pt x="14" y="7"/>
                    </a:lnTo>
                    <a:lnTo>
                      <a:pt x="14" y="5"/>
                    </a:lnTo>
                    <a:lnTo>
                      <a:pt x="14" y="5"/>
                    </a:lnTo>
                    <a:lnTo>
                      <a:pt x="14" y="5"/>
                    </a:lnTo>
                    <a:lnTo>
                      <a:pt x="14" y="5"/>
                    </a:lnTo>
                    <a:lnTo>
                      <a:pt x="14" y="5"/>
                    </a:lnTo>
                    <a:lnTo>
                      <a:pt x="14" y="2"/>
                    </a:lnTo>
                    <a:lnTo>
                      <a:pt x="14" y="2"/>
                    </a:lnTo>
                    <a:lnTo>
                      <a:pt x="9" y="0"/>
                    </a:lnTo>
                    <a:lnTo>
                      <a:pt x="9" y="2"/>
                    </a:lnTo>
                    <a:lnTo>
                      <a:pt x="7" y="2"/>
                    </a:lnTo>
                    <a:lnTo>
                      <a:pt x="7" y="0"/>
                    </a:lnTo>
                    <a:lnTo>
                      <a:pt x="7" y="0"/>
                    </a:lnTo>
                    <a:lnTo>
                      <a:pt x="7" y="2"/>
                    </a:lnTo>
                    <a:lnTo>
                      <a:pt x="5" y="2"/>
                    </a:lnTo>
                    <a:lnTo>
                      <a:pt x="5" y="5"/>
                    </a:lnTo>
                    <a:lnTo>
                      <a:pt x="5" y="7"/>
                    </a:lnTo>
                    <a:lnTo>
                      <a:pt x="5" y="7"/>
                    </a:lnTo>
                    <a:lnTo>
                      <a:pt x="5" y="7"/>
                    </a:lnTo>
                    <a:lnTo>
                      <a:pt x="5" y="9"/>
                    </a:lnTo>
                    <a:lnTo>
                      <a:pt x="5" y="9"/>
                    </a:lnTo>
                    <a:lnTo>
                      <a:pt x="5" y="12"/>
                    </a:lnTo>
                    <a:lnTo>
                      <a:pt x="5" y="14"/>
                    </a:lnTo>
                    <a:lnTo>
                      <a:pt x="5" y="16"/>
                    </a:lnTo>
                    <a:lnTo>
                      <a:pt x="7" y="16"/>
                    </a:lnTo>
                    <a:lnTo>
                      <a:pt x="5" y="19"/>
                    </a:lnTo>
                    <a:lnTo>
                      <a:pt x="5" y="16"/>
                    </a:lnTo>
                    <a:lnTo>
                      <a:pt x="2" y="16"/>
                    </a:lnTo>
                    <a:lnTo>
                      <a:pt x="2" y="14"/>
                    </a:lnTo>
                    <a:lnTo>
                      <a:pt x="2" y="14"/>
                    </a:lnTo>
                    <a:lnTo>
                      <a:pt x="0" y="14"/>
                    </a:lnTo>
                    <a:lnTo>
                      <a:pt x="0" y="16"/>
                    </a:lnTo>
                    <a:lnTo>
                      <a:pt x="0" y="30"/>
                    </a:lnTo>
                    <a:lnTo>
                      <a:pt x="2"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4" name="Freeform 77">
                <a:extLst>
                  <a:ext uri="{FF2B5EF4-FFF2-40B4-BE49-F238E27FC236}">
                    <a16:creationId xmlns:a16="http://schemas.microsoft.com/office/drawing/2014/main" id="{5E42E946-466D-4362-BBE2-C71DD9A5D4F1}"/>
                  </a:ext>
                </a:extLst>
              </p:cNvPr>
              <p:cNvSpPr>
                <a:spLocks/>
              </p:cNvSpPr>
              <p:nvPr/>
            </p:nvSpPr>
            <p:spPr bwMode="gray">
              <a:xfrm>
                <a:off x="-2796" y="345"/>
                <a:ext cx="10" cy="10"/>
              </a:xfrm>
              <a:custGeom>
                <a:avLst/>
                <a:gdLst>
                  <a:gd name="T0" fmla="*/ 5 w 10"/>
                  <a:gd name="T1" fmla="*/ 3 h 10"/>
                  <a:gd name="T2" fmla="*/ 3 w 10"/>
                  <a:gd name="T3" fmla="*/ 3 h 10"/>
                  <a:gd name="T4" fmla="*/ 3 w 10"/>
                  <a:gd name="T5" fmla="*/ 5 h 10"/>
                  <a:gd name="T6" fmla="*/ 3 w 10"/>
                  <a:gd name="T7" fmla="*/ 5 h 10"/>
                  <a:gd name="T8" fmla="*/ 3 w 10"/>
                  <a:gd name="T9" fmla="*/ 7 h 10"/>
                  <a:gd name="T10" fmla="*/ 3 w 10"/>
                  <a:gd name="T11" fmla="*/ 7 h 10"/>
                  <a:gd name="T12" fmla="*/ 0 w 10"/>
                  <a:gd name="T13" fmla="*/ 7 h 10"/>
                  <a:gd name="T14" fmla="*/ 3 w 10"/>
                  <a:gd name="T15" fmla="*/ 10 h 10"/>
                  <a:gd name="T16" fmla="*/ 5 w 10"/>
                  <a:gd name="T17" fmla="*/ 7 h 10"/>
                  <a:gd name="T18" fmla="*/ 7 w 10"/>
                  <a:gd name="T19" fmla="*/ 5 h 10"/>
                  <a:gd name="T20" fmla="*/ 10 w 10"/>
                  <a:gd name="T21" fmla="*/ 3 h 10"/>
                  <a:gd name="T22" fmla="*/ 10 w 10"/>
                  <a:gd name="T23" fmla="*/ 3 h 10"/>
                  <a:gd name="T24" fmla="*/ 10 w 10"/>
                  <a:gd name="T25" fmla="*/ 3 h 10"/>
                  <a:gd name="T26" fmla="*/ 10 w 10"/>
                  <a:gd name="T27" fmla="*/ 0 h 10"/>
                  <a:gd name="T28" fmla="*/ 10 w 10"/>
                  <a:gd name="T29" fmla="*/ 0 h 10"/>
                  <a:gd name="T30" fmla="*/ 10 w 10"/>
                  <a:gd name="T31" fmla="*/ 3 h 10"/>
                  <a:gd name="T32" fmla="*/ 10 w 10"/>
                  <a:gd name="T33" fmla="*/ 3 h 10"/>
                  <a:gd name="T34" fmla="*/ 5 w 10"/>
                  <a:gd name="T35" fmla="*/ 3 h 10"/>
                  <a:gd name="T36" fmla="*/ 5 w 10"/>
                  <a:gd name="T37" fmla="*/ 3 h 10"/>
                  <a:gd name="T38" fmla="*/ 5 w 10"/>
                  <a:gd name="T39" fmla="*/ 3 h 10"/>
                  <a:gd name="T40" fmla="*/ 5 w 10"/>
                  <a:gd name="T41"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 h="10">
                    <a:moveTo>
                      <a:pt x="5" y="3"/>
                    </a:moveTo>
                    <a:lnTo>
                      <a:pt x="3" y="3"/>
                    </a:lnTo>
                    <a:lnTo>
                      <a:pt x="3" y="5"/>
                    </a:lnTo>
                    <a:lnTo>
                      <a:pt x="3" y="5"/>
                    </a:lnTo>
                    <a:lnTo>
                      <a:pt x="3" y="7"/>
                    </a:lnTo>
                    <a:lnTo>
                      <a:pt x="3" y="7"/>
                    </a:lnTo>
                    <a:lnTo>
                      <a:pt x="0" y="7"/>
                    </a:lnTo>
                    <a:lnTo>
                      <a:pt x="3" y="10"/>
                    </a:lnTo>
                    <a:lnTo>
                      <a:pt x="5" y="7"/>
                    </a:lnTo>
                    <a:lnTo>
                      <a:pt x="7" y="5"/>
                    </a:lnTo>
                    <a:lnTo>
                      <a:pt x="10" y="3"/>
                    </a:lnTo>
                    <a:lnTo>
                      <a:pt x="10" y="3"/>
                    </a:lnTo>
                    <a:lnTo>
                      <a:pt x="10" y="3"/>
                    </a:lnTo>
                    <a:lnTo>
                      <a:pt x="10" y="0"/>
                    </a:lnTo>
                    <a:lnTo>
                      <a:pt x="10" y="0"/>
                    </a:lnTo>
                    <a:lnTo>
                      <a:pt x="10" y="3"/>
                    </a:lnTo>
                    <a:lnTo>
                      <a:pt x="10" y="3"/>
                    </a:lnTo>
                    <a:lnTo>
                      <a:pt x="5" y="3"/>
                    </a:lnTo>
                    <a:lnTo>
                      <a:pt x="5" y="3"/>
                    </a:lnTo>
                    <a:lnTo>
                      <a:pt x="5" y="3"/>
                    </a:lnTo>
                    <a:lnTo>
                      <a:pt x="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5" name="Freeform 78">
                <a:extLst>
                  <a:ext uri="{FF2B5EF4-FFF2-40B4-BE49-F238E27FC236}">
                    <a16:creationId xmlns:a16="http://schemas.microsoft.com/office/drawing/2014/main" id="{A938CAF0-C4BD-406D-A347-9D88680205D1}"/>
                  </a:ext>
                </a:extLst>
              </p:cNvPr>
              <p:cNvSpPr>
                <a:spLocks/>
              </p:cNvSpPr>
              <p:nvPr/>
            </p:nvSpPr>
            <p:spPr bwMode="gray">
              <a:xfrm>
                <a:off x="-2841" y="310"/>
                <a:ext cx="45" cy="111"/>
              </a:xfrm>
              <a:custGeom>
                <a:avLst/>
                <a:gdLst>
                  <a:gd name="T0" fmla="*/ 5 w 45"/>
                  <a:gd name="T1" fmla="*/ 59 h 111"/>
                  <a:gd name="T2" fmla="*/ 12 w 45"/>
                  <a:gd name="T3" fmla="*/ 61 h 111"/>
                  <a:gd name="T4" fmla="*/ 12 w 45"/>
                  <a:gd name="T5" fmla="*/ 61 h 111"/>
                  <a:gd name="T6" fmla="*/ 17 w 45"/>
                  <a:gd name="T7" fmla="*/ 68 h 111"/>
                  <a:gd name="T8" fmla="*/ 19 w 45"/>
                  <a:gd name="T9" fmla="*/ 66 h 111"/>
                  <a:gd name="T10" fmla="*/ 24 w 45"/>
                  <a:gd name="T11" fmla="*/ 59 h 111"/>
                  <a:gd name="T12" fmla="*/ 24 w 45"/>
                  <a:gd name="T13" fmla="*/ 59 h 111"/>
                  <a:gd name="T14" fmla="*/ 29 w 45"/>
                  <a:gd name="T15" fmla="*/ 59 h 111"/>
                  <a:gd name="T16" fmla="*/ 29 w 45"/>
                  <a:gd name="T17" fmla="*/ 66 h 111"/>
                  <a:gd name="T18" fmla="*/ 29 w 45"/>
                  <a:gd name="T19" fmla="*/ 71 h 111"/>
                  <a:gd name="T20" fmla="*/ 26 w 45"/>
                  <a:gd name="T21" fmla="*/ 92 h 111"/>
                  <a:gd name="T22" fmla="*/ 26 w 45"/>
                  <a:gd name="T23" fmla="*/ 97 h 111"/>
                  <a:gd name="T24" fmla="*/ 24 w 45"/>
                  <a:gd name="T25" fmla="*/ 106 h 111"/>
                  <a:gd name="T26" fmla="*/ 29 w 45"/>
                  <a:gd name="T27" fmla="*/ 108 h 111"/>
                  <a:gd name="T28" fmla="*/ 31 w 45"/>
                  <a:gd name="T29" fmla="*/ 106 h 111"/>
                  <a:gd name="T30" fmla="*/ 29 w 45"/>
                  <a:gd name="T31" fmla="*/ 101 h 111"/>
                  <a:gd name="T32" fmla="*/ 34 w 45"/>
                  <a:gd name="T33" fmla="*/ 92 h 111"/>
                  <a:gd name="T34" fmla="*/ 36 w 45"/>
                  <a:gd name="T35" fmla="*/ 85 h 111"/>
                  <a:gd name="T36" fmla="*/ 34 w 45"/>
                  <a:gd name="T37" fmla="*/ 75 h 111"/>
                  <a:gd name="T38" fmla="*/ 36 w 45"/>
                  <a:gd name="T39" fmla="*/ 73 h 111"/>
                  <a:gd name="T40" fmla="*/ 41 w 45"/>
                  <a:gd name="T41" fmla="*/ 71 h 111"/>
                  <a:gd name="T42" fmla="*/ 36 w 45"/>
                  <a:gd name="T43" fmla="*/ 64 h 111"/>
                  <a:gd name="T44" fmla="*/ 36 w 45"/>
                  <a:gd name="T45" fmla="*/ 59 h 111"/>
                  <a:gd name="T46" fmla="*/ 36 w 45"/>
                  <a:gd name="T47" fmla="*/ 54 h 111"/>
                  <a:gd name="T48" fmla="*/ 38 w 45"/>
                  <a:gd name="T49" fmla="*/ 57 h 111"/>
                  <a:gd name="T50" fmla="*/ 41 w 45"/>
                  <a:gd name="T51" fmla="*/ 52 h 111"/>
                  <a:gd name="T52" fmla="*/ 43 w 45"/>
                  <a:gd name="T53" fmla="*/ 45 h 111"/>
                  <a:gd name="T54" fmla="*/ 45 w 45"/>
                  <a:gd name="T55" fmla="*/ 38 h 111"/>
                  <a:gd name="T56" fmla="*/ 41 w 45"/>
                  <a:gd name="T57" fmla="*/ 38 h 111"/>
                  <a:gd name="T58" fmla="*/ 43 w 45"/>
                  <a:gd name="T59" fmla="*/ 28 h 111"/>
                  <a:gd name="T60" fmla="*/ 41 w 45"/>
                  <a:gd name="T61" fmla="*/ 33 h 111"/>
                  <a:gd name="T62" fmla="*/ 38 w 45"/>
                  <a:gd name="T63" fmla="*/ 33 h 111"/>
                  <a:gd name="T64" fmla="*/ 34 w 45"/>
                  <a:gd name="T65" fmla="*/ 33 h 111"/>
                  <a:gd name="T66" fmla="*/ 38 w 45"/>
                  <a:gd name="T67" fmla="*/ 31 h 111"/>
                  <a:gd name="T68" fmla="*/ 36 w 45"/>
                  <a:gd name="T69" fmla="*/ 24 h 111"/>
                  <a:gd name="T70" fmla="*/ 31 w 45"/>
                  <a:gd name="T71" fmla="*/ 26 h 111"/>
                  <a:gd name="T72" fmla="*/ 29 w 45"/>
                  <a:gd name="T73" fmla="*/ 28 h 111"/>
                  <a:gd name="T74" fmla="*/ 22 w 45"/>
                  <a:gd name="T75" fmla="*/ 33 h 111"/>
                  <a:gd name="T76" fmla="*/ 29 w 45"/>
                  <a:gd name="T77" fmla="*/ 21 h 111"/>
                  <a:gd name="T78" fmla="*/ 26 w 45"/>
                  <a:gd name="T79" fmla="*/ 16 h 111"/>
                  <a:gd name="T80" fmla="*/ 26 w 45"/>
                  <a:gd name="T81" fmla="*/ 16 h 111"/>
                  <a:gd name="T82" fmla="*/ 29 w 45"/>
                  <a:gd name="T83" fmla="*/ 7 h 111"/>
                  <a:gd name="T84" fmla="*/ 26 w 45"/>
                  <a:gd name="T85" fmla="*/ 5 h 111"/>
                  <a:gd name="T86" fmla="*/ 19 w 45"/>
                  <a:gd name="T87" fmla="*/ 5 h 111"/>
                  <a:gd name="T88" fmla="*/ 17 w 45"/>
                  <a:gd name="T89" fmla="*/ 9 h 111"/>
                  <a:gd name="T90" fmla="*/ 19 w 45"/>
                  <a:gd name="T91" fmla="*/ 16 h 111"/>
                  <a:gd name="T92" fmla="*/ 15 w 45"/>
                  <a:gd name="T93" fmla="*/ 14 h 111"/>
                  <a:gd name="T94" fmla="*/ 10 w 45"/>
                  <a:gd name="T95" fmla="*/ 16 h 111"/>
                  <a:gd name="T96" fmla="*/ 5 w 45"/>
                  <a:gd name="T97" fmla="*/ 24 h 111"/>
                  <a:gd name="T98" fmla="*/ 15 w 45"/>
                  <a:gd name="T99" fmla="*/ 21 h 111"/>
                  <a:gd name="T100" fmla="*/ 17 w 45"/>
                  <a:gd name="T101" fmla="*/ 21 h 111"/>
                  <a:gd name="T102" fmla="*/ 22 w 45"/>
                  <a:gd name="T103" fmla="*/ 31 h 111"/>
                  <a:gd name="T104" fmla="*/ 24 w 45"/>
                  <a:gd name="T105" fmla="*/ 35 h 111"/>
                  <a:gd name="T106" fmla="*/ 26 w 45"/>
                  <a:gd name="T107" fmla="*/ 42 h 111"/>
                  <a:gd name="T108" fmla="*/ 24 w 45"/>
                  <a:gd name="T109" fmla="*/ 49 h 111"/>
                  <a:gd name="T110" fmla="*/ 17 w 45"/>
                  <a:gd name="T111" fmla="*/ 47 h 111"/>
                  <a:gd name="T112" fmla="*/ 17 w 45"/>
                  <a:gd name="T113" fmla="*/ 47 h 111"/>
                  <a:gd name="T114" fmla="*/ 10 w 45"/>
                  <a:gd name="T115" fmla="*/ 49 h 111"/>
                  <a:gd name="T116" fmla="*/ 3 w 45"/>
                  <a:gd name="T117" fmla="*/ 4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 h="111">
                    <a:moveTo>
                      <a:pt x="3" y="57"/>
                    </a:moveTo>
                    <a:lnTo>
                      <a:pt x="3" y="59"/>
                    </a:lnTo>
                    <a:lnTo>
                      <a:pt x="3" y="59"/>
                    </a:lnTo>
                    <a:lnTo>
                      <a:pt x="5" y="59"/>
                    </a:lnTo>
                    <a:lnTo>
                      <a:pt x="5" y="59"/>
                    </a:lnTo>
                    <a:lnTo>
                      <a:pt x="5" y="59"/>
                    </a:lnTo>
                    <a:lnTo>
                      <a:pt x="5" y="59"/>
                    </a:lnTo>
                    <a:lnTo>
                      <a:pt x="5" y="61"/>
                    </a:lnTo>
                    <a:lnTo>
                      <a:pt x="8" y="59"/>
                    </a:lnTo>
                    <a:lnTo>
                      <a:pt x="10" y="59"/>
                    </a:lnTo>
                    <a:lnTo>
                      <a:pt x="10" y="59"/>
                    </a:lnTo>
                    <a:lnTo>
                      <a:pt x="10" y="59"/>
                    </a:lnTo>
                    <a:lnTo>
                      <a:pt x="12" y="61"/>
                    </a:lnTo>
                    <a:lnTo>
                      <a:pt x="12" y="61"/>
                    </a:lnTo>
                    <a:lnTo>
                      <a:pt x="12" y="59"/>
                    </a:lnTo>
                    <a:lnTo>
                      <a:pt x="12" y="57"/>
                    </a:lnTo>
                    <a:lnTo>
                      <a:pt x="12" y="57"/>
                    </a:lnTo>
                    <a:lnTo>
                      <a:pt x="15" y="59"/>
                    </a:lnTo>
                    <a:lnTo>
                      <a:pt x="17" y="59"/>
                    </a:lnTo>
                    <a:lnTo>
                      <a:pt x="15" y="61"/>
                    </a:lnTo>
                    <a:lnTo>
                      <a:pt x="12" y="61"/>
                    </a:lnTo>
                    <a:lnTo>
                      <a:pt x="12" y="61"/>
                    </a:lnTo>
                    <a:lnTo>
                      <a:pt x="12" y="64"/>
                    </a:lnTo>
                    <a:lnTo>
                      <a:pt x="12" y="64"/>
                    </a:lnTo>
                    <a:lnTo>
                      <a:pt x="12" y="66"/>
                    </a:lnTo>
                    <a:lnTo>
                      <a:pt x="12" y="66"/>
                    </a:lnTo>
                    <a:lnTo>
                      <a:pt x="15" y="66"/>
                    </a:lnTo>
                    <a:lnTo>
                      <a:pt x="17" y="68"/>
                    </a:lnTo>
                    <a:lnTo>
                      <a:pt x="17" y="68"/>
                    </a:lnTo>
                    <a:lnTo>
                      <a:pt x="17" y="68"/>
                    </a:lnTo>
                    <a:lnTo>
                      <a:pt x="19" y="66"/>
                    </a:lnTo>
                    <a:lnTo>
                      <a:pt x="19" y="66"/>
                    </a:lnTo>
                    <a:lnTo>
                      <a:pt x="19" y="64"/>
                    </a:lnTo>
                    <a:lnTo>
                      <a:pt x="19" y="66"/>
                    </a:lnTo>
                    <a:lnTo>
                      <a:pt x="19" y="66"/>
                    </a:lnTo>
                    <a:lnTo>
                      <a:pt x="22" y="64"/>
                    </a:lnTo>
                    <a:lnTo>
                      <a:pt x="22" y="61"/>
                    </a:lnTo>
                    <a:lnTo>
                      <a:pt x="22" y="61"/>
                    </a:lnTo>
                    <a:lnTo>
                      <a:pt x="22" y="61"/>
                    </a:lnTo>
                    <a:lnTo>
                      <a:pt x="24" y="64"/>
                    </a:lnTo>
                    <a:lnTo>
                      <a:pt x="24" y="61"/>
                    </a:lnTo>
                    <a:lnTo>
                      <a:pt x="24" y="59"/>
                    </a:lnTo>
                    <a:lnTo>
                      <a:pt x="22" y="57"/>
                    </a:lnTo>
                    <a:lnTo>
                      <a:pt x="22" y="57"/>
                    </a:lnTo>
                    <a:lnTo>
                      <a:pt x="19" y="54"/>
                    </a:lnTo>
                    <a:lnTo>
                      <a:pt x="19" y="54"/>
                    </a:lnTo>
                    <a:lnTo>
                      <a:pt x="22" y="54"/>
                    </a:lnTo>
                    <a:lnTo>
                      <a:pt x="24" y="57"/>
                    </a:lnTo>
                    <a:lnTo>
                      <a:pt x="24" y="59"/>
                    </a:lnTo>
                    <a:lnTo>
                      <a:pt x="26" y="61"/>
                    </a:lnTo>
                    <a:lnTo>
                      <a:pt x="26" y="57"/>
                    </a:lnTo>
                    <a:lnTo>
                      <a:pt x="29" y="57"/>
                    </a:lnTo>
                    <a:lnTo>
                      <a:pt x="29" y="57"/>
                    </a:lnTo>
                    <a:lnTo>
                      <a:pt x="29" y="57"/>
                    </a:lnTo>
                    <a:lnTo>
                      <a:pt x="29" y="59"/>
                    </a:lnTo>
                    <a:lnTo>
                      <a:pt x="29" y="59"/>
                    </a:lnTo>
                    <a:lnTo>
                      <a:pt x="29" y="61"/>
                    </a:lnTo>
                    <a:lnTo>
                      <a:pt x="26" y="64"/>
                    </a:lnTo>
                    <a:lnTo>
                      <a:pt x="26" y="66"/>
                    </a:lnTo>
                    <a:lnTo>
                      <a:pt x="26" y="66"/>
                    </a:lnTo>
                    <a:lnTo>
                      <a:pt x="29" y="66"/>
                    </a:lnTo>
                    <a:lnTo>
                      <a:pt x="29" y="66"/>
                    </a:lnTo>
                    <a:lnTo>
                      <a:pt x="29" y="66"/>
                    </a:lnTo>
                    <a:lnTo>
                      <a:pt x="29" y="64"/>
                    </a:lnTo>
                    <a:lnTo>
                      <a:pt x="29" y="68"/>
                    </a:lnTo>
                    <a:lnTo>
                      <a:pt x="29" y="68"/>
                    </a:lnTo>
                    <a:lnTo>
                      <a:pt x="29" y="68"/>
                    </a:lnTo>
                    <a:lnTo>
                      <a:pt x="29" y="71"/>
                    </a:lnTo>
                    <a:lnTo>
                      <a:pt x="29" y="71"/>
                    </a:lnTo>
                    <a:lnTo>
                      <a:pt x="29" y="71"/>
                    </a:lnTo>
                    <a:lnTo>
                      <a:pt x="29" y="71"/>
                    </a:lnTo>
                    <a:lnTo>
                      <a:pt x="31" y="75"/>
                    </a:lnTo>
                    <a:lnTo>
                      <a:pt x="29" y="78"/>
                    </a:lnTo>
                    <a:lnTo>
                      <a:pt x="29" y="80"/>
                    </a:lnTo>
                    <a:lnTo>
                      <a:pt x="26" y="87"/>
                    </a:lnTo>
                    <a:lnTo>
                      <a:pt x="26" y="90"/>
                    </a:lnTo>
                    <a:lnTo>
                      <a:pt x="26" y="92"/>
                    </a:lnTo>
                    <a:lnTo>
                      <a:pt x="26" y="94"/>
                    </a:lnTo>
                    <a:lnTo>
                      <a:pt x="24" y="94"/>
                    </a:lnTo>
                    <a:lnTo>
                      <a:pt x="24" y="94"/>
                    </a:lnTo>
                    <a:lnTo>
                      <a:pt x="24" y="97"/>
                    </a:lnTo>
                    <a:lnTo>
                      <a:pt x="26" y="97"/>
                    </a:lnTo>
                    <a:lnTo>
                      <a:pt x="26" y="97"/>
                    </a:lnTo>
                    <a:lnTo>
                      <a:pt x="26" y="97"/>
                    </a:lnTo>
                    <a:lnTo>
                      <a:pt x="24" y="97"/>
                    </a:lnTo>
                    <a:lnTo>
                      <a:pt x="24" y="99"/>
                    </a:lnTo>
                    <a:lnTo>
                      <a:pt x="24" y="99"/>
                    </a:lnTo>
                    <a:lnTo>
                      <a:pt x="24" y="101"/>
                    </a:lnTo>
                    <a:lnTo>
                      <a:pt x="22" y="104"/>
                    </a:lnTo>
                    <a:lnTo>
                      <a:pt x="24" y="106"/>
                    </a:lnTo>
                    <a:lnTo>
                      <a:pt x="24" y="106"/>
                    </a:lnTo>
                    <a:lnTo>
                      <a:pt x="26" y="106"/>
                    </a:lnTo>
                    <a:lnTo>
                      <a:pt x="26" y="106"/>
                    </a:lnTo>
                    <a:lnTo>
                      <a:pt x="26" y="108"/>
                    </a:lnTo>
                    <a:lnTo>
                      <a:pt x="26" y="108"/>
                    </a:lnTo>
                    <a:lnTo>
                      <a:pt x="26" y="111"/>
                    </a:lnTo>
                    <a:lnTo>
                      <a:pt x="26" y="111"/>
                    </a:lnTo>
                    <a:lnTo>
                      <a:pt x="29" y="108"/>
                    </a:lnTo>
                    <a:lnTo>
                      <a:pt x="29" y="111"/>
                    </a:lnTo>
                    <a:lnTo>
                      <a:pt x="29" y="111"/>
                    </a:lnTo>
                    <a:lnTo>
                      <a:pt x="31" y="111"/>
                    </a:lnTo>
                    <a:lnTo>
                      <a:pt x="31" y="111"/>
                    </a:lnTo>
                    <a:lnTo>
                      <a:pt x="31" y="108"/>
                    </a:lnTo>
                    <a:lnTo>
                      <a:pt x="29" y="108"/>
                    </a:lnTo>
                    <a:lnTo>
                      <a:pt x="31" y="106"/>
                    </a:lnTo>
                    <a:lnTo>
                      <a:pt x="31" y="104"/>
                    </a:lnTo>
                    <a:lnTo>
                      <a:pt x="31" y="101"/>
                    </a:lnTo>
                    <a:lnTo>
                      <a:pt x="29" y="101"/>
                    </a:lnTo>
                    <a:lnTo>
                      <a:pt x="29" y="101"/>
                    </a:lnTo>
                    <a:lnTo>
                      <a:pt x="29" y="101"/>
                    </a:lnTo>
                    <a:lnTo>
                      <a:pt x="29" y="101"/>
                    </a:lnTo>
                    <a:lnTo>
                      <a:pt x="29" y="101"/>
                    </a:lnTo>
                    <a:lnTo>
                      <a:pt x="29" y="101"/>
                    </a:lnTo>
                    <a:lnTo>
                      <a:pt x="29" y="101"/>
                    </a:lnTo>
                    <a:lnTo>
                      <a:pt x="31" y="99"/>
                    </a:lnTo>
                    <a:lnTo>
                      <a:pt x="31" y="97"/>
                    </a:lnTo>
                    <a:lnTo>
                      <a:pt x="31" y="94"/>
                    </a:lnTo>
                    <a:lnTo>
                      <a:pt x="31" y="92"/>
                    </a:lnTo>
                    <a:lnTo>
                      <a:pt x="34" y="92"/>
                    </a:lnTo>
                    <a:lnTo>
                      <a:pt x="34" y="92"/>
                    </a:lnTo>
                    <a:lnTo>
                      <a:pt x="36" y="92"/>
                    </a:lnTo>
                    <a:lnTo>
                      <a:pt x="34" y="87"/>
                    </a:lnTo>
                    <a:lnTo>
                      <a:pt x="34" y="85"/>
                    </a:lnTo>
                    <a:lnTo>
                      <a:pt x="34" y="85"/>
                    </a:lnTo>
                    <a:lnTo>
                      <a:pt x="36" y="85"/>
                    </a:lnTo>
                    <a:lnTo>
                      <a:pt x="36" y="85"/>
                    </a:lnTo>
                    <a:lnTo>
                      <a:pt x="38" y="82"/>
                    </a:lnTo>
                    <a:lnTo>
                      <a:pt x="36" y="82"/>
                    </a:lnTo>
                    <a:lnTo>
                      <a:pt x="36" y="80"/>
                    </a:lnTo>
                    <a:lnTo>
                      <a:pt x="34" y="80"/>
                    </a:lnTo>
                    <a:lnTo>
                      <a:pt x="36" y="78"/>
                    </a:lnTo>
                    <a:lnTo>
                      <a:pt x="34" y="78"/>
                    </a:lnTo>
                    <a:lnTo>
                      <a:pt x="34" y="75"/>
                    </a:lnTo>
                    <a:lnTo>
                      <a:pt x="34" y="75"/>
                    </a:lnTo>
                    <a:lnTo>
                      <a:pt x="34" y="75"/>
                    </a:lnTo>
                    <a:lnTo>
                      <a:pt x="36" y="75"/>
                    </a:lnTo>
                    <a:lnTo>
                      <a:pt x="36" y="75"/>
                    </a:lnTo>
                    <a:lnTo>
                      <a:pt x="36" y="73"/>
                    </a:lnTo>
                    <a:lnTo>
                      <a:pt x="34" y="73"/>
                    </a:lnTo>
                    <a:lnTo>
                      <a:pt x="36" y="73"/>
                    </a:lnTo>
                    <a:lnTo>
                      <a:pt x="36" y="71"/>
                    </a:lnTo>
                    <a:lnTo>
                      <a:pt x="38" y="71"/>
                    </a:lnTo>
                    <a:lnTo>
                      <a:pt x="38" y="71"/>
                    </a:lnTo>
                    <a:lnTo>
                      <a:pt x="38" y="71"/>
                    </a:lnTo>
                    <a:lnTo>
                      <a:pt x="38" y="71"/>
                    </a:lnTo>
                    <a:lnTo>
                      <a:pt x="38" y="71"/>
                    </a:lnTo>
                    <a:lnTo>
                      <a:pt x="41" y="71"/>
                    </a:lnTo>
                    <a:lnTo>
                      <a:pt x="41" y="68"/>
                    </a:lnTo>
                    <a:lnTo>
                      <a:pt x="38" y="66"/>
                    </a:lnTo>
                    <a:lnTo>
                      <a:pt x="38" y="64"/>
                    </a:lnTo>
                    <a:lnTo>
                      <a:pt x="38" y="64"/>
                    </a:lnTo>
                    <a:lnTo>
                      <a:pt x="36" y="64"/>
                    </a:lnTo>
                    <a:lnTo>
                      <a:pt x="36" y="66"/>
                    </a:lnTo>
                    <a:lnTo>
                      <a:pt x="36" y="64"/>
                    </a:lnTo>
                    <a:lnTo>
                      <a:pt x="38" y="59"/>
                    </a:lnTo>
                    <a:lnTo>
                      <a:pt x="36" y="59"/>
                    </a:lnTo>
                    <a:lnTo>
                      <a:pt x="36" y="59"/>
                    </a:lnTo>
                    <a:lnTo>
                      <a:pt x="34" y="61"/>
                    </a:lnTo>
                    <a:lnTo>
                      <a:pt x="36" y="59"/>
                    </a:lnTo>
                    <a:lnTo>
                      <a:pt x="36" y="59"/>
                    </a:lnTo>
                    <a:lnTo>
                      <a:pt x="36" y="59"/>
                    </a:lnTo>
                    <a:lnTo>
                      <a:pt x="34" y="59"/>
                    </a:lnTo>
                    <a:lnTo>
                      <a:pt x="34" y="57"/>
                    </a:lnTo>
                    <a:lnTo>
                      <a:pt x="34" y="57"/>
                    </a:lnTo>
                    <a:lnTo>
                      <a:pt x="36" y="57"/>
                    </a:lnTo>
                    <a:lnTo>
                      <a:pt x="36" y="57"/>
                    </a:lnTo>
                    <a:lnTo>
                      <a:pt x="36" y="54"/>
                    </a:lnTo>
                    <a:lnTo>
                      <a:pt x="36" y="54"/>
                    </a:lnTo>
                    <a:lnTo>
                      <a:pt x="36" y="54"/>
                    </a:lnTo>
                    <a:lnTo>
                      <a:pt x="34" y="52"/>
                    </a:lnTo>
                    <a:lnTo>
                      <a:pt x="36" y="52"/>
                    </a:lnTo>
                    <a:lnTo>
                      <a:pt x="36" y="52"/>
                    </a:lnTo>
                    <a:lnTo>
                      <a:pt x="36" y="54"/>
                    </a:lnTo>
                    <a:lnTo>
                      <a:pt x="38" y="54"/>
                    </a:lnTo>
                    <a:lnTo>
                      <a:pt x="38" y="57"/>
                    </a:lnTo>
                    <a:lnTo>
                      <a:pt x="41" y="54"/>
                    </a:lnTo>
                    <a:lnTo>
                      <a:pt x="43" y="52"/>
                    </a:lnTo>
                    <a:lnTo>
                      <a:pt x="43" y="52"/>
                    </a:lnTo>
                    <a:lnTo>
                      <a:pt x="41" y="52"/>
                    </a:lnTo>
                    <a:lnTo>
                      <a:pt x="41" y="52"/>
                    </a:lnTo>
                    <a:lnTo>
                      <a:pt x="41" y="52"/>
                    </a:lnTo>
                    <a:lnTo>
                      <a:pt x="41" y="52"/>
                    </a:lnTo>
                    <a:lnTo>
                      <a:pt x="38" y="52"/>
                    </a:lnTo>
                    <a:lnTo>
                      <a:pt x="38" y="52"/>
                    </a:lnTo>
                    <a:lnTo>
                      <a:pt x="38" y="49"/>
                    </a:lnTo>
                    <a:lnTo>
                      <a:pt x="41" y="49"/>
                    </a:lnTo>
                    <a:lnTo>
                      <a:pt x="41" y="49"/>
                    </a:lnTo>
                    <a:lnTo>
                      <a:pt x="43" y="45"/>
                    </a:lnTo>
                    <a:lnTo>
                      <a:pt x="43" y="45"/>
                    </a:lnTo>
                    <a:lnTo>
                      <a:pt x="38" y="42"/>
                    </a:lnTo>
                    <a:lnTo>
                      <a:pt x="36" y="42"/>
                    </a:lnTo>
                    <a:lnTo>
                      <a:pt x="38" y="42"/>
                    </a:lnTo>
                    <a:lnTo>
                      <a:pt x="43" y="40"/>
                    </a:lnTo>
                    <a:lnTo>
                      <a:pt x="43" y="40"/>
                    </a:lnTo>
                    <a:lnTo>
                      <a:pt x="43" y="38"/>
                    </a:lnTo>
                    <a:lnTo>
                      <a:pt x="45" y="38"/>
                    </a:lnTo>
                    <a:lnTo>
                      <a:pt x="45" y="35"/>
                    </a:lnTo>
                    <a:lnTo>
                      <a:pt x="43" y="35"/>
                    </a:lnTo>
                    <a:lnTo>
                      <a:pt x="43" y="35"/>
                    </a:lnTo>
                    <a:lnTo>
                      <a:pt x="43" y="35"/>
                    </a:lnTo>
                    <a:lnTo>
                      <a:pt x="43" y="35"/>
                    </a:lnTo>
                    <a:lnTo>
                      <a:pt x="41" y="38"/>
                    </a:lnTo>
                    <a:lnTo>
                      <a:pt x="41" y="38"/>
                    </a:lnTo>
                    <a:lnTo>
                      <a:pt x="41" y="38"/>
                    </a:lnTo>
                    <a:lnTo>
                      <a:pt x="41" y="38"/>
                    </a:lnTo>
                    <a:lnTo>
                      <a:pt x="41" y="35"/>
                    </a:lnTo>
                    <a:lnTo>
                      <a:pt x="45" y="31"/>
                    </a:lnTo>
                    <a:lnTo>
                      <a:pt x="45" y="26"/>
                    </a:lnTo>
                    <a:lnTo>
                      <a:pt x="45" y="26"/>
                    </a:lnTo>
                    <a:lnTo>
                      <a:pt x="43" y="28"/>
                    </a:lnTo>
                    <a:lnTo>
                      <a:pt x="43" y="31"/>
                    </a:lnTo>
                    <a:lnTo>
                      <a:pt x="43" y="31"/>
                    </a:lnTo>
                    <a:lnTo>
                      <a:pt x="43" y="31"/>
                    </a:lnTo>
                    <a:lnTo>
                      <a:pt x="43" y="31"/>
                    </a:lnTo>
                    <a:lnTo>
                      <a:pt x="43" y="31"/>
                    </a:lnTo>
                    <a:lnTo>
                      <a:pt x="41" y="31"/>
                    </a:lnTo>
                    <a:lnTo>
                      <a:pt x="41" y="33"/>
                    </a:lnTo>
                    <a:lnTo>
                      <a:pt x="41" y="33"/>
                    </a:lnTo>
                    <a:lnTo>
                      <a:pt x="41" y="33"/>
                    </a:lnTo>
                    <a:lnTo>
                      <a:pt x="41" y="35"/>
                    </a:lnTo>
                    <a:lnTo>
                      <a:pt x="38" y="35"/>
                    </a:lnTo>
                    <a:lnTo>
                      <a:pt x="38" y="35"/>
                    </a:lnTo>
                    <a:lnTo>
                      <a:pt x="38" y="35"/>
                    </a:lnTo>
                    <a:lnTo>
                      <a:pt x="38" y="33"/>
                    </a:lnTo>
                    <a:lnTo>
                      <a:pt x="38" y="33"/>
                    </a:lnTo>
                    <a:lnTo>
                      <a:pt x="34" y="33"/>
                    </a:lnTo>
                    <a:lnTo>
                      <a:pt x="34" y="33"/>
                    </a:lnTo>
                    <a:lnTo>
                      <a:pt x="36" y="33"/>
                    </a:lnTo>
                    <a:lnTo>
                      <a:pt x="36" y="31"/>
                    </a:lnTo>
                    <a:lnTo>
                      <a:pt x="34" y="33"/>
                    </a:lnTo>
                    <a:lnTo>
                      <a:pt x="34" y="33"/>
                    </a:lnTo>
                    <a:lnTo>
                      <a:pt x="34" y="33"/>
                    </a:lnTo>
                    <a:lnTo>
                      <a:pt x="34" y="33"/>
                    </a:lnTo>
                    <a:lnTo>
                      <a:pt x="34" y="31"/>
                    </a:lnTo>
                    <a:lnTo>
                      <a:pt x="36" y="31"/>
                    </a:lnTo>
                    <a:lnTo>
                      <a:pt x="36" y="31"/>
                    </a:lnTo>
                    <a:lnTo>
                      <a:pt x="38" y="31"/>
                    </a:lnTo>
                    <a:lnTo>
                      <a:pt x="38" y="31"/>
                    </a:lnTo>
                    <a:lnTo>
                      <a:pt x="38" y="28"/>
                    </a:lnTo>
                    <a:lnTo>
                      <a:pt x="38" y="28"/>
                    </a:lnTo>
                    <a:lnTo>
                      <a:pt x="38" y="28"/>
                    </a:lnTo>
                    <a:lnTo>
                      <a:pt x="38" y="26"/>
                    </a:lnTo>
                    <a:lnTo>
                      <a:pt x="36" y="26"/>
                    </a:lnTo>
                    <a:lnTo>
                      <a:pt x="36" y="24"/>
                    </a:lnTo>
                    <a:lnTo>
                      <a:pt x="36" y="24"/>
                    </a:lnTo>
                    <a:lnTo>
                      <a:pt x="36" y="24"/>
                    </a:lnTo>
                    <a:lnTo>
                      <a:pt x="34" y="21"/>
                    </a:lnTo>
                    <a:lnTo>
                      <a:pt x="34" y="21"/>
                    </a:lnTo>
                    <a:lnTo>
                      <a:pt x="34" y="21"/>
                    </a:lnTo>
                    <a:lnTo>
                      <a:pt x="34" y="21"/>
                    </a:lnTo>
                    <a:lnTo>
                      <a:pt x="31" y="24"/>
                    </a:lnTo>
                    <a:lnTo>
                      <a:pt x="31" y="26"/>
                    </a:lnTo>
                    <a:lnTo>
                      <a:pt x="31" y="24"/>
                    </a:lnTo>
                    <a:lnTo>
                      <a:pt x="29" y="24"/>
                    </a:lnTo>
                    <a:lnTo>
                      <a:pt x="29" y="24"/>
                    </a:lnTo>
                    <a:lnTo>
                      <a:pt x="29" y="24"/>
                    </a:lnTo>
                    <a:lnTo>
                      <a:pt x="29" y="26"/>
                    </a:lnTo>
                    <a:lnTo>
                      <a:pt x="34" y="28"/>
                    </a:lnTo>
                    <a:lnTo>
                      <a:pt x="29" y="28"/>
                    </a:lnTo>
                    <a:lnTo>
                      <a:pt x="26" y="31"/>
                    </a:lnTo>
                    <a:lnTo>
                      <a:pt x="26" y="33"/>
                    </a:lnTo>
                    <a:lnTo>
                      <a:pt x="26" y="33"/>
                    </a:lnTo>
                    <a:lnTo>
                      <a:pt x="24" y="33"/>
                    </a:lnTo>
                    <a:lnTo>
                      <a:pt x="24" y="33"/>
                    </a:lnTo>
                    <a:lnTo>
                      <a:pt x="22" y="33"/>
                    </a:lnTo>
                    <a:lnTo>
                      <a:pt x="22" y="33"/>
                    </a:lnTo>
                    <a:lnTo>
                      <a:pt x="24" y="31"/>
                    </a:lnTo>
                    <a:lnTo>
                      <a:pt x="26" y="26"/>
                    </a:lnTo>
                    <a:lnTo>
                      <a:pt x="26" y="26"/>
                    </a:lnTo>
                    <a:lnTo>
                      <a:pt x="26" y="26"/>
                    </a:lnTo>
                    <a:lnTo>
                      <a:pt x="26" y="24"/>
                    </a:lnTo>
                    <a:lnTo>
                      <a:pt x="26" y="24"/>
                    </a:lnTo>
                    <a:lnTo>
                      <a:pt x="29" y="21"/>
                    </a:lnTo>
                    <a:lnTo>
                      <a:pt x="26" y="21"/>
                    </a:lnTo>
                    <a:lnTo>
                      <a:pt x="26" y="21"/>
                    </a:lnTo>
                    <a:lnTo>
                      <a:pt x="26" y="21"/>
                    </a:lnTo>
                    <a:lnTo>
                      <a:pt x="26" y="21"/>
                    </a:lnTo>
                    <a:lnTo>
                      <a:pt x="26" y="21"/>
                    </a:lnTo>
                    <a:lnTo>
                      <a:pt x="26" y="16"/>
                    </a:lnTo>
                    <a:lnTo>
                      <a:pt x="26" y="16"/>
                    </a:lnTo>
                    <a:lnTo>
                      <a:pt x="26" y="16"/>
                    </a:lnTo>
                    <a:lnTo>
                      <a:pt x="26" y="16"/>
                    </a:lnTo>
                    <a:lnTo>
                      <a:pt x="26" y="16"/>
                    </a:lnTo>
                    <a:lnTo>
                      <a:pt x="26" y="16"/>
                    </a:lnTo>
                    <a:lnTo>
                      <a:pt x="26" y="16"/>
                    </a:lnTo>
                    <a:lnTo>
                      <a:pt x="26" y="16"/>
                    </a:lnTo>
                    <a:lnTo>
                      <a:pt x="26" y="16"/>
                    </a:lnTo>
                    <a:lnTo>
                      <a:pt x="26" y="14"/>
                    </a:lnTo>
                    <a:lnTo>
                      <a:pt x="26" y="12"/>
                    </a:lnTo>
                    <a:lnTo>
                      <a:pt x="26" y="12"/>
                    </a:lnTo>
                    <a:lnTo>
                      <a:pt x="26" y="7"/>
                    </a:lnTo>
                    <a:lnTo>
                      <a:pt x="26" y="7"/>
                    </a:lnTo>
                    <a:lnTo>
                      <a:pt x="29" y="7"/>
                    </a:lnTo>
                    <a:lnTo>
                      <a:pt x="29" y="7"/>
                    </a:lnTo>
                    <a:lnTo>
                      <a:pt x="29" y="5"/>
                    </a:lnTo>
                    <a:lnTo>
                      <a:pt x="29" y="2"/>
                    </a:lnTo>
                    <a:lnTo>
                      <a:pt x="29" y="2"/>
                    </a:lnTo>
                    <a:lnTo>
                      <a:pt x="26" y="0"/>
                    </a:lnTo>
                    <a:lnTo>
                      <a:pt x="26" y="2"/>
                    </a:lnTo>
                    <a:lnTo>
                      <a:pt x="26" y="5"/>
                    </a:lnTo>
                    <a:lnTo>
                      <a:pt x="26" y="5"/>
                    </a:lnTo>
                    <a:lnTo>
                      <a:pt x="26" y="7"/>
                    </a:lnTo>
                    <a:lnTo>
                      <a:pt x="26" y="7"/>
                    </a:lnTo>
                    <a:lnTo>
                      <a:pt x="24" y="5"/>
                    </a:lnTo>
                    <a:lnTo>
                      <a:pt x="24" y="5"/>
                    </a:lnTo>
                    <a:lnTo>
                      <a:pt x="22" y="5"/>
                    </a:lnTo>
                    <a:lnTo>
                      <a:pt x="19" y="5"/>
                    </a:lnTo>
                    <a:lnTo>
                      <a:pt x="19" y="5"/>
                    </a:lnTo>
                    <a:lnTo>
                      <a:pt x="19" y="5"/>
                    </a:lnTo>
                    <a:lnTo>
                      <a:pt x="19" y="7"/>
                    </a:lnTo>
                    <a:lnTo>
                      <a:pt x="19" y="7"/>
                    </a:lnTo>
                    <a:lnTo>
                      <a:pt x="19" y="7"/>
                    </a:lnTo>
                    <a:lnTo>
                      <a:pt x="19" y="9"/>
                    </a:lnTo>
                    <a:lnTo>
                      <a:pt x="17" y="9"/>
                    </a:lnTo>
                    <a:lnTo>
                      <a:pt x="17" y="9"/>
                    </a:lnTo>
                    <a:lnTo>
                      <a:pt x="17" y="12"/>
                    </a:lnTo>
                    <a:lnTo>
                      <a:pt x="15" y="14"/>
                    </a:lnTo>
                    <a:lnTo>
                      <a:pt x="15" y="14"/>
                    </a:lnTo>
                    <a:lnTo>
                      <a:pt x="17" y="14"/>
                    </a:lnTo>
                    <a:lnTo>
                      <a:pt x="17" y="16"/>
                    </a:lnTo>
                    <a:lnTo>
                      <a:pt x="17" y="16"/>
                    </a:lnTo>
                    <a:lnTo>
                      <a:pt x="19" y="16"/>
                    </a:lnTo>
                    <a:lnTo>
                      <a:pt x="19" y="16"/>
                    </a:lnTo>
                    <a:lnTo>
                      <a:pt x="22" y="16"/>
                    </a:lnTo>
                    <a:lnTo>
                      <a:pt x="22" y="19"/>
                    </a:lnTo>
                    <a:lnTo>
                      <a:pt x="19" y="19"/>
                    </a:lnTo>
                    <a:lnTo>
                      <a:pt x="17" y="19"/>
                    </a:lnTo>
                    <a:lnTo>
                      <a:pt x="15" y="16"/>
                    </a:lnTo>
                    <a:lnTo>
                      <a:pt x="15" y="14"/>
                    </a:lnTo>
                    <a:lnTo>
                      <a:pt x="12" y="12"/>
                    </a:lnTo>
                    <a:lnTo>
                      <a:pt x="12" y="12"/>
                    </a:lnTo>
                    <a:lnTo>
                      <a:pt x="12" y="14"/>
                    </a:lnTo>
                    <a:lnTo>
                      <a:pt x="10" y="14"/>
                    </a:lnTo>
                    <a:lnTo>
                      <a:pt x="10" y="16"/>
                    </a:lnTo>
                    <a:lnTo>
                      <a:pt x="10" y="16"/>
                    </a:lnTo>
                    <a:lnTo>
                      <a:pt x="10" y="16"/>
                    </a:lnTo>
                    <a:lnTo>
                      <a:pt x="10" y="19"/>
                    </a:lnTo>
                    <a:lnTo>
                      <a:pt x="10" y="19"/>
                    </a:lnTo>
                    <a:lnTo>
                      <a:pt x="8" y="19"/>
                    </a:lnTo>
                    <a:lnTo>
                      <a:pt x="8" y="19"/>
                    </a:lnTo>
                    <a:lnTo>
                      <a:pt x="5" y="21"/>
                    </a:lnTo>
                    <a:lnTo>
                      <a:pt x="5" y="24"/>
                    </a:lnTo>
                    <a:lnTo>
                      <a:pt x="5" y="24"/>
                    </a:lnTo>
                    <a:lnTo>
                      <a:pt x="8" y="24"/>
                    </a:lnTo>
                    <a:lnTo>
                      <a:pt x="10" y="24"/>
                    </a:lnTo>
                    <a:lnTo>
                      <a:pt x="10" y="21"/>
                    </a:lnTo>
                    <a:lnTo>
                      <a:pt x="12" y="24"/>
                    </a:lnTo>
                    <a:lnTo>
                      <a:pt x="12" y="24"/>
                    </a:lnTo>
                    <a:lnTo>
                      <a:pt x="15" y="24"/>
                    </a:lnTo>
                    <a:lnTo>
                      <a:pt x="15" y="21"/>
                    </a:lnTo>
                    <a:lnTo>
                      <a:pt x="15" y="24"/>
                    </a:lnTo>
                    <a:lnTo>
                      <a:pt x="15" y="24"/>
                    </a:lnTo>
                    <a:lnTo>
                      <a:pt x="15" y="26"/>
                    </a:lnTo>
                    <a:lnTo>
                      <a:pt x="15" y="26"/>
                    </a:lnTo>
                    <a:lnTo>
                      <a:pt x="15" y="26"/>
                    </a:lnTo>
                    <a:lnTo>
                      <a:pt x="17" y="24"/>
                    </a:lnTo>
                    <a:lnTo>
                      <a:pt x="17" y="21"/>
                    </a:lnTo>
                    <a:lnTo>
                      <a:pt x="17" y="26"/>
                    </a:lnTo>
                    <a:lnTo>
                      <a:pt x="19" y="28"/>
                    </a:lnTo>
                    <a:lnTo>
                      <a:pt x="17" y="31"/>
                    </a:lnTo>
                    <a:lnTo>
                      <a:pt x="19" y="31"/>
                    </a:lnTo>
                    <a:lnTo>
                      <a:pt x="19" y="31"/>
                    </a:lnTo>
                    <a:lnTo>
                      <a:pt x="22" y="31"/>
                    </a:lnTo>
                    <a:lnTo>
                      <a:pt x="22" y="31"/>
                    </a:lnTo>
                    <a:lnTo>
                      <a:pt x="22" y="33"/>
                    </a:lnTo>
                    <a:lnTo>
                      <a:pt x="22" y="35"/>
                    </a:lnTo>
                    <a:lnTo>
                      <a:pt x="22" y="35"/>
                    </a:lnTo>
                    <a:lnTo>
                      <a:pt x="22" y="38"/>
                    </a:lnTo>
                    <a:lnTo>
                      <a:pt x="22" y="38"/>
                    </a:lnTo>
                    <a:lnTo>
                      <a:pt x="24" y="38"/>
                    </a:lnTo>
                    <a:lnTo>
                      <a:pt x="24" y="35"/>
                    </a:lnTo>
                    <a:lnTo>
                      <a:pt x="24" y="38"/>
                    </a:lnTo>
                    <a:lnTo>
                      <a:pt x="26" y="38"/>
                    </a:lnTo>
                    <a:lnTo>
                      <a:pt x="29" y="40"/>
                    </a:lnTo>
                    <a:lnTo>
                      <a:pt x="31" y="40"/>
                    </a:lnTo>
                    <a:lnTo>
                      <a:pt x="26" y="40"/>
                    </a:lnTo>
                    <a:lnTo>
                      <a:pt x="26" y="40"/>
                    </a:lnTo>
                    <a:lnTo>
                      <a:pt x="26" y="42"/>
                    </a:lnTo>
                    <a:lnTo>
                      <a:pt x="26" y="42"/>
                    </a:lnTo>
                    <a:lnTo>
                      <a:pt x="24" y="42"/>
                    </a:lnTo>
                    <a:lnTo>
                      <a:pt x="24" y="42"/>
                    </a:lnTo>
                    <a:lnTo>
                      <a:pt x="24" y="45"/>
                    </a:lnTo>
                    <a:lnTo>
                      <a:pt x="26" y="47"/>
                    </a:lnTo>
                    <a:lnTo>
                      <a:pt x="24" y="49"/>
                    </a:lnTo>
                    <a:lnTo>
                      <a:pt x="24" y="49"/>
                    </a:lnTo>
                    <a:lnTo>
                      <a:pt x="22" y="47"/>
                    </a:lnTo>
                    <a:lnTo>
                      <a:pt x="22" y="45"/>
                    </a:lnTo>
                    <a:lnTo>
                      <a:pt x="19" y="45"/>
                    </a:lnTo>
                    <a:lnTo>
                      <a:pt x="17" y="45"/>
                    </a:lnTo>
                    <a:lnTo>
                      <a:pt x="17" y="47"/>
                    </a:lnTo>
                    <a:lnTo>
                      <a:pt x="17" y="47"/>
                    </a:lnTo>
                    <a:lnTo>
                      <a:pt x="17" y="47"/>
                    </a:lnTo>
                    <a:lnTo>
                      <a:pt x="17" y="47"/>
                    </a:lnTo>
                    <a:lnTo>
                      <a:pt x="17" y="49"/>
                    </a:lnTo>
                    <a:lnTo>
                      <a:pt x="17" y="49"/>
                    </a:lnTo>
                    <a:lnTo>
                      <a:pt x="17" y="52"/>
                    </a:lnTo>
                    <a:lnTo>
                      <a:pt x="17" y="52"/>
                    </a:lnTo>
                    <a:lnTo>
                      <a:pt x="17" y="52"/>
                    </a:lnTo>
                    <a:lnTo>
                      <a:pt x="17" y="47"/>
                    </a:lnTo>
                    <a:lnTo>
                      <a:pt x="15" y="47"/>
                    </a:lnTo>
                    <a:lnTo>
                      <a:pt x="12" y="47"/>
                    </a:lnTo>
                    <a:lnTo>
                      <a:pt x="12" y="47"/>
                    </a:lnTo>
                    <a:lnTo>
                      <a:pt x="12" y="47"/>
                    </a:lnTo>
                    <a:lnTo>
                      <a:pt x="12" y="49"/>
                    </a:lnTo>
                    <a:lnTo>
                      <a:pt x="10" y="47"/>
                    </a:lnTo>
                    <a:lnTo>
                      <a:pt x="10" y="49"/>
                    </a:lnTo>
                    <a:lnTo>
                      <a:pt x="10" y="49"/>
                    </a:lnTo>
                    <a:lnTo>
                      <a:pt x="8" y="49"/>
                    </a:lnTo>
                    <a:lnTo>
                      <a:pt x="8" y="47"/>
                    </a:lnTo>
                    <a:lnTo>
                      <a:pt x="5" y="47"/>
                    </a:lnTo>
                    <a:lnTo>
                      <a:pt x="5" y="47"/>
                    </a:lnTo>
                    <a:lnTo>
                      <a:pt x="3" y="47"/>
                    </a:lnTo>
                    <a:lnTo>
                      <a:pt x="3" y="47"/>
                    </a:lnTo>
                    <a:lnTo>
                      <a:pt x="0" y="49"/>
                    </a:lnTo>
                    <a:lnTo>
                      <a:pt x="0" y="49"/>
                    </a:lnTo>
                    <a:lnTo>
                      <a:pt x="0" y="52"/>
                    </a:lnTo>
                    <a:lnTo>
                      <a:pt x="0" y="54"/>
                    </a:lnTo>
                    <a:lnTo>
                      <a:pt x="3"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6" name="Freeform 79">
                <a:extLst>
                  <a:ext uri="{FF2B5EF4-FFF2-40B4-BE49-F238E27FC236}">
                    <a16:creationId xmlns:a16="http://schemas.microsoft.com/office/drawing/2014/main" id="{8E609B2E-56D9-4A6B-9466-8037C492B397}"/>
                  </a:ext>
                </a:extLst>
              </p:cNvPr>
              <p:cNvSpPr>
                <a:spLocks/>
              </p:cNvSpPr>
              <p:nvPr/>
            </p:nvSpPr>
            <p:spPr bwMode="gray">
              <a:xfrm>
                <a:off x="-2789" y="312"/>
                <a:ext cx="15" cy="7"/>
              </a:xfrm>
              <a:custGeom>
                <a:avLst/>
                <a:gdLst>
                  <a:gd name="T0" fmla="*/ 7 w 15"/>
                  <a:gd name="T1" fmla="*/ 5 h 7"/>
                  <a:gd name="T2" fmla="*/ 10 w 15"/>
                  <a:gd name="T3" fmla="*/ 7 h 7"/>
                  <a:gd name="T4" fmla="*/ 12 w 15"/>
                  <a:gd name="T5" fmla="*/ 7 h 7"/>
                  <a:gd name="T6" fmla="*/ 15 w 15"/>
                  <a:gd name="T7" fmla="*/ 5 h 7"/>
                  <a:gd name="T8" fmla="*/ 15 w 15"/>
                  <a:gd name="T9" fmla="*/ 5 h 7"/>
                  <a:gd name="T10" fmla="*/ 15 w 15"/>
                  <a:gd name="T11" fmla="*/ 3 h 7"/>
                  <a:gd name="T12" fmla="*/ 15 w 15"/>
                  <a:gd name="T13" fmla="*/ 3 h 7"/>
                  <a:gd name="T14" fmla="*/ 12 w 15"/>
                  <a:gd name="T15" fmla="*/ 0 h 7"/>
                  <a:gd name="T16" fmla="*/ 12 w 15"/>
                  <a:gd name="T17" fmla="*/ 3 h 7"/>
                  <a:gd name="T18" fmla="*/ 12 w 15"/>
                  <a:gd name="T19" fmla="*/ 3 h 7"/>
                  <a:gd name="T20" fmla="*/ 12 w 15"/>
                  <a:gd name="T21" fmla="*/ 3 h 7"/>
                  <a:gd name="T22" fmla="*/ 10 w 15"/>
                  <a:gd name="T23" fmla="*/ 3 h 7"/>
                  <a:gd name="T24" fmla="*/ 10 w 15"/>
                  <a:gd name="T25" fmla="*/ 3 h 7"/>
                  <a:gd name="T26" fmla="*/ 10 w 15"/>
                  <a:gd name="T27" fmla="*/ 0 h 7"/>
                  <a:gd name="T28" fmla="*/ 10 w 15"/>
                  <a:gd name="T29" fmla="*/ 0 h 7"/>
                  <a:gd name="T30" fmla="*/ 10 w 15"/>
                  <a:gd name="T31" fmla="*/ 0 h 7"/>
                  <a:gd name="T32" fmla="*/ 0 w 15"/>
                  <a:gd name="T33" fmla="*/ 0 h 7"/>
                  <a:gd name="T34" fmla="*/ 0 w 15"/>
                  <a:gd name="T35" fmla="*/ 0 h 7"/>
                  <a:gd name="T36" fmla="*/ 3 w 15"/>
                  <a:gd name="T37" fmla="*/ 5 h 7"/>
                  <a:gd name="T38" fmla="*/ 5 w 15"/>
                  <a:gd name="T39" fmla="*/ 7 h 7"/>
                  <a:gd name="T40" fmla="*/ 7 w 15"/>
                  <a:gd name="T41" fmla="*/ 7 h 7"/>
                  <a:gd name="T42" fmla="*/ 7 w 15"/>
                  <a:gd name="T43" fmla="*/ 7 h 7"/>
                  <a:gd name="T44" fmla="*/ 7 w 15"/>
                  <a:gd name="T45" fmla="*/ 7 h 7"/>
                  <a:gd name="T46" fmla="*/ 5 w 15"/>
                  <a:gd name="T47" fmla="*/ 7 h 7"/>
                  <a:gd name="T48" fmla="*/ 5 w 15"/>
                  <a:gd name="T49" fmla="*/ 7 h 7"/>
                  <a:gd name="T50" fmla="*/ 5 w 15"/>
                  <a:gd name="T51" fmla="*/ 5 h 7"/>
                  <a:gd name="T52" fmla="*/ 7 w 15"/>
                  <a:gd name="T53"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 h="7">
                    <a:moveTo>
                      <a:pt x="7" y="5"/>
                    </a:moveTo>
                    <a:lnTo>
                      <a:pt x="10" y="7"/>
                    </a:lnTo>
                    <a:lnTo>
                      <a:pt x="12" y="7"/>
                    </a:lnTo>
                    <a:lnTo>
                      <a:pt x="15" y="5"/>
                    </a:lnTo>
                    <a:lnTo>
                      <a:pt x="15" y="5"/>
                    </a:lnTo>
                    <a:lnTo>
                      <a:pt x="15" y="3"/>
                    </a:lnTo>
                    <a:lnTo>
                      <a:pt x="15" y="3"/>
                    </a:lnTo>
                    <a:lnTo>
                      <a:pt x="12" y="0"/>
                    </a:lnTo>
                    <a:lnTo>
                      <a:pt x="12" y="3"/>
                    </a:lnTo>
                    <a:lnTo>
                      <a:pt x="12" y="3"/>
                    </a:lnTo>
                    <a:lnTo>
                      <a:pt x="12" y="3"/>
                    </a:lnTo>
                    <a:lnTo>
                      <a:pt x="10" y="3"/>
                    </a:lnTo>
                    <a:lnTo>
                      <a:pt x="10" y="3"/>
                    </a:lnTo>
                    <a:lnTo>
                      <a:pt x="10" y="0"/>
                    </a:lnTo>
                    <a:lnTo>
                      <a:pt x="10" y="0"/>
                    </a:lnTo>
                    <a:lnTo>
                      <a:pt x="10" y="0"/>
                    </a:lnTo>
                    <a:lnTo>
                      <a:pt x="0" y="0"/>
                    </a:lnTo>
                    <a:lnTo>
                      <a:pt x="0" y="0"/>
                    </a:lnTo>
                    <a:lnTo>
                      <a:pt x="3" y="5"/>
                    </a:lnTo>
                    <a:lnTo>
                      <a:pt x="5" y="7"/>
                    </a:lnTo>
                    <a:lnTo>
                      <a:pt x="7" y="7"/>
                    </a:lnTo>
                    <a:lnTo>
                      <a:pt x="7" y="7"/>
                    </a:lnTo>
                    <a:lnTo>
                      <a:pt x="7" y="7"/>
                    </a:lnTo>
                    <a:lnTo>
                      <a:pt x="5" y="7"/>
                    </a:lnTo>
                    <a:lnTo>
                      <a:pt x="5" y="7"/>
                    </a:lnTo>
                    <a:lnTo>
                      <a:pt x="5" y="5"/>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7" name="Freeform 80">
                <a:extLst>
                  <a:ext uri="{FF2B5EF4-FFF2-40B4-BE49-F238E27FC236}">
                    <a16:creationId xmlns:a16="http://schemas.microsoft.com/office/drawing/2014/main" id="{FD8DBB5F-02F3-477F-9503-78F14CC3D1C0}"/>
                  </a:ext>
                </a:extLst>
              </p:cNvPr>
              <p:cNvSpPr>
                <a:spLocks/>
              </p:cNvSpPr>
              <p:nvPr/>
            </p:nvSpPr>
            <p:spPr bwMode="gray">
              <a:xfrm>
                <a:off x="-2791" y="279"/>
                <a:ext cx="17" cy="26"/>
              </a:xfrm>
              <a:custGeom>
                <a:avLst/>
                <a:gdLst>
                  <a:gd name="T0" fmla="*/ 0 w 17"/>
                  <a:gd name="T1" fmla="*/ 24 h 26"/>
                  <a:gd name="T2" fmla="*/ 2 w 17"/>
                  <a:gd name="T3" fmla="*/ 26 h 26"/>
                  <a:gd name="T4" fmla="*/ 7 w 17"/>
                  <a:gd name="T5" fmla="*/ 24 h 26"/>
                  <a:gd name="T6" fmla="*/ 9 w 17"/>
                  <a:gd name="T7" fmla="*/ 26 h 26"/>
                  <a:gd name="T8" fmla="*/ 9 w 17"/>
                  <a:gd name="T9" fmla="*/ 26 h 26"/>
                  <a:gd name="T10" fmla="*/ 12 w 17"/>
                  <a:gd name="T11" fmla="*/ 24 h 26"/>
                  <a:gd name="T12" fmla="*/ 9 w 17"/>
                  <a:gd name="T13" fmla="*/ 22 h 26"/>
                  <a:gd name="T14" fmla="*/ 9 w 17"/>
                  <a:gd name="T15" fmla="*/ 19 h 26"/>
                  <a:gd name="T16" fmla="*/ 12 w 17"/>
                  <a:gd name="T17" fmla="*/ 15 h 26"/>
                  <a:gd name="T18" fmla="*/ 12 w 17"/>
                  <a:gd name="T19" fmla="*/ 15 h 26"/>
                  <a:gd name="T20" fmla="*/ 12 w 17"/>
                  <a:gd name="T21" fmla="*/ 15 h 26"/>
                  <a:gd name="T22" fmla="*/ 12 w 17"/>
                  <a:gd name="T23" fmla="*/ 12 h 26"/>
                  <a:gd name="T24" fmla="*/ 14 w 17"/>
                  <a:gd name="T25" fmla="*/ 10 h 26"/>
                  <a:gd name="T26" fmla="*/ 17 w 17"/>
                  <a:gd name="T27" fmla="*/ 7 h 26"/>
                  <a:gd name="T28" fmla="*/ 17 w 17"/>
                  <a:gd name="T29" fmla="*/ 5 h 26"/>
                  <a:gd name="T30" fmla="*/ 17 w 17"/>
                  <a:gd name="T31" fmla="*/ 5 h 26"/>
                  <a:gd name="T32" fmla="*/ 14 w 17"/>
                  <a:gd name="T33" fmla="*/ 3 h 26"/>
                  <a:gd name="T34" fmla="*/ 12 w 17"/>
                  <a:gd name="T35" fmla="*/ 3 h 26"/>
                  <a:gd name="T36" fmla="*/ 12 w 17"/>
                  <a:gd name="T37" fmla="*/ 0 h 26"/>
                  <a:gd name="T38" fmla="*/ 9 w 17"/>
                  <a:gd name="T39" fmla="*/ 7 h 26"/>
                  <a:gd name="T40" fmla="*/ 7 w 17"/>
                  <a:gd name="T41" fmla="*/ 10 h 26"/>
                  <a:gd name="T42" fmla="*/ 7 w 17"/>
                  <a:gd name="T43" fmla="*/ 10 h 26"/>
                  <a:gd name="T44" fmla="*/ 7 w 17"/>
                  <a:gd name="T45" fmla="*/ 7 h 26"/>
                  <a:gd name="T46" fmla="*/ 9 w 17"/>
                  <a:gd name="T47" fmla="*/ 5 h 26"/>
                  <a:gd name="T48" fmla="*/ 7 w 17"/>
                  <a:gd name="T49" fmla="*/ 3 h 26"/>
                  <a:gd name="T50" fmla="*/ 7 w 17"/>
                  <a:gd name="T51" fmla="*/ 3 h 26"/>
                  <a:gd name="T52" fmla="*/ 5 w 17"/>
                  <a:gd name="T53" fmla="*/ 5 h 26"/>
                  <a:gd name="T54" fmla="*/ 2 w 17"/>
                  <a:gd name="T55" fmla="*/ 7 h 26"/>
                  <a:gd name="T56" fmla="*/ 5 w 17"/>
                  <a:gd name="T57" fmla="*/ 10 h 26"/>
                  <a:gd name="T58" fmla="*/ 2 w 17"/>
                  <a:gd name="T59" fmla="*/ 15 h 26"/>
                  <a:gd name="T60" fmla="*/ 2 w 17"/>
                  <a:gd name="T61" fmla="*/ 17 h 26"/>
                  <a:gd name="T62" fmla="*/ 2 w 17"/>
                  <a:gd name="T63" fmla="*/ 19 h 26"/>
                  <a:gd name="T64" fmla="*/ 2 w 17"/>
                  <a:gd name="T65" fmla="*/ 19 h 26"/>
                  <a:gd name="T66" fmla="*/ 2 w 17"/>
                  <a:gd name="T67"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 h="26">
                    <a:moveTo>
                      <a:pt x="2" y="22"/>
                    </a:moveTo>
                    <a:lnTo>
                      <a:pt x="0" y="24"/>
                    </a:lnTo>
                    <a:lnTo>
                      <a:pt x="2" y="24"/>
                    </a:lnTo>
                    <a:lnTo>
                      <a:pt x="2" y="26"/>
                    </a:lnTo>
                    <a:lnTo>
                      <a:pt x="5" y="24"/>
                    </a:lnTo>
                    <a:lnTo>
                      <a:pt x="7" y="24"/>
                    </a:lnTo>
                    <a:lnTo>
                      <a:pt x="7" y="24"/>
                    </a:lnTo>
                    <a:lnTo>
                      <a:pt x="9" y="26"/>
                    </a:lnTo>
                    <a:lnTo>
                      <a:pt x="9" y="26"/>
                    </a:lnTo>
                    <a:lnTo>
                      <a:pt x="9" y="26"/>
                    </a:lnTo>
                    <a:lnTo>
                      <a:pt x="9" y="26"/>
                    </a:lnTo>
                    <a:lnTo>
                      <a:pt x="12" y="24"/>
                    </a:lnTo>
                    <a:lnTo>
                      <a:pt x="12" y="24"/>
                    </a:lnTo>
                    <a:lnTo>
                      <a:pt x="9" y="22"/>
                    </a:lnTo>
                    <a:lnTo>
                      <a:pt x="9" y="19"/>
                    </a:lnTo>
                    <a:lnTo>
                      <a:pt x="9" y="19"/>
                    </a:lnTo>
                    <a:lnTo>
                      <a:pt x="12" y="17"/>
                    </a:lnTo>
                    <a:lnTo>
                      <a:pt x="12" y="15"/>
                    </a:lnTo>
                    <a:lnTo>
                      <a:pt x="12" y="15"/>
                    </a:lnTo>
                    <a:lnTo>
                      <a:pt x="12" y="15"/>
                    </a:lnTo>
                    <a:lnTo>
                      <a:pt x="12" y="15"/>
                    </a:lnTo>
                    <a:lnTo>
                      <a:pt x="12" y="15"/>
                    </a:lnTo>
                    <a:lnTo>
                      <a:pt x="12" y="12"/>
                    </a:lnTo>
                    <a:lnTo>
                      <a:pt x="12" y="12"/>
                    </a:lnTo>
                    <a:lnTo>
                      <a:pt x="14" y="10"/>
                    </a:lnTo>
                    <a:lnTo>
                      <a:pt x="14" y="10"/>
                    </a:lnTo>
                    <a:lnTo>
                      <a:pt x="17" y="7"/>
                    </a:lnTo>
                    <a:lnTo>
                      <a:pt x="17" y="7"/>
                    </a:lnTo>
                    <a:lnTo>
                      <a:pt x="14" y="7"/>
                    </a:lnTo>
                    <a:lnTo>
                      <a:pt x="17" y="5"/>
                    </a:lnTo>
                    <a:lnTo>
                      <a:pt x="17" y="5"/>
                    </a:lnTo>
                    <a:lnTo>
                      <a:pt x="17" y="5"/>
                    </a:lnTo>
                    <a:lnTo>
                      <a:pt x="14" y="3"/>
                    </a:lnTo>
                    <a:lnTo>
                      <a:pt x="14" y="3"/>
                    </a:lnTo>
                    <a:lnTo>
                      <a:pt x="14" y="3"/>
                    </a:lnTo>
                    <a:lnTo>
                      <a:pt x="12" y="3"/>
                    </a:lnTo>
                    <a:lnTo>
                      <a:pt x="12" y="3"/>
                    </a:lnTo>
                    <a:lnTo>
                      <a:pt x="12" y="0"/>
                    </a:lnTo>
                    <a:lnTo>
                      <a:pt x="12" y="3"/>
                    </a:lnTo>
                    <a:lnTo>
                      <a:pt x="9" y="7"/>
                    </a:lnTo>
                    <a:lnTo>
                      <a:pt x="9" y="7"/>
                    </a:lnTo>
                    <a:lnTo>
                      <a:pt x="7" y="10"/>
                    </a:lnTo>
                    <a:lnTo>
                      <a:pt x="7" y="10"/>
                    </a:lnTo>
                    <a:lnTo>
                      <a:pt x="7" y="10"/>
                    </a:lnTo>
                    <a:lnTo>
                      <a:pt x="7" y="7"/>
                    </a:lnTo>
                    <a:lnTo>
                      <a:pt x="7" y="7"/>
                    </a:lnTo>
                    <a:lnTo>
                      <a:pt x="9" y="5"/>
                    </a:lnTo>
                    <a:lnTo>
                      <a:pt x="9" y="5"/>
                    </a:lnTo>
                    <a:lnTo>
                      <a:pt x="9" y="3"/>
                    </a:lnTo>
                    <a:lnTo>
                      <a:pt x="7" y="3"/>
                    </a:lnTo>
                    <a:lnTo>
                      <a:pt x="7" y="3"/>
                    </a:lnTo>
                    <a:lnTo>
                      <a:pt x="7" y="3"/>
                    </a:lnTo>
                    <a:lnTo>
                      <a:pt x="7" y="5"/>
                    </a:lnTo>
                    <a:lnTo>
                      <a:pt x="5" y="5"/>
                    </a:lnTo>
                    <a:lnTo>
                      <a:pt x="5" y="7"/>
                    </a:lnTo>
                    <a:lnTo>
                      <a:pt x="2" y="7"/>
                    </a:lnTo>
                    <a:lnTo>
                      <a:pt x="2" y="10"/>
                    </a:lnTo>
                    <a:lnTo>
                      <a:pt x="5" y="10"/>
                    </a:lnTo>
                    <a:lnTo>
                      <a:pt x="5" y="12"/>
                    </a:lnTo>
                    <a:lnTo>
                      <a:pt x="2" y="15"/>
                    </a:lnTo>
                    <a:lnTo>
                      <a:pt x="2" y="15"/>
                    </a:lnTo>
                    <a:lnTo>
                      <a:pt x="2" y="17"/>
                    </a:lnTo>
                    <a:lnTo>
                      <a:pt x="2" y="19"/>
                    </a:lnTo>
                    <a:lnTo>
                      <a:pt x="2" y="19"/>
                    </a:lnTo>
                    <a:lnTo>
                      <a:pt x="0" y="19"/>
                    </a:lnTo>
                    <a:lnTo>
                      <a:pt x="2" y="19"/>
                    </a:lnTo>
                    <a:lnTo>
                      <a:pt x="2" y="22"/>
                    </a:lnTo>
                    <a:lnTo>
                      <a:pt x="2"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8" name="Freeform 81">
                <a:extLst>
                  <a:ext uri="{FF2B5EF4-FFF2-40B4-BE49-F238E27FC236}">
                    <a16:creationId xmlns:a16="http://schemas.microsoft.com/office/drawing/2014/main" id="{8A051F0A-F680-4010-900E-C4F2D6867042}"/>
                  </a:ext>
                </a:extLst>
              </p:cNvPr>
              <p:cNvSpPr>
                <a:spLocks/>
              </p:cNvSpPr>
              <p:nvPr/>
            </p:nvSpPr>
            <p:spPr bwMode="gray">
              <a:xfrm>
                <a:off x="-2911" y="517"/>
                <a:ext cx="11" cy="12"/>
              </a:xfrm>
              <a:custGeom>
                <a:avLst/>
                <a:gdLst>
                  <a:gd name="T0" fmla="*/ 7 w 11"/>
                  <a:gd name="T1" fmla="*/ 10 h 12"/>
                  <a:gd name="T2" fmla="*/ 11 w 11"/>
                  <a:gd name="T3" fmla="*/ 10 h 12"/>
                  <a:gd name="T4" fmla="*/ 11 w 11"/>
                  <a:gd name="T5" fmla="*/ 10 h 12"/>
                  <a:gd name="T6" fmla="*/ 9 w 11"/>
                  <a:gd name="T7" fmla="*/ 7 h 12"/>
                  <a:gd name="T8" fmla="*/ 9 w 11"/>
                  <a:gd name="T9" fmla="*/ 7 h 12"/>
                  <a:gd name="T10" fmla="*/ 9 w 11"/>
                  <a:gd name="T11" fmla="*/ 5 h 12"/>
                  <a:gd name="T12" fmla="*/ 11 w 11"/>
                  <a:gd name="T13" fmla="*/ 5 h 12"/>
                  <a:gd name="T14" fmla="*/ 11 w 11"/>
                  <a:gd name="T15" fmla="*/ 5 h 12"/>
                  <a:gd name="T16" fmla="*/ 9 w 11"/>
                  <a:gd name="T17" fmla="*/ 5 h 12"/>
                  <a:gd name="T18" fmla="*/ 7 w 11"/>
                  <a:gd name="T19" fmla="*/ 5 h 12"/>
                  <a:gd name="T20" fmla="*/ 7 w 11"/>
                  <a:gd name="T21" fmla="*/ 5 h 12"/>
                  <a:gd name="T22" fmla="*/ 7 w 11"/>
                  <a:gd name="T23" fmla="*/ 5 h 12"/>
                  <a:gd name="T24" fmla="*/ 7 w 11"/>
                  <a:gd name="T25" fmla="*/ 3 h 12"/>
                  <a:gd name="T26" fmla="*/ 7 w 11"/>
                  <a:gd name="T27" fmla="*/ 3 h 12"/>
                  <a:gd name="T28" fmla="*/ 9 w 11"/>
                  <a:gd name="T29" fmla="*/ 3 h 12"/>
                  <a:gd name="T30" fmla="*/ 7 w 11"/>
                  <a:gd name="T31" fmla="*/ 3 h 12"/>
                  <a:gd name="T32" fmla="*/ 7 w 11"/>
                  <a:gd name="T33" fmla="*/ 3 h 12"/>
                  <a:gd name="T34" fmla="*/ 4 w 11"/>
                  <a:gd name="T35" fmla="*/ 3 h 12"/>
                  <a:gd name="T36" fmla="*/ 4 w 11"/>
                  <a:gd name="T37" fmla="*/ 0 h 12"/>
                  <a:gd name="T38" fmla="*/ 4 w 11"/>
                  <a:gd name="T39" fmla="*/ 0 h 12"/>
                  <a:gd name="T40" fmla="*/ 4 w 11"/>
                  <a:gd name="T41" fmla="*/ 0 h 12"/>
                  <a:gd name="T42" fmla="*/ 4 w 11"/>
                  <a:gd name="T43" fmla="*/ 0 h 12"/>
                  <a:gd name="T44" fmla="*/ 2 w 11"/>
                  <a:gd name="T45" fmla="*/ 0 h 12"/>
                  <a:gd name="T46" fmla="*/ 2 w 11"/>
                  <a:gd name="T47" fmla="*/ 0 h 12"/>
                  <a:gd name="T48" fmla="*/ 4 w 11"/>
                  <a:gd name="T49" fmla="*/ 3 h 12"/>
                  <a:gd name="T50" fmla="*/ 4 w 11"/>
                  <a:gd name="T51" fmla="*/ 5 h 12"/>
                  <a:gd name="T52" fmla="*/ 4 w 11"/>
                  <a:gd name="T53" fmla="*/ 5 h 12"/>
                  <a:gd name="T54" fmla="*/ 4 w 11"/>
                  <a:gd name="T55" fmla="*/ 7 h 12"/>
                  <a:gd name="T56" fmla="*/ 2 w 11"/>
                  <a:gd name="T57" fmla="*/ 7 h 12"/>
                  <a:gd name="T58" fmla="*/ 2 w 11"/>
                  <a:gd name="T59" fmla="*/ 7 h 12"/>
                  <a:gd name="T60" fmla="*/ 0 w 11"/>
                  <a:gd name="T61" fmla="*/ 10 h 12"/>
                  <a:gd name="T62" fmla="*/ 2 w 11"/>
                  <a:gd name="T63" fmla="*/ 10 h 12"/>
                  <a:gd name="T64" fmla="*/ 2 w 11"/>
                  <a:gd name="T65" fmla="*/ 10 h 12"/>
                  <a:gd name="T66" fmla="*/ 2 w 11"/>
                  <a:gd name="T67" fmla="*/ 7 h 12"/>
                  <a:gd name="T68" fmla="*/ 4 w 11"/>
                  <a:gd name="T69" fmla="*/ 7 h 12"/>
                  <a:gd name="T70" fmla="*/ 4 w 11"/>
                  <a:gd name="T71" fmla="*/ 7 h 12"/>
                  <a:gd name="T72" fmla="*/ 7 w 11"/>
                  <a:gd name="T73" fmla="*/ 10 h 12"/>
                  <a:gd name="T74" fmla="*/ 7 w 11"/>
                  <a:gd name="T75" fmla="*/ 12 h 12"/>
                  <a:gd name="T76" fmla="*/ 7 w 11"/>
                  <a:gd name="T77"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 h="12">
                    <a:moveTo>
                      <a:pt x="7" y="10"/>
                    </a:moveTo>
                    <a:lnTo>
                      <a:pt x="11" y="10"/>
                    </a:lnTo>
                    <a:lnTo>
                      <a:pt x="11" y="10"/>
                    </a:lnTo>
                    <a:lnTo>
                      <a:pt x="9" y="7"/>
                    </a:lnTo>
                    <a:lnTo>
                      <a:pt x="9" y="7"/>
                    </a:lnTo>
                    <a:lnTo>
                      <a:pt x="9" y="5"/>
                    </a:lnTo>
                    <a:lnTo>
                      <a:pt x="11" y="5"/>
                    </a:lnTo>
                    <a:lnTo>
                      <a:pt x="11" y="5"/>
                    </a:lnTo>
                    <a:lnTo>
                      <a:pt x="9" y="5"/>
                    </a:lnTo>
                    <a:lnTo>
                      <a:pt x="7" y="5"/>
                    </a:lnTo>
                    <a:lnTo>
                      <a:pt x="7" y="5"/>
                    </a:lnTo>
                    <a:lnTo>
                      <a:pt x="7" y="5"/>
                    </a:lnTo>
                    <a:lnTo>
                      <a:pt x="7" y="3"/>
                    </a:lnTo>
                    <a:lnTo>
                      <a:pt x="7" y="3"/>
                    </a:lnTo>
                    <a:lnTo>
                      <a:pt x="9" y="3"/>
                    </a:lnTo>
                    <a:lnTo>
                      <a:pt x="7" y="3"/>
                    </a:lnTo>
                    <a:lnTo>
                      <a:pt x="7" y="3"/>
                    </a:lnTo>
                    <a:lnTo>
                      <a:pt x="4" y="3"/>
                    </a:lnTo>
                    <a:lnTo>
                      <a:pt x="4" y="0"/>
                    </a:lnTo>
                    <a:lnTo>
                      <a:pt x="4" y="0"/>
                    </a:lnTo>
                    <a:lnTo>
                      <a:pt x="4" y="0"/>
                    </a:lnTo>
                    <a:lnTo>
                      <a:pt x="4" y="0"/>
                    </a:lnTo>
                    <a:lnTo>
                      <a:pt x="2" y="0"/>
                    </a:lnTo>
                    <a:lnTo>
                      <a:pt x="2" y="0"/>
                    </a:lnTo>
                    <a:lnTo>
                      <a:pt x="4" y="3"/>
                    </a:lnTo>
                    <a:lnTo>
                      <a:pt x="4" y="5"/>
                    </a:lnTo>
                    <a:lnTo>
                      <a:pt x="4" y="5"/>
                    </a:lnTo>
                    <a:lnTo>
                      <a:pt x="4" y="7"/>
                    </a:lnTo>
                    <a:lnTo>
                      <a:pt x="2" y="7"/>
                    </a:lnTo>
                    <a:lnTo>
                      <a:pt x="2" y="7"/>
                    </a:lnTo>
                    <a:lnTo>
                      <a:pt x="0" y="10"/>
                    </a:lnTo>
                    <a:lnTo>
                      <a:pt x="2" y="10"/>
                    </a:lnTo>
                    <a:lnTo>
                      <a:pt x="2" y="10"/>
                    </a:lnTo>
                    <a:lnTo>
                      <a:pt x="2" y="7"/>
                    </a:lnTo>
                    <a:lnTo>
                      <a:pt x="4" y="7"/>
                    </a:lnTo>
                    <a:lnTo>
                      <a:pt x="4" y="7"/>
                    </a:lnTo>
                    <a:lnTo>
                      <a:pt x="7" y="10"/>
                    </a:lnTo>
                    <a:lnTo>
                      <a:pt x="7" y="12"/>
                    </a:lnTo>
                    <a:lnTo>
                      <a:pt x="7"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9" name="Freeform 82">
                <a:extLst>
                  <a:ext uri="{FF2B5EF4-FFF2-40B4-BE49-F238E27FC236}">
                    <a16:creationId xmlns:a16="http://schemas.microsoft.com/office/drawing/2014/main" id="{A35B1027-AC95-499A-A17E-42D48E593627}"/>
                  </a:ext>
                </a:extLst>
              </p:cNvPr>
              <p:cNvSpPr>
                <a:spLocks/>
              </p:cNvSpPr>
              <p:nvPr/>
            </p:nvSpPr>
            <p:spPr bwMode="gray">
              <a:xfrm>
                <a:off x="-2800" y="374"/>
                <a:ext cx="4" cy="11"/>
              </a:xfrm>
              <a:custGeom>
                <a:avLst/>
                <a:gdLst>
                  <a:gd name="T0" fmla="*/ 2 w 4"/>
                  <a:gd name="T1" fmla="*/ 0 h 11"/>
                  <a:gd name="T2" fmla="*/ 2 w 4"/>
                  <a:gd name="T3" fmla="*/ 0 h 11"/>
                  <a:gd name="T4" fmla="*/ 2 w 4"/>
                  <a:gd name="T5" fmla="*/ 2 h 11"/>
                  <a:gd name="T6" fmla="*/ 2 w 4"/>
                  <a:gd name="T7" fmla="*/ 2 h 11"/>
                  <a:gd name="T8" fmla="*/ 0 w 4"/>
                  <a:gd name="T9" fmla="*/ 2 h 11"/>
                  <a:gd name="T10" fmla="*/ 0 w 4"/>
                  <a:gd name="T11" fmla="*/ 2 h 11"/>
                  <a:gd name="T12" fmla="*/ 0 w 4"/>
                  <a:gd name="T13" fmla="*/ 2 h 11"/>
                  <a:gd name="T14" fmla="*/ 0 w 4"/>
                  <a:gd name="T15" fmla="*/ 4 h 11"/>
                  <a:gd name="T16" fmla="*/ 0 w 4"/>
                  <a:gd name="T17" fmla="*/ 9 h 11"/>
                  <a:gd name="T18" fmla="*/ 0 w 4"/>
                  <a:gd name="T19" fmla="*/ 11 h 11"/>
                  <a:gd name="T20" fmla="*/ 2 w 4"/>
                  <a:gd name="T21" fmla="*/ 11 h 11"/>
                  <a:gd name="T22" fmla="*/ 2 w 4"/>
                  <a:gd name="T23" fmla="*/ 11 h 11"/>
                  <a:gd name="T24" fmla="*/ 2 w 4"/>
                  <a:gd name="T25" fmla="*/ 9 h 11"/>
                  <a:gd name="T26" fmla="*/ 4 w 4"/>
                  <a:gd name="T27" fmla="*/ 7 h 11"/>
                  <a:gd name="T28" fmla="*/ 4 w 4"/>
                  <a:gd name="T29" fmla="*/ 7 h 11"/>
                  <a:gd name="T30" fmla="*/ 4 w 4"/>
                  <a:gd name="T31" fmla="*/ 4 h 11"/>
                  <a:gd name="T32" fmla="*/ 4 w 4"/>
                  <a:gd name="T33" fmla="*/ 2 h 11"/>
                  <a:gd name="T34" fmla="*/ 4 w 4"/>
                  <a:gd name="T35" fmla="*/ 4 h 11"/>
                  <a:gd name="T36" fmla="*/ 2 w 4"/>
                  <a:gd name="T37" fmla="*/ 4 h 11"/>
                  <a:gd name="T38" fmla="*/ 2 w 4"/>
                  <a:gd name="T39" fmla="*/ 2 h 11"/>
                  <a:gd name="T40" fmla="*/ 2 w 4"/>
                  <a:gd name="T41" fmla="*/ 2 h 11"/>
                  <a:gd name="T42" fmla="*/ 2 w 4"/>
                  <a:gd name="T4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11">
                    <a:moveTo>
                      <a:pt x="2" y="0"/>
                    </a:moveTo>
                    <a:lnTo>
                      <a:pt x="2" y="0"/>
                    </a:lnTo>
                    <a:lnTo>
                      <a:pt x="2" y="2"/>
                    </a:lnTo>
                    <a:lnTo>
                      <a:pt x="2" y="2"/>
                    </a:lnTo>
                    <a:lnTo>
                      <a:pt x="0" y="2"/>
                    </a:lnTo>
                    <a:lnTo>
                      <a:pt x="0" y="2"/>
                    </a:lnTo>
                    <a:lnTo>
                      <a:pt x="0" y="2"/>
                    </a:lnTo>
                    <a:lnTo>
                      <a:pt x="0" y="4"/>
                    </a:lnTo>
                    <a:lnTo>
                      <a:pt x="0" y="9"/>
                    </a:lnTo>
                    <a:lnTo>
                      <a:pt x="0" y="11"/>
                    </a:lnTo>
                    <a:lnTo>
                      <a:pt x="2" y="11"/>
                    </a:lnTo>
                    <a:lnTo>
                      <a:pt x="2" y="11"/>
                    </a:lnTo>
                    <a:lnTo>
                      <a:pt x="2" y="9"/>
                    </a:lnTo>
                    <a:lnTo>
                      <a:pt x="4" y="7"/>
                    </a:lnTo>
                    <a:lnTo>
                      <a:pt x="4" y="7"/>
                    </a:lnTo>
                    <a:lnTo>
                      <a:pt x="4" y="4"/>
                    </a:lnTo>
                    <a:lnTo>
                      <a:pt x="4" y="2"/>
                    </a:lnTo>
                    <a:lnTo>
                      <a:pt x="4" y="4"/>
                    </a:lnTo>
                    <a:lnTo>
                      <a:pt x="2" y="4"/>
                    </a:lnTo>
                    <a:lnTo>
                      <a:pt x="2" y="2"/>
                    </a:lnTo>
                    <a:lnTo>
                      <a:pt x="2"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0" name="Freeform 83">
                <a:extLst>
                  <a:ext uri="{FF2B5EF4-FFF2-40B4-BE49-F238E27FC236}">
                    <a16:creationId xmlns:a16="http://schemas.microsoft.com/office/drawing/2014/main" id="{608FE9C0-B947-46A1-A6DD-0ACB57C6BE63}"/>
                  </a:ext>
                </a:extLst>
              </p:cNvPr>
              <p:cNvSpPr>
                <a:spLocks/>
              </p:cNvSpPr>
              <p:nvPr/>
            </p:nvSpPr>
            <p:spPr bwMode="gray">
              <a:xfrm>
                <a:off x="-2871" y="378"/>
                <a:ext cx="5" cy="7"/>
              </a:xfrm>
              <a:custGeom>
                <a:avLst/>
                <a:gdLst>
                  <a:gd name="T0" fmla="*/ 2 w 5"/>
                  <a:gd name="T1" fmla="*/ 5 h 7"/>
                  <a:gd name="T2" fmla="*/ 5 w 5"/>
                  <a:gd name="T3" fmla="*/ 7 h 7"/>
                  <a:gd name="T4" fmla="*/ 5 w 5"/>
                  <a:gd name="T5" fmla="*/ 5 h 7"/>
                  <a:gd name="T6" fmla="*/ 5 w 5"/>
                  <a:gd name="T7" fmla="*/ 3 h 7"/>
                  <a:gd name="T8" fmla="*/ 5 w 5"/>
                  <a:gd name="T9" fmla="*/ 0 h 7"/>
                  <a:gd name="T10" fmla="*/ 5 w 5"/>
                  <a:gd name="T11" fmla="*/ 0 h 7"/>
                  <a:gd name="T12" fmla="*/ 2 w 5"/>
                  <a:gd name="T13" fmla="*/ 0 h 7"/>
                  <a:gd name="T14" fmla="*/ 2 w 5"/>
                  <a:gd name="T15" fmla="*/ 3 h 7"/>
                  <a:gd name="T16" fmla="*/ 0 w 5"/>
                  <a:gd name="T17" fmla="*/ 3 h 7"/>
                  <a:gd name="T18" fmla="*/ 0 w 5"/>
                  <a:gd name="T19" fmla="*/ 3 h 7"/>
                  <a:gd name="T20" fmla="*/ 0 w 5"/>
                  <a:gd name="T21" fmla="*/ 5 h 7"/>
                  <a:gd name="T22" fmla="*/ 2 w 5"/>
                  <a:gd name="T23"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7">
                    <a:moveTo>
                      <a:pt x="2" y="5"/>
                    </a:moveTo>
                    <a:lnTo>
                      <a:pt x="5" y="7"/>
                    </a:lnTo>
                    <a:lnTo>
                      <a:pt x="5" y="5"/>
                    </a:lnTo>
                    <a:lnTo>
                      <a:pt x="5" y="3"/>
                    </a:lnTo>
                    <a:lnTo>
                      <a:pt x="5" y="0"/>
                    </a:lnTo>
                    <a:lnTo>
                      <a:pt x="5" y="0"/>
                    </a:lnTo>
                    <a:lnTo>
                      <a:pt x="2" y="0"/>
                    </a:lnTo>
                    <a:lnTo>
                      <a:pt x="2" y="3"/>
                    </a:lnTo>
                    <a:lnTo>
                      <a:pt x="0" y="3"/>
                    </a:lnTo>
                    <a:lnTo>
                      <a:pt x="0" y="3"/>
                    </a:lnTo>
                    <a:lnTo>
                      <a:pt x="0"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1" name="Freeform 84">
                <a:extLst>
                  <a:ext uri="{FF2B5EF4-FFF2-40B4-BE49-F238E27FC236}">
                    <a16:creationId xmlns:a16="http://schemas.microsoft.com/office/drawing/2014/main" id="{95045C00-7DA4-495A-94FF-E26408A0E991}"/>
                  </a:ext>
                </a:extLst>
              </p:cNvPr>
              <p:cNvSpPr>
                <a:spLocks/>
              </p:cNvSpPr>
              <p:nvPr/>
            </p:nvSpPr>
            <p:spPr bwMode="gray">
              <a:xfrm>
                <a:off x="-2911" y="496"/>
                <a:ext cx="21" cy="17"/>
              </a:xfrm>
              <a:custGeom>
                <a:avLst/>
                <a:gdLst>
                  <a:gd name="T0" fmla="*/ 0 w 21"/>
                  <a:gd name="T1" fmla="*/ 17 h 17"/>
                  <a:gd name="T2" fmla="*/ 0 w 21"/>
                  <a:gd name="T3" fmla="*/ 14 h 17"/>
                  <a:gd name="T4" fmla="*/ 2 w 21"/>
                  <a:gd name="T5" fmla="*/ 14 h 17"/>
                  <a:gd name="T6" fmla="*/ 4 w 21"/>
                  <a:gd name="T7" fmla="*/ 12 h 17"/>
                  <a:gd name="T8" fmla="*/ 4 w 21"/>
                  <a:gd name="T9" fmla="*/ 10 h 17"/>
                  <a:gd name="T10" fmla="*/ 7 w 21"/>
                  <a:gd name="T11" fmla="*/ 10 h 17"/>
                  <a:gd name="T12" fmla="*/ 7 w 21"/>
                  <a:gd name="T13" fmla="*/ 10 h 17"/>
                  <a:gd name="T14" fmla="*/ 9 w 21"/>
                  <a:gd name="T15" fmla="*/ 10 h 17"/>
                  <a:gd name="T16" fmla="*/ 9 w 21"/>
                  <a:gd name="T17" fmla="*/ 10 h 17"/>
                  <a:gd name="T18" fmla="*/ 7 w 21"/>
                  <a:gd name="T19" fmla="*/ 10 h 17"/>
                  <a:gd name="T20" fmla="*/ 7 w 21"/>
                  <a:gd name="T21" fmla="*/ 12 h 17"/>
                  <a:gd name="T22" fmla="*/ 11 w 21"/>
                  <a:gd name="T23" fmla="*/ 10 h 17"/>
                  <a:gd name="T24" fmla="*/ 11 w 21"/>
                  <a:gd name="T25" fmla="*/ 10 h 17"/>
                  <a:gd name="T26" fmla="*/ 11 w 21"/>
                  <a:gd name="T27" fmla="*/ 12 h 17"/>
                  <a:gd name="T28" fmla="*/ 11 w 21"/>
                  <a:gd name="T29" fmla="*/ 12 h 17"/>
                  <a:gd name="T30" fmla="*/ 14 w 21"/>
                  <a:gd name="T31" fmla="*/ 10 h 17"/>
                  <a:gd name="T32" fmla="*/ 14 w 21"/>
                  <a:gd name="T33" fmla="*/ 7 h 17"/>
                  <a:gd name="T34" fmla="*/ 16 w 21"/>
                  <a:gd name="T35" fmla="*/ 7 h 17"/>
                  <a:gd name="T36" fmla="*/ 16 w 21"/>
                  <a:gd name="T37" fmla="*/ 5 h 17"/>
                  <a:gd name="T38" fmla="*/ 16 w 21"/>
                  <a:gd name="T39" fmla="*/ 5 h 17"/>
                  <a:gd name="T40" fmla="*/ 21 w 21"/>
                  <a:gd name="T41" fmla="*/ 2 h 17"/>
                  <a:gd name="T42" fmla="*/ 21 w 21"/>
                  <a:gd name="T43" fmla="*/ 2 h 17"/>
                  <a:gd name="T44" fmla="*/ 19 w 21"/>
                  <a:gd name="T45" fmla="*/ 0 h 17"/>
                  <a:gd name="T46" fmla="*/ 19 w 21"/>
                  <a:gd name="T47" fmla="*/ 0 h 17"/>
                  <a:gd name="T48" fmla="*/ 19 w 21"/>
                  <a:gd name="T49" fmla="*/ 0 h 17"/>
                  <a:gd name="T50" fmla="*/ 16 w 21"/>
                  <a:gd name="T51" fmla="*/ 2 h 17"/>
                  <a:gd name="T52" fmla="*/ 16 w 21"/>
                  <a:gd name="T53" fmla="*/ 2 h 17"/>
                  <a:gd name="T54" fmla="*/ 14 w 21"/>
                  <a:gd name="T55" fmla="*/ 2 h 17"/>
                  <a:gd name="T56" fmla="*/ 14 w 21"/>
                  <a:gd name="T57" fmla="*/ 2 h 17"/>
                  <a:gd name="T58" fmla="*/ 11 w 21"/>
                  <a:gd name="T59" fmla="*/ 5 h 17"/>
                  <a:gd name="T60" fmla="*/ 9 w 21"/>
                  <a:gd name="T61" fmla="*/ 5 h 17"/>
                  <a:gd name="T62" fmla="*/ 9 w 21"/>
                  <a:gd name="T63" fmla="*/ 7 h 17"/>
                  <a:gd name="T64" fmla="*/ 9 w 21"/>
                  <a:gd name="T65" fmla="*/ 7 h 17"/>
                  <a:gd name="T66" fmla="*/ 9 w 21"/>
                  <a:gd name="T67" fmla="*/ 5 h 17"/>
                  <a:gd name="T68" fmla="*/ 7 w 21"/>
                  <a:gd name="T69" fmla="*/ 5 h 17"/>
                  <a:gd name="T70" fmla="*/ 9 w 21"/>
                  <a:gd name="T71" fmla="*/ 2 h 17"/>
                  <a:gd name="T72" fmla="*/ 11 w 21"/>
                  <a:gd name="T73" fmla="*/ 2 h 17"/>
                  <a:gd name="T74" fmla="*/ 11 w 21"/>
                  <a:gd name="T75" fmla="*/ 2 h 17"/>
                  <a:gd name="T76" fmla="*/ 11 w 21"/>
                  <a:gd name="T77" fmla="*/ 0 h 17"/>
                  <a:gd name="T78" fmla="*/ 9 w 21"/>
                  <a:gd name="T79" fmla="*/ 0 h 17"/>
                  <a:gd name="T80" fmla="*/ 7 w 21"/>
                  <a:gd name="T81" fmla="*/ 2 h 17"/>
                  <a:gd name="T82" fmla="*/ 4 w 21"/>
                  <a:gd name="T83" fmla="*/ 2 h 17"/>
                  <a:gd name="T84" fmla="*/ 7 w 21"/>
                  <a:gd name="T85" fmla="*/ 5 h 17"/>
                  <a:gd name="T86" fmla="*/ 7 w 21"/>
                  <a:gd name="T87" fmla="*/ 5 h 17"/>
                  <a:gd name="T88" fmla="*/ 7 w 21"/>
                  <a:gd name="T89" fmla="*/ 7 h 17"/>
                  <a:gd name="T90" fmla="*/ 4 w 21"/>
                  <a:gd name="T91" fmla="*/ 7 h 17"/>
                  <a:gd name="T92" fmla="*/ 4 w 21"/>
                  <a:gd name="T93" fmla="*/ 7 h 17"/>
                  <a:gd name="T94" fmla="*/ 4 w 21"/>
                  <a:gd name="T95" fmla="*/ 7 h 17"/>
                  <a:gd name="T96" fmla="*/ 4 w 21"/>
                  <a:gd name="T97" fmla="*/ 10 h 17"/>
                  <a:gd name="T98" fmla="*/ 2 w 21"/>
                  <a:gd name="T99" fmla="*/ 10 h 17"/>
                  <a:gd name="T100" fmla="*/ 2 w 21"/>
                  <a:gd name="T101" fmla="*/ 12 h 17"/>
                  <a:gd name="T102" fmla="*/ 2 w 21"/>
                  <a:gd name="T103" fmla="*/ 12 h 17"/>
                  <a:gd name="T104" fmla="*/ 0 w 21"/>
                  <a:gd name="T105" fmla="*/ 12 h 17"/>
                  <a:gd name="T106" fmla="*/ 0 w 21"/>
                  <a:gd name="T107" fmla="*/ 12 h 17"/>
                  <a:gd name="T108" fmla="*/ 0 w 21"/>
                  <a:gd name="T109" fmla="*/ 14 h 17"/>
                  <a:gd name="T110" fmla="*/ 0 w 21"/>
                  <a:gd name="T111" fmla="*/ 17 h 17"/>
                  <a:gd name="T112" fmla="*/ 0 w 21"/>
                  <a:gd name="T113" fmla="*/ 17 h 17"/>
                  <a:gd name="T114" fmla="*/ 0 w 21"/>
                  <a:gd name="T115"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 h="17">
                    <a:moveTo>
                      <a:pt x="0" y="17"/>
                    </a:moveTo>
                    <a:lnTo>
                      <a:pt x="0" y="14"/>
                    </a:lnTo>
                    <a:lnTo>
                      <a:pt x="2" y="14"/>
                    </a:lnTo>
                    <a:lnTo>
                      <a:pt x="4" y="12"/>
                    </a:lnTo>
                    <a:lnTo>
                      <a:pt x="4" y="10"/>
                    </a:lnTo>
                    <a:lnTo>
                      <a:pt x="7" y="10"/>
                    </a:lnTo>
                    <a:lnTo>
                      <a:pt x="7" y="10"/>
                    </a:lnTo>
                    <a:lnTo>
                      <a:pt x="9" y="10"/>
                    </a:lnTo>
                    <a:lnTo>
                      <a:pt x="9" y="10"/>
                    </a:lnTo>
                    <a:lnTo>
                      <a:pt x="7" y="10"/>
                    </a:lnTo>
                    <a:lnTo>
                      <a:pt x="7" y="12"/>
                    </a:lnTo>
                    <a:lnTo>
                      <a:pt x="11" y="10"/>
                    </a:lnTo>
                    <a:lnTo>
                      <a:pt x="11" y="10"/>
                    </a:lnTo>
                    <a:lnTo>
                      <a:pt x="11" y="12"/>
                    </a:lnTo>
                    <a:lnTo>
                      <a:pt x="11" y="12"/>
                    </a:lnTo>
                    <a:lnTo>
                      <a:pt x="14" y="10"/>
                    </a:lnTo>
                    <a:lnTo>
                      <a:pt x="14" y="7"/>
                    </a:lnTo>
                    <a:lnTo>
                      <a:pt x="16" y="7"/>
                    </a:lnTo>
                    <a:lnTo>
                      <a:pt x="16" y="5"/>
                    </a:lnTo>
                    <a:lnTo>
                      <a:pt x="16" y="5"/>
                    </a:lnTo>
                    <a:lnTo>
                      <a:pt x="21" y="2"/>
                    </a:lnTo>
                    <a:lnTo>
                      <a:pt x="21" y="2"/>
                    </a:lnTo>
                    <a:lnTo>
                      <a:pt x="19" y="0"/>
                    </a:lnTo>
                    <a:lnTo>
                      <a:pt x="19" y="0"/>
                    </a:lnTo>
                    <a:lnTo>
                      <a:pt x="19" y="0"/>
                    </a:lnTo>
                    <a:lnTo>
                      <a:pt x="16" y="2"/>
                    </a:lnTo>
                    <a:lnTo>
                      <a:pt x="16" y="2"/>
                    </a:lnTo>
                    <a:lnTo>
                      <a:pt x="14" y="2"/>
                    </a:lnTo>
                    <a:lnTo>
                      <a:pt x="14" y="2"/>
                    </a:lnTo>
                    <a:lnTo>
                      <a:pt x="11" y="5"/>
                    </a:lnTo>
                    <a:lnTo>
                      <a:pt x="9" y="5"/>
                    </a:lnTo>
                    <a:lnTo>
                      <a:pt x="9" y="7"/>
                    </a:lnTo>
                    <a:lnTo>
                      <a:pt x="9" y="7"/>
                    </a:lnTo>
                    <a:lnTo>
                      <a:pt x="9" y="5"/>
                    </a:lnTo>
                    <a:lnTo>
                      <a:pt x="7" y="5"/>
                    </a:lnTo>
                    <a:lnTo>
                      <a:pt x="9" y="2"/>
                    </a:lnTo>
                    <a:lnTo>
                      <a:pt x="11" y="2"/>
                    </a:lnTo>
                    <a:lnTo>
                      <a:pt x="11" y="2"/>
                    </a:lnTo>
                    <a:lnTo>
                      <a:pt x="11" y="0"/>
                    </a:lnTo>
                    <a:lnTo>
                      <a:pt x="9" y="0"/>
                    </a:lnTo>
                    <a:lnTo>
                      <a:pt x="7" y="2"/>
                    </a:lnTo>
                    <a:lnTo>
                      <a:pt x="4" y="2"/>
                    </a:lnTo>
                    <a:lnTo>
                      <a:pt x="7" y="5"/>
                    </a:lnTo>
                    <a:lnTo>
                      <a:pt x="7" y="5"/>
                    </a:lnTo>
                    <a:lnTo>
                      <a:pt x="7" y="7"/>
                    </a:lnTo>
                    <a:lnTo>
                      <a:pt x="4" y="7"/>
                    </a:lnTo>
                    <a:lnTo>
                      <a:pt x="4" y="7"/>
                    </a:lnTo>
                    <a:lnTo>
                      <a:pt x="4" y="7"/>
                    </a:lnTo>
                    <a:lnTo>
                      <a:pt x="4" y="10"/>
                    </a:lnTo>
                    <a:lnTo>
                      <a:pt x="2" y="10"/>
                    </a:lnTo>
                    <a:lnTo>
                      <a:pt x="2" y="12"/>
                    </a:lnTo>
                    <a:lnTo>
                      <a:pt x="2" y="12"/>
                    </a:lnTo>
                    <a:lnTo>
                      <a:pt x="0" y="12"/>
                    </a:lnTo>
                    <a:lnTo>
                      <a:pt x="0" y="12"/>
                    </a:lnTo>
                    <a:lnTo>
                      <a:pt x="0" y="14"/>
                    </a:lnTo>
                    <a:lnTo>
                      <a:pt x="0" y="17"/>
                    </a:lnTo>
                    <a:lnTo>
                      <a:pt x="0" y="17"/>
                    </a:lnTo>
                    <a:lnTo>
                      <a:pt x="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2" name="Freeform 85">
                <a:extLst>
                  <a:ext uri="{FF2B5EF4-FFF2-40B4-BE49-F238E27FC236}">
                    <a16:creationId xmlns:a16="http://schemas.microsoft.com/office/drawing/2014/main" id="{BE5312FA-8CFB-4059-B900-76B7F91EB641}"/>
                  </a:ext>
                </a:extLst>
              </p:cNvPr>
              <p:cNvSpPr>
                <a:spLocks/>
              </p:cNvSpPr>
              <p:nvPr/>
            </p:nvSpPr>
            <p:spPr bwMode="gray">
              <a:xfrm>
                <a:off x="-2838" y="463"/>
                <a:ext cx="5" cy="5"/>
              </a:xfrm>
              <a:custGeom>
                <a:avLst/>
                <a:gdLst>
                  <a:gd name="T0" fmla="*/ 2 w 5"/>
                  <a:gd name="T1" fmla="*/ 0 h 5"/>
                  <a:gd name="T2" fmla="*/ 5 w 5"/>
                  <a:gd name="T3" fmla="*/ 0 h 5"/>
                  <a:gd name="T4" fmla="*/ 5 w 5"/>
                  <a:gd name="T5" fmla="*/ 0 h 5"/>
                  <a:gd name="T6" fmla="*/ 5 w 5"/>
                  <a:gd name="T7" fmla="*/ 0 h 5"/>
                  <a:gd name="T8" fmla="*/ 5 w 5"/>
                  <a:gd name="T9" fmla="*/ 0 h 5"/>
                  <a:gd name="T10" fmla="*/ 2 w 5"/>
                  <a:gd name="T11" fmla="*/ 0 h 5"/>
                  <a:gd name="T12" fmla="*/ 2 w 5"/>
                  <a:gd name="T13" fmla="*/ 0 h 5"/>
                  <a:gd name="T14" fmla="*/ 0 w 5"/>
                  <a:gd name="T15" fmla="*/ 0 h 5"/>
                  <a:gd name="T16" fmla="*/ 0 w 5"/>
                  <a:gd name="T17" fmla="*/ 3 h 5"/>
                  <a:gd name="T18" fmla="*/ 0 w 5"/>
                  <a:gd name="T19" fmla="*/ 5 h 5"/>
                  <a:gd name="T20" fmla="*/ 2 w 5"/>
                  <a:gd name="T21" fmla="*/ 5 h 5"/>
                  <a:gd name="T22" fmla="*/ 2 w 5"/>
                  <a:gd name="T23" fmla="*/ 5 h 5"/>
                  <a:gd name="T24" fmla="*/ 5 w 5"/>
                  <a:gd name="T25" fmla="*/ 3 h 5"/>
                  <a:gd name="T26" fmla="*/ 5 w 5"/>
                  <a:gd name="T27" fmla="*/ 3 h 5"/>
                  <a:gd name="T28" fmla="*/ 2 w 5"/>
                  <a:gd name="T29" fmla="*/ 3 h 5"/>
                  <a:gd name="T30" fmla="*/ 2 w 5"/>
                  <a:gd name="T31" fmla="*/ 0 h 5"/>
                  <a:gd name="T32" fmla="*/ 2 w 5"/>
                  <a:gd name="T3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5">
                    <a:moveTo>
                      <a:pt x="2" y="0"/>
                    </a:moveTo>
                    <a:lnTo>
                      <a:pt x="5" y="0"/>
                    </a:lnTo>
                    <a:lnTo>
                      <a:pt x="5" y="0"/>
                    </a:lnTo>
                    <a:lnTo>
                      <a:pt x="5" y="0"/>
                    </a:lnTo>
                    <a:lnTo>
                      <a:pt x="5" y="0"/>
                    </a:lnTo>
                    <a:lnTo>
                      <a:pt x="2" y="0"/>
                    </a:lnTo>
                    <a:lnTo>
                      <a:pt x="2" y="0"/>
                    </a:lnTo>
                    <a:lnTo>
                      <a:pt x="0" y="0"/>
                    </a:lnTo>
                    <a:lnTo>
                      <a:pt x="0" y="3"/>
                    </a:lnTo>
                    <a:lnTo>
                      <a:pt x="0" y="5"/>
                    </a:lnTo>
                    <a:lnTo>
                      <a:pt x="2" y="5"/>
                    </a:lnTo>
                    <a:lnTo>
                      <a:pt x="2" y="5"/>
                    </a:lnTo>
                    <a:lnTo>
                      <a:pt x="5" y="3"/>
                    </a:lnTo>
                    <a:lnTo>
                      <a:pt x="5" y="3"/>
                    </a:lnTo>
                    <a:lnTo>
                      <a:pt x="2" y="3"/>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3" name="Freeform 86">
                <a:extLst>
                  <a:ext uri="{FF2B5EF4-FFF2-40B4-BE49-F238E27FC236}">
                    <a16:creationId xmlns:a16="http://schemas.microsoft.com/office/drawing/2014/main" id="{926811AD-236C-4CD3-AAC7-BC979F13E855}"/>
                  </a:ext>
                </a:extLst>
              </p:cNvPr>
              <p:cNvSpPr>
                <a:spLocks/>
              </p:cNvSpPr>
              <p:nvPr/>
            </p:nvSpPr>
            <p:spPr bwMode="gray">
              <a:xfrm>
                <a:off x="-2881" y="1707"/>
                <a:ext cx="17" cy="12"/>
              </a:xfrm>
              <a:custGeom>
                <a:avLst/>
                <a:gdLst>
                  <a:gd name="T0" fmla="*/ 3 w 17"/>
                  <a:gd name="T1" fmla="*/ 10 h 12"/>
                  <a:gd name="T2" fmla="*/ 5 w 17"/>
                  <a:gd name="T3" fmla="*/ 10 h 12"/>
                  <a:gd name="T4" fmla="*/ 5 w 17"/>
                  <a:gd name="T5" fmla="*/ 10 h 12"/>
                  <a:gd name="T6" fmla="*/ 5 w 17"/>
                  <a:gd name="T7" fmla="*/ 10 h 12"/>
                  <a:gd name="T8" fmla="*/ 5 w 17"/>
                  <a:gd name="T9" fmla="*/ 10 h 12"/>
                  <a:gd name="T10" fmla="*/ 5 w 17"/>
                  <a:gd name="T11" fmla="*/ 10 h 12"/>
                  <a:gd name="T12" fmla="*/ 7 w 17"/>
                  <a:gd name="T13" fmla="*/ 10 h 12"/>
                  <a:gd name="T14" fmla="*/ 7 w 17"/>
                  <a:gd name="T15" fmla="*/ 7 h 12"/>
                  <a:gd name="T16" fmla="*/ 7 w 17"/>
                  <a:gd name="T17" fmla="*/ 7 h 12"/>
                  <a:gd name="T18" fmla="*/ 7 w 17"/>
                  <a:gd name="T19" fmla="*/ 7 h 12"/>
                  <a:gd name="T20" fmla="*/ 10 w 17"/>
                  <a:gd name="T21" fmla="*/ 7 h 12"/>
                  <a:gd name="T22" fmla="*/ 10 w 17"/>
                  <a:gd name="T23" fmla="*/ 7 h 12"/>
                  <a:gd name="T24" fmla="*/ 12 w 17"/>
                  <a:gd name="T25" fmla="*/ 10 h 12"/>
                  <a:gd name="T26" fmla="*/ 12 w 17"/>
                  <a:gd name="T27" fmla="*/ 10 h 12"/>
                  <a:gd name="T28" fmla="*/ 15 w 17"/>
                  <a:gd name="T29" fmla="*/ 10 h 12"/>
                  <a:gd name="T30" fmla="*/ 15 w 17"/>
                  <a:gd name="T31" fmla="*/ 12 h 12"/>
                  <a:gd name="T32" fmla="*/ 17 w 17"/>
                  <a:gd name="T33" fmla="*/ 12 h 12"/>
                  <a:gd name="T34" fmla="*/ 17 w 17"/>
                  <a:gd name="T35" fmla="*/ 12 h 12"/>
                  <a:gd name="T36" fmla="*/ 17 w 17"/>
                  <a:gd name="T37" fmla="*/ 10 h 12"/>
                  <a:gd name="T38" fmla="*/ 17 w 17"/>
                  <a:gd name="T39" fmla="*/ 10 h 12"/>
                  <a:gd name="T40" fmla="*/ 17 w 17"/>
                  <a:gd name="T41" fmla="*/ 7 h 12"/>
                  <a:gd name="T42" fmla="*/ 17 w 17"/>
                  <a:gd name="T43" fmla="*/ 7 h 12"/>
                  <a:gd name="T44" fmla="*/ 17 w 17"/>
                  <a:gd name="T45" fmla="*/ 7 h 12"/>
                  <a:gd name="T46" fmla="*/ 17 w 17"/>
                  <a:gd name="T47" fmla="*/ 7 h 12"/>
                  <a:gd name="T48" fmla="*/ 17 w 17"/>
                  <a:gd name="T49" fmla="*/ 5 h 12"/>
                  <a:gd name="T50" fmla="*/ 17 w 17"/>
                  <a:gd name="T51" fmla="*/ 5 h 12"/>
                  <a:gd name="T52" fmla="*/ 17 w 17"/>
                  <a:gd name="T53" fmla="*/ 5 h 12"/>
                  <a:gd name="T54" fmla="*/ 12 w 17"/>
                  <a:gd name="T55" fmla="*/ 3 h 12"/>
                  <a:gd name="T56" fmla="*/ 12 w 17"/>
                  <a:gd name="T57" fmla="*/ 3 h 12"/>
                  <a:gd name="T58" fmla="*/ 12 w 17"/>
                  <a:gd name="T59" fmla="*/ 3 h 12"/>
                  <a:gd name="T60" fmla="*/ 12 w 17"/>
                  <a:gd name="T61" fmla="*/ 3 h 12"/>
                  <a:gd name="T62" fmla="*/ 10 w 17"/>
                  <a:gd name="T63" fmla="*/ 3 h 12"/>
                  <a:gd name="T64" fmla="*/ 10 w 17"/>
                  <a:gd name="T65" fmla="*/ 3 h 12"/>
                  <a:gd name="T66" fmla="*/ 7 w 17"/>
                  <a:gd name="T67" fmla="*/ 3 h 12"/>
                  <a:gd name="T68" fmla="*/ 7 w 17"/>
                  <a:gd name="T69" fmla="*/ 0 h 12"/>
                  <a:gd name="T70" fmla="*/ 7 w 17"/>
                  <a:gd name="T71" fmla="*/ 3 h 12"/>
                  <a:gd name="T72" fmla="*/ 5 w 17"/>
                  <a:gd name="T73" fmla="*/ 3 h 12"/>
                  <a:gd name="T74" fmla="*/ 5 w 17"/>
                  <a:gd name="T75" fmla="*/ 3 h 12"/>
                  <a:gd name="T76" fmla="*/ 5 w 17"/>
                  <a:gd name="T77" fmla="*/ 3 h 12"/>
                  <a:gd name="T78" fmla="*/ 3 w 17"/>
                  <a:gd name="T79" fmla="*/ 3 h 12"/>
                  <a:gd name="T80" fmla="*/ 3 w 17"/>
                  <a:gd name="T81" fmla="*/ 3 h 12"/>
                  <a:gd name="T82" fmla="*/ 0 w 17"/>
                  <a:gd name="T83" fmla="*/ 3 h 12"/>
                  <a:gd name="T84" fmla="*/ 0 w 17"/>
                  <a:gd name="T85" fmla="*/ 3 h 12"/>
                  <a:gd name="T86" fmla="*/ 3 w 17"/>
                  <a:gd name="T87" fmla="*/ 5 h 12"/>
                  <a:gd name="T88" fmla="*/ 3 w 17"/>
                  <a:gd name="T89" fmla="*/ 7 h 12"/>
                  <a:gd name="T90" fmla="*/ 3 w 17"/>
                  <a:gd name="T91" fmla="*/ 10 h 12"/>
                  <a:gd name="T92" fmla="*/ 3 w 17"/>
                  <a:gd name="T93"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 h="12">
                    <a:moveTo>
                      <a:pt x="3" y="10"/>
                    </a:moveTo>
                    <a:lnTo>
                      <a:pt x="5" y="10"/>
                    </a:lnTo>
                    <a:lnTo>
                      <a:pt x="5" y="10"/>
                    </a:lnTo>
                    <a:lnTo>
                      <a:pt x="5" y="10"/>
                    </a:lnTo>
                    <a:lnTo>
                      <a:pt x="5" y="10"/>
                    </a:lnTo>
                    <a:lnTo>
                      <a:pt x="5" y="10"/>
                    </a:lnTo>
                    <a:lnTo>
                      <a:pt x="7" y="10"/>
                    </a:lnTo>
                    <a:lnTo>
                      <a:pt x="7" y="7"/>
                    </a:lnTo>
                    <a:lnTo>
                      <a:pt x="7" y="7"/>
                    </a:lnTo>
                    <a:lnTo>
                      <a:pt x="7" y="7"/>
                    </a:lnTo>
                    <a:lnTo>
                      <a:pt x="10" y="7"/>
                    </a:lnTo>
                    <a:lnTo>
                      <a:pt x="10" y="7"/>
                    </a:lnTo>
                    <a:lnTo>
                      <a:pt x="12" y="10"/>
                    </a:lnTo>
                    <a:lnTo>
                      <a:pt x="12" y="10"/>
                    </a:lnTo>
                    <a:lnTo>
                      <a:pt x="15" y="10"/>
                    </a:lnTo>
                    <a:lnTo>
                      <a:pt x="15" y="12"/>
                    </a:lnTo>
                    <a:lnTo>
                      <a:pt x="17" y="12"/>
                    </a:lnTo>
                    <a:lnTo>
                      <a:pt x="17" y="12"/>
                    </a:lnTo>
                    <a:lnTo>
                      <a:pt x="17" y="10"/>
                    </a:lnTo>
                    <a:lnTo>
                      <a:pt x="17" y="10"/>
                    </a:lnTo>
                    <a:lnTo>
                      <a:pt x="17" y="7"/>
                    </a:lnTo>
                    <a:lnTo>
                      <a:pt x="17" y="7"/>
                    </a:lnTo>
                    <a:lnTo>
                      <a:pt x="17" y="7"/>
                    </a:lnTo>
                    <a:lnTo>
                      <a:pt x="17" y="7"/>
                    </a:lnTo>
                    <a:lnTo>
                      <a:pt x="17" y="5"/>
                    </a:lnTo>
                    <a:lnTo>
                      <a:pt x="17" y="5"/>
                    </a:lnTo>
                    <a:lnTo>
                      <a:pt x="17" y="5"/>
                    </a:lnTo>
                    <a:lnTo>
                      <a:pt x="12" y="3"/>
                    </a:lnTo>
                    <a:lnTo>
                      <a:pt x="12" y="3"/>
                    </a:lnTo>
                    <a:lnTo>
                      <a:pt x="12" y="3"/>
                    </a:lnTo>
                    <a:lnTo>
                      <a:pt x="12" y="3"/>
                    </a:lnTo>
                    <a:lnTo>
                      <a:pt x="10" y="3"/>
                    </a:lnTo>
                    <a:lnTo>
                      <a:pt x="10" y="3"/>
                    </a:lnTo>
                    <a:lnTo>
                      <a:pt x="7" y="3"/>
                    </a:lnTo>
                    <a:lnTo>
                      <a:pt x="7" y="0"/>
                    </a:lnTo>
                    <a:lnTo>
                      <a:pt x="7" y="3"/>
                    </a:lnTo>
                    <a:lnTo>
                      <a:pt x="5" y="3"/>
                    </a:lnTo>
                    <a:lnTo>
                      <a:pt x="5" y="3"/>
                    </a:lnTo>
                    <a:lnTo>
                      <a:pt x="5" y="3"/>
                    </a:lnTo>
                    <a:lnTo>
                      <a:pt x="3" y="3"/>
                    </a:lnTo>
                    <a:lnTo>
                      <a:pt x="3" y="3"/>
                    </a:lnTo>
                    <a:lnTo>
                      <a:pt x="0" y="3"/>
                    </a:lnTo>
                    <a:lnTo>
                      <a:pt x="0" y="3"/>
                    </a:lnTo>
                    <a:lnTo>
                      <a:pt x="3" y="5"/>
                    </a:lnTo>
                    <a:lnTo>
                      <a:pt x="3" y="7"/>
                    </a:lnTo>
                    <a:lnTo>
                      <a:pt x="3" y="10"/>
                    </a:lnTo>
                    <a:lnTo>
                      <a:pt x="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4" name="Freeform 87">
                <a:extLst>
                  <a:ext uri="{FF2B5EF4-FFF2-40B4-BE49-F238E27FC236}">
                    <a16:creationId xmlns:a16="http://schemas.microsoft.com/office/drawing/2014/main" id="{88F0EA91-0BEC-40B5-90E3-7234D4D22662}"/>
                  </a:ext>
                </a:extLst>
              </p:cNvPr>
              <p:cNvSpPr>
                <a:spLocks/>
              </p:cNvSpPr>
              <p:nvPr/>
            </p:nvSpPr>
            <p:spPr bwMode="gray">
              <a:xfrm>
                <a:off x="-3150" y="736"/>
                <a:ext cx="5" cy="24"/>
              </a:xfrm>
              <a:custGeom>
                <a:avLst/>
                <a:gdLst>
                  <a:gd name="T0" fmla="*/ 0 w 5"/>
                  <a:gd name="T1" fmla="*/ 24 h 24"/>
                  <a:gd name="T2" fmla="*/ 0 w 5"/>
                  <a:gd name="T3" fmla="*/ 24 h 24"/>
                  <a:gd name="T4" fmla="*/ 0 w 5"/>
                  <a:gd name="T5" fmla="*/ 24 h 24"/>
                  <a:gd name="T6" fmla="*/ 0 w 5"/>
                  <a:gd name="T7" fmla="*/ 24 h 24"/>
                  <a:gd name="T8" fmla="*/ 3 w 5"/>
                  <a:gd name="T9" fmla="*/ 24 h 24"/>
                  <a:gd name="T10" fmla="*/ 3 w 5"/>
                  <a:gd name="T11" fmla="*/ 24 h 24"/>
                  <a:gd name="T12" fmla="*/ 5 w 5"/>
                  <a:gd name="T13" fmla="*/ 24 h 24"/>
                  <a:gd name="T14" fmla="*/ 5 w 5"/>
                  <a:gd name="T15" fmla="*/ 22 h 24"/>
                  <a:gd name="T16" fmla="*/ 5 w 5"/>
                  <a:gd name="T17" fmla="*/ 19 h 24"/>
                  <a:gd name="T18" fmla="*/ 5 w 5"/>
                  <a:gd name="T19" fmla="*/ 17 h 24"/>
                  <a:gd name="T20" fmla="*/ 3 w 5"/>
                  <a:gd name="T21" fmla="*/ 17 h 24"/>
                  <a:gd name="T22" fmla="*/ 3 w 5"/>
                  <a:gd name="T23" fmla="*/ 12 h 24"/>
                  <a:gd name="T24" fmla="*/ 5 w 5"/>
                  <a:gd name="T25" fmla="*/ 8 h 24"/>
                  <a:gd name="T26" fmla="*/ 5 w 5"/>
                  <a:gd name="T27" fmla="*/ 5 h 24"/>
                  <a:gd name="T28" fmla="*/ 5 w 5"/>
                  <a:gd name="T29" fmla="*/ 3 h 24"/>
                  <a:gd name="T30" fmla="*/ 5 w 5"/>
                  <a:gd name="T31" fmla="*/ 3 h 24"/>
                  <a:gd name="T32" fmla="*/ 5 w 5"/>
                  <a:gd name="T33" fmla="*/ 0 h 24"/>
                  <a:gd name="T34" fmla="*/ 5 w 5"/>
                  <a:gd name="T35" fmla="*/ 0 h 24"/>
                  <a:gd name="T36" fmla="*/ 5 w 5"/>
                  <a:gd name="T37" fmla="*/ 0 h 24"/>
                  <a:gd name="T38" fmla="*/ 5 w 5"/>
                  <a:gd name="T39" fmla="*/ 3 h 24"/>
                  <a:gd name="T40" fmla="*/ 5 w 5"/>
                  <a:gd name="T41" fmla="*/ 3 h 24"/>
                  <a:gd name="T42" fmla="*/ 3 w 5"/>
                  <a:gd name="T43" fmla="*/ 3 h 24"/>
                  <a:gd name="T44" fmla="*/ 3 w 5"/>
                  <a:gd name="T45" fmla="*/ 3 h 24"/>
                  <a:gd name="T46" fmla="*/ 3 w 5"/>
                  <a:gd name="T47" fmla="*/ 3 h 24"/>
                  <a:gd name="T48" fmla="*/ 3 w 5"/>
                  <a:gd name="T49" fmla="*/ 5 h 24"/>
                  <a:gd name="T50" fmla="*/ 3 w 5"/>
                  <a:gd name="T51" fmla="*/ 5 h 24"/>
                  <a:gd name="T52" fmla="*/ 3 w 5"/>
                  <a:gd name="T53" fmla="*/ 5 h 24"/>
                  <a:gd name="T54" fmla="*/ 3 w 5"/>
                  <a:gd name="T55" fmla="*/ 8 h 24"/>
                  <a:gd name="T56" fmla="*/ 3 w 5"/>
                  <a:gd name="T57" fmla="*/ 8 h 24"/>
                  <a:gd name="T58" fmla="*/ 0 w 5"/>
                  <a:gd name="T59" fmla="*/ 8 h 24"/>
                  <a:gd name="T60" fmla="*/ 0 w 5"/>
                  <a:gd name="T61" fmla="*/ 10 h 24"/>
                  <a:gd name="T62" fmla="*/ 0 w 5"/>
                  <a:gd name="T63" fmla="*/ 19 h 24"/>
                  <a:gd name="T64" fmla="*/ 0 w 5"/>
                  <a:gd name="T65" fmla="*/ 22 h 24"/>
                  <a:gd name="T66" fmla="*/ 0 w 5"/>
                  <a:gd name="T67" fmla="*/ 22 h 24"/>
                  <a:gd name="T68" fmla="*/ 0 w 5"/>
                  <a:gd name="T6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 h="24">
                    <a:moveTo>
                      <a:pt x="0" y="24"/>
                    </a:moveTo>
                    <a:lnTo>
                      <a:pt x="0" y="24"/>
                    </a:lnTo>
                    <a:lnTo>
                      <a:pt x="0" y="24"/>
                    </a:lnTo>
                    <a:lnTo>
                      <a:pt x="0" y="24"/>
                    </a:lnTo>
                    <a:lnTo>
                      <a:pt x="3" y="24"/>
                    </a:lnTo>
                    <a:lnTo>
                      <a:pt x="3" y="24"/>
                    </a:lnTo>
                    <a:lnTo>
                      <a:pt x="5" y="24"/>
                    </a:lnTo>
                    <a:lnTo>
                      <a:pt x="5" y="22"/>
                    </a:lnTo>
                    <a:lnTo>
                      <a:pt x="5" y="19"/>
                    </a:lnTo>
                    <a:lnTo>
                      <a:pt x="5" y="17"/>
                    </a:lnTo>
                    <a:lnTo>
                      <a:pt x="3" y="17"/>
                    </a:lnTo>
                    <a:lnTo>
                      <a:pt x="3" y="12"/>
                    </a:lnTo>
                    <a:lnTo>
                      <a:pt x="5" y="8"/>
                    </a:lnTo>
                    <a:lnTo>
                      <a:pt x="5" y="5"/>
                    </a:lnTo>
                    <a:lnTo>
                      <a:pt x="5" y="3"/>
                    </a:lnTo>
                    <a:lnTo>
                      <a:pt x="5" y="3"/>
                    </a:lnTo>
                    <a:lnTo>
                      <a:pt x="5" y="0"/>
                    </a:lnTo>
                    <a:lnTo>
                      <a:pt x="5" y="0"/>
                    </a:lnTo>
                    <a:lnTo>
                      <a:pt x="5" y="0"/>
                    </a:lnTo>
                    <a:lnTo>
                      <a:pt x="5" y="3"/>
                    </a:lnTo>
                    <a:lnTo>
                      <a:pt x="5" y="3"/>
                    </a:lnTo>
                    <a:lnTo>
                      <a:pt x="3" y="3"/>
                    </a:lnTo>
                    <a:lnTo>
                      <a:pt x="3" y="3"/>
                    </a:lnTo>
                    <a:lnTo>
                      <a:pt x="3" y="3"/>
                    </a:lnTo>
                    <a:lnTo>
                      <a:pt x="3" y="5"/>
                    </a:lnTo>
                    <a:lnTo>
                      <a:pt x="3" y="5"/>
                    </a:lnTo>
                    <a:lnTo>
                      <a:pt x="3" y="5"/>
                    </a:lnTo>
                    <a:lnTo>
                      <a:pt x="3" y="8"/>
                    </a:lnTo>
                    <a:lnTo>
                      <a:pt x="3" y="8"/>
                    </a:lnTo>
                    <a:lnTo>
                      <a:pt x="0" y="8"/>
                    </a:lnTo>
                    <a:lnTo>
                      <a:pt x="0" y="10"/>
                    </a:lnTo>
                    <a:lnTo>
                      <a:pt x="0" y="19"/>
                    </a:lnTo>
                    <a:lnTo>
                      <a:pt x="0" y="22"/>
                    </a:lnTo>
                    <a:lnTo>
                      <a:pt x="0" y="22"/>
                    </a:lnTo>
                    <a:lnTo>
                      <a:pt x="0"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5" name="Freeform 88">
                <a:extLst>
                  <a:ext uri="{FF2B5EF4-FFF2-40B4-BE49-F238E27FC236}">
                    <a16:creationId xmlns:a16="http://schemas.microsoft.com/office/drawing/2014/main" id="{3658FD43-B192-4416-AC0A-B943346CAB70}"/>
                  </a:ext>
                </a:extLst>
              </p:cNvPr>
              <p:cNvSpPr>
                <a:spLocks/>
              </p:cNvSpPr>
              <p:nvPr/>
            </p:nvSpPr>
            <p:spPr bwMode="gray">
              <a:xfrm>
                <a:off x="-3121" y="897"/>
                <a:ext cx="4" cy="9"/>
              </a:xfrm>
              <a:custGeom>
                <a:avLst/>
                <a:gdLst>
                  <a:gd name="T0" fmla="*/ 2 w 4"/>
                  <a:gd name="T1" fmla="*/ 0 h 9"/>
                  <a:gd name="T2" fmla="*/ 0 w 4"/>
                  <a:gd name="T3" fmla="*/ 4 h 9"/>
                  <a:gd name="T4" fmla="*/ 0 w 4"/>
                  <a:gd name="T5" fmla="*/ 4 h 9"/>
                  <a:gd name="T6" fmla="*/ 0 w 4"/>
                  <a:gd name="T7" fmla="*/ 9 h 9"/>
                  <a:gd name="T8" fmla="*/ 2 w 4"/>
                  <a:gd name="T9" fmla="*/ 9 h 9"/>
                  <a:gd name="T10" fmla="*/ 2 w 4"/>
                  <a:gd name="T11" fmla="*/ 4 h 9"/>
                  <a:gd name="T12" fmla="*/ 2 w 4"/>
                  <a:gd name="T13" fmla="*/ 4 h 9"/>
                  <a:gd name="T14" fmla="*/ 4 w 4"/>
                  <a:gd name="T15" fmla="*/ 2 h 9"/>
                  <a:gd name="T16" fmla="*/ 4 w 4"/>
                  <a:gd name="T17" fmla="*/ 0 h 9"/>
                  <a:gd name="T18" fmla="*/ 2 w 4"/>
                  <a:gd name="T19" fmla="*/ 0 h 9"/>
                  <a:gd name="T20" fmla="*/ 2 w 4"/>
                  <a:gd name="T21" fmla="*/ 0 h 9"/>
                  <a:gd name="T22" fmla="*/ 2 w 4"/>
                  <a:gd name="T23" fmla="*/ 0 h 9"/>
                  <a:gd name="T24" fmla="*/ 2 w 4"/>
                  <a:gd name="T25" fmla="*/ 0 h 9"/>
                  <a:gd name="T26" fmla="*/ 2 w 4"/>
                  <a:gd name="T2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9">
                    <a:moveTo>
                      <a:pt x="2" y="0"/>
                    </a:moveTo>
                    <a:lnTo>
                      <a:pt x="0" y="4"/>
                    </a:lnTo>
                    <a:lnTo>
                      <a:pt x="0" y="4"/>
                    </a:lnTo>
                    <a:lnTo>
                      <a:pt x="0" y="9"/>
                    </a:lnTo>
                    <a:lnTo>
                      <a:pt x="2" y="9"/>
                    </a:lnTo>
                    <a:lnTo>
                      <a:pt x="2" y="4"/>
                    </a:lnTo>
                    <a:lnTo>
                      <a:pt x="2" y="4"/>
                    </a:lnTo>
                    <a:lnTo>
                      <a:pt x="4" y="2"/>
                    </a:lnTo>
                    <a:lnTo>
                      <a:pt x="4" y="0"/>
                    </a:lnTo>
                    <a:lnTo>
                      <a:pt x="2" y="0"/>
                    </a:lnTo>
                    <a:lnTo>
                      <a:pt x="2" y="0"/>
                    </a:lnTo>
                    <a:lnTo>
                      <a:pt x="2"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6" name="Freeform 89">
                <a:extLst>
                  <a:ext uri="{FF2B5EF4-FFF2-40B4-BE49-F238E27FC236}">
                    <a16:creationId xmlns:a16="http://schemas.microsoft.com/office/drawing/2014/main" id="{418BE574-8004-4AA7-8230-C8C485285BB5}"/>
                  </a:ext>
                </a:extLst>
              </p:cNvPr>
              <p:cNvSpPr>
                <a:spLocks/>
              </p:cNvSpPr>
              <p:nvPr/>
            </p:nvSpPr>
            <p:spPr bwMode="gray">
              <a:xfrm>
                <a:off x="-3121" y="890"/>
                <a:ext cx="4" cy="4"/>
              </a:xfrm>
              <a:custGeom>
                <a:avLst/>
                <a:gdLst>
                  <a:gd name="T0" fmla="*/ 4 w 4"/>
                  <a:gd name="T1" fmla="*/ 0 h 4"/>
                  <a:gd name="T2" fmla="*/ 4 w 4"/>
                  <a:gd name="T3" fmla="*/ 0 h 4"/>
                  <a:gd name="T4" fmla="*/ 4 w 4"/>
                  <a:gd name="T5" fmla="*/ 0 h 4"/>
                  <a:gd name="T6" fmla="*/ 2 w 4"/>
                  <a:gd name="T7" fmla="*/ 0 h 4"/>
                  <a:gd name="T8" fmla="*/ 2 w 4"/>
                  <a:gd name="T9" fmla="*/ 0 h 4"/>
                  <a:gd name="T10" fmla="*/ 0 w 4"/>
                  <a:gd name="T11" fmla="*/ 2 h 4"/>
                  <a:gd name="T12" fmla="*/ 2 w 4"/>
                  <a:gd name="T13" fmla="*/ 4 h 4"/>
                  <a:gd name="T14" fmla="*/ 2 w 4"/>
                  <a:gd name="T15" fmla="*/ 4 h 4"/>
                  <a:gd name="T16" fmla="*/ 4 w 4"/>
                  <a:gd name="T17" fmla="*/ 4 h 4"/>
                  <a:gd name="T18" fmla="*/ 4 w 4"/>
                  <a:gd name="T19" fmla="*/ 2 h 4"/>
                  <a:gd name="T20" fmla="*/ 4 w 4"/>
                  <a:gd name="T21" fmla="*/ 2 h 4"/>
                  <a:gd name="T22" fmla="*/ 4 w 4"/>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4">
                    <a:moveTo>
                      <a:pt x="4" y="0"/>
                    </a:moveTo>
                    <a:lnTo>
                      <a:pt x="4" y="0"/>
                    </a:lnTo>
                    <a:lnTo>
                      <a:pt x="4" y="0"/>
                    </a:lnTo>
                    <a:lnTo>
                      <a:pt x="2" y="0"/>
                    </a:lnTo>
                    <a:lnTo>
                      <a:pt x="2" y="0"/>
                    </a:lnTo>
                    <a:lnTo>
                      <a:pt x="0" y="2"/>
                    </a:lnTo>
                    <a:lnTo>
                      <a:pt x="2" y="4"/>
                    </a:lnTo>
                    <a:lnTo>
                      <a:pt x="2" y="4"/>
                    </a:lnTo>
                    <a:lnTo>
                      <a:pt x="4" y="4"/>
                    </a:lnTo>
                    <a:lnTo>
                      <a:pt x="4" y="2"/>
                    </a:lnTo>
                    <a:lnTo>
                      <a:pt x="4"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7" name="Freeform 90">
                <a:extLst>
                  <a:ext uri="{FF2B5EF4-FFF2-40B4-BE49-F238E27FC236}">
                    <a16:creationId xmlns:a16="http://schemas.microsoft.com/office/drawing/2014/main" id="{1D97AD0A-2FD1-48D3-88F8-FEB266468FA4}"/>
                  </a:ext>
                </a:extLst>
              </p:cNvPr>
              <p:cNvSpPr>
                <a:spLocks/>
              </p:cNvSpPr>
              <p:nvPr/>
            </p:nvSpPr>
            <p:spPr bwMode="gray">
              <a:xfrm>
                <a:off x="-3128" y="904"/>
                <a:ext cx="7" cy="4"/>
              </a:xfrm>
              <a:custGeom>
                <a:avLst/>
                <a:gdLst>
                  <a:gd name="T0" fmla="*/ 2 w 7"/>
                  <a:gd name="T1" fmla="*/ 2 h 4"/>
                  <a:gd name="T2" fmla="*/ 2 w 7"/>
                  <a:gd name="T3" fmla="*/ 4 h 4"/>
                  <a:gd name="T4" fmla="*/ 0 w 7"/>
                  <a:gd name="T5" fmla="*/ 4 h 4"/>
                  <a:gd name="T6" fmla="*/ 2 w 7"/>
                  <a:gd name="T7" fmla="*/ 4 h 4"/>
                  <a:gd name="T8" fmla="*/ 4 w 7"/>
                  <a:gd name="T9" fmla="*/ 4 h 4"/>
                  <a:gd name="T10" fmla="*/ 7 w 7"/>
                  <a:gd name="T11" fmla="*/ 4 h 4"/>
                  <a:gd name="T12" fmla="*/ 4 w 7"/>
                  <a:gd name="T13" fmla="*/ 2 h 4"/>
                  <a:gd name="T14" fmla="*/ 4 w 7"/>
                  <a:gd name="T15" fmla="*/ 0 h 4"/>
                  <a:gd name="T16" fmla="*/ 2 w 7"/>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
                    <a:moveTo>
                      <a:pt x="2" y="2"/>
                    </a:moveTo>
                    <a:lnTo>
                      <a:pt x="2" y="4"/>
                    </a:lnTo>
                    <a:lnTo>
                      <a:pt x="0" y="4"/>
                    </a:lnTo>
                    <a:lnTo>
                      <a:pt x="2" y="4"/>
                    </a:lnTo>
                    <a:lnTo>
                      <a:pt x="4" y="4"/>
                    </a:lnTo>
                    <a:lnTo>
                      <a:pt x="7" y="4"/>
                    </a:lnTo>
                    <a:lnTo>
                      <a:pt x="4" y="2"/>
                    </a:lnTo>
                    <a:lnTo>
                      <a:pt x="4" y="0"/>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8" name="Freeform 91">
                <a:extLst>
                  <a:ext uri="{FF2B5EF4-FFF2-40B4-BE49-F238E27FC236}">
                    <a16:creationId xmlns:a16="http://schemas.microsoft.com/office/drawing/2014/main" id="{13B4C1B1-76EE-45E2-B2EB-E5FEBD4D2AAC}"/>
                  </a:ext>
                </a:extLst>
              </p:cNvPr>
              <p:cNvSpPr>
                <a:spLocks/>
              </p:cNvSpPr>
              <p:nvPr/>
            </p:nvSpPr>
            <p:spPr bwMode="gray">
              <a:xfrm>
                <a:off x="-3187" y="793"/>
                <a:ext cx="7" cy="5"/>
              </a:xfrm>
              <a:custGeom>
                <a:avLst/>
                <a:gdLst>
                  <a:gd name="T0" fmla="*/ 2 w 7"/>
                  <a:gd name="T1" fmla="*/ 5 h 5"/>
                  <a:gd name="T2" fmla="*/ 7 w 7"/>
                  <a:gd name="T3" fmla="*/ 2 h 5"/>
                  <a:gd name="T4" fmla="*/ 7 w 7"/>
                  <a:gd name="T5" fmla="*/ 2 h 5"/>
                  <a:gd name="T6" fmla="*/ 7 w 7"/>
                  <a:gd name="T7" fmla="*/ 2 h 5"/>
                  <a:gd name="T8" fmla="*/ 4 w 7"/>
                  <a:gd name="T9" fmla="*/ 2 h 5"/>
                  <a:gd name="T10" fmla="*/ 4 w 7"/>
                  <a:gd name="T11" fmla="*/ 0 h 5"/>
                  <a:gd name="T12" fmla="*/ 2 w 7"/>
                  <a:gd name="T13" fmla="*/ 0 h 5"/>
                  <a:gd name="T14" fmla="*/ 0 w 7"/>
                  <a:gd name="T15" fmla="*/ 2 h 5"/>
                  <a:gd name="T16" fmla="*/ 0 w 7"/>
                  <a:gd name="T17" fmla="*/ 2 h 5"/>
                  <a:gd name="T18" fmla="*/ 0 w 7"/>
                  <a:gd name="T19" fmla="*/ 5 h 5"/>
                  <a:gd name="T20" fmla="*/ 2 w 7"/>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5">
                    <a:moveTo>
                      <a:pt x="2" y="5"/>
                    </a:moveTo>
                    <a:lnTo>
                      <a:pt x="7" y="2"/>
                    </a:lnTo>
                    <a:lnTo>
                      <a:pt x="7" y="2"/>
                    </a:lnTo>
                    <a:lnTo>
                      <a:pt x="7" y="2"/>
                    </a:lnTo>
                    <a:lnTo>
                      <a:pt x="4" y="2"/>
                    </a:lnTo>
                    <a:lnTo>
                      <a:pt x="4" y="0"/>
                    </a:lnTo>
                    <a:lnTo>
                      <a:pt x="2" y="0"/>
                    </a:lnTo>
                    <a:lnTo>
                      <a:pt x="0" y="2"/>
                    </a:lnTo>
                    <a:lnTo>
                      <a:pt x="0" y="2"/>
                    </a:lnTo>
                    <a:lnTo>
                      <a:pt x="0"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9" name="Freeform 92">
                <a:extLst>
                  <a:ext uri="{FF2B5EF4-FFF2-40B4-BE49-F238E27FC236}">
                    <a16:creationId xmlns:a16="http://schemas.microsoft.com/office/drawing/2014/main" id="{8DE85819-B3D7-4A23-BEF1-AA4BFDF6C73F}"/>
                  </a:ext>
                </a:extLst>
              </p:cNvPr>
              <p:cNvSpPr>
                <a:spLocks/>
              </p:cNvSpPr>
              <p:nvPr/>
            </p:nvSpPr>
            <p:spPr bwMode="gray">
              <a:xfrm>
                <a:off x="-3171" y="847"/>
                <a:ext cx="50" cy="50"/>
              </a:xfrm>
              <a:custGeom>
                <a:avLst/>
                <a:gdLst>
                  <a:gd name="T0" fmla="*/ 19 w 50"/>
                  <a:gd name="T1" fmla="*/ 0 h 50"/>
                  <a:gd name="T2" fmla="*/ 12 w 50"/>
                  <a:gd name="T3" fmla="*/ 3 h 50"/>
                  <a:gd name="T4" fmla="*/ 10 w 50"/>
                  <a:gd name="T5" fmla="*/ 5 h 50"/>
                  <a:gd name="T6" fmla="*/ 7 w 50"/>
                  <a:gd name="T7" fmla="*/ 5 h 50"/>
                  <a:gd name="T8" fmla="*/ 2 w 50"/>
                  <a:gd name="T9" fmla="*/ 7 h 50"/>
                  <a:gd name="T10" fmla="*/ 5 w 50"/>
                  <a:gd name="T11" fmla="*/ 10 h 50"/>
                  <a:gd name="T12" fmla="*/ 5 w 50"/>
                  <a:gd name="T13" fmla="*/ 14 h 50"/>
                  <a:gd name="T14" fmla="*/ 14 w 50"/>
                  <a:gd name="T15" fmla="*/ 17 h 50"/>
                  <a:gd name="T16" fmla="*/ 17 w 50"/>
                  <a:gd name="T17" fmla="*/ 21 h 50"/>
                  <a:gd name="T18" fmla="*/ 19 w 50"/>
                  <a:gd name="T19" fmla="*/ 21 h 50"/>
                  <a:gd name="T20" fmla="*/ 24 w 50"/>
                  <a:gd name="T21" fmla="*/ 19 h 50"/>
                  <a:gd name="T22" fmla="*/ 26 w 50"/>
                  <a:gd name="T23" fmla="*/ 21 h 50"/>
                  <a:gd name="T24" fmla="*/ 21 w 50"/>
                  <a:gd name="T25" fmla="*/ 26 h 50"/>
                  <a:gd name="T26" fmla="*/ 17 w 50"/>
                  <a:gd name="T27" fmla="*/ 26 h 50"/>
                  <a:gd name="T28" fmla="*/ 14 w 50"/>
                  <a:gd name="T29" fmla="*/ 31 h 50"/>
                  <a:gd name="T30" fmla="*/ 12 w 50"/>
                  <a:gd name="T31" fmla="*/ 33 h 50"/>
                  <a:gd name="T32" fmla="*/ 12 w 50"/>
                  <a:gd name="T33" fmla="*/ 36 h 50"/>
                  <a:gd name="T34" fmla="*/ 19 w 50"/>
                  <a:gd name="T35" fmla="*/ 38 h 50"/>
                  <a:gd name="T36" fmla="*/ 24 w 50"/>
                  <a:gd name="T37" fmla="*/ 36 h 50"/>
                  <a:gd name="T38" fmla="*/ 14 w 50"/>
                  <a:gd name="T39" fmla="*/ 40 h 50"/>
                  <a:gd name="T40" fmla="*/ 10 w 50"/>
                  <a:gd name="T41" fmla="*/ 40 h 50"/>
                  <a:gd name="T42" fmla="*/ 10 w 50"/>
                  <a:gd name="T43" fmla="*/ 43 h 50"/>
                  <a:gd name="T44" fmla="*/ 7 w 50"/>
                  <a:gd name="T45" fmla="*/ 43 h 50"/>
                  <a:gd name="T46" fmla="*/ 5 w 50"/>
                  <a:gd name="T47" fmla="*/ 40 h 50"/>
                  <a:gd name="T48" fmla="*/ 0 w 50"/>
                  <a:gd name="T49" fmla="*/ 40 h 50"/>
                  <a:gd name="T50" fmla="*/ 0 w 50"/>
                  <a:gd name="T51" fmla="*/ 47 h 50"/>
                  <a:gd name="T52" fmla="*/ 7 w 50"/>
                  <a:gd name="T53" fmla="*/ 50 h 50"/>
                  <a:gd name="T54" fmla="*/ 7 w 50"/>
                  <a:gd name="T55" fmla="*/ 47 h 50"/>
                  <a:gd name="T56" fmla="*/ 17 w 50"/>
                  <a:gd name="T57" fmla="*/ 47 h 50"/>
                  <a:gd name="T58" fmla="*/ 19 w 50"/>
                  <a:gd name="T59" fmla="*/ 45 h 50"/>
                  <a:gd name="T60" fmla="*/ 21 w 50"/>
                  <a:gd name="T61" fmla="*/ 47 h 50"/>
                  <a:gd name="T62" fmla="*/ 28 w 50"/>
                  <a:gd name="T63" fmla="*/ 40 h 50"/>
                  <a:gd name="T64" fmla="*/ 33 w 50"/>
                  <a:gd name="T65" fmla="*/ 40 h 50"/>
                  <a:gd name="T66" fmla="*/ 36 w 50"/>
                  <a:gd name="T67" fmla="*/ 38 h 50"/>
                  <a:gd name="T68" fmla="*/ 36 w 50"/>
                  <a:gd name="T69" fmla="*/ 40 h 50"/>
                  <a:gd name="T70" fmla="*/ 33 w 50"/>
                  <a:gd name="T71" fmla="*/ 43 h 50"/>
                  <a:gd name="T72" fmla="*/ 45 w 50"/>
                  <a:gd name="T73" fmla="*/ 38 h 50"/>
                  <a:gd name="T74" fmla="*/ 47 w 50"/>
                  <a:gd name="T75" fmla="*/ 36 h 50"/>
                  <a:gd name="T76" fmla="*/ 40 w 50"/>
                  <a:gd name="T77" fmla="*/ 38 h 50"/>
                  <a:gd name="T78" fmla="*/ 45 w 50"/>
                  <a:gd name="T79" fmla="*/ 33 h 50"/>
                  <a:gd name="T80" fmla="*/ 45 w 50"/>
                  <a:gd name="T81" fmla="*/ 31 h 50"/>
                  <a:gd name="T82" fmla="*/ 45 w 50"/>
                  <a:gd name="T83" fmla="*/ 33 h 50"/>
                  <a:gd name="T84" fmla="*/ 50 w 50"/>
                  <a:gd name="T85" fmla="*/ 33 h 50"/>
                  <a:gd name="T86" fmla="*/ 47 w 50"/>
                  <a:gd name="T87" fmla="*/ 28 h 50"/>
                  <a:gd name="T88" fmla="*/ 50 w 50"/>
                  <a:gd name="T89" fmla="*/ 28 h 50"/>
                  <a:gd name="T90" fmla="*/ 50 w 50"/>
                  <a:gd name="T91" fmla="*/ 26 h 50"/>
                  <a:gd name="T92" fmla="*/ 47 w 50"/>
                  <a:gd name="T93" fmla="*/ 24 h 50"/>
                  <a:gd name="T94" fmla="*/ 45 w 50"/>
                  <a:gd name="T95" fmla="*/ 21 h 50"/>
                  <a:gd name="T96" fmla="*/ 43 w 50"/>
                  <a:gd name="T97" fmla="*/ 21 h 50"/>
                  <a:gd name="T98" fmla="*/ 40 w 50"/>
                  <a:gd name="T99" fmla="*/ 17 h 50"/>
                  <a:gd name="T100" fmla="*/ 38 w 50"/>
                  <a:gd name="T101" fmla="*/ 19 h 50"/>
                  <a:gd name="T102" fmla="*/ 28 w 50"/>
                  <a:gd name="T103" fmla="*/ 17 h 50"/>
                  <a:gd name="T104" fmla="*/ 28 w 50"/>
                  <a:gd name="T105" fmla="*/ 14 h 50"/>
                  <a:gd name="T106" fmla="*/ 24 w 50"/>
                  <a:gd name="T107" fmla="*/ 5 h 50"/>
                  <a:gd name="T108" fmla="*/ 21 w 50"/>
                  <a:gd name="T109"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0" h="50">
                    <a:moveTo>
                      <a:pt x="21" y="3"/>
                    </a:moveTo>
                    <a:lnTo>
                      <a:pt x="21" y="3"/>
                    </a:lnTo>
                    <a:lnTo>
                      <a:pt x="19" y="0"/>
                    </a:lnTo>
                    <a:lnTo>
                      <a:pt x="17" y="0"/>
                    </a:lnTo>
                    <a:lnTo>
                      <a:pt x="14" y="0"/>
                    </a:lnTo>
                    <a:lnTo>
                      <a:pt x="12" y="3"/>
                    </a:lnTo>
                    <a:lnTo>
                      <a:pt x="10" y="3"/>
                    </a:lnTo>
                    <a:lnTo>
                      <a:pt x="10" y="5"/>
                    </a:lnTo>
                    <a:lnTo>
                      <a:pt x="10" y="5"/>
                    </a:lnTo>
                    <a:lnTo>
                      <a:pt x="10" y="5"/>
                    </a:lnTo>
                    <a:lnTo>
                      <a:pt x="7" y="5"/>
                    </a:lnTo>
                    <a:lnTo>
                      <a:pt x="7" y="5"/>
                    </a:lnTo>
                    <a:lnTo>
                      <a:pt x="7" y="5"/>
                    </a:lnTo>
                    <a:lnTo>
                      <a:pt x="5" y="5"/>
                    </a:lnTo>
                    <a:lnTo>
                      <a:pt x="2" y="7"/>
                    </a:lnTo>
                    <a:lnTo>
                      <a:pt x="2" y="7"/>
                    </a:lnTo>
                    <a:lnTo>
                      <a:pt x="5" y="10"/>
                    </a:lnTo>
                    <a:lnTo>
                      <a:pt x="5" y="10"/>
                    </a:lnTo>
                    <a:lnTo>
                      <a:pt x="2" y="12"/>
                    </a:lnTo>
                    <a:lnTo>
                      <a:pt x="2" y="14"/>
                    </a:lnTo>
                    <a:lnTo>
                      <a:pt x="5" y="14"/>
                    </a:lnTo>
                    <a:lnTo>
                      <a:pt x="5" y="17"/>
                    </a:lnTo>
                    <a:lnTo>
                      <a:pt x="12" y="17"/>
                    </a:lnTo>
                    <a:lnTo>
                      <a:pt x="14" y="17"/>
                    </a:lnTo>
                    <a:lnTo>
                      <a:pt x="14" y="19"/>
                    </a:lnTo>
                    <a:lnTo>
                      <a:pt x="14" y="19"/>
                    </a:lnTo>
                    <a:lnTo>
                      <a:pt x="17" y="21"/>
                    </a:lnTo>
                    <a:lnTo>
                      <a:pt x="17" y="24"/>
                    </a:lnTo>
                    <a:lnTo>
                      <a:pt x="17" y="24"/>
                    </a:lnTo>
                    <a:lnTo>
                      <a:pt x="19" y="21"/>
                    </a:lnTo>
                    <a:lnTo>
                      <a:pt x="19" y="21"/>
                    </a:lnTo>
                    <a:lnTo>
                      <a:pt x="21" y="21"/>
                    </a:lnTo>
                    <a:lnTo>
                      <a:pt x="24" y="19"/>
                    </a:lnTo>
                    <a:lnTo>
                      <a:pt x="26" y="19"/>
                    </a:lnTo>
                    <a:lnTo>
                      <a:pt x="26" y="21"/>
                    </a:lnTo>
                    <a:lnTo>
                      <a:pt x="26" y="21"/>
                    </a:lnTo>
                    <a:lnTo>
                      <a:pt x="26" y="24"/>
                    </a:lnTo>
                    <a:lnTo>
                      <a:pt x="24" y="24"/>
                    </a:lnTo>
                    <a:lnTo>
                      <a:pt x="21" y="26"/>
                    </a:lnTo>
                    <a:lnTo>
                      <a:pt x="17" y="26"/>
                    </a:lnTo>
                    <a:lnTo>
                      <a:pt x="17" y="26"/>
                    </a:lnTo>
                    <a:lnTo>
                      <a:pt x="17" y="26"/>
                    </a:lnTo>
                    <a:lnTo>
                      <a:pt x="17" y="28"/>
                    </a:lnTo>
                    <a:lnTo>
                      <a:pt x="17" y="28"/>
                    </a:lnTo>
                    <a:lnTo>
                      <a:pt x="14" y="31"/>
                    </a:lnTo>
                    <a:lnTo>
                      <a:pt x="14" y="33"/>
                    </a:lnTo>
                    <a:lnTo>
                      <a:pt x="14" y="33"/>
                    </a:lnTo>
                    <a:lnTo>
                      <a:pt x="12" y="33"/>
                    </a:lnTo>
                    <a:lnTo>
                      <a:pt x="12" y="33"/>
                    </a:lnTo>
                    <a:lnTo>
                      <a:pt x="12" y="36"/>
                    </a:lnTo>
                    <a:lnTo>
                      <a:pt x="12" y="36"/>
                    </a:lnTo>
                    <a:lnTo>
                      <a:pt x="14" y="38"/>
                    </a:lnTo>
                    <a:lnTo>
                      <a:pt x="14" y="38"/>
                    </a:lnTo>
                    <a:lnTo>
                      <a:pt x="19" y="38"/>
                    </a:lnTo>
                    <a:lnTo>
                      <a:pt x="24" y="33"/>
                    </a:lnTo>
                    <a:lnTo>
                      <a:pt x="24" y="33"/>
                    </a:lnTo>
                    <a:lnTo>
                      <a:pt x="24" y="36"/>
                    </a:lnTo>
                    <a:lnTo>
                      <a:pt x="24" y="36"/>
                    </a:lnTo>
                    <a:lnTo>
                      <a:pt x="19" y="38"/>
                    </a:lnTo>
                    <a:lnTo>
                      <a:pt x="14" y="40"/>
                    </a:lnTo>
                    <a:lnTo>
                      <a:pt x="14" y="40"/>
                    </a:lnTo>
                    <a:lnTo>
                      <a:pt x="12" y="40"/>
                    </a:lnTo>
                    <a:lnTo>
                      <a:pt x="10" y="40"/>
                    </a:lnTo>
                    <a:lnTo>
                      <a:pt x="7" y="40"/>
                    </a:lnTo>
                    <a:lnTo>
                      <a:pt x="10" y="40"/>
                    </a:lnTo>
                    <a:lnTo>
                      <a:pt x="10" y="43"/>
                    </a:lnTo>
                    <a:lnTo>
                      <a:pt x="10" y="43"/>
                    </a:lnTo>
                    <a:lnTo>
                      <a:pt x="10" y="43"/>
                    </a:lnTo>
                    <a:lnTo>
                      <a:pt x="7" y="43"/>
                    </a:lnTo>
                    <a:lnTo>
                      <a:pt x="7" y="43"/>
                    </a:lnTo>
                    <a:lnTo>
                      <a:pt x="7" y="40"/>
                    </a:lnTo>
                    <a:lnTo>
                      <a:pt x="5" y="40"/>
                    </a:lnTo>
                    <a:lnTo>
                      <a:pt x="5" y="40"/>
                    </a:lnTo>
                    <a:lnTo>
                      <a:pt x="2" y="40"/>
                    </a:lnTo>
                    <a:lnTo>
                      <a:pt x="0" y="40"/>
                    </a:lnTo>
                    <a:lnTo>
                      <a:pt x="0" y="43"/>
                    </a:lnTo>
                    <a:lnTo>
                      <a:pt x="0" y="45"/>
                    </a:lnTo>
                    <a:lnTo>
                      <a:pt x="0" y="47"/>
                    </a:lnTo>
                    <a:lnTo>
                      <a:pt x="2" y="47"/>
                    </a:lnTo>
                    <a:lnTo>
                      <a:pt x="5" y="50"/>
                    </a:lnTo>
                    <a:lnTo>
                      <a:pt x="7" y="50"/>
                    </a:lnTo>
                    <a:lnTo>
                      <a:pt x="7" y="50"/>
                    </a:lnTo>
                    <a:lnTo>
                      <a:pt x="7" y="50"/>
                    </a:lnTo>
                    <a:lnTo>
                      <a:pt x="7" y="47"/>
                    </a:lnTo>
                    <a:lnTo>
                      <a:pt x="7" y="47"/>
                    </a:lnTo>
                    <a:lnTo>
                      <a:pt x="10" y="47"/>
                    </a:lnTo>
                    <a:lnTo>
                      <a:pt x="17" y="47"/>
                    </a:lnTo>
                    <a:lnTo>
                      <a:pt x="17" y="47"/>
                    </a:lnTo>
                    <a:lnTo>
                      <a:pt x="19" y="45"/>
                    </a:lnTo>
                    <a:lnTo>
                      <a:pt x="19" y="45"/>
                    </a:lnTo>
                    <a:lnTo>
                      <a:pt x="19" y="45"/>
                    </a:lnTo>
                    <a:lnTo>
                      <a:pt x="21" y="47"/>
                    </a:lnTo>
                    <a:lnTo>
                      <a:pt x="21" y="47"/>
                    </a:lnTo>
                    <a:lnTo>
                      <a:pt x="21" y="45"/>
                    </a:lnTo>
                    <a:lnTo>
                      <a:pt x="24" y="45"/>
                    </a:lnTo>
                    <a:lnTo>
                      <a:pt x="28" y="40"/>
                    </a:lnTo>
                    <a:lnTo>
                      <a:pt x="31" y="40"/>
                    </a:lnTo>
                    <a:lnTo>
                      <a:pt x="31" y="40"/>
                    </a:lnTo>
                    <a:lnTo>
                      <a:pt x="33" y="40"/>
                    </a:lnTo>
                    <a:lnTo>
                      <a:pt x="33" y="38"/>
                    </a:lnTo>
                    <a:lnTo>
                      <a:pt x="33" y="38"/>
                    </a:lnTo>
                    <a:lnTo>
                      <a:pt x="36" y="38"/>
                    </a:lnTo>
                    <a:lnTo>
                      <a:pt x="36" y="38"/>
                    </a:lnTo>
                    <a:lnTo>
                      <a:pt x="36" y="38"/>
                    </a:lnTo>
                    <a:lnTo>
                      <a:pt x="36" y="40"/>
                    </a:lnTo>
                    <a:lnTo>
                      <a:pt x="36" y="40"/>
                    </a:lnTo>
                    <a:lnTo>
                      <a:pt x="36" y="40"/>
                    </a:lnTo>
                    <a:lnTo>
                      <a:pt x="33" y="43"/>
                    </a:lnTo>
                    <a:lnTo>
                      <a:pt x="36" y="43"/>
                    </a:lnTo>
                    <a:lnTo>
                      <a:pt x="40" y="43"/>
                    </a:lnTo>
                    <a:lnTo>
                      <a:pt x="45" y="38"/>
                    </a:lnTo>
                    <a:lnTo>
                      <a:pt x="47" y="38"/>
                    </a:lnTo>
                    <a:lnTo>
                      <a:pt x="47" y="36"/>
                    </a:lnTo>
                    <a:lnTo>
                      <a:pt x="47" y="36"/>
                    </a:lnTo>
                    <a:lnTo>
                      <a:pt x="43" y="36"/>
                    </a:lnTo>
                    <a:lnTo>
                      <a:pt x="43" y="36"/>
                    </a:lnTo>
                    <a:lnTo>
                      <a:pt x="40" y="38"/>
                    </a:lnTo>
                    <a:lnTo>
                      <a:pt x="40" y="36"/>
                    </a:lnTo>
                    <a:lnTo>
                      <a:pt x="43" y="33"/>
                    </a:lnTo>
                    <a:lnTo>
                      <a:pt x="45" y="33"/>
                    </a:lnTo>
                    <a:lnTo>
                      <a:pt x="45" y="31"/>
                    </a:lnTo>
                    <a:lnTo>
                      <a:pt x="45" y="31"/>
                    </a:lnTo>
                    <a:lnTo>
                      <a:pt x="45" y="31"/>
                    </a:lnTo>
                    <a:lnTo>
                      <a:pt x="45" y="31"/>
                    </a:lnTo>
                    <a:lnTo>
                      <a:pt x="47" y="31"/>
                    </a:lnTo>
                    <a:lnTo>
                      <a:pt x="45" y="33"/>
                    </a:lnTo>
                    <a:lnTo>
                      <a:pt x="47" y="33"/>
                    </a:lnTo>
                    <a:lnTo>
                      <a:pt x="50" y="33"/>
                    </a:lnTo>
                    <a:lnTo>
                      <a:pt x="50" y="33"/>
                    </a:lnTo>
                    <a:lnTo>
                      <a:pt x="50" y="31"/>
                    </a:lnTo>
                    <a:lnTo>
                      <a:pt x="47" y="28"/>
                    </a:lnTo>
                    <a:lnTo>
                      <a:pt x="47" y="28"/>
                    </a:lnTo>
                    <a:lnTo>
                      <a:pt x="50" y="28"/>
                    </a:lnTo>
                    <a:lnTo>
                      <a:pt x="50" y="28"/>
                    </a:lnTo>
                    <a:lnTo>
                      <a:pt x="50" y="28"/>
                    </a:lnTo>
                    <a:lnTo>
                      <a:pt x="50" y="26"/>
                    </a:lnTo>
                    <a:lnTo>
                      <a:pt x="50" y="26"/>
                    </a:lnTo>
                    <a:lnTo>
                      <a:pt x="50" y="26"/>
                    </a:lnTo>
                    <a:lnTo>
                      <a:pt x="47" y="26"/>
                    </a:lnTo>
                    <a:lnTo>
                      <a:pt x="47" y="24"/>
                    </a:lnTo>
                    <a:lnTo>
                      <a:pt x="47" y="24"/>
                    </a:lnTo>
                    <a:lnTo>
                      <a:pt x="47" y="21"/>
                    </a:lnTo>
                    <a:lnTo>
                      <a:pt x="45" y="21"/>
                    </a:lnTo>
                    <a:lnTo>
                      <a:pt x="45" y="21"/>
                    </a:lnTo>
                    <a:lnTo>
                      <a:pt x="45" y="21"/>
                    </a:lnTo>
                    <a:lnTo>
                      <a:pt x="43" y="21"/>
                    </a:lnTo>
                    <a:lnTo>
                      <a:pt x="43" y="21"/>
                    </a:lnTo>
                    <a:lnTo>
                      <a:pt x="40" y="19"/>
                    </a:lnTo>
                    <a:lnTo>
                      <a:pt x="40" y="17"/>
                    </a:lnTo>
                    <a:lnTo>
                      <a:pt x="40" y="17"/>
                    </a:lnTo>
                    <a:lnTo>
                      <a:pt x="38" y="17"/>
                    </a:lnTo>
                    <a:lnTo>
                      <a:pt x="38" y="19"/>
                    </a:lnTo>
                    <a:lnTo>
                      <a:pt x="38" y="19"/>
                    </a:lnTo>
                    <a:lnTo>
                      <a:pt x="38" y="17"/>
                    </a:lnTo>
                    <a:lnTo>
                      <a:pt x="36" y="17"/>
                    </a:lnTo>
                    <a:lnTo>
                      <a:pt x="28" y="17"/>
                    </a:lnTo>
                    <a:lnTo>
                      <a:pt x="28" y="17"/>
                    </a:lnTo>
                    <a:lnTo>
                      <a:pt x="28" y="17"/>
                    </a:lnTo>
                    <a:lnTo>
                      <a:pt x="28" y="14"/>
                    </a:lnTo>
                    <a:lnTo>
                      <a:pt x="28" y="14"/>
                    </a:lnTo>
                    <a:lnTo>
                      <a:pt x="26" y="7"/>
                    </a:lnTo>
                    <a:lnTo>
                      <a:pt x="24" y="5"/>
                    </a:lnTo>
                    <a:lnTo>
                      <a:pt x="21" y="5"/>
                    </a:lnTo>
                    <a:lnTo>
                      <a:pt x="21" y="5"/>
                    </a:lnTo>
                    <a:lnTo>
                      <a:pt x="21"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0" name="Freeform 93">
                <a:extLst>
                  <a:ext uri="{FF2B5EF4-FFF2-40B4-BE49-F238E27FC236}">
                    <a16:creationId xmlns:a16="http://schemas.microsoft.com/office/drawing/2014/main" id="{C283A474-10D2-4079-8CCD-892F73BBF677}"/>
                  </a:ext>
                </a:extLst>
              </p:cNvPr>
              <p:cNvSpPr>
                <a:spLocks/>
              </p:cNvSpPr>
              <p:nvPr/>
            </p:nvSpPr>
            <p:spPr bwMode="gray">
              <a:xfrm>
                <a:off x="-3178" y="795"/>
                <a:ext cx="17" cy="15"/>
              </a:xfrm>
              <a:custGeom>
                <a:avLst/>
                <a:gdLst>
                  <a:gd name="T0" fmla="*/ 14 w 17"/>
                  <a:gd name="T1" fmla="*/ 5 h 15"/>
                  <a:gd name="T2" fmla="*/ 14 w 17"/>
                  <a:gd name="T3" fmla="*/ 3 h 15"/>
                  <a:gd name="T4" fmla="*/ 9 w 17"/>
                  <a:gd name="T5" fmla="*/ 0 h 15"/>
                  <a:gd name="T6" fmla="*/ 7 w 17"/>
                  <a:gd name="T7" fmla="*/ 0 h 15"/>
                  <a:gd name="T8" fmla="*/ 5 w 17"/>
                  <a:gd name="T9" fmla="*/ 3 h 15"/>
                  <a:gd name="T10" fmla="*/ 0 w 17"/>
                  <a:gd name="T11" fmla="*/ 7 h 15"/>
                  <a:gd name="T12" fmla="*/ 2 w 17"/>
                  <a:gd name="T13" fmla="*/ 7 h 15"/>
                  <a:gd name="T14" fmla="*/ 5 w 17"/>
                  <a:gd name="T15" fmla="*/ 10 h 15"/>
                  <a:gd name="T16" fmla="*/ 5 w 17"/>
                  <a:gd name="T17" fmla="*/ 10 h 15"/>
                  <a:gd name="T18" fmla="*/ 7 w 17"/>
                  <a:gd name="T19" fmla="*/ 12 h 15"/>
                  <a:gd name="T20" fmla="*/ 7 w 17"/>
                  <a:gd name="T21" fmla="*/ 15 h 15"/>
                  <a:gd name="T22" fmla="*/ 9 w 17"/>
                  <a:gd name="T23" fmla="*/ 15 h 15"/>
                  <a:gd name="T24" fmla="*/ 12 w 17"/>
                  <a:gd name="T25" fmla="*/ 15 h 15"/>
                  <a:gd name="T26" fmla="*/ 14 w 17"/>
                  <a:gd name="T27" fmla="*/ 15 h 15"/>
                  <a:gd name="T28" fmla="*/ 14 w 17"/>
                  <a:gd name="T29" fmla="*/ 12 h 15"/>
                  <a:gd name="T30" fmla="*/ 17 w 17"/>
                  <a:gd name="T31" fmla="*/ 7 h 15"/>
                  <a:gd name="T32" fmla="*/ 14 w 17"/>
                  <a:gd name="T33" fmla="*/ 7 h 15"/>
                  <a:gd name="T34" fmla="*/ 14 w 17"/>
                  <a:gd name="T35" fmla="*/ 5 h 15"/>
                  <a:gd name="T36" fmla="*/ 14 w 17"/>
                  <a:gd name="T3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15">
                    <a:moveTo>
                      <a:pt x="14" y="5"/>
                    </a:moveTo>
                    <a:lnTo>
                      <a:pt x="14" y="3"/>
                    </a:lnTo>
                    <a:lnTo>
                      <a:pt x="9" y="0"/>
                    </a:lnTo>
                    <a:lnTo>
                      <a:pt x="7" y="0"/>
                    </a:lnTo>
                    <a:lnTo>
                      <a:pt x="5" y="3"/>
                    </a:lnTo>
                    <a:lnTo>
                      <a:pt x="0" y="7"/>
                    </a:lnTo>
                    <a:lnTo>
                      <a:pt x="2" y="7"/>
                    </a:lnTo>
                    <a:lnTo>
                      <a:pt x="5" y="10"/>
                    </a:lnTo>
                    <a:lnTo>
                      <a:pt x="5" y="10"/>
                    </a:lnTo>
                    <a:lnTo>
                      <a:pt x="7" y="12"/>
                    </a:lnTo>
                    <a:lnTo>
                      <a:pt x="7" y="15"/>
                    </a:lnTo>
                    <a:lnTo>
                      <a:pt x="9" y="15"/>
                    </a:lnTo>
                    <a:lnTo>
                      <a:pt x="12" y="15"/>
                    </a:lnTo>
                    <a:lnTo>
                      <a:pt x="14" y="15"/>
                    </a:lnTo>
                    <a:lnTo>
                      <a:pt x="14" y="12"/>
                    </a:lnTo>
                    <a:lnTo>
                      <a:pt x="17" y="7"/>
                    </a:lnTo>
                    <a:lnTo>
                      <a:pt x="14" y="7"/>
                    </a:lnTo>
                    <a:lnTo>
                      <a:pt x="14" y="5"/>
                    </a:lnTo>
                    <a:lnTo>
                      <a:pt x="1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81" name="Freeform 94">
                <a:extLst>
                  <a:ext uri="{FF2B5EF4-FFF2-40B4-BE49-F238E27FC236}">
                    <a16:creationId xmlns:a16="http://schemas.microsoft.com/office/drawing/2014/main" id="{89CCB0CD-B9ED-4712-816A-F275A4826E54}"/>
                  </a:ext>
                </a:extLst>
              </p:cNvPr>
              <p:cNvSpPr>
                <a:spLocks/>
              </p:cNvSpPr>
              <p:nvPr/>
            </p:nvSpPr>
            <p:spPr bwMode="gray">
              <a:xfrm>
                <a:off x="-3145" y="727"/>
                <a:ext cx="2" cy="9"/>
              </a:xfrm>
              <a:custGeom>
                <a:avLst/>
                <a:gdLst>
                  <a:gd name="T0" fmla="*/ 2 w 2"/>
                  <a:gd name="T1" fmla="*/ 9 h 9"/>
                  <a:gd name="T2" fmla="*/ 2 w 2"/>
                  <a:gd name="T3" fmla="*/ 7 h 9"/>
                  <a:gd name="T4" fmla="*/ 2 w 2"/>
                  <a:gd name="T5" fmla="*/ 2 h 9"/>
                  <a:gd name="T6" fmla="*/ 2 w 2"/>
                  <a:gd name="T7" fmla="*/ 0 h 9"/>
                  <a:gd name="T8" fmla="*/ 2 w 2"/>
                  <a:gd name="T9" fmla="*/ 2 h 9"/>
                  <a:gd name="T10" fmla="*/ 2 w 2"/>
                  <a:gd name="T11" fmla="*/ 2 h 9"/>
                  <a:gd name="T12" fmla="*/ 0 w 2"/>
                  <a:gd name="T13" fmla="*/ 2 h 9"/>
                  <a:gd name="T14" fmla="*/ 0 w 2"/>
                  <a:gd name="T15" fmla="*/ 2 h 9"/>
                  <a:gd name="T16" fmla="*/ 2 w 2"/>
                  <a:gd name="T17" fmla="*/ 5 h 9"/>
                  <a:gd name="T18" fmla="*/ 0 w 2"/>
                  <a:gd name="T19" fmla="*/ 5 h 9"/>
                  <a:gd name="T20" fmla="*/ 0 w 2"/>
                  <a:gd name="T21" fmla="*/ 7 h 9"/>
                  <a:gd name="T22" fmla="*/ 0 w 2"/>
                  <a:gd name="T23" fmla="*/ 9 h 9"/>
                  <a:gd name="T24" fmla="*/ 2 w 2"/>
                  <a:gd name="T2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9">
                    <a:moveTo>
                      <a:pt x="2" y="9"/>
                    </a:moveTo>
                    <a:lnTo>
                      <a:pt x="2" y="7"/>
                    </a:lnTo>
                    <a:lnTo>
                      <a:pt x="2" y="2"/>
                    </a:lnTo>
                    <a:lnTo>
                      <a:pt x="2" y="0"/>
                    </a:lnTo>
                    <a:lnTo>
                      <a:pt x="2" y="2"/>
                    </a:lnTo>
                    <a:lnTo>
                      <a:pt x="2" y="2"/>
                    </a:lnTo>
                    <a:lnTo>
                      <a:pt x="0" y="2"/>
                    </a:lnTo>
                    <a:lnTo>
                      <a:pt x="0" y="2"/>
                    </a:lnTo>
                    <a:lnTo>
                      <a:pt x="2" y="5"/>
                    </a:lnTo>
                    <a:lnTo>
                      <a:pt x="0" y="5"/>
                    </a:lnTo>
                    <a:lnTo>
                      <a:pt x="0" y="7"/>
                    </a:lnTo>
                    <a:lnTo>
                      <a:pt x="0" y="9"/>
                    </a:lnTo>
                    <a:lnTo>
                      <a:pt x="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82" name="Freeform 95">
                <a:extLst>
                  <a:ext uri="{FF2B5EF4-FFF2-40B4-BE49-F238E27FC236}">
                    <a16:creationId xmlns:a16="http://schemas.microsoft.com/office/drawing/2014/main" id="{85F65499-719B-476B-8525-9DAE8E7F6A85}"/>
                  </a:ext>
                </a:extLst>
              </p:cNvPr>
              <p:cNvSpPr>
                <a:spLocks/>
              </p:cNvSpPr>
              <p:nvPr/>
            </p:nvSpPr>
            <p:spPr bwMode="gray">
              <a:xfrm>
                <a:off x="-3147" y="760"/>
                <a:ext cx="7" cy="7"/>
              </a:xfrm>
              <a:custGeom>
                <a:avLst/>
                <a:gdLst>
                  <a:gd name="T0" fmla="*/ 2 w 7"/>
                  <a:gd name="T1" fmla="*/ 0 h 7"/>
                  <a:gd name="T2" fmla="*/ 0 w 7"/>
                  <a:gd name="T3" fmla="*/ 2 h 7"/>
                  <a:gd name="T4" fmla="*/ 2 w 7"/>
                  <a:gd name="T5" fmla="*/ 5 h 7"/>
                  <a:gd name="T6" fmla="*/ 2 w 7"/>
                  <a:gd name="T7" fmla="*/ 5 h 7"/>
                  <a:gd name="T8" fmla="*/ 4 w 7"/>
                  <a:gd name="T9" fmla="*/ 7 h 7"/>
                  <a:gd name="T10" fmla="*/ 7 w 7"/>
                  <a:gd name="T11" fmla="*/ 5 h 7"/>
                  <a:gd name="T12" fmla="*/ 7 w 7"/>
                  <a:gd name="T13" fmla="*/ 2 h 7"/>
                  <a:gd name="T14" fmla="*/ 4 w 7"/>
                  <a:gd name="T15" fmla="*/ 2 h 7"/>
                  <a:gd name="T16" fmla="*/ 2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2" y="0"/>
                    </a:moveTo>
                    <a:lnTo>
                      <a:pt x="0" y="2"/>
                    </a:lnTo>
                    <a:lnTo>
                      <a:pt x="2" y="5"/>
                    </a:lnTo>
                    <a:lnTo>
                      <a:pt x="2" y="5"/>
                    </a:lnTo>
                    <a:lnTo>
                      <a:pt x="4" y="7"/>
                    </a:lnTo>
                    <a:lnTo>
                      <a:pt x="7" y="5"/>
                    </a:lnTo>
                    <a:lnTo>
                      <a:pt x="7" y="2"/>
                    </a:lnTo>
                    <a:lnTo>
                      <a:pt x="4"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83" name="Freeform 96">
                <a:extLst>
                  <a:ext uri="{FF2B5EF4-FFF2-40B4-BE49-F238E27FC236}">
                    <a16:creationId xmlns:a16="http://schemas.microsoft.com/office/drawing/2014/main" id="{8E13118E-5853-4ED7-8647-E15A95219145}"/>
                  </a:ext>
                </a:extLst>
              </p:cNvPr>
              <p:cNvSpPr>
                <a:spLocks/>
              </p:cNvSpPr>
              <p:nvPr/>
            </p:nvSpPr>
            <p:spPr bwMode="gray">
              <a:xfrm>
                <a:off x="-3164" y="913"/>
                <a:ext cx="10" cy="12"/>
              </a:xfrm>
              <a:custGeom>
                <a:avLst/>
                <a:gdLst>
                  <a:gd name="T0" fmla="*/ 10 w 10"/>
                  <a:gd name="T1" fmla="*/ 3 h 12"/>
                  <a:gd name="T2" fmla="*/ 10 w 10"/>
                  <a:gd name="T3" fmla="*/ 0 h 12"/>
                  <a:gd name="T4" fmla="*/ 10 w 10"/>
                  <a:gd name="T5" fmla="*/ 0 h 12"/>
                  <a:gd name="T6" fmla="*/ 7 w 10"/>
                  <a:gd name="T7" fmla="*/ 3 h 12"/>
                  <a:gd name="T8" fmla="*/ 7 w 10"/>
                  <a:gd name="T9" fmla="*/ 3 h 12"/>
                  <a:gd name="T10" fmla="*/ 7 w 10"/>
                  <a:gd name="T11" fmla="*/ 3 h 12"/>
                  <a:gd name="T12" fmla="*/ 7 w 10"/>
                  <a:gd name="T13" fmla="*/ 3 h 12"/>
                  <a:gd name="T14" fmla="*/ 5 w 10"/>
                  <a:gd name="T15" fmla="*/ 5 h 12"/>
                  <a:gd name="T16" fmla="*/ 5 w 10"/>
                  <a:gd name="T17" fmla="*/ 3 h 12"/>
                  <a:gd name="T18" fmla="*/ 5 w 10"/>
                  <a:gd name="T19" fmla="*/ 5 h 12"/>
                  <a:gd name="T20" fmla="*/ 5 w 10"/>
                  <a:gd name="T21" fmla="*/ 5 h 12"/>
                  <a:gd name="T22" fmla="*/ 3 w 10"/>
                  <a:gd name="T23" fmla="*/ 7 h 12"/>
                  <a:gd name="T24" fmla="*/ 3 w 10"/>
                  <a:gd name="T25" fmla="*/ 7 h 12"/>
                  <a:gd name="T26" fmla="*/ 0 w 10"/>
                  <a:gd name="T27" fmla="*/ 10 h 12"/>
                  <a:gd name="T28" fmla="*/ 0 w 10"/>
                  <a:gd name="T29" fmla="*/ 12 h 12"/>
                  <a:gd name="T30" fmla="*/ 0 w 10"/>
                  <a:gd name="T31" fmla="*/ 12 h 12"/>
                  <a:gd name="T32" fmla="*/ 0 w 10"/>
                  <a:gd name="T33" fmla="*/ 12 h 12"/>
                  <a:gd name="T34" fmla="*/ 3 w 10"/>
                  <a:gd name="T35" fmla="*/ 12 h 12"/>
                  <a:gd name="T36" fmla="*/ 5 w 10"/>
                  <a:gd name="T37" fmla="*/ 12 h 12"/>
                  <a:gd name="T38" fmla="*/ 7 w 10"/>
                  <a:gd name="T39" fmla="*/ 12 h 12"/>
                  <a:gd name="T40" fmla="*/ 7 w 10"/>
                  <a:gd name="T41" fmla="*/ 10 h 12"/>
                  <a:gd name="T42" fmla="*/ 7 w 10"/>
                  <a:gd name="T43" fmla="*/ 7 h 12"/>
                  <a:gd name="T44" fmla="*/ 10 w 10"/>
                  <a:gd name="T4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 h="12">
                    <a:moveTo>
                      <a:pt x="10" y="3"/>
                    </a:moveTo>
                    <a:lnTo>
                      <a:pt x="10" y="0"/>
                    </a:lnTo>
                    <a:lnTo>
                      <a:pt x="10" y="0"/>
                    </a:lnTo>
                    <a:lnTo>
                      <a:pt x="7" y="3"/>
                    </a:lnTo>
                    <a:lnTo>
                      <a:pt x="7" y="3"/>
                    </a:lnTo>
                    <a:lnTo>
                      <a:pt x="7" y="3"/>
                    </a:lnTo>
                    <a:lnTo>
                      <a:pt x="7" y="3"/>
                    </a:lnTo>
                    <a:lnTo>
                      <a:pt x="5" y="5"/>
                    </a:lnTo>
                    <a:lnTo>
                      <a:pt x="5" y="3"/>
                    </a:lnTo>
                    <a:lnTo>
                      <a:pt x="5" y="5"/>
                    </a:lnTo>
                    <a:lnTo>
                      <a:pt x="5" y="5"/>
                    </a:lnTo>
                    <a:lnTo>
                      <a:pt x="3" y="7"/>
                    </a:lnTo>
                    <a:lnTo>
                      <a:pt x="3" y="7"/>
                    </a:lnTo>
                    <a:lnTo>
                      <a:pt x="0" y="10"/>
                    </a:lnTo>
                    <a:lnTo>
                      <a:pt x="0" y="12"/>
                    </a:lnTo>
                    <a:lnTo>
                      <a:pt x="0" y="12"/>
                    </a:lnTo>
                    <a:lnTo>
                      <a:pt x="0" y="12"/>
                    </a:lnTo>
                    <a:lnTo>
                      <a:pt x="3" y="12"/>
                    </a:lnTo>
                    <a:lnTo>
                      <a:pt x="5" y="12"/>
                    </a:lnTo>
                    <a:lnTo>
                      <a:pt x="7" y="12"/>
                    </a:lnTo>
                    <a:lnTo>
                      <a:pt x="7" y="10"/>
                    </a:lnTo>
                    <a:lnTo>
                      <a:pt x="7" y="7"/>
                    </a:lnTo>
                    <a:lnTo>
                      <a:pt x="1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84" name="Freeform 97">
                <a:extLst>
                  <a:ext uri="{FF2B5EF4-FFF2-40B4-BE49-F238E27FC236}">
                    <a16:creationId xmlns:a16="http://schemas.microsoft.com/office/drawing/2014/main" id="{917921E0-8E62-4F34-A49D-DEEE55109351}"/>
                  </a:ext>
                </a:extLst>
              </p:cNvPr>
              <p:cNvSpPr>
                <a:spLocks/>
              </p:cNvSpPr>
              <p:nvPr/>
            </p:nvSpPr>
            <p:spPr bwMode="gray">
              <a:xfrm>
                <a:off x="-2878" y="1658"/>
                <a:ext cx="2" cy="4"/>
              </a:xfrm>
              <a:custGeom>
                <a:avLst/>
                <a:gdLst>
                  <a:gd name="T0" fmla="*/ 2 w 2"/>
                  <a:gd name="T1" fmla="*/ 2 h 4"/>
                  <a:gd name="T2" fmla="*/ 2 w 2"/>
                  <a:gd name="T3" fmla="*/ 2 h 4"/>
                  <a:gd name="T4" fmla="*/ 2 w 2"/>
                  <a:gd name="T5" fmla="*/ 2 h 4"/>
                  <a:gd name="T6" fmla="*/ 2 w 2"/>
                  <a:gd name="T7" fmla="*/ 0 h 4"/>
                  <a:gd name="T8" fmla="*/ 2 w 2"/>
                  <a:gd name="T9" fmla="*/ 0 h 4"/>
                  <a:gd name="T10" fmla="*/ 2 w 2"/>
                  <a:gd name="T11" fmla="*/ 2 h 4"/>
                  <a:gd name="T12" fmla="*/ 2 w 2"/>
                  <a:gd name="T13" fmla="*/ 2 h 4"/>
                  <a:gd name="T14" fmla="*/ 0 w 2"/>
                  <a:gd name="T15" fmla="*/ 2 h 4"/>
                  <a:gd name="T16" fmla="*/ 0 w 2"/>
                  <a:gd name="T17" fmla="*/ 2 h 4"/>
                  <a:gd name="T18" fmla="*/ 0 w 2"/>
                  <a:gd name="T19" fmla="*/ 4 h 4"/>
                  <a:gd name="T20" fmla="*/ 2 w 2"/>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4">
                    <a:moveTo>
                      <a:pt x="2" y="2"/>
                    </a:moveTo>
                    <a:lnTo>
                      <a:pt x="2" y="2"/>
                    </a:lnTo>
                    <a:lnTo>
                      <a:pt x="2" y="2"/>
                    </a:lnTo>
                    <a:lnTo>
                      <a:pt x="2" y="0"/>
                    </a:lnTo>
                    <a:lnTo>
                      <a:pt x="2" y="0"/>
                    </a:lnTo>
                    <a:lnTo>
                      <a:pt x="2" y="2"/>
                    </a:lnTo>
                    <a:lnTo>
                      <a:pt x="2" y="2"/>
                    </a:lnTo>
                    <a:lnTo>
                      <a:pt x="0" y="2"/>
                    </a:lnTo>
                    <a:lnTo>
                      <a:pt x="0" y="2"/>
                    </a:lnTo>
                    <a:lnTo>
                      <a:pt x="0" y="4"/>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85" name="Freeform 98">
                <a:extLst>
                  <a:ext uri="{FF2B5EF4-FFF2-40B4-BE49-F238E27FC236}">
                    <a16:creationId xmlns:a16="http://schemas.microsoft.com/office/drawing/2014/main" id="{BDAE9A3B-8851-4B6A-952F-CC25312179F3}"/>
                  </a:ext>
                </a:extLst>
              </p:cNvPr>
              <p:cNvSpPr>
                <a:spLocks/>
              </p:cNvSpPr>
              <p:nvPr/>
            </p:nvSpPr>
            <p:spPr bwMode="gray">
              <a:xfrm>
                <a:off x="-3117" y="878"/>
                <a:ext cx="7" cy="2"/>
              </a:xfrm>
              <a:custGeom>
                <a:avLst/>
                <a:gdLst>
                  <a:gd name="T0" fmla="*/ 5 w 7"/>
                  <a:gd name="T1" fmla="*/ 2 h 2"/>
                  <a:gd name="T2" fmla="*/ 5 w 7"/>
                  <a:gd name="T3" fmla="*/ 2 h 2"/>
                  <a:gd name="T4" fmla="*/ 7 w 7"/>
                  <a:gd name="T5" fmla="*/ 0 h 2"/>
                  <a:gd name="T6" fmla="*/ 7 w 7"/>
                  <a:gd name="T7" fmla="*/ 0 h 2"/>
                  <a:gd name="T8" fmla="*/ 5 w 7"/>
                  <a:gd name="T9" fmla="*/ 0 h 2"/>
                  <a:gd name="T10" fmla="*/ 3 w 7"/>
                  <a:gd name="T11" fmla="*/ 0 h 2"/>
                  <a:gd name="T12" fmla="*/ 3 w 7"/>
                  <a:gd name="T13" fmla="*/ 2 h 2"/>
                  <a:gd name="T14" fmla="*/ 0 w 7"/>
                  <a:gd name="T15" fmla="*/ 2 h 2"/>
                  <a:gd name="T16" fmla="*/ 0 w 7"/>
                  <a:gd name="T17" fmla="*/ 2 h 2"/>
                  <a:gd name="T18" fmla="*/ 3 w 7"/>
                  <a:gd name="T19" fmla="*/ 2 h 2"/>
                  <a:gd name="T20" fmla="*/ 5 w 7"/>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2">
                    <a:moveTo>
                      <a:pt x="5" y="2"/>
                    </a:moveTo>
                    <a:lnTo>
                      <a:pt x="5" y="2"/>
                    </a:lnTo>
                    <a:lnTo>
                      <a:pt x="7" y="0"/>
                    </a:lnTo>
                    <a:lnTo>
                      <a:pt x="7" y="0"/>
                    </a:lnTo>
                    <a:lnTo>
                      <a:pt x="5" y="0"/>
                    </a:lnTo>
                    <a:lnTo>
                      <a:pt x="3" y="0"/>
                    </a:lnTo>
                    <a:lnTo>
                      <a:pt x="3" y="2"/>
                    </a:lnTo>
                    <a:lnTo>
                      <a:pt x="0" y="2"/>
                    </a:lnTo>
                    <a:lnTo>
                      <a:pt x="0" y="2"/>
                    </a:lnTo>
                    <a:lnTo>
                      <a:pt x="3" y="2"/>
                    </a:lnTo>
                    <a:lnTo>
                      <a:pt x="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86" name="Freeform 99">
                <a:extLst>
                  <a:ext uri="{FF2B5EF4-FFF2-40B4-BE49-F238E27FC236}">
                    <a16:creationId xmlns:a16="http://schemas.microsoft.com/office/drawing/2014/main" id="{E02D81FB-3BB1-49FF-9358-0B88F4B10F59}"/>
                  </a:ext>
                </a:extLst>
              </p:cNvPr>
              <p:cNvSpPr>
                <a:spLocks/>
              </p:cNvSpPr>
              <p:nvPr/>
            </p:nvSpPr>
            <p:spPr bwMode="gray">
              <a:xfrm>
                <a:off x="-3164" y="866"/>
                <a:ext cx="7" cy="5"/>
              </a:xfrm>
              <a:custGeom>
                <a:avLst/>
                <a:gdLst>
                  <a:gd name="T0" fmla="*/ 5 w 7"/>
                  <a:gd name="T1" fmla="*/ 5 h 5"/>
                  <a:gd name="T2" fmla="*/ 7 w 7"/>
                  <a:gd name="T3" fmla="*/ 5 h 5"/>
                  <a:gd name="T4" fmla="*/ 7 w 7"/>
                  <a:gd name="T5" fmla="*/ 2 h 5"/>
                  <a:gd name="T6" fmla="*/ 5 w 7"/>
                  <a:gd name="T7" fmla="*/ 2 h 5"/>
                  <a:gd name="T8" fmla="*/ 3 w 7"/>
                  <a:gd name="T9" fmla="*/ 0 h 5"/>
                  <a:gd name="T10" fmla="*/ 3 w 7"/>
                  <a:gd name="T11" fmla="*/ 0 h 5"/>
                  <a:gd name="T12" fmla="*/ 3 w 7"/>
                  <a:gd name="T13" fmla="*/ 0 h 5"/>
                  <a:gd name="T14" fmla="*/ 0 w 7"/>
                  <a:gd name="T15" fmla="*/ 2 h 5"/>
                  <a:gd name="T16" fmla="*/ 0 w 7"/>
                  <a:gd name="T17" fmla="*/ 2 h 5"/>
                  <a:gd name="T18" fmla="*/ 3 w 7"/>
                  <a:gd name="T19" fmla="*/ 5 h 5"/>
                  <a:gd name="T20" fmla="*/ 5 w 7"/>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5">
                    <a:moveTo>
                      <a:pt x="5" y="5"/>
                    </a:moveTo>
                    <a:lnTo>
                      <a:pt x="7" y="5"/>
                    </a:lnTo>
                    <a:lnTo>
                      <a:pt x="7" y="2"/>
                    </a:lnTo>
                    <a:lnTo>
                      <a:pt x="5" y="2"/>
                    </a:lnTo>
                    <a:lnTo>
                      <a:pt x="3" y="0"/>
                    </a:lnTo>
                    <a:lnTo>
                      <a:pt x="3" y="0"/>
                    </a:lnTo>
                    <a:lnTo>
                      <a:pt x="3" y="0"/>
                    </a:lnTo>
                    <a:lnTo>
                      <a:pt x="0" y="2"/>
                    </a:lnTo>
                    <a:lnTo>
                      <a:pt x="0" y="2"/>
                    </a:lnTo>
                    <a:lnTo>
                      <a:pt x="3"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87" name="Freeform 100">
                <a:extLst>
                  <a:ext uri="{FF2B5EF4-FFF2-40B4-BE49-F238E27FC236}">
                    <a16:creationId xmlns:a16="http://schemas.microsoft.com/office/drawing/2014/main" id="{A26D8722-0989-446E-835A-DB87AA75D7B6}"/>
                  </a:ext>
                </a:extLst>
              </p:cNvPr>
              <p:cNvSpPr>
                <a:spLocks/>
              </p:cNvSpPr>
              <p:nvPr/>
            </p:nvSpPr>
            <p:spPr bwMode="gray">
              <a:xfrm>
                <a:off x="-3088" y="939"/>
                <a:ext cx="14" cy="26"/>
              </a:xfrm>
              <a:custGeom>
                <a:avLst/>
                <a:gdLst>
                  <a:gd name="T0" fmla="*/ 12 w 14"/>
                  <a:gd name="T1" fmla="*/ 19 h 26"/>
                  <a:gd name="T2" fmla="*/ 12 w 14"/>
                  <a:gd name="T3" fmla="*/ 19 h 26"/>
                  <a:gd name="T4" fmla="*/ 12 w 14"/>
                  <a:gd name="T5" fmla="*/ 14 h 26"/>
                  <a:gd name="T6" fmla="*/ 12 w 14"/>
                  <a:gd name="T7" fmla="*/ 14 h 26"/>
                  <a:gd name="T8" fmla="*/ 12 w 14"/>
                  <a:gd name="T9" fmla="*/ 12 h 26"/>
                  <a:gd name="T10" fmla="*/ 9 w 14"/>
                  <a:gd name="T11" fmla="*/ 10 h 26"/>
                  <a:gd name="T12" fmla="*/ 9 w 14"/>
                  <a:gd name="T13" fmla="*/ 10 h 26"/>
                  <a:gd name="T14" fmla="*/ 9 w 14"/>
                  <a:gd name="T15" fmla="*/ 10 h 26"/>
                  <a:gd name="T16" fmla="*/ 9 w 14"/>
                  <a:gd name="T17" fmla="*/ 10 h 26"/>
                  <a:gd name="T18" fmla="*/ 7 w 14"/>
                  <a:gd name="T19" fmla="*/ 5 h 26"/>
                  <a:gd name="T20" fmla="*/ 7 w 14"/>
                  <a:gd name="T21" fmla="*/ 5 h 26"/>
                  <a:gd name="T22" fmla="*/ 7 w 14"/>
                  <a:gd name="T23" fmla="*/ 5 h 26"/>
                  <a:gd name="T24" fmla="*/ 7 w 14"/>
                  <a:gd name="T25" fmla="*/ 5 h 26"/>
                  <a:gd name="T26" fmla="*/ 4 w 14"/>
                  <a:gd name="T27" fmla="*/ 2 h 26"/>
                  <a:gd name="T28" fmla="*/ 2 w 14"/>
                  <a:gd name="T29" fmla="*/ 0 h 26"/>
                  <a:gd name="T30" fmla="*/ 0 w 14"/>
                  <a:gd name="T31" fmla="*/ 2 h 26"/>
                  <a:gd name="T32" fmla="*/ 0 w 14"/>
                  <a:gd name="T33" fmla="*/ 5 h 26"/>
                  <a:gd name="T34" fmla="*/ 0 w 14"/>
                  <a:gd name="T35" fmla="*/ 5 h 26"/>
                  <a:gd name="T36" fmla="*/ 0 w 14"/>
                  <a:gd name="T37" fmla="*/ 7 h 26"/>
                  <a:gd name="T38" fmla="*/ 2 w 14"/>
                  <a:gd name="T39" fmla="*/ 10 h 26"/>
                  <a:gd name="T40" fmla="*/ 4 w 14"/>
                  <a:gd name="T41" fmla="*/ 10 h 26"/>
                  <a:gd name="T42" fmla="*/ 4 w 14"/>
                  <a:gd name="T43" fmla="*/ 12 h 26"/>
                  <a:gd name="T44" fmla="*/ 4 w 14"/>
                  <a:gd name="T45" fmla="*/ 17 h 26"/>
                  <a:gd name="T46" fmla="*/ 4 w 14"/>
                  <a:gd name="T47" fmla="*/ 19 h 26"/>
                  <a:gd name="T48" fmla="*/ 9 w 14"/>
                  <a:gd name="T49" fmla="*/ 21 h 26"/>
                  <a:gd name="T50" fmla="*/ 12 w 14"/>
                  <a:gd name="T51" fmla="*/ 24 h 26"/>
                  <a:gd name="T52" fmla="*/ 12 w 14"/>
                  <a:gd name="T53" fmla="*/ 26 h 26"/>
                  <a:gd name="T54" fmla="*/ 12 w 14"/>
                  <a:gd name="T55" fmla="*/ 26 h 26"/>
                  <a:gd name="T56" fmla="*/ 14 w 14"/>
                  <a:gd name="T57" fmla="*/ 24 h 26"/>
                  <a:gd name="T58" fmla="*/ 12 w 14"/>
                  <a:gd name="T59" fmla="*/ 24 h 26"/>
                  <a:gd name="T60" fmla="*/ 12 w 14"/>
                  <a:gd name="T61" fmla="*/ 24 h 26"/>
                  <a:gd name="T62" fmla="*/ 12 w 14"/>
                  <a:gd name="T63" fmla="*/ 21 h 26"/>
                  <a:gd name="T64" fmla="*/ 12 w 14"/>
                  <a:gd name="T65" fmla="*/ 21 h 26"/>
                  <a:gd name="T66" fmla="*/ 12 w 14"/>
                  <a:gd name="T67" fmla="*/ 1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 h="26">
                    <a:moveTo>
                      <a:pt x="12" y="19"/>
                    </a:moveTo>
                    <a:lnTo>
                      <a:pt x="12" y="19"/>
                    </a:lnTo>
                    <a:lnTo>
                      <a:pt x="12" y="14"/>
                    </a:lnTo>
                    <a:lnTo>
                      <a:pt x="12" y="14"/>
                    </a:lnTo>
                    <a:lnTo>
                      <a:pt x="12" y="12"/>
                    </a:lnTo>
                    <a:lnTo>
                      <a:pt x="9" y="10"/>
                    </a:lnTo>
                    <a:lnTo>
                      <a:pt x="9" y="10"/>
                    </a:lnTo>
                    <a:lnTo>
                      <a:pt x="9" y="10"/>
                    </a:lnTo>
                    <a:lnTo>
                      <a:pt x="9" y="10"/>
                    </a:lnTo>
                    <a:lnTo>
                      <a:pt x="7" y="5"/>
                    </a:lnTo>
                    <a:lnTo>
                      <a:pt x="7" y="5"/>
                    </a:lnTo>
                    <a:lnTo>
                      <a:pt x="7" y="5"/>
                    </a:lnTo>
                    <a:lnTo>
                      <a:pt x="7" y="5"/>
                    </a:lnTo>
                    <a:lnTo>
                      <a:pt x="4" y="2"/>
                    </a:lnTo>
                    <a:lnTo>
                      <a:pt x="2" y="0"/>
                    </a:lnTo>
                    <a:lnTo>
                      <a:pt x="0" y="2"/>
                    </a:lnTo>
                    <a:lnTo>
                      <a:pt x="0" y="5"/>
                    </a:lnTo>
                    <a:lnTo>
                      <a:pt x="0" y="5"/>
                    </a:lnTo>
                    <a:lnTo>
                      <a:pt x="0" y="7"/>
                    </a:lnTo>
                    <a:lnTo>
                      <a:pt x="2" y="10"/>
                    </a:lnTo>
                    <a:lnTo>
                      <a:pt x="4" y="10"/>
                    </a:lnTo>
                    <a:lnTo>
                      <a:pt x="4" y="12"/>
                    </a:lnTo>
                    <a:lnTo>
                      <a:pt x="4" y="17"/>
                    </a:lnTo>
                    <a:lnTo>
                      <a:pt x="4" y="19"/>
                    </a:lnTo>
                    <a:lnTo>
                      <a:pt x="9" y="21"/>
                    </a:lnTo>
                    <a:lnTo>
                      <a:pt x="12" y="24"/>
                    </a:lnTo>
                    <a:lnTo>
                      <a:pt x="12" y="26"/>
                    </a:lnTo>
                    <a:lnTo>
                      <a:pt x="12" y="26"/>
                    </a:lnTo>
                    <a:lnTo>
                      <a:pt x="14" y="24"/>
                    </a:lnTo>
                    <a:lnTo>
                      <a:pt x="12" y="24"/>
                    </a:lnTo>
                    <a:lnTo>
                      <a:pt x="12" y="24"/>
                    </a:lnTo>
                    <a:lnTo>
                      <a:pt x="12" y="21"/>
                    </a:lnTo>
                    <a:lnTo>
                      <a:pt x="12" y="21"/>
                    </a:lnTo>
                    <a:lnTo>
                      <a:pt x="1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20" name="Freeform 101">
                <a:extLst>
                  <a:ext uri="{FF2B5EF4-FFF2-40B4-BE49-F238E27FC236}">
                    <a16:creationId xmlns:a16="http://schemas.microsoft.com/office/drawing/2014/main" id="{0EEA86E3-674F-43C2-809B-14C3487F3B35}"/>
                  </a:ext>
                </a:extLst>
              </p:cNvPr>
              <p:cNvSpPr>
                <a:spLocks/>
              </p:cNvSpPr>
              <p:nvPr/>
            </p:nvSpPr>
            <p:spPr bwMode="gray">
              <a:xfrm>
                <a:off x="-3102" y="965"/>
                <a:ext cx="23" cy="35"/>
              </a:xfrm>
              <a:custGeom>
                <a:avLst/>
                <a:gdLst>
                  <a:gd name="T0" fmla="*/ 4 w 23"/>
                  <a:gd name="T1" fmla="*/ 2 h 35"/>
                  <a:gd name="T2" fmla="*/ 2 w 23"/>
                  <a:gd name="T3" fmla="*/ 2 h 35"/>
                  <a:gd name="T4" fmla="*/ 2 w 23"/>
                  <a:gd name="T5" fmla="*/ 7 h 35"/>
                  <a:gd name="T6" fmla="*/ 0 w 23"/>
                  <a:gd name="T7" fmla="*/ 9 h 35"/>
                  <a:gd name="T8" fmla="*/ 0 w 23"/>
                  <a:gd name="T9" fmla="*/ 14 h 35"/>
                  <a:gd name="T10" fmla="*/ 0 w 23"/>
                  <a:gd name="T11" fmla="*/ 17 h 35"/>
                  <a:gd name="T12" fmla="*/ 2 w 23"/>
                  <a:gd name="T13" fmla="*/ 19 h 35"/>
                  <a:gd name="T14" fmla="*/ 2 w 23"/>
                  <a:gd name="T15" fmla="*/ 21 h 35"/>
                  <a:gd name="T16" fmla="*/ 2 w 23"/>
                  <a:gd name="T17" fmla="*/ 21 h 35"/>
                  <a:gd name="T18" fmla="*/ 2 w 23"/>
                  <a:gd name="T19" fmla="*/ 21 h 35"/>
                  <a:gd name="T20" fmla="*/ 2 w 23"/>
                  <a:gd name="T21" fmla="*/ 21 h 35"/>
                  <a:gd name="T22" fmla="*/ 2 w 23"/>
                  <a:gd name="T23" fmla="*/ 21 h 35"/>
                  <a:gd name="T24" fmla="*/ 2 w 23"/>
                  <a:gd name="T25" fmla="*/ 24 h 35"/>
                  <a:gd name="T26" fmla="*/ 2 w 23"/>
                  <a:gd name="T27" fmla="*/ 24 h 35"/>
                  <a:gd name="T28" fmla="*/ 2 w 23"/>
                  <a:gd name="T29" fmla="*/ 28 h 35"/>
                  <a:gd name="T30" fmla="*/ 2 w 23"/>
                  <a:gd name="T31" fmla="*/ 28 h 35"/>
                  <a:gd name="T32" fmla="*/ 2 w 23"/>
                  <a:gd name="T33" fmla="*/ 28 h 35"/>
                  <a:gd name="T34" fmla="*/ 7 w 23"/>
                  <a:gd name="T35" fmla="*/ 31 h 35"/>
                  <a:gd name="T36" fmla="*/ 9 w 23"/>
                  <a:gd name="T37" fmla="*/ 33 h 35"/>
                  <a:gd name="T38" fmla="*/ 11 w 23"/>
                  <a:gd name="T39" fmla="*/ 35 h 35"/>
                  <a:gd name="T40" fmla="*/ 16 w 23"/>
                  <a:gd name="T41" fmla="*/ 35 h 35"/>
                  <a:gd name="T42" fmla="*/ 18 w 23"/>
                  <a:gd name="T43" fmla="*/ 35 h 35"/>
                  <a:gd name="T44" fmla="*/ 21 w 23"/>
                  <a:gd name="T45" fmla="*/ 33 h 35"/>
                  <a:gd name="T46" fmla="*/ 23 w 23"/>
                  <a:gd name="T47" fmla="*/ 33 h 35"/>
                  <a:gd name="T48" fmla="*/ 21 w 23"/>
                  <a:gd name="T49" fmla="*/ 31 h 35"/>
                  <a:gd name="T50" fmla="*/ 21 w 23"/>
                  <a:gd name="T51" fmla="*/ 28 h 35"/>
                  <a:gd name="T52" fmla="*/ 21 w 23"/>
                  <a:gd name="T53" fmla="*/ 26 h 35"/>
                  <a:gd name="T54" fmla="*/ 23 w 23"/>
                  <a:gd name="T55" fmla="*/ 26 h 35"/>
                  <a:gd name="T56" fmla="*/ 18 w 23"/>
                  <a:gd name="T57" fmla="*/ 24 h 35"/>
                  <a:gd name="T58" fmla="*/ 18 w 23"/>
                  <a:gd name="T59" fmla="*/ 24 h 35"/>
                  <a:gd name="T60" fmla="*/ 18 w 23"/>
                  <a:gd name="T61" fmla="*/ 21 h 35"/>
                  <a:gd name="T62" fmla="*/ 18 w 23"/>
                  <a:gd name="T63" fmla="*/ 21 h 35"/>
                  <a:gd name="T64" fmla="*/ 21 w 23"/>
                  <a:gd name="T65" fmla="*/ 21 h 35"/>
                  <a:gd name="T66" fmla="*/ 21 w 23"/>
                  <a:gd name="T67" fmla="*/ 21 h 35"/>
                  <a:gd name="T68" fmla="*/ 21 w 23"/>
                  <a:gd name="T69" fmla="*/ 19 h 35"/>
                  <a:gd name="T70" fmla="*/ 18 w 23"/>
                  <a:gd name="T71" fmla="*/ 17 h 35"/>
                  <a:gd name="T72" fmla="*/ 18 w 23"/>
                  <a:gd name="T73" fmla="*/ 14 h 35"/>
                  <a:gd name="T74" fmla="*/ 16 w 23"/>
                  <a:gd name="T75" fmla="*/ 7 h 35"/>
                  <a:gd name="T76" fmla="*/ 16 w 23"/>
                  <a:gd name="T77" fmla="*/ 5 h 35"/>
                  <a:gd name="T78" fmla="*/ 14 w 23"/>
                  <a:gd name="T79" fmla="*/ 2 h 35"/>
                  <a:gd name="T80" fmla="*/ 14 w 23"/>
                  <a:gd name="T81" fmla="*/ 2 h 35"/>
                  <a:gd name="T82" fmla="*/ 9 w 23"/>
                  <a:gd name="T83" fmla="*/ 0 h 35"/>
                  <a:gd name="T84" fmla="*/ 9 w 23"/>
                  <a:gd name="T85" fmla="*/ 0 h 35"/>
                  <a:gd name="T86" fmla="*/ 7 w 23"/>
                  <a:gd name="T87" fmla="*/ 0 h 35"/>
                  <a:gd name="T88" fmla="*/ 7 w 23"/>
                  <a:gd name="T89" fmla="*/ 0 h 35"/>
                  <a:gd name="T90" fmla="*/ 7 w 23"/>
                  <a:gd name="T91" fmla="*/ 0 h 35"/>
                  <a:gd name="T92" fmla="*/ 7 w 23"/>
                  <a:gd name="T93" fmla="*/ 0 h 35"/>
                  <a:gd name="T94" fmla="*/ 4 w 23"/>
                  <a:gd name="T95"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 h="35">
                    <a:moveTo>
                      <a:pt x="4" y="2"/>
                    </a:moveTo>
                    <a:lnTo>
                      <a:pt x="2" y="2"/>
                    </a:lnTo>
                    <a:lnTo>
                      <a:pt x="2" y="7"/>
                    </a:lnTo>
                    <a:lnTo>
                      <a:pt x="0" y="9"/>
                    </a:lnTo>
                    <a:lnTo>
                      <a:pt x="0" y="14"/>
                    </a:lnTo>
                    <a:lnTo>
                      <a:pt x="0" y="17"/>
                    </a:lnTo>
                    <a:lnTo>
                      <a:pt x="2" y="19"/>
                    </a:lnTo>
                    <a:lnTo>
                      <a:pt x="2" y="21"/>
                    </a:lnTo>
                    <a:lnTo>
                      <a:pt x="2" y="21"/>
                    </a:lnTo>
                    <a:lnTo>
                      <a:pt x="2" y="21"/>
                    </a:lnTo>
                    <a:lnTo>
                      <a:pt x="2" y="21"/>
                    </a:lnTo>
                    <a:lnTo>
                      <a:pt x="2" y="21"/>
                    </a:lnTo>
                    <a:lnTo>
                      <a:pt x="2" y="24"/>
                    </a:lnTo>
                    <a:lnTo>
                      <a:pt x="2" y="24"/>
                    </a:lnTo>
                    <a:lnTo>
                      <a:pt x="2" y="28"/>
                    </a:lnTo>
                    <a:lnTo>
                      <a:pt x="2" y="28"/>
                    </a:lnTo>
                    <a:lnTo>
                      <a:pt x="2" y="28"/>
                    </a:lnTo>
                    <a:lnTo>
                      <a:pt x="7" y="31"/>
                    </a:lnTo>
                    <a:lnTo>
                      <a:pt x="9" y="33"/>
                    </a:lnTo>
                    <a:lnTo>
                      <a:pt x="11" y="35"/>
                    </a:lnTo>
                    <a:lnTo>
                      <a:pt x="16" y="35"/>
                    </a:lnTo>
                    <a:lnTo>
                      <a:pt x="18" y="35"/>
                    </a:lnTo>
                    <a:lnTo>
                      <a:pt x="21" y="33"/>
                    </a:lnTo>
                    <a:lnTo>
                      <a:pt x="23" y="33"/>
                    </a:lnTo>
                    <a:lnTo>
                      <a:pt x="21" y="31"/>
                    </a:lnTo>
                    <a:lnTo>
                      <a:pt x="21" y="28"/>
                    </a:lnTo>
                    <a:lnTo>
                      <a:pt x="21" y="26"/>
                    </a:lnTo>
                    <a:lnTo>
                      <a:pt x="23" y="26"/>
                    </a:lnTo>
                    <a:lnTo>
                      <a:pt x="18" y="24"/>
                    </a:lnTo>
                    <a:lnTo>
                      <a:pt x="18" y="24"/>
                    </a:lnTo>
                    <a:lnTo>
                      <a:pt x="18" y="21"/>
                    </a:lnTo>
                    <a:lnTo>
                      <a:pt x="18" y="21"/>
                    </a:lnTo>
                    <a:lnTo>
                      <a:pt x="21" y="21"/>
                    </a:lnTo>
                    <a:lnTo>
                      <a:pt x="21" y="21"/>
                    </a:lnTo>
                    <a:lnTo>
                      <a:pt x="21" y="19"/>
                    </a:lnTo>
                    <a:lnTo>
                      <a:pt x="18" y="17"/>
                    </a:lnTo>
                    <a:lnTo>
                      <a:pt x="18" y="14"/>
                    </a:lnTo>
                    <a:lnTo>
                      <a:pt x="16" y="7"/>
                    </a:lnTo>
                    <a:lnTo>
                      <a:pt x="16" y="5"/>
                    </a:lnTo>
                    <a:lnTo>
                      <a:pt x="14" y="2"/>
                    </a:lnTo>
                    <a:lnTo>
                      <a:pt x="14" y="2"/>
                    </a:lnTo>
                    <a:lnTo>
                      <a:pt x="9" y="0"/>
                    </a:lnTo>
                    <a:lnTo>
                      <a:pt x="9" y="0"/>
                    </a:lnTo>
                    <a:lnTo>
                      <a:pt x="7" y="0"/>
                    </a:lnTo>
                    <a:lnTo>
                      <a:pt x="7" y="0"/>
                    </a:lnTo>
                    <a:lnTo>
                      <a:pt x="7" y="0"/>
                    </a:lnTo>
                    <a:lnTo>
                      <a:pt x="7" y="0"/>
                    </a:lnTo>
                    <a:lnTo>
                      <a:pt x="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21" name="Freeform 102">
                <a:extLst>
                  <a:ext uri="{FF2B5EF4-FFF2-40B4-BE49-F238E27FC236}">
                    <a16:creationId xmlns:a16="http://schemas.microsoft.com/office/drawing/2014/main" id="{43B0DAF7-ACE1-47D3-940B-CB34C03747ED}"/>
                  </a:ext>
                </a:extLst>
              </p:cNvPr>
              <p:cNvSpPr>
                <a:spLocks/>
              </p:cNvSpPr>
              <p:nvPr/>
            </p:nvSpPr>
            <p:spPr bwMode="gray">
              <a:xfrm>
                <a:off x="-2911" y="1681"/>
                <a:ext cx="14" cy="10"/>
              </a:xfrm>
              <a:custGeom>
                <a:avLst/>
                <a:gdLst>
                  <a:gd name="T0" fmla="*/ 2 w 14"/>
                  <a:gd name="T1" fmla="*/ 10 h 10"/>
                  <a:gd name="T2" fmla="*/ 0 w 14"/>
                  <a:gd name="T3" fmla="*/ 10 h 10"/>
                  <a:gd name="T4" fmla="*/ 2 w 14"/>
                  <a:gd name="T5" fmla="*/ 10 h 10"/>
                  <a:gd name="T6" fmla="*/ 7 w 14"/>
                  <a:gd name="T7" fmla="*/ 10 h 10"/>
                  <a:gd name="T8" fmla="*/ 9 w 14"/>
                  <a:gd name="T9" fmla="*/ 10 h 10"/>
                  <a:gd name="T10" fmla="*/ 9 w 14"/>
                  <a:gd name="T11" fmla="*/ 10 h 10"/>
                  <a:gd name="T12" fmla="*/ 9 w 14"/>
                  <a:gd name="T13" fmla="*/ 10 h 10"/>
                  <a:gd name="T14" fmla="*/ 9 w 14"/>
                  <a:gd name="T15" fmla="*/ 10 h 10"/>
                  <a:gd name="T16" fmla="*/ 11 w 14"/>
                  <a:gd name="T17" fmla="*/ 10 h 10"/>
                  <a:gd name="T18" fmla="*/ 11 w 14"/>
                  <a:gd name="T19" fmla="*/ 10 h 10"/>
                  <a:gd name="T20" fmla="*/ 11 w 14"/>
                  <a:gd name="T21" fmla="*/ 7 h 10"/>
                  <a:gd name="T22" fmla="*/ 11 w 14"/>
                  <a:gd name="T23" fmla="*/ 7 h 10"/>
                  <a:gd name="T24" fmla="*/ 11 w 14"/>
                  <a:gd name="T25" fmla="*/ 5 h 10"/>
                  <a:gd name="T26" fmla="*/ 11 w 14"/>
                  <a:gd name="T27" fmla="*/ 3 h 10"/>
                  <a:gd name="T28" fmla="*/ 14 w 14"/>
                  <a:gd name="T29" fmla="*/ 3 h 10"/>
                  <a:gd name="T30" fmla="*/ 11 w 14"/>
                  <a:gd name="T31" fmla="*/ 0 h 10"/>
                  <a:gd name="T32" fmla="*/ 11 w 14"/>
                  <a:gd name="T33" fmla="*/ 0 h 10"/>
                  <a:gd name="T34" fmla="*/ 9 w 14"/>
                  <a:gd name="T35" fmla="*/ 3 h 10"/>
                  <a:gd name="T36" fmla="*/ 7 w 14"/>
                  <a:gd name="T37" fmla="*/ 3 h 10"/>
                  <a:gd name="T38" fmla="*/ 4 w 14"/>
                  <a:gd name="T39" fmla="*/ 5 h 10"/>
                  <a:gd name="T40" fmla="*/ 4 w 14"/>
                  <a:gd name="T41" fmla="*/ 5 h 10"/>
                  <a:gd name="T42" fmla="*/ 2 w 14"/>
                  <a:gd name="T43" fmla="*/ 5 h 10"/>
                  <a:gd name="T44" fmla="*/ 2 w 14"/>
                  <a:gd name="T45" fmla="*/ 7 h 10"/>
                  <a:gd name="T46" fmla="*/ 2 w 14"/>
                  <a:gd name="T47" fmla="*/ 7 h 10"/>
                  <a:gd name="T48" fmla="*/ 2 w 14"/>
                  <a:gd name="T49" fmla="*/ 7 h 10"/>
                  <a:gd name="T50" fmla="*/ 2 w 14"/>
                  <a:gd name="T5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 h="10">
                    <a:moveTo>
                      <a:pt x="2" y="10"/>
                    </a:moveTo>
                    <a:lnTo>
                      <a:pt x="0" y="10"/>
                    </a:lnTo>
                    <a:lnTo>
                      <a:pt x="2" y="10"/>
                    </a:lnTo>
                    <a:lnTo>
                      <a:pt x="7" y="10"/>
                    </a:lnTo>
                    <a:lnTo>
                      <a:pt x="9" y="10"/>
                    </a:lnTo>
                    <a:lnTo>
                      <a:pt x="9" y="10"/>
                    </a:lnTo>
                    <a:lnTo>
                      <a:pt x="9" y="10"/>
                    </a:lnTo>
                    <a:lnTo>
                      <a:pt x="9" y="10"/>
                    </a:lnTo>
                    <a:lnTo>
                      <a:pt x="11" y="10"/>
                    </a:lnTo>
                    <a:lnTo>
                      <a:pt x="11" y="10"/>
                    </a:lnTo>
                    <a:lnTo>
                      <a:pt x="11" y="7"/>
                    </a:lnTo>
                    <a:lnTo>
                      <a:pt x="11" y="7"/>
                    </a:lnTo>
                    <a:lnTo>
                      <a:pt x="11" y="5"/>
                    </a:lnTo>
                    <a:lnTo>
                      <a:pt x="11" y="3"/>
                    </a:lnTo>
                    <a:lnTo>
                      <a:pt x="14" y="3"/>
                    </a:lnTo>
                    <a:lnTo>
                      <a:pt x="11" y="0"/>
                    </a:lnTo>
                    <a:lnTo>
                      <a:pt x="11" y="0"/>
                    </a:lnTo>
                    <a:lnTo>
                      <a:pt x="9" y="3"/>
                    </a:lnTo>
                    <a:lnTo>
                      <a:pt x="7" y="3"/>
                    </a:lnTo>
                    <a:lnTo>
                      <a:pt x="4" y="5"/>
                    </a:lnTo>
                    <a:lnTo>
                      <a:pt x="4" y="5"/>
                    </a:lnTo>
                    <a:lnTo>
                      <a:pt x="2" y="5"/>
                    </a:lnTo>
                    <a:lnTo>
                      <a:pt x="2" y="7"/>
                    </a:lnTo>
                    <a:lnTo>
                      <a:pt x="2" y="7"/>
                    </a:lnTo>
                    <a:lnTo>
                      <a:pt x="2" y="7"/>
                    </a:lnTo>
                    <a:lnTo>
                      <a:pt x="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22" name="Freeform 103">
                <a:extLst>
                  <a:ext uri="{FF2B5EF4-FFF2-40B4-BE49-F238E27FC236}">
                    <a16:creationId xmlns:a16="http://schemas.microsoft.com/office/drawing/2014/main" id="{9C1C2311-2285-452E-9B60-E16B5C859BE5}"/>
                  </a:ext>
                </a:extLst>
              </p:cNvPr>
              <p:cNvSpPr>
                <a:spLocks/>
              </p:cNvSpPr>
              <p:nvPr/>
            </p:nvSpPr>
            <p:spPr bwMode="gray">
              <a:xfrm>
                <a:off x="-3053" y="1498"/>
                <a:ext cx="2" cy="4"/>
              </a:xfrm>
              <a:custGeom>
                <a:avLst/>
                <a:gdLst>
                  <a:gd name="T0" fmla="*/ 2 w 2"/>
                  <a:gd name="T1" fmla="*/ 2 h 4"/>
                  <a:gd name="T2" fmla="*/ 2 w 2"/>
                  <a:gd name="T3" fmla="*/ 0 h 4"/>
                  <a:gd name="T4" fmla="*/ 2 w 2"/>
                  <a:gd name="T5" fmla="*/ 0 h 4"/>
                  <a:gd name="T6" fmla="*/ 2 w 2"/>
                  <a:gd name="T7" fmla="*/ 0 h 4"/>
                  <a:gd name="T8" fmla="*/ 0 w 2"/>
                  <a:gd name="T9" fmla="*/ 0 h 4"/>
                  <a:gd name="T10" fmla="*/ 0 w 2"/>
                  <a:gd name="T11" fmla="*/ 2 h 4"/>
                  <a:gd name="T12" fmla="*/ 0 w 2"/>
                  <a:gd name="T13" fmla="*/ 2 h 4"/>
                  <a:gd name="T14" fmla="*/ 2 w 2"/>
                  <a:gd name="T15" fmla="*/ 4 h 4"/>
                  <a:gd name="T16" fmla="*/ 2 w 2"/>
                  <a:gd name="T17" fmla="*/ 2 h 4"/>
                  <a:gd name="T18" fmla="*/ 2 w 2"/>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2" y="2"/>
                    </a:moveTo>
                    <a:lnTo>
                      <a:pt x="2" y="0"/>
                    </a:lnTo>
                    <a:lnTo>
                      <a:pt x="2" y="0"/>
                    </a:lnTo>
                    <a:lnTo>
                      <a:pt x="2" y="0"/>
                    </a:lnTo>
                    <a:lnTo>
                      <a:pt x="0" y="0"/>
                    </a:lnTo>
                    <a:lnTo>
                      <a:pt x="0" y="2"/>
                    </a:lnTo>
                    <a:lnTo>
                      <a:pt x="0" y="2"/>
                    </a:lnTo>
                    <a:lnTo>
                      <a:pt x="2" y="4"/>
                    </a:lnTo>
                    <a:lnTo>
                      <a:pt x="2" y="2"/>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23" name="Freeform 104">
                <a:extLst>
                  <a:ext uri="{FF2B5EF4-FFF2-40B4-BE49-F238E27FC236}">
                    <a16:creationId xmlns:a16="http://schemas.microsoft.com/office/drawing/2014/main" id="{5FDE8600-81A7-46D4-BC32-CBE4A221786F}"/>
                  </a:ext>
                </a:extLst>
              </p:cNvPr>
              <p:cNvSpPr>
                <a:spLocks/>
              </p:cNvSpPr>
              <p:nvPr/>
            </p:nvSpPr>
            <p:spPr bwMode="gray">
              <a:xfrm>
                <a:off x="-3194" y="843"/>
                <a:ext cx="16" cy="16"/>
              </a:xfrm>
              <a:custGeom>
                <a:avLst/>
                <a:gdLst>
                  <a:gd name="T0" fmla="*/ 2 w 16"/>
                  <a:gd name="T1" fmla="*/ 11 h 16"/>
                  <a:gd name="T2" fmla="*/ 2 w 16"/>
                  <a:gd name="T3" fmla="*/ 14 h 16"/>
                  <a:gd name="T4" fmla="*/ 0 w 16"/>
                  <a:gd name="T5" fmla="*/ 14 h 16"/>
                  <a:gd name="T6" fmla="*/ 0 w 16"/>
                  <a:gd name="T7" fmla="*/ 14 h 16"/>
                  <a:gd name="T8" fmla="*/ 0 w 16"/>
                  <a:gd name="T9" fmla="*/ 16 h 16"/>
                  <a:gd name="T10" fmla="*/ 2 w 16"/>
                  <a:gd name="T11" fmla="*/ 16 h 16"/>
                  <a:gd name="T12" fmla="*/ 2 w 16"/>
                  <a:gd name="T13" fmla="*/ 16 h 16"/>
                  <a:gd name="T14" fmla="*/ 2 w 16"/>
                  <a:gd name="T15" fmla="*/ 14 h 16"/>
                  <a:gd name="T16" fmla="*/ 2 w 16"/>
                  <a:gd name="T17" fmla="*/ 14 h 16"/>
                  <a:gd name="T18" fmla="*/ 4 w 16"/>
                  <a:gd name="T19" fmla="*/ 14 h 16"/>
                  <a:gd name="T20" fmla="*/ 7 w 16"/>
                  <a:gd name="T21" fmla="*/ 14 h 16"/>
                  <a:gd name="T22" fmla="*/ 9 w 16"/>
                  <a:gd name="T23" fmla="*/ 11 h 16"/>
                  <a:gd name="T24" fmla="*/ 11 w 16"/>
                  <a:gd name="T25" fmla="*/ 9 h 16"/>
                  <a:gd name="T26" fmla="*/ 14 w 16"/>
                  <a:gd name="T27" fmla="*/ 9 h 16"/>
                  <a:gd name="T28" fmla="*/ 14 w 16"/>
                  <a:gd name="T29" fmla="*/ 7 h 16"/>
                  <a:gd name="T30" fmla="*/ 14 w 16"/>
                  <a:gd name="T31" fmla="*/ 7 h 16"/>
                  <a:gd name="T32" fmla="*/ 14 w 16"/>
                  <a:gd name="T33" fmla="*/ 7 h 16"/>
                  <a:gd name="T34" fmla="*/ 16 w 16"/>
                  <a:gd name="T35" fmla="*/ 4 h 16"/>
                  <a:gd name="T36" fmla="*/ 16 w 16"/>
                  <a:gd name="T37" fmla="*/ 2 h 16"/>
                  <a:gd name="T38" fmla="*/ 16 w 16"/>
                  <a:gd name="T39" fmla="*/ 2 h 16"/>
                  <a:gd name="T40" fmla="*/ 16 w 16"/>
                  <a:gd name="T41" fmla="*/ 0 h 16"/>
                  <a:gd name="T42" fmla="*/ 16 w 16"/>
                  <a:gd name="T43" fmla="*/ 0 h 16"/>
                  <a:gd name="T44" fmla="*/ 14 w 16"/>
                  <a:gd name="T45" fmla="*/ 0 h 16"/>
                  <a:gd name="T46" fmla="*/ 14 w 16"/>
                  <a:gd name="T47" fmla="*/ 0 h 16"/>
                  <a:gd name="T48" fmla="*/ 11 w 16"/>
                  <a:gd name="T49" fmla="*/ 2 h 16"/>
                  <a:gd name="T50" fmla="*/ 9 w 16"/>
                  <a:gd name="T51" fmla="*/ 2 h 16"/>
                  <a:gd name="T52" fmla="*/ 7 w 16"/>
                  <a:gd name="T53" fmla="*/ 4 h 16"/>
                  <a:gd name="T54" fmla="*/ 7 w 16"/>
                  <a:gd name="T55" fmla="*/ 7 h 16"/>
                  <a:gd name="T56" fmla="*/ 2 w 16"/>
                  <a:gd name="T57"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16">
                    <a:moveTo>
                      <a:pt x="2" y="11"/>
                    </a:moveTo>
                    <a:lnTo>
                      <a:pt x="2" y="14"/>
                    </a:lnTo>
                    <a:lnTo>
                      <a:pt x="0" y="14"/>
                    </a:lnTo>
                    <a:lnTo>
                      <a:pt x="0" y="14"/>
                    </a:lnTo>
                    <a:lnTo>
                      <a:pt x="0" y="16"/>
                    </a:lnTo>
                    <a:lnTo>
                      <a:pt x="2" y="16"/>
                    </a:lnTo>
                    <a:lnTo>
                      <a:pt x="2" y="16"/>
                    </a:lnTo>
                    <a:lnTo>
                      <a:pt x="2" y="14"/>
                    </a:lnTo>
                    <a:lnTo>
                      <a:pt x="2" y="14"/>
                    </a:lnTo>
                    <a:lnTo>
                      <a:pt x="4" y="14"/>
                    </a:lnTo>
                    <a:lnTo>
                      <a:pt x="7" y="14"/>
                    </a:lnTo>
                    <a:lnTo>
                      <a:pt x="9" y="11"/>
                    </a:lnTo>
                    <a:lnTo>
                      <a:pt x="11" y="9"/>
                    </a:lnTo>
                    <a:lnTo>
                      <a:pt x="14" y="9"/>
                    </a:lnTo>
                    <a:lnTo>
                      <a:pt x="14" y="7"/>
                    </a:lnTo>
                    <a:lnTo>
                      <a:pt x="14" y="7"/>
                    </a:lnTo>
                    <a:lnTo>
                      <a:pt x="14" y="7"/>
                    </a:lnTo>
                    <a:lnTo>
                      <a:pt x="16" y="4"/>
                    </a:lnTo>
                    <a:lnTo>
                      <a:pt x="16" y="2"/>
                    </a:lnTo>
                    <a:lnTo>
                      <a:pt x="16" y="2"/>
                    </a:lnTo>
                    <a:lnTo>
                      <a:pt x="16" y="0"/>
                    </a:lnTo>
                    <a:lnTo>
                      <a:pt x="16" y="0"/>
                    </a:lnTo>
                    <a:lnTo>
                      <a:pt x="14" y="0"/>
                    </a:lnTo>
                    <a:lnTo>
                      <a:pt x="14" y="0"/>
                    </a:lnTo>
                    <a:lnTo>
                      <a:pt x="11" y="2"/>
                    </a:lnTo>
                    <a:lnTo>
                      <a:pt x="9" y="2"/>
                    </a:lnTo>
                    <a:lnTo>
                      <a:pt x="7" y="4"/>
                    </a:lnTo>
                    <a:lnTo>
                      <a:pt x="7" y="7"/>
                    </a:lnTo>
                    <a:lnTo>
                      <a:pt x="2"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54" name="Freeform 105">
                <a:extLst>
                  <a:ext uri="{FF2B5EF4-FFF2-40B4-BE49-F238E27FC236}">
                    <a16:creationId xmlns:a16="http://schemas.microsoft.com/office/drawing/2014/main" id="{61283561-1C06-4FF1-9761-A18CD864C886}"/>
                  </a:ext>
                </a:extLst>
              </p:cNvPr>
              <p:cNvSpPr>
                <a:spLocks/>
              </p:cNvSpPr>
              <p:nvPr/>
            </p:nvSpPr>
            <p:spPr bwMode="gray">
              <a:xfrm>
                <a:off x="-2890" y="1688"/>
                <a:ext cx="2" cy="5"/>
              </a:xfrm>
              <a:custGeom>
                <a:avLst/>
                <a:gdLst>
                  <a:gd name="T0" fmla="*/ 0 w 2"/>
                  <a:gd name="T1" fmla="*/ 3 h 5"/>
                  <a:gd name="T2" fmla="*/ 0 w 2"/>
                  <a:gd name="T3" fmla="*/ 3 h 5"/>
                  <a:gd name="T4" fmla="*/ 0 w 2"/>
                  <a:gd name="T5" fmla="*/ 3 h 5"/>
                  <a:gd name="T6" fmla="*/ 0 w 2"/>
                  <a:gd name="T7" fmla="*/ 3 h 5"/>
                  <a:gd name="T8" fmla="*/ 0 w 2"/>
                  <a:gd name="T9" fmla="*/ 3 h 5"/>
                  <a:gd name="T10" fmla="*/ 0 w 2"/>
                  <a:gd name="T11" fmla="*/ 5 h 5"/>
                  <a:gd name="T12" fmla="*/ 0 w 2"/>
                  <a:gd name="T13" fmla="*/ 5 h 5"/>
                  <a:gd name="T14" fmla="*/ 2 w 2"/>
                  <a:gd name="T15" fmla="*/ 3 h 5"/>
                  <a:gd name="T16" fmla="*/ 2 w 2"/>
                  <a:gd name="T17" fmla="*/ 3 h 5"/>
                  <a:gd name="T18" fmla="*/ 2 w 2"/>
                  <a:gd name="T19" fmla="*/ 3 h 5"/>
                  <a:gd name="T20" fmla="*/ 2 w 2"/>
                  <a:gd name="T21" fmla="*/ 0 h 5"/>
                  <a:gd name="T22" fmla="*/ 2 w 2"/>
                  <a:gd name="T23" fmla="*/ 0 h 5"/>
                  <a:gd name="T24" fmla="*/ 0 w 2"/>
                  <a:gd name="T2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5">
                    <a:moveTo>
                      <a:pt x="0" y="3"/>
                    </a:moveTo>
                    <a:lnTo>
                      <a:pt x="0" y="3"/>
                    </a:lnTo>
                    <a:lnTo>
                      <a:pt x="0" y="3"/>
                    </a:lnTo>
                    <a:lnTo>
                      <a:pt x="0" y="3"/>
                    </a:lnTo>
                    <a:lnTo>
                      <a:pt x="0" y="3"/>
                    </a:lnTo>
                    <a:lnTo>
                      <a:pt x="0" y="5"/>
                    </a:lnTo>
                    <a:lnTo>
                      <a:pt x="0" y="5"/>
                    </a:lnTo>
                    <a:lnTo>
                      <a:pt x="2" y="3"/>
                    </a:lnTo>
                    <a:lnTo>
                      <a:pt x="2" y="3"/>
                    </a:lnTo>
                    <a:lnTo>
                      <a:pt x="2" y="3"/>
                    </a:lnTo>
                    <a:lnTo>
                      <a:pt x="2" y="0"/>
                    </a:lnTo>
                    <a:lnTo>
                      <a:pt x="2"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55" name="Freeform 106">
                <a:extLst>
                  <a:ext uri="{FF2B5EF4-FFF2-40B4-BE49-F238E27FC236}">
                    <a16:creationId xmlns:a16="http://schemas.microsoft.com/office/drawing/2014/main" id="{1C18123B-9DEF-442E-8981-FAB07B01DDB3}"/>
                  </a:ext>
                </a:extLst>
              </p:cNvPr>
              <p:cNvSpPr>
                <a:spLocks/>
              </p:cNvSpPr>
              <p:nvPr/>
            </p:nvSpPr>
            <p:spPr bwMode="gray">
              <a:xfrm>
                <a:off x="-3180" y="937"/>
                <a:ext cx="33" cy="45"/>
              </a:xfrm>
              <a:custGeom>
                <a:avLst/>
                <a:gdLst>
                  <a:gd name="T0" fmla="*/ 28 w 33"/>
                  <a:gd name="T1" fmla="*/ 37 h 45"/>
                  <a:gd name="T2" fmla="*/ 30 w 33"/>
                  <a:gd name="T3" fmla="*/ 35 h 45"/>
                  <a:gd name="T4" fmla="*/ 30 w 33"/>
                  <a:gd name="T5" fmla="*/ 35 h 45"/>
                  <a:gd name="T6" fmla="*/ 33 w 33"/>
                  <a:gd name="T7" fmla="*/ 33 h 45"/>
                  <a:gd name="T8" fmla="*/ 33 w 33"/>
                  <a:gd name="T9" fmla="*/ 33 h 45"/>
                  <a:gd name="T10" fmla="*/ 33 w 33"/>
                  <a:gd name="T11" fmla="*/ 30 h 45"/>
                  <a:gd name="T12" fmla="*/ 33 w 33"/>
                  <a:gd name="T13" fmla="*/ 26 h 45"/>
                  <a:gd name="T14" fmla="*/ 30 w 33"/>
                  <a:gd name="T15" fmla="*/ 26 h 45"/>
                  <a:gd name="T16" fmla="*/ 30 w 33"/>
                  <a:gd name="T17" fmla="*/ 23 h 45"/>
                  <a:gd name="T18" fmla="*/ 30 w 33"/>
                  <a:gd name="T19" fmla="*/ 21 h 45"/>
                  <a:gd name="T20" fmla="*/ 30 w 33"/>
                  <a:gd name="T21" fmla="*/ 21 h 45"/>
                  <a:gd name="T22" fmla="*/ 28 w 33"/>
                  <a:gd name="T23" fmla="*/ 19 h 45"/>
                  <a:gd name="T24" fmla="*/ 28 w 33"/>
                  <a:gd name="T25" fmla="*/ 14 h 45"/>
                  <a:gd name="T26" fmla="*/ 26 w 33"/>
                  <a:gd name="T27" fmla="*/ 2 h 45"/>
                  <a:gd name="T28" fmla="*/ 26 w 33"/>
                  <a:gd name="T29" fmla="*/ 0 h 45"/>
                  <a:gd name="T30" fmla="*/ 26 w 33"/>
                  <a:gd name="T31" fmla="*/ 0 h 45"/>
                  <a:gd name="T32" fmla="*/ 23 w 33"/>
                  <a:gd name="T33" fmla="*/ 2 h 45"/>
                  <a:gd name="T34" fmla="*/ 21 w 33"/>
                  <a:gd name="T35" fmla="*/ 2 h 45"/>
                  <a:gd name="T36" fmla="*/ 16 w 33"/>
                  <a:gd name="T37" fmla="*/ 7 h 45"/>
                  <a:gd name="T38" fmla="*/ 11 w 33"/>
                  <a:gd name="T39" fmla="*/ 12 h 45"/>
                  <a:gd name="T40" fmla="*/ 14 w 33"/>
                  <a:gd name="T41" fmla="*/ 16 h 45"/>
                  <a:gd name="T42" fmla="*/ 11 w 33"/>
                  <a:gd name="T43" fmla="*/ 14 h 45"/>
                  <a:gd name="T44" fmla="*/ 11 w 33"/>
                  <a:gd name="T45" fmla="*/ 12 h 45"/>
                  <a:gd name="T46" fmla="*/ 11 w 33"/>
                  <a:gd name="T47" fmla="*/ 7 h 45"/>
                  <a:gd name="T48" fmla="*/ 11 w 33"/>
                  <a:gd name="T49" fmla="*/ 7 h 45"/>
                  <a:gd name="T50" fmla="*/ 7 w 33"/>
                  <a:gd name="T51" fmla="*/ 9 h 45"/>
                  <a:gd name="T52" fmla="*/ 2 w 33"/>
                  <a:gd name="T53" fmla="*/ 14 h 45"/>
                  <a:gd name="T54" fmla="*/ 2 w 33"/>
                  <a:gd name="T55" fmla="*/ 16 h 45"/>
                  <a:gd name="T56" fmla="*/ 2 w 33"/>
                  <a:gd name="T57" fmla="*/ 19 h 45"/>
                  <a:gd name="T58" fmla="*/ 2 w 33"/>
                  <a:gd name="T59" fmla="*/ 21 h 45"/>
                  <a:gd name="T60" fmla="*/ 0 w 33"/>
                  <a:gd name="T61" fmla="*/ 28 h 45"/>
                  <a:gd name="T62" fmla="*/ 0 w 33"/>
                  <a:gd name="T63" fmla="*/ 28 h 45"/>
                  <a:gd name="T64" fmla="*/ 0 w 33"/>
                  <a:gd name="T65" fmla="*/ 30 h 45"/>
                  <a:gd name="T66" fmla="*/ 0 w 33"/>
                  <a:gd name="T67" fmla="*/ 33 h 45"/>
                  <a:gd name="T68" fmla="*/ 2 w 33"/>
                  <a:gd name="T69" fmla="*/ 33 h 45"/>
                  <a:gd name="T70" fmla="*/ 7 w 33"/>
                  <a:gd name="T71" fmla="*/ 28 h 45"/>
                  <a:gd name="T72" fmla="*/ 9 w 33"/>
                  <a:gd name="T73" fmla="*/ 21 h 45"/>
                  <a:gd name="T74" fmla="*/ 14 w 33"/>
                  <a:gd name="T75" fmla="*/ 19 h 45"/>
                  <a:gd name="T76" fmla="*/ 16 w 33"/>
                  <a:gd name="T77" fmla="*/ 21 h 45"/>
                  <a:gd name="T78" fmla="*/ 11 w 33"/>
                  <a:gd name="T79" fmla="*/ 26 h 45"/>
                  <a:gd name="T80" fmla="*/ 11 w 33"/>
                  <a:gd name="T81" fmla="*/ 28 h 45"/>
                  <a:gd name="T82" fmla="*/ 16 w 33"/>
                  <a:gd name="T83" fmla="*/ 30 h 45"/>
                  <a:gd name="T84" fmla="*/ 14 w 33"/>
                  <a:gd name="T85" fmla="*/ 37 h 45"/>
                  <a:gd name="T86" fmla="*/ 11 w 33"/>
                  <a:gd name="T87" fmla="*/ 42 h 45"/>
                  <a:gd name="T88" fmla="*/ 14 w 33"/>
                  <a:gd name="T89" fmla="*/ 45 h 45"/>
                  <a:gd name="T90" fmla="*/ 19 w 33"/>
                  <a:gd name="T91" fmla="*/ 42 h 45"/>
                  <a:gd name="T92" fmla="*/ 19 w 33"/>
                  <a:gd name="T93" fmla="*/ 42 h 45"/>
                  <a:gd name="T94" fmla="*/ 21 w 33"/>
                  <a:gd name="T95" fmla="*/ 40 h 45"/>
                  <a:gd name="T96" fmla="*/ 26 w 33"/>
                  <a:gd name="T97" fmla="*/ 4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 h="45">
                    <a:moveTo>
                      <a:pt x="26" y="40"/>
                    </a:moveTo>
                    <a:lnTo>
                      <a:pt x="28" y="37"/>
                    </a:lnTo>
                    <a:lnTo>
                      <a:pt x="28" y="35"/>
                    </a:lnTo>
                    <a:lnTo>
                      <a:pt x="30" y="35"/>
                    </a:lnTo>
                    <a:lnTo>
                      <a:pt x="30" y="35"/>
                    </a:lnTo>
                    <a:lnTo>
                      <a:pt x="30" y="35"/>
                    </a:lnTo>
                    <a:lnTo>
                      <a:pt x="33" y="33"/>
                    </a:lnTo>
                    <a:lnTo>
                      <a:pt x="33" y="33"/>
                    </a:lnTo>
                    <a:lnTo>
                      <a:pt x="33" y="33"/>
                    </a:lnTo>
                    <a:lnTo>
                      <a:pt x="33" y="33"/>
                    </a:lnTo>
                    <a:lnTo>
                      <a:pt x="33" y="30"/>
                    </a:lnTo>
                    <a:lnTo>
                      <a:pt x="33" y="30"/>
                    </a:lnTo>
                    <a:lnTo>
                      <a:pt x="33" y="28"/>
                    </a:lnTo>
                    <a:lnTo>
                      <a:pt x="33" y="26"/>
                    </a:lnTo>
                    <a:lnTo>
                      <a:pt x="33" y="26"/>
                    </a:lnTo>
                    <a:lnTo>
                      <a:pt x="30" y="26"/>
                    </a:lnTo>
                    <a:lnTo>
                      <a:pt x="30" y="26"/>
                    </a:lnTo>
                    <a:lnTo>
                      <a:pt x="30" y="23"/>
                    </a:lnTo>
                    <a:lnTo>
                      <a:pt x="30" y="23"/>
                    </a:lnTo>
                    <a:lnTo>
                      <a:pt x="30" y="21"/>
                    </a:lnTo>
                    <a:lnTo>
                      <a:pt x="30" y="21"/>
                    </a:lnTo>
                    <a:lnTo>
                      <a:pt x="30" y="21"/>
                    </a:lnTo>
                    <a:lnTo>
                      <a:pt x="30" y="21"/>
                    </a:lnTo>
                    <a:lnTo>
                      <a:pt x="28" y="19"/>
                    </a:lnTo>
                    <a:lnTo>
                      <a:pt x="28" y="19"/>
                    </a:lnTo>
                    <a:lnTo>
                      <a:pt x="28" y="14"/>
                    </a:lnTo>
                    <a:lnTo>
                      <a:pt x="26" y="7"/>
                    </a:lnTo>
                    <a:lnTo>
                      <a:pt x="26" y="2"/>
                    </a:lnTo>
                    <a:lnTo>
                      <a:pt x="26" y="0"/>
                    </a:lnTo>
                    <a:lnTo>
                      <a:pt x="26" y="0"/>
                    </a:lnTo>
                    <a:lnTo>
                      <a:pt x="26" y="0"/>
                    </a:lnTo>
                    <a:lnTo>
                      <a:pt x="26" y="0"/>
                    </a:lnTo>
                    <a:lnTo>
                      <a:pt x="23" y="2"/>
                    </a:lnTo>
                    <a:lnTo>
                      <a:pt x="23" y="2"/>
                    </a:lnTo>
                    <a:lnTo>
                      <a:pt x="21" y="2"/>
                    </a:lnTo>
                    <a:lnTo>
                      <a:pt x="21" y="2"/>
                    </a:lnTo>
                    <a:lnTo>
                      <a:pt x="19" y="7"/>
                    </a:lnTo>
                    <a:lnTo>
                      <a:pt x="16" y="7"/>
                    </a:lnTo>
                    <a:lnTo>
                      <a:pt x="14" y="9"/>
                    </a:lnTo>
                    <a:lnTo>
                      <a:pt x="11" y="12"/>
                    </a:lnTo>
                    <a:lnTo>
                      <a:pt x="14" y="14"/>
                    </a:lnTo>
                    <a:lnTo>
                      <a:pt x="14" y="16"/>
                    </a:lnTo>
                    <a:lnTo>
                      <a:pt x="11" y="16"/>
                    </a:lnTo>
                    <a:lnTo>
                      <a:pt x="11" y="14"/>
                    </a:lnTo>
                    <a:lnTo>
                      <a:pt x="11" y="12"/>
                    </a:lnTo>
                    <a:lnTo>
                      <a:pt x="11" y="12"/>
                    </a:lnTo>
                    <a:lnTo>
                      <a:pt x="11" y="7"/>
                    </a:lnTo>
                    <a:lnTo>
                      <a:pt x="11" y="7"/>
                    </a:lnTo>
                    <a:lnTo>
                      <a:pt x="11" y="7"/>
                    </a:lnTo>
                    <a:lnTo>
                      <a:pt x="11" y="7"/>
                    </a:lnTo>
                    <a:lnTo>
                      <a:pt x="9" y="7"/>
                    </a:lnTo>
                    <a:lnTo>
                      <a:pt x="7" y="9"/>
                    </a:lnTo>
                    <a:lnTo>
                      <a:pt x="4" y="12"/>
                    </a:lnTo>
                    <a:lnTo>
                      <a:pt x="2" y="14"/>
                    </a:lnTo>
                    <a:lnTo>
                      <a:pt x="2" y="14"/>
                    </a:lnTo>
                    <a:lnTo>
                      <a:pt x="2" y="16"/>
                    </a:lnTo>
                    <a:lnTo>
                      <a:pt x="2" y="19"/>
                    </a:lnTo>
                    <a:lnTo>
                      <a:pt x="2" y="19"/>
                    </a:lnTo>
                    <a:lnTo>
                      <a:pt x="2" y="19"/>
                    </a:lnTo>
                    <a:lnTo>
                      <a:pt x="2" y="21"/>
                    </a:lnTo>
                    <a:lnTo>
                      <a:pt x="0" y="26"/>
                    </a:lnTo>
                    <a:lnTo>
                      <a:pt x="0" y="28"/>
                    </a:lnTo>
                    <a:lnTo>
                      <a:pt x="0" y="28"/>
                    </a:lnTo>
                    <a:lnTo>
                      <a:pt x="0" y="28"/>
                    </a:lnTo>
                    <a:lnTo>
                      <a:pt x="0" y="28"/>
                    </a:lnTo>
                    <a:lnTo>
                      <a:pt x="0" y="30"/>
                    </a:lnTo>
                    <a:lnTo>
                      <a:pt x="0" y="33"/>
                    </a:lnTo>
                    <a:lnTo>
                      <a:pt x="0" y="33"/>
                    </a:lnTo>
                    <a:lnTo>
                      <a:pt x="2" y="33"/>
                    </a:lnTo>
                    <a:lnTo>
                      <a:pt x="2" y="33"/>
                    </a:lnTo>
                    <a:lnTo>
                      <a:pt x="4" y="28"/>
                    </a:lnTo>
                    <a:lnTo>
                      <a:pt x="7" y="28"/>
                    </a:lnTo>
                    <a:lnTo>
                      <a:pt x="9" y="26"/>
                    </a:lnTo>
                    <a:lnTo>
                      <a:pt x="9" y="21"/>
                    </a:lnTo>
                    <a:lnTo>
                      <a:pt x="11" y="21"/>
                    </a:lnTo>
                    <a:lnTo>
                      <a:pt x="14" y="19"/>
                    </a:lnTo>
                    <a:lnTo>
                      <a:pt x="16" y="21"/>
                    </a:lnTo>
                    <a:lnTo>
                      <a:pt x="16" y="21"/>
                    </a:lnTo>
                    <a:lnTo>
                      <a:pt x="14" y="23"/>
                    </a:lnTo>
                    <a:lnTo>
                      <a:pt x="11" y="26"/>
                    </a:lnTo>
                    <a:lnTo>
                      <a:pt x="11" y="28"/>
                    </a:lnTo>
                    <a:lnTo>
                      <a:pt x="11" y="28"/>
                    </a:lnTo>
                    <a:lnTo>
                      <a:pt x="16" y="30"/>
                    </a:lnTo>
                    <a:lnTo>
                      <a:pt x="16" y="30"/>
                    </a:lnTo>
                    <a:lnTo>
                      <a:pt x="19" y="35"/>
                    </a:lnTo>
                    <a:lnTo>
                      <a:pt x="14" y="37"/>
                    </a:lnTo>
                    <a:lnTo>
                      <a:pt x="11" y="40"/>
                    </a:lnTo>
                    <a:lnTo>
                      <a:pt x="11" y="42"/>
                    </a:lnTo>
                    <a:lnTo>
                      <a:pt x="14" y="45"/>
                    </a:lnTo>
                    <a:lnTo>
                      <a:pt x="14" y="45"/>
                    </a:lnTo>
                    <a:lnTo>
                      <a:pt x="16" y="45"/>
                    </a:lnTo>
                    <a:lnTo>
                      <a:pt x="19" y="42"/>
                    </a:lnTo>
                    <a:lnTo>
                      <a:pt x="19" y="42"/>
                    </a:lnTo>
                    <a:lnTo>
                      <a:pt x="19" y="42"/>
                    </a:lnTo>
                    <a:lnTo>
                      <a:pt x="19" y="40"/>
                    </a:lnTo>
                    <a:lnTo>
                      <a:pt x="21" y="40"/>
                    </a:lnTo>
                    <a:lnTo>
                      <a:pt x="23" y="40"/>
                    </a:lnTo>
                    <a:lnTo>
                      <a:pt x="2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56" name="Freeform 107">
                <a:extLst>
                  <a:ext uri="{FF2B5EF4-FFF2-40B4-BE49-F238E27FC236}">
                    <a16:creationId xmlns:a16="http://schemas.microsoft.com/office/drawing/2014/main" id="{B30D910E-3DCD-456A-8311-94FDCF6D6B6C}"/>
                  </a:ext>
                </a:extLst>
              </p:cNvPr>
              <p:cNvSpPr>
                <a:spLocks/>
              </p:cNvSpPr>
              <p:nvPr/>
            </p:nvSpPr>
            <p:spPr bwMode="gray">
              <a:xfrm>
                <a:off x="-3166" y="1015"/>
                <a:ext cx="9" cy="7"/>
              </a:xfrm>
              <a:custGeom>
                <a:avLst/>
                <a:gdLst>
                  <a:gd name="T0" fmla="*/ 7 w 9"/>
                  <a:gd name="T1" fmla="*/ 4 h 7"/>
                  <a:gd name="T2" fmla="*/ 7 w 9"/>
                  <a:gd name="T3" fmla="*/ 4 h 7"/>
                  <a:gd name="T4" fmla="*/ 7 w 9"/>
                  <a:gd name="T5" fmla="*/ 7 h 7"/>
                  <a:gd name="T6" fmla="*/ 7 w 9"/>
                  <a:gd name="T7" fmla="*/ 7 h 7"/>
                  <a:gd name="T8" fmla="*/ 9 w 9"/>
                  <a:gd name="T9" fmla="*/ 4 h 7"/>
                  <a:gd name="T10" fmla="*/ 9 w 9"/>
                  <a:gd name="T11" fmla="*/ 2 h 7"/>
                  <a:gd name="T12" fmla="*/ 9 w 9"/>
                  <a:gd name="T13" fmla="*/ 2 h 7"/>
                  <a:gd name="T14" fmla="*/ 7 w 9"/>
                  <a:gd name="T15" fmla="*/ 2 h 7"/>
                  <a:gd name="T16" fmla="*/ 5 w 9"/>
                  <a:gd name="T17" fmla="*/ 0 h 7"/>
                  <a:gd name="T18" fmla="*/ 2 w 9"/>
                  <a:gd name="T19" fmla="*/ 0 h 7"/>
                  <a:gd name="T20" fmla="*/ 2 w 9"/>
                  <a:gd name="T21" fmla="*/ 2 h 7"/>
                  <a:gd name="T22" fmla="*/ 2 w 9"/>
                  <a:gd name="T23" fmla="*/ 2 h 7"/>
                  <a:gd name="T24" fmla="*/ 0 w 9"/>
                  <a:gd name="T25" fmla="*/ 2 h 7"/>
                  <a:gd name="T26" fmla="*/ 2 w 9"/>
                  <a:gd name="T27" fmla="*/ 2 h 7"/>
                  <a:gd name="T28" fmla="*/ 5 w 9"/>
                  <a:gd name="T29" fmla="*/ 2 h 7"/>
                  <a:gd name="T30" fmla="*/ 7 w 9"/>
                  <a:gd name="T31" fmla="*/ 2 h 7"/>
                  <a:gd name="T32" fmla="*/ 7 w 9"/>
                  <a:gd name="T33" fmla="*/ 4 h 7"/>
                  <a:gd name="T34" fmla="*/ 7 w 9"/>
                  <a:gd name="T35" fmla="*/ 4 h 7"/>
                  <a:gd name="T36" fmla="*/ 7 w 9"/>
                  <a:gd name="T3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7">
                    <a:moveTo>
                      <a:pt x="7" y="4"/>
                    </a:moveTo>
                    <a:lnTo>
                      <a:pt x="7" y="4"/>
                    </a:lnTo>
                    <a:lnTo>
                      <a:pt x="7" y="7"/>
                    </a:lnTo>
                    <a:lnTo>
                      <a:pt x="7" y="7"/>
                    </a:lnTo>
                    <a:lnTo>
                      <a:pt x="9" y="4"/>
                    </a:lnTo>
                    <a:lnTo>
                      <a:pt x="9" y="2"/>
                    </a:lnTo>
                    <a:lnTo>
                      <a:pt x="9" y="2"/>
                    </a:lnTo>
                    <a:lnTo>
                      <a:pt x="7" y="2"/>
                    </a:lnTo>
                    <a:lnTo>
                      <a:pt x="5" y="0"/>
                    </a:lnTo>
                    <a:lnTo>
                      <a:pt x="2" y="0"/>
                    </a:lnTo>
                    <a:lnTo>
                      <a:pt x="2" y="2"/>
                    </a:lnTo>
                    <a:lnTo>
                      <a:pt x="2" y="2"/>
                    </a:lnTo>
                    <a:lnTo>
                      <a:pt x="0" y="2"/>
                    </a:lnTo>
                    <a:lnTo>
                      <a:pt x="2" y="2"/>
                    </a:lnTo>
                    <a:lnTo>
                      <a:pt x="5" y="2"/>
                    </a:lnTo>
                    <a:lnTo>
                      <a:pt x="7" y="2"/>
                    </a:lnTo>
                    <a:lnTo>
                      <a:pt x="7" y="4"/>
                    </a:lnTo>
                    <a:lnTo>
                      <a:pt x="7" y="4"/>
                    </a:lnTo>
                    <a:lnTo>
                      <a:pt x="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57" name="Freeform 108">
                <a:extLst>
                  <a:ext uri="{FF2B5EF4-FFF2-40B4-BE49-F238E27FC236}">
                    <a16:creationId xmlns:a16="http://schemas.microsoft.com/office/drawing/2014/main" id="{B4B019DA-6E5C-4D09-97D5-364465669189}"/>
                  </a:ext>
                </a:extLst>
              </p:cNvPr>
              <p:cNvSpPr>
                <a:spLocks/>
              </p:cNvSpPr>
              <p:nvPr/>
            </p:nvSpPr>
            <p:spPr bwMode="gray">
              <a:xfrm>
                <a:off x="-3053" y="1255"/>
                <a:ext cx="10" cy="9"/>
              </a:xfrm>
              <a:custGeom>
                <a:avLst/>
                <a:gdLst>
                  <a:gd name="T0" fmla="*/ 7 w 10"/>
                  <a:gd name="T1" fmla="*/ 2 h 9"/>
                  <a:gd name="T2" fmla="*/ 7 w 10"/>
                  <a:gd name="T3" fmla="*/ 0 h 9"/>
                  <a:gd name="T4" fmla="*/ 5 w 10"/>
                  <a:gd name="T5" fmla="*/ 0 h 9"/>
                  <a:gd name="T6" fmla="*/ 5 w 10"/>
                  <a:gd name="T7" fmla="*/ 0 h 9"/>
                  <a:gd name="T8" fmla="*/ 5 w 10"/>
                  <a:gd name="T9" fmla="*/ 0 h 9"/>
                  <a:gd name="T10" fmla="*/ 2 w 10"/>
                  <a:gd name="T11" fmla="*/ 0 h 9"/>
                  <a:gd name="T12" fmla="*/ 2 w 10"/>
                  <a:gd name="T13" fmla="*/ 0 h 9"/>
                  <a:gd name="T14" fmla="*/ 0 w 10"/>
                  <a:gd name="T15" fmla="*/ 0 h 9"/>
                  <a:gd name="T16" fmla="*/ 0 w 10"/>
                  <a:gd name="T17" fmla="*/ 2 h 9"/>
                  <a:gd name="T18" fmla="*/ 0 w 10"/>
                  <a:gd name="T19" fmla="*/ 2 h 9"/>
                  <a:gd name="T20" fmla="*/ 2 w 10"/>
                  <a:gd name="T21" fmla="*/ 5 h 9"/>
                  <a:gd name="T22" fmla="*/ 5 w 10"/>
                  <a:gd name="T23" fmla="*/ 2 h 9"/>
                  <a:gd name="T24" fmla="*/ 5 w 10"/>
                  <a:gd name="T25" fmla="*/ 5 h 9"/>
                  <a:gd name="T26" fmla="*/ 5 w 10"/>
                  <a:gd name="T27" fmla="*/ 5 h 9"/>
                  <a:gd name="T28" fmla="*/ 7 w 10"/>
                  <a:gd name="T29" fmla="*/ 7 h 9"/>
                  <a:gd name="T30" fmla="*/ 7 w 10"/>
                  <a:gd name="T31" fmla="*/ 9 h 9"/>
                  <a:gd name="T32" fmla="*/ 10 w 10"/>
                  <a:gd name="T33" fmla="*/ 9 h 9"/>
                  <a:gd name="T34" fmla="*/ 10 w 10"/>
                  <a:gd name="T35" fmla="*/ 9 h 9"/>
                  <a:gd name="T36" fmla="*/ 10 w 10"/>
                  <a:gd name="T37" fmla="*/ 7 h 9"/>
                  <a:gd name="T38" fmla="*/ 10 w 10"/>
                  <a:gd name="T39" fmla="*/ 7 h 9"/>
                  <a:gd name="T40" fmla="*/ 10 w 10"/>
                  <a:gd name="T41" fmla="*/ 5 h 9"/>
                  <a:gd name="T42" fmla="*/ 7 w 10"/>
                  <a:gd name="T43" fmla="*/ 5 h 9"/>
                  <a:gd name="T44" fmla="*/ 7 w 10"/>
                  <a:gd name="T45" fmla="*/ 2 h 9"/>
                  <a:gd name="T46" fmla="*/ 7 w 10"/>
                  <a:gd name="T4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 h="9">
                    <a:moveTo>
                      <a:pt x="7" y="2"/>
                    </a:moveTo>
                    <a:lnTo>
                      <a:pt x="7" y="0"/>
                    </a:lnTo>
                    <a:lnTo>
                      <a:pt x="5" y="0"/>
                    </a:lnTo>
                    <a:lnTo>
                      <a:pt x="5" y="0"/>
                    </a:lnTo>
                    <a:lnTo>
                      <a:pt x="5" y="0"/>
                    </a:lnTo>
                    <a:lnTo>
                      <a:pt x="2" y="0"/>
                    </a:lnTo>
                    <a:lnTo>
                      <a:pt x="2" y="0"/>
                    </a:lnTo>
                    <a:lnTo>
                      <a:pt x="0" y="0"/>
                    </a:lnTo>
                    <a:lnTo>
                      <a:pt x="0" y="2"/>
                    </a:lnTo>
                    <a:lnTo>
                      <a:pt x="0" y="2"/>
                    </a:lnTo>
                    <a:lnTo>
                      <a:pt x="2" y="5"/>
                    </a:lnTo>
                    <a:lnTo>
                      <a:pt x="5" y="2"/>
                    </a:lnTo>
                    <a:lnTo>
                      <a:pt x="5" y="5"/>
                    </a:lnTo>
                    <a:lnTo>
                      <a:pt x="5" y="5"/>
                    </a:lnTo>
                    <a:lnTo>
                      <a:pt x="7" y="7"/>
                    </a:lnTo>
                    <a:lnTo>
                      <a:pt x="7" y="9"/>
                    </a:lnTo>
                    <a:lnTo>
                      <a:pt x="10" y="9"/>
                    </a:lnTo>
                    <a:lnTo>
                      <a:pt x="10" y="9"/>
                    </a:lnTo>
                    <a:lnTo>
                      <a:pt x="10" y="7"/>
                    </a:lnTo>
                    <a:lnTo>
                      <a:pt x="10" y="7"/>
                    </a:lnTo>
                    <a:lnTo>
                      <a:pt x="10" y="5"/>
                    </a:lnTo>
                    <a:lnTo>
                      <a:pt x="7" y="5"/>
                    </a:lnTo>
                    <a:lnTo>
                      <a:pt x="7" y="2"/>
                    </a:lnTo>
                    <a:lnTo>
                      <a:pt x="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58" name="Freeform 109">
                <a:extLst>
                  <a:ext uri="{FF2B5EF4-FFF2-40B4-BE49-F238E27FC236}">
                    <a16:creationId xmlns:a16="http://schemas.microsoft.com/office/drawing/2014/main" id="{615667D1-452C-47C4-A4C1-64ADB0474EB6}"/>
                  </a:ext>
                </a:extLst>
              </p:cNvPr>
              <p:cNvSpPr>
                <a:spLocks/>
              </p:cNvSpPr>
              <p:nvPr/>
            </p:nvSpPr>
            <p:spPr bwMode="gray">
              <a:xfrm>
                <a:off x="-3060" y="1123"/>
                <a:ext cx="33" cy="45"/>
              </a:xfrm>
              <a:custGeom>
                <a:avLst/>
                <a:gdLst>
                  <a:gd name="T0" fmla="*/ 0 w 33"/>
                  <a:gd name="T1" fmla="*/ 42 h 45"/>
                  <a:gd name="T2" fmla="*/ 2 w 33"/>
                  <a:gd name="T3" fmla="*/ 45 h 45"/>
                  <a:gd name="T4" fmla="*/ 5 w 33"/>
                  <a:gd name="T5" fmla="*/ 42 h 45"/>
                  <a:gd name="T6" fmla="*/ 7 w 33"/>
                  <a:gd name="T7" fmla="*/ 42 h 45"/>
                  <a:gd name="T8" fmla="*/ 9 w 33"/>
                  <a:gd name="T9" fmla="*/ 42 h 45"/>
                  <a:gd name="T10" fmla="*/ 12 w 33"/>
                  <a:gd name="T11" fmla="*/ 42 h 45"/>
                  <a:gd name="T12" fmla="*/ 14 w 33"/>
                  <a:gd name="T13" fmla="*/ 45 h 45"/>
                  <a:gd name="T14" fmla="*/ 14 w 33"/>
                  <a:gd name="T15" fmla="*/ 40 h 45"/>
                  <a:gd name="T16" fmla="*/ 17 w 33"/>
                  <a:gd name="T17" fmla="*/ 40 h 45"/>
                  <a:gd name="T18" fmla="*/ 17 w 33"/>
                  <a:gd name="T19" fmla="*/ 38 h 45"/>
                  <a:gd name="T20" fmla="*/ 21 w 33"/>
                  <a:gd name="T21" fmla="*/ 35 h 45"/>
                  <a:gd name="T22" fmla="*/ 24 w 33"/>
                  <a:gd name="T23" fmla="*/ 31 h 45"/>
                  <a:gd name="T24" fmla="*/ 28 w 33"/>
                  <a:gd name="T25" fmla="*/ 28 h 45"/>
                  <a:gd name="T26" fmla="*/ 31 w 33"/>
                  <a:gd name="T27" fmla="*/ 23 h 45"/>
                  <a:gd name="T28" fmla="*/ 31 w 33"/>
                  <a:gd name="T29" fmla="*/ 21 h 45"/>
                  <a:gd name="T30" fmla="*/ 31 w 33"/>
                  <a:gd name="T31" fmla="*/ 21 h 45"/>
                  <a:gd name="T32" fmla="*/ 33 w 33"/>
                  <a:gd name="T33" fmla="*/ 19 h 45"/>
                  <a:gd name="T34" fmla="*/ 33 w 33"/>
                  <a:gd name="T35" fmla="*/ 16 h 45"/>
                  <a:gd name="T36" fmla="*/ 33 w 33"/>
                  <a:gd name="T37" fmla="*/ 14 h 45"/>
                  <a:gd name="T38" fmla="*/ 33 w 33"/>
                  <a:gd name="T39" fmla="*/ 14 h 45"/>
                  <a:gd name="T40" fmla="*/ 31 w 33"/>
                  <a:gd name="T41" fmla="*/ 14 h 45"/>
                  <a:gd name="T42" fmla="*/ 31 w 33"/>
                  <a:gd name="T43" fmla="*/ 9 h 45"/>
                  <a:gd name="T44" fmla="*/ 28 w 33"/>
                  <a:gd name="T45" fmla="*/ 7 h 45"/>
                  <a:gd name="T46" fmla="*/ 31 w 33"/>
                  <a:gd name="T47" fmla="*/ 2 h 45"/>
                  <a:gd name="T48" fmla="*/ 28 w 33"/>
                  <a:gd name="T49" fmla="*/ 2 h 45"/>
                  <a:gd name="T50" fmla="*/ 26 w 33"/>
                  <a:gd name="T51" fmla="*/ 2 h 45"/>
                  <a:gd name="T52" fmla="*/ 19 w 33"/>
                  <a:gd name="T53" fmla="*/ 7 h 45"/>
                  <a:gd name="T54" fmla="*/ 14 w 33"/>
                  <a:gd name="T55" fmla="*/ 19 h 45"/>
                  <a:gd name="T56" fmla="*/ 12 w 33"/>
                  <a:gd name="T57" fmla="*/ 21 h 45"/>
                  <a:gd name="T58" fmla="*/ 7 w 33"/>
                  <a:gd name="T59" fmla="*/ 23 h 45"/>
                  <a:gd name="T60" fmla="*/ 5 w 33"/>
                  <a:gd name="T61" fmla="*/ 26 h 45"/>
                  <a:gd name="T62" fmla="*/ 5 w 33"/>
                  <a:gd name="T63" fmla="*/ 28 h 45"/>
                  <a:gd name="T64" fmla="*/ 5 w 33"/>
                  <a:gd name="T65" fmla="*/ 31 h 45"/>
                  <a:gd name="T66" fmla="*/ 5 w 33"/>
                  <a:gd name="T67" fmla="*/ 35 h 45"/>
                  <a:gd name="T68" fmla="*/ 2 w 33"/>
                  <a:gd name="T69" fmla="*/ 42 h 45"/>
                  <a:gd name="T70" fmla="*/ 0 w 33"/>
                  <a:gd name="T71" fmla="*/ 4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 h="45">
                    <a:moveTo>
                      <a:pt x="0" y="42"/>
                    </a:moveTo>
                    <a:lnTo>
                      <a:pt x="0" y="42"/>
                    </a:lnTo>
                    <a:lnTo>
                      <a:pt x="0" y="42"/>
                    </a:lnTo>
                    <a:lnTo>
                      <a:pt x="2" y="45"/>
                    </a:lnTo>
                    <a:lnTo>
                      <a:pt x="2" y="42"/>
                    </a:lnTo>
                    <a:lnTo>
                      <a:pt x="5" y="42"/>
                    </a:lnTo>
                    <a:lnTo>
                      <a:pt x="7" y="40"/>
                    </a:lnTo>
                    <a:lnTo>
                      <a:pt x="7" y="42"/>
                    </a:lnTo>
                    <a:lnTo>
                      <a:pt x="9" y="42"/>
                    </a:lnTo>
                    <a:lnTo>
                      <a:pt x="9" y="42"/>
                    </a:lnTo>
                    <a:lnTo>
                      <a:pt x="12" y="42"/>
                    </a:lnTo>
                    <a:lnTo>
                      <a:pt x="12" y="42"/>
                    </a:lnTo>
                    <a:lnTo>
                      <a:pt x="12" y="42"/>
                    </a:lnTo>
                    <a:lnTo>
                      <a:pt x="14" y="45"/>
                    </a:lnTo>
                    <a:lnTo>
                      <a:pt x="14" y="42"/>
                    </a:lnTo>
                    <a:lnTo>
                      <a:pt x="14" y="40"/>
                    </a:lnTo>
                    <a:lnTo>
                      <a:pt x="14" y="40"/>
                    </a:lnTo>
                    <a:lnTo>
                      <a:pt x="17" y="40"/>
                    </a:lnTo>
                    <a:lnTo>
                      <a:pt x="17" y="40"/>
                    </a:lnTo>
                    <a:lnTo>
                      <a:pt x="17" y="38"/>
                    </a:lnTo>
                    <a:lnTo>
                      <a:pt x="19" y="38"/>
                    </a:lnTo>
                    <a:lnTo>
                      <a:pt x="21" y="35"/>
                    </a:lnTo>
                    <a:lnTo>
                      <a:pt x="21" y="33"/>
                    </a:lnTo>
                    <a:lnTo>
                      <a:pt x="24" y="31"/>
                    </a:lnTo>
                    <a:lnTo>
                      <a:pt x="26" y="31"/>
                    </a:lnTo>
                    <a:lnTo>
                      <a:pt x="28" y="28"/>
                    </a:lnTo>
                    <a:lnTo>
                      <a:pt x="28" y="23"/>
                    </a:lnTo>
                    <a:lnTo>
                      <a:pt x="31" y="23"/>
                    </a:lnTo>
                    <a:lnTo>
                      <a:pt x="31" y="23"/>
                    </a:lnTo>
                    <a:lnTo>
                      <a:pt x="31" y="21"/>
                    </a:lnTo>
                    <a:lnTo>
                      <a:pt x="31" y="21"/>
                    </a:lnTo>
                    <a:lnTo>
                      <a:pt x="31" y="21"/>
                    </a:lnTo>
                    <a:lnTo>
                      <a:pt x="33" y="19"/>
                    </a:lnTo>
                    <a:lnTo>
                      <a:pt x="33" y="19"/>
                    </a:lnTo>
                    <a:lnTo>
                      <a:pt x="33" y="16"/>
                    </a:lnTo>
                    <a:lnTo>
                      <a:pt x="33" y="16"/>
                    </a:lnTo>
                    <a:lnTo>
                      <a:pt x="33" y="16"/>
                    </a:lnTo>
                    <a:lnTo>
                      <a:pt x="33" y="14"/>
                    </a:lnTo>
                    <a:lnTo>
                      <a:pt x="33" y="14"/>
                    </a:lnTo>
                    <a:lnTo>
                      <a:pt x="33" y="14"/>
                    </a:lnTo>
                    <a:lnTo>
                      <a:pt x="31" y="14"/>
                    </a:lnTo>
                    <a:lnTo>
                      <a:pt x="31" y="14"/>
                    </a:lnTo>
                    <a:lnTo>
                      <a:pt x="31" y="12"/>
                    </a:lnTo>
                    <a:lnTo>
                      <a:pt x="31" y="9"/>
                    </a:lnTo>
                    <a:lnTo>
                      <a:pt x="28" y="9"/>
                    </a:lnTo>
                    <a:lnTo>
                      <a:pt x="28" y="7"/>
                    </a:lnTo>
                    <a:lnTo>
                      <a:pt x="31" y="2"/>
                    </a:lnTo>
                    <a:lnTo>
                      <a:pt x="31" y="2"/>
                    </a:lnTo>
                    <a:lnTo>
                      <a:pt x="31" y="0"/>
                    </a:lnTo>
                    <a:lnTo>
                      <a:pt x="28" y="2"/>
                    </a:lnTo>
                    <a:lnTo>
                      <a:pt x="28" y="2"/>
                    </a:lnTo>
                    <a:lnTo>
                      <a:pt x="26" y="2"/>
                    </a:lnTo>
                    <a:lnTo>
                      <a:pt x="21" y="5"/>
                    </a:lnTo>
                    <a:lnTo>
                      <a:pt x="19" y="7"/>
                    </a:lnTo>
                    <a:lnTo>
                      <a:pt x="17" y="12"/>
                    </a:lnTo>
                    <a:lnTo>
                      <a:pt x="14" y="19"/>
                    </a:lnTo>
                    <a:lnTo>
                      <a:pt x="14" y="19"/>
                    </a:lnTo>
                    <a:lnTo>
                      <a:pt x="12" y="21"/>
                    </a:lnTo>
                    <a:lnTo>
                      <a:pt x="9" y="23"/>
                    </a:lnTo>
                    <a:lnTo>
                      <a:pt x="7" y="23"/>
                    </a:lnTo>
                    <a:lnTo>
                      <a:pt x="5" y="26"/>
                    </a:lnTo>
                    <a:lnTo>
                      <a:pt x="5" y="26"/>
                    </a:lnTo>
                    <a:lnTo>
                      <a:pt x="5" y="26"/>
                    </a:lnTo>
                    <a:lnTo>
                      <a:pt x="5" y="28"/>
                    </a:lnTo>
                    <a:lnTo>
                      <a:pt x="5" y="28"/>
                    </a:lnTo>
                    <a:lnTo>
                      <a:pt x="5" y="31"/>
                    </a:lnTo>
                    <a:lnTo>
                      <a:pt x="5" y="35"/>
                    </a:lnTo>
                    <a:lnTo>
                      <a:pt x="5" y="35"/>
                    </a:lnTo>
                    <a:lnTo>
                      <a:pt x="2" y="40"/>
                    </a:lnTo>
                    <a:lnTo>
                      <a:pt x="2" y="42"/>
                    </a:lnTo>
                    <a:lnTo>
                      <a:pt x="0" y="42"/>
                    </a:lnTo>
                    <a:lnTo>
                      <a:pt x="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59" name="Freeform 110">
                <a:extLst>
                  <a:ext uri="{FF2B5EF4-FFF2-40B4-BE49-F238E27FC236}">
                    <a16:creationId xmlns:a16="http://schemas.microsoft.com/office/drawing/2014/main" id="{D47C0118-0B1F-43E3-9593-401CB39AE722}"/>
                  </a:ext>
                </a:extLst>
              </p:cNvPr>
              <p:cNvSpPr>
                <a:spLocks/>
              </p:cNvSpPr>
              <p:nvPr/>
            </p:nvSpPr>
            <p:spPr bwMode="gray">
              <a:xfrm>
                <a:off x="-3043" y="1243"/>
                <a:ext cx="35" cy="33"/>
              </a:xfrm>
              <a:custGeom>
                <a:avLst/>
                <a:gdLst>
                  <a:gd name="T0" fmla="*/ 21 w 35"/>
                  <a:gd name="T1" fmla="*/ 2 h 33"/>
                  <a:gd name="T2" fmla="*/ 18 w 35"/>
                  <a:gd name="T3" fmla="*/ 0 h 33"/>
                  <a:gd name="T4" fmla="*/ 14 w 35"/>
                  <a:gd name="T5" fmla="*/ 0 h 33"/>
                  <a:gd name="T6" fmla="*/ 9 w 35"/>
                  <a:gd name="T7" fmla="*/ 0 h 33"/>
                  <a:gd name="T8" fmla="*/ 0 w 35"/>
                  <a:gd name="T9" fmla="*/ 2 h 33"/>
                  <a:gd name="T10" fmla="*/ 0 w 35"/>
                  <a:gd name="T11" fmla="*/ 7 h 33"/>
                  <a:gd name="T12" fmla="*/ 0 w 35"/>
                  <a:gd name="T13" fmla="*/ 12 h 33"/>
                  <a:gd name="T14" fmla="*/ 0 w 35"/>
                  <a:gd name="T15" fmla="*/ 17 h 33"/>
                  <a:gd name="T16" fmla="*/ 0 w 35"/>
                  <a:gd name="T17" fmla="*/ 19 h 33"/>
                  <a:gd name="T18" fmla="*/ 4 w 35"/>
                  <a:gd name="T19" fmla="*/ 24 h 33"/>
                  <a:gd name="T20" fmla="*/ 4 w 35"/>
                  <a:gd name="T21" fmla="*/ 26 h 33"/>
                  <a:gd name="T22" fmla="*/ 4 w 35"/>
                  <a:gd name="T23" fmla="*/ 28 h 33"/>
                  <a:gd name="T24" fmla="*/ 4 w 35"/>
                  <a:gd name="T25" fmla="*/ 28 h 33"/>
                  <a:gd name="T26" fmla="*/ 7 w 35"/>
                  <a:gd name="T27" fmla="*/ 28 h 33"/>
                  <a:gd name="T28" fmla="*/ 9 w 35"/>
                  <a:gd name="T29" fmla="*/ 28 h 33"/>
                  <a:gd name="T30" fmla="*/ 11 w 35"/>
                  <a:gd name="T31" fmla="*/ 26 h 33"/>
                  <a:gd name="T32" fmla="*/ 11 w 35"/>
                  <a:gd name="T33" fmla="*/ 28 h 33"/>
                  <a:gd name="T34" fmla="*/ 11 w 35"/>
                  <a:gd name="T35" fmla="*/ 31 h 33"/>
                  <a:gd name="T36" fmla="*/ 9 w 35"/>
                  <a:gd name="T37" fmla="*/ 31 h 33"/>
                  <a:gd name="T38" fmla="*/ 9 w 35"/>
                  <a:gd name="T39" fmla="*/ 33 h 33"/>
                  <a:gd name="T40" fmla="*/ 11 w 35"/>
                  <a:gd name="T41" fmla="*/ 33 h 33"/>
                  <a:gd name="T42" fmla="*/ 11 w 35"/>
                  <a:gd name="T43" fmla="*/ 33 h 33"/>
                  <a:gd name="T44" fmla="*/ 14 w 35"/>
                  <a:gd name="T45" fmla="*/ 33 h 33"/>
                  <a:gd name="T46" fmla="*/ 18 w 35"/>
                  <a:gd name="T47" fmla="*/ 31 h 33"/>
                  <a:gd name="T48" fmla="*/ 23 w 35"/>
                  <a:gd name="T49" fmla="*/ 28 h 33"/>
                  <a:gd name="T50" fmla="*/ 23 w 35"/>
                  <a:gd name="T51" fmla="*/ 28 h 33"/>
                  <a:gd name="T52" fmla="*/ 23 w 35"/>
                  <a:gd name="T53" fmla="*/ 26 h 33"/>
                  <a:gd name="T54" fmla="*/ 23 w 35"/>
                  <a:gd name="T55" fmla="*/ 24 h 33"/>
                  <a:gd name="T56" fmla="*/ 28 w 35"/>
                  <a:gd name="T57" fmla="*/ 21 h 33"/>
                  <a:gd name="T58" fmla="*/ 30 w 35"/>
                  <a:gd name="T59" fmla="*/ 21 h 33"/>
                  <a:gd name="T60" fmla="*/ 35 w 35"/>
                  <a:gd name="T61" fmla="*/ 14 h 33"/>
                  <a:gd name="T62" fmla="*/ 35 w 35"/>
                  <a:gd name="T63" fmla="*/ 12 h 33"/>
                  <a:gd name="T64" fmla="*/ 33 w 35"/>
                  <a:gd name="T65" fmla="*/ 12 h 33"/>
                  <a:gd name="T66" fmla="*/ 30 w 35"/>
                  <a:gd name="T67" fmla="*/ 12 h 33"/>
                  <a:gd name="T68" fmla="*/ 30 w 35"/>
                  <a:gd name="T69" fmla="*/ 14 h 33"/>
                  <a:gd name="T70" fmla="*/ 28 w 35"/>
                  <a:gd name="T71" fmla="*/ 14 h 33"/>
                  <a:gd name="T72" fmla="*/ 26 w 35"/>
                  <a:gd name="T73" fmla="*/ 14 h 33"/>
                  <a:gd name="T74" fmla="*/ 26 w 35"/>
                  <a:gd name="T75" fmla="*/ 14 h 33"/>
                  <a:gd name="T76" fmla="*/ 23 w 35"/>
                  <a:gd name="T77" fmla="*/ 12 h 33"/>
                  <a:gd name="T78" fmla="*/ 23 w 35"/>
                  <a:gd name="T79" fmla="*/ 9 h 33"/>
                  <a:gd name="T80" fmla="*/ 23 w 35"/>
                  <a:gd name="T81" fmla="*/ 7 h 33"/>
                  <a:gd name="T82" fmla="*/ 23 w 35"/>
                  <a:gd name="T83" fmla="*/ 7 h 33"/>
                  <a:gd name="T84" fmla="*/ 21 w 35"/>
                  <a:gd name="T85" fmla="*/ 5 h 33"/>
                  <a:gd name="T86" fmla="*/ 21 w 35"/>
                  <a:gd name="T87"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 h="33">
                    <a:moveTo>
                      <a:pt x="21" y="5"/>
                    </a:moveTo>
                    <a:lnTo>
                      <a:pt x="21" y="2"/>
                    </a:lnTo>
                    <a:lnTo>
                      <a:pt x="18" y="2"/>
                    </a:lnTo>
                    <a:lnTo>
                      <a:pt x="18" y="0"/>
                    </a:lnTo>
                    <a:lnTo>
                      <a:pt x="16" y="0"/>
                    </a:lnTo>
                    <a:lnTo>
                      <a:pt x="14" y="0"/>
                    </a:lnTo>
                    <a:lnTo>
                      <a:pt x="9" y="0"/>
                    </a:lnTo>
                    <a:lnTo>
                      <a:pt x="9" y="0"/>
                    </a:lnTo>
                    <a:lnTo>
                      <a:pt x="0" y="2"/>
                    </a:lnTo>
                    <a:lnTo>
                      <a:pt x="0" y="2"/>
                    </a:lnTo>
                    <a:lnTo>
                      <a:pt x="0" y="5"/>
                    </a:lnTo>
                    <a:lnTo>
                      <a:pt x="0" y="7"/>
                    </a:lnTo>
                    <a:lnTo>
                      <a:pt x="0" y="9"/>
                    </a:lnTo>
                    <a:lnTo>
                      <a:pt x="0" y="12"/>
                    </a:lnTo>
                    <a:lnTo>
                      <a:pt x="0" y="14"/>
                    </a:lnTo>
                    <a:lnTo>
                      <a:pt x="0" y="17"/>
                    </a:lnTo>
                    <a:lnTo>
                      <a:pt x="0" y="17"/>
                    </a:lnTo>
                    <a:lnTo>
                      <a:pt x="0" y="19"/>
                    </a:lnTo>
                    <a:lnTo>
                      <a:pt x="2" y="24"/>
                    </a:lnTo>
                    <a:lnTo>
                      <a:pt x="4" y="24"/>
                    </a:lnTo>
                    <a:lnTo>
                      <a:pt x="4" y="26"/>
                    </a:lnTo>
                    <a:lnTo>
                      <a:pt x="4" y="26"/>
                    </a:lnTo>
                    <a:lnTo>
                      <a:pt x="4" y="26"/>
                    </a:lnTo>
                    <a:lnTo>
                      <a:pt x="4" y="28"/>
                    </a:lnTo>
                    <a:lnTo>
                      <a:pt x="4" y="28"/>
                    </a:lnTo>
                    <a:lnTo>
                      <a:pt x="4" y="28"/>
                    </a:lnTo>
                    <a:lnTo>
                      <a:pt x="4" y="28"/>
                    </a:lnTo>
                    <a:lnTo>
                      <a:pt x="7" y="28"/>
                    </a:lnTo>
                    <a:lnTo>
                      <a:pt x="7" y="31"/>
                    </a:lnTo>
                    <a:lnTo>
                      <a:pt x="9" y="28"/>
                    </a:lnTo>
                    <a:lnTo>
                      <a:pt x="11" y="28"/>
                    </a:lnTo>
                    <a:lnTo>
                      <a:pt x="11" y="26"/>
                    </a:lnTo>
                    <a:lnTo>
                      <a:pt x="11" y="28"/>
                    </a:lnTo>
                    <a:lnTo>
                      <a:pt x="11" y="28"/>
                    </a:lnTo>
                    <a:lnTo>
                      <a:pt x="11" y="28"/>
                    </a:lnTo>
                    <a:lnTo>
                      <a:pt x="11" y="31"/>
                    </a:lnTo>
                    <a:lnTo>
                      <a:pt x="9" y="31"/>
                    </a:lnTo>
                    <a:lnTo>
                      <a:pt x="9" y="31"/>
                    </a:lnTo>
                    <a:lnTo>
                      <a:pt x="9" y="33"/>
                    </a:lnTo>
                    <a:lnTo>
                      <a:pt x="9" y="33"/>
                    </a:lnTo>
                    <a:lnTo>
                      <a:pt x="11" y="33"/>
                    </a:lnTo>
                    <a:lnTo>
                      <a:pt x="11" y="33"/>
                    </a:lnTo>
                    <a:lnTo>
                      <a:pt x="11" y="33"/>
                    </a:lnTo>
                    <a:lnTo>
                      <a:pt x="11" y="33"/>
                    </a:lnTo>
                    <a:lnTo>
                      <a:pt x="14" y="33"/>
                    </a:lnTo>
                    <a:lnTo>
                      <a:pt x="14" y="33"/>
                    </a:lnTo>
                    <a:lnTo>
                      <a:pt x="14" y="33"/>
                    </a:lnTo>
                    <a:lnTo>
                      <a:pt x="18" y="31"/>
                    </a:lnTo>
                    <a:lnTo>
                      <a:pt x="21" y="28"/>
                    </a:lnTo>
                    <a:lnTo>
                      <a:pt x="23" y="28"/>
                    </a:lnTo>
                    <a:lnTo>
                      <a:pt x="23" y="28"/>
                    </a:lnTo>
                    <a:lnTo>
                      <a:pt x="23" y="28"/>
                    </a:lnTo>
                    <a:lnTo>
                      <a:pt x="23" y="26"/>
                    </a:lnTo>
                    <a:lnTo>
                      <a:pt x="23" y="26"/>
                    </a:lnTo>
                    <a:lnTo>
                      <a:pt x="23" y="26"/>
                    </a:lnTo>
                    <a:lnTo>
                      <a:pt x="23" y="24"/>
                    </a:lnTo>
                    <a:lnTo>
                      <a:pt x="26" y="24"/>
                    </a:lnTo>
                    <a:lnTo>
                      <a:pt x="28" y="21"/>
                    </a:lnTo>
                    <a:lnTo>
                      <a:pt x="28" y="21"/>
                    </a:lnTo>
                    <a:lnTo>
                      <a:pt x="30" y="21"/>
                    </a:lnTo>
                    <a:lnTo>
                      <a:pt x="33" y="19"/>
                    </a:lnTo>
                    <a:lnTo>
                      <a:pt x="35" y="14"/>
                    </a:lnTo>
                    <a:lnTo>
                      <a:pt x="35" y="14"/>
                    </a:lnTo>
                    <a:lnTo>
                      <a:pt x="35" y="12"/>
                    </a:lnTo>
                    <a:lnTo>
                      <a:pt x="35" y="12"/>
                    </a:lnTo>
                    <a:lnTo>
                      <a:pt x="33" y="12"/>
                    </a:lnTo>
                    <a:lnTo>
                      <a:pt x="33" y="12"/>
                    </a:lnTo>
                    <a:lnTo>
                      <a:pt x="30" y="12"/>
                    </a:lnTo>
                    <a:lnTo>
                      <a:pt x="30" y="12"/>
                    </a:lnTo>
                    <a:lnTo>
                      <a:pt x="30" y="14"/>
                    </a:lnTo>
                    <a:lnTo>
                      <a:pt x="28" y="14"/>
                    </a:lnTo>
                    <a:lnTo>
                      <a:pt x="28" y="14"/>
                    </a:lnTo>
                    <a:lnTo>
                      <a:pt x="26" y="14"/>
                    </a:lnTo>
                    <a:lnTo>
                      <a:pt x="26" y="14"/>
                    </a:lnTo>
                    <a:lnTo>
                      <a:pt x="26" y="14"/>
                    </a:lnTo>
                    <a:lnTo>
                      <a:pt x="26" y="14"/>
                    </a:lnTo>
                    <a:lnTo>
                      <a:pt x="26" y="12"/>
                    </a:lnTo>
                    <a:lnTo>
                      <a:pt x="23" y="12"/>
                    </a:lnTo>
                    <a:lnTo>
                      <a:pt x="23" y="9"/>
                    </a:lnTo>
                    <a:lnTo>
                      <a:pt x="23" y="9"/>
                    </a:lnTo>
                    <a:lnTo>
                      <a:pt x="23" y="9"/>
                    </a:lnTo>
                    <a:lnTo>
                      <a:pt x="23" y="7"/>
                    </a:lnTo>
                    <a:lnTo>
                      <a:pt x="23" y="7"/>
                    </a:lnTo>
                    <a:lnTo>
                      <a:pt x="23" y="7"/>
                    </a:lnTo>
                    <a:lnTo>
                      <a:pt x="21" y="7"/>
                    </a:lnTo>
                    <a:lnTo>
                      <a:pt x="21" y="5"/>
                    </a:lnTo>
                    <a:lnTo>
                      <a:pt x="21" y="5"/>
                    </a:lnTo>
                    <a:lnTo>
                      <a:pt x="2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60" name="Freeform 111">
                <a:extLst>
                  <a:ext uri="{FF2B5EF4-FFF2-40B4-BE49-F238E27FC236}">
                    <a16:creationId xmlns:a16="http://schemas.microsoft.com/office/drawing/2014/main" id="{C3C100C7-95C2-4799-B0AB-8196B30F03C7}"/>
                  </a:ext>
                </a:extLst>
              </p:cNvPr>
              <p:cNvSpPr>
                <a:spLocks/>
              </p:cNvSpPr>
              <p:nvPr/>
            </p:nvSpPr>
            <p:spPr bwMode="gray">
              <a:xfrm>
                <a:off x="-3244" y="739"/>
                <a:ext cx="14" cy="12"/>
              </a:xfrm>
              <a:custGeom>
                <a:avLst/>
                <a:gdLst>
                  <a:gd name="T0" fmla="*/ 9 w 14"/>
                  <a:gd name="T1" fmla="*/ 2 h 12"/>
                  <a:gd name="T2" fmla="*/ 9 w 14"/>
                  <a:gd name="T3" fmla="*/ 2 h 12"/>
                  <a:gd name="T4" fmla="*/ 9 w 14"/>
                  <a:gd name="T5" fmla="*/ 2 h 12"/>
                  <a:gd name="T6" fmla="*/ 7 w 14"/>
                  <a:gd name="T7" fmla="*/ 2 h 12"/>
                  <a:gd name="T8" fmla="*/ 7 w 14"/>
                  <a:gd name="T9" fmla="*/ 0 h 12"/>
                  <a:gd name="T10" fmla="*/ 7 w 14"/>
                  <a:gd name="T11" fmla="*/ 2 h 12"/>
                  <a:gd name="T12" fmla="*/ 5 w 14"/>
                  <a:gd name="T13" fmla="*/ 2 h 12"/>
                  <a:gd name="T14" fmla="*/ 5 w 14"/>
                  <a:gd name="T15" fmla="*/ 2 h 12"/>
                  <a:gd name="T16" fmla="*/ 5 w 14"/>
                  <a:gd name="T17" fmla="*/ 0 h 12"/>
                  <a:gd name="T18" fmla="*/ 2 w 14"/>
                  <a:gd name="T19" fmla="*/ 0 h 12"/>
                  <a:gd name="T20" fmla="*/ 0 w 14"/>
                  <a:gd name="T21" fmla="*/ 2 h 12"/>
                  <a:gd name="T22" fmla="*/ 0 w 14"/>
                  <a:gd name="T23" fmla="*/ 5 h 12"/>
                  <a:gd name="T24" fmla="*/ 0 w 14"/>
                  <a:gd name="T25" fmla="*/ 7 h 12"/>
                  <a:gd name="T26" fmla="*/ 0 w 14"/>
                  <a:gd name="T27" fmla="*/ 7 h 12"/>
                  <a:gd name="T28" fmla="*/ 5 w 14"/>
                  <a:gd name="T29" fmla="*/ 12 h 12"/>
                  <a:gd name="T30" fmla="*/ 7 w 14"/>
                  <a:gd name="T31" fmla="*/ 12 h 12"/>
                  <a:gd name="T32" fmla="*/ 14 w 14"/>
                  <a:gd name="T33" fmla="*/ 9 h 12"/>
                  <a:gd name="T34" fmla="*/ 14 w 14"/>
                  <a:gd name="T35" fmla="*/ 9 h 12"/>
                  <a:gd name="T36" fmla="*/ 14 w 14"/>
                  <a:gd name="T37" fmla="*/ 7 h 12"/>
                  <a:gd name="T38" fmla="*/ 12 w 14"/>
                  <a:gd name="T39" fmla="*/ 7 h 12"/>
                  <a:gd name="T40" fmla="*/ 12 w 14"/>
                  <a:gd name="T41" fmla="*/ 7 h 12"/>
                  <a:gd name="T42" fmla="*/ 9 w 14"/>
                  <a:gd name="T43" fmla="*/ 7 h 12"/>
                  <a:gd name="T44" fmla="*/ 9 w 14"/>
                  <a:gd name="T45" fmla="*/ 7 h 12"/>
                  <a:gd name="T46" fmla="*/ 12 w 14"/>
                  <a:gd name="T47" fmla="*/ 7 h 12"/>
                  <a:gd name="T48" fmla="*/ 12 w 14"/>
                  <a:gd name="T49" fmla="*/ 5 h 12"/>
                  <a:gd name="T50" fmla="*/ 14 w 14"/>
                  <a:gd name="T51" fmla="*/ 5 h 12"/>
                  <a:gd name="T52" fmla="*/ 14 w 14"/>
                  <a:gd name="T53" fmla="*/ 5 h 12"/>
                  <a:gd name="T54" fmla="*/ 12 w 14"/>
                  <a:gd name="T55" fmla="*/ 2 h 12"/>
                  <a:gd name="T56" fmla="*/ 12 w 14"/>
                  <a:gd name="T57" fmla="*/ 2 h 12"/>
                  <a:gd name="T58" fmla="*/ 12 w 14"/>
                  <a:gd name="T59" fmla="*/ 2 h 12"/>
                  <a:gd name="T60" fmla="*/ 9 w 14"/>
                  <a:gd name="T61" fmla="*/ 2 h 12"/>
                  <a:gd name="T62" fmla="*/ 9 w 14"/>
                  <a:gd name="T63" fmla="*/ 2 h 12"/>
                  <a:gd name="T64" fmla="*/ 9 w 14"/>
                  <a:gd name="T65" fmla="*/ 2 h 12"/>
                  <a:gd name="T66" fmla="*/ 9 w 14"/>
                  <a:gd name="T67" fmla="*/ 2 h 12"/>
                  <a:gd name="T68" fmla="*/ 9 w 14"/>
                  <a:gd name="T6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 h="12">
                    <a:moveTo>
                      <a:pt x="9" y="2"/>
                    </a:moveTo>
                    <a:lnTo>
                      <a:pt x="9" y="2"/>
                    </a:lnTo>
                    <a:lnTo>
                      <a:pt x="9" y="2"/>
                    </a:lnTo>
                    <a:lnTo>
                      <a:pt x="7" y="2"/>
                    </a:lnTo>
                    <a:lnTo>
                      <a:pt x="7" y="0"/>
                    </a:lnTo>
                    <a:lnTo>
                      <a:pt x="7" y="2"/>
                    </a:lnTo>
                    <a:lnTo>
                      <a:pt x="5" y="2"/>
                    </a:lnTo>
                    <a:lnTo>
                      <a:pt x="5" y="2"/>
                    </a:lnTo>
                    <a:lnTo>
                      <a:pt x="5" y="0"/>
                    </a:lnTo>
                    <a:lnTo>
                      <a:pt x="2" y="0"/>
                    </a:lnTo>
                    <a:lnTo>
                      <a:pt x="0" y="2"/>
                    </a:lnTo>
                    <a:lnTo>
                      <a:pt x="0" y="5"/>
                    </a:lnTo>
                    <a:lnTo>
                      <a:pt x="0" y="7"/>
                    </a:lnTo>
                    <a:lnTo>
                      <a:pt x="0" y="7"/>
                    </a:lnTo>
                    <a:lnTo>
                      <a:pt x="5" y="12"/>
                    </a:lnTo>
                    <a:lnTo>
                      <a:pt x="7" y="12"/>
                    </a:lnTo>
                    <a:lnTo>
                      <a:pt x="14" y="9"/>
                    </a:lnTo>
                    <a:lnTo>
                      <a:pt x="14" y="9"/>
                    </a:lnTo>
                    <a:lnTo>
                      <a:pt x="14" y="7"/>
                    </a:lnTo>
                    <a:lnTo>
                      <a:pt x="12" y="7"/>
                    </a:lnTo>
                    <a:lnTo>
                      <a:pt x="12" y="7"/>
                    </a:lnTo>
                    <a:lnTo>
                      <a:pt x="9" y="7"/>
                    </a:lnTo>
                    <a:lnTo>
                      <a:pt x="9" y="7"/>
                    </a:lnTo>
                    <a:lnTo>
                      <a:pt x="12" y="7"/>
                    </a:lnTo>
                    <a:lnTo>
                      <a:pt x="12" y="5"/>
                    </a:lnTo>
                    <a:lnTo>
                      <a:pt x="14" y="5"/>
                    </a:lnTo>
                    <a:lnTo>
                      <a:pt x="14" y="5"/>
                    </a:lnTo>
                    <a:lnTo>
                      <a:pt x="12" y="2"/>
                    </a:lnTo>
                    <a:lnTo>
                      <a:pt x="12" y="2"/>
                    </a:lnTo>
                    <a:lnTo>
                      <a:pt x="12" y="2"/>
                    </a:lnTo>
                    <a:lnTo>
                      <a:pt x="9" y="2"/>
                    </a:lnTo>
                    <a:lnTo>
                      <a:pt x="9" y="2"/>
                    </a:lnTo>
                    <a:lnTo>
                      <a:pt x="9" y="2"/>
                    </a:lnTo>
                    <a:lnTo>
                      <a:pt x="9" y="2"/>
                    </a:lnTo>
                    <a:lnTo>
                      <a:pt x="9"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61" name="Freeform 112">
                <a:extLst>
                  <a:ext uri="{FF2B5EF4-FFF2-40B4-BE49-F238E27FC236}">
                    <a16:creationId xmlns:a16="http://schemas.microsoft.com/office/drawing/2014/main" id="{0745133D-A50E-4351-A521-A5B3F2B498E4}"/>
                  </a:ext>
                </a:extLst>
              </p:cNvPr>
              <p:cNvSpPr>
                <a:spLocks/>
              </p:cNvSpPr>
              <p:nvPr/>
            </p:nvSpPr>
            <p:spPr bwMode="gray">
              <a:xfrm>
                <a:off x="-3095" y="2965"/>
                <a:ext cx="7" cy="8"/>
              </a:xfrm>
              <a:custGeom>
                <a:avLst/>
                <a:gdLst>
                  <a:gd name="T0" fmla="*/ 4 w 7"/>
                  <a:gd name="T1" fmla="*/ 5 h 8"/>
                  <a:gd name="T2" fmla="*/ 7 w 7"/>
                  <a:gd name="T3" fmla="*/ 8 h 8"/>
                  <a:gd name="T4" fmla="*/ 7 w 7"/>
                  <a:gd name="T5" fmla="*/ 5 h 8"/>
                  <a:gd name="T6" fmla="*/ 7 w 7"/>
                  <a:gd name="T7" fmla="*/ 3 h 8"/>
                  <a:gd name="T8" fmla="*/ 7 w 7"/>
                  <a:gd name="T9" fmla="*/ 0 h 8"/>
                  <a:gd name="T10" fmla="*/ 0 w 7"/>
                  <a:gd name="T11" fmla="*/ 0 h 8"/>
                  <a:gd name="T12" fmla="*/ 4 w 7"/>
                  <a:gd name="T13" fmla="*/ 5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4" y="5"/>
                    </a:moveTo>
                    <a:lnTo>
                      <a:pt x="7" y="8"/>
                    </a:lnTo>
                    <a:lnTo>
                      <a:pt x="7" y="5"/>
                    </a:lnTo>
                    <a:lnTo>
                      <a:pt x="7" y="3"/>
                    </a:lnTo>
                    <a:lnTo>
                      <a:pt x="7" y="0"/>
                    </a:lnTo>
                    <a:lnTo>
                      <a:pt x="0" y="0"/>
                    </a:lnTo>
                    <a:lnTo>
                      <a:pt x="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62" name="Freeform 113">
                <a:extLst>
                  <a:ext uri="{FF2B5EF4-FFF2-40B4-BE49-F238E27FC236}">
                    <a16:creationId xmlns:a16="http://schemas.microsoft.com/office/drawing/2014/main" id="{52A49D8D-D053-4440-AB09-31C5548B5801}"/>
                  </a:ext>
                </a:extLst>
              </p:cNvPr>
              <p:cNvSpPr>
                <a:spLocks/>
              </p:cNvSpPr>
              <p:nvPr/>
            </p:nvSpPr>
            <p:spPr bwMode="gray">
              <a:xfrm>
                <a:off x="-2241" y="1210"/>
                <a:ext cx="14" cy="2"/>
              </a:xfrm>
              <a:custGeom>
                <a:avLst/>
                <a:gdLst>
                  <a:gd name="T0" fmla="*/ 2 w 14"/>
                  <a:gd name="T1" fmla="*/ 0 h 2"/>
                  <a:gd name="T2" fmla="*/ 0 w 14"/>
                  <a:gd name="T3" fmla="*/ 2 h 2"/>
                  <a:gd name="T4" fmla="*/ 14 w 14"/>
                  <a:gd name="T5" fmla="*/ 0 h 2"/>
                  <a:gd name="T6" fmla="*/ 12 w 14"/>
                  <a:gd name="T7" fmla="*/ 0 h 2"/>
                  <a:gd name="T8" fmla="*/ 2 w 14"/>
                  <a:gd name="T9" fmla="*/ 0 h 2"/>
                </a:gdLst>
                <a:ahLst/>
                <a:cxnLst>
                  <a:cxn ang="0">
                    <a:pos x="T0" y="T1"/>
                  </a:cxn>
                  <a:cxn ang="0">
                    <a:pos x="T2" y="T3"/>
                  </a:cxn>
                  <a:cxn ang="0">
                    <a:pos x="T4" y="T5"/>
                  </a:cxn>
                  <a:cxn ang="0">
                    <a:pos x="T6" y="T7"/>
                  </a:cxn>
                  <a:cxn ang="0">
                    <a:pos x="T8" y="T9"/>
                  </a:cxn>
                </a:cxnLst>
                <a:rect l="0" t="0" r="r" b="b"/>
                <a:pathLst>
                  <a:path w="14" h="2">
                    <a:moveTo>
                      <a:pt x="2" y="0"/>
                    </a:moveTo>
                    <a:lnTo>
                      <a:pt x="0" y="2"/>
                    </a:lnTo>
                    <a:lnTo>
                      <a:pt x="14" y="0"/>
                    </a:lnTo>
                    <a:lnTo>
                      <a:pt x="1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63" name="Freeform 114">
                <a:extLst>
                  <a:ext uri="{FF2B5EF4-FFF2-40B4-BE49-F238E27FC236}">
                    <a16:creationId xmlns:a16="http://schemas.microsoft.com/office/drawing/2014/main" id="{5B9B63E1-E498-45F7-9247-2FB9460EAE48}"/>
                  </a:ext>
                </a:extLst>
              </p:cNvPr>
              <p:cNvSpPr>
                <a:spLocks/>
              </p:cNvSpPr>
              <p:nvPr/>
            </p:nvSpPr>
            <p:spPr bwMode="gray">
              <a:xfrm>
                <a:off x="-2222" y="1205"/>
                <a:ext cx="14" cy="3"/>
              </a:xfrm>
              <a:custGeom>
                <a:avLst/>
                <a:gdLst>
                  <a:gd name="T0" fmla="*/ 2 w 14"/>
                  <a:gd name="T1" fmla="*/ 0 h 3"/>
                  <a:gd name="T2" fmla="*/ 0 w 14"/>
                  <a:gd name="T3" fmla="*/ 3 h 3"/>
                  <a:gd name="T4" fmla="*/ 2 w 14"/>
                  <a:gd name="T5" fmla="*/ 3 h 3"/>
                  <a:gd name="T6" fmla="*/ 12 w 14"/>
                  <a:gd name="T7" fmla="*/ 3 h 3"/>
                  <a:gd name="T8" fmla="*/ 14 w 14"/>
                  <a:gd name="T9" fmla="*/ 0 h 3"/>
                  <a:gd name="T10" fmla="*/ 14 w 14"/>
                  <a:gd name="T11" fmla="*/ 0 h 3"/>
                  <a:gd name="T12" fmla="*/ 14 w 14"/>
                  <a:gd name="T13" fmla="*/ 0 h 3"/>
                  <a:gd name="T14" fmla="*/ 7 w 14"/>
                  <a:gd name="T15" fmla="*/ 0 h 3"/>
                  <a:gd name="T16" fmla="*/ 2 w 14"/>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3">
                    <a:moveTo>
                      <a:pt x="2" y="0"/>
                    </a:moveTo>
                    <a:lnTo>
                      <a:pt x="0" y="3"/>
                    </a:lnTo>
                    <a:lnTo>
                      <a:pt x="2" y="3"/>
                    </a:lnTo>
                    <a:lnTo>
                      <a:pt x="12" y="3"/>
                    </a:lnTo>
                    <a:lnTo>
                      <a:pt x="14" y="0"/>
                    </a:lnTo>
                    <a:lnTo>
                      <a:pt x="14" y="0"/>
                    </a:lnTo>
                    <a:lnTo>
                      <a:pt x="14" y="0"/>
                    </a:lnTo>
                    <a:lnTo>
                      <a:pt x="7"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64" name="Freeform 115">
                <a:extLst>
                  <a:ext uri="{FF2B5EF4-FFF2-40B4-BE49-F238E27FC236}">
                    <a16:creationId xmlns:a16="http://schemas.microsoft.com/office/drawing/2014/main" id="{DBC80FB4-FCEF-43C9-8C4E-B6FE0D88B547}"/>
                  </a:ext>
                </a:extLst>
              </p:cNvPr>
              <p:cNvSpPr>
                <a:spLocks/>
              </p:cNvSpPr>
              <p:nvPr/>
            </p:nvSpPr>
            <p:spPr bwMode="gray">
              <a:xfrm>
                <a:off x="-2206" y="1205"/>
                <a:ext cx="5" cy="0"/>
              </a:xfrm>
              <a:custGeom>
                <a:avLst/>
                <a:gdLst>
                  <a:gd name="T0" fmla="*/ 3 w 5"/>
                  <a:gd name="T1" fmla="*/ 0 w 5"/>
                  <a:gd name="T2" fmla="*/ 0 w 5"/>
                  <a:gd name="T3" fmla="*/ 5 w 5"/>
                  <a:gd name="T4" fmla="*/ 5 w 5"/>
                  <a:gd name="T5" fmla="*/ 5 w 5"/>
                  <a:gd name="T6" fmla="*/ 5 w 5"/>
                  <a:gd name="T7" fmla="*/ 5 w 5"/>
                  <a:gd name="T8" fmla="*/ 3 w 5"/>
                  <a:gd name="T9" fmla="*/ 3 w 5"/>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5">
                    <a:moveTo>
                      <a:pt x="3" y="0"/>
                    </a:moveTo>
                    <a:lnTo>
                      <a:pt x="0" y="0"/>
                    </a:lnTo>
                    <a:lnTo>
                      <a:pt x="0" y="0"/>
                    </a:lnTo>
                    <a:lnTo>
                      <a:pt x="5" y="0"/>
                    </a:lnTo>
                    <a:lnTo>
                      <a:pt x="5" y="0"/>
                    </a:lnTo>
                    <a:lnTo>
                      <a:pt x="5" y="0"/>
                    </a:lnTo>
                    <a:lnTo>
                      <a:pt x="5" y="0"/>
                    </a:lnTo>
                    <a:lnTo>
                      <a:pt x="5"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65" name="Freeform 116">
                <a:extLst>
                  <a:ext uri="{FF2B5EF4-FFF2-40B4-BE49-F238E27FC236}">
                    <a16:creationId xmlns:a16="http://schemas.microsoft.com/office/drawing/2014/main" id="{87D2694F-2EC3-4BB7-9937-DECD0EE6DFD0}"/>
                  </a:ext>
                </a:extLst>
              </p:cNvPr>
              <p:cNvSpPr>
                <a:spLocks/>
              </p:cNvSpPr>
              <p:nvPr/>
            </p:nvSpPr>
            <p:spPr bwMode="gray">
              <a:xfrm>
                <a:off x="-2199" y="1201"/>
                <a:ext cx="12" cy="4"/>
              </a:xfrm>
              <a:custGeom>
                <a:avLst/>
                <a:gdLst>
                  <a:gd name="T0" fmla="*/ 5 w 12"/>
                  <a:gd name="T1" fmla="*/ 0 h 4"/>
                  <a:gd name="T2" fmla="*/ 3 w 12"/>
                  <a:gd name="T3" fmla="*/ 0 h 4"/>
                  <a:gd name="T4" fmla="*/ 0 w 12"/>
                  <a:gd name="T5" fmla="*/ 2 h 4"/>
                  <a:gd name="T6" fmla="*/ 0 w 12"/>
                  <a:gd name="T7" fmla="*/ 2 h 4"/>
                  <a:gd name="T8" fmla="*/ 0 w 12"/>
                  <a:gd name="T9" fmla="*/ 4 h 4"/>
                  <a:gd name="T10" fmla="*/ 0 w 12"/>
                  <a:gd name="T11" fmla="*/ 4 h 4"/>
                  <a:gd name="T12" fmla="*/ 3 w 12"/>
                  <a:gd name="T13" fmla="*/ 4 h 4"/>
                  <a:gd name="T14" fmla="*/ 3 w 12"/>
                  <a:gd name="T15" fmla="*/ 2 h 4"/>
                  <a:gd name="T16" fmla="*/ 5 w 12"/>
                  <a:gd name="T17" fmla="*/ 2 h 4"/>
                  <a:gd name="T18" fmla="*/ 12 w 12"/>
                  <a:gd name="T19" fmla="*/ 2 h 4"/>
                  <a:gd name="T20" fmla="*/ 12 w 12"/>
                  <a:gd name="T21" fmla="*/ 2 h 4"/>
                  <a:gd name="T22" fmla="*/ 12 w 12"/>
                  <a:gd name="T23" fmla="*/ 2 h 4"/>
                  <a:gd name="T24" fmla="*/ 10 w 12"/>
                  <a:gd name="T25" fmla="*/ 0 h 4"/>
                  <a:gd name="T26" fmla="*/ 5 w 12"/>
                  <a:gd name="T2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4">
                    <a:moveTo>
                      <a:pt x="5" y="0"/>
                    </a:moveTo>
                    <a:lnTo>
                      <a:pt x="3" y="0"/>
                    </a:lnTo>
                    <a:lnTo>
                      <a:pt x="0" y="2"/>
                    </a:lnTo>
                    <a:lnTo>
                      <a:pt x="0" y="2"/>
                    </a:lnTo>
                    <a:lnTo>
                      <a:pt x="0" y="4"/>
                    </a:lnTo>
                    <a:lnTo>
                      <a:pt x="0" y="4"/>
                    </a:lnTo>
                    <a:lnTo>
                      <a:pt x="3" y="4"/>
                    </a:lnTo>
                    <a:lnTo>
                      <a:pt x="3" y="2"/>
                    </a:lnTo>
                    <a:lnTo>
                      <a:pt x="5" y="2"/>
                    </a:lnTo>
                    <a:lnTo>
                      <a:pt x="12" y="2"/>
                    </a:lnTo>
                    <a:lnTo>
                      <a:pt x="12" y="2"/>
                    </a:lnTo>
                    <a:lnTo>
                      <a:pt x="12" y="2"/>
                    </a:lnTo>
                    <a:lnTo>
                      <a:pt x="10"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66" name="Freeform 117">
                <a:extLst>
                  <a:ext uri="{FF2B5EF4-FFF2-40B4-BE49-F238E27FC236}">
                    <a16:creationId xmlns:a16="http://schemas.microsoft.com/office/drawing/2014/main" id="{17E3819A-5C90-4D02-8AF2-96257EA361EE}"/>
                  </a:ext>
                </a:extLst>
              </p:cNvPr>
              <p:cNvSpPr>
                <a:spLocks/>
              </p:cNvSpPr>
              <p:nvPr/>
            </p:nvSpPr>
            <p:spPr bwMode="gray">
              <a:xfrm>
                <a:off x="-2185" y="1198"/>
                <a:ext cx="10" cy="5"/>
              </a:xfrm>
              <a:custGeom>
                <a:avLst/>
                <a:gdLst>
                  <a:gd name="T0" fmla="*/ 3 w 10"/>
                  <a:gd name="T1" fmla="*/ 0 h 5"/>
                  <a:gd name="T2" fmla="*/ 0 w 10"/>
                  <a:gd name="T3" fmla="*/ 3 h 5"/>
                  <a:gd name="T4" fmla="*/ 0 w 10"/>
                  <a:gd name="T5" fmla="*/ 5 h 5"/>
                  <a:gd name="T6" fmla="*/ 0 w 10"/>
                  <a:gd name="T7" fmla="*/ 5 h 5"/>
                  <a:gd name="T8" fmla="*/ 3 w 10"/>
                  <a:gd name="T9" fmla="*/ 3 h 5"/>
                  <a:gd name="T10" fmla="*/ 3 w 10"/>
                  <a:gd name="T11" fmla="*/ 3 h 5"/>
                  <a:gd name="T12" fmla="*/ 5 w 10"/>
                  <a:gd name="T13" fmla="*/ 5 h 5"/>
                  <a:gd name="T14" fmla="*/ 8 w 10"/>
                  <a:gd name="T15" fmla="*/ 3 h 5"/>
                  <a:gd name="T16" fmla="*/ 8 w 10"/>
                  <a:gd name="T17" fmla="*/ 3 h 5"/>
                  <a:gd name="T18" fmla="*/ 10 w 10"/>
                  <a:gd name="T19" fmla="*/ 3 h 5"/>
                  <a:gd name="T20" fmla="*/ 10 w 10"/>
                  <a:gd name="T21" fmla="*/ 3 h 5"/>
                  <a:gd name="T22" fmla="*/ 10 w 10"/>
                  <a:gd name="T23" fmla="*/ 0 h 5"/>
                  <a:gd name="T24" fmla="*/ 5 w 10"/>
                  <a:gd name="T25" fmla="*/ 0 h 5"/>
                  <a:gd name="T26" fmla="*/ 3 w 10"/>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5">
                    <a:moveTo>
                      <a:pt x="3" y="0"/>
                    </a:moveTo>
                    <a:lnTo>
                      <a:pt x="0" y="3"/>
                    </a:lnTo>
                    <a:lnTo>
                      <a:pt x="0" y="5"/>
                    </a:lnTo>
                    <a:lnTo>
                      <a:pt x="0" y="5"/>
                    </a:lnTo>
                    <a:lnTo>
                      <a:pt x="3" y="3"/>
                    </a:lnTo>
                    <a:lnTo>
                      <a:pt x="3" y="3"/>
                    </a:lnTo>
                    <a:lnTo>
                      <a:pt x="5" y="5"/>
                    </a:lnTo>
                    <a:lnTo>
                      <a:pt x="8" y="3"/>
                    </a:lnTo>
                    <a:lnTo>
                      <a:pt x="8" y="3"/>
                    </a:lnTo>
                    <a:lnTo>
                      <a:pt x="10" y="3"/>
                    </a:lnTo>
                    <a:lnTo>
                      <a:pt x="10" y="3"/>
                    </a:lnTo>
                    <a:lnTo>
                      <a:pt x="10" y="0"/>
                    </a:lnTo>
                    <a:lnTo>
                      <a:pt x="5"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67" name="Freeform 118">
                <a:extLst>
                  <a:ext uri="{FF2B5EF4-FFF2-40B4-BE49-F238E27FC236}">
                    <a16:creationId xmlns:a16="http://schemas.microsoft.com/office/drawing/2014/main" id="{AF7DA964-9A14-40D3-88C7-05ADBB4BCF09}"/>
                  </a:ext>
                </a:extLst>
              </p:cNvPr>
              <p:cNvSpPr>
                <a:spLocks/>
              </p:cNvSpPr>
              <p:nvPr/>
            </p:nvSpPr>
            <p:spPr bwMode="gray">
              <a:xfrm>
                <a:off x="-2118" y="1106"/>
                <a:ext cx="7" cy="7"/>
              </a:xfrm>
              <a:custGeom>
                <a:avLst/>
                <a:gdLst>
                  <a:gd name="T0" fmla="*/ 0 w 7"/>
                  <a:gd name="T1" fmla="*/ 7 h 7"/>
                  <a:gd name="T2" fmla="*/ 2 w 7"/>
                  <a:gd name="T3" fmla="*/ 7 h 7"/>
                  <a:gd name="T4" fmla="*/ 2 w 7"/>
                  <a:gd name="T5" fmla="*/ 7 h 7"/>
                  <a:gd name="T6" fmla="*/ 4 w 7"/>
                  <a:gd name="T7" fmla="*/ 7 h 7"/>
                  <a:gd name="T8" fmla="*/ 7 w 7"/>
                  <a:gd name="T9" fmla="*/ 5 h 7"/>
                  <a:gd name="T10" fmla="*/ 7 w 7"/>
                  <a:gd name="T11" fmla="*/ 0 h 7"/>
                  <a:gd name="T12" fmla="*/ 7 w 7"/>
                  <a:gd name="T13" fmla="*/ 0 h 7"/>
                  <a:gd name="T14" fmla="*/ 2 w 7"/>
                  <a:gd name="T15" fmla="*/ 3 h 7"/>
                  <a:gd name="T16" fmla="*/ 2 w 7"/>
                  <a:gd name="T17" fmla="*/ 3 h 7"/>
                  <a:gd name="T18" fmla="*/ 2 w 7"/>
                  <a:gd name="T19" fmla="*/ 3 h 7"/>
                  <a:gd name="T20" fmla="*/ 0 w 7"/>
                  <a:gd name="T21" fmla="*/ 3 h 7"/>
                  <a:gd name="T22" fmla="*/ 0 w 7"/>
                  <a:gd name="T23" fmla="*/ 5 h 7"/>
                  <a:gd name="T24" fmla="*/ 0 w 7"/>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7">
                    <a:moveTo>
                      <a:pt x="0" y="7"/>
                    </a:moveTo>
                    <a:lnTo>
                      <a:pt x="2" y="7"/>
                    </a:lnTo>
                    <a:lnTo>
                      <a:pt x="2" y="7"/>
                    </a:lnTo>
                    <a:lnTo>
                      <a:pt x="4" y="7"/>
                    </a:lnTo>
                    <a:lnTo>
                      <a:pt x="7" y="5"/>
                    </a:lnTo>
                    <a:lnTo>
                      <a:pt x="7" y="0"/>
                    </a:lnTo>
                    <a:lnTo>
                      <a:pt x="7" y="0"/>
                    </a:lnTo>
                    <a:lnTo>
                      <a:pt x="2" y="3"/>
                    </a:lnTo>
                    <a:lnTo>
                      <a:pt x="2" y="3"/>
                    </a:lnTo>
                    <a:lnTo>
                      <a:pt x="2" y="3"/>
                    </a:lnTo>
                    <a:lnTo>
                      <a:pt x="0" y="3"/>
                    </a:lnTo>
                    <a:lnTo>
                      <a:pt x="0" y="5"/>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68" name="Freeform 119">
                <a:extLst>
                  <a:ext uri="{FF2B5EF4-FFF2-40B4-BE49-F238E27FC236}">
                    <a16:creationId xmlns:a16="http://schemas.microsoft.com/office/drawing/2014/main" id="{9B8F2EE0-3C01-418E-B9AF-506EC0A6065A}"/>
                  </a:ext>
                </a:extLst>
              </p:cNvPr>
              <p:cNvSpPr>
                <a:spLocks/>
              </p:cNvSpPr>
              <p:nvPr/>
            </p:nvSpPr>
            <p:spPr bwMode="gray">
              <a:xfrm>
                <a:off x="-2102" y="1109"/>
                <a:ext cx="9" cy="9"/>
              </a:xfrm>
              <a:custGeom>
                <a:avLst/>
                <a:gdLst>
                  <a:gd name="T0" fmla="*/ 0 w 9"/>
                  <a:gd name="T1" fmla="*/ 7 h 9"/>
                  <a:gd name="T2" fmla="*/ 0 w 9"/>
                  <a:gd name="T3" fmla="*/ 9 h 9"/>
                  <a:gd name="T4" fmla="*/ 0 w 9"/>
                  <a:gd name="T5" fmla="*/ 9 h 9"/>
                  <a:gd name="T6" fmla="*/ 5 w 9"/>
                  <a:gd name="T7" fmla="*/ 9 h 9"/>
                  <a:gd name="T8" fmla="*/ 5 w 9"/>
                  <a:gd name="T9" fmla="*/ 7 h 9"/>
                  <a:gd name="T10" fmla="*/ 7 w 9"/>
                  <a:gd name="T11" fmla="*/ 7 h 9"/>
                  <a:gd name="T12" fmla="*/ 7 w 9"/>
                  <a:gd name="T13" fmla="*/ 4 h 9"/>
                  <a:gd name="T14" fmla="*/ 9 w 9"/>
                  <a:gd name="T15" fmla="*/ 2 h 9"/>
                  <a:gd name="T16" fmla="*/ 9 w 9"/>
                  <a:gd name="T17" fmla="*/ 2 h 9"/>
                  <a:gd name="T18" fmla="*/ 9 w 9"/>
                  <a:gd name="T19" fmla="*/ 2 h 9"/>
                  <a:gd name="T20" fmla="*/ 9 w 9"/>
                  <a:gd name="T21" fmla="*/ 2 h 9"/>
                  <a:gd name="T22" fmla="*/ 9 w 9"/>
                  <a:gd name="T23" fmla="*/ 2 h 9"/>
                  <a:gd name="T24" fmla="*/ 7 w 9"/>
                  <a:gd name="T25" fmla="*/ 0 h 9"/>
                  <a:gd name="T26" fmla="*/ 2 w 9"/>
                  <a:gd name="T27" fmla="*/ 2 h 9"/>
                  <a:gd name="T28" fmla="*/ 0 w 9"/>
                  <a:gd name="T29" fmla="*/ 2 h 9"/>
                  <a:gd name="T30" fmla="*/ 0 w 9"/>
                  <a:gd name="T31" fmla="*/ 4 h 9"/>
                  <a:gd name="T32" fmla="*/ 0 w 9"/>
                  <a:gd name="T33" fmla="*/ 4 h 9"/>
                  <a:gd name="T34" fmla="*/ 0 w 9"/>
                  <a:gd name="T35" fmla="*/ 4 h 9"/>
                  <a:gd name="T36" fmla="*/ 0 w 9"/>
                  <a:gd name="T37" fmla="*/ 7 h 9"/>
                  <a:gd name="T38" fmla="*/ 0 w 9"/>
                  <a:gd name="T39"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 h="9">
                    <a:moveTo>
                      <a:pt x="0" y="7"/>
                    </a:moveTo>
                    <a:lnTo>
                      <a:pt x="0" y="9"/>
                    </a:lnTo>
                    <a:lnTo>
                      <a:pt x="0" y="9"/>
                    </a:lnTo>
                    <a:lnTo>
                      <a:pt x="5" y="9"/>
                    </a:lnTo>
                    <a:lnTo>
                      <a:pt x="5" y="7"/>
                    </a:lnTo>
                    <a:lnTo>
                      <a:pt x="7" y="7"/>
                    </a:lnTo>
                    <a:lnTo>
                      <a:pt x="7" y="4"/>
                    </a:lnTo>
                    <a:lnTo>
                      <a:pt x="9" y="2"/>
                    </a:lnTo>
                    <a:lnTo>
                      <a:pt x="9" y="2"/>
                    </a:lnTo>
                    <a:lnTo>
                      <a:pt x="9" y="2"/>
                    </a:lnTo>
                    <a:lnTo>
                      <a:pt x="9" y="2"/>
                    </a:lnTo>
                    <a:lnTo>
                      <a:pt x="9" y="2"/>
                    </a:lnTo>
                    <a:lnTo>
                      <a:pt x="7" y="0"/>
                    </a:lnTo>
                    <a:lnTo>
                      <a:pt x="2" y="2"/>
                    </a:lnTo>
                    <a:lnTo>
                      <a:pt x="0" y="2"/>
                    </a:lnTo>
                    <a:lnTo>
                      <a:pt x="0" y="4"/>
                    </a:lnTo>
                    <a:lnTo>
                      <a:pt x="0" y="4"/>
                    </a:lnTo>
                    <a:lnTo>
                      <a:pt x="0" y="4"/>
                    </a:lnTo>
                    <a:lnTo>
                      <a:pt x="0" y="7"/>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69" name="Freeform 120">
                <a:extLst>
                  <a:ext uri="{FF2B5EF4-FFF2-40B4-BE49-F238E27FC236}">
                    <a16:creationId xmlns:a16="http://schemas.microsoft.com/office/drawing/2014/main" id="{22EC56D1-EB1F-4AF1-8DF5-B7C0039F1292}"/>
                  </a:ext>
                </a:extLst>
              </p:cNvPr>
              <p:cNvSpPr>
                <a:spLocks/>
              </p:cNvSpPr>
              <p:nvPr/>
            </p:nvSpPr>
            <p:spPr bwMode="gray">
              <a:xfrm>
                <a:off x="-2151" y="1205"/>
                <a:ext cx="4" cy="3"/>
              </a:xfrm>
              <a:custGeom>
                <a:avLst/>
                <a:gdLst>
                  <a:gd name="T0" fmla="*/ 0 w 4"/>
                  <a:gd name="T1" fmla="*/ 3 h 3"/>
                  <a:gd name="T2" fmla="*/ 0 w 4"/>
                  <a:gd name="T3" fmla="*/ 3 h 3"/>
                  <a:gd name="T4" fmla="*/ 0 w 4"/>
                  <a:gd name="T5" fmla="*/ 3 h 3"/>
                  <a:gd name="T6" fmla="*/ 2 w 4"/>
                  <a:gd name="T7" fmla="*/ 3 h 3"/>
                  <a:gd name="T8" fmla="*/ 2 w 4"/>
                  <a:gd name="T9" fmla="*/ 0 h 3"/>
                  <a:gd name="T10" fmla="*/ 2 w 4"/>
                  <a:gd name="T11" fmla="*/ 0 h 3"/>
                  <a:gd name="T12" fmla="*/ 4 w 4"/>
                  <a:gd name="T13" fmla="*/ 0 h 3"/>
                  <a:gd name="T14" fmla="*/ 2 w 4"/>
                  <a:gd name="T15" fmla="*/ 0 h 3"/>
                  <a:gd name="T16" fmla="*/ 2 w 4"/>
                  <a:gd name="T17" fmla="*/ 0 h 3"/>
                  <a:gd name="T18" fmla="*/ 0 w 4"/>
                  <a:gd name="T19" fmla="*/ 0 h 3"/>
                  <a:gd name="T20" fmla="*/ 0 w 4"/>
                  <a:gd name="T21" fmla="*/ 0 h 3"/>
                  <a:gd name="T22" fmla="*/ 0 w 4"/>
                  <a:gd name="T23" fmla="*/ 3 h 3"/>
                  <a:gd name="T24" fmla="*/ 0 w 4"/>
                  <a:gd name="T25" fmla="*/ 3 h 3"/>
                  <a:gd name="T26" fmla="*/ 0 w 4"/>
                  <a:gd name="T2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3">
                    <a:moveTo>
                      <a:pt x="0" y="3"/>
                    </a:moveTo>
                    <a:lnTo>
                      <a:pt x="0" y="3"/>
                    </a:lnTo>
                    <a:lnTo>
                      <a:pt x="0" y="3"/>
                    </a:lnTo>
                    <a:lnTo>
                      <a:pt x="2" y="3"/>
                    </a:lnTo>
                    <a:lnTo>
                      <a:pt x="2" y="0"/>
                    </a:lnTo>
                    <a:lnTo>
                      <a:pt x="2" y="0"/>
                    </a:lnTo>
                    <a:lnTo>
                      <a:pt x="4" y="0"/>
                    </a:lnTo>
                    <a:lnTo>
                      <a:pt x="2" y="0"/>
                    </a:lnTo>
                    <a:lnTo>
                      <a:pt x="2" y="0"/>
                    </a:lnTo>
                    <a:lnTo>
                      <a:pt x="0" y="0"/>
                    </a:lnTo>
                    <a:lnTo>
                      <a:pt x="0" y="0"/>
                    </a:lnTo>
                    <a:lnTo>
                      <a:pt x="0" y="3"/>
                    </a:lnTo>
                    <a:lnTo>
                      <a:pt x="0"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0" name="Freeform 121">
                <a:extLst>
                  <a:ext uri="{FF2B5EF4-FFF2-40B4-BE49-F238E27FC236}">
                    <a16:creationId xmlns:a16="http://schemas.microsoft.com/office/drawing/2014/main" id="{11A70DE8-51AA-40CB-AFF3-EA3AA7E48259}"/>
                  </a:ext>
                </a:extLst>
              </p:cNvPr>
              <p:cNvSpPr>
                <a:spLocks/>
              </p:cNvSpPr>
              <p:nvPr/>
            </p:nvSpPr>
            <p:spPr bwMode="gray">
              <a:xfrm>
                <a:off x="-2255" y="1219"/>
                <a:ext cx="9" cy="5"/>
              </a:xfrm>
              <a:custGeom>
                <a:avLst/>
                <a:gdLst>
                  <a:gd name="T0" fmla="*/ 4 w 9"/>
                  <a:gd name="T1" fmla="*/ 3 h 5"/>
                  <a:gd name="T2" fmla="*/ 7 w 9"/>
                  <a:gd name="T3" fmla="*/ 0 h 5"/>
                  <a:gd name="T4" fmla="*/ 9 w 9"/>
                  <a:gd name="T5" fmla="*/ 0 h 5"/>
                  <a:gd name="T6" fmla="*/ 7 w 9"/>
                  <a:gd name="T7" fmla="*/ 0 h 5"/>
                  <a:gd name="T8" fmla="*/ 4 w 9"/>
                  <a:gd name="T9" fmla="*/ 0 h 5"/>
                  <a:gd name="T10" fmla="*/ 0 w 9"/>
                  <a:gd name="T11" fmla="*/ 0 h 5"/>
                  <a:gd name="T12" fmla="*/ 0 w 9"/>
                  <a:gd name="T13" fmla="*/ 3 h 5"/>
                  <a:gd name="T14" fmla="*/ 0 w 9"/>
                  <a:gd name="T15" fmla="*/ 3 h 5"/>
                  <a:gd name="T16" fmla="*/ 0 w 9"/>
                  <a:gd name="T17" fmla="*/ 5 h 5"/>
                  <a:gd name="T18" fmla="*/ 2 w 9"/>
                  <a:gd name="T19" fmla="*/ 5 h 5"/>
                  <a:gd name="T20" fmla="*/ 2 w 9"/>
                  <a:gd name="T21" fmla="*/ 5 h 5"/>
                  <a:gd name="T22" fmla="*/ 2 w 9"/>
                  <a:gd name="T23" fmla="*/ 5 h 5"/>
                  <a:gd name="T24" fmla="*/ 4 w 9"/>
                  <a:gd name="T25" fmla="*/ 5 h 5"/>
                  <a:gd name="T26" fmla="*/ 4 w 9"/>
                  <a:gd name="T27" fmla="*/ 5 h 5"/>
                  <a:gd name="T28" fmla="*/ 4 w 9"/>
                  <a:gd name="T29" fmla="*/ 5 h 5"/>
                  <a:gd name="T30" fmla="*/ 7 w 9"/>
                  <a:gd name="T31" fmla="*/ 5 h 5"/>
                  <a:gd name="T32" fmla="*/ 4 w 9"/>
                  <a:gd name="T33" fmla="*/ 5 h 5"/>
                  <a:gd name="T34" fmla="*/ 4 w 9"/>
                  <a:gd name="T35" fmla="*/ 5 h 5"/>
                  <a:gd name="T36" fmla="*/ 4 w 9"/>
                  <a:gd name="T37" fmla="*/ 3 h 5"/>
                  <a:gd name="T38" fmla="*/ 4 w 9"/>
                  <a:gd name="T39" fmla="*/ 3 h 5"/>
                  <a:gd name="T40" fmla="*/ 4 w 9"/>
                  <a:gd name="T41" fmla="*/ 3 h 5"/>
                  <a:gd name="T42" fmla="*/ 4 w 9"/>
                  <a:gd name="T43"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 h="5">
                    <a:moveTo>
                      <a:pt x="4" y="3"/>
                    </a:moveTo>
                    <a:lnTo>
                      <a:pt x="7" y="0"/>
                    </a:lnTo>
                    <a:lnTo>
                      <a:pt x="9" y="0"/>
                    </a:lnTo>
                    <a:lnTo>
                      <a:pt x="7" y="0"/>
                    </a:lnTo>
                    <a:lnTo>
                      <a:pt x="4" y="0"/>
                    </a:lnTo>
                    <a:lnTo>
                      <a:pt x="0" y="0"/>
                    </a:lnTo>
                    <a:lnTo>
                      <a:pt x="0" y="3"/>
                    </a:lnTo>
                    <a:lnTo>
                      <a:pt x="0" y="3"/>
                    </a:lnTo>
                    <a:lnTo>
                      <a:pt x="0" y="5"/>
                    </a:lnTo>
                    <a:lnTo>
                      <a:pt x="2" y="5"/>
                    </a:lnTo>
                    <a:lnTo>
                      <a:pt x="2" y="5"/>
                    </a:lnTo>
                    <a:lnTo>
                      <a:pt x="2" y="5"/>
                    </a:lnTo>
                    <a:lnTo>
                      <a:pt x="4" y="5"/>
                    </a:lnTo>
                    <a:lnTo>
                      <a:pt x="4" y="5"/>
                    </a:lnTo>
                    <a:lnTo>
                      <a:pt x="4" y="5"/>
                    </a:lnTo>
                    <a:lnTo>
                      <a:pt x="7" y="5"/>
                    </a:lnTo>
                    <a:lnTo>
                      <a:pt x="4" y="5"/>
                    </a:lnTo>
                    <a:lnTo>
                      <a:pt x="4" y="5"/>
                    </a:lnTo>
                    <a:lnTo>
                      <a:pt x="4" y="3"/>
                    </a:lnTo>
                    <a:lnTo>
                      <a:pt x="4" y="3"/>
                    </a:lnTo>
                    <a:lnTo>
                      <a:pt x="4" y="3"/>
                    </a:lnTo>
                    <a:lnTo>
                      <a:pt x="4"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1" name="Freeform 122">
                <a:extLst>
                  <a:ext uri="{FF2B5EF4-FFF2-40B4-BE49-F238E27FC236}">
                    <a16:creationId xmlns:a16="http://schemas.microsoft.com/office/drawing/2014/main" id="{0B8DF1C3-1592-4397-8A29-0302871162E7}"/>
                  </a:ext>
                </a:extLst>
              </p:cNvPr>
              <p:cNvSpPr>
                <a:spLocks/>
              </p:cNvSpPr>
              <p:nvPr/>
            </p:nvSpPr>
            <p:spPr bwMode="gray">
              <a:xfrm>
                <a:off x="-2140" y="1088"/>
                <a:ext cx="7" cy="11"/>
              </a:xfrm>
              <a:custGeom>
                <a:avLst/>
                <a:gdLst>
                  <a:gd name="T0" fmla="*/ 5 w 7"/>
                  <a:gd name="T1" fmla="*/ 0 h 11"/>
                  <a:gd name="T2" fmla="*/ 5 w 7"/>
                  <a:gd name="T3" fmla="*/ 0 h 11"/>
                  <a:gd name="T4" fmla="*/ 5 w 7"/>
                  <a:gd name="T5" fmla="*/ 0 h 11"/>
                  <a:gd name="T6" fmla="*/ 5 w 7"/>
                  <a:gd name="T7" fmla="*/ 0 h 11"/>
                  <a:gd name="T8" fmla="*/ 3 w 7"/>
                  <a:gd name="T9" fmla="*/ 0 h 11"/>
                  <a:gd name="T10" fmla="*/ 3 w 7"/>
                  <a:gd name="T11" fmla="*/ 2 h 11"/>
                  <a:gd name="T12" fmla="*/ 0 w 7"/>
                  <a:gd name="T13" fmla="*/ 4 h 11"/>
                  <a:gd name="T14" fmla="*/ 0 w 7"/>
                  <a:gd name="T15" fmla="*/ 7 h 11"/>
                  <a:gd name="T16" fmla="*/ 3 w 7"/>
                  <a:gd name="T17" fmla="*/ 9 h 11"/>
                  <a:gd name="T18" fmla="*/ 5 w 7"/>
                  <a:gd name="T19" fmla="*/ 11 h 11"/>
                  <a:gd name="T20" fmla="*/ 7 w 7"/>
                  <a:gd name="T21" fmla="*/ 9 h 11"/>
                  <a:gd name="T22" fmla="*/ 7 w 7"/>
                  <a:gd name="T23" fmla="*/ 9 h 11"/>
                  <a:gd name="T24" fmla="*/ 5 w 7"/>
                  <a:gd name="T25" fmla="*/ 9 h 11"/>
                  <a:gd name="T26" fmla="*/ 3 w 7"/>
                  <a:gd name="T27" fmla="*/ 2 h 11"/>
                  <a:gd name="T28" fmla="*/ 3 w 7"/>
                  <a:gd name="T29" fmla="*/ 2 h 11"/>
                  <a:gd name="T30" fmla="*/ 5 w 7"/>
                  <a:gd name="T3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11">
                    <a:moveTo>
                      <a:pt x="5" y="0"/>
                    </a:moveTo>
                    <a:lnTo>
                      <a:pt x="5" y="0"/>
                    </a:lnTo>
                    <a:lnTo>
                      <a:pt x="5" y="0"/>
                    </a:lnTo>
                    <a:lnTo>
                      <a:pt x="5" y="0"/>
                    </a:lnTo>
                    <a:lnTo>
                      <a:pt x="3" y="0"/>
                    </a:lnTo>
                    <a:lnTo>
                      <a:pt x="3" y="2"/>
                    </a:lnTo>
                    <a:lnTo>
                      <a:pt x="0" y="4"/>
                    </a:lnTo>
                    <a:lnTo>
                      <a:pt x="0" y="7"/>
                    </a:lnTo>
                    <a:lnTo>
                      <a:pt x="3" y="9"/>
                    </a:lnTo>
                    <a:lnTo>
                      <a:pt x="5" y="11"/>
                    </a:lnTo>
                    <a:lnTo>
                      <a:pt x="7" y="9"/>
                    </a:lnTo>
                    <a:lnTo>
                      <a:pt x="7" y="9"/>
                    </a:lnTo>
                    <a:lnTo>
                      <a:pt x="5" y="9"/>
                    </a:lnTo>
                    <a:lnTo>
                      <a:pt x="3" y="2"/>
                    </a:lnTo>
                    <a:lnTo>
                      <a:pt x="3" y="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2" name="Freeform 123">
                <a:extLst>
                  <a:ext uri="{FF2B5EF4-FFF2-40B4-BE49-F238E27FC236}">
                    <a16:creationId xmlns:a16="http://schemas.microsoft.com/office/drawing/2014/main" id="{B06B77F1-1CD5-4057-979E-DA6C4FF8C2E0}"/>
                  </a:ext>
                </a:extLst>
              </p:cNvPr>
              <p:cNvSpPr>
                <a:spLocks/>
              </p:cNvSpPr>
              <p:nvPr/>
            </p:nvSpPr>
            <p:spPr bwMode="gray">
              <a:xfrm>
                <a:off x="-1923" y="1170"/>
                <a:ext cx="10" cy="7"/>
              </a:xfrm>
              <a:custGeom>
                <a:avLst/>
                <a:gdLst>
                  <a:gd name="T0" fmla="*/ 5 w 10"/>
                  <a:gd name="T1" fmla="*/ 7 h 7"/>
                  <a:gd name="T2" fmla="*/ 5 w 10"/>
                  <a:gd name="T3" fmla="*/ 7 h 7"/>
                  <a:gd name="T4" fmla="*/ 7 w 10"/>
                  <a:gd name="T5" fmla="*/ 7 h 7"/>
                  <a:gd name="T6" fmla="*/ 7 w 10"/>
                  <a:gd name="T7" fmla="*/ 7 h 7"/>
                  <a:gd name="T8" fmla="*/ 10 w 10"/>
                  <a:gd name="T9" fmla="*/ 0 h 7"/>
                  <a:gd name="T10" fmla="*/ 7 w 10"/>
                  <a:gd name="T11" fmla="*/ 0 h 7"/>
                  <a:gd name="T12" fmla="*/ 5 w 10"/>
                  <a:gd name="T13" fmla="*/ 0 h 7"/>
                  <a:gd name="T14" fmla="*/ 3 w 10"/>
                  <a:gd name="T15" fmla="*/ 2 h 7"/>
                  <a:gd name="T16" fmla="*/ 0 w 10"/>
                  <a:gd name="T17" fmla="*/ 5 h 7"/>
                  <a:gd name="T18" fmla="*/ 3 w 10"/>
                  <a:gd name="T19" fmla="*/ 7 h 7"/>
                  <a:gd name="T20" fmla="*/ 3 w 10"/>
                  <a:gd name="T21" fmla="*/ 7 h 7"/>
                  <a:gd name="T22" fmla="*/ 5 w 10"/>
                  <a:gd name="T23" fmla="*/ 7 h 7"/>
                  <a:gd name="T24" fmla="*/ 5 w 10"/>
                  <a:gd name="T25" fmla="*/ 7 h 7"/>
                  <a:gd name="T26" fmla="*/ 5 w 10"/>
                  <a:gd name="T27" fmla="*/ 5 h 7"/>
                  <a:gd name="T28" fmla="*/ 5 w 10"/>
                  <a:gd name="T29" fmla="*/ 5 h 7"/>
                  <a:gd name="T30" fmla="*/ 7 w 10"/>
                  <a:gd name="T31" fmla="*/ 5 h 7"/>
                  <a:gd name="T32" fmla="*/ 7 w 10"/>
                  <a:gd name="T33" fmla="*/ 5 h 7"/>
                  <a:gd name="T34" fmla="*/ 5 w 10"/>
                  <a:gd name="T3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7">
                    <a:moveTo>
                      <a:pt x="5" y="7"/>
                    </a:moveTo>
                    <a:lnTo>
                      <a:pt x="5" y="7"/>
                    </a:lnTo>
                    <a:lnTo>
                      <a:pt x="7" y="7"/>
                    </a:lnTo>
                    <a:lnTo>
                      <a:pt x="7" y="7"/>
                    </a:lnTo>
                    <a:lnTo>
                      <a:pt x="10" y="0"/>
                    </a:lnTo>
                    <a:lnTo>
                      <a:pt x="7" y="0"/>
                    </a:lnTo>
                    <a:lnTo>
                      <a:pt x="5" y="0"/>
                    </a:lnTo>
                    <a:lnTo>
                      <a:pt x="3" y="2"/>
                    </a:lnTo>
                    <a:lnTo>
                      <a:pt x="0" y="5"/>
                    </a:lnTo>
                    <a:lnTo>
                      <a:pt x="3" y="7"/>
                    </a:lnTo>
                    <a:lnTo>
                      <a:pt x="3" y="7"/>
                    </a:lnTo>
                    <a:lnTo>
                      <a:pt x="5" y="7"/>
                    </a:lnTo>
                    <a:lnTo>
                      <a:pt x="5" y="7"/>
                    </a:lnTo>
                    <a:lnTo>
                      <a:pt x="5" y="5"/>
                    </a:lnTo>
                    <a:lnTo>
                      <a:pt x="5" y="5"/>
                    </a:lnTo>
                    <a:lnTo>
                      <a:pt x="7" y="5"/>
                    </a:lnTo>
                    <a:lnTo>
                      <a:pt x="7" y="5"/>
                    </a:ln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3" name="Freeform 124">
                <a:extLst>
                  <a:ext uri="{FF2B5EF4-FFF2-40B4-BE49-F238E27FC236}">
                    <a16:creationId xmlns:a16="http://schemas.microsoft.com/office/drawing/2014/main" id="{6B6B5DDD-8ADA-469A-91F0-54F561BCD91E}"/>
                  </a:ext>
                </a:extLst>
              </p:cNvPr>
              <p:cNvSpPr>
                <a:spLocks/>
              </p:cNvSpPr>
              <p:nvPr/>
            </p:nvSpPr>
            <p:spPr bwMode="gray">
              <a:xfrm>
                <a:off x="-1911" y="1161"/>
                <a:ext cx="7" cy="7"/>
              </a:xfrm>
              <a:custGeom>
                <a:avLst/>
                <a:gdLst>
                  <a:gd name="T0" fmla="*/ 0 w 7"/>
                  <a:gd name="T1" fmla="*/ 2 h 7"/>
                  <a:gd name="T2" fmla="*/ 0 w 7"/>
                  <a:gd name="T3" fmla="*/ 2 h 7"/>
                  <a:gd name="T4" fmla="*/ 0 w 7"/>
                  <a:gd name="T5" fmla="*/ 4 h 7"/>
                  <a:gd name="T6" fmla="*/ 0 w 7"/>
                  <a:gd name="T7" fmla="*/ 7 h 7"/>
                  <a:gd name="T8" fmla="*/ 0 w 7"/>
                  <a:gd name="T9" fmla="*/ 7 h 7"/>
                  <a:gd name="T10" fmla="*/ 3 w 7"/>
                  <a:gd name="T11" fmla="*/ 4 h 7"/>
                  <a:gd name="T12" fmla="*/ 5 w 7"/>
                  <a:gd name="T13" fmla="*/ 0 h 7"/>
                  <a:gd name="T14" fmla="*/ 7 w 7"/>
                  <a:gd name="T15" fmla="*/ 0 h 7"/>
                  <a:gd name="T16" fmla="*/ 5 w 7"/>
                  <a:gd name="T17" fmla="*/ 0 h 7"/>
                  <a:gd name="T18" fmla="*/ 0 w 7"/>
                  <a:gd name="T19"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0" y="2"/>
                    </a:moveTo>
                    <a:lnTo>
                      <a:pt x="0" y="2"/>
                    </a:lnTo>
                    <a:lnTo>
                      <a:pt x="0" y="4"/>
                    </a:lnTo>
                    <a:lnTo>
                      <a:pt x="0" y="7"/>
                    </a:lnTo>
                    <a:lnTo>
                      <a:pt x="0" y="7"/>
                    </a:lnTo>
                    <a:lnTo>
                      <a:pt x="3" y="4"/>
                    </a:lnTo>
                    <a:lnTo>
                      <a:pt x="5" y="0"/>
                    </a:lnTo>
                    <a:lnTo>
                      <a:pt x="7" y="0"/>
                    </a:lnTo>
                    <a:lnTo>
                      <a:pt x="5"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4" name="Freeform 125">
                <a:extLst>
                  <a:ext uri="{FF2B5EF4-FFF2-40B4-BE49-F238E27FC236}">
                    <a16:creationId xmlns:a16="http://schemas.microsoft.com/office/drawing/2014/main" id="{61665D77-2333-4D27-8CB2-9D8A242230AB}"/>
                  </a:ext>
                </a:extLst>
              </p:cNvPr>
              <p:cNvSpPr>
                <a:spLocks/>
              </p:cNvSpPr>
              <p:nvPr/>
            </p:nvSpPr>
            <p:spPr bwMode="gray">
              <a:xfrm>
                <a:off x="-1802" y="1102"/>
                <a:ext cx="7" cy="16"/>
              </a:xfrm>
              <a:custGeom>
                <a:avLst/>
                <a:gdLst>
                  <a:gd name="T0" fmla="*/ 7 w 7"/>
                  <a:gd name="T1" fmla="*/ 2 h 16"/>
                  <a:gd name="T2" fmla="*/ 7 w 7"/>
                  <a:gd name="T3" fmla="*/ 0 h 16"/>
                  <a:gd name="T4" fmla="*/ 7 w 7"/>
                  <a:gd name="T5" fmla="*/ 0 h 16"/>
                  <a:gd name="T6" fmla="*/ 7 w 7"/>
                  <a:gd name="T7" fmla="*/ 0 h 16"/>
                  <a:gd name="T8" fmla="*/ 7 w 7"/>
                  <a:gd name="T9" fmla="*/ 0 h 16"/>
                  <a:gd name="T10" fmla="*/ 4 w 7"/>
                  <a:gd name="T11" fmla="*/ 0 h 16"/>
                  <a:gd name="T12" fmla="*/ 4 w 7"/>
                  <a:gd name="T13" fmla="*/ 0 h 16"/>
                  <a:gd name="T14" fmla="*/ 4 w 7"/>
                  <a:gd name="T15" fmla="*/ 0 h 16"/>
                  <a:gd name="T16" fmla="*/ 2 w 7"/>
                  <a:gd name="T17" fmla="*/ 0 h 16"/>
                  <a:gd name="T18" fmla="*/ 2 w 7"/>
                  <a:gd name="T19" fmla="*/ 2 h 16"/>
                  <a:gd name="T20" fmla="*/ 0 w 7"/>
                  <a:gd name="T21" fmla="*/ 11 h 16"/>
                  <a:gd name="T22" fmla="*/ 0 w 7"/>
                  <a:gd name="T23" fmla="*/ 14 h 16"/>
                  <a:gd name="T24" fmla="*/ 0 w 7"/>
                  <a:gd name="T25" fmla="*/ 16 h 16"/>
                  <a:gd name="T26" fmla="*/ 0 w 7"/>
                  <a:gd name="T27" fmla="*/ 16 h 16"/>
                  <a:gd name="T28" fmla="*/ 0 w 7"/>
                  <a:gd name="T29" fmla="*/ 11 h 16"/>
                  <a:gd name="T30" fmla="*/ 0 w 7"/>
                  <a:gd name="T31" fmla="*/ 11 h 16"/>
                  <a:gd name="T32" fmla="*/ 2 w 7"/>
                  <a:gd name="T33" fmla="*/ 9 h 16"/>
                  <a:gd name="T34" fmla="*/ 2 w 7"/>
                  <a:gd name="T35" fmla="*/ 9 h 16"/>
                  <a:gd name="T36" fmla="*/ 2 w 7"/>
                  <a:gd name="T37" fmla="*/ 9 h 16"/>
                  <a:gd name="T38" fmla="*/ 2 w 7"/>
                  <a:gd name="T39" fmla="*/ 7 h 16"/>
                  <a:gd name="T40" fmla="*/ 4 w 7"/>
                  <a:gd name="T41" fmla="*/ 4 h 16"/>
                  <a:gd name="T42" fmla="*/ 4 w 7"/>
                  <a:gd name="T43" fmla="*/ 2 h 16"/>
                  <a:gd name="T44" fmla="*/ 4 w 7"/>
                  <a:gd name="T45" fmla="*/ 2 h 16"/>
                  <a:gd name="T46" fmla="*/ 7 w 7"/>
                  <a:gd name="T47" fmla="*/ 0 h 16"/>
                  <a:gd name="T48" fmla="*/ 7 w 7"/>
                  <a:gd name="T49" fmla="*/ 2 h 16"/>
                  <a:gd name="T50" fmla="*/ 7 w 7"/>
                  <a:gd name="T51"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 h="16">
                    <a:moveTo>
                      <a:pt x="7" y="2"/>
                    </a:moveTo>
                    <a:lnTo>
                      <a:pt x="7" y="0"/>
                    </a:lnTo>
                    <a:lnTo>
                      <a:pt x="7" y="0"/>
                    </a:lnTo>
                    <a:lnTo>
                      <a:pt x="7" y="0"/>
                    </a:lnTo>
                    <a:lnTo>
                      <a:pt x="7" y="0"/>
                    </a:lnTo>
                    <a:lnTo>
                      <a:pt x="4" y="0"/>
                    </a:lnTo>
                    <a:lnTo>
                      <a:pt x="4" y="0"/>
                    </a:lnTo>
                    <a:lnTo>
                      <a:pt x="4" y="0"/>
                    </a:lnTo>
                    <a:lnTo>
                      <a:pt x="2" y="0"/>
                    </a:lnTo>
                    <a:lnTo>
                      <a:pt x="2" y="2"/>
                    </a:lnTo>
                    <a:lnTo>
                      <a:pt x="0" y="11"/>
                    </a:lnTo>
                    <a:lnTo>
                      <a:pt x="0" y="14"/>
                    </a:lnTo>
                    <a:lnTo>
                      <a:pt x="0" y="16"/>
                    </a:lnTo>
                    <a:lnTo>
                      <a:pt x="0" y="16"/>
                    </a:lnTo>
                    <a:lnTo>
                      <a:pt x="0" y="11"/>
                    </a:lnTo>
                    <a:lnTo>
                      <a:pt x="0" y="11"/>
                    </a:lnTo>
                    <a:lnTo>
                      <a:pt x="2" y="9"/>
                    </a:lnTo>
                    <a:lnTo>
                      <a:pt x="2" y="9"/>
                    </a:lnTo>
                    <a:lnTo>
                      <a:pt x="2" y="9"/>
                    </a:lnTo>
                    <a:lnTo>
                      <a:pt x="2" y="7"/>
                    </a:lnTo>
                    <a:lnTo>
                      <a:pt x="4" y="4"/>
                    </a:lnTo>
                    <a:lnTo>
                      <a:pt x="4" y="2"/>
                    </a:lnTo>
                    <a:lnTo>
                      <a:pt x="4" y="2"/>
                    </a:lnTo>
                    <a:lnTo>
                      <a:pt x="7" y="0"/>
                    </a:lnTo>
                    <a:lnTo>
                      <a:pt x="7" y="2"/>
                    </a:lnTo>
                    <a:lnTo>
                      <a:pt x="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5" name="Freeform 126">
                <a:extLst>
                  <a:ext uri="{FF2B5EF4-FFF2-40B4-BE49-F238E27FC236}">
                    <a16:creationId xmlns:a16="http://schemas.microsoft.com/office/drawing/2014/main" id="{29A33533-DE46-46EF-B605-A9B07BC99CBC}"/>
                  </a:ext>
                </a:extLst>
              </p:cNvPr>
              <p:cNvSpPr>
                <a:spLocks/>
              </p:cNvSpPr>
              <p:nvPr/>
            </p:nvSpPr>
            <p:spPr bwMode="gray">
              <a:xfrm>
                <a:off x="-2168" y="1151"/>
                <a:ext cx="2" cy="0"/>
              </a:xfrm>
              <a:custGeom>
                <a:avLst/>
                <a:gdLst>
                  <a:gd name="T0" fmla="*/ 2 w 2"/>
                  <a:gd name="T1" fmla="*/ 0 w 2"/>
                  <a:gd name="T2" fmla="*/ 2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0" y="0"/>
                    </a:lnTo>
                    <a:lnTo>
                      <a:pt x="2"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6" name="Rectangle 127">
                <a:extLst>
                  <a:ext uri="{FF2B5EF4-FFF2-40B4-BE49-F238E27FC236}">
                    <a16:creationId xmlns:a16="http://schemas.microsoft.com/office/drawing/2014/main" id="{E92DF80E-F0EA-411F-829A-43F89904AA7C}"/>
                  </a:ext>
                </a:extLst>
              </p:cNvPr>
              <p:cNvSpPr>
                <a:spLocks noChangeArrowheads="1"/>
              </p:cNvSpPr>
              <p:nvPr/>
            </p:nvSpPr>
            <p:spPr bwMode="gray">
              <a:xfrm>
                <a:off x="-1762" y="1135"/>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7" name="Freeform 128">
                <a:extLst>
                  <a:ext uri="{FF2B5EF4-FFF2-40B4-BE49-F238E27FC236}">
                    <a16:creationId xmlns:a16="http://schemas.microsoft.com/office/drawing/2014/main" id="{2ADFA672-B3BB-49E1-816D-AAC491C4FE69}"/>
                  </a:ext>
                </a:extLst>
              </p:cNvPr>
              <p:cNvSpPr>
                <a:spLocks/>
              </p:cNvSpPr>
              <p:nvPr/>
            </p:nvSpPr>
            <p:spPr bwMode="gray">
              <a:xfrm>
                <a:off x="-2142" y="1045"/>
                <a:ext cx="28" cy="38"/>
              </a:xfrm>
              <a:custGeom>
                <a:avLst/>
                <a:gdLst>
                  <a:gd name="T0" fmla="*/ 12 w 28"/>
                  <a:gd name="T1" fmla="*/ 21 h 38"/>
                  <a:gd name="T2" fmla="*/ 9 w 28"/>
                  <a:gd name="T3" fmla="*/ 21 h 38"/>
                  <a:gd name="T4" fmla="*/ 7 w 28"/>
                  <a:gd name="T5" fmla="*/ 19 h 38"/>
                  <a:gd name="T6" fmla="*/ 7 w 28"/>
                  <a:gd name="T7" fmla="*/ 14 h 38"/>
                  <a:gd name="T8" fmla="*/ 7 w 28"/>
                  <a:gd name="T9" fmla="*/ 12 h 38"/>
                  <a:gd name="T10" fmla="*/ 7 w 28"/>
                  <a:gd name="T11" fmla="*/ 10 h 38"/>
                  <a:gd name="T12" fmla="*/ 7 w 28"/>
                  <a:gd name="T13" fmla="*/ 7 h 38"/>
                  <a:gd name="T14" fmla="*/ 12 w 28"/>
                  <a:gd name="T15" fmla="*/ 5 h 38"/>
                  <a:gd name="T16" fmla="*/ 12 w 28"/>
                  <a:gd name="T17" fmla="*/ 5 h 38"/>
                  <a:gd name="T18" fmla="*/ 12 w 28"/>
                  <a:gd name="T19" fmla="*/ 2 h 38"/>
                  <a:gd name="T20" fmla="*/ 9 w 28"/>
                  <a:gd name="T21" fmla="*/ 2 h 38"/>
                  <a:gd name="T22" fmla="*/ 9 w 28"/>
                  <a:gd name="T23" fmla="*/ 2 h 38"/>
                  <a:gd name="T24" fmla="*/ 14 w 28"/>
                  <a:gd name="T25" fmla="*/ 2 h 38"/>
                  <a:gd name="T26" fmla="*/ 9 w 28"/>
                  <a:gd name="T27" fmla="*/ 0 h 38"/>
                  <a:gd name="T28" fmla="*/ 7 w 28"/>
                  <a:gd name="T29" fmla="*/ 2 h 38"/>
                  <a:gd name="T30" fmla="*/ 2 w 28"/>
                  <a:gd name="T31" fmla="*/ 19 h 38"/>
                  <a:gd name="T32" fmla="*/ 2 w 28"/>
                  <a:gd name="T33" fmla="*/ 21 h 38"/>
                  <a:gd name="T34" fmla="*/ 0 w 28"/>
                  <a:gd name="T35" fmla="*/ 33 h 38"/>
                  <a:gd name="T36" fmla="*/ 0 w 28"/>
                  <a:gd name="T37" fmla="*/ 38 h 38"/>
                  <a:gd name="T38" fmla="*/ 2 w 28"/>
                  <a:gd name="T39" fmla="*/ 38 h 38"/>
                  <a:gd name="T40" fmla="*/ 2 w 28"/>
                  <a:gd name="T41" fmla="*/ 38 h 38"/>
                  <a:gd name="T42" fmla="*/ 2 w 28"/>
                  <a:gd name="T43" fmla="*/ 38 h 38"/>
                  <a:gd name="T44" fmla="*/ 2 w 28"/>
                  <a:gd name="T45" fmla="*/ 35 h 38"/>
                  <a:gd name="T46" fmla="*/ 2 w 28"/>
                  <a:gd name="T47" fmla="*/ 28 h 38"/>
                  <a:gd name="T48" fmla="*/ 2 w 28"/>
                  <a:gd name="T49" fmla="*/ 28 h 38"/>
                  <a:gd name="T50" fmla="*/ 2 w 28"/>
                  <a:gd name="T51" fmla="*/ 26 h 38"/>
                  <a:gd name="T52" fmla="*/ 2 w 28"/>
                  <a:gd name="T53" fmla="*/ 24 h 38"/>
                  <a:gd name="T54" fmla="*/ 2 w 28"/>
                  <a:gd name="T55" fmla="*/ 24 h 38"/>
                  <a:gd name="T56" fmla="*/ 5 w 28"/>
                  <a:gd name="T57" fmla="*/ 24 h 38"/>
                  <a:gd name="T58" fmla="*/ 5 w 28"/>
                  <a:gd name="T59" fmla="*/ 24 h 38"/>
                  <a:gd name="T60" fmla="*/ 7 w 28"/>
                  <a:gd name="T61" fmla="*/ 24 h 38"/>
                  <a:gd name="T62" fmla="*/ 7 w 28"/>
                  <a:gd name="T63" fmla="*/ 24 h 38"/>
                  <a:gd name="T64" fmla="*/ 7 w 28"/>
                  <a:gd name="T65" fmla="*/ 24 h 38"/>
                  <a:gd name="T66" fmla="*/ 7 w 28"/>
                  <a:gd name="T67" fmla="*/ 24 h 38"/>
                  <a:gd name="T68" fmla="*/ 12 w 28"/>
                  <a:gd name="T69" fmla="*/ 24 h 38"/>
                  <a:gd name="T70" fmla="*/ 14 w 28"/>
                  <a:gd name="T71" fmla="*/ 24 h 38"/>
                  <a:gd name="T72" fmla="*/ 16 w 28"/>
                  <a:gd name="T73" fmla="*/ 21 h 38"/>
                  <a:gd name="T74" fmla="*/ 16 w 28"/>
                  <a:gd name="T75" fmla="*/ 21 h 38"/>
                  <a:gd name="T76" fmla="*/ 26 w 28"/>
                  <a:gd name="T77" fmla="*/ 21 h 38"/>
                  <a:gd name="T78" fmla="*/ 28 w 28"/>
                  <a:gd name="T79" fmla="*/ 21 h 38"/>
                  <a:gd name="T80" fmla="*/ 28 w 28"/>
                  <a:gd name="T81" fmla="*/ 21 h 38"/>
                  <a:gd name="T82" fmla="*/ 12 w 28"/>
                  <a:gd name="T83" fmla="*/ 2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 h="38">
                    <a:moveTo>
                      <a:pt x="12" y="21"/>
                    </a:moveTo>
                    <a:lnTo>
                      <a:pt x="9" y="21"/>
                    </a:lnTo>
                    <a:lnTo>
                      <a:pt x="7" y="19"/>
                    </a:lnTo>
                    <a:lnTo>
                      <a:pt x="7" y="14"/>
                    </a:lnTo>
                    <a:lnTo>
                      <a:pt x="7" y="12"/>
                    </a:lnTo>
                    <a:lnTo>
                      <a:pt x="7" y="10"/>
                    </a:lnTo>
                    <a:lnTo>
                      <a:pt x="7" y="7"/>
                    </a:lnTo>
                    <a:lnTo>
                      <a:pt x="12" y="5"/>
                    </a:lnTo>
                    <a:lnTo>
                      <a:pt x="12" y="5"/>
                    </a:lnTo>
                    <a:lnTo>
                      <a:pt x="12" y="2"/>
                    </a:lnTo>
                    <a:lnTo>
                      <a:pt x="9" y="2"/>
                    </a:lnTo>
                    <a:lnTo>
                      <a:pt x="9" y="2"/>
                    </a:lnTo>
                    <a:lnTo>
                      <a:pt x="14" y="2"/>
                    </a:lnTo>
                    <a:lnTo>
                      <a:pt x="9" y="0"/>
                    </a:lnTo>
                    <a:lnTo>
                      <a:pt x="7" y="2"/>
                    </a:lnTo>
                    <a:lnTo>
                      <a:pt x="2" y="19"/>
                    </a:lnTo>
                    <a:lnTo>
                      <a:pt x="2" y="21"/>
                    </a:lnTo>
                    <a:lnTo>
                      <a:pt x="0" y="33"/>
                    </a:lnTo>
                    <a:lnTo>
                      <a:pt x="0" y="38"/>
                    </a:lnTo>
                    <a:lnTo>
                      <a:pt x="2" y="38"/>
                    </a:lnTo>
                    <a:lnTo>
                      <a:pt x="2" y="38"/>
                    </a:lnTo>
                    <a:lnTo>
                      <a:pt x="2" y="38"/>
                    </a:lnTo>
                    <a:lnTo>
                      <a:pt x="2" y="35"/>
                    </a:lnTo>
                    <a:lnTo>
                      <a:pt x="2" y="28"/>
                    </a:lnTo>
                    <a:lnTo>
                      <a:pt x="2" y="28"/>
                    </a:lnTo>
                    <a:lnTo>
                      <a:pt x="2" y="26"/>
                    </a:lnTo>
                    <a:lnTo>
                      <a:pt x="2" y="24"/>
                    </a:lnTo>
                    <a:lnTo>
                      <a:pt x="2" y="24"/>
                    </a:lnTo>
                    <a:lnTo>
                      <a:pt x="5" y="24"/>
                    </a:lnTo>
                    <a:lnTo>
                      <a:pt x="5" y="24"/>
                    </a:lnTo>
                    <a:lnTo>
                      <a:pt x="7" y="24"/>
                    </a:lnTo>
                    <a:lnTo>
                      <a:pt x="7" y="24"/>
                    </a:lnTo>
                    <a:lnTo>
                      <a:pt x="7" y="24"/>
                    </a:lnTo>
                    <a:lnTo>
                      <a:pt x="7" y="24"/>
                    </a:lnTo>
                    <a:lnTo>
                      <a:pt x="12" y="24"/>
                    </a:lnTo>
                    <a:lnTo>
                      <a:pt x="14" y="24"/>
                    </a:lnTo>
                    <a:lnTo>
                      <a:pt x="16" y="21"/>
                    </a:lnTo>
                    <a:lnTo>
                      <a:pt x="16" y="21"/>
                    </a:lnTo>
                    <a:lnTo>
                      <a:pt x="26" y="21"/>
                    </a:lnTo>
                    <a:lnTo>
                      <a:pt x="28" y="21"/>
                    </a:lnTo>
                    <a:lnTo>
                      <a:pt x="28" y="21"/>
                    </a:lnTo>
                    <a:lnTo>
                      <a:pt x="1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8" name="Freeform 129">
                <a:extLst>
                  <a:ext uri="{FF2B5EF4-FFF2-40B4-BE49-F238E27FC236}">
                    <a16:creationId xmlns:a16="http://schemas.microsoft.com/office/drawing/2014/main" id="{B1A9A620-CFD3-42A1-A0B8-CD2573D1C1AB}"/>
                  </a:ext>
                </a:extLst>
              </p:cNvPr>
              <p:cNvSpPr>
                <a:spLocks/>
              </p:cNvSpPr>
              <p:nvPr/>
            </p:nvSpPr>
            <p:spPr bwMode="gray">
              <a:xfrm>
                <a:off x="-1798" y="1090"/>
                <a:ext cx="45" cy="56"/>
              </a:xfrm>
              <a:custGeom>
                <a:avLst/>
                <a:gdLst>
                  <a:gd name="T0" fmla="*/ 43 w 45"/>
                  <a:gd name="T1" fmla="*/ 49 h 56"/>
                  <a:gd name="T2" fmla="*/ 43 w 45"/>
                  <a:gd name="T3" fmla="*/ 45 h 56"/>
                  <a:gd name="T4" fmla="*/ 43 w 45"/>
                  <a:gd name="T5" fmla="*/ 40 h 56"/>
                  <a:gd name="T6" fmla="*/ 36 w 45"/>
                  <a:gd name="T7" fmla="*/ 33 h 56"/>
                  <a:gd name="T8" fmla="*/ 33 w 45"/>
                  <a:gd name="T9" fmla="*/ 26 h 56"/>
                  <a:gd name="T10" fmla="*/ 41 w 45"/>
                  <a:gd name="T11" fmla="*/ 19 h 56"/>
                  <a:gd name="T12" fmla="*/ 24 w 45"/>
                  <a:gd name="T13" fmla="*/ 14 h 56"/>
                  <a:gd name="T14" fmla="*/ 19 w 45"/>
                  <a:gd name="T15" fmla="*/ 9 h 56"/>
                  <a:gd name="T16" fmla="*/ 22 w 45"/>
                  <a:gd name="T17" fmla="*/ 2 h 56"/>
                  <a:gd name="T18" fmla="*/ 19 w 45"/>
                  <a:gd name="T19" fmla="*/ 0 h 56"/>
                  <a:gd name="T20" fmla="*/ 8 w 45"/>
                  <a:gd name="T21" fmla="*/ 7 h 56"/>
                  <a:gd name="T22" fmla="*/ 12 w 45"/>
                  <a:gd name="T23" fmla="*/ 7 h 56"/>
                  <a:gd name="T24" fmla="*/ 12 w 45"/>
                  <a:gd name="T25" fmla="*/ 9 h 56"/>
                  <a:gd name="T26" fmla="*/ 10 w 45"/>
                  <a:gd name="T27" fmla="*/ 16 h 56"/>
                  <a:gd name="T28" fmla="*/ 15 w 45"/>
                  <a:gd name="T29" fmla="*/ 14 h 56"/>
                  <a:gd name="T30" fmla="*/ 17 w 45"/>
                  <a:gd name="T31" fmla="*/ 9 h 56"/>
                  <a:gd name="T32" fmla="*/ 19 w 45"/>
                  <a:gd name="T33" fmla="*/ 14 h 56"/>
                  <a:gd name="T34" fmla="*/ 22 w 45"/>
                  <a:gd name="T35" fmla="*/ 16 h 56"/>
                  <a:gd name="T36" fmla="*/ 26 w 45"/>
                  <a:gd name="T37" fmla="*/ 16 h 56"/>
                  <a:gd name="T38" fmla="*/ 29 w 45"/>
                  <a:gd name="T39" fmla="*/ 16 h 56"/>
                  <a:gd name="T40" fmla="*/ 26 w 45"/>
                  <a:gd name="T41" fmla="*/ 16 h 56"/>
                  <a:gd name="T42" fmla="*/ 29 w 45"/>
                  <a:gd name="T43" fmla="*/ 21 h 56"/>
                  <a:gd name="T44" fmla="*/ 26 w 45"/>
                  <a:gd name="T45" fmla="*/ 23 h 56"/>
                  <a:gd name="T46" fmla="*/ 22 w 45"/>
                  <a:gd name="T47" fmla="*/ 21 h 56"/>
                  <a:gd name="T48" fmla="*/ 19 w 45"/>
                  <a:gd name="T49" fmla="*/ 16 h 56"/>
                  <a:gd name="T50" fmla="*/ 19 w 45"/>
                  <a:gd name="T51" fmla="*/ 19 h 56"/>
                  <a:gd name="T52" fmla="*/ 17 w 45"/>
                  <a:gd name="T53" fmla="*/ 21 h 56"/>
                  <a:gd name="T54" fmla="*/ 17 w 45"/>
                  <a:gd name="T55" fmla="*/ 19 h 56"/>
                  <a:gd name="T56" fmla="*/ 17 w 45"/>
                  <a:gd name="T57" fmla="*/ 16 h 56"/>
                  <a:gd name="T58" fmla="*/ 15 w 45"/>
                  <a:gd name="T59" fmla="*/ 14 h 56"/>
                  <a:gd name="T60" fmla="*/ 15 w 45"/>
                  <a:gd name="T61" fmla="*/ 21 h 56"/>
                  <a:gd name="T62" fmla="*/ 12 w 45"/>
                  <a:gd name="T63" fmla="*/ 19 h 56"/>
                  <a:gd name="T64" fmla="*/ 3 w 45"/>
                  <a:gd name="T65" fmla="*/ 16 h 56"/>
                  <a:gd name="T66" fmla="*/ 3 w 45"/>
                  <a:gd name="T67" fmla="*/ 19 h 56"/>
                  <a:gd name="T68" fmla="*/ 5 w 45"/>
                  <a:gd name="T69" fmla="*/ 21 h 56"/>
                  <a:gd name="T70" fmla="*/ 8 w 45"/>
                  <a:gd name="T71" fmla="*/ 21 h 56"/>
                  <a:gd name="T72" fmla="*/ 8 w 45"/>
                  <a:gd name="T73" fmla="*/ 23 h 56"/>
                  <a:gd name="T74" fmla="*/ 10 w 45"/>
                  <a:gd name="T75" fmla="*/ 26 h 56"/>
                  <a:gd name="T76" fmla="*/ 8 w 45"/>
                  <a:gd name="T77" fmla="*/ 28 h 56"/>
                  <a:gd name="T78" fmla="*/ 3 w 45"/>
                  <a:gd name="T79" fmla="*/ 33 h 56"/>
                  <a:gd name="T80" fmla="*/ 8 w 45"/>
                  <a:gd name="T81" fmla="*/ 33 h 56"/>
                  <a:gd name="T82" fmla="*/ 8 w 45"/>
                  <a:gd name="T83" fmla="*/ 35 h 56"/>
                  <a:gd name="T84" fmla="*/ 8 w 45"/>
                  <a:gd name="T85" fmla="*/ 40 h 56"/>
                  <a:gd name="T86" fmla="*/ 3 w 45"/>
                  <a:gd name="T87" fmla="*/ 38 h 56"/>
                  <a:gd name="T88" fmla="*/ 5 w 45"/>
                  <a:gd name="T89" fmla="*/ 47 h 56"/>
                  <a:gd name="T90" fmla="*/ 3 w 45"/>
                  <a:gd name="T91" fmla="*/ 49 h 56"/>
                  <a:gd name="T92" fmla="*/ 5 w 45"/>
                  <a:gd name="T93" fmla="*/ 49 h 56"/>
                  <a:gd name="T94" fmla="*/ 10 w 45"/>
                  <a:gd name="T95" fmla="*/ 52 h 56"/>
                  <a:gd name="T96" fmla="*/ 12 w 45"/>
                  <a:gd name="T97" fmla="*/ 52 h 56"/>
                  <a:gd name="T98" fmla="*/ 15 w 45"/>
                  <a:gd name="T99" fmla="*/ 52 h 56"/>
                  <a:gd name="T100" fmla="*/ 15 w 45"/>
                  <a:gd name="T101" fmla="*/ 52 h 56"/>
                  <a:gd name="T102" fmla="*/ 19 w 45"/>
                  <a:gd name="T103" fmla="*/ 56 h 56"/>
                  <a:gd name="T104" fmla="*/ 22 w 45"/>
                  <a:gd name="T105" fmla="*/ 52 h 56"/>
                  <a:gd name="T106" fmla="*/ 17 w 45"/>
                  <a:gd name="T107" fmla="*/ 52 h 56"/>
                  <a:gd name="T108" fmla="*/ 19 w 45"/>
                  <a:gd name="T109" fmla="*/ 49 h 56"/>
                  <a:gd name="T110" fmla="*/ 26 w 45"/>
                  <a:gd name="T111" fmla="*/ 42 h 56"/>
                  <a:gd name="T112" fmla="*/ 36 w 45"/>
                  <a:gd name="T113" fmla="*/ 42 h 56"/>
                  <a:gd name="T114" fmla="*/ 38 w 45"/>
                  <a:gd name="T115" fmla="*/ 42 h 56"/>
                  <a:gd name="T116" fmla="*/ 36 w 45"/>
                  <a:gd name="T117" fmla="*/ 45 h 56"/>
                  <a:gd name="T118" fmla="*/ 41 w 45"/>
                  <a:gd name="T119" fmla="*/ 45 h 56"/>
                  <a:gd name="T120" fmla="*/ 41 w 45"/>
                  <a:gd name="T121" fmla="*/ 49 h 56"/>
                  <a:gd name="T122" fmla="*/ 43 w 45"/>
                  <a:gd name="T123" fmla="*/ 49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 h="56">
                    <a:moveTo>
                      <a:pt x="41" y="49"/>
                    </a:moveTo>
                    <a:lnTo>
                      <a:pt x="41" y="49"/>
                    </a:lnTo>
                    <a:lnTo>
                      <a:pt x="43" y="49"/>
                    </a:lnTo>
                    <a:lnTo>
                      <a:pt x="43" y="49"/>
                    </a:lnTo>
                    <a:lnTo>
                      <a:pt x="43" y="49"/>
                    </a:lnTo>
                    <a:lnTo>
                      <a:pt x="43" y="47"/>
                    </a:lnTo>
                    <a:lnTo>
                      <a:pt x="43" y="45"/>
                    </a:lnTo>
                    <a:lnTo>
                      <a:pt x="43" y="45"/>
                    </a:lnTo>
                    <a:lnTo>
                      <a:pt x="45" y="42"/>
                    </a:lnTo>
                    <a:lnTo>
                      <a:pt x="45" y="42"/>
                    </a:lnTo>
                    <a:lnTo>
                      <a:pt x="45" y="42"/>
                    </a:lnTo>
                    <a:lnTo>
                      <a:pt x="43" y="40"/>
                    </a:lnTo>
                    <a:lnTo>
                      <a:pt x="41" y="35"/>
                    </a:lnTo>
                    <a:lnTo>
                      <a:pt x="41" y="35"/>
                    </a:lnTo>
                    <a:lnTo>
                      <a:pt x="36" y="35"/>
                    </a:lnTo>
                    <a:lnTo>
                      <a:pt x="36" y="33"/>
                    </a:lnTo>
                    <a:lnTo>
                      <a:pt x="33" y="33"/>
                    </a:lnTo>
                    <a:lnTo>
                      <a:pt x="33" y="31"/>
                    </a:lnTo>
                    <a:lnTo>
                      <a:pt x="33" y="28"/>
                    </a:lnTo>
                    <a:lnTo>
                      <a:pt x="33" y="26"/>
                    </a:lnTo>
                    <a:lnTo>
                      <a:pt x="33" y="26"/>
                    </a:lnTo>
                    <a:lnTo>
                      <a:pt x="36" y="23"/>
                    </a:lnTo>
                    <a:lnTo>
                      <a:pt x="38" y="21"/>
                    </a:lnTo>
                    <a:lnTo>
                      <a:pt x="41" y="19"/>
                    </a:lnTo>
                    <a:lnTo>
                      <a:pt x="38" y="14"/>
                    </a:lnTo>
                    <a:lnTo>
                      <a:pt x="38" y="14"/>
                    </a:lnTo>
                    <a:lnTo>
                      <a:pt x="33" y="12"/>
                    </a:lnTo>
                    <a:lnTo>
                      <a:pt x="24" y="14"/>
                    </a:lnTo>
                    <a:lnTo>
                      <a:pt x="22" y="14"/>
                    </a:lnTo>
                    <a:lnTo>
                      <a:pt x="22" y="12"/>
                    </a:lnTo>
                    <a:lnTo>
                      <a:pt x="19" y="12"/>
                    </a:lnTo>
                    <a:lnTo>
                      <a:pt x="19" y="9"/>
                    </a:lnTo>
                    <a:lnTo>
                      <a:pt x="19" y="7"/>
                    </a:lnTo>
                    <a:lnTo>
                      <a:pt x="19" y="5"/>
                    </a:lnTo>
                    <a:lnTo>
                      <a:pt x="22" y="5"/>
                    </a:lnTo>
                    <a:lnTo>
                      <a:pt x="22" y="2"/>
                    </a:lnTo>
                    <a:lnTo>
                      <a:pt x="24" y="2"/>
                    </a:lnTo>
                    <a:lnTo>
                      <a:pt x="24" y="2"/>
                    </a:lnTo>
                    <a:lnTo>
                      <a:pt x="22" y="0"/>
                    </a:lnTo>
                    <a:lnTo>
                      <a:pt x="19" y="0"/>
                    </a:lnTo>
                    <a:lnTo>
                      <a:pt x="10" y="5"/>
                    </a:lnTo>
                    <a:lnTo>
                      <a:pt x="10" y="5"/>
                    </a:lnTo>
                    <a:lnTo>
                      <a:pt x="8" y="5"/>
                    </a:lnTo>
                    <a:lnTo>
                      <a:pt x="8" y="7"/>
                    </a:lnTo>
                    <a:lnTo>
                      <a:pt x="8" y="7"/>
                    </a:lnTo>
                    <a:lnTo>
                      <a:pt x="8" y="7"/>
                    </a:lnTo>
                    <a:lnTo>
                      <a:pt x="10" y="7"/>
                    </a:lnTo>
                    <a:lnTo>
                      <a:pt x="12" y="7"/>
                    </a:lnTo>
                    <a:lnTo>
                      <a:pt x="12" y="7"/>
                    </a:lnTo>
                    <a:lnTo>
                      <a:pt x="12" y="7"/>
                    </a:lnTo>
                    <a:lnTo>
                      <a:pt x="12" y="9"/>
                    </a:lnTo>
                    <a:lnTo>
                      <a:pt x="12" y="9"/>
                    </a:lnTo>
                    <a:lnTo>
                      <a:pt x="10" y="9"/>
                    </a:lnTo>
                    <a:lnTo>
                      <a:pt x="10" y="12"/>
                    </a:lnTo>
                    <a:lnTo>
                      <a:pt x="10" y="14"/>
                    </a:lnTo>
                    <a:lnTo>
                      <a:pt x="10" y="16"/>
                    </a:lnTo>
                    <a:lnTo>
                      <a:pt x="12" y="16"/>
                    </a:lnTo>
                    <a:lnTo>
                      <a:pt x="12" y="14"/>
                    </a:lnTo>
                    <a:lnTo>
                      <a:pt x="15" y="14"/>
                    </a:lnTo>
                    <a:lnTo>
                      <a:pt x="15" y="14"/>
                    </a:lnTo>
                    <a:lnTo>
                      <a:pt x="17" y="12"/>
                    </a:lnTo>
                    <a:lnTo>
                      <a:pt x="17" y="12"/>
                    </a:lnTo>
                    <a:lnTo>
                      <a:pt x="17" y="9"/>
                    </a:lnTo>
                    <a:lnTo>
                      <a:pt x="17" y="9"/>
                    </a:lnTo>
                    <a:lnTo>
                      <a:pt x="19" y="12"/>
                    </a:lnTo>
                    <a:lnTo>
                      <a:pt x="19" y="12"/>
                    </a:lnTo>
                    <a:lnTo>
                      <a:pt x="19" y="14"/>
                    </a:lnTo>
                    <a:lnTo>
                      <a:pt x="19" y="14"/>
                    </a:lnTo>
                    <a:lnTo>
                      <a:pt x="22" y="14"/>
                    </a:lnTo>
                    <a:lnTo>
                      <a:pt x="22" y="14"/>
                    </a:lnTo>
                    <a:lnTo>
                      <a:pt x="22" y="14"/>
                    </a:lnTo>
                    <a:lnTo>
                      <a:pt x="22" y="16"/>
                    </a:lnTo>
                    <a:lnTo>
                      <a:pt x="22" y="16"/>
                    </a:lnTo>
                    <a:lnTo>
                      <a:pt x="26" y="16"/>
                    </a:lnTo>
                    <a:lnTo>
                      <a:pt x="26" y="16"/>
                    </a:lnTo>
                    <a:lnTo>
                      <a:pt x="26" y="16"/>
                    </a:lnTo>
                    <a:lnTo>
                      <a:pt x="26" y="14"/>
                    </a:lnTo>
                    <a:lnTo>
                      <a:pt x="29" y="14"/>
                    </a:lnTo>
                    <a:lnTo>
                      <a:pt x="29" y="14"/>
                    </a:lnTo>
                    <a:lnTo>
                      <a:pt x="29" y="16"/>
                    </a:lnTo>
                    <a:lnTo>
                      <a:pt x="29" y="16"/>
                    </a:lnTo>
                    <a:lnTo>
                      <a:pt x="29" y="16"/>
                    </a:lnTo>
                    <a:lnTo>
                      <a:pt x="26" y="16"/>
                    </a:lnTo>
                    <a:lnTo>
                      <a:pt x="26" y="16"/>
                    </a:lnTo>
                    <a:lnTo>
                      <a:pt x="26" y="16"/>
                    </a:lnTo>
                    <a:lnTo>
                      <a:pt x="29" y="19"/>
                    </a:lnTo>
                    <a:lnTo>
                      <a:pt x="29" y="19"/>
                    </a:lnTo>
                    <a:lnTo>
                      <a:pt x="29" y="21"/>
                    </a:lnTo>
                    <a:lnTo>
                      <a:pt x="29" y="21"/>
                    </a:lnTo>
                    <a:lnTo>
                      <a:pt x="29" y="21"/>
                    </a:lnTo>
                    <a:lnTo>
                      <a:pt x="29" y="21"/>
                    </a:lnTo>
                    <a:lnTo>
                      <a:pt x="26" y="23"/>
                    </a:lnTo>
                    <a:lnTo>
                      <a:pt x="29" y="26"/>
                    </a:lnTo>
                    <a:lnTo>
                      <a:pt x="24" y="26"/>
                    </a:lnTo>
                    <a:lnTo>
                      <a:pt x="22" y="23"/>
                    </a:lnTo>
                    <a:lnTo>
                      <a:pt x="22" y="21"/>
                    </a:lnTo>
                    <a:lnTo>
                      <a:pt x="22" y="21"/>
                    </a:lnTo>
                    <a:lnTo>
                      <a:pt x="19" y="19"/>
                    </a:lnTo>
                    <a:lnTo>
                      <a:pt x="19" y="16"/>
                    </a:lnTo>
                    <a:lnTo>
                      <a:pt x="19" y="16"/>
                    </a:lnTo>
                    <a:lnTo>
                      <a:pt x="17" y="16"/>
                    </a:lnTo>
                    <a:lnTo>
                      <a:pt x="17" y="16"/>
                    </a:lnTo>
                    <a:lnTo>
                      <a:pt x="17" y="16"/>
                    </a:lnTo>
                    <a:lnTo>
                      <a:pt x="19" y="19"/>
                    </a:lnTo>
                    <a:lnTo>
                      <a:pt x="19" y="19"/>
                    </a:lnTo>
                    <a:lnTo>
                      <a:pt x="19" y="19"/>
                    </a:lnTo>
                    <a:lnTo>
                      <a:pt x="19" y="21"/>
                    </a:lnTo>
                    <a:lnTo>
                      <a:pt x="17" y="21"/>
                    </a:lnTo>
                    <a:lnTo>
                      <a:pt x="17" y="21"/>
                    </a:lnTo>
                    <a:lnTo>
                      <a:pt x="17" y="19"/>
                    </a:lnTo>
                    <a:lnTo>
                      <a:pt x="17" y="19"/>
                    </a:lnTo>
                    <a:lnTo>
                      <a:pt x="17" y="19"/>
                    </a:lnTo>
                    <a:lnTo>
                      <a:pt x="17" y="16"/>
                    </a:lnTo>
                    <a:lnTo>
                      <a:pt x="17" y="16"/>
                    </a:lnTo>
                    <a:lnTo>
                      <a:pt x="15" y="16"/>
                    </a:lnTo>
                    <a:lnTo>
                      <a:pt x="17" y="16"/>
                    </a:lnTo>
                    <a:lnTo>
                      <a:pt x="17" y="16"/>
                    </a:lnTo>
                    <a:lnTo>
                      <a:pt x="17" y="14"/>
                    </a:lnTo>
                    <a:lnTo>
                      <a:pt x="17" y="14"/>
                    </a:lnTo>
                    <a:lnTo>
                      <a:pt x="15" y="14"/>
                    </a:lnTo>
                    <a:lnTo>
                      <a:pt x="15" y="16"/>
                    </a:lnTo>
                    <a:lnTo>
                      <a:pt x="12" y="16"/>
                    </a:lnTo>
                    <a:lnTo>
                      <a:pt x="15" y="19"/>
                    </a:lnTo>
                    <a:lnTo>
                      <a:pt x="15" y="21"/>
                    </a:lnTo>
                    <a:lnTo>
                      <a:pt x="12" y="21"/>
                    </a:lnTo>
                    <a:lnTo>
                      <a:pt x="12" y="21"/>
                    </a:lnTo>
                    <a:lnTo>
                      <a:pt x="12" y="19"/>
                    </a:lnTo>
                    <a:lnTo>
                      <a:pt x="12" y="19"/>
                    </a:lnTo>
                    <a:lnTo>
                      <a:pt x="10" y="16"/>
                    </a:lnTo>
                    <a:lnTo>
                      <a:pt x="10" y="16"/>
                    </a:lnTo>
                    <a:lnTo>
                      <a:pt x="10" y="16"/>
                    </a:lnTo>
                    <a:lnTo>
                      <a:pt x="3" y="16"/>
                    </a:lnTo>
                    <a:lnTo>
                      <a:pt x="3" y="19"/>
                    </a:lnTo>
                    <a:lnTo>
                      <a:pt x="3" y="19"/>
                    </a:lnTo>
                    <a:lnTo>
                      <a:pt x="3" y="19"/>
                    </a:lnTo>
                    <a:lnTo>
                      <a:pt x="3" y="19"/>
                    </a:lnTo>
                    <a:lnTo>
                      <a:pt x="3" y="21"/>
                    </a:lnTo>
                    <a:lnTo>
                      <a:pt x="3" y="21"/>
                    </a:lnTo>
                    <a:lnTo>
                      <a:pt x="3" y="21"/>
                    </a:lnTo>
                    <a:lnTo>
                      <a:pt x="5" y="21"/>
                    </a:lnTo>
                    <a:lnTo>
                      <a:pt x="5" y="21"/>
                    </a:lnTo>
                    <a:lnTo>
                      <a:pt x="5" y="21"/>
                    </a:lnTo>
                    <a:lnTo>
                      <a:pt x="5" y="21"/>
                    </a:lnTo>
                    <a:lnTo>
                      <a:pt x="8" y="21"/>
                    </a:lnTo>
                    <a:lnTo>
                      <a:pt x="8" y="21"/>
                    </a:lnTo>
                    <a:lnTo>
                      <a:pt x="8" y="23"/>
                    </a:lnTo>
                    <a:lnTo>
                      <a:pt x="8" y="23"/>
                    </a:lnTo>
                    <a:lnTo>
                      <a:pt x="8" y="23"/>
                    </a:lnTo>
                    <a:lnTo>
                      <a:pt x="8" y="23"/>
                    </a:lnTo>
                    <a:lnTo>
                      <a:pt x="10" y="26"/>
                    </a:lnTo>
                    <a:lnTo>
                      <a:pt x="12" y="26"/>
                    </a:lnTo>
                    <a:lnTo>
                      <a:pt x="10" y="26"/>
                    </a:lnTo>
                    <a:lnTo>
                      <a:pt x="10" y="26"/>
                    </a:lnTo>
                    <a:lnTo>
                      <a:pt x="10" y="26"/>
                    </a:lnTo>
                    <a:lnTo>
                      <a:pt x="10" y="28"/>
                    </a:lnTo>
                    <a:lnTo>
                      <a:pt x="8" y="28"/>
                    </a:lnTo>
                    <a:lnTo>
                      <a:pt x="5" y="28"/>
                    </a:lnTo>
                    <a:lnTo>
                      <a:pt x="5" y="28"/>
                    </a:lnTo>
                    <a:lnTo>
                      <a:pt x="5" y="31"/>
                    </a:lnTo>
                    <a:lnTo>
                      <a:pt x="3" y="33"/>
                    </a:lnTo>
                    <a:lnTo>
                      <a:pt x="5" y="31"/>
                    </a:lnTo>
                    <a:lnTo>
                      <a:pt x="8" y="31"/>
                    </a:lnTo>
                    <a:lnTo>
                      <a:pt x="8" y="33"/>
                    </a:lnTo>
                    <a:lnTo>
                      <a:pt x="8" y="33"/>
                    </a:lnTo>
                    <a:lnTo>
                      <a:pt x="8" y="33"/>
                    </a:lnTo>
                    <a:lnTo>
                      <a:pt x="8" y="33"/>
                    </a:lnTo>
                    <a:lnTo>
                      <a:pt x="8" y="35"/>
                    </a:lnTo>
                    <a:lnTo>
                      <a:pt x="8" y="35"/>
                    </a:lnTo>
                    <a:lnTo>
                      <a:pt x="10" y="38"/>
                    </a:lnTo>
                    <a:lnTo>
                      <a:pt x="10" y="38"/>
                    </a:lnTo>
                    <a:lnTo>
                      <a:pt x="8" y="38"/>
                    </a:lnTo>
                    <a:lnTo>
                      <a:pt x="8" y="40"/>
                    </a:lnTo>
                    <a:lnTo>
                      <a:pt x="8" y="38"/>
                    </a:lnTo>
                    <a:lnTo>
                      <a:pt x="5" y="40"/>
                    </a:lnTo>
                    <a:lnTo>
                      <a:pt x="5" y="38"/>
                    </a:lnTo>
                    <a:lnTo>
                      <a:pt x="3" y="38"/>
                    </a:lnTo>
                    <a:lnTo>
                      <a:pt x="0" y="40"/>
                    </a:lnTo>
                    <a:lnTo>
                      <a:pt x="0" y="42"/>
                    </a:lnTo>
                    <a:lnTo>
                      <a:pt x="5" y="47"/>
                    </a:lnTo>
                    <a:lnTo>
                      <a:pt x="5" y="47"/>
                    </a:lnTo>
                    <a:lnTo>
                      <a:pt x="3" y="47"/>
                    </a:lnTo>
                    <a:lnTo>
                      <a:pt x="3" y="47"/>
                    </a:lnTo>
                    <a:lnTo>
                      <a:pt x="3" y="47"/>
                    </a:lnTo>
                    <a:lnTo>
                      <a:pt x="3" y="49"/>
                    </a:lnTo>
                    <a:lnTo>
                      <a:pt x="3" y="49"/>
                    </a:lnTo>
                    <a:lnTo>
                      <a:pt x="5" y="47"/>
                    </a:lnTo>
                    <a:lnTo>
                      <a:pt x="5" y="47"/>
                    </a:lnTo>
                    <a:lnTo>
                      <a:pt x="5" y="49"/>
                    </a:lnTo>
                    <a:lnTo>
                      <a:pt x="8" y="49"/>
                    </a:lnTo>
                    <a:lnTo>
                      <a:pt x="8" y="52"/>
                    </a:lnTo>
                    <a:lnTo>
                      <a:pt x="10" y="52"/>
                    </a:lnTo>
                    <a:lnTo>
                      <a:pt x="10" y="52"/>
                    </a:lnTo>
                    <a:lnTo>
                      <a:pt x="10" y="52"/>
                    </a:lnTo>
                    <a:lnTo>
                      <a:pt x="10" y="52"/>
                    </a:lnTo>
                    <a:lnTo>
                      <a:pt x="12" y="52"/>
                    </a:lnTo>
                    <a:lnTo>
                      <a:pt x="12" y="52"/>
                    </a:lnTo>
                    <a:lnTo>
                      <a:pt x="12" y="52"/>
                    </a:lnTo>
                    <a:lnTo>
                      <a:pt x="15" y="52"/>
                    </a:lnTo>
                    <a:lnTo>
                      <a:pt x="15" y="52"/>
                    </a:lnTo>
                    <a:lnTo>
                      <a:pt x="15" y="52"/>
                    </a:lnTo>
                    <a:lnTo>
                      <a:pt x="15" y="49"/>
                    </a:lnTo>
                    <a:lnTo>
                      <a:pt x="15" y="49"/>
                    </a:lnTo>
                    <a:lnTo>
                      <a:pt x="15" y="49"/>
                    </a:lnTo>
                    <a:lnTo>
                      <a:pt x="15" y="52"/>
                    </a:lnTo>
                    <a:lnTo>
                      <a:pt x="15" y="52"/>
                    </a:lnTo>
                    <a:lnTo>
                      <a:pt x="15" y="54"/>
                    </a:lnTo>
                    <a:lnTo>
                      <a:pt x="17" y="54"/>
                    </a:lnTo>
                    <a:lnTo>
                      <a:pt x="19" y="56"/>
                    </a:lnTo>
                    <a:lnTo>
                      <a:pt x="22" y="56"/>
                    </a:lnTo>
                    <a:lnTo>
                      <a:pt x="22" y="56"/>
                    </a:lnTo>
                    <a:lnTo>
                      <a:pt x="22" y="54"/>
                    </a:lnTo>
                    <a:lnTo>
                      <a:pt x="22" y="52"/>
                    </a:lnTo>
                    <a:lnTo>
                      <a:pt x="22" y="52"/>
                    </a:lnTo>
                    <a:lnTo>
                      <a:pt x="17" y="52"/>
                    </a:lnTo>
                    <a:lnTo>
                      <a:pt x="17" y="52"/>
                    </a:lnTo>
                    <a:lnTo>
                      <a:pt x="17" y="52"/>
                    </a:lnTo>
                    <a:lnTo>
                      <a:pt x="17" y="52"/>
                    </a:lnTo>
                    <a:lnTo>
                      <a:pt x="17" y="54"/>
                    </a:lnTo>
                    <a:lnTo>
                      <a:pt x="17" y="49"/>
                    </a:lnTo>
                    <a:lnTo>
                      <a:pt x="19" y="49"/>
                    </a:lnTo>
                    <a:lnTo>
                      <a:pt x="22" y="49"/>
                    </a:lnTo>
                    <a:lnTo>
                      <a:pt x="22" y="47"/>
                    </a:lnTo>
                    <a:lnTo>
                      <a:pt x="22" y="47"/>
                    </a:lnTo>
                    <a:lnTo>
                      <a:pt x="26" y="42"/>
                    </a:lnTo>
                    <a:lnTo>
                      <a:pt x="26" y="42"/>
                    </a:lnTo>
                    <a:lnTo>
                      <a:pt x="33" y="42"/>
                    </a:lnTo>
                    <a:lnTo>
                      <a:pt x="36" y="42"/>
                    </a:lnTo>
                    <a:lnTo>
                      <a:pt x="36" y="42"/>
                    </a:lnTo>
                    <a:lnTo>
                      <a:pt x="36" y="42"/>
                    </a:lnTo>
                    <a:lnTo>
                      <a:pt x="38" y="42"/>
                    </a:lnTo>
                    <a:lnTo>
                      <a:pt x="38" y="42"/>
                    </a:lnTo>
                    <a:lnTo>
                      <a:pt x="38" y="42"/>
                    </a:lnTo>
                    <a:lnTo>
                      <a:pt x="41" y="42"/>
                    </a:lnTo>
                    <a:lnTo>
                      <a:pt x="41" y="42"/>
                    </a:lnTo>
                    <a:lnTo>
                      <a:pt x="38" y="42"/>
                    </a:lnTo>
                    <a:lnTo>
                      <a:pt x="36" y="45"/>
                    </a:lnTo>
                    <a:lnTo>
                      <a:pt x="38" y="45"/>
                    </a:lnTo>
                    <a:lnTo>
                      <a:pt x="43" y="42"/>
                    </a:lnTo>
                    <a:lnTo>
                      <a:pt x="41" y="45"/>
                    </a:lnTo>
                    <a:lnTo>
                      <a:pt x="41" y="45"/>
                    </a:lnTo>
                    <a:lnTo>
                      <a:pt x="38" y="47"/>
                    </a:lnTo>
                    <a:lnTo>
                      <a:pt x="38" y="47"/>
                    </a:lnTo>
                    <a:lnTo>
                      <a:pt x="38" y="49"/>
                    </a:lnTo>
                    <a:lnTo>
                      <a:pt x="41" y="49"/>
                    </a:lnTo>
                    <a:lnTo>
                      <a:pt x="41" y="47"/>
                    </a:lnTo>
                    <a:lnTo>
                      <a:pt x="41" y="47"/>
                    </a:lnTo>
                    <a:lnTo>
                      <a:pt x="43" y="47"/>
                    </a:lnTo>
                    <a:lnTo>
                      <a:pt x="43" y="49"/>
                    </a:lnTo>
                    <a:lnTo>
                      <a:pt x="43" y="49"/>
                    </a:lnTo>
                    <a:lnTo>
                      <a:pt x="41"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79" name="Freeform 130">
                <a:extLst>
                  <a:ext uri="{FF2B5EF4-FFF2-40B4-BE49-F238E27FC236}">
                    <a16:creationId xmlns:a16="http://schemas.microsoft.com/office/drawing/2014/main" id="{369AFBE6-F220-43C4-84EB-4809875DA685}"/>
                  </a:ext>
                </a:extLst>
              </p:cNvPr>
              <p:cNvSpPr>
                <a:spLocks/>
              </p:cNvSpPr>
              <p:nvPr/>
            </p:nvSpPr>
            <p:spPr bwMode="gray">
              <a:xfrm>
                <a:off x="-2170" y="1198"/>
                <a:ext cx="4" cy="3"/>
              </a:xfrm>
              <a:custGeom>
                <a:avLst/>
                <a:gdLst>
                  <a:gd name="T0" fmla="*/ 0 w 4"/>
                  <a:gd name="T1" fmla="*/ 0 h 3"/>
                  <a:gd name="T2" fmla="*/ 0 w 4"/>
                  <a:gd name="T3" fmla="*/ 0 h 3"/>
                  <a:gd name="T4" fmla="*/ 0 w 4"/>
                  <a:gd name="T5" fmla="*/ 3 h 3"/>
                  <a:gd name="T6" fmla="*/ 0 w 4"/>
                  <a:gd name="T7" fmla="*/ 0 h 3"/>
                  <a:gd name="T8" fmla="*/ 2 w 4"/>
                  <a:gd name="T9" fmla="*/ 0 h 3"/>
                  <a:gd name="T10" fmla="*/ 4 w 4"/>
                  <a:gd name="T11" fmla="*/ 0 h 3"/>
                  <a:gd name="T12" fmla="*/ 4 w 4"/>
                  <a:gd name="T13" fmla="*/ 0 h 3"/>
                  <a:gd name="T14" fmla="*/ 4 w 4"/>
                  <a:gd name="T15" fmla="*/ 0 h 3"/>
                  <a:gd name="T16" fmla="*/ 2 w 4"/>
                  <a:gd name="T17" fmla="*/ 0 h 3"/>
                  <a:gd name="T18" fmla="*/ 2 w 4"/>
                  <a:gd name="T19" fmla="*/ 0 h 3"/>
                  <a:gd name="T20" fmla="*/ 0 w 4"/>
                  <a:gd name="T21" fmla="*/ 0 h 3"/>
                  <a:gd name="T22" fmla="*/ 0 w 4"/>
                  <a:gd name="T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3">
                    <a:moveTo>
                      <a:pt x="0" y="0"/>
                    </a:moveTo>
                    <a:lnTo>
                      <a:pt x="0" y="0"/>
                    </a:lnTo>
                    <a:lnTo>
                      <a:pt x="0" y="3"/>
                    </a:lnTo>
                    <a:lnTo>
                      <a:pt x="0" y="0"/>
                    </a:lnTo>
                    <a:lnTo>
                      <a:pt x="2" y="0"/>
                    </a:lnTo>
                    <a:lnTo>
                      <a:pt x="4" y="0"/>
                    </a:lnTo>
                    <a:lnTo>
                      <a:pt x="4" y="0"/>
                    </a:lnTo>
                    <a:lnTo>
                      <a:pt x="4" y="0"/>
                    </a:lnTo>
                    <a:lnTo>
                      <a:pt x="2" y="0"/>
                    </a:lnTo>
                    <a:lnTo>
                      <a:pt x="2"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80" name="Freeform 131">
                <a:extLst>
                  <a:ext uri="{FF2B5EF4-FFF2-40B4-BE49-F238E27FC236}">
                    <a16:creationId xmlns:a16="http://schemas.microsoft.com/office/drawing/2014/main" id="{6A43E691-6863-427D-B4CA-F461BE5E6401}"/>
                  </a:ext>
                </a:extLst>
              </p:cNvPr>
              <p:cNvSpPr>
                <a:spLocks/>
              </p:cNvSpPr>
              <p:nvPr/>
            </p:nvSpPr>
            <p:spPr bwMode="gray">
              <a:xfrm>
                <a:off x="-2166" y="1198"/>
                <a:ext cx="3" cy="0"/>
              </a:xfrm>
              <a:custGeom>
                <a:avLst/>
                <a:gdLst>
                  <a:gd name="T0" fmla="*/ 0 w 3"/>
                  <a:gd name="T1" fmla="*/ 0 w 3"/>
                  <a:gd name="T2" fmla="*/ 3 w 3"/>
                  <a:gd name="T3" fmla="*/ 0 w 3"/>
                </a:gdLst>
                <a:ahLst/>
                <a:cxnLst>
                  <a:cxn ang="0">
                    <a:pos x="T0" y="0"/>
                  </a:cxn>
                  <a:cxn ang="0">
                    <a:pos x="T1" y="0"/>
                  </a:cxn>
                  <a:cxn ang="0">
                    <a:pos x="T2" y="0"/>
                  </a:cxn>
                  <a:cxn ang="0">
                    <a:pos x="T3" y="0"/>
                  </a:cxn>
                </a:cxnLst>
                <a:rect l="0" t="0" r="r" b="b"/>
                <a:pathLst>
                  <a:path w="3">
                    <a:moveTo>
                      <a:pt x="0" y="0"/>
                    </a:moveTo>
                    <a:lnTo>
                      <a:pt x="0" y="0"/>
                    </a:lnTo>
                    <a:lnTo>
                      <a:pt x="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09" name="Freeform 132">
                <a:extLst>
                  <a:ext uri="{FF2B5EF4-FFF2-40B4-BE49-F238E27FC236}">
                    <a16:creationId xmlns:a16="http://schemas.microsoft.com/office/drawing/2014/main" id="{09B13B8E-C358-4FB6-AAC2-DA1871079CF6}"/>
                  </a:ext>
                </a:extLst>
              </p:cNvPr>
              <p:cNvSpPr>
                <a:spLocks/>
              </p:cNvSpPr>
              <p:nvPr/>
            </p:nvSpPr>
            <p:spPr bwMode="gray">
              <a:xfrm>
                <a:off x="-2168" y="1151"/>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10" name="Freeform 133">
                <a:extLst>
                  <a:ext uri="{FF2B5EF4-FFF2-40B4-BE49-F238E27FC236}">
                    <a16:creationId xmlns:a16="http://schemas.microsoft.com/office/drawing/2014/main" id="{976F145B-C574-4A0D-A82C-1CFE57796CAA}"/>
                  </a:ext>
                </a:extLst>
              </p:cNvPr>
              <p:cNvSpPr>
                <a:spLocks/>
              </p:cNvSpPr>
              <p:nvPr/>
            </p:nvSpPr>
            <p:spPr bwMode="gray">
              <a:xfrm>
                <a:off x="-1949" y="1109"/>
                <a:ext cx="22" cy="14"/>
              </a:xfrm>
              <a:custGeom>
                <a:avLst/>
                <a:gdLst>
                  <a:gd name="T0" fmla="*/ 22 w 22"/>
                  <a:gd name="T1" fmla="*/ 14 h 14"/>
                  <a:gd name="T2" fmla="*/ 19 w 22"/>
                  <a:gd name="T3" fmla="*/ 7 h 14"/>
                  <a:gd name="T4" fmla="*/ 17 w 22"/>
                  <a:gd name="T5" fmla="*/ 4 h 14"/>
                  <a:gd name="T6" fmla="*/ 17 w 22"/>
                  <a:gd name="T7" fmla="*/ 4 h 14"/>
                  <a:gd name="T8" fmla="*/ 15 w 22"/>
                  <a:gd name="T9" fmla="*/ 2 h 14"/>
                  <a:gd name="T10" fmla="*/ 10 w 22"/>
                  <a:gd name="T11" fmla="*/ 0 h 14"/>
                  <a:gd name="T12" fmla="*/ 5 w 22"/>
                  <a:gd name="T13" fmla="*/ 0 h 14"/>
                  <a:gd name="T14" fmla="*/ 3 w 22"/>
                  <a:gd name="T15" fmla="*/ 2 h 14"/>
                  <a:gd name="T16" fmla="*/ 0 w 22"/>
                  <a:gd name="T17" fmla="*/ 9 h 14"/>
                  <a:gd name="T18" fmla="*/ 0 w 22"/>
                  <a:gd name="T19" fmla="*/ 9 h 14"/>
                  <a:gd name="T20" fmla="*/ 3 w 22"/>
                  <a:gd name="T21" fmla="*/ 9 h 14"/>
                  <a:gd name="T22" fmla="*/ 3 w 22"/>
                  <a:gd name="T23" fmla="*/ 9 h 14"/>
                  <a:gd name="T24" fmla="*/ 3 w 22"/>
                  <a:gd name="T25" fmla="*/ 9 h 14"/>
                  <a:gd name="T26" fmla="*/ 3 w 22"/>
                  <a:gd name="T27" fmla="*/ 12 h 14"/>
                  <a:gd name="T28" fmla="*/ 3 w 22"/>
                  <a:gd name="T29" fmla="*/ 12 h 14"/>
                  <a:gd name="T30" fmla="*/ 5 w 22"/>
                  <a:gd name="T31" fmla="*/ 9 h 14"/>
                  <a:gd name="T32" fmla="*/ 5 w 22"/>
                  <a:gd name="T33" fmla="*/ 9 h 14"/>
                  <a:gd name="T34" fmla="*/ 8 w 22"/>
                  <a:gd name="T35" fmla="*/ 9 h 14"/>
                  <a:gd name="T36" fmla="*/ 8 w 22"/>
                  <a:gd name="T37" fmla="*/ 9 h 14"/>
                  <a:gd name="T38" fmla="*/ 8 w 22"/>
                  <a:gd name="T39" fmla="*/ 12 h 14"/>
                  <a:gd name="T40" fmla="*/ 8 w 22"/>
                  <a:gd name="T41" fmla="*/ 14 h 14"/>
                  <a:gd name="T42" fmla="*/ 10 w 22"/>
                  <a:gd name="T43" fmla="*/ 14 h 14"/>
                  <a:gd name="T44" fmla="*/ 10 w 22"/>
                  <a:gd name="T45" fmla="*/ 14 h 14"/>
                  <a:gd name="T46" fmla="*/ 15 w 22"/>
                  <a:gd name="T47" fmla="*/ 14 h 14"/>
                  <a:gd name="T48" fmla="*/ 12 w 22"/>
                  <a:gd name="T49" fmla="*/ 14 h 14"/>
                  <a:gd name="T50" fmla="*/ 15 w 22"/>
                  <a:gd name="T51" fmla="*/ 14 h 14"/>
                  <a:gd name="T52" fmla="*/ 22 w 22"/>
                  <a:gd name="T5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 h="14">
                    <a:moveTo>
                      <a:pt x="22" y="14"/>
                    </a:moveTo>
                    <a:lnTo>
                      <a:pt x="19" y="7"/>
                    </a:lnTo>
                    <a:lnTo>
                      <a:pt x="17" y="4"/>
                    </a:lnTo>
                    <a:lnTo>
                      <a:pt x="17" y="4"/>
                    </a:lnTo>
                    <a:lnTo>
                      <a:pt x="15" y="2"/>
                    </a:lnTo>
                    <a:lnTo>
                      <a:pt x="10" y="0"/>
                    </a:lnTo>
                    <a:lnTo>
                      <a:pt x="5" y="0"/>
                    </a:lnTo>
                    <a:lnTo>
                      <a:pt x="3" y="2"/>
                    </a:lnTo>
                    <a:lnTo>
                      <a:pt x="0" y="9"/>
                    </a:lnTo>
                    <a:lnTo>
                      <a:pt x="0" y="9"/>
                    </a:lnTo>
                    <a:lnTo>
                      <a:pt x="3" y="9"/>
                    </a:lnTo>
                    <a:lnTo>
                      <a:pt x="3" y="9"/>
                    </a:lnTo>
                    <a:lnTo>
                      <a:pt x="3" y="9"/>
                    </a:lnTo>
                    <a:lnTo>
                      <a:pt x="3" y="12"/>
                    </a:lnTo>
                    <a:lnTo>
                      <a:pt x="3" y="12"/>
                    </a:lnTo>
                    <a:lnTo>
                      <a:pt x="5" y="9"/>
                    </a:lnTo>
                    <a:lnTo>
                      <a:pt x="5" y="9"/>
                    </a:lnTo>
                    <a:lnTo>
                      <a:pt x="8" y="9"/>
                    </a:lnTo>
                    <a:lnTo>
                      <a:pt x="8" y="9"/>
                    </a:lnTo>
                    <a:lnTo>
                      <a:pt x="8" y="12"/>
                    </a:lnTo>
                    <a:lnTo>
                      <a:pt x="8" y="14"/>
                    </a:lnTo>
                    <a:lnTo>
                      <a:pt x="10" y="14"/>
                    </a:lnTo>
                    <a:lnTo>
                      <a:pt x="10" y="14"/>
                    </a:lnTo>
                    <a:lnTo>
                      <a:pt x="15" y="14"/>
                    </a:lnTo>
                    <a:lnTo>
                      <a:pt x="12" y="14"/>
                    </a:lnTo>
                    <a:lnTo>
                      <a:pt x="15" y="14"/>
                    </a:lnTo>
                    <a:lnTo>
                      <a:pt x="22"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14" name="Freeform 134">
                <a:extLst>
                  <a:ext uri="{FF2B5EF4-FFF2-40B4-BE49-F238E27FC236}">
                    <a16:creationId xmlns:a16="http://schemas.microsoft.com/office/drawing/2014/main" id="{33633B24-E88F-4E2F-8DA6-5451A22769A0}"/>
                  </a:ext>
                </a:extLst>
              </p:cNvPr>
              <p:cNvSpPr>
                <a:spLocks/>
              </p:cNvSpPr>
              <p:nvPr/>
            </p:nvSpPr>
            <p:spPr bwMode="gray">
              <a:xfrm>
                <a:off x="-2133" y="1083"/>
                <a:ext cx="15" cy="7"/>
              </a:xfrm>
              <a:custGeom>
                <a:avLst/>
                <a:gdLst>
                  <a:gd name="T0" fmla="*/ 12 w 15"/>
                  <a:gd name="T1" fmla="*/ 0 h 7"/>
                  <a:gd name="T2" fmla="*/ 7 w 15"/>
                  <a:gd name="T3" fmla="*/ 0 h 7"/>
                  <a:gd name="T4" fmla="*/ 5 w 15"/>
                  <a:gd name="T5" fmla="*/ 0 h 7"/>
                  <a:gd name="T6" fmla="*/ 3 w 15"/>
                  <a:gd name="T7" fmla="*/ 0 h 7"/>
                  <a:gd name="T8" fmla="*/ 0 w 15"/>
                  <a:gd name="T9" fmla="*/ 2 h 7"/>
                  <a:gd name="T10" fmla="*/ 0 w 15"/>
                  <a:gd name="T11" fmla="*/ 5 h 7"/>
                  <a:gd name="T12" fmla="*/ 5 w 15"/>
                  <a:gd name="T13" fmla="*/ 7 h 7"/>
                  <a:gd name="T14" fmla="*/ 5 w 15"/>
                  <a:gd name="T15" fmla="*/ 7 h 7"/>
                  <a:gd name="T16" fmla="*/ 7 w 15"/>
                  <a:gd name="T17" fmla="*/ 7 h 7"/>
                  <a:gd name="T18" fmla="*/ 10 w 15"/>
                  <a:gd name="T19" fmla="*/ 7 h 7"/>
                  <a:gd name="T20" fmla="*/ 10 w 15"/>
                  <a:gd name="T21" fmla="*/ 7 h 7"/>
                  <a:gd name="T22" fmla="*/ 12 w 15"/>
                  <a:gd name="T23" fmla="*/ 7 h 7"/>
                  <a:gd name="T24" fmla="*/ 12 w 15"/>
                  <a:gd name="T25" fmla="*/ 7 h 7"/>
                  <a:gd name="T26" fmla="*/ 12 w 15"/>
                  <a:gd name="T27" fmla="*/ 7 h 7"/>
                  <a:gd name="T28" fmla="*/ 15 w 15"/>
                  <a:gd name="T29" fmla="*/ 5 h 7"/>
                  <a:gd name="T30" fmla="*/ 15 w 15"/>
                  <a:gd name="T31" fmla="*/ 5 h 7"/>
                  <a:gd name="T32" fmla="*/ 15 w 15"/>
                  <a:gd name="T33" fmla="*/ 2 h 7"/>
                  <a:gd name="T34" fmla="*/ 12 w 15"/>
                  <a:gd name="T35" fmla="*/ 0 h 7"/>
                  <a:gd name="T36" fmla="*/ 12 w 15"/>
                  <a:gd name="T3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7">
                    <a:moveTo>
                      <a:pt x="12" y="0"/>
                    </a:moveTo>
                    <a:lnTo>
                      <a:pt x="7" y="0"/>
                    </a:lnTo>
                    <a:lnTo>
                      <a:pt x="5" y="0"/>
                    </a:lnTo>
                    <a:lnTo>
                      <a:pt x="3" y="0"/>
                    </a:lnTo>
                    <a:lnTo>
                      <a:pt x="0" y="2"/>
                    </a:lnTo>
                    <a:lnTo>
                      <a:pt x="0" y="5"/>
                    </a:lnTo>
                    <a:lnTo>
                      <a:pt x="5" y="7"/>
                    </a:lnTo>
                    <a:lnTo>
                      <a:pt x="5" y="7"/>
                    </a:lnTo>
                    <a:lnTo>
                      <a:pt x="7" y="7"/>
                    </a:lnTo>
                    <a:lnTo>
                      <a:pt x="10" y="7"/>
                    </a:lnTo>
                    <a:lnTo>
                      <a:pt x="10" y="7"/>
                    </a:lnTo>
                    <a:lnTo>
                      <a:pt x="12" y="7"/>
                    </a:lnTo>
                    <a:lnTo>
                      <a:pt x="12" y="7"/>
                    </a:lnTo>
                    <a:lnTo>
                      <a:pt x="12" y="7"/>
                    </a:lnTo>
                    <a:lnTo>
                      <a:pt x="15" y="5"/>
                    </a:lnTo>
                    <a:lnTo>
                      <a:pt x="15" y="5"/>
                    </a:lnTo>
                    <a:lnTo>
                      <a:pt x="15" y="2"/>
                    </a:lnTo>
                    <a:lnTo>
                      <a:pt x="12"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15" name="Freeform 135">
                <a:extLst>
                  <a:ext uri="{FF2B5EF4-FFF2-40B4-BE49-F238E27FC236}">
                    <a16:creationId xmlns:a16="http://schemas.microsoft.com/office/drawing/2014/main" id="{BB16D6C9-5FA0-4A49-96F2-BA90F45BDEB0}"/>
                  </a:ext>
                </a:extLst>
              </p:cNvPr>
              <p:cNvSpPr>
                <a:spLocks/>
              </p:cNvSpPr>
              <p:nvPr/>
            </p:nvSpPr>
            <p:spPr bwMode="gray">
              <a:xfrm>
                <a:off x="-2286" y="2343"/>
                <a:ext cx="5" cy="3"/>
              </a:xfrm>
              <a:custGeom>
                <a:avLst/>
                <a:gdLst>
                  <a:gd name="T0" fmla="*/ 5 w 5"/>
                  <a:gd name="T1" fmla="*/ 0 h 3"/>
                  <a:gd name="T2" fmla="*/ 5 w 5"/>
                  <a:gd name="T3" fmla="*/ 0 h 3"/>
                  <a:gd name="T4" fmla="*/ 2 w 5"/>
                  <a:gd name="T5" fmla="*/ 0 h 3"/>
                  <a:gd name="T6" fmla="*/ 2 w 5"/>
                  <a:gd name="T7" fmla="*/ 0 h 3"/>
                  <a:gd name="T8" fmla="*/ 2 w 5"/>
                  <a:gd name="T9" fmla="*/ 0 h 3"/>
                  <a:gd name="T10" fmla="*/ 2 w 5"/>
                  <a:gd name="T11" fmla="*/ 0 h 3"/>
                  <a:gd name="T12" fmla="*/ 0 w 5"/>
                  <a:gd name="T13" fmla="*/ 0 h 3"/>
                  <a:gd name="T14" fmla="*/ 0 w 5"/>
                  <a:gd name="T15" fmla="*/ 0 h 3"/>
                  <a:gd name="T16" fmla="*/ 0 w 5"/>
                  <a:gd name="T17" fmla="*/ 3 h 3"/>
                  <a:gd name="T18" fmla="*/ 0 w 5"/>
                  <a:gd name="T19" fmla="*/ 3 h 3"/>
                  <a:gd name="T20" fmla="*/ 2 w 5"/>
                  <a:gd name="T21" fmla="*/ 3 h 3"/>
                  <a:gd name="T22" fmla="*/ 2 w 5"/>
                  <a:gd name="T23" fmla="*/ 3 h 3"/>
                  <a:gd name="T24" fmla="*/ 2 w 5"/>
                  <a:gd name="T25" fmla="*/ 3 h 3"/>
                  <a:gd name="T26" fmla="*/ 5 w 5"/>
                  <a:gd name="T27" fmla="*/ 3 h 3"/>
                  <a:gd name="T28" fmla="*/ 5 w 5"/>
                  <a:gd name="T29" fmla="*/ 0 h 3"/>
                  <a:gd name="T30" fmla="*/ 5 w 5"/>
                  <a:gd name="T31" fmla="*/ 0 h 3"/>
                  <a:gd name="T32" fmla="*/ 5 w 5"/>
                  <a:gd name="T3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3">
                    <a:moveTo>
                      <a:pt x="5" y="0"/>
                    </a:moveTo>
                    <a:lnTo>
                      <a:pt x="5" y="0"/>
                    </a:lnTo>
                    <a:lnTo>
                      <a:pt x="2" y="0"/>
                    </a:lnTo>
                    <a:lnTo>
                      <a:pt x="2" y="0"/>
                    </a:lnTo>
                    <a:lnTo>
                      <a:pt x="2" y="0"/>
                    </a:lnTo>
                    <a:lnTo>
                      <a:pt x="2" y="0"/>
                    </a:lnTo>
                    <a:lnTo>
                      <a:pt x="0" y="0"/>
                    </a:lnTo>
                    <a:lnTo>
                      <a:pt x="0" y="0"/>
                    </a:lnTo>
                    <a:lnTo>
                      <a:pt x="0" y="3"/>
                    </a:lnTo>
                    <a:lnTo>
                      <a:pt x="0" y="3"/>
                    </a:lnTo>
                    <a:lnTo>
                      <a:pt x="2" y="3"/>
                    </a:lnTo>
                    <a:lnTo>
                      <a:pt x="2" y="3"/>
                    </a:lnTo>
                    <a:lnTo>
                      <a:pt x="2" y="3"/>
                    </a:lnTo>
                    <a:lnTo>
                      <a:pt x="5" y="3"/>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16" name="Freeform 136">
                <a:extLst>
                  <a:ext uri="{FF2B5EF4-FFF2-40B4-BE49-F238E27FC236}">
                    <a16:creationId xmlns:a16="http://schemas.microsoft.com/office/drawing/2014/main" id="{F0309D2B-14F5-4ACC-88A5-2E6DF910EAB3}"/>
                  </a:ext>
                </a:extLst>
              </p:cNvPr>
              <p:cNvSpPr>
                <a:spLocks/>
              </p:cNvSpPr>
              <p:nvPr/>
            </p:nvSpPr>
            <p:spPr bwMode="gray">
              <a:xfrm>
                <a:off x="-2824" y="2044"/>
                <a:ext cx="17" cy="24"/>
              </a:xfrm>
              <a:custGeom>
                <a:avLst/>
                <a:gdLst>
                  <a:gd name="T0" fmla="*/ 12 w 17"/>
                  <a:gd name="T1" fmla="*/ 7 h 24"/>
                  <a:gd name="T2" fmla="*/ 12 w 17"/>
                  <a:gd name="T3" fmla="*/ 7 h 24"/>
                  <a:gd name="T4" fmla="*/ 12 w 17"/>
                  <a:gd name="T5" fmla="*/ 5 h 24"/>
                  <a:gd name="T6" fmla="*/ 12 w 17"/>
                  <a:gd name="T7" fmla="*/ 5 h 24"/>
                  <a:gd name="T8" fmla="*/ 9 w 17"/>
                  <a:gd name="T9" fmla="*/ 7 h 24"/>
                  <a:gd name="T10" fmla="*/ 9 w 17"/>
                  <a:gd name="T11" fmla="*/ 5 h 24"/>
                  <a:gd name="T12" fmla="*/ 7 w 17"/>
                  <a:gd name="T13" fmla="*/ 5 h 24"/>
                  <a:gd name="T14" fmla="*/ 5 w 17"/>
                  <a:gd name="T15" fmla="*/ 3 h 24"/>
                  <a:gd name="T16" fmla="*/ 2 w 17"/>
                  <a:gd name="T17" fmla="*/ 0 h 24"/>
                  <a:gd name="T18" fmla="*/ 0 w 17"/>
                  <a:gd name="T19" fmla="*/ 0 h 24"/>
                  <a:gd name="T20" fmla="*/ 2 w 17"/>
                  <a:gd name="T21" fmla="*/ 5 h 24"/>
                  <a:gd name="T22" fmla="*/ 2 w 17"/>
                  <a:gd name="T23" fmla="*/ 7 h 24"/>
                  <a:gd name="T24" fmla="*/ 2 w 17"/>
                  <a:gd name="T25" fmla="*/ 7 h 24"/>
                  <a:gd name="T26" fmla="*/ 2 w 17"/>
                  <a:gd name="T27" fmla="*/ 10 h 24"/>
                  <a:gd name="T28" fmla="*/ 5 w 17"/>
                  <a:gd name="T29" fmla="*/ 10 h 24"/>
                  <a:gd name="T30" fmla="*/ 5 w 17"/>
                  <a:gd name="T31" fmla="*/ 12 h 24"/>
                  <a:gd name="T32" fmla="*/ 7 w 17"/>
                  <a:gd name="T33" fmla="*/ 14 h 24"/>
                  <a:gd name="T34" fmla="*/ 12 w 17"/>
                  <a:gd name="T35" fmla="*/ 17 h 24"/>
                  <a:gd name="T36" fmla="*/ 12 w 17"/>
                  <a:gd name="T37" fmla="*/ 19 h 24"/>
                  <a:gd name="T38" fmla="*/ 12 w 17"/>
                  <a:gd name="T39" fmla="*/ 21 h 24"/>
                  <a:gd name="T40" fmla="*/ 12 w 17"/>
                  <a:gd name="T41" fmla="*/ 24 h 24"/>
                  <a:gd name="T42" fmla="*/ 14 w 17"/>
                  <a:gd name="T43" fmla="*/ 24 h 24"/>
                  <a:gd name="T44" fmla="*/ 14 w 17"/>
                  <a:gd name="T45" fmla="*/ 24 h 24"/>
                  <a:gd name="T46" fmla="*/ 17 w 17"/>
                  <a:gd name="T47" fmla="*/ 21 h 24"/>
                  <a:gd name="T48" fmla="*/ 17 w 17"/>
                  <a:gd name="T49" fmla="*/ 17 h 24"/>
                  <a:gd name="T50" fmla="*/ 17 w 17"/>
                  <a:gd name="T51" fmla="*/ 17 h 24"/>
                  <a:gd name="T52" fmla="*/ 17 w 17"/>
                  <a:gd name="T53" fmla="*/ 14 h 24"/>
                  <a:gd name="T54" fmla="*/ 14 w 17"/>
                  <a:gd name="T55" fmla="*/ 14 h 24"/>
                  <a:gd name="T56" fmla="*/ 12 w 17"/>
                  <a:gd name="T57" fmla="*/ 12 h 24"/>
                  <a:gd name="T58" fmla="*/ 14 w 17"/>
                  <a:gd name="T59" fmla="*/ 12 h 24"/>
                  <a:gd name="T60" fmla="*/ 14 w 17"/>
                  <a:gd name="T61" fmla="*/ 12 h 24"/>
                  <a:gd name="T62" fmla="*/ 12 w 17"/>
                  <a:gd name="T63" fmla="*/ 10 h 24"/>
                  <a:gd name="T64" fmla="*/ 12 w 17"/>
                  <a:gd name="T65" fmla="*/ 10 h 24"/>
                  <a:gd name="T66" fmla="*/ 12 w 17"/>
                  <a:gd name="T67" fmla="*/ 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 h="24">
                    <a:moveTo>
                      <a:pt x="12" y="7"/>
                    </a:moveTo>
                    <a:lnTo>
                      <a:pt x="12" y="7"/>
                    </a:lnTo>
                    <a:lnTo>
                      <a:pt x="12" y="5"/>
                    </a:lnTo>
                    <a:lnTo>
                      <a:pt x="12" y="5"/>
                    </a:lnTo>
                    <a:lnTo>
                      <a:pt x="9" y="7"/>
                    </a:lnTo>
                    <a:lnTo>
                      <a:pt x="9" y="5"/>
                    </a:lnTo>
                    <a:lnTo>
                      <a:pt x="7" y="5"/>
                    </a:lnTo>
                    <a:lnTo>
                      <a:pt x="5" y="3"/>
                    </a:lnTo>
                    <a:lnTo>
                      <a:pt x="2" y="0"/>
                    </a:lnTo>
                    <a:lnTo>
                      <a:pt x="0" y="0"/>
                    </a:lnTo>
                    <a:lnTo>
                      <a:pt x="2" y="5"/>
                    </a:lnTo>
                    <a:lnTo>
                      <a:pt x="2" y="7"/>
                    </a:lnTo>
                    <a:lnTo>
                      <a:pt x="2" y="7"/>
                    </a:lnTo>
                    <a:lnTo>
                      <a:pt x="2" y="10"/>
                    </a:lnTo>
                    <a:lnTo>
                      <a:pt x="5" y="10"/>
                    </a:lnTo>
                    <a:lnTo>
                      <a:pt x="5" y="12"/>
                    </a:lnTo>
                    <a:lnTo>
                      <a:pt x="7" y="14"/>
                    </a:lnTo>
                    <a:lnTo>
                      <a:pt x="12" y="17"/>
                    </a:lnTo>
                    <a:lnTo>
                      <a:pt x="12" y="19"/>
                    </a:lnTo>
                    <a:lnTo>
                      <a:pt x="12" y="21"/>
                    </a:lnTo>
                    <a:lnTo>
                      <a:pt x="12" y="24"/>
                    </a:lnTo>
                    <a:lnTo>
                      <a:pt x="14" y="24"/>
                    </a:lnTo>
                    <a:lnTo>
                      <a:pt x="14" y="24"/>
                    </a:lnTo>
                    <a:lnTo>
                      <a:pt x="17" y="21"/>
                    </a:lnTo>
                    <a:lnTo>
                      <a:pt x="17" y="17"/>
                    </a:lnTo>
                    <a:lnTo>
                      <a:pt x="17" y="17"/>
                    </a:lnTo>
                    <a:lnTo>
                      <a:pt x="17" y="14"/>
                    </a:lnTo>
                    <a:lnTo>
                      <a:pt x="14" y="14"/>
                    </a:lnTo>
                    <a:lnTo>
                      <a:pt x="12" y="12"/>
                    </a:lnTo>
                    <a:lnTo>
                      <a:pt x="14" y="12"/>
                    </a:lnTo>
                    <a:lnTo>
                      <a:pt x="14" y="12"/>
                    </a:lnTo>
                    <a:lnTo>
                      <a:pt x="12" y="10"/>
                    </a:lnTo>
                    <a:lnTo>
                      <a:pt x="12" y="10"/>
                    </a:lnTo>
                    <a:lnTo>
                      <a:pt x="1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17" name="Freeform 137">
                <a:extLst>
                  <a:ext uri="{FF2B5EF4-FFF2-40B4-BE49-F238E27FC236}">
                    <a16:creationId xmlns:a16="http://schemas.microsoft.com/office/drawing/2014/main" id="{CDE8A54D-7DE6-4B17-808F-BC16933B6C16}"/>
                  </a:ext>
                </a:extLst>
              </p:cNvPr>
              <p:cNvSpPr>
                <a:spLocks/>
              </p:cNvSpPr>
              <p:nvPr/>
            </p:nvSpPr>
            <p:spPr bwMode="gray">
              <a:xfrm>
                <a:off x="-3088" y="1792"/>
                <a:ext cx="7" cy="5"/>
              </a:xfrm>
              <a:custGeom>
                <a:avLst/>
                <a:gdLst>
                  <a:gd name="T0" fmla="*/ 2 w 7"/>
                  <a:gd name="T1" fmla="*/ 5 h 5"/>
                  <a:gd name="T2" fmla="*/ 2 w 7"/>
                  <a:gd name="T3" fmla="*/ 5 h 5"/>
                  <a:gd name="T4" fmla="*/ 2 w 7"/>
                  <a:gd name="T5" fmla="*/ 5 h 5"/>
                  <a:gd name="T6" fmla="*/ 7 w 7"/>
                  <a:gd name="T7" fmla="*/ 2 h 5"/>
                  <a:gd name="T8" fmla="*/ 7 w 7"/>
                  <a:gd name="T9" fmla="*/ 2 h 5"/>
                  <a:gd name="T10" fmla="*/ 7 w 7"/>
                  <a:gd name="T11" fmla="*/ 2 h 5"/>
                  <a:gd name="T12" fmla="*/ 7 w 7"/>
                  <a:gd name="T13" fmla="*/ 2 h 5"/>
                  <a:gd name="T14" fmla="*/ 4 w 7"/>
                  <a:gd name="T15" fmla="*/ 0 h 5"/>
                  <a:gd name="T16" fmla="*/ 2 w 7"/>
                  <a:gd name="T17" fmla="*/ 2 h 5"/>
                  <a:gd name="T18" fmla="*/ 0 w 7"/>
                  <a:gd name="T19" fmla="*/ 2 h 5"/>
                  <a:gd name="T20" fmla="*/ 0 w 7"/>
                  <a:gd name="T21" fmla="*/ 5 h 5"/>
                  <a:gd name="T22" fmla="*/ 2 w 7"/>
                  <a:gd name="T23" fmla="*/ 2 h 5"/>
                  <a:gd name="T24" fmla="*/ 2 w 7"/>
                  <a:gd name="T25" fmla="*/ 5 h 5"/>
                  <a:gd name="T26" fmla="*/ 2 w 7"/>
                  <a:gd name="T27" fmla="*/ 5 h 5"/>
                  <a:gd name="T28" fmla="*/ 2 w 7"/>
                  <a:gd name="T29" fmla="*/ 5 h 5"/>
                  <a:gd name="T30" fmla="*/ 2 w 7"/>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5">
                    <a:moveTo>
                      <a:pt x="2" y="5"/>
                    </a:moveTo>
                    <a:lnTo>
                      <a:pt x="2" y="5"/>
                    </a:lnTo>
                    <a:lnTo>
                      <a:pt x="2" y="5"/>
                    </a:lnTo>
                    <a:lnTo>
                      <a:pt x="7" y="2"/>
                    </a:lnTo>
                    <a:lnTo>
                      <a:pt x="7" y="2"/>
                    </a:lnTo>
                    <a:lnTo>
                      <a:pt x="7" y="2"/>
                    </a:lnTo>
                    <a:lnTo>
                      <a:pt x="7" y="2"/>
                    </a:lnTo>
                    <a:lnTo>
                      <a:pt x="4" y="0"/>
                    </a:lnTo>
                    <a:lnTo>
                      <a:pt x="2" y="2"/>
                    </a:lnTo>
                    <a:lnTo>
                      <a:pt x="0" y="2"/>
                    </a:lnTo>
                    <a:lnTo>
                      <a:pt x="0" y="5"/>
                    </a:lnTo>
                    <a:lnTo>
                      <a:pt x="2" y="2"/>
                    </a:lnTo>
                    <a:lnTo>
                      <a:pt x="2" y="5"/>
                    </a:lnTo>
                    <a:lnTo>
                      <a:pt x="2" y="5"/>
                    </a:lnTo>
                    <a:lnTo>
                      <a:pt x="2"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18" name="Freeform 138">
                <a:extLst>
                  <a:ext uri="{FF2B5EF4-FFF2-40B4-BE49-F238E27FC236}">
                    <a16:creationId xmlns:a16="http://schemas.microsoft.com/office/drawing/2014/main" id="{9B7AA0AF-620C-42F5-A3DF-3DBDE7C87E95}"/>
                  </a:ext>
                </a:extLst>
              </p:cNvPr>
              <p:cNvSpPr>
                <a:spLocks/>
              </p:cNvSpPr>
              <p:nvPr/>
            </p:nvSpPr>
            <p:spPr bwMode="gray">
              <a:xfrm>
                <a:off x="-2052" y="2379"/>
                <a:ext cx="0" cy="2"/>
              </a:xfrm>
              <a:custGeom>
                <a:avLst/>
                <a:gdLst>
                  <a:gd name="T0" fmla="*/ 2 h 2"/>
                  <a:gd name="T1" fmla="*/ 0 h 2"/>
                  <a:gd name="T2" fmla="*/ 2 h 2"/>
                  <a:gd name="T3" fmla="*/ 2 h 2"/>
                </a:gdLst>
                <a:ahLst/>
                <a:cxnLst>
                  <a:cxn ang="0">
                    <a:pos x="0" y="T0"/>
                  </a:cxn>
                  <a:cxn ang="0">
                    <a:pos x="0" y="T1"/>
                  </a:cxn>
                  <a:cxn ang="0">
                    <a:pos x="0" y="T2"/>
                  </a:cxn>
                  <a:cxn ang="0">
                    <a:pos x="0" y="T3"/>
                  </a:cxn>
                </a:cxnLst>
                <a:rect l="0" t="0" r="r" b="b"/>
                <a:pathLst>
                  <a:path h="2">
                    <a:moveTo>
                      <a:pt x="0" y="2"/>
                    </a:move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19" name="Freeform 139">
                <a:extLst>
                  <a:ext uri="{FF2B5EF4-FFF2-40B4-BE49-F238E27FC236}">
                    <a16:creationId xmlns:a16="http://schemas.microsoft.com/office/drawing/2014/main" id="{8AA04651-7E64-451A-837D-110742E0FD73}"/>
                  </a:ext>
                </a:extLst>
              </p:cNvPr>
              <p:cNvSpPr>
                <a:spLocks/>
              </p:cNvSpPr>
              <p:nvPr/>
            </p:nvSpPr>
            <p:spPr bwMode="gray">
              <a:xfrm>
                <a:off x="-2118" y="2343"/>
                <a:ext cx="73" cy="156"/>
              </a:xfrm>
              <a:custGeom>
                <a:avLst/>
                <a:gdLst>
                  <a:gd name="T0" fmla="*/ 4 w 73"/>
                  <a:gd name="T1" fmla="*/ 73 h 156"/>
                  <a:gd name="T2" fmla="*/ 2 w 73"/>
                  <a:gd name="T3" fmla="*/ 76 h 156"/>
                  <a:gd name="T4" fmla="*/ 4 w 73"/>
                  <a:gd name="T5" fmla="*/ 81 h 156"/>
                  <a:gd name="T6" fmla="*/ 2 w 73"/>
                  <a:gd name="T7" fmla="*/ 83 h 156"/>
                  <a:gd name="T8" fmla="*/ 9 w 73"/>
                  <a:gd name="T9" fmla="*/ 88 h 156"/>
                  <a:gd name="T10" fmla="*/ 14 w 73"/>
                  <a:gd name="T11" fmla="*/ 92 h 156"/>
                  <a:gd name="T12" fmla="*/ 7 w 73"/>
                  <a:gd name="T13" fmla="*/ 99 h 156"/>
                  <a:gd name="T14" fmla="*/ 7 w 73"/>
                  <a:gd name="T15" fmla="*/ 106 h 156"/>
                  <a:gd name="T16" fmla="*/ 16 w 73"/>
                  <a:gd name="T17" fmla="*/ 104 h 156"/>
                  <a:gd name="T18" fmla="*/ 16 w 73"/>
                  <a:gd name="T19" fmla="*/ 109 h 156"/>
                  <a:gd name="T20" fmla="*/ 14 w 73"/>
                  <a:gd name="T21" fmla="*/ 111 h 156"/>
                  <a:gd name="T22" fmla="*/ 11 w 73"/>
                  <a:gd name="T23" fmla="*/ 116 h 156"/>
                  <a:gd name="T24" fmla="*/ 9 w 73"/>
                  <a:gd name="T25" fmla="*/ 121 h 156"/>
                  <a:gd name="T26" fmla="*/ 11 w 73"/>
                  <a:gd name="T27" fmla="*/ 123 h 156"/>
                  <a:gd name="T28" fmla="*/ 21 w 73"/>
                  <a:gd name="T29" fmla="*/ 125 h 156"/>
                  <a:gd name="T30" fmla="*/ 23 w 73"/>
                  <a:gd name="T31" fmla="*/ 130 h 156"/>
                  <a:gd name="T32" fmla="*/ 18 w 73"/>
                  <a:gd name="T33" fmla="*/ 137 h 156"/>
                  <a:gd name="T34" fmla="*/ 21 w 73"/>
                  <a:gd name="T35" fmla="*/ 139 h 156"/>
                  <a:gd name="T36" fmla="*/ 23 w 73"/>
                  <a:gd name="T37" fmla="*/ 142 h 156"/>
                  <a:gd name="T38" fmla="*/ 28 w 73"/>
                  <a:gd name="T39" fmla="*/ 144 h 156"/>
                  <a:gd name="T40" fmla="*/ 35 w 73"/>
                  <a:gd name="T41" fmla="*/ 147 h 156"/>
                  <a:gd name="T42" fmla="*/ 37 w 73"/>
                  <a:gd name="T43" fmla="*/ 149 h 156"/>
                  <a:gd name="T44" fmla="*/ 40 w 73"/>
                  <a:gd name="T45" fmla="*/ 154 h 156"/>
                  <a:gd name="T46" fmla="*/ 49 w 73"/>
                  <a:gd name="T47" fmla="*/ 154 h 156"/>
                  <a:gd name="T48" fmla="*/ 47 w 73"/>
                  <a:gd name="T49" fmla="*/ 151 h 156"/>
                  <a:gd name="T50" fmla="*/ 51 w 73"/>
                  <a:gd name="T51" fmla="*/ 147 h 156"/>
                  <a:gd name="T52" fmla="*/ 51 w 73"/>
                  <a:gd name="T53" fmla="*/ 142 h 156"/>
                  <a:gd name="T54" fmla="*/ 56 w 73"/>
                  <a:gd name="T55" fmla="*/ 139 h 156"/>
                  <a:gd name="T56" fmla="*/ 51 w 73"/>
                  <a:gd name="T57" fmla="*/ 135 h 156"/>
                  <a:gd name="T58" fmla="*/ 56 w 73"/>
                  <a:gd name="T59" fmla="*/ 132 h 156"/>
                  <a:gd name="T60" fmla="*/ 59 w 73"/>
                  <a:gd name="T61" fmla="*/ 128 h 156"/>
                  <a:gd name="T62" fmla="*/ 61 w 73"/>
                  <a:gd name="T63" fmla="*/ 118 h 156"/>
                  <a:gd name="T64" fmla="*/ 68 w 73"/>
                  <a:gd name="T65" fmla="*/ 90 h 156"/>
                  <a:gd name="T66" fmla="*/ 70 w 73"/>
                  <a:gd name="T67" fmla="*/ 81 h 156"/>
                  <a:gd name="T68" fmla="*/ 70 w 73"/>
                  <a:gd name="T69" fmla="*/ 57 h 156"/>
                  <a:gd name="T70" fmla="*/ 66 w 73"/>
                  <a:gd name="T71" fmla="*/ 38 h 156"/>
                  <a:gd name="T72" fmla="*/ 66 w 73"/>
                  <a:gd name="T73" fmla="*/ 40 h 156"/>
                  <a:gd name="T74" fmla="*/ 63 w 73"/>
                  <a:gd name="T75" fmla="*/ 38 h 156"/>
                  <a:gd name="T76" fmla="*/ 63 w 73"/>
                  <a:gd name="T77" fmla="*/ 29 h 156"/>
                  <a:gd name="T78" fmla="*/ 66 w 73"/>
                  <a:gd name="T79" fmla="*/ 5 h 156"/>
                  <a:gd name="T80" fmla="*/ 59 w 73"/>
                  <a:gd name="T81" fmla="*/ 0 h 156"/>
                  <a:gd name="T82" fmla="*/ 56 w 73"/>
                  <a:gd name="T83" fmla="*/ 7 h 156"/>
                  <a:gd name="T84" fmla="*/ 56 w 73"/>
                  <a:gd name="T85" fmla="*/ 15 h 156"/>
                  <a:gd name="T86" fmla="*/ 56 w 73"/>
                  <a:gd name="T87" fmla="*/ 26 h 156"/>
                  <a:gd name="T88" fmla="*/ 49 w 73"/>
                  <a:gd name="T89" fmla="*/ 29 h 156"/>
                  <a:gd name="T90" fmla="*/ 40 w 73"/>
                  <a:gd name="T91" fmla="*/ 29 h 156"/>
                  <a:gd name="T92" fmla="*/ 18 w 73"/>
                  <a:gd name="T93" fmla="*/ 40 h 156"/>
                  <a:gd name="T94" fmla="*/ 14 w 73"/>
                  <a:gd name="T95" fmla="*/ 43 h 156"/>
                  <a:gd name="T96" fmla="*/ 11 w 73"/>
                  <a:gd name="T97" fmla="*/ 45 h 156"/>
                  <a:gd name="T98" fmla="*/ 7 w 73"/>
                  <a:gd name="T99" fmla="*/ 52 h 156"/>
                  <a:gd name="T100" fmla="*/ 7 w 73"/>
                  <a:gd name="T101" fmla="*/ 57 h 156"/>
                  <a:gd name="T102" fmla="*/ 4 w 73"/>
                  <a:gd name="T103" fmla="*/ 59 h 156"/>
                  <a:gd name="T104" fmla="*/ 0 w 73"/>
                  <a:gd name="T105" fmla="*/ 62 h 156"/>
                  <a:gd name="T106" fmla="*/ 4 w 73"/>
                  <a:gd name="T107" fmla="*/ 66 h 156"/>
                  <a:gd name="T108" fmla="*/ 9 w 73"/>
                  <a:gd name="T109" fmla="*/ 6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3" h="156">
                    <a:moveTo>
                      <a:pt x="9" y="71"/>
                    </a:moveTo>
                    <a:lnTo>
                      <a:pt x="9" y="71"/>
                    </a:lnTo>
                    <a:lnTo>
                      <a:pt x="9" y="71"/>
                    </a:lnTo>
                    <a:lnTo>
                      <a:pt x="7" y="73"/>
                    </a:lnTo>
                    <a:lnTo>
                      <a:pt x="4" y="73"/>
                    </a:lnTo>
                    <a:lnTo>
                      <a:pt x="4" y="73"/>
                    </a:lnTo>
                    <a:lnTo>
                      <a:pt x="4" y="73"/>
                    </a:lnTo>
                    <a:lnTo>
                      <a:pt x="2" y="73"/>
                    </a:lnTo>
                    <a:lnTo>
                      <a:pt x="0" y="73"/>
                    </a:lnTo>
                    <a:lnTo>
                      <a:pt x="0" y="73"/>
                    </a:lnTo>
                    <a:lnTo>
                      <a:pt x="0" y="76"/>
                    </a:lnTo>
                    <a:lnTo>
                      <a:pt x="0" y="76"/>
                    </a:lnTo>
                    <a:lnTo>
                      <a:pt x="2" y="76"/>
                    </a:lnTo>
                    <a:lnTo>
                      <a:pt x="2" y="76"/>
                    </a:lnTo>
                    <a:lnTo>
                      <a:pt x="2" y="78"/>
                    </a:lnTo>
                    <a:lnTo>
                      <a:pt x="2" y="78"/>
                    </a:lnTo>
                    <a:lnTo>
                      <a:pt x="2" y="78"/>
                    </a:lnTo>
                    <a:lnTo>
                      <a:pt x="2" y="81"/>
                    </a:lnTo>
                    <a:lnTo>
                      <a:pt x="2" y="81"/>
                    </a:lnTo>
                    <a:lnTo>
                      <a:pt x="2" y="81"/>
                    </a:lnTo>
                    <a:lnTo>
                      <a:pt x="4" y="81"/>
                    </a:lnTo>
                    <a:lnTo>
                      <a:pt x="4" y="81"/>
                    </a:lnTo>
                    <a:lnTo>
                      <a:pt x="2" y="83"/>
                    </a:lnTo>
                    <a:lnTo>
                      <a:pt x="2" y="83"/>
                    </a:lnTo>
                    <a:lnTo>
                      <a:pt x="2" y="83"/>
                    </a:lnTo>
                    <a:lnTo>
                      <a:pt x="2" y="83"/>
                    </a:lnTo>
                    <a:lnTo>
                      <a:pt x="4" y="83"/>
                    </a:lnTo>
                    <a:lnTo>
                      <a:pt x="2" y="83"/>
                    </a:lnTo>
                    <a:lnTo>
                      <a:pt x="2" y="85"/>
                    </a:lnTo>
                    <a:lnTo>
                      <a:pt x="4" y="85"/>
                    </a:lnTo>
                    <a:lnTo>
                      <a:pt x="7" y="85"/>
                    </a:lnTo>
                    <a:lnTo>
                      <a:pt x="7" y="85"/>
                    </a:lnTo>
                    <a:lnTo>
                      <a:pt x="7" y="88"/>
                    </a:lnTo>
                    <a:lnTo>
                      <a:pt x="7" y="88"/>
                    </a:lnTo>
                    <a:lnTo>
                      <a:pt x="9" y="88"/>
                    </a:lnTo>
                    <a:lnTo>
                      <a:pt x="11" y="88"/>
                    </a:lnTo>
                    <a:lnTo>
                      <a:pt x="11" y="88"/>
                    </a:lnTo>
                    <a:lnTo>
                      <a:pt x="11" y="90"/>
                    </a:lnTo>
                    <a:lnTo>
                      <a:pt x="14" y="90"/>
                    </a:lnTo>
                    <a:lnTo>
                      <a:pt x="14" y="92"/>
                    </a:lnTo>
                    <a:lnTo>
                      <a:pt x="14" y="92"/>
                    </a:lnTo>
                    <a:lnTo>
                      <a:pt x="14" y="92"/>
                    </a:lnTo>
                    <a:lnTo>
                      <a:pt x="11" y="95"/>
                    </a:lnTo>
                    <a:lnTo>
                      <a:pt x="11" y="95"/>
                    </a:lnTo>
                    <a:lnTo>
                      <a:pt x="9" y="95"/>
                    </a:lnTo>
                    <a:lnTo>
                      <a:pt x="9" y="95"/>
                    </a:lnTo>
                    <a:lnTo>
                      <a:pt x="7" y="97"/>
                    </a:lnTo>
                    <a:lnTo>
                      <a:pt x="9" y="97"/>
                    </a:lnTo>
                    <a:lnTo>
                      <a:pt x="7" y="99"/>
                    </a:lnTo>
                    <a:lnTo>
                      <a:pt x="7" y="99"/>
                    </a:lnTo>
                    <a:lnTo>
                      <a:pt x="2" y="99"/>
                    </a:lnTo>
                    <a:lnTo>
                      <a:pt x="4" y="102"/>
                    </a:lnTo>
                    <a:lnTo>
                      <a:pt x="4" y="104"/>
                    </a:lnTo>
                    <a:lnTo>
                      <a:pt x="4" y="104"/>
                    </a:lnTo>
                    <a:lnTo>
                      <a:pt x="4" y="106"/>
                    </a:lnTo>
                    <a:lnTo>
                      <a:pt x="7" y="106"/>
                    </a:lnTo>
                    <a:lnTo>
                      <a:pt x="7" y="104"/>
                    </a:lnTo>
                    <a:lnTo>
                      <a:pt x="9" y="104"/>
                    </a:lnTo>
                    <a:lnTo>
                      <a:pt x="11" y="104"/>
                    </a:lnTo>
                    <a:lnTo>
                      <a:pt x="14" y="104"/>
                    </a:lnTo>
                    <a:lnTo>
                      <a:pt x="16" y="104"/>
                    </a:lnTo>
                    <a:lnTo>
                      <a:pt x="16" y="104"/>
                    </a:lnTo>
                    <a:lnTo>
                      <a:pt x="16" y="104"/>
                    </a:lnTo>
                    <a:lnTo>
                      <a:pt x="16" y="104"/>
                    </a:lnTo>
                    <a:lnTo>
                      <a:pt x="16" y="104"/>
                    </a:lnTo>
                    <a:lnTo>
                      <a:pt x="18" y="106"/>
                    </a:lnTo>
                    <a:lnTo>
                      <a:pt x="18" y="106"/>
                    </a:lnTo>
                    <a:lnTo>
                      <a:pt x="18" y="106"/>
                    </a:lnTo>
                    <a:lnTo>
                      <a:pt x="18" y="106"/>
                    </a:lnTo>
                    <a:lnTo>
                      <a:pt x="16" y="109"/>
                    </a:lnTo>
                    <a:lnTo>
                      <a:pt x="16" y="109"/>
                    </a:lnTo>
                    <a:lnTo>
                      <a:pt x="16" y="109"/>
                    </a:lnTo>
                    <a:lnTo>
                      <a:pt x="16" y="109"/>
                    </a:lnTo>
                    <a:lnTo>
                      <a:pt x="16" y="111"/>
                    </a:lnTo>
                    <a:lnTo>
                      <a:pt x="16" y="111"/>
                    </a:lnTo>
                    <a:lnTo>
                      <a:pt x="16" y="111"/>
                    </a:lnTo>
                    <a:lnTo>
                      <a:pt x="14" y="111"/>
                    </a:lnTo>
                    <a:lnTo>
                      <a:pt x="16" y="111"/>
                    </a:lnTo>
                    <a:lnTo>
                      <a:pt x="16" y="111"/>
                    </a:lnTo>
                    <a:lnTo>
                      <a:pt x="16" y="114"/>
                    </a:lnTo>
                    <a:lnTo>
                      <a:pt x="16" y="114"/>
                    </a:lnTo>
                    <a:lnTo>
                      <a:pt x="14" y="116"/>
                    </a:lnTo>
                    <a:lnTo>
                      <a:pt x="14" y="116"/>
                    </a:lnTo>
                    <a:lnTo>
                      <a:pt x="11" y="116"/>
                    </a:lnTo>
                    <a:lnTo>
                      <a:pt x="11" y="116"/>
                    </a:lnTo>
                    <a:lnTo>
                      <a:pt x="11" y="116"/>
                    </a:lnTo>
                    <a:lnTo>
                      <a:pt x="11" y="118"/>
                    </a:lnTo>
                    <a:lnTo>
                      <a:pt x="11" y="118"/>
                    </a:lnTo>
                    <a:lnTo>
                      <a:pt x="11" y="118"/>
                    </a:lnTo>
                    <a:lnTo>
                      <a:pt x="11" y="121"/>
                    </a:lnTo>
                    <a:lnTo>
                      <a:pt x="9" y="121"/>
                    </a:lnTo>
                    <a:lnTo>
                      <a:pt x="7" y="121"/>
                    </a:lnTo>
                    <a:lnTo>
                      <a:pt x="9" y="121"/>
                    </a:lnTo>
                    <a:lnTo>
                      <a:pt x="9" y="121"/>
                    </a:lnTo>
                    <a:lnTo>
                      <a:pt x="9" y="121"/>
                    </a:lnTo>
                    <a:lnTo>
                      <a:pt x="11" y="121"/>
                    </a:lnTo>
                    <a:lnTo>
                      <a:pt x="11" y="123"/>
                    </a:lnTo>
                    <a:lnTo>
                      <a:pt x="11" y="123"/>
                    </a:lnTo>
                    <a:lnTo>
                      <a:pt x="11" y="123"/>
                    </a:lnTo>
                    <a:lnTo>
                      <a:pt x="16" y="121"/>
                    </a:lnTo>
                    <a:lnTo>
                      <a:pt x="16" y="121"/>
                    </a:lnTo>
                    <a:lnTo>
                      <a:pt x="16" y="123"/>
                    </a:lnTo>
                    <a:lnTo>
                      <a:pt x="16" y="125"/>
                    </a:lnTo>
                    <a:lnTo>
                      <a:pt x="18" y="125"/>
                    </a:lnTo>
                    <a:lnTo>
                      <a:pt x="21" y="125"/>
                    </a:lnTo>
                    <a:lnTo>
                      <a:pt x="25" y="125"/>
                    </a:lnTo>
                    <a:lnTo>
                      <a:pt x="25" y="125"/>
                    </a:lnTo>
                    <a:lnTo>
                      <a:pt x="25" y="128"/>
                    </a:lnTo>
                    <a:lnTo>
                      <a:pt x="25" y="128"/>
                    </a:lnTo>
                    <a:lnTo>
                      <a:pt x="23" y="128"/>
                    </a:lnTo>
                    <a:lnTo>
                      <a:pt x="23" y="130"/>
                    </a:lnTo>
                    <a:lnTo>
                      <a:pt x="23" y="130"/>
                    </a:lnTo>
                    <a:lnTo>
                      <a:pt x="18" y="132"/>
                    </a:lnTo>
                    <a:lnTo>
                      <a:pt x="18" y="130"/>
                    </a:lnTo>
                    <a:lnTo>
                      <a:pt x="16" y="132"/>
                    </a:lnTo>
                    <a:lnTo>
                      <a:pt x="16" y="135"/>
                    </a:lnTo>
                    <a:lnTo>
                      <a:pt x="16" y="135"/>
                    </a:lnTo>
                    <a:lnTo>
                      <a:pt x="16" y="135"/>
                    </a:lnTo>
                    <a:lnTo>
                      <a:pt x="18" y="137"/>
                    </a:lnTo>
                    <a:lnTo>
                      <a:pt x="16" y="139"/>
                    </a:lnTo>
                    <a:lnTo>
                      <a:pt x="18" y="139"/>
                    </a:lnTo>
                    <a:lnTo>
                      <a:pt x="18" y="139"/>
                    </a:lnTo>
                    <a:lnTo>
                      <a:pt x="18" y="139"/>
                    </a:lnTo>
                    <a:lnTo>
                      <a:pt x="21" y="139"/>
                    </a:lnTo>
                    <a:lnTo>
                      <a:pt x="21" y="139"/>
                    </a:lnTo>
                    <a:lnTo>
                      <a:pt x="21" y="139"/>
                    </a:lnTo>
                    <a:lnTo>
                      <a:pt x="21" y="142"/>
                    </a:lnTo>
                    <a:lnTo>
                      <a:pt x="21" y="142"/>
                    </a:lnTo>
                    <a:lnTo>
                      <a:pt x="21" y="142"/>
                    </a:lnTo>
                    <a:lnTo>
                      <a:pt x="21" y="142"/>
                    </a:lnTo>
                    <a:lnTo>
                      <a:pt x="23" y="142"/>
                    </a:lnTo>
                    <a:lnTo>
                      <a:pt x="23" y="142"/>
                    </a:lnTo>
                    <a:lnTo>
                      <a:pt x="23" y="142"/>
                    </a:lnTo>
                    <a:lnTo>
                      <a:pt x="23" y="142"/>
                    </a:lnTo>
                    <a:lnTo>
                      <a:pt x="23" y="142"/>
                    </a:lnTo>
                    <a:lnTo>
                      <a:pt x="25" y="144"/>
                    </a:lnTo>
                    <a:lnTo>
                      <a:pt x="25" y="144"/>
                    </a:lnTo>
                    <a:lnTo>
                      <a:pt x="25" y="144"/>
                    </a:lnTo>
                    <a:lnTo>
                      <a:pt x="28" y="144"/>
                    </a:lnTo>
                    <a:lnTo>
                      <a:pt x="28" y="144"/>
                    </a:lnTo>
                    <a:lnTo>
                      <a:pt x="30" y="144"/>
                    </a:lnTo>
                    <a:lnTo>
                      <a:pt x="33" y="147"/>
                    </a:lnTo>
                    <a:lnTo>
                      <a:pt x="33" y="147"/>
                    </a:lnTo>
                    <a:lnTo>
                      <a:pt x="33" y="147"/>
                    </a:lnTo>
                    <a:lnTo>
                      <a:pt x="33" y="147"/>
                    </a:lnTo>
                    <a:lnTo>
                      <a:pt x="35" y="147"/>
                    </a:lnTo>
                    <a:lnTo>
                      <a:pt x="35" y="147"/>
                    </a:lnTo>
                    <a:lnTo>
                      <a:pt x="35" y="147"/>
                    </a:lnTo>
                    <a:lnTo>
                      <a:pt x="35" y="147"/>
                    </a:lnTo>
                    <a:lnTo>
                      <a:pt x="35" y="149"/>
                    </a:lnTo>
                    <a:lnTo>
                      <a:pt x="37" y="147"/>
                    </a:lnTo>
                    <a:lnTo>
                      <a:pt x="37" y="147"/>
                    </a:lnTo>
                    <a:lnTo>
                      <a:pt x="37" y="147"/>
                    </a:lnTo>
                    <a:lnTo>
                      <a:pt x="37" y="149"/>
                    </a:lnTo>
                    <a:lnTo>
                      <a:pt x="37" y="149"/>
                    </a:lnTo>
                    <a:lnTo>
                      <a:pt x="40" y="149"/>
                    </a:lnTo>
                    <a:lnTo>
                      <a:pt x="40" y="149"/>
                    </a:lnTo>
                    <a:lnTo>
                      <a:pt x="40" y="151"/>
                    </a:lnTo>
                    <a:lnTo>
                      <a:pt x="40" y="151"/>
                    </a:lnTo>
                    <a:lnTo>
                      <a:pt x="40" y="154"/>
                    </a:lnTo>
                    <a:lnTo>
                      <a:pt x="40" y="154"/>
                    </a:lnTo>
                    <a:lnTo>
                      <a:pt x="42" y="154"/>
                    </a:lnTo>
                    <a:lnTo>
                      <a:pt x="44" y="156"/>
                    </a:lnTo>
                    <a:lnTo>
                      <a:pt x="47" y="156"/>
                    </a:lnTo>
                    <a:lnTo>
                      <a:pt x="47" y="156"/>
                    </a:lnTo>
                    <a:lnTo>
                      <a:pt x="49" y="156"/>
                    </a:lnTo>
                    <a:lnTo>
                      <a:pt x="49" y="156"/>
                    </a:lnTo>
                    <a:lnTo>
                      <a:pt x="49" y="154"/>
                    </a:lnTo>
                    <a:lnTo>
                      <a:pt x="49" y="151"/>
                    </a:lnTo>
                    <a:lnTo>
                      <a:pt x="49" y="151"/>
                    </a:lnTo>
                    <a:lnTo>
                      <a:pt x="49" y="151"/>
                    </a:lnTo>
                    <a:lnTo>
                      <a:pt x="47" y="151"/>
                    </a:lnTo>
                    <a:lnTo>
                      <a:pt x="47" y="154"/>
                    </a:lnTo>
                    <a:lnTo>
                      <a:pt x="47" y="151"/>
                    </a:lnTo>
                    <a:lnTo>
                      <a:pt x="47" y="151"/>
                    </a:lnTo>
                    <a:lnTo>
                      <a:pt x="49" y="151"/>
                    </a:lnTo>
                    <a:lnTo>
                      <a:pt x="47" y="149"/>
                    </a:lnTo>
                    <a:lnTo>
                      <a:pt x="47" y="149"/>
                    </a:lnTo>
                    <a:lnTo>
                      <a:pt x="47" y="149"/>
                    </a:lnTo>
                    <a:lnTo>
                      <a:pt x="49" y="149"/>
                    </a:lnTo>
                    <a:lnTo>
                      <a:pt x="49" y="147"/>
                    </a:lnTo>
                    <a:lnTo>
                      <a:pt x="51" y="147"/>
                    </a:lnTo>
                    <a:lnTo>
                      <a:pt x="51" y="147"/>
                    </a:lnTo>
                    <a:lnTo>
                      <a:pt x="51" y="147"/>
                    </a:lnTo>
                    <a:lnTo>
                      <a:pt x="51" y="144"/>
                    </a:lnTo>
                    <a:lnTo>
                      <a:pt x="51" y="144"/>
                    </a:lnTo>
                    <a:lnTo>
                      <a:pt x="51" y="144"/>
                    </a:lnTo>
                    <a:lnTo>
                      <a:pt x="51" y="142"/>
                    </a:lnTo>
                    <a:lnTo>
                      <a:pt x="51" y="142"/>
                    </a:lnTo>
                    <a:lnTo>
                      <a:pt x="51" y="142"/>
                    </a:lnTo>
                    <a:lnTo>
                      <a:pt x="51" y="142"/>
                    </a:lnTo>
                    <a:lnTo>
                      <a:pt x="51" y="142"/>
                    </a:lnTo>
                    <a:lnTo>
                      <a:pt x="54" y="139"/>
                    </a:lnTo>
                    <a:lnTo>
                      <a:pt x="54" y="139"/>
                    </a:lnTo>
                    <a:lnTo>
                      <a:pt x="54" y="139"/>
                    </a:lnTo>
                    <a:lnTo>
                      <a:pt x="56" y="139"/>
                    </a:lnTo>
                    <a:lnTo>
                      <a:pt x="56" y="137"/>
                    </a:lnTo>
                    <a:lnTo>
                      <a:pt x="56" y="137"/>
                    </a:lnTo>
                    <a:lnTo>
                      <a:pt x="56" y="135"/>
                    </a:lnTo>
                    <a:lnTo>
                      <a:pt x="56" y="135"/>
                    </a:lnTo>
                    <a:lnTo>
                      <a:pt x="56" y="135"/>
                    </a:lnTo>
                    <a:lnTo>
                      <a:pt x="54" y="135"/>
                    </a:lnTo>
                    <a:lnTo>
                      <a:pt x="51" y="135"/>
                    </a:lnTo>
                    <a:lnTo>
                      <a:pt x="51" y="135"/>
                    </a:lnTo>
                    <a:lnTo>
                      <a:pt x="54" y="132"/>
                    </a:lnTo>
                    <a:lnTo>
                      <a:pt x="54" y="132"/>
                    </a:lnTo>
                    <a:lnTo>
                      <a:pt x="54" y="132"/>
                    </a:lnTo>
                    <a:lnTo>
                      <a:pt x="54" y="132"/>
                    </a:lnTo>
                    <a:lnTo>
                      <a:pt x="56" y="132"/>
                    </a:lnTo>
                    <a:lnTo>
                      <a:pt x="56" y="132"/>
                    </a:lnTo>
                    <a:lnTo>
                      <a:pt x="56" y="132"/>
                    </a:lnTo>
                    <a:lnTo>
                      <a:pt x="56" y="130"/>
                    </a:lnTo>
                    <a:lnTo>
                      <a:pt x="56" y="130"/>
                    </a:lnTo>
                    <a:lnTo>
                      <a:pt x="59" y="130"/>
                    </a:lnTo>
                    <a:lnTo>
                      <a:pt x="59" y="130"/>
                    </a:lnTo>
                    <a:lnTo>
                      <a:pt x="59" y="130"/>
                    </a:lnTo>
                    <a:lnTo>
                      <a:pt x="59" y="128"/>
                    </a:lnTo>
                    <a:lnTo>
                      <a:pt x="59" y="128"/>
                    </a:lnTo>
                    <a:lnTo>
                      <a:pt x="59" y="128"/>
                    </a:lnTo>
                    <a:lnTo>
                      <a:pt x="59" y="125"/>
                    </a:lnTo>
                    <a:lnTo>
                      <a:pt x="59" y="125"/>
                    </a:lnTo>
                    <a:lnTo>
                      <a:pt x="61" y="125"/>
                    </a:lnTo>
                    <a:lnTo>
                      <a:pt x="61" y="125"/>
                    </a:lnTo>
                    <a:lnTo>
                      <a:pt x="61" y="118"/>
                    </a:lnTo>
                    <a:lnTo>
                      <a:pt x="61" y="111"/>
                    </a:lnTo>
                    <a:lnTo>
                      <a:pt x="61" y="104"/>
                    </a:lnTo>
                    <a:lnTo>
                      <a:pt x="61" y="102"/>
                    </a:lnTo>
                    <a:lnTo>
                      <a:pt x="61" y="102"/>
                    </a:lnTo>
                    <a:lnTo>
                      <a:pt x="63" y="99"/>
                    </a:lnTo>
                    <a:lnTo>
                      <a:pt x="66" y="92"/>
                    </a:lnTo>
                    <a:lnTo>
                      <a:pt x="68" y="90"/>
                    </a:lnTo>
                    <a:lnTo>
                      <a:pt x="68" y="90"/>
                    </a:lnTo>
                    <a:lnTo>
                      <a:pt x="70" y="88"/>
                    </a:lnTo>
                    <a:lnTo>
                      <a:pt x="70" y="88"/>
                    </a:lnTo>
                    <a:lnTo>
                      <a:pt x="70" y="85"/>
                    </a:lnTo>
                    <a:lnTo>
                      <a:pt x="73" y="83"/>
                    </a:lnTo>
                    <a:lnTo>
                      <a:pt x="73" y="83"/>
                    </a:lnTo>
                    <a:lnTo>
                      <a:pt x="70" y="81"/>
                    </a:lnTo>
                    <a:lnTo>
                      <a:pt x="73" y="69"/>
                    </a:lnTo>
                    <a:lnTo>
                      <a:pt x="70" y="66"/>
                    </a:lnTo>
                    <a:lnTo>
                      <a:pt x="70" y="64"/>
                    </a:lnTo>
                    <a:lnTo>
                      <a:pt x="70" y="62"/>
                    </a:lnTo>
                    <a:lnTo>
                      <a:pt x="70" y="59"/>
                    </a:lnTo>
                    <a:lnTo>
                      <a:pt x="70" y="59"/>
                    </a:lnTo>
                    <a:lnTo>
                      <a:pt x="70" y="57"/>
                    </a:lnTo>
                    <a:lnTo>
                      <a:pt x="70" y="57"/>
                    </a:lnTo>
                    <a:lnTo>
                      <a:pt x="70" y="55"/>
                    </a:lnTo>
                    <a:lnTo>
                      <a:pt x="70" y="52"/>
                    </a:lnTo>
                    <a:lnTo>
                      <a:pt x="70" y="45"/>
                    </a:lnTo>
                    <a:lnTo>
                      <a:pt x="70" y="43"/>
                    </a:lnTo>
                    <a:lnTo>
                      <a:pt x="68" y="43"/>
                    </a:lnTo>
                    <a:lnTo>
                      <a:pt x="66" y="38"/>
                    </a:lnTo>
                    <a:lnTo>
                      <a:pt x="68" y="40"/>
                    </a:lnTo>
                    <a:lnTo>
                      <a:pt x="68" y="43"/>
                    </a:lnTo>
                    <a:lnTo>
                      <a:pt x="68" y="43"/>
                    </a:lnTo>
                    <a:lnTo>
                      <a:pt x="66" y="43"/>
                    </a:lnTo>
                    <a:lnTo>
                      <a:pt x="66" y="43"/>
                    </a:lnTo>
                    <a:lnTo>
                      <a:pt x="66" y="40"/>
                    </a:lnTo>
                    <a:lnTo>
                      <a:pt x="66" y="40"/>
                    </a:lnTo>
                    <a:lnTo>
                      <a:pt x="66" y="40"/>
                    </a:lnTo>
                    <a:lnTo>
                      <a:pt x="66" y="40"/>
                    </a:lnTo>
                    <a:lnTo>
                      <a:pt x="66" y="38"/>
                    </a:lnTo>
                    <a:lnTo>
                      <a:pt x="66" y="38"/>
                    </a:lnTo>
                    <a:lnTo>
                      <a:pt x="66" y="38"/>
                    </a:lnTo>
                    <a:lnTo>
                      <a:pt x="66" y="38"/>
                    </a:lnTo>
                    <a:lnTo>
                      <a:pt x="63" y="38"/>
                    </a:lnTo>
                    <a:lnTo>
                      <a:pt x="63" y="36"/>
                    </a:lnTo>
                    <a:lnTo>
                      <a:pt x="63" y="36"/>
                    </a:lnTo>
                    <a:lnTo>
                      <a:pt x="63" y="36"/>
                    </a:lnTo>
                    <a:lnTo>
                      <a:pt x="63" y="36"/>
                    </a:lnTo>
                    <a:lnTo>
                      <a:pt x="63" y="33"/>
                    </a:lnTo>
                    <a:lnTo>
                      <a:pt x="63" y="31"/>
                    </a:lnTo>
                    <a:lnTo>
                      <a:pt x="63" y="29"/>
                    </a:lnTo>
                    <a:lnTo>
                      <a:pt x="66" y="22"/>
                    </a:lnTo>
                    <a:lnTo>
                      <a:pt x="66" y="17"/>
                    </a:lnTo>
                    <a:lnTo>
                      <a:pt x="66" y="10"/>
                    </a:lnTo>
                    <a:lnTo>
                      <a:pt x="66" y="7"/>
                    </a:lnTo>
                    <a:lnTo>
                      <a:pt x="66" y="7"/>
                    </a:lnTo>
                    <a:lnTo>
                      <a:pt x="63" y="5"/>
                    </a:lnTo>
                    <a:lnTo>
                      <a:pt x="66" y="5"/>
                    </a:lnTo>
                    <a:lnTo>
                      <a:pt x="66" y="3"/>
                    </a:lnTo>
                    <a:lnTo>
                      <a:pt x="66" y="3"/>
                    </a:lnTo>
                    <a:lnTo>
                      <a:pt x="63" y="3"/>
                    </a:lnTo>
                    <a:lnTo>
                      <a:pt x="63" y="0"/>
                    </a:lnTo>
                    <a:lnTo>
                      <a:pt x="61" y="0"/>
                    </a:lnTo>
                    <a:lnTo>
                      <a:pt x="61" y="0"/>
                    </a:lnTo>
                    <a:lnTo>
                      <a:pt x="59" y="0"/>
                    </a:lnTo>
                    <a:lnTo>
                      <a:pt x="56" y="0"/>
                    </a:lnTo>
                    <a:lnTo>
                      <a:pt x="56" y="3"/>
                    </a:lnTo>
                    <a:lnTo>
                      <a:pt x="56" y="5"/>
                    </a:lnTo>
                    <a:lnTo>
                      <a:pt x="56" y="5"/>
                    </a:lnTo>
                    <a:lnTo>
                      <a:pt x="59" y="7"/>
                    </a:lnTo>
                    <a:lnTo>
                      <a:pt x="56" y="7"/>
                    </a:lnTo>
                    <a:lnTo>
                      <a:pt x="56" y="7"/>
                    </a:lnTo>
                    <a:lnTo>
                      <a:pt x="56" y="7"/>
                    </a:lnTo>
                    <a:lnTo>
                      <a:pt x="59" y="7"/>
                    </a:lnTo>
                    <a:lnTo>
                      <a:pt x="56" y="10"/>
                    </a:lnTo>
                    <a:lnTo>
                      <a:pt x="56" y="12"/>
                    </a:lnTo>
                    <a:lnTo>
                      <a:pt x="56" y="12"/>
                    </a:lnTo>
                    <a:lnTo>
                      <a:pt x="56" y="12"/>
                    </a:lnTo>
                    <a:lnTo>
                      <a:pt x="56" y="15"/>
                    </a:lnTo>
                    <a:lnTo>
                      <a:pt x="56" y="15"/>
                    </a:lnTo>
                    <a:lnTo>
                      <a:pt x="54" y="17"/>
                    </a:lnTo>
                    <a:lnTo>
                      <a:pt x="54" y="19"/>
                    </a:lnTo>
                    <a:lnTo>
                      <a:pt x="56" y="22"/>
                    </a:lnTo>
                    <a:lnTo>
                      <a:pt x="56" y="22"/>
                    </a:lnTo>
                    <a:lnTo>
                      <a:pt x="56" y="24"/>
                    </a:lnTo>
                    <a:lnTo>
                      <a:pt x="56" y="26"/>
                    </a:lnTo>
                    <a:lnTo>
                      <a:pt x="56" y="29"/>
                    </a:lnTo>
                    <a:lnTo>
                      <a:pt x="54" y="33"/>
                    </a:lnTo>
                    <a:lnTo>
                      <a:pt x="51" y="33"/>
                    </a:lnTo>
                    <a:lnTo>
                      <a:pt x="51" y="31"/>
                    </a:lnTo>
                    <a:lnTo>
                      <a:pt x="51" y="31"/>
                    </a:lnTo>
                    <a:lnTo>
                      <a:pt x="51" y="29"/>
                    </a:lnTo>
                    <a:lnTo>
                      <a:pt x="49" y="29"/>
                    </a:lnTo>
                    <a:lnTo>
                      <a:pt x="49" y="29"/>
                    </a:lnTo>
                    <a:lnTo>
                      <a:pt x="44" y="29"/>
                    </a:lnTo>
                    <a:lnTo>
                      <a:pt x="44" y="29"/>
                    </a:lnTo>
                    <a:lnTo>
                      <a:pt x="44" y="26"/>
                    </a:lnTo>
                    <a:lnTo>
                      <a:pt x="42" y="26"/>
                    </a:lnTo>
                    <a:lnTo>
                      <a:pt x="40" y="29"/>
                    </a:lnTo>
                    <a:lnTo>
                      <a:pt x="40" y="29"/>
                    </a:lnTo>
                    <a:lnTo>
                      <a:pt x="35" y="33"/>
                    </a:lnTo>
                    <a:lnTo>
                      <a:pt x="35" y="33"/>
                    </a:lnTo>
                    <a:lnTo>
                      <a:pt x="33" y="36"/>
                    </a:lnTo>
                    <a:lnTo>
                      <a:pt x="25" y="38"/>
                    </a:lnTo>
                    <a:lnTo>
                      <a:pt x="21" y="38"/>
                    </a:lnTo>
                    <a:lnTo>
                      <a:pt x="18" y="40"/>
                    </a:lnTo>
                    <a:lnTo>
                      <a:pt x="18" y="40"/>
                    </a:lnTo>
                    <a:lnTo>
                      <a:pt x="18" y="40"/>
                    </a:lnTo>
                    <a:lnTo>
                      <a:pt x="18" y="43"/>
                    </a:lnTo>
                    <a:lnTo>
                      <a:pt x="16" y="43"/>
                    </a:lnTo>
                    <a:lnTo>
                      <a:pt x="16" y="45"/>
                    </a:lnTo>
                    <a:lnTo>
                      <a:pt x="16" y="43"/>
                    </a:lnTo>
                    <a:lnTo>
                      <a:pt x="14" y="43"/>
                    </a:lnTo>
                    <a:lnTo>
                      <a:pt x="14" y="43"/>
                    </a:lnTo>
                    <a:lnTo>
                      <a:pt x="11" y="43"/>
                    </a:lnTo>
                    <a:lnTo>
                      <a:pt x="11" y="43"/>
                    </a:lnTo>
                    <a:lnTo>
                      <a:pt x="11" y="43"/>
                    </a:lnTo>
                    <a:lnTo>
                      <a:pt x="11" y="43"/>
                    </a:lnTo>
                    <a:lnTo>
                      <a:pt x="11" y="43"/>
                    </a:lnTo>
                    <a:lnTo>
                      <a:pt x="11" y="43"/>
                    </a:lnTo>
                    <a:lnTo>
                      <a:pt x="11" y="45"/>
                    </a:lnTo>
                    <a:lnTo>
                      <a:pt x="11" y="48"/>
                    </a:lnTo>
                    <a:lnTo>
                      <a:pt x="11" y="48"/>
                    </a:lnTo>
                    <a:lnTo>
                      <a:pt x="9" y="48"/>
                    </a:lnTo>
                    <a:lnTo>
                      <a:pt x="9" y="50"/>
                    </a:lnTo>
                    <a:lnTo>
                      <a:pt x="7" y="52"/>
                    </a:lnTo>
                    <a:lnTo>
                      <a:pt x="7" y="52"/>
                    </a:lnTo>
                    <a:lnTo>
                      <a:pt x="7" y="52"/>
                    </a:lnTo>
                    <a:lnTo>
                      <a:pt x="9" y="52"/>
                    </a:lnTo>
                    <a:lnTo>
                      <a:pt x="9" y="52"/>
                    </a:lnTo>
                    <a:lnTo>
                      <a:pt x="9" y="52"/>
                    </a:lnTo>
                    <a:lnTo>
                      <a:pt x="7" y="55"/>
                    </a:lnTo>
                    <a:lnTo>
                      <a:pt x="7" y="55"/>
                    </a:lnTo>
                    <a:lnTo>
                      <a:pt x="7" y="57"/>
                    </a:lnTo>
                    <a:lnTo>
                      <a:pt x="7" y="57"/>
                    </a:lnTo>
                    <a:lnTo>
                      <a:pt x="4" y="57"/>
                    </a:lnTo>
                    <a:lnTo>
                      <a:pt x="4" y="57"/>
                    </a:lnTo>
                    <a:lnTo>
                      <a:pt x="4" y="59"/>
                    </a:lnTo>
                    <a:lnTo>
                      <a:pt x="4" y="59"/>
                    </a:lnTo>
                    <a:lnTo>
                      <a:pt x="4" y="59"/>
                    </a:lnTo>
                    <a:lnTo>
                      <a:pt x="4" y="59"/>
                    </a:lnTo>
                    <a:lnTo>
                      <a:pt x="4" y="59"/>
                    </a:lnTo>
                    <a:lnTo>
                      <a:pt x="2" y="59"/>
                    </a:lnTo>
                    <a:lnTo>
                      <a:pt x="2" y="59"/>
                    </a:lnTo>
                    <a:lnTo>
                      <a:pt x="2" y="62"/>
                    </a:lnTo>
                    <a:lnTo>
                      <a:pt x="2" y="62"/>
                    </a:lnTo>
                    <a:lnTo>
                      <a:pt x="0" y="59"/>
                    </a:lnTo>
                    <a:lnTo>
                      <a:pt x="0" y="62"/>
                    </a:lnTo>
                    <a:lnTo>
                      <a:pt x="0" y="62"/>
                    </a:lnTo>
                    <a:lnTo>
                      <a:pt x="0" y="64"/>
                    </a:lnTo>
                    <a:lnTo>
                      <a:pt x="0" y="64"/>
                    </a:lnTo>
                    <a:lnTo>
                      <a:pt x="0" y="64"/>
                    </a:lnTo>
                    <a:lnTo>
                      <a:pt x="4" y="64"/>
                    </a:lnTo>
                    <a:lnTo>
                      <a:pt x="4" y="64"/>
                    </a:lnTo>
                    <a:lnTo>
                      <a:pt x="7" y="64"/>
                    </a:lnTo>
                    <a:lnTo>
                      <a:pt x="4" y="66"/>
                    </a:lnTo>
                    <a:lnTo>
                      <a:pt x="4" y="66"/>
                    </a:lnTo>
                    <a:lnTo>
                      <a:pt x="4" y="66"/>
                    </a:lnTo>
                    <a:lnTo>
                      <a:pt x="4" y="66"/>
                    </a:lnTo>
                    <a:lnTo>
                      <a:pt x="7" y="66"/>
                    </a:lnTo>
                    <a:lnTo>
                      <a:pt x="7" y="69"/>
                    </a:lnTo>
                    <a:lnTo>
                      <a:pt x="7" y="69"/>
                    </a:lnTo>
                    <a:lnTo>
                      <a:pt x="9" y="69"/>
                    </a:lnTo>
                    <a:lnTo>
                      <a:pt x="9" y="69"/>
                    </a:lnTo>
                    <a:lnTo>
                      <a:pt x="9" y="71"/>
                    </a:lnTo>
                    <a:lnTo>
                      <a:pt x="9" y="71"/>
                    </a:lnTo>
                    <a:lnTo>
                      <a:pt x="9"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20" name="Freeform 140">
                <a:extLst>
                  <a:ext uri="{FF2B5EF4-FFF2-40B4-BE49-F238E27FC236}">
                    <a16:creationId xmlns:a16="http://schemas.microsoft.com/office/drawing/2014/main" id="{86411369-F078-4FE2-85FF-40596CA5E95E}"/>
                  </a:ext>
                </a:extLst>
              </p:cNvPr>
              <p:cNvSpPr>
                <a:spLocks/>
              </p:cNvSpPr>
              <p:nvPr/>
            </p:nvSpPr>
            <p:spPr bwMode="gray">
              <a:xfrm>
                <a:off x="-2892" y="1976"/>
                <a:ext cx="7" cy="2"/>
              </a:xfrm>
              <a:custGeom>
                <a:avLst/>
                <a:gdLst>
                  <a:gd name="T0" fmla="*/ 2 w 7"/>
                  <a:gd name="T1" fmla="*/ 0 h 2"/>
                  <a:gd name="T2" fmla="*/ 0 w 7"/>
                  <a:gd name="T3" fmla="*/ 0 h 2"/>
                  <a:gd name="T4" fmla="*/ 0 w 7"/>
                  <a:gd name="T5" fmla="*/ 0 h 2"/>
                  <a:gd name="T6" fmla="*/ 0 w 7"/>
                  <a:gd name="T7" fmla="*/ 0 h 2"/>
                  <a:gd name="T8" fmla="*/ 0 w 7"/>
                  <a:gd name="T9" fmla="*/ 2 h 2"/>
                  <a:gd name="T10" fmla="*/ 4 w 7"/>
                  <a:gd name="T11" fmla="*/ 2 h 2"/>
                  <a:gd name="T12" fmla="*/ 7 w 7"/>
                  <a:gd name="T13" fmla="*/ 2 h 2"/>
                  <a:gd name="T14" fmla="*/ 7 w 7"/>
                  <a:gd name="T15" fmla="*/ 2 h 2"/>
                  <a:gd name="T16" fmla="*/ 4 w 7"/>
                  <a:gd name="T17" fmla="*/ 2 h 2"/>
                  <a:gd name="T18" fmla="*/ 2 w 7"/>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2">
                    <a:moveTo>
                      <a:pt x="2" y="0"/>
                    </a:moveTo>
                    <a:lnTo>
                      <a:pt x="0" y="0"/>
                    </a:lnTo>
                    <a:lnTo>
                      <a:pt x="0" y="0"/>
                    </a:lnTo>
                    <a:lnTo>
                      <a:pt x="0" y="0"/>
                    </a:lnTo>
                    <a:lnTo>
                      <a:pt x="0" y="2"/>
                    </a:lnTo>
                    <a:lnTo>
                      <a:pt x="4" y="2"/>
                    </a:lnTo>
                    <a:lnTo>
                      <a:pt x="7" y="2"/>
                    </a:lnTo>
                    <a:lnTo>
                      <a:pt x="7" y="2"/>
                    </a:lnTo>
                    <a:lnTo>
                      <a:pt x="4"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21" name="Freeform 141">
                <a:extLst>
                  <a:ext uri="{FF2B5EF4-FFF2-40B4-BE49-F238E27FC236}">
                    <a16:creationId xmlns:a16="http://schemas.microsoft.com/office/drawing/2014/main" id="{0F9C7E15-14A1-4035-A0AF-79294B69E0F8}"/>
                  </a:ext>
                </a:extLst>
              </p:cNvPr>
              <p:cNvSpPr>
                <a:spLocks/>
              </p:cNvSpPr>
              <p:nvPr/>
            </p:nvSpPr>
            <p:spPr bwMode="gray">
              <a:xfrm>
                <a:off x="-2888" y="1945"/>
                <a:ext cx="12" cy="12"/>
              </a:xfrm>
              <a:custGeom>
                <a:avLst/>
                <a:gdLst>
                  <a:gd name="T0" fmla="*/ 7 w 12"/>
                  <a:gd name="T1" fmla="*/ 3 h 12"/>
                  <a:gd name="T2" fmla="*/ 7 w 12"/>
                  <a:gd name="T3" fmla="*/ 0 h 12"/>
                  <a:gd name="T4" fmla="*/ 7 w 12"/>
                  <a:gd name="T5" fmla="*/ 0 h 12"/>
                  <a:gd name="T6" fmla="*/ 5 w 12"/>
                  <a:gd name="T7" fmla="*/ 0 h 12"/>
                  <a:gd name="T8" fmla="*/ 0 w 12"/>
                  <a:gd name="T9" fmla="*/ 0 h 12"/>
                  <a:gd name="T10" fmla="*/ 3 w 12"/>
                  <a:gd name="T11" fmla="*/ 3 h 12"/>
                  <a:gd name="T12" fmla="*/ 3 w 12"/>
                  <a:gd name="T13" fmla="*/ 5 h 12"/>
                  <a:gd name="T14" fmla="*/ 5 w 12"/>
                  <a:gd name="T15" fmla="*/ 7 h 12"/>
                  <a:gd name="T16" fmla="*/ 7 w 12"/>
                  <a:gd name="T17" fmla="*/ 5 h 12"/>
                  <a:gd name="T18" fmla="*/ 7 w 12"/>
                  <a:gd name="T19" fmla="*/ 7 h 12"/>
                  <a:gd name="T20" fmla="*/ 10 w 12"/>
                  <a:gd name="T21" fmla="*/ 10 h 12"/>
                  <a:gd name="T22" fmla="*/ 10 w 12"/>
                  <a:gd name="T23" fmla="*/ 12 h 12"/>
                  <a:gd name="T24" fmla="*/ 12 w 12"/>
                  <a:gd name="T25" fmla="*/ 12 h 12"/>
                  <a:gd name="T26" fmla="*/ 12 w 12"/>
                  <a:gd name="T27" fmla="*/ 12 h 12"/>
                  <a:gd name="T28" fmla="*/ 12 w 12"/>
                  <a:gd name="T29" fmla="*/ 10 h 12"/>
                  <a:gd name="T30" fmla="*/ 12 w 12"/>
                  <a:gd name="T31" fmla="*/ 7 h 12"/>
                  <a:gd name="T32" fmla="*/ 12 w 12"/>
                  <a:gd name="T33" fmla="*/ 7 h 12"/>
                  <a:gd name="T34" fmla="*/ 10 w 12"/>
                  <a:gd name="T35" fmla="*/ 5 h 12"/>
                  <a:gd name="T36" fmla="*/ 7 w 12"/>
                  <a:gd name="T37" fmla="*/ 5 h 12"/>
                  <a:gd name="T38" fmla="*/ 7 w 12"/>
                  <a:gd name="T39" fmla="*/ 3 h 12"/>
                  <a:gd name="T40" fmla="*/ 7 w 12"/>
                  <a:gd name="T41"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12">
                    <a:moveTo>
                      <a:pt x="7" y="3"/>
                    </a:moveTo>
                    <a:lnTo>
                      <a:pt x="7" y="0"/>
                    </a:lnTo>
                    <a:lnTo>
                      <a:pt x="7" y="0"/>
                    </a:lnTo>
                    <a:lnTo>
                      <a:pt x="5" y="0"/>
                    </a:lnTo>
                    <a:lnTo>
                      <a:pt x="0" y="0"/>
                    </a:lnTo>
                    <a:lnTo>
                      <a:pt x="3" y="3"/>
                    </a:lnTo>
                    <a:lnTo>
                      <a:pt x="3" y="5"/>
                    </a:lnTo>
                    <a:lnTo>
                      <a:pt x="5" y="7"/>
                    </a:lnTo>
                    <a:lnTo>
                      <a:pt x="7" y="5"/>
                    </a:lnTo>
                    <a:lnTo>
                      <a:pt x="7" y="7"/>
                    </a:lnTo>
                    <a:lnTo>
                      <a:pt x="10" y="10"/>
                    </a:lnTo>
                    <a:lnTo>
                      <a:pt x="10" y="12"/>
                    </a:lnTo>
                    <a:lnTo>
                      <a:pt x="12" y="12"/>
                    </a:lnTo>
                    <a:lnTo>
                      <a:pt x="12" y="12"/>
                    </a:lnTo>
                    <a:lnTo>
                      <a:pt x="12" y="10"/>
                    </a:lnTo>
                    <a:lnTo>
                      <a:pt x="12" y="7"/>
                    </a:lnTo>
                    <a:lnTo>
                      <a:pt x="12" y="7"/>
                    </a:lnTo>
                    <a:lnTo>
                      <a:pt x="10" y="5"/>
                    </a:lnTo>
                    <a:lnTo>
                      <a:pt x="7" y="5"/>
                    </a:lnTo>
                    <a:lnTo>
                      <a:pt x="7" y="3"/>
                    </a:lnTo>
                    <a:lnTo>
                      <a:pt x="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22" name="Freeform 142">
                <a:extLst>
                  <a:ext uri="{FF2B5EF4-FFF2-40B4-BE49-F238E27FC236}">
                    <a16:creationId xmlns:a16="http://schemas.microsoft.com/office/drawing/2014/main" id="{AEE476DA-B889-4DB9-9D06-DDD214609879}"/>
                  </a:ext>
                </a:extLst>
              </p:cNvPr>
              <p:cNvSpPr>
                <a:spLocks/>
              </p:cNvSpPr>
              <p:nvPr/>
            </p:nvSpPr>
            <p:spPr bwMode="gray">
              <a:xfrm>
                <a:off x="-2956" y="1908"/>
                <a:ext cx="14" cy="9"/>
              </a:xfrm>
              <a:custGeom>
                <a:avLst/>
                <a:gdLst>
                  <a:gd name="T0" fmla="*/ 2 w 14"/>
                  <a:gd name="T1" fmla="*/ 9 h 9"/>
                  <a:gd name="T2" fmla="*/ 7 w 14"/>
                  <a:gd name="T3" fmla="*/ 9 h 9"/>
                  <a:gd name="T4" fmla="*/ 12 w 14"/>
                  <a:gd name="T5" fmla="*/ 9 h 9"/>
                  <a:gd name="T6" fmla="*/ 14 w 14"/>
                  <a:gd name="T7" fmla="*/ 9 h 9"/>
                  <a:gd name="T8" fmla="*/ 14 w 14"/>
                  <a:gd name="T9" fmla="*/ 7 h 9"/>
                  <a:gd name="T10" fmla="*/ 14 w 14"/>
                  <a:gd name="T11" fmla="*/ 7 h 9"/>
                  <a:gd name="T12" fmla="*/ 12 w 14"/>
                  <a:gd name="T13" fmla="*/ 7 h 9"/>
                  <a:gd name="T14" fmla="*/ 12 w 14"/>
                  <a:gd name="T15" fmla="*/ 7 h 9"/>
                  <a:gd name="T16" fmla="*/ 9 w 14"/>
                  <a:gd name="T17" fmla="*/ 4 h 9"/>
                  <a:gd name="T18" fmla="*/ 9 w 14"/>
                  <a:gd name="T19" fmla="*/ 4 h 9"/>
                  <a:gd name="T20" fmla="*/ 7 w 14"/>
                  <a:gd name="T21" fmla="*/ 2 h 9"/>
                  <a:gd name="T22" fmla="*/ 2 w 14"/>
                  <a:gd name="T23" fmla="*/ 0 h 9"/>
                  <a:gd name="T24" fmla="*/ 2 w 14"/>
                  <a:gd name="T25" fmla="*/ 0 h 9"/>
                  <a:gd name="T26" fmla="*/ 2 w 14"/>
                  <a:gd name="T27" fmla="*/ 0 h 9"/>
                  <a:gd name="T28" fmla="*/ 2 w 14"/>
                  <a:gd name="T29" fmla="*/ 0 h 9"/>
                  <a:gd name="T30" fmla="*/ 2 w 14"/>
                  <a:gd name="T31" fmla="*/ 0 h 9"/>
                  <a:gd name="T32" fmla="*/ 0 w 14"/>
                  <a:gd name="T33" fmla="*/ 0 h 9"/>
                  <a:gd name="T34" fmla="*/ 2 w 14"/>
                  <a:gd name="T35" fmla="*/ 2 h 9"/>
                  <a:gd name="T36" fmla="*/ 2 w 14"/>
                  <a:gd name="T37" fmla="*/ 4 h 9"/>
                  <a:gd name="T38" fmla="*/ 2 w 14"/>
                  <a:gd name="T39" fmla="*/ 4 h 9"/>
                  <a:gd name="T40" fmla="*/ 2 w 14"/>
                  <a:gd name="T41" fmla="*/ 7 h 9"/>
                  <a:gd name="T42" fmla="*/ 2 w 14"/>
                  <a:gd name="T4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9">
                    <a:moveTo>
                      <a:pt x="2" y="9"/>
                    </a:moveTo>
                    <a:lnTo>
                      <a:pt x="7" y="9"/>
                    </a:lnTo>
                    <a:lnTo>
                      <a:pt x="12" y="9"/>
                    </a:lnTo>
                    <a:lnTo>
                      <a:pt x="14" y="9"/>
                    </a:lnTo>
                    <a:lnTo>
                      <a:pt x="14" y="7"/>
                    </a:lnTo>
                    <a:lnTo>
                      <a:pt x="14" y="7"/>
                    </a:lnTo>
                    <a:lnTo>
                      <a:pt x="12" y="7"/>
                    </a:lnTo>
                    <a:lnTo>
                      <a:pt x="12" y="7"/>
                    </a:lnTo>
                    <a:lnTo>
                      <a:pt x="9" y="4"/>
                    </a:lnTo>
                    <a:lnTo>
                      <a:pt x="9" y="4"/>
                    </a:lnTo>
                    <a:lnTo>
                      <a:pt x="7" y="2"/>
                    </a:lnTo>
                    <a:lnTo>
                      <a:pt x="2" y="0"/>
                    </a:lnTo>
                    <a:lnTo>
                      <a:pt x="2" y="0"/>
                    </a:lnTo>
                    <a:lnTo>
                      <a:pt x="2" y="0"/>
                    </a:lnTo>
                    <a:lnTo>
                      <a:pt x="2" y="0"/>
                    </a:lnTo>
                    <a:lnTo>
                      <a:pt x="2" y="0"/>
                    </a:lnTo>
                    <a:lnTo>
                      <a:pt x="0" y="0"/>
                    </a:lnTo>
                    <a:lnTo>
                      <a:pt x="2" y="2"/>
                    </a:lnTo>
                    <a:lnTo>
                      <a:pt x="2" y="4"/>
                    </a:lnTo>
                    <a:lnTo>
                      <a:pt x="2" y="4"/>
                    </a:lnTo>
                    <a:lnTo>
                      <a:pt x="2" y="7"/>
                    </a:lnTo>
                    <a:lnTo>
                      <a:pt x="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23" name="Freeform 143">
                <a:extLst>
                  <a:ext uri="{FF2B5EF4-FFF2-40B4-BE49-F238E27FC236}">
                    <a16:creationId xmlns:a16="http://schemas.microsoft.com/office/drawing/2014/main" id="{A22C0A60-58D8-4523-A7C0-0D8DB5FCF7DE}"/>
                  </a:ext>
                </a:extLst>
              </p:cNvPr>
              <p:cNvSpPr>
                <a:spLocks/>
              </p:cNvSpPr>
              <p:nvPr/>
            </p:nvSpPr>
            <p:spPr bwMode="gray">
              <a:xfrm>
                <a:off x="-2833" y="2023"/>
                <a:ext cx="21" cy="12"/>
              </a:xfrm>
              <a:custGeom>
                <a:avLst/>
                <a:gdLst>
                  <a:gd name="T0" fmla="*/ 4 w 21"/>
                  <a:gd name="T1" fmla="*/ 2 h 12"/>
                  <a:gd name="T2" fmla="*/ 4 w 21"/>
                  <a:gd name="T3" fmla="*/ 2 h 12"/>
                  <a:gd name="T4" fmla="*/ 4 w 21"/>
                  <a:gd name="T5" fmla="*/ 2 h 12"/>
                  <a:gd name="T6" fmla="*/ 4 w 21"/>
                  <a:gd name="T7" fmla="*/ 0 h 12"/>
                  <a:gd name="T8" fmla="*/ 4 w 21"/>
                  <a:gd name="T9" fmla="*/ 0 h 12"/>
                  <a:gd name="T10" fmla="*/ 2 w 21"/>
                  <a:gd name="T11" fmla="*/ 0 h 12"/>
                  <a:gd name="T12" fmla="*/ 0 w 21"/>
                  <a:gd name="T13" fmla="*/ 2 h 12"/>
                  <a:gd name="T14" fmla="*/ 0 w 21"/>
                  <a:gd name="T15" fmla="*/ 2 h 12"/>
                  <a:gd name="T16" fmla="*/ 0 w 21"/>
                  <a:gd name="T17" fmla="*/ 2 h 12"/>
                  <a:gd name="T18" fmla="*/ 2 w 21"/>
                  <a:gd name="T19" fmla="*/ 7 h 12"/>
                  <a:gd name="T20" fmla="*/ 4 w 21"/>
                  <a:gd name="T21" fmla="*/ 7 h 12"/>
                  <a:gd name="T22" fmla="*/ 7 w 21"/>
                  <a:gd name="T23" fmla="*/ 7 h 12"/>
                  <a:gd name="T24" fmla="*/ 14 w 21"/>
                  <a:gd name="T25" fmla="*/ 9 h 12"/>
                  <a:gd name="T26" fmla="*/ 18 w 21"/>
                  <a:gd name="T27" fmla="*/ 12 h 12"/>
                  <a:gd name="T28" fmla="*/ 18 w 21"/>
                  <a:gd name="T29" fmla="*/ 12 h 12"/>
                  <a:gd name="T30" fmla="*/ 18 w 21"/>
                  <a:gd name="T31" fmla="*/ 12 h 12"/>
                  <a:gd name="T32" fmla="*/ 18 w 21"/>
                  <a:gd name="T33" fmla="*/ 12 h 12"/>
                  <a:gd name="T34" fmla="*/ 18 w 21"/>
                  <a:gd name="T35" fmla="*/ 9 h 12"/>
                  <a:gd name="T36" fmla="*/ 21 w 21"/>
                  <a:gd name="T37" fmla="*/ 9 h 12"/>
                  <a:gd name="T38" fmla="*/ 18 w 21"/>
                  <a:gd name="T39" fmla="*/ 9 h 12"/>
                  <a:gd name="T40" fmla="*/ 18 w 21"/>
                  <a:gd name="T41" fmla="*/ 7 h 12"/>
                  <a:gd name="T42" fmla="*/ 16 w 21"/>
                  <a:gd name="T43" fmla="*/ 7 h 12"/>
                  <a:gd name="T44" fmla="*/ 9 w 21"/>
                  <a:gd name="T45" fmla="*/ 5 h 12"/>
                  <a:gd name="T46" fmla="*/ 7 w 21"/>
                  <a:gd name="T47" fmla="*/ 5 h 12"/>
                  <a:gd name="T48" fmla="*/ 7 w 21"/>
                  <a:gd name="T49" fmla="*/ 5 h 12"/>
                  <a:gd name="T50" fmla="*/ 9 w 21"/>
                  <a:gd name="T51" fmla="*/ 5 h 12"/>
                  <a:gd name="T52" fmla="*/ 9 w 21"/>
                  <a:gd name="T53" fmla="*/ 2 h 12"/>
                  <a:gd name="T54" fmla="*/ 7 w 21"/>
                  <a:gd name="T55" fmla="*/ 2 h 12"/>
                  <a:gd name="T56" fmla="*/ 4 w 21"/>
                  <a:gd name="T57" fmla="*/ 5 h 12"/>
                  <a:gd name="T58" fmla="*/ 4 w 21"/>
                  <a:gd name="T59" fmla="*/ 5 h 12"/>
                  <a:gd name="T60" fmla="*/ 2 w 21"/>
                  <a:gd name="T61" fmla="*/ 2 h 12"/>
                  <a:gd name="T62" fmla="*/ 2 w 21"/>
                  <a:gd name="T63" fmla="*/ 2 h 12"/>
                  <a:gd name="T64" fmla="*/ 4 w 21"/>
                  <a:gd name="T65"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12">
                    <a:moveTo>
                      <a:pt x="4" y="2"/>
                    </a:moveTo>
                    <a:lnTo>
                      <a:pt x="4" y="2"/>
                    </a:lnTo>
                    <a:lnTo>
                      <a:pt x="4" y="2"/>
                    </a:lnTo>
                    <a:lnTo>
                      <a:pt x="4" y="0"/>
                    </a:lnTo>
                    <a:lnTo>
                      <a:pt x="4" y="0"/>
                    </a:lnTo>
                    <a:lnTo>
                      <a:pt x="2" y="0"/>
                    </a:lnTo>
                    <a:lnTo>
                      <a:pt x="0" y="2"/>
                    </a:lnTo>
                    <a:lnTo>
                      <a:pt x="0" y="2"/>
                    </a:lnTo>
                    <a:lnTo>
                      <a:pt x="0" y="2"/>
                    </a:lnTo>
                    <a:lnTo>
                      <a:pt x="2" y="7"/>
                    </a:lnTo>
                    <a:lnTo>
                      <a:pt x="4" y="7"/>
                    </a:lnTo>
                    <a:lnTo>
                      <a:pt x="7" y="7"/>
                    </a:lnTo>
                    <a:lnTo>
                      <a:pt x="14" y="9"/>
                    </a:lnTo>
                    <a:lnTo>
                      <a:pt x="18" y="12"/>
                    </a:lnTo>
                    <a:lnTo>
                      <a:pt x="18" y="12"/>
                    </a:lnTo>
                    <a:lnTo>
                      <a:pt x="18" y="12"/>
                    </a:lnTo>
                    <a:lnTo>
                      <a:pt x="18" y="12"/>
                    </a:lnTo>
                    <a:lnTo>
                      <a:pt x="18" y="9"/>
                    </a:lnTo>
                    <a:lnTo>
                      <a:pt x="21" y="9"/>
                    </a:lnTo>
                    <a:lnTo>
                      <a:pt x="18" y="9"/>
                    </a:lnTo>
                    <a:lnTo>
                      <a:pt x="18" y="7"/>
                    </a:lnTo>
                    <a:lnTo>
                      <a:pt x="16" y="7"/>
                    </a:lnTo>
                    <a:lnTo>
                      <a:pt x="9" y="5"/>
                    </a:lnTo>
                    <a:lnTo>
                      <a:pt x="7" y="5"/>
                    </a:lnTo>
                    <a:lnTo>
                      <a:pt x="7" y="5"/>
                    </a:lnTo>
                    <a:lnTo>
                      <a:pt x="9" y="5"/>
                    </a:lnTo>
                    <a:lnTo>
                      <a:pt x="9" y="2"/>
                    </a:lnTo>
                    <a:lnTo>
                      <a:pt x="7" y="2"/>
                    </a:lnTo>
                    <a:lnTo>
                      <a:pt x="4" y="5"/>
                    </a:lnTo>
                    <a:lnTo>
                      <a:pt x="4" y="5"/>
                    </a:lnTo>
                    <a:lnTo>
                      <a:pt x="2" y="2"/>
                    </a:lnTo>
                    <a:lnTo>
                      <a:pt x="2" y="2"/>
                    </a:lnTo>
                    <a:lnTo>
                      <a:pt x="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56" name="Freeform 144">
                <a:extLst>
                  <a:ext uri="{FF2B5EF4-FFF2-40B4-BE49-F238E27FC236}">
                    <a16:creationId xmlns:a16="http://schemas.microsoft.com/office/drawing/2014/main" id="{CCD18F1D-023E-4C4B-B563-AFC0AD4D52F5}"/>
                  </a:ext>
                </a:extLst>
              </p:cNvPr>
              <p:cNvSpPr>
                <a:spLocks/>
              </p:cNvSpPr>
              <p:nvPr/>
            </p:nvSpPr>
            <p:spPr bwMode="gray">
              <a:xfrm>
                <a:off x="-3202" y="51"/>
                <a:ext cx="12" cy="21"/>
              </a:xfrm>
              <a:custGeom>
                <a:avLst/>
                <a:gdLst>
                  <a:gd name="T0" fmla="*/ 3 w 12"/>
                  <a:gd name="T1" fmla="*/ 7 h 21"/>
                  <a:gd name="T2" fmla="*/ 5 w 12"/>
                  <a:gd name="T3" fmla="*/ 12 h 21"/>
                  <a:gd name="T4" fmla="*/ 8 w 12"/>
                  <a:gd name="T5" fmla="*/ 14 h 21"/>
                  <a:gd name="T6" fmla="*/ 8 w 12"/>
                  <a:gd name="T7" fmla="*/ 14 h 21"/>
                  <a:gd name="T8" fmla="*/ 8 w 12"/>
                  <a:gd name="T9" fmla="*/ 16 h 21"/>
                  <a:gd name="T10" fmla="*/ 10 w 12"/>
                  <a:gd name="T11" fmla="*/ 19 h 21"/>
                  <a:gd name="T12" fmla="*/ 10 w 12"/>
                  <a:gd name="T13" fmla="*/ 21 h 21"/>
                  <a:gd name="T14" fmla="*/ 10 w 12"/>
                  <a:gd name="T15" fmla="*/ 21 h 21"/>
                  <a:gd name="T16" fmla="*/ 12 w 12"/>
                  <a:gd name="T17" fmla="*/ 21 h 21"/>
                  <a:gd name="T18" fmla="*/ 12 w 12"/>
                  <a:gd name="T19" fmla="*/ 19 h 21"/>
                  <a:gd name="T20" fmla="*/ 12 w 12"/>
                  <a:gd name="T21" fmla="*/ 16 h 21"/>
                  <a:gd name="T22" fmla="*/ 10 w 12"/>
                  <a:gd name="T23" fmla="*/ 16 h 21"/>
                  <a:gd name="T24" fmla="*/ 5 w 12"/>
                  <a:gd name="T25" fmla="*/ 7 h 21"/>
                  <a:gd name="T26" fmla="*/ 5 w 12"/>
                  <a:gd name="T27" fmla="*/ 2 h 21"/>
                  <a:gd name="T28" fmla="*/ 3 w 12"/>
                  <a:gd name="T29" fmla="*/ 0 h 21"/>
                  <a:gd name="T30" fmla="*/ 3 w 12"/>
                  <a:gd name="T31" fmla="*/ 0 h 21"/>
                  <a:gd name="T32" fmla="*/ 0 w 12"/>
                  <a:gd name="T33" fmla="*/ 0 h 21"/>
                  <a:gd name="T34" fmla="*/ 0 w 12"/>
                  <a:gd name="T35" fmla="*/ 2 h 21"/>
                  <a:gd name="T36" fmla="*/ 3 w 12"/>
                  <a:gd name="T37" fmla="*/ 7 h 21"/>
                  <a:gd name="T38" fmla="*/ 3 w 12"/>
                  <a:gd name="T39"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 h="21">
                    <a:moveTo>
                      <a:pt x="3" y="7"/>
                    </a:moveTo>
                    <a:lnTo>
                      <a:pt x="5" y="12"/>
                    </a:lnTo>
                    <a:lnTo>
                      <a:pt x="8" y="14"/>
                    </a:lnTo>
                    <a:lnTo>
                      <a:pt x="8" y="14"/>
                    </a:lnTo>
                    <a:lnTo>
                      <a:pt x="8" y="16"/>
                    </a:lnTo>
                    <a:lnTo>
                      <a:pt x="10" y="19"/>
                    </a:lnTo>
                    <a:lnTo>
                      <a:pt x="10" y="21"/>
                    </a:lnTo>
                    <a:lnTo>
                      <a:pt x="10" y="21"/>
                    </a:lnTo>
                    <a:lnTo>
                      <a:pt x="12" y="21"/>
                    </a:lnTo>
                    <a:lnTo>
                      <a:pt x="12" y="19"/>
                    </a:lnTo>
                    <a:lnTo>
                      <a:pt x="12" y="16"/>
                    </a:lnTo>
                    <a:lnTo>
                      <a:pt x="10" y="16"/>
                    </a:lnTo>
                    <a:lnTo>
                      <a:pt x="5" y="7"/>
                    </a:lnTo>
                    <a:lnTo>
                      <a:pt x="5" y="2"/>
                    </a:lnTo>
                    <a:lnTo>
                      <a:pt x="3" y="0"/>
                    </a:lnTo>
                    <a:lnTo>
                      <a:pt x="3" y="0"/>
                    </a:lnTo>
                    <a:lnTo>
                      <a:pt x="0" y="0"/>
                    </a:lnTo>
                    <a:lnTo>
                      <a:pt x="0" y="2"/>
                    </a:lnTo>
                    <a:lnTo>
                      <a:pt x="3" y="7"/>
                    </a:lnTo>
                    <a:lnTo>
                      <a:pt x="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57" name="Freeform 145">
                <a:extLst>
                  <a:ext uri="{FF2B5EF4-FFF2-40B4-BE49-F238E27FC236}">
                    <a16:creationId xmlns:a16="http://schemas.microsoft.com/office/drawing/2014/main" id="{67100089-00DF-4817-8D3C-A4D8241AA281}"/>
                  </a:ext>
                </a:extLst>
              </p:cNvPr>
              <p:cNvSpPr>
                <a:spLocks/>
              </p:cNvSpPr>
              <p:nvPr/>
            </p:nvSpPr>
            <p:spPr bwMode="gray">
              <a:xfrm>
                <a:off x="-3232" y="60"/>
                <a:ext cx="38" cy="57"/>
              </a:xfrm>
              <a:custGeom>
                <a:avLst/>
                <a:gdLst>
                  <a:gd name="T0" fmla="*/ 0 w 38"/>
                  <a:gd name="T1" fmla="*/ 24 h 57"/>
                  <a:gd name="T2" fmla="*/ 5 w 38"/>
                  <a:gd name="T3" fmla="*/ 24 h 57"/>
                  <a:gd name="T4" fmla="*/ 7 w 38"/>
                  <a:gd name="T5" fmla="*/ 24 h 57"/>
                  <a:gd name="T6" fmla="*/ 7 w 38"/>
                  <a:gd name="T7" fmla="*/ 24 h 57"/>
                  <a:gd name="T8" fmla="*/ 7 w 38"/>
                  <a:gd name="T9" fmla="*/ 26 h 57"/>
                  <a:gd name="T10" fmla="*/ 7 w 38"/>
                  <a:gd name="T11" fmla="*/ 29 h 57"/>
                  <a:gd name="T12" fmla="*/ 14 w 38"/>
                  <a:gd name="T13" fmla="*/ 31 h 57"/>
                  <a:gd name="T14" fmla="*/ 19 w 38"/>
                  <a:gd name="T15" fmla="*/ 33 h 57"/>
                  <a:gd name="T16" fmla="*/ 19 w 38"/>
                  <a:gd name="T17" fmla="*/ 38 h 57"/>
                  <a:gd name="T18" fmla="*/ 19 w 38"/>
                  <a:gd name="T19" fmla="*/ 40 h 57"/>
                  <a:gd name="T20" fmla="*/ 23 w 38"/>
                  <a:gd name="T21" fmla="*/ 43 h 57"/>
                  <a:gd name="T22" fmla="*/ 30 w 38"/>
                  <a:gd name="T23" fmla="*/ 52 h 57"/>
                  <a:gd name="T24" fmla="*/ 35 w 38"/>
                  <a:gd name="T25" fmla="*/ 57 h 57"/>
                  <a:gd name="T26" fmla="*/ 38 w 38"/>
                  <a:gd name="T27" fmla="*/ 54 h 57"/>
                  <a:gd name="T28" fmla="*/ 38 w 38"/>
                  <a:gd name="T29" fmla="*/ 50 h 57"/>
                  <a:gd name="T30" fmla="*/ 35 w 38"/>
                  <a:gd name="T31" fmla="*/ 47 h 57"/>
                  <a:gd name="T32" fmla="*/ 38 w 38"/>
                  <a:gd name="T33" fmla="*/ 43 h 57"/>
                  <a:gd name="T34" fmla="*/ 30 w 38"/>
                  <a:gd name="T35" fmla="*/ 40 h 57"/>
                  <a:gd name="T36" fmla="*/ 28 w 38"/>
                  <a:gd name="T37" fmla="*/ 38 h 57"/>
                  <a:gd name="T38" fmla="*/ 33 w 38"/>
                  <a:gd name="T39" fmla="*/ 38 h 57"/>
                  <a:gd name="T40" fmla="*/ 30 w 38"/>
                  <a:gd name="T41" fmla="*/ 33 h 57"/>
                  <a:gd name="T42" fmla="*/ 23 w 38"/>
                  <a:gd name="T43" fmla="*/ 33 h 57"/>
                  <a:gd name="T44" fmla="*/ 26 w 38"/>
                  <a:gd name="T45" fmla="*/ 31 h 57"/>
                  <a:gd name="T46" fmla="*/ 26 w 38"/>
                  <a:gd name="T47" fmla="*/ 29 h 57"/>
                  <a:gd name="T48" fmla="*/ 28 w 38"/>
                  <a:gd name="T49" fmla="*/ 26 h 57"/>
                  <a:gd name="T50" fmla="*/ 23 w 38"/>
                  <a:gd name="T51" fmla="*/ 24 h 57"/>
                  <a:gd name="T52" fmla="*/ 16 w 38"/>
                  <a:gd name="T53" fmla="*/ 19 h 57"/>
                  <a:gd name="T54" fmla="*/ 12 w 38"/>
                  <a:gd name="T55" fmla="*/ 10 h 57"/>
                  <a:gd name="T56" fmla="*/ 12 w 38"/>
                  <a:gd name="T57" fmla="*/ 5 h 57"/>
                  <a:gd name="T58" fmla="*/ 5 w 38"/>
                  <a:gd name="T59" fmla="*/ 0 h 57"/>
                  <a:gd name="T60" fmla="*/ 2 w 38"/>
                  <a:gd name="T61" fmla="*/ 0 h 57"/>
                  <a:gd name="T62" fmla="*/ 2 w 38"/>
                  <a:gd name="T63" fmla="*/ 7 h 57"/>
                  <a:gd name="T64" fmla="*/ 2 w 38"/>
                  <a:gd name="T65" fmla="*/ 12 h 57"/>
                  <a:gd name="T66" fmla="*/ 0 w 38"/>
                  <a:gd name="T67" fmla="*/ 14 h 57"/>
                  <a:gd name="T68" fmla="*/ 0 w 38"/>
                  <a:gd name="T69" fmla="*/ 17 h 57"/>
                  <a:gd name="T70" fmla="*/ 0 w 38"/>
                  <a:gd name="T71" fmla="*/ 17 h 57"/>
                  <a:gd name="T72" fmla="*/ 0 w 38"/>
                  <a:gd name="T73" fmla="*/ 19 h 57"/>
                  <a:gd name="T74" fmla="*/ 0 w 38"/>
                  <a:gd name="T75" fmla="*/ 2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57">
                    <a:moveTo>
                      <a:pt x="0" y="21"/>
                    </a:moveTo>
                    <a:lnTo>
                      <a:pt x="0" y="24"/>
                    </a:lnTo>
                    <a:lnTo>
                      <a:pt x="2" y="24"/>
                    </a:lnTo>
                    <a:lnTo>
                      <a:pt x="5" y="24"/>
                    </a:lnTo>
                    <a:lnTo>
                      <a:pt x="5" y="24"/>
                    </a:lnTo>
                    <a:lnTo>
                      <a:pt x="7" y="24"/>
                    </a:lnTo>
                    <a:lnTo>
                      <a:pt x="7" y="24"/>
                    </a:lnTo>
                    <a:lnTo>
                      <a:pt x="7" y="24"/>
                    </a:lnTo>
                    <a:lnTo>
                      <a:pt x="7" y="26"/>
                    </a:lnTo>
                    <a:lnTo>
                      <a:pt x="7" y="26"/>
                    </a:lnTo>
                    <a:lnTo>
                      <a:pt x="7" y="29"/>
                    </a:lnTo>
                    <a:lnTo>
                      <a:pt x="7" y="29"/>
                    </a:lnTo>
                    <a:lnTo>
                      <a:pt x="14" y="31"/>
                    </a:lnTo>
                    <a:lnTo>
                      <a:pt x="14" y="31"/>
                    </a:lnTo>
                    <a:lnTo>
                      <a:pt x="16" y="31"/>
                    </a:lnTo>
                    <a:lnTo>
                      <a:pt x="19" y="33"/>
                    </a:lnTo>
                    <a:lnTo>
                      <a:pt x="19" y="36"/>
                    </a:lnTo>
                    <a:lnTo>
                      <a:pt x="19" y="38"/>
                    </a:lnTo>
                    <a:lnTo>
                      <a:pt x="19" y="38"/>
                    </a:lnTo>
                    <a:lnTo>
                      <a:pt x="19" y="40"/>
                    </a:lnTo>
                    <a:lnTo>
                      <a:pt x="21" y="40"/>
                    </a:lnTo>
                    <a:lnTo>
                      <a:pt x="23" y="43"/>
                    </a:lnTo>
                    <a:lnTo>
                      <a:pt x="26" y="47"/>
                    </a:lnTo>
                    <a:lnTo>
                      <a:pt x="30" y="52"/>
                    </a:lnTo>
                    <a:lnTo>
                      <a:pt x="33" y="54"/>
                    </a:lnTo>
                    <a:lnTo>
                      <a:pt x="35" y="57"/>
                    </a:lnTo>
                    <a:lnTo>
                      <a:pt x="38" y="57"/>
                    </a:lnTo>
                    <a:lnTo>
                      <a:pt x="38" y="54"/>
                    </a:lnTo>
                    <a:lnTo>
                      <a:pt x="38" y="52"/>
                    </a:lnTo>
                    <a:lnTo>
                      <a:pt x="38" y="50"/>
                    </a:lnTo>
                    <a:lnTo>
                      <a:pt x="35" y="50"/>
                    </a:lnTo>
                    <a:lnTo>
                      <a:pt x="35" y="47"/>
                    </a:lnTo>
                    <a:lnTo>
                      <a:pt x="35" y="45"/>
                    </a:lnTo>
                    <a:lnTo>
                      <a:pt x="38" y="43"/>
                    </a:lnTo>
                    <a:lnTo>
                      <a:pt x="35" y="40"/>
                    </a:lnTo>
                    <a:lnTo>
                      <a:pt x="30" y="40"/>
                    </a:lnTo>
                    <a:lnTo>
                      <a:pt x="28" y="40"/>
                    </a:lnTo>
                    <a:lnTo>
                      <a:pt x="28" y="38"/>
                    </a:lnTo>
                    <a:lnTo>
                      <a:pt x="30" y="38"/>
                    </a:lnTo>
                    <a:lnTo>
                      <a:pt x="33" y="38"/>
                    </a:lnTo>
                    <a:lnTo>
                      <a:pt x="33" y="36"/>
                    </a:lnTo>
                    <a:lnTo>
                      <a:pt x="30" y="33"/>
                    </a:lnTo>
                    <a:lnTo>
                      <a:pt x="30" y="31"/>
                    </a:lnTo>
                    <a:lnTo>
                      <a:pt x="23" y="33"/>
                    </a:lnTo>
                    <a:lnTo>
                      <a:pt x="23" y="31"/>
                    </a:lnTo>
                    <a:lnTo>
                      <a:pt x="26" y="31"/>
                    </a:lnTo>
                    <a:lnTo>
                      <a:pt x="26" y="31"/>
                    </a:lnTo>
                    <a:lnTo>
                      <a:pt x="26" y="29"/>
                    </a:lnTo>
                    <a:lnTo>
                      <a:pt x="28" y="29"/>
                    </a:lnTo>
                    <a:lnTo>
                      <a:pt x="28" y="26"/>
                    </a:lnTo>
                    <a:lnTo>
                      <a:pt x="26" y="26"/>
                    </a:lnTo>
                    <a:lnTo>
                      <a:pt x="23" y="24"/>
                    </a:lnTo>
                    <a:lnTo>
                      <a:pt x="19" y="21"/>
                    </a:lnTo>
                    <a:lnTo>
                      <a:pt x="16" y="19"/>
                    </a:lnTo>
                    <a:lnTo>
                      <a:pt x="16" y="17"/>
                    </a:lnTo>
                    <a:lnTo>
                      <a:pt x="12" y="10"/>
                    </a:lnTo>
                    <a:lnTo>
                      <a:pt x="12" y="7"/>
                    </a:lnTo>
                    <a:lnTo>
                      <a:pt x="12" y="5"/>
                    </a:lnTo>
                    <a:lnTo>
                      <a:pt x="9" y="3"/>
                    </a:lnTo>
                    <a:lnTo>
                      <a:pt x="5" y="0"/>
                    </a:lnTo>
                    <a:lnTo>
                      <a:pt x="2" y="0"/>
                    </a:lnTo>
                    <a:lnTo>
                      <a:pt x="2" y="0"/>
                    </a:lnTo>
                    <a:lnTo>
                      <a:pt x="2" y="0"/>
                    </a:lnTo>
                    <a:lnTo>
                      <a:pt x="2" y="7"/>
                    </a:lnTo>
                    <a:lnTo>
                      <a:pt x="2" y="10"/>
                    </a:lnTo>
                    <a:lnTo>
                      <a:pt x="2" y="12"/>
                    </a:lnTo>
                    <a:lnTo>
                      <a:pt x="2" y="12"/>
                    </a:lnTo>
                    <a:lnTo>
                      <a:pt x="0" y="14"/>
                    </a:lnTo>
                    <a:lnTo>
                      <a:pt x="0" y="14"/>
                    </a:lnTo>
                    <a:lnTo>
                      <a:pt x="0" y="17"/>
                    </a:lnTo>
                    <a:lnTo>
                      <a:pt x="0" y="17"/>
                    </a:lnTo>
                    <a:lnTo>
                      <a:pt x="0" y="17"/>
                    </a:lnTo>
                    <a:lnTo>
                      <a:pt x="0" y="17"/>
                    </a:lnTo>
                    <a:lnTo>
                      <a:pt x="0" y="19"/>
                    </a:lnTo>
                    <a:lnTo>
                      <a:pt x="0" y="21"/>
                    </a:lnTo>
                    <a:lnTo>
                      <a:pt x="0" y="21"/>
                    </a:lnTo>
                    <a:lnTo>
                      <a:pt x="0"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58" name="Freeform 146">
                <a:extLst>
                  <a:ext uri="{FF2B5EF4-FFF2-40B4-BE49-F238E27FC236}">
                    <a16:creationId xmlns:a16="http://schemas.microsoft.com/office/drawing/2014/main" id="{2FC79847-59A2-47CD-B6B0-62CD6F70EE29}"/>
                  </a:ext>
                </a:extLst>
              </p:cNvPr>
              <p:cNvSpPr>
                <a:spLocks/>
              </p:cNvSpPr>
              <p:nvPr/>
            </p:nvSpPr>
            <p:spPr bwMode="gray">
              <a:xfrm>
                <a:off x="-3192" y="51"/>
                <a:ext cx="7" cy="16"/>
              </a:xfrm>
              <a:custGeom>
                <a:avLst/>
                <a:gdLst>
                  <a:gd name="T0" fmla="*/ 2 w 7"/>
                  <a:gd name="T1" fmla="*/ 14 h 16"/>
                  <a:gd name="T2" fmla="*/ 2 w 7"/>
                  <a:gd name="T3" fmla="*/ 14 h 16"/>
                  <a:gd name="T4" fmla="*/ 5 w 7"/>
                  <a:gd name="T5" fmla="*/ 16 h 16"/>
                  <a:gd name="T6" fmla="*/ 5 w 7"/>
                  <a:gd name="T7" fmla="*/ 16 h 16"/>
                  <a:gd name="T8" fmla="*/ 7 w 7"/>
                  <a:gd name="T9" fmla="*/ 16 h 16"/>
                  <a:gd name="T10" fmla="*/ 7 w 7"/>
                  <a:gd name="T11" fmla="*/ 14 h 16"/>
                  <a:gd name="T12" fmla="*/ 7 w 7"/>
                  <a:gd name="T13" fmla="*/ 14 h 16"/>
                  <a:gd name="T14" fmla="*/ 5 w 7"/>
                  <a:gd name="T15" fmla="*/ 12 h 16"/>
                  <a:gd name="T16" fmla="*/ 2 w 7"/>
                  <a:gd name="T17" fmla="*/ 5 h 16"/>
                  <a:gd name="T18" fmla="*/ 2 w 7"/>
                  <a:gd name="T19" fmla="*/ 2 h 16"/>
                  <a:gd name="T20" fmla="*/ 0 w 7"/>
                  <a:gd name="T21" fmla="*/ 0 h 16"/>
                  <a:gd name="T22" fmla="*/ 0 w 7"/>
                  <a:gd name="T23" fmla="*/ 2 h 16"/>
                  <a:gd name="T24" fmla="*/ 0 w 7"/>
                  <a:gd name="T25" fmla="*/ 5 h 16"/>
                  <a:gd name="T26" fmla="*/ 0 w 7"/>
                  <a:gd name="T27" fmla="*/ 9 h 16"/>
                  <a:gd name="T28" fmla="*/ 2 w 7"/>
                  <a:gd name="T29"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6">
                    <a:moveTo>
                      <a:pt x="2" y="14"/>
                    </a:moveTo>
                    <a:lnTo>
                      <a:pt x="2" y="14"/>
                    </a:lnTo>
                    <a:lnTo>
                      <a:pt x="5" y="16"/>
                    </a:lnTo>
                    <a:lnTo>
                      <a:pt x="5" y="16"/>
                    </a:lnTo>
                    <a:lnTo>
                      <a:pt x="7" y="16"/>
                    </a:lnTo>
                    <a:lnTo>
                      <a:pt x="7" y="14"/>
                    </a:lnTo>
                    <a:lnTo>
                      <a:pt x="7" y="14"/>
                    </a:lnTo>
                    <a:lnTo>
                      <a:pt x="5" y="12"/>
                    </a:lnTo>
                    <a:lnTo>
                      <a:pt x="2" y="5"/>
                    </a:lnTo>
                    <a:lnTo>
                      <a:pt x="2" y="2"/>
                    </a:lnTo>
                    <a:lnTo>
                      <a:pt x="0" y="0"/>
                    </a:lnTo>
                    <a:lnTo>
                      <a:pt x="0" y="2"/>
                    </a:lnTo>
                    <a:lnTo>
                      <a:pt x="0" y="5"/>
                    </a:lnTo>
                    <a:lnTo>
                      <a:pt x="0" y="9"/>
                    </a:lnTo>
                    <a:lnTo>
                      <a:pt x="2"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59" name="Freeform 147">
                <a:extLst>
                  <a:ext uri="{FF2B5EF4-FFF2-40B4-BE49-F238E27FC236}">
                    <a16:creationId xmlns:a16="http://schemas.microsoft.com/office/drawing/2014/main" id="{00BFF6E5-E785-4F5F-A755-BA78885EB607}"/>
                  </a:ext>
                </a:extLst>
              </p:cNvPr>
              <p:cNvSpPr>
                <a:spLocks/>
              </p:cNvSpPr>
              <p:nvPr/>
            </p:nvSpPr>
            <p:spPr bwMode="gray">
              <a:xfrm>
                <a:off x="-3185" y="53"/>
                <a:ext cx="14" cy="28"/>
              </a:xfrm>
              <a:custGeom>
                <a:avLst/>
                <a:gdLst>
                  <a:gd name="T0" fmla="*/ 0 w 14"/>
                  <a:gd name="T1" fmla="*/ 17 h 28"/>
                  <a:gd name="T2" fmla="*/ 0 w 14"/>
                  <a:gd name="T3" fmla="*/ 17 h 28"/>
                  <a:gd name="T4" fmla="*/ 0 w 14"/>
                  <a:gd name="T5" fmla="*/ 21 h 28"/>
                  <a:gd name="T6" fmla="*/ 0 w 14"/>
                  <a:gd name="T7" fmla="*/ 21 h 28"/>
                  <a:gd name="T8" fmla="*/ 2 w 14"/>
                  <a:gd name="T9" fmla="*/ 26 h 28"/>
                  <a:gd name="T10" fmla="*/ 2 w 14"/>
                  <a:gd name="T11" fmla="*/ 26 h 28"/>
                  <a:gd name="T12" fmla="*/ 2 w 14"/>
                  <a:gd name="T13" fmla="*/ 26 h 28"/>
                  <a:gd name="T14" fmla="*/ 2 w 14"/>
                  <a:gd name="T15" fmla="*/ 28 h 28"/>
                  <a:gd name="T16" fmla="*/ 5 w 14"/>
                  <a:gd name="T17" fmla="*/ 28 h 28"/>
                  <a:gd name="T18" fmla="*/ 5 w 14"/>
                  <a:gd name="T19" fmla="*/ 28 h 28"/>
                  <a:gd name="T20" fmla="*/ 5 w 14"/>
                  <a:gd name="T21" fmla="*/ 28 h 28"/>
                  <a:gd name="T22" fmla="*/ 5 w 14"/>
                  <a:gd name="T23" fmla="*/ 28 h 28"/>
                  <a:gd name="T24" fmla="*/ 5 w 14"/>
                  <a:gd name="T25" fmla="*/ 26 h 28"/>
                  <a:gd name="T26" fmla="*/ 2 w 14"/>
                  <a:gd name="T27" fmla="*/ 21 h 28"/>
                  <a:gd name="T28" fmla="*/ 5 w 14"/>
                  <a:gd name="T29" fmla="*/ 21 h 28"/>
                  <a:gd name="T30" fmla="*/ 5 w 14"/>
                  <a:gd name="T31" fmla="*/ 21 h 28"/>
                  <a:gd name="T32" fmla="*/ 7 w 14"/>
                  <a:gd name="T33" fmla="*/ 26 h 28"/>
                  <a:gd name="T34" fmla="*/ 9 w 14"/>
                  <a:gd name="T35" fmla="*/ 26 h 28"/>
                  <a:gd name="T36" fmla="*/ 9 w 14"/>
                  <a:gd name="T37" fmla="*/ 26 h 28"/>
                  <a:gd name="T38" fmla="*/ 12 w 14"/>
                  <a:gd name="T39" fmla="*/ 26 h 28"/>
                  <a:gd name="T40" fmla="*/ 12 w 14"/>
                  <a:gd name="T41" fmla="*/ 26 h 28"/>
                  <a:gd name="T42" fmla="*/ 12 w 14"/>
                  <a:gd name="T43" fmla="*/ 24 h 28"/>
                  <a:gd name="T44" fmla="*/ 12 w 14"/>
                  <a:gd name="T45" fmla="*/ 24 h 28"/>
                  <a:gd name="T46" fmla="*/ 12 w 14"/>
                  <a:gd name="T47" fmla="*/ 24 h 28"/>
                  <a:gd name="T48" fmla="*/ 12 w 14"/>
                  <a:gd name="T49" fmla="*/ 21 h 28"/>
                  <a:gd name="T50" fmla="*/ 9 w 14"/>
                  <a:gd name="T51" fmla="*/ 21 h 28"/>
                  <a:gd name="T52" fmla="*/ 9 w 14"/>
                  <a:gd name="T53" fmla="*/ 21 h 28"/>
                  <a:gd name="T54" fmla="*/ 7 w 14"/>
                  <a:gd name="T55" fmla="*/ 17 h 28"/>
                  <a:gd name="T56" fmla="*/ 7 w 14"/>
                  <a:gd name="T57" fmla="*/ 14 h 28"/>
                  <a:gd name="T58" fmla="*/ 7 w 14"/>
                  <a:gd name="T59" fmla="*/ 17 h 28"/>
                  <a:gd name="T60" fmla="*/ 9 w 14"/>
                  <a:gd name="T61" fmla="*/ 19 h 28"/>
                  <a:gd name="T62" fmla="*/ 12 w 14"/>
                  <a:gd name="T63" fmla="*/ 17 h 28"/>
                  <a:gd name="T64" fmla="*/ 14 w 14"/>
                  <a:gd name="T65" fmla="*/ 14 h 28"/>
                  <a:gd name="T66" fmla="*/ 9 w 14"/>
                  <a:gd name="T67" fmla="*/ 14 h 28"/>
                  <a:gd name="T68" fmla="*/ 7 w 14"/>
                  <a:gd name="T69" fmla="*/ 10 h 28"/>
                  <a:gd name="T70" fmla="*/ 5 w 14"/>
                  <a:gd name="T71" fmla="*/ 7 h 28"/>
                  <a:gd name="T72" fmla="*/ 2 w 14"/>
                  <a:gd name="T73" fmla="*/ 0 h 28"/>
                  <a:gd name="T74" fmla="*/ 2 w 14"/>
                  <a:gd name="T75" fmla="*/ 0 h 28"/>
                  <a:gd name="T76" fmla="*/ 0 w 14"/>
                  <a:gd name="T77" fmla="*/ 0 h 28"/>
                  <a:gd name="T78" fmla="*/ 0 w 14"/>
                  <a:gd name="T79" fmla="*/ 3 h 28"/>
                  <a:gd name="T80" fmla="*/ 0 w 14"/>
                  <a:gd name="T81" fmla="*/ 5 h 28"/>
                  <a:gd name="T82" fmla="*/ 2 w 14"/>
                  <a:gd name="T83" fmla="*/ 7 h 28"/>
                  <a:gd name="T84" fmla="*/ 2 w 14"/>
                  <a:gd name="T85" fmla="*/ 10 h 28"/>
                  <a:gd name="T86" fmla="*/ 2 w 14"/>
                  <a:gd name="T87" fmla="*/ 14 h 28"/>
                  <a:gd name="T88" fmla="*/ 2 w 14"/>
                  <a:gd name="T89" fmla="*/ 14 h 28"/>
                  <a:gd name="T90" fmla="*/ 2 w 14"/>
                  <a:gd name="T91" fmla="*/ 17 h 28"/>
                  <a:gd name="T92" fmla="*/ 2 w 14"/>
                  <a:gd name="T93" fmla="*/ 17 h 28"/>
                  <a:gd name="T94" fmla="*/ 2 w 14"/>
                  <a:gd name="T95" fmla="*/ 17 h 28"/>
                  <a:gd name="T96" fmla="*/ 0 w 14"/>
                  <a:gd name="T97" fmla="*/ 17 h 28"/>
                  <a:gd name="T98" fmla="*/ 0 w 14"/>
                  <a:gd name="T99" fmla="*/ 17 h 28"/>
                  <a:gd name="T100" fmla="*/ 0 w 14"/>
                  <a:gd name="T101"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 h="28">
                    <a:moveTo>
                      <a:pt x="0" y="17"/>
                    </a:moveTo>
                    <a:lnTo>
                      <a:pt x="0" y="17"/>
                    </a:lnTo>
                    <a:lnTo>
                      <a:pt x="0" y="21"/>
                    </a:lnTo>
                    <a:lnTo>
                      <a:pt x="0" y="21"/>
                    </a:lnTo>
                    <a:lnTo>
                      <a:pt x="2" y="26"/>
                    </a:lnTo>
                    <a:lnTo>
                      <a:pt x="2" y="26"/>
                    </a:lnTo>
                    <a:lnTo>
                      <a:pt x="2" y="26"/>
                    </a:lnTo>
                    <a:lnTo>
                      <a:pt x="2" y="28"/>
                    </a:lnTo>
                    <a:lnTo>
                      <a:pt x="5" y="28"/>
                    </a:lnTo>
                    <a:lnTo>
                      <a:pt x="5" y="28"/>
                    </a:lnTo>
                    <a:lnTo>
                      <a:pt x="5" y="28"/>
                    </a:lnTo>
                    <a:lnTo>
                      <a:pt x="5" y="28"/>
                    </a:lnTo>
                    <a:lnTo>
                      <a:pt x="5" y="26"/>
                    </a:lnTo>
                    <a:lnTo>
                      <a:pt x="2" y="21"/>
                    </a:lnTo>
                    <a:lnTo>
                      <a:pt x="5" y="21"/>
                    </a:lnTo>
                    <a:lnTo>
                      <a:pt x="5" y="21"/>
                    </a:lnTo>
                    <a:lnTo>
                      <a:pt x="7" y="26"/>
                    </a:lnTo>
                    <a:lnTo>
                      <a:pt x="9" y="26"/>
                    </a:lnTo>
                    <a:lnTo>
                      <a:pt x="9" y="26"/>
                    </a:lnTo>
                    <a:lnTo>
                      <a:pt x="12" y="26"/>
                    </a:lnTo>
                    <a:lnTo>
                      <a:pt x="12" y="26"/>
                    </a:lnTo>
                    <a:lnTo>
                      <a:pt x="12" y="24"/>
                    </a:lnTo>
                    <a:lnTo>
                      <a:pt x="12" y="24"/>
                    </a:lnTo>
                    <a:lnTo>
                      <a:pt x="12" y="24"/>
                    </a:lnTo>
                    <a:lnTo>
                      <a:pt x="12" y="21"/>
                    </a:lnTo>
                    <a:lnTo>
                      <a:pt x="9" y="21"/>
                    </a:lnTo>
                    <a:lnTo>
                      <a:pt x="9" y="21"/>
                    </a:lnTo>
                    <a:lnTo>
                      <a:pt x="7" y="17"/>
                    </a:lnTo>
                    <a:lnTo>
                      <a:pt x="7" y="14"/>
                    </a:lnTo>
                    <a:lnTo>
                      <a:pt x="7" y="17"/>
                    </a:lnTo>
                    <a:lnTo>
                      <a:pt x="9" y="19"/>
                    </a:lnTo>
                    <a:lnTo>
                      <a:pt x="12" y="17"/>
                    </a:lnTo>
                    <a:lnTo>
                      <a:pt x="14" y="14"/>
                    </a:lnTo>
                    <a:lnTo>
                      <a:pt x="9" y="14"/>
                    </a:lnTo>
                    <a:lnTo>
                      <a:pt x="7" y="10"/>
                    </a:lnTo>
                    <a:lnTo>
                      <a:pt x="5" y="7"/>
                    </a:lnTo>
                    <a:lnTo>
                      <a:pt x="2" y="0"/>
                    </a:lnTo>
                    <a:lnTo>
                      <a:pt x="2" y="0"/>
                    </a:lnTo>
                    <a:lnTo>
                      <a:pt x="0" y="0"/>
                    </a:lnTo>
                    <a:lnTo>
                      <a:pt x="0" y="3"/>
                    </a:lnTo>
                    <a:lnTo>
                      <a:pt x="0" y="5"/>
                    </a:lnTo>
                    <a:lnTo>
                      <a:pt x="2" y="7"/>
                    </a:lnTo>
                    <a:lnTo>
                      <a:pt x="2" y="10"/>
                    </a:lnTo>
                    <a:lnTo>
                      <a:pt x="2" y="14"/>
                    </a:lnTo>
                    <a:lnTo>
                      <a:pt x="2" y="14"/>
                    </a:lnTo>
                    <a:lnTo>
                      <a:pt x="2" y="17"/>
                    </a:lnTo>
                    <a:lnTo>
                      <a:pt x="2" y="17"/>
                    </a:lnTo>
                    <a:lnTo>
                      <a:pt x="2" y="17"/>
                    </a:lnTo>
                    <a:lnTo>
                      <a:pt x="0" y="17"/>
                    </a:lnTo>
                    <a:lnTo>
                      <a:pt x="0" y="17"/>
                    </a:lnTo>
                    <a:lnTo>
                      <a:pt x="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60" name="Freeform 148">
                <a:extLst>
                  <a:ext uri="{FF2B5EF4-FFF2-40B4-BE49-F238E27FC236}">
                    <a16:creationId xmlns:a16="http://schemas.microsoft.com/office/drawing/2014/main" id="{076AD04E-A584-46D2-8D18-C81C7795581F}"/>
                  </a:ext>
                </a:extLst>
              </p:cNvPr>
              <p:cNvSpPr>
                <a:spLocks/>
              </p:cNvSpPr>
              <p:nvPr/>
            </p:nvSpPr>
            <p:spPr bwMode="gray">
              <a:xfrm>
                <a:off x="-3263" y="91"/>
                <a:ext cx="7" cy="2"/>
              </a:xfrm>
              <a:custGeom>
                <a:avLst/>
                <a:gdLst>
                  <a:gd name="T0" fmla="*/ 7 w 7"/>
                  <a:gd name="T1" fmla="*/ 2 h 2"/>
                  <a:gd name="T2" fmla="*/ 7 w 7"/>
                  <a:gd name="T3" fmla="*/ 2 h 2"/>
                  <a:gd name="T4" fmla="*/ 7 w 7"/>
                  <a:gd name="T5" fmla="*/ 2 h 2"/>
                  <a:gd name="T6" fmla="*/ 7 w 7"/>
                  <a:gd name="T7" fmla="*/ 2 h 2"/>
                  <a:gd name="T8" fmla="*/ 7 w 7"/>
                  <a:gd name="T9" fmla="*/ 0 h 2"/>
                  <a:gd name="T10" fmla="*/ 5 w 7"/>
                  <a:gd name="T11" fmla="*/ 0 h 2"/>
                  <a:gd name="T12" fmla="*/ 2 w 7"/>
                  <a:gd name="T13" fmla="*/ 0 h 2"/>
                  <a:gd name="T14" fmla="*/ 0 w 7"/>
                  <a:gd name="T15" fmla="*/ 0 h 2"/>
                  <a:gd name="T16" fmla="*/ 0 w 7"/>
                  <a:gd name="T17" fmla="*/ 2 h 2"/>
                  <a:gd name="T18" fmla="*/ 7 w 7"/>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2">
                    <a:moveTo>
                      <a:pt x="7" y="2"/>
                    </a:moveTo>
                    <a:lnTo>
                      <a:pt x="7" y="2"/>
                    </a:lnTo>
                    <a:lnTo>
                      <a:pt x="7" y="2"/>
                    </a:lnTo>
                    <a:lnTo>
                      <a:pt x="7" y="2"/>
                    </a:lnTo>
                    <a:lnTo>
                      <a:pt x="7" y="0"/>
                    </a:lnTo>
                    <a:lnTo>
                      <a:pt x="5" y="0"/>
                    </a:lnTo>
                    <a:lnTo>
                      <a:pt x="2" y="0"/>
                    </a:lnTo>
                    <a:lnTo>
                      <a:pt x="0" y="0"/>
                    </a:lnTo>
                    <a:lnTo>
                      <a:pt x="0" y="2"/>
                    </a:lnTo>
                    <a:lnTo>
                      <a:pt x="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61" name="Freeform 149">
                <a:extLst>
                  <a:ext uri="{FF2B5EF4-FFF2-40B4-BE49-F238E27FC236}">
                    <a16:creationId xmlns:a16="http://schemas.microsoft.com/office/drawing/2014/main" id="{0B3D0621-04CE-4E93-AE87-651831EBFE10}"/>
                  </a:ext>
                </a:extLst>
              </p:cNvPr>
              <p:cNvSpPr>
                <a:spLocks/>
              </p:cNvSpPr>
              <p:nvPr/>
            </p:nvSpPr>
            <p:spPr bwMode="gray">
              <a:xfrm>
                <a:off x="-3246" y="84"/>
                <a:ext cx="28" cy="21"/>
              </a:xfrm>
              <a:custGeom>
                <a:avLst/>
                <a:gdLst>
                  <a:gd name="T0" fmla="*/ 2 w 28"/>
                  <a:gd name="T1" fmla="*/ 9 h 21"/>
                  <a:gd name="T2" fmla="*/ 7 w 28"/>
                  <a:gd name="T3" fmla="*/ 9 h 21"/>
                  <a:gd name="T4" fmla="*/ 7 w 28"/>
                  <a:gd name="T5" fmla="*/ 12 h 21"/>
                  <a:gd name="T6" fmla="*/ 9 w 28"/>
                  <a:gd name="T7" fmla="*/ 12 h 21"/>
                  <a:gd name="T8" fmla="*/ 2 w 28"/>
                  <a:gd name="T9" fmla="*/ 12 h 21"/>
                  <a:gd name="T10" fmla="*/ 2 w 28"/>
                  <a:gd name="T11" fmla="*/ 14 h 21"/>
                  <a:gd name="T12" fmla="*/ 4 w 28"/>
                  <a:gd name="T13" fmla="*/ 14 h 21"/>
                  <a:gd name="T14" fmla="*/ 7 w 28"/>
                  <a:gd name="T15" fmla="*/ 16 h 21"/>
                  <a:gd name="T16" fmla="*/ 11 w 28"/>
                  <a:gd name="T17" fmla="*/ 16 h 21"/>
                  <a:gd name="T18" fmla="*/ 14 w 28"/>
                  <a:gd name="T19" fmla="*/ 19 h 21"/>
                  <a:gd name="T20" fmla="*/ 14 w 28"/>
                  <a:gd name="T21" fmla="*/ 19 h 21"/>
                  <a:gd name="T22" fmla="*/ 16 w 28"/>
                  <a:gd name="T23" fmla="*/ 16 h 21"/>
                  <a:gd name="T24" fmla="*/ 14 w 28"/>
                  <a:gd name="T25" fmla="*/ 16 h 21"/>
                  <a:gd name="T26" fmla="*/ 14 w 28"/>
                  <a:gd name="T27" fmla="*/ 14 h 21"/>
                  <a:gd name="T28" fmla="*/ 14 w 28"/>
                  <a:gd name="T29" fmla="*/ 14 h 21"/>
                  <a:gd name="T30" fmla="*/ 14 w 28"/>
                  <a:gd name="T31" fmla="*/ 14 h 21"/>
                  <a:gd name="T32" fmla="*/ 16 w 28"/>
                  <a:gd name="T33" fmla="*/ 14 h 21"/>
                  <a:gd name="T34" fmla="*/ 16 w 28"/>
                  <a:gd name="T35" fmla="*/ 16 h 21"/>
                  <a:gd name="T36" fmla="*/ 16 w 28"/>
                  <a:gd name="T37" fmla="*/ 19 h 21"/>
                  <a:gd name="T38" fmla="*/ 16 w 28"/>
                  <a:gd name="T39" fmla="*/ 19 h 21"/>
                  <a:gd name="T40" fmla="*/ 16 w 28"/>
                  <a:gd name="T41" fmla="*/ 21 h 21"/>
                  <a:gd name="T42" fmla="*/ 16 w 28"/>
                  <a:gd name="T43" fmla="*/ 19 h 21"/>
                  <a:gd name="T44" fmla="*/ 21 w 28"/>
                  <a:gd name="T45" fmla="*/ 19 h 21"/>
                  <a:gd name="T46" fmla="*/ 21 w 28"/>
                  <a:gd name="T47" fmla="*/ 19 h 21"/>
                  <a:gd name="T48" fmla="*/ 21 w 28"/>
                  <a:gd name="T49" fmla="*/ 16 h 21"/>
                  <a:gd name="T50" fmla="*/ 19 w 28"/>
                  <a:gd name="T51" fmla="*/ 16 h 21"/>
                  <a:gd name="T52" fmla="*/ 19 w 28"/>
                  <a:gd name="T53" fmla="*/ 16 h 21"/>
                  <a:gd name="T54" fmla="*/ 21 w 28"/>
                  <a:gd name="T55" fmla="*/ 16 h 21"/>
                  <a:gd name="T56" fmla="*/ 21 w 28"/>
                  <a:gd name="T57" fmla="*/ 16 h 21"/>
                  <a:gd name="T58" fmla="*/ 21 w 28"/>
                  <a:gd name="T59" fmla="*/ 16 h 21"/>
                  <a:gd name="T60" fmla="*/ 23 w 28"/>
                  <a:gd name="T61" fmla="*/ 16 h 21"/>
                  <a:gd name="T62" fmla="*/ 26 w 28"/>
                  <a:gd name="T63" fmla="*/ 16 h 21"/>
                  <a:gd name="T64" fmla="*/ 26 w 28"/>
                  <a:gd name="T65" fmla="*/ 14 h 21"/>
                  <a:gd name="T66" fmla="*/ 26 w 28"/>
                  <a:gd name="T67" fmla="*/ 12 h 21"/>
                  <a:gd name="T68" fmla="*/ 28 w 28"/>
                  <a:gd name="T69" fmla="*/ 9 h 21"/>
                  <a:gd name="T70" fmla="*/ 26 w 28"/>
                  <a:gd name="T71" fmla="*/ 7 h 21"/>
                  <a:gd name="T72" fmla="*/ 23 w 28"/>
                  <a:gd name="T73" fmla="*/ 7 h 21"/>
                  <a:gd name="T74" fmla="*/ 21 w 28"/>
                  <a:gd name="T75" fmla="*/ 7 h 21"/>
                  <a:gd name="T76" fmla="*/ 21 w 28"/>
                  <a:gd name="T77" fmla="*/ 7 h 21"/>
                  <a:gd name="T78" fmla="*/ 21 w 28"/>
                  <a:gd name="T79" fmla="*/ 7 h 21"/>
                  <a:gd name="T80" fmla="*/ 19 w 28"/>
                  <a:gd name="T81" fmla="*/ 5 h 21"/>
                  <a:gd name="T82" fmla="*/ 19 w 28"/>
                  <a:gd name="T83" fmla="*/ 2 h 21"/>
                  <a:gd name="T84" fmla="*/ 16 w 28"/>
                  <a:gd name="T85" fmla="*/ 2 h 21"/>
                  <a:gd name="T86" fmla="*/ 14 w 28"/>
                  <a:gd name="T87" fmla="*/ 0 h 21"/>
                  <a:gd name="T88" fmla="*/ 14 w 28"/>
                  <a:gd name="T89" fmla="*/ 0 h 21"/>
                  <a:gd name="T90" fmla="*/ 14 w 28"/>
                  <a:gd name="T91" fmla="*/ 0 h 21"/>
                  <a:gd name="T92" fmla="*/ 14 w 28"/>
                  <a:gd name="T93" fmla="*/ 0 h 21"/>
                  <a:gd name="T94" fmla="*/ 9 w 28"/>
                  <a:gd name="T95" fmla="*/ 0 h 21"/>
                  <a:gd name="T96" fmla="*/ 7 w 28"/>
                  <a:gd name="T97" fmla="*/ 2 h 21"/>
                  <a:gd name="T98" fmla="*/ 7 w 28"/>
                  <a:gd name="T99" fmla="*/ 2 h 21"/>
                  <a:gd name="T100" fmla="*/ 7 w 28"/>
                  <a:gd name="T101" fmla="*/ 2 h 21"/>
                  <a:gd name="T102" fmla="*/ 7 w 28"/>
                  <a:gd name="T103" fmla="*/ 2 h 21"/>
                  <a:gd name="T104" fmla="*/ 7 w 28"/>
                  <a:gd name="T105" fmla="*/ 5 h 21"/>
                  <a:gd name="T106" fmla="*/ 7 w 28"/>
                  <a:gd name="T107" fmla="*/ 5 h 21"/>
                  <a:gd name="T108" fmla="*/ 4 w 28"/>
                  <a:gd name="T109" fmla="*/ 5 h 21"/>
                  <a:gd name="T110" fmla="*/ 4 w 28"/>
                  <a:gd name="T111" fmla="*/ 5 h 21"/>
                  <a:gd name="T112" fmla="*/ 2 w 28"/>
                  <a:gd name="T113" fmla="*/ 5 h 21"/>
                  <a:gd name="T114" fmla="*/ 0 w 28"/>
                  <a:gd name="T115" fmla="*/ 0 h 21"/>
                  <a:gd name="T116" fmla="*/ 0 w 28"/>
                  <a:gd name="T117" fmla="*/ 2 h 21"/>
                  <a:gd name="T118" fmla="*/ 0 w 28"/>
                  <a:gd name="T119" fmla="*/ 5 h 21"/>
                  <a:gd name="T120" fmla="*/ 0 w 28"/>
                  <a:gd name="T121" fmla="*/ 7 h 21"/>
                  <a:gd name="T122" fmla="*/ 2 w 28"/>
                  <a:gd name="T123" fmla="*/ 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 h="21">
                    <a:moveTo>
                      <a:pt x="2" y="9"/>
                    </a:moveTo>
                    <a:lnTo>
                      <a:pt x="7" y="9"/>
                    </a:lnTo>
                    <a:lnTo>
                      <a:pt x="7" y="12"/>
                    </a:lnTo>
                    <a:lnTo>
                      <a:pt x="9" y="12"/>
                    </a:lnTo>
                    <a:lnTo>
                      <a:pt x="2" y="12"/>
                    </a:lnTo>
                    <a:lnTo>
                      <a:pt x="2" y="14"/>
                    </a:lnTo>
                    <a:lnTo>
                      <a:pt x="4" y="14"/>
                    </a:lnTo>
                    <a:lnTo>
                      <a:pt x="7" y="16"/>
                    </a:lnTo>
                    <a:lnTo>
                      <a:pt x="11" y="16"/>
                    </a:lnTo>
                    <a:lnTo>
                      <a:pt x="14" y="19"/>
                    </a:lnTo>
                    <a:lnTo>
                      <a:pt x="14" y="19"/>
                    </a:lnTo>
                    <a:lnTo>
                      <a:pt x="16" y="16"/>
                    </a:lnTo>
                    <a:lnTo>
                      <a:pt x="14" y="16"/>
                    </a:lnTo>
                    <a:lnTo>
                      <a:pt x="14" y="14"/>
                    </a:lnTo>
                    <a:lnTo>
                      <a:pt x="14" y="14"/>
                    </a:lnTo>
                    <a:lnTo>
                      <a:pt x="14" y="14"/>
                    </a:lnTo>
                    <a:lnTo>
                      <a:pt x="16" y="14"/>
                    </a:lnTo>
                    <a:lnTo>
                      <a:pt x="16" y="16"/>
                    </a:lnTo>
                    <a:lnTo>
                      <a:pt x="16" y="19"/>
                    </a:lnTo>
                    <a:lnTo>
                      <a:pt x="16" y="19"/>
                    </a:lnTo>
                    <a:lnTo>
                      <a:pt x="16" y="21"/>
                    </a:lnTo>
                    <a:lnTo>
                      <a:pt x="16" y="19"/>
                    </a:lnTo>
                    <a:lnTo>
                      <a:pt x="21" y="19"/>
                    </a:lnTo>
                    <a:lnTo>
                      <a:pt x="21" y="19"/>
                    </a:lnTo>
                    <a:lnTo>
                      <a:pt x="21" y="16"/>
                    </a:lnTo>
                    <a:lnTo>
                      <a:pt x="19" y="16"/>
                    </a:lnTo>
                    <a:lnTo>
                      <a:pt x="19" y="16"/>
                    </a:lnTo>
                    <a:lnTo>
                      <a:pt x="21" y="16"/>
                    </a:lnTo>
                    <a:lnTo>
                      <a:pt x="21" y="16"/>
                    </a:lnTo>
                    <a:lnTo>
                      <a:pt x="21" y="16"/>
                    </a:lnTo>
                    <a:lnTo>
                      <a:pt x="23" y="16"/>
                    </a:lnTo>
                    <a:lnTo>
                      <a:pt x="26" y="16"/>
                    </a:lnTo>
                    <a:lnTo>
                      <a:pt x="26" y="14"/>
                    </a:lnTo>
                    <a:lnTo>
                      <a:pt x="26" y="12"/>
                    </a:lnTo>
                    <a:lnTo>
                      <a:pt x="28" y="9"/>
                    </a:lnTo>
                    <a:lnTo>
                      <a:pt x="26" y="7"/>
                    </a:lnTo>
                    <a:lnTo>
                      <a:pt x="23" y="7"/>
                    </a:lnTo>
                    <a:lnTo>
                      <a:pt x="21" y="7"/>
                    </a:lnTo>
                    <a:lnTo>
                      <a:pt x="21" y="7"/>
                    </a:lnTo>
                    <a:lnTo>
                      <a:pt x="21" y="7"/>
                    </a:lnTo>
                    <a:lnTo>
                      <a:pt x="19" y="5"/>
                    </a:lnTo>
                    <a:lnTo>
                      <a:pt x="19" y="2"/>
                    </a:lnTo>
                    <a:lnTo>
                      <a:pt x="16" y="2"/>
                    </a:lnTo>
                    <a:lnTo>
                      <a:pt x="14" y="0"/>
                    </a:lnTo>
                    <a:lnTo>
                      <a:pt x="14" y="0"/>
                    </a:lnTo>
                    <a:lnTo>
                      <a:pt x="14" y="0"/>
                    </a:lnTo>
                    <a:lnTo>
                      <a:pt x="14" y="0"/>
                    </a:lnTo>
                    <a:lnTo>
                      <a:pt x="9" y="0"/>
                    </a:lnTo>
                    <a:lnTo>
                      <a:pt x="7" y="2"/>
                    </a:lnTo>
                    <a:lnTo>
                      <a:pt x="7" y="2"/>
                    </a:lnTo>
                    <a:lnTo>
                      <a:pt x="7" y="2"/>
                    </a:lnTo>
                    <a:lnTo>
                      <a:pt x="7" y="2"/>
                    </a:lnTo>
                    <a:lnTo>
                      <a:pt x="7" y="5"/>
                    </a:lnTo>
                    <a:lnTo>
                      <a:pt x="7" y="5"/>
                    </a:lnTo>
                    <a:lnTo>
                      <a:pt x="4" y="5"/>
                    </a:lnTo>
                    <a:lnTo>
                      <a:pt x="4" y="5"/>
                    </a:lnTo>
                    <a:lnTo>
                      <a:pt x="2" y="5"/>
                    </a:lnTo>
                    <a:lnTo>
                      <a:pt x="0" y="0"/>
                    </a:lnTo>
                    <a:lnTo>
                      <a:pt x="0" y="2"/>
                    </a:lnTo>
                    <a:lnTo>
                      <a:pt x="0" y="5"/>
                    </a:lnTo>
                    <a:lnTo>
                      <a:pt x="0" y="7"/>
                    </a:lnTo>
                    <a:lnTo>
                      <a:pt x="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62" name="Freeform 150">
                <a:extLst>
                  <a:ext uri="{FF2B5EF4-FFF2-40B4-BE49-F238E27FC236}">
                    <a16:creationId xmlns:a16="http://schemas.microsoft.com/office/drawing/2014/main" id="{C4BCF698-9B76-47C6-A3B4-DEEE0521C286}"/>
                  </a:ext>
                </a:extLst>
              </p:cNvPr>
              <p:cNvSpPr>
                <a:spLocks/>
              </p:cNvSpPr>
              <p:nvPr/>
            </p:nvSpPr>
            <p:spPr bwMode="gray">
              <a:xfrm>
                <a:off x="-3223" y="58"/>
                <a:ext cx="38" cy="40"/>
              </a:xfrm>
              <a:custGeom>
                <a:avLst/>
                <a:gdLst>
                  <a:gd name="T0" fmla="*/ 3 w 38"/>
                  <a:gd name="T1" fmla="*/ 7 h 40"/>
                  <a:gd name="T2" fmla="*/ 10 w 38"/>
                  <a:gd name="T3" fmla="*/ 21 h 40"/>
                  <a:gd name="T4" fmla="*/ 12 w 38"/>
                  <a:gd name="T5" fmla="*/ 23 h 40"/>
                  <a:gd name="T6" fmla="*/ 14 w 38"/>
                  <a:gd name="T7" fmla="*/ 23 h 40"/>
                  <a:gd name="T8" fmla="*/ 17 w 38"/>
                  <a:gd name="T9" fmla="*/ 26 h 40"/>
                  <a:gd name="T10" fmla="*/ 26 w 38"/>
                  <a:gd name="T11" fmla="*/ 35 h 40"/>
                  <a:gd name="T12" fmla="*/ 26 w 38"/>
                  <a:gd name="T13" fmla="*/ 28 h 40"/>
                  <a:gd name="T14" fmla="*/ 21 w 38"/>
                  <a:gd name="T15" fmla="*/ 23 h 40"/>
                  <a:gd name="T16" fmla="*/ 24 w 38"/>
                  <a:gd name="T17" fmla="*/ 21 h 40"/>
                  <a:gd name="T18" fmla="*/ 26 w 38"/>
                  <a:gd name="T19" fmla="*/ 26 h 40"/>
                  <a:gd name="T20" fmla="*/ 29 w 38"/>
                  <a:gd name="T21" fmla="*/ 33 h 40"/>
                  <a:gd name="T22" fmla="*/ 29 w 38"/>
                  <a:gd name="T23" fmla="*/ 40 h 40"/>
                  <a:gd name="T24" fmla="*/ 31 w 38"/>
                  <a:gd name="T25" fmla="*/ 40 h 40"/>
                  <a:gd name="T26" fmla="*/ 31 w 38"/>
                  <a:gd name="T27" fmla="*/ 38 h 40"/>
                  <a:gd name="T28" fmla="*/ 33 w 38"/>
                  <a:gd name="T29" fmla="*/ 35 h 40"/>
                  <a:gd name="T30" fmla="*/ 31 w 38"/>
                  <a:gd name="T31" fmla="*/ 35 h 40"/>
                  <a:gd name="T32" fmla="*/ 33 w 38"/>
                  <a:gd name="T33" fmla="*/ 33 h 40"/>
                  <a:gd name="T34" fmla="*/ 36 w 38"/>
                  <a:gd name="T35" fmla="*/ 33 h 40"/>
                  <a:gd name="T36" fmla="*/ 36 w 38"/>
                  <a:gd name="T37" fmla="*/ 33 h 40"/>
                  <a:gd name="T38" fmla="*/ 33 w 38"/>
                  <a:gd name="T39" fmla="*/ 28 h 40"/>
                  <a:gd name="T40" fmla="*/ 31 w 38"/>
                  <a:gd name="T41" fmla="*/ 26 h 40"/>
                  <a:gd name="T42" fmla="*/ 38 w 38"/>
                  <a:gd name="T43" fmla="*/ 28 h 40"/>
                  <a:gd name="T44" fmla="*/ 29 w 38"/>
                  <a:gd name="T45" fmla="*/ 21 h 40"/>
                  <a:gd name="T46" fmla="*/ 29 w 38"/>
                  <a:gd name="T47" fmla="*/ 21 h 40"/>
                  <a:gd name="T48" fmla="*/ 36 w 38"/>
                  <a:gd name="T49" fmla="*/ 21 h 40"/>
                  <a:gd name="T50" fmla="*/ 36 w 38"/>
                  <a:gd name="T51" fmla="*/ 19 h 40"/>
                  <a:gd name="T52" fmla="*/ 29 w 38"/>
                  <a:gd name="T53" fmla="*/ 16 h 40"/>
                  <a:gd name="T54" fmla="*/ 26 w 38"/>
                  <a:gd name="T55" fmla="*/ 16 h 40"/>
                  <a:gd name="T56" fmla="*/ 26 w 38"/>
                  <a:gd name="T57" fmla="*/ 16 h 40"/>
                  <a:gd name="T58" fmla="*/ 24 w 38"/>
                  <a:gd name="T59" fmla="*/ 14 h 40"/>
                  <a:gd name="T60" fmla="*/ 24 w 38"/>
                  <a:gd name="T61" fmla="*/ 14 h 40"/>
                  <a:gd name="T62" fmla="*/ 26 w 38"/>
                  <a:gd name="T63" fmla="*/ 9 h 40"/>
                  <a:gd name="T64" fmla="*/ 19 w 38"/>
                  <a:gd name="T65" fmla="*/ 9 h 40"/>
                  <a:gd name="T66" fmla="*/ 21 w 38"/>
                  <a:gd name="T67" fmla="*/ 7 h 40"/>
                  <a:gd name="T68" fmla="*/ 19 w 38"/>
                  <a:gd name="T69" fmla="*/ 5 h 40"/>
                  <a:gd name="T70" fmla="*/ 14 w 38"/>
                  <a:gd name="T71" fmla="*/ 9 h 40"/>
                  <a:gd name="T72" fmla="*/ 12 w 38"/>
                  <a:gd name="T73" fmla="*/ 12 h 40"/>
                  <a:gd name="T74" fmla="*/ 12 w 38"/>
                  <a:gd name="T75" fmla="*/ 9 h 40"/>
                  <a:gd name="T76" fmla="*/ 12 w 38"/>
                  <a:gd name="T77" fmla="*/ 5 h 40"/>
                  <a:gd name="T78" fmla="*/ 14 w 38"/>
                  <a:gd name="T79" fmla="*/ 2 h 40"/>
                  <a:gd name="T80" fmla="*/ 14 w 38"/>
                  <a:gd name="T81" fmla="*/ 2 h 40"/>
                  <a:gd name="T82" fmla="*/ 14 w 38"/>
                  <a:gd name="T83" fmla="*/ 0 h 40"/>
                  <a:gd name="T84" fmla="*/ 12 w 38"/>
                  <a:gd name="T85" fmla="*/ 0 h 40"/>
                  <a:gd name="T86" fmla="*/ 5 w 38"/>
                  <a:gd name="T87" fmla="*/ 2 h 40"/>
                  <a:gd name="T88" fmla="*/ 3 w 38"/>
                  <a:gd name="T89" fmla="*/ 2 h 40"/>
                  <a:gd name="T90" fmla="*/ 0 w 38"/>
                  <a:gd name="T91" fmla="*/ 2 h 40"/>
                  <a:gd name="T92" fmla="*/ 0 w 38"/>
                  <a:gd name="T93" fmla="*/ 2 h 40"/>
                  <a:gd name="T94" fmla="*/ 3 w 38"/>
                  <a:gd name="T95" fmla="*/ 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 h="40">
                    <a:moveTo>
                      <a:pt x="3" y="5"/>
                    </a:moveTo>
                    <a:lnTo>
                      <a:pt x="3" y="7"/>
                    </a:lnTo>
                    <a:lnTo>
                      <a:pt x="5" y="14"/>
                    </a:lnTo>
                    <a:lnTo>
                      <a:pt x="10" y="21"/>
                    </a:lnTo>
                    <a:lnTo>
                      <a:pt x="12" y="21"/>
                    </a:lnTo>
                    <a:lnTo>
                      <a:pt x="12" y="23"/>
                    </a:lnTo>
                    <a:lnTo>
                      <a:pt x="14" y="23"/>
                    </a:lnTo>
                    <a:lnTo>
                      <a:pt x="14" y="23"/>
                    </a:lnTo>
                    <a:lnTo>
                      <a:pt x="14" y="26"/>
                    </a:lnTo>
                    <a:lnTo>
                      <a:pt x="17" y="26"/>
                    </a:lnTo>
                    <a:lnTo>
                      <a:pt x="24" y="33"/>
                    </a:lnTo>
                    <a:lnTo>
                      <a:pt x="26" y="35"/>
                    </a:lnTo>
                    <a:lnTo>
                      <a:pt x="29" y="31"/>
                    </a:lnTo>
                    <a:lnTo>
                      <a:pt x="26" y="28"/>
                    </a:lnTo>
                    <a:lnTo>
                      <a:pt x="24" y="23"/>
                    </a:lnTo>
                    <a:lnTo>
                      <a:pt x="21" y="23"/>
                    </a:lnTo>
                    <a:lnTo>
                      <a:pt x="21" y="21"/>
                    </a:lnTo>
                    <a:lnTo>
                      <a:pt x="24" y="21"/>
                    </a:lnTo>
                    <a:lnTo>
                      <a:pt x="26" y="23"/>
                    </a:lnTo>
                    <a:lnTo>
                      <a:pt x="26" y="26"/>
                    </a:lnTo>
                    <a:lnTo>
                      <a:pt x="29" y="28"/>
                    </a:lnTo>
                    <a:lnTo>
                      <a:pt x="29" y="33"/>
                    </a:lnTo>
                    <a:lnTo>
                      <a:pt x="29" y="35"/>
                    </a:lnTo>
                    <a:lnTo>
                      <a:pt x="29" y="40"/>
                    </a:lnTo>
                    <a:lnTo>
                      <a:pt x="31" y="40"/>
                    </a:lnTo>
                    <a:lnTo>
                      <a:pt x="31" y="40"/>
                    </a:lnTo>
                    <a:lnTo>
                      <a:pt x="31" y="40"/>
                    </a:lnTo>
                    <a:lnTo>
                      <a:pt x="31" y="38"/>
                    </a:lnTo>
                    <a:lnTo>
                      <a:pt x="33" y="38"/>
                    </a:lnTo>
                    <a:lnTo>
                      <a:pt x="33" y="35"/>
                    </a:lnTo>
                    <a:lnTo>
                      <a:pt x="33" y="35"/>
                    </a:lnTo>
                    <a:lnTo>
                      <a:pt x="31" y="35"/>
                    </a:lnTo>
                    <a:lnTo>
                      <a:pt x="31" y="35"/>
                    </a:lnTo>
                    <a:lnTo>
                      <a:pt x="33" y="33"/>
                    </a:lnTo>
                    <a:lnTo>
                      <a:pt x="33" y="33"/>
                    </a:lnTo>
                    <a:lnTo>
                      <a:pt x="36" y="33"/>
                    </a:lnTo>
                    <a:lnTo>
                      <a:pt x="36" y="33"/>
                    </a:lnTo>
                    <a:lnTo>
                      <a:pt x="36" y="33"/>
                    </a:lnTo>
                    <a:lnTo>
                      <a:pt x="33" y="31"/>
                    </a:lnTo>
                    <a:lnTo>
                      <a:pt x="33" y="28"/>
                    </a:lnTo>
                    <a:lnTo>
                      <a:pt x="31" y="28"/>
                    </a:lnTo>
                    <a:lnTo>
                      <a:pt x="31" y="26"/>
                    </a:lnTo>
                    <a:lnTo>
                      <a:pt x="36" y="28"/>
                    </a:lnTo>
                    <a:lnTo>
                      <a:pt x="38" y="28"/>
                    </a:lnTo>
                    <a:lnTo>
                      <a:pt x="36" y="26"/>
                    </a:lnTo>
                    <a:lnTo>
                      <a:pt x="29" y="21"/>
                    </a:lnTo>
                    <a:lnTo>
                      <a:pt x="29" y="21"/>
                    </a:lnTo>
                    <a:lnTo>
                      <a:pt x="29" y="21"/>
                    </a:lnTo>
                    <a:lnTo>
                      <a:pt x="33" y="21"/>
                    </a:lnTo>
                    <a:lnTo>
                      <a:pt x="36" y="21"/>
                    </a:lnTo>
                    <a:lnTo>
                      <a:pt x="36" y="21"/>
                    </a:lnTo>
                    <a:lnTo>
                      <a:pt x="36" y="19"/>
                    </a:lnTo>
                    <a:lnTo>
                      <a:pt x="33" y="16"/>
                    </a:lnTo>
                    <a:lnTo>
                      <a:pt x="29" y="16"/>
                    </a:lnTo>
                    <a:lnTo>
                      <a:pt x="29" y="16"/>
                    </a:lnTo>
                    <a:lnTo>
                      <a:pt x="26" y="16"/>
                    </a:lnTo>
                    <a:lnTo>
                      <a:pt x="26" y="16"/>
                    </a:lnTo>
                    <a:lnTo>
                      <a:pt x="26" y="16"/>
                    </a:lnTo>
                    <a:lnTo>
                      <a:pt x="24" y="14"/>
                    </a:lnTo>
                    <a:lnTo>
                      <a:pt x="24" y="14"/>
                    </a:lnTo>
                    <a:lnTo>
                      <a:pt x="24" y="14"/>
                    </a:lnTo>
                    <a:lnTo>
                      <a:pt x="24" y="14"/>
                    </a:lnTo>
                    <a:lnTo>
                      <a:pt x="26" y="12"/>
                    </a:lnTo>
                    <a:lnTo>
                      <a:pt x="26" y="9"/>
                    </a:lnTo>
                    <a:lnTo>
                      <a:pt x="26" y="9"/>
                    </a:lnTo>
                    <a:lnTo>
                      <a:pt x="19" y="9"/>
                    </a:lnTo>
                    <a:lnTo>
                      <a:pt x="21" y="7"/>
                    </a:lnTo>
                    <a:lnTo>
                      <a:pt x="21" y="7"/>
                    </a:lnTo>
                    <a:lnTo>
                      <a:pt x="21" y="5"/>
                    </a:lnTo>
                    <a:lnTo>
                      <a:pt x="19" y="5"/>
                    </a:lnTo>
                    <a:lnTo>
                      <a:pt x="14" y="7"/>
                    </a:lnTo>
                    <a:lnTo>
                      <a:pt x="14" y="9"/>
                    </a:lnTo>
                    <a:lnTo>
                      <a:pt x="14" y="14"/>
                    </a:lnTo>
                    <a:lnTo>
                      <a:pt x="12" y="12"/>
                    </a:lnTo>
                    <a:lnTo>
                      <a:pt x="12" y="9"/>
                    </a:lnTo>
                    <a:lnTo>
                      <a:pt x="12" y="9"/>
                    </a:lnTo>
                    <a:lnTo>
                      <a:pt x="12" y="7"/>
                    </a:lnTo>
                    <a:lnTo>
                      <a:pt x="12" y="5"/>
                    </a:lnTo>
                    <a:lnTo>
                      <a:pt x="14" y="5"/>
                    </a:lnTo>
                    <a:lnTo>
                      <a:pt x="14" y="2"/>
                    </a:lnTo>
                    <a:lnTo>
                      <a:pt x="14" y="2"/>
                    </a:lnTo>
                    <a:lnTo>
                      <a:pt x="14" y="2"/>
                    </a:lnTo>
                    <a:lnTo>
                      <a:pt x="14" y="0"/>
                    </a:lnTo>
                    <a:lnTo>
                      <a:pt x="14" y="0"/>
                    </a:lnTo>
                    <a:lnTo>
                      <a:pt x="12" y="0"/>
                    </a:lnTo>
                    <a:lnTo>
                      <a:pt x="12" y="0"/>
                    </a:lnTo>
                    <a:lnTo>
                      <a:pt x="7" y="0"/>
                    </a:lnTo>
                    <a:lnTo>
                      <a:pt x="5" y="2"/>
                    </a:lnTo>
                    <a:lnTo>
                      <a:pt x="5" y="2"/>
                    </a:lnTo>
                    <a:lnTo>
                      <a:pt x="3" y="2"/>
                    </a:lnTo>
                    <a:lnTo>
                      <a:pt x="3" y="2"/>
                    </a:lnTo>
                    <a:lnTo>
                      <a:pt x="0" y="2"/>
                    </a:lnTo>
                    <a:lnTo>
                      <a:pt x="0" y="2"/>
                    </a:lnTo>
                    <a:lnTo>
                      <a:pt x="0" y="2"/>
                    </a:lnTo>
                    <a:lnTo>
                      <a:pt x="3" y="5"/>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63" name="Freeform 151">
                <a:extLst>
                  <a:ext uri="{FF2B5EF4-FFF2-40B4-BE49-F238E27FC236}">
                    <a16:creationId xmlns:a16="http://schemas.microsoft.com/office/drawing/2014/main" id="{1A3661E2-8080-4A0D-946B-F4454A0F4E0C}"/>
                  </a:ext>
                </a:extLst>
              </p:cNvPr>
              <p:cNvSpPr>
                <a:spLocks/>
              </p:cNvSpPr>
              <p:nvPr/>
            </p:nvSpPr>
            <p:spPr bwMode="gray">
              <a:xfrm>
                <a:off x="-3209" y="122"/>
                <a:ext cx="22" cy="23"/>
              </a:xfrm>
              <a:custGeom>
                <a:avLst/>
                <a:gdLst>
                  <a:gd name="T0" fmla="*/ 19 w 22"/>
                  <a:gd name="T1" fmla="*/ 14 h 23"/>
                  <a:gd name="T2" fmla="*/ 22 w 22"/>
                  <a:gd name="T3" fmla="*/ 11 h 23"/>
                  <a:gd name="T4" fmla="*/ 22 w 22"/>
                  <a:gd name="T5" fmla="*/ 11 h 23"/>
                  <a:gd name="T6" fmla="*/ 19 w 22"/>
                  <a:gd name="T7" fmla="*/ 9 h 23"/>
                  <a:gd name="T8" fmla="*/ 17 w 22"/>
                  <a:gd name="T9" fmla="*/ 7 h 23"/>
                  <a:gd name="T10" fmla="*/ 17 w 22"/>
                  <a:gd name="T11" fmla="*/ 7 h 23"/>
                  <a:gd name="T12" fmla="*/ 12 w 22"/>
                  <a:gd name="T13" fmla="*/ 4 h 23"/>
                  <a:gd name="T14" fmla="*/ 12 w 22"/>
                  <a:gd name="T15" fmla="*/ 4 h 23"/>
                  <a:gd name="T16" fmla="*/ 10 w 22"/>
                  <a:gd name="T17" fmla="*/ 2 h 23"/>
                  <a:gd name="T18" fmla="*/ 10 w 22"/>
                  <a:gd name="T19" fmla="*/ 2 h 23"/>
                  <a:gd name="T20" fmla="*/ 7 w 22"/>
                  <a:gd name="T21" fmla="*/ 0 h 23"/>
                  <a:gd name="T22" fmla="*/ 5 w 22"/>
                  <a:gd name="T23" fmla="*/ 2 h 23"/>
                  <a:gd name="T24" fmla="*/ 5 w 22"/>
                  <a:gd name="T25" fmla="*/ 0 h 23"/>
                  <a:gd name="T26" fmla="*/ 0 w 22"/>
                  <a:gd name="T27" fmla="*/ 0 h 23"/>
                  <a:gd name="T28" fmla="*/ 0 w 22"/>
                  <a:gd name="T29" fmla="*/ 0 h 23"/>
                  <a:gd name="T30" fmla="*/ 0 w 22"/>
                  <a:gd name="T31" fmla="*/ 2 h 23"/>
                  <a:gd name="T32" fmla="*/ 3 w 22"/>
                  <a:gd name="T33" fmla="*/ 4 h 23"/>
                  <a:gd name="T34" fmla="*/ 3 w 22"/>
                  <a:gd name="T35" fmla="*/ 7 h 23"/>
                  <a:gd name="T36" fmla="*/ 3 w 22"/>
                  <a:gd name="T37" fmla="*/ 9 h 23"/>
                  <a:gd name="T38" fmla="*/ 3 w 22"/>
                  <a:gd name="T39" fmla="*/ 11 h 23"/>
                  <a:gd name="T40" fmla="*/ 5 w 22"/>
                  <a:gd name="T41" fmla="*/ 11 h 23"/>
                  <a:gd name="T42" fmla="*/ 12 w 22"/>
                  <a:gd name="T43" fmla="*/ 11 h 23"/>
                  <a:gd name="T44" fmla="*/ 12 w 22"/>
                  <a:gd name="T45" fmla="*/ 14 h 23"/>
                  <a:gd name="T46" fmla="*/ 17 w 22"/>
                  <a:gd name="T47" fmla="*/ 23 h 23"/>
                  <a:gd name="T48" fmla="*/ 17 w 22"/>
                  <a:gd name="T49" fmla="*/ 23 h 23"/>
                  <a:gd name="T50" fmla="*/ 19 w 22"/>
                  <a:gd name="T51" fmla="*/ 23 h 23"/>
                  <a:gd name="T52" fmla="*/ 19 w 22"/>
                  <a:gd name="T53" fmla="*/ 21 h 23"/>
                  <a:gd name="T54" fmla="*/ 19 w 22"/>
                  <a:gd name="T55" fmla="*/ 21 h 23"/>
                  <a:gd name="T56" fmla="*/ 19 w 22"/>
                  <a:gd name="T57" fmla="*/ 21 h 23"/>
                  <a:gd name="T58" fmla="*/ 19 w 22"/>
                  <a:gd name="T59" fmla="*/ 16 h 23"/>
                  <a:gd name="T60" fmla="*/ 19 w 22"/>
                  <a:gd name="T61" fmla="*/ 16 h 23"/>
                  <a:gd name="T62" fmla="*/ 19 w 22"/>
                  <a:gd name="T63" fmla="*/ 14 h 23"/>
                  <a:gd name="T64" fmla="*/ 19 w 22"/>
                  <a:gd name="T65"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 h="23">
                    <a:moveTo>
                      <a:pt x="19" y="14"/>
                    </a:moveTo>
                    <a:lnTo>
                      <a:pt x="22" y="11"/>
                    </a:lnTo>
                    <a:lnTo>
                      <a:pt x="22" y="11"/>
                    </a:lnTo>
                    <a:lnTo>
                      <a:pt x="19" y="9"/>
                    </a:lnTo>
                    <a:lnTo>
                      <a:pt x="17" y="7"/>
                    </a:lnTo>
                    <a:lnTo>
                      <a:pt x="17" y="7"/>
                    </a:lnTo>
                    <a:lnTo>
                      <a:pt x="12" y="4"/>
                    </a:lnTo>
                    <a:lnTo>
                      <a:pt x="12" y="4"/>
                    </a:lnTo>
                    <a:lnTo>
                      <a:pt x="10" y="2"/>
                    </a:lnTo>
                    <a:lnTo>
                      <a:pt x="10" y="2"/>
                    </a:lnTo>
                    <a:lnTo>
                      <a:pt x="7" y="0"/>
                    </a:lnTo>
                    <a:lnTo>
                      <a:pt x="5" y="2"/>
                    </a:lnTo>
                    <a:lnTo>
                      <a:pt x="5" y="0"/>
                    </a:lnTo>
                    <a:lnTo>
                      <a:pt x="0" y="0"/>
                    </a:lnTo>
                    <a:lnTo>
                      <a:pt x="0" y="0"/>
                    </a:lnTo>
                    <a:lnTo>
                      <a:pt x="0" y="2"/>
                    </a:lnTo>
                    <a:lnTo>
                      <a:pt x="3" y="4"/>
                    </a:lnTo>
                    <a:lnTo>
                      <a:pt x="3" y="7"/>
                    </a:lnTo>
                    <a:lnTo>
                      <a:pt x="3" y="9"/>
                    </a:lnTo>
                    <a:lnTo>
                      <a:pt x="3" y="11"/>
                    </a:lnTo>
                    <a:lnTo>
                      <a:pt x="5" y="11"/>
                    </a:lnTo>
                    <a:lnTo>
                      <a:pt x="12" y="11"/>
                    </a:lnTo>
                    <a:lnTo>
                      <a:pt x="12" y="14"/>
                    </a:lnTo>
                    <a:lnTo>
                      <a:pt x="17" y="23"/>
                    </a:lnTo>
                    <a:lnTo>
                      <a:pt x="17" y="23"/>
                    </a:lnTo>
                    <a:lnTo>
                      <a:pt x="19" y="23"/>
                    </a:lnTo>
                    <a:lnTo>
                      <a:pt x="19" y="21"/>
                    </a:lnTo>
                    <a:lnTo>
                      <a:pt x="19" y="21"/>
                    </a:lnTo>
                    <a:lnTo>
                      <a:pt x="19" y="21"/>
                    </a:lnTo>
                    <a:lnTo>
                      <a:pt x="19" y="16"/>
                    </a:lnTo>
                    <a:lnTo>
                      <a:pt x="19" y="16"/>
                    </a:lnTo>
                    <a:lnTo>
                      <a:pt x="19" y="14"/>
                    </a:lnTo>
                    <a:lnTo>
                      <a:pt x="19"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64" name="Freeform 152">
                <a:extLst>
                  <a:ext uri="{FF2B5EF4-FFF2-40B4-BE49-F238E27FC236}">
                    <a16:creationId xmlns:a16="http://schemas.microsoft.com/office/drawing/2014/main" id="{2A71F8B9-F4F1-48F3-9737-FCCA5303680C}"/>
                  </a:ext>
                </a:extLst>
              </p:cNvPr>
              <p:cNvSpPr>
                <a:spLocks/>
              </p:cNvSpPr>
              <p:nvPr/>
            </p:nvSpPr>
            <p:spPr bwMode="gray">
              <a:xfrm>
                <a:off x="-3183" y="48"/>
                <a:ext cx="12" cy="17"/>
              </a:xfrm>
              <a:custGeom>
                <a:avLst/>
                <a:gdLst>
                  <a:gd name="T0" fmla="*/ 0 w 12"/>
                  <a:gd name="T1" fmla="*/ 3 h 17"/>
                  <a:gd name="T2" fmla="*/ 3 w 12"/>
                  <a:gd name="T3" fmla="*/ 8 h 17"/>
                  <a:gd name="T4" fmla="*/ 3 w 12"/>
                  <a:gd name="T5" fmla="*/ 10 h 17"/>
                  <a:gd name="T6" fmla="*/ 5 w 12"/>
                  <a:gd name="T7" fmla="*/ 12 h 17"/>
                  <a:gd name="T8" fmla="*/ 7 w 12"/>
                  <a:gd name="T9" fmla="*/ 15 h 17"/>
                  <a:gd name="T10" fmla="*/ 10 w 12"/>
                  <a:gd name="T11" fmla="*/ 17 h 17"/>
                  <a:gd name="T12" fmla="*/ 10 w 12"/>
                  <a:gd name="T13" fmla="*/ 15 h 17"/>
                  <a:gd name="T14" fmla="*/ 10 w 12"/>
                  <a:gd name="T15" fmla="*/ 15 h 17"/>
                  <a:gd name="T16" fmla="*/ 12 w 12"/>
                  <a:gd name="T17" fmla="*/ 12 h 17"/>
                  <a:gd name="T18" fmla="*/ 10 w 12"/>
                  <a:gd name="T19" fmla="*/ 12 h 17"/>
                  <a:gd name="T20" fmla="*/ 10 w 12"/>
                  <a:gd name="T21" fmla="*/ 10 h 17"/>
                  <a:gd name="T22" fmla="*/ 10 w 12"/>
                  <a:gd name="T23" fmla="*/ 10 h 17"/>
                  <a:gd name="T24" fmla="*/ 10 w 12"/>
                  <a:gd name="T25" fmla="*/ 10 h 17"/>
                  <a:gd name="T26" fmla="*/ 7 w 12"/>
                  <a:gd name="T27" fmla="*/ 12 h 17"/>
                  <a:gd name="T28" fmla="*/ 7 w 12"/>
                  <a:gd name="T29" fmla="*/ 12 h 17"/>
                  <a:gd name="T30" fmla="*/ 7 w 12"/>
                  <a:gd name="T31" fmla="*/ 10 h 17"/>
                  <a:gd name="T32" fmla="*/ 7 w 12"/>
                  <a:gd name="T33" fmla="*/ 10 h 17"/>
                  <a:gd name="T34" fmla="*/ 7 w 12"/>
                  <a:gd name="T35" fmla="*/ 8 h 17"/>
                  <a:gd name="T36" fmla="*/ 5 w 12"/>
                  <a:gd name="T37" fmla="*/ 8 h 17"/>
                  <a:gd name="T38" fmla="*/ 5 w 12"/>
                  <a:gd name="T39" fmla="*/ 5 h 17"/>
                  <a:gd name="T40" fmla="*/ 5 w 12"/>
                  <a:gd name="T41" fmla="*/ 3 h 17"/>
                  <a:gd name="T42" fmla="*/ 3 w 12"/>
                  <a:gd name="T43" fmla="*/ 0 h 17"/>
                  <a:gd name="T44" fmla="*/ 3 w 12"/>
                  <a:gd name="T45" fmla="*/ 0 h 17"/>
                  <a:gd name="T46" fmla="*/ 0 w 12"/>
                  <a:gd name="T47" fmla="*/ 0 h 17"/>
                  <a:gd name="T48" fmla="*/ 0 w 12"/>
                  <a:gd name="T49" fmla="*/ 0 h 17"/>
                  <a:gd name="T50" fmla="*/ 0 w 12"/>
                  <a:gd name="T51" fmla="*/ 3 h 17"/>
                  <a:gd name="T52" fmla="*/ 0 w 12"/>
                  <a:gd name="T5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17">
                    <a:moveTo>
                      <a:pt x="0" y="3"/>
                    </a:moveTo>
                    <a:lnTo>
                      <a:pt x="3" y="8"/>
                    </a:lnTo>
                    <a:lnTo>
                      <a:pt x="3" y="10"/>
                    </a:lnTo>
                    <a:lnTo>
                      <a:pt x="5" y="12"/>
                    </a:lnTo>
                    <a:lnTo>
                      <a:pt x="7" y="15"/>
                    </a:lnTo>
                    <a:lnTo>
                      <a:pt x="10" y="17"/>
                    </a:lnTo>
                    <a:lnTo>
                      <a:pt x="10" y="15"/>
                    </a:lnTo>
                    <a:lnTo>
                      <a:pt x="10" y="15"/>
                    </a:lnTo>
                    <a:lnTo>
                      <a:pt x="12" y="12"/>
                    </a:lnTo>
                    <a:lnTo>
                      <a:pt x="10" y="12"/>
                    </a:lnTo>
                    <a:lnTo>
                      <a:pt x="10" y="10"/>
                    </a:lnTo>
                    <a:lnTo>
                      <a:pt x="10" y="10"/>
                    </a:lnTo>
                    <a:lnTo>
                      <a:pt x="10" y="10"/>
                    </a:lnTo>
                    <a:lnTo>
                      <a:pt x="7" y="12"/>
                    </a:lnTo>
                    <a:lnTo>
                      <a:pt x="7" y="12"/>
                    </a:lnTo>
                    <a:lnTo>
                      <a:pt x="7" y="10"/>
                    </a:lnTo>
                    <a:lnTo>
                      <a:pt x="7" y="10"/>
                    </a:lnTo>
                    <a:lnTo>
                      <a:pt x="7" y="8"/>
                    </a:lnTo>
                    <a:lnTo>
                      <a:pt x="5" y="8"/>
                    </a:lnTo>
                    <a:lnTo>
                      <a:pt x="5" y="5"/>
                    </a:lnTo>
                    <a:lnTo>
                      <a:pt x="5" y="3"/>
                    </a:lnTo>
                    <a:lnTo>
                      <a:pt x="3" y="0"/>
                    </a:lnTo>
                    <a:lnTo>
                      <a:pt x="3" y="0"/>
                    </a:lnTo>
                    <a:lnTo>
                      <a:pt x="0" y="0"/>
                    </a:lnTo>
                    <a:lnTo>
                      <a:pt x="0" y="0"/>
                    </a:lnTo>
                    <a:lnTo>
                      <a:pt x="0"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65" name="Freeform 153">
                <a:extLst>
                  <a:ext uri="{FF2B5EF4-FFF2-40B4-BE49-F238E27FC236}">
                    <a16:creationId xmlns:a16="http://schemas.microsoft.com/office/drawing/2014/main" id="{2562D2EA-E2CC-417F-A6D2-A34021B5AC20}"/>
                  </a:ext>
                </a:extLst>
              </p:cNvPr>
              <p:cNvSpPr>
                <a:spLocks/>
              </p:cNvSpPr>
              <p:nvPr/>
            </p:nvSpPr>
            <p:spPr bwMode="gray">
              <a:xfrm>
                <a:off x="-3213" y="159"/>
                <a:ext cx="23" cy="38"/>
              </a:xfrm>
              <a:custGeom>
                <a:avLst/>
                <a:gdLst>
                  <a:gd name="T0" fmla="*/ 0 w 23"/>
                  <a:gd name="T1" fmla="*/ 5 h 38"/>
                  <a:gd name="T2" fmla="*/ 2 w 23"/>
                  <a:gd name="T3" fmla="*/ 10 h 38"/>
                  <a:gd name="T4" fmla="*/ 4 w 23"/>
                  <a:gd name="T5" fmla="*/ 17 h 38"/>
                  <a:gd name="T6" fmla="*/ 7 w 23"/>
                  <a:gd name="T7" fmla="*/ 21 h 38"/>
                  <a:gd name="T8" fmla="*/ 16 w 23"/>
                  <a:gd name="T9" fmla="*/ 33 h 38"/>
                  <a:gd name="T10" fmla="*/ 21 w 23"/>
                  <a:gd name="T11" fmla="*/ 38 h 38"/>
                  <a:gd name="T12" fmla="*/ 23 w 23"/>
                  <a:gd name="T13" fmla="*/ 36 h 38"/>
                  <a:gd name="T14" fmla="*/ 21 w 23"/>
                  <a:gd name="T15" fmla="*/ 31 h 38"/>
                  <a:gd name="T16" fmla="*/ 21 w 23"/>
                  <a:gd name="T17" fmla="*/ 28 h 38"/>
                  <a:gd name="T18" fmla="*/ 19 w 23"/>
                  <a:gd name="T19" fmla="*/ 28 h 38"/>
                  <a:gd name="T20" fmla="*/ 16 w 23"/>
                  <a:gd name="T21" fmla="*/ 31 h 38"/>
                  <a:gd name="T22" fmla="*/ 14 w 23"/>
                  <a:gd name="T23" fmla="*/ 28 h 38"/>
                  <a:gd name="T24" fmla="*/ 14 w 23"/>
                  <a:gd name="T25" fmla="*/ 28 h 38"/>
                  <a:gd name="T26" fmla="*/ 14 w 23"/>
                  <a:gd name="T27" fmla="*/ 26 h 38"/>
                  <a:gd name="T28" fmla="*/ 19 w 23"/>
                  <a:gd name="T29" fmla="*/ 26 h 38"/>
                  <a:gd name="T30" fmla="*/ 21 w 23"/>
                  <a:gd name="T31" fmla="*/ 26 h 38"/>
                  <a:gd name="T32" fmla="*/ 21 w 23"/>
                  <a:gd name="T33" fmla="*/ 24 h 38"/>
                  <a:gd name="T34" fmla="*/ 19 w 23"/>
                  <a:gd name="T35" fmla="*/ 21 h 38"/>
                  <a:gd name="T36" fmla="*/ 19 w 23"/>
                  <a:gd name="T37" fmla="*/ 21 h 38"/>
                  <a:gd name="T38" fmla="*/ 19 w 23"/>
                  <a:gd name="T39" fmla="*/ 19 h 38"/>
                  <a:gd name="T40" fmla="*/ 16 w 23"/>
                  <a:gd name="T41" fmla="*/ 19 h 38"/>
                  <a:gd name="T42" fmla="*/ 14 w 23"/>
                  <a:gd name="T43" fmla="*/ 19 h 38"/>
                  <a:gd name="T44" fmla="*/ 11 w 23"/>
                  <a:gd name="T45" fmla="*/ 14 h 38"/>
                  <a:gd name="T46" fmla="*/ 11 w 23"/>
                  <a:gd name="T47" fmla="*/ 14 h 38"/>
                  <a:gd name="T48" fmla="*/ 14 w 23"/>
                  <a:gd name="T49" fmla="*/ 14 h 38"/>
                  <a:gd name="T50" fmla="*/ 16 w 23"/>
                  <a:gd name="T51" fmla="*/ 17 h 38"/>
                  <a:gd name="T52" fmla="*/ 19 w 23"/>
                  <a:gd name="T53" fmla="*/ 14 h 38"/>
                  <a:gd name="T54" fmla="*/ 16 w 23"/>
                  <a:gd name="T55" fmla="*/ 12 h 38"/>
                  <a:gd name="T56" fmla="*/ 9 w 23"/>
                  <a:gd name="T57" fmla="*/ 7 h 38"/>
                  <a:gd name="T58" fmla="*/ 4 w 23"/>
                  <a:gd name="T59" fmla="*/ 7 h 38"/>
                  <a:gd name="T60" fmla="*/ 7 w 23"/>
                  <a:gd name="T61" fmla="*/ 5 h 38"/>
                  <a:gd name="T62" fmla="*/ 4 w 23"/>
                  <a:gd name="T63" fmla="*/ 5 h 38"/>
                  <a:gd name="T64" fmla="*/ 4 w 23"/>
                  <a:gd name="T65" fmla="*/ 3 h 38"/>
                  <a:gd name="T66" fmla="*/ 4 w 23"/>
                  <a:gd name="T67" fmla="*/ 0 h 38"/>
                  <a:gd name="T68" fmla="*/ 2 w 23"/>
                  <a:gd name="T69" fmla="*/ 3 h 38"/>
                  <a:gd name="T70" fmla="*/ 2 w 23"/>
                  <a:gd name="T71"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 h="38">
                    <a:moveTo>
                      <a:pt x="0" y="3"/>
                    </a:moveTo>
                    <a:lnTo>
                      <a:pt x="0" y="5"/>
                    </a:lnTo>
                    <a:lnTo>
                      <a:pt x="2" y="7"/>
                    </a:lnTo>
                    <a:lnTo>
                      <a:pt x="2" y="10"/>
                    </a:lnTo>
                    <a:lnTo>
                      <a:pt x="2" y="12"/>
                    </a:lnTo>
                    <a:lnTo>
                      <a:pt x="4" y="17"/>
                    </a:lnTo>
                    <a:lnTo>
                      <a:pt x="7" y="19"/>
                    </a:lnTo>
                    <a:lnTo>
                      <a:pt x="7" y="21"/>
                    </a:lnTo>
                    <a:lnTo>
                      <a:pt x="9" y="26"/>
                    </a:lnTo>
                    <a:lnTo>
                      <a:pt x="16" y="33"/>
                    </a:lnTo>
                    <a:lnTo>
                      <a:pt x="19" y="38"/>
                    </a:lnTo>
                    <a:lnTo>
                      <a:pt x="21" y="38"/>
                    </a:lnTo>
                    <a:lnTo>
                      <a:pt x="21" y="38"/>
                    </a:lnTo>
                    <a:lnTo>
                      <a:pt x="23" y="36"/>
                    </a:lnTo>
                    <a:lnTo>
                      <a:pt x="23" y="33"/>
                    </a:lnTo>
                    <a:lnTo>
                      <a:pt x="21" y="31"/>
                    </a:lnTo>
                    <a:lnTo>
                      <a:pt x="21" y="31"/>
                    </a:lnTo>
                    <a:lnTo>
                      <a:pt x="21" y="28"/>
                    </a:lnTo>
                    <a:lnTo>
                      <a:pt x="21" y="28"/>
                    </a:lnTo>
                    <a:lnTo>
                      <a:pt x="19" y="28"/>
                    </a:lnTo>
                    <a:lnTo>
                      <a:pt x="16" y="28"/>
                    </a:lnTo>
                    <a:lnTo>
                      <a:pt x="16" y="31"/>
                    </a:lnTo>
                    <a:lnTo>
                      <a:pt x="14" y="28"/>
                    </a:lnTo>
                    <a:lnTo>
                      <a:pt x="14" y="28"/>
                    </a:lnTo>
                    <a:lnTo>
                      <a:pt x="14" y="28"/>
                    </a:lnTo>
                    <a:lnTo>
                      <a:pt x="14" y="28"/>
                    </a:lnTo>
                    <a:lnTo>
                      <a:pt x="14" y="26"/>
                    </a:lnTo>
                    <a:lnTo>
                      <a:pt x="14" y="26"/>
                    </a:lnTo>
                    <a:lnTo>
                      <a:pt x="16" y="26"/>
                    </a:lnTo>
                    <a:lnTo>
                      <a:pt x="19" y="26"/>
                    </a:lnTo>
                    <a:lnTo>
                      <a:pt x="19" y="26"/>
                    </a:lnTo>
                    <a:lnTo>
                      <a:pt x="21" y="26"/>
                    </a:lnTo>
                    <a:lnTo>
                      <a:pt x="21" y="26"/>
                    </a:lnTo>
                    <a:lnTo>
                      <a:pt x="21" y="24"/>
                    </a:lnTo>
                    <a:lnTo>
                      <a:pt x="19" y="24"/>
                    </a:lnTo>
                    <a:lnTo>
                      <a:pt x="19" y="21"/>
                    </a:lnTo>
                    <a:lnTo>
                      <a:pt x="19" y="21"/>
                    </a:lnTo>
                    <a:lnTo>
                      <a:pt x="19" y="21"/>
                    </a:lnTo>
                    <a:lnTo>
                      <a:pt x="19" y="19"/>
                    </a:lnTo>
                    <a:lnTo>
                      <a:pt x="19" y="19"/>
                    </a:lnTo>
                    <a:lnTo>
                      <a:pt x="16" y="19"/>
                    </a:lnTo>
                    <a:lnTo>
                      <a:pt x="16" y="19"/>
                    </a:lnTo>
                    <a:lnTo>
                      <a:pt x="14" y="19"/>
                    </a:lnTo>
                    <a:lnTo>
                      <a:pt x="14" y="19"/>
                    </a:lnTo>
                    <a:lnTo>
                      <a:pt x="14" y="17"/>
                    </a:lnTo>
                    <a:lnTo>
                      <a:pt x="11" y="14"/>
                    </a:lnTo>
                    <a:lnTo>
                      <a:pt x="11" y="14"/>
                    </a:lnTo>
                    <a:lnTo>
                      <a:pt x="11" y="14"/>
                    </a:lnTo>
                    <a:lnTo>
                      <a:pt x="14" y="14"/>
                    </a:lnTo>
                    <a:lnTo>
                      <a:pt x="14" y="14"/>
                    </a:lnTo>
                    <a:lnTo>
                      <a:pt x="16" y="14"/>
                    </a:lnTo>
                    <a:lnTo>
                      <a:pt x="16" y="17"/>
                    </a:lnTo>
                    <a:lnTo>
                      <a:pt x="16" y="17"/>
                    </a:lnTo>
                    <a:lnTo>
                      <a:pt x="19" y="14"/>
                    </a:lnTo>
                    <a:lnTo>
                      <a:pt x="19" y="12"/>
                    </a:lnTo>
                    <a:lnTo>
                      <a:pt x="16" y="12"/>
                    </a:lnTo>
                    <a:lnTo>
                      <a:pt x="11" y="10"/>
                    </a:lnTo>
                    <a:lnTo>
                      <a:pt x="9" y="7"/>
                    </a:lnTo>
                    <a:lnTo>
                      <a:pt x="4" y="10"/>
                    </a:lnTo>
                    <a:lnTo>
                      <a:pt x="4" y="7"/>
                    </a:lnTo>
                    <a:lnTo>
                      <a:pt x="7" y="5"/>
                    </a:lnTo>
                    <a:lnTo>
                      <a:pt x="7" y="5"/>
                    </a:lnTo>
                    <a:lnTo>
                      <a:pt x="4" y="5"/>
                    </a:lnTo>
                    <a:lnTo>
                      <a:pt x="4" y="5"/>
                    </a:lnTo>
                    <a:lnTo>
                      <a:pt x="4" y="3"/>
                    </a:lnTo>
                    <a:lnTo>
                      <a:pt x="4" y="3"/>
                    </a:lnTo>
                    <a:lnTo>
                      <a:pt x="7" y="3"/>
                    </a:lnTo>
                    <a:lnTo>
                      <a:pt x="4" y="0"/>
                    </a:lnTo>
                    <a:lnTo>
                      <a:pt x="4" y="0"/>
                    </a:lnTo>
                    <a:lnTo>
                      <a:pt x="2" y="3"/>
                    </a:lnTo>
                    <a:lnTo>
                      <a:pt x="2" y="3"/>
                    </a:lnTo>
                    <a:lnTo>
                      <a:pt x="2"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66" name="Freeform 154">
                <a:extLst>
                  <a:ext uri="{FF2B5EF4-FFF2-40B4-BE49-F238E27FC236}">
                    <a16:creationId xmlns:a16="http://schemas.microsoft.com/office/drawing/2014/main" id="{6EE27EC1-FD1C-4657-830D-8D74495EAECC}"/>
                  </a:ext>
                </a:extLst>
              </p:cNvPr>
              <p:cNvSpPr>
                <a:spLocks/>
              </p:cNvSpPr>
              <p:nvPr/>
            </p:nvSpPr>
            <p:spPr bwMode="gray">
              <a:xfrm>
                <a:off x="-3171" y="60"/>
                <a:ext cx="7" cy="12"/>
              </a:xfrm>
              <a:custGeom>
                <a:avLst/>
                <a:gdLst>
                  <a:gd name="T0" fmla="*/ 0 w 7"/>
                  <a:gd name="T1" fmla="*/ 10 h 12"/>
                  <a:gd name="T2" fmla="*/ 2 w 7"/>
                  <a:gd name="T3" fmla="*/ 10 h 12"/>
                  <a:gd name="T4" fmla="*/ 2 w 7"/>
                  <a:gd name="T5" fmla="*/ 12 h 12"/>
                  <a:gd name="T6" fmla="*/ 5 w 7"/>
                  <a:gd name="T7" fmla="*/ 10 h 12"/>
                  <a:gd name="T8" fmla="*/ 5 w 7"/>
                  <a:gd name="T9" fmla="*/ 10 h 12"/>
                  <a:gd name="T10" fmla="*/ 5 w 7"/>
                  <a:gd name="T11" fmla="*/ 10 h 12"/>
                  <a:gd name="T12" fmla="*/ 7 w 7"/>
                  <a:gd name="T13" fmla="*/ 7 h 12"/>
                  <a:gd name="T14" fmla="*/ 7 w 7"/>
                  <a:gd name="T15" fmla="*/ 7 h 12"/>
                  <a:gd name="T16" fmla="*/ 5 w 7"/>
                  <a:gd name="T17" fmla="*/ 5 h 12"/>
                  <a:gd name="T18" fmla="*/ 7 w 7"/>
                  <a:gd name="T19" fmla="*/ 3 h 12"/>
                  <a:gd name="T20" fmla="*/ 7 w 7"/>
                  <a:gd name="T21" fmla="*/ 3 h 12"/>
                  <a:gd name="T22" fmla="*/ 7 w 7"/>
                  <a:gd name="T23" fmla="*/ 0 h 12"/>
                  <a:gd name="T24" fmla="*/ 5 w 7"/>
                  <a:gd name="T25" fmla="*/ 0 h 12"/>
                  <a:gd name="T26" fmla="*/ 2 w 7"/>
                  <a:gd name="T27" fmla="*/ 3 h 12"/>
                  <a:gd name="T28" fmla="*/ 0 w 7"/>
                  <a:gd name="T29" fmla="*/ 5 h 12"/>
                  <a:gd name="T30" fmla="*/ 0 w 7"/>
                  <a:gd name="T31" fmla="*/ 5 h 12"/>
                  <a:gd name="T32" fmla="*/ 0 w 7"/>
                  <a:gd name="T33" fmla="*/ 7 h 12"/>
                  <a:gd name="T34" fmla="*/ 0 w 7"/>
                  <a:gd name="T35"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2">
                    <a:moveTo>
                      <a:pt x="0" y="10"/>
                    </a:moveTo>
                    <a:lnTo>
                      <a:pt x="2" y="10"/>
                    </a:lnTo>
                    <a:lnTo>
                      <a:pt x="2" y="12"/>
                    </a:lnTo>
                    <a:lnTo>
                      <a:pt x="5" y="10"/>
                    </a:lnTo>
                    <a:lnTo>
                      <a:pt x="5" y="10"/>
                    </a:lnTo>
                    <a:lnTo>
                      <a:pt x="5" y="10"/>
                    </a:lnTo>
                    <a:lnTo>
                      <a:pt x="7" y="7"/>
                    </a:lnTo>
                    <a:lnTo>
                      <a:pt x="7" y="7"/>
                    </a:lnTo>
                    <a:lnTo>
                      <a:pt x="5" y="5"/>
                    </a:lnTo>
                    <a:lnTo>
                      <a:pt x="7" y="3"/>
                    </a:lnTo>
                    <a:lnTo>
                      <a:pt x="7" y="3"/>
                    </a:lnTo>
                    <a:lnTo>
                      <a:pt x="7" y="0"/>
                    </a:lnTo>
                    <a:lnTo>
                      <a:pt x="5" y="0"/>
                    </a:lnTo>
                    <a:lnTo>
                      <a:pt x="2" y="3"/>
                    </a:lnTo>
                    <a:lnTo>
                      <a:pt x="0" y="5"/>
                    </a:lnTo>
                    <a:lnTo>
                      <a:pt x="0" y="5"/>
                    </a:lnTo>
                    <a:lnTo>
                      <a:pt x="0" y="7"/>
                    </a:ln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67" name="Freeform 155">
                <a:extLst>
                  <a:ext uri="{FF2B5EF4-FFF2-40B4-BE49-F238E27FC236}">
                    <a16:creationId xmlns:a16="http://schemas.microsoft.com/office/drawing/2014/main" id="{DE1D795E-7A59-40F0-BC6C-40943582FA1E}"/>
                  </a:ext>
                </a:extLst>
              </p:cNvPr>
              <p:cNvSpPr>
                <a:spLocks/>
              </p:cNvSpPr>
              <p:nvPr/>
            </p:nvSpPr>
            <p:spPr bwMode="gray">
              <a:xfrm>
                <a:off x="-1172" y="527"/>
                <a:ext cx="68" cy="54"/>
              </a:xfrm>
              <a:custGeom>
                <a:avLst/>
                <a:gdLst>
                  <a:gd name="T0" fmla="*/ 0 w 68"/>
                  <a:gd name="T1" fmla="*/ 21 h 54"/>
                  <a:gd name="T2" fmla="*/ 9 w 68"/>
                  <a:gd name="T3" fmla="*/ 26 h 54"/>
                  <a:gd name="T4" fmla="*/ 16 w 68"/>
                  <a:gd name="T5" fmla="*/ 26 h 54"/>
                  <a:gd name="T6" fmla="*/ 21 w 68"/>
                  <a:gd name="T7" fmla="*/ 26 h 54"/>
                  <a:gd name="T8" fmla="*/ 26 w 68"/>
                  <a:gd name="T9" fmla="*/ 30 h 54"/>
                  <a:gd name="T10" fmla="*/ 28 w 68"/>
                  <a:gd name="T11" fmla="*/ 35 h 54"/>
                  <a:gd name="T12" fmla="*/ 28 w 68"/>
                  <a:gd name="T13" fmla="*/ 40 h 54"/>
                  <a:gd name="T14" fmla="*/ 30 w 68"/>
                  <a:gd name="T15" fmla="*/ 45 h 54"/>
                  <a:gd name="T16" fmla="*/ 30 w 68"/>
                  <a:gd name="T17" fmla="*/ 49 h 54"/>
                  <a:gd name="T18" fmla="*/ 28 w 68"/>
                  <a:gd name="T19" fmla="*/ 49 h 54"/>
                  <a:gd name="T20" fmla="*/ 35 w 68"/>
                  <a:gd name="T21" fmla="*/ 54 h 54"/>
                  <a:gd name="T22" fmla="*/ 42 w 68"/>
                  <a:gd name="T23" fmla="*/ 52 h 54"/>
                  <a:gd name="T24" fmla="*/ 47 w 68"/>
                  <a:gd name="T25" fmla="*/ 40 h 54"/>
                  <a:gd name="T26" fmla="*/ 49 w 68"/>
                  <a:gd name="T27" fmla="*/ 37 h 54"/>
                  <a:gd name="T28" fmla="*/ 52 w 68"/>
                  <a:gd name="T29" fmla="*/ 35 h 54"/>
                  <a:gd name="T30" fmla="*/ 54 w 68"/>
                  <a:gd name="T31" fmla="*/ 35 h 54"/>
                  <a:gd name="T32" fmla="*/ 52 w 68"/>
                  <a:gd name="T33" fmla="*/ 37 h 54"/>
                  <a:gd name="T34" fmla="*/ 52 w 68"/>
                  <a:gd name="T35" fmla="*/ 42 h 54"/>
                  <a:gd name="T36" fmla="*/ 56 w 68"/>
                  <a:gd name="T37" fmla="*/ 42 h 54"/>
                  <a:gd name="T38" fmla="*/ 59 w 68"/>
                  <a:gd name="T39" fmla="*/ 40 h 54"/>
                  <a:gd name="T40" fmla="*/ 59 w 68"/>
                  <a:gd name="T41" fmla="*/ 40 h 54"/>
                  <a:gd name="T42" fmla="*/ 59 w 68"/>
                  <a:gd name="T43" fmla="*/ 37 h 54"/>
                  <a:gd name="T44" fmla="*/ 59 w 68"/>
                  <a:gd name="T45" fmla="*/ 35 h 54"/>
                  <a:gd name="T46" fmla="*/ 59 w 68"/>
                  <a:gd name="T47" fmla="*/ 35 h 54"/>
                  <a:gd name="T48" fmla="*/ 61 w 68"/>
                  <a:gd name="T49" fmla="*/ 33 h 54"/>
                  <a:gd name="T50" fmla="*/ 61 w 68"/>
                  <a:gd name="T51" fmla="*/ 35 h 54"/>
                  <a:gd name="T52" fmla="*/ 63 w 68"/>
                  <a:gd name="T53" fmla="*/ 33 h 54"/>
                  <a:gd name="T54" fmla="*/ 63 w 68"/>
                  <a:gd name="T55" fmla="*/ 33 h 54"/>
                  <a:gd name="T56" fmla="*/ 68 w 68"/>
                  <a:gd name="T57" fmla="*/ 35 h 54"/>
                  <a:gd name="T58" fmla="*/ 68 w 68"/>
                  <a:gd name="T59" fmla="*/ 33 h 54"/>
                  <a:gd name="T60" fmla="*/ 68 w 68"/>
                  <a:gd name="T61" fmla="*/ 30 h 54"/>
                  <a:gd name="T62" fmla="*/ 68 w 68"/>
                  <a:gd name="T63" fmla="*/ 30 h 54"/>
                  <a:gd name="T64" fmla="*/ 68 w 68"/>
                  <a:gd name="T65" fmla="*/ 28 h 54"/>
                  <a:gd name="T66" fmla="*/ 68 w 68"/>
                  <a:gd name="T67" fmla="*/ 26 h 54"/>
                  <a:gd name="T68" fmla="*/ 66 w 68"/>
                  <a:gd name="T69" fmla="*/ 23 h 54"/>
                  <a:gd name="T70" fmla="*/ 66 w 68"/>
                  <a:gd name="T71" fmla="*/ 23 h 54"/>
                  <a:gd name="T72" fmla="*/ 63 w 68"/>
                  <a:gd name="T73" fmla="*/ 21 h 54"/>
                  <a:gd name="T74" fmla="*/ 63 w 68"/>
                  <a:gd name="T75" fmla="*/ 16 h 54"/>
                  <a:gd name="T76" fmla="*/ 61 w 68"/>
                  <a:gd name="T77" fmla="*/ 14 h 54"/>
                  <a:gd name="T78" fmla="*/ 47 w 68"/>
                  <a:gd name="T79" fmla="*/ 12 h 54"/>
                  <a:gd name="T80" fmla="*/ 45 w 68"/>
                  <a:gd name="T81" fmla="*/ 9 h 54"/>
                  <a:gd name="T82" fmla="*/ 47 w 68"/>
                  <a:gd name="T83" fmla="*/ 2 h 54"/>
                  <a:gd name="T84" fmla="*/ 42 w 68"/>
                  <a:gd name="T85" fmla="*/ 0 h 54"/>
                  <a:gd name="T86" fmla="*/ 38 w 68"/>
                  <a:gd name="T87" fmla="*/ 0 h 54"/>
                  <a:gd name="T88" fmla="*/ 38 w 68"/>
                  <a:gd name="T89" fmla="*/ 0 h 54"/>
                  <a:gd name="T90" fmla="*/ 38 w 68"/>
                  <a:gd name="T91" fmla="*/ 4 h 54"/>
                  <a:gd name="T92" fmla="*/ 35 w 68"/>
                  <a:gd name="T93" fmla="*/ 7 h 54"/>
                  <a:gd name="T94" fmla="*/ 33 w 68"/>
                  <a:gd name="T95" fmla="*/ 9 h 54"/>
                  <a:gd name="T96" fmla="*/ 30 w 68"/>
                  <a:gd name="T97" fmla="*/ 9 h 54"/>
                  <a:gd name="T98" fmla="*/ 30 w 68"/>
                  <a:gd name="T99" fmla="*/ 14 h 54"/>
                  <a:gd name="T100" fmla="*/ 28 w 68"/>
                  <a:gd name="T101" fmla="*/ 14 h 54"/>
                  <a:gd name="T102" fmla="*/ 28 w 68"/>
                  <a:gd name="T103" fmla="*/ 16 h 54"/>
                  <a:gd name="T104" fmla="*/ 2 w 68"/>
                  <a:gd name="T105"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 h="54">
                    <a:moveTo>
                      <a:pt x="0" y="19"/>
                    </a:moveTo>
                    <a:lnTo>
                      <a:pt x="0" y="21"/>
                    </a:lnTo>
                    <a:lnTo>
                      <a:pt x="0" y="21"/>
                    </a:lnTo>
                    <a:lnTo>
                      <a:pt x="9" y="26"/>
                    </a:lnTo>
                    <a:lnTo>
                      <a:pt x="12" y="28"/>
                    </a:lnTo>
                    <a:lnTo>
                      <a:pt x="16" y="26"/>
                    </a:lnTo>
                    <a:lnTo>
                      <a:pt x="19" y="26"/>
                    </a:lnTo>
                    <a:lnTo>
                      <a:pt x="21" y="26"/>
                    </a:lnTo>
                    <a:lnTo>
                      <a:pt x="23" y="28"/>
                    </a:lnTo>
                    <a:lnTo>
                      <a:pt x="26" y="30"/>
                    </a:lnTo>
                    <a:lnTo>
                      <a:pt x="28" y="33"/>
                    </a:lnTo>
                    <a:lnTo>
                      <a:pt x="28" y="35"/>
                    </a:lnTo>
                    <a:lnTo>
                      <a:pt x="28" y="37"/>
                    </a:lnTo>
                    <a:lnTo>
                      <a:pt x="28" y="40"/>
                    </a:lnTo>
                    <a:lnTo>
                      <a:pt x="28" y="42"/>
                    </a:lnTo>
                    <a:lnTo>
                      <a:pt x="30" y="45"/>
                    </a:lnTo>
                    <a:lnTo>
                      <a:pt x="30" y="47"/>
                    </a:lnTo>
                    <a:lnTo>
                      <a:pt x="30" y="49"/>
                    </a:lnTo>
                    <a:lnTo>
                      <a:pt x="28" y="49"/>
                    </a:lnTo>
                    <a:lnTo>
                      <a:pt x="28" y="49"/>
                    </a:lnTo>
                    <a:lnTo>
                      <a:pt x="30" y="52"/>
                    </a:lnTo>
                    <a:lnTo>
                      <a:pt x="35" y="54"/>
                    </a:lnTo>
                    <a:lnTo>
                      <a:pt x="40" y="54"/>
                    </a:lnTo>
                    <a:lnTo>
                      <a:pt x="42" y="52"/>
                    </a:lnTo>
                    <a:lnTo>
                      <a:pt x="45" y="49"/>
                    </a:lnTo>
                    <a:lnTo>
                      <a:pt x="47" y="40"/>
                    </a:lnTo>
                    <a:lnTo>
                      <a:pt x="47" y="37"/>
                    </a:lnTo>
                    <a:lnTo>
                      <a:pt x="49" y="37"/>
                    </a:lnTo>
                    <a:lnTo>
                      <a:pt x="52" y="35"/>
                    </a:lnTo>
                    <a:lnTo>
                      <a:pt x="52" y="35"/>
                    </a:lnTo>
                    <a:lnTo>
                      <a:pt x="54" y="35"/>
                    </a:lnTo>
                    <a:lnTo>
                      <a:pt x="54" y="35"/>
                    </a:lnTo>
                    <a:lnTo>
                      <a:pt x="54" y="37"/>
                    </a:lnTo>
                    <a:lnTo>
                      <a:pt x="52" y="37"/>
                    </a:lnTo>
                    <a:lnTo>
                      <a:pt x="52" y="40"/>
                    </a:lnTo>
                    <a:lnTo>
                      <a:pt x="52" y="42"/>
                    </a:lnTo>
                    <a:lnTo>
                      <a:pt x="54" y="42"/>
                    </a:lnTo>
                    <a:lnTo>
                      <a:pt x="56" y="42"/>
                    </a:lnTo>
                    <a:lnTo>
                      <a:pt x="56" y="40"/>
                    </a:lnTo>
                    <a:lnTo>
                      <a:pt x="59" y="40"/>
                    </a:lnTo>
                    <a:lnTo>
                      <a:pt x="59" y="40"/>
                    </a:lnTo>
                    <a:lnTo>
                      <a:pt x="59" y="40"/>
                    </a:lnTo>
                    <a:lnTo>
                      <a:pt x="59" y="37"/>
                    </a:lnTo>
                    <a:lnTo>
                      <a:pt x="59" y="37"/>
                    </a:lnTo>
                    <a:lnTo>
                      <a:pt x="59" y="37"/>
                    </a:lnTo>
                    <a:lnTo>
                      <a:pt x="59" y="35"/>
                    </a:lnTo>
                    <a:lnTo>
                      <a:pt x="56" y="35"/>
                    </a:lnTo>
                    <a:lnTo>
                      <a:pt x="59" y="35"/>
                    </a:lnTo>
                    <a:lnTo>
                      <a:pt x="59" y="33"/>
                    </a:lnTo>
                    <a:lnTo>
                      <a:pt x="61" y="33"/>
                    </a:lnTo>
                    <a:lnTo>
                      <a:pt x="61" y="33"/>
                    </a:lnTo>
                    <a:lnTo>
                      <a:pt x="61" y="35"/>
                    </a:lnTo>
                    <a:lnTo>
                      <a:pt x="63" y="33"/>
                    </a:lnTo>
                    <a:lnTo>
                      <a:pt x="63" y="33"/>
                    </a:lnTo>
                    <a:lnTo>
                      <a:pt x="63" y="33"/>
                    </a:lnTo>
                    <a:lnTo>
                      <a:pt x="63" y="33"/>
                    </a:lnTo>
                    <a:lnTo>
                      <a:pt x="66" y="33"/>
                    </a:lnTo>
                    <a:lnTo>
                      <a:pt x="68" y="35"/>
                    </a:lnTo>
                    <a:lnTo>
                      <a:pt x="68" y="35"/>
                    </a:lnTo>
                    <a:lnTo>
                      <a:pt x="68" y="33"/>
                    </a:lnTo>
                    <a:lnTo>
                      <a:pt x="68" y="30"/>
                    </a:lnTo>
                    <a:lnTo>
                      <a:pt x="68" y="30"/>
                    </a:lnTo>
                    <a:lnTo>
                      <a:pt x="68" y="30"/>
                    </a:lnTo>
                    <a:lnTo>
                      <a:pt x="68" y="30"/>
                    </a:lnTo>
                    <a:lnTo>
                      <a:pt x="68" y="28"/>
                    </a:lnTo>
                    <a:lnTo>
                      <a:pt x="68" y="28"/>
                    </a:lnTo>
                    <a:lnTo>
                      <a:pt x="68" y="26"/>
                    </a:lnTo>
                    <a:lnTo>
                      <a:pt x="68" y="26"/>
                    </a:lnTo>
                    <a:lnTo>
                      <a:pt x="68" y="26"/>
                    </a:lnTo>
                    <a:lnTo>
                      <a:pt x="66" y="23"/>
                    </a:lnTo>
                    <a:lnTo>
                      <a:pt x="66" y="23"/>
                    </a:lnTo>
                    <a:lnTo>
                      <a:pt x="66" y="23"/>
                    </a:lnTo>
                    <a:lnTo>
                      <a:pt x="63" y="21"/>
                    </a:lnTo>
                    <a:lnTo>
                      <a:pt x="63" y="21"/>
                    </a:lnTo>
                    <a:lnTo>
                      <a:pt x="63" y="19"/>
                    </a:lnTo>
                    <a:lnTo>
                      <a:pt x="63" y="16"/>
                    </a:lnTo>
                    <a:lnTo>
                      <a:pt x="63" y="16"/>
                    </a:lnTo>
                    <a:lnTo>
                      <a:pt x="61" y="14"/>
                    </a:lnTo>
                    <a:lnTo>
                      <a:pt x="54" y="12"/>
                    </a:lnTo>
                    <a:lnTo>
                      <a:pt x="47" y="12"/>
                    </a:lnTo>
                    <a:lnTo>
                      <a:pt x="47" y="9"/>
                    </a:lnTo>
                    <a:lnTo>
                      <a:pt x="45" y="9"/>
                    </a:lnTo>
                    <a:lnTo>
                      <a:pt x="45" y="7"/>
                    </a:lnTo>
                    <a:lnTo>
                      <a:pt x="47" y="2"/>
                    </a:lnTo>
                    <a:lnTo>
                      <a:pt x="45" y="0"/>
                    </a:lnTo>
                    <a:lnTo>
                      <a:pt x="42" y="0"/>
                    </a:lnTo>
                    <a:lnTo>
                      <a:pt x="40" y="0"/>
                    </a:lnTo>
                    <a:lnTo>
                      <a:pt x="38" y="0"/>
                    </a:lnTo>
                    <a:lnTo>
                      <a:pt x="38" y="0"/>
                    </a:lnTo>
                    <a:lnTo>
                      <a:pt x="38" y="0"/>
                    </a:lnTo>
                    <a:lnTo>
                      <a:pt x="38" y="2"/>
                    </a:lnTo>
                    <a:lnTo>
                      <a:pt x="38" y="4"/>
                    </a:lnTo>
                    <a:lnTo>
                      <a:pt x="38" y="4"/>
                    </a:lnTo>
                    <a:lnTo>
                      <a:pt x="35" y="7"/>
                    </a:lnTo>
                    <a:lnTo>
                      <a:pt x="35" y="7"/>
                    </a:lnTo>
                    <a:lnTo>
                      <a:pt x="33" y="9"/>
                    </a:lnTo>
                    <a:lnTo>
                      <a:pt x="30" y="9"/>
                    </a:lnTo>
                    <a:lnTo>
                      <a:pt x="30" y="9"/>
                    </a:lnTo>
                    <a:lnTo>
                      <a:pt x="30" y="14"/>
                    </a:lnTo>
                    <a:lnTo>
                      <a:pt x="30" y="14"/>
                    </a:lnTo>
                    <a:lnTo>
                      <a:pt x="28" y="14"/>
                    </a:lnTo>
                    <a:lnTo>
                      <a:pt x="28" y="14"/>
                    </a:lnTo>
                    <a:lnTo>
                      <a:pt x="28" y="14"/>
                    </a:lnTo>
                    <a:lnTo>
                      <a:pt x="28" y="16"/>
                    </a:lnTo>
                    <a:lnTo>
                      <a:pt x="7" y="19"/>
                    </a:lnTo>
                    <a:lnTo>
                      <a:pt x="2" y="19"/>
                    </a:lnTo>
                    <a:lnTo>
                      <a:pt x="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68" name="Freeform 156">
                <a:extLst>
                  <a:ext uri="{FF2B5EF4-FFF2-40B4-BE49-F238E27FC236}">
                    <a16:creationId xmlns:a16="http://schemas.microsoft.com/office/drawing/2014/main" id="{2825F1EB-341B-4E40-8ED3-2C391B7F4DFF}"/>
                  </a:ext>
                </a:extLst>
              </p:cNvPr>
              <p:cNvSpPr>
                <a:spLocks/>
              </p:cNvSpPr>
              <p:nvPr/>
            </p:nvSpPr>
            <p:spPr bwMode="gray">
              <a:xfrm>
                <a:off x="-1101" y="581"/>
                <a:ext cx="23" cy="21"/>
              </a:xfrm>
              <a:custGeom>
                <a:avLst/>
                <a:gdLst>
                  <a:gd name="T0" fmla="*/ 0 w 23"/>
                  <a:gd name="T1" fmla="*/ 7 h 21"/>
                  <a:gd name="T2" fmla="*/ 0 w 23"/>
                  <a:gd name="T3" fmla="*/ 9 h 21"/>
                  <a:gd name="T4" fmla="*/ 0 w 23"/>
                  <a:gd name="T5" fmla="*/ 12 h 21"/>
                  <a:gd name="T6" fmla="*/ 2 w 23"/>
                  <a:gd name="T7" fmla="*/ 12 h 21"/>
                  <a:gd name="T8" fmla="*/ 4 w 23"/>
                  <a:gd name="T9" fmla="*/ 14 h 21"/>
                  <a:gd name="T10" fmla="*/ 11 w 23"/>
                  <a:gd name="T11" fmla="*/ 21 h 21"/>
                  <a:gd name="T12" fmla="*/ 11 w 23"/>
                  <a:gd name="T13" fmla="*/ 21 h 21"/>
                  <a:gd name="T14" fmla="*/ 14 w 23"/>
                  <a:gd name="T15" fmla="*/ 19 h 21"/>
                  <a:gd name="T16" fmla="*/ 16 w 23"/>
                  <a:gd name="T17" fmla="*/ 19 h 21"/>
                  <a:gd name="T18" fmla="*/ 18 w 23"/>
                  <a:gd name="T19" fmla="*/ 19 h 21"/>
                  <a:gd name="T20" fmla="*/ 18 w 23"/>
                  <a:gd name="T21" fmla="*/ 19 h 21"/>
                  <a:gd name="T22" fmla="*/ 18 w 23"/>
                  <a:gd name="T23" fmla="*/ 21 h 21"/>
                  <a:gd name="T24" fmla="*/ 21 w 23"/>
                  <a:gd name="T25" fmla="*/ 21 h 21"/>
                  <a:gd name="T26" fmla="*/ 21 w 23"/>
                  <a:gd name="T27" fmla="*/ 19 h 21"/>
                  <a:gd name="T28" fmla="*/ 23 w 23"/>
                  <a:gd name="T29" fmla="*/ 19 h 21"/>
                  <a:gd name="T30" fmla="*/ 23 w 23"/>
                  <a:gd name="T31" fmla="*/ 16 h 21"/>
                  <a:gd name="T32" fmla="*/ 23 w 23"/>
                  <a:gd name="T33" fmla="*/ 16 h 21"/>
                  <a:gd name="T34" fmla="*/ 23 w 23"/>
                  <a:gd name="T35" fmla="*/ 14 h 21"/>
                  <a:gd name="T36" fmla="*/ 21 w 23"/>
                  <a:gd name="T37" fmla="*/ 14 h 21"/>
                  <a:gd name="T38" fmla="*/ 21 w 23"/>
                  <a:gd name="T39" fmla="*/ 12 h 21"/>
                  <a:gd name="T40" fmla="*/ 21 w 23"/>
                  <a:gd name="T41" fmla="*/ 12 h 21"/>
                  <a:gd name="T42" fmla="*/ 18 w 23"/>
                  <a:gd name="T43" fmla="*/ 9 h 21"/>
                  <a:gd name="T44" fmla="*/ 21 w 23"/>
                  <a:gd name="T45" fmla="*/ 7 h 21"/>
                  <a:gd name="T46" fmla="*/ 21 w 23"/>
                  <a:gd name="T47" fmla="*/ 7 h 21"/>
                  <a:gd name="T48" fmla="*/ 18 w 23"/>
                  <a:gd name="T49" fmla="*/ 5 h 21"/>
                  <a:gd name="T50" fmla="*/ 18 w 23"/>
                  <a:gd name="T51" fmla="*/ 5 h 21"/>
                  <a:gd name="T52" fmla="*/ 16 w 23"/>
                  <a:gd name="T53" fmla="*/ 2 h 21"/>
                  <a:gd name="T54" fmla="*/ 9 w 23"/>
                  <a:gd name="T55" fmla="*/ 0 h 21"/>
                  <a:gd name="T56" fmla="*/ 7 w 23"/>
                  <a:gd name="T57" fmla="*/ 0 h 21"/>
                  <a:gd name="T58" fmla="*/ 7 w 23"/>
                  <a:gd name="T59" fmla="*/ 2 h 21"/>
                  <a:gd name="T60" fmla="*/ 4 w 23"/>
                  <a:gd name="T61" fmla="*/ 2 h 21"/>
                  <a:gd name="T62" fmla="*/ 4 w 23"/>
                  <a:gd name="T63" fmla="*/ 5 h 21"/>
                  <a:gd name="T64" fmla="*/ 4 w 23"/>
                  <a:gd name="T65" fmla="*/ 7 h 21"/>
                  <a:gd name="T66" fmla="*/ 4 w 23"/>
                  <a:gd name="T67" fmla="*/ 7 h 21"/>
                  <a:gd name="T68" fmla="*/ 2 w 23"/>
                  <a:gd name="T69" fmla="*/ 9 h 21"/>
                  <a:gd name="T70" fmla="*/ 0 w 23"/>
                  <a:gd name="T71"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 h="21">
                    <a:moveTo>
                      <a:pt x="0" y="7"/>
                    </a:moveTo>
                    <a:lnTo>
                      <a:pt x="0" y="9"/>
                    </a:lnTo>
                    <a:lnTo>
                      <a:pt x="0" y="12"/>
                    </a:lnTo>
                    <a:lnTo>
                      <a:pt x="2" y="12"/>
                    </a:lnTo>
                    <a:lnTo>
                      <a:pt x="4" y="14"/>
                    </a:lnTo>
                    <a:lnTo>
                      <a:pt x="11" y="21"/>
                    </a:lnTo>
                    <a:lnTo>
                      <a:pt x="11" y="21"/>
                    </a:lnTo>
                    <a:lnTo>
                      <a:pt x="14" y="19"/>
                    </a:lnTo>
                    <a:lnTo>
                      <a:pt x="16" y="19"/>
                    </a:lnTo>
                    <a:lnTo>
                      <a:pt x="18" y="19"/>
                    </a:lnTo>
                    <a:lnTo>
                      <a:pt x="18" y="19"/>
                    </a:lnTo>
                    <a:lnTo>
                      <a:pt x="18" y="21"/>
                    </a:lnTo>
                    <a:lnTo>
                      <a:pt x="21" y="21"/>
                    </a:lnTo>
                    <a:lnTo>
                      <a:pt x="21" y="19"/>
                    </a:lnTo>
                    <a:lnTo>
                      <a:pt x="23" y="19"/>
                    </a:lnTo>
                    <a:lnTo>
                      <a:pt x="23" y="16"/>
                    </a:lnTo>
                    <a:lnTo>
                      <a:pt x="23" y="16"/>
                    </a:lnTo>
                    <a:lnTo>
                      <a:pt x="23" y="14"/>
                    </a:lnTo>
                    <a:lnTo>
                      <a:pt x="21" y="14"/>
                    </a:lnTo>
                    <a:lnTo>
                      <a:pt x="21" y="12"/>
                    </a:lnTo>
                    <a:lnTo>
                      <a:pt x="21" y="12"/>
                    </a:lnTo>
                    <a:lnTo>
                      <a:pt x="18" y="9"/>
                    </a:lnTo>
                    <a:lnTo>
                      <a:pt x="21" y="7"/>
                    </a:lnTo>
                    <a:lnTo>
                      <a:pt x="21" y="7"/>
                    </a:lnTo>
                    <a:lnTo>
                      <a:pt x="18" y="5"/>
                    </a:lnTo>
                    <a:lnTo>
                      <a:pt x="18" y="5"/>
                    </a:lnTo>
                    <a:lnTo>
                      <a:pt x="16" y="2"/>
                    </a:lnTo>
                    <a:lnTo>
                      <a:pt x="9" y="0"/>
                    </a:lnTo>
                    <a:lnTo>
                      <a:pt x="7" y="0"/>
                    </a:lnTo>
                    <a:lnTo>
                      <a:pt x="7" y="2"/>
                    </a:lnTo>
                    <a:lnTo>
                      <a:pt x="4" y="2"/>
                    </a:lnTo>
                    <a:lnTo>
                      <a:pt x="4" y="5"/>
                    </a:lnTo>
                    <a:lnTo>
                      <a:pt x="4" y="7"/>
                    </a:lnTo>
                    <a:lnTo>
                      <a:pt x="4" y="7"/>
                    </a:lnTo>
                    <a:lnTo>
                      <a:pt x="2" y="9"/>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69" name="Freeform 157">
                <a:extLst>
                  <a:ext uri="{FF2B5EF4-FFF2-40B4-BE49-F238E27FC236}">
                    <a16:creationId xmlns:a16="http://schemas.microsoft.com/office/drawing/2014/main" id="{87CA101A-D24E-4C22-96D8-B8C2489DD9C1}"/>
                  </a:ext>
                </a:extLst>
              </p:cNvPr>
              <p:cNvSpPr>
                <a:spLocks/>
              </p:cNvSpPr>
              <p:nvPr/>
            </p:nvSpPr>
            <p:spPr bwMode="gray">
              <a:xfrm>
                <a:off x="-1097" y="531"/>
                <a:ext cx="19" cy="12"/>
              </a:xfrm>
              <a:custGeom>
                <a:avLst/>
                <a:gdLst>
                  <a:gd name="T0" fmla="*/ 3 w 19"/>
                  <a:gd name="T1" fmla="*/ 12 h 12"/>
                  <a:gd name="T2" fmla="*/ 3 w 19"/>
                  <a:gd name="T3" fmla="*/ 12 h 12"/>
                  <a:gd name="T4" fmla="*/ 3 w 19"/>
                  <a:gd name="T5" fmla="*/ 12 h 12"/>
                  <a:gd name="T6" fmla="*/ 7 w 19"/>
                  <a:gd name="T7" fmla="*/ 12 h 12"/>
                  <a:gd name="T8" fmla="*/ 7 w 19"/>
                  <a:gd name="T9" fmla="*/ 10 h 12"/>
                  <a:gd name="T10" fmla="*/ 7 w 19"/>
                  <a:gd name="T11" fmla="*/ 10 h 12"/>
                  <a:gd name="T12" fmla="*/ 7 w 19"/>
                  <a:gd name="T13" fmla="*/ 10 h 12"/>
                  <a:gd name="T14" fmla="*/ 7 w 19"/>
                  <a:gd name="T15" fmla="*/ 10 h 12"/>
                  <a:gd name="T16" fmla="*/ 12 w 19"/>
                  <a:gd name="T17" fmla="*/ 12 h 12"/>
                  <a:gd name="T18" fmla="*/ 12 w 19"/>
                  <a:gd name="T19" fmla="*/ 12 h 12"/>
                  <a:gd name="T20" fmla="*/ 14 w 19"/>
                  <a:gd name="T21" fmla="*/ 10 h 12"/>
                  <a:gd name="T22" fmla="*/ 14 w 19"/>
                  <a:gd name="T23" fmla="*/ 10 h 12"/>
                  <a:gd name="T24" fmla="*/ 17 w 19"/>
                  <a:gd name="T25" fmla="*/ 10 h 12"/>
                  <a:gd name="T26" fmla="*/ 17 w 19"/>
                  <a:gd name="T27" fmla="*/ 10 h 12"/>
                  <a:gd name="T28" fmla="*/ 17 w 19"/>
                  <a:gd name="T29" fmla="*/ 10 h 12"/>
                  <a:gd name="T30" fmla="*/ 19 w 19"/>
                  <a:gd name="T31" fmla="*/ 10 h 12"/>
                  <a:gd name="T32" fmla="*/ 19 w 19"/>
                  <a:gd name="T33" fmla="*/ 8 h 12"/>
                  <a:gd name="T34" fmla="*/ 19 w 19"/>
                  <a:gd name="T35" fmla="*/ 8 h 12"/>
                  <a:gd name="T36" fmla="*/ 17 w 19"/>
                  <a:gd name="T37" fmla="*/ 3 h 12"/>
                  <a:gd name="T38" fmla="*/ 14 w 19"/>
                  <a:gd name="T39" fmla="*/ 3 h 12"/>
                  <a:gd name="T40" fmla="*/ 14 w 19"/>
                  <a:gd name="T41" fmla="*/ 3 h 12"/>
                  <a:gd name="T42" fmla="*/ 12 w 19"/>
                  <a:gd name="T43" fmla="*/ 3 h 12"/>
                  <a:gd name="T44" fmla="*/ 7 w 19"/>
                  <a:gd name="T45" fmla="*/ 0 h 12"/>
                  <a:gd name="T46" fmla="*/ 3 w 19"/>
                  <a:gd name="T47" fmla="*/ 0 h 12"/>
                  <a:gd name="T48" fmla="*/ 3 w 19"/>
                  <a:gd name="T49" fmla="*/ 0 h 12"/>
                  <a:gd name="T50" fmla="*/ 0 w 19"/>
                  <a:gd name="T51" fmla="*/ 3 h 12"/>
                  <a:gd name="T52" fmla="*/ 0 w 19"/>
                  <a:gd name="T53" fmla="*/ 3 h 12"/>
                  <a:gd name="T54" fmla="*/ 0 w 19"/>
                  <a:gd name="T55" fmla="*/ 5 h 12"/>
                  <a:gd name="T56" fmla="*/ 0 w 19"/>
                  <a:gd name="T57" fmla="*/ 5 h 12"/>
                  <a:gd name="T58" fmla="*/ 3 w 19"/>
                  <a:gd name="T5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 h="12">
                    <a:moveTo>
                      <a:pt x="3" y="12"/>
                    </a:moveTo>
                    <a:lnTo>
                      <a:pt x="3" y="12"/>
                    </a:lnTo>
                    <a:lnTo>
                      <a:pt x="3" y="12"/>
                    </a:lnTo>
                    <a:lnTo>
                      <a:pt x="7" y="12"/>
                    </a:lnTo>
                    <a:lnTo>
                      <a:pt x="7" y="10"/>
                    </a:lnTo>
                    <a:lnTo>
                      <a:pt x="7" y="10"/>
                    </a:lnTo>
                    <a:lnTo>
                      <a:pt x="7" y="10"/>
                    </a:lnTo>
                    <a:lnTo>
                      <a:pt x="7" y="10"/>
                    </a:lnTo>
                    <a:lnTo>
                      <a:pt x="12" y="12"/>
                    </a:lnTo>
                    <a:lnTo>
                      <a:pt x="12" y="12"/>
                    </a:lnTo>
                    <a:lnTo>
                      <a:pt x="14" y="10"/>
                    </a:lnTo>
                    <a:lnTo>
                      <a:pt x="14" y="10"/>
                    </a:lnTo>
                    <a:lnTo>
                      <a:pt x="17" y="10"/>
                    </a:lnTo>
                    <a:lnTo>
                      <a:pt x="17" y="10"/>
                    </a:lnTo>
                    <a:lnTo>
                      <a:pt x="17" y="10"/>
                    </a:lnTo>
                    <a:lnTo>
                      <a:pt x="19" y="10"/>
                    </a:lnTo>
                    <a:lnTo>
                      <a:pt x="19" y="8"/>
                    </a:lnTo>
                    <a:lnTo>
                      <a:pt x="19" y="8"/>
                    </a:lnTo>
                    <a:lnTo>
                      <a:pt x="17" y="3"/>
                    </a:lnTo>
                    <a:lnTo>
                      <a:pt x="14" y="3"/>
                    </a:lnTo>
                    <a:lnTo>
                      <a:pt x="14" y="3"/>
                    </a:lnTo>
                    <a:lnTo>
                      <a:pt x="12" y="3"/>
                    </a:lnTo>
                    <a:lnTo>
                      <a:pt x="7" y="0"/>
                    </a:lnTo>
                    <a:lnTo>
                      <a:pt x="3" y="0"/>
                    </a:lnTo>
                    <a:lnTo>
                      <a:pt x="3" y="0"/>
                    </a:lnTo>
                    <a:lnTo>
                      <a:pt x="0" y="3"/>
                    </a:lnTo>
                    <a:lnTo>
                      <a:pt x="0" y="3"/>
                    </a:lnTo>
                    <a:lnTo>
                      <a:pt x="0" y="5"/>
                    </a:lnTo>
                    <a:lnTo>
                      <a:pt x="0" y="5"/>
                    </a:lnTo>
                    <a:lnTo>
                      <a:pt x="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70" name="Freeform 158">
                <a:extLst>
                  <a:ext uri="{FF2B5EF4-FFF2-40B4-BE49-F238E27FC236}">
                    <a16:creationId xmlns:a16="http://schemas.microsoft.com/office/drawing/2014/main" id="{48D4F990-2E52-445B-8702-9710505B775D}"/>
                  </a:ext>
                </a:extLst>
              </p:cNvPr>
              <p:cNvSpPr>
                <a:spLocks/>
              </p:cNvSpPr>
              <p:nvPr/>
            </p:nvSpPr>
            <p:spPr bwMode="gray">
              <a:xfrm>
                <a:off x="-1000" y="456"/>
                <a:ext cx="2" cy="7"/>
              </a:xfrm>
              <a:custGeom>
                <a:avLst/>
                <a:gdLst>
                  <a:gd name="T0" fmla="*/ 2 w 2"/>
                  <a:gd name="T1" fmla="*/ 7 h 7"/>
                  <a:gd name="T2" fmla="*/ 2 w 2"/>
                  <a:gd name="T3" fmla="*/ 7 h 7"/>
                  <a:gd name="T4" fmla="*/ 2 w 2"/>
                  <a:gd name="T5" fmla="*/ 2 h 7"/>
                  <a:gd name="T6" fmla="*/ 0 w 2"/>
                  <a:gd name="T7" fmla="*/ 0 h 7"/>
                  <a:gd name="T8" fmla="*/ 0 w 2"/>
                  <a:gd name="T9" fmla="*/ 0 h 7"/>
                  <a:gd name="T10" fmla="*/ 0 w 2"/>
                  <a:gd name="T11" fmla="*/ 2 h 7"/>
                  <a:gd name="T12" fmla="*/ 0 w 2"/>
                  <a:gd name="T13" fmla="*/ 7 h 7"/>
                  <a:gd name="T14" fmla="*/ 0 w 2"/>
                  <a:gd name="T15" fmla="*/ 7 h 7"/>
                  <a:gd name="T16" fmla="*/ 2 w 2"/>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7">
                    <a:moveTo>
                      <a:pt x="2" y="7"/>
                    </a:moveTo>
                    <a:lnTo>
                      <a:pt x="2" y="7"/>
                    </a:lnTo>
                    <a:lnTo>
                      <a:pt x="2" y="2"/>
                    </a:lnTo>
                    <a:lnTo>
                      <a:pt x="0" y="0"/>
                    </a:lnTo>
                    <a:lnTo>
                      <a:pt x="0" y="0"/>
                    </a:lnTo>
                    <a:lnTo>
                      <a:pt x="0" y="2"/>
                    </a:lnTo>
                    <a:lnTo>
                      <a:pt x="0" y="7"/>
                    </a:lnTo>
                    <a:lnTo>
                      <a:pt x="0" y="7"/>
                    </a:ln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71" name="Freeform 159">
                <a:extLst>
                  <a:ext uri="{FF2B5EF4-FFF2-40B4-BE49-F238E27FC236}">
                    <a16:creationId xmlns:a16="http://schemas.microsoft.com/office/drawing/2014/main" id="{6B9A22BE-E79D-4AF9-9673-C96AADEE40BE}"/>
                  </a:ext>
                </a:extLst>
              </p:cNvPr>
              <p:cNvSpPr>
                <a:spLocks/>
              </p:cNvSpPr>
              <p:nvPr/>
            </p:nvSpPr>
            <p:spPr bwMode="gray">
              <a:xfrm>
                <a:off x="-1189" y="588"/>
                <a:ext cx="106" cy="94"/>
              </a:xfrm>
              <a:custGeom>
                <a:avLst/>
                <a:gdLst>
                  <a:gd name="T0" fmla="*/ 76 w 106"/>
                  <a:gd name="T1" fmla="*/ 2 h 94"/>
                  <a:gd name="T2" fmla="*/ 66 w 106"/>
                  <a:gd name="T3" fmla="*/ 5 h 94"/>
                  <a:gd name="T4" fmla="*/ 62 w 106"/>
                  <a:gd name="T5" fmla="*/ 5 h 94"/>
                  <a:gd name="T6" fmla="*/ 57 w 106"/>
                  <a:gd name="T7" fmla="*/ 5 h 94"/>
                  <a:gd name="T8" fmla="*/ 55 w 106"/>
                  <a:gd name="T9" fmla="*/ 0 h 94"/>
                  <a:gd name="T10" fmla="*/ 36 w 106"/>
                  <a:gd name="T11" fmla="*/ 7 h 94"/>
                  <a:gd name="T12" fmla="*/ 31 w 106"/>
                  <a:gd name="T13" fmla="*/ 19 h 94"/>
                  <a:gd name="T14" fmla="*/ 29 w 106"/>
                  <a:gd name="T15" fmla="*/ 14 h 94"/>
                  <a:gd name="T16" fmla="*/ 29 w 106"/>
                  <a:gd name="T17" fmla="*/ 12 h 94"/>
                  <a:gd name="T18" fmla="*/ 24 w 106"/>
                  <a:gd name="T19" fmla="*/ 14 h 94"/>
                  <a:gd name="T20" fmla="*/ 19 w 106"/>
                  <a:gd name="T21" fmla="*/ 19 h 94"/>
                  <a:gd name="T22" fmla="*/ 19 w 106"/>
                  <a:gd name="T23" fmla="*/ 28 h 94"/>
                  <a:gd name="T24" fmla="*/ 19 w 106"/>
                  <a:gd name="T25" fmla="*/ 28 h 94"/>
                  <a:gd name="T26" fmla="*/ 14 w 106"/>
                  <a:gd name="T27" fmla="*/ 19 h 94"/>
                  <a:gd name="T28" fmla="*/ 7 w 106"/>
                  <a:gd name="T29" fmla="*/ 17 h 94"/>
                  <a:gd name="T30" fmla="*/ 5 w 106"/>
                  <a:gd name="T31" fmla="*/ 19 h 94"/>
                  <a:gd name="T32" fmla="*/ 5 w 106"/>
                  <a:gd name="T33" fmla="*/ 21 h 94"/>
                  <a:gd name="T34" fmla="*/ 12 w 106"/>
                  <a:gd name="T35" fmla="*/ 35 h 94"/>
                  <a:gd name="T36" fmla="*/ 10 w 106"/>
                  <a:gd name="T37" fmla="*/ 38 h 94"/>
                  <a:gd name="T38" fmla="*/ 7 w 106"/>
                  <a:gd name="T39" fmla="*/ 40 h 94"/>
                  <a:gd name="T40" fmla="*/ 5 w 106"/>
                  <a:gd name="T41" fmla="*/ 42 h 94"/>
                  <a:gd name="T42" fmla="*/ 3 w 106"/>
                  <a:gd name="T43" fmla="*/ 45 h 94"/>
                  <a:gd name="T44" fmla="*/ 7 w 106"/>
                  <a:gd name="T45" fmla="*/ 52 h 94"/>
                  <a:gd name="T46" fmla="*/ 17 w 106"/>
                  <a:gd name="T47" fmla="*/ 61 h 94"/>
                  <a:gd name="T48" fmla="*/ 24 w 106"/>
                  <a:gd name="T49" fmla="*/ 68 h 94"/>
                  <a:gd name="T50" fmla="*/ 21 w 106"/>
                  <a:gd name="T51" fmla="*/ 73 h 94"/>
                  <a:gd name="T52" fmla="*/ 19 w 106"/>
                  <a:gd name="T53" fmla="*/ 73 h 94"/>
                  <a:gd name="T54" fmla="*/ 14 w 106"/>
                  <a:gd name="T55" fmla="*/ 83 h 94"/>
                  <a:gd name="T56" fmla="*/ 10 w 106"/>
                  <a:gd name="T57" fmla="*/ 87 h 94"/>
                  <a:gd name="T58" fmla="*/ 10 w 106"/>
                  <a:gd name="T59" fmla="*/ 87 h 94"/>
                  <a:gd name="T60" fmla="*/ 12 w 106"/>
                  <a:gd name="T61" fmla="*/ 92 h 94"/>
                  <a:gd name="T62" fmla="*/ 26 w 106"/>
                  <a:gd name="T63" fmla="*/ 85 h 94"/>
                  <a:gd name="T64" fmla="*/ 29 w 106"/>
                  <a:gd name="T65" fmla="*/ 78 h 94"/>
                  <a:gd name="T66" fmla="*/ 31 w 106"/>
                  <a:gd name="T67" fmla="*/ 66 h 94"/>
                  <a:gd name="T68" fmla="*/ 33 w 106"/>
                  <a:gd name="T69" fmla="*/ 59 h 94"/>
                  <a:gd name="T70" fmla="*/ 40 w 106"/>
                  <a:gd name="T71" fmla="*/ 54 h 94"/>
                  <a:gd name="T72" fmla="*/ 43 w 106"/>
                  <a:gd name="T73" fmla="*/ 54 h 94"/>
                  <a:gd name="T74" fmla="*/ 47 w 106"/>
                  <a:gd name="T75" fmla="*/ 52 h 94"/>
                  <a:gd name="T76" fmla="*/ 47 w 106"/>
                  <a:gd name="T77" fmla="*/ 54 h 94"/>
                  <a:gd name="T78" fmla="*/ 50 w 106"/>
                  <a:gd name="T79" fmla="*/ 54 h 94"/>
                  <a:gd name="T80" fmla="*/ 52 w 106"/>
                  <a:gd name="T81" fmla="*/ 52 h 94"/>
                  <a:gd name="T82" fmla="*/ 57 w 106"/>
                  <a:gd name="T83" fmla="*/ 52 h 94"/>
                  <a:gd name="T84" fmla="*/ 64 w 106"/>
                  <a:gd name="T85" fmla="*/ 54 h 94"/>
                  <a:gd name="T86" fmla="*/ 66 w 106"/>
                  <a:gd name="T87" fmla="*/ 47 h 94"/>
                  <a:gd name="T88" fmla="*/ 73 w 106"/>
                  <a:gd name="T89" fmla="*/ 45 h 94"/>
                  <a:gd name="T90" fmla="*/ 80 w 106"/>
                  <a:gd name="T91" fmla="*/ 38 h 94"/>
                  <a:gd name="T92" fmla="*/ 85 w 106"/>
                  <a:gd name="T93" fmla="*/ 35 h 94"/>
                  <a:gd name="T94" fmla="*/ 90 w 106"/>
                  <a:gd name="T95" fmla="*/ 31 h 94"/>
                  <a:gd name="T96" fmla="*/ 90 w 106"/>
                  <a:gd name="T97" fmla="*/ 28 h 94"/>
                  <a:gd name="T98" fmla="*/ 92 w 106"/>
                  <a:gd name="T99" fmla="*/ 26 h 94"/>
                  <a:gd name="T100" fmla="*/ 95 w 106"/>
                  <a:gd name="T101" fmla="*/ 24 h 94"/>
                  <a:gd name="T102" fmla="*/ 95 w 106"/>
                  <a:gd name="T103" fmla="*/ 21 h 94"/>
                  <a:gd name="T104" fmla="*/ 97 w 106"/>
                  <a:gd name="T105" fmla="*/ 24 h 94"/>
                  <a:gd name="T106" fmla="*/ 102 w 106"/>
                  <a:gd name="T107" fmla="*/ 26 h 94"/>
                  <a:gd name="T108" fmla="*/ 102 w 106"/>
                  <a:gd name="T109" fmla="*/ 24 h 94"/>
                  <a:gd name="T110" fmla="*/ 104 w 106"/>
                  <a:gd name="T111" fmla="*/ 19 h 94"/>
                  <a:gd name="T112" fmla="*/ 95 w 106"/>
                  <a:gd name="T113" fmla="*/ 14 h 94"/>
                  <a:gd name="T114" fmla="*/ 90 w 106"/>
                  <a:gd name="T115"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6" h="94">
                    <a:moveTo>
                      <a:pt x="83" y="5"/>
                    </a:moveTo>
                    <a:lnTo>
                      <a:pt x="78" y="2"/>
                    </a:lnTo>
                    <a:lnTo>
                      <a:pt x="78" y="2"/>
                    </a:lnTo>
                    <a:lnTo>
                      <a:pt x="76" y="2"/>
                    </a:lnTo>
                    <a:lnTo>
                      <a:pt x="73" y="2"/>
                    </a:lnTo>
                    <a:lnTo>
                      <a:pt x="71" y="2"/>
                    </a:lnTo>
                    <a:lnTo>
                      <a:pt x="69" y="2"/>
                    </a:lnTo>
                    <a:lnTo>
                      <a:pt x="66" y="5"/>
                    </a:lnTo>
                    <a:lnTo>
                      <a:pt x="64" y="5"/>
                    </a:lnTo>
                    <a:lnTo>
                      <a:pt x="64" y="5"/>
                    </a:lnTo>
                    <a:lnTo>
                      <a:pt x="62" y="5"/>
                    </a:lnTo>
                    <a:lnTo>
                      <a:pt x="62" y="5"/>
                    </a:lnTo>
                    <a:lnTo>
                      <a:pt x="62" y="5"/>
                    </a:lnTo>
                    <a:lnTo>
                      <a:pt x="59" y="5"/>
                    </a:lnTo>
                    <a:lnTo>
                      <a:pt x="59" y="7"/>
                    </a:lnTo>
                    <a:lnTo>
                      <a:pt x="57" y="5"/>
                    </a:lnTo>
                    <a:lnTo>
                      <a:pt x="57" y="5"/>
                    </a:lnTo>
                    <a:lnTo>
                      <a:pt x="57" y="5"/>
                    </a:lnTo>
                    <a:lnTo>
                      <a:pt x="57" y="5"/>
                    </a:lnTo>
                    <a:lnTo>
                      <a:pt x="55" y="0"/>
                    </a:lnTo>
                    <a:lnTo>
                      <a:pt x="55" y="0"/>
                    </a:lnTo>
                    <a:lnTo>
                      <a:pt x="52" y="0"/>
                    </a:lnTo>
                    <a:lnTo>
                      <a:pt x="45" y="5"/>
                    </a:lnTo>
                    <a:lnTo>
                      <a:pt x="36" y="7"/>
                    </a:lnTo>
                    <a:lnTo>
                      <a:pt x="33" y="9"/>
                    </a:lnTo>
                    <a:lnTo>
                      <a:pt x="33" y="12"/>
                    </a:lnTo>
                    <a:lnTo>
                      <a:pt x="33" y="14"/>
                    </a:lnTo>
                    <a:lnTo>
                      <a:pt x="31" y="19"/>
                    </a:lnTo>
                    <a:lnTo>
                      <a:pt x="31" y="17"/>
                    </a:lnTo>
                    <a:lnTo>
                      <a:pt x="29" y="17"/>
                    </a:lnTo>
                    <a:lnTo>
                      <a:pt x="29" y="17"/>
                    </a:lnTo>
                    <a:lnTo>
                      <a:pt x="29" y="14"/>
                    </a:lnTo>
                    <a:lnTo>
                      <a:pt x="29" y="14"/>
                    </a:lnTo>
                    <a:lnTo>
                      <a:pt x="29" y="12"/>
                    </a:lnTo>
                    <a:lnTo>
                      <a:pt x="29" y="12"/>
                    </a:lnTo>
                    <a:lnTo>
                      <a:pt x="29" y="12"/>
                    </a:lnTo>
                    <a:lnTo>
                      <a:pt x="26" y="12"/>
                    </a:lnTo>
                    <a:lnTo>
                      <a:pt x="26" y="12"/>
                    </a:lnTo>
                    <a:lnTo>
                      <a:pt x="26" y="14"/>
                    </a:lnTo>
                    <a:lnTo>
                      <a:pt x="24" y="14"/>
                    </a:lnTo>
                    <a:lnTo>
                      <a:pt x="24" y="17"/>
                    </a:lnTo>
                    <a:lnTo>
                      <a:pt x="21" y="17"/>
                    </a:lnTo>
                    <a:lnTo>
                      <a:pt x="21" y="19"/>
                    </a:lnTo>
                    <a:lnTo>
                      <a:pt x="19" y="19"/>
                    </a:lnTo>
                    <a:lnTo>
                      <a:pt x="19" y="21"/>
                    </a:lnTo>
                    <a:lnTo>
                      <a:pt x="19" y="26"/>
                    </a:lnTo>
                    <a:lnTo>
                      <a:pt x="19" y="26"/>
                    </a:lnTo>
                    <a:lnTo>
                      <a:pt x="19" y="28"/>
                    </a:lnTo>
                    <a:lnTo>
                      <a:pt x="19" y="28"/>
                    </a:lnTo>
                    <a:lnTo>
                      <a:pt x="19" y="28"/>
                    </a:lnTo>
                    <a:lnTo>
                      <a:pt x="19" y="28"/>
                    </a:lnTo>
                    <a:lnTo>
                      <a:pt x="19" y="28"/>
                    </a:lnTo>
                    <a:lnTo>
                      <a:pt x="17" y="26"/>
                    </a:lnTo>
                    <a:lnTo>
                      <a:pt x="17" y="26"/>
                    </a:lnTo>
                    <a:lnTo>
                      <a:pt x="17" y="24"/>
                    </a:lnTo>
                    <a:lnTo>
                      <a:pt x="14" y="19"/>
                    </a:lnTo>
                    <a:lnTo>
                      <a:pt x="12" y="17"/>
                    </a:lnTo>
                    <a:lnTo>
                      <a:pt x="10" y="17"/>
                    </a:lnTo>
                    <a:lnTo>
                      <a:pt x="7" y="17"/>
                    </a:lnTo>
                    <a:lnTo>
                      <a:pt x="7" y="17"/>
                    </a:lnTo>
                    <a:lnTo>
                      <a:pt x="7" y="17"/>
                    </a:lnTo>
                    <a:lnTo>
                      <a:pt x="7" y="19"/>
                    </a:lnTo>
                    <a:lnTo>
                      <a:pt x="5" y="19"/>
                    </a:lnTo>
                    <a:lnTo>
                      <a:pt x="5" y="19"/>
                    </a:lnTo>
                    <a:lnTo>
                      <a:pt x="0" y="17"/>
                    </a:lnTo>
                    <a:lnTo>
                      <a:pt x="3" y="19"/>
                    </a:lnTo>
                    <a:lnTo>
                      <a:pt x="5" y="21"/>
                    </a:lnTo>
                    <a:lnTo>
                      <a:pt x="5" y="21"/>
                    </a:lnTo>
                    <a:lnTo>
                      <a:pt x="7" y="26"/>
                    </a:lnTo>
                    <a:lnTo>
                      <a:pt x="10" y="26"/>
                    </a:lnTo>
                    <a:lnTo>
                      <a:pt x="12" y="33"/>
                    </a:lnTo>
                    <a:lnTo>
                      <a:pt x="12" y="35"/>
                    </a:lnTo>
                    <a:lnTo>
                      <a:pt x="14" y="38"/>
                    </a:lnTo>
                    <a:lnTo>
                      <a:pt x="12" y="38"/>
                    </a:lnTo>
                    <a:lnTo>
                      <a:pt x="10" y="38"/>
                    </a:lnTo>
                    <a:lnTo>
                      <a:pt x="10" y="38"/>
                    </a:lnTo>
                    <a:lnTo>
                      <a:pt x="10" y="40"/>
                    </a:lnTo>
                    <a:lnTo>
                      <a:pt x="10" y="42"/>
                    </a:lnTo>
                    <a:lnTo>
                      <a:pt x="7" y="40"/>
                    </a:lnTo>
                    <a:lnTo>
                      <a:pt x="7" y="40"/>
                    </a:lnTo>
                    <a:lnTo>
                      <a:pt x="5" y="38"/>
                    </a:lnTo>
                    <a:lnTo>
                      <a:pt x="5" y="38"/>
                    </a:lnTo>
                    <a:lnTo>
                      <a:pt x="5" y="40"/>
                    </a:lnTo>
                    <a:lnTo>
                      <a:pt x="5" y="42"/>
                    </a:lnTo>
                    <a:lnTo>
                      <a:pt x="7" y="45"/>
                    </a:lnTo>
                    <a:lnTo>
                      <a:pt x="3" y="45"/>
                    </a:lnTo>
                    <a:lnTo>
                      <a:pt x="3" y="45"/>
                    </a:lnTo>
                    <a:lnTo>
                      <a:pt x="3" y="45"/>
                    </a:lnTo>
                    <a:lnTo>
                      <a:pt x="3" y="47"/>
                    </a:lnTo>
                    <a:lnTo>
                      <a:pt x="3" y="50"/>
                    </a:lnTo>
                    <a:lnTo>
                      <a:pt x="5" y="52"/>
                    </a:lnTo>
                    <a:lnTo>
                      <a:pt x="7" y="52"/>
                    </a:lnTo>
                    <a:lnTo>
                      <a:pt x="12" y="52"/>
                    </a:lnTo>
                    <a:lnTo>
                      <a:pt x="14" y="54"/>
                    </a:lnTo>
                    <a:lnTo>
                      <a:pt x="17" y="59"/>
                    </a:lnTo>
                    <a:lnTo>
                      <a:pt x="17" y="61"/>
                    </a:lnTo>
                    <a:lnTo>
                      <a:pt x="24" y="61"/>
                    </a:lnTo>
                    <a:lnTo>
                      <a:pt x="26" y="64"/>
                    </a:lnTo>
                    <a:lnTo>
                      <a:pt x="26" y="66"/>
                    </a:lnTo>
                    <a:lnTo>
                      <a:pt x="24" y="68"/>
                    </a:lnTo>
                    <a:lnTo>
                      <a:pt x="24" y="71"/>
                    </a:lnTo>
                    <a:lnTo>
                      <a:pt x="24" y="73"/>
                    </a:lnTo>
                    <a:lnTo>
                      <a:pt x="24" y="73"/>
                    </a:lnTo>
                    <a:lnTo>
                      <a:pt x="21" y="73"/>
                    </a:lnTo>
                    <a:lnTo>
                      <a:pt x="21" y="73"/>
                    </a:lnTo>
                    <a:lnTo>
                      <a:pt x="21" y="73"/>
                    </a:lnTo>
                    <a:lnTo>
                      <a:pt x="19" y="73"/>
                    </a:lnTo>
                    <a:lnTo>
                      <a:pt x="19" y="73"/>
                    </a:lnTo>
                    <a:lnTo>
                      <a:pt x="19" y="75"/>
                    </a:lnTo>
                    <a:lnTo>
                      <a:pt x="17" y="78"/>
                    </a:lnTo>
                    <a:lnTo>
                      <a:pt x="14" y="80"/>
                    </a:lnTo>
                    <a:lnTo>
                      <a:pt x="14" y="83"/>
                    </a:lnTo>
                    <a:lnTo>
                      <a:pt x="12" y="85"/>
                    </a:lnTo>
                    <a:lnTo>
                      <a:pt x="12" y="87"/>
                    </a:lnTo>
                    <a:lnTo>
                      <a:pt x="12" y="87"/>
                    </a:lnTo>
                    <a:lnTo>
                      <a:pt x="10" y="87"/>
                    </a:lnTo>
                    <a:lnTo>
                      <a:pt x="10" y="87"/>
                    </a:lnTo>
                    <a:lnTo>
                      <a:pt x="10" y="87"/>
                    </a:lnTo>
                    <a:lnTo>
                      <a:pt x="10" y="87"/>
                    </a:lnTo>
                    <a:lnTo>
                      <a:pt x="10" y="87"/>
                    </a:lnTo>
                    <a:lnTo>
                      <a:pt x="12" y="90"/>
                    </a:lnTo>
                    <a:lnTo>
                      <a:pt x="12" y="90"/>
                    </a:lnTo>
                    <a:lnTo>
                      <a:pt x="12" y="92"/>
                    </a:lnTo>
                    <a:lnTo>
                      <a:pt x="12" y="92"/>
                    </a:lnTo>
                    <a:lnTo>
                      <a:pt x="14" y="94"/>
                    </a:lnTo>
                    <a:lnTo>
                      <a:pt x="17" y="94"/>
                    </a:lnTo>
                    <a:lnTo>
                      <a:pt x="26" y="87"/>
                    </a:lnTo>
                    <a:lnTo>
                      <a:pt x="26" y="85"/>
                    </a:lnTo>
                    <a:lnTo>
                      <a:pt x="26" y="83"/>
                    </a:lnTo>
                    <a:lnTo>
                      <a:pt x="26" y="80"/>
                    </a:lnTo>
                    <a:lnTo>
                      <a:pt x="29" y="80"/>
                    </a:lnTo>
                    <a:lnTo>
                      <a:pt x="29" y="78"/>
                    </a:lnTo>
                    <a:lnTo>
                      <a:pt x="29" y="78"/>
                    </a:lnTo>
                    <a:lnTo>
                      <a:pt x="31" y="73"/>
                    </a:lnTo>
                    <a:lnTo>
                      <a:pt x="31" y="68"/>
                    </a:lnTo>
                    <a:lnTo>
                      <a:pt x="31" y="66"/>
                    </a:lnTo>
                    <a:lnTo>
                      <a:pt x="31" y="61"/>
                    </a:lnTo>
                    <a:lnTo>
                      <a:pt x="31" y="61"/>
                    </a:lnTo>
                    <a:lnTo>
                      <a:pt x="33" y="59"/>
                    </a:lnTo>
                    <a:lnTo>
                      <a:pt x="33" y="59"/>
                    </a:lnTo>
                    <a:lnTo>
                      <a:pt x="36" y="57"/>
                    </a:lnTo>
                    <a:lnTo>
                      <a:pt x="38" y="57"/>
                    </a:lnTo>
                    <a:lnTo>
                      <a:pt x="38" y="54"/>
                    </a:lnTo>
                    <a:lnTo>
                      <a:pt x="40" y="54"/>
                    </a:lnTo>
                    <a:lnTo>
                      <a:pt x="40" y="54"/>
                    </a:lnTo>
                    <a:lnTo>
                      <a:pt x="40" y="54"/>
                    </a:lnTo>
                    <a:lnTo>
                      <a:pt x="43" y="54"/>
                    </a:lnTo>
                    <a:lnTo>
                      <a:pt x="43" y="54"/>
                    </a:lnTo>
                    <a:lnTo>
                      <a:pt x="43" y="54"/>
                    </a:lnTo>
                    <a:lnTo>
                      <a:pt x="45" y="54"/>
                    </a:lnTo>
                    <a:lnTo>
                      <a:pt x="45" y="52"/>
                    </a:lnTo>
                    <a:lnTo>
                      <a:pt x="47" y="52"/>
                    </a:lnTo>
                    <a:lnTo>
                      <a:pt x="47" y="52"/>
                    </a:lnTo>
                    <a:lnTo>
                      <a:pt x="47" y="52"/>
                    </a:lnTo>
                    <a:lnTo>
                      <a:pt x="47" y="54"/>
                    </a:lnTo>
                    <a:lnTo>
                      <a:pt x="47" y="54"/>
                    </a:lnTo>
                    <a:lnTo>
                      <a:pt x="47" y="54"/>
                    </a:lnTo>
                    <a:lnTo>
                      <a:pt x="47" y="54"/>
                    </a:lnTo>
                    <a:lnTo>
                      <a:pt x="50" y="54"/>
                    </a:lnTo>
                    <a:lnTo>
                      <a:pt x="50" y="54"/>
                    </a:lnTo>
                    <a:lnTo>
                      <a:pt x="50" y="52"/>
                    </a:lnTo>
                    <a:lnTo>
                      <a:pt x="50" y="52"/>
                    </a:lnTo>
                    <a:lnTo>
                      <a:pt x="52" y="52"/>
                    </a:lnTo>
                    <a:lnTo>
                      <a:pt x="52" y="52"/>
                    </a:lnTo>
                    <a:lnTo>
                      <a:pt x="55" y="52"/>
                    </a:lnTo>
                    <a:lnTo>
                      <a:pt x="55" y="52"/>
                    </a:lnTo>
                    <a:lnTo>
                      <a:pt x="55" y="52"/>
                    </a:lnTo>
                    <a:lnTo>
                      <a:pt x="57" y="52"/>
                    </a:lnTo>
                    <a:lnTo>
                      <a:pt x="57" y="52"/>
                    </a:lnTo>
                    <a:lnTo>
                      <a:pt x="59" y="52"/>
                    </a:lnTo>
                    <a:lnTo>
                      <a:pt x="59" y="54"/>
                    </a:lnTo>
                    <a:lnTo>
                      <a:pt x="64" y="54"/>
                    </a:lnTo>
                    <a:lnTo>
                      <a:pt x="66" y="52"/>
                    </a:lnTo>
                    <a:lnTo>
                      <a:pt x="62" y="50"/>
                    </a:lnTo>
                    <a:lnTo>
                      <a:pt x="64" y="50"/>
                    </a:lnTo>
                    <a:lnTo>
                      <a:pt x="66" y="47"/>
                    </a:lnTo>
                    <a:lnTo>
                      <a:pt x="69" y="50"/>
                    </a:lnTo>
                    <a:lnTo>
                      <a:pt x="71" y="47"/>
                    </a:lnTo>
                    <a:lnTo>
                      <a:pt x="71" y="47"/>
                    </a:lnTo>
                    <a:lnTo>
                      <a:pt x="73" y="45"/>
                    </a:lnTo>
                    <a:lnTo>
                      <a:pt x="73" y="45"/>
                    </a:lnTo>
                    <a:lnTo>
                      <a:pt x="76" y="45"/>
                    </a:lnTo>
                    <a:lnTo>
                      <a:pt x="76" y="42"/>
                    </a:lnTo>
                    <a:lnTo>
                      <a:pt x="80" y="38"/>
                    </a:lnTo>
                    <a:lnTo>
                      <a:pt x="80" y="35"/>
                    </a:lnTo>
                    <a:lnTo>
                      <a:pt x="80" y="33"/>
                    </a:lnTo>
                    <a:lnTo>
                      <a:pt x="83" y="33"/>
                    </a:lnTo>
                    <a:lnTo>
                      <a:pt x="85" y="35"/>
                    </a:lnTo>
                    <a:lnTo>
                      <a:pt x="85" y="35"/>
                    </a:lnTo>
                    <a:lnTo>
                      <a:pt x="88" y="33"/>
                    </a:lnTo>
                    <a:lnTo>
                      <a:pt x="90" y="31"/>
                    </a:lnTo>
                    <a:lnTo>
                      <a:pt x="90" y="31"/>
                    </a:lnTo>
                    <a:lnTo>
                      <a:pt x="90" y="31"/>
                    </a:lnTo>
                    <a:lnTo>
                      <a:pt x="90" y="31"/>
                    </a:lnTo>
                    <a:lnTo>
                      <a:pt x="90" y="28"/>
                    </a:lnTo>
                    <a:lnTo>
                      <a:pt x="90" y="28"/>
                    </a:lnTo>
                    <a:lnTo>
                      <a:pt x="90" y="26"/>
                    </a:lnTo>
                    <a:lnTo>
                      <a:pt x="90" y="28"/>
                    </a:lnTo>
                    <a:lnTo>
                      <a:pt x="92" y="28"/>
                    </a:lnTo>
                    <a:lnTo>
                      <a:pt x="92" y="26"/>
                    </a:lnTo>
                    <a:lnTo>
                      <a:pt x="92" y="26"/>
                    </a:lnTo>
                    <a:lnTo>
                      <a:pt x="92" y="26"/>
                    </a:lnTo>
                    <a:lnTo>
                      <a:pt x="92" y="24"/>
                    </a:lnTo>
                    <a:lnTo>
                      <a:pt x="95" y="24"/>
                    </a:lnTo>
                    <a:lnTo>
                      <a:pt x="95" y="21"/>
                    </a:lnTo>
                    <a:lnTo>
                      <a:pt x="95" y="21"/>
                    </a:lnTo>
                    <a:lnTo>
                      <a:pt x="95" y="21"/>
                    </a:lnTo>
                    <a:lnTo>
                      <a:pt x="95" y="21"/>
                    </a:lnTo>
                    <a:lnTo>
                      <a:pt x="97" y="21"/>
                    </a:lnTo>
                    <a:lnTo>
                      <a:pt x="97" y="21"/>
                    </a:lnTo>
                    <a:lnTo>
                      <a:pt x="97" y="24"/>
                    </a:lnTo>
                    <a:lnTo>
                      <a:pt x="97" y="24"/>
                    </a:lnTo>
                    <a:lnTo>
                      <a:pt x="99" y="26"/>
                    </a:lnTo>
                    <a:lnTo>
                      <a:pt x="99" y="26"/>
                    </a:lnTo>
                    <a:lnTo>
                      <a:pt x="104" y="26"/>
                    </a:lnTo>
                    <a:lnTo>
                      <a:pt x="102" y="26"/>
                    </a:lnTo>
                    <a:lnTo>
                      <a:pt x="102" y="24"/>
                    </a:lnTo>
                    <a:lnTo>
                      <a:pt x="102" y="24"/>
                    </a:lnTo>
                    <a:lnTo>
                      <a:pt x="99" y="24"/>
                    </a:lnTo>
                    <a:lnTo>
                      <a:pt x="102" y="24"/>
                    </a:lnTo>
                    <a:lnTo>
                      <a:pt x="106" y="26"/>
                    </a:lnTo>
                    <a:lnTo>
                      <a:pt x="106" y="24"/>
                    </a:lnTo>
                    <a:lnTo>
                      <a:pt x="106" y="21"/>
                    </a:lnTo>
                    <a:lnTo>
                      <a:pt x="104" y="19"/>
                    </a:lnTo>
                    <a:lnTo>
                      <a:pt x="102" y="19"/>
                    </a:lnTo>
                    <a:lnTo>
                      <a:pt x="99" y="17"/>
                    </a:lnTo>
                    <a:lnTo>
                      <a:pt x="97" y="17"/>
                    </a:lnTo>
                    <a:lnTo>
                      <a:pt x="95" y="14"/>
                    </a:lnTo>
                    <a:lnTo>
                      <a:pt x="92" y="14"/>
                    </a:lnTo>
                    <a:lnTo>
                      <a:pt x="92" y="14"/>
                    </a:lnTo>
                    <a:lnTo>
                      <a:pt x="92" y="9"/>
                    </a:lnTo>
                    <a:lnTo>
                      <a:pt x="90" y="9"/>
                    </a:lnTo>
                    <a:lnTo>
                      <a:pt x="85" y="7"/>
                    </a:lnTo>
                    <a:lnTo>
                      <a:pt x="8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72" name="Freeform 160">
                <a:extLst>
                  <a:ext uri="{FF2B5EF4-FFF2-40B4-BE49-F238E27FC236}">
                    <a16:creationId xmlns:a16="http://schemas.microsoft.com/office/drawing/2014/main" id="{B0F08348-56CA-47D5-8B85-22E4236DB5C7}"/>
                  </a:ext>
                </a:extLst>
              </p:cNvPr>
              <p:cNvSpPr>
                <a:spLocks/>
              </p:cNvSpPr>
              <p:nvPr/>
            </p:nvSpPr>
            <p:spPr bwMode="gray">
              <a:xfrm>
                <a:off x="-1090" y="694"/>
                <a:ext cx="3" cy="7"/>
              </a:xfrm>
              <a:custGeom>
                <a:avLst/>
                <a:gdLst>
                  <a:gd name="T0" fmla="*/ 0 w 3"/>
                  <a:gd name="T1" fmla="*/ 2 h 7"/>
                  <a:gd name="T2" fmla="*/ 0 w 3"/>
                  <a:gd name="T3" fmla="*/ 0 h 7"/>
                  <a:gd name="T4" fmla="*/ 0 w 3"/>
                  <a:gd name="T5" fmla="*/ 2 h 7"/>
                  <a:gd name="T6" fmla="*/ 0 w 3"/>
                  <a:gd name="T7" fmla="*/ 2 h 7"/>
                  <a:gd name="T8" fmla="*/ 0 w 3"/>
                  <a:gd name="T9" fmla="*/ 5 h 7"/>
                  <a:gd name="T10" fmla="*/ 0 w 3"/>
                  <a:gd name="T11" fmla="*/ 5 h 7"/>
                  <a:gd name="T12" fmla="*/ 3 w 3"/>
                  <a:gd name="T13" fmla="*/ 7 h 7"/>
                  <a:gd name="T14" fmla="*/ 3 w 3"/>
                  <a:gd name="T15" fmla="*/ 7 h 7"/>
                  <a:gd name="T16" fmla="*/ 3 w 3"/>
                  <a:gd name="T17" fmla="*/ 5 h 7"/>
                  <a:gd name="T18" fmla="*/ 3 w 3"/>
                  <a:gd name="T19" fmla="*/ 2 h 7"/>
                  <a:gd name="T20" fmla="*/ 3 w 3"/>
                  <a:gd name="T21" fmla="*/ 2 h 7"/>
                  <a:gd name="T22" fmla="*/ 0 w 3"/>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7">
                    <a:moveTo>
                      <a:pt x="0" y="2"/>
                    </a:moveTo>
                    <a:lnTo>
                      <a:pt x="0" y="0"/>
                    </a:lnTo>
                    <a:lnTo>
                      <a:pt x="0" y="2"/>
                    </a:lnTo>
                    <a:lnTo>
                      <a:pt x="0" y="2"/>
                    </a:lnTo>
                    <a:lnTo>
                      <a:pt x="0" y="5"/>
                    </a:lnTo>
                    <a:lnTo>
                      <a:pt x="0" y="5"/>
                    </a:lnTo>
                    <a:lnTo>
                      <a:pt x="3" y="7"/>
                    </a:lnTo>
                    <a:lnTo>
                      <a:pt x="3" y="7"/>
                    </a:lnTo>
                    <a:lnTo>
                      <a:pt x="3" y="5"/>
                    </a:lnTo>
                    <a:lnTo>
                      <a:pt x="3" y="2"/>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73" name="Freeform 161">
                <a:extLst>
                  <a:ext uri="{FF2B5EF4-FFF2-40B4-BE49-F238E27FC236}">
                    <a16:creationId xmlns:a16="http://schemas.microsoft.com/office/drawing/2014/main" id="{21B5D44A-D05D-4B9F-B130-C488218CA71F}"/>
                  </a:ext>
                </a:extLst>
              </p:cNvPr>
              <p:cNvSpPr>
                <a:spLocks/>
              </p:cNvSpPr>
              <p:nvPr/>
            </p:nvSpPr>
            <p:spPr bwMode="gray">
              <a:xfrm>
                <a:off x="-1040" y="652"/>
                <a:ext cx="7" cy="7"/>
              </a:xfrm>
              <a:custGeom>
                <a:avLst/>
                <a:gdLst>
                  <a:gd name="T0" fmla="*/ 5 w 7"/>
                  <a:gd name="T1" fmla="*/ 7 h 7"/>
                  <a:gd name="T2" fmla="*/ 7 w 7"/>
                  <a:gd name="T3" fmla="*/ 2 h 7"/>
                  <a:gd name="T4" fmla="*/ 5 w 7"/>
                  <a:gd name="T5" fmla="*/ 0 h 7"/>
                  <a:gd name="T6" fmla="*/ 5 w 7"/>
                  <a:gd name="T7" fmla="*/ 0 h 7"/>
                  <a:gd name="T8" fmla="*/ 2 w 7"/>
                  <a:gd name="T9" fmla="*/ 0 h 7"/>
                  <a:gd name="T10" fmla="*/ 0 w 7"/>
                  <a:gd name="T11" fmla="*/ 2 h 7"/>
                  <a:gd name="T12" fmla="*/ 0 w 7"/>
                  <a:gd name="T13" fmla="*/ 4 h 7"/>
                  <a:gd name="T14" fmla="*/ 2 w 7"/>
                  <a:gd name="T15" fmla="*/ 7 h 7"/>
                  <a:gd name="T16" fmla="*/ 5 w 7"/>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5" y="7"/>
                    </a:moveTo>
                    <a:lnTo>
                      <a:pt x="7" y="2"/>
                    </a:lnTo>
                    <a:lnTo>
                      <a:pt x="5" y="0"/>
                    </a:lnTo>
                    <a:lnTo>
                      <a:pt x="5" y="0"/>
                    </a:lnTo>
                    <a:lnTo>
                      <a:pt x="2" y="0"/>
                    </a:lnTo>
                    <a:lnTo>
                      <a:pt x="0" y="2"/>
                    </a:lnTo>
                    <a:lnTo>
                      <a:pt x="0" y="4"/>
                    </a:lnTo>
                    <a:lnTo>
                      <a:pt x="2" y="7"/>
                    </a:ln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74" name="Freeform 162">
                <a:extLst>
                  <a:ext uri="{FF2B5EF4-FFF2-40B4-BE49-F238E27FC236}">
                    <a16:creationId xmlns:a16="http://schemas.microsoft.com/office/drawing/2014/main" id="{800C2D9F-3B49-4D46-BA96-FCB77B41C92B}"/>
                  </a:ext>
                </a:extLst>
              </p:cNvPr>
              <p:cNvSpPr>
                <a:spLocks/>
              </p:cNvSpPr>
              <p:nvPr/>
            </p:nvSpPr>
            <p:spPr bwMode="gray">
              <a:xfrm>
                <a:off x="-1958" y="760"/>
                <a:ext cx="24" cy="17"/>
              </a:xfrm>
              <a:custGeom>
                <a:avLst/>
                <a:gdLst>
                  <a:gd name="T0" fmla="*/ 2 w 24"/>
                  <a:gd name="T1" fmla="*/ 9 h 17"/>
                  <a:gd name="T2" fmla="*/ 2 w 24"/>
                  <a:gd name="T3" fmla="*/ 12 h 17"/>
                  <a:gd name="T4" fmla="*/ 5 w 24"/>
                  <a:gd name="T5" fmla="*/ 12 h 17"/>
                  <a:gd name="T6" fmla="*/ 7 w 24"/>
                  <a:gd name="T7" fmla="*/ 14 h 17"/>
                  <a:gd name="T8" fmla="*/ 9 w 24"/>
                  <a:gd name="T9" fmla="*/ 17 h 17"/>
                  <a:gd name="T10" fmla="*/ 12 w 24"/>
                  <a:gd name="T11" fmla="*/ 17 h 17"/>
                  <a:gd name="T12" fmla="*/ 12 w 24"/>
                  <a:gd name="T13" fmla="*/ 14 h 17"/>
                  <a:gd name="T14" fmla="*/ 12 w 24"/>
                  <a:gd name="T15" fmla="*/ 12 h 17"/>
                  <a:gd name="T16" fmla="*/ 14 w 24"/>
                  <a:gd name="T17" fmla="*/ 12 h 17"/>
                  <a:gd name="T18" fmla="*/ 17 w 24"/>
                  <a:gd name="T19" fmla="*/ 9 h 17"/>
                  <a:gd name="T20" fmla="*/ 17 w 24"/>
                  <a:gd name="T21" fmla="*/ 7 h 17"/>
                  <a:gd name="T22" fmla="*/ 14 w 24"/>
                  <a:gd name="T23" fmla="*/ 5 h 17"/>
                  <a:gd name="T24" fmla="*/ 14 w 24"/>
                  <a:gd name="T25" fmla="*/ 5 h 17"/>
                  <a:gd name="T26" fmla="*/ 19 w 24"/>
                  <a:gd name="T27" fmla="*/ 2 h 17"/>
                  <a:gd name="T28" fmla="*/ 21 w 24"/>
                  <a:gd name="T29" fmla="*/ 2 h 17"/>
                  <a:gd name="T30" fmla="*/ 24 w 24"/>
                  <a:gd name="T31" fmla="*/ 5 h 17"/>
                  <a:gd name="T32" fmla="*/ 24 w 24"/>
                  <a:gd name="T33" fmla="*/ 2 h 17"/>
                  <a:gd name="T34" fmla="*/ 24 w 24"/>
                  <a:gd name="T35" fmla="*/ 0 h 17"/>
                  <a:gd name="T36" fmla="*/ 24 w 24"/>
                  <a:gd name="T37" fmla="*/ 0 h 17"/>
                  <a:gd name="T38" fmla="*/ 21 w 24"/>
                  <a:gd name="T39" fmla="*/ 0 h 17"/>
                  <a:gd name="T40" fmla="*/ 21 w 24"/>
                  <a:gd name="T41" fmla="*/ 0 h 17"/>
                  <a:gd name="T42" fmla="*/ 19 w 24"/>
                  <a:gd name="T43" fmla="*/ 0 h 17"/>
                  <a:gd name="T44" fmla="*/ 17 w 24"/>
                  <a:gd name="T45" fmla="*/ 0 h 17"/>
                  <a:gd name="T46" fmla="*/ 12 w 24"/>
                  <a:gd name="T47" fmla="*/ 0 h 17"/>
                  <a:gd name="T48" fmla="*/ 9 w 24"/>
                  <a:gd name="T49" fmla="*/ 2 h 17"/>
                  <a:gd name="T50" fmla="*/ 9 w 24"/>
                  <a:gd name="T51" fmla="*/ 2 h 17"/>
                  <a:gd name="T52" fmla="*/ 5 w 24"/>
                  <a:gd name="T53" fmla="*/ 2 h 17"/>
                  <a:gd name="T54" fmla="*/ 5 w 24"/>
                  <a:gd name="T55" fmla="*/ 5 h 17"/>
                  <a:gd name="T56" fmla="*/ 2 w 24"/>
                  <a:gd name="T57" fmla="*/ 5 h 17"/>
                  <a:gd name="T58" fmla="*/ 0 w 24"/>
                  <a:gd name="T59" fmla="*/ 7 h 17"/>
                  <a:gd name="T60" fmla="*/ 0 w 24"/>
                  <a:gd name="T61" fmla="*/ 7 h 17"/>
                  <a:gd name="T62" fmla="*/ 0 w 24"/>
                  <a:gd name="T63" fmla="*/ 9 h 17"/>
                  <a:gd name="T64" fmla="*/ 2 w 24"/>
                  <a:gd name="T65"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17">
                    <a:moveTo>
                      <a:pt x="2" y="9"/>
                    </a:moveTo>
                    <a:lnTo>
                      <a:pt x="2" y="12"/>
                    </a:lnTo>
                    <a:lnTo>
                      <a:pt x="5" y="12"/>
                    </a:lnTo>
                    <a:lnTo>
                      <a:pt x="7" y="14"/>
                    </a:lnTo>
                    <a:lnTo>
                      <a:pt x="9" y="17"/>
                    </a:lnTo>
                    <a:lnTo>
                      <a:pt x="12" y="17"/>
                    </a:lnTo>
                    <a:lnTo>
                      <a:pt x="12" y="14"/>
                    </a:lnTo>
                    <a:lnTo>
                      <a:pt x="12" y="12"/>
                    </a:lnTo>
                    <a:lnTo>
                      <a:pt x="14" y="12"/>
                    </a:lnTo>
                    <a:lnTo>
                      <a:pt x="17" y="9"/>
                    </a:lnTo>
                    <a:lnTo>
                      <a:pt x="17" y="7"/>
                    </a:lnTo>
                    <a:lnTo>
                      <a:pt x="14" y="5"/>
                    </a:lnTo>
                    <a:lnTo>
                      <a:pt x="14" y="5"/>
                    </a:lnTo>
                    <a:lnTo>
                      <a:pt x="19" y="2"/>
                    </a:lnTo>
                    <a:lnTo>
                      <a:pt x="21" y="2"/>
                    </a:lnTo>
                    <a:lnTo>
                      <a:pt x="24" y="5"/>
                    </a:lnTo>
                    <a:lnTo>
                      <a:pt x="24" y="2"/>
                    </a:lnTo>
                    <a:lnTo>
                      <a:pt x="24" y="0"/>
                    </a:lnTo>
                    <a:lnTo>
                      <a:pt x="24" y="0"/>
                    </a:lnTo>
                    <a:lnTo>
                      <a:pt x="21" y="0"/>
                    </a:lnTo>
                    <a:lnTo>
                      <a:pt x="21" y="0"/>
                    </a:lnTo>
                    <a:lnTo>
                      <a:pt x="19" y="0"/>
                    </a:lnTo>
                    <a:lnTo>
                      <a:pt x="17" y="0"/>
                    </a:lnTo>
                    <a:lnTo>
                      <a:pt x="12" y="0"/>
                    </a:lnTo>
                    <a:lnTo>
                      <a:pt x="9" y="2"/>
                    </a:lnTo>
                    <a:lnTo>
                      <a:pt x="9" y="2"/>
                    </a:lnTo>
                    <a:lnTo>
                      <a:pt x="5" y="2"/>
                    </a:lnTo>
                    <a:lnTo>
                      <a:pt x="5" y="5"/>
                    </a:lnTo>
                    <a:lnTo>
                      <a:pt x="2" y="5"/>
                    </a:lnTo>
                    <a:lnTo>
                      <a:pt x="0" y="7"/>
                    </a:lnTo>
                    <a:lnTo>
                      <a:pt x="0" y="7"/>
                    </a:lnTo>
                    <a:lnTo>
                      <a:pt x="0" y="9"/>
                    </a:lnTo>
                    <a:lnTo>
                      <a:pt x="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75" name="Freeform 163">
                <a:extLst>
                  <a:ext uri="{FF2B5EF4-FFF2-40B4-BE49-F238E27FC236}">
                    <a16:creationId xmlns:a16="http://schemas.microsoft.com/office/drawing/2014/main" id="{83050F1B-2366-46F2-8367-97989EE0E4C5}"/>
                  </a:ext>
                </a:extLst>
              </p:cNvPr>
              <p:cNvSpPr>
                <a:spLocks/>
              </p:cNvSpPr>
              <p:nvPr/>
            </p:nvSpPr>
            <p:spPr bwMode="gray">
              <a:xfrm>
                <a:off x="-2128" y="1026"/>
                <a:ext cx="14" cy="17"/>
              </a:xfrm>
              <a:custGeom>
                <a:avLst/>
                <a:gdLst>
                  <a:gd name="T0" fmla="*/ 7 w 14"/>
                  <a:gd name="T1" fmla="*/ 7 h 17"/>
                  <a:gd name="T2" fmla="*/ 5 w 14"/>
                  <a:gd name="T3" fmla="*/ 5 h 17"/>
                  <a:gd name="T4" fmla="*/ 7 w 14"/>
                  <a:gd name="T5" fmla="*/ 3 h 17"/>
                  <a:gd name="T6" fmla="*/ 7 w 14"/>
                  <a:gd name="T7" fmla="*/ 3 h 17"/>
                  <a:gd name="T8" fmla="*/ 10 w 14"/>
                  <a:gd name="T9" fmla="*/ 3 h 17"/>
                  <a:gd name="T10" fmla="*/ 7 w 14"/>
                  <a:gd name="T11" fmla="*/ 3 h 17"/>
                  <a:gd name="T12" fmla="*/ 5 w 14"/>
                  <a:gd name="T13" fmla="*/ 0 h 17"/>
                  <a:gd name="T14" fmla="*/ 2 w 14"/>
                  <a:gd name="T15" fmla="*/ 0 h 17"/>
                  <a:gd name="T16" fmla="*/ 0 w 14"/>
                  <a:gd name="T17" fmla="*/ 3 h 17"/>
                  <a:gd name="T18" fmla="*/ 0 w 14"/>
                  <a:gd name="T19" fmla="*/ 7 h 17"/>
                  <a:gd name="T20" fmla="*/ 0 w 14"/>
                  <a:gd name="T21" fmla="*/ 10 h 17"/>
                  <a:gd name="T22" fmla="*/ 0 w 14"/>
                  <a:gd name="T23" fmla="*/ 12 h 17"/>
                  <a:gd name="T24" fmla="*/ 0 w 14"/>
                  <a:gd name="T25" fmla="*/ 14 h 17"/>
                  <a:gd name="T26" fmla="*/ 0 w 14"/>
                  <a:gd name="T27" fmla="*/ 17 h 17"/>
                  <a:gd name="T28" fmla="*/ 2 w 14"/>
                  <a:gd name="T29" fmla="*/ 17 h 17"/>
                  <a:gd name="T30" fmla="*/ 2 w 14"/>
                  <a:gd name="T31" fmla="*/ 17 h 17"/>
                  <a:gd name="T32" fmla="*/ 5 w 14"/>
                  <a:gd name="T33" fmla="*/ 14 h 17"/>
                  <a:gd name="T34" fmla="*/ 5 w 14"/>
                  <a:gd name="T35" fmla="*/ 14 h 17"/>
                  <a:gd name="T36" fmla="*/ 5 w 14"/>
                  <a:gd name="T37" fmla="*/ 14 h 17"/>
                  <a:gd name="T38" fmla="*/ 7 w 14"/>
                  <a:gd name="T39" fmla="*/ 14 h 17"/>
                  <a:gd name="T40" fmla="*/ 7 w 14"/>
                  <a:gd name="T41" fmla="*/ 10 h 17"/>
                  <a:gd name="T42" fmla="*/ 7 w 14"/>
                  <a:gd name="T43" fmla="*/ 7 h 17"/>
                  <a:gd name="T44" fmla="*/ 7 w 14"/>
                  <a:gd name="T45" fmla="*/ 7 h 17"/>
                  <a:gd name="T46" fmla="*/ 14 w 14"/>
                  <a:gd name="T47" fmla="*/ 7 h 17"/>
                  <a:gd name="T48" fmla="*/ 10 w 14"/>
                  <a:gd name="T49" fmla="*/ 7 h 17"/>
                  <a:gd name="T50" fmla="*/ 7 w 14"/>
                  <a:gd name="T51"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 h="17">
                    <a:moveTo>
                      <a:pt x="7" y="7"/>
                    </a:moveTo>
                    <a:lnTo>
                      <a:pt x="5" y="5"/>
                    </a:lnTo>
                    <a:lnTo>
                      <a:pt x="7" y="3"/>
                    </a:lnTo>
                    <a:lnTo>
                      <a:pt x="7" y="3"/>
                    </a:lnTo>
                    <a:lnTo>
                      <a:pt x="10" y="3"/>
                    </a:lnTo>
                    <a:lnTo>
                      <a:pt x="7" y="3"/>
                    </a:lnTo>
                    <a:lnTo>
                      <a:pt x="5" y="0"/>
                    </a:lnTo>
                    <a:lnTo>
                      <a:pt x="2" y="0"/>
                    </a:lnTo>
                    <a:lnTo>
                      <a:pt x="0" y="3"/>
                    </a:lnTo>
                    <a:lnTo>
                      <a:pt x="0" y="7"/>
                    </a:lnTo>
                    <a:lnTo>
                      <a:pt x="0" y="10"/>
                    </a:lnTo>
                    <a:lnTo>
                      <a:pt x="0" y="12"/>
                    </a:lnTo>
                    <a:lnTo>
                      <a:pt x="0" y="14"/>
                    </a:lnTo>
                    <a:lnTo>
                      <a:pt x="0" y="17"/>
                    </a:lnTo>
                    <a:lnTo>
                      <a:pt x="2" y="17"/>
                    </a:lnTo>
                    <a:lnTo>
                      <a:pt x="2" y="17"/>
                    </a:lnTo>
                    <a:lnTo>
                      <a:pt x="5" y="14"/>
                    </a:lnTo>
                    <a:lnTo>
                      <a:pt x="5" y="14"/>
                    </a:lnTo>
                    <a:lnTo>
                      <a:pt x="5" y="14"/>
                    </a:lnTo>
                    <a:lnTo>
                      <a:pt x="7" y="14"/>
                    </a:lnTo>
                    <a:lnTo>
                      <a:pt x="7" y="10"/>
                    </a:lnTo>
                    <a:lnTo>
                      <a:pt x="7" y="7"/>
                    </a:lnTo>
                    <a:lnTo>
                      <a:pt x="7" y="7"/>
                    </a:lnTo>
                    <a:lnTo>
                      <a:pt x="14" y="7"/>
                    </a:lnTo>
                    <a:lnTo>
                      <a:pt x="10" y="7"/>
                    </a:lnTo>
                    <a:lnTo>
                      <a:pt x="7"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76" name="Rectangle 164">
                <a:extLst>
                  <a:ext uri="{FF2B5EF4-FFF2-40B4-BE49-F238E27FC236}">
                    <a16:creationId xmlns:a16="http://schemas.microsoft.com/office/drawing/2014/main" id="{9D841B20-CCB3-47E0-98DE-F743D11FC4CB}"/>
                  </a:ext>
                </a:extLst>
              </p:cNvPr>
              <p:cNvSpPr>
                <a:spLocks noChangeArrowheads="1"/>
              </p:cNvSpPr>
              <p:nvPr/>
            </p:nvSpPr>
            <p:spPr bwMode="gray">
              <a:xfrm>
                <a:off x="-2114" y="1033"/>
                <a:ext cx="1" cy="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77" name="Freeform 165">
                <a:extLst>
                  <a:ext uri="{FF2B5EF4-FFF2-40B4-BE49-F238E27FC236}">
                    <a16:creationId xmlns:a16="http://schemas.microsoft.com/office/drawing/2014/main" id="{968C84E8-814A-49ED-9CF8-2D21F6BFEC83}"/>
                  </a:ext>
                </a:extLst>
              </p:cNvPr>
              <p:cNvSpPr>
                <a:spLocks/>
              </p:cNvSpPr>
              <p:nvPr/>
            </p:nvSpPr>
            <p:spPr bwMode="gray">
              <a:xfrm>
                <a:off x="-1687" y="1015"/>
                <a:ext cx="33" cy="37"/>
              </a:xfrm>
              <a:custGeom>
                <a:avLst/>
                <a:gdLst>
                  <a:gd name="T0" fmla="*/ 31 w 33"/>
                  <a:gd name="T1" fmla="*/ 21 h 37"/>
                  <a:gd name="T2" fmla="*/ 31 w 33"/>
                  <a:gd name="T3" fmla="*/ 21 h 37"/>
                  <a:gd name="T4" fmla="*/ 33 w 33"/>
                  <a:gd name="T5" fmla="*/ 21 h 37"/>
                  <a:gd name="T6" fmla="*/ 31 w 33"/>
                  <a:gd name="T7" fmla="*/ 18 h 37"/>
                  <a:gd name="T8" fmla="*/ 26 w 33"/>
                  <a:gd name="T9" fmla="*/ 18 h 37"/>
                  <a:gd name="T10" fmla="*/ 22 w 33"/>
                  <a:gd name="T11" fmla="*/ 14 h 37"/>
                  <a:gd name="T12" fmla="*/ 22 w 33"/>
                  <a:gd name="T13" fmla="*/ 14 h 37"/>
                  <a:gd name="T14" fmla="*/ 22 w 33"/>
                  <a:gd name="T15" fmla="*/ 11 h 37"/>
                  <a:gd name="T16" fmla="*/ 19 w 33"/>
                  <a:gd name="T17" fmla="*/ 9 h 37"/>
                  <a:gd name="T18" fmla="*/ 17 w 33"/>
                  <a:gd name="T19" fmla="*/ 9 h 37"/>
                  <a:gd name="T20" fmla="*/ 17 w 33"/>
                  <a:gd name="T21" fmla="*/ 9 h 37"/>
                  <a:gd name="T22" fmla="*/ 15 w 33"/>
                  <a:gd name="T23" fmla="*/ 7 h 37"/>
                  <a:gd name="T24" fmla="*/ 10 w 33"/>
                  <a:gd name="T25" fmla="*/ 7 h 37"/>
                  <a:gd name="T26" fmla="*/ 10 w 33"/>
                  <a:gd name="T27" fmla="*/ 4 h 37"/>
                  <a:gd name="T28" fmla="*/ 7 w 33"/>
                  <a:gd name="T29" fmla="*/ 2 h 37"/>
                  <a:gd name="T30" fmla="*/ 5 w 33"/>
                  <a:gd name="T31" fmla="*/ 0 h 37"/>
                  <a:gd name="T32" fmla="*/ 5 w 33"/>
                  <a:gd name="T33" fmla="*/ 0 h 37"/>
                  <a:gd name="T34" fmla="*/ 3 w 33"/>
                  <a:gd name="T35" fmla="*/ 0 h 37"/>
                  <a:gd name="T36" fmla="*/ 3 w 33"/>
                  <a:gd name="T37" fmla="*/ 2 h 37"/>
                  <a:gd name="T38" fmla="*/ 3 w 33"/>
                  <a:gd name="T39" fmla="*/ 4 h 37"/>
                  <a:gd name="T40" fmla="*/ 0 w 33"/>
                  <a:gd name="T41" fmla="*/ 7 h 37"/>
                  <a:gd name="T42" fmla="*/ 0 w 33"/>
                  <a:gd name="T43" fmla="*/ 7 h 37"/>
                  <a:gd name="T44" fmla="*/ 0 w 33"/>
                  <a:gd name="T45" fmla="*/ 9 h 37"/>
                  <a:gd name="T46" fmla="*/ 0 w 33"/>
                  <a:gd name="T47" fmla="*/ 16 h 37"/>
                  <a:gd name="T48" fmla="*/ 0 w 33"/>
                  <a:gd name="T49" fmla="*/ 21 h 37"/>
                  <a:gd name="T50" fmla="*/ 0 w 33"/>
                  <a:gd name="T51" fmla="*/ 23 h 37"/>
                  <a:gd name="T52" fmla="*/ 0 w 33"/>
                  <a:gd name="T53" fmla="*/ 25 h 37"/>
                  <a:gd name="T54" fmla="*/ 5 w 33"/>
                  <a:gd name="T55" fmla="*/ 30 h 37"/>
                  <a:gd name="T56" fmla="*/ 12 w 33"/>
                  <a:gd name="T57" fmla="*/ 32 h 37"/>
                  <a:gd name="T58" fmla="*/ 17 w 33"/>
                  <a:gd name="T59" fmla="*/ 35 h 37"/>
                  <a:gd name="T60" fmla="*/ 19 w 33"/>
                  <a:gd name="T61" fmla="*/ 35 h 37"/>
                  <a:gd name="T62" fmla="*/ 24 w 33"/>
                  <a:gd name="T63" fmla="*/ 37 h 37"/>
                  <a:gd name="T64" fmla="*/ 26 w 33"/>
                  <a:gd name="T65" fmla="*/ 37 h 37"/>
                  <a:gd name="T66" fmla="*/ 26 w 33"/>
                  <a:gd name="T67" fmla="*/ 37 h 37"/>
                  <a:gd name="T68" fmla="*/ 29 w 33"/>
                  <a:gd name="T69" fmla="*/ 35 h 37"/>
                  <a:gd name="T70" fmla="*/ 29 w 33"/>
                  <a:gd name="T71" fmla="*/ 32 h 37"/>
                  <a:gd name="T72" fmla="*/ 29 w 33"/>
                  <a:gd name="T73" fmla="*/ 32 h 37"/>
                  <a:gd name="T74" fmla="*/ 29 w 33"/>
                  <a:gd name="T75" fmla="*/ 32 h 37"/>
                  <a:gd name="T76" fmla="*/ 29 w 33"/>
                  <a:gd name="T77" fmla="*/ 30 h 37"/>
                  <a:gd name="T78" fmla="*/ 29 w 33"/>
                  <a:gd name="T79" fmla="*/ 30 h 37"/>
                  <a:gd name="T80" fmla="*/ 31 w 33"/>
                  <a:gd name="T81" fmla="*/ 28 h 37"/>
                  <a:gd name="T82" fmla="*/ 31 w 33"/>
                  <a:gd name="T83" fmla="*/ 25 h 37"/>
                  <a:gd name="T84" fmla="*/ 31 w 33"/>
                  <a:gd name="T85" fmla="*/ 25 h 37"/>
                  <a:gd name="T86" fmla="*/ 31 w 33"/>
                  <a:gd name="T87" fmla="*/ 23 h 37"/>
                  <a:gd name="T88" fmla="*/ 31 w 33"/>
                  <a:gd name="T89" fmla="*/ 21 h 37"/>
                  <a:gd name="T90" fmla="*/ 31 w 33"/>
                  <a:gd name="T91" fmla="*/ 21 h 37"/>
                  <a:gd name="T92" fmla="*/ 31 w 33"/>
                  <a:gd name="T93"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 h="37">
                    <a:moveTo>
                      <a:pt x="31" y="21"/>
                    </a:moveTo>
                    <a:lnTo>
                      <a:pt x="31" y="21"/>
                    </a:lnTo>
                    <a:lnTo>
                      <a:pt x="33" y="21"/>
                    </a:lnTo>
                    <a:lnTo>
                      <a:pt x="31" y="18"/>
                    </a:lnTo>
                    <a:lnTo>
                      <a:pt x="26" y="18"/>
                    </a:lnTo>
                    <a:lnTo>
                      <a:pt x="22" y="14"/>
                    </a:lnTo>
                    <a:lnTo>
                      <a:pt x="22" y="14"/>
                    </a:lnTo>
                    <a:lnTo>
                      <a:pt x="22" y="11"/>
                    </a:lnTo>
                    <a:lnTo>
                      <a:pt x="19" y="9"/>
                    </a:lnTo>
                    <a:lnTo>
                      <a:pt x="17" y="9"/>
                    </a:lnTo>
                    <a:lnTo>
                      <a:pt x="17" y="9"/>
                    </a:lnTo>
                    <a:lnTo>
                      <a:pt x="15" y="7"/>
                    </a:lnTo>
                    <a:lnTo>
                      <a:pt x="10" y="7"/>
                    </a:lnTo>
                    <a:lnTo>
                      <a:pt x="10" y="4"/>
                    </a:lnTo>
                    <a:lnTo>
                      <a:pt x="7" y="2"/>
                    </a:lnTo>
                    <a:lnTo>
                      <a:pt x="5" y="0"/>
                    </a:lnTo>
                    <a:lnTo>
                      <a:pt x="5" y="0"/>
                    </a:lnTo>
                    <a:lnTo>
                      <a:pt x="3" y="0"/>
                    </a:lnTo>
                    <a:lnTo>
                      <a:pt x="3" y="2"/>
                    </a:lnTo>
                    <a:lnTo>
                      <a:pt x="3" y="4"/>
                    </a:lnTo>
                    <a:lnTo>
                      <a:pt x="0" y="7"/>
                    </a:lnTo>
                    <a:lnTo>
                      <a:pt x="0" y="7"/>
                    </a:lnTo>
                    <a:lnTo>
                      <a:pt x="0" y="9"/>
                    </a:lnTo>
                    <a:lnTo>
                      <a:pt x="0" y="16"/>
                    </a:lnTo>
                    <a:lnTo>
                      <a:pt x="0" y="21"/>
                    </a:lnTo>
                    <a:lnTo>
                      <a:pt x="0" y="23"/>
                    </a:lnTo>
                    <a:lnTo>
                      <a:pt x="0" y="25"/>
                    </a:lnTo>
                    <a:lnTo>
                      <a:pt x="5" y="30"/>
                    </a:lnTo>
                    <a:lnTo>
                      <a:pt x="12" y="32"/>
                    </a:lnTo>
                    <a:lnTo>
                      <a:pt x="17" y="35"/>
                    </a:lnTo>
                    <a:lnTo>
                      <a:pt x="19" y="35"/>
                    </a:lnTo>
                    <a:lnTo>
                      <a:pt x="24" y="37"/>
                    </a:lnTo>
                    <a:lnTo>
                      <a:pt x="26" y="37"/>
                    </a:lnTo>
                    <a:lnTo>
                      <a:pt x="26" y="37"/>
                    </a:lnTo>
                    <a:lnTo>
                      <a:pt x="29" y="35"/>
                    </a:lnTo>
                    <a:lnTo>
                      <a:pt x="29" y="32"/>
                    </a:lnTo>
                    <a:lnTo>
                      <a:pt x="29" y="32"/>
                    </a:lnTo>
                    <a:lnTo>
                      <a:pt x="29" y="32"/>
                    </a:lnTo>
                    <a:lnTo>
                      <a:pt x="29" y="30"/>
                    </a:lnTo>
                    <a:lnTo>
                      <a:pt x="29" y="30"/>
                    </a:lnTo>
                    <a:lnTo>
                      <a:pt x="31" y="28"/>
                    </a:lnTo>
                    <a:lnTo>
                      <a:pt x="31" y="25"/>
                    </a:lnTo>
                    <a:lnTo>
                      <a:pt x="31" y="25"/>
                    </a:lnTo>
                    <a:lnTo>
                      <a:pt x="31" y="23"/>
                    </a:lnTo>
                    <a:lnTo>
                      <a:pt x="31" y="21"/>
                    </a:lnTo>
                    <a:lnTo>
                      <a:pt x="31" y="21"/>
                    </a:lnTo>
                    <a:lnTo>
                      <a:pt x="31"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78" name="Freeform 166">
                <a:extLst>
                  <a:ext uri="{FF2B5EF4-FFF2-40B4-BE49-F238E27FC236}">
                    <a16:creationId xmlns:a16="http://schemas.microsoft.com/office/drawing/2014/main" id="{051AF153-68DF-437F-BAC9-10D243034E90}"/>
                  </a:ext>
                </a:extLst>
              </p:cNvPr>
              <p:cNvSpPr>
                <a:spLocks/>
              </p:cNvSpPr>
              <p:nvPr/>
            </p:nvSpPr>
            <p:spPr bwMode="gray">
              <a:xfrm>
                <a:off x="-1913" y="835"/>
                <a:ext cx="9" cy="8"/>
              </a:xfrm>
              <a:custGeom>
                <a:avLst/>
                <a:gdLst>
                  <a:gd name="T0" fmla="*/ 2 w 9"/>
                  <a:gd name="T1" fmla="*/ 3 h 8"/>
                  <a:gd name="T2" fmla="*/ 0 w 9"/>
                  <a:gd name="T3" fmla="*/ 3 h 8"/>
                  <a:gd name="T4" fmla="*/ 0 w 9"/>
                  <a:gd name="T5" fmla="*/ 5 h 8"/>
                  <a:gd name="T6" fmla="*/ 2 w 9"/>
                  <a:gd name="T7" fmla="*/ 8 h 8"/>
                  <a:gd name="T8" fmla="*/ 2 w 9"/>
                  <a:gd name="T9" fmla="*/ 8 h 8"/>
                  <a:gd name="T10" fmla="*/ 5 w 9"/>
                  <a:gd name="T11" fmla="*/ 8 h 8"/>
                  <a:gd name="T12" fmla="*/ 5 w 9"/>
                  <a:gd name="T13" fmla="*/ 8 h 8"/>
                  <a:gd name="T14" fmla="*/ 7 w 9"/>
                  <a:gd name="T15" fmla="*/ 5 h 8"/>
                  <a:gd name="T16" fmla="*/ 7 w 9"/>
                  <a:gd name="T17" fmla="*/ 5 h 8"/>
                  <a:gd name="T18" fmla="*/ 7 w 9"/>
                  <a:gd name="T19" fmla="*/ 3 h 8"/>
                  <a:gd name="T20" fmla="*/ 9 w 9"/>
                  <a:gd name="T21" fmla="*/ 3 h 8"/>
                  <a:gd name="T22" fmla="*/ 9 w 9"/>
                  <a:gd name="T23" fmla="*/ 3 h 8"/>
                  <a:gd name="T24" fmla="*/ 9 w 9"/>
                  <a:gd name="T25" fmla="*/ 3 h 8"/>
                  <a:gd name="T26" fmla="*/ 9 w 9"/>
                  <a:gd name="T27" fmla="*/ 3 h 8"/>
                  <a:gd name="T28" fmla="*/ 9 w 9"/>
                  <a:gd name="T29" fmla="*/ 0 h 8"/>
                  <a:gd name="T30" fmla="*/ 7 w 9"/>
                  <a:gd name="T31" fmla="*/ 3 h 8"/>
                  <a:gd name="T32" fmla="*/ 2 w 9"/>
                  <a:gd name="T3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8">
                    <a:moveTo>
                      <a:pt x="2" y="3"/>
                    </a:moveTo>
                    <a:lnTo>
                      <a:pt x="0" y="3"/>
                    </a:lnTo>
                    <a:lnTo>
                      <a:pt x="0" y="5"/>
                    </a:lnTo>
                    <a:lnTo>
                      <a:pt x="2" y="8"/>
                    </a:lnTo>
                    <a:lnTo>
                      <a:pt x="2" y="8"/>
                    </a:lnTo>
                    <a:lnTo>
                      <a:pt x="5" y="8"/>
                    </a:lnTo>
                    <a:lnTo>
                      <a:pt x="5" y="8"/>
                    </a:lnTo>
                    <a:lnTo>
                      <a:pt x="7" y="5"/>
                    </a:lnTo>
                    <a:lnTo>
                      <a:pt x="7" y="5"/>
                    </a:lnTo>
                    <a:lnTo>
                      <a:pt x="7" y="3"/>
                    </a:lnTo>
                    <a:lnTo>
                      <a:pt x="9" y="3"/>
                    </a:lnTo>
                    <a:lnTo>
                      <a:pt x="9" y="3"/>
                    </a:lnTo>
                    <a:lnTo>
                      <a:pt x="9" y="3"/>
                    </a:lnTo>
                    <a:lnTo>
                      <a:pt x="9" y="3"/>
                    </a:lnTo>
                    <a:lnTo>
                      <a:pt x="9" y="0"/>
                    </a:lnTo>
                    <a:lnTo>
                      <a:pt x="7" y="3"/>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79" name="Freeform 167">
                <a:extLst>
                  <a:ext uri="{FF2B5EF4-FFF2-40B4-BE49-F238E27FC236}">
                    <a16:creationId xmlns:a16="http://schemas.microsoft.com/office/drawing/2014/main" id="{12428979-954C-48C3-9047-4EA7751294B2}"/>
                  </a:ext>
                </a:extLst>
              </p:cNvPr>
              <p:cNvSpPr>
                <a:spLocks/>
              </p:cNvSpPr>
              <p:nvPr/>
            </p:nvSpPr>
            <p:spPr bwMode="gray">
              <a:xfrm>
                <a:off x="-1871" y="1043"/>
                <a:ext cx="31" cy="21"/>
              </a:xfrm>
              <a:custGeom>
                <a:avLst/>
                <a:gdLst>
                  <a:gd name="T0" fmla="*/ 7 w 31"/>
                  <a:gd name="T1" fmla="*/ 21 h 21"/>
                  <a:gd name="T2" fmla="*/ 10 w 31"/>
                  <a:gd name="T3" fmla="*/ 21 h 21"/>
                  <a:gd name="T4" fmla="*/ 12 w 31"/>
                  <a:gd name="T5" fmla="*/ 16 h 21"/>
                  <a:gd name="T6" fmla="*/ 14 w 31"/>
                  <a:gd name="T7" fmla="*/ 14 h 21"/>
                  <a:gd name="T8" fmla="*/ 17 w 31"/>
                  <a:gd name="T9" fmla="*/ 14 h 21"/>
                  <a:gd name="T10" fmla="*/ 19 w 31"/>
                  <a:gd name="T11" fmla="*/ 12 h 21"/>
                  <a:gd name="T12" fmla="*/ 29 w 31"/>
                  <a:gd name="T13" fmla="*/ 14 h 21"/>
                  <a:gd name="T14" fmla="*/ 31 w 31"/>
                  <a:gd name="T15" fmla="*/ 14 h 21"/>
                  <a:gd name="T16" fmla="*/ 31 w 31"/>
                  <a:gd name="T17" fmla="*/ 14 h 21"/>
                  <a:gd name="T18" fmla="*/ 31 w 31"/>
                  <a:gd name="T19" fmla="*/ 14 h 21"/>
                  <a:gd name="T20" fmla="*/ 31 w 31"/>
                  <a:gd name="T21" fmla="*/ 12 h 21"/>
                  <a:gd name="T22" fmla="*/ 31 w 31"/>
                  <a:gd name="T23" fmla="*/ 7 h 21"/>
                  <a:gd name="T24" fmla="*/ 29 w 31"/>
                  <a:gd name="T25" fmla="*/ 4 h 21"/>
                  <a:gd name="T26" fmla="*/ 22 w 31"/>
                  <a:gd name="T27" fmla="*/ 4 h 21"/>
                  <a:gd name="T28" fmla="*/ 17 w 31"/>
                  <a:gd name="T29" fmla="*/ 4 h 21"/>
                  <a:gd name="T30" fmla="*/ 14 w 31"/>
                  <a:gd name="T31" fmla="*/ 2 h 21"/>
                  <a:gd name="T32" fmla="*/ 12 w 31"/>
                  <a:gd name="T33" fmla="*/ 0 h 21"/>
                  <a:gd name="T34" fmla="*/ 12 w 31"/>
                  <a:gd name="T35" fmla="*/ 0 h 21"/>
                  <a:gd name="T36" fmla="*/ 10 w 31"/>
                  <a:gd name="T37" fmla="*/ 0 h 21"/>
                  <a:gd name="T38" fmla="*/ 10 w 31"/>
                  <a:gd name="T39" fmla="*/ 2 h 21"/>
                  <a:gd name="T40" fmla="*/ 12 w 31"/>
                  <a:gd name="T41" fmla="*/ 2 h 21"/>
                  <a:gd name="T42" fmla="*/ 12 w 31"/>
                  <a:gd name="T43" fmla="*/ 4 h 21"/>
                  <a:gd name="T44" fmla="*/ 14 w 31"/>
                  <a:gd name="T45" fmla="*/ 4 h 21"/>
                  <a:gd name="T46" fmla="*/ 14 w 31"/>
                  <a:gd name="T47" fmla="*/ 7 h 21"/>
                  <a:gd name="T48" fmla="*/ 14 w 31"/>
                  <a:gd name="T49" fmla="*/ 7 h 21"/>
                  <a:gd name="T50" fmla="*/ 12 w 31"/>
                  <a:gd name="T51" fmla="*/ 7 h 21"/>
                  <a:gd name="T52" fmla="*/ 12 w 31"/>
                  <a:gd name="T53" fmla="*/ 9 h 21"/>
                  <a:gd name="T54" fmla="*/ 14 w 31"/>
                  <a:gd name="T55" fmla="*/ 9 h 21"/>
                  <a:gd name="T56" fmla="*/ 12 w 31"/>
                  <a:gd name="T57" fmla="*/ 9 h 21"/>
                  <a:gd name="T58" fmla="*/ 10 w 31"/>
                  <a:gd name="T59" fmla="*/ 12 h 21"/>
                  <a:gd name="T60" fmla="*/ 10 w 31"/>
                  <a:gd name="T61" fmla="*/ 12 h 21"/>
                  <a:gd name="T62" fmla="*/ 7 w 31"/>
                  <a:gd name="T63" fmla="*/ 12 h 21"/>
                  <a:gd name="T64" fmla="*/ 7 w 31"/>
                  <a:gd name="T65" fmla="*/ 9 h 21"/>
                  <a:gd name="T66" fmla="*/ 5 w 31"/>
                  <a:gd name="T67" fmla="*/ 9 h 21"/>
                  <a:gd name="T68" fmla="*/ 7 w 31"/>
                  <a:gd name="T69" fmla="*/ 12 h 21"/>
                  <a:gd name="T70" fmla="*/ 5 w 31"/>
                  <a:gd name="T71" fmla="*/ 12 h 21"/>
                  <a:gd name="T72" fmla="*/ 5 w 31"/>
                  <a:gd name="T73" fmla="*/ 12 h 21"/>
                  <a:gd name="T74" fmla="*/ 3 w 31"/>
                  <a:gd name="T75" fmla="*/ 12 h 21"/>
                  <a:gd name="T76" fmla="*/ 3 w 31"/>
                  <a:gd name="T77" fmla="*/ 14 h 21"/>
                  <a:gd name="T78" fmla="*/ 3 w 31"/>
                  <a:gd name="T79" fmla="*/ 14 h 21"/>
                  <a:gd name="T80" fmla="*/ 3 w 31"/>
                  <a:gd name="T81" fmla="*/ 14 h 21"/>
                  <a:gd name="T82" fmla="*/ 3 w 31"/>
                  <a:gd name="T83" fmla="*/ 16 h 21"/>
                  <a:gd name="T84" fmla="*/ 3 w 31"/>
                  <a:gd name="T85" fmla="*/ 16 h 21"/>
                  <a:gd name="T86" fmla="*/ 3 w 31"/>
                  <a:gd name="T87" fmla="*/ 16 h 21"/>
                  <a:gd name="T88" fmla="*/ 3 w 31"/>
                  <a:gd name="T89" fmla="*/ 19 h 21"/>
                  <a:gd name="T90" fmla="*/ 3 w 31"/>
                  <a:gd name="T91" fmla="*/ 19 h 21"/>
                  <a:gd name="T92" fmla="*/ 0 w 31"/>
                  <a:gd name="T93" fmla="*/ 19 h 21"/>
                  <a:gd name="T94" fmla="*/ 0 w 31"/>
                  <a:gd name="T95" fmla="*/ 19 h 21"/>
                  <a:gd name="T96" fmla="*/ 5 w 31"/>
                  <a:gd name="T97" fmla="*/ 21 h 21"/>
                  <a:gd name="T98" fmla="*/ 7 w 31"/>
                  <a:gd name="T9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 h="21">
                    <a:moveTo>
                      <a:pt x="7" y="21"/>
                    </a:moveTo>
                    <a:lnTo>
                      <a:pt x="10" y="21"/>
                    </a:lnTo>
                    <a:lnTo>
                      <a:pt x="12" y="16"/>
                    </a:lnTo>
                    <a:lnTo>
                      <a:pt x="14" y="14"/>
                    </a:lnTo>
                    <a:lnTo>
                      <a:pt x="17" y="14"/>
                    </a:lnTo>
                    <a:lnTo>
                      <a:pt x="19" y="12"/>
                    </a:lnTo>
                    <a:lnTo>
                      <a:pt x="29" y="14"/>
                    </a:lnTo>
                    <a:lnTo>
                      <a:pt x="31" y="14"/>
                    </a:lnTo>
                    <a:lnTo>
                      <a:pt x="31" y="14"/>
                    </a:lnTo>
                    <a:lnTo>
                      <a:pt x="31" y="14"/>
                    </a:lnTo>
                    <a:lnTo>
                      <a:pt x="31" y="12"/>
                    </a:lnTo>
                    <a:lnTo>
                      <a:pt x="31" y="7"/>
                    </a:lnTo>
                    <a:lnTo>
                      <a:pt x="29" y="4"/>
                    </a:lnTo>
                    <a:lnTo>
                      <a:pt x="22" y="4"/>
                    </a:lnTo>
                    <a:lnTo>
                      <a:pt x="17" y="4"/>
                    </a:lnTo>
                    <a:lnTo>
                      <a:pt x="14" y="2"/>
                    </a:lnTo>
                    <a:lnTo>
                      <a:pt x="12" y="0"/>
                    </a:lnTo>
                    <a:lnTo>
                      <a:pt x="12" y="0"/>
                    </a:lnTo>
                    <a:lnTo>
                      <a:pt x="10" y="0"/>
                    </a:lnTo>
                    <a:lnTo>
                      <a:pt x="10" y="2"/>
                    </a:lnTo>
                    <a:lnTo>
                      <a:pt x="12" y="2"/>
                    </a:lnTo>
                    <a:lnTo>
                      <a:pt x="12" y="4"/>
                    </a:lnTo>
                    <a:lnTo>
                      <a:pt x="14" y="4"/>
                    </a:lnTo>
                    <a:lnTo>
                      <a:pt x="14" y="7"/>
                    </a:lnTo>
                    <a:lnTo>
                      <a:pt x="14" y="7"/>
                    </a:lnTo>
                    <a:lnTo>
                      <a:pt x="12" y="7"/>
                    </a:lnTo>
                    <a:lnTo>
                      <a:pt x="12" y="9"/>
                    </a:lnTo>
                    <a:lnTo>
                      <a:pt x="14" y="9"/>
                    </a:lnTo>
                    <a:lnTo>
                      <a:pt x="12" y="9"/>
                    </a:lnTo>
                    <a:lnTo>
                      <a:pt x="10" y="12"/>
                    </a:lnTo>
                    <a:lnTo>
                      <a:pt x="10" y="12"/>
                    </a:lnTo>
                    <a:lnTo>
                      <a:pt x="7" y="12"/>
                    </a:lnTo>
                    <a:lnTo>
                      <a:pt x="7" y="9"/>
                    </a:lnTo>
                    <a:lnTo>
                      <a:pt x="5" y="9"/>
                    </a:lnTo>
                    <a:lnTo>
                      <a:pt x="7" y="12"/>
                    </a:lnTo>
                    <a:lnTo>
                      <a:pt x="5" y="12"/>
                    </a:lnTo>
                    <a:lnTo>
                      <a:pt x="5" y="12"/>
                    </a:lnTo>
                    <a:lnTo>
                      <a:pt x="3" y="12"/>
                    </a:lnTo>
                    <a:lnTo>
                      <a:pt x="3" y="14"/>
                    </a:lnTo>
                    <a:lnTo>
                      <a:pt x="3" y="14"/>
                    </a:lnTo>
                    <a:lnTo>
                      <a:pt x="3" y="14"/>
                    </a:lnTo>
                    <a:lnTo>
                      <a:pt x="3" y="16"/>
                    </a:lnTo>
                    <a:lnTo>
                      <a:pt x="3" y="16"/>
                    </a:lnTo>
                    <a:lnTo>
                      <a:pt x="3" y="16"/>
                    </a:lnTo>
                    <a:lnTo>
                      <a:pt x="3" y="19"/>
                    </a:lnTo>
                    <a:lnTo>
                      <a:pt x="3" y="19"/>
                    </a:lnTo>
                    <a:lnTo>
                      <a:pt x="0" y="19"/>
                    </a:lnTo>
                    <a:lnTo>
                      <a:pt x="0" y="19"/>
                    </a:lnTo>
                    <a:lnTo>
                      <a:pt x="5" y="21"/>
                    </a:lnTo>
                    <a:lnTo>
                      <a:pt x="7"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80" name="Freeform 168">
                <a:extLst>
                  <a:ext uri="{FF2B5EF4-FFF2-40B4-BE49-F238E27FC236}">
                    <a16:creationId xmlns:a16="http://schemas.microsoft.com/office/drawing/2014/main" id="{6FBBB154-2A6D-4FE7-A735-ED77CC3D64FF}"/>
                  </a:ext>
                </a:extLst>
              </p:cNvPr>
              <p:cNvSpPr>
                <a:spLocks/>
              </p:cNvSpPr>
              <p:nvPr/>
            </p:nvSpPr>
            <p:spPr bwMode="gray">
              <a:xfrm>
                <a:off x="-2135" y="993"/>
                <a:ext cx="7" cy="17"/>
              </a:xfrm>
              <a:custGeom>
                <a:avLst/>
                <a:gdLst>
                  <a:gd name="T0" fmla="*/ 7 w 7"/>
                  <a:gd name="T1" fmla="*/ 7 h 17"/>
                  <a:gd name="T2" fmla="*/ 7 w 7"/>
                  <a:gd name="T3" fmla="*/ 5 h 17"/>
                  <a:gd name="T4" fmla="*/ 5 w 7"/>
                  <a:gd name="T5" fmla="*/ 5 h 17"/>
                  <a:gd name="T6" fmla="*/ 5 w 7"/>
                  <a:gd name="T7" fmla="*/ 5 h 17"/>
                  <a:gd name="T8" fmla="*/ 2 w 7"/>
                  <a:gd name="T9" fmla="*/ 5 h 17"/>
                  <a:gd name="T10" fmla="*/ 2 w 7"/>
                  <a:gd name="T11" fmla="*/ 0 h 17"/>
                  <a:gd name="T12" fmla="*/ 0 w 7"/>
                  <a:gd name="T13" fmla="*/ 0 h 17"/>
                  <a:gd name="T14" fmla="*/ 0 w 7"/>
                  <a:gd name="T15" fmla="*/ 3 h 17"/>
                  <a:gd name="T16" fmla="*/ 0 w 7"/>
                  <a:gd name="T17" fmla="*/ 5 h 17"/>
                  <a:gd name="T18" fmla="*/ 2 w 7"/>
                  <a:gd name="T19" fmla="*/ 12 h 17"/>
                  <a:gd name="T20" fmla="*/ 5 w 7"/>
                  <a:gd name="T21" fmla="*/ 14 h 17"/>
                  <a:gd name="T22" fmla="*/ 5 w 7"/>
                  <a:gd name="T23" fmla="*/ 17 h 17"/>
                  <a:gd name="T24" fmla="*/ 7 w 7"/>
                  <a:gd name="T25" fmla="*/ 17 h 17"/>
                  <a:gd name="T26" fmla="*/ 7 w 7"/>
                  <a:gd name="T27" fmla="*/ 14 h 17"/>
                  <a:gd name="T28" fmla="*/ 7 w 7"/>
                  <a:gd name="T29" fmla="*/ 12 h 17"/>
                  <a:gd name="T30" fmla="*/ 5 w 7"/>
                  <a:gd name="T31" fmla="*/ 12 h 17"/>
                  <a:gd name="T32" fmla="*/ 5 w 7"/>
                  <a:gd name="T33" fmla="*/ 10 h 17"/>
                  <a:gd name="T34" fmla="*/ 7 w 7"/>
                  <a:gd name="T35"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17">
                    <a:moveTo>
                      <a:pt x="7" y="7"/>
                    </a:moveTo>
                    <a:lnTo>
                      <a:pt x="7" y="5"/>
                    </a:lnTo>
                    <a:lnTo>
                      <a:pt x="5" y="5"/>
                    </a:lnTo>
                    <a:lnTo>
                      <a:pt x="5" y="5"/>
                    </a:lnTo>
                    <a:lnTo>
                      <a:pt x="2" y="5"/>
                    </a:lnTo>
                    <a:lnTo>
                      <a:pt x="2" y="0"/>
                    </a:lnTo>
                    <a:lnTo>
                      <a:pt x="0" y="0"/>
                    </a:lnTo>
                    <a:lnTo>
                      <a:pt x="0" y="3"/>
                    </a:lnTo>
                    <a:lnTo>
                      <a:pt x="0" y="5"/>
                    </a:lnTo>
                    <a:lnTo>
                      <a:pt x="2" y="12"/>
                    </a:lnTo>
                    <a:lnTo>
                      <a:pt x="5" y="14"/>
                    </a:lnTo>
                    <a:lnTo>
                      <a:pt x="5" y="17"/>
                    </a:lnTo>
                    <a:lnTo>
                      <a:pt x="7" y="17"/>
                    </a:lnTo>
                    <a:lnTo>
                      <a:pt x="7" y="14"/>
                    </a:lnTo>
                    <a:lnTo>
                      <a:pt x="7" y="12"/>
                    </a:lnTo>
                    <a:lnTo>
                      <a:pt x="5" y="12"/>
                    </a:lnTo>
                    <a:lnTo>
                      <a:pt x="5" y="10"/>
                    </a:lnTo>
                    <a:lnTo>
                      <a:pt x="7"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81" name="Freeform 169">
                <a:extLst>
                  <a:ext uri="{FF2B5EF4-FFF2-40B4-BE49-F238E27FC236}">
                    <a16:creationId xmlns:a16="http://schemas.microsoft.com/office/drawing/2014/main" id="{D7C54812-11B4-4EE8-A389-8C9FC6F9484F}"/>
                  </a:ext>
                </a:extLst>
              </p:cNvPr>
              <p:cNvSpPr>
                <a:spLocks/>
              </p:cNvSpPr>
              <p:nvPr/>
            </p:nvSpPr>
            <p:spPr bwMode="gray">
              <a:xfrm>
                <a:off x="-2043" y="974"/>
                <a:ext cx="83" cy="73"/>
              </a:xfrm>
              <a:custGeom>
                <a:avLst/>
                <a:gdLst>
                  <a:gd name="T0" fmla="*/ 64 w 83"/>
                  <a:gd name="T1" fmla="*/ 71 h 73"/>
                  <a:gd name="T2" fmla="*/ 73 w 83"/>
                  <a:gd name="T3" fmla="*/ 69 h 73"/>
                  <a:gd name="T4" fmla="*/ 76 w 83"/>
                  <a:gd name="T5" fmla="*/ 66 h 73"/>
                  <a:gd name="T6" fmla="*/ 80 w 83"/>
                  <a:gd name="T7" fmla="*/ 59 h 73"/>
                  <a:gd name="T8" fmla="*/ 80 w 83"/>
                  <a:gd name="T9" fmla="*/ 50 h 73"/>
                  <a:gd name="T10" fmla="*/ 78 w 83"/>
                  <a:gd name="T11" fmla="*/ 43 h 73"/>
                  <a:gd name="T12" fmla="*/ 83 w 83"/>
                  <a:gd name="T13" fmla="*/ 41 h 73"/>
                  <a:gd name="T14" fmla="*/ 80 w 83"/>
                  <a:gd name="T15" fmla="*/ 33 h 73"/>
                  <a:gd name="T16" fmla="*/ 66 w 83"/>
                  <a:gd name="T17" fmla="*/ 22 h 73"/>
                  <a:gd name="T18" fmla="*/ 64 w 83"/>
                  <a:gd name="T19" fmla="*/ 24 h 73"/>
                  <a:gd name="T20" fmla="*/ 64 w 83"/>
                  <a:gd name="T21" fmla="*/ 19 h 73"/>
                  <a:gd name="T22" fmla="*/ 76 w 83"/>
                  <a:gd name="T23" fmla="*/ 19 h 73"/>
                  <a:gd name="T24" fmla="*/ 73 w 83"/>
                  <a:gd name="T25" fmla="*/ 15 h 73"/>
                  <a:gd name="T26" fmla="*/ 73 w 83"/>
                  <a:gd name="T27" fmla="*/ 10 h 73"/>
                  <a:gd name="T28" fmla="*/ 66 w 83"/>
                  <a:gd name="T29" fmla="*/ 3 h 73"/>
                  <a:gd name="T30" fmla="*/ 66 w 83"/>
                  <a:gd name="T31" fmla="*/ 8 h 73"/>
                  <a:gd name="T32" fmla="*/ 66 w 83"/>
                  <a:gd name="T33" fmla="*/ 12 h 73"/>
                  <a:gd name="T34" fmla="*/ 64 w 83"/>
                  <a:gd name="T35" fmla="*/ 12 h 73"/>
                  <a:gd name="T36" fmla="*/ 64 w 83"/>
                  <a:gd name="T37" fmla="*/ 15 h 73"/>
                  <a:gd name="T38" fmla="*/ 66 w 83"/>
                  <a:gd name="T39" fmla="*/ 17 h 73"/>
                  <a:gd name="T40" fmla="*/ 59 w 83"/>
                  <a:gd name="T41" fmla="*/ 19 h 73"/>
                  <a:gd name="T42" fmla="*/ 57 w 83"/>
                  <a:gd name="T43" fmla="*/ 17 h 73"/>
                  <a:gd name="T44" fmla="*/ 59 w 83"/>
                  <a:gd name="T45" fmla="*/ 15 h 73"/>
                  <a:gd name="T46" fmla="*/ 57 w 83"/>
                  <a:gd name="T47" fmla="*/ 12 h 73"/>
                  <a:gd name="T48" fmla="*/ 57 w 83"/>
                  <a:gd name="T49" fmla="*/ 10 h 73"/>
                  <a:gd name="T50" fmla="*/ 54 w 83"/>
                  <a:gd name="T51" fmla="*/ 8 h 73"/>
                  <a:gd name="T52" fmla="*/ 45 w 83"/>
                  <a:gd name="T53" fmla="*/ 0 h 73"/>
                  <a:gd name="T54" fmla="*/ 43 w 83"/>
                  <a:gd name="T55" fmla="*/ 5 h 73"/>
                  <a:gd name="T56" fmla="*/ 43 w 83"/>
                  <a:gd name="T57" fmla="*/ 3 h 73"/>
                  <a:gd name="T58" fmla="*/ 26 w 83"/>
                  <a:gd name="T59" fmla="*/ 8 h 73"/>
                  <a:gd name="T60" fmla="*/ 12 w 83"/>
                  <a:gd name="T61" fmla="*/ 12 h 73"/>
                  <a:gd name="T62" fmla="*/ 7 w 83"/>
                  <a:gd name="T63" fmla="*/ 10 h 73"/>
                  <a:gd name="T64" fmla="*/ 0 w 83"/>
                  <a:gd name="T65" fmla="*/ 15 h 73"/>
                  <a:gd name="T66" fmla="*/ 7 w 83"/>
                  <a:gd name="T67" fmla="*/ 24 h 73"/>
                  <a:gd name="T68" fmla="*/ 2 w 83"/>
                  <a:gd name="T69" fmla="*/ 19 h 73"/>
                  <a:gd name="T70" fmla="*/ 9 w 83"/>
                  <a:gd name="T71" fmla="*/ 24 h 73"/>
                  <a:gd name="T72" fmla="*/ 12 w 83"/>
                  <a:gd name="T73" fmla="*/ 29 h 73"/>
                  <a:gd name="T74" fmla="*/ 7 w 83"/>
                  <a:gd name="T75" fmla="*/ 31 h 73"/>
                  <a:gd name="T76" fmla="*/ 14 w 83"/>
                  <a:gd name="T77" fmla="*/ 33 h 73"/>
                  <a:gd name="T78" fmla="*/ 17 w 83"/>
                  <a:gd name="T79" fmla="*/ 41 h 73"/>
                  <a:gd name="T80" fmla="*/ 17 w 83"/>
                  <a:gd name="T81" fmla="*/ 45 h 73"/>
                  <a:gd name="T82" fmla="*/ 17 w 83"/>
                  <a:gd name="T83" fmla="*/ 48 h 73"/>
                  <a:gd name="T84" fmla="*/ 21 w 83"/>
                  <a:gd name="T85" fmla="*/ 50 h 73"/>
                  <a:gd name="T86" fmla="*/ 21 w 83"/>
                  <a:gd name="T87" fmla="*/ 55 h 73"/>
                  <a:gd name="T88" fmla="*/ 24 w 83"/>
                  <a:gd name="T89" fmla="*/ 59 h 73"/>
                  <a:gd name="T90" fmla="*/ 24 w 83"/>
                  <a:gd name="T91" fmla="*/ 62 h 73"/>
                  <a:gd name="T92" fmla="*/ 24 w 83"/>
                  <a:gd name="T93" fmla="*/ 57 h 73"/>
                  <a:gd name="T94" fmla="*/ 26 w 83"/>
                  <a:gd name="T95" fmla="*/ 55 h 73"/>
                  <a:gd name="T96" fmla="*/ 31 w 83"/>
                  <a:gd name="T97" fmla="*/ 55 h 73"/>
                  <a:gd name="T98" fmla="*/ 35 w 83"/>
                  <a:gd name="T99" fmla="*/ 59 h 73"/>
                  <a:gd name="T100" fmla="*/ 33 w 83"/>
                  <a:gd name="T101" fmla="*/ 66 h 73"/>
                  <a:gd name="T102" fmla="*/ 38 w 83"/>
                  <a:gd name="T103" fmla="*/ 69 h 73"/>
                  <a:gd name="T104" fmla="*/ 45 w 83"/>
                  <a:gd name="T105" fmla="*/ 69 h 73"/>
                  <a:gd name="T106" fmla="*/ 50 w 83"/>
                  <a:gd name="T107" fmla="*/ 69 h 73"/>
                  <a:gd name="T108" fmla="*/ 57 w 83"/>
                  <a:gd name="T109" fmla="*/ 7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73">
                    <a:moveTo>
                      <a:pt x="61" y="73"/>
                    </a:moveTo>
                    <a:lnTo>
                      <a:pt x="64" y="71"/>
                    </a:lnTo>
                    <a:lnTo>
                      <a:pt x="64" y="71"/>
                    </a:lnTo>
                    <a:lnTo>
                      <a:pt x="64" y="71"/>
                    </a:lnTo>
                    <a:lnTo>
                      <a:pt x="66" y="69"/>
                    </a:lnTo>
                    <a:lnTo>
                      <a:pt x="68" y="69"/>
                    </a:lnTo>
                    <a:lnTo>
                      <a:pt x="71" y="69"/>
                    </a:lnTo>
                    <a:lnTo>
                      <a:pt x="73" y="69"/>
                    </a:lnTo>
                    <a:lnTo>
                      <a:pt x="73" y="69"/>
                    </a:lnTo>
                    <a:lnTo>
                      <a:pt x="76" y="69"/>
                    </a:lnTo>
                    <a:lnTo>
                      <a:pt x="76" y="66"/>
                    </a:lnTo>
                    <a:lnTo>
                      <a:pt x="76" y="66"/>
                    </a:lnTo>
                    <a:lnTo>
                      <a:pt x="78" y="64"/>
                    </a:lnTo>
                    <a:lnTo>
                      <a:pt x="78" y="62"/>
                    </a:lnTo>
                    <a:lnTo>
                      <a:pt x="80" y="62"/>
                    </a:lnTo>
                    <a:lnTo>
                      <a:pt x="80" y="59"/>
                    </a:lnTo>
                    <a:lnTo>
                      <a:pt x="80" y="57"/>
                    </a:lnTo>
                    <a:lnTo>
                      <a:pt x="80" y="55"/>
                    </a:lnTo>
                    <a:lnTo>
                      <a:pt x="80" y="55"/>
                    </a:lnTo>
                    <a:lnTo>
                      <a:pt x="80" y="50"/>
                    </a:lnTo>
                    <a:lnTo>
                      <a:pt x="80" y="48"/>
                    </a:lnTo>
                    <a:lnTo>
                      <a:pt x="80" y="48"/>
                    </a:lnTo>
                    <a:lnTo>
                      <a:pt x="78" y="43"/>
                    </a:lnTo>
                    <a:lnTo>
                      <a:pt x="78" y="43"/>
                    </a:lnTo>
                    <a:lnTo>
                      <a:pt x="78" y="41"/>
                    </a:lnTo>
                    <a:lnTo>
                      <a:pt x="80" y="41"/>
                    </a:lnTo>
                    <a:lnTo>
                      <a:pt x="80" y="41"/>
                    </a:lnTo>
                    <a:lnTo>
                      <a:pt x="83" y="41"/>
                    </a:lnTo>
                    <a:lnTo>
                      <a:pt x="83" y="41"/>
                    </a:lnTo>
                    <a:lnTo>
                      <a:pt x="83" y="41"/>
                    </a:lnTo>
                    <a:lnTo>
                      <a:pt x="80" y="33"/>
                    </a:lnTo>
                    <a:lnTo>
                      <a:pt x="80" y="33"/>
                    </a:lnTo>
                    <a:lnTo>
                      <a:pt x="73" y="24"/>
                    </a:lnTo>
                    <a:lnTo>
                      <a:pt x="71" y="22"/>
                    </a:lnTo>
                    <a:lnTo>
                      <a:pt x="66" y="22"/>
                    </a:lnTo>
                    <a:lnTo>
                      <a:pt x="66" y="22"/>
                    </a:lnTo>
                    <a:lnTo>
                      <a:pt x="64" y="22"/>
                    </a:lnTo>
                    <a:lnTo>
                      <a:pt x="66" y="22"/>
                    </a:lnTo>
                    <a:lnTo>
                      <a:pt x="66" y="24"/>
                    </a:lnTo>
                    <a:lnTo>
                      <a:pt x="64" y="24"/>
                    </a:lnTo>
                    <a:lnTo>
                      <a:pt x="64" y="24"/>
                    </a:lnTo>
                    <a:lnTo>
                      <a:pt x="64" y="24"/>
                    </a:lnTo>
                    <a:lnTo>
                      <a:pt x="64" y="22"/>
                    </a:lnTo>
                    <a:lnTo>
                      <a:pt x="64" y="19"/>
                    </a:lnTo>
                    <a:lnTo>
                      <a:pt x="64" y="19"/>
                    </a:lnTo>
                    <a:lnTo>
                      <a:pt x="71" y="22"/>
                    </a:lnTo>
                    <a:lnTo>
                      <a:pt x="73" y="19"/>
                    </a:lnTo>
                    <a:lnTo>
                      <a:pt x="76" y="19"/>
                    </a:lnTo>
                    <a:lnTo>
                      <a:pt x="76" y="17"/>
                    </a:lnTo>
                    <a:lnTo>
                      <a:pt x="76" y="17"/>
                    </a:lnTo>
                    <a:lnTo>
                      <a:pt x="76" y="15"/>
                    </a:lnTo>
                    <a:lnTo>
                      <a:pt x="73" y="15"/>
                    </a:lnTo>
                    <a:lnTo>
                      <a:pt x="73" y="12"/>
                    </a:lnTo>
                    <a:lnTo>
                      <a:pt x="73" y="12"/>
                    </a:lnTo>
                    <a:lnTo>
                      <a:pt x="73" y="12"/>
                    </a:lnTo>
                    <a:lnTo>
                      <a:pt x="73" y="10"/>
                    </a:lnTo>
                    <a:lnTo>
                      <a:pt x="73" y="10"/>
                    </a:lnTo>
                    <a:lnTo>
                      <a:pt x="71" y="5"/>
                    </a:lnTo>
                    <a:lnTo>
                      <a:pt x="68" y="3"/>
                    </a:lnTo>
                    <a:lnTo>
                      <a:pt x="66" y="3"/>
                    </a:lnTo>
                    <a:lnTo>
                      <a:pt x="66" y="3"/>
                    </a:lnTo>
                    <a:lnTo>
                      <a:pt x="66" y="5"/>
                    </a:lnTo>
                    <a:lnTo>
                      <a:pt x="66" y="8"/>
                    </a:lnTo>
                    <a:lnTo>
                      <a:pt x="66" y="8"/>
                    </a:lnTo>
                    <a:lnTo>
                      <a:pt x="66" y="8"/>
                    </a:lnTo>
                    <a:lnTo>
                      <a:pt x="66" y="8"/>
                    </a:lnTo>
                    <a:lnTo>
                      <a:pt x="66" y="10"/>
                    </a:lnTo>
                    <a:lnTo>
                      <a:pt x="66" y="12"/>
                    </a:lnTo>
                    <a:lnTo>
                      <a:pt x="66" y="15"/>
                    </a:lnTo>
                    <a:lnTo>
                      <a:pt x="66" y="15"/>
                    </a:lnTo>
                    <a:lnTo>
                      <a:pt x="64" y="12"/>
                    </a:lnTo>
                    <a:lnTo>
                      <a:pt x="64" y="12"/>
                    </a:lnTo>
                    <a:lnTo>
                      <a:pt x="64" y="12"/>
                    </a:lnTo>
                    <a:lnTo>
                      <a:pt x="64" y="15"/>
                    </a:lnTo>
                    <a:lnTo>
                      <a:pt x="64" y="15"/>
                    </a:lnTo>
                    <a:lnTo>
                      <a:pt x="64" y="15"/>
                    </a:lnTo>
                    <a:lnTo>
                      <a:pt x="66" y="15"/>
                    </a:lnTo>
                    <a:lnTo>
                      <a:pt x="66" y="15"/>
                    </a:lnTo>
                    <a:lnTo>
                      <a:pt x="66" y="17"/>
                    </a:lnTo>
                    <a:lnTo>
                      <a:pt x="66" y="17"/>
                    </a:lnTo>
                    <a:lnTo>
                      <a:pt x="66" y="17"/>
                    </a:lnTo>
                    <a:lnTo>
                      <a:pt x="64" y="17"/>
                    </a:lnTo>
                    <a:lnTo>
                      <a:pt x="59" y="19"/>
                    </a:lnTo>
                    <a:lnTo>
                      <a:pt x="59" y="19"/>
                    </a:lnTo>
                    <a:lnTo>
                      <a:pt x="57" y="22"/>
                    </a:lnTo>
                    <a:lnTo>
                      <a:pt x="54" y="24"/>
                    </a:lnTo>
                    <a:lnTo>
                      <a:pt x="52" y="22"/>
                    </a:lnTo>
                    <a:lnTo>
                      <a:pt x="57" y="17"/>
                    </a:lnTo>
                    <a:lnTo>
                      <a:pt x="57" y="17"/>
                    </a:lnTo>
                    <a:lnTo>
                      <a:pt x="57" y="17"/>
                    </a:lnTo>
                    <a:lnTo>
                      <a:pt x="57" y="17"/>
                    </a:lnTo>
                    <a:lnTo>
                      <a:pt x="59" y="15"/>
                    </a:lnTo>
                    <a:lnTo>
                      <a:pt x="59" y="15"/>
                    </a:lnTo>
                    <a:lnTo>
                      <a:pt x="57" y="15"/>
                    </a:lnTo>
                    <a:lnTo>
                      <a:pt x="57" y="15"/>
                    </a:lnTo>
                    <a:lnTo>
                      <a:pt x="57" y="12"/>
                    </a:lnTo>
                    <a:lnTo>
                      <a:pt x="57" y="12"/>
                    </a:lnTo>
                    <a:lnTo>
                      <a:pt x="59" y="12"/>
                    </a:lnTo>
                    <a:lnTo>
                      <a:pt x="59" y="12"/>
                    </a:lnTo>
                    <a:lnTo>
                      <a:pt x="57" y="10"/>
                    </a:lnTo>
                    <a:lnTo>
                      <a:pt x="57" y="10"/>
                    </a:lnTo>
                    <a:lnTo>
                      <a:pt x="57" y="10"/>
                    </a:lnTo>
                    <a:lnTo>
                      <a:pt x="54" y="10"/>
                    </a:lnTo>
                    <a:lnTo>
                      <a:pt x="54" y="8"/>
                    </a:lnTo>
                    <a:lnTo>
                      <a:pt x="54" y="8"/>
                    </a:lnTo>
                    <a:lnTo>
                      <a:pt x="52" y="5"/>
                    </a:lnTo>
                    <a:lnTo>
                      <a:pt x="47" y="3"/>
                    </a:lnTo>
                    <a:lnTo>
                      <a:pt x="45" y="0"/>
                    </a:lnTo>
                    <a:lnTo>
                      <a:pt x="45" y="0"/>
                    </a:lnTo>
                    <a:lnTo>
                      <a:pt x="45" y="5"/>
                    </a:lnTo>
                    <a:lnTo>
                      <a:pt x="45" y="5"/>
                    </a:lnTo>
                    <a:lnTo>
                      <a:pt x="43" y="5"/>
                    </a:lnTo>
                    <a:lnTo>
                      <a:pt x="43" y="5"/>
                    </a:lnTo>
                    <a:lnTo>
                      <a:pt x="43" y="3"/>
                    </a:lnTo>
                    <a:lnTo>
                      <a:pt x="43" y="3"/>
                    </a:lnTo>
                    <a:lnTo>
                      <a:pt x="43" y="3"/>
                    </a:lnTo>
                    <a:lnTo>
                      <a:pt x="40" y="3"/>
                    </a:lnTo>
                    <a:lnTo>
                      <a:pt x="38" y="3"/>
                    </a:lnTo>
                    <a:lnTo>
                      <a:pt x="35" y="5"/>
                    </a:lnTo>
                    <a:lnTo>
                      <a:pt x="26" y="8"/>
                    </a:lnTo>
                    <a:lnTo>
                      <a:pt x="19" y="15"/>
                    </a:lnTo>
                    <a:lnTo>
                      <a:pt x="17" y="15"/>
                    </a:lnTo>
                    <a:lnTo>
                      <a:pt x="12" y="12"/>
                    </a:lnTo>
                    <a:lnTo>
                      <a:pt x="12" y="12"/>
                    </a:lnTo>
                    <a:lnTo>
                      <a:pt x="12" y="10"/>
                    </a:lnTo>
                    <a:lnTo>
                      <a:pt x="12" y="10"/>
                    </a:lnTo>
                    <a:lnTo>
                      <a:pt x="9" y="10"/>
                    </a:lnTo>
                    <a:lnTo>
                      <a:pt x="7" y="10"/>
                    </a:lnTo>
                    <a:lnTo>
                      <a:pt x="2" y="15"/>
                    </a:lnTo>
                    <a:lnTo>
                      <a:pt x="2" y="15"/>
                    </a:lnTo>
                    <a:lnTo>
                      <a:pt x="2" y="15"/>
                    </a:lnTo>
                    <a:lnTo>
                      <a:pt x="0" y="15"/>
                    </a:lnTo>
                    <a:lnTo>
                      <a:pt x="0" y="17"/>
                    </a:lnTo>
                    <a:lnTo>
                      <a:pt x="2" y="17"/>
                    </a:lnTo>
                    <a:lnTo>
                      <a:pt x="9" y="24"/>
                    </a:lnTo>
                    <a:lnTo>
                      <a:pt x="7" y="24"/>
                    </a:lnTo>
                    <a:lnTo>
                      <a:pt x="7" y="22"/>
                    </a:lnTo>
                    <a:lnTo>
                      <a:pt x="5" y="19"/>
                    </a:lnTo>
                    <a:lnTo>
                      <a:pt x="2" y="19"/>
                    </a:lnTo>
                    <a:lnTo>
                      <a:pt x="2" y="19"/>
                    </a:lnTo>
                    <a:lnTo>
                      <a:pt x="5" y="24"/>
                    </a:lnTo>
                    <a:lnTo>
                      <a:pt x="5" y="24"/>
                    </a:lnTo>
                    <a:lnTo>
                      <a:pt x="9" y="24"/>
                    </a:lnTo>
                    <a:lnTo>
                      <a:pt x="9" y="24"/>
                    </a:lnTo>
                    <a:lnTo>
                      <a:pt x="9" y="26"/>
                    </a:lnTo>
                    <a:lnTo>
                      <a:pt x="9" y="26"/>
                    </a:lnTo>
                    <a:lnTo>
                      <a:pt x="7" y="26"/>
                    </a:lnTo>
                    <a:lnTo>
                      <a:pt x="12" y="29"/>
                    </a:lnTo>
                    <a:lnTo>
                      <a:pt x="12" y="29"/>
                    </a:lnTo>
                    <a:lnTo>
                      <a:pt x="9" y="31"/>
                    </a:lnTo>
                    <a:lnTo>
                      <a:pt x="9" y="31"/>
                    </a:lnTo>
                    <a:lnTo>
                      <a:pt x="7" y="31"/>
                    </a:lnTo>
                    <a:lnTo>
                      <a:pt x="9" y="33"/>
                    </a:lnTo>
                    <a:lnTo>
                      <a:pt x="9" y="33"/>
                    </a:lnTo>
                    <a:lnTo>
                      <a:pt x="12" y="33"/>
                    </a:lnTo>
                    <a:lnTo>
                      <a:pt x="14" y="33"/>
                    </a:lnTo>
                    <a:lnTo>
                      <a:pt x="14" y="33"/>
                    </a:lnTo>
                    <a:lnTo>
                      <a:pt x="17" y="33"/>
                    </a:lnTo>
                    <a:lnTo>
                      <a:pt x="14" y="38"/>
                    </a:lnTo>
                    <a:lnTo>
                      <a:pt x="17" y="41"/>
                    </a:lnTo>
                    <a:lnTo>
                      <a:pt x="17" y="41"/>
                    </a:lnTo>
                    <a:lnTo>
                      <a:pt x="17" y="43"/>
                    </a:lnTo>
                    <a:lnTo>
                      <a:pt x="17" y="43"/>
                    </a:lnTo>
                    <a:lnTo>
                      <a:pt x="17" y="45"/>
                    </a:lnTo>
                    <a:lnTo>
                      <a:pt x="14" y="45"/>
                    </a:lnTo>
                    <a:lnTo>
                      <a:pt x="17" y="45"/>
                    </a:lnTo>
                    <a:lnTo>
                      <a:pt x="17" y="48"/>
                    </a:lnTo>
                    <a:lnTo>
                      <a:pt x="17" y="48"/>
                    </a:lnTo>
                    <a:lnTo>
                      <a:pt x="17" y="48"/>
                    </a:lnTo>
                    <a:lnTo>
                      <a:pt x="17" y="50"/>
                    </a:lnTo>
                    <a:lnTo>
                      <a:pt x="19" y="50"/>
                    </a:lnTo>
                    <a:lnTo>
                      <a:pt x="21" y="50"/>
                    </a:lnTo>
                    <a:lnTo>
                      <a:pt x="21" y="52"/>
                    </a:lnTo>
                    <a:lnTo>
                      <a:pt x="21" y="52"/>
                    </a:lnTo>
                    <a:lnTo>
                      <a:pt x="21" y="52"/>
                    </a:lnTo>
                    <a:lnTo>
                      <a:pt x="21" y="55"/>
                    </a:lnTo>
                    <a:lnTo>
                      <a:pt x="21" y="55"/>
                    </a:lnTo>
                    <a:lnTo>
                      <a:pt x="24" y="59"/>
                    </a:lnTo>
                    <a:lnTo>
                      <a:pt x="24" y="59"/>
                    </a:lnTo>
                    <a:lnTo>
                      <a:pt x="24" y="59"/>
                    </a:lnTo>
                    <a:lnTo>
                      <a:pt x="21" y="59"/>
                    </a:lnTo>
                    <a:lnTo>
                      <a:pt x="21" y="62"/>
                    </a:lnTo>
                    <a:lnTo>
                      <a:pt x="21" y="62"/>
                    </a:lnTo>
                    <a:lnTo>
                      <a:pt x="24" y="62"/>
                    </a:lnTo>
                    <a:lnTo>
                      <a:pt x="24" y="62"/>
                    </a:lnTo>
                    <a:lnTo>
                      <a:pt x="26" y="62"/>
                    </a:lnTo>
                    <a:lnTo>
                      <a:pt x="26" y="59"/>
                    </a:lnTo>
                    <a:lnTo>
                      <a:pt x="24" y="57"/>
                    </a:lnTo>
                    <a:lnTo>
                      <a:pt x="24" y="55"/>
                    </a:lnTo>
                    <a:lnTo>
                      <a:pt x="24" y="52"/>
                    </a:lnTo>
                    <a:lnTo>
                      <a:pt x="24" y="55"/>
                    </a:lnTo>
                    <a:lnTo>
                      <a:pt x="26" y="55"/>
                    </a:lnTo>
                    <a:lnTo>
                      <a:pt x="28" y="55"/>
                    </a:lnTo>
                    <a:lnTo>
                      <a:pt x="28" y="55"/>
                    </a:lnTo>
                    <a:lnTo>
                      <a:pt x="28" y="55"/>
                    </a:lnTo>
                    <a:lnTo>
                      <a:pt x="31" y="55"/>
                    </a:lnTo>
                    <a:lnTo>
                      <a:pt x="31" y="55"/>
                    </a:lnTo>
                    <a:lnTo>
                      <a:pt x="33" y="57"/>
                    </a:lnTo>
                    <a:lnTo>
                      <a:pt x="33" y="59"/>
                    </a:lnTo>
                    <a:lnTo>
                      <a:pt x="35" y="59"/>
                    </a:lnTo>
                    <a:lnTo>
                      <a:pt x="33" y="62"/>
                    </a:lnTo>
                    <a:lnTo>
                      <a:pt x="28" y="66"/>
                    </a:lnTo>
                    <a:lnTo>
                      <a:pt x="28" y="66"/>
                    </a:lnTo>
                    <a:lnTo>
                      <a:pt x="33" y="66"/>
                    </a:lnTo>
                    <a:lnTo>
                      <a:pt x="33" y="66"/>
                    </a:lnTo>
                    <a:lnTo>
                      <a:pt x="35" y="66"/>
                    </a:lnTo>
                    <a:lnTo>
                      <a:pt x="35" y="69"/>
                    </a:lnTo>
                    <a:lnTo>
                      <a:pt x="38" y="69"/>
                    </a:lnTo>
                    <a:lnTo>
                      <a:pt x="38" y="66"/>
                    </a:lnTo>
                    <a:lnTo>
                      <a:pt x="38" y="66"/>
                    </a:lnTo>
                    <a:lnTo>
                      <a:pt x="40" y="66"/>
                    </a:lnTo>
                    <a:lnTo>
                      <a:pt x="45" y="69"/>
                    </a:lnTo>
                    <a:lnTo>
                      <a:pt x="47" y="69"/>
                    </a:lnTo>
                    <a:lnTo>
                      <a:pt x="50" y="69"/>
                    </a:lnTo>
                    <a:lnTo>
                      <a:pt x="50" y="69"/>
                    </a:lnTo>
                    <a:lnTo>
                      <a:pt x="50" y="69"/>
                    </a:lnTo>
                    <a:lnTo>
                      <a:pt x="50" y="71"/>
                    </a:lnTo>
                    <a:lnTo>
                      <a:pt x="52" y="71"/>
                    </a:lnTo>
                    <a:lnTo>
                      <a:pt x="52" y="71"/>
                    </a:lnTo>
                    <a:lnTo>
                      <a:pt x="57" y="71"/>
                    </a:lnTo>
                    <a:lnTo>
                      <a:pt x="59" y="73"/>
                    </a:lnTo>
                    <a:lnTo>
                      <a:pt x="61"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82" name="Freeform 170">
                <a:extLst>
                  <a:ext uri="{FF2B5EF4-FFF2-40B4-BE49-F238E27FC236}">
                    <a16:creationId xmlns:a16="http://schemas.microsoft.com/office/drawing/2014/main" id="{0E37881C-2DAD-41FE-8765-B2B0C8AF4EFD}"/>
                  </a:ext>
                </a:extLst>
              </p:cNvPr>
              <p:cNvSpPr>
                <a:spLocks/>
              </p:cNvSpPr>
              <p:nvPr/>
            </p:nvSpPr>
            <p:spPr bwMode="gray">
              <a:xfrm>
                <a:off x="-2045" y="1040"/>
                <a:ext cx="30" cy="29"/>
              </a:xfrm>
              <a:custGeom>
                <a:avLst/>
                <a:gdLst>
                  <a:gd name="T0" fmla="*/ 21 w 30"/>
                  <a:gd name="T1" fmla="*/ 24 h 29"/>
                  <a:gd name="T2" fmla="*/ 16 w 30"/>
                  <a:gd name="T3" fmla="*/ 24 h 29"/>
                  <a:gd name="T4" fmla="*/ 19 w 30"/>
                  <a:gd name="T5" fmla="*/ 26 h 29"/>
                  <a:gd name="T6" fmla="*/ 21 w 30"/>
                  <a:gd name="T7" fmla="*/ 29 h 29"/>
                  <a:gd name="T8" fmla="*/ 26 w 30"/>
                  <a:gd name="T9" fmla="*/ 26 h 29"/>
                  <a:gd name="T10" fmla="*/ 26 w 30"/>
                  <a:gd name="T11" fmla="*/ 26 h 29"/>
                  <a:gd name="T12" fmla="*/ 30 w 30"/>
                  <a:gd name="T13" fmla="*/ 26 h 29"/>
                  <a:gd name="T14" fmla="*/ 28 w 30"/>
                  <a:gd name="T15" fmla="*/ 17 h 29"/>
                  <a:gd name="T16" fmla="*/ 26 w 30"/>
                  <a:gd name="T17" fmla="*/ 12 h 29"/>
                  <a:gd name="T18" fmla="*/ 21 w 30"/>
                  <a:gd name="T19" fmla="*/ 7 h 29"/>
                  <a:gd name="T20" fmla="*/ 16 w 30"/>
                  <a:gd name="T21" fmla="*/ 5 h 29"/>
                  <a:gd name="T22" fmla="*/ 9 w 30"/>
                  <a:gd name="T23" fmla="*/ 0 h 29"/>
                  <a:gd name="T24" fmla="*/ 0 w 30"/>
                  <a:gd name="T25" fmla="*/ 3 h 29"/>
                  <a:gd name="T26" fmla="*/ 0 w 30"/>
                  <a:gd name="T27" fmla="*/ 5 h 29"/>
                  <a:gd name="T28" fmla="*/ 2 w 30"/>
                  <a:gd name="T29" fmla="*/ 5 h 29"/>
                  <a:gd name="T30" fmla="*/ 4 w 30"/>
                  <a:gd name="T31" fmla="*/ 5 h 29"/>
                  <a:gd name="T32" fmla="*/ 2 w 30"/>
                  <a:gd name="T33" fmla="*/ 7 h 29"/>
                  <a:gd name="T34" fmla="*/ 2 w 30"/>
                  <a:gd name="T35" fmla="*/ 7 h 29"/>
                  <a:gd name="T36" fmla="*/ 4 w 30"/>
                  <a:gd name="T37" fmla="*/ 10 h 29"/>
                  <a:gd name="T38" fmla="*/ 11 w 30"/>
                  <a:gd name="T39" fmla="*/ 10 h 29"/>
                  <a:gd name="T40" fmla="*/ 9 w 30"/>
                  <a:gd name="T41" fmla="*/ 10 h 29"/>
                  <a:gd name="T42" fmla="*/ 14 w 30"/>
                  <a:gd name="T43" fmla="*/ 15 h 29"/>
                  <a:gd name="T44" fmla="*/ 14 w 30"/>
                  <a:gd name="T45" fmla="*/ 15 h 29"/>
                  <a:gd name="T46" fmla="*/ 14 w 30"/>
                  <a:gd name="T47" fmla="*/ 17 h 29"/>
                  <a:gd name="T48" fmla="*/ 14 w 30"/>
                  <a:gd name="T49" fmla="*/ 17 h 29"/>
                  <a:gd name="T50" fmla="*/ 11 w 30"/>
                  <a:gd name="T51" fmla="*/ 17 h 29"/>
                  <a:gd name="T52" fmla="*/ 9 w 30"/>
                  <a:gd name="T53" fmla="*/ 15 h 29"/>
                  <a:gd name="T54" fmla="*/ 9 w 30"/>
                  <a:gd name="T55" fmla="*/ 15 h 29"/>
                  <a:gd name="T56" fmla="*/ 9 w 30"/>
                  <a:gd name="T57" fmla="*/ 22 h 29"/>
                  <a:gd name="T58" fmla="*/ 16 w 30"/>
                  <a:gd name="T59" fmla="*/ 24 h 29"/>
                  <a:gd name="T60" fmla="*/ 16 w 30"/>
                  <a:gd name="T61" fmla="*/ 22 h 29"/>
                  <a:gd name="T62" fmla="*/ 19 w 30"/>
                  <a:gd name="T63" fmla="*/ 22 h 29"/>
                  <a:gd name="T64" fmla="*/ 26 w 30"/>
                  <a:gd name="T65" fmla="*/ 26 h 29"/>
                  <a:gd name="T66" fmla="*/ 23 w 30"/>
                  <a:gd name="T67" fmla="*/ 2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29">
                    <a:moveTo>
                      <a:pt x="23" y="26"/>
                    </a:moveTo>
                    <a:lnTo>
                      <a:pt x="21" y="24"/>
                    </a:lnTo>
                    <a:lnTo>
                      <a:pt x="19" y="24"/>
                    </a:lnTo>
                    <a:lnTo>
                      <a:pt x="16" y="24"/>
                    </a:lnTo>
                    <a:lnTo>
                      <a:pt x="16" y="24"/>
                    </a:lnTo>
                    <a:lnTo>
                      <a:pt x="19" y="26"/>
                    </a:lnTo>
                    <a:lnTo>
                      <a:pt x="21" y="26"/>
                    </a:lnTo>
                    <a:lnTo>
                      <a:pt x="21" y="29"/>
                    </a:lnTo>
                    <a:lnTo>
                      <a:pt x="23" y="29"/>
                    </a:lnTo>
                    <a:lnTo>
                      <a:pt x="26" y="26"/>
                    </a:lnTo>
                    <a:lnTo>
                      <a:pt x="26" y="26"/>
                    </a:lnTo>
                    <a:lnTo>
                      <a:pt x="26" y="26"/>
                    </a:lnTo>
                    <a:lnTo>
                      <a:pt x="28" y="26"/>
                    </a:lnTo>
                    <a:lnTo>
                      <a:pt x="30" y="26"/>
                    </a:lnTo>
                    <a:lnTo>
                      <a:pt x="30" y="24"/>
                    </a:lnTo>
                    <a:lnTo>
                      <a:pt x="28" y="17"/>
                    </a:lnTo>
                    <a:lnTo>
                      <a:pt x="26" y="15"/>
                    </a:lnTo>
                    <a:lnTo>
                      <a:pt x="26" y="12"/>
                    </a:lnTo>
                    <a:lnTo>
                      <a:pt x="23" y="10"/>
                    </a:lnTo>
                    <a:lnTo>
                      <a:pt x="21" y="7"/>
                    </a:lnTo>
                    <a:lnTo>
                      <a:pt x="19" y="7"/>
                    </a:lnTo>
                    <a:lnTo>
                      <a:pt x="16" y="5"/>
                    </a:lnTo>
                    <a:lnTo>
                      <a:pt x="11" y="0"/>
                    </a:lnTo>
                    <a:lnTo>
                      <a:pt x="9" y="0"/>
                    </a:lnTo>
                    <a:lnTo>
                      <a:pt x="4" y="0"/>
                    </a:lnTo>
                    <a:lnTo>
                      <a:pt x="0" y="3"/>
                    </a:lnTo>
                    <a:lnTo>
                      <a:pt x="0" y="5"/>
                    </a:lnTo>
                    <a:lnTo>
                      <a:pt x="0" y="5"/>
                    </a:lnTo>
                    <a:lnTo>
                      <a:pt x="2" y="5"/>
                    </a:lnTo>
                    <a:lnTo>
                      <a:pt x="2" y="5"/>
                    </a:lnTo>
                    <a:lnTo>
                      <a:pt x="4" y="5"/>
                    </a:lnTo>
                    <a:lnTo>
                      <a:pt x="4" y="5"/>
                    </a:lnTo>
                    <a:lnTo>
                      <a:pt x="2" y="7"/>
                    </a:lnTo>
                    <a:lnTo>
                      <a:pt x="2" y="7"/>
                    </a:lnTo>
                    <a:lnTo>
                      <a:pt x="2" y="7"/>
                    </a:lnTo>
                    <a:lnTo>
                      <a:pt x="2" y="7"/>
                    </a:lnTo>
                    <a:lnTo>
                      <a:pt x="4" y="10"/>
                    </a:lnTo>
                    <a:lnTo>
                      <a:pt x="4" y="10"/>
                    </a:lnTo>
                    <a:lnTo>
                      <a:pt x="7" y="10"/>
                    </a:lnTo>
                    <a:lnTo>
                      <a:pt x="11" y="10"/>
                    </a:lnTo>
                    <a:lnTo>
                      <a:pt x="11" y="10"/>
                    </a:lnTo>
                    <a:lnTo>
                      <a:pt x="9" y="10"/>
                    </a:lnTo>
                    <a:lnTo>
                      <a:pt x="11" y="12"/>
                    </a:lnTo>
                    <a:lnTo>
                      <a:pt x="14" y="15"/>
                    </a:lnTo>
                    <a:lnTo>
                      <a:pt x="14" y="15"/>
                    </a:lnTo>
                    <a:lnTo>
                      <a:pt x="14" y="15"/>
                    </a:lnTo>
                    <a:lnTo>
                      <a:pt x="14" y="15"/>
                    </a:lnTo>
                    <a:lnTo>
                      <a:pt x="14" y="17"/>
                    </a:lnTo>
                    <a:lnTo>
                      <a:pt x="14" y="17"/>
                    </a:lnTo>
                    <a:lnTo>
                      <a:pt x="14" y="17"/>
                    </a:lnTo>
                    <a:lnTo>
                      <a:pt x="14" y="17"/>
                    </a:lnTo>
                    <a:lnTo>
                      <a:pt x="11" y="17"/>
                    </a:lnTo>
                    <a:lnTo>
                      <a:pt x="9" y="15"/>
                    </a:lnTo>
                    <a:lnTo>
                      <a:pt x="9" y="15"/>
                    </a:lnTo>
                    <a:lnTo>
                      <a:pt x="9" y="15"/>
                    </a:lnTo>
                    <a:lnTo>
                      <a:pt x="9" y="15"/>
                    </a:lnTo>
                    <a:lnTo>
                      <a:pt x="9" y="17"/>
                    </a:lnTo>
                    <a:lnTo>
                      <a:pt x="9" y="22"/>
                    </a:lnTo>
                    <a:lnTo>
                      <a:pt x="11" y="24"/>
                    </a:lnTo>
                    <a:lnTo>
                      <a:pt x="16" y="24"/>
                    </a:lnTo>
                    <a:lnTo>
                      <a:pt x="16" y="22"/>
                    </a:lnTo>
                    <a:lnTo>
                      <a:pt x="16" y="22"/>
                    </a:lnTo>
                    <a:lnTo>
                      <a:pt x="19" y="22"/>
                    </a:lnTo>
                    <a:lnTo>
                      <a:pt x="19" y="22"/>
                    </a:lnTo>
                    <a:lnTo>
                      <a:pt x="21" y="22"/>
                    </a:lnTo>
                    <a:lnTo>
                      <a:pt x="26" y="26"/>
                    </a:lnTo>
                    <a:lnTo>
                      <a:pt x="26" y="26"/>
                    </a:lnTo>
                    <a:lnTo>
                      <a:pt x="2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83" name="Freeform 171">
                <a:extLst>
                  <a:ext uri="{FF2B5EF4-FFF2-40B4-BE49-F238E27FC236}">
                    <a16:creationId xmlns:a16="http://schemas.microsoft.com/office/drawing/2014/main" id="{F6461AD2-1EDF-4E97-B614-60BC1DD9E4C0}"/>
                  </a:ext>
                </a:extLst>
              </p:cNvPr>
              <p:cNvSpPr>
                <a:spLocks/>
              </p:cNvSpPr>
              <p:nvPr/>
            </p:nvSpPr>
            <p:spPr bwMode="gray">
              <a:xfrm>
                <a:off x="-1840" y="965"/>
                <a:ext cx="9" cy="19"/>
              </a:xfrm>
              <a:custGeom>
                <a:avLst/>
                <a:gdLst>
                  <a:gd name="T0" fmla="*/ 2 w 9"/>
                  <a:gd name="T1" fmla="*/ 19 h 19"/>
                  <a:gd name="T2" fmla="*/ 5 w 9"/>
                  <a:gd name="T3" fmla="*/ 17 h 19"/>
                  <a:gd name="T4" fmla="*/ 5 w 9"/>
                  <a:gd name="T5" fmla="*/ 17 h 19"/>
                  <a:gd name="T6" fmla="*/ 7 w 9"/>
                  <a:gd name="T7" fmla="*/ 17 h 19"/>
                  <a:gd name="T8" fmla="*/ 7 w 9"/>
                  <a:gd name="T9" fmla="*/ 17 h 19"/>
                  <a:gd name="T10" fmla="*/ 9 w 9"/>
                  <a:gd name="T11" fmla="*/ 12 h 19"/>
                  <a:gd name="T12" fmla="*/ 9 w 9"/>
                  <a:gd name="T13" fmla="*/ 12 h 19"/>
                  <a:gd name="T14" fmla="*/ 5 w 9"/>
                  <a:gd name="T15" fmla="*/ 2 h 19"/>
                  <a:gd name="T16" fmla="*/ 5 w 9"/>
                  <a:gd name="T17" fmla="*/ 0 h 19"/>
                  <a:gd name="T18" fmla="*/ 5 w 9"/>
                  <a:gd name="T19" fmla="*/ 0 h 19"/>
                  <a:gd name="T20" fmla="*/ 5 w 9"/>
                  <a:gd name="T21" fmla="*/ 2 h 19"/>
                  <a:gd name="T22" fmla="*/ 2 w 9"/>
                  <a:gd name="T23" fmla="*/ 5 h 19"/>
                  <a:gd name="T24" fmla="*/ 2 w 9"/>
                  <a:gd name="T25" fmla="*/ 5 h 19"/>
                  <a:gd name="T26" fmla="*/ 2 w 9"/>
                  <a:gd name="T27" fmla="*/ 7 h 19"/>
                  <a:gd name="T28" fmla="*/ 0 w 9"/>
                  <a:gd name="T29" fmla="*/ 7 h 19"/>
                  <a:gd name="T30" fmla="*/ 0 w 9"/>
                  <a:gd name="T31" fmla="*/ 9 h 19"/>
                  <a:gd name="T32" fmla="*/ 0 w 9"/>
                  <a:gd name="T33" fmla="*/ 9 h 19"/>
                  <a:gd name="T34" fmla="*/ 0 w 9"/>
                  <a:gd name="T35" fmla="*/ 12 h 19"/>
                  <a:gd name="T36" fmla="*/ 0 w 9"/>
                  <a:gd name="T37" fmla="*/ 17 h 19"/>
                  <a:gd name="T38" fmla="*/ 2 w 9"/>
                  <a:gd name="T39" fmla="*/ 19 h 19"/>
                  <a:gd name="T40" fmla="*/ 2 w 9"/>
                  <a:gd name="T4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19">
                    <a:moveTo>
                      <a:pt x="2" y="19"/>
                    </a:moveTo>
                    <a:lnTo>
                      <a:pt x="5" y="17"/>
                    </a:lnTo>
                    <a:lnTo>
                      <a:pt x="5" y="17"/>
                    </a:lnTo>
                    <a:lnTo>
                      <a:pt x="7" y="17"/>
                    </a:lnTo>
                    <a:lnTo>
                      <a:pt x="7" y="17"/>
                    </a:lnTo>
                    <a:lnTo>
                      <a:pt x="9" y="12"/>
                    </a:lnTo>
                    <a:lnTo>
                      <a:pt x="9" y="12"/>
                    </a:lnTo>
                    <a:lnTo>
                      <a:pt x="5" y="2"/>
                    </a:lnTo>
                    <a:lnTo>
                      <a:pt x="5" y="0"/>
                    </a:lnTo>
                    <a:lnTo>
                      <a:pt x="5" y="0"/>
                    </a:lnTo>
                    <a:lnTo>
                      <a:pt x="5" y="2"/>
                    </a:lnTo>
                    <a:lnTo>
                      <a:pt x="2" y="5"/>
                    </a:lnTo>
                    <a:lnTo>
                      <a:pt x="2" y="5"/>
                    </a:lnTo>
                    <a:lnTo>
                      <a:pt x="2" y="7"/>
                    </a:lnTo>
                    <a:lnTo>
                      <a:pt x="0" y="7"/>
                    </a:lnTo>
                    <a:lnTo>
                      <a:pt x="0" y="9"/>
                    </a:lnTo>
                    <a:lnTo>
                      <a:pt x="0" y="9"/>
                    </a:lnTo>
                    <a:lnTo>
                      <a:pt x="0" y="12"/>
                    </a:lnTo>
                    <a:lnTo>
                      <a:pt x="0" y="17"/>
                    </a:lnTo>
                    <a:lnTo>
                      <a:pt x="2" y="19"/>
                    </a:lnTo>
                    <a:lnTo>
                      <a:pt x="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84" name="Freeform 172">
                <a:extLst>
                  <a:ext uri="{FF2B5EF4-FFF2-40B4-BE49-F238E27FC236}">
                    <a16:creationId xmlns:a16="http://schemas.microsoft.com/office/drawing/2014/main" id="{201D3DE5-73F5-4F54-9819-B59291C5E7FC}"/>
                  </a:ext>
                </a:extLst>
              </p:cNvPr>
              <p:cNvSpPr>
                <a:spLocks/>
              </p:cNvSpPr>
              <p:nvPr/>
            </p:nvSpPr>
            <p:spPr bwMode="gray">
              <a:xfrm>
                <a:off x="-2126" y="805"/>
                <a:ext cx="31" cy="38"/>
              </a:xfrm>
              <a:custGeom>
                <a:avLst/>
                <a:gdLst>
                  <a:gd name="T0" fmla="*/ 3 w 31"/>
                  <a:gd name="T1" fmla="*/ 28 h 38"/>
                  <a:gd name="T2" fmla="*/ 3 w 31"/>
                  <a:gd name="T3" fmla="*/ 28 h 38"/>
                  <a:gd name="T4" fmla="*/ 0 w 31"/>
                  <a:gd name="T5" fmla="*/ 30 h 38"/>
                  <a:gd name="T6" fmla="*/ 5 w 31"/>
                  <a:gd name="T7" fmla="*/ 28 h 38"/>
                  <a:gd name="T8" fmla="*/ 8 w 31"/>
                  <a:gd name="T9" fmla="*/ 30 h 38"/>
                  <a:gd name="T10" fmla="*/ 10 w 31"/>
                  <a:gd name="T11" fmla="*/ 33 h 38"/>
                  <a:gd name="T12" fmla="*/ 12 w 31"/>
                  <a:gd name="T13" fmla="*/ 38 h 38"/>
                  <a:gd name="T14" fmla="*/ 19 w 31"/>
                  <a:gd name="T15" fmla="*/ 35 h 38"/>
                  <a:gd name="T16" fmla="*/ 22 w 31"/>
                  <a:gd name="T17" fmla="*/ 30 h 38"/>
                  <a:gd name="T18" fmla="*/ 24 w 31"/>
                  <a:gd name="T19" fmla="*/ 28 h 38"/>
                  <a:gd name="T20" fmla="*/ 26 w 31"/>
                  <a:gd name="T21" fmla="*/ 23 h 38"/>
                  <a:gd name="T22" fmla="*/ 26 w 31"/>
                  <a:gd name="T23" fmla="*/ 21 h 38"/>
                  <a:gd name="T24" fmla="*/ 26 w 31"/>
                  <a:gd name="T25" fmla="*/ 21 h 38"/>
                  <a:gd name="T26" fmla="*/ 26 w 31"/>
                  <a:gd name="T27" fmla="*/ 19 h 38"/>
                  <a:gd name="T28" fmla="*/ 24 w 31"/>
                  <a:gd name="T29" fmla="*/ 14 h 38"/>
                  <a:gd name="T30" fmla="*/ 24 w 31"/>
                  <a:gd name="T31" fmla="*/ 14 h 38"/>
                  <a:gd name="T32" fmla="*/ 24 w 31"/>
                  <a:gd name="T33" fmla="*/ 12 h 38"/>
                  <a:gd name="T34" fmla="*/ 26 w 31"/>
                  <a:gd name="T35" fmla="*/ 9 h 38"/>
                  <a:gd name="T36" fmla="*/ 26 w 31"/>
                  <a:gd name="T37" fmla="*/ 12 h 38"/>
                  <a:gd name="T38" fmla="*/ 29 w 31"/>
                  <a:gd name="T39" fmla="*/ 14 h 38"/>
                  <a:gd name="T40" fmla="*/ 29 w 31"/>
                  <a:gd name="T41" fmla="*/ 12 h 38"/>
                  <a:gd name="T42" fmla="*/ 31 w 31"/>
                  <a:gd name="T43" fmla="*/ 7 h 38"/>
                  <a:gd name="T44" fmla="*/ 29 w 31"/>
                  <a:gd name="T45" fmla="*/ 5 h 38"/>
                  <a:gd name="T46" fmla="*/ 29 w 31"/>
                  <a:gd name="T47" fmla="*/ 2 h 38"/>
                  <a:gd name="T48" fmla="*/ 31 w 31"/>
                  <a:gd name="T49" fmla="*/ 0 h 38"/>
                  <a:gd name="T50" fmla="*/ 29 w 31"/>
                  <a:gd name="T51" fmla="*/ 2 h 38"/>
                  <a:gd name="T52" fmla="*/ 26 w 31"/>
                  <a:gd name="T53" fmla="*/ 2 h 38"/>
                  <a:gd name="T54" fmla="*/ 22 w 31"/>
                  <a:gd name="T55" fmla="*/ 7 h 38"/>
                  <a:gd name="T56" fmla="*/ 19 w 31"/>
                  <a:gd name="T57" fmla="*/ 9 h 38"/>
                  <a:gd name="T58" fmla="*/ 12 w 31"/>
                  <a:gd name="T59" fmla="*/ 9 h 38"/>
                  <a:gd name="T60" fmla="*/ 12 w 31"/>
                  <a:gd name="T61" fmla="*/ 9 h 38"/>
                  <a:gd name="T62" fmla="*/ 10 w 31"/>
                  <a:gd name="T63" fmla="*/ 9 h 38"/>
                  <a:gd name="T64" fmla="*/ 10 w 31"/>
                  <a:gd name="T65" fmla="*/ 14 h 38"/>
                  <a:gd name="T66" fmla="*/ 10 w 31"/>
                  <a:gd name="T67" fmla="*/ 14 h 38"/>
                  <a:gd name="T68" fmla="*/ 10 w 31"/>
                  <a:gd name="T69" fmla="*/ 19 h 38"/>
                  <a:gd name="T70" fmla="*/ 10 w 31"/>
                  <a:gd name="T71" fmla="*/ 19 h 38"/>
                  <a:gd name="T72" fmla="*/ 12 w 31"/>
                  <a:gd name="T73" fmla="*/ 19 h 38"/>
                  <a:gd name="T74" fmla="*/ 5 w 31"/>
                  <a:gd name="T75" fmla="*/ 21 h 38"/>
                  <a:gd name="T76" fmla="*/ 3 w 31"/>
                  <a:gd name="T77" fmla="*/ 23 h 38"/>
                  <a:gd name="T78" fmla="*/ 3 w 31"/>
                  <a:gd name="T79"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1" h="38">
                    <a:moveTo>
                      <a:pt x="3" y="26"/>
                    </a:moveTo>
                    <a:lnTo>
                      <a:pt x="3" y="28"/>
                    </a:lnTo>
                    <a:lnTo>
                      <a:pt x="3" y="28"/>
                    </a:lnTo>
                    <a:lnTo>
                      <a:pt x="3" y="28"/>
                    </a:lnTo>
                    <a:lnTo>
                      <a:pt x="0" y="28"/>
                    </a:lnTo>
                    <a:lnTo>
                      <a:pt x="0" y="30"/>
                    </a:lnTo>
                    <a:lnTo>
                      <a:pt x="3" y="30"/>
                    </a:lnTo>
                    <a:lnTo>
                      <a:pt x="5" y="28"/>
                    </a:lnTo>
                    <a:lnTo>
                      <a:pt x="5" y="28"/>
                    </a:lnTo>
                    <a:lnTo>
                      <a:pt x="8" y="30"/>
                    </a:lnTo>
                    <a:lnTo>
                      <a:pt x="8" y="33"/>
                    </a:lnTo>
                    <a:lnTo>
                      <a:pt x="10" y="33"/>
                    </a:lnTo>
                    <a:lnTo>
                      <a:pt x="10" y="38"/>
                    </a:lnTo>
                    <a:lnTo>
                      <a:pt x="12" y="38"/>
                    </a:lnTo>
                    <a:lnTo>
                      <a:pt x="15" y="35"/>
                    </a:lnTo>
                    <a:lnTo>
                      <a:pt x="19" y="35"/>
                    </a:lnTo>
                    <a:lnTo>
                      <a:pt x="19" y="33"/>
                    </a:lnTo>
                    <a:lnTo>
                      <a:pt x="22" y="30"/>
                    </a:lnTo>
                    <a:lnTo>
                      <a:pt x="24" y="28"/>
                    </a:lnTo>
                    <a:lnTo>
                      <a:pt x="24" y="28"/>
                    </a:lnTo>
                    <a:lnTo>
                      <a:pt x="26" y="26"/>
                    </a:lnTo>
                    <a:lnTo>
                      <a:pt x="26" y="23"/>
                    </a:lnTo>
                    <a:lnTo>
                      <a:pt x="26" y="23"/>
                    </a:lnTo>
                    <a:lnTo>
                      <a:pt x="26" y="21"/>
                    </a:lnTo>
                    <a:lnTo>
                      <a:pt x="26" y="21"/>
                    </a:lnTo>
                    <a:lnTo>
                      <a:pt x="26" y="21"/>
                    </a:lnTo>
                    <a:lnTo>
                      <a:pt x="26" y="21"/>
                    </a:lnTo>
                    <a:lnTo>
                      <a:pt x="26" y="19"/>
                    </a:lnTo>
                    <a:lnTo>
                      <a:pt x="24" y="14"/>
                    </a:lnTo>
                    <a:lnTo>
                      <a:pt x="24" y="14"/>
                    </a:lnTo>
                    <a:lnTo>
                      <a:pt x="24" y="14"/>
                    </a:lnTo>
                    <a:lnTo>
                      <a:pt x="24" y="14"/>
                    </a:lnTo>
                    <a:lnTo>
                      <a:pt x="24" y="12"/>
                    </a:lnTo>
                    <a:lnTo>
                      <a:pt x="24" y="12"/>
                    </a:lnTo>
                    <a:lnTo>
                      <a:pt x="26" y="9"/>
                    </a:lnTo>
                    <a:lnTo>
                      <a:pt x="26" y="9"/>
                    </a:lnTo>
                    <a:lnTo>
                      <a:pt x="26" y="12"/>
                    </a:lnTo>
                    <a:lnTo>
                      <a:pt x="26" y="12"/>
                    </a:lnTo>
                    <a:lnTo>
                      <a:pt x="26" y="14"/>
                    </a:lnTo>
                    <a:lnTo>
                      <a:pt x="29" y="14"/>
                    </a:lnTo>
                    <a:lnTo>
                      <a:pt x="29" y="12"/>
                    </a:lnTo>
                    <a:lnTo>
                      <a:pt x="29" y="12"/>
                    </a:lnTo>
                    <a:lnTo>
                      <a:pt x="31" y="7"/>
                    </a:lnTo>
                    <a:lnTo>
                      <a:pt x="31" y="7"/>
                    </a:lnTo>
                    <a:lnTo>
                      <a:pt x="31" y="5"/>
                    </a:lnTo>
                    <a:lnTo>
                      <a:pt x="29" y="5"/>
                    </a:lnTo>
                    <a:lnTo>
                      <a:pt x="29" y="2"/>
                    </a:lnTo>
                    <a:lnTo>
                      <a:pt x="29" y="2"/>
                    </a:lnTo>
                    <a:lnTo>
                      <a:pt x="31" y="0"/>
                    </a:lnTo>
                    <a:lnTo>
                      <a:pt x="31" y="0"/>
                    </a:lnTo>
                    <a:lnTo>
                      <a:pt x="29" y="0"/>
                    </a:lnTo>
                    <a:lnTo>
                      <a:pt x="29" y="2"/>
                    </a:lnTo>
                    <a:lnTo>
                      <a:pt x="29" y="2"/>
                    </a:lnTo>
                    <a:lnTo>
                      <a:pt x="26" y="2"/>
                    </a:lnTo>
                    <a:lnTo>
                      <a:pt x="24" y="7"/>
                    </a:lnTo>
                    <a:lnTo>
                      <a:pt x="22" y="7"/>
                    </a:lnTo>
                    <a:lnTo>
                      <a:pt x="22" y="7"/>
                    </a:lnTo>
                    <a:lnTo>
                      <a:pt x="19" y="9"/>
                    </a:lnTo>
                    <a:lnTo>
                      <a:pt x="15" y="9"/>
                    </a:lnTo>
                    <a:lnTo>
                      <a:pt x="12" y="9"/>
                    </a:lnTo>
                    <a:lnTo>
                      <a:pt x="12" y="9"/>
                    </a:lnTo>
                    <a:lnTo>
                      <a:pt x="12" y="9"/>
                    </a:lnTo>
                    <a:lnTo>
                      <a:pt x="10" y="9"/>
                    </a:lnTo>
                    <a:lnTo>
                      <a:pt x="10" y="9"/>
                    </a:lnTo>
                    <a:lnTo>
                      <a:pt x="10" y="12"/>
                    </a:lnTo>
                    <a:lnTo>
                      <a:pt x="10" y="14"/>
                    </a:lnTo>
                    <a:lnTo>
                      <a:pt x="12" y="14"/>
                    </a:lnTo>
                    <a:lnTo>
                      <a:pt x="10" y="14"/>
                    </a:lnTo>
                    <a:lnTo>
                      <a:pt x="10" y="16"/>
                    </a:lnTo>
                    <a:lnTo>
                      <a:pt x="10" y="19"/>
                    </a:lnTo>
                    <a:lnTo>
                      <a:pt x="10" y="19"/>
                    </a:lnTo>
                    <a:lnTo>
                      <a:pt x="10" y="19"/>
                    </a:lnTo>
                    <a:lnTo>
                      <a:pt x="12" y="19"/>
                    </a:lnTo>
                    <a:lnTo>
                      <a:pt x="12" y="19"/>
                    </a:lnTo>
                    <a:lnTo>
                      <a:pt x="10" y="21"/>
                    </a:lnTo>
                    <a:lnTo>
                      <a:pt x="5" y="21"/>
                    </a:lnTo>
                    <a:lnTo>
                      <a:pt x="3" y="23"/>
                    </a:lnTo>
                    <a:lnTo>
                      <a:pt x="3" y="23"/>
                    </a:lnTo>
                    <a:lnTo>
                      <a:pt x="3" y="26"/>
                    </a:lnTo>
                    <a:lnTo>
                      <a:pt x="3" y="26"/>
                    </a:lnTo>
                    <a:lnTo>
                      <a:pt x="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85" name="Freeform 173">
                <a:extLst>
                  <a:ext uri="{FF2B5EF4-FFF2-40B4-BE49-F238E27FC236}">
                    <a16:creationId xmlns:a16="http://schemas.microsoft.com/office/drawing/2014/main" id="{2D9AF24C-3A9B-4146-9DD5-E2DDAB217F4E}"/>
                  </a:ext>
                </a:extLst>
              </p:cNvPr>
              <p:cNvSpPr>
                <a:spLocks/>
              </p:cNvSpPr>
              <p:nvPr/>
            </p:nvSpPr>
            <p:spPr bwMode="gray">
              <a:xfrm>
                <a:off x="-1984" y="927"/>
                <a:ext cx="12" cy="31"/>
              </a:xfrm>
              <a:custGeom>
                <a:avLst/>
                <a:gdLst>
                  <a:gd name="T0" fmla="*/ 5 w 12"/>
                  <a:gd name="T1" fmla="*/ 17 h 31"/>
                  <a:gd name="T2" fmla="*/ 5 w 12"/>
                  <a:gd name="T3" fmla="*/ 17 h 31"/>
                  <a:gd name="T4" fmla="*/ 2 w 12"/>
                  <a:gd name="T5" fmla="*/ 19 h 31"/>
                  <a:gd name="T6" fmla="*/ 2 w 12"/>
                  <a:gd name="T7" fmla="*/ 19 h 31"/>
                  <a:gd name="T8" fmla="*/ 0 w 12"/>
                  <a:gd name="T9" fmla="*/ 19 h 31"/>
                  <a:gd name="T10" fmla="*/ 0 w 12"/>
                  <a:gd name="T11" fmla="*/ 22 h 31"/>
                  <a:gd name="T12" fmla="*/ 2 w 12"/>
                  <a:gd name="T13" fmla="*/ 26 h 31"/>
                  <a:gd name="T14" fmla="*/ 2 w 12"/>
                  <a:gd name="T15" fmla="*/ 31 h 31"/>
                  <a:gd name="T16" fmla="*/ 5 w 12"/>
                  <a:gd name="T17" fmla="*/ 31 h 31"/>
                  <a:gd name="T18" fmla="*/ 7 w 12"/>
                  <a:gd name="T19" fmla="*/ 29 h 31"/>
                  <a:gd name="T20" fmla="*/ 9 w 12"/>
                  <a:gd name="T21" fmla="*/ 26 h 31"/>
                  <a:gd name="T22" fmla="*/ 9 w 12"/>
                  <a:gd name="T23" fmla="*/ 22 h 31"/>
                  <a:gd name="T24" fmla="*/ 9 w 12"/>
                  <a:gd name="T25" fmla="*/ 19 h 31"/>
                  <a:gd name="T26" fmla="*/ 12 w 12"/>
                  <a:gd name="T27" fmla="*/ 17 h 31"/>
                  <a:gd name="T28" fmla="*/ 12 w 12"/>
                  <a:gd name="T29" fmla="*/ 17 h 31"/>
                  <a:gd name="T30" fmla="*/ 12 w 12"/>
                  <a:gd name="T31" fmla="*/ 14 h 31"/>
                  <a:gd name="T32" fmla="*/ 12 w 12"/>
                  <a:gd name="T33" fmla="*/ 14 h 31"/>
                  <a:gd name="T34" fmla="*/ 9 w 12"/>
                  <a:gd name="T35" fmla="*/ 17 h 31"/>
                  <a:gd name="T36" fmla="*/ 9 w 12"/>
                  <a:gd name="T37" fmla="*/ 17 h 31"/>
                  <a:gd name="T38" fmla="*/ 9 w 12"/>
                  <a:gd name="T39" fmla="*/ 17 h 31"/>
                  <a:gd name="T40" fmla="*/ 7 w 12"/>
                  <a:gd name="T41" fmla="*/ 14 h 31"/>
                  <a:gd name="T42" fmla="*/ 7 w 12"/>
                  <a:gd name="T43" fmla="*/ 14 h 31"/>
                  <a:gd name="T44" fmla="*/ 7 w 12"/>
                  <a:gd name="T45" fmla="*/ 12 h 31"/>
                  <a:gd name="T46" fmla="*/ 9 w 12"/>
                  <a:gd name="T47" fmla="*/ 10 h 31"/>
                  <a:gd name="T48" fmla="*/ 7 w 12"/>
                  <a:gd name="T49" fmla="*/ 10 h 31"/>
                  <a:gd name="T50" fmla="*/ 5 w 12"/>
                  <a:gd name="T51" fmla="*/ 10 h 31"/>
                  <a:gd name="T52" fmla="*/ 5 w 12"/>
                  <a:gd name="T53" fmla="*/ 7 h 31"/>
                  <a:gd name="T54" fmla="*/ 5 w 12"/>
                  <a:gd name="T55" fmla="*/ 0 h 31"/>
                  <a:gd name="T56" fmla="*/ 2 w 12"/>
                  <a:gd name="T57" fmla="*/ 0 h 31"/>
                  <a:gd name="T58" fmla="*/ 2 w 12"/>
                  <a:gd name="T59" fmla="*/ 3 h 31"/>
                  <a:gd name="T60" fmla="*/ 0 w 12"/>
                  <a:gd name="T61" fmla="*/ 5 h 31"/>
                  <a:gd name="T62" fmla="*/ 0 w 12"/>
                  <a:gd name="T63" fmla="*/ 7 h 31"/>
                  <a:gd name="T64" fmla="*/ 2 w 12"/>
                  <a:gd name="T65" fmla="*/ 7 h 31"/>
                  <a:gd name="T66" fmla="*/ 2 w 12"/>
                  <a:gd name="T67" fmla="*/ 10 h 31"/>
                  <a:gd name="T68" fmla="*/ 5 w 12"/>
                  <a:gd name="T69" fmla="*/ 10 h 31"/>
                  <a:gd name="T70" fmla="*/ 5 w 12"/>
                  <a:gd name="T71" fmla="*/ 12 h 31"/>
                  <a:gd name="T72" fmla="*/ 5 w 12"/>
                  <a:gd name="T73" fmla="*/ 14 h 31"/>
                  <a:gd name="T74" fmla="*/ 5 w 12"/>
                  <a:gd name="T75" fmla="*/ 1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 h="31">
                    <a:moveTo>
                      <a:pt x="5" y="17"/>
                    </a:moveTo>
                    <a:lnTo>
                      <a:pt x="5" y="17"/>
                    </a:lnTo>
                    <a:lnTo>
                      <a:pt x="2" y="19"/>
                    </a:lnTo>
                    <a:lnTo>
                      <a:pt x="2" y="19"/>
                    </a:lnTo>
                    <a:lnTo>
                      <a:pt x="0" y="19"/>
                    </a:lnTo>
                    <a:lnTo>
                      <a:pt x="0" y="22"/>
                    </a:lnTo>
                    <a:lnTo>
                      <a:pt x="2" y="26"/>
                    </a:lnTo>
                    <a:lnTo>
                      <a:pt x="2" y="31"/>
                    </a:lnTo>
                    <a:lnTo>
                      <a:pt x="5" y="31"/>
                    </a:lnTo>
                    <a:lnTo>
                      <a:pt x="7" y="29"/>
                    </a:lnTo>
                    <a:lnTo>
                      <a:pt x="9" y="26"/>
                    </a:lnTo>
                    <a:lnTo>
                      <a:pt x="9" y="22"/>
                    </a:lnTo>
                    <a:lnTo>
                      <a:pt x="9" y="19"/>
                    </a:lnTo>
                    <a:lnTo>
                      <a:pt x="12" y="17"/>
                    </a:lnTo>
                    <a:lnTo>
                      <a:pt x="12" y="17"/>
                    </a:lnTo>
                    <a:lnTo>
                      <a:pt x="12" y="14"/>
                    </a:lnTo>
                    <a:lnTo>
                      <a:pt x="12" y="14"/>
                    </a:lnTo>
                    <a:lnTo>
                      <a:pt x="9" y="17"/>
                    </a:lnTo>
                    <a:lnTo>
                      <a:pt x="9" y="17"/>
                    </a:lnTo>
                    <a:lnTo>
                      <a:pt x="9" y="17"/>
                    </a:lnTo>
                    <a:lnTo>
                      <a:pt x="7" y="14"/>
                    </a:lnTo>
                    <a:lnTo>
                      <a:pt x="7" y="14"/>
                    </a:lnTo>
                    <a:lnTo>
                      <a:pt x="7" y="12"/>
                    </a:lnTo>
                    <a:lnTo>
                      <a:pt x="9" y="10"/>
                    </a:lnTo>
                    <a:lnTo>
                      <a:pt x="7" y="10"/>
                    </a:lnTo>
                    <a:lnTo>
                      <a:pt x="5" y="10"/>
                    </a:lnTo>
                    <a:lnTo>
                      <a:pt x="5" y="7"/>
                    </a:lnTo>
                    <a:lnTo>
                      <a:pt x="5" y="0"/>
                    </a:lnTo>
                    <a:lnTo>
                      <a:pt x="2" y="0"/>
                    </a:lnTo>
                    <a:lnTo>
                      <a:pt x="2" y="3"/>
                    </a:lnTo>
                    <a:lnTo>
                      <a:pt x="0" y="5"/>
                    </a:lnTo>
                    <a:lnTo>
                      <a:pt x="0" y="7"/>
                    </a:lnTo>
                    <a:lnTo>
                      <a:pt x="2" y="7"/>
                    </a:lnTo>
                    <a:lnTo>
                      <a:pt x="2" y="10"/>
                    </a:lnTo>
                    <a:lnTo>
                      <a:pt x="5" y="10"/>
                    </a:lnTo>
                    <a:lnTo>
                      <a:pt x="5" y="12"/>
                    </a:lnTo>
                    <a:lnTo>
                      <a:pt x="5" y="14"/>
                    </a:lnTo>
                    <a:lnTo>
                      <a:pt x="5"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86" name="Freeform 174">
                <a:extLst>
                  <a:ext uri="{FF2B5EF4-FFF2-40B4-BE49-F238E27FC236}">
                    <a16:creationId xmlns:a16="http://schemas.microsoft.com/office/drawing/2014/main" id="{AF90CD5B-405D-4775-9F2B-D7B2C4996002}"/>
                  </a:ext>
                </a:extLst>
              </p:cNvPr>
              <p:cNvSpPr>
                <a:spLocks/>
              </p:cNvSpPr>
              <p:nvPr/>
            </p:nvSpPr>
            <p:spPr bwMode="gray">
              <a:xfrm>
                <a:off x="-1949" y="1055"/>
                <a:ext cx="62" cy="42"/>
              </a:xfrm>
              <a:custGeom>
                <a:avLst/>
                <a:gdLst>
                  <a:gd name="T0" fmla="*/ 59 w 62"/>
                  <a:gd name="T1" fmla="*/ 30 h 42"/>
                  <a:gd name="T2" fmla="*/ 62 w 62"/>
                  <a:gd name="T3" fmla="*/ 28 h 42"/>
                  <a:gd name="T4" fmla="*/ 59 w 62"/>
                  <a:gd name="T5" fmla="*/ 25 h 42"/>
                  <a:gd name="T6" fmla="*/ 59 w 62"/>
                  <a:gd name="T7" fmla="*/ 23 h 42"/>
                  <a:gd name="T8" fmla="*/ 55 w 62"/>
                  <a:gd name="T9" fmla="*/ 18 h 42"/>
                  <a:gd name="T10" fmla="*/ 57 w 62"/>
                  <a:gd name="T11" fmla="*/ 16 h 42"/>
                  <a:gd name="T12" fmla="*/ 55 w 62"/>
                  <a:gd name="T13" fmla="*/ 16 h 42"/>
                  <a:gd name="T14" fmla="*/ 52 w 62"/>
                  <a:gd name="T15" fmla="*/ 11 h 42"/>
                  <a:gd name="T16" fmla="*/ 45 w 62"/>
                  <a:gd name="T17" fmla="*/ 7 h 42"/>
                  <a:gd name="T18" fmla="*/ 45 w 62"/>
                  <a:gd name="T19" fmla="*/ 11 h 42"/>
                  <a:gd name="T20" fmla="*/ 45 w 62"/>
                  <a:gd name="T21" fmla="*/ 11 h 42"/>
                  <a:gd name="T22" fmla="*/ 43 w 62"/>
                  <a:gd name="T23" fmla="*/ 14 h 42"/>
                  <a:gd name="T24" fmla="*/ 41 w 62"/>
                  <a:gd name="T25" fmla="*/ 16 h 42"/>
                  <a:gd name="T26" fmla="*/ 43 w 62"/>
                  <a:gd name="T27" fmla="*/ 18 h 42"/>
                  <a:gd name="T28" fmla="*/ 29 w 62"/>
                  <a:gd name="T29" fmla="*/ 11 h 42"/>
                  <a:gd name="T30" fmla="*/ 24 w 62"/>
                  <a:gd name="T31" fmla="*/ 7 h 42"/>
                  <a:gd name="T32" fmla="*/ 22 w 62"/>
                  <a:gd name="T33" fmla="*/ 4 h 42"/>
                  <a:gd name="T34" fmla="*/ 17 w 62"/>
                  <a:gd name="T35" fmla="*/ 0 h 42"/>
                  <a:gd name="T36" fmla="*/ 5 w 62"/>
                  <a:gd name="T37" fmla="*/ 2 h 42"/>
                  <a:gd name="T38" fmla="*/ 3 w 62"/>
                  <a:gd name="T39" fmla="*/ 7 h 42"/>
                  <a:gd name="T40" fmla="*/ 3 w 62"/>
                  <a:gd name="T41" fmla="*/ 11 h 42"/>
                  <a:gd name="T42" fmla="*/ 8 w 62"/>
                  <a:gd name="T43" fmla="*/ 16 h 42"/>
                  <a:gd name="T44" fmla="*/ 8 w 62"/>
                  <a:gd name="T45" fmla="*/ 18 h 42"/>
                  <a:gd name="T46" fmla="*/ 3 w 62"/>
                  <a:gd name="T47" fmla="*/ 18 h 42"/>
                  <a:gd name="T48" fmla="*/ 0 w 62"/>
                  <a:gd name="T49" fmla="*/ 21 h 42"/>
                  <a:gd name="T50" fmla="*/ 3 w 62"/>
                  <a:gd name="T51" fmla="*/ 25 h 42"/>
                  <a:gd name="T52" fmla="*/ 10 w 62"/>
                  <a:gd name="T53" fmla="*/ 28 h 42"/>
                  <a:gd name="T54" fmla="*/ 22 w 62"/>
                  <a:gd name="T55" fmla="*/ 33 h 42"/>
                  <a:gd name="T56" fmla="*/ 33 w 62"/>
                  <a:gd name="T57" fmla="*/ 42 h 42"/>
                  <a:gd name="T58" fmla="*/ 36 w 62"/>
                  <a:gd name="T59" fmla="*/ 40 h 42"/>
                  <a:gd name="T60" fmla="*/ 43 w 62"/>
                  <a:gd name="T61" fmla="*/ 37 h 42"/>
                  <a:gd name="T62" fmla="*/ 57 w 62"/>
                  <a:gd name="T63" fmla="*/ 37 h 42"/>
                  <a:gd name="T64" fmla="*/ 59 w 62"/>
                  <a:gd name="T65" fmla="*/ 33 h 42"/>
                  <a:gd name="T66" fmla="*/ 57 w 62"/>
                  <a:gd name="T67" fmla="*/ 3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 h="42">
                    <a:moveTo>
                      <a:pt x="59" y="30"/>
                    </a:moveTo>
                    <a:lnTo>
                      <a:pt x="59" y="30"/>
                    </a:lnTo>
                    <a:lnTo>
                      <a:pt x="59" y="28"/>
                    </a:lnTo>
                    <a:lnTo>
                      <a:pt x="62" y="28"/>
                    </a:lnTo>
                    <a:lnTo>
                      <a:pt x="62" y="25"/>
                    </a:lnTo>
                    <a:lnTo>
                      <a:pt x="59" y="25"/>
                    </a:lnTo>
                    <a:lnTo>
                      <a:pt x="59" y="23"/>
                    </a:lnTo>
                    <a:lnTo>
                      <a:pt x="59" y="23"/>
                    </a:lnTo>
                    <a:lnTo>
                      <a:pt x="57" y="21"/>
                    </a:lnTo>
                    <a:lnTo>
                      <a:pt x="55" y="18"/>
                    </a:lnTo>
                    <a:lnTo>
                      <a:pt x="55" y="16"/>
                    </a:lnTo>
                    <a:lnTo>
                      <a:pt x="57" y="16"/>
                    </a:lnTo>
                    <a:lnTo>
                      <a:pt x="55" y="16"/>
                    </a:lnTo>
                    <a:lnTo>
                      <a:pt x="55" y="16"/>
                    </a:lnTo>
                    <a:lnTo>
                      <a:pt x="52" y="14"/>
                    </a:lnTo>
                    <a:lnTo>
                      <a:pt x="52" y="11"/>
                    </a:lnTo>
                    <a:lnTo>
                      <a:pt x="45" y="7"/>
                    </a:lnTo>
                    <a:lnTo>
                      <a:pt x="45" y="7"/>
                    </a:lnTo>
                    <a:lnTo>
                      <a:pt x="45" y="9"/>
                    </a:lnTo>
                    <a:lnTo>
                      <a:pt x="45" y="11"/>
                    </a:lnTo>
                    <a:lnTo>
                      <a:pt x="48" y="11"/>
                    </a:lnTo>
                    <a:lnTo>
                      <a:pt x="45" y="11"/>
                    </a:lnTo>
                    <a:lnTo>
                      <a:pt x="43" y="14"/>
                    </a:lnTo>
                    <a:lnTo>
                      <a:pt x="43" y="14"/>
                    </a:lnTo>
                    <a:lnTo>
                      <a:pt x="41" y="14"/>
                    </a:lnTo>
                    <a:lnTo>
                      <a:pt x="41" y="16"/>
                    </a:lnTo>
                    <a:lnTo>
                      <a:pt x="41" y="16"/>
                    </a:lnTo>
                    <a:lnTo>
                      <a:pt x="43" y="18"/>
                    </a:lnTo>
                    <a:lnTo>
                      <a:pt x="29" y="11"/>
                    </a:lnTo>
                    <a:lnTo>
                      <a:pt x="29" y="11"/>
                    </a:lnTo>
                    <a:lnTo>
                      <a:pt x="26" y="11"/>
                    </a:lnTo>
                    <a:lnTo>
                      <a:pt x="24" y="7"/>
                    </a:lnTo>
                    <a:lnTo>
                      <a:pt x="24" y="4"/>
                    </a:lnTo>
                    <a:lnTo>
                      <a:pt x="22" y="4"/>
                    </a:lnTo>
                    <a:lnTo>
                      <a:pt x="19" y="2"/>
                    </a:lnTo>
                    <a:lnTo>
                      <a:pt x="17" y="0"/>
                    </a:lnTo>
                    <a:lnTo>
                      <a:pt x="8" y="2"/>
                    </a:lnTo>
                    <a:lnTo>
                      <a:pt x="5" y="2"/>
                    </a:lnTo>
                    <a:lnTo>
                      <a:pt x="3" y="7"/>
                    </a:lnTo>
                    <a:lnTo>
                      <a:pt x="3" y="7"/>
                    </a:lnTo>
                    <a:lnTo>
                      <a:pt x="3" y="9"/>
                    </a:lnTo>
                    <a:lnTo>
                      <a:pt x="3" y="11"/>
                    </a:lnTo>
                    <a:lnTo>
                      <a:pt x="5" y="16"/>
                    </a:lnTo>
                    <a:lnTo>
                      <a:pt x="8" y="16"/>
                    </a:lnTo>
                    <a:lnTo>
                      <a:pt x="8" y="16"/>
                    </a:lnTo>
                    <a:lnTo>
                      <a:pt x="8" y="18"/>
                    </a:lnTo>
                    <a:lnTo>
                      <a:pt x="5" y="18"/>
                    </a:lnTo>
                    <a:lnTo>
                      <a:pt x="3" y="18"/>
                    </a:lnTo>
                    <a:lnTo>
                      <a:pt x="0" y="21"/>
                    </a:lnTo>
                    <a:lnTo>
                      <a:pt x="0" y="21"/>
                    </a:lnTo>
                    <a:lnTo>
                      <a:pt x="0" y="23"/>
                    </a:lnTo>
                    <a:lnTo>
                      <a:pt x="3" y="25"/>
                    </a:lnTo>
                    <a:lnTo>
                      <a:pt x="5" y="25"/>
                    </a:lnTo>
                    <a:lnTo>
                      <a:pt x="10" y="28"/>
                    </a:lnTo>
                    <a:lnTo>
                      <a:pt x="12" y="28"/>
                    </a:lnTo>
                    <a:lnTo>
                      <a:pt x="22" y="33"/>
                    </a:lnTo>
                    <a:lnTo>
                      <a:pt x="26" y="37"/>
                    </a:lnTo>
                    <a:lnTo>
                      <a:pt x="33" y="42"/>
                    </a:lnTo>
                    <a:lnTo>
                      <a:pt x="33" y="42"/>
                    </a:lnTo>
                    <a:lnTo>
                      <a:pt x="36" y="40"/>
                    </a:lnTo>
                    <a:lnTo>
                      <a:pt x="41" y="37"/>
                    </a:lnTo>
                    <a:lnTo>
                      <a:pt x="43" y="37"/>
                    </a:lnTo>
                    <a:lnTo>
                      <a:pt x="55" y="40"/>
                    </a:lnTo>
                    <a:lnTo>
                      <a:pt x="57" y="37"/>
                    </a:lnTo>
                    <a:lnTo>
                      <a:pt x="59" y="35"/>
                    </a:lnTo>
                    <a:lnTo>
                      <a:pt x="59" y="33"/>
                    </a:lnTo>
                    <a:lnTo>
                      <a:pt x="57" y="33"/>
                    </a:lnTo>
                    <a:lnTo>
                      <a:pt x="57" y="30"/>
                    </a:lnTo>
                    <a:lnTo>
                      <a:pt x="59"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87" name="Freeform 175">
                <a:extLst>
                  <a:ext uri="{FF2B5EF4-FFF2-40B4-BE49-F238E27FC236}">
                    <a16:creationId xmlns:a16="http://schemas.microsoft.com/office/drawing/2014/main" id="{BD002E5E-4AAE-4E71-9AF8-9C305386419D}"/>
                  </a:ext>
                </a:extLst>
              </p:cNvPr>
              <p:cNvSpPr>
                <a:spLocks/>
              </p:cNvSpPr>
              <p:nvPr/>
            </p:nvSpPr>
            <p:spPr bwMode="gray">
              <a:xfrm>
                <a:off x="-2005" y="1055"/>
                <a:ext cx="21" cy="18"/>
              </a:xfrm>
              <a:custGeom>
                <a:avLst/>
                <a:gdLst>
                  <a:gd name="T0" fmla="*/ 12 w 21"/>
                  <a:gd name="T1" fmla="*/ 9 h 18"/>
                  <a:gd name="T2" fmla="*/ 12 w 21"/>
                  <a:gd name="T3" fmla="*/ 9 h 18"/>
                  <a:gd name="T4" fmla="*/ 12 w 21"/>
                  <a:gd name="T5" fmla="*/ 9 h 18"/>
                  <a:gd name="T6" fmla="*/ 9 w 21"/>
                  <a:gd name="T7" fmla="*/ 7 h 18"/>
                  <a:gd name="T8" fmla="*/ 7 w 21"/>
                  <a:gd name="T9" fmla="*/ 4 h 18"/>
                  <a:gd name="T10" fmla="*/ 7 w 21"/>
                  <a:gd name="T11" fmla="*/ 4 h 18"/>
                  <a:gd name="T12" fmla="*/ 0 w 21"/>
                  <a:gd name="T13" fmla="*/ 0 h 18"/>
                  <a:gd name="T14" fmla="*/ 0 w 21"/>
                  <a:gd name="T15" fmla="*/ 0 h 18"/>
                  <a:gd name="T16" fmla="*/ 0 w 21"/>
                  <a:gd name="T17" fmla="*/ 0 h 18"/>
                  <a:gd name="T18" fmla="*/ 0 w 21"/>
                  <a:gd name="T19" fmla="*/ 4 h 18"/>
                  <a:gd name="T20" fmla="*/ 12 w 21"/>
                  <a:gd name="T21" fmla="*/ 16 h 18"/>
                  <a:gd name="T22" fmla="*/ 14 w 21"/>
                  <a:gd name="T23" fmla="*/ 18 h 18"/>
                  <a:gd name="T24" fmla="*/ 14 w 21"/>
                  <a:gd name="T25" fmla="*/ 16 h 18"/>
                  <a:gd name="T26" fmla="*/ 16 w 21"/>
                  <a:gd name="T27" fmla="*/ 16 h 18"/>
                  <a:gd name="T28" fmla="*/ 21 w 21"/>
                  <a:gd name="T29" fmla="*/ 14 h 18"/>
                  <a:gd name="T30" fmla="*/ 21 w 21"/>
                  <a:gd name="T31" fmla="*/ 14 h 18"/>
                  <a:gd name="T32" fmla="*/ 21 w 21"/>
                  <a:gd name="T33" fmla="*/ 14 h 18"/>
                  <a:gd name="T34" fmla="*/ 21 w 21"/>
                  <a:gd name="T35" fmla="*/ 11 h 18"/>
                  <a:gd name="T36" fmla="*/ 19 w 21"/>
                  <a:gd name="T37" fmla="*/ 9 h 18"/>
                  <a:gd name="T38" fmla="*/ 19 w 21"/>
                  <a:gd name="T39" fmla="*/ 9 h 18"/>
                  <a:gd name="T40" fmla="*/ 16 w 21"/>
                  <a:gd name="T41" fmla="*/ 9 h 18"/>
                  <a:gd name="T42" fmla="*/ 19 w 21"/>
                  <a:gd name="T43" fmla="*/ 11 h 18"/>
                  <a:gd name="T44" fmla="*/ 19 w 21"/>
                  <a:gd name="T45" fmla="*/ 11 h 18"/>
                  <a:gd name="T46" fmla="*/ 16 w 21"/>
                  <a:gd name="T47" fmla="*/ 11 h 18"/>
                  <a:gd name="T48" fmla="*/ 16 w 21"/>
                  <a:gd name="T49" fmla="*/ 11 h 18"/>
                  <a:gd name="T50" fmla="*/ 14 w 21"/>
                  <a:gd name="T51" fmla="*/ 11 h 18"/>
                  <a:gd name="T52" fmla="*/ 14 w 21"/>
                  <a:gd name="T53" fmla="*/ 7 h 18"/>
                  <a:gd name="T54" fmla="*/ 14 w 21"/>
                  <a:gd name="T55" fmla="*/ 7 h 18"/>
                  <a:gd name="T56" fmla="*/ 14 w 21"/>
                  <a:gd name="T57" fmla="*/ 7 h 18"/>
                  <a:gd name="T58" fmla="*/ 14 w 21"/>
                  <a:gd name="T59" fmla="*/ 9 h 18"/>
                  <a:gd name="T60" fmla="*/ 12 w 21"/>
                  <a:gd name="T61"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 h="18">
                    <a:moveTo>
                      <a:pt x="12" y="9"/>
                    </a:moveTo>
                    <a:lnTo>
                      <a:pt x="12" y="9"/>
                    </a:lnTo>
                    <a:lnTo>
                      <a:pt x="12" y="9"/>
                    </a:lnTo>
                    <a:lnTo>
                      <a:pt x="9" y="7"/>
                    </a:lnTo>
                    <a:lnTo>
                      <a:pt x="7" y="4"/>
                    </a:lnTo>
                    <a:lnTo>
                      <a:pt x="7" y="4"/>
                    </a:lnTo>
                    <a:lnTo>
                      <a:pt x="0" y="0"/>
                    </a:lnTo>
                    <a:lnTo>
                      <a:pt x="0" y="0"/>
                    </a:lnTo>
                    <a:lnTo>
                      <a:pt x="0" y="0"/>
                    </a:lnTo>
                    <a:lnTo>
                      <a:pt x="0" y="4"/>
                    </a:lnTo>
                    <a:lnTo>
                      <a:pt x="12" y="16"/>
                    </a:lnTo>
                    <a:lnTo>
                      <a:pt x="14" y="18"/>
                    </a:lnTo>
                    <a:lnTo>
                      <a:pt x="14" y="16"/>
                    </a:lnTo>
                    <a:lnTo>
                      <a:pt x="16" y="16"/>
                    </a:lnTo>
                    <a:lnTo>
                      <a:pt x="21" y="14"/>
                    </a:lnTo>
                    <a:lnTo>
                      <a:pt x="21" y="14"/>
                    </a:lnTo>
                    <a:lnTo>
                      <a:pt x="21" y="14"/>
                    </a:lnTo>
                    <a:lnTo>
                      <a:pt x="21" y="11"/>
                    </a:lnTo>
                    <a:lnTo>
                      <a:pt x="19" y="9"/>
                    </a:lnTo>
                    <a:lnTo>
                      <a:pt x="19" y="9"/>
                    </a:lnTo>
                    <a:lnTo>
                      <a:pt x="16" y="9"/>
                    </a:lnTo>
                    <a:lnTo>
                      <a:pt x="19" y="11"/>
                    </a:lnTo>
                    <a:lnTo>
                      <a:pt x="19" y="11"/>
                    </a:lnTo>
                    <a:lnTo>
                      <a:pt x="16" y="11"/>
                    </a:lnTo>
                    <a:lnTo>
                      <a:pt x="16" y="11"/>
                    </a:lnTo>
                    <a:lnTo>
                      <a:pt x="14" y="11"/>
                    </a:lnTo>
                    <a:lnTo>
                      <a:pt x="14" y="7"/>
                    </a:lnTo>
                    <a:lnTo>
                      <a:pt x="14" y="7"/>
                    </a:lnTo>
                    <a:lnTo>
                      <a:pt x="14" y="7"/>
                    </a:lnTo>
                    <a:lnTo>
                      <a:pt x="14" y="9"/>
                    </a:lnTo>
                    <a:lnTo>
                      <a:pt x="1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88" name="Freeform 176">
                <a:extLst>
                  <a:ext uri="{FF2B5EF4-FFF2-40B4-BE49-F238E27FC236}">
                    <a16:creationId xmlns:a16="http://schemas.microsoft.com/office/drawing/2014/main" id="{86F594D7-F1F2-4214-8CBF-2A5878D3816A}"/>
                  </a:ext>
                </a:extLst>
              </p:cNvPr>
              <p:cNvSpPr>
                <a:spLocks/>
              </p:cNvSpPr>
              <p:nvPr/>
            </p:nvSpPr>
            <p:spPr bwMode="gray">
              <a:xfrm>
                <a:off x="-1958" y="911"/>
                <a:ext cx="125" cy="193"/>
              </a:xfrm>
              <a:custGeom>
                <a:avLst/>
                <a:gdLst>
                  <a:gd name="T0" fmla="*/ 92 w 125"/>
                  <a:gd name="T1" fmla="*/ 160 h 193"/>
                  <a:gd name="T2" fmla="*/ 83 w 125"/>
                  <a:gd name="T3" fmla="*/ 153 h 193"/>
                  <a:gd name="T4" fmla="*/ 76 w 125"/>
                  <a:gd name="T5" fmla="*/ 148 h 193"/>
                  <a:gd name="T6" fmla="*/ 73 w 125"/>
                  <a:gd name="T7" fmla="*/ 144 h 193"/>
                  <a:gd name="T8" fmla="*/ 73 w 125"/>
                  <a:gd name="T9" fmla="*/ 139 h 193"/>
                  <a:gd name="T10" fmla="*/ 90 w 125"/>
                  <a:gd name="T11" fmla="*/ 141 h 193"/>
                  <a:gd name="T12" fmla="*/ 92 w 125"/>
                  <a:gd name="T13" fmla="*/ 129 h 193"/>
                  <a:gd name="T14" fmla="*/ 80 w 125"/>
                  <a:gd name="T15" fmla="*/ 120 h 193"/>
                  <a:gd name="T16" fmla="*/ 87 w 125"/>
                  <a:gd name="T17" fmla="*/ 122 h 193"/>
                  <a:gd name="T18" fmla="*/ 92 w 125"/>
                  <a:gd name="T19" fmla="*/ 113 h 193"/>
                  <a:gd name="T20" fmla="*/ 111 w 125"/>
                  <a:gd name="T21" fmla="*/ 96 h 193"/>
                  <a:gd name="T22" fmla="*/ 97 w 125"/>
                  <a:gd name="T23" fmla="*/ 73 h 193"/>
                  <a:gd name="T24" fmla="*/ 116 w 125"/>
                  <a:gd name="T25" fmla="*/ 66 h 193"/>
                  <a:gd name="T26" fmla="*/ 123 w 125"/>
                  <a:gd name="T27" fmla="*/ 49 h 193"/>
                  <a:gd name="T28" fmla="*/ 120 w 125"/>
                  <a:gd name="T29" fmla="*/ 35 h 193"/>
                  <a:gd name="T30" fmla="*/ 120 w 125"/>
                  <a:gd name="T31" fmla="*/ 16 h 193"/>
                  <a:gd name="T32" fmla="*/ 104 w 125"/>
                  <a:gd name="T33" fmla="*/ 2 h 193"/>
                  <a:gd name="T34" fmla="*/ 73 w 125"/>
                  <a:gd name="T35" fmla="*/ 23 h 193"/>
                  <a:gd name="T36" fmla="*/ 87 w 125"/>
                  <a:gd name="T37" fmla="*/ 49 h 193"/>
                  <a:gd name="T38" fmla="*/ 83 w 125"/>
                  <a:gd name="T39" fmla="*/ 56 h 193"/>
                  <a:gd name="T40" fmla="*/ 73 w 125"/>
                  <a:gd name="T41" fmla="*/ 59 h 193"/>
                  <a:gd name="T42" fmla="*/ 83 w 125"/>
                  <a:gd name="T43" fmla="*/ 45 h 193"/>
                  <a:gd name="T44" fmla="*/ 80 w 125"/>
                  <a:gd name="T45" fmla="*/ 30 h 193"/>
                  <a:gd name="T46" fmla="*/ 78 w 125"/>
                  <a:gd name="T47" fmla="*/ 35 h 193"/>
                  <a:gd name="T48" fmla="*/ 68 w 125"/>
                  <a:gd name="T49" fmla="*/ 47 h 193"/>
                  <a:gd name="T50" fmla="*/ 66 w 125"/>
                  <a:gd name="T51" fmla="*/ 56 h 193"/>
                  <a:gd name="T52" fmla="*/ 57 w 125"/>
                  <a:gd name="T53" fmla="*/ 52 h 193"/>
                  <a:gd name="T54" fmla="*/ 61 w 125"/>
                  <a:gd name="T55" fmla="*/ 42 h 193"/>
                  <a:gd name="T56" fmla="*/ 54 w 125"/>
                  <a:gd name="T57" fmla="*/ 42 h 193"/>
                  <a:gd name="T58" fmla="*/ 57 w 125"/>
                  <a:gd name="T59" fmla="*/ 28 h 193"/>
                  <a:gd name="T60" fmla="*/ 61 w 125"/>
                  <a:gd name="T61" fmla="*/ 28 h 193"/>
                  <a:gd name="T62" fmla="*/ 54 w 125"/>
                  <a:gd name="T63" fmla="*/ 23 h 193"/>
                  <a:gd name="T64" fmla="*/ 38 w 125"/>
                  <a:gd name="T65" fmla="*/ 23 h 193"/>
                  <a:gd name="T66" fmla="*/ 38 w 125"/>
                  <a:gd name="T67" fmla="*/ 38 h 193"/>
                  <a:gd name="T68" fmla="*/ 35 w 125"/>
                  <a:gd name="T69" fmla="*/ 45 h 193"/>
                  <a:gd name="T70" fmla="*/ 24 w 125"/>
                  <a:gd name="T71" fmla="*/ 49 h 193"/>
                  <a:gd name="T72" fmla="*/ 19 w 125"/>
                  <a:gd name="T73" fmla="*/ 49 h 193"/>
                  <a:gd name="T74" fmla="*/ 0 w 125"/>
                  <a:gd name="T75" fmla="*/ 49 h 193"/>
                  <a:gd name="T76" fmla="*/ 9 w 125"/>
                  <a:gd name="T77" fmla="*/ 56 h 193"/>
                  <a:gd name="T78" fmla="*/ 19 w 125"/>
                  <a:gd name="T79" fmla="*/ 71 h 193"/>
                  <a:gd name="T80" fmla="*/ 14 w 125"/>
                  <a:gd name="T81" fmla="*/ 78 h 193"/>
                  <a:gd name="T82" fmla="*/ 24 w 125"/>
                  <a:gd name="T83" fmla="*/ 87 h 193"/>
                  <a:gd name="T84" fmla="*/ 19 w 125"/>
                  <a:gd name="T85" fmla="*/ 94 h 193"/>
                  <a:gd name="T86" fmla="*/ 19 w 125"/>
                  <a:gd name="T87" fmla="*/ 99 h 193"/>
                  <a:gd name="T88" fmla="*/ 21 w 125"/>
                  <a:gd name="T89" fmla="*/ 99 h 193"/>
                  <a:gd name="T90" fmla="*/ 26 w 125"/>
                  <a:gd name="T91" fmla="*/ 108 h 193"/>
                  <a:gd name="T92" fmla="*/ 26 w 125"/>
                  <a:gd name="T93" fmla="*/ 111 h 193"/>
                  <a:gd name="T94" fmla="*/ 35 w 125"/>
                  <a:gd name="T95" fmla="*/ 115 h 193"/>
                  <a:gd name="T96" fmla="*/ 54 w 125"/>
                  <a:gd name="T97" fmla="*/ 118 h 193"/>
                  <a:gd name="T98" fmla="*/ 59 w 125"/>
                  <a:gd name="T99" fmla="*/ 120 h 193"/>
                  <a:gd name="T100" fmla="*/ 66 w 125"/>
                  <a:gd name="T101" fmla="*/ 132 h 193"/>
                  <a:gd name="T102" fmla="*/ 61 w 125"/>
                  <a:gd name="T103" fmla="*/ 132 h 193"/>
                  <a:gd name="T104" fmla="*/ 71 w 125"/>
                  <a:gd name="T105" fmla="*/ 144 h 193"/>
                  <a:gd name="T106" fmla="*/ 64 w 125"/>
                  <a:gd name="T107" fmla="*/ 144 h 193"/>
                  <a:gd name="T108" fmla="*/ 61 w 125"/>
                  <a:gd name="T109" fmla="*/ 153 h 193"/>
                  <a:gd name="T110" fmla="*/ 66 w 125"/>
                  <a:gd name="T111" fmla="*/ 162 h 193"/>
                  <a:gd name="T112" fmla="*/ 71 w 125"/>
                  <a:gd name="T113" fmla="*/ 172 h 193"/>
                  <a:gd name="T114" fmla="*/ 76 w 125"/>
                  <a:gd name="T115" fmla="*/ 188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5" h="193">
                    <a:moveTo>
                      <a:pt x="78" y="177"/>
                    </a:moveTo>
                    <a:lnTo>
                      <a:pt x="78" y="174"/>
                    </a:lnTo>
                    <a:lnTo>
                      <a:pt x="80" y="172"/>
                    </a:lnTo>
                    <a:lnTo>
                      <a:pt x="83" y="172"/>
                    </a:lnTo>
                    <a:lnTo>
                      <a:pt x="83" y="172"/>
                    </a:lnTo>
                    <a:lnTo>
                      <a:pt x="85" y="165"/>
                    </a:lnTo>
                    <a:lnTo>
                      <a:pt x="85" y="165"/>
                    </a:lnTo>
                    <a:lnTo>
                      <a:pt x="92" y="160"/>
                    </a:lnTo>
                    <a:lnTo>
                      <a:pt x="92" y="158"/>
                    </a:lnTo>
                    <a:lnTo>
                      <a:pt x="90" y="158"/>
                    </a:lnTo>
                    <a:lnTo>
                      <a:pt x="87" y="153"/>
                    </a:lnTo>
                    <a:lnTo>
                      <a:pt x="87" y="153"/>
                    </a:lnTo>
                    <a:lnTo>
                      <a:pt x="85" y="153"/>
                    </a:lnTo>
                    <a:lnTo>
                      <a:pt x="85" y="153"/>
                    </a:lnTo>
                    <a:lnTo>
                      <a:pt x="83" y="153"/>
                    </a:lnTo>
                    <a:lnTo>
                      <a:pt x="83" y="153"/>
                    </a:lnTo>
                    <a:lnTo>
                      <a:pt x="80" y="151"/>
                    </a:lnTo>
                    <a:lnTo>
                      <a:pt x="78" y="151"/>
                    </a:lnTo>
                    <a:lnTo>
                      <a:pt x="78" y="151"/>
                    </a:lnTo>
                    <a:lnTo>
                      <a:pt x="78" y="146"/>
                    </a:lnTo>
                    <a:lnTo>
                      <a:pt x="78" y="146"/>
                    </a:lnTo>
                    <a:lnTo>
                      <a:pt x="76" y="148"/>
                    </a:lnTo>
                    <a:lnTo>
                      <a:pt x="76" y="148"/>
                    </a:lnTo>
                    <a:lnTo>
                      <a:pt x="76" y="148"/>
                    </a:lnTo>
                    <a:lnTo>
                      <a:pt x="76" y="148"/>
                    </a:lnTo>
                    <a:lnTo>
                      <a:pt x="76" y="151"/>
                    </a:lnTo>
                    <a:lnTo>
                      <a:pt x="73" y="151"/>
                    </a:lnTo>
                    <a:lnTo>
                      <a:pt x="73" y="148"/>
                    </a:lnTo>
                    <a:lnTo>
                      <a:pt x="71" y="148"/>
                    </a:lnTo>
                    <a:lnTo>
                      <a:pt x="71" y="146"/>
                    </a:lnTo>
                    <a:lnTo>
                      <a:pt x="73" y="144"/>
                    </a:lnTo>
                    <a:lnTo>
                      <a:pt x="73" y="144"/>
                    </a:lnTo>
                    <a:lnTo>
                      <a:pt x="73" y="141"/>
                    </a:lnTo>
                    <a:lnTo>
                      <a:pt x="73" y="141"/>
                    </a:lnTo>
                    <a:lnTo>
                      <a:pt x="73" y="141"/>
                    </a:lnTo>
                    <a:lnTo>
                      <a:pt x="73" y="139"/>
                    </a:lnTo>
                    <a:lnTo>
                      <a:pt x="73" y="139"/>
                    </a:lnTo>
                    <a:lnTo>
                      <a:pt x="73" y="139"/>
                    </a:lnTo>
                    <a:lnTo>
                      <a:pt x="73" y="139"/>
                    </a:lnTo>
                    <a:lnTo>
                      <a:pt x="73" y="139"/>
                    </a:lnTo>
                    <a:lnTo>
                      <a:pt x="76" y="139"/>
                    </a:lnTo>
                    <a:lnTo>
                      <a:pt x="80" y="144"/>
                    </a:lnTo>
                    <a:lnTo>
                      <a:pt x="83" y="144"/>
                    </a:lnTo>
                    <a:lnTo>
                      <a:pt x="85" y="144"/>
                    </a:lnTo>
                    <a:lnTo>
                      <a:pt x="87" y="141"/>
                    </a:lnTo>
                    <a:lnTo>
                      <a:pt x="87" y="141"/>
                    </a:lnTo>
                    <a:lnTo>
                      <a:pt x="90" y="141"/>
                    </a:lnTo>
                    <a:lnTo>
                      <a:pt x="90" y="141"/>
                    </a:lnTo>
                    <a:lnTo>
                      <a:pt x="92" y="139"/>
                    </a:lnTo>
                    <a:lnTo>
                      <a:pt x="92" y="136"/>
                    </a:lnTo>
                    <a:lnTo>
                      <a:pt x="90" y="132"/>
                    </a:lnTo>
                    <a:lnTo>
                      <a:pt x="87" y="132"/>
                    </a:lnTo>
                    <a:lnTo>
                      <a:pt x="90" y="129"/>
                    </a:lnTo>
                    <a:lnTo>
                      <a:pt x="90" y="129"/>
                    </a:lnTo>
                    <a:lnTo>
                      <a:pt x="92" y="129"/>
                    </a:lnTo>
                    <a:lnTo>
                      <a:pt x="92" y="129"/>
                    </a:lnTo>
                    <a:lnTo>
                      <a:pt x="92" y="129"/>
                    </a:lnTo>
                    <a:lnTo>
                      <a:pt x="92" y="127"/>
                    </a:lnTo>
                    <a:lnTo>
                      <a:pt x="92" y="125"/>
                    </a:lnTo>
                    <a:lnTo>
                      <a:pt x="90" y="125"/>
                    </a:lnTo>
                    <a:lnTo>
                      <a:pt x="83" y="122"/>
                    </a:lnTo>
                    <a:lnTo>
                      <a:pt x="80" y="122"/>
                    </a:lnTo>
                    <a:lnTo>
                      <a:pt x="80" y="120"/>
                    </a:lnTo>
                    <a:lnTo>
                      <a:pt x="80" y="120"/>
                    </a:lnTo>
                    <a:lnTo>
                      <a:pt x="83" y="120"/>
                    </a:lnTo>
                    <a:lnTo>
                      <a:pt x="83" y="120"/>
                    </a:lnTo>
                    <a:lnTo>
                      <a:pt x="83" y="118"/>
                    </a:lnTo>
                    <a:lnTo>
                      <a:pt x="85" y="118"/>
                    </a:lnTo>
                    <a:lnTo>
                      <a:pt x="85" y="118"/>
                    </a:lnTo>
                    <a:lnTo>
                      <a:pt x="85" y="120"/>
                    </a:lnTo>
                    <a:lnTo>
                      <a:pt x="85" y="122"/>
                    </a:lnTo>
                    <a:lnTo>
                      <a:pt x="87" y="122"/>
                    </a:lnTo>
                    <a:lnTo>
                      <a:pt x="87" y="122"/>
                    </a:lnTo>
                    <a:lnTo>
                      <a:pt x="87" y="122"/>
                    </a:lnTo>
                    <a:lnTo>
                      <a:pt x="87" y="122"/>
                    </a:lnTo>
                    <a:lnTo>
                      <a:pt x="87" y="120"/>
                    </a:lnTo>
                    <a:lnTo>
                      <a:pt x="90" y="118"/>
                    </a:lnTo>
                    <a:lnTo>
                      <a:pt x="90" y="115"/>
                    </a:lnTo>
                    <a:lnTo>
                      <a:pt x="92" y="113"/>
                    </a:lnTo>
                    <a:lnTo>
                      <a:pt x="92" y="113"/>
                    </a:lnTo>
                    <a:lnTo>
                      <a:pt x="109" y="108"/>
                    </a:lnTo>
                    <a:lnTo>
                      <a:pt x="111" y="106"/>
                    </a:lnTo>
                    <a:lnTo>
                      <a:pt x="111" y="106"/>
                    </a:lnTo>
                    <a:lnTo>
                      <a:pt x="113" y="104"/>
                    </a:lnTo>
                    <a:lnTo>
                      <a:pt x="111" y="101"/>
                    </a:lnTo>
                    <a:lnTo>
                      <a:pt x="111" y="99"/>
                    </a:lnTo>
                    <a:lnTo>
                      <a:pt x="111" y="96"/>
                    </a:lnTo>
                    <a:lnTo>
                      <a:pt x="111" y="96"/>
                    </a:lnTo>
                    <a:lnTo>
                      <a:pt x="109" y="94"/>
                    </a:lnTo>
                    <a:lnTo>
                      <a:pt x="106" y="92"/>
                    </a:lnTo>
                    <a:lnTo>
                      <a:pt x="104" y="89"/>
                    </a:lnTo>
                    <a:lnTo>
                      <a:pt x="101" y="89"/>
                    </a:lnTo>
                    <a:lnTo>
                      <a:pt x="99" y="89"/>
                    </a:lnTo>
                    <a:lnTo>
                      <a:pt x="97" y="87"/>
                    </a:lnTo>
                    <a:lnTo>
                      <a:pt x="94" y="80"/>
                    </a:lnTo>
                    <a:lnTo>
                      <a:pt x="97" y="73"/>
                    </a:lnTo>
                    <a:lnTo>
                      <a:pt x="101" y="68"/>
                    </a:lnTo>
                    <a:lnTo>
                      <a:pt x="104" y="68"/>
                    </a:lnTo>
                    <a:lnTo>
                      <a:pt x="109" y="63"/>
                    </a:lnTo>
                    <a:lnTo>
                      <a:pt x="111" y="63"/>
                    </a:lnTo>
                    <a:lnTo>
                      <a:pt x="111" y="66"/>
                    </a:lnTo>
                    <a:lnTo>
                      <a:pt x="111" y="66"/>
                    </a:lnTo>
                    <a:lnTo>
                      <a:pt x="113" y="66"/>
                    </a:lnTo>
                    <a:lnTo>
                      <a:pt x="116" y="66"/>
                    </a:lnTo>
                    <a:lnTo>
                      <a:pt x="116" y="63"/>
                    </a:lnTo>
                    <a:lnTo>
                      <a:pt x="116" y="63"/>
                    </a:lnTo>
                    <a:lnTo>
                      <a:pt x="118" y="61"/>
                    </a:lnTo>
                    <a:lnTo>
                      <a:pt x="120" y="54"/>
                    </a:lnTo>
                    <a:lnTo>
                      <a:pt x="123" y="54"/>
                    </a:lnTo>
                    <a:lnTo>
                      <a:pt x="123" y="52"/>
                    </a:lnTo>
                    <a:lnTo>
                      <a:pt x="123" y="52"/>
                    </a:lnTo>
                    <a:lnTo>
                      <a:pt x="123" y="49"/>
                    </a:lnTo>
                    <a:lnTo>
                      <a:pt x="123" y="49"/>
                    </a:lnTo>
                    <a:lnTo>
                      <a:pt x="123" y="47"/>
                    </a:lnTo>
                    <a:lnTo>
                      <a:pt x="123" y="45"/>
                    </a:lnTo>
                    <a:lnTo>
                      <a:pt x="123" y="42"/>
                    </a:lnTo>
                    <a:lnTo>
                      <a:pt x="123" y="42"/>
                    </a:lnTo>
                    <a:lnTo>
                      <a:pt x="123" y="40"/>
                    </a:lnTo>
                    <a:lnTo>
                      <a:pt x="120" y="38"/>
                    </a:lnTo>
                    <a:lnTo>
                      <a:pt x="120" y="35"/>
                    </a:lnTo>
                    <a:lnTo>
                      <a:pt x="120" y="33"/>
                    </a:lnTo>
                    <a:lnTo>
                      <a:pt x="118" y="30"/>
                    </a:lnTo>
                    <a:lnTo>
                      <a:pt x="118" y="30"/>
                    </a:lnTo>
                    <a:lnTo>
                      <a:pt x="116" y="26"/>
                    </a:lnTo>
                    <a:lnTo>
                      <a:pt x="116" y="26"/>
                    </a:lnTo>
                    <a:lnTo>
                      <a:pt x="118" y="23"/>
                    </a:lnTo>
                    <a:lnTo>
                      <a:pt x="118" y="19"/>
                    </a:lnTo>
                    <a:lnTo>
                      <a:pt x="120" y="16"/>
                    </a:lnTo>
                    <a:lnTo>
                      <a:pt x="123" y="14"/>
                    </a:lnTo>
                    <a:lnTo>
                      <a:pt x="125" y="12"/>
                    </a:lnTo>
                    <a:lnTo>
                      <a:pt x="120" y="9"/>
                    </a:lnTo>
                    <a:lnTo>
                      <a:pt x="118" y="7"/>
                    </a:lnTo>
                    <a:lnTo>
                      <a:pt x="116" y="5"/>
                    </a:lnTo>
                    <a:lnTo>
                      <a:pt x="116" y="5"/>
                    </a:lnTo>
                    <a:lnTo>
                      <a:pt x="109" y="5"/>
                    </a:lnTo>
                    <a:lnTo>
                      <a:pt x="104" y="2"/>
                    </a:lnTo>
                    <a:lnTo>
                      <a:pt x="97" y="0"/>
                    </a:lnTo>
                    <a:lnTo>
                      <a:pt x="92" y="5"/>
                    </a:lnTo>
                    <a:lnTo>
                      <a:pt x="80" y="14"/>
                    </a:lnTo>
                    <a:lnTo>
                      <a:pt x="73" y="16"/>
                    </a:lnTo>
                    <a:lnTo>
                      <a:pt x="71" y="21"/>
                    </a:lnTo>
                    <a:lnTo>
                      <a:pt x="68" y="23"/>
                    </a:lnTo>
                    <a:lnTo>
                      <a:pt x="71" y="23"/>
                    </a:lnTo>
                    <a:lnTo>
                      <a:pt x="73" y="23"/>
                    </a:lnTo>
                    <a:lnTo>
                      <a:pt x="78" y="21"/>
                    </a:lnTo>
                    <a:lnTo>
                      <a:pt x="80" y="21"/>
                    </a:lnTo>
                    <a:lnTo>
                      <a:pt x="80" y="23"/>
                    </a:lnTo>
                    <a:lnTo>
                      <a:pt x="83" y="23"/>
                    </a:lnTo>
                    <a:lnTo>
                      <a:pt x="83" y="30"/>
                    </a:lnTo>
                    <a:lnTo>
                      <a:pt x="85" y="33"/>
                    </a:lnTo>
                    <a:lnTo>
                      <a:pt x="85" y="38"/>
                    </a:lnTo>
                    <a:lnTo>
                      <a:pt x="87" y="49"/>
                    </a:lnTo>
                    <a:lnTo>
                      <a:pt x="87" y="54"/>
                    </a:lnTo>
                    <a:lnTo>
                      <a:pt x="85" y="56"/>
                    </a:lnTo>
                    <a:lnTo>
                      <a:pt x="85" y="59"/>
                    </a:lnTo>
                    <a:lnTo>
                      <a:pt x="83" y="59"/>
                    </a:lnTo>
                    <a:lnTo>
                      <a:pt x="80" y="59"/>
                    </a:lnTo>
                    <a:lnTo>
                      <a:pt x="80" y="56"/>
                    </a:lnTo>
                    <a:lnTo>
                      <a:pt x="80" y="56"/>
                    </a:lnTo>
                    <a:lnTo>
                      <a:pt x="83" y="56"/>
                    </a:lnTo>
                    <a:lnTo>
                      <a:pt x="83" y="56"/>
                    </a:lnTo>
                    <a:lnTo>
                      <a:pt x="80" y="54"/>
                    </a:lnTo>
                    <a:lnTo>
                      <a:pt x="80" y="54"/>
                    </a:lnTo>
                    <a:lnTo>
                      <a:pt x="78" y="54"/>
                    </a:lnTo>
                    <a:lnTo>
                      <a:pt x="78" y="56"/>
                    </a:lnTo>
                    <a:lnTo>
                      <a:pt x="78" y="59"/>
                    </a:lnTo>
                    <a:lnTo>
                      <a:pt x="76" y="59"/>
                    </a:lnTo>
                    <a:lnTo>
                      <a:pt x="73" y="59"/>
                    </a:lnTo>
                    <a:lnTo>
                      <a:pt x="76" y="56"/>
                    </a:lnTo>
                    <a:lnTo>
                      <a:pt x="78" y="54"/>
                    </a:lnTo>
                    <a:lnTo>
                      <a:pt x="78" y="54"/>
                    </a:lnTo>
                    <a:lnTo>
                      <a:pt x="78" y="52"/>
                    </a:lnTo>
                    <a:lnTo>
                      <a:pt x="80" y="52"/>
                    </a:lnTo>
                    <a:lnTo>
                      <a:pt x="83" y="52"/>
                    </a:lnTo>
                    <a:lnTo>
                      <a:pt x="85" y="49"/>
                    </a:lnTo>
                    <a:lnTo>
                      <a:pt x="83" y="45"/>
                    </a:lnTo>
                    <a:lnTo>
                      <a:pt x="83" y="40"/>
                    </a:lnTo>
                    <a:lnTo>
                      <a:pt x="80" y="35"/>
                    </a:lnTo>
                    <a:lnTo>
                      <a:pt x="80" y="35"/>
                    </a:lnTo>
                    <a:lnTo>
                      <a:pt x="80" y="35"/>
                    </a:lnTo>
                    <a:lnTo>
                      <a:pt x="80" y="35"/>
                    </a:lnTo>
                    <a:lnTo>
                      <a:pt x="80" y="33"/>
                    </a:lnTo>
                    <a:lnTo>
                      <a:pt x="80" y="30"/>
                    </a:lnTo>
                    <a:lnTo>
                      <a:pt x="80" y="30"/>
                    </a:lnTo>
                    <a:lnTo>
                      <a:pt x="80" y="28"/>
                    </a:lnTo>
                    <a:lnTo>
                      <a:pt x="80" y="28"/>
                    </a:lnTo>
                    <a:lnTo>
                      <a:pt x="78" y="28"/>
                    </a:lnTo>
                    <a:lnTo>
                      <a:pt x="76" y="26"/>
                    </a:lnTo>
                    <a:lnTo>
                      <a:pt x="73" y="26"/>
                    </a:lnTo>
                    <a:lnTo>
                      <a:pt x="73" y="28"/>
                    </a:lnTo>
                    <a:lnTo>
                      <a:pt x="76" y="30"/>
                    </a:lnTo>
                    <a:lnTo>
                      <a:pt x="78" y="35"/>
                    </a:lnTo>
                    <a:lnTo>
                      <a:pt x="76" y="38"/>
                    </a:lnTo>
                    <a:lnTo>
                      <a:pt x="76" y="40"/>
                    </a:lnTo>
                    <a:lnTo>
                      <a:pt x="71" y="40"/>
                    </a:lnTo>
                    <a:lnTo>
                      <a:pt x="71" y="42"/>
                    </a:lnTo>
                    <a:lnTo>
                      <a:pt x="68" y="45"/>
                    </a:lnTo>
                    <a:lnTo>
                      <a:pt x="68" y="45"/>
                    </a:lnTo>
                    <a:lnTo>
                      <a:pt x="68" y="47"/>
                    </a:lnTo>
                    <a:lnTo>
                      <a:pt x="68" y="47"/>
                    </a:lnTo>
                    <a:lnTo>
                      <a:pt x="68" y="49"/>
                    </a:lnTo>
                    <a:lnTo>
                      <a:pt x="71" y="49"/>
                    </a:lnTo>
                    <a:lnTo>
                      <a:pt x="68" y="49"/>
                    </a:lnTo>
                    <a:lnTo>
                      <a:pt x="66" y="56"/>
                    </a:lnTo>
                    <a:lnTo>
                      <a:pt x="66" y="59"/>
                    </a:lnTo>
                    <a:lnTo>
                      <a:pt x="64" y="59"/>
                    </a:lnTo>
                    <a:lnTo>
                      <a:pt x="66" y="56"/>
                    </a:lnTo>
                    <a:lnTo>
                      <a:pt x="66" y="56"/>
                    </a:lnTo>
                    <a:lnTo>
                      <a:pt x="66" y="56"/>
                    </a:lnTo>
                    <a:lnTo>
                      <a:pt x="66" y="54"/>
                    </a:lnTo>
                    <a:lnTo>
                      <a:pt x="64" y="52"/>
                    </a:lnTo>
                    <a:lnTo>
                      <a:pt x="61" y="49"/>
                    </a:lnTo>
                    <a:lnTo>
                      <a:pt x="61" y="52"/>
                    </a:lnTo>
                    <a:lnTo>
                      <a:pt x="61" y="52"/>
                    </a:lnTo>
                    <a:lnTo>
                      <a:pt x="57" y="52"/>
                    </a:lnTo>
                    <a:lnTo>
                      <a:pt x="57" y="52"/>
                    </a:lnTo>
                    <a:lnTo>
                      <a:pt x="57" y="49"/>
                    </a:lnTo>
                    <a:lnTo>
                      <a:pt x="57" y="49"/>
                    </a:lnTo>
                    <a:lnTo>
                      <a:pt x="57" y="49"/>
                    </a:lnTo>
                    <a:lnTo>
                      <a:pt x="64" y="49"/>
                    </a:lnTo>
                    <a:lnTo>
                      <a:pt x="64" y="47"/>
                    </a:lnTo>
                    <a:lnTo>
                      <a:pt x="64" y="45"/>
                    </a:lnTo>
                    <a:lnTo>
                      <a:pt x="61" y="42"/>
                    </a:lnTo>
                    <a:lnTo>
                      <a:pt x="61" y="42"/>
                    </a:lnTo>
                    <a:lnTo>
                      <a:pt x="61" y="42"/>
                    </a:lnTo>
                    <a:lnTo>
                      <a:pt x="59" y="42"/>
                    </a:lnTo>
                    <a:lnTo>
                      <a:pt x="59" y="42"/>
                    </a:lnTo>
                    <a:lnTo>
                      <a:pt x="57" y="45"/>
                    </a:lnTo>
                    <a:lnTo>
                      <a:pt x="54" y="45"/>
                    </a:lnTo>
                    <a:lnTo>
                      <a:pt x="52" y="45"/>
                    </a:lnTo>
                    <a:lnTo>
                      <a:pt x="52" y="42"/>
                    </a:lnTo>
                    <a:lnTo>
                      <a:pt x="54" y="42"/>
                    </a:lnTo>
                    <a:lnTo>
                      <a:pt x="54" y="42"/>
                    </a:lnTo>
                    <a:lnTo>
                      <a:pt x="57" y="40"/>
                    </a:lnTo>
                    <a:lnTo>
                      <a:pt x="57" y="40"/>
                    </a:lnTo>
                    <a:lnTo>
                      <a:pt x="59" y="40"/>
                    </a:lnTo>
                    <a:lnTo>
                      <a:pt x="61" y="40"/>
                    </a:lnTo>
                    <a:lnTo>
                      <a:pt x="61" y="38"/>
                    </a:lnTo>
                    <a:lnTo>
                      <a:pt x="59" y="35"/>
                    </a:lnTo>
                    <a:lnTo>
                      <a:pt x="57" y="28"/>
                    </a:lnTo>
                    <a:lnTo>
                      <a:pt x="57" y="28"/>
                    </a:lnTo>
                    <a:lnTo>
                      <a:pt x="59" y="26"/>
                    </a:lnTo>
                    <a:lnTo>
                      <a:pt x="61" y="26"/>
                    </a:lnTo>
                    <a:lnTo>
                      <a:pt x="59" y="28"/>
                    </a:lnTo>
                    <a:lnTo>
                      <a:pt x="59" y="28"/>
                    </a:lnTo>
                    <a:lnTo>
                      <a:pt x="61" y="28"/>
                    </a:lnTo>
                    <a:lnTo>
                      <a:pt x="61" y="28"/>
                    </a:lnTo>
                    <a:lnTo>
                      <a:pt x="61" y="28"/>
                    </a:lnTo>
                    <a:lnTo>
                      <a:pt x="61" y="26"/>
                    </a:lnTo>
                    <a:lnTo>
                      <a:pt x="61" y="26"/>
                    </a:lnTo>
                    <a:lnTo>
                      <a:pt x="64" y="23"/>
                    </a:lnTo>
                    <a:lnTo>
                      <a:pt x="64" y="21"/>
                    </a:lnTo>
                    <a:lnTo>
                      <a:pt x="64" y="21"/>
                    </a:lnTo>
                    <a:lnTo>
                      <a:pt x="61" y="21"/>
                    </a:lnTo>
                    <a:lnTo>
                      <a:pt x="59" y="23"/>
                    </a:lnTo>
                    <a:lnTo>
                      <a:pt x="54" y="23"/>
                    </a:lnTo>
                    <a:lnTo>
                      <a:pt x="52" y="23"/>
                    </a:lnTo>
                    <a:lnTo>
                      <a:pt x="50" y="23"/>
                    </a:lnTo>
                    <a:lnTo>
                      <a:pt x="40" y="21"/>
                    </a:lnTo>
                    <a:lnTo>
                      <a:pt x="38" y="21"/>
                    </a:lnTo>
                    <a:lnTo>
                      <a:pt x="28" y="16"/>
                    </a:lnTo>
                    <a:lnTo>
                      <a:pt x="28" y="19"/>
                    </a:lnTo>
                    <a:lnTo>
                      <a:pt x="31" y="21"/>
                    </a:lnTo>
                    <a:lnTo>
                      <a:pt x="38" y="23"/>
                    </a:lnTo>
                    <a:lnTo>
                      <a:pt x="40" y="23"/>
                    </a:lnTo>
                    <a:lnTo>
                      <a:pt x="42" y="23"/>
                    </a:lnTo>
                    <a:lnTo>
                      <a:pt x="45" y="28"/>
                    </a:lnTo>
                    <a:lnTo>
                      <a:pt x="45" y="33"/>
                    </a:lnTo>
                    <a:lnTo>
                      <a:pt x="42" y="38"/>
                    </a:lnTo>
                    <a:lnTo>
                      <a:pt x="40" y="35"/>
                    </a:lnTo>
                    <a:lnTo>
                      <a:pt x="40" y="38"/>
                    </a:lnTo>
                    <a:lnTo>
                      <a:pt x="38" y="38"/>
                    </a:lnTo>
                    <a:lnTo>
                      <a:pt x="35" y="38"/>
                    </a:lnTo>
                    <a:lnTo>
                      <a:pt x="33" y="38"/>
                    </a:lnTo>
                    <a:lnTo>
                      <a:pt x="35" y="38"/>
                    </a:lnTo>
                    <a:lnTo>
                      <a:pt x="35" y="40"/>
                    </a:lnTo>
                    <a:lnTo>
                      <a:pt x="35" y="40"/>
                    </a:lnTo>
                    <a:lnTo>
                      <a:pt x="35" y="42"/>
                    </a:lnTo>
                    <a:lnTo>
                      <a:pt x="35" y="42"/>
                    </a:lnTo>
                    <a:lnTo>
                      <a:pt x="35" y="45"/>
                    </a:lnTo>
                    <a:lnTo>
                      <a:pt x="35" y="47"/>
                    </a:lnTo>
                    <a:lnTo>
                      <a:pt x="35" y="47"/>
                    </a:lnTo>
                    <a:lnTo>
                      <a:pt x="33" y="47"/>
                    </a:lnTo>
                    <a:lnTo>
                      <a:pt x="31" y="49"/>
                    </a:lnTo>
                    <a:lnTo>
                      <a:pt x="28" y="49"/>
                    </a:lnTo>
                    <a:lnTo>
                      <a:pt x="28" y="49"/>
                    </a:lnTo>
                    <a:lnTo>
                      <a:pt x="24" y="49"/>
                    </a:lnTo>
                    <a:lnTo>
                      <a:pt x="24" y="49"/>
                    </a:lnTo>
                    <a:lnTo>
                      <a:pt x="24" y="49"/>
                    </a:lnTo>
                    <a:lnTo>
                      <a:pt x="21" y="49"/>
                    </a:lnTo>
                    <a:lnTo>
                      <a:pt x="24" y="54"/>
                    </a:lnTo>
                    <a:lnTo>
                      <a:pt x="24" y="54"/>
                    </a:lnTo>
                    <a:lnTo>
                      <a:pt x="21" y="54"/>
                    </a:lnTo>
                    <a:lnTo>
                      <a:pt x="19" y="52"/>
                    </a:lnTo>
                    <a:lnTo>
                      <a:pt x="19" y="49"/>
                    </a:lnTo>
                    <a:lnTo>
                      <a:pt x="19" y="49"/>
                    </a:lnTo>
                    <a:lnTo>
                      <a:pt x="19" y="49"/>
                    </a:lnTo>
                    <a:lnTo>
                      <a:pt x="21" y="49"/>
                    </a:lnTo>
                    <a:lnTo>
                      <a:pt x="21" y="49"/>
                    </a:lnTo>
                    <a:lnTo>
                      <a:pt x="21" y="49"/>
                    </a:lnTo>
                    <a:lnTo>
                      <a:pt x="19" y="49"/>
                    </a:lnTo>
                    <a:lnTo>
                      <a:pt x="14" y="49"/>
                    </a:lnTo>
                    <a:lnTo>
                      <a:pt x="12" y="49"/>
                    </a:lnTo>
                    <a:lnTo>
                      <a:pt x="0" y="49"/>
                    </a:lnTo>
                    <a:lnTo>
                      <a:pt x="0" y="49"/>
                    </a:lnTo>
                    <a:lnTo>
                      <a:pt x="2" y="49"/>
                    </a:lnTo>
                    <a:lnTo>
                      <a:pt x="5" y="49"/>
                    </a:lnTo>
                    <a:lnTo>
                      <a:pt x="7" y="52"/>
                    </a:lnTo>
                    <a:lnTo>
                      <a:pt x="7" y="52"/>
                    </a:lnTo>
                    <a:lnTo>
                      <a:pt x="7" y="52"/>
                    </a:lnTo>
                    <a:lnTo>
                      <a:pt x="7" y="54"/>
                    </a:lnTo>
                    <a:lnTo>
                      <a:pt x="9" y="56"/>
                    </a:lnTo>
                    <a:lnTo>
                      <a:pt x="14" y="56"/>
                    </a:lnTo>
                    <a:lnTo>
                      <a:pt x="17" y="59"/>
                    </a:lnTo>
                    <a:lnTo>
                      <a:pt x="5" y="59"/>
                    </a:lnTo>
                    <a:lnTo>
                      <a:pt x="5" y="59"/>
                    </a:lnTo>
                    <a:lnTo>
                      <a:pt x="12" y="61"/>
                    </a:lnTo>
                    <a:lnTo>
                      <a:pt x="17" y="63"/>
                    </a:lnTo>
                    <a:lnTo>
                      <a:pt x="19" y="68"/>
                    </a:lnTo>
                    <a:lnTo>
                      <a:pt x="19" y="71"/>
                    </a:lnTo>
                    <a:lnTo>
                      <a:pt x="19" y="73"/>
                    </a:lnTo>
                    <a:lnTo>
                      <a:pt x="19" y="73"/>
                    </a:lnTo>
                    <a:lnTo>
                      <a:pt x="17" y="75"/>
                    </a:lnTo>
                    <a:lnTo>
                      <a:pt x="17" y="75"/>
                    </a:lnTo>
                    <a:lnTo>
                      <a:pt x="17" y="75"/>
                    </a:lnTo>
                    <a:lnTo>
                      <a:pt x="14" y="75"/>
                    </a:lnTo>
                    <a:lnTo>
                      <a:pt x="14" y="78"/>
                    </a:lnTo>
                    <a:lnTo>
                      <a:pt x="14" y="78"/>
                    </a:lnTo>
                    <a:lnTo>
                      <a:pt x="17" y="78"/>
                    </a:lnTo>
                    <a:lnTo>
                      <a:pt x="17" y="78"/>
                    </a:lnTo>
                    <a:lnTo>
                      <a:pt x="19" y="78"/>
                    </a:lnTo>
                    <a:lnTo>
                      <a:pt x="21" y="78"/>
                    </a:lnTo>
                    <a:lnTo>
                      <a:pt x="21" y="78"/>
                    </a:lnTo>
                    <a:lnTo>
                      <a:pt x="21" y="80"/>
                    </a:lnTo>
                    <a:lnTo>
                      <a:pt x="24" y="85"/>
                    </a:lnTo>
                    <a:lnTo>
                      <a:pt x="24" y="87"/>
                    </a:lnTo>
                    <a:lnTo>
                      <a:pt x="24" y="89"/>
                    </a:lnTo>
                    <a:lnTo>
                      <a:pt x="24" y="89"/>
                    </a:lnTo>
                    <a:lnTo>
                      <a:pt x="24" y="89"/>
                    </a:lnTo>
                    <a:lnTo>
                      <a:pt x="24" y="92"/>
                    </a:lnTo>
                    <a:lnTo>
                      <a:pt x="21" y="92"/>
                    </a:lnTo>
                    <a:lnTo>
                      <a:pt x="21" y="94"/>
                    </a:lnTo>
                    <a:lnTo>
                      <a:pt x="21" y="94"/>
                    </a:lnTo>
                    <a:lnTo>
                      <a:pt x="19" y="94"/>
                    </a:lnTo>
                    <a:lnTo>
                      <a:pt x="19" y="94"/>
                    </a:lnTo>
                    <a:lnTo>
                      <a:pt x="19" y="96"/>
                    </a:lnTo>
                    <a:lnTo>
                      <a:pt x="17" y="96"/>
                    </a:lnTo>
                    <a:lnTo>
                      <a:pt x="17" y="96"/>
                    </a:lnTo>
                    <a:lnTo>
                      <a:pt x="17" y="96"/>
                    </a:lnTo>
                    <a:lnTo>
                      <a:pt x="17" y="99"/>
                    </a:lnTo>
                    <a:lnTo>
                      <a:pt x="17" y="99"/>
                    </a:lnTo>
                    <a:lnTo>
                      <a:pt x="19" y="99"/>
                    </a:lnTo>
                    <a:lnTo>
                      <a:pt x="19" y="99"/>
                    </a:lnTo>
                    <a:lnTo>
                      <a:pt x="19" y="96"/>
                    </a:lnTo>
                    <a:lnTo>
                      <a:pt x="19" y="96"/>
                    </a:lnTo>
                    <a:lnTo>
                      <a:pt x="21" y="96"/>
                    </a:lnTo>
                    <a:lnTo>
                      <a:pt x="21" y="96"/>
                    </a:lnTo>
                    <a:lnTo>
                      <a:pt x="21" y="96"/>
                    </a:lnTo>
                    <a:lnTo>
                      <a:pt x="24" y="99"/>
                    </a:lnTo>
                    <a:lnTo>
                      <a:pt x="21" y="99"/>
                    </a:lnTo>
                    <a:lnTo>
                      <a:pt x="21" y="99"/>
                    </a:lnTo>
                    <a:lnTo>
                      <a:pt x="21" y="99"/>
                    </a:lnTo>
                    <a:lnTo>
                      <a:pt x="21" y="99"/>
                    </a:lnTo>
                    <a:lnTo>
                      <a:pt x="21" y="101"/>
                    </a:lnTo>
                    <a:lnTo>
                      <a:pt x="24" y="104"/>
                    </a:lnTo>
                    <a:lnTo>
                      <a:pt x="26" y="106"/>
                    </a:lnTo>
                    <a:lnTo>
                      <a:pt x="26" y="106"/>
                    </a:lnTo>
                    <a:lnTo>
                      <a:pt x="26" y="108"/>
                    </a:lnTo>
                    <a:lnTo>
                      <a:pt x="26" y="111"/>
                    </a:lnTo>
                    <a:lnTo>
                      <a:pt x="28" y="111"/>
                    </a:lnTo>
                    <a:lnTo>
                      <a:pt x="28" y="111"/>
                    </a:lnTo>
                    <a:lnTo>
                      <a:pt x="28" y="108"/>
                    </a:lnTo>
                    <a:lnTo>
                      <a:pt x="28" y="111"/>
                    </a:lnTo>
                    <a:lnTo>
                      <a:pt x="28" y="111"/>
                    </a:lnTo>
                    <a:lnTo>
                      <a:pt x="28" y="111"/>
                    </a:lnTo>
                    <a:lnTo>
                      <a:pt x="26" y="111"/>
                    </a:lnTo>
                    <a:lnTo>
                      <a:pt x="26" y="113"/>
                    </a:lnTo>
                    <a:lnTo>
                      <a:pt x="28" y="115"/>
                    </a:lnTo>
                    <a:lnTo>
                      <a:pt x="28" y="115"/>
                    </a:lnTo>
                    <a:lnTo>
                      <a:pt x="33" y="118"/>
                    </a:lnTo>
                    <a:lnTo>
                      <a:pt x="31" y="115"/>
                    </a:lnTo>
                    <a:lnTo>
                      <a:pt x="31" y="115"/>
                    </a:lnTo>
                    <a:lnTo>
                      <a:pt x="35" y="115"/>
                    </a:lnTo>
                    <a:lnTo>
                      <a:pt x="35" y="115"/>
                    </a:lnTo>
                    <a:lnTo>
                      <a:pt x="38" y="113"/>
                    </a:lnTo>
                    <a:lnTo>
                      <a:pt x="40" y="113"/>
                    </a:lnTo>
                    <a:lnTo>
                      <a:pt x="45" y="115"/>
                    </a:lnTo>
                    <a:lnTo>
                      <a:pt x="45" y="115"/>
                    </a:lnTo>
                    <a:lnTo>
                      <a:pt x="47" y="115"/>
                    </a:lnTo>
                    <a:lnTo>
                      <a:pt x="52" y="118"/>
                    </a:lnTo>
                    <a:lnTo>
                      <a:pt x="54" y="118"/>
                    </a:lnTo>
                    <a:lnTo>
                      <a:pt x="54" y="118"/>
                    </a:lnTo>
                    <a:lnTo>
                      <a:pt x="57" y="118"/>
                    </a:lnTo>
                    <a:lnTo>
                      <a:pt x="57" y="115"/>
                    </a:lnTo>
                    <a:lnTo>
                      <a:pt x="59" y="115"/>
                    </a:lnTo>
                    <a:lnTo>
                      <a:pt x="61" y="115"/>
                    </a:lnTo>
                    <a:lnTo>
                      <a:pt x="61" y="115"/>
                    </a:lnTo>
                    <a:lnTo>
                      <a:pt x="61" y="118"/>
                    </a:lnTo>
                    <a:lnTo>
                      <a:pt x="61" y="118"/>
                    </a:lnTo>
                    <a:lnTo>
                      <a:pt x="59" y="120"/>
                    </a:lnTo>
                    <a:lnTo>
                      <a:pt x="61" y="122"/>
                    </a:lnTo>
                    <a:lnTo>
                      <a:pt x="64" y="120"/>
                    </a:lnTo>
                    <a:lnTo>
                      <a:pt x="66" y="122"/>
                    </a:lnTo>
                    <a:lnTo>
                      <a:pt x="66" y="122"/>
                    </a:lnTo>
                    <a:lnTo>
                      <a:pt x="66" y="125"/>
                    </a:lnTo>
                    <a:lnTo>
                      <a:pt x="61" y="125"/>
                    </a:lnTo>
                    <a:lnTo>
                      <a:pt x="61" y="127"/>
                    </a:lnTo>
                    <a:lnTo>
                      <a:pt x="66" y="132"/>
                    </a:lnTo>
                    <a:lnTo>
                      <a:pt x="68" y="134"/>
                    </a:lnTo>
                    <a:lnTo>
                      <a:pt x="64" y="134"/>
                    </a:lnTo>
                    <a:lnTo>
                      <a:pt x="57" y="129"/>
                    </a:lnTo>
                    <a:lnTo>
                      <a:pt x="52" y="129"/>
                    </a:lnTo>
                    <a:lnTo>
                      <a:pt x="54" y="129"/>
                    </a:lnTo>
                    <a:lnTo>
                      <a:pt x="54" y="132"/>
                    </a:lnTo>
                    <a:lnTo>
                      <a:pt x="57" y="132"/>
                    </a:lnTo>
                    <a:lnTo>
                      <a:pt x="61" y="132"/>
                    </a:lnTo>
                    <a:lnTo>
                      <a:pt x="61" y="132"/>
                    </a:lnTo>
                    <a:lnTo>
                      <a:pt x="61" y="134"/>
                    </a:lnTo>
                    <a:lnTo>
                      <a:pt x="64" y="134"/>
                    </a:lnTo>
                    <a:lnTo>
                      <a:pt x="64" y="134"/>
                    </a:lnTo>
                    <a:lnTo>
                      <a:pt x="68" y="136"/>
                    </a:lnTo>
                    <a:lnTo>
                      <a:pt x="68" y="136"/>
                    </a:lnTo>
                    <a:lnTo>
                      <a:pt x="71" y="141"/>
                    </a:lnTo>
                    <a:lnTo>
                      <a:pt x="71" y="144"/>
                    </a:lnTo>
                    <a:lnTo>
                      <a:pt x="71" y="144"/>
                    </a:lnTo>
                    <a:lnTo>
                      <a:pt x="71" y="144"/>
                    </a:lnTo>
                    <a:lnTo>
                      <a:pt x="68" y="146"/>
                    </a:lnTo>
                    <a:lnTo>
                      <a:pt x="68" y="144"/>
                    </a:lnTo>
                    <a:lnTo>
                      <a:pt x="66" y="146"/>
                    </a:lnTo>
                    <a:lnTo>
                      <a:pt x="66" y="146"/>
                    </a:lnTo>
                    <a:lnTo>
                      <a:pt x="66" y="146"/>
                    </a:lnTo>
                    <a:lnTo>
                      <a:pt x="64" y="144"/>
                    </a:lnTo>
                    <a:lnTo>
                      <a:pt x="64" y="144"/>
                    </a:lnTo>
                    <a:lnTo>
                      <a:pt x="61" y="144"/>
                    </a:lnTo>
                    <a:lnTo>
                      <a:pt x="59" y="146"/>
                    </a:lnTo>
                    <a:lnTo>
                      <a:pt x="59" y="148"/>
                    </a:lnTo>
                    <a:lnTo>
                      <a:pt x="61" y="148"/>
                    </a:lnTo>
                    <a:lnTo>
                      <a:pt x="61" y="148"/>
                    </a:lnTo>
                    <a:lnTo>
                      <a:pt x="61" y="151"/>
                    </a:lnTo>
                    <a:lnTo>
                      <a:pt x="61" y="153"/>
                    </a:lnTo>
                    <a:lnTo>
                      <a:pt x="61" y="155"/>
                    </a:lnTo>
                    <a:lnTo>
                      <a:pt x="64" y="158"/>
                    </a:lnTo>
                    <a:lnTo>
                      <a:pt x="64" y="158"/>
                    </a:lnTo>
                    <a:lnTo>
                      <a:pt x="66" y="158"/>
                    </a:lnTo>
                    <a:lnTo>
                      <a:pt x="66" y="160"/>
                    </a:lnTo>
                    <a:lnTo>
                      <a:pt x="66" y="160"/>
                    </a:lnTo>
                    <a:lnTo>
                      <a:pt x="66" y="160"/>
                    </a:lnTo>
                    <a:lnTo>
                      <a:pt x="66" y="162"/>
                    </a:lnTo>
                    <a:lnTo>
                      <a:pt x="66" y="162"/>
                    </a:lnTo>
                    <a:lnTo>
                      <a:pt x="66" y="165"/>
                    </a:lnTo>
                    <a:lnTo>
                      <a:pt x="71" y="167"/>
                    </a:lnTo>
                    <a:lnTo>
                      <a:pt x="71" y="169"/>
                    </a:lnTo>
                    <a:lnTo>
                      <a:pt x="71" y="169"/>
                    </a:lnTo>
                    <a:lnTo>
                      <a:pt x="71" y="169"/>
                    </a:lnTo>
                    <a:lnTo>
                      <a:pt x="71" y="172"/>
                    </a:lnTo>
                    <a:lnTo>
                      <a:pt x="71" y="172"/>
                    </a:lnTo>
                    <a:lnTo>
                      <a:pt x="73" y="174"/>
                    </a:lnTo>
                    <a:lnTo>
                      <a:pt x="73" y="174"/>
                    </a:lnTo>
                    <a:lnTo>
                      <a:pt x="71" y="177"/>
                    </a:lnTo>
                    <a:lnTo>
                      <a:pt x="71" y="179"/>
                    </a:lnTo>
                    <a:lnTo>
                      <a:pt x="71" y="181"/>
                    </a:lnTo>
                    <a:lnTo>
                      <a:pt x="71" y="184"/>
                    </a:lnTo>
                    <a:lnTo>
                      <a:pt x="73" y="188"/>
                    </a:lnTo>
                    <a:lnTo>
                      <a:pt x="76" y="188"/>
                    </a:lnTo>
                    <a:lnTo>
                      <a:pt x="76" y="191"/>
                    </a:lnTo>
                    <a:lnTo>
                      <a:pt x="76" y="193"/>
                    </a:lnTo>
                    <a:lnTo>
                      <a:pt x="78" y="193"/>
                    </a:lnTo>
                    <a:lnTo>
                      <a:pt x="78" y="188"/>
                    </a:lnTo>
                    <a:lnTo>
                      <a:pt x="78" y="181"/>
                    </a:lnTo>
                    <a:lnTo>
                      <a:pt x="78" y="177"/>
                    </a:lnTo>
                    <a:lnTo>
                      <a:pt x="78"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89" name="Freeform 177">
                <a:extLst>
                  <a:ext uri="{FF2B5EF4-FFF2-40B4-BE49-F238E27FC236}">
                    <a16:creationId xmlns:a16="http://schemas.microsoft.com/office/drawing/2014/main" id="{F618F963-9031-4A3E-A741-C1E8CF1F69A8}"/>
                  </a:ext>
                </a:extLst>
              </p:cNvPr>
              <p:cNvSpPr>
                <a:spLocks/>
              </p:cNvSpPr>
              <p:nvPr/>
            </p:nvSpPr>
            <p:spPr bwMode="gray">
              <a:xfrm>
                <a:off x="-1977" y="1031"/>
                <a:ext cx="26" cy="52"/>
              </a:xfrm>
              <a:custGeom>
                <a:avLst/>
                <a:gdLst>
                  <a:gd name="T0" fmla="*/ 2 w 26"/>
                  <a:gd name="T1" fmla="*/ 42 h 52"/>
                  <a:gd name="T2" fmla="*/ 5 w 26"/>
                  <a:gd name="T3" fmla="*/ 45 h 52"/>
                  <a:gd name="T4" fmla="*/ 5 w 26"/>
                  <a:gd name="T5" fmla="*/ 52 h 52"/>
                  <a:gd name="T6" fmla="*/ 7 w 26"/>
                  <a:gd name="T7" fmla="*/ 52 h 52"/>
                  <a:gd name="T8" fmla="*/ 7 w 26"/>
                  <a:gd name="T9" fmla="*/ 52 h 52"/>
                  <a:gd name="T10" fmla="*/ 10 w 26"/>
                  <a:gd name="T11" fmla="*/ 52 h 52"/>
                  <a:gd name="T12" fmla="*/ 10 w 26"/>
                  <a:gd name="T13" fmla="*/ 49 h 52"/>
                  <a:gd name="T14" fmla="*/ 17 w 26"/>
                  <a:gd name="T15" fmla="*/ 28 h 52"/>
                  <a:gd name="T16" fmla="*/ 21 w 26"/>
                  <a:gd name="T17" fmla="*/ 21 h 52"/>
                  <a:gd name="T18" fmla="*/ 21 w 26"/>
                  <a:gd name="T19" fmla="*/ 16 h 52"/>
                  <a:gd name="T20" fmla="*/ 26 w 26"/>
                  <a:gd name="T21" fmla="*/ 2 h 52"/>
                  <a:gd name="T22" fmla="*/ 24 w 26"/>
                  <a:gd name="T23" fmla="*/ 0 h 52"/>
                  <a:gd name="T24" fmla="*/ 21 w 26"/>
                  <a:gd name="T25" fmla="*/ 5 h 52"/>
                  <a:gd name="T26" fmla="*/ 19 w 26"/>
                  <a:gd name="T27" fmla="*/ 12 h 52"/>
                  <a:gd name="T28" fmla="*/ 19 w 26"/>
                  <a:gd name="T29" fmla="*/ 14 h 52"/>
                  <a:gd name="T30" fmla="*/ 14 w 26"/>
                  <a:gd name="T31" fmla="*/ 21 h 52"/>
                  <a:gd name="T32" fmla="*/ 12 w 26"/>
                  <a:gd name="T33" fmla="*/ 21 h 52"/>
                  <a:gd name="T34" fmla="*/ 7 w 26"/>
                  <a:gd name="T35" fmla="*/ 26 h 52"/>
                  <a:gd name="T36" fmla="*/ 7 w 26"/>
                  <a:gd name="T37" fmla="*/ 28 h 52"/>
                  <a:gd name="T38" fmla="*/ 5 w 26"/>
                  <a:gd name="T39" fmla="*/ 31 h 52"/>
                  <a:gd name="T40" fmla="*/ 7 w 26"/>
                  <a:gd name="T41" fmla="*/ 31 h 52"/>
                  <a:gd name="T42" fmla="*/ 7 w 26"/>
                  <a:gd name="T43" fmla="*/ 33 h 52"/>
                  <a:gd name="T44" fmla="*/ 7 w 26"/>
                  <a:gd name="T45" fmla="*/ 31 h 52"/>
                  <a:gd name="T46" fmla="*/ 7 w 26"/>
                  <a:gd name="T47" fmla="*/ 31 h 52"/>
                  <a:gd name="T48" fmla="*/ 10 w 26"/>
                  <a:gd name="T49" fmla="*/ 33 h 52"/>
                  <a:gd name="T50" fmla="*/ 10 w 26"/>
                  <a:gd name="T51" fmla="*/ 33 h 52"/>
                  <a:gd name="T52" fmla="*/ 7 w 26"/>
                  <a:gd name="T53" fmla="*/ 35 h 52"/>
                  <a:gd name="T54" fmla="*/ 7 w 26"/>
                  <a:gd name="T55" fmla="*/ 35 h 52"/>
                  <a:gd name="T56" fmla="*/ 7 w 26"/>
                  <a:gd name="T57" fmla="*/ 33 h 52"/>
                  <a:gd name="T58" fmla="*/ 5 w 26"/>
                  <a:gd name="T59" fmla="*/ 35 h 52"/>
                  <a:gd name="T60" fmla="*/ 5 w 26"/>
                  <a:gd name="T61" fmla="*/ 35 h 52"/>
                  <a:gd name="T62" fmla="*/ 5 w 26"/>
                  <a:gd name="T63" fmla="*/ 38 h 52"/>
                  <a:gd name="T64" fmla="*/ 2 w 26"/>
                  <a:gd name="T65" fmla="*/ 40 h 52"/>
                  <a:gd name="T66" fmla="*/ 2 w 26"/>
                  <a:gd name="T67" fmla="*/ 40 h 52"/>
                  <a:gd name="T68" fmla="*/ 0 w 26"/>
                  <a:gd name="T69" fmla="*/ 40 h 52"/>
                  <a:gd name="T70" fmla="*/ 2 w 26"/>
                  <a:gd name="T71" fmla="*/ 42 h 52"/>
                  <a:gd name="T72" fmla="*/ 2 w 26"/>
                  <a:gd name="T73"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 h="52">
                    <a:moveTo>
                      <a:pt x="2" y="42"/>
                    </a:moveTo>
                    <a:lnTo>
                      <a:pt x="5" y="45"/>
                    </a:lnTo>
                    <a:lnTo>
                      <a:pt x="5" y="52"/>
                    </a:lnTo>
                    <a:lnTo>
                      <a:pt x="7" y="52"/>
                    </a:lnTo>
                    <a:lnTo>
                      <a:pt x="7" y="52"/>
                    </a:lnTo>
                    <a:lnTo>
                      <a:pt x="10" y="52"/>
                    </a:lnTo>
                    <a:lnTo>
                      <a:pt x="10" y="49"/>
                    </a:lnTo>
                    <a:lnTo>
                      <a:pt x="17" y="28"/>
                    </a:lnTo>
                    <a:lnTo>
                      <a:pt x="21" y="21"/>
                    </a:lnTo>
                    <a:lnTo>
                      <a:pt x="21" y="16"/>
                    </a:lnTo>
                    <a:lnTo>
                      <a:pt x="26" y="2"/>
                    </a:lnTo>
                    <a:lnTo>
                      <a:pt x="24" y="0"/>
                    </a:lnTo>
                    <a:lnTo>
                      <a:pt x="21" y="5"/>
                    </a:lnTo>
                    <a:lnTo>
                      <a:pt x="19" y="12"/>
                    </a:lnTo>
                    <a:lnTo>
                      <a:pt x="19" y="14"/>
                    </a:lnTo>
                    <a:lnTo>
                      <a:pt x="14" y="21"/>
                    </a:lnTo>
                    <a:lnTo>
                      <a:pt x="12" y="21"/>
                    </a:lnTo>
                    <a:lnTo>
                      <a:pt x="7" y="26"/>
                    </a:lnTo>
                    <a:lnTo>
                      <a:pt x="7" y="28"/>
                    </a:lnTo>
                    <a:lnTo>
                      <a:pt x="5" y="31"/>
                    </a:lnTo>
                    <a:lnTo>
                      <a:pt x="7" y="31"/>
                    </a:lnTo>
                    <a:lnTo>
                      <a:pt x="7" y="33"/>
                    </a:lnTo>
                    <a:lnTo>
                      <a:pt x="7" y="31"/>
                    </a:lnTo>
                    <a:lnTo>
                      <a:pt x="7" y="31"/>
                    </a:lnTo>
                    <a:lnTo>
                      <a:pt x="10" y="33"/>
                    </a:lnTo>
                    <a:lnTo>
                      <a:pt x="10" y="33"/>
                    </a:lnTo>
                    <a:lnTo>
                      <a:pt x="7" y="35"/>
                    </a:lnTo>
                    <a:lnTo>
                      <a:pt x="7" y="35"/>
                    </a:lnTo>
                    <a:lnTo>
                      <a:pt x="7" y="33"/>
                    </a:lnTo>
                    <a:lnTo>
                      <a:pt x="5" y="35"/>
                    </a:lnTo>
                    <a:lnTo>
                      <a:pt x="5" y="35"/>
                    </a:lnTo>
                    <a:lnTo>
                      <a:pt x="5" y="38"/>
                    </a:lnTo>
                    <a:lnTo>
                      <a:pt x="2" y="40"/>
                    </a:lnTo>
                    <a:lnTo>
                      <a:pt x="2" y="40"/>
                    </a:lnTo>
                    <a:lnTo>
                      <a:pt x="0" y="40"/>
                    </a:lnTo>
                    <a:lnTo>
                      <a:pt x="2" y="42"/>
                    </a:lnTo>
                    <a:lnTo>
                      <a:pt x="2"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90" name="Freeform 178">
                <a:extLst>
                  <a:ext uri="{FF2B5EF4-FFF2-40B4-BE49-F238E27FC236}">
                    <a16:creationId xmlns:a16="http://schemas.microsoft.com/office/drawing/2014/main" id="{1DA1D25F-8851-4728-B380-3CB0F734927D}"/>
                  </a:ext>
                </a:extLst>
              </p:cNvPr>
              <p:cNvSpPr>
                <a:spLocks/>
              </p:cNvSpPr>
              <p:nvPr/>
            </p:nvSpPr>
            <p:spPr bwMode="gray">
              <a:xfrm>
                <a:off x="-1689" y="2162"/>
                <a:ext cx="14" cy="16"/>
              </a:xfrm>
              <a:custGeom>
                <a:avLst/>
                <a:gdLst>
                  <a:gd name="T0" fmla="*/ 2 w 14"/>
                  <a:gd name="T1" fmla="*/ 9 h 16"/>
                  <a:gd name="T2" fmla="*/ 5 w 14"/>
                  <a:gd name="T3" fmla="*/ 9 h 16"/>
                  <a:gd name="T4" fmla="*/ 5 w 14"/>
                  <a:gd name="T5" fmla="*/ 9 h 16"/>
                  <a:gd name="T6" fmla="*/ 5 w 14"/>
                  <a:gd name="T7" fmla="*/ 9 h 16"/>
                  <a:gd name="T8" fmla="*/ 5 w 14"/>
                  <a:gd name="T9" fmla="*/ 9 h 16"/>
                  <a:gd name="T10" fmla="*/ 7 w 14"/>
                  <a:gd name="T11" fmla="*/ 9 h 16"/>
                  <a:gd name="T12" fmla="*/ 9 w 14"/>
                  <a:gd name="T13" fmla="*/ 14 h 16"/>
                  <a:gd name="T14" fmla="*/ 12 w 14"/>
                  <a:gd name="T15" fmla="*/ 16 h 16"/>
                  <a:gd name="T16" fmla="*/ 14 w 14"/>
                  <a:gd name="T17" fmla="*/ 14 h 16"/>
                  <a:gd name="T18" fmla="*/ 12 w 14"/>
                  <a:gd name="T19" fmla="*/ 12 h 16"/>
                  <a:gd name="T20" fmla="*/ 9 w 14"/>
                  <a:gd name="T21" fmla="*/ 9 h 16"/>
                  <a:gd name="T22" fmla="*/ 9 w 14"/>
                  <a:gd name="T23" fmla="*/ 9 h 16"/>
                  <a:gd name="T24" fmla="*/ 9 w 14"/>
                  <a:gd name="T25" fmla="*/ 7 h 16"/>
                  <a:gd name="T26" fmla="*/ 5 w 14"/>
                  <a:gd name="T27" fmla="*/ 5 h 16"/>
                  <a:gd name="T28" fmla="*/ 5 w 14"/>
                  <a:gd name="T29" fmla="*/ 5 h 16"/>
                  <a:gd name="T30" fmla="*/ 5 w 14"/>
                  <a:gd name="T31" fmla="*/ 5 h 16"/>
                  <a:gd name="T32" fmla="*/ 7 w 14"/>
                  <a:gd name="T33" fmla="*/ 2 h 16"/>
                  <a:gd name="T34" fmla="*/ 7 w 14"/>
                  <a:gd name="T35" fmla="*/ 2 h 16"/>
                  <a:gd name="T36" fmla="*/ 5 w 14"/>
                  <a:gd name="T37" fmla="*/ 0 h 16"/>
                  <a:gd name="T38" fmla="*/ 2 w 14"/>
                  <a:gd name="T39" fmla="*/ 0 h 16"/>
                  <a:gd name="T40" fmla="*/ 5 w 14"/>
                  <a:gd name="T41" fmla="*/ 2 h 16"/>
                  <a:gd name="T42" fmla="*/ 5 w 14"/>
                  <a:gd name="T43" fmla="*/ 2 h 16"/>
                  <a:gd name="T44" fmla="*/ 2 w 14"/>
                  <a:gd name="T45" fmla="*/ 2 h 16"/>
                  <a:gd name="T46" fmla="*/ 2 w 14"/>
                  <a:gd name="T47" fmla="*/ 2 h 16"/>
                  <a:gd name="T48" fmla="*/ 2 w 14"/>
                  <a:gd name="T49" fmla="*/ 2 h 16"/>
                  <a:gd name="T50" fmla="*/ 2 w 14"/>
                  <a:gd name="T51" fmla="*/ 5 h 16"/>
                  <a:gd name="T52" fmla="*/ 2 w 14"/>
                  <a:gd name="T53" fmla="*/ 5 h 16"/>
                  <a:gd name="T54" fmla="*/ 5 w 14"/>
                  <a:gd name="T55" fmla="*/ 7 h 16"/>
                  <a:gd name="T56" fmla="*/ 2 w 14"/>
                  <a:gd name="T57" fmla="*/ 7 h 16"/>
                  <a:gd name="T58" fmla="*/ 2 w 14"/>
                  <a:gd name="T59" fmla="*/ 7 h 16"/>
                  <a:gd name="T60" fmla="*/ 2 w 14"/>
                  <a:gd name="T61" fmla="*/ 5 h 16"/>
                  <a:gd name="T62" fmla="*/ 2 w 14"/>
                  <a:gd name="T63" fmla="*/ 5 h 16"/>
                  <a:gd name="T64" fmla="*/ 2 w 14"/>
                  <a:gd name="T65" fmla="*/ 7 h 16"/>
                  <a:gd name="T66" fmla="*/ 2 w 14"/>
                  <a:gd name="T67" fmla="*/ 7 h 16"/>
                  <a:gd name="T68" fmla="*/ 2 w 14"/>
                  <a:gd name="T69" fmla="*/ 7 h 16"/>
                  <a:gd name="T70" fmla="*/ 2 w 14"/>
                  <a:gd name="T71" fmla="*/ 7 h 16"/>
                  <a:gd name="T72" fmla="*/ 2 w 14"/>
                  <a:gd name="T73" fmla="*/ 7 h 16"/>
                  <a:gd name="T74" fmla="*/ 0 w 14"/>
                  <a:gd name="T75" fmla="*/ 7 h 16"/>
                  <a:gd name="T76" fmla="*/ 0 w 14"/>
                  <a:gd name="T77" fmla="*/ 7 h 16"/>
                  <a:gd name="T78" fmla="*/ 0 w 14"/>
                  <a:gd name="T79" fmla="*/ 7 h 16"/>
                  <a:gd name="T80" fmla="*/ 2 w 14"/>
                  <a:gd name="T81" fmla="*/ 9 h 16"/>
                  <a:gd name="T82" fmla="*/ 2 w 14"/>
                  <a:gd name="T83"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 h="16">
                    <a:moveTo>
                      <a:pt x="2" y="9"/>
                    </a:moveTo>
                    <a:lnTo>
                      <a:pt x="5" y="9"/>
                    </a:lnTo>
                    <a:lnTo>
                      <a:pt x="5" y="9"/>
                    </a:lnTo>
                    <a:lnTo>
                      <a:pt x="5" y="9"/>
                    </a:lnTo>
                    <a:lnTo>
                      <a:pt x="5" y="9"/>
                    </a:lnTo>
                    <a:lnTo>
                      <a:pt x="7" y="9"/>
                    </a:lnTo>
                    <a:lnTo>
                      <a:pt x="9" y="14"/>
                    </a:lnTo>
                    <a:lnTo>
                      <a:pt x="12" y="16"/>
                    </a:lnTo>
                    <a:lnTo>
                      <a:pt x="14" y="14"/>
                    </a:lnTo>
                    <a:lnTo>
                      <a:pt x="12" y="12"/>
                    </a:lnTo>
                    <a:lnTo>
                      <a:pt x="9" y="9"/>
                    </a:lnTo>
                    <a:lnTo>
                      <a:pt x="9" y="9"/>
                    </a:lnTo>
                    <a:lnTo>
                      <a:pt x="9" y="7"/>
                    </a:lnTo>
                    <a:lnTo>
                      <a:pt x="5" y="5"/>
                    </a:lnTo>
                    <a:lnTo>
                      <a:pt x="5" y="5"/>
                    </a:lnTo>
                    <a:lnTo>
                      <a:pt x="5" y="5"/>
                    </a:lnTo>
                    <a:lnTo>
                      <a:pt x="7" y="2"/>
                    </a:lnTo>
                    <a:lnTo>
                      <a:pt x="7" y="2"/>
                    </a:lnTo>
                    <a:lnTo>
                      <a:pt x="5" y="0"/>
                    </a:lnTo>
                    <a:lnTo>
                      <a:pt x="2" y="0"/>
                    </a:lnTo>
                    <a:lnTo>
                      <a:pt x="5" y="2"/>
                    </a:lnTo>
                    <a:lnTo>
                      <a:pt x="5" y="2"/>
                    </a:lnTo>
                    <a:lnTo>
                      <a:pt x="2" y="2"/>
                    </a:lnTo>
                    <a:lnTo>
                      <a:pt x="2" y="2"/>
                    </a:lnTo>
                    <a:lnTo>
                      <a:pt x="2" y="2"/>
                    </a:lnTo>
                    <a:lnTo>
                      <a:pt x="2" y="5"/>
                    </a:lnTo>
                    <a:lnTo>
                      <a:pt x="2" y="5"/>
                    </a:lnTo>
                    <a:lnTo>
                      <a:pt x="5" y="7"/>
                    </a:lnTo>
                    <a:lnTo>
                      <a:pt x="2" y="7"/>
                    </a:lnTo>
                    <a:lnTo>
                      <a:pt x="2" y="7"/>
                    </a:lnTo>
                    <a:lnTo>
                      <a:pt x="2" y="5"/>
                    </a:lnTo>
                    <a:lnTo>
                      <a:pt x="2" y="5"/>
                    </a:lnTo>
                    <a:lnTo>
                      <a:pt x="2" y="7"/>
                    </a:lnTo>
                    <a:lnTo>
                      <a:pt x="2" y="7"/>
                    </a:lnTo>
                    <a:lnTo>
                      <a:pt x="2" y="7"/>
                    </a:lnTo>
                    <a:lnTo>
                      <a:pt x="2" y="7"/>
                    </a:lnTo>
                    <a:lnTo>
                      <a:pt x="2" y="7"/>
                    </a:lnTo>
                    <a:lnTo>
                      <a:pt x="0" y="7"/>
                    </a:lnTo>
                    <a:lnTo>
                      <a:pt x="0" y="7"/>
                    </a:lnTo>
                    <a:lnTo>
                      <a:pt x="0" y="7"/>
                    </a:lnTo>
                    <a:lnTo>
                      <a:pt x="2" y="9"/>
                    </a:lnTo>
                    <a:lnTo>
                      <a:pt x="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91" name="Freeform 179">
                <a:extLst>
                  <a:ext uri="{FF2B5EF4-FFF2-40B4-BE49-F238E27FC236}">
                    <a16:creationId xmlns:a16="http://schemas.microsoft.com/office/drawing/2014/main" id="{AAABC76E-E2AD-40FF-9A31-1FBEF17FF435}"/>
                  </a:ext>
                </a:extLst>
              </p:cNvPr>
              <p:cNvSpPr>
                <a:spLocks/>
              </p:cNvSpPr>
              <p:nvPr/>
            </p:nvSpPr>
            <p:spPr bwMode="gray">
              <a:xfrm>
                <a:off x="-1503" y="2362"/>
                <a:ext cx="31" cy="12"/>
              </a:xfrm>
              <a:custGeom>
                <a:avLst/>
                <a:gdLst>
                  <a:gd name="T0" fmla="*/ 5 w 31"/>
                  <a:gd name="T1" fmla="*/ 0 h 12"/>
                  <a:gd name="T2" fmla="*/ 5 w 31"/>
                  <a:gd name="T3" fmla="*/ 0 h 12"/>
                  <a:gd name="T4" fmla="*/ 3 w 31"/>
                  <a:gd name="T5" fmla="*/ 3 h 12"/>
                  <a:gd name="T6" fmla="*/ 0 w 31"/>
                  <a:gd name="T7" fmla="*/ 3 h 12"/>
                  <a:gd name="T8" fmla="*/ 3 w 31"/>
                  <a:gd name="T9" fmla="*/ 3 h 12"/>
                  <a:gd name="T10" fmla="*/ 3 w 31"/>
                  <a:gd name="T11" fmla="*/ 5 h 12"/>
                  <a:gd name="T12" fmla="*/ 5 w 31"/>
                  <a:gd name="T13" fmla="*/ 5 h 12"/>
                  <a:gd name="T14" fmla="*/ 5 w 31"/>
                  <a:gd name="T15" fmla="*/ 3 h 12"/>
                  <a:gd name="T16" fmla="*/ 31 w 31"/>
                  <a:gd name="T17" fmla="*/ 12 h 12"/>
                  <a:gd name="T18" fmla="*/ 31 w 31"/>
                  <a:gd name="T19" fmla="*/ 10 h 12"/>
                  <a:gd name="T20" fmla="*/ 26 w 31"/>
                  <a:gd name="T21" fmla="*/ 7 h 12"/>
                  <a:gd name="T22" fmla="*/ 24 w 31"/>
                  <a:gd name="T23" fmla="*/ 7 h 12"/>
                  <a:gd name="T24" fmla="*/ 24 w 31"/>
                  <a:gd name="T25" fmla="*/ 7 h 12"/>
                  <a:gd name="T26" fmla="*/ 19 w 31"/>
                  <a:gd name="T27" fmla="*/ 7 h 12"/>
                  <a:gd name="T28" fmla="*/ 19 w 31"/>
                  <a:gd name="T29" fmla="*/ 5 h 12"/>
                  <a:gd name="T30" fmla="*/ 22 w 31"/>
                  <a:gd name="T31" fmla="*/ 5 h 12"/>
                  <a:gd name="T32" fmla="*/ 19 w 31"/>
                  <a:gd name="T33" fmla="*/ 5 h 12"/>
                  <a:gd name="T34" fmla="*/ 15 w 31"/>
                  <a:gd name="T35" fmla="*/ 5 h 12"/>
                  <a:gd name="T36" fmla="*/ 12 w 31"/>
                  <a:gd name="T37" fmla="*/ 3 h 12"/>
                  <a:gd name="T38" fmla="*/ 10 w 31"/>
                  <a:gd name="T39" fmla="*/ 3 h 12"/>
                  <a:gd name="T40" fmla="*/ 7 w 31"/>
                  <a:gd name="T41" fmla="*/ 3 h 12"/>
                  <a:gd name="T42" fmla="*/ 7 w 31"/>
                  <a:gd name="T43" fmla="*/ 3 h 12"/>
                  <a:gd name="T44" fmla="*/ 7 w 31"/>
                  <a:gd name="T45" fmla="*/ 3 h 12"/>
                  <a:gd name="T46" fmla="*/ 7 w 31"/>
                  <a:gd name="T47" fmla="*/ 3 h 12"/>
                  <a:gd name="T48" fmla="*/ 5 w 31"/>
                  <a:gd name="T49" fmla="*/ 3 h 12"/>
                  <a:gd name="T50" fmla="*/ 5 w 31"/>
                  <a:gd name="T51" fmla="*/ 3 h 12"/>
                  <a:gd name="T52" fmla="*/ 5 w 31"/>
                  <a:gd name="T53" fmla="*/ 0 h 12"/>
                  <a:gd name="T54" fmla="*/ 5 w 31"/>
                  <a:gd name="T5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 h="12">
                    <a:moveTo>
                      <a:pt x="5" y="0"/>
                    </a:moveTo>
                    <a:lnTo>
                      <a:pt x="5" y="0"/>
                    </a:lnTo>
                    <a:lnTo>
                      <a:pt x="3" y="3"/>
                    </a:lnTo>
                    <a:lnTo>
                      <a:pt x="0" y="3"/>
                    </a:lnTo>
                    <a:lnTo>
                      <a:pt x="3" y="3"/>
                    </a:lnTo>
                    <a:lnTo>
                      <a:pt x="3" y="5"/>
                    </a:lnTo>
                    <a:lnTo>
                      <a:pt x="5" y="5"/>
                    </a:lnTo>
                    <a:lnTo>
                      <a:pt x="5" y="3"/>
                    </a:lnTo>
                    <a:lnTo>
                      <a:pt x="31" y="12"/>
                    </a:lnTo>
                    <a:lnTo>
                      <a:pt x="31" y="10"/>
                    </a:lnTo>
                    <a:lnTo>
                      <a:pt x="26" y="7"/>
                    </a:lnTo>
                    <a:lnTo>
                      <a:pt x="24" y="7"/>
                    </a:lnTo>
                    <a:lnTo>
                      <a:pt x="24" y="7"/>
                    </a:lnTo>
                    <a:lnTo>
                      <a:pt x="19" y="7"/>
                    </a:lnTo>
                    <a:lnTo>
                      <a:pt x="19" y="5"/>
                    </a:lnTo>
                    <a:lnTo>
                      <a:pt x="22" y="5"/>
                    </a:lnTo>
                    <a:lnTo>
                      <a:pt x="19" y="5"/>
                    </a:lnTo>
                    <a:lnTo>
                      <a:pt x="15" y="5"/>
                    </a:lnTo>
                    <a:lnTo>
                      <a:pt x="12" y="3"/>
                    </a:lnTo>
                    <a:lnTo>
                      <a:pt x="10" y="3"/>
                    </a:lnTo>
                    <a:lnTo>
                      <a:pt x="7" y="3"/>
                    </a:lnTo>
                    <a:lnTo>
                      <a:pt x="7" y="3"/>
                    </a:lnTo>
                    <a:lnTo>
                      <a:pt x="7" y="3"/>
                    </a:lnTo>
                    <a:lnTo>
                      <a:pt x="7" y="3"/>
                    </a:lnTo>
                    <a:lnTo>
                      <a:pt x="5" y="3"/>
                    </a:lnTo>
                    <a:lnTo>
                      <a:pt x="5" y="3"/>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92" name="Freeform 180">
                <a:extLst>
                  <a:ext uri="{FF2B5EF4-FFF2-40B4-BE49-F238E27FC236}">
                    <a16:creationId xmlns:a16="http://schemas.microsoft.com/office/drawing/2014/main" id="{86F42B21-3E53-4E5B-A1CB-9051ADEE1FE1}"/>
                  </a:ext>
                </a:extLst>
              </p:cNvPr>
              <p:cNvSpPr>
                <a:spLocks/>
              </p:cNvSpPr>
              <p:nvPr/>
            </p:nvSpPr>
            <p:spPr bwMode="gray">
              <a:xfrm>
                <a:off x="-1684" y="2219"/>
                <a:ext cx="4" cy="2"/>
              </a:xfrm>
              <a:custGeom>
                <a:avLst/>
                <a:gdLst>
                  <a:gd name="T0" fmla="*/ 2 w 4"/>
                  <a:gd name="T1" fmla="*/ 0 h 2"/>
                  <a:gd name="T2" fmla="*/ 2 w 4"/>
                  <a:gd name="T3" fmla="*/ 0 h 2"/>
                  <a:gd name="T4" fmla="*/ 0 w 4"/>
                  <a:gd name="T5" fmla="*/ 0 h 2"/>
                  <a:gd name="T6" fmla="*/ 0 w 4"/>
                  <a:gd name="T7" fmla="*/ 0 h 2"/>
                  <a:gd name="T8" fmla="*/ 0 w 4"/>
                  <a:gd name="T9" fmla="*/ 2 h 2"/>
                  <a:gd name="T10" fmla="*/ 0 w 4"/>
                  <a:gd name="T11" fmla="*/ 2 h 2"/>
                  <a:gd name="T12" fmla="*/ 2 w 4"/>
                  <a:gd name="T13" fmla="*/ 2 h 2"/>
                  <a:gd name="T14" fmla="*/ 2 w 4"/>
                  <a:gd name="T15" fmla="*/ 2 h 2"/>
                  <a:gd name="T16" fmla="*/ 2 w 4"/>
                  <a:gd name="T17" fmla="*/ 2 h 2"/>
                  <a:gd name="T18" fmla="*/ 4 w 4"/>
                  <a:gd name="T19" fmla="*/ 2 h 2"/>
                  <a:gd name="T20" fmla="*/ 4 w 4"/>
                  <a:gd name="T21" fmla="*/ 2 h 2"/>
                  <a:gd name="T22" fmla="*/ 2 w 4"/>
                  <a:gd name="T23" fmla="*/ 0 h 2"/>
                  <a:gd name="T24" fmla="*/ 2 w 4"/>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2" y="0"/>
                    </a:moveTo>
                    <a:lnTo>
                      <a:pt x="2" y="0"/>
                    </a:lnTo>
                    <a:lnTo>
                      <a:pt x="0" y="0"/>
                    </a:lnTo>
                    <a:lnTo>
                      <a:pt x="0" y="0"/>
                    </a:lnTo>
                    <a:lnTo>
                      <a:pt x="0" y="2"/>
                    </a:lnTo>
                    <a:lnTo>
                      <a:pt x="0" y="2"/>
                    </a:lnTo>
                    <a:lnTo>
                      <a:pt x="2" y="2"/>
                    </a:lnTo>
                    <a:lnTo>
                      <a:pt x="2" y="2"/>
                    </a:lnTo>
                    <a:lnTo>
                      <a:pt x="2" y="2"/>
                    </a:lnTo>
                    <a:lnTo>
                      <a:pt x="4" y="2"/>
                    </a:lnTo>
                    <a:lnTo>
                      <a:pt x="4" y="2"/>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93" name="Freeform 181">
                <a:extLst>
                  <a:ext uri="{FF2B5EF4-FFF2-40B4-BE49-F238E27FC236}">
                    <a16:creationId xmlns:a16="http://schemas.microsoft.com/office/drawing/2014/main" id="{806EA940-9BC7-4F90-8570-937386BBACE4}"/>
                  </a:ext>
                </a:extLst>
              </p:cNvPr>
              <p:cNvSpPr>
                <a:spLocks/>
              </p:cNvSpPr>
              <p:nvPr/>
            </p:nvSpPr>
            <p:spPr bwMode="gray">
              <a:xfrm>
                <a:off x="-1713" y="2176"/>
                <a:ext cx="15" cy="24"/>
              </a:xfrm>
              <a:custGeom>
                <a:avLst/>
                <a:gdLst>
                  <a:gd name="T0" fmla="*/ 7 w 15"/>
                  <a:gd name="T1" fmla="*/ 17 h 24"/>
                  <a:gd name="T2" fmla="*/ 7 w 15"/>
                  <a:gd name="T3" fmla="*/ 19 h 24"/>
                  <a:gd name="T4" fmla="*/ 10 w 15"/>
                  <a:gd name="T5" fmla="*/ 19 h 24"/>
                  <a:gd name="T6" fmla="*/ 10 w 15"/>
                  <a:gd name="T7" fmla="*/ 21 h 24"/>
                  <a:gd name="T8" fmla="*/ 12 w 15"/>
                  <a:gd name="T9" fmla="*/ 24 h 24"/>
                  <a:gd name="T10" fmla="*/ 15 w 15"/>
                  <a:gd name="T11" fmla="*/ 24 h 24"/>
                  <a:gd name="T12" fmla="*/ 15 w 15"/>
                  <a:gd name="T13" fmla="*/ 21 h 24"/>
                  <a:gd name="T14" fmla="*/ 7 w 15"/>
                  <a:gd name="T15" fmla="*/ 17 h 24"/>
                  <a:gd name="T16" fmla="*/ 5 w 15"/>
                  <a:gd name="T17" fmla="*/ 12 h 24"/>
                  <a:gd name="T18" fmla="*/ 5 w 15"/>
                  <a:gd name="T19" fmla="*/ 12 h 24"/>
                  <a:gd name="T20" fmla="*/ 5 w 15"/>
                  <a:gd name="T21" fmla="*/ 10 h 24"/>
                  <a:gd name="T22" fmla="*/ 5 w 15"/>
                  <a:gd name="T23" fmla="*/ 7 h 24"/>
                  <a:gd name="T24" fmla="*/ 5 w 15"/>
                  <a:gd name="T25" fmla="*/ 7 h 24"/>
                  <a:gd name="T26" fmla="*/ 5 w 15"/>
                  <a:gd name="T27" fmla="*/ 2 h 24"/>
                  <a:gd name="T28" fmla="*/ 3 w 15"/>
                  <a:gd name="T29" fmla="*/ 2 h 24"/>
                  <a:gd name="T30" fmla="*/ 3 w 15"/>
                  <a:gd name="T31" fmla="*/ 2 h 24"/>
                  <a:gd name="T32" fmla="*/ 0 w 15"/>
                  <a:gd name="T33" fmla="*/ 0 h 24"/>
                  <a:gd name="T34" fmla="*/ 0 w 15"/>
                  <a:gd name="T35" fmla="*/ 2 h 24"/>
                  <a:gd name="T36" fmla="*/ 0 w 15"/>
                  <a:gd name="T37" fmla="*/ 5 h 24"/>
                  <a:gd name="T38" fmla="*/ 0 w 15"/>
                  <a:gd name="T39" fmla="*/ 7 h 24"/>
                  <a:gd name="T40" fmla="*/ 3 w 15"/>
                  <a:gd name="T41" fmla="*/ 10 h 24"/>
                  <a:gd name="T42" fmla="*/ 3 w 15"/>
                  <a:gd name="T43" fmla="*/ 12 h 24"/>
                  <a:gd name="T44" fmla="*/ 3 w 15"/>
                  <a:gd name="T45" fmla="*/ 14 h 24"/>
                  <a:gd name="T46" fmla="*/ 3 w 15"/>
                  <a:gd name="T47" fmla="*/ 14 h 24"/>
                  <a:gd name="T48" fmla="*/ 3 w 15"/>
                  <a:gd name="T49" fmla="*/ 14 h 24"/>
                  <a:gd name="T50" fmla="*/ 3 w 15"/>
                  <a:gd name="T51" fmla="*/ 14 h 24"/>
                  <a:gd name="T52" fmla="*/ 3 w 15"/>
                  <a:gd name="T53" fmla="*/ 14 h 24"/>
                  <a:gd name="T54" fmla="*/ 3 w 15"/>
                  <a:gd name="T55" fmla="*/ 17 h 24"/>
                  <a:gd name="T56" fmla="*/ 3 w 15"/>
                  <a:gd name="T57" fmla="*/ 17 h 24"/>
                  <a:gd name="T58" fmla="*/ 5 w 15"/>
                  <a:gd name="T59" fmla="*/ 14 h 24"/>
                  <a:gd name="T60" fmla="*/ 5 w 15"/>
                  <a:gd name="T61" fmla="*/ 14 h 24"/>
                  <a:gd name="T62" fmla="*/ 7 w 15"/>
                  <a:gd name="T63" fmla="*/ 14 h 24"/>
                  <a:gd name="T64" fmla="*/ 7 w 15"/>
                  <a:gd name="T65" fmla="*/ 17 h 24"/>
                  <a:gd name="T66" fmla="*/ 10 w 15"/>
                  <a:gd name="T67" fmla="*/ 19 h 24"/>
                  <a:gd name="T68" fmla="*/ 10 w 15"/>
                  <a:gd name="T69" fmla="*/ 19 h 24"/>
                  <a:gd name="T70" fmla="*/ 7 w 15"/>
                  <a:gd name="T71" fmla="*/ 1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 h="24">
                    <a:moveTo>
                      <a:pt x="7" y="17"/>
                    </a:moveTo>
                    <a:lnTo>
                      <a:pt x="7" y="19"/>
                    </a:lnTo>
                    <a:lnTo>
                      <a:pt x="10" y="19"/>
                    </a:lnTo>
                    <a:lnTo>
                      <a:pt x="10" y="21"/>
                    </a:lnTo>
                    <a:lnTo>
                      <a:pt x="12" y="24"/>
                    </a:lnTo>
                    <a:lnTo>
                      <a:pt x="15" y="24"/>
                    </a:lnTo>
                    <a:lnTo>
                      <a:pt x="15" y="21"/>
                    </a:lnTo>
                    <a:lnTo>
                      <a:pt x="7" y="17"/>
                    </a:lnTo>
                    <a:lnTo>
                      <a:pt x="5" y="12"/>
                    </a:lnTo>
                    <a:lnTo>
                      <a:pt x="5" y="12"/>
                    </a:lnTo>
                    <a:lnTo>
                      <a:pt x="5" y="10"/>
                    </a:lnTo>
                    <a:lnTo>
                      <a:pt x="5" y="7"/>
                    </a:lnTo>
                    <a:lnTo>
                      <a:pt x="5" y="7"/>
                    </a:lnTo>
                    <a:lnTo>
                      <a:pt x="5" y="2"/>
                    </a:lnTo>
                    <a:lnTo>
                      <a:pt x="3" y="2"/>
                    </a:lnTo>
                    <a:lnTo>
                      <a:pt x="3" y="2"/>
                    </a:lnTo>
                    <a:lnTo>
                      <a:pt x="0" y="0"/>
                    </a:lnTo>
                    <a:lnTo>
                      <a:pt x="0" y="2"/>
                    </a:lnTo>
                    <a:lnTo>
                      <a:pt x="0" y="5"/>
                    </a:lnTo>
                    <a:lnTo>
                      <a:pt x="0" y="7"/>
                    </a:lnTo>
                    <a:lnTo>
                      <a:pt x="3" y="10"/>
                    </a:lnTo>
                    <a:lnTo>
                      <a:pt x="3" y="12"/>
                    </a:lnTo>
                    <a:lnTo>
                      <a:pt x="3" y="14"/>
                    </a:lnTo>
                    <a:lnTo>
                      <a:pt x="3" y="14"/>
                    </a:lnTo>
                    <a:lnTo>
                      <a:pt x="3" y="14"/>
                    </a:lnTo>
                    <a:lnTo>
                      <a:pt x="3" y="14"/>
                    </a:lnTo>
                    <a:lnTo>
                      <a:pt x="3" y="14"/>
                    </a:lnTo>
                    <a:lnTo>
                      <a:pt x="3" y="17"/>
                    </a:lnTo>
                    <a:lnTo>
                      <a:pt x="3" y="17"/>
                    </a:lnTo>
                    <a:lnTo>
                      <a:pt x="5" y="14"/>
                    </a:lnTo>
                    <a:lnTo>
                      <a:pt x="5" y="14"/>
                    </a:lnTo>
                    <a:lnTo>
                      <a:pt x="7" y="14"/>
                    </a:lnTo>
                    <a:lnTo>
                      <a:pt x="7" y="17"/>
                    </a:lnTo>
                    <a:lnTo>
                      <a:pt x="10" y="19"/>
                    </a:lnTo>
                    <a:lnTo>
                      <a:pt x="10" y="19"/>
                    </a:lnTo>
                    <a:lnTo>
                      <a:pt x="7"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94" name="Freeform 182">
                <a:extLst>
                  <a:ext uri="{FF2B5EF4-FFF2-40B4-BE49-F238E27FC236}">
                    <a16:creationId xmlns:a16="http://schemas.microsoft.com/office/drawing/2014/main" id="{8A67384A-682C-4B18-9DD7-501C9D96722F}"/>
                  </a:ext>
                </a:extLst>
              </p:cNvPr>
              <p:cNvSpPr>
                <a:spLocks/>
              </p:cNvSpPr>
              <p:nvPr/>
            </p:nvSpPr>
            <p:spPr bwMode="gray">
              <a:xfrm>
                <a:off x="-1677" y="2230"/>
                <a:ext cx="26" cy="29"/>
              </a:xfrm>
              <a:custGeom>
                <a:avLst/>
                <a:gdLst>
                  <a:gd name="T0" fmla="*/ 21 w 26"/>
                  <a:gd name="T1" fmla="*/ 24 h 29"/>
                  <a:gd name="T2" fmla="*/ 26 w 26"/>
                  <a:gd name="T3" fmla="*/ 26 h 29"/>
                  <a:gd name="T4" fmla="*/ 26 w 26"/>
                  <a:gd name="T5" fmla="*/ 26 h 29"/>
                  <a:gd name="T6" fmla="*/ 26 w 26"/>
                  <a:gd name="T7" fmla="*/ 26 h 29"/>
                  <a:gd name="T8" fmla="*/ 21 w 26"/>
                  <a:gd name="T9" fmla="*/ 22 h 29"/>
                  <a:gd name="T10" fmla="*/ 19 w 26"/>
                  <a:gd name="T11" fmla="*/ 19 h 29"/>
                  <a:gd name="T12" fmla="*/ 19 w 26"/>
                  <a:gd name="T13" fmla="*/ 19 h 29"/>
                  <a:gd name="T14" fmla="*/ 19 w 26"/>
                  <a:gd name="T15" fmla="*/ 19 h 29"/>
                  <a:gd name="T16" fmla="*/ 19 w 26"/>
                  <a:gd name="T17" fmla="*/ 17 h 29"/>
                  <a:gd name="T18" fmla="*/ 14 w 26"/>
                  <a:gd name="T19" fmla="*/ 14 h 29"/>
                  <a:gd name="T20" fmla="*/ 14 w 26"/>
                  <a:gd name="T21" fmla="*/ 14 h 29"/>
                  <a:gd name="T22" fmla="*/ 14 w 26"/>
                  <a:gd name="T23" fmla="*/ 12 h 29"/>
                  <a:gd name="T24" fmla="*/ 14 w 26"/>
                  <a:gd name="T25" fmla="*/ 10 h 29"/>
                  <a:gd name="T26" fmla="*/ 14 w 26"/>
                  <a:gd name="T27" fmla="*/ 10 h 29"/>
                  <a:gd name="T28" fmla="*/ 12 w 26"/>
                  <a:gd name="T29" fmla="*/ 10 h 29"/>
                  <a:gd name="T30" fmla="*/ 12 w 26"/>
                  <a:gd name="T31" fmla="*/ 10 h 29"/>
                  <a:gd name="T32" fmla="*/ 12 w 26"/>
                  <a:gd name="T33" fmla="*/ 10 h 29"/>
                  <a:gd name="T34" fmla="*/ 12 w 26"/>
                  <a:gd name="T35" fmla="*/ 7 h 29"/>
                  <a:gd name="T36" fmla="*/ 12 w 26"/>
                  <a:gd name="T37" fmla="*/ 10 h 29"/>
                  <a:gd name="T38" fmla="*/ 9 w 26"/>
                  <a:gd name="T39" fmla="*/ 7 h 29"/>
                  <a:gd name="T40" fmla="*/ 9 w 26"/>
                  <a:gd name="T41" fmla="*/ 7 h 29"/>
                  <a:gd name="T42" fmla="*/ 9 w 26"/>
                  <a:gd name="T43" fmla="*/ 7 h 29"/>
                  <a:gd name="T44" fmla="*/ 7 w 26"/>
                  <a:gd name="T45" fmla="*/ 7 h 29"/>
                  <a:gd name="T46" fmla="*/ 7 w 26"/>
                  <a:gd name="T47" fmla="*/ 7 h 29"/>
                  <a:gd name="T48" fmla="*/ 7 w 26"/>
                  <a:gd name="T49" fmla="*/ 5 h 29"/>
                  <a:gd name="T50" fmla="*/ 7 w 26"/>
                  <a:gd name="T51" fmla="*/ 5 h 29"/>
                  <a:gd name="T52" fmla="*/ 2 w 26"/>
                  <a:gd name="T53" fmla="*/ 3 h 29"/>
                  <a:gd name="T54" fmla="*/ 2 w 26"/>
                  <a:gd name="T55" fmla="*/ 0 h 29"/>
                  <a:gd name="T56" fmla="*/ 2 w 26"/>
                  <a:gd name="T57" fmla="*/ 0 h 29"/>
                  <a:gd name="T58" fmla="*/ 0 w 26"/>
                  <a:gd name="T59" fmla="*/ 0 h 29"/>
                  <a:gd name="T60" fmla="*/ 2 w 26"/>
                  <a:gd name="T61" fmla="*/ 0 h 29"/>
                  <a:gd name="T62" fmla="*/ 2 w 26"/>
                  <a:gd name="T63" fmla="*/ 3 h 29"/>
                  <a:gd name="T64" fmla="*/ 2 w 26"/>
                  <a:gd name="T65" fmla="*/ 3 h 29"/>
                  <a:gd name="T66" fmla="*/ 9 w 26"/>
                  <a:gd name="T67" fmla="*/ 10 h 29"/>
                  <a:gd name="T68" fmla="*/ 9 w 26"/>
                  <a:gd name="T69" fmla="*/ 10 h 29"/>
                  <a:gd name="T70" fmla="*/ 12 w 26"/>
                  <a:gd name="T71" fmla="*/ 12 h 29"/>
                  <a:gd name="T72" fmla="*/ 14 w 26"/>
                  <a:gd name="T73" fmla="*/ 17 h 29"/>
                  <a:gd name="T74" fmla="*/ 16 w 26"/>
                  <a:gd name="T75" fmla="*/ 19 h 29"/>
                  <a:gd name="T76" fmla="*/ 19 w 26"/>
                  <a:gd name="T77" fmla="*/ 24 h 29"/>
                  <a:gd name="T78" fmla="*/ 21 w 26"/>
                  <a:gd name="T79" fmla="*/ 26 h 29"/>
                  <a:gd name="T80" fmla="*/ 21 w 26"/>
                  <a:gd name="T81" fmla="*/ 26 h 29"/>
                  <a:gd name="T82" fmla="*/ 23 w 26"/>
                  <a:gd name="T83" fmla="*/ 29 h 29"/>
                  <a:gd name="T84" fmla="*/ 23 w 26"/>
                  <a:gd name="T85" fmla="*/ 29 h 29"/>
                  <a:gd name="T86" fmla="*/ 26 w 26"/>
                  <a:gd name="T87" fmla="*/ 29 h 29"/>
                  <a:gd name="T88" fmla="*/ 26 w 26"/>
                  <a:gd name="T89" fmla="*/ 29 h 29"/>
                  <a:gd name="T90" fmla="*/ 26 w 26"/>
                  <a:gd name="T91" fmla="*/ 29 h 29"/>
                  <a:gd name="T92" fmla="*/ 26 w 26"/>
                  <a:gd name="T93" fmla="*/ 29 h 29"/>
                  <a:gd name="T94" fmla="*/ 23 w 26"/>
                  <a:gd name="T95" fmla="*/ 29 h 29"/>
                  <a:gd name="T96" fmla="*/ 23 w 26"/>
                  <a:gd name="T97" fmla="*/ 29 h 29"/>
                  <a:gd name="T98" fmla="*/ 23 w 26"/>
                  <a:gd name="T99" fmla="*/ 26 h 29"/>
                  <a:gd name="T100" fmla="*/ 21 w 26"/>
                  <a:gd name="T101" fmla="*/ 26 h 29"/>
                  <a:gd name="T102" fmla="*/ 21 w 26"/>
                  <a:gd name="T103" fmla="*/ 26 h 29"/>
                  <a:gd name="T104" fmla="*/ 21 w 26"/>
                  <a:gd name="T105" fmla="*/ 26 h 29"/>
                  <a:gd name="T106" fmla="*/ 21 w 26"/>
                  <a:gd name="T107" fmla="*/ 24 h 29"/>
                  <a:gd name="T108" fmla="*/ 21 w 26"/>
                  <a:gd name="T109" fmla="*/ 2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 h="29">
                    <a:moveTo>
                      <a:pt x="21" y="24"/>
                    </a:moveTo>
                    <a:lnTo>
                      <a:pt x="26" y="26"/>
                    </a:lnTo>
                    <a:lnTo>
                      <a:pt x="26" y="26"/>
                    </a:lnTo>
                    <a:lnTo>
                      <a:pt x="26" y="26"/>
                    </a:lnTo>
                    <a:lnTo>
                      <a:pt x="21" y="22"/>
                    </a:lnTo>
                    <a:lnTo>
                      <a:pt x="19" y="19"/>
                    </a:lnTo>
                    <a:lnTo>
                      <a:pt x="19" y="19"/>
                    </a:lnTo>
                    <a:lnTo>
                      <a:pt x="19" y="19"/>
                    </a:lnTo>
                    <a:lnTo>
                      <a:pt x="19" y="17"/>
                    </a:lnTo>
                    <a:lnTo>
                      <a:pt x="14" y="14"/>
                    </a:lnTo>
                    <a:lnTo>
                      <a:pt x="14" y="14"/>
                    </a:lnTo>
                    <a:lnTo>
                      <a:pt x="14" y="12"/>
                    </a:lnTo>
                    <a:lnTo>
                      <a:pt x="14" y="10"/>
                    </a:lnTo>
                    <a:lnTo>
                      <a:pt x="14" y="10"/>
                    </a:lnTo>
                    <a:lnTo>
                      <a:pt x="12" y="10"/>
                    </a:lnTo>
                    <a:lnTo>
                      <a:pt x="12" y="10"/>
                    </a:lnTo>
                    <a:lnTo>
                      <a:pt x="12" y="10"/>
                    </a:lnTo>
                    <a:lnTo>
                      <a:pt x="12" y="7"/>
                    </a:lnTo>
                    <a:lnTo>
                      <a:pt x="12" y="10"/>
                    </a:lnTo>
                    <a:lnTo>
                      <a:pt x="9" y="7"/>
                    </a:lnTo>
                    <a:lnTo>
                      <a:pt x="9" y="7"/>
                    </a:lnTo>
                    <a:lnTo>
                      <a:pt x="9" y="7"/>
                    </a:lnTo>
                    <a:lnTo>
                      <a:pt x="7" y="7"/>
                    </a:lnTo>
                    <a:lnTo>
                      <a:pt x="7" y="7"/>
                    </a:lnTo>
                    <a:lnTo>
                      <a:pt x="7" y="5"/>
                    </a:lnTo>
                    <a:lnTo>
                      <a:pt x="7" y="5"/>
                    </a:lnTo>
                    <a:lnTo>
                      <a:pt x="2" y="3"/>
                    </a:lnTo>
                    <a:lnTo>
                      <a:pt x="2" y="0"/>
                    </a:lnTo>
                    <a:lnTo>
                      <a:pt x="2" y="0"/>
                    </a:lnTo>
                    <a:lnTo>
                      <a:pt x="0" y="0"/>
                    </a:lnTo>
                    <a:lnTo>
                      <a:pt x="2" y="0"/>
                    </a:lnTo>
                    <a:lnTo>
                      <a:pt x="2" y="3"/>
                    </a:lnTo>
                    <a:lnTo>
                      <a:pt x="2" y="3"/>
                    </a:lnTo>
                    <a:lnTo>
                      <a:pt x="9" y="10"/>
                    </a:lnTo>
                    <a:lnTo>
                      <a:pt x="9" y="10"/>
                    </a:lnTo>
                    <a:lnTo>
                      <a:pt x="12" y="12"/>
                    </a:lnTo>
                    <a:lnTo>
                      <a:pt x="14" y="17"/>
                    </a:lnTo>
                    <a:lnTo>
                      <a:pt x="16" y="19"/>
                    </a:lnTo>
                    <a:lnTo>
                      <a:pt x="19" y="24"/>
                    </a:lnTo>
                    <a:lnTo>
                      <a:pt x="21" y="26"/>
                    </a:lnTo>
                    <a:lnTo>
                      <a:pt x="21" y="26"/>
                    </a:lnTo>
                    <a:lnTo>
                      <a:pt x="23" y="29"/>
                    </a:lnTo>
                    <a:lnTo>
                      <a:pt x="23" y="29"/>
                    </a:lnTo>
                    <a:lnTo>
                      <a:pt x="26" y="29"/>
                    </a:lnTo>
                    <a:lnTo>
                      <a:pt x="26" y="29"/>
                    </a:lnTo>
                    <a:lnTo>
                      <a:pt x="26" y="29"/>
                    </a:lnTo>
                    <a:lnTo>
                      <a:pt x="26" y="29"/>
                    </a:lnTo>
                    <a:lnTo>
                      <a:pt x="23" y="29"/>
                    </a:lnTo>
                    <a:lnTo>
                      <a:pt x="23" y="29"/>
                    </a:lnTo>
                    <a:lnTo>
                      <a:pt x="23" y="26"/>
                    </a:lnTo>
                    <a:lnTo>
                      <a:pt x="21" y="26"/>
                    </a:lnTo>
                    <a:lnTo>
                      <a:pt x="21" y="26"/>
                    </a:lnTo>
                    <a:lnTo>
                      <a:pt x="21" y="26"/>
                    </a:lnTo>
                    <a:lnTo>
                      <a:pt x="21" y="24"/>
                    </a:lnTo>
                    <a:lnTo>
                      <a:pt x="2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95" name="Freeform 183">
                <a:extLst>
                  <a:ext uri="{FF2B5EF4-FFF2-40B4-BE49-F238E27FC236}">
                    <a16:creationId xmlns:a16="http://schemas.microsoft.com/office/drawing/2014/main" id="{7D007095-CDA8-41CE-99C5-B317151BC571}"/>
                  </a:ext>
                </a:extLst>
              </p:cNvPr>
              <p:cNvSpPr>
                <a:spLocks/>
              </p:cNvSpPr>
              <p:nvPr/>
            </p:nvSpPr>
            <p:spPr bwMode="gray">
              <a:xfrm>
                <a:off x="-1680" y="2230"/>
                <a:ext cx="5" cy="3"/>
              </a:xfrm>
              <a:custGeom>
                <a:avLst/>
                <a:gdLst>
                  <a:gd name="T0" fmla="*/ 5 w 5"/>
                  <a:gd name="T1" fmla="*/ 3 h 3"/>
                  <a:gd name="T2" fmla="*/ 3 w 5"/>
                  <a:gd name="T3" fmla="*/ 3 h 3"/>
                  <a:gd name="T4" fmla="*/ 3 w 5"/>
                  <a:gd name="T5" fmla="*/ 3 h 3"/>
                  <a:gd name="T6" fmla="*/ 3 w 5"/>
                  <a:gd name="T7" fmla="*/ 3 h 3"/>
                  <a:gd name="T8" fmla="*/ 3 w 5"/>
                  <a:gd name="T9" fmla="*/ 3 h 3"/>
                  <a:gd name="T10" fmla="*/ 0 w 5"/>
                  <a:gd name="T11" fmla="*/ 0 h 3"/>
                  <a:gd name="T12" fmla="*/ 0 w 5"/>
                  <a:gd name="T13" fmla="*/ 3 h 3"/>
                  <a:gd name="T14" fmla="*/ 3 w 5"/>
                  <a:gd name="T15" fmla="*/ 3 h 3"/>
                  <a:gd name="T16" fmla="*/ 5 w 5"/>
                  <a:gd name="T17" fmla="*/ 3 h 3"/>
                  <a:gd name="T18" fmla="*/ 5 w 5"/>
                  <a:gd name="T19" fmla="*/ 3 h 3"/>
                  <a:gd name="T20" fmla="*/ 5 w 5"/>
                  <a:gd name="T21" fmla="*/ 3 h 3"/>
                  <a:gd name="T22" fmla="*/ 5 w 5"/>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5" y="3"/>
                    </a:moveTo>
                    <a:lnTo>
                      <a:pt x="3" y="3"/>
                    </a:lnTo>
                    <a:lnTo>
                      <a:pt x="3" y="3"/>
                    </a:lnTo>
                    <a:lnTo>
                      <a:pt x="3" y="3"/>
                    </a:lnTo>
                    <a:lnTo>
                      <a:pt x="3" y="3"/>
                    </a:lnTo>
                    <a:lnTo>
                      <a:pt x="0" y="0"/>
                    </a:lnTo>
                    <a:lnTo>
                      <a:pt x="0" y="3"/>
                    </a:lnTo>
                    <a:lnTo>
                      <a:pt x="3" y="3"/>
                    </a:lnTo>
                    <a:lnTo>
                      <a:pt x="5" y="3"/>
                    </a:lnTo>
                    <a:lnTo>
                      <a:pt x="5" y="3"/>
                    </a:lnTo>
                    <a:lnTo>
                      <a:pt x="5" y="3"/>
                    </a:lnTo>
                    <a:lnTo>
                      <a:pt x="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34" name="Freeform 184">
                <a:extLst>
                  <a:ext uri="{FF2B5EF4-FFF2-40B4-BE49-F238E27FC236}">
                    <a16:creationId xmlns:a16="http://schemas.microsoft.com/office/drawing/2014/main" id="{F72EDED8-A22B-4AEE-B1E7-AC13FC5CE440}"/>
                  </a:ext>
                </a:extLst>
              </p:cNvPr>
              <p:cNvSpPr>
                <a:spLocks/>
              </p:cNvSpPr>
              <p:nvPr/>
            </p:nvSpPr>
            <p:spPr bwMode="gray">
              <a:xfrm>
                <a:off x="-1682" y="2207"/>
                <a:ext cx="2" cy="7"/>
              </a:xfrm>
              <a:custGeom>
                <a:avLst/>
                <a:gdLst>
                  <a:gd name="T0" fmla="*/ 2 w 2"/>
                  <a:gd name="T1" fmla="*/ 7 h 7"/>
                  <a:gd name="T2" fmla="*/ 2 w 2"/>
                  <a:gd name="T3" fmla="*/ 7 h 7"/>
                  <a:gd name="T4" fmla="*/ 2 w 2"/>
                  <a:gd name="T5" fmla="*/ 4 h 7"/>
                  <a:gd name="T6" fmla="*/ 2 w 2"/>
                  <a:gd name="T7" fmla="*/ 2 h 7"/>
                  <a:gd name="T8" fmla="*/ 2 w 2"/>
                  <a:gd name="T9" fmla="*/ 2 h 7"/>
                  <a:gd name="T10" fmla="*/ 2 w 2"/>
                  <a:gd name="T11" fmla="*/ 2 h 7"/>
                  <a:gd name="T12" fmla="*/ 2 w 2"/>
                  <a:gd name="T13" fmla="*/ 2 h 7"/>
                  <a:gd name="T14" fmla="*/ 2 w 2"/>
                  <a:gd name="T15" fmla="*/ 0 h 7"/>
                  <a:gd name="T16" fmla="*/ 2 w 2"/>
                  <a:gd name="T17" fmla="*/ 0 h 7"/>
                  <a:gd name="T18" fmla="*/ 0 w 2"/>
                  <a:gd name="T19" fmla="*/ 0 h 7"/>
                  <a:gd name="T20" fmla="*/ 0 w 2"/>
                  <a:gd name="T21" fmla="*/ 0 h 7"/>
                  <a:gd name="T22" fmla="*/ 0 w 2"/>
                  <a:gd name="T23" fmla="*/ 0 h 7"/>
                  <a:gd name="T24" fmla="*/ 0 w 2"/>
                  <a:gd name="T25" fmla="*/ 2 h 7"/>
                  <a:gd name="T26" fmla="*/ 0 w 2"/>
                  <a:gd name="T27" fmla="*/ 4 h 7"/>
                  <a:gd name="T28" fmla="*/ 0 w 2"/>
                  <a:gd name="T29" fmla="*/ 4 h 7"/>
                  <a:gd name="T30" fmla="*/ 0 w 2"/>
                  <a:gd name="T31" fmla="*/ 4 h 7"/>
                  <a:gd name="T32" fmla="*/ 2 w 2"/>
                  <a:gd name="T33" fmla="*/ 7 h 7"/>
                  <a:gd name="T34" fmla="*/ 2 w 2"/>
                  <a:gd name="T3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 h="7">
                    <a:moveTo>
                      <a:pt x="2" y="7"/>
                    </a:moveTo>
                    <a:lnTo>
                      <a:pt x="2" y="7"/>
                    </a:lnTo>
                    <a:lnTo>
                      <a:pt x="2" y="4"/>
                    </a:lnTo>
                    <a:lnTo>
                      <a:pt x="2" y="2"/>
                    </a:lnTo>
                    <a:lnTo>
                      <a:pt x="2" y="2"/>
                    </a:lnTo>
                    <a:lnTo>
                      <a:pt x="2" y="2"/>
                    </a:lnTo>
                    <a:lnTo>
                      <a:pt x="2" y="2"/>
                    </a:lnTo>
                    <a:lnTo>
                      <a:pt x="2" y="0"/>
                    </a:lnTo>
                    <a:lnTo>
                      <a:pt x="2" y="0"/>
                    </a:lnTo>
                    <a:lnTo>
                      <a:pt x="0" y="0"/>
                    </a:lnTo>
                    <a:lnTo>
                      <a:pt x="0" y="0"/>
                    </a:lnTo>
                    <a:lnTo>
                      <a:pt x="0" y="0"/>
                    </a:lnTo>
                    <a:lnTo>
                      <a:pt x="0" y="2"/>
                    </a:lnTo>
                    <a:lnTo>
                      <a:pt x="0" y="4"/>
                    </a:lnTo>
                    <a:lnTo>
                      <a:pt x="0" y="4"/>
                    </a:lnTo>
                    <a:lnTo>
                      <a:pt x="0" y="4"/>
                    </a:lnTo>
                    <a:lnTo>
                      <a:pt x="2" y="7"/>
                    </a:ln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38" name="Freeform 185">
                <a:extLst>
                  <a:ext uri="{FF2B5EF4-FFF2-40B4-BE49-F238E27FC236}">
                    <a16:creationId xmlns:a16="http://schemas.microsoft.com/office/drawing/2014/main" id="{143B1073-B754-4A33-BF2F-023A2359708E}"/>
                  </a:ext>
                </a:extLst>
              </p:cNvPr>
              <p:cNvSpPr>
                <a:spLocks/>
              </p:cNvSpPr>
              <p:nvPr/>
            </p:nvSpPr>
            <p:spPr bwMode="gray">
              <a:xfrm>
                <a:off x="-1684" y="2178"/>
                <a:ext cx="35" cy="41"/>
              </a:xfrm>
              <a:custGeom>
                <a:avLst/>
                <a:gdLst>
                  <a:gd name="T0" fmla="*/ 9 w 35"/>
                  <a:gd name="T1" fmla="*/ 15 h 41"/>
                  <a:gd name="T2" fmla="*/ 12 w 35"/>
                  <a:gd name="T3" fmla="*/ 19 h 41"/>
                  <a:gd name="T4" fmla="*/ 12 w 35"/>
                  <a:gd name="T5" fmla="*/ 19 h 41"/>
                  <a:gd name="T6" fmla="*/ 12 w 35"/>
                  <a:gd name="T7" fmla="*/ 22 h 41"/>
                  <a:gd name="T8" fmla="*/ 16 w 35"/>
                  <a:gd name="T9" fmla="*/ 24 h 41"/>
                  <a:gd name="T10" fmla="*/ 21 w 35"/>
                  <a:gd name="T11" fmla="*/ 29 h 41"/>
                  <a:gd name="T12" fmla="*/ 23 w 35"/>
                  <a:gd name="T13" fmla="*/ 31 h 41"/>
                  <a:gd name="T14" fmla="*/ 23 w 35"/>
                  <a:gd name="T15" fmla="*/ 29 h 41"/>
                  <a:gd name="T16" fmla="*/ 26 w 35"/>
                  <a:gd name="T17" fmla="*/ 31 h 41"/>
                  <a:gd name="T18" fmla="*/ 26 w 35"/>
                  <a:gd name="T19" fmla="*/ 31 h 41"/>
                  <a:gd name="T20" fmla="*/ 26 w 35"/>
                  <a:gd name="T21" fmla="*/ 31 h 41"/>
                  <a:gd name="T22" fmla="*/ 26 w 35"/>
                  <a:gd name="T23" fmla="*/ 33 h 41"/>
                  <a:gd name="T24" fmla="*/ 26 w 35"/>
                  <a:gd name="T25" fmla="*/ 36 h 41"/>
                  <a:gd name="T26" fmla="*/ 26 w 35"/>
                  <a:gd name="T27" fmla="*/ 36 h 41"/>
                  <a:gd name="T28" fmla="*/ 28 w 35"/>
                  <a:gd name="T29" fmla="*/ 38 h 41"/>
                  <a:gd name="T30" fmla="*/ 30 w 35"/>
                  <a:gd name="T31" fmla="*/ 41 h 41"/>
                  <a:gd name="T32" fmla="*/ 28 w 35"/>
                  <a:gd name="T33" fmla="*/ 38 h 41"/>
                  <a:gd name="T34" fmla="*/ 28 w 35"/>
                  <a:gd name="T35" fmla="*/ 36 h 41"/>
                  <a:gd name="T36" fmla="*/ 33 w 35"/>
                  <a:gd name="T37" fmla="*/ 38 h 41"/>
                  <a:gd name="T38" fmla="*/ 33 w 35"/>
                  <a:gd name="T39" fmla="*/ 38 h 41"/>
                  <a:gd name="T40" fmla="*/ 33 w 35"/>
                  <a:gd name="T41" fmla="*/ 38 h 41"/>
                  <a:gd name="T42" fmla="*/ 33 w 35"/>
                  <a:gd name="T43" fmla="*/ 36 h 41"/>
                  <a:gd name="T44" fmla="*/ 30 w 35"/>
                  <a:gd name="T45" fmla="*/ 33 h 41"/>
                  <a:gd name="T46" fmla="*/ 30 w 35"/>
                  <a:gd name="T47" fmla="*/ 33 h 41"/>
                  <a:gd name="T48" fmla="*/ 33 w 35"/>
                  <a:gd name="T49" fmla="*/ 36 h 41"/>
                  <a:gd name="T50" fmla="*/ 35 w 35"/>
                  <a:gd name="T51" fmla="*/ 36 h 41"/>
                  <a:gd name="T52" fmla="*/ 33 w 35"/>
                  <a:gd name="T53" fmla="*/ 33 h 41"/>
                  <a:gd name="T54" fmla="*/ 30 w 35"/>
                  <a:gd name="T55" fmla="*/ 31 h 41"/>
                  <a:gd name="T56" fmla="*/ 21 w 35"/>
                  <a:gd name="T57" fmla="*/ 22 h 41"/>
                  <a:gd name="T58" fmla="*/ 23 w 35"/>
                  <a:gd name="T59" fmla="*/ 26 h 41"/>
                  <a:gd name="T60" fmla="*/ 26 w 35"/>
                  <a:gd name="T61" fmla="*/ 29 h 41"/>
                  <a:gd name="T62" fmla="*/ 16 w 35"/>
                  <a:gd name="T63" fmla="*/ 17 h 41"/>
                  <a:gd name="T64" fmla="*/ 12 w 35"/>
                  <a:gd name="T65" fmla="*/ 15 h 41"/>
                  <a:gd name="T66" fmla="*/ 14 w 35"/>
                  <a:gd name="T67" fmla="*/ 15 h 41"/>
                  <a:gd name="T68" fmla="*/ 16 w 35"/>
                  <a:gd name="T69" fmla="*/ 17 h 41"/>
                  <a:gd name="T70" fmla="*/ 19 w 35"/>
                  <a:gd name="T71" fmla="*/ 19 h 41"/>
                  <a:gd name="T72" fmla="*/ 21 w 35"/>
                  <a:gd name="T73" fmla="*/ 19 h 41"/>
                  <a:gd name="T74" fmla="*/ 23 w 35"/>
                  <a:gd name="T75" fmla="*/ 22 h 41"/>
                  <a:gd name="T76" fmla="*/ 21 w 35"/>
                  <a:gd name="T77" fmla="*/ 19 h 41"/>
                  <a:gd name="T78" fmla="*/ 19 w 35"/>
                  <a:gd name="T79" fmla="*/ 17 h 41"/>
                  <a:gd name="T80" fmla="*/ 16 w 35"/>
                  <a:gd name="T81" fmla="*/ 12 h 41"/>
                  <a:gd name="T82" fmla="*/ 12 w 35"/>
                  <a:gd name="T83" fmla="*/ 10 h 41"/>
                  <a:gd name="T84" fmla="*/ 9 w 35"/>
                  <a:gd name="T85" fmla="*/ 12 h 41"/>
                  <a:gd name="T86" fmla="*/ 2 w 35"/>
                  <a:gd name="T87" fmla="*/ 3 h 41"/>
                  <a:gd name="T88" fmla="*/ 0 w 35"/>
                  <a:gd name="T89" fmla="*/ 0 h 41"/>
                  <a:gd name="T90" fmla="*/ 0 w 35"/>
                  <a:gd name="T91" fmla="*/ 3 h 41"/>
                  <a:gd name="T92" fmla="*/ 9 w 35"/>
                  <a:gd name="T9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 h="41">
                    <a:moveTo>
                      <a:pt x="9" y="15"/>
                    </a:moveTo>
                    <a:lnTo>
                      <a:pt x="9" y="15"/>
                    </a:lnTo>
                    <a:lnTo>
                      <a:pt x="12" y="17"/>
                    </a:lnTo>
                    <a:lnTo>
                      <a:pt x="12" y="19"/>
                    </a:lnTo>
                    <a:lnTo>
                      <a:pt x="12" y="19"/>
                    </a:lnTo>
                    <a:lnTo>
                      <a:pt x="12" y="19"/>
                    </a:lnTo>
                    <a:lnTo>
                      <a:pt x="12" y="19"/>
                    </a:lnTo>
                    <a:lnTo>
                      <a:pt x="12" y="22"/>
                    </a:lnTo>
                    <a:lnTo>
                      <a:pt x="14" y="24"/>
                    </a:lnTo>
                    <a:lnTo>
                      <a:pt x="16" y="24"/>
                    </a:lnTo>
                    <a:lnTo>
                      <a:pt x="21" y="26"/>
                    </a:lnTo>
                    <a:lnTo>
                      <a:pt x="21" y="29"/>
                    </a:lnTo>
                    <a:lnTo>
                      <a:pt x="21" y="31"/>
                    </a:lnTo>
                    <a:lnTo>
                      <a:pt x="23" y="31"/>
                    </a:lnTo>
                    <a:lnTo>
                      <a:pt x="23" y="31"/>
                    </a:lnTo>
                    <a:lnTo>
                      <a:pt x="23" y="29"/>
                    </a:lnTo>
                    <a:lnTo>
                      <a:pt x="26" y="31"/>
                    </a:lnTo>
                    <a:lnTo>
                      <a:pt x="26" y="31"/>
                    </a:lnTo>
                    <a:lnTo>
                      <a:pt x="26" y="31"/>
                    </a:lnTo>
                    <a:lnTo>
                      <a:pt x="26" y="31"/>
                    </a:lnTo>
                    <a:lnTo>
                      <a:pt x="26" y="33"/>
                    </a:lnTo>
                    <a:lnTo>
                      <a:pt x="26" y="31"/>
                    </a:lnTo>
                    <a:lnTo>
                      <a:pt x="26" y="33"/>
                    </a:lnTo>
                    <a:lnTo>
                      <a:pt x="26" y="33"/>
                    </a:lnTo>
                    <a:lnTo>
                      <a:pt x="26" y="33"/>
                    </a:lnTo>
                    <a:lnTo>
                      <a:pt x="26" y="36"/>
                    </a:lnTo>
                    <a:lnTo>
                      <a:pt x="26" y="36"/>
                    </a:lnTo>
                    <a:lnTo>
                      <a:pt x="26" y="36"/>
                    </a:lnTo>
                    <a:lnTo>
                      <a:pt x="26" y="38"/>
                    </a:lnTo>
                    <a:lnTo>
                      <a:pt x="28" y="38"/>
                    </a:lnTo>
                    <a:lnTo>
                      <a:pt x="28" y="38"/>
                    </a:lnTo>
                    <a:lnTo>
                      <a:pt x="30" y="41"/>
                    </a:lnTo>
                    <a:lnTo>
                      <a:pt x="30" y="38"/>
                    </a:lnTo>
                    <a:lnTo>
                      <a:pt x="28" y="38"/>
                    </a:lnTo>
                    <a:lnTo>
                      <a:pt x="28" y="36"/>
                    </a:lnTo>
                    <a:lnTo>
                      <a:pt x="28" y="36"/>
                    </a:lnTo>
                    <a:lnTo>
                      <a:pt x="33" y="38"/>
                    </a:lnTo>
                    <a:lnTo>
                      <a:pt x="33" y="38"/>
                    </a:lnTo>
                    <a:lnTo>
                      <a:pt x="33" y="38"/>
                    </a:lnTo>
                    <a:lnTo>
                      <a:pt x="33" y="38"/>
                    </a:lnTo>
                    <a:lnTo>
                      <a:pt x="33" y="38"/>
                    </a:lnTo>
                    <a:lnTo>
                      <a:pt x="33" y="38"/>
                    </a:lnTo>
                    <a:lnTo>
                      <a:pt x="35" y="38"/>
                    </a:lnTo>
                    <a:lnTo>
                      <a:pt x="33" y="36"/>
                    </a:lnTo>
                    <a:lnTo>
                      <a:pt x="33" y="36"/>
                    </a:lnTo>
                    <a:lnTo>
                      <a:pt x="30" y="33"/>
                    </a:lnTo>
                    <a:lnTo>
                      <a:pt x="30" y="33"/>
                    </a:lnTo>
                    <a:lnTo>
                      <a:pt x="30" y="33"/>
                    </a:lnTo>
                    <a:lnTo>
                      <a:pt x="30" y="33"/>
                    </a:lnTo>
                    <a:lnTo>
                      <a:pt x="33" y="36"/>
                    </a:lnTo>
                    <a:lnTo>
                      <a:pt x="35" y="36"/>
                    </a:lnTo>
                    <a:lnTo>
                      <a:pt x="35" y="36"/>
                    </a:lnTo>
                    <a:lnTo>
                      <a:pt x="35" y="36"/>
                    </a:lnTo>
                    <a:lnTo>
                      <a:pt x="33" y="33"/>
                    </a:lnTo>
                    <a:lnTo>
                      <a:pt x="33" y="31"/>
                    </a:lnTo>
                    <a:lnTo>
                      <a:pt x="30" y="31"/>
                    </a:lnTo>
                    <a:lnTo>
                      <a:pt x="23" y="24"/>
                    </a:lnTo>
                    <a:lnTo>
                      <a:pt x="21" y="22"/>
                    </a:lnTo>
                    <a:lnTo>
                      <a:pt x="21" y="24"/>
                    </a:lnTo>
                    <a:lnTo>
                      <a:pt x="23" y="26"/>
                    </a:lnTo>
                    <a:lnTo>
                      <a:pt x="23" y="26"/>
                    </a:lnTo>
                    <a:lnTo>
                      <a:pt x="26" y="29"/>
                    </a:lnTo>
                    <a:lnTo>
                      <a:pt x="21" y="26"/>
                    </a:lnTo>
                    <a:lnTo>
                      <a:pt x="16" y="17"/>
                    </a:lnTo>
                    <a:lnTo>
                      <a:pt x="12" y="15"/>
                    </a:lnTo>
                    <a:lnTo>
                      <a:pt x="12" y="15"/>
                    </a:lnTo>
                    <a:lnTo>
                      <a:pt x="14" y="15"/>
                    </a:lnTo>
                    <a:lnTo>
                      <a:pt x="14" y="15"/>
                    </a:lnTo>
                    <a:lnTo>
                      <a:pt x="14" y="17"/>
                    </a:lnTo>
                    <a:lnTo>
                      <a:pt x="16" y="17"/>
                    </a:lnTo>
                    <a:lnTo>
                      <a:pt x="19" y="19"/>
                    </a:lnTo>
                    <a:lnTo>
                      <a:pt x="19" y="19"/>
                    </a:lnTo>
                    <a:lnTo>
                      <a:pt x="19" y="19"/>
                    </a:lnTo>
                    <a:lnTo>
                      <a:pt x="21" y="19"/>
                    </a:lnTo>
                    <a:lnTo>
                      <a:pt x="23" y="22"/>
                    </a:lnTo>
                    <a:lnTo>
                      <a:pt x="23" y="22"/>
                    </a:lnTo>
                    <a:lnTo>
                      <a:pt x="23" y="19"/>
                    </a:lnTo>
                    <a:lnTo>
                      <a:pt x="21" y="19"/>
                    </a:lnTo>
                    <a:lnTo>
                      <a:pt x="21" y="17"/>
                    </a:lnTo>
                    <a:lnTo>
                      <a:pt x="19" y="17"/>
                    </a:lnTo>
                    <a:lnTo>
                      <a:pt x="19" y="15"/>
                    </a:lnTo>
                    <a:lnTo>
                      <a:pt x="16" y="12"/>
                    </a:lnTo>
                    <a:lnTo>
                      <a:pt x="14" y="10"/>
                    </a:lnTo>
                    <a:lnTo>
                      <a:pt x="12" y="10"/>
                    </a:lnTo>
                    <a:lnTo>
                      <a:pt x="9" y="10"/>
                    </a:lnTo>
                    <a:lnTo>
                      <a:pt x="9" y="12"/>
                    </a:lnTo>
                    <a:lnTo>
                      <a:pt x="7" y="10"/>
                    </a:lnTo>
                    <a:lnTo>
                      <a:pt x="2" y="3"/>
                    </a:lnTo>
                    <a:lnTo>
                      <a:pt x="0" y="0"/>
                    </a:lnTo>
                    <a:lnTo>
                      <a:pt x="0" y="0"/>
                    </a:lnTo>
                    <a:lnTo>
                      <a:pt x="0" y="0"/>
                    </a:lnTo>
                    <a:lnTo>
                      <a:pt x="0" y="3"/>
                    </a:lnTo>
                    <a:lnTo>
                      <a:pt x="2" y="5"/>
                    </a:lnTo>
                    <a:lnTo>
                      <a:pt x="9" y="15"/>
                    </a:lnTo>
                    <a:lnTo>
                      <a:pt x="9"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92" name="Freeform 186">
                <a:extLst>
                  <a:ext uri="{FF2B5EF4-FFF2-40B4-BE49-F238E27FC236}">
                    <a16:creationId xmlns:a16="http://schemas.microsoft.com/office/drawing/2014/main" id="{66A74CE6-4C5C-4E98-9F6E-59C04B33E314}"/>
                  </a:ext>
                </a:extLst>
              </p:cNvPr>
              <p:cNvSpPr>
                <a:spLocks/>
              </p:cNvSpPr>
              <p:nvPr/>
            </p:nvSpPr>
            <p:spPr bwMode="gray">
              <a:xfrm>
                <a:off x="-1706" y="2124"/>
                <a:ext cx="26" cy="31"/>
              </a:xfrm>
              <a:custGeom>
                <a:avLst/>
                <a:gdLst>
                  <a:gd name="T0" fmla="*/ 12 w 26"/>
                  <a:gd name="T1" fmla="*/ 21 h 31"/>
                  <a:gd name="T2" fmla="*/ 15 w 26"/>
                  <a:gd name="T3" fmla="*/ 19 h 31"/>
                  <a:gd name="T4" fmla="*/ 15 w 26"/>
                  <a:gd name="T5" fmla="*/ 24 h 31"/>
                  <a:gd name="T6" fmla="*/ 15 w 26"/>
                  <a:gd name="T7" fmla="*/ 26 h 31"/>
                  <a:gd name="T8" fmla="*/ 19 w 26"/>
                  <a:gd name="T9" fmla="*/ 31 h 31"/>
                  <a:gd name="T10" fmla="*/ 22 w 26"/>
                  <a:gd name="T11" fmla="*/ 31 h 31"/>
                  <a:gd name="T12" fmla="*/ 24 w 26"/>
                  <a:gd name="T13" fmla="*/ 29 h 31"/>
                  <a:gd name="T14" fmla="*/ 22 w 26"/>
                  <a:gd name="T15" fmla="*/ 29 h 31"/>
                  <a:gd name="T16" fmla="*/ 24 w 26"/>
                  <a:gd name="T17" fmla="*/ 29 h 31"/>
                  <a:gd name="T18" fmla="*/ 26 w 26"/>
                  <a:gd name="T19" fmla="*/ 29 h 31"/>
                  <a:gd name="T20" fmla="*/ 26 w 26"/>
                  <a:gd name="T21" fmla="*/ 26 h 31"/>
                  <a:gd name="T22" fmla="*/ 22 w 26"/>
                  <a:gd name="T23" fmla="*/ 19 h 31"/>
                  <a:gd name="T24" fmla="*/ 19 w 26"/>
                  <a:gd name="T25" fmla="*/ 17 h 31"/>
                  <a:gd name="T26" fmla="*/ 17 w 26"/>
                  <a:gd name="T27" fmla="*/ 17 h 31"/>
                  <a:gd name="T28" fmla="*/ 17 w 26"/>
                  <a:gd name="T29" fmla="*/ 10 h 31"/>
                  <a:gd name="T30" fmla="*/ 15 w 26"/>
                  <a:gd name="T31" fmla="*/ 10 h 31"/>
                  <a:gd name="T32" fmla="*/ 12 w 26"/>
                  <a:gd name="T33" fmla="*/ 7 h 31"/>
                  <a:gd name="T34" fmla="*/ 12 w 26"/>
                  <a:gd name="T35" fmla="*/ 5 h 31"/>
                  <a:gd name="T36" fmla="*/ 12 w 26"/>
                  <a:gd name="T37" fmla="*/ 3 h 31"/>
                  <a:gd name="T38" fmla="*/ 12 w 26"/>
                  <a:gd name="T39" fmla="*/ 3 h 31"/>
                  <a:gd name="T40" fmla="*/ 12 w 26"/>
                  <a:gd name="T41" fmla="*/ 0 h 31"/>
                  <a:gd name="T42" fmla="*/ 10 w 26"/>
                  <a:gd name="T43" fmla="*/ 0 h 31"/>
                  <a:gd name="T44" fmla="*/ 8 w 26"/>
                  <a:gd name="T45" fmla="*/ 0 h 31"/>
                  <a:gd name="T46" fmla="*/ 8 w 26"/>
                  <a:gd name="T47" fmla="*/ 3 h 31"/>
                  <a:gd name="T48" fmla="*/ 8 w 26"/>
                  <a:gd name="T49" fmla="*/ 3 h 31"/>
                  <a:gd name="T50" fmla="*/ 8 w 26"/>
                  <a:gd name="T51" fmla="*/ 5 h 31"/>
                  <a:gd name="T52" fmla="*/ 8 w 26"/>
                  <a:gd name="T53" fmla="*/ 7 h 31"/>
                  <a:gd name="T54" fmla="*/ 8 w 26"/>
                  <a:gd name="T55" fmla="*/ 7 h 31"/>
                  <a:gd name="T56" fmla="*/ 8 w 26"/>
                  <a:gd name="T57" fmla="*/ 12 h 31"/>
                  <a:gd name="T58" fmla="*/ 3 w 26"/>
                  <a:gd name="T59" fmla="*/ 12 h 31"/>
                  <a:gd name="T60" fmla="*/ 3 w 26"/>
                  <a:gd name="T61" fmla="*/ 14 h 31"/>
                  <a:gd name="T62" fmla="*/ 3 w 26"/>
                  <a:gd name="T63" fmla="*/ 14 h 31"/>
                  <a:gd name="T64" fmla="*/ 0 w 26"/>
                  <a:gd name="T65" fmla="*/ 14 h 31"/>
                  <a:gd name="T66" fmla="*/ 0 w 26"/>
                  <a:gd name="T67" fmla="*/ 17 h 31"/>
                  <a:gd name="T68" fmla="*/ 3 w 26"/>
                  <a:gd name="T69" fmla="*/ 19 h 31"/>
                  <a:gd name="T70" fmla="*/ 5 w 26"/>
                  <a:gd name="T71" fmla="*/ 21 h 31"/>
                  <a:gd name="T72" fmla="*/ 12 w 26"/>
                  <a:gd name="T73" fmla="*/ 2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 h="31">
                    <a:moveTo>
                      <a:pt x="12" y="21"/>
                    </a:moveTo>
                    <a:lnTo>
                      <a:pt x="12" y="21"/>
                    </a:lnTo>
                    <a:lnTo>
                      <a:pt x="12" y="21"/>
                    </a:lnTo>
                    <a:lnTo>
                      <a:pt x="15" y="19"/>
                    </a:lnTo>
                    <a:lnTo>
                      <a:pt x="15" y="21"/>
                    </a:lnTo>
                    <a:lnTo>
                      <a:pt x="15" y="24"/>
                    </a:lnTo>
                    <a:lnTo>
                      <a:pt x="15" y="26"/>
                    </a:lnTo>
                    <a:lnTo>
                      <a:pt x="15" y="26"/>
                    </a:lnTo>
                    <a:lnTo>
                      <a:pt x="17" y="29"/>
                    </a:lnTo>
                    <a:lnTo>
                      <a:pt x="19" y="31"/>
                    </a:lnTo>
                    <a:lnTo>
                      <a:pt x="22" y="31"/>
                    </a:lnTo>
                    <a:lnTo>
                      <a:pt x="22" y="31"/>
                    </a:lnTo>
                    <a:lnTo>
                      <a:pt x="24" y="31"/>
                    </a:lnTo>
                    <a:lnTo>
                      <a:pt x="24" y="29"/>
                    </a:lnTo>
                    <a:lnTo>
                      <a:pt x="22" y="29"/>
                    </a:lnTo>
                    <a:lnTo>
                      <a:pt x="22" y="29"/>
                    </a:lnTo>
                    <a:lnTo>
                      <a:pt x="24" y="26"/>
                    </a:lnTo>
                    <a:lnTo>
                      <a:pt x="24" y="29"/>
                    </a:lnTo>
                    <a:lnTo>
                      <a:pt x="26" y="29"/>
                    </a:lnTo>
                    <a:lnTo>
                      <a:pt x="26" y="29"/>
                    </a:lnTo>
                    <a:lnTo>
                      <a:pt x="26" y="26"/>
                    </a:lnTo>
                    <a:lnTo>
                      <a:pt x="26" y="26"/>
                    </a:lnTo>
                    <a:lnTo>
                      <a:pt x="26" y="24"/>
                    </a:lnTo>
                    <a:lnTo>
                      <a:pt x="22" y="19"/>
                    </a:lnTo>
                    <a:lnTo>
                      <a:pt x="22" y="17"/>
                    </a:lnTo>
                    <a:lnTo>
                      <a:pt x="19" y="17"/>
                    </a:lnTo>
                    <a:lnTo>
                      <a:pt x="17" y="17"/>
                    </a:lnTo>
                    <a:lnTo>
                      <a:pt x="17" y="17"/>
                    </a:lnTo>
                    <a:lnTo>
                      <a:pt x="17" y="14"/>
                    </a:lnTo>
                    <a:lnTo>
                      <a:pt x="17" y="10"/>
                    </a:lnTo>
                    <a:lnTo>
                      <a:pt x="17" y="7"/>
                    </a:lnTo>
                    <a:lnTo>
                      <a:pt x="15" y="10"/>
                    </a:lnTo>
                    <a:lnTo>
                      <a:pt x="12" y="10"/>
                    </a:lnTo>
                    <a:lnTo>
                      <a:pt x="12" y="7"/>
                    </a:lnTo>
                    <a:lnTo>
                      <a:pt x="15" y="7"/>
                    </a:lnTo>
                    <a:lnTo>
                      <a:pt x="12" y="5"/>
                    </a:lnTo>
                    <a:lnTo>
                      <a:pt x="12" y="3"/>
                    </a:lnTo>
                    <a:lnTo>
                      <a:pt x="12" y="3"/>
                    </a:lnTo>
                    <a:lnTo>
                      <a:pt x="12" y="3"/>
                    </a:lnTo>
                    <a:lnTo>
                      <a:pt x="12" y="3"/>
                    </a:lnTo>
                    <a:lnTo>
                      <a:pt x="10" y="0"/>
                    </a:lnTo>
                    <a:lnTo>
                      <a:pt x="12" y="0"/>
                    </a:lnTo>
                    <a:lnTo>
                      <a:pt x="12" y="0"/>
                    </a:lnTo>
                    <a:lnTo>
                      <a:pt x="10" y="0"/>
                    </a:lnTo>
                    <a:lnTo>
                      <a:pt x="8" y="0"/>
                    </a:lnTo>
                    <a:lnTo>
                      <a:pt x="8" y="0"/>
                    </a:lnTo>
                    <a:lnTo>
                      <a:pt x="8" y="0"/>
                    </a:lnTo>
                    <a:lnTo>
                      <a:pt x="8" y="3"/>
                    </a:lnTo>
                    <a:lnTo>
                      <a:pt x="8" y="3"/>
                    </a:lnTo>
                    <a:lnTo>
                      <a:pt x="8" y="3"/>
                    </a:lnTo>
                    <a:lnTo>
                      <a:pt x="8" y="5"/>
                    </a:lnTo>
                    <a:lnTo>
                      <a:pt x="8" y="5"/>
                    </a:lnTo>
                    <a:lnTo>
                      <a:pt x="8" y="5"/>
                    </a:lnTo>
                    <a:lnTo>
                      <a:pt x="8" y="7"/>
                    </a:lnTo>
                    <a:lnTo>
                      <a:pt x="8" y="7"/>
                    </a:lnTo>
                    <a:lnTo>
                      <a:pt x="8" y="7"/>
                    </a:lnTo>
                    <a:lnTo>
                      <a:pt x="8" y="10"/>
                    </a:lnTo>
                    <a:lnTo>
                      <a:pt x="8" y="12"/>
                    </a:lnTo>
                    <a:lnTo>
                      <a:pt x="5" y="12"/>
                    </a:lnTo>
                    <a:lnTo>
                      <a:pt x="3" y="12"/>
                    </a:lnTo>
                    <a:lnTo>
                      <a:pt x="3" y="12"/>
                    </a:lnTo>
                    <a:lnTo>
                      <a:pt x="3" y="14"/>
                    </a:lnTo>
                    <a:lnTo>
                      <a:pt x="3" y="14"/>
                    </a:lnTo>
                    <a:lnTo>
                      <a:pt x="3" y="14"/>
                    </a:lnTo>
                    <a:lnTo>
                      <a:pt x="0" y="14"/>
                    </a:lnTo>
                    <a:lnTo>
                      <a:pt x="0" y="14"/>
                    </a:lnTo>
                    <a:lnTo>
                      <a:pt x="0" y="14"/>
                    </a:lnTo>
                    <a:lnTo>
                      <a:pt x="0" y="17"/>
                    </a:lnTo>
                    <a:lnTo>
                      <a:pt x="0" y="17"/>
                    </a:lnTo>
                    <a:lnTo>
                      <a:pt x="3" y="19"/>
                    </a:lnTo>
                    <a:lnTo>
                      <a:pt x="3" y="21"/>
                    </a:lnTo>
                    <a:lnTo>
                      <a:pt x="5" y="21"/>
                    </a:lnTo>
                    <a:lnTo>
                      <a:pt x="12" y="21"/>
                    </a:lnTo>
                    <a:lnTo>
                      <a:pt x="1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93" name="Freeform 187">
                <a:extLst>
                  <a:ext uri="{FF2B5EF4-FFF2-40B4-BE49-F238E27FC236}">
                    <a16:creationId xmlns:a16="http://schemas.microsoft.com/office/drawing/2014/main" id="{373EFA65-F2DE-4D7D-BF9C-20B08CF83D27}"/>
                  </a:ext>
                </a:extLst>
              </p:cNvPr>
              <p:cNvSpPr>
                <a:spLocks/>
              </p:cNvSpPr>
              <p:nvPr/>
            </p:nvSpPr>
            <p:spPr bwMode="gray">
              <a:xfrm>
                <a:off x="-1717" y="2131"/>
                <a:ext cx="19" cy="55"/>
              </a:xfrm>
              <a:custGeom>
                <a:avLst/>
                <a:gdLst>
                  <a:gd name="T0" fmla="*/ 16 w 19"/>
                  <a:gd name="T1" fmla="*/ 52 h 55"/>
                  <a:gd name="T2" fmla="*/ 16 w 19"/>
                  <a:gd name="T3" fmla="*/ 52 h 55"/>
                  <a:gd name="T4" fmla="*/ 16 w 19"/>
                  <a:gd name="T5" fmla="*/ 50 h 55"/>
                  <a:gd name="T6" fmla="*/ 14 w 19"/>
                  <a:gd name="T7" fmla="*/ 47 h 55"/>
                  <a:gd name="T8" fmla="*/ 14 w 19"/>
                  <a:gd name="T9" fmla="*/ 43 h 55"/>
                  <a:gd name="T10" fmla="*/ 14 w 19"/>
                  <a:gd name="T11" fmla="*/ 40 h 55"/>
                  <a:gd name="T12" fmla="*/ 14 w 19"/>
                  <a:gd name="T13" fmla="*/ 38 h 55"/>
                  <a:gd name="T14" fmla="*/ 14 w 19"/>
                  <a:gd name="T15" fmla="*/ 38 h 55"/>
                  <a:gd name="T16" fmla="*/ 14 w 19"/>
                  <a:gd name="T17" fmla="*/ 33 h 55"/>
                  <a:gd name="T18" fmla="*/ 11 w 19"/>
                  <a:gd name="T19" fmla="*/ 29 h 55"/>
                  <a:gd name="T20" fmla="*/ 14 w 19"/>
                  <a:gd name="T21" fmla="*/ 26 h 55"/>
                  <a:gd name="T22" fmla="*/ 14 w 19"/>
                  <a:gd name="T23" fmla="*/ 22 h 55"/>
                  <a:gd name="T24" fmla="*/ 14 w 19"/>
                  <a:gd name="T25" fmla="*/ 19 h 55"/>
                  <a:gd name="T26" fmla="*/ 11 w 19"/>
                  <a:gd name="T27" fmla="*/ 19 h 55"/>
                  <a:gd name="T28" fmla="*/ 9 w 19"/>
                  <a:gd name="T29" fmla="*/ 17 h 55"/>
                  <a:gd name="T30" fmla="*/ 7 w 19"/>
                  <a:gd name="T31" fmla="*/ 10 h 55"/>
                  <a:gd name="T32" fmla="*/ 7 w 19"/>
                  <a:gd name="T33" fmla="*/ 5 h 55"/>
                  <a:gd name="T34" fmla="*/ 7 w 19"/>
                  <a:gd name="T35" fmla="*/ 0 h 55"/>
                  <a:gd name="T36" fmla="*/ 2 w 19"/>
                  <a:gd name="T37" fmla="*/ 0 h 55"/>
                  <a:gd name="T38" fmla="*/ 2 w 19"/>
                  <a:gd name="T39" fmla="*/ 3 h 55"/>
                  <a:gd name="T40" fmla="*/ 0 w 19"/>
                  <a:gd name="T41" fmla="*/ 7 h 55"/>
                  <a:gd name="T42" fmla="*/ 4 w 19"/>
                  <a:gd name="T43" fmla="*/ 12 h 55"/>
                  <a:gd name="T44" fmla="*/ 7 w 19"/>
                  <a:gd name="T45" fmla="*/ 19 h 55"/>
                  <a:gd name="T46" fmla="*/ 9 w 19"/>
                  <a:gd name="T47" fmla="*/ 22 h 55"/>
                  <a:gd name="T48" fmla="*/ 9 w 19"/>
                  <a:gd name="T49" fmla="*/ 22 h 55"/>
                  <a:gd name="T50" fmla="*/ 9 w 19"/>
                  <a:gd name="T51" fmla="*/ 24 h 55"/>
                  <a:gd name="T52" fmla="*/ 9 w 19"/>
                  <a:gd name="T53" fmla="*/ 26 h 55"/>
                  <a:gd name="T54" fmla="*/ 7 w 19"/>
                  <a:gd name="T55" fmla="*/ 26 h 55"/>
                  <a:gd name="T56" fmla="*/ 7 w 19"/>
                  <a:gd name="T57" fmla="*/ 26 h 55"/>
                  <a:gd name="T58" fmla="*/ 4 w 19"/>
                  <a:gd name="T59" fmla="*/ 24 h 55"/>
                  <a:gd name="T60" fmla="*/ 2 w 19"/>
                  <a:gd name="T61" fmla="*/ 24 h 55"/>
                  <a:gd name="T62" fmla="*/ 2 w 19"/>
                  <a:gd name="T63" fmla="*/ 26 h 55"/>
                  <a:gd name="T64" fmla="*/ 2 w 19"/>
                  <a:gd name="T65" fmla="*/ 26 h 55"/>
                  <a:gd name="T66" fmla="*/ 4 w 19"/>
                  <a:gd name="T67" fmla="*/ 33 h 55"/>
                  <a:gd name="T68" fmla="*/ 7 w 19"/>
                  <a:gd name="T69" fmla="*/ 36 h 55"/>
                  <a:gd name="T70" fmla="*/ 7 w 19"/>
                  <a:gd name="T71" fmla="*/ 38 h 55"/>
                  <a:gd name="T72" fmla="*/ 7 w 19"/>
                  <a:gd name="T73" fmla="*/ 40 h 55"/>
                  <a:gd name="T74" fmla="*/ 7 w 19"/>
                  <a:gd name="T75" fmla="*/ 40 h 55"/>
                  <a:gd name="T76" fmla="*/ 9 w 19"/>
                  <a:gd name="T77" fmla="*/ 43 h 55"/>
                  <a:gd name="T78" fmla="*/ 9 w 19"/>
                  <a:gd name="T79" fmla="*/ 47 h 55"/>
                  <a:gd name="T80" fmla="*/ 14 w 19"/>
                  <a:gd name="T81" fmla="*/ 55 h 55"/>
                  <a:gd name="T82" fmla="*/ 16 w 19"/>
                  <a:gd name="T83" fmla="*/ 55 h 55"/>
                  <a:gd name="T84" fmla="*/ 19 w 19"/>
                  <a:gd name="T85" fmla="*/ 55 h 55"/>
                  <a:gd name="T86" fmla="*/ 19 w 19"/>
                  <a:gd name="T87"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 h="55">
                    <a:moveTo>
                      <a:pt x="19" y="52"/>
                    </a:moveTo>
                    <a:lnTo>
                      <a:pt x="16" y="52"/>
                    </a:lnTo>
                    <a:lnTo>
                      <a:pt x="16" y="52"/>
                    </a:lnTo>
                    <a:lnTo>
                      <a:pt x="16" y="52"/>
                    </a:lnTo>
                    <a:lnTo>
                      <a:pt x="16" y="52"/>
                    </a:lnTo>
                    <a:lnTo>
                      <a:pt x="16" y="50"/>
                    </a:lnTo>
                    <a:lnTo>
                      <a:pt x="14" y="47"/>
                    </a:lnTo>
                    <a:lnTo>
                      <a:pt x="14" y="47"/>
                    </a:lnTo>
                    <a:lnTo>
                      <a:pt x="14" y="45"/>
                    </a:lnTo>
                    <a:lnTo>
                      <a:pt x="14" y="43"/>
                    </a:lnTo>
                    <a:lnTo>
                      <a:pt x="14" y="43"/>
                    </a:lnTo>
                    <a:lnTo>
                      <a:pt x="14" y="40"/>
                    </a:lnTo>
                    <a:lnTo>
                      <a:pt x="14" y="40"/>
                    </a:lnTo>
                    <a:lnTo>
                      <a:pt x="14" y="38"/>
                    </a:lnTo>
                    <a:lnTo>
                      <a:pt x="14" y="38"/>
                    </a:lnTo>
                    <a:lnTo>
                      <a:pt x="14" y="38"/>
                    </a:lnTo>
                    <a:lnTo>
                      <a:pt x="14" y="36"/>
                    </a:lnTo>
                    <a:lnTo>
                      <a:pt x="14" y="33"/>
                    </a:lnTo>
                    <a:lnTo>
                      <a:pt x="11" y="29"/>
                    </a:lnTo>
                    <a:lnTo>
                      <a:pt x="11" y="29"/>
                    </a:lnTo>
                    <a:lnTo>
                      <a:pt x="14" y="26"/>
                    </a:lnTo>
                    <a:lnTo>
                      <a:pt x="14" y="26"/>
                    </a:lnTo>
                    <a:lnTo>
                      <a:pt x="14" y="24"/>
                    </a:lnTo>
                    <a:lnTo>
                      <a:pt x="14" y="22"/>
                    </a:lnTo>
                    <a:lnTo>
                      <a:pt x="14" y="22"/>
                    </a:lnTo>
                    <a:lnTo>
                      <a:pt x="14" y="19"/>
                    </a:lnTo>
                    <a:lnTo>
                      <a:pt x="14" y="19"/>
                    </a:lnTo>
                    <a:lnTo>
                      <a:pt x="11" y="19"/>
                    </a:lnTo>
                    <a:lnTo>
                      <a:pt x="9" y="17"/>
                    </a:lnTo>
                    <a:lnTo>
                      <a:pt x="9" y="17"/>
                    </a:lnTo>
                    <a:lnTo>
                      <a:pt x="7" y="14"/>
                    </a:lnTo>
                    <a:lnTo>
                      <a:pt x="7" y="10"/>
                    </a:lnTo>
                    <a:lnTo>
                      <a:pt x="7" y="7"/>
                    </a:lnTo>
                    <a:lnTo>
                      <a:pt x="7" y="5"/>
                    </a:lnTo>
                    <a:lnTo>
                      <a:pt x="7" y="3"/>
                    </a:lnTo>
                    <a:lnTo>
                      <a:pt x="7" y="0"/>
                    </a:lnTo>
                    <a:lnTo>
                      <a:pt x="4" y="0"/>
                    </a:lnTo>
                    <a:lnTo>
                      <a:pt x="2" y="0"/>
                    </a:lnTo>
                    <a:lnTo>
                      <a:pt x="2" y="0"/>
                    </a:lnTo>
                    <a:lnTo>
                      <a:pt x="2" y="3"/>
                    </a:lnTo>
                    <a:lnTo>
                      <a:pt x="0" y="5"/>
                    </a:lnTo>
                    <a:lnTo>
                      <a:pt x="0" y="7"/>
                    </a:lnTo>
                    <a:lnTo>
                      <a:pt x="2" y="7"/>
                    </a:lnTo>
                    <a:lnTo>
                      <a:pt x="4" y="12"/>
                    </a:lnTo>
                    <a:lnTo>
                      <a:pt x="4" y="12"/>
                    </a:lnTo>
                    <a:lnTo>
                      <a:pt x="7" y="19"/>
                    </a:lnTo>
                    <a:lnTo>
                      <a:pt x="9" y="22"/>
                    </a:lnTo>
                    <a:lnTo>
                      <a:pt x="9" y="22"/>
                    </a:lnTo>
                    <a:lnTo>
                      <a:pt x="9" y="22"/>
                    </a:lnTo>
                    <a:lnTo>
                      <a:pt x="9" y="22"/>
                    </a:lnTo>
                    <a:lnTo>
                      <a:pt x="9" y="22"/>
                    </a:lnTo>
                    <a:lnTo>
                      <a:pt x="9" y="24"/>
                    </a:lnTo>
                    <a:lnTo>
                      <a:pt x="9" y="24"/>
                    </a:lnTo>
                    <a:lnTo>
                      <a:pt x="9" y="26"/>
                    </a:lnTo>
                    <a:lnTo>
                      <a:pt x="7" y="26"/>
                    </a:lnTo>
                    <a:lnTo>
                      <a:pt x="7" y="26"/>
                    </a:lnTo>
                    <a:lnTo>
                      <a:pt x="7" y="26"/>
                    </a:lnTo>
                    <a:lnTo>
                      <a:pt x="7" y="26"/>
                    </a:lnTo>
                    <a:lnTo>
                      <a:pt x="4" y="24"/>
                    </a:lnTo>
                    <a:lnTo>
                      <a:pt x="4" y="24"/>
                    </a:lnTo>
                    <a:lnTo>
                      <a:pt x="2" y="24"/>
                    </a:lnTo>
                    <a:lnTo>
                      <a:pt x="2" y="24"/>
                    </a:lnTo>
                    <a:lnTo>
                      <a:pt x="2" y="26"/>
                    </a:lnTo>
                    <a:lnTo>
                      <a:pt x="2" y="26"/>
                    </a:lnTo>
                    <a:lnTo>
                      <a:pt x="2" y="26"/>
                    </a:lnTo>
                    <a:lnTo>
                      <a:pt x="2" y="26"/>
                    </a:lnTo>
                    <a:lnTo>
                      <a:pt x="2" y="29"/>
                    </a:lnTo>
                    <a:lnTo>
                      <a:pt x="4" y="33"/>
                    </a:lnTo>
                    <a:lnTo>
                      <a:pt x="4" y="36"/>
                    </a:lnTo>
                    <a:lnTo>
                      <a:pt x="7" y="36"/>
                    </a:lnTo>
                    <a:lnTo>
                      <a:pt x="7" y="36"/>
                    </a:lnTo>
                    <a:lnTo>
                      <a:pt x="7" y="38"/>
                    </a:lnTo>
                    <a:lnTo>
                      <a:pt x="7" y="40"/>
                    </a:lnTo>
                    <a:lnTo>
                      <a:pt x="7" y="40"/>
                    </a:lnTo>
                    <a:lnTo>
                      <a:pt x="7" y="43"/>
                    </a:lnTo>
                    <a:lnTo>
                      <a:pt x="7" y="40"/>
                    </a:lnTo>
                    <a:lnTo>
                      <a:pt x="7" y="43"/>
                    </a:lnTo>
                    <a:lnTo>
                      <a:pt x="9" y="43"/>
                    </a:lnTo>
                    <a:lnTo>
                      <a:pt x="9" y="43"/>
                    </a:lnTo>
                    <a:lnTo>
                      <a:pt x="9" y="47"/>
                    </a:lnTo>
                    <a:lnTo>
                      <a:pt x="11" y="52"/>
                    </a:lnTo>
                    <a:lnTo>
                      <a:pt x="14" y="55"/>
                    </a:lnTo>
                    <a:lnTo>
                      <a:pt x="16" y="55"/>
                    </a:lnTo>
                    <a:lnTo>
                      <a:pt x="16" y="55"/>
                    </a:lnTo>
                    <a:lnTo>
                      <a:pt x="16" y="55"/>
                    </a:lnTo>
                    <a:lnTo>
                      <a:pt x="19" y="55"/>
                    </a:lnTo>
                    <a:lnTo>
                      <a:pt x="19" y="55"/>
                    </a:lnTo>
                    <a:lnTo>
                      <a:pt x="19"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94" name="Freeform 188">
                <a:extLst>
                  <a:ext uri="{FF2B5EF4-FFF2-40B4-BE49-F238E27FC236}">
                    <a16:creationId xmlns:a16="http://schemas.microsoft.com/office/drawing/2014/main" id="{A1752AFE-915D-4651-8421-1B009AF8872D}"/>
                  </a:ext>
                </a:extLst>
              </p:cNvPr>
              <p:cNvSpPr>
                <a:spLocks/>
              </p:cNvSpPr>
              <p:nvPr/>
            </p:nvSpPr>
            <p:spPr bwMode="gray">
              <a:xfrm>
                <a:off x="-1647" y="2247"/>
                <a:ext cx="12" cy="12"/>
              </a:xfrm>
              <a:custGeom>
                <a:avLst/>
                <a:gdLst>
                  <a:gd name="T0" fmla="*/ 10 w 12"/>
                  <a:gd name="T1" fmla="*/ 9 h 12"/>
                  <a:gd name="T2" fmla="*/ 12 w 12"/>
                  <a:gd name="T3" fmla="*/ 9 h 12"/>
                  <a:gd name="T4" fmla="*/ 12 w 12"/>
                  <a:gd name="T5" fmla="*/ 9 h 12"/>
                  <a:gd name="T6" fmla="*/ 12 w 12"/>
                  <a:gd name="T7" fmla="*/ 12 h 12"/>
                  <a:gd name="T8" fmla="*/ 12 w 12"/>
                  <a:gd name="T9" fmla="*/ 12 h 12"/>
                  <a:gd name="T10" fmla="*/ 12 w 12"/>
                  <a:gd name="T11" fmla="*/ 9 h 12"/>
                  <a:gd name="T12" fmla="*/ 12 w 12"/>
                  <a:gd name="T13" fmla="*/ 9 h 12"/>
                  <a:gd name="T14" fmla="*/ 12 w 12"/>
                  <a:gd name="T15" fmla="*/ 7 h 12"/>
                  <a:gd name="T16" fmla="*/ 10 w 12"/>
                  <a:gd name="T17" fmla="*/ 7 h 12"/>
                  <a:gd name="T18" fmla="*/ 10 w 12"/>
                  <a:gd name="T19" fmla="*/ 7 h 12"/>
                  <a:gd name="T20" fmla="*/ 10 w 12"/>
                  <a:gd name="T21" fmla="*/ 7 h 12"/>
                  <a:gd name="T22" fmla="*/ 10 w 12"/>
                  <a:gd name="T23" fmla="*/ 7 h 12"/>
                  <a:gd name="T24" fmla="*/ 8 w 12"/>
                  <a:gd name="T25" fmla="*/ 5 h 12"/>
                  <a:gd name="T26" fmla="*/ 8 w 12"/>
                  <a:gd name="T27" fmla="*/ 5 h 12"/>
                  <a:gd name="T28" fmla="*/ 8 w 12"/>
                  <a:gd name="T29" fmla="*/ 2 h 12"/>
                  <a:gd name="T30" fmla="*/ 8 w 12"/>
                  <a:gd name="T31" fmla="*/ 2 h 12"/>
                  <a:gd name="T32" fmla="*/ 5 w 12"/>
                  <a:gd name="T33" fmla="*/ 2 h 12"/>
                  <a:gd name="T34" fmla="*/ 3 w 12"/>
                  <a:gd name="T35" fmla="*/ 0 h 12"/>
                  <a:gd name="T36" fmla="*/ 0 w 12"/>
                  <a:gd name="T37" fmla="*/ 0 h 12"/>
                  <a:gd name="T38" fmla="*/ 0 w 12"/>
                  <a:gd name="T39" fmla="*/ 0 h 12"/>
                  <a:gd name="T40" fmla="*/ 0 w 12"/>
                  <a:gd name="T41" fmla="*/ 0 h 12"/>
                  <a:gd name="T42" fmla="*/ 3 w 12"/>
                  <a:gd name="T43" fmla="*/ 2 h 12"/>
                  <a:gd name="T44" fmla="*/ 3 w 12"/>
                  <a:gd name="T45" fmla="*/ 5 h 12"/>
                  <a:gd name="T46" fmla="*/ 3 w 12"/>
                  <a:gd name="T47" fmla="*/ 5 h 12"/>
                  <a:gd name="T48" fmla="*/ 5 w 12"/>
                  <a:gd name="T49" fmla="*/ 5 h 12"/>
                  <a:gd name="T50" fmla="*/ 5 w 12"/>
                  <a:gd name="T51" fmla="*/ 7 h 12"/>
                  <a:gd name="T52" fmla="*/ 5 w 12"/>
                  <a:gd name="T53" fmla="*/ 7 h 12"/>
                  <a:gd name="T54" fmla="*/ 5 w 12"/>
                  <a:gd name="T55" fmla="*/ 7 h 12"/>
                  <a:gd name="T56" fmla="*/ 5 w 12"/>
                  <a:gd name="T57" fmla="*/ 7 h 12"/>
                  <a:gd name="T58" fmla="*/ 8 w 12"/>
                  <a:gd name="T59" fmla="*/ 9 h 12"/>
                  <a:gd name="T60" fmla="*/ 8 w 12"/>
                  <a:gd name="T61" fmla="*/ 9 h 12"/>
                  <a:gd name="T62" fmla="*/ 10 w 12"/>
                  <a:gd name="T63" fmla="*/ 9 h 12"/>
                  <a:gd name="T64" fmla="*/ 10 w 12"/>
                  <a:gd name="T65" fmla="*/ 9 h 12"/>
                  <a:gd name="T66" fmla="*/ 10 w 12"/>
                  <a:gd name="T67" fmla="*/ 9 h 12"/>
                  <a:gd name="T68" fmla="*/ 10 w 12"/>
                  <a:gd name="T69" fmla="*/ 9 h 12"/>
                  <a:gd name="T70" fmla="*/ 10 w 12"/>
                  <a:gd name="T71"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12">
                    <a:moveTo>
                      <a:pt x="10" y="9"/>
                    </a:moveTo>
                    <a:lnTo>
                      <a:pt x="12" y="9"/>
                    </a:lnTo>
                    <a:lnTo>
                      <a:pt x="12" y="9"/>
                    </a:lnTo>
                    <a:lnTo>
                      <a:pt x="12" y="12"/>
                    </a:lnTo>
                    <a:lnTo>
                      <a:pt x="12" y="12"/>
                    </a:lnTo>
                    <a:lnTo>
                      <a:pt x="12" y="9"/>
                    </a:lnTo>
                    <a:lnTo>
                      <a:pt x="12" y="9"/>
                    </a:lnTo>
                    <a:lnTo>
                      <a:pt x="12" y="7"/>
                    </a:lnTo>
                    <a:lnTo>
                      <a:pt x="10" y="7"/>
                    </a:lnTo>
                    <a:lnTo>
                      <a:pt x="10" y="7"/>
                    </a:lnTo>
                    <a:lnTo>
                      <a:pt x="10" y="7"/>
                    </a:lnTo>
                    <a:lnTo>
                      <a:pt x="10" y="7"/>
                    </a:lnTo>
                    <a:lnTo>
                      <a:pt x="8" y="5"/>
                    </a:lnTo>
                    <a:lnTo>
                      <a:pt x="8" y="5"/>
                    </a:lnTo>
                    <a:lnTo>
                      <a:pt x="8" y="2"/>
                    </a:lnTo>
                    <a:lnTo>
                      <a:pt x="8" y="2"/>
                    </a:lnTo>
                    <a:lnTo>
                      <a:pt x="5" y="2"/>
                    </a:lnTo>
                    <a:lnTo>
                      <a:pt x="3" y="0"/>
                    </a:lnTo>
                    <a:lnTo>
                      <a:pt x="0" y="0"/>
                    </a:lnTo>
                    <a:lnTo>
                      <a:pt x="0" y="0"/>
                    </a:lnTo>
                    <a:lnTo>
                      <a:pt x="0" y="0"/>
                    </a:lnTo>
                    <a:lnTo>
                      <a:pt x="3" y="2"/>
                    </a:lnTo>
                    <a:lnTo>
                      <a:pt x="3" y="5"/>
                    </a:lnTo>
                    <a:lnTo>
                      <a:pt x="3" y="5"/>
                    </a:lnTo>
                    <a:lnTo>
                      <a:pt x="5" y="5"/>
                    </a:lnTo>
                    <a:lnTo>
                      <a:pt x="5" y="7"/>
                    </a:lnTo>
                    <a:lnTo>
                      <a:pt x="5" y="7"/>
                    </a:lnTo>
                    <a:lnTo>
                      <a:pt x="5" y="7"/>
                    </a:lnTo>
                    <a:lnTo>
                      <a:pt x="5" y="7"/>
                    </a:lnTo>
                    <a:lnTo>
                      <a:pt x="8" y="9"/>
                    </a:lnTo>
                    <a:lnTo>
                      <a:pt x="8" y="9"/>
                    </a:lnTo>
                    <a:lnTo>
                      <a:pt x="10" y="9"/>
                    </a:lnTo>
                    <a:lnTo>
                      <a:pt x="10" y="9"/>
                    </a:lnTo>
                    <a:lnTo>
                      <a:pt x="10" y="9"/>
                    </a:lnTo>
                    <a:lnTo>
                      <a:pt x="10" y="9"/>
                    </a:lnTo>
                    <a:lnTo>
                      <a:pt x="1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95" name="Freeform 189">
                <a:extLst>
                  <a:ext uri="{FF2B5EF4-FFF2-40B4-BE49-F238E27FC236}">
                    <a16:creationId xmlns:a16="http://schemas.microsoft.com/office/drawing/2014/main" id="{934D72EC-7A03-44EA-BB28-58AFFC5C2A64}"/>
                  </a:ext>
                </a:extLst>
              </p:cNvPr>
              <p:cNvSpPr>
                <a:spLocks/>
              </p:cNvSpPr>
              <p:nvPr/>
            </p:nvSpPr>
            <p:spPr bwMode="gray">
              <a:xfrm>
                <a:off x="-1694" y="2214"/>
                <a:ext cx="5" cy="2"/>
              </a:xfrm>
              <a:custGeom>
                <a:avLst/>
                <a:gdLst>
                  <a:gd name="T0" fmla="*/ 3 w 5"/>
                  <a:gd name="T1" fmla="*/ 2 h 2"/>
                  <a:gd name="T2" fmla="*/ 5 w 5"/>
                  <a:gd name="T3" fmla="*/ 2 h 2"/>
                  <a:gd name="T4" fmla="*/ 5 w 5"/>
                  <a:gd name="T5" fmla="*/ 2 h 2"/>
                  <a:gd name="T6" fmla="*/ 3 w 5"/>
                  <a:gd name="T7" fmla="*/ 2 h 2"/>
                  <a:gd name="T8" fmla="*/ 0 w 5"/>
                  <a:gd name="T9" fmla="*/ 0 h 2"/>
                  <a:gd name="T10" fmla="*/ 0 w 5"/>
                  <a:gd name="T11" fmla="*/ 0 h 2"/>
                  <a:gd name="T12" fmla="*/ 0 w 5"/>
                  <a:gd name="T13" fmla="*/ 0 h 2"/>
                  <a:gd name="T14" fmla="*/ 3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3" y="2"/>
                    </a:moveTo>
                    <a:lnTo>
                      <a:pt x="5" y="2"/>
                    </a:lnTo>
                    <a:lnTo>
                      <a:pt x="5" y="2"/>
                    </a:lnTo>
                    <a:lnTo>
                      <a:pt x="3" y="2"/>
                    </a:lnTo>
                    <a:lnTo>
                      <a:pt x="0" y="0"/>
                    </a:lnTo>
                    <a:lnTo>
                      <a:pt x="0" y="0"/>
                    </a:lnTo>
                    <a:lnTo>
                      <a:pt x="0" y="0"/>
                    </a:lnTo>
                    <a:lnTo>
                      <a:pt x="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96" name="Freeform 190">
                <a:extLst>
                  <a:ext uri="{FF2B5EF4-FFF2-40B4-BE49-F238E27FC236}">
                    <a16:creationId xmlns:a16="http://schemas.microsoft.com/office/drawing/2014/main" id="{C5A474F9-EB88-4A93-AED8-780261939E3E}"/>
                  </a:ext>
                </a:extLst>
              </p:cNvPr>
              <p:cNvSpPr>
                <a:spLocks/>
              </p:cNvSpPr>
              <p:nvPr/>
            </p:nvSpPr>
            <p:spPr bwMode="gray">
              <a:xfrm>
                <a:off x="-1661" y="2230"/>
                <a:ext cx="12" cy="14"/>
              </a:xfrm>
              <a:custGeom>
                <a:avLst/>
                <a:gdLst>
                  <a:gd name="T0" fmla="*/ 12 w 12"/>
                  <a:gd name="T1" fmla="*/ 12 h 14"/>
                  <a:gd name="T2" fmla="*/ 12 w 12"/>
                  <a:gd name="T3" fmla="*/ 12 h 14"/>
                  <a:gd name="T4" fmla="*/ 12 w 12"/>
                  <a:gd name="T5" fmla="*/ 14 h 14"/>
                  <a:gd name="T6" fmla="*/ 12 w 12"/>
                  <a:gd name="T7" fmla="*/ 14 h 14"/>
                  <a:gd name="T8" fmla="*/ 12 w 12"/>
                  <a:gd name="T9" fmla="*/ 12 h 14"/>
                  <a:gd name="T10" fmla="*/ 12 w 12"/>
                  <a:gd name="T11" fmla="*/ 10 h 14"/>
                  <a:gd name="T12" fmla="*/ 0 w 12"/>
                  <a:gd name="T13" fmla="*/ 0 h 14"/>
                  <a:gd name="T14" fmla="*/ 0 w 12"/>
                  <a:gd name="T15" fmla="*/ 3 h 14"/>
                  <a:gd name="T16" fmla="*/ 0 w 12"/>
                  <a:gd name="T17" fmla="*/ 3 h 14"/>
                  <a:gd name="T18" fmla="*/ 0 w 12"/>
                  <a:gd name="T19" fmla="*/ 3 h 14"/>
                  <a:gd name="T20" fmla="*/ 0 w 12"/>
                  <a:gd name="T21" fmla="*/ 3 h 14"/>
                  <a:gd name="T22" fmla="*/ 0 w 12"/>
                  <a:gd name="T23" fmla="*/ 3 h 14"/>
                  <a:gd name="T24" fmla="*/ 3 w 12"/>
                  <a:gd name="T25" fmla="*/ 5 h 14"/>
                  <a:gd name="T26" fmla="*/ 5 w 12"/>
                  <a:gd name="T27" fmla="*/ 7 h 14"/>
                  <a:gd name="T28" fmla="*/ 5 w 12"/>
                  <a:gd name="T29" fmla="*/ 10 h 14"/>
                  <a:gd name="T30" fmla="*/ 7 w 12"/>
                  <a:gd name="T31" fmla="*/ 12 h 14"/>
                  <a:gd name="T32" fmla="*/ 10 w 12"/>
                  <a:gd name="T33" fmla="*/ 12 h 14"/>
                  <a:gd name="T34" fmla="*/ 10 w 12"/>
                  <a:gd name="T35" fmla="*/ 12 h 14"/>
                  <a:gd name="T36" fmla="*/ 10 w 12"/>
                  <a:gd name="T37" fmla="*/ 12 h 14"/>
                  <a:gd name="T38" fmla="*/ 10 w 12"/>
                  <a:gd name="T39" fmla="*/ 12 h 14"/>
                  <a:gd name="T40" fmla="*/ 10 w 12"/>
                  <a:gd name="T41" fmla="*/ 12 h 14"/>
                  <a:gd name="T42" fmla="*/ 10 w 12"/>
                  <a:gd name="T43" fmla="*/ 12 h 14"/>
                  <a:gd name="T44" fmla="*/ 12 w 12"/>
                  <a:gd name="T45"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14">
                    <a:moveTo>
                      <a:pt x="12" y="12"/>
                    </a:moveTo>
                    <a:lnTo>
                      <a:pt x="12" y="12"/>
                    </a:lnTo>
                    <a:lnTo>
                      <a:pt x="12" y="14"/>
                    </a:lnTo>
                    <a:lnTo>
                      <a:pt x="12" y="14"/>
                    </a:lnTo>
                    <a:lnTo>
                      <a:pt x="12" y="12"/>
                    </a:lnTo>
                    <a:lnTo>
                      <a:pt x="12" y="10"/>
                    </a:lnTo>
                    <a:lnTo>
                      <a:pt x="0" y="0"/>
                    </a:lnTo>
                    <a:lnTo>
                      <a:pt x="0" y="3"/>
                    </a:lnTo>
                    <a:lnTo>
                      <a:pt x="0" y="3"/>
                    </a:lnTo>
                    <a:lnTo>
                      <a:pt x="0" y="3"/>
                    </a:lnTo>
                    <a:lnTo>
                      <a:pt x="0" y="3"/>
                    </a:lnTo>
                    <a:lnTo>
                      <a:pt x="0" y="3"/>
                    </a:lnTo>
                    <a:lnTo>
                      <a:pt x="3" y="5"/>
                    </a:lnTo>
                    <a:lnTo>
                      <a:pt x="5" y="7"/>
                    </a:lnTo>
                    <a:lnTo>
                      <a:pt x="5" y="10"/>
                    </a:lnTo>
                    <a:lnTo>
                      <a:pt x="7" y="12"/>
                    </a:lnTo>
                    <a:lnTo>
                      <a:pt x="10" y="12"/>
                    </a:lnTo>
                    <a:lnTo>
                      <a:pt x="10" y="12"/>
                    </a:lnTo>
                    <a:lnTo>
                      <a:pt x="10" y="12"/>
                    </a:lnTo>
                    <a:lnTo>
                      <a:pt x="10" y="12"/>
                    </a:lnTo>
                    <a:lnTo>
                      <a:pt x="10" y="12"/>
                    </a:lnTo>
                    <a:lnTo>
                      <a:pt x="10" y="12"/>
                    </a:ln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97" name="Freeform 191">
                <a:extLst>
                  <a:ext uri="{FF2B5EF4-FFF2-40B4-BE49-F238E27FC236}">
                    <a16:creationId xmlns:a16="http://schemas.microsoft.com/office/drawing/2014/main" id="{EA5DB6CC-C19B-40FF-8578-023D61DD20EF}"/>
                  </a:ext>
                </a:extLst>
              </p:cNvPr>
              <p:cNvSpPr>
                <a:spLocks/>
              </p:cNvSpPr>
              <p:nvPr/>
            </p:nvSpPr>
            <p:spPr bwMode="gray">
              <a:xfrm>
                <a:off x="-1592" y="2336"/>
                <a:ext cx="14" cy="7"/>
              </a:xfrm>
              <a:custGeom>
                <a:avLst/>
                <a:gdLst>
                  <a:gd name="T0" fmla="*/ 2 w 14"/>
                  <a:gd name="T1" fmla="*/ 5 h 7"/>
                  <a:gd name="T2" fmla="*/ 2 w 14"/>
                  <a:gd name="T3" fmla="*/ 7 h 7"/>
                  <a:gd name="T4" fmla="*/ 4 w 14"/>
                  <a:gd name="T5" fmla="*/ 7 h 7"/>
                  <a:gd name="T6" fmla="*/ 12 w 14"/>
                  <a:gd name="T7" fmla="*/ 5 h 7"/>
                  <a:gd name="T8" fmla="*/ 14 w 14"/>
                  <a:gd name="T9" fmla="*/ 5 h 7"/>
                  <a:gd name="T10" fmla="*/ 14 w 14"/>
                  <a:gd name="T11" fmla="*/ 3 h 7"/>
                  <a:gd name="T12" fmla="*/ 14 w 14"/>
                  <a:gd name="T13" fmla="*/ 3 h 7"/>
                  <a:gd name="T14" fmla="*/ 14 w 14"/>
                  <a:gd name="T15" fmla="*/ 3 h 7"/>
                  <a:gd name="T16" fmla="*/ 14 w 14"/>
                  <a:gd name="T17" fmla="*/ 0 h 7"/>
                  <a:gd name="T18" fmla="*/ 14 w 14"/>
                  <a:gd name="T19" fmla="*/ 0 h 7"/>
                  <a:gd name="T20" fmla="*/ 14 w 14"/>
                  <a:gd name="T21" fmla="*/ 0 h 7"/>
                  <a:gd name="T22" fmla="*/ 14 w 14"/>
                  <a:gd name="T23" fmla="*/ 0 h 7"/>
                  <a:gd name="T24" fmla="*/ 14 w 14"/>
                  <a:gd name="T25" fmla="*/ 0 h 7"/>
                  <a:gd name="T26" fmla="*/ 14 w 14"/>
                  <a:gd name="T27" fmla="*/ 0 h 7"/>
                  <a:gd name="T28" fmla="*/ 12 w 14"/>
                  <a:gd name="T29" fmla="*/ 0 h 7"/>
                  <a:gd name="T30" fmla="*/ 12 w 14"/>
                  <a:gd name="T31" fmla="*/ 0 h 7"/>
                  <a:gd name="T32" fmla="*/ 12 w 14"/>
                  <a:gd name="T33" fmla="*/ 0 h 7"/>
                  <a:gd name="T34" fmla="*/ 12 w 14"/>
                  <a:gd name="T35" fmla="*/ 0 h 7"/>
                  <a:gd name="T36" fmla="*/ 9 w 14"/>
                  <a:gd name="T37" fmla="*/ 0 h 7"/>
                  <a:gd name="T38" fmla="*/ 7 w 14"/>
                  <a:gd name="T39" fmla="*/ 0 h 7"/>
                  <a:gd name="T40" fmla="*/ 4 w 14"/>
                  <a:gd name="T41" fmla="*/ 0 h 7"/>
                  <a:gd name="T42" fmla="*/ 2 w 14"/>
                  <a:gd name="T43" fmla="*/ 0 h 7"/>
                  <a:gd name="T44" fmla="*/ 2 w 14"/>
                  <a:gd name="T45" fmla="*/ 0 h 7"/>
                  <a:gd name="T46" fmla="*/ 0 w 14"/>
                  <a:gd name="T47" fmla="*/ 0 h 7"/>
                  <a:gd name="T48" fmla="*/ 0 w 14"/>
                  <a:gd name="T49" fmla="*/ 3 h 7"/>
                  <a:gd name="T50" fmla="*/ 2 w 14"/>
                  <a:gd name="T51" fmla="*/ 3 h 7"/>
                  <a:gd name="T52" fmla="*/ 2 w 14"/>
                  <a:gd name="T53" fmla="*/ 3 h 7"/>
                  <a:gd name="T54" fmla="*/ 2 w 14"/>
                  <a:gd name="T55" fmla="*/ 3 h 7"/>
                  <a:gd name="T56" fmla="*/ 2 w 14"/>
                  <a:gd name="T57" fmla="*/ 5 h 7"/>
                  <a:gd name="T58" fmla="*/ 2 w 14"/>
                  <a:gd name="T59" fmla="*/ 5 h 7"/>
                  <a:gd name="T60" fmla="*/ 2 w 14"/>
                  <a:gd name="T61"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7">
                    <a:moveTo>
                      <a:pt x="2" y="5"/>
                    </a:moveTo>
                    <a:lnTo>
                      <a:pt x="2" y="7"/>
                    </a:lnTo>
                    <a:lnTo>
                      <a:pt x="4" y="7"/>
                    </a:lnTo>
                    <a:lnTo>
                      <a:pt x="12" y="5"/>
                    </a:lnTo>
                    <a:lnTo>
                      <a:pt x="14" y="5"/>
                    </a:lnTo>
                    <a:lnTo>
                      <a:pt x="14" y="3"/>
                    </a:lnTo>
                    <a:lnTo>
                      <a:pt x="14" y="3"/>
                    </a:lnTo>
                    <a:lnTo>
                      <a:pt x="14" y="3"/>
                    </a:lnTo>
                    <a:lnTo>
                      <a:pt x="14" y="0"/>
                    </a:lnTo>
                    <a:lnTo>
                      <a:pt x="14" y="0"/>
                    </a:lnTo>
                    <a:lnTo>
                      <a:pt x="14" y="0"/>
                    </a:lnTo>
                    <a:lnTo>
                      <a:pt x="14" y="0"/>
                    </a:lnTo>
                    <a:lnTo>
                      <a:pt x="14" y="0"/>
                    </a:lnTo>
                    <a:lnTo>
                      <a:pt x="14" y="0"/>
                    </a:lnTo>
                    <a:lnTo>
                      <a:pt x="12" y="0"/>
                    </a:lnTo>
                    <a:lnTo>
                      <a:pt x="12" y="0"/>
                    </a:lnTo>
                    <a:lnTo>
                      <a:pt x="12" y="0"/>
                    </a:lnTo>
                    <a:lnTo>
                      <a:pt x="12" y="0"/>
                    </a:lnTo>
                    <a:lnTo>
                      <a:pt x="9" y="0"/>
                    </a:lnTo>
                    <a:lnTo>
                      <a:pt x="7" y="0"/>
                    </a:lnTo>
                    <a:lnTo>
                      <a:pt x="4" y="0"/>
                    </a:lnTo>
                    <a:lnTo>
                      <a:pt x="2" y="0"/>
                    </a:lnTo>
                    <a:lnTo>
                      <a:pt x="2" y="0"/>
                    </a:lnTo>
                    <a:lnTo>
                      <a:pt x="0" y="0"/>
                    </a:lnTo>
                    <a:lnTo>
                      <a:pt x="0" y="3"/>
                    </a:lnTo>
                    <a:lnTo>
                      <a:pt x="2" y="3"/>
                    </a:lnTo>
                    <a:lnTo>
                      <a:pt x="2" y="3"/>
                    </a:lnTo>
                    <a:lnTo>
                      <a:pt x="2" y="3"/>
                    </a:lnTo>
                    <a:lnTo>
                      <a:pt x="2" y="5"/>
                    </a:lnTo>
                    <a:lnTo>
                      <a:pt x="2"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98" name="Freeform 192">
                <a:extLst>
                  <a:ext uri="{FF2B5EF4-FFF2-40B4-BE49-F238E27FC236}">
                    <a16:creationId xmlns:a16="http://schemas.microsoft.com/office/drawing/2014/main" id="{528E4387-2590-40F4-B973-CC4A0AC100BE}"/>
                  </a:ext>
                </a:extLst>
              </p:cNvPr>
              <p:cNvSpPr>
                <a:spLocks/>
              </p:cNvSpPr>
              <p:nvPr/>
            </p:nvSpPr>
            <p:spPr bwMode="gray">
              <a:xfrm>
                <a:off x="-1538" y="2365"/>
                <a:ext cx="9" cy="4"/>
              </a:xfrm>
              <a:custGeom>
                <a:avLst/>
                <a:gdLst>
                  <a:gd name="T0" fmla="*/ 0 w 9"/>
                  <a:gd name="T1" fmla="*/ 2 h 4"/>
                  <a:gd name="T2" fmla="*/ 0 w 9"/>
                  <a:gd name="T3" fmla="*/ 4 h 4"/>
                  <a:gd name="T4" fmla="*/ 2 w 9"/>
                  <a:gd name="T5" fmla="*/ 4 h 4"/>
                  <a:gd name="T6" fmla="*/ 2 w 9"/>
                  <a:gd name="T7" fmla="*/ 4 h 4"/>
                  <a:gd name="T8" fmla="*/ 5 w 9"/>
                  <a:gd name="T9" fmla="*/ 4 h 4"/>
                  <a:gd name="T10" fmla="*/ 5 w 9"/>
                  <a:gd name="T11" fmla="*/ 4 h 4"/>
                  <a:gd name="T12" fmla="*/ 5 w 9"/>
                  <a:gd name="T13" fmla="*/ 4 h 4"/>
                  <a:gd name="T14" fmla="*/ 5 w 9"/>
                  <a:gd name="T15" fmla="*/ 4 h 4"/>
                  <a:gd name="T16" fmla="*/ 7 w 9"/>
                  <a:gd name="T17" fmla="*/ 4 h 4"/>
                  <a:gd name="T18" fmla="*/ 7 w 9"/>
                  <a:gd name="T19" fmla="*/ 4 h 4"/>
                  <a:gd name="T20" fmla="*/ 9 w 9"/>
                  <a:gd name="T21" fmla="*/ 2 h 4"/>
                  <a:gd name="T22" fmla="*/ 9 w 9"/>
                  <a:gd name="T23" fmla="*/ 0 h 4"/>
                  <a:gd name="T24" fmla="*/ 7 w 9"/>
                  <a:gd name="T25" fmla="*/ 0 h 4"/>
                  <a:gd name="T26" fmla="*/ 5 w 9"/>
                  <a:gd name="T27" fmla="*/ 0 h 4"/>
                  <a:gd name="T28" fmla="*/ 2 w 9"/>
                  <a:gd name="T29" fmla="*/ 0 h 4"/>
                  <a:gd name="T30" fmla="*/ 0 w 9"/>
                  <a:gd name="T31" fmla="*/ 0 h 4"/>
                  <a:gd name="T32" fmla="*/ 0 w 9"/>
                  <a:gd name="T33" fmla="*/ 2 h 4"/>
                  <a:gd name="T34" fmla="*/ 0 w 9"/>
                  <a:gd name="T35" fmla="*/ 2 h 4"/>
                  <a:gd name="T36" fmla="*/ 0 w 9"/>
                  <a:gd name="T37" fmla="*/ 2 h 4"/>
                  <a:gd name="T38" fmla="*/ 0 w 9"/>
                  <a:gd name="T39" fmla="*/ 2 h 4"/>
                  <a:gd name="T40" fmla="*/ 0 w 9"/>
                  <a:gd name="T41" fmla="*/ 2 h 4"/>
                  <a:gd name="T42" fmla="*/ 0 w 9"/>
                  <a:gd name="T4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 h="4">
                    <a:moveTo>
                      <a:pt x="0" y="2"/>
                    </a:moveTo>
                    <a:lnTo>
                      <a:pt x="0" y="4"/>
                    </a:lnTo>
                    <a:lnTo>
                      <a:pt x="2" y="4"/>
                    </a:lnTo>
                    <a:lnTo>
                      <a:pt x="2" y="4"/>
                    </a:lnTo>
                    <a:lnTo>
                      <a:pt x="5" y="4"/>
                    </a:lnTo>
                    <a:lnTo>
                      <a:pt x="5" y="4"/>
                    </a:lnTo>
                    <a:lnTo>
                      <a:pt x="5" y="4"/>
                    </a:lnTo>
                    <a:lnTo>
                      <a:pt x="5" y="4"/>
                    </a:lnTo>
                    <a:lnTo>
                      <a:pt x="7" y="4"/>
                    </a:lnTo>
                    <a:lnTo>
                      <a:pt x="7" y="4"/>
                    </a:lnTo>
                    <a:lnTo>
                      <a:pt x="9" y="2"/>
                    </a:lnTo>
                    <a:lnTo>
                      <a:pt x="9" y="0"/>
                    </a:lnTo>
                    <a:lnTo>
                      <a:pt x="7" y="0"/>
                    </a:lnTo>
                    <a:lnTo>
                      <a:pt x="5" y="0"/>
                    </a:lnTo>
                    <a:lnTo>
                      <a:pt x="2" y="0"/>
                    </a:lnTo>
                    <a:lnTo>
                      <a:pt x="0" y="0"/>
                    </a:lnTo>
                    <a:lnTo>
                      <a:pt x="0" y="2"/>
                    </a:lnTo>
                    <a:lnTo>
                      <a:pt x="0" y="2"/>
                    </a:lnTo>
                    <a:lnTo>
                      <a:pt x="0" y="2"/>
                    </a:lnTo>
                    <a:lnTo>
                      <a:pt x="0" y="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99" name="Freeform 193">
                <a:extLst>
                  <a:ext uri="{FF2B5EF4-FFF2-40B4-BE49-F238E27FC236}">
                    <a16:creationId xmlns:a16="http://schemas.microsoft.com/office/drawing/2014/main" id="{D1F68D18-9D92-469C-A3A5-23B6CA03BFFD}"/>
                  </a:ext>
                </a:extLst>
              </p:cNvPr>
              <p:cNvSpPr>
                <a:spLocks/>
              </p:cNvSpPr>
              <p:nvPr/>
            </p:nvSpPr>
            <p:spPr bwMode="gray">
              <a:xfrm>
                <a:off x="-1550" y="2346"/>
                <a:ext cx="40" cy="7"/>
              </a:xfrm>
              <a:custGeom>
                <a:avLst/>
                <a:gdLst>
                  <a:gd name="T0" fmla="*/ 26 w 40"/>
                  <a:gd name="T1" fmla="*/ 4 h 7"/>
                  <a:gd name="T2" fmla="*/ 33 w 40"/>
                  <a:gd name="T3" fmla="*/ 7 h 7"/>
                  <a:gd name="T4" fmla="*/ 36 w 40"/>
                  <a:gd name="T5" fmla="*/ 4 h 7"/>
                  <a:gd name="T6" fmla="*/ 38 w 40"/>
                  <a:gd name="T7" fmla="*/ 4 h 7"/>
                  <a:gd name="T8" fmla="*/ 40 w 40"/>
                  <a:gd name="T9" fmla="*/ 7 h 7"/>
                  <a:gd name="T10" fmla="*/ 40 w 40"/>
                  <a:gd name="T11" fmla="*/ 4 h 7"/>
                  <a:gd name="T12" fmla="*/ 38 w 40"/>
                  <a:gd name="T13" fmla="*/ 4 h 7"/>
                  <a:gd name="T14" fmla="*/ 36 w 40"/>
                  <a:gd name="T15" fmla="*/ 2 h 7"/>
                  <a:gd name="T16" fmla="*/ 36 w 40"/>
                  <a:gd name="T17" fmla="*/ 2 h 7"/>
                  <a:gd name="T18" fmla="*/ 33 w 40"/>
                  <a:gd name="T19" fmla="*/ 2 h 7"/>
                  <a:gd name="T20" fmla="*/ 29 w 40"/>
                  <a:gd name="T21" fmla="*/ 0 h 7"/>
                  <a:gd name="T22" fmla="*/ 19 w 40"/>
                  <a:gd name="T23" fmla="*/ 0 h 7"/>
                  <a:gd name="T24" fmla="*/ 17 w 40"/>
                  <a:gd name="T25" fmla="*/ 2 h 7"/>
                  <a:gd name="T26" fmla="*/ 17 w 40"/>
                  <a:gd name="T27" fmla="*/ 2 h 7"/>
                  <a:gd name="T28" fmla="*/ 12 w 40"/>
                  <a:gd name="T29" fmla="*/ 2 h 7"/>
                  <a:gd name="T30" fmla="*/ 10 w 40"/>
                  <a:gd name="T31" fmla="*/ 0 h 7"/>
                  <a:gd name="T32" fmla="*/ 7 w 40"/>
                  <a:gd name="T33" fmla="*/ 0 h 7"/>
                  <a:gd name="T34" fmla="*/ 5 w 40"/>
                  <a:gd name="T35" fmla="*/ 0 h 7"/>
                  <a:gd name="T36" fmla="*/ 5 w 40"/>
                  <a:gd name="T37" fmla="*/ 0 h 7"/>
                  <a:gd name="T38" fmla="*/ 3 w 40"/>
                  <a:gd name="T39" fmla="*/ 0 h 7"/>
                  <a:gd name="T40" fmla="*/ 0 w 40"/>
                  <a:gd name="T41" fmla="*/ 0 h 7"/>
                  <a:gd name="T42" fmla="*/ 0 w 40"/>
                  <a:gd name="T43" fmla="*/ 0 h 7"/>
                  <a:gd name="T44" fmla="*/ 0 w 40"/>
                  <a:gd name="T45" fmla="*/ 0 h 7"/>
                  <a:gd name="T46" fmla="*/ 3 w 40"/>
                  <a:gd name="T47" fmla="*/ 0 h 7"/>
                  <a:gd name="T48" fmla="*/ 5 w 40"/>
                  <a:gd name="T49" fmla="*/ 2 h 7"/>
                  <a:gd name="T50" fmla="*/ 5 w 40"/>
                  <a:gd name="T51" fmla="*/ 2 h 7"/>
                  <a:gd name="T52" fmla="*/ 0 w 40"/>
                  <a:gd name="T53" fmla="*/ 4 h 7"/>
                  <a:gd name="T54" fmla="*/ 0 w 40"/>
                  <a:gd name="T55" fmla="*/ 4 h 7"/>
                  <a:gd name="T56" fmla="*/ 3 w 40"/>
                  <a:gd name="T57" fmla="*/ 4 h 7"/>
                  <a:gd name="T58" fmla="*/ 3 w 40"/>
                  <a:gd name="T59" fmla="*/ 4 h 7"/>
                  <a:gd name="T60" fmla="*/ 3 w 40"/>
                  <a:gd name="T61" fmla="*/ 4 h 7"/>
                  <a:gd name="T62" fmla="*/ 7 w 40"/>
                  <a:gd name="T63" fmla="*/ 7 h 7"/>
                  <a:gd name="T64" fmla="*/ 14 w 40"/>
                  <a:gd name="T65" fmla="*/ 7 h 7"/>
                  <a:gd name="T66" fmla="*/ 19 w 40"/>
                  <a:gd name="T67" fmla="*/ 7 h 7"/>
                  <a:gd name="T68" fmla="*/ 24 w 40"/>
                  <a:gd name="T69" fmla="*/ 4 h 7"/>
                  <a:gd name="T70" fmla="*/ 26 w 40"/>
                  <a:gd name="T7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 h="7">
                    <a:moveTo>
                      <a:pt x="26" y="4"/>
                    </a:moveTo>
                    <a:lnTo>
                      <a:pt x="33" y="7"/>
                    </a:lnTo>
                    <a:lnTo>
                      <a:pt x="36" y="4"/>
                    </a:lnTo>
                    <a:lnTo>
                      <a:pt x="38" y="4"/>
                    </a:lnTo>
                    <a:lnTo>
                      <a:pt x="40" y="7"/>
                    </a:lnTo>
                    <a:lnTo>
                      <a:pt x="40" y="4"/>
                    </a:lnTo>
                    <a:lnTo>
                      <a:pt x="38" y="4"/>
                    </a:lnTo>
                    <a:lnTo>
                      <a:pt x="36" y="2"/>
                    </a:lnTo>
                    <a:lnTo>
                      <a:pt x="36" y="2"/>
                    </a:lnTo>
                    <a:lnTo>
                      <a:pt x="33" y="2"/>
                    </a:lnTo>
                    <a:lnTo>
                      <a:pt x="29" y="0"/>
                    </a:lnTo>
                    <a:lnTo>
                      <a:pt x="19" y="0"/>
                    </a:lnTo>
                    <a:lnTo>
                      <a:pt x="17" y="2"/>
                    </a:lnTo>
                    <a:lnTo>
                      <a:pt x="17" y="2"/>
                    </a:lnTo>
                    <a:lnTo>
                      <a:pt x="12" y="2"/>
                    </a:lnTo>
                    <a:lnTo>
                      <a:pt x="10" y="0"/>
                    </a:lnTo>
                    <a:lnTo>
                      <a:pt x="7" y="0"/>
                    </a:lnTo>
                    <a:lnTo>
                      <a:pt x="5" y="0"/>
                    </a:lnTo>
                    <a:lnTo>
                      <a:pt x="5" y="0"/>
                    </a:lnTo>
                    <a:lnTo>
                      <a:pt x="3" y="0"/>
                    </a:lnTo>
                    <a:lnTo>
                      <a:pt x="0" y="0"/>
                    </a:lnTo>
                    <a:lnTo>
                      <a:pt x="0" y="0"/>
                    </a:lnTo>
                    <a:lnTo>
                      <a:pt x="0" y="0"/>
                    </a:lnTo>
                    <a:lnTo>
                      <a:pt x="3" y="0"/>
                    </a:lnTo>
                    <a:lnTo>
                      <a:pt x="5" y="2"/>
                    </a:lnTo>
                    <a:lnTo>
                      <a:pt x="5" y="2"/>
                    </a:lnTo>
                    <a:lnTo>
                      <a:pt x="0" y="4"/>
                    </a:lnTo>
                    <a:lnTo>
                      <a:pt x="0" y="4"/>
                    </a:lnTo>
                    <a:lnTo>
                      <a:pt x="3" y="4"/>
                    </a:lnTo>
                    <a:lnTo>
                      <a:pt x="3" y="4"/>
                    </a:lnTo>
                    <a:lnTo>
                      <a:pt x="3" y="4"/>
                    </a:lnTo>
                    <a:lnTo>
                      <a:pt x="7" y="7"/>
                    </a:lnTo>
                    <a:lnTo>
                      <a:pt x="14" y="7"/>
                    </a:lnTo>
                    <a:lnTo>
                      <a:pt x="19" y="7"/>
                    </a:lnTo>
                    <a:lnTo>
                      <a:pt x="24" y="4"/>
                    </a:lnTo>
                    <a:lnTo>
                      <a:pt x="2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00" name="Rectangle 194">
                <a:extLst>
                  <a:ext uri="{FF2B5EF4-FFF2-40B4-BE49-F238E27FC236}">
                    <a16:creationId xmlns:a16="http://schemas.microsoft.com/office/drawing/2014/main" id="{A381831E-7BDC-4215-AEF8-89B96B9B7701}"/>
                  </a:ext>
                </a:extLst>
              </p:cNvPr>
              <p:cNvSpPr>
                <a:spLocks noChangeArrowheads="1"/>
              </p:cNvSpPr>
              <p:nvPr/>
            </p:nvSpPr>
            <p:spPr bwMode="gray">
              <a:xfrm>
                <a:off x="-1493" y="234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01" name="Freeform 195">
                <a:extLst>
                  <a:ext uri="{FF2B5EF4-FFF2-40B4-BE49-F238E27FC236}">
                    <a16:creationId xmlns:a16="http://schemas.microsoft.com/office/drawing/2014/main" id="{9EEB1892-F8F2-4A80-94B1-5FDDDC888099}"/>
                  </a:ext>
                </a:extLst>
              </p:cNvPr>
              <p:cNvSpPr>
                <a:spLocks/>
              </p:cNvSpPr>
              <p:nvPr/>
            </p:nvSpPr>
            <p:spPr bwMode="gray">
              <a:xfrm>
                <a:off x="-1649" y="2259"/>
                <a:ext cx="12" cy="11"/>
              </a:xfrm>
              <a:custGeom>
                <a:avLst/>
                <a:gdLst>
                  <a:gd name="T0" fmla="*/ 0 w 12"/>
                  <a:gd name="T1" fmla="*/ 2 h 11"/>
                  <a:gd name="T2" fmla="*/ 2 w 12"/>
                  <a:gd name="T3" fmla="*/ 4 h 11"/>
                  <a:gd name="T4" fmla="*/ 2 w 12"/>
                  <a:gd name="T5" fmla="*/ 4 h 11"/>
                  <a:gd name="T6" fmla="*/ 5 w 12"/>
                  <a:gd name="T7" fmla="*/ 7 h 11"/>
                  <a:gd name="T8" fmla="*/ 7 w 12"/>
                  <a:gd name="T9" fmla="*/ 9 h 11"/>
                  <a:gd name="T10" fmla="*/ 10 w 12"/>
                  <a:gd name="T11" fmla="*/ 9 h 11"/>
                  <a:gd name="T12" fmla="*/ 12 w 12"/>
                  <a:gd name="T13" fmla="*/ 11 h 11"/>
                  <a:gd name="T14" fmla="*/ 10 w 12"/>
                  <a:gd name="T15" fmla="*/ 9 h 11"/>
                  <a:gd name="T16" fmla="*/ 7 w 12"/>
                  <a:gd name="T17" fmla="*/ 7 h 11"/>
                  <a:gd name="T18" fmla="*/ 7 w 12"/>
                  <a:gd name="T19" fmla="*/ 7 h 11"/>
                  <a:gd name="T20" fmla="*/ 2 w 12"/>
                  <a:gd name="T21" fmla="*/ 2 h 11"/>
                  <a:gd name="T22" fmla="*/ 2 w 12"/>
                  <a:gd name="T23" fmla="*/ 2 h 11"/>
                  <a:gd name="T24" fmla="*/ 0 w 12"/>
                  <a:gd name="T25" fmla="*/ 0 h 11"/>
                  <a:gd name="T26" fmla="*/ 0 w 12"/>
                  <a:gd name="T27" fmla="*/ 0 h 11"/>
                  <a:gd name="T28" fmla="*/ 0 w 12"/>
                  <a:gd name="T29" fmla="*/ 2 h 11"/>
                  <a:gd name="T30" fmla="*/ 0 w 12"/>
                  <a:gd name="T31"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1">
                    <a:moveTo>
                      <a:pt x="0" y="2"/>
                    </a:moveTo>
                    <a:lnTo>
                      <a:pt x="2" y="4"/>
                    </a:lnTo>
                    <a:lnTo>
                      <a:pt x="2" y="4"/>
                    </a:lnTo>
                    <a:lnTo>
                      <a:pt x="5" y="7"/>
                    </a:lnTo>
                    <a:lnTo>
                      <a:pt x="7" y="9"/>
                    </a:lnTo>
                    <a:lnTo>
                      <a:pt x="10" y="9"/>
                    </a:lnTo>
                    <a:lnTo>
                      <a:pt x="12" y="11"/>
                    </a:lnTo>
                    <a:lnTo>
                      <a:pt x="10" y="9"/>
                    </a:lnTo>
                    <a:lnTo>
                      <a:pt x="7" y="7"/>
                    </a:lnTo>
                    <a:lnTo>
                      <a:pt x="7" y="7"/>
                    </a:lnTo>
                    <a:lnTo>
                      <a:pt x="2" y="2"/>
                    </a:lnTo>
                    <a:lnTo>
                      <a:pt x="2" y="2"/>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02" name="Freeform 196">
                <a:extLst>
                  <a:ext uri="{FF2B5EF4-FFF2-40B4-BE49-F238E27FC236}">
                    <a16:creationId xmlns:a16="http://schemas.microsoft.com/office/drawing/2014/main" id="{33C64DDC-6590-4BC2-A698-843CD7671D8D}"/>
                  </a:ext>
                </a:extLst>
              </p:cNvPr>
              <p:cNvSpPr>
                <a:spLocks/>
              </p:cNvSpPr>
              <p:nvPr/>
            </p:nvSpPr>
            <p:spPr bwMode="gray">
              <a:xfrm>
                <a:off x="-1623" y="2277"/>
                <a:ext cx="10" cy="8"/>
              </a:xfrm>
              <a:custGeom>
                <a:avLst/>
                <a:gdLst>
                  <a:gd name="T0" fmla="*/ 0 w 10"/>
                  <a:gd name="T1" fmla="*/ 3 h 8"/>
                  <a:gd name="T2" fmla="*/ 0 w 10"/>
                  <a:gd name="T3" fmla="*/ 3 h 8"/>
                  <a:gd name="T4" fmla="*/ 5 w 10"/>
                  <a:gd name="T5" fmla="*/ 5 h 8"/>
                  <a:gd name="T6" fmla="*/ 5 w 10"/>
                  <a:gd name="T7" fmla="*/ 5 h 8"/>
                  <a:gd name="T8" fmla="*/ 5 w 10"/>
                  <a:gd name="T9" fmla="*/ 5 h 8"/>
                  <a:gd name="T10" fmla="*/ 10 w 10"/>
                  <a:gd name="T11" fmla="*/ 8 h 8"/>
                  <a:gd name="T12" fmla="*/ 5 w 10"/>
                  <a:gd name="T13" fmla="*/ 5 h 8"/>
                  <a:gd name="T14" fmla="*/ 5 w 10"/>
                  <a:gd name="T15" fmla="*/ 3 h 8"/>
                  <a:gd name="T16" fmla="*/ 5 w 10"/>
                  <a:gd name="T17" fmla="*/ 3 h 8"/>
                  <a:gd name="T18" fmla="*/ 2 w 10"/>
                  <a:gd name="T19" fmla="*/ 3 h 8"/>
                  <a:gd name="T20" fmla="*/ 0 w 10"/>
                  <a:gd name="T21" fmla="*/ 0 h 8"/>
                  <a:gd name="T22" fmla="*/ 0 w 10"/>
                  <a:gd name="T23" fmla="*/ 0 h 8"/>
                  <a:gd name="T24" fmla="*/ 0 w 10"/>
                  <a:gd name="T25" fmla="*/ 0 h 8"/>
                  <a:gd name="T26" fmla="*/ 0 w 10"/>
                  <a:gd name="T2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8">
                    <a:moveTo>
                      <a:pt x="0" y="3"/>
                    </a:moveTo>
                    <a:lnTo>
                      <a:pt x="0" y="3"/>
                    </a:lnTo>
                    <a:lnTo>
                      <a:pt x="5" y="5"/>
                    </a:lnTo>
                    <a:lnTo>
                      <a:pt x="5" y="5"/>
                    </a:lnTo>
                    <a:lnTo>
                      <a:pt x="5" y="5"/>
                    </a:lnTo>
                    <a:lnTo>
                      <a:pt x="10" y="8"/>
                    </a:lnTo>
                    <a:lnTo>
                      <a:pt x="5" y="5"/>
                    </a:lnTo>
                    <a:lnTo>
                      <a:pt x="5" y="3"/>
                    </a:lnTo>
                    <a:lnTo>
                      <a:pt x="5" y="3"/>
                    </a:lnTo>
                    <a:lnTo>
                      <a:pt x="2" y="3"/>
                    </a:lnTo>
                    <a:lnTo>
                      <a:pt x="0" y="0"/>
                    </a:lnTo>
                    <a:lnTo>
                      <a:pt x="0" y="0"/>
                    </a:lnTo>
                    <a:lnTo>
                      <a:pt x="0"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03" name="Freeform 197">
                <a:extLst>
                  <a:ext uri="{FF2B5EF4-FFF2-40B4-BE49-F238E27FC236}">
                    <a16:creationId xmlns:a16="http://schemas.microsoft.com/office/drawing/2014/main" id="{C4759BCE-462C-4C31-91BA-B0F004A1F51B}"/>
                  </a:ext>
                </a:extLst>
              </p:cNvPr>
              <p:cNvSpPr>
                <a:spLocks/>
              </p:cNvSpPr>
              <p:nvPr/>
            </p:nvSpPr>
            <p:spPr bwMode="gray">
              <a:xfrm>
                <a:off x="-1720" y="2181"/>
                <a:ext cx="3" cy="7"/>
              </a:xfrm>
              <a:custGeom>
                <a:avLst/>
                <a:gdLst>
                  <a:gd name="T0" fmla="*/ 3 w 3"/>
                  <a:gd name="T1" fmla="*/ 2 h 7"/>
                  <a:gd name="T2" fmla="*/ 3 w 3"/>
                  <a:gd name="T3" fmla="*/ 2 h 7"/>
                  <a:gd name="T4" fmla="*/ 3 w 3"/>
                  <a:gd name="T5" fmla="*/ 2 h 7"/>
                  <a:gd name="T6" fmla="*/ 3 w 3"/>
                  <a:gd name="T7" fmla="*/ 2 h 7"/>
                  <a:gd name="T8" fmla="*/ 3 w 3"/>
                  <a:gd name="T9" fmla="*/ 2 h 7"/>
                  <a:gd name="T10" fmla="*/ 3 w 3"/>
                  <a:gd name="T11" fmla="*/ 2 h 7"/>
                  <a:gd name="T12" fmla="*/ 3 w 3"/>
                  <a:gd name="T13" fmla="*/ 0 h 7"/>
                  <a:gd name="T14" fmla="*/ 3 w 3"/>
                  <a:gd name="T15" fmla="*/ 0 h 7"/>
                  <a:gd name="T16" fmla="*/ 3 w 3"/>
                  <a:gd name="T17" fmla="*/ 0 h 7"/>
                  <a:gd name="T18" fmla="*/ 0 w 3"/>
                  <a:gd name="T19" fmla="*/ 2 h 7"/>
                  <a:gd name="T20" fmla="*/ 0 w 3"/>
                  <a:gd name="T21" fmla="*/ 2 h 7"/>
                  <a:gd name="T22" fmla="*/ 0 w 3"/>
                  <a:gd name="T23" fmla="*/ 5 h 7"/>
                  <a:gd name="T24" fmla="*/ 0 w 3"/>
                  <a:gd name="T25" fmla="*/ 5 h 7"/>
                  <a:gd name="T26" fmla="*/ 0 w 3"/>
                  <a:gd name="T27" fmla="*/ 5 h 7"/>
                  <a:gd name="T28" fmla="*/ 3 w 3"/>
                  <a:gd name="T29" fmla="*/ 5 h 7"/>
                  <a:gd name="T30" fmla="*/ 3 w 3"/>
                  <a:gd name="T31" fmla="*/ 7 h 7"/>
                  <a:gd name="T32" fmla="*/ 3 w 3"/>
                  <a:gd name="T33" fmla="*/ 7 h 7"/>
                  <a:gd name="T34" fmla="*/ 3 w 3"/>
                  <a:gd name="T35" fmla="*/ 5 h 7"/>
                  <a:gd name="T36" fmla="*/ 3 w 3"/>
                  <a:gd name="T37" fmla="*/ 5 h 7"/>
                  <a:gd name="T38" fmla="*/ 3 w 3"/>
                  <a:gd name="T39" fmla="*/ 5 h 7"/>
                  <a:gd name="T40" fmla="*/ 3 w 3"/>
                  <a:gd name="T41"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 h="7">
                    <a:moveTo>
                      <a:pt x="3" y="2"/>
                    </a:moveTo>
                    <a:lnTo>
                      <a:pt x="3" y="2"/>
                    </a:lnTo>
                    <a:lnTo>
                      <a:pt x="3" y="2"/>
                    </a:lnTo>
                    <a:lnTo>
                      <a:pt x="3" y="2"/>
                    </a:lnTo>
                    <a:lnTo>
                      <a:pt x="3" y="2"/>
                    </a:lnTo>
                    <a:lnTo>
                      <a:pt x="3" y="2"/>
                    </a:lnTo>
                    <a:lnTo>
                      <a:pt x="3" y="0"/>
                    </a:lnTo>
                    <a:lnTo>
                      <a:pt x="3" y="0"/>
                    </a:lnTo>
                    <a:lnTo>
                      <a:pt x="3" y="0"/>
                    </a:lnTo>
                    <a:lnTo>
                      <a:pt x="0" y="2"/>
                    </a:lnTo>
                    <a:lnTo>
                      <a:pt x="0" y="2"/>
                    </a:lnTo>
                    <a:lnTo>
                      <a:pt x="0" y="5"/>
                    </a:lnTo>
                    <a:lnTo>
                      <a:pt x="0" y="5"/>
                    </a:lnTo>
                    <a:lnTo>
                      <a:pt x="0" y="5"/>
                    </a:lnTo>
                    <a:lnTo>
                      <a:pt x="3" y="5"/>
                    </a:lnTo>
                    <a:lnTo>
                      <a:pt x="3" y="7"/>
                    </a:lnTo>
                    <a:lnTo>
                      <a:pt x="3" y="7"/>
                    </a:lnTo>
                    <a:lnTo>
                      <a:pt x="3" y="5"/>
                    </a:lnTo>
                    <a:lnTo>
                      <a:pt x="3" y="5"/>
                    </a:lnTo>
                    <a:lnTo>
                      <a:pt x="3" y="5"/>
                    </a:lnTo>
                    <a:lnTo>
                      <a:pt x="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83" name="Freeform 198">
                <a:extLst>
                  <a:ext uri="{FF2B5EF4-FFF2-40B4-BE49-F238E27FC236}">
                    <a16:creationId xmlns:a16="http://schemas.microsoft.com/office/drawing/2014/main" id="{B642D624-2D7B-4CE1-BCA4-6C0F628A3BC9}"/>
                  </a:ext>
                </a:extLst>
              </p:cNvPr>
              <p:cNvSpPr>
                <a:spLocks/>
              </p:cNvSpPr>
              <p:nvPr/>
            </p:nvSpPr>
            <p:spPr bwMode="gray">
              <a:xfrm>
                <a:off x="-1569" y="2322"/>
                <a:ext cx="59" cy="10"/>
              </a:xfrm>
              <a:custGeom>
                <a:avLst/>
                <a:gdLst>
                  <a:gd name="T0" fmla="*/ 5 w 59"/>
                  <a:gd name="T1" fmla="*/ 5 h 10"/>
                  <a:gd name="T2" fmla="*/ 5 w 59"/>
                  <a:gd name="T3" fmla="*/ 5 h 10"/>
                  <a:gd name="T4" fmla="*/ 7 w 59"/>
                  <a:gd name="T5" fmla="*/ 5 h 10"/>
                  <a:gd name="T6" fmla="*/ 12 w 59"/>
                  <a:gd name="T7" fmla="*/ 7 h 10"/>
                  <a:gd name="T8" fmla="*/ 22 w 59"/>
                  <a:gd name="T9" fmla="*/ 10 h 10"/>
                  <a:gd name="T10" fmla="*/ 22 w 59"/>
                  <a:gd name="T11" fmla="*/ 10 h 10"/>
                  <a:gd name="T12" fmla="*/ 59 w 59"/>
                  <a:gd name="T13" fmla="*/ 10 h 10"/>
                  <a:gd name="T14" fmla="*/ 55 w 59"/>
                  <a:gd name="T15" fmla="*/ 10 h 10"/>
                  <a:gd name="T16" fmla="*/ 52 w 59"/>
                  <a:gd name="T17" fmla="*/ 7 h 10"/>
                  <a:gd name="T18" fmla="*/ 45 w 59"/>
                  <a:gd name="T19" fmla="*/ 10 h 10"/>
                  <a:gd name="T20" fmla="*/ 43 w 59"/>
                  <a:gd name="T21" fmla="*/ 7 h 10"/>
                  <a:gd name="T22" fmla="*/ 38 w 59"/>
                  <a:gd name="T23" fmla="*/ 7 h 10"/>
                  <a:gd name="T24" fmla="*/ 36 w 59"/>
                  <a:gd name="T25" fmla="*/ 7 h 10"/>
                  <a:gd name="T26" fmla="*/ 36 w 59"/>
                  <a:gd name="T27" fmla="*/ 5 h 10"/>
                  <a:gd name="T28" fmla="*/ 33 w 59"/>
                  <a:gd name="T29" fmla="*/ 7 h 10"/>
                  <a:gd name="T30" fmla="*/ 26 w 59"/>
                  <a:gd name="T31" fmla="*/ 7 h 10"/>
                  <a:gd name="T32" fmla="*/ 26 w 59"/>
                  <a:gd name="T33" fmla="*/ 5 h 10"/>
                  <a:gd name="T34" fmla="*/ 24 w 59"/>
                  <a:gd name="T35" fmla="*/ 5 h 10"/>
                  <a:gd name="T36" fmla="*/ 22 w 59"/>
                  <a:gd name="T37" fmla="*/ 5 h 10"/>
                  <a:gd name="T38" fmla="*/ 22 w 59"/>
                  <a:gd name="T39" fmla="*/ 5 h 10"/>
                  <a:gd name="T40" fmla="*/ 22 w 59"/>
                  <a:gd name="T41" fmla="*/ 5 h 10"/>
                  <a:gd name="T42" fmla="*/ 22 w 59"/>
                  <a:gd name="T43" fmla="*/ 3 h 10"/>
                  <a:gd name="T44" fmla="*/ 22 w 59"/>
                  <a:gd name="T45" fmla="*/ 3 h 10"/>
                  <a:gd name="T46" fmla="*/ 22 w 59"/>
                  <a:gd name="T47" fmla="*/ 3 h 10"/>
                  <a:gd name="T48" fmla="*/ 22 w 59"/>
                  <a:gd name="T49" fmla="*/ 3 h 10"/>
                  <a:gd name="T50" fmla="*/ 22 w 59"/>
                  <a:gd name="T51" fmla="*/ 0 h 10"/>
                  <a:gd name="T52" fmla="*/ 19 w 59"/>
                  <a:gd name="T53" fmla="*/ 0 h 10"/>
                  <a:gd name="T54" fmla="*/ 17 w 59"/>
                  <a:gd name="T55" fmla="*/ 0 h 10"/>
                  <a:gd name="T56" fmla="*/ 17 w 59"/>
                  <a:gd name="T57" fmla="*/ 0 h 10"/>
                  <a:gd name="T58" fmla="*/ 17 w 59"/>
                  <a:gd name="T59" fmla="*/ 0 h 10"/>
                  <a:gd name="T60" fmla="*/ 14 w 59"/>
                  <a:gd name="T61" fmla="*/ 0 h 10"/>
                  <a:gd name="T62" fmla="*/ 14 w 59"/>
                  <a:gd name="T63" fmla="*/ 0 h 10"/>
                  <a:gd name="T64" fmla="*/ 14 w 59"/>
                  <a:gd name="T65" fmla="*/ 0 h 10"/>
                  <a:gd name="T66" fmla="*/ 12 w 59"/>
                  <a:gd name="T67" fmla="*/ 0 h 10"/>
                  <a:gd name="T68" fmla="*/ 10 w 59"/>
                  <a:gd name="T69" fmla="*/ 0 h 10"/>
                  <a:gd name="T70" fmla="*/ 12 w 59"/>
                  <a:gd name="T71" fmla="*/ 0 h 10"/>
                  <a:gd name="T72" fmla="*/ 12 w 59"/>
                  <a:gd name="T73" fmla="*/ 3 h 10"/>
                  <a:gd name="T74" fmla="*/ 14 w 59"/>
                  <a:gd name="T75" fmla="*/ 3 h 10"/>
                  <a:gd name="T76" fmla="*/ 12 w 59"/>
                  <a:gd name="T77" fmla="*/ 3 h 10"/>
                  <a:gd name="T78" fmla="*/ 12 w 59"/>
                  <a:gd name="T79" fmla="*/ 3 h 10"/>
                  <a:gd name="T80" fmla="*/ 10 w 59"/>
                  <a:gd name="T81" fmla="*/ 0 h 10"/>
                  <a:gd name="T82" fmla="*/ 5 w 59"/>
                  <a:gd name="T83" fmla="*/ 3 h 10"/>
                  <a:gd name="T84" fmla="*/ 5 w 59"/>
                  <a:gd name="T85" fmla="*/ 0 h 10"/>
                  <a:gd name="T86" fmla="*/ 5 w 59"/>
                  <a:gd name="T87" fmla="*/ 3 h 10"/>
                  <a:gd name="T88" fmla="*/ 5 w 59"/>
                  <a:gd name="T89" fmla="*/ 3 h 10"/>
                  <a:gd name="T90" fmla="*/ 5 w 59"/>
                  <a:gd name="T91" fmla="*/ 3 h 10"/>
                  <a:gd name="T92" fmla="*/ 3 w 59"/>
                  <a:gd name="T93" fmla="*/ 3 h 10"/>
                  <a:gd name="T94" fmla="*/ 3 w 59"/>
                  <a:gd name="T95" fmla="*/ 3 h 10"/>
                  <a:gd name="T96" fmla="*/ 0 w 59"/>
                  <a:gd name="T97" fmla="*/ 3 h 10"/>
                  <a:gd name="T98" fmla="*/ 0 w 59"/>
                  <a:gd name="T99" fmla="*/ 3 h 10"/>
                  <a:gd name="T100" fmla="*/ 0 w 59"/>
                  <a:gd name="T101" fmla="*/ 3 h 10"/>
                  <a:gd name="T102" fmla="*/ 0 w 59"/>
                  <a:gd name="T103" fmla="*/ 3 h 10"/>
                  <a:gd name="T104" fmla="*/ 3 w 59"/>
                  <a:gd name="T105" fmla="*/ 5 h 10"/>
                  <a:gd name="T106" fmla="*/ 5 w 59"/>
                  <a:gd name="T10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 h="10">
                    <a:moveTo>
                      <a:pt x="5" y="5"/>
                    </a:moveTo>
                    <a:lnTo>
                      <a:pt x="5" y="5"/>
                    </a:lnTo>
                    <a:lnTo>
                      <a:pt x="7" y="5"/>
                    </a:lnTo>
                    <a:lnTo>
                      <a:pt x="12" y="7"/>
                    </a:lnTo>
                    <a:lnTo>
                      <a:pt x="22" y="10"/>
                    </a:lnTo>
                    <a:lnTo>
                      <a:pt x="22" y="10"/>
                    </a:lnTo>
                    <a:lnTo>
                      <a:pt x="59" y="10"/>
                    </a:lnTo>
                    <a:lnTo>
                      <a:pt x="55" y="10"/>
                    </a:lnTo>
                    <a:lnTo>
                      <a:pt x="52" y="7"/>
                    </a:lnTo>
                    <a:lnTo>
                      <a:pt x="45" y="10"/>
                    </a:lnTo>
                    <a:lnTo>
                      <a:pt x="43" y="7"/>
                    </a:lnTo>
                    <a:lnTo>
                      <a:pt x="38" y="7"/>
                    </a:lnTo>
                    <a:lnTo>
                      <a:pt x="36" y="7"/>
                    </a:lnTo>
                    <a:lnTo>
                      <a:pt x="36" y="5"/>
                    </a:lnTo>
                    <a:lnTo>
                      <a:pt x="33" y="7"/>
                    </a:lnTo>
                    <a:lnTo>
                      <a:pt x="26" y="7"/>
                    </a:lnTo>
                    <a:lnTo>
                      <a:pt x="26" y="5"/>
                    </a:lnTo>
                    <a:lnTo>
                      <a:pt x="24" y="5"/>
                    </a:lnTo>
                    <a:lnTo>
                      <a:pt x="22" y="5"/>
                    </a:lnTo>
                    <a:lnTo>
                      <a:pt x="22" y="5"/>
                    </a:lnTo>
                    <a:lnTo>
                      <a:pt x="22" y="5"/>
                    </a:lnTo>
                    <a:lnTo>
                      <a:pt x="22" y="3"/>
                    </a:lnTo>
                    <a:lnTo>
                      <a:pt x="22" y="3"/>
                    </a:lnTo>
                    <a:lnTo>
                      <a:pt x="22" y="3"/>
                    </a:lnTo>
                    <a:lnTo>
                      <a:pt x="22" y="3"/>
                    </a:lnTo>
                    <a:lnTo>
                      <a:pt x="22" y="0"/>
                    </a:lnTo>
                    <a:lnTo>
                      <a:pt x="19" y="0"/>
                    </a:lnTo>
                    <a:lnTo>
                      <a:pt x="17" y="0"/>
                    </a:lnTo>
                    <a:lnTo>
                      <a:pt x="17" y="0"/>
                    </a:lnTo>
                    <a:lnTo>
                      <a:pt x="17" y="0"/>
                    </a:lnTo>
                    <a:lnTo>
                      <a:pt x="14" y="0"/>
                    </a:lnTo>
                    <a:lnTo>
                      <a:pt x="14" y="0"/>
                    </a:lnTo>
                    <a:lnTo>
                      <a:pt x="14" y="0"/>
                    </a:lnTo>
                    <a:lnTo>
                      <a:pt x="12" y="0"/>
                    </a:lnTo>
                    <a:lnTo>
                      <a:pt x="10" y="0"/>
                    </a:lnTo>
                    <a:lnTo>
                      <a:pt x="12" y="0"/>
                    </a:lnTo>
                    <a:lnTo>
                      <a:pt x="12" y="3"/>
                    </a:lnTo>
                    <a:lnTo>
                      <a:pt x="14" y="3"/>
                    </a:lnTo>
                    <a:lnTo>
                      <a:pt x="12" y="3"/>
                    </a:lnTo>
                    <a:lnTo>
                      <a:pt x="12" y="3"/>
                    </a:lnTo>
                    <a:lnTo>
                      <a:pt x="10" y="0"/>
                    </a:lnTo>
                    <a:lnTo>
                      <a:pt x="5" y="3"/>
                    </a:lnTo>
                    <a:lnTo>
                      <a:pt x="5" y="0"/>
                    </a:lnTo>
                    <a:lnTo>
                      <a:pt x="5" y="3"/>
                    </a:lnTo>
                    <a:lnTo>
                      <a:pt x="5" y="3"/>
                    </a:lnTo>
                    <a:lnTo>
                      <a:pt x="5" y="3"/>
                    </a:lnTo>
                    <a:lnTo>
                      <a:pt x="3" y="3"/>
                    </a:lnTo>
                    <a:lnTo>
                      <a:pt x="3" y="3"/>
                    </a:lnTo>
                    <a:lnTo>
                      <a:pt x="0" y="3"/>
                    </a:lnTo>
                    <a:lnTo>
                      <a:pt x="0" y="3"/>
                    </a:lnTo>
                    <a:lnTo>
                      <a:pt x="0" y="3"/>
                    </a:lnTo>
                    <a:lnTo>
                      <a:pt x="0" y="3"/>
                    </a:lnTo>
                    <a:lnTo>
                      <a:pt x="3" y="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84" name="Freeform 199">
                <a:extLst>
                  <a:ext uri="{FF2B5EF4-FFF2-40B4-BE49-F238E27FC236}">
                    <a16:creationId xmlns:a16="http://schemas.microsoft.com/office/drawing/2014/main" id="{6130B763-CA80-4274-A649-6F5EF776A606}"/>
                  </a:ext>
                </a:extLst>
              </p:cNvPr>
              <p:cNvSpPr>
                <a:spLocks/>
              </p:cNvSpPr>
              <p:nvPr/>
            </p:nvSpPr>
            <p:spPr bwMode="gray">
              <a:xfrm>
                <a:off x="-1580" y="2303"/>
                <a:ext cx="11" cy="10"/>
              </a:xfrm>
              <a:custGeom>
                <a:avLst/>
                <a:gdLst>
                  <a:gd name="T0" fmla="*/ 9 w 11"/>
                  <a:gd name="T1" fmla="*/ 7 h 10"/>
                  <a:gd name="T2" fmla="*/ 11 w 11"/>
                  <a:gd name="T3" fmla="*/ 10 h 10"/>
                  <a:gd name="T4" fmla="*/ 11 w 11"/>
                  <a:gd name="T5" fmla="*/ 7 h 10"/>
                  <a:gd name="T6" fmla="*/ 11 w 11"/>
                  <a:gd name="T7" fmla="*/ 7 h 10"/>
                  <a:gd name="T8" fmla="*/ 9 w 11"/>
                  <a:gd name="T9" fmla="*/ 5 h 10"/>
                  <a:gd name="T10" fmla="*/ 9 w 11"/>
                  <a:gd name="T11" fmla="*/ 3 h 10"/>
                  <a:gd name="T12" fmla="*/ 7 w 11"/>
                  <a:gd name="T13" fmla="*/ 3 h 10"/>
                  <a:gd name="T14" fmla="*/ 7 w 11"/>
                  <a:gd name="T15" fmla="*/ 3 h 10"/>
                  <a:gd name="T16" fmla="*/ 4 w 11"/>
                  <a:gd name="T17" fmla="*/ 0 h 10"/>
                  <a:gd name="T18" fmla="*/ 0 w 11"/>
                  <a:gd name="T19" fmla="*/ 0 h 10"/>
                  <a:gd name="T20" fmla="*/ 0 w 11"/>
                  <a:gd name="T21" fmla="*/ 0 h 10"/>
                  <a:gd name="T22" fmla="*/ 0 w 11"/>
                  <a:gd name="T23" fmla="*/ 3 h 10"/>
                  <a:gd name="T24" fmla="*/ 0 w 11"/>
                  <a:gd name="T25" fmla="*/ 3 h 10"/>
                  <a:gd name="T26" fmla="*/ 0 w 11"/>
                  <a:gd name="T27" fmla="*/ 3 h 10"/>
                  <a:gd name="T28" fmla="*/ 0 w 11"/>
                  <a:gd name="T29" fmla="*/ 3 h 10"/>
                  <a:gd name="T30" fmla="*/ 0 w 11"/>
                  <a:gd name="T31" fmla="*/ 3 h 10"/>
                  <a:gd name="T32" fmla="*/ 2 w 11"/>
                  <a:gd name="T33" fmla="*/ 5 h 10"/>
                  <a:gd name="T34" fmla="*/ 4 w 11"/>
                  <a:gd name="T35" fmla="*/ 5 h 10"/>
                  <a:gd name="T36" fmla="*/ 9 w 11"/>
                  <a:gd name="T37"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10">
                    <a:moveTo>
                      <a:pt x="9" y="7"/>
                    </a:moveTo>
                    <a:lnTo>
                      <a:pt x="11" y="10"/>
                    </a:lnTo>
                    <a:lnTo>
                      <a:pt x="11" y="7"/>
                    </a:lnTo>
                    <a:lnTo>
                      <a:pt x="11" y="7"/>
                    </a:lnTo>
                    <a:lnTo>
                      <a:pt x="9" y="5"/>
                    </a:lnTo>
                    <a:lnTo>
                      <a:pt x="9" y="3"/>
                    </a:lnTo>
                    <a:lnTo>
                      <a:pt x="7" y="3"/>
                    </a:lnTo>
                    <a:lnTo>
                      <a:pt x="7" y="3"/>
                    </a:lnTo>
                    <a:lnTo>
                      <a:pt x="4" y="0"/>
                    </a:lnTo>
                    <a:lnTo>
                      <a:pt x="0" y="0"/>
                    </a:lnTo>
                    <a:lnTo>
                      <a:pt x="0" y="0"/>
                    </a:lnTo>
                    <a:lnTo>
                      <a:pt x="0" y="3"/>
                    </a:lnTo>
                    <a:lnTo>
                      <a:pt x="0" y="3"/>
                    </a:lnTo>
                    <a:lnTo>
                      <a:pt x="0" y="3"/>
                    </a:lnTo>
                    <a:lnTo>
                      <a:pt x="0" y="3"/>
                    </a:lnTo>
                    <a:lnTo>
                      <a:pt x="0" y="3"/>
                    </a:lnTo>
                    <a:lnTo>
                      <a:pt x="2" y="5"/>
                    </a:lnTo>
                    <a:lnTo>
                      <a:pt x="4" y="5"/>
                    </a:lnTo>
                    <a:lnTo>
                      <a:pt x="9"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90" name="Freeform 200">
                <a:extLst>
                  <a:ext uri="{FF2B5EF4-FFF2-40B4-BE49-F238E27FC236}">
                    <a16:creationId xmlns:a16="http://schemas.microsoft.com/office/drawing/2014/main" id="{0778BE7E-E876-47BE-829E-1DB2D72579CF}"/>
                  </a:ext>
                </a:extLst>
              </p:cNvPr>
              <p:cNvSpPr>
                <a:spLocks/>
              </p:cNvSpPr>
              <p:nvPr/>
            </p:nvSpPr>
            <p:spPr bwMode="gray">
              <a:xfrm>
                <a:off x="-1566" y="2306"/>
                <a:ext cx="33" cy="11"/>
              </a:xfrm>
              <a:custGeom>
                <a:avLst/>
                <a:gdLst>
                  <a:gd name="T0" fmla="*/ 2 w 33"/>
                  <a:gd name="T1" fmla="*/ 7 h 11"/>
                  <a:gd name="T2" fmla="*/ 2 w 33"/>
                  <a:gd name="T3" fmla="*/ 7 h 11"/>
                  <a:gd name="T4" fmla="*/ 0 w 33"/>
                  <a:gd name="T5" fmla="*/ 7 h 11"/>
                  <a:gd name="T6" fmla="*/ 0 w 33"/>
                  <a:gd name="T7" fmla="*/ 7 h 11"/>
                  <a:gd name="T8" fmla="*/ 0 w 33"/>
                  <a:gd name="T9" fmla="*/ 7 h 11"/>
                  <a:gd name="T10" fmla="*/ 0 w 33"/>
                  <a:gd name="T11" fmla="*/ 7 h 11"/>
                  <a:gd name="T12" fmla="*/ 7 w 33"/>
                  <a:gd name="T13" fmla="*/ 11 h 11"/>
                  <a:gd name="T14" fmla="*/ 11 w 33"/>
                  <a:gd name="T15" fmla="*/ 11 h 11"/>
                  <a:gd name="T16" fmla="*/ 16 w 33"/>
                  <a:gd name="T17" fmla="*/ 11 h 11"/>
                  <a:gd name="T18" fmla="*/ 28 w 33"/>
                  <a:gd name="T19" fmla="*/ 11 h 11"/>
                  <a:gd name="T20" fmla="*/ 30 w 33"/>
                  <a:gd name="T21" fmla="*/ 11 h 11"/>
                  <a:gd name="T22" fmla="*/ 33 w 33"/>
                  <a:gd name="T23" fmla="*/ 9 h 11"/>
                  <a:gd name="T24" fmla="*/ 33 w 33"/>
                  <a:gd name="T25" fmla="*/ 11 h 11"/>
                  <a:gd name="T26" fmla="*/ 33 w 33"/>
                  <a:gd name="T27" fmla="*/ 9 h 11"/>
                  <a:gd name="T28" fmla="*/ 33 w 33"/>
                  <a:gd name="T29" fmla="*/ 7 h 11"/>
                  <a:gd name="T30" fmla="*/ 33 w 33"/>
                  <a:gd name="T31" fmla="*/ 7 h 11"/>
                  <a:gd name="T32" fmla="*/ 33 w 33"/>
                  <a:gd name="T33" fmla="*/ 7 h 11"/>
                  <a:gd name="T34" fmla="*/ 33 w 33"/>
                  <a:gd name="T35" fmla="*/ 7 h 11"/>
                  <a:gd name="T36" fmla="*/ 33 w 33"/>
                  <a:gd name="T37" fmla="*/ 7 h 11"/>
                  <a:gd name="T38" fmla="*/ 30 w 33"/>
                  <a:gd name="T39" fmla="*/ 4 h 11"/>
                  <a:gd name="T40" fmla="*/ 30 w 33"/>
                  <a:gd name="T41" fmla="*/ 4 h 11"/>
                  <a:gd name="T42" fmla="*/ 28 w 33"/>
                  <a:gd name="T43" fmla="*/ 4 h 11"/>
                  <a:gd name="T44" fmla="*/ 28 w 33"/>
                  <a:gd name="T45" fmla="*/ 4 h 11"/>
                  <a:gd name="T46" fmla="*/ 28 w 33"/>
                  <a:gd name="T47" fmla="*/ 4 h 11"/>
                  <a:gd name="T48" fmla="*/ 28 w 33"/>
                  <a:gd name="T49" fmla="*/ 4 h 11"/>
                  <a:gd name="T50" fmla="*/ 28 w 33"/>
                  <a:gd name="T51" fmla="*/ 4 h 11"/>
                  <a:gd name="T52" fmla="*/ 28 w 33"/>
                  <a:gd name="T53" fmla="*/ 4 h 11"/>
                  <a:gd name="T54" fmla="*/ 19 w 33"/>
                  <a:gd name="T55" fmla="*/ 2 h 11"/>
                  <a:gd name="T56" fmla="*/ 7 w 33"/>
                  <a:gd name="T57" fmla="*/ 2 h 11"/>
                  <a:gd name="T58" fmla="*/ 2 w 33"/>
                  <a:gd name="T59" fmla="*/ 0 h 11"/>
                  <a:gd name="T60" fmla="*/ 2 w 33"/>
                  <a:gd name="T61" fmla="*/ 0 h 11"/>
                  <a:gd name="T62" fmla="*/ 2 w 33"/>
                  <a:gd name="T63" fmla="*/ 0 h 11"/>
                  <a:gd name="T64" fmla="*/ 2 w 33"/>
                  <a:gd name="T65" fmla="*/ 2 h 11"/>
                  <a:gd name="T66" fmla="*/ 2 w 33"/>
                  <a:gd name="T67" fmla="*/ 4 h 11"/>
                  <a:gd name="T68" fmla="*/ 2 w 33"/>
                  <a:gd name="T69" fmla="*/ 4 h 11"/>
                  <a:gd name="T70" fmla="*/ 2 w 33"/>
                  <a:gd name="T71" fmla="*/ 4 h 11"/>
                  <a:gd name="T72" fmla="*/ 2 w 33"/>
                  <a:gd name="T73" fmla="*/ 4 h 11"/>
                  <a:gd name="T74" fmla="*/ 2 w 33"/>
                  <a:gd name="T75" fmla="*/ 7 h 11"/>
                  <a:gd name="T76" fmla="*/ 2 w 33"/>
                  <a:gd name="T77" fmla="*/ 7 h 11"/>
                  <a:gd name="T78" fmla="*/ 2 w 33"/>
                  <a:gd name="T79"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 h="11">
                    <a:moveTo>
                      <a:pt x="2" y="7"/>
                    </a:moveTo>
                    <a:lnTo>
                      <a:pt x="2" y="7"/>
                    </a:lnTo>
                    <a:lnTo>
                      <a:pt x="0" y="7"/>
                    </a:lnTo>
                    <a:lnTo>
                      <a:pt x="0" y="7"/>
                    </a:lnTo>
                    <a:lnTo>
                      <a:pt x="0" y="7"/>
                    </a:lnTo>
                    <a:lnTo>
                      <a:pt x="0" y="7"/>
                    </a:lnTo>
                    <a:lnTo>
                      <a:pt x="7" y="11"/>
                    </a:lnTo>
                    <a:lnTo>
                      <a:pt x="11" y="11"/>
                    </a:lnTo>
                    <a:lnTo>
                      <a:pt x="16" y="11"/>
                    </a:lnTo>
                    <a:lnTo>
                      <a:pt x="28" y="11"/>
                    </a:lnTo>
                    <a:lnTo>
                      <a:pt x="30" y="11"/>
                    </a:lnTo>
                    <a:lnTo>
                      <a:pt x="33" y="9"/>
                    </a:lnTo>
                    <a:lnTo>
                      <a:pt x="33" y="11"/>
                    </a:lnTo>
                    <a:lnTo>
                      <a:pt x="33" y="9"/>
                    </a:lnTo>
                    <a:lnTo>
                      <a:pt x="33" y="7"/>
                    </a:lnTo>
                    <a:lnTo>
                      <a:pt x="33" y="7"/>
                    </a:lnTo>
                    <a:lnTo>
                      <a:pt x="33" y="7"/>
                    </a:lnTo>
                    <a:lnTo>
                      <a:pt x="33" y="7"/>
                    </a:lnTo>
                    <a:lnTo>
                      <a:pt x="33" y="7"/>
                    </a:lnTo>
                    <a:lnTo>
                      <a:pt x="30" y="4"/>
                    </a:lnTo>
                    <a:lnTo>
                      <a:pt x="30" y="4"/>
                    </a:lnTo>
                    <a:lnTo>
                      <a:pt x="28" y="4"/>
                    </a:lnTo>
                    <a:lnTo>
                      <a:pt x="28" y="4"/>
                    </a:lnTo>
                    <a:lnTo>
                      <a:pt x="28" y="4"/>
                    </a:lnTo>
                    <a:lnTo>
                      <a:pt x="28" y="4"/>
                    </a:lnTo>
                    <a:lnTo>
                      <a:pt x="28" y="4"/>
                    </a:lnTo>
                    <a:lnTo>
                      <a:pt x="28" y="4"/>
                    </a:lnTo>
                    <a:lnTo>
                      <a:pt x="19" y="2"/>
                    </a:lnTo>
                    <a:lnTo>
                      <a:pt x="7" y="2"/>
                    </a:lnTo>
                    <a:lnTo>
                      <a:pt x="2" y="0"/>
                    </a:lnTo>
                    <a:lnTo>
                      <a:pt x="2" y="0"/>
                    </a:lnTo>
                    <a:lnTo>
                      <a:pt x="2" y="0"/>
                    </a:lnTo>
                    <a:lnTo>
                      <a:pt x="2" y="2"/>
                    </a:lnTo>
                    <a:lnTo>
                      <a:pt x="2" y="4"/>
                    </a:lnTo>
                    <a:lnTo>
                      <a:pt x="2" y="4"/>
                    </a:lnTo>
                    <a:lnTo>
                      <a:pt x="2" y="4"/>
                    </a:lnTo>
                    <a:lnTo>
                      <a:pt x="2" y="4"/>
                    </a:lnTo>
                    <a:lnTo>
                      <a:pt x="2" y="7"/>
                    </a:lnTo>
                    <a:lnTo>
                      <a:pt x="2" y="7"/>
                    </a:ln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16" name="Freeform 201">
                <a:extLst>
                  <a:ext uri="{FF2B5EF4-FFF2-40B4-BE49-F238E27FC236}">
                    <a16:creationId xmlns:a16="http://schemas.microsoft.com/office/drawing/2014/main" id="{189CF175-875A-405D-BE2C-3564D449FBAB}"/>
                  </a:ext>
                </a:extLst>
              </p:cNvPr>
              <p:cNvSpPr>
                <a:spLocks/>
              </p:cNvSpPr>
              <p:nvPr/>
            </p:nvSpPr>
            <p:spPr bwMode="gray">
              <a:xfrm>
                <a:off x="-1580" y="2294"/>
                <a:ext cx="11" cy="5"/>
              </a:xfrm>
              <a:custGeom>
                <a:avLst/>
                <a:gdLst>
                  <a:gd name="T0" fmla="*/ 2 w 11"/>
                  <a:gd name="T1" fmla="*/ 2 h 5"/>
                  <a:gd name="T2" fmla="*/ 2 w 11"/>
                  <a:gd name="T3" fmla="*/ 5 h 5"/>
                  <a:gd name="T4" fmla="*/ 4 w 11"/>
                  <a:gd name="T5" fmla="*/ 2 h 5"/>
                  <a:gd name="T6" fmla="*/ 4 w 11"/>
                  <a:gd name="T7" fmla="*/ 2 h 5"/>
                  <a:gd name="T8" fmla="*/ 4 w 11"/>
                  <a:gd name="T9" fmla="*/ 2 h 5"/>
                  <a:gd name="T10" fmla="*/ 9 w 11"/>
                  <a:gd name="T11" fmla="*/ 5 h 5"/>
                  <a:gd name="T12" fmla="*/ 11 w 11"/>
                  <a:gd name="T13" fmla="*/ 2 h 5"/>
                  <a:gd name="T14" fmla="*/ 11 w 11"/>
                  <a:gd name="T15" fmla="*/ 2 h 5"/>
                  <a:gd name="T16" fmla="*/ 9 w 11"/>
                  <a:gd name="T17" fmla="*/ 2 h 5"/>
                  <a:gd name="T18" fmla="*/ 7 w 11"/>
                  <a:gd name="T19" fmla="*/ 0 h 5"/>
                  <a:gd name="T20" fmla="*/ 4 w 11"/>
                  <a:gd name="T21" fmla="*/ 0 h 5"/>
                  <a:gd name="T22" fmla="*/ 2 w 11"/>
                  <a:gd name="T23" fmla="*/ 0 h 5"/>
                  <a:gd name="T24" fmla="*/ 2 w 11"/>
                  <a:gd name="T25" fmla="*/ 2 h 5"/>
                  <a:gd name="T26" fmla="*/ 2 w 11"/>
                  <a:gd name="T27" fmla="*/ 2 h 5"/>
                  <a:gd name="T28" fmla="*/ 2 w 11"/>
                  <a:gd name="T29" fmla="*/ 2 h 5"/>
                  <a:gd name="T30" fmla="*/ 2 w 11"/>
                  <a:gd name="T31" fmla="*/ 2 h 5"/>
                  <a:gd name="T32" fmla="*/ 0 w 11"/>
                  <a:gd name="T33" fmla="*/ 2 h 5"/>
                  <a:gd name="T34" fmla="*/ 0 w 11"/>
                  <a:gd name="T35" fmla="*/ 2 h 5"/>
                  <a:gd name="T36" fmla="*/ 0 w 11"/>
                  <a:gd name="T37" fmla="*/ 2 h 5"/>
                  <a:gd name="T38" fmla="*/ 0 w 11"/>
                  <a:gd name="T39" fmla="*/ 2 h 5"/>
                  <a:gd name="T40" fmla="*/ 2 w 11"/>
                  <a:gd name="T4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 h="5">
                    <a:moveTo>
                      <a:pt x="2" y="2"/>
                    </a:moveTo>
                    <a:lnTo>
                      <a:pt x="2" y="5"/>
                    </a:lnTo>
                    <a:lnTo>
                      <a:pt x="4" y="2"/>
                    </a:lnTo>
                    <a:lnTo>
                      <a:pt x="4" y="2"/>
                    </a:lnTo>
                    <a:lnTo>
                      <a:pt x="4" y="2"/>
                    </a:lnTo>
                    <a:lnTo>
                      <a:pt x="9" y="5"/>
                    </a:lnTo>
                    <a:lnTo>
                      <a:pt x="11" y="2"/>
                    </a:lnTo>
                    <a:lnTo>
                      <a:pt x="11" y="2"/>
                    </a:lnTo>
                    <a:lnTo>
                      <a:pt x="9" y="2"/>
                    </a:lnTo>
                    <a:lnTo>
                      <a:pt x="7" y="0"/>
                    </a:lnTo>
                    <a:lnTo>
                      <a:pt x="4" y="0"/>
                    </a:lnTo>
                    <a:lnTo>
                      <a:pt x="2" y="0"/>
                    </a:lnTo>
                    <a:lnTo>
                      <a:pt x="2" y="2"/>
                    </a:lnTo>
                    <a:lnTo>
                      <a:pt x="2" y="2"/>
                    </a:lnTo>
                    <a:lnTo>
                      <a:pt x="2" y="2"/>
                    </a:lnTo>
                    <a:lnTo>
                      <a:pt x="2" y="2"/>
                    </a:lnTo>
                    <a:lnTo>
                      <a:pt x="0" y="2"/>
                    </a:lnTo>
                    <a:lnTo>
                      <a:pt x="0" y="2"/>
                    </a:lnTo>
                    <a:lnTo>
                      <a:pt x="0" y="2"/>
                    </a:lnTo>
                    <a:lnTo>
                      <a:pt x="0" y="2"/>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17" name="Freeform 202">
                <a:extLst>
                  <a:ext uri="{FF2B5EF4-FFF2-40B4-BE49-F238E27FC236}">
                    <a16:creationId xmlns:a16="http://schemas.microsoft.com/office/drawing/2014/main" id="{CDEF7C34-3346-469A-AFB1-6EB1A804E12C}"/>
                  </a:ext>
                </a:extLst>
              </p:cNvPr>
              <p:cNvSpPr>
                <a:spLocks/>
              </p:cNvSpPr>
              <p:nvPr/>
            </p:nvSpPr>
            <p:spPr bwMode="gray">
              <a:xfrm>
                <a:off x="-788" y="2558"/>
                <a:ext cx="17" cy="9"/>
              </a:xfrm>
              <a:custGeom>
                <a:avLst/>
                <a:gdLst>
                  <a:gd name="T0" fmla="*/ 15 w 17"/>
                  <a:gd name="T1" fmla="*/ 0 h 9"/>
                  <a:gd name="T2" fmla="*/ 12 w 17"/>
                  <a:gd name="T3" fmla="*/ 0 h 9"/>
                  <a:gd name="T4" fmla="*/ 10 w 17"/>
                  <a:gd name="T5" fmla="*/ 0 h 9"/>
                  <a:gd name="T6" fmla="*/ 7 w 17"/>
                  <a:gd name="T7" fmla="*/ 0 h 9"/>
                  <a:gd name="T8" fmla="*/ 5 w 17"/>
                  <a:gd name="T9" fmla="*/ 0 h 9"/>
                  <a:gd name="T10" fmla="*/ 5 w 17"/>
                  <a:gd name="T11" fmla="*/ 0 h 9"/>
                  <a:gd name="T12" fmla="*/ 3 w 17"/>
                  <a:gd name="T13" fmla="*/ 2 h 9"/>
                  <a:gd name="T14" fmla="*/ 3 w 17"/>
                  <a:gd name="T15" fmla="*/ 0 h 9"/>
                  <a:gd name="T16" fmla="*/ 0 w 17"/>
                  <a:gd name="T17" fmla="*/ 0 h 9"/>
                  <a:gd name="T18" fmla="*/ 0 w 17"/>
                  <a:gd name="T19" fmla="*/ 0 h 9"/>
                  <a:gd name="T20" fmla="*/ 0 w 17"/>
                  <a:gd name="T21" fmla="*/ 2 h 9"/>
                  <a:gd name="T22" fmla="*/ 0 w 17"/>
                  <a:gd name="T23" fmla="*/ 2 h 9"/>
                  <a:gd name="T24" fmla="*/ 0 w 17"/>
                  <a:gd name="T25" fmla="*/ 2 h 9"/>
                  <a:gd name="T26" fmla="*/ 0 w 17"/>
                  <a:gd name="T27" fmla="*/ 5 h 9"/>
                  <a:gd name="T28" fmla="*/ 0 w 17"/>
                  <a:gd name="T29" fmla="*/ 7 h 9"/>
                  <a:gd name="T30" fmla="*/ 3 w 17"/>
                  <a:gd name="T31" fmla="*/ 7 h 9"/>
                  <a:gd name="T32" fmla="*/ 3 w 17"/>
                  <a:gd name="T33" fmla="*/ 7 h 9"/>
                  <a:gd name="T34" fmla="*/ 5 w 17"/>
                  <a:gd name="T35" fmla="*/ 7 h 9"/>
                  <a:gd name="T36" fmla="*/ 5 w 17"/>
                  <a:gd name="T37" fmla="*/ 9 h 9"/>
                  <a:gd name="T38" fmla="*/ 7 w 17"/>
                  <a:gd name="T39" fmla="*/ 7 h 9"/>
                  <a:gd name="T40" fmla="*/ 10 w 17"/>
                  <a:gd name="T41" fmla="*/ 5 h 9"/>
                  <a:gd name="T42" fmla="*/ 12 w 17"/>
                  <a:gd name="T43" fmla="*/ 5 h 9"/>
                  <a:gd name="T44" fmla="*/ 15 w 17"/>
                  <a:gd name="T45" fmla="*/ 5 h 9"/>
                  <a:gd name="T46" fmla="*/ 17 w 17"/>
                  <a:gd name="T47" fmla="*/ 5 h 9"/>
                  <a:gd name="T48" fmla="*/ 17 w 17"/>
                  <a:gd name="T49" fmla="*/ 2 h 9"/>
                  <a:gd name="T50" fmla="*/ 15 w 17"/>
                  <a:gd name="T5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 h="9">
                    <a:moveTo>
                      <a:pt x="15" y="0"/>
                    </a:moveTo>
                    <a:lnTo>
                      <a:pt x="12" y="0"/>
                    </a:lnTo>
                    <a:lnTo>
                      <a:pt x="10" y="0"/>
                    </a:lnTo>
                    <a:lnTo>
                      <a:pt x="7" y="0"/>
                    </a:lnTo>
                    <a:lnTo>
                      <a:pt x="5" y="0"/>
                    </a:lnTo>
                    <a:lnTo>
                      <a:pt x="5" y="0"/>
                    </a:lnTo>
                    <a:lnTo>
                      <a:pt x="3" y="2"/>
                    </a:lnTo>
                    <a:lnTo>
                      <a:pt x="3" y="0"/>
                    </a:lnTo>
                    <a:lnTo>
                      <a:pt x="0" y="0"/>
                    </a:lnTo>
                    <a:lnTo>
                      <a:pt x="0" y="0"/>
                    </a:lnTo>
                    <a:lnTo>
                      <a:pt x="0" y="2"/>
                    </a:lnTo>
                    <a:lnTo>
                      <a:pt x="0" y="2"/>
                    </a:lnTo>
                    <a:lnTo>
                      <a:pt x="0" y="2"/>
                    </a:lnTo>
                    <a:lnTo>
                      <a:pt x="0" y="5"/>
                    </a:lnTo>
                    <a:lnTo>
                      <a:pt x="0" y="7"/>
                    </a:lnTo>
                    <a:lnTo>
                      <a:pt x="3" y="7"/>
                    </a:lnTo>
                    <a:lnTo>
                      <a:pt x="3" y="7"/>
                    </a:lnTo>
                    <a:lnTo>
                      <a:pt x="5" y="7"/>
                    </a:lnTo>
                    <a:lnTo>
                      <a:pt x="5" y="9"/>
                    </a:lnTo>
                    <a:lnTo>
                      <a:pt x="7" y="7"/>
                    </a:lnTo>
                    <a:lnTo>
                      <a:pt x="10" y="5"/>
                    </a:lnTo>
                    <a:lnTo>
                      <a:pt x="12" y="5"/>
                    </a:lnTo>
                    <a:lnTo>
                      <a:pt x="15" y="5"/>
                    </a:lnTo>
                    <a:lnTo>
                      <a:pt x="17" y="5"/>
                    </a:lnTo>
                    <a:lnTo>
                      <a:pt x="17" y="2"/>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18" name="Freeform 203">
                <a:extLst>
                  <a:ext uri="{FF2B5EF4-FFF2-40B4-BE49-F238E27FC236}">
                    <a16:creationId xmlns:a16="http://schemas.microsoft.com/office/drawing/2014/main" id="{55F0759A-076C-4A2A-91FB-23DA79417006}"/>
                  </a:ext>
                </a:extLst>
              </p:cNvPr>
              <p:cNvSpPr>
                <a:spLocks/>
              </p:cNvSpPr>
              <p:nvPr/>
            </p:nvSpPr>
            <p:spPr bwMode="gray">
              <a:xfrm>
                <a:off x="-781" y="2574"/>
                <a:ext cx="10" cy="10"/>
              </a:xfrm>
              <a:custGeom>
                <a:avLst/>
                <a:gdLst>
                  <a:gd name="T0" fmla="*/ 8 w 10"/>
                  <a:gd name="T1" fmla="*/ 7 h 10"/>
                  <a:gd name="T2" fmla="*/ 8 w 10"/>
                  <a:gd name="T3" fmla="*/ 5 h 10"/>
                  <a:gd name="T4" fmla="*/ 8 w 10"/>
                  <a:gd name="T5" fmla="*/ 5 h 10"/>
                  <a:gd name="T6" fmla="*/ 8 w 10"/>
                  <a:gd name="T7" fmla="*/ 3 h 10"/>
                  <a:gd name="T8" fmla="*/ 8 w 10"/>
                  <a:gd name="T9" fmla="*/ 3 h 10"/>
                  <a:gd name="T10" fmla="*/ 5 w 10"/>
                  <a:gd name="T11" fmla="*/ 0 h 10"/>
                  <a:gd name="T12" fmla="*/ 3 w 10"/>
                  <a:gd name="T13" fmla="*/ 3 h 10"/>
                  <a:gd name="T14" fmla="*/ 3 w 10"/>
                  <a:gd name="T15" fmla="*/ 3 h 10"/>
                  <a:gd name="T16" fmla="*/ 0 w 10"/>
                  <a:gd name="T17" fmla="*/ 5 h 10"/>
                  <a:gd name="T18" fmla="*/ 3 w 10"/>
                  <a:gd name="T19" fmla="*/ 5 h 10"/>
                  <a:gd name="T20" fmla="*/ 3 w 10"/>
                  <a:gd name="T21" fmla="*/ 7 h 10"/>
                  <a:gd name="T22" fmla="*/ 5 w 10"/>
                  <a:gd name="T23" fmla="*/ 7 h 10"/>
                  <a:gd name="T24" fmla="*/ 8 w 10"/>
                  <a:gd name="T25" fmla="*/ 7 h 10"/>
                  <a:gd name="T26" fmla="*/ 8 w 10"/>
                  <a:gd name="T27" fmla="*/ 10 h 10"/>
                  <a:gd name="T28" fmla="*/ 10 w 10"/>
                  <a:gd name="T29" fmla="*/ 10 h 10"/>
                  <a:gd name="T30" fmla="*/ 10 w 10"/>
                  <a:gd name="T31" fmla="*/ 7 h 10"/>
                  <a:gd name="T32" fmla="*/ 10 w 10"/>
                  <a:gd name="T33" fmla="*/ 7 h 10"/>
                  <a:gd name="T34" fmla="*/ 8 w 10"/>
                  <a:gd name="T35"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10">
                    <a:moveTo>
                      <a:pt x="8" y="7"/>
                    </a:moveTo>
                    <a:lnTo>
                      <a:pt x="8" y="5"/>
                    </a:lnTo>
                    <a:lnTo>
                      <a:pt x="8" y="5"/>
                    </a:lnTo>
                    <a:lnTo>
                      <a:pt x="8" y="3"/>
                    </a:lnTo>
                    <a:lnTo>
                      <a:pt x="8" y="3"/>
                    </a:lnTo>
                    <a:lnTo>
                      <a:pt x="5" y="0"/>
                    </a:lnTo>
                    <a:lnTo>
                      <a:pt x="3" y="3"/>
                    </a:lnTo>
                    <a:lnTo>
                      <a:pt x="3" y="3"/>
                    </a:lnTo>
                    <a:lnTo>
                      <a:pt x="0" y="5"/>
                    </a:lnTo>
                    <a:lnTo>
                      <a:pt x="3" y="5"/>
                    </a:lnTo>
                    <a:lnTo>
                      <a:pt x="3" y="7"/>
                    </a:lnTo>
                    <a:lnTo>
                      <a:pt x="5" y="7"/>
                    </a:lnTo>
                    <a:lnTo>
                      <a:pt x="8" y="7"/>
                    </a:lnTo>
                    <a:lnTo>
                      <a:pt x="8" y="10"/>
                    </a:lnTo>
                    <a:lnTo>
                      <a:pt x="10" y="10"/>
                    </a:lnTo>
                    <a:lnTo>
                      <a:pt x="10" y="7"/>
                    </a:lnTo>
                    <a:lnTo>
                      <a:pt x="10" y="7"/>
                    </a:lnTo>
                    <a:lnTo>
                      <a:pt x="8"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81" name="Freeform 204">
                <a:extLst>
                  <a:ext uri="{FF2B5EF4-FFF2-40B4-BE49-F238E27FC236}">
                    <a16:creationId xmlns:a16="http://schemas.microsoft.com/office/drawing/2014/main" id="{742585A4-8D1F-40D4-B10F-04940E12774E}"/>
                  </a:ext>
                </a:extLst>
              </p:cNvPr>
              <p:cNvSpPr>
                <a:spLocks/>
              </p:cNvSpPr>
              <p:nvPr/>
            </p:nvSpPr>
            <p:spPr bwMode="gray">
              <a:xfrm>
                <a:off x="-896" y="2633"/>
                <a:ext cx="7" cy="7"/>
              </a:xfrm>
              <a:custGeom>
                <a:avLst/>
                <a:gdLst>
                  <a:gd name="T0" fmla="*/ 7 w 7"/>
                  <a:gd name="T1" fmla="*/ 0 h 7"/>
                  <a:gd name="T2" fmla="*/ 5 w 7"/>
                  <a:gd name="T3" fmla="*/ 0 h 7"/>
                  <a:gd name="T4" fmla="*/ 5 w 7"/>
                  <a:gd name="T5" fmla="*/ 0 h 7"/>
                  <a:gd name="T6" fmla="*/ 5 w 7"/>
                  <a:gd name="T7" fmla="*/ 0 h 7"/>
                  <a:gd name="T8" fmla="*/ 2 w 7"/>
                  <a:gd name="T9" fmla="*/ 0 h 7"/>
                  <a:gd name="T10" fmla="*/ 0 w 7"/>
                  <a:gd name="T11" fmla="*/ 0 h 7"/>
                  <a:gd name="T12" fmla="*/ 0 w 7"/>
                  <a:gd name="T13" fmla="*/ 3 h 7"/>
                  <a:gd name="T14" fmla="*/ 0 w 7"/>
                  <a:gd name="T15" fmla="*/ 3 h 7"/>
                  <a:gd name="T16" fmla="*/ 2 w 7"/>
                  <a:gd name="T17" fmla="*/ 5 h 7"/>
                  <a:gd name="T18" fmla="*/ 5 w 7"/>
                  <a:gd name="T19" fmla="*/ 5 h 7"/>
                  <a:gd name="T20" fmla="*/ 7 w 7"/>
                  <a:gd name="T21" fmla="*/ 7 h 7"/>
                  <a:gd name="T22" fmla="*/ 7 w 7"/>
                  <a:gd name="T23" fmla="*/ 7 h 7"/>
                  <a:gd name="T24" fmla="*/ 7 w 7"/>
                  <a:gd name="T25" fmla="*/ 5 h 7"/>
                  <a:gd name="T26" fmla="*/ 7 w 7"/>
                  <a:gd name="T27" fmla="*/ 3 h 7"/>
                  <a:gd name="T28" fmla="*/ 7 w 7"/>
                  <a:gd name="T29" fmla="*/ 0 h 7"/>
                  <a:gd name="T30" fmla="*/ 7 w 7"/>
                  <a:gd name="T3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7">
                    <a:moveTo>
                      <a:pt x="7" y="0"/>
                    </a:moveTo>
                    <a:lnTo>
                      <a:pt x="5" y="0"/>
                    </a:lnTo>
                    <a:lnTo>
                      <a:pt x="5" y="0"/>
                    </a:lnTo>
                    <a:lnTo>
                      <a:pt x="5" y="0"/>
                    </a:lnTo>
                    <a:lnTo>
                      <a:pt x="2" y="0"/>
                    </a:lnTo>
                    <a:lnTo>
                      <a:pt x="0" y="0"/>
                    </a:lnTo>
                    <a:lnTo>
                      <a:pt x="0" y="3"/>
                    </a:lnTo>
                    <a:lnTo>
                      <a:pt x="0" y="3"/>
                    </a:lnTo>
                    <a:lnTo>
                      <a:pt x="2" y="5"/>
                    </a:lnTo>
                    <a:lnTo>
                      <a:pt x="5" y="5"/>
                    </a:lnTo>
                    <a:lnTo>
                      <a:pt x="7" y="7"/>
                    </a:lnTo>
                    <a:lnTo>
                      <a:pt x="7" y="7"/>
                    </a:lnTo>
                    <a:lnTo>
                      <a:pt x="7" y="5"/>
                    </a:lnTo>
                    <a:lnTo>
                      <a:pt x="7" y="3"/>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7" name="Freeform 206">
              <a:extLst>
                <a:ext uri="{FF2B5EF4-FFF2-40B4-BE49-F238E27FC236}">
                  <a16:creationId xmlns:a16="http://schemas.microsoft.com/office/drawing/2014/main" id="{D5B10AEF-1C44-434D-8640-81FD8CD5A84C}"/>
                </a:ext>
              </a:extLst>
            </p:cNvPr>
            <p:cNvSpPr>
              <a:spLocks/>
            </p:cNvSpPr>
            <p:nvPr/>
          </p:nvSpPr>
          <p:spPr bwMode="gray">
            <a:xfrm>
              <a:off x="-913" y="2600"/>
              <a:ext cx="24" cy="17"/>
            </a:xfrm>
            <a:custGeom>
              <a:avLst/>
              <a:gdLst>
                <a:gd name="T0" fmla="*/ 24 w 24"/>
                <a:gd name="T1" fmla="*/ 10 h 17"/>
                <a:gd name="T2" fmla="*/ 22 w 24"/>
                <a:gd name="T3" fmla="*/ 10 h 17"/>
                <a:gd name="T4" fmla="*/ 22 w 24"/>
                <a:gd name="T5" fmla="*/ 10 h 17"/>
                <a:gd name="T6" fmla="*/ 22 w 24"/>
                <a:gd name="T7" fmla="*/ 7 h 17"/>
                <a:gd name="T8" fmla="*/ 22 w 24"/>
                <a:gd name="T9" fmla="*/ 7 h 17"/>
                <a:gd name="T10" fmla="*/ 22 w 24"/>
                <a:gd name="T11" fmla="*/ 5 h 17"/>
                <a:gd name="T12" fmla="*/ 22 w 24"/>
                <a:gd name="T13" fmla="*/ 3 h 17"/>
                <a:gd name="T14" fmla="*/ 22 w 24"/>
                <a:gd name="T15" fmla="*/ 3 h 17"/>
                <a:gd name="T16" fmla="*/ 22 w 24"/>
                <a:gd name="T17" fmla="*/ 3 h 17"/>
                <a:gd name="T18" fmla="*/ 22 w 24"/>
                <a:gd name="T19" fmla="*/ 3 h 17"/>
                <a:gd name="T20" fmla="*/ 22 w 24"/>
                <a:gd name="T21" fmla="*/ 0 h 17"/>
                <a:gd name="T22" fmla="*/ 19 w 24"/>
                <a:gd name="T23" fmla="*/ 0 h 17"/>
                <a:gd name="T24" fmla="*/ 19 w 24"/>
                <a:gd name="T25" fmla="*/ 0 h 17"/>
                <a:gd name="T26" fmla="*/ 19 w 24"/>
                <a:gd name="T27" fmla="*/ 0 h 17"/>
                <a:gd name="T28" fmla="*/ 17 w 24"/>
                <a:gd name="T29" fmla="*/ 0 h 17"/>
                <a:gd name="T30" fmla="*/ 12 w 24"/>
                <a:gd name="T31" fmla="*/ 3 h 17"/>
                <a:gd name="T32" fmla="*/ 7 w 24"/>
                <a:gd name="T33" fmla="*/ 3 h 17"/>
                <a:gd name="T34" fmla="*/ 5 w 24"/>
                <a:gd name="T35" fmla="*/ 5 h 17"/>
                <a:gd name="T36" fmla="*/ 3 w 24"/>
                <a:gd name="T37" fmla="*/ 10 h 17"/>
                <a:gd name="T38" fmla="*/ 0 w 24"/>
                <a:gd name="T39" fmla="*/ 12 h 17"/>
                <a:gd name="T40" fmla="*/ 0 w 24"/>
                <a:gd name="T41" fmla="*/ 12 h 17"/>
                <a:gd name="T42" fmla="*/ 3 w 24"/>
                <a:gd name="T43" fmla="*/ 14 h 17"/>
                <a:gd name="T44" fmla="*/ 3 w 24"/>
                <a:gd name="T45" fmla="*/ 14 h 17"/>
                <a:gd name="T46" fmla="*/ 5 w 24"/>
                <a:gd name="T47" fmla="*/ 14 h 17"/>
                <a:gd name="T48" fmla="*/ 5 w 24"/>
                <a:gd name="T49" fmla="*/ 14 h 17"/>
                <a:gd name="T50" fmla="*/ 7 w 24"/>
                <a:gd name="T51" fmla="*/ 17 h 17"/>
                <a:gd name="T52" fmla="*/ 14 w 24"/>
                <a:gd name="T53" fmla="*/ 14 h 17"/>
                <a:gd name="T54" fmla="*/ 17 w 24"/>
                <a:gd name="T55" fmla="*/ 12 h 17"/>
                <a:gd name="T56" fmla="*/ 22 w 24"/>
                <a:gd name="T57" fmla="*/ 12 h 17"/>
                <a:gd name="T58" fmla="*/ 24 w 24"/>
                <a:gd name="T59" fmla="*/ 12 h 17"/>
                <a:gd name="T60" fmla="*/ 24 w 24"/>
                <a:gd name="T61" fmla="*/ 10 h 17"/>
                <a:gd name="T62" fmla="*/ 24 w 24"/>
                <a:gd name="T63" fmla="*/ 7 h 17"/>
                <a:gd name="T64" fmla="*/ 24 w 24"/>
                <a:gd name="T65" fmla="*/ 7 h 17"/>
                <a:gd name="T66" fmla="*/ 24 w 24"/>
                <a:gd name="T67"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17">
                  <a:moveTo>
                    <a:pt x="24" y="10"/>
                  </a:moveTo>
                  <a:lnTo>
                    <a:pt x="22" y="10"/>
                  </a:lnTo>
                  <a:lnTo>
                    <a:pt x="22" y="10"/>
                  </a:lnTo>
                  <a:lnTo>
                    <a:pt x="22" y="7"/>
                  </a:lnTo>
                  <a:lnTo>
                    <a:pt x="22" y="7"/>
                  </a:lnTo>
                  <a:lnTo>
                    <a:pt x="22" y="5"/>
                  </a:lnTo>
                  <a:lnTo>
                    <a:pt x="22" y="3"/>
                  </a:lnTo>
                  <a:lnTo>
                    <a:pt x="22" y="3"/>
                  </a:lnTo>
                  <a:lnTo>
                    <a:pt x="22" y="3"/>
                  </a:lnTo>
                  <a:lnTo>
                    <a:pt x="22" y="3"/>
                  </a:lnTo>
                  <a:lnTo>
                    <a:pt x="22" y="0"/>
                  </a:lnTo>
                  <a:lnTo>
                    <a:pt x="19" y="0"/>
                  </a:lnTo>
                  <a:lnTo>
                    <a:pt x="19" y="0"/>
                  </a:lnTo>
                  <a:lnTo>
                    <a:pt x="19" y="0"/>
                  </a:lnTo>
                  <a:lnTo>
                    <a:pt x="17" y="0"/>
                  </a:lnTo>
                  <a:lnTo>
                    <a:pt x="12" y="3"/>
                  </a:lnTo>
                  <a:lnTo>
                    <a:pt x="7" y="3"/>
                  </a:lnTo>
                  <a:lnTo>
                    <a:pt x="5" y="5"/>
                  </a:lnTo>
                  <a:lnTo>
                    <a:pt x="3" y="10"/>
                  </a:lnTo>
                  <a:lnTo>
                    <a:pt x="0" y="12"/>
                  </a:lnTo>
                  <a:lnTo>
                    <a:pt x="0" y="12"/>
                  </a:lnTo>
                  <a:lnTo>
                    <a:pt x="3" y="14"/>
                  </a:lnTo>
                  <a:lnTo>
                    <a:pt x="3" y="14"/>
                  </a:lnTo>
                  <a:lnTo>
                    <a:pt x="5" y="14"/>
                  </a:lnTo>
                  <a:lnTo>
                    <a:pt x="5" y="14"/>
                  </a:lnTo>
                  <a:lnTo>
                    <a:pt x="7" y="17"/>
                  </a:lnTo>
                  <a:lnTo>
                    <a:pt x="14" y="14"/>
                  </a:lnTo>
                  <a:lnTo>
                    <a:pt x="17" y="12"/>
                  </a:lnTo>
                  <a:lnTo>
                    <a:pt x="22" y="12"/>
                  </a:lnTo>
                  <a:lnTo>
                    <a:pt x="24" y="12"/>
                  </a:lnTo>
                  <a:lnTo>
                    <a:pt x="24" y="10"/>
                  </a:lnTo>
                  <a:lnTo>
                    <a:pt x="24" y="7"/>
                  </a:lnTo>
                  <a:lnTo>
                    <a:pt x="24" y="7"/>
                  </a:lnTo>
                  <a:lnTo>
                    <a:pt x="24"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07">
              <a:extLst>
                <a:ext uri="{FF2B5EF4-FFF2-40B4-BE49-F238E27FC236}">
                  <a16:creationId xmlns:a16="http://schemas.microsoft.com/office/drawing/2014/main" id="{79748CE5-B6BD-438B-927F-EB6C5CE41679}"/>
                </a:ext>
              </a:extLst>
            </p:cNvPr>
            <p:cNvSpPr>
              <a:spLocks/>
            </p:cNvSpPr>
            <p:nvPr/>
          </p:nvSpPr>
          <p:spPr bwMode="gray">
            <a:xfrm>
              <a:off x="-712" y="348"/>
              <a:ext cx="7" cy="16"/>
            </a:xfrm>
            <a:custGeom>
              <a:avLst/>
              <a:gdLst>
                <a:gd name="T0" fmla="*/ 0 w 7"/>
                <a:gd name="T1" fmla="*/ 2 h 16"/>
                <a:gd name="T2" fmla="*/ 0 w 7"/>
                <a:gd name="T3" fmla="*/ 4 h 16"/>
                <a:gd name="T4" fmla="*/ 0 w 7"/>
                <a:gd name="T5" fmla="*/ 7 h 16"/>
                <a:gd name="T6" fmla="*/ 0 w 7"/>
                <a:gd name="T7" fmla="*/ 9 h 16"/>
                <a:gd name="T8" fmla="*/ 2 w 7"/>
                <a:gd name="T9" fmla="*/ 14 h 16"/>
                <a:gd name="T10" fmla="*/ 5 w 7"/>
                <a:gd name="T11" fmla="*/ 14 h 16"/>
                <a:gd name="T12" fmla="*/ 5 w 7"/>
                <a:gd name="T13" fmla="*/ 14 h 16"/>
                <a:gd name="T14" fmla="*/ 5 w 7"/>
                <a:gd name="T15" fmla="*/ 14 h 16"/>
                <a:gd name="T16" fmla="*/ 7 w 7"/>
                <a:gd name="T17" fmla="*/ 16 h 16"/>
                <a:gd name="T18" fmla="*/ 7 w 7"/>
                <a:gd name="T19" fmla="*/ 14 h 16"/>
                <a:gd name="T20" fmla="*/ 7 w 7"/>
                <a:gd name="T21" fmla="*/ 14 h 16"/>
                <a:gd name="T22" fmla="*/ 7 w 7"/>
                <a:gd name="T23" fmla="*/ 11 h 16"/>
                <a:gd name="T24" fmla="*/ 7 w 7"/>
                <a:gd name="T25" fmla="*/ 11 h 16"/>
                <a:gd name="T26" fmla="*/ 7 w 7"/>
                <a:gd name="T27" fmla="*/ 11 h 16"/>
                <a:gd name="T28" fmla="*/ 7 w 7"/>
                <a:gd name="T29" fmla="*/ 9 h 16"/>
                <a:gd name="T30" fmla="*/ 7 w 7"/>
                <a:gd name="T31" fmla="*/ 9 h 16"/>
                <a:gd name="T32" fmla="*/ 5 w 7"/>
                <a:gd name="T33" fmla="*/ 9 h 16"/>
                <a:gd name="T34" fmla="*/ 2 w 7"/>
                <a:gd name="T35" fmla="*/ 2 h 16"/>
                <a:gd name="T36" fmla="*/ 2 w 7"/>
                <a:gd name="T37" fmla="*/ 2 h 16"/>
                <a:gd name="T38" fmla="*/ 2 w 7"/>
                <a:gd name="T39" fmla="*/ 0 h 16"/>
                <a:gd name="T40" fmla="*/ 2 w 7"/>
                <a:gd name="T41" fmla="*/ 0 h 16"/>
                <a:gd name="T42" fmla="*/ 0 w 7"/>
                <a:gd name="T43" fmla="*/ 0 h 16"/>
                <a:gd name="T44" fmla="*/ 0 w 7"/>
                <a:gd name="T45" fmla="*/ 0 h 16"/>
                <a:gd name="T46" fmla="*/ 0 w 7"/>
                <a:gd name="T47" fmla="*/ 0 h 16"/>
                <a:gd name="T48" fmla="*/ 0 w 7"/>
                <a:gd name="T49" fmla="*/ 0 h 16"/>
                <a:gd name="T50" fmla="*/ 0 w 7"/>
                <a:gd name="T51" fmla="*/ 0 h 16"/>
                <a:gd name="T52" fmla="*/ 0 w 7"/>
                <a:gd name="T53" fmla="*/ 0 h 16"/>
                <a:gd name="T54" fmla="*/ 0 w 7"/>
                <a:gd name="T55" fmla="*/ 0 h 16"/>
                <a:gd name="T56" fmla="*/ 0 w 7"/>
                <a:gd name="T57" fmla="*/ 2 h 16"/>
                <a:gd name="T58" fmla="*/ 0 w 7"/>
                <a:gd name="T59"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 h="16">
                  <a:moveTo>
                    <a:pt x="0" y="2"/>
                  </a:moveTo>
                  <a:lnTo>
                    <a:pt x="0" y="4"/>
                  </a:lnTo>
                  <a:lnTo>
                    <a:pt x="0" y="7"/>
                  </a:lnTo>
                  <a:lnTo>
                    <a:pt x="0" y="9"/>
                  </a:lnTo>
                  <a:lnTo>
                    <a:pt x="2" y="14"/>
                  </a:lnTo>
                  <a:lnTo>
                    <a:pt x="5" y="14"/>
                  </a:lnTo>
                  <a:lnTo>
                    <a:pt x="5" y="14"/>
                  </a:lnTo>
                  <a:lnTo>
                    <a:pt x="5" y="14"/>
                  </a:lnTo>
                  <a:lnTo>
                    <a:pt x="7" y="16"/>
                  </a:lnTo>
                  <a:lnTo>
                    <a:pt x="7" y="14"/>
                  </a:lnTo>
                  <a:lnTo>
                    <a:pt x="7" y="14"/>
                  </a:lnTo>
                  <a:lnTo>
                    <a:pt x="7" y="11"/>
                  </a:lnTo>
                  <a:lnTo>
                    <a:pt x="7" y="11"/>
                  </a:lnTo>
                  <a:lnTo>
                    <a:pt x="7" y="11"/>
                  </a:lnTo>
                  <a:lnTo>
                    <a:pt x="7" y="9"/>
                  </a:lnTo>
                  <a:lnTo>
                    <a:pt x="7" y="9"/>
                  </a:lnTo>
                  <a:lnTo>
                    <a:pt x="5" y="9"/>
                  </a:lnTo>
                  <a:lnTo>
                    <a:pt x="2" y="2"/>
                  </a:lnTo>
                  <a:lnTo>
                    <a:pt x="2" y="2"/>
                  </a:lnTo>
                  <a:lnTo>
                    <a:pt x="2" y="0"/>
                  </a:lnTo>
                  <a:lnTo>
                    <a:pt x="2" y="0"/>
                  </a:lnTo>
                  <a:lnTo>
                    <a:pt x="0" y="0"/>
                  </a:lnTo>
                  <a:lnTo>
                    <a:pt x="0" y="0"/>
                  </a:lnTo>
                  <a:lnTo>
                    <a:pt x="0" y="0"/>
                  </a:lnTo>
                  <a:lnTo>
                    <a:pt x="0" y="0"/>
                  </a:lnTo>
                  <a:lnTo>
                    <a:pt x="0" y="0"/>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208">
              <a:extLst>
                <a:ext uri="{FF2B5EF4-FFF2-40B4-BE49-F238E27FC236}">
                  <a16:creationId xmlns:a16="http://schemas.microsoft.com/office/drawing/2014/main" id="{277814E2-B896-4541-8AD2-455DB5A688CF}"/>
                </a:ext>
              </a:extLst>
            </p:cNvPr>
            <p:cNvSpPr>
              <a:spLocks/>
            </p:cNvSpPr>
            <p:nvPr/>
          </p:nvSpPr>
          <p:spPr bwMode="gray">
            <a:xfrm>
              <a:off x="-639" y="397"/>
              <a:ext cx="9" cy="7"/>
            </a:xfrm>
            <a:custGeom>
              <a:avLst/>
              <a:gdLst>
                <a:gd name="T0" fmla="*/ 5 w 9"/>
                <a:gd name="T1" fmla="*/ 0 h 7"/>
                <a:gd name="T2" fmla="*/ 2 w 9"/>
                <a:gd name="T3" fmla="*/ 0 h 7"/>
                <a:gd name="T4" fmla="*/ 0 w 9"/>
                <a:gd name="T5" fmla="*/ 0 h 7"/>
                <a:gd name="T6" fmla="*/ 2 w 9"/>
                <a:gd name="T7" fmla="*/ 3 h 7"/>
                <a:gd name="T8" fmla="*/ 5 w 9"/>
                <a:gd name="T9" fmla="*/ 3 h 7"/>
                <a:gd name="T10" fmla="*/ 5 w 9"/>
                <a:gd name="T11" fmla="*/ 5 h 7"/>
                <a:gd name="T12" fmla="*/ 5 w 9"/>
                <a:gd name="T13" fmla="*/ 5 h 7"/>
                <a:gd name="T14" fmla="*/ 9 w 9"/>
                <a:gd name="T15" fmla="*/ 7 h 7"/>
                <a:gd name="T16" fmla="*/ 9 w 9"/>
                <a:gd name="T17" fmla="*/ 7 h 7"/>
                <a:gd name="T18" fmla="*/ 9 w 9"/>
                <a:gd name="T19" fmla="*/ 7 h 7"/>
                <a:gd name="T20" fmla="*/ 9 w 9"/>
                <a:gd name="T21" fmla="*/ 7 h 7"/>
                <a:gd name="T22" fmla="*/ 9 w 9"/>
                <a:gd name="T23" fmla="*/ 5 h 7"/>
                <a:gd name="T24" fmla="*/ 9 w 9"/>
                <a:gd name="T25" fmla="*/ 5 h 7"/>
                <a:gd name="T26" fmla="*/ 9 w 9"/>
                <a:gd name="T27" fmla="*/ 5 h 7"/>
                <a:gd name="T28" fmla="*/ 5 w 9"/>
                <a:gd name="T2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7">
                  <a:moveTo>
                    <a:pt x="5" y="0"/>
                  </a:moveTo>
                  <a:lnTo>
                    <a:pt x="2" y="0"/>
                  </a:lnTo>
                  <a:lnTo>
                    <a:pt x="0" y="0"/>
                  </a:lnTo>
                  <a:lnTo>
                    <a:pt x="2" y="3"/>
                  </a:lnTo>
                  <a:lnTo>
                    <a:pt x="5" y="3"/>
                  </a:lnTo>
                  <a:lnTo>
                    <a:pt x="5" y="5"/>
                  </a:lnTo>
                  <a:lnTo>
                    <a:pt x="5" y="5"/>
                  </a:lnTo>
                  <a:lnTo>
                    <a:pt x="9" y="7"/>
                  </a:lnTo>
                  <a:lnTo>
                    <a:pt x="9" y="7"/>
                  </a:lnTo>
                  <a:lnTo>
                    <a:pt x="9" y="7"/>
                  </a:lnTo>
                  <a:lnTo>
                    <a:pt x="9" y="7"/>
                  </a:lnTo>
                  <a:lnTo>
                    <a:pt x="9" y="5"/>
                  </a:lnTo>
                  <a:lnTo>
                    <a:pt x="9" y="5"/>
                  </a:lnTo>
                  <a:lnTo>
                    <a:pt x="9" y="5"/>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209">
              <a:extLst>
                <a:ext uri="{FF2B5EF4-FFF2-40B4-BE49-F238E27FC236}">
                  <a16:creationId xmlns:a16="http://schemas.microsoft.com/office/drawing/2014/main" id="{C4089F65-FA11-40A9-81AC-AD13B945BE91}"/>
                </a:ext>
              </a:extLst>
            </p:cNvPr>
            <p:cNvSpPr>
              <a:spLocks/>
            </p:cNvSpPr>
            <p:nvPr/>
          </p:nvSpPr>
          <p:spPr bwMode="gray">
            <a:xfrm>
              <a:off x="-722" y="348"/>
              <a:ext cx="10" cy="7"/>
            </a:xfrm>
            <a:custGeom>
              <a:avLst/>
              <a:gdLst>
                <a:gd name="T0" fmla="*/ 8 w 10"/>
                <a:gd name="T1" fmla="*/ 2 h 7"/>
                <a:gd name="T2" fmla="*/ 8 w 10"/>
                <a:gd name="T3" fmla="*/ 2 h 7"/>
                <a:gd name="T4" fmla="*/ 5 w 10"/>
                <a:gd name="T5" fmla="*/ 0 h 7"/>
                <a:gd name="T6" fmla="*/ 3 w 10"/>
                <a:gd name="T7" fmla="*/ 0 h 7"/>
                <a:gd name="T8" fmla="*/ 3 w 10"/>
                <a:gd name="T9" fmla="*/ 0 h 7"/>
                <a:gd name="T10" fmla="*/ 0 w 10"/>
                <a:gd name="T11" fmla="*/ 0 h 7"/>
                <a:gd name="T12" fmla="*/ 0 w 10"/>
                <a:gd name="T13" fmla="*/ 0 h 7"/>
                <a:gd name="T14" fmla="*/ 3 w 10"/>
                <a:gd name="T15" fmla="*/ 2 h 7"/>
                <a:gd name="T16" fmla="*/ 3 w 10"/>
                <a:gd name="T17" fmla="*/ 2 h 7"/>
                <a:gd name="T18" fmla="*/ 3 w 10"/>
                <a:gd name="T19" fmla="*/ 4 h 7"/>
                <a:gd name="T20" fmla="*/ 3 w 10"/>
                <a:gd name="T21" fmla="*/ 4 h 7"/>
                <a:gd name="T22" fmla="*/ 5 w 10"/>
                <a:gd name="T23" fmla="*/ 4 h 7"/>
                <a:gd name="T24" fmla="*/ 5 w 10"/>
                <a:gd name="T25" fmla="*/ 7 h 7"/>
                <a:gd name="T26" fmla="*/ 8 w 10"/>
                <a:gd name="T27" fmla="*/ 7 h 7"/>
                <a:gd name="T28" fmla="*/ 8 w 10"/>
                <a:gd name="T29" fmla="*/ 7 h 7"/>
                <a:gd name="T30" fmla="*/ 10 w 10"/>
                <a:gd name="T31" fmla="*/ 4 h 7"/>
                <a:gd name="T32" fmla="*/ 10 w 10"/>
                <a:gd name="T33" fmla="*/ 4 h 7"/>
                <a:gd name="T34" fmla="*/ 10 w 10"/>
                <a:gd name="T35" fmla="*/ 4 h 7"/>
                <a:gd name="T36" fmla="*/ 8 w 10"/>
                <a:gd name="T37" fmla="*/ 4 h 7"/>
                <a:gd name="T38" fmla="*/ 8 w 10"/>
                <a:gd name="T39" fmla="*/ 2 h 7"/>
                <a:gd name="T40" fmla="*/ 8 w 10"/>
                <a:gd name="T41"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 h="7">
                  <a:moveTo>
                    <a:pt x="8" y="2"/>
                  </a:moveTo>
                  <a:lnTo>
                    <a:pt x="8" y="2"/>
                  </a:lnTo>
                  <a:lnTo>
                    <a:pt x="5" y="0"/>
                  </a:lnTo>
                  <a:lnTo>
                    <a:pt x="3" y="0"/>
                  </a:lnTo>
                  <a:lnTo>
                    <a:pt x="3" y="0"/>
                  </a:lnTo>
                  <a:lnTo>
                    <a:pt x="0" y="0"/>
                  </a:lnTo>
                  <a:lnTo>
                    <a:pt x="0" y="0"/>
                  </a:lnTo>
                  <a:lnTo>
                    <a:pt x="3" y="2"/>
                  </a:lnTo>
                  <a:lnTo>
                    <a:pt x="3" y="2"/>
                  </a:lnTo>
                  <a:lnTo>
                    <a:pt x="3" y="4"/>
                  </a:lnTo>
                  <a:lnTo>
                    <a:pt x="3" y="4"/>
                  </a:lnTo>
                  <a:lnTo>
                    <a:pt x="5" y="4"/>
                  </a:lnTo>
                  <a:lnTo>
                    <a:pt x="5" y="7"/>
                  </a:lnTo>
                  <a:lnTo>
                    <a:pt x="8" y="7"/>
                  </a:lnTo>
                  <a:lnTo>
                    <a:pt x="8" y="7"/>
                  </a:lnTo>
                  <a:lnTo>
                    <a:pt x="10" y="4"/>
                  </a:lnTo>
                  <a:lnTo>
                    <a:pt x="10" y="4"/>
                  </a:lnTo>
                  <a:lnTo>
                    <a:pt x="10" y="4"/>
                  </a:lnTo>
                  <a:lnTo>
                    <a:pt x="8" y="4"/>
                  </a:lnTo>
                  <a:lnTo>
                    <a:pt x="8" y="2"/>
                  </a:lnTo>
                  <a:lnTo>
                    <a:pt x="8"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210">
              <a:extLst>
                <a:ext uri="{FF2B5EF4-FFF2-40B4-BE49-F238E27FC236}">
                  <a16:creationId xmlns:a16="http://schemas.microsoft.com/office/drawing/2014/main" id="{5870B56D-77FA-42B8-8BC7-55D99585E3DC}"/>
                </a:ext>
              </a:extLst>
            </p:cNvPr>
            <p:cNvSpPr>
              <a:spLocks/>
            </p:cNvSpPr>
            <p:nvPr/>
          </p:nvSpPr>
          <p:spPr bwMode="gray">
            <a:xfrm>
              <a:off x="-764" y="397"/>
              <a:ext cx="9" cy="7"/>
            </a:xfrm>
            <a:custGeom>
              <a:avLst/>
              <a:gdLst>
                <a:gd name="T0" fmla="*/ 9 w 9"/>
                <a:gd name="T1" fmla="*/ 5 h 7"/>
                <a:gd name="T2" fmla="*/ 9 w 9"/>
                <a:gd name="T3" fmla="*/ 5 h 7"/>
                <a:gd name="T4" fmla="*/ 9 w 9"/>
                <a:gd name="T5" fmla="*/ 3 h 7"/>
                <a:gd name="T6" fmla="*/ 7 w 9"/>
                <a:gd name="T7" fmla="*/ 3 h 7"/>
                <a:gd name="T8" fmla="*/ 5 w 9"/>
                <a:gd name="T9" fmla="*/ 0 h 7"/>
                <a:gd name="T10" fmla="*/ 2 w 9"/>
                <a:gd name="T11" fmla="*/ 0 h 7"/>
                <a:gd name="T12" fmla="*/ 2 w 9"/>
                <a:gd name="T13" fmla="*/ 3 h 7"/>
                <a:gd name="T14" fmla="*/ 0 w 9"/>
                <a:gd name="T15" fmla="*/ 3 h 7"/>
                <a:gd name="T16" fmla="*/ 0 w 9"/>
                <a:gd name="T17" fmla="*/ 5 h 7"/>
                <a:gd name="T18" fmla="*/ 0 w 9"/>
                <a:gd name="T19" fmla="*/ 7 h 7"/>
                <a:gd name="T20" fmla="*/ 2 w 9"/>
                <a:gd name="T21" fmla="*/ 7 h 7"/>
                <a:gd name="T22" fmla="*/ 7 w 9"/>
                <a:gd name="T23" fmla="*/ 5 h 7"/>
                <a:gd name="T24" fmla="*/ 9 w 9"/>
                <a:gd name="T25"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7">
                  <a:moveTo>
                    <a:pt x="9" y="5"/>
                  </a:moveTo>
                  <a:lnTo>
                    <a:pt x="9" y="5"/>
                  </a:lnTo>
                  <a:lnTo>
                    <a:pt x="9" y="3"/>
                  </a:lnTo>
                  <a:lnTo>
                    <a:pt x="7" y="3"/>
                  </a:lnTo>
                  <a:lnTo>
                    <a:pt x="5" y="0"/>
                  </a:lnTo>
                  <a:lnTo>
                    <a:pt x="2" y="0"/>
                  </a:lnTo>
                  <a:lnTo>
                    <a:pt x="2" y="3"/>
                  </a:lnTo>
                  <a:lnTo>
                    <a:pt x="0" y="3"/>
                  </a:lnTo>
                  <a:lnTo>
                    <a:pt x="0" y="5"/>
                  </a:lnTo>
                  <a:lnTo>
                    <a:pt x="0" y="7"/>
                  </a:lnTo>
                  <a:lnTo>
                    <a:pt x="2" y="7"/>
                  </a:lnTo>
                  <a:lnTo>
                    <a:pt x="7" y="5"/>
                  </a:lnTo>
                  <a:lnTo>
                    <a:pt x="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211">
              <a:extLst>
                <a:ext uri="{FF2B5EF4-FFF2-40B4-BE49-F238E27FC236}">
                  <a16:creationId xmlns:a16="http://schemas.microsoft.com/office/drawing/2014/main" id="{93902591-1B17-4CCE-A02D-3F57B8978645}"/>
                </a:ext>
              </a:extLst>
            </p:cNvPr>
            <p:cNvSpPr>
              <a:spLocks/>
            </p:cNvSpPr>
            <p:nvPr/>
          </p:nvSpPr>
          <p:spPr bwMode="gray">
            <a:xfrm>
              <a:off x="-712" y="305"/>
              <a:ext cx="7" cy="17"/>
            </a:xfrm>
            <a:custGeom>
              <a:avLst/>
              <a:gdLst>
                <a:gd name="T0" fmla="*/ 2 w 7"/>
                <a:gd name="T1" fmla="*/ 17 h 17"/>
                <a:gd name="T2" fmla="*/ 2 w 7"/>
                <a:gd name="T3" fmla="*/ 17 h 17"/>
                <a:gd name="T4" fmla="*/ 7 w 7"/>
                <a:gd name="T5" fmla="*/ 12 h 17"/>
                <a:gd name="T6" fmla="*/ 7 w 7"/>
                <a:gd name="T7" fmla="*/ 7 h 17"/>
                <a:gd name="T8" fmla="*/ 7 w 7"/>
                <a:gd name="T9" fmla="*/ 5 h 17"/>
                <a:gd name="T10" fmla="*/ 5 w 7"/>
                <a:gd name="T11" fmla="*/ 3 h 17"/>
                <a:gd name="T12" fmla="*/ 5 w 7"/>
                <a:gd name="T13" fmla="*/ 0 h 17"/>
                <a:gd name="T14" fmla="*/ 2 w 7"/>
                <a:gd name="T15" fmla="*/ 0 h 17"/>
                <a:gd name="T16" fmla="*/ 2 w 7"/>
                <a:gd name="T17" fmla="*/ 3 h 17"/>
                <a:gd name="T18" fmla="*/ 0 w 7"/>
                <a:gd name="T19" fmla="*/ 5 h 17"/>
                <a:gd name="T20" fmla="*/ 0 w 7"/>
                <a:gd name="T21" fmla="*/ 10 h 17"/>
                <a:gd name="T22" fmla="*/ 0 w 7"/>
                <a:gd name="T23" fmla="*/ 12 h 17"/>
                <a:gd name="T24" fmla="*/ 2 w 7"/>
                <a:gd name="T25"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7">
                  <a:moveTo>
                    <a:pt x="2" y="17"/>
                  </a:moveTo>
                  <a:lnTo>
                    <a:pt x="2" y="17"/>
                  </a:lnTo>
                  <a:lnTo>
                    <a:pt x="7" y="12"/>
                  </a:lnTo>
                  <a:lnTo>
                    <a:pt x="7" y="7"/>
                  </a:lnTo>
                  <a:lnTo>
                    <a:pt x="7" y="5"/>
                  </a:lnTo>
                  <a:lnTo>
                    <a:pt x="5" y="3"/>
                  </a:lnTo>
                  <a:lnTo>
                    <a:pt x="5" y="0"/>
                  </a:lnTo>
                  <a:lnTo>
                    <a:pt x="2" y="0"/>
                  </a:lnTo>
                  <a:lnTo>
                    <a:pt x="2" y="3"/>
                  </a:lnTo>
                  <a:lnTo>
                    <a:pt x="0" y="5"/>
                  </a:lnTo>
                  <a:lnTo>
                    <a:pt x="0" y="10"/>
                  </a:lnTo>
                  <a:lnTo>
                    <a:pt x="0" y="12"/>
                  </a:lnTo>
                  <a:lnTo>
                    <a:pt x="2"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212">
              <a:extLst>
                <a:ext uri="{FF2B5EF4-FFF2-40B4-BE49-F238E27FC236}">
                  <a16:creationId xmlns:a16="http://schemas.microsoft.com/office/drawing/2014/main" id="{DB6F14CB-551E-4DE1-BE5D-6DC494624D0E}"/>
                </a:ext>
              </a:extLst>
            </p:cNvPr>
            <p:cNvSpPr>
              <a:spLocks/>
            </p:cNvSpPr>
            <p:nvPr/>
          </p:nvSpPr>
          <p:spPr bwMode="gray">
            <a:xfrm>
              <a:off x="-830" y="388"/>
              <a:ext cx="9" cy="9"/>
            </a:xfrm>
            <a:custGeom>
              <a:avLst/>
              <a:gdLst>
                <a:gd name="T0" fmla="*/ 7 w 9"/>
                <a:gd name="T1" fmla="*/ 4 h 9"/>
                <a:gd name="T2" fmla="*/ 7 w 9"/>
                <a:gd name="T3" fmla="*/ 4 h 9"/>
                <a:gd name="T4" fmla="*/ 5 w 9"/>
                <a:gd name="T5" fmla="*/ 4 h 9"/>
                <a:gd name="T6" fmla="*/ 5 w 9"/>
                <a:gd name="T7" fmla="*/ 2 h 9"/>
                <a:gd name="T8" fmla="*/ 5 w 9"/>
                <a:gd name="T9" fmla="*/ 2 h 9"/>
                <a:gd name="T10" fmla="*/ 2 w 9"/>
                <a:gd name="T11" fmla="*/ 0 h 9"/>
                <a:gd name="T12" fmla="*/ 0 w 9"/>
                <a:gd name="T13" fmla="*/ 0 h 9"/>
                <a:gd name="T14" fmla="*/ 0 w 9"/>
                <a:gd name="T15" fmla="*/ 2 h 9"/>
                <a:gd name="T16" fmla="*/ 2 w 9"/>
                <a:gd name="T17" fmla="*/ 4 h 9"/>
                <a:gd name="T18" fmla="*/ 2 w 9"/>
                <a:gd name="T19" fmla="*/ 4 h 9"/>
                <a:gd name="T20" fmla="*/ 2 w 9"/>
                <a:gd name="T21" fmla="*/ 7 h 9"/>
                <a:gd name="T22" fmla="*/ 5 w 9"/>
                <a:gd name="T23" fmla="*/ 7 h 9"/>
                <a:gd name="T24" fmla="*/ 5 w 9"/>
                <a:gd name="T25" fmla="*/ 9 h 9"/>
                <a:gd name="T26" fmla="*/ 5 w 9"/>
                <a:gd name="T27" fmla="*/ 9 h 9"/>
                <a:gd name="T28" fmla="*/ 7 w 9"/>
                <a:gd name="T29" fmla="*/ 9 h 9"/>
                <a:gd name="T30" fmla="*/ 7 w 9"/>
                <a:gd name="T31" fmla="*/ 9 h 9"/>
                <a:gd name="T32" fmla="*/ 9 w 9"/>
                <a:gd name="T33" fmla="*/ 7 h 9"/>
                <a:gd name="T34" fmla="*/ 7 w 9"/>
                <a:gd name="T35" fmla="*/ 7 h 9"/>
                <a:gd name="T36" fmla="*/ 7 w 9"/>
                <a:gd name="T37" fmla="*/ 7 h 9"/>
                <a:gd name="T38" fmla="*/ 7 w 9"/>
                <a:gd name="T3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 h="9">
                  <a:moveTo>
                    <a:pt x="7" y="4"/>
                  </a:moveTo>
                  <a:lnTo>
                    <a:pt x="7" y="4"/>
                  </a:lnTo>
                  <a:lnTo>
                    <a:pt x="5" y="4"/>
                  </a:lnTo>
                  <a:lnTo>
                    <a:pt x="5" y="2"/>
                  </a:lnTo>
                  <a:lnTo>
                    <a:pt x="5" y="2"/>
                  </a:lnTo>
                  <a:lnTo>
                    <a:pt x="2" y="0"/>
                  </a:lnTo>
                  <a:lnTo>
                    <a:pt x="0" y="0"/>
                  </a:lnTo>
                  <a:lnTo>
                    <a:pt x="0" y="2"/>
                  </a:lnTo>
                  <a:lnTo>
                    <a:pt x="2" y="4"/>
                  </a:lnTo>
                  <a:lnTo>
                    <a:pt x="2" y="4"/>
                  </a:lnTo>
                  <a:lnTo>
                    <a:pt x="2" y="7"/>
                  </a:lnTo>
                  <a:lnTo>
                    <a:pt x="5" y="7"/>
                  </a:lnTo>
                  <a:lnTo>
                    <a:pt x="5" y="9"/>
                  </a:lnTo>
                  <a:lnTo>
                    <a:pt x="5" y="9"/>
                  </a:lnTo>
                  <a:lnTo>
                    <a:pt x="7" y="9"/>
                  </a:lnTo>
                  <a:lnTo>
                    <a:pt x="7" y="9"/>
                  </a:lnTo>
                  <a:lnTo>
                    <a:pt x="9" y="7"/>
                  </a:lnTo>
                  <a:lnTo>
                    <a:pt x="7" y="7"/>
                  </a:lnTo>
                  <a:lnTo>
                    <a:pt x="7" y="7"/>
                  </a:lnTo>
                  <a:lnTo>
                    <a:pt x="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213">
              <a:extLst>
                <a:ext uri="{FF2B5EF4-FFF2-40B4-BE49-F238E27FC236}">
                  <a16:creationId xmlns:a16="http://schemas.microsoft.com/office/drawing/2014/main" id="{E8DA75BE-CB43-47F2-B1A6-F844F290E2C0}"/>
                </a:ext>
              </a:extLst>
            </p:cNvPr>
            <p:cNvSpPr>
              <a:spLocks/>
            </p:cNvSpPr>
            <p:nvPr/>
          </p:nvSpPr>
          <p:spPr bwMode="gray">
            <a:xfrm>
              <a:off x="-1297" y="383"/>
              <a:ext cx="4" cy="12"/>
            </a:xfrm>
            <a:custGeom>
              <a:avLst/>
              <a:gdLst>
                <a:gd name="T0" fmla="*/ 4 w 4"/>
                <a:gd name="T1" fmla="*/ 2 h 12"/>
                <a:gd name="T2" fmla="*/ 4 w 4"/>
                <a:gd name="T3" fmla="*/ 0 h 12"/>
                <a:gd name="T4" fmla="*/ 2 w 4"/>
                <a:gd name="T5" fmla="*/ 0 h 12"/>
                <a:gd name="T6" fmla="*/ 2 w 4"/>
                <a:gd name="T7" fmla="*/ 0 h 12"/>
                <a:gd name="T8" fmla="*/ 2 w 4"/>
                <a:gd name="T9" fmla="*/ 5 h 12"/>
                <a:gd name="T10" fmla="*/ 2 w 4"/>
                <a:gd name="T11" fmla="*/ 5 h 12"/>
                <a:gd name="T12" fmla="*/ 2 w 4"/>
                <a:gd name="T13" fmla="*/ 2 h 12"/>
                <a:gd name="T14" fmla="*/ 0 w 4"/>
                <a:gd name="T15" fmla="*/ 0 h 12"/>
                <a:gd name="T16" fmla="*/ 0 w 4"/>
                <a:gd name="T17" fmla="*/ 2 h 12"/>
                <a:gd name="T18" fmla="*/ 0 w 4"/>
                <a:gd name="T19" fmla="*/ 2 h 12"/>
                <a:gd name="T20" fmla="*/ 0 w 4"/>
                <a:gd name="T21" fmla="*/ 5 h 12"/>
                <a:gd name="T22" fmla="*/ 0 w 4"/>
                <a:gd name="T23" fmla="*/ 9 h 12"/>
                <a:gd name="T24" fmla="*/ 0 w 4"/>
                <a:gd name="T25" fmla="*/ 9 h 12"/>
                <a:gd name="T26" fmla="*/ 2 w 4"/>
                <a:gd name="T27" fmla="*/ 9 h 12"/>
                <a:gd name="T28" fmla="*/ 2 w 4"/>
                <a:gd name="T29" fmla="*/ 12 h 12"/>
                <a:gd name="T30" fmla="*/ 2 w 4"/>
                <a:gd name="T31" fmla="*/ 12 h 12"/>
                <a:gd name="T32" fmla="*/ 4 w 4"/>
                <a:gd name="T33" fmla="*/ 12 h 12"/>
                <a:gd name="T34" fmla="*/ 4 w 4"/>
                <a:gd name="T35" fmla="*/ 9 h 12"/>
                <a:gd name="T36" fmla="*/ 4 w 4"/>
                <a:gd name="T37" fmla="*/ 7 h 12"/>
                <a:gd name="T38" fmla="*/ 4 w 4"/>
                <a:gd name="T3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12">
                  <a:moveTo>
                    <a:pt x="4" y="2"/>
                  </a:moveTo>
                  <a:lnTo>
                    <a:pt x="4" y="0"/>
                  </a:lnTo>
                  <a:lnTo>
                    <a:pt x="2" y="0"/>
                  </a:lnTo>
                  <a:lnTo>
                    <a:pt x="2" y="0"/>
                  </a:lnTo>
                  <a:lnTo>
                    <a:pt x="2" y="5"/>
                  </a:lnTo>
                  <a:lnTo>
                    <a:pt x="2" y="5"/>
                  </a:lnTo>
                  <a:lnTo>
                    <a:pt x="2" y="2"/>
                  </a:lnTo>
                  <a:lnTo>
                    <a:pt x="0" y="0"/>
                  </a:lnTo>
                  <a:lnTo>
                    <a:pt x="0" y="2"/>
                  </a:lnTo>
                  <a:lnTo>
                    <a:pt x="0" y="2"/>
                  </a:lnTo>
                  <a:lnTo>
                    <a:pt x="0" y="5"/>
                  </a:lnTo>
                  <a:lnTo>
                    <a:pt x="0" y="9"/>
                  </a:lnTo>
                  <a:lnTo>
                    <a:pt x="0" y="9"/>
                  </a:lnTo>
                  <a:lnTo>
                    <a:pt x="2" y="9"/>
                  </a:lnTo>
                  <a:lnTo>
                    <a:pt x="2" y="12"/>
                  </a:lnTo>
                  <a:lnTo>
                    <a:pt x="2" y="12"/>
                  </a:lnTo>
                  <a:lnTo>
                    <a:pt x="4" y="12"/>
                  </a:lnTo>
                  <a:lnTo>
                    <a:pt x="4" y="9"/>
                  </a:lnTo>
                  <a:lnTo>
                    <a:pt x="4" y="7"/>
                  </a:lnTo>
                  <a:lnTo>
                    <a:pt x="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214">
              <a:extLst>
                <a:ext uri="{FF2B5EF4-FFF2-40B4-BE49-F238E27FC236}">
                  <a16:creationId xmlns:a16="http://schemas.microsoft.com/office/drawing/2014/main" id="{17BBDE38-939F-4588-BFA0-8352C418BBF1}"/>
                </a:ext>
              </a:extLst>
            </p:cNvPr>
            <p:cNvSpPr>
              <a:spLocks/>
            </p:cNvSpPr>
            <p:nvPr/>
          </p:nvSpPr>
          <p:spPr bwMode="gray">
            <a:xfrm>
              <a:off x="-1293" y="400"/>
              <a:ext cx="12" cy="9"/>
            </a:xfrm>
            <a:custGeom>
              <a:avLst/>
              <a:gdLst>
                <a:gd name="T0" fmla="*/ 3 w 12"/>
                <a:gd name="T1" fmla="*/ 9 h 9"/>
                <a:gd name="T2" fmla="*/ 3 w 12"/>
                <a:gd name="T3" fmla="*/ 7 h 9"/>
                <a:gd name="T4" fmla="*/ 5 w 12"/>
                <a:gd name="T5" fmla="*/ 7 h 9"/>
                <a:gd name="T6" fmla="*/ 7 w 12"/>
                <a:gd name="T7" fmla="*/ 7 h 9"/>
                <a:gd name="T8" fmla="*/ 7 w 12"/>
                <a:gd name="T9" fmla="*/ 7 h 9"/>
                <a:gd name="T10" fmla="*/ 12 w 12"/>
                <a:gd name="T11" fmla="*/ 4 h 9"/>
                <a:gd name="T12" fmla="*/ 12 w 12"/>
                <a:gd name="T13" fmla="*/ 2 h 9"/>
                <a:gd name="T14" fmla="*/ 7 w 12"/>
                <a:gd name="T15" fmla="*/ 2 h 9"/>
                <a:gd name="T16" fmla="*/ 5 w 12"/>
                <a:gd name="T17" fmla="*/ 2 h 9"/>
                <a:gd name="T18" fmla="*/ 5 w 12"/>
                <a:gd name="T19" fmla="*/ 0 h 9"/>
                <a:gd name="T20" fmla="*/ 0 w 12"/>
                <a:gd name="T21" fmla="*/ 4 h 9"/>
                <a:gd name="T22" fmla="*/ 0 w 12"/>
                <a:gd name="T23" fmla="*/ 7 h 9"/>
                <a:gd name="T24" fmla="*/ 0 w 12"/>
                <a:gd name="T25" fmla="*/ 9 h 9"/>
                <a:gd name="T26" fmla="*/ 3 w 12"/>
                <a:gd name="T27" fmla="*/ 9 h 9"/>
                <a:gd name="T28" fmla="*/ 3 w 12"/>
                <a:gd name="T2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9">
                  <a:moveTo>
                    <a:pt x="3" y="9"/>
                  </a:moveTo>
                  <a:lnTo>
                    <a:pt x="3" y="7"/>
                  </a:lnTo>
                  <a:lnTo>
                    <a:pt x="5" y="7"/>
                  </a:lnTo>
                  <a:lnTo>
                    <a:pt x="7" y="7"/>
                  </a:lnTo>
                  <a:lnTo>
                    <a:pt x="7" y="7"/>
                  </a:lnTo>
                  <a:lnTo>
                    <a:pt x="12" y="4"/>
                  </a:lnTo>
                  <a:lnTo>
                    <a:pt x="12" y="2"/>
                  </a:lnTo>
                  <a:lnTo>
                    <a:pt x="7" y="2"/>
                  </a:lnTo>
                  <a:lnTo>
                    <a:pt x="5" y="2"/>
                  </a:lnTo>
                  <a:lnTo>
                    <a:pt x="5" y="0"/>
                  </a:lnTo>
                  <a:lnTo>
                    <a:pt x="0" y="4"/>
                  </a:lnTo>
                  <a:lnTo>
                    <a:pt x="0" y="7"/>
                  </a:lnTo>
                  <a:lnTo>
                    <a:pt x="0" y="9"/>
                  </a:lnTo>
                  <a:lnTo>
                    <a:pt x="3" y="9"/>
                  </a:lnTo>
                  <a:lnTo>
                    <a:pt x="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215">
              <a:extLst>
                <a:ext uri="{FF2B5EF4-FFF2-40B4-BE49-F238E27FC236}">
                  <a16:creationId xmlns:a16="http://schemas.microsoft.com/office/drawing/2014/main" id="{8A63951B-FE1E-4817-8090-802F63DCBC0F}"/>
                </a:ext>
              </a:extLst>
            </p:cNvPr>
            <p:cNvSpPr>
              <a:spLocks/>
            </p:cNvSpPr>
            <p:nvPr/>
          </p:nvSpPr>
          <p:spPr bwMode="gray">
            <a:xfrm>
              <a:off x="-1311" y="390"/>
              <a:ext cx="14" cy="17"/>
            </a:xfrm>
            <a:custGeom>
              <a:avLst/>
              <a:gdLst>
                <a:gd name="T0" fmla="*/ 11 w 14"/>
                <a:gd name="T1" fmla="*/ 17 h 17"/>
                <a:gd name="T2" fmla="*/ 14 w 14"/>
                <a:gd name="T3" fmla="*/ 14 h 17"/>
                <a:gd name="T4" fmla="*/ 14 w 14"/>
                <a:gd name="T5" fmla="*/ 12 h 17"/>
                <a:gd name="T6" fmla="*/ 14 w 14"/>
                <a:gd name="T7" fmla="*/ 12 h 17"/>
                <a:gd name="T8" fmla="*/ 14 w 14"/>
                <a:gd name="T9" fmla="*/ 10 h 17"/>
                <a:gd name="T10" fmla="*/ 11 w 14"/>
                <a:gd name="T11" fmla="*/ 5 h 17"/>
                <a:gd name="T12" fmla="*/ 9 w 14"/>
                <a:gd name="T13" fmla="*/ 2 h 17"/>
                <a:gd name="T14" fmla="*/ 7 w 14"/>
                <a:gd name="T15" fmla="*/ 2 h 17"/>
                <a:gd name="T16" fmla="*/ 7 w 14"/>
                <a:gd name="T17" fmla="*/ 0 h 17"/>
                <a:gd name="T18" fmla="*/ 4 w 14"/>
                <a:gd name="T19" fmla="*/ 2 h 17"/>
                <a:gd name="T20" fmla="*/ 2 w 14"/>
                <a:gd name="T21" fmla="*/ 5 h 17"/>
                <a:gd name="T22" fmla="*/ 0 w 14"/>
                <a:gd name="T23" fmla="*/ 7 h 17"/>
                <a:gd name="T24" fmla="*/ 2 w 14"/>
                <a:gd name="T25" fmla="*/ 7 h 17"/>
                <a:gd name="T26" fmla="*/ 4 w 14"/>
                <a:gd name="T27" fmla="*/ 10 h 17"/>
                <a:gd name="T28" fmla="*/ 7 w 14"/>
                <a:gd name="T29" fmla="*/ 10 h 17"/>
                <a:gd name="T30" fmla="*/ 7 w 14"/>
                <a:gd name="T31" fmla="*/ 12 h 17"/>
                <a:gd name="T32" fmla="*/ 7 w 14"/>
                <a:gd name="T33" fmla="*/ 12 h 17"/>
                <a:gd name="T34" fmla="*/ 7 w 14"/>
                <a:gd name="T35" fmla="*/ 14 h 17"/>
                <a:gd name="T36" fmla="*/ 7 w 14"/>
                <a:gd name="T37" fmla="*/ 14 h 17"/>
                <a:gd name="T38" fmla="*/ 9 w 14"/>
                <a:gd name="T39" fmla="*/ 14 h 17"/>
                <a:gd name="T40" fmla="*/ 11 w 14"/>
                <a:gd name="T41" fmla="*/ 14 h 17"/>
                <a:gd name="T42" fmla="*/ 11 w 14"/>
                <a:gd name="T43" fmla="*/ 14 h 17"/>
                <a:gd name="T44" fmla="*/ 11 w 14"/>
                <a:gd name="T45" fmla="*/ 17 h 17"/>
                <a:gd name="T46" fmla="*/ 11 w 14"/>
                <a:gd name="T4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 h="17">
                  <a:moveTo>
                    <a:pt x="11" y="17"/>
                  </a:moveTo>
                  <a:lnTo>
                    <a:pt x="14" y="14"/>
                  </a:lnTo>
                  <a:lnTo>
                    <a:pt x="14" y="12"/>
                  </a:lnTo>
                  <a:lnTo>
                    <a:pt x="14" y="12"/>
                  </a:lnTo>
                  <a:lnTo>
                    <a:pt x="14" y="10"/>
                  </a:lnTo>
                  <a:lnTo>
                    <a:pt x="11" y="5"/>
                  </a:lnTo>
                  <a:lnTo>
                    <a:pt x="9" y="2"/>
                  </a:lnTo>
                  <a:lnTo>
                    <a:pt x="7" y="2"/>
                  </a:lnTo>
                  <a:lnTo>
                    <a:pt x="7" y="0"/>
                  </a:lnTo>
                  <a:lnTo>
                    <a:pt x="4" y="2"/>
                  </a:lnTo>
                  <a:lnTo>
                    <a:pt x="2" y="5"/>
                  </a:lnTo>
                  <a:lnTo>
                    <a:pt x="0" y="7"/>
                  </a:lnTo>
                  <a:lnTo>
                    <a:pt x="2" y="7"/>
                  </a:lnTo>
                  <a:lnTo>
                    <a:pt x="4" y="10"/>
                  </a:lnTo>
                  <a:lnTo>
                    <a:pt x="7" y="10"/>
                  </a:lnTo>
                  <a:lnTo>
                    <a:pt x="7" y="12"/>
                  </a:lnTo>
                  <a:lnTo>
                    <a:pt x="7" y="12"/>
                  </a:lnTo>
                  <a:lnTo>
                    <a:pt x="7" y="14"/>
                  </a:lnTo>
                  <a:lnTo>
                    <a:pt x="7" y="14"/>
                  </a:lnTo>
                  <a:lnTo>
                    <a:pt x="9" y="14"/>
                  </a:lnTo>
                  <a:lnTo>
                    <a:pt x="11" y="14"/>
                  </a:lnTo>
                  <a:lnTo>
                    <a:pt x="11" y="14"/>
                  </a:lnTo>
                  <a:lnTo>
                    <a:pt x="11" y="17"/>
                  </a:lnTo>
                  <a:lnTo>
                    <a:pt x="11"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16">
              <a:extLst>
                <a:ext uri="{FF2B5EF4-FFF2-40B4-BE49-F238E27FC236}">
                  <a16:creationId xmlns:a16="http://schemas.microsoft.com/office/drawing/2014/main" id="{B969F3F9-3AFC-4AD5-B97A-4D41317CB5EC}"/>
                </a:ext>
              </a:extLst>
            </p:cNvPr>
            <p:cNvSpPr>
              <a:spLocks/>
            </p:cNvSpPr>
            <p:nvPr/>
          </p:nvSpPr>
          <p:spPr bwMode="gray">
            <a:xfrm>
              <a:off x="-1337" y="345"/>
              <a:ext cx="44" cy="52"/>
            </a:xfrm>
            <a:custGeom>
              <a:avLst/>
              <a:gdLst>
                <a:gd name="T0" fmla="*/ 28 w 44"/>
                <a:gd name="T1" fmla="*/ 45 h 52"/>
                <a:gd name="T2" fmla="*/ 26 w 44"/>
                <a:gd name="T3" fmla="*/ 43 h 52"/>
                <a:gd name="T4" fmla="*/ 28 w 44"/>
                <a:gd name="T5" fmla="*/ 33 h 52"/>
                <a:gd name="T6" fmla="*/ 26 w 44"/>
                <a:gd name="T7" fmla="*/ 36 h 52"/>
                <a:gd name="T8" fmla="*/ 21 w 44"/>
                <a:gd name="T9" fmla="*/ 33 h 52"/>
                <a:gd name="T10" fmla="*/ 18 w 44"/>
                <a:gd name="T11" fmla="*/ 26 h 52"/>
                <a:gd name="T12" fmla="*/ 21 w 44"/>
                <a:gd name="T13" fmla="*/ 29 h 52"/>
                <a:gd name="T14" fmla="*/ 26 w 44"/>
                <a:gd name="T15" fmla="*/ 31 h 52"/>
                <a:gd name="T16" fmla="*/ 23 w 44"/>
                <a:gd name="T17" fmla="*/ 24 h 52"/>
                <a:gd name="T18" fmla="*/ 26 w 44"/>
                <a:gd name="T19" fmla="*/ 19 h 52"/>
                <a:gd name="T20" fmla="*/ 28 w 44"/>
                <a:gd name="T21" fmla="*/ 14 h 52"/>
                <a:gd name="T22" fmla="*/ 26 w 44"/>
                <a:gd name="T23" fmla="*/ 24 h 52"/>
                <a:gd name="T24" fmla="*/ 30 w 44"/>
                <a:gd name="T25" fmla="*/ 31 h 52"/>
                <a:gd name="T26" fmla="*/ 37 w 44"/>
                <a:gd name="T27" fmla="*/ 24 h 52"/>
                <a:gd name="T28" fmla="*/ 30 w 44"/>
                <a:gd name="T29" fmla="*/ 29 h 52"/>
                <a:gd name="T30" fmla="*/ 35 w 44"/>
                <a:gd name="T31" fmla="*/ 33 h 52"/>
                <a:gd name="T32" fmla="*/ 37 w 44"/>
                <a:gd name="T33" fmla="*/ 33 h 52"/>
                <a:gd name="T34" fmla="*/ 40 w 44"/>
                <a:gd name="T35" fmla="*/ 31 h 52"/>
                <a:gd name="T36" fmla="*/ 40 w 44"/>
                <a:gd name="T37" fmla="*/ 29 h 52"/>
                <a:gd name="T38" fmla="*/ 44 w 44"/>
                <a:gd name="T39" fmla="*/ 19 h 52"/>
                <a:gd name="T40" fmla="*/ 40 w 44"/>
                <a:gd name="T41" fmla="*/ 17 h 52"/>
                <a:gd name="T42" fmla="*/ 33 w 44"/>
                <a:gd name="T43" fmla="*/ 12 h 52"/>
                <a:gd name="T44" fmla="*/ 30 w 44"/>
                <a:gd name="T45" fmla="*/ 10 h 52"/>
                <a:gd name="T46" fmla="*/ 28 w 44"/>
                <a:gd name="T47" fmla="*/ 12 h 52"/>
                <a:gd name="T48" fmla="*/ 18 w 44"/>
                <a:gd name="T49" fmla="*/ 7 h 52"/>
                <a:gd name="T50" fmla="*/ 16 w 44"/>
                <a:gd name="T51" fmla="*/ 0 h 52"/>
                <a:gd name="T52" fmla="*/ 11 w 44"/>
                <a:gd name="T53" fmla="*/ 5 h 52"/>
                <a:gd name="T54" fmla="*/ 11 w 44"/>
                <a:gd name="T55" fmla="*/ 7 h 52"/>
                <a:gd name="T56" fmla="*/ 14 w 44"/>
                <a:gd name="T57" fmla="*/ 14 h 52"/>
                <a:gd name="T58" fmla="*/ 16 w 44"/>
                <a:gd name="T59" fmla="*/ 10 h 52"/>
                <a:gd name="T60" fmla="*/ 18 w 44"/>
                <a:gd name="T61" fmla="*/ 14 h 52"/>
                <a:gd name="T62" fmla="*/ 18 w 44"/>
                <a:gd name="T63" fmla="*/ 19 h 52"/>
                <a:gd name="T64" fmla="*/ 18 w 44"/>
                <a:gd name="T65" fmla="*/ 17 h 52"/>
                <a:gd name="T66" fmla="*/ 16 w 44"/>
                <a:gd name="T67" fmla="*/ 22 h 52"/>
                <a:gd name="T68" fmla="*/ 11 w 44"/>
                <a:gd name="T69" fmla="*/ 26 h 52"/>
                <a:gd name="T70" fmla="*/ 11 w 44"/>
                <a:gd name="T71" fmla="*/ 31 h 52"/>
                <a:gd name="T72" fmla="*/ 9 w 44"/>
                <a:gd name="T73" fmla="*/ 26 h 52"/>
                <a:gd name="T74" fmla="*/ 11 w 44"/>
                <a:gd name="T75" fmla="*/ 17 h 52"/>
                <a:gd name="T76" fmla="*/ 7 w 44"/>
                <a:gd name="T77" fmla="*/ 14 h 52"/>
                <a:gd name="T78" fmla="*/ 7 w 44"/>
                <a:gd name="T79" fmla="*/ 19 h 52"/>
                <a:gd name="T80" fmla="*/ 4 w 44"/>
                <a:gd name="T81" fmla="*/ 24 h 52"/>
                <a:gd name="T82" fmla="*/ 2 w 44"/>
                <a:gd name="T83" fmla="*/ 22 h 52"/>
                <a:gd name="T84" fmla="*/ 2 w 44"/>
                <a:gd name="T85" fmla="*/ 29 h 52"/>
                <a:gd name="T86" fmla="*/ 7 w 44"/>
                <a:gd name="T87" fmla="*/ 45 h 52"/>
                <a:gd name="T88" fmla="*/ 11 w 44"/>
                <a:gd name="T89" fmla="*/ 45 h 52"/>
                <a:gd name="T90" fmla="*/ 14 w 44"/>
                <a:gd name="T91" fmla="*/ 47 h 52"/>
                <a:gd name="T92" fmla="*/ 16 w 44"/>
                <a:gd name="T93" fmla="*/ 45 h 52"/>
                <a:gd name="T94" fmla="*/ 21 w 44"/>
                <a:gd name="T95" fmla="*/ 50 h 52"/>
                <a:gd name="T96" fmla="*/ 21 w 44"/>
                <a:gd name="T97" fmla="*/ 4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 h="52">
                  <a:moveTo>
                    <a:pt x="26" y="45"/>
                  </a:moveTo>
                  <a:lnTo>
                    <a:pt x="26" y="47"/>
                  </a:lnTo>
                  <a:lnTo>
                    <a:pt x="28" y="47"/>
                  </a:lnTo>
                  <a:lnTo>
                    <a:pt x="28" y="45"/>
                  </a:lnTo>
                  <a:lnTo>
                    <a:pt x="28" y="43"/>
                  </a:lnTo>
                  <a:lnTo>
                    <a:pt x="28" y="43"/>
                  </a:lnTo>
                  <a:lnTo>
                    <a:pt x="28" y="43"/>
                  </a:lnTo>
                  <a:lnTo>
                    <a:pt x="26" y="43"/>
                  </a:lnTo>
                  <a:lnTo>
                    <a:pt x="26" y="40"/>
                  </a:lnTo>
                  <a:lnTo>
                    <a:pt x="28" y="38"/>
                  </a:lnTo>
                  <a:lnTo>
                    <a:pt x="28" y="33"/>
                  </a:lnTo>
                  <a:lnTo>
                    <a:pt x="28" y="33"/>
                  </a:lnTo>
                  <a:lnTo>
                    <a:pt x="26" y="36"/>
                  </a:lnTo>
                  <a:lnTo>
                    <a:pt x="26" y="36"/>
                  </a:lnTo>
                  <a:lnTo>
                    <a:pt x="26" y="36"/>
                  </a:lnTo>
                  <a:lnTo>
                    <a:pt x="26" y="36"/>
                  </a:lnTo>
                  <a:lnTo>
                    <a:pt x="26" y="36"/>
                  </a:lnTo>
                  <a:lnTo>
                    <a:pt x="23" y="33"/>
                  </a:lnTo>
                  <a:lnTo>
                    <a:pt x="21" y="33"/>
                  </a:lnTo>
                  <a:lnTo>
                    <a:pt x="21" y="33"/>
                  </a:lnTo>
                  <a:lnTo>
                    <a:pt x="18" y="31"/>
                  </a:lnTo>
                  <a:lnTo>
                    <a:pt x="18" y="29"/>
                  </a:lnTo>
                  <a:lnTo>
                    <a:pt x="18" y="29"/>
                  </a:lnTo>
                  <a:lnTo>
                    <a:pt x="18" y="26"/>
                  </a:lnTo>
                  <a:lnTo>
                    <a:pt x="21" y="26"/>
                  </a:lnTo>
                  <a:lnTo>
                    <a:pt x="21" y="29"/>
                  </a:lnTo>
                  <a:lnTo>
                    <a:pt x="21" y="29"/>
                  </a:lnTo>
                  <a:lnTo>
                    <a:pt x="21" y="29"/>
                  </a:lnTo>
                  <a:lnTo>
                    <a:pt x="23" y="31"/>
                  </a:lnTo>
                  <a:lnTo>
                    <a:pt x="26" y="33"/>
                  </a:lnTo>
                  <a:lnTo>
                    <a:pt x="26" y="31"/>
                  </a:lnTo>
                  <a:lnTo>
                    <a:pt x="26" y="31"/>
                  </a:lnTo>
                  <a:lnTo>
                    <a:pt x="26" y="29"/>
                  </a:lnTo>
                  <a:lnTo>
                    <a:pt x="26" y="29"/>
                  </a:lnTo>
                  <a:lnTo>
                    <a:pt x="26" y="26"/>
                  </a:lnTo>
                  <a:lnTo>
                    <a:pt x="23" y="24"/>
                  </a:lnTo>
                  <a:lnTo>
                    <a:pt x="23" y="22"/>
                  </a:lnTo>
                  <a:lnTo>
                    <a:pt x="23" y="19"/>
                  </a:lnTo>
                  <a:lnTo>
                    <a:pt x="26" y="22"/>
                  </a:lnTo>
                  <a:lnTo>
                    <a:pt x="26" y="19"/>
                  </a:lnTo>
                  <a:lnTo>
                    <a:pt x="28" y="17"/>
                  </a:lnTo>
                  <a:lnTo>
                    <a:pt x="26" y="14"/>
                  </a:lnTo>
                  <a:lnTo>
                    <a:pt x="26" y="14"/>
                  </a:lnTo>
                  <a:lnTo>
                    <a:pt x="28" y="14"/>
                  </a:lnTo>
                  <a:lnTo>
                    <a:pt x="28" y="17"/>
                  </a:lnTo>
                  <a:lnTo>
                    <a:pt x="28" y="19"/>
                  </a:lnTo>
                  <a:lnTo>
                    <a:pt x="26" y="22"/>
                  </a:lnTo>
                  <a:lnTo>
                    <a:pt x="26" y="24"/>
                  </a:lnTo>
                  <a:lnTo>
                    <a:pt x="28" y="26"/>
                  </a:lnTo>
                  <a:lnTo>
                    <a:pt x="28" y="29"/>
                  </a:lnTo>
                  <a:lnTo>
                    <a:pt x="28" y="31"/>
                  </a:lnTo>
                  <a:lnTo>
                    <a:pt x="30" y="31"/>
                  </a:lnTo>
                  <a:lnTo>
                    <a:pt x="30" y="26"/>
                  </a:lnTo>
                  <a:lnTo>
                    <a:pt x="33" y="24"/>
                  </a:lnTo>
                  <a:lnTo>
                    <a:pt x="35" y="24"/>
                  </a:lnTo>
                  <a:lnTo>
                    <a:pt x="37" y="24"/>
                  </a:lnTo>
                  <a:lnTo>
                    <a:pt x="37" y="26"/>
                  </a:lnTo>
                  <a:lnTo>
                    <a:pt x="33" y="26"/>
                  </a:lnTo>
                  <a:lnTo>
                    <a:pt x="33" y="26"/>
                  </a:lnTo>
                  <a:lnTo>
                    <a:pt x="30" y="29"/>
                  </a:lnTo>
                  <a:lnTo>
                    <a:pt x="30" y="31"/>
                  </a:lnTo>
                  <a:lnTo>
                    <a:pt x="30" y="33"/>
                  </a:lnTo>
                  <a:lnTo>
                    <a:pt x="30" y="33"/>
                  </a:lnTo>
                  <a:lnTo>
                    <a:pt x="35" y="33"/>
                  </a:lnTo>
                  <a:lnTo>
                    <a:pt x="35" y="33"/>
                  </a:lnTo>
                  <a:lnTo>
                    <a:pt x="35" y="33"/>
                  </a:lnTo>
                  <a:lnTo>
                    <a:pt x="35" y="36"/>
                  </a:lnTo>
                  <a:lnTo>
                    <a:pt x="37" y="33"/>
                  </a:lnTo>
                  <a:lnTo>
                    <a:pt x="37" y="33"/>
                  </a:lnTo>
                  <a:lnTo>
                    <a:pt x="37" y="33"/>
                  </a:lnTo>
                  <a:lnTo>
                    <a:pt x="37" y="31"/>
                  </a:lnTo>
                  <a:lnTo>
                    <a:pt x="40" y="31"/>
                  </a:lnTo>
                  <a:lnTo>
                    <a:pt x="40" y="31"/>
                  </a:lnTo>
                  <a:lnTo>
                    <a:pt x="40" y="31"/>
                  </a:lnTo>
                  <a:lnTo>
                    <a:pt x="40" y="29"/>
                  </a:lnTo>
                  <a:lnTo>
                    <a:pt x="40" y="29"/>
                  </a:lnTo>
                  <a:lnTo>
                    <a:pt x="40" y="26"/>
                  </a:lnTo>
                  <a:lnTo>
                    <a:pt x="42" y="26"/>
                  </a:lnTo>
                  <a:lnTo>
                    <a:pt x="42" y="24"/>
                  </a:lnTo>
                  <a:lnTo>
                    <a:pt x="44" y="19"/>
                  </a:lnTo>
                  <a:lnTo>
                    <a:pt x="42" y="19"/>
                  </a:lnTo>
                  <a:lnTo>
                    <a:pt x="40" y="17"/>
                  </a:lnTo>
                  <a:lnTo>
                    <a:pt x="40" y="17"/>
                  </a:lnTo>
                  <a:lnTo>
                    <a:pt x="40" y="17"/>
                  </a:lnTo>
                  <a:lnTo>
                    <a:pt x="37" y="17"/>
                  </a:lnTo>
                  <a:lnTo>
                    <a:pt x="37" y="14"/>
                  </a:lnTo>
                  <a:lnTo>
                    <a:pt x="37" y="12"/>
                  </a:lnTo>
                  <a:lnTo>
                    <a:pt x="33" y="12"/>
                  </a:lnTo>
                  <a:lnTo>
                    <a:pt x="33" y="10"/>
                  </a:lnTo>
                  <a:lnTo>
                    <a:pt x="30" y="7"/>
                  </a:lnTo>
                  <a:lnTo>
                    <a:pt x="30" y="10"/>
                  </a:lnTo>
                  <a:lnTo>
                    <a:pt x="30" y="10"/>
                  </a:lnTo>
                  <a:lnTo>
                    <a:pt x="28" y="7"/>
                  </a:lnTo>
                  <a:lnTo>
                    <a:pt x="26" y="7"/>
                  </a:lnTo>
                  <a:lnTo>
                    <a:pt x="26" y="10"/>
                  </a:lnTo>
                  <a:lnTo>
                    <a:pt x="28" y="12"/>
                  </a:lnTo>
                  <a:lnTo>
                    <a:pt x="26" y="10"/>
                  </a:lnTo>
                  <a:lnTo>
                    <a:pt x="26" y="7"/>
                  </a:lnTo>
                  <a:lnTo>
                    <a:pt x="23" y="7"/>
                  </a:lnTo>
                  <a:lnTo>
                    <a:pt x="18" y="7"/>
                  </a:lnTo>
                  <a:lnTo>
                    <a:pt x="18" y="5"/>
                  </a:lnTo>
                  <a:lnTo>
                    <a:pt x="18" y="3"/>
                  </a:lnTo>
                  <a:lnTo>
                    <a:pt x="18" y="3"/>
                  </a:lnTo>
                  <a:lnTo>
                    <a:pt x="16" y="0"/>
                  </a:lnTo>
                  <a:lnTo>
                    <a:pt x="14" y="0"/>
                  </a:lnTo>
                  <a:lnTo>
                    <a:pt x="14" y="3"/>
                  </a:lnTo>
                  <a:lnTo>
                    <a:pt x="11" y="3"/>
                  </a:lnTo>
                  <a:lnTo>
                    <a:pt x="11" y="5"/>
                  </a:lnTo>
                  <a:lnTo>
                    <a:pt x="11" y="7"/>
                  </a:lnTo>
                  <a:lnTo>
                    <a:pt x="9" y="7"/>
                  </a:lnTo>
                  <a:lnTo>
                    <a:pt x="9" y="7"/>
                  </a:lnTo>
                  <a:lnTo>
                    <a:pt x="11" y="7"/>
                  </a:lnTo>
                  <a:lnTo>
                    <a:pt x="11" y="10"/>
                  </a:lnTo>
                  <a:lnTo>
                    <a:pt x="14" y="12"/>
                  </a:lnTo>
                  <a:lnTo>
                    <a:pt x="14" y="14"/>
                  </a:lnTo>
                  <a:lnTo>
                    <a:pt x="14" y="14"/>
                  </a:lnTo>
                  <a:lnTo>
                    <a:pt x="16" y="14"/>
                  </a:lnTo>
                  <a:lnTo>
                    <a:pt x="16" y="10"/>
                  </a:lnTo>
                  <a:lnTo>
                    <a:pt x="16" y="10"/>
                  </a:lnTo>
                  <a:lnTo>
                    <a:pt x="16" y="10"/>
                  </a:lnTo>
                  <a:lnTo>
                    <a:pt x="16" y="10"/>
                  </a:lnTo>
                  <a:lnTo>
                    <a:pt x="18" y="12"/>
                  </a:lnTo>
                  <a:lnTo>
                    <a:pt x="18" y="12"/>
                  </a:lnTo>
                  <a:lnTo>
                    <a:pt x="18" y="14"/>
                  </a:lnTo>
                  <a:lnTo>
                    <a:pt x="18" y="17"/>
                  </a:lnTo>
                  <a:lnTo>
                    <a:pt x="21" y="19"/>
                  </a:lnTo>
                  <a:lnTo>
                    <a:pt x="18" y="19"/>
                  </a:lnTo>
                  <a:lnTo>
                    <a:pt x="18" y="19"/>
                  </a:lnTo>
                  <a:lnTo>
                    <a:pt x="18" y="19"/>
                  </a:lnTo>
                  <a:lnTo>
                    <a:pt x="18" y="19"/>
                  </a:lnTo>
                  <a:lnTo>
                    <a:pt x="18" y="19"/>
                  </a:lnTo>
                  <a:lnTo>
                    <a:pt x="18" y="17"/>
                  </a:lnTo>
                  <a:lnTo>
                    <a:pt x="16" y="14"/>
                  </a:lnTo>
                  <a:lnTo>
                    <a:pt x="16" y="17"/>
                  </a:lnTo>
                  <a:lnTo>
                    <a:pt x="16" y="19"/>
                  </a:lnTo>
                  <a:lnTo>
                    <a:pt x="16" y="22"/>
                  </a:lnTo>
                  <a:lnTo>
                    <a:pt x="14" y="24"/>
                  </a:lnTo>
                  <a:lnTo>
                    <a:pt x="14" y="29"/>
                  </a:lnTo>
                  <a:lnTo>
                    <a:pt x="14" y="26"/>
                  </a:lnTo>
                  <a:lnTo>
                    <a:pt x="11" y="26"/>
                  </a:lnTo>
                  <a:lnTo>
                    <a:pt x="11" y="26"/>
                  </a:lnTo>
                  <a:lnTo>
                    <a:pt x="11" y="29"/>
                  </a:lnTo>
                  <a:lnTo>
                    <a:pt x="11" y="31"/>
                  </a:lnTo>
                  <a:lnTo>
                    <a:pt x="11" y="31"/>
                  </a:lnTo>
                  <a:lnTo>
                    <a:pt x="11" y="31"/>
                  </a:lnTo>
                  <a:lnTo>
                    <a:pt x="9" y="31"/>
                  </a:lnTo>
                  <a:lnTo>
                    <a:pt x="9" y="26"/>
                  </a:lnTo>
                  <a:lnTo>
                    <a:pt x="9" y="26"/>
                  </a:lnTo>
                  <a:lnTo>
                    <a:pt x="9" y="24"/>
                  </a:lnTo>
                  <a:lnTo>
                    <a:pt x="9" y="24"/>
                  </a:lnTo>
                  <a:lnTo>
                    <a:pt x="9" y="19"/>
                  </a:lnTo>
                  <a:lnTo>
                    <a:pt x="11" y="17"/>
                  </a:lnTo>
                  <a:lnTo>
                    <a:pt x="9" y="17"/>
                  </a:lnTo>
                  <a:lnTo>
                    <a:pt x="9" y="17"/>
                  </a:lnTo>
                  <a:lnTo>
                    <a:pt x="9" y="17"/>
                  </a:lnTo>
                  <a:lnTo>
                    <a:pt x="7" y="14"/>
                  </a:lnTo>
                  <a:lnTo>
                    <a:pt x="7" y="17"/>
                  </a:lnTo>
                  <a:lnTo>
                    <a:pt x="9" y="17"/>
                  </a:lnTo>
                  <a:lnTo>
                    <a:pt x="9" y="17"/>
                  </a:lnTo>
                  <a:lnTo>
                    <a:pt x="7" y="19"/>
                  </a:lnTo>
                  <a:lnTo>
                    <a:pt x="4" y="19"/>
                  </a:lnTo>
                  <a:lnTo>
                    <a:pt x="4" y="22"/>
                  </a:lnTo>
                  <a:lnTo>
                    <a:pt x="4" y="22"/>
                  </a:lnTo>
                  <a:lnTo>
                    <a:pt x="4" y="24"/>
                  </a:lnTo>
                  <a:lnTo>
                    <a:pt x="2" y="24"/>
                  </a:lnTo>
                  <a:lnTo>
                    <a:pt x="2" y="22"/>
                  </a:lnTo>
                  <a:lnTo>
                    <a:pt x="2" y="22"/>
                  </a:lnTo>
                  <a:lnTo>
                    <a:pt x="2" y="22"/>
                  </a:lnTo>
                  <a:lnTo>
                    <a:pt x="0" y="22"/>
                  </a:lnTo>
                  <a:lnTo>
                    <a:pt x="2" y="26"/>
                  </a:lnTo>
                  <a:lnTo>
                    <a:pt x="2" y="29"/>
                  </a:lnTo>
                  <a:lnTo>
                    <a:pt x="2" y="29"/>
                  </a:lnTo>
                  <a:lnTo>
                    <a:pt x="2" y="31"/>
                  </a:lnTo>
                  <a:lnTo>
                    <a:pt x="4" y="33"/>
                  </a:lnTo>
                  <a:lnTo>
                    <a:pt x="4" y="38"/>
                  </a:lnTo>
                  <a:lnTo>
                    <a:pt x="7" y="45"/>
                  </a:lnTo>
                  <a:lnTo>
                    <a:pt x="9" y="47"/>
                  </a:lnTo>
                  <a:lnTo>
                    <a:pt x="9" y="47"/>
                  </a:lnTo>
                  <a:lnTo>
                    <a:pt x="9" y="45"/>
                  </a:lnTo>
                  <a:lnTo>
                    <a:pt x="11" y="45"/>
                  </a:lnTo>
                  <a:lnTo>
                    <a:pt x="11" y="45"/>
                  </a:lnTo>
                  <a:lnTo>
                    <a:pt x="11" y="47"/>
                  </a:lnTo>
                  <a:lnTo>
                    <a:pt x="14" y="47"/>
                  </a:lnTo>
                  <a:lnTo>
                    <a:pt x="14" y="47"/>
                  </a:lnTo>
                  <a:lnTo>
                    <a:pt x="14" y="47"/>
                  </a:lnTo>
                  <a:lnTo>
                    <a:pt x="16" y="47"/>
                  </a:lnTo>
                  <a:lnTo>
                    <a:pt x="16" y="45"/>
                  </a:lnTo>
                  <a:lnTo>
                    <a:pt x="16" y="45"/>
                  </a:lnTo>
                  <a:lnTo>
                    <a:pt x="16" y="45"/>
                  </a:lnTo>
                  <a:lnTo>
                    <a:pt x="18" y="45"/>
                  </a:lnTo>
                  <a:lnTo>
                    <a:pt x="18" y="45"/>
                  </a:lnTo>
                  <a:lnTo>
                    <a:pt x="21" y="50"/>
                  </a:lnTo>
                  <a:lnTo>
                    <a:pt x="21" y="52"/>
                  </a:lnTo>
                  <a:lnTo>
                    <a:pt x="21" y="52"/>
                  </a:lnTo>
                  <a:lnTo>
                    <a:pt x="21" y="50"/>
                  </a:lnTo>
                  <a:lnTo>
                    <a:pt x="21" y="47"/>
                  </a:lnTo>
                  <a:lnTo>
                    <a:pt x="21" y="47"/>
                  </a:lnTo>
                  <a:lnTo>
                    <a:pt x="23" y="45"/>
                  </a:lnTo>
                  <a:lnTo>
                    <a:pt x="26"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17">
              <a:extLst>
                <a:ext uri="{FF2B5EF4-FFF2-40B4-BE49-F238E27FC236}">
                  <a16:creationId xmlns:a16="http://schemas.microsoft.com/office/drawing/2014/main" id="{6437FA32-5FB6-4542-AA32-BA082E4164CC}"/>
                </a:ext>
              </a:extLst>
            </p:cNvPr>
            <p:cNvSpPr>
              <a:spLocks/>
            </p:cNvSpPr>
            <p:nvPr/>
          </p:nvSpPr>
          <p:spPr bwMode="gray">
            <a:xfrm>
              <a:off x="-1267" y="371"/>
              <a:ext cx="5" cy="5"/>
            </a:xfrm>
            <a:custGeom>
              <a:avLst/>
              <a:gdLst>
                <a:gd name="T0" fmla="*/ 5 w 5"/>
                <a:gd name="T1" fmla="*/ 3 h 5"/>
                <a:gd name="T2" fmla="*/ 3 w 5"/>
                <a:gd name="T3" fmla="*/ 3 h 5"/>
                <a:gd name="T4" fmla="*/ 3 w 5"/>
                <a:gd name="T5" fmla="*/ 0 h 5"/>
                <a:gd name="T6" fmla="*/ 0 w 5"/>
                <a:gd name="T7" fmla="*/ 0 h 5"/>
                <a:gd name="T8" fmla="*/ 0 w 5"/>
                <a:gd name="T9" fmla="*/ 3 h 5"/>
                <a:gd name="T10" fmla="*/ 0 w 5"/>
                <a:gd name="T11" fmla="*/ 3 h 5"/>
                <a:gd name="T12" fmla="*/ 0 w 5"/>
                <a:gd name="T13" fmla="*/ 5 h 5"/>
                <a:gd name="T14" fmla="*/ 3 w 5"/>
                <a:gd name="T15" fmla="*/ 5 h 5"/>
                <a:gd name="T16" fmla="*/ 5 w 5"/>
                <a:gd name="T17" fmla="*/ 5 h 5"/>
                <a:gd name="T18" fmla="*/ 5 w 5"/>
                <a:gd name="T1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5" y="3"/>
                  </a:moveTo>
                  <a:lnTo>
                    <a:pt x="3" y="3"/>
                  </a:lnTo>
                  <a:lnTo>
                    <a:pt x="3" y="0"/>
                  </a:lnTo>
                  <a:lnTo>
                    <a:pt x="0" y="0"/>
                  </a:lnTo>
                  <a:lnTo>
                    <a:pt x="0" y="3"/>
                  </a:lnTo>
                  <a:lnTo>
                    <a:pt x="0" y="3"/>
                  </a:lnTo>
                  <a:lnTo>
                    <a:pt x="0" y="5"/>
                  </a:lnTo>
                  <a:lnTo>
                    <a:pt x="3" y="5"/>
                  </a:lnTo>
                  <a:lnTo>
                    <a:pt x="5" y="5"/>
                  </a:lnTo>
                  <a:lnTo>
                    <a:pt x="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18">
              <a:extLst>
                <a:ext uri="{FF2B5EF4-FFF2-40B4-BE49-F238E27FC236}">
                  <a16:creationId xmlns:a16="http://schemas.microsoft.com/office/drawing/2014/main" id="{A6A64E82-E798-4FE3-A8A5-294B3B69B502}"/>
                </a:ext>
              </a:extLst>
            </p:cNvPr>
            <p:cNvSpPr>
              <a:spLocks/>
            </p:cNvSpPr>
            <p:nvPr/>
          </p:nvSpPr>
          <p:spPr bwMode="gray">
            <a:xfrm>
              <a:off x="-1278" y="395"/>
              <a:ext cx="9" cy="7"/>
            </a:xfrm>
            <a:custGeom>
              <a:avLst/>
              <a:gdLst>
                <a:gd name="T0" fmla="*/ 9 w 9"/>
                <a:gd name="T1" fmla="*/ 2 h 7"/>
                <a:gd name="T2" fmla="*/ 9 w 9"/>
                <a:gd name="T3" fmla="*/ 2 h 7"/>
                <a:gd name="T4" fmla="*/ 9 w 9"/>
                <a:gd name="T5" fmla="*/ 2 h 7"/>
                <a:gd name="T6" fmla="*/ 7 w 9"/>
                <a:gd name="T7" fmla="*/ 2 h 7"/>
                <a:gd name="T8" fmla="*/ 7 w 9"/>
                <a:gd name="T9" fmla="*/ 2 h 7"/>
                <a:gd name="T10" fmla="*/ 7 w 9"/>
                <a:gd name="T11" fmla="*/ 2 h 7"/>
                <a:gd name="T12" fmla="*/ 7 w 9"/>
                <a:gd name="T13" fmla="*/ 0 h 7"/>
                <a:gd name="T14" fmla="*/ 7 w 9"/>
                <a:gd name="T15" fmla="*/ 0 h 7"/>
                <a:gd name="T16" fmla="*/ 7 w 9"/>
                <a:gd name="T17" fmla="*/ 0 h 7"/>
                <a:gd name="T18" fmla="*/ 7 w 9"/>
                <a:gd name="T19" fmla="*/ 0 h 7"/>
                <a:gd name="T20" fmla="*/ 4 w 9"/>
                <a:gd name="T21" fmla="*/ 0 h 7"/>
                <a:gd name="T22" fmla="*/ 4 w 9"/>
                <a:gd name="T23" fmla="*/ 0 h 7"/>
                <a:gd name="T24" fmla="*/ 2 w 9"/>
                <a:gd name="T25" fmla="*/ 2 h 7"/>
                <a:gd name="T26" fmla="*/ 2 w 9"/>
                <a:gd name="T27" fmla="*/ 5 h 7"/>
                <a:gd name="T28" fmla="*/ 0 w 9"/>
                <a:gd name="T29" fmla="*/ 7 h 7"/>
                <a:gd name="T30" fmla="*/ 2 w 9"/>
                <a:gd name="T31" fmla="*/ 7 h 7"/>
                <a:gd name="T32" fmla="*/ 2 w 9"/>
                <a:gd name="T33" fmla="*/ 7 h 7"/>
                <a:gd name="T34" fmla="*/ 4 w 9"/>
                <a:gd name="T35" fmla="*/ 7 h 7"/>
                <a:gd name="T36" fmla="*/ 4 w 9"/>
                <a:gd name="T37" fmla="*/ 7 h 7"/>
                <a:gd name="T38" fmla="*/ 4 w 9"/>
                <a:gd name="T39" fmla="*/ 5 h 7"/>
                <a:gd name="T40" fmla="*/ 7 w 9"/>
                <a:gd name="T41" fmla="*/ 7 h 7"/>
                <a:gd name="T42" fmla="*/ 7 w 9"/>
                <a:gd name="T43" fmla="*/ 7 h 7"/>
                <a:gd name="T44" fmla="*/ 7 w 9"/>
                <a:gd name="T45" fmla="*/ 7 h 7"/>
                <a:gd name="T46" fmla="*/ 7 w 9"/>
                <a:gd name="T47" fmla="*/ 5 h 7"/>
                <a:gd name="T48" fmla="*/ 9 w 9"/>
                <a:gd name="T49" fmla="*/ 5 h 7"/>
                <a:gd name="T50" fmla="*/ 9 w 9"/>
                <a:gd name="T51" fmla="*/ 5 h 7"/>
                <a:gd name="T52" fmla="*/ 7 w 9"/>
                <a:gd name="T53" fmla="*/ 2 h 7"/>
                <a:gd name="T54" fmla="*/ 9 w 9"/>
                <a:gd name="T55" fmla="*/ 2 h 7"/>
                <a:gd name="T56" fmla="*/ 9 w 9"/>
                <a:gd name="T5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 h="7">
                  <a:moveTo>
                    <a:pt x="9" y="2"/>
                  </a:moveTo>
                  <a:lnTo>
                    <a:pt x="9" y="2"/>
                  </a:lnTo>
                  <a:lnTo>
                    <a:pt x="9" y="2"/>
                  </a:lnTo>
                  <a:lnTo>
                    <a:pt x="7" y="2"/>
                  </a:lnTo>
                  <a:lnTo>
                    <a:pt x="7" y="2"/>
                  </a:lnTo>
                  <a:lnTo>
                    <a:pt x="7" y="2"/>
                  </a:lnTo>
                  <a:lnTo>
                    <a:pt x="7" y="0"/>
                  </a:lnTo>
                  <a:lnTo>
                    <a:pt x="7" y="0"/>
                  </a:lnTo>
                  <a:lnTo>
                    <a:pt x="7" y="0"/>
                  </a:lnTo>
                  <a:lnTo>
                    <a:pt x="7" y="0"/>
                  </a:lnTo>
                  <a:lnTo>
                    <a:pt x="4" y="0"/>
                  </a:lnTo>
                  <a:lnTo>
                    <a:pt x="4" y="0"/>
                  </a:lnTo>
                  <a:lnTo>
                    <a:pt x="2" y="2"/>
                  </a:lnTo>
                  <a:lnTo>
                    <a:pt x="2" y="5"/>
                  </a:lnTo>
                  <a:lnTo>
                    <a:pt x="0" y="7"/>
                  </a:lnTo>
                  <a:lnTo>
                    <a:pt x="2" y="7"/>
                  </a:lnTo>
                  <a:lnTo>
                    <a:pt x="2" y="7"/>
                  </a:lnTo>
                  <a:lnTo>
                    <a:pt x="4" y="7"/>
                  </a:lnTo>
                  <a:lnTo>
                    <a:pt x="4" y="7"/>
                  </a:lnTo>
                  <a:lnTo>
                    <a:pt x="4" y="5"/>
                  </a:lnTo>
                  <a:lnTo>
                    <a:pt x="7" y="7"/>
                  </a:lnTo>
                  <a:lnTo>
                    <a:pt x="7" y="7"/>
                  </a:lnTo>
                  <a:lnTo>
                    <a:pt x="7" y="7"/>
                  </a:lnTo>
                  <a:lnTo>
                    <a:pt x="7" y="5"/>
                  </a:lnTo>
                  <a:lnTo>
                    <a:pt x="9" y="5"/>
                  </a:lnTo>
                  <a:lnTo>
                    <a:pt x="9" y="5"/>
                  </a:lnTo>
                  <a:lnTo>
                    <a:pt x="7" y="2"/>
                  </a:lnTo>
                  <a:lnTo>
                    <a:pt x="9" y="2"/>
                  </a:lnTo>
                  <a:lnTo>
                    <a:pt x="9"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219">
              <a:extLst>
                <a:ext uri="{FF2B5EF4-FFF2-40B4-BE49-F238E27FC236}">
                  <a16:creationId xmlns:a16="http://schemas.microsoft.com/office/drawing/2014/main" id="{7265B5E9-775D-4A20-85E7-9341AAF44246}"/>
                </a:ext>
              </a:extLst>
            </p:cNvPr>
            <p:cNvSpPr>
              <a:spLocks/>
            </p:cNvSpPr>
            <p:nvPr/>
          </p:nvSpPr>
          <p:spPr bwMode="gray">
            <a:xfrm>
              <a:off x="-1278" y="392"/>
              <a:ext cx="4" cy="8"/>
            </a:xfrm>
            <a:custGeom>
              <a:avLst/>
              <a:gdLst>
                <a:gd name="T0" fmla="*/ 0 w 4"/>
                <a:gd name="T1" fmla="*/ 3 h 8"/>
                <a:gd name="T2" fmla="*/ 0 w 4"/>
                <a:gd name="T3" fmla="*/ 3 h 8"/>
                <a:gd name="T4" fmla="*/ 0 w 4"/>
                <a:gd name="T5" fmla="*/ 5 h 8"/>
                <a:gd name="T6" fmla="*/ 0 w 4"/>
                <a:gd name="T7" fmla="*/ 8 h 8"/>
                <a:gd name="T8" fmla="*/ 2 w 4"/>
                <a:gd name="T9" fmla="*/ 5 h 8"/>
                <a:gd name="T10" fmla="*/ 2 w 4"/>
                <a:gd name="T11" fmla="*/ 5 h 8"/>
                <a:gd name="T12" fmla="*/ 2 w 4"/>
                <a:gd name="T13" fmla="*/ 3 h 8"/>
                <a:gd name="T14" fmla="*/ 2 w 4"/>
                <a:gd name="T15" fmla="*/ 3 h 8"/>
                <a:gd name="T16" fmla="*/ 4 w 4"/>
                <a:gd name="T17" fmla="*/ 0 h 8"/>
                <a:gd name="T18" fmla="*/ 2 w 4"/>
                <a:gd name="T19" fmla="*/ 0 h 8"/>
                <a:gd name="T20" fmla="*/ 2 w 4"/>
                <a:gd name="T21" fmla="*/ 0 h 8"/>
                <a:gd name="T22" fmla="*/ 2 w 4"/>
                <a:gd name="T23" fmla="*/ 3 h 8"/>
                <a:gd name="T24" fmla="*/ 2 w 4"/>
                <a:gd name="T25" fmla="*/ 3 h 8"/>
                <a:gd name="T26" fmla="*/ 2 w 4"/>
                <a:gd name="T27" fmla="*/ 3 h 8"/>
                <a:gd name="T28" fmla="*/ 0 w 4"/>
                <a:gd name="T29"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8">
                  <a:moveTo>
                    <a:pt x="0" y="3"/>
                  </a:moveTo>
                  <a:lnTo>
                    <a:pt x="0" y="3"/>
                  </a:lnTo>
                  <a:lnTo>
                    <a:pt x="0" y="5"/>
                  </a:lnTo>
                  <a:lnTo>
                    <a:pt x="0" y="8"/>
                  </a:lnTo>
                  <a:lnTo>
                    <a:pt x="2" y="5"/>
                  </a:lnTo>
                  <a:lnTo>
                    <a:pt x="2" y="5"/>
                  </a:lnTo>
                  <a:lnTo>
                    <a:pt x="2" y="3"/>
                  </a:lnTo>
                  <a:lnTo>
                    <a:pt x="2" y="3"/>
                  </a:lnTo>
                  <a:lnTo>
                    <a:pt x="4" y="0"/>
                  </a:lnTo>
                  <a:lnTo>
                    <a:pt x="2" y="0"/>
                  </a:lnTo>
                  <a:lnTo>
                    <a:pt x="2" y="0"/>
                  </a:lnTo>
                  <a:lnTo>
                    <a:pt x="2" y="3"/>
                  </a:lnTo>
                  <a:lnTo>
                    <a:pt x="2" y="3"/>
                  </a:lnTo>
                  <a:lnTo>
                    <a:pt x="2"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20">
              <a:extLst>
                <a:ext uri="{FF2B5EF4-FFF2-40B4-BE49-F238E27FC236}">
                  <a16:creationId xmlns:a16="http://schemas.microsoft.com/office/drawing/2014/main" id="{CC1757CB-3FBB-4CDF-90BC-17F1C6621C25}"/>
                </a:ext>
              </a:extLst>
            </p:cNvPr>
            <p:cNvSpPr>
              <a:spLocks/>
            </p:cNvSpPr>
            <p:nvPr/>
          </p:nvSpPr>
          <p:spPr bwMode="gray">
            <a:xfrm>
              <a:off x="-1203" y="367"/>
              <a:ext cx="5" cy="4"/>
            </a:xfrm>
            <a:custGeom>
              <a:avLst/>
              <a:gdLst>
                <a:gd name="T0" fmla="*/ 2 w 5"/>
                <a:gd name="T1" fmla="*/ 0 h 4"/>
                <a:gd name="T2" fmla="*/ 2 w 5"/>
                <a:gd name="T3" fmla="*/ 0 h 4"/>
                <a:gd name="T4" fmla="*/ 0 w 5"/>
                <a:gd name="T5" fmla="*/ 0 h 4"/>
                <a:gd name="T6" fmla="*/ 0 w 5"/>
                <a:gd name="T7" fmla="*/ 2 h 4"/>
                <a:gd name="T8" fmla="*/ 0 w 5"/>
                <a:gd name="T9" fmla="*/ 4 h 4"/>
                <a:gd name="T10" fmla="*/ 0 w 5"/>
                <a:gd name="T11" fmla="*/ 4 h 4"/>
                <a:gd name="T12" fmla="*/ 2 w 5"/>
                <a:gd name="T13" fmla="*/ 4 h 4"/>
                <a:gd name="T14" fmla="*/ 2 w 5"/>
                <a:gd name="T15" fmla="*/ 4 h 4"/>
                <a:gd name="T16" fmla="*/ 2 w 5"/>
                <a:gd name="T17" fmla="*/ 4 h 4"/>
                <a:gd name="T18" fmla="*/ 2 w 5"/>
                <a:gd name="T19" fmla="*/ 4 h 4"/>
                <a:gd name="T20" fmla="*/ 2 w 5"/>
                <a:gd name="T21" fmla="*/ 4 h 4"/>
                <a:gd name="T22" fmla="*/ 5 w 5"/>
                <a:gd name="T23" fmla="*/ 2 h 4"/>
                <a:gd name="T24" fmla="*/ 5 w 5"/>
                <a:gd name="T25" fmla="*/ 2 h 4"/>
                <a:gd name="T26" fmla="*/ 2 w 5"/>
                <a:gd name="T27" fmla="*/ 0 h 4"/>
                <a:gd name="T28" fmla="*/ 2 w 5"/>
                <a:gd name="T29" fmla="*/ 0 h 4"/>
                <a:gd name="T30" fmla="*/ 2 w 5"/>
                <a:gd name="T31" fmla="*/ 0 h 4"/>
                <a:gd name="T32" fmla="*/ 2 w 5"/>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4">
                  <a:moveTo>
                    <a:pt x="2" y="0"/>
                  </a:moveTo>
                  <a:lnTo>
                    <a:pt x="2" y="0"/>
                  </a:lnTo>
                  <a:lnTo>
                    <a:pt x="0" y="0"/>
                  </a:lnTo>
                  <a:lnTo>
                    <a:pt x="0" y="2"/>
                  </a:lnTo>
                  <a:lnTo>
                    <a:pt x="0" y="4"/>
                  </a:lnTo>
                  <a:lnTo>
                    <a:pt x="0" y="4"/>
                  </a:lnTo>
                  <a:lnTo>
                    <a:pt x="2" y="4"/>
                  </a:lnTo>
                  <a:lnTo>
                    <a:pt x="2" y="4"/>
                  </a:lnTo>
                  <a:lnTo>
                    <a:pt x="2" y="4"/>
                  </a:lnTo>
                  <a:lnTo>
                    <a:pt x="2" y="4"/>
                  </a:lnTo>
                  <a:lnTo>
                    <a:pt x="2" y="4"/>
                  </a:lnTo>
                  <a:lnTo>
                    <a:pt x="5" y="2"/>
                  </a:lnTo>
                  <a:lnTo>
                    <a:pt x="5" y="2"/>
                  </a:lnTo>
                  <a:lnTo>
                    <a:pt x="2" y="0"/>
                  </a:lnTo>
                  <a:lnTo>
                    <a:pt x="2"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21">
              <a:extLst>
                <a:ext uri="{FF2B5EF4-FFF2-40B4-BE49-F238E27FC236}">
                  <a16:creationId xmlns:a16="http://schemas.microsoft.com/office/drawing/2014/main" id="{3BB6F0F6-0D31-4987-A31F-32B5A8E7D5EA}"/>
                </a:ext>
              </a:extLst>
            </p:cNvPr>
            <p:cNvSpPr>
              <a:spLocks/>
            </p:cNvSpPr>
            <p:nvPr/>
          </p:nvSpPr>
          <p:spPr bwMode="gray">
            <a:xfrm>
              <a:off x="-1229" y="265"/>
              <a:ext cx="12" cy="14"/>
            </a:xfrm>
            <a:custGeom>
              <a:avLst/>
              <a:gdLst>
                <a:gd name="T0" fmla="*/ 7 w 12"/>
                <a:gd name="T1" fmla="*/ 12 h 14"/>
                <a:gd name="T2" fmla="*/ 5 w 12"/>
                <a:gd name="T3" fmla="*/ 12 h 14"/>
                <a:gd name="T4" fmla="*/ 2 w 12"/>
                <a:gd name="T5" fmla="*/ 10 h 14"/>
                <a:gd name="T6" fmla="*/ 0 w 12"/>
                <a:gd name="T7" fmla="*/ 12 h 14"/>
                <a:gd name="T8" fmla="*/ 2 w 12"/>
                <a:gd name="T9" fmla="*/ 12 h 14"/>
                <a:gd name="T10" fmla="*/ 2 w 12"/>
                <a:gd name="T11" fmla="*/ 12 h 14"/>
                <a:gd name="T12" fmla="*/ 5 w 12"/>
                <a:gd name="T13" fmla="*/ 12 h 14"/>
                <a:gd name="T14" fmla="*/ 5 w 12"/>
                <a:gd name="T15" fmla="*/ 12 h 14"/>
                <a:gd name="T16" fmla="*/ 7 w 12"/>
                <a:gd name="T17" fmla="*/ 14 h 14"/>
                <a:gd name="T18" fmla="*/ 7 w 12"/>
                <a:gd name="T19" fmla="*/ 14 h 14"/>
                <a:gd name="T20" fmla="*/ 10 w 12"/>
                <a:gd name="T21" fmla="*/ 12 h 14"/>
                <a:gd name="T22" fmla="*/ 10 w 12"/>
                <a:gd name="T23" fmla="*/ 10 h 14"/>
                <a:gd name="T24" fmla="*/ 10 w 12"/>
                <a:gd name="T25" fmla="*/ 7 h 14"/>
                <a:gd name="T26" fmla="*/ 12 w 12"/>
                <a:gd name="T27" fmla="*/ 7 h 14"/>
                <a:gd name="T28" fmla="*/ 12 w 12"/>
                <a:gd name="T29" fmla="*/ 5 h 14"/>
                <a:gd name="T30" fmla="*/ 10 w 12"/>
                <a:gd name="T31" fmla="*/ 3 h 14"/>
                <a:gd name="T32" fmla="*/ 10 w 12"/>
                <a:gd name="T33" fmla="*/ 3 h 14"/>
                <a:gd name="T34" fmla="*/ 7 w 12"/>
                <a:gd name="T35" fmla="*/ 0 h 14"/>
                <a:gd name="T36" fmla="*/ 7 w 12"/>
                <a:gd name="T37" fmla="*/ 0 h 14"/>
                <a:gd name="T38" fmla="*/ 5 w 12"/>
                <a:gd name="T39" fmla="*/ 0 h 14"/>
                <a:gd name="T40" fmla="*/ 2 w 12"/>
                <a:gd name="T41" fmla="*/ 3 h 14"/>
                <a:gd name="T42" fmla="*/ 5 w 12"/>
                <a:gd name="T43" fmla="*/ 3 h 14"/>
                <a:gd name="T44" fmla="*/ 7 w 12"/>
                <a:gd name="T45" fmla="*/ 5 h 14"/>
                <a:gd name="T46" fmla="*/ 7 w 12"/>
                <a:gd name="T47" fmla="*/ 7 h 14"/>
                <a:gd name="T48" fmla="*/ 7 w 12"/>
                <a:gd name="T49" fmla="*/ 7 h 14"/>
                <a:gd name="T50" fmla="*/ 7 w 12"/>
                <a:gd name="T51" fmla="*/ 7 h 14"/>
                <a:gd name="T52" fmla="*/ 7 w 12"/>
                <a:gd name="T53" fmla="*/ 10 h 14"/>
                <a:gd name="T54" fmla="*/ 7 w 12"/>
                <a:gd name="T55" fmla="*/ 10 h 14"/>
                <a:gd name="T56" fmla="*/ 7 w 12"/>
                <a:gd name="T57" fmla="*/ 10 h 14"/>
                <a:gd name="T58" fmla="*/ 7 w 12"/>
                <a:gd name="T59" fmla="*/ 10 h 14"/>
                <a:gd name="T60" fmla="*/ 7 w 12"/>
                <a:gd name="T61"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 h="14">
                  <a:moveTo>
                    <a:pt x="7" y="12"/>
                  </a:moveTo>
                  <a:lnTo>
                    <a:pt x="5" y="12"/>
                  </a:lnTo>
                  <a:lnTo>
                    <a:pt x="2" y="10"/>
                  </a:lnTo>
                  <a:lnTo>
                    <a:pt x="0" y="12"/>
                  </a:lnTo>
                  <a:lnTo>
                    <a:pt x="2" y="12"/>
                  </a:lnTo>
                  <a:lnTo>
                    <a:pt x="2" y="12"/>
                  </a:lnTo>
                  <a:lnTo>
                    <a:pt x="5" y="12"/>
                  </a:lnTo>
                  <a:lnTo>
                    <a:pt x="5" y="12"/>
                  </a:lnTo>
                  <a:lnTo>
                    <a:pt x="7" y="14"/>
                  </a:lnTo>
                  <a:lnTo>
                    <a:pt x="7" y="14"/>
                  </a:lnTo>
                  <a:lnTo>
                    <a:pt x="10" y="12"/>
                  </a:lnTo>
                  <a:lnTo>
                    <a:pt x="10" y="10"/>
                  </a:lnTo>
                  <a:lnTo>
                    <a:pt x="10" y="7"/>
                  </a:lnTo>
                  <a:lnTo>
                    <a:pt x="12" y="7"/>
                  </a:lnTo>
                  <a:lnTo>
                    <a:pt x="12" y="5"/>
                  </a:lnTo>
                  <a:lnTo>
                    <a:pt x="10" y="3"/>
                  </a:lnTo>
                  <a:lnTo>
                    <a:pt x="10" y="3"/>
                  </a:lnTo>
                  <a:lnTo>
                    <a:pt x="7" y="0"/>
                  </a:lnTo>
                  <a:lnTo>
                    <a:pt x="7" y="0"/>
                  </a:lnTo>
                  <a:lnTo>
                    <a:pt x="5" y="0"/>
                  </a:lnTo>
                  <a:lnTo>
                    <a:pt x="2" y="3"/>
                  </a:lnTo>
                  <a:lnTo>
                    <a:pt x="5" y="3"/>
                  </a:lnTo>
                  <a:lnTo>
                    <a:pt x="7" y="5"/>
                  </a:lnTo>
                  <a:lnTo>
                    <a:pt x="7" y="7"/>
                  </a:lnTo>
                  <a:lnTo>
                    <a:pt x="7" y="7"/>
                  </a:lnTo>
                  <a:lnTo>
                    <a:pt x="7" y="7"/>
                  </a:lnTo>
                  <a:lnTo>
                    <a:pt x="7" y="10"/>
                  </a:lnTo>
                  <a:lnTo>
                    <a:pt x="7" y="10"/>
                  </a:lnTo>
                  <a:lnTo>
                    <a:pt x="7" y="10"/>
                  </a:lnTo>
                  <a:lnTo>
                    <a:pt x="7" y="10"/>
                  </a:lnTo>
                  <a:lnTo>
                    <a:pt x="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22">
              <a:extLst>
                <a:ext uri="{FF2B5EF4-FFF2-40B4-BE49-F238E27FC236}">
                  <a16:creationId xmlns:a16="http://schemas.microsoft.com/office/drawing/2014/main" id="{3B6F4271-C500-4596-8D7F-0E9202398592}"/>
                </a:ext>
              </a:extLst>
            </p:cNvPr>
            <p:cNvSpPr>
              <a:spLocks/>
            </p:cNvSpPr>
            <p:nvPr/>
          </p:nvSpPr>
          <p:spPr bwMode="gray">
            <a:xfrm>
              <a:off x="-1208" y="378"/>
              <a:ext cx="12" cy="12"/>
            </a:xfrm>
            <a:custGeom>
              <a:avLst/>
              <a:gdLst>
                <a:gd name="T0" fmla="*/ 0 w 12"/>
                <a:gd name="T1" fmla="*/ 7 h 12"/>
                <a:gd name="T2" fmla="*/ 0 w 12"/>
                <a:gd name="T3" fmla="*/ 10 h 12"/>
                <a:gd name="T4" fmla="*/ 0 w 12"/>
                <a:gd name="T5" fmla="*/ 10 h 12"/>
                <a:gd name="T6" fmla="*/ 0 w 12"/>
                <a:gd name="T7" fmla="*/ 12 h 12"/>
                <a:gd name="T8" fmla="*/ 0 w 12"/>
                <a:gd name="T9" fmla="*/ 12 h 12"/>
                <a:gd name="T10" fmla="*/ 3 w 12"/>
                <a:gd name="T11" fmla="*/ 12 h 12"/>
                <a:gd name="T12" fmla="*/ 3 w 12"/>
                <a:gd name="T13" fmla="*/ 12 h 12"/>
                <a:gd name="T14" fmla="*/ 5 w 12"/>
                <a:gd name="T15" fmla="*/ 10 h 12"/>
                <a:gd name="T16" fmla="*/ 5 w 12"/>
                <a:gd name="T17" fmla="*/ 10 h 12"/>
                <a:gd name="T18" fmla="*/ 7 w 12"/>
                <a:gd name="T19" fmla="*/ 12 h 12"/>
                <a:gd name="T20" fmla="*/ 7 w 12"/>
                <a:gd name="T21" fmla="*/ 12 h 12"/>
                <a:gd name="T22" fmla="*/ 10 w 12"/>
                <a:gd name="T23" fmla="*/ 10 h 12"/>
                <a:gd name="T24" fmla="*/ 10 w 12"/>
                <a:gd name="T25" fmla="*/ 10 h 12"/>
                <a:gd name="T26" fmla="*/ 10 w 12"/>
                <a:gd name="T27" fmla="*/ 7 h 12"/>
                <a:gd name="T28" fmla="*/ 10 w 12"/>
                <a:gd name="T29" fmla="*/ 7 h 12"/>
                <a:gd name="T30" fmla="*/ 7 w 12"/>
                <a:gd name="T31" fmla="*/ 7 h 12"/>
                <a:gd name="T32" fmla="*/ 10 w 12"/>
                <a:gd name="T33" fmla="*/ 5 h 12"/>
                <a:gd name="T34" fmla="*/ 10 w 12"/>
                <a:gd name="T35" fmla="*/ 5 h 12"/>
                <a:gd name="T36" fmla="*/ 12 w 12"/>
                <a:gd name="T37" fmla="*/ 3 h 12"/>
                <a:gd name="T38" fmla="*/ 7 w 12"/>
                <a:gd name="T39" fmla="*/ 3 h 12"/>
                <a:gd name="T40" fmla="*/ 5 w 12"/>
                <a:gd name="T41" fmla="*/ 0 h 12"/>
                <a:gd name="T42" fmla="*/ 3 w 12"/>
                <a:gd name="T43" fmla="*/ 3 h 12"/>
                <a:gd name="T44" fmla="*/ 0 w 12"/>
                <a:gd name="T45" fmla="*/ 7 h 12"/>
                <a:gd name="T46" fmla="*/ 3 w 12"/>
                <a:gd name="T47" fmla="*/ 7 h 12"/>
                <a:gd name="T48" fmla="*/ 3 w 12"/>
                <a:gd name="T49" fmla="*/ 7 h 12"/>
                <a:gd name="T50" fmla="*/ 5 w 12"/>
                <a:gd name="T51" fmla="*/ 7 h 12"/>
                <a:gd name="T52" fmla="*/ 0 w 12"/>
                <a:gd name="T53" fmla="*/ 7 h 12"/>
                <a:gd name="T54" fmla="*/ 0 w 12"/>
                <a:gd name="T55"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 h="12">
                  <a:moveTo>
                    <a:pt x="0" y="7"/>
                  </a:moveTo>
                  <a:lnTo>
                    <a:pt x="0" y="10"/>
                  </a:lnTo>
                  <a:lnTo>
                    <a:pt x="0" y="10"/>
                  </a:lnTo>
                  <a:lnTo>
                    <a:pt x="0" y="12"/>
                  </a:lnTo>
                  <a:lnTo>
                    <a:pt x="0" y="12"/>
                  </a:lnTo>
                  <a:lnTo>
                    <a:pt x="3" y="12"/>
                  </a:lnTo>
                  <a:lnTo>
                    <a:pt x="3" y="12"/>
                  </a:lnTo>
                  <a:lnTo>
                    <a:pt x="5" y="10"/>
                  </a:lnTo>
                  <a:lnTo>
                    <a:pt x="5" y="10"/>
                  </a:lnTo>
                  <a:lnTo>
                    <a:pt x="7" y="12"/>
                  </a:lnTo>
                  <a:lnTo>
                    <a:pt x="7" y="12"/>
                  </a:lnTo>
                  <a:lnTo>
                    <a:pt x="10" y="10"/>
                  </a:lnTo>
                  <a:lnTo>
                    <a:pt x="10" y="10"/>
                  </a:lnTo>
                  <a:lnTo>
                    <a:pt x="10" y="7"/>
                  </a:lnTo>
                  <a:lnTo>
                    <a:pt x="10" y="7"/>
                  </a:lnTo>
                  <a:lnTo>
                    <a:pt x="7" y="7"/>
                  </a:lnTo>
                  <a:lnTo>
                    <a:pt x="10" y="5"/>
                  </a:lnTo>
                  <a:lnTo>
                    <a:pt x="10" y="5"/>
                  </a:lnTo>
                  <a:lnTo>
                    <a:pt x="12" y="3"/>
                  </a:lnTo>
                  <a:lnTo>
                    <a:pt x="7" y="3"/>
                  </a:lnTo>
                  <a:lnTo>
                    <a:pt x="5" y="0"/>
                  </a:lnTo>
                  <a:lnTo>
                    <a:pt x="3" y="3"/>
                  </a:lnTo>
                  <a:lnTo>
                    <a:pt x="0" y="7"/>
                  </a:lnTo>
                  <a:lnTo>
                    <a:pt x="3" y="7"/>
                  </a:lnTo>
                  <a:lnTo>
                    <a:pt x="3" y="7"/>
                  </a:lnTo>
                  <a:lnTo>
                    <a:pt x="5" y="7"/>
                  </a:lnTo>
                  <a:lnTo>
                    <a:pt x="0" y="7"/>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223">
              <a:extLst>
                <a:ext uri="{FF2B5EF4-FFF2-40B4-BE49-F238E27FC236}">
                  <a16:creationId xmlns:a16="http://schemas.microsoft.com/office/drawing/2014/main" id="{DBBFFCAF-9F03-446F-B2DE-4682F143F7B6}"/>
                </a:ext>
              </a:extLst>
            </p:cNvPr>
            <p:cNvSpPr>
              <a:spLocks/>
            </p:cNvSpPr>
            <p:nvPr/>
          </p:nvSpPr>
          <p:spPr bwMode="gray">
            <a:xfrm>
              <a:off x="-1288" y="367"/>
              <a:ext cx="7" cy="9"/>
            </a:xfrm>
            <a:custGeom>
              <a:avLst/>
              <a:gdLst>
                <a:gd name="T0" fmla="*/ 2 w 7"/>
                <a:gd name="T1" fmla="*/ 7 h 9"/>
                <a:gd name="T2" fmla="*/ 2 w 7"/>
                <a:gd name="T3" fmla="*/ 7 h 9"/>
                <a:gd name="T4" fmla="*/ 2 w 7"/>
                <a:gd name="T5" fmla="*/ 7 h 9"/>
                <a:gd name="T6" fmla="*/ 2 w 7"/>
                <a:gd name="T7" fmla="*/ 9 h 9"/>
                <a:gd name="T8" fmla="*/ 2 w 7"/>
                <a:gd name="T9" fmla="*/ 9 h 9"/>
                <a:gd name="T10" fmla="*/ 7 w 7"/>
                <a:gd name="T11" fmla="*/ 2 h 9"/>
                <a:gd name="T12" fmla="*/ 7 w 7"/>
                <a:gd name="T13" fmla="*/ 2 h 9"/>
                <a:gd name="T14" fmla="*/ 7 w 7"/>
                <a:gd name="T15" fmla="*/ 0 h 9"/>
                <a:gd name="T16" fmla="*/ 5 w 7"/>
                <a:gd name="T17" fmla="*/ 0 h 9"/>
                <a:gd name="T18" fmla="*/ 5 w 7"/>
                <a:gd name="T19" fmla="*/ 0 h 9"/>
                <a:gd name="T20" fmla="*/ 5 w 7"/>
                <a:gd name="T21" fmla="*/ 0 h 9"/>
                <a:gd name="T22" fmla="*/ 2 w 7"/>
                <a:gd name="T23" fmla="*/ 0 h 9"/>
                <a:gd name="T24" fmla="*/ 0 w 7"/>
                <a:gd name="T25" fmla="*/ 0 h 9"/>
                <a:gd name="T26" fmla="*/ 0 w 7"/>
                <a:gd name="T27" fmla="*/ 2 h 9"/>
                <a:gd name="T28" fmla="*/ 0 w 7"/>
                <a:gd name="T29" fmla="*/ 2 h 9"/>
                <a:gd name="T30" fmla="*/ 0 w 7"/>
                <a:gd name="T31" fmla="*/ 4 h 9"/>
                <a:gd name="T32" fmla="*/ 2 w 7"/>
                <a:gd name="T33" fmla="*/ 2 h 9"/>
                <a:gd name="T34" fmla="*/ 2 w 7"/>
                <a:gd name="T35" fmla="*/ 4 h 9"/>
                <a:gd name="T36" fmla="*/ 2 w 7"/>
                <a:gd name="T37" fmla="*/ 4 h 9"/>
                <a:gd name="T38" fmla="*/ 2 w 7"/>
                <a:gd name="T39"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9">
                  <a:moveTo>
                    <a:pt x="2" y="7"/>
                  </a:moveTo>
                  <a:lnTo>
                    <a:pt x="2" y="7"/>
                  </a:lnTo>
                  <a:lnTo>
                    <a:pt x="2" y="7"/>
                  </a:lnTo>
                  <a:lnTo>
                    <a:pt x="2" y="9"/>
                  </a:lnTo>
                  <a:lnTo>
                    <a:pt x="2" y="9"/>
                  </a:lnTo>
                  <a:lnTo>
                    <a:pt x="7" y="2"/>
                  </a:lnTo>
                  <a:lnTo>
                    <a:pt x="7" y="2"/>
                  </a:lnTo>
                  <a:lnTo>
                    <a:pt x="7" y="0"/>
                  </a:lnTo>
                  <a:lnTo>
                    <a:pt x="5" y="0"/>
                  </a:lnTo>
                  <a:lnTo>
                    <a:pt x="5" y="0"/>
                  </a:lnTo>
                  <a:lnTo>
                    <a:pt x="5" y="0"/>
                  </a:lnTo>
                  <a:lnTo>
                    <a:pt x="2" y="0"/>
                  </a:lnTo>
                  <a:lnTo>
                    <a:pt x="0" y="0"/>
                  </a:lnTo>
                  <a:lnTo>
                    <a:pt x="0" y="2"/>
                  </a:lnTo>
                  <a:lnTo>
                    <a:pt x="0" y="2"/>
                  </a:lnTo>
                  <a:lnTo>
                    <a:pt x="0" y="4"/>
                  </a:lnTo>
                  <a:lnTo>
                    <a:pt x="2" y="2"/>
                  </a:lnTo>
                  <a:lnTo>
                    <a:pt x="2" y="4"/>
                  </a:lnTo>
                  <a:lnTo>
                    <a:pt x="2" y="4"/>
                  </a:ln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224">
              <a:extLst>
                <a:ext uri="{FF2B5EF4-FFF2-40B4-BE49-F238E27FC236}">
                  <a16:creationId xmlns:a16="http://schemas.microsoft.com/office/drawing/2014/main" id="{1C90B4D7-074B-490B-B548-C1D3851FECF1}"/>
                </a:ext>
              </a:extLst>
            </p:cNvPr>
            <p:cNvSpPr>
              <a:spLocks/>
            </p:cNvSpPr>
            <p:nvPr/>
          </p:nvSpPr>
          <p:spPr bwMode="gray">
            <a:xfrm>
              <a:off x="-1269" y="383"/>
              <a:ext cx="5" cy="5"/>
            </a:xfrm>
            <a:custGeom>
              <a:avLst/>
              <a:gdLst>
                <a:gd name="T0" fmla="*/ 5 w 5"/>
                <a:gd name="T1" fmla="*/ 2 h 5"/>
                <a:gd name="T2" fmla="*/ 2 w 5"/>
                <a:gd name="T3" fmla="*/ 0 h 5"/>
                <a:gd name="T4" fmla="*/ 2 w 5"/>
                <a:gd name="T5" fmla="*/ 0 h 5"/>
                <a:gd name="T6" fmla="*/ 2 w 5"/>
                <a:gd name="T7" fmla="*/ 0 h 5"/>
                <a:gd name="T8" fmla="*/ 2 w 5"/>
                <a:gd name="T9" fmla="*/ 0 h 5"/>
                <a:gd name="T10" fmla="*/ 0 w 5"/>
                <a:gd name="T11" fmla="*/ 0 h 5"/>
                <a:gd name="T12" fmla="*/ 2 w 5"/>
                <a:gd name="T13" fmla="*/ 2 h 5"/>
                <a:gd name="T14" fmla="*/ 2 w 5"/>
                <a:gd name="T15" fmla="*/ 5 h 5"/>
                <a:gd name="T16" fmla="*/ 2 w 5"/>
                <a:gd name="T17" fmla="*/ 5 h 5"/>
                <a:gd name="T18" fmla="*/ 5 w 5"/>
                <a:gd name="T19" fmla="*/ 5 h 5"/>
                <a:gd name="T20" fmla="*/ 5 w 5"/>
                <a:gd name="T21" fmla="*/ 5 h 5"/>
                <a:gd name="T22" fmla="*/ 5 w 5"/>
                <a:gd name="T23" fmla="*/ 2 h 5"/>
                <a:gd name="T24" fmla="*/ 5 w 5"/>
                <a:gd name="T25" fmla="*/ 2 h 5"/>
                <a:gd name="T26" fmla="*/ 5 w 5"/>
                <a:gd name="T2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5" y="2"/>
                  </a:moveTo>
                  <a:lnTo>
                    <a:pt x="2" y="0"/>
                  </a:lnTo>
                  <a:lnTo>
                    <a:pt x="2" y="0"/>
                  </a:lnTo>
                  <a:lnTo>
                    <a:pt x="2" y="0"/>
                  </a:lnTo>
                  <a:lnTo>
                    <a:pt x="2" y="0"/>
                  </a:lnTo>
                  <a:lnTo>
                    <a:pt x="0" y="0"/>
                  </a:lnTo>
                  <a:lnTo>
                    <a:pt x="2" y="2"/>
                  </a:lnTo>
                  <a:lnTo>
                    <a:pt x="2" y="5"/>
                  </a:lnTo>
                  <a:lnTo>
                    <a:pt x="2" y="5"/>
                  </a:lnTo>
                  <a:lnTo>
                    <a:pt x="5" y="5"/>
                  </a:lnTo>
                  <a:lnTo>
                    <a:pt x="5" y="5"/>
                  </a:lnTo>
                  <a:lnTo>
                    <a:pt x="5" y="2"/>
                  </a:lnTo>
                  <a:lnTo>
                    <a:pt x="5" y="2"/>
                  </a:lnTo>
                  <a:lnTo>
                    <a:pt x="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225">
              <a:extLst>
                <a:ext uri="{FF2B5EF4-FFF2-40B4-BE49-F238E27FC236}">
                  <a16:creationId xmlns:a16="http://schemas.microsoft.com/office/drawing/2014/main" id="{8FE4C387-873C-4C13-86B4-0D012BAB9945}"/>
                </a:ext>
              </a:extLst>
            </p:cNvPr>
            <p:cNvSpPr>
              <a:spLocks/>
            </p:cNvSpPr>
            <p:nvPr/>
          </p:nvSpPr>
          <p:spPr bwMode="gray">
            <a:xfrm>
              <a:off x="-1347" y="367"/>
              <a:ext cx="12" cy="18"/>
            </a:xfrm>
            <a:custGeom>
              <a:avLst/>
              <a:gdLst>
                <a:gd name="T0" fmla="*/ 10 w 12"/>
                <a:gd name="T1" fmla="*/ 14 h 18"/>
                <a:gd name="T2" fmla="*/ 10 w 12"/>
                <a:gd name="T3" fmla="*/ 14 h 18"/>
                <a:gd name="T4" fmla="*/ 10 w 12"/>
                <a:gd name="T5" fmla="*/ 14 h 18"/>
                <a:gd name="T6" fmla="*/ 12 w 12"/>
                <a:gd name="T7" fmla="*/ 14 h 18"/>
                <a:gd name="T8" fmla="*/ 12 w 12"/>
                <a:gd name="T9" fmla="*/ 14 h 18"/>
                <a:gd name="T10" fmla="*/ 12 w 12"/>
                <a:gd name="T11" fmla="*/ 14 h 18"/>
                <a:gd name="T12" fmla="*/ 12 w 12"/>
                <a:gd name="T13" fmla="*/ 11 h 18"/>
                <a:gd name="T14" fmla="*/ 12 w 12"/>
                <a:gd name="T15" fmla="*/ 9 h 18"/>
                <a:gd name="T16" fmla="*/ 12 w 12"/>
                <a:gd name="T17" fmla="*/ 9 h 18"/>
                <a:gd name="T18" fmla="*/ 10 w 12"/>
                <a:gd name="T19" fmla="*/ 9 h 18"/>
                <a:gd name="T20" fmla="*/ 10 w 12"/>
                <a:gd name="T21" fmla="*/ 7 h 18"/>
                <a:gd name="T22" fmla="*/ 10 w 12"/>
                <a:gd name="T23" fmla="*/ 4 h 18"/>
                <a:gd name="T24" fmla="*/ 10 w 12"/>
                <a:gd name="T25" fmla="*/ 4 h 18"/>
                <a:gd name="T26" fmla="*/ 10 w 12"/>
                <a:gd name="T27" fmla="*/ 2 h 18"/>
                <a:gd name="T28" fmla="*/ 10 w 12"/>
                <a:gd name="T29" fmla="*/ 2 h 18"/>
                <a:gd name="T30" fmla="*/ 7 w 12"/>
                <a:gd name="T31" fmla="*/ 0 h 18"/>
                <a:gd name="T32" fmla="*/ 7 w 12"/>
                <a:gd name="T33" fmla="*/ 0 h 18"/>
                <a:gd name="T34" fmla="*/ 5 w 12"/>
                <a:gd name="T35" fmla="*/ 0 h 18"/>
                <a:gd name="T36" fmla="*/ 5 w 12"/>
                <a:gd name="T37" fmla="*/ 0 h 18"/>
                <a:gd name="T38" fmla="*/ 5 w 12"/>
                <a:gd name="T39" fmla="*/ 2 h 18"/>
                <a:gd name="T40" fmla="*/ 3 w 12"/>
                <a:gd name="T41" fmla="*/ 2 h 18"/>
                <a:gd name="T42" fmla="*/ 3 w 12"/>
                <a:gd name="T43" fmla="*/ 4 h 18"/>
                <a:gd name="T44" fmla="*/ 3 w 12"/>
                <a:gd name="T45" fmla="*/ 4 h 18"/>
                <a:gd name="T46" fmla="*/ 3 w 12"/>
                <a:gd name="T47" fmla="*/ 7 h 18"/>
                <a:gd name="T48" fmla="*/ 3 w 12"/>
                <a:gd name="T49" fmla="*/ 9 h 18"/>
                <a:gd name="T50" fmla="*/ 3 w 12"/>
                <a:gd name="T51" fmla="*/ 9 h 18"/>
                <a:gd name="T52" fmla="*/ 0 w 12"/>
                <a:gd name="T53" fmla="*/ 11 h 18"/>
                <a:gd name="T54" fmla="*/ 0 w 12"/>
                <a:gd name="T55" fmla="*/ 11 h 18"/>
                <a:gd name="T56" fmla="*/ 0 w 12"/>
                <a:gd name="T57" fmla="*/ 11 h 18"/>
                <a:gd name="T58" fmla="*/ 0 w 12"/>
                <a:gd name="T59" fmla="*/ 11 h 18"/>
                <a:gd name="T60" fmla="*/ 3 w 12"/>
                <a:gd name="T61" fmla="*/ 16 h 18"/>
                <a:gd name="T62" fmla="*/ 3 w 12"/>
                <a:gd name="T63" fmla="*/ 18 h 18"/>
                <a:gd name="T64" fmla="*/ 5 w 12"/>
                <a:gd name="T65" fmla="*/ 18 h 18"/>
                <a:gd name="T66" fmla="*/ 5 w 12"/>
                <a:gd name="T67" fmla="*/ 18 h 18"/>
                <a:gd name="T68" fmla="*/ 7 w 12"/>
                <a:gd name="T69" fmla="*/ 16 h 18"/>
                <a:gd name="T70" fmla="*/ 7 w 12"/>
                <a:gd name="T71" fmla="*/ 14 h 18"/>
                <a:gd name="T72" fmla="*/ 7 w 12"/>
                <a:gd name="T73" fmla="*/ 11 h 18"/>
                <a:gd name="T74" fmla="*/ 5 w 12"/>
                <a:gd name="T75" fmla="*/ 9 h 18"/>
                <a:gd name="T76" fmla="*/ 7 w 12"/>
                <a:gd name="T77" fmla="*/ 11 h 18"/>
                <a:gd name="T78" fmla="*/ 10 w 12"/>
                <a:gd name="T7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 h="18">
                  <a:moveTo>
                    <a:pt x="10" y="14"/>
                  </a:moveTo>
                  <a:lnTo>
                    <a:pt x="10" y="14"/>
                  </a:lnTo>
                  <a:lnTo>
                    <a:pt x="10" y="14"/>
                  </a:lnTo>
                  <a:lnTo>
                    <a:pt x="12" y="14"/>
                  </a:lnTo>
                  <a:lnTo>
                    <a:pt x="12" y="14"/>
                  </a:lnTo>
                  <a:lnTo>
                    <a:pt x="12" y="14"/>
                  </a:lnTo>
                  <a:lnTo>
                    <a:pt x="12" y="11"/>
                  </a:lnTo>
                  <a:lnTo>
                    <a:pt x="12" y="9"/>
                  </a:lnTo>
                  <a:lnTo>
                    <a:pt x="12" y="9"/>
                  </a:lnTo>
                  <a:lnTo>
                    <a:pt x="10" y="9"/>
                  </a:lnTo>
                  <a:lnTo>
                    <a:pt x="10" y="7"/>
                  </a:lnTo>
                  <a:lnTo>
                    <a:pt x="10" y="4"/>
                  </a:lnTo>
                  <a:lnTo>
                    <a:pt x="10" y="4"/>
                  </a:lnTo>
                  <a:lnTo>
                    <a:pt x="10" y="2"/>
                  </a:lnTo>
                  <a:lnTo>
                    <a:pt x="10" y="2"/>
                  </a:lnTo>
                  <a:lnTo>
                    <a:pt x="7" y="0"/>
                  </a:lnTo>
                  <a:lnTo>
                    <a:pt x="7" y="0"/>
                  </a:lnTo>
                  <a:lnTo>
                    <a:pt x="5" y="0"/>
                  </a:lnTo>
                  <a:lnTo>
                    <a:pt x="5" y="0"/>
                  </a:lnTo>
                  <a:lnTo>
                    <a:pt x="5" y="2"/>
                  </a:lnTo>
                  <a:lnTo>
                    <a:pt x="3" y="2"/>
                  </a:lnTo>
                  <a:lnTo>
                    <a:pt x="3" y="4"/>
                  </a:lnTo>
                  <a:lnTo>
                    <a:pt x="3" y="4"/>
                  </a:lnTo>
                  <a:lnTo>
                    <a:pt x="3" y="7"/>
                  </a:lnTo>
                  <a:lnTo>
                    <a:pt x="3" y="9"/>
                  </a:lnTo>
                  <a:lnTo>
                    <a:pt x="3" y="9"/>
                  </a:lnTo>
                  <a:lnTo>
                    <a:pt x="0" y="11"/>
                  </a:lnTo>
                  <a:lnTo>
                    <a:pt x="0" y="11"/>
                  </a:lnTo>
                  <a:lnTo>
                    <a:pt x="0" y="11"/>
                  </a:lnTo>
                  <a:lnTo>
                    <a:pt x="0" y="11"/>
                  </a:lnTo>
                  <a:lnTo>
                    <a:pt x="3" y="16"/>
                  </a:lnTo>
                  <a:lnTo>
                    <a:pt x="3" y="18"/>
                  </a:lnTo>
                  <a:lnTo>
                    <a:pt x="5" y="18"/>
                  </a:lnTo>
                  <a:lnTo>
                    <a:pt x="5" y="18"/>
                  </a:lnTo>
                  <a:lnTo>
                    <a:pt x="7" y="16"/>
                  </a:lnTo>
                  <a:lnTo>
                    <a:pt x="7" y="14"/>
                  </a:lnTo>
                  <a:lnTo>
                    <a:pt x="7" y="11"/>
                  </a:lnTo>
                  <a:lnTo>
                    <a:pt x="5" y="9"/>
                  </a:lnTo>
                  <a:lnTo>
                    <a:pt x="7" y="11"/>
                  </a:lnTo>
                  <a:lnTo>
                    <a:pt x="1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226">
              <a:extLst>
                <a:ext uri="{FF2B5EF4-FFF2-40B4-BE49-F238E27FC236}">
                  <a16:creationId xmlns:a16="http://schemas.microsoft.com/office/drawing/2014/main" id="{54EDA69D-0875-40CC-B90B-8E212B116C5F}"/>
                </a:ext>
              </a:extLst>
            </p:cNvPr>
            <p:cNvSpPr>
              <a:spLocks/>
            </p:cNvSpPr>
            <p:nvPr/>
          </p:nvSpPr>
          <p:spPr bwMode="gray">
            <a:xfrm>
              <a:off x="-1286" y="395"/>
              <a:ext cx="5" cy="5"/>
            </a:xfrm>
            <a:custGeom>
              <a:avLst/>
              <a:gdLst>
                <a:gd name="T0" fmla="*/ 5 w 5"/>
                <a:gd name="T1" fmla="*/ 0 h 5"/>
                <a:gd name="T2" fmla="*/ 5 w 5"/>
                <a:gd name="T3" fmla="*/ 0 h 5"/>
                <a:gd name="T4" fmla="*/ 3 w 5"/>
                <a:gd name="T5" fmla="*/ 0 h 5"/>
                <a:gd name="T6" fmla="*/ 0 w 5"/>
                <a:gd name="T7" fmla="*/ 2 h 5"/>
                <a:gd name="T8" fmla="*/ 0 w 5"/>
                <a:gd name="T9" fmla="*/ 5 h 5"/>
                <a:gd name="T10" fmla="*/ 0 w 5"/>
                <a:gd name="T11" fmla="*/ 5 h 5"/>
                <a:gd name="T12" fmla="*/ 3 w 5"/>
                <a:gd name="T13" fmla="*/ 5 h 5"/>
                <a:gd name="T14" fmla="*/ 5 w 5"/>
                <a:gd name="T15" fmla="*/ 2 h 5"/>
                <a:gd name="T16" fmla="*/ 5 w 5"/>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
                  <a:moveTo>
                    <a:pt x="5" y="0"/>
                  </a:moveTo>
                  <a:lnTo>
                    <a:pt x="5" y="0"/>
                  </a:lnTo>
                  <a:lnTo>
                    <a:pt x="3" y="0"/>
                  </a:lnTo>
                  <a:lnTo>
                    <a:pt x="0" y="2"/>
                  </a:lnTo>
                  <a:lnTo>
                    <a:pt x="0" y="5"/>
                  </a:lnTo>
                  <a:lnTo>
                    <a:pt x="0" y="5"/>
                  </a:lnTo>
                  <a:lnTo>
                    <a:pt x="3" y="5"/>
                  </a:lnTo>
                  <a:lnTo>
                    <a:pt x="5" y="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227">
              <a:extLst>
                <a:ext uri="{FF2B5EF4-FFF2-40B4-BE49-F238E27FC236}">
                  <a16:creationId xmlns:a16="http://schemas.microsoft.com/office/drawing/2014/main" id="{5DD78D0F-23ED-4CF2-B834-D48475ECCD9E}"/>
                </a:ext>
              </a:extLst>
            </p:cNvPr>
            <p:cNvSpPr>
              <a:spLocks/>
            </p:cNvSpPr>
            <p:nvPr/>
          </p:nvSpPr>
          <p:spPr bwMode="gray">
            <a:xfrm>
              <a:off x="-1125" y="-164"/>
              <a:ext cx="9" cy="12"/>
            </a:xfrm>
            <a:custGeom>
              <a:avLst/>
              <a:gdLst>
                <a:gd name="T0" fmla="*/ 0 w 9"/>
                <a:gd name="T1" fmla="*/ 7 h 12"/>
                <a:gd name="T2" fmla="*/ 0 w 9"/>
                <a:gd name="T3" fmla="*/ 10 h 12"/>
                <a:gd name="T4" fmla="*/ 2 w 9"/>
                <a:gd name="T5" fmla="*/ 10 h 12"/>
                <a:gd name="T6" fmla="*/ 5 w 9"/>
                <a:gd name="T7" fmla="*/ 12 h 12"/>
                <a:gd name="T8" fmla="*/ 5 w 9"/>
                <a:gd name="T9" fmla="*/ 12 h 12"/>
                <a:gd name="T10" fmla="*/ 5 w 9"/>
                <a:gd name="T11" fmla="*/ 10 h 12"/>
                <a:gd name="T12" fmla="*/ 7 w 9"/>
                <a:gd name="T13" fmla="*/ 10 h 12"/>
                <a:gd name="T14" fmla="*/ 7 w 9"/>
                <a:gd name="T15" fmla="*/ 10 h 12"/>
                <a:gd name="T16" fmla="*/ 7 w 9"/>
                <a:gd name="T17" fmla="*/ 10 h 12"/>
                <a:gd name="T18" fmla="*/ 7 w 9"/>
                <a:gd name="T19" fmla="*/ 7 h 12"/>
                <a:gd name="T20" fmla="*/ 7 w 9"/>
                <a:gd name="T21" fmla="*/ 10 h 12"/>
                <a:gd name="T22" fmla="*/ 7 w 9"/>
                <a:gd name="T23" fmla="*/ 10 h 12"/>
                <a:gd name="T24" fmla="*/ 9 w 9"/>
                <a:gd name="T25" fmla="*/ 7 h 12"/>
                <a:gd name="T26" fmla="*/ 9 w 9"/>
                <a:gd name="T27" fmla="*/ 7 h 12"/>
                <a:gd name="T28" fmla="*/ 9 w 9"/>
                <a:gd name="T29" fmla="*/ 5 h 12"/>
                <a:gd name="T30" fmla="*/ 9 w 9"/>
                <a:gd name="T31" fmla="*/ 5 h 12"/>
                <a:gd name="T32" fmla="*/ 9 w 9"/>
                <a:gd name="T33" fmla="*/ 5 h 12"/>
                <a:gd name="T34" fmla="*/ 9 w 9"/>
                <a:gd name="T35" fmla="*/ 3 h 12"/>
                <a:gd name="T36" fmla="*/ 9 w 9"/>
                <a:gd name="T37" fmla="*/ 3 h 12"/>
                <a:gd name="T38" fmla="*/ 9 w 9"/>
                <a:gd name="T39" fmla="*/ 3 h 12"/>
                <a:gd name="T40" fmla="*/ 9 w 9"/>
                <a:gd name="T41" fmla="*/ 3 h 12"/>
                <a:gd name="T42" fmla="*/ 9 w 9"/>
                <a:gd name="T43" fmla="*/ 3 h 12"/>
                <a:gd name="T44" fmla="*/ 7 w 9"/>
                <a:gd name="T45" fmla="*/ 3 h 12"/>
                <a:gd name="T46" fmla="*/ 7 w 9"/>
                <a:gd name="T47" fmla="*/ 3 h 12"/>
                <a:gd name="T48" fmla="*/ 7 w 9"/>
                <a:gd name="T49" fmla="*/ 3 h 12"/>
                <a:gd name="T50" fmla="*/ 7 w 9"/>
                <a:gd name="T51" fmla="*/ 0 h 12"/>
                <a:gd name="T52" fmla="*/ 5 w 9"/>
                <a:gd name="T53" fmla="*/ 0 h 12"/>
                <a:gd name="T54" fmla="*/ 5 w 9"/>
                <a:gd name="T55" fmla="*/ 3 h 12"/>
                <a:gd name="T56" fmla="*/ 2 w 9"/>
                <a:gd name="T57" fmla="*/ 3 h 12"/>
                <a:gd name="T58" fmla="*/ 2 w 9"/>
                <a:gd name="T59" fmla="*/ 3 h 12"/>
                <a:gd name="T60" fmla="*/ 0 w 9"/>
                <a:gd name="T61" fmla="*/ 5 h 12"/>
                <a:gd name="T62" fmla="*/ 0 w 9"/>
                <a:gd name="T63" fmla="*/ 5 h 12"/>
                <a:gd name="T64" fmla="*/ 0 w 9"/>
                <a:gd name="T65" fmla="*/ 5 h 12"/>
                <a:gd name="T66" fmla="*/ 0 w 9"/>
                <a:gd name="T67" fmla="*/ 7 h 12"/>
                <a:gd name="T68" fmla="*/ 0 w 9"/>
                <a:gd name="T69"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 h="12">
                  <a:moveTo>
                    <a:pt x="0" y="7"/>
                  </a:moveTo>
                  <a:lnTo>
                    <a:pt x="0" y="10"/>
                  </a:lnTo>
                  <a:lnTo>
                    <a:pt x="2" y="10"/>
                  </a:lnTo>
                  <a:lnTo>
                    <a:pt x="5" y="12"/>
                  </a:lnTo>
                  <a:lnTo>
                    <a:pt x="5" y="12"/>
                  </a:lnTo>
                  <a:lnTo>
                    <a:pt x="5" y="10"/>
                  </a:lnTo>
                  <a:lnTo>
                    <a:pt x="7" y="10"/>
                  </a:lnTo>
                  <a:lnTo>
                    <a:pt x="7" y="10"/>
                  </a:lnTo>
                  <a:lnTo>
                    <a:pt x="7" y="10"/>
                  </a:lnTo>
                  <a:lnTo>
                    <a:pt x="7" y="7"/>
                  </a:lnTo>
                  <a:lnTo>
                    <a:pt x="7" y="10"/>
                  </a:lnTo>
                  <a:lnTo>
                    <a:pt x="7" y="10"/>
                  </a:lnTo>
                  <a:lnTo>
                    <a:pt x="9" y="7"/>
                  </a:lnTo>
                  <a:lnTo>
                    <a:pt x="9" y="7"/>
                  </a:lnTo>
                  <a:lnTo>
                    <a:pt x="9" y="5"/>
                  </a:lnTo>
                  <a:lnTo>
                    <a:pt x="9" y="5"/>
                  </a:lnTo>
                  <a:lnTo>
                    <a:pt x="9" y="5"/>
                  </a:lnTo>
                  <a:lnTo>
                    <a:pt x="9" y="3"/>
                  </a:lnTo>
                  <a:lnTo>
                    <a:pt x="9" y="3"/>
                  </a:lnTo>
                  <a:lnTo>
                    <a:pt x="9" y="3"/>
                  </a:lnTo>
                  <a:lnTo>
                    <a:pt x="9" y="3"/>
                  </a:lnTo>
                  <a:lnTo>
                    <a:pt x="9" y="3"/>
                  </a:lnTo>
                  <a:lnTo>
                    <a:pt x="7" y="3"/>
                  </a:lnTo>
                  <a:lnTo>
                    <a:pt x="7" y="3"/>
                  </a:lnTo>
                  <a:lnTo>
                    <a:pt x="7" y="3"/>
                  </a:lnTo>
                  <a:lnTo>
                    <a:pt x="7" y="0"/>
                  </a:lnTo>
                  <a:lnTo>
                    <a:pt x="5" y="0"/>
                  </a:lnTo>
                  <a:lnTo>
                    <a:pt x="5" y="3"/>
                  </a:lnTo>
                  <a:lnTo>
                    <a:pt x="2" y="3"/>
                  </a:lnTo>
                  <a:lnTo>
                    <a:pt x="2" y="3"/>
                  </a:lnTo>
                  <a:lnTo>
                    <a:pt x="0" y="5"/>
                  </a:lnTo>
                  <a:lnTo>
                    <a:pt x="0" y="5"/>
                  </a:lnTo>
                  <a:lnTo>
                    <a:pt x="0" y="5"/>
                  </a:lnTo>
                  <a:lnTo>
                    <a:pt x="0" y="7"/>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228">
              <a:extLst>
                <a:ext uri="{FF2B5EF4-FFF2-40B4-BE49-F238E27FC236}">
                  <a16:creationId xmlns:a16="http://schemas.microsoft.com/office/drawing/2014/main" id="{A659D3B6-75E8-493A-B67C-0306DF7D3710}"/>
                </a:ext>
              </a:extLst>
            </p:cNvPr>
            <p:cNvSpPr>
              <a:spLocks/>
            </p:cNvSpPr>
            <p:nvPr/>
          </p:nvSpPr>
          <p:spPr bwMode="gray">
            <a:xfrm>
              <a:off x="-1175" y="-91"/>
              <a:ext cx="5" cy="10"/>
            </a:xfrm>
            <a:custGeom>
              <a:avLst/>
              <a:gdLst>
                <a:gd name="T0" fmla="*/ 3 w 5"/>
                <a:gd name="T1" fmla="*/ 10 h 10"/>
                <a:gd name="T2" fmla="*/ 5 w 5"/>
                <a:gd name="T3" fmla="*/ 10 h 10"/>
                <a:gd name="T4" fmla="*/ 5 w 5"/>
                <a:gd name="T5" fmla="*/ 8 h 10"/>
                <a:gd name="T6" fmla="*/ 5 w 5"/>
                <a:gd name="T7" fmla="*/ 5 h 10"/>
                <a:gd name="T8" fmla="*/ 5 w 5"/>
                <a:gd name="T9" fmla="*/ 5 h 10"/>
                <a:gd name="T10" fmla="*/ 5 w 5"/>
                <a:gd name="T11" fmla="*/ 3 h 10"/>
                <a:gd name="T12" fmla="*/ 5 w 5"/>
                <a:gd name="T13" fmla="*/ 3 h 10"/>
                <a:gd name="T14" fmla="*/ 3 w 5"/>
                <a:gd name="T15" fmla="*/ 0 h 10"/>
                <a:gd name="T16" fmla="*/ 3 w 5"/>
                <a:gd name="T17" fmla="*/ 0 h 10"/>
                <a:gd name="T18" fmla="*/ 3 w 5"/>
                <a:gd name="T19" fmla="*/ 0 h 10"/>
                <a:gd name="T20" fmla="*/ 3 w 5"/>
                <a:gd name="T21" fmla="*/ 3 h 10"/>
                <a:gd name="T22" fmla="*/ 5 w 5"/>
                <a:gd name="T23" fmla="*/ 3 h 10"/>
                <a:gd name="T24" fmla="*/ 5 w 5"/>
                <a:gd name="T25" fmla="*/ 5 h 10"/>
                <a:gd name="T26" fmla="*/ 3 w 5"/>
                <a:gd name="T27" fmla="*/ 5 h 10"/>
                <a:gd name="T28" fmla="*/ 3 w 5"/>
                <a:gd name="T29" fmla="*/ 3 h 10"/>
                <a:gd name="T30" fmla="*/ 0 w 5"/>
                <a:gd name="T31" fmla="*/ 3 h 10"/>
                <a:gd name="T32" fmla="*/ 0 w 5"/>
                <a:gd name="T33" fmla="*/ 5 h 10"/>
                <a:gd name="T34" fmla="*/ 0 w 5"/>
                <a:gd name="T35" fmla="*/ 8 h 10"/>
                <a:gd name="T36" fmla="*/ 0 w 5"/>
                <a:gd name="T37" fmla="*/ 8 h 10"/>
                <a:gd name="T38" fmla="*/ 0 w 5"/>
                <a:gd name="T39" fmla="*/ 10 h 10"/>
                <a:gd name="T40" fmla="*/ 0 w 5"/>
                <a:gd name="T41" fmla="*/ 10 h 10"/>
                <a:gd name="T42" fmla="*/ 3 w 5"/>
                <a:gd name="T43" fmla="*/ 8 h 10"/>
                <a:gd name="T44" fmla="*/ 3 w 5"/>
                <a:gd name="T45" fmla="*/ 8 h 10"/>
                <a:gd name="T46" fmla="*/ 3 w 5"/>
                <a:gd name="T47" fmla="*/ 8 h 10"/>
                <a:gd name="T48" fmla="*/ 3 w 5"/>
                <a:gd name="T49" fmla="*/ 8 h 10"/>
                <a:gd name="T50" fmla="*/ 3 w 5"/>
                <a:gd name="T51" fmla="*/ 8 h 10"/>
                <a:gd name="T52" fmla="*/ 3 w 5"/>
                <a:gd name="T53" fmla="*/ 8 h 10"/>
                <a:gd name="T54" fmla="*/ 3 w 5"/>
                <a:gd name="T5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10">
                  <a:moveTo>
                    <a:pt x="3" y="10"/>
                  </a:moveTo>
                  <a:lnTo>
                    <a:pt x="5" y="10"/>
                  </a:lnTo>
                  <a:lnTo>
                    <a:pt x="5" y="8"/>
                  </a:lnTo>
                  <a:lnTo>
                    <a:pt x="5" y="5"/>
                  </a:lnTo>
                  <a:lnTo>
                    <a:pt x="5" y="5"/>
                  </a:lnTo>
                  <a:lnTo>
                    <a:pt x="5" y="3"/>
                  </a:lnTo>
                  <a:lnTo>
                    <a:pt x="5" y="3"/>
                  </a:lnTo>
                  <a:lnTo>
                    <a:pt x="3" y="0"/>
                  </a:lnTo>
                  <a:lnTo>
                    <a:pt x="3" y="0"/>
                  </a:lnTo>
                  <a:lnTo>
                    <a:pt x="3" y="0"/>
                  </a:lnTo>
                  <a:lnTo>
                    <a:pt x="3" y="3"/>
                  </a:lnTo>
                  <a:lnTo>
                    <a:pt x="5" y="3"/>
                  </a:lnTo>
                  <a:lnTo>
                    <a:pt x="5" y="5"/>
                  </a:lnTo>
                  <a:lnTo>
                    <a:pt x="3" y="5"/>
                  </a:lnTo>
                  <a:lnTo>
                    <a:pt x="3" y="3"/>
                  </a:lnTo>
                  <a:lnTo>
                    <a:pt x="0" y="3"/>
                  </a:lnTo>
                  <a:lnTo>
                    <a:pt x="0" y="5"/>
                  </a:lnTo>
                  <a:lnTo>
                    <a:pt x="0" y="8"/>
                  </a:lnTo>
                  <a:lnTo>
                    <a:pt x="0" y="8"/>
                  </a:lnTo>
                  <a:lnTo>
                    <a:pt x="0" y="10"/>
                  </a:lnTo>
                  <a:lnTo>
                    <a:pt x="0" y="10"/>
                  </a:lnTo>
                  <a:lnTo>
                    <a:pt x="3" y="8"/>
                  </a:lnTo>
                  <a:lnTo>
                    <a:pt x="3" y="8"/>
                  </a:lnTo>
                  <a:lnTo>
                    <a:pt x="3" y="8"/>
                  </a:lnTo>
                  <a:lnTo>
                    <a:pt x="3" y="8"/>
                  </a:lnTo>
                  <a:lnTo>
                    <a:pt x="3" y="8"/>
                  </a:lnTo>
                  <a:lnTo>
                    <a:pt x="3" y="8"/>
                  </a:lnTo>
                  <a:lnTo>
                    <a:pt x="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229">
              <a:extLst>
                <a:ext uri="{FF2B5EF4-FFF2-40B4-BE49-F238E27FC236}">
                  <a16:creationId xmlns:a16="http://schemas.microsoft.com/office/drawing/2014/main" id="{B7C0C44A-2C49-466C-B57C-1374F5A1595F}"/>
                </a:ext>
              </a:extLst>
            </p:cNvPr>
            <p:cNvSpPr>
              <a:spLocks/>
            </p:cNvSpPr>
            <p:nvPr/>
          </p:nvSpPr>
          <p:spPr bwMode="gray">
            <a:xfrm>
              <a:off x="-1236" y="-83"/>
              <a:ext cx="24" cy="21"/>
            </a:xfrm>
            <a:custGeom>
              <a:avLst/>
              <a:gdLst>
                <a:gd name="T0" fmla="*/ 19 w 24"/>
                <a:gd name="T1" fmla="*/ 14 h 21"/>
                <a:gd name="T2" fmla="*/ 21 w 24"/>
                <a:gd name="T3" fmla="*/ 14 h 21"/>
                <a:gd name="T4" fmla="*/ 24 w 24"/>
                <a:gd name="T5" fmla="*/ 14 h 21"/>
                <a:gd name="T6" fmla="*/ 24 w 24"/>
                <a:gd name="T7" fmla="*/ 11 h 21"/>
                <a:gd name="T8" fmla="*/ 21 w 24"/>
                <a:gd name="T9" fmla="*/ 9 h 21"/>
                <a:gd name="T10" fmla="*/ 21 w 24"/>
                <a:gd name="T11" fmla="*/ 7 h 21"/>
                <a:gd name="T12" fmla="*/ 24 w 24"/>
                <a:gd name="T13" fmla="*/ 7 h 21"/>
                <a:gd name="T14" fmla="*/ 21 w 24"/>
                <a:gd name="T15" fmla="*/ 4 h 21"/>
                <a:gd name="T16" fmla="*/ 19 w 24"/>
                <a:gd name="T17" fmla="*/ 4 h 21"/>
                <a:gd name="T18" fmla="*/ 14 w 24"/>
                <a:gd name="T19" fmla="*/ 4 h 21"/>
                <a:gd name="T20" fmla="*/ 14 w 24"/>
                <a:gd name="T21" fmla="*/ 7 h 21"/>
                <a:gd name="T22" fmla="*/ 14 w 24"/>
                <a:gd name="T23" fmla="*/ 7 h 21"/>
                <a:gd name="T24" fmla="*/ 14 w 24"/>
                <a:gd name="T25" fmla="*/ 9 h 21"/>
                <a:gd name="T26" fmla="*/ 14 w 24"/>
                <a:gd name="T27" fmla="*/ 9 h 21"/>
                <a:gd name="T28" fmla="*/ 14 w 24"/>
                <a:gd name="T29" fmla="*/ 11 h 21"/>
                <a:gd name="T30" fmla="*/ 14 w 24"/>
                <a:gd name="T31" fmla="*/ 11 h 21"/>
                <a:gd name="T32" fmla="*/ 14 w 24"/>
                <a:gd name="T33" fmla="*/ 11 h 21"/>
                <a:gd name="T34" fmla="*/ 12 w 24"/>
                <a:gd name="T35" fmla="*/ 11 h 21"/>
                <a:gd name="T36" fmla="*/ 12 w 24"/>
                <a:gd name="T37" fmla="*/ 9 h 21"/>
                <a:gd name="T38" fmla="*/ 7 w 24"/>
                <a:gd name="T39" fmla="*/ 9 h 21"/>
                <a:gd name="T40" fmla="*/ 7 w 24"/>
                <a:gd name="T41" fmla="*/ 9 h 21"/>
                <a:gd name="T42" fmla="*/ 7 w 24"/>
                <a:gd name="T43" fmla="*/ 9 h 21"/>
                <a:gd name="T44" fmla="*/ 7 w 24"/>
                <a:gd name="T45" fmla="*/ 9 h 21"/>
                <a:gd name="T46" fmla="*/ 7 w 24"/>
                <a:gd name="T47" fmla="*/ 7 h 21"/>
                <a:gd name="T48" fmla="*/ 9 w 24"/>
                <a:gd name="T49" fmla="*/ 2 h 21"/>
                <a:gd name="T50" fmla="*/ 9 w 24"/>
                <a:gd name="T51" fmla="*/ 2 h 21"/>
                <a:gd name="T52" fmla="*/ 9 w 24"/>
                <a:gd name="T53" fmla="*/ 2 h 21"/>
                <a:gd name="T54" fmla="*/ 9 w 24"/>
                <a:gd name="T55" fmla="*/ 0 h 21"/>
                <a:gd name="T56" fmla="*/ 7 w 24"/>
                <a:gd name="T57" fmla="*/ 0 h 21"/>
                <a:gd name="T58" fmla="*/ 5 w 24"/>
                <a:gd name="T59" fmla="*/ 2 h 21"/>
                <a:gd name="T60" fmla="*/ 2 w 24"/>
                <a:gd name="T61" fmla="*/ 2 h 21"/>
                <a:gd name="T62" fmla="*/ 0 w 24"/>
                <a:gd name="T63" fmla="*/ 0 h 21"/>
                <a:gd name="T64" fmla="*/ 0 w 24"/>
                <a:gd name="T65" fmla="*/ 2 h 21"/>
                <a:gd name="T66" fmla="*/ 0 w 24"/>
                <a:gd name="T67" fmla="*/ 7 h 21"/>
                <a:gd name="T68" fmla="*/ 0 w 24"/>
                <a:gd name="T69" fmla="*/ 7 h 21"/>
                <a:gd name="T70" fmla="*/ 2 w 24"/>
                <a:gd name="T71" fmla="*/ 9 h 21"/>
                <a:gd name="T72" fmla="*/ 2 w 24"/>
                <a:gd name="T73" fmla="*/ 11 h 21"/>
                <a:gd name="T74" fmla="*/ 5 w 24"/>
                <a:gd name="T75" fmla="*/ 11 h 21"/>
                <a:gd name="T76" fmla="*/ 5 w 24"/>
                <a:gd name="T77" fmla="*/ 14 h 21"/>
                <a:gd name="T78" fmla="*/ 2 w 24"/>
                <a:gd name="T79" fmla="*/ 14 h 21"/>
                <a:gd name="T80" fmla="*/ 2 w 24"/>
                <a:gd name="T81" fmla="*/ 16 h 21"/>
                <a:gd name="T82" fmla="*/ 5 w 24"/>
                <a:gd name="T83" fmla="*/ 16 h 21"/>
                <a:gd name="T84" fmla="*/ 5 w 24"/>
                <a:gd name="T85" fmla="*/ 14 h 21"/>
                <a:gd name="T86" fmla="*/ 7 w 24"/>
                <a:gd name="T87" fmla="*/ 14 h 21"/>
                <a:gd name="T88" fmla="*/ 7 w 24"/>
                <a:gd name="T89" fmla="*/ 16 h 21"/>
                <a:gd name="T90" fmla="*/ 9 w 24"/>
                <a:gd name="T91" fmla="*/ 18 h 21"/>
                <a:gd name="T92" fmla="*/ 9 w 24"/>
                <a:gd name="T93" fmla="*/ 21 h 21"/>
                <a:gd name="T94" fmla="*/ 9 w 24"/>
                <a:gd name="T95" fmla="*/ 21 h 21"/>
                <a:gd name="T96" fmla="*/ 14 w 24"/>
                <a:gd name="T97" fmla="*/ 21 h 21"/>
                <a:gd name="T98" fmla="*/ 14 w 24"/>
                <a:gd name="T99" fmla="*/ 21 h 21"/>
                <a:gd name="T100" fmla="*/ 14 w 24"/>
                <a:gd name="T101" fmla="*/ 18 h 21"/>
                <a:gd name="T102" fmla="*/ 14 w 24"/>
                <a:gd name="T103" fmla="*/ 18 h 21"/>
                <a:gd name="T104" fmla="*/ 14 w 24"/>
                <a:gd name="T105" fmla="*/ 18 h 21"/>
                <a:gd name="T106" fmla="*/ 14 w 24"/>
                <a:gd name="T107" fmla="*/ 16 h 21"/>
                <a:gd name="T108" fmla="*/ 19 w 24"/>
                <a:gd name="T109" fmla="*/ 11 h 21"/>
                <a:gd name="T110" fmla="*/ 19 w 24"/>
                <a:gd name="T111" fmla="*/ 11 h 21"/>
                <a:gd name="T112" fmla="*/ 19 w 24"/>
                <a:gd name="T113" fmla="*/ 14 h 21"/>
                <a:gd name="T114" fmla="*/ 19 w 24"/>
                <a:gd name="T115" fmla="*/ 1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 h="21">
                  <a:moveTo>
                    <a:pt x="19" y="14"/>
                  </a:moveTo>
                  <a:lnTo>
                    <a:pt x="21" y="14"/>
                  </a:lnTo>
                  <a:lnTo>
                    <a:pt x="24" y="14"/>
                  </a:lnTo>
                  <a:lnTo>
                    <a:pt x="24" y="11"/>
                  </a:lnTo>
                  <a:lnTo>
                    <a:pt x="21" y="9"/>
                  </a:lnTo>
                  <a:lnTo>
                    <a:pt x="21" y="7"/>
                  </a:lnTo>
                  <a:lnTo>
                    <a:pt x="24" y="7"/>
                  </a:lnTo>
                  <a:lnTo>
                    <a:pt x="21" y="4"/>
                  </a:lnTo>
                  <a:lnTo>
                    <a:pt x="19" y="4"/>
                  </a:lnTo>
                  <a:lnTo>
                    <a:pt x="14" y="4"/>
                  </a:lnTo>
                  <a:lnTo>
                    <a:pt x="14" y="7"/>
                  </a:lnTo>
                  <a:lnTo>
                    <a:pt x="14" y="7"/>
                  </a:lnTo>
                  <a:lnTo>
                    <a:pt x="14" y="9"/>
                  </a:lnTo>
                  <a:lnTo>
                    <a:pt x="14" y="9"/>
                  </a:lnTo>
                  <a:lnTo>
                    <a:pt x="14" y="11"/>
                  </a:lnTo>
                  <a:lnTo>
                    <a:pt x="14" y="11"/>
                  </a:lnTo>
                  <a:lnTo>
                    <a:pt x="14" y="11"/>
                  </a:lnTo>
                  <a:lnTo>
                    <a:pt x="12" y="11"/>
                  </a:lnTo>
                  <a:lnTo>
                    <a:pt x="12" y="9"/>
                  </a:lnTo>
                  <a:lnTo>
                    <a:pt x="7" y="9"/>
                  </a:lnTo>
                  <a:lnTo>
                    <a:pt x="7" y="9"/>
                  </a:lnTo>
                  <a:lnTo>
                    <a:pt x="7" y="9"/>
                  </a:lnTo>
                  <a:lnTo>
                    <a:pt x="7" y="9"/>
                  </a:lnTo>
                  <a:lnTo>
                    <a:pt x="7" y="7"/>
                  </a:lnTo>
                  <a:lnTo>
                    <a:pt x="9" y="2"/>
                  </a:lnTo>
                  <a:lnTo>
                    <a:pt x="9" y="2"/>
                  </a:lnTo>
                  <a:lnTo>
                    <a:pt x="9" y="2"/>
                  </a:lnTo>
                  <a:lnTo>
                    <a:pt x="9" y="0"/>
                  </a:lnTo>
                  <a:lnTo>
                    <a:pt x="7" y="0"/>
                  </a:lnTo>
                  <a:lnTo>
                    <a:pt x="5" y="2"/>
                  </a:lnTo>
                  <a:lnTo>
                    <a:pt x="2" y="2"/>
                  </a:lnTo>
                  <a:lnTo>
                    <a:pt x="0" y="0"/>
                  </a:lnTo>
                  <a:lnTo>
                    <a:pt x="0" y="2"/>
                  </a:lnTo>
                  <a:lnTo>
                    <a:pt x="0" y="7"/>
                  </a:lnTo>
                  <a:lnTo>
                    <a:pt x="0" y="7"/>
                  </a:lnTo>
                  <a:lnTo>
                    <a:pt x="2" y="9"/>
                  </a:lnTo>
                  <a:lnTo>
                    <a:pt x="2" y="11"/>
                  </a:lnTo>
                  <a:lnTo>
                    <a:pt x="5" y="11"/>
                  </a:lnTo>
                  <a:lnTo>
                    <a:pt x="5" y="14"/>
                  </a:lnTo>
                  <a:lnTo>
                    <a:pt x="2" y="14"/>
                  </a:lnTo>
                  <a:lnTo>
                    <a:pt x="2" y="16"/>
                  </a:lnTo>
                  <a:lnTo>
                    <a:pt x="5" y="16"/>
                  </a:lnTo>
                  <a:lnTo>
                    <a:pt x="5" y="14"/>
                  </a:lnTo>
                  <a:lnTo>
                    <a:pt x="7" y="14"/>
                  </a:lnTo>
                  <a:lnTo>
                    <a:pt x="7" y="16"/>
                  </a:lnTo>
                  <a:lnTo>
                    <a:pt x="9" y="18"/>
                  </a:lnTo>
                  <a:lnTo>
                    <a:pt x="9" y="21"/>
                  </a:lnTo>
                  <a:lnTo>
                    <a:pt x="9" y="21"/>
                  </a:lnTo>
                  <a:lnTo>
                    <a:pt x="14" y="21"/>
                  </a:lnTo>
                  <a:lnTo>
                    <a:pt x="14" y="21"/>
                  </a:lnTo>
                  <a:lnTo>
                    <a:pt x="14" y="18"/>
                  </a:lnTo>
                  <a:lnTo>
                    <a:pt x="14" y="18"/>
                  </a:lnTo>
                  <a:lnTo>
                    <a:pt x="14" y="18"/>
                  </a:lnTo>
                  <a:lnTo>
                    <a:pt x="14" y="16"/>
                  </a:lnTo>
                  <a:lnTo>
                    <a:pt x="19" y="11"/>
                  </a:lnTo>
                  <a:lnTo>
                    <a:pt x="19" y="11"/>
                  </a:lnTo>
                  <a:lnTo>
                    <a:pt x="19" y="14"/>
                  </a:lnTo>
                  <a:lnTo>
                    <a:pt x="19"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230">
              <a:extLst>
                <a:ext uri="{FF2B5EF4-FFF2-40B4-BE49-F238E27FC236}">
                  <a16:creationId xmlns:a16="http://schemas.microsoft.com/office/drawing/2014/main" id="{ABFE2DF6-56FA-4695-803F-671B211A7402}"/>
                </a:ext>
              </a:extLst>
            </p:cNvPr>
            <p:cNvSpPr>
              <a:spLocks/>
            </p:cNvSpPr>
            <p:nvPr/>
          </p:nvSpPr>
          <p:spPr bwMode="gray">
            <a:xfrm>
              <a:off x="-1168" y="-93"/>
              <a:ext cx="12" cy="14"/>
            </a:xfrm>
            <a:custGeom>
              <a:avLst/>
              <a:gdLst>
                <a:gd name="T0" fmla="*/ 12 w 12"/>
                <a:gd name="T1" fmla="*/ 0 h 14"/>
                <a:gd name="T2" fmla="*/ 12 w 12"/>
                <a:gd name="T3" fmla="*/ 0 h 14"/>
                <a:gd name="T4" fmla="*/ 10 w 12"/>
                <a:gd name="T5" fmla="*/ 0 h 14"/>
                <a:gd name="T6" fmla="*/ 10 w 12"/>
                <a:gd name="T7" fmla="*/ 2 h 14"/>
                <a:gd name="T8" fmla="*/ 10 w 12"/>
                <a:gd name="T9" fmla="*/ 2 h 14"/>
                <a:gd name="T10" fmla="*/ 10 w 12"/>
                <a:gd name="T11" fmla="*/ 5 h 14"/>
                <a:gd name="T12" fmla="*/ 10 w 12"/>
                <a:gd name="T13" fmla="*/ 5 h 14"/>
                <a:gd name="T14" fmla="*/ 10 w 12"/>
                <a:gd name="T15" fmla="*/ 5 h 14"/>
                <a:gd name="T16" fmla="*/ 8 w 12"/>
                <a:gd name="T17" fmla="*/ 5 h 14"/>
                <a:gd name="T18" fmla="*/ 8 w 12"/>
                <a:gd name="T19" fmla="*/ 5 h 14"/>
                <a:gd name="T20" fmla="*/ 8 w 12"/>
                <a:gd name="T21" fmla="*/ 5 h 14"/>
                <a:gd name="T22" fmla="*/ 8 w 12"/>
                <a:gd name="T23" fmla="*/ 5 h 14"/>
                <a:gd name="T24" fmla="*/ 8 w 12"/>
                <a:gd name="T25" fmla="*/ 5 h 14"/>
                <a:gd name="T26" fmla="*/ 8 w 12"/>
                <a:gd name="T27" fmla="*/ 5 h 14"/>
                <a:gd name="T28" fmla="*/ 5 w 12"/>
                <a:gd name="T29" fmla="*/ 5 h 14"/>
                <a:gd name="T30" fmla="*/ 5 w 12"/>
                <a:gd name="T31" fmla="*/ 5 h 14"/>
                <a:gd name="T32" fmla="*/ 5 w 12"/>
                <a:gd name="T33" fmla="*/ 5 h 14"/>
                <a:gd name="T34" fmla="*/ 5 w 12"/>
                <a:gd name="T35" fmla="*/ 2 h 14"/>
                <a:gd name="T36" fmla="*/ 3 w 12"/>
                <a:gd name="T37" fmla="*/ 2 h 14"/>
                <a:gd name="T38" fmla="*/ 3 w 12"/>
                <a:gd name="T39" fmla="*/ 2 h 14"/>
                <a:gd name="T40" fmla="*/ 0 w 12"/>
                <a:gd name="T41" fmla="*/ 5 h 14"/>
                <a:gd name="T42" fmla="*/ 0 w 12"/>
                <a:gd name="T43" fmla="*/ 5 h 14"/>
                <a:gd name="T44" fmla="*/ 0 w 12"/>
                <a:gd name="T45" fmla="*/ 5 h 14"/>
                <a:gd name="T46" fmla="*/ 0 w 12"/>
                <a:gd name="T47" fmla="*/ 5 h 14"/>
                <a:gd name="T48" fmla="*/ 0 w 12"/>
                <a:gd name="T49" fmla="*/ 7 h 14"/>
                <a:gd name="T50" fmla="*/ 0 w 12"/>
                <a:gd name="T51" fmla="*/ 7 h 14"/>
                <a:gd name="T52" fmla="*/ 0 w 12"/>
                <a:gd name="T53" fmla="*/ 10 h 14"/>
                <a:gd name="T54" fmla="*/ 0 w 12"/>
                <a:gd name="T55" fmla="*/ 10 h 14"/>
                <a:gd name="T56" fmla="*/ 0 w 12"/>
                <a:gd name="T57" fmla="*/ 10 h 14"/>
                <a:gd name="T58" fmla="*/ 0 w 12"/>
                <a:gd name="T59" fmla="*/ 10 h 14"/>
                <a:gd name="T60" fmla="*/ 0 w 12"/>
                <a:gd name="T61" fmla="*/ 12 h 14"/>
                <a:gd name="T62" fmla="*/ 0 w 12"/>
                <a:gd name="T63" fmla="*/ 12 h 14"/>
                <a:gd name="T64" fmla="*/ 0 w 12"/>
                <a:gd name="T65" fmla="*/ 12 h 14"/>
                <a:gd name="T66" fmla="*/ 0 w 12"/>
                <a:gd name="T67" fmla="*/ 14 h 14"/>
                <a:gd name="T68" fmla="*/ 5 w 12"/>
                <a:gd name="T69" fmla="*/ 14 h 14"/>
                <a:gd name="T70" fmla="*/ 5 w 12"/>
                <a:gd name="T71" fmla="*/ 14 h 14"/>
                <a:gd name="T72" fmla="*/ 5 w 12"/>
                <a:gd name="T73" fmla="*/ 14 h 14"/>
                <a:gd name="T74" fmla="*/ 5 w 12"/>
                <a:gd name="T75" fmla="*/ 14 h 14"/>
                <a:gd name="T76" fmla="*/ 8 w 12"/>
                <a:gd name="T77" fmla="*/ 14 h 14"/>
                <a:gd name="T78" fmla="*/ 5 w 12"/>
                <a:gd name="T79" fmla="*/ 12 h 14"/>
                <a:gd name="T80" fmla="*/ 5 w 12"/>
                <a:gd name="T81" fmla="*/ 10 h 14"/>
                <a:gd name="T82" fmla="*/ 3 w 12"/>
                <a:gd name="T83" fmla="*/ 10 h 14"/>
                <a:gd name="T84" fmla="*/ 5 w 12"/>
                <a:gd name="T85" fmla="*/ 10 h 14"/>
                <a:gd name="T86" fmla="*/ 8 w 12"/>
                <a:gd name="T87" fmla="*/ 12 h 14"/>
                <a:gd name="T88" fmla="*/ 10 w 12"/>
                <a:gd name="T89" fmla="*/ 12 h 14"/>
                <a:gd name="T90" fmla="*/ 10 w 12"/>
                <a:gd name="T91" fmla="*/ 10 h 14"/>
                <a:gd name="T92" fmla="*/ 12 w 12"/>
                <a:gd name="T93" fmla="*/ 7 h 14"/>
                <a:gd name="T94" fmla="*/ 12 w 12"/>
                <a:gd name="T95" fmla="*/ 7 h 14"/>
                <a:gd name="T96" fmla="*/ 12 w 12"/>
                <a:gd name="T97" fmla="*/ 7 h 14"/>
                <a:gd name="T98" fmla="*/ 12 w 12"/>
                <a:gd name="T99" fmla="*/ 5 h 14"/>
                <a:gd name="T100" fmla="*/ 12 w 12"/>
                <a:gd name="T101" fmla="*/ 2 h 14"/>
                <a:gd name="T102" fmla="*/ 12 w 12"/>
                <a:gd name="T103" fmla="*/ 2 h 14"/>
                <a:gd name="T104" fmla="*/ 12 w 12"/>
                <a:gd name="T10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 h="14">
                  <a:moveTo>
                    <a:pt x="12" y="0"/>
                  </a:moveTo>
                  <a:lnTo>
                    <a:pt x="12" y="0"/>
                  </a:lnTo>
                  <a:lnTo>
                    <a:pt x="10" y="0"/>
                  </a:lnTo>
                  <a:lnTo>
                    <a:pt x="10" y="2"/>
                  </a:lnTo>
                  <a:lnTo>
                    <a:pt x="10" y="2"/>
                  </a:lnTo>
                  <a:lnTo>
                    <a:pt x="10" y="5"/>
                  </a:lnTo>
                  <a:lnTo>
                    <a:pt x="10" y="5"/>
                  </a:lnTo>
                  <a:lnTo>
                    <a:pt x="10" y="5"/>
                  </a:lnTo>
                  <a:lnTo>
                    <a:pt x="8" y="5"/>
                  </a:lnTo>
                  <a:lnTo>
                    <a:pt x="8" y="5"/>
                  </a:lnTo>
                  <a:lnTo>
                    <a:pt x="8" y="5"/>
                  </a:lnTo>
                  <a:lnTo>
                    <a:pt x="8" y="5"/>
                  </a:lnTo>
                  <a:lnTo>
                    <a:pt x="8" y="5"/>
                  </a:lnTo>
                  <a:lnTo>
                    <a:pt x="8" y="5"/>
                  </a:lnTo>
                  <a:lnTo>
                    <a:pt x="5" y="5"/>
                  </a:lnTo>
                  <a:lnTo>
                    <a:pt x="5" y="5"/>
                  </a:lnTo>
                  <a:lnTo>
                    <a:pt x="5" y="5"/>
                  </a:lnTo>
                  <a:lnTo>
                    <a:pt x="5" y="2"/>
                  </a:lnTo>
                  <a:lnTo>
                    <a:pt x="3" y="2"/>
                  </a:lnTo>
                  <a:lnTo>
                    <a:pt x="3" y="2"/>
                  </a:lnTo>
                  <a:lnTo>
                    <a:pt x="0" y="5"/>
                  </a:lnTo>
                  <a:lnTo>
                    <a:pt x="0" y="5"/>
                  </a:lnTo>
                  <a:lnTo>
                    <a:pt x="0" y="5"/>
                  </a:lnTo>
                  <a:lnTo>
                    <a:pt x="0" y="5"/>
                  </a:lnTo>
                  <a:lnTo>
                    <a:pt x="0" y="7"/>
                  </a:lnTo>
                  <a:lnTo>
                    <a:pt x="0" y="7"/>
                  </a:lnTo>
                  <a:lnTo>
                    <a:pt x="0" y="10"/>
                  </a:lnTo>
                  <a:lnTo>
                    <a:pt x="0" y="10"/>
                  </a:lnTo>
                  <a:lnTo>
                    <a:pt x="0" y="10"/>
                  </a:lnTo>
                  <a:lnTo>
                    <a:pt x="0" y="10"/>
                  </a:lnTo>
                  <a:lnTo>
                    <a:pt x="0" y="12"/>
                  </a:lnTo>
                  <a:lnTo>
                    <a:pt x="0" y="12"/>
                  </a:lnTo>
                  <a:lnTo>
                    <a:pt x="0" y="12"/>
                  </a:lnTo>
                  <a:lnTo>
                    <a:pt x="0" y="14"/>
                  </a:lnTo>
                  <a:lnTo>
                    <a:pt x="5" y="14"/>
                  </a:lnTo>
                  <a:lnTo>
                    <a:pt x="5" y="14"/>
                  </a:lnTo>
                  <a:lnTo>
                    <a:pt x="5" y="14"/>
                  </a:lnTo>
                  <a:lnTo>
                    <a:pt x="5" y="14"/>
                  </a:lnTo>
                  <a:lnTo>
                    <a:pt x="8" y="14"/>
                  </a:lnTo>
                  <a:lnTo>
                    <a:pt x="5" y="12"/>
                  </a:lnTo>
                  <a:lnTo>
                    <a:pt x="5" y="10"/>
                  </a:lnTo>
                  <a:lnTo>
                    <a:pt x="3" y="10"/>
                  </a:lnTo>
                  <a:lnTo>
                    <a:pt x="5" y="10"/>
                  </a:lnTo>
                  <a:lnTo>
                    <a:pt x="8" y="12"/>
                  </a:lnTo>
                  <a:lnTo>
                    <a:pt x="10" y="12"/>
                  </a:lnTo>
                  <a:lnTo>
                    <a:pt x="10" y="10"/>
                  </a:lnTo>
                  <a:lnTo>
                    <a:pt x="12" y="7"/>
                  </a:lnTo>
                  <a:lnTo>
                    <a:pt x="12" y="7"/>
                  </a:lnTo>
                  <a:lnTo>
                    <a:pt x="12" y="7"/>
                  </a:lnTo>
                  <a:lnTo>
                    <a:pt x="12" y="5"/>
                  </a:lnTo>
                  <a:lnTo>
                    <a:pt x="12" y="2"/>
                  </a:lnTo>
                  <a:lnTo>
                    <a:pt x="12" y="2"/>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231">
              <a:extLst>
                <a:ext uri="{FF2B5EF4-FFF2-40B4-BE49-F238E27FC236}">
                  <a16:creationId xmlns:a16="http://schemas.microsoft.com/office/drawing/2014/main" id="{6528B578-14F9-4360-BEEA-D3D965D88476}"/>
                </a:ext>
              </a:extLst>
            </p:cNvPr>
            <p:cNvSpPr>
              <a:spLocks/>
            </p:cNvSpPr>
            <p:nvPr/>
          </p:nvSpPr>
          <p:spPr bwMode="gray">
            <a:xfrm>
              <a:off x="-1177" y="-100"/>
              <a:ext cx="12" cy="9"/>
            </a:xfrm>
            <a:custGeom>
              <a:avLst/>
              <a:gdLst>
                <a:gd name="T0" fmla="*/ 9 w 12"/>
                <a:gd name="T1" fmla="*/ 5 h 9"/>
                <a:gd name="T2" fmla="*/ 9 w 12"/>
                <a:gd name="T3" fmla="*/ 5 h 9"/>
                <a:gd name="T4" fmla="*/ 9 w 12"/>
                <a:gd name="T5" fmla="*/ 2 h 9"/>
                <a:gd name="T6" fmla="*/ 9 w 12"/>
                <a:gd name="T7" fmla="*/ 2 h 9"/>
                <a:gd name="T8" fmla="*/ 9 w 12"/>
                <a:gd name="T9" fmla="*/ 2 h 9"/>
                <a:gd name="T10" fmla="*/ 12 w 12"/>
                <a:gd name="T11" fmla="*/ 2 h 9"/>
                <a:gd name="T12" fmla="*/ 12 w 12"/>
                <a:gd name="T13" fmla="*/ 0 h 9"/>
                <a:gd name="T14" fmla="*/ 9 w 12"/>
                <a:gd name="T15" fmla="*/ 0 h 9"/>
                <a:gd name="T16" fmla="*/ 9 w 12"/>
                <a:gd name="T17" fmla="*/ 0 h 9"/>
                <a:gd name="T18" fmla="*/ 9 w 12"/>
                <a:gd name="T19" fmla="*/ 0 h 9"/>
                <a:gd name="T20" fmla="*/ 9 w 12"/>
                <a:gd name="T21" fmla="*/ 0 h 9"/>
                <a:gd name="T22" fmla="*/ 7 w 12"/>
                <a:gd name="T23" fmla="*/ 0 h 9"/>
                <a:gd name="T24" fmla="*/ 7 w 12"/>
                <a:gd name="T25" fmla="*/ 0 h 9"/>
                <a:gd name="T26" fmla="*/ 7 w 12"/>
                <a:gd name="T27" fmla="*/ 0 h 9"/>
                <a:gd name="T28" fmla="*/ 5 w 12"/>
                <a:gd name="T29" fmla="*/ 0 h 9"/>
                <a:gd name="T30" fmla="*/ 5 w 12"/>
                <a:gd name="T31" fmla="*/ 0 h 9"/>
                <a:gd name="T32" fmla="*/ 2 w 12"/>
                <a:gd name="T33" fmla="*/ 2 h 9"/>
                <a:gd name="T34" fmla="*/ 2 w 12"/>
                <a:gd name="T35" fmla="*/ 2 h 9"/>
                <a:gd name="T36" fmla="*/ 2 w 12"/>
                <a:gd name="T37" fmla="*/ 5 h 9"/>
                <a:gd name="T38" fmla="*/ 2 w 12"/>
                <a:gd name="T39" fmla="*/ 5 h 9"/>
                <a:gd name="T40" fmla="*/ 2 w 12"/>
                <a:gd name="T41" fmla="*/ 5 h 9"/>
                <a:gd name="T42" fmla="*/ 2 w 12"/>
                <a:gd name="T43" fmla="*/ 7 h 9"/>
                <a:gd name="T44" fmla="*/ 2 w 12"/>
                <a:gd name="T45" fmla="*/ 7 h 9"/>
                <a:gd name="T46" fmla="*/ 0 w 12"/>
                <a:gd name="T47" fmla="*/ 7 h 9"/>
                <a:gd name="T48" fmla="*/ 0 w 12"/>
                <a:gd name="T49" fmla="*/ 7 h 9"/>
                <a:gd name="T50" fmla="*/ 0 w 12"/>
                <a:gd name="T51" fmla="*/ 7 h 9"/>
                <a:gd name="T52" fmla="*/ 0 w 12"/>
                <a:gd name="T53" fmla="*/ 9 h 9"/>
                <a:gd name="T54" fmla="*/ 2 w 12"/>
                <a:gd name="T55" fmla="*/ 9 h 9"/>
                <a:gd name="T56" fmla="*/ 2 w 12"/>
                <a:gd name="T57" fmla="*/ 9 h 9"/>
                <a:gd name="T58" fmla="*/ 2 w 12"/>
                <a:gd name="T59" fmla="*/ 7 h 9"/>
                <a:gd name="T60" fmla="*/ 5 w 12"/>
                <a:gd name="T61" fmla="*/ 7 h 9"/>
                <a:gd name="T62" fmla="*/ 5 w 12"/>
                <a:gd name="T63" fmla="*/ 7 h 9"/>
                <a:gd name="T64" fmla="*/ 5 w 12"/>
                <a:gd name="T65" fmla="*/ 5 h 9"/>
                <a:gd name="T66" fmla="*/ 7 w 12"/>
                <a:gd name="T67" fmla="*/ 5 h 9"/>
                <a:gd name="T68" fmla="*/ 7 w 12"/>
                <a:gd name="T69" fmla="*/ 5 h 9"/>
                <a:gd name="T70" fmla="*/ 9 w 12"/>
                <a:gd name="T71"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9">
                  <a:moveTo>
                    <a:pt x="9" y="5"/>
                  </a:moveTo>
                  <a:lnTo>
                    <a:pt x="9" y="5"/>
                  </a:lnTo>
                  <a:lnTo>
                    <a:pt x="9" y="2"/>
                  </a:lnTo>
                  <a:lnTo>
                    <a:pt x="9" y="2"/>
                  </a:lnTo>
                  <a:lnTo>
                    <a:pt x="9" y="2"/>
                  </a:lnTo>
                  <a:lnTo>
                    <a:pt x="12" y="2"/>
                  </a:lnTo>
                  <a:lnTo>
                    <a:pt x="12" y="0"/>
                  </a:lnTo>
                  <a:lnTo>
                    <a:pt x="9" y="0"/>
                  </a:lnTo>
                  <a:lnTo>
                    <a:pt x="9" y="0"/>
                  </a:lnTo>
                  <a:lnTo>
                    <a:pt x="9" y="0"/>
                  </a:lnTo>
                  <a:lnTo>
                    <a:pt x="9" y="0"/>
                  </a:lnTo>
                  <a:lnTo>
                    <a:pt x="7" y="0"/>
                  </a:lnTo>
                  <a:lnTo>
                    <a:pt x="7" y="0"/>
                  </a:lnTo>
                  <a:lnTo>
                    <a:pt x="7" y="0"/>
                  </a:lnTo>
                  <a:lnTo>
                    <a:pt x="5" y="0"/>
                  </a:lnTo>
                  <a:lnTo>
                    <a:pt x="5" y="0"/>
                  </a:lnTo>
                  <a:lnTo>
                    <a:pt x="2" y="2"/>
                  </a:lnTo>
                  <a:lnTo>
                    <a:pt x="2" y="2"/>
                  </a:lnTo>
                  <a:lnTo>
                    <a:pt x="2" y="5"/>
                  </a:lnTo>
                  <a:lnTo>
                    <a:pt x="2" y="5"/>
                  </a:lnTo>
                  <a:lnTo>
                    <a:pt x="2" y="5"/>
                  </a:lnTo>
                  <a:lnTo>
                    <a:pt x="2" y="7"/>
                  </a:lnTo>
                  <a:lnTo>
                    <a:pt x="2" y="7"/>
                  </a:lnTo>
                  <a:lnTo>
                    <a:pt x="0" y="7"/>
                  </a:lnTo>
                  <a:lnTo>
                    <a:pt x="0" y="7"/>
                  </a:lnTo>
                  <a:lnTo>
                    <a:pt x="0" y="7"/>
                  </a:lnTo>
                  <a:lnTo>
                    <a:pt x="0" y="9"/>
                  </a:lnTo>
                  <a:lnTo>
                    <a:pt x="2" y="9"/>
                  </a:lnTo>
                  <a:lnTo>
                    <a:pt x="2" y="9"/>
                  </a:lnTo>
                  <a:lnTo>
                    <a:pt x="2" y="7"/>
                  </a:lnTo>
                  <a:lnTo>
                    <a:pt x="5" y="7"/>
                  </a:lnTo>
                  <a:lnTo>
                    <a:pt x="5" y="7"/>
                  </a:lnTo>
                  <a:lnTo>
                    <a:pt x="5" y="5"/>
                  </a:lnTo>
                  <a:lnTo>
                    <a:pt x="7" y="5"/>
                  </a:lnTo>
                  <a:lnTo>
                    <a:pt x="7" y="5"/>
                  </a:lnTo>
                  <a:lnTo>
                    <a:pt x="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232">
              <a:extLst>
                <a:ext uri="{FF2B5EF4-FFF2-40B4-BE49-F238E27FC236}">
                  <a16:creationId xmlns:a16="http://schemas.microsoft.com/office/drawing/2014/main" id="{328FD2BA-F5CA-4DC8-9155-F08588DCB404}"/>
                </a:ext>
              </a:extLst>
            </p:cNvPr>
            <p:cNvSpPr>
              <a:spLocks/>
            </p:cNvSpPr>
            <p:nvPr/>
          </p:nvSpPr>
          <p:spPr bwMode="gray">
            <a:xfrm>
              <a:off x="-1219" y="324"/>
              <a:ext cx="11" cy="12"/>
            </a:xfrm>
            <a:custGeom>
              <a:avLst/>
              <a:gdLst>
                <a:gd name="T0" fmla="*/ 4 w 11"/>
                <a:gd name="T1" fmla="*/ 2 h 12"/>
                <a:gd name="T2" fmla="*/ 4 w 11"/>
                <a:gd name="T3" fmla="*/ 0 h 12"/>
                <a:gd name="T4" fmla="*/ 2 w 11"/>
                <a:gd name="T5" fmla="*/ 0 h 12"/>
                <a:gd name="T6" fmla="*/ 0 w 11"/>
                <a:gd name="T7" fmla="*/ 0 h 12"/>
                <a:gd name="T8" fmla="*/ 0 w 11"/>
                <a:gd name="T9" fmla="*/ 2 h 12"/>
                <a:gd name="T10" fmla="*/ 0 w 11"/>
                <a:gd name="T11" fmla="*/ 5 h 12"/>
                <a:gd name="T12" fmla="*/ 0 w 11"/>
                <a:gd name="T13" fmla="*/ 5 h 12"/>
                <a:gd name="T14" fmla="*/ 0 w 11"/>
                <a:gd name="T15" fmla="*/ 5 h 12"/>
                <a:gd name="T16" fmla="*/ 2 w 11"/>
                <a:gd name="T17" fmla="*/ 5 h 12"/>
                <a:gd name="T18" fmla="*/ 2 w 11"/>
                <a:gd name="T19" fmla="*/ 7 h 12"/>
                <a:gd name="T20" fmla="*/ 4 w 11"/>
                <a:gd name="T21" fmla="*/ 10 h 12"/>
                <a:gd name="T22" fmla="*/ 4 w 11"/>
                <a:gd name="T23" fmla="*/ 12 h 12"/>
                <a:gd name="T24" fmla="*/ 7 w 11"/>
                <a:gd name="T25" fmla="*/ 12 h 12"/>
                <a:gd name="T26" fmla="*/ 7 w 11"/>
                <a:gd name="T27" fmla="*/ 12 h 12"/>
                <a:gd name="T28" fmla="*/ 7 w 11"/>
                <a:gd name="T29" fmla="*/ 10 h 12"/>
                <a:gd name="T30" fmla="*/ 7 w 11"/>
                <a:gd name="T31" fmla="*/ 10 h 12"/>
                <a:gd name="T32" fmla="*/ 9 w 11"/>
                <a:gd name="T33" fmla="*/ 10 h 12"/>
                <a:gd name="T34" fmla="*/ 9 w 11"/>
                <a:gd name="T35" fmla="*/ 10 h 12"/>
                <a:gd name="T36" fmla="*/ 9 w 11"/>
                <a:gd name="T37" fmla="*/ 7 h 12"/>
                <a:gd name="T38" fmla="*/ 9 w 11"/>
                <a:gd name="T39" fmla="*/ 7 h 12"/>
                <a:gd name="T40" fmla="*/ 9 w 11"/>
                <a:gd name="T41" fmla="*/ 5 h 12"/>
                <a:gd name="T42" fmla="*/ 9 w 11"/>
                <a:gd name="T43" fmla="*/ 5 h 12"/>
                <a:gd name="T44" fmla="*/ 9 w 11"/>
                <a:gd name="T45" fmla="*/ 5 h 12"/>
                <a:gd name="T46" fmla="*/ 11 w 11"/>
                <a:gd name="T47" fmla="*/ 5 h 12"/>
                <a:gd name="T48" fmla="*/ 9 w 11"/>
                <a:gd name="T49" fmla="*/ 2 h 12"/>
                <a:gd name="T50" fmla="*/ 4 w 11"/>
                <a:gd name="T51"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 h="12">
                  <a:moveTo>
                    <a:pt x="4" y="2"/>
                  </a:moveTo>
                  <a:lnTo>
                    <a:pt x="4" y="0"/>
                  </a:lnTo>
                  <a:lnTo>
                    <a:pt x="2" y="0"/>
                  </a:lnTo>
                  <a:lnTo>
                    <a:pt x="0" y="0"/>
                  </a:lnTo>
                  <a:lnTo>
                    <a:pt x="0" y="2"/>
                  </a:lnTo>
                  <a:lnTo>
                    <a:pt x="0" y="5"/>
                  </a:lnTo>
                  <a:lnTo>
                    <a:pt x="0" y="5"/>
                  </a:lnTo>
                  <a:lnTo>
                    <a:pt x="0" y="5"/>
                  </a:lnTo>
                  <a:lnTo>
                    <a:pt x="2" y="5"/>
                  </a:lnTo>
                  <a:lnTo>
                    <a:pt x="2" y="7"/>
                  </a:lnTo>
                  <a:lnTo>
                    <a:pt x="4" y="10"/>
                  </a:lnTo>
                  <a:lnTo>
                    <a:pt x="4" y="12"/>
                  </a:lnTo>
                  <a:lnTo>
                    <a:pt x="7" y="12"/>
                  </a:lnTo>
                  <a:lnTo>
                    <a:pt x="7" y="12"/>
                  </a:lnTo>
                  <a:lnTo>
                    <a:pt x="7" y="10"/>
                  </a:lnTo>
                  <a:lnTo>
                    <a:pt x="7" y="10"/>
                  </a:lnTo>
                  <a:lnTo>
                    <a:pt x="9" y="10"/>
                  </a:lnTo>
                  <a:lnTo>
                    <a:pt x="9" y="10"/>
                  </a:lnTo>
                  <a:lnTo>
                    <a:pt x="9" y="7"/>
                  </a:lnTo>
                  <a:lnTo>
                    <a:pt x="9" y="7"/>
                  </a:lnTo>
                  <a:lnTo>
                    <a:pt x="9" y="5"/>
                  </a:lnTo>
                  <a:lnTo>
                    <a:pt x="9" y="5"/>
                  </a:lnTo>
                  <a:lnTo>
                    <a:pt x="9" y="5"/>
                  </a:lnTo>
                  <a:lnTo>
                    <a:pt x="11" y="5"/>
                  </a:lnTo>
                  <a:lnTo>
                    <a:pt x="9" y="2"/>
                  </a:lnTo>
                  <a:lnTo>
                    <a:pt x="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52" name="Freeform 233">
              <a:extLst>
                <a:ext uri="{FF2B5EF4-FFF2-40B4-BE49-F238E27FC236}">
                  <a16:creationId xmlns:a16="http://schemas.microsoft.com/office/drawing/2014/main" id="{67D6B94D-D946-40F2-9B04-2ECB936CDD6E}"/>
                </a:ext>
              </a:extLst>
            </p:cNvPr>
            <p:cNvSpPr>
              <a:spLocks/>
            </p:cNvSpPr>
            <p:nvPr/>
          </p:nvSpPr>
          <p:spPr bwMode="gray">
            <a:xfrm>
              <a:off x="-986" y="-359"/>
              <a:ext cx="7" cy="7"/>
            </a:xfrm>
            <a:custGeom>
              <a:avLst/>
              <a:gdLst>
                <a:gd name="T0" fmla="*/ 1 w 3"/>
                <a:gd name="T1" fmla="*/ 1 h 3"/>
                <a:gd name="T2" fmla="*/ 1 w 3"/>
                <a:gd name="T3" fmla="*/ 2 h 3"/>
                <a:gd name="T4" fmla="*/ 1 w 3"/>
                <a:gd name="T5" fmla="*/ 3 h 3"/>
                <a:gd name="T6" fmla="*/ 1 w 3"/>
                <a:gd name="T7" fmla="*/ 3 h 3"/>
                <a:gd name="T8" fmla="*/ 2 w 3"/>
                <a:gd name="T9" fmla="*/ 3 h 3"/>
                <a:gd name="T10" fmla="*/ 2 w 3"/>
                <a:gd name="T11" fmla="*/ 3 h 3"/>
                <a:gd name="T12" fmla="*/ 2 w 3"/>
                <a:gd name="T13" fmla="*/ 3 h 3"/>
                <a:gd name="T14" fmla="*/ 3 w 3"/>
                <a:gd name="T15" fmla="*/ 2 h 3"/>
                <a:gd name="T16" fmla="*/ 3 w 3"/>
                <a:gd name="T17" fmla="*/ 2 h 3"/>
                <a:gd name="T18" fmla="*/ 0 w 3"/>
                <a:gd name="T19" fmla="*/ 0 h 3"/>
                <a:gd name="T20" fmla="*/ 1 w 3"/>
                <a:gd name="T21" fmla="*/ 0 h 3"/>
                <a:gd name="T22" fmla="*/ 1 w 3"/>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3">
                  <a:moveTo>
                    <a:pt x="1" y="1"/>
                  </a:moveTo>
                  <a:cubicBezTo>
                    <a:pt x="1" y="2"/>
                    <a:pt x="1" y="2"/>
                    <a:pt x="1" y="2"/>
                  </a:cubicBezTo>
                  <a:cubicBezTo>
                    <a:pt x="1" y="3"/>
                    <a:pt x="1" y="3"/>
                    <a:pt x="1" y="3"/>
                  </a:cubicBezTo>
                  <a:cubicBezTo>
                    <a:pt x="1" y="3"/>
                    <a:pt x="1" y="3"/>
                    <a:pt x="1" y="3"/>
                  </a:cubicBezTo>
                  <a:cubicBezTo>
                    <a:pt x="2" y="3"/>
                    <a:pt x="2" y="3"/>
                    <a:pt x="2" y="3"/>
                  </a:cubicBezTo>
                  <a:cubicBezTo>
                    <a:pt x="2" y="3"/>
                    <a:pt x="2" y="3"/>
                    <a:pt x="2" y="3"/>
                  </a:cubicBezTo>
                  <a:cubicBezTo>
                    <a:pt x="2" y="3"/>
                    <a:pt x="2" y="3"/>
                    <a:pt x="2" y="3"/>
                  </a:cubicBezTo>
                  <a:cubicBezTo>
                    <a:pt x="3" y="2"/>
                    <a:pt x="3" y="2"/>
                    <a:pt x="3" y="2"/>
                  </a:cubicBezTo>
                  <a:cubicBezTo>
                    <a:pt x="3" y="2"/>
                    <a:pt x="3" y="2"/>
                    <a:pt x="3" y="2"/>
                  </a:cubicBezTo>
                  <a:cubicBezTo>
                    <a:pt x="2" y="1"/>
                    <a:pt x="1" y="1"/>
                    <a:pt x="0" y="0"/>
                  </a:cubicBezTo>
                  <a:cubicBezTo>
                    <a:pt x="1" y="0"/>
                    <a:pt x="1" y="0"/>
                    <a:pt x="1" y="0"/>
                  </a:cubicBez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53" name="Freeform 234">
              <a:extLst>
                <a:ext uri="{FF2B5EF4-FFF2-40B4-BE49-F238E27FC236}">
                  <a16:creationId xmlns:a16="http://schemas.microsoft.com/office/drawing/2014/main" id="{F36E5DB8-DB69-4350-B870-9BE862521C99}"/>
                </a:ext>
              </a:extLst>
            </p:cNvPr>
            <p:cNvSpPr>
              <a:spLocks/>
            </p:cNvSpPr>
            <p:nvPr/>
          </p:nvSpPr>
          <p:spPr bwMode="gray">
            <a:xfrm>
              <a:off x="-993" y="-364"/>
              <a:ext cx="7" cy="10"/>
            </a:xfrm>
            <a:custGeom>
              <a:avLst/>
              <a:gdLst>
                <a:gd name="T0" fmla="*/ 0 w 3"/>
                <a:gd name="T1" fmla="*/ 1 h 4"/>
                <a:gd name="T2" fmla="*/ 1 w 3"/>
                <a:gd name="T3" fmla="*/ 2 h 4"/>
                <a:gd name="T4" fmla="*/ 2 w 3"/>
                <a:gd name="T5" fmla="*/ 4 h 4"/>
                <a:gd name="T6" fmla="*/ 2 w 3"/>
                <a:gd name="T7" fmla="*/ 4 h 4"/>
                <a:gd name="T8" fmla="*/ 3 w 3"/>
                <a:gd name="T9" fmla="*/ 2 h 4"/>
                <a:gd name="T10" fmla="*/ 0 w 3"/>
                <a:gd name="T11" fmla="*/ 0 h 4"/>
                <a:gd name="T12" fmla="*/ 0 w 3"/>
                <a:gd name="T13" fmla="*/ 0 h 4"/>
                <a:gd name="T14" fmla="*/ 0 w 3"/>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1"/>
                  </a:moveTo>
                  <a:cubicBezTo>
                    <a:pt x="1" y="2"/>
                    <a:pt x="1" y="2"/>
                    <a:pt x="1" y="2"/>
                  </a:cubicBezTo>
                  <a:cubicBezTo>
                    <a:pt x="2" y="4"/>
                    <a:pt x="2" y="4"/>
                    <a:pt x="2" y="4"/>
                  </a:cubicBezTo>
                  <a:cubicBezTo>
                    <a:pt x="2" y="4"/>
                    <a:pt x="2" y="4"/>
                    <a:pt x="2" y="4"/>
                  </a:cubicBezTo>
                  <a:cubicBezTo>
                    <a:pt x="3" y="2"/>
                    <a:pt x="3" y="2"/>
                    <a:pt x="3" y="2"/>
                  </a:cubicBezTo>
                  <a:cubicBezTo>
                    <a:pt x="2" y="1"/>
                    <a:pt x="1" y="0"/>
                    <a:pt x="0" y="0"/>
                  </a:cubicBezTo>
                  <a:cubicBezTo>
                    <a:pt x="0" y="0"/>
                    <a:pt x="0" y="0"/>
                    <a:pt x="0"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54" name="Freeform 235">
              <a:extLst>
                <a:ext uri="{FF2B5EF4-FFF2-40B4-BE49-F238E27FC236}">
                  <a16:creationId xmlns:a16="http://schemas.microsoft.com/office/drawing/2014/main" id="{CB735822-A565-458B-BAD6-8BE0AB46E679}"/>
                </a:ext>
              </a:extLst>
            </p:cNvPr>
            <p:cNvSpPr>
              <a:spLocks/>
            </p:cNvSpPr>
            <p:nvPr/>
          </p:nvSpPr>
          <p:spPr bwMode="gray">
            <a:xfrm>
              <a:off x="-1257" y="362"/>
              <a:ext cx="5" cy="9"/>
            </a:xfrm>
            <a:custGeom>
              <a:avLst/>
              <a:gdLst>
                <a:gd name="T0" fmla="*/ 2 w 5"/>
                <a:gd name="T1" fmla="*/ 7 h 9"/>
                <a:gd name="T2" fmla="*/ 5 w 5"/>
                <a:gd name="T3" fmla="*/ 7 h 9"/>
                <a:gd name="T4" fmla="*/ 5 w 5"/>
                <a:gd name="T5" fmla="*/ 5 h 9"/>
                <a:gd name="T6" fmla="*/ 5 w 5"/>
                <a:gd name="T7" fmla="*/ 2 h 9"/>
                <a:gd name="T8" fmla="*/ 2 w 5"/>
                <a:gd name="T9" fmla="*/ 2 h 9"/>
                <a:gd name="T10" fmla="*/ 0 w 5"/>
                <a:gd name="T11" fmla="*/ 0 h 9"/>
                <a:gd name="T12" fmla="*/ 0 w 5"/>
                <a:gd name="T13" fmla="*/ 0 h 9"/>
                <a:gd name="T14" fmla="*/ 0 w 5"/>
                <a:gd name="T15" fmla="*/ 5 h 9"/>
                <a:gd name="T16" fmla="*/ 0 w 5"/>
                <a:gd name="T17" fmla="*/ 7 h 9"/>
                <a:gd name="T18" fmla="*/ 2 w 5"/>
                <a:gd name="T19" fmla="*/ 9 h 9"/>
                <a:gd name="T20" fmla="*/ 2 w 5"/>
                <a:gd name="T21" fmla="*/ 7 h 9"/>
                <a:gd name="T22" fmla="*/ 2 w 5"/>
                <a:gd name="T23" fmla="*/ 7 h 9"/>
                <a:gd name="T24" fmla="*/ 2 w 5"/>
                <a:gd name="T25"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9">
                  <a:moveTo>
                    <a:pt x="2" y="7"/>
                  </a:moveTo>
                  <a:lnTo>
                    <a:pt x="5" y="7"/>
                  </a:lnTo>
                  <a:lnTo>
                    <a:pt x="5" y="5"/>
                  </a:lnTo>
                  <a:lnTo>
                    <a:pt x="5" y="2"/>
                  </a:lnTo>
                  <a:lnTo>
                    <a:pt x="2" y="2"/>
                  </a:lnTo>
                  <a:lnTo>
                    <a:pt x="0" y="0"/>
                  </a:lnTo>
                  <a:lnTo>
                    <a:pt x="0" y="0"/>
                  </a:lnTo>
                  <a:lnTo>
                    <a:pt x="0" y="5"/>
                  </a:lnTo>
                  <a:lnTo>
                    <a:pt x="0" y="7"/>
                  </a:lnTo>
                  <a:lnTo>
                    <a:pt x="2" y="9"/>
                  </a:lnTo>
                  <a:lnTo>
                    <a:pt x="2" y="7"/>
                  </a:lnTo>
                  <a:lnTo>
                    <a:pt x="2" y="7"/>
                  </a:ln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55" name="Freeform 236">
              <a:extLst>
                <a:ext uri="{FF2B5EF4-FFF2-40B4-BE49-F238E27FC236}">
                  <a16:creationId xmlns:a16="http://schemas.microsoft.com/office/drawing/2014/main" id="{6965352E-11CA-4117-A0EF-057DD769FC1A}"/>
                </a:ext>
              </a:extLst>
            </p:cNvPr>
            <p:cNvSpPr>
              <a:spLocks/>
            </p:cNvSpPr>
            <p:nvPr/>
          </p:nvSpPr>
          <p:spPr bwMode="gray">
            <a:xfrm>
              <a:off x="-1252" y="411"/>
              <a:ext cx="4" cy="5"/>
            </a:xfrm>
            <a:custGeom>
              <a:avLst/>
              <a:gdLst>
                <a:gd name="T0" fmla="*/ 0 w 4"/>
                <a:gd name="T1" fmla="*/ 5 h 5"/>
                <a:gd name="T2" fmla="*/ 2 w 4"/>
                <a:gd name="T3" fmla="*/ 5 h 5"/>
                <a:gd name="T4" fmla="*/ 4 w 4"/>
                <a:gd name="T5" fmla="*/ 5 h 5"/>
                <a:gd name="T6" fmla="*/ 4 w 4"/>
                <a:gd name="T7" fmla="*/ 5 h 5"/>
                <a:gd name="T8" fmla="*/ 4 w 4"/>
                <a:gd name="T9" fmla="*/ 5 h 5"/>
                <a:gd name="T10" fmla="*/ 2 w 4"/>
                <a:gd name="T11" fmla="*/ 3 h 5"/>
                <a:gd name="T12" fmla="*/ 2 w 4"/>
                <a:gd name="T13" fmla="*/ 0 h 5"/>
                <a:gd name="T14" fmla="*/ 2 w 4"/>
                <a:gd name="T15" fmla="*/ 0 h 5"/>
                <a:gd name="T16" fmla="*/ 0 w 4"/>
                <a:gd name="T17" fmla="*/ 0 h 5"/>
                <a:gd name="T18" fmla="*/ 0 w 4"/>
                <a:gd name="T19" fmla="*/ 3 h 5"/>
                <a:gd name="T20" fmla="*/ 0 w 4"/>
                <a:gd name="T21" fmla="*/ 5 h 5"/>
                <a:gd name="T22" fmla="*/ 0 w 4"/>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5">
                  <a:moveTo>
                    <a:pt x="0" y="5"/>
                  </a:moveTo>
                  <a:lnTo>
                    <a:pt x="2" y="5"/>
                  </a:lnTo>
                  <a:lnTo>
                    <a:pt x="4" y="5"/>
                  </a:lnTo>
                  <a:lnTo>
                    <a:pt x="4" y="5"/>
                  </a:lnTo>
                  <a:lnTo>
                    <a:pt x="4" y="5"/>
                  </a:lnTo>
                  <a:lnTo>
                    <a:pt x="2" y="3"/>
                  </a:lnTo>
                  <a:lnTo>
                    <a:pt x="2" y="0"/>
                  </a:lnTo>
                  <a:lnTo>
                    <a:pt x="2" y="0"/>
                  </a:lnTo>
                  <a:lnTo>
                    <a:pt x="0" y="0"/>
                  </a:lnTo>
                  <a:lnTo>
                    <a:pt x="0" y="3"/>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56" name="Freeform 237">
              <a:extLst>
                <a:ext uri="{FF2B5EF4-FFF2-40B4-BE49-F238E27FC236}">
                  <a16:creationId xmlns:a16="http://schemas.microsoft.com/office/drawing/2014/main" id="{06228CBB-BB20-470F-8CF3-318FE40AF813}"/>
                </a:ext>
              </a:extLst>
            </p:cNvPr>
            <p:cNvSpPr>
              <a:spLocks/>
            </p:cNvSpPr>
            <p:nvPr/>
          </p:nvSpPr>
          <p:spPr bwMode="gray">
            <a:xfrm>
              <a:off x="-1262" y="352"/>
              <a:ext cx="5" cy="7"/>
            </a:xfrm>
            <a:custGeom>
              <a:avLst/>
              <a:gdLst>
                <a:gd name="T0" fmla="*/ 5 w 5"/>
                <a:gd name="T1" fmla="*/ 3 h 7"/>
                <a:gd name="T2" fmla="*/ 5 w 5"/>
                <a:gd name="T3" fmla="*/ 3 h 7"/>
                <a:gd name="T4" fmla="*/ 5 w 5"/>
                <a:gd name="T5" fmla="*/ 0 h 7"/>
                <a:gd name="T6" fmla="*/ 5 w 5"/>
                <a:gd name="T7" fmla="*/ 0 h 7"/>
                <a:gd name="T8" fmla="*/ 2 w 5"/>
                <a:gd name="T9" fmla="*/ 0 h 7"/>
                <a:gd name="T10" fmla="*/ 2 w 5"/>
                <a:gd name="T11" fmla="*/ 0 h 7"/>
                <a:gd name="T12" fmla="*/ 2 w 5"/>
                <a:gd name="T13" fmla="*/ 0 h 7"/>
                <a:gd name="T14" fmla="*/ 2 w 5"/>
                <a:gd name="T15" fmla="*/ 0 h 7"/>
                <a:gd name="T16" fmla="*/ 2 w 5"/>
                <a:gd name="T17" fmla="*/ 3 h 7"/>
                <a:gd name="T18" fmla="*/ 2 w 5"/>
                <a:gd name="T19" fmla="*/ 3 h 7"/>
                <a:gd name="T20" fmla="*/ 0 w 5"/>
                <a:gd name="T21" fmla="*/ 3 h 7"/>
                <a:gd name="T22" fmla="*/ 0 w 5"/>
                <a:gd name="T23" fmla="*/ 5 h 7"/>
                <a:gd name="T24" fmla="*/ 0 w 5"/>
                <a:gd name="T25" fmla="*/ 5 h 7"/>
                <a:gd name="T26" fmla="*/ 0 w 5"/>
                <a:gd name="T27" fmla="*/ 5 h 7"/>
                <a:gd name="T28" fmla="*/ 0 w 5"/>
                <a:gd name="T29" fmla="*/ 7 h 7"/>
                <a:gd name="T30" fmla="*/ 2 w 5"/>
                <a:gd name="T31" fmla="*/ 7 h 7"/>
                <a:gd name="T32" fmla="*/ 5 w 5"/>
                <a:gd name="T33" fmla="*/ 5 h 7"/>
                <a:gd name="T34" fmla="*/ 5 w 5"/>
                <a:gd name="T35" fmla="*/ 5 h 7"/>
                <a:gd name="T36" fmla="*/ 5 w 5"/>
                <a:gd name="T3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7">
                  <a:moveTo>
                    <a:pt x="5" y="3"/>
                  </a:moveTo>
                  <a:lnTo>
                    <a:pt x="5" y="3"/>
                  </a:lnTo>
                  <a:lnTo>
                    <a:pt x="5" y="0"/>
                  </a:lnTo>
                  <a:lnTo>
                    <a:pt x="5" y="0"/>
                  </a:lnTo>
                  <a:lnTo>
                    <a:pt x="2" y="0"/>
                  </a:lnTo>
                  <a:lnTo>
                    <a:pt x="2" y="0"/>
                  </a:lnTo>
                  <a:lnTo>
                    <a:pt x="2" y="0"/>
                  </a:lnTo>
                  <a:lnTo>
                    <a:pt x="2" y="0"/>
                  </a:lnTo>
                  <a:lnTo>
                    <a:pt x="2" y="3"/>
                  </a:lnTo>
                  <a:lnTo>
                    <a:pt x="2" y="3"/>
                  </a:lnTo>
                  <a:lnTo>
                    <a:pt x="0" y="3"/>
                  </a:lnTo>
                  <a:lnTo>
                    <a:pt x="0" y="5"/>
                  </a:lnTo>
                  <a:lnTo>
                    <a:pt x="0" y="5"/>
                  </a:lnTo>
                  <a:lnTo>
                    <a:pt x="0" y="5"/>
                  </a:lnTo>
                  <a:lnTo>
                    <a:pt x="0" y="7"/>
                  </a:lnTo>
                  <a:lnTo>
                    <a:pt x="2" y="7"/>
                  </a:lnTo>
                  <a:lnTo>
                    <a:pt x="5" y="5"/>
                  </a:lnTo>
                  <a:lnTo>
                    <a:pt x="5" y="5"/>
                  </a:lnTo>
                  <a:lnTo>
                    <a:pt x="5"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57" name="Freeform 238">
              <a:extLst>
                <a:ext uri="{FF2B5EF4-FFF2-40B4-BE49-F238E27FC236}">
                  <a16:creationId xmlns:a16="http://schemas.microsoft.com/office/drawing/2014/main" id="{CB2FD994-9A1A-4C7D-83DD-A6E372E325D4}"/>
                </a:ext>
              </a:extLst>
            </p:cNvPr>
            <p:cNvSpPr>
              <a:spLocks/>
            </p:cNvSpPr>
            <p:nvPr/>
          </p:nvSpPr>
          <p:spPr bwMode="gray">
            <a:xfrm>
              <a:off x="-1234" y="-41"/>
              <a:ext cx="7" cy="9"/>
            </a:xfrm>
            <a:custGeom>
              <a:avLst/>
              <a:gdLst>
                <a:gd name="T0" fmla="*/ 0 w 7"/>
                <a:gd name="T1" fmla="*/ 7 h 9"/>
                <a:gd name="T2" fmla="*/ 0 w 7"/>
                <a:gd name="T3" fmla="*/ 7 h 9"/>
                <a:gd name="T4" fmla="*/ 0 w 7"/>
                <a:gd name="T5" fmla="*/ 7 h 9"/>
                <a:gd name="T6" fmla="*/ 0 w 7"/>
                <a:gd name="T7" fmla="*/ 9 h 9"/>
                <a:gd name="T8" fmla="*/ 3 w 7"/>
                <a:gd name="T9" fmla="*/ 9 h 9"/>
                <a:gd name="T10" fmla="*/ 5 w 7"/>
                <a:gd name="T11" fmla="*/ 9 h 9"/>
                <a:gd name="T12" fmla="*/ 5 w 7"/>
                <a:gd name="T13" fmla="*/ 9 h 9"/>
                <a:gd name="T14" fmla="*/ 5 w 7"/>
                <a:gd name="T15" fmla="*/ 9 h 9"/>
                <a:gd name="T16" fmla="*/ 7 w 7"/>
                <a:gd name="T17" fmla="*/ 9 h 9"/>
                <a:gd name="T18" fmla="*/ 7 w 7"/>
                <a:gd name="T19" fmla="*/ 9 h 9"/>
                <a:gd name="T20" fmla="*/ 7 w 7"/>
                <a:gd name="T21" fmla="*/ 7 h 9"/>
                <a:gd name="T22" fmla="*/ 7 w 7"/>
                <a:gd name="T23" fmla="*/ 7 h 9"/>
                <a:gd name="T24" fmla="*/ 5 w 7"/>
                <a:gd name="T25" fmla="*/ 5 h 9"/>
                <a:gd name="T26" fmla="*/ 5 w 7"/>
                <a:gd name="T27" fmla="*/ 2 h 9"/>
                <a:gd name="T28" fmla="*/ 5 w 7"/>
                <a:gd name="T29" fmla="*/ 2 h 9"/>
                <a:gd name="T30" fmla="*/ 3 w 7"/>
                <a:gd name="T31" fmla="*/ 2 h 9"/>
                <a:gd name="T32" fmla="*/ 3 w 7"/>
                <a:gd name="T33" fmla="*/ 0 h 9"/>
                <a:gd name="T34" fmla="*/ 3 w 7"/>
                <a:gd name="T35" fmla="*/ 0 h 9"/>
                <a:gd name="T36" fmla="*/ 0 w 7"/>
                <a:gd name="T37" fmla="*/ 0 h 9"/>
                <a:gd name="T38" fmla="*/ 0 w 7"/>
                <a:gd name="T39" fmla="*/ 0 h 9"/>
                <a:gd name="T40" fmla="*/ 0 w 7"/>
                <a:gd name="T41" fmla="*/ 2 h 9"/>
                <a:gd name="T42" fmla="*/ 0 w 7"/>
                <a:gd name="T43" fmla="*/ 2 h 9"/>
                <a:gd name="T44" fmla="*/ 0 w 7"/>
                <a:gd name="T45" fmla="*/ 5 h 9"/>
                <a:gd name="T46" fmla="*/ 3 w 7"/>
                <a:gd name="T47" fmla="*/ 5 h 9"/>
                <a:gd name="T48" fmla="*/ 3 w 7"/>
                <a:gd name="T49" fmla="*/ 7 h 9"/>
                <a:gd name="T50" fmla="*/ 3 w 7"/>
                <a:gd name="T51" fmla="*/ 7 h 9"/>
                <a:gd name="T52" fmla="*/ 3 w 7"/>
                <a:gd name="T53" fmla="*/ 7 h 9"/>
                <a:gd name="T54" fmla="*/ 3 w 7"/>
                <a:gd name="T55" fmla="*/ 7 h 9"/>
                <a:gd name="T56" fmla="*/ 0 w 7"/>
                <a:gd name="T57"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 h="9">
                  <a:moveTo>
                    <a:pt x="0" y="7"/>
                  </a:moveTo>
                  <a:lnTo>
                    <a:pt x="0" y="7"/>
                  </a:lnTo>
                  <a:lnTo>
                    <a:pt x="0" y="7"/>
                  </a:lnTo>
                  <a:lnTo>
                    <a:pt x="0" y="9"/>
                  </a:lnTo>
                  <a:lnTo>
                    <a:pt x="3" y="9"/>
                  </a:lnTo>
                  <a:lnTo>
                    <a:pt x="5" y="9"/>
                  </a:lnTo>
                  <a:lnTo>
                    <a:pt x="5" y="9"/>
                  </a:lnTo>
                  <a:lnTo>
                    <a:pt x="5" y="9"/>
                  </a:lnTo>
                  <a:lnTo>
                    <a:pt x="7" y="9"/>
                  </a:lnTo>
                  <a:lnTo>
                    <a:pt x="7" y="9"/>
                  </a:lnTo>
                  <a:lnTo>
                    <a:pt x="7" y="7"/>
                  </a:lnTo>
                  <a:lnTo>
                    <a:pt x="7" y="7"/>
                  </a:lnTo>
                  <a:lnTo>
                    <a:pt x="5" y="5"/>
                  </a:lnTo>
                  <a:lnTo>
                    <a:pt x="5" y="2"/>
                  </a:lnTo>
                  <a:lnTo>
                    <a:pt x="5" y="2"/>
                  </a:lnTo>
                  <a:lnTo>
                    <a:pt x="3" y="2"/>
                  </a:lnTo>
                  <a:lnTo>
                    <a:pt x="3" y="0"/>
                  </a:lnTo>
                  <a:lnTo>
                    <a:pt x="3" y="0"/>
                  </a:lnTo>
                  <a:lnTo>
                    <a:pt x="0" y="0"/>
                  </a:lnTo>
                  <a:lnTo>
                    <a:pt x="0" y="0"/>
                  </a:lnTo>
                  <a:lnTo>
                    <a:pt x="0" y="2"/>
                  </a:lnTo>
                  <a:lnTo>
                    <a:pt x="0" y="2"/>
                  </a:lnTo>
                  <a:lnTo>
                    <a:pt x="0" y="5"/>
                  </a:lnTo>
                  <a:lnTo>
                    <a:pt x="3" y="5"/>
                  </a:lnTo>
                  <a:lnTo>
                    <a:pt x="3" y="7"/>
                  </a:lnTo>
                  <a:lnTo>
                    <a:pt x="3" y="7"/>
                  </a:lnTo>
                  <a:lnTo>
                    <a:pt x="3" y="7"/>
                  </a:lnTo>
                  <a:lnTo>
                    <a:pt x="3" y="7"/>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58" name="Freeform 239">
              <a:extLst>
                <a:ext uri="{FF2B5EF4-FFF2-40B4-BE49-F238E27FC236}">
                  <a16:creationId xmlns:a16="http://schemas.microsoft.com/office/drawing/2014/main" id="{991D5EF1-25F0-4AD2-A700-06EB967867A5}"/>
                </a:ext>
              </a:extLst>
            </p:cNvPr>
            <p:cNvSpPr>
              <a:spLocks/>
            </p:cNvSpPr>
            <p:nvPr/>
          </p:nvSpPr>
          <p:spPr bwMode="gray">
            <a:xfrm>
              <a:off x="-1248" y="409"/>
              <a:ext cx="5" cy="5"/>
            </a:xfrm>
            <a:custGeom>
              <a:avLst/>
              <a:gdLst>
                <a:gd name="T0" fmla="*/ 5 w 5"/>
                <a:gd name="T1" fmla="*/ 2 h 5"/>
                <a:gd name="T2" fmla="*/ 5 w 5"/>
                <a:gd name="T3" fmla="*/ 2 h 5"/>
                <a:gd name="T4" fmla="*/ 5 w 5"/>
                <a:gd name="T5" fmla="*/ 2 h 5"/>
                <a:gd name="T6" fmla="*/ 5 w 5"/>
                <a:gd name="T7" fmla="*/ 2 h 5"/>
                <a:gd name="T8" fmla="*/ 5 w 5"/>
                <a:gd name="T9" fmla="*/ 2 h 5"/>
                <a:gd name="T10" fmla="*/ 0 w 5"/>
                <a:gd name="T11" fmla="*/ 0 h 5"/>
                <a:gd name="T12" fmla="*/ 0 w 5"/>
                <a:gd name="T13" fmla="*/ 0 h 5"/>
                <a:gd name="T14" fmla="*/ 0 w 5"/>
                <a:gd name="T15" fmla="*/ 2 h 5"/>
                <a:gd name="T16" fmla="*/ 0 w 5"/>
                <a:gd name="T17" fmla="*/ 2 h 5"/>
                <a:gd name="T18" fmla="*/ 0 w 5"/>
                <a:gd name="T19" fmla="*/ 5 h 5"/>
                <a:gd name="T20" fmla="*/ 5 w 5"/>
                <a:gd name="T21" fmla="*/ 5 h 5"/>
                <a:gd name="T22" fmla="*/ 5 w 5"/>
                <a:gd name="T23" fmla="*/ 5 h 5"/>
                <a:gd name="T24" fmla="*/ 5 w 5"/>
                <a:gd name="T25" fmla="*/ 5 h 5"/>
                <a:gd name="T26" fmla="*/ 3 w 5"/>
                <a:gd name="T27" fmla="*/ 2 h 5"/>
                <a:gd name="T28" fmla="*/ 3 w 5"/>
                <a:gd name="T29" fmla="*/ 2 h 5"/>
                <a:gd name="T30" fmla="*/ 5 w 5"/>
                <a:gd name="T3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5">
                  <a:moveTo>
                    <a:pt x="5" y="2"/>
                  </a:moveTo>
                  <a:lnTo>
                    <a:pt x="5" y="2"/>
                  </a:lnTo>
                  <a:lnTo>
                    <a:pt x="5" y="2"/>
                  </a:lnTo>
                  <a:lnTo>
                    <a:pt x="5" y="2"/>
                  </a:lnTo>
                  <a:lnTo>
                    <a:pt x="5" y="2"/>
                  </a:lnTo>
                  <a:lnTo>
                    <a:pt x="0" y="0"/>
                  </a:lnTo>
                  <a:lnTo>
                    <a:pt x="0" y="0"/>
                  </a:lnTo>
                  <a:lnTo>
                    <a:pt x="0" y="2"/>
                  </a:lnTo>
                  <a:lnTo>
                    <a:pt x="0" y="2"/>
                  </a:lnTo>
                  <a:lnTo>
                    <a:pt x="0" y="5"/>
                  </a:lnTo>
                  <a:lnTo>
                    <a:pt x="5" y="5"/>
                  </a:lnTo>
                  <a:lnTo>
                    <a:pt x="5" y="5"/>
                  </a:lnTo>
                  <a:lnTo>
                    <a:pt x="5" y="5"/>
                  </a:lnTo>
                  <a:lnTo>
                    <a:pt x="3" y="2"/>
                  </a:lnTo>
                  <a:lnTo>
                    <a:pt x="3" y="2"/>
                  </a:lnTo>
                  <a:lnTo>
                    <a:pt x="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59" name="Freeform 240">
              <a:extLst>
                <a:ext uri="{FF2B5EF4-FFF2-40B4-BE49-F238E27FC236}">
                  <a16:creationId xmlns:a16="http://schemas.microsoft.com/office/drawing/2014/main" id="{1233489B-0C64-4437-977A-736CA53FDE6D}"/>
                </a:ext>
              </a:extLst>
            </p:cNvPr>
            <p:cNvSpPr>
              <a:spLocks/>
            </p:cNvSpPr>
            <p:nvPr/>
          </p:nvSpPr>
          <p:spPr bwMode="gray">
            <a:xfrm>
              <a:off x="-1227" y="-95"/>
              <a:ext cx="10" cy="12"/>
            </a:xfrm>
            <a:custGeom>
              <a:avLst/>
              <a:gdLst>
                <a:gd name="T0" fmla="*/ 10 w 10"/>
                <a:gd name="T1" fmla="*/ 7 h 12"/>
                <a:gd name="T2" fmla="*/ 10 w 10"/>
                <a:gd name="T3" fmla="*/ 4 h 12"/>
                <a:gd name="T4" fmla="*/ 10 w 10"/>
                <a:gd name="T5" fmla="*/ 2 h 12"/>
                <a:gd name="T6" fmla="*/ 8 w 10"/>
                <a:gd name="T7" fmla="*/ 0 h 12"/>
                <a:gd name="T8" fmla="*/ 5 w 10"/>
                <a:gd name="T9" fmla="*/ 0 h 12"/>
                <a:gd name="T10" fmla="*/ 3 w 10"/>
                <a:gd name="T11" fmla="*/ 2 h 12"/>
                <a:gd name="T12" fmla="*/ 3 w 10"/>
                <a:gd name="T13" fmla="*/ 4 h 12"/>
                <a:gd name="T14" fmla="*/ 0 w 10"/>
                <a:gd name="T15" fmla="*/ 4 h 12"/>
                <a:gd name="T16" fmla="*/ 0 w 10"/>
                <a:gd name="T17" fmla="*/ 4 h 12"/>
                <a:gd name="T18" fmla="*/ 0 w 10"/>
                <a:gd name="T19" fmla="*/ 4 h 12"/>
                <a:gd name="T20" fmla="*/ 3 w 10"/>
                <a:gd name="T21" fmla="*/ 9 h 12"/>
                <a:gd name="T22" fmla="*/ 5 w 10"/>
                <a:gd name="T23" fmla="*/ 9 h 12"/>
                <a:gd name="T24" fmla="*/ 5 w 10"/>
                <a:gd name="T25" fmla="*/ 9 h 12"/>
                <a:gd name="T26" fmla="*/ 5 w 10"/>
                <a:gd name="T27" fmla="*/ 9 h 12"/>
                <a:gd name="T28" fmla="*/ 5 w 10"/>
                <a:gd name="T29" fmla="*/ 12 h 12"/>
                <a:gd name="T30" fmla="*/ 10 w 10"/>
                <a:gd name="T31"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12">
                  <a:moveTo>
                    <a:pt x="10" y="7"/>
                  </a:moveTo>
                  <a:lnTo>
                    <a:pt x="10" y="4"/>
                  </a:lnTo>
                  <a:lnTo>
                    <a:pt x="10" y="2"/>
                  </a:lnTo>
                  <a:lnTo>
                    <a:pt x="8" y="0"/>
                  </a:lnTo>
                  <a:lnTo>
                    <a:pt x="5" y="0"/>
                  </a:lnTo>
                  <a:lnTo>
                    <a:pt x="3" y="2"/>
                  </a:lnTo>
                  <a:lnTo>
                    <a:pt x="3" y="4"/>
                  </a:lnTo>
                  <a:lnTo>
                    <a:pt x="0" y="4"/>
                  </a:lnTo>
                  <a:lnTo>
                    <a:pt x="0" y="4"/>
                  </a:lnTo>
                  <a:lnTo>
                    <a:pt x="0" y="4"/>
                  </a:lnTo>
                  <a:lnTo>
                    <a:pt x="3" y="9"/>
                  </a:lnTo>
                  <a:lnTo>
                    <a:pt x="5" y="9"/>
                  </a:lnTo>
                  <a:lnTo>
                    <a:pt x="5" y="9"/>
                  </a:lnTo>
                  <a:lnTo>
                    <a:pt x="5" y="9"/>
                  </a:lnTo>
                  <a:lnTo>
                    <a:pt x="5" y="12"/>
                  </a:lnTo>
                  <a:lnTo>
                    <a:pt x="1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60" name="Freeform 241">
              <a:extLst>
                <a:ext uri="{FF2B5EF4-FFF2-40B4-BE49-F238E27FC236}">
                  <a16:creationId xmlns:a16="http://schemas.microsoft.com/office/drawing/2014/main" id="{74A7E0B9-0540-4DA5-8AED-F3F6897EDC4B}"/>
                </a:ext>
              </a:extLst>
            </p:cNvPr>
            <p:cNvSpPr>
              <a:spLocks/>
            </p:cNvSpPr>
            <p:nvPr/>
          </p:nvSpPr>
          <p:spPr bwMode="gray">
            <a:xfrm>
              <a:off x="-1238" y="336"/>
              <a:ext cx="2" cy="5"/>
            </a:xfrm>
            <a:custGeom>
              <a:avLst/>
              <a:gdLst>
                <a:gd name="T0" fmla="*/ 0 w 2"/>
                <a:gd name="T1" fmla="*/ 5 h 5"/>
                <a:gd name="T2" fmla="*/ 2 w 2"/>
                <a:gd name="T3" fmla="*/ 5 h 5"/>
                <a:gd name="T4" fmla="*/ 2 w 2"/>
                <a:gd name="T5" fmla="*/ 2 h 5"/>
                <a:gd name="T6" fmla="*/ 2 w 2"/>
                <a:gd name="T7" fmla="*/ 0 h 5"/>
                <a:gd name="T8" fmla="*/ 2 w 2"/>
                <a:gd name="T9" fmla="*/ 0 h 5"/>
                <a:gd name="T10" fmla="*/ 2 w 2"/>
                <a:gd name="T11" fmla="*/ 0 h 5"/>
                <a:gd name="T12" fmla="*/ 0 w 2"/>
                <a:gd name="T13" fmla="*/ 0 h 5"/>
                <a:gd name="T14" fmla="*/ 0 w 2"/>
                <a:gd name="T15" fmla="*/ 0 h 5"/>
                <a:gd name="T16" fmla="*/ 0 w 2"/>
                <a:gd name="T17" fmla="*/ 2 h 5"/>
                <a:gd name="T18" fmla="*/ 0 w 2"/>
                <a:gd name="T19" fmla="*/ 2 h 5"/>
                <a:gd name="T20" fmla="*/ 0 w 2"/>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5"/>
                  </a:moveTo>
                  <a:lnTo>
                    <a:pt x="2" y="5"/>
                  </a:lnTo>
                  <a:lnTo>
                    <a:pt x="2" y="2"/>
                  </a:lnTo>
                  <a:lnTo>
                    <a:pt x="2" y="0"/>
                  </a:lnTo>
                  <a:lnTo>
                    <a:pt x="2" y="0"/>
                  </a:lnTo>
                  <a:lnTo>
                    <a:pt x="2" y="0"/>
                  </a:lnTo>
                  <a:lnTo>
                    <a:pt x="0" y="0"/>
                  </a:lnTo>
                  <a:lnTo>
                    <a:pt x="0" y="0"/>
                  </a:lnTo>
                  <a:lnTo>
                    <a:pt x="0" y="2"/>
                  </a:lnTo>
                  <a:lnTo>
                    <a:pt x="0" y="2"/>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61" name="Freeform 242">
              <a:extLst>
                <a:ext uri="{FF2B5EF4-FFF2-40B4-BE49-F238E27FC236}">
                  <a16:creationId xmlns:a16="http://schemas.microsoft.com/office/drawing/2014/main" id="{D710D7F8-173E-4C56-A04F-827886526DA7}"/>
                </a:ext>
              </a:extLst>
            </p:cNvPr>
            <p:cNvSpPr>
              <a:spLocks/>
            </p:cNvSpPr>
            <p:nvPr/>
          </p:nvSpPr>
          <p:spPr bwMode="gray">
            <a:xfrm>
              <a:off x="-1227" y="324"/>
              <a:ext cx="8" cy="12"/>
            </a:xfrm>
            <a:custGeom>
              <a:avLst/>
              <a:gdLst>
                <a:gd name="T0" fmla="*/ 3 w 8"/>
                <a:gd name="T1" fmla="*/ 2 h 12"/>
                <a:gd name="T2" fmla="*/ 3 w 8"/>
                <a:gd name="T3" fmla="*/ 0 h 12"/>
                <a:gd name="T4" fmla="*/ 0 w 8"/>
                <a:gd name="T5" fmla="*/ 0 h 12"/>
                <a:gd name="T6" fmla="*/ 0 w 8"/>
                <a:gd name="T7" fmla="*/ 2 h 12"/>
                <a:gd name="T8" fmla="*/ 3 w 8"/>
                <a:gd name="T9" fmla="*/ 5 h 12"/>
                <a:gd name="T10" fmla="*/ 3 w 8"/>
                <a:gd name="T11" fmla="*/ 5 h 12"/>
                <a:gd name="T12" fmla="*/ 3 w 8"/>
                <a:gd name="T13" fmla="*/ 10 h 12"/>
                <a:gd name="T14" fmla="*/ 3 w 8"/>
                <a:gd name="T15" fmla="*/ 10 h 12"/>
                <a:gd name="T16" fmla="*/ 5 w 8"/>
                <a:gd name="T17" fmla="*/ 10 h 12"/>
                <a:gd name="T18" fmla="*/ 8 w 8"/>
                <a:gd name="T19" fmla="*/ 12 h 12"/>
                <a:gd name="T20" fmla="*/ 8 w 8"/>
                <a:gd name="T21" fmla="*/ 12 h 12"/>
                <a:gd name="T22" fmla="*/ 5 w 8"/>
                <a:gd name="T23" fmla="*/ 7 h 12"/>
                <a:gd name="T24" fmla="*/ 5 w 8"/>
                <a:gd name="T25" fmla="*/ 7 h 12"/>
                <a:gd name="T26" fmla="*/ 3 w 8"/>
                <a:gd name="T2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2">
                  <a:moveTo>
                    <a:pt x="3" y="2"/>
                  </a:moveTo>
                  <a:lnTo>
                    <a:pt x="3" y="0"/>
                  </a:lnTo>
                  <a:lnTo>
                    <a:pt x="0" y="0"/>
                  </a:lnTo>
                  <a:lnTo>
                    <a:pt x="0" y="2"/>
                  </a:lnTo>
                  <a:lnTo>
                    <a:pt x="3" y="5"/>
                  </a:lnTo>
                  <a:lnTo>
                    <a:pt x="3" y="5"/>
                  </a:lnTo>
                  <a:lnTo>
                    <a:pt x="3" y="10"/>
                  </a:lnTo>
                  <a:lnTo>
                    <a:pt x="3" y="10"/>
                  </a:lnTo>
                  <a:lnTo>
                    <a:pt x="5" y="10"/>
                  </a:lnTo>
                  <a:lnTo>
                    <a:pt x="8" y="12"/>
                  </a:lnTo>
                  <a:lnTo>
                    <a:pt x="8" y="12"/>
                  </a:lnTo>
                  <a:lnTo>
                    <a:pt x="5" y="7"/>
                  </a:lnTo>
                  <a:lnTo>
                    <a:pt x="5" y="7"/>
                  </a:lnTo>
                  <a:lnTo>
                    <a:pt x="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62" name="Freeform 243">
              <a:extLst>
                <a:ext uri="{FF2B5EF4-FFF2-40B4-BE49-F238E27FC236}">
                  <a16:creationId xmlns:a16="http://schemas.microsoft.com/office/drawing/2014/main" id="{B19E7116-4FD8-4DC4-ABD2-BD052B996626}"/>
                </a:ext>
              </a:extLst>
            </p:cNvPr>
            <p:cNvSpPr>
              <a:spLocks/>
            </p:cNvSpPr>
            <p:nvPr/>
          </p:nvSpPr>
          <p:spPr bwMode="gray">
            <a:xfrm>
              <a:off x="-1158" y="369"/>
              <a:ext cx="7" cy="9"/>
            </a:xfrm>
            <a:custGeom>
              <a:avLst/>
              <a:gdLst>
                <a:gd name="T0" fmla="*/ 5 w 7"/>
                <a:gd name="T1" fmla="*/ 0 h 9"/>
                <a:gd name="T2" fmla="*/ 5 w 7"/>
                <a:gd name="T3" fmla="*/ 0 h 9"/>
                <a:gd name="T4" fmla="*/ 2 w 7"/>
                <a:gd name="T5" fmla="*/ 0 h 9"/>
                <a:gd name="T6" fmla="*/ 0 w 7"/>
                <a:gd name="T7" fmla="*/ 2 h 9"/>
                <a:gd name="T8" fmla="*/ 0 w 7"/>
                <a:gd name="T9" fmla="*/ 5 h 9"/>
                <a:gd name="T10" fmla="*/ 2 w 7"/>
                <a:gd name="T11" fmla="*/ 9 h 9"/>
                <a:gd name="T12" fmla="*/ 5 w 7"/>
                <a:gd name="T13" fmla="*/ 7 h 9"/>
                <a:gd name="T14" fmla="*/ 7 w 7"/>
                <a:gd name="T15" fmla="*/ 2 h 9"/>
                <a:gd name="T16" fmla="*/ 5 w 7"/>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5" y="0"/>
                  </a:moveTo>
                  <a:lnTo>
                    <a:pt x="5" y="0"/>
                  </a:lnTo>
                  <a:lnTo>
                    <a:pt x="2" y="0"/>
                  </a:lnTo>
                  <a:lnTo>
                    <a:pt x="0" y="2"/>
                  </a:lnTo>
                  <a:lnTo>
                    <a:pt x="0" y="5"/>
                  </a:lnTo>
                  <a:lnTo>
                    <a:pt x="2" y="9"/>
                  </a:lnTo>
                  <a:lnTo>
                    <a:pt x="5" y="7"/>
                  </a:lnTo>
                  <a:lnTo>
                    <a:pt x="7" y="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63" name="Freeform 244">
              <a:extLst>
                <a:ext uri="{FF2B5EF4-FFF2-40B4-BE49-F238E27FC236}">
                  <a16:creationId xmlns:a16="http://schemas.microsoft.com/office/drawing/2014/main" id="{0A4AE3FC-EF63-4D14-A232-45DEA2FEB708}"/>
                </a:ext>
              </a:extLst>
            </p:cNvPr>
            <p:cNvSpPr>
              <a:spLocks/>
            </p:cNvSpPr>
            <p:nvPr/>
          </p:nvSpPr>
          <p:spPr bwMode="gray">
            <a:xfrm>
              <a:off x="-1144" y="362"/>
              <a:ext cx="38" cy="45"/>
            </a:xfrm>
            <a:custGeom>
              <a:avLst/>
              <a:gdLst>
                <a:gd name="T0" fmla="*/ 2 w 38"/>
                <a:gd name="T1" fmla="*/ 9 h 45"/>
                <a:gd name="T2" fmla="*/ 0 w 38"/>
                <a:gd name="T3" fmla="*/ 16 h 45"/>
                <a:gd name="T4" fmla="*/ 14 w 38"/>
                <a:gd name="T5" fmla="*/ 21 h 45"/>
                <a:gd name="T6" fmla="*/ 7 w 38"/>
                <a:gd name="T7" fmla="*/ 23 h 45"/>
                <a:gd name="T8" fmla="*/ 2 w 38"/>
                <a:gd name="T9" fmla="*/ 26 h 45"/>
                <a:gd name="T10" fmla="*/ 2 w 38"/>
                <a:gd name="T11" fmla="*/ 26 h 45"/>
                <a:gd name="T12" fmla="*/ 5 w 38"/>
                <a:gd name="T13" fmla="*/ 28 h 45"/>
                <a:gd name="T14" fmla="*/ 5 w 38"/>
                <a:gd name="T15" fmla="*/ 30 h 45"/>
                <a:gd name="T16" fmla="*/ 5 w 38"/>
                <a:gd name="T17" fmla="*/ 35 h 45"/>
                <a:gd name="T18" fmla="*/ 5 w 38"/>
                <a:gd name="T19" fmla="*/ 38 h 45"/>
                <a:gd name="T20" fmla="*/ 5 w 38"/>
                <a:gd name="T21" fmla="*/ 42 h 45"/>
                <a:gd name="T22" fmla="*/ 10 w 38"/>
                <a:gd name="T23" fmla="*/ 38 h 45"/>
                <a:gd name="T24" fmla="*/ 12 w 38"/>
                <a:gd name="T25" fmla="*/ 35 h 45"/>
                <a:gd name="T26" fmla="*/ 12 w 38"/>
                <a:gd name="T27" fmla="*/ 38 h 45"/>
                <a:gd name="T28" fmla="*/ 12 w 38"/>
                <a:gd name="T29" fmla="*/ 40 h 45"/>
                <a:gd name="T30" fmla="*/ 14 w 38"/>
                <a:gd name="T31" fmla="*/ 40 h 45"/>
                <a:gd name="T32" fmla="*/ 14 w 38"/>
                <a:gd name="T33" fmla="*/ 45 h 45"/>
                <a:gd name="T34" fmla="*/ 14 w 38"/>
                <a:gd name="T35" fmla="*/ 42 h 45"/>
                <a:gd name="T36" fmla="*/ 14 w 38"/>
                <a:gd name="T37" fmla="*/ 42 h 45"/>
                <a:gd name="T38" fmla="*/ 17 w 38"/>
                <a:gd name="T39" fmla="*/ 38 h 45"/>
                <a:gd name="T40" fmla="*/ 19 w 38"/>
                <a:gd name="T41" fmla="*/ 42 h 45"/>
                <a:gd name="T42" fmla="*/ 21 w 38"/>
                <a:gd name="T43" fmla="*/ 40 h 45"/>
                <a:gd name="T44" fmla="*/ 21 w 38"/>
                <a:gd name="T45" fmla="*/ 40 h 45"/>
                <a:gd name="T46" fmla="*/ 24 w 38"/>
                <a:gd name="T47" fmla="*/ 38 h 45"/>
                <a:gd name="T48" fmla="*/ 24 w 38"/>
                <a:gd name="T49" fmla="*/ 35 h 45"/>
                <a:gd name="T50" fmla="*/ 21 w 38"/>
                <a:gd name="T51" fmla="*/ 35 h 45"/>
                <a:gd name="T52" fmla="*/ 31 w 38"/>
                <a:gd name="T53" fmla="*/ 26 h 45"/>
                <a:gd name="T54" fmla="*/ 28 w 38"/>
                <a:gd name="T55" fmla="*/ 21 h 45"/>
                <a:gd name="T56" fmla="*/ 28 w 38"/>
                <a:gd name="T57" fmla="*/ 19 h 45"/>
                <a:gd name="T58" fmla="*/ 28 w 38"/>
                <a:gd name="T59" fmla="*/ 19 h 45"/>
                <a:gd name="T60" fmla="*/ 28 w 38"/>
                <a:gd name="T61" fmla="*/ 19 h 45"/>
                <a:gd name="T62" fmla="*/ 28 w 38"/>
                <a:gd name="T63" fmla="*/ 16 h 45"/>
                <a:gd name="T64" fmla="*/ 31 w 38"/>
                <a:gd name="T65" fmla="*/ 14 h 45"/>
                <a:gd name="T66" fmla="*/ 33 w 38"/>
                <a:gd name="T67" fmla="*/ 12 h 45"/>
                <a:gd name="T68" fmla="*/ 33 w 38"/>
                <a:gd name="T69" fmla="*/ 7 h 45"/>
                <a:gd name="T70" fmla="*/ 35 w 38"/>
                <a:gd name="T71" fmla="*/ 5 h 45"/>
                <a:gd name="T72" fmla="*/ 38 w 38"/>
                <a:gd name="T73" fmla="*/ 0 h 45"/>
                <a:gd name="T74" fmla="*/ 33 w 38"/>
                <a:gd name="T75" fmla="*/ 2 h 45"/>
                <a:gd name="T76" fmla="*/ 31 w 38"/>
                <a:gd name="T77" fmla="*/ 7 h 45"/>
                <a:gd name="T78" fmla="*/ 14 w 38"/>
                <a:gd name="T79" fmla="*/ 12 h 45"/>
                <a:gd name="T80" fmla="*/ 12 w 38"/>
                <a:gd name="T81" fmla="*/ 14 h 45"/>
                <a:gd name="T82" fmla="*/ 2 w 38"/>
                <a:gd name="T83" fmla="*/ 14 h 45"/>
                <a:gd name="T84" fmla="*/ 5 w 38"/>
                <a:gd name="T85" fmla="*/ 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 h="45">
                  <a:moveTo>
                    <a:pt x="5" y="9"/>
                  </a:moveTo>
                  <a:lnTo>
                    <a:pt x="2" y="9"/>
                  </a:lnTo>
                  <a:lnTo>
                    <a:pt x="2" y="14"/>
                  </a:lnTo>
                  <a:lnTo>
                    <a:pt x="0" y="16"/>
                  </a:lnTo>
                  <a:lnTo>
                    <a:pt x="0" y="21"/>
                  </a:lnTo>
                  <a:lnTo>
                    <a:pt x="14" y="21"/>
                  </a:lnTo>
                  <a:lnTo>
                    <a:pt x="14" y="23"/>
                  </a:lnTo>
                  <a:lnTo>
                    <a:pt x="7" y="23"/>
                  </a:lnTo>
                  <a:lnTo>
                    <a:pt x="5" y="23"/>
                  </a:lnTo>
                  <a:lnTo>
                    <a:pt x="2" y="26"/>
                  </a:lnTo>
                  <a:lnTo>
                    <a:pt x="0" y="26"/>
                  </a:lnTo>
                  <a:lnTo>
                    <a:pt x="2" y="26"/>
                  </a:lnTo>
                  <a:lnTo>
                    <a:pt x="2" y="28"/>
                  </a:lnTo>
                  <a:lnTo>
                    <a:pt x="5" y="28"/>
                  </a:lnTo>
                  <a:lnTo>
                    <a:pt x="5" y="30"/>
                  </a:lnTo>
                  <a:lnTo>
                    <a:pt x="5" y="30"/>
                  </a:lnTo>
                  <a:lnTo>
                    <a:pt x="5" y="33"/>
                  </a:lnTo>
                  <a:lnTo>
                    <a:pt x="5" y="35"/>
                  </a:lnTo>
                  <a:lnTo>
                    <a:pt x="5" y="38"/>
                  </a:lnTo>
                  <a:lnTo>
                    <a:pt x="5" y="38"/>
                  </a:lnTo>
                  <a:lnTo>
                    <a:pt x="5" y="42"/>
                  </a:lnTo>
                  <a:lnTo>
                    <a:pt x="5" y="42"/>
                  </a:lnTo>
                  <a:lnTo>
                    <a:pt x="7" y="40"/>
                  </a:lnTo>
                  <a:lnTo>
                    <a:pt x="10" y="38"/>
                  </a:lnTo>
                  <a:lnTo>
                    <a:pt x="12" y="35"/>
                  </a:lnTo>
                  <a:lnTo>
                    <a:pt x="12" y="35"/>
                  </a:lnTo>
                  <a:lnTo>
                    <a:pt x="12" y="38"/>
                  </a:lnTo>
                  <a:lnTo>
                    <a:pt x="12" y="38"/>
                  </a:lnTo>
                  <a:lnTo>
                    <a:pt x="12" y="40"/>
                  </a:lnTo>
                  <a:lnTo>
                    <a:pt x="12" y="40"/>
                  </a:lnTo>
                  <a:lnTo>
                    <a:pt x="12" y="40"/>
                  </a:lnTo>
                  <a:lnTo>
                    <a:pt x="14" y="40"/>
                  </a:lnTo>
                  <a:lnTo>
                    <a:pt x="14" y="42"/>
                  </a:lnTo>
                  <a:lnTo>
                    <a:pt x="14" y="45"/>
                  </a:lnTo>
                  <a:lnTo>
                    <a:pt x="14" y="45"/>
                  </a:lnTo>
                  <a:lnTo>
                    <a:pt x="14" y="42"/>
                  </a:lnTo>
                  <a:lnTo>
                    <a:pt x="14" y="42"/>
                  </a:lnTo>
                  <a:lnTo>
                    <a:pt x="14" y="42"/>
                  </a:lnTo>
                  <a:lnTo>
                    <a:pt x="17" y="38"/>
                  </a:lnTo>
                  <a:lnTo>
                    <a:pt x="17" y="38"/>
                  </a:lnTo>
                  <a:lnTo>
                    <a:pt x="19" y="40"/>
                  </a:lnTo>
                  <a:lnTo>
                    <a:pt x="19" y="42"/>
                  </a:lnTo>
                  <a:lnTo>
                    <a:pt x="19" y="40"/>
                  </a:lnTo>
                  <a:lnTo>
                    <a:pt x="21" y="40"/>
                  </a:lnTo>
                  <a:lnTo>
                    <a:pt x="21" y="40"/>
                  </a:lnTo>
                  <a:lnTo>
                    <a:pt x="21" y="40"/>
                  </a:lnTo>
                  <a:lnTo>
                    <a:pt x="24" y="38"/>
                  </a:lnTo>
                  <a:lnTo>
                    <a:pt x="24" y="38"/>
                  </a:lnTo>
                  <a:lnTo>
                    <a:pt x="24" y="35"/>
                  </a:lnTo>
                  <a:lnTo>
                    <a:pt x="24" y="35"/>
                  </a:lnTo>
                  <a:lnTo>
                    <a:pt x="21" y="35"/>
                  </a:lnTo>
                  <a:lnTo>
                    <a:pt x="21" y="35"/>
                  </a:lnTo>
                  <a:lnTo>
                    <a:pt x="28" y="30"/>
                  </a:lnTo>
                  <a:lnTo>
                    <a:pt x="31" y="26"/>
                  </a:lnTo>
                  <a:lnTo>
                    <a:pt x="28" y="21"/>
                  </a:lnTo>
                  <a:lnTo>
                    <a:pt x="28" y="21"/>
                  </a:lnTo>
                  <a:lnTo>
                    <a:pt x="31" y="19"/>
                  </a:lnTo>
                  <a:lnTo>
                    <a:pt x="28" y="19"/>
                  </a:lnTo>
                  <a:lnTo>
                    <a:pt x="28" y="19"/>
                  </a:lnTo>
                  <a:lnTo>
                    <a:pt x="28" y="19"/>
                  </a:lnTo>
                  <a:lnTo>
                    <a:pt x="28" y="19"/>
                  </a:lnTo>
                  <a:lnTo>
                    <a:pt x="28" y="19"/>
                  </a:lnTo>
                  <a:lnTo>
                    <a:pt x="31" y="16"/>
                  </a:lnTo>
                  <a:lnTo>
                    <a:pt x="28" y="16"/>
                  </a:lnTo>
                  <a:lnTo>
                    <a:pt x="28" y="14"/>
                  </a:lnTo>
                  <a:lnTo>
                    <a:pt x="31" y="14"/>
                  </a:lnTo>
                  <a:lnTo>
                    <a:pt x="31" y="12"/>
                  </a:lnTo>
                  <a:lnTo>
                    <a:pt x="33" y="12"/>
                  </a:lnTo>
                  <a:lnTo>
                    <a:pt x="33" y="9"/>
                  </a:lnTo>
                  <a:lnTo>
                    <a:pt x="33" y="7"/>
                  </a:lnTo>
                  <a:lnTo>
                    <a:pt x="35" y="7"/>
                  </a:lnTo>
                  <a:lnTo>
                    <a:pt x="35" y="5"/>
                  </a:lnTo>
                  <a:lnTo>
                    <a:pt x="38" y="2"/>
                  </a:lnTo>
                  <a:lnTo>
                    <a:pt x="38" y="0"/>
                  </a:lnTo>
                  <a:lnTo>
                    <a:pt x="35" y="0"/>
                  </a:lnTo>
                  <a:lnTo>
                    <a:pt x="33" y="2"/>
                  </a:lnTo>
                  <a:lnTo>
                    <a:pt x="31" y="5"/>
                  </a:lnTo>
                  <a:lnTo>
                    <a:pt x="31" y="7"/>
                  </a:lnTo>
                  <a:lnTo>
                    <a:pt x="28" y="9"/>
                  </a:lnTo>
                  <a:lnTo>
                    <a:pt x="14" y="12"/>
                  </a:lnTo>
                  <a:lnTo>
                    <a:pt x="14" y="12"/>
                  </a:lnTo>
                  <a:lnTo>
                    <a:pt x="12" y="14"/>
                  </a:lnTo>
                  <a:lnTo>
                    <a:pt x="5" y="16"/>
                  </a:lnTo>
                  <a:lnTo>
                    <a:pt x="2" y="14"/>
                  </a:lnTo>
                  <a:lnTo>
                    <a:pt x="2" y="14"/>
                  </a:lnTo>
                  <a:lnTo>
                    <a:pt x="5"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64" name="Freeform 245">
              <a:extLst>
                <a:ext uri="{FF2B5EF4-FFF2-40B4-BE49-F238E27FC236}">
                  <a16:creationId xmlns:a16="http://schemas.microsoft.com/office/drawing/2014/main" id="{ACF45506-99A6-4DB7-9864-0C2F52B9994F}"/>
                </a:ext>
              </a:extLst>
            </p:cNvPr>
            <p:cNvSpPr>
              <a:spLocks/>
            </p:cNvSpPr>
            <p:nvPr/>
          </p:nvSpPr>
          <p:spPr bwMode="gray">
            <a:xfrm>
              <a:off x="-1144" y="421"/>
              <a:ext cx="7" cy="4"/>
            </a:xfrm>
            <a:custGeom>
              <a:avLst/>
              <a:gdLst>
                <a:gd name="T0" fmla="*/ 2 w 7"/>
                <a:gd name="T1" fmla="*/ 2 h 4"/>
                <a:gd name="T2" fmla="*/ 7 w 7"/>
                <a:gd name="T3" fmla="*/ 2 h 4"/>
                <a:gd name="T4" fmla="*/ 7 w 7"/>
                <a:gd name="T5" fmla="*/ 0 h 4"/>
                <a:gd name="T6" fmla="*/ 7 w 7"/>
                <a:gd name="T7" fmla="*/ 0 h 4"/>
                <a:gd name="T8" fmla="*/ 5 w 7"/>
                <a:gd name="T9" fmla="*/ 0 h 4"/>
                <a:gd name="T10" fmla="*/ 5 w 7"/>
                <a:gd name="T11" fmla="*/ 0 h 4"/>
                <a:gd name="T12" fmla="*/ 2 w 7"/>
                <a:gd name="T13" fmla="*/ 0 h 4"/>
                <a:gd name="T14" fmla="*/ 2 w 7"/>
                <a:gd name="T15" fmla="*/ 2 h 4"/>
                <a:gd name="T16" fmla="*/ 0 w 7"/>
                <a:gd name="T17" fmla="*/ 2 h 4"/>
                <a:gd name="T18" fmla="*/ 0 w 7"/>
                <a:gd name="T19" fmla="*/ 2 h 4"/>
                <a:gd name="T20" fmla="*/ 0 w 7"/>
                <a:gd name="T21" fmla="*/ 2 h 4"/>
                <a:gd name="T22" fmla="*/ 0 w 7"/>
                <a:gd name="T23" fmla="*/ 2 h 4"/>
                <a:gd name="T24" fmla="*/ 0 w 7"/>
                <a:gd name="T25" fmla="*/ 4 h 4"/>
                <a:gd name="T26" fmla="*/ 2 w 7"/>
                <a:gd name="T2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4">
                  <a:moveTo>
                    <a:pt x="2" y="2"/>
                  </a:moveTo>
                  <a:lnTo>
                    <a:pt x="7" y="2"/>
                  </a:lnTo>
                  <a:lnTo>
                    <a:pt x="7" y="0"/>
                  </a:lnTo>
                  <a:lnTo>
                    <a:pt x="7" y="0"/>
                  </a:lnTo>
                  <a:lnTo>
                    <a:pt x="5" y="0"/>
                  </a:lnTo>
                  <a:lnTo>
                    <a:pt x="5" y="0"/>
                  </a:lnTo>
                  <a:lnTo>
                    <a:pt x="2" y="0"/>
                  </a:lnTo>
                  <a:lnTo>
                    <a:pt x="2" y="2"/>
                  </a:lnTo>
                  <a:lnTo>
                    <a:pt x="0" y="2"/>
                  </a:lnTo>
                  <a:lnTo>
                    <a:pt x="0" y="2"/>
                  </a:lnTo>
                  <a:lnTo>
                    <a:pt x="0" y="2"/>
                  </a:lnTo>
                  <a:lnTo>
                    <a:pt x="0" y="2"/>
                  </a:lnTo>
                  <a:lnTo>
                    <a:pt x="0" y="4"/>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65" name="Freeform 246">
              <a:extLst>
                <a:ext uri="{FF2B5EF4-FFF2-40B4-BE49-F238E27FC236}">
                  <a16:creationId xmlns:a16="http://schemas.microsoft.com/office/drawing/2014/main" id="{239DA37E-1CA5-40F8-B017-74B0670BF3D7}"/>
                </a:ext>
              </a:extLst>
            </p:cNvPr>
            <p:cNvSpPr>
              <a:spLocks/>
            </p:cNvSpPr>
            <p:nvPr/>
          </p:nvSpPr>
          <p:spPr bwMode="gray">
            <a:xfrm>
              <a:off x="-1113" y="385"/>
              <a:ext cx="7" cy="7"/>
            </a:xfrm>
            <a:custGeom>
              <a:avLst/>
              <a:gdLst>
                <a:gd name="T0" fmla="*/ 7 w 7"/>
                <a:gd name="T1" fmla="*/ 3 h 7"/>
                <a:gd name="T2" fmla="*/ 7 w 7"/>
                <a:gd name="T3" fmla="*/ 0 h 7"/>
                <a:gd name="T4" fmla="*/ 4 w 7"/>
                <a:gd name="T5" fmla="*/ 0 h 7"/>
                <a:gd name="T6" fmla="*/ 2 w 7"/>
                <a:gd name="T7" fmla="*/ 3 h 7"/>
                <a:gd name="T8" fmla="*/ 2 w 7"/>
                <a:gd name="T9" fmla="*/ 3 h 7"/>
                <a:gd name="T10" fmla="*/ 2 w 7"/>
                <a:gd name="T11" fmla="*/ 3 h 7"/>
                <a:gd name="T12" fmla="*/ 0 w 7"/>
                <a:gd name="T13" fmla="*/ 5 h 7"/>
                <a:gd name="T14" fmla="*/ 0 w 7"/>
                <a:gd name="T15" fmla="*/ 5 h 7"/>
                <a:gd name="T16" fmla="*/ 0 w 7"/>
                <a:gd name="T17" fmla="*/ 7 h 7"/>
                <a:gd name="T18" fmla="*/ 0 w 7"/>
                <a:gd name="T19" fmla="*/ 7 h 7"/>
                <a:gd name="T20" fmla="*/ 0 w 7"/>
                <a:gd name="T21" fmla="*/ 7 h 7"/>
                <a:gd name="T22" fmla="*/ 2 w 7"/>
                <a:gd name="T23" fmla="*/ 7 h 7"/>
                <a:gd name="T24" fmla="*/ 2 w 7"/>
                <a:gd name="T25" fmla="*/ 7 h 7"/>
                <a:gd name="T26" fmla="*/ 4 w 7"/>
                <a:gd name="T27" fmla="*/ 7 h 7"/>
                <a:gd name="T28" fmla="*/ 4 w 7"/>
                <a:gd name="T29" fmla="*/ 5 h 7"/>
                <a:gd name="T30" fmla="*/ 4 w 7"/>
                <a:gd name="T31" fmla="*/ 5 h 7"/>
                <a:gd name="T32" fmla="*/ 4 w 7"/>
                <a:gd name="T33" fmla="*/ 7 h 7"/>
                <a:gd name="T34" fmla="*/ 7 w 7"/>
                <a:gd name="T35" fmla="*/ 7 h 7"/>
                <a:gd name="T36" fmla="*/ 7 w 7"/>
                <a:gd name="T37" fmla="*/ 7 h 7"/>
                <a:gd name="T38" fmla="*/ 7 w 7"/>
                <a:gd name="T39" fmla="*/ 5 h 7"/>
                <a:gd name="T40" fmla="*/ 7 w 7"/>
                <a:gd name="T41" fmla="*/ 5 h 7"/>
                <a:gd name="T42" fmla="*/ 7 w 7"/>
                <a:gd name="T43" fmla="*/ 3 h 7"/>
                <a:gd name="T44" fmla="*/ 7 w 7"/>
                <a:gd name="T45" fmla="*/ 3 h 7"/>
                <a:gd name="T46" fmla="*/ 7 w 7"/>
                <a:gd name="T4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 h="7">
                  <a:moveTo>
                    <a:pt x="7" y="3"/>
                  </a:moveTo>
                  <a:lnTo>
                    <a:pt x="7" y="0"/>
                  </a:lnTo>
                  <a:lnTo>
                    <a:pt x="4" y="0"/>
                  </a:lnTo>
                  <a:lnTo>
                    <a:pt x="2" y="3"/>
                  </a:lnTo>
                  <a:lnTo>
                    <a:pt x="2" y="3"/>
                  </a:lnTo>
                  <a:lnTo>
                    <a:pt x="2" y="3"/>
                  </a:lnTo>
                  <a:lnTo>
                    <a:pt x="0" y="5"/>
                  </a:lnTo>
                  <a:lnTo>
                    <a:pt x="0" y="5"/>
                  </a:lnTo>
                  <a:lnTo>
                    <a:pt x="0" y="7"/>
                  </a:lnTo>
                  <a:lnTo>
                    <a:pt x="0" y="7"/>
                  </a:lnTo>
                  <a:lnTo>
                    <a:pt x="0" y="7"/>
                  </a:lnTo>
                  <a:lnTo>
                    <a:pt x="2" y="7"/>
                  </a:lnTo>
                  <a:lnTo>
                    <a:pt x="2" y="7"/>
                  </a:lnTo>
                  <a:lnTo>
                    <a:pt x="4" y="7"/>
                  </a:lnTo>
                  <a:lnTo>
                    <a:pt x="4" y="5"/>
                  </a:lnTo>
                  <a:lnTo>
                    <a:pt x="4" y="5"/>
                  </a:lnTo>
                  <a:lnTo>
                    <a:pt x="4" y="7"/>
                  </a:lnTo>
                  <a:lnTo>
                    <a:pt x="7" y="7"/>
                  </a:lnTo>
                  <a:lnTo>
                    <a:pt x="7" y="7"/>
                  </a:lnTo>
                  <a:lnTo>
                    <a:pt x="7" y="5"/>
                  </a:lnTo>
                  <a:lnTo>
                    <a:pt x="7" y="5"/>
                  </a:lnTo>
                  <a:lnTo>
                    <a:pt x="7" y="3"/>
                  </a:lnTo>
                  <a:lnTo>
                    <a:pt x="7" y="3"/>
                  </a:lnTo>
                  <a:lnTo>
                    <a:pt x="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66" name="Freeform 247">
              <a:extLst>
                <a:ext uri="{FF2B5EF4-FFF2-40B4-BE49-F238E27FC236}">
                  <a16:creationId xmlns:a16="http://schemas.microsoft.com/office/drawing/2014/main" id="{3EAB38F3-8518-4252-94C2-E922297AE89B}"/>
                </a:ext>
              </a:extLst>
            </p:cNvPr>
            <p:cNvSpPr>
              <a:spLocks/>
            </p:cNvSpPr>
            <p:nvPr/>
          </p:nvSpPr>
          <p:spPr bwMode="gray">
            <a:xfrm>
              <a:off x="-1045" y="407"/>
              <a:ext cx="7" cy="4"/>
            </a:xfrm>
            <a:custGeom>
              <a:avLst/>
              <a:gdLst>
                <a:gd name="T0" fmla="*/ 5 w 7"/>
                <a:gd name="T1" fmla="*/ 4 h 4"/>
                <a:gd name="T2" fmla="*/ 5 w 7"/>
                <a:gd name="T3" fmla="*/ 4 h 4"/>
                <a:gd name="T4" fmla="*/ 5 w 7"/>
                <a:gd name="T5" fmla="*/ 2 h 4"/>
                <a:gd name="T6" fmla="*/ 5 w 7"/>
                <a:gd name="T7" fmla="*/ 2 h 4"/>
                <a:gd name="T8" fmla="*/ 7 w 7"/>
                <a:gd name="T9" fmla="*/ 2 h 4"/>
                <a:gd name="T10" fmla="*/ 7 w 7"/>
                <a:gd name="T11" fmla="*/ 2 h 4"/>
                <a:gd name="T12" fmla="*/ 7 w 7"/>
                <a:gd name="T13" fmla="*/ 2 h 4"/>
                <a:gd name="T14" fmla="*/ 5 w 7"/>
                <a:gd name="T15" fmla="*/ 0 h 4"/>
                <a:gd name="T16" fmla="*/ 5 w 7"/>
                <a:gd name="T17" fmla="*/ 0 h 4"/>
                <a:gd name="T18" fmla="*/ 3 w 7"/>
                <a:gd name="T19" fmla="*/ 0 h 4"/>
                <a:gd name="T20" fmla="*/ 3 w 7"/>
                <a:gd name="T21" fmla="*/ 2 h 4"/>
                <a:gd name="T22" fmla="*/ 0 w 7"/>
                <a:gd name="T23" fmla="*/ 2 h 4"/>
                <a:gd name="T24" fmla="*/ 3 w 7"/>
                <a:gd name="T25" fmla="*/ 2 h 4"/>
                <a:gd name="T26" fmla="*/ 3 w 7"/>
                <a:gd name="T27" fmla="*/ 4 h 4"/>
                <a:gd name="T28" fmla="*/ 5 w 7"/>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4">
                  <a:moveTo>
                    <a:pt x="5" y="4"/>
                  </a:moveTo>
                  <a:lnTo>
                    <a:pt x="5" y="4"/>
                  </a:lnTo>
                  <a:lnTo>
                    <a:pt x="5" y="2"/>
                  </a:lnTo>
                  <a:lnTo>
                    <a:pt x="5" y="2"/>
                  </a:lnTo>
                  <a:lnTo>
                    <a:pt x="7" y="2"/>
                  </a:lnTo>
                  <a:lnTo>
                    <a:pt x="7" y="2"/>
                  </a:lnTo>
                  <a:lnTo>
                    <a:pt x="7" y="2"/>
                  </a:lnTo>
                  <a:lnTo>
                    <a:pt x="5" y="0"/>
                  </a:lnTo>
                  <a:lnTo>
                    <a:pt x="5" y="0"/>
                  </a:lnTo>
                  <a:lnTo>
                    <a:pt x="3" y="0"/>
                  </a:lnTo>
                  <a:lnTo>
                    <a:pt x="3" y="2"/>
                  </a:lnTo>
                  <a:lnTo>
                    <a:pt x="0" y="2"/>
                  </a:lnTo>
                  <a:lnTo>
                    <a:pt x="3" y="2"/>
                  </a:lnTo>
                  <a:lnTo>
                    <a:pt x="3" y="4"/>
                  </a:ln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67" name="Freeform 248">
              <a:extLst>
                <a:ext uri="{FF2B5EF4-FFF2-40B4-BE49-F238E27FC236}">
                  <a16:creationId xmlns:a16="http://schemas.microsoft.com/office/drawing/2014/main" id="{6A8E9506-71C4-423D-853F-62F8F6E9A6EB}"/>
                </a:ext>
              </a:extLst>
            </p:cNvPr>
            <p:cNvSpPr>
              <a:spLocks/>
            </p:cNvSpPr>
            <p:nvPr/>
          </p:nvSpPr>
          <p:spPr bwMode="gray">
            <a:xfrm>
              <a:off x="-1153" y="374"/>
              <a:ext cx="7" cy="9"/>
            </a:xfrm>
            <a:custGeom>
              <a:avLst/>
              <a:gdLst>
                <a:gd name="T0" fmla="*/ 4 w 7"/>
                <a:gd name="T1" fmla="*/ 7 h 9"/>
                <a:gd name="T2" fmla="*/ 7 w 7"/>
                <a:gd name="T3" fmla="*/ 4 h 9"/>
                <a:gd name="T4" fmla="*/ 7 w 7"/>
                <a:gd name="T5" fmla="*/ 2 h 9"/>
                <a:gd name="T6" fmla="*/ 7 w 7"/>
                <a:gd name="T7" fmla="*/ 0 h 9"/>
                <a:gd name="T8" fmla="*/ 2 w 7"/>
                <a:gd name="T9" fmla="*/ 2 h 9"/>
                <a:gd name="T10" fmla="*/ 2 w 7"/>
                <a:gd name="T11" fmla="*/ 2 h 9"/>
                <a:gd name="T12" fmla="*/ 2 w 7"/>
                <a:gd name="T13" fmla="*/ 4 h 9"/>
                <a:gd name="T14" fmla="*/ 2 w 7"/>
                <a:gd name="T15" fmla="*/ 4 h 9"/>
                <a:gd name="T16" fmla="*/ 2 w 7"/>
                <a:gd name="T17" fmla="*/ 4 h 9"/>
                <a:gd name="T18" fmla="*/ 2 w 7"/>
                <a:gd name="T19" fmla="*/ 4 h 9"/>
                <a:gd name="T20" fmla="*/ 0 w 7"/>
                <a:gd name="T21" fmla="*/ 7 h 9"/>
                <a:gd name="T22" fmla="*/ 0 w 7"/>
                <a:gd name="T23" fmla="*/ 7 h 9"/>
                <a:gd name="T24" fmla="*/ 0 w 7"/>
                <a:gd name="T25" fmla="*/ 9 h 9"/>
                <a:gd name="T26" fmla="*/ 0 w 7"/>
                <a:gd name="T27" fmla="*/ 9 h 9"/>
                <a:gd name="T28" fmla="*/ 2 w 7"/>
                <a:gd name="T29" fmla="*/ 9 h 9"/>
                <a:gd name="T30" fmla="*/ 2 w 7"/>
                <a:gd name="T31" fmla="*/ 9 h 9"/>
                <a:gd name="T32" fmla="*/ 4 w 7"/>
                <a:gd name="T33" fmla="*/ 9 h 9"/>
                <a:gd name="T34" fmla="*/ 4 w 7"/>
                <a:gd name="T35" fmla="*/ 7 h 9"/>
                <a:gd name="T36" fmla="*/ 2 w 7"/>
                <a:gd name="T37" fmla="*/ 7 h 9"/>
                <a:gd name="T38" fmla="*/ 2 w 7"/>
                <a:gd name="T39" fmla="*/ 7 h 9"/>
                <a:gd name="T40" fmla="*/ 4 w 7"/>
                <a:gd name="T4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9">
                  <a:moveTo>
                    <a:pt x="4" y="7"/>
                  </a:moveTo>
                  <a:lnTo>
                    <a:pt x="7" y="4"/>
                  </a:lnTo>
                  <a:lnTo>
                    <a:pt x="7" y="2"/>
                  </a:lnTo>
                  <a:lnTo>
                    <a:pt x="7" y="0"/>
                  </a:lnTo>
                  <a:lnTo>
                    <a:pt x="2" y="2"/>
                  </a:lnTo>
                  <a:lnTo>
                    <a:pt x="2" y="2"/>
                  </a:lnTo>
                  <a:lnTo>
                    <a:pt x="2" y="4"/>
                  </a:lnTo>
                  <a:lnTo>
                    <a:pt x="2" y="4"/>
                  </a:lnTo>
                  <a:lnTo>
                    <a:pt x="2" y="4"/>
                  </a:lnTo>
                  <a:lnTo>
                    <a:pt x="2" y="4"/>
                  </a:lnTo>
                  <a:lnTo>
                    <a:pt x="0" y="7"/>
                  </a:lnTo>
                  <a:lnTo>
                    <a:pt x="0" y="7"/>
                  </a:lnTo>
                  <a:lnTo>
                    <a:pt x="0" y="9"/>
                  </a:lnTo>
                  <a:lnTo>
                    <a:pt x="0" y="9"/>
                  </a:lnTo>
                  <a:lnTo>
                    <a:pt x="2" y="9"/>
                  </a:lnTo>
                  <a:lnTo>
                    <a:pt x="2" y="9"/>
                  </a:lnTo>
                  <a:lnTo>
                    <a:pt x="4" y="9"/>
                  </a:lnTo>
                  <a:lnTo>
                    <a:pt x="4" y="7"/>
                  </a:lnTo>
                  <a:lnTo>
                    <a:pt x="2" y="7"/>
                  </a:lnTo>
                  <a:lnTo>
                    <a:pt x="2" y="7"/>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68" name="Freeform 249">
              <a:extLst>
                <a:ext uri="{FF2B5EF4-FFF2-40B4-BE49-F238E27FC236}">
                  <a16:creationId xmlns:a16="http://schemas.microsoft.com/office/drawing/2014/main" id="{D3DAEAD9-D112-45FB-8E9D-6331D30A34F3}"/>
                </a:ext>
              </a:extLst>
            </p:cNvPr>
            <p:cNvSpPr>
              <a:spLocks/>
            </p:cNvSpPr>
            <p:nvPr/>
          </p:nvSpPr>
          <p:spPr bwMode="gray">
            <a:xfrm>
              <a:off x="-1113" y="392"/>
              <a:ext cx="4" cy="10"/>
            </a:xfrm>
            <a:custGeom>
              <a:avLst/>
              <a:gdLst>
                <a:gd name="T0" fmla="*/ 0 w 4"/>
                <a:gd name="T1" fmla="*/ 5 h 10"/>
                <a:gd name="T2" fmla="*/ 0 w 4"/>
                <a:gd name="T3" fmla="*/ 8 h 10"/>
                <a:gd name="T4" fmla="*/ 0 w 4"/>
                <a:gd name="T5" fmla="*/ 10 h 10"/>
                <a:gd name="T6" fmla="*/ 2 w 4"/>
                <a:gd name="T7" fmla="*/ 10 h 10"/>
                <a:gd name="T8" fmla="*/ 2 w 4"/>
                <a:gd name="T9" fmla="*/ 10 h 10"/>
                <a:gd name="T10" fmla="*/ 2 w 4"/>
                <a:gd name="T11" fmla="*/ 8 h 10"/>
                <a:gd name="T12" fmla="*/ 2 w 4"/>
                <a:gd name="T13" fmla="*/ 8 h 10"/>
                <a:gd name="T14" fmla="*/ 2 w 4"/>
                <a:gd name="T15" fmla="*/ 5 h 10"/>
                <a:gd name="T16" fmla="*/ 4 w 4"/>
                <a:gd name="T17" fmla="*/ 5 h 10"/>
                <a:gd name="T18" fmla="*/ 4 w 4"/>
                <a:gd name="T19" fmla="*/ 5 h 10"/>
                <a:gd name="T20" fmla="*/ 4 w 4"/>
                <a:gd name="T21" fmla="*/ 5 h 10"/>
                <a:gd name="T22" fmla="*/ 4 w 4"/>
                <a:gd name="T23" fmla="*/ 3 h 10"/>
                <a:gd name="T24" fmla="*/ 4 w 4"/>
                <a:gd name="T25" fmla="*/ 3 h 10"/>
                <a:gd name="T26" fmla="*/ 4 w 4"/>
                <a:gd name="T27" fmla="*/ 0 h 10"/>
                <a:gd name="T28" fmla="*/ 2 w 4"/>
                <a:gd name="T29" fmla="*/ 3 h 10"/>
                <a:gd name="T30" fmla="*/ 0 w 4"/>
                <a:gd name="T31" fmla="*/ 3 h 10"/>
                <a:gd name="T32" fmla="*/ 0 w 4"/>
                <a:gd name="T33" fmla="*/ 3 h 10"/>
                <a:gd name="T34" fmla="*/ 0 w 4"/>
                <a:gd name="T35" fmla="*/ 5 h 10"/>
                <a:gd name="T36" fmla="*/ 2 w 4"/>
                <a:gd name="T37" fmla="*/ 5 h 10"/>
                <a:gd name="T38" fmla="*/ 2 w 4"/>
                <a:gd name="T39" fmla="*/ 5 h 10"/>
                <a:gd name="T40" fmla="*/ 2 w 4"/>
                <a:gd name="T41" fmla="*/ 5 h 10"/>
                <a:gd name="T42" fmla="*/ 0 w 4"/>
                <a:gd name="T43"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10">
                  <a:moveTo>
                    <a:pt x="0" y="5"/>
                  </a:moveTo>
                  <a:lnTo>
                    <a:pt x="0" y="8"/>
                  </a:lnTo>
                  <a:lnTo>
                    <a:pt x="0" y="10"/>
                  </a:lnTo>
                  <a:lnTo>
                    <a:pt x="2" y="10"/>
                  </a:lnTo>
                  <a:lnTo>
                    <a:pt x="2" y="10"/>
                  </a:lnTo>
                  <a:lnTo>
                    <a:pt x="2" y="8"/>
                  </a:lnTo>
                  <a:lnTo>
                    <a:pt x="2" y="8"/>
                  </a:lnTo>
                  <a:lnTo>
                    <a:pt x="2" y="5"/>
                  </a:lnTo>
                  <a:lnTo>
                    <a:pt x="4" y="5"/>
                  </a:lnTo>
                  <a:lnTo>
                    <a:pt x="4" y="5"/>
                  </a:lnTo>
                  <a:lnTo>
                    <a:pt x="4" y="5"/>
                  </a:lnTo>
                  <a:lnTo>
                    <a:pt x="4" y="3"/>
                  </a:lnTo>
                  <a:lnTo>
                    <a:pt x="4" y="3"/>
                  </a:lnTo>
                  <a:lnTo>
                    <a:pt x="4" y="0"/>
                  </a:lnTo>
                  <a:lnTo>
                    <a:pt x="2" y="3"/>
                  </a:lnTo>
                  <a:lnTo>
                    <a:pt x="0" y="3"/>
                  </a:lnTo>
                  <a:lnTo>
                    <a:pt x="0" y="3"/>
                  </a:lnTo>
                  <a:lnTo>
                    <a:pt x="0" y="5"/>
                  </a:lnTo>
                  <a:lnTo>
                    <a:pt x="2" y="5"/>
                  </a:lnTo>
                  <a:lnTo>
                    <a:pt x="2" y="5"/>
                  </a:lnTo>
                  <a:lnTo>
                    <a:pt x="2"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69" name="Freeform 250">
              <a:extLst>
                <a:ext uri="{FF2B5EF4-FFF2-40B4-BE49-F238E27FC236}">
                  <a16:creationId xmlns:a16="http://schemas.microsoft.com/office/drawing/2014/main" id="{3FE4ECA8-FE7E-489B-BC9E-D84A5B366DDC}"/>
                </a:ext>
              </a:extLst>
            </p:cNvPr>
            <p:cNvSpPr>
              <a:spLocks/>
            </p:cNvSpPr>
            <p:nvPr/>
          </p:nvSpPr>
          <p:spPr bwMode="gray">
            <a:xfrm>
              <a:off x="-1149" y="392"/>
              <a:ext cx="7" cy="12"/>
            </a:xfrm>
            <a:custGeom>
              <a:avLst/>
              <a:gdLst>
                <a:gd name="T0" fmla="*/ 0 w 7"/>
                <a:gd name="T1" fmla="*/ 8 h 12"/>
                <a:gd name="T2" fmla="*/ 3 w 7"/>
                <a:gd name="T3" fmla="*/ 10 h 12"/>
                <a:gd name="T4" fmla="*/ 3 w 7"/>
                <a:gd name="T5" fmla="*/ 12 h 12"/>
                <a:gd name="T6" fmla="*/ 3 w 7"/>
                <a:gd name="T7" fmla="*/ 12 h 12"/>
                <a:gd name="T8" fmla="*/ 3 w 7"/>
                <a:gd name="T9" fmla="*/ 10 h 12"/>
                <a:gd name="T10" fmla="*/ 5 w 7"/>
                <a:gd name="T11" fmla="*/ 10 h 12"/>
                <a:gd name="T12" fmla="*/ 5 w 7"/>
                <a:gd name="T13" fmla="*/ 10 h 12"/>
                <a:gd name="T14" fmla="*/ 7 w 7"/>
                <a:gd name="T15" fmla="*/ 12 h 12"/>
                <a:gd name="T16" fmla="*/ 7 w 7"/>
                <a:gd name="T17" fmla="*/ 12 h 12"/>
                <a:gd name="T18" fmla="*/ 7 w 7"/>
                <a:gd name="T19" fmla="*/ 10 h 12"/>
                <a:gd name="T20" fmla="*/ 7 w 7"/>
                <a:gd name="T21" fmla="*/ 8 h 12"/>
                <a:gd name="T22" fmla="*/ 7 w 7"/>
                <a:gd name="T23" fmla="*/ 3 h 12"/>
                <a:gd name="T24" fmla="*/ 5 w 7"/>
                <a:gd name="T25" fmla="*/ 0 h 12"/>
                <a:gd name="T26" fmla="*/ 5 w 7"/>
                <a:gd name="T27" fmla="*/ 0 h 12"/>
                <a:gd name="T28" fmla="*/ 5 w 7"/>
                <a:gd name="T29" fmla="*/ 0 h 12"/>
                <a:gd name="T30" fmla="*/ 5 w 7"/>
                <a:gd name="T31" fmla="*/ 3 h 12"/>
                <a:gd name="T32" fmla="*/ 3 w 7"/>
                <a:gd name="T33" fmla="*/ 5 h 12"/>
                <a:gd name="T34" fmla="*/ 3 w 7"/>
                <a:gd name="T35" fmla="*/ 3 h 12"/>
                <a:gd name="T36" fmla="*/ 3 w 7"/>
                <a:gd name="T37" fmla="*/ 0 h 12"/>
                <a:gd name="T38" fmla="*/ 3 w 7"/>
                <a:gd name="T39" fmla="*/ 0 h 12"/>
                <a:gd name="T40" fmla="*/ 0 w 7"/>
                <a:gd name="T41" fmla="*/ 0 h 12"/>
                <a:gd name="T42" fmla="*/ 0 w 7"/>
                <a:gd name="T43" fmla="*/ 3 h 12"/>
                <a:gd name="T44" fmla="*/ 0 w 7"/>
                <a:gd name="T45" fmla="*/ 5 h 12"/>
                <a:gd name="T46" fmla="*/ 0 w 7"/>
                <a:gd name="T47" fmla="*/ 8 h 12"/>
                <a:gd name="T48" fmla="*/ 0 w 7"/>
                <a:gd name="T4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 h="12">
                  <a:moveTo>
                    <a:pt x="0" y="8"/>
                  </a:moveTo>
                  <a:lnTo>
                    <a:pt x="3" y="10"/>
                  </a:lnTo>
                  <a:lnTo>
                    <a:pt x="3" y="12"/>
                  </a:lnTo>
                  <a:lnTo>
                    <a:pt x="3" y="12"/>
                  </a:lnTo>
                  <a:lnTo>
                    <a:pt x="3" y="10"/>
                  </a:lnTo>
                  <a:lnTo>
                    <a:pt x="5" y="10"/>
                  </a:lnTo>
                  <a:lnTo>
                    <a:pt x="5" y="10"/>
                  </a:lnTo>
                  <a:lnTo>
                    <a:pt x="7" y="12"/>
                  </a:lnTo>
                  <a:lnTo>
                    <a:pt x="7" y="12"/>
                  </a:lnTo>
                  <a:lnTo>
                    <a:pt x="7" y="10"/>
                  </a:lnTo>
                  <a:lnTo>
                    <a:pt x="7" y="8"/>
                  </a:lnTo>
                  <a:lnTo>
                    <a:pt x="7" y="3"/>
                  </a:lnTo>
                  <a:lnTo>
                    <a:pt x="5" y="0"/>
                  </a:lnTo>
                  <a:lnTo>
                    <a:pt x="5" y="0"/>
                  </a:lnTo>
                  <a:lnTo>
                    <a:pt x="5" y="0"/>
                  </a:lnTo>
                  <a:lnTo>
                    <a:pt x="5" y="3"/>
                  </a:lnTo>
                  <a:lnTo>
                    <a:pt x="3" y="5"/>
                  </a:lnTo>
                  <a:lnTo>
                    <a:pt x="3" y="3"/>
                  </a:lnTo>
                  <a:lnTo>
                    <a:pt x="3" y="0"/>
                  </a:lnTo>
                  <a:lnTo>
                    <a:pt x="3" y="0"/>
                  </a:lnTo>
                  <a:lnTo>
                    <a:pt x="0" y="0"/>
                  </a:lnTo>
                  <a:lnTo>
                    <a:pt x="0" y="3"/>
                  </a:lnTo>
                  <a:lnTo>
                    <a:pt x="0" y="5"/>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70" name="Freeform 251">
              <a:extLst>
                <a:ext uri="{FF2B5EF4-FFF2-40B4-BE49-F238E27FC236}">
                  <a16:creationId xmlns:a16="http://schemas.microsoft.com/office/drawing/2014/main" id="{B5933A21-32CA-43C1-B242-FF88B9969A8C}"/>
                </a:ext>
              </a:extLst>
            </p:cNvPr>
            <p:cNvSpPr>
              <a:spLocks/>
            </p:cNvSpPr>
            <p:nvPr/>
          </p:nvSpPr>
          <p:spPr bwMode="gray">
            <a:xfrm>
              <a:off x="-1219" y="230"/>
              <a:ext cx="7" cy="5"/>
            </a:xfrm>
            <a:custGeom>
              <a:avLst/>
              <a:gdLst>
                <a:gd name="T0" fmla="*/ 2 w 7"/>
                <a:gd name="T1" fmla="*/ 0 h 5"/>
                <a:gd name="T2" fmla="*/ 2 w 7"/>
                <a:gd name="T3" fmla="*/ 0 h 5"/>
                <a:gd name="T4" fmla="*/ 2 w 7"/>
                <a:gd name="T5" fmla="*/ 2 h 5"/>
                <a:gd name="T6" fmla="*/ 2 w 7"/>
                <a:gd name="T7" fmla="*/ 2 h 5"/>
                <a:gd name="T8" fmla="*/ 2 w 7"/>
                <a:gd name="T9" fmla="*/ 2 h 5"/>
                <a:gd name="T10" fmla="*/ 0 w 7"/>
                <a:gd name="T11" fmla="*/ 2 h 5"/>
                <a:gd name="T12" fmla="*/ 0 w 7"/>
                <a:gd name="T13" fmla="*/ 2 h 5"/>
                <a:gd name="T14" fmla="*/ 0 w 7"/>
                <a:gd name="T15" fmla="*/ 5 h 5"/>
                <a:gd name="T16" fmla="*/ 0 w 7"/>
                <a:gd name="T17" fmla="*/ 5 h 5"/>
                <a:gd name="T18" fmla="*/ 2 w 7"/>
                <a:gd name="T19" fmla="*/ 5 h 5"/>
                <a:gd name="T20" fmla="*/ 2 w 7"/>
                <a:gd name="T21" fmla="*/ 5 h 5"/>
                <a:gd name="T22" fmla="*/ 4 w 7"/>
                <a:gd name="T23" fmla="*/ 5 h 5"/>
                <a:gd name="T24" fmla="*/ 7 w 7"/>
                <a:gd name="T25" fmla="*/ 5 h 5"/>
                <a:gd name="T26" fmla="*/ 7 w 7"/>
                <a:gd name="T27" fmla="*/ 5 h 5"/>
                <a:gd name="T28" fmla="*/ 7 w 7"/>
                <a:gd name="T29" fmla="*/ 5 h 5"/>
                <a:gd name="T30" fmla="*/ 4 w 7"/>
                <a:gd name="T31" fmla="*/ 2 h 5"/>
                <a:gd name="T32" fmla="*/ 4 w 7"/>
                <a:gd name="T33" fmla="*/ 2 h 5"/>
                <a:gd name="T34" fmla="*/ 4 w 7"/>
                <a:gd name="T35" fmla="*/ 0 h 5"/>
                <a:gd name="T36" fmla="*/ 2 w 7"/>
                <a:gd name="T3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5">
                  <a:moveTo>
                    <a:pt x="2" y="0"/>
                  </a:moveTo>
                  <a:lnTo>
                    <a:pt x="2" y="0"/>
                  </a:lnTo>
                  <a:lnTo>
                    <a:pt x="2" y="2"/>
                  </a:lnTo>
                  <a:lnTo>
                    <a:pt x="2" y="2"/>
                  </a:lnTo>
                  <a:lnTo>
                    <a:pt x="2" y="2"/>
                  </a:lnTo>
                  <a:lnTo>
                    <a:pt x="0" y="2"/>
                  </a:lnTo>
                  <a:lnTo>
                    <a:pt x="0" y="2"/>
                  </a:lnTo>
                  <a:lnTo>
                    <a:pt x="0" y="5"/>
                  </a:lnTo>
                  <a:lnTo>
                    <a:pt x="0" y="5"/>
                  </a:lnTo>
                  <a:lnTo>
                    <a:pt x="2" y="5"/>
                  </a:lnTo>
                  <a:lnTo>
                    <a:pt x="2" y="5"/>
                  </a:lnTo>
                  <a:lnTo>
                    <a:pt x="4" y="5"/>
                  </a:lnTo>
                  <a:lnTo>
                    <a:pt x="7" y="5"/>
                  </a:lnTo>
                  <a:lnTo>
                    <a:pt x="7" y="5"/>
                  </a:lnTo>
                  <a:lnTo>
                    <a:pt x="7" y="5"/>
                  </a:lnTo>
                  <a:lnTo>
                    <a:pt x="4" y="2"/>
                  </a:lnTo>
                  <a:lnTo>
                    <a:pt x="4" y="2"/>
                  </a:lnTo>
                  <a:lnTo>
                    <a:pt x="4"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71" name="Freeform 252">
              <a:extLst>
                <a:ext uri="{FF2B5EF4-FFF2-40B4-BE49-F238E27FC236}">
                  <a16:creationId xmlns:a16="http://schemas.microsoft.com/office/drawing/2014/main" id="{B1E8B67A-B847-4FAF-9901-6B19EADF6AC0}"/>
                </a:ext>
              </a:extLst>
            </p:cNvPr>
            <p:cNvSpPr>
              <a:spLocks/>
            </p:cNvSpPr>
            <p:nvPr/>
          </p:nvSpPr>
          <p:spPr bwMode="gray">
            <a:xfrm>
              <a:off x="-924" y="362"/>
              <a:ext cx="9" cy="12"/>
            </a:xfrm>
            <a:custGeom>
              <a:avLst/>
              <a:gdLst>
                <a:gd name="T0" fmla="*/ 2 w 9"/>
                <a:gd name="T1" fmla="*/ 12 h 12"/>
                <a:gd name="T2" fmla="*/ 4 w 9"/>
                <a:gd name="T3" fmla="*/ 12 h 12"/>
                <a:gd name="T4" fmla="*/ 4 w 9"/>
                <a:gd name="T5" fmla="*/ 12 h 12"/>
                <a:gd name="T6" fmla="*/ 4 w 9"/>
                <a:gd name="T7" fmla="*/ 12 h 12"/>
                <a:gd name="T8" fmla="*/ 7 w 9"/>
                <a:gd name="T9" fmla="*/ 9 h 12"/>
                <a:gd name="T10" fmla="*/ 7 w 9"/>
                <a:gd name="T11" fmla="*/ 9 h 12"/>
                <a:gd name="T12" fmla="*/ 9 w 9"/>
                <a:gd name="T13" fmla="*/ 7 h 12"/>
                <a:gd name="T14" fmla="*/ 9 w 9"/>
                <a:gd name="T15" fmla="*/ 7 h 12"/>
                <a:gd name="T16" fmla="*/ 2 w 9"/>
                <a:gd name="T17" fmla="*/ 0 h 12"/>
                <a:gd name="T18" fmla="*/ 2 w 9"/>
                <a:gd name="T19" fmla="*/ 0 h 12"/>
                <a:gd name="T20" fmla="*/ 0 w 9"/>
                <a:gd name="T21" fmla="*/ 2 h 12"/>
                <a:gd name="T22" fmla="*/ 0 w 9"/>
                <a:gd name="T23" fmla="*/ 5 h 12"/>
                <a:gd name="T24" fmla="*/ 2 w 9"/>
                <a:gd name="T25" fmla="*/ 7 h 12"/>
                <a:gd name="T26" fmla="*/ 4 w 9"/>
                <a:gd name="T27" fmla="*/ 7 h 12"/>
                <a:gd name="T28" fmla="*/ 2 w 9"/>
                <a:gd name="T29" fmla="*/ 9 h 12"/>
                <a:gd name="T30" fmla="*/ 2 w 9"/>
                <a:gd name="T3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12">
                  <a:moveTo>
                    <a:pt x="2" y="12"/>
                  </a:moveTo>
                  <a:lnTo>
                    <a:pt x="4" y="12"/>
                  </a:lnTo>
                  <a:lnTo>
                    <a:pt x="4" y="12"/>
                  </a:lnTo>
                  <a:lnTo>
                    <a:pt x="4" y="12"/>
                  </a:lnTo>
                  <a:lnTo>
                    <a:pt x="7" y="9"/>
                  </a:lnTo>
                  <a:lnTo>
                    <a:pt x="7" y="9"/>
                  </a:lnTo>
                  <a:lnTo>
                    <a:pt x="9" y="7"/>
                  </a:lnTo>
                  <a:lnTo>
                    <a:pt x="9" y="7"/>
                  </a:lnTo>
                  <a:lnTo>
                    <a:pt x="2" y="0"/>
                  </a:lnTo>
                  <a:lnTo>
                    <a:pt x="2" y="0"/>
                  </a:lnTo>
                  <a:lnTo>
                    <a:pt x="0" y="2"/>
                  </a:lnTo>
                  <a:lnTo>
                    <a:pt x="0" y="5"/>
                  </a:lnTo>
                  <a:lnTo>
                    <a:pt x="2" y="7"/>
                  </a:lnTo>
                  <a:lnTo>
                    <a:pt x="4" y="7"/>
                  </a:lnTo>
                  <a:lnTo>
                    <a:pt x="2" y="9"/>
                  </a:lnTo>
                  <a:lnTo>
                    <a:pt x="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72" name="Freeform 253">
              <a:extLst>
                <a:ext uri="{FF2B5EF4-FFF2-40B4-BE49-F238E27FC236}">
                  <a16:creationId xmlns:a16="http://schemas.microsoft.com/office/drawing/2014/main" id="{07B6756B-462D-4267-9535-DDA771153C7A}"/>
                </a:ext>
              </a:extLst>
            </p:cNvPr>
            <p:cNvSpPr>
              <a:spLocks/>
            </p:cNvSpPr>
            <p:nvPr/>
          </p:nvSpPr>
          <p:spPr bwMode="gray">
            <a:xfrm>
              <a:off x="-1210" y="166"/>
              <a:ext cx="5" cy="5"/>
            </a:xfrm>
            <a:custGeom>
              <a:avLst/>
              <a:gdLst>
                <a:gd name="T0" fmla="*/ 2 w 5"/>
                <a:gd name="T1" fmla="*/ 0 h 5"/>
                <a:gd name="T2" fmla="*/ 0 w 5"/>
                <a:gd name="T3" fmla="*/ 3 h 5"/>
                <a:gd name="T4" fmla="*/ 0 w 5"/>
                <a:gd name="T5" fmla="*/ 3 h 5"/>
                <a:gd name="T6" fmla="*/ 0 w 5"/>
                <a:gd name="T7" fmla="*/ 3 h 5"/>
                <a:gd name="T8" fmla="*/ 0 w 5"/>
                <a:gd name="T9" fmla="*/ 5 h 5"/>
                <a:gd name="T10" fmla="*/ 2 w 5"/>
                <a:gd name="T11" fmla="*/ 5 h 5"/>
                <a:gd name="T12" fmla="*/ 2 w 5"/>
                <a:gd name="T13" fmla="*/ 5 h 5"/>
                <a:gd name="T14" fmla="*/ 2 w 5"/>
                <a:gd name="T15" fmla="*/ 3 h 5"/>
                <a:gd name="T16" fmla="*/ 2 w 5"/>
                <a:gd name="T17" fmla="*/ 3 h 5"/>
                <a:gd name="T18" fmla="*/ 5 w 5"/>
                <a:gd name="T19" fmla="*/ 3 h 5"/>
                <a:gd name="T20" fmla="*/ 5 w 5"/>
                <a:gd name="T21" fmla="*/ 3 h 5"/>
                <a:gd name="T22" fmla="*/ 5 w 5"/>
                <a:gd name="T23" fmla="*/ 3 h 5"/>
                <a:gd name="T24" fmla="*/ 5 w 5"/>
                <a:gd name="T25" fmla="*/ 3 h 5"/>
                <a:gd name="T26" fmla="*/ 2 w 5"/>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2" y="0"/>
                  </a:moveTo>
                  <a:lnTo>
                    <a:pt x="0" y="3"/>
                  </a:lnTo>
                  <a:lnTo>
                    <a:pt x="0" y="3"/>
                  </a:lnTo>
                  <a:lnTo>
                    <a:pt x="0" y="3"/>
                  </a:lnTo>
                  <a:lnTo>
                    <a:pt x="0" y="5"/>
                  </a:lnTo>
                  <a:lnTo>
                    <a:pt x="2" y="5"/>
                  </a:lnTo>
                  <a:lnTo>
                    <a:pt x="2" y="5"/>
                  </a:lnTo>
                  <a:lnTo>
                    <a:pt x="2" y="3"/>
                  </a:lnTo>
                  <a:lnTo>
                    <a:pt x="2" y="3"/>
                  </a:lnTo>
                  <a:lnTo>
                    <a:pt x="5" y="3"/>
                  </a:lnTo>
                  <a:lnTo>
                    <a:pt x="5" y="3"/>
                  </a:lnTo>
                  <a:lnTo>
                    <a:pt x="5" y="3"/>
                  </a:lnTo>
                  <a:lnTo>
                    <a:pt x="5" y="3"/>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73" name="Freeform 254">
              <a:extLst>
                <a:ext uri="{FF2B5EF4-FFF2-40B4-BE49-F238E27FC236}">
                  <a16:creationId xmlns:a16="http://schemas.microsoft.com/office/drawing/2014/main" id="{657A09CF-1291-4017-9B1D-A1C6F06FF314}"/>
                </a:ext>
              </a:extLst>
            </p:cNvPr>
            <p:cNvSpPr>
              <a:spLocks/>
            </p:cNvSpPr>
            <p:nvPr/>
          </p:nvSpPr>
          <p:spPr bwMode="gray">
            <a:xfrm>
              <a:off x="-906" y="374"/>
              <a:ext cx="3" cy="2"/>
            </a:xfrm>
            <a:custGeom>
              <a:avLst/>
              <a:gdLst>
                <a:gd name="T0" fmla="*/ 3 w 3"/>
                <a:gd name="T1" fmla="*/ 2 h 2"/>
                <a:gd name="T2" fmla="*/ 3 w 3"/>
                <a:gd name="T3" fmla="*/ 0 h 2"/>
                <a:gd name="T4" fmla="*/ 3 w 3"/>
                <a:gd name="T5" fmla="*/ 0 h 2"/>
                <a:gd name="T6" fmla="*/ 0 w 3"/>
                <a:gd name="T7" fmla="*/ 0 h 2"/>
                <a:gd name="T8" fmla="*/ 0 w 3"/>
                <a:gd name="T9" fmla="*/ 0 h 2"/>
                <a:gd name="T10" fmla="*/ 0 w 3"/>
                <a:gd name="T11" fmla="*/ 0 h 2"/>
                <a:gd name="T12" fmla="*/ 0 w 3"/>
                <a:gd name="T13" fmla="*/ 2 h 2"/>
                <a:gd name="T14" fmla="*/ 0 w 3"/>
                <a:gd name="T15" fmla="*/ 2 h 2"/>
                <a:gd name="T16" fmla="*/ 3 w 3"/>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3" y="2"/>
                  </a:moveTo>
                  <a:lnTo>
                    <a:pt x="3" y="0"/>
                  </a:lnTo>
                  <a:lnTo>
                    <a:pt x="3" y="0"/>
                  </a:lnTo>
                  <a:lnTo>
                    <a:pt x="0" y="0"/>
                  </a:lnTo>
                  <a:lnTo>
                    <a:pt x="0" y="0"/>
                  </a:lnTo>
                  <a:lnTo>
                    <a:pt x="0" y="0"/>
                  </a:lnTo>
                  <a:lnTo>
                    <a:pt x="0" y="2"/>
                  </a:lnTo>
                  <a:lnTo>
                    <a:pt x="0" y="2"/>
                  </a:lnTo>
                  <a:lnTo>
                    <a:pt x="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32" name="Freeform 255">
              <a:extLst>
                <a:ext uri="{FF2B5EF4-FFF2-40B4-BE49-F238E27FC236}">
                  <a16:creationId xmlns:a16="http://schemas.microsoft.com/office/drawing/2014/main" id="{B89A9EA3-6B75-4A5A-B9EC-0844D5CE5901}"/>
                </a:ext>
              </a:extLst>
            </p:cNvPr>
            <p:cNvSpPr>
              <a:spLocks/>
            </p:cNvSpPr>
            <p:nvPr/>
          </p:nvSpPr>
          <p:spPr bwMode="gray">
            <a:xfrm>
              <a:off x="-858" y="341"/>
              <a:ext cx="9" cy="9"/>
            </a:xfrm>
            <a:custGeom>
              <a:avLst/>
              <a:gdLst>
                <a:gd name="T0" fmla="*/ 2 w 9"/>
                <a:gd name="T1" fmla="*/ 9 h 9"/>
                <a:gd name="T2" fmla="*/ 4 w 9"/>
                <a:gd name="T3" fmla="*/ 7 h 9"/>
                <a:gd name="T4" fmla="*/ 4 w 9"/>
                <a:gd name="T5" fmla="*/ 4 h 9"/>
                <a:gd name="T6" fmla="*/ 9 w 9"/>
                <a:gd name="T7" fmla="*/ 4 h 9"/>
                <a:gd name="T8" fmla="*/ 9 w 9"/>
                <a:gd name="T9" fmla="*/ 2 h 9"/>
                <a:gd name="T10" fmla="*/ 9 w 9"/>
                <a:gd name="T11" fmla="*/ 2 h 9"/>
                <a:gd name="T12" fmla="*/ 9 w 9"/>
                <a:gd name="T13" fmla="*/ 2 h 9"/>
                <a:gd name="T14" fmla="*/ 7 w 9"/>
                <a:gd name="T15" fmla="*/ 0 h 9"/>
                <a:gd name="T16" fmla="*/ 7 w 9"/>
                <a:gd name="T17" fmla="*/ 0 h 9"/>
                <a:gd name="T18" fmla="*/ 4 w 9"/>
                <a:gd name="T19" fmla="*/ 0 h 9"/>
                <a:gd name="T20" fmla="*/ 4 w 9"/>
                <a:gd name="T21" fmla="*/ 2 h 9"/>
                <a:gd name="T22" fmla="*/ 4 w 9"/>
                <a:gd name="T23" fmla="*/ 2 h 9"/>
                <a:gd name="T24" fmla="*/ 4 w 9"/>
                <a:gd name="T25" fmla="*/ 2 h 9"/>
                <a:gd name="T26" fmla="*/ 4 w 9"/>
                <a:gd name="T27" fmla="*/ 4 h 9"/>
                <a:gd name="T28" fmla="*/ 0 w 9"/>
                <a:gd name="T29" fmla="*/ 4 h 9"/>
                <a:gd name="T30" fmla="*/ 0 w 9"/>
                <a:gd name="T31" fmla="*/ 7 h 9"/>
                <a:gd name="T32" fmla="*/ 2 w 9"/>
                <a:gd name="T33" fmla="*/ 9 h 9"/>
                <a:gd name="T34" fmla="*/ 2 w 9"/>
                <a:gd name="T35" fmla="*/ 9 h 9"/>
                <a:gd name="T36" fmla="*/ 2 w 9"/>
                <a:gd name="T3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9">
                  <a:moveTo>
                    <a:pt x="2" y="9"/>
                  </a:moveTo>
                  <a:lnTo>
                    <a:pt x="4" y="7"/>
                  </a:lnTo>
                  <a:lnTo>
                    <a:pt x="4" y="4"/>
                  </a:lnTo>
                  <a:lnTo>
                    <a:pt x="9" y="4"/>
                  </a:lnTo>
                  <a:lnTo>
                    <a:pt x="9" y="2"/>
                  </a:lnTo>
                  <a:lnTo>
                    <a:pt x="9" y="2"/>
                  </a:lnTo>
                  <a:lnTo>
                    <a:pt x="9" y="2"/>
                  </a:lnTo>
                  <a:lnTo>
                    <a:pt x="7" y="0"/>
                  </a:lnTo>
                  <a:lnTo>
                    <a:pt x="7" y="0"/>
                  </a:lnTo>
                  <a:lnTo>
                    <a:pt x="4" y="0"/>
                  </a:lnTo>
                  <a:lnTo>
                    <a:pt x="4" y="2"/>
                  </a:lnTo>
                  <a:lnTo>
                    <a:pt x="4" y="2"/>
                  </a:lnTo>
                  <a:lnTo>
                    <a:pt x="4" y="2"/>
                  </a:lnTo>
                  <a:lnTo>
                    <a:pt x="4" y="4"/>
                  </a:lnTo>
                  <a:lnTo>
                    <a:pt x="0" y="4"/>
                  </a:lnTo>
                  <a:lnTo>
                    <a:pt x="0" y="7"/>
                  </a:lnTo>
                  <a:lnTo>
                    <a:pt x="2" y="9"/>
                  </a:lnTo>
                  <a:lnTo>
                    <a:pt x="2" y="9"/>
                  </a:lnTo>
                  <a:lnTo>
                    <a:pt x="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33" name="Freeform 256">
              <a:extLst>
                <a:ext uri="{FF2B5EF4-FFF2-40B4-BE49-F238E27FC236}">
                  <a16:creationId xmlns:a16="http://schemas.microsoft.com/office/drawing/2014/main" id="{19DBFF1A-CFBE-42C9-9C54-F6499CAD142E}"/>
                </a:ext>
              </a:extLst>
            </p:cNvPr>
            <p:cNvSpPr>
              <a:spLocks/>
            </p:cNvSpPr>
            <p:nvPr/>
          </p:nvSpPr>
          <p:spPr bwMode="gray">
            <a:xfrm>
              <a:off x="-1182" y="359"/>
              <a:ext cx="7" cy="5"/>
            </a:xfrm>
            <a:custGeom>
              <a:avLst/>
              <a:gdLst>
                <a:gd name="T0" fmla="*/ 7 w 7"/>
                <a:gd name="T1" fmla="*/ 5 h 5"/>
                <a:gd name="T2" fmla="*/ 7 w 7"/>
                <a:gd name="T3" fmla="*/ 3 h 5"/>
                <a:gd name="T4" fmla="*/ 7 w 7"/>
                <a:gd name="T5" fmla="*/ 0 h 5"/>
                <a:gd name="T6" fmla="*/ 7 w 7"/>
                <a:gd name="T7" fmla="*/ 0 h 5"/>
                <a:gd name="T8" fmla="*/ 5 w 7"/>
                <a:gd name="T9" fmla="*/ 0 h 5"/>
                <a:gd name="T10" fmla="*/ 3 w 7"/>
                <a:gd name="T11" fmla="*/ 0 h 5"/>
                <a:gd name="T12" fmla="*/ 3 w 7"/>
                <a:gd name="T13" fmla="*/ 0 h 5"/>
                <a:gd name="T14" fmla="*/ 0 w 7"/>
                <a:gd name="T15" fmla="*/ 0 h 5"/>
                <a:gd name="T16" fmla="*/ 0 w 7"/>
                <a:gd name="T17" fmla="*/ 0 h 5"/>
                <a:gd name="T18" fmla="*/ 0 w 7"/>
                <a:gd name="T19" fmla="*/ 3 h 5"/>
                <a:gd name="T20" fmla="*/ 3 w 7"/>
                <a:gd name="T21" fmla="*/ 3 h 5"/>
                <a:gd name="T22" fmla="*/ 3 w 7"/>
                <a:gd name="T23" fmla="*/ 5 h 5"/>
                <a:gd name="T24" fmla="*/ 5 w 7"/>
                <a:gd name="T25" fmla="*/ 5 h 5"/>
                <a:gd name="T26" fmla="*/ 5 w 7"/>
                <a:gd name="T27" fmla="*/ 5 h 5"/>
                <a:gd name="T28" fmla="*/ 7 w 7"/>
                <a:gd name="T2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5">
                  <a:moveTo>
                    <a:pt x="7" y="5"/>
                  </a:moveTo>
                  <a:lnTo>
                    <a:pt x="7" y="3"/>
                  </a:lnTo>
                  <a:lnTo>
                    <a:pt x="7" y="0"/>
                  </a:lnTo>
                  <a:lnTo>
                    <a:pt x="7" y="0"/>
                  </a:lnTo>
                  <a:lnTo>
                    <a:pt x="5" y="0"/>
                  </a:lnTo>
                  <a:lnTo>
                    <a:pt x="3" y="0"/>
                  </a:lnTo>
                  <a:lnTo>
                    <a:pt x="3" y="0"/>
                  </a:lnTo>
                  <a:lnTo>
                    <a:pt x="0" y="0"/>
                  </a:lnTo>
                  <a:lnTo>
                    <a:pt x="0" y="0"/>
                  </a:lnTo>
                  <a:lnTo>
                    <a:pt x="0" y="3"/>
                  </a:lnTo>
                  <a:lnTo>
                    <a:pt x="3" y="3"/>
                  </a:lnTo>
                  <a:lnTo>
                    <a:pt x="3" y="5"/>
                  </a:lnTo>
                  <a:lnTo>
                    <a:pt x="5" y="5"/>
                  </a:lnTo>
                  <a:lnTo>
                    <a:pt x="5" y="5"/>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34" name="Freeform 257">
              <a:extLst>
                <a:ext uri="{FF2B5EF4-FFF2-40B4-BE49-F238E27FC236}">
                  <a16:creationId xmlns:a16="http://schemas.microsoft.com/office/drawing/2014/main" id="{79A80E94-F00E-4FF1-B50E-B6DB5E046E52}"/>
                </a:ext>
              </a:extLst>
            </p:cNvPr>
            <p:cNvSpPr>
              <a:spLocks/>
            </p:cNvSpPr>
            <p:nvPr/>
          </p:nvSpPr>
          <p:spPr bwMode="gray">
            <a:xfrm>
              <a:off x="-1177" y="374"/>
              <a:ext cx="9" cy="11"/>
            </a:xfrm>
            <a:custGeom>
              <a:avLst/>
              <a:gdLst>
                <a:gd name="T0" fmla="*/ 7 w 9"/>
                <a:gd name="T1" fmla="*/ 0 h 11"/>
                <a:gd name="T2" fmla="*/ 7 w 9"/>
                <a:gd name="T3" fmla="*/ 0 h 11"/>
                <a:gd name="T4" fmla="*/ 5 w 9"/>
                <a:gd name="T5" fmla="*/ 2 h 11"/>
                <a:gd name="T6" fmla="*/ 0 w 9"/>
                <a:gd name="T7" fmla="*/ 4 h 11"/>
                <a:gd name="T8" fmla="*/ 0 w 9"/>
                <a:gd name="T9" fmla="*/ 4 h 11"/>
                <a:gd name="T10" fmla="*/ 0 w 9"/>
                <a:gd name="T11" fmla="*/ 9 h 11"/>
                <a:gd name="T12" fmla="*/ 2 w 9"/>
                <a:gd name="T13" fmla="*/ 11 h 11"/>
                <a:gd name="T14" fmla="*/ 5 w 9"/>
                <a:gd name="T15" fmla="*/ 11 h 11"/>
                <a:gd name="T16" fmla="*/ 7 w 9"/>
                <a:gd name="T17" fmla="*/ 7 h 11"/>
                <a:gd name="T18" fmla="*/ 7 w 9"/>
                <a:gd name="T19" fmla="*/ 7 h 11"/>
                <a:gd name="T20" fmla="*/ 5 w 9"/>
                <a:gd name="T21" fmla="*/ 7 h 11"/>
                <a:gd name="T22" fmla="*/ 5 w 9"/>
                <a:gd name="T23" fmla="*/ 4 h 11"/>
                <a:gd name="T24" fmla="*/ 9 w 9"/>
                <a:gd name="T25" fmla="*/ 2 h 11"/>
                <a:gd name="T26" fmla="*/ 7 w 9"/>
                <a:gd name="T27" fmla="*/ 0 h 11"/>
                <a:gd name="T28" fmla="*/ 7 w 9"/>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1">
                  <a:moveTo>
                    <a:pt x="7" y="0"/>
                  </a:moveTo>
                  <a:lnTo>
                    <a:pt x="7" y="0"/>
                  </a:lnTo>
                  <a:lnTo>
                    <a:pt x="5" y="2"/>
                  </a:lnTo>
                  <a:lnTo>
                    <a:pt x="0" y="4"/>
                  </a:lnTo>
                  <a:lnTo>
                    <a:pt x="0" y="4"/>
                  </a:lnTo>
                  <a:lnTo>
                    <a:pt x="0" y="9"/>
                  </a:lnTo>
                  <a:lnTo>
                    <a:pt x="2" y="11"/>
                  </a:lnTo>
                  <a:lnTo>
                    <a:pt x="5" y="11"/>
                  </a:lnTo>
                  <a:lnTo>
                    <a:pt x="7" y="7"/>
                  </a:lnTo>
                  <a:lnTo>
                    <a:pt x="7" y="7"/>
                  </a:lnTo>
                  <a:lnTo>
                    <a:pt x="5" y="7"/>
                  </a:lnTo>
                  <a:lnTo>
                    <a:pt x="5" y="4"/>
                  </a:lnTo>
                  <a:lnTo>
                    <a:pt x="9" y="2"/>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35" name="Freeform 258">
              <a:extLst>
                <a:ext uri="{FF2B5EF4-FFF2-40B4-BE49-F238E27FC236}">
                  <a16:creationId xmlns:a16="http://schemas.microsoft.com/office/drawing/2014/main" id="{01A2E613-CEE1-4EC4-A89B-2CE170B28EE7}"/>
                </a:ext>
              </a:extLst>
            </p:cNvPr>
            <p:cNvSpPr>
              <a:spLocks/>
            </p:cNvSpPr>
            <p:nvPr/>
          </p:nvSpPr>
          <p:spPr bwMode="gray">
            <a:xfrm>
              <a:off x="-1189" y="336"/>
              <a:ext cx="17" cy="21"/>
            </a:xfrm>
            <a:custGeom>
              <a:avLst/>
              <a:gdLst>
                <a:gd name="T0" fmla="*/ 5 w 17"/>
                <a:gd name="T1" fmla="*/ 9 h 21"/>
                <a:gd name="T2" fmla="*/ 3 w 17"/>
                <a:gd name="T3" fmla="*/ 9 h 21"/>
                <a:gd name="T4" fmla="*/ 3 w 17"/>
                <a:gd name="T5" fmla="*/ 12 h 21"/>
                <a:gd name="T6" fmla="*/ 0 w 17"/>
                <a:gd name="T7" fmla="*/ 12 h 21"/>
                <a:gd name="T8" fmla="*/ 3 w 17"/>
                <a:gd name="T9" fmla="*/ 14 h 21"/>
                <a:gd name="T10" fmla="*/ 3 w 17"/>
                <a:gd name="T11" fmla="*/ 16 h 21"/>
                <a:gd name="T12" fmla="*/ 5 w 17"/>
                <a:gd name="T13" fmla="*/ 16 h 21"/>
                <a:gd name="T14" fmla="*/ 7 w 17"/>
                <a:gd name="T15" fmla="*/ 19 h 21"/>
                <a:gd name="T16" fmla="*/ 7 w 17"/>
                <a:gd name="T17" fmla="*/ 19 h 21"/>
                <a:gd name="T18" fmla="*/ 10 w 17"/>
                <a:gd name="T19" fmla="*/ 19 h 21"/>
                <a:gd name="T20" fmla="*/ 10 w 17"/>
                <a:gd name="T21" fmla="*/ 21 h 21"/>
                <a:gd name="T22" fmla="*/ 10 w 17"/>
                <a:gd name="T23" fmla="*/ 21 h 21"/>
                <a:gd name="T24" fmla="*/ 10 w 17"/>
                <a:gd name="T25" fmla="*/ 21 h 21"/>
                <a:gd name="T26" fmla="*/ 10 w 17"/>
                <a:gd name="T27" fmla="*/ 21 h 21"/>
                <a:gd name="T28" fmla="*/ 10 w 17"/>
                <a:gd name="T29" fmla="*/ 21 h 21"/>
                <a:gd name="T30" fmla="*/ 10 w 17"/>
                <a:gd name="T31" fmla="*/ 21 h 21"/>
                <a:gd name="T32" fmla="*/ 12 w 17"/>
                <a:gd name="T33" fmla="*/ 21 h 21"/>
                <a:gd name="T34" fmla="*/ 14 w 17"/>
                <a:gd name="T35" fmla="*/ 21 h 21"/>
                <a:gd name="T36" fmla="*/ 14 w 17"/>
                <a:gd name="T37" fmla="*/ 21 h 21"/>
                <a:gd name="T38" fmla="*/ 17 w 17"/>
                <a:gd name="T39" fmla="*/ 21 h 21"/>
                <a:gd name="T40" fmla="*/ 17 w 17"/>
                <a:gd name="T41" fmla="*/ 19 h 21"/>
                <a:gd name="T42" fmla="*/ 14 w 17"/>
                <a:gd name="T43" fmla="*/ 19 h 21"/>
                <a:gd name="T44" fmla="*/ 14 w 17"/>
                <a:gd name="T45" fmla="*/ 19 h 21"/>
                <a:gd name="T46" fmla="*/ 14 w 17"/>
                <a:gd name="T47" fmla="*/ 19 h 21"/>
                <a:gd name="T48" fmla="*/ 14 w 17"/>
                <a:gd name="T49" fmla="*/ 19 h 21"/>
                <a:gd name="T50" fmla="*/ 17 w 17"/>
                <a:gd name="T51" fmla="*/ 16 h 21"/>
                <a:gd name="T52" fmla="*/ 14 w 17"/>
                <a:gd name="T53" fmla="*/ 16 h 21"/>
                <a:gd name="T54" fmla="*/ 14 w 17"/>
                <a:gd name="T55" fmla="*/ 16 h 21"/>
                <a:gd name="T56" fmla="*/ 12 w 17"/>
                <a:gd name="T57" fmla="*/ 16 h 21"/>
                <a:gd name="T58" fmla="*/ 12 w 17"/>
                <a:gd name="T59" fmla="*/ 14 h 21"/>
                <a:gd name="T60" fmla="*/ 12 w 17"/>
                <a:gd name="T61" fmla="*/ 14 h 21"/>
                <a:gd name="T62" fmla="*/ 10 w 17"/>
                <a:gd name="T63" fmla="*/ 12 h 21"/>
                <a:gd name="T64" fmla="*/ 10 w 17"/>
                <a:gd name="T65" fmla="*/ 12 h 21"/>
                <a:gd name="T66" fmla="*/ 10 w 17"/>
                <a:gd name="T67" fmla="*/ 12 h 21"/>
                <a:gd name="T68" fmla="*/ 10 w 17"/>
                <a:gd name="T69" fmla="*/ 12 h 21"/>
                <a:gd name="T70" fmla="*/ 12 w 17"/>
                <a:gd name="T71" fmla="*/ 12 h 21"/>
                <a:gd name="T72" fmla="*/ 12 w 17"/>
                <a:gd name="T73" fmla="*/ 12 h 21"/>
                <a:gd name="T74" fmla="*/ 12 w 17"/>
                <a:gd name="T75" fmla="*/ 7 h 21"/>
                <a:gd name="T76" fmla="*/ 12 w 17"/>
                <a:gd name="T77" fmla="*/ 7 h 21"/>
                <a:gd name="T78" fmla="*/ 10 w 17"/>
                <a:gd name="T79" fmla="*/ 7 h 21"/>
                <a:gd name="T80" fmla="*/ 10 w 17"/>
                <a:gd name="T81" fmla="*/ 7 h 21"/>
                <a:gd name="T82" fmla="*/ 10 w 17"/>
                <a:gd name="T83" fmla="*/ 5 h 21"/>
                <a:gd name="T84" fmla="*/ 10 w 17"/>
                <a:gd name="T85" fmla="*/ 5 h 21"/>
                <a:gd name="T86" fmla="*/ 5 w 17"/>
                <a:gd name="T87" fmla="*/ 2 h 21"/>
                <a:gd name="T88" fmla="*/ 5 w 17"/>
                <a:gd name="T89" fmla="*/ 0 h 21"/>
                <a:gd name="T90" fmla="*/ 3 w 17"/>
                <a:gd name="T91" fmla="*/ 0 h 21"/>
                <a:gd name="T92" fmla="*/ 3 w 17"/>
                <a:gd name="T93" fmla="*/ 2 h 21"/>
                <a:gd name="T94" fmla="*/ 3 w 17"/>
                <a:gd name="T95" fmla="*/ 2 h 21"/>
                <a:gd name="T96" fmla="*/ 3 w 17"/>
                <a:gd name="T97" fmla="*/ 5 h 21"/>
                <a:gd name="T98" fmla="*/ 5 w 17"/>
                <a:gd name="T99" fmla="*/ 9 h 21"/>
                <a:gd name="T100" fmla="*/ 5 w 17"/>
                <a:gd name="T101" fmla="*/ 9 h 21"/>
                <a:gd name="T102" fmla="*/ 5 w 17"/>
                <a:gd name="T103" fmla="*/ 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 h="21">
                  <a:moveTo>
                    <a:pt x="5" y="9"/>
                  </a:moveTo>
                  <a:lnTo>
                    <a:pt x="3" y="9"/>
                  </a:lnTo>
                  <a:lnTo>
                    <a:pt x="3" y="12"/>
                  </a:lnTo>
                  <a:lnTo>
                    <a:pt x="0" y="12"/>
                  </a:lnTo>
                  <a:lnTo>
                    <a:pt x="3" y="14"/>
                  </a:lnTo>
                  <a:lnTo>
                    <a:pt x="3" y="16"/>
                  </a:lnTo>
                  <a:lnTo>
                    <a:pt x="5" y="16"/>
                  </a:lnTo>
                  <a:lnTo>
                    <a:pt x="7" y="19"/>
                  </a:lnTo>
                  <a:lnTo>
                    <a:pt x="7" y="19"/>
                  </a:lnTo>
                  <a:lnTo>
                    <a:pt x="10" y="19"/>
                  </a:lnTo>
                  <a:lnTo>
                    <a:pt x="10" y="21"/>
                  </a:lnTo>
                  <a:lnTo>
                    <a:pt x="10" y="21"/>
                  </a:lnTo>
                  <a:lnTo>
                    <a:pt x="10" y="21"/>
                  </a:lnTo>
                  <a:lnTo>
                    <a:pt x="10" y="21"/>
                  </a:lnTo>
                  <a:lnTo>
                    <a:pt x="10" y="21"/>
                  </a:lnTo>
                  <a:lnTo>
                    <a:pt x="10" y="21"/>
                  </a:lnTo>
                  <a:lnTo>
                    <a:pt x="12" y="21"/>
                  </a:lnTo>
                  <a:lnTo>
                    <a:pt x="14" y="21"/>
                  </a:lnTo>
                  <a:lnTo>
                    <a:pt x="14" y="21"/>
                  </a:lnTo>
                  <a:lnTo>
                    <a:pt x="17" y="21"/>
                  </a:lnTo>
                  <a:lnTo>
                    <a:pt x="17" y="19"/>
                  </a:lnTo>
                  <a:lnTo>
                    <a:pt x="14" y="19"/>
                  </a:lnTo>
                  <a:lnTo>
                    <a:pt x="14" y="19"/>
                  </a:lnTo>
                  <a:lnTo>
                    <a:pt x="14" y="19"/>
                  </a:lnTo>
                  <a:lnTo>
                    <a:pt x="14" y="19"/>
                  </a:lnTo>
                  <a:lnTo>
                    <a:pt x="17" y="16"/>
                  </a:lnTo>
                  <a:lnTo>
                    <a:pt x="14" y="16"/>
                  </a:lnTo>
                  <a:lnTo>
                    <a:pt x="14" y="16"/>
                  </a:lnTo>
                  <a:lnTo>
                    <a:pt x="12" y="16"/>
                  </a:lnTo>
                  <a:lnTo>
                    <a:pt x="12" y="14"/>
                  </a:lnTo>
                  <a:lnTo>
                    <a:pt x="12" y="14"/>
                  </a:lnTo>
                  <a:lnTo>
                    <a:pt x="10" y="12"/>
                  </a:lnTo>
                  <a:lnTo>
                    <a:pt x="10" y="12"/>
                  </a:lnTo>
                  <a:lnTo>
                    <a:pt x="10" y="12"/>
                  </a:lnTo>
                  <a:lnTo>
                    <a:pt x="10" y="12"/>
                  </a:lnTo>
                  <a:lnTo>
                    <a:pt x="12" y="12"/>
                  </a:lnTo>
                  <a:lnTo>
                    <a:pt x="12" y="12"/>
                  </a:lnTo>
                  <a:lnTo>
                    <a:pt x="12" y="7"/>
                  </a:lnTo>
                  <a:lnTo>
                    <a:pt x="12" y="7"/>
                  </a:lnTo>
                  <a:lnTo>
                    <a:pt x="10" y="7"/>
                  </a:lnTo>
                  <a:lnTo>
                    <a:pt x="10" y="7"/>
                  </a:lnTo>
                  <a:lnTo>
                    <a:pt x="10" y="5"/>
                  </a:lnTo>
                  <a:lnTo>
                    <a:pt x="10" y="5"/>
                  </a:lnTo>
                  <a:lnTo>
                    <a:pt x="5" y="2"/>
                  </a:lnTo>
                  <a:lnTo>
                    <a:pt x="5" y="0"/>
                  </a:lnTo>
                  <a:lnTo>
                    <a:pt x="3" y="0"/>
                  </a:lnTo>
                  <a:lnTo>
                    <a:pt x="3" y="2"/>
                  </a:lnTo>
                  <a:lnTo>
                    <a:pt x="3" y="2"/>
                  </a:lnTo>
                  <a:lnTo>
                    <a:pt x="3" y="5"/>
                  </a:lnTo>
                  <a:lnTo>
                    <a:pt x="5" y="9"/>
                  </a:lnTo>
                  <a:lnTo>
                    <a:pt x="5" y="9"/>
                  </a:lnTo>
                  <a:lnTo>
                    <a:pt x="5"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36" name="Freeform 259">
              <a:extLst>
                <a:ext uri="{FF2B5EF4-FFF2-40B4-BE49-F238E27FC236}">
                  <a16:creationId xmlns:a16="http://schemas.microsoft.com/office/drawing/2014/main" id="{8BE2BD9A-57C2-4C0A-8C43-FFFA1FC37CC5}"/>
                </a:ext>
              </a:extLst>
            </p:cNvPr>
            <p:cNvSpPr>
              <a:spLocks/>
            </p:cNvSpPr>
            <p:nvPr/>
          </p:nvSpPr>
          <p:spPr bwMode="gray">
            <a:xfrm>
              <a:off x="-1177" y="385"/>
              <a:ext cx="5" cy="3"/>
            </a:xfrm>
            <a:custGeom>
              <a:avLst/>
              <a:gdLst>
                <a:gd name="T0" fmla="*/ 0 w 5"/>
                <a:gd name="T1" fmla="*/ 3 h 3"/>
                <a:gd name="T2" fmla="*/ 0 w 5"/>
                <a:gd name="T3" fmla="*/ 3 h 3"/>
                <a:gd name="T4" fmla="*/ 2 w 5"/>
                <a:gd name="T5" fmla="*/ 3 h 3"/>
                <a:gd name="T6" fmla="*/ 2 w 5"/>
                <a:gd name="T7" fmla="*/ 3 h 3"/>
                <a:gd name="T8" fmla="*/ 5 w 5"/>
                <a:gd name="T9" fmla="*/ 3 h 3"/>
                <a:gd name="T10" fmla="*/ 5 w 5"/>
                <a:gd name="T11" fmla="*/ 0 h 3"/>
                <a:gd name="T12" fmla="*/ 5 w 5"/>
                <a:gd name="T13" fmla="*/ 0 h 3"/>
                <a:gd name="T14" fmla="*/ 2 w 5"/>
                <a:gd name="T15" fmla="*/ 0 h 3"/>
                <a:gd name="T16" fmla="*/ 2 w 5"/>
                <a:gd name="T17" fmla="*/ 0 h 3"/>
                <a:gd name="T18" fmla="*/ 2 w 5"/>
                <a:gd name="T19" fmla="*/ 0 h 3"/>
                <a:gd name="T20" fmla="*/ 0 w 5"/>
                <a:gd name="T21" fmla="*/ 0 h 3"/>
                <a:gd name="T22" fmla="*/ 0 w 5"/>
                <a:gd name="T23" fmla="*/ 0 h 3"/>
                <a:gd name="T24" fmla="*/ 0 w 5"/>
                <a:gd name="T25" fmla="*/ 0 h 3"/>
                <a:gd name="T26" fmla="*/ 0 w 5"/>
                <a:gd name="T2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
                  <a:moveTo>
                    <a:pt x="0" y="3"/>
                  </a:moveTo>
                  <a:lnTo>
                    <a:pt x="0" y="3"/>
                  </a:lnTo>
                  <a:lnTo>
                    <a:pt x="2" y="3"/>
                  </a:lnTo>
                  <a:lnTo>
                    <a:pt x="2" y="3"/>
                  </a:lnTo>
                  <a:lnTo>
                    <a:pt x="5" y="3"/>
                  </a:lnTo>
                  <a:lnTo>
                    <a:pt x="5" y="0"/>
                  </a:lnTo>
                  <a:lnTo>
                    <a:pt x="5" y="0"/>
                  </a:lnTo>
                  <a:lnTo>
                    <a:pt x="2" y="0"/>
                  </a:lnTo>
                  <a:lnTo>
                    <a:pt x="2" y="0"/>
                  </a:lnTo>
                  <a:lnTo>
                    <a:pt x="2" y="0"/>
                  </a:lnTo>
                  <a:lnTo>
                    <a:pt x="0" y="0"/>
                  </a:lnTo>
                  <a:lnTo>
                    <a:pt x="0" y="0"/>
                  </a:lnTo>
                  <a:lnTo>
                    <a:pt x="0"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37" name="Freeform 260">
              <a:extLst>
                <a:ext uri="{FF2B5EF4-FFF2-40B4-BE49-F238E27FC236}">
                  <a16:creationId xmlns:a16="http://schemas.microsoft.com/office/drawing/2014/main" id="{2F82F1D0-29BF-4322-899E-6E335C704848}"/>
                </a:ext>
              </a:extLst>
            </p:cNvPr>
            <p:cNvSpPr>
              <a:spLocks/>
            </p:cNvSpPr>
            <p:nvPr/>
          </p:nvSpPr>
          <p:spPr bwMode="gray">
            <a:xfrm>
              <a:off x="-1224" y="374"/>
              <a:ext cx="12" cy="7"/>
            </a:xfrm>
            <a:custGeom>
              <a:avLst/>
              <a:gdLst>
                <a:gd name="T0" fmla="*/ 7 w 12"/>
                <a:gd name="T1" fmla="*/ 2 h 7"/>
                <a:gd name="T2" fmla="*/ 7 w 12"/>
                <a:gd name="T3" fmla="*/ 0 h 7"/>
                <a:gd name="T4" fmla="*/ 2 w 12"/>
                <a:gd name="T5" fmla="*/ 0 h 7"/>
                <a:gd name="T6" fmla="*/ 2 w 12"/>
                <a:gd name="T7" fmla="*/ 0 h 7"/>
                <a:gd name="T8" fmla="*/ 0 w 12"/>
                <a:gd name="T9" fmla="*/ 2 h 7"/>
                <a:gd name="T10" fmla="*/ 2 w 12"/>
                <a:gd name="T11" fmla="*/ 2 h 7"/>
                <a:gd name="T12" fmla="*/ 2 w 12"/>
                <a:gd name="T13" fmla="*/ 4 h 7"/>
                <a:gd name="T14" fmla="*/ 2 w 12"/>
                <a:gd name="T15" fmla="*/ 4 h 7"/>
                <a:gd name="T16" fmla="*/ 5 w 12"/>
                <a:gd name="T17" fmla="*/ 4 h 7"/>
                <a:gd name="T18" fmla="*/ 7 w 12"/>
                <a:gd name="T19" fmla="*/ 4 h 7"/>
                <a:gd name="T20" fmla="*/ 7 w 12"/>
                <a:gd name="T21" fmla="*/ 4 h 7"/>
                <a:gd name="T22" fmla="*/ 7 w 12"/>
                <a:gd name="T23" fmla="*/ 7 h 7"/>
                <a:gd name="T24" fmla="*/ 9 w 12"/>
                <a:gd name="T25" fmla="*/ 7 h 7"/>
                <a:gd name="T26" fmla="*/ 9 w 12"/>
                <a:gd name="T27" fmla="*/ 4 h 7"/>
                <a:gd name="T28" fmla="*/ 9 w 12"/>
                <a:gd name="T29" fmla="*/ 4 h 7"/>
                <a:gd name="T30" fmla="*/ 12 w 12"/>
                <a:gd name="T31" fmla="*/ 4 h 7"/>
                <a:gd name="T32" fmla="*/ 12 w 12"/>
                <a:gd name="T33" fmla="*/ 2 h 7"/>
                <a:gd name="T34" fmla="*/ 9 w 12"/>
                <a:gd name="T35" fmla="*/ 2 h 7"/>
                <a:gd name="T36" fmla="*/ 7 w 12"/>
                <a:gd name="T3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7">
                  <a:moveTo>
                    <a:pt x="7" y="2"/>
                  </a:moveTo>
                  <a:lnTo>
                    <a:pt x="7" y="0"/>
                  </a:lnTo>
                  <a:lnTo>
                    <a:pt x="2" y="0"/>
                  </a:lnTo>
                  <a:lnTo>
                    <a:pt x="2" y="0"/>
                  </a:lnTo>
                  <a:lnTo>
                    <a:pt x="0" y="2"/>
                  </a:lnTo>
                  <a:lnTo>
                    <a:pt x="2" y="2"/>
                  </a:lnTo>
                  <a:lnTo>
                    <a:pt x="2" y="4"/>
                  </a:lnTo>
                  <a:lnTo>
                    <a:pt x="2" y="4"/>
                  </a:lnTo>
                  <a:lnTo>
                    <a:pt x="5" y="4"/>
                  </a:lnTo>
                  <a:lnTo>
                    <a:pt x="7" y="4"/>
                  </a:lnTo>
                  <a:lnTo>
                    <a:pt x="7" y="4"/>
                  </a:lnTo>
                  <a:lnTo>
                    <a:pt x="7" y="7"/>
                  </a:lnTo>
                  <a:lnTo>
                    <a:pt x="9" y="7"/>
                  </a:lnTo>
                  <a:lnTo>
                    <a:pt x="9" y="4"/>
                  </a:lnTo>
                  <a:lnTo>
                    <a:pt x="9" y="4"/>
                  </a:lnTo>
                  <a:lnTo>
                    <a:pt x="12" y="4"/>
                  </a:lnTo>
                  <a:lnTo>
                    <a:pt x="12" y="2"/>
                  </a:lnTo>
                  <a:lnTo>
                    <a:pt x="9" y="2"/>
                  </a:lnTo>
                  <a:lnTo>
                    <a:pt x="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38" name="Freeform 261">
              <a:extLst>
                <a:ext uri="{FF2B5EF4-FFF2-40B4-BE49-F238E27FC236}">
                  <a16:creationId xmlns:a16="http://schemas.microsoft.com/office/drawing/2014/main" id="{F381F2D7-91D8-4053-9524-3CB981CC59A3}"/>
                </a:ext>
              </a:extLst>
            </p:cNvPr>
            <p:cNvSpPr>
              <a:spLocks/>
            </p:cNvSpPr>
            <p:nvPr/>
          </p:nvSpPr>
          <p:spPr bwMode="gray">
            <a:xfrm>
              <a:off x="-1222" y="348"/>
              <a:ext cx="5" cy="7"/>
            </a:xfrm>
            <a:custGeom>
              <a:avLst/>
              <a:gdLst>
                <a:gd name="T0" fmla="*/ 0 w 5"/>
                <a:gd name="T1" fmla="*/ 0 h 7"/>
                <a:gd name="T2" fmla="*/ 0 w 5"/>
                <a:gd name="T3" fmla="*/ 2 h 7"/>
                <a:gd name="T4" fmla="*/ 0 w 5"/>
                <a:gd name="T5" fmla="*/ 2 h 7"/>
                <a:gd name="T6" fmla="*/ 0 w 5"/>
                <a:gd name="T7" fmla="*/ 2 h 7"/>
                <a:gd name="T8" fmla="*/ 0 w 5"/>
                <a:gd name="T9" fmla="*/ 4 h 7"/>
                <a:gd name="T10" fmla="*/ 3 w 5"/>
                <a:gd name="T11" fmla="*/ 4 h 7"/>
                <a:gd name="T12" fmla="*/ 3 w 5"/>
                <a:gd name="T13" fmla="*/ 4 h 7"/>
                <a:gd name="T14" fmla="*/ 3 w 5"/>
                <a:gd name="T15" fmla="*/ 4 h 7"/>
                <a:gd name="T16" fmla="*/ 3 w 5"/>
                <a:gd name="T17" fmla="*/ 4 h 7"/>
                <a:gd name="T18" fmla="*/ 3 w 5"/>
                <a:gd name="T19" fmla="*/ 7 h 7"/>
                <a:gd name="T20" fmla="*/ 3 w 5"/>
                <a:gd name="T21" fmla="*/ 7 h 7"/>
                <a:gd name="T22" fmla="*/ 5 w 5"/>
                <a:gd name="T23" fmla="*/ 7 h 7"/>
                <a:gd name="T24" fmla="*/ 5 w 5"/>
                <a:gd name="T25" fmla="*/ 4 h 7"/>
                <a:gd name="T26" fmla="*/ 5 w 5"/>
                <a:gd name="T27" fmla="*/ 2 h 7"/>
                <a:gd name="T28" fmla="*/ 3 w 5"/>
                <a:gd name="T29" fmla="*/ 2 h 7"/>
                <a:gd name="T30" fmla="*/ 3 w 5"/>
                <a:gd name="T31" fmla="*/ 0 h 7"/>
                <a:gd name="T32" fmla="*/ 0 w 5"/>
                <a:gd name="T3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7">
                  <a:moveTo>
                    <a:pt x="0" y="0"/>
                  </a:moveTo>
                  <a:lnTo>
                    <a:pt x="0" y="2"/>
                  </a:lnTo>
                  <a:lnTo>
                    <a:pt x="0" y="2"/>
                  </a:lnTo>
                  <a:lnTo>
                    <a:pt x="0" y="2"/>
                  </a:lnTo>
                  <a:lnTo>
                    <a:pt x="0" y="4"/>
                  </a:lnTo>
                  <a:lnTo>
                    <a:pt x="3" y="4"/>
                  </a:lnTo>
                  <a:lnTo>
                    <a:pt x="3" y="4"/>
                  </a:lnTo>
                  <a:lnTo>
                    <a:pt x="3" y="4"/>
                  </a:lnTo>
                  <a:lnTo>
                    <a:pt x="3" y="4"/>
                  </a:lnTo>
                  <a:lnTo>
                    <a:pt x="3" y="7"/>
                  </a:lnTo>
                  <a:lnTo>
                    <a:pt x="3" y="7"/>
                  </a:lnTo>
                  <a:lnTo>
                    <a:pt x="5" y="7"/>
                  </a:lnTo>
                  <a:lnTo>
                    <a:pt x="5" y="4"/>
                  </a:lnTo>
                  <a:lnTo>
                    <a:pt x="5" y="2"/>
                  </a:lnTo>
                  <a:lnTo>
                    <a:pt x="3" y="2"/>
                  </a:lnTo>
                  <a:lnTo>
                    <a:pt x="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39" name="Freeform 262">
              <a:extLst>
                <a:ext uri="{FF2B5EF4-FFF2-40B4-BE49-F238E27FC236}">
                  <a16:creationId xmlns:a16="http://schemas.microsoft.com/office/drawing/2014/main" id="{32FC4C64-2C04-4FD7-8A6E-1822B766A302}"/>
                </a:ext>
              </a:extLst>
            </p:cNvPr>
            <p:cNvSpPr>
              <a:spLocks/>
            </p:cNvSpPr>
            <p:nvPr/>
          </p:nvSpPr>
          <p:spPr bwMode="gray">
            <a:xfrm>
              <a:off x="-1229" y="279"/>
              <a:ext cx="5" cy="7"/>
            </a:xfrm>
            <a:custGeom>
              <a:avLst/>
              <a:gdLst>
                <a:gd name="T0" fmla="*/ 0 w 5"/>
                <a:gd name="T1" fmla="*/ 3 h 7"/>
                <a:gd name="T2" fmla="*/ 0 w 5"/>
                <a:gd name="T3" fmla="*/ 3 h 7"/>
                <a:gd name="T4" fmla="*/ 0 w 5"/>
                <a:gd name="T5" fmla="*/ 3 h 7"/>
                <a:gd name="T6" fmla="*/ 0 w 5"/>
                <a:gd name="T7" fmla="*/ 5 h 7"/>
                <a:gd name="T8" fmla="*/ 0 w 5"/>
                <a:gd name="T9" fmla="*/ 5 h 7"/>
                <a:gd name="T10" fmla="*/ 0 w 5"/>
                <a:gd name="T11" fmla="*/ 5 h 7"/>
                <a:gd name="T12" fmla="*/ 5 w 5"/>
                <a:gd name="T13" fmla="*/ 5 h 7"/>
                <a:gd name="T14" fmla="*/ 5 w 5"/>
                <a:gd name="T15" fmla="*/ 7 h 7"/>
                <a:gd name="T16" fmla="*/ 5 w 5"/>
                <a:gd name="T17" fmla="*/ 5 h 7"/>
                <a:gd name="T18" fmla="*/ 5 w 5"/>
                <a:gd name="T19" fmla="*/ 3 h 7"/>
                <a:gd name="T20" fmla="*/ 5 w 5"/>
                <a:gd name="T21" fmla="*/ 3 h 7"/>
                <a:gd name="T22" fmla="*/ 5 w 5"/>
                <a:gd name="T23" fmla="*/ 5 h 7"/>
                <a:gd name="T24" fmla="*/ 2 w 5"/>
                <a:gd name="T25" fmla="*/ 5 h 7"/>
                <a:gd name="T26" fmla="*/ 2 w 5"/>
                <a:gd name="T27" fmla="*/ 3 h 7"/>
                <a:gd name="T28" fmla="*/ 2 w 5"/>
                <a:gd name="T29" fmla="*/ 3 h 7"/>
                <a:gd name="T30" fmla="*/ 2 w 5"/>
                <a:gd name="T31" fmla="*/ 5 h 7"/>
                <a:gd name="T32" fmla="*/ 2 w 5"/>
                <a:gd name="T33" fmla="*/ 3 h 7"/>
                <a:gd name="T34" fmla="*/ 2 w 5"/>
                <a:gd name="T35" fmla="*/ 3 h 7"/>
                <a:gd name="T36" fmla="*/ 0 w 5"/>
                <a:gd name="T37" fmla="*/ 0 h 7"/>
                <a:gd name="T38" fmla="*/ 0 w 5"/>
                <a:gd name="T39" fmla="*/ 3 h 7"/>
                <a:gd name="T40" fmla="*/ 0 w 5"/>
                <a:gd name="T4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 h="7">
                  <a:moveTo>
                    <a:pt x="0" y="3"/>
                  </a:moveTo>
                  <a:lnTo>
                    <a:pt x="0" y="3"/>
                  </a:lnTo>
                  <a:lnTo>
                    <a:pt x="0" y="3"/>
                  </a:lnTo>
                  <a:lnTo>
                    <a:pt x="0" y="5"/>
                  </a:lnTo>
                  <a:lnTo>
                    <a:pt x="0" y="5"/>
                  </a:lnTo>
                  <a:lnTo>
                    <a:pt x="0" y="5"/>
                  </a:lnTo>
                  <a:lnTo>
                    <a:pt x="5" y="5"/>
                  </a:lnTo>
                  <a:lnTo>
                    <a:pt x="5" y="7"/>
                  </a:lnTo>
                  <a:lnTo>
                    <a:pt x="5" y="5"/>
                  </a:lnTo>
                  <a:lnTo>
                    <a:pt x="5" y="3"/>
                  </a:lnTo>
                  <a:lnTo>
                    <a:pt x="5" y="3"/>
                  </a:lnTo>
                  <a:lnTo>
                    <a:pt x="5" y="5"/>
                  </a:lnTo>
                  <a:lnTo>
                    <a:pt x="2" y="5"/>
                  </a:lnTo>
                  <a:lnTo>
                    <a:pt x="2" y="3"/>
                  </a:lnTo>
                  <a:lnTo>
                    <a:pt x="2" y="3"/>
                  </a:lnTo>
                  <a:lnTo>
                    <a:pt x="2" y="5"/>
                  </a:lnTo>
                  <a:lnTo>
                    <a:pt x="2" y="3"/>
                  </a:lnTo>
                  <a:lnTo>
                    <a:pt x="2" y="3"/>
                  </a:lnTo>
                  <a:lnTo>
                    <a:pt x="0" y="0"/>
                  </a:lnTo>
                  <a:lnTo>
                    <a:pt x="0"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40" name="Freeform 263">
              <a:extLst>
                <a:ext uri="{FF2B5EF4-FFF2-40B4-BE49-F238E27FC236}">
                  <a16:creationId xmlns:a16="http://schemas.microsoft.com/office/drawing/2014/main" id="{A37E4D0F-F7ED-4372-9C44-896A8461031C}"/>
                </a:ext>
              </a:extLst>
            </p:cNvPr>
            <p:cNvSpPr>
              <a:spLocks/>
            </p:cNvSpPr>
            <p:nvPr/>
          </p:nvSpPr>
          <p:spPr bwMode="gray">
            <a:xfrm>
              <a:off x="-1227" y="312"/>
              <a:ext cx="5" cy="12"/>
            </a:xfrm>
            <a:custGeom>
              <a:avLst/>
              <a:gdLst>
                <a:gd name="T0" fmla="*/ 3 w 5"/>
                <a:gd name="T1" fmla="*/ 0 h 12"/>
                <a:gd name="T2" fmla="*/ 3 w 5"/>
                <a:gd name="T3" fmla="*/ 0 h 12"/>
                <a:gd name="T4" fmla="*/ 3 w 5"/>
                <a:gd name="T5" fmla="*/ 0 h 12"/>
                <a:gd name="T6" fmla="*/ 0 w 5"/>
                <a:gd name="T7" fmla="*/ 3 h 12"/>
                <a:gd name="T8" fmla="*/ 0 w 5"/>
                <a:gd name="T9" fmla="*/ 3 h 12"/>
                <a:gd name="T10" fmla="*/ 0 w 5"/>
                <a:gd name="T11" fmla="*/ 5 h 12"/>
                <a:gd name="T12" fmla="*/ 0 w 5"/>
                <a:gd name="T13" fmla="*/ 5 h 12"/>
                <a:gd name="T14" fmla="*/ 0 w 5"/>
                <a:gd name="T15" fmla="*/ 7 h 12"/>
                <a:gd name="T16" fmla="*/ 0 w 5"/>
                <a:gd name="T17" fmla="*/ 7 h 12"/>
                <a:gd name="T18" fmla="*/ 3 w 5"/>
                <a:gd name="T19" fmla="*/ 7 h 12"/>
                <a:gd name="T20" fmla="*/ 3 w 5"/>
                <a:gd name="T21" fmla="*/ 10 h 12"/>
                <a:gd name="T22" fmla="*/ 3 w 5"/>
                <a:gd name="T23" fmla="*/ 10 h 12"/>
                <a:gd name="T24" fmla="*/ 5 w 5"/>
                <a:gd name="T25" fmla="*/ 12 h 12"/>
                <a:gd name="T26" fmla="*/ 5 w 5"/>
                <a:gd name="T27" fmla="*/ 12 h 12"/>
                <a:gd name="T28" fmla="*/ 5 w 5"/>
                <a:gd name="T29" fmla="*/ 10 h 12"/>
                <a:gd name="T30" fmla="*/ 5 w 5"/>
                <a:gd name="T31" fmla="*/ 10 h 12"/>
                <a:gd name="T32" fmla="*/ 3 w 5"/>
                <a:gd name="T33" fmla="*/ 7 h 12"/>
                <a:gd name="T34" fmla="*/ 5 w 5"/>
                <a:gd name="T35" fmla="*/ 5 h 12"/>
                <a:gd name="T36" fmla="*/ 5 w 5"/>
                <a:gd name="T37" fmla="*/ 5 h 12"/>
                <a:gd name="T38" fmla="*/ 5 w 5"/>
                <a:gd name="T39" fmla="*/ 3 h 12"/>
                <a:gd name="T40" fmla="*/ 3 w 5"/>
                <a:gd name="T41" fmla="*/ 3 h 12"/>
                <a:gd name="T42" fmla="*/ 3 w 5"/>
                <a:gd name="T43" fmla="*/ 0 h 12"/>
                <a:gd name="T44" fmla="*/ 3 w 5"/>
                <a:gd name="T45" fmla="*/ 0 h 12"/>
                <a:gd name="T46" fmla="*/ 3 w 5"/>
                <a:gd name="T4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 h="12">
                  <a:moveTo>
                    <a:pt x="3" y="0"/>
                  </a:moveTo>
                  <a:lnTo>
                    <a:pt x="3" y="0"/>
                  </a:lnTo>
                  <a:lnTo>
                    <a:pt x="3" y="0"/>
                  </a:lnTo>
                  <a:lnTo>
                    <a:pt x="0" y="3"/>
                  </a:lnTo>
                  <a:lnTo>
                    <a:pt x="0" y="3"/>
                  </a:lnTo>
                  <a:lnTo>
                    <a:pt x="0" y="5"/>
                  </a:lnTo>
                  <a:lnTo>
                    <a:pt x="0" y="5"/>
                  </a:lnTo>
                  <a:lnTo>
                    <a:pt x="0" y="7"/>
                  </a:lnTo>
                  <a:lnTo>
                    <a:pt x="0" y="7"/>
                  </a:lnTo>
                  <a:lnTo>
                    <a:pt x="3" y="7"/>
                  </a:lnTo>
                  <a:lnTo>
                    <a:pt x="3" y="10"/>
                  </a:lnTo>
                  <a:lnTo>
                    <a:pt x="3" y="10"/>
                  </a:lnTo>
                  <a:lnTo>
                    <a:pt x="5" y="12"/>
                  </a:lnTo>
                  <a:lnTo>
                    <a:pt x="5" y="12"/>
                  </a:lnTo>
                  <a:lnTo>
                    <a:pt x="5" y="10"/>
                  </a:lnTo>
                  <a:lnTo>
                    <a:pt x="5" y="10"/>
                  </a:lnTo>
                  <a:lnTo>
                    <a:pt x="3" y="7"/>
                  </a:lnTo>
                  <a:lnTo>
                    <a:pt x="5" y="5"/>
                  </a:lnTo>
                  <a:lnTo>
                    <a:pt x="5" y="5"/>
                  </a:lnTo>
                  <a:lnTo>
                    <a:pt x="5" y="3"/>
                  </a:lnTo>
                  <a:lnTo>
                    <a:pt x="3" y="3"/>
                  </a:lnTo>
                  <a:lnTo>
                    <a:pt x="3" y="0"/>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41" name="Freeform 264">
              <a:extLst>
                <a:ext uri="{FF2B5EF4-FFF2-40B4-BE49-F238E27FC236}">
                  <a16:creationId xmlns:a16="http://schemas.microsoft.com/office/drawing/2014/main" id="{85989EA6-E690-4F32-B7F3-5663DDAA4B92}"/>
                </a:ext>
              </a:extLst>
            </p:cNvPr>
            <p:cNvSpPr>
              <a:spLocks/>
            </p:cNvSpPr>
            <p:nvPr/>
          </p:nvSpPr>
          <p:spPr bwMode="gray">
            <a:xfrm>
              <a:off x="-1175" y="362"/>
              <a:ext cx="3" cy="2"/>
            </a:xfrm>
            <a:custGeom>
              <a:avLst/>
              <a:gdLst>
                <a:gd name="T0" fmla="*/ 0 w 3"/>
                <a:gd name="T1" fmla="*/ 0 h 2"/>
                <a:gd name="T2" fmla="*/ 0 w 3"/>
                <a:gd name="T3" fmla="*/ 2 h 2"/>
                <a:gd name="T4" fmla="*/ 0 w 3"/>
                <a:gd name="T5" fmla="*/ 2 h 2"/>
                <a:gd name="T6" fmla="*/ 0 w 3"/>
                <a:gd name="T7" fmla="*/ 2 h 2"/>
                <a:gd name="T8" fmla="*/ 3 w 3"/>
                <a:gd name="T9" fmla="*/ 0 h 2"/>
                <a:gd name="T10" fmla="*/ 3 w 3"/>
                <a:gd name="T11" fmla="*/ 0 h 2"/>
                <a:gd name="T12" fmla="*/ 3 w 3"/>
                <a:gd name="T13" fmla="*/ 0 h 2"/>
                <a:gd name="T14" fmla="*/ 3 w 3"/>
                <a:gd name="T15" fmla="*/ 0 h 2"/>
                <a:gd name="T16" fmla="*/ 0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0" y="0"/>
                  </a:moveTo>
                  <a:lnTo>
                    <a:pt x="0" y="2"/>
                  </a:lnTo>
                  <a:lnTo>
                    <a:pt x="0" y="2"/>
                  </a:lnTo>
                  <a:lnTo>
                    <a:pt x="0" y="2"/>
                  </a:lnTo>
                  <a:lnTo>
                    <a:pt x="3" y="0"/>
                  </a:lnTo>
                  <a:lnTo>
                    <a:pt x="3" y="0"/>
                  </a:lnTo>
                  <a:lnTo>
                    <a:pt x="3" y="0"/>
                  </a:lnTo>
                  <a:lnTo>
                    <a:pt x="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42" name="Freeform 265">
              <a:extLst>
                <a:ext uri="{FF2B5EF4-FFF2-40B4-BE49-F238E27FC236}">
                  <a16:creationId xmlns:a16="http://schemas.microsoft.com/office/drawing/2014/main" id="{48AB8195-4E5D-4BC3-BB74-4584E57B214F}"/>
                </a:ext>
              </a:extLst>
            </p:cNvPr>
            <p:cNvSpPr>
              <a:spLocks/>
            </p:cNvSpPr>
            <p:nvPr/>
          </p:nvSpPr>
          <p:spPr bwMode="gray">
            <a:xfrm>
              <a:off x="-1163" y="350"/>
              <a:ext cx="12" cy="5"/>
            </a:xfrm>
            <a:custGeom>
              <a:avLst/>
              <a:gdLst>
                <a:gd name="T0" fmla="*/ 0 w 12"/>
                <a:gd name="T1" fmla="*/ 5 h 5"/>
                <a:gd name="T2" fmla="*/ 3 w 12"/>
                <a:gd name="T3" fmla="*/ 5 h 5"/>
                <a:gd name="T4" fmla="*/ 3 w 12"/>
                <a:gd name="T5" fmla="*/ 5 h 5"/>
                <a:gd name="T6" fmla="*/ 5 w 12"/>
                <a:gd name="T7" fmla="*/ 5 h 5"/>
                <a:gd name="T8" fmla="*/ 10 w 12"/>
                <a:gd name="T9" fmla="*/ 2 h 5"/>
                <a:gd name="T10" fmla="*/ 12 w 12"/>
                <a:gd name="T11" fmla="*/ 2 h 5"/>
                <a:gd name="T12" fmla="*/ 10 w 12"/>
                <a:gd name="T13" fmla="*/ 0 h 5"/>
                <a:gd name="T14" fmla="*/ 7 w 12"/>
                <a:gd name="T15" fmla="*/ 0 h 5"/>
                <a:gd name="T16" fmla="*/ 3 w 12"/>
                <a:gd name="T17" fmla="*/ 2 h 5"/>
                <a:gd name="T18" fmla="*/ 0 w 12"/>
                <a:gd name="T19" fmla="*/ 2 h 5"/>
                <a:gd name="T20" fmla="*/ 0 w 12"/>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5">
                  <a:moveTo>
                    <a:pt x="0" y="5"/>
                  </a:moveTo>
                  <a:lnTo>
                    <a:pt x="3" y="5"/>
                  </a:lnTo>
                  <a:lnTo>
                    <a:pt x="3" y="5"/>
                  </a:lnTo>
                  <a:lnTo>
                    <a:pt x="5" y="5"/>
                  </a:lnTo>
                  <a:lnTo>
                    <a:pt x="10" y="2"/>
                  </a:lnTo>
                  <a:lnTo>
                    <a:pt x="12" y="2"/>
                  </a:lnTo>
                  <a:lnTo>
                    <a:pt x="10" y="0"/>
                  </a:lnTo>
                  <a:lnTo>
                    <a:pt x="7" y="0"/>
                  </a:lnTo>
                  <a:lnTo>
                    <a:pt x="3" y="2"/>
                  </a:lnTo>
                  <a:lnTo>
                    <a:pt x="0" y="2"/>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43" name="Freeform 266">
              <a:extLst>
                <a:ext uri="{FF2B5EF4-FFF2-40B4-BE49-F238E27FC236}">
                  <a16:creationId xmlns:a16="http://schemas.microsoft.com/office/drawing/2014/main" id="{737714B7-6483-48DE-A648-58B640F372C4}"/>
                </a:ext>
              </a:extLst>
            </p:cNvPr>
            <p:cNvSpPr>
              <a:spLocks/>
            </p:cNvSpPr>
            <p:nvPr/>
          </p:nvSpPr>
          <p:spPr bwMode="gray">
            <a:xfrm>
              <a:off x="-1168" y="359"/>
              <a:ext cx="19" cy="10"/>
            </a:xfrm>
            <a:custGeom>
              <a:avLst/>
              <a:gdLst>
                <a:gd name="T0" fmla="*/ 0 w 19"/>
                <a:gd name="T1" fmla="*/ 5 h 10"/>
                <a:gd name="T2" fmla="*/ 0 w 19"/>
                <a:gd name="T3" fmla="*/ 8 h 10"/>
                <a:gd name="T4" fmla="*/ 0 w 19"/>
                <a:gd name="T5" fmla="*/ 8 h 10"/>
                <a:gd name="T6" fmla="*/ 3 w 19"/>
                <a:gd name="T7" fmla="*/ 5 h 10"/>
                <a:gd name="T8" fmla="*/ 5 w 19"/>
                <a:gd name="T9" fmla="*/ 8 h 10"/>
                <a:gd name="T10" fmla="*/ 8 w 19"/>
                <a:gd name="T11" fmla="*/ 8 h 10"/>
                <a:gd name="T12" fmla="*/ 8 w 19"/>
                <a:gd name="T13" fmla="*/ 5 h 10"/>
                <a:gd name="T14" fmla="*/ 5 w 19"/>
                <a:gd name="T15" fmla="*/ 5 h 10"/>
                <a:gd name="T16" fmla="*/ 5 w 19"/>
                <a:gd name="T17" fmla="*/ 5 h 10"/>
                <a:gd name="T18" fmla="*/ 8 w 19"/>
                <a:gd name="T19" fmla="*/ 5 h 10"/>
                <a:gd name="T20" fmla="*/ 10 w 19"/>
                <a:gd name="T21" fmla="*/ 5 h 10"/>
                <a:gd name="T22" fmla="*/ 10 w 19"/>
                <a:gd name="T23" fmla="*/ 8 h 10"/>
                <a:gd name="T24" fmla="*/ 10 w 19"/>
                <a:gd name="T25" fmla="*/ 10 h 10"/>
                <a:gd name="T26" fmla="*/ 10 w 19"/>
                <a:gd name="T27" fmla="*/ 10 h 10"/>
                <a:gd name="T28" fmla="*/ 12 w 19"/>
                <a:gd name="T29" fmla="*/ 8 h 10"/>
                <a:gd name="T30" fmla="*/ 15 w 19"/>
                <a:gd name="T31" fmla="*/ 8 h 10"/>
                <a:gd name="T32" fmla="*/ 15 w 19"/>
                <a:gd name="T33" fmla="*/ 8 h 10"/>
                <a:gd name="T34" fmla="*/ 15 w 19"/>
                <a:gd name="T35" fmla="*/ 8 h 10"/>
                <a:gd name="T36" fmla="*/ 15 w 19"/>
                <a:gd name="T37" fmla="*/ 5 h 10"/>
                <a:gd name="T38" fmla="*/ 17 w 19"/>
                <a:gd name="T39" fmla="*/ 5 h 10"/>
                <a:gd name="T40" fmla="*/ 17 w 19"/>
                <a:gd name="T41" fmla="*/ 8 h 10"/>
                <a:gd name="T42" fmla="*/ 17 w 19"/>
                <a:gd name="T43" fmla="*/ 8 h 10"/>
                <a:gd name="T44" fmla="*/ 17 w 19"/>
                <a:gd name="T45" fmla="*/ 8 h 10"/>
                <a:gd name="T46" fmla="*/ 19 w 19"/>
                <a:gd name="T47" fmla="*/ 5 h 10"/>
                <a:gd name="T48" fmla="*/ 19 w 19"/>
                <a:gd name="T49" fmla="*/ 3 h 10"/>
                <a:gd name="T50" fmla="*/ 17 w 19"/>
                <a:gd name="T51" fmla="*/ 3 h 10"/>
                <a:gd name="T52" fmla="*/ 12 w 19"/>
                <a:gd name="T53" fmla="*/ 0 h 10"/>
                <a:gd name="T54" fmla="*/ 5 w 19"/>
                <a:gd name="T55" fmla="*/ 0 h 10"/>
                <a:gd name="T56" fmla="*/ 3 w 19"/>
                <a:gd name="T57" fmla="*/ 0 h 10"/>
                <a:gd name="T58" fmla="*/ 0 w 19"/>
                <a:gd name="T59" fmla="*/ 3 h 10"/>
                <a:gd name="T60" fmla="*/ 0 w 19"/>
                <a:gd name="T6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 h="10">
                  <a:moveTo>
                    <a:pt x="0" y="5"/>
                  </a:moveTo>
                  <a:lnTo>
                    <a:pt x="0" y="8"/>
                  </a:lnTo>
                  <a:lnTo>
                    <a:pt x="0" y="8"/>
                  </a:lnTo>
                  <a:lnTo>
                    <a:pt x="3" y="5"/>
                  </a:lnTo>
                  <a:lnTo>
                    <a:pt x="5" y="8"/>
                  </a:lnTo>
                  <a:lnTo>
                    <a:pt x="8" y="8"/>
                  </a:lnTo>
                  <a:lnTo>
                    <a:pt x="8" y="5"/>
                  </a:lnTo>
                  <a:lnTo>
                    <a:pt x="5" y="5"/>
                  </a:lnTo>
                  <a:lnTo>
                    <a:pt x="5" y="5"/>
                  </a:lnTo>
                  <a:lnTo>
                    <a:pt x="8" y="5"/>
                  </a:lnTo>
                  <a:lnTo>
                    <a:pt x="10" y="5"/>
                  </a:lnTo>
                  <a:lnTo>
                    <a:pt x="10" y="8"/>
                  </a:lnTo>
                  <a:lnTo>
                    <a:pt x="10" y="10"/>
                  </a:lnTo>
                  <a:lnTo>
                    <a:pt x="10" y="10"/>
                  </a:lnTo>
                  <a:lnTo>
                    <a:pt x="12" y="8"/>
                  </a:lnTo>
                  <a:lnTo>
                    <a:pt x="15" y="8"/>
                  </a:lnTo>
                  <a:lnTo>
                    <a:pt x="15" y="8"/>
                  </a:lnTo>
                  <a:lnTo>
                    <a:pt x="15" y="8"/>
                  </a:lnTo>
                  <a:lnTo>
                    <a:pt x="15" y="5"/>
                  </a:lnTo>
                  <a:lnTo>
                    <a:pt x="17" y="5"/>
                  </a:lnTo>
                  <a:lnTo>
                    <a:pt x="17" y="8"/>
                  </a:lnTo>
                  <a:lnTo>
                    <a:pt x="17" y="8"/>
                  </a:lnTo>
                  <a:lnTo>
                    <a:pt x="17" y="8"/>
                  </a:lnTo>
                  <a:lnTo>
                    <a:pt x="19" y="5"/>
                  </a:lnTo>
                  <a:lnTo>
                    <a:pt x="19" y="3"/>
                  </a:lnTo>
                  <a:lnTo>
                    <a:pt x="17" y="3"/>
                  </a:lnTo>
                  <a:lnTo>
                    <a:pt x="12" y="0"/>
                  </a:lnTo>
                  <a:lnTo>
                    <a:pt x="5" y="0"/>
                  </a:lnTo>
                  <a:lnTo>
                    <a:pt x="3" y="0"/>
                  </a:lnTo>
                  <a:lnTo>
                    <a:pt x="0" y="3"/>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44" name="Freeform 267">
              <a:extLst>
                <a:ext uri="{FF2B5EF4-FFF2-40B4-BE49-F238E27FC236}">
                  <a16:creationId xmlns:a16="http://schemas.microsoft.com/office/drawing/2014/main" id="{B7DD1E66-D6AB-4642-8A54-44A767D0AD51}"/>
                </a:ext>
              </a:extLst>
            </p:cNvPr>
            <p:cNvSpPr>
              <a:spLocks/>
            </p:cNvSpPr>
            <p:nvPr/>
          </p:nvSpPr>
          <p:spPr bwMode="gray">
            <a:xfrm>
              <a:off x="-1165" y="350"/>
              <a:ext cx="7" cy="5"/>
            </a:xfrm>
            <a:custGeom>
              <a:avLst/>
              <a:gdLst>
                <a:gd name="T0" fmla="*/ 2 w 7"/>
                <a:gd name="T1" fmla="*/ 0 h 5"/>
                <a:gd name="T2" fmla="*/ 2 w 7"/>
                <a:gd name="T3" fmla="*/ 0 h 5"/>
                <a:gd name="T4" fmla="*/ 0 w 7"/>
                <a:gd name="T5" fmla="*/ 0 h 5"/>
                <a:gd name="T6" fmla="*/ 0 w 7"/>
                <a:gd name="T7" fmla="*/ 5 h 5"/>
                <a:gd name="T8" fmla="*/ 0 w 7"/>
                <a:gd name="T9" fmla="*/ 5 h 5"/>
                <a:gd name="T10" fmla="*/ 7 w 7"/>
                <a:gd name="T11" fmla="*/ 0 h 5"/>
                <a:gd name="T12" fmla="*/ 7 w 7"/>
                <a:gd name="T13" fmla="*/ 0 h 5"/>
                <a:gd name="T14" fmla="*/ 2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2" y="0"/>
                  </a:moveTo>
                  <a:lnTo>
                    <a:pt x="2" y="0"/>
                  </a:lnTo>
                  <a:lnTo>
                    <a:pt x="0" y="0"/>
                  </a:lnTo>
                  <a:lnTo>
                    <a:pt x="0" y="5"/>
                  </a:lnTo>
                  <a:lnTo>
                    <a:pt x="0" y="5"/>
                  </a:lnTo>
                  <a:lnTo>
                    <a:pt x="7" y="0"/>
                  </a:lnTo>
                  <a:lnTo>
                    <a:pt x="7"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45" name="Freeform 268">
              <a:extLst>
                <a:ext uri="{FF2B5EF4-FFF2-40B4-BE49-F238E27FC236}">
                  <a16:creationId xmlns:a16="http://schemas.microsoft.com/office/drawing/2014/main" id="{C3FEFF33-A369-45A4-B038-010654804D34}"/>
                </a:ext>
              </a:extLst>
            </p:cNvPr>
            <p:cNvSpPr>
              <a:spLocks/>
            </p:cNvSpPr>
            <p:nvPr/>
          </p:nvSpPr>
          <p:spPr bwMode="gray">
            <a:xfrm>
              <a:off x="-1151" y="352"/>
              <a:ext cx="12" cy="10"/>
            </a:xfrm>
            <a:custGeom>
              <a:avLst/>
              <a:gdLst>
                <a:gd name="T0" fmla="*/ 7 w 12"/>
                <a:gd name="T1" fmla="*/ 3 h 10"/>
                <a:gd name="T2" fmla="*/ 7 w 12"/>
                <a:gd name="T3" fmla="*/ 3 h 10"/>
                <a:gd name="T4" fmla="*/ 7 w 12"/>
                <a:gd name="T5" fmla="*/ 0 h 10"/>
                <a:gd name="T6" fmla="*/ 5 w 12"/>
                <a:gd name="T7" fmla="*/ 3 h 10"/>
                <a:gd name="T8" fmla="*/ 2 w 12"/>
                <a:gd name="T9" fmla="*/ 3 h 10"/>
                <a:gd name="T10" fmla="*/ 0 w 12"/>
                <a:gd name="T11" fmla="*/ 3 h 10"/>
                <a:gd name="T12" fmla="*/ 0 w 12"/>
                <a:gd name="T13" fmla="*/ 5 h 10"/>
                <a:gd name="T14" fmla="*/ 2 w 12"/>
                <a:gd name="T15" fmla="*/ 7 h 10"/>
                <a:gd name="T16" fmla="*/ 5 w 12"/>
                <a:gd name="T17" fmla="*/ 7 h 10"/>
                <a:gd name="T18" fmla="*/ 5 w 12"/>
                <a:gd name="T19" fmla="*/ 5 h 10"/>
                <a:gd name="T20" fmla="*/ 5 w 12"/>
                <a:gd name="T21" fmla="*/ 7 h 10"/>
                <a:gd name="T22" fmla="*/ 5 w 12"/>
                <a:gd name="T23" fmla="*/ 10 h 10"/>
                <a:gd name="T24" fmla="*/ 5 w 12"/>
                <a:gd name="T25" fmla="*/ 10 h 10"/>
                <a:gd name="T26" fmla="*/ 5 w 12"/>
                <a:gd name="T27" fmla="*/ 10 h 10"/>
                <a:gd name="T28" fmla="*/ 7 w 12"/>
                <a:gd name="T29" fmla="*/ 10 h 10"/>
                <a:gd name="T30" fmla="*/ 9 w 12"/>
                <a:gd name="T31" fmla="*/ 7 h 10"/>
                <a:gd name="T32" fmla="*/ 12 w 12"/>
                <a:gd name="T33" fmla="*/ 5 h 10"/>
                <a:gd name="T34" fmla="*/ 12 w 12"/>
                <a:gd name="T35" fmla="*/ 5 h 10"/>
                <a:gd name="T36" fmla="*/ 9 w 12"/>
                <a:gd name="T37" fmla="*/ 5 h 10"/>
                <a:gd name="T38" fmla="*/ 9 w 12"/>
                <a:gd name="T39" fmla="*/ 5 h 10"/>
                <a:gd name="T40" fmla="*/ 7 w 12"/>
                <a:gd name="T41" fmla="*/ 5 h 10"/>
                <a:gd name="T42" fmla="*/ 7 w 12"/>
                <a:gd name="T43" fmla="*/ 3 h 10"/>
                <a:gd name="T44" fmla="*/ 7 w 12"/>
                <a:gd name="T45" fmla="*/ 3 h 10"/>
                <a:gd name="T46" fmla="*/ 7 w 12"/>
                <a:gd name="T47"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 h="10">
                  <a:moveTo>
                    <a:pt x="7" y="3"/>
                  </a:moveTo>
                  <a:lnTo>
                    <a:pt x="7" y="3"/>
                  </a:lnTo>
                  <a:lnTo>
                    <a:pt x="7" y="0"/>
                  </a:lnTo>
                  <a:lnTo>
                    <a:pt x="5" y="3"/>
                  </a:lnTo>
                  <a:lnTo>
                    <a:pt x="2" y="3"/>
                  </a:lnTo>
                  <a:lnTo>
                    <a:pt x="0" y="3"/>
                  </a:lnTo>
                  <a:lnTo>
                    <a:pt x="0" y="5"/>
                  </a:lnTo>
                  <a:lnTo>
                    <a:pt x="2" y="7"/>
                  </a:lnTo>
                  <a:lnTo>
                    <a:pt x="5" y="7"/>
                  </a:lnTo>
                  <a:lnTo>
                    <a:pt x="5" y="5"/>
                  </a:lnTo>
                  <a:lnTo>
                    <a:pt x="5" y="7"/>
                  </a:lnTo>
                  <a:lnTo>
                    <a:pt x="5" y="10"/>
                  </a:lnTo>
                  <a:lnTo>
                    <a:pt x="5" y="10"/>
                  </a:lnTo>
                  <a:lnTo>
                    <a:pt x="5" y="10"/>
                  </a:lnTo>
                  <a:lnTo>
                    <a:pt x="7" y="10"/>
                  </a:lnTo>
                  <a:lnTo>
                    <a:pt x="9" y="7"/>
                  </a:lnTo>
                  <a:lnTo>
                    <a:pt x="12" y="5"/>
                  </a:lnTo>
                  <a:lnTo>
                    <a:pt x="12" y="5"/>
                  </a:lnTo>
                  <a:lnTo>
                    <a:pt x="9" y="5"/>
                  </a:lnTo>
                  <a:lnTo>
                    <a:pt x="9" y="5"/>
                  </a:lnTo>
                  <a:lnTo>
                    <a:pt x="7" y="5"/>
                  </a:lnTo>
                  <a:lnTo>
                    <a:pt x="7" y="3"/>
                  </a:lnTo>
                  <a:lnTo>
                    <a:pt x="7" y="3"/>
                  </a:lnTo>
                  <a:lnTo>
                    <a:pt x="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46" name="Freeform 269">
              <a:extLst>
                <a:ext uri="{FF2B5EF4-FFF2-40B4-BE49-F238E27FC236}">
                  <a16:creationId xmlns:a16="http://schemas.microsoft.com/office/drawing/2014/main" id="{F2C1A001-BAA7-421B-A5B8-81B7E445E71D}"/>
                </a:ext>
              </a:extLst>
            </p:cNvPr>
            <p:cNvSpPr>
              <a:spLocks/>
            </p:cNvSpPr>
            <p:nvPr/>
          </p:nvSpPr>
          <p:spPr bwMode="gray">
            <a:xfrm>
              <a:off x="-1196" y="329"/>
              <a:ext cx="7" cy="9"/>
            </a:xfrm>
            <a:custGeom>
              <a:avLst/>
              <a:gdLst>
                <a:gd name="T0" fmla="*/ 3 w 7"/>
                <a:gd name="T1" fmla="*/ 2 h 9"/>
                <a:gd name="T2" fmla="*/ 3 w 7"/>
                <a:gd name="T3" fmla="*/ 7 h 9"/>
                <a:gd name="T4" fmla="*/ 0 w 7"/>
                <a:gd name="T5" fmla="*/ 9 h 9"/>
                <a:gd name="T6" fmla="*/ 0 w 7"/>
                <a:gd name="T7" fmla="*/ 9 h 9"/>
                <a:gd name="T8" fmla="*/ 3 w 7"/>
                <a:gd name="T9" fmla="*/ 9 h 9"/>
                <a:gd name="T10" fmla="*/ 3 w 7"/>
                <a:gd name="T11" fmla="*/ 7 h 9"/>
                <a:gd name="T12" fmla="*/ 5 w 7"/>
                <a:gd name="T13" fmla="*/ 7 h 9"/>
                <a:gd name="T14" fmla="*/ 5 w 7"/>
                <a:gd name="T15" fmla="*/ 2 h 9"/>
                <a:gd name="T16" fmla="*/ 7 w 7"/>
                <a:gd name="T17" fmla="*/ 2 h 9"/>
                <a:gd name="T18" fmla="*/ 7 w 7"/>
                <a:gd name="T19" fmla="*/ 0 h 9"/>
                <a:gd name="T20" fmla="*/ 5 w 7"/>
                <a:gd name="T21" fmla="*/ 0 h 9"/>
                <a:gd name="T22" fmla="*/ 3 w 7"/>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9">
                  <a:moveTo>
                    <a:pt x="3" y="2"/>
                  </a:moveTo>
                  <a:lnTo>
                    <a:pt x="3" y="7"/>
                  </a:lnTo>
                  <a:lnTo>
                    <a:pt x="0" y="9"/>
                  </a:lnTo>
                  <a:lnTo>
                    <a:pt x="0" y="9"/>
                  </a:lnTo>
                  <a:lnTo>
                    <a:pt x="3" y="9"/>
                  </a:lnTo>
                  <a:lnTo>
                    <a:pt x="3" y="7"/>
                  </a:lnTo>
                  <a:lnTo>
                    <a:pt x="5" y="7"/>
                  </a:lnTo>
                  <a:lnTo>
                    <a:pt x="5" y="2"/>
                  </a:lnTo>
                  <a:lnTo>
                    <a:pt x="7" y="2"/>
                  </a:lnTo>
                  <a:lnTo>
                    <a:pt x="7" y="0"/>
                  </a:lnTo>
                  <a:lnTo>
                    <a:pt x="5" y="0"/>
                  </a:lnTo>
                  <a:lnTo>
                    <a:pt x="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47" name="Freeform 270">
              <a:extLst>
                <a:ext uri="{FF2B5EF4-FFF2-40B4-BE49-F238E27FC236}">
                  <a16:creationId xmlns:a16="http://schemas.microsoft.com/office/drawing/2014/main" id="{224224C5-78F9-41F0-8E7B-15ABF4C189EF}"/>
                </a:ext>
              </a:extLst>
            </p:cNvPr>
            <p:cNvSpPr>
              <a:spLocks/>
            </p:cNvSpPr>
            <p:nvPr/>
          </p:nvSpPr>
          <p:spPr bwMode="gray">
            <a:xfrm>
              <a:off x="-1193" y="376"/>
              <a:ext cx="11" cy="12"/>
            </a:xfrm>
            <a:custGeom>
              <a:avLst/>
              <a:gdLst>
                <a:gd name="T0" fmla="*/ 2 w 11"/>
                <a:gd name="T1" fmla="*/ 2 h 12"/>
                <a:gd name="T2" fmla="*/ 0 w 11"/>
                <a:gd name="T3" fmla="*/ 2 h 12"/>
                <a:gd name="T4" fmla="*/ 0 w 11"/>
                <a:gd name="T5" fmla="*/ 5 h 12"/>
                <a:gd name="T6" fmla="*/ 2 w 11"/>
                <a:gd name="T7" fmla="*/ 5 h 12"/>
                <a:gd name="T8" fmla="*/ 2 w 11"/>
                <a:gd name="T9" fmla="*/ 7 h 12"/>
                <a:gd name="T10" fmla="*/ 0 w 11"/>
                <a:gd name="T11" fmla="*/ 7 h 12"/>
                <a:gd name="T12" fmla="*/ 0 w 11"/>
                <a:gd name="T13" fmla="*/ 7 h 12"/>
                <a:gd name="T14" fmla="*/ 0 w 11"/>
                <a:gd name="T15" fmla="*/ 9 h 12"/>
                <a:gd name="T16" fmla="*/ 0 w 11"/>
                <a:gd name="T17" fmla="*/ 9 h 12"/>
                <a:gd name="T18" fmla="*/ 0 w 11"/>
                <a:gd name="T19" fmla="*/ 9 h 12"/>
                <a:gd name="T20" fmla="*/ 0 w 11"/>
                <a:gd name="T21" fmla="*/ 12 h 12"/>
                <a:gd name="T22" fmla="*/ 2 w 11"/>
                <a:gd name="T23" fmla="*/ 12 h 12"/>
                <a:gd name="T24" fmla="*/ 4 w 11"/>
                <a:gd name="T25" fmla="*/ 9 h 12"/>
                <a:gd name="T26" fmla="*/ 7 w 11"/>
                <a:gd name="T27" fmla="*/ 9 h 12"/>
                <a:gd name="T28" fmla="*/ 7 w 11"/>
                <a:gd name="T29" fmla="*/ 7 h 12"/>
                <a:gd name="T30" fmla="*/ 7 w 11"/>
                <a:gd name="T31" fmla="*/ 7 h 12"/>
                <a:gd name="T32" fmla="*/ 7 w 11"/>
                <a:gd name="T33" fmla="*/ 7 h 12"/>
                <a:gd name="T34" fmla="*/ 7 w 11"/>
                <a:gd name="T35" fmla="*/ 7 h 12"/>
                <a:gd name="T36" fmla="*/ 9 w 11"/>
                <a:gd name="T37" fmla="*/ 7 h 12"/>
                <a:gd name="T38" fmla="*/ 7 w 11"/>
                <a:gd name="T39" fmla="*/ 5 h 12"/>
                <a:gd name="T40" fmla="*/ 11 w 11"/>
                <a:gd name="T41" fmla="*/ 5 h 12"/>
                <a:gd name="T42" fmla="*/ 9 w 11"/>
                <a:gd name="T43" fmla="*/ 5 h 12"/>
                <a:gd name="T44" fmla="*/ 9 w 11"/>
                <a:gd name="T45" fmla="*/ 2 h 12"/>
                <a:gd name="T46" fmla="*/ 11 w 11"/>
                <a:gd name="T47" fmla="*/ 2 h 12"/>
                <a:gd name="T48" fmla="*/ 11 w 11"/>
                <a:gd name="T49" fmla="*/ 2 h 12"/>
                <a:gd name="T50" fmla="*/ 11 w 11"/>
                <a:gd name="T51" fmla="*/ 2 h 12"/>
                <a:gd name="T52" fmla="*/ 11 w 11"/>
                <a:gd name="T53" fmla="*/ 2 h 12"/>
                <a:gd name="T54" fmla="*/ 11 w 11"/>
                <a:gd name="T55" fmla="*/ 2 h 12"/>
                <a:gd name="T56" fmla="*/ 11 w 11"/>
                <a:gd name="T57" fmla="*/ 0 h 12"/>
                <a:gd name="T58" fmla="*/ 7 w 11"/>
                <a:gd name="T59" fmla="*/ 0 h 12"/>
                <a:gd name="T60" fmla="*/ 2 w 11"/>
                <a:gd name="T61" fmla="*/ 0 h 12"/>
                <a:gd name="T62" fmla="*/ 2 w 11"/>
                <a:gd name="T63"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 h="12">
                  <a:moveTo>
                    <a:pt x="2" y="2"/>
                  </a:moveTo>
                  <a:lnTo>
                    <a:pt x="0" y="2"/>
                  </a:lnTo>
                  <a:lnTo>
                    <a:pt x="0" y="5"/>
                  </a:lnTo>
                  <a:lnTo>
                    <a:pt x="2" y="5"/>
                  </a:lnTo>
                  <a:lnTo>
                    <a:pt x="2" y="7"/>
                  </a:lnTo>
                  <a:lnTo>
                    <a:pt x="0" y="7"/>
                  </a:lnTo>
                  <a:lnTo>
                    <a:pt x="0" y="7"/>
                  </a:lnTo>
                  <a:lnTo>
                    <a:pt x="0" y="9"/>
                  </a:lnTo>
                  <a:lnTo>
                    <a:pt x="0" y="9"/>
                  </a:lnTo>
                  <a:lnTo>
                    <a:pt x="0" y="9"/>
                  </a:lnTo>
                  <a:lnTo>
                    <a:pt x="0" y="12"/>
                  </a:lnTo>
                  <a:lnTo>
                    <a:pt x="2" y="12"/>
                  </a:lnTo>
                  <a:lnTo>
                    <a:pt x="4" y="9"/>
                  </a:lnTo>
                  <a:lnTo>
                    <a:pt x="7" y="9"/>
                  </a:lnTo>
                  <a:lnTo>
                    <a:pt x="7" y="7"/>
                  </a:lnTo>
                  <a:lnTo>
                    <a:pt x="7" y="7"/>
                  </a:lnTo>
                  <a:lnTo>
                    <a:pt x="7" y="7"/>
                  </a:lnTo>
                  <a:lnTo>
                    <a:pt x="7" y="7"/>
                  </a:lnTo>
                  <a:lnTo>
                    <a:pt x="9" y="7"/>
                  </a:lnTo>
                  <a:lnTo>
                    <a:pt x="7" y="5"/>
                  </a:lnTo>
                  <a:lnTo>
                    <a:pt x="11" y="5"/>
                  </a:lnTo>
                  <a:lnTo>
                    <a:pt x="9" y="5"/>
                  </a:lnTo>
                  <a:lnTo>
                    <a:pt x="9" y="2"/>
                  </a:lnTo>
                  <a:lnTo>
                    <a:pt x="11" y="2"/>
                  </a:lnTo>
                  <a:lnTo>
                    <a:pt x="11" y="2"/>
                  </a:lnTo>
                  <a:lnTo>
                    <a:pt x="11" y="2"/>
                  </a:lnTo>
                  <a:lnTo>
                    <a:pt x="11" y="2"/>
                  </a:lnTo>
                  <a:lnTo>
                    <a:pt x="11" y="2"/>
                  </a:lnTo>
                  <a:lnTo>
                    <a:pt x="11" y="0"/>
                  </a:lnTo>
                  <a:lnTo>
                    <a:pt x="7" y="0"/>
                  </a:lnTo>
                  <a:lnTo>
                    <a:pt x="2" y="0"/>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48" name="Freeform 271">
              <a:extLst>
                <a:ext uri="{FF2B5EF4-FFF2-40B4-BE49-F238E27FC236}">
                  <a16:creationId xmlns:a16="http://schemas.microsoft.com/office/drawing/2014/main" id="{B5E86FEC-992F-4546-AFFC-25C0E36990D5}"/>
                </a:ext>
              </a:extLst>
            </p:cNvPr>
            <p:cNvSpPr>
              <a:spLocks/>
            </p:cNvSpPr>
            <p:nvPr/>
          </p:nvSpPr>
          <p:spPr bwMode="gray">
            <a:xfrm>
              <a:off x="-1429" y="496"/>
              <a:ext cx="18" cy="12"/>
            </a:xfrm>
            <a:custGeom>
              <a:avLst/>
              <a:gdLst>
                <a:gd name="T0" fmla="*/ 7 w 18"/>
                <a:gd name="T1" fmla="*/ 7 h 12"/>
                <a:gd name="T2" fmla="*/ 11 w 18"/>
                <a:gd name="T3" fmla="*/ 10 h 12"/>
                <a:gd name="T4" fmla="*/ 14 w 18"/>
                <a:gd name="T5" fmla="*/ 12 h 12"/>
                <a:gd name="T6" fmla="*/ 16 w 18"/>
                <a:gd name="T7" fmla="*/ 10 h 12"/>
                <a:gd name="T8" fmla="*/ 11 w 18"/>
                <a:gd name="T9" fmla="*/ 10 h 12"/>
                <a:gd name="T10" fmla="*/ 11 w 18"/>
                <a:gd name="T11" fmla="*/ 7 h 12"/>
                <a:gd name="T12" fmla="*/ 11 w 18"/>
                <a:gd name="T13" fmla="*/ 5 h 12"/>
                <a:gd name="T14" fmla="*/ 14 w 18"/>
                <a:gd name="T15" fmla="*/ 7 h 12"/>
                <a:gd name="T16" fmla="*/ 14 w 18"/>
                <a:gd name="T17" fmla="*/ 7 h 12"/>
                <a:gd name="T18" fmla="*/ 18 w 18"/>
                <a:gd name="T19" fmla="*/ 7 h 12"/>
                <a:gd name="T20" fmla="*/ 11 w 18"/>
                <a:gd name="T21" fmla="*/ 2 h 12"/>
                <a:gd name="T22" fmla="*/ 7 w 18"/>
                <a:gd name="T23" fmla="*/ 0 h 12"/>
                <a:gd name="T24" fmla="*/ 0 w 18"/>
                <a:gd name="T25" fmla="*/ 0 h 12"/>
                <a:gd name="T26" fmla="*/ 2 w 18"/>
                <a:gd name="T27" fmla="*/ 2 h 12"/>
                <a:gd name="T28" fmla="*/ 4 w 18"/>
                <a:gd name="T29" fmla="*/ 5 h 12"/>
                <a:gd name="T30" fmla="*/ 4 w 18"/>
                <a:gd name="T31" fmla="*/ 5 h 12"/>
                <a:gd name="T32" fmla="*/ 4 w 18"/>
                <a:gd name="T33" fmla="*/ 7 h 12"/>
                <a:gd name="T34" fmla="*/ 4 w 18"/>
                <a:gd name="T35" fmla="*/ 7 h 12"/>
                <a:gd name="T36" fmla="*/ 7 w 18"/>
                <a:gd name="T37"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2">
                  <a:moveTo>
                    <a:pt x="7" y="7"/>
                  </a:moveTo>
                  <a:lnTo>
                    <a:pt x="11" y="10"/>
                  </a:lnTo>
                  <a:lnTo>
                    <a:pt x="14" y="12"/>
                  </a:lnTo>
                  <a:lnTo>
                    <a:pt x="16" y="10"/>
                  </a:lnTo>
                  <a:lnTo>
                    <a:pt x="11" y="10"/>
                  </a:lnTo>
                  <a:lnTo>
                    <a:pt x="11" y="7"/>
                  </a:lnTo>
                  <a:lnTo>
                    <a:pt x="11" y="5"/>
                  </a:lnTo>
                  <a:lnTo>
                    <a:pt x="14" y="7"/>
                  </a:lnTo>
                  <a:lnTo>
                    <a:pt x="14" y="7"/>
                  </a:lnTo>
                  <a:lnTo>
                    <a:pt x="18" y="7"/>
                  </a:lnTo>
                  <a:lnTo>
                    <a:pt x="11" y="2"/>
                  </a:lnTo>
                  <a:lnTo>
                    <a:pt x="7" y="0"/>
                  </a:lnTo>
                  <a:lnTo>
                    <a:pt x="0" y="0"/>
                  </a:lnTo>
                  <a:lnTo>
                    <a:pt x="2" y="2"/>
                  </a:lnTo>
                  <a:lnTo>
                    <a:pt x="4" y="5"/>
                  </a:lnTo>
                  <a:lnTo>
                    <a:pt x="4" y="5"/>
                  </a:lnTo>
                  <a:lnTo>
                    <a:pt x="4" y="7"/>
                  </a:lnTo>
                  <a:lnTo>
                    <a:pt x="4" y="7"/>
                  </a:lnTo>
                  <a:lnTo>
                    <a:pt x="7"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49" name="Freeform 272">
              <a:extLst>
                <a:ext uri="{FF2B5EF4-FFF2-40B4-BE49-F238E27FC236}">
                  <a16:creationId xmlns:a16="http://schemas.microsoft.com/office/drawing/2014/main" id="{4CFF0AA4-52A3-4803-BD51-E22945096F4B}"/>
                </a:ext>
              </a:extLst>
            </p:cNvPr>
            <p:cNvSpPr>
              <a:spLocks/>
            </p:cNvSpPr>
            <p:nvPr/>
          </p:nvSpPr>
          <p:spPr bwMode="gray">
            <a:xfrm>
              <a:off x="-1418" y="463"/>
              <a:ext cx="17" cy="17"/>
            </a:xfrm>
            <a:custGeom>
              <a:avLst/>
              <a:gdLst>
                <a:gd name="T0" fmla="*/ 7 w 17"/>
                <a:gd name="T1" fmla="*/ 7 h 17"/>
                <a:gd name="T2" fmla="*/ 7 w 17"/>
                <a:gd name="T3" fmla="*/ 7 h 17"/>
                <a:gd name="T4" fmla="*/ 10 w 17"/>
                <a:gd name="T5" fmla="*/ 7 h 17"/>
                <a:gd name="T6" fmla="*/ 10 w 17"/>
                <a:gd name="T7" fmla="*/ 5 h 17"/>
                <a:gd name="T8" fmla="*/ 10 w 17"/>
                <a:gd name="T9" fmla="*/ 5 h 17"/>
                <a:gd name="T10" fmla="*/ 12 w 17"/>
                <a:gd name="T11" fmla="*/ 3 h 17"/>
                <a:gd name="T12" fmla="*/ 17 w 17"/>
                <a:gd name="T13" fmla="*/ 3 h 17"/>
                <a:gd name="T14" fmla="*/ 17 w 17"/>
                <a:gd name="T15" fmla="*/ 0 h 17"/>
                <a:gd name="T16" fmla="*/ 12 w 17"/>
                <a:gd name="T17" fmla="*/ 3 h 17"/>
                <a:gd name="T18" fmla="*/ 12 w 17"/>
                <a:gd name="T19" fmla="*/ 3 h 17"/>
                <a:gd name="T20" fmla="*/ 12 w 17"/>
                <a:gd name="T21" fmla="*/ 0 h 17"/>
                <a:gd name="T22" fmla="*/ 12 w 17"/>
                <a:gd name="T23" fmla="*/ 0 h 17"/>
                <a:gd name="T24" fmla="*/ 10 w 17"/>
                <a:gd name="T25" fmla="*/ 0 h 17"/>
                <a:gd name="T26" fmla="*/ 7 w 17"/>
                <a:gd name="T27" fmla="*/ 0 h 17"/>
                <a:gd name="T28" fmla="*/ 7 w 17"/>
                <a:gd name="T29" fmla="*/ 0 h 17"/>
                <a:gd name="T30" fmla="*/ 5 w 17"/>
                <a:gd name="T31" fmla="*/ 0 h 17"/>
                <a:gd name="T32" fmla="*/ 5 w 17"/>
                <a:gd name="T33" fmla="*/ 3 h 17"/>
                <a:gd name="T34" fmla="*/ 3 w 17"/>
                <a:gd name="T35" fmla="*/ 5 h 17"/>
                <a:gd name="T36" fmla="*/ 3 w 17"/>
                <a:gd name="T37" fmla="*/ 5 h 17"/>
                <a:gd name="T38" fmla="*/ 3 w 17"/>
                <a:gd name="T39" fmla="*/ 5 h 17"/>
                <a:gd name="T40" fmla="*/ 3 w 17"/>
                <a:gd name="T41" fmla="*/ 7 h 17"/>
                <a:gd name="T42" fmla="*/ 3 w 17"/>
                <a:gd name="T43" fmla="*/ 7 h 17"/>
                <a:gd name="T44" fmla="*/ 3 w 17"/>
                <a:gd name="T45" fmla="*/ 7 h 17"/>
                <a:gd name="T46" fmla="*/ 3 w 17"/>
                <a:gd name="T47" fmla="*/ 7 h 17"/>
                <a:gd name="T48" fmla="*/ 3 w 17"/>
                <a:gd name="T49" fmla="*/ 7 h 17"/>
                <a:gd name="T50" fmla="*/ 5 w 17"/>
                <a:gd name="T51" fmla="*/ 7 h 17"/>
                <a:gd name="T52" fmla="*/ 5 w 17"/>
                <a:gd name="T53" fmla="*/ 7 h 17"/>
                <a:gd name="T54" fmla="*/ 3 w 17"/>
                <a:gd name="T55" fmla="*/ 7 h 17"/>
                <a:gd name="T56" fmla="*/ 3 w 17"/>
                <a:gd name="T57" fmla="*/ 7 h 17"/>
                <a:gd name="T58" fmla="*/ 3 w 17"/>
                <a:gd name="T59" fmla="*/ 7 h 17"/>
                <a:gd name="T60" fmla="*/ 3 w 17"/>
                <a:gd name="T61" fmla="*/ 10 h 17"/>
                <a:gd name="T62" fmla="*/ 3 w 17"/>
                <a:gd name="T63" fmla="*/ 7 h 17"/>
                <a:gd name="T64" fmla="*/ 3 w 17"/>
                <a:gd name="T65" fmla="*/ 7 h 17"/>
                <a:gd name="T66" fmla="*/ 0 w 17"/>
                <a:gd name="T67" fmla="*/ 7 h 17"/>
                <a:gd name="T68" fmla="*/ 0 w 17"/>
                <a:gd name="T69" fmla="*/ 7 h 17"/>
                <a:gd name="T70" fmla="*/ 0 w 17"/>
                <a:gd name="T71" fmla="*/ 10 h 17"/>
                <a:gd name="T72" fmla="*/ 0 w 17"/>
                <a:gd name="T73" fmla="*/ 10 h 17"/>
                <a:gd name="T74" fmla="*/ 0 w 17"/>
                <a:gd name="T75" fmla="*/ 10 h 17"/>
                <a:gd name="T76" fmla="*/ 0 w 17"/>
                <a:gd name="T77" fmla="*/ 12 h 17"/>
                <a:gd name="T78" fmla="*/ 0 w 17"/>
                <a:gd name="T79" fmla="*/ 12 h 17"/>
                <a:gd name="T80" fmla="*/ 3 w 17"/>
                <a:gd name="T81" fmla="*/ 14 h 17"/>
                <a:gd name="T82" fmla="*/ 3 w 17"/>
                <a:gd name="T83" fmla="*/ 14 h 17"/>
                <a:gd name="T84" fmla="*/ 3 w 17"/>
                <a:gd name="T85" fmla="*/ 17 h 17"/>
                <a:gd name="T86" fmla="*/ 3 w 17"/>
                <a:gd name="T87" fmla="*/ 17 h 17"/>
                <a:gd name="T88" fmla="*/ 3 w 17"/>
                <a:gd name="T89" fmla="*/ 17 h 17"/>
                <a:gd name="T90" fmla="*/ 3 w 17"/>
                <a:gd name="T91" fmla="*/ 17 h 17"/>
                <a:gd name="T92" fmla="*/ 5 w 17"/>
                <a:gd name="T93" fmla="*/ 17 h 17"/>
                <a:gd name="T94" fmla="*/ 5 w 17"/>
                <a:gd name="T95" fmla="*/ 17 h 17"/>
                <a:gd name="T96" fmla="*/ 5 w 17"/>
                <a:gd name="T97" fmla="*/ 12 h 17"/>
                <a:gd name="T98" fmla="*/ 5 w 17"/>
                <a:gd name="T99" fmla="*/ 14 h 17"/>
                <a:gd name="T100" fmla="*/ 5 w 17"/>
                <a:gd name="T101" fmla="*/ 12 h 17"/>
                <a:gd name="T102" fmla="*/ 7 w 17"/>
                <a:gd name="T103" fmla="*/ 12 h 17"/>
                <a:gd name="T104" fmla="*/ 5 w 17"/>
                <a:gd name="T105" fmla="*/ 7 h 17"/>
                <a:gd name="T106" fmla="*/ 5 w 17"/>
                <a:gd name="T107" fmla="*/ 7 h 17"/>
                <a:gd name="T108" fmla="*/ 7 w 17"/>
                <a:gd name="T109" fmla="*/ 7 h 17"/>
                <a:gd name="T110" fmla="*/ 5 w 17"/>
                <a:gd name="T111" fmla="*/ 7 h 17"/>
                <a:gd name="T112" fmla="*/ 7 w 17"/>
                <a:gd name="T113" fmla="*/ 7 h 17"/>
                <a:gd name="T114" fmla="*/ 7 w 17"/>
                <a:gd name="T115"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 h="17">
                  <a:moveTo>
                    <a:pt x="7" y="7"/>
                  </a:moveTo>
                  <a:lnTo>
                    <a:pt x="7" y="7"/>
                  </a:lnTo>
                  <a:lnTo>
                    <a:pt x="10" y="7"/>
                  </a:lnTo>
                  <a:lnTo>
                    <a:pt x="10" y="5"/>
                  </a:lnTo>
                  <a:lnTo>
                    <a:pt x="10" y="5"/>
                  </a:lnTo>
                  <a:lnTo>
                    <a:pt x="12" y="3"/>
                  </a:lnTo>
                  <a:lnTo>
                    <a:pt x="17" y="3"/>
                  </a:lnTo>
                  <a:lnTo>
                    <a:pt x="17" y="0"/>
                  </a:lnTo>
                  <a:lnTo>
                    <a:pt x="12" y="3"/>
                  </a:lnTo>
                  <a:lnTo>
                    <a:pt x="12" y="3"/>
                  </a:lnTo>
                  <a:lnTo>
                    <a:pt x="12" y="0"/>
                  </a:lnTo>
                  <a:lnTo>
                    <a:pt x="12" y="0"/>
                  </a:lnTo>
                  <a:lnTo>
                    <a:pt x="10" y="0"/>
                  </a:lnTo>
                  <a:lnTo>
                    <a:pt x="7" y="0"/>
                  </a:lnTo>
                  <a:lnTo>
                    <a:pt x="7" y="0"/>
                  </a:lnTo>
                  <a:lnTo>
                    <a:pt x="5" y="0"/>
                  </a:lnTo>
                  <a:lnTo>
                    <a:pt x="5" y="3"/>
                  </a:lnTo>
                  <a:lnTo>
                    <a:pt x="3" y="5"/>
                  </a:lnTo>
                  <a:lnTo>
                    <a:pt x="3" y="5"/>
                  </a:lnTo>
                  <a:lnTo>
                    <a:pt x="3" y="5"/>
                  </a:lnTo>
                  <a:lnTo>
                    <a:pt x="3" y="7"/>
                  </a:lnTo>
                  <a:lnTo>
                    <a:pt x="3" y="7"/>
                  </a:lnTo>
                  <a:lnTo>
                    <a:pt x="3" y="7"/>
                  </a:lnTo>
                  <a:lnTo>
                    <a:pt x="3" y="7"/>
                  </a:lnTo>
                  <a:lnTo>
                    <a:pt x="3" y="7"/>
                  </a:lnTo>
                  <a:lnTo>
                    <a:pt x="5" y="7"/>
                  </a:lnTo>
                  <a:lnTo>
                    <a:pt x="5" y="7"/>
                  </a:lnTo>
                  <a:lnTo>
                    <a:pt x="3" y="7"/>
                  </a:lnTo>
                  <a:lnTo>
                    <a:pt x="3" y="7"/>
                  </a:lnTo>
                  <a:lnTo>
                    <a:pt x="3" y="7"/>
                  </a:lnTo>
                  <a:lnTo>
                    <a:pt x="3" y="10"/>
                  </a:lnTo>
                  <a:lnTo>
                    <a:pt x="3" y="7"/>
                  </a:lnTo>
                  <a:lnTo>
                    <a:pt x="3" y="7"/>
                  </a:lnTo>
                  <a:lnTo>
                    <a:pt x="0" y="7"/>
                  </a:lnTo>
                  <a:lnTo>
                    <a:pt x="0" y="7"/>
                  </a:lnTo>
                  <a:lnTo>
                    <a:pt x="0" y="10"/>
                  </a:lnTo>
                  <a:lnTo>
                    <a:pt x="0" y="10"/>
                  </a:lnTo>
                  <a:lnTo>
                    <a:pt x="0" y="10"/>
                  </a:lnTo>
                  <a:lnTo>
                    <a:pt x="0" y="12"/>
                  </a:lnTo>
                  <a:lnTo>
                    <a:pt x="0" y="12"/>
                  </a:lnTo>
                  <a:lnTo>
                    <a:pt x="3" y="14"/>
                  </a:lnTo>
                  <a:lnTo>
                    <a:pt x="3" y="14"/>
                  </a:lnTo>
                  <a:lnTo>
                    <a:pt x="3" y="17"/>
                  </a:lnTo>
                  <a:lnTo>
                    <a:pt x="3" y="17"/>
                  </a:lnTo>
                  <a:lnTo>
                    <a:pt x="3" y="17"/>
                  </a:lnTo>
                  <a:lnTo>
                    <a:pt x="3" y="17"/>
                  </a:lnTo>
                  <a:lnTo>
                    <a:pt x="5" y="17"/>
                  </a:lnTo>
                  <a:lnTo>
                    <a:pt x="5" y="17"/>
                  </a:lnTo>
                  <a:lnTo>
                    <a:pt x="5" y="12"/>
                  </a:lnTo>
                  <a:lnTo>
                    <a:pt x="5" y="14"/>
                  </a:lnTo>
                  <a:lnTo>
                    <a:pt x="5" y="12"/>
                  </a:lnTo>
                  <a:lnTo>
                    <a:pt x="7" y="12"/>
                  </a:lnTo>
                  <a:lnTo>
                    <a:pt x="5" y="7"/>
                  </a:lnTo>
                  <a:lnTo>
                    <a:pt x="5" y="7"/>
                  </a:lnTo>
                  <a:lnTo>
                    <a:pt x="7" y="7"/>
                  </a:lnTo>
                  <a:lnTo>
                    <a:pt x="5" y="7"/>
                  </a:lnTo>
                  <a:lnTo>
                    <a:pt x="7" y="7"/>
                  </a:lnTo>
                  <a:lnTo>
                    <a:pt x="7"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50" name="Freeform 273">
              <a:extLst>
                <a:ext uri="{FF2B5EF4-FFF2-40B4-BE49-F238E27FC236}">
                  <a16:creationId xmlns:a16="http://schemas.microsoft.com/office/drawing/2014/main" id="{C797B15D-27F5-44EE-B39F-95BEE24EC0C0}"/>
                </a:ext>
              </a:extLst>
            </p:cNvPr>
            <p:cNvSpPr>
              <a:spLocks/>
            </p:cNvSpPr>
            <p:nvPr/>
          </p:nvSpPr>
          <p:spPr bwMode="gray">
            <a:xfrm>
              <a:off x="-1394" y="449"/>
              <a:ext cx="9" cy="9"/>
            </a:xfrm>
            <a:custGeom>
              <a:avLst/>
              <a:gdLst>
                <a:gd name="T0" fmla="*/ 7 w 9"/>
                <a:gd name="T1" fmla="*/ 5 h 9"/>
                <a:gd name="T2" fmla="*/ 7 w 9"/>
                <a:gd name="T3" fmla="*/ 2 h 9"/>
                <a:gd name="T4" fmla="*/ 9 w 9"/>
                <a:gd name="T5" fmla="*/ 2 h 9"/>
                <a:gd name="T6" fmla="*/ 9 w 9"/>
                <a:gd name="T7" fmla="*/ 2 h 9"/>
                <a:gd name="T8" fmla="*/ 9 w 9"/>
                <a:gd name="T9" fmla="*/ 2 h 9"/>
                <a:gd name="T10" fmla="*/ 9 w 9"/>
                <a:gd name="T11" fmla="*/ 2 h 9"/>
                <a:gd name="T12" fmla="*/ 9 w 9"/>
                <a:gd name="T13" fmla="*/ 2 h 9"/>
                <a:gd name="T14" fmla="*/ 7 w 9"/>
                <a:gd name="T15" fmla="*/ 0 h 9"/>
                <a:gd name="T16" fmla="*/ 7 w 9"/>
                <a:gd name="T17" fmla="*/ 0 h 9"/>
                <a:gd name="T18" fmla="*/ 7 w 9"/>
                <a:gd name="T19" fmla="*/ 0 h 9"/>
                <a:gd name="T20" fmla="*/ 0 w 9"/>
                <a:gd name="T21" fmla="*/ 5 h 9"/>
                <a:gd name="T22" fmla="*/ 0 w 9"/>
                <a:gd name="T23" fmla="*/ 7 h 9"/>
                <a:gd name="T24" fmla="*/ 0 w 9"/>
                <a:gd name="T25" fmla="*/ 9 h 9"/>
                <a:gd name="T26" fmla="*/ 2 w 9"/>
                <a:gd name="T27" fmla="*/ 9 h 9"/>
                <a:gd name="T28" fmla="*/ 2 w 9"/>
                <a:gd name="T29" fmla="*/ 9 h 9"/>
                <a:gd name="T30" fmla="*/ 5 w 9"/>
                <a:gd name="T31" fmla="*/ 9 h 9"/>
                <a:gd name="T32" fmla="*/ 5 w 9"/>
                <a:gd name="T33" fmla="*/ 7 h 9"/>
                <a:gd name="T34" fmla="*/ 5 w 9"/>
                <a:gd name="T35" fmla="*/ 2 h 9"/>
                <a:gd name="T36" fmla="*/ 7 w 9"/>
                <a:gd name="T37" fmla="*/ 5 h 9"/>
                <a:gd name="T38" fmla="*/ 7 w 9"/>
                <a:gd name="T39" fmla="*/ 5 h 9"/>
                <a:gd name="T40" fmla="*/ 7 w 9"/>
                <a:gd name="T41"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9">
                  <a:moveTo>
                    <a:pt x="7" y="5"/>
                  </a:moveTo>
                  <a:lnTo>
                    <a:pt x="7" y="2"/>
                  </a:lnTo>
                  <a:lnTo>
                    <a:pt x="9" y="2"/>
                  </a:lnTo>
                  <a:lnTo>
                    <a:pt x="9" y="2"/>
                  </a:lnTo>
                  <a:lnTo>
                    <a:pt x="9" y="2"/>
                  </a:lnTo>
                  <a:lnTo>
                    <a:pt x="9" y="2"/>
                  </a:lnTo>
                  <a:lnTo>
                    <a:pt x="9" y="2"/>
                  </a:lnTo>
                  <a:lnTo>
                    <a:pt x="7" y="0"/>
                  </a:lnTo>
                  <a:lnTo>
                    <a:pt x="7" y="0"/>
                  </a:lnTo>
                  <a:lnTo>
                    <a:pt x="7" y="0"/>
                  </a:lnTo>
                  <a:lnTo>
                    <a:pt x="0" y="5"/>
                  </a:lnTo>
                  <a:lnTo>
                    <a:pt x="0" y="7"/>
                  </a:lnTo>
                  <a:lnTo>
                    <a:pt x="0" y="9"/>
                  </a:lnTo>
                  <a:lnTo>
                    <a:pt x="2" y="9"/>
                  </a:lnTo>
                  <a:lnTo>
                    <a:pt x="2" y="9"/>
                  </a:lnTo>
                  <a:lnTo>
                    <a:pt x="5" y="9"/>
                  </a:lnTo>
                  <a:lnTo>
                    <a:pt x="5" y="7"/>
                  </a:lnTo>
                  <a:lnTo>
                    <a:pt x="5" y="2"/>
                  </a:lnTo>
                  <a:lnTo>
                    <a:pt x="7" y="5"/>
                  </a:lnTo>
                  <a:lnTo>
                    <a:pt x="7" y="5"/>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51" name="Freeform 274">
              <a:extLst>
                <a:ext uri="{FF2B5EF4-FFF2-40B4-BE49-F238E27FC236}">
                  <a16:creationId xmlns:a16="http://schemas.microsoft.com/office/drawing/2014/main" id="{E092B0D3-FEA0-4842-A79C-339EAFB95D53}"/>
                </a:ext>
              </a:extLst>
            </p:cNvPr>
            <p:cNvSpPr>
              <a:spLocks/>
            </p:cNvSpPr>
            <p:nvPr/>
          </p:nvSpPr>
          <p:spPr bwMode="gray">
            <a:xfrm>
              <a:off x="-1429" y="522"/>
              <a:ext cx="9" cy="14"/>
            </a:xfrm>
            <a:custGeom>
              <a:avLst/>
              <a:gdLst>
                <a:gd name="T0" fmla="*/ 0 w 9"/>
                <a:gd name="T1" fmla="*/ 12 h 14"/>
                <a:gd name="T2" fmla="*/ 0 w 9"/>
                <a:gd name="T3" fmla="*/ 12 h 14"/>
                <a:gd name="T4" fmla="*/ 0 w 9"/>
                <a:gd name="T5" fmla="*/ 12 h 14"/>
                <a:gd name="T6" fmla="*/ 0 w 9"/>
                <a:gd name="T7" fmla="*/ 12 h 14"/>
                <a:gd name="T8" fmla="*/ 0 w 9"/>
                <a:gd name="T9" fmla="*/ 14 h 14"/>
                <a:gd name="T10" fmla="*/ 0 w 9"/>
                <a:gd name="T11" fmla="*/ 14 h 14"/>
                <a:gd name="T12" fmla="*/ 2 w 9"/>
                <a:gd name="T13" fmla="*/ 14 h 14"/>
                <a:gd name="T14" fmla="*/ 2 w 9"/>
                <a:gd name="T15" fmla="*/ 14 h 14"/>
                <a:gd name="T16" fmla="*/ 2 w 9"/>
                <a:gd name="T17" fmla="*/ 14 h 14"/>
                <a:gd name="T18" fmla="*/ 2 w 9"/>
                <a:gd name="T19" fmla="*/ 14 h 14"/>
                <a:gd name="T20" fmla="*/ 4 w 9"/>
                <a:gd name="T21" fmla="*/ 14 h 14"/>
                <a:gd name="T22" fmla="*/ 4 w 9"/>
                <a:gd name="T23" fmla="*/ 14 h 14"/>
                <a:gd name="T24" fmla="*/ 4 w 9"/>
                <a:gd name="T25" fmla="*/ 14 h 14"/>
                <a:gd name="T26" fmla="*/ 4 w 9"/>
                <a:gd name="T27" fmla="*/ 14 h 14"/>
                <a:gd name="T28" fmla="*/ 4 w 9"/>
                <a:gd name="T29" fmla="*/ 12 h 14"/>
                <a:gd name="T30" fmla="*/ 4 w 9"/>
                <a:gd name="T31" fmla="*/ 12 h 14"/>
                <a:gd name="T32" fmla="*/ 4 w 9"/>
                <a:gd name="T33" fmla="*/ 12 h 14"/>
                <a:gd name="T34" fmla="*/ 7 w 9"/>
                <a:gd name="T35" fmla="*/ 9 h 14"/>
                <a:gd name="T36" fmla="*/ 7 w 9"/>
                <a:gd name="T37" fmla="*/ 9 h 14"/>
                <a:gd name="T38" fmla="*/ 7 w 9"/>
                <a:gd name="T39" fmla="*/ 7 h 14"/>
                <a:gd name="T40" fmla="*/ 9 w 9"/>
                <a:gd name="T41" fmla="*/ 5 h 14"/>
                <a:gd name="T42" fmla="*/ 9 w 9"/>
                <a:gd name="T43" fmla="*/ 5 h 14"/>
                <a:gd name="T44" fmla="*/ 9 w 9"/>
                <a:gd name="T45" fmla="*/ 5 h 14"/>
                <a:gd name="T46" fmla="*/ 9 w 9"/>
                <a:gd name="T47" fmla="*/ 2 h 14"/>
                <a:gd name="T48" fmla="*/ 9 w 9"/>
                <a:gd name="T49" fmla="*/ 2 h 14"/>
                <a:gd name="T50" fmla="*/ 9 w 9"/>
                <a:gd name="T51" fmla="*/ 2 h 14"/>
                <a:gd name="T52" fmla="*/ 9 w 9"/>
                <a:gd name="T53" fmla="*/ 0 h 14"/>
                <a:gd name="T54" fmla="*/ 7 w 9"/>
                <a:gd name="T55" fmla="*/ 0 h 14"/>
                <a:gd name="T56" fmla="*/ 7 w 9"/>
                <a:gd name="T57" fmla="*/ 0 h 14"/>
                <a:gd name="T58" fmla="*/ 7 w 9"/>
                <a:gd name="T59" fmla="*/ 2 h 14"/>
                <a:gd name="T60" fmla="*/ 4 w 9"/>
                <a:gd name="T61" fmla="*/ 2 h 14"/>
                <a:gd name="T62" fmla="*/ 2 w 9"/>
                <a:gd name="T63" fmla="*/ 5 h 14"/>
                <a:gd name="T64" fmla="*/ 2 w 9"/>
                <a:gd name="T65" fmla="*/ 7 h 14"/>
                <a:gd name="T66" fmla="*/ 2 w 9"/>
                <a:gd name="T67" fmla="*/ 7 h 14"/>
                <a:gd name="T68" fmla="*/ 2 w 9"/>
                <a:gd name="T69" fmla="*/ 7 h 14"/>
                <a:gd name="T70" fmla="*/ 0 w 9"/>
                <a:gd name="T71" fmla="*/ 7 h 14"/>
                <a:gd name="T72" fmla="*/ 0 w 9"/>
                <a:gd name="T73" fmla="*/ 9 h 14"/>
                <a:gd name="T74" fmla="*/ 0 w 9"/>
                <a:gd name="T75" fmla="*/ 7 h 14"/>
                <a:gd name="T76" fmla="*/ 0 w 9"/>
                <a:gd name="T77" fmla="*/ 9 h 14"/>
                <a:gd name="T78" fmla="*/ 0 w 9"/>
                <a:gd name="T79" fmla="*/ 9 h 14"/>
                <a:gd name="T80" fmla="*/ 0 w 9"/>
                <a:gd name="T81" fmla="*/ 12 h 14"/>
                <a:gd name="T82" fmla="*/ 0 w 9"/>
                <a:gd name="T83"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 h="14">
                  <a:moveTo>
                    <a:pt x="0" y="12"/>
                  </a:moveTo>
                  <a:lnTo>
                    <a:pt x="0" y="12"/>
                  </a:lnTo>
                  <a:lnTo>
                    <a:pt x="0" y="12"/>
                  </a:lnTo>
                  <a:lnTo>
                    <a:pt x="0" y="12"/>
                  </a:lnTo>
                  <a:lnTo>
                    <a:pt x="0" y="14"/>
                  </a:lnTo>
                  <a:lnTo>
                    <a:pt x="0" y="14"/>
                  </a:lnTo>
                  <a:lnTo>
                    <a:pt x="2" y="14"/>
                  </a:lnTo>
                  <a:lnTo>
                    <a:pt x="2" y="14"/>
                  </a:lnTo>
                  <a:lnTo>
                    <a:pt x="2" y="14"/>
                  </a:lnTo>
                  <a:lnTo>
                    <a:pt x="2" y="14"/>
                  </a:lnTo>
                  <a:lnTo>
                    <a:pt x="4" y="14"/>
                  </a:lnTo>
                  <a:lnTo>
                    <a:pt x="4" y="14"/>
                  </a:lnTo>
                  <a:lnTo>
                    <a:pt x="4" y="14"/>
                  </a:lnTo>
                  <a:lnTo>
                    <a:pt x="4" y="14"/>
                  </a:lnTo>
                  <a:lnTo>
                    <a:pt x="4" y="12"/>
                  </a:lnTo>
                  <a:lnTo>
                    <a:pt x="4" y="12"/>
                  </a:lnTo>
                  <a:lnTo>
                    <a:pt x="4" y="12"/>
                  </a:lnTo>
                  <a:lnTo>
                    <a:pt x="7" y="9"/>
                  </a:lnTo>
                  <a:lnTo>
                    <a:pt x="7" y="9"/>
                  </a:lnTo>
                  <a:lnTo>
                    <a:pt x="7" y="7"/>
                  </a:lnTo>
                  <a:lnTo>
                    <a:pt x="9" y="5"/>
                  </a:lnTo>
                  <a:lnTo>
                    <a:pt x="9" y="5"/>
                  </a:lnTo>
                  <a:lnTo>
                    <a:pt x="9" y="5"/>
                  </a:lnTo>
                  <a:lnTo>
                    <a:pt x="9" y="2"/>
                  </a:lnTo>
                  <a:lnTo>
                    <a:pt x="9" y="2"/>
                  </a:lnTo>
                  <a:lnTo>
                    <a:pt x="9" y="2"/>
                  </a:lnTo>
                  <a:lnTo>
                    <a:pt x="9" y="0"/>
                  </a:lnTo>
                  <a:lnTo>
                    <a:pt x="7" y="0"/>
                  </a:lnTo>
                  <a:lnTo>
                    <a:pt x="7" y="0"/>
                  </a:lnTo>
                  <a:lnTo>
                    <a:pt x="7" y="2"/>
                  </a:lnTo>
                  <a:lnTo>
                    <a:pt x="4" y="2"/>
                  </a:lnTo>
                  <a:lnTo>
                    <a:pt x="2" y="5"/>
                  </a:lnTo>
                  <a:lnTo>
                    <a:pt x="2" y="7"/>
                  </a:lnTo>
                  <a:lnTo>
                    <a:pt x="2" y="7"/>
                  </a:lnTo>
                  <a:lnTo>
                    <a:pt x="2" y="7"/>
                  </a:lnTo>
                  <a:lnTo>
                    <a:pt x="0" y="7"/>
                  </a:lnTo>
                  <a:lnTo>
                    <a:pt x="0" y="9"/>
                  </a:lnTo>
                  <a:lnTo>
                    <a:pt x="0" y="7"/>
                  </a:lnTo>
                  <a:lnTo>
                    <a:pt x="0" y="9"/>
                  </a:lnTo>
                  <a:lnTo>
                    <a:pt x="0" y="9"/>
                  </a:lnTo>
                  <a:lnTo>
                    <a:pt x="0" y="12"/>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53" name="Freeform 275">
              <a:extLst>
                <a:ext uri="{FF2B5EF4-FFF2-40B4-BE49-F238E27FC236}">
                  <a16:creationId xmlns:a16="http://schemas.microsoft.com/office/drawing/2014/main" id="{8C7A0F34-25C5-4C70-99CC-63B68946140D}"/>
                </a:ext>
              </a:extLst>
            </p:cNvPr>
            <p:cNvSpPr>
              <a:spLocks/>
            </p:cNvSpPr>
            <p:nvPr/>
          </p:nvSpPr>
          <p:spPr bwMode="gray">
            <a:xfrm>
              <a:off x="-1392" y="482"/>
              <a:ext cx="5" cy="5"/>
            </a:xfrm>
            <a:custGeom>
              <a:avLst/>
              <a:gdLst>
                <a:gd name="T0" fmla="*/ 3 w 5"/>
                <a:gd name="T1" fmla="*/ 5 h 5"/>
                <a:gd name="T2" fmla="*/ 5 w 5"/>
                <a:gd name="T3" fmla="*/ 5 h 5"/>
                <a:gd name="T4" fmla="*/ 5 w 5"/>
                <a:gd name="T5" fmla="*/ 5 h 5"/>
                <a:gd name="T6" fmla="*/ 5 w 5"/>
                <a:gd name="T7" fmla="*/ 2 h 5"/>
                <a:gd name="T8" fmla="*/ 5 w 5"/>
                <a:gd name="T9" fmla="*/ 2 h 5"/>
                <a:gd name="T10" fmla="*/ 3 w 5"/>
                <a:gd name="T11" fmla="*/ 2 h 5"/>
                <a:gd name="T12" fmla="*/ 3 w 5"/>
                <a:gd name="T13" fmla="*/ 0 h 5"/>
                <a:gd name="T14" fmla="*/ 3 w 5"/>
                <a:gd name="T15" fmla="*/ 0 h 5"/>
                <a:gd name="T16" fmla="*/ 0 w 5"/>
                <a:gd name="T17" fmla="*/ 2 h 5"/>
                <a:gd name="T18" fmla="*/ 0 w 5"/>
                <a:gd name="T19" fmla="*/ 2 h 5"/>
                <a:gd name="T20" fmla="*/ 0 w 5"/>
                <a:gd name="T21" fmla="*/ 2 h 5"/>
                <a:gd name="T22" fmla="*/ 3 w 5"/>
                <a:gd name="T23" fmla="*/ 2 h 5"/>
                <a:gd name="T24" fmla="*/ 3 w 5"/>
                <a:gd name="T2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5">
                  <a:moveTo>
                    <a:pt x="3" y="5"/>
                  </a:moveTo>
                  <a:lnTo>
                    <a:pt x="5" y="5"/>
                  </a:lnTo>
                  <a:lnTo>
                    <a:pt x="5" y="5"/>
                  </a:lnTo>
                  <a:lnTo>
                    <a:pt x="5" y="2"/>
                  </a:lnTo>
                  <a:lnTo>
                    <a:pt x="5" y="2"/>
                  </a:lnTo>
                  <a:lnTo>
                    <a:pt x="3" y="2"/>
                  </a:lnTo>
                  <a:lnTo>
                    <a:pt x="3" y="0"/>
                  </a:lnTo>
                  <a:lnTo>
                    <a:pt x="3" y="0"/>
                  </a:lnTo>
                  <a:lnTo>
                    <a:pt x="0" y="2"/>
                  </a:lnTo>
                  <a:lnTo>
                    <a:pt x="0" y="2"/>
                  </a:lnTo>
                  <a:lnTo>
                    <a:pt x="0" y="2"/>
                  </a:lnTo>
                  <a:lnTo>
                    <a:pt x="3" y="2"/>
                  </a:lnTo>
                  <a:lnTo>
                    <a:pt x="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54" name="Freeform 276">
              <a:extLst>
                <a:ext uri="{FF2B5EF4-FFF2-40B4-BE49-F238E27FC236}">
                  <a16:creationId xmlns:a16="http://schemas.microsoft.com/office/drawing/2014/main" id="{D94E52A1-809C-4B2A-923C-9FF87D61B4D1}"/>
                </a:ext>
              </a:extLst>
            </p:cNvPr>
            <p:cNvSpPr>
              <a:spLocks/>
            </p:cNvSpPr>
            <p:nvPr/>
          </p:nvSpPr>
          <p:spPr bwMode="gray">
            <a:xfrm>
              <a:off x="-1408" y="487"/>
              <a:ext cx="7" cy="9"/>
            </a:xfrm>
            <a:custGeom>
              <a:avLst/>
              <a:gdLst>
                <a:gd name="T0" fmla="*/ 0 w 7"/>
                <a:gd name="T1" fmla="*/ 2 h 9"/>
                <a:gd name="T2" fmla="*/ 0 w 7"/>
                <a:gd name="T3" fmla="*/ 4 h 9"/>
                <a:gd name="T4" fmla="*/ 2 w 7"/>
                <a:gd name="T5" fmla="*/ 4 h 9"/>
                <a:gd name="T6" fmla="*/ 2 w 7"/>
                <a:gd name="T7" fmla="*/ 4 h 9"/>
                <a:gd name="T8" fmla="*/ 2 w 7"/>
                <a:gd name="T9" fmla="*/ 7 h 9"/>
                <a:gd name="T10" fmla="*/ 2 w 7"/>
                <a:gd name="T11" fmla="*/ 7 h 9"/>
                <a:gd name="T12" fmla="*/ 2 w 7"/>
                <a:gd name="T13" fmla="*/ 9 h 9"/>
                <a:gd name="T14" fmla="*/ 2 w 7"/>
                <a:gd name="T15" fmla="*/ 9 h 9"/>
                <a:gd name="T16" fmla="*/ 2 w 7"/>
                <a:gd name="T17" fmla="*/ 9 h 9"/>
                <a:gd name="T18" fmla="*/ 2 w 7"/>
                <a:gd name="T19" fmla="*/ 9 h 9"/>
                <a:gd name="T20" fmla="*/ 2 w 7"/>
                <a:gd name="T21" fmla="*/ 9 h 9"/>
                <a:gd name="T22" fmla="*/ 5 w 7"/>
                <a:gd name="T23" fmla="*/ 9 h 9"/>
                <a:gd name="T24" fmla="*/ 7 w 7"/>
                <a:gd name="T25" fmla="*/ 7 h 9"/>
                <a:gd name="T26" fmla="*/ 7 w 7"/>
                <a:gd name="T27" fmla="*/ 4 h 9"/>
                <a:gd name="T28" fmla="*/ 7 w 7"/>
                <a:gd name="T29" fmla="*/ 4 h 9"/>
                <a:gd name="T30" fmla="*/ 7 w 7"/>
                <a:gd name="T31" fmla="*/ 2 h 9"/>
                <a:gd name="T32" fmla="*/ 7 w 7"/>
                <a:gd name="T33" fmla="*/ 2 h 9"/>
                <a:gd name="T34" fmla="*/ 5 w 7"/>
                <a:gd name="T35" fmla="*/ 2 h 9"/>
                <a:gd name="T36" fmla="*/ 5 w 7"/>
                <a:gd name="T37" fmla="*/ 0 h 9"/>
                <a:gd name="T38" fmla="*/ 5 w 7"/>
                <a:gd name="T39" fmla="*/ 0 h 9"/>
                <a:gd name="T40" fmla="*/ 2 w 7"/>
                <a:gd name="T41" fmla="*/ 0 h 9"/>
                <a:gd name="T42" fmla="*/ 2 w 7"/>
                <a:gd name="T43" fmla="*/ 0 h 9"/>
                <a:gd name="T44" fmla="*/ 0 w 7"/>
                <a:gd name="T45" fmla="*/ 0 h 9"/>
                <a:gd name="T46" fmla="*/ 0 w 7"/>
                <a:gd name="T47" fmla="*/ 0 h 9"/>
                <a:gd name="T48" fmla="*/ 0 w 7"/>
                <a:gd name="T49" fmla="*/ 2 h 9"/>
                <a:gd name="T50" fmla="*/ 0 w 7"/>
                <a:gd name="T51"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 h="9">
                  <a:moveTo>
                    <a:pt x="0" y="2"/>
                  </a:moveTo>
                  <a:lnTo>
                    <a:pt x="0" y="4"/>
                  </a:lnTo>
                  <a:lnTo>
                    <a:pt x="2" y="4"/>
                  </a:lnTo>
                  <a:lnTo>
                    <a:pt x="2" y="4"/>
                  </a:lnTo>
                  <a:lnTo>
                    <a:pt x="2" y="7"/>
                  </a:lnTo>
                  <a:lnTo>
                    <a:pt x="2" y="7"/>
                  </a:lnTo>
                  <a:lnTo>
                    <a:pt x="2" y="9"/>
                  </a:lnTo>
                  <a:lnTo>
                    <a:pt x="2" y="9"/>
                  </a:lnTo>
                  <a:lnTo>
                    <a:pt x="2" y="9"/>
                  </a:lnTo>
                  <a:lnTo>
                    <a:pt x="2" y="9"/>
                  </a:lnTo>
                  <a:lnTo>
                    <a:pt x="2" y="9"/>
                  </a:lnTo>
                  <a:lnTo>
                    <a:pt x="5" y="9"/>
                  </a:lnTo>
                  <a:lnTo>
                    <a:pt x="7" y="7"/>
                  </a:lnTo>
                  <a:lnTo>
                    <a:pt x="7" y="4"/>
                  </a:lnTo>
                  <a:lnTo>
                    <a:pt x="7" y="4"/>
                  </a:lnTo>
                  <a:lnTo>
                    <a:pt x="7" y="2"/>
                  </a:lnTo>
                  <a:lnTo>
                    <a:pt x="7" y="2"/>
                  </a:lnTo>
                  <a:lnTo>
                    <a:pt x="5" y="2"/>
                  </a:lnTo>
                  <a:lnTo>
                    <a:pt x="5" y="0"/>
                  </a:lnTo>
                  <a:lnTo>
                    <a:pt x="5" y="0"/>
                  </a:lnTo>
                  <a:lnTo>
                    <a:pt x="2" y="0"/>
                  </a:lnTo>
                  <a:lnTo>
                    <a:pt x="2" y="0"/>
                  </a:lnTo>
                  <a:lnTo>
                    <a:pt x="0" y="0"/>
                  </a:lnTo>
                  <a:lnTo>
                    <a:pt x="0" y="0"/>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55" name="Freeform 277">
              <a:extLst>
                <a:ext uri="{FF2B5EF4-FFF2-40B4-BE49-F238E27FC236}">
                  <a16:creationId xmlns:a16="http://schemas.microsoft.com/office/drawing/2014/main" id="{3B81E4E3-77C2-47EB-B079-5B8ECD62DB5D}"/>
                </a:ext>
              </a:extLst>
            </p:cNvPr>
            <p:cNvSpPr>
              <a:spLocks/>
            </p:cNvSpPr>
            <p:nvPr/>
          </p:nvSpPr>
          <p:spPr bwMode="gray">
            <a:xfrm>
              <a:off x="-1394" y="482"/>
              <a:ext cx="0" cy="2"/>
            </a:xfrm>
            <a:custGeom>
              <a:avLst/>
              <a:gdLst>
                <a:gd name="T0" fmla="*/ 2 h 2"/>
                <a:gd name="T1" fmla="*/ 2 h 2"/>
                <a:gd name="T2" fmla="*/ 2 h 2"/>
                <a:gd name="T3" fmla="*/ 2 h 2"/>
                <a:gd name="T4" fmla="*/ 2 h 2"/>
                <a:gd name="T5" fmla="*/ 2 h 2"/>
                <a:gd name="T6" fmla="*/ 0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2"/>
                  </a:lnTo>
                  <a:lnTo>
                    <a:pt x="0" y="2"/>
                  </a:lnTo>
                  <a:lnTo>
                    <a:pt x="0" y="2"/>
                  </a:lnTo>
                  <a:lnTo>
                    <a:pt x="0" y="2"/>
                  </a:lnTo>
                  <a:lnTo>
                    <a:pt x="0"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56" name="Freeform 278">
              <a:extLst>
                <a:ext uri="{FF2B5EF4-FFF2-40B4-BE49-F238E27FC236}">
                  <a16:creationId xmlns:a16="http://schemas.microsoft.com/office/drawing/2014/main" id="{72E51594-EDCB-4FC5-80C8-628B73BFCA10}"/>
                </a:ext>
              </a:extLst>
            </p:cNvPr>
            <p:cNvSpPr>
              <a:spLocks/>
            </p:cNvSpPr>
            <p:nvPr/>
          </p:nvSpPr>
          <p:spPr bwMode="gray">
            <a:xfrm>
              <a:off x="-1394" y="477"/>
              <a:ext cx="5" cy="5"/>
            </a:xfrm>
            <a:custGeom>
              <a:avLst/>
              <a:gdLst>
                <a:gd name="T0" fmla="*/ 2 w 5"/>
                <a:gd name="T1" fmla="*/ 5 h 5"/>
                <a:gd name="T2" fmla="*/ 5 w 5"/>
                <a:gd name="T3" fmla="*/ 3 h 5"/>
                <a:gd name="T4" fmla="*/ 5 w 5"/>
                <a:gd name="T5" fmla="*/ 0 h 5"/>
                <a:gd name="T6" fmla="*/ 5 w 5"/>
                <a:gd name="T7" fmla="*/ 0 h 5"/>
                <a:gd name="T8" fmla="*/ 5 w 5"/>
                <a:gd name="T9" fmla="*/ 0 h 5"/>
                <a:gd name="T10" fmla="*/ 5 w 5"/>
                <a:gd name="T11" fmla="*/ 0 h 5"/>
                <a:gd name="T12" fmla="*/ 2 w 5"/>
                <a:gd name="T13" fmla="*/ 0 h 5"/>
                <a:gd name="T14" fmla="*/ 2 w 5"/>
                <a:gd name="T15" fmla="*/ 0 h 5"/>
                <a:gd name="T16" fmla="*/ 0 w 5"/>
                <a:gd name="T17" fmla="*/ 3 h 5"/>
                <a:gd name="T18" fmla="*/ 0 w 5"/>
                <a:gd name="T19" fmla="*/ 5 h 5"/>
                <a:gd name="T20" fmla="*/ 2 w 5"/>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5">
                  <a:moveTo>
                    <a:pt x="2" y="5"/>
                  </a:moveTo>
                  <a:lnTo>
                    <a:pt x="5" y="3"/>
                  </a:lnTo>
                  <a:lnTo>
                    <a:pt x="5" y="0"/>
                  </a:lnTo>
                  <a:lnTo>
                    <a:pt x="5" y="0"/>
                  </a:lnTo>
                  <a:lnTo>
                    <a:pt x="5" y="0"/>
                  </a:lnTo>
                  <a:lnTo>
                    <a:pt x="5" y="0"/>
                  </a:lnTo>
                  <a:lnTo>
                    <a:pt x="2" y="0"/>
                  </a:lnTo>
                  <a:lnTo>
                    <a:pt x="2" y="0"/>
                  </a:lnTo>
                  <a:lnTo>
                    <a:pt x="0" y="3"/>
                  </a:lnTo>
                  <a:lnTo>
                    <a:pt x="0" y="5"/>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57" name="Freeform 279">
              <a:extLst>
                <a:ext uri="{FF2B5EF4-FFF2-40B4-BE49-F238E27FC236}">
                  <a16:creationId xmlns:a16="http://schemas.microsoft.com/office/drawing/2014/main" id="{2E93E4BD-3FDC-4E43-8D7F-471887000A7F}"/>
                </a:ext>
              </a:extLst>
            </p:cNvPr>
            <p:cNvSpPr>
              <a:spLocks/>
            </p:cNvSpPr>
            <p:nvPr/>
          </p:nvSpPr>
          <p:spPr bwMode="gray">
            <a:xfrm>
              <a:off x="-1441" y="541"/>
              <a:ext cx="12" cy="9"/>
            </a:xfrm>
            <a:custGeom>
              <a:avLst/>
              <a:gdLst>
                <a:gd name="T0" fmla="*/ 9 w 12"/>
                <a:gd name="T1" fmla="*/ 2 h 9"/>
                <a:gd name="T2" fmla="*/ 7 w 12"/>
                <a:gd name="T3" fmla="*/ 2 h 9"/>
                <a:gd name="T4" fmla="*/ 7 w 12"/>
                <a:gd name="T5" fmla="*/ 2 h 9"/>
                <a:gd name="T6" fmla="*/ 7 w 12"/>
                <a:gd name="T7" fmla="*/ 2 h 9"/>
                <a:gd name="T8" fmla="*/ 4 w 12"/>
                <a:gd name="T9" fmla="*/ 2 h 9"/>
                <a:gd name="T10" fmla="*/ 2 w 12"/>
                <a:gd name="T11" fmla="*/ 5 h 9"/>
                <a:gd name="T12" fmla="*/ 2 w 12"/>
                <a:gd name="T13" fmla="*/ 7 h 9"/>
                <a:gd name="T14" fmla="*/ 0 w 12"/>
                <a:gd name="T15" fmla="*/ 7 h 9"/>
                <a:gd name="T16" fmla="*/ 0 w 12"/>
                <a:gd name="T17" fmla="*/ 9 h 9"/>
                <a:gd name="T18" fmla="*/ 0 w 12"/>
                <a:gd name="T19" fmla="*/ 9 h 9"/>
                <a:gd name="T20" fmla="*/ 2 w 12"/>
                <a:gd name="T21" fmla="*/ 9 h 9"/>
                <a:gd name="T22" fmla="*/ 2 w 12"/>
                <a:gd name="T23" fmla="*/ 9 h 9"/>
                <a:gd name="T24" fmla="*/ 4 w 12"/>
                <a:gd name="T25" fmla="*/ 9 h 9"/>
                <a:gd name="T26" fmla="*/ 7 w 12"/>
                <a:gd name="T27" fmla="*/ 7 h 9"/>
                <a:gd name="T28" fmla="*/ 7 w 12"/>
                <a:gd name="T29" fmla="*/ 7 h 9"/>
                <a:gd name="T30" fmla="*/ 9 w 12"/>
                <a:gd name="T31" fmla="*/ 7 h 9"/>
                <a:gd name="T32" fmla="*/ 9 w 12"/>
                <a:gd name="T33" fmla="*/ 7 h 9"/>
                <a:gd name="T34" fmla="*/ 7 w 12"/>
                <a:gd name="T35" fmla="*/ 7 h 9"/>
                <a:gd name="T36" fmla="*/ 7 w 12"/>
                <a:gd name="T37" fmla="*/ 5 h 9"/>
                <a:gd name="T38" fmla="*/ 7 w 12"/>
                <a:gd name="T39" fmla="*/ 5 h 9"/>
                <a:gd name="T40" fmla="*/ 9 w 12"/>
                <a:gd name="T41" fmla="*/ 5 h 9"/>
                <a:gd name="T42" fmla="*/ 9 w 12"/>
                <a:gd name="T43" fmla="*/ 5 h 9"/>
                <a:gd name="T44" fmla="*/ 9 w 12"/>
                <a:gd name="T45" fmla="*/ 5 h 9"/>
                <a:gd name="T46" fmla="*/ 12 w 12"/>
                <a:gd name="T47" fmla="*/ 2 h 9"/>
                <a:gd name="T48" fmla="*/ 12 w 12"/>
                <a:gd name="T49" fmla="*/ 2 h 9"/>
                <a:gd name="T50" fmla="*/ 12 w 12"/>
                <a:gd name="T51" fmla="*/ 0 h 9"/>
                <a:gd name="T52" fmla="*/ 12 w 12"/>
                <a:gd name="T53" fmla="*/ 0 h 9"/>
                <a:gd name="T54" fmla="*/ 9 w 12"/>
                <a:gd name="T55" fmla="*/ 2 h 9"/>
                <a:gd name="T56" fmla="*/ 9 w 12"/>
                <a:gd name="T5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 h="9">
                  <a:moveTo>
                    <a:pt x="9" y="2"/>
                  </a:moveTo>
                  <a:lnTo>
                    <a:pt x="7" y="2"/>
                  </a:lnTo>
                  <a:lnTo>
                    <a:pt x="7" y="2"/>
                  </a:lnTo>
                  <a:lnTo>
                    <a:pt x="7" y="2"/>
                  </a:lnTo>
                  <a:lnTo>
                    <a:pt x="4" y="2"/>
                  </a:lnTo>
                  <a:lnTo>
                    <a:pt x="2" y="5"/>
                  </a:lnTo>
                  <a:lnTo>
                    <a:pt x="2" y="7"/>
                  </a:lnTo>
                  <a:lnTo>
                    <a:pt x="0" y="7"/>
                  </a:lnTo>
                  <a:lnTo>
                    <a:pt x="0" y="9"/>
                  </a:lnTo>
                  <a:lnTo>
                    <a:pt x="0" y="9"/>
                  </a:lnTo>
                  <a:lnTo>
                    <a:pt x="2" y="9"/>
                  </a:lnTo>
                  <a:lnTo>
                    <a:pt x="2" y="9"/>
                  </a:lnTo>
                  <a:lnTo>
                    <a:pt x="4" y="9"/>
                  </a:lnTo>
                  <a:lnTo>
                    <a:pt x="7" y="7"/>
                  </a:lnTo>
                  <a:lnTo>
                    <a:pt x="7" y="7"/>
                  </a:lnTo>
                  <a:lnTo>
                    <a:pt x="9" y="7"/>
                  </a:lnTo>
                  <a:lnTo>
                    <a:pt x="9" y="7"/>
                  </a:lnTo>
                  <a:lnTo>
                    <a:pt x="7" y="7"/>
                  </a:lnTo>
                  <a:lnTo>
                    <a:pt x="7" y="5"/>
                  </a:lnTo>
                  <a:lnTo>
                    <a:pt x="7" y="5"/>
                  </a:lnTo>
                  <a:lnTo>
                    <a:pt x="9" y="5"/>
                  </a:lnTo>
                  <a:lnTo>
                    <a:pt x="9" y="5"/>
                  </a:lnTo>
                  <a:lnTo>
                    <a:pt x="9" y="5"/>
                  </a:lnTo>
                  <a:lnTo>
                    <a:pt x="12" y="2"/>
                  </a:lnTo>
                  <a:lnTo>
                    <a:pt x="12" y="2"/>
                  </a:lnTo>
                  <a:lnTo>
                    <a:pt x="12" y="0"/>
                  </a:lnTo>
                  <a:lnTo>
                    <a:pt x="12" y="0"/>
                  </a:lnTo>
                  <a:lnTo>
                    <a:pt x="9" y="2"/>
                  </a:lnTo>
                  <a:lnTo>
                    <a:pt x="9"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58" name="Freeform 280">
              <a:extLst>
                <a:ext uri="{FF2B5EF4-FFF2-40B4-BE49-F238E27FC236}">
                  <a16:creationId xmlns:a16="http://schemas.microsoft.com/office/drawing/2014/main" id="{5988BDF1-352E-4587-A470-5D059303E5FC}"/>
                </a:ext>
              </a:extLst>
            </p:cNvPr>
            <p:cNvSpPr>
              <a:spLocks/>
            </p:cNvSpPr>
            <p:nvPr/>
          </p:nvSpPr>
          <p:spPr bwMode="gray">
            <a:xfrm>
              <a:off x="-1163" y="-442"/>
              <a:ext cx="7" cy="10"/>
            </a:xfrm>
            <a:custGeom>
              <a:avLst/>
              <a:gdLst>
                <a:gd name="T0" fmla="*/ 5 w 7"/>
                <a:gd name="T1" fmla="*/ 7 h 10"/>
                <a:gd name="T2" fmla="*/ 5 w 7"/>
                <a:gd name="T3" fmla="*/ 10 h 10"/>
                <a:gd name="T4" fmla="*/ 7 w 7"/>
                <a:gd name="T5" fmla="*/ 10 h 10"/>
                <a:gd name="T6" fmla="*/ 7 w 7"/>
                <a:gd name="T7" fmla="*/ 7 h 10"/>
                <a:gd name="T8" fmla="*/ 7 w 7"/>
                <a:gd name="T9" fmla="*/ 7 h 10"/>
                <a:gd name="T10" fmla="*/ 5 w 7"/>
                <a:gd name="T11" fmla="*/ 5 h 10"/>
                <a:gd name="T12" fmla="*/ 5 w 7"/>
                <a:gd name="T13" fmla="*/ 5 h 10"/>
                <a:gd name="T14" fmla="*/ 5 w 7"/>
                <a:gd name="T15" fmla="*/ 3 h 10"/>
                <a:gd name="T16" fmla="*/ 5 w 7"/>
                <a:gd name="T17" fmla="*/ 3 h 10"/>
                <a:gd name="T18" fmla="*/ 5 w 7"/>
                <a:gd name="T19" fmla="*/ 3 h 10"/>
                <a:gd name="T20" fmla="*/ 5 w 7"/>
                <a:gd name="T21" fmla="*/ 0 h 10"/>
                <a:gd name="T22" fmla="*/ 3 w 7"/>
                <a:gd name="T23" fmla="*/ 0 h 10"/>
                <a:gd name="T24" fmla="*/ 0 w 7"/>
                <a:gd name="T25" fmla="*/ 0 h 10"/>
                <a:gd name="T26" fmla="*/ 0 w 7"/>
                <a:gd name="T27" fmla="*/ 0 h 10"/>
                <a:gd name="T28" fmla="*/ 0 w 7"/>
                <a:gd name="T29" fmla="*/ 3 h 10"/>
                <a:gd name="T30" fmla="*/ 0 w 7"/>
                <a:gd name="T31" fmla="*/ 3 h 10"/>
                <a:gd name="T32" fmla="*/ 0 w 7"/>
                <a:gd name="T33" fmla="*/ 5 h 10"/>
                <a:gd name="T34" fmla="*/ 0 w 7"/>
                <a:gd name="T35" fmla="*/ 7 h 10"/>
                <a:gd name="T36" fmla="*/ 0 w 7"/>
                <a:gd name="T37" fmla="*/ 7 h 10"/>
                <a:gd name="T38" fmla="*/ 5 w 7"/>
                <a:gd name="T39" fmla="*/ 7 h 10"/>
                <a:gd name="T40" fmla="*/ 5 w 7"/>
                <a:gd name="T41"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10">
                  <a:moveTo>
                    <a:pt x="5" y="7"/>
                  </a:moveTo>
                  <a:lnTo>
                    <a:pt x="5" y="10"/>
                  </a:lnTo>
                  <a:lnTo>
                    <a:pt x="7" y="10"/>
                  </a:lnTo>
                  <a:lnTo>
                    <a:pt x="7" y="7"/>
                  </a:lnTo>
                  <a:lnTo>
                    <a:pt x="7" y="7"/>
                  </a:lnTo>
                  <a:lnTo>
                    <a:pt x="5" y="5"/>
                  </a:lnTo>
                  <a:lnTo>
                    <a:pt x="5" y="5"/>
                  </a:lnTo>
                  <a:lnTo>
                    <a:pt x="5" y="3"/>
                  </a:lnTo>
                  <a:lnTo>
                    <a:pt x="5" y="3"/>
                  </a:lnTo>
                  <a:lnTo>
                    <a:pt x="5" y="3"/>
                  </a:lnTo>
                  <a:lnTo>
                    <a:pt x="5" y="0"/>
                  </a:lnTo>
                  <a:lnTo>
                    <a:pt x="3" y="0"/>
                  </a:lnTo>
                  <a:lnTo>
                    <a:pt x="0" y="0"/>
                  </a:lnTo>
                  <a:lnTo>
                    <a:pt x="0" y="0"/>
                  </a:lnTo>
                  <a:lnTo>
                    <a:pt x="0" y="3"/>
                  </a:lnTo>
                  <a:lnTo>
                    <a:pt x="0" y="3"/>
                  </a:lnTo>
                  <a:lnTo>
                    <a:pt x="0" y="5"/>
                  </a:lnTo>
                  <a:lnTo>
                    <a:pt x="0" y="7"/>
                  </a:lnTo>
                  <a:lnTo>
                    <a:pt x="0" y="7"/>
                  </a:lnTo>
                  <a:lnTo>
                    <a:pt x="5" y="7"/>
                  </a:ln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59" name="Freeform 281">
              <a:extLst>
                <a:ext uri="{FF2B5EF4-FFF2-40B4-BE49-F238E27FC236}">
                  <a16:creationId xmlns:a16="http://schemas.microsoft.com/office/drawing/2014/main" id="{75D9526A-BDCF-48DE-B38B-46ADAD48B49D}"/>
                </a:ext>
              </a:extLst>
            </p:cNvPr>
            <p:cNvSpPr>
              <a:spLocks/>
            </p:cNvSpPr>
            <p:nvPr/>
          </p:nvSpPr>
          <p:spPr bwMode="gray">
            <a:xfrm>
              <a:off x="-1252" y="-164"/>
              <a:ext cx="4" cy="15"/>
            </a:xfrm>
            <a:custGeom>
              <a:avLst/>
              <a:gdLst>
                <a:gd name="T0" fmla="*/ 0 w 4"/>
                <a:gd name="T1" fmla="*/ 15 h 15"/>
                <a:gd name="T2" fmla="*/ 2 w 4"/>
                <a:gd name="T3" fmla="*/ 15 h 15"/>
                <a:gd name="T4" fmla="*/ 2 w 4"/>
                <a:gd name="T5" fmla="*/ 12 h 15"/>
                <a:gd name="T6" fmla="*/ 4 w 4"/>
                <a:gd name="T7" fmla="*/ 12 h 15"/>
                <a:gd name="T8" fmla="*/ 4 w 4"/>
                <a:gd name="T9" fmla="*/ 10 h 15"/>
                <a:gd name="T10" fmla="*/ 4 w 4"/>
                <a:gd name="T11" fmla="*/ 7 h 15"/>
                <a:gd name="T12" fmla="*/ 4 w 4"/>
                <a:gd name="T13" fmla="*/ 5 h 15"/>
                <a:gd name="T14" fmla="*/ 4 w 4"/>
                <a:gd name="T15" fmla="*/ 5 h 15"/>
                <a:gd name="T16" fmla="*/ 4 w 4"/>
                <a:gd name="T17" fmla="*/ 3 h 15"/>
                <a:gd name="T18" fmla="*/ 4 w 4"/>
                <a:gd name="T19" fmla="*/ 3 h 15"/>
                <a:gd name="T20" fmla="*/ 4 w 4"/>
                <a:gd name="T21" fmla="*/ 3 h 15"/>
                <a:gd name="T22" fmla="*/ 4 w 4"/>
                <a:gd name="T23" fmla="*/ 3 h 15"/>
                <a:gd name="T24" fmla="*/ 4 w 4"/>
                <a:gd name="T25" fmla="*/ 0 h 15"/>
                <a:gd name="T26" fmla="*/ 4 w 4"/>
                <a:gd name="T27" fmla="*/ 0 h 15"/>
                <a:gd name="T28" fmla="*/ 4 w 4"/>
                <a:gd name="T29" fmla="*/ 0 h 15"/>
                <a:gd name="T30" fmla="*/ 4 w 4"/>
                <a:gd name="T31" fmla="*/ 0 h 15"/>
                <a:gd name="T32" fmla="*/ 2 w 4"/>
                <a:gd name="T33" fmla="*/ 3 h 15"/>
                <a:gd name="T34" fmla="*/ 2 w 4"/>
                <a:gd name="T35" fmla="*/ 3 h 15"/>
                <a:gd name="T36" fmla="*/ 2 w 4"/>
                <a:gd name="T37" fmla="*/ 3 h 15"/>
                <a:gd name="T38" fmla="*/ 0 w 4"/>
                <a:gd name="T39" fmla="*/ 5 h 15"/>
                <a:gd name="T40" fmla="*/ 0 w 4"/>
                <a:gd name="T41" fmla="*/ 5 h 15"/>
                <a:gd name="T42" fmla="*/ 0 w 4"/>
                <a:gd name="T43" fmla="*/ 12 h 15"/>
                <a:gd name="T44" fmla="*/ 0 w 4"/>
                <a:gd name="T45" fmla="*/ 15 h 15"/>
                <a:gd name="T46" fmla="*/ 0 w 4"/>
                <a:gd name="T47" fmla="*/ 15 h 15"/>
                <a:gd name="T48" fmla="*/ 0 w 4"/>
                <a:gd name="T4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 h="15">
                  <a:moveTo>
                    <a:pt x="0" y="15"/>
                  </a:moveTo>
                  <a:lnTo>
                    <a:pt x="2" y="15"/>
                  </a:lnTo>
                  <a:lnTo>
                    <a:pt x="2" y="12"/>
                  </a:lnTo>
                  <a:lnTo>
                    <a:pt x="4" y="12"/>
                  </a:lnTo>
                  <a:lnTo>
                    <a:pt x="4" y="10"/>
                  </a:lnTo>
                  <a:lnTo>
                    <a:pt x="4" y="7"/>
                  </a:lnTo>
                  <a:lnTo>
                    <a:pt x="4" y="5"/>
                  </a:lnTo>
                  <a:lnTo>
                    <a:pt x="4" y="5"/>
                  </a:lnTo>
                  <a:lnTo>
                    <a:pt x="4" y="3"/>
                  </a:lnTo>
                  <a:lnTo>
                    <a:pt x="4" y="3"/>
                  </a:lnTo>
                  <a:lnTo>
                    <a:pt x="4" y="3"/>
                  </a:lnTo>
                  <a:lnTo>
                    <a:pt x="4" y="3"/>
                  </a:lnTo>
                  <a:lnTo>
                    <a:pt x="4" y="0"/>
                  </a:lnTo>
                  <a:lnTo>
                    <a:pt x="4" y="0"/>
                  </a:lnTo>
                  <a:lnTo>
                    <a:pt x="4" y="0"/>
                  </a:lnTo>
                  <a:lnTo>
                    <a:pt x="4" y="0"/>
                  </a:lnTo>
                  <a:lnTo>
                    <a:pt x="2" y="3"/>
                  </a:lnTo>
                  <a:lnTo>
                    <a:pt x="2" y="3"/>
                  </a:lnTo>
                  <a:lnTo>
                    <a:pt x="2" y="3"/>
                  </a:lnTo>
                  <a:lnTo>
                    <a:pt x="0" y="5"/>
                  </a:lnTo>
                  <a:lnTo>
                    <a:pt x="0" y="5"/>
                  </a:lnTo>
                  <a:lnTo>
                    <a:pt x="0" y="12"/>
                  </a:lnTo>
                  <a:lnTo>
                    <a:pt x="0" y="15"/>
                  </a:lnTo>
                  <a:lnTo>
                    <a:pt x="0" y="15"/>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60" name="Freeform 282">
              <a:extLst>
                <a:ext uri="{FF2B5EF4-FFF2-40B4-BE49-F238E27FC236}">
                  <a16:creationId xmlns:a16="http://schemas.microsoft.com/office/drawing/2014/main" id="{162295FC-5F7C-44E4-B3C1-03619FC376DC}"/>
                </a:ext>
              </a:extLst>
            </p:cNvPr>
            <p:cNvSpPr>
              <a:spLocks/>
            </p:cNvSpPr>
            <p:nvPr/>
          </p:nvSpPr>
          <p:spPr bwMode="gray">
            <a:xfrm>
              <a:off x="-1153" y="-439"/>
              <a:ext cx="9" cy="4"/>
            </a:xfrm>
            <a:custGeom>
              <a:avLst/>
              <a:gdLst>
                <a:gd name="T0" fmla="*/ 7 w 9"/>
                <a:gd name="T1" fmla="*/ 4 h 4"/>
                <a:gd name="T2" fmla="*/ 7 w 9"/>
                <a:gd name="T3" fmla="*/ 4 h 4"/>
                <a:gd name="T4" fmla="*/ 9 w 9"/>
                <a:gd name="T5" fmla="*/ 2 h 4"/>
                <a:gd name="T6" fmla="*/ 9 w 9"/>
                <a:gd name="T7" fmla="*/ 0 h 4"/>
                <a:gd name="T8" fmla="*/ 9 w 9"/>
                <a:gd name="T9" fmla="*/ 0 h 4"/>
                <a:gd name="T10" fmla="*/ 7 w 9"/>
                <a:gd name="T11" fmla="*/ 0 h 4"/>
                <a:gd name="T12" fmla="*/ 7 w 9"/>
                <a:gd name="T13" fmla="*/ 0 h 4"/>
                <a:gd name="T14" fmla="*/ 4 w 9"/>
                <a:gd name="T15" fmla="*/ 0 h 4"/>
                <a:gd name="T16" fmla="*/ 2 w 9"/>
                <a:gd name="T17" fmla="*/ 2 h 4"/>
                <a:gd name="T18" fmla="*/ 2 w 9"/>
                <a:gd name="T19" fmla="*/ 2 h 4"/>
                <a:gd name="T20" fmla="*/ 2 w 9"/>
                <a:gd name="T21" fmla="*/ 0 h 4"/>
                <a:gd name="T22" fmla="*/ 2 w 9"/>
                <a:gd name="T23" fmla="*/ 0 h 4"/>
                <a:gd name="T24" fmla="*/ 0 w 9"/>
                <a:gd name="T25" fmla="*/ 0 h 4"/>
                <a:gd name="T26" fmla="*/ 0 w 9"/>
                <a:gd name="T27" fmla="*/ 2 h 4"/>
                <a:gd name="T28" fmla="*/ 0 w 9"/>
                <a:gd name="T29" fmla="*/ 4 h 4"/>
                <a:gd name="T30" fmla="*/ 0 w 9"/>
                <a:gd name="T31" fmla="*/ 4 h 4"/>
                <a:gd name="T32" fmla="*/ 7 w 9"/>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4">
                  <a:moveTo>
                    <a:pt x="7" y="4"/>
                  </a:moveTo>
                  <a:lnTo>
                    <a:pt x="7" y="4"/>
                  </a:lnTo>
                  <a:lnTo>
                    <a:pt x="9" y="2"/>
                  </a:lnTo>
                  <a:lnTo>
                    <a:pt x="9" y="0"/>
                  </a:lnTo>
                  <a:lnTo>
                    <a:pt x="9" y="0"/>
                  </a:lnTo>
                  <a:lnTo>
                    <a:pt x="7" y="0"/>
                  </a:lnTo>
                  <a:lnTo>
                    <a:pt x="7" y="0"/>
                  </a:lnTo>
                  <a:lnTo>
                    <a:pt x="4" y="0"/>
                  </a:lnTo>
                  <a:lnTo>
                    <a:pt x="2" y="2"/>
                  </a:lnTo>
                  <a:lnTo>
                    <a:pt x="2" y="2"/>
                  </a:lnTo>
                  <a:lnTo>
                    <a:pt x="2" y="0"/>
                  </a:lnTo>
                  <a:lnTo>
                    <a:pt x="2" y="0"/>
                  </a:lnTo>
                  <a:lnTo>
                    <a:pt x="0" y="0"/>
                  </a:lnTo>
                  <a:lnTo>
                    <a:pt x="0" y="2"/>
                  </a:lnTo>
                  <a:lnTo>
                    <a:pt x="0" y="4"/>
                  </a:lnTo>
                  <a:lnTo>
                    <a:pt x="0" y="4"/>
                  </a:lnTo>
                  <a:lnTo>
                    <a:pt x="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61" name="Freeform 283">
              <a:extLst>
                <a:ext uri="{FF2B5EF4-FFF2-40B4-BE49-F238E27FC236}">
                  <a16:creationId xmlns:a16="http://schemas.microsoft.com/office/drawing/2014/main" id="{DA1D6764-29CA-4AF2-882F-C00FC26DA378}"/>
                </a:ext>
              </a:extLst>
            </p:cNvPr>
            <p:cNvSpPr>
              <a:spLocks/>
            </p:cNvSpPr>
            <p:nvPr/>
          </p:nvSpPr>
          <p:spPr bwMode="gray">
            <a:xfrm>
              <a:off x="-1446" y="682"/>
              <a:ext cx="68" cy="132"/>
            </a:xfrm>
            <a:custGeom>
              <a:avLst/>
              <a:gdLst>
                <a:gd name="T0" fmla="*/ 59 w 68"/>
                <a:gd name="T1" fmla="*/ 19 h 132"/>
                <a:gd name="T2" fmla="*/ 64 w 68"/>
                <a:gd name="T3" fmla="*/ 14 h 132"/>
                <a:gd name="T4" fmla="*/ 66 w 68"/>
                <a:gd name="T5" fmla="*/ 7 h 132"/>
                <a:gd name="T6" fmla="*/ 61 w 68"/>
                <a:gd name="T7" fmla="*/ 3 h 132"/>
                <a:gd name="T8" fmla="*/ 59 w 68"/>
                <a:gd name="T9" fmla="*/ 3 h 132"/>
                <a:gd name="T10" fmla="*/ 54 w 68"/>
                <a:gd name="T11" fmla="*/ 5 h 132"/>
                <a:gd name="T12" fmla="*/ 52 w 68"/>
                <a:gd name="T13" fmla="*/ 3 h 132"/>
                <a:gd name="T14" fmla="*/ 52 w 68"/>
                <a:gd name="T15" fmla="*/ 7 h 132"/>
                <a:gd name="T16" fmla="*/ 47 w 68"/>
                <a:gd name="T17" fmla="*/ 12 h 132"/>
                <a:gd name="T18" fmla="*/ 45 w 68"/>
                <a:gd name="T19" fmla="*/ 7 h 132"/>
                <a:gd name="T20" fmla="*/ 45 w 68"/>
                <a:gd name="T21" fmla="*/ 5 h 132"/>
                <a:gd name="T22" fmla="*/ 43 w 68"/>
                <a:gd name="T23" fmla="*/ 0 h 132"/>
                <a:gd name="T24" fmla="*/ 38 w 68"/>
                <a:gd name="T25" fmla="*/ 5 h 132"/>
                <a:gd name="T26" fmla="*/ 35 w 68"/>
                <a:gd name="T27" fmla="*/ 12 h 132"/>
                <a:gd name="T28" fmla="*/ 31 w 68"/>
                <a:gd name="T29" fmla="*/ 12 h 132"/>
                <a:gd name="T30" fmla="*/ 2 w 68"/>
                <a:gd name="T31" fmla="*/ 45 h 132"/>
                <a:gd name="T32" fmla="*/ 0 w 68"/>
                <a:gd name="T33" fmla="*/ 62 h 132"/>
                <a:gd name="T34" fmla="*/ 2 w 68"/>
                <a:gd name="T35" fmla="*/ 69 h 132"/>
                <a:gd name="T36" fmla="*/ 2 w 68"/>
                <a:gd name="T37" fmla="*/ 71 h 132"/>
                <a:gd name="T38" fmla="*/ 5 w 68"/>
                <a:gd name="T39" fmla="*/ 76 h 132"/>
                <a:gd name="T40" fmla="*/ 0 w 68"/>
                <a:gd name="T41" fmla="*/ 85 h 132"/>
                <a:gd name="T42" fmla="*/ 7 w 68"/>
                <a:gd name="T43" fmla="*/ 104 h 132"/>
                <a:gd name="T44" fmla="*/ 7 w 68"/>
                <a:gd name="T45" fmla="*/ 106 h 132"/>
                <a:gd name="T46" fmla="*/ 7 w 68"/>
                <a:gd name="T47" fmla="*/ 113 h 132"/>
                <a:gd name="T48" fmla="*/ 12 w 68"/>
                <a:gd name="T49" fmla="*/ 109 h 132"/>
                <a:gd name="T50" fmla="*/ 9 w 68"/>
                <a:gd name="T51" fmla="*/ 116 h 132"/>
                <a:gd name="T52" fmla="*/ 7 w 68"/>
                <a:gd name="T53" fmla="*/ 120 h 132"/>
                <a:gd name="T54" fmla="*/ 7 w 68"/>
                <a:gd name="T55" fmla="*/ 132 h 132"/>
                <a:gd name="T56" fmla="*/ 14 w 68"/>
                <a:gd name="T57" fmla="*/ 123 h 132"/>
                <a:gd name="T58" fmla="*/ 19 w 68"/>
                <a:gd name="T59" fmla="*/ 120 h 132"/>
                <a:gd name="T60" fmla="*/ 17 w 68"/>
                <a:gd name="T61" fmla="*/ 111 h 132"/>
                <a:gd name="T62" fmla="*/ 19 w 68"/>
                <a:gd name="T63" fmla="*/ 104 h 132"/>
                <a:gd name="T64" fmla="*/ 33 w 68"/>
                <a:gd name="T65" fmla="*/ 97 h 132"/>
                <a:gd name="T66" fmla="*/ 33 w 68"/>
                <a:gd name="T67" fmla="*/ 92 h 132"/>
                <a:gd name="T68" fmla="*/ 43 w 68"/>
                <a:gd name="T69" fmla="*/ 85 h 132"/>
                <a:gd name="T70" fmla="*/ 38 w 68"/>
                <a:gd name="T71" fmla="*/ 83 h 132"/>
                <a:gd name="T72" fmla="*/ 45 w 68"/>
                <a:gd name="T73" fmla="*/ 73 h 132"/>
                <a:gd name="T74" fmla="*/ 52 w 68"/>
                <a:gd name="T75" fmla="*/ 71 h 132"/>
                <a:gd name="T76" fmla="*/ 57 w 68"/>
                <a:gd name="T77" fmla="*/ 71 h 132"/>
                <a:gd name="T78" fmla="*/ 57 w 68"/>
                <a:gd name="T79" fmla="*/ 66 h 132"/>
                <a:gd name="T80" fmla="*/ 54 w 68"/>
                <a:gd name="T81" fmla="*/ 62 h 132"/>
                <a:gd name="T82" fmla="*/ 50 w 68"/>
                <a:gd name="T83" fmla="*/ 64 h 132"/>
                <a:gd name="T84" fmla="*/ 47 w 68"/>
                <a:gd name="T85" fmla="*/ 62 h 132"/>
                <a:gd name="T86" fmla="*/ 45 w 68"/>
                <a:gd name="T87" fmla="*/ 54 h 132"/>
                <a:gd name="T88" fmla="*/ 47 w 68"/>
                <a:gd name="T89" fmla="*/ 47 h 132"/>
                <a:gd name="T90" fmla="*/ 45 w 68"/>
                <a:gd name="T91" fmla="*/ 40 h 132"/>
                <a:gd name="T92" fmla="*/ 47 w 68"/>
                <a:gd name="T93" fmla="*/ 38 h 132"/>
                <a:gd name="T94" fmla="*/ 50 w 68"/>
                <a:gd name="T95" fmla="*/ 29 h 132"/>
                <a:gd name="T96" fmla="*/ 50 w 68"/>
                <a:gd name="T97" fmla="*/ 26 h 132"/>
                <a:gd name="T98" fmla="*/ 59 w 68"/>
                <a:gd name="T99" fmla="*/ 2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 h="132">
                  <a:moveTo>
                    <a:pt x="59" y="21"/>
                  </a:moveTo>
                  <a:lnTo>
                    <a:pt x="59" y="21"/>
                  </a:lnTo>
                  <a:lnTo>
                    <a:pt x="59" y="19"/>
                  </a:lnTo>
                  <a:lnTo>
                    <a:pt x="59" y="19"/>
                  </a:lnTo>
                  <a:lnTo>
                    <a:pt x="59" y="19"/>
                  </a:lnTo>
                  <a:lnTo>
                    <a:pt x="61" y="21"/>
                  </a:lnTo>
                  <a:lnTo>
                    <a:pt x="61" y="17"/>
                  </a:lnTo>
                  <a:lnTo>
                    <a:pt x="64" y="14"/>
                  </a:lnTo>
                  <a:lnTo>
                    <a:pt x="68" y="14"/>
                  </a:lnTo>
                  <a:lnTo>
                    <a:pt x="68" y="12"/>
                  </a:lnTo>
                  <a:lnTo>
                    <a:pt x="66" y="10"/>
                  </a:lnTo>
                  <a:lnTo>
                    <a:pt x="66" y="7"/>
                  </a:lnTo>
                  <a:lnTo>
                    <a:pt x="64" y="7"/>
                  </a:lnTo>
                  <a:lnTo>
                    <a:pt x="64" y="5"/>
                  </a:lnTo>
                  <a:lnTo>
                    <a:pt x="64" y="5"/>
                  </a:lnTo>
                  <a:lnTo>
                    <a:pt x="61" y="3"/>
                  </a:lnTo>
                  <a:lnTo>
                    <a:pt x="64" y="3"/>
                  </a:lnTo>
                  <a:lnTo>
                    <a:pt x="61" y="3"/>
                  </a:lnTo>
                  <a:lnTo>
                    <a:pt x="61" y="3"/>
                  </a:lnTo>
                  <a:lnTo>
                    <a:pt x="59" y="3"/>
                  </a:lnTo>
                  <a:lnTo>
                    <a:pt x="59" y="3"/>
                  </a:lnTo>
                  <a:lnTo>
                    <a:pt x="59" y="5"/>
                  </a:lnTo>
                  <a:lnTo>
                    <a:pt x="57" y="5"/>
                  </a:lnTo>
                  <a:lnTo>
                    <a:pt x="54" y="5"/>
                  </a:lnTo>
                  <a:lnTo>
                    <a:pt x="57" y="3"/>
                  </a:lnTo>
                  <a:lnTo>
                    <a:pt x="57" y="0"/>
                  </a:lnTo>
                  <a:lnTo>
                    <a:pt x="52" y="3"/>
                  </a:lnTo>
                  <a:lnTo>
                    <a:pt x="52" y="3"/>
                  </a:lnTo>
                  <a:lnTo>
                    <a:pt x="52" y="3"/>
                  </a:lnTo>
                  <a:lnTo>
                    <a:pt x="52" y="5"/>
                  </a:lnTo>
                  <a:lnTo>
                    <a:pt x="52" y="5"/>
                  </a:lnTo>
                  <a:lnTo>
                    <a:pt x="52" y="7"/>
                  </a:lnTo>
                  <a:lnTo>
                    <a:pt x="50" y="10"/>
                  </a:lnTo>
                  <a:lnTo>
                    <a:pt x="50" y="10"/>
                  </a:lnTo>
                  <a:lnTo>
                    <a:pt x="47" y="14"/>
                  </a:lnTo>
                  <a:lnTo>
                    <a:pt x="47" y="12"/>
                  </a:lnTo>
                  <a:lnTo>
                    <a:pt x="47" y="10"/>
                  </a:lnTo>
                  <a:lnTo>
                    <a:pt x="47" y="10"/>
                  </a:lnTo>
                  <a:lnTo>
                    <a:pt x="45" y="10"/>
                  </a:lnTo>
                  <a:lnTo>
                    <a:pt x="45" y="7"/>
                  </a:lnTo>
                  <a:lnTo>
                    <a:pt x="45" y="7"/>
                  </a:lnTo>
                  <a:lnTo>
                    <a:pt x="45" y="7"/>
                  </a:lnTo>
                  <a:lnTo>
                    <a:pt x="45" y="7"/>
                  </a:lnTo>
                  <a:lnTo>
                    <a:pt x="45" y="5"/>
                  </a:lnTo>
                  <a:lnTo>
                    <a:pt x="45" y="5"/>
                  </a:lnTo>
                  <a:lnTo>
                    <a:pt x="45" y="3"/>
                  </a:lnTo>
                  <a:lnTo>
                    <a:pt x="45" y="0"/>
                  </a:lnTo>
                  <a:lnTo>
                    <a:pt x="43" y="0"/>
                  </a:lnTo>
                  <a:lnTo>
                    <a:pt x="40" y="0"/>
                  </a:lnTo>
                  <a:lnTo>
                    <a:pt x="40" y="3"/>
                  </a:lnTo>
                  <a:lnTo>
                    <a:pt x="38" y="3"/>
                  </a:lnTo>
                  <a:lnTo>
                    <a:pt x="38" y="5"/>
                  </a:lnTo>
                  <a:lnTo>
                    <a:pt x="35" y="7"/>
                  </a:lnTo>
                  <a:lnTo>
                    <a:pt x="35" y="10"/>
                  </a:lnTo>
                  <a:lnTo>
                    <a:pt x="35" y="12"/>
                  </a:lnTo>
                  <a:lnTo>
                    <a:pt x="35" y="12"/>
                  </a:lnTo>
                  <a:lnTo>
                    <a:pt x="33" y="12"/>
                  </a:lnTo>
                  <a:lnTo>
                    <a:pt x="33" y="12"/>
                  </a:lnTo>
                  <a:lnTo>
                    <a:pt x="31" y="12"/>
                  </a:lnTo>
                  <a:lnTo>
                    <a:pt x="31" y="12"/>
                  </a:lnTo>
                  <a:lnTo>
                    <a:pt x="26" y="14"/>
                  </a:lnTo>
                  <a:lnTo>
                    <a:pt x="24" y="17"/>
                  </a:lnTo>
                  <a:lnTo>
                    <a:pt x="14" y="33"/>
                  </a:lnTo>
                  <a:lnTo>
                    <a:pt x="2" y="45"/>
                  </a:lnTo>
                  <a:lnTo>
                    <a:pt x="0" y="50"/>
                  </a:lnTo>
                  <a:lnTo>
                    <a:pt x="0" y="54"/>
                  </a:lnTo>
                  <a:lnTo>
                    <a:pt x="0" y="57"/>
                  </a:lnTo>
                  <a:lnTo>
                    <a:pt x="0" y="62"/>
                  </a:lnTo>
                  <a:lnTo>
                    <a:pt x="2" y="64"/>
                  </a:lnTo>
                  <a:lnTo>
                    <a:pt x="2" y="66"/>
                  </a:lnTo>
                  <a:lnTo>
                    <a:pt x="2" y="66"/>
                  </a:lnTo>
                  <a:lnTo>
                    <a:pt x="2" y="69"/>
                  </a:lnTo>
                  <a:lnTo>
                    <a:pt x="2" y="69"/>
                  </a:lnTo>
                  <a:lnTo>
                    <a:pt x="2" y="69"/>
                  </a:lnTo>
                  <a:lnTo>
                    <a:pt x="2" y="69"/>
                  </a:lnTo>
                  <a:lnTo>
                    <a:pt x="2" y="71"/>
                  </a:lnTo>
                  <a:lnTo>
                    <a:pt x="5" y="71"/>
                  </a:lnTo>
                  <a:lnTo>
                    <a:pt x="5" y="71"/>
                  </a:lnTo>
                  <a:lnTo>
                    <a:pt x="2" y="73"/>
                  </a:lnTo>
                  <a:lnTo>
                    <a:pt x="5" y="76"/>
                  </a:lnTo>
                  <a:lnTo>
                    <a:pt x="2" y="78"/>
                  </a:lnTo>
                  <a:lnTo>
                    <a:pt x="2" y="80"/>
                  </a:lnTo>
                  <a:lnTo>
                    <a:pt x="0" y="83"/>
                  </a:lnTo>
                  <a:lnTo>
                    <a:pt x="0" y="85"/>
                  </a:lnTo>
                  <a:lnTo>
                    <a:pt x="0" y="87"/>
                  </a:lnTo>
                  <a:lnTo>
                    <a:pt x="2" y="92"/>
                  </a:lnTo>
                  <a:lnTo>
                    <a:pt x="5" y="102"/>
                  </a:lnTo>
                  <a:lnTo>
                    <a:pt x="7" y="104"/>
                  </a:lnTo>
                  <a:lnTo>
                    <a:pt x="7" y="104"/>
                  </a:lnTo>
                  <a:lnTo>
                    <a:pt x="7" y="106"/>
                  </a:lnTo>
                  <a:lnTo>
                    <a:pt x="7" y="106"/>
                  </a:lnTo>
                  <a:lnTo>
                    <a:pt x="7" y="106"/>
                  </a:lnTo>
                  <a:lnTo>
                    <a:pt x="7" y="109"/>
                  </a:lnTo>
                  <a:lnTo>
                    <a:pt x="7" y="111"/>
                  </a:lnTo>
                  <a:lnTo>
                    <a:pt x="7" y="111"/>
                  </a:lnTo>
                  <a:lnTo>
                    <a:pt x="7" y="113"/>
                  </a:lnTo>
                  <a:lnTo>
                    <a:pt x="7" y="113"/>
                  </a:lnTo>
                  <a:lnTo>
                    <a:pt x="9" y="111"/>
                  </a:lnTo>
                  <a:lnTo>
                    <a:pt x="9" y="111"/>
                  </a:lnTo>
                  <a:lnTo>
                    <a:pt x="12" y="109"/>
                  </a:lnTo>
                  <a:lnTo>
                    <a:pt x="12" y="111"/>
                  </a:lnTo>
                  <a:lnTo>
                    <a:pt x="12" y="113"/>
                  </a:lnTo>
                  <a:lnTo>
                    <a:pt x="9" y="116"/>
                  </a:lnTo>
                  <a:lnTo>
                    <a:pt x="9" y="116"/>
                  </a:lnTo>
                  <a:lnTo>
                    <a:pt x="7" y="118"/>
                  </a:lnTo>
                  <a:lnTo>
                    <a:pt x="7" y="118"/>
                  </a:lnTo>
                  <a:lnTo>
                    <a:pt x="7" y="120"/>
                  </a:lnTo>
                  <a:lnTo>
                    <a:pt x="7" y="120"/>
                  </a:lnTo>
                  <a:lnTo>
                    <a:pt x="7" y="123"/>
                  </a:lnTo>
                  <a:lnTo>
                    <a:pt x="2" y="130"/>
                  </a:lnTo>
                  <a:lnTo>
                    <a:pt x="5" y="132"/>
                  </a:lnTo>
                  <a:lnTo>
                    <a:pt x="7" y="132"/>
                  </a:lnTo>
                  <a:lnTo>
                    <a:pt x="12" y="128"/>
                  </a:lnTo>
                  <a:lnTo>
                    <a:pt x="14" y="128"/>
                  </a:lnTo>
                  <a:lnTo>
                    <a:pt x="14" y="125"/>
                  </a:lnTo>
                  <a:lnTo>
                    <a:pt x="14" y="123"/>
                  </a:lnTo>
                  <a:lnTo>
                    <a:pt x="17" y="123"/>
                  </a:lnTo>
                  <a:lnTo>
                    <a:pt x="17" y="120"/>
                  </a:lnTo>
                  <a:lnTo>
                    <a:pt x="17" y="120"/>
                  </a:lnTo>
                  <a:lnTo>
                    <a:pt x="19" y="120"/>
                  </a:lnTo>
                  <a:lnTo>
                    <a:pt x="17" y="120"/>
                  </a:lnTo>
                  <a:lnTo>
                    <a:pt x="17" y="118"/>
                  </a:lnTo>
                  <a:lnTo>
                    <a:pt x="17" y="118"/>
                  </a:lnTo>
                  <a:lnTo>
                    <a:pt x="17" y="111"/>
                  </a:lnTo>
                  <a:lnTo>
                    <a:pt x="17" y="109"/>
                  </a:lnTo>
                  <a:lnTo>
                    <a:pt x="21" y="106"/>
                  </a:lnTo>
                  <a:lnTo>
                    <a:pt x="24" y="104"/>
                  </a:lnTo>
                  <a:lnTo>
                    <a:pt x="19" y="104"/>
                  </a:lnTo>
                  <a:lnTo>
                    <a:pt x="21" y="102"/>
                  </a:lnTo>
                  <a:lnTo>
                    <a:pt x="21" y="102"/>
                  </a:lnTo>
                  <a:lnTo>
                    <a:pt x="31" y="97"/>
                  </a:lnTo>
                  <a:lnTo>
                    <a:pt x="33" y="97"/>
                  </a:lnTo>
                  <a:lnTo>
                    <a:pt x="33" y="95"/>
                  </a:lnTo>
                  <a:lnTo>
                    <a:pt x="31" y="95"/>
                  </a:lnTo>
                  <a:lnTo>
                    <a:pt x="31" y="95"/>
                  </a:lnTo>
                  <a:lnTo>
                    <a:pt x="33" y="92"/>
                  </a:lnTo>
                  <a:lnTo>
                    <a:pt x="40" y="92"/>
                  </a:lnTo>
                  <a:lnTo>
                    <a:pt x="40" y="90"/>
                  </a:lnTo>
                  <a:lnTo>
                    <a:pt x="43" y="90"/>
                  </a:lnTo>
                  <a:lnTo>
                    <a:pt x="43" y="85"/>
                  </a:lnTo>
                  <a:lnTo>
                    <a:pt x="40" y="85"/>
                  </a:lnTo>
                  <a:lnTo>
                    <a:pt x="40" y="85"/>
                  </a:lnTo>
                  <a:lnTo>
                    <a:pt x="40" y="85"/>
                  </a:lnTo>
                  <a:lnTo>
                    <a:pt x="38" y="83"/>
                  </a:lnTo>
                  <a:lnTo>
                    <a:pt x="40" y="80"/>
                  </a:lnTo>
                  <a:lnTo>
                    <a:pt x="43" y="78"/>
                  </a:lnTo>
                  <a:lnTo>
                    <a:pt x="45" y="76"/>
                  </a:lnTo>
                  <a:lnTo>
                    <a:pt x="45" y="73"/>
                  </a:lnTo>
                  <a:lnTo>
                    <a:pt x="47" y="73"/>
                  </a:lnTo>
                  <a:lnTo>
                    <a:pt x="50" y="71"/>
                  </a:lnTo>
                  <a:lnTo>
                    <a:pt x="52" y="71"/>
                  </a:lnTo>
                  <a:lnTo>
                    <a:pt x="52" y="71"/>
                  </a:lnTo>
                  <a:lnTo>
                    <a:pt x="52" y="69"/>
                  </a:lnTo>
                  <a:lnTo>
                    <a:pt x="52" y="71"/>
                  </a:lnTo>
                  <a:lnTo>
                    <a:pt x="54" y="71"/>
                  </a:lnTo>
                  <a:lnTo>
                    <a:pt x="57" y="71"/>
                  </a:lnTo>
                  <a:lnTo>
                    <a:pt x="57" y="71"/>
                  </a:lnTo>
                  <a:lnTo>
                    <a:pt x="57" y="69"/>
                  </a:lnTo>
                  <a:lnTo>
                    <a:pt x="57" y="66"/>
                  </a:lnTo>
                  <a:lnTo>
                    <a:pt x="57" y="66"/>
                  </a:lnTo>
                  <a:lnTo>
                    <a:pt x="57" y="64"/>
                  </a:lnTo>
                  <a:lnTo>
                    <a:pt x="57" y="64"/>
                  </a:lnTo>
                  <a:lnTo>
                    <a:pt x="54" y="64"/>
                  </a:lnTo>
                  <a:lnTo>
                    <a:pt x="54" y="62"/>
                  </a:lnTo>
                  <a:lnTo>
                    <a:pt x="54" y="64"/>
                  </a:lnTo>
                  <a:lnTo>
                    <a:pt x="52" y="64"/>
                  </a:lnTo>
                  <a:lnTo>
                    <a:pt x="52" y="64"/>
                  </a:lnTo>
                  <a:lnTo>
                    <a:pt x="50" y="64"/>
                  </a:lnTo>
                  <a:lnTo>
                    <a:pt x="47" y="64"/>
                  </a:lnTo>
                  <a:lnTo>
                    <a:pt x="47" y="62"/>
                  </a:lnTo>
                  <a:lnTo>
                    <a:pt x="47" y="59"/>
                  </a:lnTo>
                  <a:lnTo>
                    <a:pt x="47" y="62"/>
                  </a:lnTo>
                  <a:lnTo>
                    <a:pt x="47" y="59"/>
                  </a:lnTo>
                  <a:lnTo>
                    <a:pt x="45" y="59"/>
                  </a:lnTo>
                  <a:lnTo>
                    <a:pt x="47" y="57"/>
                  </a:lnTo>
                  <a:lnTo>
                    <a:pt x="45" y="54"/>
                  </a:lnTo>
                  <a:lnTo>
                    <a:pt x="45" y="54"/>
                  </a:lnTo>
                  <a:lnTo>
                    <a:pt x="47" y="52"/>
                  </a:lnTo>
                  <a:lnTo>
                    <a:pt x="47" y="50"/>
                  </a:lnTo>
                  <a:lnTo>
                    <a:pt x="47" y="47"/>
                  </a:lnTo>
                  <a:lnTo>
                    <a:pt x="47" y="45"/>
                  </a:lnTo>
                  <a:lnTo>
                    <a:pt x="47" y="45"/>
                  </a:lnTo>
                  <a:lnTo>
                    <a:pt x="50" y="43"/>
                  </a:lnTo>
                  <a:lnTo>
                    <a:pt x="45" y="40"/>
                  </a:lnTo>
                  <a:lnTo>
                    <a:pt x="45" y="40"/>
                  </a:lnTo>
                  <a:lnTo>
                    <a:pt x="45" y="40"/>
                  </a:lnTo>
                  <a:lnTo>
                    <a:pt x="45" y="38"/>
                  </a:lnTo>
                  <a:lnTo>
                    <a:pt x="47" y="38"/>
                  </a:lnTo>
                  <a:lnTo>
                    <a:pt x="47" y="36"/>
                  </a:lnTo>
                  <a:lnTo>
                    <a:pt x="47" y="33"/>
                  </a:lnTo>
                  <a:lnTo>
                    <a:pt x="50" y="29"/>
                  </a:lnTo>
                  <a:lnTo>
                    <a:pt x="50" y="29"/>
                  </a:lnTo>
                  <a:lnTo>
                    <a:pt x="50" y="26"/>
                  </a:lnTo>
                  <a:lnTo>
                    <a:pt x="50" y="26"/>
                  </a:lnTo>
                  <a:lnTo>
                    <a:pt x="50" y="24"/>
                  </a:lnTo>
                  <a:lnTo>
                    <a:pt x="50" y="26"/>
                  </a:lnTo>
                  <a:lnTo>
                    <a:pt x="52" y="26"/>
                  </a:lnTo>
                  <a:lnTo>
                    <a:pt x="52" y="26"/>
                  </a:lnTo>
                  <a:lnTo>
                    <a:pt x="54" y="26"/>
                  </a:lnTo>
                  <a:lnTo>
                    <a:pt x="59" y="26"/>
                  </a:lnTo>
                  <a:lnTo>
                    <a:pt x="57" y="24"/>
                  </a:lnTo>
                  <a:lnTo>
                    <a:pt x="57" y="24"/>
                  </a:lnTo>
                  <a:lnTo>
                    <a:pt x="59"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62" name="Freeform 284">
              <a:extLst>
                <a:ext uri="{FF2B5EF4-FFF2-40B4-BE49-F238E27FC236}">
                  <a16:creationId xmlns:a16="http://schemas.microsoft.com/office/drawing/2014/main" id="{B88B291A-3227-4BB6-85B9-E5DA6BFE491F}"/>
                </a:ext>
              </a:extLst>
            </p:cNvPr>
            <p:cNvSpPr>
              <a:spLocks/>
            </p:cNvSpPr>
            <p:nvPr/>
          </p:nvSpPr>
          <p:spPr bwMode="gray">
            <a:xfrm>
              <a:off x="-1382" y="673"/>
              <a:ext cx="21" cy="19"/>
            </a:xfrm>
            <a:custGeom>
              <a:avLst/>
              <a:gdLst>
                <a:gd name="T0" fmla="*/ 12 w 21"/>
                <a:gd name="T1" fmla="*/ 7 h 19"/>
                <a:gd name="T2" fmla="*/ 14 w 21"/>
                <a:gd name="T3" fmla="*/ 7 h 19"/>
                <a:gd name="T4" fmla="*/ 16 w 21"/>
                <a:gd name="T5" fmla="*/ 5 h 19"/>
                <a:gd name="T6" fmla="*/ 19 w 21"/>
                <a:gd name="T7" fmla="*/ 7 h 19"/>
                <a:gd name="T8" fmla="*/ 21 w 21"/>
                <a:gd name="T9" fmla="*/ 5 h 19"/>
                <a:gd name="T10" fmla="*/ 21 w 21"/>
                <a:gd name="T11" fmla="*/ 5 h 19"/>
                <a:gd name="T12" fmla="*/ 21 w 21"/>
                <a:gd name="T13" fmla="*/ 5 h 19"/>
                <a:gd name="T14" fmla="*/ 21 w 21"/>
                <a:gd name="T15" fmla="*/ 5 h 19"/>
                <a:gd name="T16" fmla="*/ 21 w 21"/>
                <a:gd name="T17" fmla="*/ 5 h 19"/>
                <a:gd name="T18" fmla="*/ 21 w 21"/>
                <a:gd name="T19" fmla="*/ 2 h 19"/>
                <a:gd name="T20" fmla="*/ 19 w 21"/>
                <a:gd name="T21" fmla="*/ 2 h 19"/>
                <a:gd name="T22" fmla="*/ 16 w 21"/>
                <a:gd name="T23" fmla="*/ 2 h 19"/>
                <a:gd name="T24" fmla="*/ 16 w 21"/>
                <a:gd name="T25" fmla="*/ 5 h 19"/>
                <a:gd name="T26" fmla="*/ 14 w 21"/>
                <a:gd name="T27" fmla="*/ 2 h 19"/>
                <a:gd name="T28" fmla="*/ 14 w 21"/>
                <a:gd name="T29" fmla="*/ 0 h 19"/>
                <a:gd name="T30" fmla="*/ 12 w 21"/>
                <a:gd name="T31" fmla="*/ 2 h 19"/>
                <a:gd name="T32" fmla="*/ 12 w 21"/>
                <a:gd name="T33" fmla="*/ 2 h 19"/>
                <a:gd name="T34" fmla="*/ 9 w 21"/>
                <a:gd name="T35" fmla="*/ 2 h 19"/>
                <a:gd name="T36" fmla="*/ 9 w 21"/>
                <a:gd name="T37" fmla="*/ 2 h 19"/>
                <a:gd name="T38" fmla="*/ 9 w 21"/>
                <a:gd name="T39" fmla="*/ 2 h 19"/>
                <a:gd name="T40" fmla="*/ 7 w 21"/>
                <a:gd name="T41" fmla="*/ 2 h 19"/>
                <a:gd name="T42" fmla="*/ 4 w 21"/>
                <a:gd name="T43" fmla="*/ 2 h 19"/>
                <a:gd name="T44" fmla="*/ 4 w 21"/>
                <a:gd name="T45" fmla="*/ 5 h 19"/>
                <a:gd name="T46" fmla="*/ 4 w 21"/>
                <a:gd name="T47" fmla="*/ 5 h 19"/>
                <a:gd name="T48" fmla="*/ 2 w 21"/>
                <a:gd name="T49" fmla="*/ 7 h 19"/>
                <a:gd name="T50" fmla="*/ 2 w 21"/>
                <a:gd name="T51" fmla="*/ 7 h 19"/>
                <a:gd name="T52" fmla="*/ 2 w 21"/>
                <a:gd name="T53" fmla="*/ 9 h 19"/>
                <a:gd name="T54" fmla="*/ 2 w 21"/>
                <a:gd name="T55" fmla="*/ 12 h 19"/>
                <a:gd name="T56" fmla="*/ 0 w 21"/>
                <a:gd name="T57" fmla="*/ 12 h 19"/>
                <a:gd name="T58" fmla="*/ 2 w 21"/>
                <a:gd name="T59" fmla="*/ 16 h 19"/>
                <a:gd name="T60" fmla="*/ 4 w 21"/>
                <a:gd name="T61" fmla="*/ 19 h 19"/>
                <a:gd name="T62" fmla="*/ 4 w 21"/>
                <a:gd name="T63" fmla="*/ 19 h 19"/>
                <a:gd name="T64" fmla="*/ 7 w 21"/>
                <a:gd name="T65" fmla="*/ 19 h 19"/>
                <a:gd name="T66" fmla="*/ 7 w 21"/>
                <a:gd name="T67" fmla="*/ 19 h 19"/>
                <a:gd name="T68" fmla="*/ 7 w 21"/>
                <a:gd name="T69" fmla="*/ 19 h 19"/>
                <a:gd name="T70" fmla="*/ 9 w 21"/>
                <a:gd name="T71" fmla="*/ 16 h 19"/>
                <a:gd name="T72" fmla="*/ 9 w 21"/>
                <a:gd name="T73" fmla="*/ 14 h 19"/>
                <a:gd name="T74" fmla="*/ 9 w 21"/>
                <a:gd name="T75" fmla="*/ 14 h 19"/>
                <a:gd name="T76" fmla="*/ 9 w 21"/>
                <a:gd name="T77" fmla="*/ 12 h 19"/>
                <a:gd name="T78" fmla="*/ 9 w 21"/>
                <a:gd name="T79" fmla="*/ 12 h 19"/>
                <a:gd name="T80" fmla="*/ 9 w 21"/>
                <a:gd name="T81" fmla="*/ 9 h 19"/>
                <a:gd name="T82" fmla="*/ 12 w 21"/>
                <a:gd name="T83"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 h="19">
                  <a:moveTo>
                    <a:pt x="12" y="7"/>
                  </a:moveTo>
                  <a:lnTo>
                    <a:pt x="14" y="7"/>
                  </a:lnTo>
                  <a:lnTo>
                    <a:pt x="16" y="5"/>
                  </a:lnTo>
                  <a:lnTo>
                    <a:pt x="19" y="7"/>
                  </a:lnTo>
                  <a:lnTo>
                    <a:pt x="21" y="5"/>
                  </a:lnTo>
                  <a:lnTo>
                    <a:pt x="21" y="5"/>
                  </a:lnTo>
                  <a:lnTo>
                    <a:pt x="21" y="5"/>
                  </a:lnTo>
                  <a:lnTo>
                    <a:pt x="21" y="5"/>
                  </a:lnTo>
                  <a:lnTo>
                    <a:pt x="21" y="5"/>
                  </a:lnTo>
                  <a:lnTo>
                    <a:pt x="21" y="2"/>
                  </a:lnTo>
                  <a:lnTo>
                    <a:pt x="19" y="2"/>
                  </a:lnTo>
                  <a:lnTo>
                    <a:pt x="16" y="2"/>
                  </a:lnTo>
                  <a:lnTo>
                    <a:pt x="16" y="5"/>
                  </a:lnTo>
                  <a:lnTo>
                    <a:pt x="14" y="2"/>
                  </a:lnTo>
                  <a:lnTo>
                    <a:pt x="14" y="0"/>
                  </a:lnTo>
                  <a:lnTo>
                    <a:pt x="12" y="2"/>
                  </a:lnTo>
                  <a:lnTo>
                    <a:pt x="12" y="2"/>
                  </a:lnTo>
                  <a:lnTo>
                    <a:pt x="9" y="2"/>
                  </a:lnTo>
                  <a:lnTo>
                    <a:pt x="9" y="2"/>
                  </a:lnTo>
                  <a:lnTo>
                    <a:pt x="9" y="2"/>
                  </a:lnTo>
                  <a:lnTo>
                    <a:pt x="7" y="2"/>
                  </a:lnTo>
                  <a:lnTo>
                    <a:pt x="4" y="2"/>
                  </a:lnTo>
                  <a:lnTo>
                    <a:pt x="4" y="5"/>
                  </a:lnTo>
                  <a:lnTo>
                    <a:pt x="4" y="5"/>
                  </a:lnTo>
                  <a:lnTo>
                    <a:pt x="2" y="7"/>
                  </a:lnTo>
                  <a:lnTo>
                    <a:pt x="2" y="7"/>
                  </a:lnTo>
                  <a:lnTo>
                    <a:pt x="2" y="9"/>
                  </a:lnTo>
                  <a:lnTo>
                    <a:pt x="2" y="12"/>
                  </a:lnTo>
                  <a:lnTo>
                    <a:pt x="0" y="12"/>
                  </a:lnTo>
                  <a:lnTo>
                    <a:pt x="2" y="16"/>
                  </a:lnTo>
                  <a:lnTo>
                    <a:pt x="4" y="19"/>
                  </a:lnTo>
                  <a:lnTo>
                    <a:pt x="4" y="19"/>
                  </a:lnTo>
                  <a:lnTo>
                    <a:pt x="7" y="19"/>
                  </a:lnTo>
                  <a:lnTo>
                    <a:pt x="7" y="19"/>
                  </a:lnTo>
                  <a:lnTo>
                    <a:pt x="7" y="19"/>
                  </a:lnTo>
                  <a:lnTo>
                    <a:pt x="9" y="16"/>
                  </a:lnTo>
                  <a:lnTo>
                    <a:pt x="9" y="14"/>
                  </a:lnTo>
                  <a:lnTo>
                    <a:pt x="9" y="14"/>
                  </a:lnTo>
                  <a:lnTo>
                    <a:pt x="9" y="12"/>
                  </a:lnTo>
                  <a:lnTo>
                    <a:pt x="9" y="12"/>
                  </a:lnTo>
                  <a:lnTo>
                    <a:pt x="9" y="9"/>
                  </a:lnTo>
                  <a:lnTo>
                    <a:pt x="1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63" name="Freeform 285">
              <a:extLst>
                <a:ext uri="{FF2B5EF4-FFF2-40B4-BE49-F238E27FC236}">
                  <a16:creationId xmlns:a16="http://schemas.microsoft.com/office/drawing/2014/main" id="{70586D32-12B7-4C60-995F-4FA29390E61D}"/>
                </a:ext>
              </a:extLst>
            </p:cNvPr>
            <p:cNvSpPr>
              <a:spLocks/>
            </p:cNvSpPr>
            <p:nvPr/>
          </p:nvSpPr>
          <p:spPr bwMode="gray">
            <a:xfrm>
              <a:off x="-1255" y="-168"/>
              <a:ext cx="5" cy="7"/>
            </a:xfrm>
            <a:custGeom>
              <a:avLst/>
              <a:gdLst>
                <a:gd name="T0" fmla="*/ 5 w 5"/>
                <a:gd name="T1" fmla="*/ 4 h 7"/>
                <a:gd name="T2" fmla="*/ 5 w 5"/>
                <a:gd name="T3" fmla="*/ 2 h 7"/>
                <a:gd name="T4" fmla="*/ 3 w 5"/>
                <a:gd name="T5" fmla="*/ 0 h 7"/>
                <a:gd name="T6" fmla="*/ 0 w 5"/>
                <a:gd name="T7" fmla="*/ 7 h 7"/>
                <a:gd name="T8" fmla="*/ 0 w 5"/>
                <a:gd name="T9" fmla="*/ 4 h 7"/>
                <a:gd name="T10" fmla="*/ 3 w 5"/>
                <a:gd name="T11" fmla="*/ 4 h 7"/>
                <a:gd name="T12" fmla="*/ 3 w 5"/>
                <a:gd name="T13" fmla="*/ 4 h 7"/>
                <a:gd name="T14" fmla="*/ 3 w 5"/>
                <a:gd name="T15" fmla="*/ 7 h 7"/>
                <a:gd name="T16" fmla="*/ 3 w 5"/>
                <a:gd name="T17" fmla="*/ 7 h 7"/>
                <a:gd name="T18" fmla="*/ 5 w 5"/>
                <a:gd name="T19"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7">
                  <a:moveTo>
                    <a:pt x="5" y="4"/>
                  </a:moveTo>
                  <a:lnTo>
                    <a:pt x="5" y="2"/>
                  </a:lnTo>
                  <a:lnTo>
                    <a:pt x="3" y="0"/>
                  </a:lnTo>
                  <a:lnTo>
                    <a:pt x="0" y="7"/>
                  </a:lnTo>
                  <a:lnTo>
                    <a:pt x="0" y="4"/>
                  </a:lnTo>
                  <a:lnTo>
                    <a:pt x="3" y="4"/>
                  </a:lnTo>
                  <a:lnTo>
                    <a:pt x="3" y="4"/>
                  </a:lnTo>
                  <a:lnTo>
                    <a:pt x="3" y="7"/>
                  </a:lnTo>
                  <a:lnTo>
                    <a:pt x="3" y="7"/>
                  </a:ln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64" name="Freeform 286">
              <a:extLst>
                <a:ext uri="{FF2B5EF4-FFF2-40B4-BE49-F238E27FC236}">
                  <a16:creationId xmlns:a16="http://schemas.microsoft.com/office/drawing/2014/main" id="{A157D952-D78D-4229-819A-82B693D5916F}"/>
                </a:ext>
              </a:extLst>
            </p:cNvPr>
            <p:cNvSpPr>
              <a:spLocks/>
            </p:cNvSpPr>
            <p:nvPr/>
          </p:nvSpPr>
          <p:spPr bwMode="gray">
            <a:xfrm>
              <a:off x="-1451" y="534"/>
              <a:ext cx="12" cy="9"/>
            </a:xfrm>
            <a:custGeom>
              <a:avLst/>
              <a:gdLst>
                <a:gd name="T0" fmla="*/ 0 w 12"/>
                <a:gd name="T1" fmla="*/ 5 h 9"/>
                <a:gd name="T2" fmla="*/ 0 w 12"/>
                <a:gd name="T3" fmla="*/ 7 h 9"/>
                <a:gd name="T4" fmla="*/ 0 w 12"/>
                <a:gd name="T5" fmla="*/ 9 h 9"/>
                <a:gd name="T6" fmla="*/ 0 w 12"/>
                <a:gd name="T7" fmla="*/ 9 h 9"/>
                <a:gd name="T8" fmla="*/ 0 w 12"/>
                <a:gd name="T9" fmla="*/ 9 h 9"/>
                <a:gd name="T10" fmla="*/ 0 w 12"/>
                <a:gd name="T11" fmla="*/ 9 h 9"/>
                <a:gd name="T12" fmla="*/ 3 w 12"/>
                <a:gd name="T13" fmla="*/ 9 h 9"/>
                <a:gd name="T14" fmla="*/ 3 w 12"/>
                <a:gd name="T15" fmla="*/ 7 h 9"/>
                <a:gd name="T16" fmla="*/ 3 w 12"/>
                <a:gd name="T17" fmla="*/ 7 h 9"/>
                <a:gd name="T18" fmla="*/ 5 w 12"/>
                <a:gd name="T19" fmla="*/ 7 h 9"/>
                <a:gd name="T20" fmla="*/ 5 w 12"/>
                <a:gd name="T21" fmla="*/ 9 h 9"/>
                <a:gd name="T22" fmla="*/ 7 w 12"/>
                <a:gd name="T23" fmla="*/ 9 h 9"/>
                <a:gd name="T24" fmla="*/ 7 w 12"/>
                <a:gd name="T25" fmla="*/ 9 h 9"/>
                <a:gd name="T26" fmla="*/ 7 w 12"/>
                <a:gd name="T27" fmla="*/ 7 h 9"/>
                <a:gd name="T28" fmla="*/ 7 w 12"/>
                <a:gd name="T29" fmla="*/ 7 h 9"/>
                <a:gd name="T30" fmla="*/ 7 w 12"/>
                <a:gd name="T31" fmla="*/ 5 h 9"/>
                <a:gd name="T32" fmla="*/ 7 w 12"/>
                <a:gd name="T33" fmla="*/ 2 h 9"/>
                <a:gd name="T34" fmla="*/ 7 w 12"/>
                <a:gd name="T35" fmla="*/ 5 h 9"/>
                <a:gd name="T36" fmla="*/ 10 w 12"/>
                <a:gd name="T37" fmla="*/ 5 h 9"/>
                <a:gd name="T38" fmla="*/ 10 w 12"/>
                <a:gd name="T39" fmla="*/ 5 h 9"/>
                <a:gd name="T40" fmla="*/ 10 w 12"/>
                <a:gd name="T41" fmla="*/ 5 h 9"/>
                <a:gd name="T42" fmla="*/ 10 w 12"/>
                <a:gd name="T43" fmla="*/ 5 h 9"/>
                <a:gd name="T44" fmla="*/ 10 w 12"/>
                <a:gd name="T45" fmla="*/ 5 h 9"/>
                <a:gd name="T46" fmla="*/ 10 w 12"/>
                <a:gd name="T47" fmla="*/ 2 h 9"/>
                <a:gd name="T48" fmla="*/ 10 w 12"/>
                <a:gd name="T49" fmla="*/ 2 h 9"/>
                <a:gd name="T50" fmla="*/ 10 w 12"/>
                <a:gd name="T51" fmla="*/ 2 h 9"/>
                <a:gd name="T52" fmla="*/ 10 w 12"/>
                <a:gd name="T53" fmla="*/ 2 h 9"/>
                <a:gd name="T54" fmla="*/ 10 w 12"/>
                <a:gd name="T55" fmla="*/ 2 h 9"/>
                <a:gd name="T56" fmla="*/ 12 w 12"/>
                <a:gd name="T57" fmla="*/ 2 h 9"/>
                <a:gd name="T58" fmla="*/ 12 w 12"/>
                <a:gd name="T59" fmla="*/ 0 h 9"/>
                <a:gd name="T60" fmla="*/ 10 w 12"/>
                <a:gd name="T61" fmla="*/ 0 h 9"/>
                <a:gd name="T62" fmla="*/ 7 w 12"/>
                <a:gd name="T63" fmla="*/ 0 h 9"/>
                <a:gd name="T64" fmla="*/ 5 w 12"/>
                <a:gd name="T65" fmla="*/ 2 h 9"/>
                <a:gd name="T66" fmla="*/ 5 w 12"/>
                <a:gd name="T67" fmla="*/ 2 h 9"/>
                <a:gd name="T68" fmla="*/ 3 w 12"/>
                <a:gd name="T69" fmla="*/ 2 h 9"/>
                <a:gd name="T70" fmla="*/ 3 w 12"/>
                <a:gd name="T71" fmla="*/ 2 h 9"/>
                <a:gd name="T72" fmla="*/ 3 w 12"/>
                <a:gd name="T73" fmla="*/ 5 h 9"/>
                <a:gd name="T74" fmla="*/ 3 w 12"/>
                <a:gd name="T75" fmla="*/ 5 h 9"/>
                <a:gd name="T76" fmla="*/ 3 w 12"/>
                <a:gd name="T77" fmla="*/ 5 h 9"/>
                <a:gd name="T78" fmla="*/ 0 w 12"/>
                <a:gd name="T79"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 h="9">
                  <a:moveTo>
                    <a:pt x="0" y="5"/>
                  </a:moveTo>
                  <a:lnTo>
                    <a:pt x="0" y="7"/>
                  </a:lnTo>
                  <a:lnTo>
                    <a:pt x="0" y="9"/>
                  </a:lnTo>
                  <a:lnTo>
                    <a:pt x="0" y="9"/>
                  </a:lnTo>
                  <a:lnTo>
                    <a:pt x="0" y="9"/>
                  </a:lnTo>
                  <a:lnTo>
                    <a:pt x="0" y="9"/>
                  </a:lnTo>
                  <a:lnTo>
                    <a:pt x="3" y="9"/>
                  </a:lnTo>
                  <a:lnTo>
                    <a:pt x="3" y="7"/>
                  </a:lnTo>
                  <a:lnTo>
                    <a:pt x="3" y="7"/>
                  </a:lnTo>
                  <a:lnTo>
                    <a:pt x="5" y="7"/>
                  </a:lnTo>
                  <a:lnTo>
                    <a:pt x="5" y="9"/>
                  </a:lnTo>
                  <a:lnTo>
                    <a:pt x="7" y="9"/>
                  </a:lnTo>
                  <a:lnTo>
                    <a:pt x="7" y="9"/>
                  </a:lnTo>
                  <a:lnTo>
                    <a:pt x="7" y="7"/>
                  </a:lnTo>
                  <a:lnTo>
                    <a:pt x="7" y="7"/>
                  </a:lnTo>
                  <a:lnTo>
                    <a:pt x="7" y="5"/>
                  </a:lnTo>
                  <a:lnTo>
                    <a:pt x="7" y="2"/>
                  </a:lnTo>
                  <a:lnTo>
                    <a:pt x="7" y="5"/>
                  </a:lnTo>
                  <a:lnTo>
                    <a:pt x="10" y="5"/>
                  </a:lnTo>
                  <a:lnTo>
                    <a:pt x="10" y="5"/>
                  </a:lnTo>
                  <a:lnTo>
                    <a:pt x="10" y="5"/>
                  </a:lnTo>
                  <a:lnTo>
                    <a:pt x="10" y="5"/>
                  </a:lnTo>
                  <a:lnTo>
                    <a:pt x="10" y="5"/>
                  </a:lnTo>
                  <a:lnTo>
                    <a:pt x="10" y="2"/>
                  </a:lnTo>
                  <a:lnTo>
                    <a:pt x="10" y="2"/>
                  </a:lnTo>
                  <a:lnTo>
                    <a:pt x="10" y="2"/>
                  </a:lnTo>
                  <a:lnTo>
                    <a:pt x="10" y="2"/>
                  </a:lnTo>
                  <a:lnTo>
                    <a:pt x="10" y="2"/>
                  </a:lnTo>
                  <a:lnTo>
                    <a:pt x="12" y="2"/>
                  </a:lnTo>
                  <a:lnTo>
                    <a:pt x="12" y="0"/>
                  </a:lnTo>
                  <a:lnTo>
                    <a:pt x="10" y="0"/>
                  </a:lnTo>
                  <a:lnTo>
                    <a:pt x="7" y="0"/>
                  </a:lnTo>
                  <a:lnTo>
                    <a:pt x="5" y="2"/>
                  </a:lnTo>
                  <a:lnTo>
                    <a:pt x="5" y="2"/>
                  </a:lnTo>
                  <a:lnTo>
                    <a:pt x="3" y="2"/>
                  </a:lnTo>
                  <a:lnTo>
                    <a:pt x="3" y="2"/>
                  </a:lnTo>
                  <a:lnTo>
                    <a:pt x="3" y="5"/>
                  </a:lnTo>
                  <a:lnTo>
                    <a:pt x="3" y="5"/>
                  </a:lnTo>
                  <a:lnTo>
                    <a:pt x="3"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65" name="Freeform 287">
              <a:extLst>
                <a:ext uri="{FF2B5EF4-FFF2-40B4-BE49-F238E27FC236}">
                  <a16:creationId xmlns:a16="http://schemas.microsoft.com/office/drawing/2014/main" id="{E41CE545-3A34-4AE5-A06E-1B927A06DC73}"/>
                </a:ext>
              </a:extLst>
            </p:cNvPr>
            <p:cNvSpPr>
              <a:spLocks/>
            </p:cNvSpPr>
            <p:nvPr/>
          </p:nvSpPr>
          <p:spPr bwMode="gray">
            <a:xfrm>
              <a:off x="-1255" y="-147"/>
              <a:ext cx="3" cy="5"/>
            </a:xfrm>
            <a:custGeom>
              <a:avLst/>
              <a:gdLst>
                <a:gd name="T0" fmla="*/ 3 w 3"/>
                <a:gd name="T1" fmla="*/ 0 h 5"/>
                <a:gd name="T2" fmla="*/ 0 w 3"/>
                <a:gd name="T3" fmla="*/ 2 h 5"/>
                <a:gd name="T4" fmla="*/ 0 w 3"/>
                <a:gd name="T5" fmla="*/ 5 h 5"/>
                <a:gd name="T6" fmla="*/ 0 w 3"/>
                <a:gd name="T7" fmla="*/ 5 h 5"/>
                <a:gd name="T8" fmla="*/ 0 w 3"/>
                <a:gd name="T9" fmla="*/ 2 h 5"/>
                <a:gd name="T10" fmla="*/ 3 w 3"/>
                <a:gd name="T11" fmla="*/ 2 h 5"/>
                <a:gd name="T12" fmla="*/ 3 w 3"/>
                <a:gd name="T13" fmla="*/ 0 h 5"/>
                <a:gd name="T14" fmla="*/ 3 w 3"/>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0"/>
                  </a:moveTo>
                  <a:lnTo>
                    <a:pt x="0" y="2"/>
                  </a:lnTo>
                  <a:lnTo>
                    <a:pt x="0" y="5"/>
                  </a:lnTo>
                  <a:lnTo>
                    <a:pt x="0" y="5"/>
                  </a:lnTo>
                  <a:lnTo>
                    <a:pt x="0" y="2"/>
                  </a:lnTo>
                  <a:lnTo>
                    <a:pt x="3" y="2"/>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66" name="Freeform 288">
              <a:extLst>
                <a:ext uri="{FF2B5EF4-FFF2-40B4-BE49-F238E27FC236}">
                  <a16:creationId xmlns:a16="http://schemas.microsoft.com/office/drawing/2014/main" id="{7195C7EA-9E9F-41C0-B60F-265DCB592D7B}"/>
                </a:ext>
              </a:extLst>
            </p:cNvPr>
            <p:cNvSpPr>
              <a:spLocks/>
            </p:cNvSpPr>
            <p:nvPr/>
          </p:nvSpPr>
          <p:spPr bwMode="gray">
            <a:xfrm>
              <a:off x="-1160" y="-453"/>
              <a:ext cx="11" cy="9"/>
            </a:xfrm>
            <a:custGeom>
              <a:avLst/>
              <a:gdLst>
                <a:gd name="T0" fmla="*/ 7 w 11"/>
                <a:gd name="T1" fmla="*/ 9 h 9"/>
                <a:gd name="T2" fmla="*/ 7 w 11"/>
                <a:gd name="T3" fmla="*/ 9 h 9"/>
                <a:gd name="T4" fmla="*/ 7 w 11"/>
                <a:gd name="T5" fmla="*/ 9 h 9"/>
                <a:gd name="T6" fmla="*/ 7 w 11"/>
                <a:gd name="T7" fmla="*/ 7 h 9"/>
                <a:gd name="T8" fmla="*/ 7 w 11"/>
                <a:gd name="T9" fmla="*/ 7 h 9"/>
                <a:gd name="T10" fmla="*/ 7 w 11"/>
                <a:gd name="T11" fmla="*/ 7 h 9"/>
                <a:gd name="T12" fmla="*/ 7 w 11"/>
                <a:gd name="T13" fmla="*/ 4 h 9"/>
                <a:gd name="T14" fmla="*/ 7 w 11"/>
                <a:gd name="T15" fmla="*/ 4 h 9"/>
                <a:gd name="T16" fmla="*/ 7 w 11"/>
                <a:gd name="T17" fmla="*/ 4 h 9"/>
                <a:gd name="T18" fmla="*/ 9 w 11"/>
                <a:gd name="T19" fmla="*/ 4 h 9"/>
                <a:gd name="T20" fmla="*/ 9 w 11"/>
                <a:gd name="T21" fmla="*/ 7 h 9"/>
                <a:gd name="T22" fmla="*/ 9 w 11"/>
                <a:gd name="T23" fmla="*/ 7 h 9"/>
                <a:gd name="T24" fmla="*/ 11 w 11"/>
                <a:gd name="T25" fmla="*/ 9 h 9"/>
                <a:gd name="T26" fmla="*/ 11 w 11"/>
                <a:gd name="T27" fmla="*/ 7 h 9"/>
                <a:gd name="T28" fmla="*/ 11 w 11"/>
                <a:gd name="T29" fmla="*/ 7 h 9"/>
                <a:gd name="T30" fmla="*/ 11 w 11"/>
                <a:gd name="T31" fmla="*/ 4 h 9"/>
                <a:gd name="T32" fmla="*/ 9 w 11"/>
                <a:gd name="T33" fmla="*/ 2 h 9"/>
                <a:gd name="T34" fmla="*/ 9 w 11"/>
                <a:gd name="T35" fmla="*/ 2 h 9"/>
                <a:gd name="T36" fmla="*/ 9 w 11"/>
                <a:gd name="T37" fmla="*/ 2 h 9"/>
                <a:gd name="T38" fmla="*/ 9 w 11"/>
                <a:gd name="T39" fmla="*/ 2 h 9"/>
                <a:gd name="T40" fmla="*/ 2 w 11"/>
                <a:gd name="T41" fmla="*/ 0 h 9"/>
                <a:gd name="T42" fmla="*/ 2 w 11"/>
                <a:gd name="T43" fmla="*/ 0 h 9"/>
                <a:gd name="T44" fmla="*/ 0 w 11"/>
                <a:gd name="T45" fmla="*/ 0 h 9"/>
                <a:gd name="T46" fmla="*/ 0 w 11"/>
                <a:gd name="T47" fmla="*/ 0 h 9"/>
                <a:gd name="T48" fmla="*/ 0 w 11"/>
                <a:gd name="T49" fmla="*/ 2 h 9"/>
                <a:gd name="T50" fmla="*/ 2 w 11"/>
                <a:gd name="T51" fmla="*/ 4 h 9"/>
                <a:gd name="T52" fmla="*/ 4 w 11"/>
                <a:gd name="T53" fmla="*/ 9 h 9"/>
                <a:gd name="T54" fmla="*/ 7 w 11"/>
                <a:gd name="T5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 h="9">
                  <a:moveTo>
                    <a:pt x="7" y="9"/>
                  </a:moveTo>
                  <a:lnTo>
                    <a:pt x="7" y="9"/>
                  </a:lnTo>
                  <a:lnTo>
                    <a:pt x="7" y="9"/>
                  </a:lnTo>
                  <a:lnTo>
                    <a:pt x="7" y="7"/>
                  </a:lnTo>
                  <a:lnTo>
                    <a:pt x="7" y="7"/>
                  </a:lnTo>
                  <a:lnTo>
                    <a:pt x="7" y="7"/>
                  </a:lnTo>
                  <a:lnTo>
                    <a:pt x="7" y="4"/>
                  </a:lnTo>
                  <a:lnTo>
                    <a:pt x="7" y="4"/>
                  </a:lnTo>
                  <a:lnTo>
                    <a:pt x="7" y="4"/>
                  </a:lnTo>
                  <a:lnTo>
                    <a:pt x="9" y="4"/>
                  </a:lnTo>
                  <a:lnTo>
                    <a:pt x="9" y="7"/>
                  </a:lnTo>
                  <a:lnTo>
                    <a:pt x="9" y="7"/>
                  </a:lnTo>
                  <a:lnTo>
                    <a:pt x="11" y="9"/>
                  </a:lnTo>
                  <a:lnTo>
                    <a:pt x="11" y="7"/>
                  </a:lnTo>
                  <a:lnTo>
                    <a:pt x="11" y="7"/>
                  </a:lnTo>
                  <a:lnTo>
                    <a:pt x="11" y="4"/>
                  </a:lnTo>
                  <a:lnTo>
                    <a:pt x="9" y="2"/>
                  </a:lnTo>
                  <a:lnTo>
                    <a:pt x="9" y="2"/>
                  </a:lnTo>
                  <a:lnTo>
                    <a:pt x="9" y="2"/>
                  </a:lnTo>
                  <a:lnTo>
                    <a:pt x="9" y="2"/>
                  </a:lnTo>
                  <a:lnTo>
                    <a:pt x="2" y="0"/>
                  </a:lnTo>
                  <a:lnTo>
                    <a:pt x="2" y="0"/>
                  </a:lnTo>
                  <a:lnTo>
                    <a:pt x="0" y="0"/>
                  </a:lnTo>
                  <a:lnTo>
                    <a:pt x="0" y="0"/>
                  </a:lnTo>
                  <a:lnTo>
                    <a:pt x="0" y="2"/>
                  </a:lnTo>
                  <a:lnTo>
                    <a:pt x="2" y="4"/>
                  </a:lnTo>
                  <a:lnTo>
                    <a:pt x="4" y="9"/>
                  </a:ln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67" name="Freeform 289">
              <a:extLst>
                <a:ext uri="{FF2B5EF4-FFF2-40B4-BE49-F238E27FC236}">
                  <a16:creationId xmlns:a16="http://schemas.microsoft.com/office/drawing/2014/main" id="{EB160207-46C5-4EEA-9D0D-D90FFF942629}"/>
                </a:ext>
              </a:extLst>
            </p:cNvPr>
            <p:cNvSpPr>
              <a:spLocks/>
            </p:cNvSpPr>
            <p:nvPr/>
          </p:nvSpPr>
          <p:spPr bwMode="gray">
            <a:xfrm>
              <a:off x="-1536" y="630"/>
              <a:ext cx="3" cy="5"/>
            </a:xfrm>
            <a:custGeom>
              <a:avLst/>
              <a:gdLst>
                <a:gd name="T0" fmla="*/ 0 w 3"/>
                <a:gd name="T1" fmla="*/ 0 h 5"/>
                <a:gd name="T2" fmla="*/ 0 w 3"/>
                <a:gd name="T3" fmla="*/ 3 h 5"/>
                <a:gd name="T4" fmla="*/ 0 w 3"/>
                <a:gd name="T5" fmla="*/ 3 h 5"/>
                <a:gd name="T6" fmla="*/ 0 w 3"/>
                <a:gd name="T7" fmla="*/ 5 h 5"/>
                <a:gd name="T8" fmla="*/ 0 w 3"/>
                <a:gd name="T9" fmla="*/ 5 h 5"/>
                <a:gd name="T10" fmla="*/ 3 w 3"/>
                <a:gd name="T11" fmla="*/ 5 h 5"/>
                <a:gd name="T12" fmla="*/ 3 w 3"/>
                <a:gd name="T13" fmla="*/ 5 h 5"/>
                <a:gd name="T14" fmla="*/ 3 w 3"/>
                <a:gd name="T15" fmla="*/ 3 h 5"/>
                <a:gd name="T16" fmla="*/ 3 w 3"/>
                <a:gd name="T17" fmla="*/ 3 h 5"/>
                <a:gd name="T18" fmla="*/ 3 w 3"/>
                <a:gd name="T19" fmla="*/ 3 h 5"/>
                <a:gd name="T20" fmla="*/ 0 w 3"/>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5">
                  <a:moveTo>
                    <a:pt x="0" y="0"/>
                  </a:moveTo>
                  <a:lnTo>
                    <a:pt x="0" y="3"/>
                  </a:lnTo>
                  <a:lnTo>
                    <a:pt x="0" y="3"/>
                  </a:lnTo>
                  <a:lnTo>
                    <a:pt x="0" y="5"/>
                  </a:lnTo>
                  <a:lnTo>
                    <a:pt x="0" y="5"/>
                  </a:lnTo>
                  <a:lnTo>
                    <a:pt x="3" y="5"/>
                  </a:lnTo>
                  <a:lnTo>
                    <a:pt x="3" y="5"/>
                  </a:lnTo>
                  <a:lnTo>
                    <a:pt x="3" y="3"/>
                  </a:lnTo>
                  <a:lnTo>
                    <a:pt x="3" y="3"/>
                  </a:lnTo>
                  <a:lnTo>
                    <a:pt x="3"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68" name="Freeform 290">
              <a:extLst>
                <a:ext uri="{FF2B5EF4-FFF2-40B4-BE49-F238E27FC236}">
                  <a16:creationId xmlns:a16="http://schemas.microsoft.com/office/drawing/2014/main" id="{BE2D714F-4A0F-4361-853A-26171DB43F11}"/>
                </a:ext>
              </a:extLst>
            </p:cNvPr>
            <p:cNvSpPr>
              <a:spLocks/>
            </p:cNvSpPr>
            <p:nvPr/>
          </p:nvSpPr>
          <p:spPr bwMode="gray">
            <a:xfrm>
              <a:off x="-1621" y="916"/>
              <a:ext cx="8" cy="4"/>
            </a:xfrm>
            <a:custGeom>
              <a:avLst/>
              <a:gdLst>
                <a:gd name="T0" fmla="*/ 5 w 8"/>
                <a:gd name="T1" fmla="*/ 0 h 4"/>
                <a:gd name="T2" fmla="*/ 5 w 8"/>
                <a:gd name="T3" fmla="*/ 0 h 4"/>
                <a:gd name="T4" fmla="*/ 5 w 8"/>
                <a:gd name="T5" fmla="*/ 0 h 4"/>
                <a:gd name="T6" fmla="*/ 3 w 8"/>
                <a:gd name="T7" fmla="*/ 0 h 4"/>
                <a:gd name="T8" fmla="*/ 3 w 8"/>
                <a:gd name="T9" fmla="*/ 0 h 4"/>
                <a:gd name="T10" fmla="*/ 3 w 8"/>
                <a:gd name="T11" fmla="*/ 0 h 4"/>
                <a:gd name="T12" fmla="*/ 0 w 8"/>
                <a:gd name="T13" fmla="*/ 2 h 4"/>
                <a:gd name="T14" fmla="*/ 3 w 8"/>
                <a:gd name="T15" fmla="*/ 2 h 4"/>
                <a:gd name="T16" fmla="*/ 5 w 8"/>
                <a:gd name="T17" fmla="*/ 4 h 4"/>
                <a:gd name="T18" fmla="*/ 5 w 8"/>
                <a:gd name="T19" fmla="*/ 4 h 4"/>
                <a:gd name="T20" fmla="*/ 5 w 8"/>
                <a:gd name="T21" fmla="*/ 4 h 4"/>
                <a:gd name="T22" fmla="*/ 5 w 8"/>
                <a:gd name="T23" fmla="*/ 4 h 4"/>
                <a:gd name="T24" fmla="*/ 5 w 8"/>
                <a:gd name="T25" fmla="*/ 4 h 4"/>
                <a:gd name="T26" fmla="*/ 5 w 8"/>
                <a:gd name="T27" fmla="*/ 2 h 4"/>
                <a:gd name="T28" fmla="*/ 5 w 8"/>
                <a:gd name="T29" fmla="*/ 2 h 4"/>
                <a:gd name="T30" fmla="*/ 5 w 8"/>
                <a:gd name="T31" fmla="*/ 2 h 4"/>
                <a:gd name="T32" fmla="*/ 8 w 8"/>
                <a:gd name="T33" fmla="*/ 0 h 4"/>
                <a:gd name="T34" fmla="*/ 8 w 8"/>
                <a:gd name="T35" fmla="*/ 0 h 4"/>
                <a:gd name="T36" fmla="*/ 8 w 8"/>
                <a:gd name="T37" fmla="*/ 0 h 4"/>
                <a:gd name="T38" fmla="*/ 8 w 8"/>
                <a:gd name="T39" fmla="*/ 0 h 4"/>
                <a:gd name="T40" fmla="*/ 5 w 8"/>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4">
                  <a:moveTo>
                    <a:pt x="5" y="0"/>
                  </a:moveTo>
                  <a:lnTo>
                    <a:pt x="5" y="0"/>
                  </a:lnTo>
                  <a:lnTo>
                    <a:pt x="5" y="0"/>
                  </a:lnTo>
                  <a:lnTo>
                    <a:pt x="3" y="0"/>
                  </a:lnTo>
                  <a:lnTo>
                    <a:pt x="3" y="0"/>
                  </a:lnTo>
                  <a:lnTo>
                    <a:pt x="3" y="0"/>
                  </a:lnTo>
                  <a:lnTo>
                    <a:pt x="0" y="2"/>
                  </a:lnTo>
                  <a:lnTo>
                    <a:pt x="3" y="2"/>
                  </a:lnTo>
                  <a:lnTo>
                    <a:pt x="5" y="4"/>
                  </a:lnTo>
                  <a:lnTo>
                    <a:pt x="5" y="4"/>
                  </a:lnTo>
                  <a:lnTo>
                    <a:pt x="5" y="4"/>
                  </a:lnTo>
                  <a:lnTo>
                    <a:pt x="5" y="4"/>
                  </a:lnTo>
                  <a:lnTo>
                    <a:pt x="5" y="4"/>
                  </a:lnTo>
                  <a:lnTo>
                    <a:pt x="5" y="2"/>
                  </a:lnTo>
                  <a:lnTo>
                    <a:pt x="5" y="2"/>
                  </a:lnTo>
                  <a:lnTo>
                    <a:pt x="5" y="2"/>
                  </a:lnTo>
                  <a:lnTo>
                    <a:pt x="8" y="0"/>
                  </a:lnTo>
                  <a:lnTo>
                    <a:pt x="8" y="0"/>
                  </a:lnTo>
                  <a:lnTo>
                    <a:pt x="8" y="0"/>
                  </a:lnTo>
                  <a:lnTo>
                    <a:pt x="8"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69" name="Freeform 291">
              <a:extLst>
                <a:ext uri="{FF2B5EF4-FFF2-40B4-BE49-F238E27FC236}">
                  <a16:creationId xmlns:a16="http://schemas.microsoft.com/office/drawing/2014/main" id="{FCC8DD93-1E56-46EA-A63D-4F4877F182AD}"/>
                </a:ext>
              </a:extLst>
            </p:cNvPr>
            <p:cNvSpPr>
              <a:spLocks/>
            </p:cNvSpPr>
            <p:nvPr/>
          </p:nvSpPr>
          <p:spPr bwMode="gray">
            <a:xfrm>
              <a:off x="-1540" y="619"/>
              <a:ext cx="9" cy="11"/>
            </a:xfrm>
            <a:custGeom>
              <a:avLst/>
              <a:gdLst>
                <a:gd name="T0" fmla="*/ 2 w 9"/>
                <a:gd name="T1" fmla="*/ 7 h 11"/>
                <a:gd name="T2" fmla="*/ 2 w 9"/>
                <a:gd name="T3" fmla="*/ 7 h 11"/>
                <a:gd name="T4" fmla="*/ 2 w 9"/>
                <a:gd name="T5" fmla="*/ 9 h 11"/>
                <a:gd name="T6" fmla="*/ 4 w 9"/>
                <a:gd name="T7" fmla="*/ 9 h 11"/>
                <a:gd name="T8" fmla="*/ 4 w 9"/>
                <a:gd name="T9" fmla="*/ 11 h 11"/>
                <a:gd name="T10" fmla="*/ 7 w 9"/>
                <a:gd name="T11" fmla="*/ 11 h 11"/>
                <a:gd name="T12" fmla="*/ 7 w 9"/>
                <a:gd name="T13" fmla="*/ 11 h 11"/>
                <a:gd name="T14" fmla="*/ 9 w 9"/>
                <a:gd name="T15" fmla="*/ 11 h 11"/>
                <a:gd name="T16" fmla="*/ 9 w 9"/>
                <a:gd name="T17" fmla="*/ 9 h 11"/>
                <a:gd name="T18" fmla="*/ 9 w 9"/>
                <a:gd name="T19" fmla="*/ 9 h 11"/>
                <a:gd name="T20" fmla="*/ 9 w 9"/>
                <a:gd name="T21" fmla="*/ 9 h 11"/>
                <a:gd name="T22" fmla="*/ 9 w 9"/>
                <a:gd name="T23" fmla="*/ 9 h 11"/>
                <a:gd name="T24" fmla="*/ 9 w 9"/>
                <a:gd name="T25" fmla="*/ 9 h 11"/>
                <a:gd name="T26" fmla="*/ 9 w 9"/>
                <a:gd name="T27" fmla="*/ 9 h 11"/>
                <a:gd name="T28" fmla="*/ 7 w 9"/>
                <a:gd name="T29" fmla="*/ 9 h 11"/>
                <a:gd name="T30" fmla="*/ 4 w 9"/>
                <a:gd name="T31" fmla="*/ 7 h 11"/>
                <a:gd name="T32" fmla="*/ 4 w 9"/>
                <a:gd name="T33" fmla="*/ 7 h 11"/>
                <a:gd name="T34" fmla="*/ 4 w 9"/>
                <a:gd name="T35" fmla="*/ 4 h 11"/>
                <a:gd name="T36" fmla="*/ 4 w 9"/>
                <a:gd name="T37" fmla="*/ 4 h 11"/>
                <a:gd name="T38" fmla="*/ 4 w 9"/>
                <a:gd name="T39" fmla="*/ 4 h 11"/>
                <a:gd name="T40" fmla="*/ 4 w 9"/>
                <a:gd name="T41" fmla="*/ 4 h 11"/>
                <a:gd name="T42" fmla="*/ 4 w 9"/>
                <a:gd name="T43" fmla="*/ 2 h 11"/>
                <a:gd name="T44" fmla="*/ 4 w 9"/>
                <a:gd name="T45" fmla="*/ 2 h 11"/>
                <a:gd name="T46" fmla="*/ 4 w 9"/>
                <a:gd name="T47" fmla="*/ 2 h 11"/>
                <a:gd name="T48" fmla="*/ 7 w 9"/>
                <a:gd name="T49" fmla="*/ 2 h 11"/>
                <a:gd name="T50" fmla="*/ 7 w 9"/>
                <a:gd name="T51" fmla="*/ 0 h 11"/>
                <a:gd name="T52" fmla="*/ 7 w 9"/>
                <a:gd name="T53" fmla="*/ 0 h 11"/>
                <a:gd name="T54" fmla="*/ 4 w 9"/>
                <a:gd name="T55" fmla="*/ 0 h 11"/>
                <a:gd name="T56" fmla="*/ 4 w 9"/>
                <a:gd name="T57" fmla="*/ 0 h 11"/>
                <a:gd name="T58" fmla="*/ 4 w 9"/>
                <a:gd name="T59" fmla="*/ 0 h 11"/>
                <a:gd name="T60" fmla="*/ 4 w 9"/>
                <a:gd name="T61" fmla="*/ 0 h 11"/>
                <a:gd name="T62" fmla="*/ 2 w 9"/>
                <a:gd name="T63" fmla="*/ 0 h 11"/>
                <a:gd name="T64" fmla="*/ 2 w 9"/>
                <a:gd name="T65" fmla="*/ 0 h 11"/>
                <a:gd name="T66" fmla="*/ 2 w 9"/>
                <a:gd name="T67" fmla="*/ 2 h 11"/>
                <a:gd name="T68" fmla="*/ 0 w 9"/>
                <a:gd name="T69" fmla="*/ 2 h 11"/>
                <a:gd name="T70" fmla="*/ 2 w 9"/>
                <a:gd name="T71" fmla="*/ 4 h 11"/>
                <a:gd name="T72" fmla="*/ 2 w 9"/>
                <a:gd name="T73" fmla="*/ 4 h 11"/>
                <a:gd name="T74" fmla="*/ 2 w 9"/>
                <a:gd name="T75" fmla="*/ 4 h 11"/>
                <a:gd name="T76" fmla="*/ 2 w 9"/>
                <a:gd name="T7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 h="11">
                  <a:moveTo>
                    <a:pt x="2" y="7"/>
                  </a:moveTo>
                  <a:lnTo>
                    <a:pt x="2" y="7"/>
                  </a:lnTo>
                  <a:lnTo>
                    <a:pt x="2" y="9"/>
                  </a:lnTo>
                  <a:lnTo>
                    <a:pt x="4" y="9"/>
                  </a:lnTo>
                  <a:lnTo>
                    <a:pt x="4" y="11"/>
                  </a:lnTo>
                  <a:lnTo>
                    <a:pt x="7" y="11"/>
                  </a:lnTo>
                  <a:lnTo>
                    <a:pt x="7" y="11"/>
                  </a:lnTo>
                  <a:lnTo>
                    <a:pt x="9" y="11"/>
                  </a:lnTo>
                  <a:lnTo>
                    <a:pt x="9" y="9"/>
                  </a:lnTo>
                  <a:lnTo>
                    <a:pt x="9" y="9"/>
                  </a:lnTo>
                  <a:lnTo>
                    <a:pt x="9" y="9"/>
                  </a:lnTo>
                  <a:lnTo>
                    <a:pt x="9" y="9"/>
                  </a:lnTo>
                  <a:lnTo>
                    <a:pt x="9" y="9"/>
                  </a:lnTo>
                  <a:lnTo>
                    <a:pt x="9" y="9"/>
                  </a:lnTo>
                  <a:lnTo>
                    <a:pt x="7" y="9"/>
                  </a:lnTo>
                  <a:lnTo>
                    <a:pt x="4" y="7"/>
                  </a:lnTo>
                  <a:lnTo>
                    <a:pt x="4" y="7"/>
                  </a:lnTo>
                  <a:lnTo>
                    <a:pt x="4" y="4"/>
                  </a:lnTo>
                  <a:lnTo>
                    <a:pt x="4" y="4"/>
                  </a:lnTo>
                  <a:lnTo>
                    <a:pt x="4" y="4"/>
                  </a:lnTo>
                  <a:lnTo>
                    <a:pt x="4" y="4"/>
                  </a:lnTo>
                  <a:lnTo>
                    <a:pt x="4" y="2"/>
                  </a:lnTo>
                  <a:lnTo>
                    <a:pt x="4" y="2"/>
                  </a:lnTo>
                  <a:lnTo>
                    <a:pt x="4" y="2"/>
                  </a:lnTo>
                  <a:lnTo>
                    <a:pt x="7" y="2"/>
                  </a:lnTo>
                  <a:lnTo>
                    <a:pt x="7" y="0"/>
                  </a:lnTo>
                  <a:lnTo>
                    <a:pt x="7" y="0"/>
                  </a:lnTo>
                  <a:lnTo>
                    <a:pt x="4" y="0"/>
                  </a:lnTo>
                  <a:lnTo>
                    <a:pt x="4" y="0"/>
                  </a:lnTo>
                  <a:lnTo>
                    <a:pt x="4" y="0"/>
                  </a:lnTo>
                  <a:lnTo>
                    <a:pt x="4" y="0"/>
                  </a:lnTo>
                  <a:lnTo>
                    <a:pt x="2" y="0"/>
                  </a:lnTo>
                  <a:lnTo>
                    <a:pt x="2" y="0"/>
                  </a:lnTo>
                  <a:lnTo>
                    <a:pt x="2" y="2"/>
                  </a:lnTo>
                  <a:lnTo>
                    <a:pt x="0" y="2"/>
                  </a:lnTo>
                  <a:lnTo>
                    <a:pt x="2" y="4"/>
                  </a:lnTo>
                  <a:lnTo>
                    <a:pt x="2" y="4"/>
                  </a:lnTo>
                  <a:lnTo>
                    <a:pt x="2" y="4"/>
                  </a:ln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70" name="Freeform 292">
              <a:extLst>
                <a:ext uri="{FF2B5EF4-FFF2-40B4-BE49-F238E27FC236}">
                  <a16:creationId xmlns:a16="http://schemas.microsoft.com/office/drawing/2014/main" id="{F071F975-CF81-47A1-88B6-319463DE67A1}"/>
                </a:ext>
              </a:extLst>
            </p:cNvPr>
            <p:cNvSpPr>
              <a:spLocks/>
            </p:cNvSpPr>
            <p:nvPr/>
          </p:nvSpPr>
          <p:spPr bwMode="gray">
            <a:xfrm>
              <a:off x="-1566" y="758"/>
              <a:ext cx="52" cy="146"/>
            </a:xfrm>
            <a:custGeom>
              <a:avLst/>
              <a:gdLst>
                <a:gd name="T0" fmla="*/ 52 w 52"/>
                <a:gd name="T1" fmla="*/ 2 h 146"/>
                <a:gd name="T2" fmla="*/ 49 w 52"/>
                <a:gd name="T3" fmla="*/ 0 h 146"/>
                <a:gd name="T4" fmla="*/ 49 w 52"/>
                <a:gd name="T5" fmla="*/ 0 h 146"/>
                <a:gd name="T6" fmla="*/ 47 w 52"/>
                <a:gd name="T7" fmla="*/ 0 h 146"/>
                <a:gd name="T8" fmla="*/ 45 w 52"/>
                <a:gd name="T9" fmla="*/ 0 h 146"/>
                <a:gd name="T10" fmla="*/ 40 w 52"/>
                <a:gd name="T11" fmla="*/ 4 h 146"/>
                <a:gd name="T12" fmla="*/ 40 w 52"/>
                <a:gd name="T13" fmla="*/ 16 h 146"/>
                <a:gd name="T14" fmla="*/ 35 w 52"/>
                <a:gd name="T15" fmla="*/ 19 h 146"/>
                <a:gd name="T16" fmla="*/ 33 w 52"/>
                <a:gd name="T17" fmla="*/ 30 h 146"/>
                <a:gd name="T18" fmla="*/ 23 w 52"/>
                <a:gd name="T19" fmla="*/ 52 h 146"/>
                <a:gd name="T20" fmla="*/ 21 w 52"/>
                <a:gd name="T21" fmla="*/ 59 h 146"/>
                <a:gd name="T22" fmla="*/ 16 w 52"/>
                <a:gd name="T23" fmla="*/ 61 h 146"/>
                <a:gd name="T24" fmla="*/ 2 w 52"/>
                <a:gd name="T25" fmla="*/ 96 h 146"/>
                <a:gd name="T26" fmla="*/ 0 w 52"/>
                <a:gd name="T27" fmla="*/ 103 h 146"/>
                <a:gd name="T28" fmla="*/ 0 w 52"/>
                <a:gd name="T29" fmla="*/ 120 h 146"/>
                <a:gd name="T30" fmla="*/ 0 w 52"/>
                <a:gd name="T31" fmla="*/ 129 h 146"/>
                <a:gd name="T32" fmla="*/ 0 w 52"/>
                <a:gd name="T33" fmla="*/ 139 h 146"/>
                <a:gd name="T34" fmla="*/ 0 w 52"/>
                <a:gd name="T35" fmla="*/ 143 h 146"/>
                <a:gd name="T36" fmla="*/ 4 w 52"/>
                <a:gd name="T37" fmla="*/ 143 h 146"/>
                <a:gd name="T38" fmla="*/ 9 w 52"/>
                <a:gd name="T39" fmla="*/ 132 h 146"/>
                <a:gd name="T40" fmla="*/ 11 w 52"/>
                <a:gd name="T41" fmla="*/ 127 h 146"/>
                <a:gd name="T42" fmla="*/ 11 w 52"/>
                <a:gd name="T43" fmla="*/ 120 h 146"/>
                <a:gd name="T44" fmla="*/ 14 w 52"/>
                <a:gd name="T45" fmla="*/ 113 h 146"/>
                <a:gd name="T46" fmla="*/ 16 w 52"/>
                <a:gd name="T47" fmla="*/ 108 h 146"/>
                <a:gd name="T48" fmla="*/ 16 w 52"/>
                <a:gd name="T49" fmla="*/ 106 h 146"/>
                <a:gd name="T50" fmla="*/ 16 w 52"/>
                <a:gd name="T51" fmla="*/ 103 h 146"/>
                <a:gd name="T52" fmla="*/ 19 w 52"/>
                <a:gd name="T53" fmla="*/ 99 h 146"/>
                <a:gd name="T54" fmla="*/ 19 w 52"/>
                <a:gd name="T55" fmla="*/ 96 h 146"/>
                <a:gd name="T56" fmla="*/ 21 w 52"/>
                <a:gd name="T57" fmla="*/ 92 h 146"/>
                <a:gd name="T58" fmla="*/ 26 w 52"/>
                <a:gd name="T59" fmla="*/ 73 h 146"/>
                <a:gd name="T60" fmla="*/ 26 w 52"/>
                <a:gd name="T61" fmla="*/ 70 h 146"/>
                <a:gd name="T62" fmla="*/ 30 w 52"/>
                <a:gd name="T63" fmla="*/ 66 h 146"/>
                <a:gd name="T64" fmla="*/ 33 w 52"/>
                <a:gd name="T65" fmla="*/ 56 h 146"/>
                <a:gd name="T66" fmla="*/ 33 w 52"/>
                <a:gd name="T67" fmla="*/ 49 h 146"/>
                <a:gd name="T68" fmla="*/ 37 w 52"/>
                <a:gd name="T69" fmla="*/ 42 h 146"/>
                <a:gd name="T70" fmla="*/ 35 w 52"/>
                <a:gd name="T71" fmla="*/ 42 h 146"/>
                <a:gd name="T72" fmla="*/ 37 w 52"/>
                <a:gd name="T73" fmla="*/ 37 h 146"/>
                <a:gd name="T74" fmla="*/ 40 w 52"/>
                <a:gd name="T75" fmla="*/ 30 h 146"/>
                <a:gd name="T76" fmla="*/ 45 w 52"/>
                <a:gd name="T77" fmla="*/ 23 h 146"/>
                <a:gd name="T78" fmla="*/ 45 w 52"/>
                <a:gd name="T79" fmla="*/ 21 h 146"/>
                <a:gd name="T80" fmla="*/ 45 w 52"/>
                <a:gd name="T81" fmla="*/ 19 h 146"/>
                <a:gd name="T82" fmla="*/ 45 w 52"/>
                <a:gd name="T83" fmla="*/ 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 h="146">
                  <a:moveTo>
                    <a:pt x="49" y="4"/>
                  </a:moveTo>
                  <a:lnTo>
                    <a:pt x="52" y="4"/>
                  </a:lnTo>
                  <a:lnTo>
                    <a:pt x="52" y="2"/>
                  </a:lnTo>
                  <a:lnTo>
                    <a:pt x="49" y="2"/>
                  </a:lnTo>
                  <a:lnTo>
                    <a:pt x="49" y="2"/>
                  </a:lnTo>
                  <a:lnTo>
                    <a:pt x="49" y="0"/>
                  </a:lnTo>
                  <a:lnTo>
                    <a:pt x="49" y="0"/>
                  </a:lnTo>
                  <a:lnTo>
                    <a:pt x="49" y="0"/>
                  </a:lnTo>
                  <a:lnTo>
                    <a:pt x="49" y="0"/>
                  </a:lnTo>
                  <a:lnTo>
                    <a:pt x="49" y="0"/>
                  </a:lnTo>
                  <a:lnTo>
                    <a:pt x="49" y="0"/>
                  </a:lnTo>
                  <a:lnTo>
                    <a:pt x="47" y="0"/>
                  </a:lnTo>
                  <a:lnTo>
                    <a:pt x="47" y="0"/>
                  </a:lnTo>
                  <a:lnTo>
                    <a:pt x="47" y="0"/>
                  </a:lnTo>
                  <a:lnTo>
                    <a:pt x="45" y="0"/>
                  </a:lnTo>
                  <a:lnTo>
                    <a:pt x="45" y="0"/>
                  </a:lnTo>
                  <a:lnTo>
                    <a:pt x="42" y="0"/>
                  </a:lnTo>
                  <a:lnTo>
                    <a:pt x="40" y="4"/>
                  </a:lnTo>
                  <a:lnTo>
                    <a:pt x="40" y="7"/>
                  </a:lnTo>
                  <a:lnTo>
                    <a:pt x="40" y="7"/>
                  </a:lnTo>
                  <a:lnTo>
                    <a:pt x="40" y="16"/>
                  </a:lnTo>
                  <a:lnTo>
                    <a:pt x="37" y="16"/>
                  </a:lnTo>
                  <a:lnTo>
                    <a:pt x="37" y="19"/>
                  </a:lnTo>
                  <a:lnTo>
                    <a:pt x="35" y="19"/>
                  </a:lnTo>
                  <a:lnTo>
                    <a:pt x="35" y="19"/>
                  </a:lnTo>
                  <a:lnTo>
                    <a:pt x="35" y="21"/>
                  </a:lnTo>
                  <a:lnTo>
                    <a:pt x="33" y="30"/>
                  </a:lnTo>
                  <a:lnTo>
                    <a:pt x="30" y="37"/>
                  </a:lnTo>
                  <a:lnTo>
                    <a:pt x="28" y="44"/>
                  </a:lnTo>
                  <a:lnTo>
                    <a:pt x="23" y="52"/>
                  </a:lnTo>
                  <a:lnTo>
                    <a:pt x="23" y="59"/>
                  </a:lnTo>
                  <a:lnTo>
                    <a:pt x="21" y="59"/>
                  </a:lnTo>
                  <a:lnTo>
                    <a:pt x="21" y="59"/>
                  </a:lnTo>
                  <a:lnTo>
                    <a:pt x="19" y="59"/>
                  </a:lnTo>
                  <a:lnTo>
                    <a:pt x="16" y="61"/>
                  </a:lnTo>
                  <a:lnTo>
                    <a:pt x="16" y="61"/>
                  </a:lnTo>
                  <a:lnTo>
                    <a:pt x="2" y="92"/>
                  </a:lnTo>
                  <a:lnTo>
                    <a:pt x="2" y="94"/>
                  </a:lnTo>
                  <a:lnTo>
                    <a:pt x="2" y="96"/>
                  </a:lnTo>
                  <a:lnTo>
                    <a:pt x="2" y="99"/>
                  </a:lnTo>
                  <a:lnTo>
                    <a:pt x="0" y="101"/>
                  </a:lnTo>
                  <a:lnTo>
                    <a:pt x="0" y="103"/>
                  </a:lnTo>
                  <a:lnTo>
                    <a:pt x="0" y="115"/>
                  </a:lnTo>
                  <a:lnTo>
                    <a:pt x="0" y="117"/>
                  </a:lnTo>
                  <a:lnTo>
                    <a:pt x="0" y="120"/>
                  </a:lnTo>
                  <a:lnTo>
                    <a:pt x="0" y="122"/>
                  </a:lnTo>
                  <a:lnTo>
                    <a:pt x="0" y="125"/>
                  </a:lnTo>
                  <a:lnTo>
                    <a:pt x="0" y="129"/>
                  </a:lnTo>
                  <a:lnTo>
                    <a:pt x="0" y="132"/>
                  </a:lnTo>
                  <a:lnTo>
                    <a:pt x="0" y="134"/>
                  </a:lnTo>
                  <a:lnTo>
                    <a:pt x="0" y="139"/>
                  </a:lnTo>
                  <a:lnTo>
                    <a:pt x="0" y="139"/>
                  </a:lnTo>
                  <a:lnTo>
                    <a:pt x="0" y="141"/>
                  </a:lnTo>
                  <a:lnTo>
                    <a:pt x="0" y="143"/>
                  </a:lnTo>
                  <a:lnTo>
                    <a:pt x="2" y="146"/>
                  </a:lnTo>
                  <a:lnTo>
                    <a:pt x="2" y="146"/>
                  </a:lnTo>
                  <a:lnTo>
                    <a:pt x="4" y="143"/>
                  </a:lnTo>
                  <a:lnTo>
                    <a:pt x="7" y="141"/>
                  </a:lnTo>
                  <a:lnTo>
                    <a:pt x="9" y="134"/>
                  </a:lnTo>
                  <a:lnTo>
                    <a:pt x="9" y="132"/>
                  </a:lnTo>
                  <a:lnTo>
                    <a:pt x="9" y="129"/>
                  </a:lnTo>
                  <a:lnTo>
                    <a:pt x="11" y="129"/>
                  </a:lnTo>
                  <a:lnTo>
                    <a:pt x="11" y="127"/>
                  </a:lnTo>
                  <a:lnTo>
                    <a:pt x="11" y="125"/>
                  </a:lnTo>
                  <a:lnTo>
                    <a:pt x="11" y="125"/>
                  </a:lnTo>
                  <a:lnTo>
                    <a:pt x="11" y="120"/>
                  </a:lnTo>
                  <a:lnTo>
                    <a:pt x="11" y="117"/>
                  </a:lnTo>
                  <a:lnTo>
                    <a:pt x="14" y="115"/>
                  </a:lnTo>
                  <a:lnTo>
                    <a:pt x="14" y="113"/>
                  </a:lnTo>
                  <a:lnTo>
                    <a:pt x="16" y="113"/>
                  </a:lnTo>
                  <a:lnTo>
                    <a:pt x="16" y="110"/>
                  </a:lnTo>
                  <a:lnTo>
                    <a:pt x="16" y="108"/>
                  </a:lnTo>
                  <a:lnTo>
                    <a:pt x="16" y="108"/>
                  </a:lnTo>
                  <a:lnTo>
                    <a:pt x="16" y="106"/>
                  </a:lnTo>
                  <a:lnTo>
                    <a:pt x="16" y="106"/>
                  </a:lnTo>
                  <a:lnTo>
                    <a:pt x="16" y="106"/>
                  </a:lnTo>
                  <a:lnTo>
                    <a:pt x="16" y="106"/>
                  </a:lnTo>
                  <a:lnTo>
                    <a:pt x="16" y="103"/>
                  </a:lnTo>
                  <a:lnTo>
                    <a:pt x="16" y="101"/>
                  </a:lnTo>
                  <a:lnTo>
                    <a:pt x="16" y="101"/>
                  </a:lnTo>
                  <a:lnTo>
                    <a:pt x="19" y="99"/>
                  </a:lnTo>
                  <a:lnTo>
                    <a:pt x="19" y="99"/>
                  </a:lnTo>
                  <a:lnTo>
                    <a:pt x="19" y="99"/>
                  </a:lnTo>
                  <a:lnTo>
                    <a:pt x="19" y="96"/>
                  </a:lnTo>
                  <a:lnTo>
                    <a:pt x="19" y="96"/>
                  </a:lnTo>
                  <a:lnTo>
                    <a:pt x="21" y="94"/>
                  </a:lnTo>
                  <a:lnTo>
                    <a:pt x="21" y="92"/>
                  </a:lnTo>
                  <a:lnTo>
                    <a:pt x="23" y="77"/>
                  </a:lnTo>
                  <a:lnTo>
                    <a:pt x="26" y="75"/>
                  </a:lnTo>
                  <a:lnTo>
                    <a:pt x="26" y="73"/>
                  </a:lnTo>
                  <a:lnTo>
                    <a:pt x="26" y="73"/>
                  </a:lnTo>
                  <a:lnTo>
                    <a:pt x="26" y="70"/>
                  </a:lnTo>
                  <a:lnTo>
                    <a:pt x="26" y="70"/>
                  </a:lnTo>
                  <a:lnTo>
                    <a:pt x="26" y="70"/>
                  </a:lnTo>
                  <a:lnTo>
                    <a:pt x="30" y="68"/>
                  </a:lnTo>
                  <a:lnTo>
                    <a:pt x="30" y="66"/>
                  </a:lnTo>
                  <a:lnTo>
                    <a:pt x="33" y="59"/>
                  </a:lnTo>
                  <a:lnTo>
                    <a:pt x="33" y="56"/>
                  </a:lnTo>
                  <a:lnTo>
                    <a:pt x="33" y="56"/>
                  </a:lnTo>
                  <a:lnTo>
                    <a:pt x="33" y="54"/>
                  </a:lnTo>
                  <a:lnTo>
                    <a:pt x="33" y="52"/>
                  </a:lnTo>
                  <a:lnTo>
                    <a:pt x="33" y="49"/>
                  </a:lnTo>
                  <a:lnTo>
                    <a:pt x="35" y="44"/>
                  </a:lnTo>
                  <a:lnTo>
                    <a:pt x="35" y="44"/>
                  </a:lnTo>
                  <a:lnTo>
                    <a:pt x="37" y="42"/>
                  </a:lnTo>
                  <a:lnTo>
                    <a:pt x="37" y="42"/>
                  </a:lnTo>
                  <a:lnTo>
                    <a:pt x="35" y="42"/>
                  </a:lnTo>
                  <a:lnTo>
                    <a:pt x="35" y="42"/>
                  </a:lnTo>
                  <a:lnTo>
                    <a:pt x="35" y="40"/>
                  </a:lnTo>
                  <a:lnTo>
                    <a:pt x="35" y="40"/>
                  </a:lnTo>
                  <a:lnTo>
                    <a:pt x="37" y="37"/>
                  </a:lnTo>
                  <a:lnTo>
                    <a:pt x="40" y="37"/>
                  </a:lnTo>
                  <a:lnTo>
                    <a:pt x="40" y="33"/>
                  </a:lnTo>
                  <a:lnTo>
                    <a:pt x="40" y="30"/>
                  </a:lnTo>
                  <a:lnTo>
                    <a:pt x="42" y="26"/>
                  </a:lnTo>
                  <a:lnTo>
                    <a:pt x="42" y="26"/>
                  </a:lnTo>
                  <a:lnTo>
                    <a:pt x="45" y="23"/>
                  </a:lnTo>
                  <a:lnTo>
                    <a:pt x="45" y="21"/>
                  </a:lnTo>
                  <a:lnTo>
                    <a:pt x="45" y="21"/>
                  </a:lnTo>
                  <a:lnTo>
                    <a:pt x="45" y="21"/>
                  </a:lnTo>
                  <a:lnTo>
                    <a:pt x="45" y="21"/>
                  </a:lnTo>
                  <a:lnTo>
                    <a:pt x="45" y="21"/>
                  </a:lnTo>
                  <a:lnTo>
                    <a:pt x="45" y="19"/>
                  </a:lnTo>
                  <a:lnTo>
                    <a:pt x="47" y="16"/>
                  </a:lnTo>
                  <a:lnTo>
                    <a:pt x="47" y="14"/>
                  </a:lnTo>
                  <a:lnTo>
                    <a:pt x="45" y="9"/>
                  </a:lnTo>
                  <a:lnTo>
                    <a:pt x="47" y="7"/>
                  </a:lnTo>
                  <a:lnTo>
                    <a:pt x="4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71" name="Freeform 293">
              <a:extLst>
                <a:ext uri="{FF2B5EF4-FFF2-40B4-BE49-F238E27FC236}">
                  <a16:creationId xmlns:a16="http://schemas.microsoft.com/office/drawing/2014/main" id="{FB639045-7AD2-49D3-8985-BE9E3A825CD4}"/>
                </a:ext>
              </a:extLst>
            </p:cNvPr>
            <p:cNvSpPr>
              <a:spLocks/>
            </p:cNvSpPr>
            <p:nvPr/>
          </p:nvSpPr>
          <p:spPr bwMode="gray">
            <a:xfrm>
              <a:off x="-1481" y="529"/>
              <a:ext cx="7" cy="21"/>
            </a:xfrm>
            <a:custGeom>
              <a:avLst/>
              <a:gdLst>
                <a:gd name="T0" fmla="*/ 7 w 7"/>
                <a:gd name="T1" fmla="*/ 10 h 21"/>
                <a:gd name="T2" fmla="*/ 7 w 7"/>
                <a:gd name="T3" fmla="*/ 7 h 21"/>
                <a:gd name="T4" fmla="*/ 7 w 7"/>
                <a:gd name="T5" fmla="*/ 5 h 21"/>
                <a:gd name="T6" fmla="*/ 4 w 7"/>
                <a:gd name="T7" fmla="*/ 5 h 21"/>
                <a:gd name="T8" fmla="*/ 4 w 7"/>
                <a:gd name="T9" fmla="*/ 2 h 21"/>
                <a:gd name="T10" fmla="*/ 4 w 7"/>
                <a:gd name="T11" fmla="*/ 0 h 21"/>
                <a:gd name="T12" fmla="*/ 4 w 7"/>
                <a:gd name="T13" fmla="*/ 0 h 21"/>
                <a:gd name="T14" fmla="*/ 4 w 7"/>
                <a:gd name="T15" fmla="*/ 0 h 21"/>
                <a:gd name="T16" fmla="*/ 4 w 7"/>
                <a:gd name="T17" fmla="*/ 0 h 21"/>
                <a:gd name="T18" fmla="*/ 2 w 7"/>
                <a:gd name="T19" fmla="*/ 0 h 21"/>
                <a:gd name="T20" fmla="*/ 2 w 7"/>
                <a:gd name="T21" fmla="*/ 0 h 21"/>
                <a:gd name="T22" fmla="*/ 2 w 7"/>
                <a:gd name="T23" fmla="*/ 0 h 21"/>
                <a:gd name="T24" fmla="*/ 2 w 7"/>
                <a:gd name="T25" fmla="*/ 5 h 21"/>
                <a:gd name="T26" fmla="*/ 2 w 7"/>
                <a:gd name="T27" fmla="*/ 7 h 21"/>
                <a:gd name="T28" fmla="*/ 2 w 7"/>
                <a:gd name="T29" fmla="*/ 7 h 21"/>
                <a:gd name="T30" fmla="*/ 2 w 7"/>
                <a:gd name="T31" fmla="*/ 7 h 21"/>
                <a:gd name="T32" fmla="*/ 2 w 7"/>
                <a:gd name="T33" fmla="*/ 10 h 21"/>
                <a:gd name="T34" fmla="*/ 2 w 7"/>
                <a:gd name="T35" fmla="*/ 12 h 21"/>
                <a:gd name="T36" fmla="*/ 0 w 7"/>
                <a:gd name="T37" fmla="*/ 14 h 21"/>
                <a:gd name="T38" fmla="*/ 0 w 7"/>
                <a:gd name="T39" fmla="*/ 14 h 21"/>
                <a:gd name="T40" fmla="*/ 2 w 7"/>
                <a:gd name="T41" fmla="*/ 14 h 21"/>
                <a:gd name="T42" fmla="*/ 2 w 7"/>
                <a:gd name="T43" fmla="*/ 17 h 21"/>
                <a:gd name="T44" fmla="*/ 2 w 7"/>
                <a:gd name="T45" fmla="*/ 19 h 21"/>
                <a:gd name="T46" fmla="*/ 2 w 7"/>
                <a:gd name="T47" fmla="*/ 21 h 21"/>
                <a:gd name="T48" fmla="*/ 2 w 7"/>
                <a:gd name="T49" fmla="*/ 21 h 21"/>
                <a:gd name="T50" fmla="*/ 2 w 7"/>
                <a:gd name="T51" fmla="*/ 19 h 21"/>
                <a:gd name="T52" fmla="*/ 4 w 7"/>
                <a:gd name="T53" fmla="*/ 21 h 21"/>
                <a:gd name="T54" fmla="*/ 4 w 7"/>
                <a:gd name="T55" fmla="*/ 21 h 21"/>
                <a:gd name="T56" fmla="*/ 4 w 7"/>
                <a:gd name="T57" fmla="*/ 21 h 21"/>
                <a:gd name="T58" fmla="*/ 4 w 7"/>
                <a:gd name="T59" fmla="*/ 19 h 21"/>
                <a:gd name="T60" fmla="*/ 4 w 7"/>
                <a:gd name="T61" fmla="*/ 19 h 21"/>
                <a:gd name="T62" fmla="*/ 4 w 7"/>
                <a:gd name="T63" fmla="*/ 19 h 21"/>
                <a:gd name="T64" fmla="*/ 7 w 7"/>
                <a:gd name="T65" fmla="*/ 17 h 21"/>
                <a:gd name="T66" fmla="*/ 7 w 7"/>
                <a:gd name="T67" fmla="*/ 17 h 21"/>
                <a:gd name="T68" fmla="*/ 7 w 7"/>
                <a:gd name="T69" fmla="*/ 14 h 21"/>
                <a:gd name="T70" fmla="*/ 7 w 7"/>
                <a:gd name="T71" fmla="*/ 14 h 21"/>
                <a:gd name="T72" fmla="*/ 7 w 7"/>
                <a:gd name="T73" fmla="*/ 12 h 21"/>
                <a:gd name="T74" fmla="*/ 7 w 7"/>
                <a:gd name="T75" fmla="*/ 12 h 21"/>
                <a:gd name="T76" fmla="*/ 7 w 7"/>
                <a:gd name="T77"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 h="21">
                  <a:moveTo>
                    <a:pt x="7" y="10"/>
                  </a:moveTo>
                  <a:lnTo>
                    <a:pt x="7" y="7"/>
                  </a:lnTo>
                  <a:lnTo>
                    <a:pt x="7" y="5"/>
                  </a:lnTo>
                  <a:lnTo>
                    <a:pt x="4" y="5"/>
                  </a:lnTo>
                  <a:lnTo>
                    <a:pt x="4" y="2"/>
                  </a:lnTo>
                  <a:lnTo>
                    <a:pt x="4" y="0"/>
                  </a:lnTo>
                  <a:lnTo>
                    <a:pt x="4" y="0"/>
                  </a:lnTo>
                  <a:lnTo>
                    <a:pt x="4" y="0"/>
                  </a:lnTo>
                  <a:lnTo>
                    <a:pt x="4" y="0"/>
                  </a:lnTo>
                  <a:lnTo>
                    <a:pt x="2" y="0"/>
                  </a:lnTo>
                  <a:lnTo>
                    <a:pt x="2" y="0"/>
                  </a:lnTo>
                  <a:lnTo>
                    <a:pt x="2" y="0"/>
                  </a:lnTo>
                  <a:lnTo>
                    <a:pt x="2" y="5"/>
                  </a:lnTo>
                  <a:lnTo>
                    <a:pt x="2" y="7"/>
                  </a:lnTo>
                  <a:lnTo>
                    <a:pt x="2" y="7"/>
                  </a:lnTo>
                  <a:lnTo>
                    <a:pt x="2" y="7"/>
                  </a:lnTo>
                  <a:lnTo>
                    <a:pt x="2" y="10"/>
                  </a:lnTo>
                  <a:lnTo>
                    <a:pt x="2" y="12"/>
                  </a:lnTo>
                  <a:lnTo>
                    <a:pt x="0" y="14"/>
                  </a:lnTo>
                  <a:lnTo>
                    <a:pt x="0" y="14"/>
                  </a:lnTo>
                  <a:lnTo>
                    <a:pt x="2" y="14"/>
                  </a:lnTo>
                  <a:lnTo>
                    <a:pt x="2" y="17"/>
                  </a:lnTo>
                  <a:lnTo>
                    <a:pt x="2" y="19"/>
                  </a:lnTo>
                  <a:lnTo>
                    <a:pt x="2" y="21"/>
                  </a:lnTo>
                  <a:lnTo>
                    <a:pt x="2" y="21"/>
                  </a:lnTo>
                  <a:lnTo>
                    <a:pt x="2" y="19"/>
                  </a:lnTo>
                  <a:lnTo>
                    <a:pt x="4" y="21"/>
                  </a:lnTo>
                  <a:lnTo>
                    <a:pt x="4" y="21"/>
                  </a:lnTo>
                  <a:lnTo>
                    <a:pt x="4" y="21"/>
                  </a:lnTo>
                  <a:lnTo>
                    <a:pt x="4" y="19"/>
                  </a:lnTo>
                  <a:lnTo>
                    <a:pt x="4" y="19"/>
                  </a:lnTo>
                  <a:lnTo>
                    <a:pt x="4" y="19"/>
                  </a:lnTo>
                  <a:lnTo>
                    <a:pt x="7" y="17"/>
                  </a:lnTo>
                  <a:lnTo>
                    <a:pt x="7" y="17"/>
                  </a:lnTo>
                  <a:lnTo>
                    <a:pt x="7" y="14"/>
                  </a:lnTo>
                  <a:lnTo>
                    <a:pt x="7" y="14"/>
                  </a:lnTo>
                  <a:lnTo>
                    <a:pt x="7" y="12"/>
                  </a:lnTo>
                  <a:lnTo>
                    <a:pt x="7" y="12"/>
                  </a:lnTo>
                  <a:lnTo>
                    <a:pt x="7"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72" name="Freeform 294">
              <a:extLst>
                <a:ext uri="{FF2B5EF4-FFF2-40B4-BE49-F238E27FC236}">
                  <a16:creationId xmlns:a16="http://schemas.microsoft.com/office/drawing/2014/main" id="{F5582CF4-6149-4C7C-B8E1-FEF9BC61AF63}"/>
                </a:ext>
              </a:extLst>
            </p:cNvPr>
            <p:cNvSpPr>
              <a:spLocks/>
            </p:cNvSpPr>
            <p:nvPr/>
          </p:nvSpPr>
          <p:spPr bwMode="gray">
            <a:xfrm>
              <a:off x="-1911" y="663"/>
              <a:ext cx="17" cy="17"/>
            </a:xfrm>
            <a:custGeom>
              <a:avLst/>
              <a:gdLst>
                <a:gd name="T0" fmla="*/ 14 w 17"/>
                <a:gd name="T1" fmla="*/ 10 h 17"/>
                <a:gd name="T2" fmla="*/ 17 w 17"/>
                <a:gd name="T3" fmla="*/ 10 h 17"/>
                <a:gd name="T4" fmla="*/ 17 w 17"/>
                <a:gd name="T5" fmla="*/ 10 h 17"/>
                <a:gd name="T6" fmla="*/ 17 w 17"/>
                <a:gd name="T7" fmla="*/ 10 h 17"/>
                <a:gd name="T8" fmla="*/ 17 w 17"/>
                <a:gd name="T9" fmla="*/ 5 h 17"/>
                <a:gd name="T10" fmla="*/ 17 w 17"/>
                <a:gd name="T11" fmla="*/ 5 h 17"/>
                <a:gd name="T12" fmla="*/ 17 w 17"/>
                <a:gd name="T13" fmla="*/ 5 h 17"/>
                <a:gd name="T14" fmla="*/ 17 w 17"/>
                <a:gd name="T15" fmla="*/ 0 h 17"/>
                <a:gd name="T16" fmla="*/ 14 w 17"/>
                <a:gd name="T17" fmla="*/ 0 h 17"/>
                <a:gd name="T18" fmla="*/ 14 w 17"/>
                <a:gd name="T19" fmla="*/ 0 h 17"/>
                <a:gd name="T20" fmla="*/ 14 w 17"/>
                <a:gd name="T21" fmla="*/ 3 h 17"/>
                <a:gd name="T22" fmla="*/ 12 w 17"/>
                <a:gd name="T23" fmla="*/ 3 h 17"/>
                <a:gd name="T24" fmla="*/ 5 w 17"/>
                <a:gd name="T25" fmla="*/ 3 h 17"/>
                <a:gd name="T26" fmla="*/ 3 w 17"/>
                <a:gd name="T27" fmla="*/ 3 h 17"/>
                <a:gd name="T28" fmla="*/ 0 w 17"/>
                <a:gd name="T29" fmla="*/ 3 h 17"/>
                <a:gd name="T30" fmla="*/ 0 w 17"/>
                <a:gd name="T31" fmla="*/ 5 h 17"/>
                <a:gd name="T32" fmla="*/ 0 w 17"/>
                <a:gd name="T33" fmla="*/ 8 h 17"/>
                <a:gd name="T34" fmla="*/ 3 w 17"/>
                <a:gd name="T35" fmla="*/ 8 h 17"/>
                <a:gd name="T36" fmla="*/ 5 w 17"/>
                <a:gd name="T37" fmla="*/ 8 h 17"/>
                <a:gd name="T38" fmla="*/ 5 w 17"/>
                <a:gd name="T39" fmla="*/ 10 h 17"/>
                <a:gd name="T40" fmla="*/ 5 w 17"/>
                <a:gd name="T41" fmla="*/ 10 h 17"/>
                <a:gd name="T42" fmla="*/ 3 w 17"/>
                <a:gd name="T43" fmla="*/ 8 h 17"/>
                <a:gd name="T44" fmla="*/ 3 w 17"/>
                <a:gd name="T45" fmla="*/ 10 h 17"/>
                <a:gd name="T46" fmla="*/ 0 w 17"/>
                <a:gd name="T47" fmla="*/ 10 h 17"/>
                <a:gd name="T48" fmla="*/ 3 w 17"/>
                <a:gd name="T49" fmla="*/ 12 h 17"/>
                <a:gd name="T50" fmla="*/ 3 w 17"/>
                <a:gd name="T51" fmla="*/ 12 h 17"/>
                <a:gd name="T52" fmla="*/ 3 w 17"/>
                <a:gd name="T53" fmla="*/ 15 h 17"/>
                <a:gd name="T54" fmla="*/ 3 w 17"/>
                <a:gd name="T55" fmla="*/ 15 h 17"/>
                <a:gd name="T56" fmla="*/ 3 w 17"/>
                <a:gd name="T57" fmla="*/ 17 h 17"/>
                <a:gd name="T58" fmla="*/ 5 w 17"/>
                <a:gd name="T59" fmla="*/ 17 h 17"/>
                <a:gd name="T60" fmla="*/ 5 w 17"/>
                <a:gd name="T61" fmla="*/ 17 h 17"/>
                <a:gd name="T62" fmla="*/ 5 w 17"/>
                <a:gd name="T63" fmla="*/ 17 h 17"/>
                <a:gd name="T64" fmla="*/ 7 w 17"/>
                <a:gd name="T65" fmla="*/ 17 h 17"/>
                <a:gd name="T66" fmla="*/ 7 w 17"/>
                <a:gd name="T67" fmla="*/ 17 h 17"/>
                <a:gd name="T68" fmla="*/ 7 w 17"/>
                <a:gd name="T69" fmla="*/ 17 h 17"/>
                <a:gd name="T70" fmla="*/ 7 w 17"/>
                <a:gd name="T71" fmla="*/ 17 h 17"/>
                <a:gd name="T72" fmla="*/ 10 w 17"/>
                <a:gd name="T73" fmla="*/ 15 h 17"/>
                <a:gd name="T74" fmla="*/ 10 w 17"/>
                <a:gd name="T75" fmla="*/ 15 h 17"/>
                <a:gd name="T76" fmla="*/ 12 w 17"/>
                <a:gd name="T77" fmla="*/ 15 h 17"/>
                <a:gd name="T78" fmla="*/ 12 w 17"/>
                <a:gd name="T79" fmla="*/ 15 h 17"/>
                <a:gd name="T80" fmla="*/ 12 w 17"/>
                <a:gd name="T81" fmla="*/ 10 h 17"/>
                <a:gd name="T82" fmla="*/ 12 w 17"/>
                <a:gd name="T83" fmla="*/ 8 h 17"/>
                <a:gd name="T84" fmla="*/ 14 w 17"/>
                <a:gd name="T85" fmla="*/ 8 h 17"/>
                <a:gd name="T86" fmla="*/ 14 w 17"/>
                <a:gd name="T87" fmla="*/ 8 h 17"/>
                <a:gd name="T88" fmla="*/ 14 w 17"/>
                <a:gd name="T89" fmla="*/ 10 h 17"/>
                <a:gd name="T90" fmla="*/ 14 w 17"/>
                <a:gd name="T91"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 h="17">
                  <a:moveTo>
                    <a:pt x="14" y="10"/>
                  </a:moveTo>
                  <a:lnTo>
                    <a:pt x="17" y="10"/>
                  </a:lnTo>
                  <a:lnTo>
                    <a:pt x="17" y="10"/>
                  </a:lnTo>
                  <a:lnTo>
                    <a:pt x="17" y="10"/>
                  </a:lnTo>
                  <a:lnTo>
                    <a:pt x="17" y="5"/>
                  </a:lnTo>
                  <a:lnTo>
                    <a:pt x="17" y="5"/>
                  </a:lnTo>
                  <a:lnTo>
                    <a:pt x="17" y="5"/>
                  </a:lnTo>
                  <a:lnTo>
                    <a:pt x="17" y="0"/>
                  </a:lnTo>
                  <a:lnTo>
                    <a:pt x="14" y="0"/>
                  </a:lnTo>
                  <a:lnTo>
                    <a:pt x="14" y="0"/>
                  </a:lnTo>
                  <a:lnTo>
                    <a:pt x="14" y="3"/>
                  </a:lnTo>
                  <a:lnTo>
                    <a:pt x="12" y="3"/>
                  </a:lnTo>
                  <a:lnTo>
                    <a:pt x="5" y="3"/>
                  </a:lnTo>
                  <a:lnTo>
                    <a:pt x="3" y="3"/>
                  </a:lnTo>
                  <a:lnTo>
                    <a:pt x="0" y="3"/>
                  </a:lnTo>
                  <a:lnTo>
                    <a:pt x="0" y="5"/>
                  </a:lnTo>
                  <a:lnTo>
                    <a:pt x="0" y="8"/>
                  </a:lnTo>
                  <a:lnTo>
                    <a:pt x="3" y="8"/>
                  </a:lnTo>
                  <a:lnTo>
                    <a:pt x="5" y="8"/>
                  </a:lnTo>
                  <a:lnTo>
                    <a:pt x="5" y="10"/>
                  </a:lnTo>
                  <a:lnTo>
                    <a:pt x="5" y="10"/>
                  </a:lnTo>
                  <a:lnTo>
                    <a:pt x="3" y="8"/>
                  </a:lnTo>
                  <a:lnTo>
                    <a:pt x="3" y="10"/>
                  </a:lnTo>
                  <a:lnTo>
                    <a:pt x="0" y="10"/>
                  </a:lnTo>
                  <a:lnTo>
                    <a:pt x="3" y="12"/>
                  </a:lnTo>
                  <a:lnTo>
                    <a:pt x="3" y="12"/>
                  </a:lnTo>
                  <a:lnTo>
                    <a:pt x="3" y="15"/>
                  </a:lnTo>
                  <a:lnTo>
                    <a:pt x="3" y="15"/>
                  </a:lnTo>
                  <a:lnTo>
                    <a:pt x="3" y="17"/>
                  </a:lnTo>
                  <a:lnTo>
                    <a:pt x="5" y="17"/>
                  </a:lnTo>
                  <a:lnTo>
                    <a:pt x="5" y="17"/>
                  </a:lnTo>
                  <a:lnTo>
                    <a:pt x="5" y="17"/>
                  </a:lnTo>
                  <a:lnTo>
                    <a:pt x="7" y="17"/>
                  </a:lnTo>
                  <a:lnTo>
                    <a:pt x="7" y="17"/>
                  </a:lnTo>
                  <a:lnTo>
                    <a:pt x="7" y="17"/>
                  </a:lnTo>
                  <a:lnTo>
                    <a:pt x="7" y="17"/>
                  </a:lnTo>
                  <a:lnTo>
                    <a:pt x="10" y="15"/>
                  </a:lnTo>
                  <a:lnTo>
                    <a:pt x="10" y="15"/>
                  </a:lnTo>
                  <a:lnTo>
                    <a:pt x="12" y="15"/>
                  </a:lnTo>
                  <a:lnTo>
                    <a:pt x="12" y="15"/>
                  </a:lnTo>
                  <a:lnTo>
                    <a:pt x="12" y="10"/>
                  </a:lnTo>
                  <a:lnTo>
                    <a:pt x="12" y="8"/>
                  </a:lnTo>
                  <a:lnTo>
                    <a:pt x="14" y="8"/>
                  </a:lnTo>
                  <a:lnTo>
                    <a:pt x="14" y="8"/>
                  </a:lnTo>
                  <a:lnTo>
                    <a:pt x="14" y="10"/>
                  </a:lnTo>
                  <a:lnTo>
                    <a:pt x="14"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73" name="Freeform 295">
              <a:extLst>
                <a:ext uri="{FF2B5EF4-FFF2-40B4-BE49-F238E27FC236}">
                  <a16:creationId xmlns:a16="http://schemas.microsoft.com/office/drawing/2014/main" id="{F73C0BC2-7DCD-4CBC-96B7-83BCEA7DFED6}"/>
                </a:ext>
              </a:extLst>
            </p:cNvPr>
            <p:cNvSpPr>
              <a:spLocks/>
            </p:cNvSpPr>
            <p:nvPr/>
          </p:nvSpPr>
          <p:spPr bwMode="gray">
            <a:xfrm>
              <a:off x="-1137" y="-460"/>
              <a:ext cx="7" cy="4"/>
            </a:xfrm>
            <a:custGeom>
              <a:avLst/>
              <a:gdLst>
                <a:gd name="T0" fmla="*/ 1 w 3"/>
                <a:gd name="T1" fmla="*/ 1 h 2"/>
                <a:gd name="T2" fmla="*/ 1 w 3"/>
                <a:gd name="T3" fmla="*/ 2 h 2"/>
                <a:gd name="T4" fmla="*/ 2 w 3"/>
                <a:gd name="T5" fmla="*/ 2 h 2"/>
                <a:gd name="T6" fmla="*/ 2 w 3"/>
                <a:gd name="T7" fmla="*/ 2 h 2"/>
                <a:gd name="T8" fmla="*/ 2 w 3"/>
                <a:gd name="T9" fmla="*/ 2 h 2"/>
                <a:gd name="T10" fmla="*/ 2 w 3"/>
                <a:gd name="T11" fmla="*/ 2 h 2"/>
                <a:gd name="T12" fmla="*/ 3 w 3"/>
                <a:gd name="T13" fmla="*/ 2 h 2"/>
                <a:gd name="T14" fmla="*/ 3 w 3"/>
                <a:gd name="T15" fmla="*/ 1 h 2"/>
                <a:gd name="T16" fmla="*/ 1 w 3"/>
                <a:gd name="T17" fmla="*/ 0 h 2"/>
                <a:gd name="T18" fmla="*/ 0 w 3"/>
                <a:gd name="T19" fmla="*/ 0 h 2"/>
                <a:gd name="T20" fmla="*/ 1 w 3"/>
                <a:gd name="T2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2">
                  <a:moveTo>
                    <a:pt x="1" y="1"/>
                  </a:moveTo>
                  <a:cubicBezTo>
                    <a:pt x="1" y="2"/>
                    <a:pt x="1" y="2"/>
                    <a:pt x="1" y="2"/>
                  </a:cubicBezTo>
                  <a:cubicBezTo>
                    <a:pt x="2" y="2"/>
                    <a:pt x="2" y="2"/>
                    <a:pt x="2" y="2"/>
                  </a:cubicBezTo>
                  <a:cubicBezTo>
                    <a:pt x="2" y="2"/>
                    <a:pt x="2" y="2"/>
                    <a:pt x="2" y="2"/>
                  </a:cubicBezTo>
                  <a:cubicBezTo>
                    <a:pt x="2" y="2"/>
                    <a:pt x="2" y="2"/>
                    <a:pt x="2" y="2"/>
                  </a:cubicBezTo>
                  <a:cubicBezTo>
                    <a:pt x="2" y="2"/>
                    <a:pt x="2" y="2"/>
                    <a:pt x="2" y="2"/>
                  </a:cubicBezTo>
                  <a:cubicBezTo>
                    <a:pt x="3" y="2"/>
                    <a:pt x="3" y="2"/>
                    <a:pt x="3" y="2"/>
                  </a:cubicBezTo>
                  <a:cubicBezTo>
                    <a:pt x="3" y="1"/>
                    <a:pt x="3" y="1"/>
                    <a:pt x="3" y="1"/>
                  </a:cubicBezTo>
                  <a:cubicBezTo>
                    <a:pt x="2" y="1"/>
                    <a:pt x="1" y="1"/>
                    <a:pt x="1" y="0"/>
                  </a:cubicBezTo>
                  <a:cubicBezTo>
                    <a:pt x="0" y="0"/>
                    <a:pt x="0" y="0"/>
                    <a:pt x="0" y="0"/>
                  </a:cubicBezTo>
                  <a:cubicBezTo>
                    <a:pt x="1"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74" name="Freeform 296">
              <a:extLst>
                <a:ext uri="{FF2B5EF4-FFF2-40B4-BE49-F238E27FC236}">
                  <a16:creationId xmlns:a16="http://schemas.microsoft.com/office/drawing/2014/main" id="{6FD52B46-03E2-413A-9EB4-7C1DFB73172C}"/>
                </a:ext>
              </a:extLst>
            </p:cNvPr>
            <p:cNvSpPr>
              <a:spLocks/>
            </p:cNvSpPr>
            <p:nvPr/>
          </p:nvSpPr>
          <p:spPr bwMode="gray">
            <a:xfrm>
              <a:off x="-1401" y="447"/>
              <a:ext cx="12" cy="11"/>
            </a:xfrm>
            <a:custGeom>
              <a:avLst/>
              <a:gdLst>
                <a:gd name="T0" fmla="*/ 5 w 12"/>
                <a:gd name="T1" fmla="*/ 7 h 11"/>
                <a:gd name="T2" fmla="*/ 5 w 12"/>
                <a:gd name="T3" fmla="*/ 9 h 11"/>
                <a:gd name="T4" fmla="*/ 2 w 12"/>
                <a:gd name="T5" fmla="*/ 9 h 11"/>
                <a:gd name="T6" fmla="*/ 2 w 12"/>
                <a:gd name="T7" fmla="*/ 11 h 11"/>
                <a:gd name="T8" fmla="*/ 0 w 12"/>
                <a:gd name="T9" fmla="*/ 11 h 11"/>
                <a:gd name="T10" fmla="*/ 0 w 12"/>
                <a:gd name="T11" fmla="*/ 11 h 11"/>
                <a:gd name="T12" fmla="*/ 0 w 12"/>
                <a:gd name="T13" fmla="*/ 11 h 11"/>
                <a:gd name="T14" fmla="*/ 2 w 12"/>
                <a:gd name="T15" fmla="*/ 11 h 11"/>
                <a:gd name="T16" fmla="*/ 5 w 12"/>
                <a:gd name="T17" fmla="*/ 11 h 11"/>
                <a:gd name="T18" fmla="*/ 5 w 12"/>
                <a:gd name="T19" fmla="*/ 11 h 11"/>
                <a:gd name="T20" fmla="*/ 5 w 12"/>
                <a:gd name="T21" fmla="*/ 11 h 11"/>
                <a:gd name="T22" fmla="*/ 5 w 12"/>
                <a:gd name="T23" fmla="*/ 9 h 11"/>
                <a:gd name="T24" fmla="*/ 5 w 12"/>
                <a:gd name="T25" fmla="*/ 9 h 11"/>
                <a:gd name="T26" fmla="*/ 7 w 12"/>
                <a:gd name="T27" fmla="*/ 9 h 11"/>
                <a:gd name="T28" fmla="*/ 7 w 12"/>
                <a:gd name="T29" fmla="*/ 7 h 11"/>
                <a:gd name="T30" fmla="*/ 12 w 12"/>
                <a:gd name="T31" fmla="*/ 4 h 11"/>
                <a:gd name="T32" fmla="*/ 12 w 12"/>
                <a:gd name="T33" fmla="*/ 2 h 11"/>
                <a:gd name="T34" fmla="*/ 12 w 12"/>
                <a:gd name="T35" fmla="*/ 0 h 11"/>
                <a:gd name="T36" fmla="*/ 7 w 12"/>
                <a:gd name="T37" fmla="*/ 4 h 11"/>
                <a:gd name="T38" fmla="*/ 5 w 12"/>
                <a:gd name="T39"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 h="11">
                  <a:moveTo>
                    <a:pt x="5" y="7"/>
                  </a:moveTo>
                  <a:lnTo>
                    <a:pt x="5" y="9"/>
                  </a:lnTo>
                  <a:lnTo>
                    <a:pt x="2" y="9"/>
                  </a:lnTo>
                  <a:lnTo>
                    <a:pt x="2" y="11"/>
                  </a:lnTo>
                  <a:lnTo>
                    <a:pt x="0" y="11"/>
                  </a:lnTo>
                  <a:lnTo>
                    <a:pt x="0" y="11"/>
                  </a:lnTo>
                  <a:lnTo>
                    <a:pt x="0" y="11"/>
                  </a:lnTo>
                  <a:lnTo>
                    <a:pt x="2" y="11"/>
                  </a:lnTo>
                  <a:lnTo>
                    <a:pt x="5" y="11"/>
                  </a:lnTo>
                  <a:lnTo>
                    <a:pt x="5" y="11"/>
                  </a:lnTo>
                  <a:lnTo>
                    <a:pt x="5" y="11"/>
                  </a:lnTo>
                  <a:lnTo>
                    <a:pt x="5" y="9"/>
                  </a:lnTo>
                  <a:lnTo>
                    <a:pt x="5" y="9"/>
                  </a:lnTo>
                  <a:lnTo>
                    <a:pt x="7" y="9"/>
                  </a:lnTo>
                  <a:lnTo>
                    <a:pt x="7" y="7"/>
                  </a:lnTo>
                  <a:lnTo>
                    <a:pt x="12" y="4"/>
                  </a:lnTo>
                  <a:lnTo>
                    <a:pt x="12" y="2"/>
                  </a:lnTo>
                  <a:lnTo>
                    <a:pt x="12" y="0"/>
                  </a:lnTo>
                  <a:lnTo>
                    <a:pt x="7" y="4"/>
                  </a:ln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75" name="Freeform 297">
              <a:extLst>
                <a:ext uri="{FF2B5EF4-FFF2-40B4-BE49-F238E27FC236}">
                  <a16:creationId xmlns:a16="http://schemas.microsoft.com/office/drawing/2014/main" id="{888F914C-EA0F-45F6-877B-FFE3370FDF16}"/>
                </a:ext>
              </a:extLst>
            </p:cNvPr>
            <p:cNvSpPr>
              <a:spLocks/>
            </p:cNvSpPr>
            <p:nvPr/>
          </p:nvSpPr>
          <p:spPr bwMode="gray">
            <a:xfrm>
              <a:off x="-1918" y="633"/>
              <a:ext cx="28" cy="30"/>
            </a:xfrm>
            <a:custGeom>
              <a:avLst/>
              <a:gdLst>
                <a:gd name="T0" fmla="*/ 17 w 28"/>
                <a:gd name="T1" fmla="*/ 7 h 30"/>
                <a:gd name="T2" fmla="*/ 14 w 28"/>
                <a:gd name="T3" fmla="*/ 7 h 30"/>
                <a:gd name="T4" fmla="*/ 14 w 28"/>
                <a:gd name="T5" fmla="*/ 9 h 30"/>
                <a:gd name="T6" fmla="*/ 12 w 28"/>
                <a:gd name="T7" fmla="*/ 9 h 30"/>
                <a:gd name="T8" fmla="*/ 10 w 28"/>
                <a:gd name="T9" fmla="*/ 12 h 30"/>
                <a:gd name="T10" fmla="*/ 2 w 28"/>
                <a:gd name="T11" fmla="*/ 19 h 30"/>
                <a:gd name="T12" fmla="*/ 0 w 28"/>
                <a:gd name="T13" fmla="*/ 21 h 30"/>
                <a:gd name="T14" fmla="*/ 0 w 28"/>
                <a:gd name="T15" fmla="*/ 21 h 30"/>
                <a:gd name="T16" fmla="*/ 2 w 28"/>
                <a:gd name="T17" fmla="*/ 23 h 30"/>
                <a:gd name="T18" fmla="*/ 5 w 28"/>
                <a:gd name="T19" fmla="*/ 26 h 30"/>
                <a:gd name="T20" fmla="*/ 5 w 28"/>
                <a:gd name="T21" fmla="*/ 26 h 30"/>
                <a:gd name="T22" fmla="*/ 5 w 28"/>
                <a:gd name="T23" fmla="*/ 30 h 30"/>
                <a:gd name="T24" fmla="*/ 5 w 28"/>
                <a:gd name="T25" fmla="*/ 30 h 30"/>
                <a:gd name="T26" fmla="*/ 5 w 28"/>
                <a:gd name="T27" fmla="*/ 26 h 30"/>
                <a:gd name="T28" fmla="*/ 7 w 28"/>
                <a:gd name="T29" fmla="*/ 28 h 30"/>
                <a:gd name="T30" fmla="*/ 7 w 28"/>
                <a:gd name="T31" fmla="*/ 28 h 30"/>
                <a:gd name="T32" fmla="*/ 10 w 28"/>
                <a:gd name="T33" fmla="*/ 28 h 30"/>
                <a:gd name="T34" fmla="*/ 10 w 28"/>
                <a:gd name="T35" fmla="*/ 28 h 30"/>
                <a:gd name="T36" fmla="*/ 10 w 28"/>
                <a:gd name="T37" fmla="*/ 26 h 30"/>
                <a:gd name="T38" fmla="*/ 10 w 28"/>
                <a:gd name="T39" fmla="*/ 26 h 30"/>
                <a:gd name="T40" fmla="*/ 12 w 28"/>
                <a:gd name="T41" fmla="*/ 23 h 30"/>
                <a:gd name="T42" fmla="*/ 14 w 28"/>
                <a:gd name="T43" fmla="*/ 23 h 30"/>
                <a:gd name="T44" fmla="*/ 14 w 28"/>
                <a:gd name="T45" fmla="*/ 23 h 30"/>
                <a:gd name="T46" fmla="*/ 17 w 28"/>
                <a:gd name="T47" fmla="*/ 26 h 30"/>
                <a:gd name="T48" fmla="*/ 19 w 28"/>
                <a:gd name="T49" fmla="*/ 26 h 30"/>
                <a:gd name="T50" fmla="*/ 21 w 28"/>
                <a:gd name="T51" fmla="*/ 26 h 30"/>
                <a:gd name="T52" fmla="*/ 26 w 28"/>
                <a:gd name="T53" fmla="*/ 23 h 30"/>
                <a:gd name="T54" fmla="*/ 28 w 28"/>
                <a:gd name="T55" fmla="*/ 23 h 30"/>
                <a:gd name="T56" fmla="*/ 28 w 28"/>
                <a:gd name="T57" fmla="*/ 23 h 30"/>
                <a:gd name="T58" fmla="*/ 28 w 28"/>
                <a:gd name="T59" fmla="*/ 21 h 30"/>
                <a:gd name="T60" fmla="*/ 28 w 28"/>
                <a:gd name="T61" fmla="*/ 14 h 30"/>
                <a:gd name="T62" fmla="*/ 28 w 28"/>
                <a:gd name="T63" fmla="*/ 12 h 30"/>
                <a:gd name="T64" fmla="*/ 28 w 28"/>
                <a:gd name="T65" fmla="*/ 9 h 30"/>
                <a:gd name="T66" fmla="*/ 28 w 28"/>
                <a:gd name="T67" fmla="*/ 7 h 30"/>
                <a:gd name="T68" fmla="*/ 26 w 28"/>
                <a:gd name="T69" fmla="*/ 7 h 30"/>
                <a:gd name="T70" fmla="*/ 26 w 28"/>
                <a:gd name="T71" fmla="*/ 5 h 30"/>
                <a:gd name="T72" fmla="*/ 24 w 28"/>
                <a:gd name="T73" fmla="*/ 2 h 30"/>
                <a:gd name="T74" fmla="*/ 21 w 28"/>
                <a:gd name="T75" fmla="*/ 0 h 30"/>
                <a:gd name="T76" fmla="*/ 21 w 28"/>
                <a:gd name="T77" fmla="*/ 0 h 30"/>
                <a:gd name="T78" fmla="*/ 19 w 28"/>
                <a:gd name="T79" fmla="*/ 2 h 30"/>
                <a:gd name="T80" fmla="*/ 19 w 28"/>
                <a:gd name="T81" fmla="*/ 2 h 30"/>
                <a:gd name="T82" fmla="*/ 19 w 28"/>
                <a:gd name="T83" fmla="*/ 5 h 30"/>
                <a:gd name="T84" fmla="*/ 19 w 28"/>
                <a:gd name="T85" fmla="*/ 5 h 30"/>
                <a:gd name="T86" fmla="*/ 19 w 28"/>
                <a:gd name="T87" fmla="*/ 5 h 30"/>
                <a:gd name="T88" fmla="*/ 19 w 28"/>
                <a:gd name="T89" fmla="*/ 7 h 30"/>
                <a:gd name="T90" fmla="*/ 19 w 28"/>
                <a:gd name="T91" fmla="*/ 7 h 30"/>
                <a:gd name="T92" fmla="*/ 17 w 28"/>
                <a:gd name="T93" fmla="*/ 9 h 30"/>
                <a:gd name="T94" fmla="*/ 17 w 28"/>
                <a:gd name="T95"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 h="30">
                  <a:moveTo>
                    <a:pt x="17" y="7"/>
                  </a:moveTo>
                  <a:lnTo>
                    <a:pt x="14" y="7"/>
                  </a:lnTo>
                  <a:lnTo>
                    <a:pt x="14" y="9"/>
                  </a:lnTo>
                  <a:lnTo>
                    <a:pt x="12" y="9"/>
                  </a:lnTo>
                  <a:lnTo>
                    <a:pt x="10" y="12"/>
                  </a:lnTo>
                  <a:lnTo>
                    <a:pt x="2" y="19"/>
                  </a:lnTo>
                  <a:lnTo>
                    <a:pt x="0" y="21"/>
                  </a:lnTo>
                  <a:lnTo>
                    <a:pt x="0" y="21"/>
                  </a:lnTo>
                  <a:lnTo>
                    <a:pt x="2" y="23"/>
                  </a:lnTo>
                  <a:lnTo>
                    <a:pt x="5" y="26"/>
                  </a:lnTo>
                  <a:lnTo>
                    <a:pt x="5" y="26"/>
                  </a:lnTo>
                  <a:lnTo>
                    <a:pt x="5" y="30"/>
                  </a:lnTo>
                  <a:lnTo>
                    <a:pt x="5" y="30"/>
                  </a:lnTo>
                  <a:lnTo>
                    <a:pt x="5" y="26"/>
                  </a:lnTo>
                  <a:lnTo>
                    <a:pt x="7" y="28"/>
                  </a:lnTo>
                  <a:lnTo>
                    <a:pt x="7" y="28"/>
                  </a:lnTo>
                  <a:lnTo>
                    <a:pt x="10" y="28"/>
                  </a:lnTo>
                  <a:lnTo>
                    <a:pt x="10" y="28"/>
                  </a:lnTo>
                  <a:lnTo>
                    <a:pt x="10" y="26"/>
                  </a:lnTo>
                  <a:lnTo>
                    <a:pt x="10" y="26"/>
                  </a:lnTo>
                  <a:lnTo>
                    <a:pt x="12" y="23"/>
                  </a:lnTo>
                  <a:lnTo>
                    <a:pt x="14" y="23"/>
                  </a:lnTo>
                  <a:lnTo>
                    <a:pt x="14" y="23"/>
                  </a:lnTo>
                  <a:lnTo>
                    <a:pt x="17" y="26"/>
                  </a:lnTo>
                  <a:lnTo>
                    <a:pt x="19" y="26"/>
                  </a:lnTo>
                  <a:lnTo>
                    <a:pt x="21" y="26"/>
                  </a:lnTo>
                  <a:lnTo>
                    <a:pt x="26" y="23"/>
                  </a:lnTo>
                  <a:lnTo>
                    <a:pt x="28" y="23"/>
                  </a:lnTo>
                  <a:lnTo>
                    <a:pt x="28" y="23"/>
                  </a:lnTo>
                  <a:lnTo>
                    <a:pt x="28" y="21"/>
                  </a:lnTo>
                  <a:lnTo>
                    <a:pt x="28" y="14"/>
                  </a:lnTo>
                  <a:lnTo>
                    <a:pt x="28" y="12"/>
                  </a:lnTo>
                  <a:lnTo>
                    <a:pt x="28" y="9"/>
                  </a:lnTo>
                  <a:lnTo>
                    <a:pt x="28" y="7"/>
                  </a:lnTo>
                  <a:lnTo>
                    <a:pt x="26" y="7"/>
                  </a:lnTo>
                  <a:lnTo>
                    <a:pt x="26" y="5"/>
                  </a:lnTo>
                  <a:lnTo>
                    <a:pt x="24" y="2"/>
                  </a:lnTo>
                  <a:lnTo>
                    <a:pt x="21" y="0"/>
                  </a:lnTo>
                  <a:lnTo>
                    <a:pt x="21" y="0"/>
                  </a:lnTo>
                  <a:lnTo>
                    <a:pt x="19" y="2"/>
                  </a:lnTo>
                  <a:lnTo>
                    <a:pt x="19" y="2"/>
                  </a:lnTo>
                  <a:lnTo>
                    <a:pt x="19" y="5"/>
                  </a:lnTo>
                  <a:lnTo>
                    <a:pt x="19" y="5"/>
                  </a:lnTo>
                  <a:lnTo>
                    <a:pt x="19" y="5"/>
                  </a:lnTo>
                  <a:lnTo>
                    <a:pt x="19" y="7"/>
                  </a:lnTo>
                  <a:lnTo>
                    <a:pt x="19" y="7"/>
                  </a:lnTo>
                  <a:lnTo>
                    <a:pt x="17" y="9"/>
                  </a:lnTo>
                  <a:lnTo>
                    <a:pt x="17"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76" name="Freeform 298">
              <a:extLst>
                <a:ext uri="{FF2B5EF4-FFF2-40B4-BE49-F238E27FC236}">
                  <a16:creationId xmlns:a16="http://schemas.microsoft.com/office/drawing/2014/main" id="{08DAE878-199B-41FC-BAEA-0003A53EA126}"/>
                </a:ext>
              </a:extLst>
            </p:cNvPr>
            <p:cNvSpPr>
              <a:spLocks/>
            </p:cNvSpPr>
            <p:nvPr/>
          </p:nvSpPr>
          <p:spPr bwMode="gray">
            <a:xfrm>
              <a:off x="-1134" y="-453"/>
              <a:ext cx="4" cy="4"/>
            </a:xfrm>
            <a:custGeom>
              <a:avLst/>
              <a:gdLst>
                <a:gd name="T0" fmla="*/ 2 w 4"/>
                <a:gd name="T1" fmla="*/ 2 h 4"/>
                <a:gd name="T2" fmla="*/ 2 w 4"/>
                <a:gd name="T3" fmla="*/ 2 h 4"/>
                <a:gd name="T4" fmla="*/ 0 w 4"/>
                <a:gd name="T5" fmla="*/ 0 h 4"/>
                <a:gd name="T6" fmla="*/ 0 w 4"/>
                <a:gd name="T7" fmla="*/ 2 h 4"/>
                <a:gd name="T8" fmla="*/ 0 w 4"/>
                <a:gd name="T9" fmla="*/ 4 h 4"/>
                <a:gd name="T10" fmla="*/ 2 w 4"/>
                <a:gd name="T11" fmla="*/ 4 h 4"/>
                <a:gd name="T12" fmla="*/ 4 w 4"/>
                <a:gd name="T13" fmla="*/ 4 h 4"/>
                <a:gd name="T14" fmla="*/ 4 w 4"/>
                <a:gd name="T15" fmla="*/ 4 h 4"/>
                <a:gd name="T16" fmla="*/ 4 w 4"/>
                <a:gd name="T17" fmla="*/ 2 h 4"/>
                <a:gd name="T18" fmla="*/ 4 w 4"/>
                <a:gd name="T19" fmla="*/ 2 h 4"/>
                <a:gd name="T20" fmla="*/ 2 w 4"/>
                <a:gd name="T21" fmla="*/ 2 h 4"/>
                <a:gd name="T22" fmla="*/ 2 w 4"/>
                <a:gd name="T2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4">
                  <a:moveTo>
                    <a:pt x="2" y="2"/>
                  </a:moveTo>
                  <a:lnTo>
                    <a:pt x="2" y="2"/>
                  </a:lnTo>
                  <a:lnTo>
                    <a:pt x="0" y="0"/>
                  </a:lnTo>
                  <a:lnTo>
                    <a:pt x="0" y="2"/>
                  </a:lnTo>
                  <a:lnTo>
                    <a:pt x="0" y="4"/>
                  </a:lnTo>
                  <a:lnTo>
                    <a:pt x="2" y="4"/>
                  </a:lnTo>
                  <a:lnTo>
                    <a:pt x="4" y="4"/>
                  </a:lnTo>
                  <a:lnTo>
                    <a:pt x="4" y="4"/>
                  </a:lnTo>
                  <a:lnTo>
                    <a:pt x="4" y="2"/>
                  </a:lnTo>
                  <a:lnTo>
                    <a:pt x="4" y="2"/>
                  </a:lnTo>
                  <a:lnTo>
                    <a:pt x="2" y="2"/>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77" name="Freeform 299">
              <a:extLst>
                <a:ext uri="{FF2B5EF4-FFF2-40B4-BE49-F238E27FC236}">
                  <a16:creationId xmlns:a16="http://schemas.microsoft.com/office/drawing/2014/main" id="{281E3F5B-1EFA-4F0A-BC95-96F0B351D024}"/>
                </a:ext>
              </a:extLst>
            </p:cNvPr>
            <p:cNvSpPr>
              <a:spLocks/>
            </p:cNvSpPr>
            <p:nvPr/>
          </p:nvSpPr>
          <p:spPr bwMode="gray">
            <a:xfrm>
              <a:off x="-1370" y="619"/>
              <a:ext cx="9" cy="7"/>
            </a:xfrm>
            <a:custGeom>
              <a:avLst/>
              <a:gdLst>
                <a:gd name="T0" fmla="*/ 4 w 9"/>
                <a:gd name="T1" fmla="*/ 7 h 7"/>
                <a:gd name="T2" fmla="*/ 7 w 9"/>
                <a:gd name="T3" fmla="*/ 7 h 7"/>
                <a:gd name="T4" fmla="*/ 9 w 9"/>
                <a:gd name="T5" fmla="*/ 4 h 7"/>
                <a:gd name="T6" fmla="*/ 7 w 9"/>
                <a:gd name="T7" fmla="*/ 2 h 7"/>
                <a:gd name="T8" fmla="*/ 4 w 9"/>
                <a:gd name="T9" fmla="*/ 2 h 7"/>
                <a:gd name="T10" fmla="*/ 2 w 9"/>
                <a:gd name="T11" fmla="*/ 0 h 7"/>
                <a:gd name="T12" fmla="*/ 0 w 9"/>
                <a:gd name="T13" fmla="*/ 0 h 7"/>
                <a:gd name="T14" fmla="*/ 2 w 9"/>
                <a:gd name="T15" fmla="*/ 7 h 7"/>
                <a:gd name="T16" fmla="*/ 4 w 9"/>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4" y="7"/>
                  </a:moveTo>
                  <a:lnTo>
                    <a:pt x="7" y="7"/>
                  </a:lnTo>
                  <a:lnTo>
                    <a:pt x="9" y="4"/>
                  </a:lnTo>
                  <a:lnTo>
                    <a:pt x="7" y="2"/>
                  </a:lnTo>
                  <a:lnTo>
                    <a:pt x="4" y="2"/>
                  </a:lnTo>
                  <a:lnTo>
                    <a:pt x="2" y="0"/>
                  </a:lnTo>
                  <a:lnTo>
                    <a:pt x="0" y="0"/>
                  </a:lnTo>
                  <a:lnTo>
                    <a:pt x="2" y="7"/>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78" name="Freeform 300">
              <a:extLst>
                <a:ext uri="{FF2B5EF4-FFF2-40B4-BE49-F238E27FC236}">
                  <a16:creationId xmlns:a16="http://schemas.microsoft.com/office/drawing/2014/main" id="{728111BA-F49B-4334-AFE8-F29BCCD0B033}"/>
                </a:ext>
              </a:extLst>
            </p:cNvPr>
            <p:cNvSpPr>
              <a:spLocks/>
            </p:cNvSpPr>
            <p:nvPr/>
          </p:nvSpPr>
          <p:spPr bwMode="gray">
            <a:xfrm>
              <a:off x="-1446" y="484"/>
              <a:ext cx="9" cy="7"/>
            </a:xfrm>
            <a:custGeom>
              <a:avLst/>
              <a:gdLst>
                <a:gd name="T0" fmla="*/ 9 w 9"/>
                <a:gd name="T1" fmla="*/ 5 h 7"/>
                <a:gd name="T2" fmla="*/ 9 w 9"/>
                <a:gd name="T3" fmla="*/ 3 h 7"/>
                <a:gd name="T4" fmla="*/ 9 w 9"/>
                <a:gd name="T5" fmla="*/ 3 h 7"/>
                <a:gd name="T6" fmla="*/ 0 w 9"/>
                <a:gd name="T7" fmla="*/ 0 h 7"/>
                <a:gd name="T8" fmla="*/ 0 w 9"/>
                <a:gd name="T9" fmla="*/ 0 h 7"/>
                <a:gd name="T10" fmla="*/ 0 w 9"/>
                <a:gd name="T11" fmla="*/ 3 h 7"/>
                <a:gd name="T12" fmla="*/ 0 w 9"/>
                <a:gd name="T13" fmla="*/ 3 h 7"/>
                <a:gd name="T14" fmla="*/ 0 w 9"/>
                <a:gd name="T15" fmla="*/ 5 h 7"/>
                <a:gd name="T16" fmla="*/ 0 w 9"/>
                <a:gd name="T17" fmla="*/ 5 h 7"/>
                <a:gd name="T18" fmla="*/ 2 w 9"/>
                <a:gd name="T19" fmla="*/ 7 h 7"/>
                <a:gd name="T20" fmla="*/ 2 w 9"/>
                <a:gd name="T21" fmla="*/ 7 h 7"/>
                <a:gd name="T22" fmla="*/ 5 w 9"/>
                <a:gd name="T23" fmla="*/ 7 h 7"/>
                <a:gd name="T24" fmla="*/ 7 w 9"/>
                <a:gd name="T25" fmla="*/ 7 h 7"/>
                <a:gd name="T26" fmla="*/ 7 w 9"/>
                <a:gd name="T27" fmla="*/ 5 h 7"/>
                <a:gd name="T28" fmla="*/ 7 w 9"/>
                <a:gd name="T29" fmla="*/ 5 h 7"/>
                <a:gd name="T30" fmla="*/ 7 w 9"/>
                <a:gd name="T31" fmla="*/ 3 h 7"/>
                <a:gd name="T32" fmla="*/ 7 w 9"/>
                <a:gd name="T33" fmla="*/ 3 h 7"/>
                <a:gd name="T34" fmla="*/ 9 w 9"/>
                <a:gd name="T35"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7">
                  <a:moveTo>
                    <a:pt x="9" y="5"/>
                  </a:moveTo>
                  <a:lnTo>
                    <a:pt x="9" y="3"/>
                  </a:lnTo>
                  <a:lnTo>
                    <a:pt x="9" y="3"/>
                  </a:lnTo>
                  <a:lnTo>
                    <a:pt x="0" y="0"/>
                  </a:lnTo>
                  <a:lnTo>
                    <a:pt x="0" y="0"/>
                  </a:lnTo>
                  <a:lnTo>
                    <a:pt x="0" y="3"/>
                  </a:lnTo>
                  <a:lnTo>
                    <a:pt x="0" y="3"/>
                  </a:lnTo>
                  <a:lnTo>
                    <a:pt x="0" y="5"/>
                  </a:lnTo>
                  <a:lnTo>
                    <a:pt x="0" y="5"/>
                  </a:lnTo>
                  <a:lnTo>
                    <a:pt x="2" y="7"/>
                  </a:lnTo>
                  <a:lnTo>
                    <a:pt x="2" y="7"/>
                  </a:lnTo>
                  <a:lnTo>
                    <a:pt x="5" y="7"/>
                  </a:lnTo>
                  <a:lnTo>
                    <a:pt x="7" y="7"/>
                  </a:lnTo>
                  <a:lnTo>
                    <a:pt x="7" y="5"/>
                  </a:lnTo>
                  <a:lnTo>
                    <a:pt x="7" y="5"/>
                  </a:lnTo>
                  <a:lnTo>
                    <a:pt x="7" y="3"/>
                  </a:lnTo>
                  <a:lnTo>
                    <a:pt x="7" y="3"/>
                  </a:lnTo>
                  <a:lnTo>
                    <a:pt x="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79" name="Freeform 301">
              <a:extLst>
                <a:ext uri="{FF2B5EF4-FFF2-40B4-BE49-F238E27FC236}">
                  <a16:creationId xmlns:a16="http://schemas.microsoft.com/office/drawing/2014/main" id="{A0BD8BEC-31CA-4193-A6BC-B15A9C73BEDF}"/>
                </a:ext>
              </a:extLst>
            </p:cNvPr>
            <p:cNvSpPr>
              <a:spLocks/>
            </p:cNvSpPr>
            <p:nvPr/>
          </p:nvSpPr>
          <p:spPr bwMode="gray">
            <a:xfrm>
              <a:off x="-1403" y="369"/>
              <a:ext cx="7" cy="9"/>
            </a:xfrm>
            <a:custGeom>
              <a:avLst/>
              <a:gdLst>
                <a:gd name="T0" fmla="*/ 0 w 7"/>
                <a:gd name="T1" fmla="*/ 5 h 9"/>
                <a:gd name="T2" fmla="*/ 0 w 7"/>
                <a:gd name="T3" fmla="*/ 5 h 9"/>
                <a:gd name="T4" fmla="*/ 0 w 7"/>
                <a:gd name="T5" fmla="*/ 5 h 9"/>
                <a:gd name="T6" fmla="*/ 0 w 7"/>
                <a:gd name="T7" fmla="*/ 7 h 9"/>
                <a:gd name="T8" fmla="*/ 0 w 7"/>
                <a:gd name="T9" fmla="*/ 7 h 9"/>
                <a:gd name="T10" fmla="*/ 0 w 7"/>
                <a:gd name="T11" fmla="*/ 9 h 9"/>
                <a:gd name="T12" fmla="*/ 2 w 7"/>
                <a:gd name="T13" fmla="*/ 9 h 9"/>
                <a:gd name="T14" fmla="*/ 2 w 7"/>
                <a:gd name="T15" fmla="*/ 9 h 9"/>
                <a:gd name="T16" fmla="*/ 4 w 7"/>
                <a:gd name="T17" fmla="*/ 9 h 9"/>
                <a:gd name="T18" fmla="*/ 7 w 7"/>
                <a:gd name="T19" fmla="*/ 7 h 9"/>
                <a:gd name="T20" fmla="*/ 7 w 7"/>
                <a:gd name="T21" fmla="*/ 7 h 9"/>
                <a:gd name="T22" fmla="*/ 4 w 7"/>
                <a:gd name="T23" fmla="*/ 5 h 9"/>
                <a:gd name="T24" fmla="*/ 4 w 7"/>
                <a:gd name="T25" fmla="*/ 5 h 9"/>
                <a:gd name="T26" fmla="*/ 4 w 7"/>
                <a:gd name="T27" fmla="*/ 5 h 9"/>
                <a:gd name="T28" fmla="*/ 4 w 7"/>
                <a:gd name="T29" fmla="*/ 7 h 9"/>
                <a:gd name="T30" fmla="*/ 4 w 7"/>
                <a:gd name="T31" fmla="*/ 5 h 9"/>
                <a:gd name="T32" fmla="*/ 4 w 7"/>
                <a:gd name="T33" fmla="*/ 5 h 9"/>
                <a:gd name="T34" fmla="*/ 4 w 7"/>
                <a:gd name="T35" fmla="*/ 5 h 9"/>
                <a:gd name="T36" fmla="*/ 4 w 7"/>
                <a:gd name="T37" fmla="*/ 5 h 9"/>
                <a:gd name="T38" fmla="*/ 2 w 7"/>
                <a:gd name="T39" fmla="*/ 5 h 9"/>
                <a:gd name="T40" fmla="*/ 2 w 7"/>
                <a:gd name="T41" fmla="*/ 2 h 9"/>
                <a:gd name="T42" fmla="*/ 2 w 7"/>
                <a:gd name="T43" fmla="*/ 2 h 9"/>
                <a:gd name="T44" fmla="*/ 2 w 7"/>
                <a:gd name="T45" fmla="*/ 2 h 9"/>
                <a:gd name="T46" fmla="*/ 2 w 7"/>
                <a:gd name="T47" fmla="*/ 0 h 9"/>
                <a:gd name="T48" fmla="*/ 0 w 7"/>
                <a:gd name="T49" fmla="*/ 0 h 9"/>
                <a:gd name="T50" fmla="*/ 0 w 7"/>
                <a:gd name="T51" fmla="*/ 0 h 9"/>
                <a:gd name="T52" fmla="*/ 0 w 7"/>
                <a:gd name="T53" fmla="*/ 2 h 9"/>
                <a:gd name="T54" fmla="*/ 0 w 7"/>
                <a:gd name="T55" fmla="*/ 2 h 9"/>
                <a:gd name="T56" fmla="*/ 0 w 7"/>
                <a:gd name="T5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 h="9">
                  <a:moveTo>
                    <a:pt x="0" y="5"/>
                  </a:moveTo>
                  <a:lnTo>
                    <a:pt x="0" y="5"/>
                  </a:lnTo>
                  <a:lnTo>
                    <a:pt x="0" y="5"/>
                  </a:lnTo>
                  <a:lnTo>
                    <a:pt x="0" y="7"/>
                  </a:lnTo>
                  <a:lnTo>
                    <a:pt x="0" y="7"/>
                  </a:lnTo>
                  <a:lnTo>
                    <a:pt x="0" y="9"/>
                  </a:lnTo>
                  <a:lnTo>
                    <a:pt x="2" y="9"/>
                  </a:lnTo>
                  <a:lnTo>
                    <a:pt x="2" y="9"/>
                  </a:lnTo>
                  <a:lnTo>
                    <a:pt x="4" y="9"/>
                  </a:lnTo>
                  <a:lnTo>
                    <a:pt x="7" y="7"/>
                  </a:lnTo>
                  <a:lnTo>
                    <a:pt x="7" y="7"/>
                  </a:lnTo>
                  <a:lnTo>
                    <a:pt x="4" y="5"/>
                  </a:lnTo>
                  <a:lnTo>
                    <a:pt x="4" y="5"/>
                  </a:lnTo>
                  <a:lnTo>
                    <a:pt x="4" y="5"/>
                  </a:lnTo>
                  <a:lnTo>
                    <a:pt x="4" y="7"/>
                  </a:lnTo>
                  <a:lnTo>
                    <a:pt x="4" y="5"/>
                  </a:lnTo>
                  <a:lnTo>
                    <a:pt x="4" y="5"/>
                  </a:lnTo>
                  <a:lnTo>
                    <a:pt x="4" y="5"/>
                  </a:lnTo>
                  <a:lnTo>
                    <a:pt x="4" y="5"/>
                  </a:lnTo>
                  <a:lnTo>
                    <a:pt x="2" y="5"/>
                  </a:lnTo>
                  <a:lnTo>
                    <a:pt x="2" y="2"/>
                  </a:lnTo>
                  <a:lnTo>
                    <a:pt x="2" y="2"/>
                  </a:lnTo>
                  <a:lnTo>
                    <a:pt x="2" y="2"/>
                  </a:lnTo>
                  <a:lnTo>
                    <a:pt x="2" y="0"/>
                  </a:lnTo>
                  <a:lnTo>
                    <a:pt x="0" y="0"/>
                  </a:lnTo>
                  <a:lnTo>
                    <a:pt x="0" y="0"/>
                  </a:lnTo>
                  <a:lnTo>
                    <a:pt x="0" y="2"/>
                  </a:lnTo>
                  <a:lnTo>
                    <a:pt x="0" y="2"/>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80" name="Freeform 302">
              <a:extLst>
                <a:ext uri="{FF2B5EF4-FFF2-40B4-BE49-F238E27FC236}">
                  <a16:creationId xmlns:a16="http://schemas.microsoft.com/office/drawing/2014/main" id="{1E04EE62-FAB3-4B25-80B9-450DE3CB3D54}"/>
                </a:ext>
              </a:extLst>
            </p:cNvPr>
            <p:cNvSpPr>
              <a:spLocks/>
            </p:cNvSpPr>
            <p:nvPr/>
          </p:nvSpPr>
          <p:spPr bwMode="gray">
            <a:xfrm>
              <a:off x="-1403" y="498"/>
              <a:ext cx="7" cy="5"/>
            </a:xfrm>
            <a:custGeom>
              <a:avLst/>
              <a:gdLst>
                <a:gd name="T0" fmla="*/ 2 w 7"/>
                <a:gd name="T1" fmla="*/ 0 h 5"/>
                <a:gd name="T2" fmla="*/ 0 w 7"/>
                <a:gd name="T3" fmla="*/ 3 h 5"/>
                <a:gd name="T4" fmla="*/ 0 w 7"/>
                <a:gd name="T5" fmla="*/ 5 h 5"/>
                <a:gd name="T6" fmla="*/ 0 w 7"/>
                <a:gd name="T7" fmla="*/ 5 h 5"/>
                <a:gd name="T8" fmla="*/ 2 w 7"/>
                <a:gd name="T9" fmla="*/ 5 h 5"/>
                <a:gd name="T10" fmla="*/ 2 w 7"/>
                <a:gd name="T11" fmla="*/ 5 h 5"/>
                <a:gd name="T12" fmla="*/ 2 w 7"/>
                <a:gd name="T13" fmla="*/ 5 h 5"/>
                <a:gd name="T14" fmla="*/ 2 w 7"/>
                <a:gd name="T15" fmla="*/ 5 h 5"/>
                <a:gd name="T16" fmla="*/ 2 w 7"/>
                <a:gd name="T17" fmla="*/ 5 h 5"/>
                <a:gd name="T18" fmla="*/ 4 w 7"/>
                <a:gd name="T19" fmla="*/ 5 h 5"/>
                <a:gd name="T20" fmla="*/ 4 w 7"/>
                <a:gd name="T21" fmla="*/ 5 h 5"/>
                <a:gd name="T22" fmla="*/ 4 w 7"/>
                <a:gd name="T23" fmla="*/ 5 h 5"/>
                <a:gd name="T24" fmla="*/ 4 w 7"/>
                <a:gd name="T25" fmla="*/ 5 h 5"/>
                <a:gd name="T26" fmla="*/ 4 w 7"/>
                <a:gd name="T27" fmla="*/ 3 h 5"/>
                <a:gd name="T28" fmla="*/ 4 w 7"/>
                <a:gd name="T29" fmla="*/ 3 h 5"/>
                <a:gd name="T30" fmla="*/ 7 w 7"/>
                <a:gd name="T31" fmla="*/ 0 h 5"/>
                <a:gd name="T32" fmla="*/ 7 w 7"/>
                <a:gd name="T33" fmla="*/ 0 h 5"/>
                <a:gd name="T34" fmla="*/ 4 w 7"/>
                <a:gd name="T35" fmla="*/ 0 h 5"/>
                <a:gd name="T36" fmla="*/ 4 w 7"/>
                <a:gd name="T37" fmla="*/ 0 h 5"/>
                <a:gd name="T38" fmla="*/ 4 w 7"/>
                <a:gd name="T39" fmla="*/ 0 h 5"/>
                <a:gd name="T40" fmla="*/ 4 w 7"/>
                <a:gd name="T41" fmla="*/ 0 h 5"/>
                <a:gd name="T42" fmla="*/ 2 w 7"/>
                <a:gd name="T43" fmla="*/ 0 h 5"/>
                <a:gd name="T44" fmla="*/ 2 w 7"/>
                <a:gd name="T4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 h="5">
                  <a:moveTo>
                    <a:pt x="2" y="0"/>
                  </a:moveTo>
                  <a:lnTo>
                    <a:pt x="0" y="3"/>
                  </a:lnTo>
                  <a:lnTo>
                    <a:pt x="0" y="5"/>
                  </a:lnTo>
                  <a:lnTo>
                    <a:pt x="0" y="5"/>
                  </a:lnTo>
                  <a:lnTo>
                    <a:pt x="2" y="5"/>
                  </a:lnTo>
                  <a:lnTo>
                    <a:pt x="2" y="5"/>
                  </a:lnTo>
                  <a:lnTo>
                    <a:pt x="2" y="5"/>
                  </a:lnTo>
                  <a:lnTo>
                    <a:pt x="2" y="5"/>
                  </a:lnTo>
                  <a:lnTo>
                    <a:pt x="2" y="5"/>
                  </a:lnTo>
                  <a:lnTo>
                    <a:pt x="4" y="5"/>
                  </a:lnTo>
                  <a:lnTo>
                    <a:pt x="4" y="5"/>
                  </a:lnTo>
                  <a:lnTo>
                    <a:pt x="4" y="5"/>
                  </a:lnTo>
                  <a:lnTo>
                    <a:pt x="4" y="5"/>
                  </a:lnTo>
                  <a:lnTo>
                    <a:pt x="4" y="3"/>
                  </a:lnTo>
                  <a:lnTo>
                    <a:pt x="4" y="3"/>
                  </a:lnTo>
                  <a:lnTo>
                    <a:pt x="7" y="0"/>
                  </a:lnTo>
                  <a:lnTo>
                    <a:pt x="7" y="0"/>
                  </a:lnTo>
                  <a:lnTo>
                    <a:pt x="4" y="0"/>
                  </a:lnTo>
                  <a:lnTo>
                    <a:pt x="4" y="0"/>
                  </a:lnTo>
                  <a:lnTo>
                    <a:pt x="4" y="0"/>
                  </a:lnTo>
                  <a:lnTo>
                    <a:pt x="4"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81" name="Freeform 303">
              <a:extLst>
                <a:ext uri="{FF2B5EF4-FFF2-40B4-BE49-F238E27FC236}">
                  <a16:creationId xmlns:a16="http://schemas.microsoft.com/office/drawing/2014/main" id="{E4A3B4A2-9283-463E-AEBA-4D753A750901}"/>
                </a:ext>
              </a:extLst>
            </p:cNvPr>
            <p:cNvSpPr>
              <a:spLocks/>
            </p:cNvSpPr>
            <p:nvPr/>
          </p:nvSpPr>
          <p:spPr bwMode="gray">
            <a:xfrm>
              <a:off x="-1408" y="508"/>
              <a:ext cx="7" cy="7"/>
            </a:xfrm>
            <a:custGeom>
              <a:avLst/>
              <a:gdLst>
                <a:gd name="T0" fmla="*/ 5 w 7"/>
                <a:gd name="T1" fmla="*/ 2 h 7"/>
                <a:gd name="T2" fmla="*/ 5 w 7"/>
                <a:gd name="T3" fmla="*/ 0 h 7"/>
                <a:gd name="T4" fmla="*/ 2 w 7"/>
                <a:gd name="T5" fmla="*/ 2 h 7"/>
                <a:gd name="T6" fmla="*/ 2 w 7"/>
                <a:gd name="T7" fmla="*/ 2 h 7"/>
                <a:gd name="T8" fmla="*/ 0 w 7"/>
                <a:gd name="T9" fmla="*/ 5 h 7"/>
                <a:gd name="T10" fmla="*/ 0 w 7"/>
                <a:gd name="T11" fmla="*/ 5 h 7"/>
                <a:gd name="T12" fmla="*/ 0 w 7"/>
                <a:gd name="T13" fmla="*/ 7 h 7"/>
                <a:gd name="T14" fmla="*/ 7 w 7"/>
                <a:gd name="T15" fmla="*/ 2 h 7"/>
                <a:gd name="T16" fmla="*/ 7 w 7"/>
                <a:gd name="T17" fmla="*/ 2 h 7"/>
                <a:gd name="T18" fmla="*/ 7 w 7"/>
                <a:gd name="T19" fmla="*/ 2 h 7"/>
                <a:gd name="T20" fmla="*/ 5 w 7"/>
                <a:gd name="T21"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5" y="2"/>
                  </a:moveTo>
                  <a:lnTo>
                    <a:pt x="5" y="0"/>
                  </a:lnTo>
                  <a:lnTo>
                    <a:pt x="2" y="2"/>
                  </a:lnTo>
                  <a:lnTo>
                    <a:pt x="2" y="2"/>
                  </a:lnTo>
                  <a:lnTo>
                    <a:pt x="0" y="5"/>
                  </a:lnTo>
                  <a:lnTo>
                    <a:pt x="0" y="5"/>
                  </a:lnTo>
                  <a:lnTo>
                    <a:pt x="0" y="7"/>
                  </a:lnTo>
                  <a:lnTo>
                    <a:pt x="7" y="2"/>
                  </a:lnTo>
                  <a:lnTo>
                    <a:pt x="7" y="2"/>
                  </a:lnTo>
                  <a:lnTo>
                    <a:pt x="7" y="2"/>
                  </a:lnTo>
                  <a:lnTo>
                    <a:pt x="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83" name="Freeform 304">
              <a:extLst>
                <a:ext uri="{FF2B5EF4-FFF2-40B4-BE49-F238E27FC236}">
                  <a16:creationId xmlns:a16="http://schemas.microsoft.com/office/drawing/2014/main" id="{B48D028E-E019-4AA1-820C-C0D26E9F8225}"/>
                </a:ext>
              </a:extLst>
            </p:cNvPr>
            <p:cNvSpPr>
              <a:spLocks/>
            </p:cNvSpPr>
            <p:nvPr/>
          </p:nvSpPr>
          <p:spPr bwMode="gray">
            <a:xfrm>
              <a:off x="-1392" y="418"/>
              <a:ext cx="7" cy="12"/>
            </a:xfrm>
            <a:custGeom>
              <a:avLst/>
              <a:gdLst>
                <a:gd name="T0" fmla="*/ 7 w 7"/>
                <a:gd name="T1" fmla="*/ 5 h 12"/>
                <a:gd name="T2" fmla="*/ 7 w 7"/>
                <a:gd name="T3" fmla="*/ 5 h 12"/>
                <a:gd name="T4" fmla="*/ 7 w 7"/>
                <a:gd name="T5" fmla="*/ 3 h 12"/>
                <a:gd name="T6" fmla="*/ 7 w 7"/>
                <a:gd name="T7" fmla="*/ 0 h 12"/>
                <a:gd name="T8" fmla="*/ 5 w 7"/>
                <a:gd name="T9" fmla="*/ 0 h 12"/>
                <a:gd name="T10" fmla="*/ 5 w 7"/>
                <a:gd name="T11" fmla="*/ 0 h 12"/>
                <a:gd name="T12" fmla="*/ 5 w 7"/>
                <a:gd name="T13" fmla="*/ 0 h 12"/>
                <a:gd name="T14" fmla="*/ 5 w 7"/>
                <a:gd name="T15" fmla="*/ 3 h 12"/>
                <a:gd name="T16" fmla="*/ 0 w 7"/>
                <a:gd name="T17" fmla="*/ 7 h 12"/>
                <a:gd name="T18" fmla="*/ 0 w 7"/>
                <a:gd name="T19" fmla="*/ 10 h 12"/>
                <a:gd name="T20" fmla="*/ 0 w 7"/>
                <a:gd name="T21" fmla="*/ 12 h 12"/>
                <a:gd name="T22" fmla="*/ 3 w 7"/>
                <a:gd name="T23" fmla="*/ 12 h 12"/>
                <a:gd name="T24" fmla="*/ 3 w 7"/>
                <a:gd name="T25" fmla="*/ 12 h 12"/>
                <a:gd name="T26" fmla="*/ 3 w 7"/>
                <a:gd name="T27" fmla="*/ 12 h 12"/>
                <a:gd name="T28" fmla="*/ 3 w 7"/>
                <a:gd name="T29" fmla="*/ 10 h 12"/>
                <a:gd name="T30" fmla="*/ 5 w 7"/>
                <a:gd name="T31" fmla="*/ 12 h 12"/>
                <a:gd name="T32" fmla="*/ 5 w 7"/>
                <a:gd name="T33" fmla="*/ 12 h 12"/>
                <a:gd name="T34" fmla="*/ 5 w 7"/>
                <a:gd name="T35" fmla="*/ 12 h 12"/>
                <a:gd name="T36" fmla="*/ 7 w 7"/>
                <a:gd name="T37" fmla="*/ 12 h 12"/>
                <a:gd name="T38" fmla="*/ 7 w 7"/>
                <a:gd name="T39" fmla="*/ 10 h 12"/>
                <a:gd name="T40" fmla="*/ 7 w 7"/>
                <a:gd name="T41" fmla="*/ 10 h 12"/>
                <a:gd name="T42" fmla="*/ 7 w 7"/>
                <a:gd name="T43" fmla="*/ 10 h 12"/>
                <a:gd name="T44" fmla="*/ 7 w 7"/>
                <a:gd name="T45" fmla="*/ 7 h 12"/>
                <a:gd name="T46" fmla="*/ 7 w 7"/>
                <a:gd name="T47" fmla="*/ 7 h 12"/>
                <a:gd name="T48" fmla="*/ 7 w 7"/>
                <a:gd name="T49" fmla="*/ 7 h 12"/>
                <a:gd name="T50" fmla="*/ 7 w 7"/>
                <a:gd name="T51"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 h="12">
                  <a:moveTo>
                    <a:pt x="7" y="5"/>
                  </a:moveTo>
                  <a:lnTo>
                    <a:pt x="7" y="5"/>
                  </a:lnTo>
                  <a:lnTo>
                    <a:pt x="7" y="3"/>
                  </a:lnTo>
                  <a:lnTo>
                    <a:pt x="7" y="0"/>
                  </a:lnTo>
                  <a:lnTo>
                    <a:pt x="5" y="0"/>
                  </a:lnTo>
                  <a:lnTo>
                    <a:pt x="5" y="0"/>
                  </a:lnTo>
                  <a:lnTo>
                    <a:pt x="5" y="0"/>
                  </a:lnTo>
                  <a:lnTo>
                    <a:pt x="5" y="3"/>
                  </a:lnTo>
                  <a:lnTo>
                    <a:pt x="0" y="7"/>
                  </a:lnTo>
                  <a:lnTo>
                    <a:pt x="0" y="10"/>
                  </a:lnTo>
                  <a:lnTo>
                    <a:pt x="0" y="12"/>
                  </a:lnTo>
                  <a:lnTo>
                    <a:pt x="3" y="12"/>
                  </a:lnTo>
                  <a:lnTo>
                    <a:pt x="3" y="12"/>
                  </a:lnTo>
                  <a:lnTo>
                    <a:pt x="3" y="12"/>
                  </a:lnTo>
                  <a:lnTo>
                    <a:pt x="3" y="10"/>
                  </a:lnTo>
                  <a:lnTo>
                    <a:pt x="5" y="12"/>
                  </a:lnTo>
                  <a:lnTo>
                    <a:pt x="5" y="12"/>
                  </a:lnTo>
                  <a:lnTo>
                    <a:pt x="5" y="12"/>
                  </a:lnTo>
                  <a:lnTo>
                    <a:pt x="7" y="12"/>
                  </a:lnTo>
                  <a:lnTo>
                    <a:pt x="7" y="10"/>
                  </a:lnTo>
                  <a:lnTo>
                    <a:pt x="7" y="10"/>
                  </a:lnTo>
                  <a:lnTo>
                    <a:pt x="7" y="10"/>
                  </a:lnTo>
                  <a:lnTo>
                    <a:pt x="7" y="7"/>
                  </a:lnTo>
                  <a:lnTo>
                    <a:pt x="7" y="7"/>
                  </a:lnTo>
                  <a:lnTo>
                    <a:pt x="7" y="7"/>
                  </a:lnTo>
                  <a:lnTo>
                    <a:pt x="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84" name="Freeform 305">
              <a:extLst>
                <a:ext uri="{FF2B5EF4-FFF2-40B4-BE49-F238E27FC236}">
                  <a16:creationId xmlns:a16="http://schemas.microsoft.com/office/drawing/2014/main" id="{2A77B908-B3B8-4BCC-B9F7-0F402C0FB8E5}"/>
                </a:ext>
              </a:extLst>
            </p:cNvPr>
            <p:cNvSpPr>
              <a:spLocks/>
            </p:cNvSpPr>
            <p:nvPr/>
          </p:nvSpPr>
          <p:spPr bwMode="gray">
            <a:xfrm>
              <a:off x="-1427" y="326"/>
              <a:ext cx="14" cy="31"/>
            </a:xfrm>
            <a:custGeom>
              <a:avLst/>
              <a:gdLst>
                <a:gd name="T0" fmla="*/ 0 w 14"/>
                <a:gd name="T1" fmla="*/ 15 h 31"/>
                <a:gd name="T2" fmla="*/ 0 w 14"/>
                <a:gd name="T3" fmla="*/ 19 h 31"/>
                <a:gd name="T4" fmla="*/ 2 w 14"/>
                <a:gd name="T5" fmla="*/ 22 h 31"/>
                <a:gd name="T6" fmla="*/ 5 w 14"/>
                <a:gd name="T7" fmla="*/ 24 h 31"/>
                <a:gd name="T8" fmla="*/ 9 w 14"/>
                <a:gd name="T9" fmla="*/ 29 h 31"/>
                <a:gd name="T10" fmla="*/ 12 w 14"/>
                <a:gd name="T11" fmla="*/ 31 h 31"/>
                <a:gd name="T12" fmla="*/ 12 w 14"/>
                <a:gd name="T13" fmla="*/ 31 h 31"/>
                <a:gd name="T14" fmla="*/ 14 w 14"/>
                <a:gd name="T15" fmla="*/ 29 h 31"/>
                <a:gd name="T16" fmla="*/ 12 w 14"/>
                <a:gd name="T17" fmla="*/ 29 h 31"/>
                <a:gd name="T18" fmla="*/ 12 w 14"/>
                <a:gd name="T19" fmla="*/ 29 h 31"/>
                <a:gd name="T20" fmla="*/ 12 w 14"/>
                <a:gd name="T21" fmla="*/ 29 h 31"/>
                <a:gd name="T22" fmla="*/ 12 w 14"/>
                <a:gd name="T23" fmla="*/ 26 h 31"/>
                <a:gd name="T24" fmla="*/ 12 w 14"/>
                <a:gd name="T25" fmla="*/ 24 h 31"/>
                <a:gd name="T26" fmla="*/ 9 w 14"/>
                <a:gd name="T27" fmla="*/ 24 h 31"/>
                <a:gd name="T28" fmla="*/ 9 w 14"/>
                <a:gd name="T29" fmla="*/ 22 h 31"/>
                <a:gd name="T30" fmla="*/ 9 w 14"/>
                <a:gd name="T31" fmla="*/ 24 h 31"/>
                <a:gd name="T32" fmla="*/ 7 w 14"/>
                <a:gd name="T33" fmla="*/ 24 h 31"/>
                <a:gd name="T34" fmla="*/ 7 w 14"/>
                <a:gd name="T35" fmla="*/ 22 h 31"/>
                <a:gd name="T36" fmla="*/ 7 w 14"/>
                <a:gd name="T37" fmla="*/ 19 h 31"/>
                <a:gd name="T38" fmla="*/ 2 w 14"/>
                <a:gd name="T39" fmla="*/ 12 h 31"/>
                <a:gd name="T40" fmla="*/ 2 w 14"/>
                <a:gd name="T41" fmla="*/ 10 h 31"/>
                <a:gd name="T42" fmla="*/ 5 w 14"/>
                <a:gd name="T43" fmla="*/ 10 h 31"/>
                <a:gd name="T44" fmla="*/ 5 w 14"/>
                <a:gd name="T45" fmla="*/ 12 h 31"/>
                <a:gd name="T46" fmla="*/ 7 w 14"/>
                <a:gd name="T47" fmla="*/ 12 h 31"/>
                <a:gd name="T48" fmla="*/ 5 w 14"/>
                <a:gd name="T49" fmla="*/ 10 h 31"/>
                <a:gd name="T50" fmla="*/ 5 w 14"/>
                <a:gd name="T51" fmla="*/ 10 h 31"/>
                <a:gd name="T52" fmla="*/ 2 w 14"/>
                <a:gd name="T53" fmla="*/ 8 h 31"/>
                <a:gd name="T54" fmla="*/ 2 w 14"/>
                <a:gd name="T55" fmla="*/ 8 h 31"/>
                <a:gd name="T56" fmla="*/ 2 w 14"/>
                <a:gd name="T57" fmla="*/ 5 h 31"/>
                <a:gd name="T58" fmla="*/ 2 w 14"/>
                <a:gd name="T59" fmla="*/ 5 h 31"/>
                <a:gd name="T60" fmla="*/ 2 w 14"/>
                <a:gd name="T61" fmla="*/ 5 h 31"/>
                <a:gd name="T62" fmla="*/ 2 w 14"/>
                <a:gd name="T63" fmla="*/ 5 h 31"/>
                <a:gd name="T64" fmla="*/ 2 w 14"/>
                <a:gd name="T65" fmla="*/ 3 h 31"/>
                <a:gd name="T66" fmla="*/ 2 w 14"/>
                <a:gd name="T67" fmla="*/ 3 h 31"/>
                <a:gd name="T68" fmla="*/ 0 w 14"/>
                <a:gd name="T69" fmla="*/ 0 h 31"/>
                <a:gd name="T70" fmla="*/ 0 w 14"/>
                <a:gd name="T71" fmla="*/ 3 h 31"/>
                <a:gd name="T72" fmla="*/ 0 w 14"/>
                <a:gd name="T73" fmla="*/ 3 h 31"/>
                <a:gd name="T74" fmla="*/ 0 w 14"/>
                <a:gd name="T75" fmla="*/ 5 h 31"/>
                <a:gd name="T76" fmla="*/ 0 w 14"/>
                <a:gd name="T77" fmla="*/ 8 h 31"/>
                <a:gd name="T78" fmla="*/ 0 w 14"/>
                <a:gd name="T79"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 h="31">
                  <a:moveTo>
                    <a:pt x="0" y="15"/>
                  </a:moveTo>
                  <a:lnTo>
                    <a:pt x="0" y="19"/>
                  </a:lnTo>
                  <a:lnTo>
                    <a:pt x="2" y="22"/>
                  </a:lnTo>
                  <a:lnTo>
                    <a:pt x="5" y="24"/>
                  </a:lnTo>
                  <a:lnTo>
                    <a:pt x="9" y="29"/>
                  </a:lnTo>
                  <a:lnTo>
                    <a:pt x="12" y="31"/>
                  </a:lnTo>
                  <a:lnTo>
                    <a:pt x="12" y="31"/>
                  </a:lnTo>
                  <a:lnTo>
                    <a:pt x="14" y="29"/>
                  </a:lnTo>
                  <a:lnTo>
                    <a:pt x="12" y="29"/>
                  </a:lnTo>
                  <a:lnTo>
                    <a:pt x="12" y="29"/>
                  </a:lnTo>
                  <a:lnTo>
                    <a:pt x="12" y="29"/>
                  </a:lnTo>
                  <a:lnTo>
                    <a:pt x="12" y="26"/>
                  </a:lnTo>
                  <a:lnTo>
                    <a:pt x="12" y="24"/>
                  </a:lnTo>
                  <a:lnTo>
                    <a:pt x="9" y="24"/>
                  </a:lnTo>
                  <a:lnTo>
                    <a:pt x="9" y="22"/>
                  </a:lnTo>
                  <a:lnTo>
                    <a:pt x="9" y="24"/>
                  </a:lnTo>
                  <a:lnTo>
                    <a:pt x="7" y="24"/>
                  </a:lnTo>
                  <a:lnTo>
                    <a:pt x="7" y="22"/>
                  </a:lnTo>
                  <a:lnTo>
                    <a:pt x="7" y="19"/>
                  </a:lnTo>
                  <a:lnTo>
                    <a:pt x="2" y="12"/>
                  </a:lnTo>
                  <a:lnTo>
                    <a:pt x="2" y="10"/>
                  </a:lnTo>
                  <a:lnTo>
                    <a:pt x="5" y="10"/>
                  </a:lnTo>
                  <a:lnTo>
                    <a:pt x="5" y="12"/>
                  </a:lnTo>
                  <a:lnTo>
                    <a:pt x="7" y="12"/>
                  </a:lnTo>
                  <a:lnTo>
                    <a:pt x="5" y="10"/>
                  </a:lnTo>
                  <a:lnTo>
                    <a:pt x="5" y="10"/>
                  </a:lnTo>
                  <a:lnTo>
                    <a:pt x="2" y="8"/>
                  </a:lnTo>
                  <a:lnTo>
                    <a:pt x="2" y="8"/>
                  </a:lnTo>
                  <a:lnTo>
                    <a:pt x="2" y="5"/>
                  </a:lnTo>
                  <a:lnTo>
                    <a:pt x="2" y="5"/>
                  </a:lnTo>
                  <a:lnTo>
                    <a:pt x="2" y="5"/>
                  </a:lnTo>
                  <a:lnTo>
                    <a:pt x="2" y="5"/>
                  </a:lnTo>
                  <a:lnTo>
                    <a:pt x="2" y="3"/>
                  </a:lnTo>
                  <a:lnTo>
                    <a:pt x="2" y="3"/>
                  </a:lnTo>
                  <a:lnTo>
                    <a:pt x="0" y="0"/>
                  </a:lnTo>
                  <a:lnTo>
                    <a:pt x="0" y="3"/>
                  </a:lnTo>
                  <a:lnTo>
                    <a:pt x="0" y="3"/>
                  </a:lnTo>
                  <a:lnTo>
                    <a:pt x="0" y="5"/>
                  </a:lnTo>
                  <a:lnTo>
                    <a:pt x="0" y="8"/>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85" name="Freeform 306">
              <a:extLst>
                <a:ext uri="{FF2B5EF4-FFF2-40B4-BE49-F238E27FC236}">
                  <a16:creationId xmlns:a16="http://schemas.microsoft.com/office/drawing/2014/main" id="{82A6B133-F446-4C75-BE9C-74F0FF250D4D}"/>
                </a:ext>
              </a:extLst>
            </p:cNvPr>
            <p:cNvSpPr>
              <a:spLocks/>
            </p:cNvSpPr>
            <p:nvPr/>
          </p:nvSpPr>
          <p:spPr bwMode="gray">
            <a:xfrm>
              <a:off x="-1453" y="-6"/>
              <a:ext cx="9" cy="12"/>
            </a:xfrm>
            <a:custGeom>
              <a:avLst/>
              <a:gdLst>
                <a:gd name="T0" fmla="*/ 9 w 9"/>
                <a:gd name="T1" fmla="*/ 10 h 12"/>
                <a:gd name="T2" fmla="*/ 9 w 9"/>
                <a:gd name="T3" fmla="*/ 10 h 12"/>
                <a:gd name="T4" fmla="*/ 9 w 9"/>
                <a:gd name="T5" fmla="*/ 7 h 12"/>
                <a:gd name="T6" fmla="*/ 9 w 9"/>
                <a:gd name="T7" fmla="*/ 7 h 12"/>
                <a:gd name="T8" fmla="*/ 9 w 9"/>
                <a:gd name="T9" fmla="*/ 7 h 12"/>
                <a:gd name="T10" fmla="*/ 9 w 9"/>
                <a:gd name="T11" fmla="*/ 5 h 12"/>
                <a:gd name="T12" fmla="*/ 9 w 9"/>
                <a:gd name="T13" fmla="*/ 3 h 12"/>
                <a:gd name="T14" fmla="*/ 9 w 9"/>
                <a:gd name="T15" fmla="*/ 3 h 12"/>
                <a:gd name="T16" fmla="*/ 7 w 9"/>
                <a:gd name="T17" fmla="*/ 3 h 12"/>
                <a:gd name="T18" fmla="*/ 7 w 9"/>
                <a:gd name="T19" fmla="*/ 3 h 12"/>
                <a:gd name="T20" fmla="*/ 5 w 9"/>
                <a:gd name="T21" fmla="*/ 3 h 12"/>
                <a:gd name="T22" fmla="*/ 5 w 9"/>
                <a:gd name="T23" fmla="*/ 3 h 12"/>
                <a:gd name="T24" fmla="*/ 2 w 9"/>
                <a:gd name="T25" fmla="*/ 0 h 12"/>
                <a:gd name="T26" fmla="*/ 2 w 9"/>
                <a:gd name="T27" fmla="*/ 3 h 12"/>
                <a:gd name="T28" fmla="*/ 0 w 9"/>
                <a:gd name="T29" fmla="*/ 3 h 12"/>
                <a:gd name="T30" fmla="*/ 0 w 9"/>
                <a:gd name="T31" fmla="*/ 5 h 12"/>
                <a:gd name="T32" fmla="*/ 0 w 9"/>
                <a:gd name="T33" fmla="*/ 7 h 12"/>
                <a:gd name="T34" fmla="*/ 0 w 9"/>
                <a:gd name="T35" fmla="*/ 10 h 12"/>
                <a:gd name="T36" fmla="*/ 0 w 9"/>
                <a:gd name="T37" fmla="*/ 12 h 12"/>
                <a:gd name="T38" fmla="*/ 5 w 9"/>
                <a:gd name="T39" fmla="*/ 12 h 12"/>
                <a:gd name="T40" fmla="*/ 7 w 9"/>
                <a:gd name="T41" fmla="*/ 12 h 12"/>
                <a:gd name="T42" fmla="*/ 9 w 9"/>
                <a:gd name="T43" fmla="*/ 10 h 12"/>
                <a:gd name="T44" fmla="*/ 7 w 9"/>
                <a:gd name="T45" fmla="*/ 10 h 12"/>
                <a:gd name="T46" fmla="*/ 7 w 9"/>
                <a:gd name="T47" fmla="*/ 10 h 12"/>
                <a:gd name="T48" fmla="*/ 7 w 9"/>
                <a:gd name="T49" fmla="*/ 10 h 12"/>
                <a:gd name="T50" fmla="*/ 9 w 9"/>
                <a:gd name="T51"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 h="12">
                  <a:moveTo>
                    <a:pt x="9" y="10"/>
                  </a:moveTo>
                  <a:lnTo>
                    <a:pt x="9" y="10"/>
                  </a:lnTo>
                  <a:lnTo>
                    <a:pt x="9" y="7"/>
                  </a:lnTo>
                  <a:lnTo>
                    <a:pt x="9" y="7"/>
                  </a:lnTo>
                  <a:lnTo>
                    <a:pt x="9" y="7"/>
                  </a:lnTo>
                  <a:lnTo>
                    <a:pt x="9" y="5"/>
                  </a:lnTo>
                  <a:lnTo>
                    <a:pt x="9" y="3"/>
                  </a:lnTo>
                  <a:lnTo>
                    <a:pt x="9" y="3"/>
                  </a:lnTo>
                  <a:lnTo>
                    <a:pt x="7" y="3"/>
                  </a:lnTo>
                  <a:lnTo>
                    <a:pt x="7" y="3"/>
                  </a:lnTo>
                  <a:lnTo>
                    <a:pt x="5" y="3"/>
                  </a:lnTo>
                  <a:lnTo>
                    <a:pt x="5" y="3"/>
                  </a:lnTo>
                  <a:lnTo>
                    <a:pt x="2" y="0"/>
                  </a:lnTo>
                  <a:lnTo>
                    <a:pt x="2" y="3"/>
                  </a:lnTo>
                  <a:lnTo>
                    <a:pt x="0" y="3"/>
                  </a:lnTo>
                  <a:lnTo>
                    <a:pt x="0" y="5"/>
                  </a:lnTo>
                  <a:lnTo>
                    <a:pt x="0" y="7"/>
                  </a:lnTo>
                  <a:lnTo>
                    <a:pt x="0" y="10"/>
                  </a:lnTo>
                  <a:lnTo>
                    <a:pt x="0" y="12"/>
                  </a:lnTo>
                  <a:lnTo>
                    <a:pt x="5" y="12"/>
                  </a:lnTo>
                  <a:lnTo>
                    <a:pt x="7" y="12"/>
                  </a:lnTo>
                  <a:lnTo>
                    <a:pt x="9" y="10"/>
                  </a:lnTo>
                  <a:lnTo>
                    <a:pt x="7" y="10"/>
                  </a:lnTo>
                  <a:lnTo>
                    <a:pt x="7" y="10"/>
                  </a:lnTo>
                  <a:lnTo>
                    <a:pt x="7" y="10"/>
                  </a:lnTo>
                  <a:lnTo>
                    <a:pt x="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86" name="Freeform 307">
              <a:extLst>
                <a:ext uri="{FF2B5EF4-FFF2-40B4-BE49-F238E27FC236}">
                  <a16:creationId xmlns:a16="http://schemas.microsoft.com/office/drawing/2014/main" id="{C55A3D0C-A903-40C0-87B2-62011452F774}"/>
                </a:ext>
              </a:extLst>
            </p:cNvPr>
            <p:cNvSpPr>
              <a:spLocks/>
            </p:cNvSpPr>
            <p:nvPr/>
          </p:nvSpPr>
          <p:spPr bwMode="gray">
            <a:xfrm>
              <a:off x="-1925" y="-303"/>
              <a:ext cx="9" cy="15"/>
            </a:xfrm>
            <a:custGeom>
              <a:avLst/>
              <a:gdLst>
                <a:gd name="T0" fmla="*/ 0 w 9"/>
                <a:gd name="T1" fmla="*/ 7 h 15"/>
                <a:gd name="T2" fmla="*/ 0 w 9"/>
                <a:gd name="T3" fmla="*/ 10 h 15"/>
                <a:gd name="T4" fmla="*/ 0 w 9"/>
                <a:gd name="T5" fmla="*/ 10 h 15"/>
                <a:gd name="T6" fmla="*/ 0 w 9"/>
                <a:gd name="T7" fmla="*/ 12 h 15"/>
                <a:gd name="T8" fmla="*/ 2 w 9"/>
                <a:gd name="T9" fmla="*/ 15 h 15"/>
                <a:gd name="T10" fmla="*/ 5 w 9"/>
                <a:gd name="T11" fmla="*/ 15 h 15"/>
                <a:gd name="T12" fmla="*/ 7 w 9"/>
                <a:gd name="T13" fmla="*/ 15 h 15"/>
                <a:gd name="T14" fmla="*/ 7 w 9"/>
                <a:gd name="T15" fmla="*/ 15 h 15"/>
                <a:gd name="T16" fmla="*/ 7 w 9"/>
                <a:gd name="T17" fmla="*/ 15 h 15"/>
                <a:gd name="T18" fmla="*/ 7 w 9"/>
                <a:gd name="T19" fmla="*/ 15 h 15"/>
                <a:gd name="T20" fmla="*/ 9 w 9"/>
                <a:gd name="T21" fmla="*/ 15 h 15"/>
                <a:gd name="T22" fmla="*/ 9 w 9"/>
                <a:gd name="T23" fmla="*/ 12 h 15"/>
                <a:gd name="T24" fmla="*/ 9 w 9"/>
                <a:gd name="T25" fmla="*/ 12 h 15"/>
                <a:gd name="T26" fmla="*/ 9 w 9"/>
                <a:gd name="T27" fmla="*/ 12 h 15"/>
                <a:gd name="T28" fmla="*/ 9 w 9"/>
                <a:gd name="T29" fmla="*/ 7 h 15"/>
                <a:gd name="T30" fmla="*/ 7 w 9"/>
                <a:gd name="T31" fmla="*/ 7 h 15"/>
                <a:gd name="T32" fmla="*/ 7 w 9"/>
                <a:gd name="T33" fmla="*/ 7 h 15"/>
                <a:gd name="T34" fmla="*/ 5 w 9"/>
                <a:gd name="T35" fmla="*/ 3 h 15"/>
                <a:gd name="T36" fmla="*/ 5 w 9"/>
                <a:gd name="T37" fmla="*/ 3 h 15"/>
                <a:gd name="T38" fmla="*/ 2 w 9"/>
                <a:gd name="T39" fmla="*/ 3 h 15"/>
                <a:gd name="T40" fmla="*/ 5 w 9"/>
                <a:gd name="T41" fmla="*/ 5 h 15"/>
                <a:gd name="T42" fmla="*/ 2 w 9"/>
                <a:gd name="T43" fmla="*/ 0 h 15"/>
                <a:gd name="T44" fmla="*/ 2 w 9"/>
                <a:gd name="T45" fmla="*/ 0 h 15"/>
                <a:gd name="T46" fmla="*/ 2 w 9"/>
                <a:gd name="T47" fmla="*/ 5 h 15"/>
                <a:gd name="T48" fmla="*/ 2 w 9"/>
                <a:gd name="T49" fmla="*/ 7 h 15"/>
                <a:gd name="T50" fmla="*/ 0 w 9"/>
                <a:gd name="T5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 h="15">
                  <a:moveTo>
                    <a:pt x="0" y="7"/>
                  </a:moveTo>
                  <a:lnTo>
                    <a:pt x="0" y="10"/>
                  </a:lnTo>
                  <a:lnTo>
                    <a:pt x="0" y="10"/>
                  </a:lnTo>
                  <a:lnTo>
                    <a:pt x="0" y="12"/>
                  </a:lnTo>
                  <a:lnTo>
                    <a:pt x="2" y="15"/>
                  </a:lnTo>
                  <a:lnTo>
                    <a:pt x="5" y="15"/>
                  </a:lnTo>
                  <a:lnTo>
                    <a:pt x="7" y="15"/>
                  </a:lnTo>
                  <a:lnTo>
                    <a:pt x="7" y="15"/>
                  </a:lnTo>
                  <a:lnTo>
                    <a:pt x="7" y="15"/>
                  </a:lnTo>
                  <a:lnTo>
                    <a:pt x="7" y="15"/>
                  </a:lnTo>
                  <a:lnTo>
                    <a:pt x="9" y="15"/>
                  </a:lnTo>
                  <a:lnTo>
                    <a:pt x="9" y="12"/>
                  </a:lnTo>
                  <a:lnTo>
                    <a:pt x="9" y="12"/>
                  </a:lnTo>
                  <a:lnTo>
                    <a:pt x="9" y="12"/>
                  </a:lnTo>
                  <a:lnTo>
                    <a:pt x="9" y="7"/>
                  </a:lnTo>
                  <a:lnTo>
                    <a:pt x="7" y="7"/>
                  </a:lnTo>
                  <a:lnTo>
                    <a:pt x="7" y="7"/>
                  </a:lnTo>
                  <a:lnTo>
                    <a:pt x="5" y="3"/>
                  </a:lnTo>
                  <a:lnTo>
                    <a:pt x="5" y="3"/>
                  </a:lnTo>
                  <a:lnTo>
                    <a:pt x="2" y="3"/>
                  </a:lnTo>
                  <a:lnTo>
                    <a:pt x="5" y="5"/>
                  </a:lnTo>
                  <a:lnTo>
                    <a:pt x="2" y="0"/>
                  </a:lnTo>
                  <a:lnTo>
                    <a:pt x="2" y="0"/>
                  </a:lnTo>
                  <a:lnTo>
                    <a:pt x="2" y="5"/>
                  </a:lnTo>
                  <a:lnTo>
                    <a:pt x="2" y="7"/>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87" name="Freeform 308">
              <a:extLst>
                <a:ext uri="{FF2B5EF4-FFF2-40B4-BE49-F238E27FC236}">
                  <a16:creationId xmlns:a16="http://schemas.microsoft.com/office/drawing/2014/main" id="{54F5547C-58D9-4ACF-ABA1-E83205935BF5}"/>
                </a:ext>
              </a:extLst>
            </p:cNvPr>
            <p:cNvSpPr>
              <a:spLocks/>
            </p:cNvSpPr>
            <p:nvPr/>
          </p:nvSpPr>
          <p:spPr bwMode="gray">
            <a:xfrm>
              <a:off x="-1970" y="-362"/>
              <a:ext cx="29" cy="24"/>
            </a:xfrm>
            <a:custGeom>
              <a:avLst/>
              <a:gdLst>
                <a:gd name="T0" fmla="*/ 3 w 29"/>
                <a:gd name="T1" fmla="*/ 22 h 24"/>
                <a:gd name="T2" fmla="*/ 3 w 29"/>
                <a:gd name="T3" fmla="*/ 24 h 24"/>
                <a:gd name="T4" fmla="*/ 7 w 29"/>
                <a:gd name="T5" fmla="*/ 22 h 24"/>
                <a:gd name="T6" fmla="*/ 10 w 29"/>
                <a:gd name="T7" fmla="*/ 19 h 24"/>
                <a:gd name="T8" fmla="*/ 14 w 29"/>
                <a:gd name="T9" fmla="*/ 15 h 24"/>
                <a:gd name="T10" fmla="*/ 19 w 29"/>
                <a:gd name="T11" fmla="*/ 12 h 24"/>
                <a:gd name="T12" fmla="*/ 29 w 29"/>
                <a:gd name="T13" fmla="*/ 5 h 24"/>
                <a:gd name="T14" fmla="*/ 29 w 29"/>
                <a:gd name="T15" fmla="*/ 5 h 24"/>
                <a:gd name="T16" fmla="*/ 29 w 29"/>
                <a:gd name="T17" fmla="*/ 5 h 24"/>
                <a:gd name="T18" fmla="*/ 29 w 29"/>
                <a:gd name="T19" fmla="*/ 3 h 24"/>
                <a:gd name="T20" fmla="*/ 29 w 29"/>
                <a:gd name="T21" fmla="*/ 3 h 24"/>
                <a:gd name="T22" fmla="*/ 26 w 29"/>
                <a:gd name="T23" fmla="*/ 0 h 24"/>
                <a:gd name="T24" fmla="*/ 24 w 29"/>
                <a:gd name="T25" fmla="*/ 0 h 24"/>
                <a:gd name="T26" fmla="*/ 24 w 29"/>
                <a:gd name="T27" fmla="*/ 3 h 24"/>
                <a:gd name="T28" fmla="*/ 19 w 29"/>
                <a:gd name="T29" fmla="*/ 5 h 24"/>
                <a:gd name="T30" fmla="*/ 17 w 29"/>
                <a:gd name="T31" fmla="*/ 8 h 24"/>
                <a:gd name="T32" fmla="*/ 12 w 29"/>
                <a:gd name="T33" fmla="*/ 12 h 24"/>
                <a:gd name="T34" fmla="*/ 10 w 29"/>
                <a:gd name="T35" fmla="*/ 12 h 24"/>
                <a:gd name="T36" fmla="*/ 5 w 29"/>
                <a:gd name="T37" fmla="*/ 12 h 24"/>
                <a:gd name="T38" fmla="*/ 5 w 29"/>
                <a:gd name="T39" fmla="*/ 12 h 24"/>
                <a:gd name="T40" fmla="*/ 3 w 29"/>
                <a:gd name="T41" fmla="*/ 15 h 24"/>
                <a:gd name="T42" fmla="*/ 3 w 29"/>
                <a:gd name="T43" fmla="*/ 17 h 24"/>
                <a:gd name="T44" fmla="*/ 3 w 29"/>
                <a:gd name="T45" fmla="*/ 19 h 24"/>
                <a:gd name="T46" fmla="*/ 0 w 29"/>
                <a:gd name="T47" fmla="*/ 22 h 24"/>
                <a:gd name="T48" fmla="*/ 3 w 29"/>
                <a:gd name="T49" fmla="*/ 22 h 24"/>
                <a:gd name="T50" fmla="*/ 3 w 29"/>
                <a:gd name="T51"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 h="24">
                  <a:moveTo>
                    <a:pt x="3" y="22"/>
                  </a:moveTo>
                  <a:lnTo>
                    <a:pt x="3" y="24"/>
                  </a:lnTo>
                  <a:lnTo>
                    <a:pt x="7" y="22"/>
                  </a:lnTo>
                  <a:lnTo>
                    <a:pt x="10" y="19"/>
                  </a:lnTo>
                  <a:lnTo>
                    <a:pt x="14" y="15"/>
                  </a:lnTo>
                  <a:lnTo>
                    <a:pt x="19" y="12"/>
                  </a:lnTo>
                  <a:lnTo>
                    <a:pt x="29" y="5"/>
                  </a:lnTo>
                  <a:lnTo>
                    <a:pt x="29" y="5"/>
                  </a:lnTo>
                  <a:lnTo>
                    <a:pt x="29" y="5"/>
                  </a:lnTo>
                  <a:lnTo>
                    <a:pt x="29" y="3"/>
                  </a:lnTo>
                  <a:lnTo>
                    <a:pt x="29" y="3"/>
                  </a:lnTo>
                  <a:lnTo>
                    <a:pt x="26" y="0"/>
                  </a:lnTo>
                  <a:lnTo>
                    <a:pt x="24" y="0"/>
                  </a:lnTo>
                  <a:lnTo>
                    <a:pt x="24" y="3"/>
                  </a:lnTo>
                  <a:lnTo>
                    <a:pt x="19" y="5"/>
                  </a:lnTo>
                  <a:lnTo>
                    <a:pt x="17" y="8"/>
                  </a:lnTo>
                  <a:lnTo>
                    <a:pt x="12" y="12"/>
                  </a:lnTo>
                  <a:lnTo>
                    <a:pt x="10" y="12"/>
                  </a:lnTo>
                  <a:lnTo>
                    <a:pt x="5" y="12"/>
                  </a:lnTo>
                  <a:lnTo>
                    <a:pt x="5" y="12"/>
                  </a:lnTo>
                  <a:lnTo>
                    <a:pt x="3" y="15"/>
                  </a:lnTo>
                  <a:lnTo>
                    <a:pt x="3" y="17"/>
                  </a:lnTo>
                  <a:lnTo>
                    <a:pt x="3" y="19"/>
                  </a:lnTo>
                  <a:lnTo>
                    <a:pt x="0" y="22"/>
                  </a:lnTo>
                  <a:lnTo>
                    <a:pt x="3" y="22"/>
                  </a:lnTo>
                  <a:lnTo>
                    <a:pt x="3"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88" name="Freeform 309">
              <a:extLst>
                <a:ext uri="{FF2B5EF4-FFF2-40B4-BE49-F238E27FC236}">
                  <a16:creationId xmlns:a16="http://schemas.microsoft.com/office/drawing/2014/main" id="{4BAFB5F7-C7CE-41BB-9ADD-0538B551CCAB}"/>
                </a:ext>
              </a:extLst>
            </p:cNvPr>
            <p:cNvSpPr>
              <a:spLocks/>
            </p:cNvSpPr>
            <p:nvPr/>
          </p:nvSpPr>
          <p:spPr bwMode="gray">
            <a:xfrm>
              <a:off x="-2175" y="-116"/>
              <a:ext cx="28" cy="25"/>
            </a:xfrm>
            <a:custGeom>
              <a:avLst/>
              <a:gdLst>
                <a:gd name="T0" fmla="*/ 0 w 28"/>
                <a:gd name="T1" fmla="*/ 11 h 25"/>
                <a:gd name="T2" fmla="*/ 0 w 28"/>
                <a:gd name="T3" fmla="*/ 14 h 25"/>
                <a:gd name="T4" fmla="*/ 2 w 28"/>
                <a:gd name="T5" fmla="*/ 16 h 25"/>
                <a:gd name="T6" fmla="*/ 12 w 28"/>
                <a:gd name="T7" fmla="*/ 18 h 25"/>
                <a:gd name="T8" fmla="*/ 14 w 28"/>
                <a:gd name="T9" fmla="*/ 21 h 25"/>
                <a:gd name="T10" fmla="*/ 12 w 28"/>
                <a:gd name="T11" fmla="*/ 18 h 25"/>
                <a:gd name="T12" fmla="*/ 9 w 28"/>
                <a:gd name="T13" fmla="*/ 21 h 25"/>
                <a:gd name="T14" fmla="*/ 12 w 28"/>
                <a:gd name="T15" fmla="*/ 21 h 25"/>
                <a:gd name="T16" fmla="*/ 14 w 28"/>
                <a:gd name="T17" fmla="*/ 23 h 25"/>
                <a:gd name="T18" fmla="*/ 14 w 28"/>
                <a:gd name="T19" fmla="*/ 25 h 25"/>
                <a:gd name="T20" fmla="*/ 14 w 28"/>
                <a:gd name="T21" fmla="*/ 23 h 25"/>
                <a:gd name="T22" fmla="*/ 16 w 28"/>
                <a:gd name="T23" fmla="*/ 23 h 25"/>
                <a:gd name="T24" fmla="*/ 19 w 28"/>
                <a:gd name="T25" fmla="*/ 23 h 25"/>
                <a:gd name="T26" fmla="*/ 21 w 28"/>
                <a:gd name="T27" fmla="*/ 23 h 25"/>
                <a:gd name="T28" fmla="*/ 21 w 28"/>
                <a:gd name="T29" fmla="*/ 21 h 25"/>
                <a:gd name="T30" fmla="*/ 21 w 28"/>
                <a:gd name="T31" fmla="*/ 21 h 25"/>
                <a:gd name="T32" fmla="*/ 21 w 28"/>
                <a:gd name="T33" fmla="*/ 21 h 25"/>
                <a:gd name="T34" fmla="*/ 24 w 28"/>
                <a:gd name="T35" fmla="*/ 18 h 25"/>
                <a:gd name="T36" fmla="*/ 26 w 28"/>
                <a:gd name="T37" fmla="*/ 18 h 25"/>
                <a:gd name="T38" fmla="*/ 26 w 28"/>
                <a:gd name="T39" fmla="*/ 18 h 25"/>
                <a:gd name="T40" fmla="*/ 28 w 28"/>
                <a:gd name="T41" fmla="*/ 11 h 25"/>
                <a:gd name="T42" fmla="*/ 28 w 28"/>
                <a:gd name="T43" fmla="*/ 9 h 25"/>
                <a:gd name="T44" fmla="*/ 24 w 28"/>
                <a:gd name="T45" fmla="*/ 7 h 25"/>
                <a:gd name="T46" fmla="*/ 24 w 28"/>
                <a:gd name="T47" fmla="*/ 2 h 25"/>
                <a:gd name="T48" fmla="*/ 21 w 28"/>
                <a:gd name="T49" fmla="*/ 0 h 25"/>
                <a:gd name="T50" fmla="*/ 16 w 28"/>
                <a:gd name="T51" fmla="*/ 0 h 25"/>
                <a:gd name="T52" fmla="*/ 14 w 28"/>
                <a:gd name="T53" fmla="*/ 0 h 25"/>
                <a:gd name="T54" fmla="*/ 9 w 28"/>
                <a:gd name="T55" fmla="*/ 4 h 25"/>
                <a:gd name="T56" fmla="*/ 7 w 28"/>
                <a:gd name="T57" fmla="*/ 7 h 25"/>
                <a:gd name="T58" fmla="*/ 5 w 28"/>
                <a:gd name="T59" fmla="*/ 7 h 25"/>
                <a:gd name="T60" fmla="*/ 2 w 28"/>
                <a:gd name="T61" fmla="*/ 7 h 25"/>
                <a:gd name="T62" fmla="*/ 0 w 28"/>
                <a:gd name="T63" fmla="*/ 9 h 25"/>
                <a:gd name="T64" fmla="*/ 0 w 28"/>
                <a:gd name="T65" fmla="*/ 9 h 25"/>
                <a:gd name="T66" fmla="*/ 0 w 28"/>
                <a:gd name="T67" fmla="*/ 1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 h="25">
                  <a:moveTo>
                    <a:pt x="0" y="11"/>
                  </a:moveTo>
                  <a:lnTo>
                    <a:pt x="0" y="14"/>
                  </a:lnTo>
                  <a:lnTo>
                    <a:pt x="2" y="16"/>
                  </a:lnTo>
                  <a:lnTo>
                    <a:pt x="12" y="18"/>
                  </a:lnTo>
                  <a:lnTo>
                    <a:pt x="14" y="21"/>
                  </a:lnTo>
                  <a:lnTo>
                    <a:pt x="12" y="18"/>
                  </a:lnTo>
                  <a:lnTo>
                    <a:pt x="9" y="21"/>
                  </a:lnTo>
                  <a:lnTo>
                    <a:pt x="12" y="21"/>
                  </a:lnTo>
                  <a:lnTo>
                    <a:pt x="14" y="23"/>
                  </a:lnTo>
                  <a:lnTo>
                    <a:pt x="14" y="25"/>
                  </a:lnTo>
                  <a:lnTo>
                    <a:pt x="14" y="23"/>
                  </a:lnTo>
                  <a:lnTo>
                    <a:pt x="16" y="23"/>
                  </a:lnTo>
                  <a:lnTo>
                    <a:pt x="19" y="23"/>
                  </a:lnTo>
                  <a:lnTo>
                    <a:pt x="21" y="23"/>
                  </a:lnTo>
                  <a:lnTo>
                    <a:pt x="21" y="21"/>
                  </a:lnTo>
                  <a:lnTo>
                    <a:pt x="21" y="21"/>
                  </a:lnTo>
                  <a:lnTo>
                    <a:pt x="21" y="21"/>
                  </a:lnTo>
                  <a:lnTo>
                    <a:pt x="24" y="18"/>
                  </a:lnTo>
                  <a:lnTo>
                    <a:pt x="26" y="18"/>
                  </a:lnTo>
                  <a:lnTo>
                    <a:pt x="26" y="18"/>
                  </a:lnTo>
                  <a:lnTo>
                    <a:pt x="28" y="11"/>
                  </a:lnTo>
                  <a:lnTo>
                    <a:pt x="28" y="9"/>
                  </a:lnTo>
                  <a:lnTo>
                    <a:pt x="24" y="7"/>
                  </a:lnTo>
                  <a:lnTo>
                    <a:pt x="24" y="2"/>
                  </a:lnTo>
                  <a:lnTo>
                    <a:pt x="21" y="0"/>
                  </a:lnTo>
                  <a:lnTo>
                    <a:pt x="16" y="0"/>
                  </a:lnTo>
                  <a:lnTo>
                    <a:pt x="14" y="0"/>
                  </a:lnTo>
                  <a:lnTo>
                    <a:pt x="9" y="4"/>
                  </a:lnTo>
                  <a:lnTo>
                    <a:pt x="7" y="7"/>
                  </a:lnTo>
                  <a:lnTo>
                    <a:pt x="5" y="7"/>
                  </a:lnTo>
                  <a:lnTo>
                    <a:pt x="2" y="7"/>
                  </a:lnTo>
                  <a:lnTo>
                    <a:pt x="0" y="9"/>
                  </a:lnTo>
                  <a:lnTo>
                    <a:pt x="0" y="9"/>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89" name="Freeform 310">
              <a:extLst>
                <a:ext uri="{FF2B5EF4-FFF2-40B4-BE49-F238E27FC236}">
                  <a16:creationId xmlns:a16="http://schemas.microsoft.com/office/drawing/2014/main" id="{98AAAF9B-EA4E-4A99-A118-3B43DCD71AB0}"/>
                </a:ext>
              </a:extLst>
            </p:cNvPr>
            <p:cNvSpPr>
              <a:spLocks/>
            </p:cNvSpPr>
            <p:nvPr/>
          </p:nvSpPr>
          <p:spPr bwMode="gray">
            <a:xfrm>
              <a:off x="-1960" y="-354"/>
              <a:ext cx="30" cy="18"/>
            </a:xfrm>
            <a:custGeom>
              <a:avLst/>
              <a:gdLst>
                <a:gd name="T0" fmla="*/ 19 w 30"/>
                <a:gd name="T1" fmla="*/ 0 h 18"/>
                <a:gd name="T2" fmla="*/ 19 w 30"/>
                <a:gd name="T3" fmla="*/ 0 h 18"/>
                <a:gd name="T4" fmla="*/ 0 w 30"/>
                <a:gd name="T5" fmla="*/ 14 h 18"/>
                <a:gd name="T6" fmla="*/ 0 w 30"/>
                <a:gd name="T7" fmla="*/ 16 h 18"/>
                <a:gd name="T8" fmla="*/ 0 w 30"/>
                <a:gd name="T9" fmla="*/ 16 h 18"/>
                <a:gd name="T10" fmla="*/ 2 w 30"/>
                <a:gd name="T11" fmla="*/ 16 h 18"/>
                <a:gd name="T12" fmla="*/ 4 w 30"/>
                <a:gd name="T13" fmla="*/ 14 h 18"/>
                <a:gd name="T14" fmla="*/ 7 w 30"/>
                <a:gd name="T15" fmla="*/ 11 h 18"/>
                <a:gd name="T16" fmla="*/ 11 w 30"/>
                <a:gd name="T17" fmla="*/ 7 h 18"/>
                <a:gd name="T18" fmla="*/ 16 w 30"/>
                <a:gd name="T19" fmla="*/ 7 h 18"/>
                <a:gd name="T20" fmla="*/ 19 w 30"/>
                <a:gd name="T21" fmla="*/ 7 h 18"/>
                <a:gd name="T22" fmla="*/ 19 w 30"/>
                <a:gd name="T23" fmla="*/ 9 h 18"/>
                <a:gd name="T24" fmla="*/ 16 w 30"/>
                <a:gd name="T25" fmla="*/ 11 h 18"/>
                <a:gd name="T26" fmla="*/ 16 w 30"/>
                <a:gd name="T27" fmla="*/ 14 h 18"/>
                <a:gd name="T28" fmla="*/ 14 w 30"/>
                <a:gd name="T29" fmla="*/ 14 h 18"/>
                <a:gd name="T30" fmla="*/ 14 w 30"/>
                <a:gd name="T31" fmla="*/ 16 h 18"/>
                <a:gd name="T32" fmla="*/ 16 w 30"/>
                <a:gd name="T33" fmla="*/ 16 h 18"/>
                <a:gd name="T34" fmla="*/ 16 w 30"/>
                <a:gd name="T35" fmla="*/ 16 h 18"/>
                <a:gd name="T36" fmla="*/ 16 w 30"/>
                <a:gd name="T37" fmla="*/ 16 h 18"/>
                <a:gd name="T38" fmla="*/ 19 w 30"/>
                <a:gd name="T39" fmla="*/ 16 h 18"/>
                <a:gd name="T40" fmla="*/ 16 w 30"/>
                <a:gd name="T41" fmla="*/ 16 h 18"/>
                <a:gd name="T42" fmla="*/ 16 w 30"/>
                <a:gd name="T43" fmla="*/ 18 h 18"/>
                <a:gd name="T44" fmla="*/ 21 w 30"/>
                <a:gd name="T45" fmla="*/ 18 h 18"/>
                <a:gd name="T46" fmla="*/ 23 w 30"/>
                <a:gd name="T47" fmla="*/ 16 h 18"/>
                <a:gd name="T48" fmla="*/ 26 w 30"/>
                <a:gd name="T49" fmla="*/ 14 h 18"/>
                <a:gd name="T50" fmla="*/ 30 w 30"/>
                <a:gd name="T51" fmla="*/ 9 h 18"/>
                <a:gd name="T52" fmla="*/ 30 w 30"/>
                <a:gd name="T53" fmla="*/ 9 h 18"/>
                <a:gd name="T54" fmla="*/ 30 w 30"/>
                <a:gd name="T55" fmla="*/ 9 h 18"/>
                <a:gd name="T56" fmla="*/ 30 w 30"/>
                <a:gd name="T57" fmla="*/ 7 h 18"/>
                <a:gd name="T58" fmla="*/ 26 w 30"/>
                <a:gd name="T59" fmla="*/ 7 h 18"/>
                <a:gd name="T60" fmla="*/ 26 w 30"/>
                <a:gd name="T61" fmla="*/ 4 h 18"/>
                <a:gd name="T62" fmla="*/ 26 w 30"/>
                <a:gd name="T63" fmla="*/ 4 h 18"/>
                <a:gd name="T64" fmla="*/ 23 w 30"/>
                <a:gd name="T65" fmla="*/ 2 h 18"/>
                <a:gd name="T66" fmla="*/ 23 w 30"/>
                <a:gd name="T67" fmla="*/ 2 h 18"/>
                <a:gd name="T68" fmla="*/ 21 w 30"/>
                <a:gd name="T69" fmla="*/ 0 h 18"/>
                <a:gd name="T70" fmla="*/ 19 w 30"/>
                <a:gd name="T71" fmla="*/ 0 h 18"/>
                <a:gd name="T72" fmla="*/ 19 w 30"/>
                <a:gd name="T7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 h="18">
                  <a:moveTo>
                    <a:pt x="19" y="0"/>
                  </a:moveTo>
                  <a:lnTo>
                    <a:pt x="19" y="0"/>
                  </a:lnTo>
                  <a:lnTo>
                    <a:pt x="0" y="14"/>
                  </a:lnTo>
                  <a:lnTo>
                    <a:pt x="0" y="16"/>
                  </a:lnTo>
                  <a:lnTo>
                    <a:pt x="0" y="16"/>
                  </a:lnTo>
                  <a:lnTo>
                    <a:pt x="2" y="16"/>
                  </a:lnTo>
                  <a:lnTo>
                    <a:pt x="4" y="14"/>
                  </a:lnTo>
                  <a:lnTo>
                    <a:pt x="7" y="11"/>
                  </a:lnTo>
                  <a:lnTo>
                    <a:pt x="11" y="7"/>
                  </a:lnTo>
                  <a:lnTo>
                    <a:pt x="16" y="7"/>
                  </a:lnTo>
                  <a:lnTo>
                    <a:pt x="19" y="7"/>
                  </a:lnTo>
                  <a:lnTo>
                    <a:pt x="19" y="9"/>
                  </a:lnTo>
                  <a:lnTo>
                    <a:pt x="16" y="11"/>
                  </a:lnTo>
                  <a:lnTo>
                    <a:pt x="16" y="14"/>
                  </a:lnTo>
                  <a:lnTo>
                    <a:pt x="14" y="14"/>
                  </a:lnTo>
                  <a:lnTo>
                    <a:pt x="14" y="16"/>
                  </a:lnTo>
                  <a:lnTo>
                    <a:pt x="16" y="16"/>
                  </a:lnTo>
                  <a:lnTo>
                    <a:pt x="16" y="16"/>
                  </a:lnTo>
                  <a:lnTo>
                    <a:pt x="16" y="16"/>
                  </a:lnTo>
                  <a:lnTo>
                    <a:pt x="19" y="16"/>
                  </a:lnTo>
                  <a:lnTo>
                    <a:pt x="16" y="16"/>
                  </a:lnTo>
                  <a:lnTo>
                    <a:pt x="16" y="18"/>
                  </a:lnTo>
                  <a:lnTo>
                    <a:pt x="21" y="18"/>
                  </a:lnTo>
                  <a:lnTo>
                    <a:pt x="23" y="16"/>
                  </a:lnTo>
                  <a:lnTo>
                    <a:pt x="26" y="14"/>
                  </a:lnTo>
                  <a:lnTo>
                    <a:pt x="30" y="9"/>
                  </a:lnTo>
                  <a:lnTo>
                    <a:pt x="30" y="9"/>
                  </a:lnTo>
                  <a:lnTo>
                    <a:pt x="30" y="9"/>
                  </a:lnTo>
                  <a:lnTo>
                    <a:pt x="30" y="7"/>
                  </a:lnTo>
                  <a:lnTo>
                    <a:pt x="26" y="7"/>
                  </a:lnTo>
                  <a:lnTo>
                    <a:pt x="26" y="4"/>
                  </a:lnTo>
                  <a:lnTo>
                    <a:pt x="26" y="4"/>
                  </a:lnTo>
                  <a:lnTo>
                    <a:pt x="23" y="2"/>
                  </a:lnTo>
                  <a:lnTo>
                    <a:pt x="23" y="2"/>
                  </a:lnTo>
                  <a:lnTo>
                    <a:pt x="21"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90" name="Freeform 311">
              <a:extLst>
                <a:ext uri="{FF2B5EF4-FFF2-40B4-BE49-F238E27FC236}">
                  <a16:creationId xmlns:a16="http://schemas.microsoft.com/office/drawing/2014/main" id="{686EE90C-27EC-4DC1-A566-156799D1FD91}"/>
                </a:ext>
              </a:extLst>
            </p:cNvPr>
            <p:cNvSpPr>
              <a:spLocks/>
            </p:cNvSpPr>
            <p:nvPr/>
          </p:nvSpPr>
          <p:spPr bwMode="gray">
            <a:xfrm>
              <a:off x="-1946" y="-305"/>
              <a:ext cx="28" cy="28"/>
            </a:xfrm>
            <a:custGeom>
              <a:avLst/>
              <a:gdLst>
                <a:gd name="T0" fmla="*/ 7 w 28"/>
                <a:gd name="T1" fmla="*/ 12 h 28"/>
                <a:gd name="T2" fmla="*/ 7 w 28"/>
                <a:gd name="T3" fmla="*/ 14 h 28"/>
                <a:gd name="T4" fmla="*/ 9 w 28"/>
                <a:gd name="T5" fmla="*/ 24 h 28"/>
                <a:gd name="T6" fmla="*/ 14 w 28"/>
                <a:gd name="T7" fmla="*/ 21 h 28"/>
                <a:gd name="T8" fmla="*/ 16 w 28"/>
                <a:gd name="T9" fmla="*/ 21 h 28"/>
                <a:gd name="T10" fmla="*/ 19 w 28"/>
                <a:gd name="T11" fmla="*/ 24 h 28"/>
                <a:gd name="T12" fmla="*/ 19 w 28"/>
                <a:gd name="T13" fmla="*/ 26 h 28"/>
                <a:gd name="T14" fmla="*/ 26 w 28"/>
                <a:gd name="T15" fmla="*/ 28 h 28"/>
                <a:gd name="T16" fmla="*/ 26 w 28"/>
                <a:gd name="T17" fmla="*/ 28 h 28"/>
                <a:gd name="T18" fmla="*/ 28 w 28"/>
                <a:gd name="T19" fmla="*/ 26 h 28"/>
                <a:gd name="T20" fmla="*/ 28 w 28"/>
                <a:gd name="T21" fmla="*/ 24 h 28"/>
                <a:gd name="T22" fmla="*/ 28 w 28"/>
                <a:gd name="T23" fmla="*/ 21 h 28"/>
                <a:gd name="T24" fmla="*/ 26 w 28"/>
                <a:gd name="T25" fmla="*/ 19 h 28"/>
                <a:gd name="T26" fmla="*/ 19 w 28"/>
                <a:gd name="T27" fmla="*/ 17 h 28"/>
                <a:gd name="T28" fmla="*/ 16 w 28"/>
                <a:gd name="T29" fmla="*/ 14 h 28"/>
                <a:gd name="T30" fmla="*/ 16 w 28"/>
                <a:gd name="T31" fmla="*/ 9 h 28"/>
                <a:gd name="T32" fmla="*/ 14 w 28"/>
                <a:gd name="T33" fmla="*/ 7 h 28"/>
                <a:gd name="T34" fmla="*/ 7 w 28"/>
                <a:gd name="T35" fmla="*/ 2 h 28"/>
                <a:gd name="T36" fmla="*/ 5 w 28"/>
                <a:gd name="T37" fmla="*/ 0 h 28"/>
                <a:gd name="T38" fmla="*/ 2 w 28"/>
                <a:gd name="T39" fmla="*/ 0 h 28"/>
                <a:gd name="T40" fmla="*/ 2 w 28"/>
                <a:gd name="T41" fmla="*/ 0 h 28"/>
                <a:gd name="T42" fmla="*/ 0 w 28"/>
                <a:gd name="T43" fmla="*/ 0 h 28"/>
                <a:gd name="T44" fmla="*/ 0 w 28"/>
                <a:gd name="T45" fmla="*/ 2 h 28"/>
                <a:gd name="T46" fmla="*/ 0 w 28"/>
                <a:gd name="T47" fmla="*/ 5 h 28"/>
                <a:gd name="T48" fmla="*/ 0 w 28"/>
                <a:gd name="T49" fmla="*/ 7 h 28"/>
                <a:gd name="T50" fmla="*/ 2 w 28"/>
                <a:gd name="T51" fmla="*/ 9 h 28"/>
                <a:gd name="T52" fmla="*/ 12 w 28"/>
                <a:gd name="T53" fmla="*/ 9 h 28"/>
                <a:gd name="T54" fmla="*/ 12 w 28"/>
                <a:gd name="T55" fmla="*/ 14 h 28"/>
                <a:gd name="T56" fmla="*/ 9 w 28"/>
                <a:gd name="T57" fmla="*/ 12 h 28"/>
                <a:gd name="T58" fmla="*/ 7 w 28"/>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28">
                  <a:moveTo>
                    <a:pt x="7" y="12"/>
                  </a:moveTo>
                  <a:lnTo>
                    <a:pt x="7" y="14"/>
                  </a:lnTo>
                  <a:lnTo>
                    <a:pt x="9" y="24"/>
                  </a:lnTo>
                  <a:lnTo>
                    <a:pt x="14" y="21"/>
                  </a:lnTo>
                  <a:lnTo>
                    <a:pt x="16" y="21"/>
                  </a:lnTo>
                  <a:lnTo>
                    <a:pt x="19" y="24"/>
                  </a:lnTo>
                  <a:lnTo>
                    <a:pt x="19" y="26"/>
                  </a:lnTo>
                  <a:lnTo>
                    <a:pt x="26" y="28"/>
                  </a:lnTo>
                  <a:lnTo>
                    <a:pt x="26" y="28"/>
                  </a:lnTo>
                  <a:lnTo>
                    <a:pt x="28" y="26"/>
                  </a:lnTo>
                  <a:lnTo>
                    <a:pt x="28" y="24"/>
                  </a:lnTo>
                  <a:lnTo>
                    <a:pt x="28" y="21"/>
                  </a:lnTo>
                  <a:lnTo>
                    <a:pt x="26" y="19"/>
                  </a:lnTo>
                  <a:lnTo>
                    <a:pt x="19" y="17"/>
                  </a:lnTo>
                  <a:lnTo>
                    <a:pt x="16" y="14"/>
                  </a:lnTo>
                  <a:lnTo>
                    <a:pt x="16" y="9"/>
                  </a:lnTo>
                  <a:lnTo>
                    <a:pt x="14" y="7"/>
                  </a:lnTo>
                  <a:lnTo>
                    <a:pt x="7" y="2"/>
                  </a:lnTo>
                  <a:lnTo>
                    <a:pt x="5" y="0"/>
                  </a:lnTo>
                  <a:lnTo>
                    <a:pt x="2" y="0"/>
                  </a:lnTo>
                  <a:lnTo>
                    <a:pt x="2" y="0"/>
                  </a:lnTo>
                  <a:lnTo>
                    <a:pt x="0" y="0"/>
                  </a:lnTo>
                  <a:lnTo>
                    <a:pt x="0" y="2"/>
                  </a:lnTo>
                  <a:lnTo>
                    <a:pt x="0" y="5"/>
                  </a:lnTo>
                  <a:lnTo>
                    <a:pt x="0" y="7"/>
                  </a:lnTo>
                  <a:lnTo>
                    <a:pt x="2" y="9"/>
                  </a:lnTo>
                  <a:lnTo>
                    <a:pt x="12" y="9"/>
                  </a:lnTo>
                  <a:lnTo>
                    <a:pt x="12" y="14"/>
                  </a:lnTo>
                  <a:lnTo>
                    <a:pt x="9" y="12"/>
                  </a:lnTo>
                  <a:lnTo>
                    <a:pt x="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91" name="Freeform 312">
              <a:extLst>
                <a:ext uri="{FF2B5EF4-FFF2-40B4-BE49-F238E27FC236}">
                  <a16:creationId xmlns:a16="http://schemas.microsoft.com/office/drawing/2014/main" id="{A5AB3D57-087C-4A83-97F1-71D6BD8010C4}"/>
                </a:ext>
              </a:extLst>
            </p:cNvPr>
            <p:cNvSpPr>
              <a:spLocks/>
            </p:cNvSpPr>
            <p:nvPr/>
          </p:nvSpPr>
          <p:spPr bwMode="gray">
            <a:xfrm>
              <a:off x="-2203" y="-62"/>
              <a:ext cx="23" cy="28"/>
            </a:xfrm>
            <a:custGeom>
              <a:avLst/>
              <a:gdLst>
                <a:gd name="T0" fmla="*/ 0 w 23"/>
                <a:gd name="T1" fmla="*/ 23 h 28"/>
                <a:gd name="T2" fmla="*/ 7 w 23"/>
                <a:gd name="T3" fmla="*/ 23 h 28"/>
                <a:gd name="T4" fmla="*/ 7 w 23"/>
                <a:gd name="T5" fmla="*/ 26 h 28"/>
                <a:gd name="T6" fmla="*/ 7 w 23"/>
                <a:gd name="T7" fmla="*/ 28 h 28"/>
                <a:gd name="T8" fmla="*/ 7 w 23"/>
                <a:gd name="T9" fmla="*/ 28 h 28"/>
                <a:gd name="T10" fmla="*/ 9 w 23"/>
                <a:gd name="T11" fmla="*/ 28 h 28"/>
                <a:gd name="T12" fmla="*/ 9 w 23"/>
                <a:gd name="T13" fmla="*/ 28 h 28"/>
                <a:gd name="T14" fmla="*/ 16 w 23"/>
                <a:gd name="T15" fmla="*/ 23 h 28"/>
                <a:gd name="T16" fmla="*/ 16 w 23"/>
                <a:gd name="T17" fmla="*/ 21 h 28"/>
                <a:gd name="T18" fmla="*/ 16 w 23"/>
                <a:gd name="T19" fmla="*/ 21 h 28"/>
                <a:gd name="T20" fmla="*/ 18 w 23"/>
                <a:gd name="T21" fmla="*/ 21 h 28"/>
                <a:gd name="T22" fmla="*/ 21 w 23"/>
                <a:gd name="T23" fmla="*/ 19 h 28"/>
                <a:gd name="T24" fmla="*/ 23 w 23"/>
                <a:gd name="T25" fmla="*/ 19 h 28"/>
                <a:gd name="T26" fmla="*/ 23 w 23"/>
                <a:gd name="T27" fmla="*/ 19 h 28"/>
                <a:gd name="T28" fmla="*/ 21 w 23"/>
                <a:gd name="T29" fmla="*/ 16 h 28"/>
                <a:gd name="T30" fmla="*/ 18 w 23"/>
                <a:gd name="T31" fmla="*/ 11 h 28"/>
                <a:gd name="T32" fmla="*/ 18 w 23"/>
                <a:gd name="T33" fmla="*/ 11 h 28"/>
                <a:gd name="T34" fmla="*/ 18 w 23"/>
                <a:gd name="T35" fmla="*/ 11 h 28"/>
                <a:gd name="T36" fmla="*/ 18 w 23"/>
                <a:gd name="T37" fmla="*/ 9 h 28"/>
                <a:gd name="T38" fmla="*/ 18 w 23"/>
                <a:gd name="T39" fmla="*/ 7 h 28"/>
                <a:gd name="T40" fmla="*/ 18 w 23"/>
                <a:gd name="T41" fmla="*/ 4 h 28"/>
                <a:gd name="T42" fmla="*/ 18 w 23"/>
                <a:gd name="T43" fmla="*/ 2 h 28"/>
                <a:gd name="T44" fmla="*/ 18 w 23"/>
                <a:gd name="T45" fmla="*/ 2 h 28"/>
                <a:gd name="T46" fmla="*/ 16 w 23"/>
                <a:gd name="T47" fmla="*/ 0 h 28"/>
                <a:gd name="T48" fmla="*/ 14 w 23"/>
                <a:gd name="T49" fmla="*/ 0 h 28"/>
                <a:gd name="T50" fmla="*/ 16 w 23"/>
                <a:gd name="T51" fmla="*/ 4 h 28"/>
                <a:gd name="T52" fmla="*/ 16 w 23"/>
                <a:gd name="T53" fmla="*/ 7 h 28"/>
                <a:gd name="T54" fmla="*/ 14 w 23"/>
                <a:gd name="T55" fmla="*/ 9 h 28"/>
                <a:gd name="T56" fmla="*/ 14 w 23"/>
                <a:gd name="T57" fmla="*/ 9 h 28"/>
                <a:gd name="T58" fmla="*/ 14 w 23"/>
                <a:gd name="T59" fmla="*/ 9 h 28"/>
                <a:gd name="T60" fmla="*/ 11 w 23"/>
                <a:gd name="T61" fmla="*/ 11 h 28"/>
                <a:gd name="T62" fmla="*/ 14 w 23"/>
                <a:gd name="T63" fmla="*/ 11 h 28"/>
                <a:gd name="T64" fmla="*/ 14 w 23"/>
                <a:gd name="T65" fmla="*/ 14 h 28"/>
                <a:gd name="T66" fmla="*/ 14 w 23"/>
                <a:gd name="T67" fmla="*/ 16 h 28"/>
                <a:gd name="T68" fmla="*/ 11 w 23"/>
                <a:gd name="T69" fmla="*/ 16 h 28"/>
                <a:gd name="T70" fmla="*/ 9 w 23"/>
                <a:gd name="T71" fmla="*/ 11 h 28"/>
                <a:gd name="T72" fmla="*/ 9 w 23"/>
                <a:gd name="T73" fmla="*/ 11 h 28"/>
                <a:gd name="T74" fmla="*/ 7 w 23"/>
                <a:gd name="T75" fmla="*/ 11 h 28"/>
                <a:gd name="T76" fmla="*/ 7 w 23"/>
                <a:gd name="T77" fmla="*/ 9 h 28"/>
                <a:gd name="T78" fmla="*/ 2 w 23"/>
                <a:gd name="T79" fmla="*/ 9 h 28"/>
                <a:gd name="T80" fmla="*/ 2 w 23"/>
                <a:gd name="T81" fmla="*/ 9 h 28"/>
                <a:gd name="T82" fmla="*/ 2 w 23"/>
                <a:gd name="T83" fmla="*/ 11 h 28"/>
                <a:gd name="T84" fmla="*/ 2 w 23"/>
                <a:gd name="T85" fmla="*/ 11 h 28"/>
                <a:gd name="T86" fmla="*/ 2 w 23"/>
                <a:gd name="T87" fmla="*/ 11 h 28"/>
                <a:gd name="T88" fmla="*/ 4 w 23"/>
                <a:gd name="T89" fmla="*/ 11 h 28"/>
                <a:gd name="T90" fmla="*/ 2 w 23"/>
                <a:gd name="T91" fmla="*/ 11 h 28"/>
                <a:gd name="T92" fmla="*/ 2 w 23"/>
                <a:gd name="T93" fmla="*/ 14 h 28"/>
                <a:gd name="T94" fmla="*/ 2 w 23"/>
                <a:gd name="T95" fmla="*/ 14 h 28"/>
                <a:gd name="T96" fmla="*/ 4 w 23"/>
                <a:gd name="T97" fmla="*/ 16 h 28"/>
                <a:gd name="T98" fmla="*/ 2 w 23"/>
                <a:gd name="T99" fmla="*/ 16 h 28"/>
                <a:gd name="T100" fmla="*/ 0 w 23"/>
                <a:gd name="T101" fmla="*/ 19 h 28"/>
                <a:gd name="T102" fmla="*/ 0 w 23"/>
                <a:gd name="T103" fmla="*/ 19 h 28"/>
                <a:gd name="T104" fmla="*/ 0 w 23"/>
                <a:gd name="T105" fmla="*/ 21 h 28"/>
                <a:gd name="T106" fmla="*/ 0 w 23"/>
                <a:gd name="T107" fmla="*/ 2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 h="28">
                  <a:moveTo>
                    <a:pt x="0" y="23"/>
                  </a:moveTo>
                  <a:lnTo>
                    <a:pt x="7" y="23"/>
                  </a:lnTo>
                  <a:lnTo>
                    <a:pt x="7" y="26"/>
                  </a:lnTo>
                  <a:lnTo>
                    <a:pt x="7" y="28"/>
                  </a:lnTo>
                  <a:lnTo>
                    <a:pt x="7" y="28"/>
                  </a:lnTo>
                  <a:lnTo>
                    <a:pt x="9" y="28"/>
                  </a:lnTo>
                  <a:lnTo>
                    <a:pt x="9" y="28"/>
                  </a:lnTo>
                  <a:lnTo>
                    <a:pt x="16" y="23"/>
                  </a:lnTo>
                  <a:lnTo>
                    <a:pt x="16" y="21"/>
                  </a:lnTo>
                  <a:lnTo>
                    <a:pt x="16" y="21"/>
                  </a:lnTo>
                  <a:lnTo>
                    <a:pt x="18" y="21"/>
                  </a:lnTo>
                  <a:lnTo>
                    <a:pt x="21" y="19"/>
                  </a:lnTo>
                  <a:lnTo>
                    <a:pt x="23" y="19"/>
                  </a:lnTo>
                  <a:lnTo>
                    <a:pt x="23" y="19"/>
                  </a:lnTo>
                  <a:lnTo>
                    <a:pt x="21" y="16"/>
                  </a:lnTo>
                  <a:lnTo>
                    <a:pt x="18" y="11"/>
                  </a:lnTo>
                  <a:lnTo>
                    <a:pt x="18" y="11"/>
                  </a:lnTo>
                  <a:lnTo>
                    <a:pt x="18" y="11"/>
                  </a:lnTo>
                  <a:lnTo>
                    <a:pt x="18" y="9"/>
                  </a:lnTo>
                  <a:lnTo>
                    <a:pt x="18" y="7"/>
                  </a:lnTo>
                  <a:lnTo>
                    <a:pt x="18" y="4"/>
                  </a:lnTo>
                  <a:lnTo>
                    <a:pt x="18" y="2"/>
                  </a:lnTo>
                  <a:lnTo>
                    <a:pt x="18" y="2"/>
                  </a:lnTo>
                  <a:lnTo>
                    <a:pt x="16" y="0"/>
                  </a:lnTo>
                  <a:lnTo>
                    <a:pt x="14" y="0"/>
                  </a:lnTo>
                  <a:lnTo>
                    <a:pt x="16" y="4"/>
                  </a:lnTo>
                  <a:lnTo>
                    <a:pt x="16" y="7"/>
                  </a:lnTo>
                  <a:lnTo>
                    <a:pt x="14" y="9"/>
                  </a:lnTo>
                  <a:lnTo>
                    <a:pt x="14" y="9"/>
                  </a:lnTo>
                  <a:lnTo>
                    <a:pt x="14" y="9"/>
                  </a:lnTo>
                  <a:lnTo>
                    <a:pt x="11" y="11"/>
                  </a:lnTo>
                  <a:lnTo>
                    <a:pt x="14" y="11"/>
                  </a:lnTo>
                  <a:lnTo>
                    <a:pt x="14" y="14"/>
                  </a:lnTo>
                  <a:lnTo>
                    <a:pt x="14" y="16"/>
                  </a:lnTo>
                  <a:lnTo>
                    <a:pt x="11" y="16"/>
                  </a:lnTo>
                  <a:lnTo>
                    <a:pt x="9" y="11"/>
                  </a:lnTo>
                  <a:lnTo>
                    <a:pt x="9" y="11"/>
                  </a:lnTo>
                  <a:lnTo>
                    <a:pt x="7" y="11"/>
                  </a:lnTo>
                  <a:lnTo>
                    <a:pt x="7" y="9"/>
                  </a:lnTo>
                  <a:lnTo>
                    <a:pt x="2" y="9"/>
                  </a:lnTo>
                  <a:lnTo>
                    <a:pt x="2" y="9"/>
                  </a:lnTo>
                  <a:lnTo>
                    <a:pt x="2" y="11"/>
                  </a:lnTo>
                  <a:lnTo>
                    <a:pt x="2" y="11"/>
                  </a:lnTo>
                  <a:lnTo>
                    <a:pt x="2" y="11"/>
                  </a:lnTo>
                  <a:lnTo>
                    <a:pt x="4" y="11"/>
                  </a:lnTo>
                  <a:lnTo>
                    <a:pt x="2" y="11"/>
                  </a:lnTo>
                  <a:lnTo>
                    <a:pt x="2" y="14"/>
                  </a:lnTo>
                  <a:lnTo>
                    <a:pt x="2" y="14"/>
                  </a:lnTo>
                  <a:lnTo>
                    <a:pt x="4" y="16"/>
                  </a:lnTo>
                  <a:lnTo>
                    <a:pt x="2" y="16"/>
                  </a:lnTo>
                  <a:lnTo>
                    <a:pt x="0" y="19"/>
                  </a:lnTo>
                  <a:lnTo>
                    <a:pt x="0" y="19"/>
                  </a:lnTo>
                  <a:lnTo>
                    <a:pt x="0" y="21"/>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92" name="Freeform 313">
              <a:extLst>
                <a:ext uri="{FF2B5EF4-FFF2-40B4-BE49-F238E27FC236}">
                  <a16:creationId xmlns:a16="http://schemas.microsoft.com/office/drawing/2014/main" id="{1F563079-38D6-4B8A-9BDF-F6D1B69E185C}"/>
                </a:ext>
              </a:extLst>
            </p:cNvPr>
            <p:cNvSpPr>
              <a:spLocks/>
            </p:cNvSpPr>
            <p:nvPr/>
          </p:nvSpPr>
          <p:spPr bwMode="gray">
            <a:xfrm>
              <a:off x="-2031" y="-208"/>
              <a:ext cx="7" cy="9"/>
            </a:xfrm>
            <a:custGeom>
              <a:avLst/>
              <a:gdLst>
                <a:gd name="T0" fmla="*/ 2 w 7"/>
                <a:gd name="T1" fmla="*/ 4 h 9"/>
                <a:gd name="T2" fmla="*/ 2 w 7"/>
                <a:gd name="T3" fmla="*/ 4 h 9"/>
                <a:gd name="T4" fmla="*/ 2 w 7"/>
                <a:gd name="T5" fmla="*/ 4 h 9"/>
                <a:gd name="T6" fmla="*/ 5 w 7"/>
                <a:gd name="T7" fmla="*/ 4 h 9"/>
                <a:gd name="T8" fmla="*/ 2 w 7"/>
                <a:gd name="T9" fmla="*/ 4 h 9"/>
                <a:gd name="T10" fmla="*/ 2 w 7"/>
                <a:gd name="T11" fmla="*/ 7 h 9"/>
                <a:gd name="T12" fmla="*/ 2 w 7"/>
                <a:gd name="T13" fmla="*/ 7 h 9"/>
                <a:gd name="T14" fmla="*/ 2 w 7"/>
                <a:gd name="T15" fmla="*/ 7 h 9"/>
                <a:gd name="T16" fmla="*/ 5 w 7"/>
                <a:gd name="T17" fmla="*/ 7 h 9"/>
                <a:gd name="T18" fmla="*/ 5 w 7"/>
                <a:gd name="T19" fmla="*/ 9 h 9"/>
                <a:gd name="T20" fmla="*/ 5 w 7"/>
                <a:gd name="T21" fmla="*/ 9 h 9"/>
                <a:gd name="T22" fmla="*/ 7 w 7"/>
                <a:gd name="T23" fmla="*/ 7 h 9"/>
                <a:gd name="T24" fmla="*/ 7 w 7"/>
                <a:gd name="T25" fmla="*/ 7 h 9"/>
                <a:gd name="T26" fmla="*/ 7 w 7"/>
                <a:gd name="T27" fmla="*/ 4 h 9"/>
                <a:gd name="T28" fmla="*/ 7 w 7"/>
                <a:gd name="T29" fmla="*/ 4 h 9"/>
                <a:gd name="T30" fmla="*/ 7 w 7"/>
                <a:gd name="T31" fmla="*/ 4 h 9"/>
                <a:gd name="T32" fmla="*/ 7 w 7"/>
                <a:gd name="T33" fmla="*/ 2 h 9"/>
                <a:gd name="T34" fmla="*/ 7 w 7"/>
                <a:gd name="T35" fmla="*/ 2 h 9"/>
                <a:gd name="T36" fmla="*/ 5 w 7"/>
                <a:gd name="T37" fmla="*/ 0 h 9"/>
                <a:gd name="T38" fmla="*/ 5 w 7"/>
                <a:gd name="T39" fmla="*/ 0 h 9"/>
                <a:gd name="T40" fmla="*/ 5 w 7"/>
                <a:gd name="T41" fmla="*/ 2 h 9"/>
                <a:gd name="T42" fmla="*/ 2 w 7"/>
                <a:gd name="T43" fmla="*/ 2 h 9"/>
                <a:gd name="T44" fmla="*/ 2 w 7"/>
                <a:gd name="T45" fmla="*/ 2 h 9"/>
                <a:gd name="T46" fmla="*/ 0 w 7"/>
                <a:gd name="T47" fmla="*/ 2 h 9"/>
                <a:gd name="T48" fmla="*/ 2 w 7"/>
                <a:gd name="T49" fmla="*/ 4 h 9"/>
                <a:gd name="T50" fmla="*/ 2 w 7"/>
                <a:gd name="T51"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 h="9">
                  <a:moveTo>
                    <a:pt x="2" y="4"/>
                  </a:moveTo>
                  <a:lnTo>
                    <a:pt x="2" y="4"/>
                  </a:lnTo>
                  <a:lnTo>
                    <a:pt x="2" y="4"/>
                  </a:lnTo>
                  <a:lnTo>
                    <a:pt x="5" y="4"/>
                  </a:lnTo>
                  <a:lnTo>
                    <a:pt x="2" y="4"/>
                  </a:lnTo>
                  <a:lnTo>
                    <a:pt x="2" y="7"/>
                  </a:lnTo>
                  <a:lnTo>
                    <a:pt x="2" y="7"/>
                  </a:lnTo>
                  <a:lnTo>
                    <a:pt x="2" y="7"/>
                  </a:lnTo>
                  <a:lnTo>
                    <a:pt x="5" y="7"/>
                  </a:lnTo>
                  <a:lnTo>
                    <a:pt x="5" y="9"/>
                  </a:lnTo>
                  <a:lnTo>
                    <a:pt x="5" y="9"/>
                  </a:lnTo>
                  <a:lnTo>
                    <a:pt x="7" y="7"/>
                  </a:lnTo>
                  <a:lnTo>
                    <a:pt x="7" y="7"/>
                  </a:lnTo>
                  <a:lnTo>
                    <a:pt x="7" y="4"/>
                  </a:lnTo>
                  <a:lnTo>
                    <a:pt x="7" y="4"/>
                  </a:lnTo>
                  <a:lnTo>
                    <a:pt x="7" y="4"/>
                  </a:lnTo>
                  <a:lnTo>
                    <a:pt x="7" y="2"/>
                  </a:lnTo>
                  <a:lnTo>
                    <a:pt x="7" y="2"/>
                  </a:lnTo>
                  <a:lnTo>
                    <a:pt x="5" y="0"/>
                  </a:lnTo>
                  <a:lnTo>
                    <a:pt x="5" y="0"/>
                  </a:lnTo>
                  <a:lnTo>
                    <a:pt x="5" y="2"/>
                  </a:lnTo>
                  <a:lnTo>
                    <a:pt x="2" y="2"/>
                  </a:lnTo>
                  <a:lnTo>
                    <a:pt x="2" y="2"/>
                  </a:lnTo>
                  <a:lnTo>
                    <a:pt x="0" y="2"/>
                  </a:lnTo>
                  <a:lnTo>
                    <a:pt x="2" y="4"/>
                  </a:lnTo>
                  <a:lnTo>
                    <a:pt x="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93" name="Freeform 314">
              <a:extLst>
                <a:ext uri="{FF2B5EF4-FFF2-40B4-BE49-F238E27FC236}">
                  <a16:creationId xmlns:a16="http://schemas.microsoft.com/office/drawing/2014/main" id="{6278E179-DDD8-481A-A6BA-894A2C2890A0}"/>
                </a:ext>
              </a:extLst>
            </p:cNvPr>
            <p:cNvSpPr>
              <a:spLocks/>
            </p:cNvSpPr>
            <p:nvPr/>
          </p:nvSpPr>
          <p:spPr bwMode="gray">
            <a:xfrm>
              <a:off x="-2088" y="-147"/>
              <a:ext cx="10" cy="9"/>
            </a:xfrm>
            <a:custGeom>
              <a:avLst/>
              <a:gdLst>
                <a:gd name="T0" fmla="*/ 3 w 10"/>
                <a:gd name="T1" fmla="*/ 9 h 9"/>
                <a:gd name="T2" fmla="*/ 7 w 10"/>
                <a:gd name="T3" fmla="*/ 7 h 9"/>
                <a:gd name="T4" fmla="*/ 7 w 10"/>
                <a:gd name="T5" fmla="*/ 7 h 9"/>
                <a:gd name="T6" fmla="*/ 10 w 10"/>
                <a:gd name="T7" fmla="*/ 5 h 9"/>
                <a:gd name="T8" fmla="*/ 10 w 10"/>
                <a:gd name="T9" fmla="*/ 5 h 9"/>
                <a:gd name="T10" fmla="*/ 10 w 10"/>
                <a:gd name="T11" fmla="*/ 2 h 9"/>
                <a:gd name="T12" fmla="*/ 10 w 10"/>
                <a:gd name="T13" fmla="*/ 2 h 9"/>
                <a:gd name="T14" fmla="*/ 10 w 10"/>
                <a:gd name="T15" fmla="*/ 2 h 9"/>
                <a:gd name="T16" fmla="*/ 10 w 10"/>
                <a:gd name="T17" fmla="*/ 2 h 9"/>
                <a:gd name="T18" fmla="*/ 10 w 10"/>
                <a:gd name="T19" fmla="*/ 2 h 9"/>
                <a:gd name="T20" fmla="*/ 7 w 10"/>
                <a:gd name="T21" fmla="*/ 2 h 9"/>
                <a:gd name="T22" fmla="*/ 7 w 10"/>
                <a:gd name="T23" fmla="*/ 2 h 9"/>
                <a:gd name="T24" fmla="*/ 7 w 10"/>
                <a:gd name="T25" fmla="*/ 2 h 9"/>
                <a:gd name="T26" fmla="*/ 5 w 10"/>
                <a:gd name="T27" fmla="*/ 0 h 9"/>
                <a:gd name="T28" fmla="*/ 5 w 10"/>
                <a:gd name="T29" fmla="*/ 0 h 9"/>
                <a:gd name="T30" fmla="*/ 3 w 10"/>
                <a:gd name="T31" fmla="*/ 0 h 9"/>
                <a:gd name="T32" fmla="*/ 3 w 10"/>
                <a:gd name="T33" fmla="*/ 0 h 9"/>
                <a:gd name="T34" fmla="*/ 3 w 10"/>
                <a:gd name="T35" fmla="*/ 2 h 9"/>
                <a:gd name="T36" fmla="*/ 3 w 10"/>
                <a:gd name="T37" fmla="*/ 2 h 9"/>
                <a:gd name="T38" fmla="*/ 0 w 10"/>
                <a:gd name="T39" fmla="*/ 5 h 9"/>
                <a:gd name="T40" fmla="*/ 0 w 10"/>
                <a:gd name="T41" fmla="*/ 5 h 9"/>
                <a:gd name="T42" fmla="*/ 0 w 10"/>
                <a:gd name="T43" fmla="*/ 5 h 9"/>
                <a:gd name="T44" fmla="*/ 0 w 10"/>
                <a:gd name="T45" fmla="*/ 7 h 9"/>
                <a:gd name="T46" fmla="*/ 0 w 10"/>
                <a:gd name="T47" fmla="*/ 7 h 9"/>
                <a:gd name="T48" fmla="*/ 0 w 10"/>
                <a:gd name="T49" fmla="*/ 7 h 9"/>
                <a:gd name="T50" fmla="*/ 3 w 10"/>
                <a:gd name="T5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 h="9">
                  <a:moveTo>
                    <a:pt x="3" y="9"/>
                  </a:moveTo>
                  <a:lnTo>
                    <a:pt x="7" y="7"/>
                  </a:lnTo>
                  <a:lnTo>
                    <a:pt x="7" y="7"/>
                  </a:lnTo>
                  <a:lnTo>
                    <a:pt x="10" y="5"/>
                  </a:lnTo>
                  <a:lnTo>
                    <a:pt x="10" y="5"/>
                  </a:lnTo>
                  <a:lnTo>
                    <a:pt x="10" y="2"/>
                  </a:lnTo>
                  <a:lnTo>
                    <a:pt x="10" y="2"/>
                  </a:lnTo>
                  <a:lnTo>
                    <a:pt x="10" y="2"/>
                  </a:lnTo>
                  <a:lnTo>
                    <a:pt x="10" y="2"/>
                  </a:lnTo>
                  <a:lnTo>
                    <a:pt x="10" y="2"/>
                  </a:lnTo>
                  <a:lnTo>
                    <a:pt x="7" y="2"/>
                  </a:lnTo>
                  <a:lnTo>
                    <a:pt x="7" y="2"/>
                  </a:lnTo>
                  <a:lnTo>
                    <a:pt x="7" y="2"/>
                  </a:lnTo>
                  <a:lnTo>
                    <a:pt x="5" y="0"/>
                  </a:lnTo>
                  <a:lnTo>
                    <a:pt x="5" y="0"/>
                  </a:lnTo>
                  <a:lnTo>
                    <a:pt x="3" y="0"/>
                  </a:lnTo>
                  <a:lnTo>
                    <a:pt x="3" y="0"/>
                  </a:lnTo>
                  <a:lnTo>
                    <a:pt x="3" y="2"/>
                  </a:lnTo>
                  <a:lnTo>
                    <a:pt x="3" y="2"/>
                  </a:lnTo>
                  <a:lnTo>
                    <a:pt x="0" y="5"/>
                  </a:lnTo>
                  <a:lnTo>
                    <a:pt x="0" y="5"/>
                  </a:lnTo>
                  <a:lnTo>
                    <a:pt x="0" y="5"/>
                  </a:lnTo>
                  <a:lnTo>
                    <a:pt x="0" y="7"/>
                  </a:lnTo>
                  <a:lnTo>
                    <a:pt x="0" y="7"/>
                  </a:lnTo>
                  <a:lnTo>
                    <a:pt x="0" y="7"/>
                  </a:lnTo>
                  <a:lnTo>
                    <a:pt x="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95" name="Freeform 315">
              <a:extLst>
                <a:ext uri="{FF2B5EF4-FFF2-40B4-BE49-F238E27FC236}">
                  <a16:creationId xmlns:a16="http://schemas.microsoft.com/office/drawing/2014/main" id="{E2D0FCAE-1A55-42CB-AADC-7EAFCDFEAF42}"/>
                </a:ext>
              </a:extLst>
            </p:cNvPr>
            <p:cNvSpPr>
              <a:spLocks/>
            </p:cNvSpPr>
            <p:nvPr/>
          </p:nvSpPr>
          <p:spPr bwMode="gray">
            <a:xfrm>
              <a:off x="-2140" y="-145"/>
              <a:ext cx="62" cy="36"/>
            </a:xfrm>
            <a:custGeom>
              <a:avLst/>
              <a:gdLst>
                <a:gd name="T0" fmla="*/ 24 w 62"/>
                <a:gd name="T1" fmla="*/ 7 h 36"/>
                <a:gd name="T2" fmla="*/ 19 w 62"/>
                <a:gd name="T3" fmla="*/ 7 h 36"/>
                <a:gd name="T4" fmla="*/ 22 w 62"/>
                <a:gd name="T5" fmla="*/ 10 h 36"/>
                <a:gd name="T6" fmla="*/ 31 w 62"/>
                <a:gd name="T7" fmla="*/ 14 h 36"/>
                <a:gd name="T8" fmla="*/ 29 w 62"/>
                <a:gd name="T9" fmla="*/ 14 h 36"/>
                <a:gd name="T10" fmla="*/ 12 w 62"/>
                <a:gd name="T11" fmla="*/ 14 h 36"/>
                <a:gd name="T12" fmla="*/ 3 w 62"/>
                <a:gd name="T13" fmla="*/ 21 h 36"/>
                <a:gd name="T14" fmla="*/ 0 w 62"/>
                <a:gd name="T15" fmla="*/ 26 h 36"/>
                <a:gd name="T16" fmla="*/ 0 w 62"/>
                <a:gd name="T17" fmla="*/ 29 h 36"/>
                <a:gd name="T18" fmla="*/ 0 w 62"/>
                <a:gd name="T19" fmla="*/ 33 h 36"/>
                <a:gd name="T20" fmla="*/ 3 w 62"/>
                <a:gd name="T21" fmla="*/ 33 h 36"/>
                <a:gd name="T22" fmla="*/ 3 w 62"/>
                <a:gd name="T23" fmla="*/ 31 h 36"/>
                <a:gd name="T24" fmla="*/ 3 w 62"/>
                <a:gd name="T25" fmla="*/ 31 h 36"/>
                <a:gd name="T26" fmla="*/ 5 w 62"/>
                <a:gd name="T27" fmla="*/ 31 h 36"/>
                <a:gd name="T28" fmla="*/ 5 w 62"/>
                <a:gd name="T29" fmla="*/ 31 h 36"/>
                <a:gd name="T30" fmla="*/ 10 w 62"/>
                <a:gd name="T31" fmla="*/ 36 h 36"/>
                <a:gd name="T32" fmla="*/ 17 w 62"/>
                <a:gd name="T33" fmla="*/ 33 h 36"/>
                <a:gd name="T34" fmla="*/ 26 w 62"/>
                <a:gd name="T35" fmla="*/ 29 h 36"/>
                <a:gd name="T36" fmla="*/ 40 w 62"/>
                <a:gd name="T37" fmla="*/ 26 h 36"/>
                <a:gd name="T38" fmla="*/ 62 w 62"/>
                <a:gd name="T39" fmla="*/ 14 h 36"/>
                <a:gd name="T40" fmla="*/ 62 w 62"/>
                <a:gd name="T41" fmla="*/ 14 h 36"/>
                <a:gd name="T42" fmla="*/ 59 w 62"/>
                <a:gd name="T43" fmla="*/ 12 h 36"/>
                <a:gd name="T44" fmla="*/ 59 w 62"/>
                <a:gd name="T45" fmla="*/ 12 h 36"/>
                <a:gd name="T46" fmla="*/ 57 w 62"/>
                <a:gd name="T47" fmla="*/ 7 h 36"/>
                <a:gd name="T48" fmla="*/ 52 w 62"/>
                <a:gd name="T49" fmla="*/ 10 h 36"/>
                <a:gd name="T50" fmla="*/ 47 w 62"/>
                <a:gd name="T51" fmla="*/ 5 h 36"/>
                <a:gd name="T52" fmla="*/ 47 w 62"/>
                <a:gd name="T53" fmla="*/ 5 h 36"/>
                <a:gd name="T54" fmla="*/ 47 w 62"/>
                <a:gd name="T55" fmla="*/ 3 h 36"/>
                <a:gd name="T56" fmla="*/ 50 w 62"/>
                <a:gd name="T57" fmla="*/ 3 h 36"/>
                <a:gd name="T58" fmla="*/ 47 w 62"/>
                <a:gd name="T59" fmla="*/ 0 h 36"/>
                <a:gd name="T60" fmla="*/ 43 w 62"/>
                <a:gd name="T61" fmla="*/ 0 h 36"/>
                <a:gd name="T62" fmla="*/ 40 w 62"/>
                <a:gd name="T63" fmla="*/ 3 h 36"/>
                <a:gd name="T64" fmla="*/ 40 w 62"/>
                <a:gd name="T65" fmla="*/ 5 h 36"/>
                <a:gd name="T66" fmla="*/ 38 w 62"/>
                <a:gd name="T67" fmla="*/ 5 h 36"/>
                <a:gd name="T68" fmla="*/ 36 w 62"/>
                <a:gd name="T6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2" h="36">
                  <a:moveTo>
                    <a:pt x="36" y="3"/>
                  </a:moveTo>
                  <a:lnTo>
                    <a:pt x="24" y="7"/>
                  </a:lnTo>
                  <a:lnTo>
                    <a:pt x="22" y="7"/>
                  </a:lnTo>
                  <a:lnTo>
                    <a:pt x="19" y="7"/>
                  </a:lnTo>
                  <a:lnTo>
                    <a:pt x="19" y="7"/>
                  </a:lnTo>
                  <a:lnTo>
                    <a:pt x="22" y="10"/>
                  </a:lnTo>
                  <a:lnTo>
                    <a:pt x="29" y="12"/>
                  </a:lnTo>
                  <a:lnTo>
                    <a:pt x="31" y="14"/>
                  </a:lnTo>
                  <a:lnTo>
                    <a:pt x="31" y="14"/>
                  </a:lnTo>
                  <a:lnTo>
                    <a:pt x="29" y="14"/>
                  </a:lnTo>
                  <a:lnTo>
                    <a:pt x="24" y="12"/>
                  </a:lnTo>
                  <a:lnTo>
                    <a:pt x="12" y="14"/>
                  </a:lnTo>
                  <a:lnTo>
                    <a:pt x="10" y="14"/>
                  </a:lnTo>
                  <a:lnTo>
                    <a:pt x="3" y="21"/>
                  </a:lnTo>
                  <a:lnTo>
                    <a:pt x="0" y="24"/>
                  </a:lnTo>
                  <a:lnTo>
                    <a:pt x="0" y="26"/>
                  </a:lnTo>
                  <a:lnTo>
                    <a:pt x="0" y="29"/>
                  </a:lnTo>
                  <a:lnTo>
                    <a:pt x="0" y="29"/>
                  </a:lnTo>
                  <a:lnTo>
                    <a:pt x="0" y="31"/>
                  </a:lnTo>
                  <a:lnTo>
                    <a:pt x="0" y="33"/>
                  </a:lnTo>
                  <a:lnTo>
                    <a:pt x="0" y="33"/>
                  </a:lnTo>
                  <a:lnTo>
                    <a:pt x="3" y="33"/>
                  </a:lnTo>
                  <a:lnTo>
                    <a:pt x="3" y="33"/>
                  </a:lnTo>
                  <a:lnTo>
                    <a:pt x="3" y="31"/>
                  </a:lnTo>
                  <a:lnTo>
                    <a:pt x="3" y="31"/>
                  </a:lnTo>
                  <a:lnTo>
                    <a:pt x="3" y="31"/>
                  </a:lnTo>
                  <a:lnTo>
                    <a:pt x="5" y="31"/>
                  </a:lnTo>
                  <a:lnTo>
                    <a:pt x="5" y="31"/>
                  </a:lnTo>
                  <a:lnTo>
                    <a:pt x="5" y="31"/>
                  </a:lnTo>
                  <a:lnTo>
                    <a:pt x="5" y="31"/>
                  </a:lnTo>
                  <a:lnTo>
                    <a:pt x="7" y="33"/>
                  </a:lnTo>
                  <a:lnTo>
                    <a:pt x="10" y="36"/>
                  </a:lnTo>
                  <a:lnTo>
                    <a:pt x="14" y="36"/>
                  </a:lnTo>
                  <a:lnTo>
                    <a:pt x="17" y="33"/>
                  </a:lnTo>
                  <a:lnTo>
                    <a:pt x="19" y="31"/>
                  </a:lnTo>
                  <a:lnTo>
                    <a:pt x="26" y="29"/>
                  </a:lnTo>
                  <a:lnTo>
                    <a:pt x="31" y="26"/>
                  </a:lnTo>
                  <a:lnTo>
                    <a:pt x="40" y="26"/>
                  </a:lnTo>
                  <a:lnTo>
                    <a:pt x="57" y="19"/>
                  </a:lnTo>
                  <a:lnTo>
                    <a:pt x="62" y="14"/>
                  </a:lnTo>
                  <a:lnTo>
                    <a:pt x="62" y="14"/>
                  </a:lnTo>
                  <a:lnTo>
                    <a:pt x="62" y="14"/>
                  </a:lnTo>
                  <a:lnTo>
                    <a:pt x="59" y="14"/>
                  </a:lnTo>
                  <a:lnTo>
                    <a:pt x="59" y="12"/>
                  </a:lnTo>
                  <a:lnTo>
                    <a:pt x="59" y="12"/>
                  </a:lnTo>
                  <a:lnTo>
                    <a:pt x="59" y="12"/>
                  </a:lnTo>
                  <a:lnTo>
                    <a:pt x="59" y="12"/>
                  </a:lnTo>
                  <a:lnTo>
                    <a:pt x="57" y="7"/>
                  </a:lnTo>
                  <a:lnTo>
                    <a:pt x="55" y="7"/>
                  </a:lnTo>
                  <a:lnTo>
                    <a:pt x="52" y="10"/>
                  </a:lnTo>
                  <a:lnTo>
                    <a:pt x="50" y="10"/>
                  </a:lnTo>
                  <a:lnTo>
                    <a:pt x="47" y="5"/>
                  </a:lnTo>
                  <a:lnTo>
                    <a:pt x="47" y="5"/>
                  </a:lnTo>
                  <a:lnTo>
                    <a:pt x="47" y="5"/>
                  </a:lnTo>
                  <a:lnTo>
                    <a:pt x="47" y="3"/>
                  </a:lnTo>
                  <a:lnTo>
                    <a:pt x="47" y="3"/>
                  </a:lnTo>
                  <a:lnTo>
                    <a:pt x="47" y="3"/>
                  </a:lnTo>
                  <a:lnTo>
                    <a:pt x="50" y="3"/>
                  </a:lnTo>
                  <a:lnTo>
                    <a:pt x="47" y="0"/>
                  </a:lnTo>
                  <a:lnTo>
                    <a:pt x="47" y="0"/>
                  </a:lnTo>
                  <a:lnTo>
                    <a:pt x="45" y="0"/>
                  </a:lnTo>
                  <a:lnTo>
                    <a:pt x="43" y="0"/>
                  </a:lnTo>
                  <a:lnTo>
                    <a:pt x="40" y="0"/>
                  </a:lnTo>
                  <a:lnTo>
                    <a:pt x="40" y="3"/>
                  </a:lnTo>
                  <a:lnTo>
                    <a:pt x="40" y="5"/>
                  </a:lnTo>
                  <a:lnTo>
                    <a:pt x="40" y="5"/>
                  </a:lnTo>
                  <a:lnTo>
                    <a:pt x="40" y="5"/>
                  </a:lnTo>
                  <a:lnTo>
                    <a:pt x="38" y="5"/>
                  </a:lnTo>
                  <a:lnTo>
                    <a:pt x="38" y="3"/>
                  </a:lnTo>
                  <a:lnTo>
                    <a:pt x="3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96" name="Freeform 316">
              <a:extLst>
                <a:ext uri="{FF2B5EF4-FFF2-40B4-BE49-F238E27FC236}">
                  <a16:creationId xmlns:a16="http://schemas.microsoft.com/office/drawing/2014/main" id="{9EE90C71-30DB-4E27-894D-86C97919B149}"/>
                </a:ext>
              </a:extLst>
            </p:cNvPr>
            <p:cNvSpPr>
              <a:spLocks/>
            </p:cNvSpPr>
            <p:nvPr/>
          </p:nvSpPr>
          <p:spPr bwMode="gray">
            <a:xfrm>
              <a:off x="-2149" y="-79"/>
              <a:ext cx="12" cy="12"/>
            </a:xfrm>
            <a:custGeom>
              <a:avLst/>
              <a:gdLst>
                <a:gd name="T0" fmla="*/ 0 w 12"/>
                <a:gd name="T1" fmla="*/ 3 h 12"/>
                <a:gd name="T2" fmla="*/ 2 w 12"/>
                <a:gd name="T3" fmla="*/ 3 h 12"/>
                <a:gd name="T4" fmla="*/ 2 w 12"/>
                <a:gd name="T5" fmla="*/ 5 h 12"/>
                <a:gd name="T6" fmla="*/ 2 w 12"/>
                <a:gd name="T7" fmla="*/ 10 h 12"/>
                <a:gd name="T8" fmla="*/ 2 w 12"/>
                <a:gd name="T9" fmla="*/ 10 h 12"/>
                <a:gd name="T10" fmla="*/ 5 w 12"/>
                <a:gd name="T11" fmla="*/ 12 h 12"/>
                <a:gd name="T12" fmla="*/ 5 w 12"/>
                <a:gd name="T13" fmla="*/ 12 h 12"/>
                <a:gd name="T14" fmla="*/ 12 w 12"/>
                <a:gd name="T15" fmla="*/ 10 h 12"/>
                <a:gd name="T16" fmla="*/ 12 w 12"/>
                <a:gd name="T17" fmla="*/ 10 h 12"/>
                <a:gd name="T18" fmla="*/ 12 w 12"/>
                <a:gd name="T19" fmla="*/ 10 h 12"/>
                <a:gd name="T20" fmla="*/ 12 w 12"/>
                <a:gd name="T21" fmla="*/ 7 h 12"/>
                <a:gd name="T22" fmla="*/ 12 w 12"/>
                <a:gd name="T23" fmla="*/ 7 h 12"/>
                <a:gd name="T24" fmla="*/ 9 w 12"/>
                <a:gd name="T25" fmla="*/ 5 h 12"/>
                <a:gd name="T26" fmla="*/ 9 w 12"/>
                <a:gd name="T27" fmla="*/ 5 h 12"/>
                <a:gd name="T28" fmla="*/ 7 w 12"/>
                <a:gd name="T29" fmla="*/ 3 h 12"/>
                <a:gd name="T30" fmla="*/ 5 w 12"/>
                <a:gd name="T31" fmla="*/ 0 h 12"/>
                <a:gd name="T32" fmla="*/ 2 w 12"/>
                <a:gd name="T33" fmla="*/ 0 h 12"/>
                <a:gd name="T34" fmla="*/ 0 w 12"/>
                <a:gd name="T35" fmla="*/ 3 h 12"/>
                <a:gd name="T36" fmla="*/ 0 w 12"/>
                <a:gd name="T37"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12">
                  <a:moveTo>
                    <a:pt x="0" y="3"/>
                  </a:moveTo>
                  <a:lnTo>
                    <a:pt x="2" y="3"/>
                  </a:lnTo>
                  <a:lnTo>
                    <a:pt x="2" y="5"/>
                  </a:lnTo>
                  <a:lnTo>
                    <a:pt x="2" y="10"/>
                  </a:lnTo>
                  <a:lnTo>
                    <a:pt x="2" y="10"/>
                  </a:lnTo>
                  <a:lnTo>
                    <a:pt x="5" y="12"/>
                  </a:lnTo>
                  <a:lnTo>
                    <a:pt x="5" y="12"/>
                  </a:lnTo>
                  <a:lnTo>
                    <a:pt x="12" y="10"/>
                  </a:lnTo>
                  <a:lnTo>
                    <a:pt x="12" y="10"/>
                  </a:lnTo>
                  <a:lnTo>
                    <a:pt x="12" y="10"/>
                  </a:lnTo>
                  <a:lnTo>
                    <a:pt x="12" y="7"/>
                  </a:lnTo>
                  <a:lnTo>
                    <a:pt x="12" y="7"/>
                  </a:lnTo>
                  <a:lnTo>
                    <a:pt x="9" y="5"/>
                  </a:lnTo>
                  <a:lnTo>
                    <a:pt x="9" y="5"/>
                  </a:lnTo>
                  <a:lnTo>
                    <a:pt x="7" y="3"/>
                  </a:lnTo>
                  <a:lnTo>
                    <a:pt x="5" y="0"/>
                  </a:lnTo>
                  <a:lnTo>
                    <a:pt x="2" y="0"/>
                  </a:lnTo>
                  <a:lnTo>
                    <a:pt x="0"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97" name="Freeform 317">
              <a:extLst>
                <a:ext uri="{FF2B5EF4-FFF2-40B4-BE49-F238E27FC236}">
                  <a16:creationId xmlns:a16="http://schemas.microsoft.com/office/drawing/2014/main" id="{0E430785-F78B-4EF3-851D-604E81061BEC}"/>
                </a:ext>
              </a:extLst>
            </p:cNvPr>
            <p:cNvSpPr>
              <a:spLocks/>
            </p:cNvSpPr>
            <p:nvPr/>
          </p:nvSpPr>
          <p:spPr bwMode="gray">
            <a:xfrm>
              <a:off x="-2166" y="-81"/>
              <a:ext cx="19" cy="16"/>
            </a:xfrm>
            <a:custGeom>
              <a:avLst/>
              <a:gdLst>
                <a:gd name="T0" fmla="*/ 17 w 19"/>
                <a:gd name="T1" fmla="*/ 5 h 16"/>
                <a:gd name="T2" fmla="*/ 17 w 19"/>
                <a:gd name="T3" fmla="*/ 2 h 16"/>
                <a:gd name="T4" fmla="*/ 15 w 19"/>
                <a:gd name="T5" fmla="*/ 0 h 16"/>
                <a:gd name="T6" fmla="*/ 12 w 19"/>
                <a:gd name="T7" fmla="*/ 0 h 16"/>
                <a:gd name="T8" fmla="*/ 10 w 19"/>
                <a:gd name="T9" fmla="*/ 2 h 16"/>
                <a:gd name="T10" fmla="*/ 5 w 19"/>
                <a:gd name="T11" fmla="*/ 7 h 16"/>
                <a:gd name="T12" fmla="*/ 3 w 19"/>
                <a:gd name="T13" fmla="*/ 9 h 16"/>
                <a:gd name="T14" fmla="*/ 0 w 19"/>
                <a:gd name="T15" fmla="*/ 12 h 16"/>
                <a:gd name="T16" fmla="*/ 5 w 19"/>
                <a:gd name="T17" fmla="*/ 16 h 16"/>
                <a:gd name="T18" fmla="*/ 7 w 19"/>
                <a:gd name="T19" fmla="*/ 16 h 16"/>
                <a:gd name="T20" fmla="*/ 19 w 19"/>
                <a:gd name="T21" fmla="*/ 14 h 16"/>
                <a:gd name="T22" fmla="*/ 19 w 19"/>
                <a:gd name="T23" fmla="*/ 12 h 16"/>
                <a:gd name="T24" fmla="*/ 19 w 19"/>
                <a:gd name="T25" fmla="*/ 12 h 16"/>
                <a:gd name="T26" fmla="*/ 17 w 19"/>
                <a:gd name="T27" fmla="*/ 12 h 16"/>
                <a:gd name="T28" fmla="*/ 17 w 19"/>
                <a:gd name="T29" fmla="*/ 9 h 16"/>
                <a:gd name="T30" fmla="*/ 17 w 19"/>
                <a:gd name="T31"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16">
                  <a:moveTo>
                    <a:pt x="17" y="5"/>
                  </a:moveTo>
                  <a:lnTo>
                    <a:pt x="17" y="2"/>
                  </a:lnTo>
                  <a:lnTo>
                    <a:pt x="15" y="0"/>
                  </a:lnTo>
                  <a:lnTo>
                    <a:pt x="12" y="0"/>
                  </a:lnTo>
                  <a:lnTo>
                    <a:pt x="10" y="2"/>
                  </a:lnTo>
                  <a:lnTo>
                    <a:pt x="5" y="7"/>
                  </a:lnTo>
                  <a:lnTo>
                    <a:pt x="3" y="9"/>
                  </a:lnTo>
                  <a:lnTo>
                    <a:pt x="0" y="12"/>
                  </a:lnTo>
                  <a:lnTo>
                    <a:pt x="5" y="16"/>
                  </a:lnTo>
                  <a:lnTo>
                    <a:pt x="7" y="16"/>
                  </a:lnTo>
                  <a:lnTo>
                    <a:pt x="19" y="14"/>
                  </a:lnTo>
                  <a:lnTo>
                    <a:pt x="19" y="12"/>
                  </a:lnTo>
                  <a:lnTo>
                    <a:pt x="19" y="12"/>
                  </a:lnTo>
                  <a:lnTo>
                    <a:pt x="17" y="12"/>
                  </a:lnTo>
                  <a:lnTo>
                    <a:pt x="17" y="9"/>
                  </a:lnTo>
                  <a:lnTo>
                    <a:pt x="1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98" name="Freeform 318">
              <a:extLst>
                <a:ext uri="{FF2B5EF4-FFF2-40B4-BE49-F238E27FC236}">
                  <a16:creationId xmlns:a16="http://schemas.microsoft.com/office/drawing/2014/main" id="{C1EF64A1-0177-448F-AE5C-B09CD319A9BE}"/>
                </a:ext>
              </a:extLst>
            </p:cNvPr>
            <p:cNvSpPr>
              <a:spLocks/>
            </p:cNvSpPr>
            <p:nvPr/>
          </p:nvSpPr>
          <p:spPr bwMode="gray">
            <a:xfrm>
              <a:off x="-2182" y="-58"/>
              <a:ext cx="16" cy="12"/>
            </a:xfrm>
            <a:custGeom>
              <a:avLst/>
              <a:gdLst>
                <a:gd name="T0" fmla="*/ 5 w 16"/>
                <a:gd name="T1" fmla="*/ 10 h 12"/>
                <a:gd name="T2" fmla="*/ 5 w 16"/>
                <a:gd name="T3" fmla="*/ 10 h 12"/>
                <a:gd name="T4" fmla="*/ 7 w 16"/>
                <a:gd name="T5" fmla="*/ 12 h 12"/>
                <a:gd name="T6" fmla="*/ 7 w 16"/>
                <a:gd name="T7" fmla="*/ 12 h 12"/>
                <a:gd name="T8" fmla="*/ 7 w 16"/>
                <a:gd name="T9" fmla="*/ 12 h 12"/>
                <a:gd name="T10" fmla="*/ 9 w 16"/>
                <a:gd name="T11" fmla="*/ 12 h 12"/>
                <a:gd name="T12" fmla="*/ 12 w 16"/>
                <a:gd name="T13" fmla="*/ 10 h 12"/>
                <a:gd name="T14" fmla="*/ 14 w 16"/>
                <a:gd name="T15" fmla="*/ 7 h 12"/>
                <a:gd name="T16" fmla="*/ 16 w 16"/>
                <a:gd name="T17" fmla="*/ 5 h 12"/>
                <a:gd name="T18" fmla="*/ 16 w 16"/>
                <a:gd name="T19" fmla="*/ 3 h 12"/>
                <a:gd name="T20" fmla="*/ 14 w 16"/>
                <a:gd name="T21" fmla="*/ 0 h 12"/>
                <a:gd name="T22" fmla="*/ 12 w 16"/>
                <a:gd name="T23" fmla="*/ 0 h 12"/>
                <a:gd name="T24" fmla="*/ 7 w 16"/>
                <a:gd name="T25" fmla="*/ 3 h 12"/>
                <a:gd name="T26" fmla="*/ 5 w 16"/>
                <a:gd name="T27" fmla="*/ 0 h 12"/>
                <a:gd name="T28" fmla="*/ 2 w 16"/>
                <a:gd name="T29" fmla="*/ 0 h 12"/>
                <a:gd name="T30" fmla="*/ 2 w 16"/>
                <a:gd name="T31" fmla="*/ 0 h 12"/>
                <a:gd name="T32" fmla="*/ 2 w 16"/>
                <a:gd name="T33" fmla="*/ 0 h 12"/>
                <a:gd name="T34" fmla="*/ 2 w 16"/>
                <a:gd name="T35" fmla="*/ 3 h 12"/>
                <a:gd name="T36" fmla="*/ 2 w 16"/>
                <a:gd name="T37" fmla="*/ 3 h 12"/>
                <a:gd name="T38" fmla="*/ 2 w 16"/>
                <a:gd name="T39" fmla="*/ 5 h 12"/>
                <a:gd name="T40" fmla="*/ 0 w 16"/>
                <a:gd name="T41" fmla="*/ 5 h 12"/>
                <a:gd name="T42" fmla="*/ 0 w 16"/>
                <a:gd name="T43" fmla="*/ 7 h 12"/>
                <a:gd name="T44" fmla="*/ 5 w 16"/>
                <a:gd name="T45" fmla="*/ 10 h 12"/>
                <a:gd name="T46" fmla="*/ 5 w 16"/>
                <a:gd name="T47"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12">
                  <a:moveTo>
                    <a:pt x="5" y="10"/>
                  </a:moveTo>
                  <a:lnTo>
                    <a:pt x="5" y="10"/>
                  </a:lnTo>
                  <a:lnTo>
                    <a:pt x="7" y="12"/>
                  </a:lnTo>
                  <a:lnTo>
                    <a:pt x="7" y="12"/>
                  </a:lnTo>
                  <a:lnTo>
                    <a:pt x="7" y="12"/>
                  </a:lnTo>
                  <a:lnTo>
                    <a:pt x="9" y="12"/>
                  </a:lnTo>
                  <a:lnTo>
                    <a:pt x="12" y="10"/>
                  </a:lnTo>
                  <a:lnTo>
                    <a:pt x="14" y="7"/>
                  </a:lnTo>
                  <a:lnTo>
                    <a:pt x="16" y="5"/>
                  </a:lnTo>
                  <a:lnTo>
                    <a:pt x="16" y="3"/>
                  </a:lnTo>
                  <a:lnTo>
                    <a:pt x="14" y="0"/>
                  </a:lnTo>
                  <a:lnTo>
                    <a:pt x="12" y="0"/>
                  </a:lnTo>
                  <a:lnTo>
                    <a:pt x="7" y="3"/>
                  </a:lnTo>
                  <a:lnTo>
                    <a:pt x="5" y="0"/>
                  </a:lnTo>
                  <a:lnTo>
                    <a:pt x="2" y="0"/>
                  </a:lnTo>
                  <a:lnTo>
                    <a:pt x="2" y="0"/>
                  </a:lnTo>
                  <a:lnTo>
                    <a:pt x="2" y="0"/>
                  </a:lnTo>
                  <a:lnTo>
                    <a:pt x="2" y="3"/>
                  </a:lnTo>
                  <a:lnTo>
                    <a:pt x="2" y="3"/>
                  </a:lnTo>
                  <a:lnTo>
                    <a:pt x="2" y="5"/>
                  </a:lnTo>
                  <a:lnTo>
                    <a:pt x="0" y="5"/>
                  </a:lnTo>
                  <a:lnTo>
                    <a:pt x="0" y="7"/>
                  </a:lnTo>
                  <a:lnTo>
                    <a:pt x="5" y="10"/>
                  </a:lnTo>
                  <a:lnTo>
                    <a:pt x="5"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099" name="Freeform 319">
              <a:extLst>
                <a:ext uri="{FF2B5EF4-FFF2-40B4-BE49-F238E27FC236}">
                  <a16:creationId xmlns:a16="http://schemas.microsoft.com/office/drawing/2014/main" id="{786398CD-01DA-42F2-AB2D-C65D67F048BB}"/>
                </a:ext>
              </a:extLst>
            </p:cNvPr>
            <p:cNvSpPr>
              <a:spLocks noEditPoints="1"/>
            </p:cNvSpPr>
            <p:nvPr/>
          </p:nvSpPr>
          <p:spPr bwMode="gray">
            <a:xfrm>
              <a:off x="-2376" y="-696"/>
              <a:ext cx="1232" cy="1708"/>
            </a:xfrm>
            <a:custGeom>
              <a:avLst/>
              <a:gdLst>
                <a:gd name="T0" fmla="*/ 35 w 522"/>
                <a:gd name="T1" fmla="*/ 354 h 725"/>
                <a:gd name="T2" fmla="*/ 7 w 522"/>
                <a:gd name="T3" fmla="*/ 370 h 725"/>
                <a:gd name="T4" fmla="*/ 3 w 522"/>
                <a:gd name="T5" fmla="*/ 390 h 725"/>
                <a:gd name="T6" fmla="*/ 60 w 522"/>
                <a:gd name="T7" fmla="*/ 395 h 725"/>
                <a:gd name="T8" fmla="*/ 61 w 522"/>
                <a:gd name="T9" fmla="*/ 405 h 725"/>
                <a:gd name="T10" fmla="*/ 5 w 522"/>
                <a:gd name="T11" fmla="*/ 408 h 725"/>
                <a:gd name="T12" fmla="*/ 7 w 522"/>
                <a:gd name="T13" fmla="*/ 427 h 725"/>
                <a:gd name="T14" fmla="*/ 23 w 522"/>
                <a:gd name="T15" fmla="*/ 441 h 725"/>
                <a:gd name="T16" fmla="*/ 39 w 522"/>
                <a:gd name="T17" fmla="*/ 442 h 725"/>
                <a:gd name="T18" fmla="*/ 38 w 522"/>
                <a:gd name="T19" fmla="*/ 457 h 725"/>
                <a:gd name="T20" fmla="*/ 17 w 522"/>
                <a:gd name="T21" fmla="*/ 492 h 725"/>
                <a:gd name="T22" fmla="*/ 23 w 522"/>
                <a:gd name="T23" fmla="*/ 504 h 725"/>
                <a:gd name="T24" fmla="*/ 32 w 522"/>
                <a:gd name="T25" fmla="*/ 503 h 725"/>
                <a:gd name="T26" fmla="*/ 20 w 522"/>
                <a:gd name="T27" fmla="*/ 526 h 725"/>
                <a:gd name="T28" fmla="*/ 54 w 522"/>
                <a:gd name="T29" fmla="*/ 569 h 725"/>
                <a:gd name="T30" fmla="*/ 97 w 522"/>
                <a:gd name="T31" fmla="*/ 572 h 725"/>
                <a:gd name="T32" fmla="*/ 131 w 522"/>
                <a:gd name="T33" fmla="*/ 531 h 725"/>
                <a:gd name="T34" fmla="*/ 160 w 522"/>
                <a:gd name="T35" fmla="*/ 515 h 725"/>
                <a:gd name="T36" fmla="*/ 168 w 522"/>
                <a:gd name="T37" fmla="*/ 482 h 725"/>
                <a:gd name="T38" fmla="*/ 186 w 522"/>
                <a:gd name="T39" fmla="*/ 524 h 725"/>
                <a:gd name="T40" fmla="*/ 200 w 522"/>
                <a:gd name="T41" fmla="*/ 557 h 725"/>
                <a:gd name="T42" fmla="*/ 210 w 522"/>
                <a:gd name="T43" fmla="*/ 608 h 725"/>
                <a:gd name="T44" fmla="*/ 234 w 522"/>
                <a:gd name="T45" fmla="*/ 655 h 725"/>
                <a:gd name="T46" fmla="*/ 242 w 522"/>
                <a:gd name="T47" fmla="*/ 722 h 725"/>
                <a:gd name="T48" fmla="*/ 300 w 522"/>
                <a:gd name="T49" fmla="*/ 681 h 725"/>
                <a:gd name="T50" fmla="*/ 344 w 522"/>
                <a:gd name="T51" fmla="*/ 648 h 725"/>
                <a:gd name="T52" fmla="*/ 350 w 522"/>
                <a:gd name="T53" fmla="*/ 599 h 725"/>
                <a:gd name="T54" fmla="*/ 351 w 522"/>
                <a:gd name="T55" fmla="*/ 574 h 725"/>
                <a:gd name="T56" fmla="*/ 342 w 522"/>
                <a:gd name="T57" fmla="*/ 547 h 725"/>
                <a:gd name="T58" fmla="*/ 381 w 522"/>
                <a:gd name="T59" fmla="*/ 517 h 725"/>
                <a:gd name="T60" fmla="*/ 403 w 522"/>
                <a:gd name="T61" fmla="*/ 511 h 725"/>
                <a:gd name="T62" fmla="*/ 408 w 522"/>
                <a:gd name="T63" fmla="*/ 490 h 725"/>
                <a:gd name="T64" fmla="*/ 403 w 522"/>
                <a:gd name="T65" fmla="*/ 453 h 725"/>
                <a:gd name="T66" fmla="*/ 367 w 522"/>
                <a:gd name="T67" fmla="*/ 410 h 725"/>
                <a:gd name="T68" fmla="*/ 368 w 522"/>
                <a:gd name="T69" fmla="*/ 366 h 725"/>
                <a:gd name="T70" fmla="*/ 375 w 522"/>
                <a:gd name="T71" fmla="*/ 324 h 725"/>
                <a:gd name="T72" fmla="*/ 387 w 522"/>
                <a:gd name="T73" fmla="*/ 283 h 725"/>
                <a:gd name="T74" fmla="*/ 401 w 522"/>
                <a:gd name="T75" fmla="*/ 276 h 725"/>
                <a:gd name="T76" fmla="*/ 431 w 522"/>
                <a:gd name="T77" fmla="*/ 245 h 725"/>
                <a:gd name="T78" fmla="*/ 469 w 522"/>
                <a:gd name="T79" fmla="*/ 223 h 725"/>
                <a:gd name="T80" fmla="*/ 494 w 522"/>
                <a:gd name="T81" fmla="*/ 170 h 725"/>
                <a:gd name="T82" fmla="*/ 498 w 522"/>
                <a:gd name="T83" fmla="*/ 132 h 725"/>
                <a:gd name="T84" fmla="*/ 507 w 522"/>
                <a:gd name="T85" fmla="*/ 94 h 725"/>
                <a:gd name="T86" fmla="*/ 255 w 522"/>
                <a:gd name="T87" fmla="*/ 20 h 725"/>
                <a:gd name="T88" fmla="*/ 250 w 522"/>
                <a:gd name="T89" fmla="*/ 42 h 725"/>
                <a:gd name="T90" fmla="*/ 233 w 522"/>
                <a:gd name="T91" fmla="*/ 62 h 725"/>
                <a:gd name="T92" fmla="*/ 224 w 522"/>
                <a:gd name="T93" fmla="*/ 91 h 725"/>
                <a:gd name="T94" fmla="*/ 222 w 522"/>
                <a:gd name="T95" fmla="*/ 124 h 725"/>
                <a:gd name="T96" fmla="*/ 198 w 522"/>
                <a:gd name="T97" fmla="*/ 147 h 725"/>
                <a:gd name="T98" fmla="*/ 199 w 522"/>
                <a:gd name="T99" fmla="*/ 170 h 725"/>
                <a:gd name="T100" fmla="*/ 174 w 522"/>
                <a:gd name="T101" fmla="*/ 178 h 725"/>
                <a:gd name="T102" fmla="*/ 157 w 522"/>
                <a:gd name="T103" fmla="*/ 200 h 725"/>
                <a:gd name="T104" fmla="*/ 145 w 522"/>
                <a:gd name="T105" fmla="*/ 233 h 725"/>
                <a:gd name="T106" fmla="*/ 189 w 522"/>
                <a:gd name="T107" fmla="*/ 220 h 725"/>
                <a:gd name="T108" fmla="*/ 151 w 522"/>
                <a:gd name="T109" fmla="*/ 253 h 725"/>
                <a:gd name="T110" fmla="*/ 111 w 522"/>
                <a:gd name="T111" fmla="*/ 250 h 725"/>
                <a:gd name="T112" fmla="*/ 101 w 522"/>
                <a:gd name="T113" fmla="*/ 279 h 725"/>
                <a:gd name="T114" fmla="*/ 62 w 522"/>
                <a:gd name="T115" fmla="*/ 288 h 725"/>
                <a:gd name="T116" fmla="*/ 59 w 522"/>
                <a:gd name="T117" fmla="*/ 304 h 725"/>
                <a:gd name="T118" fmla="*/ 62 w 522"/>
                <a:gd name="T119" fmla="*/ 330 h 725"/>
                <a:gd name="T120" fmla="*/ 14 w 522"/>
                <a:gd name="T121" fmla="*/ 333 h 725"/>
                <a:gd name="T122" fmla="*/ 216 w 522"/>
                <a:gd name="T123" fmla="*/ 238 h 725"/>
                <a:gd name="T124" fmla="*/ 229 w 522"/>
                <a:gd name="T125" fmla="*/ 437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2" h="725">
                  <a:moveTo>
                    <a:pt x="5" y="333"/>
                  </a:moveTo>
                  <a:cubicBezTo>
                    <a:pt x="6" y="333"/>
                    <a:pt x="6" y="333"/>
                    <a:pt x="6" y="333"/>
                  </a:cubicBezTo>
                  <a:cubicBezTo>
                    <a:pt x="5" y="334"/>
                    <a:pt x="5" y="334"/>
                    <a:pt x="5" y="334"/>
                  </a:cubicBezTo>
                  <a:cubicBezTo>
                    <a:pt x="5" y="334"/>
                    <a:pt x="5" y="334"/>
                    <a:pt x="5" y="334"/>
                  </a:cubicBezTo>
                  <a:cubicBezTo>
                    <a:pt x="5" y="334"/>
                    <a:pt x="5" y="334"/>
                    <a:pt x="5" y="334"/>
                  </a:cubicBezTo>
                  <a:cubicBezTo>
                    <a:pt x="5" y="335"/>
                    <a:pt x="5" y="335"/>
                    <a:pt x="5" y="335"/>
                  </a:cubicBezTo>
                  <a:cubicBezTo>
                    <a:pt x="8" y="335"/>
                    <a:pt x="8" y="335"/>
                    <a:pt x="8" y="335"/>
                  </a:cubicBezTo>
                  <a:cubicBezTo>
                    <a:pt x="11" y="337"/>
                    <a:pt x="11" y="337"/>
                    <a:pt x="11" y="337"/>
                  </a:cubicBezTo>
                  <a:cubicBezTo>
                    <a:pt x="11" y="338"/>
                    <a:pt x="11" y="338"/>
                    <a:pt x="11" y="338"/>
                  </a:cubicBezTo>
                  <a:cubicBezTo>
                    <a:pt x="12" y="339"/>
                    <a:pt x="12" y="339"/>
                    <a:pt x="12" y="339"/>
                  </a:cubicBezTo>
                  <a:cubicBezTo>
                    <a:pt x="12" y="339"/>
                    <a:pt x="12" y="339"/>
                    <a:pt x="12" y="339"/>
                  </a:cubicBezTo>
                  <a:cubicBezTo>
                    <a:pt x="13" y="339"/>
                    <a:pt x="13" y="339"/>
                    <a:pt x="13" y="339"/>
                  </a:cubicBezTo>
                  <a:cubicBezTo>
                    <a:pt x="14" y="339"/>
                    <a:pt x="14" y="339"/>
                    <a:pt x="14" y="339"/>
                  </a:cubicBezTo>
                  <a:cubicBezTo>
                    <a:pt x="14" y="340"/>
                    <a:pt x="14" y="340"/>
                    <a:pt x="14" y="340"/>
                  </a:cubicBezTo>
                  <a:cubicBezTo>
                    <a:pt x="13" y="341"/>
                    <a:pt x="13" y="341"/>
                    <a:pt x="13" y="341"/>
                  </a:cubicBezTo>
                  <a:cubicBezTo>
                    <a:pt x="12" y="340"/>
                    <a:pt x="12" y="340"/>
                    <a:pt x="12" y="340"/>
                  </a:cubicBezTo>
                  <a:cubicBezTo>
                    <a:pt x="11" y="340"/>
                    <a:pt x="11" y="340"/>
                    <a:pt x="11" y="340"/>
                  </a:cubicBezTo>
                  <a:cubicBezTo>
                    <a:pt x="11" y="341"/>
                    <a:pt x="11" y="341"/>
                    <a:pt x="11" y="341"/>
                  </a:cubicBezTo>
                  <a:cubicBezTo>
                    <a:pt x="11" y="342"/>
                    <a:pt x="11" y="342"/>
                    <a:pt x="11" y="342"/>
                  </a:cubicBezTo>
                  <a:cubicBezTo>
                    <a:pt x="10" y="343"/>
                    <a:pt x="10" y="343"/>
                    <a:pt x="10" y="343"/>
                  </a:cubicBezTo>
                  <a:cubicBezTo>
                    <a:pt x="9" y="343"/>
                    <a:pt x="9" y="343"/>
                    <a:pt x="9" y="343"/>
                  </a:cubicBezTo>
                  <a:cubicBezTo>
                    <a:pt x="9" y="344"/>
                    <a:pt x="9" y="344"/>
                    <a:pt x="9" y="344"/>
                  </a:cubicBezTo>
                  <a:cubicBezTo>
                    <a:pt x="9" y="344"/>
                    <a:pt x="9" y="344"/>
                    <a:pt x="9" y="344"/>
                  </a:cubicBezTo>
                  <a:cubicBezTo>
                    <a:pt x="9" y="344"/>
                    <a:pt x="9" y="344"/>
                    <a:pt x="9" y="344"/>
                  </a:cubicBezTo>
                  <a:cubicBezTo>
                    <a:pt x="9" y="344"/>
                    <a:pt x="9" y="344"/>
                    <a:pt x="9" y="344"/>
                  </a:cubicBezTo>
                  <a:cubicBezTo>
                    <a:pt x="8" y="344"/>
                    <a:pt x="8" y="344"/>
                    <a:pt x="8" y="344"/>
                  </a:cubicBezTo>
                  <a:cubicBezTo>
                    <a:pt x="8" y="343"/>
                    <a:pt x="8" y="343"/>
                    <a:pt x="8" y="343"/>
                  </a:cubicBezTo>
                  <a:cubicBezTo>
                    <a:pt x="8" y="344"/>
                    <a:pt x="8" y="344"/>
                    <a:pt x="8" y="344"/>
                  </a:cubicBezTo>
                  <a:cubicBezTo>
                    <a:pt x="8" y="344"/>
                    <a:pt x="8" y="344"/>
                    <a:pt x="8" y="344"/>
                  </a:cubicBezTo>
                  <a:cubicBezTo>
                    <a:pt x="8" y="344"/>
                    <a:pt x="8" y="344"/>
                    <a:pt x="8" y="344"/>
                  </a:cubicBezTo>
                  <a:cubicBezTo>
                    <a:pt x="7" y="344"/>
                    <a:pt x="7" y="344"/>
                    <a:pt x="7" y="344"/>
                  </a:cubicBezTo>
                  <a:cubicBezTo>
                    <a:pt x="7" y="344"/>
                    <a:pt x="7" y="344"/>
                    <a:pt x="7" y="344"/>
                  </a:cubicBezTo>
                  <a:cubicBezTo>
                    <a:pt x="7" y="343"/>
                    <a:pt x="7" y="343"/>
                    <a:pt x="7" y="343"/>
                  </a:cubicBezTo>
                  <a:cubicBezTo>
                    <a:pt x="7" y="343"/>
                    <a:pt x="7" y="343"/>
                    <a:pt x="7" y="343"/>
                  </a:cubicBezTo>
                  <a:cubicBezTo>
                    <a:pt x="6" y="343"/>
                    <a:pt x="6" y="343"/>
                    <a:pt x="6" y="343"/>
                  </a:cubicBezTo>
                  <a:cubicBezTo>
                    <a:pt x="6" y="344"/>
                    <a:pt x="6" y="344"/>
                    <a:pt x="6" y="344"/>
                  </a:cubicBezTo>
                  <a:cubicBezTo>
                    <a:pt x="6" y="345"/>
                    <a:pt x="6" y="345"/>
                    <a:pt x="6" y="345"/>
                  </a:cubicBezTo>
                  <a:cubicBezTo>
                    <a:pt x="5" y="346"/>
                    <a:pt x="5" y="346"/>
                    <a:pt x="5" y="346"/>
                  </a:cubicBezTo>
                  <a:cubicBezTo>
                    <a:pt x="5" y="347"/>
                    <a:pt x="5" y="347"/>
                    <a:pt x="5" y="347"/>
                  </a:cubicBezTo>
                  <a:cubicBezTo>
                    <a:pt x="6" y="348"/>
                    <a:pt x="6" y="348"/>
                    <a:pt x="6" y="348"/>
                  </a:cubicBezTo>
                  <a:cubicBezTo>
                    <a:pt x="7" y="348"/>
                    <a:pt x="7" y="348"/>
                    <a:pt x="7" y="348"/>
                  </a:cubicBezTo>
                  <a:cubicBezTo>
                    <a:pt x="7" y="348"/>
                    <a:pt x="7" y="348"/>
                    <a:pt x="7" y="348"/>
                  </a:cubicBezTo>
                  <a:cubicBezTo>
                    <a:pt x="8" y="347"/>
                    <a:pt x="8" y="347"/>
                    <a:pt x="8" y="347"/>
                  </a:cubicBezTo>
                  <a:cubicBezTo>
                    <a:pt x="9" y="347"/>
                    <a:pt x="9" y="347"/>
                    <a:pt x="9" y="347"/>
                  </a:cubicBezTo>
                  <a:cubicBezTo>
                    <a:pt x="10" y="347"/>
                    <a:pt x="10" y="347"/>
                    <a:pt x="10" y="347"/>
                  </a:cubicBezTo>
                  <a:cubicBezTo>
                    <a:pt x="11" y="347"/>
                    <a:pt x="11" y="347"/>
                    <a:pt x="11" y="347"/>
                  </a:cubicBezTo>
                  <a:cubicBezTo>
                    <a:pt x="13" y="346"/>
                    <a:pt x="13" y="346"/>
                    <a:pt x="13" y="346"/>
                  </a:cubicBezTo>
                  <a:cubicBezTo>
                    <a:pt x="15" y="345"/>
                    <a:pt x="15" y="345"/>
                    <a:pt x="15" y="345"/>
                  </a:cubicBezTo>
                  <a:cubicBezTo>
                    <a:pt x="15" y="346"/>
                    <a:pt x="15" y="346"/>
                    <a:pt x="15" y="346"/>
                  </a:cubicBezTo>
                  <a:cubicBezTo>
                    <a:pt x="15" y="346"/>
                    <a:pt x="15" y="346"/>
                    <a:pt x="15" y="346"/>
                  </a:cubicBezTo>
                  <a:cubicBezTo>
                    <a:pt x="16" y="346"/>
                    <a:pt x="16" y="346"/>
                    <a:pt x="16" y="346"/>
                  </a:cubicBezTo>
                  <a:cubicBezTo>
                    <a:pt x="17" y="345"/>
                    <a:pt x="17" y="345"/>
                    <a:pt x="17" y="345"/>
                  </a:cubicBezTo>
                  <a:cubicBezTo>
                    <a:pt x="21" y="346"/>
                    <a:pt x="21" y="346"/>
                    <a:pt x="21" y="346"/>
                  </a:cubicBezTo>
                  <a:cubicBezTo>
                    <a:pt x="31" y="347"/>
                    <a:pt x="31" y="347"/>
                    <a:pt x="31" y="347"/>
                  </a:cubicBezTo>
                  <a:cubicBezTo>
                    <a:pt x="31" y="347"/>
                    <a:pt x="31" y="347"/>
                    <a:pt x="31" y="347"/>
                  </a:cubicBezTo>
                  <a:cubicBezTo>
                    <a:pt x="30" y="348"/>
                    <a:pt x="30" y="348"/>
                    <a:pt x="30" y="348"/>
                  </a:cubicBezTo>
                  <a:cubicBezTo>
                    <a:pt x="24" y="348"/>
                    <a:pt x="24" y="348"/>
                    <a:pt x="24" y="348"/>
                  </a:cubicBezTo>
                  <a:cubicBezTo>
                    <a:pt x="24" y="349"/>
                    <a:pt x="24" y="349"/>
                    <a:pt x="24" y="349"/>
                  </a:cubicBezTo>
                  <a:cubicBezTo>
                    <a:pt x="26" y="351"/>
                    <a:pt x="26" y="351"/>
                    <a:pt x="26" y="351"/>
                  </a:cubicBezTo>
                  <a:cubicBezTo>
                    <a:pt x="26" y="351"/>
                    <a:pt x="26" y="351"/>
                    <a:pt x="26" y="351"/>
                  </a:cubicBezTo>
                  <a:cubicBezTo>
                    <a:pt x="26" y="351"/>
                    <a:pt x="26" y="351"/>
                    <a:pt x="26" y="351"/>
                  </a:cubicBezTo>
                  <a:cubicBezTo>
                    <a:pt x="27" y="350"/>
                    <a:pt x="27" y="350"/>
                    <a:pt x="27" y="350"/>
                  </a:cubicBezTo>
                  <a:cubicBezTo>
                    <a:pt x="27" y="350"/>
                    <a:pt x="27" y="350"/>
                    <a:pt x="27" y="350"/>
                  </a:cubicBezTo>
                  <a:cubicBezTo>
                    <a:pt x="27" y="350"/>
                    <a:pt x="27" y="350"/>
                    <a:pt x="27" y="350"/>
                  </a:cubicBezTo>
                  <a:cubicBezTo>
                    <a:pt x="28" y="349"/>
                    <a:pt x="28" y="349"/>
                    <a:pt x="28" y="349"/>
                  </a:cubicBezTo>
                  <a:cubicBezTo>
                    <a:pt x="29" y="349"/>
                    <a:pt x="29" y="349"/>
                    <a:pt x="29" y="349"/>
                  </a:cubicBezTo>
                  <a:cubicBezTo>
                    <a:pt x="29" y="349"/>
                    <a:pt x="29" y="349"/>
                    <a:pt x="29" y="349"/>
                  </a:cubicBezTo>
                  <a:cubicBezTo>
                    <a:pt x="31" y="350"/>
                    <a:pt x="31" y="350"/>
                    <a:pt x="31" y="350"/>
                  </a:cubicBezTo>
                  <a:cubicBezTo>
                    <a:pt x="32" y="350"/>
                    <a:pt x="32" y="350"/>
                    <a:pt x="32" y="350"/>
                  </a:cubicBezTo>
                  <a:cubicBezTo>
                    <a:pt x="33" y="350"/>
                    <a:pt x="33" y="350"/>
                    <a:pt x="33" y="350"/>
                  </a:cubicBezTo>
                  <a:cubicBezTo>
                    <a:pt x="34" y="351"/>
                    <a:pt x="34" y="351"/>
                    <a:pt x="34" y="351"/>
                  </a:cubicBezTo>
                  <a:cubicBezTo>
                    <a:pt x="35" y="351"/>
                    <a:pt x="35" y="351"/>
                    <a:pt x="35" y="351"/>
                  </a:cubicBezTo>
                  <a:cubicBezTo>
                    <a:pt x="40" y="351"/>
                    <a:pt x="40" y="351"/>
                    <a:pt x="40" y="351"/>
                  </a:cubicBezTo>
                  <a:cubicBezTo>
                    <a:pt x="46" y="353"/>
                    <a:pt x="46" y="353"/>
                    <a:pt x="46" y="353"/>
                  </a:cubicBezTo>
                  <a:cubicBezTo>
                    <a:pt x="47" y="352"/>
                    <a:pt x="47" y="352"/>
                    <a:pt x="47" y="352"/>
                  </a:cubicBezTo>
                  <a:cubicBezTo>
                    <a:pt x="48" y="351"/>
                    <a:pt x="48" y="351"/>
                    <a:pt x="48" y="351"/>
                  </a:cubicBezTo>
                  <a:cubicBezTo>
                    <a:pt x="48" y="350"/>
                    <a:pt x="48" y="350"/>
                    <a:pt x="48" y="350"/>
                  </a:cubicBezTo>
                  <a:cubicBezTo>
                    <a:pt x="48" y="349"/>
                    <a:pt x="48" y="349"/>
                    <a:pt x="48" y="349"/>
                  </a:cubicBezTo>
                  <a:cubicBezTo>
                    <a:pt x="52" y="349"/>
                    <a:pt x="52" y="349"/>
                    <a:pt x="52" y="349"/>
                  </a:cubicBezTo>
                  <a:cubicBezTo>
                    <a:pt x="52" y="348"/>
                    <a:pt x="52" y="348"/>
                    <a:pt x="52" y="348"/>
                  </a:cubicBezTo>
                  <a:cubicBezTo>
                    <a:pt x="52" y="348"/>
                    <a:pt x="52" y="348"/>
                    <a:pt x="52" y="348"/>
                  </a:cubicBezTo>
                  <a:cubicBezTo>
                    <a:pt x="52" y="348"/>
                    <a:pt x="52" y="348"/>
                    <a:pt x="52" y="348"/>
                  </a:cubicBezTo>
                  <a:cubicBezTo>
                    <a:pt x="52" y="348"/>
                    <a:pt x="52" y="348"/>
                    <a:pt x="52" y="348"/>
                  </a:cubicBezTo>
                  <a:cubicBezTo>
                    <a:pt x="52" y="349"/>
                    <a:pt x="52" y="349"/>
                    <a:pt x="52" y="349"/>
                  </a:cubicBezTo>
                  <a:cubicBezTo>
                    <a:pt x="53" y="349"/>
                    <a:pt x="53" y="349"/>
                    <a:pt x="53" y="349"/>
                  </a:cubicBezTo>
                  <a:cubicBezTo>
                    <a:pt x="54" y="349"/>
                    <a:pt x="54" y="349"/>
                    <a:pt x="54" y="349"/>
                  </a:cubicBezTo>
                  <a:cubicBezTo>
                    <a:pt x="54" y="350"/>
                    <a:pt x="54" y="350"/>
                    <a:pt x="54" y="350"/>
                  </a:cubicBezTo>
                  <a:cubicBezTo>
                    <a:pt x="55" y="350"/>
                    <a:pt x="55" y="350"/>
                    <a:pt x="55" y="350"/>
                  </a:cubicBezTo>
                  <a:cubicBezTo>
                    <a:pt x="56" y="349"/>
                    <a:pt x="56" y="349"/>
                    <a:pt x="56" y="349"/>
                  </a:cubicBezTo>
                  <a:cubicBezTo>
                    <a:pt x="56" y="349"/>
                    <a:pt x="56" y="349"/>
                    <a:pt x="56" y="349"/>
                  </a:cubicBezTo>
                  <a:cubicBezTo>
                    <a:pt x="56" y="350"/>
                    <a:pt x="56" y="350"/>
                    <a:pt x="56" y="350"/>
                  </a:cubicBezTo>
                  <a:cubicBezTo>
                    <a:pt x="56" y="350"/>
                    <a:pt x="56" y="350"/>
                    <a:pt x="56" y="350"/>
                  </a:cubicBezTo>
                  <a:cubicBezTo>
                    <a:pt x="56" y="351"/>
                    <a:pt x="56" y="351"/>
                    <a:pt x="56" y="351"/>
                  </a:cubicBezTo>
                  <a:cubicBezTo>
                    <a:pt x="55" y="351"/>
                    <a:pt x="55" y="351"/>
                    <a:pt x="55" y="351"/>
                  </a:cubicBezTo>
                  <a:cubicBezTo>
                    <a:pt x="55" y="352"/>
                    <a:pt x="55" y="352"/>
                    <a:pt x="55" y="352"/>
                  </a:cubicBezTo>
                  <a:cubicBezTo>
                    <a:pt x="55" y="351"/>
                    <a:pt x="55" y="351"/>
                    <a:pt x="55" y="351"/>
                  </a:cubicBezTo>
                  <a:cubicBezTo>
                    <a:pt x="54" y="351"/>
                    <a:pt x="54" y="351"/>
                    <a:pt x="54" y="351"/>
                  </a:cubicBezTo>
                  <a:cubicBezTo>
                    <a:pt x="54" y="351"/>
                    <a:pt x="54" y="351"/>
                    <a:pt x="54" y="351"/>
                  </a:cubicBezTo>
                  <a:cubicBezTo>
                    <a:pt x="53" y="351"/>
                    <a:pt x="53" y="351"/>
                    <a:pt x="53" y="351"/>
                  </a:cubicBezTo>
                  <a:cubicBezTo>
                    <a:pt x="52" y="350"/>
                    <a:pt x="52" y="350"/>
                    <a:pt x="52" y="350"/>
                  </a:cubicBezTo>
                  <a:cubicBezTo>
                    <a:pt x="51" y="349"/>
                    <a:pt x="51" y="349"/>
                    <a:pt x="51" y="349"/>
                  </a:cubicBezTo>
                  <a:cubicBezTo>
                    <a:pt x="50" y="349"/>
                    <a:pt x="50" y="349"/>
                    <a:pt x="50" y="349"/>
                  </a:cubicBezTo>
                  <a:cubicBezTo>
                    <a:pt x="50" y="350"/>
                    <a:pt x="50" y="350"/>
                    <a:pt x="50" y="350"/>
                  </a:cubicBezTo>
                  <a:cubicBezTo>
                    <a:pt x="49" y="350"/>
                    <a:pt x="49" y="350"/>
                    <a:pt x="49" y="350"/>
                  </a:cubicBezTo>
                  <a:cubicBezTo>
                    <a:pt x="48" y="351"/>
                    <a:pt x="48" y="351"/>
                    <a:pt x="48" y="351"/>
                  </a:cubicBezTo>
                  <a:cubicBezTo>
                    <a:pt x="48" y="353"/>
                    <a:pt x="48" y="353"/>
                    <a:pt x="48" y="353"/>
                  </a:cubicBezTo>
                  <a:cubicBezTo>
                    <a:pt x="48" y="353"/>
                    <a:pt x="48" y="353"/>
                    <a:pt x="48" y="353"/>
                  </a:cubicBezTo>
                  <a:cubicBezTo>
                    <a:pt x="47" y="354"/>
                    <a:pt x="47" y="354"/>
                    <a:pt x="47" y="354"/>
                  </a:cubicBezTo>
                  <a:cubicBezTo>
                    <a:pt x="46" y="354"/>
                    <a:pt x="46" y="354"/>
                    <a:pt x="46" y="354"/>
                  </a:cubicBezTo>
                  <a:cubicBezTo>
                    <a:pt x="43" y="354"/>
                    <a:pt x="43" y="354"/>
                    <a:pt x="43" y="354"/>
                  </a:cubicBezTo>
                  <a:cubicBezTo>
                    <a:pt x="43" y="354"/>
                    <a:pt x="43" y="354"/>
                    <a:pt x="43" y="354"/>
                  </a:cubicBezTo>
                  <a:cubicBezTo>
                    <a:pt x="41" y="352"/>
                    <a:pt x="41" y="352"/>
                    <a:pt x="41" y="352"/>
                  </a:cubicBezTo>
                  <a:cubicBezTo>
                    <a:pt x="41" y="352"/>
                    <a:pt x="41" y="352"/>
                    <a:pt x="41" y="352"/>
                  </a:cubicBezTo>
                  <a:cubicBezTo>
                    <a:pt x="34" y="352"/>
                    <a:pt x="34" y="352"/>
                    <a:pt x="34" y="352"/>
                  </a:cubicBezTo>
                  <a:cubicBezTo>
                    <a:pt x="34" y="352"/>
                    <a:pt x="34" y="352"/>
                    <a:pt x="34" y="352"/>
                  </a:cubicBezTo>
                  <a:cubicBezTo>
                    <a:pt x="34" y="353"/>
                    <a:pt x="34" y="353"/>
                    <a:pt x="34" y="353"/>
                  </a:cubicBezTo>
                  <a:cubicBezTo>
                    <a:pt x="35" y="353"/>
                    <a:pt x="35" y="353"/>
                    <a:pt x="35" y="353"/>
                  </a:cubicBezTo>
                  <a:cubicBezTo>
                    <a:pt x="35" y="354"/>
                    <a:pt x="35" y="354"/>
                    <a:pt x="35" y="354"/>
                  </a:cubicBezTo>
                  <a:cubicBezTo>
                    <a:pt x="36" y="354"/>
                    <a:pt x="36" y="354"/>
                    <a:pt x="36" y="354"/>
                  </a:cubicBezTo>
                  <a:cubicBezTo>
                    <a:pt x="36" y="355"/>
                    <a:pt x="36" y="355"/>
                    <a:pt x="36" y="355"/>
                  </a:cubicBezTo>
                  <a:cubicBezTo>
                    <a:pt x="37" y="355"/>
                    <a:pt x="37" y="355"/>
                    <a:pt x="37" y="355"/>
                  </a:cubicBezTo>
                  <a:cubicBezTo>
                    <a:pt x="37" y="355"/>
                    <a:pt x="37" y="355"/>
                    <a:pt x="37" y="355"/>
                  </a:cubicBezTo>
                  <a:cubicBezTo>
                    <a:pt x="37" y="356"/>
                    <a:pt x="37" y="356"/>
                    <a:pt x="37" y="356"/>
                  </a:cubicBezTo>
                  <a:cubicBezTo>
                    <a:pt x="36" y="356"/>
                    <a:pt x="36" y="356"/>
                    <a:pt x="36" y="356"/>
                  </a:cubicBezTo>
                  <a:cubicBezTo>
                    <a:pt x="35" y="356"/>
                    <a:pt x="35" y="356"/>
                    <a:pt x="35" y="356"/>
                  </a:cubicBezTo>
                  <a:cubicBezTo>
                    <a:pt x="34" y="354"/>
                    <a:pt x="34" y="354"/>
                    <a:pt x="34" y="354"/>
                  </a:cubicBezTo>
                  <a:cubicBezTo>
                    <a:pt x="32" y="352"/>
                    <a:pt x="32" y="352"/>
                    <a:pt x="32" y="352"/>
                  </a:cubicBezTo>
                  <a:cubicBezTo>
                    <a:pt x="32" y="352"/>
                    <a:pt x="32" y="352"/>
                    <a:pt x="32" y="352"/>
                  </a:cubicBezTo>
                  <a:cubicBezTo>
                    <a:pt x="31" y="352"/>
                    <a:pt x="31" y="352"/>
                    <a:pt x="31" y="352"/>
                  </a:cubicBezTo>
                  <a:cubicBezTo>
                    <a:pt x="31" y="353"/>
                    <a:pt x="31" y="353"/>
                    <a:pt x="31" y="353"/>
                  </a:cubicBezTo>
                  <a:cubicBezTo>
                    <a:pt x="31" y="355"/>
                    <a:pt x="31" y="355"/>
                    <a:pt x="31" y="355"/>
                  </a:cubicBezTo>
                  <a:cubicBezTo>
                    <a:pt x="30" y="356"/>
                    <a:pt x="30" y="356"/>
                    <a:pt x="30" y="356"/>
                  </a:cubicBezTo>
                  <a:cubicBezTo>
                    <a:pt x="30" y="357"/>
                    <a:pt x="30" y="357"/>
                    <a:pt x="30" y="357"/>
                  </a:cubicBezTo>
                  <a:cubicBezTo>
                    <a:pt x="29" y="357"/>
                    <a:pt x="29" y="357"/>
                    <a:pt x="29" y="357"/>
                  </a:cubicBezTo>
                  <a:cubicBezTo>
                    <a:pt x="29" y="358"/>
                    <a:pt x="29" y="358"/>
                    <a:pt x="29" y="358"/>
                  </a:cubicBezTo>
                  <a:cubicBezTo>
                    <a:pt x="29" y="357"/>
                    <a:pt x="29" y="357"/>
                    <a:pt x="29" y="357"/>
                  </a:cubicBezTo>
                  <a:cubicBezTo>
                    <a:pt x="30" y="355"/>
                    <a:pt x="30" y="355"/>
                    <a:pt x="30" y="355"/>
                  </a:cubicBezTo>
                  <a:cubicBezTo>
                    <a:pt x="30" y="353"/>
                    <a:pt x="30" y="353"/>
                    <a:pt x="30" y="353"/>
                  </a:cubicBezTo>
                  <a:cubicBezTo>
                    <a:pt x="30" y="353"/>
                    <a:pt x="30" y="353"/>
                    <a:pt x="30" y="353"/>
                  </a:cubicBezTo>
                  <a:cubicBezTo>
                    <a:pt x="30" y="352"/>
                    <a:pt x="30" y="352"/>
                    <a:pt x="30" y="352"/>
                  </a:cubicBezTo>
                  <a:cubicBezTo>
                    <a:pt x="30" y="351"/>
                    <a:pt x="30" y="351"/>
                    <a:pt x="30" y="351"/>
                  </a:cubicBezTo>
                  <a:cubicBezTo>
                    <a:pt x="30" y="351"/>
                    <a:pt x="30" y="351"/>
                    <a:pt x="30" y="351"/>
                  </a:cubicBezTo>
                  <a:cubicBezTo>
                    <a:pt x="24" y="352"/>
                    <a:pt x="24" y="352"/>
                    <a:pt x="24" y="352"/>
                  </a:cubicBezTo>
                  <a:cubicBezTo>
                    <a:pt x="21" y="353"/>
                    <a:pt x="21" y="353"/>
                    <a:pt x="21" y="353"/>
                  </a:cubicBezTo>
                  <a:cubicBezTo>
                    <a:pt x="21" y="353"/>
                    <a:pt x="21" y="353"/>
                    <a:pt x="21" y="353"/>
                  </a:cubicBezTo>
                  <a:cubicBezTo>
                    <a:pt x="21" y="352"/>
                    <a:pt x="21" y="352"/>
                    <a:pt x="21" y="352"/>
                  </a:cubicBezTo>
                  <a:cubicBezTo>
                    <a:pt x="22" y="352"/>
                    <a:pt x="22" y="352"/>
                    <a:pt x="22" y="352"/>
                  </a:cubicBezTo>
                  <a:cubicBezTo>
                    <a:pt x="23" y="352"/>
                    <a:pt x="23" y="352"/>
                    <a:pt x="23" y="352"/>
                  </a:cubicBezTo>
                  <a:cubicBezTo>
                    <a:pt x="24" y="351"/>
                    <a:pt x="24" y="351"/>
                    <a:pt x="24" y="351"/>
                  </a:cubicBezTo>
                  <a:cubicBezTo>
                    <a:pt x="23" y="350"/>
                    <a:pt x="23" y="350"/>
                    <a:pt x="23" y="350"/>
                  </a:cubicBezTo>
                  <a:cubicBezTo>
                    <a:pt x="23" y="349"/>
                    <a:pt x="23" y="349"/>
                    <a:pt x="23" y="349"/>
                  </a:cubicBezTo>
                  <a:cubicBezTo>
                    <a:pt x="22" y="349"/>
                    <a:pt x="22" y="349"/>
                    <a:pt x="22" y="349"/>
                  </a:cubicBezTo>
                  <a:cubicBezTo>
                    <a:pt x="21" y="349"/>
                    <a:pt x="21" y="349"/>
                    <a:pt x="21" y="349"/>
                  </a:cubicBezTo>
                  <a:cubicBezTo>
                    <a:pt x="20" y="348"/>
                    <a:pt x="20" y="348"/>
                    <a:pt x="20" y="348"/>
                  </a:cubicBezTo>
                  <a:cubicBezTo>
                    <a:pt x="19" y="348"/>
                    <a:pt x="19" y="348"/>
                    <a:pt x="19" y="348"/>
                  </a:cubicBezTo>
                  <a:cubicBezTo>
                    <a:pt x="18" y="348"/>
                    <a:pt x="18" y="348"/>
                    <a:pt x="18" y="348"/>
                  </a:cubicBezTo>
                  <a:cubicBezTo>
                    <a:pt x="18" y="348"/>
                    <a:pt x="18" y="348"/>
                    <a:pt x="18" y="348"/>
                  </a:cubicBezTo>
                  <a:cubicBezTo>
                    <a:pt x="17" y="347"/>
                    <a:pt x="17" y="347"/>
                    <a:pt x="17" y="347"/>
                  </a:cubicBezTo>
                  <a:cubicBezTo>
                    <a:pt x="14" y="347"/>
                    <a:pt x="14" y="347"/>
                    <a:pt x="14" y="347"/>
                  </a:cubicBezTo>
                  <a:cubicBezTo>
                    <a:pt x="13" y="348"/>
                    <a:pt x="13" y="348"/>
                    <a:pt x="13" y="348"/>
                  </a:cubicBezTo>
                  <a:cubicBezTo>
                    <a:pt x="11" y="350"/>
                    <a:pt x="11" y="350"/>
                    <a:pt x="11" y="350"/>
                  </a:cubicBezTo>
                  <a:cubicBezTo>
                    <a:pt x="11" y="350"/>
                    <a:pt x="11" y="350"/>
                    <a:pt x="11" y="350"/>
                  </a:cubicBezTo>
                  <a:cubicBezTo>
                    <a:pt x="11" y="351"/>
                    <a:pt x="11" y="351"/>
                    <a:pt x="11" y="351"/>
                  </a:cubicBezTo>
                  <a:cubicBezTo>
                    <a:pt x="11" y="351"/>
                    <a:pt x="11" y="351"/>
                    <a:pt x="11" y="351"/>
                  </a:cubicBezTo>
                  <a:cubicBezTo>
                    <a:pt x="12" y="351"/>
                    <a:pt x="12" y="351"/>
                    <a:pt x="12" y="351"/>
                  </a:cubicBezTo>
                  <a:cubicBezTo>
                    <a:pt x="12" y="352"/>
                    <a:pt x="12" y="352"/>
                    <a:pt x="12" y="352"/>
                  </a:cubicBezTo>
                  <a:cubicBezTo>
                    <a:pt x="11" y="352"/>
                    <a:pt x="11" y="352"/>
                    <a:pt x="11" y="352"/>
                  </a:cubicBezTo>
                  <a:cubicBezTo>
                    <a:pt x="10" y="352"/>
                    <a:pt x="10" y="352"/>
                    <a:pt x="10" y="352"/>
                  </a:cubicBezTo>
                  <a:cubicBezTo>
                    <a:pt x="10" y="352"/>
                    <a:pt x="10" y="352"/>
                    <a:pt x="10" y="352"/>
                  </a:cubicBezTo>
                  <a:cubicBezTo>
                    <a:pt x="10" y="352"/>
                    <a:pt x="10" y="352"/>
                    <a:pt x="10" y="352"/>
                  </a:cubicBezTo>
                  <a:cubicBezTo>
                    <a:pt x="9" y="353"/>
                    <a:pt x="9" y="353"/>
                    <a:pt x="9" y="353"/>
                  </a:cubicBezTo>
                  <a:cubicBezTo>
                    <a:pt x="6" y="355"/>
                    <a:pt x="6" y="355"/>
                    <a:pt x="6" y="355"/>
                  </a:cubicBezTo>
                  <a:cubicBezTo>
                    <a:pt x="5" y="355"/>
                    <a:pt x="5" y="355"/>
                    <a:pt x="5" y="355"/>
                  </a:cubicBezTo>
                  <a:cubicBezTo>
                    <a:pt x="5" y="356"/>
                    <a:pt x="5" y="356"/>
                    <a:pt x="5" y="356"/>
                  </a:cubicBezTo>
                  <a:cubicBezTo>
                    <a:pt x="4" y="357"/>
                    <a:pt x="4" y="357"/>
                    <a:pt x="4" y="357"/>
                  </a:cubicBezTo>
                  <a:cubicBezTo>
                    <a:pt x="8" y="356"/>
                    <a:pt x="8" y="356"/>
                    <a:pt x="8" y="356"/>
                  </a:cubicBezTo>
                  <a:cubicBezTo>
                    <a:pt x="7" y="357"/>
                    <a:pt x="7" y="357"/>
                    <a:pt x="7" y="357"/>
                  </a:cubicBezTo>
                  <a:cubicBezTo>
                    <a:pt x="6" y="357"/>
                    <a:pt x="6" y="357"/>
                    <a:pt x="6" y="357"/>
                  </a:cubicBezTo>
                  <a:cubicBezTo>
                    <a:pt x="6" y="358"/>
                    <a:pt x="6" y="358"/>
                    <a:pt x="6" y="358"/>
                  </a:cubicBezTo>
                  <a:cubicBezTo>
                    <a:pt x="7" y="359"/>
                    <a:pt x="7" y="359"/>
                    <a:pt x="7" y="359"/>
                  </a:cubicBezTo>
                  <a:cubicBezTo>
                    <a:pt x="7" y="359"/>
                    <a:pt x="7" y="359"/>
                    <a:pt x="7" y="359"/>
                  </a:cubicBezTo>
                  <a:cubicBezTo>
                    <a:pt x="6" y="359"/>
                    <a:pt x="6" y="359"/>
                    <a:pt x="6" y="359"/>
                  </a:cubicBezTo>
                  <a:cubicBezTo>
                    <a:pt x="6" y="359"/>
                    <a:pt x="6" y="359"/>
                    <a:pt x="6" y="359"/>
                  </a:cubicBezTo>
                  <a:cubicBezTo>
                    <a:pt x="6" y="359"/>
                    <a:pt x="6" y="359"/>
                    <a:pt x="6" y="359"/>
                  </a:cubicBezTo>
                  <a:cubicBezTo>
                    <a:pt x="5" y="358"/>
                    <a:pt x="5" y="358"/>
                    <a:pt x="5" y="358"/>
                  </a:cubicBezTo>
                  <a:cubicBezTo>
                    <a:pt x="5" y="358"/>
                    <a:pt x="5" y="358"/>
                    <a:pt x="5" y="358"/>
                  </a:cubicBezTo>
                  <a:cubicBezTo>
                    <a:pt x="5" y="358"/>
                    <a:pt x="5" y="358"/>
                    <a:pt x="5" y="358"/>
                  </a:cubicBezTo>
                  <a:cubicBezTo>
                    <a:pt x="5" y="358"/>
                    <a:pt x="5" y="358"/>
                    <a:pt x="5" y="358"/>
                  </a:cubicBezTo>
                  <a:cubicBezTo>
                    <a:pt x="5" y="358"/>
                    <a:pt x="5" y="358"/>
                    <a:pt x="5" y="358"/>
                  </a:cubicBezTo>
                  <a:cubicBezTo>
                    <a:pt x="4" y="358"/>
                    <a:pt x="4" y="358"/>
                    <a:pt x="4" y="358"/>
                  </a:cubicBezTo>
                  <a:cubicBezTo>
                    <a:pt x="4" y="358"/>
                    <a:pt x="4" y="358"/>
                    <a:pt x="4" y="358"/>
                  </a:cubicBezTo>
                  <a:cubicBezTo>
                    <a:pt x="4" y="357"/>
                    <a:pt x="4" y="357"/>
                    <a:pt x="4" y="357"/>
                  </a:cubicBezTo>
                  <a:cubicBezTo>
                    <a:pt x="3" y="357"/>
                    <a:pt x="3" y="357"/>
                    <a:pt x="3" y="357"/>
                  </a:cubicBezTo>
                  <a:cubicBezTo>
                    <a:pt x="2" y="357"/>
                    <a:pt x="2" y="357"/>
                    <a:pt x="2" y="357"/>
                  </a:cubicBezTo>
                  <a:cubicBezTo>
                    <a:pt x="2" y="357"/>
                    <a:pt x="2" y="357"/>
                    <a:pt x="2" y="357"/>
                  </a:cubicBezTo>
                  <a:cubicBezTo>
                    <a:pt x="1" y="358"/>
                    <a:pt x="1" y="358"/>
                    <a:pt x="1" y="358"/>
                  </a:cubicBezTo>
                  <a:cubicBezTo>
                    <a:pt x="2" y="358"/>
                    <a:pt x="2" y="358"/>
                    <a:pt x="2" y="358"/>
                  </a:cubicBezTo>
                  <a:cubicBezTo>
                    <a:pt x="2" y="358"/>
                    <a:pt x="2" y="358"/>
                    <a:pt x="2" y="358"/>
                  </a:cubicBezTo>
                  <a:cubicBezTo>
                    <a:pt x="2" y="359"/>
                    <a:pt x="2" y="359"/>
                    <a:pt x="2" y="359"/>
                  </a:cubicBezTo>
                  <a:cubicBezTo>
                    <a:pt x="2" y="359"/>
                    <a:pt x="2" y="359"/>
                    <a:pt x="2" y="359"/>
                  </a:cubicBezTo>
                  <a:cubicBezTo>
                    <a:pt x="1" y="359"/>
                    <a:pt x="1" y="359"/>
                    <a:pt x="1" y="359"/>
                  </a:cubicBezTo>
                  <a:cubicBezTo>
                    <a:pt x="1" y="359"/>
                    <a:pt x="1" y="359"/>
                    <a:pt x="1" y="359"/>
                  </a:cubicBezTo>
                  <a:cubicBezTo>
                    <a:pt x="1" y="360"/>
                    <a:pt x="1" y="360"/>
                    <a:pt x="1" y="360"/>
                  </a:cubicBezTo>
                  <a:cubicBezTo>
                    <a:pt x="1" y="361"/>
                    <a:pt x="1" y="361"/>
                    <a:pt x="1" y="361"/>
                  </a:cubicBezTo>
                  <a:cubicBezTo>
                    <a:pt x="1" y="361"/>
                    <a:pt x="1" y="361"/>
                    <a:pt x="1" y="361"/>
                  </a:cubicBezTo>
                  <a:cubicBezTo>
                    <a:pt x="1" y="361"/>
                    <a:pt x="1" y="361"/>
                    <a:pt x="1" y="361"/>
                  </a:cubicBezTo>
                  <a:cubicBezTo>
                    <a:pt x="0" y="362"/>
                    <a:pt x="0" y="362"/>
                    <a:pt x="0" y="362"/>
                  </a:cubicBezTo>
                  <a:cubicBezTo>
                    <a:pt x="0" y="363"/>
                    <a:pt x="0" y="363"/>
                    <a:pt x="0" y="363"/>
                  </a:cubicBezTo>
                  <a:cubicBezTo>
                    <a:pt x="1" y="364"/>
                    <a:pt x="1" y="364"/>
                    <a:pt x="1" y="364"/>
                  </a:cubicBezTo>
                  <a:cubicBezTo>
                    <a:pt x="1" y="365"/>
                    <a:pt x="1" y="365"/>
                    <a:pt x="1" y="365"/>
                  </a:cubicBezTo>
                  <a:cubicBezTo>
                    <a:pt x="2" y="365"/>
                    <a:pt x="2" y="365"/>
                    <a:pt x="2" y="365"/>
                  </a:cubicBezTo>
                  <a:cubicBezTo>
                    <a:pt x="9" y="365"/>
                    <a:pt x="9" y="365"/>
                    <a:pt x="9" y="365"/>
                  </a:cubicBezTo>
                  <a:cubicBezTo>
                    <a:pt x="9" y="365"/>
                    <a:pt x="9" y="365"/>
                    <a:pt x="9" y="365"/>
                  </a:cubicBezTo>
                  <a:cubicBezTo>
                    <a:pt x="11" y="364"/>
                    <a:pt x="11" y="364"/>
                    <a:pt x="11" y="364"/>
                  </a:cubicBezTo>
                  <a:cubicBezTo>
                    <a:pt x="12" y="364"/>
                    <a:pt x="12" y="364"/>
                    <a:pt x="12" y="364"/>
                  </a:cubicBezTo>
                  <a:cubicBezTo>
                    <a:pt x="12" y="365"/>
                    <a:pt x="12" y="365"/>
                    <a:pt x="12" y="365"/>
                  </a:cubicBezTo>
                  <a:cubicBezTo>
                    <a:pt x="10" y="366"/>
                    <a:pt x="10" y="366"/>
                    <a:pt x="10" y="366"/>
                  </a:cubicBezTo>
                  <a:cubicBezTo>
                    <a:pt x="13" y="366"/>
                    <a:pt x="13" y="366"/>
                    <a:pt x="13" y="366"/>
                  </a:cubicBezTo>
                  <a:cubicBezTo>
                    <a:pt x="15" y="367"/>
                    <a:pt x="15" y="367"/>
                    <a:pt x="15" y="367"/>
                  </a:cubicBezTo>
                  <a:cubicBezTo>
                    <a:pt x="14" y="368"/>
                    <a:pt x="14" y="368"/>
                    <a:pt x="14" y="368"/>
                  </a:cubicBezTo>
                  <a:cubicBezTo>
                    <a:pt x="11" y="368"/>
                    <a:pt x="11" y="368"/>
                    <a:pt x="11" y="368"/>
                  </a:cubicBezTo>
                  <a:cubicBezTo>
                    <a:pt x="11" y="367"/>
                    <a:pt x="11" y="367"/>
                    <a:pt x="11" y="367"/>
                  </a:cubicBezTo>
                  <a:cubicBezTo>
                    <a:pt x="12" y="367"/>
                    <a:pt x="12" y="367"/>
                    <a:pt x="12" y="367"/>
                  </a:cubicBezTo>
                  <a:cubicBezTo>
                    <a:pt x="12" y="367"/>
                    <a:pt x="12" y="367"/>
                    <a:pt x="12" y="367"/>
                  </a:cubicBezTo>
                  <a:cubicBezTo>
                    <a:pt x="7" y="367"/>
                    <a:pt x="7" y="367"/>
                    <a:pt x="7" y="367"/>
                  </a:cubicBezTo>
                  <a:cubicBezTo>
                    <a:pt x="7" y="368"/>
                    <a:pt x="7" y="368"/>
                    <a:pt x="7" y="368"/>
                  </a:cubicBezTo>
                  <a:cubicBezTo>
                    <a:pt x="12" y="369"/>
                    <a:pt x="12" y="369"/>
                    <a:pt x="12" y="369"/>
                  </a:cubicBezTo>
                  <a:cubicBezTo>
                    <a:pt x="13" y="369"/>
                    <a:pt x="13" y="369"/>
                    <a:pt x="13" y="369"/>
                  </a:cubicBezTo>
                  <a:cubicBezTo>
                    <a:pt x="13" y="370"/>
                    <a:pt x="13" y="370"/>
                    <a:pt x="13" y="370"/>
                  </a:cubicBezTo>
                  <a:cubicBezTo>
                    <a:pt x="9" y="370"/>
                    <a:pt x="9" y="370"/>
                    <a:pt x="9" y="370"/>
                  </a:cubicBezTo>
                  <a:cubicBezTo>
                    <a:pt x="8" y="370"/>
                    <a:pt x="8" y="370"/>
                    <a:pt x="8" y="370"/>
                  </a:cubicBezTo>
                  <a:cubicBezTo>
                    <a:pt x="8" y="370"/>
                    <a:pt x="8" y="370"/>
                    <a:pt x="8" y="370"/>
                  </a:cubicBezTo>
                  <a:cubicBezTo>
                    <a:pt x="7" y="370"/>
                    <a:pt x="7" y="370"/>
                    <a:pt x="7" y="370"/>
                  </a:cubicBezTo>
                  <a:cubicBezTo>
                    <a:pt x="6" y="370"/>
                    <a:pt x="6" y="370"/>
                    <a:pt x="6" y="370"/>
                  </a:cubicBezTo>
                  <a:cubicBezTo>
                    <a:pt x="6" y="370"/>
                    <a:pt x="6" y="370"/>
                    <a:pt x="6" y="370"/>
                  </a:cubicBezTo>
                  <a:cubicBezTo>
                    <a:pt x="7" y="370"/>
                    <a:pt x="7" y="370"/>
                    <a:pt x="7" y="370"/>
                  </a:cubicBezTo>
                  <a:cubicBezTo>
                    <a:pt x="6" y="372"/>
                    <a:pt x="6" y="372"/>
                    <a:pt x="6" y="372"/>
                  </a:cubicBezTo>
                  <a:cubicBezTo>
                    <a:pt x="8" y="372"/>
                    <a:pt x="8" y="372"/>
                    <a:pt x="8" y="372"/>
                  </a:cubicBezTo>
                  <a:cubicBezTo>
                    <a:pt x="10" y="373"/>
                    <a:pt x="10" y="373"/>
                    <a:pt x="10" y="373"/>
                  </a:cubicBezTo>
                  <a:cubicBezTo>
                    <a:pt x="11" y="374"/>
                    <a:pt x="11" y="374"/>
                    <a:pt x="11" y="374"/>
                  </a:cubicBezTo>
                  <a:cubicBezTo>
                    <a:pt x="14" y="374"/>
                    <a:pt x="14" y="374"/>
                    <a:pt x="14" y="374"/>
                  </a:cubicBezTo>
                  <a:cubicBezTo>
                    <a:pt x="15" y="374"/>
                    <a:pt x="15" y="374"/>
                    <a:pt x="15" y="374"/>
                  </a:cubicBezTo>
                  <a:cubicBezTo>
                    <a:pt x="15" y="376"/>
                    <a:pt x="15" y="376"/>
                    <a:pt x="15" y="376"/>
                  </a:cubicBezTo>
                  <a:cubicBezTo>
                    <a:pt x="16" y="376"/>
                    <a:pt x="16" y="376"/>
                    <a:pt x="16" y="376"/>
                  </a:cubicBezTo>
                  <a:cubicBezTo>
                    <a:pt x="17" y="376"/>
                    <a:pt x="17" y="376"/>
                    <a:pt x="17" y="376"/>
                  </a:cubicBezTo>
                  <a:cubicBezTo>
                    <a:pt x="18" y="375"/>
                    <a:pt x="18" y="375"/>
                    <a:pt x="18" y="375"/>
                  </a:cubicBezTo>
                  <a:cubicBezTo>
                    <a:pt x="19" y="375"/>
                    <a:pt x="19" y="375"/>
                    <a:pt x="19" y="375"/>
                  </a:cubicBezTo>
                  <a:cubicBezTo>
                    <a:pt x="20" y="375"/>
                    <a:pt x="20" y="375"/>
                    <a:pt x="20" y="375"/>
                  </a:cubicBezTo>
                  <a:cubicBezTo>
                    <a:pt x="20" y="374"/>
                    <a:pt x="20" y="374"/>
                    <a:pt x="20" y="374"/>
                  </a:cubicBezTo>
                  <a:cubicBezTo>
                    <a:pt x="21" y="373"/>
                    <a:pt x="21" y="373"/>
                    <a:pt x="21" y="373"/>
                  </a:cubicBezTo>
                  <a:cubicBezTo>
                    <a:pt x="22" y="373"/>
                    <a:pt x="22" y="373"/>
                    <a:pt x="22" y="373"/>
                  </a:cubicBezTo>
                  <a:cubicBezTo>
                    <a:pt x="24" y="373"/>
                    <a:pt x="24" y="373"/>
                    <a:pt x="24" y="373"/>
                  </a:cubicBezTo>
                  <a:cubicBezTo>
                    <a:pt x="24" y="373"/>
                    <a:pt x="24" y="373"/>
                    <a:pt x="24" y="373"/>
                  </a:cubicBezTo>
                  <a:cubicBezTo>
                    <a:pt x="25" y="375"/>
                    <a:pt x="25" y="375"/>
                    <a:pt x="25" y="375"/>
                  </a:cubicBezTo>
                  <a:cubicBezTo>
                    <a:pt x="26" y="376"/>
                    <a:pt x="26" y="376"/>
                    <a:pt x="26" y="376"/>
                  </a:cubicBezTo>
                  <a:cubicBezTo>
                    <a:pt x="26" y="376"/>
                    <a:pt x="26" y="376"/>
                    <a:pt x="26" y="376"/>
                  </a:cubicBezTo>
                  <a:cubicBezTo>
                    <a:pt x="26" y="376"/>
                    <a:pt x="26" y="376"/>
                    <a:pt x="26" y="376"/>
                  </a:cubicBezTo>
                  <a:cubicBezTo>
                    <a:pt x="25" y="376"/>
                    <a:pt x="25" y="376"/>
                    <a:pt x="25" y="376"/>
                  </a:cubicBezTo>
                  <a:cubicBezTo>
                    <a:pt x="25" y="375"/>
                    <a:pt x="25" y="375"/>
                    <a:pt x="25" y="375"/>
                  </a:cubicBezTo>
                  <a:cubicBezTo>
                    <a:pt x="24" y="374"/>
                    <a:pt x="24" y="374"/>
                    <a:pt x="24" y="374"/>
                  </a:cubicBezTo>
                  <a:cubicBezTo>
                    <a:pt x="23" y="374"/>
                    <a:pt x="23" y="374"/>
                    <a:pt x="23" y="374"/>
                  </a:cubicBezTo>
                  <a:cubicBezTo>
                    <a:pt x="22" y="374"/>
                    <a:pt x="22" y="374"/>
                    <a:pt x="22" y="374"/>
                  </a:cubicBezTo>
                  <a:cubicBezTo>
                    <a:pt x="22" y="374"/>
                    <a:pt x="22" y="374"/>
                    <a:pt x="22" y="374"/>
                  </a:cubicBezTo>
                  <a:cubicBezTo>
                    <a:pt x="21" y="375"/>
                    <a:pt x="21" y="375"/>
                    <a:pt x="21" y="375"/>
                  </a:cubicBezTo>
                  <a:cubicBezTo>
                    <a:pt x="21" y="375"/>
                    <a:pt x="21" y="375"/>
                    <a:pt x="21" y="375"/>
                  </a:cubicBezTo>
                  <a:cubicBezTo>
                    <a:pt x="21" y="376"/>
                    <a:pt x="21" y="376"/>
                    <a:pt x="21" y="376"/>
                  </a:cubicBezTo>
                  <a:cubicBezTo>
                    <a:pt x="20" y="376"/>
                    <a:pt x="20" y="376"/>
                    <a:pt x="20" y="376"/>
                  </a:cubicBezTo>
                  <a:cubicBezTo>
                    <a:pt x="19" y="376"/>
                    <a:pt x="19" y="376"/>
                    <a:pt x="19" y="376"/>
                  </a:cubicBezTo>
                  <a:cubicBezTo>
                    <a:pt x="18" y="376"/>
                    <a:pt x="18" y="376"/>
                    <a:pt x="18" y="376"/>
                  </a:cubicBezTo>
                  <a:cubicBezTo>
                    <a:pt x="18" y="377"/>
                    <a:pt x="18" y="377"/>
                    <a:pt x="18" y="377"/>
                  </a:cubicBezTo>
                  <a:cubicBezTo>
                    <a:pt x="18" y="377"/>
                    <a:pt x="18" y="377"/>
                    <a:pt x="18" y="377"/>
                  </a:cubicBezTo>
                  <a:cubicBezTo>
                    <a:pt x="17" y="377"/>
                    <a:pt x="17" y="377"/>
                    <a:pt x="17" y="377"/>
                  </a:cubicBezTo>
                  <a:cubicBezTo>
                    <a:pt x="12" y="375"/>
                    <a:pt x="12" y="375"/>
                    <a:pt x="12" y="375"/>
                  </a:cubicBezTo>
                  <a:cubicBezTo>
                    <a:pt x="11" y="376"/>
                    <a:pt x="11" y="376"/>
                    <a:pt x="11" y="376"/>
                  </a:cubicBezTo>
                  <a:cubicBezTo>
                    <a:pt x="10" y="376"/>
                    <a:pt x="10" y="376"/>
                    <a:pt x="10" y="376"/>
                  </a:cubicBezTo>
                  <a:cubicBezTo>
                    <a:pt x="9" y="375"/>
                    <a:pt x="9" y="375"/>
                    <a:pt x="9" y="375"/>
                  </a:cubicBezTo>
                  <a:cubicBezTo>
                    <a:pt x="8" y="375"/>
                    <a:pt x="8" y="375"/>
                    <a:pt x="8" y="375"/>
                  </a:cubicBezTo>
                  <a:cubicBezTo>
                    <a:pt x="8" y="375"/>
                    <a:pt x="8" y="375"/>
                    <a:pt x="8" y="375"/>
                  </a:cubicBezTo>
                  <a:cubicBezTo>
                    <a:pt x="7" y="376"/>
                    <a:pt x="7" y="376"/>
                    <a:pt x="7" y="376"/>
                  </a:cubicBezTo>
                  <a:cubicBezTo>
                    <a:pt x="4" y="376"/>
                    <a:pt x="4" y="376"/>
                    <a:pt x="4" y="376"/>
                  </a:cubicBezTo>
                  <a:cubicBezTo>
                    <a:pt x="1" y="378"/>
                    <a:pt x="1" y="378"/>
                    <a:pt x="1" y="378"/>
                  </a:cubicBezTo>
                  <a:cubicBezTo>
                    <a:pt x="1" y="379"/>
                    <a:pt x="1" y="379"/>
                    <a:pt x="1" y="379"/>
                  </a:cubicBezTo>
                  <a:cubicBezTo>
                    <a:pt x="2" y="379"/>
                    <a:pt x="2" y="379"/>
                    <a:pt x="2" y="379"/>
                  </a:cubicBezTo>
                  <a:cubicBezTo>
                    <a:pt x="3" y="378"/>
                    <a:pt x="3" y="378"/>
                    <a:pt x="3" y="378"/>
                  </a:cubicBezTo>
                  <a:cubicBezTo>
                    <a:pt x="4" y="378"/>
                    <a:pt x="4" y="378"/>
                    <a:pt x="4" y="378"/>
                  </a:cubicBezTo>
                  <a:cubicBezTo>
                    <a:pt x="5" y="378"/>
                    <a:pt x="5" y="378"/>
                    <a:pt x="5" y="378"/>
                  </a:cubicBezTo>
                  <a:cubicBezTo>
                    <a:pt x="5" y="377"/>
                    <a:pt x="5" y="377"/>
                    <a:pt x="5" y="377"/>
                  </a:cubicBezTo>
                  <a:cubicBezTo>
                    <a:pt x="6" y="378"/>
                    <a:pt x="6" y="378"/>
                    <a:pt x="6" y="378"/>
                  </a:cubicBezTo>
                  <a:cubicBezTo>
                    <a:pt x="6" y="378"/>
                    <a:pt x="6" y="378"/>
                    <a:pt x="6" y="378"/>
                  </a:cubicBezTo>
                  <a:cubicBezTo>
                    <a:pt x="6" y="378"/>
                    <a:pt x="6" y="378"/>
                    <a:pt x="6" y="378"/>
                  </a:cubicBezTo>
                  <a:cubicBezTo>
                    <a:pt x="6" y="378"/>
                    <a:pt x="6" y="378"/>
                    <a:pt x="6" y="378"/>
                  </a:cubicBezTo>
                  <a:cubicBezTo>
                    <a:pt x="5" y="379"/>
                    <a:pt x="5" y="379"/>
                    <a:pt x="5" y="379"/>
                  </a:cubicBezTo>
                  <a:cubicBezTo>
                    <a:pt x="5" y="379"/>
                    <a:pt x="5" y="379"/>
                    <a:pt x="5" y="379"/>
                  </a:cubicBezTo>
                  <a:cubicBezTo>
                    <a:pt x="5" y="379"/>
                    <a:pt x="5" y="379"/>
                    <a:pt x="5" y="379"/>
                  </a:cubicBezTo>
                  <a:cubicBezTo>
                    <a:pt x="5" y="380"/>
                    <a:pt x="5" y="380"/>
                    <a:pt x="5" y="380"/>
                  </a:cubicBezTo>
                  <a:cubicBezTo>
                    <a:pt x="5" y="380"/>
                    <a:pt x="5" y="380"/>
                    <a:pt x="5" y="380"/>
                  </a:cubicBezTo>
                  <a:cubicBezTo>
                    <a:pt x="4" y="381"/>
                    <a:pt x="4" y="381"/>
                    <a:pt x="4" y="381"/>
                  </a:cubicBezTo>
                  <a:cubicBezTo>
                    <a:pt x="4" y="380"/>
                    <a:pt x="4" y="380"/>
                    <a:pt x="4" y="380"/>
                  </a:cubicBezTo>
                  <a:cubicBezTo>
                    <a:pt x="4" y="380"/>
                    <a:pt x="4" y="380"/>
                    <a:pt x="4" y="380"/>
                  </a:cubicBezTo>
                  <a:cubicBezTo>
                    <a:pt x="3" y="379"/>
                    <a:pt x="3" y="379"/>
                    <a:pt x="3" y="379"/>
                  </a:cubicBezTo>
                  <a:cubicBezTo>
                    <a:pt x="3" y="379"/>
                    <a:pt x="3" y="379"/>
                    <a:pt x="3" y="379"/>
                  </a:cubicBezTo>
                  <a:cubicBezTo>
                    <a:pt x="2" y="380"/>
                    <a:pt x="2" y="380"/>
                    <a:pt x="2" y="380"/>
                  </a:cubicBezTo>
                  <a:cubicBezTo>
                    <a:pt x="2" y="381"/>
                    <a:pt x="2" y="381"/>
                    <a:pt x="2" y="381"/>
                  </a:cubicBezTo>
                  <a:cubicBezTo>
                    <a:pt x="2" y="382"/>
                    <a:pt x="2" y="382"/>
                    <a:pt x="2" y="382"/>
                  </a:cubicBezTo>
                  <a:cubicBezTo>
                    <a:pt x="2" y="382"/>
                    <a:pt x="2" y="382"/>
                    <a:pt x="2" y="382"/>
                  </a:cubicBezTo>
                  <a:cubicBezTo>
                    <a:pt x="3" y="383"/>
                    <a:pt x="3" y="383"/>
                    <a:pt x="3" y="383"/>
                  </a:cubicBezTo>
                  <a:cubicBezTo>
                    <a:pt x="3" y="384"/>
                    <a:pt x="3" y="384"/>
                    <a:pt x="3" y="384"/>
                  </a:cubicBezTo>
                  <a:cubicBezTo>
                    <a:pt x="4" y="384"/>
                    <a:pt x="4" y="384"/>
                    <a:pt x="4" y="384"/>
                  </a:cubicBezTo>
                  <a:cubicBezTo>
                    <a:pt x="5" y="384"/>
                    <a:pt x="5" y="384"/>
                    <a:pt x="5" y="384"/>
                  </a:cubicBezTo>
                  <a:cubicBezTo>
                    <a:pt x="6" y="383"/>
                    <a:pt x="6" y="383"/>
                    <a:pt x="6" y="383"/>
                  </a:cubicBezTo>
                  <a:cubicBezTo>
                    <a:pt x="7" y="382"/>
                    <a:pt x="7" y="382"/>
                    <a:pt x="7" y="382"/>
                  </a:cubicBezTo>
                  <a:cubicBezTo>
                    <a:pt x="7" y="382"/>
                    <a:pt x="7" y="382"/>
                    <a:pt x="7" y="382"/>
                  </a:cubicBezTo>
                  <a:cubicBezTo>
                    <a:pt x="19" y="381"/>
                    <a:pt x="19" y="381"/>
                    <a:pt x="19" y="381"/>
                  </a:cubicBezTo>
                  <a:cubicBezTo>
                    <a:pt x="20" y="381"/>
                    <a:pt x="20" y="381"/>
                    <a:pt x="20" y="381"/>
                  </a:cubicBezTo>
                  <a:cubicBezTo>
                    <a:pt x="21" y="382"/>
                    <a:pt x="21" y="382"/>
                    <a:pt x="21" y="382"/>
                  </a:cubicBezTo>
                  <a:cubicBezTo>
                    <a:pt x="15" y="381"/>
                    <a:pt x="15" y="381"/>
                    <a:pt x="15" y="381"/>
                  </a:cubicBezTo>
                  <a:cubicBezTo>
                    <a:pt x="10" y="382"/>
                    <a:pt x="10" y="382"/>
                    <a:pt x="10" y="382"/>
                  </a:cubicBezTo>
                  <a:cubicBezTo>
                    <a:pt x="10" y="383"/>
                    <a:pt x="10" y="383"/>
                    <a:pt x="10" y="383"/>
                  </a:cubicBezTo>
                  <a:cubicBezTo>
                    <a:pt x="11" y="384"/>
                    <a:pt x="11" y="384"/>
                    <a:pt x="11" y="384"/>
                  </a:cubicBezTo>
                  <a:cubicBezTo>
                    <a:pt x="12" y="384"/>
                    <a:pt x="12" y="384"/>
                    <a:pt x="12" y="384"/>
                  </a:cubicBezTo>
                  <a:cubicBezTo>
                    <a:pt x="12" y="385"/>
                    <a:pt x="12" y="385"/>
                    <a:pt x="12" y="385"/>
                  </a:cubicBezTo>
                  <a:cubicBezTo>
                    <a:pt x="12" y="386"/>
                    <a:pt x="12" y="386"/>
                    <a:pt x="12" y="386"/>
                  </a:cubicBezTo>
                  <a:cubicBezTo>
                    <a:pt x="12" y="387"/>
                    <a:pt x="12" y="387"/>
                    <a:pt x="12" y="387"/>
                  </a:cubicBezTo>
                  <a:cubicBezTo>
                    <a:pt x="12" y="388"/>
                    <a:pt x="12" y="388"/>
                    <a:pt x="12" y="388"/>
                  </a:cubicBezTo>
                  <a:cubicBezTo>
                    <a:pt x="12" y="388"/>
                    <a:pt x="12" y="388"/>
                    <a:pt x="12" y="388"/>
                  </a:cubicBezTo>
                  <a:cubicBezTo>
                    <a:pt x="11" y="388"/>
                    <a:pt x="11" y="388"/>
                    <a:pt x="11" y="388"/>
                  </a:cubicBezTo>
                  <a:cubicBezTo>
                    <a:pt x="11" y="385"/>
                    <a:pt x="11" y="385"/>
                    <a:pt x="11" y="385"/>
                  </a:cubicBezTo>
                  <a:cubicBezTo>
                    <a:pt x="11" y="385"/>
                    <a:pt x="11" y="385"/>
                    <a:pt x="11" y="385"/>
                  </a:cubicBezTo>
                  <a:cubicBezTo>
                    <a:pt x="11" y="384"/>
                    <a:pt x="11" y="384"/>
                    <a:pt x="11" y="384"/>
                  </a:cubicBezTo>
                  <a:cubicBezTo>
                    <a:pt x="10" y="384"/>
                    <a:pt x="10" y="384"/>
                    <a:pt x="10" y="384"/>
                  </a:cubicBezTo>
                  <a:cubicBezTo>
                    <a:pt x="10" y="383"/>
                    <a:pt x="10" y="383"/>
                    <a:pt x="10" y="383"/>
                  </a:cubicBezTo>
                  <a:cubicBezTo>
                    <a:pt x="9" y="383"/>
                    <a:pt x="9" y="383"/>
                    <a:pt x="9" y="383"/>
                  </a:cubicBezTo>
                  <a:cubicBezTo>
                    <a:pt x="8" y="383"/>
                    <a:pt x="8" y="383"/>
                    <a:pt x="8" y="383"/>
                  </a:cubicBezTo>
                  <a:cubicBezTo>
                    <a:pt x="8" y="383"/>
                    <a:pt x="8" y="383"/>
                    <a:pt x="8" y="383"/>
                  </a:cubicBezTo>
                  <a:cubicBezTo>
                    <a:pt x="7" y="385"/>
                    <a:pt x="7" y="385"/>
                    <a:pt x="7" y="385"/>
                  </a:cubicBezTo>
                  <a:cubicBezTo>
                    <a:pt x="6" y="385"/>
                    <a:pt x="6" y="385"/>
                    <a:pt x="6" y="385"/>
                  </a:cubicBezTo>
                  <a:cubicBezTo>
                    <a:pt x="5" y="385"/>
                    <a:pt x="5" y="385"/>
                    <a:pt x="5" y="385"/>
                  </a:cubicBezTo>
                  <a:cubicBezTo>
                    <a:pt x="5" y="385"/>
                    <a:pt x="5" y="385"/>
                    <a:pt x="5" y="385"/>
                  </a:cubicBezTo>
                  <a:cubicBezTo>
                    <a:pt x="4" y="386"/>
                    <a:pt x="4" y="386"/>
                    <a:pt x="4" y="386"/>
                  </a:cubicBezTo>
                  <a:cubicBezTo>
                    <a:pt x="4" y="386"/>
                    <a:pt x="4" y="386"/>
                    <a:pt x="4" y="386"/>
                  </a:cubicBezTo>
                  <a:cubicBezTo>
                    <a:pt x="3" y="386"/>
                    <a:pt x="3" y="386"/>
                    <a:pt x="3" y="386"/>
                  </a:cubicBezTo>
                  <a:cubicBezTo>
                    <a:pt x="3" y="386"/>
                    <a:pt x="3" y="386"/>
                    <a:pt x="3" y="386"/>
                  </a:cubicBezTo>
                  <a:cubicBezTo>
                    <a:pt x="2" y="387"/>
                    <a:pt x="2" y="387"/>
                    <a:pt x="2" y="387"/>
                  </a:cubicBezTo>
                  <a:cubicBezTo>
                    <a:pt x="1" y="388"/>
                    <a:pt x="1" y="388"/>
                    <a:pt x="1" y="388"/>
                  </a:cubicBezTo>
                  <a:cubicBezTo>
                    <a:pt x="1" y="388"/>
                    <a:pt x="1" y="388"/>
                    <a:pt x="1" y="388"/>
                  </a:cubicBezTo>
                  <a:cubicBezTo>
                    <a:pt x="1" y="388"/>
                    <a:pt x="1" y="388"/>
                    <a:pt x="1" y="388"/>
                  </a:cubicBezTo>
                  <a:cubicBezTo>
                    <a:pt x="2" y="388"/>
                    <a:pt x="2" y="388"/>
                    <a:pt x="2" y="388"/>
                  </a:cubicBezTo>
                  <a:cubicBezTo>
                    <a:pt x="2" y="388"/>
                    <a:pt x="2" y="388"/>
                    <a:pt x="2" y="388"/>
                  </a:cubicBezTo>
                  <a:cubicBezTo>
                    <a:pt x="2" y="389"/>
                    <a:pt x="2" y="389"/>
                    <a:pt x="2" y="389"/>
                  </a:cubicBezTo>
                  <a:cubicBezTo>
                    <a:pt x="2" y="389"/>
                    <a:pt x="2" y="389"/>
                    <a:pt x="2" y="389"/>
                  </a:cubicBezTo>
                  <a:cubicBezTo>
                    <a:pt x="3" y="389"/>
                    <a:pt x="3" y="389"/>
                    <a:pt x="3" y="389"/>
                  </a:cubicBezTo>
                  <a:cubicBezTo>
                    <a:pt x="4" y="389"/>
                    <a:pt x="4" y="389"/>
                    <a:pt x="4" y="389"/>
                  </a:cubicBezTo>
                  <a:cubicBezTo>
                    <a:pt x="4" y="390"/>
                    <a:pt x="4" y="390"/>
                    <a:pt x="4" y="390"/>
                  </a:cubicBezTo>
                  <a:cubicBezTo>
                    <a:pt x="3" y="390"/>
                    <a:pt x="3" y="390"/>
                    <a:pt x="3" y="390"/>
                  </a:cubicBezTo>
                  <a:cubicBezTo>
                    <a:pt x="2" y="390"/>
                    <a:pt x="2" y="390"/>
                    <a:pt x="2" y="390"/>
                  </a:cubicBezTo>
                  <a:cubicBezTo>
                    <a:pt x="2" y="390"/>
                    <a:pt x="2" y="390"/>
                    <a:pt x="2" y="390"/>
                  </a:cubicBezTo>
                  <a:cubicBezTo>
                    <a:pt x="3" y="391"/>
                    <a:pt x="3" y="391"/>
                    <a:pt x="3" y="391"/>
                  </a:cubicBezTo>
                  <a:cubicBezTo>
                    <a:pt x="6" y="390"/>
                    <a:pt x="6" y="390"/>
                    <a:pt x="6" y="390"/>
                  </a:cubicBezTo>
                  <a:cubicBezTo>
                    <a:pt x="7" y="390"/>
                    <a:pt x="7" y="390"/>
                    <a:pt x="7" y="390"/>
                  </a:cubicBezTo>
                  <a:cubicBezTo>
                    <a:pt x="8" y="391"/>
                    <a:pt x="8" y="391"/>
                    <a:pt x="8" y="391"/>
                  </a:cubicBezTo>
                  <a:cubicBezTo>
                    <a:pt x="10" y="393"/>
                    <a:pt x="10" y="393"/>
                    <a:pt x="10" y="393"/>
                  </a:cubicBezTo>
                  <a:cubicBezTo>
                    <a:pt x="8" y="393"/>
                    <a:pt x="8" y="393"/>
                    <a:pt x="8" y="393"/>
                  </a:cubicBezTo>
                  <a:cubicBezTo>
                    <a:pt x="9" y="393"/>
                    <a:pt x="9" y="393"/>
                    <a:pt x="9" y="393"/>
                  </a:cubicBezTo>
                  <a:cubicBezTo>
                    <a:pt x="9" y="394"/>
                    <a:pt x="9" y="394"/>
                    <a:pt x="9" y="394"/>
                  </a:cubicBezTo>
                  <a:cubicBezTo>
                    <a:pt x="9" y="394"/>
                    <a:pt x="9" y="394"/>
                    <a:pt x="9" y="394"/>
                  </a:cubicBezTo>
                  <a:cubicBezTo>
                    <a:pt x="6" y="392"/>
                    <a:pt x="6" y="392"/>
                    <a:pt x="6" y="392"/>
                  </a:cubicBezTo>
                  <a:cubicBezTo>
                    <a:pt x="4" y="392"/>
                    <a:pt x="4" y="392"/>
                    <a:pt x="4" y="392"/>
                  </a:cubicBezTo>
                  <a:cubicBezTo>
                    <a:pt x="3" y="394"/>
                    <a:pt x="3" y="394"/>
                    <a:pt x="3" y="394"/>
                  </a:cubicBezTo>
                  <a:cubicBezTo>
                    <a:pt x="4" y="394"/>
                    <a:pt x="4" y="394"/>
                    <a:pt x="4" y="394"/>
                  </a:cubicBezTo>
                  <a:cubicBezTo>
                    <a:pt x="6" y="395"/>
                    <a:pt x="6" y="395"/>
                    <a:pt x="6" y="395"/>
                  </a:cubicBezTo>
                  <a:cubicBezTo>
                    <a:pt x="6" y="395"/>
                    <a:pt x="6" y="395"/>
                    <a:pt x="6" y="395"/>
                  </a:cubicBezTo>
                  <a:cubicBezTo>
                    <a:pt x="7" y="394"/>
                    <a:pt x="7" y="394"/>
                    <a:pt x="7" y="394"/>
                  </a:cubicBezTo>
                  <a:cubicBezTo>
                    <a:pt x="8" y="394"/>
                    <a:pt x="8" y="394"/>
                    <a:pt x="8" y="394"/>
                  </a:cubicBezTo>
                  <a:cubicBezTo>
                    <a:pt x="8" y="395"/>
                    <a:pt x="8" y="395"/>
                    <a:pt x="8" y="395"/>
                  </a:cubicBezTo>
                  <a:cubicBezTo>
                    <a:pt x="9" y="395"/>
                    <a:pt x="9" y="395"/>
                    <a:pt x="9" y="395"/>
                  </a:cubicBezTo>
                  <a:cubicBezTo>
                    <a:pt x="8" y="395"/>
                    <a:pt x="8" y="395"/>
                    <a:pt x="8" y="395"/>
                  </a:cubicBezTo>
                  <a:cubicBezTo>
                    <a:pt x="8" y="395"/>
                    <a:pt x="8" y="395"/>
                    <a:pt x="8" y="395"/>
                  </a:cubicBezTo>
                  <a:cubicBezTo>
                    <a:pt x="7" y="395"/>
                    <a:pt x="7" y="395"/>
                    <a:pt x="7" y="395"/>
                  </a:cubicBezTo>
                  <a:cubicBezTo>
                    <a:pt x="7" y="396"/>
                    <a:pt x="7" y="396"/>
                    <a:pt x="7" y="396"/>
                  </a:cubicBezTo>
                  <a:cubicBezTo>
                    <a:pt x="7" y="396"/>
                    <a:pt x="7" y="396"/>
                    <a:pt x="7" y="396"/>
                  </a:cubicBezTo>
                  <a:cubicBezTo>
                    <a:pt x="7" y="396"/>
                    <a:pt x="7" y="396"/>
                    <a:pt x="7" y="396"/>
                  </a:cubicBezTo>
                  <a:cubicBezTo>
                    <a:pt x="8" y="397"/>
                    <a:pt x="8" y="397"/>
                    <a:pt x="8" y="397"/>
                  </a:cubicBezTo>
                  <a:cubicBezTo>
                    <a:pt x="8" y="397"/>
                    <a:pt x="8" y="397"/>
                    <a:pt x="8" y="397"/>
                  </a:cubicBezTo>
                  <a:cubicBezTo>
                    <a:pt x="8" y="397"/>
                    <a:pt x="8" y="397"/>
                    <a:pt x="8" y="397"/>
                  </a:cubicBezTo>
                  <a:cubicBezTo>
                    <a:pt x="8" y="397"/>
                    <a:pt x="8" y="397"/>
                    <a:pt x="8" y="397"/>
                  </a:cubicBezTo>
                  <a:cubicBezTo>
                    <a:pt x="10" y="397"/>
                    <a:pt x="10" y="397"/>
                    <a:pt x="10" y="397"/>
                  </a:cubicBezTo>
                  <a:cubicBezTo>
                    <a:pt x="11" y="397"/>
                    <a:pt x="11" y="397"/>
                    <a:pt x="11" y="397"/>
                  </a:cubicBezTo>
                  <a:cubicBezTo>
                    <a:pt x="11" y="396"/>
                    <a:pt x="11" y="396"/>
                    <a:pt x="11" y="396"/>
                  </a:cubicBezTo>
                  <a:cubicBezTo>
                    <a:pt x="12" y="398"/>
                    <a:pt x="12" y="398"/>
                    <a:pt x="12" y="398"/>
                  </a:cubicBezTo>
                  <a:cubicBezTo>
                    <a:pt x="13" y="399"/>
                    <a:pt x="13" y="399"/>
                    <a:pt x="13" y="399"/>
                  </a:cubicBezTo>
                  <a:cubicBezTo>
                    <a:pt x="15" y="399"/>
                    <a:pt x="15" y="399"/>
                    <a:pt x="15" y="399"/>
                  </a:cubicBezTo>
                  <a:cubicBezTo>
                    <a:pt x="16" y="398"/>
                    <a:pt x="16" y="398"/>
                    <a:pt x="16" y="398"/>
                  </a:cubicBezTo>
                  <a:cubicBezTo>
                    <a:pt x="18" y="396"/>
                    <a:pt x="18" y="396"/>
                    <a:pt x="18" y="396"/>
                  </a:cubicBezTo>
                  <a:cubicBezTo>
                    <a:pt x="19" y="396"/>
                    <a:pt x="19" y="396"/>
                    <a:pt x="19" y="396"/>
                  </a:cubicBezTo>
                  <a:cubicBezTo>
                    <a:pt x="22" y="395"/>
                    <a:pt x="22" y="395"/>
                    <a:pt x="22" y="395"/>
                  </a:cubicBezTo>
                  <a:cubicBezTo>
                    <a:pt x="23" y="395"/>
                    <a:pt x="23" y="395"/>
                    <a:pt x="23" y="395"/>
                  </a:cubicBezTo>
                  <a:cubicBezTo>
                    <a:pt x="23" y="394"/>
                    <a:pt x="23" y="394"/>
                    <a:pt x="23" y="394"/>
                  </a:cubicBezTo>
                  <a:cubicBezTo>
                    <a:pt x="23" y="394"/>
                    <a:pt x="23" y="394"/>
                    <a:pt x="23" y="394"/>
                  </a:cubicBezTo>
                  <a:cubicBezTo>
                    <a:pt x="24" y="394"/>
                    <a:pt x="24" y="394"/>
                    <a:pt x="24" y="394"/>
                  </a:cubicBezTo>
                  <a:cubicBezTo>
                    <a:pt x="24" y="394"/>
                    <a:pt x="24" y="394"/>
                    <a:pt x="24" y="394"/>
                  </a:cubicBezTo>
                  <a:cubicBezTo>
                    <a:pt x="25" y="394"/>
                    <a:pt x="25" y="394"/>
                    <a:pt x="25" y="394"/>
                  </a:cubicBezTo>
                  <a:cubicBezTo>
                    <a:pt x="25" y="393"/>
                    <a:pt x="25" y="393"/>
                    <a:pt x="25" y="393"/>
                  </a:cubicBezTo>
                  <a:cubicBezTo>
                    <a:pt x="25" y="392"/>
                    <a:pt x="25" y="392"/>
                    <a:pt x="25" y="392"/>
                  </a:cubicBezTo>
                  <a:cubicBezTo>
                    <a:pt x="26" y="392"/>
                    <a:pt x="26" y="392"/>
                    <a:pt x="26" y="392"/>
                  </a:cubicBezTo>
                  <a:cubicBezTo>
                    <a:pt x="25" y="393"/>
                    <a:pt x="25" y="393"/>
                    <a:pt x="25" y="393"/>
                  </a:cubicBezTo>
                  <a:cubicBezTo>
                    <a:pt x="26" y="394"/>
                    <a:pt x="26" y="394"/>
                    <a:pt x="26" y="394"/>
                  </a:cubicBezTo>
                  <a:cubicBezTo>
                    <a:pt x="26" y="394"/>
                    <a:pt x="26" y="394"/>
                    <a:pt x="26" y="394"/>
                  </a:cubicBezTo>
                  <a:cubicBezTo>
                    <a:pt x="28" y="394"/>
                    <a:pt x="28" y="394"/>
                    <a:pt x="28" y="394"/>
                  </a:cubicBezTo>
                  <a:cubicBezTo>
                    <a:pt x="30" y="394"/>
                    <a:pt x="30" y="394"/>
                    <a:pt x="30" y="394"/>
                  </a:cubicBezTo>
                  <a:cubicBezTo>
                    <a:pt x="33" y="391"/>
                    <a:pt x="33" y="391"/>
                    <a:pt x="33" y="391"/>
                  </a:cubicBezTo>
                  <a:cubicBezTo>
                    <a:pt x="33" y="392"/>
                    <a:pt x="33" y="392"/>
                    <a:pt x="33" y="392"/>
                  </a:cubicBezTo>
                  <a:cubicBezTo>
                    <a:pt x="32" y="393"/>
                    <a:pt x="32" y="393"/>
                    <a:pt x="32" y="393"/>
                  </a:cubicBezTo>
                  <a:cubicBezTo>
                    <a:pt x="31" y="394"/>
                    <a:pt x="31" y="394"/>
                    <a:pt x="31" y="394"/>
                  </a:cubicBezTo>
                  <a:cubicBezTo>
                    <a:pt x="32" y="395"/>
                    <a:pt x="32" y="395"/>
                    <a:pt x="32" y="395"/>
                  </a:cubicBezTo>
                  <a:cubicBezTo>
                    <a:pt x="34" y="395"/>
                    <a:pt x="34" y="395"/>
                    <a:pt x="34" y="395"/>
                  </a:cubicBezTo>
                  <a:cubicBezTo>
                    <a:pt x="36" y="394"/>
                    <a:pt x="36" y="394"/>
                    <a:pt x="36" y="394"/>
                  </a:cubicBezTo>
                  <a:cubicBezTo>
                    <a:pt x="37" y="393"/>
                    <a:pt x="37" y="393"/>
                    <a:pt x="37" y="393"/>
                  </a:cubicBezTo>
                  <a:cubicBezTo>
                    <a:pt x="38" y="395"/>
                    <a:pt x="38" y="395"/>
                    <a:pt x="38" y="395"/>
                  </a:cubicBezTo>
                  <a:cubicBezTo>
                    <a:pt x="40" y="396"/>
                    <a:pt x="40" y="396"/>
                    <a:pt x="40" y="396"/>
                  </a:cubicBezTo>
                  <a:cubicBezTo>
                    <a:pt x="43" y="397"/>
                    <a:pt x="43" y="397"/>
                    <a:pt x="43" y="397"/>
                  </a:cubicBezTo>
                  <a:cubicBezTo>
                    <a:pt x="45" y="397"/>
                    <a:pt x="45" y="397"/>
                    <a:pt x="45" y="397"/>
                  </a:cubicBezTo>
                  <a:cubicBezTo>
                    <a:pt x="46" y="396"/>
                    <a:pt x="46" y="396"/>
                    <a:pt x="46" y="396"/>
                  </a:cubicBezTo>
                  <a:cubicBezTo>
                    <a:pt x="47" y="396"/>
                    <a:pt x="47" y="396"/>
                    <a:pt x="47" y="396"/>
                  </a:cubicBezTo>
                  <a:cubicBezTo>
                    <a:pt x="47" y="395"/>
                    <a:pt x="47" y="395"/>
                    <a:pt x="47" y="395"/>
                  </a:cubicBezTo>
                  <a:cubicBezTo>
                    <a:pt x="47" y="394"/>
                    <a:pt x="47" y="394"/>
                    <a:pt x="47" y="394"/>
                  </a:cubicBezTo>
                  <a:cubicBezTo>
                    <a:pt x="47" y="394"/>
                    <a:pt x="47" y="394"/>
                    <a:pt x="47" y="394"/>
                  </a:cubicBezTo>
                  <a:cubicBezTo>
                    <a:pt x="47" y="393"/>
                    <a:pt x="47" y="393"/>
                    <a:pt x="47" y="393"/>
                  </a:cubicBezTo>
                  <a:cubicBezTo>
                    <a:pt x="47" y="392"/>
                    <a:pt x="47" y="392"/>
                    <a:pt x="47" y="392"/>
                  </a:cubicBezTo>
                  <a:cubicBezTo>
                    <a:pt x="47" y="392"/>
                    <a:pt x="47" y="392"/>
                    <a:pt x="47" y="392"/>
                  </a:cubicBezTo>
                  <a:cubicBezTo>
                    <a:pt x="46" y="391"/>
                    <a:pt x="46" y="391"/>
                    <a:pt x="46" y="391"/>
                  </a:cubicBezTo>
                  <a:cubicBezTo>
                    <a:pt x="46" y="391"/>
                    <a:pt x="46" y="391"/>
                    <a:pt x="46" y="391"/>
                  </a:cubicBezTo>
                  <a:cubicBezTo>
                    <a:pt x="46" y="391"/>
                    <a:pt x="46" y="391"/>
                    <a:pt x="46" y="391"/>
                  </a:cubicBezTo>
                  <a:cubicBezTo>
                    <a:pt x="48" y="391"/>
                    <a:pt x="48" y="391"/>
                    <a:pt x="48" y="391"/>
                  </a:cubicBezTo>
                  <a:cubicBezTo>
                    <a:pt x="48" y="391"/>
                    <a:pt x="48" y="391"/>
                    <a:pt x="48" y="391"/>
                  </a:cubicBezTo>
                  <a:cubicBezTo>
                    <a:pt x="48" y="391"/>
                    <a:pt x="48" y="391"/>
                    <a:pt x="48" y="391"/>
                  </a:cubicBezTo>
                  <a:cubicBezTo>
                    <a:pt x="48" y="390"/>
                    <a:pt x="48" y="390"/>
                    <a:pt x="48" y="390"/>
                  </a:cubicBezTo>
                  <a:cubicBezTo>
                    <a:pt x="48" y="390"/>
                    <a:pt x="48" y="390"/>
                    <a:pt x="48" y="390"/>
                  </a:cubicBezTo>
                  <a:cubicBezTo>
                    <a:pt x="47" y="389"/>
                    <a:pt x="47" y="389"/>
                    <a:pt x="47" y="389"/>
                  </a:cubicBezTo>
                  <a:cubicBezTo>
                    <a:pt x="47" y="388"/>
                    <a:pt x="47" y="388"/>
                    <a:pt x="47" y="388"/>
                  </a:cubicBezTo>
                  <a:cubicBezTo>
                    <a:pt x="47" y="388"/>
                    <a:pt x="47" y="388"/>
                    <a:pt x="47" y="388"/>
                  </a:cubicBezTo>
                  <a:cubicBezTo>
                    <a:pt x="47" y="387"/>
                    <a:pt x="47" y="387"/>
                    <a:pt x="47" y="387"/>
                  </a:cubicBezTo>
                  <a:cubicBezTo>
                    <a:pt x="47" y="386"/>
                    <a:pt x="47" y="386"/>
                    <a:pt x="47" y="386"/>
                  </a:cubicBezTo>
                  <a:cubicBezTo>
                    <a:pt x="48" y="386"/>
                    <a:pt x="48" y="386"/>
                    <a:pt x="48" y="386"/>
                  </a:cubicBezTo>
                  <a:cubicBezTo>
                    <a:pt x="48" y="386"/>
                    <a:pt x="48" y="386"/>
                    <a:pt x="48" y="386"/>
                  </a:cubicBezTo>
                  <a:cubicBezTo>
                    <a:pt x="48" y="387"/>
                    <a:pt x="48" y="387"/>
                    <a:pt x="48" y="387"/>
                  </a:cubicBezTo>
                  <a:cubicBezTo>
                    <a:pt x="49" y="388"/>
                    <a:pt x="49" y="388"/>
                    <a:pt x="49" y="388"/>
                  </a:cubicBezTo>
                  <a:cubicBezTo>
                    <a:pt x="50" y="387"/>
                    <a:pt x="50" y="387"/>
                    <a:pt x="50" y="387"/>
                  </a:cubicBezTo>
                  <a:cubicBezTo>
                    <a:pt x="51" y="385"/>
                    <a:pt x="51" y="385"/>
                    <a:pt x="51" y="385"/>
                  </a:cubicBezTo>
                  <a:cubicBezTo>
                    <a:pt x="53" y="379"/>
                    <a:pt x="53" y="379"/>
                    <a:pt x="53" y="379"/>
                  </a:cubicBezTo>
                  <a:cubicBezTo>
                    <a:pt x="53" y="379"/>
                    <a:pt x="53" y="379"/>
                    <a:pt x="53" y="379"/>
                  </a:cubicBezTo>
                  <a:cubicBezTo>
                    <a:pt x="53" y="379"/>
                    <a:pt x="53" y="379"/>
                    <a:pt x="53" y="379"/>
                  </a:cubicBezTo>
                  <a:cubicBezTo>
                    <a:pt x="53" y="380"/>
                    <a:pt x="53" y="380"/>
                    <a:pt x="53" y="380"/>
                  </a:cubicBezTo>
                  <a:cubicBezTo>
                    <a:pt x="53" y="380"/>
                    <a:pt x="53" y="380"/>
                    <a:pt x="53" y="380"/>
                  </a:cubicBezTo>
                  <a:cubicBezTo>
                    <a:pt x="53" y="381"/>
                    <a:pt x="53" y="381"/>
                    <a:pt x="53" y="381"/>
                  </a:cubicBezTo>
                  <a:cubicBezTo>
                    <a:pt x="53" y="381"/>
                    <a:pt x="53" y="381"/>
                    <a:pt x="53" y="381"/>
                  </a:cubicBezTo>
                  <a:cubicBezTo>
                    <a:pt x="53" y="382"/>
                    <a:pt x="53" y="382"/>
                    <a:pt x="53" y="382"/>
                  </a:cubicBezTo>
                  <a:cubicBezTo>
                    <a:pt x="53" y="383"/>
                    <a:pt x="53" y="383"/>
                    <a:pt x="53" y="383"/>
                  </a:cubicBezTo>
                  <a:cubicBezTo>
                    <a:pt x="52" y="383"/>
                    <a:pt x="52" y="383"/>
                    <a:pt x="52" y="383"/>
                  </a:cubicBezTo>
                  <a:cubicBezTo>
                    <a:pt x="52" y="384"/>
                    <a:pt x="52" y="384"/>
                    <a:pt x="52" y="384"/>
                  </a:cubicBezTo>
                  <a:cubicBezTo>
                    <a:pt x="52" y="384"/>
                    <a:pt x="52" y="384"/>
                    <a:pt x="52" y="384"/>
                  </a:cubicBezTo>
                  <a:cubicBezTo>
                    <a:pt x="51" y="387"/>
                    <a:pt x="51" y="387"/>
                    <a:pt x="51" y="387"/>
                  </a:cubicBezTo>
                  <a:cubicBezTo>
                    <a:pt x="50" y="388"/>
                    <a:pt x="50" y="388"/>
                    <a:pt x="50" y="388"/>
                  </a:cubicBezTo>
                  <a:cubicBezTo>
                    <a:pt x="49" y="389"/>
                    <a:pt x="49" y="389"/>
                    <a:pt x="49" y="389"/>
                  </a:cubicBezTo>
                  <a:cubicBezTo>
                    <a:pt x="49" y="390"/>
                    <a:pt x="49" y="390"/>
                    <a:pt x="49" y="390"/>
                  </a:cubicBezTo>
                  <a:cubicBezTo>
                    <a:pt x="52" y="392"/>
                    <a:pt x="52" y="392"/>
                    <a:pt x="52" y="392"/>
                  </a:cubicBezTo>
                  <a:cubicBezTo>
                    <a:pt x="56" y="393"/>
                    <a:pt x="56" y="393"/>
                    <a:pt x="56" y="393"/>
                  </a:cubicBezTo>
                  <a:cubicBezTo>
                    <a:pt x="59" y="394"/>
                    <a:pt x="59" y="394"/>
                    <a:pt x="59" y="394"/>
                  </a:cubicBezTo>
                  <a:cubicBezTo>
                    <a:pt x="59" y="394"/>
                    <a:pt x="59" y="394"/>
                    <a:pt x="59" y="394"/>
                  </a:cubicBezTo>
                  <a:cubicBezTo>
                    <a:pt x="60" y="394"/>
                    <a:pt x="60" y="394"/>
                    <a:pt x="60" y="394"/>
                  </a:cubicBezTo>
                  <a:cubicBezTo>
                    <a:pt x="62" y="393"/>
                    <a:pt x="62" y="393"/>
                    <a:pt x="62" y="393"/>
                  </a:cubicBezTo>
                  <a:cubicBezTo>
                    <a:pt x="61" y="394"/>
                    <a:pt x="61" y="394"/>
                    <a:pt x="61" y="394"/>
                  </a:cubicBezTo>
                  <a:cubicBezTo>
                    <a:pt x="60" y="395"/>
                    <a:pt x="60" y="395"/>
                    <a:pt x="60" y="395"/>
                  </a:cubicBezTo>
                  <a:cubicBezTo>
                    <a:pt x="59" y="396"/>
                    <a:pt x="59" y="396"/>
                    <a:pt x="59" y="396"/>
                  </a:cubicBezTo>
                  <a:cubicBezTo>
                    <a:pt x="60" y="397"/>
                    <a:pt x="60" y="397"/>
                    <a:pt x="60" y="397"/>
                  </a:cubicBezTo>
                  <a:cubicBezTo>
                    <a:pt x="60" y="397"/>
                    <a:pt x="60" y="397"/>
                    <a:pt x="60" y="397"/>
                  </a:cubicBezTo>
                  <a:cubicBezTo>
                    <a:pt x="61" y="397"/>
                    <a:pt x="61" y="397"/>
                    <a:pt x="61" y="397"/>
                  </a:cubicBezTo>
                  <a:cubicBezTo>
                    <a:pt x="62" y="396"/>
                    <a:pt x="62" y="396"/>
                    <a:pt x="62" y="396"/>
                  </a:cubicBezTo>
                  <a:cubicBezTo>
                    <a:pt x="66" y="395"/>
                    <a:pt x="66" y="395"/>
                    <a:pt x="66" y="395"/>
                  </a:cubicBezTo>
                  <a:cubicBezTo>
                    <a:pt x="66" y="395"/>
                    <a:pt x="66" y="395"/>
                    <a:pt x="66" y="395"/>
                  </a:cubicBezTo>
                  <a:cubicBezTo>
                    <a:pt x="66" y="394"/>
                    <a:pt x="66" y="394"/>
                    <a:pt x="66" y="394"/>
                  </a:cubicBezTo>
                  <a:cubicBezTo>
                    <a:pt x="66" y="394"/>
                    <a:pt x="66" y="394"/>
                    <a:pt x="66" y="394"/>
                  </a:cubicBezTo>
                  <a:cubicBezTo>
                    <a:pt x="66" y="394"/>
                    <a:pt x="66" y="394"/>
                    <a:pt x="66" y="394"/>
                  </a:cubicBezTo>
                  <a:cubicBezTo>
                    <a:pt x="66" y="394"/>
                    <a:pt x="66" y="394"/>
                    <a:pt x="66" y="394"/>
                  </a:cubicBezTo>
                  <a:cubicBezTo>
                    <a:pt x="67" y="393"/>
                    <a:pt x="67" y="393"/>
                    <a:pt x="67" y="393"/>
                  </a:cubicBezTo>
                  <a:cubicBezTo>
                    <a:pt x="68" y="393"/>
                    <a:pt x="68" y="393"/>
                    <a:pt x="68" y="393"/>
                  </a:cubicBezTo>
                  <a:cubicBezTo>
                    <a:pt x="69" y="393"/>
                    <a:pt x="69" y="393"/>
                    <a:pt x="69" y="393"/>
                  </a:cubicBezTo>
                  <a:cubicBezTo>
                    <a:pt x="69" y="393"/>
                    <a:pt x="69" y="393"/>
                    <a:pt x="69" y="393"/>
                  </a:cubicBezTo>
                  <a:cubicBezTo>
                    <a:pt x="69" y="393"/>
                    <a:pt x="69" y="393"/>
                    <a:pt x="69" y="393"/>
                  </a:cubicBezTo>
                  <a:cubicBezTo>
                    <a:pt x="69" y="394"/>
                    <a:pt x="69" y="394"/>
                    <a:pt x="69" y="394"/>
                  </a:cubicBezTo>
                  <a:cubicBezTo>
                    <a:pt x="70" y="394"/>
                    <a:pt x="70" y="394"/>
                    <a:pt x="70" y="394"/>
                  </a:cubicBezTo>
                  <a:cubicBezTo>
                    <a:pt x="70" y="394"/>
                    <a:pt x="70" y="394"/>
                    <a:pt x="70" y="394"/>
                  </a:cubicBezTo>
                  <a:cubicBezTo>
                    <a:pt x="71" y="394"/>
                    <a:pt x="71" y="394"/>
                    <a:pt x="71" y="394"/>
                  </a:cubicBezTo>
                  <a:cubicBezTo>
                    <a:pt x="71" y="394"/>
                    <a:pt x="71" y="394"/>
                    <a:pt x="71" y="394"/>
                  </a:cubicBezTo>
                  <a:cubicBezTo>
                    <a:pt x="72" y="392"/>
                    <a:pt x="72" y="392"/>
                    <a:pt x="72" y="392"/>
                  </a:cubicBezTo>
                  <a:cubicBezTo>
                    <a:pt x="72" y="392"/>
                    <a:pt x="72" y="392"/>
                    <a:pt x="72" y="392"/>
                  </a:cubicBezTo>
                  <a:cubicBezTo>
                    <a:pt x="71" y="391"/>
                    <a:pt x="71" y="391"/>
                    <a:pt x="71" y="391"/>
                  </a:cubicBezTo>
                  <a:cubicBezTo>
                    <a:pt x="71" y="391"/>
                    <a:pt x="71" y="391"/>
                    <a:pt x="71" y="391"/>
                  </a:cubicBezTo>
                  <a:cubicBezTo>
                    <a:pt x="71" y="388"/>
                    <a:pt x="71" y="388"/>
                    <a:pt x="71" y="388"/>
                  </a:cubicBezTo>
                  <a:cubicBezTo>
                    <a:pt x="70" y="387"/>
                    <a:pt x="70" y="387"/>
                    <a:pt x="70" y="387"/>
                  </a:cubicBezTo>
                  <a:cubicBezTo>
                    <a:pt x="69" y="387"/>
                    <a:pt x="69" y="387"/>
                    <a:pt x="69" y="387"/>
                  </a:cubicBezTo>
                  <a:cubicBezTo>
                    <a:pt x="69" y="386"/>
                    <a:pt x="69" y="386"/>
                    <a:pt x="69" y="386"/>
                  </a:cubicBezTo>
                  <a:cubicBezTo>
                    <a:pt x="69" y="385"/>
                    <a:pt x="69" y="385"/>
                    <a:pt x="69" y="385"/>
                  </a:cubicBezTo>
                  <a:cubicBezTo>
                    <a:pt x="71" y="382"/>
                    <a:pt x="71" y="382"/>
                    <a:pt x="71" y="382"/>
                  </a:cubicBezTo>
                  <a:cubicBezTo>
                    <a:pt x="71" y="382"/>
                    <a:pt x="71" y="382"/>
                    <a:pt x="71" y="382"/>
                  </a:cubicBezTo>
                  <a:cubicBezTo>
                    <a:pt x="71" y="381"/>
                    <a:pt x="71" y="381"/>
                    <a:pt x="71" y="381"/>
                  </a:cubicBezTo>
                  <a:cubicBezTo>
                    <a:pt x="70" y="380"/>
                    <a:pt x="70" y="380"/>
                    <a:pt x="70" y="380"/>
                  </a:cubicBezTo>
                  <a:cubicBezTo>
                    <a:pt x="70" y="379"/>
                    <a:pt x="70" y="379"/>
                    <a:pt x="70" y="379"/>
                  </a:cubicBezTo>
                  <a:cubicBezTo>
                    <a:pt x="70" y="380"/>
                    <a:pt x="70" y="380"/>
                    <a:pt x="70" y="380"/>
                  </a:cubicBezTo>
                  <a:cubicBezTo>
                    <a:pt x="71" y="380"/>
                    <a:pt x="71" y="380"/>
                    <a:pt x="71" y="380"/>
                  </a:cubicBezTo>
                  <a:cubicBezTo>
                    <a:pt x="72" y="380"/>
                    <a:pt x="72" y="380"/>
                    <a:pt x="72" y="380"/>
                  </a:cubicBezTo>
                  <a:cubicBezTo>
                    <a:pt x="76" y="376"/>
                    <a:pt x="76" y="376"/>
                    <a:pt x="76" y="376"/>
                  </a:cubicBezTo>
                  <a:cubicBezTo>
                    <a:pt x="79" y="374"/>
                    <a:pt x="79" y="374"/>
                    <a:pt x="79" y="374"/>
                  </a:cubicBezTo>
                  <a:cubicBezTo>
                    <a:pt x="78" y="375"/>
                    <a:pt x="78" y="375"/>
                    <a:pt x="78" y="375"/>
                  </a:cubicBezTo>
                  <a:cubicBezTo>
                    <a:pt x="78" y="376"/>
                    <a:pt x="78" y="376"/>
                    <a:pt x="78" y="376"/>
                  </a:cubicBezTo>
                  <a:cubicBezTo>
                    <a:pt x="77" y="376"/>
                    <a:pt x="77" y="376"/>
                    <a:pt x="77" y="376"/>
                  </a:cubicBezTo>
                  <a:cubicBezTo>
                    <a:pt x="76" y="376"/>
                    <a:pt x="76" y="376"/>
                    <a:pt x="76" y="376"/>
                  </a:cubicBezTo>
                  <a:cubicBezTo>
                    <a:pt x="76" y="377"/>
                    <a:pt x="76" y="377"/>
                    <a:pt x="76" y="377"/>
                  </a:cubicBezTo>
                  <a:cubicBezTo>
                    <a:pt x="75" y="378"/>
                    <a:pt x="75" y="378"/>
                    <a:pt x="75" y="378"/>
                  </a:cubicBezTo>
                  <a:cubicBezTo>
                    <a:pt x="75" y="379"/>
                    <a:pt x="75" y="379"/>
                    <a:pt x="75" y="379"/>
                  </a:cubicBezTo>
                  <a:cubicBezTo>
                    <a:pt x="74" y="379"/>
                    <a:pt x="74" y="379"/>
                    <a:pt x="74" y="379"/>
                  </a:cubicBezTo>
                  <a:cubicBezTo>
                    <a:pt x="73" y="381"/>
                    <a:pt x="73" y="381"/>
                    <a:pt x="73" y="381"/>
                  </a:cubicBezTo>
                  <a:cubicBezTo>
                    <a:pt x="73" y="381"/>
                    <a:pt x="73" y="381"/>
                    <a:pt x="73" y="381"/>
                  </a:cubicBezTo>
                  <a:cubicBezTo>
                    <a:pt x="73" y="383"/>
                    <a:pt x="73" y="383"/>
                    <a:pt x="73" y="383"/>
                  </a:cubicBezTo>
                  <a:cubicBezTo>
                    <a:pt x="72" y="384"/>
                    <a:pt x="72" y="384"/>
                    <a:pt x="72" y="384"/>
                  </a:cubicBezTo>
                  <a:cubicBezTo>
                    <a:pt x="71" y="385"/>
                    <a:pt x="71" y="385"/>
                    <a:pt x="71" y="385"/>
                  </a:cubicBezTo>
                  <a:cubicBezTo>
                    <a:pt x="71" y="386"/>
                    <a:pt x="71" y="386"/>
                    <a:pt x="71" y="386"/>
                  </a:cubicBezTo>
                  <a:cubicBezTo>
                    <a:pt x="71" y="387"/>
                    <a:pt x="71" y="387"/>
                    <a:pt x="71" y="387"/>
                  </a:cubicBezTo>
                  <a:cubicBezTo>
                    <a:pt x="72" y="387"/>
                    <a:pt x="72" y="387"/>
                    <a:pt x="72" y="387"/>
                  </a:cubicBezTo>
                  <a:cubicBezTo>
                    <a:pt x="72" y="387"/>
                    <a:pt x="72" y="387"/>
                    <a:pt x="72" y="387"/>
                  </a:cubicBezTo>
                  <a:cubicBezTo>
                    <a:pt x="72" y="388"/>
                    <a:pt x="72" y="388"/>
                    <a:pt x="72" y="388"/>
                  </a:cubicBezTo>
                  <a:cubicBezTo>
                    <a:pt x="72" y="388"/>
                    <a:pt x="72" y="388"/>
                    <a:pt x="72" y="388"/>
                  </a:cubicBezTo>
                  <a:cubicBezTo>
                    <a:pt x="72" y="390"/>
                    <a:pt x="72" y="390"/>
                    <a:pt x="72" y="390"/>
                  </a:cubicBezTo>
                  <a:cubicBezTo>
                    <a:pt x="72" y="390"/>
                    <a:pt x="72" y="390"/>
                    <a:pt x="72" y="390"/>
                  </a:cubicBezTo>
                  <a:cubicBezTo>
                    <a:pt x="72" y="391"/>
                    <a:pt x="72" y="391"/>
                    <a:pt x="72" y="391"/>
                  </a:cubicBezTo>
                  <a:cubicBezTo>
                    <a:pt x="73" y="392"/>
                    <a:pt x="73" y="392"/>
                    <a:pt x="73" y="392"/>
                  </a:cubicBezTo>
                  <a:cubicBezTo>
                    <a:pt x="75" y="392"/>
                    <a:pt x="75" y="392"/>
                    <a:pt x="75" y="392"/>
                  </a:cubicBezTo>
                  <a:cubicBezTo>
                    <a:pt x="80" y="391"/>
                    <a:pt x="80" y="391"/>
                    <a:pt x="80" y="391"/>
                  </a:cubicBezTo>
                  <a:cubicBezTo>
                    <a:pt x="81" y="390"/>
                    <a:pt x="81" y="390"/>
                    <a:pt x="81" y="390"/>
                  </a:cubicBezTo>
                  <a:cubicBezTo>
                    <a:pt x="81" y="390"/>
                    <a:pt x="81" y="390"/>
                    <a:pt x="81" y="390"/>
                  </a:cubicBezTo>
                  <a:cubicBezTo>
                    <a:pt x="82" y="390"/>
                    <a:pt x="82" y="390"/>
                    <a:pt x="82" y="390"/>
                  </a:cubicBezTo>
                  <a:cubicBezTo>
                    <a:pt x="81" y="391"/>
                    <a:pt x="81" y="391"/>
                    <a:pt x="81" y="391"/>
                  </a:cubicBezTo>
                  <a:cubicBezTo>
                    <a:pt x="80" y="392"/>
                    <a:pt x="80" y="392"/>
                    <a:pt x="80" y="392"/>
                  </a:cubicBezTo>
                  <a:cubicBezTo>
                    <a:pt x="75" y="392"/>
                    <a:pt x="75" y="392"/>
                    <a:pt x="75" y="392"/>
                  </a:cubicBezTo>
                  <a:cubicBezTo>
                    <a:pt x="75" y="392"/>
                    <a:pt x="75" y="392"/>
                    <a:pt x="75" y="392"/>
                  </a:cubicBezTo>
                  <a:cubicBezTo>
                    <a:pt x="74" y="393"/>
                    <a:pt x="74" y="393"/>
                    <a:pt x="74" y="393"/>
                  </a:cubicBezTo>
                  <a:cubicBezTo>
                    <a:pt x="74" y="394"/>
                    <a:pt x="74" y="394"/>
                    <a:pt x="74" y="394"/>
                  </a:cubicBezTo>
                  <a:cubicBezTo>
                    <a:pt x="72" y="395"/>
                    <a:pt x="72" y="395"/>
                    <a:pt x="72" y="395"/>
                  </a:cubicBezTo>
                  <a:cubicBezTo>
                    <a:pt x="72" y="395"/>
                    <a:pt x="72" y="395"/>
                    <a:pt x="72" y="395"/>
                  </a:cubicBezTo>
                  <a:cubicBezTo>
                    <a:pt x="72" y="395"/>
                    <a:pt x="72" y="395"/>
                    <a:pt x="72" y="395"/>
                  </a:cubicBezTo>
                  <a:cubicBezTo>
                    <a:pt x="73" y="397"/>
                    <a:pt x="73" y="397"/>
                    <a:pt x="73" y="397"/>
                  </a:cubicBezTo>
                  <a:cubicBezTo>
                    <a:pt x="74" y="397"/>
                    <a:pt x="74" y="397"/>
                    <a:pt x="74" y="397"/>
                  </a:cubicBezTo>
                  <a:cubicBezTo>
                    <a:pt x="74" y="397"/>
                    <a:pt x="74" y="397"/>
                    <a:pt x="74" y="397"/>
                  </a:cubicBezTo>
                  <a:cubicBezTo>
                    <a:pt x="75" y="397"/>
                    <a:pt x="75" y="397"/>
                    <a:pt x="75" y="397"/>
                  </a:cubicBezTo>
                  <a:cubicBezTo>
                    <a:pt x="75" y="398"/>
                    <a:pt x="75" y="398"/>
                    <a:pt x="75" y="398"/>
                  </a:cubicBezTo>
                  <a:cubicBezTo>
                    <a:pt x="73" y="397"/>
                    <a:pt x="73" y="397"/>
                    <a:pt x="73" y="397"/>
                  </a:cubicBezTo>
                  <a:cubicBezTo>
                    <a:pt x="72" y="397"/>
                    <a:pt x="72" y="397"/>
                    <a:pt x="72" y="397"/>
                  </a:cubicBezTo>
                  <a:cubicBezTo>
                    <a:pt x="71" y="396"/>
                    <a:pt x="71" y="396"/>
                    <a:pt x="71" y="396"/>
                  </a:cubicBezTo>
                  <a:cubicBezTo>
                    <a:pt x="71" y="396"/>
                    <a:pt x="71" y="396"/>
                    <a:pt x="71" y="396"/>
                  </a:cubicBezTo>
                  <a:cubicBezTo>
                    <a:pt x="68" y="395"/>
                    <a:pt x="68" y="395"/>
                    <a:pt x="68" y="395"/>
                  </a:cubicBezTo>
                  <a:cubicBezTo>
                    <a:pt x="68" y="395"/>
                    <a:pt x="68" y="395"/>
                    <a:pt x="68" y="395"/>
                  </a:cubicBezTo>
                  <a:cubicBezTo>
                    <a:pt x="68" y="396"/>
                    <a:pt x="68" y="396"/>
                    <a:pt x="68" y="396"/>
                  </a:cubicBezTo>
                  <a:cubicBezTo>
                    <a:pt x="67" y="397"/>
                    <a:pt x="67" y="397"/>
                    <a:pt x="67" y="397"/>
                  </a:cubicBezTo>
                  <a:cubicBezTo>
                    <a:pt x="63" y="397"/>
                    <a:pt x="63" y="397"/>
                    <a:pt x="63" y="397"/>
                  </a:cubicBezTo>
                  <a:cubicBezTo>
                    <a:pt x="62" y="398"/>
                    <a:pt x="62" y="398"/>
                    <a:pt x="62" y="398"/>
                  </a:cubicBezTo>
                  <a:cubicBezTo>
                    <a:pt x="62" y="398"/>
                    <a:pt x="62" y="398"/>
                    <a:pt x="62" y="398"/>
                  </a:cubicBezTo>
                  <a:cubicBezTo>
                    <a:pt x="62" y="399"/>
                    <a:pt x="62" y="399"/>
                    <a:pt x="62" y="399"/>
                  </a:cubicBezTo>
                  <a:cubicBezTo>
                    <a:pt x="62" y="399"/>
                    <a:pt x="62" y="399"/>
                    <a:pt x="62" y="399"/>
                  </a:cubicBezTo>
                  <a:cubicBezTo>
                    <a:pt x="62" y="401"/>
                    <a:pt x="62" y="401"/>
                    <a:pt x="62" y="401"/>
                  </a:cubicBezTo>
                  <a:cubicBezTo>
                    <a:pt x="63" y="401"/>
                    <a:pt x="63" y="401"/>
                    <a:pt x="63" y="401"/>
                  </a:cubicBezTo>
                  <a:cubicBezTo>
                    <a:pt x="63" y="402"/>
                    <a:pt x="63" y="402"/>
                    <a:pt x="63" y="402"/>
                  </a:cubicBezTo>
                  <a:cubicBezTo>
                    <a:pt x="63" y="402"/>
                    <a:pt x="63" y="402"/>
                    <a:pt x="63" y="402"/>
                  </a:cubicBezTo>
                  <a:cubicBezTo>
                    <a:pt x="64" y="406"/>
                    <a:pt x="64" y="406"/>
                    <a:pt x="64" y="406"/>
                  </a:cubicBezTo>
                  <a:cubicBezTo>
                    <a:pt x="65" y="406"/>
                    <a:pt x="65" y="406"/>
                    <a:pt x="65" y="406"/>
                  </a:cubicBezTo>
                  <a:cubicBezTo>
                    <a:pt x="65" y="406"/>
                    <a:pt x="65" y="406"/>
                    <a:pt x="65" y="406"/>
                  </a:cubicBezTo>
                  <a:cubicBezTo>
                    <a:pt x="66" y="407"/>
                    <a:pt x="66" y="407"/>
                    <a:pt x="66" y="407"/>
                  </a:cubicBezTo>
                  <a:cubicBezTo>
                    <a:pt x="66" y="407"/>
                    <a:pt x="66" y="407"/>
                    <a:pt x="66" y="407"/>
                  </a:cubicBezTo>
                  <a:cubicBezTo>
                    <a:pt x="67" y="409"/>
                    <a:pt x="67" y="409"/>
                    <a:pt x="67" y="409"/>
                  </a:cubicBezTo>
                  <a:cubicBezTo>
                    <a:pt x="66" y="410"/>
                    <a:pt x="66" y="410"/>
                    <a:pt x="66" y="410"/>
                  </a:cubicBezTo>
                  <a:cubicBezTo>
                    <a:pt x="66" y="412"/>
                    <a:pt x="66" y="412"/>
                    <a:pt x="66" y="412"/>
                  </a:cubicBezTo>
                  <a:cubicBezTo>
                    <a:pt x="65" y="412"/>
                    <a:pt x="65" y="412"/>
                    <a:pt x="65" y="412"/>
                  </a:cubicBezTo>
                  <a:cubicBezTo>
                    <a:pt x="66" y="409"/>
                    <a:pt x="66" y="409"/>
                    <a:pt x="66" y="409"/>
                  </a:cubicBezTo>
                  <a:cubicBezTo>
                    <a:pt x="66" y="408"/>
                    <a:pt x="66" y="408"/>
                    <a:pt x="66" y="408"/>
                  </a:cubicBezTo>
                  <a:cubicBezTo>
                    <a:pt x="65" y="408"/>
                    <a:pt x="65" y="408"/>
                    <a:pt x="65" y="408"/>
                  </a:cubicBezTo>
                  <a:cubicBezTo>
                    <a:pt x="63" y="406"/>
                    <a:pt x="63" y="406"/>
                    <a:pt x="63" y="406"/>
                  </a:cubicBezTo>
                  <a:cubicBezTo>
                    <a:pt x="62" y="406"/>
                    <a:pt x="62" y="406"/>
                    <a:pt x="62" y="406"/>
                  </a:cubicBezTo>
                  <a:cubicBezTo>
                    <a:pt x="61" y="406"/>
                    <a:pt x="61" y="406"/>
                    <a:pt x="61" y="406"/>
                  </a:cubicBezTo>
                  <a:cubicBezTo>
                    <a:pt x="58" y="408"/>
                    <a:pt x="58" y="408"/>
                    <a:pt x="58" y="408"/>
                  </a:cubicBezTo>
                  <a:cubicBezTo>
                    <a:pt x="60" y="406"/>
                    <a:pt x="60" y="406"/>
                    <a:pt x="60" y="406"/>
                  </a:cubicBezTo>
                  <a:cubicBezTo>
                    <a:pt x="61" y="405"/>
                    <a:pt x="61" y="405"/>
                    <a:pt x="61" y="405"/>
                  </a:cubicBezTo>
                  <a:cubicBezTo>
                    <a:pt x="61" y="405"/>
                    <a:pt x="61" y="405"/>
                    <a:pt x="61" y="405"/>
                  </a:cubicBezTo>
                  <a:cubicBezTo>
                    <a:pt x="62" y="404"/>
                    <a:pt x="62" y="404"/>
                    <a:pt x="62" y="404"/>
                  </a:cubicBezTo>
                  <a:cubicBezTo>
                    <a:pt x="62" y="403"/>
                    <a:pt x="62" y="403"/>
                    <a:pt x="62" y="403"/>
                  </a:cubicBezTo>
                  <a:cubicBezTo>
                    <a:pt x="62" y="403"/>
                    <a:pt x="62" y="403"/>
                    <a:pt x="62" y="403"/>
                  </a:cubicBezTo>
                  <a:cubicBezTo>
                    <a:pt x="62" y="402"/>
                    <a:pt x="62" y="402"/>
                    <a:pt x="62" y="402"/>
                  </a:cubicBezTo>
                  <a:cubicBezTo>
                    <a:pt x="61" y="401"/>
                    <a:pt x="61" y="401"/>
                    <a:pt x="61" y="401"/>
                  </a:cubicBezTo>
                  <a:cubicBezTo>
                    <a:pt x="61" y="399"/>
                    <a:pt x="61" y="399"/>
                    <a:pt x="61" y="399"/>
                  </a:cubicBezTo>
                  <a:cubicBezTo>
                    <a:pt x="60" y="399"/>
                    <a:pt x="60" y="399"/>
                    <a:pt x="60" y="399"/>
                  </a:cubicBezTo>
                  <a:cubicBezTo>
                    <a:pt x="60" y="398"/>
                    <a:pt x="60" y="398"/>
                    <a:pt x="60" y="398"/>
                  </a:cubicBezTo>
                  <a:cubicBezTo>
                    <a:pt x="58" y="399"/>
                    <a:pt x="58" y="399"/>
                    <a:pt x="58" y="399"/>
                  </a:cubicBezTo>
                  <a:cubicBezTo>
                    <a:pt x="58" y="398"/>
                    <a:pt x="58" y="398"/>
                    <a:pt x="58" y="398"/>
                  </a:cubicBezTo>
                  <a:cubicBezTo>
                    <a:pt x="58" y="398"/>
                    <a:pt x="58" y="398"/>
                    <a:pt x="58" y="398"/>
                  </a:cubicBezTo>
                  <a:cubicBezTo>
                    <a:pt x="58" y="397"/>
                    <a:pt x="58" y="397"/>
                    <a:pt x="58" y="397"/>
                  </a:cubicBezTo>
                  <a:cubicBezTo>
                    <a:pt x="58" y="397"/>
                    <a:pt x="58" y="397"/>
                    <a:pt x="58" y="397"/>
                  </a:cubicBezTo>
                  <a:cubicBezTo>
                    <a:pt x="57" y="396"/>
                    <a:pt x="57" y="396"/>
                    <a:pt x="57" y="396"/>
                  </a:cubicBezTo>
                  <a:cubicBezTo>
                    <a:pt x="57" y="396"/>
                    <a:pt x="57" y="396"/>
                    <a:pt x="57" y="396"/>
                  </a:cubicBezTo>
                  <a:cubicBezTo>
                    <a:pt x="57" y="395"/>
                    <a:pt x="57" y="395"/>
                    <a:pt x="57" y="395"/>
                  </a:cubicBezTo>
                  <a:cubicBezTo>
                    <a:pt x="55" y="395"/>
                    <a:pt x="55" y="395"/>
                    <a:pt x="55" y="395"/>
                  </a:cubicBezTo>
                  <a:cubicBezTo>
                    <a:pt x="51" y="394"/>
                    <a:pt x="51" y="394"/>
                    <a:pt x="51" y="394"/>
                  </a:cubicBezTo>
                  <a:cubicBezTo>
                    <a:pt x="51" y="394"/>
                    <a:pt x="51" y="394"/>
                    <a:pt x="51" y="394"/>
                  </a:cubicBezTo>
                  <a:cubicBezTo>
                    <a:pt x="50" y="393"/>
                    <a:pt x="50" y="393"/>
                    <a:pt x="50" y="393"/>
                  </a:cubicBezTo>
                  <a:cubicBezTo>
                    <a:pt x="50" y="393"/>
                    <a:pt x="50" y="393"/>
                    <a:pt x="50" y="393"/>
                  </a:cubicBezTo>
                  <a:cubicBezTo>
                    <a:pt x="50" y="394"/>
                    <a:pt x="50" y="394"/>
                    <a:pt x="50" y="394"/>
                  </a:cubicBezTo>
                  <a:cubicBezTo>
                    <a:pt x="49" y="395"/>
                    <a:pt x="49" y="395"/>
                    <a:pt x="49" y="395"/>
                  </a:cubicBezTo>
                  <a:cubicBezTo>
                    <a:pt x="49" y="397"/>
                    <a:pt x="49" y="397"/>
                    <a:pt x="49" y="397"/>
                  </a:cubicBezTo>
                  <a:cubicBezTo>
                    <a:pt x="48" y="398"/>
                    <a:pt x="48" y="398"/>
                    <a:pt x="48" y="398"/>
                  </a:cubicBezTo>
                  <a:cubicBezTo>
                    <a:pt x="48" y="398"/>
                    <a:pt x="48" y="398"/>
                    <a:pt x="48" y="398"/>
                  </a:cubicBezTo>
                  <a:cubicBezTo>
                    <a:pt x="46" y="398"/>
                    <a:pt x="46" y="398"/>
                    <a:pt x="46" y="398"/>
                  </a:cubicBezTo>
                  <a:cubicBezTo>
                    <a:pt x="45" y="399"/>
                    <a:pt x="45" y="399"/>
                    <a:pt x="45" y="399"/>
                  </a:cubicBezTo>
                  <a:cubicBezTo>
                    <a:pt x="44" y="400"/>
                    <a:pt x="44" y="400"/>
                    <a:pt x="44" y="400"/>
                  </a:cubicBezTo>
                  <a:cubicBezTo>
                    <a:pt x="43" y="401"/>
                    <a:pt x="43" y="401"/>
                    <a:pt x="43" y="401"/>
                  </a:cubicBezTo>
                  <a:cubicBezTo>
                    <a:pt x="43" y="402"/>
                    <a:pt x="43" y="402"/>
                    <a:pt x="43" y="402"/>
                  </a:cubicBezTo>
                  <a:cubicBezTo>
                    <a:pt x="43" y="402"/>
                    <a:pt x="43" y="402"/>
                    <a:pt x="43" y="402"/>
                  </a:cubicBezTo>
                  <a:cubicBezTo>
                    <a:pt x="43" y="403"/>
                    <a:pt x="43" y="403"/>
                    <a:pt x="43" y="403"/>
                  </a:cubicBezTo>
                  <a:cubicBezTo>
                    <a:pt x="42" y="403"/>
                    <a:pt x="42" y="403"/>
                    <a:pt x="42" y="403"/>
                  </a:cubicBezTo>
                  <a:cubicBezTo>
                    <a:pt x="42" y="403"/>
                    <a:pt x="42" y="403"/>
                    <a:pt x="42" y="403"/>
                  </a:cubicBezTo>
                  <a:cubicBezTo>
                    <a:pt x="42" y="402"/>
                    <a:pt x="42" y="402"/>
                    <a:pt x="42" y="402"/>
                  </a:cubicBezTo>
                  <a:cubicBezTo>
                    <a:pt x="43" y="401"/>
                    <a:pt x="43" y="401"/>
                    <a:pt x="43" y="401"/>
                  </a:cubicBezTo>
                  <a:cubicBezTo>
                    <a:pt x="43" y="400"/>
                    <a:pt x="43" y="400"/>
                    <a:pt x="43" y="400"/>
                  </a:cubicBezTo>
                  <a:cubicBezTo>
                    <a:pt x="43" y="400"/>
                    <a:pt x="43" y="400"/>
                    <a:pt x="43" y="400"/>
                  </a:cubicBezTo>
                  <a:cubicBezTo>
                    <a:pt x="42" y="400"/>
                    <a:pt x="42" y="400"/>
                    <a:pt x="42" y="400"/>
                  </a:cubicBezTo>
                  <a:cubicBezTo>
                    <a:pt x="42" y="400"/>
                    <a:pt x="42" y="400"/>
                    <a:pt x="42" y="400"/>
                  </a:cubicBezTo>
                  <a:cubicBezTo>
                    <a:pt x="41" y="400"/>
                    <a:pt x="41" y="400"/>
                    <a:pt x="41" y="400"/>
                  </a:cubicBezTo>
                  <a:cubicBezTo>
                    <a:pt x="41" y="400"/>
                    <a:pt x="41" y="400"/>
                    <a:pt x="41" y="400"/>
                  </a:cubicBezTo>
                  <a:cubicBezTo>
                    <a:pt x="41" y="401"/>
                    <a:pt x="41" y="401"/>
                    <a:pt x="41" y="401"/>
                  </a:cubicBezTo>
                  <a:cubicBezTo>
                    <a:pt x="40" y="401"/>
                    <a:pt x="40" y="401"/>
                    <a:pt x="40" y="401"/>
                  </a:cubicBezTo>
                  <a:cubicBezTo>
                    <a:pt x="39" y="401"/>
                    <a:pt x="39" y="401"/>
                    <a:pt x="39" y="401"/>
                  </a:cubicBezTo>
                  <a:cubicBezTo>
                    <a:pt x="40" y="400"/>
                    <a:pt x="40" y="400"/>
                    <a:pt x="40" y="400"/>
                  </a:cubicBezTo>
                  <a:cubicBezTo>
                    <a:pt x="40" y="399"/>
                    <a:pt x="40" y="399"/>
                    <a:pt x="40" y="399"/>
                  </a:cubicBezTo>
                  <a:cubicBezTo>
                    <a:pt x="40" y="398"/>
                    <a:pt x="40" y="398"/>
                    <a:pt x="40" y="398"/>
                  </a:cubicBezTo>
                  <a:cubicBezTo>
                    <a:pt x="39" y="398"/>
                    <a:pt x="39" y="398"/>
                    <a:pt x="39" y="398"/>
                  </a:cubicBezTo>
                  <a:cubicBezTo>
                    <a:pt x="38" y="397"/>
                    <a:pt x="38" y="397"/>
                    <a:pt x="38" y="397"/>
                  </a:cubicBezTo>
                  <a:cubicBezTo>
                    <a:pt x="36" y="397"/>
                    <a:pt x="36" y="397"/>
                    <a:pt x="36" y="397"/>
                  </a:cubicBezTo>
                  <a:cubicBezTo>
                    <a:pt x="35" y="396"/>
                    <a:pt x="35" y="396"/>
                    <a:pt x="35" y="396"/>
                  </a:cubicBezTo>
                  <a:cubicBezTo>
                    <a:pt x="33" y="397"/>
                    <a:pt x="33" y="397"/>
                    <a:pt x="33" y="397"/>
                  </a:cubicBezTo>
                  <a:cubicBezTo>
                    <a:pt x="32" y="397"/>
                    <a:pt x="32" y="397"/>
                    <a:pt x="32" y="397"/>
                  </a:cubicBezTo>
                  <a:cubicBezTo>
                    <a:pt x="31" y="397"/>
                    <a:pt x="31" y="397"/>
                    <a:pt x="31" y="397"/>
                  </a:cubicBezTo>
                  <a:cubicBezTo>
                    <a:pt x="29" y="397"/>
                    <a:pt x="29" y="397"/>
                    <a:pt x="29" y="397"/>
                  </a:cubicBezTo>
                  <a:cubicBezTo>
                    <a:pt x="28" y="397"/>
                    <a:pt x="28" y="397"/>
                    <a:pt x="28" y="397"/>
                  </a:cubicBezTo>
                  <a:cubicBezTo>
                    <a:pt x="27" y="397"/>
                    <a:pt x="27" y="397"/>
                    <a:pt x="27" y="397"/>
                  </a:cubicBezTo>
                  <a:cubicBezTo>
                    <a:pt x="27" y="397"/>
                    <a:pt x="27" y="397"/>
                    <a:pt x="27" y="397"/>
                  </a:cubicBezTo>
                  <a:cubicBezTo>
                    <a:pt x="27" y="398"/>
                    <a:pt x="27" y="398"/>
                    <a:pt x="27" y="398"/>
                  </a:cubicBezTo>
                  <a:cubicBezTo>
                    <a:pt x="27" y="398"/>
                    <a:pt x="27" y="398"/>
                    <a:pt x="27" y="398"/>
                  </a:cubicBezTo>
                  <a:cubicBezTo>
                    <a:pt x="26" y="399"/>
                    <a:pt x="26" y="399"/>
                    <a:pt x="26" y="399"/>
                  </a:cubicBezTo>
                  <a:cubicBezTo>
                    <a:pt x="26" y="399"/>
                    <a:pt x="26" y="399"/>
                    <a:pt x="26" y="399"/>
                  </a:cubicBezTo>
                  <a:cubicBezTo>
                    <a:pt x="26" y="400"/>
                    <a:pt x="26" y="400"/>
                    <a:pt x="26" y="400"/>
                  </a:cubicBezTo>
                  <a:cubicBezTo>
                    <a:pt x="25" y="400"/>
                    <a:pt x="25" y="400"/>
                    <a:pt x="25" y="400"/>
                  </a:cubicBezTo>
                  <a:cubicBezTo>
                    <a:pt x="25" y="399"/>
                    <a:pt x="25" y="399"/>
                    <a:pt x="25" y="399"/>
                  </a:cubicBezTo>
                  <a:cubicBezTo>
                    <a:pt x="26" y="397"/>
                    <a:pt x="26" y="397"/>
                    <a:pt x="26" y="397"/>
                  </a:cubicBezTo>
                  <a:cubicBezTo>
                    <a:pt x="25" y="397"/>
                    <a:pt x="25" y="397"/>
                    <a:pt x="25" y="397"/>
                  </a:cubicBezTo>
                  <a:cubicBezTo>
                    <a:pt x="24" y="397"/>
                    <a:pt x="24" y="397"/>
                    <a:pt x="24" y="397"/>
                  </a:cubicBezTo>
                  <a:cubicBezTo>
                    <a:pt x="23" y="398"/>
                    <a:pt x="23" y="398"/>
                    <a:pt x="23" y="398"/>
                  </a:cubicBezTo>
                  <a:cubicBezTo>
                    <a:pt x="22" y="399"/>
                    <a:pt x="22" y="399"/>
                    <a:pt x="22" y="399"/>
                  </a:cubicBezTo>
                  <a:cubicBezTo>
                    <a:pt x="22" y="398"/>
                    <a:pt x="22" y="398"/>
                    <a:pt x="22" y="398"/>
                  </a:cubicBezTo>
                  <a:cubicBezTo>
                    <a:pt x="21" y="398"/>
                    <a:pt x="21" y="398"/>
                    <a:pt x="21" y="398"/>
                  </a:cubicBezTo>
                  <a:cubicBezTo>
                    <a:pt x="20" y="399"/>
                    <a:pt x="20" y="399"/>
                    <a:pt x="20" y="399"/>
                  </a:cubicBezTo>
                  <a:cubicBezTo>
                    <a:pt x="20" y="399"/>
                    <a:pt x="20" y="399"/>
                    <a:pt x="20" y="399"/>
                  </a:cubicBezTo>
                  <a:cubicBezTo>
                    <a:pt x="20" y="399"/>
                    <a:pt x="20" y="399"/>
                    <a:pt x="20" y="399"/>
                  </a:cubicBezTo>
                  <a:cubicBezTo>
                    <a:pt x="21" y="400"/>
                    <a:pt x="21" y="400"/>
                    <a:pt x="21" y="400"/>
                  </a:cubicBezTo>
                  <a:cubicBezTo>
                    <a:pt x="21" y="400"/>
                    <a:pt x="21" y="400"/>
                    <a:pt x="21" y="400"/>
                  </a:cubicBezTo>
                  <a:cubicBezTo>
                    <a:pt x="20" y="400"/>
                    <a:pt x="20" y="400"/>
                    <a:pt x="20" y="400"/>
                  </a:cubicBezTo>
                  <a:cubicBezTo>
                    <a:pt x="19" y="400"/>
                    <a:pt x="19" y="400"/>
                    <a:pt x="19" y="400"/>
                  </a:cubicBezTo>
                  <a:cubicBezTo>
                    <a:pt x="18" y="399"/>
                    <a:pt x="18" y="399"/>
                    <a:pt x="18" y="399"/>
                  </a:cubicBezTo>
                  <a:cubicBezTo>
                    <a:pt x="17" y="400"/>
                    <a:pt x="17" y="400"/>
                    <a:pt x="17" y="400"/>
                  </a:cubicBezTo>
                  <a:cubicBezTo>
                    <a:pt x="16" y="400"/>
                    <a:pt x="16" y="400"/>
                    <a:pt x="16" y="400"/>
                  </a:cubicBezTo>
                  <a:cubicBezTo>
                    <a:pt x="16" y="401"/>
                    <a:pt x="16" y="401"/>
                    <a:pt x="16" y="401"/>
                  </a:cubicBezTo>
                  <a:cubicBezTo>
                    <a:pt x="16" y="402"/>
                    <a:pt x="16" y="402"/>
                    <a:pt x="16" y="402"/>
                  </a:cubicBezTo>
                  <a:cubicBezTo>
                    <a:pt x="16" y="402"/>
                    <a:pt x="16" y="402"/>
                    <a:pt x="16" y="402"/>
                  </a:cubicBezTo>
                  <a:cubicBezTo>
                    <a:pt x="16" y="403"/>
                    <a:pt x="16" y="403"/>
                    <a:pt x="16" y="403"/>
                  </a:cubicBezTo>
                  <a:cubicBezTo>
                    <a:pt x="16" y="403"/>
                    <a:pt x="16" y="403"/>
                    <a:pt x="16" y="403"/>
                  </a:cubicBezTo>
                  <a:cubicBezTo>
                    <a:pt x="16" y="404"/>
                    <a:pt x="16" y="404"/>
                    <a:pt x="16" y="404"/>
                  </a:cubicBezTo>
                  <a:cubicBezTo>
                    <a:pt x="16" y="404"/>
                    <a:pt x="16" y="404"/>
                    <a:pt x="16" y="404"/>
                  </a:cubicBezTo>
                  <a:cubicBezTo>
                    <a:pt x="15" y="404"/>
                    <a:pt x="15" y="404"/>
                    <a:pt x="15" y="404"/>
                  </a:cubicBezTo>
                  <a:cubicBezTo>
                    <a:pt x="15" y="403"/>
                    <a:pt x="15" y="403"/>
                    <a:pt x="15" y="403"/>
                  </a:cubicBezTo>
                  <a:cubicBezTo>
                    <a:pt x="15" y="402"/>
                    <a:pt x="15" y="402"/>
                    <a:pt x="15" y="402"/>
                  </a:cubicBezTo>
                  <a:cubicBezTo>
                    <a:pt x="15" y="402"/>
                    <a:pt x="15" y="402"/>
                    <a:pt x="15" y="402"/>
                  </a:cubicBezTo>
                  <a:cubicBezTo>
                    <a:pt x="13" y="402"/>
                    <a:pt x="13" y="402"/>
                    <a:pt x="13" y="402"/>
                  </a:cubicBezTo>
                  <a:cubicBezTo>
                    <a:pt x="11" y="402"/>
                    <a:pt x="11" y="402"/>
                    <a:pt x="11" y="402"/>
                  </a:cubicBezTo>
                  <a:cubicBezTo>
                    <a:pt x="11" y="402"/>
                    <a:pt x="11" y="402"/>
                    <a:pt x="11" y="402"/>
                  </a:cubicBezTo>
                  <a:cubicBezTo>
                    <a:pt x="8" y="400"/>
                    <a:pt x="8" y="400"/>
                    <a:pt x="8" y="400"/>
                  </a:cubicBezTo>
                  <a:cubicBezTo>
                    <a:pt x="6" y="399"/>
                    <a:pt x="6" y="399"/>
                    <a:pt x="6" y="399"/>
                  </a:cubicBezTo>
                  <a:cubicBezTo>
                    <a:pt x="4" y="400"/>
                    <a:pt x="4" y="400"/>
                    <a:pt x="4" y="400"/>
                  </a:cubicBezTo>
                  <a:cubicBezTo>
                    <a:pt x="3" y="401"/>
                    <a:pt x="3" y="401"/>
                    <a:pt x="3" y="401"/>
                  </a:cubicBezTo>
                  <a:cubicBezTo>
                    <a:pt x="2" y="402"/>
                    <a:pt x="2" y="402"/>
                    <a:pt x="2" y="402"/>
                  </a:cubicBezTo>
                  <a:cubicBezTo>
                    <a:pt x="2" y="403"/>
                    <a:pt x="2" y="403"/>
                    <a:pt x="2" y="403"/>
                  </a:cubicBezTo>
                  <a:cubicBezTo>
                    <a:pt x="2" y="404"/>
                    <a:pt x="2" y="404"/>
                    <a:pt x="2" y="404"/>
                  </a:cubicBezTo>
                  <a:cubicBezTo>
                    <a:pt x="2" y="405"/>
                    <a:pt x="2" y="405"/>
                    <a:pt x="2" y="405"/>
                  </a:cubicBezTo>
                  <a:cubicBezTo>
                    <a:pt x="3" y="405"/>
                    <a:pt x="3" y="405"/>
                    <a:pt x="3" y="405"/>
                  </a:cubicBezTo>
                  <a:cubicBezTo>
                    <a:pt x="5" y="406"/>
                    <a:pt x="5" y="406"/>
                    <a:pt x="5" y="406"/>
                  </a:cubicBezTo>
                  <a:cubicBezTo>
                    <a:pt x="5" y="406"/>
                    <a:pt x="5" y="406"/>
                    <a:pt x="5" y="406"/>
                  </a:cubicBezTo>
                  <a:cubicBezTo>
                    <a:pt x="6" y="405"/>
                    <a:pt x="6" y="405"/>
                    <a:pt x="6" y="405"/>
                  </a:cubicBezTo>
                  <a:cubicBezTo>
                    <a:pt x="6" y="405"/>
                    <a:pt x="6" y="405"/>
                    <a:pt x="6" y="405"/>
                  </a:cubicBezTo>
                  <a:cubicBezTo>
                    <a:pt x="6" y="405"/>
                    <a:pt x="6" y="405"/>
                    <a:pt x="6" y="405"/>
                  </a:cubicBezTo>
                  <a:cubicBezTo>
                    <a:pt x="6" y="404"/>
                    <a:pt x="6" y="404"/>
                    <a:pt x="6" y="404"/>
                  </a:cubicBezTo>
                  <a:cubicBezTo>
                    <a:pt x="6" y="406"/>
                    <a:pt x="6" y="406"/>
                    <a:pt x="6" y="406"/>
                  </a:cubicBezTo>
                  <a:cubicBezTo>
                    <a:pt x="6" y="406"/>
                    <a:pt x="6" y="406"/>
                    <a:pt x="6" y="406"/>
                  </a:cubicBezTo>
                  <a:cubicBezTo>
                    <a:pt x="6" y="406"/>
                    <a:pt x="6" y="406"/>
                    <a:pt x="6" y="406"/>
                  </a:cubicBezTo>
                  <a:cubicBezTo>
                    <a:pt x="5" y="407"/>
                    <a:pt x="5" y="407"/>
                    <a:pt x="5" y="407"/>
                  </a:cubicBezTo>
                  <a:cubicBezTo>
                    <a:pt x="5" y="408"/>
                    <a:pt x="5" y="408"/>
                    <a:pt x="5" y="408"/>
                  </a:cubicBezTo>
                  <a:cubicBezTo>
                    <a:pt x="5" y="411"/>
                    <a:pt x="5" y="411"/>
                    <a:pt x="5" y="411"/>
                  </a:cubicBezTo>
                  <a:cubicBezTo>
                    <a:pt x="5" y="412"/>
                    <a:pt x="5" y="412"/>
                    <a:pt x="5" y="412"/>
                  </a:cubicBezTo>
                  <a:cubicBezTo>
                    <a:pt x="5" y="411"/>
                    <a:pt x="5" y="411"/>
                    <a:pt x="5" y="411"/>
                  </a:cubicBezTo>
                  <a:cubicBezTo>
                    <a:pt x="5" y="411"/>
                    <a:pt x="5" y="411"/>
                    <a:pt x="5" y="411"/>
                  </a:cubicBezTo>
                  <a:cubicBezTo>
                    <a:pt x="5" y="410"/>
                    <a:pt x="5" y="410"/>
                    <a:pt x="5" y="410"/>
                  </a:cubicBezTo>
                  <a:cubicBezTo>
                    <a:pt x="5" y="408"/>
                    <a:pt x="5" y="408"/>
                    <a:pt x="5" y="408"/>
                  </a:cubicBezTo>
                  <a:cubicBezTo>
                    <a:pt x="5" y="407"/>
                    <a:pt x="5" y="407"/>
                    <a:pt x="5" y="407"/>
                  </a:cubicBezTo>
                  <a:cubicBezTo>
                    <a:pt x="4" y="406"/>
                    <a:pt x="4" y="406"/>
                    <a:pt x="4" y="406"/>
                  </a:cubicBezTo>
                  <a:cubicBezTo>
                    <a:pt x="3" y="406"/>
                    <a:pt x="3" y="406"/>
                    <a:pt x="3" y="406"/>
                  </a:cubicBezTo>
                  <a:cubicBezTo>
                    <a:pt x="2" y="406"/>
                    <a:pt x="2" y="406"/>
                    <a:pt x="2" y="406"/>
                  </a:cubicBezTo>
                  <a:cubicBezTo>
                    <a:pt x="2" y="406"/>
                    <a:pt x="2" y="406"/>
                    <a:pt x="2" y="406"/>
                  </a:cubicBezTo>
                  <a:cubicBezTo>
                    <a:pt x="2" y="407"/>
                    <a:pt x="2" y="407"/>
                    <a:pt x="2" y="407"/>
                  </a:cubicBezTo>
                  <a:cubicBezTo>
                    <a:pt x="2" y="407"/>
                    <a:pt x="2" y="407"/>
                    <a:pt x="2" y="407"/>
                  </a:cubicBezTo>
                  <a:cubicBezTo>
                    <a:pt x="2" y="408"/>
                    <a:pt x="2" y="408"/>
                    <a:pt x="2" y="408"/>
                  </a:cubicBezTo>
                  <a:cubicBezTo>
                    <a:pt x="2" y="408"/>
                    <a:pt x="2" y="408"/>
                    <a:pt x="2" y="408"/>
                  </a:cubicBezTo>
                  <a:cubicBezTo>
                    <a:pt x="2" y="409"/>
                    <a:pt x="2" y="409"/>
                    <a:pt x="2" y="409"/>
                  </a:cubicBezTo>
                  <a:cubicBezTo>
                    <a:pt x="2" y="409"/>
                    <a:pt x="2" y="409"/>
                    <a:pt x="2" y="409"/>
                  </a:cubicBezTo>
                  <a:cubicBezTo>
                    <a:pt x="2" y="410"/>
                    <a:pt x="2" y="410"/>
                    <a:pt x="2" y="410"/>
                  </a:cubicBezTo>
                  <a:cubicBezTo>
                    <a:pt x="3" y="410"/>
                    <a:pt x="3" y="410"/>
                    <a:pt x="3" y="410"/>
                  </a:cubicBezTo>
                  <a:cubicBezTo>
                    <a:pt x="3" y="411"/>
                    <a:pt x="3" y="411"/>
                    <a:pt x="3" y="411"/>
                  </a:cubicBezTo>
                  <a:cubicBezTo>
                    <a:pt x="3" y="413"/>
                    <a:pt x="3" y="413"/>
                    <a:pt x="3" y="413"/>
                  </a:cubicBezTo>
                  <a:cubicBezTo>
                    <a:pt x="4" y="413"/>
                    <a:pt x="4" y="413"/>
                    <a:pt x="4" y="413"/>
                  </a:cubicBezTo>
                  <a:cubicBezTo>
                    <a:pt x="4" y="414"/>
                    <a:pt x="4" y="414"/>
                    <a:pt x="4" y="414"/>
                  </a:cubicBezTo>
                  <a:cubicBezTo>
                    <a:pt x="5" y="414"/>
                    <a:pt x="5" y="414"/>
                    <a:pt x="5" y="414"/>
                  </a:cubicBezTo>
                  <a:cubicBezTo>
                    <a:pt x="6" y="414"/>
                    <a:pt x="6" y="414"/>
                    <a:pt x="6" y="414"/>
                  </a:cubicBezTo>
                  <a:cubicBezTo>
                    <a:pt x="6" y="415"/>
                    <a:pt x="6" y="415"/>
                    <a:pt x="6" y="415"/>
                  </a:cubicBezTo>
                  <a:cubicBezTo>
                    <a:pt x="6" y="415"/>
                    <a:pt x="6" y="415"/>
                    <a:pt x="6" y="415"/>
                  </a:cubicBezTo>
                  <a:cubicBezTo>
                    <a:pt x="7" y="415"/>
                    <a:pt x="7" y="415"/>
                    <a:pt x="7" y="415"/>
                  </a:cubicBezTo>
                  <a:cubicBezTo>
                    <a:pt x="7" y="414"/>
                    <a:pt x="7" y="414"/>
                    <a:pt x="7" y="414"/>
                  </a:cubicBezTo>
                  <a:cubicBezTo>
                    <a:pt x="7" y="413"/>
                    <a:pt x="7" y="413"/>
                    <a:pt x="7" y="413"/>
                  </a:cubicBezTo>
                  <a:cubicBezTo>
                    <a:pt x="8" y="415"/>
                    <a:pt x="8" y="415"/>
                    <a:pt x="8" y="415"/>
                  </a:cubicBezTo>
                  <a:cubicBezTo>
                    <a:pt x="9" y="415"/>
                    <a:pt x="9" y="415"/>
                    <a:pt x="9" y="415"/>
                  </a:cubicBezTo>
                  <a:cubicBezTo>
                    <a:pt x="11" y="415"/>
                    <a:pt x="11" y="415"/>
                    <a:pt x="11" y="415"/>
                  </a:cubicBezTo>
                  <a:cubicBezTo>
                    <a:pt x="12" y="413"/>
                    <a:pt x="12" y="413"/>
                    <a:pt x="12" y="413"/>
                  </a:cubicBezTo>
                  <a:cubicBezTo>
                    <a:pt x="12" y="412"/>
                    <a:pt x="12" y="412"/>
                    <a:pt x="12" y="412"/>
                  </a:cubicBezTo>
                  <a:cubicBezTo>
                    <a:pt x="13" y="411"/>
                    <a:pt x="13" y="411"/>
                    <a:pt x="13" y="411"/>
                  </a:cubicBezTo>
                  <a:cubicBezTo>
                    <a:pt x="14" y="411"/>
                    <a:pt x="14" y="411"/>
                    <a:pt x="14" y="411"/>
                  </a:cubicBezTo>
                  <a:cubicBezTo>
                    <a:pt x="16" y="410"/>
                    <a:pt x="16" y="410"/>
                    <a:pt x="16" y="410"/>
                  </a:cubicBezTo>
                  <a:cubicBezTo>
                    <a:pt x="17" y="409"/>
                    <a:pt x="17" y="409"/>
                    <a:pt x="17" y="409"/>
                  </a:cubicBezTo>
                  <a:cubicBezTo>
                    <a:pt x="16" y="410"/>
                    <a:pt x="16" y="410"/>
                    <a:pt x="16" y="410"/>
                  </a:cubicBezTo>
                  <a:cubicBezTo>
                    <a:pt x="17" y="411"/>
                    <a:pt x="17" y="411"/>
                    <a:pt x="17" y="411"/>
                  </a:cubicBezTo>
                  <a:cubicBezTo>
                    <a:pt x="17" y="412"/>
                    <a:pt x="17" y="412"/>
                    <a:pt x="17" y="412"/>
                  </a:cubicBezTo>
                  <a:cubicBezTo>
                    <a:pt x="18" y="412"/>
                    <a:pt x="18" y="412"/>
                    <a:pt x="18" y="412"/>
                  </a:cubicBezTo>
                  <a:cubicBezTo>
                    <a:pt x="17" y="412"/>
                    <a:pt x="17" y="412"/>
                    <a:pt x="17" y="412"/>
                  </a:cubicBezTo>
                  <a:cubicBezTo>
                    <a:pt x="17" y="412"/>
                    <a:pt x="17" y="412"/>
                    <a:pt x="17" y="412"/>
                  </a:cubicBezTo>
                  <a:cubicBezTo>
                    <a:pt x="17" y="412"/>
                    <a:pt x="17" y="412"/>
                    <a:pt x="17" y="412"/>
                  </a:cubicBezTo>
                  <a:cubicBezTo>
                    <a:pt x="16" y="412"/>
                    <a:pt x="16" y="412"/>
                    <a:pt x="16" y="412"/>
                  </a:cubicBezTo>
                  <a:cubicBezTo>
                    <a:pt x="16" y="412"/>
                    <a:pt x="16" y="412"/>
                    <a:pt x="16" y="412"/>
                  </a:cubicBezTo>
                  <a:cubicBezTo>
                    <a:pt x="15" y="412"/>
                    <a:pt x="15" y="412"/>
                    <a:pt x="15" y="412"/>
                  </a:cubicBezTo>
                  <a:cubicBezTo>
                    <a:pt x="13" y="413"/>
                    <a:pt x="13" y="413"/>
                    <a:pt x="13" y="413"/>
                  </a:cubicBezTo>
                  <a:cubicBezTo>
                    <a:pt x="12" y="414"/>
                    <a:pt x="12" y="414"/>
                    <a:pt x="12" y="414"/>
                  </a:cubicBezTo>
                  <a:cubicBezTo>
                    <a:pt x="13" y="415"/>
                    <a:pt x="13" y="415"/>
                    <a:pt x="13" y="415"/>
                  </a:cubicBezTo>
                  <a:cubicBezTo>
                    <a:pt x="12" y="416"/>
                    <a:pt x="12" y="416"/>
                    <a:pt x="12" y="416"/>
                  </a:cubicBezTo>
                  <a:cubicBezTo>
                    <a:pt x="11" y="416"/>
                    <a:pt x="11" y="416"/>
                    <a:pt x="11" y="416"/>
                  </a:cubicBezTo>
                  <a:cubicBezTo>
                    <a:pt x="10" y="417"/>
                    <a:pt x="10" y="417"/>
                    <a:pt x="10" y="417"/>
                  </a:cubicBezTo>
                  <a:cubicBezTo>
                    <a:pt x="9" y="417"/>
                    <a:pt x="9" y="417"/>
                    <a:pt x="9" y="417"/>
                  </a:cubicBezTo>
                  <a:cubicBezTo>
                    <a:pt x="9" y="418"/>
                    <a:pt x="9" y="418"/>
                    <a:pt x="9" y="418"/>
                  </a:cubicBezTo>
                  <a:cubicBezTo>
                    <a:pt x="9" y="418"/>
                    <a:pt x="9" y="418"/>
                    <a:pt x="9" y="418"/>
                  </a:cubicBezTo>
                  <a:cubicBezTo>
                    <a:pt x="9" y="418"/>
                    <a:pt x="9" y="418"/>
                    <a:pt x="9" y="418"/>
                  </a:cubicBezTo>
                  <a:cubicBezTo>
                    <a:pt x="10" y="419"/>
                    <a:pt x="10" y="419"/>
                    <a:pt x="10" y="419"/>
                  </a:cubicBezTo>
                  <a:cubicBezTo>
                    <a:pt x="11" y="419"/>
                    <a:pt x="11" y="419"/>
                    <a:pt x="11" y="419"/>
                  </a:cubicBezTo>
                  <a:cubicBezTo>
                    <a:pt x="11" y="420"/>
                    <a:pt x="11" y="420"/>
                    <a:pt x="11" y="420"/>
                  </a:cubicBezTo>
                  <a:cubicBezTo>
                    <a:pt x="13" y="420"/>
                    <a:pt x="13" y="420"/>
                    <a:pt x="13" y="420"/>
                  </a:cubicBezTo>
                  <a:cubicBezTo>
                    <a:pt x="13" y="420"/>
                    <a:pt x="13" y="420"/>
                    <a:pt x="13" y="420"/>
                  </a:cubicBezTo>
                  <a:cubicBezTo>
                    <a:pt x="13" y="420"/>
                    <a:pt x="13" y="420"/>
                    <a:pt x="13" y="420"/>
                  </a:cubicBezTo>
                  <a:cubicBezTo>
                    <a:pt x="13" y="421"/>
                    <a:pt x="13" y="421"/>
                    <a:pt x="13" y="421"/>
                  </a:cubicBezTo>
                  <a:cubicBezTo>
                    <a:pt x="13" y="421"/>
                    <a:pt x="13" y="421"/>
                    <a:pt x="13" y="421"/>
                  </a:cubicBezTo>
                  <a:cubicBezTo>
                    <a:pt x="14" y="421"/>
                    <a:pt x="14" y="421"/>
                    <a:pt x="14" y="421"/>
                  </a:cubicBezTo>
                  <a:cubicBezTo>
                    <a:pt x="14" y="422"/>
                    <a:pt x="14" y="422"/>
                    <a:pt x="14" y="422"/>
                  </a:cubicBezTo>
                  <a:cubicBezTo>
                    <a:pt x="14" y="423"/>
                    <a:pt x="14" y="423"/>
                    <a:pt x="14" y="423"/>
                  </a:cubicBezTo>
                  <a:cubicBezTo>
                    <a:pt x="15" y="424"/>
                    <a:pt x="15" y="424"/>
                    <a:pt x="15" y="424"/>
                  </a:cubicBezTo>
                  <a:cubicBezTo>
                    <a:pt x="15" y="424"/>
                    <a:pt x="15" y="424"/>
                    <a:pt x="15" y="424"/>
                  </a:cubicBezTo>
                  <a:cubicBezTo>
                    <a:pt x="15" y="424"/>
                    <a:pt x="15" y="424"/>
                    <a:pt x="15" y="424"/>
                  </a:cubicBezTo>
                  <a:cubicBezTo>
                    <a:pt x="15" y="424"/>
                    <a:pt x="15" y="424"/>
                    <a:pt x="15" y="424"/>
                  </a:cubicBezTo>
                  <a:cubicBezTo>
                    <a:pt x="14" y="424"/>
                    <a:pt x="14" y="424"/>
                    <a:pt x="14" y="424"/>
                  </a:cubicBezTo>
                  <a:cubicBezTo>
                    <a:pt x="14" y="423"/>
                    <a:pt x="14" y="423"/>
                    <a:pt x="14" y="423"/>
                  </a:cubicBezTo>
                  <a:cubicBezTo>
                    <a:pt x="13" y="424"/>
                    <a:pt x="13" y="424"/>
                    <a:pt x="13" y="424"/>
                  </a:cubicBezTo>
                  <a:cubicBezTo>
                    <a:pt x="14" y="425"/>
                    <a:pt x="14" y="425"/>
                    <a:pt x="14" y="425"/>
                  </a:cubicBezTo>
                  <a:cubicBezTo>
                    <a:pt x="15" y="426"/>
                    <a:pt x="15" y="426"/>
                    <a:pt x="15" y="426"/>
                  </a:cubicBezTo>
                  <a:cubicBezTo>
                    <a:pt x="15" y="427"/>
                    <a:pt x="15" y="427"/>
                    <a:pt x="15" y="427"/>
                  </a:cubicBezTo>
                  <a:cubicBezTo>
                    <a:pt x="14" y="426"/>
                    <a:pt x="14" y="426"/>
                    <a:pt x="14" y="426"/>
                  </a:cubicBezTo>
                  <a:cubicBezTo>
                    <a:pt x="13" y="425"/>
                    <a:pt x="13" y="425"/>
                    <a:pt x="13" y="425"/>
                  </a:cubicBezTo>
                  <a:cubicBezTo>
                    <a:pt x="13" y="424"/>
                    <a:pt x="13" y="424"/>
                    <a:pt x="13" y="424"/>
                  </a:cubicBezTo>
                  <a:cubicBezTo>
                    <a:pt x="13" y="425"/>
                    <a:pt x="13" y="425"/>
                    <a:pt x="13" y="425"/>
                  </a:cubicBezTo>
                  <a:cubicBezTo>
                    <a:pt x="13" y="426"/>
                    <a:pt x="13" y="426"/>
                    <a:pt x="13" y="426"/>
                  </a:cubicBezTo>
                  <a:cubicBezTo>
                    <a:pt x="13" y="426"/>
                    <a:pt x="13" y="426"/>
                    <a:pt x="13" y="426"/>
                  </a:cubicBezTo>
                  <a:cubicBezTo>
                    <a:pt x="13" y="426"/>
                    <a:pt x="13" y="426"/>
                    <a:pt x="13" y="426"/>
                  </a:cubicBezTo>
                  <a:cubicBezTo>
                    <a:pt x="13" y="426"/>
                    <a:pt x="13" y="426"/>
                    <a:pt x="13" y="426"/>
                  </a:cubicBezTo>
                  <a:cubicBezTo>
                    <a:pt x="12" y="425"/>
                    <a:pt x="12" y="425"/>
                    <a:pt x="12" y="425"/>
                  </a:cubicBezTo>
                  <a:cubicBezTo>
                    <a:pt x="11" y="424"/>
                    <a:pt x="11" y="424"/>
                    <a:pt x="11" y="424"/>
                  </a:cubicBezTo>
                  <a:cubicBezTo>
                    <a:pt x="11" y="422"/>
                    <a:pt x="11" y="422"/>
                    <a:pt x="11" y="422"/>
                  </a:cubicBezTo>
                  <a:cubicBezTo>
                    <a:pt x="11" y="421"/>
                    <a:pt x="11" y="421"/>
                    <a:pt x="11" y="421"/>
                  </a:cubicBezTo>
                  <a:cubicBezTo>
                    <a:pt x="11" y="421"/>
                    <a:pt x="11" y="421"/>
                    <a:pt x="11" y="421"/>
                  </a:cubicBezTo>
                  <a:cubicBezTo>
                    <a:pt x="8" y="420"/>
                    <a:pt x="8" y="420"/>
                    <a:pt x="8" y="420"/>
                  </a:cubicBezTo>
                  <a:cubicBezTo>
                    <a:pt x="7" y="419"/>
                    <a:pt x="7" y="419"/>
                    <a:pt x="7" y="419"/>
                  </a:cubicBezTo>
                  <a:cubicBezTo>
                    <a:pt x="5" y="418"/>
                    <a:pt x="5" y="418"/>
                    <a:pt x="5" y="418"/>
                  </a:cubicBezTo>
                  <a:cubicBezTo>
                    <a:pt x="4" y="417"/>
                    <a:pt x="4" y="417"/>
                    <a:pt x="4" y="417"/>
                  </a:cubicBezTo>
                  <a:cubicBezTo>
                    <a:pt x="2" y="416"/>
                    <a:pt x="2" y="416"/>
                    <a:pt x="2" y="416"/>
                  </a:cubicBezTo>
                  <a:cubicBezTo>
                    <a:pt x="2" y="416"/>
                    <a:pt x="2" y="416"/>
                    <a:pt x="2" y="416"/>
                  </a:cubicBezTo>
                  <a:cubicBezTo>
                    <a:pt x="1" y="416"/>
                    <a:pt x="1" y="416"/>
                    <a:pt x="1" y="416"/>
                  </a:cubicBezTo>
                  <a:cubicBezTo>
                    <a:pt x="0" y="416"/>
                    <a:pt x="0" y="416"/>
                    <a:pt x="0" y="416"/>
                  </a:cubicBezTo>
                  <a:cubicBezTo>
                    <a:pt x="1" y="417"/>
                    <a:pt x="1" y="417"/>
                    <a:pt x="1" y="417"/>
                  </a:cubicBezTo>
                  <a:cubicBezTo>
                    <a:pt x="2" y="417"/>
                    <a:pt x="2" y="417"/>
                    <a:pt x="2" y="417"/>
                  </a:cubicBezTo>
                  <a:cubicBezTo>
                    <a:pt x="3" y="420"/>
                    <a:pt x="3" y="420"/>
                    <a:pt x="3" y="420"/>
                  </a:cubicBezTo>
                  <a:cubicBezTo>
                    <a:pt x="4" y="420"/>
                    <a:pt x="4" y="420"/>
                    <a:pt x="4" y="420"/>
                  </a:cubicBezTo>
                  <a:cubicBezTo>
                    <a:pt x="5" y="421"/>
                    <a:pt x="5" y="421"/>
                    <a:pt x="5" y="421"/>
                  </a:cubicBezTo>
                  <a:cubicBezTo>
                    <a:pt x="6" y="421"/>
                    <a:pt x="6" y="421"/>
                    <a:pt x="6" y="421"/>
                  </a:cubicBezTo>
                  <a:cubicBezTo>
                    <a:pt x="7" y="422"/>
                    <a:pt x="7" y="422"/>
                    <a:pt x="7" y="422"/>
                  </a:cubicBezTo>
                  <a:cubicBezTo>
                    <a:pt x="5" y="422"/>
                    <a:pt x="5" y="422"/>
                    <a:pt x="5" y="422"/>
                  </a:cubicBezTo>
                  <a:cubicBezTo>
                    <a:pt x="5" y="422"/>
                    <a:pt x="5" y="422"/>
                    <a:pt x="5" y="422"/>
                  </a:cubicBezTo>
                  <a:cubicBezTo>
                    <a:pt x="7" y="424"/>
                    <a:pt x="7" y="424"/>
                    <a:pt x="7" y="424"/>
                  </a:cubicBezTo>
                  <a:cubicBezTo>
                    <a:pt x="9" y="427"/>
                    <a:pt x="9" y="427"/>
                    <a:pt x="9" y="427"/>
                  </a:cubicBezTo>
                  <a:cubicBezTo>
                    <a:pt x="9" y="427"/>
                    <a:pt x="9" y="427"/>
                    <a:pt x="9" y="427"/>
                  </a:cubicBezTo>
                  <a:cubicBezTo>
                    <a:pt x="7" y="425"/>
                    <a:pt x="7" y="425"/>
                    <a:pt x="7" y="425"/>
                  </a:cubicBezTo>
                  <a:cubicBezTo>
                    <a:pt x="6" y="425"/>
                    <a:pt x="6" y="425"/>
                    <a:pt x="6" y="425"/>
                  </a:cubicBezTo>
                  <a:cubicBezTo>
                    <a:pt x="5" y="424"/>
                    <a:pt x="5" y="424"/>
                    <a:pt x="5" y="424"/>
                  </a:cubicBezTo>
                  <a:cubicBezTo>
                    <a:pt x="5" y="425"/>
                    <a:pt x="5" y="425"/>
                    <a:pt x="5" y="425"/>
                  </a:cubicBezTo>
                  <a:cubicBezTo>
                    <a:pt x="7" y="427"/>
                    <a:pt x="7" y="427"/>
                    <a:pt x="7" y="427"/>
                  </a:cubicBezTo>
                  <a:cubicBezTo>
                    <a:pt x="8" y="429"/>
                    <a:pt x="8" y="429"/>
                    <a:pt x="8" y="429"/>
                  </a:cubicBezTo>
                  <a:cubicBezTo>
                    <a:pt x="9" y="430"/>
                    <a:pt x="9" y="430"/>
                    <a:pt x="9" y="430"/>
                  </a:cubicBezTo>
                  <a:cubicBezTo>
                    <a:pt x="10" y="430"/>
                    <a:pt x="10" y="430"/>
                    <a:pt x="10" y="430"/>
                  </a:cubicBezTo>
                  <a:cubicBezTo>
                    <a:pt x="10" y="431"/>
                    <a:pt x="10" y="431"/>
                    <a:pt x="10" y="431"/>
                  </a:cubicBezTo>
                  <a:cubicBezTo>
                    <a:pt x="11" y="431"/>
                    <a:pt x="11" y="431"/>
                    <a:pt x="11" y="431"/>
                  </a:cubicBezTo>
                  <a:cubicBezTo>
                    <a:pt x="13" y="430"/>
                    <a:pt x="13" y="430"/>
                    <a:pt x="13" y="430"/>
                  </a:cubicBezTo>
                  <a:cubicBezTo>
                    <a:pt x="15" y="427"/>
                    <a:pt x="15" y="427"/>
                    <a:pt x="15" y="427"/>
                  </a:cubicBezTo>
                  <a:cubicBezTo>
                    <a:pt x="17" y="427"/>
                    <a:pt x="17" y="427"/>
                    <a:pt x="17" y="427"/>
                  </a:cubicBezTo>
                  <a:cubicBezTo>
                    <a:pt x="18" y="427"/>
                    <a:pt x="18" y="427"/>
                    <a:pt x="18" y="427"/>
                  </a:cubicBezTo>
                  <a:cubicBezTo>
                    <a:pt x="18" y="426"/>
                    <a:pt x="18" y="426"/>
                    <a:pt x="18" y="426"/>
                  </a:cubicBezTo>
                  <a:cubicBezTo>
                    <a:pt x="18" y="423"/>
                    <a:pt x="18" y="423"/>
                    <a:pt x="18" y="423"/>
                  </a:cubicBezTo>
                  <a:cubicBezTo>
                    <a:pt x="18" y="422"/>
                    <a:pt x="18" y="422"/>
                    <a:pt x="18" y="422"/>
                  </a:cubicBezTo>
                  <a:cubicBezTo>
                    <a:pt x="19" y="423"/>
                    <a:pt x="19" y="423"/>
                    <a:pt x="19" y="423"/>
                  </a:cubicBezTo>
                  <a:cubicBezTo>
                    <a:pt x="20" y="422"/>
                    <a:pt x="20" y="422"/>
                    <a:pt x="20" y="422"/>
                  </a:cubicBezTo>
                  <a:cubicBezTo>
                    <a:pt x="20" y="422"/>
                    <a:pt x="20" y="422"/>
                    <a:pt x="20" y="422"/>
                  </a:cubicBezTo>
                  <a:cubicBezTo>
                    <a:pt x="21" y="421"/>
                    <a:pt x="21" y="421"/>
                    <a:pt x="21" y="421"/>
                  </a:cubicBezTo>
                  <a:cubicBezTo>
                    <a:pt x="21" y="421"/>
                    <a:pt x="21" y="421"/>
                    <a:pt x="21" y="421"/>
                  </a:cubicBezTo>
                  <a:cubicBezTo>
                    <a:pt x="21" y="421"/>
                    <a:pt x="21" y="421"/>
                    <a:pt x="21" y="421"/>
                  </a:cubicBezTo>
                  <a:cubicBezTo>
                    <a:pt x="22" y="420"/>
                    <a:pt x="22" y="420"/>
                    <a:pt x="22" y="420"/>
                  </a:cubicBezTo>
                  <a:cubicBezTo>
                    <a:pt x="22" y="419"/>
                    <a:pt x="22" y="419"/>
                    <a:pt x="22" y="419"/>
                  </a:cubicBezTo>
                  <a:cubicBezTo>
                    <a:pt x="23" y="419"/>
                    <a:pt x="23" y="419"/>
                    <a:pt x="23" y="419"/>
                  </a:cubicBezTo>
                  <a:cubicBezTo>
                    <a:pt x="23" y="420"/>
                    <a:pt x="23" y="420"/>
                    <a:pt x="23" y="420"/>
                  </a:cubicBezTo>
                  <a:cubicBezTo>
                    <a:pt x="22" y="421"/>
                    <a:pt x="22" y="421"/>
                    <a:pt x="22" y="421"/>
                  </a:cubicBezTo>
                  <a:cubicBezTo>
                    <a:pt x="22" y="422"/>
                    <a:pt x="22" y="422"/>
                    <a:pt x="22" y="422"/>
                  </a:cubicBezTo>
                  <a:cubicBezTo>
                    <a:pt x="22" y="422"/>
                    <a:pt x="22" y="422"/>
                    <a:pt x="22" y="422"/>
                  </a:cubicBezTo>
                  <a:cubicBezTo>
                    <a:pt x="23" y="422"/>
                    <a:pt x="23" y="422"/>
                    <a:pt x="23" y="422"/>
                  </a:cubicBezTo>
                  <a:cubicBezTo>
                    <a:pt x="24" y="422"/>
                    <a:pt x="24" y="422"/>
                    <a:pt x="24" y="422"/>
                  </a:cubicBezTo>
                  <a:cubicBezTo>
                    <a:pt x="24" y="421"/>
                    <a:pt x="24" y="421"/>
                    <a:pt x="24" y="421"/>
                  </a:cubicBezTo>
                  <a:cubicBezTo>
                    <a:pt x="24" y="422"/>
                    <a:pt x="24" y="422"/>
                    <a:pt x="24" y="422"/>
                  </a:cubicBezTo>
                  <a:cubicBezTo>
                    <a:pt x="24" y="423"/>
                    <a:pt x="24" y="423"/>
                    <a:pt x="24" y="423"/>
                  </a:cubicBezTo>
                  <a:cubicBezTo>
                    <a:pt x="24" y="424"/>
                    <a:pt x="24" y="424"/>
                    <a:pt x="24" y="424"/>
                  </a:cubicBezTo>
                  <a:cubicBezTo>
                    <a:pt x="24" y="425"/>
                    <a:pt x="24" y="425"/>
                    <a:pt x="24" y="425"/>
                  </a:cubicBezTo>
                  <a:cubicBezTo>
                    <a:pt x="24" y="426"/>
                    <a:pt x="24" y="426"/>
                    <a:pt x="24" y="426"/>
                  </a:cubicBezTo>
                  <a:cubicBezTo>
                    <a:pt x="23" y="428"/>
                    <a:pt x="23" y="428"/>
                    <a:pt x="23" y="428"/>
                  </a:cubicBezTo>
                  <a:cubicBezTo>
                    <a:pt x="23" y="431"/>
                    <a:pt x="23" y="431"/>
                    <a:pt x="23" y="431"/>
                  </a:cubicBezTo>
                  <a:cubicBezTo>
                    <a:pt x="23" y="432"/>
                    <a:pt x="23" y="432"/>
                    <a:pt x="23" y="432"/>
                  </a:cubicBezTo>
                  <a:cubicBezTo>
                    <a:pt x="23" y="434"/>
                    <a:pt x="23" y="434"/>
                    <a:pt x="23" y="434"/>
                  </a:cubicBezTo>
                  <a:cubicBezTo>
                    <a:pt x="23" y="435"/>
                    <a:pt x="23" y="435"/>
                    <a:pt x="23" y="435"/>
                  </a:cubicBezTo>
                  <a:cubicBezTo>
                    <a:pt x="23" y="436"/>
                    <a:pt x="23" y="436"/>
                    <a:pt x="23" y="436"/>
                  </a:cubicBezTo>
                  <a:cubicBezTo>
                    <a:pt x="23" y="437"/>
                    <a:pt x="23" y="437"/>
                    <a:pt x="23" y="437"/>
                  </a:cubicBezTo>
                  <a:cubicBezTo>
                    <a:pt x="22" y="437"/>
                    <a:pt x="22" y="437"/>
                    <a:pt x="22" y="437"/>
                  </a:cubicBezTo>
                  <a:cubicBezTo>
                    <a:pt x="21" y="437"/>
                    <a:pt x="21" y="437"/>
                    <a:pt x="21" y="437"/>
                  </a:cubicBezTo>
                  <a:cubicBezTo>
                    <a:pt x="22" y="439"/>
                    <a:pt x="22" y="439"/>
                    <a:pt x="22" y="439"/>
                  </a:cubicBezTo>
                  <a:cubicBezTo>
                    <a:pt x="20" y="439"/>
                    <a:pt x="20" y="439"/>
                    <a:pt x="20" y="439"/>
                  </a:cubicBezTo>
                  <a:cubicBezTo>
                    <a:pt x="19" y="439"/>
                    <a:pt x="19" y="439"/>
                    <a:pt x="19" y="439"/>
                  </a:cubicBezTo>
                  <a:cubicBezTo>
                    <a:pt x="18" y="439"/>
                    <a:pt x="18" y="439"/>
                    <a:pt x="18" y="439"/>
                  </a:cubicBezTo>
                  <a:cubicBezTo>
                    <a:pt x="16" y="438"/>
                    <a:pt x="16" y="438"/>
                    <a:pt x="16" y="438"/>
                  </a:cubicBezTo>
                  <a:cubicBezTo>
                    <a:pt x="16" y="438"/>
                    <a:pt x="16" y="438"/>
                    <a:pt x="16" y="438"/>
                  </a:cubicBezTo>
                  <a:cubicBezTo>
                    <a:pt x="14" y="436"/>
                    <a:pt x="14" y="436"/>
                    <a:pt x="14" y="436"/>
                  </a:cubicBezTo>
                  <a:cubicBezTo>
                    <a:pt x="14" y="435"/>
                    <a:pt x="14" y="435"/>
                    <a:pt x="14" y="435"/>
                  </a:cubicBezTo>
                  <a:cubicBezTo>
                    <a:pt x="13" y="435"/>
                    <a:pt x="13" y="435"/>
                    <a:pt x="13" y="435"/>
                  </a:cubicBezTo>
                  <a:cubicBezTo>
                    <a:pt x="12" y="433"/>
                    <a:pt x="12" y="433"/>
                    <a:pt x="12" y="433"/>
                  </a:cubicBezTo>
                  <a:cubicBezTo>
                    <a:pt x="11" y="433"/>
                    <a:pt x="11" y="433"/>
                    <a:pt x="11" y="433"/>
                  </a:cubicBezTo>
                  <a:cubicBezTo>
                    <a:pt x="11" y="433"/>
                    <a:pt x="11" y="433"/>
                    <a:pt x="11" y="433"/>
                  </a:cubicBezTo>
                  <a:cubicBezTo>
                    <a:pt x="9" y="435"/>
                    <a:pt x="9" y="435"/>
                    <a:pt x="9" y="435"/>
                  </a:cubicBezTo>
                  <a:cubicBezTo>
                    <a:pt x="9" y="436"/>
                    <a:pt x="9" y="436"/>
                    <a:pt x="9" y="436"/>
                  </a:cubicBezTo>
                  <a:cubicBezTo>
                    <a:pt x="10" y="437"/>
                    <a:pt x="10" y="437"/>
                    <a:pt x="10" y="437"/>
                  </a:cubicBezTo>
                  <a:cubicBezTo>
                    <a:pt x="10" y="438"/>
                    <a:pt x="10" y="438"/>
                    <a:pt x="10" y="438"/>
                  </a:cubicBezTo>
                  <a:cubicBezTo>
                    <a:pt x="10" y="439"/>
                    <a:pt x="10" y="439"/>
                    <a:pt x="10" y="439"/>
                  </a:cubicBezTo>
                  <a:cubicBezTo>
                    <a:pt x="11" y="440"/>
                    <a:pt x="11" y="440"/>
                    <a:pt x="11" y="440"/>
                  </a:cubicBezTo>
                  <a:cubicBezTo>
                    <a:pt x="11" y="441"/>
                    <a:pt x="11" y="441"/>
                    <a:pt x="11" y="441"/>
                  </a:cubicBezTo>
                  <a:cubicBezTo>
                    <a:pt x="10" y="441"/>
                    <a:pt x="10" y="441"/>
                    <a:pt x="10" y="441"/>
                  </a:cubicBezTo>
                  <a:cubicBezTo>
                    <a:pt x="8" y="441"/>
                    <a:pt x="8" y="441"/>
                    <a:pt x="8" y="441"/>
                  </a:cubicBezTo>
                  <a:cubicBezTo>
                    <a:pt x="7" y="442"/>
                    <a:pt x="7" y="442"/>
                    <a:pt x="7" y="442"/>
                  </a:cubicBezTo>
                  <a:cubicBezTo>
                    <a:pt x="6" y="443"/>
                    <a:pt x="6" y="443"/>
                    <a:pt x="6" y="443"/>
                  </a:cubicBezTo>
                  <a:cubicBezTo>
                    <a:pt x="7" y="444"/>
                    <a:pt x="7" y="444"/>
                    <a:pt x="7" y="444"/>
                  </a:cubicBezTo>
                  <a:cubicBezTo>
                    <a:pt x="7" y="444"/>
                    <a:pt x="7" y="444"/>
                    <a:pt x="7" y="444"/>
                  </a:cubicBezTo>
                  <a:cubicBezTo>
                    <a:pt x="8" y="444"/>
                    <a:pt x="8" y="444"/>
                    <a:pt x="8" y="444"/>
                  </a:cubicBezTo>
                  <a:cubicBezTo>
                    <a:pt x="8" y="444"/>
                    <a:pt x="8" y="444"/>
                    <a:pt x="8" y="444"/>
                  </a:cubicBezTo>
                  <a:cubicBezTo>
                    <a:pt x="9" y="445"/>
                    <a:pt x="9" y="445"/>
                    <a:pt x="9" y="445"/>
                  </a:cubicBezTo>
                  <a:cubicBezTo>
                    <a:pt x="8" y="445"/>
                    <a:pt x="8" y="445"/>
                    <a:pt x="8" y="445"/>
                  </a:cubicBezTo>
                  <a:cubicBezTo>
                    <a:pt x="8" y="445"/>
                    <a:pt x="8" y="445"/>
                    <a:pt x="8" y="445"/>
                  </a:cubicBezTo>
                  <a:cubicBezTo>
                    <a:pt x="7" y="445"/>
                    <a:pt x="7" y="445"/>
                    <a:pt x="7" y="445"/>
                  </a:cubicBezTo>
                  <a:cubicBezTo>
                    <a:pt x="7" y="446"/>
                    <a:pt x="7" y="446"/>
                    <a:pt x="7" y="446"/>
                  </a:cubicBezTo>
                  <a:cubicBezTo>
                    <a:pt x="7" y="447"/>
                    <a:pt x="7" y="447"/>
                    <a:pt x="7" y="447"/>
                  </a:cubicBezTo>
                  <a:cubicBezTo>
                    <a:pt x="7" y="447"/>
                    <a:pt x="7" y="447"/>
                    <a:pt x="7" y="447"/>
                  </a:cubicBezTo>
                  <a:cubicBezTo>
                    <a:pt x="7" y="448"/>
                    <a:pt x="7" y="448"/>
                    <a:pt x="7" y="448"/>
                  </a:cubicBezTo>
                  <a:cubicBezTo>
                    <a:pt x="10" y="449"/>
                    <a:pt x="10" y="449"/>
                    <a:pt x="10" y="449"/>
                  </a:cubicBezTo>
                  <a:cubicBezTo>
                    <a:pt x="11" y="449"/>
                    <a:pt x="11" y="449"/>
                    <a:pt x="11" y="449"/>
                  </a:cubicBezTo>
                  <a:cubicBezTo>
                    <a:pt x="11" y="449"/>
                    <a:pt x="11" y="449"/>
                    <a:pt x="11" y="449"/>
                  </a:cubicBezTo>
                  <a:cubicBezTo>
                    <a:pt x="9" y="452"/>
                    <a:pt x="9" y="452"/>
                    <a:pt x="9" y="452"/>
                  </a:cubicBezTo>
                  <a:cubicBezTo>
                    <a:pt x="10" y="452"/>
                    <a:pt x="10" y="452"/>
                    <a:pt x="10" y="452"/>
                  </a:cubicBezTo>
                  <a:cubicBezTo>
                    <a:pt x="12" y="451"/>
                    <a:pt x="12" y="451"/>
                    <a:pt x="12" y="451"/>
                  </a:cubicBezTo>
                  <a:cubicBezTo>
                    <a:pt x="13" y="451"/>
                    <a:pt x="13" y="451"/>
                    <a:pt x="13" y="451"/>
                  </a:cubicBezTo>
                  <a:cubicBezTo>
                    <a:pt x="13" y="452"/>
                    <a:pt x="13" y="452"/>
                    <a:pt x="13" y="452"/>
                  </a:cubicBezTo>
                  <a:cubicBezTo>
                    <a:pt x="12" y="452"/>
                    <a:pt x="12" y="452"/>
                    <a:pt x="12" y="452"/>
                  </a:cubicBezTo>
                  <a:cubicBezTo>
                    <a:pt x="11" y="452"/>
                    <a:pt x="11" y="452"/>
                    <a:pt x="11" y="452"/>
                  </a:cubicBezTo>
                  <a:cubicBezTo>
                    <a:pt x="11" y="453"/>
                    <a:pt x="11" y="453"/>
                    <a:pt x="11" y="453"/>
                  </a:cubicBezTo>
                  <a:cubicBezTo>
                    <a:pt x="12" y="454"/>
                    <a:pt x="12" y="454"/>
                    <a:pt x="12" y="454"/>
                  </a:cubicBezTo>
                  <a:cubicBezTo>
                    <a:pt x="13" y="454"/>
                    <a:pt x="13" y="454"/>
                    <a:pt x="13" y="454"/>
                  </a:cubicBezTo>
                  <a:cubicBezTo>
                    <a:pt x="13" y="455"/>
                    <a:pt x="13" y="455"/>
                    <a:pt x="13" y="455"/>
                  </a:cubicBezTo>
                  <a:cubicBezTo>
                    <a:pt x="13" y="455"/>
                    <a:pt x="13" y="455"/>
                    <a:pt x="13" y="455"/>
                  </a:cubicBezTo>
                  <a:cubicBezTo>
                    <a:pt x="13" y="455"/>
                    <a:pt x="13" y="455"/>
                    <a:pt x="13" y="455"/>
                  </a:cubicBezTo>
                  <a:cubicBezTo>
                    <a:pt x="14" y="456"/>
                    <a:pt x="14" y="456"/>
                    <a:pt x="14" y="456"/>
                  </a:cubicBezTo>
                  <a:cubicBezTo>
                    <a:pt x="14" y="457"/>
                    <a:pt x="14" y="457"/>
                    <a:pt x="14" y="457"/>
                  </a:cubicBezTo>
                  <a:cubicBezTo>
                    <a:pt x="15" y="456"/>
                    <a:pt x="15" y="456"/>
                    <a:pt x="15" y="456"/>
                  </a:cubicBezTo>
                  <a:cubicBezTo>
                    <a:pt x="15" y="455"/>
                    <a:pt x="15" y="455"/>
                    <a:pt x="15" y="455"/>
                  </a:cubicBezTo>
                  <a:cubicBezTo>
                    <a:pt x="15" y="455"/>
                    <a:pt x="15" y="455"/>
                    <a:pt x="15" y="455"/>
                  </a:cubicBezTo>
                  <a:cubicBezTo>
                    <a:pt x="15" y="454"/>
                    <a:pt x="15" y="454"/>
                    <a:pt x="15" y="454"/>
                  </a:cubicBezTo>
                  <a:cubicBezTo>
                    <a:pt x="16" y="453"/>
                    <a:pt x="16" y="453"/>
                    <a:pt x="16" y="453"/>
                  </a:cubicBezTo>
                  <a:cubicBezTo>
                    <a:pt x="17" y="452"/>
                    <a:pt x="17" y="452"/>
                    <a:pt x="17" y="452"/>
                  </a:cubicBezTo>
                  <a:cubicBezTo>
                    <a:pt x="18" y="451"/>
                    <a:pt x="18" y="451"/>
                    <a:pt x="18" y="451"/>
                  </a:cubicBezTo>
                  <a:cubicBezTo>
                    <a:pt x="18" y="451"/>
                    <a:pt x="18" y="451"/>
                    <a:pt x="18" y="451"/>
                  </a:cubicBezTo>
                  <a:cubicBezTo>
                    <a:pt x="19" y="448"/>
                    <a:pt x="19" y="448"/>
                    <a:pt x="19" y="448"/>
                  </a:cubicBezTo>
                  <a:cubicBezTo>
                    <a:pt x="19" y="447"/>
                    <a:pt x="19" y="447"/>
                    <a:pt x="19" y="447"/>
                  </a:cubicBezTo>
                  <a:cubicBezTo>
                    <a:pt x="20" y="446"/>
                    <a:pt x="20" y="446"/>
                    <a:pt x="20" y="446"/>
                  </a:cubicBezTo>
                  <a:cubicBezTo>
                    <a:pt x="20" y="444"/>
                    <a:pt x="20" y="444"/>
                    <a:pt x="20" y="444"/>
                  </a:cubicBezTo>
                  <a:cubicBezTo>
                    <a:pt x="20" y="443"/>
                    <a:pt x="20" y="443"/>
                    <a:pt x="20" y="443"/>
                  </a:cubicBezTo>
                  <a:cubicBezTo>
                    <a:pt x="21" y="442"/>
                    <a:pt x="21" y="442"/>
                    <a:pt x="21" y="442"/>
                  </a:cubicBezTo>
                  <a:cubicBezTo>
                    <a:pt x="21" y="443"/>
                    <a:pt x="21" y="443"/>
                    <a:pt x="21" y="443"/>
                  </a:cubicBezTo>
                  <a:cubicBezTo>
                    <a:pt x="21" y="443"/>
                    <a:pt x="21" y="443"/>
                    <a:pt x="21" y="443"/>
                  </a:cubicBezTo>
                  <a:cubicBezTo>
                    <a:pt x="21" y="444"/>
                    <a:pt x="21" y="444"/>
                    <a:pt x="21" y="444"/>
                  </a:cubicBezTo>
                  <a:cubicBezTo>
                    <a:pt x="21" y="443"/>
                    <a:pt x="21" y="443"/>
                    <a:pt x="21" y="443"/>
                  </a:cubicBezTo>
                  <a:cubicBezTo>
                    <a:pt x="22" y="442"/>
                    <a:pt x="22" y="442"/>
                    <a:pt x="22" y="442"/>
                  </a:cubicBezTo>
                  <a:cubicBezTo>
                    <a:pt x="22" y="442"/>
                    <a:pt x="22" y="442"/>
                    <a:pt x="22" y="442"/>
                  </a:cubicBezTo>
                  <a:cubicBezTo>
                    <a:pt x="23" y="442"/>
                    <a:pt x="23" y="442"/>
                    <a:pt x="23" y="442"/>
                  </a:cubicBezTo>
                  <a:cubicBezTo>
                    <a:pt x="23" y="442"/>
                    <a:pt x="23" y="442"/>
                    <a:pt x="23" y="442"/>
                  </a:cubicBezTo>
                  <a:cubicBezTo>
                    <a:pt x="23" y="441"/>
                    <a:pt x="23" y="441"/>
                    <a:pt x="23" y="441"/>
                  </a:cubicBezTo>
                  <a:cubicBezTo>
                    <a:pt x="24" y="441"/>
                    <a:pt x="24" y="441"/>
                    <a:pt x="24" y="441"/>
                  </a:cubicBezTo>
                  <a:cubicBezTo>
                    <a:pt x="24" y="442"/>
                    <a:pt x="24" y="442"/>
                    <a:pt x="24" y="442"/>
                  </a:cubicBezTo>
                  <a:cubicBezTo>
                    <a:pt x="23" y="442"/>
                    <a:pt x="23" y="442"/>
                    <a:pt x="23" y="442"/>
                  </a:cubicBezTo>
                  <a:cubicBezTo>
                    <a:pt x="23" y="443"/>
                    <a:pt x="23" y="443"/>
                    <a:pt x="23" y="443"/>
                  </a:cubicBezTo>
                  <a:cubicBezTo>
                    <a:pt x="22" y="443"/>
                    <a:pt x="22" y="443"/>
                    <a:pt x="22" y="443"/>
                  </a:cubicBezTo>
                  <a:cubicBezTo>
                    <a:pt x="22" y="444"/>
                    <a:pt x="22" y="444"/>
                    <a:pt x="22" y="444"/>
                  </a:cubicBezTo>
                  <a:cubicBezTo>
                    <a:pt x="22" y="444"/>
                    <a:pt x="22" y="444"/>
                    <a:pt x="22" y="444"/>
                  </a:cubicBezTo>
                  <a:cubicBezTo>
                    <a:pt x="21" y="445"/>
                    <a:pt x="21" y="445"/>
                    <a:pt x="21" y="445"/>
                  </a:cubicBezTo>
                  <a:cubicBezTo>
                    <a:pt x="21" y="445"/>
                    <a:pt x="21" y="445"/>
                    <a:pt x="21" y="445"/>
                  </a:cubicBezTo>
                  <a:cubicBezTo>
                    <a:pt x="21" y="446"/>
                    <a:pt x="21" y="446"/>
                    <a:pt x="21" y="446"/>
                  </a:cubicBezTo>
                  <a:cubicBezTo>
                    <a:pt x="20" y="447"/>
                    <a:pt x="20" y="447"/>
                    <a:pt x="20" y="447"/>
                  </a:cubicBezTo>
                  <a:cubicBezTo>
                    <a:pt x="20" y="448"/>
                    <a:pt x="20" y="448"/>
                    <a:pt x="20" y="448"/>
                  </a:cubicBezTo>
                  <a:cubicBezTo>
                    <a:pt x="20" y="448"/>
                    <a:pt x="20" y="448"/>
                    <a:pt x="20" y="448"/>
                  </a:cubicBezTo>
                  <a:cubicBezTo>
                    <a:pt x="20" y="449"/>
                    <a:pt x="20" y="449"/>
                    <a:pt x="20" y="449"/>
                  </a:cubicBezTo>
                  <a:cubicBezTo>
                    <a:pt x="19" y="449"/>
                    <a:pt x="19" y="449"/>
                    <a:pt x="19" y="449"/>
                  </a:cubicBezTo>
                  <a:cubicBezTo>
                    <a:pt x="19" y="450"/>
                    <a:pt x="19" y="450"/>
                    <a:pt x="19" y="450"/>
                  </a:cubicBezTo>
                  <a:cubicBezTo>
                    <a:pt x="20" y="450"/>
                    <a:pt x="20" y="450"/>
                    <a:pt x="20" y="450"/>
                  </a:cubicBezTo>
                  <a:cubicBezTo>
                    <a:pt x="20" y="449"/>
                    <a:pt x="20" y="449"/>
                    <a:pt x="20" y="449"/>
                  </a:cubicBezTo>
                  <a:cubicBezTo>
                    <a:pt x="20" y="448"/>
                    <a:pt x="20" y="448"/>
                    <a:pt x="20" y="448"/>
                  </a:cubicBezTo>
                  <a:cubicBezTo>
                    <a:pt x="21" y="448"/>
                    <a:pt x="21" y="448"/>
                    <a:pt x="21" y="448"/>
                  </a:cubicBezTo>
                  <a:cubicBezTo>
                    <a:pt x="21" y="449"/>
                    <a:pt x="21" y="449"/>
                    <a:pt x="21" y="449"/>
                  </a:cubicBezTo>
                  <a:cubicBezTo>
                    <a:pt x="21" y="449"/>
                    <a:pt x="21" y="449"/>
                    <a:pt x="21" y="449"/>
                  </a:cubicBezTo>
                  <a:cubicBezTo>
                    <a:pt x="20" y="451"/>
                    <a:pt x="20" y="451"/>
                    <a:pt x="20" y="451"/>
                  </a:cubicBezTo>
                  <a:cubicBezTo>
                    <a:pt x="21" y="450"/>
                    <a:pt x="21" y="450"/>
                    <a:pt x="21" y="450"/>
                  </a:cubicBezTo>
                  <a:cubicBezTo>
                    <a:pt x="23" y="450"/>
                    <a:pt x="23" y="450"/>
                    <a:pt x="23" y="450"/>
                  </a:cubicBezTo>
                  <a:cubicBezTo>
                    <a:pt x="23" y="451"/>
                    <a:pt x="23" y="451"/>
                    <a:pt x="23" y="451"/>
                  </a:cubicBezTo>
                  <a:cubicBezTo>
                    <a:pt x="22" y="451"/>
                    <a:pt x="22" y="451"/>
                    <a:pt x="22" y="451"/>
                  </a:cubicBezTo>
                  <a:cubicBezTo>
                    <a:pt x="20" y="452"/>
                    <a:pt x="20" y="452"/>
                    <a:pt x="20" y="452"/>
                  </a:cubicBezTo>
                  <a:cubicBezTo>
                    <a:pt x="19" y="452"/>
                    <a:pt x="19" y="452"/>
                    <a:pt x="19" y="452"/>
                  </a:cubicBezTo>
                  <a:cubicBezTo>
                    <a:pt x="19" y="453"/>
                    <a:pt x="19" y="453"/>
                    <a:pt x="19" y="453"/>
                  </a:cubicBezTo>
                  <a:cubicBezTo>
                    <a:pt x="19" y="453"/>
                    <a:pt x="19" y="453"/>
                    <a:pt x="19" y="453"/>
                  </a:cubicBezTo>
                  <a:cubicBezTo>
                    <a:pt x="19" y="454"/>
                    <a:pt x="19" y="454"/>
                    <a:pt x="19" y="454"/>
                  </a:cubicBezTo>
                  <a:cubicBezTo>
                    <a:pt x="19" y="454"/>
                    <a:pt x="19" y="454"/>
                    <a:pt x="19" y="454"/>
                  </a:cubicBezTo>
                  <a:cubicBezTo>
                    <a:pt x="18" y="455"/>
                    <a:pt x="18" y="455"/>
                    <a:pt x="18" y="455"/>
                  </a:cubicBezTo>
                  <a:cubicBezTo>
                    <a:pt x="19" y="455"/>
                    <a:pt x="19" y="455"/>
                    <a:pt x="19" y="455"/>
                  </a:cubicBezTo>
                  <a:cubicBezTo>
                    <a:pt x="19" y="456"/>
                    <a:pt x="19" y="456"/>
                    <a:pt x="19" y="456"/>
                  </a:cubicBezTo>
                  <a:cubicBezTo>
                    <a:pt x="20" y="456"/>
                    <a:pt x="20" y="456"/>
                    <a:pt x="20" y="456"/>
                  </a:cubicBezTo>
                  <a:cubicBezTo>
                    <a:pt x="20" y="455"/>
                    <a:pt x="20" y="455"/>
                    <a:pt x="20" y="455"/>
                  </a:cubicBezTo>
                  <a:cubicBezTo>
                    <a:pt x="21" y="456"/>
                    <a:pt x="21" y="456"/>
                    <a:pt x="21" y="456"/>
                  </a:cubicBezTo>
                  <a:cubicBezTo>
                    <a:pt x="21" y="455"/>
                    <a:pt x="21" y="455"/>
                    <a:pt x="21" y="455"/>
                  </a:cubicBezTo>
                  <a:cubicBezTo>
                    <a:pt x="22" y="455"/>
                    <a:pt x="22" y="455"/>
                    <a:pt x="22" y="455"/>
                  </a:cubicBezTo>
                  <a:cubicBezTo>
                    <a:pt x="22" y="454"/>
                    <a:pt x="22" y="454"/>
                    <a:pt x="22" y="454"/>
                  </a:cubicBezTo>
                  <a:cubicBezTo>
                    <a:pt x="22" y="454"/>
                    <a:pt x="22" y="454"/>
                    <a:pt x="22" y="454"/>
                  </a:cubicBezTo>
                  <a:cubicBezTo>
                    <a:pt x="22" y="453"/>
                    <a:pt x="22" y="453"/>
                    <a:pt x="22" y="453"/>
                  </a:cubicBezTo>
                  <a:cubicBezTo>
                    <a:pt x="23" y="452"/>
                    <a:pt x="23" y="452"/>
                    <a:pt x="23" y="452"/>
                  </a:cubicBezTo>
                  <a:cubicBezTo>
                    <a:pt x="25" y="452"/>
                    <a:pt x="25" y="452"/>
                    <a:pt x="25" y="452"/>
                  </a:cubicBezTo>
                  <a:cubicBezTo>
                    <a:pt x="26" y="452"/>
                    <a:pt x="26" y="452"/>
                    <a:pt x="26" y="452"/>
                  </a:cubicBezTo>
                  <a:cubicBezTo>
                    <a:pt x="26" y="452"/>
                    <a:pt x="26" y="452"/>
                    <a:pt x="26" y="452"/>
                  </a:cubicBezTo>
                  <a:cubicBezTo>
                    <a:pt x="24" y="453"/>
                    <a:pt x="24" y="453"/>
                    <a:pt x="24" y="453"/>
                  </a:cubicBezTo>
                  <a:cubicBezTo>
                    <a:pt x="23" y="454"/>
                    <a:pt x="23" y="454"/>
                    <a:pt x="23" y="454"/>
                  </a:cubicBezTo>
                  <a:cubicBezTo>
                    <a:pt x="23" y="455"/>
                    <a:pt x="23" y="455"/>
                    <a:pt x="23" y="455"/>
                  </a:cubicBezTo>
                  <a:cubicBezTo>
                    <a:pt x="24" y="456"/>
                    <a:pt x="24" y="456"/>
                    <a:pt x="24" y="456"/>
                  </a:cubicBezTo>
                  <a:cubicBezTo>
                    <a:pt x="24" y="457"/>
                    <a:pt x="24" y="457"/>
                    <a:pt x="24" y="457"/>
                  </a:cubicBezTo>
                  <a:cubicBezTo>
                    <a:pt x="23" y="458"/>
                    <a:pt x="23" y="458"/>
                    <a:pt x="23" y="458"/>
                  </a:cubicBezTo>
                  <a:cubicBezTo>
                    <a:pt x="23" y="458"/>
                    <a:pt x="23" y="458"/>
                    <a:pt x="23" y="458"/>
                  </a:cubicBezTo>
                  <a:cubicBezTo>
                    <a:pt x="23" y="458"/>
                    <a:pt x="23" y="458"/>
                    <a:pt x="23" y="458"/>
                  </a:cubicBezTo>
                  <a:cubicBezTo>
                    <a:pt x="23" y="459"/>
                    <a:pt x="23" y="459"/>
                    <a:pt x="23" y="459"/>
                  </a:cubicBezTo>
                  <a:cubicBezTo>
                    <a:pt x="24" y="459"/>
                    <a:pt x="24" y="459"/>
                    <a:pt x="24" y="459"/>
                  </a:cubicBezTo>
                  <a:cubicBezTo>
                    <a:pt x="24" y="460"/>
                    <a:pt x="24" y="460"/>
                    <a:pt x="24" y="460"/>
                  </a:cubicBezTo>
                  <a:cubicBezTo>
                    <a:pt x="24" y="459"/>
                    <a:pt x="24" y="459"/>
                    <a:pt x="24" y="459"/>
                  </a:cubicBezTo>
                  <a:cubicBezTo>
                    <a:pt x="24" y="459"/>
                    <a:pt x="24" y="459"/>
                    <a:pt x="24" y="459"/>
                  </a:cubicBezTo>
                  <a:cubicBezTo>
                    <a:pt x="24" y="459"/>
                    <a:pt x="24" y="459"/>
                    <a:pt x="24" y="459"/>
                  </a:cubicBezTo>
                  <a:cubicBezTo>
                    <a:pt x="25" y="459"/>
                    <a:pt x="25" y="459"/>
                    <a:pt x="25" y="459"/>
                  </a:cubicBezTo>
                  <a:cubicBezTo>
                    <a:pt x="26" y="459"/>
                    <a:pt x="26" y="459"/>
                    <a:pt x="26" y="459"/>
                  </a:cubicBezTo>
                  <a:cubicBezTo>
                    <a:pt x="26" y="460"/>
                    <a:pt x="26" y="460"/>
                    <a:pt x="26" y="460"/>
                  </a:cubicBezTo>
                  <a:cubicBezTo>
                    <a:pt x="25" y="461"/>
                    <a:pt x="25" y="461"/>
                    <a:pt x="25" y="461"/>
                  </a:cubicBezTo>
                  <a:cubicBezTo>
                    <a:pt x="25" y="461"/>
                    <a:pt x="25" y="461"/>
                    <a:pt x="25" y="461"/>
                  </a:cubicBezTo>
                  <a:cubicBezTo>
                    <a:pt x="24" y="461"/>
                    <a:pt x="24" y="461"/>
                    <a:pt x="24" y="461"/>
                  </a:cubicBezTo>
                  <a:cubicBezTo>
                    <a:pt x="23" y="460"/>
                    <a:pt x="23" y="460"/>
                    <a:pt x="23" y="460"/>
                  </a:cubicBezTo>
                  <a:cubicBezTo>
                    <a:pt x="23" y="461"/>
                    <a:pt x="23" y="461"/>
                    <a:pt x="23" y="461"/>
                  </a:cubicBezTo>
                  <a:cubicBezTo>
                    <a:pt x="22" y="462"/>
                    <a:pt x="22" y="462"/>
                    <a:pt x="22" y="462"/>
                  </a:cubicBezTo>
                  <a:cubicBezTo>
                    <a:pt x="23" y="462"/>
                    <a:pt x="23" y="462"/>
                    <a:pt x="23" y="462"/>
                  </a:cubicBezTo>
                  <a:cubicBezTo>
                    <a:pt x="23" y="463"/>
                    <a:pt x="23" y="463"/>
                    <a:pt x="23" y="463"/>
                  </a:cubicBezTo>
                  <a:cubicBezTo>
                    <a:pt x="23" y="463"/>
                    <a:pt x="23" y="463"/>
                    <a:pt x="23" y="463"/>
                  </a:cubicBezTo>
                  <a:cubicBezTo>
                    <a:pt x="23" y="463"/>
                    <a:pt x="23" y="463"/>
                    <a:pt x="23" y="463"/>
                  </a:cubicBezTo>
                  <a:cubicBezTo>
                    <a:pt x="23" y="464"/>
                    <a:pt x="23" y="464"/>
                    <a:pt x="23" y="464"/>
                  </a:cubicBezTo>
                  <a:cubicBezTo>
                    <a:pt x="24" y="465"/>
                    <a:pt x="24" y="465"/>
                    <a:pt x="24" y="465"/>
                  </a:cubicBezTo>
                  <a:cubicBezTo>
                    <a:pt x="25" y="465"/>
                    <a:pt x="25" y="465"/>
                    <a:pt x="25" y="465"/>
                  </a:cubicBezTo>
                  <a:cubicBezTo>
                    <a:pt x="25" y="463"/>
                    <a:pt x="25" y="463"/>
                    <a:pt x="25" y="463"/>
                  </a:cubicBezTo>
                  <a:cubicBezTo>
                    <a:pt x="26" y="463"/>
                    <a:pt x="26" y="463"/>
                    <a:pt x="26" y="463"/>
                  </a:cubicBezTo>
                  <a:cubicBezTo>
                    <a:pt x="26" y="464"/>
                    <a:pt x="26" y="464"/>
                    <a:pt x="26" y="464"/>
                  </a:cubicBezTo>
                  <a:cubicBezTo>
                    <a:pt x="26" y="464"/>
                    <a:pt x="26" y="464"/>
                    <a:pt x="26" y="464"/>
                  </a:cubicBezTo>
                  <a:cubicBezTo>
                    <a:pt x="27" y="464"/>
                    <a:pt x="27" y="464"/>
                    <a:pt x="27" y="464"/>
                  </a:cubicBezTo>
                  <a:cubicBezTo>
                    <a:pt x="28" y="463"/>
                    <a:pt x="28" y="463"/>
                    <a:pt x="28" y="463"/>
                  </a:cubicBezTo>
                  <a:cubicBezTo>
                    <a:pt x="28" y="461"/>
                    <a:pt x="28" y="461"/>
                    <a:pt x="28" y="461"/>
                  </a:cubicBezTo>
                  <a:cubicBezTo>
                    <a:pt x="28" y="459"/>
                    <a:pt x="28" y="459"/>
                    <a:pt x="28" y="459"/>
                  </a:cubicBezTo>
                  <a:cubicBezTo>
                    <a:pt x="28" y="456"/>
                    <a:pt x="28" y="456"/>
                    <a:pt x="28" y="456"/>
                  </a:cubicBezTo>
                  <a:cubicBezTo>
                    <a:pt x="28" y="455"/>
                    <a:pt x="28" y="455"/>
                    <a:pt x="28" y="455"/>
                  </a:cubicBezTo>
                  <a:cubicBezTo>
                    <a:pt x="28" y="455"/>
                    <a:pt x="28" y="455"/>
                    <a:pt x="28" y="455"/>
                  </a:cubicBezTo>
                  <a:cubicBezTo>
                    <a:pt x="28" y="455"/>
                    <a:pt x="28" y="455"/>
                    <a:pt x="28" y="455"/>
                  </a:cubicBezTo>
                  <a:cubicBezTo>
                    <a:pt x="29" y="455"/>
                    <a:pt x="29" y="455"/>
                    <a:pt x="29" y="455"/>
                  </a:cubicBezTo>
                  <a:cubicBezTo>
                    <a:pt x="29" y="455"/>
                    <a:pt x="29" y="455"/>
                    <a:pt x="29" y="455"/>
                  </a:cubicBezTo>
                  <a:cubicBezTo>
                    <a:pt x="29" y="454"/>
                    <a:pt x="29" y="454"/>
                    <a:pt x="29" y="454"/>
                  </a:cubicBezTo>
                  <a:cubicBezTo>
                    <a:pt x="30" y="453"/>
                    <a:pt x="30" y="453"/>
                    <a:pt x="30" y="453"/>
                  </a:cubicBezTo>
                  <a:cubicBezTo>
                    <a:pt x="31" y="451"/>
                    <a:pt x="31" y="451"/>
                    <a:pt x="31" y="451"/>
                  </a:cubicBezTo>
                  <a:cubicBezTo>
                    <a:pt x="31" y="450"/>
                    <a:pt x="31" y="450"/>
                    <a:pt x="31" y="450"/>
                  </a:cubicBezTo>
                  <a:cubicBezTo>
                    <a:pt x="32" y="449"/>
                    <a:pt x="32" y="449"/>
                    <a:pt x="32" y="449"/>
                  </a:cubicBezTo>
                  <a:cubicBezTo>
                    <a:pt x="32" y="449"/>
                    <a:pt x="32" y="449"/>
                    <a:pt x="32" y="449"/>
                  </a:cubicBezTo>
                  <a:cubicBezTo>
                    <a:pt x="32" y="448"/>
                    <a:pt x="32" y="448"/>
                    <a:pt x="32" y="448"/>
                  </a:cubicBezTo>
                  <a:cubicBezTo>
                    <a:pt x="33" y="448"/>
                    <a:pt x="33" y="448"/>
                    <a:pt x="33" y="448"/>
                  </a:cubicBezTo>
                  <a:cubicBezTo>
                    <a:pt x="34" y="449"/>
                    <a:pt x="34" y="449"/>
                    <a:pt x="34" y="449"/>
                  </a:cubicBezTo>
                  <a:cubicBezTo>
                    <a:pt x="35" y="450"/>
                    <a:pt x="35" y="450"/>
                    <a:pt x="35" y="450"/>
                  </a:cubicBezTo>
                  <a:cubicBezTo>
                    <a:pt x="36" y="450"/>
                    <a:pt x="36" y="450"/>
                    <a:pt x="36" y="450"/>
                  </a:cubicBezTo>
                  <a:cubicBezTo>
                    <a:pt x="36" y="449"/>
                    <a:pt x="36" y="449"/>
                    <a:pt x="36" y="449"/>
                  </a:cubicBezTo>
                  <a:cubicBezTo>
                    <a:pt x="36" y="448"/>
                    <a:pt x="36" y="448"/>
                    <a:pt x="36" y="448"/>
                  </a:cubicBezTo>
                  <a:cubicBezTo>
                    <a:pt x="37" y="447"/>
                    <a:pt x="37" y="447"/>
                    <a:pt x="37" y="447"/>
                  </a:cubicBezTo>
                  <a:cubicBezTo>
                    <a:pt x="36" y="447"/>
                    <a:pt x="36" y="447"/>
                    <a:pt x="36" y="447"/>
                  </a:cubicBezTo>
                  <a:cubicBezTo>
                    <a:pt x="36" y="447"/>
                    <a:pt x="36" y="447"/>
                    <a:pt x="36" y="447"/>
                  </a:cubicBezTo>
                  <a:cubicBezTo>
                    <a:pt x="36" y="446"/>
                    <a:pt x="36" y="446"/>
                    <a:pt x="36" y="446"/>
                  </a:cubicBezTo>
                  <a:cubicBezTo>
                    <a:pt x="36" y="445"/>
                    <a:pt x="36" y="445"/>
                    <a:pt x="36" y="445"/>
                  </a:cubicBezTo>
                  <a:cubicBezTo>
                    <a:pt x="37" y="444"/>
                    <a:pt x="37" y="444"/>
                    <a:pt x="37" y="444"/>
                  </a:cubicBezTo>
                  <a:cubicBezTo>
                    <a:pt x="38" y="443"/>
                    <a:pt x="38" y="443"/>
                    <a:pt x="38" y="443"/>
                  </a:cubicBezTo>
                  <a:cubicBezTo>
                    <a:pt x="36" y="443"/>
                    <a:pt x="36" y="443"/>
                    <a:pt x="36" y="443"/>
                  </a:cubicBezTo>
                  <a:cubicBezTo>
                    <a:pt x="35" y="442"/>
                    <a:pt x="35" y="442"/>
                    <a:pt x="35" y="442"/>
                  </a:cubicBezTo>
                  <a:cubicBezTo>
                    <a:pt x="36" y="442"/>
                    <a:pt x="36" y="442"/>
                    <a:pt x="36" y="442"/>
                  </a:cubicBezTo>
                  <a:cubicBezTo>
                    <a:pt x="37" y="442"/>
                    <a:pt x="37" y="442"/>
                    <a:pt x="37" y="442"/>
                  </a:cubicBezTo>
                  <a:cubicBezTo>
                    <a:pt x="38" y="441"/>
                    <a:pt x="38" y="441"/>
                    <a:pt x="38" y="441"/>
                  </a:cubicBezTo>
                  <a:cubicBezTo>
                    <a:pt x="39" y="442"/>
                    <a:pt x="39" y="442"/>
                    <a:pt x="39" y="442"/>
                  </a:cubicBezTo>
                  <a:cubicBezTo>
                    <a:pt x="39" y="442"/>
                    <a:pt x="39" y="442"/>
                    <a:pt x="39" y="442"/>
                  </a:cubicBezTo>
                  <a:cubicBezTo>
                    <a:pt x="39" y="441"/>
                    <a:pt x="39" y="441"/>
                    <a:pt x="39" y="441"/>
                  </a:cubicBezTo>
                  <a:cubicBezTo>
                    <a:pt x="39" y="441"/>
                    <a:pt x="39" y="441"/>
                    <a:pt x="39" y="441"/>
                  </a:cubicBezTo>
                  <a:cubicBezTo>
                    <a:pt x="38" y="440"/>
                    <a:pt x="38" y="440"/>
                    <a:pt x="38" y="440"/>
                  </a:cubicBezTo>
                  <a:cubicBezTo>
                    <a:pt x="38" y="438"/>
                    <a:pt x="38" y="438"/>
                    <a:pt x="38" y="438"/>
                  </a:cubicBezTo>
                  <a:cubicBezTo>
                    <a:pt x="37" y="438"/>
                    <a:pt x="37" y="438"/>
                    <a:pt x="37" y="438"/>
                  </a:cubicBezTo>
                  <a:cubicBezTo>
                    <a:pt x="37" y="437"/>
                    <a:pt x="37" y="437"/>
                    <a:pt x="37" y="437"/>
                  </a:cubicBezTo>
                  <a:cubicBezTo>
                    <a:pt x="37" y="437"/>
                    <a:pt x="37" y="437"/>
                    <a:pt x="37" y="437"/>
                  </a:cubicBezTo>
                  <a:cubicBezTo>
                    <a:pt x="37" y="436"/>
                    <a:pt x="37" y="436"/>
                    <a:pt x="37" y="436"/>
                  </a:cubicBezTo>
                  <a:cubicBezTo>
                    <a:pt x="38" y="436"/>
                    <a:pt x="38" y="436"/>
                    <a:pt x="38" y="436"/>
                  </a:cubicBezTo>
                  <a:cubicBezTo>
                    <a:pt x="38" y="436"/>
                    <a:pt x="38" y="436"/>
                    <a:pt x="38" y="436"/>
                  </a:cubicBezTo>
                  <a:cubicBezTo>
                    <a:pt x="38" y="439"/>
                    <a:pt x="38" y="439"/>
                    <a:pt x="38" y="439"/>
                  </a:cubicBezTo>
                  <a:cubicBezTo>
                    <a:pt x="39" y="440"/>
                    <a:pt x="39" y="440"/>
                    <a:pt x="39" y="440"/>
                  </a:cubicBezTo>
                  <a:cubicBezTo>
                    <a:pt x="39" y="440"/>
                    <a:pt x="39" y="440"/>
                    <a:pt x="39" y="440"/>
                  </a:cubicBezTo>
                  <a:cubicBezTo>
                    <a:pt x="40" y="441"/>
                    <a:pt x="40" y="441"/>
                    <a:pt x="40" y="441"/>
                  </a:cubicBezTo>
                  <a:cubicBezTo>
                    <a:pt x="41" y="441"/>
                    <a:pt x="41" y="441"/>
                    <a:pt x="41" y="441"/>
                  </a:cubicBezTo>
                  <a:cubicBezTo>
                    <a:pt x="41" y="441"/>
                    <a:pt x="41" y="441"/>
                    <a:pt x="41" y="441"/>
                  </a:cubicBezTo>
                  <a:cubicBezTo>
                    <a:pt x="43" y="439"/>
                    <a:pt x="43" y="439"/>
                    <a:pt x="43" y="439"/>
                  </a:cubicBezTo>
                  <a:cubicBezTo>
                    <a:pt x="44" y="439"/>
                    <a:pt x="44" y="439"/>
                    <a:pt x="44" y="439"/>
                  </a:cubicBezTo>
                  <a:cubicBezTo>
                    <a:pt x="45" y="438"/>
                    <a:pt x="45" y="438"/>
                    <a:pt x="45" y="438"/>
                  </a:cubicBezTo>
                  <a:cubicBezTo>
                    <a:pt x="46" y="438"/>
                    <a:pt x="46" y="438"/>
                    <a:pt x="46" y="438"/>
                  </a:cubicBezTo>
                  <a:cubicBezTo>
                    <a:pt x="47" y="437"/>
                    <a:pt x="47" y="437"/>
                    <a:pt x="47" y="437"/>
                  </a:cubicBezTo>
                  <a:cubicBezTo>
                    <a:pt x="49" y="437"/>
                    <a:pt x="49" y="437"/>
                    <a:pt x="49" y="437"/>
                  </a:cubicBezTo>
                  <a:cubicBezTo>
                    <a:pt x="51" y="434"/>
                    <a:pt x="51" y="434"/>
                    <a:pt x="51" y="434"/>
                  </a:cubicBezTo>
                  <a:cubicBezTo>
                    <a:pt x="53" y="433"/>
                    <a:pt x="53" y="433"/>
                    <a:pt x="53" y="433"/>
                  </a:cubicBezTo>
                  <a:cubicBezTo>
                    <a:pt x="52" y="434"/>
                    <a:pt x="52" y="434"/>
                    <a:pt x="52" y="434"/>
                  </a:cubicBezTo>
                  <a:cubicBezTo>
                    <a:pt x="50" y="436"/>
                    <a:pt x="50" y="436"/>
                    <a:pt x="50" y="436"/>
                  </a:cubicBezTo>
                  <a:cubicBezTo>
                    <a:pt x="50" y="438"/>
                    <a:pt x="50" y="438"/>
                    <a:pt x="50" y="438"/>
                  </a:cubicBezTo>
                  <a:cubicBezTo>
                    <a:pt x="50" y="438"/>
                    <a:pt x="50" y="438"/>
                    <a:pt x="50" y="438"/>
                  </a:cubicBezTo>
                  <a:cubicBezTo>
                    <a:pt x="51" y="439"/>
                    <a:pt x="51" y="439"/>
                    <a:pt x="51" y="439"/>
                  </a:cubicBezTo>
                  <a:cubicBezTo>
                    <a:pt x="51" y="438"/>
                    <a:pt x="51" y="438"/>
                    <a:pt x="51" y="438"/>
                  </a:cubicBezTo>
                  <a:cubicBezTo>
                    <a:pt x="52" y="438"/>
                    <a:pt x="52" y="438"/>
                    <a:pt x="52" y="438"/>
                  </a:cubicBezTo>
                  <a:cubicBezTo>
                    <a:pt x="54" y="436"/>
                    <a:pt x="54" y="436"/>
                    <a:pt x="54" y="436"/>
                  </a:cubicBezTo>
                  <a:cubicBezTo>
                    <a:pt x="55" y="435"/>
                    <a:pt x="55" y="435"/>
                    <a:pt x="55" y="435"/>
                  </a:cubicBezTo>
                  <a:cubicBezTo>
                    <a:pt x="57" y="435"/>
                    <a:pt x="57" y="435"/>
                    <a:pt x="57" y="435"/>
                  </a:cubicBezTo>
                  <a:cubicBezTo>
                    <a:pt x="57" y="434"/>
                    <a:pt x="57" y="434"/>
                    <a:pt x="57" y="434"/>
                  </a:cubicBezTo>
                  <a:cubicBezTo>
                    <a:pt x="58" y="432"/>
                    <a:pt x="58" y="432"/>
                    <a:pt x="58" y="432"/>
                  </a:cubicBezTo>
                  <a:cubicBezTo>
                    <a:pt x="59" y="431"/>
                    <a:pt x="59" y="431"/>
                    <a:pt x="59" y="431"/>
                  </a:cubicBezTo>
                  <a:cubicBezTo>
                    <a:pt x="60" y="430"/>
                    <a:pt x="60" y="430"/>
                    <a:pt x="60" y="430"/>
                  </a:cubicBezTo>
                  <a:cubicBezTo>
                    <a:pt x="61" y="429"/>
                    <a:pt x="61" y="429"/>
                    <a:pt x="61" y="429"/>
                  </a:cubicBezTo>
                  <a:cubicBezTo>
                    <a:pt x="62" y="429"/>
                    <a:pt x="62" y="429"/>
                    <a:pt x="62" y="429"/>
                  </a:cubicBezTo>
                  <a:cubicBezTo>
                    <a:pt x="61" y="432"/>
                    <a:pt x="61" y="432"/>
                    <a:pt x="61" y="432"/>
                  </a:cubicBezTo>
                  <a:cubicBezTo>
                    <a:pt x="60" y="432"/>
                    <a:pt x="60" y="432"/>
                    <a:pt x="60" y="432"/>
                  </a:cubicBezTo>
                  <a:cubicBezTo>
                    <a:pt x="60" y="432"/>
                    <a:pt x="60" y="432"/>
                    <a:pt x="60" y="432"/>
                  </a:cubicBezTo>
                  <a:cubicBezTo>
                    <a:pt x="60" y="432"/>
                    <a:pt x="60" y="432"/>
                    <a:pt x="60" y="432"/>
                  </a:cubicBezTo>
                  <a:cubicBezTo>
                    <a:pt x="60" y="433"/>
                    <a:pt x="60" y="433"/>
                    <a:pt x="60" y="433"/>
                  </a:cubicBezTo>
                  <a:cubicBezTo>
                    <a:pt x="60" y="433"/>
                    <a:pt x="60" y="433"/>
                    <a:pt x="60" y="433"/>
                  </a:cubicBezTo>
                  <a:cubicBezTo>
                    <a:pt x="59" y="433"/>
                    <a:pt x="59" y="433"/>
                    <a:pt x="59" y="433"/>
                  </a:cubicBezTo>
                  <a:cubicBezTo>
                    <a:pt x="59" y="434"/>
                    <a:pt x="59" y="434"/>
                    <a:pt x="59" y="434"/>
                  </a:cubicBezTo>
                  <a:cubicBezTo>
                    <a:pt x="59" y="434"/>
                    <a:pt x="59" y="434"/>
                    <a:pt x="59" y="434"/>
                  </a:cubicBezTo>
                  <a:cubicBezTo>
                    <a:pt x="59" y="434"/>
                    <a:pt x="59" y="434"/>
                    <a:pt x="59" y="434"/>
                  </a:cubicBezTo>
                  <a:cubicBezTo>
                    <a:pt x="65" y="434"/>
                    <a:pt x="65" y="434"/>
                    <a:pt x="65" y="434"/>
                  </a:cubicBezTo>
                  <a:cubicBezTo>
                    <a:pt x="64" y="436"/>
                    <a:pt x="64" y="436"/>
                    <a:pt x="64" y="436"/>
                  </a:cubicBezTo>
                  <a:cubicBezTo>
                    <a:pt x="63" y="436"/>
                    <a:pt x="63" y="436"/>
                    <a:pt x="63" y="436"/>
                  </a:cubicBezTo>
                  <a:cubicBezTo>
                    <a:pt x="60" y="435"/>
                    <a:pt x="60" y="435"/>
                    <a:pt x="60" y="435"/>
                  </a:cubicBezTo>
                  <a:cubicBezTo>
                    <a:pt x="56" y="436"/>
                    <a:pt x="56" y="436"/>
                    <a:pt x="56" y="436"/>
                  </a:cubicBezTo>
                  <a:cubicBezTo>
                    <a:pt x="55" y="436"/>
                    <a:pt x="55" y="436"/>
                    <a:pt x="55" y="436"/>
                  </a:cubicBezTo>
                  <a:cubicBezTo>
                    <a:pt x="55" y="437"/>
                    <a:pt x="55" y="437"/>
                    <a:pt x="55" y="437"/>
                  </a:cubicBezTo>
                  <a:cubicBezTo>
                    <a:pt x="54" y="438"/>
                    <a:pt x="54" y="438"/>
                    <a:pt x="54" y="438"/>
                  </a:cubicBezTo>
                  <a:cubicBezTo>
                    <a:pt x="53" y="440"/>
                    <a:pt x="53" y="440"/>
                    <a:pt x="53" y="440"/>
                  </a:cubicBezTo>
                  <a:cubicBezTo>
                    <a:pt x="53" y="440"/>
                    <a:pt x="53" y="440"/>
                    <a:pt x="53" y="440"/>
                  </a:cubicBezTo>
                  <a:cubicBezTo>
                    <a:pt x="52" y="441"/>
                    <a:pt x="52" y="441"/>
                    <a:pt x="52" y="441"/>
                  </a:cubicBezTo>
                  <a:cubicBezTo>
                    <a:pt x="51" y="442"/>
                    <a:pt x="51" y="442"/>
                    <a:pt x="51" y="442"/>
                  </a:cubicBezTo>
                  <a:cubicBezTo>
                    <a:pt x="51" y="443"/>
                    <a:pt x="51" y="443"/>
                    <a:pt x="51" y="443"/>
                  </a:cubicBezTo>
                  <a:cubicBezTo>
                    <a:pt x="50" y="447"/>
                    <a:pt x="50" y="447"/>
                    <a:pt x="50" y="447"/>
                  </a:cubicBezTo>
                  <a:cubicBezTo>
                    <a:pt x="49" y="448"/>
                    <a:pt x="49" y="448"/>
                    <a:pt x="49" y="448"/>
                  </a:cubicBezTo>
                  <a:cubicBezTo>
                    <a:pt x="49" y="449"/>
                    <a:pt x="49" y="449"/>
                    <a:pt x="49" y="449"/>
                  </a:cubicBezTo>
                  <a:cubicBezTo>
                    <a:pt x="49" y="450"/>
                    <a:pt x="49" y="450"/>
                    <a:pt x="49" y="450"/>
                  </a:cubicBezTo>
                  <a:cubicBezTo>
                    <a:pt x="49" y="451"/>
                    <a:pt x="49" y="451"/>
                    <a:pt x="49" y="451"/>
                  </a:cubicBezTo>
                  <a:cubicBezTo>
                    <a:pt x="48" y="453"/>
                    <a:pt x="48" y="453"/>
                    <a:pt x="48" y="453"/>
                  </a:cubicBezTo>
                  <a:cubicBezTo>
                    <a:pt x="48" y="455"/>
                    <a:pt x="48" y="455"/>
                    <a:pt x="48" y="455"/>
                  </a:cubicBezTo>
                  <a:cubicBezTo>
                    <a:pt x="48" y="456"/>
                    <a:pt x="48" y="456"/>
                    <a:pt x="48" y="456"/>
                  </a:cubicBezTo>
                  <a:cubicBezTo>
                    <a:pt x="48" y="460"/>
                    <a:pt x="48" y="460"/>
                    <a:pt x="48" y="460"/>
                  </a:cubicBezTo>
                  <a:cubicBezTo>
                    <a:pt x="47" y="460"/>
                    <a:pt x="47" y="460"/>
                    <a:pt x="47" y="460"/>
                  </a:cubicBezTo>
                  <a:cubicBezTo>
                    <a:pt x="47" y="458"/>
                    <a:pt x="47" y="458"/>
                    <a:pt x="47" y="458"/>
                  </a:cubicBezTo>
                  <a:cubicBezTo>
                    <a:pt x="47" y="456"/>
                    <a:pt x="47" y="456"/>
                    <a:pt x="47" y="456"/>
                  </a:cubicBezTo>
                  <a:cubicBezTo>
                    <a:pt x="47" y="455"/>
                    <a:pt x="47" y="455"/>
                    <a:pt x="47" y="455"/>
                  </a:cubicBezTo>
                  <a:cubicBezTo>
                    <a:pt x="48" y="453"/>
                    <a:pt x="48" y="453"/>
                    <a:pt x="48" y="453"/>
                  </a:cubicBezTo>
                  <a:cubicBezTo>
                    <a:pt x="48" y="449"/>
                    <a:pt x="48" y="449"/>
                    <a:pt x="48" y="449"/>
                  </a:cubicBezTo>
                  <a:cubicBezTo>
                    <a:pt x="48" y="448"/>
                    <a:pt x="48" y="448"/>
                    <a:pt x="48" y="448"/>
                  </a:cubicBezTo>
                  <a:cubicBezTo>
                    <a:pt x="49" y="447"/>
                    <a:pt x="49" y="447"/>
                    <a:pt x="49" y="447"/>
                  </a:cubicBezTo>
                  <a:cubicBezTo>
                    <a:pt x="49" y="446"/>
                    <a:pt x="49" y="446"/>
                    <a:pt x="49" y="446"/>
                  </a:cubicBezTo>
                  <a:cubicBezTo>
                    <a:pt x="49" y="445"/>
                    <a:pt x="49" y="445"/>
                    <a:pt x="49" y="445"/>
                  </a:cubicBezTo>
                  <a:cubicBezTo>
                    <a:pt x="50" y="443"/>
                    <a:pt x="50" y="443"/>
                    <a:pt x="50" y="443"/>
                  </a:cubicBezTo>
                  <a:cubicBezTo>
                    <a:pt x="51" y="439"/>
                    <a:pt x="51" y="439"/>
                    <a:pt x="51" y="439"/>
                  </a:cubicBezTo>
                  <a:cubicBezTo>
                    <a:pt x="49" y="439"/>
                    <a:pt x="49" y="439"/>
                    <a:pt x="49" y="439"/>
                  </a:cubicBezTo>
                  <a:cubicBezTo>
                    <a:pt x="48" y="438"/>
                    <a:pt x="48" y="438"/>
                    <a:pt x="48" y="438"/>
                  </a:cubicBezTo>
                  <a:cubicBezTo>
                    <a:pt x="47" y="439"/>
                    <a:pt x="47" y="439"/>
                    <a:pt x="47" y="439"/>
                  </a:cubicBezTo>
                  <a:cubicBezTo>
                    <a:pt x="46" y="439"/>
                    <a:pt x="46" y="439"/>
                    <a:pt x="46" y="439"/>
                  </a:cubicBezTo>
                  <a:cubicBezTo>
                    <a:pt x="45" y="441"/>
                    <a:pt x="45" y="441"/>
                    <a:pt x="45" y="441"/>
                  </a:cubicBezTo>
                  <a:cubicBezTo>
                    <a:pt x="44" y="442"/>
                    <a:pt x="44" y="442"/>
                    <a:pt x="44" y="442"/>
                  </a:cubicBezTo>
                  <a:cubicBezTo>
                    <a:pt x="43" y="442"/>
                    <a:pt x="43" y="442"/>
                    <a:pt x="43" y="442"/>
                  </a:cubicBezTo>
                  <a:cubicBezTo>
                    <a:pt x="42" y="442"/>
                    <a:pt x="42" y="442"/>
                    <a:pt x="42" y="442"/>
                  </a:cubicBezTo>
                  <a:cubicBezTo>
                    <a:pt x="42" y="443"/>
                    <a:pt x="42" y="443"/>
                    <a:pt x="42" y="443"/>
                  </a:cubicBezTo>
                  <a:cubicBezTo>
                    <a:pt x="42" y="443"/>
                    <a:pt x="42" y="443"/>
                    <a:pt x="42" y="443"/>
                  </a:cubicBezTo>
                  <a:cubicBezTo>
                    <a:pt x="42" y="443"/>
                    <a:pt x="42" y="443"/>
                    <a:pt x="42" y="443"/>
                  </a:cubicBezTo>
                  <a:cubicBezTo>
                    <a:pt x="42" y="443"/>
                    <a:pt x="42" y="443"/>
                    <a:pt x="42" y="443"/>
                  </a:cubicBezTo>
                  <a:cubicBezTo>
                    <a:pt x="42" y="444"/>
                    <a:pt x="42" y="444"/>
                    <a:pt x="42" y="444"/>
                  </a:cubicBezTo>
                  <a:cubicBezTo>
                    <a:pt x="42" y="444"/>
                    <a:pt x="42" y="444"/>
                    <a:pt x="42" y="444"/>
                  </a:cubicBezTo>
                  <a:cubicBezTo>
                    <a:pt x="41" y="444"/>
                    <a:pt x="41" y="444"/>
                    <a:pt x="41" y="444"/>
                  </a:cubicBezTo>
                  <a:cubicBezTo>
                    <a:pt x="41" y="444"/>
                    <a:pt x="41" y="444"/>
                    <a:pt x="41" y="444"/>
                  </a:cubicBezTo>
                  <a:cubicBezTo>
                    <a:pt x="41" y="445"/>
                    <a:pt x="41" y="445"/>
                    <a:pt x="41" y="445"/>
                  </a:cubicBezTo>
                  <a:cubicBezTo>
                    <a:pt x="40" y="446"/>
                    <a:pt x="40" y="446"/>
                    <a:pt x="40" y="446"/>
                  </a:cubicBezTo>
                  <a:cubicBezTo>
                    <a:pt x="40" y="446"/>
                    <a:pt x="40" y="446"/>
                    <a:pt x="40" y="446"/>
                  </a:cubicBezTo>
                  <a:cubicBezTo>
                    <a:pt x="38" y="446"/>
                    <a:pt x="38" y="446"/>
                    <a:pt x="38" y="446"/>
                  </a:cubicBezTo>
                  <a:cubicBezTo>
                    <a:pt x="38" y="447"/>
                    <a:pt x="38" y="447"/>
                    <a:pt x="38" y="447"/>
                  </a:cubicBezTo>
                  <a:cubicBezTo>
                    <a:pt x="38" y="448"/>
                    <a:pt x="38" y="448"/>
                    <a:pt x="38" y="448"/>
                  </a:cubicBezTo>
                  <a:cubicBezTo>
                    <a:pt x="37" y="449"/>
                    <a:pt x="37" y="449"/>
                    <a:pt x="37" y="449"/>
                  </a:cubicBezTo>
                  <a:cubicBezTo>
                    <a:pt x="37" y="450"/>
                    <a:pt x="37" y="450"/>
                    <a:pt x="37" y="450"/>
                  </a:cubicBezTo>
                  <a:cubicBezTo>
                    <a:pt x="37" y="451"/>
                    <a:pt x="37" y="451"/>
                    <a:pt x="37" y="451"/>
                  </a:cubicBezTo>
                  <a:cubicBezTo>
                    <a:pt x="36" y="452"/>
                    <a:pt x="36" y="452"/>
                    <a:pt x="36" y="452"/>
                  </a:cubicBezTo>
                  <a:cubicBezTo>
                    <a:pt x="34" y="452"/>
                    <a:pt x="34" y="452"/>
                    <a:pt x="34" y="452"/>
                  </a:cubicBezTo>
                  <a:cubicBezTo>
                    <a:pt x="34" y="454"/>
                    <a:pt x="34" y="454"/>
                    <a:pt x="34" y="454"/>
                  </a:cubicBezTo>
                  <a:cubicBezTo>
                    <a:pt x="35" y="456"/>
                    <a:pt x="35" y="456"/>
                    <a:pt x="35" y="456"/>
                  </a:cubicBezTo>
                  <a:cubicBezTo>
                    <a:pt x="35" y="458"/>
                    <a:pt x="35" y="458"/>
                    <a:pt x="35" y="458"/>
                  </a:cubicBezTo>
                  <a:cubicBezTo>
                    <a:pt x="36" y="458"/>
                    <a:pt x="36" y="458"/>
                    <a:pt x="36" y="458"/>
                  </a:cubicBezTo>
                  <a:cubicBezTo>
                    <a:pt x="37" y="458"/>
                    <a:pt x="37" y="458"/>
                    <a:pt x="37" y="458"/>
                  </a:cubicBezTo>
                  <a:cubicBezTo>
                    <a:pt x="38" y="457"/>
                    <a:pt x="38" y="457"/>
                    <a:pt x="38" y="457"/>
                  </a:cubicBezTo>
                  <a:cubicBezTo>
                    <a:pt x="38" y="456"/>
                    <a:pt x="38" y="456"/>
                    <a:pt x="38" y="456"/>
                  </a:cubicBezTo>
                  <a:cubicBezTo>
                    <a:pt x="38" y="456"/>
                    <a:pt x="38" y="456"/>
                    <a:pt x="38" y="456"/>
                  </a:cubicBezTo>
                  <a:cubicBezTo>
                    <a:pt x="39" y="455"/>
                    <a:pt x="39" y="455"/>
                    <a:pt x="39" y="455"/>
                  </a:cubicBezTo>
                  <a:cubicBezTo>
                    <a:pt x="39" y="455"/>
                    <a:pt x="39" y="455"/>
                    <a:pt x="39" y="455"/>
                  </a:cubicBezTo>
                  <a:cubicBezTo>
                    <a:pt x="40" y="455"/>
                    <a:pt x="40" y="455"/>
                    <a:pt x="40" y="455"/>
                  </a:cubicBezTo>
                  <a:cubicBezTo>
                    <a:pt x="40" y="455"/>
                    <a:pt x="40" y="455"/>
                    <a:pt x="40" y="455"/>
                  </a:cubicBezTo>
                  <a:cubicBezTo>
                    <a:pt x="40" y="456"/>
                    <a:pt x="40" y="456"/>
                    <a:pt x="40" y="456"/>
                  </a:cubicBezTo>
                  <a:cubicBezTo>
                    <a:pt x="40" y="457"/>
                    <a:pt x="40" y="457"/>
                    <a:pt x="40" y="457"/>
                  </a:cubicBezTo>
                  <a:cubicBezTo>
                    <a:pt x="41" y="457"/>
                    <a:pt x="41" y="457"/>
                    <a:pt x="41" y="457"/>
                  </a:cubicBezTo>
                  <a:cubicBezTo>
                    <a:pt x="41" y="457"/>
                    <a:pt x="41" y="457"/>
                    <a:pt x="41" y="457"/>
                  </a:cubicBezTo>
                  <a:cubicBezTo>
                    <a:pt x="35" y="459"/>
                    <a:pt x="35" y="459"/>
                    <a:pt x="35" y="459"/>
                  </a:cubicBezTo>
                  <a:cubicBezTo>
                    <a:pt x="32" y="461"/>
                    <a:pt x="32" y="461"/>
                    <a:pt x="32" y="461"/>
                  </a:cubicBezTo>
                  <a:cubicBezTo>
                    <a:pt x="30" y="464"/>
                    <a:pt x="30" y="464"/>
                    <a:pt x="30" y="464"/>
                  </a:cubicBezTo>
                  <a:cubicBezTo>
                    <a:pt x="31" y="465"/>
                    <a:pt x="31" y="465"/>
                    <a:pt x="31" y="465"/>
                  </a:cubicBezTo>
                  <a:cubicBezTo>
                    <a:pt x="31" y="465"/>
                    <a:pt x="31" y="465"/>
                    <a:pt x="31" y="465"/>
                  </a:cubicBezTo>
                  <a:cubicBezTo>
                    <a:pt x="31" y="466"/>
                    <a:pt x="31" y="466"/>
                    <a:pt x="31" y="466"/>
                  </a:cubicBezTo>
                  <a:cubicBezTo>
                    <a:pt x="31" y="466"/>
                    <a:pt x="31" y="466"/>
                    <a:pt x="31" y="466"/>
                  </a:cubicBezTo>
                  <a:cubicBezTo>
                    <a:pt x="31" y="467"/>
                    <a:pt x="31" y="467"/>
                    <a:pt x="31" y="467"/>
                  </a:cubicBezTo>
                  <a:cubicBezTo>
                    <a:pt x="31" y="467"/>
                    <a:pt x="31" y="467"/>
                    <a:pt x="31" y="467"/>
                  </a:cubicBezTo>
                  <a:cubicBezTo>
                    <a:pt x="28" y="467"/>
                    <a:pt x="28" y="467"/>
                    <a:pt x="28" y="467"/>
                  </a:cubicBezTo>
                  <a:cubicBezTo>
                    <a:pt x="26" y="468"/>
                    <a:pt x="26" y="468"/>
                    <a:pt x="26" y="468"/>
                  </a:cubicBezTo>
                  <a:cubicBezTo>
                    <a:pt x="25" y="468"/>
                    <a:pt x="25" y="468"/>
                    <a:pt x="25" y="468"/>
                  </a:cubicBezTo>
                  <a:cubicBezTo>
                    <a:pt x="24" y="470"/>
                    <a:pt x="24" y="470"/>
                    <a:pt x="24" y="470"/>
                  </a:cubicBezTo>
                  <a:cubicBezTo>
                    <a:pt x="24" y="471"/>
                    <a:pt x="24" y="471"/>
                    <a:pt x="24" y="471"/>
                  </a:cubicBezTo>
                  <a:cubicBezTo>
                    <a:pt x="23" y="473"/>
                    <a:pt x="23" y="473"/>
                    <a:pt x="23" y="473"/>
                  </a:cubicBezTo>
                  <a:cubicBezTo>
                    <a:pt x="22" y="473"/>
                    <a:pt x="22" y="473"/>
                    <a:pt x="22" y="473"/>
                  </a:cubicBezTo>
                  <a:cubicBezTo>
                    <a:pt x="21" y="473"/>
                    <a:pt x="21" y="473"/>
                    <a:pt x="21" y="473"/>
                  </a:cubicBezTo>
                  <a:cubicBezTo>
                    <a:pt x="22" y="474"/>
                    <a:pt x="22" y="474"/>
                    <a:pt x="22" y="474"/>
                  </a:cubicBezTo>
                  <a:cubicBezTo>
                    <a:pt x="22" y="474"/>
                    <a:pt x="22" y="474"/>
                    <a:pt x="22" y="474"/>
                  </a:cubicBezTo>
                  <a:cubicBezTo>
                    <a:pt x="23" y="473"/>
                    <a:pt x="23" y="473"/>
                    <a:pt x="23" y="473"/>
                  </a:cubicBezTo>
                  <a:cubicBezTo>
                    <a:pt x="24" y="473"/>
                    <a:pt x="24" y="473"/>
                    <a:pt x="24" y="473"/>
                  </a:cubicBezTo>
                  <a:cubicBezTo>
                    <a:pt x="23" y="474"/>
                    <a:pt x="23" y="474"/>
                    <a:pt x="23" y="474"/>
                  </a:cubicBezTo>
                  <a:cubicBezTo>
                    <a:pt x="23" y="474"/>
                    <a:pt x="23" y="474"/>
                    <a:pt x="23" y="474"/>
                  </a:cubicBezTo>
                  <a:cubicBezTo>
                    <a:pt x="24" y="475"/>
                    <a:pt x="24" y="475"/>
                    <a:pt x="24" y="475"/>
                  </a:cubicBezTo>
                  <a:cubicBezTo>
                    <a:pt x="25" y="475"/>
                    <a:pt x="25" y="475"/>
                    <a:pt x="25" y="475"/>
                  </a:cubicBezTo>
                  <a:cubicBezTo>
                    <a:pt x="26" y="477"/>
                    <a:pt x="26" y="477"/>
                    <a:pt x="26" y="477"/>
                  </a:cubicBezTo>
                  <a:cubicBezTo>
                    <a:pt x="26" y="478"/>
                    <a:pt x="26" y="478"/>
                    <a:pt x="26" y="478"/>
                  </a:cubicBezTo>
                  <a:cubicBezTo>
                    <a:pt x="27" y="478"/>
                    <a:pt x="27" y="478"/>
                    <a:pt x="27" y="478"/>
                  </a:cubicBezTo>
                  <a:cubicBezTo>
                    <a:pt x="28" y="478"/>
                    <a:pt x="28" y="478"/>
                    <a:pt x="28" y="478"/>
                  </a:cubicBezTo>
                  <a:cubicBezTo>
                    <a:pt x="29" y="477"/>
                    <a:pt x="29" y="477"/>
                    <a:pt x="29" y="477"/>
                  </a:cubicBezTo>
                  <a:cubicBezTo>
                    <a:pt x="29" y="477"/>
                    <a:pt x="29" y="477"/>
                    <a:pt x="29" y="477"/>
                  </a:cubicBezTo>
                  <a:cubicBezTo>
                    <a:pt x="30" y="476"/>
                    <a:pt x="30" y="476"/>
                    <a:pt x="30" y="476"/>
                  </a:cubicBezTo>
                  <a:cubicBezTo>
                    <a:pt x="30" y="475"/>
                    <a:pt x="30" y="475"/>
                    <a:pt x="30" y="475"/>
                  </a:cubicBezTo>
                  <a:cubicBezTo>
                    <a:pt x="30" y="474"/>
                    <a:pt x="30" y="474"/>
                    <a:pt x="30" y="474"/>
                  </a:cubicBezTo>
                  <a:cubicBezTo>
                    <a:pt x="30" y="473"/>
                    <a:pt x="30" y="473"/>
                    <a:pt x="30" y="473"/>
                  </a:cubicBezTo>
                  <a:cubicBezTo>
                    <a:pt x="31" y="473"/>
                    <a:pt x="31" y="473"/>
                    <a:pt x="31" y="473"/>
                  </a:cubicBezTo>
                  <a:cubicBezTo>
                    <a:pt x="31" y="473"/>
                    <a:pt x="31" y="473"/>
                    <a:pt x="31" y="473"/>
                  </a:cubicBezTo>
                  <a:cubicBezTo>
                    <a:pt x="31" y="474"/>
                    <a:pt x="31" y="474"/>
                    <a:pt x="31" y="474"/>
                  </a:cubicBezTo>
                  <a:cubicBezTo>
                    <a:pt x="31" y="475"/>
                    <a:pt x="31" y="475"/>
                    <a:pt x="31" y="475"/>
                  </a:cubicBezTo>
                  <a:cubicBezTo>
                    <a:pt x="31" y="476"/>
                    <a:pt x="31" y="476"/>
                    <a:pt x="31" y="476"/>
                  </a:cubicBezTo>
                  <a:cubicBezTo>
                    <a:pt x="30" y="476"/>
                    <a:pt x="30" y="476"/>
                    <a:pt x="30" y="476"/>
                  </a:cubicBezTo>
                  <a:cubicBezTo>
                    <a:pt x="30" y="476"/>
                    <a:pt x="30" y="476"/>
                    <a:pt x="30" y="476"/>
                  </a:cubicBezTo>
                  <a:cubicBezTo>
                    <a:pt x="30" y="477"/>
                    <a:pt x="30" y="477"/>
                    <a:pt x="30" y="477"/>
                  </a:cubicBezTo>
                  <a:cubicBezTo>
                    <a:pt x="30" y="478"/>
                    <a:pt x="30" y="478"/>
                    <a:pt x="30" y="478"/>
                  </a:cubicBezTo>
                  <a:cubicBezTo>
                    <a:pt x="31" y="479"/>
                    <a:pt x="31" y="479"/>
                    <a:pt x="31" y="479"/>
                  </a:cubicBezTo>
                  <a:cubicBezTo>
                    <a:pt x="32" y="479"/>
                    <a:pt x="32" y="479"/>
                    <a:pt x="32" y="479"/>
                  </a:cubicBezTo>
                  <a:cubicBezTo>
                    <a:pt x="32" y="479"/>
                    <a:pt x="32" y="479"/>
                    <a:pt x="32" y="479"/>
                  </a:cubicBezTo>
                  <a:cubicBezTo>
                    <a:pt x="33" y="478"/>
                    <a:pt x="33" y="478"/>
                    <a:pt x="33" y="478"/>
                  </a:cubicBezTo>
                  <a:cubicBezTo>
                    <a:pt x="35" y="476"/>
                    <a:pt x="35" y="476"/>
                    <a:pt x="35" y="476"/>
                  </a:cubicBezTo>
                  <a:cubicBezTo>
                    <a:pt x="39" y="474"/>
                    <a:pt x="39" y="474"/>
                    <a:pt x="39" y="474"/>
                  </a:cubicBezTo>
                  <a:cubicBezTo>
                    <a:pt x="41" y="473"/>
                    <a:pt x="41" y="473"/>
                    <a:pt x="41" y="473"/>
                  </a:cubicBezTo>
                  <a:cubicBezTo>
                    <a:pt x="41" y="474"/>
                    <a:pt x="41" y="474"/>
                    <a:pt x="41" y="474"/>
                  </a:cubicBezTo>
                  <a:cubicBezTo>
                    <a:pt x="38" y="475"/>
                    <a:pt x="38" y="475"/>
                    <a:pt x="38" y="475"/>
                  </a:cubicBezTo>
                  <a:cubicBezTo>
                    <a:pt x="38" y="475"/>
                    <a:pt x="38" y="475"/>
                    <a:pt x="38" y="475"/>
                  </a:cubicBezTo>
                  <a:cubicBezTo>
                    <a:pt x="38" y="476"/>
                    <a:pt x="38" y="476"/>
                    <a:pt x="38" y="476"/>
                  </a:cubicBezTo>
                  <a:cubicBezTo>
                    <a:pt x="38" y="476"/>
                    <a:pt x="38" y="476"/>
                    <a:pt x="38" y="476"/>
                  </a:cubicBezTo>
                  <a:cubicBezTo>
                    <a:pt x="37" y="476"/>
                    <a:pt x="37" y="476"/>
                    <a:pt x="37" y="476"/>
                  </a:cubicBezTo>
                  <a:cubicBezTo>
                    <a:pt x="37" y="476"/>
                    <a:pt x="37" y="476"/>
                    <a:pt x="37" y="476"/>
                  </a:cubicBezTo>
                  <a:cubicBezTo>
                    <a:pt x="37" y="476"/>
                    <a:pt x="37" y="476"/>
                    <a:pt x="37" y="476"/>
                  </a:cubicBezTo>
                  <a:cubicBezTo>
                    <a:pt x="33" y="479"/>
                    <a:pt x="33" y="479"/>
                    <a:pt x="33" y="479"/>
                  </a:cubicBezTo>
                  <a:cubicBezTo>
                    <a:pt x="32" y="480"/>
                    <a:pt x="32" y="480"/>
                    <a:pt x="32" y="480"/>
                  </a:cubicBezTo>
                  <a:cubicBezTo>
                    <a:pt x="30" y="479"/>
                    <a:pt x="30" y="479"/>
                    <a:pt x="30" y="479"/>
                  </a:cubicBezTo>
                  <a:cubicBezTo>
                    <a:pt x="30" y="479"/>
                    <a:pt x="30" y="479"/>
                    <a:pt x="30" y="479"/>
                  </a:cubicBezTo>
                  <a:cubicBezTo>
                    <a:pt x="29" y="479"/>
                    <a:pt x="29" y="479"/>
                    <a:pt x="29" y="479"/>
                  </a:cubicBezTo>
                  <a:cubicBezTo>
                    <a:pt x="29" y="479"/>
                    <a:pt x="29" y="479"/>
                    <a:pt x="29" y="479"/>
                  </a:cubicBezTo>
                  <a:cubicBezTo>
                    <a:pt x="29" y="478"/>
                    <a:pt x="29" y="478"/>
                    <a:pt x="29" y="478"/>
                  </a:cubicBezTo>
                  <a:cubicBezTo>
                    <a:pt x="29" y="479"/>
                    <a:pt x="29" y="479"/>
                    <a:pt x="29" y="479"/>
                  </a:cubicBezTo>
                  <a:cubicBezTo>
                    <a:pt x="29" y="479"/>
                    <a:pt x="29" y="479"/>
                    <a:pt x="29" y="479"/>
                  </a:cubicBezTo>
                  <a:cubicBezTo>
                    <a:pt x="29" y="479"/>
                    <a:pt x="29" y="479"/>
                    <a:pt x="29" y="479"/>
                  </a:cubicBezTo>
                  <a:cubicBezTo>
                    <a:pt x="29" y="480"/>
                    <a:pt x="29" y="480"/>
                    <a:pt x="29" y="480"/>
                  </a:cubicBezTo>
                  <a:cubicBezTo>
                    <a:pt x="28" y="480"/>
                    <a:pt x="28" y="480"/>
                    <a:pt x="28" y="480"/>
                  </a:cubicBezTo>
                  <a:cubicBezTo>
                    <a:pt x="26" y="480"/>
                    <a:pt x="26" y="480"/>
                    <a:pt x="26" y="480"/>
                  </a:cubicBezTo>
                  <a:cubicBezTo>
                    <a:pt x="26" y="481"/>
                    <a:pt x="26" y="481"/>
                    <a:pt x="26" y="481"/>
                  </a:cubicBezTo>
                  <a:cubicBezTo>
                    <a:pt x="26" y="481"/>
                    <a:pt x="26" y="481"/>
                    <a:pt x="26" y="481"/>
                  </a:cubicBezTo>
                  <a:cubicBezTo>
                    <a:pt x="26" y="482"/>
                    <a:pt x="26" y="482"/>
                    <a:pt x="26" y="482"/>
                  </a:cubicBezTo>
                  <a:cubicBezTo>
                    <a:pt x="25" y="483"/>
                    <a:pt x="25" y="483"/>
                    <a:pt x="25" y="483"/>
                  </a:cubicBezTo>
                  <a:cubicBezTo>
                    <a:pt x="24" y="484"/>
                    <a:pt x="24" y="484"/>
                    <a:pt x="24" y="484"/>
                  </a:cubicBezTo>
                  <a:cubicBezTo>
                    <a:pt x="25" y="484"/>
                    <a:pt x="25" y="484"/>
                    <a:pt x="25" y="484"/>
                  </a:cubicBezTo>
                  <a:cubicBezTo>
                    <a:pt x="26" y="485"/>
                    <a:pt x="26" y="485"/>
                    <a:pt x="26" y="485"/>
                  </a:cubicBezTo>
                  <a:cubicBezTo>
                    <a:pt x="28" y="483"/>
                    <a:pt x="28" y="483"/>
                    <a:pt x="28" y="483"/>
                  </a:cubicBezTo>
                  <a:cubicBezTo>
                    <a:pt x="28" y="485"/>
                    <a:pt x="28" y="485"/>
                    <a:pt x="28" y="485"/>
                  </a:cubicBezTo>
                  <a:cubicBezTo>
                    <a:pt x="27" y="485"/>
                    <a:pt x="27" y="485"/>
                    <a:pt x="27" y="485"/>
                  </a:cubicBezTo>
                  <a:cubicBezTo>
                    <a:pt x="26" y="485"/>
                    <a:pt x="26" y="485"/>
                    <a:pt x="26" y="485"/>
                  </a:cubicBezTo>
                  <a:cubicBezTo>
                    <a:pt x="25" y="485"/>
                    <a:pt x="25" y="485"/>
                    <a:pt x="25" y="485"/>
                  </a:cubicBezTo>
                  <a:cubicBezTo>
                    <a:pt x="25" y="486"/>
                    <a:pt x="25" y="486"/>
                    <a:pt x="25" y="486"/>
                  </a:cubicBezTo>
                  <a:cubicBezTo>
                    <a:pt x="25" y="487"/>
                    <a:pt x="25" y="487"/>
                    <a:pt x="25" y="487"/>
                  </a:cubicBezTo>
                  <a:cubicBezTo>
                    <a:pt x="25" y="487"/>
                    <a:pt x="25" y="487"/>
                    <a:pt x="25" y="487"/>
                  </a:cubicBezTo>
                  <a:cubicBezTo>
                    <a:pt x="25" y="487"/>
                    <a:pt x="25" y="487"/>
                    <a:pt x="25" y="487"/>
                  </a:cubicBezTo>
                  <a:cubicBezTo>
                    <a:pt x="24" y="488"/>
                    <a:pt x="24" y="488"/>
                    <a:pt x="24" y="488"/>
                  </a:cubicBezTo>
                  <a:cubicBezTo>
                    <a:pt x="23" y="488"/>
                    <a:pt x="23" y="488"/>
                    <a:pt x="23" y="488"/>
                  </a:cubicBezTo>
                  <a:cubicBezTo>
                    <a:pt x="24" y="486"/>
                    <a:pt x="24" y="486"/>
                    <a:pt x="24" y="486"/>
                  </a:cubicBezTo>
                  <a:cubicBezTo>
                    <a:pt x="24" y="485"/>
                    <a:pt x="24" y="485"/>
                    <a:pt x="24" y="485"/>
                  </a:cubicBezTo>
                  <a:cubicBezTo>
                    <a:pt x="24" y="484"/>
                    <a:pt x="24" y="484"/>
                    <a:pt x="24" y="484"/>
                  </a:cubicBezTo>
                  <a:cubicBezTo>
                    <a:pt x="23" y="484"/>
                    <a:pt x="23" y="484"/>
                    <a:pt x="23" y="484"/>
                  </a:cubicBezTo>
                  <a:cubicBezTo>
                    <a:pt x="21" y="484"/>
                    <a:pt x="21" y="484"/>
                    <a:pt x="21" y="484"/>
                  </a:cubicBezTo>
                  <a:cubicBezTo>
                    <a:pt x="20" y="484"/>
                    <a:pt x="20" y="484"/>
                    <a:pt x="20" y="484"/>
                  </a:cubicBezTo>
                  <a:cubicBezTo>
                    <a:pt x="19" y="483"/>
                    <a:pt x="19" y="483"/>
                    <a:pt x="19" y="483"/>
                  </a:cubicBezTo>
                  <a:cubicBezTo>
                    <a:pt x="19" y="483"/>
                    <a:pt x="19" y="483"/>
                    <a:pt x="19" y="483"/>
                  </a:cubicBezTo>
                  <a:cubicBezTo>
                    <a:pt x="19" y="484"/>
                    <a:pt x="19" y="484"/>
                    <a:pt x="19" y="484"/>
                  </a:cubicBezTo>
                  <a:cubicBezTo>
                    <a:pt x="18" y="486"/>
                    <a:pt x="18" y="486"/>
                    <a:pt x="18" y="486"/>
                  </a:cubicBezTo>
                  <a:cubicBezTo>
                    <a:pt x="18" y="487"/>
                    <a:pt x="18" y="487"/>
                    <a:pt x="18" y="487"/>
                  </a:cubicBezTo>
                  <a:cubicBezTo>
                    <a:pt x="18" y="488"/>
                    <a:pt x="18" y="488"/>
                    <a:pt x="18" y="488"/>
                  </a:cubicBezTo>
                  <a:cubicBezTo>
                    <a:pt x="18" y="488"/>
                    <a:pt x="18" y="488"/>
                    <a:pt x="18" y="488"/>
                  </a:cubicBezTo>
                  <a:cubicBezTo>
                    <a:pt x="18" y="489"/>
                    <a:pt x="18" y="489"/>
                    <a:pt x="18" y="489"/>
                  </a:cubicBezTo>
                  <a:cubicBezTo>
                    <a:pt x="18" y="491"/>
                    <a:pt x="18" y="491"/>
                    <a:pt x="18" y="491"/>
                  </a:cubicBezTo>
                  <a:cubicBezTo>
                    <a:pt x="18" y="491"/>
                    <a:pt x="18" y="491"/>
                    <a:pt x="18" y="491"/>
                  </a:cubicBezTo>
                  <a:cubicBezTo>
                    <a:pt x="17" y="491"/>
                    <a:pt x="17" y="491"/>
                    <a:pt x="17" y="491"/>
                  </a:cubicBezTo>
                  <a:cubicBezTo>
                    <a:pt x="17" y="492"/>
                    <a:pt x="17" y="492"/>
                    <a:pt x="17" y="492"/>
                  </a:cubicBezTo>
                  <a:cubicBezTo>
                    <a:pt x="15" y="493"/>
                    <a:pt x="15" y="493"/>
                    <a:pt x="15" y="493"/>
                  </a:cubicBezTo>
                  <a:cubicBezTo>
                    <a:pt x="15" y="493"/>
                    <a:pt x="15" y="493"/>
                    <a:pt x="15" y="493"/>
                  </a:cubicBezTo>
                  <a:cubicBezTo>
                    <a:pt x="15" y="494"/>
                    <a:pt x="15" y="494"/>
                    <a:pt x="15" y="494"/>
                  </a:cubicBezTo>
                  <a:cubicBezTo>
                    <a:pt x="15" y="494"/>
                    <a:pt x="15" y="494"/>
                    <a:pt x="15" y="494"/>
                  </a:cubicBezTo>
                  <a:cubicBezTo>
                    <a:pt x="14" y="493"/>
                    <a:pt x="14" y="493"/>
                    <a:pt x="14" y="493"/>
                  </a:cubicBezTo>
                  <a:cubicBezTo>
                    <a:pt x="14" y="493"/>
                    <a:pt x="14" y="493"/>
                    <a:pt x="14" y="493"/>
                  </a:cubicBezTo>
                  <a:cubicBezTo>
                    <a:pt x="14" y="493"/>
                    <a:pt x="14" y="493"/>
                    <a:pt x="14" y="493"/>
                  </a:cubicBezTo>
                  <a:cubicBezTo>
                    <a:pt x="14" y="492"/>
                    <a:pt x="14" y="492"/>
                    <a:pt x="14" y="492"/>
                  </a:cubicBezTo>
                  <a:cubicBezTo>
                    <a:pt x="15" y="491"/>
                    <a:pt x="15" y="491"/>
                    <a:pt x="15" y="491"/>
                  </a:cubicBezTo>
                  <a:cubicBezTo>
                    <a:pt x="15" y="491"/>
                    <a:pt x="15" y="491"/>
                    <a:pt x="15" y="491"/>
                  </a:cubicBezTo>
                  <a:cubicBezTo>
                    <a:pt x="15" y="491"/>
                    <a:pt x="15" y="491"/>
                    <a:pt x="15" y="491"/>
                  </a:cubicBezTo>
                  <a:cubicBezTo>
                    <a:pt x="16" y="491"/>
                    <a:pt x="16" y="491"/>
                    <a:pt x="16" y="491"/>
                  </a:cubicBezTo>
                  <a:cubicBezTo>
                    <a:pt x="16" y="491"/>
                    <a:pt x="16" y="491"/>
                    <a:pt x="16" y="491"/>
                  </a:cubicBezTo>
                  <a:cubicBezTo>
                    <a:pt x="16" y="490"/>
                    <a:pt x="16" y="490"/>
                    <a:pt x="16" y="490"/>
                  </a:cubicBezTo>
                  <a:cubicBezTo>
                    <a:pt x="17" y="490"/>
                    <a:pt x="17" y="490"/>
                    <a:pt x="17" y="490"/>
                  </a:cubicBezTo>
                  <a:cubicBezTo>
                    <a:pt x="17" y="489"/>
                    <a:pt x="17" y="489"/>
                    <a:pt x="17" y="489"/>
                  </a:cubicBezTo>
                  <a:cubicBezTo>
                    <a:pt x="17" y="489"/>
                    <a:pt x="17" y="489"/>
                    <a:pt x="17" y="489"/>
                  </a:cubicBezTo>
                  <a:cubicBezTo>
                    <a:pt x="17" y="488"/>
                    <a:pt x="17" y="488"/>
                    <a:pt x="17" y="488"/>
                  </a:cubicBezTo>
                  <a:cubicBezTo>
                    <a:pt x="17" y="487"/>
                    <a:pt x="17" y="487"/>
                    <a:pt x="17" y="487"/>
                  </a:cubicBezTo>
                  <a:cubicBezTo>
                    <a:pt x="17" y="487"/>
                    <a:pt x="17" y="487"/>
                    <a:pt x="17" y="487"/>
                  </a:cubicBezTo>
                  <a:cubicBezTo>
                    <a:pt x="17" y="486"/>
                    <a:pt x="17" y="486"/>
                    <a:pt x="17" y="486"/>
                  </a:cubicBezTo>
                  <a:cubicBezTo>
                    <a:pt x="17" y="485"/>
                    <a:pt x="17" y="485"/>
                    <a:pt x="17" y="485"/>
                  </a:cubicBezTo>
                  <a:cubicBezTo>
                    <a:pt x="17" y="484"/>
                    <a:pt x="17" y="484"/>
                    <a:pt x="17" y="484"/>
                  </a:cubicBezTo>
                  <a:cubicBezTo>
                    <a:pt x="17" y="482"/>
                    <a:pt x="17" y="482"/>
                    <a:pt x="17" y="482"/>
                  </a:cubicBezTo>
                  <a:cubicBezTo>
                    <a:pt x="17" y="482"/>
                    <a:pt x="17" y="482"/>
                    <a:pt x="17" y="482"/>
                  </a:cubicBezTo>
                  <a:cubicBezTo>
                    <a:pt x="17" y="481"/>
                    <a:pt x="17" y="481"/>
                    <a:pt x="17" y="481"/>
                  </a:cubicBezTo>
                  <a:cubicBezTo>
                    <a:pt x="17" y="481"/>
                    <a:pt x="17" y="481"/>
                    <a:pt x="17" y="481"/>
                  </a:cubicBezTo>
                  <a:cubicBezTo>
                    <a:pt x="17" y="481"/>
                    <a:pt x="17" y="481"/>
                    <a:pt x="17" y="481"/>
                  </a:cubicBezTo>
                  <a:cubicBezTo>
                    <a:pt x="17" y="480"/>
                    <a:pt x="17" y="480"/>
                    <a:pt x="17" y="480"/>
                  </a:cubicBezTo>
                  <a:cubicBezTo>
                    <a:pt x="17" y="480"/>
                    <a:pt x="17" y="480"/>
                    <a:pt x="17" y="480"/>
                  </a:cubicBezTo>
                  <a:cubicBezTo>
                    <a:pt x="15" y="482"/>
                    <a:pt x="15" y="482"/>
                    <a:pt x="15" y="482"/>
                  </a:cubicBezTo>
                  <a:cubicBezTo>
                    <a:pt x="14" y="483"/>
                    <a:pt x="14" y="483"/>
                    <a:pt x="14" y="483"/>
                  </a:cubicBezTo>
                  <a:cubicBezTo>
                    <a:pt x="14" y="484"/>
                    <a:pt x="14" y="484"/>
                    <a:pt x="14" y="484"/>
                  </a:cubicBezTo>
                  <a:cubicBezTo>
                    <a:pt x="14" y="484"/>
                    <a:pt x="14" y="484"/>
                    <a:pt x="14" y="484"/>
                  </a:cubicBezTo>
                  <a:cubicBezTo>
                    <a:pt x="15" y="485"/>
                    <a:pt x="15" y="485"/>
                    <a:pt x="15" y="485"/>
                  </a:cubicBezTo>
                  <a:cubicBezTo>
                    <a:pt x="15" y="486"/>
                    <a:pt x="15" y="486"/>
                    <a:pt x="15" y="486"/>
                  </a:cubicBezTo>
                  <a:cubicBezTo>
                    <a:pt x="15" y="487"/>
                    <a:pt x="15" y="487"/>
                    <a:pt x="15" y="487"/>
                  </a:cubicBezTo>
                  <a:cubicBezTo>
                    <a:pt x="14" y="487"/>
                    <a:pt x="14" y="487"/>
                    <a:pt x="14" y="487"/>
                  </a:cubicBezTo>
                  <a:cubicBezTo>
                    <a:pt x="14" y="488"/>
                    <a:pt x="14" y="488"/>
                    <a:pt x="14" y="488"/>
                  </a:cubicBezTo>
                  <a:cubicBezTo>
                    <a:pt x="14" y="488"/>
                    <a:pt x="14" y="488"/>
                    <a:pt x="14" y="488"/>
                  </a:cubicBezTo>
                  <a:cubicBezTo>
                    <a:pt x="14" y="486"/>
                    <a:pt x="14" y="486"/>
                    <a:pt x="14" y="486"/>
                  </a:cubicBezTo>
                  <a:cubicBezTo>
                    <a:pt x="14" y="485"/>
                    <a:pt x="14" y="485"/>
                    <a:pt x="14" y="485"/>
                  </a:cubicBezTo>
                  <a:cubicBezTo>
                    <a:pt x="13" y="485"/>
                    <a:pt x="13" y="485"/>
                    <a:pt x="13" y="485"/>
                  </a:cubicBezTo>
                  <a:cubicBezTo>
                    <a:pt x="12" y="485"/>
                    <a:pt x="12" y="485"/>
                    <a:pt x="12" y="485"/>
                  </a:cubicBezTo>
                  <a:cubicBezTo>
                    <a:pt x="12" y="486"/>
                    <a:pt x="12" y="486"/>
                    <a:pt x="12" y="486"/>
                  </a:cubicBezTo>
                  <a:cubicBezTo>
                    <a:pt x="11" y="486"/>
                    <a:pt x="11" y="486"/>
                    <a:pt x="11" y="486"/>
                  </a:cubicBezTo>
                  <a:cubicBezTo>
                    <a:pt x="11" y="488"/>
                    <a:pt x="11" y="488"/>
                    <a:pt x="11" y="488"/>
                  </a:cubicBezTo>
                  <a:cubicBezTo>
                    <a:pt x="9" y="490"/>
                    <a:pt x="9" y="490"/>
                    <a:pt x="9" y="490"/>
                  </a:cubicBezTo>
                  <a:cubicBezTo>
                    <a:pt x="9" y="491"/>
                    <a:pt x="9" y="491"/>
                    <a:pt x="9" y="491"/>
                  </a:cubicBezTo>
                  <a:cubicBezTo>
                    <a:pt x="8" y="491"/>
                    <a:pt x="8" y="491"/>
                    <a:pt x="8" y="491"/>
                  </a:cubicBezTo>
                  <a:cubicBezTo>
                    <a:pt x="8" y="491"/>
                    <a:pt x="8" y="491"/>
                    <a:pt x="8" y="491"/>
                  </a:cubicBezTo>
                  <a:cubicBezTo>
                    <a:pt x="9" y="492"/>
                    <a:pt x="9" y="492"/>
                    <a:pt x="9" y="492"/>
                  </a:cubicBezTo>
                  <a:cubicBezTo>
                    <a:pt x="9" y="492"/>
                    <a:pt x="9" y="492"/>
                    <a:pt x="9" y="492"/>
                  </a:cubicBezTo>
                  <a:cubicBezTo>
                    <a:pt x="8" y="492"/>
                    <a:pt x="8" y="492"/>
                    <a:pt x="8" y="492"/>
                  </a:cubicBezTo>
                  <a:cubicBezTo>
                    <a:pt x="8" y="492"/>
                    <a:pt x="8" y="492"/>
                    <a:pt x="8" y="492"/>
                  </a:cubicBezTo>
                  <a:cubicBezTo>
                    <a:pt x="8" y="493"/>
                    <a:pt x="8" y="493"/>
                    <a:pt x="8" y="493"/>
                  </a:cubicBezTo>
                  <a:cubicBezTo>
                    <a:pt x="8" y="493"/>
                    <a:pt x="8" y="493"/>
                    <a:pt x="8" y="493"/>
                  </a:cubicBezTo>
                  <a:cubicBezTo>
                    <a:pt x="8" y="493"/>
                    <a:pt x="8" y="493"/>
                    <a:pt x="8" y="493"/>
                  </a:cubicBezTo>
                  <a:cubicBezTo>
                    <a:pt x="8" y="494"/>
                    <a:pt x="8" y="494"/>
                    <a:pt x="8" y="494"/>
                  </a:cubicBezTo>
                  <a:cubicBezTo>
                    <a:pt x="8" y="494"/>
                    <a:pt x="8" y="494"/>
                    <a:pt x="8" y="494"/>
                  </a:cubicBezTo>
                  <a:cubicBezTo>
                    <a:pt x="8" y="496"/>
                    <a:pt x="8" y="496"/>
                    <a:pt x="8" y="496"/>
                  </a:cubicBezTo>
                  <a:cubicBezTo>
                    <a:pt x="8" y="497"/>
                    <a:pt x="8" y="497"/>
                    <a:pt x="8" y="497"/>
                  </a:cubicBezTo>
                  <a:cubicBezTo>
                    <a:pt x="8" y="498"/>
                    <a:pt x="8" y="498"/>
                    <a:pt x="8" y="498"/>
                  </a:cubicBezTo>
                  <a:cubicBezTo>
                    <a:pt x="9" y="498"/>
                    <a:pt x="9" y="498"/>
                    <a:pt x="9" y="498"/>
                  </a:cubicBezTo>
                  <a:cubicBezTo>
                    <a:pt x="11" y="503"/>
                    <a:pt x="11" y="503"/>
                    <a:pt x="11" y="503"/>
                  </a:cubicBezTo>
                  <a:cubicBezTo>
                    <a:pt x="12" y="502"/>
                    <a:pt x="12" y="502"/>
                    <a:pt x="12" y="502"/>
                  </a:cubicBezTo>
                  <a:cubicBezTo>
                    <a:pt x="12" y="502"/>
                    <a:pt x="12" y="502"/>
                    <a:pt x="12" y="502"/>
                  </a:cubicBezTo>
                  <a:cubicBezTo>
                    <a:pt x="12" y="499"/>
                    <a:pt x="12" y="499"/>
                    <a:pt x="12" y="499"/>
                  </a:cubicBezTo>
                  <a:cubicBezTo>
                    <a:pt x="12" y="499"/>
                    <a:pt x="12" y="499"/>
                    <a:pt x="12" y="499"/>
                  </a:cubicBezTo>
                  <a:cubicBezTo>
                    <a:pt x="13" y="499"/>
                    <a:pt x="13" y="499"/>
                    <a:pt x="13" y="499"/>
                  </a:cubicBezTo>
                  <a:cubicBezTo>
                    <a:pt x="13" y="499"/>
                    <a:pt x="13" y="499"/>
                    <a:pt x="13" y="499"/>
                  </a:cubicBezTo>
                  <a:cubicBezTo>
                    <a:pt x="13" y="500"/>
                    <a:pt x="13" y="500"/>
                    <a:pt x="13" y="500"/>
                  </a:cubicBezTo>
                  <a:cubicBezTo>
                    <a:pt x="13" y="500"/>
                    <a:pt x="13" y="500"/>
                    <a:pt x="13" y="500"/>
                  </a:cubicBezTo>
                  <a:cubicBezTo>
                    <a:pt x="13" y="502"/>
                    <a:pt x="13" y="502"/>
                    <a:pt x="13" y="502"/>
                  </a:cubicBezTo>
                  <a:cubicBezTo>
                    <a:pt x="13" y="502"/>
                    <a:pt x="13" y="502"/>
                    <a:pt x="13" y="502"/>
                  </a:cubicBezTo>
                  <a:cubicBezTo>
                    <a:pt x="13" y="503"/>
                    <a:pt x="13" y="503"/>
                    <a:pt x="13" y="503"/>
                  </a:cubicBezTo>
                  <a:cubicBezTo>
                    <a:pt x="13" y="504"/>
                    <a:pt x="13" y="504"/>
                    <a:pt x="13" y="504"/>
                  </a:cubicBezTo>
                  <a:cubicBezTo>
                    <a:pt x="13" y="505"/>
                    <a:pt x="13" y="505"/>
                    <a:pt x="13" y="505"/>
                  </a:cubicBezTo>
                  <a:cubicBezTo>
                    <a:pt x="14" y="506"/>
                    <a:pt x="14" y="506"/>
                    <a:pt x="14" y="506"/>
                  </a:cubicBezTo>
                  <a:cubicBezTo>
                    <a:pt x="14" y="506"/>
                    <a:pt x="14" y="506"/>
                    <a:pt x="14" y="506"/>
                  </a:cubicBezTo>
                  <a:cubicBezTo>
                    <a:pt x="14" y="506"/>
                    <a:pt x="14" y="506"/>
                    <a:pt x="14" y="506"/>
                  </a:cubicBezTo>
                  <a:cubicBezTo>
                    <a:pt x="14" y="505"/>
                    <a:pt x="14" y="505"/>
                    <a:pt x="14" y="505"/>
                  </a:cubicBezTo>
                  <a:cubicBezTo>
                    <a:pt x="14" y="505"/>
                    <a:pt x="14" y="505"/>
                    <a:pt x="14" y="505"/>
                  </a:cubicBezTo>
                  <a:cubicBezTo>
                    <a:pt x="14" y="502"/>
                    <a:pt x="14" y="502"/>
                    <a:pt x="14" y="502"/>
                  </a:cubicBezTo>
                  <a:cubicBezTo>
                    <a:pt x="14" y="501"/>
                    <a:pt x="14" y="501"/>
                    <a:pt x="14" y="501"/>
                  </a:cubicBezTo>
                  <a:cubicBezTo>
                    <a:pt x="14" y="500"/>
                    <a:pt x="14" y="500"/>
                    <a:pt x="14" y="500"/>
                  </a:cubicBezTo>
                  <a:cubicBezTo>
                    <a:pt x="15" y="499"/>
                    <a:pt x="15" y="499"/>
                    <a:pt x="15" y="499"/>
                  </a:cubicBezTo>
                  <a:cubicBezTo>
                    <a:pt x="15" y="500"/>
                    <a:pt x="15" y="500"/>
                    <a:pt x="15" y="500"/>
                  </a:cubicBezTo>
                  <a:cubicBezTo>
                    <a:pt x="15" y="501"/>
                    <a:pt x="15" y="501"/>
                    <a:pt x="15" y="501"/>
                  </a:cubicBezTo>
                  <a:cubicBezTo>
                    <a:pt x="15" y="503"/>
                    <a:pt x="15" y="503"/>
                    <a:pt x="15" y="503"/>
                  </a:cubicBezTo>
                  <a:cubicBezTo>
                    <a:pt x="15" y="504"/>
                    <a:pt x="15" y="504"/>
                    <a:pt x="15" y="504"/>
                  </a:cubicBezTo>
                  <a:cubicBezTo>
                    <a:pt x="15" y="505"/>
                    <a:pt x="15" y="505"/>
                    <a:pt x="15" y="505"/>
                  </a:cubicBezTo>
                  <a:cubicBezTo>
                    <a:pt x="16" y="506"/>
                    <a:pt x="16" y="506"/>
                    <a:pt x="16" y="506"/>
                  </a:cubicBezTo>
                  <a:cubicBezTo>
                    <a:pt x="16" y="507"/>
                    <a:pt x="16" y="507"/>
                    <a:pt x="16" y="507"/>
                  </a:cubicBezTo>
                  <a:cubicBezTo>
                    <a:pt x="17" y="507"/>
                    <a:pt x="17" y="507"/>
                    <a:pt x="17" y="507"/>
                  </a:cubicBezTo>
                  <a:cubicBezTo>
                    <a:pt x="18" y="506"/>
                    <a:pt x="18" y="506"/>
                    <a:pt x="18" y="506"/>
                  </a:cubicBezTo>
                  <a:cubicBezTo>
                    <a:pt x="19" y="506"/>
                    <a:pt x="19" y="506"/>
                    <a:pt x="19" y="506"/>
                  </a:cubicBezTo>
                  <a:cubicBezTo>
                    <a:pt x="19" y="505"/>
                    <a:pt x="19" y="505"/>
                    <a:pt x="19" y="505"/>
                  </a:cubicBezTo>
                  <a:cubicBezTo>
                    <a:pt x="19" y="504"/>
                    <a:pt x="19" y="504"/>
                    <a:pt x="19" y="504"/>
                  </a:cubicBezTo>
                  <a:cubicBezTo>
                    <a:pt x="19" y="501"/>
                    <a:pt x="19" y="501"/>
                    <a:pt x="19" y="501"/>
                  </a:cubicBezTo>
                  <a:cubicBezTo>
                    <a:pt x="20" y="500"/>
                    <a:pt x="20" y="500"/>
                    <a:pt x="20" y="500"/>
                  </a:cubicBezTo>
                  <a:cubicBezTo>
                    <a:pt x="19" y="500"/>
                    <a:pt x="19" y="500"/>
                    <a:pt x="19" y="500"/>
                  </a:cubicBezTo>
                  <a:cubicBezTo>
                    <a:pt x="19" y="499"/>
                    <a:pt x="19" y="499"/>
                    <a:pt x="19" y="499"/>
                  </a:cubicBezTo>
                  <a:cubicBezTo>
                    <a:pt x="19" y="499"/>
                    <a:pt x="19" y="499"/>
                    <a:pt x="19" y="499"/>
                  </a:cubicBezTo>
                  <a:cubicBezTo>
                    <a:pt x="20" y="499"/>
                    <a:pt x="20" y="499"/>
                    <a:pt x="20" y="499"/>
                  </a:cubicBezTo>
                  <a:cubicBezTo>
                    <a:pt x="20" y="500"/>
                    <a:pt x="20" y="500"/>
                    <a:pt x="20" y="500"/>
                  </a:cubicBezTo>
                  <a:cubicBezTo>
                    <a:pt x="21" y="502"/>
                    <a:pt x="21" y="502"/>
                    <a:pt x="21" y="502"/>
                  </a:cubicBezTo>
                  <a:cubicBezTo>
                    <a:pt x="21" y="503"/>
                    <a:pt x="21" y="503"/>
                    <a:pt x="21" y="503"/>
                  </a:cubicBezTo>
                  <a:cubicBezTo>
                    <a:pt x="21" y="504"/>
                    <a:pt x="21" y="504"/>
                    <a:pt x="21" y="504"/>
                  </a:cubicBezTo>
                  <a:cubicBezTo>
                    <a:pt x="21" y="504"/>
                    <a:pt x="21" y="504"/>
                    <a:pt x="21" y="504"/>
                  </a:cubicBezTo>
                  <a:cubicBezTo>
                    <a:pt x="20" y="505"/>
                    <a:pt x="20" y="505"/>
                    <a:pt x="20" y="505"/>
                  </a:cubicBezTo>
                  <a:cubicBezTo>
                    <a:pt x="20" y="505"/>
                    <a:pt x="20" y="505"/>
                    <a:pt x="20" y="505"/>
                  </a:cubicBezTo>
                  <a:cubicBezTo>
                    <a:pt x="20" y="506"/>
                    <a:pt x="20" y="506"/>
                    <a:pt x="20" y="506"/>
                  </a:cubicBezTo>
                  <a:cubicBezTo>
                    <a:pt x="21" y="506"/>
                    <a:pt x="21" y="506"/>
                    <a:pt x="21" y="506"/>
                  </a:cubicBezTo>
                  <a:cubicBezTo>
                    <a:pt x="22" y="505"/>
                    <a:pt x="22" y="505"/>
                    <a:pt x="22" y="505"/>
                  </a:cubicBezTo>
                  <a:cubicBezTo>
                    <a:pt x="22" y="505"/>
                    <a:pt x="22" y="505"/>
                    <a:pt x="22" y="505"/>
                  </a:cubicBezTo>
                  <a:cubicBezTo>
                    <a:pt x="23" y="505"/>
                    <a:pt x="23" y="505"/>
                    <a:pt x="23" y="505"/>
                  </a:cubicBezTo>
                  <a:cubicBezTo>
                    <a:pt x="23" y="504"/>
                    <a:pt x="23" y="504"/>
                    <a:pt x="23" y="504"/>
                  </a:cubicBezTo>
                  <a:cubicBezTo>
                    <a:pt x="23" y="504"/>
                    <a:pt x="23" y="504"/>
                    <a:pt x="23" y="504"/>
                  </a:cubicBezTo>
                  <a:cubicBezTo>
                    <a:pt x="23" y="504"/>
                    <a:pt x="23" y="504"/>
                    <a:pt x="23" y="504"/>
                  </a:cubicBezTo>
                  <a:cubicBezTo>
                    <a:pt x="23" y="503"/>
                    <a:pt x="23" y="503"/>
                    <a:pt x="23" y="503"/>
                  </a:cubicBezTo>
                  <a:cubicBezTo>
                    <a:pt x="23" y="503"/>
                    <a:pt x="23" y="503"/>
                    <a:pt x="23" y="503"/>
                  </a:cubicBezTo>
                  <a:cubicBezTo>
                    <a:pt x="24" y="503"/>
                    <a:pt x="24" y="503"/>
                    <a:pt x="24" y="503"/>
                  </a:cubicBezTo>
                  <a:cubicBezTo>
                    <a:pt x="25" y="503"/>
                    <a:pt x="25" y="503"/>
                    <a:pt x="25" y="503"/>
                  </a:cubicBezTo>
                  <a:cubicBezTo>
                    <a:pt x="25" y="503"/>
                    <a:pt x="25" y="503"/>
                    <a:pt x="25" y="503"/>
                  </a:cubicBezTo>
                  <a:cubicBezTo>
                    <a:pt x="26" y="503"/>
                    <a:pt x="26" y="503"/>
                    <a:pt x="26" y="503"/>
                  </a:cubicBezTo>
                  <a:cubicBezTo>
                    <a:pt x="27" y="503"/>
                    <a:pt x="27" y="503"/>
                    <a:pt x="27" y="503"/>
                  </a:cubicBezTo>
                  <a:cubicBezTo>
                    <a:pt x="28" y="503"/>
                    <a:pt x="28" y="503"/>
                    <a:pt x="28" y="503"/>
                  </a:cubicBezTo>
                  <a:cubicBezTo>
                    <a:pt x="28" y="501"/>
                    <a:pt x="28" y="501"/>
                    <a:pt x="28" y="501"/>
                  </a:cubicBezTo>
                  <a:cubicBezTo>
                    <a:pt x="28" y="501"/>
                    <a:pt x="28" y="501"/>
                    <a:pt x="28" y="501"/>
                  </a:cubicBezTo>
                  <a:cubicBezTo>
                    <a:pt x="26" y="499"/>
                    <a:pt x="26" y="499"/>
                    <a:pt x="26" y="499"/>
                  </a:cubicBezTo>
                  <a:cubicBezTo>
                    <a:pt x="26" y="498"/>
                    <a:pt x="26" y="498"/>
                    <a:pt x="26" y="498"/>
                  </a:cubicBezTo>
                  <a:cubicBezTo>
                    <a:pt x="25" y="498"/>
                    <a:pt x="25" y="498"/>
                    <a:pt x="25" y="498"/>
                  </a:cubicBezTo>
                  <a:cubicBezTo>
                    <a:pt x="24" y="498"/>
                    <a:pt x="24" y="498"/>
                    <a:pt x="24" y="498"/>
                  </a:cubicBezTo>
                  <a:cubicBezTo>
                    <a:pt x="22" y="499"/>
                    <a:pt x="22" y="499"/>
                    <a:pt x="22" y="499"/>
                  </a:cubicBezTo>
                  <a:cubicBezTo>
                    <a:pt x="21" y="499"/>
                    <a:pt x="21" y="499"/>
                    <a:pt x="21" y="499"/>
                  </a:cubicBezTo>
                  <a:cubicBezTo>
                    <a:pt x="23" y="498"/>
                    <a:pt x="23" y="498"/>
                    <a:pt x="23" y="498"/>
                  </a:cubicBezTo>
                  <a:cubicBezTo>
                    <a:pt x="23" y="497"/>
                    <a:pt x="23" y="497"/>
                    <a:pt x="23" y="497"/>
                  </a:cubicBezTo>
                  <a:cubicBezTo>
                    <a:pt x="23" y="496"/>
                    <a:pt x="23" y="496"/>
                    <a:pt x="23" y="496"/>
                  </a:cubicBezTo>
                  <a:cubicBezTo>
                    <a:pt x="24" y="497"/>
                    <a:pt x="24" y="497"/>
                    <a:pt x="24" y="497"/>
                  </a:cubicBezTo>
                  <a:cubicBezTo>
                    <a:pt x="24" y="497"/>
                    <a:pt x="24" y="497"/>
                    <a:pt x="24" y="497"/>
                  </a:cubicBezTo>
                  <a:cubicBezTo>
                    <a:pt x="25" y="497"/>
                    <a:pt x="25" y="497"/>
                    <a:pt x="25" y="497"/>
                  </a:cubicBezTo>
                  <a:cubicBezTo>
                    <a:pt x="26" y="496"/>
                    <a:pt x="26" y="496"/>
                    <a:pt x="26" y="496"/>
                  </a:cubicBezTo>
                  <a:cubicBezTo>
                    <a:pt x="26" y="495"/>
                    <a:pt x="26" y="495"/>
                    <a:pt x="26" y="495"/>
                  </a:cubicBezTo>
                  <a:cubicBezTo>
                    <a:pt x="26" y="494"/>
                    <a:pt x="26" y="494"/>
                    <a:pt x="26" y="494"/>
                  </a:cubicBezTo>
                  <a:cubicBezTo>
                    <a:pt x="25" y="492"/>
                    <a:pt x="25" y="492"/>
                    <a:pt x="25" y="492"/>
                  </a:cubicBezTo>
                  <a:cubicBezTo>
                    <a:pt x="26" y="492"/>
                    <a:pt x="26" y="492"/>
                    <a:pt x="26" y="492"/>
                  </a:cubicBezTo>
                  <a:cubicBezTo>
                    <a:pt x="26" y="491"/>
                    <a:pt x="26" y="491"/>
                    <a:pt x="26" y="491"/>
                  </a:cubicBezTo>
                  <a:cubicBezTo>
                    <a:pt x="26" y="491"/>
                    <a:pt x="26" y="491"/>
                    <a:pt x="26" y="491"/>
                  </a:cubicBezTo>
                  <a:cubicBezTo>
                    <a:pt x="27" y="492"/>
                    <a:pt x="27" y="492"/>
                    <a:pt x="27" y="492"/>
                  </a:cubicBezTo>
                  <a:cubicBezTo>
                    <a:pt x="27" y="493"/>
                    <a:pt x="27" y="493"/>
                    <a:pt x="27" y="493"/>
                  </a:cubicBezTo>
                  <a:cubicBezTo>
                    <a:pt x="27" y="493"/>
                    <a:pt x="27" y="493"/>
                    <a:pt x="27" y="493"/>
                  </a:cubicBezTo>
                  <a:cubicBezTo>
                    <a:pt x="27" y="493"/>
                    <a:pt x="27" y="493"/>
                    <a:pt x="27" y="493"/>
                  </a:cubicBezTo>
                  <a:cubicBezTo>
                    <a:pt x="28" y="494"/>
                    <a:pt x="28" y="494"/>
                    <a:pt x="28" y="494"/>
                  </a:cubicBezTo>
                  <a:cubicBezTo>
                    <a:pt x="28" y="494"/>
                    <a:pt x="28" y="494"/>
                    <a:pt x="28" y="494"/>
                  </a:cubicBezTo>
                  <a:cubicBezTo>
                    <a:pt x="29" y="495"/>
                    <a:pt x="29" y="495"/>
                    <a:pt x="29" y="495"/>
                  </a:cubicBezTo>
                  <a:cubicBezTo>
                    <a:pt x="29" y="495"/>
                    <a:pt x="29" y="495"/>
                    <a:pt x="29" y="495"/>
                  </a:cubicBezTo>
                  <a:cubicBezTo>
                    <a:pt x="33" y="495"/>
                    <a:pt x="33" y="495"/>
                    <a:pt x="33" y="495"/>
                  </a:cubicBezTo>
                  <a:cubicBezTo>
                    <a:pt x="34" y="494"/>
                    <a:pt x="34" y="494"/>
                    <a:pt x="34" y="494"/>
                  </a:cubicBezTo>
                  <a:cubicBezTo>
                    <a:pt x="35" y="494"/>
                    <a:pt x="35" y="494"/>
                    <a:pt x="35" y="494"/>
                  </a:cubicBezTo>
                  <a:cubicBezTo>
                    <a:pt x="36" y="494"/>
                    <a:pt x="36" y="494"/>
                    <a:pt x="36" y="494"/>
                  </a:cubicBezTo>
                  <a:cubicBezTo>
                    <a:pt x="36" y="495"/>
                    <a:pt x="36" y="495"/>
                    <a:pt x="36" y="495"/>
                  </a:cubicBezTo>
                  <a:cubicBezTo>
                    <a:pt x="30" y="497"/>
                    <a:pt x="30" y="497"/>
                    <a:pt x="30" y="497"/>
                  </a:cubicBezTo>
                  <a:cubicBezTo>
                    <a:pt x="29" y="497"/>
                    <a:pt x="29" y="497"/>
                    <a:pt x="29" y="497"/>
                  </a:cubicBezTo>
                  <a:cubicBezTo>
                    <a:pt x="29" y="498"/>
                    <a:pt x="29" y="498"/>
                    <a:pt x="29" y="498"/>
                  </a:cubicBezTo>
                  <a:cubicBezTo>
                    <a:pt x="29" y="498"/>
                    <a:pt x="29" y="498"/>
                    <a:pt x="29" y="498"/>
                  </a:cubicBezTo>
                  <a:cubicBezTo>
                    <a:pt x="29" y="499"/>
                    <a:pt x="29" y="499"/>
                    <a:pt x="29" y="499"/>
                  </a:cubicBezTo>
                  <a:cubicBezTo>
                    <a:pt x="29" y="500"/>
                    <a:pt x="29" y="500"/>
                    <a:pt x="29" y="500"/>
                  </a:cubicBezTo>
                  <a:cubicBezTo>
                    <a:pt x="29" y="500"/>
                    <a:pt x="29" y="500"/>
                    <a:pt x="29" y="500"/>
                  </a:cubicBezTo>
                  <a:cubicBezTo>
                    <a:pt x="29" y="500"/>
                    <a:pt x="29" y="500"/>
                    <a:pt x="29" y="500"/>
                  </a:cubicBezTo>
                  <a:cubicBezTo>
                    <a:pt x="29" y="501"/>
                    <a:pt x="29" y="501"/>
                    <a:pt x="29" y="501"/>
                  </a:cubicBezTo>
                  <a:cubicBezTo>
                    <a:pt x="29" y="501"/>
                    <a:pt x="29" y="501"/>
                    <a:pt x="29" y="501"/>
                  </a:cubicBezTo>
                  <a:cubicBezTo>
                    <a:pt x="30" y="502"/>
                    <a:pt x="30" y="502"/>
                    <a:pt x="30" y="502"/>
                  </a:cubicBezTo>
                  <a:cubicBezTo>
                    <a:pt x="30" y="502"/>
                    <a:pt x="30" y="502"/>
                    <a:pt x="30" y="502"/>
                  </a:cubicBezTo>
                  <a:cubicBezTo>
                    <a:pt x="32" y="501"/>
                    <a:pt x="32" y="501"/>
                    <a:pt x="32" y="501"/>
                  </a:cubicBezTo>
                  <a:cubicBezTo>
                    <a:pt x="32" y="500"/>
                    <a:pt x="32" y="500"/>
                    <a:pt x="32" y="500"/>
                  </a:cubicBezTo>
                  <a:cubicBezTo>
                    <a:pt x="32" y="500"/>
                    <a:pt x="32" y="500"/>
                    <a:pt x="32" y="500"/>
                  </a:cubicBezTo>
                  <a:cubicBezTo>
                    <a:pt x="31" y="500"/>
                    <a:pt x="31" y="500"/>
                    <a:pt x="31" y="500"/>
                  </a:cubicBezTo>
                  <a:cubicBezTo>
                    <a:pt x="31" y="500"/>
                    <a:pt x="31" y="500"/>
                    <a:pt x="31" y="500"/>
                  </a:cubicBezTo>
                  <a:cubicBezTo>
                    <a:pt x="31" y="499"/>
                    <a:pt x="31" y="499"/>
                    <a:pt x="31" y="499"/>
                  </a:cubicBezTo>
                  <a:cubicBezTo>
                    <a:pt x="31" y="499"/>
                    <a:pt x="31" y="499"/>
                    <a:pt x="31" y="499"/>
                  </a:cubicBezTo>
                  <a:cubicBezTo>
                    <a:pt x="31" y="499"/>
                    <a:pt x="31" y="499"/>
                    <a:pt x="31" y="499"/>
                  </a:cubicBezTo>
                  <a:cubicBezTo>
                    <a:pt x="32" y="499"/>
                    <a:pt x="32" y="499"/>
                    <a:pt x="32" y="499"/>
                  </a:cubicBezTo>
                  <a:cubicBezTo>
                    <a:pt x="31" y="498"/>
                    <a:pt x="31" y="498"/>
                    <a:pt x="31" y="498"/>
                  </a:cubicBezTo>
                  <a:cubicBezTo>
                    <a:pt x="32" y="498"/>
                    <a:pt x="32" y="498"/>
                    <a:pt x="32" y="498"/>
                  </a:cubicBezTo>
                  <a:cubicBezTo>
                    <a:pt x="32" y="499"/>
                    <a:pt x="32" y="499"/>
                    <a:pt x="32" y="499"/>
                  </a:cubicBezTo>
                  <a:cubicBezTo>
                    <a:pt x="33" y="500"/>
                    <a:pt x="33" y="500"/>
                    <a:pt x="33" y="500"/>
                  </a:cubicBezTo>
                  <a:cubicBezTo>
                    <a:pt x="33" y="499"/>
                    <a:pt x="33" y="499"/>
                    <a:pt x="33" y="499"/>
                  </a:cubicBezTo>
                  <a:cubicBezTo>
                    <a:pt x="34" y="499"/>
                    <a:pt x="34" y="499"/>
                    <a:pt x="34" y="499"/>
                  </a:cubicBezTo>
                  <a:cubicBezTo>
                    <a:pt x="35" y="498"/>
                    <a:pt x="35" y="498"/>
                    <a:pt x="35" y="498"/>
                  </a:cubicBezTo>
                  <a:cubicBezTo>
                    <a:pt x="36" y="497"/>
                    <a:pt x="36" y="497"/>
                    <a:pt x="36" y="497"/>
                  </a:cubicBezTo>
                  <a:cubicBezTo>
                    <a:pt x="36" y="496"/>
                    <a:pt x="36" y="496"/>
                    <a:pt x="36" y="496"/>
                  </a:cubicBezTo>
                  <a:cubicBezTo>
                    <a:pt x="37" y="496"/>
                    <a:pt x="37" y="496"/>
                    <a:pt x="37" y="496"/>
                  </a:cubicBezTo>
                  <a:cubicBezTo>
                    <a:pt x="38" y="493"/>
                    <a:pt x="38" y="493"/>
                    <a:pt x="38" y="493"/>
                  </a:cubicBezTo>
                  <a:cubicBezTo>
                    <a:pt x="38" y="492"/>
                    <a:pt x="38" y="492"/>
                    <a:pt x="38" y="492"/>
                  </a:cubicBezTo>
                  <a:cubicBezTo>
                    <a:pt x="39" y="491"/>
                    <a:pt x="39" y="491"/>
                    <a:pt x="39" y="491"/>
                  </a:cubicBezTo>
                  <a:cubicBezTo>
                    <a:pt x="39" y="490"/>
                    <a:pt x="39" y="490"/>
                    <a:pt x="39" y="490"/>
                  </a:cubicBezTo>
                  <a:cubicBezTo>
                    <a:pt x="39" y="490"/>
                    <a:pt x="39" y="490"/>
                    <a:pt x="39" y="490"/>
                  </a:cubicBezTo>
                  <a:cubicBezTo>
                    <a:pt x="40" y="488"/>
                    <a:pt x="40" y="488"/>
                    <a:pt x="40" y="488"/>
                  </a:cubicBezTo>
                  <a:cubicBezTo>
                    <a:pt x="40" y="486"/>
                    <a:pt x="40" y="486"/>
                    <a:pt x="40" y="486"/>
                  </a:cubicBezTo>
                  <a:cubicBezTo>
                    <a:pt x="41" y="485"/>
                    <a:pt x="41" y="485"/>
                    <a:pt x="41" y="485"/>
                  </a:cubicBezTo>
                  <a:cubicBezTo>
                    <a:pt x="41" y="485"/>
                    <a:pt x="41" y="485"/>
                    <a:pt x="41" y="485"/>
                  </a:cubicBezTo>
                  <a:cubicBezTo>
                    <a:pt x="41" y="485"/>
                    <a:pt x="41" y="485"/>
                    <a:pt x="41" y="485"/>
                  </a:cubicBezTo>
                  <a:cubicBezTo>
                    <a:pt x="41" y="486"/>
                    <a:pt x="41" y="486"/>
                    <a:pt x="41" y="486"/>
                  </a:cubicBezTo>
                  <a:cubicBezTo>
                    <a:pt x="40" y="487"/>
                    <a:pt x="40" y="487"/>
                    <a:pt x="40" y="487"/>
                  </a:cubicBezTo>
                  <a:cubicBezTo>
                    <a:pt x="40" y="488"/>
                    <a:pt x="40" y="488"/>
                    <a:pt x="40" y="488"/>
                  </a:cubicBezTo>
                  <a:cubicBezTo>
                    <a:pt x="40" y="490"/>
                    <a:pt x="40" y="490"/>
                    <a:pt x="40" y="490"/>
                  </a:cubicBezTo>
                  <a:cubicBezTo>
                    <a:pt x="40" y="491"/>
                    <a:pt x="40" y="491"/>
                    <a:pt x="40" y="491"/>
                  </a:cubicBezTo>
                  <a:cubicBezTo>
                    <a:pt x="39" y="491"/>
                    <a:pt x="39" y="491"/>
                    <a:pt x="39" y="491"/>
                  </a:cubicBezTo>
                  <a:cubicBezTo>
                    <a:pt x="39" y="492"/>
                    <a:pt x="39" y="492"/>
                    <a:pt x="39" y="492"/>
                  </a:cubicBezTo>
                  <a:cubicBezTo>
                    <a:pt x="40" y="492"/>
                    <a:pt x="40" y="492"/>
                    <a:pt x="40" y="492"/>
                  </a:cubicBezTo>
                  <a:cubicBezTo>
                    <a:pt x="42" y="491"/>
                    <a:pt x="42" y="491"/>
                    <a:pt x="42" y="491"/>
                  </a:cubicBezTo>
                  <a:cubicBezTo>
                    <a:pt x="47" y="490"/>
                    <a:pt x="47" y="490"/>
                    <a:pt x="47" y="490"/>
                  </a:cubicBezTo>
                  <a:cubicBezTo>
                    <a:pt x="48" y="490"/>
                    <a:pt x="48" y="490"/>
                    <a:pt x="48" y="490"/>
                  </a:cubicBezTo>
                  <a:cubicBezTo>
                    <a:pt x="45" y="491"/>
                    <a:pt x="45" y="491"/>
                    <a:pt x="45" y="491"/>
                  </a:cubicBezTo>
                  <a:cubicBezTo>
                    <a:pt x="39" y="493"/>
                    <a:pt x="39" y="493"/>
                    <a:pt x="39" y="493"/>
                  </a:cubicBezTo>
                  <a:cubicBezTo>
                    <a:pt x="39" y="494"/>
                    <a:pt x="39" y="494"/>
                    <a:pt x="39" y="494"/>
                  </a:cubicBezTo>
                  <a:cubicBezTo>
                    <a:pt x="38" y="494"/>
                    <a:pt x="38" y="494"/>
                    <a:pt x="38" y="494"/>
                  </a:cubicBezTo>
                  <a:cubicBezTo>
                    <a:pt x="38" y="496"/>
                    <a:pt x="38" y="496"/>
                    <a:pt x="38" y="496"/>
                  </a:cubicBezTo>
                  <a:cubicBezTo>
                    <a:pt x="38" y="496"/>
                    <a:pt x="38" y="496"/>
                    <a:pt x="38" y="496"/>
                  </a:cubicBezTo>
                  <a:cubicBezTo>
                    <a:pt x="38" y="497"/>
                    <a:pt x="38" y="497"/>
                    <a:pt x="38" y="497"/>
                  </a:cubicBezTo>
                  <a:cubicBezTo>
                    <a:pt x="38" y="497"/>
                    <a:pt x="38" y="497"/>
                    <a:pt x="38" y="497"/>
                  </a:cubicBezTo>
                  <a:cubicBezTo>
                    <a:pt x="38" y="498"/>
                    <a:pt x="38" y="498"/>
                    <a:pt x="38" y="498"/>
                  </a:cubicBezTo>
                  <a:cubicBezTo>
                    <a:pt x="38" y="498"/>
                    <a:pt x="38" y="498"/>
                    <a:pt x="38" y="498"/>
                  </a:cubicBezTo>
                  <a:cubicBezTo>
                    <a:pt x="37" y="497"/>
                    <a:pt x="37" y="497"/>
                    <a:pt x="37" y="497"/>
                  </a:cubicBezTo>
                  <a:cubicBezTo>
                    <a:pt x="37" y="497"/>
                    <a:pt x="37" y="497"/>
                    <a:pt x="37" y="497"/>
                  </a:cubicBezTo>
                  <a:cubicBezTo>
                    <a:pt x="37" y="498"/>
                    <a:pt x="37" y="498"/>
                    <a:pt x="37" y="498"/>
                  </a:cubicBezTo>
                  <a:cubicBezTo>
                    <a:pt x="36" y="499"/>
                    <a:pt x="36" y="499"/>
                    <a:pt x="36" y="499"/>
                  </a:cubicBezTo>
                  <a:cubicBezTo>
                    <a:pt x="34" y="500"/>
                    <a:pt x="34" y="500"/>
                    <a:pt x="34" y="500"/>
                  </a:cubicBezTo>
                  <a:cubicBezTo>
                    <a:pt x="33" y="500"/>
                    <a:pt x="33" y="500"/>
                    <a:pt x="33" y="500"/>
                  </a:cubicBezTo>
                  <a:cubicBezTo>
                    <a:pt x="33" y="501"/>
                    <a:pt x="33" y="501"/>
                    <a:pt x="33" y="501"/>
                  </a:cubicBezTo>
                  <a:cubicBezTo>
                    <a:pt x="33" y="501"/>
                    <a:pt x="33" y="501"/>
                    <a:pt x="33" y="501"/>
                  </a:cubicBezTo>
                  <a:cubicBezTo>
                    <a:pt x="33" y="502"/>
                    <a:pt x="33" y="502"/>
                    <a:pt x="33" y="502"/>
                  </a:cubicBezTo>
                  <a:cubicBezTo>
                    <a:pt x="32" y="502"/>
                    <a:pt x="32" y="502"/>
                    <a:pt x="32" y="502"/>
                  </a:cubicBezTo>
                  <a:cubicBezTo>
                    <a:pt x="32" y="503"/>
                    <a:pt x="32" y="503"/>
                    <a:pt x="32" y="503"/>
                  </a:cubicBezTo>
                  <a:cubicBezTo>
                    <a:pt x="32" y="503"/>
                    <a:pt x="32" y="503"/>
                    <a:pt x="32" y="503"/>
                  </a:cubicBezTo>
                  <a:cubicBezTo>
                    <a:pt x="32" y="503"/>
                    <a:pt x="32" y="503"/>
                    <a:pt x="32" y="503"/>
                  </a:cubicBezTo>
                  <a:cubicBezTo>
                    <a:pt x="32" y="504"/>
                    <a:pt x="32" y="504"/>
                    <a:pt x="32" y="504"/>
                  </a:cubicBezTo>
                  <a:cubicBezTo>
                    <a:pt x="33" y="504"/>
                    <a:pt x="33" y="504"/>
                    <a:pt x="33" y="504"/>
                  </a:cubicBezTo>
                  <a:cubicBezTo>
                    <a:pt x="34" y="503"/>
                    <a:pt x="34" y="503"/>
                    <a:pt x="34" y="503"/>
                  </a:cubicBezTo>
                  <a:cubicBezTo>
                    <a:pt x="34" y="502"/>
                    <a:pt x="34" y="502"/>
                    <a:pt x="34" y="502"/>
                  </a:cubicBezTo>
                  <a:cubicBezTo>
                    <a:pt x="34" y="503"/>
                    <a:pt x="34" y="503"/>
                    <a:pt x="34" y="503"/>
                  </a:cubicBezTo>
                  <a:cubicBezTo>
                    <a:pt x="34" y="504"/>
                    <a:pt x="34" y="504"/>
                    <a:pt x="34" y="504"/>
                  </a:cubicBezTo>
                  <a:cubicBezTo>
                    <a:pt x="34" y="504"/>
                    <a:pt x="34" y="504"/>
                    <a:pt x="34" y="504"/>
                  </a:cubicBezTo>
                  <a:cubicBezTo>
                    <a:pt x="35" y="504"/>
                    <a:pt x="35" y="504"/>
                    <a:pt x="35" y="504"/>
                  </a:cubicBezTo>
                  <a:cubicBezTo>
                    <a:pt x="35" y="504"/>
                    <a:pt x="35" y="504"/>
                    <a:pt x="35" y="504"/>
                  </a:cubicBezTo>
                  <a:cubicBezTo>
                    <a:pt x="35" y="504"/>
                    <a:pt x="35" y="504"/>
                    <a:pt x="35" y="504"/>
                  </a:cubicBezTo>
                  <a:cubicBezTo>
                    <a:pt x="36" y="504"/>
                    <a:pt x="36" y="504"/>
                    <a:pt x="36" y="504"/>
                  </a:cubicBezTo>
                  <a:cubicBezTo>
                    <a:pt x="36" y="504"/>
                    <a:pt x="36" y="504"/>
                    <a:pt x="36" y="504"/>
                  </a:cubicBezTo>
                  <a:cubicBezTo>
                    <a:pt x="36" y="503"/>
                    <a:pt x="36" y="503"/>
                    <a:pt x="36" y="503"/>
                  </a:cubicBezTo>
                  <a:cubicBezTo>
                    <a:pt x="37" y="503"/>
                    <a:pt x="37" y="503"/>
                    <a:pt x="37" y="503"/>
                  </a:cubicBezTo>
                  <a:cubicBezTo>
                    <a:pt x="37" y="504"/>
                    <a:pt x="37" y="504"/>
                    <a:pt x="37" y="504"/>
                  </a:cubicBezTo>
                  <a:cubicBezTo>
                    <a:pt x="37" y="504"/>
                    <a:pt x="37" y="504"/>
                    <a:pt x="37" y="504"/>
                  </a:cubicBezTo>
                  <a:cubicBezTo>
                    <a:pt x="38" y="504"/>
                    <a:pt x="38" y="504"/>
                    <a:pt x="38" y="504"/>
                  </a:cubicBezTo>
                  <a:cubicBezTo>
                    <a:pt x="38" y="503"/>
                    <a:pt x="38" y="503"/>
                    <a:pt x="38" y="503"/>
                  </a:cubicBezTo>
                  <a:cubicBezTo>
                    <a:pt x="38" y="503"/>
                    <a:pt x="38" y="503"/>
                    <a:pt x="38" y="503"/>
                  </a:cubicBezTo>
                  <a:cubicBezTo>
                    <a:pt x="38" y="503"/>
                    <a:pt x="38" y="503"/>
                    <a:pt x="38" y="503"/>
                  </a:cubicBezTo>
                  <a:cubicBezTo>
                    <a:pt x="38" y="503"/>
                    <a:pt x="38" y="503"/>
                    <a:pt x="38" y="503"/>
                  </a:cubicBezTo>
                  <a:cubicBezTo>
                    <a:pt x="39" y="504"/>
                    <a:pt x="39" y="504"/>
                    <a:pt x="39" y="504"/>
                  </a:cubicBezTo>
                  <a:cubicBezTo>
                    <a:pt x="39" y="504"/>
                    <a:pt x="39" y="504"/>
                    <a:pt x="39" y="504"/>
                  </a:cubicBezTo>
                  <a:cubicBezTo>
                    <a:pt x="39" y="505"/>
                    <a:pt x="39" y="505"/>
                    <a:pt x="39" y="505"/>
                  </a:cubicBezTo>
                  <a:cubicBezTo>
                    <a:pt x="35" y="505"/>
                    <a:pt x="35" y="505"/>
                    <a:pt x="35" y="505"/>
                  </a:cubicBezTo>
                  <a:cubicBezTo>
                    <a:pt x="35" y="507"/>
                    <a:pt x="35" y="507"/>
                    <a:pt x="35" y="507"/>
                  </a:cubicBezTo>
                  <a:cubicBezTo>
                    <a:pt x="37" y="507"/>
                    <a:pt x="37" y="507"/>
                    <a:pt x="37" y="507"/>
                  </a:cubicBezTo>
                  <a:cubicBezTo>
                    <a:pt x="38" y="507"/>
                    <a:pt x="38" y="507"/>
                    <a:pt x="38" y="507"/>
                  </a:cubicBezTo>
                  <a:cubicBezTo>
                    <a:pt x="41" y="504"/>
                    <a:pt x="41" y="504"/>
                    <a:pt x="41" y="504"/>
                  </a:cubicBezTo>
                  <a:cubicBezTo>
                    <a:pt x="42" y="504"/>
                    <a:pt x="42" y="504"/>
                    <a:pt x="42" y="504"/>
                  </a:cubicBezTo>
                  <a:cubicBezTo>
                    <a:pt x="46" y="504"/>
                    <a:pt x="46" y="504"/>
                    <a:pt x="46" y="504"/>
                  </a:cubicBezTo>
                  <a:cubicBezTo>
                    <a:pt x="46" y="504"/>
                    <a:pt x="46" y="504"/>
                    <a:pt x="46" y="504"/>
                  </a:cubicBezTo>
                  <a:cubicBezTo>
                    <a:pt x="43" y="504"/>
                    <a:pt x="43" y="504"/>
                    <a:pt x="43" y="504"/>
                  </a:cubicBezTo>
                  <a:cubicBezTo>
                    <a:pt x="41" y="505"/>
                    <a:pt x="41" y="505"/>
                    <a:pt x="41" y="505"/>
                  </a:cubicBezTo>
                  <a:cubicBezTo>
                    <a:pt x="39" y="507"/>
                    <a:pt x="39" y="507"/>
                    <a:pt x="39" y="507"/>
                  </a:cubicBezTo>
                  <a:cubicBezTo>
                    <a:pt x="37" y="508"/>
                    <a:pt x="37" y="508"/>
                    <a:pt x="37" y="508"/>
                  </a:cubicBezTo>
                  <a:cubicBezTo>
                    <a:pt x="36" y="509"/>
                    <a:pt x="36" y="509"/>
                    <a:pt x="36" y="509"/>
                  </a:cubicBezTo>
                  <a:cubicBezTo>
                    <a:pt x="34" y="510"/>
                    <a:pt x="34" y="510"/>
                    <a:pt x="34" y="510"/>
                  </a:cubicBezTo>
                  <a:cubicBezTo>
                    <a:pt x="34" y="511"/>
                    <a:pt x="34" y="511"/>
                    <a:pt x="34" y="511"/>
                  </a:cubicBezTo>
                  <a:cubicBezTo>
                    <a:pt x="33" y="513"/>
                    <a:pt x="33" y="513"/>
                    <a:pt x="33" y="513"/>
                  </a:cubicBezTo>
                  <a:cubicBezTo>
                    <a:pt x="32" y="514"/>
                    <a:pt x="32" y="514"/>
                    <a:pt x="32" y="514"/>
                  </a:cubicBezTo>
                  <a:cubicBezTo>
                    <a:pt x="33" y="514"/>
                    <a:pt x="33" y="514"/>
                    <a:pt x="33" y="514"/>
                  </a:cubicBezTo>
                  <a:cubicBezTo>
                    <a:pt x="35" y="514"/>
                    <a:pt x="35" y="514"/>
                    <a:pt x="35" y="514"/>
                  </a:cubicBezTo>
                  <a:cubicBezTo>
                    <a:pt x="36" y="514"/>
                    <a:pt x="36" y="514"/>
                    <a:pt x="36" y="514"/>
                  </a:cubicBezTo>
                  <a:cubicBezTo>
                    <a:pt x="35" y="515"/>
                    <a:pt x="35" y="515"/>
                    <a:pt x="35" y="515"/>
                  </a:cubicBezTo>
                  <a:cubicBezTo>
                    <a:pt x="33" y="515"/>
                    <a:pt x="33" y="515"/>
                    <a:pt x="33" y="515"/>
                  </a:cubicBezTo>
                  <a:cubicBezTo>
                    <a:pt x="32" y="516"/>
                    <a:pt x="32" y="516"/>
                    <a:pt x="32" y="516"/>
                  </a:cubicBezTo>
                  <a:cubicBezTo>
                    <a:pt x="30" y="516"/>
                    <a:pt x="30" y="516"/>
                    <a:pt x="30" y="516"/>
                  </a:cubicBezTo>
                  <a:cubicBezTo>
                    <a:pt x="29" y="517"/>
                    <a:pt x="29" y="517"/>
                    <a:pt x="29" y="517"/>
                  </a:cubicBezTo>
                  <a:cubicBezTo>
                    <a:pt x="28" y="518"/>
                    <a:pt x="28" y="518"/>
                    <a:pt x="28" y="518"/>
                  </a:cubicBezTo>
                  <a:cubicBezTo>
                    <a:pt x="28" y="519"/>
                    <a:pt x="28" y="519"/>
                    <a:pt x="28" y="519"/>
                  </a:cubicBezTo>
                  <a:cubicBezTo>
                    <a:pt x="29" y="520"/>
                    <a:pt x="29" y="520"/>
                    <a:pt x="29" y="520"/>
                  </a:cubicBezTo>
                  <a:cubicBezTo>
                    <a:pt x="29" y="521"/>
                    <a:pt x="29" y="521"/>
                    <a:pt x="29" y="521"/>
                  </a:cubicBezTo>
                  <a:cubicBezTo>
                    <a:pt x="30" y="522"/>
                    <a:pt x="30" y="522"/>
                    <a:pt x="30" y="522"/>
                  </a:cubicBezTo>
                  <a:cubicBezTo>
                    <a:pt x="31" y="522"/>
                    <a:pt x="31" y="522"/>
                    <a:pt x="31" y="522"/>
                  </a:cubicBezTo>
                  <a:cubicBezTo>
                    <a:pt x="32" y="521"/>
                    <a:pt x="32" y="521"/>
                    <a:pt x="32" y="521"/>
                  </a:cubicBezTo>
                  <a:cubicBezTo>
                    <a:pt x="32" y="521"/>
                    <a:pt x="32" y="521"/>
                    <a:pt x="32" y="521"/>
                  </a:cubicBezTo>
                  <a:cubicBezTo>
                    <a:pt x="32" y="522"/>
                    <a:pt x="32" y="522"/>
                    <a:pt x="32" y="522"/>
                  </a:cubicBezTo>
                  <a:cubicBezTo>
                    <a:pt x="33" y="523"/>
                    <a:pt x="33" y="523"/>
                    <a:pt x="33" y="523"/>
                  </a:cubicBezTo>
                  <a:cubicBezTo>
                    <a:pt x="33" y="523"/>
                    <a:pt x="33" y="523"/>
                    <a:pt x="33" y="523"/>
                  </a:cubicBezTo>
                  <a:cubicBezTo>
                    <a:pt x="33" y="523"/>
                    <a:pt x="33" y="523"/>
                    <a:pt x="33" y="523"/>
                  </a:cubicBezTo>
                  <a:cubicBezTo>
                    <a:pt x="32" y="524"/>
                    <a:pt x="32" y="524"/>
                    <a:pt x="32" y="524"/>
                  </a:cubicBezTo>
                  <a:cubicBezTo>
                    <a:pt x="31" y="524"/>
                    <a:pt x="31" y="524"/>
                    <a:pt x="31" y="524"/>
                  </a:cubicBezTo>
                  <a:cubicBezTo>
                    <a:pt x="31" y="525"/>
                    <a:pt x="31" y="525"/>
                    <a:pt x="31" y="525"/>
                  </a:cubicBezTo>
                  <a:cubicBezTo>
                    <a:pt x="31" y="526"/>
                    <a:pt x="31" y="526"/>
                    <a:pt x="31" y="526"/>
                  </a:cubicBezTo>
                  <a:cubicBezTo>
                    <a:pt x="33" y="528"/>
                    <a:pt x="33" y="528"/>
                    <a:pt x="33" y="528"/>
                  </a:cubicBezTo>
                  <a:cubicBezTo>
                    <a:pt x="36" y="524"/>
                    <a:pt x="36" y="524"/>
                    <a:pt x="36" y="524"/>
                  </a:cubicBezTo>
                  <a:cubicBezTo>
                    <a:pt x="37" y="523"/>
                    <a:pt x="37" y="523"/>
                    <a:pt x="37" y="523"/>
                  </a:cubicBezTo>
                  <a:cubicBezTo>
                    <a:pt x="41" y="522"/>
                    <a:pt x="41" y="522"/>
                    <a:pt x="41" y="522"/>
                  </a:cubicBezTo>
                  <a:cubicBezTo>
                    <a:pt x="42" y="521"/>
                    <a:pt x="42" y="521"/>
                    <a:pt x="42" y="521"/>
                  </a:cubicBezTo>
                  <a:cubicBezTo>
                    <a:pt x="51" y="519"/>
                    <a:pt x="51" y="519"/>
                    <a:pt x="51" y="519"/>
                  </a:cubicBezTo>
                  <a:cubicBezTo>
                    <a:pt x="51" y="520"/>
                    <a:pt x="51" y="520"/>
                    <a:pt x="51" y="520"/>
                  </a:cubicBezTo>
                  <a:cubicBezTo>
                    <a:pt x="38" y="524"/>
                    <a:pt x="38" y="524"/>
                    <a:pt x="38" y="524"/>
                  </a:cubicBezTo>
                  <a:cubicBezTo>
                    <a:pt x="36" y="525"/>
                    <a:pt x="36" y="525"/>
                    <a:pt x="36" y="525"/>
                  </a:cubicBezTo>
                  <a:cubicBezTo>
                    <a:pt x="35" y="526"/>
                    <a:pt x="35" y="526"/>
                    <a:pt x="35" y="526"/>
                  </a:cubicBezTo>
                  <a:cubicBezTo>
                    <a:pt x="34" y="527"/>
                    <a:pt x="34" y="527"/>
                    <a:pt x="34" y="527"/>
                  </a:cubicBezTo>
                  <a:cubicBezTo>
                    <a:pt x="34" y="528"/>
                    <a:pt x="34" y="528"/>
                    <a:pt x="34" y="528"/>
                  </a:cubicBezTo>
                  <a:cubicBezTo>
                    <a:pt x="34" y="529"/>
                    <a:pt x="34" y="529"/>
                    <a:pt x="34" y="529"/>
                  </a:cubicBezTo>
                  <a:cubicBezTo>
                    <a:pt x="34" y="530"/>
                    <a:pt x="34" y="530"/>
                    <a:pt x="34" y="530"/>
                  </a:cubicBezTo>
                  <a:cubicBezTo>
                    <a:pt x="34" y="530"/>
                    <a:pt x="34" y="530"/>
                    <a:pt x="34" y="530"/>
                  </a:cubicBezTo>
                  <a:cubicBezTo>
                    <a:pt x="35" y="531"/>
                    <a:pt x="35" y="531"/>
                    <a:pt x="35" y="531"/>
                  </a:cubicBezTo>
                  <a:cubicBezTo>
                    <a:pt x="35" y="531"/>
                    <a:pt x="35" y="531"/>
                    <a:pt x="35" y="531"/>
                  </a:cubicBezTo>
                  <a:cubicBezTo>
                    <a:pt x="38" y="532"/>
                    <a:pt x="38" y="532"/>
                    <a:pt x="38" y="532"/>
                  </a:cubicBezTo>
                  <a:cubicBezTo>
                    <a:pt x="39" y="532"/>
                    <a:pt x="39" y="532"/>
                    <a:pt x="39" y="532"/>
                  </a:cubicBezTo>
                  <a:cubicBezTo>
                    <a:pt x="36" y="532"/>
                    <a:pt x="36" y="532"/>
                    <a:pt x="36" y="532"/>
                  </a:cubicBezTo>
                  <a:cubicBezTo>
                    <a:pt x="35" y="532"/>
                    <a:pt x="35" y="532"/>
                    <a:pt x="35" y="532"/>
                  </a:cubicBezTo>
                  <a:cubicBezTo>
                    <a:pt x="31" y="528"/>
                    <a:pt x="31" y="528"/>
                    <a:pt x="31" y="528"/>
                  </a:cubicBezTo>
                  <a:cubicBezTo>
                    <a:pt x="31" y="528"/>
                    <a:pt x="31" y="528"/>
                    <a:pt x="31" y="528"/>
                  </a:cubicBezTo>
                  <a:cubicBezTo>
                    <a:pt x="30" y="527"/>
                    <a:pt x="30" y="527"/>
                    <a:pt x="30" y="527"/>
                  </a:cubicBezTo>
                  <a:cubicBezTo>
                    <a:pt x="29" y="526"/>
                    <a:pt x="29" y="526"/>
                    <a:pt x="29" y="526"/>
                  </a:cubicBezTo>
                  <a:cubicBezTo>
                    <a:pt x="29" y="525"/>
                    <a:pt x="29" y="525"/>
                    <a:pt x="29" y="525"/>
                  </a:cubicBezTo>
                  <a:cubicBezTo>
                    <a:pt x="28" y="525"/>
                    <a:pt x="28" y="525"/>
                    <a:pt x="28" y="525"/>
                  </a:cubicBezTo>
                  <a:cubicBezTo>
                    <a:pt x="28" y="525"/>
                    <a:pt x="28" y="525"/>
                    <a:pt x="28" y="525"/>
                  </a:cubicBezTo>
                  <a:cubicBezTo>
                    <a:pt x="27" y="525"/>
                    <a:pt x="27" y="525"/>
                    <a:pt x="27" y="525"/>
                  </a:cubicBezTo>
                  <a:cubicBezTo>
                    <a:pt x="26" y="525"/>
                    <a:pt x="26" y="525"/>
                    <a:pt x="26" y="525"/>
                  </a:cubicBezTo>
                  <a:cubicBezTo>
                    <a:pt x="26" y="526"/>
                    <a:pt x="26" y="526"/>
                    <a:pt x="26" y="526"/>
                  </a:cubicBezTo>
                  <a:cubicBezTo>
                    <a:pt x="26" y="527"/>
                    <a:pt x="26" y="527"/>
                    <a:pt x="26" y="527"/>
                  </a:cubicBezTo>
                  <a:cubicBezTo>
                    <a:pt x="26" y="527"/>
                    <a:pt x="26" y="527"/>
                    <a:pt x="26" y="527"/>
                  </a:cubicBezTo>
                  <a:cubicBezTo>
                    <a:pt x="25" y="527"/>
                    <a:pt x="25" y="527"/>
                    <a:pt x="25" y="527"/>
                  </a:cubicBezTo>
                  <a:cubicBezTo>
                    <a:pt x="24" y="527"/>
                    <a:pt x="24" y="527"/>
                    <a:pt x="24" y="527"/>
                  </a:cubicBezTo>
                  <a:cubicBezTo>
                    <a:pt x="23" y="530"/>
                    <a:pt x="23" y="530"/>
                    <a:pt x="23" y="530"/>
                  </a:cubicBezTo>
                  <a:cubicBezTo>
                    <a:pt x="23" y="529"/>
                    <a:pt x="23" y="529"/>
                    <a:pt x="23" y="529"/>
                  </a:cubicBezTo>
                  <a:cubicBezTo>
                    <a:pt x="23" y="527"/>
                    <a:pt x="23" y="527"/>
                    <a:pt x="23" y="527"/>
                  </a:cubicBezTo>
                  <a:cubicBezTo>
                    <a:pt x="23" y="526"/>
                    <a:pt x="23" y="526"/>
                    <a:pt x="23" y="526"/>
                  </a:cubicBezTo>
                  <a:cubicBezTo>
                    <a:pt x="23" y="524"/>
                    <a:pt x="23" y="524"/>
                    <a:pt x="23" y="524"/>
                  </a:cubicBezTo>
                  <a:cubicBezTo>
                    <a:pt x="19" y="521"/>
                    <a:pt x="19" y="521"/>
                    <a:pt x="19" y="521"/>
                  </a:cubicBezTo>
                  <a:cubicBezTo>
                    <a:pt x="18" y="522"/>
                    <a:pt x="18" y="522"/>
                    <a:pt x="18" y="522"/>
                  </a:cubicBezTo>
                  <a:cubicBezTo>
                    <a:pt x="18" y="523"/>
                    <a:pt x="18" y="523"/>
                    <a:pt x="18" y="523"/>
                  </a:cubicBezTo>
                  <a:cubicBezTo>
                    <a:pt x="18" y="523"/>
                    <a:pt x="18" y="523"/>
                    <a:pt x="18" y="523"/>
                  </a:cubicBezTo>
                  <a:cubicBezTo>
                    <a:pt x="18" y="524"/>
                    <a:pt x="18" y="524"/>
                    <a:pt x="18" y="524"/>
                  </a:cubicBezTo>
                  <a:cubicBezTo>
                    <a:pt x="19" y="524"/>
                    <a:pt x="19" y="524"/>
                    <a:pt x="19" y="524"/>
                  </a:cubicBezTo>
                  <a:cubicBezTo>
                    <a:pt x="20" y="524"/>
                    <a:pt x="20" y="524"/>
                    <a:pt x="20" y="524"/>
                  </a:cubicBezTo>
                  <a:cubicBezTo>
                    <a:pt x="19" y="524"/>
                    <a:pt x="19" y="524"/>
                    <a:pt x="19" y="524"/>
                  </a:cubicBezTo>
                  <a:cubicBezTo>
                    <a:pt x="19" y="524"/>
                    <a:pt x="19" y="524"/>
                    <a:pt x="19" y="524"/>
                  </a:cubicBezTo>
                  <a:cubicBezTo>
                    <a:pt x="19" y="524"/>
                    <a:pt x="19" y="524"/>
                    <a:pt x="19" y="524"/>
                  </a:cubicBezTo>
                  <a:cubicBezTo>
                    <a:pt x="19" y="524"/>
                    <a:pt x="19" y="524"/>
                    <a:pt x="19" y="524"/>
                  </a:cubicBezTo>
                  <a:cubicBezTo>
                    <a:pt x="20" y="526"/>
                    <a:pt x="20" y="526"/>
                    <a:pt x="20" y="526"/>
                  </a:cubicBezTo>
                  <a:cubicBezTo>
                    <a:pt x="20" y="527"/>
                    <a:pt x="20" y="527"/>
                    <a:pt x="20" y="527"/>
                  </a:cubicBezTo>
                  <a:cubicBezTo>
                    <a:pt x="21" y="527"/>
                    <a:pt x="21" y="527"/>
                    <a:pt x="21" y="527"/>
                  </a:cubicBezTo>
                  <a:cubicBezTo>
                    <a:pt x="20" y="528"/>
                    <a:pt x="20" y="528"/>
                    <a:pt x="20" y="528"/>
                  </a:cubicBezTo>
                  <a:cubicBezTo>
                    <a:pt x="20" y="528"/>
                    <a:pt x="20" y="528"/>
                    <a:pt x="20" y="528"/>
                  </a:cubicBezTo>
                  <a:cubicBezTo>
                    <a:pt x="19" y="526"/>
                    <a:pt x="19" y="526"/>
                    <a:pt x="19" y="526"/>
                  </a:cubicBezTo>
                  <a:cubicBezTo>
                    <a:pt x="19" y="526"/>
                    <a:pt x="19" y="526"/>
                    <a:pt x="19" y="526"/>
                  </a:cubicBezTo>
                  <a:cubicBezTo>
                    <a:pt x="18" y="525"/>
                    <a:pt x="18" y="525"/>
                    <a:pt x="18" y="525"/>
                  </a:cubicBezTo>
                  <a:cubicBezTo>
                    <a:pt x="18" y="525"/>
                    <a:pt x="18" y="525"/>
                    <a:pt x="18" y="525"/>
                  </a:cubicBezTo>
                  <a:cubicBezTo>
                    <a:pt x="18" y="526"/>
                    <a:pt x="18" y="526"/>
                    <a:pt x="18" y="526"/>
                  </a:cubicBezTo>
                  <a:cubicBezTo>
                    <a:pt x="18" y="527"/>
                    <a:pt x="18" y="527"/>
                    <a:pt x="18" y="527"/>
                  </a:cubicBezTo>
                  <a:cubicBezTo>
                    <a:pt x="19" y="527"/>
                    <a:pt x="19" y="527"/>
                    <a:pt x="19" y="527"/>
                  </a:cubicBezTo>
                  <a:cubicBezTo>
                    <a:pt x="19" y="528"/>
                    <a:pt x="19" y="528"/>
                    <a:pt x="19" y="528"/>
                  </a:cubicBezTo>
                  <a:cubicBezTo>
                    <a:pt x="19" y="528"/>
                    <a:pt x="19" y="528"/>
                    <a:pt x="19" y="528"/>
                  </a:cubicBezTo>
                  <a:cubicBezTo>
                    <a:pt x="19" y="529"/>
                    <a:pt x="19" y="529"/>
                    <a:pt x="19" y="529"/>
                  </a:cubicBezTo>
                  <a:cubicBezTo>
                    <a:pt x="19" y="529"/>
                    <a:pt x="19" y="529"/>
                    <a:pt x="19" y="529"/>
                  </a:cubicBezTo>
                  <a:cubicBezTo>
                    <a:pt x="19" y="530"/>
                    <a:pt x="19" y="530"/>
                    <a:pt x="19" y="530"/>
                  </a:cubicBezTo>
                  <a:cubicBezTo>
                    <a:pt x="19" y="530"/>
                    <a:pt x="19" y="530"/>
                    <a:pt x="19" y="530"/>
                  </a:cubicBezTo>
                  <a:cubicBezTo>
                    <a:pt x="18" y="530"/>
                    <a:pt x="18" y="530"/>
                    <a:pt x="18" y="530"/>
                  </a:cubicBezTo>
                  <a:cubicBezTo>
                    <a:pt x="18" y="530"/>
                    <a:pt x="18" y="530"/>
                    <a:pt x="18" y="530"/>
                  </a:cubicBezTo>
                  <a:cubicBezTo>
                    <a:pt x="18" y="531"/>
                    <a:pt x="18" y="531"/>
                    <a:pt x="18" y="531"/>
                  </a:cubicBezTo>
                  <a:cubicBezTo>
                    <a:pt x="18" y="533"/>
                    <a:pt x="18" y="533"/>
                    <a:pt x="18" y="533"/>
                  </a:cubicBezTo>
                  <a:cubicBezTo>
                    <a:pt x="18" y="534"/>
                    <a:pt x="18" y="534"/>
                    <a:pt x="18" y="534"/>
                  </a:cubicBezTo>
                  <a:cubicBezTo>
                    <a:pt x="18" y="534"/>
                    <a:pt x="18" y="534"/>
                    <a:pt x="18" y="534"/>
                  </a:cubicBezTo>
                  <a:cubicBezTo>
                    <a:pt x="18" y="535"/>
                    <a:pt x="18" y="535"/>
                    <a:pt x="18" y="535"/>
                  </a:cubicBezTo>
                  <a:cubicBezTo>
                    <a:pt x="17" y="536"/>
                    <a:pt x="17" y="536"/>
                    <a:pt x="17" y="536"/>
                  </a:cubicBezTo>
                  <a:cubicBezTo>
                    <a:pt x="16" y="537"/>
                    <a:pt x="16" y="537"/>
                    <a:pt x="16" y="537"/>
                  </a:cubicBezTo>
                  <a:cubicBezTo>
                    <a:pt x="17" y="538"/>
                    <a:pt x="17" y="538"/>
                    <a:pt x="17" y="538"/>
                  </a:cubicBezTo>
                  <a:cubicBezTo>
                    <a:pt x="18" y="539"/>
                    <a:pt x="18" y="539"/>
                    <a:pt x="18" y="539"/>
                  </a:cubicBezTo>
                  <a:cubicBezTo>
                    <a:pt x="18" y="540"/>
                    <a:pt x="18" y="540"/>
                    <a:pt x="18" y="540"/>
                  </a:cubicBezTo>
                  <a:cubicBezTo>
                    <a:pt x="18" y="542"/>
                    <a:pt x="18" y="542"/>
                    <a:pt x="18" y="542"/>
                  </a:cubicBezTo>
                  <a:cubicBezTo>
                    <a:pt x="19" y="544"/>
                    <a:pt x="19" y="544"/>
                    <a:pt x="19" y="544"/>
                  </a:cubicBezTo>
                  <a:cubicBezTo>
                    <a:pt x="20" y="546"/>
                    <a:pt x="20" y="546"/>
                    <a:pt x="20" y="546"/>
                  </a:cubicBezTo>
                  <a:cubicBezTo>
                    <a:pt x="22" y="548"/>
                    <a:pt x="22" y="548"/>
                    <a:pt x="22" y="548"/>
                  </a:cubicBezTo>
                  <a:cubicBezTo>
                    <a:pt x="21" y="549"/>
                    <a:pt x="21" y="549"/>
                    <a:pt x="21" y="549"/>
                  </a:cubicBezTo>
                  <a:cubicBezTo>
                    <a:pt x="23" y="550"/>
                    <a:pt x="23" y="550"/>
                    <a:pt x="23" y="550"/>
                  </a:cubicBezTo>
                  <a:cubicBezTo>
                    <a:pt x="24" y="550"/>
                    <a:pt x="24" y="550"/>
                    <a:pt x="24" y="550"/>
                  </a:cubicBezTo>
                  <a:cubicBezTo>
                    <a:pt x="25" y="550"/>
                    <a:pt x="25" y="550"/>
                    <a:pt x="25" y="550"/>
                  </a:cubicBezTo>
                  <a:cubicBezTo>
                    <a:pt x="26" y="552"/>
                    <a:pt x="26" y="552"/>
                    <a:pt x="26" y="552"/>
                  </a:cubicBezTo>
                  <a:cubicBezTo>
                    <a:pt x="27" y="553"/>
                    <a:pt x="27" y="553"/>
                    <a:pt x="27" y="553"/>
                  </a:cubicBezTo>
                  <a:cubicBezTo>
                    <a:pt x="30" y="552"/>
                    <a:pt x="30" y="552"/>
                    <a:pt x="30" y="552"/>
                  </a:cubicBezTo>
                  <a:cubicBezTo>
                    <a:pt x="31" y="553"/>
                    <a:pt x="31" y="553"/>
                    <a:pt x="31" y="553"/>
                  </a:cubicBezTo>
                  <a:cubicBezTo>
                    <a:pt x="31" y="553"/>
                    <a:pt x="31" y="553"/>
                    <a:pt x="31" y="553"/>
                  </a:cubicBezTo>
                  <a:cubicBezTo>
                    <a:pt x="31" y="554"/>
                    <a:pt x="31" y="554"/>
                    <a:pt x="31" y="554"/>
                  </a:cubicBezTo>
                  <a:cubicBezTo>
                    <a:pt x="31" y="555"/>
                    <a:pt x="31" y="555"/>
                    <a:pt x="31" y="555"/>
                  </a:cubicBezTo>
                  <a:cubicBezTo>
                    <a:pt x="31" y="555"/>
                    <a:pt x="31" y="555"/>
                    <a:pt x="31" y="555"/>
                  </a:cubicBezTo>
                  <a:cubicBezTo>
                    <a:pt x="31" y="556"/>
                    <a:pt x="31" y="556"/>
                    <a:pt x="31" y="556"/>
                  </a:cubicBezTo>
                  <a:cubicBezTo>
                    <a:pt x="31" y="556"/>
                    <a:pt x="31" y="556"/>
                    <a:pt x="31" y="556"/>
                  </a:cubicBezTo>
                  <a:cubicBezTo>
                    <a:pt x="31" y="557"/>
                    <a:pt x="31" y="557"/>
                    <a:pt x="31" y="557"/>
                  </a:cubicBezTo>
                  <a:cubicBezTo>
                    <a:pt x="32" y="558"/>
                    <a:pt x="32" y="558"/>
                    <a:pt x="32" y="558"/>
                  </a:cubicBezTo>
                  <a:cubicBezTo>
                    <a:pt x="32" y="558"/>
                    <a:pt x="32" y="558"/>
                    <a:pt x="32" y="558"/>
                  </a:cubicBezTo>
                  <a:cubicBezTo>
                    <a:pt x="32" y="558"/>
                    <a:pt x="32" y="558"/>
                    <a:pt x="32" y="558"/>
                  </a:cubicBezTo>
                  <a:cubicBezTo>
                    <a:pt x="33" y="558"/>
                    <a:pt x="33" y="558"/>
                    <a:pt x="33" y="558"/>
                  </a:cubicBezTo>
                  <a:cubicBezTo>
                    <a:pt x="34" y="559"/>
                    <a:pt x="34" y="559"/>
                    <a:pt x="34" y="559"/>
                  </a:cubicBezTo>
                  <a:cubicBezTo>
                    <a:pt x="35" y="560"/>
                    <a:pt x="35" y="560"/>
                    <a:pt x="35" y="560"/>
                  </a:cubicBezTo>
                  <a:cubicBezTo>
                    <a:pt x="36" y="561"/>
                    <a:pt x="36" y="561"/>
                    <a:pt x="36" y="561"/>
                  </a:cubicBezTo>
                  <a:cubicBezTo>
                    <a:pt x="38" y="561"/>
                    <a:pt x="38" y="561"/>
                    <a:pt x="38" y="561"/>
                  </a:cubicBezTo>
                  <a:cubicBezTo>
                    <a:pt x="38" y="561"/>
                    <a:pt x="38" y="561"/>
                    <a:pt x="38" y="561"/>
                  </a:cubicBezTo>
                  <a:cubicBezTo>
                    <a:pt x="39" y="562"/>
                    <a:pt x="39" y="562"/>
                    <a:pt x="39" y="562"/>
                  </a:cubicBezTo>
                  <a:cubicBezTo>
                    <a:pt x="39" y="562"/>
                    <a:pt x="39" y="562"/>
                    <a:pt x="39" y="562"/>
                  </a:cubicBezTo>
                  <a:cubicBezTo>
                    <a:pt x="40" y="562"/>
                    <a:pt x="40" y="562"/>
                    <a:pt x="40" y="562"/>
                  </a:cubicBezTo>
                  <a:cubicBezTo>
                    <a:pt x="40" y="562"/>
                    <a:pt x="40" y="562"/>
                    <a:pt x="40" y="562"/>
                  </a:cubicBezTo>
                  <a:cubicBezTo>
                    <a:pt x="41" y="562"/>
                    <a:pt x="41" y="562"/>
                    <a:pt x="41" y="562"/>
                  </a:cubicBezTo>
                  <a:cubicBezTo>
                    <a:pt x="42" y="564"/>
                    <a:pt x="42" y="564"/>
                    <a:pt x="42" y="564"/>
                  </a:cubicBezTo>
                  <a:cubicBezTo>
                    <a:pt x="44" y="564"/>
                    <a:pt x="44" y="564"/>
                    <a:pt x="44" y="564"/>
                  </a:cubicBezTo>
                  <a:cubicBezTo>
                    <a:pt x="47" y="565"/>
                    <a:pt x="47" y="565"/>
                    <a:pt x="47" y="565"/>
                  </a:cubicBezTo>
                  <a:cubicBezTo>
                    <a:pt x="49" y="566"/>
                    <a:pt x="49" y="566"/>
                    <a:pt x="49" y="566"/>
                  </a:cubicBezTo>
                  <a:cubicBezTo>
                    <a:pt x="51" y="566"/>
                    <a:pt x="51" y="566"/>
                    <a:pt x="51" y="566"/>
                  </a:cubicBezTo>
                  <a:cubicBezTo>
                    <a:pt x="51" y="565"/>
                    <a:pt x="51" y="565"/>
                    <a:pt x="51" y="565"/>
                  </a:cubicBezTo>
                  <a:cubicBezTo>
                    <a:pt x="51" y="562"/>
                    <a:pt x="51" y="562"/>
                    <a:pt x="51" y="562"/>
                  </a:cubicBezTo>
                  <a:cubicBezTo>
                    <a:pt x="51" y="562"/>
                    <a:pt x="51" y="562"/>
                    <a:pt x="51" y="562"/>
                  </a:cubicBezTo>
                  <a:cubicBezTo>
                    <a:pt x="52" y="562"/>
                    <a:pt x="52" y="562"/>
                    <a:pt x="52" y="562"/>
                  </a:cubicBezTo>
                  <a:cubicBezTo>
                    <a:pt x="52" y="561"/>
                    <a:pt x="52" y="561"/>
                    <a:pt x="52" y="561"/>
                  </a:cubicBezTo>
                  <a:cubicBezTo>
                    <a:pt x="53" y="562"/>
                    <a:pt x="53" y="562"/>
                    <a:pt x="53" y="562"/>
                  </a:cubicBezTo>
                  <a:cubicBezTo>
                    <a:pt x="53" y="563"/>
                    <a:pt x="53" y="563"/>
                    <a:pt x="53" y="563"/>
                  </a:cubicBezTo>
                  <a:cubicBezTo>
                    <a:pt x="52" y="563"/>
                    <a:pt x="52" y="563"/>
                    <a:pt x="52" y="563"/>
                  </a:cubicBezTo>
                  <a:cubicBezTo>
                    <a:pt x="51" y="563"/>
                    <a:pt x="51" y="563"/>
                    <a:pt x="51" y="563"/>
                  </a:cubicBezTo>
                  <a:cubicBezTo>
                    <a:pt x="51" y="563"/>
                    <a:pt x="51" y="563"/>
                    <a:pt x="51" y="563"/>
                  </a:cubicBezTo>
                  <a:cubicBezTo>
                    <a:pt x="51" y="564"/>
                    <a:pt x="51" y="564"/>
                    <a:pt x="51" y="564"/>
                  </a:cubicBezTo>
                  <a:cubicBezTo>
                    <a:pt x="51" y="565"/>
                    <a:pt x="51" y="565"/>
                    <a:pt x="51" y="565"/>
                  </a:cubicBezTo>
                  <a:cubicBezTo>
                    <a:pt x="52" y="567"/>
                    <a:pt x="52" y="567"/>
                    <a:pt x="52" y="567"/>
                  </a:cubicBezTo>
                  <a:cubicBezTo>
                    <a:pt x="52" y="567"/>
                    <a:pt x="52" y="567"/>
                    <a:pt x="52" y="567"/>
                  </a:cubicBezTo>
                  <a:cubicBezTo>
                    <a:pt x="53" y="567"/>
                    <a:pt x="53" y="567"/>
                    <a:pt x="53" y="567"/>
                  </a:cubicBezTo>
                  <a:cubicBezTo>
                    <a:pt x="54" y="566"/>
                    <a:pt x="54" y="566"/>
                    <a:pt x="54" y="566"/>
                  </a:cubicBezTo>
                  <a:cubicBezTo>
                    <a:pt x="56" y="565"/>
                    <a:pt x="56" y="565"/>
                    <a:pt x="56" y="565"/>
                  </a:cubicBezTo>
                  <a:cubicBezTo>
                    <a:pt x="57" y="564"/>
                    <a:pt x="57" y="564"/>
                    <a:pt x="57" y="564"/>
                  </a:cubicBezTo>
                  <a:cubicBezTo>
                    <a:pt x="57" y="565"/>
                    <a:pt x="57" y="565"/>
                    <a:pt x="57" y="565"/>
                  </a:cubicBezTo>
                  <a:cubicBezTo>
                    <a:pt x="55" y="566"/>
                    <a:pt x="55" y="566"/>
                    <a:pt x="55" y="566"/>
                  </a:cubicBezTo>
                  <a:cubicBezTo>
                    <a:pt x="54" y="567"/>
                    <a:pt x="54" y="567"/>
                    <a:pt x="54" y="567"/>
                  </a:cubicBezTo>
                  <a:cubicBezTo>
                    <a:pt x="52" y="568"/>
                    <a:pt x="52" y="568"/>
                    <a:pt x="52" y="568"/>
                  </a:cubicBezTo>
                  <a:cubicBezTo>
                    <a:pt x="51" y="569"/>
                    <a:pt x="51" y="569"/>
                    <a:pt x="51" y="569"/>
                  </a:cubicBezTo>
                  <a:cubicBezTo>
                    <a:pt x="52" y="569"/>
                    <a:pt x="52" y="569"/>
                    <a:pt x="52" y="569"/>
                  </a:cubicBezTo>
                  <a:cubicBezTo>
                    <a:pt x="52" y="570"/>
                    <a:pt x="52" y="570"/>
                    <a:pt x="52" y="570"/>
                  </a:cubicBezTo>
                  <a:cubicBezTo>
                    <a:pt x="51" y="570"/>
                    <a:pt x="51" y="570"/>
                    <a:pt x="51" y="570"/>
                  </a:cubicBezTo>
                  <a:cubicBezTo>
                    <a:pt x="50" y="570"/>
                    <a:pt x="50" y="570"/>
                    <a:pt x="50" y="570"/>
                  </a:cubicBezTo>
                  <a:cubicBezTo>
                    <a:pt x="49" y="570"/>
                    <a:pt x="49" y="570"/>
                    <a:pt x="49" y="570"/>
                  </a:cubicBezTo>
                  <a:cubicBezTo>
                    <a:pt x="49" y="572"/>
                    <a:pt x="49" y="572"/>
                    <a:pt x="49" y="572"/>
                  </a:cubicBezTo>
                  <a:cubicBezTo>
                    <a:pt x="49" y="572"/>
                    <a:pt x="49" y="572"/>
                    <a:pt x="49" y="572"/>
                  </a:cubicBezTo>
                  <a:cubicBezTo>
                    <a:pt x="48" y="573"/>
                    <a:pt x="48" y="573"/>
                    <a:pt x="48" y="573"/>
                  </a:cubicBezTo>
                  <a:cubicBezTo>
                    <a:pt x="48" y="573"/>
                    <a:pt x="48" y="573"/>
                    <a:pt x="48" y="573"/>
                  </a:cubicBezTo>
                  <a:cubicBezTo>
                    <a:pt x="48" y="574"/>
                    <a:pt x="48" y="574"/>
                    <a:pt x="48" y="574"/>
                  </a:cubicBezTo>
                  <a:cubicBezTo>
                    <a:pt x="50" y="576"/>
                    <a:pt x="50" y="576"/>
                    <a:pt x="50" y="576"/>
                  </a:cubicBezTo>
                  <a:cubicBezTo>
                    <a:pt x="50" y="576"/>
                    <a:pt x="50" y="576"/>
                    <a:pt x="50" y="576"/>
                  </a:cubicBezTo>
                  <a:cubicBezTo>
                    <a:pt x="54" y="576"/>
                    <a:pt x="54" y="576"/>
                    <a:pt x="54" y="576"/>
                  </a:cubicBezTo>
                  <a:cubicBezTo>
                    <a:pt x="54" y="576"/>
                    <a:pt x="54" y="576"/>
                    <a:pt x="54" y="576"/>
                  </a:cubicBezTo>
                  <a:cubicBezTo>
                    <a:pt x="54" y="577"/>
                    <a:pt x="54" y="577"/>
                    <a:pt x="54" y="577"/>
                  </a:cubicBezTo>
                  <a:cubicBezTo>
                    <a:pt x="55" y="576"/>
                    <a:pt x="55" y="576"/>
                    <a:pt x="55" y="576"/>
                  </a:cubicBezTo>
                  <a:cubicBezTo>
                    <a:pt x="55" y="576"/>
                    <a:pt x="55" y="576"/>
                    <a:pt x="55" y="576"/>
                  </a:cubicBezTo>
                  <a:cubicBezTo>
                    <a:pt x="55" y="576"/>
                    <a:pt x="55" y="576"/>
                    <a:pt x="55" y="576"/>
                  </a:cubicBezTo>
                  <a:cubicBezTo>
                    <a:pt x="55" y="576"/>
                    <a:pt x="55" y="576"/>
                    <a:pt x="55" y="576"/>
                  </a:cubicBezTo>
                  <a:cubicBezTo>
                    <a:pt x="54" y="575"/>
                    <a:pt x="54" y="575"/>
                    <a:pt x="54" y="575"/>
                  </a:cubicBezTo>
                  <a:cubicBezTo>
                    <a:pt x="54" y="575"/>
                    <a:pt x="54" y="575"/>
                    <a:pt x="54" y="575"/>
                  </a:cubicBezTo>
                  <a:cubicBezTo>
                    <a:pt x="54" y="574"/>
                    <a:pt x="54" y="574"/>
                    <a:pt x="54" y="574"/>
                  </a:cubicBezTo>
                  <a:cubicBezTo>
                    <a:pt x="53" y="574"/>
                    <a:pt x="53" y="574"/>
                    <a:pt x="53" y="574"/>
                  </a:cubicBezTo>
                  <a:cubicBezTo>
                    <a:pt x="53" y="573"/>
                    <a:pt x="53" y="573"/>
                    <a:pt x="53" y="573"/>
                  </a:cubicBezTo>
                  <a:cubicBezTo>
                    <a:pt x="53" y="573"/>
                    <a:pt x="53" y="573"/>
                    <a:pt x="53" y="573"/>
                  </a:cubicBezTo>
                  <a:cubicBezTo>
                    <a:pt x="52" y="573"/>
                    <a:pt x="52" y="573"/>
                    <a:pt x="52" y="573"/>
                  </a:cubicBezTo>
                  <a:cubicBezTo>
                    <a:pt x="53" y="572"/>
                    <a:pt x="53" y="572"/>
                    <a:pt x="53" y="572"/>
                  </a:cubicBezTo>
                  <a:cubicBezTo>
                    <a:pt x="54" y="569"/>
                    <a:pt x="54" y="569"/>
                    <a:pt x="54" y="569"/>
                  </a:cubicBezTo>
                  <a:cubicBezTo>
                    <a:pt x="54" y="570"/>
                    <a:pt x="54" y="570"/>
                    <a:pt x="54" y="570"/>
                  </a:cubicBezTo>
                  <a:cubicBezTo>
                    <a:pt x="54" y="571"/>
                    <a:pt x="54" y="571"/>
                    <a:pt x="54" y="571"/>
                  </a:cubicBezTo>
                  <a:cubicBezTo>
                    <a:pt x="54" y="572"/>
                    <a:pt x="54" y="572"/>
                    <a:pt x="54" y="572"/>
                  </a:cubicBezTo>
                  <a:cubicBezTo>
                    <a:pt x="53" y="572"/>
                    <a:pt x="53" y="572"/>
                    <a:pt x="53" y="572"/>
                  </a:cubicBezTo>
                  <a:cubicBezTo>
                    <a:pt x="54" y="573"/>
                    <a:pt x="54" y="573"/>
                    <a:pt x="54" y="573"/>
                  </a:cubicBezTo>
                  <a:cubicBezTo>
                    <a:pt x="54" y="573"/>
                    <a:pt x="54" y="573"/>
                    <a:pt x="54" y="573"/>
                  </a:cubicBezTo>
                  <a:cubicBezTo>
                    <a:pt x="56" y="573"/>
                    <a:pt x="56" y="573"/>
                    <a:pt x="56" y="573"/>
                  </a:cubicBezTo>
                  <a:cubicBezTo>
                    <a:pt x="56" y="573"/>
                    <a:pt x="56" y="573"/>
                    <a:pt x="56" y="573"/>
                  </a:cubicBezTo>
                  <a:cubicBezTo>
                    <a:pt x="55" y="570"/>
                    <a:pt x="55" y="570"/>
                    <a:pt x="55" y="570"/>
                  </a:cubicBezTo>
                  <a:cubicBezTo>
                    <a:pt x="56" y="570"/>
                    <a:pt x="56" y="570"/>
                    <a:pt x="56" y="570"/>
                  </a:cubicBezTo>
                  <a:cubicBezTo>
                    <a:pt x="57" y="572"/>
                    <a:pt x="57" y="572"/>
                    <a:pt x="57" y="572"/>
                  </a:cubicBezTo>
                  <a:cubicBezTo>
                    <a:pt x="58" y="572"/>
                    <a:pt x="58" y="572"/>
                    <a:pt x="58" y="572"/>
                  </a:cubicBezTo>
                  <a:cubicBezTo>
                    <a:pt x="59" y="573"/>
                    <a:pt x="59" y="573"/>
                    <a:pt x="59" y="573"/>
                  </a:cubicBezTo>
                  <a:cubicBezTo>
                    <a:pt x="60" y="572"/>
                    <a:pt x="60" y="572"/>
                    <a:pt x="60" y="572"/>
                  </a:cubicBezTo>
                  <a:cubicBezTo>
                    <a:pt x="61" y="572"/>
                    <a:pt x="61" y="572"/>
                    <a:pt x="61" y="572"/>
                  </a:cubicBezTo>
                  <a:cubicBezTo>
                    <a:pt x="61" y="573"/>
                    <a:pt x="61" y="573"/>
                    <a:pt x="61" y="573"/>
                  </a:cubicBezTo>
                  <a:cubicBezTo>
                    <a:pt x="60" y="573"/>
                    <a:pt x="60" y="573"/>
                    <a:pt x="60" y="573"/>
                  </a:cubicBezTo>
                  <a:cubicBezTo>
                    <a:pt x="58" y="573"/>
                    <a:pt x="58" y="573"/>
                    <a:pt x="58" y="573"/>
                  </a:cubicBezTo>
                  <a:cubicBezTo>
                    <a:pt x="57" y="573"/>
                    <a:pt x="57" y="573"/>
                    <a:pt x="57" y="573"/>
                  </a:cubicBezTo>
                  <a:cubicBezTo>
                    <a:pt x="56" y="574"/>
                    <a:pt x="56" y="574"/>
                    <a:pt x="56" y="574"/>
                  </a:cubicBezTo>
                  <a:cubicBezTo>
                    <a:pt x="56" y="575"/>
                    <a:pt x="56" y="575"/>
                    <a:pt x="56" y="575"/>
                  </a:cubicBezTo>
                  <a:cubicBezTo>
                    <a:pt x="57" y="575"/>
                    <a:pt x="57" y="575"/>
                    <a:pt x="57" y="575"/>
                  </a:cubicBezTo>
                  <a:cubicBezTo>
                    <a:pt x="57" y="575"/>
                    <a:pt x="57" y="575"/>
                    <a:pt x="57" y="575"/>
                  </a:cubicBezTo>
                  <a:cubicBezTo>
                    <a:pt x="58" y="575"/>
                    <a:pt x="58" y="575"/>
                    <a:pt x="58" y="575"/>
                  </a:cubicBezTo>
                  <a:cubicBezTo>
                    <a:pt x="58" y="575"/>
                    <a:pt x="58" y="575"/>
                    <a:pt x="58" y="575"/>
                  </a:cubicBezTo>
                  <a:cubicBezTo>
                    <a:pt x="59" y="574"/>
                    <a:pt x="59" y="574"/>
                    <a:pt x="59" y="574"/>
                  </a:cubicBezTo>
                  <a:cubicBezTo>
                    <a:pt x="59" y="574"/>
                    <a:pt x="59" y="574"/>
                    <a:pt x="59" y="574"/>
                  </a:cubicBezTo>
                  <a:cubicBezTo>
                    <a:pt x="59" y="575"/>
                    <a:pt x="59" y="575"/>
                    <a:pt x="59" y="575"/>
                  </a:cubicBezTo>
                  <a:cubicBezTo>
                    <a:pt x="59" y="576"/>
                    <a:pt x="59" y="576"/>
                    <a:pt x="59" y="576"/>
                  </a:cubicBezTo>
                  <a:cubicBezTo>
                    <a:pt x="59" y="576"/>
                    <a:pt x="59" y="576"/>
                    <a:pt x="59" y="576"/>
                  </a:cubicBezTo>
                  <a:cubicBezTo>
                    <a:pt x="59" y="577"/>
                    <a:pt x="59" y="577"/>
                    <a:pt x="59" y="577"/>
                  </a:cubicBezTo>
                  <a:cubicBezTo>
                    <a:pt x="60" y="576"/>
                    <a:pt x="60" y="576"/>
                    <a:pt x="60" y="576"/>
                  </a:cubicBezTo>
                  <a:cubicBezTo>
                    <a:pt x="61" y="574"/>
                    <a:pt x="61" y="574"/>
                    <a:pt x="61" y="574"/>
                  </a:cubicBezTo>
                  <a:cubicBezTo>
                    <a:pt x="62" y="574"/>
                    <a:pt x="62" y="574"/>
                    <a:pt x="62" y="574"/>
                  </a:cubicBezTo>
                  <a:cubicBezTo>
                    <a:pt x="61" y="575"/>
                    <a:pt x="61" y="575"/>
                    <a:pt x="61" y="575"/>
                  </a:cubicBezTo>
                  <a:cubicBezTo>
                    <a:pt x="60" y="577"/>
                    <a:pt x="60" y="577"/>
                    <a:pt x="60" y="577"/>
                  </a:cubicBezTo>
                  <a:cubicBezTo>
                    <a:pt x="60" y="577"/>
                    <a:pt x="60" y="577"/>
                    <a:pt x="60" y="577"/>
                  </a:cubicBezTo>
                  <a:cubicBezTo>
                    <a:pt x="60" y="577"/>
                    <a:pt x="60" y="577"/>
                    <a:pt x="60" y="577"/>
                  </a:cubicBezTo>
                  <a:cubicBezTo>
                    <a:pt x="63" y="576"/>
                    <a:pt x="63" y="576"/>
                    <a:pt x="63" y="576"/>
                  </a:cubicBezTo>
                  <a:cubicBezTo>
                    <a:pt x="63" y="576"/>
                    <a:pt x="63" y="576"/>
                    <a:pt x="63" y="576"/>
                  </a:cubicBezTo>
                  <a:cubicBezTo>
                    <a:pt x="64" y="576"/>
                    <a:pt x="64" y="576"/>
                    <a:pt x="64" y="576"/>
                  </a:cubicBezTo>
                  <a:cubicBezTo>
                    <a:pt x="66" y="574"/>
                    <a:pt x="66" y="574"/>
                    <a:pt x="66" y="574"/>
                  </a:cubicBezTo>
                  <a:cubicBezTo>
                    <a:pt x="66" y="574"/>
                    <a:pt x="66" y="574"/>
                    <a:pt x="66" y="574"/>
                  </a:cubicBezTo>
                  <a:cubicBezTo>
                    <a:pt x="66" y="575"/>
                    <a:pt x="66" y="575"/>
                    <a:pt x="66" y="575"/>
                  </a:cubicBezTo>
                  <a:cubicBezTo>
                    <a:pt x="66" y="575"/>
                    <a:pt x="66" y="575"/>
                    <a:pt x="66" y="575"/>
                  </a:cubicBezTo>
                  <a:cubicBezTo>
                    <a:pt x="65" y="576"/>
                    <a:pt x="65" y="576"/>
                    <a:pt x="65" y="576"/>
                  </a:cubicBezTo>
                  <a:cubicBezTo>
                    <a:pt x="65" y="576"/>
                    <a:pt x="65" y="576"/>
                    <a:pt x="65" y="576"/>
                  </a:cubicBezTo>
                  <a:cubicBezTo>
                    <a:pt x="65" y="576"/>
                    <a:pt x="65" y="576"/>
                    <a:pt x="65" y="576"/>
                  </a:cubicBezTo>
                  <a:cubicBezTo>
                    <a:pt x="65" y="576"/>
                    <a:pt x="65" y="576"/>
                    <a:pt x="65" y="576"/>
                  </a:cubicBezTo>
                  <a:cubicBezTo>
                    <a:pt x="64" y="576"/>
                    <a:pt x="64" y="576"/>
                    <a:pt x="64" y="576"/>
                  </a:cubicBezTo>
                  <a:cubicBezTo>
                    <a:pt x="64" y="576"/>
                    <a:pt x="64" y="576"/>
                    <a:pt x="64" y="576"/>
                  </a:cubicBezTo>
                  <a:cubicBezTo>
                    <a:pt x="63" y="577"/>
                    <a:pt x="63" y="577"/>
                    <a:pt x="63" y="577"/>
                  </a:cubicBezTo>
                  <a:cubicBezTo>
                    <a:pt x="62" y="577"/>
                    <a:pt x="62" y="577"/>
                    <a:pt x="62" y="577"/>
                  </a:cubicBezTo>
                  <a:cubicBezTo>
                    <a:pt x="62" y="578"/>
                    <a:pt x="62" y="578"/>
                    <a:pt x="62" y="578"/>
                  </a:cubicBezTo>
                  <a:cubicBezTo>
                    <a:pt x="62" y="579"/>
                    <a:pt x="62" y="579"/>
                    <a:pt x="62" y="579"/>
                  </a:cubicBezTo>
                  <a:cubicBezTo>
                    <a:pt x="62" y="580"/>
                    <a:pt x="62" y="580"/>
                    <a:pt x="62" y="580"/>
                  </a:cubicBezTo>
                  <a:cubicBezTo>
                    <a:pt x="62" y="580"/>
                    <a:pt x="62" y="580"/>
                    <a:pt x="62" y="580"/>
                  </a:cubicBezTo>
                  <a:cubicBezTo>
                    <a:pt x="63" y="580"/>
                    <a:pt x="63" y="580"/>
                    <a:pt x="63" y="580"/>
                  </a:cubicBezTo>
                  <a:cubicBezTo>
                    <a:pt x="63" y="580"/>
                    <a:pt x="63" y="580"/>
                    <a:pt x="63" y="580"/>
                  </a:cubicBezTo>
                  <a:cubicBezTo>
                    <a:pt x="64" y="580"/>
                    <a:pt x="64" y="580"/>
                    <a:pt x="64" y="580"/>
                  </a:cubicBezTo>
                  <a:cubicBezTo>
                    <a:pt x="64" y="579"/>
                    <a:pt x="64" y="579"/>
                    <a:pt x="64" y="579"/>
                  </a:cubicBezTo>
                  <a:cubicBezTo>
                    <a:pt x="64" y="579"/>
                    <a:pt x="64" y="579"/>
                    <a:pt x="64" y="579"/>
                  </a:cubicBezTo>
                  <a:cubicBezTo>
                    <a:pt x="64" y="579"/>
                    <a:pt x="64" y="579"/>
                    <a:pt x="64" y="579"/>
                  </a:cubicBezTo>
                  <a:cubicBezTo>
                    <a:pt x="64" y="579"/>
                    <a:pt x="64" y="579"/>
                    <a:pt x="64" y="579"/>
                  </a:cubicBezTo>
                  <a:cubicBezTo>
                    <a:pt x="64" y="578"/>
                    <a:pt x="64" y="578"/>
                    <a:pt x="64" y="578"/>
                  </a:cubicBezTo>
                  <a:cubicBezTo>
                    <a:pt x="64" y="578"/>
                    <a:pt x="64" y="578"/>
                    <a:pt x="64" y="578"/>
                  </a:cubicBezTo>
                  <a:cubicBezTo>
                    <a:pt x="64" y="578"/>
                    <a:pt x="64" y="578"/>
                    <a:pt x="64" y="578"/>
                  </a:cubicBezTo>
                  <a:cubicBezTo>
                    <a:pt x="66" y="577"/>
                    <a:pt x="66" y="577"/>
                    <a:pt x="66" y="577"/>
                  </a:cubicBezTo>
                  <a:cubicBezTo>
                    <a:pt x="67" y="577"/>
                    <a:pt x="67" y="577"/>
                    <a:pt x="67" y="577"/>
                  </a:cubicBezTo>
                  <a:cubicBezTo>
                    <a:pt x="67" y="578"/>
                    <a:pt x="67" y="578"/>
                    <a:pt x="67" y="578"/>
                  </a:cubicBezTo>
                  <a:cubicBezTo>
                    <a:pt x="67" y="577"/>
                    <a:pt x="67" y="577"/>
                    <a:pt x="67" y="577"/>
                  </a:cubicBezTo>
                  <a:cubicBezTo>
                    <a:pt x="69" y="576"/>
                    <a:pt x="69" y="576"/>
                    <a:pt x="69" y="576"/>
                  </a:cubicBezTo>
                  <a:cubicBezTo>
                    <a:pt x="69" y="577"/>
                    <a:pt x="69" y="577"/>
                    <a:pt x="69" y="577"/>
                  </a:cubicBezTo>
                  <a:cubicBezTo>
                    <a:pt x="70" y="578"/>
                    <a:pt x="70" y="578"/>
                    <a:pt x="70" y="578"/>
                  </a:cubicBezTo>
                  <a:cubicBezTo>
                    <a:pt x="73" y="579"/>
                    <a:pt x="73" y="579"/>
                    <a:pt x="73" y="579"/>
                  </a:cubicBezTo>
                  <a:cubicBezTo>
                    <a:pt x="79" y="579"/>
                    <a:pt x="79" y="579"/>
                    <a:pt x="79" y="579"/>
                  </a:cubicBezTo>
                  <a:cubicBezTo>
                    <a:pt x="79" y="578"/>
                    <a:pt x="79" y="578"/>
                    <a:pt x="79" y="578"/>
                  </a:cubicBezTo>
                  <a:cubicBezTo>
                    <a:pt x="79" y="578"/>
                    <a:pt x="79" y="578"/>
                    <a:pt x="79" y="578"/>
                  </a:cubicBezTo>
                  <a:cubicBezTo>
                    <a:pt x="79" y="577"/>
                    <a:pt x="79" y="577"/>
                    <a:pt x="79" y="577"/>
                  </a:cubicBezTo>
                  <a:cubicBezTo>
                    <a:pt x="79" y="578"/>
                    <a:pt x="79" y="578"/>
                    <a:pt x="79" y="578"/>
                  </a:cubicBezTo>
                  <a:cubicBezTo>
                    <a:pt x="80" y="579"/>
                    <a:pt x="80" y="579"/>
                    <a:pt x="80" y="579"/>
                  </a:cubicBezTo>
                  <a:cubicBezTo>
                    <a:pt x="81" y="578"/>
                    <a:pt x="81" y="578"/>
                    <a:pt x="81" y="578"/>
                  </a:cubicBezTo>
                  <a:cubicBezTo>
                    <a:pt x="80" y="577"/>
                    <a:pt x="80" y="577"/>
                    <a:pt x="80" y="577"/>
                  </a:cubicBezTo>
                  <a:cubicBezTo>
                    <a:pt x="81" y="577"/>
                    <a:pt x="81" y="577"/>
                    <a:pt x="81" y="577"/>
                  </a:cubicBezTo>
                  <a:cubicBezTo>
                    <a:pt x="81" y="577"/>
                    <a:pt x="81" y="577"/>
                    <a:pt x="81" y="577"/>
                  </a:cubicBezTo>
                  <a:cubicBezTo>
                    <a:pt x="81" y="577"/>
                    <a:pt x="81" y="577"/>
                    <a:pt x="81" y="577"/>
                  </a:cubicBezTo>
                  <a:cubicBezTo>
                    <a:pt x="81" y="576"/>
                    <a:pt x="81" y="576"/>
                    <a:pt x="81" y="576"/>
                  </a:cubicBezTo>
                  <a:cubicBezTo>
                    <a:pt x="81" y="576"/>
                    <a:pt x="81" y="576"/>
                    <a:pt x="81" y="576"/>
                  </a:cubicBezTo>
                  <a:cubicBezTo>
                    <a:pt x="82" y="576"/>
                    <a:pt x="82" y="576"/>
                    <a:pt x="82" y="576"/>
                  </a:cubicBezTo>
                  <a:cubicBezTo>
                    <a:pt x="83" y="576"/>
                    <a:pt x="83" y="576"/>
                    <a:pt x="83" y="576"/>
                  </a:cubicBezTo>
                  <a:cubicBezTo>
                    <a:pt x="84" y="576"/>
                    <a:pt x="84" y="576"/>
                    <a:pt x="84" y="576"/>
                  </a:cubicBezTo>
                  <a:cubicBezTo>
                    <a:pt x="89" y="575"/>
                    <a:pt x="89" y="575"/>
                    <a:pt x="89" y="575"/>
                  </a:cubicBezTo>
                  <a:cubicBezTo>
                    <a:pt x="90" y="575"/>
                    <a:pt x="90" y="575"/>
                    <a:pt x="90" y="575"/>
                  </a:cubicBezTo>
                  <a:cubicBezTo>
                    <a:pt x="90" y="574"/>
                    <a:pt x="90" y="574"/>
                    <a:pt x="90" y="574"/>
                  </a:cubicBezTo>
                  <a:cubicBezTo>
                    <a:pt x="90" y="573"/>
                    <a:pt x="90" y="573"/>
                    <a:pt x="90" y="573"/>
                  </a:cubicBezTo>
                  <a:cubicBezTo>
                    <a:pt x="92" y="572"/>
                    <a:pt x="92" y="572"/>
                    <a:pt x="92" y="572"/>
                  </a:cubicBezTo>
                  <a:cubicBezTo>
                    <a:pt x="92" y="571"/>
                    <a:pt x="92" y="571"/>
                    <a:pt x="92" y="571"/>
                  </a:cubicBezTo>
                  <a:cubicBezTo>
                    <a:pt x="92" y="570"/>
                    <a:pt x="92" y="570"/>
                    <a:pt x="92" y="570"/>
                  </a:cubicBezTo>
                  <a:cubicBezTo>
                    <a:pt x="92" y="568"/>
                    <a:pt x="92" y="568"/>
                    <a:pt x="92" y="568"/>
                  </a:cubicBezTo>
                  <a:cubicBezTo>
                    <a:pt x="92" y="567"/>
                    <a:pt x="92" y="567"/>
                    <a:pt x="92" y="567"/>
                  </a:cubicBezTo>
                  <a:cubicBezTo>
                    <a:pt x="92" y="567"/>
                    <a:pt x="92" y="567"/>
                    <a:pt x="92" y="567"/>
                  </a:cubicBezTo>
                  <a:cubicBezTo>
                    <a:pt x="93" y="568"/>
                    <a:pt x="93" y="568"/>
                    <a:pt x="93" y="568"/>
                  </a:cubicBezTo>
                  <a:cubicBezTo>
                    <a:pt x="93" y="570"/>
                    <a:pt x="93" y="570"/>
                    <a:pt x="93" y="570"/>
                  </a:cubicBezTo>
                  <a:cubicBezTo>
                    <a:pt x="94" y="571"/>
                    <a:pt x="94" y="571"/>
                    <a:pt x="94" y="571"/>
                  </a:cubicBezTo>
                  <a:cubicBezTo>
                    <a:pt x="93" y="571"/>
                    <a:pt x="93" y="571"/>
                    <a:pt x="93" y="571"/>
                  </a:cubicBezTo>
                  <a:cubicBezTo>
                    <a:pt x="93" y="571"/>
                    <a:pt x="93" y="571"/>
                    <a:pt x="93" y="571"/>
                  </a:cubicBezTo>
                  <a:cubicBezTo>
                    <a:pt x="92" y="572"/>
                    <a:pt x="92" y="572"/>
                    <a:pt x="92" y="572"/>
                  </a:cubicBezTo>
                  <a:cubicBezTo>
                    <a:pt x="93" y="573"/>
                    <a:pt x="93" y="573"/>
                    <a:pt x="93" y="573"/>
                  </a:cubicBezTo>
                  <a:cubicBezTo>
                    <a:pt x="93" y="573"/>
                    <a:pt x="93" y="573"/>
                    <a:pt x="93" y="573"/>
                  </a:cubicBezTo>
                  <a:cubicBezTo>
                    <a:pt x="93" y="573"/>
                    <a:pt x="93" y="573"/>
                    <a:pt x="93" y="573"/>
                  </a:cubicBezTo>
                  <a:cubicBezTo>
                    <a:pt x="93" y="574"/>
                    <a:pt x="93" y="574"/>
                    <a:pt x="93" y="574"/>
                  </a:cubicBezTo>
                  <a:cubicBezTo>
                    <a:pt x="94" y="574"/>
                    <a:pt x="94" y="574"/>
                    <a:pt x="94" y="574"/>
                  </a:cubicBezTo>
                  <a:cubicBezTo>
                    <a:pt x="95" y="574"/>
                    <a:pt x="95" y="574"/>
                    <a:pt x="95" y="574"/>
                  </a:cubicBezTo>
                  <a:cubicBezTo>
                    <a:pt x="95" y="574"/>
                    <a:pt x="95" y="574"/>
                    <a:pt x="95" y="574"/>
                  </a:cubicBezTo>
                  <a:cubicBezTo>
                    <a:pt x="96" y="573"/>
                    <a:pt x="96" y="573"/>
                    <a:pt x="96" y="573"/>
                  </a:cubicBezTo>
                  <a:cubicBezTo>
                    <a:pt x="96" y="572"/>
                    <a:pt x="96" y="572"/>
                    <a:pt x="96" y="572"/>
                  </a:cubicBezTo>
                  <a:cubicBezTo>
                    <a:pt x="97" y="572"/>
                    <a:pt x="97" y="572"/>
                    <a:pt x="97" y="572"/>
                  </a:cubicBezTo>
                  <a:cubicBezTo>
                    <a:pt x="97" y="572"/>
                    <a:pt x="97" y="572"/>
                    <a:pt x="97" y="572"/>
                  </a:cubicBezTo>
                  <a:cubicBezTo>
                    <a:pt x="97" y="573"/>
                    <a:pt x="97" y="573"/>
                    <a:pt x="97" y="573"/>
                  </a:cubicBezTo>
                  <a:cubicBezTo>
                    <a:pt x="98" y="572"/>
                    <a:pt x="98" y="572"/>
                    <a:pt x="98" y="572"/>
                  </a:cubicBezTo>
                  <a:cubicBezTo>
                    <a:pt x="98" y="572"/>
                    <a:pt x="98" y="572"/>
                    <a:pt x="98" y="572"/>
                  </a:cubicBezTo>
                  <a:cubicBezTo>
                    <a:pt x="98" y="571"/>
                    <a:pt x="98" y="571"/>
                    <a:pt x="98" y="571"/>
                  </a:cubicBezTo>
                  <a:cubicBezTo>
                    <a:pt x="98" y="571"/>
                    <a:pt x="98" y="571"/>
                    <a:pt x="98" y="571"/>
                  </a:cubicBezTo>
                  <a:cubicBezTo>
                    <a:pt x="98" y="571"/>
                    <a:pt x="98" y="571"/>
                    <a:pt x="98" y="571"/>
                  </a:cubicBezTo>
                  <a:cubicBezTo>
                    <a:pt x="99" y="570"/>
                    <a:pt x="99" y="570"/>
                    <a:pt x="99" y="570"/>
                  </a:cubicBezTo>
                  <a:cubicBezTo>
                    <a:pt x="99" y="570"/>
                    <a:pt x="99" y="570"/>
                    <a:pt x="99" y="570"/>
                  </a:cubicBezTo>
                  <a:cubicBezTo>
                    <a:pt x="100" y="569"/>
                    <a:pt x="100" y="569"/>
                    <a:pt x="100" y="569"/>
                  </a:cubicBezTo>
                  <a:cubicBezTo>
                    <a:pt x="99" y="569"/>
                    <a:pt x="99" y="569"/>
                    <a:pt x="99" y="569"/>
                  </a:cubicBezTo>
                  <a:cubicBezTo>
                    <a:pt x="99" y="568"/>
                    <a:pt x="99" y="568"/>
                    <a:pt x="99" y="568"/>
                  </a:cubicBezTo>
                  <a:cubicBezTo>
                    <a:pt x="99" y="568"/>
                    <a:pt x="99" y="568"/>
                    <a:pt x="99" y="568"/>
                  </a:cubicBezTo>
                  <a:cubicBezTo>
                    <a:pt x="99" y="568"/>
                    <a:pt x="99" y="568"/>
                    <a:pt x="99" y="568"/>
                  </a:cubicBezTo>
                  <a:cubicBezTo>
                    <a:pt x="100" y="568"/>
                    <a:pt x="100" y="568"/>
                    <a:pt x="100" y="568"/>
                  </a:cubicBezTo>
                  <a:cubicBezTo>
                    <a:pt x="101" y="567"/>
                    <a:pt x="101" y="567"/>
                    <a:pt x="101" y="567"/>
                  </a:cubicBezTo>
                  <a:cubicBezTo>
                    <a:pt x="101" y="567"/>
                    <a:pt x="101" y="567"/>
                    <a:pt x="101" y="567"/>
                  </a:cubicBezTo>
                  <a:cubicBezTo>
                    <a:pt x="102" y="566"/>
                    <a:pt x="102" y="566"/>
                    <a:pt x="102" y="566"/>
                  </a:cubicBezTo>
                  <a:cubicBezTo>
                    <a:pt x="102" y="566"/>
                    <a:pt x="102" y="566"/>
                    <a:pt x="102" y="566"/>
                  </a:cubicBezTo>
                  <a:cubicBezTo>
                    <a:pt x="103" y="566"/>
                    <a:pt x="103" y="566"/>
                    <a:pt x="103" y="566"/>
                  </a:cubicBezTo>
                  <a:cubicBezTo>
                    <a:pt x="104" y="566"/>
                    <a:pt x="104" y="566"/>
                    <a:pt x="104" y="566"/>
                  </a:cubicBezTo>
                  <a:cubicBezTo>
                    <a:pt x="104" y="566"/>
                    <a:pt x="104" y="566"/>
                    <a:pt x="104" y="566"/>
                  </a:cubicBezTo>
                  <a:cubicBezTo>
                    <a:pt x="103" y="565"/>
                    <a:pt x="103" y="565"/>
                    <a:pt x="103" y="565"/>
                  </a:cubicBezTo>
                  <a:cubicBezTo>
                    <a:pt x="104" y="564"/>
                    <a:pt x="104" y="564"/>
                    <a:pt x="104" y="564"/>
                  </a:cubicBezTo>
                  <a:cubicBezTo>
                    <a:pt x="104" y="565"/>
                    <a:pt x="104" y="565"/>
                    <a:pt x="104" y="565"/>
                  </a:cubicBezTo>
                  <a:cubicBezTo>
                    <a:pt x="105" y="565"/>
                    <a:pt x="105" y="565"/>
                    <a:pt x="105" y="565"/>
                  </a:cubicBezTo>
                  <a:cubicBezTo>
                    <a:pt x="105" y="565"/>
                    <a:pt x="105" y="565"/>
                    <a:pt x="105" y="565"/>
                  </a:cubicBezTo>
                  <a:cubicBezTo>
                    <a:pt x="106" y="565"/>
                    <a:pt x="106" y="565"/>
                    <a:pt x="106" y="565"/>
                  </a:cubicBezTo>
                  <a:cubicBezTo>
                    <a:pt x="106" y="565"/>
                    <a:pt x="106" y="565"/>
                    <a:pt x="106" y="565"/>
                  </a:cubicBezTo>
                  <a:cubicBezTo>
                    <a:pt x="107" y="565"/>
                    <a:pt x="107" y="565"/>
                    <a:pt x="107" y="565"/>
                  </a:cubicBezTo>
                  <a:cubicBezTo>
                    <a:pt x="107" y="564"/>
                    <a:pt x="107" y="564"/>
                    <a:pt x="107" y="564"/>
                  </a:cubicBezTo>
                  <a:cubicBezTo>
                    <a:pt x="107" y="563"/>
                    <a:pt x="107" y="563"/>
                    <a:pt x="107" y="563"/>
                  </a:cubicBezTo>
                  <a:cubicBezTo>
                    <a:pt x="108" y="562"/>
                    <a:pt x="108" y="562"/>
                    <a:pt x="108" y="562"/>
                  </a:cubicBezTo>
                  <a:cubicBezTo>
                    <a:pt x="109" y="560"/>
                    <a:pt x="109" y="560"/>
                    <a:pt x="109" y="560"/>
                  </a:cubicBezTo>
                  <a:cubicBezTo>
                    <a:pt x="109" y="561"/>
                    <a:pt x="109" y="561"/>
                    <a:pt x="109" y="561"/>
                  </a:cubicBezTo>
                  <a:cubicBezTo>
                    <a:pt x="109" y="561"/>
                    <a:pt x="109" y="561"/>
                    <a:pt x="109" y="561"/>
                  </a:cubicBezTo>
                  <a:cubicBezTo>
                    <a:pt x="109" y="561"/>
                    <a:pt x="109" y="561"/>
                    <a:pt x="109" y="561"/>
                  </a:cubicBezTo>
                  <a:cubicBezTo>
                    <a:pt x="110" y="561"/>
                    <a:pt x="110" y="561"/>
                    <a:pt x="110" y="561"/>
                  </a:cubicBezTo>
                  <a:cubicBezTo>
                    <a:pt x="110" y="561"/>
                    <a:pt x="110" y="561"/>
                    <a:pt x="110" y="561"/>
                  </a:cubicBezTo>
                  <a:cubicBezTo>
                    <a:pt x="110" y="560"/>
                    <a:pt x="110" y="560"/>
                    <a:pt x="110" y="560"/>
                  </a:cubicBezTo>
                  <a:cubicBezTo>
                    <a:pt x="110" y="560"/>
                    <a:pt x="110" y="560"/>
                    <a:pt x="110" y="560"/>
                  </a:cubicBezTo>
                  <a:cubicBezTo>
                    <a:pt x="111" y="559"/>
                    <a:pt x="111" y="559"/>
                    <a:pt x="111" y="559"/>
                  </a:cubicBezTo>
                  <a:cubicBezTo>
                    <a:pt x="111" y="559"/>
                    <a:pt x="111" y="559"/>
                    <a:pt x="111" y="559"/>
                  </a:cubicBezTo>
                  <a:cubicBezTo>
                    <a:pt x="111" y="559"/>
                    <a:pt x="111" y="559"/>
                    <a:pt x="111" y="559"/>
                  </a:cubicBezTo>
                  <a:cubicBezTo>
                    <a:pt x="112" y="559"/>
                    <a:pt x="112" y="559"/>
                    <a:pt x="112" y="559"/>
                  </a:cubicBezTo>
                  <a:cubicBezTo>
                    <a:pt x="113" y="558"/>
                    <a:pt x="113" y="558"/>
                    <a:pt x="113" y="558"/>
                  </a:cubicBezTo>
                  <a:cubicBezTo>
                    <a:pt x="113" y="558"/>
                    <a:pt x="113" y="558"/>
                    <a:pt x="113" y="558"/>
                  </a:cubicBezTo>
                  <a:cubicBezTo>
                    <a:pt x="113" y="557"/>
                    <a:pt x="113" y="557"/>
                    <a:pt x="113" y="557"/>
                  </a:cubicBezTo>
                  <a:cubicBezTo>
                    <a:pt x="114" y="556"/>
                    <a:pt x="114" y="556"/>
                    <a:pt x="114" y="556"/>
                  </a:cubicBezTo>
                  <a:cubicBezTo>
                    <a:pt x="114" y="556"/>
                    <a:pt x="114" y="556"/>
                    <a:pt x="114" y="556"/>
                  </a:cubicBezTo>
                  <a:cubicBezTo>
                    <a:pt x="115" y="555"/>
                    <a:pt x="115" y="555"/>
                    <a:pt x="115" y="555"/>
                  </a:cubicBezTo>
                  <a:cubicBezTo>
                    <a:pt x="115" y="555"/>
                    <a:pt x="115" y="555"/>
                    <a:pt x="115" y="555"/>
                  </a:cubicBezTo>
                  <a:cubicBezTo>
                    <a:pt x="116" y="554"/>
                    <a:pt x="116" y="554"/>
                    <a:pt x="116" y="554"/>
                  </a:cubicBezTo>
                  <a:cubicBezTo>
                    <a:pt x="117" y="553"/>
                    <a:pt x="117" y="553"/>
                    <a:pt x="117" y="553"/>
                  </a:cubicBezTo>
                  <a:cubicBezTo>
                    <a:pt x="119" y="552"/>
                    <a:pt x="119" y="552"/>
                    <a:pt x="119" y="552"/>
                  </a:cubicBezTo>
                  <a:cubicBezTo>
                    <a:pt x="119" y="551"/>
                    <a:pt x="119" y="551"/>
                    <a:pt x="119" y="551"/>
                  </a:cubicBezTo>
                  <a:cubicBezTo>
                    <a:pt x="120" y="550"/>
                    <a:pt x="120" y="550"/>
                    <a:pt x="120" y="550"/>
                  </a:cubicBezTo>
                  <a:cubicBezTo>
                    <a:pt x="120" y="549"/>
                    <a:pt x="120" y="549"/>
                    <a:pt x="120" y="549"/>
                  </a:cubicBezTo>
                  <a:cubicBezTo>
                    <a:pt x="120" y="548"/>
                    <a:pt x="120" y="548"/>
                    <a:pt x="120" y="548"/>
                  </a:cubicBezTo>
                  <a:cubicBezTo>
                    <a:pt x="120" y="547"/>
                    <a:pt x="120" y="547"/>
                    <a:pt x="120" y="547"/>
                  </a:cubicBezTo>
                  <a:cubicBezTo>
                    <a:pt x="120" y="547"/>
                    <a:pt x="120" y="547"/>
                    <a:pt x="120" y="547"/>
                  </a:cubicBezTo>
                  <a:cubicBezTo>
                    <a:pt x="119" y="546"/>
                    <a:pt x="119" y="546"/>
                    <a:pt x="119" y="546"/>
                  </a:cubicBezTo>
                  <a:cubicBezTo>
                    <a:pt x="119" y="546"/>
                    <a:pt x="119" y="546"/>
                    <a:pt x="119" y="546"/>
                  </a:cubicBezTo>
                  <a:cubicBezTo>
                    <a:pt x="119" y="546"/>
                    <a:pt x="119" y="546"/>
                    <a:pt x="119" y="546"/>
                  </a:cubicBezTo>
                  <a:cubicBezTo>
                    <a:pt x="120" y="546"/>
                    <a:pt x="120" y="546"/>
                    <a:pt x="120" y="546"/>
                  </a:cubicBezTo>
                  <a:cubicBezTo>
                    <a:pt x="120" y="546"/>
                    <a:pt x="120" y="546"/>
                    <a:pt x="120" y="546"/>
                  </a:cubicBezTo>
                  <a:cubicBezTo>
                    <a:pt x="120" y="546"/>
                    <a:pt x="120" y="546"/>
                    <a:pt x="120" y="546"/>
                  </a:cubicBezTo>
                  <a:cubicBezTo>
                    <a:pt x="120" y="547"/>
                    <a:pt x="120" y="547"/>
                    <a:pt x="120" y="547"/>
                  </a:cubicBezTo>
                  <a:cubicBezTo>
                    <a:pt x="121" y="546"/>
                    <a:pt x="121" y="546"/>
                    <a:pt x="121" y="546"/>
                  </a:cubicBezTo>
                  <a:cubicBezTo>
                    <a:pt x="121" y="546"/>
                    <a:pt x="121" y="546"/>
                    <a:pt x="121" y="546"/>
                  </a:cubicBezTo>
                  <a:cubicBezTo>
                    <a:pt x="121" y="546"/>
                    <a:pt x="121" y="546"/>
                    <a:pt x="121" y="546"/>
                  </a:cubicBezTo>
                  <a:cubicBezTo>
                    <a:pt x="121" y="546"/>
                    <a:pt x="121" y="546"/>
                    <a:pt x="121" y="546"/>
                  </a:cubicBezTo>
                  <a:cubicBezTo>
                    <a:pt x="122" y="546"/>
                    <a:pt x="122" y="546"/>
                    <a:pt x="122" y="546"/>
                  </a:cubicBezTo>
                  <a:cubicBezTo>
                    <a:pt x="124" y="545"/>
                    <a:pt x="124" y="545"/>
                    <a:pt x="124" y="545"/>
                  </a:cubicBezTo>
                  <a:cubicBezTo>
                    <a:pt x="126" y="543"/>
                    <a:pt x="126" y="543"/>
                    <a:pt x="126" y="543"/>
                  </a:cubicBezTo>
                  <a:cubicBezTo>
                    <a:pt x="127" y="542"/>
                    <a:pt x="127" y="542"/>
                    <a:pt x="127" y="542"/>
                  </a:cubicBezTo>
                  <a:cubicBezTo>
                    <a:pt x="127" y="542"/>
                    <a:pt x="127" y="542"/>
                    <a:pt x="127" y="542"/>
                  </a:cubicBezTo>
                  <a:cubicBezTo>
                    <a:pt x="127" y="541"/>
                    <a:pt x="127" y="541"/>
                    <a:pt x="127" y="541"/>
                  </a:cubicBezTo>
                  <a:cubicBezTo>
                    <a:pt x="126" y="541"/>
                    <a:pt x="126" y="541"/>
                    <a:pt x="126" y="541"/>
                  </a:cubicBezTo>
                  <a:cubicBezTo>
                    <a:pt x="124" y="541"/>
                    <a:pt x="124" y="541"/>
                    <a:pt x="124" y="541"/>
                  </a:cubicBezTo>
                  <a:cubicBezTo>
                    <a:pt x="123" y="541"/>
                    <a:pt x="123" y="541"/>
                    <a:pt x="123" y="541"/>
                  </a:cubicBezTo>
                  <a:cubicBezTo>
                    <a:pt x="124" y="541"/>
                    <a:pt x="124" y="541"/>
                    <a:pt x="124" y="541"/>
                  </a:cubicBezTo>
                  <a:cubicBezTo>
                    <a:pt x="127" y="541"/>
                    <a:pt x="127" y="541"/>
                    <a:pt x="127" y="541"/>
                  </a:cubicBezTo>
                  <a:cubicBezTo>
                    <a:pt x="128" y="540"/>
                    <a:pt x="128" y="540"/>
                    <a:pt x="128" y="540"/>
                  </a:cubicBezTo>
                  <a:cubicBezTo>
                    <a:pt x="128" y="539"/>
                    <a:pt x="128" y="539"/>
                    <a:pt x="128" y="539"/>
                  </a:cubicBezTo>
                  <a:cubicBezTo>
                    <a:pt x="124" y="538"/>
                    <a:pt x="124" y="538"/>
                    <a:pt x="124" y="538"/>
                  </a:cubicBezTo>
                  <a:cubicBezTo>
                    <a:pt x="125" y="538"/>
                    <a:pt x="125" y="538"/>
                    <a:pt x="125" y="538"/>
                  </a:cubicBezTo>
                  <a:cubicBezTo>
                    <a:pt x="126" y="539"/>
                    <a:pt x="126" y="539"/>
                    <a:pt x="126" y="539"/>
                  </a:cubicBezTo>
                  <a:cubicBezTo>
                    <a:pt x="126" y="540"/>
                    <a:pt x="126" y="540"/>
                    <a:pt x="126" y="540"/>
                  </a:cubicBezTo>
                  <a:cubicBezTo>
                    <a:pt x="123" y="539"/>
                    <a:pt x="123" y="539"/>
                    <a:pt x="123" y="539"/>
                  </a:cubicBezTo>
                  <a:cubicBezTo>
                    <a:pt x="123" y="539"/>
                    <a:pt x="123" y="539"/>
                    <a:pt x="123" y="539"/>
                  </a:cubicBezTo>
                  <a:cubicBezTo>
                    <a:pt x="123" y="538"/>
                    <a:pt x="123" y="538"/>
                    <a:pt x="123" y="538"/>
                  </a:cubicBezTo>
                  <a:cubicBezTo>
                    <a:pt x="123" y="538"/>
                    <a:pt x="123" y="538"/>
                    <a:pt x="123" y="538"/>
                  </a:cubicBezTo>
                  <a:cubicBezTo>
                    <a:pt x="124" y="538"/>
                    <a:pt x="124" y="538"/>
                    <a:pt x="124" y="538"/>
                  </a:cubicBezTo>
                  <a:cubicBezTo>
                    <a:pt x="129" y="538"/>
                    <a:pt x="129" y="538"/>
                    <a:pt x="129" y="538"/>
                  </a:cubicBezTo>
                  <a:cubicBezTo>
                    <a:pt x="130" y="538"/>
                    <a:pt x="130" y="538"/>
                    <a:pt x="130" y="538"/>
                  </a:cubicBezTo>
                  <a:cubicBezTo>
                    <a:pt x="131" y="537"/>
                    <a:pt x="131" y="537"/>
                    <a:pt x="131" y="537"/>
                  </a:cubicBezTo>
                  <a:cubicBezTo>
                    <a:pt x="132" y="536"/>
                    <a:pt x="132" y="536"/>
                    <a:pt x="132" y="536"/>
                  </a:cubicBezTo>
                  <a:cubicBezTo>
                    <a:pt x="132" y="536"/>
                    <a:pt x="132" y="536"/>
                    <a:pt x="132" y="536"/>
                  </a:cubicBezTo>
                  <a:cubicBezTo>
                    <a:pt x="133" y="535"/>
                    <a:pt x="133" y="535"/>
                    <a:pt x="133" y="535"/>
                  </a:cubicBezTo>
                  <a:cubicBezTo>
                    <a:pt x="133" y="535"/>
                    <a:pt x="133" y="535"/>
                    <a:pt x="133" y="535"/>
                  </a:cubicBezTo>
                  <a:cubicBezTo>
                    <a:pt x="133" y="534"/>
                    <a:pt x="133" y="534"/>
                    <a:pt x="133" y="534"/>
                  </a:cubicBezTo>
                  <a:cubicBezTo>
                    <a:pt x="133" y="535"/>
                    <a:pt x="133" y="535"/>
                    <a:pt x="133" y="535"/>
                  </a:cubicBezTo>
                  <a:cubicBezTo>
                    <a:pt x="132" y="535"/>
                    <a:pt x="132" y="535"/>
                    <a:pt x="132" y="535"/>
                  </a:cubicBezTo>
                  <a:cubicBezTo>
                    <a:pt x="133" y="534"/>
                    <a:pt x="133" y="534"/>
                    <a:pt x="133" y="534"/>
                  </a:cubicBezTo>
                  <a:cubicBezTo>
                    <a:pt x="134" y="533"/>
                    <a:pt x="134" y="533"/>
                    <a:pt x="134" y="533"/>
                  </a:cubicBezTo>
                  <a:cubicBezTo>
                    <a:pt x="135" y="533"/>
                    <a:pt x="135" y="533"/>
                    <a:pt x="135" y="533"/>
                  </a:cubicBezTo>
                  <a:cubicBezTo>
                    <a:pt x="134" y="532"/>
                    <a:pt x="134" y="532"/>
                    <a:pt x="134" y="532"/>
                  </a:cubicBezTo>
                  <a:cubicBezTo>
                    <a:pt x="133" y="532"/>
                    <a:pt x="133" y="532"/>
                    <a:pt x="133" y="532"/>
                  </a:cubicBezTo>
                  <a:cubicBezTo>
                    <a:pt x="133" y="532"/>
                    <a:pt x="133" y="532"/>
                    <a:pt x="133" y="532"/>
                  </a:cubicBezTo>
                  <a:cubicBezTo>
                    <a:pt x="132" y="532"/>
                    <a:pt x="132" y="532"/>
                    <a:pt x="132" y="532"/>
                  </a:cubicBezTo>
                  <a:cubicBezTo>
                    <a:pt x="131" y="533"/>
                    <a:pt x="131" y="533"/>
                    <a:pt x="131" y="533"/>
                  </a:cubicBezTo>
                  <a:cubicBezTo>
                    <a:pt x="131" y="533"/>
                    <a:pt x="131" y="533"/>
                    <a:pt x="131" y="533"/>
                  </a:cubicBezTo>
                  <a:cubicBezTo>
                    <a:pt x="130" y="533"/>
                    <a:pt x="130" y="533"/>
                    <a:pt x="130" y="533"/>
                  </a:cubicBezTo>
                  <a:cubicBezTo>
                    <a:pt x="130" y="533"/>
                    <a:pt x="130" y="533"/>
                    <a:pt x="130" y="533"/>
                  </a:cubicBezTo>
                  <a:cubicBezTo>
                    <a:pt x="129" y="533"/>
                    <a:pt x="129" y="533"/>
                    <a:pt x="129" y="533"/>
                  </a:cubicBezTo>
                  <a:cubicBezTo>
                    <a:pt x="130" y="530"/>
                    <a:pt x="130" y="530"/>
                    <a:pt x="130" y="530"/>
                  </a:cubicBezTo>
                  <a:cubicBezTo>
                    <a:pt x="130" y="530"/>
                    <a:pt x="130" y="530"/>
                    <a:pt x="130" y="530"/>
                  </a:cubicBezTo>
                  <a:cubicBezTo>
                    <a:pt x="131" y="531"/>
                    <a:pt x="131" y="531"/>
                    <a:pt x="131" y="531"/>
                  </a:cubicBezTo>
                  <a:cubicBezTo>
                    <a:pt x="131" y="531"/>
                    <a:pt x="131" y="531"/>
                    <a:pt x="131" y="531"/>
                  </a:cubicBezTo>
                  <a:cubicBezTo>
                    <a:pt x="133" y="530"/>
                    <a:pt x="133" y="530"/>
                    <a:pt x="133" y="530"/>
                  </a:cubicBezTo>
                  <a:cubicBezTo>
                    <a:pt x="133" y="530"/>
                    <a:pt x="133" y="530"/>
                    <a:pt x="133" y="530"/>
                  </a:cubicBezTo>
                  <a:cubicBezTo>
                    <a:pt x="133" y="530"/>
                    <a:pt x="133" y="530"/>
                    <a:pt x="133" y="530"/>
                  </a:cubicBezTo>
                  <a:cubicBezTo>
                    <a:pt x="133" y="530"/>
                    <a:pt x="133" y="530"/>
                    <a:pt x="133" y="530"/>
                  </a:cubicBezTo>
                  <a:cubicBezTo>
                    <a:pt x="133" y="529"/>
                    <a:pt x="133" y="529"/>
                    <a:pt x="133" y="529"/>
                  </a:cubicBezTo>
                  <a:cubicBezTo>
                    <a:pt x="133" y="529"/>
                    <a:pt x="133" y="529"/>
                    <a:pt x="133" y="529"/>
                  </a:cubicBezTo>
                  <a:cubicBezTo>
                    <a:pt x="133" y="529"/>
                    <a:pt x="133" y="529"/>
                    <a:pt x="133" y="529"/>
                  </a:cubicBezTo>
                  <a:cubicBezTo>
                    <a:pt x="132" y="530"/>
                    <a:pt x="132" y="530"/>
                    <a:pt x="132" y="530"/>
                  </a:cubicBezTo>
                  <a:cubicBezTo>
                    <a:pt x="132" y="529"/>
                    <a:pt x="132" y="529"/>
                    <a:pt x="132" y="529"/>
                  </a:cubicBezTo>
                  <a:cubicBezTo>
                    <a:pt x="133" y="529"/>
                    <a:pt x="133" y="529"/>
                    <a:pt x="133" y="529"/>
                  </a:cubicBezTo>
                  <a:cubicBezTo>
                    <a:pt x="134" y="529"/>
                    <a:pt x="134" y="529"/>
                    <a:pt x="134" y="529"/>
                  </a:cubicBezTo>
                  <a:cubicBezTo>
                    <a:pt x="135" y="530"/>
                    <a:pt x="135" y="530"/>
                    <a:pt x="135" y="530"/>
                  </a:cubicBezTo>
                  <a:cubicBezTo>
                    <a:pt x="135" y="529"/>
                    <a:pt x="135" y="529"/>
                    <a:pt x="135" y="529"/>
                  </a:cubicBezTo>
                  <a:cubicBezTo>
                    <a:pt x="135" y="529"/>
                    <a:pt x="135" y="529"/>
                    <a:pt x="135" y="529"/>
                  </a:cubicBezTo>
                  <a:cubicBezTo>
                    <a:pt x="136" y="529"/>
                    <a:pt x="136" y="529"/>
                    <a:pt x="136" y="529"/>
                  </a:cubicBezTo>
                  <a:cubicBezTo>
                    <a:pt x="137" y="529"/>
                    <a:pt x="137" y="529"/>
                    <a:pt x="137" y="529"/>
                  </a:cubicBezTo>
                  <a:cubicBezTo>
                    <a:pt x="136" y="528"/>
                    <a:pt x="136" y="528"/>
                    <a:pt x="136" y="528"/>
                  </a:cubicBezTo>
                  <a:cubicBezTo>
                    <a:pt x="135" y="527"/>
                    <a:pt x="135" y="527"/>
                    <a:pt x="135" y="527"/>
                  </a:cubicBezTo>
                  <a:cubicBezTo>
                    <a:pt x="139" y="527"/>
                    <a:pt x="139" y="527"/>
                    <a:pt x="139" y="527"/>
                  </a:cubicBezTo>
                  <a:cubicBezTo>
                    <a:pt x="139" y="527"/>
                    <a:pt x="139" y="527"/>
                    <a:pt x="139" y="527"/>
                  </a:cubicBezTo>
                  <a:cubicBezTo>
                    <a:pt x="139" y="527"/>
                    <a:pt x="139" y="527"/>
                    <a:pt x="139" y="527"/>
                  </a:cubicBezTo>
                  <a:cubicBezTo>
                    <a:pt x="139" y="527"/>
                    <a:pt x="139" y="527"/>
                    <a:pt x="139" y="527"/>
                  </a:cubicBezTo>
                  <a:cubicBezTo>
                    <a:pt x="139" y="526"/>
                    <a:pt x="139" y="526"/>
                    <a:pt x="139" y="526"/>
                  </a:cubicBezTo>
                  <a:cubicBezTo>
                    <a:pt x="141" y="525"/>
                    <a:pt x="141" y="525"/>
                    <a:pt x="141" y="525"/>
                  </a:cubicBezTo>
                  <a:cubicBezTo>
                    <a:pt x="142" y="525"/>
                    <a:pt x="142" y="525"/>
                    <a:pt x="142" y="525"/>
                  </a:cubicBezTo>
                  <a:cubicBezTo>
                    <a:pt x="142" y="525"/>
                    <a:pt x="142" y="525"/>
                    <a:pt x="142" y="525"/>
                  </a:cubicBezTo>
                  <a:cubicBezTo>
                    <a:pt x="142" y="524"/>
                    <a:pt x="142" y="524"/>
                    <a:pt x="142" y="524"/>
                  </a:cubicBezTo>
                  <a:cubicBezTo>
                    <a:pt x="141" y="524"/>
                    <a:pt x="141" y="524"/>
                    <a:pt x="141" y="524"/>
                  </a:cubicBezTo>
                  <a:cubicBezTo>
                    <a:pt x="141" y="524"/>
                    <a:pt x="141" y="524"/>
                    <a:pt x="141" y="524"/>
                  </a:cubicBezTo>
                  <a:cubicBezTo>
                    <a:pt x="141" y="524"/>
                    <a:pt x="141" y="524"/>
                    <a:pt x="141" y="524"/>
                  </a:cubicBezTo>
                  <a:cubicBezTo>
                    <a:pt x="142" y="524"/>
                    <a:pt x="142" y="524"/>
                    <a:pt x="142" y="524"/>
                  </a:cubicBezTo>
                  <a:cubicBezTo>
                    <a:pt x="142" y="524"/>
                    <a:pt x="142" y="524"/>
                    <a:pt x="142" y="524"/>
                  </a:cubicBezTo>
                  <a:cubicBezTo>
                    <a:pt x="142" y="523"/>
                    <a:pt x="142" y="523"/>
                    <a:pt x="142" y="523"/>
                  </a:cubicBezTo>
                  <a:cubicBezTo>
                    <a:pt x="142" y="523"/>
                    <a:pt x="142" y="523"/>
                    <a:pt x="142" y="523"/>
                  </a:cubicBezTo>
                  <a:cubicBezTo>
                    <a:pt x="143" y="524"/>
                    <a:pt x="143" y="524"/>
                    <a:pt x="143" y="524"/>
                  </a:cubicBezTo>
                  <a:cubicBezTo>
                    <a:pt x="143" y="524"/>
                    <a:pt x="143" y="524"/>
                    <a:pt x="143" y="524"/>
                  </a:cubicBezTo>
                  <a:cubicBezTo>
                    <a:pt x="143" y="524"/>
                    <a:pt x="143" y="524"/>
                    <a:pt x="143" y="524"/>
                  </a:cubicBezTo>
                  <a:cubicBezTo>
                    <a:pt x="143" y="522"/>
                    <a:pt x="143" y="522"/>
                    <a:pt x="143" y="522"/>
                  </a:cubicBezTo>
                  <a:cubicBezTo>
                    <a:pt x="142" y="521"/>
                    <a:pt x="142" y="521"/>
                    <a:pt x="142" y="521"/>
                  </a:cubicBezTo>
                  <a:cubicBezTo>
                    <a:pt x="141" y="521"/>
                    <a:pt x="141" y="521"/>
                    <a:pt x="141" y="521"/>
                  </a:cubicBezTo>
                  <a:cubicBezTo>
                    <a:pt x="140" y="520"/>
                    <a:pt x="140" y="520"/>
                    <a:pt x="140" y="520"/>
                  </a:cubicBezTo>
                  <a:cubicBezTo>
                    <a:pt x="140" y="518"/>
                    <a:pt x="140" y="518"/>
                    <a:pt x="140" y="518"/>
                  </a:cubicBezTo>
                  <a:cubicBezTo>
                    <a:pt x="138" y="517"/>
                    <a:pt x="138" y="517"/>
                    <a:pt x="138" y="517"/>
                  </a:cubicBezTo>
                  <a:cubicBezTo>
                    <a:pt x="137" y="516"/>
                    <a:pt x="137" y="516"/>
                    <a:pt x="137" y="516"/>
                  </a:cubicBezTo>
                  <a:cubicBezTo>
                    <a:pt x="139" y="516"/>
                    <a:pt x="139" y="516"/>
                    <a:pt x="139" y="516"/>
                  </a:cubicBezTo>
                  <a:cubicBezTo>
                    <a:pt x="140" y="515"/>
                    <a:pt x="140" y="515"/>
                    <a:pt x="140" y="515"/>
                  </a:cubicBezTo>
                  <a:cubicBezTo>
                    <a:pt x="140" y="515"/>
                    <a:pt x="140" y="515"/>
                    <a:pt x="140" y="515"/>
                  </a:cubicBezTo>
                  <a:cubicBezTo>
                    <a:pt x="140" y="516"/>
                    <a:pt x="140" y="516"/>
                    <a:pt x="140" y="516"/>
                  </a:cubicBezTo>
                  <a:cubicBezTo>
                    <a:pt x="140" y="517"/>
                    <a:pt x="140" y="517"/>
                    <a:pt x="140" y="517"/>
                  </a:cubicBezTo>
                  <a:cubicBezTo>
                    <a:pt x="140" y="517"/>
                    <a:pt x="140" y="517"/>
                    <a:pt x="140" y="517"/>
                  </a:cubicBezTo>
                  <a:cubicBezTo>
                    <a:pt x="140" y="518"/>
                    <a:pt x="140" y="518"/>
                    <a:pt x="140" y="518"/>
                  </a:cubicBezTo>
                  <a:cubicBezTo>
                    <a:pt x="141" y="518"/>
                    <a:pt x="141" y="518"/>
                    <a:pt x="141" y="518"/>
                  </a:cubicBezTo>
                  <a:cubicBezTo>
                    <a:pt x="141" y="519"/>
                    <a:pt x="141" y="519"/>
                    <a:pt x="141" y="519"/>
                  </a:cubicBezTo>
                  <a:cubicBezTo>
                    <a:pt x="141" y="520"/>
                    <a:pt x="141" y="520"/>
                    <a:pt x="141" y="520"/>
                  </a:cubicBezTo>
                  <a:cubicBezTo>
                    <a:pt x="141" y="520"/>
                    <a:pt x="141" y="520"/>
                    <a:pt x="141" y="520"/>
                  </a:cubicBezTo>
                  <a:cubicBezTo>
                    <a:pt x="142" y="520"/>
                    <a:pt x="142" y="520"/>
                    <a:pt x="142" y="520"/>
                  </a:cubicBezTo>
                  <a:cubicBezTo>
                    <a:pt x="142" y="519"/>
                    <a:pt x="142" y="519"/>
                    <a:pt x="142" y="519"/>
                  </a:cubicBezTo>
                  <a:cubicBezTo>
                    <a:pt x="142" y="518"/>
                    <a:pt x="142" y="518"/>
                    <a:pt x="142" y="518"/>
                  </a:cubicBezTo>
                  <a:cubicBezTo>
                    <a:pt x="142" y="518"/>
                    <a:pt x="142" y="518"/>
                    <a:pt x="142" y="518"/>
                  </a:cubicBezTo>
                  <a:cubicBezTo>
                    <a:pt x="142" y="518"/>
                    <a:pt x="142" y="518"/>
                    <a:pt x="142" y="518"/>
                  </a:cubicBezTo>
                  <a:cubicBezTo>
                    <a:pt x="142" y="518"/>
                    <a:pt x="142" y="518"/>
                    <a:pt x="142" y="518"/>
                  </a:cubicBezTo>
                  <a:cubicBezTo>
                    <a:pt x="142" y="519"/>
                    <a:pt x="142" y="519"/>
                    <a:pt x="142" y="519"/>
                  </a:cubicBezTo>
                  <a:cubicBezTo>
                    <a:pt x="142" y="519"/>
                    <a:pt x="142" y="519"/>
                    <a:pt x="142" y="519"/>
                  </a:cubicBezTo>
                  <a:cubicBezTo>
                    <a:pt x="142" y="519"/>
                    <a:pt x="142" y="519"/>
                    <a:pt x="142" y="519"/>
                  </a:cubicBezTo>
                  <a:cubicBezTo>
                    <a:pt x="143" y="519"/>
                    <a:pt x="143" y="519"/>
                    <a:pt x="143" y="519"/>
                  </a:cubicBezTo>
                  <a:cubicBezTo>
                    <a:pt x="143" y="519"/>
                    <a:pt x="143" y="519"/>
                    <a:pt x="143" y="519"/>
                  </a:cubicBezTo>
                  <a:cubicBezTo>
                    <a:pt x="144" y="521"/>
                    <a:pt x="144" y="521"/>
                    <a:pt x="144" y="521"/>
                  </a:cubicBezTo>
                  <a:cubicBezTo>
                    <a:pt x="144" y="521"/>
                    <a:pt x="144" y="521"/>
                    <a:pt x="144" y="521"/>
                  </a:cubicBezTo>
                  <a:cubicBezTo>
                    <a:pt x="144" y="520"/>
                    <a:pt x="144" y="520"/>
                    <a:pt x="144" y="520"/>
                  </a:cubicBezTo>
                  <a:cubicBezTo>
                    <a:pt x="145" y="520"/>
                    <a:pt x="145" y="520"/>
                    <a:pt x="145" y="520"/>
                  </a:cubicBezTo>
                  <a:cubicBezTo>
                    <a:pt x="146" y="521"/>
                    <a:pt x="146" y="521"/>
                    <a:pt x="146" y="521"/>
                  </a:cubicBezTo>
                  <a:cubicBezTo>
                    <a:pt x="146" y="522"/>
                    <a:pt x="146" y="522"/>
                    <a:pt x="146" y="522"/>
                  </a:cubicBezTo>
                  <a:cubicBezTo>
                    <a:pt x="146" y="524"/>
                    <a:pt x="146" y="524"/>
                    <a:pt x="146" y="524"/>
                  </a:cubicBezTo>
                  <a:cubicBezTo>
                    <a:pt x="146" y="524"/>
                    <a:pt x="146" y="524"/>
                    <a:pt x="146" y="524"/>
                  </a:cubicBezTo>
                  <a:cubicBezTo>
                    <a:pt x="145" y="525"/>
                    <a:pt x="145" y="525"/>
                    <a:pt x="145" y="525"/>
                  </a:cubicBezTo>
                  <a:cubicBezTo>
                    <a:pt x="147" y="525"/>
                    <a:pt x="147" y="525"/>
                    <a:pt x="147" y="525"/>
                  </a:cubicBezTo>
                  <a:cubicBezTo>
                    <a:pt x="150" y="525"/>
                    <a:pt x="150" y="525"/>
                    <a:pt x="150" y="525"/>
                  </a:cubicBezTo>
                  <a:cubicBezTo>
                    <a:pt x="151" y="525"/>
                    <a:pt x="151" y="525"/>
                    <a:pt x="151" y="525"/>
                  </a:cubicBezTo>
                  <a:cubicBezTo>
                    <a:pt x="151" y="524"/>
                    <a:pt x="151" y="524"/>
                    <a:pt x="151" y="524"/>
                  </a:cubicBezTo>
                  <a:cubicBezTo>
                    <a:pt x="152" y="523"/>
                    <a:pt x="152" y="523"/>
                    <a:pt x="152" y="523"/>
                  </a:cubicBezTo>
                  <a:cubicBezTo>
                    <a:pt x="152" y="521"/>
                    <a:pt x="152" y="521"/>
                    <a:pt x="152" y="521"/>
                  </a:cubicBezTo>
                  <a:cubicBezTo>
                    <a:pt x="152" y="521"/>
                    <a:pt x="152" y="521"/>
                    <a:pt x="152" y="521"/>
                  </a:cubicBezTo>
                  <a:cubicBezTo>
                    <a:pt x="153" y="522"/>
                    <a:pt x="153" y="522"/>
                    <a:pt x="153" y="522"/>
                  </a:cubicBezTo>
                  <a:cubicBezTo>
                    <a:pt x="153" y="522"/>
                    <a:pt x="153" y="522"/>
                    <a:pt x="153" y="522"/>
                  </a:cubicBezTo>
                  <a:cubicBezTo>
                    <a:pt x="153" y="522"/>
                    <a:pt x="153" y="522"/>
                    <a:pt x="153" y="522"/>
                  </a:cubicBezTo>
                  <a:cubicBezTo>
                    <a:pt x="154" y="521"/>
                    <a:pt x="154" y="521"/>
                    <a:pt x="154" y="521"/>
                  </a:cubicBezTo>
                  <a:cubicBezTo>
                    <a:pt x="155" y="521"/>
                    <a:pt x="155" y="521"/>
                    <a:pt x="155" y="521"/>
                  </a:cubicBezTo>
                  <a:cubicBezTo>
                    <a:pt x="156" y="520"/>
                    <a:pt x="156" y="520"/>
                    <a:pt x="156" y="520"/>
                  </a:cubicBezTo>
                  <a:cubicBezTo>
                    <a:pt x="156" y="520"/>
                    <a:pt x="156" y="520"/>
                    <a:pt x="156" y="520"/>
                  </a:cubicBezTo>
                  <a:cubicBezTo>
                    <a:pt x="156" y="521"/>
                    <a:pt x="156" y="521"/>
                    <a:pt x="156" y="521"/>
                  </a:cubicBezTo>
                  <a:cubicBezTo>
                    <a:pt x="156" y="521"/>
                    <a:pt x="156" y="521"/>
                    <a:pt x="156" y="521"/>
                  </a:cubicBezTo>
                  <a:cubicBezTo>
                    <a:pt x="155" y="522"/>
                    <a:pt x="155" y="522"/>
                    <a:pt x="155" y="522"/>
                  </a:cubicBezTo>
                  <a:cubicBezTo>
                    <a:pt x="154" y="523"/>
                    <a:pt x="154" y="523"/>
                    <a:pt x="154" y="523"/>
                  </a:cubicBezTo>
                  <a:cubicBezTo>
                    <a:pt x="155" y="523"/>
                    <a:pt x="155" y="523"/>
                    <a:pt x="155" y="523"/>
                  </a:cubicBezTo>
                  <a:cubicBezTo>
                    <a:pt x="156" y="523"/>
                    <a:pt x="156" y="523"/>
                    <a:pt x="156" y="523"/>
                  </a:cubicBezTo>
                  <a:cubicBezTo>
                    <a:pt x="157" y="522"/>
                    <a:pt x="157" y="522"/>
                    <a:pt x="157" y="522"/>
                  </a:cubicBezTo>
                  <a:cubicBezTo>
                    <a:pt x="158" y="521"/>
                    <a:pt x="158" y="521"/>
                    <a:pt x="158" y="521"/>
                  </a:cubicBezTo>
                  <a:cubicBezTo>
                    <a:pt x="158" y="521"/>
                    <a:pt x="158" y="521"/>
                    <a:pt x="158" y="521"/>
                  </a:cubicBezTo>
                  <a:cubicBezTo>
                    <a:pt x="158" y="520"/>
                    <a:pt x="158" y="520"/>
                    <a:pt x="158" y="520"/>
                  </a:cubicBezTo>
                  <a:cubicBezTo>
                    <a:pt x="157" y="520"/>
                    <a:pt x="157" y="520"/>
                    <a:pt x="157" y="520"/>
                  </a:cubicBezTo>
                  <a:cubicBezTo>
                    <a:pt x="157" y="519"/>
                    <a:pt x="157" y="519"/>
                    <a:pt x="157" y="519"/>
                  </a:cubicBezTo>
                  <a:cubicBezTo>
                    <a:pt x="157" y="518"/>
                    <a:pt x="157" y="518"/>
                    <a:pt x="157" y="518"/>
                  </a:cubicBezTo>
                  <a:cubicBezTo>
                    <a:pt x="158" y="517"/>
                    <a:pt x="158" y="517"/>
                    <a:pt x="158" y="517"/>
                  </a:cubicBezTo>
                  <a:cubicBezTo>
                    <a:pt x="158" y="516"/>
                    <a:pt x="158" y="516"/>
                    <a:pt x="158" y="516"/>
                  </a:cubicBezTo>
                  <a:cubicBezTo>
                    <a:pt x="158" y="516"/>
                    <a:pt x="158" y="516"/>
                    <a:pt x="158" y="516"/>
                  </a:cubicBezTo>
                  <a:cubicBezTo>
                    <a:pt x="159" y="520"/>
                    <a:pt x="159" y="520"/>
                    <a:pt x="159" y="520"/>
                  </a:cubicBezTo>
                  <a:cubicBezTo>
                    <a:pt x="159" y="521"/>
                    <a:pt x="159" y="521"/>
                    <a:pt x="159" y="521"/>
                  </a:cubicBezTo>
                  <a:cubicBezTo>
                    <a:pt x="159" y="520"/>
                    <a:pt x="159" y="520"/>
                    <a:pt x="159" y="520"/>
                  </a:cubicBezTo>
                  <a:cubicBezTo>
                    <a:pt x="159" y="517"/>
                    <a:pt x="159" y="517"/>
                    <a:pt x="159" y="517"/>
                  </a:cubicBezTo>
                  <a:cubicBezTo>
                    <a:pt x="159" y="516"/>
                    <a:pt x="159" y="516"/>
                    <a:pt x="159" y="516"/>
                  </a:cubicBezTo>
                  <a:cubicBezTo>
                    <a:pt x="160" y="517"/>
                    <a:pt x="160" y="517"/>
                    <a:pt x="160" y="517"/>
                  </a:cubicBezTo>
                  <a:cubicBezTo>
                    <a:pt x="160" y="518"/>
                    <a:pt x="160" y="518"/>
                    <a:pt x="160" y="518"/>
                  </a:cubicBezTo>
                  <a:cubicBezTo>
                    <a:pt x="160" y="519"/>
                    <a:pt x="160" y="519"/>
                    <a:pt x="160" y="519"/>
                  </a:cubicBezTo>
                  <a:cubicBezTo>
                    <a:pt x="160" y="519"/>
                    <a:pt x="160" y="519"/>
                    <a:pt x="160" y="519"/>
                  </a:cubicBezTo>
                  <a:cubicBezTo>
                    <a:pt x="160" y="518"/>
                    <a:pt x="160" y="518"/>
                    <a:pt x="160" y="518"/>
                  </a:cubicBezTo>
                  <a:cubicBezTo>
                    <a:pt x="160" y="516"/>
                    <a:pt x="160" y="516"/>
                    <a:pt x="160" y="516"/>
                  </a:cubicBezTo>
                  <a:cubicBezTo>
                    <a:pt x="160" y="515"/>
                    <a:pt x="160" y="515"/>
                    <a:pt x="160" y="515"/>
                  </a:cubicBezTo>
                  <a:cubicBezTo>
                    <a:pt x="160" y="515"/>
                    <a:pt x="160" y="515"/>
                    <a:pt x="160" y="515"/>
                  </a:cubicBezTo>
                  <a:cubicBezTo>
                    <a:pt x="160" y="515"/>
                    <a:pt x="160" y="515"/>
                    <a:pt x="160" y="515"/>
                  </a:cubicBezTo>
                  <a:cubicBezTo>
                    <a:pt x="160" y="514"/>
                    <a:pt x="160" y="514"/>
                    <a:pt x="160" y="514"/>
                  </a:cubicBezTo>
                  <a:cubicBezTo>
                    <a:pt x="160" y="512"/>
                    <a:pt x="160" y="512"/>
                    <a:pt x="160" y="512"/>
                  </a:cubicBezTo>
                  <a:cubicBezTo>
                    <a:pt x="161" y="511"/>
                    <a:pt x="161" y="511"/>
                    <a:pt x="161" y="511"/>
                  </a:cubicBezTo>
                  <a:cubicBezTo>
                    <a:pt x="161" y="511"/>
                    <a:pt x="161" y="511"/>
                    <a:pt x="161" y="511"/>
                  </a:cubicBezTo>
                  <a:cubicBezTo>
                    <a:pt x="161" y="510"/>
                    <a:pt x="161" y="510"/>
                    <a:pt x="161" y="510"/>
                  </a:cubicBezTo>
                  <a:cubicBezTo>
                    <a:pt x="162" y="510"/>
                    <a:pt x="162" y="510"/>
                    <a:pt x="162" y="510"/>
                  </a:cubicBezTo>
                  <a:cubicBezTo>
                    <a:pt x="162" y="510"/>
                    <a:pt x="162" y="510"/>
                    <a:pt x="162" y="510"/>
                  </a:cubicBezTo>
                  <a:cubicBezTo>
                    <a:pt x="162" y="509"/>
                    <a:pt x="162" y="509"/>
                    <a:pt x="162" y="509"/>
                  </a:cubicBezTo>
                  <a:cubicBezTo>
                    <a:pt x="162" y="509"/>
                    <a:pt x="162" y="509"/>
                    <a:pt x="162" y="509"/>
                  </a:cubicBezTo>
                  <a:cubicBezTo>
                    <a:pt x="162" y="508"/>
                    <a:pt x="162" y="508"/>
                    <a:pt x="162" y="508"/>
                  </a:cubicBezTo>
                  <a:cubicBezTo>
                    <a:pt x="162" y="507"/>
                    <a:pt x="162" y="507"/>
                    <a:pt x="162" y="507"/>
                  </a:cubicBezTo>
                  <a:cubicBezTo>
                    <a:pt x="162" y="507"/>
                    <a:pt x="162" y="507"/>
                    <a:pt x="162" y="507"/>
                  </a:cubicBezTo>
                  <a:cubicBezTo>
                    <a:pt x="163" y="508"/>
                    <a:pt x="163" y="508"/>
                    <a:pt x="163" y="508"/>
                  </a:cubicBezTo>
                  <a:cubicBezTo>
                    <a:pt x="164" y="509"/>
                    <a:pt x="164" y="509"/>
                    <a:pt x="164" y="509"/>
                  </a:cubicBezTo>
                  <a:cubicBezTo>
                    <a:pt x="165" y="509"/>
                    <a:pt x="165" y="509"/>
                    <a:pt x="165" y="509"/>
                  </a:cubicBezTo>
                  <a:cubicBezTo>
                    <a:pt x="165" y="507"/>
                    <a:pt x="165" y="507"/>
                    <a:pt x="165" y="507"/>
                  </a:cubicBezTo>
                  <a:cubicBezTo>
                    <a:pt x="166" y="506"/>
                    <a:pt x="166" y="506"/>
                    <a:pt x="166" y="506"/>
                  </a:cubicBezTo>
                  <a:cubicBezTo>
                    <a:pt x="166" y="506"/>
                    <a:pt x="166" y="506"/>
                    <a:pt x="166" y="506"/>
                  </a:cubicBezTo>
                  <a:cubicBezTo>
                    <a:pt x="166" y="505"/>
                    <a:pt x="166" y="505"/>
                    <a:pt x="166" y="505"/>
                  </a:cubicBezTo>
                  <a:cubicBezTo>
                    <a:pt x="166" y="504"/>
                    <a:pt x="166" y="504"/>
                    <a:pt x="166" y="504"/>
                  </a:cubicBezTo>
                  <a:cubicBezTo>
                    <a:pt x="165" y="503"/>
                    <a:pt x="165" y="503"/>
                    <a:pt x="165" y="503"/>
                  </a:cubicBezTo>
                  <a:cubicBezTo>
                    <a:pt x="164" y="503"/>
                    <a:pt x="164" y="503"/>
                    <a:pt x="164" y="503"/>
                  </a:cubicBezTo>
                  <a:cubicBezTo>
                    <a:pt x="164" y="502"/>
                    <a:pt x="164" y="502"/>
                    <a:pt x="164" y="502"/>
                  </a:cubicBezTo>
                  <a:cubicBezTo>
                    <a:pt x="165" y="500"/>
                    <a:pt x="165" y="500"/>
                    <a:pt x="165" y="500"/>
                  </a:cubicBezTo>
                  <a:cubicBezTo>
                    <a:pt x="165" y="499"/>
                    <a:pt x="165" y="499"/>
                    <a:pt x="165" y="499"/>
                  </a:cubicBezTo>
                  <a:cubicBezTo>
                    <a:pt x="165" y="498"/>
                    <a:pt x="165" y="498"/>
                    <a:pt x="165" y="498"/>
                  </a:cubicBezTo>
                  <a:cubicBezTo>
                    <a:pt x="165" y="497"/>
                    <a:pt x="165" y="497"/>
                    <a:pt x="165" y="497"/>
                  </a:cubicBezTo>
                  <a:cubicBezTo>
                    <a:pt x="162" y="497"/>
                    <a:pt x="162" y="497"/>
                    <a:pt x="162" y="497"/>
                  </a:cubicBezTo>
                  <a:cubicBezTo>
                    <a:pt x="161" y="494"/>
                    <a:pt x="161" y="494"/>
                    <a:pt x="161" y="494"/>
                  </a:cubicBezTo>
                  <a:cubicBezTo>
                    <a:pt x="160" y="494"/>
                    <a:pt x="160" y="494"/>
                    <a:pt x="160" y="494"/>
                  </a:cubicBezTo>
                  <a:cubicBezTo>
                    <a:pt x="160" y="493"/>
                    <a:pt x="160" y="493"/>
                    <a:pt x="160" y="493"/>
                  </a:cubicBezTo>
                  <a:cubicBezTo>
                    <a:pt x="159" y="492"/>
                    <a:pt x="159" y="492"/>
                    <a:pt x="159" y="492"/>
                  </a:cubicBezTo>
                  <a:cubicBezTo>
                    <a:pt x="158" y="491"/>
                    <a:pt x="158" y="491"/>
                    <a:pt x="158" y="491"/>
                  </a:cubicBezTo>
                  <a:cubicBezTo>
                    <a:pt x="158" y="490"/>
                    <a:pt x="158" y="490"/>
                    <a:pt x="158" y="490"/>
                  </a:cubicBezTo>
                  <a:cubicBezTo>
                    <a:pt x="159" y="490"/>
                    <a:pt x="159" y="490"/>
                    <a:pt x="159" y="490"/>
                  </a:cubicBezTo>
                  <a:cubicBezTo>
                    <a:pt x="161" y="492"/>
                    <a:pt x="161" y="492"/>
                    <a:pt x="161" y="492"/>
                  </a:cubicBezTo>
                  <a:cubicBezTo>
                    <a:pt x="162" y="492"/>
                    <a:pt x="162" y="492"/>
                    <a:pt x="162" y="492"/>
                  </a:cubicBezTo>
                  <a:cubicBezTo>
                    <a:pt x="163" y="492"/>
                    <a:pt x="163" y="492"/>
                    <a:pt x="163" y="492"/>
                  </a:cubicBezTo>
                  <a:cubicBezTo>
                    <a:pt x="163" y="491"/>
                    <a:pt x="163" y="491"/>
                    <a:pt x="163" y="491"/>
                  </a:cubicBezTo>
                  <a:cubicBezTo>
                    <a:pt x="163" y="489"/>
                    <a:pt x="163" y="489"/>
                    <a:pt x="163" y="489"/>
                  </a:cubicBezTo>
                  <a:cubicBezTo>
                    <a:pt x="163" y="487"/>
                    <a:pt x="163" y="487"/>
                    <a:pt x="163" y="487"/>
                  </a:cubicBezTo>
                  <a:cubicBezTo>
                    <a:pt x="163" y="486"/>
                    <a:pt x="163" y="486"/>
                    <a:pt x="163" y="486"/>
                  </a:cubicBezTo>
                  <a:cubicBezTo>
                    <a:pt x="162" y="485"/>
                    <a:pt x="162" y="485"/>
                    <a:pt x="162" y="485"/>
                  </a:cubicBezTo>
                  <a:cubicBezTo>
                    <a:pt x="162" y="484"/>
                    <a:pt x="162" y="484"/>
                    <a:pt x="162" y="484"/>
                  </a:cubicBezTo>
                  <a:cubicBezTo>
                    <a:pt x="160" y="483"/>
                    <a:pt x="160" y="483"/>
                    <a:pt x="160" y="483"/>
                  </a:cubicBezTo>
                  <a:cubicBezTo>
                    <a:pt x="160" y="482"/>
                    <a:pt x="160" y="482"/>
                    <a:pt x="160" y="482"/>
                  </a:cubicBezTo>
                  <a:cubicBezTo>
                    <a:pt x="159" y="482"/>
                    <a:pt x="159" y="482"/>
                    <a:pt x="159" y="482"/>
                  </a:cubicBezTo>
                  <a:cubicBezTo>
                    <a:pt x="159" y="482"/>
                    <a:pt x="159" y="482"/>
                    <a:pt x="159" y="482"/>
                  </a:cubicBezTo>
                  <a:cubicBezTo>
                    <a:pt x="158" y="481"/>
                    <a:pt x="158" y="481"/>
                    <a:pt x="158" y="481"/>
                  </a:cubicBezTo>
                  <a:cubicBezTo>
                    <a:pt x="158" y="481"/>
                    <a:pt x="158" y="481"/>
                    <a:pt x="158" y="481"/>
                  </a:cubicBezTo>
                  <a:cubicBezTo>
                    <a:pt x="158" y="480"/>
                    <a:pt x="158" y="480"/>
                    <a:pt x="158" y="480"/>
                  </a:cubicBezTo>
                  <a:cubicBezTo>
                    <a:pt x="159" y="480"/>
                    <a:pt x="159" y="480"/>
                    <a:pt x="159" y="480"/>
                  </a:cubicBezTo>
                  <a:cubicBezTo>
                    <a:pt x="160" y="480"/>
                    <a:pt x="160" y="480"/>
                    <a:pt x="160" y="480"/>
                  </a:cubicBezTo>
                  <a:cubicBezTo>
                    <a:pt x="161" y="481"/>
                    <a:pt x="161" y="481"/>
                    <a:pt x="161" y="481"/>
                  </a:cubicBezTo>
                  <a:cubicBezTo>
                    <a:pt x="161" y="482"/>
                    <a:pt x="161" y="482"/>
                    <a:pt x="161" y="482"/>
                  </a:cubicBezTo>
                  <a:cubicBezTo>
                    <a:pt x="162" y="482"/>
                    <a:pt x="162" y="482"/>
                    <a:pt x="162" y="482"/>
                  </a:cubicBezTo>
                  <a:cubicBezTo>
                    <a:pt x="162" y="481"/>
                    <a:pt x="162" y="481"/>
                    <a:pt x="162" y="481"/>
                  </a:cubicBezTo>
                  <a:cubicBezTo>
                    <a:pt x="162" y="482"/>
                    <a:pt x="162" y="482"/>
                    <a:pt x="162" y="482"/>
                  </a:cubicBezTo>
                  <a:cubicBezTo>
                    <a:pt x="162" y="482"/>
                    <a:pt x="162" y="482"/>
                    <a:pt x="162" y="482"/>
                  </a:cubicBezTo>
                  <a:cubicBezTo>
                    <a:pt x="163" y="483"/>
                    <a:pt x="163" y="483"/>
                    <a:pt x="163" y="483"/>
                  </a:cubicBezTo>
                  <a:cubicBezTo>
                    <a:pt x="163" y="483"/>
                    <a:pt x="163" y="483"/>
                    <a:pt x="163" y="483"/>
                  </a:cubicBezTo>
                  <a:cubicBezTo>
                    <a:pt x="163" y="484"/>
                    <a:pt x="163" y="484"/>
                    <a:pt x="163" y="484"/>
                  </a:cubicBezTo>
                  <a:cubicBezTo>
                    <a:pt x="163" y="484"/>
                    <a:pt x="163" y="484"/>
                    <a:pt x="163" y="484"/>
                  </a:cubicBezTo>
                  <a:cubicBezTo>
                    <a:pt x="163" y="485"/>
                    <a:pt x="163" y="485"/>
                    <a:pt x="163" y="485"/>
                  </a:cubicBezTo>
                  <a:cubicBezTo>
                    <a:pt x="164" y="488"/>
                    <a:pt x="164" y="488"/>
                    <a:pt x="164" y="488"/>
                  </a:cubicBezTo>
                  <a:cubicBezTo>
                    <a:pt x="164" y="488"/>
                    <a:pt x="164" y="488"/>
                    <a:pt x="164" y="488"/>
                  </a:cubicBezTo>
                  <a:cubicBezTo>
                    <a:pt x="164" y="491"/>
                    <a:pt x="164" y="491"/>
                    <a:pt x="164" y="491"/>
                  </a:cubicBezTo>
                  <a:cubicBezTo>
                    <a:pt x="164" y="492"/>
                    <a:pt x="164" y="492"/>
                    <a:pt x="164" y="492"/>
                  </a:cubicBezTo>
                  <a:cubicBezTo>
                    <a:pt x="164" y="493"/>
                    <a:pt x="164" y="493"/>
                    <a:pt x="164" y="493"/>
                  </a:cubicBezTo>
                  <a:cubicBezTo>
                    <a:pt x="166" y="493"/>
                    <a:pt x="166" y="493"/>
                    <a:pt x="166" y="493"/>
                  </a:cubicBezTo>
                  <a:cubicBezTo>
                    <a:pt x="167" y="492"/>
                    <a:pt x="167" y="492"/>
                    <a:pt x="167" y="492"/>
                  </a:cubicBezTo>
                  <a:cubicBezTo>
                    <a:pt x="169" y="490"/>
                    <a:pt x="169" y="490"/>
                    <a:pt x="169" y="490"/>
                  </a:cubicBezTo>
                  <a:cubicBezTo>
                    <a:pt x="169" y="488"/>
                    <a:pt x="169" y="488"/>
                    <a:pt x="169" y="488"/>
                  </a:cubicBezTo>
                  <a:cubicBezTo>
                    <a:pt x="169" y="487"/>
                    <a:pt x="169" y="487"/>
                    <a:pt x="169" y="487"/>
                  </a:cubicBezTo>
                  <a:cubicBezTo>
                    <a:pt x="169" y="485"/>
                    <a:pt x="169" y="485"/>
                    <a:pt x="169" y="485"/>
                  </a:cubicBezTo>
                  <a:cubicBezTo>
                    <a:pt x="168" y="484"/>
                    <a:pt x="168" y="484"/>
                    <a:pt x="168" y="484"/>
                  </a:cubicBezTo>
                  <a:cubicBezTo>
                    <a:pt x="168" y="484"/>
                    <a:pt x="168" y="484"/>
                    <a:pt x="168" y="484"/>
                  </a:cubicBezTo>
                  <a:cubicBezTo>
                    <a:pt x="167" y="484"/>
                    <a:pt x="167" y="484"/>
                    <a:pt x="167" y="484"/>
                  </a:cubicBezTo>
                  <a:cubicBezTo>
                    <a:pt x="166" y="483"/>
                    <a:pt x="166" y="483"/>
                    <a:pt x="166" y="483"/>
                  </a:cubicBezTo>
                  <a:cubicBezTo>
                    <a:pt x="166" y="482"/>
                    <a:pt x="166" y="482"/>
                    <a:pt x="166" y="482"/>
                  </a:cubicBezTo>
                  <a:cubicBezTo>
                    <a:pt x="166" y="480"/>
                    <a:pt x="166" y="480"/>
                    <a:pt x="166" y="480"/>
                  </a:cubicBezTo>
                  <a:cubicBezTo>
                    <a:pt x="166" y="479"/>
                    <a:pt x="166" y="479"/>
                    <a:pt x="166" y="479"/>
                  </a:cubicBezTo>
                  <a:cubicBezTo>
                    <a:pt x="166" y="477"/>
                    <a:pt x="166" y="477"/>
                    <a:pt x="166" y="477"/>
                  </a:cubicBezTo>
                  <a:cubicBezTo>
                    <a:pt x="166" y="476"/>
                    <a:pt x="166" y="476"/>
                    <a:pt x="166" y="476"/>
                  </a:cubicBezTo>
                  <a:cubicBezTo>
                    <a:pt x="166" y="475"/>
                    <a:pt x="166" y="475"/>
                    <a:pt x="166" y="475"/>
                  </a:cubicBezTo>
                  <a:cubicBezTo>
                    <a:pt x="166" y="474"/>
                    <a:pt x="166" y="474"/>
                    <a:pt x="166" y="474"/>
                  </a:cubicBezTo>
                  <a:cubicBezTo>
                    <a:pt x="165" y="474"/>
                    <a:pt x="165" y="474"/>
                    <a:pt x="165" y="474"/>
                  </a:cubicBezTo>
                  <a:cubicBezTo>
                    <a:pt x="165" y="473"/>
                    <a:pt x="165" y="473"/>
                    <a:pt x="165" y="473"/>
                  </a:cubicBezTo>
                  <a:cubicBezTo>
                    <a:pt x="166" y="472"/>
                    <a:pt x="166" y="472"/>
                    <a:pt x="166" y="472"/>
                  </a:cubicBezTo>
                  <a:cubicBezTo>
                    <a:pt x="167" y="471"/>
                    <a:pt x="167" y="471"/>
                    <a:pt x="167" y="471"/>
                  </a:cubicBezTo>
                  <a:cubicBezTo>
                    <a:pt x="168" y="471"/>
                    <a:pt x="168" y="471"/>
                    <a:pt x="168" y="471"/>
                  </a:cubicBezTo>
                  <a:cubicBezTo>
                    <a:pt x="169" y="471"/>
                    <a:pt x="169" y="471"/>
                    <a:pt x="169" y="471"/>
                  </a:cubicBezTo>
                  <a:cubicBezTo>
                    <a:pt x="169" y="471"/>
                    <a:pt x="169" y="471"/>
                    <a:pt x="169" y="471"/>
                  </a:cubicBezTo>
                  <a:cubicBezTo>
                    <a:pt x="169" y="471"/>
                    <a:pt x="169" y="471"/>
                    <a:pt x="169" y="471"/>
                  </a:cubicBezTo>
                  <a:cubicBezTo>
                    <a:pt x="170" y="470"/>
                    <a:pt x="170" y="470"/>
                    <a:pt x="170" y="470"/>
                  </a:cubicBezTo>
                  <a:cubicBezTo>
                    <a:pt x="171" y="471"/>
                    <a:pt x="171" y="471"/>
                    <a:pt x="171" y="471"/>
                  </a:cubicBezTo>
                  <a:cubicBezTo>
                    <a:pt x="171" y="471"/>
                    <a:pt x="171" y="471"/>
                    <a:pt x="171" y="471"/>
                  </a:cubicBezTo>
                  <a:cubicBezTo>
                    <a:pt x="171" y="470"/>
                    <a:pt x="171" y="470"/>
                    <a:pt x="171" y="470"/>
                  </a:cubicBezTo>
                  <a:cubicBezTo>
                    <a:pt x="172" y="470"/>
                    <a:pt x="172" y="470"/>
                    <a:pt x="172" y="470"/>
                  </a:cubicBezTo>
                  <a:cubicBezTo>
                    <a:pt x="172" y="470"/>
                    <a:pt x="172" y="470"/>
                    <a:pt x="172" y="470"/>
                  </a:cubicBezTo>
                  <a:cubicBezTo>
                    <a:pt x="173" y="470"/>
                    <a:pt x="173" y="470"/>
                    <a:pt x="173" y="470"/>
                  </a:cubicBezTo>
                  <a:cubicBezTo>
                    <a:pt x="173" y="471"/>
                    <a:pt x="173" y="471"/>
                    <a:pt x="173" y="471"/>
                  </a:cubicBezTo>
                  <a:cubicBezTo>
                    <a:pt x="173" y="471"/>
                    <a:pt x="173" y="471"/>
                    <a:pt x="173" y="471"/>
                  </a:cubicBezTo>
                  <a:cubicBezTo>
                    <a:pt x="174" y="473"/>
                    <a:pt x="174" y="473"/>
                    <a:pt x="174" y="473"/>
                  </a:cubicBezTo>
                  <a:cubicBezTo>
                    <a:pt x="173" y="475"/>
                    <a:pt x="173" y="475"/>
                    <a:pt x="173" y="475"/>
                  </a:cubicBezTo>
                  <a:cubicBezTo>
                    <a:pt x="173" y="478"/>
                    <a:pt x="173" y="478"/>
                    <a:pt x="173" y="478"/>
                  </a:cubicBezTo>
                  <a:cubicBezTo>
                    <a:pt x="172" y="480"/>
                    <a:pt x="172" y="480"/>
                    <a:pt x="172" y="480"/>
                  </a:cubicBezTo>
                  <a:cubicBezTo>
                    <a:pt x="172" y="478"/>
                    <a:pt x="172" y="478"/>
                    <a:pt x="172" y="478"/>
                  </a:cubicBezTo>
                  <a:cubicBezTo>
                    <a:pt x="171" y="475"/>
                    <a:pt x="171" y="475"/>
                    <a:pt x="171" y="475"/>
                  </a:cubicBezTo>
                  <a:cubicBezTo>
                    <a:pt x="171" y="473"/>
                    <a:pt x="171" y="473"/>
                    <a:pt x="171" y="473"/>
                  </a:cubicBezTo>
                  <a:cubicBezTo>
                    <a:pt x="169" y="474"/>
                    <a:pt x="169" y="474"/>
                    <a:pt x="169" y="474"/>
                  </a:cubicBezTo>
                  <a:cubicBezTo>
                    <a:pt x="169" y="475"/>
                    <a:pt x="169" y="475"/>
                    <a:pt x="169" y="475"/>
                  </a:cubicBezTo>
                  <a:cubicBezTo>
                    <a:pt x="168" y="478"/>
                    <a:pt x="168" y="478"/>
                    <a:pt x="168" y="478"/>
                  </a:cubicBezTo>
                  <a:cubicBezTo>
                    <a:pt x="168" y="479"/>
                    <a:pt x="168" y="479"/>
                    <a:pt x="168" y="479"/>
                  </a:cubicBezTo>
                  <a:cubicBezTo>
                    <a:pt x="168" y="481"/>
                    <a:pt x="168" y="481"/>
                    <a:pt x="168" y="481"/>
                  </a:cubicBezTo>
                  <a:cubicBezTo>
                    <a:pt x="168" y="482"/>
                    <a:pt x="168" y="482"/>
                    <a:pt x="168" y="482"/>
                  </a:cubicBezTo>
                  <a:cubicBezTo>
                    <a:pt x="169" y="483"/>
                    <a:pt x="169" y="483"/>
                    <a:pt x="169" y="483"/>
                  </a:cubicBezTo>
                  <a:cubicBezTo>
                    <a:pt x="169" y="482"/>
                    <a:pt x="169" y="482"/>
                    <a:pt x="169" y="482"/>
                  </a:cubicBezTo>
                  <a:cubicBezTo>
                    <a:pt x="169" y="484"/>
                    <a:pt x="169" y="484"/>
                    <a:pt x="169" y="484"/>
                  </a:cubicBezTo>
                  <a:cubicBezTo>
                    <a:pt x="170" y="486"/>
                    <a:pt x="170" y="486"/>
                    <a:pt x="170" y="486"/>
                  </a:cubicBezTo>
                  <a:cubicBezTo>
                    <a:pt x="170" y="487"/>
                    <a:pt x="170" y="487"/>
                    <a:pt x="170" y="487"/>
                  </a:cubicBezTo>
                  <a:cubicBezTo>
                    <a:pt x="171" y="488"/>
                    <a:pt x="171" y="488"/>
                    <a:pt x="171" y="488"/>
                  </a:cubicBezTo>
                  <a:cubicBezTo>
                    <a:pt x="170" y="490"/>
                    <a:pt x="170" y="490"/>
                    <a:pt x="170" y="490"/>
                  </a:cubicBezTo>
                  <a:cubicBezTo>
                    <a:pt x="170" y="491"/>
                    <a:pt x="170" y="491"/>
                    <a:pt x="170" y="491"/>
                  </a:cubicBezTo>
                  <a:cubicBezTo>
                    <a:pt x="170" y="492"/>
                    <a:pt x="170" y="492"/>
                    <a:pt x="170" y="492"/>
                  </a:cubicBezTo>
                  <a:cubicBezTo>
                    <a:pt x="171" y="494"/>
                    <a:pt x="171" y="494"/>
                    <a:pt x="171" y="494"/>
                  </a:cubicBezTo>
                  <a:cubicBezTo>
                    <a:pt x="171" y="494"/>
                    <a:pt x="171" y="494"/>
                    <a:pt x="171" y="494"/>
                  </a:cubicBezTo>
                  <a:cubicBezTo>
                    <a:pt x="172" y="494"/>
                    <a:pt x="172" y="494"/>
                    <a:pt x="172" y="494"/>
                  </a:cubicBezTo>
                  <a:cubicBezTo>
                    <a:pt x="172" y="495"/>
                    <a:pt x="172" y="495"/>
                    <a:pt x="172" y="495"/>
                  </a:cubicBezTo>
                  <a:cubicBezTo>
                    <a:pt x="172" y="496"/>
                    <a:pt x="172" y="496"/>
                    <a:pt x="172" y="496"/>
                  </a:cubicBezTo>
                  <a:cubicBezTo>
                    <a:pt x="172" y="497"/>
                    <a:pt x="172" y="497"/>
                    <a:pt x="172" y="497"/>
                  </a:cubicBezTo>
                  <a:cubicBezTo>
                    <a:pt x="171" y="497"/>
                    <a:pt x="171" y="497"/>
                    <a:pt x="171" y="497"/>
                  </a:cubicBezTo>
                  <a:cubicBezTo>
                    <a:pt x="171" y="497"/>
                    <a:pt x="171" y="497"/>
                    <a:pt x="171" y="497"/>
                  </a:cubicBezTo>
                  <a:cubicBezTo>
                    <a:pt x="170" y="497"/>
                    <a:pt x="170" y="497"/>
                    <a:pt x="170" y="497"/>
                  </a:cubicBezTo>
                  <a:cubicBezTo>
                    <a:pt x="171" y="495"/>
                    <a:pt x="171" y="495"/>
                    <a:pt x="171" y="495"/>
                  </a:cubicBezTo>
                  <a:cubicBezTo>
                    <a:pt x="171" y="494"/>
                    <a:pt x="171" y="494"/>
                    <a:pt x="171" y="494"/>
                  </a:cubicBezTo>
                  <a:cubicBezTo>
                    <a:pt x="171" y="494"/>
                    <a:pt x="171" y="494"/>
                    <a:pt x="171" y="494"/>
                  </a:cubicBezTo>
                  <a:cubicBezTo>
                    <a:pt x="170" y="494"/>
                    <a:pt x="170" y="494"/>
                    <a:pt x="170" y="494"/>
                  </a:cubicBezTo>
                  <a:cubicBezTo>
                    <a:pt x="170" y="495"/>
                    <a:pt x="170" y="495"/>
                    <a:pt x="170" y="495"/>
                  </a:cubicBezTo>
                  <a:cubicBezTo>
                    <a:pt x="169" y="497"/>
                    <a:pt x="169" y="497"/>
                    <a:pt x="169" y="497"/>
                  </a:cubicBezTo>
                  <a:cubicBezTo>
                    <a:pt x="169" y="498"/>
                    <a:pt x="169" y="498"/>
                    <a:pt x="169" y="498"/>
                  </a:cubicBezTo>
                  <a:cubicBezTo>
                    <a:pt x="169" y="498"/>
                    <a:pt x="169" y="498"/>
                    <a:pt x="169" y="498"/>
                  </a:cubicBezTo>
                  <a:cubicBezTo>
                    <a:pt x="170" y="499"/>
                    <a:pt x="170" y="499"/>
                    <a:pt x="170" y="499"/>
                  </a:cubicBezTo>
                  <a:cubicBezTo>
                    <a:pt x="171" y="499"/>
                    <a:pt x="171" y="499"/>
                    <a:pt x="171" y="499"/>
                  </a:cubicBezTo>
                  <a:cubicBezTo>
                    <a:pt x="171" y="500"/>
                    <a:pt x="171" y="500"/>
                    <a:pt x="171" y="500"/>
                  </a:cubicBezTo>
                  <a:cubicBezTo>
                    <a:pt x="171" y="500"/>
                    <a:pt x="171" y="500"/>
                    <a:pt x="171" y="500"/>
                  </a:cubicBezTo>
                  <a:cubicBezTo>
                    <a:pt x="170" y="501"/>
                    <a:pt x="170" y="501"/>
                    <a:pt x="170" y="501"/>
                  </a:cubicBezTo>
                  <a:cubicBezTo>
                    <a:pt x="171" y="502"/>
                    <a:pt x="171" y="502"/>
                    <a:pt x="171" y="502"/>
                  </a:cubicBezTo>
                  <a:cubicBezTo>
                    <a:pt x="171" y="503"/>
                    <a:pt x="171" y="503"/>
                    <a:pt x="171" y="503"/>
                  </a:cubicBezTo>
                  <a:cubicBezTo>
                    <a:pt x="171" y="505"/>
                    <a:pt x="171" y="505"/>
                    <a:pt x="171" y="505"/>
                  </a:cubicBezTo>
                  <a:cubicBezTo>
                    <a:pt x="172" y="505"/>
                    <a:pt x="172" y="505"/>
                    <a:pt x="172" y="505"/>
                  </a:cubicBezTo>
                  <a:cubicBezTo>
                    <a:pt x="172" y="505"/>
                    <a:pt x="172" y="505"/>
                    <a:pt x="172" y="505"/>
                  </a:cubicBezTo>
                  <a:cubicBezTo>
                    <a:pt x="173" y="504"/>
                    <a:pt x="173" y="504"/>
                    <a:pt x="173" y="504"/>
                  </a:cubicBezTo>
                  <a:cubicBezTo>
                    <a:pt x="173" y="503"/>
                    <a:pt x="173" y="503"/>
                    <a:pt x="173" y="503"/>
                  </a:cubicBezTo>
                  <a:cubicBezTo>
                    <a:pt x="173" y="504"/>
                    <a:pt x="173" y="504"/>
                    <a:pt x="173" y="504"/>
                  </a:cubicBezTo>
                  <a:cubicBezTo>
                    <a:pt x="173" y="504"/>
                    <a:pt x="173" y="504"/>
                    <a:pt x="173" y="504"/>
                  </a:cubicBezTo>
                  <a:cubicBezTo>
                    <a:pt x="174" y="505"/>
                    <a:pt x="174" y="505"/>
                    <a:pt x="174" y="505"/>
                  </a:cubicBezTo>
                  <a:cubicBezTo>
                    <a:pt x="174" y="505"/>
                    <a:pt x="174" y="505"/>
                    <a:pt x="174" y="505"/>
                  </a:cubicBezTo>
                  <a:cubicBezTo>
                    <a:pt x="174" y="506"/>
                    <a:pt x="174" y="506"/>
                    <a:pt x="174" y="506"/>
                  </a:cubicBezTo>
                  <a:cubicBezTo>
                    <a:pt x="173" y="507"/>
                    <a:pt x="173" y="507"/>
                    <a:pt x="173" y="507"/>
                  </a:cubicBezTo>
                  <a:cubicBezTo>
                    <a:pt x="173" y="509"/>
                    <a:pt x="173" y="509"/>
                    <a:pt x="173" y="509"/>
                  </a:cubicBezTo>
                  <a:cubicBezTo>
                    <a:pt x="173" y="510"/>
                    <a:pt x="173" y="510"/>
                    <a:pt x="173" y="510"/>
                  </a:cubicBezTo>
                  <a:cubicBezTo>
                    <a:pt x="173" y="510"/>
                    <a:pt x="173" y="510"/>
                    <a:pt x="173" y="510"/>
                  </a:cubicBezTo>
                  <a:cubicBezTo>
                    <a:pt x="174" y="509"/>
                    <a:pt x="174" y="509"/>
                    <a:pt x="174" y="509"/>
                  </a:cubicBezTo>
                  <a:cubicBezTo>
                    <a:pt x="174" y="508"/>
                    <a:pt x="174" y="508"/>
                    <a:pt x="174" y="508"/>
                  </a:cubicBezTo>
                  <a:cubicBezTo>
                    <a:pt x="174" y="509"/>
                    <a:pt x="174" y="509"/>
                    <a:pt x="174" y="509"/>
                  </a:cubicBezTo>
                  <a:cubicBezTo>
                    <a:pt x="174" y="511"/>
                    <a:pt x="174" y="511"/>
                    <a:pt x="174" y="511"/>
                  </a:cubicBezTo>
                  <a:cubicBezTo>
                    <a:pt x="174" y="512"/>
                    <a:pt x="174" y="512"/>
                    <a:pt x="174" y="512"/>
                  </a:cubicBezTo>
                  <a:cubicBezTo>
                    <a:pt x="175" y="512"/>
                    <a:pt x="175" y="512"/>
                    <a:pt x="175" y="512"/>
                  </a:cubicBezTo>
                  <a:cubicBezTo>
                    <a:pt x="176" y="513"/>
                    <a:pt x="176" y="513"/>
                    <a:pt x="176" y="513"/>
                  </a:cubicBezTo>
                  <a:cubicBezTo>
                    <a:pt x="176" y="514"/>
                    <a:pt x="176" y="514"/>
                    <a:pt x="176" y="514"/>
                  </a:cubicBezTo>
                  <a:cubicBezTo>
                    <a:pt x="176" y="513"/>
                    <a:pt x="176" y="513"/>
                    <a:pt x="176" y="513"/>
                  </a:cubicBezTo>
                  <a:cubicBezTo>
                    <a:pt x="176" y="513"/>
                    <a:pt x="176" y="513"/>
                    <a:pt x="176" y="513"/>
                  </a:cubicBezTo>
                  <a:cubicBezTo>
                    <a:pt x="176" y="512"/>
                    <a:pt x="176" y="512"/>
                    <a:pt x="176" y="512"/>
                  </a:cubicBezTo>
                  <a:cubicBezTo>
                    <a:pt x="177" y="512"/>
                    <a:pt x="177" y="512"/>
                    <a:pt x="177" y="512"/>
                  </a:cubicBezTo>
                  <a:cubicBezTo>
                    <a:pt x="177" y="512"/>
                    <a:pt x="177" y="512"/>
                    <a:pt x="177" y="512"/>
                  </a:cubicBezTo>
                  <a:cubicBezTo>
                    <a:pt x="177" y="512"/>
                    <a:pt x="177" y="512"/>
                    <a:pt x="177" y="512"/>
                  </a:cubicBezTo>
                  <a:cubicBezTo>
                    <a:pt x="178" y="512"/>
                    <a:pt x="178" y="512"/>
                    <a:pt x="178" y="512"/>
                  </a:cubicBezTo>
                  <a:cubicBezTo>
                    <a:pt x="178" y="512"/>
                    <a:pt x="178" y="512"/>
                    <a:pt x="178" y="512"/>
                  </a:cubicBezTo>
                  <a:cubicBezTo>
                    <a:pt x="178" y="513"/>
                    <a:pt x="178" y="513"/>
                    <a:pt x="178" y="513"/>
                  </a:cubicBezTo>
                  <a:cubicBezTo>
                    <a:pt x="178" y="514"/>
                    <a:pt x="178" y="514"/>
                    <a:pt x="178" y="514"/>
                  </a:cubicBezTo>
                  <a:cubicBezTo>
                    <a:pt x="178" y="515"/>
                    <a:pt x="178" y="515"/>
                    <a:pt x="178" y="515"/>
                  </a:cubicBezTo>
                  <a:cubicBezTo>
                    <a:pt x="179" y="515"/>
                    <a:pt x="179" y="515"/>
                    <a:pt x="179" y="515"/>
                  </a:cubicBezTo>
                  <a:cubicBezTo>
                    <a:pt x="179" y="514"/>
                    <a:pt x="179" y="514"/>
                    <a:pt x="179" y="514"/>
                  </a:cubicBezTo>
                  <a:cubicBezTo>
                    <a:pt x="179" y="513"/>
                    <a:pt x="179" y="513"/>
                    <a:pt x="179" y="513"/>
                  </a:cubicBezTo>
                  <a:cubicBezTo>
                    <a:pt x="179" y="512"/>
                    <a:pt x="179" y="512"/>
                    <a:pt x="179" y="512"/>
                  </a:cubicBezTo>
                  <a:cubicBezTo>
                    <a:pt x="179" y="512"/>
                    <a:pt x="179" y="512"/>
                    <a:pt x="179" y="512"/>
                  </a:cubicBezTo>
                  <a:cubicBezTo>
                    <a:pt x="181" y="513"/>
                    <a:pt x="181" y="513"/>
                    <a:pt x="181" y="513"/>
                  </a:cubicBezTo>
                  <a:cubicBezTo>
                    <a:pt x="181" y="513"/>
                    <a:pt x="181" y="513"/>
                    <a:pt x="181" y="513"/>
                  </a:cubicBezTo>
                  <a:cubicBezTo>
                    <a:pt x="181" y="514"/>
                    <a:pt x="181" y="514"/>
                    <a:pt x="181" y="514"/>
                  </a:cubicBezTo>
                  <a:cubicBezTo>
                    <a:pt x="182" y="514"/>
                    <a:pt x="182" y="514"/>
                    <a:pt x="182" y="514"/>
                  </a:cubicBezTo>
                  <a:cubicBezTo>
                    <a:pt x="182" y="515"/>
                    <a:pt x="182" y="515"/>
                    <a:pt x="182" y="515"/>
                  </a:cubicBezTo>
                  <a:cubicBezTo>
                    <a:pt x="182" y="515"/>
                    <a:pt x="182" y="515"/>
                    <a:pt x="182" y="515"/>
                  </a:cubicBezTo>
                  <a:cubicBezTo>
                    <a:pt x="184" y="515"/>
                    <a:pt x="184" y="515"/>
                    <a:pt x="184" y="515"/>
                  </a:cubicBezTo>
                  <a:cubicBezTo>
                    <a:pt x="184" y="515"/>
                    <a:pt x="184" y="515"/>
                    <a:pt x="184" y="515"/>
                  </a:cubicBezTo>
                  <a:cubicBezTo>
                    <a:pt x="184" y="514"/>
                    <a:pt x="184" y="514"/>
                    <a:pt x="184" y="514"/>
                  </a:cubicBezTo>
                  <a:cubicBezTo>
                    <a:pt x="184" y="513"/>
                    <a:pt x="184" y="513"/>
                    <a:pt x="184" y="513"/>
                  </a:cubicBezTo>
                  <a:cubicBezTo>
                    <a:pt x="184" y="514"/>
                    <a:pt x="184" y="514"/>
                    <a:pt x="184" y="514"/>
                  </a:cubicBezTo>
                  <a:cubicBezTo>
                    <a:pt x="184" y="515"/>
                    <a:pt x="184" y="515"/>
                    <a:pt x="184" y="515"/>
                  </a:cubicBezTo>
                  <a:cubicBezTo>
                    <a:pt x="185" y="515"/>
                    <a:pt x="185" y="515"/>
                    <a:pt x="185" y="515"/>
                  </a:cubicBezTo>
                  <a:cubicBezTo>
                    <a:pt x="185" y="514"/>
                    <a:pt x="185" y="514"/>
                    <a:pt x="185" y="514"/>
                  </a:cubicBezTo>
                  <a:cubicBezTo>
                    <a:pt x="185" y="513"/>
                    <a:pt x="185" y="513"/>
                    <a:pt x="185" y="513"/>
                  </a:cubicBezTo>
                  <a:cubicBezTo>
                    <a:pt x="185" y="513"/>
                    <a:pt x="185" y="513"/>
                    <a:pt x="185" y="513"/>
                  </a:cubicBezTo>
                  <a:cubicBezTo>
                    <a:pt x="185" y="512"/>
                    <a:pt x="185" y="512"/>
                    <a:pt x="185" y="512"/>
                  </a:cubicBezTo>
                  <a:cubicBezTo>
                    <a:pt x="186" y="512"/>
                    <a:pt x="186" y="512"/>
                    <a:pt x="186" y="512"/>
                  </a:cubicBezTo>
                  <a:cubicBezTo>
                    <a:pt x="186" y="512"/>
                    <a:pt x="186" y="512"/>
                    <a:pt x="186" y="512"/>
                  </a:cubicBezTo>
                  <a:cubicBezTo>
                    <a:pt x="186" y="512"/>
                    <a:pt x="186" y="512"/>
                    <a:pt x="186" y="512"/>
                  </a:cubicBezTo>
                  <a:cubicBezTo>
                    <a:pt x="186" y="512"/>
                    <a:pt x="186" y="512"/>
                    <a:pt x="186" y="512"/>
                  </a:cubicBezTo>
                  <a:cubicBezTo>
                    <a:pt x="186" y="512"/>
                    <a:pt x="186" y="512"/>
                    <a:pt x="186" y="512"/>
                  </a:cubicBezTo>
                  <a:cubicBezTo>
                    <a:pt x="186" y="513"/>
                    <a:pt x="186" y="513"/>
                    <a:pt x="186" y="513"/>
                  </a:cubicBezTo>
                  <a:cubicBezTo>
                    <a:pt x="186" y="513"/>
                    <a:pt x="186" y="513"/>
                    <a:pt x="186" y="513"/>
                  </a:cubicBezTo>
                  <a:cubicBezTo>
                    <a:pt x="186" y="514"/>
                    <a:pt x="186" y="514"/>
                    <a:pt x="186" y="514"/>
                  </a:cubicBezTo>
                  <a:cubicBezTo>
                    <a:pt x="187" y="514"/>
                    <a:pt x="187" y="514"/>
                    <a:pt x="187" y="514"/>
                  </a:cubicBezTo>
                  <a:cubicBezTo>
                    <a:pt x="187" y="514"/>
                    <a:pt x="187" y="514"/>
                    <a:pt x="187" y="514"/>
                  </a:cubicBezTo>
                  <a:cubicBezTo>
                    <a:pt x="187" y="514"/>
                    <a:pt x="187" y="514"/>
                    <a:pt x="187" y="514"/>
                  </a:cubicBezTo>
                  <a:cubicBezTo>
                    <a:pt x="187" y="515"/>
                    <a:pt x="187" y="515"/>
                    <a:pt x="187" y="515"/>
                  </a:cubicBezTo>
                  <a:cubicBezTo>
                    <a:pt x="187" y="515"/>
                    <a:pt x="187" y="515"/>
                    <a:pt x="187" y="515"/>
                  </a:cubicBezTo>
                  <a:cubicBezTo>
                    <a:pt x="186" y="515"/>
                    <a:pt x="186" y="515"/>
                    <a:pt x="186" y="515"/>
                  </a:cubicBezTo>
                  <a:cubicBezTo>
                    <a:pt x="186" y="515"/>
                    <a:pt x="186" y="515"/>
                    <a:pt x="186" y="515"/>
                  </a:cubicBezTo>
                  <a:cubicBezTo>
                    <a:pt x="186" y="515"/>
                    <a:pt x="186" y="515"/>
                    <a:pt x="186" y="515"/>
                  </a:cubicBezTo>
                  <a:cubicBezTo>
                    <a:pt x="186" y="516"/>
                    <a:pt x="186" y="516"/>
                    <a:pt x="186" y="516"/>
                  </a:cubicBezTo>
                  <a:cubicBezTo>
                    <a:pt x="187" y="517"/>
                    <a:pt x="187" y="517"/>
                    <a:pt x="187" y="517"/>
                  </a:cubicBezTo>
                  <a:cubicBezTo>
                    <a:pt x="190" y="516"/>
                    <a:pt x="190" y="516"/>
                    <a:pt x="190" y="516"/>
                  </a:cubicBezTo>
                  <a:cubicBezTo>
                    <a:pt x="191" y="516"/>
                    <a:pt x="191" y="516"/>
                    <a:pt x="191" y="516"/>
                  </a:cubicBezTo>
                  <a:cubicBezTo>
                    <a:pt x="192" y="517"/>
                    <a:pt x="192" y="517"/>
                    <a:pt x="192" y="517"/>
                  </a:cubicBezTo>
                  <a:cubicBezTo>
                    <a:pt x="193" y="518"/>
                    <a:pt x="193" y="518"/>
                    <a:pt x="193" y="518"/>
                  </a:cubicBezTo>
                  <a:cubicBezTo>
                    <a:pt x="192" y="518"/>
                    <a:pt x="192" y="518"/>
                    <a:pt x="192" y="518"/>
                  </a:cubicBezTo>
                  <a:cubicBezTo>
                    <a:pt x="189" y="519"/>
                    <a:pt x="189" y="519"/>
                    <a:pt x="189" y="519"/>
                  </a:cubicBezTo>
                  <a:cubicBezTo>
                    <a:pt x="188" y="519"/>
                    <a:pt x="188" y="519"/>
                    <a:pt x="188" y="519"/>
                  </a:cubicBezTo>
                  <a:cubicBezTo>
                    <a:pt x="186" y="522"/>
                    <a:pt x="186" y="522"/>
                    <a:pt x="186" y="522"/>
                  </a:cubicBezTo>
                  <a:cubicBezTo>
                    <a:pt x="186" y="523"/>
                    <a:pt x="186" y="523"/>
                    <a:pt x="186" y="523"/>
                  </a:cubicBezTo>
                  <a:cubicBezTo>
                    <a:pt x="186" y="523"/>
                    <a:pt x="186" y="523"/>
                    <a:pt x="186" y="523"/>
                  </a:cubicBezTo>
                  <a:cubicBezTo>
                    <a:pt x="186" y="524"/>
                    <a:pt x="186" y="524"/>
                    <a:pt x="186" y="524"/>
                  </a:cubicBezTo>
                  <a:cubicBezTo>
                    <a:pt x="186" y="524"/>
                    <a:pt x="186" y="524"/>
                    <a:pt x="186" y="524"/>
                  </a:cubicBezTo>
                  <a:cubicBezTo>
                    <a:pt x="188" y="524"/>
                    <a:pt x="188" y="524"/>
                    <a:pt x="188" y="524"/>
                  </a:cubicBezTo>
                  <a:cubicBezTo>
                    <a:pt x="186" y="525"/>
                    <a:pt x="186" y="525"/>
                    <a:pt x="186" y="525"/>
                  </a:cubicBezTo>
                  <a:cubicBezTo>
                    <a:pt x="186" y="526"/>
                    <a:pt x="186" y="526"/>
                    <a:pt x="186" y="526"/>
                  </a:cubicBezTo>
                  <a:cubicBezTo>
                    <a:pt x="185" y="526"/>
                    <a:pt x="185" y="526"/>
                    <a:pt x="185" y="526"/>
                  </a:cubicBezTo>
                  <a:cubicBezTo>
                    <a:pt x="186" y="527"/>
                    <a:pt x="186" y="527"/>
                    <a:pt x="186" y="527"/>
                  </a:cubicBezTo>
                  <a:cubicBezTo>
                    <a:pt x="187" y="528"/>
                    <a:pt x="187" y="528"/>
                    <a:pt x="187" y="528"/>
                  </a:cubicBezTo>
                  <a:cubicBezTo>
                    <a:pt x="188" y="528"/>
                    <a:pt x="188" y="528"/>
                    <a:pt x="188" y="528"/>
                  </a:cubicBezTo>
                  <a:cubicBezTo>
                    <a:pt x="188" y="529"/>
                    <a:pt x="188" y="529"/>
                    <a:pt x="188" y="529"/>
                  </a:cubicBezTo>
                  <a:cubicBezTo>
                    <a:pt x="188" y="529"/>
                    <a:pt x="188" y="529"/>
                    <a:pt x="188" y="529"/>
                  </a:cubicBezTo>
                  <a:cubicBezTo>
                    <a:pt x="188" y="529"/>
                    <a:pt x="188" y="529"/>
                    <a:pt x="188" y="529"/>
                  </a:cubicBezTo>
                  <a:cubicBezTo>
                    <a:pt x="188" y="530"/>
                    <a:pt x="188" y="530"/>
                    <a:pt x="188" y="530"/>
                  </a:cubicBezTo>
                  <a:cubicBezTo>
                    <a:pt x="188" y="530"/>
                    <a:pt x="188" y="530"/>
                    <a:pt x="188" y="530"/>
                  </a:cubicBezTo>
                  <a:cubicBezTo>
                    <a:pt x="188" y="532"/>
                    <a:pt x="188" y="532"/>
                    <a:pt x="188" y="532"/>
                  </a:cubicBezTo>
                  <a:cubicBezTo>
                    <a:pt x="188" y="532"/>
                    <a:pt x="188" y="532"/>
                    <a:pt x="188" y="532"/>
                  </a:cubicBezTo>
                  <a:cubicBezTo>
                    <a:pt x="189" y="532"/>
                    <a:pt x="189" y="532"/>
                    <a:pt x="189" y="532"/>
                  </a:cubicBezTo>
                  <a:cubicBezTo>
                    <a:pt x="189" y="532"/>
                    <a:pt x="189" y="532"/>
                    <a:pt x="189" y="532"/>
                  </a:cubicBezTo>
                  <a:cubicBezTo>
                    <a:pt x="189" y="533"/>
                    <a:pt x="189" y="533"/>
                    <a:pt x="189" y="533"/>
                  </a:cubicBezTo>
                  <a:cubicBezTo>
                    <a:pt x="189" y="535"/>
                    <a:pt x="189" y="535"/>
                    <a:pt x="189" y="535"/>
                  </a:cubicBezTo>
                  <a:cubicBezTo>
                    <a:pt x="189" y="535"/>
                    <a:pt x="189" y="535"/>
                    <a:pt x="189" y="535"/>
                  </a:cubicBezTo>
                  <a:cubicBezTo>
                    <a:pt x="189" y="536"/>
                    <a:pt x="189" y="536"/>
                    <a:pt x="189" y="536"/>
                  </a:cubicBezTo>
                  <a:cubicBezTo>
                    <a:pt x="189" y="536"/>
                    <a:pt x="189" y="536"/>
                    <a:pt x="189" y="536"/>
                  </a:cubicBezTo>
                  <a:cubicBezTo>
                    <a:pt x="188" y="537"/>
                    <a:pt x="188" y="537"/>
                    <a:pt x="188" y="537"/>
                  </a:cubicBezTo>
                  <a:cubicBezTo>
                    <a:pt x="188" y="538"/>
                    <a:pt x="188" y="538"/>
                    <a:pt x="188" y="538"/>
                  </a:cubicBezTo>
                  <a:cubicBezTo>
                    <a:pt x="188" y="538"/>
                    <a:pt x="188" y="538"/>
                    <a:pt x="188" y="538"/>
                  </a:cubicBezTo>
                  <a:cubicBezTo>
                    <a:pt x="188" y="539"/>
                    <a:pt x="188" y="539"/>
                    <a:pt x="188" y="539"/>
                  </a:cubicBezTo>
                  <a:cubicBezTo>
                    <a:pt x="188" y="540"/>
                    <a:pt x="188" y="540"/>
                    <a:pt x="188" y="540"/>
                  </a:cubicBezTo>
                  <a:cubicBezTo>
                    <a:pt x="188" y="540"/>
                    <a:pt x="188" y="540"/>
                    <a:pt x="188" y="540"/>
                  </a:cubicBezTo>
                  <a:cubicBezTo>
                    <a:pt x="189" y="540"/>
                    <a:pt x="189" y="540"/>
                    <a:pt x="189" y="540"/>
                  </a:cubicBezTo>
                  <a:cubicBezTo>
                    <a:pt x="189" y="541"/>
                    <a:pt x="189" y="541"/>
                    <a:pt x="189" y="541"/>
                  </a:cubicBezTo>
                  <a:cubicBezTo>
                    <a:pt x="189" y="541"/>
                    <a:pt x="189" y="541"/>
                    <a:pt x="189" y="541"/>
                  </a:cubicBezTo>
                  <a:cubicBezTo>
                    <a:pt x="188" y="542"/>
                    <a:pt x="188" y="542"/>
                    <a:pt x="188" y="542"/>
                  </a:cubicBezTo>
                  <a:cubicBezTo>
                    <a:pt x="190" y="544"/>
                    <a:pt x="190" y="544"/>
                    <a:pt x="190" y="544"/>
                  </a:cubicBezTo>
                  <a:cubicBezTo>
                    <a:pt x="190" y="545"/>
                    <a:pt x="190" y="545"/>
                    <a:pt x="190" y="545"/>
                  </a:cubicBezTo>
                  <a:cubicBezTo>
                    <a:pt x="190" y="545"/>
                    <a:pt x="190" y="545"/>
                    <a:pt x="190" y="545"/>
                  </a:cubicBezTo>
                  <a:cubicBezTo>
                    <a:pt x="190" y="546"/>
                    <a:pt x="190" y="546"/>
                    <a:pt x="190" y="546"/>
                  </a:cubicBezTo>
                  <a:cubicBezTo>
                    <a:pt x="190" y="546"/>
                    <a:pt x="190" y="546"/>
                    <a:pt x="190" y="546"/>
                  </a:cubicBezTo>
                  <a:cubicBezTo>
                    <a:pt x="190" y="547"/>
                    <a:pt x="190" y="547"/>
                    <a:pt x="190" y="547"/>
                  </a:cubicBezTo>
                  <a:cubicBezTo>
                    <a:pt x="190" y="547"/>
                    <a:pt x="190" y="547"/>
                    <a:pt x="190" y="547"/>
                  </a:cubicBezTo>
                  <a:cubicBezTo>
                    <a:pt x="190" y="547"/>
                    <a:pt x="190" y="547"/>
                    <a:pt x="190" y="547"/>
                  </a:cubicBezTo>
                  <a:cubicBezTo>
                    <a:pt x="190" y="548"/>
                    <a:pt x="190" y="548"/>
                    <a:pt x="190" y="548"/>
                  </a:cubicBezTo>
                  <a:cubicBezTo>
                    <a:pt x="191" y="548"/>
                    <a:pt x="191" y="548"/>
                    <a:pt x="191" y="548"/>
                  </a:cubicBezTo>
                  <a:cubicBezTo>
                    <a:pt x="191" y="548"/>
                    <a:pt x="191" y="548"/>
                    <a:pt x="191" y="548"/>
                  </a:cubicBezTo>
                  <a:cubicBezTo>
                    <a:pt x="190" y="549"/>
                    <a:pt x="190" y="549"/>
                    <a:pt x="190" y="549"/>
                  </a:cubicBezTo>
                  <a:cubicBezTo>
                    <a:pt x="190" y="549"/>
                    <a:pt x="190" y="549"/>
                    <a:pt x="190" y="549"/>
                  </a:cubicBezTo>
                  <a:cubicBezTo>
                    <a:pt x="190" y="549"/>
                    <a:pt x="190" y="549"/>
                    <a:pt x="190" y="549"/>
                  </a:cubicBezTo>
                  <a:cubicBezTo>
                    <a:pt x="190" y="550"/>
                    <a:pt x="190" y="550"/>
                    <a:pt x="190" y="550"/>
                  </a:cubicBezTo>
                  <a:cubicBezTo>
                    <a:pt x="190" y="551"/>
                    <a:pt x="190" y="551"/>
                    <a:pt x="190" y="551"/>
                  </a:cubicBezTo>
                  <a:cubicBezTo>
                    <a:pt x="190" y="551"/>
                    <a:pt x="190" y="551"/>
                    <a:pt x="190" y="551"/>
                  </a:cubicBezTo>
                  <a:cubicBezTo>
                    <a:pt x="189" y="552"/>
                    <a:pt x="189" y="552"/>
                    <a:pt x="189" y="552"/>
                  </a:cubicBezTo>
                  <a:cubicBezTo>
                    <a:pt x="189" y="552"/>
                    <a:pt x="189" y="552"/>
                    <a:pt x="189" y="552"/>
                  </a:cubicBezTo>
                  <a:cubicBezTo>
                    <a:pt x="189" y="552"/>
                    <a:pt x="189" y="552"/>
                    <a:pt x="189" y="552"/>
                  </a:cubicBezTo>
                  <a:cubicBezTo>
                    <a:pt x="190" y="553"/>
                    <a:pt x="190" y="553"/>
                    <a:pt x="190" y="553"/>
                  </a:cubicBezTo>
                  <a:cubicBezTo>
                    <a:pt x="190" y="553"/>
                    <a:pt x="190" y="553"/>
                    <a:pt x="190" y="553"/>
                  </a:cubicBezTo>
                  <a:cubicBezTo>
                    <a:pt x="190" y="554"/>
                    <a:pt x="190" y="554"/>
                    <a:pt x="190" y="554"/>
                  </a:cubicBezTo>
                  <a:cubicBezTo>
                    <a:pt x="191" y="554"/>
                    <a:pt x="191" y="554"/>
                    <a:pt x="191" y="554"/>
                  </a:cubicBezTo>
                  <a:cubicBezTo>
                    <a:pt x="191" y="555"/>
                    <a:pt x="191" y="555"/>
                    <a:pt x="191" y="555"/>
                  </a:cubicBezTo>
                  <a:cubicBezTo>
                    <a:pt x="190" y="555"/>
                    <a:pt x="190" y="555"/>
                    <a:pt x="190" y="555"/>
                  </a:cubicBezTo>
                  <a:cubicBezTo>
                    <a:pt x="190" y="556"/>
                    <a:pt x="190" y="556"/>
                    <a:pt x="190" y="556"/>
                  </a:cubicBezTo>
                  <a:cubicBezTo>
                    <a:pt x="190" y="557"/>
                    <a:pt x="190" y="557"/>
                    <a:pt x="190" y="557"/>
                  </a:cubicBezTo>
                  <a:cubicBezTo>
                    <a:pt x="189" y="557"/>
                    <a:pt x="189" y="557"/>
                    <a:pt x="189" y="557"/>
                  </a:cubicBezTo>
                  <a:cubicBezTo>
                    <a:pt x="188" y="557"/>
                    <a:pt x="188" y="557"/>
                    <a:pt x="188" y="557"/>
                  </a:cubicBezTo>
                  <a:cubicBezTo>
                    <a:pt x="188" y="558"/>
                    <a:pt x="188" y="558"/>
                    <a:pt x="188" y="558"/>
                  </a:cubicBezTo>
                  <a:cubicBezTo>
                    <a:pt x="189" y="559"/>
                    <a:pt x="189" y="559"/>
                    <a:pt x="189" y="559"/>
                  </a:cubicBezTo>
                  <a:cubicBezTo>
                    <a:pt x="189" y="560"/>
                    <a:pt x="189" y="560"/>
                    <a:pt x="189" y="560"/>
                  </a:cubicBezTo>
                  <a:cubicBezTo>
                    <a:pt x="189" y="560"/>
                    <a:pt x="189" y="560"/>
                    <a:pt x="189" y="560"/>
                  </a:cubicBezTo>
                  <a:cubicBezTo>
                    <a:pt x="189" y="561"/>
                    <a:pt x="189" y="561"/>
                    <a:pt x="189" y="561"/>
                  </a:cubicBezTo>
                  <a:cubicBezTo>
                    <a:pt x="189" y="561"/>
                    <a:pt x="189" y="561"/>
                    <a:pt x="189" y="561"/>
                  </a:cubicBezTo>
                  <a:cubicBezTo>
                    <a:pt x="189" y="562"/>
                    <a:pt x="189" y="562"/>
                    <a:pt x="189" y="562"/>
                  </a:cubicBezTo>
                  <a:cubicBezTo>
                    <a:pt x="190" y="560"/>
                    <a:pt x="190" y="560"/>
                    <a:pt x="190" y="560"/>
                  </a:cubicBezTo>
                  <a:cubicBezTo>
                    <a:pt x="191" y="560"/>
                    <a:pt x="191" y="560"/>
                    <a:pt x="191" y="560"/>
                  </a:cubicBezTo>
                  <a:cubicBezTo>
                    <a:pt x="191" y="560"/>
                    <a:pt x="191" y="560"/>
                    <a:pt x="191" y="560"/>
                  </a:cubicBezTo>
                  <a:cubicBezTo>
                    <a:pt x="192" y="560"/>
                    <a:pt x="192" y="560"/>
                    <a:pt x="192" y="560"/>
                  </a:cubicBezTo>
                  <a:cubicBezTo>
                    <a:pt x="192" y="560"/>
                    <a:pt x="192" y="560"/>
                    <a:pt x="192" y="560"/>
                  </a:cubicBezTo>
                  <a:cubicBezTo>
                    <a:pt x="192" y="559"/>
                    <a:pt x="192" y="559"/>
                    <a:pt x="192" y="559"/>
                  </a:cubicBezTo>
                  <a:cubicBezTo>
                    <a:pt x="193" y="559"/>
                    <a:pt x="193" y="559"/>
                    <a:pt x="193" y="559"/>
                  </a:cubicBezTo>
                  <a:cubicBezTo>
                    <a:pt x="193" y="559"/>
                    <a:pt x="193" y="559"/>
                    <a:pt x="193" y="559"/>
                  </a:cubicBezTo>
                  <a:cubicBezTo>
                    <a:pt x="193" y="558"/>
                    <a:pt x="193" y="558"/>
                    <a:pt x="193" y="558"/>
                  </a:cubicBezTo>
                  <a:cubicBezTo>
                    <a:pt x="195" y="556"/>
                    <a:pt x="195" y="556"/>
                    <a:pt x="195" y="556"/>
                  </a:cubicBezTo>
                  <a:cubicBezTo>
                    <a:pt x="195" y="556"/>
                    <a:pt x="195" y="556"/>
                    <a:pt x="195" y="556"/>
                  </a:cubicBezTo>
                  <a:cubicBezTo>
                    <a:pt x="195" y="557"/>
                    <a:pt x="195" y="557"/>
                    <a:pt x="195" y="557"/>
                  </a:cubicBezTo>
                  <a:cubicBezTo>
                    <a:pt x="194" y="557"/>
                    <a:pt x="194" y="557"/>
                    <a:pt x="194" y="557"/>
                  </a:cubicBezTo>
                  <a:cubicBezTo>
                    <a:pt x="194" y="558"/>
                    <a:pt x="194" y="558"/>
                    <a:pt x="194" y="558"/>
                  </a:cubicBezTo>
                  <a:cubicBezTo>
                    <a:pt x="193" y="561"/>
                    <a:pt x="193" y="561"/>
                    <a:pt x="193" y="561"/>
                  </a:cubicBezTo>
                  <a:cubicBezTo>
                    <a:pt x="193" y="561"/>
                    <a:pt x="193" y="561"/>
                    <a:pt x="193" y="561"/>
                  </a:cubicBezTo>
                  <a:cubicBezTo>
                    <a:pt x="193" y="561"/>
                    <a:pt x="193" y="561"/>
                    <a:pt x="193" y="561"/>
                  </a:cubicBezTo>
                  <a:cubicBezTo>
                    <a:pt x="193" y="561"/>
                    <a:pt x="193" y="561"/>
                    <a:pt x="193" y="561"/>
                  </a:cubicBezTo>
                  <a:cubicBezTo>
                    <a:pt x="194" y="561"/>
                    <a:pt x="194" y="561"/>
                    <a:pt x="194" y="561"/>
                  </a:cubicBezTo>
                  <a:cubicBezTo>
                    <a:pt x="194" y="560"/>
                    <a:pt x="194" y="560"/>
                    <a:pt x="194" y="560"/>
                  </a:cubicBezTo>
                  <a:cubicBezTo>
                    <a:pt x="194" y="559"/>
                    <a:pt x="194" y="559"/>
                    <a:pt x="194" y="559"/>
                  </a:cubicBezTo>
                  <a:cubicBezTo>
                    <a:pt x="194" y="559"/>
                    <a:pt x="194" y="559"/>
                    <a:pt x="194" y="559"/>
                  </a:cubicBezTo>
                  <a:cubicBezTo>
                    <a:pt x="195" y="559"/>
                    <a:pt x="195" y="559"/>
                    <a:pt x="195" y="559"/>
                  </a:cubicBezTo>
                  <a:cubicBezTo>
                    <a:pt x="195" y="560"/>
                    <a:pt x="195" y="560"/>
                    <a:pt x="195" y="560"/>
                  </a:cubicBezTo>
                  <a:cubicBezTo>
                    <a:pt x="195" y="561"/>
                    <a:pt x="195" y="561"/>
                    <a:pt x="195" y="561"/>
                  </a:cubicBezTo>
                  <a:cubicBezTo>
                    <a:pt x="196" y="561"/>
                    <a:pt x="196" y="561"/>
                    <a:pt x="196" y="561"/>
                  </a:cubicBezTo>
                  <a:cubicBezTo>
                    <a:pt x="194" y="562"/>
                    <a:pt x="194" y="562"/>
                    <a:pt x="194" y="562"/>
                  </a:cubicBezTo>
                  <a:cubicBezTo>
                    <a:pt x="194" y="562"/>
                    <a:pt x="194" y="562"/>
                    <a:pt x="194" y="562"/>
                  </a:cubicBezTo>
                  <a:cubicBezTo>
                    <a:pt x="194" y="562"/>
                    <a:pt x="194" y="562"/>
                    <a:pt x="194" y="562"/>
                  </a:cubicBezTo>
                  <a:cubicBezTo>
                    <a:pt x="194" y="563"/>
                    <a:pt x="194" y="563"/>
                    <a:pt x="194" y="563"/>
                  </a:cubicBezTo>
                  <a:cubicBezTo>
                    <a:pt x="194" y="564"/>
                    <a:pt x="194" y="564"/>
                    <a:pt x="194" y="564"/>
                  </a:cubicBezTo>
                  <a:cubicBezTo>
                    <a:pt x="194" y="564"/>
                    <a:pt x="194" y="564"/>
                    <a:pt x="194" y="564"/>
                  </a:cubicBezTo>
                  <a:cubicBezTo>
                    <a:pt x="195" y="563"/>
                    <a:pt x="195" y="563"/>
                    <a:pt x="195" y="563"/>
                  </a:cubicBezTo>
                  <a:cubicBezTo>
                    <a:pt x="195" y="563"/>
                    <a:pt x="195" y="563"/>
                    <a:pt x="195" y="563"/>
                  </a:cubicBezTo>
                  <a:cubicBezTo>
                    <a:pt x="195" y="564"/>
                    <a:pt x="195" y="564"/>
                    <a:pt x="195" y="564"/>
                  </a:cubicBezTo>
                  <a:cubicBezTo>
                    <a:pt x="195" y="564"/>
                    <a:pt x="195" y="564"/>
                    <a:pt x="195" y="564"/>
                  </a:cubicBezTo>
                  <a:cubicBezTo>
                    <a:pt x="195" y="564"/>
                    <a:pt x="195" y="564"/>
                    <a:pt x="195" y="564"/>
                  </a:cubicBezTo>
                  <a:cubicBezTo>
                    <a:pt x="194" y="565"/>
                    <a:pt x="194" y="565"/>
                    <a:pt x="194" y="565"/>
                  </a:cubicBezTo>
                  <a:cubicBezTo>
                    <a:pt x="194" y="566"/>
                    <a:pt x="194" y="566"/>
                    <a:pt x="194" y="566"/>
                  </a:cubicBezTo>
                  <a:cubicBezTo>
                    <a:pt x="196" y="564"/>
                    <a:pt x="196" y="564"/>
                    <a:pt x="196" y="564"/>
                  </a:cubicBezTo>
                  <a:cubicBezTo>
                    <a:pt x="197" y="563"/>
                    <a:pt x="197" y="563"/>
                    <a:pt x="197" y="563"/>
                  </a:cubicBezTo>
                  <a:cubicBezTo>
                    <a:pt x="198" y="562"/>
                    <a:pt x="198" y="562"/>
                    <a:pt x="198" y="562"/>
                  </a:cubicBezTo>
                  <a:cubicBezTo>
                    <a:pt x="198" y="560"/>
                    <a:pt x="198" y="560"/>
                    <a:pt x="198" y="560"/>
                  </a:cubicBezTo>
                  <a:cubicBezTo>
                    <a:pt x="199" y="558"/>
                    <a:pt x="199" y="558"/>
                    <a:pt x="199" y="558"/>
                  </a:cubicBezTo>
                  <a:cubicBezTo>
                    <a:pt x="199" y="556"/>
                    <a:pt x="199" y="556"/>
                    <a:pt x="199" y="556"/>
                  </a:cubicBezTo>
                  <a:cubicBezTo>
                    <a:pt x="199" y="555"/>
                    <a:pt x="199" y="555"/>
                    <a:pt x="199" y="555"/>
                  </a:cubicBezTo>
                  <a:cubicBezTo>
                    <a:pt x="199" y="555"/>
                    <a:pt x="199" y="555"/>
                    <a:pt x="199" y="555"/>
                  </a:cubicBezTo>
                  <a:cubicBezTo>
                    <a:pt x="200" y="557"/>
                    <a:pt x="200" y="557"/>
                    <a:pt x="200" y="557"/>
                  </a:cubicBezTo>
                  <a:cubicBezTo>
                    <a:pt x="200" y="558"/>
                    <a:pt x="200" y="558"/>
                    <a:pt x="200" y="558"/>
                  </a:cubicBezTo>
                  <a:cubicBezTo>
                    <a:pt x="200" y="557"/>
                    <a:pt x="200" y="557"/>
                    <a:pt x="200" y="557"/>
                  </a:cubicBezTo>
                  <a:cubicBezTo>
                    <a:pt x="201" y="556"/>
                    <a:pt x="201" y="556"/>
                    <a:pt x="201" y="556"/>
                  </a:cubicBezTo>
                  <a:cubicBezTo>
                    <a:pt x="202" y="556"/>
                    <a:pt x="202" y="556"/>
                    <a:pt x="202" y="556"/>
                  </a:cubicBezTo>
                  <a:cubicBezTo>
                    <a:pt x="202" y="557"/>
                    <a:pt x="202" y="557"/>
                    <a:pt x="202" y="557"/>
                  </a:cubicBezTo>
                  <a:cubicBezTo>
                    <a:pt x="201" y="557"/>
                    <a:pt x="201" y="557"/>
                    <a:pt x="201" y="557"/>
                  </a:cubicBezTo>
                  <a:cubicBezTo>
                    <a:pt x="201" y="558"/>
                    <a:pt x="201" y="558"/>
                    <a:pt x="201" y="558"/>
                  </a:cubicBezTo>
                  <a:cubicBezTo>
                    <a:pt x="200" y="558"/>
                    <a:pt x="200" y="558"/>
                    <a:pt x="200" y="558"/>
                  </a:cubicBezTo>
                  <a:cubicBezTo>
                    <a:pt x="201" y="559"/>
                    <a:pt x="201" y="559"/>
                    <a:pt x="201" y="559"/>
                  </a:cubicBezTo>
                  <a:cubicBezTo>
                    <a:pt x="199" y="561"/>
                    <a:pt x="199" y="561"/>
                    <a:pt x="199" y="561"/>
                  </a:cubicBezTo>
                  <a:cubicBezTo>
                    <a:pt x="198" y="562"/>
                    <a:pt x="198" y="562"/>
                    <a:pt x="198" y="562"/>
                  </a:cubicBezTo>
                  <a:cubicBezTo>
                    <a:pt x="198" y="564"/>
                    <a:pt x="198" y="564"/>
                    <a:pt x="198" y="564"/>
                  </a:cubicBezTo>
                  <a:cubicBezTo>
                    <a:pt x="197" y="565"/>
                    <a:pt x="197" y="565"/>
                    <a:pt x="197" y="565"/>
                  </a:cubicBezTo>
                  <a:cubicBezTo>
                    <a:pt x="197" y="566"/>
                    <a:pt x="197" y="566"/>
                    <a:pt x="197" y="566"/>
                  </a:cubicBezTo>
                  <a:cubicBezTo>
                    <a:pt x="197" y="567"/>
                    <a:pt x="197" y="567"/>
                    <a:pt x="197" y="567"/>
                  </a:cubicBezTo>
                  <a:cubicBezTo>
                    <a:pt x="198" y="567"/>
                    <a:pt x="198" y="567"/>
                    <a:pt x="198" y="567"/>
                  </a:cubicBezTo>
                  <a:cubicBezTo>
                    <a:pt x="198" y="567"/>
                    <a:pt x="198" y="567"/>
                    <a:pt x="198" y="567"/>
                  </a:cubicBezTo>
                  <a:cubicBezTo>
                    <a:pt x="198" y="566"/>
                    <a:pt x="198" y="566"/>
                    <a:pt x="198" y="566"/>
                  </a:cubicBezTo>
                  <a:cubicBezTo>
                    <a:pt x="198" y="567"/>
                    <a:pt x="198" y="567"/>
                    <a:pt x="198" y="567"/>
                  </a:cubicBezTo>
                  <a:cubicBezTo>
                    <a:pt x="199" y="567"/>
                    <a:pt x="199" y="567"/>
                    <a:pt x="199" y="567"/>
                  </a:cubicBezTo>
                  <a:cubicBezTo>
                    <a:pt x="199" y="567"/>
                    <a:pt x="199" y="567"/>
                    <a:pt x="199" y="567"/>
                  </a:cubicBezTo>
                  <a:cubicBezTo>
                    <a:pt x="200" y="567"/>
                    <a:pt x="200" y="567"/>
                    <a:pt x="200" y="567"/>
                  </a:cubicBezTo>
                  <a:cubicBezTo>
                    <a:pt x="200" y="566"/>
                    <a:pt x="200" y="566"/>
                    <a:pt x="200" y="566"/>
                  </a:cubicBezTo>
                  <a:cubicBezTo>
                    <a:pt x="200" y="565"/>
                    <a:pt x="200" y="565"/>
                    <a:pt x="200" y="565"/>
                  </a:cubicBezTo>
                  <a:cubicBezTo>
                    <a:pt x="201" y="565"/>
                    <a:pt x="201" y="565"/>
                    <a:pt x="201" y="565"/>
                  </a:cubicBezTo>
                  <a:cubicBezTo>
                    <a:pt x="201" y="565"/>
                    <a:pt x="201" y="565"/>
                    <a:pt x="201" y="565"/>
                  </a:cubicBezTo>
                  <a:cubicBezTo>
                    <a:pt x="202" y="564"/>
                    <a:pt x="202" y="564"/>
                    <a:pt x="202" y="564"/>
                  </a:cubicBezTo>
                  <a:cubicBezTo>
                    <a:pt x="203" y="564"/>
                    <a:pt x="203" y="564"/>
                    <a:pt x="203" y="564"/>
                  </a:cubicBezTo>
                  <a:cubicBezTo>
                    <a:pt x="204" y="563"/>
                    <a:pt x="204" y="563"/>
                    <a:pt x="204" y="563"/>
                  </a:cubicBezTo>
                  <a:cubicBezTo>
                    <a:pt x="204" y="562"/>
                    <a:pt x="204" y="562"/>
                    <a:pt x="204" y="562"/>
                  </a:cubicBezTo>
                  <a:cubicBezTo>
                    <a:pt x="205" y="562"/>
                    <a:pt x="205" y="562"/>
                    <a:pt x="205" y="562"/>
                  </a:cubicBezTo>
                  <a:cubicBezTo>
                    <a:pt x="206" y="562"/>
                    <a:pt x="206" y="562"/>
                    <a:pt x="206" y="562"/>
                  </a:cubicBezTo>
                  <a:cubicBezTo>
                    <a:pt x="208" y="561"/>
                    <a:pt x="208" y="561"/>
                    <a:pt x="208" y="561"/>
                  </a:cubicBezTo>
                  <a:cubicBezTo>
                    <a:pt x="208" y="561"/>
                    <a:pt x="208" y="561"/>
                    <a:pt x="208" y="561"/>
                  </a:cubicBezTo>
                  <a:cubicBezTo>
                    <a:pt x="209" y="562"/>
                    <a:pt x="209" y="562"/>
                    <a:pt x="209" y="562"/>
                  </a:cubicBezTo>
                  <a:cubicBezTo>
                    <a:pt x="207" y="563"/>
                    <a:pt x="207" y="563"/>
                    <a:pt x="207" y="563"/>
                  </a:cubicBezTo>
                  <a:cubicBezTo>
                    <a:pt x="206" y="564"/>
                    <a:pt x="206" y="564"/>
                    <a:pt x="206" y="564"/>
                  </a:cubicBezTo>
                  <a:cubicBezTo>
                    <a:pt x="206" y="565"/>
                    <a:pt x="206" y="565"/>
                    <a:pt x="206" y="565"/>
                  </a:cubicBezTo>
                  <a:cubicBezTo>
                    <a:pt x="207" y="566"/>
                    <a:pt x="207" y="566"/>
                    <a:pt x="207" y="566"/>
                  </a:cubicBezTo>
                  <a:cubicBezTo>
                    <a:pt x="207" y="566"/>
                    <a:pt x="207" y="566"/>
                    <a:pt x="207" y="566"/>
                  </a:cubicBezTo>
                  <a:cubicBezTo>
                    <a:pt x="207" y="567"/>
                    <a:pt x="207" y="567"/>
                    <a:pt x="207" y="567"/>
                  </a:cubicBezTo>
                  <a:cubicBezTo>
                    <a:pt x="208" y="568"/>
                    <a:pt x="208" y="568"/>
                    <a:pt x="208" y="568"/>
                  </a:cubicBezTo>
                  <a:cubicBezTo>
                    <a:pt x="208" y="568"/>
                    <a:pt x="208" y="568"/>
                    <a:pt x="208" y="568"/>
                  </a:cubicBezTo>
                  <a:cubicBezTo>
                    <a:pt x="208" y="569"/>
                    <a:pt x="208" y="569"/>
                    <a:pt x="208" y="569"/>
                  </a:cubicBezTo>
                  <a:cubicBezTo>
                    <a:pt x="209" y="569"/>
                    <a:pt x="209" y="569"/>
                    <a:pt x="209" y="569"/>
                  </a:cubicBezTo>
                  <a:cubicBezTo>
                    <a:pt x="209" y="569"/>
                    <a:pt x="209" y="569"/>
                    <a:pt x="209" y="569"/>
                  </a:cubicBezTo>
                  <a:cubicBezTo>
                    <a:pt x="208" y="570"/>
                    <a:pt x="208" y="570"/>
                    <a:pt x="208" y="570"/>
                  </a:cubicBezTo>
                  <a:cubicBezTo>
                    <a:pt x="208" y="570"/>
                    <a:pt x="208" y="570"/>
                    <a:pt x="208" y="570"/>
                  </a:cubicBezTo>
                  <a:cubicBezTo>
                    <a:pt x="208" y="570"/>
                    <a:pt x="208" y="570"/>
                    <a:pt x="208" y="570"/>
                  </a:cubicBezTo>
                  <a:cubicBezTo>
                    <a:pt x="207" y="570"/>
                    <a:pt x="207" y="570"/>
                    <a:pt x="207" y="570"/>
                  </a:cubicBezTo>
                  <a:cubicBezTo>
                    <a:pt x="207" y="570"/>
                    <a:pt x="207" y="570"/>
                    <a:pt x="207" y="570"/>
                  </a:cubicBezTo>
                  <a:cubicBezTo>
                    <a:pt x="207" y="574"/>
                    <a:pt x="207" y="574"/>
                    <a:pt x="207" y="574"/>
                  </a:cubicBezTo>
                  <a:cubicBezTo>
                    <a:pt x="207" y="575"/>
                    <a:pt x="207" y="575"/>
                    <a:pt x="207" y="575"/>
                  </a:cubicBezTo>
                  <a:cubicBezTo>
                    <a:pt x="206" y="575"/>
                    <a:pt x="206" y="575"/>
                    <a:pt x="206" y="575"/>
                  </a:cubicBezTo>
                  <a:cubicBezTo>
                    <a:pt x="206" y="576"/>
                    <a:pt x="206" y="576"/>
                    <a:pt x="206" y="576"/>
                  </a:cubicBezTo>
                  <a:cubicBezTo>
                    <a:pt x="206" y="576"/>
                    <a:pt x="206" y="576"/>
                    <a:pt x="206" y="576"/>
                  </a:cubicBezTo>
                  <a:cubicBezTo>
                    <a:pt x="206" y="576"/>
                    <a:pt x="206" y="576"/>
                    <a:pt x="206" y="576"/>
                  </a:cubicBezTo>
                  <a:cubicBezTo>
                    <a:pt x="206" y="576"/>
                    <a:pt x="206" y="576"/>
                    <a:pt x="206" y="576"/>
                  </a:cubicBezTo>
                  <a:cubicBezTo>
                    <a:pt x="206" y="577"/>
                    <a:pt x="206" y="577"/>
                    <a:pt x="206" y="577"/>
                  </a:cubicBezTo>
                  <a:cubicBezTo>
                    <a:pt x="206" y="577"/>
                    <a:pt x="206" y="577"/>
                    <a:pt x="206" y="577"/>
                  </a:cubicBezTo>
                  <a:cubicBezTo>
                    <a:pt x="206" y="578"/>
                    <a:pt x="206" y="578"/>
                    <a:pt x="206" y="578"/>
                  </a:cubicBezTo>
                  <a:cubicBezTo>
                    <a:pt x="206" y="579"/>
                    <a:pt x="206" y="579"/>
                    <a:pt x="206" y="579"/>
                  </a:cubicBezTo>
                  <a:cubicBezTo>
                    <a:pt x="206" y="579"/>
                    <a:pt x="206" y="579"/>
                    <a:pt x="206" y="579"/>
                  </a:cubicBezTo>
                  <a:cubicBezTo>
                    <a:pt x="206" y="581"/>
                    <a:pt x="206" y="581"/>
                    <a:pt x="206" y="581"/>
                  </a:cubicBezTo>
                  <a:cubicBezTo>
                    <a:pt x="204" y="583"/>
                    <a:pt x="204" y="583"/>
                    <a:pt x="204" y="583"/>
                  </a:cubicBezTo>
                  <a:cubicBezTo>
                    <a:pt x="204" y="584"/>
                    <a:pt x="204" y="584"/>
                    <a:pt x="204" y="584"/>
                  </a:cubicBezTo>
                  <a:cubicBezTo>
                    <a:pt x="205" y="585"/>
                    <a:pt x="205" y="585"/>
                    <a:pt x="205" y="585"/>
                  </a:cubicBezTo>
                  <a:cubicBezTo>
                    <a:pt x="205" y="585"/>
                    <a:pt x="205" y="585"/>
                    <a:pt x="205" y="585"/>
                  </a:cubicBezTo>
                  <a:cubicBezTo>
                    <a:pt x="205" y="586"/>
                    <a:pt x="205" y="586"/>
                    <a:pt x="205" y="586"/>
                  </a:cubicBezTo>
                  <a:cubicBezTo>
                    <a:pt x="204" y="586"/>
                    <a:pt x="204" y="586"/>
                    <a:pt x="204" y="586"/>
                  </a:cubicBezTo>
                  <a:cubicBezTo>
                    <a:pt x="204" y="586"/>
                    <a:pt x="204" y="586"/>
                    <a:pt x="204" y="586"/>
                  </a:cubicBezTo>
                  <a:cubicBezTo>
                    <a:pt x="205" y="586"/>
                    <a:pt x="205" y="586"/>
                    <a:pt x="205" y="586"/>
                  </a:cubicBezTo>
                  <a:cubicBezTo>
                    <a:pt x="205" y="586"/>
                    <a:pt x="205" y="586"/>
                    <a:pt x="205" y="586"/>
                  </a:cubicBezTo>
                  <a:cubicBezTo>
                    <a:pt x="203" y="587"/>
                    <a:pt x="203" y="587"/>
                    <a:pt x="203" y="587"/>
                  </a:cubicBezTo>
                  <a:cubicBezTo>
                    <a:pt x="203" y="587"/>
                    <a:pt x="203" y="587"/>
                    <a:pt x="203" y="587"/>
                  </a:cubicBezTo>
                  <a:cubicBezTo>
                    <a:pt x="203" y="589"/>
                    <a:pt x="203" y="589"/>
                    <a:pt x="203" y="589"/>
                  </a:cubicBezTo>
                  <a:cubicBezTo>
                    <a:pt x="203" y="589"/>
                    <a:pt x="203" y="589"/>
                    <a:pt x="203" y="589"/>
                  </a:cubicBezTo>
                  <a:cubicBezTo>
                    <a:pt x="202" y="589"/>
                    <a:pt x="202" y="589"/>
                    <a:pt x="202" y="589"/>
                  </a:cubicBezTo>
                  <a:cubicBezTo>
                    <a:pt x="202" y="590"/>
                    <a:pt x="202" y="590"/>
                    <a:pt x="202" y="590"/>
                  </a:cubicBezTo>
                  <a:cubicBezTo>
                    <a:pt x="203" y="590"/>
                    <a:pt x="203" y="590"/>
                    <a:pt x="203" y="590"/>
                  </a:cubicBezTo>
                  <a:cubicBezTo>
                    <a:pt x="203" y="591"/>
                    <a:pt x="203" y="591"/>
                    <a:pt x="203" y="591"/>
                  </a:cubicBezTo>
                  <a:cubicBezTo>
                    <a:pt x="204" y="592"/>
                    <a:pt x="204" y="592"/>
                    <a:pt x="204" y="592"/>
                  </a:cubicBezTo>
                  <a:cubicBezTo>
                    <a:pt x="205" y="593"/>
                    <a:pt x="205" y="593"/>
                    <a:pt x="205" y="593"/>
                  </a:cubicBezTo>
                  <a:cubicBezTo>
                    <a:pt x="205" y="593"/>
                    <a:pt x="205" y="593"/>
                    <a:pt x="205" y="593"/>
                  </a:cubicBezTo>
                  <a:cubicBezTo>
                    <a:pt x="206" y="592"/>
                    <a:pt x="206" y="592"/>
                    <a:pt x="206" y="592"/>
                  </a:cubicBezTo>
                  <a:cubicBezTo>
                    <a:pt x="206" y="593"/>
                    <a:pt x="206" y="593"/>
                    <a:pt x="206" y="593"/>
                  </a:cubicBezTo>
                  <a:cubicBezTo>
                    <a:pt x="206" y="593"/>
                    <a:pt x="206" y="593"/>
                    <a:pt x="206" y="593"/>
                  </a:cubicBezTo>
                  <a:cubicBezTo>
                    <a:pt x="206" y="593"/>
                    <a:pt x="206" y="593"/>
                    <a:pt x="206" y="593"/>
                  </a:cubicBezTo>
                  <a:cubicBezTo>
                    <a:pt x="203" y="596"/>
                    <a:pt x="203" y="596"/>
                    <a:pt x="203" y="596"/>
                  </a:cubicBezTo>
                  <a:cubicBezTo>
                    <a:pt x="203" y="597"/>
                    <a:pt x="203" y="597"/>
                    <a:pt x="203" y="597"/>
                  </a:cubicBezTo>
                  <a:cubicBezTo>
                    <a:pt x="203" y="598"/>
                    <a:pt x="203" y="598"/>
                    <a:pt x="203" y="598"/>
                  </a:cubicBezTo>
                  <a:cubicBezTo>
                    <a:pt x="204" y="598"/>
                    <a:pt x="204" y="598"/>
                    <a:pt x="204" y="598"/>
                  </a:cubicBezTo>
                  <a:cubicBezTo>
                    <a:pt x="204" y="598"/>
                    <a:pt x="204" y="598"/>
                    <a:pt x="204" y="598"/>
                  </a:cubicBezTo>
                  <a:cubicBezTo>
                    <a:pt x="205" y="598"/>
                    <a:pt x="205" y="598"/>
                    <a:pt x="205" y="598"/>
                  </a:cubicBezTo>
                  <a:cubicBezTo>
                    <a:pt x="204" y="597"/>
                    <a:pt x="204" y="597"/>
                    <a:pt x="204" y="597"/>
                  </a:cubicBezTo>
                  <a:cubicBezTo>
                    <a:pt x="205" y="597"/>
                    <a:pt x="205" y="597"/>
                    <a:pt x="205" y="597"/>
                  </a:cubicBezTo>
                  <a:cubicBezTo>
                    <a:pt x="207" y="598"/>
                    <a:pt x="207" y="598"/>
                    <a:pt x="207" y="598"/>
                  </a:cubicBezTo>
                  <a:cubicBezTo>
                    <a:pt x="207" y="598"/>
                    <a:pt x="207" y="598"/>
                    <a:pt x="207" y="598"/>
                  </a:cubicBezTo>
                  <a:cubicBezTo>
                    <a:pt x="208" y="598"/>
                    <a:pt x="208" y="598"/>
                    <a:pt x="208" y="598"/>
                  </a:cubicBezTo>
                  <a:cubicBezTo>
                    <a:pt x="209" y="598"/>
                    <a:pt x="209" y="598"/>
                    <a:pt x="209" y="598"/>
                  </a:cubicBezTo>
                  <a:cubicBezTo>
                    <a:pt x="210" y="597"/>
                    <a:pt x="210" y="597"/>
                    <a:pt x="210" y="597"/>
                  </a:cubicBezTo>
                  <a:cubicBezTo>
                    <a:pt x="209" y="598"/>
                    <a:pt x="209" y="598"/>
                    <a:pt x="209" y="598"/>
                  </a:cubicBezTo>
                  <a:cubicBezTo>
                    <a:pt x="207" y="598"/>
                    <a:pt x="207" y="598"/>
                    <a:pt x="207" y="598"/>
                  </a:cubicBezTo>
                  <a:cubicBezTo>
                    <a:pt x="207" y="600"/>
                    <a:pt x="207" y="600"/>
                    <a:pt x="207" y="600"/>
                  </a:cubicBezTo>
                  <a:cubicBezTo>
                    <a:pt x="207" y="600"/>
                    <a:pt x="207" y="600"/>
                    <a:pt x="207" y="600"/>
                  </a:cubicBezTo>
                  <a:cubicBezTo>
                    <a:pt x="208" y="601"/>
                    <a:pt x="208" y="601"/>
                    <a:pt x="208" y="601"/>
                  </a:cubicBezTo>
                  <a:cubicBezTo>
                    <a:pt x="208" y="601"/>
                    <a:pt x="208" y="601"/>
                    <a:pt x="208" y="601"/>
                  </a:cubicBezTo>
                  <a:cubicBezTo>
                    <a:pt x="208" y="602"/>
                    <a:pt x="208" y="602"/>
                    <a:pt x="208" y="602"/>
                  </a:cubicBezTo>
                  <a:cubicBezTo>
                    <a:pt x="208" y="603"/>
                    <a:pt x="208" y="603"/>
                    <a:pt x="208" y="603"/>
                  </a:cubicBezTo>
                  <a:cubicBezTo>
                    <a:pt x="208" y="603"/>
                    <a:pt x="208" y="603"/>
                    <a:pt x="208" y="603"/>
                  </a:cubicBezTo>
                  <a:cubicBezTo>
                    <a:pt x="209" y="602"/>
                    <a:pt x="209" y="602"/>
                    <a:pt x="209" y="602"/>
                  </a:cubicBezTo>
                  <a:cubicBezTo>
                    <a:pt x="209" y="602"/>
                    <a:pt x="209" y="602"/>
                    <a:pt x="209" y="602"/>
                  </a:cubicBezTo>
                  <a:cubicBezTo>
                    <a:pt x="209" y="602"/>
                    <a:pt x="209" y="602"/>
                    <a:pt x="209" y="602"/>
                  </a:cubicBezTo>
                  <a:cubicBezTo>
                    <a:pt x="209" y="602"/>
                    <a:pt x="209" y="602"/>
                    <a:pt x="209" y="602"/>
                  </a:cubicBezTo>
                  <a:cubicBezTo>
                    <a:pt x="209" y="602"/>
                    <a:pt x="209" y="602"/>
                    <a:pt x="209" y="602"/>
                  </a:cubicBezTo>
                  <a:cubicBezTo>
                    <a:pt x="209" y="603"/>
                    <a:pt x="209" y="603"/>
                    <a:pt x="209" y="603"/>
                  </a:cubicBezTo>
                  <a:cubicBezTo>
                    <a:pt x="209" y="607"/>
                    <a:pt x="209" y="607"/>
                    <a:pt x="209" y="607"/>
                  </a:cubicBezTo>
                  <a:cubicBezTo>
                    <a:pt x="209" y="607"/>
                    <a:pt x="209" y="607"/>
                    <a:pt x="209" y="607"/>
                  </a:cubicBezTo>
                  <a:cubicBezTo>
                    <a:pt x="209" y="608"/>
                    <a:pt x="209" y="608"/>
                    <a:pt x="209" y="608"/>
                  </a:cubicBezTo>
                  <a:cubicBezTo>
                    <a:pt x="210" y="608"/>
                    <a:pt x="210" y="608"/>
                    <a:pt x="210" y="608"/>
                  </a:cubicBezTo>
                  <a:cubicBezTo>
                    <a:pt x="209" y="608"/>
                    <a:pt x="209" y="608"/>
                    <a:pt x="209" y="608"/>
                  </a:cubicBezTo>
                  <a:cubicBezTo>
                    <a:pt x="209" y="608"/>
                    <a:pt x="209" y="608"/>
                    <a:pt x="209" y="608"/>
                  </a:cubicBezTo>
                  <a:cubicBezTo>
                    <a:pt x="210" y="609"/>
                    <a:pt x="210" y="609"/>
                    <a:pt x="210" y="609"/>
                  </a:cubicBezTo>
                  <a:cubicBezTo>
                    <a:pt x="210" y="609"/>
                    <a:pt x="210" y="609"/>
                    <a:pt x="210" y="609"/>
                  </a:cubicBezTo>
                  <a:cubicBezTo>
                    <a:pt x="210" y="610"/>
                    <a:pt x="210" y="610"/>
                    <a:pt x="210" y="610"/>
                  </a:cubicBezTo>
                  <a:cubicBezTo>
                    <a:pt x="209" y="610"/>
                    <a:pt x="209" y="610"/>
                    <a:pt x="209" y="610"/>
                  </a:cubicBezTo>
                  <a:cubicBezTo>
                    <a:pt x="209" y="611"/>
                    <a:pt x="209" y="611"/>
                    <a:pt x="209" y="611"/>
                  </a:cubicBezTo>
                  <a:cubicBezTo>
                    <a:pt x="209" y="612"/>
                    <a:pt x="209" y="612"/>
                    <a:pt x="209" y="612"/>
                  </a:cubicBezTo>
                  <a:cubicBezTo>
                    <a:pt x="209" y="612"/>
                    <a:pt x="209" y="612"/>
                    <a:pt x="209" y="612"/>
                  </a:cubicBezTo>
                  <a:cubicBezTo>
                    <a:pt x="209" y="613"/>
                    <a:pt x="209" y="613"/>
                    <a:pt x="209" y="613"/>
                  </a:cubicBezTo>
                  <a:cubicBezTo>
                    <a:pt x="209" y="614"/>
                    <a:pt x="209" y="614"/>
                    <a:pt x="209" y="614"/>
                  </a:cubicBezTo>
                  <a:cubicBezTo>
                    <a:pt x="209" y="614"/>
                    <a:pt x="209" y="614"/>
                    <a:pt x="209" y="614"/>
                  </a:cubicBezTo>
                  <a:cubicBezTo>
                    <a:pt x="209" y="615"/>
                    <a:pt x="209" y="615"/>
                    <a:pt x="209" y="615"/>
                  </a:cubicBezTo>
                  <a:cubicBezTo>
                    <a:pt x="210" y="615"/>
                    <a:pt x="210" y="615"/>
                    <a:pt x="210" y="615"/>
                  </a:cubicBezTo>
                  <a:cubicBezTo>
                    <a:pt x="210" y="615"/>
                    <a:pt x="210" y="615"/>
                    <a:pt x="210" y="615"/>
                  </a:cubicBezTo>
                  <a:cubicBezTo>
                    <a:pt x="210" y="615"/>
                    <a:pt x="210" y="615"/>
                    <a:pt x="210" y="615"/>
                  </a:cubicBezTo>
                  <a:cubicBezTo>
                    <a:pt x="210" y="616"/>
                    <a:pt x="210" y="616"/>
                    <a:pt x="210" y="616"/>
                  </a:cubicBezTo>
                  <a:cubicBezTo>
                    <a:pt x="211" y="616"/>
                    <a:pt x="211" y="616"/>
                    <a:pt x="211" y="616"/>
                  </a:cubicBezTo>
                  <a:cubicBezTo>
                    <a:pt x="211" y="616"/>
                    <a:pt x="211" y="616"/>
                    <a:pt x="211" y="616"/>
                  </a:cubicBezTo>
                  <a:cubicBezTo>
                    <a:pt x="211" y="617"/>
                    <a:pt x="211" y="617"/>
                    <a:pt x="211" y="617"/>
                  </a:cubicBezTo>
                  <a:cubicBezTo>
                    <a:pt x="212" y="616"/>
                    <a:pt x="212" y="616"/>
                    <a:pt x="212" y="616"/>
                  </a:cubicBezTo>
                  <a:cubicBezTo>
                    <a:pt x="212" y="612"/>
                    <a:pt x="212" y="612"/>
                    <a:pt x="212" y="612"/>
                  </a:cubicBezTo>
                  <a:cubicBezTo>
                    <a:pt x="213" y="612"/>
                    <a:pt x="213" y="612"/>
                    <a:pt x="213" y="612"/>
                  </a:cubicBezTo>
                  <a:cubicBezTo>
                    <a:pt x="213" y="611"/>
                    <a:pt x="213" y="611"/>
                    <a:pt x="213" y="611"/>
                  </a:cubicBezTo>
                  <a:cubicBezTo>
                    <a:pt x="213" y="611"/>
                    <a:pt x="213" y="611"/>
                    <a:pt x="213" y="611"/>
                  </a:cubicBezTo>
                  <a:cubicBezTo>
                    <a:pt x="213" y="611"/>
                    <a:pt x="213" y="611"/>
                    <a:pt x="213" y="611"/>
                  </a:cubicBezTo>
                  <a:cubicBezTo>
                    <a:pt x="214" y="611"/>
                    <a:pt x="214" y="611"/>
                    <a:pt x="214" y="611"/>
                  </a:cubicBezTo>
                  <a:cubicBezTo>
                    <a:pt x="214" y="611"/>
                    <a:pt x="214" y="611"/>
                    <a:pt x="214" y="611"/>
                  </a:cubicBezTo>
                  <a:cubicBezTo>
                    <a:pt x="215" y="613"/>
                    <a:pt x="215" y="613"/>
                    <a:pt x="215" y="613"/>
                  </a:cubicBezTo>
                  <a:cubicBezTo>
                    <a:pt x="215" y="614"/>
                    <a:pt x="215" y="614"/>
                    <a:pt x="215" y="614"/>
                  </a:cubicBezTo>
                  <a:cubicBezTo>
                    <a:pt x="214" y="614"/>
                    <a:pt x="214" y="614"/>
                    <a:pt x="214" y="614"/>
                  </a:cubicBezTo>
                  <a:cubicBezTo>
                    <a:pt x="214" y="614"/>
                    <a:pt x="214" y="614"/>
                    <a:pt x="214" y="614"/>
                  </a:cubicBezTo>
                  <a:cubicBezTo>
                    <a:pt x="215" y="614"/>
                    <a:pt x="215" y="614"/>
                    <a:pt x="215" y="614"/>
                  </a:cubicBezTo>
                  <a:cubicBezTo>
                    <a:pt x="215" y="615"/>
                    <a:pt x="215" y="615"/>
                    <a:pt x="215" y="615"/>
                  </a:cubicBezTo>
                  <a:cubicBezTo>
                    <a:pt x="214" y="616"/>
                    <a:pt x="214" y="616"/>
                    <a:pt x="214" y="616"/>
                  </a:cubicBezTo>
                  <a:cubicBezTo>
                    <a:pt x="213" y="617"/>
                    <a:pt x="213" y="617"/>
                    <a:pt x="213" y="617"/>
                  </a:cubicBezTo>
                  <a:cubicBezTo>
                    <a:pt x="214" y="617"/>
                    <a:pt x="214" y="617"/>
                    <a:pt x="214" y="617"/>
                  </a:cubicBezTo>
                  <a:cubicBezTo>
                    <a:pt x="214" y="617"/>
                    <a:pt x="214" y="617"/>
                    <a:pt x="214" y="617"/>
                  </a:cubicBezTo>
                  <a:cubicBezTo>
                    <a:pt x="215" y="617"/>
                    <a:pt x="215" y="617"/>
                    <a:pt x="215" y="617"/>
                  </a:cubicBezTo>
                  <a:cubicBezTo>
                    <a:pt x="215" y="617"/>
                    <a:pt x="215" y="617"/>
                    <a:pt x="215" y="617"/>
                  </a:cubicBezTo>
                  <a:cubicBezTo>
                    <a:pt x="215" y="617"/>
                    <a:pt x="215" y="617"/>
                    <a:pt x="215" y="617"/>
                  </a:cubicBezTo>
                  <a:cubicBezTo>
                    <a:pt x="215" y="617"/>
                    <a:pt x="215" y="617"/>
                    <a:pt x="215" y="617"/>
                  </a:cubicBezTo>
                  <a:cubicBezTo>
                    <a:pt x="215" y="618"/>
                    <a:pt x="215" y="618"/>
                    <a:pt x="215" y="618"/>
                  </a:cubicBezTo>
                  <a:cubicBezTo>
                    <a:pt x="215" y="618"/>
                    <a:pt x="215" y="618"/>
                    <a:pt x="215" y="618"/>
                  </a:cubicBezTo>
                  <a:cubicBezTo>
                    <a:pt x="216" y="618"/>
                    <a:pt x="216" y="618"/>
                    <a:pt x="216" y="618"/>
                  </a:cubicBezTo>
                  <a:cubicBezTo>
                    <a:pt x="216" y="619"/>
                    <a:pt x="216" y="619"/>
                    <a:pt x="216" y="619"/>
                  </a:cubicBezTo>
                  <a:cubicBezTo>
                    <a:pt x="216" y="619"/>
                    <a:pt x="216" y="619"/>
                    <a:pt x="216" y="619"/>
                  </a:cubicBezTo>
                  <a:cubicBezTo>
                    <a:pt x="216" y="620"/>
                    <a:pt x="216" y="620"/>
                    <a:pt x="216" y="620"/>
                  </a:cubicBezTo>
                  <a:cubicBezTo>
                    <a:pt x="216" y="620"/>
                    <a:pt x="216" y="620"/>
                    <a:pt x="216" y="620"/>
                  </a:cubicBezTo>
                  <a:cubicBezTo>
                    <a:pt x="216" y="620"/>
                    <a:pt x="216" y="620"/>
                    <a:pt x="216" y="620"/>
                  </a:cubicBezTo>
                  <a:cubicBezTo>
                    <a:pt x="216" y="621"/>
                    <a:pt x="216" y="621"/>
                    <a:pt x="216" y="621"/>
                  </a:cubicBezTo>
                  <a:cubicBezTo>
                    <a:pt x="215" y="621"/>
                    <a:pt x="215" y="621"/>
                    <a:pt x="215" y="621"/>
                  </a:cubicBezTo>
                  <a:cubicBezTo>
                    <a:pt x="215" y="621"/>
                    <a:pt x="215" y="621"/>
                    <a:pt x="215" y="621"/>
                  </a:cubicBezTo>
                  <a:cubicBezTo>
                    <a:pt x="215" y="622"/>
                    <a:pt x="215" y="622"/>
                    <a:pt x="215" y="622"/>
                  </a:cubicBezTo>
                  <a:cubicBezTo>
                    <a:pt x="215" y="622"/>
                    <a:pt x="215" y="622"/>
                    <a:pt x="215" y="622"/>
                  </a:cubicBezTo>
                  <a:cubicBezTo>
                    <a:pt x="215" y="623"/>
                    <a:pt x="215" y="623"/>
                    <a:pt x="215" y="623"/>
                  </a:cubicBezTo>
                  <a:cubicBezTo>
                    <a:pt x="216" y="623"/>
                    <a:pt x="216" y="623"/>
                    <a:pt x="216" y="623"/>
                  </a:cubicBezTo>
                  <a:cubicBezTo>
                    <a:pt x="216" y="623"/>
                    <a:pt x="216" y="623"/>
                    <a:pt x="216" y="623"/>
                  </a:cubicBezTo>
                  <a:cubicBezTo>
                    <a:pt x="217" y="623"/>
                    <a:pt x="217" y="623"/>
                    <a:pt x="217" y="623"/>
                  </a:cubicBezTo>
                  <a:cubicBezTo>
                    <a:pt x="216" y="623"/>
                    <a:pt x="216" y="623"/>
                    <a:pt x="216" y="623"/>
                  </a:cubicBezTo>
                  <a:cubicBezTo>
                    <a:pt x="216" y="623"/>
                    <a:pt x="216" y="623"/>
                    <a:pt x="216" y="623"/>
                  </a:cubicBezTo>
                  <a:cubicBezTo>
                    <a:pt x="215" y="623"/>
                    <a:pt x="215" y="623"/>
                    <a:pt x="215" y="623"/>
                  </a:cubicBezTo>
                  <a:cubicBezTo>
                    <a:pt x="216" y="624"/>
                    <a:pt x="216" y="624"/>
                    <a:pt x="216" y="624"/>
                  </a:cubicBezTo>
                  <a:cubicBezTo>
                    <a:pt x="216" y="624"/>
                    <a:pt x="216" y="624"/>
                    <a:pt x="216" y="624"/>
                  </a:cubicBezTo>
                  <a:cubicBezTo>
                    <a:pt x="217" y="624"/>
                    <a:pt x="217" y="624"/>
                    <a:pt x="217" y="624"/>
                  </a:cubicBezTo>
                  <a:cubicBezTo>
                    <a:pt x="217" y="624"/>
                    <a:pt x="217" y="624"/>
                    <a:pt x="217" y="624"/>
                  </a:cubicBezTo>
                  <a:cubicBezTo>
                    <a:pt x="218" y="625"/>
                    <a:pt x="218" y="625"/>
                    <a:pt x="218" y="625"/>
                  </a:cubicBezTo>
                  <a:cubicBezTo>
                    <a:pt x="217" y="625"/>
                    <a:pt x="217" y="625"/>
                    <a:pt x="217" y="625"/>
                  </a:cubicBezTo>
                  <a:cubicBezTo>
                    <a:pt x="216" y="626"/>
                    <a:pt x="216" y="626"/>
                    <a:pt x="216" y="626"/>
                  </a:cubicBezTo>
                  <a:cubicBezTo>
                    <a:pt x="217" y="626"/>
                    <a:pt x="217" y="626"/>
                    <a:pt x="217" y="626"/>
                  </a:cubicBezTo>
                  <a:cubicBezTo>
                    <a:pt x="218" y="626"/>
                    <a:pt x="218" y="626"/>
                    <a:pt x="218" y="626"/>
                  </a:cubicBezTo>
                  <a:cubicBezTo>
                    <a:pt x="218" y="626"/>
                    <a:pt x="218" y="626"/>
                    <a:pt x="218" y="626"/>
                  </a:cubicBezTo>
                  <a:cubicBezTo>
                    <a:pt x="218" y="627"/>
                    <a:pt x="218" y="627"/>
                    <a:pt x="218" y="627"/>
                  </a:cubicBezTo>
                  <a:cubicBezTo>
                    <a:pt x="218" y="628"/>
                    <a:pt x="218" y="628"/>
                    <a:pt x="218" y="628"/>
                  </a:cubicBezTo>
                  <a:cubicBezTo>
                    <a:pt x="218" y="628"/>
                    <a:pt x="218" y="628"/>
                    <a:pt x="218" y="628"/>
                  </a:cubicBezTo>
                  <a:cubicBezTo>
                    <a:pt x="219" y="630"/>
                    <a:pt x="219" y="630"/>
                    <a:pt x="219" y="630"/>
                  </a:cubicBezTo>
                  <a:cubicBezTo>
                    <a:pt x="219" y="630"/>
                    <a:pt x="219" y="630"/>
                    <a:pt x="219" y="630"/>
                  </a:cubicBezTo>
                  <a:cubicBezTo>
                    <a:pt x="218" y="631"/>
                    <a:pt x="218" y="631"/>
                    <a:pt x="218" y="631"/>
                  </a:cubicBezTo>
                  <a:cubicBezTo>
                    <a:pt x="219" y="632"/>
                    <a:pt x="219" y="632"/>
                    <a:pt x="219" y="632"/>
                  </a:cubicBezTo>
                  <a:cubicBezTo>
                    <a:pt x="219" y="632"/>
                    <a:pt x="219" y="632"/>
                    <a:pt x="219" y="632"/>
                  </a:cubicBezTo>
                  <a:cubicBezTo>
                    <a:pt x="219" y="633"/>
                    <a:pt x="219" y="633"/>
                    <a:pt x="219" y="633"/>
                  </a:cubicBezTo>
                  <a:cubicBezTo>
                    <a:pt x="220" y="634"/>
                    <a:pt x="220" y="634"/>
                    <a:pt x="220" y="634"/>
                  </a:cubicBezTo>
                  <a:cubicBezTo>
                    <a:pt x="221" y="635"/>
                    <a:pt x="221" y="635"/>
                    <a:pt x="221" y="635"/>
                  </a:cubicBezTo>
                  <a:cubicBezTo>
                    <a:pt x="222" y="635"/>
                    <a:pt x="222" y="635"/>
                    <a:pt x="222" y="635"/>
                  </a:cubicBezTo>
                  <a:cubicBezTo>
                    <a:pt x="222" y="636"/>
                    <a:pt x="222" y="636"/>
                    <a:pt x="222" y="636"/>
                  </a:cubicBezTo>
                  <a:cubicBezTo>
                    <a:pt x="222" y="636"/>
                    <a:pt x="222" y="636"/>
                    <a:pt x="222" y="636"/>
                  </a:cubicBezTo>
                  <a:cubicBezTo>
                    <a:pt x="222" y="636"/>
                    <a:pt x="222" y="636"/>
                    <a:pt x="222" y="636"/>
                  </a:cubicBezTo>
                  <a:cubicBezTo>
                    <a:pt x="222" y="636"/>
                    <a:pt x="222" y="636"/>
                    <a:pt x="222" y="636"/>
                  </a:cubicBezTo>
                  <a:cubicBezTo>
                    <a:pt x="223" y="637"/>
                    <a:pt x="223" y="637"/>
                    <a:pt x="223" y="637"/>
                  </a:cubicBezTo>
                  <a:cubicBezTo>
                    <a:pt x="223" y="637"/>
                    <a:pt x="223" y="637"/>
                    <a:pt x="223" y="637"/>
                  </a:cubicBezTo>
                  <a:cubicBezTo>
                    <a:pt x="222" y="637"/>
                    <a:pt x="222" y="637"/>
                    <a:pt x="222" y="637"/>
                  </a:cubicBezTo>
                  <a:cubicBezTo>
                    <a:pt x="222" y="638"/>
                    <a:pt x="222" y="638"/>
                    <a:pt x="222" y="638"/>
                  </a:cubicBezTo>
                  <a:cubicBezTo>
                    <a:pt x="222" y="638"/>
                    <a:pt x="222" y="638"/>
                    <a:pt x="222" y="638"/>
                  </a:cubicBezTo>
                  <a:cubicBezTo>
                    <a:pt x="222" y="639"/>
                    <a:pt x="222" y="639"/>
                    <a:pt x="222" y="639"/>
                  </a:cubicBezTo>
                  <a:cubicBezTo>
                    <a:pt x="223" y="640"/>
                    <a:pt x="223" y="640"/>
                    <a:pt x="223" y="640"/>
                  </a:cubicBezTo>
                  <a:cubicBezTo>
                    <a:pt x="223" y="641"/>
                    <a:pt x="223" y="641"/>
                    <a:pt x="223" y="641"/>
                  </a:cubicBezTo>
                  <a:cubicBezTo>
                    <a:pt x="224" y="641"/>
                    <a:pt x="224" y="641"/>
                    <a:pt x="224" y="641"/>
                  </a:cubicBezTo>
                  <a:cubicBezTo>
                    <a:pt x="225" y="642"/>
                    <a:pt x="225" y="642"/>
                    <a:pt x="225" y="642"/>
                  </a:cubicBezTo>
                  <a:cubicBezTo>
                    <a:pt x="226" y="642"/>
                    <a:pt x="226" y="642"/>
                    <a:pt x="226" y="642"/>
                  </a:cubicBezTo>
                  <a:cubicBezTo>
                    <a:pt x="226" y="642"/>
                    <a:pt x="226" y="642"/>
                    <a:pt x="226" y="642"/>
                  </a:cubicBezTo>
                  <a:cubicBezTo>
                    <a:pt x="227" y="643"/>
                    <a:pt x="227" y="643"/>
                    <a:pt x="227" y="643"/>
                  </a:cubicBezTo>
                  <a:cubicBezTo>
                    <a:pt x="227" y="644"/>
                    <a:pt x="227" y="644"/>
                    <a:pt x="227" y="644"/>
                  </a:cubicBezTo>
                  <a:cubicBezTo>
                    <a:pt x="227" y="644"/>
                    <a:pt x="227" y="644"/>
                    <a:pt x="227" y="644"/>
                  </a:cubicBezTo>
                  <a:cubicBezTo>
                    <a:pt x="228" y="644"/>
                    <a:pt x="228" y="644"/>
                    <a:pt x="228" y="644"/>
                  </a:cubicBezTo>
                  <a:cubicBezTo>
                    <a:pt x="228" y="644"/>
                    <a:pt x="228" y="644"/>
                    <a:pt x="228" y="644"/>
                  </a:cubicBezTo>
                  <a:cubicBezTo>
                    <a:pt x="228" y="644"/>
                    <a:pt x="228" y="644"/>
                    <a:pt x="228" y="644"/>
                  </a:cubicBezTo>
                  <a:cubicBezTo>
                    <a:pt x="228" y="644"/>
                    <a:pt x="228" y="644"/>
                    <a:pt x="228" y="644"/>
                  </a:cubicBezTo>
                  <a:cubicBezTo>
                    <a:pt x="228" y="645"/>
                    <a:pt x="228" y="645"/>
                    <a:pt x="228" y="645"/>
                  </a:cubicBezTo>
                  <a:cubicBezTo>
                    <a:pt x="230" y="646"/>
                    <a:pt x="230" y="646"/>
                    <a:pt x="230" y="646"/>
                  </a:cubicBezTo>
                  <a:cubicBezTo>
                    <a:pt x="230" y="647"/>
                    <a:pt x="230" y="647"/>
                    <a:pt x="230" y="647"/>
                  </a:cubicBezTo>
                  <a:cubicBezTo>
                    <a:pt x="230" y="648"/>
                    <a:pt x="230" y="648"/>
                    <a:pt x="230" y="648"/>
                  </a:cubicBezTo>
                  <a:cubicBezTo>
                    <a:pt x="230" y="650"/>
                    <a:pt x="230" y="650"/>
                    <a:pt x="230" y="650"/>
                  </a:cubicBezTo>
                  <a:cubicBezTo>
                    <a:pt x="231" y="651"/>
                    <a:pt x="231" y="651"/>
                    <a:pt x="231" y="651"/>
                  </a:cubicBezTo>
                  <a:cubicBezTo>
                    <a:pt x="231" y="651"/>
                    <a:pt x="231" y="651"/>
                    <a:pt x="231" y="651"/>
                  </a:cubicBezTo>
                  <a:cubicBezTo>
                    <a:pt x="232" y="652"/>
                    <a:pt x="232" y="652"/>
                    <a:pt x="232" y="652"/>
                  </a:cubicBezTo>
                  <a:cubicBezTo>
                    <a:pt x="232" y="653"/>
                    <a:pt x="232" y="653"/>
                    <a:pt x="232" y="653"/>
                  </a:cubicBezTo>
                  <a:cubicBezTo>
                    <a:pt x="232" y="654"/>
                    <a:pt x="232" y="654"/>
                    <a:pt x="232" y="654"/>
                  </a:cubicBezTo>
                  <a:cubicBezTo>
                    <a:pt x="234" y="655"/>
                    <a:pt x="234" y="655"/>
                    <a:pt x="234" y="655"/>
                  </a:cubicBezTo>
                  <a:cubicBezTo>
                    <a:pt x="234" y="656"/>
                    <a:pt x="234" y="656"/>
                    <a:pt x="234" y="656"/>
                  </a:cubicBezTo>
                  <a:cubicBezTo>
                    <a:pt x="235" y="656"/>
                    <a:pt x="235" y="656"/>
                    <a:pt x="235" y="656"/>
                  </a:cubicBezTo>
                  <a:cubicBezTo>
                    <a:pt x="235" y="656"/>
                    <a:pt x="235" y="656"/>
                    <a:pt x="235" y="656"/>
                  </a:cubicBezTo>
                  <a:cubicBezTo>
                    <a:pt x="236" y="655"/>
                    <a:pt x="236" y="655"/>
                    <a:pt x="236" y="655"/>
                  </a:cubicBezTo>
                  <a:cubicBezTo>
                    <a:pt x="237" y="655"/>
                    <a:pt x="237" y="655"/>
                    <a:pt x="237" y="655"/>
                  </a:cubicBezTo>
                  <a:cubicBezTo>
                    <a:pt x="238" y="655"/>
                    <a:pt x="238" y="655"/>
                    <a:pt x="238" y="655"/>
                  </a:cubicBezTo>
                  <a:cubicBezTo>
                    <a:pt x="238" y="656"/>
                    <a:pt x="238" y="656"/>
                    <a:pt x="238" y="656"/>
                  </a:cubicBezTo>
                  <a:cubicBezTo>
                    <a:pt x="239" y="658"/>
                    <a:pt x="239" y="658"/>
                    <a:pt x="239" y="658"/>
                  </a:cubicBezTo>
                  <a:cubicBezTo>
                    <a:pt x="240" y="661"/>
                    <a:pt x="240" y="661"/>
                    <a:pt x="240" y="661"/>
                  </a:cubicBezTo>
                  <a:cubicBezTo>
                    <a:pt x="240" y="662"/>
                    <a:pt x="240" y="662"/>
                    <a:pt x="240" y="662"/>
                  </a:cubicBezTo>
                  <a:cubicBezTo>
                    <a:pt x="240" y="663"/>
                    <a:pt x="240" y="663"/>
                    <a:pt x="240" y="663"/>
                  </a:cubicBezTo>
                  <a:cubicBezTo>
                    <a:pt x="239" y="664"/>
                    <a:pt x="239" y="664"/>
                    <a:pt x="239" y="664"/>
                  </a:cubicBezTo>
                  <a:cubicBezTo>
                    <a:pt x="239" y="665"/>
                    <a:pt x="239" y="665"/>
                    <a:pt x="239" y="665"/>
                  </a:cubicBezTo>
                  <a:cubicBezTo>
                    <a:pt x="239" y="666"/>
                    <a:pt x="239" y="666"/>
                    <a:pt x="239" y="666"/>
                  </a:cubicBezTo>
                  <a:cubicBezTo>
                    <a:pt x="237" y="667"/>
                    <a:pt x="237" y="667"/>
                    <a:pt x="237" y="667"/>
                  </a:cubicBezTo>
                  <a:cubicBezTo>
                    <a:pt x="233" y="665"/>
                    <a:pt x="233" y="665"/>
                    <a:pt x="233" y="665"/>
                  </a:cubicBezTo>
                  <a:cubicBezTo>
                    <a:pt x="232" y="666"/>
                    <a:pt x="232" y="666"/>
                    <a:pt x="232" y="666"/>
                  </a:cubicBezTo>
                  <a:cubicBezTo>
                    <a:pt x="230" y="668"/>
                    <a:pt x="230" y="668"/>
                    <a:pt x="230" y="668"/>
                  </a:cubicBezTo>
                  <a:cubicBezTo>
                    <a:pt x="231" y="669"/>
                    <a:pt x="231" y="669"/>
                    <a:pt x="231" y="669"/>
                  </a:cubicBezTo>
                  <a:cubicBezTo>
                    <a:pt x="234" y="671"/>
                    <a:pt x="234" y="671"/>
                    <a:pt x="234" y="671"/>
                  </a:cubicBezTo>
                  <a:cubicBezTo>
                    <a:pt x="235" y="673"/>
                    <a:pt x="235" y="673"/>
                    <a:pt x="235" y="673"/>
                  </a:cubicBezTo>
                  <a:cubicBezTo>
                    <a:pt x="235" y="674"/>
                    <a:pt x="235" y="674"/>
                    <a:pt x="235" y="674"/>
                  </a:cubicBezTo>
                  <a:cubicBezTo>
                    <a:pt x="237" y="675"/>
                    <a:pt x="237" y="675"/>
                    <a:pt x="237" y="675"/>
                  </a:cubicBezTo>
                  <a:cubicBezTo>
                    <a:pt x="237" y="676"/>
                    <a:pt x="237" y="676"/>
                    <a:pt x="237" y="676"/>
                  </a:cubicBezTo>
                  <a:cubicBezTo>
                    <a:pt x="237" y="677"/>
                    <a:pt x="237" y="677"/>
                    <a:pt x="237" y="677"/>
                  </a:cubicBezTo>
                  <a:cubicBezTo>
                    <a:pt x="236" y="678"/>
                    <a:pt x="236" y="678"/>
                    <a:pt x="236" y="678"/>
                  </a:cubicBezTo>
                  <a:cubicBezTo>
                    <a:pt x="236" y="678"/>
                    <a:pt x="236" y="678"/>
                    <a:pt x="236" y="678"/>
                  </a:cubicBezTo>
                  <a:cubicBezTo>
                    <a:pt x="235" y="678"/>
                    <a:pt x="235" y="678"/>
                    <a:pt x="235" y="678"/>
                  </a:cubicBezTo>
                  <a:cubicBezTo>
                    <a:pt x="234" y="678"/>
                    <a:pt x="234" y="678"/>
                    <a:pt x="234" y="678"/>
                  </a:cubicBezTo>
                  <a:cubicBezTo>
                    <a:pt x="234" y="678"/>
                    <a:pt x="234" y="678"/>
                    <a:pt x="234" y="678"/>
                  </a:cubicBezTo>
                  <a:cubicBezTo>
                    <a:pt x="233" y="678"/>
                    <a:pt x="233" y="678"/>
                    <a:pt x="233" y="678"/>
                  </a:cubicBezTo>
                  <a:cubicBezTo>
                    <a:pt x="233" y="678"/>
                    <a:pt x="233" y="678"/>
                    <a:pt x="233" y="678"/>
                  </a:cubicBezTo>
                  <a:cubicBezTo>
                    <a:pt x="233" y="678"/>
                    <a:pt x="233" y="678"/>
                    <a:pt x="233" y="678"/>
                  </a:cubicBezTo>
                  <a:cubicBezTo>
                    <a:pt x="232" y="678"/>
                    <a:pt x="232" y="678"/>
                    <a:pt x="232" y="678"/>
                  </a:cubicBezTo>
                  <a:cubicBezTo>
                    <a:pt x="232" y="678"/>
                    <a:pt x="232" y="678"/>
                    <a:pt x="232" y="678"/>
                  </a:cubicBezTo>
                  <a:cubicBezTo>
                    <a:pt x="232" y="677"/>
                    <a:pt x="232" y="677"/>
                    <a:pt x="232" y="677"/>
                  </a:cubicBezTo>
                  <a:cubicBezTo>
                    <a:pt x="231" y="677"/>
                    <a:pt x="231" y="677"/>
                    <a:pt x="231" y="677"/>
                  </a:cubicBezTo>
                  <a:cubicBezTo>
                    <a:pt x="231" y="677"/>
                    <a:pt x="231" y="677"/>
                    <a:pt x="231" y="677"/>
                  </a:cubicBezTo>
                  <a:cubicBezTo>
                    <a:pt x="225" y="674"/>
                    <a:pt x="225" y="674"/>
                    <a:pt x="225" y="674"/>
                  </a:cubicBezTo>
                  <a:cubicBezTo>
                    <a:pt x="226" y="675"/>
                    <a:pt x="226" y="675"/>
                    <a:pt x="226" y="675"/>
                  </a:cubicBezTo>
                  <a:cubicBezTo>
                    <a:pt x="227" y="676"/>
                    <a:pt x="227" y="676"/>
                    <a:pt x="227" y="676"/>
                  </a:cubicBezTo>
                  <a:cubicBezTo>
                    <a:pt x="227" y="677"/>
                    <a:pt x="227" y="677"/>
                    <a:pt x="227" y="677"/>
                  </a:cubicBezTo>
                  <a:cubicBezTo>
                    <a:pt x="228" y="678"/>
                    <a:pt x="228" y="678"/>
                    <a:pt x="228" y="678"/>
                  </a:cubicBezTo>
                  <a:cubicBezTo>
                    <a:pt x="228" y="679"/>
                    <a:pt x="228" y="679"/>
                    <a:pt x="228" y="679"/>
                  </a:cubicBezTo>
                  <a:cubicBezTo>
                    <a:pt x="228" y="680"/>
                    <a:pt x="228" y="680"/>
                    <a:pt x="228" y="680"/>
                  </a:cubicBezTo>
                  <a:cubicBezTo>
                    <a:pt x="229" y="681"/>
                    <a:pt x="229" y="681"/>
                    <a:pt x="229" y="681"/>
                  </a:cubicBezTo>
                  <a:cubicBezTo>
                    <a:pt x="230" y="684"/>
                    <a:pt x="230" y="684"/>
                    <a:pt x="230" y="684"/>
                  </a:cubicBezTo>
                  <a:cubicBezTo>
                    <a:pt x="230" y="684"/>
                    <a:pt x="230" y="684"/>
                    <a:pt x="230" y="684"/>
                  </a:cubicBezTo>
                  <a:cubicBezTo>
                    <a:pt x="233" y="687"/>
                    <a:pt x="233" y="687"/>
                    <a:pt x="233" y="687"/>
                  </a:cubicBezTo>
                  <a:cubicBezTo>
                    <a:pt x="233" y="688"/>
                    <a:pt x="233" y="688"/>
                    <a:pt x="233" y="688"/>
                  </a:cubicBezTo>
                  <a:cubicBezTo>
                    <a:pt x="233" y="689"/>
                    <a:pt x="233" y="689"/>
                    <a:pt x="233" y="689"/>
                  </a:cubicBezTo>
                  <a:cubicBezTo>
                    <a:pt x="233" y="689"/>
                    <a:pt x="233" y="689"/>
                    <a:pt x="233" y="689"/>
                  </a:cubicBezTo>
                  <a:cubicBezTo>
                    <a:pt x="234" y="690"/>
                    <a:pt x="234" y="690"/>
                    <a:pt x="234" y="690"/>
                  </a:cubicBezTo>
                  <a:cubicBezTo>
                    <a:pt x="234" y="690"/>
                    <a:pt x="234" y="690"/>
                    <a:pt x="234" y="690"/>
                  </a:cubicBezTo>
                  <a:cubicBezTo>
                    <a:pt x="235" y="691"/>
                    <a:pt x="235" y="691"/>
                    <a:pt x="235" y="691"/>
                  </a:cubicBezTo>
                  <a:cubicBezTo>
                    <a:pt x="235" y="692"/>
                    <a:pt x="235" y="692"/>
                    <a:pt x="235" y="692"/>
                  </a:cubicBezTo>
                  <a:cubicBezTo>
                    <a:pt x="235" y="693"/>
                    <a:pt x="235" y="693"/>
                    <a:pt x="235" y="693"/>
                  </a:cubicBezTo>
                  <a:cubicBezTo>
                    <a:pt x="235" y="693"/>
                    <a:pt x="235" y="693"/>
                    <a:pt x="235" y="693"/>
                  </a:cubicBezTo>
                  <a:cubicBezTo>
                    <a:pt x="236" y="693"/>
                    <a:pt x="236" y="693"/>
                    <a:pt x="236" y="693"/>
                  </a:cubicBezTo>
                  <a:cubicBezTo>
                    <a:pt x="236" y="694"/>
                    <a:pt x="236" y="694"/>
                    <a:pt x="236" y="694"/>
                  </a:cubicBezTo>
                  <a:cubicBezTo>
                    <a:pt x="236" y="694"/>
                    <a:pt x="236" y="694"/>
                    <a:pt x="236" y="694"/>
                  </a:cubicBezTo>
                  <a:cubicBezTo>
                    <a:pt x="236" y="694"/>
                    <a:pt x="236" y="694"/>
                    <a:pt x="236" y="694"/>
                  </a:cubicBezTo>
                  <a:cubicBezTo>
                    <a:pt x="236" y="695"/>
                    <a:pt x="236" y="695"/>
                    <a:pt x="236" y="695"/>
                  </a:cubicBezTo>
                  <a:cubicBezTo>
                    <a:pt x="236" y="695"/>
                    <a:pt x="236" y="695"/>
                    <a:pt x="236" y="695"/>
                  </a:cubicBezTo>
                  <a:cubicBezTo>
                    <a:pt x="236" y="696"/>
                    <a:pt x="236" y="696"/>
                    <a:pt x="236" y="696"/>
                  </a:cubicBezTo>
                  <a:cubicBezTo>
                    <a:pt x="237" y="697"/>
                    <a:pt x="237" y="697"/>
                    <a:pt x="237" y="697"/>
                  </a:cubicBezTo>
                  <a:cubicBezTo>
                    <a:pt x="239" y="698"/>
                    <a:pt x="239" y="698"/>
                    <a:pt x="239" y="698"/>
                  </a:cubicBezTo>
                  <a:cubicBezTo>
                    <a:pt x="239" y="699"/>
                    <a:pt x="239" y="699"/>
                    <a:pt x="239" y="699"/>
                  </a:cubicBezTo>
                  <a:cubicBezTo>
                    <a:pt x="240" y="701"/>
                    <a:pt x="240" y="701"/>
                    <a:pt x="240" y="701"/>
                  </a:cubicBezTo>
                  <a:cubicBezTo>
                    <a:pt x="240" y="702"/>
                    <a:pt x="240" y="702"/>
                    <a:pt x="240" y="702"/>
                  </a:cubicBezTo>
                  <a:cubicBezTo>
                    <a:pt x="240" y="702"/>
                    <a:pt x="240" y="702"/>
                    <a:pt x="240" y="702"/>
                  </a:cubicBezTo>
                  <a:cubicBezTo>
                    <a:pt x="239" y="703"/>
                    <a:pt x="239" y="703"/>
                    <a:pt x="239" y="703"/>
                  </a:cubicBezTo>
                  <a:cubicBezTo>
                    <a:pt x="239" y="703"/>
                    <a:pt x="239" y="703"/>
                    <a:pt x="239" y="703"/>
                  </a:cubicBezTo>
                  <a:cubicBezTo>
                    <a:pt x="239" y="704"/>
                    <a:pt x="239" y="704"/>
                    <a:pt x="239" y="704"/>
                  </a:cubicBezTo>
                  <a:cubicBezTo>
                    <a:pt x="240" y="704"/>
                    <a:pt x="240" y="704"/>
                    <a:pt x="240" y="704"/>
                  </a:cubicBezTo>
                  <a:cubicBezTo>
                    <a:pt x="241" y="704"/>
                    <a:pt x="241" y="704"/>
                    <a:pt x="241" y="704"/>
                  </a:cubicBezTo>
                  <a:cubicBezTo>
                    <a:pt x="241" y="705"/>
                    <a:pt x="241" y="705"/>
                    <a:pt x="241" y="705"/>
                  </a:cubicBezTo>
                  <a:cubicBezTo>
                    <a:pt x="242" y="705"/>
                    <a:pt x="242" y="705"/>
                    <a:pt x="242" y="705"/>
                  </a:cubicBezTo>
                  <a:cubicBezTo>
                    <a:pt x="242" y="705"/>
                    <a:pt x="242" y="705"/>
                    <a:pt x="242" y="705"/>
                  </a:cubicBezTo>
                  <a:cubicBezTo>
                    <a:pt x="242" y="705"/>
                    <a:pt x="242" y="705"/>
                    <a:pt x="242" y="705"/>
                  </a:cubicBezTo>
                  <a:cubicBezTo>
                    <a:pt x="243" y="706"/>
                    <a:pt x="243" y="706"/>
                    <a:pt x="243" y="706"/>
                  </a:cubicBezTo>
                  <a:cubicBezTo>
                    <a:pt x="243" y="706"/>
                    <a:pt x="243" y="706"/>
                    <a:pt x="243" y="706"/>
                  </a:cubicBezTo>
                  <a:cubicBezTo>
                    <a:pt x="244" y="708"/>
                    <a:pt x="244" y="708"/>
                    <a:pt x="244" y="708"/>
                  </a:cubicBezTo>
                  <a:cubicBezTo>
                    <a:pt x="244" y="708"/>
                    <a:pt x="244" y="708"/>
                    <a:pt x="244" y="708"/>
                  </a:cubicBezTo>
                  <a:cubicBezTo>
                    <a:pt x="243" y="709"/>
                    <a:pt x="243" y="709"/>
                    <a:pt x="243" y="709"/>
                  </a:cubicBezTo>
                  <a:cubicBezTo>
                    <a:pt x="243" y="710"/>
                    <a:pt x="243" y="710"/>
                    <a:pt x="243" y="710"/>
                  </a:cubicBezTo>
                  <a:cubicBezTo>
                    <a:pt x="243" y="710"/>
                    <a:pt x="243" y="710"/>
                    <a:pt x="243" y="710"/>
                  </a:cubicBezTo>
                  <a:cubicBezTo>
                    <a:pt x="241" y="712"/>
                    <a:pt x="241" y="712"/>
                    <a:pt x="241" y="712"/>
                  </a:cubicBezTo>
                  <a:cubicBezTo>
                    <a:pt x="240" y="713"/>
                    <a:pt x="240" y="713"/>
                    <a:pt x="240" y="713"/>
                  </a:cubicBezTo>
                  <a:cubicBezTo>
                    <a:pt x="239" y="714"/>
                    <a:pt x="239" y="714"/>
                    <a:pt x="239" y="714"/>
                  </a:cubicBezTo>
                  <a:cubicBezTo>
                    <a:pt x="240" y="716"/>
                    <a:pt x="240" y="716"/>
                    <a:pt x="240" y="716"/>
                  </a:cubicBezTo>
                  <a:cubicBezTo>
                    <a:pt x="241" y="718"/>
                    <a:pt x="241" y="718"/>
                    <a:pt x="241" y="718"/>
                  </a:cubicBezTo>
                  <a:cubicBezTo>
                    <a:pt x="241" y="719"/>
                    <a:pt x="241" y="719"/>
                    <a:pt x="241" y="719"/>
                  </a:cubicBezTo>
                  <a:cubicBezTo>
                    <a:pt x="241" y="719"/>
                    <a:pt x="241" y="719"/>
                    <a:pt x="241" y="719"/>
                  </a:cubicBezTo>
                  <a:cubicBezTo>
                    <a:pt x="241" y="719"/>
                    <a:pt x="241" y="719"/>
                    <a:pt x="241" y="719"/>
                  </a:cubicBezTo>
                  <a:cubicBezTo>
                    <a:pt x="241" y="719"/>
                    <a:pt x="241" y="719"/>
                    <a:pt x="241" y="719"/>
                  </a:cubicBezTo>
                  <a:cubicBezTo>
                    <a:pt x="241" y="720"/>
                    <a:pt x="241" y="720"/>
                    <a:pt x="241" y="720"/>
                  </a:cubicBezTo>
                  <a:cubicBezTo>
                    <a:pt x="240" y="721"/>
                    <a:pt x="240" y="721"/>
                    <a:pt x="240" y="721"/>
                  </a:cubicBezTo>
                  <a:cubicBezTo>
                    <a:pt x="240" y="721"/>
                    <a:pt x="240" y="721"/>
                    <a:pt x="240" y="721"/>
                  </a:cubicBezTo>
                  <a:cubicBezTo>
                    <a:pt x="239" y="721"/>
                    <a:pt x="239" y="721"/>
                    <a:pt x="239" y="721"/>
                  </a:cubicBezTo>
                  <a:cubicBezTo>
                    <a:pt x="238" y="721"/>
                    <a:pt x="238" y="721"/>
                    <a:pt x="238" y="721"/>
                  </a:cubicBezTo>
                  <a:cubicBezTo>
                    <a:pt x="238" y="720"/>
                    <a:pt x="238" y="720"/>
                    <a:pt x="238" y="720"/>
                  </a:cubicBezTo>
                  <a:cubicBezTo>
                    <a:pt x="238" y="720"/>
                    <a:pt x="238" y="720"/>
                    <a:pt x="238" y="720"/>
                  </a:cubicBezTo>
                  <a:cubicBezTo>
                    <a:pt x="238" y="720"/>
                    <a:pt x="238" y="720"/>
                    <a:pt x="238" y="720"/>
                  </a:cubicBezTo>
                  <a:cubicBezTo>
                    <a:pt x="238" y="720"/>
                    <a:pt x="238" y="720"/>
                    <a:pt x="238" y="720"/>
                  </a:cubicBezTo>
                  <a:cubicBezTo>
                    <a:pt x="237" y="722"/>
                    <a:pt x="237" y="722"/>
                    <a:pt x="237" y="722"/>
                  </a:cubicBezTo>
                  <a:cubicBezTo>
                    <a:pt x="237" y="723"/>
                    <a:pt x="237" y="723"/>
                    <a:pt x="237" y="723"/>
                  </a:cubicBezTo>
                  <a:cubicBezTo>
                    <a:pt x="237" y="723"/>
                    <a:pt x="237" y="723"/>
                    <a:pt x="237" y="723"/>
                  </a:cubicBezTo>
                  <a:cubicBezTo>
                    <a:pt x="238" y="723"/>
                    <a:pt x="238" y="723"/>
                    <a:pt x="238" y="723"/>
                  </a:cubicBezTo>
                  <a:cubicBezTo>
                    <a:pt x="238" y="722"/>
                    <a:pt x="238" y="722"/>
                    <a:pt x="238" y="722"/>
                  </a:cubicBezTo>
                  <a:cubicBezTo>
                    <a:pt x="239" y="722"/>
                    <a:pt x="239" y="722"/>
                    <a:pt x="239" y="722"/>
                  </a:cubicBezTo>
                  <a:cubicBezTo>
                    <a:pt x="239" y="723"/>
                    <a:pt x="239" y="723"/>
                    <a:pt x="239" y="723"/>
                  </a:cubicBezTo>
                  <a:cubicBezTo>
                    <a:pt x="239" y="723"/>
                    <a:pt x="239" y="723"/>
                    <a:pt x="239" y="723"/>
                  </a:cubicBezTo>
                  <a:cubicBezTo>
                    <a:pt x="240" y="723"/>
                    <a:pt x="240" y="723"/>
                    <a:pt x="240" y="723"/>
                  </a:cubicBezTo>
                  <a:cubicBezTo>
                    <a:pt x="240" y="722"/>
                    <a:pt x="240" y="722"/>
                    <a:pt x="240" y="722"/>
                  </a:cubicBezTo>
                  <a:cubicBezTo>
                    <a:pt x="241" y="722"/>
                    <a:pt x="241" y="722"/>
                    <a:pt x="241" y="722"/>
                  </a:cubicBezTo>
                  <a:cubicBezTo>
                    <a:pt x="241" y="722"/>
                    <a:pt x="241" y="722"/>
                    <a:pt x="241" y="722"/>
                  </a:cubicBezTo>
                  <a:cubicBezTo>
                    <a:pt x="242" y="722"/>
                    <a:pt x="242" y="722"/>
                    <a:pt x="242" y="722"/>
                  </a:cubicBezTo>
                  <a:cubicBezTo>
                    <a:pt x="242" y="722"/>
                    <a:pt x="242" y="722"/>
                    <a:pt x="242" y="722"/>
                  </a:cubicBezTo>
                  <a:cubicBezTo>
                    <a:pt x="242" y="723"/>
                    <a:pt x="242" y="723"/>
                    <a:pt x="242" y="723"/>
                  </a:cubicBezTo>
                  <a:cubicBezTo>
                    <a:pt x="243" y="723"/>
                    <a:pt x="243" y="723"/>
                    <a:pt x="243" y="723"/>
                  </a:cubicBezTo>
                  <a:cubicBezTo>
                    <a:pt x="243" y="723"/>
                    <a:pt x="243" y="723"/>
                    <a:pt x="243" y="723"/>
                  </a:cubicBezTo>
                  <a:cubicBezTo>
                    <a:pt x="244" y="723"/>
                    <a:pt x="244" y="723"/>
                    <a:pt x="244" y="723"/>
                  </a:cubicBezTo>
                  <a:cubicBezTo>
                    <a:pt x="245" y="723"/>
                    <a:pt x="245" y="723"/>
                    <a:pt x="245" y="723"/>
                  </a:cubicBezTo>
                  <a:cubicBezTo>
                    <a:pt x="250" y="725"/>
                    <a:pt x="250" y="725"/>
                    <a:pt x="250" y="725"/>
                  </a:cubicBezTo>
                  <a:cubicBezTo>
                    <a:pt x="251" y="725"/>
                    <a:pt x="251" y="725"/>
                    <a:pt x="251" y="725"/>
                  </a:cubicBezTo>
                  <a:cubicBezTo>
                    <a:pt x="253" y="725"/>
                    <a:pt x="253" y="725"/>
                    <a:pt x="253" y="725"/>
                  </a:cubicBezTo>
                  <a:cubicBezTo>
                    <a:pt x="254" y="724"/>
                    <a:pt x="254" y="724"/>
                    <a:pt x="254" y="724"/>
                  </a:cubicBezTo>
                  <a:cubicBezTo>
                    <a:pt x="257" y="723"/>
                    <a:pt x="257" y="723"/>
                    <a:pt x="257" y="723"/>
                  </a:cubicBezTo>
                  <a:cubicBezTo>
                    <a:pt x="258" y="722"/>
                    <a:pt x="258" y="722"/>
                    <a:pt x="258" y="722"/>
                  </a:cubicBezTo>
                  <a:cubicBezTo>
                    <a:pt x="259" y="723"/>
                    <a:pt x="259" y="723"/>
                    <a:pt x="259" y="723"/>
                  </a:cubicBezTo>
                  <a:cubicBezTo>
                    <a:pt x="260" y="722"/>
                    <a:pt x="260" y="722"/>
                    <a:pt x="260" y="722"/>
                  </a:cubicBezTo>
                  <a:cubicBezTo>
                    <a:pt x="260" y="722"/>
                    <a:pt x="260" y="722"/>
                    <a:pt x="260" y="722"/>
                  </a:cubicBezTo>
                  <a:cubicBezTo>
                    <a:pt x="260" y="721"/>
                    <a:pt x="260" y="721"/>
                    <a:pt x="260" y="721"/>
                  </a:cubicBezTo>
                  <a:cubicBezTo>
                    <a:pt x="260" y="721"/>
                    <a:pt x="260" y="721"/>
                    <a:pt x="260" y="721"/>
                  </a:cubicBezTo>
                  <a:cubicBezTo>
                    <a:pt x="261" y="721"/>
                    <a:pt x="261" y="721"/>
                    <a:pt x="261" y="721"/>
                  </a:cubicBezTo>
                  <a:cubicBezTo>
                    <a:pt x="265" y="721"/>
                    <a:pt x="265" y="721"/>
                    <a:pt x="265" y="721"/>
                  </a:cubicBezTo>
                  <a:cubicBezTo>
                    <a:pt x="266" y="721"/>
                    <a:pt x="266" y="721"/>
                    <a:pt x="266" y="721"/>
                  </a:cubicBezTo>
                  <a:cubicBezTo>
                    <a:pt x="267" y="721"/>
                    <a:pt x="267" y="721"/>
                    <a:pt x="267" y="721"/>
                  </a:cubicBezTo>
                  <a:cubicBezTo>
                    <a:pt x="267" y="721"/>
                    <a:pt x="267" y="721"/>
                    <a:pt x="267" y="721"/>
                  </a:cubicBezTo>
                  <a:cubicBezTo>
                    <a:pt x="268" y="720"/>
                    <a:pt x="268" y="720"/>
                    <a:pt x="268" y="720"/>
                  </a:cubicBezTo>
                  <a:cubicBezTo>
                    <a:pt x="268" y="720"/>
                    <a:pt x="268" y="720"/>
                    <a:pt x="268" y="720"/>
                  </a:cubicBezTo>
                  <a:cubicBezTo>
                    <a:pt x="269" y="720"/>
                    <a:pt x="269" y="720"/>
                    <a:pt x="269" y="720"/>
                  </a:cubicBezTo>
                  <a:cubicBezTo>
                    <a:pt x="270" y="721"/>
                    <a:pt x="270" y="721"/>
                    <a:pt x="270" y="721"/>
                  </a:cubicBezTo>
                  <a:cubicBezTo>
                    <a:pt x="273" y="722"/>
                    <a:pt x="273" y="722"/>
                    <a:pt x="273" y="722"/>
                  </a:cubicBezTo>
                  <a:cubicBezTo>
                    <a:pt x="273" y="722"/>
                    <a:pt x="273" y="722"/>
                    <a:pt x="273" y="722"/>
                  </a:cubicBezTo>
                  <a:cubicBezTo>
                    <a:pt x="274" y="723"/>
                    <a:pt x="274" y="723"/>
                    <a:pt x="274" y="723"/>
                  </a:cubicBezTo>
                  <a:cubicBezTo>
                    <a:pt x="276" y="723"/>
                    <a:pt x="276" y="723"/>
                    <a:pt x="276" y="723"/>
                  </a:cubicBezTo>
                  <a:cubicBezTo>
                    <a:pt x="277" y="722"/>
                    <a:pt x="277" y="722"/>
                    <a:pt x="277" y="722"/>
                  </a:cubicBezTo>
                  <a:cubicBezTo>
                    <a:pt x="278" y="722"/>
                    <a:pt x="278" y="722"/>
                    <a:pt x="278" y="722"/>
                  </a:cubicBezTo>
                  <a:cubicBezTo>
                    <a:pt x="278" y="721"/>
                    <a:pt x="278" y="721"/>
                    <a:pt x="278" y="721"/>
                  </a:cubicBezTo>
                  <a:cubicBezTo>
                    <a:pt x="279" y="719"/>
                    <a:pt x="279" y="719"/>
                    <a:pt x="279" y="719"/>
                  </a:cubicBezTo>
                  <a:cubicBezTo>
                    <a:pt x="280" y="718"/>
                    <a:pt x="280" y="718"/>
                    <a:pt x="280" y="718"/>
                  </a:cubicBezTo>
                  <a:cubicBezTo>
                    <a:pt x="280" y="718"/>
                    <a:pt x="280" y="718"/>
                    <a:pt x="280" y="718"/>
                  </a:cubicBezTo>
                  <a:cubicBezTo>
                    <a:pt x="282" y="716"/>
                    <a:pt x="282" y="716"/>
                    <a:pt x="282" y="716"/>
                  </a:cubicBezTo>
                  <a:cubicBezTo>
                    <a:pt x="282" y="715"/>
                    <a:pt x="282" y="715"/>
                    <a:pt x="282" y="715"/>
                  </a:cubicBezTo>
                  <a:cubicBezTo>
                    <a:pt x="282" y="714"/>
                    <a:pt x="282" y="714"/>
                    <a:pt x="282" y="714"/>
                  </a:cubicBezTo>
                  <a:cubicBezTo>
                    <a:pt x="282" y="713"/>
                    <a:pt x="282" y="713"/>
                    <a:pt x="282" y="713"/>
                  </a:cubicBezTo>
                  <a:cubicBezTo>
                    <a:pt x="281" y="711"/>
                    <a:pt x="281" y="711"/>
                    <a:pt x="281" y="711"/>
                  </a:cubicBezTo>
                  <a:cubicBezTo>
                    <a:pt x="280" y="711"/>
                    <a:pt x="280" y="711"/>
                    <a:pt x="280" y="711"/>
                  </a:cubicBezTo>
                  <a:cubicBezTo>
                    <a:pt x="280" y="710"/>
                    <a:pt x="280" y="710"/>
                    <a:pt x="280" y="710"/>
                  </a:cubicBezTo>
                  <a:cubicBezTo>
                    <a:pt x="280" y="710"/>
                    <a:pt x="280" y="710"/>
                    <a:pt x="280" y="710"/>
                  </a:cubicBezTo>
                  <a:cubicBezTo>
                    <a:pt x="280" y="709"/>
                    <a:pt x="280" y="709"/>
                    <a:pt x="280" y="709"/>
                  </a:cubicBezTo>
                  <a:cubicBezTo>
                    <a:pt x="280" y="708"/>
                    <a:pt x="280" y="708"/>
                    <a:pt x="280" y="708"/>
                  </a:cubicBezTo>
                  <a:cubicBezTo>
                    <a:pt x="280" y="708"/>
                    <a:pt x="280" y="708"/>
                    <a:pt x="280" y="708"/>
                  </a:cubicBezTo>
                  <a:cubicBezTo>
                    <a:pt x="279" y="707"/>
                    <a:pt x="279" y="707"/>
                    <a:pt x="279" y="707"/>
                  </a:cubicBezTo>
                  <a:cubicBezTo>
                    <a:pt x="278" y="706"/>
                    <a:pt x="278" y="706"/>
                    <a:pt x="278" y="706"/>
                  </a:cubicBezTo>
                  <a:cubicBezTo>
                    <a:pt x="278" y="706"/>
                    <a:pt x="278" y="706"/>
                    <a:pt x="278" y="706"/>
                  </a:cubicBezTo>
                  <a:cubicBezTo>
                    <a:pt x="277" y="705"/>
                    <a:pt x="277" y="705"/>
                    <a:pt x="277" y="705"/>
                  </a:cubicBezTo>
                  <a:cubicBezTo>
                    <a:pt x="277" y="704"/>
                    <a:pt x="277" y="704"/>
                    <a:pt x="277" y="704"/>
                  </a:cubicBezTo>
                  <a:cubicBezTo>
                    <a:pt x="278" y="702"/>
                    <a:pt x="278" y="702"/>
                    <a:pt x="278" y="702"/>
                  </a:cubicBezTo>
                  <a:cubicBezTo>
                    <a:pt x="278" y="700"/>
                    <a:pt x="278" y="700"/>
                    <a:pt x="278" y="700"/>
                  </a:cubicBezTo>
                  <a:cubicBezTo>
                    <a:pt x="278" y="698"/>
                    <a:pt x="278" y="698"/>
                    <a:pt x="278" y="698"/>
                  </a:cubicBezTo>
                  <a:cubicBezTo>
                    <a:pt x="280" y="696"/>
                    <a:pt x="280" y="696"/>
                    <a:pt x="280" y="696"/>
                  </a:cubicBezTo>
                  <a:cubicBezTo>
                    <a:pt x="281" y="695"/>
                    <a:pt x="281" y="695"/>
                    <a:pt x="281" y="695"/>
                  </a:cubicBezTo>
                  <a:cubicBezTo>
                    <a:pt x="281" y="695"/>
                    <a:pt x="281" y="695"/>
                    <a:pt x="281" y="695"/>
                  </a:cubicBezTo>
                  <a:cubicBezTo>
                    <a:pt x="281" y="694"/>
                    <a:pt x="281" y="694"/>
                    <a:pt x="281" y="694"/>
                  </a:cubicBezTo>
                  <a:cubicBezTo>
                    <a:pt x="282" y="693"/>
                    <a:pt x="282" y="693"/>
                    <a:pt x="282" y="693"/>
                  </a:cubicBezTo>
                  <a:cubicBezTo>
                    <a:pt x="282" y="692"/>
                    <a:pt x="282" y="692"/>
                    <a:pt x="282" y="692"/>
                  </a:cubicBezTo>
                  <a:cubicBezTo>
                    <a:pt x="283" y="692"/>
                    <a:pt x="283" y="692"/>
                    <a:pt x="283" y="692"/>
                  </a:cubicBezTo>
                  <a:cubicBezTo>
                    <a:pt x="284" y="691"/>
                    <a:pt x="284" y="691"/>
                    <a:pt x="284" y="691"/>
                  </a:cubicBezTo>
                  <a:cubicBezTo>
                    <a:pt x="285" y="690"/>
                    <a:pt x="285" y="690"/>
                    <a:pt x="285" y="690"/>
                  </a:cubicBezTo>
                  <a:cubicBezTo>
                    <a:pt x="286" y="689"/>
                    <a:pt x="286" y="689"/>
                    <a:pt x="286" y="689"/>
                  </a:cubicBezTo>
                  <a:cubicBezTo>
                    <a:pt x="286" y="688"/>
                    <a:pt x="286" y="688"/>
                    <a:pt x="286" y="688"/>
                  </a:cubicBezTo>
                  <a:cubicBezTo>
                    <a:pt x="287" y="688"/>
                    <a:pt x="287" y="688"/>
                    <a:pt x="287" y="688"/>
                  </a:cubicBezTo>
                  <a:cubicBezTo>
                    <a:pt x="287" y="688"/>
                    <a:pt x="287" y="688"/>
                    <a:pt x="287" y="688"/>
                  </a:cubicBezTo>
                  <a:cubicBezTo>
                    <a:pt x="288" y="687"/>
                    <a:pt x="288" y="687"/>
                    <a:pt x="288" y="687"/>
                  </a:cubicBezTo>
                  <a:cubicBezTo>
                    <a:pt x="288" y="687"/>
                    <a:pt x="288" y="687"/>
                    <a:pt x="288" y="687"/>
                  </a:cubicBezTo>
                  <a:cubicBezTo>
                    <a:pt x="288" y="687"/>
                    <a:pt x="288" y="687"/>
                    <a:pt x="288" y="687"/>
                  </a:cubicBezTo>
                  <a:cubicBezTo>
                    <a:pt x="288" y="687"/>
                    <a:pt x="288" y="687"/>
                    <a:pt x="288" y="687"/>
                  </a:cubicBezTo>
                  <a:cubicBezTo>
                    <a:pt x="289" y="688"/>
                    <a:pt x="289" y="688"/>
                    <a:pt x="289" y="688"/>
                  </a:cubicBezTo>
                  <a:cubicBezTo>
                    <a:pt x="290" y="687"/>
                    <a:pt x="290" y="687"/>
                    <a:pt x="290" y="687"/>
                  </a:cubicBezTo>
                  <a:cubicBezTo>
                    <a:pt x="289" y="688"/>
                    <a:pt x="289" y="688"/>
                    <a:pt x="289" y="688"/>
                  </a:cubicBezTo>
                  <a:cubicBezTo>
                    <a:pt x="290" y="688"/>
                    <a:pt x="290" y="688"/>
                    <a:pt x="290" y="688"/>
                  </a:cubicBezTo>
                  <a:cubicBezTo>
                    <a:pt x="290" y="689"/>
                    <a:pt x="290" y="689"/>
                    <a:pt x="290" y="689"/>
                  </a:cubicBezTo>
                  <a:cubicBezTo>
                    <a:pt x="290" y="689"/>
                    <a:pt x="290" y="689"/>
                    <a:pt x="290" y="689"/>
                  </a:cubicBezTo>
                  <a:cubicBezTo>
                    <a:pt x="290" y="689"/>
                    <a:pt x="290" y="689"/>
                    <a:pt x="290" y="689"/>
                  </a:cubicBezTo>
                  <a:cubicBezTo>
                    <a:pt x="290" y="690"/>
                    <a:pt x="290" y="690"/>
                    <a:pt x="290" y="690"/>
                  </a:cubicBezTo>
                  <a:cubicBezTo>
                    <a:pt x="290" y="690"/>
                    <a:pt x="290" y="690"/>
                    <a:pt x="290" y="690"/>
                  </a:cubicBezTo>
                  <a:cubicBezTo>
                    <a:pt x="291" y="690"/>
                    <a:pt x="291" y="690"/>
                    <a:pt x="291" y="690"/>
                  </a:cubicBezTo>
                  <a:cubicBezTo>
                    <a:pt x="291" y="690"/>
                    <a:pt x="291" y="690"/>
                    <a:pt x="291" y="690"/>
                  </a:cubicBezTo>
                  <a:cubicBezTo>
                    <a:pt x="291" y="690"/>
                    <a:pt x="291" y="690"/>
                    <a:pt x="291" y="690"/>
                  </a:cubicBezTo>
                  <a:cubicBezTo>
                    <a:pt x="292" y="690"/>
                    <a:pt x="292" y="690"/>
                    <a:pt x="292" y="690"/>
                  </a:cubicBezTo>
                  <a:cubicBezTo>
                    <a:pt x="292" y="690"/>
                    <a:pt x="292" y="690"/>
                    <a:pt x="292" y="690"/>
                  </a:cubicBezTo>
                  <a:cubicBezTo>
                    <a:pt x="292" y="689"/>
                    <a:pt x="292" y="689"/>
                    <a:pt x="292" y="689"/>
                  </a:cubicBezTo>
                  <a:cubicBezTo>
                    <a:pt x="293" y="689"/>
                    <a:pt x="293" y="689"/>
                    <a:pt x="293" y="689"/>
                  </a:cubicBezTo>
                  <a:cubicBezTo>
                    <a:pt x="293" y="690"/>
                    <a:pt x="293" y="690"/>
                    <a:pt x="293" y="690"/>
                  </a:cubicBezTo>
                  <a:cubicBezTo>
                    <a:pt x="293" y="690"/>
                    <a:pt x="293" y="690"/>
                    <a:pt x="293" y="690"/>
                  </a:cubicBezTo>
                  <a:cubicBezTo>
                    <a:pt x="293" y="690"/>
                    <a:pt x="293" y="690"/>
                    <a:pt x="293" y="690"/>
                  </a:cubicBezTo>
                  <a:cubicBezTo>
                    <a:pt x="293" y="689"/>
                    <a:pt x="293" y="689"/>
                    <a:pt x="293" y="689"/>
                  </a:cubicBezTo>
                  <a:cubicBezTo>
                    <a:pt x="294" y="689"/>
                    <a:pt x="294" y="689"/>
                    <a:pt x="294" y="689"/>
                  </a:cubicBezTo>
                  <a:cubicBezTo>
                    <a:pt x="294" y="689"/>
                    <a:pt x="294" y="689"/>
                    <a:pt x="294" y="689"/>
                  </a:cubicBezTo>
                  <a:cubicBezTo>
                    <a:pt x="294" y="689"/>
                    <a:pt x="294" y="689"/>
                    <a:pt x="294" y="689"/>
                  </a:cubicBezTo>
                  <a:cubicBezTo>
                    <a:pt x="294" y="688"/>
                    <a:pt x="294" y="688"/>
                    <a:pt x="294" y="688"/>
                  </a:cubicBezTo>
                  <a:cubicBezTo>
                    <a:pt x="294" y="687"/>
                    <a:pt x="294" y="687"/>
                    <a:pt x="294" y="687"/>
                  </a:cubicBezTo>
                  <a:cubicBezTo>
                    <a:pt x="293" y="686"/>
                    <a:pt x="293" y="686"/>
                    <a:pt x="293" y="686"/>
                  </a:cubicBezTo>
                  <a:cubicBezTo>
                    <a:pt x="293" y="685"/>
                    <a:pt x="293" y="685"/>
                    <a:pt x="293" y="685"/>
                  </a:cubicBezTo>
                  <a:cubicBezTo>
                    <a:pt x="293" y="685"/>
                    <a:pt x="293" y="685"/>
                    <a:pt x="293" y="685"/>
                  </a:cubicBezTo>
                  <a:cubicBezTo>
                    <a:pt x="292" y="684"/>
                    <a:pt x="292" y="684"/>
                    <a:pt x="292" y="684"/>
                  </a:cubicBezTo>
                  <a:cubicBezTo>
                    <a:pt x="292" y="684"/>
                    <a:pt x="292" y="684"/>
                    <a:pt x="292" y="684"/>
                  </a:cubicBezTo>
                  <a:cubicBezTo>
                    <a:pt x="292" y="684"/>
                    <a:pt x="292" y="684"/>
                    <a:pt x="292" y="684"/>
                  </a:cubicBezTo>
                  <a:cubicBezTo>
                    <a:pt x="292" y="683"/>
                    <a:pt x="292" y="683"/>
                    <a:pt x="292" y="683"/>
                  </a:cubicBezTo>
                  <a:cubicBezTo>
                    <a:pt x="292" y="683"/>
                    <a:pt x="292" y="683"/>
                    <a:pt x="292" y="683"/>
                  </a:cubicBezTo>
                  <a:cubicBezTo>
                    <a:pt x="292" y="682"/>
                    <a:pt x="292" y="682"/>
                    <a:pt x="292" y="682"/>
                  </a:cubicBezTo>
                  <a:cubicBezTo>
                    <a:pt x="292" y="682"/>
                    <a:pt x="292" y="682"/>
                    <a:pt x="292" y="682"/>
                  </a:cubicBezTo>
                  <a:cubicBezTo>
                    <a:pt x="293" y="681"/>
                    <a:pt x="293" y="681"/>
                    <a:pt x="293" y="681"/>
                  </a:cubicBezTo>
                  <a:cubicBezTo>
                    <a:pt x="295" y="681"/>
                    <a:pt x="295" y="681"/>
                    <a:pt x="295" y="681"/>
                  </a:cubicBezTo>
                  <a:cubicBezTo>
                    <a:pt x="295" y="682"/>
                    <a:pt x="295" y="682"/>
                    <a:pt x="295" y="682"/>
                  </a:cubicBezTo>
                  <a:cubicBezTo>
                    <a:pt x="296" y="682"/>
                    <a:pt x="296" y="682"/>
                    <a:pt x="296" y="682"/>
                  </a:cubicBezTo>
                  <a:cubicBezTo>
                    <a:pt x="296" y="683"/>
                    <a:pt x="296" y="683"/>
                    <a:pt x="296" y="683"/>
                  </a:cubicBezTo>
                  <a:cubicBezTo>
                    <a:pt x="297" y="682"/>
                    <a:pt x="297" y="682"/>
                    <a:pt x="297" y="682"/>
                  </a:cubicBezTo>
                  <a:cubicBezTo>
                    <a:pt x="297" y="681"/>
                    <a:pt x="297" y="681"/>
                    <a:pt x="297" y="681"/>
                  </a:cubicBezTo>
                  <a:cubicBezTo>
                    <a:pt x="298" y="681"/>
                    <a:pt x="298" y="681"/>
                    <a:pt x="298" y="681"/>
                  </a:cubicBezTo>
                  <a:cubicBezTo>
                    <a:pt x="299" y="682"/>
                    <a:pt x="299" y="682"/>
                    <a:pt x="299" y="682"/>
                  </a:cubicBezTo>
                  <a:cubicBezTo>
                    <a:pt x="299" y="681"/>
                    <a:pt x="299" y="681"/>
                    <a:pt x="299" y="681"/>
                  </a:cubicBezTo>
                  <a:cubicBezTo>
                    <a:pt x="300" y="681"/>
                    <a:pt x="300" y="681"/>
                    <a:pt x="300" y="681"/>
                  </a:cubicBezTo>
                  <a:cubicBezTo>
                    <a:pt x="301" y="681"/>
                    <a:pt x="301" y="681"/>
                    <a:pt x="301" y="681"/>
                  </a:cubicBezTo>
                  <a:cubicBezTo>
                    <a:pt x="303" y="682"/>
                    <a:pt x="303" y="682"/>
                    <a:pt x="303" y="682"/>
                  </a:cubicBezTo>
                  <a:cubicBezTo>
                    <a:pt x="303" y="682"/>
                    <a:pt x="303" y="682"/>
                    <a:pt x="303" y="682"/>
                  </a:cubicBezTo>
                  <a:cubicBezTo>
                    <a:pt x="302" y="681"/>
                    <a:pt x="302" y="681"/>
                    <a:pt x="302" y="681"/>
                  </a:cubicBezTo>
                  <a:cubicBezTo>
                    <a:pt x="302" y="680"/>
                    <a:pt x="302" y="680"/>
                    <a:pt x="302" y="680"/>
                  </a:cubicBezTo>
                  <a:cubicBezTo>
                    <a:pt x="303" y="680"/>
                    <a:pt x="303" y="680"/>
                    <a:pt x="303" y="680"/>
                  </a:cubicBezTo>
                  <a:cubicBezTo>
                    <a:pt x="303" y="680"/>
                    <a:pt x="303" y="680"/>
                    <a:pt x="303" y="680"/>
                  </a:cubicBezTo>
                  <a:cubicBezTo>
                    <a:pt x="304" y="680"/>
                    <a:pt x="304" y="680"/>
                    <a:pt x="304" y="680"/>
                  </a:cubicBezTo>
                  <a:cubicBezTo>
                    <a:pt x="304" y="680"/>
                    <a:pt x="304" y="680"/>
                    <a:pt x="304" y="680"/>
                  </a:cubicBezTo>
                  <a:cubicBezTo>
                    <a:pt x="304" y="681"/>
                    <a:pt x="304" y="681"/>
                    <a:pt x="304" y="681"/>
                  </a:cubicBezTo>
                  <a:cubicBezTo>
                    <a:pt x="304" y="682"/>
                    <a:pt x="304" y="682"/>
                    <a:pt x="304" y="682"/>
                  </a:cubicBezTo>
                  <a:cubicBezTo>
                    <a:pt x="305" y="682"/>
                    <a:pt x="305" y="682"/>
                    <a:pt x="305" y="682"/>
                  </a:cubicBezTo>
                  <a:cubicBezTo>
                    <a:pt x="305" y="682"/>
                    <a:pt x="305" y="682"/>
                    <a:pt x="305" y="682"/>
                  </a:cubicBezTo>
                  <a:cubicBezTo>
                    <a:pt x="306" y="681"/>
                    <a:pt x="306" y="681"/>
                    <a:pt x="306" y="681"/>
                  </a:cubicBezTo>
                  <a:cubicBezTo>
                    <a:pt x="306" y="681"/>
                    <a:pt x="306" y="681"/>
                    <a:pt x="306" y="681"/>
                  </a:cubicBezTo>
                  <a:cubicBezTo>
                    <a:pt x="306" y="681"/>
                    <a:pt x="306" y="681"/>
                    <a:pt x="306" y="681"/>
                  </a:cubicBezTo>
                  <a:cubicBezTo>
                    <a:pt x="307" y="682"/>
                    <a:pt x="307" y="682"/>
                    <a:pt x="307" y="682"/>
                  </a:cubicBezTo>
                  <a:cubicBezTo>
                    <a:pt x="308" y="682"/>
                    <a:pt x="308" y="682"/>
                    <a:pt x="308" y="682"/>
                  </a:cubicBezTo>
                  <a:cubicBezTo>
                    <a:pt x="309" y="681"/>
                    <a:pt x="309" y="681"/>
                    <a:pt x="309" y="681"/>
                  </a:cubicBezTo>
                  <a:cubicBezTo>
                    <a:pt x="310" y="680"/>
                    <a:pt x="310" y="680"/>
                    <a:pt x="310" y="680"/>
                  </a:cubicBezTo>
                  <a:cubicBezTo>
                    <a:pt x="311" y="682"/>
                    <a:pt x="311" y="682"/>
                    <a:pt x="311" y="682"/>
                  </a:cubicBezTo>
                  <a:cubicBezTo>
                    <a:pt x="311" y="682"/>
                    <a:pt x="311" y="682"/>
                    <a:pt x="311" y="682"/>
                  </a:cubicBezTo>
                  <a:cubicBezTo>
                    <a:pt x="311" y="682"/>
                    <a:pt x="311" y="682"/>
                    <a:pt x="311" y="682"/>
                  </a:cubicBezTo>
                  <a:cubicBezTo>
                    <a:pt x="310" y="682"/>
                    <a:pt x="310" y="682"/>
                    <a:pt x="310" y="682"/>
                  </a:cubicBezTo>
                  <a:cubicBezTo>
                    <a:pt x="311" y="683"/>
                    <a:pt x="311" y="683"/>
                    <a:pt x="311" y="683"/>
                  </a:cubicBezTo>
                  <a:cubicBezTo>
                    <a:pt x="311" y="683"/>
                    <a:pt x="311" y="683"/>
                    <a:pt x="311" y="683"/>
                  </a:cubicBezTo>
                  <a:cubicBezTo>
                    <a:pt x="312" y="683"/>
                    <a:pt x="312" y="683"/>
                    <a:pt x="312" y="683"/>
                  </a:cubicBezTo>
                  <a:cubicBezTo>
                    <a:pt x="312" y="683"/>
                    <a:pt x="312" y="683"/>
                    <a:pt x="312" y="683"/>
                  </a:cubicBezTo>
                  <a:cubicBezTo>
                    <a:pt x="312" y="682"/>
                    <a:pt x="312" y="682"/>
                    <a:pt x="312" y="682"/>
                  </a:cubicBezTo>
                  <a:cubicBezTo>
                    <a:pt x="312" y="682"/>
                    <a:pt x="312" y="682"/>
                    <a:pt x="312" y="682"/>
                  </a:cubicBezTo>
                  <a:cubicBezTo>
                    <a:pt x="313" y="681"/>
                    <a:pt x="313" y="681"/>
                    <a:pt x="313" y="681"/>
                  </a:cubicBezTo>
                  <a:cubicBezTo>
                    <a:pt x="313" y="681"/>
                    <a:pt x="313" y="681"/>
                    <a:pt x="313" y="681"/>
                  </a:cubicBezTo>
                  <a:cubicBezTo>
                    <a:pt x="314" y="680"/>
                    <a:pt x="314" y="680"/>
                    <a:pt x="314" y="680"/>
                  </a:cubicBezTo>
                  <a:cubicBezTo>
                    <a:pt x="314" y="681"/>
                    <a:pt x="314" y="681"/>
                    <a:pt x="314" y="681"/>
                  </a:cubicBezTo>
                  <a:cubicBezTo>
                    <a:pt x="314" y="681"/>
                    <a:pt x="314" y="681"/>
                    <a:pt x="314" y="681"/>
                  </a:cubicBezTo>
                  <a:cubicBezTo>
                    <a:pt x="315" y="681"/>
                    <a:pt x="315" y="681"/>
                    <a:pt x="315" y="681"/>
                  </a:cubicBezTo>
                  <a:cubicBezTo>
                    <a:pt x="315" y="682"/>
                    <a:pt x="315" y="682"/>
                    <a:pt x="315" y="682"/>
                  </a:cubicBezTo>
                  <a:cubicBezTo>
                    <a:pt x="316" y="682"/>
                    <a:pt x="316" y="682"/>
                    <a:pt x="316" y="682"/>
                  </a:cubicBezTo>
                  <a:cubicBezTo>
                    <a:pt x="316" y="682"/>
                    <a:pt x="316" y="682"/>
                    <a:pt x="316" y="682"/>
                  </a:cubicBezTo>
                  <a:cubicBezTo>
                    <a:pt x="316" y="681"/>
                    <a:pt x="316" y="681"/>
                    <a:pt x="316" y="681"/>
                  </a:cubicBezTo>
                  <a:cubicBezTo>
                    <a:pt x="316" y="681"/>
                    <a:pt x="316" y="681"/>
                    <a:pt x="316" y="681"/>
                  </a:cubicBezTo>
                  <a:cubicBezTo>
                    <a:pt x="317" y="680"/>
                    <a:pt x="317" y="680"/>
                    <a:pt x="317" y="680"/>
                  </a:cubicBezTo>
                  <a:cubicBezTo>
                    <a:pt x="318" y="679"/>
                    <a:pt x="318" y="679"/>
                    <a:pt x="318" y="679"/>
                  </a:cubicBezTo>
                  <a:cubicBezTo>
                    <a:pt x="319" y="679"/>
                    <a:pt x="319" y="679"/>
                    <a:pt x="319" y="679"/>
                  </a:cubicBezTo>
                  <a:cubicBezTo>
                    <a:pt x="319" y="679"/>
                    <a:pt x="319" y="679"/>
                    <a:pt x="319" y="679"/>
                  </a:cubicBezTo>
                  <a:cubicBezTo>
                    <a:pt x="319" y="680"/>
                    <a:pt x="319" y="680"/>
                    <a:pt x="319" y="680"/>
                  </a:cubicBezTo>
                  <a:cubicBezTo>
                    <a:pt x="319" y="681"/>
                    <a:pt x="319" y="681"/>
                    <a:pt x="319" y="681"/>
                  </a:cubicBezTo>
                  <a:cubicBezTo>
                    <a:pt x="318" y="681"/>
                    <a:pt x="318" y="681"/>
                    <a:pt x="318" y="681"/>
                  </a:cubicBezTo>
                  <a:cubicBezTo>
                    <a:pt x="319" y="682"/>
                    <a:pt x="319" y="682"/>
                    <a:pt x="319" y="682"/>
                  </a:cubicBezTo>
                  <a:cubicBezTo>
                    <a:pt x="320" y="681"/>
                    <a:pt x="320" y="681"/>
                    <a:pt x="320" y="681"/>
                  </a:cubicBezTo>
                  <a:cubicBezTo>
                    <a:pt x="320" y="680"/>
                    <a:pt x="320" y="680"/>
                    <a:pt x="320" y="680"/>
                  </a:cubicBezTo>
                  <a:cubicBezTo>
                    <a:pt x="320" y="680"/>
                    <a:pt x="320" y="680"/>
                    <a:pt x="320" y="680"/>
                  </a:cubicBezTo>
                  <a:cubicBezTo>
                    <a:pt x="321" y="680"/>
                    <a:pt x="321" y="680"/>
                    <a:pt x="321" y="680"/>
                  </a:cubicBezTo>
                  <a:cubicBezTo>
                    <a:pt x="321" y="680"/>
                    <a:pt x="321" y="680"/>
                    <a:pt x="321" y="680"/>
                  </a:cubicBezTo>
                  <a:cubicBezTo>
                    <a:pt x="322" y="680"/>
                    <a:pt x="322" y="680"/>
                    <a:pt x="322" y="680"/>
                  </a:cubicBezTo>
                  <a:cubicBezTo>
                    <a:pt x="322" y="681"/>
                    <a:pt x="322" y="681"/>
                    <a:pt x="322" y="681"/>
                  </a:cubicBezTo>
                  <a:cubicBezTo>
                    <a:pt x="322" y="681"/>
                    <a:pt x="322" y="681"/>
                    <a:pt x="322" y="681"/>
                  </a:cubicBezTo>
                  <a:cubicBezTo>
                    <a:pt x="322" y="681"/>
                    <a:pt x="322" y="681"/>
                    <a:pt x="322" y="681"/>
                  </a:cubicBezTo>
                  <a:cubicBezTo>
                    <a:pt x="323" y="681"/>
                    <a:pt x="323" y="681"/>
                    <a:pt x="323" y="681"/>
                  </a:cubicBezTo>
                  <a:cubicBezTo>
                    <a:pt x="323" y="682"/>
                    <a:pt x="323" y="682"/>
                    <a:pt x="323" y="682"/>
                  </a:cubicBezTo>
                  <a:cubicBezTo>
                    <a:pt x="324" y="682"/>
                    <a:pt x="324" y="682"/>
                    <a:pt x="324" y="682"/>
                  </a:cubicBezTo>
                  <a:cubicBezTo>
                    <a:pt x="325" y="681"/>
                    <a:pt x="325" y="681"/>
                    <a:pt x="325" y="681"/>
                  </a:cubicBezTo>
                  <a:cubicBezTo>
                    <a:pt x="326" y="682"/>
                    <a:pt x="326" y="682"/>
                    <a:pt x="326" y="682"/>
                  </a:cubicBezTo>
                  <a:cubicBezTo>
                    <a:pt x="326" y="683"/>
                    <a:pt x="326" y="683"/>
                    <a:pt x="326" y="683"/>
                  </a:cubicBezTo>
                  <a:cubicBezTo>
                    <a:pt x="325" y="685"/>
                    <a:pt x="325" y="685"/>
                    <a:pt x="325" y="685"/>
                  </a:cubicBezTo>
                  <a:cubicBezTo>
                    <a:pt x="326" y="685"/>
                    <a:pt x="326" y="685"/>
                    <a:pt x="326" y="685"/>
                  </a:cubicBezTo>
                  <a:cubicBezTo>
                    <a:pt x="326" y="686"/>
                    <a:pt x="326" y="686"/>
                    <a:pt x="326" y="686"/>
                  </a:cubicBezTo>
                  <a:cubicBezTo>
                    <a:pt x="327" y="686"/>
                    <a:pt x="327" y="686"/>
                    <a:pt x="327" y="686"/>
                  </a:cubicBezTo>
                  <a:cubicBezTo>
                    <a:pt x="327" y="685"/>
                    <a:pt x="327" y="685"/>
                    <a:pt x="327" y="685"/>
                  </a:cubicBezTo>
                  <a:cubicBezTo>
                    <a:pt x="329" y="681"/>
                    <a:pt x="329" y="681"/>
                    <a:pt x="329" y="681"/>
                  </a:cubicBezTo>
                  <a:cubicBezTo>
                    <a:pt x="329" y="680"/>
                    <a:pt x="329" y="680"/>
                    <a:pt x="329" y="680"/>
                  </a:cubicBezTo>
                  <a:cubicBezTo>
                    <a:pt x="331" y="679"/>
                    <a:pt x="331" y="679"/>
                    <a:pt x="331" y="679"/>
                  </a:cubicBezTo>
                  <a:cubicBezTo>
                    <a:pt x="331" y="679"/>
                    <a:pt x="331" y="679"/>
                    <a:pt x="331" y="679"/>
                  </a:cubicBezTo>
                  <a:cubicBezTo>
                    <a:pt x="331" y="678"/>
                    <a:pt x="331" y="678"/>
                    <a:pt x="331" y="678"/>
                  </a:cubicBezTo>
                  <a:cubicBezTo>
                    <a:pt x="332" y="677"/>
                    <a:pt x="332" y="677"/>
                    <a:pt x="332" y="677"/>
                  </a:cubicBezTo>
                  <a:cubicBezTo>
                    <a:pt x="332" y="677"/>
                    <a:pt x="332" y="677"/>
                    <a:pt x="332" y="677"/>
                  </a:cubicBezTo>
                  <a:cubicBezTo>
                    <a:pt x="332" y="677"/>
                    <a:pt x="332" y="677"/>
                    <a:pt x="332" y="677"/>
                  </a:cubicBezTo>
                  <a:cubicBezTo>
                    <a:pt x="332" y="677"/>
                    <a:pt x="332" y="677"/>
                    <a:pt x="332" y="677"/>
                  </a:cubicBezTo>
                  <a:cubicBezTo>
                    <a:pt x="333" y="672"/>
                    <a:pt x="333" y="672"/>
                    <a:pt x="333" y="672"/>
                  </a:cubicBezTo>
                  <a:cubicBezTo>
                    <a:pt x="334" y="668"/>
                    <a:pt x="334" y="668"/>
                    <a:pt x="334" y="668"/>
                  </a:cubicBezTo>
                  <a:cubicBezTo>
                    <a:pt x="335" y="666"/>
                    <a:pt x="335" y="666"/>
                    <a:pt x="335" y="666"/>
                  </a:cubicBezTo>
                  <a:cubicBezTo>
                    <a:pt x="336" y="663"/>
                    <a:pt x="336" y="663"/>
                    <a:pt x="336" y="663"/>
                  </a:cubicBezTo>
                  <a:cubicBezTo>
                    <a:pt x="336" y="662"/>
                    <a:pt x="336" y="662"/>
                    <a:pt x="336" y="662"/>
                  </a:cubicBezTo>
                  <a:cubicBezTo>
                    <a:pt x="336" y="661"/>
                    <a:pt x="336" y="661"/>
                    <a:pt x="336" y="661"/>
                  </a:cubicBezTo>
                  <a:cubicBezTo>
                    <a:pt x="337" y="661"/>
                    <a:pt x="337" y="661"/>
                    <a:pt x="337" y="661"/>
                  </a:cubicBezTo>
                  <a:cubicBezTo>
                    <a:pt x="337" y="661"/>
                    <a:pt x="337" y="661"/>
                    <a:pt x="337" y="661"/>
                  </a:cubicBezTo>
                  <a:cubicBezTo>
                    <a:pt x="338" y="659"/>
                    <a:pt x="338" y="659"/>
                    <a:pt x="338" y="659"/>
                  </a:cubicBezTo>
                  <a:cubicBezTo>
                    <a:pt x="338" y="658"/>
                    <a:pt x="338" y="658"/>
                    <a:pt x="338" y="658"/>
                  </a:cubicBezTo>
                  <a:cubicBezTo>
                    <a:pt x="338" y="658"/>
                    <a:pt x="338" y="658"/>
                    <a:pt x="338" y="658"/>
                  </a:cubicBezTo>
                  <a:cubicBezTo>
                    <a:pt x="338" y="658"/>
                    <a:pt x="338" y="658"/>
                    <a:pt x="338" y="658"/>
                  </a:cubicBezTo>
                  <a:cubicBezTo>
                    <a:pt x="338" y="657"/>
                    <a:pt x="338" y="657"/>
                    <a:pt x="338" y="657"/>
                  </a:cubicBezTo>
                  <a:cubicBezTo>
                    <a:pt x="338" y="656"/>
                    <a:pt x="338" y="656"/>
                    <a:pt x="338" y="656"/>
                  </a:cubicBezTo>
                  <a:cubicBezTo>
                    <a:pt x="339" y="655"/>
                    <a:pt x="339" y="655"/>
                    <a:pt x="339" y="655"/>
                  </a:cubicBezTo>
                  <a:cubicBezTo>
                    <a:pt x="339" y="655"/>
                    <a:pt x="339" y="655"/>
                    <a:pt x="339" y="655"/>
                  </a:cubicBezTo>
                  <a:cubicBezTo>
                    <a:pt x="339" y="655"/>
                    <a:pt x="339" y="655"/>
                    <a:pt x="339" y="655"/>
                  </a:cubicBezTo>
                  <a:cubicBezTo>
                    <a:pt x="340" y="655"/>
                    <a:pt x="340" y="655"/>
                    <a:pt x="340" y="655"/>
                  </a:cubicBezTo>
                  <a:cubicBezTo>
                    <a:pt x="340" y="655"/>
                    <a:pt x="340" y="655"/>
                    <a:pt x="340" y="655"/>
                  </a:cubicBezTo>
                  <a:cubicBezTo>
                    <a:pt x="341" y="655"/>
                    <a:pt x="341" y="655"/>
                    <a:pt x="341" y="655"/>
                  </a:cubicBezTo>
                  <a:cubicBezTo>
                    <a:pt x="341" y="655"/>
                    <a:pt x="341" y="655"/>
                    <a:pt x="341" y="655"/>
                  </a:cubicBezTo>
                  <a:cubicBezTo>
                    <a:pt x="342" y="655"/>
                    <a:pt x="342" y="655"/>
                    <a:pt x="342" y="655"/>
                  </a:cubicBezTo>
                  <a:cubicBezTo>
                    <a:pt x="342" y="655"/>
                    <a:pt x="342" y="655"/>
                    <a:pt x="342" y="655"/>
                  </a:cubicBezTo>
                  <a:cubicBezTo>
                    <a:pt x="342" y="654"/>
                    <a:pt x="342" y="654"/>
                    <a:pt x="342" y="654"/>
                  </a:cubicBezTo>
                  <a:cubicBezTo>
                    <a:pt x="342" y="653"/>
                    <a:pt x="342" y="653"/>
                    <a:pt x="342" y="653"/>
                  </a:cubicBezTo>
                  <a:cubicBezTo>
                    <a:pt x="342" y="651"/>
                    <a:pt x="342" y="651"/>
                    <a:pt x="342" y="651"/>
                  </a:cubicBezTo>
                  <a:cubicBezTo>
                    <a:pt x="342" y="650"/>
                    <a:pt x="342" y="650"/>
                    <a:pt x="342" y="650"/>
                  </a:cubicBezTo>
                  <a:cubicBezTo>
                    <a:pt x="342" y="649"/>
                    <a:pt x="342" y="649"/>
                    <a:pt x="342" y="649"/>
                  </a:cubicBezTo>
                  <a:cubicBezTo>
                    <a:pt x="342" y="649"/>
                    <a:pt x="342" y="649"/>
                    <a:pt x="342" y="649"/>
                  </a:cubicBezTo>
                  <a:cubicBezTo>
                    <a:pt x="342" y="649"/>
                    <a:pt x="342" y="649"/>
                    <a:pt x="342" y="649"/>
                  </a:cubicBezTo>
                  <a:cubicBezTo>
                    <a:pt x="343" y="649"/>
                    <a:pt x="343" y="649"/>
                    <a:pt x="343" y="649"/>
                  </a:cubicBezTo>
                  <a:cubicBezTo>
                    <a:pt x="343" y="648"/>
                    <a:pt x="343" y="648"/>
                    <a:pt x="343" y="648"/>
                  </a:cubicBezTo>
                  <a:cubicBezTo>
                    <a:pt x="344" y="649"/>
                    <a:pt x="344" y="649"/>
                    <a:pt x="344" y="649"/>
                  </a:cubicBezTo>
                  <a:cubicBezTo>
                    <a:pt x="344" y="649"/>
                    <a:pt x="344" y="649"/>
                    <a:pt x="344" y="649"/>
                  </a:cubicBezTo>
                  <a:cubicBezTo>
                    <a:pt x="345" y="649"/>
                    <a:pt x="345" y="649"/>
                    <a:pt x="345" y="649"/>
                  </a:cubicBezTo>
                  <a:cubicBezTo>
                    <a:pt x="345" y="648"/>
                    <a:pt x="345" y="648"/>
                    <a:pt x="345" y="648"/>
                  </a:cubicBezTo>
                  <a:cubicBezTo>
                    <a:pt x="345" y="648"/>
                    <a:pt x="345" y="648"/>
                    <a:pt x="345" y="648"/>
                  </a:cubicBezTo>
                  <a:cubicBezTo>
                    <a:pt x="345" y="648"/>
                    <a:pt x="345" y="648"/>
                    <a:pt x="345" y="648"/>
                  </a:cubicBezTo>
                  <a:cubicBezTo>
                    <a:pt x="345" y="647"/>
                    <a:pt x="345" y="647"/>
                    <a:pt x="345" y="647"/>
                  </a:cubicBezTo>
                  <a:cubicBezTo>
                    <a:pt x="344" y="648"/>
                    <a:pt x="344" y="648"/>
                    <a:pt x="344" y="648"/>
                  </a:cubicBezTo>
                  <a:cubicBezTo>
                    <a:pt x="344" y="648"/>
                    <a:pt x="344" y="648"/>
                    <a:pt x="344" y="648"/>
                  </a:cubicBezTo>
                  <a:cubicBezTo>
                    <a:pt x="344" y="648"/>
                    <a:pt x="344" y="648"/>
                    <a:pt x="344" y="648"/>
                  </a:cubicBezTo>
                  <a:cubicBezTo>
                    <a:pt x="343" y="648"/>
                    <a:pt x="343" y="648"/>
                    <a:pt x="343" y="648"/>
                  </a:cubicBezTo>
                  <a:cubicBezTo>
                    <a:pt x="343" y="647"/>
                    <a:pt x="343" y="647"/>
                    <a:pt x="343" y="647"/>
                  </a:cubicBezTo>
                  <a:cubicBezTo>
                    <a:pt x="343" y="647"/>
                    <a:pt x="343" y="647"/>
                    <a:pt x="343" y="647"/>
                  </a:cubicBezTo>
                  <a:cubicBezTo>
                    <a:pt x="344" y="644"/>
                    <a:pt x="344" y="644"/>
                    <a:pt x="344" y="644"/>
                  </a:cubicBezTo>
                  <a:cubicBezTo>
                    <a:pt x="344" y="643"/>
                    <a:pt x="344" y="643"/>
                    <a:pt x="344" y="643"/>
                  </a:cubicBezTo>
                  <a:cubicBezTo>
                    <a:pt x="344" y="643"/>
                    <a:pt x="344" y="643"/>
                    <a:pt x="344" y="643"/>
                  </a:cubicBezTo>
                  <a:cubicBezTo>
                    <a:pt x="344" y="641"/>
                    <a:pt x="344" y="641"/>
                    <a:pt x="344" y="641"/>
                  </a:cubicBezTo>
                  <a:cubicBezTo>
                    <a:pt x="344" y="641"/>
                    <a:pt x="344" y="641"/>
                    <a:pt x="344" y="641"/>
                  </a:cubicBezTo>
                  <a:cubicBezTo>
                    <a:pt x="345" y="640"/>
                    <a:pt x="345" y="640"/>
                    <a:pt x="345" y="640"/>
                  </a:cubicBezTo>
                  <a:cubicBezTo>
                    <a:pt x="345" y="639"/>
                    <a:pt x="345" y="639"/>
                    <a:pt x="345" y="639"/>
                  </a:cubicBezTo>
                  <a:cubicBezTo>
                    <a:pt x="345" y="639"/>
                    <a:pt x="345" y="639"/>
                    <a:pt x="345" y="639"/>
                  </a:cubicBezTo>
                  <a:cubicBezTo>
                    <a:pt x="344" y="638"/>
                    <a:pt x="344" y="638"/>
                    <a:pt x="344" y="638"/>
                  </a:cubicBezTo>
                  <a:cubicBezTo>
                    <a:pt x="344" y="637"/>
                    <a:pt x="344" y="637"/>
                    <a:pt x="344" y="637"/>
                  </a:cubicBezTo>
                  <a:cubicBezTo>
                    <a:pt x="344" y="636"/>
                    <a:pt x="344" y="636"/>
                    <a:pt x="344" y="636"/>
                  </a:cubicBezTo>
                  <a:cubicBezTo>
                    <a:pt x="344" y="636"/>
                    <a:pt x="344" y="636"/>
                    <a:pt x="344" y="636"/>
                  </a:cubicBezTo>
                  <a:cubicBezTo>
                    <a:pt x="344" y="635"/>
                    <a:pt x="344" y="635"/>
                    <a:pt x="344" y="635"/>
                  </a:cubicBezTo>
                  <a:cubicBezTo>
                    <a:pt x="345" y="635"/>
                    <a:pt x="345" y="635"/>
                    <a:pt x="345" y="635"/>
                  </a:cubicBezTo>
                  <a:cubicBezTo>
                    <a:pt x="345" y="635"/>
                    <a:pt x="345" y="635"/>
                    <a:pt x="345" y="635"/>
                  </a:cubicBezTo>
                  <a:cubicBezTo>
                    <a:pt x="345" y="634"/>
                    <a:pt x="345" y="634"/>
                    <a:pt x="345" y="634"/>
                  </a:cubicBezTo>
                  <a:cubicBezTo>
                    <a:pt x="345" y="634"/>
                    <a:pt x="345" y="634"/>
                    <a:pt x="345" y="634"/>
                  </a:cubicBezTo>
                  <a:cubicBezTo>
                    <a:pt x="344" y="634"/>
                    <a:pt x="344" y="634"/>
                    <a:pt x="344" y="634"/>
                  </a:cubicBezTo>
                  <a:cubicBezTo>
                    <a:pt x="344" y="633"/>
                    <a:pt x="344" y="633"/>
                    <a:pt x="344" y="633"/>
                  </a:cubicBezTo>
                  <a:cubicBezTo>
                    <a:pt x="344" y="633"/>
                    <a:pt x="344" y="633"/>
                    <a:pt x="344" y="633"/>
                  </a:cubicBezTo>
                  <a:cubicBezTo>
                    <a:pt x="345" y="634"/>
                    <a:pt x="345" y="634"/>
                    <a:pt x="345" y="634"/>
                  </a:cubicBezTo>
                  <a:cubicBezTo>
                    <a:pt x="346" y="634"/>
                    <a:pt x="346" y="634"/>
                    <a:pt x="346" y="634"/>
                  </a:cubicBezTo>
                  <a:cubicBezTo>
                    <a:pt x="346" y="634"/>
                    <a:pt x="346" y="634"/>
                    <a:pt x="346" y="634"/>
                  </a:cubicBezTo>
                  <a:cubicBezTo>
                    <a:pt x="346" y="634"/>
                    <a:pt x="346" y="634"/>
                    <a:pt x="346" y="634"/>
                  </a:cubicBezTo>
                  <a:cubicBezTo>
                    <a:pt x="346" y="634"/>
                    <a:pt x="346" y="634"/>
                    <a:pt x="346" y="634"/>
                  </a:cubicBezTo>
                  <a:cubicBezTo>
                    <a:pt x="346" y="634"/>
                    <a:pt x="346" y="634"/>
                    <a:pt x="346" y="634"/>
                  </a:cubicBezTo>
                  <a:cubicBezTo>
                    <a:pt x="346" y="633"/>
                    <a:pt x="346" y="633"/>
                    <a:pt x="346" y="633"/>
                  </a:cubicBezTo>
                  <a:cubicBezTo>
                    <a:pt x="346" y="633"/>
                    <a:pt x="346" y="633"/>
                    <a:pt x="346" y="633"/>
                  </a:cubicBezTo>
                  <a:cubicBezTo>
                    <a:pt x="346" y="633"/>
                    <a:pt x="346" y="633"/>
                    <a:pt x="346" y="633"/>
                  </a:cubicBezTo>
                  <a:cubicBezTo>
                    <a:pt x="346" y="633"/>
                    <a:pt x="346" y="633"/>
                    <a:pt x="346" y="633"/>
                  </a:cubicBezTo>
                  <a:cubicBezTo>
                    <a:pt x="347" y="633"/>
                    <a:pt x="347" y="633"/>
                    <a:pt x="347" y="633"/>
                  </a:cubicBezTo>
                  <a:cubicBezTo>
                    <a:pt x="347" y="633"/>
                    <a:pt x="347" y="633"/>
                    <a:pt x="347" y="633"/>
                  </a:cubicBezTo>
                  <a:cubicBezTo>
                    <a:pt x="347" y="633"/>
                    <a:pt x="347" y="633"/>
                    <a:pt x="347" y="633"/>
                  </a:cubicBezTo>
                  <a:cubicBezTo>
                    <a:pt x="347" y="633"/>
                    <a:pt x="347" y="633"/>
                    <a:pt x="347" y="633"/>
                  </a:cubicBezTo>
                  <a:cubicBezTo>
                    <a:pt x="347" y="633"/>
                    <a:pt x="347" y="633"/>
                    <a:pt x="347" y="633"/>
                  </a:cubicBezTo>
                  <a:cubicBezTo>
                    <a:pt x="347" y="633"/>
                    <a:pt x="347" y="633"/>
                    <a:pt x="347" y="633"/>
                  </a:cubicBezTo>
                  <a:cubicBezTo>
                    <a:pt x="348" y="634"/>
                    <a:pt x="348" y="634"/>
                    <a:pt x="348" y="634"/>
                  </a:cubicBezTo>
                  <a:cubicBezTo>
                    <a:pt x="348" y="634"/>
                    <a:pt x="348" y="634"/>
                    <a:pt x="348" y="634"/>
                  </a:cubicBezTo>
                  <a:cubicBezTo>
                    <a:pt x="348" y="633"/>
                    <a:pt x="348" y="633"/>
                    <a:pt x="348" y="633"/>
                  </a:cubicBezTo>
                  <a:cubicBezTo>
                    <a:pt x="348" y="633"/>
                    <a:pt x="348" y="633"/>
                    <a:pt x="348" y="633"/>
                  </a:cubicBezTo>
                  <a:cubicBezTo>
                    <a:pt x="347" y="632"/>
                    <a:pt x="347" y="632"/>
                    <a:pt x="347" y="632"/>
                  </a:cubicBezTo>
                  <a:cubicBezTo>
                    <a:pt x="348" y="632"/>
                    <a:pt x="348" y="632"/>
                    <a:pt x="348" y="632"/>
                  </a:cubicBezTo>
                  <a:cubicBezTo>
                    <a:pt x="347" y="630"/>
                    <a:pt x="347" y="630"/>
                    <a:pt x="347" y="630"/>
                  </a:cubicBezTo>
                  <a:cubicBezTo>
                    <a:pt x="347" y="630"/>
                    <a:pt x="347" y="630"/>
                    <a:pt x="347" y="630"/>
                  </a:cubicBezTo>
                  <a:cubicBezTo>
                    <a:pt x="347" y="630"/>
                    <a:pt x="347" y="630"/>
                    <a:pt x="347" y="630"/>
                  </a:cubicBezTo>
                  <a:cubicBezTo>
                    <a:pt x="347" y="630"/>
                    <a:pt x="347" y="630"/>
                    <a:pt x="347" y="630"/>
                  </a:cubicBezTo>
                  <a:cubicBezTo>
                    <a:pt x="346" y="629"/>
                    <a:pt x="346" y="629"/>
                    <a:pt x="346" y="629"/>
                  </a:cubicBezTo>
                  <a:cubicBezTo>
                    <a:pt x="345" y="628"/>
                    <a:pt x="345" y="628"/>
                    <a:pt x="345" y="628"/>
                  </a:cubicBezTo>
                  <a:cubicBezTo>
                    <a:pt x="345" y="627"/>
                    <a:pt x="345" y="627"/>
                    <a:pt x="345" y="627"/>
                  </a:cubicBezTo>
                  <a:cubicBezTo>
                    <a:pt x="345" y="625"/>
                    <a:pt x="345" y="625"/>
                    <a:pt x="345" y="625"/>
                  </a:cubicBezTo>
                  <a:cubicBezTo>
                    <a:pt x="345" y="624"/>
                    <a:pt x="345" y="624"/>
                    <a:pt x="345" y="624"/>
                  </a:cubicBezTo>
                  <a:cubicBezTo>
                    <a:pt x="346" y="623"/>
                    <a:pt x="346" y="623"/>
                    <a:pt x="346" y="623"/>
                  </a:cubicBezTo>
                  <a:cubicBezTo>
                    <a:pt x="345" y="621"/>
                    <a:pt x="345" y="621"/>
                    <a:pt x="345" y="621"/>
                  </a:cubicBezTo>
                  <a:cubicBezTo>
                    <a:pt x="345" y="620"/>
                    <a:pt x="345" y="620"/>
                    <a:pt x="345" y="620"/>
                  </a:cubicBezTo>
                  <a:cubicBezTo>
                    <a:pt x="348" y="619"/>
                    <a:pt x="348" y="619"/>
                    <a:pt x="348" y="619"/>
                  </a:cubicBezTo>
                  <a:cubicBezTo>
                    <a:pt x="347" y="618"/>
                    <a:pt x="347" y="618"/>
                    <a:pt x="347" y="618"/>
                  </a:cubicBezTo>
                  <a:cubicBezTo>
                    <a:pt x="347" y="618"/>
                    <a:pt x="347" y="618"/>
                    <a:pt x="347" y="618"/>
                  </a:cubicBezTo>
                  <a:cubicBezTo>
                    <a:pt x="348" y="618"/>
                    <a:pt x="348" y="618"/>
                    <a:pt x="348" y="618"/>
                  </a:cubicBezTo>
                  <a:cubicBezTo>
                    <a:pt x="348" y="617"/>
                    <a:pt x="348" y="617"/>
                    <a:pt x="348" y="617"/>
                  </a:cubicBezTo>
                  <a:cubicBezTo>
                    <a:pt x="347" y="616"/>
                    <a:pt x="347" y="616"/>
                    <a:pt x="347" y="616"/>
                  </a:cubicBezTo>
                  <a:cubicBezTo>
                    <a:pt x="347" y="615"/>
                    <a:pt x="347" y="615"/>
                    <a:pt x="347" y="615"/>
                  </a:cubicBezTo>
                  <a:cubicBezTo>
                    <a:pt x="348" y="615"/>
                    <a:pt x="348" y="615"/>
                    <a:pt x="348" y="615"/>
                  </a:cubicBezTo>
                  <a:cubicBezTo>
                    <a:pt x="350" y="615"/>
                    <a:pt x="350" y="615"/>
                    <a:pt x="350" y="615"/>
                  </a:cubicBezTo>
                  <a:cubicBezTo>
                    <a:pt x="350" y="614"/>
                    <a:pt x="350" y="614"/>
                    <a:pt x="350" y="614"/>
                  </a:cubicBezTo>
                  <a:cubicBezTo>
                    <a:pt x="350" y="614"/>
                    <a:pt x="350" y="614"/>
                    <a:pt x="350" y="614"/>
                  </a:cubicBezTo>
                  <a:cubicBezTo>
                    <a:pt x="351" y="614"/>
                    <a:pt x="351" y="614"/>
                    <a:pt x="351" y="614"/>
                  </a:cubicBezTo>
                  <a:cubicBezTo>
                    <a:pt x="351" y="613"/>
                    <a:pt x="351" y="613"/>
                    <a:pt x="351" y="613"/>
                  </a:cubicBezTo>
                  <a:cubicBezTo>
                    <a:pt x="350" y="613"/>
                    <a:pt x="350" y="613"/>
                    <a:pt x="350" y="613"/>
                  </a:cubicBezTo>
                  <a:cubicBezTo>
                    <a:pt x="350" y="613"/>
                    <a:pt x="350" y="613"/>
                    <a:pt x="350" y="613"/>
                  </a:cubicBezTo>
                  <a:cubicBezTo>
                    <a:pt x="350" y="612"/>
                    <a:pt x="350" y="612"/>
                    <a:pt x="350" y="612"/>
                  </a:cubicBezTo>
                  <a:cubicBezTo>
                    <a:pt x="350" y="612"/>
                    <a:pt x="350" y="612"/>
                    <a:pt x="350" y="612"/>
                  </a:cubicBezTo>
                  <a:cubicBezTo>
                    <a:pt x="350" y="611"/>
                    <a:pt x="350" y="611"/>
                    <a:pt x="350" y="611"/>
                  </a:cubicBezTo>
                  <a:cubicBezTo>
                    <a:pt x="351" y="611"/>
                    <a:pt x="351" y="611"/>
                    <a:pt x="351" y="611"/>
                  </a:cubicBezTo>
                  <a:cubicBezTo>
                    <a:pt x="351" y="611"/>
                    <a:pt x="351" y="611"/>
                    <a:pt x="351" y="611"/>
                  </a:cubicBezTo>
                  <a:cubicBezTo>
                    <a:pt x="351" y="610"/>
                    <a:pt x="351" y="610"/>
                    <a:pt x="351" y="610"/>
                  </a:cubicBezTo>
                  <a:cubicBezTo>
                    <a:pt x="352" y="610"/>
                    <a:pt x="352" y="610"/>
                    <a:pt x="352" y="610"/>
                  </a:cubicBezTo>
                  <a:cubicBezTo>
                    <a:pt x="351" y="609"/>
                    <a:pt x="351" y="609"/>
                    <a:pt x="351" y="609"/>
                  </a:cubicBezTo>
                  <a:cubicBezTo>
                    <a:pt x="351" y="608"/>
                    <a:pt x="351" y="608"/>
                    <a:pt x="351" y="608"/>
                  </a:cubicBezTo>
                  <a:cubicBezTo>
                    <a:pt x="350" y="606"/>
                    <a:pt x="350" y="606"/>
                    <a:pt x="350" y="606"/>
                  </a:cubicBezTo>
                  <a:cubicBezTo>
                    <a:pt x="349" y="605"/>
                    <a:pt x="349" y="605"/>
                    <a:pt x="349" y="605"/>
                  </a:cubicBezTo>
                  <a:cubicBezTo>
                    <a:pt x="346" y="605"/>
                    <a:pt x="346" y="605"/>
                    <a:pt x="346" y="605"/>
                  </a:cubicBezTo>
                  <a:cubicBezTo>
                    <a:pt x="346" y="605"/>
                    <a:pt x="346" y="605"/>
                    <a:pt x="346" y="605"/>
                  </a:cubicBezTo>
                  <a:cubicBezTo>
                    <a:pt x="347" y="605"/>
                    <a:pt x="347" y="605"/>
                    <a:pt x="347" y="605"/>
                  </a:cubicBezTo>
                  <a:cubicBezTo>
                    <a:pt x="347" y="604"/>
                    <a:pt x="347" y="604"/>
                    <a:pt x="347" y="604"/>
                  </a:cubicBezTo>
                  <a:cubicBezTo>
                    <a:pt x="347" y="604"/>
                    <a:pt x="347" y="604"/>
                    <a:pt x="347" y="604"/>
                  </a:cubicBezTo>
                  <a:cubicBezTo>
                    <a:pt x="347" y="604"/>
                    <a:pt x="347" y="604"/>
                    <a:pt x="347" y="604"/>
                  </a:cubicBezTo>
                  <a:cubicBezTo>
                    <a:pt x="347" y="603"/>
                    <a:pt x="347" y="603"/>
                    <a:pt x="347" y="603"/>
                  </a:cubicBezTo>
                  <a:cubicBezTo>
                    <a:pt x="347" y="603"/>
                    <a:pt x="347" y="603"/>
                    <a:pt x="347" y="603"/>
                  </a:cubicBezTo>
                  <a:cubicBezTo>
                    <a:pt x="347" y="602"/>
                    <a:pt x="347" y="602"/>
                    <a:pt x="347" y="602"/>
                  </a:cubicBezTo>
                  <a:cubicBezTo>
                    <a:pt x="347" y="602"/>
                    <a:pt x="347" y="602"/>
                    <a:pt x="347" y="602"/>
                  </a:cubicBezTo>
                  <a:cubicBezTo>
                    <a:pt x="347" y="602"/>
                    <a:pt x="347" y="602"/>
                    <a:pt x="347" y="602"/>
                  </a:cubicBezTo>
                  <a:cubicBezTo>
                    <a:pt x="347" y="602"/>
                    <a:pt x="347" y="602"/>
                    <a:pt x="347" y="602"/>
                  </a:cubicBezTo>
                  <a:cubicBezTo>
                    <a:pt x="347" y="602"/>
                    <a:pt x="347" y="602"/>
                    <a:pt x="347" y="602"/>
                  </a:cubicBezTo>
                  <a:cubicBezTo>
                    <a:pt x="347" y="602"/>
                    <a:pt x="347" y="602"/>
                    <a:pt x="347" y="602"/>
                  </a:cubicBezTo>
                  <a:cubicBezTo>
                    <a:pt x="348" y="602"/>
                    <a:pt x="348" y="602"/>
                    <a:pt x="348" y="602"/>
                  </a:cubicBezTo>
                  <a:cubicBezTo>
                    <a:pt x="347" y="602"/>
                    <a:pt x="347" y="602"/>
                    <a:pt x="347" y="602"/>
                  </a:cubicBezTo>
                  <a:cubicBezTo>
                    <a:pt x="347" y="603"/>
                    <a:pt x="347" y="603"/>
                    <a:pt x="347" y="603"/>
                  </a:cubicBezTo>
                  <a:cubicBezTo>
                    <a:pt x="348" y="603"/>
                    <a:pt x="348" y="603"/>
                    <a:pt x="348" y="603"/>
                  </a:cubicBezTo>
                  <a:cubicBezTo>
                    <a:pt x="348" y="604"/>
                    <a:pt x="348" y="604"/>
                    <a:pt x="348" y="604"/>
                  </a:cubicBezTo>
                  <a:cubicBezTo>
                    <a:pt x="348" y="603"/>
                    <a:pt x="348" y="603"/>
                    <a:pt x="348" y="603"/>
                  </a:cubicBezTo>
                  <a:cubicBezTo>
                    <a:pt x="349" y="603"/>
                    <a:pt x="349" y="603"/>
                    <a:pt x="349" y="603"/>
                  </a:cubicBezTo>
                  <a:cubicBezTo>
                    <a:pt x="349" y="602"/>
                    <a:pt x="349" y="602"/>
                    <a:pt x="349" y="602"/>
                  </a:cubicBezTo>
                  <a:cubicBezTo>
                    <a:pt x="349" y="602"/>
                    <a:pt x="349" y="602"/>
                    <a:pt x="349" y="602"/>
                  </a:cubicBezTo>
                  <a:cubicBezTo>
                    <a:pt x="350" y="602"/>
                    <a:pt x="350" y="602"/>
                    <a:pt x="350" y="602"/>
                  </a:cubicBezTo>
                  <a:cubicBezTo>
                    <a:pt x="350" y="601"/>
                    <a:pt x="350" y="601"/>
                    <a:pt x="350" y="601"/>
                  </a:cubicBezTo>
                  <a:cubicBezTo>
                    <a:pt x="350" y="601"/>
                    <a:pt x="350" y="601"/>
                    <a:pt x="350" y="601"/>
                  </a:cubicBezTo>
                  <a:cubicBezTo>
                    <a:pt x="349" y="601"/>
                    <a:pt x="349" y="601"/>
                    <a:pt x="349" y="601"/>
                  </a:cubicBezTo>
                  <a:cubicBezTo>
                    <a:pt x="349" y="600"/>
                    <a:pt x="349" y="600"/>
                    <a:pt x="349" y="600"/>
                  </a:cubicBezTo>
                  <a:cubicBezTo>
                    <a:pt x="349" y="600"/>
                    <a:pt x="349" y="600"/>
                    <a:pt x="349" y="600"/>
                  </a:cubicBezTo>
                  <a:cubicBezTo>
                    <a:pt x="348" y="600"/>
                    <a:pt x="348" y="600"/>
                    <a:pt x="348" y="600"/>
                  </a:cubicBezTo>
                  <a:cubicBezTo>
                    <a:pt x="349" y="600"/>
                    <a:pt x="349" y="600"/>
                    <a:pt x="349" y="600"/>
                  </a:cubicBezTo>
                  <a:cubicBezTo>
                    <a:pt x="349" y="600"/>
                    <a:pt x="349" y="600"/>
                    <a:pt x="349" y="600"/>
                  </a:cubicBezTo>
                  <a:cubicBezTo>
                    <a:pt x="350" y="599"/>
                    <a:pt x="350" y="599"/>
                    <a:pt x="350" y="599"/>
                  </a:cubicBezTo>
                  <a:cubicBezTo>
                    <a:pt x="349" y="599"/>
                    <a:pt x="349" y="599"/>
                    <a:pt x="349" y="599"/>
                  </a:cubicBezTo>
                  <a:cubicBezTo>
                    <a:pt x="349" y="598"/>
                    <a:pt x="349" y="598"/>
                    <a:pt x="349" y="598"/>
                  </a:cubicBezTo>
                  <a:cubicBezTo>
                    <a:pt x="348" y="598"/>
                    <a:pt x="348" y="598"/>
                    <a:pt x="348" y="598"/>
                  </a:cubicBezTo>
                  <a:cubicBezTo>
                    <a:pt x="348" y="597"/>
                    <a:pt x="348" y="597"/>
                    <a:pt x="348" y="597"/>
                  </a:cubicBezTo>
                  <a:cubicBezTo>
                    <a:pt x="349" y="598"/>
                    <a:pt x="349" y="598"/>
                    <a:pt x="349" y="598"/>
                  </a:cubicBezTo>
                  <a:cubicBezTo>
                    <a:pt x="350" y="598"/>
                    <a:pt x="350" y="598"/>
                    <a:pt x="350" y="598"/>
                  </a:cubicBezTo>
                  <a:cubicBezTo>
                    <a:pt x="352" y="598"/>
                    <a:pt x="352" y="598"/>
                    <a:pt x="352" y="598"/>
                  </a:cubicBezTo>
                  <a:cubicBezTo>
                    <a:pt x="352" y="598"/>
                    <a:pt x="352" y="598"/>
                    <a:pt x="352" y="598"/>
                  </a:cubicBezTo>
                  <a:cubicBezTo>
                    <a:pt x="352" y="598"/>
                    <a:pt x="352" y="598"/>
                    <a:pt x="352" y="598"/>
                  </a:cubicBezTo>
                  <a:cubicBezTo>
                    <a:pt x="352" y="597"/>
                    <a:pt x="352" y="597"/>
                    <a:pt x="352" y="597"/>
                  </a:cubicBezTo>
                  <a:cubicBezTo>
                    <a:pt x="352" y="597"/>
                    <a:pt x="352" y="597"/>
                    <a:pt x="352" y="597"/>
                  </a:cubicBezTo>
                  <a:cubicBezTo>
                    <a:pt x="352" y="597"/>
                    <a:pt x="352" y="597"/>
                    <a:pt x="352" y="597"/>
                  </a:cubicBezTo>
                  <a:cubicBezTo>
                    <a:pt x="352" y="596"/>
                    <a:pt x="352" y="596"/>
                    <a:pt x="352" y="596"/>
                  </a:cubicBezTo>
                  <a:cubicBezTo>
                    <a:pt x="351" y="596"/>
                    <a:pt x="351" y="596"/>
                    <a:pt x="351" y="596"/>
                  </a:cubicBezTo>
                  <a:cubicBezTo>
                    <a:pt x="350" y="596"/>
                    <a:pt x="350" y="596"/>
                    <a:pt x="350" y="596"/>
                  </a:cubicBezTo>
                  <a:cubicBezTo>
                    <a:pt x="351" y="595"/>
                    <a:pt x="351" y="595"/>
                    <a:pt x="351" y="595"/>
                  </a:cubicBezTo>
                  <a:cubicBezTo>
                    <a:pt x="350" y="595"/>
                    <a:pt x="350" y="595"/>
                    <a:pt x="350" y="595"/>
                  </a:cubicBezTo>
                  <a:cubicBezTo>
                    <a:pt x="349" y="594"/>
                    <a:pt x="349" y="594"/>
                    <a:pt x="349" y="594"/>
                  </a:cubicBezTo>
                  <a:cubicBezTo>
                    <a:pt x="349" y="594"/>
                    <a:pt x="349" y="594"/>
                    <a:pt x="349" y="594"/>
                  </a:cubicBezTo>
                  <a:cubicBezTo>
                    <a:pt x="349" y="593"/>
                    <a:pt x="349" y="593"/>
                    <a:pt x="349" y="593"/>
                  </a:cubicBezTo>
                  <a:cubicBezTo>
                    <a:pt x="349" y="593"/>
                    <a:pt x="349" y="593"/>
                    <a:pt x="349" y="593"/>
                  </a:cubicBezTo>
                  <a:cubicBezTo>
                    <a:pt x="348" y="593"/>
                    <a:pt x="348" y="593"/>
                    <a:pt x="348" y="593"/>
                  </a:cubicBezTo>
                  <a:cubicBezTo>
                    <a:pt x="348" y="592"/>
                    <a:pt x="348" y="592"/>
                    <a:pt x="348" y="592"/>
                  </a:cubicBezTo>
                  <a:cubicBezTo>
                    <a:pt x="347" y="591"/>
                    <a:pt x="347" y="591"/>
                    <a:pt x="347" y="591"/>
                  </a:cubicBezTo>
                  <a:cubicBezTo>
                    <a:pt x="345" y="589"/>
                    <a:pt x="345" y="589"/>
                    <a:pt x="345" y="589"/>
                  </a:cubicBezTo>
                  <a:cubicBezTo>
                    <a:pt x="344" y="588"/>
                    <a:pt x="344" y="588"/>
                    <a:pt x="344" y="588"/>
                  </a:cubicBezTo>
                  <a:cubicBezTo>
                    <a:pt x="344" y="588"/>
                    <a:pt x="344" y="588"/>
                    <a:pt x="344" y="588"/>
                  </a:cubicBezTo>
                  <a:cubicBezTo>
                    <a:pt x="344" y="587"/>
                    <a:pt x="344" y="587"/>
                    <a:pt x="344" y="587"/>
                  </a:cubicBezTo>
                  <a:cubicBezTo>
                    <a:pt x="347" y="590"/>
                    <a:pt x="347" y="590"/>
                    <a:pt x="347" y="590"/>
                  </a:cubicBezTo>
                  <a:cubicBezTo>
                    <a:pt x="350" y="593"/>
                    <a:pt x="350" y="593"/>
                    <a:pt x="350" y="593"/>
                  </a:cubicBezTo>
                  <a:cubicBezTo>
                    <a:pt x="350" y="594"/>
                    <a:pt x="350" y="594"/>
                    <a:pt x="350" y="594"/>
                  </a:cubicBezTo>
                  <a:cubicBezTo>
                    <a:pt x="351" y="595"/>
                    <a:pt x="351" y="595"/>
                    <a:pt x="351" y="595"/>
                  </a:cubicBezTo>
                  <a:cubicBezTo>
                    <a:pt x="352" y="595"/>
                    <a:pt x="352" y="595"/>
                    <a:pt x="352" y="595"/>
                  </a:cubicBezTo>
                  <a:cubicBezTo>
                    <a:pt x="352" y="595"/>
                    <a:pt x="352" y="595"/>
                    <a:pt x="352" y="595"/>
                  </a:cubicBezTo>
                  <a:cubicBezTo>
                    <a:pt x="351" y="594"/>
                    <a:pt x="351" y="594"/>
                    <a:pt x="351" y="594"/>
                  </a:cubicBezTo>
                  <a:cubicBezTo>
                    <a:pt x="345" y="587"/>
                    <a:pt x="345" y="587"/>
                    <a:pt x="345" y="587"/>
                  </a:cubicBezTo>
                  <a:cubicBezTo>
                    <a:pt x="345" y="586"/>
                    <a:pt x="345" y="586"/>
                    <a:pt x="345" y="586"/>
                  </a:cubicBezTo>
                  <a:cubicBezTo>
                    <a:pt x="345" y="586"/>
                    <a:pt x="345" y="586"/>
                    <a:pt x="345" y="586"/>
                  </a:cubicBezTo>
                  <a:cubicBezTo>
                    <a:pt x="346" y="587"/>
                    <a:pt x="346" y="587"/>
                    <a:pt x="346" y="587"/>
                  </a:cubicBezTo>
                  <a:cubicBezTo>
                    <a:pt x="346" y="586"/>
                    <a:pt x="346" y="586"/>
                    <a:pt x="346" y="586"/>
                  </a:cubicBezTo>
                  <a:cubicBezTo>
                    <a:pt x="345" y="586"/>
                    <a:pt x="345" y="586"/>
                    <a:pt x="345" y="586"/>
                  </a:cubicBezTo>
                  <a:cubicBezTo>
                    <a:pt x="347" y="586"/>
                    <a:pt x="347" y="586"/>
                    <a:pt x="347" y="586"/>
                  </a:cubicBezTo>
                  <a:cubicBezTo>
                    <a:pt x="347" y="586"/>
                    <a:pt x="347" y="586"/>
                    <a:pt x="347" y="586"/>
                  </a:cubicBezTo>
                  <a:cubicBezTo>
                    <a:pt x="348" y="587"/>
                    <a:pt x="348" y="587"/>
                    <a:pt x="348" y="587"/>
                  </a:cubicBezTo>
                  <a:cubicBezTo>
                    <a:pt x="348" y="587"/>
                    <a:pt x="348" y="587"/>
                    <a:pt x="348" y="587"/>
                  </a:cubicBezTo>
                  <a:cubicBezTo>
                    <a:pt x="348" y="586"/>
                    <a:pt x="348" y="586"/>
                    <a:pt x="348" y="586"/>
                  </a:cubicBezTo>
                  <a:cubicBezTo>
                    <a:pt x="348" y="586"/>
                    <a:pt x="348" y="586"/>
                    <a:pt x="348" y="586"/>
                  </a:cubicBezTo>
                  <a:cubicBezTo>
                    <a:pt x="348" y="585"/>
                    <a:pt x="348" y="585"/>
                    <a:pt x="348" y="585"/>
                  </a:cubicBezTo>
                  <a:cubicBezTo>
                    <a:pt x="348" y="585"/>
                    <a:pt x="348" y="585"/>
                    <a:pt x="348" y="585"/>
                  </a:cubicBezTo>
                  <a:cubicBezTo>
                    <a:pt x="348" y="585"/>
                    <a:pt x="348" y="585"/>
                    <a:pt x="348" y="585"/>
                  </a:cubicBezTo>
                  <a:cubicBezTo>
                    <a:pt x="349" y="584"/>
                    <a:pt x="349" y="584"/>
                    <a:pt x="349" y="584"/>
                  </a:cubicBezTo>
                  <a:cubicBezTo>
                    <a:pt x="347" y="584"/>
                    <a:pt x="347" y="584"/>
                    <a:pt x="347" y="584"/>
                  </a:cubicBezTo>
                  <a:cubicBezTo>
                    <a:pt x="346" y="583"/>
                    <a:pt x="346" y="583"/>
                    <a:pt x="346" y="583"/>
                  </a:cubicBezTo>
                  <a:cubicBezTo>
                    <a:pt x="346" y="582"/>
                    <a:pt x="346" y="582"/>
                    <a:pt x="346" y="582"/>
                  </a:cubicBezTo>
                  <a:cubicBezTo>
                    <a:pt x="346" y="582"/>
                    <a:pt x="346" y="582"/>
                    <a:pt x="346" y="582"/>
                  </a:cubicBezTo>
                  <a:cubicBezTo>
                    <a:pt x="346" y="581"/>
                    <a:pt x="346" y="581"/>
                    <a:pt x="346" y="581"/>
                  </a:cubicBezTo>
                  <a:cubicBezTo>
                    <a:pt x="346" y="581"/>
                    <a:pt x="346" y="581"/>
                    <a:pt x="346" y="581"/>
                  </a:cubicBezTo>
                  <a:cubicBezTo>
                    <a:pt x="346" y="581"/>
                    <a:pt x="346" y="581"/>
                    <a:pt x="346" y="581"/>
                  </a:cubicBezTo>
                  <a:cubicBezTo>
                    <a:pt x="350" y="585"/>
                    <a:pt x="350" y="585"/>
                    <a:pt x="350" y="585"/>
                  </a:cubicBezTo>
                  <a:cubicBezTo>
                    <a:pt x="350" y="585"/>
                    <a:pt x="350" y="585"/>
                    <a:pt x="350" y="585"/>
                  </a:cubicBezTo>
                  <a:cubicBezTo>
                    <a:pt x="350" y="585"/>
                    <a:pt x="350" y="585"/>
                    <a:pt x="350" y="585"/>
                  </a:cubicBezTo>
                  <a:cubicBezTo>
                    <a:pt x="349" y="585"/>
                    <a:pt x="349" y="585"/>
                    <a:pt x="349" y="585"/>
                  </a:cubicBezTo>
                  <a:cubicBezTo>
                    <a:pt x="349" y="585"/>
                    <a:pt x="349" y="585"/>
                    <a:pt x="349" y="585"/>
                  </a:cubicBezTo>
                  <a:cubicBezTo>
                    <a:pt x="349" y="585"/>
                    <a:pt x="349" y="585"/>
                    <a:pt x="349" y="585"/>
                  </a:cubicBezTo>
                  <a:cubicBezTo>
                    <a:pt x="349" y="586"/>
                    <a:pt x="349" y="586"/>
                    <a:pt x="349" y="586"/>
                  </a:cubicBezTo>
                  <a:cubicBezTo>
                    <a:pt x="349" y="586"/>
                    <a:pt x="349" y="586"/>
                    <a:pt x="349" y="586"/>
                  </a:cubicBezTo>
                  <a:cubicBezTo>
                    <a:pt x="349" y="587"/>
                    <a:pt x="349" y="587"/>
                    <a:pt x="349" y="587"/>
                  </a:cubicBezTo>
                  <a:cubicBezTo>
                    <a:pt x="350" y="587"/>
                    <a:pt x="350" y="587"/>
                    <a:pt x="350" y="587"/>
                  </a:cubicBezTo>
                  <a:cubicBezTo>
                    <a:pt x="351" y="587"/>
                    <a:pt x="351" y="587"/>
                    <a:pt x="351" y="587"/>
                  </a:cubicBezTo>
                  <a:cubicBezTo>
                    <a:pt x="351" y="586"/>
                    <a:pt x="351" y="586"/>
                    <a:pt x="351" y="586"/>
                  </a:cubicBezTo>
                  <a:cubicBezTo>
                    <a:pt x="351" y="585"/>
                    <a:pt x="351" y="585"/>
                    <a:pt x="351" y="585"/>
                  </a:cubicBezTo>
                  <a:cubicBezTo>
                    <a:pt x="352" y="586"/>
                    <a:pt x="352" y="586"/>
                    <a:pt x="352" y="586"/>
                  </a:cubicBezTo>
                  <a:cubicBezTo>
                    <a:pt x="352" y="587"/>
                    <a:pt x="352" y="587"/>
                    <a:pt x="352" y="587"/>
                  </a:cubicBezTo>
                  <a:cubicBezTo>
                    <a:pt x="353" y="587"/>
                    <a:pt x="353" y="587"/>
                    <a:pt x="353" y="587"/>
                  </a:cubicBezTo>
                  <a:cubicBezTo>
                    <a:pt x="353" y="588"/>
                    <a:pt x="353" y="588"/>
                    <a:pt x="353" y="588"/>
                  </a:cubicBezTo>
                  <a:cubicBezTo>
                    <a:pt x="354" y="588"/>
                    <a:pt x="354" y="588"/>
                    <a:pt x="354" y="588"/>
                  </a:cubicBezTo>
                  <a:cubicBezTo>
                    <a:pt x="354" y="587"/>
                    <a:pt x="354" y="587"/>
                    <a:pt x="354" y="587"/>
                  </a:cubicBezTo>
                  <a:cubicBezTo>
                    <a:pt x="354" y="586"/>
                    <a:pt x="354" y="586"/>
                    <a:pt x="354" y="586"/>
                  </a:cubicBezTo>
                  <a:cubicBezTo>
                    <a:pt x="353" y="586"/>
                    <a:pt x="353" y="586"/>
                    <a:pt x="353" y="586"/>
                  </a:cubicBezTo>
                  <a:cubicBezTo>
                    <a:pt x="353" y="585"/>
                    <a:pt x="353" y="585"/>
                    <a:pt x="353" y="585"/>
                  </a:cubicBezTo>
                  <a:cubicBezTo>
                    <a:pt x="354" y="586"/>
                    <a:pt x="354" y="586"/>
                    <a:pt x="354" y="586"/>
                  </a:cubicBezTo>
                  <a:cubicBezTo>
                    <a:pt x="354" y="586"/>
                    <a:pt x="354" y="586"/>
                    <a:pt x="354" y="586"/>
                  </a:cubicBezTo>
                  <a:cubicBezTo>
                    <a:pt x="354" y="585"/>
                    <a:pt x="354" y="585"/>
                    <a:pt x="354" y="585"/>
                  </a:cubicBezTo>
                  <a:cubicBezTo>
                    <a:pt x="353" y="584"/>
                    <a:pt x="353" y="584"/>
                    <a:pt x="353" y="584"/>
                  </a:cubicBezTo>
                  <a:cubicBezTo>
                    <a:pt x="353" y="584"/>
                    <a:pt x="353" y="584"/>
                    <a:pt x="353" y="584"/>
                  </a:cubicBezTo>
                  <a:cubicBezTo>
                    <a:pt x="353" y="583"/>
                    <a:pt x="353" y="583"/>
                    <a:pt x="353" y="583"/>
                  </a:cubicBezTo>
                  <a:cubicBezTo>
                    <a:pt x="353" y="582"/>
                    <a:pt x="353" y="582"/>
                    <a:pt x="353" y="582"/>
                  </a:cubicBezTo>
                  <a:cubicBezTo>
                    <a:pt x="353" y="582"/>
                    <a:pt x="353" y="582"/>
                    <a:pt x="353" y="582"/>
                  </a:cubicBezTo>
                  <a:cubicBezTo>
                    <a:pt x="352" y="583"/>
                    <a:pt x="352" y="583"/>
                    <a:pt x="352" y="583"/>
                  </a:cubicBezTo>
                  <a:cubicBezTo>
                    <a:pt x="352" y="583"/>
                    <a:pt x="352" y="583"/>
                    <a:pt x="352" y="583"/>
                  </a:cubicBezTo>
                  <a:cubicBezTo>
                    <a:pt x="352" y="583"/>
                    <a:pt x="352" y="583"/>
                    <a:pt x="352" y="583"/>
                  </a:cubicBezTo>
                  <a:cubicBezTo>
                    <a:pt x="351" y="581"/>
                    <a:pt x="351" y="581"/>
                    <a:pt x="351" y="581"/>
                  </a:cubicBezTo>
                  <a:cubicBezTo>
                    <a:pt x="351" y="581"/>
                    <a:pt x="351" y="581"/>
                    <a:pt x="351" y="581"/>
                  </a:cubicBezTo>
                  <a:cubicBezTo>
                    <a:pt x="351" y="581"/>
                    <a:pt x="351" y="581"/>
                    <a:pt x="351" y="581"/>
                  </a:cubicBezTo>
                  <a:cubicBezTo>
                    <a:pt x="350" y="580"/>
                    <a:pt x="350" y="580"/>
                    <a:pt x="350" y="580"/>
                  </a:cubicBezTo>
                  <a:cubicBezTo>
                    <a:pt x="350" y="579"/>
                    <a:pt x="350" y="579"/>
                    <a:pt x="350" y="579"/>
                  </a:cubicBezTo>
                  <a:cubicBezTo>
                    <a:pt x="350" y="579"/>
                    <a:pt x="350" y="579"/>
                    <a:pt x="350" y="579"/>
                  </a:cubicBezTo>
                  <a:cubicBezTo>
                    <a:pt x="351" y="579"/>
                    <a:pt x="351" y="579"/>
                    <a:pt x="351" y="579"/>
                  </a:cubicBezTo>
                  <a:cubicBezTo>
                    <a:pt x="351" y="580"/>
                    <a:pt x="351" y="580"/>
                    <a:pt x="351" y="580"/>
                  </a:cubicBezTo>
                  <a:cubicBezTo>
                    <a:pt x="352" y="581"/>
                    <a:pt x="352" y="581"/>
                    <a:pt x="352" y="581"/>
                  </a:cubicBezTo>
                  <a:cubicBezTo>
                    <a:pt x="351" y="580"/>
                    <a:pt x="351" y="580"/>
                    <a:pt x="351" y="580"/>
                  </a:cubicBezTo>
                  <a:cubicBezTo>
                    <a:pt x="352" y="580"/>
                    <a:pt x="352" y="580"/>
                    <a:pt x="352" y="580"/>
                  </a:cubicBezTo>
                  <a:cubicBezTo>
                    <a:pt x="353" y="579"/>
                    <a:pt x="353" y="579"/>
                    <a:pt x="353" y="579"/>
                  </a:cubicBezTo>
                  <a:cubicBezTo>
                    <a:pt x="353" y="580"/>
                    <a:pt x="353" y="580"/>
                    <a:pt x="353" y="580"/>
                  </a:cubicBezTo>
                  <a:cubicBezTo>
                    <a:pt x="353" y="580"/>
                    <a:pt x="353" y="580"/>
                    <a:pt x="353" y="580"/>
                  </a:cubicBezTo>
                  <a:cubicBezTo>
                    <a:pt x="353" y="580"/>
                    <a:pt x="353" y="580"/>
                    <a:pt x="353" y="580"/>
                  </a:cubicBezTo>
                  <a:cubicBezTo>
                    <a:pt x="353" y="579"/>
                    <a:pt x="353" y="579"/>
                    <a:pt x="353" y="579"/>
                  </a:cubicBezTo>
                  <a:cubicBezTo>
                    <a:pt x="353" y="579"/>
                    <a:pt x="353" y="579"/>
                    <a:pt x="353" y="579"/>
                  </a:cubicBezTo>
                  <a:cubicBezTo>
                    <a:pt x="353" y="578"/>
                    <a:pt x="353" y="578"/>
                    <a:pt x="353" y="578"/>
                  </a:cubicBezTo>
                  <a:cubicBezTo>
                    <a:pt x="352" y="578"/>
                    <a:pt x="352" y="578"/>
                    <a:pt x="352" y="578"/>
                  </a:cubicBezTo>
                  <a:cubicBezTo>
                    <a:pt x="351" y="577"/>
                    <a:pt x="351" y="577"/>
                    <a:pt x="351" y="577"/>
                  </a:cubicBezTo>
                  <a:cubicBezTo>
                    <a:pt x="352" y="578"/>
                    <a:pt x="352" y="578"/>
                    <a:pt x="352" y="578"/>
                  </a:cubicBezTo>
                  <a:cubicBezTo>
                    <a:pt x="352" y="577"/>
                    <a:pt x="352" y="577"/>
                    <a:pt x="352" y="577"/>
                  </a:cubicBezTo>
                  <a:cubicBezTo>
                    <a:pt x="352" y="577"/>
                    <a:pt x="352" y="577"/>
                    <a:pt x="352" y="577"/>
                  </a:cubicBezTo>
                  <a:cubicBezTo>
                    <a:pt x="352" y="576"/>
                    <a:pt x="352" y="576"/>
                    <a:pt x="352" y="576"/>
                  </a:cubicBezTo>
                  <a:cubicBezTo>
                    <a:pt x="353" y="576"/>
                    <a:pt x="353" y="576"/>
                    <a:pt x="353" y="576"/>
                  </a:cubicBezTo>
                  <a:cubicBezTo>
                    <a:pt x="352" y="575"/>
                    <a:pt x="352" y="575"/>
                    <a:pt x="352" y="575"/>
                  </a:cubicBezTo>
                  <a:cubicBezTo>
                    <a:pt x="351" y="574"/>
                    <a:pt x="351" y="574"/>
                    <a:pt x="351" y="574"/>
                  </a:cubicBezTo>
                  <a:cubicBezTo>
                    <a:pt x="351" y="573"/>
                    <a:pt x="351" y="573"/>
                    <a:pt x="351" y="573"/>
                  </a:cubicBezTo>
                  <a:cubicBezTo>
                    <a:pt x="351" y="573"/>
                    <a:pt x="351" y="573"/>
                    <a:pt x="351" y="573"/>
                  </a:cubicBezTo>
                  <a:cubicBezTo>
                    <a:pt x="351" y="572"/>
                    <a:pt x="351" y="572"/>
                    <a:pt x="351" y="572"/>
                  </a:cubicBezTo>
                  <a:cubicBezTo>
                    <a:pt x="351" y="573"/>
                    <a:pt x="351" y="573"/>
                    <a:pt x="351" y="573"/>
                  </a:cubicBezTo>
                  <a:cubicBezTo>
                    <a:pt x="351" y="571"/>
                    <a:pt x="351" y="571"/>
                    <a:pt x="351" y="571"/>
                  </a:cubicBezTo>
                  <a:cubicBezTo>
                    <a:pt x="350" y="570"/>
                    <a:pt x="350" y="570"/>
                    <a:pt x="350" y="570"/>
                  </a:cubicBezTo>
                  <a:cubicBezTo>
                    <a:pt x="349" y="569"/>
                    <a:pt x="349" y="569"/>
                    <a:pt x="349" y="569"/>
                  </a:cubicBezTo>
                  <a:cubicBezTo>
                    <a:pt x="351" y="570"/>
                    <a:pt x="351" y="570"/>
                    <a:pt x="351" y="570"/>
                  </a:cubicBezTo>
                  <a:cubicBezTo>
                    <a:pt x="353" y="572"/>
                    <a:pt x="353" y="572"/>
                    <a:pt x="353" y="572"/>
                  </a:cubicBezTo>
                  <a:cubicBezTo>
                    <a:pt x="354" y="573"/>
                    <a:pt x="354" y="573"/>
                    <a:pt x="354" y="573"/>
                  </a:cubicBezTo>
                  <a:cubicBezTo>
                    <a:pt x="355" y="572"/>
                    <a:pt x="355" y="572"/>
                    <a:pt x="355" y="572"/>
                  </a:cubicBezTo>
                  <a:cubicBezTo>
                    <a:pt x="355" y="571"/>
                    <a:pt x="355" y="571"/>
                    <a:pt x="355" y="571"/>
                  </a:cubicBezTo>
                  <a:cubicBezTo>
                    <a:pt x="355" y="571"/>
                    <a:pt x="355" y="571"/>
                    <a:pt x="355" y="571"/>
                  </a:cubicBezTo>
                  <a:cubicBezTo>
                    <a:pt x="354" y="571"/>
                    <a:pt x="354" y="571"/>
                    <a:pt x="354" y="571"/>
                  </a:cubicBezTo>
                  <a:cubicBezTo>
                    <a:pt x="355" y="570"/>
                    <a:pt x="355" y="570"/>
                    <a:pt x="355" y="570"/>
                  </a:cubicBezTo>
                  <a:cubicBezTo>
                    <a:pt x="355" y="571"/>
                    <a:pt x="355" y="571"/>
                    <a:pt x="355" y="571"/>
                  </a:cubicBezTo>
                  <a:cubicBezTo>
                    <a:pt x="355" y="571"/>
                    <a:pt x="355" y="571"/>
                    <a:pt x="355" y="571"/>
                  </a:cubicBezTo>
                  <a:cubicBezTo>
                    <a:pt x="356" y="571"/>
                    <a:pt x="356" y="571"/>
                    <a:pt x="356" y="571"/>
                  </a:cubicBezTo>
                  <a:cubicBezTo>
                    <a:pt x="356" y="570"/>
                    <a:pt x="356" y="570"/>
                    <a:pt x="356" y="570"/>
                  </a:cubicBezTo>
                  <a:cubicBezTo>
                    <a:pt x="356" y="569"/>
                    <a:pt x="356" y="569"/>
                    <a:pt x="356" y="569"/>
                  </a:cubicBezTo>
                  <a:cubicBezTo>
                    <a:pt x="355" y="568"/>
                    <a:pt x="355" y="568"/>
                    <a:pt x="355" y="568"/>
                  </a:cubicBezTo>
                  <a:cubicBezTo>
                    <a:pt x="355" y="568"/>
                    <a:pt x="355" y="568"/>
                    <a:pt x="355" y="568"/>
                  </a:cubicBezTo>
                  <a:cubicBezTo>
                    <a:pt x="355" y="567"/>
                    <a:pt x="355" y="567"/>
                    <a:pt x="355" y="567"/>
                  </a:cubicBezTo>
                  <a:cubicBezTo>
                    <a:pt x="355" y="567"/>
                    <a:pt x="355" y="567"/>
                    <a:pt x="355" y="567"/>
                  </a:cubicBezTo>
                  <a:cubicBezTo>
                    <a:pt x="355" y="567"/>
                    <a:pt x="355" y="567"/>
                    <a:pt x="355" y="567"/>
                  </a:cubicBezTo>
                  <a:cubicBezTo>
                    <a:pt x="353" y="566"/>
                    <a:pt x="353" y="566"/>
                    <a:pt x="353" y="566"/>
                  </a:cubicBezTo>
                  <a:cubicBezTo>
                    <a:pt x="352" y="566"/>
                    <a:pt x="352" y="566"/>
                    <a:pt x="352" y="566"/>
                  </a:cubicBezTo>
                  <a:cubicBezTo>
                    <a:pt x="352" y="565"/>
                    <a:pt x="352" y="565"/>
                    <a:pt x="352" y="565"/>
                  </a:cubicBezTo>
                  <a:cubicBezTo>
                    <a:pt x="353" y="565"/>
                    <a:pt x="353" y="565"/>
                    <a:pt x="353" y="565"/>
                  </a:cubicBezTo>
                  <a:cubicBezTo>
                    <a:pt x="353" y="565"/>
                    <a:pt x="353" y="565"/>
                    <a:pt x="353" y="565"/>
                  </a:cubicBezTo>
                  <a:cubicBezTo>
                    <a:pt x="354" y="564"/>
                    <a:pt x="354" y="564"/>
                    <a:pt x="354" y="564"/>
                  </a:cubicBezTo>
                  <a:cubicBezTo>
                    <a:pt x="354" y="564"/>
                    <a:pt x="354" y="564"/>
                    <a:pt x="354" y="564"/>
                  </a:cubicBezTo>
                  <a:cubicBezTo>
                    <a:pt x="354" y="564"/>
                    <a:pt x="354" y="564"/>
                    <a:pt x="354" y="564"/>
                  </a:cubicBezTo>
                  <a:cubicBezTo>
                    <a:pt x="354" y="564"/>
                    <a:pt x="354" y="564"/>
                    <a:pt x="354" y="564"/>
                  </a:cubicBezTo>
                  <a:cubicBezTo>
                    <a:pt x="354" y="564"/>
                    <a:pt x="354" y="564"/>
                    <a:pt x="354" y="564"/>
                  </a:cubicBezTo>
                  <a:cubicBezTo>
                    <a:pt x="354" y="564"/>
                    <a:pt x="354" y="564"/>
                    <a:pt x="354" y="564"/>
                  </a:cubicBezTo>
                  <a:cubicBezTo>
                    <a:pt x="355" y="564"/>
                    <a:pt x="355" y="564"/>
                    <a:pt x="355" y="564"/>
                  </a:cubicBezTo>
                  <a:cubicBezTo>
                    <a:pt x="355" y="563"/>
                    <a:pt x="355" y="563"/>
                    <a:pt x="355" y="563"/>
                  </a:cubicBezTo>
                  <a:cubicBezTo>
                    <a:pt x="354" y="562"/>
                    <a:pt x="354" y="562"/>
                    <a:pt x="354" y="562"/>
                  </a:cubicBezTo>
                  <a:cubicBezTo>
                    <a:pt x="353" y="563"/>
                    <a:pt x="353" y="563"/>
                    <a:pt x="353" y="563"/>
                  </a:cubicBezTo>
                  <a:cubicBezTo>
                    <a:pt x="353" y="563"/>
                    <a:pt x="353" y="563"/>
                    <a:pt x="353" y="563"/>
                  </a:cubicBezTo>
                  <a:cubicBezTo>
                    <a:pt x="353" y="564"/>
                    <a:pt x="353" y="564"/>
                    <a:pt x="353" y="564"/>
                  </a:cubicBezTo>
                  <a:cubicBezTo>
                    <a:pt x="353" y="564"/>
                    <a:pt x="353" y="564"/>
                    <a:pt x="353" y="564"/>
                  </a:cubicBezTo>
                  <a:cubicBezTo>
                    <a:pt x="352" y="564"/>
                    <a:pt x="352" y="564"/>
                    <a:pt x="352" y="564"/>
                  </a:cubicBezTo>
                  <a:cubicBezTo>
                    <a:pt x="352" y="564"/>
                    <a:pt x="352" y="564"/>
                    <a:pt x="352" y="564"/>
                  </a:cubicBezTo>
                  <a:cubicBezTo>
                    <a:pt x="352" y="563"/>
                    <a:pt x="352" y="563"/>
                    <a:pt x="352" y="563"/>
                  </a:cubicBezTo>
                  <a:cubicBezTo>
                    <a:pt x="352" y="563"/>
                    <a:pt x="352" y="563"/>
                    <a:pt x="352" y="563"/>
                  </a:cubicBezTo>
                  <a:cubicBezTo>
                    <a:pt x="351" y="562"/>
                    <a:pt x="351" y="562"/>
                    <a:pt x="351" y="562"/>
                  </a:cubicBezTo>
                  <a:cubicBezTo>
                    <a:pt x="350" y="561"/>
                    <a:pt x="350" y="561"/>
                    <a:pt x="350" y="561"/>
                  </a:cubicBezTo>
                  <a:cubicBezTo>
                    <a:pt x="350" y="561"/>
                    <a:pt x="350" y="561"/>
                    <a:pt x="350" y="561"/>
                  </a:cubicBezTo>
                  <a:cubicBezTo>
                    <a:pt x="354" y="562"/>
                    <a:pt x="354" y="562"/>
                    <a:pt x="354" y="562"/>
                  </a:cubicBezTo>
                  <a:cubicBezTo>
                    <a:pt x="354" y="560"/>
                    <a:pt x="354" y="560"/>
                    <a:pt x="354" y="560"/>
                  </a:cubicBezTo>
                  <a:cubicBezTo>
                    <a:pt x="354" y="560"/>
                    <a:pt x="354" y="560"/>
                    <a:pt x="354" y="560"/>
                  </a:cubicBezTo>
                  <a:cubicBezTo>
                    <a:pt x="353" y="560"/>
                    <a:pt x="353" y="560"/>
                    <a:pt x="353" y="560"/>
                  </a:cubicBezTo>
                  <a:cubicBezTo>
                    <a:pt x="353" y="560"/>
                    <a:pt x="353" y="560"/>
                    <a:pt x="353" y="560"/>
                  </a:cubicBezTo>
                  <a:cubicBezTo>
                    <a:pt x="353" y="560"/>
                    <a:pt x="353" y="560"/>
                    <a:pt x="353" y="560"/>
                  </a:cubicBezTo>
                  <a:cubicBezTo>
                    <a:pt x="353" y="560"/>
                    <a:pt x="353" y="560"/>
                    <a:pt x="353" y="560"/>
                  </a:cubicBezTo>
                  <a:cubicBezTo>
                    <a:pt x="352" y="560"/>
                    <a:pt x="352" y="560"/>
                    <a:pt x="352" y="560"/>
                  </a:cubicBezTo>
                  <a:cubicBezTo>
                    <a:pt x="352" y="560"/>
                    <a:pt x="352" y="560"/>
                    <a:pt x="352" y="560"/>
                  </a:cubicBezTo>
                  <a:cubicBezTo>
                    <a:pt x="352" y="559"/>
                    <a:pt x="352" y="559"/>
                    <a:pt x="352" y="559"/>
                  </a:cubicBezTo>
                  <a:cubicBezTo>
                    <a:pt x="352" y="559"/>
                    <a:pt x="352" y="559"/>
                    <a:pt x="352" y="559"/>
                  </a:cubicBezTo>
                  <a:cubicBezTo>
                    <a:pt x="352" y="558"/>
                    <a:pt x="352" y="558"/>
                    <a:pt x="352" y="558"/>
                  </a:cubicBezTo>
                  <a:cubicBezTo>
                    <a:pt x="352" y="558"/>
                    <a:pt x="352" y="558"/>
                    <a:pt x="352" y="558"/>
                  </a:cubicBezTo>
                  <a:cubicBezTo>
                    <a:pt x="352" y="557"/>
                    <a:pt x="352" y="557"/>
                    <a:pt x="352" y="557"/>
                  </a:cubicBezTo>
                  <a:cubicBezTo>
                    <a:pt x="351" y="557"/>
                    <a:pt x="351" y="557"/>
                    <a:pt x="351" y="557"/>
                  </a:cubicBezTo>
                  <a:cubicBezTo>
                    <a:pt x="344" y="554"/>
                    <a:pt x="344" y="554"/>
                    <a:pt x="344" y="554"/>
                  </a:cubicBezTo>
                  <a:cubicBezTo>
                    <a:pt x="343" y="554"/>
                    <a:pt x="343" y="554"/>
                    <a:pt x="343" y="554"/>
                  </a:cubicBezTo>
                  <a:cubicBezTo>
                    <a:pt x="344" y="553"/>
                    <a:pt x="344" y="553"/>
                    <a:pt x="344" y="553"/>
                  </a:cubicBezTo>
                  <a:cubicBezTo>
                    <a:pt x="347" y="554"/>
                    <a:pt x="347" y="554"/>
                    <a:pt x="347" y="554"/>
                  </a:cubicBezTo>
                  <a:cubicBezTo>
                    <a:pt x="349" y="555"/>
                    <a:pt x="349" y="555"/>
                    <a:pt x="349" y="555"/>
                  </a:cubicBezTo>
                  <a:cubicBezTo>
                    <a:pt x="353" y="556"/>
                    <a:pt x="353" y="556"/>
                    <a:pt x="353" y="556"/>
                  </a:cubicBezTo>
                  <a:cubicBezTo>
                    <a:pt x="353" y="556"/>
                    <a:pt x="353" y="556"/>
                    <a:pt x="353" y="556"/>
                  </a:cubicBezTo>
                  <a:cubicBezTo>
                    <a:pt x="353" y="557"/>
                    <a:pt x="353" y="557"/>
                    <a:pt x="353" y="557"/>
                  </a:cubicBezTo>
                  <a:cubicBezTo>
                    <a:pt x="353" y="557"/>
                    <a:pt x="353" y="557"/>
                    <a:pt x="353" y="557"/>
                  </a:cubicBezTo>
                  <a:cubicBezTo>
                    <a:pt x="353" y="556"/>
                    <a:pt x="353" y="556"/>
                    <a:pt x="353" y="556"/>
                  </a:cubicBezTo>
                  <a:cubicBezTo>
                    <a:pt x="354" y="556"/>
                    <a:pt x="354" y="556"/>
                    <a:pt x="354" y="556"/>
                  </a:cubicBezTo>
                  <a:cubicBezTo>
                    <a:pt x="354" y="556"/>
                    <a:pt x="354" y="556"/>
                    <a:pt x="354" y="556"/>
                  </a:cubicBezTo>
                  <a:cubicBezTo>
                    <a:pt x="355" y="556"/>
                    <a:pt x="355" y="556"/>
                    <a:pt x="355" y="556"/>
                  </a:cubicBezTo>
                  <a:cubicBezTo>
                    <a:pt x="356" y="555"/>
                    <a:pt x="356" y="555"/>
                    <a:pt x="356" y="555"/>
                  </a:cubicBezTo>
                  <a:cubicBezTo>
                    <a:pt x="356" y="555"/>
                    <a:pt x="356" y="555"/>
                    <a:pt x="356" y="555"/>
                  </a:cubicBezTo>
                  <a:cubicBezTo>
                    <a:pt x="356" y="554"/>
                    <a:pt x="356" y="554"/>
                    <a:pt x="356" y="554"/>
                  </a:cubicBezTo>
                  <a:cubicBezTo>
                    <a:pt x="357" y="554"/>
                    <a:pt x="357" y="554"/>
                    <a:pt x="357" y="554"/>
                  </a:cubicBezTo>
                  <a:cubicBezTo>
                    <a:pt x="358" y="553"/>
                    <a:pt x="358" y="553"/>
                    <a:pt x="358" y="553"/>
                  </a:cubicBezTo>
                  <a:cubicBezTo>
                    <a:pt x="359" y="553"/>
                    <a:pt x="359" y="553"/>
                    <a:pt x="359" y="553"/>
                  </a:cubicBezTo>
                  <a:cubicBezTo>
                    <a:pt x="357" y="551"/>
                    <a:pt x="357" y="551"/>
                    <a:pt x="357" y="551"/>
                  </a:cubicBezTo>
                  <a:cubicBezTo>
                    <a:pt x="356" y="551"/>
                    <a:pt x="356" y="551"/>
                    <a:pt x="356" y="551"/>
                  </a:cubicBezTo>
                  <a:cubicBezTo>
                    <a:pt x="356" y="551"/>
                    <a:pt x="356" y="551"/>
                    <a:pt x="356" y="551"/>
                  </a:cubicBezTo>
                  <a:cubicBezTo>
                    <a:pt x="356" y="550"/>
                    <a:pt x="356" y="550"/>
                    <a:pt x="356" y="550"/>
                  </a:cubicBezTo>
                  <a:cubicBezTo>
                    <a:pt x="356" y="550"/>
                    <a:pt x="356" y="550"/>
                    <a:pt x="356" y="550"/>
                  </a:cubicBezTo>
                  <a:cubicBezTo>
                    <a:pt x="355" y="550"/>
                    <a:pt x="355" y="550"/>
                    <a:pt x="355" y="550"/>
                  </a:cubicBezTo>
                  <a:cubicBezTo>
                    <a:pt x="355" y="550"/>
                    <a:pt x="355" y="550"/>
                    <a:pt x="355" y="550"/>
                  </a:cubicBezTo>
                  <a:cubicBezTo>
                    <a:pt x="356" y="549"/>
                    <a:pt x="356" y="549"/>
                    <a:pt x="356" y="549"/>
                  </a:cubicBezTo>
                  <a:cubicBezTo>
                    <a:pt x="356" y="549"/>
                    <a:pt x="356" y="549"/>
                    <a:pt x="356" y="549"/>
                  </a:cubicBezTo>
                  <a:cubicBezTo>
                    <a:pt x="355" y="549"/>
                    <a:pt x="355" y="549"/>
                    <a:pt x="355" y="549"/>
                  </a:cubicBezTo>
                  <a:cubicBezTo>
                    <a:pt x="354" y="548"/>
                    <a:pt x="354" y="548"/>
                    <a:pt x="354" y="548"/>
                  </a:cubicBezTo>
                  <a:cubicBezTo>
                    <a:pt x="354" y="547"/>
                    <a:pt x="354" y="547"/>
                    <a:pt x="354" y="547"/>
                  </a:cubicBezTo>
                  <a:cubicBezTo>
                    <a:pt x="355" y="546"/>
                    <a:pt x="355" y="546"/>
                    <a:pt x="355" y="546"/>
                  </a:cubicBezTo>
                  <a:cubicBezTo>
                    <a:pt x="354" y="546"/>
                    <a:pt x="354" y="546"/>
                    <a:pt x="354" y="546"/>
                  </a:cubicBezTo>
                  <a:cubicBezTo>
                    <a:pt x="353" y="546"/>
                    <a:pt x="353" y="546"/>
                    <a:pt x="353" y="546"/>
                  </a:cubicBezTo>
                  <a:cubicBezTo>
                    <a:pt x="353" y="546"/>
                    <a:pt x="353" y="546"/>
                    <a:pt x="353" y="546"/>
                  </a:cubicBezTo>
                  <a:cubicBezTo>
                    <a:pt x="353" y="547"/>
                    <a:pt x="353" y="547"/>
                    <a:pt x="353" y="547"/>
                  </a:cubicBezTo>
                  <a:cubicBezTo>
                    <a:pt x="353" y="547"/>
                    <a:pt x="353" y="547"/>
                    <a:pt x="353" y="547"/>
                  </a:cubicBezTo>
                  <a:cubicBezTo>
                    <a:pt x="353" y="547"/>
                    <a:pt x="353" y="547"/>
                    <a:pt x="353" y="547"/>
                  </a:cubicBezTo>
                  <a:cubicBezTo>
                    <a:pt x="352" y="546"/>
                    <a:pt x="352" y="546"/>
                    <a:pt x="352" y="546"/>
                  </a:cubicBezTo>
                  <a:cubicBezTo>
                    <a:pt x="351" y="546"/>
                    <a:pt x="351" y="546"/>
                    <a:pt x="351" y="546"/>
                  </a:cubicBezTo>
                  <a:cubicBezTo>
                    <a:pt x="351" y="545"/>
                    <a:pt x="351" y="545"/>
                    <a:pt x="351" y="545"/>
                  </a:cubicBezTo>
                  <a:cubicBezTo>
                    <a:pt x="350" y="545"/>
                    <a:pt x="350" y="545"/>
                    <a:pt x="350" y="545"/>
                  </a:cubicBezTo>
                  <a:cubicBezTo>
                    <a:pt x="346" y="545"/>
                    <a:pt x="346" y="545"/>
                    <a:pt x="346" y="545"/>
                  </a:cubicBezTo>
                  <a:cubicBezTo>
                    <a:pt x="346" y="545"/>
                    <a:pt x="346" y="545"/>
                    <a:pt x="346" y="545"/>
                  </a:cubicBezTo>
                  <a:cubicBezTo>
                    <a:pt x="344" y="544"/>
                    <a:pt x="344" y="544"/>
                    <a:pt x="344" y="544"/>
                  </a:cubicBezTo>
                  <a:cubicBezTo>
                    <a:pt x="344" y="544"/>
                    <a:pt x="344" y="544"/>
                    <a:pt x="344" y="544"/>
                  </a:cubicBezTo>
                  <a:cubicBezTo>
                    <a:pt x="344" y="545"/>
                    <a:pt x="344" y="545"/>
                    <a:pt x="344" y="545"/>
                  </a:cubicBezTo>
                  <a:cubicBezTo>
                    <a:pt x="344" y="545"/>
                    <a:pt x="344" y="545"/>
                    <a:pt x="344" y="545"/>
                  </a:cubicBezTo>
                  <a:cubicBezTo>
                    <a:pt x="343" y="546"/>
                    <a:pt x="343" y="546"/>
                    <a:pt x="343" y="546"/>
                  </a:cubicBezTo>
                  <a:cubicBezTo>
                    <a:pt x="343" y="547"/>
                    <a:pt x="343" y="547"/>
                    <a:pt x="343" y="547"/>
                  </a:cubicBezTo>
                  <a:cubicBezTo>
                    <a:pt x="343" y="547"/>
                    <a:pt x="343" y="547"/>
                    <a:pt x="343" y="547"/>
                  </a:cubicBezTo>
                  <a:cubicBezTo>
                    <a:pt x="343" y="547"/>
                    <a:pt x="343" y="547"/>
                    <a:pt x="343" y="547"/>
                  </a:cubicBezTo>
                  <a:cubicBezTo>
                    <a:pt x="342" y="547"/>
                    <a:pt x="342" y="547"/>
                    <a:pt x="342" y="547"/>
                  </a:cubicBezTo>
                  <a:cubicBezTo>
                    <a:pt x="342" y="547"/>
                    <a:pt x="342" y="547"/>
                    <a:pt x="342" y="547"/>
                  </a:cubicBezTo>
                  <a:cubicBezTo>
                    <a:pt x="342" y="546"/>
                    <a:pt x="342" y="546"/>
                    <a:pt x="342" y="546"/>
                  </a:cubicBezTo>
                  <a:cubicBezTo>
                    <a:pt x="342" y="546"/>
                    <a:pt x="342" y="546"/>
                    <a:pt x="342" y="546"/>
                  </a:cubicBezTo>
                  <a:cubicBezTo>
                    <a:pt x="342" y="545"/>
                    <a:pt x="342" y="545"/>
                    <a:pt x="342" y="545"/>
                  </a:cubicBezTo>
                  <a:cubicBezTo>
                    <a:pt x="341" y="545"/>
                    <a:pt x="341" y="545"/>
                    <a:pt x="341" y="545"/>
                  </a:cubicBezTo>
                  <a:cubicBezTo>
                    <a:pt x="341" y="545"/>
                    <a:pt x="341" y="545"/>
                    <a:pt x="341" y="545"/>
                  </a:cubicBezTo>
                  <a:cubicBezTo>
                    <a:pt x="341" y="545"/>
                    <a:pt x="341" y="545"/>
                    <a:pt x="341" y="545"/>
                  </a:cubicBezTo>
                  <a:cubicBezTo>
                    <a:pt x="340" y="545"/>
                    <a:pt x="340" y="545"/>
                    <a:pt x="340" y="545"/>
                  </a:cubicBezTo>
                  <a:cubicBezTo>
                    <a:pt x="340" y="546"/>
                    <a:pt x="340" y="546"/>
                    <a:pt x="340" y="546"/>
                  </a:cubicBezTo>
                  <a:cubicBezTo>
                    <a:pt x="338" y="545"/>
                    <a:pt x="338" y="545"/>
                    <a:pt x="338" y="545"/>
                  </a:cubicBezTo>
                  <a:cubicBezTo>
                    <a:pt x="338" y="546"/>
                    <a:pt x="338" y="546"/>
                    <a:pt x="338" y="546"/>
                  </a:cubicBezTo>
                  <a:cubicBezTo>
                    <a:pt x="337" y="545"/>
                    <a:pt x="337" y="545"/>
                    <a:pt x="337" y="545"/>
                  </a:cubicBezTo>
                  <a:cubicBezTo>
                    <a:pt x="337" y="545"/>
                    <a:pt x="337" y="545"/>
                    <a:pt x="337" y="545"/>
                  </a:cubicBezTo>
                  <a:cubicBezTo>
                    <a:pt x="337" y="545"/>
                    <a:pt x="337" y="545"/>
                    <a:pt x="337" y="545"/>
                  </a:cubicBezTo>
                  <a:cubicBezTo>
                    <a:pt x="336" y="545"/>
                    <a:pt x="336" y="545"/>
                    <a:pt x="336" y="545"/>
                  </a:cubicBezTo>
                  <a:cubicBezTo>
                    <a:pt x="336" y="545"/>
                    <a:pt x="336" y="545"/>
                    <a:pt x="336" y="545"/>
                  </a:cubicBezTo>
                  <a:cubicBezTo>
                    <a:pt x="337" y="545"/>
                    <a:pt x="337" y="545"/>
                    <a:pt x="337" y="545"/>
                  </a:cubicBezTo>
                  <a:cubicBezTo>
                    <a:pt x="338" y="545"/>
                    <a:pt x="338" y="545"/>
                    <a:pt x="338" y="545"/>
                  </a:cubicBezTo>
                  <a:cubicBezTo>
                    <a:pt x="339" y="545"/>
                    <a:pt x="339" y="545"/>
                    <a:pt x="339" y="545"/>
                  </a:cubicBezTo>
                  <a:cubicBezTo>
                    <a:pt x="339" y="544"/>
                    <a:pt x="339" y="544"/>
                    <a:pt x="339" y="544"/>
                  </a:cubicBezTo>
                  <a:cubicBezTo>
                    <a:pt x="339" y="544"/>
                    <a:pt x="339" y="544"/>
                    <a:pt x="339" y="544"/>
                  </a:cubicBezTo>
                  <a:cubicBezTo>
                    <a:pt x="338" y="543"/>
                    <a:pt x="338" y="543"/>
                    <a:pt x="338" y="543"/>
                  </a:cubicBezTo>
                  <a:cubicBezTo>
                    <a:pt x="338" y="543"/>
                    <a:pt x="338" y="543"/>
                    <a:pt x="338" y="543"/>
                  </a:cubicBezTo>
                  <a:cubicBezTo>
                    <a:pt x="338" y="543"/>
                    <a:pt x="338" y="543"/>
                    <a:pt x="338" y="543"/>
                  </a:cubicBezTo>
                  <a:cubicBezTo>
                    <a:pt x="348" y="544"/>
                    <a:pt x="348" y="544"/>
                    <a:pt x="348" y="544"/>
                  </a:cubicBezTo>
                  <a:cubicBezTo>
                    <a:pt x="359" y="545"/>
                    <a:pt x="359" y="545"/>
                    <a:pt x="359" y="545"/>
                  </a:cubicBezTo>
                  <a:cubicBezTo>
                    <a:pt x="361" y="544"/>
                    <a:pt x="361" y="544"/>
                    <a:pt x="361" y="544"/>
                  </a:cubicBezTo>
                  <a:cubicBezTo>
                    <a:pt x="362" y="545"/>
                    <a:pt x="362" y="545"/>
                    <a:pt x="362" y="545"/>
                  </a:cubicBezTo>
                  <a:cubicBezTo>
                    <a:pt x="361" y="543"/>
                    <a:pt x="361" y="543"/>
                    <a:pt x="361" y="543"/>
                  </a:cubicBezTo>
                  <a:cubicBezTo>
                    <a:pt x="361" y="543"/>
                    <a:pt x="361" y="543"/>
                    <a:pt x="361" y="543"/>
                  </a:cubicBezTo>
                  <a:cubicBezTo>
                    <a:pt x="359" y="543"/>
                    <a:pt x="359" y="543"/>
                    <a:pt x="359" y="543"/>
                  </a:cubicBezTo>
                  <a:cubicBezTo>
                    <a:pt x="360" y="542"/>
                    <a:pt x="360" y="542"/>
                    <a:pt x="360" y="542"/>
                  </a:cubicBezTo>
                  <a:cubicBezTo>
                    <a:pt x="361" y="542"/>
                    <a:pt x="361" y="542"/>
                    <a:pt x="361" y="542"/>
                  </a:cubicBezTo>
                  <a:cubicBezTo>
                    <a:pt x="363" y="543"/>
                    <a:pt x="363" y="543"/>
                    <a:pt x="363" y="543"/>
                  </a:cubicBezTo>
                  <a:cubicBezTo>
                    <a:pt x="364" y="543"/>
                    <a:pt x="364" y="543"/>
                    <a:pt x="364" y="543"/>
                  </a:cubicBezTo>
                  <a:cubicBezTo>
                    <a:pt x="364" y="543"/>
                    <a:pt x="364" y="543"/>
                    <a:pt x="364" y="543"/>
                  </a:cubicBezTo>
                  <a:cubicBezTo>
                    <a:pt x="365" y="542"/>
                    <a:pt x="365" y="542"/>
                    <a:pt x="365" y="542"/>
                  </a:cubicBezTo>
                  <a:cubicBezTo>
                    <a:pt x="365" y="541"/>
                    <a:pt x="365" y="541"/>
                    <a:pt x="365" y="541"/>
                  </a:cubicBezTo>
                  <a:cubicBezTo>
                    <a:pt x="365" y="541"/>
                    <a:pt x="365" y="541"/>
                    <a:pt x="365" y="541"/>
                  </a:cubicBezTo>
                  <a:cubicBezTo>
                    <a:pt x="365" y="541"/>
                    <a:pt x="365" y="541"/>
                    <a:pt x="365" y="541"/>
                  </a:cubicBezTo>
                  <a:cubicBezTo>
                    <a:pt x="363" y="541"/>
                    <a:pt x="363" y="541"/>
                    <a:pt x="363" y="541"/>
                  </a:cubicBezTo>
                  <a:cubicBezTo>
                    <a:pt x="363" y="540"/>
                    <a:pt x="363" y="540"/>
                    <a:pt x="363" y="540"/>
                  </a:cubicBezTo>
                  <a:cubicBezTo>
                    <a:pt x="363" y="540"/>
                    <a:pt x="363" y="540"/>
                    <a:pt x="363" y="540"/>
                  </a:cubicBezTo>
                  <a:cubicBezTo>
                    <a:pt x="363" y="540"/>
                    <a:pt x="363" y="540"/>
                    <a:pt x="363" y="540"/>
                  </a:cubicBezTo>
                  <a:cubicBezTo>
                    <a:pt x="363" y="539"/>
                    <a:pt x="363" y="539"/>
                    <a:pt x="363" y="539"/>
                  </a:cubicBezTo>
                  <a:cubicBezTo>
                    <a:pt x="363" y="539"/>
                    <a:pt x="363" y="539"/>
                    <a:pt x="363" y="539"/>
                  </a:cubicBezTo>
                  <a:cubicBezTo>
                    <a:pt x="363" y="538"/>
                    <a:pt x="363" y="538"/>
                    <a:pt x="363" y="538"/>
                  </a:cubicBezTo>
                  <a:cubicBezTo>
                    <a:pt x="362" y="538"/>
                    <a:pt x="362" y="538"/>
                    <a:pt x="362" y="538"/>
                  </a:cubicBezTo>
                  <a:cubicBezTo>
                    <a:pt x="362" y="538"/>
                    <a:pt x="362" y="538"/>
                    <a:pt x="362" y="538"/>
                  </a:cubicBezTo>
                  <a:cubicBezTo>
                    <a:pt x="362" y="538"/>
                    <a:pt x="362" y="538"/>
                    <a:pt x="362" y="538"/>
                  </a:cubicBezTo>
                  <a:cubicBezTo>
                    <a:pt x="363" y="537"/>
                    <a:pt x="363" y="537"/>
                    <a:pt x="363" y="537"/>
                  </a:cubicBezTo>
                  <a:cubicBezTo>
                    <a:pt x="363" y="537"/>
                    <a:pt x="363" y="537"/>
                    <a:pt x="363" y="537"/>
                  </a:cubicBezTo>
                  <a:cubicBezTo>
                    <a:pt x="364" y="538"/>
                    <a:pt x="364" y="538"/>
                    <a:pt x="364" y="538"/>
                  </a:cubicBezTo>
                  <a:cubicBezTo>
                    <a:pt x="364" y="538"/>
                    <a:pt x="364" y="538"/>
                    <a:pt x="364" y="538"/>
                  </a:cubicBezTo>
                  <a:cubicBezTo>
                    <a:pt x="365" y="539"/>
                    <a:pt x="365" y="539"/>
                    <a:pt x="365" y="539"/>
                  </a:cubicBezTo>
                  <a:cubicBezTo>
                    <a:pt x="366" y="539"/>
                    <a:pt x="366" y="539"/>
                    <a:pt x="366" y="539"/>
                  </a:cubicBezTo>
                  <a:cubicBezTo>
                    <a:pt x="369" y="539"/>
                    <a:pt x="369" y="539"/>
                    <a:pt x="369" y="539"/>
                  </a:cubicBezTo>
                  <a:cubicBezTo>
                    <a:pt x="369" y="538"/>
                    <a:pt x="369" y="538"/>
                    <a:pt x="369" y="538"/>
                  </a:cubicBezTo>
                  <a:cubicBezTo>
                    <a:pt x="370" y="538"/>
                    <a:pt x="370" y="538"/>
                    <a:pt x="370" y="538"/>
                  </a:cubicBezTo>
                  <a:cubicBezTo>
                    <a:pt x="371" y="538"/>
                    <a:pt x="371" y="538"/>
                    <a:pt x="371" y="538"/>
                  </a:cubicBezTo>
                  <a:cubicBezTo>
                    <a:pt x="372" y="537"/>
                    <a:pt x="372" y="537"/>
                    <a:pt x="372" y="537"/>
                  </a:cubicBezTo>
                  <a:cubicBezTo>
                    <a:pt x="372" y="536"/>
                    <a:pt x="372" y="536"/>
                    <a:pt x="372" y="536"/>
                  </a:cubicBezTo>
                  <a:cubicBezTo>
                    <a:pt x="371" y="535"/>
                    <a:pt x="371" y="535"/>
                    <a:pt x="371" y="535"/>
                  </a:cubicBezTo>
                  <a:cubicBezTo>
                    <a:pt x="374" y="536"/>
                    <a:pt x="374" y="536"/>
                    <a:pt x="374" y="536"/>
                  </a:cubicBezTo>
                  <a:cubicBezTo>
                    <a:pt x="375" y="535"/>
                    <a:pt x="375" y="535"/>
                    <a:pt x="375" y="535"/>
                  </a:cubicBezTo>
                  <a:cubicBezTo>
                    <a:pt x="375" y="535"/>
                    <a:pt x="375" y="535"/>
                    <a:pt x="375" y="535"/>
                  </a:cubicBezTo>
                  <a:cubicBezTo>
                    <a:pt x="374" y="535"/>
                    <a:pt x="374" y="535"/>
                    <a:pt x="374" y="535"/>
                  </a:cubicBezTo>
                  <a:cubicBezTo>
                    <a:pt x="374" y="534"/>
                    <a:pt x="374" y="534"/>
                    <a:pt x="374" y="534"/>
                  </a:cubicBezTo>
                  <a:cubicBezTo>
                    <a:pt x="374" y="534"/>
                    <a:pt x="374" y="534"/>
                    <a:pt x="374" y="534"/>
                  </a:cubicBezTo>
                  <a:cubicBezTo>
                    <a:pt x="374" y="533"/>
                    <a:pt x="374" y="533"/>
                    <a:pt x="374" y="533"/>
                  </a:cubicBezTo>
                  <a:cubicBezTo>
                    <a:pt x="375" y="531"/>
                    <a:pt x="375" y="531"/>
                    <a:pt x="375" y="531"/>
                  </a:cubicBezTo>
                  <a:cubicBezTo>
                    <a:pt x="375" y="531"/>
                    <a:pt x="375" y="531"/>
                    <a:pt x="375" y="531"/>
                  </a:cubicBezTo>
                  <a:cubicBezTo>
                    <a:pt x="374" y="530"/>
                    <a:pt x="374" y="530"/>
                    <a:pt x="374" y="530"/>
                  </a:cubicBezTo>
                  <a:cubicBezTo>
                    <a:pt x="374" y="530"/>
                    <a:pt x="374" y="530"/>
                    <a:pt x="374" y="530"/>
                  </a:cubicBezTo>
                  <a:cubicBezTo>
                    <a:pt x="375" y="530"/>
                    <a:pt x="375" y="530"/>
                    <a:pt x="375" y="530"/>
                  </a:cubicBezTo>
                  <a:cubicBezTo>
                    <a:pt x="377" y="532"/>
                    <a:pt x="377" y="532"/>
                    <a:pt x="377" y="532"/>
                  </a:cubicBezTo>
                  <a:cubicBezTo>
                    <a:pt x="378" y="532"/>
                    <a:pt x="378" y="532"/>
                    <a:pt x="378" y="532"/>
                  </a:cubicBezTo>
                  <a:cubicBezTo>
                    <a:pt x="378" y="532"/>
                    <a:pt x="378" y="532"/>
                    <a:pt x="378" y="532"/>
                  </a:cubicBezTo>
                  <a:cubicBezTo>
                    <a:pt x="378" y="532"/>
                    <a:pt x="378" y="532"/>
                    <a:pt x="378" y="532"/>
                  </a:cubicBezTo>
                  <a:cubicBezTo>
                    <a:pt x="378" y="532"/>
                    <a:pt x="378" y="532"/>
                    <a:pt x="378" y="532"/>
                  </a:cubicBezTo>
                  <a:cubicBezTo>
                    <a:pt x="378" y="531"/>
                    <a:pt x="378" y="531"/>
                    <a:pt x="378" y="531"/>
                  </a:cubicBezTo>
                  <a:cubicBezTo>
                    <a:pt x="377" y="531"/>
                    <a:pt x="377" y="531"/>
                    <a:pt x="377" y="531"/>
                  </a:cubicBezTo>
                  <a:cubicBezTo>
                    <a:pt x="377" y="530"/>
                    <a:pt x="377" y="530"/>
                    <a:pt x="377" y="530"/>
                  </a:cubicBezTo>
                  <a:cubicBezTo>
                    <a:pt x="377" y="529"/>
                    <a:pt x="377" y="529"/>
                    <a:pt x="377" y="529"/>
                  </a:cubicBezTo>
                  <a:cubicBezTo>
                    <a:pt x="377" y="529"/>
                    <a:pt x="377" y="529"/>
                    <a:pt x="377" y="529"/>
                  </a:cubicBezTo>
                  <a:cubicBezTo>
                    <a:pt x="378" y="530"/>
                    <a:pt x="378" y="530"/>
                    <a:pt x="378" y="530"/>
                  </a:cubicBezTo>
                  <a:cubicBezTo>
                    <a:pt x="379" y="530"/>
                    <a:pt x="379" y="530"/>
                    <a:pt x="379" y="530"/>
                  </a:cubicBezTo>
                  <a:cubicBezTo>
                    <a:pt x="379" y="529"/>
                    <a:pt x="379" y="529"/>
                    <a:pt x="379" y="529"/>
                  </a:cubicBezTo>
                  <a:cubicBezTo>
                    <a:pt x="380" y="529"/>
                    <a:pt x="380" y="529"/>
                    <a:pt x="380" y="529"/>
                  </a:cubicBezTo>
                  <a:cubicBezTo>
                    <a:pt x="379" y="528"/>
                    <a:pt x="379" y="528"/>
                    <a:pt x="379" y="528"/>
                  </a:cubicBezTo>
                  <a:cubicBezTo>
                    <a:pt x="379" y="528"/>
                    <a:pt x="379" y="528"/>
                    <a:pt x="379" y="528"/>
                  </a:cubicBezTo>
                  <a:cubicBezTo>
                    <a:pt x="379" y="527"/>
                    <a:pt x="379" y="527"/>
                    <a:pt x="379" y="527"/>
                  </a:cubicBezTo>
                  <a:cubicBezTo>
                    <a:pt x="379" y="527"/>
                    <a:pt x="379" y="527"/>
                    <a:pt x="379" y="527"/>
                  </a:cubicBezTo>
                  <a:cubicBezTo>
                    <a:pt x="379" y="527"/>
                    <a:pt x="379" y="527"/>
                    <a:pt x="379" y="527"/>
                  </a:cubicBezTo>
                  <a:cubicBezTo>
                    <a:pt x="378" y="527"/>
                    <a:pt x="378" y="527"/>
                    <a:pt x="378" y="527"/>
                  </a:cubicBezTo>
                  <a:cubicBezTo>
                    <a:pt x="378" y="527"/>
                    <a:pt x="378" y="527"/>
                    <a:pt x="378" y="527"/>
                  </a:cubicBezTo>
                  <a:cubicBezTo>
                    <a:pt x="378" y="526"/>
                    <a:pt x="378" y="526"/>
                    <a:pt x="378" y="526"/>
                  </a:cubicBezTo>
                  <a:cubicBezTo>
                    <a:pt x="378" y="526"/>
                    <a:pt x="378" y="526"/>
                    <a:pt x="378" y="526"/>
                  </a:cubicBezTo>
                  <a:cubicBezTo>
                    <a:pt x="378" y="526"/>
                    <a:pt x="378" y="526"/>
                    <a:pt x="378" y="526"/>
                  </a:cubicBezTo>
                  <a:cubicBezTo>
                    <a:pt x="379" y="525"/>
                    <a:pt x="379" y="525"/>
                    <a:pt x="379" y="525"/>
                  </a:cubicBezTo>
                  <a:cubicBezTo>
                    <a:pt x="379" y="526"/>
                    <a:pt x="379" y="526"/>
                    <a:pt x="379" y="526"/>
                  </a:cubicBezTo>
                  <a:cubicBezTo>
                    <a:pt x="379" y="525"/>
                    <a:pt x="379" y="525"/>
                    <a:pt x="379" y="525"/>
                  </a:cubicBezTo>
                  <a:cubicBezTo>
                    <a:pt x="379" y="524"/>
                    <a:pt x="379" y="524"/>
                    <a:pt x="379" y="524"/>
                  </a:cubicBezTo>
                  <a:cubicBezTo>
                    <a:pt x="380" y="523"/>
                    <a:pt x="380" y="523"/>
                    <a:pt x="380" y="523"/>
                  </a:cubicBezTo>
                  <a:cubicBezTo>
                    <a:pt x="379" y="522"/>
                    <a:pt x="379" y="522"/>
                    <a:pt x="379" y="522"/>
                  </a:cubicBezTo>
                  <a:cubicBezTo>
                    <a:pt x="379" y="521"/>
                    <a:pt x="379" y="521"/>
                    <a:pt x="379" y="521"/>
                  </a:cubicBezTo>
                  <a:cubicBezTo>
                    <a:pt x="379" y="520"/>
                    <a:pt x="379" y="520"/>
                    <a:pt x="379" y="520"/>
                  </a:cubicBezTo>
                  <a:cubicBezTo>
                    <a:pt x="379" y="518"/>
                    <a:pt x="379" y="518"/>
                    <a:pt x="379" y="518"/>
                  </a:cubicBezTo>
                  <a:cubicBezTo>
                    <a:pt x="380" y="518"/>
                    <a:pt x="380" y="518"/>
                    <a:pt x="380" y="518"/>
                  </a:cubicBezTo>
                  <a:cubicBezTo>
                    <a:pt x="380" y="517"/>
                    <a:pt x="380" y="517"/>
                    <a:pt x="380" y="517"/>
                  </a:cubicBezTo>
                  <a:cubicBezTo>
                    <a:pt x="380" y="517"/>
                    <a:pt x="380" y="517"/>
                    <a:pt x="380" y="517"/>
                  </a:cubicBezTo>
                  <a:cubicBezTo>
                    <a:pt x="381" y="516"/>
                    <a:pt x="381" y="516"/>
                    <a:pt x="381" y="516"/>
                  </a:cubicBezTo>
                  <a:cubicBezTo>
                    <a:pt x="380" y="514"/>
                    <a:pt x="380" y="514"/>
                    <a:pt x="380" y="514"/>
                  </a:cubicBezTo>
                  <a:cubicBezTo>
                    <a:pt x="381" y="514"/>
                    <a:pt x="381" y="514"/>
                    <a:pt x="381" y="514"/>
                  </a:cubicBezTo>
                  <a:cubicBezTo>
                    <a:pt x="381" y="515"/>
                    <a:pt x="381" y="515"/>
                    <a:pt x="381" y="515"/>
                  </a:cubicBezTo>
                  <a:cubicBezTo>
                    <a:pt x="381" y="516"/>
                    <a:pt x="381" y="516"/>
                    <a:pt x="381" y="516"/>
                  </a:cubicBezTo>
                  <a:cubicBezTo>
                    <a:pt x="381" y="516"/>
                    <a:pt x="381" y="516"/>
                    <a:pt x="381" y="516"/>
                  </a:cubicBezTo>
                  <a:cubicBezTo>
                    <a:pt x="381" y="517"/>
                    <a:pt x="381" y="517"/>
                    <a:pt x="381" y="517"/>
                  </a:cubicBezTo>
                  <a:cubicBezTo>
                    <a:pt x="381" y="518"/>
                    <a:pt x="381" y="518"/>
                    <a:pt x="381" y="518"/>
                  </a:cubicBezTo>
                  <a:cubicBezTo>
                    <a:pt x="381" y="519"/>
                    <a:pt x="381" y="519"/>
                    <a:pt x="381" y="519"/>
                  </a:cubicBezTo>
                  <a:cubicBezTo>
                    <a:pt x="382" y="520"/>
                    <a:pt x="382" y="520"/>
                    <a:pt x="382" y="520"/>
                  </a:cubicBezTo>
                  <a:cubicBezTo>
                    <a:pt x="382" y="521"/>
                    <a:pt x="382" y="521"/>
                    <a:pt x="382" y="521"/>
                  </a:cubicBezTo>
                  <a:cubicBezTo>
                    <a:pt x="382" y="520"/>
                    <a:pt x="382" y="520"/>
                    <a:pt x="382" y="520"/>
                  </a:cubicBezTo>
                  <a:cubicBezTo>
                    <a:pt x="382" y="520"/>
                    <a:pt x="382" y="520"/>
                    <a:pt x="382" y="520"/>
                  </a:cubicBezTo>
                  <a:cubicBezTo>
                    <a:pt x="383" y="518"/>
                    <a:pt x="383" y="518"/>
                    <a:pt x="383" y="518"/>
                  </a:cubicBezTo>
                  <a:cubicBezTo>
                    <a:pt x="383" y="517"/>
                    <a:pt x="383" y="517"/>
                    <a:pt x="383" y="517"/>
                  </a:cubicBezTo>
                  <a:cubicBezTo>
                    <a:pt x="383" y="517"/>
                    <a:pt x="383" y="517"/>
                    <a:pt x="383" y="517"/>
                  </a:cubicBezTo>
                  <a:cubicBezTo>
                    <a:pt x="383" y="516"/>
                    <a:pt x="383" y="516"/>
                    <a:pt x="383" y="516"/>
                  </a:cubicBezTo>
                  <a:cubicBezTo>
                    <a:pt x="384" y="517"/>
                    <a:pt x="384" y="517"/>
                    <a:pt x="384" y="517"/>
                  </a:cubicBezTo>
                  <a:cubicBezTo>
                    <a:pt x="384" y="517"/>
                    <a:pt x="384" y="517"/>
                    <a:pt x="384" y="517"/>
                  </a:cubicBezTo>
                  <a:cubicBezTo>
                    <a:pt x="383" y="519"/>
                    <a:pt x="383" y="519"/>
                    <a:pt x="383" y="519"/>
                  </a:cubicBezTo>
                  <a:cubicBezTo>
                    <a:pt x="383" y="519"/>
                    <a:pt x="383" y="519"/>
                    <a:pt x="383" y="519"/>
                  </a:cubicBezTo>
                  <a:cubicBezTo>
                    <a:pt x="383" y="520"/>
                    <a:pt x="383" y="520"/>
                    <a:pt x="383" y="520"/>
                  </a:cubicBezTo>
                  <a:cubicBezTo>
                    <a:pt x="383" y="522"/>
                    <a:pt x="383" y="522"/>
                    <a:pt x="383" y="522"/>
                  </a:cubicBezTo>
                  <a:cubicBezTo>
                    <a:pt x="383" y="523"/>
                    <a:pt x="383" y="523"/>
                    <a:pt x="383" y="523"/>
                  </a:cubicBezTo>
                  <a:cubicBezTo>
                    <a:pt x="383" y="524"/>
                    <a:pt x="383" y="524"/>
                    <a:pt x="383" y="524"/>
                  </a:cubicBezTo>
                  <a:cubicBezTo>
                    <a:pt x="383" y="525"/>
                    <a:pt x="383" y="525"/>
                    <a:pt x="383" y="525"/>
                  </a:cubicBezTo>
                  <a:cubicBezTo>
                    <a:pt x="383" y="526"/>
                    <a:pt x="383" y="526"/>
                    <a:pt x="383" y="526"/>
                  </a:cubicBezTo>
                  <a:cubicBezTo>
                    <a:pt x="383" y="527"/>
                    <a:pt x="383" y="527"/>
                    <a:pt x="383" y="527"/>
                  </a:cubicBezTo>
                  <a:cubicBezTo>
                    <a:pt x="383" y="528"/>
                    <a:pt x="383" y="528"/>
                    <a:pt x="383" y="528"/>
                  </a:cubicBezTo>
                  <a:cubicBezTo>
                    <a:pt x="384" y="529"/>
                    <a:pt x="384" y="529"/>
                    <a:pt x="384" y="529"/>
                  </a:cubicBezTo>
                  <a:cubicBezTo>
                    <a:pt x="384" y="529"/>
                    <a:pt x="384" y="529"/>
                    <a:pt x="384" y="529"/>
                  </a:cubicBezTo>
                  <a:cubicBezTo>
                    <a:pt x="384" y="530"/>
                    <a:pt x="384" y="530"/>
                    <a:pt x="384" y="530"/>
                  </a:cubicBezTo>
                  <a:cubicBezTo>
                    <a:pt x="384" y="530"/>
                    <a:pt x="384" y="530"/>
                    <a:pt x="384" y="530"/>
                  </a:cubicBezTo>
                  <a:cubicBezTo>
                    <a:pt x="384" y="531"/>
                    <a:pt x="384" y="531"/>
                    <a:pt x="384" y="531"/>
                  </a:cubicBezTo>
                  <a:cubicBezTo>
                    <a:pt x="384" y="530"/>
                    <a:pt x="384" y="530"/>
                    <a:pt x="384" y="530"/>
                  </a:cubicBezTo>
                  <a:cubicBezTo>
                    <a:pt x="384" y="530"/>
                    <a:pt x="384" y="530"/>
                    <a:pt x="384" y="530"/>
                  </a:cubicBezTo>
                  <a:cubicBezTo>
                    <a:pt x="385" y="529"/>
                    <a:pt x="385" y="529"/>
                    <a:pt x="385" y="529"/>
                  </a:cubicBezTo>
                  <a:cubicBezTo>
                    <a:pt x="384" y="528"/>
                    <a:pt x="384" y="528"/>
                    <a:pt x="384" y="528"/>
                  </a:cubicBezTo>
                  <a:cubicBezTo>
                    <a:pt x="384" y="527"/>
                    <a:pt x="384" y="527"/>
                    <a:pt x="384" y="527"/>
                  </a:cubicBezTo>
                  <a:cubicBezTo>
                    <a:pt x="384" y="526"/>
                    <a:pt x="384" y="526"/>
                    <a:pt x="384" y="526"/>
                  </a:cubicBezTo>
                  <a:cubicBezTo>
                    <a:pt x="384" y="526"/>
                    <a:pt x="384" y="526"/>
                    <a:pt x="384" y="526"/>
                  </a:cubicBezTo>
                  <a:cubicBezTo>
                    <a:pt x="385" y="528"/>
                    <a:pt x="385" y="528"/>
                    <a:pt x="385" y="528"/>
                  </a:cubicBezTo>
                  <a:cubicBezTo>
                    <a:pt x="385" y="528"/>
                    <a:pt x="385" y="528"/>
                    <a:pt x="385" y="528"/>
                  </a:cubicBezTo>
                  <a:cubicBezTo>
                    <a:pt x="386" y="528"/>
                    <a:pt x="386" y="528"/>
                    <a:pt x="386" y="528"/>
                  </a:cubicBezTo>
                  <a:cubicBezTo>
                    <a:pt x="386" y="528"/>
                    <a:pt x="386" y="528"/>
                    <a:pt x="386" y="528"/>
                  </a:cubicBezTo>
                  <a:cubicBezTo>
                    <a:pt x="386" y="528"/>
                    <a:pt x="386" y="528"/>
                    <a:pt x="386" y="528"/>
                  </a:cubicBezTo>
                  <a:cubicBezTo>
                    <a:pt x="386" y="528"/>
                    <a:pt x="386" y="528"/>
                    <a:pt x="386" y="528"/>
                  </a:cubicBezTo>
                  <a:cubicBezTo>
                    <a:pt x="386" y="528"/>
                    <a:pt x="386" y="528"/>
                    <a:pt x="386" y="528"/>
                  </a:cubicBezTo>
                  <a:cubicBezTo>
                    <a:pt x="386" y="529"/>
                    <a:pt x="386" y="529"/>
                    <a:pt x="386" y="529"/>
                  </a:cubicBezTo>
                  <a:cubicBezTo>
                    <a:pt x="387" y="529"/>
                    <a:pt x="387" y="529"/>
                    <a:pt x="387" y="529"/>
                  </a:cubicBezTo>
                  <a:cubicBezTo>
                    <a:pt x="386" y="530"/>
                    <a:pt x="386" y="530"/>
                    <a:pt x="386" y="530"/>
                  </a:cubicBezTo>
                  <a:cubicBezTo>
                    <a:pt x="387" y="531"/>
                    <a:pt x="387" y="531"/>
                    <a:pt x="387" y="531"/>
                  </a:cubicBezTo>
                  <a:cubicBezTo>
                    <a:pt x="387" y="531"/>
                    <a:pt x="387" y="531"/>
                    <a:pt x="387" y="531"/>
                  </a:cubicBezTo>
                  <a:cubicBezTo>
                    <a:pt x="387" y="532"/>
                    <a:pt x="387" y="532"/>
                    <a:pt x="387" y="532"/>
                  </a:cubicBezTo>
                  <a:cubicBezTo>
                    <a:pt x="387" y="530"/>
                    <a:pt x="387" y="530"/>
                    <a:pt x="387" y="530"/>
                  </a:cubicBezTo>
                  <a:cubicBezTo>
                    <a:pt x="387" y="529"/>
                    <a:pt x="387" y="529"/>
                    <a:pt x="387" y="529"/>
                  </a:cubicBezTo>
                  <a:cubicBezTo>
                    <a:pt x="388" y="529"/>
                    <a:pt x="388" y="529"/>
                    <a:pt x="388" y="529"/>
                  </a:cubicBezTo>
                  <a:cubicBezTo>
                    <a:pt x="388" y="529"/>
                    <a:pt x="388" y="529"/>
                    <a:pt x="388" y="529"/>
                  </a:cubicBezTo>
                  <a:cubicBezTo>
                    <a:pt x="389" y="529"/>
                    <a:pt x="389" y="529"/>
                    <a:pt x="389" y="529"/>
                  </a:cubicBezTo>
                  <a:cubicBezTo>
                    <a:pt x="389" y="529"/>
                    <a:pt x="389" y="529"/>
                    <a:pt x="389" y="529"/>
                  </a:cubicBezTo>
                  <a:cubicBezTo>
                    <a:pt x="389" y="528"/>
                    <a:pt x="389" y="528"/>
                    <a:pt x="389" y="528"/>
                  </a:cubicBezTo>
                  <a:cubicBezTo>
                    <a:pt x="390" y="527"/>
                    <a:pt x="390" y="527"/>
                    <a:pt x="390" y="527"/>
                  </a:cubicBezTo>
                  <a:cubicBezTo>
                    <a:pt x="390" y="527"/>
                    <a:pt x="390" y="527"/>
                    <a:pt x="390" y="527"/>
                  </a:cubicBezTo>
                  <a:cubicBezTo>
                    <a:pt x="389" y="526"/>
                    <a:pt x="389" y="526"/>
                    <a:pt x="389" y="526"/>
                  </a:cubicBezTo>
                  <a:cubicBezTo>
                    <a:pt x="389" y="526"/>
                    <a:pt x="389" y="526"/>
                    <a:pt x="389" y="526"/>
                  </a:cubicBezTo>
                  <a:cubicBezTo>
                    <a:pt x="390" y="525"/>
                    <a:pt x="390" y="525"/>
                    <a:pt x="390" y="525"/>
                  </a:cubicBezTo>
                  <a:cubicBezTo>
                    <a:pt x="391" y="523"/>
                    <a:pt x="391" y="523"/>
                    <a:pt x="391" y="523"/>
                  </a:cubicBezTo>
                  <a:cubicBezTo>
                    <a:pt x="391" y="523"/>
                    <a:pt x="391" y="523"/>
                    <a:pt x="391" y="523"/>
                  </a:cubicBezTo>
                  <a:cubicBezTo>
                    <a:pt x="391" y="522"/>
                    <a:pt x="391" y="522"/>
                    <a:pt x="391" y="522"/>
                  </a:cubicBezTo>
                  <a:cubicBezTo>
                    <a:pt x="391" y="521"/>
                    <a:pt x="391" y="521"/>
                    <a:pt x="391" y="521"/>
                  </a:cubicBezTo>
                  <a:cubicBezTo>
                    <a:pt x="391" y="521"/>
                    <a:pt x="391" y="521"/>
                    <a:pt x="391" y="521"/>
                  </a:cubicBezTo>
                  <a:cubicBezTo>
                    <a:pt x="392" y="522"/>
                    <a:pt x="392" y="522"/>
                    <a:pt x="392" y="522"/>
                  </a:cubicBezTo>
                  <a:cubicBezTo>
                    <a:pt x="392" y="521"/>
                    <a:pt x="392" y="521"/>
                    <a:pt x="392" y="521"/>
                  </a:cubicBezTo>
                  <a:cubicBezTo>
                    <a:pt x="392" y="521"/>
                    <a:pt x="392" y="521"/>
                    <a:pt x="392" y="521"/>
                  </a:cubicBezTo>
                  <a:cubicBezTo>
                    <a:pt x="392" y="520"/>
                    <a:pt x="392" y="520"/>
                    <a:pt x="392" y="520"/>
                  </a:cubicBezTo>
                  <a:cubicBezTo>
                    <a:pt x="393" y="520"/>
                    <a:pt x="393" y="520"/>
                    <a:pt x="393" y="520"/>
                  </a:cubicBezTo>
                  <a:cubicBezTo>
                    <a:pt x="394" y="520"/>
                    <a:pt x="394" y="520"/>
                    <a:pt x="394" y="520"/>
                  </a:cubicBezTo>
                  <a:cubicBezTo>
                    <a:pt x="394" y="519"/>
                    <a:pt x="394" y="519"/>
                    <a:pt x="394" y="519"/>
                  </a:cubicBezTo>
                  <a:cubicBezTo>
                    <a:pt x="395" y="518"/>
                    <a:pt x="395" y="518"/>
                    <a:pt x="395" y="518"/>
                  </a:cubicBezTo>
                  <a:cubicBezTo>
                    <a:pt x="395" y="518"/>
                    <a:pt x="395" y="518"/>
                    <a:pt x="395" y="518"/>
                  </a:cubicBezTo>
                  <a:cubicBezTo>
                    <a:pt x="396" y="518"/>
                    <a:pt x="396" y="518"/>
                    <a:pt x="396" y="518"/>
                  </a:cubicBezTo>
                  <a:cubicBezTo>
                    <a:pt x="396" y="518"/>
                    <a:pt x="396" y="518"/>
                    <a:pt x="396" y="518"/>
                  </a:cubicBezTo>
                  <a:cubicBezTo>
                    <a:pt x="397" y="517"/>
                    <a:pt x="397" y="517"/>
                    <a:pt x="397" y="517"/>
                  </a:cubicBezTo>
                  <a:cubicBezTo>
                    <a:pt x="397" y="517"/>
                    <a:pt x="397" y="517"/>
                    <a:pt x="397" y="517"/>
                  </a:cubicBezTo>
                  <a:cubicBezTo>
                    <a:pt x="398" y="517"/>
                    <a:pt x="398" y="517"/>
                    <a:pt x="398" y="517"/>
                  </a:cubicBezTo>
                  <a:cubicBezTo>
                    <a:pt x="398" y="517"/>
                    <a:pt x="398" y="517"/>
                    <a:pt x="398" y="517"/>
                  </a:cubicBezTo>
                  <a:cubicBezTo>
                    <a:pt x="398" y="517"/>
                    <a:pt x="398" y="517"/>
                    <a:pt x="398" y="517"/>
                  </a:cubicBezTo>
                  <a:cubicBezTo>
                    <a:pt x="398" y="517"/>
                    <a:pt x="398" y="517"/>
                    <a:pt x="398" y="517"/>
                  </a:cubicBezTo>
                  <a:cubicBezTo>
                    <a:pt x="398" y="517"/>
                    <a:pt x="398" y="517"/>
                    <a:pt x="398" y="517"/>
                  </a:cubicBezTo>
                  <a:cubicBezTo>
                    <a:pt x="398" y="518"/>
                    <a:pt x="398" y="518"/>
                    <a:pt x="398" y="518"/>
                  </a:cubicBezTo>
                  <a:cubicBezTo>
                    <a:pt x="398" y="518"/>
                    <a:pt x="398" y="518"/>
                    <a:pt x="398" y="518"/>
                  </a:cubicBezTo>
                  <a:cubicBezTo>
                    <a:pt x="397" y="519"/>
                    <a:pt x="397" y="519"/>
                    <a:pt x="397" y="519"/>
                  </a:cubicBezTo>
                  <a:cubicBezTo>
                    <a:pt x="397" y="519"/>
                    <a:pt x="397" y="519"/>
                    <a:pt x="397" y="519"/>
                  </a:cubicBezTo>
                  <a:cubicBezTo>
                    <a:pt x="398" y="519"/>
                    <a:pt x="398" y="519"/>
                    <a:pt x="398" y="519"/>
                  </a:cubicBezTo>
                  <a:cubicBezTo>
                    <a:pt x="400" y="517"/>
                    <a:pt x="400" y="517"/>
                    <a:pt x="400" y="517"/>
                  </a:cubicBezTo>
                  <a:cubicBezTo>
                    <a:pt x="400" y="517"/>
                    <a:pt x="400" y="517"/>
                    <a:pt x="400" y="517"/>
                  </a:cubicBezTo>
                  <a:cubicBezTo>
                    <a:pt x="400" y="517"/>
                    <a:pt x="400" y="517"/>
                    <a:pt x="400" y="517"/>
                  </a:cubicBezTo>
                  <a:cubicBezTo>
                    <a:pt x="400" y="517"/>
                    <a:pt x="400" y="517"/>
                    <a:pt x="400" y="517"/>
                  </a:cubicBezTo>
                  <a:cubicBezTo>
                    <a:pt x="399" y="517"/>
                    <a:pt x="399" y="517"/>
                    <a:pt x="399" y="517"/>
                  </a:cubicBezTo>
                  <a:cubicBezTo>
                    <a:pt x="400" y="516"/>
                    <a:pt x="400" y="516"/>
                    <a:pt x="400" y="516"/>
                  </a:cubicBezTo>
                  <a:cubicBezTo>
                    <a:pt x="401" y="516"/>
                    <a:pt x="401" y="516"/>
                    <a:pt x="401" y="516"/>
                  </a:cubicBezTo>
                  <a:cubicBezTo>
                    <a:pt x="402" y="515"/>
                    <a:pt x="402" y="515"/>
                    <a:pt x="402" y="515"/>
                  </a:cubicBezTo>
                  <a:cubicBezTo>
                    <a:pt x="403" y="515"/>
                    <a:pt x="403" y="515"/>
                    <a:pt x="403" y="515"/>
                  </a:cubicBezTo>
                  <a:cubicBezTo>
                    <a:pt x="403" y="516"/>
                    <a:pt x="403" y="516"/>
                    <a:pt x="403" y="516"/>
                  </a:cubicBezTo>
                  <a:cubicBezTo>
                    <a:pt x="403" y="515"/>
                    <a:pt x="403" y="515"/>
                    <a:pt x="403" y="515"/>
                  </a:cubicBezTo>
                  <a:cubicBezTo>
                    <a:pt x="403" y="515"/>
                    <a:pt x="403" y="515"/>
                    <a:pt x="403" y="515"/>
                  </a:cubicBezTo>
                  <a:cubicBezTo>
                    <a:pt x="404" y="514"/>
                    <a:pt x="404" y="514"/>
                    <a:pt x="404" y="514"/>
                  </a:cubicBezTo>
                  <a:cubicBezTo>
                    <a:pt x="403" y="514"/>
                    <a:pt x="403" y="514"/>
                    <a:pt x="403" y="514"/>
                  </a:cubicBezTo>
                  <a:cubicBezTo>
                    <a:pt x="403" y="514"/>
                    <a:pt x="403" y="514"/>
                    <a:pt x="403" y="514"/>
                  </a:cubicBezTo>
                  <a:cubicBezTo>
                    <a:pt x="402" y="514"/>
                    <a:pt x="402" y="514"/>
                    <a:pt x="402" y="514"/>
                  </a:cubicBezTo>
                  <a:cubicBezTo>
                    <a:pt x="402" y="513"/>
                    <a:pt x="402" y="513"/>
                    <a:pt x="402" y="513"/>
                  </a:cubicBezTo>
                  <a:cubicBezTo>
                    <a:pt x="402" y="513"/>
                    <a:pt x="402" y="513"/>
                    <a:pt x="402" y="513"/>
                  </a:cubicBezTo>
                  <a:cubicBezTo>
                    <a:pt x="403" y="513"/>
                    <a:pt x="403" y="513"/>
                    <a:pt x="403" y="513"/>
                  </a:cubicBezTo>
                  <a:cubicBezTo>
                    <a:pt x="403" y="513"/>
                    <a:pt x="403" y="513"/>
                    <a:pt x="403" y="513"/>
                  </a:cubicBezTo>
                  <a:cubicBezTo>
                    <a:pt x="402" y="513"/>
                    <a:pt x="402" y="513"/>
                    <a:pt x="402" y="513"/>
                  </a:cubicBezTo>
                  <a:cubicBezTo>
                    <a:pt x="402" y="513"/>
                    <a:pt x="402" y="513"/>
                    <a:pt x="402" y="513"/>
                  </a:cubicBezTo>
                  <a:cubicBezTo>
                    <a:pt x="402" y="512"/>
                    <a:pt x="402" y="512"/>
                    <a:pt x="402" y="512"/>
                  </a:cubicBezTo>
                  <a:cubicBezTo>
                    <a:pt x="401" y="512"/>
                    <a:pt x="401" y="512"/>
                    <a:pt x="401" y="512"/>
                  </a:cubicBezTo>
                  <a:cubicBezTo>
                    <a:pt x="401" y="511"/>
                    <a:pt x="401" y="511"/>
                    <a:pt x="401" y="511"/>
                  </a:cubicBezTo>
                  <a:cubicBezTo>
                    <a:pt x="400" y="511"/>
                    <a:pt x="400" y="511"/>
                    <a:pt x="400" y="511"/>
                  </a:cubicBezTo>
                  <a:cubicBezTo>
                    <a:pt x="400" y="511"/>
                    <a:pt x="400" y="511"/>
                    <a:pt x="400" y="511"/>
                  </a:cubicBezTo>
                  <a:cubicBezTo>
                    <a:pt x="400" y="510"/>
                    <a:pt x="400" y="510"/>
                    <a:pt x="400" y="510"/>
                  </a:cubicBezTo>
                  <a:cubicBezTo>
                    <a:pt x="401" y="510"/>
                    <a:pt x="401" y="510"/>
                    <a:pt x="401" y="510"/>
                  </a:cubicBezTo>
                  <a:cubicBezTo>
                    <a:pt x="403" y="512"/>
                    <a:pt x="403" y="512"/>
                    <a:pt x="403" y="512"/>
                  </a:cubicBezTo>
                  <a:cubicBezTo>
                    <a:pt x="403" y="511"/>
                    <a:pt x="403" y="511"/>
                    <a:pt x="403" y="511"/>
                  </a:cubicBezTo>
                  <a:cubicBezTo>
                    <a:pt x="402" y="510"/>
                    <a:pt x="402" y="510"/>
                    <a:pt x="402" y="510"/>
                  </a:cubicBezTo>
                  <a:cubicBezTo>
                    <a:pt x="401" y="510"/>
                    <a:pt x="401" y="510"/>
                    <a:pt x="401" y="510"/>
                  </a:cubicBezTo>
                  <a:cubicBezTo>
                    <a:pt x="401" y="510"/>
                    <a:pt x="401" y="510"/>
                    <a:pt x="401" y="510"/>
                  </a:cubicBezTo>
                  <a:cubicBezTo>
                    <a:pt x="399" y="509"/>
                    <a:pt x="399" y="509"/>
                    <a:pt x="399" y="509"/>
                  </a:cubicBezTo>
                  <a:cubicBezTo>
                    <a:pt x="399" y="508"/>
                    <a:pt x="399" y="508"/>
                    <a:pt x="399" y="508"/>
                  </a:cubicBezTo>
                  <a:cubicBezTo>
                    <a:pt x="399" y="508"/>
                    <a:pt x="399" y="508"/>
                    <a:pt x="399" y="508"/>
                  </a:cubicBezTo>
                  <a:cubicBezTo>
                    <a:pt x="400" y="508"/>
                    <a:pt x="400" y="508"/>
                    <a:pt x="400" y="508"/>
                  </a:cubicBezTo>
                  <a:cubicBezTo>
                    <a:pt x="400" y="507"/>
                    <a:pt x="400" y="507"/>
                    <a:pt x="400" y="507"/>
                  </a:cubicBezTo>
                  <a:cubicBezTo>
                    <a:pt x="400" y="507"/>
                    <a:pt x="400" y="507"/>
                    <a:pt x="400" y="507"/>
                  </a:cubicBezTo>
                  <a:cubicBezTo>
                    <a:pt x="399" y="506"/>
                    <a:pt x="399" y="506"/>
                    <a:pt x="399" y="506"/>
                  </a:cubicBezTo>
                  <a:cubicBezTo>
                    <a:pt x="399" y="506"/>
                    <a:pt x="399" y="506"/>
                    <a:pt x="399" y="506"/>
                  </a:cubicBezTo>
                  <a:cubicBezTo>
                    <a:pt x="399" y="506"/>
                    <a:pt x="399" y="506"/>
                    <a:pt x="399" y="506"/>
                  </a:cubicBezTo>
                  <a:cubicBezTo>
                    <a:pt x="399" y="505"/>
                    <a:pt x="399" y="505"/>
                    <a:pt x="399" y="505"/>
                  </a:cubicBezTo>
                  <a:cubicBezTo>
                    <a:pt x="400" y="505"/>
                    <a:pt x="400" y="505"/>
                    <a:pt x="400" y="505"/>
                  </a:cubicBezTo>
                  <a:cubicBezTo>
                    <a:pt x="400" y="504"/>
                    <a:pt x="400" y="504"/>
                    <a:pt x="400" y="504"/>
                  </a:cubicBezTo>
                  <a:cubicBezTo>
                    <a:pt x="401" y="504"/>
                    <a:pt x="401" y="504"/>
                    <a:pt x="401" y="504"/>
                  </a:cubicBezTo>
                  <a:cubicBezTo>
                    <a:pt x="401" y="505"/>
                    <a:pt x="401" y="505"/>
                    <a:pt x="401" y="505"/>
                  </a:cubicBezTo>
                  <a:cubicBezTo>
                    <a:pt x="401" y="505"/>
                    <a:pt x="401" y="505"/>
                    <a:pt x="401" y="505"/>
                  </a:cubicBezTo>
                  <a:cubicBezTo>
                    <a:pt x="401" y="506"/>
                    <a:pt x="401" y="506"/>
                    <a:pt x="401" y="506"/>
                  </a:cubicBezTo>
                  <a:cubicBezTo>
                    <a:pt x="401" y="506"/>
                    <a:pt x="401" y="506"/>
                    <a:pt x="401" y="506"/>
                  </a:cubicBezTo>
                  <a:cubicBezTo>
                    <a:pt x="404" y="506"/>
                    <a:pt x="404" y="506"/>
                    <a:pt x="404" y="506"/>
                  </a:cubicBezTo>
                  <a:cubicBezTo>
                    <a:pt x="404" y="506"/>
                    <a:pt x="404" y="506"/>
                    <a:pt x="404" y="506"/>
                  </a:cubicBezTo>
                  <a:cubicBezTo>
                    <a:pt x="405" y="506"/>
                    <a:pt x="405" y="506"/>
                    <a:pt x="405" y="506"/>
                  </a:cubicBezTo>
                  <a:cubicBezTo>
                    <a:pt x="406" y="506"/>
                    <a:pt x="406" y="506"/>
                    <a:pt x="406" y="506"/>
                  </a:cubicBezTo>
                  <a:cubicBezTo>
                    <a:pt x="406" y="506"/>
                    <a:pt x="406" y="506"/>
                    <a:pt x="406" y="506"/>
                  </a:cubicBezTo>
                  <a:cubicBezTo>
                    <a:pt x="407" y="506"/>
                    <a:pt x="407" y="506"/>
                    <a:pt x="407" y="506"/>
                  </a:cubicBezTo>
                  <a:cubicBezTo>
                    <a:pt x="407" y="506"/>
                    <a:pt x="407" y="506"/>
                    <a:pt x="407" y="506"/>
                  </a:cubicBezTo>
                  <a:cubicBezTo>
                    <a:pt x="407" y="506"/>
                    <a:pt x="407" y="506"/>
                    <a:pt x="407" y="506"/>
                  </a:cubicBezTo>
                  <a:cubicBezTo>
                    <a:pt x="409" y="506"/>
                    <a:pt x="409" y="506"/>
                    <a:pt x="409" y="506"/>
                  </a:cubicBezTo>
                  <a:cubicBezTo>
                    <a:pt x="410" y="505"/>
                    <a:pt x="410" y="505"/>
                    <a:pt x="410" y="505"/>
                  </a:cubicBezTo>
                  <a:cubicBezTo>
                    <a:pt x="410" y="505"/>
                    <a:pt x="410" y="505"/>
                    <a:pt x="410" y="505"/>
                  </a:cubicBezTo>
                  <a:cubicBezTo>
                    <a:pt x="409" y="504"/>
                    <a:pt x="409" y="504"/>
                    <a:pt x="409" y="504"/>
                  </a:cubicBezTo>
                  <a:cubicBezTo>
                    <a:pt x="408" y="503"/>
                    <a:pt x="408" y="503"/>
                    <a:pt x="408" y="503"/>
                  </a:cubicBezTo>
                  <a:cubicBezTo>
                    <a:pt x="407" y="503"/>
                    <a:pt x="407" y="503"/>
                    <a:pt x="407" y="503"/>
                  </a:cubicBezTo>
                  <a:cubicBezTo>
                    <a:pt x="407" y="502"/>
                    <a:pt x="407" y="502"/>
                    <a:pt x="407" y="502"/>
                  </a:cubicBezTo>
                  <a:cubicBezTo>
                    <a:pt x="407" y="502"/>
                    <a:pt x="407" y="502"/>
                    <a:pt x="407" y="502"/>
                  </a:cubicBezTo>
                  <a:cubicBezTo>
                    <a:pt x="408" y="503"/>
                    <a:pt x="408" y="503"/>
                    <a:pt x="408" y="503"/>
                  </a:cubicBezTo>
                  <a:cubicBezTo>
                    <a:pt x="408" y="503"/>
                    <a:pt x="408" y="503"/>
                    <a:pt x="408" y="503"/>
                  </a:cubicBezTo>
                  <a:cubicBezTo>
                    <a:pt x="409" y="502"/>
                    <a:pt x="409" y="502"/>
                    <a:pt x="409" y="502"/>
                  </a:cubicBezTo>
                  <a:cubicBezTo>
                    <a:pt x="407" y="501"/>
                    <a:pt x="407" y="501"/>
                    <a:pt x="407" y="501"/>
                  </a:cubicBezTo>
                  <a:cubicBezTo>
                    <a:pt x="407" y="501"/>
                    <a:pt x="407" y="501"/>
                    <a:pt x="407" y="501"/>
                  </a:cubicBezTo>
                  <a:cubicBezTo>
                    <a:pt x="407" y="500"/>
                    <a:pt x="407" y="500"/>
                    <a:pt x="407" y="500"/>
                  </a:cubicBezTo>
                  <a:cubicBezTo>
                    <a:pt x="407" y="500"/>
                    <a:pt x="407" y="500"/>
                    <a:pt x="407" y="500"/>
                  </a:cubicBezTo>
                  <a:cubicBezTo>
                    <a:pt x="406" y="499"/>
                    <a:pt x="406" y="499"/>
                    <a:pt x="406" y="499"/>
                  </a:cubicBezTo>
                  <a:cubicBezTo>
                    <a:pt x="405" y="498"/>
                    <a:pt x="405" y="498"/>
                    <a:pt x="405" y="498"/>
                  </a:cubicBezTo>
                  <a:cubicBezTo>
                    <a:pt x="403" y="498"/>
                    <a:pt x="403" y="498"/>
                    <a:pt x="403" y="498"/>
                  </a:cubicBezTo>
                  <a:cubicBezTo>
                    <a:pt x="404" y="499"/>
                    <a:pt x="404" y="499"/>
                    <a:pt x="404" y="499"/>
                  </a:cubicBezTo>
                  <a:cubicBezTo>
                    <a:pt x="404" y="500"/>
                    <a:pt x="404" y="500"/>
                    <a:pt x="404" y="500"/>
                  </a:cubicBezTo>
                  <a:cubicBezTo>
                    <a:pt x="405" y="501"/>
                    <a:pt x="405" y="501"/>
                    <a:pt x="405" y="501"/>
                  </a:cubicBezTo>
                  <a:cubicBezTo>
                    <a:pt x="404" y="501"/>
                    <a:pt x="404" y="501"/>
                    <a:pt x="404" y="501"/>
                  </a:cubicBezTo>
                  <a:cubicBezTo>
                    <a:pt x="404" y="501"/>
                    <a:pt x="404" y="501"/>
                    <a:pt x="404" y="501"/>
                  </a:cubicBezTo>
                  <a:cubicBezTo>
                    <a:pt x="405" y="504"/>
                    <a:pt x="405" y="504"/>
                    <a:pt x="405" y="504"/>
                  </a:cubicBezTo>
                  <a:cubicBezTo>
                    <a:pt x="405" y="504"/>
                    <a:pt x="405" y="504"/>
                    <a:pt x="405" y="504"/>
                  </a:cubicBezTo>
                  <a:cubicBezTo>
                    <a:pt x="404" y="504"/>
                    <a:pt x="404" y="504"/>
                    <a:pt x="404" y="504"/>
                  </a:cubicBezTo>
                  <a:cubicBezTo>
                    <a:pt x="403" y="504"/>
                    <a:pt x="403" y="504"/>
                    <a:pt x="403" y="504"/>
                  </a:cubicBezTo>
                  <a:cubicBezTo>
                    <a:pt x="403" y="504"/>
                    <a:pt x="403" y="504"/>
                    <a:pt x="403" y="504"/>
                  </a:cubicBezTo>
                  <a:cubicBezTo>
                    <a:pt x="404" y="503"/>
                    <a:pt x="404" y="503"/>
                    <a:pt x="404" y="503"/>
                  </a:cubicBezTo>
                  <a:cubicBezTo>
                    <a:pt x="404" y="503"/>
                    <a:pt x="404" y="503"/>
                    <a:pt x="404" y="503"/>
                  </a:cubicBezTo>
                  <a:cubicBezTo>
                    <a:pt x="402" y="502"/>
                    <a:pt x="402" y="502"/>
                    <a:pt x="402" y="502"/>
                  </a:cubicBezTo>
                  <a:cubicBezTo>
                    <a:pt x="400" y="502"/>
                    <a:pt x="400" y="502"/>
                    <a:pt x="400" y="502"/>
                  </a:cubicBezTo>
                  <a:cubicBezTo>
                    <a:pt x="398" y="503"/>
                    <a:pt x="398" y="503"/>
                    <a:pt x="398" y="503"/>
                  </a:cubicBezTo>
                  <a:cubicBezTo>
                    <a:pt x="397" y="505"/>
                    <a:pt x="397" y="505"/>
                    <a:pt x="397" y="505"/>
                  </a:cubicBezTo>
                  <a:cubicBezTo>
                    <a:pt x="397" y="505"/>
                    <a:pt x="397" y="505"/>
                    <a:pt x="397" y="505"/>
                  </a:cubicBezTo>
                  <a:cubicBezTo>
                    <a:pt x="397" y="504"/>
                    <a:pt x="397" y="504"/>
                    <a:pt x="397" y="504"/>
                  </a:cubicBezTo>
                  <a:cubicBezTo>
                    <a:pt x="396" y="504"/>
                    <a:pt x="396" y="504"/>
                    <a:pt x="396" y="504"/>
                  </a:cubicBezTo>
                  <a:cubicBezTo>
                    <a:pt x="396" y="505"/>
                    <a:pt x="396" y="505"/>
                    <a:pt x="396" y="505"/>
                  </a:cubicBezTo>
                  <a:cubicBezTo>
                    <a:pt x="393" y="505"/>
                    <a:pt x="393" y="505"/>
                    <a:pt x="393" y="505"/>
                  </a:cubicBezTo>
                  <a:cubicBezTo>
                    <a:pt x="393" y="504"/>
                    <a:pt x="393" y="504"/>
                    <a:pt x="393" y="504"/>
                  </a:cubicBezTo>
                  <a:cubicBezTo>
                    <a:pt x="394" y="504"/>
                    <a:pt x="394" y="504"/>
                    <a:pt x="394" y="504"/>
                  </a:cubicBezTo>
                  <a:cubicBezTo>
                    <a:pt x="395" y="504"/>
                    <a:pt x="395" y="504"/>
                    <a:pt x="395" y="504"/>
                  </a:cubicBezTo>
                  <a:cubicBezTo>
                    <a:pt x="391" y="500"/>
                    <a:pt x="391" y="500"/>
                    <a:pt x="391" y="500"/>
                  </a:cubicBezTo>
                  <a:cubicBezTo>
                    <a:pt x="391" y="500"/>
                    <a:pt x="391" y="500"/>
                    <a:pt x="391" y="500"/>
                  </a:cubicBezTo>
                  <a:cubicBezTo>
                    <a:pt x="392" y="501"/>
                    <a:pt x="392" y="501"/>
                    <a:pt x="392" y="501"/>
                  </a:cubicBezTo>
                  <a:cubicBezTo>
                    <a:pt x="392" y="501"/>
                    <a:pt x="392" y="501"/>
                    <a:pt x="392" y="501"/>
                  </a:cubicBezTo>
                  <a:cubicBezTo>
                    <a:pt x="392" y="501"/>
                    <a:pt x="392" y="501"/>
                    <a:pt x="392" y="501"/>
                  </a:cubicBezTo>
                  <a:cubicBezTo>
                    <a:pt x="393" y="500"/>
                    <a:pt x="393" y="500"/>
                    <a:pt x="393" y="500"/>
                  </a:cubicBezTo>
                  <a:cubicBezTo>
                    <a:pt x="393" y="500"/>
                    <a:pt x="393" y="500"/>
                    <a:pt x="393" y="500"/>
                  </a:cubicBezTo>
                  <a:cubicBezTo>
                    <a:pt x="393" y="499"/>
                    <a:pt x="393" y="499"/>
                    <a:pt x="393" y="499"/>
                  </a:cubicBezTo>
                  <a:cubicBezTo>
                    <a:pt x="393" y="498"/>
                    <a:pt x="393" y="498"/>
                    <a:pt x="393" y="498"/>
                  </a:cubicBezTo>
                  <a:cubicBezTo>
                    <a:pt x="393" y="498"/>
                    <a:pt x="393" y="498"/>
                    <a:pt x="393" y="498"/>
                  </a:cubicBezTo>
                  <a:cubicBezTo>
                    <a:pt x="394" y="498"/>
                    <a:pt x="394" y="498"/>
                    <a:pt x="394" y="498"/>
                  </a:cubicBezTo>
                  <a:cubicBezTo>
                    <a:pt x="394" y="497"/>
                    <a:pt x="394" y="497"/>
                    <a:pt x="394" y="497"/>
                  </a:cubicBezTo>
                  <a:cubicBezTo>
                    <a:pt x="394" y="497"/>
                    <a:pt x="394" y="497"/>
                    <a:pt x="394" y="497"/>
                  </a:cubicBezTo>
                  <a:cubicBezTo>
                    <a:pt x="394" y="497"/>
                    <a:pt x="394" y="497"/>
                    <a:pt x="394" y="497"/>
                  </a:cubicBezTo>
                  <a:cubicBezTo>
                    <a:pt x="395" y="498"/>
                    <a:pt x="395" y="498"/>
                    <a:pt x="395" y="498"/>
                  </a:cubicBezTo>
                  <a:cubicBezTo>
                    <a:pt x="395" y="498"/>
                    <a:pt x="395" y="498"/>
                    <a:pt x="395" y="498"/>
                  </a:cubicBezTo>
                  <a:cubicBezTo>
                    <a:pt x="395" y="498"/>
                    <a:pt x="395" y="498"/>
                    <a:pt x="395" y="498"/>
                  </a:cubicBezTo>
                  <a:cubicBezTo>
                    <a:pt x="396" y="497"/>
                    <a:pt x="396" y="497"/>
                    <a:pt x="396" y="497"/>
                  </a:cubicBezTo>
                  <a:cubicBezTo>
                    <a:pt x="396" y="497"/>
                    <a:pt x="396" y="497"/>
                    <a:pt x="396" y="497"/>
                  </a:cubicBezTo>
                  <a:cubicBezTo>
                    <a:pt x="397" y="498"/>
                    <a:pt x="397" y="498"/>
                    <a:pt x="397" y="498"/>
                  </a:cubicBezTo>
                  <a:cubicBezTo>
                    <a:pt x="397" y="499"/>
                    <a:pt x="397" y="499"/>
                    <a:pt x="397" y="499"/>
                  </a:cubicBezTo>
                  <a:cubicBezTo>
                    <a:pt x="397" y="499"/>
                    <a:pt x="397" y="499"/>
                    <a:pt x="397" y="499"/>
                  </a:cubicBezTo>
                  <a:cubicBezTo>
                    <a:pt x="396" y="499"/>
                    <a:pt x="396" y="499"/>
                    <a:pt x="396" y="499"/>
                  </a:cubicBezTo>
                  <a:cubicBezTo>
                    <a:pt x="396" y="499"/>
                    <a:pt x="396" y="499"/>
                    <a:pt x="396" y="499"/>
                  </a:cubicBezTo>
                  <a:cubicBezTo>
                    <a:pt x="396" y="499"/>
                    <a:pt x="396" y="499"/>
                    <a:pt x="396" y="499"/>
                  </a:cubicBezTo>
                  <a:cubicBezTo>
                    <a:pt x="395" y="499"/>
                    <a:pt x="395" y="499"/>
                    <a:pt x="395" y="499"/>
                  </a:cubicBezTo>
                  <a:cubicBezTo>
                    <a:pt x="396" y="500"/>
                    <a:pt x="396" y="500"/>
                    <a:pt x="396" y="500"/>
                  </a:cubicBezTo>
                  <a:cubicBezTo>
                    <a:pt x="398" y="501"/>
                    <a:pt x="398" y="501"/>
                    <a:pt x="398" y="501"/>
                  </a:cubicBezTo>
                  <a:cubicBezTo>
                    <a:pt x="400" y="501"/>
                    <a:pt x="400" y="501"/>
                    <a:pt x="400" y="501"/>
                  </a:cubicBezTo>
                  <a:cubicBezTo>
                    <a:pt x="401" y="500"/>
                    <a:pt x="401" y="500"/>
                    <a:pt x="401" y="500"/>
                  </a:cubicBezTo>
                  <a:cubicBezTo>
                    <a:pt x="400" y="500"/>
                    <a:pt x="400" y="500"/>
                    <a:pt x="400" y="500"/>
                  </a:cubicBezTo>
                  <a:cubicBezTo>
                    <a:pt x="399" y="500"/>
                    <a:pt x="399" y="500"/>
                    <a:pt x="399" y="500"/>
                  </a:cubicBezTo>
                  <a:cubicBezTo>
                    <a:pt x="399" y="499"/>
                    <a:pt x="399" y="499"/>
                    <a:pt x="399" y="499"/>
                  </a:cubicBezTo>
                  <a:cubicBezTo>
                    <a:pt x="399" y="498"/>
                    <a:pt x="399" y="498"/>
                    <a:pt x="399" y="498"/>
                  </a:cubicBezTo>
                  <a:cubicBezTo>
                    <a:pt x="398" y="498"/>
                    <a:pt x="398" y="498"/>
                    <a:pt x="398" y="498"/>
                  </a:cubicBezTo>
                  <a:cubicBezTo>
                    <a:pt x="398" y="498"/>
                    <a:pt x="398" y="498"/>
                    <a:pt x="398" y="498"/>
                  </a:cubicBezTo>
                  <a:cubicBezTo>
                    <a:pt x="398" y="498"/>
                    <a:pt x="398" y="498"/>
                    <a:pt x="398" y="498"/>
                  </a:cubicBezTo>
                  <a:cubicBezTo>
                    <a:pt x="399" y="498"/>
                    <a:pt x="399" y="498"/>
                    <a:pt x="399" y="498"/>
                  </a:cubicBezTo>
                  <a:cubicBezTo>
                    <a:pt x="400" y="497"/>
                    <a:pt x="400" y="497"/>
                    <a:pt x="400" y="497"/>
                  </a:cubicBezTo>
                  <a:cubicBezTo>
                    <a:pt x="398" y="496"/>
                    <a:pt x="398" y="496"/>
                    <a:pt x="398" y="496"/>
                  </a:cubicBezTo>
                  <a:cubicBezTo>
                    <a:pt x="398" y="496"/>
                    <a:pt x="398" y="496"/>
                    <a:pt x="398" y="496"/>
                  </a:cubicBezTo>
                  <a:cubicBezTo>
                    <a:pt x="401" y="496"/>
                    <a:pt x="401" y="496"/>
                    <a:pt x="401" y="496"/>
                  </a:cubicBezTo>
                  <a:cubicBezTo>
                    <a:pt x="402" y="496"/>
                    <a:pt x="402" y="496"/>
                    <a:pt x="402" y="496"/>
                  </a:cubicBezTo>
                  <a:cubicBezTo>
                    <a:pt x="403" y="495"/>
                    <a:pt x="403" y="495"/>
                    <a:pt x="403" y="495"/>
                  </a:cubicBezTo>
                  <a:cubicBezTo>
                    <a:pt x="404" y="493"/>
                    <a:pt x="404" y="493"/>
                    <a:pt x="404" y="493"/>
                  </a:cubicBezTo>
                  <a:cubicBezTo>
                    <a:pt x="405" y="493"/>
                    <a:pt x="405" y="493"/>
                    <a:pt x="405" y="493"/>
                  </a:cubicBezTo>
                  <a:cubicBezTo>
                    <a:pt x="407" y="492"/>
                    <a:pt x="407" y="492"/>
                    <a:pt x="407" y="492"/>
                  </a:cubicBezTo>
                  <a:cubicBezTo>
                    <a:pt x="408" y="490"/>
                    <a:pt x="408" y="490"/>
                    <a:pt x="408" y="490"/>
                  </a:cubicBezTo>
                  <a:cubicBezTo>
                    <a:pt x="410" y="490"/>
                    <a:pt x="410" y="490"/>
                    <a:pt x="410" y="490"/>
                  </a:cubicBezTo>
                  <a:cubicBezTo>
                    <a:pt x="410" y="489"/>
                    <a:pt x="410" y="489"/>
                    <a:pt x="410" y="489"/>
                  </a:cubicBezTo>
                  <a:cubicBezTo>
                    <a:pt x="411" y="489"/>
                    <a:pt x="411" y="489"/>
                    <a:pt x="411" y="489"/>
                  </a:cubicBezTo>
                  <a:cubicBezTo>
                    <a:pt x="411" y="488"/>
                    <a:pt x="411" y="488"/>
                    <a:pt x="411" y="488"/>
                  </a:cubicBezTo>
                  <a:cubicBezTo>
                    <a:pt x="411" y="488"/>
                    <a:pt x="411" y="488"/>
                    <a:pt x="411" y="488"/>
                  </a:cubicBezTo>
                  <a:cubicBezTo>
                    <a:pt x="410" y="487"/>
                    <a:pt x="410" y="487"/>
                    <a:pt x="410" y="487"/>
                  </a:cubicBezTo>
                  <a:cubicBezTo>
                    <a:pt x="411" y="487"/>
                    <a:pt x="411" y="487"/>
                    <a:pt x="411" y="487"/>
                  </a:cubicBezTo>
                  <a:cubicBezTo>
                    <a:pt x="411" y="487"/>
                    <a:pt x="411" y="487"/>
                    <a:pt x="411" y="487"/>
                  </a:cubicBezTo>
                  <a:cubicBezTo>
                    <a:pt x="411" y="487"/>
                    <a:pt x="411" y="487"/>
                    <a:pt x="411" y="487"/>
                  </a:cubicBezTo>
                  <a:cubicBezTo>
                    <a:pt x="411" y="488"/>
                    <a:pt x="411" y="488"/>
                    <a:pt x="411" y="488"/>
                  </a:cubicBezTo>
                  <a:cubicBezTo>
                    <a:pt x="412" y="487"/>
                    <a:pt x="412" y="487"/>
                    <a:pt x="412" y="487"/>
                  </a:cubicBezTo>
                  <a:cubicBezTo>
                    <a:pt x="412" y="487"/>
                    <a:pt x="412" y="487"/>
                    <a:pt x="412" y="487"/>
                  </a:cubicBezTo>
                  <a:cubicBezTo>
                    <a:pt x="413" y="486"/>
                    <a:pt x="413" y="486"/>
                    <a:pt x="413" y="486"/>
                  </a:cubicBezTo>
                  <a:cubicBezTo>
                    <a:pt x="413" y="486"/>
                    <a:pt x="413" y="486"/>
                    <a:pt x="413" y="486"/>
                  </a:cubicBezTo>
                  <a:cubicBezTo>
                    <a:pt x="411" y="486"/>
                    <a:pt x="411" y="486"/>
                    <a:pt x="411" y="486"/>
                  </a:cubicBezTo>
                  <a:cubicBezTo>
                    <a:pt x="411" y="486"/>
                    <a:pt x="411" y="486"/>
                    <a:pt x="411" y="486"/>
                  </a:cubicBezTo>
                  <a:cubicBezTo>
                    <a:pt x="412" y="485"/>
                    <a:pt x="412" y="485"/>
                    <a:pt x="412" y="485"/>
                  </a:cubicBezTo>
                  <a:cubicBezTo>
                    <a:pt x="412" y="485"/>
                    <a:pt x="412" y="485"/>
                    <a:pt x="412" y="485"/>
                  </a:cubicBezTo>
                  <a:cubicBezTo>
                    <a:pt x="412" y="484"/>
                    <a:pt x="412" y="484"/>
                    <a:pt x="412" y="484"/>
                  </a:cubicBezTo>
                  <a:cubicBezTo>
                    <a:pt x="412" y="484"/>
                    <a:pt x="412" y="484"/>
                    <a:pt x="412" y="484"/>
                  </a:cubicBezTo>
                  <a:cubicBezTo>
                    <a:pt x="413" y="484"/>
                    <a:pt x="413" y="484"/>
                    <a:pt x="413" y="484"/>
                  </a:cubicBezTo>
                  <a:cubicBezTo>
                    <a:pt x="413" y="483"/>
                    <a:pt x="413" y="483"/>
                    <a:pt x="413" y="483"/>
                  </a:cubicBezTo>
                  <a:cubicBezTo>
                    <a:pt x="414" y="483"/>
                    <a:pt x="414" y="483"/>
                    <a:pt x="414" y="483"/>
                  </a:cubicBezTo>
                  <a:cubicBezTo>
                    <a:pt x="416" y="482"/>
                    <a:pt x="416" y="482"/>
                    <a:pt x="416" y="482"/>
                  </a:cubicBezTo>
                  <a:cubicBezTo>
                    <a:pt x="417" y="482"/>
                    <a:pt x="417" y="482"/>
                    <a:pt x="417" y="482"/>
                  </a:cubicBezTo>
                  <a:cubicBezTo>
                    <a:pt x="417" y="481"/>
                    <a:pt x="417" y="481"/>
                    <a:pt x="417" y="481"/>
                  </a:cubicBezTo>
                  <a:cubicBezTo>
                    <a:pt x="418" y="480"/>
                    <a:pt x="418" y="480"/>
                    <a:pt x="418" y="480"/>
                  </a:cubicBezTo>
                  <a:cubicBezTo>
                    <a:pt x="418" y="480"/>
                    <a:pt x="418" y="480"/>
                    <a:pt x="418" y="480"/>
                  </a:cubicBezTo>
                  <a:cubicBezTo>
                    <a:pt x="418" y="481"/>
                    <a:pt x="418" y="481"/>
                    <a:pt x="418" y="481"/>
                  </a:cubicBezTo>
                  <a:cubicBezTo>
                    <a:pt x="419" y="481"/>
                    <a:pt x="419" y="481"/>
                    <a:pt x="419" y="481"/>
                  </a:cubicBezTo>
                  <a:cubicBezTo>
                    <a:pt x="419" y="482"/>
                    <a:pt x="419" y="482"/>
                    <a:pt x="419" y="482"/>
                  </a:cubicBezTo>
                  <a:cubicBezTo>
                    <a:pt x="419" y="482"/>
                    <a:pt x="419" y="482"/>
                    <a:pt x="419" y="482"/>
                  </a:cubicBezTo>
                  <a:cubicBezTo>
                    <a:pt x="421" y="481"/>
                    <a:pt x="421" y="481"/>
                    <a:pt x="421" y="481"/>
                  </a:cubicBezTo>
                  <a:cubicBezTo>
                    <a:pt x="422" y="481"/>
                    <a:pt x="422" y="481"/>
                    <a:pt x="422" y="481"/>
                  </a:cubicBezTo>
                  <a:cubicBezTo>
                    <a:pt x="422" y="480"/>
                    <a:pt x="422" y="480"/>
                    <a:pt x="422" y="480"/>
                  </a:cubicBezTo>
                  <a:cubicBezTo>
                    <a:pt x="423" y="479"/>
                    <a:pt x="423" y="479"/>
                    <a:pt x="423" y="479"/>
                  </a:cubicBezTo>
                  <a:cubicBezTo>
                    <a:pt x="422" y="478"/>
                    <a:pt x="422" y="478"/>
                    <a:pt x="422" y="478"/>
                  </a:cubicBezTo>
                  <a:cubicBezTo>
                    <a:pt x="414" y="478"/>
                    <a:pt x="414" y="478"/>
                    <a:pt x="414" y="478"/>
                  </a:cubicBezTo>
                  <a:cubicBezTo>
                    <a:pt x="413" y="479"/>
                    <a:pt x="413" y="479"/>
                    <a:pt x="413" y="479"/>
                  </a:cubicBezTo>
                  <a:cubicBezTo>
                    <a:pt x="412" y="479"/>
                    <a:pt x="412" y="479"/>
                    <a:pt x="412" y="479"/>
                  </a:cubicBezTo>
                  <a:cubicBezTo>
                    <a:pt x="413" y="478"/>
                    <a:pt x="413" y="478"/>
                    <a:pt x="413" y="478"/>
                  </a:cubicBezTo>
                  <a:cubicBezTo>
                    <a:pt x="413" y="477"/>
                    <a:pt x="413" y="477"/>
                    <a:pt x="413" y="477"/>
                  </a:cubicBezTo>
                  <a:cubicBezTo>
                    <a:pt x="414" y="477"/>
                    <a:pt x="414" y="477"/>
                    <a:pt x="414" y="477"/>
                  </a:cubicBezTo>
                  <a:cubicBezTo>
                    <a:pt x="415" y="477"/>
                    <a:pt x="415" y="477"/>
                    <a:pt x="415" y="477"/>
                  </a:cubicBezTo>
                  <a:cubicBezTo>
                    <a:pt x="416" y="477"/>
                    <a:pt x="416" y="477"/>
                    <a:pt x="416" y="477"/>
                  </a:cubicBezTo>
                  <a:cubicBezTo>
                    <a:pt x="416" y="477"/>
                    <a:pt x="416" y="477"/>
                    <a:pt x="416" y="477"/>
                  </a:cubicBezTo>
                  <a:cubicBezTo>
                    <a:pt x="418" y="474"/>
                    <a:pt x="418" y="474"/>
                    <a:pt x="418" y="474"/>
                  </a:cubicBezTo>
                  <a:cubicBezTo>
                    <a:pt x="418" y="473"/>
                    <a:pt x="418" y="473"/>
                    <a:pt x="418" y="473"/>
                  </a:cubicBezTo>
                  <a:cubicBezTo>
                    <a:pt x="418" y="472"/>
                    <a:pt x="418" y="472"/>
                    <a:pt x="418" y="472"/>
                  </a:cubicBezTo>
                  <a:cubicBezTo>
                    <a:pt x="417" y="470"/>
                    <a:pt x="417" y="470"/>
                    <a:pt x="417" y="470"/>
                  </a:cubicBezTo>
                  <a:cubicBezTo>
                    <a:pt x="417" y="469"/>
                    <a:pt x="417" y="469"/>
                    <a:pt x="417" y="469"/>
                  </a:cubicBezTo>
                  <a:cubicBezTo>
                    <a:pt x="418" y="470"/>
                    <a:pt x="418" y="470"/>
                    <a:pt x="418" y="470"/>
                  </a:cubicBezTo>
                  <a:cubicBezTo>
                    <a:pt x="419" y="471"/>
                    <a:pt x="419" y="471"/>
                    <a:pt x="419" y="471"/>
                  </a:cubicBezTo>
                  <a:cubicBezTo>
                    <a:pt x="421" y="475"/>
                    <a:pt x="421" y="475"/>
                    <a:pt x="421" y="475"/>
                  </a:cubicBezTo>
                  <a:cubicBezTo>
                    <a:pt x="421" y="475"/>
                    <a:pt x="421" y="475"/>
                    <a:pt x="421" y="475"/>
                  </a:cubicBezTo>
                  <a:cubicBezTo>
                    <a:pt x="422" y="475"/>
                    <a:pt x="422" y="475"/>
                    <a:pt x="422" y="475"/>
                  </a:cubicBezTo>
                  <a:cubicBezTo>
                    <a:pt x="422" y="474"/>
                    <a:pt x="422" y="474"/>
                    <a:pt x="422" y="474"/>
                  </a:cubicBezTo>
                  <a:cubicBezTo>
                    <a:pt x="422" y="472"/>
                    <a:pt x="422" y="472"/>
                    <a:pt x="422" y="472"/>
                  </a:cubicBezTo>
                  <a:cubicBezTo>
                    <a:pt x="422" y="471"/>
                    <a:pt x="422" y="471"/>
                    <a:pt x="422" y="471"/>
                  </a:cubicBezTo>
                  <a:cubicBezTo>
                    <a:pt x="422" y="471"/>
                    <a:pt x="422" y="471"/>
                    <a:pt x="422" y="471"/>
                  </a:cubicBezTo>
                  <a:cubicBezTo>
                    <a:pt x="421" y="471"/>
                    <a:pt x="421" y="471"/>
                    <a:pt x="421" y="471"/>
                  </a:cubicBezTo>
                  <a:cubicBezTo>
                    <a:pt x="422" y="471"/>
                    <a:pt x="422" y="471"/>
                    <a:pt x="422" y="471"/>
                  </a:cubicBezTo>
                  <a:cubicBezTo>
                    <a:pt x="422" y="472"/>
                    <a:pt x="422" y="472"/>
                    <a:pt x="422" y="472"/>
                  </a:cubicBezTo>
                  <a:cubicBezTo>
                    <a:pt x="422" y="472"/>
                    <a:pt x="422" y="472"/>
                    <a:pt x="422" y="472"/>
                  </a:cubicBezTo>
                  <a:cubicBezTo>
                    <a:pt x="421" y="472"/>
                    <a:pt x="421" y="472"/>
                    <a:pt x="421" y="472"/>
                  </a:cubicBezTo>
                  <a:cubicBezTo>
                    <a:pt x="421" y="472"/>
                    <a:pt x="421" y="472"/>
                    <a:pt x="421" y="472"/>
                  </a:cubicBezTo>
                  <a:cubicBezTo>
                    <a:pt x="421" y="471"/>
                    <a:pt x="421" y="471"/>
                    <a:pt x="421" y="471"/>
                  </a:cubicBezTo>
                  <a:cubicBezTo>
                    <a:pt x="421" y="471"/>
                    <a:pt x="421" y="471"/>
                    <a:pt x="421" y="471"/>
                  </a:cubicBezTo>
                  <a:cubicBezTo>
                    <a:pt x="421" y="471"/>
                    <a:pt x="421" y="471"/>
                    <a:pt x="421" y="471"/>
                  </a:cubicBezTo>
                  <a:cubicBezTo>
                    <a:pt x="421" y="470"/>
                    <a:pt x="421" y="470"/>
                    <a:pt x="421" y="470"/>
                  </a:cubicBezTo>
                  <a:cubicBezTo>
                    <a:pt x="420" y="470"/>
                    <a:pt x="420" y="470"/>
                    <a:pt x="420" y="470"/>
                  </a:cubicBezTo>
                  <a:cubicBezTo>
                    <a:pt x="420" y="470"/>
                    <a:pt x="420" y="470"/>
                    <a:pt x="420" y="470"/>
                  </a:cubicBezTo>
                  <a:cubicBezTo>
                    <a:pt x="419" y="469"/>
                    <a:pt x="419" y="469"/>
                    <a:pt x="419" y="469"/>
                  </a:cubicBezTo>
                  <a:cubicBezTo>
                    <a:pt x="418" y="469"/>
                    <a:pt x="418" y="469"/>
                    <a:pt x="418" y="469"/>
                  </a:cubicBezTo>
                  <a:cubicBezTo>
                    <a:pt x="417" y="468"/>
                    <a:pt x="417" y="468"/>
                    <a:pt x="417" y="468"/>
                  </a:cubicBezTo>
                  <a:cubicBezTo>
                    <a:pt x="416" y="466"/>
                    <a:pt x="416" y="466"/>
                    <a:pt x="416" y="466"/>
                  </a:cubicBezTo>
                  <a:cubicBezTo>
                    <a:pt x="415" y="461"/>
                    <a:pt x="415" y="461"/>
                    <a:pt x="415" y="461"/>
                  </a:cubicBezTo>
                  <a:cubicBezTo>
                    <a:pt x="415" y="460"/>
                    <a:pt x="415" y="460"/>
                    <a:pt x="415" y="460"/>
                  </a:cubicBezTo>
                  <a:cubicBezTo>
                    <a:pt x="415" y="459"/>
                    <a:pt x="415" y="459"/>
                    <a:pt x="415" y="459"/>
                  </a:cubicBezTo>
                  <a:cubicBezTo>
                    <a:pt x="415" y="458"/>
                    <a:pt x="415" y="458"/>
                    <a:pt x="415" y="458"/>
                  </a:cubicBezTo>
                  <a:cubicBezTo>
                    <a:pt x="415" y="458"/>
                    <a:pt x="415" y="458"/>
                    <a:pt x="415" y="458"/>
                  </a:cubicBezTo>
                  <a:cubicBezTo>
                    <a:pt x="414" y="458"/>
                    <a:pt x="414" y="458"/>
                    <a:pt x="414" y="458"/>
                  </a:cubicBezTo>
                  <a:cubicBezTo>
                    <a:pt x="413" y="458"/>
                    <a:pt x="413" y="458"/>
                    <a:pt x="413" y="458"/>
                  </a:cubicBezTo>
                  <a:cubicBezTo>
                    <a:pt x="413" y="460"/>
                    <a:pt x="413" y="460"/>
                    <a:pt x="413" y="460"/>
                  </a:cubicBezTo>
                  <a:cubicBezTo>
                    <a:pt x="413" y="462"/>
                    <a:pt x="413" y="462"/>
                    <a:pt x="413" y="462"/>
                  </a:cubicBezTo>
                  <a:cubicBezTo>
                    <a:pt x="414" y="463"/>
                    <a:pt x="414" y="463"/>
                    <a:pt x="414" y="463"/>
                  </a:cubicBezTo>
                  <a:cubicBezTo>
                    <a:pt x="414" y="464"/>
                    <a:pt x="414" y="464"/>
                    <a:pt x="414" y="464"/>
                  </a:cubicBezTo>
                  <a:cubicBezTo>
                    <a:pt x="413" y="462"/>
                    <a:pt x="413" y="462"/>
                    <a:pt x="413" y="462"/>
                  </a:cubicBezTo>
                  <a:cubicBezTo>
                    <a:pt x="413" y="461"/>
                    <a:pt x="413" y="461"/>
                    <a:pt x="413" y="461"/>
                  </a:cubicBezTo>
                  <a:cubicBezTo>
                    <a:pt x="413" y="459"/>
                    <a:pt x="413" y="459"/>
                    <a:pt x="413" y="459"/>
                  </a:cubicBezTo>
                  <a:cubicBezTo>
                    <a:pt x="412" y="458"/>
                    <a:pt x="412" y="458"/>
                    <a:pt x="412" y="458"/>
                  </a:cubicBezTo>
                  <a:cubicBezTo>
                    <a:pt x="412" y="457"/>
                    <a:pt x="412" y="457"/>
                    <a:pt x="412" y="457"/>
                  </a:cubicBezTo>
                  <a:cubicBezTo>
                    <a:pt x="411" y="457"/>
                    <a:pt x="411" y="457"/>
                    <a:pt x="411" y="457"/>
                  </a:cubicBezTo>
                  <a:cubicBezTo>
                    <a:pt x="410" y="456"/>
                    <a:pt x="410" y="456"/>
                    <a:pt x="410" y="456"/>
                  </a:cubicBezTo>
                  <a:cubicBezTo>
                    <a:pt x="409" y="456"/>
                    <a:pt x="409" y="456"/>
                    <a:pt x="409" y="456"/>
                  </a:cubicBezTo>
                  <a:cubicBezTo>
                    <a:pt x="408" y="456"/>
                    <a:pt x="408" y="456"/>
                    <a:pt x="408" y="456"/>
                  </a:cubicBezTo>
                  <a:cubicBezTo>
                    <a:pt x="408" y="457"/>
                    <a:pt x="408" y="457"/>
                    <a:pt x="408" y="457"/>
                  </a:cubicBezTo>
                  <a:cubicBezTo>
                    <a:pt x="408" y="457"/>
                    <a:pt x="408" y="457"/>
                    <a:pt x="408" y="457"/>
                  </a:cubicBezTo>
                  <a:cubicBezTo>
                    <a:pt x="408" y="459"/>
                    <a:pt x="408" y="459"/>
                    <a:pt x="408" y="459"/>
                  </a:cubicBezTo>
                  <a:cubicBezTo>
                    <a:pt x="408" y="460"/>
                    <a:pt x="408" y="460"/>
                    <a:pt x="408" y="460"/>
                  </a:cubicBezTo>
                  <a:cubicBezTo>
                    <a:pt x="408" y="461"/>
                    <a:pt x="408" y="461"/>
                    <a:pt x="408" y="461"/>
                  </a:cubicBezTo>
                  <a:cubicBezTo>
                    <a:pt x="408" y="461"/>
                    <a:pt x="408" y="461"/>
                    <a:pt x="408" y="461"/>
                  </a:cubicBezTo>
                  <a:cubicBezTo>
                    <a:pt x="408" y="460"/>
                    <a:pt x="408" y="460"/>
                    <a:pt x="408" y="460"/>
                  </a:cubicBezTo>
                  <a:cubicBezTo>
                    <a:pt x="407" y="458"/>
                    <a:pt x="407" y="458"/>
                    <a:pt x="407" y="458"/>
                  </a:cubicBezTo>
                  <a:cubicBezTo>
                    <a:pt x="407" y="457"/>
                    <a:pt x="407" y="457"/>
                    <a:pt x="407" y="457"/>
                  </a:cubicBezTo>
                  <a:cubicBezTo>
                    <a:pt x="407" y="457"/>
                    <a:pt x="407" y="457"/>
                    <a:pt x="407" y="457"/>
                  </a:cubicBezTo>
                  <a:cubicBezTo>
                    <a:pt x="407" y="455"/>
                    <a:pt x="407" y="455"/>
                    <a:pt x="407" y="455"/>
                  </a:cubicBezTo>
                  <a:cubicBezTo>
                    <a:pt x="407" y="455"/>
                    <a:pt x="407" y="455"/>
                    <a:pt x="407" y="455"/>
                  </a:cubicBezTo>
                  <a:cubicBezTo>
                    <a:pt x="407" y="456"/>
                    <a:pt x="407" y="456"/>
                    <a:pt x="407" y="456"/>
                  </a:cubicBezTo>
                  <a:cubicBezTo>
                    <a:pt x="406" y="456"/>
                    <a:pt x="406" y="456"/>
                    <a:pt x="406" y="456"/>
                  </a:cubicBezTo>
                  <a:cubicBezTo>
                    <a:pt x="406" y="456"/>
                    <a:pt x="406" y="456"/>
                    <a:pt x="406" y="456"/>
                  </a:cubicBezTo>
                  <a:cubicBezTo>
                    <a:pt x="405" y="455"/>
                    <a:pt x="405" y="455"/>
                    <a:pt x="405" y="455"/>
                  </a:cubicBezTo>
                  <a:cubicBezTo>
                    <a:pt x="404" y="454"/>
                    <a:pt x="404" y="454"/>
                    <a:pt x="404" y="454"/>
                  </a:cubicBezTo>
                  <a:cubicBezTo>
                    <a:pt x="403" y="454"/>
                    <a:pt x="403" y="454"/>
                    <a:pt x="403" y="454"/>
                  </a:cubicBezTo>
                  <a:cubicBezTo>
                    <a:pt x="402" y="453"/>
                    <a:pt x="402" y="453"/>
                    <a:pt x="402" y="453"/>
                  </a:cubicBezTo>
                  <a:cubicBezTo>
                    <a:pt x="402" y="451"/>
                    <a:pt x="402" y="451"/>
                    <a:pt x="402" y="451"/>
                  </a:cubicBezTo>
                  <a:cubicBezTo>
                    <a:pt x="403" y="452"/>
                    <a:pt x="403" y="452"/>
                    <a:pt x="403" y="452"/>
                  </a:cubicBezTo>
                  <a:cubicBezTo>
                    <a:pt x="403" y="453"/>
                    <a:pt x="403" y="453"/>
                    <a:pt x="403" y="453"/>
                  </a:cubicBezTo>
                  <a:cubicBezTo>
                    <a:pt x="404" y="452"/>
                    <a:pt x="404" y="452"/>
                    <a:pt x="404" y="452"/>
                  </a:cubicBezTo>
                  <a:cubicBezTo>
                    <a:pt x="403" y="451"/>
                    <a:pt x="403" y="451"/>
                    <a:pt x="403" y="451"/>
                  </a:cubicBezTo>
                  <a:cubicBezTo>
                    <a:pt x="402" y="450"/>
                    <a:pt x="402" y="450"/>
                    <a:pt x="402" y="450"/>
                  </a:cubicBezTo>
                  <a:cubicBezTo>
                    <a:pt x="400" y="448"/>
                    <a:pt x="400" y="448"/>
                    <a:pt x="400" y="448"/>
                  </a:cubicBezTo>
                  <a:cubicBezTo>
                    <a:pt x="400" y="446"/>
                    <a:pt x="400" y="446"/>
                    <a:pt x="400" y="446"/>
                  </a:cubicBezTo>
                  <a:cubicBezTo>
                    <a:pt x="401" y="448"/>
                    <a:pt x="401" y="448"/>
                    <a:pt x="401" y="448"/>
                  </a:cubicBezTo>
                  <a:cubicBezTo>
                    <a:pt x="402" y="450"/>
                    <a:pt x="402" y="450"/>
                    <a:pt x="402" y="450"/>
                  </a:cubicBezTo>
                  <a:cubicBezTo>
                    <a:pt x="407" y="451"/>
                    <a:pt x="407" y="451"/>
                    <a:pt x="407" y="451"/>
                  </a:cubicBezTo>
                  <a:cubicBezTo>
                    <a:pt x="409" y="451"/>
                    <a:pt x="409" y="451"/>
                    <a:pt x="409" y="451"/>
                  </a:cubicBezTo>
                  <a:cubicBezTo>
                    <a:pt x="407" y="450"/>
                    <a:pt x="407" y="450"/>
                    <a:pt x="407" y="450"/>
                  </a:cubicBezTo>
                  <a:cubicBezTo>
                    <a:pt x="403" y="448"/>
                    <a:pt x="403" y="448"/>
                    <a:pt x="403" y="448"/>
                  </a:cubicBezTo>
                  <a:cubicBezTo>
                    <a:pt x="404" y="447"/>
                    <a:pt x="404" y="447"/>
                    <a:pt x="404" y="447"/>
                  </a:cubicBezTo>
                  <a:cubicBezTo>
                    <a:pt x="404" y="447"/>
                    <a:pt x="404" y="447"/>
                    <a:pt x="404" y="447"/>
                  </a:cubicBezTo>
                  <a:cubicBezTo>
                    <a:pt x="404" y="448"/>
                    <a:pt x="404" y="448"/>
                    <a:pt x="404" y="448"/>
                  </a:cubicBezTo>
                  <a:cubicBezTo>
                    <a:pt x="405" y="447"/>
                    <a:pt x="405" y="447"/>
                    <a:pt x="405" y="447"/>
                  </a:cubicBezTo>
                  <a:cubicBezTo>
                    <a:pt x="405" y="447"/>
                    <a:pt x="405" y="447"/>
                    <a:pt x="405" y="447"/>
                  </a:cubicBezTo>
                  <a:cubicBezTo>
                    <a:pt x="404" y="447"/>
                    <a:pt x="404" y="447"/>
                    <a:pt x="404" y="447"/>
                  </a:cubicBezTo>
                  <a:cubicBezTo>
                    <a:pt x="404" y="446"/>
                    <a:pt x="404" y="446"/>
                    <a:pt x="404" y="446"/>
                  </a:cubicBezTo>
                  <a:cubicBezTo>
                    <a:pt x="404" y="446"/>
                    <a:pt x="404" y="446"/>
                    <a:pt x="404" y="446"/>
                  </a:cubicBezTo>
                  <a:cubicBezTo>
                    <a:pt x="404" y="445"/>
                    <a:pt x="404" y="445"/>
                    <a:pt x="404" y="445"/>
                  </a:cubicBezTo>
                  <a:cubicBezTo>
                    <a:pt x="404" y="445"/>
                    <a:pt x="404" y="445"/>
                    <a:pt x="404" y="445"/>
                  </a:cubicBezTo>
                  <a:cubicBezTo>
                    <a:pt x="404" y="445"/>
                    <a:pt x="404" y="445"/>
                    <a:pt x="404" y="445"/>
                  </a:cubicBezTo>
                  <a:cubicBezTo>
                    <a:pt x="403" y="444"/>
                    <a:pt x="403" y="444"/>
                    <a:pt x="403" y="444"/>
                  </a:cubicBezTo>
                  <a:cubicBezTo>
                    <a:pt x="401" y="444"/>
                    <a:pt x="401" y="444"/>
                    <a:pt x="401" y="444"/>
                  </a:cubicBezTo>
                  <a:cubicBezTo>
                    <a:pt x="400" y="444"/>
                    <a:pt x="400" y="444"/>
                    <a:pt x="400" y="444"/>
                  </a:cubicBezTo>
                  <a:cubicBezTo>
                    <a:pt x="400" y="444"/>
                    <a:pt x="400" y="444"/>
                    <a:pt x="400" y="444"/>
                  </a:cubicBezTo>
                  <a:cubicBezTo>
                    <a:pt x="399" y="444"/>
                    <a:pt x="399" y="444"/>
                    <a:pt x="399" y="444"/>
                  </a:cubicBezTo>
                  <a:cubicBezTo>
                    <a:pt x="399" y="444"/>
                    <a:pt x="399" y="444"/>
                    <a:pt x="399" y="444"/>
                  </a:cubicBezTo>
                  <a:cubicBezTo>
                    <a:pt x="398" y="445"/>
                    <a:pt x="398" y="445"/>
                    <a:pt x="398" y="445"/>
                  </a:cubicBezTo>
                  <a:cubicBezTo>
                    <a:pt x="398" y="445"/>
                    <a:pt x="398" y="445"/>
                    <a:pt x="398" y="445"/>
                  </a:cubicBezTo>
                  <a:cubicBezTo>
                    <a:pt x="397" y="445"/>
                    <a:pt x="397" y="445"/>
                    <a:pt x="397" y="445"/>
                  </a:cubicBezTo>
                  <a:cubicBezTo>
                    <a:pt x="397" y="445"/>
                    <a:pt x="397" y="445"/>
                    <a:pt x="397" y="445"/>
                  </a:cubicBezTo>
                  <a:cubicBezTo>
                    <a:pt x="397" y="444"/>
                    <a:pt x="397" y="444"/>
                    <a:pt x="397" y="444"/>
                  </a:cubicBezTo>
                  <a:cubicBezTo>
                    <a:pt x="397" y="444"/>
                    <a:pt x="397" y="444"/>
                    <a:pt x="397" y="444"/>
                  </a:cubicBezTo>
                  <a:cubicBezTo>
                    <a:pt x="397" y="443"/>
                    <a:pt x="397" y="443"/>
                    <a:pt x="397" y="443"/>
                  </a:cubicBezTo>
                  <a:cubicBezTo>
                    <a:pt x="398" y="442"/>
                    <a:pt x="398" y="442"/>
                    <a:pt x="398" y="442"/>
                  </a:cubicBezTo>
                  <a:cubicBezTo>
                    <a:pt x="398" y="442"/>
                    <a:pt x="398" y="442"/>
                    <a:pt x="398" y="442"/>
                  </a:cubicBezTo>
                  <a:cubicBezTo>
                    <a:pt x="396" y="441"/>
                    <a:pt x="396" y="441"/>
                    <a:pt x="396" y="441"/>
                  </a:cubicBezTo>
                  <a:cubicBezTo>
                    <a:pt x="395" y="440"/>
                    <a:pt x="395" y="440"/>
                    <a:pt x="395" y="440"/>
                  </a:cubicBezTo>
                  <a:cubicBezTo>
                    <a:pt x="394" y="439"/>
                    <a:pt x="394" y="439"/>
                    <a:pt x="394" y="439"/>
                  </a:cubicBezTo>
                  <a:cubicBezTo>
                    <a:pt x="394" y="438"/>
                    <a:pt x="394" y="438"/>
                    <a:pt x="394" y="438"/>
                  </a:cubicBezTo>
                  <a:cubicBezTo>
                    <a:pt x="394" y="438"/>
                    <a:pt x="394" y="438"/>
                    <a:pt x="394" y="438"/>
                  </a:cubicBezTo>
                  <a:cubicBezTo>
                    <a:pt x="393" y="437"/>
                    <a:pt x="393" y="437"/>
                    <a:pt x="393" y="437"/>
                  </a:cubicBezTo>
                  <a:cubicBezTo>
                    <a:pt x="392" y="436"/>
                    <a:pt x="392" y="436"/>
                    <a:pt x="392" y="436"/>
                  </a:cubicBezTo>
                  <a:cubicBezTo>
                    <a:pt x="391" y="435"/>
                    <a:pt x="391" y="435"/>
                    <a:pt x="391" y="435"/>
                  </a:cubicBezTo>
                  <a:cubicBezTo>
                    <a:pt x="390" y="434"/>
                    <a:pt x="390" y="434"/>
                    <a:pt x="390" y="434"/>
                  </a:cubicBezTo>
                  <a:cubicBezTo>
                    <a:pt x="390" y="434"/>
                    <a:pt x="390" y="434"/>
                    <a:pt x="390" y="434"/>
                  </a:cubicBezTo>
                  <a:cubicBezTo>
                    <a:pt x="390" y="434"/>
                    <a:pt x="390" y="434"/>
                    <a:pt x="390" y="434"/>
                  </a:cubicBezTo>
                  <a:cubicBezTo>
                    <a:pt x="390" y="434"/>
                    <a:pt x="390" y="434"/>
                    <a:pt x="390" y="434"/>
                  </a:cubicBezTo>
                  <a:cubicBezTo>
                    <a:pt x="390" y="433"/>
                    <a:pt x="390" y="433"/>
                    <a:pt x="390" y="433"/>
                  </a:cubicBezTo>
                  <a:cubicBezTo>
                    <a:pt x="390" y="432"/>
                    <a:pt x="390" y="432"/>
                    <a:pt x="390" y="432"/>
                  </a:cubicBezTo>
                  <a:cubicBezTo>
                    <a:pt x="390" y="432"/>
                    <a:pt x="390" y="432"/>
                    <a:pt x="390" y="432"/>
                  </a:cubicBezTo>
                  <a:cubicBezTo>
                    <a:pt x="390" y="430"/>
                    <a:pt x="390" y="430"/>
                    <a:pt x="390" y="430"/>
                  </a:cubicBezTo>
                  <a:cubicBezTo>
                    <a:pt x="389" y="429"/>
                    <a:pt x="389" y="429"/>
                    <a:pt x="389" y="429"/>
                  </a:cubicBezTo>
                  <a:cubicBezTo>
                    <a:pt x="388" y="429"/>
                    <a:pt x="388" y="429"/>
                    <a:pt x="388" y="429"/>
                  </a:cubicBezTo>
                  <a:cubicBezTo>
                    <a:pt x="385" y="430"/>
                    <a:pt x="385" y="430"/>
                    <a:pt x="385" y="430"/>
                  </a:cubicBezTo>
                  <a:cubicBezTo>
                    <a:pt x="383" y="431"/>
                    <a:pt x="383" y="431"/>
                    <a:pt x="383" y="431"/>
                  </a:cubicBezTo>
                  <a:cubicBezTo>
                    <a:pt x="383" y="433"/>
                    <a:pt x="383" y="433"/>
                    <a:pt x="383" y="433"/>
                  </a:cubicBezTo>
                  <a:cubicBezTo>
                    <a:pt x="383" y="435"/>
                    <a:pt x="383" y="435"/>
                    <a:pt x="383" y="435"/>
                  </a:cubicBezTo>
                  <a:cubicBezTo>
                    <a:pt x="383" y="435"/>
                    <a:pt x="383" y="435"/>
                    <a:pt x="383" y="435"/>
                  </a:cubicBezTo>
                  <a:cubicBezTo>
                    <a:pt x="381" y="435"/>
                    <a:pt x="381" y="435"/>
                    <a:pt x="381" y="435"/>
                  </a:cubicBezTo>
                  <a:cubicBezTo>
                    <a:pt x="380" y="434"/>
                    <a:pt x="380" y="434"/>
                    <a:pt x="380" y="434"/>
                  </a:cubicBezTo>
                  <a:cubicBezTo>
                    <a:pt x="379" y="433"/>
                    <a:pt x="379" y="433"/>
                    <a:pt x="379" y="433"/>
                  </a:cubicBezTo>
                  <a:cubicBezTo>
                    <a:pt x="379" y="432"/>
                    <a:pt x="379" y="432"/>
                    <a:pt x="379" y="432"/>
                  </a:cubicBezTo>
                  <a:cubicBezTo>
                    <a:pt x="379" y="431"/>
                    <a:pt x="379" y="431"/>
                    <a:pt x="379" y="431"/>
                  </a:cubicBezTo>
                  <a:cubicBezTo>
                    <a:pt x="379" y="430"/>
                    <a:pt x="379" y="430"/>
                    <a:pt x="379" y="430"/>
                  </a:cubicBezTo>
                  <a:cubicBezTo>
                    <a:pt x="379" y="430"/>
                    <a:pt x="379" y="430"/>
                    <a:pt x="379" y="430"/>
                  </a:cubicBezTo>
                  <a:cubicBezTo>
                    <a:pt x="380" y="429"/>
                    <a:pt x="380" y="429"/>
                    <a:pt x="380" y="429"/>
                  </a:cubicBezTo>
                  <a:cubicBezTo>
                    <a:pt x="380" y="428"/>
                    <a:pt x="380" y="428"/>
                    <a:pt x="380" y="428"/>
                  </a:cubicBezTo>
                  <a:cubicBezTo>
                    <a:pt x="380" y="428"/>
                    <a:pt x="380" y="428"/>
                    <a:pt x="380" y="428"/>
                  </a:cubicBezTo>
                  <a:cubicBezTo>
                    <a:pt x="379" y="427"/>
                    <a:pt x="379" y="427"/>
                    <a:pt x="379" y="427"/>
                  </a:cubicBezTo>
                  <a:cubicBezTo>
                    <a:pt x="378" y="427"/>
                    <a:pt x="378" y="427"/>
                    <a:pt x="378" y="427"/>
                  </a:cubicBezTo>
                  <a:cubicBezTo>
                    <a:pt x="378" y="426"/>
                    <a:pt x="378" y="426"/>
                    <a:pt x="378" y="426"/>
                  </a:cubicBezTo>
                  <a:cubicBezTo>
                    <a:pt x="377" y="426"/>
                    <a:pt x="377" y="426"/>
                    <a:pt x="377" y="426"/>
                  </a:cubicBezTo>
                  <a:cubicBezTo>
                    <a:pt x="373" y="427"/>
                    <a:pt x="373" y="427"/>
                    <a:pt x="373" y="427"/>
                  </a:cubicBezTo>
                  <a:cubicBezTo>
                    <a:pt x="373" y="427"/>
                    <a:pt x="373" y="427"/>
                    <a:pt x="373" y="427"/>
                  </a:cubicBezTo>
                  <a:cubicBezTo>
                    <a:pt x="372" y="428"/>
                    <a:pt x="372" y="428"/>
                    <a:pt x="372" y="428"/>
                  </a:cubicBezTo>
                  <a:cubicBezTo>
                    <a:pt x="371" y="428"/>
                    <a:pt x="371" y="428"/>
                    <a:pt x="371" y="428"/>
                  </a:cubicBezTo>
                  <a:cubicBezTo>
                    <a:pt x="371" y="428"/>
                    <a:pt x="371" y="428"/>
                    <a:pt x="371" y="428"/>
                  </a:cubicBezTo>
                  <a:cubicBezTo>
                    <a:pt x="370" y="427"/>
                    <a:pt x="370" y="427"/>
                    <a:pt x="370" y="427"/>
                  </a:cubicBezTo>
                  <a:cubicBezTo>
                    <a:pt x="370" y="427"/>
                    <a:pt x="370" y="427"/>
                    <a:pt x="370" y="427"/>
                  </a:cubicBezTo>
                  <a:cubicBezTo>
                    <a:pt x="372" y="426"/>
                    <a:pt x="372" y="426"/>
                    <a:pt x="372" y="426"/>
                  </a:cubicBezTo>
                  <a:cubicBezTo>
                    <a:pt x="370" y="425"/>
                    <a:pt x="370" y="425"/>
                    <a:pt x="370" y="425"/>
                  </a:cubicBezTo>
                  <a:cubicBezTo>
                    <a:pt x="369" y="424"/>
                    <a:pt x="369" y="424"/>
                    <a:pt x="369" y="424"/>
                  </a:cubicBezTo>
                  <a:cubicBezTo>
                    <a:pt x="368" y="423"/>
                    <a:pt x="368" y="423"/>
                    <a:pt x="368" y="423"/>
                  </a:cubicBezTo>
                  <a:cubicBezTo>
                    <a:pt x="368" y="423"/>
                    <a:pt x="368" y="423"/>
                    <a:pt x="368" y="423"/>
                  </a:cubicBezTo>
                  <a:cubicBezTo>
                    <a:pt x="368" y="423"/>
                    <a:pt x="368" y="423"/>
                    <a:pt x="368" y="423"/>
                  </a:cubicBezTo>
                  <a:cubicBezTo>
                    <a:pt x="367" y="423"/>
                    <a:pt x="367" y="423"/>
                    <a:pt x="367" y="423"/>
                  </a:cubicBezTo>
                  <a:cubicBezTo>
                    <a:pt x="367" y="423"/>
                    <a:pt x="367" y="423"/>
                    <a:pt x="367" y="423"/>
                  </a:cubicBezTo>
                  <a:cubicBezTo>
                    <a:pt x="366" y="423"/>
                    <a:pt x="366" y="423"/>
                    <a:pt x="366" y="423"/>
                  </a:cubicBezTo>
                  <a:cubicBezTo>
                    <a:pt x="366" y="423"/>
                    <a:pt x="366" y="423"/>
                    <a:pt x="366" y="423"/>
                  </a:cubicBezTo>
                  <a:cubicBezTo>
                    <a:pt x="366" y="423"/>
                    <a:pt x="366" y="423"/>
                    <a:pt x="366" y="423"/>
                  </a:cubicBezTo>
                  <a:cubicBezTo>
                    <a:pt x="367" y="422"/>
                    <a:pt x="367" y="422"/>
                    <a:pt x="367" y="422"/>
                  </a:cubicBezTo>
                  <a:cubicBezTo>
                    <a:pt x="368" y="422"/>
                    <a:pt x="368" y="422"/>
                    <a:pt x="368" y="422"/>
                  </a:cubicBezTo>
                  <a:cubicBezTo>
                    <a:pt x="369" y="421"/>
                    <a:pt x="369" y="421"/>
                    <a:pt x="369" y="421"/>
                  </a:cubicBezTo>
                  <a:cubicBezTo>
                    <a:pt x="370" y="420"/>
                    <a:pt x="370" y="420"/>
                    <a:pt x="370" y="420"/>
                  </a:cubicBezTo>
                  <a:cubicBezTo>
                    <a:pt x="370" y="420"/>
                    <a:pt x="370" y="420"/>
                    <a:pt x="370" y="420"/>
                  </a:cubicBezTo>
                  <a:cubicBezTo>
                    <a:pt x="371" y="419"/>
                    <a:pt x="371" y="419"/>
                    <a:pt x="371" y="419"/>
                  </a:cubicBezTo>
                  <a:cubicBezTo>
                    <a:pt x="371" y="419"/>
                    <a:pt x="371" y="419"/>
                    <a:pt x="371" y="419"/>
                  </a:cubicBezTo>
                  <a:cubicBezTo>
                    <a:pt x="370" y="419"/>
                    <a:pt x="370" y="419"/>
                    <a:pt x="370" y="419"/>
                  </a:cubicBezTo>
                  <a:cubicBezTo>
                    <a:pt x="370" y="419"/>
                    <a:pt x="370" y="419"/>
                    <a:pt x="370" y="419"/>
                  </a:cubicBezTo>
                  <a:cubicBezTo>
                    <a:pt x="369" y="418"/>
                    <a:pt x="369" y="418"/>
                    <a:pt x="369" y="418"/>
                  </a:cubicBezTo>
                  <a:cubicBezTo>
                    <a:pt x="369" y="417"/>
                    <a:pt x="369" y="417"/>
                    <a:pt x="369" y="417"/>
                  </a:cubicBezTo>
                  <a:cubicBezTo>
                    <a:pt x="369" y="417"/>
                    <a:pt x="369" y="417"/>
                    <a:pt x="369" y="417"/>
                  </a:cubicBezTo>
                  <a:cubicBezTo>
                    <a:pt x="369" y="416"/>
                    <a:pt x="369" y="416"/>
                    <a:pt x="369" y="416"/>
                  </a:cubicBezTo>
                  <a:cubicBezTo>
                    <a:pt x="369" y="416"/>
                    <a:pt x="369" y="416"/>
                    <a:pt x="369" y="416"/>
                  </a:cubicBezTo>
                  <a:cubicBezTo>
                    <a:pt x="369" y="416"/>
                    <a:pt x="369" y="416"/>
                    <a:pt x="369" y="416"/>
                  </a:cubicBezTo>
                  <a:cubicBezTo>
                    <a:pt x="368" y="416"/>
                    <a:pt x="368" y="416"/>
                    <a:pt x="368" y="416"/>
                  </a:cubicBezTo>
                  <a:cubicBezTo>
                    <a:pt x="368" y="415"/>
                    <a:pt x="368" y="415"/>
                    <a:pt x="368" y="415"/>
                  </a:cubicBezTo>
                  <a:cubicBezTo>
                    <a:pt x="368" y="415"/>
                    <a:pt x="368" y="415"/>
                    <a:pt x="368" y="415"/>
                  </a:cubicBezTo>
                  <a:cubicBezTo>
                    <a:pt x="369" y="415"/>
                    <a:pt x="369" y="415"/>
                    <a:pt x="369" y="415"/>
                  </a:cubicBezTo>
                  <a:cubicBezTo>
                    <a:pt x="369" y="414"/>
                    <a:pt x="369" y="414"/>
                    <a:pt x="369" y="414"/>
                  </a:cubicBezTo>
                  <a:cubicBezTo>
                    <a:pt x="369" y="414"/>
                    <a:pt x="369" y="414"/>
                    <a:pt x="369" y="414"/>
                  </a:cubicBezTo>
                  <a:cubicBezTo>
                    <a:pt x="368" y="411"/>
                    <a:pt x="368" y="411"/>
                    <a:pt x="368" y="411"/>
                  </a:cubicBezTo>
                  <a:cubicBezTo>
                    <a:pt x="368" y="410"/>
                    <a:pt x="368" y="410"/>
                    <a:pt x="368" y="410"/>
                  </a:cubicBezTo>
                  <a:cubicBezTo>
                    <a:pt x="368" y="410"/>
                    <a:pt x="368" y="410"/>
                    <a:pt x="368" y="410"/>
                  </a:cubicBezTo>
                  <a:cubicBezTo>
                    <a:pt x="367" y="411"/>
                    <a:pt x="367" y="411"/>
                    <a:pt x="367" y="411"/>
                  </a:cubicBezTo>
                  <a:cubicBezTo>
                    <a:pt x="367" y="410"/>
                    <a:pt x="367" y="410"/>
                    <a:pt x="367" y="410"/>
                  </a:cubicBezTo>
                  <a:cubicBezTo>
                    <a:pt x="367" y="410"/>
                    <a:pt x="367" y="410"/>
                    <a:pt x="367" y="410"/>
                  </a:cubicBezTo>
                  <a:cubicBezTo>
                    <a:pt x="367" y="409"/>
                    <a:pt x="367" y="409"/>
                    <a:pt x="367" y="409"/>
                  </a:cubicBezTo>
                  <a:cubicBezTo>
                    <a:pt x="367" y="409"/>
                    <a:pt x="367" y="409"/>
                    <a:pt x="367" y="409"/>
                  </a:cubicBezTo>
                  <a:cubicBezTo>
                    <a:pt x="367" y="408"/>
                    <a:pt x="367" y="408"/>
                    <a:pt x="367" y="408"/>
                  </a:cubicBezTo>
                  <a:cubicBezTo>
                    <a:pt x="366" y="408"/>
                    <a:pt x="366" y="408"/>
                    <a:pt x="366" y="408"/>
                  </a:cubicBezTo>
                  <a:cubicBezTo>
                    <a:pt x="365" y="408"/>
                    <a:pt x="365" y="408"/>
                    <a:pt x="365" y="408"/>
                  </a:cubicBezTo>
                  <a:cubicBezTo>
                    <a:pt x="365" y="407"/>
                    <a:pt x="365" y="407"/>
                    <a:pt x="365" y="407"/>
                  </a:cubicBezTo>
                  <a:cubicBezTo>
                    <a:pt x="365" y="407"/>
                    <a:pt x="365" y="407"/>
                    <a:pt x="365" y="407"/>
                  </a:cubicBezTo>
                  <a:cubicBezTo>
                    <a:pt x="366" y="405"/>
                    <a:pt x="366" y="405"/>
                    <a:pt x="366" y="405"/>
                  </a:cubicBezTo>
                  <a:cubicBezTo>
                    <a:pt x="366" y="404"/>
                    <a:pt x="366" y="404"/>
                    <a:pt x="366" y="404"/>
                  </a:cubicBezTo>
                  <a:cubicBezTo>
                    <a:pt x="368" y="404"/>
                    <a:pt x="368" y="404"/>
                    <a:pt x="368" y="404"/>
                  </a:cubicBezTo>
                  <a:cubicBezTo>
                    <a:pt x="368" y="403"/>
                    <a:pt x="368" y="403"/>
                    <a:pt x="368" y="403"/>
                  </a:cubicBezTo>
                  <a:cubicBezTo>
                    <a:pt x="367" y="403"/>
                    <a:pt x="367" y="403"/>
                    <a:pt x="367" y="403"/>
                  </a:cubicBezTo>
                  <a:cubicBezTo>
                    <a:pt x="365" y="403"/>
                    <a:pt x="365" y="403"/>
                    <a:pt x="365" y="403"/>
                  </a:cubicBezTo>
                  <a:cubicBezTo>
                    <a:pt x="366" y="403"/>
                    <a:pt x="366" y="403"/>
                    <a:pt x="366" y="403"/>
                  </a:cubicBezTo>
                  <a:cubicBezTo>
                    <a:pt x="366" y="403"/>
                    <a:pt x="366" y="403"/>
                    <a:pt x="366" y="403"/>
                  </a:cubicBezTo>
                  <a:cubicBezTo>
                    <a:pt x="366" y="402"/>
                    <a:pt x="366" y="402"/>
                    <a:pt x="366" y="402"/>
                  </a:cubicBezTo>
                  <a:cubicBezTo>
                    <a:pt x="366" y="402"/>
                    <a:pt x="366" y="402"/>
                    <a:pt x="366" y="402"/>
                  </a:cubicBezTo>
                  <a:cubicBezTo>
                    <a:pt x="366" y="402"/>
                    <a:pt x="366" y="402"/>
                    <a:pt x="366" y="402"/>
                  </a:cubicBezTo>
                  <a:cubicBezTo>
                    <a:pt x="366" y="401"/>
                    <a:pt x="366" y="401"/>
                    <a:pt x="366" y="401"/>
                  </a:cubicBezTo>
                  <a:cubicBezTo>
                    <a:pt x="366" y="400"/>
                    <a:pt x="366" y="400"/>
                    <a:pt x="366" y="400"/>
                  </a:cubicBezTo>
                  <a:cubicBezTo>
                    <a:pt x="366" y="399"/>
                    <a:pt x="366" y="399"/>
                    <a:pt x="366" y="399"/>
                  </a:cubicBezTo>
                  <a:cubicBezTo>
                    <a:pt x="366" y="399"/>
                    <a:pt x="366" y="399"/>
                    <a:pt x="366" y="399"/>
                  </a:cubicBezTo>
                  <a:cubicBezTo>
                    <a:pt x="367" y="399"/>
                    <a:pt x="367" y="399"/>
                    <a:pt x="367" y="399"/>
                  </a:cubicBezTo>
                  <a:cubicBezTo>
                    <a:pt x="367" y="399"/>
                    <a:pt x="367" y="399"/>
                    <a:pt x="367" y="399"/>
                  </a:cubicBezTo>
                  <a:cubicBezTo>
                    <a:pt x="367" y="398"/>
                    <a:pt x="367" y="398"/>
                    <a:pt x="367" y="398"/>
                  </a:cubicBezTo>
                  <a:cubicBezTo>
                    <a:pt x="367" y="398"/>
                    <a:pt x="367" y="398"/>
                    <a:pt x="367" y="398"/>
                  </a:cubicBezTo>
                  <a:cubicBezTo>
                    <a:pt x="366" y="398"/>
                    <a:pt x="366" y="398"/>
                    <a:pt x="366" y="398"/>
                  </a:cubicBezTo>
                  <a:cubicBezTo>
                    <a:pt x="365" y="398"/>
                    <a:pt x="365" y="398"/>
                    <a:pt x="365" y="398"/>
                  </a:cubicBezTo>
                  <a:cubicBezTo>
                    <a:pt x="365" y="397"/>
                    <a:pt x="365" y="397"/>
                    <a:pt x="365" y="397"/>
                  </a:cubicBezTo>
                  <a:cubicBezTo>
                    <a:pt x="366" y="397"/>
                    <a:pt x="366" y="397"/>
                    <a:pt x="366" y="397"/>
                  </a:cubicBezTo>
                  <a:cubicBezTo>
                    <a:pt x="366" y="397"/>
                    <a:pt x="366" y="397"/>
                    <a:pt x="366" y="397"/>
                  </a:cubicBezTo>
                  <a:cubicBezTo>
                    <a:pt x="366" y="396"/>
                    <a:pt x="366" y="396"/>
                    <a:pt x="366" y="396"/>
                  </a:cubicBezTo>
                  <a:cubicBezTo>
                    <a:pt x="365" y="395"/>
                    <a:pt x="365" y="395"/>
                    <a:pt x="365" y="395"/>
                  </a:cubicBezTo>
                  <a:cubicBezTo>
                    <a:pt x="366" y="395"/>
                    <a:pt x="366" y="395"/>
                    <a:pt x="366" y="395"/>
                  </a:cubicBezTo>
                  <a:cubicBezTo>
                    <a:pt x="366" y="394"/>
                    <a:pt x="366" y="394"/>
                    <a:pt x="366" y="394"/>
                  </a:cubicBezTo>
                  <a:cubicBezTo>
                    <a:pt x="366" y="393"/>
                    <a:pt x="366" y="393"/>
                    <a:pt x="366" y="393"/>
                  </a:cubicBezTo>
                  <a:cubicBezTo>
                    <a:pt x="365" y="392"/>
                    <a:pt x="365" y="392"/>
                    <a:pt x="365" y="392"/>
                  </a:cubicBezTo>
                  <a:cubicBezTo>
                    <a:pt x="366" y="391"/>
                    <a:pt x="366" y="391"/>
                    <a:pt x="366" y="391"/>
                  </a:cubicBezTo>
                  <a:cubicBezTo>
                    <a:pt x="367" y="391"/>
                    <a:pt x="367" y="391"/>
                    <a:pt x="367" y="391"/>
                  </a:cubicBezTo>
                  <a:cubicBezTo>
                    <a:pt x="367" y="390"/>
                    <a:pt x="367" y="390"/>
                    <a:pt x="367" y="390"/>
                  </a:cubicBezTo>
                  <a:cubicBezTo>
                    <a:pt x="367" y="388"/>
                    <a:pt x="367" y="388"/>
                    <a:pt x="367" y="388"/>
                  </a:cubicBezTo>
                  <a:cubicBezTo>
                    <a:pt x="366" y="387"/>
                    <a:pt x="366" y="387"/>
                    <a:pt x="366" y="387"/>
                  </a:cubicBezTo>
                  <a:cubicBezTo>
                    <a:pt x="365" y="386"/>
                    <a:pt x="365" y="386"/>
                    <a:pt x="365" y="386"/>
                  </a:cubicBezTo>
                  <a:cubicBezTo>
                    <a:pt x="364" y="385"/>
                    <a:pt x="364" y="385"/>
                    <a:pt x="364" y="385"/>
                  </a:cubicBezTo>
                  <a:cubicBezTo>
                    <a:pt x="364" y="385"/>
                    <a:pt x="364" y="385"/>
                    <a:pt x="364" y="385"/>
                  </a:cubicBezTo>
                  <a:cubicBezTo>
                    <a:pt x="364" y="385"/>
                    <a:pt x="364" y="385"/>
                    <a:pt x="364" y="385"/>
                  </a:cubicBezTo>
                  <a:cubicBezTo>
                    <a:pt x="364" y="385"/>
                    <a:pt x="364" y="385"/>
                    <a:pt x="364" y="385"/>
                  </a:cubicBezTo>
                  <a:cubicBezTo>
                    <a:pt x="365" y="385"/>
                    <a:pt x="365" y="385"/>
                    <a:pt x="365" y="385"/>
                  </a:cubicBezTo>
                  <a:cubicBezTo>
                    <a:pt x="366" y="387"/>
                    <a:pt x="366" y="387"/>
                    <a:pt x="366" y="387"/>
                  </a:cubicBezTo>
                  <a:cubicBezTo>
                    <a:pt x="367" y="387"/>
                    <a:pt x="367" y="387"/>
                    <a:pt x="367" y="387"/>
                  </a:cubicBezTo>
                  <a:cubicBezTo>
                    <a:pt x="368" y="387"/>
                    <a:pt x="368" y="387"/>
                    <a:pt x="368" y="387"/>
                  </a:cubicBezTo>
                  <a:cubicBezTo>
                    <a:pt x="367" y="386"/>
                    <a:pt x="367" y="386"/>
                    <a:pt x="367" y="386"/>
                  </a:cubicBezTo>
                  <a:cubicBezTo>
                    <a:pt x="367" y="386"/>
                    <a:pt x="367" y="386"/>
                    <a:pt x="367" y="386"/>
                  </a:cubicBezTo>
                  <a:cubicBezTo>
                    <a:pt x="366" y="385"/>
                    <a:pt x="366" y="385"/>
                    <a:pt x="366" y="385"/>
                  </a:cubicBezTo>
                  <a:cubicBezTo>
                    <a:pt x="365" y="384"/>
                    <a:pt x="365" y="384"/>
                    <a:pt x="365" y="384"/>
                  </a:cubicBezTo>
                  <a:cubicBezTo>
                    <a:pt x="367" y="385"/>
                    <a:pt x="367" y="385"/>
                    <a:pt x="367" y="385"/>
                  </a:cubicBezTo>
                  <a:cubicBezTo>
                    <a:pt x="368" y="385"/>
                    <a:pt x="368" y="385"/>
                    <a:pt x="368" y="385"/>
                  </a:cubicBezTo>
                  <a:cubicBezTo>
                    <a:pt x="369" y="385"/>
                    <a:pt x="369" y="385"/>
                    <a:pt x="369" y="385"/>
                  </a:cubicBezTo>
                  <a:cubicBezTo>
                    <a:pt x="367" y="384"/>
                    <a:pt x="367" y="384"/>
                    <a:pt x="367" y="384"/>
                  </a:cubicBezTo>
                  <a:cubicBezTo>
                    <a:pt x="367" y="383"/>
                    <a:pt x="367" y="383"/>
                    <a:pt x="367" y="383"/>
                  </a:cubicBezTo>
                  <a:cubicBezTo>
                    <a:pt x="366" y="383"/>
                    <a:pt x="366" y="383"/>
                    <a:pt x="366" y="383"/>
                  </a:cubicBezTo>
                  <a:cubicBezTo>
                    <a:pt x="365" y="382"/>
                    <a:pt x="365" y="382"/>
                    <a:pt x="365" y="382"/>
                  </a:cubicBezTo>
                  <a:cubicBezTo>
                    <a:pt x="364" y="380"/>
                    <a:pt x="364" y="380"/>
                    <a:pt x="364" y="380"/>
                  </a:cubicBezTo>
                  <a:cubicBezTo>
                    <a:pt x="364" y="380"/>
                    <a:pt x="364" y="380"/>
                    <a:pt x="364" y="380"/>
                  </a:cubicBezTo>
                  <a:cubicBezTo>
                    <a:pt x="364" y="379"/>
                    <a:pt x="364" y="379"/>
                    <a:pt x="364" y="379"/>
                  </a:cubicBezTo>
                  <a:cubicBezTo>
                    <a:pt x="365" y="379"/>
                    <a:pt x="365" y="379"/>
                    <a:pt x="365" y="379"/>
                  </a:cubicBezTo>
                  <a:cubicBezTo>
                    <a:pt x="365" y="378"/>
                    <a:pt x="365" y="378"/>
                    <a:pt x="365" y="378"/>
                  </a:cubicBezTo>
                  <a:cubicBezTo>
                    <a:pt x="365" y="378"/>
                    <a:pt x="365" y="378"/>
                    <a:pt x="365" y="378"/>
                  </a:cubicBezTo>
                  <a:cubicBezTo>
                    <a:pt x="365" y="378"/>
                    <a:pt x="365" y="378"/>
                    <a:pt x="365" y="378"/>
                  </a:cubicBezTo>
                  <a:cubicBezTo>
                    <a:pt x="366" y="379"/>
                    <a:pt x="366" y="379"/>
                    <a:pt x="366" y="379"/>
                  </a:cubicBezTo>
                  <a:cubicBezTo>
                    <a:pt x="366" y="378"/>
                    <a:pt x="366" y="378"/>
                    <a:pt x="366" y="378"/>
                  </a:cubicBezTo>
                  <a:cubicBezTo>
                    <a:pt x="366" y="378"/>
                    <a:pt x="366" y="378"/>
                    <a:pt x="366" y="378"/>
                  </a:cubicBezTo>
                  <a:cubicBezTo>
                    <a:pt x="367" y="378"/>
                    <a:pt x="367" y="378"/>
                    <a:pt x="367" y="378"/>
                  </a:cubicBezTo>
                  <a:cubicBezTo>
                    <a:pt x="367" y="378"/>
                    <a:pt x="367" y="378"/>
                    <a:pt x="367" y="378"/>
                  </a:cubicBezTo>
                  <a:cubicBezTo>
                    <a:pt x="367" y="378"/>
                    <a:pt x="367" y="378"/>
                    <a:pt x="367" y="378"/>
                  </a:cubicBezTo>
                  <a:cubicBezTo>
                    <a:pt x="367" y="377"/>
                    <a:pt x="367" y="377"/>
                    <a:pt x="367" y="377"/>
                  </a:cubicBezTo>
                  <a:cubicBezTo>
                    <a:pt x="367" y="377"/>
                    <a:pt x="367" y="377"/>
                    <a:pt x="367" y="377"/>
                  </a:cubicBezTo>
                  <a:cubicBezTo>
                    <a:pt x="367" y="377"/>
                    <a:pt x="367" y="377"/>
                    <a:pt x="367" y="377"/>
                  </a:cubicBezTo>
                  <a:cubicBezTo>
                    <a:pt x="367" y="377"/>
                    <a:pt x="367" y="377"/>
                    <a:pt x="367" y="377"/>
                  </a:cubicBezTo>
                  <a:cubicBezTo>
                    <a:pt x="367" y="377"/>
                    <a:pt x="367" y="377"/>
                    <a:pt x="367" y="377"/>
                  </a:cubicBezTo>
                  <a:cubicBezTo>
                    <a:pt x="367" y="378"/>
                    <a:pt x="367" y="378"/>
                    <a:pt x="367" y="378"/>
                  </a:cubicBezTo>
                  <a:cubicBezTo>
                    <a:pt x="366" y="378"/>
                    <a:pt x="366" y="378"/>
                    <a:pt x="366" y="378"/>
                  </a:cubicBezTo>
                  <a:cubicBezTo>
                    <a:pt x="366" y="377"/>
                    <a:pt x="366" y="377"/>
                    <a:pt x="366" y="377"/>
                  </a:cubicBezTo>
                  <a:cubicBezTo>
                    <a:pt x="366" y="377"/>
                    <a:pt x="366" y="377"/>
                    <a:pt x="366" y="377"/>
                  </a:cubicBezTo>
                  <a:cubicBezTo>
                    <a:pt x="365" y="376"/>
                    <a:pt x="365" y="376"/>
                    <a:pt x="365" y="376"/>
                  </a:cubicBezTo>
                  <a:cubicBezTo>
                    <a:pt x="365" y="376"/>
                    <a:pt x="365" y="376"/>
                    <a:pt x="365" y="376"/>
                  </a:cubicBezTo>
                  <a:cubicBezTo>
                    <a:pt x="366" y="375"/>
                    <a:pt x="366" y="375"/>
                    <a:pt x="366" y="375"/>
                  </a:cubicBezTo>
                  <a:cubicBezTo>
                    <a:pt x="366" y="375"/>
                    <a:pt x="366" y="375"/>
                    <a:pt x="366" y="375"/>
                  </a:cubicBezTo>
                  <a:cubicBezTo>
                    <a:pt x="366" y="374"/>
                    <a:pt x="366" y="374"/>
                    <a:pt x="366" y="374"/>
                  </a:cubicBezTo>
                  <a:cubicBezTo>
                    <a:pt x="366" y="374"/>
                    <a:pt x="366" y="374"/>
                    <a:pt x="366" y="374"/>
                  </a:cubicBezTo>
                  <a:cubicBezTo>
                    <a:pt x="366" y="373"/>
                    <a:pt x="366" y="373"/>
                    <a:pt x="366" y="373"/>
                  </a:cubicBezTo>
                  <a:cubicBezTo>
                    <a:pt x="365" y="373"/>
                    <a:pt x="365" y="373"/>
                    <a:pt x="365" y="373"/>
                  </a:cubicBezTo>
                  <a:cubicBezTo>
                    <a:pt x="365" y="372"/>
                    <a:pt x="365" y="372"/>
                    <a:pt x="365" y="372"/>
                  </a:cubicBezTo>
                  <a:cubicBezTo>
                    <a:pt x="366" y="372"/>
                    <a:pt x="366" y="372"/>
                    <a:pt x="366" y="372"/>
                  </a:cubicBezTo>
                  <a:cubicBezTo>
                    <a:pt x="366" y="372"/>
                    <a:pt x="366" y="372"/>
                    <a:pt x="366" y="372"/>
                  </a:cubicBezTo>
                  <a:cubicBezTo>
                    <a:pt x="365" y="372"/>
                    <a:pt x="365" y="372"/>
                    <a:pt x="365" y="372"/>
                  </a:cubicBezTo>
                  <a:cubicBezTo>
                    <a:pt x="365" y="372"/>
                    <a:pt x="365" y="372"/>
                    <a:pt x="365" y="372"/>
                  </a:cubicBezTo>
                  <a:cubicBezTo>
                    <a:pt x="364" y="371"/>
                    <a:pt x="364" y="371"/>
                    <a:pt x="364" y="371"/>
                  </a:cubicBezTo>
                  <a:cubicBezTo>
                    <a:pt x="363" y="371"/>
                    <a:pt x="363" y="371"/>
                    <a:pt x="363" y="371"/>
                  </a:cubicBezTo>
                  <a:cubicBezTo>
                    <a:pt x="363" y="370"/>
                    <a:pt x="363" y="370"/>
                    <a:pt x="363" y="370"/>
                  </a:cubicBezTo>
                  <a:cubicBezTo>
                    <a:pt x="364" y="370"/>
                    <a:pt x="364" y="370"/>
                    <a:pt x="364" y="370"/>
                  </a:cubicBezTo>
                  <a:cubicBezTo>
                    <a:pt x="366" y="370"/>
                    <a:pt x="366" y="370"/>
                    <a:pt x="366" y="370"/>
                  </a:cubicBezTo>
                  <a:cubicBezTo>
                    <a:pt x="366" y="370"/>
                    <a:pt x="366" y="370"/>
                    <a:pt x="366" y="370"/>
                  </a:cubicBezTo>
                  <a:cubicBezTo>
                    <a:pt x="363" y="369"/>
                    <a:pt x="363" y="369"/>
                    <a:pt x="363" y="369"/>
                  </a:cubicBezTo>
                  <a:cubicBezTo>
                    <a:pt x="362" y="368"/>
                    <a:pt x="362" y="368"/>
                    <a:pt x="362" y="368"/>
                  </a:cubicBezTo>
                  <a:cubicBezTo>
                    <a:pt x="364" y="368"/>
                    <a:pt x="364" y="368"/>
                    <a:pt x="364" y="368"/>
                  </a:cubicBezTo>
                  <a:cubicBezTo>
                    <a:pt x="365" y="368"/>
                    <a:pt x="365" y="368"/>
                    <a:pt x="365" y="368"/>
                  </a:cubicBezTo>
                  <a:cubicBezTo>
                    <a:pt x="365" y="367"/>
                    <a:pt x="365" y="367"/>
                    <a:pt x="365" y="367"/>
                  </a:cubicBezTo>
                  <a:cubicBezTo>
                    <a:pt x="364" y="367"/>
                    <a:pt x="364" y="367"/>
                    <a:pt x="364" y="367"/>
                  </a:cubicBezTo>
                  <a:cubicBezTo>
                    <a:pt x="363" y="367"/>
                    <a:pt x="363" y="367"/>
                    <a:pt x="363" y="367"/>
                  </a:cubicBezTo>
                  <a:cubicBezTo>
                    <a:pt x="363" y="366"/>
                    <a:pt x="363" y="366"/>
                    <a:pt x="363" y="366"/>
                  </a:cubicBezTo>
                  <a:cubicBezTo>
                    <a:pt x="365" y="366"/>
                    <a:pt x="365" y="366"/>
                    <a:pt x="365" y="366"/>
                  </a:cubicBezTo>
                  <a:cubicBezTo>
                    <a:pt x="366" y="366"/>
                    <a:pt x="366" y="366"/>
                    <a:pt x="366" y="366"/>
                  </a:cubicBezTo>
                  <a:cubicBezTo>
                    <a:pt x="367" y="367"/>
                    <a:pt x="367" y="367"/>
                    <a:pt x="367" y="367"/>
                  </a:cubicBezTo>
                  <a:cubicBezTo>
                    <a:pt x="368" y="367"/>
                    <a:pt x="368" y="367"/>
                    <a:pt x="368" y="367"/>
                  </a:cubicBezTo>
                  <a:cubicBezTo>
                    <a:pt x="368" y="367"/>
                    <a:pt x="368" y="367"/>
                    <a:pt x="368" y="367"/>
                  </a:cubicBezTo>
                  <a:cubicBezTo>
                    <a:pt x="368" y="366"/>
                    <a:pt x="368" y="366"/>
                    <a:pt x="368" y="366"/>
                  </a:cubicBezTo>
                  <a:cubicBezTo>
                    <a:pt x="364" y="365"/>
                    <a:pt x="364" y="365"/>
                    <a:pt x="364" y="365"/>
                  </a:cubicBezTo>
                  <a:cubicBezTo>
                    <a:pt x="364" y="364"/>
                    <a:pt x="364" y="364"/>
                    <a:pt x="364" y="364"/>
                  </a:cubicBezTo>
                  <a:cubicBezTo>
                    <a:pt x="366" y="365"/>
                    <a:pt x="366" y="365"/>
                    <a:pt x="366" y="365"/>
                  </a:cubicBezTo>
                  <a:cubicBezTo>
                    <a:pt x="367" y="365"/>
                    <a:pt x="367" y="365"/>
                    <a:pt x="367" y="365"/>
                  </a:cubicBezTo>
                  <a:cubicBezTo>
                    <a:pt x="366" y="364"/>
                    <a:pt x="366" y="364"/>
                    <a:pt x="366" y="364"/>
                  </a:cubicBezTo>
                  <a:cubicBezTo>
                    <a:pt x="366" y="364"/>
                    <a:pt x="366" y="364"/>
                    <a:pt x="366" y="364"/>
                  </a:cubicBezTo>
                  <a:cubicBezTo>
                    <a:pt x="366" y="364"/>
                    <a:pt x="366" y="364"/>
                    <a:pt x="366" y="364"/>
                  </a:cubicBezTo>
                  <a:cubicBezTo>
                    <a:pt x="366" y="364"/>
                    <a:pt x="366" y="364"/>
                    <a:pt x="366" y="364"/>
                  </a:cubicBezTo>
                  <a:cubicBezTo>
                    <a:pt x="368" y="363"/>
                    <a:pt x="368" y="363"/>
                    <a:pt x="368" y="363"/>
                  </a:cubicBezTo>
                  <a:cubicBezTo>
                    <a:pt x="368" y="363"/>
                    <a:pt x="368" y="363"/>
                    <a:pt x="368" y="363"/>
                  </a:cubicBezTo>
                  <a:cubicBezTo>
                    <a:pt x="369" y="362"/>
                    <a:pt x="369" y="362"/>
                    <a:pt x="369" y="362"/>
                  </a:cubicBezTo>
                  <a:cubicBezTo>
                    <a:pt x="367" y="360"/>
                    <a:pt x="367" y="360"/>
                    <a:pt x="367" y="360"/>
                  </a:cubicBezTo>
                  <a:cubicBezTo>
                    <a:pt x="366" y="360"/>
                    <a:pt x="366" y="360"/>
                    <a:pt x="366" y="360"/>
                  </a:cubicBezTo>
                  <a:cubicBezTo>
                    <a:pt x="365" y="360"/>
                    <a:pt x="365" y="360"/>
                    <a:pt x="365" y="360"/>
                  </a:cubicBezTo>
                  <a:cubicBezTo>
                    <a:pt x="365" y="359"/>
                    <a:pt x="365" y="359"/>
                    <a:pt x="365" y="359"/>
                  </a:cubicBezTo>
                  <a:cubicBezTo>
                    <a:pt x="368" y="359"/>
                    <a:pt x="368" y="359"/>
                    <a:pt x="368" y="359"/>
                  </a:cubicBezTo>
                  <a:cubicBezTo>
                    <a:pt x="369" y="360"/>
                    <a:pt x="369" y="360"/>
                    <a:pt x="369" y="360"/>
                  </a:cubicBezTo>
                  <a:cubicBezTo>
                    <a:pt x="370" y="361"/>
                    <a:pt x="370" y="361"/>
                    <a:pt x="370" y="361"/>
                  </a:cubicBezTo>
                  <a:cubicBezTo>
                    <a:pt x="370" y="362"/>
                    <a:pt x="370" y="362"/>
                    <a:pt x="370" y="362"/>
                  </a:cubicBezTo>
                  <a:cubicBezTo>
                    <a:pt x="370" y="362"/>
                    <a:pt x="370" y="362"/>
                    <a:pt x="370" y="362"/>
                  </a:cubicBezTo>
                  <a:cubicBezTo>
                    <a:pt x="371" y="362"/>
                    <a:pt x="371" y="362"/>
                    <a:pt x="371" y="362"/>
                  </a:cubicBezTo>
                  <a:cubicBezTo>
                    <a:pt x="371" y="361"/>
                    <a:pt x="371" y="361"/>
                    <a:pt x="371" y="361"/>
                  </a:cubicBezTo>
                  <a:cubicBezTo>
                    <a:pt x="371" y="361"/>
                    <a:pt x="371" y="361"/>
                    <a:pt x="371" y="361"/>
                  </a:cubicBezTo>
                  <a:cubicBezTo>
                    <a:pt x="371" y="360"/>
                    <a:pt x="371" y="360"/>
                    <a:pt x="371" y="360"/>
                  </a:cubicBezTo>
                  <a:cubicBezTo>
                    <a:pt x="372" y="360"/>
                    <a:pt x="372" y="360"/>
                    <a:pt x="372" y="360"/>
                  </a:cubicBezTo>
                  <a:cubicBezTo>
                    <a:pt x="372" y="362"/>
                    <a:pt x="372" y="362"/>
                    <a:pt x="372" y="362"/>
                  </a:cubicBezTo>
                  <a:cubicBezTo>
                    <a:pt x="373" y="364"/>
                    <a:pt x="373" y="364"/>
                    <a:pt x="373" y="364"/>
                  </a:cubicBezTo>
                  <a:cubicBezTo>
                    <a:pt x="374" y="365"/>
                    <a:pt x="374" y="365"/>
                    <a:pt x="374" y="365"/>
                  </a:cubicBezTo>
                  <a:cubicBezTo>
                    <a:pt x="374" y="365"/>
                    <a:pt x="374" y="365"/>
                    <a:pt x="374" y="365"/>
                  </a:cubicBezTo>
                  <a:cubicBezTo>
                    <a:pt x="375" y="365"/>
                    <a:pt x="375" y="365"/>
                    <a:pt x="375" y="365"/>
                  </a:cubicBezTo>
                  <a:cubicBezTo>
                    <a:pt x="375" y="365"/>
                    <a:pt x="375" y="365"/>
                    <a:pt x="375" y="365"/>
                  </a:cubicBezTo>
                  <a:cubicBezTo>
                    <a:pt x="376" y="365"/>
                    <a:pt x="376" y="365"/>
                    <a:pt x="376" y="365"/>
                  </a:cubicBezTo>
                  <a:cubicBezTo>
                    <a:pt x="376" y="364"/>
                    <a:pt x="376" y="364"/>
                    <a:pt x="376" y="364"/>
                  </a:cubicBezTo>
                  <a:cubicBezTo>
                    <a:pt x="376" y="363"/>
                    <a:pt x="376" y="363"/>
                    <a:pt x="376" y="363"/>
                  </a:cubicBezTo>
                  <a:cubicBezTo>
                    <a:pt x="376" y="362"/>
                    <a:pt x="376" y="362"/>
                    <a:pt x="376" y="362"/>
                  </a:cubicBezTo>
                  <a:cubicBezTo>
                    <a:pt x="376" y="362"/>
                    <a:pt x="376" y="362"/>
                    <a:pt x="376" y="362"/>
                  </a:cubicBezTo>
                  <a:cubicBezTo>
                    <a:pt x="376" y="361"/>
                    <a:pt x="376" y="361"/>
                    <a:pt x="376" y="361"/>
                  </a:cubicBezTo>
                  <a:cubicBezTo>
                    <a:pt x="376" y="360"/>
                    <a:pt x="376" y="360"/>
                    <a:pt x="376" y="360"/>
                  </a:cubicBezTo>
                  <a:cubicBezTo>
                    <a:pt x="376" y="359"/>
                    <a:pt x="376" y="359"/>
                    <a:pt x="376" y="359"/>
                  </a:cubicBezTo>
                  <a:cubicBezTo>
                    <a:pt x="375" y="359"/>
                    <a:pt x="375" y="359"/>
                    <a:pt x="375" y="359"/>
                  </a:cubicBezTo>
                  <a:cubicBezTo>
                    <a:pt x="375" y="359"/>
                    <a:pt x="375" y="359"/>
                    <a:pt x="375" y="359"/>
                  </a:cubicBezTo>
                  <a:cubicBezTo>
                    <a:pt x="374" y="359"/>
                    <a:pt x="374" y="359"/>
                    <a:pt x="374" y="359"/>
                  </a:cubicBezTo>
                  <a:cubicBezTo>
                    <a:pt x="373" y="360"/>
                    <a:pt x="373" y="360"/>
                    <a:pt x="373" y="360"/>
                  </a:cubicBezTo>
                  <a:cubicBezTo>
                    <a:pt x="372" y="359"/>
                    <a:pt x="372" y="359"/>
                    <a:pt x="372" y="359"/>
                  </a:cubicBezTo>
                  <a:cubicBezTo>
                    <a:pt x="372" y="358"/>
                    <a:pt x="372" y="358"/>
                    <a:pt x="372" y="358"/>
                  </a:cubicBezTo>
                  <a:cubicBezTo>
                    <a:pt x="372" y="357"/>
                    <a:pt x="372" y="357"/>
                    <a:pt x="372" y="357"/>
                  </a:cubicBezTo>
                  <a:cubicBezTo>
                    <a:pt x="372" y="356"/>
                    <a:pt x="372" y="356"/>
                    <a:pt x="372" y="356"/>
                  </a:cubicBezTo>
                  <a:cubicBezTo>
                    <a:pt x="372" y="355"/>
                    <a:pt x="372" y="355"/>
                    <a:pt x="372" y="355"/>
                  </a:cubicBezTo>
                  <a:cubicBezTo>
                    <a:pt x="372" y="355"/>
                    <a:pt x="372" y="355"/>
                    <a:pt x="372" y="355"/>
                  </a:cubicBezTo>
                  <a:cubicBezTo>
                    <a:pt x="372" y="355"/>
                    <a:pt x="372" y="355"/>
                    <a:pt x="372" y="355"/>
                  </a:cubicBezTo>
                  <a:cubicBezTo>
                    <a:pt x="372" y="355"/>
                    <a:pt x="372" y="355"/>
                    <a:pt x="372" y="355"/>
                  </a:cubicBezTo>
                  <a:cubicBezTo>
                    <a:pt x="373" y="354"/>
                    <a:pt x="373" y="354"/>
                    <a:pt x="373" y="354"/>
                  </a:cubicBezTo>
                  <a:cubicBezTo>
                    <a:pt x="373" y="354"/>
                    <a:pt x="373" y="354"/>
                    <a:pt x="373" y="354"/>
                  </a:cubicBezTo>
                  <a:cubicBezTo>
                    <a:pt x="373" y="353"/>
                    <a:pt x="373" y="353"/>
                    <a:pt x="373" y="353"/>
                  </a:cubicBezTo>
                  <a:cubicBezTo>
                    <a:pt x="371" y="354"/>
                    <a:pt x="371" y="354"/>
                    <a:pt x="371" y="354"/>
                  </a:cubicBezTo>
                  <a:cubicBezTo>
                    <a:pt x="371" y="353"/>
                    <a:pt x="371" y="353"/>
                    <a:pt x="371" y="353"/>
                  </a:cubicBezTo>
                  <a:cubicBezTo>
                    <a:pt x="371" y="353"/>
                    <a:pt x="371" y="353"/>
                    <a:pt x="371" y="353"/>
                  </a:cubicBezTo>
                  <a:cubicBezTo>
                    <a:pt x="371" y="353"/>
                    <a:pt x="371" y="353"/>
                    <a:pt x="371" y="353"/>
                  </a:cubicBezTo>
                  <a:cubicBezTo>
                    <a:pt x="371" y="353"/>
                    <a:pt x="371" y="353"/>
                    <a:pt x="371" y="353"/>
                  </a:cubicBezTo>
                  <a:cubicBezTo>
                    <a:pt x="371" y="352"/>
                    <a:pt x="371" y="352"/>
                    <a:pt x="371" y="352"/>
                  </a:cubicBezTo>
                  <a:cubicBezTo>
                    <a:pt x="371" y="352"/>
                    <a:pt x="371" y="352"/>
                    <a:pt x="371" y="352"/>
                  </a:cubicBezTo>
                  <a:cubicBezTo>
                    <a:pt x="371" y="351"/>
                    <a:pt x="371" y="351"/>
                    <a:pt x="371" y="351"/>
                  </a:cubicBezTo>
                  <a:cubicBezTo>
                    <a:pt x="371" y="351"/>
                    <a:pt x="371" y="351"/>
                    <a:pt x="371" y="351"/>
                  </a:cubicBezTo>
                  <a:cubicBezTo>
                    <a:pt x="371" y="351"/>
                    <a:pt x="371" y="351"/>
                    <a:pt x="371" y="351"/>
                  </a:cubicBezTo>
                  <a:cubicBezTo>
                    <a:pt x="371" y="351"/>
                    <a:pt x="371" y="351"/>
                    <a:pt x="371" y="351"/>
                  </a:cubicBezTo>
                  <a:cubicBezTo>
                    <a:pt x="371" y="350"/>
                    <a:pt x="371" y="350"/>
                    <a:pt x="371" y="350"/>
                  </a:cubicBezTo>
                  <a:cubicBezTo>
                    <a:pt x="371" y="350"/>
                    <a:pt x="371" y="350"/>
                    <a:pt x="371" y="350"/>
                  </a:cubicBezTo>
                  <a:cubicBezTo>
                    <a:pt x="371" y="350"/>
                    <a:pt x="371" y="350"/>
                    <a:pt x="371" y="350"/>
                  </a:cubicBezTo>
                  <a:cubicBezTo>
                    <a:pt x="372" y="350"/>
                    <a:pt x="372" y="350"/>
                    <a:pt x="372" y="350"/>
                  </a:cubicBezTo>
                  <a:cubicBezTo>
                    <a:pt x="372" y="349"/>
                    <a:pt x="372" y="349"/>
                    <a:pt x="372" y="349"/>
                  </a:cubicBezTo>
                  <a:cubicBezTo>
                    <a:pt x="372" y="349"/>
                    <a:pt x="372" y="349"/>
                    <a:pt x="372" y="349"/>
                  </a:cubicBezTo>
                  <a:cubicBezTo>
                    <a:pt x="371" y="348"/>
                    <a:pt x="371" y="348"/>
                    <a:pt x="371" y="348"/>
                  </a:cubicBezTo>
                  <a:cubicBezTo>
                    <a:pt x="371" y="347"/>
                    <a:pt x="371" y="347"/>
                    <a:pt x="371" y="347"/>
                  </a:cubicBezTo>
                  <a:cubicBezTo>
                    <a:pt x="371" y="346"/>
                    <a:pt x="371" y="346"/>
                    <a:pt x="371" y="346"/>
                  </a:cubicBezTo>
                  <a:cubicBezTo>
                    <a:pt x="371" y="345"/>
                    <a:pt x="371" y="345"/>
                    <a:pt x="371" y="345"/>
                  </a:cubicBezTo>
                  <a:cubicBezTo>
                    <a:pt x="371" y="345"/>
                    <a:pt x="371" y="345"/>
                    <a:pt x="371" y="345"/>
                  </a:cubicBezTo>
                  <a:cubicBezTo>
                    <a:pt x="372" y="345"/>
                    <a:pt x="372" y="345"/>
                    <a:pt x="372" y="345"/>
                  </a:cubicBezTo>
                  <a:cubicBezTo>
                    <a:pt x="372" y="344"/>
                    <a:pt x="372" y="344"/>
                    <a:pt x="372" y="344"/>
                  </a:cubicBezTo>
                  <a:cubicBezTo>
                    <a:pt x="372" y="344"/>
                    <a:pt x="372" y="344"/>
                    <a:pt x="372" y="344"/>
                  </a:cubicBezTo>
                  <a:cubicBezTo>
                    <a:pt x="372" y="343"/>
                    <a:pt x="372" y="343"/>
                    <a:pt x="372" y="343"/>
                  </a:cubicBezTo>
                  <a:cubicBezTo>
                    <a:pt x="372" y="343"/>
                    <a:pt x="372" y="343"/>
                    <a:pt x="372" y="343"/>
                  </a:cubicBezTo>
                  <a:cubicBezTo>
                    <a:pt x="373" y="342"/>
                    <a:pt x="373" y="342"/>
                    <a:pt x="373" y="342"/>
                  </a:cubicBezTo>
                  <a:cubicBezTo>
                    <a:pt x="374" y="342"/>
                    <a:pt x="374" y="342"/>
                    <a:pt x="374" y="342"/>
                  </a:cubicBezTo>
                  <a:cubicBezTo>
                    <a:pt x="374" y="342"/>
                    <a:pt x="374" y="342"/>
                    <a:pt x="374" y="342"/>
                  </a:cubicBezTo>
                  <a:cubicBezTo>
                    <a:pt x="374" y="341"/>
                    <a:pt x="374" y="341"/>
                    <a:pt x="374" y="341"/>
                  </a:cubicBezTo>
                  <a:cubicBezTo>
                    <a:pt x="374" y="341"/>
                    <a:pt x="374" y="341"/>
                    <a:pt x="374" y="341"/>
                  </a:cubicBezTo>
                  <a:cubicBezTo>
                    <a:pt x="374" y="340"/>
                    <a:pt x="374" y="340"/>
                    <a:pt x="374" y="340"/>
                  </a:cubicBezTo>
                  <a:cubicBezTo>
                    <a:pt x="374" y="339"/>
                    <a:pt x="374" y="339"/>
                    <a:pt x="374" y="339"/>
                  </a:cubicBezTo>
                  <a:cubicBezTo>
                    <a:pt x="375" y="338"/>
                    <a:pt x="375" y="338"/>
                    <a:pt x="375" y="338"/>
                  </a:cubicBezTo>
                  <a:cubicBezTo>
                    <a:pt x="374" y="338"/>
                    <a:pt x="374" y="338"/>
                    <a:pt x="374" y="338"/>
                  </a:cubicBezTo>
                  <a:cubicBezTo>
                    <a:pt x="375" y="337"/>
                    <a:pt x="375" y="337"/>
                    <a:pt x="375" y="337"/>
                  </a:cubicBezTo>
                  <a:cubicBezTo>
                    <a:pt x="375" y="337"/>
                    <a:pt x="375" y="337"/>
                    <a:pt x="375" y="337"/>
                  </a:cubicBezTo>
                  <a:cubicBezTo>
                    <a:pt x="375" y="336"/>
                    <a:pt x="375" y="336"/>
                    <a:pt x="375" y="336"/>
                  </a:cubicBezTo>
                  <a:cubicBezTo>
                    <a:pt x="375" y="335"/>
                    <a:pt x="375" y="335"/>
                    <a:pt x="375" y="335"/>
                  </a:cubicBezTo>
                  <a:cubicBezTo>
                    <a:pt x="375" y="334"/>
                    <a:pt x="375" y="334"/>
                    <a:pt x="375" y="334"/>
                  </a:cubicBezTo>
                  <a:cubicBezTo>
                    <a:pt x="376" y="333"/>
                    <a:pt x="376" y="333"/>
                    <a:pt x="376" y="333"/>
                  </a:cubicBezTo>
                  <a:cubicBezTo>
                    <a:pt x="376" y="332"/>
                    <a:pt x="376" y="332"/>
                    <a:pt x="376" y="332"/>
                  </a:cubicBezTo>
                  <a:cubicBezTo>
                    <a:pt x="376" y="332"/>
                    <a:pt x="376" y="332"/>
                    <a:pt x="376" y="332"/>
                  </a:cubicBezTo>
                  <a:cubicBezTo>
                    <a:pt x="376" y="331"/>
                    <a:pt x="376" y="331"/>
                    <a:pt x="376" y="331"/>
                  </a:cubicBezTo>
                  <a:cubicBezTo>
                    <a:pt x="376" y="330"/>
                    <a:pt x="376" y="330"/>
                    <a:pt x="376" y="330"/>
                  </a:cubicBezTo>
                  <a:cubicBezTo>
                    <a:pt x="376" y="329"/>
                    <a:pt x="376" y="329"/>
                    <a:pt x="376" y="329"/>
                  </a:cubicBezTo>
                  <a:cubicBezTo>
                    <a:pt x="376" y="328"/>
                    <a:pt x="376" y="328"/>
                    <a:pt x="376" y="328"/>
                  </a:cubicBezTo>
                  <a:cubicBezTo>
                    <a:pt x="376" y="328"/>
                    <a:pt x="376" y="328"/>
                    <a:pt x="376" y="328"/>
                  </a:cubicBezTo>
                  <a:cubicBezTo>
                    <a:pt x="377" y="327"/>
                    <a:pt x="377" y="327"/>
                    <a:pt x="377" y="327"/>
                  </a:cubicBezTo>
                  <a:cubicBezTo>
                    <a:pt x="377" y="327"/>
                    <a:pt x="377" y="327"/>
                    <a:pt x="377" y="327"/>
                  </a:cubicBezTo>
                  <a:cubicBezTo>
                    <a:pt x="378" y="327"/>
                    <a:pt x="378" y="327"/>
                    <a:pt x="378" y="327"/>
                  </a:cubicBezTo>
                  <a:cubicBezTo>
                    <a:pt x="377" y="329"/>
                    <a:pt x="377" y="329"/>
                    <a:pt x="377" y="329"/>
                  </a:cubicBezTo>
                  <a:cubicBezTo>
                    <a:pt x="377" y="329"/>
                    <a:pt x="377" y="329"/>
                    <a:pt x="377" y="329"/>
                  </a:cubicBezTo>
                  <a:cubicBezTo>
                    <a:pt x="378" y="329"/>
                    <a:pt x="378" y="329"/>
                    <a:pt x="378" y="329"/>
                  </a:cubicBezTo>
                  <a:cubicBezTo>
                    <a:pt x="380" y="327"/>
                    <a:pt x="380" y="327"/>
                    <a:pt x="380" y="327"/>
                  </a:cubicBezTo>
                  <a:cubicBezTo>
                    <a:pt x="380" y="327"/>
                    <a:pt x="380" y="327"/>
                    <a:pt x="380" y="327"/>
                  </a:cubicBezTo>
                  <a:cubicBezTo>
                    <a:pt x="379" y="326"/>
                    <a:pt x="379" y="326"/>
                    <a:pt x="379" y="326"/>
                  </a:cubicBezTo>
                  <a:cubicBezTo>
                    <a:pt x="378" y="326"/>
                    <a:pt x="378" y="326"/>
                    <a:pt x="378" y="326"/>
                  </a:cubicBezTo>
                  <a:cubicBezTo>
                    <a:pt x="377" y="326"/>
                    <a:pt x="377" y="326"/>
                    <a:pt x="377" y="326"/>
                  </a:cubicBezTo>
                  <a:cubicBezTo>
                    <a:pt x="374" y="325"/>
                    <a:pt x="374" y="325"/>
                    <a:pt x="374" y="325"/>
                  </a:cubicBezTo>
                  <a:cubicBezTo>
                    <a:pt x="375" y="324"/>
                    <a:pt x="375" y="324"/>
                    <a:pt x="375" y="324"/>
                  </a:cubicBezTo>
                  <a:cubicBezTo>
                    <a:pt x="375" y="324"/>
                    <a:pt x="375" y="324"/>
                    <a:pt x="375" y="324"/>
                  </a:cubicBezTo>
                  <a:cubicBezTo>
                    <a:pt x="375" y="324"/>
                    <a:pt x="375" y="324"/>
                    <a:pt x="375" y="324"/>
                  </a:cubicBezTo>
                  <a:cubicBezTo>
                    <a:pt x="375" y="324"/>
                    <a:pt x="375" y="324"/>
                    <a:pt x="375" y="324"/>
                  </a:cubicBezTo>
                  <a:cubicBezTo>
                    <a:pt x="375" y="323"/>
                    <a:pt x="375" y="323"/>
                    <a:pt x="375" y="323"/>
                  </a:cubicBezTo>
                  <a:cubicBezTo>
                    <a:pt x="375" y="323"/>
                    <a:pt x="375" y="323"/>
                    <a:pt x="375" y="323"/>
                  </a:cubicBezTo>
                  <a:cubicBezTo>
                    <a:pt x="375" y="322"/>
                    <a:pt x="375" y="322"/>
                    <a:pt x="375" y="322"/>
                  </a:cubicBezTo>
                  <a:cubicBezTo>
                    <a:pt x="374" y="321"/>
                    <a:pt x="374" y="321"/>
                    <a:pt x="374" y="321"/>
                  </a:cubicBezTo>
                  <a:cubicBezTo>
                    <a:pt x="374" y="321"/>
                    <a:pt x="374" y="321"/>
                    <a:pt x="374" y="321"/>
                  </a:cubicBezTo>
                  <a:cubicBezTo>
                    <a:pt x="373" y="321"/>
                    <a:pt x="373" y="321"/>
                    <a:pt x="373" y="321"/>
                  </a:cubicBezTo>
                  <a:cubicBezTo>
                    <a:pt x="373" y="321"/>
                    <a:pt x="373" y="321"/>
                    <a:pt x="373" y="321"/>
                  </a:cubicBezTo>
                  <a:cubicBezTo>
                    <a:pt x="372" y="321"/>
                    <a:pt x="372" y="321"/>
                    <a:pt x="372" y="321"/>
                  </a:cubicBezTo>
                  <a:cubicBezTo>
                    <a:pt x="372" y="320"/>
                    <a:pt x="372" y="320"/>
                    <a:pt x="372" y="320"/>
                  </a:cubicBezTo>
                  <a:cubicBezTo>
                    <a:pt x="371" y="319"/>
                    <a:pt x="371" y="319"/>
                    <a:pt x="371" y="319"/>
                  </a:cubicBezTo>
                  <a:cubicBezTo>
                    <a:pt x="371" y="319"/>
                    <a:pt x="371" y="319"/>
                    <a:pt x="371" y="319"/>
                  </a:cubicBezTo>
                  <a:cubicBezTo>
                    <a:pt x="372" y="318"/>
                    <a:pt x="372" y="318"/>
                    <a:pt x="372" y="318"/>
                  </a:cubicBezTo>
                  <a:cubicBezTo>
                    <a:pt x="371" y="317"/>
                    <a:pt x="371" y="317"/>
                    <a:pt x="371" y="317"/>
                  </a:cubicBezTo>
                  <a:cubicBezTo>
                    <a:pt x="371" y="317"/>
                    <a:pt x="371" y="317"/>
                    <a:pt x="371" y="317"/>
                  </a:cubicBezTo>
                  <a:cubicBezTo>
                    <a:pt x="371" y="316"/>
                    <a:pt x="371" y="316"/>
                    <a:pt x="371" y="316"/>
                  </a:cubicBezTo>
                  <a:cubicBezTo>
                    <a:pt x="371" y="316"/>
                    <a:pt x="371" y="316"/>
                    <a:pt x="371" y="316"/>
                  </a:cubicBezTo>
                  <a:cubicBezTo>
                    <a:pt x="371" y="316"/>
                    <a:pt x="371" y="316"/>
                    <a:pt x="371" y="316"/>
                  </a:cubicBezTo>
                  <a:cubicBezTo>
                    <a:pt x="372" y="316"/>
                    <a:pt x="372" y="316"/>
                    <a:pt x="372" y="316"/>
                  </a:cubicBezTo>
                  <a:cubicBezTo>
                    <a:pt x="372" y="316"/>
                    <a:pt x="372" y="316"/>
                    <a:pt x="372" y="316"/>
                  </a:cubicBezTo>
                  <a:cubicBezTo>
                    <a:pt x="372" y="315"/>
                    <a:pt x="372" y="315"/>
                    <a:pt x="372" y="315"/>
                  </a:cubicBezTo>
                  <a:cubicBezTo>
                    <a:pt x="372" y="315"/>
                    <a:pt x="372" y="315"/>
                    <a:pt x="372" y="315"/>
                  </a:cubicBezTo>
                  <a:cubicBezTo>
                    <a:pt x="372" y="314"/>
                    <a:pt x="372" y="314"/>
                    <a:pt x="372" y="314"/>
                  </a:cubicBezTo>
                  <a:cubicBezTo>
                    <a:pt x="372" y="314"/>
                    <a:pt x="372" y="314"/>
                    <a:pt x="372" y="314"/>
                  </a:cubicBezTo>
                  <a:cubicBezTo>
                    <a:pt x="371" y="312"/>
                    <a:pt x="371" y="312"/>
                    <a:pt x="371" y="312"/>
                  </a:cubicBezTo>
                  <a:cubicBezTo>
                    <a:pt x="371" y="311"/>
                    <a:pt x="371" y="311"/>
                    <a:pt x="371" y="311"/>
                  </a:cubicBezTo>
                  <a:cubicBezTo>
                    <a:pt x="371" y="310"/>
                    <a:pt x="371" y="310"/>
                    <a:pt x="371" y="310"/>
                  </a:cubicBezTo>
                  <a:cubicBezTo>
                    <a:pt x="371" y="310"/>
                    <a:pt x="371" y="310"/>
                    <a:pt x="371" y="310"/>
                  </a:cubicBezTo>
                  <a:cubicBezTo>
                    <a:pt x="372" y="310"/>
                    <a:pt x="372" y="310"/>
                    <a:pt x="372" y="310"/>
                  </a:cubicBezTo>
                  <a:cubicBezTo>
                    <a:pt x="373" y="309"/>
                    <a:pt x="373" y="309"/>
                    <a:pt x="373" y="309"/>
                  </a:cubicBezTo>
                  <a:cubicBezTo>
                    <a:pt x="373" y="308"/>
                    <a:pt x="373" y="308"/>
                    <a:pt x="373" y="308"/>
                  </a:cubicBezTo>
                  <a:cubicBezTo>
                    <a:pt x="374" y="307"/>
                    <a:pt x="374" y="307"/>
                    <a:pt x="374" y="307"/>
                  </a:cubicBezTo>
                  <a:cubicBezTo>
                    <a:pt x="374" y="308"/>
                    <a:pt x="374" y="308"/>
                    <a:pt x="374" y="308"/>
                  </a:cubicBezTo>
                  <a:cubicBezTo>
                    <a:pt x="375" y="310"/>
                    <a:pt x="375" y="310"/>
                    <a:pt x="375" y="310"/>
                  </a:cubicBezTo>
                  <a:cubicBezTo>
                    <a:pt x="376" y="312"/>
                    <a:pt x="376" y="312"/>
                    <a:pt x="376" y="312"/>
                  </a:cubicBezTo>
                  <a:cubicBezTo>
                    <a:pt x="377" y="312"/>
                    <a:pt x="377" y="312"/>
                    <a:pt x="377" y="312"/>
                  </a:cubicBezTo>
                  <a:cubicBezTo>
                    <a:pt x="377" y="313"/>
                    <a:pt x="377" y="313"/>
                    <a:pt x="377" y="313"/>
                  </a:cubicBezTo>
                  <a:cubicBezTo>
                    <a:pt x="377" y="314"/>
                    <a:pt x="377" y="314"/>
                    <a:pt x="377" y="314"/>
                  </a:cubicBezTo>
                  <a:cubicBezTo>
                    <a:pt x="378" y="314"/>
                    <a:pt x="378" y="314"/>
                    <a:pt x="378" y="314"/>
                  </a:cubicBezTo>
                  <a:cubicBezTo>
                    <a:pt x="382" y="314"/>
                    <a:pt x="382" y="314"/>
                    <a:pt x="382" y="314"/>
                  </a:cubicBezTo>
                  <a:cubicBezTo>
                    <a:pt x="382" y="313"/>
                    <a:pt x="382" y="313"/>
                    <a:pt x="382" y="313"/>
                  </a:cubicBezTo>
                  <a:cubicBezTo>
                    <a:pt x="381" y="313"/>
                    <a:pt x="381" y="313"/>
                    <a:pt x="381" y="313"/>
                  </a:cubicBezTo>
                  <a:cubicBezTo>
                    <a:pt x="380" y="312"/>
                    <a:pt x="380" y="312"/>
                    <a:pt x="380" y="312"/>
                  </a:cubicBezTo>
                  <a:cubicBezTo>
                    <a:pt x="380" y="311"/>
                    <a:pt x="380" y="311"/>
                    <a:pt x="380" y="311"/>
                  </a:cubicBezTo>
                  <a:cubicBezTo>
                    <a:pt x="381" y="311"/>
                    <a:pt x="381" y="311"/>
                    <a:pt x="381" y="311"/>
                  </a:cubicBezTo>
                  <a:cubicBezTo>
                    <a:pt x="381" y="310"/>
                    <a:pt x="381" y="310"/>
                    <a:pt x="381" y="310"/>
                  </a:cubicBezTo>
                  <a:cubicBezTo>
                    <a:pt x="383" y="310"/>
                    <a:pt x="383" y="310"/>
                    <a:pt x="383" y="310"/>
                  </a:cubicBezTo>
                  <a:cubicBezTo>
                    <a:pt x="384" y="310"/>
                    <a:pt x="384" y="310"/>
                    <a:pt x="384" y="310"/>
                  </a:cubicBezTo>
                  <a:cubicBezTo>
                    <a:pt x="384" y="310"/>
                    <a:pt x="384" y="310"/>
                    <a:pt x="384" y="310"/>
                  </a:cubicBezTo>
                  <a:cubicBezTo>
                    <a:pt x="385" y="311"/>
                    <a:pt x="385" y="311"/>
                    <a:pt x="385" y="311"/>
                  </a:cubicBezTo>
                  <a:cubicBezTo>
                    <a:pt x="385" y="311"/>
                    <a:pt x="385" y="311"/>
                    <a:pt x="385" y="311"/>
                  </a:cubicBezTo>
                  <a:cubicBezTo>
                    <a:pt x="386" y="311"/>
                    <a:pt x="386" y="311"/>
                    <a:pt x="386" y="311"/>
                  </a:cubicBezTo>
                  <a:cubicBezTo>
                    <a:pt x="386" y="310"/>
                    <a:pt x="386" y="310"/>
                    <a:pt x="386" y="310"/>
                  </a:cubicBezTo>
                  <a:cubicBezTo>
                    <a:pt x="387" y="308"/>
                    <a:pt x="387" y="308"/>
                    <a:pt x="387" y="308"/>
                  </a:cubicBezTo>
                  <a:cubicBezTo>
                    <a:pt x="387" y="307"/>
                    <a:pt x="387" y="307"/>
                    <a:pt x="387" y="307"/>
                  </a:cubicBezTo>
                  <a:cubicBezTo>
                    <a:pt x="388" y="307"/>
                    <a:pt x="388" y="307"/>
                    <a:pt x="388" y="307"/>
                  </a:cubicBezTo>
                  <a:cubicBezTo>
                    <a:pt x="388" y="307"/>
                    <a:pt x="388" y="307"/>
                    <a:pt x="388" y="307"/>
                  </a:cubicBezTo>
                  <a:cubicBezTo>
                    <a:pt x="388" y="306"/>
                    <a:pt x="388" y="306"/>
                    <a:pt x="388" y="306"/>
                  </a:cubicBezTo>
                  <a:cubicBezTo>
                    <a:pt x="388" y="306"/>
                    <a:pt x="388" y="306"/>
                    <a:pt x="388" y="306"/>
                  </a:cubicBezTo>
                  <a:cubicBezTo>
                    <a:pt x="388" y="305"/>
                    <a:pt x="388" y="305"/>
                    <a:pt x="388" y="305"/>
                  </a:cubicBezTo>
                  <a:cubicBezTo>
                    <a:pt x="388" y="303"/>
                    <a:pt x="388" y="303"/>
                    <a:pt x="388" y="303"/>
                  </a:cubicBezTo>
                  <a:cubicBezTo>
                    <a:pt x="389" y="303"/>
                    <a:pt x="389" y="303"/>
                    <a:pt x="389" y="303"/>
                  </a:cubicBezTo>
                  <a:cubicBezTo>
                    <a:pt x="389" y="302"/>
                    <a:pt x="389" y="302"/>
                    <a:pt x="389" y="302"/>
                  </a:cubicBezTo>
                  <a:cubicBezTo>
                    <a:pt x="389" y="303"/>
                    <a:pt x="389" y="303"/>
                    <a:pt x="389" y="303"/>
                  </a:cubicBezTo>
                  <a:cubicBezTo>
                    <a:pt x="389" y="303"/>
                    <a:pt x="389" y="303"/>
                    <a:pt x="389" y="303"/>
                  </a:cubicBezTo>
                  <a:cubicBezTo>
                    <a:pt x="389" y="303"/>
                    <a:pt x="389" y="303"/>
                    <a:pt x="389" y="303"/>
                  </a:cubicBezTo>
                  <a:cubicBezTo>
                    <a:pt x="389" y="305"/>
                    <a:pt x="389" y="305"/>
                    <a:pt x="389" y="305"/>
                  </a:cubicBezTo>
                  <a:cubicBezTo>
                    <a:pt x="389" y="306"/>
                    <a:pt x="389" y="306"/>
                    <a:pt x="389" y="306"/>
                  </a:cubicBezTo>
                  <a:cubicBezTo>
                    <a:pt x="390" y="306"/>
                    <a:pt x="390" y="306"/>
                    <a:pt x="390" y="306"/>
                  </a:cubicBezTo>
                  <a:cubicBezTo>
                    <a:pt x="392" y="304"/>
                    <a:pt x="392" y="304"/>
                    <a:pt x="392" y="304"/>
                  </a:cubicBezTo>
                  <a:cubicBezTo>
                    <a:pt x="392" y="304"/>
                    <a:pt x="392" y="304"/>
                    <a:pt x="392" y="304"/>
                  </a:cubicBezTo>
                  <a:cubicBezTo>
                    <a:pt x="392" y="304"/>
                    <a:pt x="392" y="304"/>
                    <a:pt x="392" y="304"/>
                  </a:cubicBezTo>
                  <a:cubicBezTo>
                    <a:pt x="392" y="303"/>
                    <a:pt x="392" y="303"/>
                    <a:pt x="392" y="303"/>
                  </a:cubicBezTo>
                  <a:cubicBezTo>
                    <a:pt x="392" y="303"/>
                    <a:pt x="392" y="303"/>
                    <a:pt x="392" y="303"/>
                  </a:cubicBezTo>
                  <a:cubicBezTo>
                    <a:pt x="392" y="302"/>
                    <a:pt x="392" y="302"/>
                    <a:pt x="392" y="302"/>
                  </a:cubicBezTo>
                  <a:cubicBezTo>
                    <a:pt x="387" y="300"/>
                    <a:pt x="387" y="300"/>
                    <a:pt x="387" y="300"/>
                  </a:cubicBezTo>
                  <a:cubicBezTo>
                    <a:pt x="387" y="299"/>
                    <a:pt x="387" y="299"/>
                    <a:pt x="387" y="299"/>
                  </a:cubicBezTo>
                  <a:cubicBezTo>
                    <a:pt x="389" y="299"/>
                    <a:pt x="389" y="299"/>
                    <a:pt x="389" y="299"/>
                  </a:cubicBezTo>
                  <a:cubicBezTo>
                    <a:pt x="389" y="299"/>
                    <a:pt x="389" y="299"/>
                    <a:pt x="389" y="299"/>
                  </a:cubicBezTo>
                  <a:cubicBezTo>
                    <a:pt x="390" y="300"/>
                    <a:pt x="390" y="300"/>
                    <a:pt x="390" y="300"/>
                  </a:cubicBezTo>
                  <a:cubicBezTo>
                    <a:pt x="390" y="300"/>
                    <a:pt x="390" y="300"/>
                    <a:pt x="390" y="300"/>
                  </a:cubicBezTo>
                  <a:cubicBezTo>
                    <a:pt x="390" y="300"/>
                    <a:pt x="390" y="300"/>
                    <a:pt x="390" y="300"/>
                  </a:cubicBezTo>
                  <a:cubicBezTo>
                    <a:pt x="390" y="300"/>
                    <a:pt x="390" y="300"/>
                    <a:pt x="390" y="300"/>
                  </a:cubicBezTo>
                  <a:cubicBezTo>
                    <a:pt x="390" y="299"/>
                    <a:pt x="390" y="299"/>
                    <a:pt x="390" y="299"/>
                  </a:cubicBezTo>
                  <a:cubicBezTo>
                    <a:pt x="390" y="299"/>
                    <a:pt x="390" y="299"/>
                    <a:pt x="390" y="299"/>
                  </a:cubicBezTo>
                  <a:cubicBezTo>
                    <a:pt x="390" y="298"/>
                    <a:pt x="390" y="298"/>
                    <a:pt x="390" y="298"/>
                  </a:cubicBezTo>
                  <a:cubicBezTo>
                    <a:pt x="391" y="297"/>
                    <a:pt x="391" y="297"/>
                    <a:pt x="391" y="297"/>
                  </a:cubicBezTo>
                  <a:cubicBezTo>
                    <a:pt x="391" y="296"/>
                    <a:pt x="391" y="296"/>
                    <a:pt x="391" y="296"/>
                  </a:cubicBezTo>
                  <a:cubicBezTo>
                    <a:pt x="390" y="295"/>
                    <a:pt x="390" y="295"/>
                    <a:pt x="390" y="295"/>
                  </a:cubicBezTo>
                  <a:cubicBezTo>
                    <a:pt x="389" y="294"/>
                    <a:pt x="389" y="294"/>
                    <a:pt x="389" y="294"/>
                  </a:cubicBezTo>
                  <a:cubicBezTo>
                    <a:pt x="389" y="293"/>
                    <a:pt x="389" y="293"/>
                    <a:pt x="389" y="293"/>
                  </a:cubicBezTo>
                  <a:cubicBezTo>
                    <a:pt x="389" y="292"/>
                    <a:pt x="389" y="292"/>
                    <a:pt x="389" y="292"/>
                  </a:cubicBezTo>
                  <a:cubicBezTo>
                    <a:pt x="389" y="292"/>
                    <a:pt x="389" y="292"/>
                    <a:pt x="389" y="292"/>
                  </a:cubicBezTo>
                  <a:cubicBezTo>
                    <a:pt x="389" y="291"/>
                    <a:pt x="389" y="291"/>
                    <a:pt x="389" y="291"/>
                  </a:cubicBezTo>
                  <a:cubicBezTo>
                    <a:pt x="388" y="290"/>
                    <a:pt x="388" y="290"/>
                    <a:pt x="388" y="290"/>
                  </a:cubicBezTo>
                  <a:cubicBezTo>
                    <a:pt x="387" y="290"/>
                    <a:pt x="387" y="290"/>
                    <a:pt x="387" y="290"/>
                  </a:cubicBezTo>
                  <a:cubicBezTo>
                    <a:pt x="387" y="289"/>
                    <a:pt x="387" y="289"/>
                    <a:pt x="387" y="289"/>
                  </a:cubicBezTo>
                  <a:cubicBezTo>
                    <a:pt x="388" y="288"/>
                    <a:pt x="388" y="288"/>
                    <a:pt x="388" y="288"/>
                  </a:cubicBezTo>
                  <a:cubicBezTo>
                    <a:pt x="387" y="286"/>
                    <a:pt x="387" y="286"/>
                    <a:pt x="387" y="286"/>
                  </a:cubicBezTo>
                  <a:cubicBezTo>
                    <a:pt x="386" y="284"/>
                    <a:pt x="386" y="284"/>
                    <a:pt x="386" y="284"/>
                  </a:cubicBezTo>
                  <a:cubicBezTo>
                    <a:pt x="386" y="283"/>
                    <a:pt x="386" y="283"/>
                    <a:pt x="386" y="283"/>
                  </a:cubicBezTo>
                  <a:cubicBezTo>
                    <a:pt x="385" y="281"/>
                    <a:pt x="385" y="281"/>
                    <a:pt x="385" y="281"/>
                  </a:cubicBezTo>
                  <a:cubicBezTo>
                    <a:pt x="381" y="278"/>
                    <a:pt x="381" y="278"/>
                    <a:pt x="381" y="278"/>
                  </a:cubicBezTo>
                  <a:cubicBezTo>
                    <a:pt x="382" y="278"/>
                    <a:pt x="382" y="278"/>
                    <a:pt x="382" y="278"/>
                  </a:cubicBezTo>
                  <a:cubicBezTo>
                    <a:pt x="382" y="278"/>
                    <a:pt x="382" y="278"/>
                    <a:pt x="382" y="278"/>
                  </a:cubicBezTo>
                  <a:cubicBezTo>
                    <a:pt x="383" y="279"/>
                    <a:pt x="383" y="279"/>
                    <a:pt x="383" y="279"/>
                  </a:cubicBezTo>
                  <a:cubicBezTo>
                    <a:pt x="383" y="279"/>
                    <a:pt x="383" y="279"/>
                    <a:pt x="383" y="279"/>
                  </a:cubicBezTo>
                  <a:cubicBezTo>
                    <a:pt x="384" y="279"/>
                    <a:pt x="384" y="279"/>
                    <a:pt x="384" y="279"/>
                  </a:cubicBezTo>
                  <a:cubicBezTo>
                    <a:pt x="385" y="278"/>
                    <a:pt x="385" y="278"/>
                    <a:pt x="385" y="278"/>
                  </a:cubicBezTo>
                  <a:cubicBezTo>
                    <a:pt x="386" y="277"/>
                    <a:pt x="386" y="277"/>
                    <a:pt x="386" y="277"/>
                  </a:cubicBezTo>
                  <a:cubicBezTo>
                    <a:pt x="385" y="279"/>
                    <a:pt x="385" y="279"/>
                    <a:pt x="385" y="279"/>
                  </a:cubicBezTo>
                  <a:cubicBezTo>
                    <a:pt x="385" y="279"/>
                    <a:pt x="385" y="279"/>
                    <a:pt x="385" y="279"/>
                  </a:cubicBezTo>
                  <a:cubicBezTo>
                    <a:pt x="385" y="279"/>
                    <a:pt x="385" y="279"/>
                    <a:pt x="385" y="279"/>
                  </a:cubicBezTo>
                  <a:cubicBezTo>
                    <a:pt x="386" y="279"/>
                    <a:pt x="386" y="279"/>
                    <a:pt x="386" y="279"/>
                  </a:cubicBezTo>
                  <a:cubicBezTo>
                    <a:pt x="386" y="280"/>
                    <a:pt x="386" y="280"/>
                    <a:pt x="386" y="280"/>
                  </a:cubicBezTo>
                  <a:cubicBezTo>
                    <a:pt x="386" y="280"/>
                    <a:pt x="386" y="280"/>
                    <a:pt x="386" y="280"/>
                  </a:cubicBezTo>
                  <a:cubicBezTo>
                    <a:pt x="387" y="283"/>
                    <a:pt x="387" y="283"/>
                    <a:pt x="387" y="283"/>
                  </a:cubicBezTo>
                  <a:cubicBezTo>
                    <a:pt x="387" y="283"/>
                    <a:pt x="387" y="283"/>
                    <a:pt x="387" y="283"/>
                  </a:cubicBezTo>
                  <a:cubicBezTo>
                    <a:pt x="387" y="283"/>
                    <a:pt x="387" y="283"/>
                    <a:pt x="387" y="283"/>
                  </a:cubicBezTo>
                  <a:cubicBezTo>
                    <a:pt x="388" y="283"/>
                    <a:pt x="388" y="283"/>
                    <a:pt x="388" y="283"/>
                  </a:cubicBezTo>
                  <a:cubicBezTo>
                    <a:pt x="388" y="283"/>
                    <a:pt x="388" y="283"/>
                    <a:pt x="388" y="283"/>
                  </a:cubicBezTo>
                  <a:cubicBezTo>
                    <a:pt x="388" y="284"/>
                    <a:pt x="388" y="284"/>
                    <a:pt x="388" y="284"/>
                  </a:cubicBezTo>
                  <a:cubicBezTo>
                    <a:pt x="388" y="284"/>
                    <a:pt x="388" y="284"/>
                    <a:pt x="388" y="284"/>
                  </a:cubicBezTo>
                  <a:cubicBezTo>
                    <a:pt x="388" y="285"/>
                    <a:pt x="388" y="285"/>
                    <a:pt x="388" y="285"/>
                  </a:cubicBezTo>
                  <a:cubicBezTo>
                    <a:pt x="388" y="285"/>
                    <a:pt x="388" y="285"/>
                    <a:pt x="388" y="285"/>
                  </a:cubicBezTo>
                  <a:cubicBezTo>
                    <a:pt x="388" y="286"/>
                    <a:pt x="388" y="286"/>
                    <a:pt x="388" y="286"/>
                  </a:cubicBezTo>
                  <a:cubicBezTo>
                    <a:pt x="388" y="286"/>
                    <a:pt x="388" y="286"/>
                    <a:pt x="388" y="286"/>
                  </a:cubicBezTo>
                  <a:cubicBezTo>
                    <a:pt x="388" y="286"/>
                    <a:pt x="388" y="286"/>
                    <a:pt x="388" y="286"/>
                  </a:cubicBezTo>
                  <a:cubicBezTo>
                    <a:pt x="388" y="289"/>
                    <a:pt x="388" y="289"/>
                    <a:pt x="388" y="289"/>
                  </a:cubicBezTo>
                  <a:cubicBezTo>
                    <a:pt x="388" y="289"/>
                    <a:pt x="388" y="289"/>
                    <a:pt x="388" y="289"/>
                  </a:cubicBezTo>
                  <a:cubicBezTo>
                    <a:pt x="389" y="290"/>
                    <a:pt x="389" y="290"/>
                    <a:pt x="389" y="290"/>
                  </a:cubicBezTo>
                  <a:cubicBezTo>
                    <a:pt x="389" y="290"/>
                    <a:pt x="389" y="290"/>
                    <a:pt x="389" y="290"/>
                  </a:cubicBezTo>
                  <a:cubicBezTo>
                    <a:pt x="390" y="290"/>
                    <a:pt x="390" y="290"/>
                    <a:pt x="390" y="290"/>
                  </a:cubicBezTo>
                  <a:cubicBezTo>
                    <a:pt x="390" y="290"/>
                    <a:pt x="390" y="290"/>
                    <a:pt x="390" y="290"/>
                  </a:cubicBezTo>
                  <a:cubicBezTo>
                    <a:pt x="390" y="289"/>
                    <a:pt x="390" y="289"/>
                    <a:pt x="390" y="289"/>
                  </a:cubicBezTo>
                  <a:cubicBezTo>
                    <a:pt x="391" y="288"/>
                    <a:pt x="391" y="288"/>
                    <a:pt x="391" y="288"/>
                  </a:cubicBezTo>
                  <a:cubicBezTo>
                    <a:pt x="392" y="287"/>
                    <a:pt x="392" y="287"/>
                    <a:pt x="392" y="287"/>
                  </a:cubicBezTo>
                  <a:cubicBezTo>
                    <a:pt x="393" y="287"/>
                    <a:pt x="393" y="287"/>
                    <a:pt x="393" y="287"/>
                  </a:cubicBezTo>
                  <a:cubicBezTo>
                    <a:pt x="393" y="287"/>
                    <a:pt x="393" y="287"/>
                    <a:pt x="393" y="287"/>
                  </a:cubicBezTo>
                  <a:cubicBezTo>
                    <a:pt x="393" y="287"/>
                    <a:pt x="393" y="287"/>
                    <a:pt x="393" y="287"/>
                  </a:cubicBezTo>
                  <a:cubicBezTo>
                    <a:pt x="393" y="287"/>
                    <a:pt x="393" y="287"/>
                    <a:pt x="393" y="287"/>
                  </a:cubicBezTo>
                  <a:cubicBezTo>
                    <a:pt x="393" y="288"/>
                    <a:pt x="393" y="288"/>
                    <a:pt x="393" y="288"/>
                  </a:cubicBezTo>
                  <a:cubicBezTo>
                    <a:pt x="394" y="289"/>
                    <a:pt x="394" y="289"/>
                    <a:pt x="394" y="289"/>
                  </a:cubicBezTo>
                  <a:cubicBezTo>
                    <a:pt x="395" y="289"/>
                    <a:pt x="395" y="289"/>
                    <a:pt x="395" y="289"/>
                  </a:cubicBezTo>
                  <a:cubicBezTo>
                    <a:pt x="394" y="290"/>
                    <a:pt x="394" y="290"/>
                    <a:pt x="394" y="290"/>
                  </a:cubicBezTo>
                  <a:cubicBezTo>
                    <a:pt x="392" y="290"/>
                    <a:pt x="392" y="290"/>
                    <a:pt x="392" y="290"/>
                  </a:cubicBezTo>
                  <a:cubicBezTo>
                    <a:pt x="391" y="291"/>
                    <a:pt x="391" y="291"/>
                    <a:pt x="391" y="291"/>
                  </a:cubicBezTo>
                  <a:cubicBezTo>
                    <a:pt x="392" y="291"/>
                    <a:pt x="392" y="291"/>
                    <a:pt x="392" y="291"/>
                  </a:cubicBezTo>
                  <a:cubicBezTo>
                    <a:pt x="393" y="291"/>
                    <a:pt x="393" y="291"/>
                    <a:pt x="393" y="291"/>
                  </a:cubicBezTo>
                  <a:cubicBezTo>
                    <a:pt x="393" y="291"/>
                    <a:pt x="393" y="291"/>
                    <a:pt x="393" y="291"/>
                  </a:cubicBezTo>
                  <a:cubicBezTo>
                    <a:pt x="393" y="292"/>
                    <a:pt x="393" y="292"/>
                    <a:pt x="393" y="292"/>
                  </a:cubicBezTo>
                  <a:cubicBezTo>
                    <a:pt x="393" y="292"/>
                    <a:pt x="393" y="292"/>
                    <a:pt x="393" y="292"/>
                  </a:cubicBezTo>
                  <a:cubicBezTo>
                    <a:pt x="394" y="293"/>
                    <a:pt x="394" y="293"/>
                    <a:pt x="394" y="293"/>
                  </a:cubicBezTo>
                  <a:cubicBezTo>
                    <a:pt x="395" y="292"/>
                    <a:pt x="395" y="292"/>
                    <a:pt x="395" y="292"/>
                  </a:cubicBezTo>
                  <a:cubicBezTo>
                    <a:pt x="395" y="292"/>
                    <a:pt x="395" y="292"/>
                    <a:pt x="395" y="292"/>
                  </a:cubicBezTo>
                  <a:cubicBezTo>
                    <a:pt x="396" y="291"/>
                    <a:pt x="396" y="291"/>
                    <a:pt x="396" y="291"/>
                  </a:cubicBezTo>
                  <a:cubicBezTo>
                    <a:pt x="396" y="290"/>
                    <a:pt x="396" y="290"/>
                    <a:pt x="396" y="290"/>
                  </a:cubicBezTo>
                  <a:cubicBezTo>
                    <a:pt x="396" y="290"/>
                    <a:pt x="396" y="290"/>
                    <a:pt x="396" y="290"/>
                  </a:cubicBezTo>
                  <a:cubicBezTo>
                    <a:pt x="397" y="290"/>
                    <a:pt x="397" y="290"/>
                    <a:pt x="397" y="290"/>
                  </a:cubicBezTo>
                  <a:cubicBezTo>
                    <a:pt x="396" y="290"/>
                    <a:pt x="396" y="290"/>
                    <a:pt x="396" y="290"/>
                  </a:cubicBezTo>
                  <a:cubicBezTo>
                    <a:pt x="396" y="291"/>
                    <a:pt x="396" y="291"/>
                    <a:pt x="396" y="291"/>
                  </a:cubicBezTo>
                  <a:cubicBezTo>
                    <a:pt x="396" y="291"/>
                    <a:pt x="396" y="291"/>
                    <a:pt x="396" y="291"/>
                  </a:cubicBezTo>
                  <a:cubicBezTo>
                    <a:pt x="396" y="292"/>
                    <a:pt x="396" y="292"/>
                    <a:pt x="396" y="292"/>
                  </a:cubicBezTo>
                  <a:cubicBezTo>
                    <a:pt x="396" y="292"/>
                    <a:pt x="396" y="292"/>
                    <a:pt x="396" y="292"/>
                  </a:cubicBezTo>
                  <a:cubicBezTo>
                    <a:pt x="397" y="292"/>
                    <a:pt x="397" y="292"/>
                    <a:pt x="397" y="292"/>
                  </a:cubicBezTo>
                  <a:cubicBezTo>
                    <a:pt x="397" y="291"/>
                    <a:pt x="397" y="291"/>
                    <a:pt x="397" y="291"/>
                  </a:cubicBezTo>
                  <a:cubicBezTo>
                    <a:pt x="397" y="291"/>
                    <a:pt x="397" y="291"/>
                    <a:pt x="397" y="291"/>
                  </a:cubicBezTo>
                  <a:cubicBezTo>
                    <a:pt x="398" y="291"/>
                    <a:pt x="398" y="291"/>
                    <a:pt x="398" y="291"/>
                  </a:cubicBezTo>
                  <a:cubicBezTo>
                    <a:pt x="398" y="290"/>
                    <a:pt x="398" y="290"/>
                    <a:pt x="398" y="290"/>
                  </a:cubicBezTo>
                  <a:cubicBezTo>
                    <a:pt x="399" y="288"/>
                    <a:pt x="399" y="288"/>
                    <a:pt x="399" y="288"/>
                  </a:cubicBezTo>
                  <a:cubicBezTo>
                    <a:pt x="398" y="287"/>
                    <a:pt x="398" y="287"/>
                    <a:pt x="398" y="287"/>
                  </a:cubicBezTo>
                  <a:cubicBezTo>
                    <a:pt x="397" y="289"/>
                    <a:pt x="397" y="289"/>
                    <a:pt x="397" y="289"/>
                  </a:cubicBezTo>
                  <a:cubicBezTo>
                    <a:pt x="397" y="288"/>
                    <a:pt x="397" y="288"/>
                    <a:pt x="397" y="288"/>
                  </a:cubicBezTo>
                  <a:cubicBezTo>
                    <a:pt x="397" y="288"/>
                    <a:pt x="397" y="288"/>
                    <a:pt x="397" y="288"/>
                  </a:cubicBezTo>
                  <a:cubicBezTo>
                    <a:pt x="397" y="287"/>
                    <a:pt x="397" y="287"/>
                    <a:pt x="397" y="287"/>
                  </a:cubicBezTo>
                  <a:cubicBezTo>
                    <a:pt x="397" y="287"/>
                    <a:pt x="397" y="287"/>
                    <a:pt x="397" y="287"/>
                  </a:cubicBezTo>
                  <a:cubicBezTo>
                    <a:pt x="397" y="287"/>
                    <a:pt x="397" y="287"/>
                    <a:pt x="397" y="287"/>
                  </a:cubicBezTo>
                  <a:cubicBezTo>
                    <a:pt x="397" y="286"/>
                    <a:pt x="397" y="286"/>
                    <a:pt x="397" y="286"/>
                  </a:cubicBezTo>
                  <a:cubicBezTo>
                    <a:pt x="398" y="286"/>
                    <a:pt x="398" y="286"/>
                    <a:pt x="398" y="286"/>
                  </a:cubicBezTo>
                  <a:cubicBezTo>
                    <a:pt x="398" y="285"/>
                    <a:pt x="398" y="285"/>
                    <a:pt x="398" y="285"/>
                  </a:cubicBezTo>
                  <a:cubicBezTo>
                    <a:pt x="398" y="285"/>
                    <a:pt x="398" y="285"/>
                    <a:pt x="398" y="285"/>
                  </a:cubicBezTo>
                  <a:cubicBezTo>
                    <a:pt x="398" y="285"/>
                    <a:pt x="398" y="285"/>
                    <a:pt x="398" y="285"/>
                  </a:cubicBezTo>
                  <a:cubicBezTo>
                    <a:pt x="399" y="286"/>
                    <a:pt x="399" y="286"/>
                    <a:pt x="399" y="286"/>
                  </a:cubicBezTo>
                  <a:cubicBezTo>
                    <a:pt x="400" y="287"/>
                    <a:pt x="400" y="287"/>
                    <a:pt x="400" y="287"/>
                  </a:cubicBezTo>
                  <a:cubicBezTo>
                    <a:pt x="400" y="287"/>
                    <a:pt x="400" y="287"/>
                    <a:pt x="400" y="287"/>
                  </a:cubicBezTo>
                  <a:cubicBezTo>
                    <a:pt x="400" y="288"/>
                    <a:pt x="400" y="288"/>
                    <a:pt x="400" y="288"/>
                  </a:cubicBezTo>
                  <a:cubicBezTo>
                    <a:pt x="400" y="288"/>
                    <a:pt x="400" y="288"/>
                    <a:pt x="400" y="288"/>
                  </a:cubicBezTo>
                  <a:cubicBezTo>
                    <a:pt x="400" y="288"/>
                    <a:pt x="400" y="288"/>
                    <a:pt x="400" y="288"/>
                  </a:cubicBezTo>
                  <a:cubicBezTo>
                    <a:pt x="401" y="288"/>
                    <a:pt x="401" y="288"/>
                    <a:pt x="401" y="288"/>
                  </a:cubicBezTo>
                  <a:cubicBezTo>
                    <a:pt x="401" y="288"/>
                    <a:pt x="401" y="288"/>
                    <a:pt x="401" y="288"/>
                  </a:cubicBezTo>
                  <a:cubicBezTo>
                    <a:pt x="402" y="288"/>
                    <a:pt x="402" y="288"/>
                    <a:pt x="402" y="288"/>
                  </a:cubicBezTo>
                  <a:cubicBezTo>
                    <a:pt x="402" y="288"/>
                    <a:pt x="402" y="288"/>
                    <a:pt x="402" y="288"/>
                  </a:cubicBezTo>
                  <a:cubicBezTo>
                    <a:pt x="403" y="288"/>
                    <a:pt x="403" y="288"/>
                    <a:pt x="403" y="288"/>
                  </a:cubicBezTo>
                  <a:cubicBezTo>
                    <a:pt x="403" y="287"/>
                    <a:pt x="403" y="287"/>
                    <a:pt x="403" y="287"/>
                  </a:cubicBezTo>
                  <a:cubicBezTo>
                    <a:pt x="403" y="287"/>
                    <a:pt x="403" y="287"/>
                    <a:pt x="403" y="287"/>
                  </a:cubicBezTo>
                  <a:cubicBezTo>
                    <a:pt x="404" y="287"/>
                    <a:pt x="404" y="287"/>
                    <a:pt x="404" y="287"/>
                  </a:cubicBezTo>
                  <a:cubicBezTo>
                    <a:pt x="404" y="287"/>
                    <a:pt x="404" y="287"/>
                    <a:pt x="404" y="287"/>
                  </a:cubicBezTo>
                  <a:cubicBezTo>
                    <a:pt x="405" y="286"/>
                    <a:pt x="405" y="286"/>
                    <a:pt x="405" y="286"/>
                  </a:cubicBezTo>
                  <a:cubicBezTo>
                    <a:pt x="405" y="286"/>
                    <a:pt x="405" y="286"/>
                    <a:pt x="405" y="286"/>
                  </a:cubicBezTo>
                  <a:cubicBezTo>
                    <a:pt x="404" y="285"/>
                    <a:pt x="404" y="285"/>
                    <a:pt x="404" y="285"/>
                  </a:cubicBezTo>
                  <a:cubicBezTo>
                    <a:pt x="403" y="284"/>
                    <a:pt x="403" y="284"/>
                    <a:pt x="403" y="284"/>
                  </a:cubicBezTo>
                  <a:cubicBezTo>
                    <a:pt x="402" y="283"/>
                    <a:pt x="402" y="283"/>
                    <a:pt x="402" y="283"/>
                  </a:cubicBezTo>
                  <a:cubicBezTo>
                    <a:pt x="405" y="284"/>
                    <a:pt x="405" y="284"/>
                    <a:pt x="405" y="284"/>
                  </a:cubicBezTo>
                  <a:cubicBezTo>
                    <a:pt x="406" y="284"/>
                    <a:pt x="406" y="284"/>
                    <a:pt x="406" y="284"/>
                  </a:cubicBezTo>
                  <a:cubicBezTo>
                    <a:pt x="406" y="282"/>
                    <a:pt x="406" y="282"/>
                    <a:pt x="406" y="282"/>
                  </a:cubicBezTo>
                  <a:cubicBezTo>
                    <a:pt x="406" y="282"/>
                    <a:pt x="406" y="282"/>
                    <a:pt x="406" y="282"/>
                  </a:cubicBezTo>
                  <a:cubicBezTo>
                    <a:pt x="405" y="282"/>
                    <a:pt x="405" y="282"/>
                    <a:pt x="405" y="282"/>
                  </a:cubicBezTo>
                  <a:cubicBezTo>
                    <a:pt x="404" y="282"/>
                    <a:pt x="404" y="282"/>
                    <a:pt x="404" y="282"/>
                  </a:cubicBezTo>
                  <a:cubicBezTo>
                    <a:pt x="404" y="282"/>
                    <a:pt x="404" y="282"/>
                    <a:pt x="404" y="282"/>
                  </a:cubicBezTo>
                  <a:cubicBezTo>
                    <a:pt x="402" y="281"/>
                    <a:pt x="402" y="281"/>
                    <a:pt x="402" y="281"/>
                  </a:cubicBezTo>
                  <a:cubicBezTo>
                    <a:pt x="403" y="280"/>
                    <a:pt x="403" y="280"/>
                    <a:pt x="403" y="280"/>
                  </a:cubicBezTo>
                  <a:cubicBezTo>
                    <a:pt x="403" y="280"/>
                    <a:pt x="403" y="280"/>
                    <a:pt x="403" y="280"/>
                  </a:cubicBezTo>
                  <a:cubicBezTo>
                    <a:pt x="405" y="280"/>
                    <a:pt x="405" y="280"/>
                    <a:pt x="405" y="280"/>
                  </a:cubicBezTo>
                  <a:cubicBezTo>
                    <a:pt x="406" y="281"/>
                    <a:pt x="406" y="281"/>
                    <a:pt x="406" y="281"/>
                  </a:cubicBezTo>
                  <a:cubicBezTo>
                    <a:pt x="406" y="280"/>
                    <a:pt x="406" y="280"/>
                    <a:pt x="406" y="280"/>
                  </a:cubicBezTo>
                  <a:cubicBezTo>
                    <a:pt x="407" y="279"/>
                    <a:pt x="407" y="279"/>
                    <a:pt x="407" y="279"/>
                  </a:cubicBezTo>
                  <a:cubicBezTo>
                    <a:pt x="407" y="279"/>
                    <a:pt x="407" y="279"/>
                    <a:pt x="407" y="279"/>
                  </a:cubicBezTo>
                  <a:cubicBezTo>
                    <a:pt x="407" y="280"/>
                    <a:pt x="407" y="280"/>
                    <a:pt x="407" y="280"/>
                  </a:cubicBezTo>
                  <a:cubicBezTo>
                    <a:pt x="407" y="280"/>
                    <a:pt x="407" y="280"/>
                    <a:pt x="407" y="280"/>
                  </a:cubicBezTo>
                  <a:cubicBezTo>
                    <a:pt x="408" y="280"/>
                    <a:pt x="408" y="280"/>
                    <a:pt x="408" y="280"/>
                  </a:cubicBezTo>
                  <a:cubicBezTo>
                    <a:pt x="408" y="279"/>
                    <a:pt x="408" y="279"/>
                    <a:pt x="408" y="279"/>
                  </a:cubicBezTo>
                  <a:cubicBezTo>
                    <a:pt x="407" y="278"/>
                    <a:pt x="407" y="278"/>
                    <a:pt x="407" y="278"/>
                  </a:cubicBezTo>
                  <a:cubicBezTo>
                    <a:pt x="406" y="278"/>
                    <a:pt x="406" y="278"/>
                    <a:pt x="406" y="278"/>
                  </a:cubicBezTo>
                  <a:cubicBezTo>
                    <a:pt x="398" y="278"/>
                    <a:pt x="398" y="278"/>
                    <a:pt x="398" y="278"/>
                  </a:cubicBezTo>
                  <a:cubicBezTo>
                    <a:pt x="398" y="277"/>
                    <a:pt x="398" y="277"/>
                    <a:pt x="398" y="277"/>
                  </a:cubicBezTo>
                  <a:cubicBezTo>
                    <a:pt x="399" y="277"/>
                    <a:pt x="399" y="277"/>
                    <a:pt x="399" y="277"/>
                  </a:cubicBezTo>
                  <a:cubicBezTo>
                    <a:pt x="400" y="277"/>
                    <a:pt x="400" y="277"/>
                    <a:pt x="400" y="277"/>
                  </a:cubicBezTo>
                  <a:cubicBezTo>
                    <a:pt x="401" y="276"/>
                    <a:pt x="401" y="276"/>
                    <a:pt x="401" y="276"/>
                  </a:cubicBezTo>
                  <a:cubicBezTo>
                    <a:pt x="401" y="276"/>
                    <a:pt x="401" y="276"/>
                    <a:pt x="401" y="276"/>
                  </a:cubicBezTo>
                  <a:cubicBezTo>
                    <a:pt x="401" y="275"/>
                    <a:pt x="401" y="275"/>
                    <a:pt x="401" y="275"/>
                  </a:cubicBezTo>
                  <a:cubicBezTo>
                    <a:pt x="401" y="275"/>
                    <a:pt x="401" y="275"/>
                    <a:pt x="401" y="275"/>
                  </a:cubicBezTo>
                  <a:cubicBezTo>
                    <a:pt x="401" y="275"/>
                    <a:pt x="401" y="275"/>
                    <a:pt x="401" y="275"/>
                  </a:cubicBezTo>
                  <a:cubicBezTo>
                    <a:pt x="401" y="275"/>
                    <a:pt x="401" y="275"/>
                    <a:pt x="401" y="275"/>
                  </a:cubicBezTo>
                  <a:cubicBezTo>
                    <a:pt x="401" y="275"/>
                    <a:pt x="401" y="275"/>
                    <a:pt x="401" y="275"/>
                  </a:cubicBezTo>
                  <a:cubicBezTo>
                    <a:pt x="401" y="276"/>
                    <a:pt x="401" y="276"/>
                    <a:pt x="401" y="276"/>
                  </a:cubicBezTo>
                  <a:cubicBezTo>
                    <a:pt x="401" y="276"/>
                    <a:pt x="401" y="276"/>
                    <a:pt x="401" y="276"/>
                  </a:cubicBezTo>
                  <a:cubicBezTo>
                    <a:pt x="404" y="277"/>
                    <a:pt x="404" y="277"/>
                    <a:pt x="404" y="277"/>
                  </a:cubicBezTo>
                  <a:cubicBezTo>
                    <a:pt x="403" y="276"/>
                    <a:pt x="403" y="276"/>
                    <a:pt x="403" y="276"/>
                  </a:cubicBezTo>
                  <a:cubicBezTo>
                    <a:pt x="403" y="275"/>
                    <a:pt x="403" y="275"/>
                    <a:pt x="403" y="275"/>
                  </a:cubicBezTo>
                  <a:cubicBezTo>
                    <a:pt x="402" y="274"/>
                    <a:pt x="402" y="274"/>
                    <a:pt x="402" y="274"/>
                  </a:cubicBezTo>
                  <a:cubicBezTo>
                    <a:pt x="402" y="274"/>
                    <a:pt x="402" y="274"/>
                    <a:pt x="402" y="274"/>
                  </a:cubicBezTo>
                  <a:cubicBezTo>
                    <a:pt x="403" y="274"/>
                    <a:pt x="403" y="274"/>
                    <a:pt x="403" y="274"/>
                  </a:cubicBezTo>
                  <a:cubicBezTo>
                    <a:pt x="403" y="274"/>
                    <a:pt x="403" y="274"/>
                    <a:pt x="403" y="274"/>
                  </a:cubicBezTo>
                  <a:cubicBezTo>
                    <a:pt x="404" y="274"/>
                    <a:pt x="404" y="274"/>
                    <a:pt x="404" y="274"/>
                  </a:cubicBezTo>
                  <a:cubicBezTo>
                    <a:pt x="404" y="276"/>
                    <a:pt x="404" y="276"/>
                    <a:pt x="404" y="276"/>
                  </a:cubicBezTo>
                  <a:cubicBezTo>
                    <a:pt x="405" y="276"/>
                    <a:pt x="405" y="276"/>
                    <a:pt x="405" y="276"/>
                  </a:cubicBezTo>
                  <a:cubicBezTo>
                    <a:pt x="405" y="276"/>
                    <a:pt x="405" y="276"/>
                    <a:pt x="405" y="276"/>
                  </a:cubicBezTo>
                  <a:cubicBezTo>
                    <a:pt x="405" y="274"/>
                    <a:pt x="405" y="274"/>
                    <a:pt x="405" y="274"/>
                  </a:cubicBezTo>
                  <a:cubicBezTo>
                    <a:pt x="405" y="274"/>
                    <a:pt x="405" y="274"/>
                    <a:pt x="405" y="274"/>
                  </a:cubicBezTo>
                  <a:cubicBezTo>
                    <a:pt x="406" y="274"/>
                    <a:pt x="406" y="274"/>
                    <a:pt x="406" y="274"/>
                  </a:cubicBezTo>
                  <a:cubicBezTo>
                    <a:pt x="407" y="273"/>
                    <a:pt x="407" y="273"/>
                    <a:pt x="407" y="273"/>
                  </a:cubicBezTo>
                  <a:cubicBezTo>
                    <a:pt x="406" y="273"/>
                    <a:pt x="406" y="273"/>
                    <a:pt x="406" y="273"/>
                  </a:cubicBezTo>
                  <a:cubicBezTo>
                    <a:pt x="407" y="272"/>
                    <a:pt x="407" y="272"/>
                    <a:pt x="407" y="272"/>
                  </a:cubicBezTo>
                  <a:cubicBezTo>
                    <a:pt x="407" y="271"/>
                    <a:pt x="407" y="271"/>
                    <a:pt x="407" y="271"/>
                  </a:cubicBezTo>
                  <a:cubicBezTo>
                    <a:pt x="407" y="271"/>
                    <a:pt x="407" y="271"/>
                    <a:pt x="407" y="271"/>
                  </a:cubicBezTo>
                  <a:cubicBezTo>
                    <a:pt x="407" y="270"/>
                    <a:pt x="407" y="270"/>
                    <a:pt x="407" y="270"/>
                  </a:cubicBezTo>
                  <a:cubicBezTo>
                    <a:pt x="408" y="269"/>
                    <a:pt x="408" y="269"/>
                    <a:pt x="408" y="269"/>
                  </a:cubicBezTo>
                  <a:cubicBezTo>
                    <a:pt x="408" y="270"/>
                    <a:pt x="408" y="270"/>
                    <a:pt x="408" y="270"/>
                  </a:cubicBezTo>
                  <a:cubicBezTo>
                    <a:pt x="409" y="270"/>
                    <a:pt x="409" y="270"/>
                    <a:pt x="409" y="270"/>
                  </a:cubicBezTo>
                  <a:cubicBezTo>
                    <a:pt x="410" y="270"/>
                    <a:pt x="410" y="270"/>
                    <a:pt x="410" y="270"/>
                  </a:cubicBezTo>
                  <a:cubicBezTo>
                    <a:pt x="410" y="270"/>
                    <a:pt x="410" y="270"/>
                    <a:pt x="410" y="270"/>
                  </a:cubicBezTo>
                  <a:cubicBezTo>
                    <a:pt x="410" y="269"/>
                    <a:pt x="410" y="269"/>
                    <a:pt x="410" y="269"/>
                  </a:cubicBezTo>
                  <a:cubicBezTo>
                    <a:pt x="410" y="269"/>
                    <a:pt x="410" y="269"/>
                    <a:pt x="410" y="269"/>
                  </a:cubicBezTo>
                  <a:cubicBezTo>
                    <a:pt x="410" y="268"/>
                    <a:pt x="410" y="268"/>
                    <a:pt x="410" y="268"/>
                  </a:cubicBezTo>
                  <a:cubicBezTo>
                    <a:pt x="409" y="267"/>
                    <a:pt x="409" y="267"/>
                    <a:pt x="409" y="267"/>
                  </a:cubicBezTo>
                  <a:cubicBezTo>
                    <a:pt x="409" y="267"/>
                    <a:pt x="409" y="267"/>
                    <a:pt x="409" y="267"/>
                  </a:cubicBezTo>
                  <a:cubicBezTo>
                    <a:pt x="408" y="266"/>
                    <a:pt x="408" y="266"/>
                    <a:pt x="408" y="266"/>
                  </a:cubicBezTo>
                  <a:cubicBezTo>
                    <a:pt x="407" y="266"/>
                    <a:pt x="407" y="266"/>
                    <a:pt x="407" y="266"/>
                  </a:cubicBezTo>
                  <a:cubicBezTo>
                    <a:pt x="407" y="266"/>
                    <a:pt x="407" y="266"/>
                    <a:pt x="407" y="266"/>
                  </a:cubicBezTo>
                  <a:cubicBezTo>
                    <a:pt x="409" y="266"/>
                    <a:pt x="409" y="266"/>
                    <a:pt x="409" y="266"/>
                  </a:cubicBezTo>
                  <a:cubicBezTo>
                    <a:pt x="413" y="267"/>
                    <a:pt x="413" y="267"/>
                    <a:pt x="413" y="267"/>
                  </a:cubicBezTo>
                  <a:cubicBezTo>
                    <a:pt x="413" y="267"/>
                    <a:pt x="413" y="267"/>
                    <a:pt x="413" y="267"/>
                  </a:cubicBezTo>
                  <a:cubicBezTo>
                    <a:pt x="412" y="265"/>
                    <a:pt x="412" y="265"/>
                    <a:pt x="412" y="265"/>
                  </a:cubicBezTo>
                  <a:cubicBezTo>
                    <a:pt x="412" y="264"/>
                    <a:pt x="412" y="264"/>
                    <a:pt x="412" y="264"/>
                  </a:cubicBezTo>
                  <a:cubicBezTo>
                    <a:pt x="412" y="264"/>
                    <a:pt x="412" y="264"/>
                    <a:pt x="412" y="264"/>
                  </a:cubicBezTo>
                  <a:cubicBezTo>
                    <a:pt x="412" y="263"/>
                    <a:pt x="412" y="263"/>
                    <a:pt x="412" y="263"/>
                  </a:cubicBezTo>
                  <a:cubicBezTo>
                    <a:pt x="411" y="263"/>
                    <a:pt x="411" y="263"/>
                    <a:pt x="411" y="263"/>
                  </a:cubicBezTo>
                  <a:cubicBezTo>
                    <a:pt x="412" y="262"/>
                    <a:pt x="412" y="262"/>
                    <a:pt x="412" y="262"/>
                  </a:cubicBezTo>
                  <a:cubicBezTo>
                    <a:pt x="415" y="263"/>
                    <a:pt x="415" y="263"/>
                    <a:pt x="415" y="263"/>
                  </a:cubicBezTo>
                  <a:cubicBezTo>
                    <a:pt x="415" y="264"/>
                    <a:pt x="415" y="264"/>
                    <a:pt x="415" y="264"/>
                  </a:cubicBezTo>
                  <a:cubicBezTo>
                    <a:pt x="414" y="264"/>
                    <a:pt x="414" y="264"/>
                    <a:pt x="414" y="264"/>
                  </a:cubicBezTo>
                  <a:cubicBezTo>
                    <a:pt x="413" y="264"/>
                    <a:pt x="413" y="264"/>
                    <a:pt x="413" y="264"/>
                  </a:cubicBezTo>
                  <a:cubicBezTo>
                    <a:pt x="413" y="265"/>
                    <a:pt x="413" y="265"/>
                    <a:pt x="413" y="265"/>
                  </a:cubicBezTo>
                  <a:cubicBezTo>
                    <a:pt x="413" y="266"/>
                    <a:pt x="413" y="266"/>
                    <a:pt x="413" y="266"/>
                  </a:cubicBezTo>
                  <a:cubicBezTo>
                    <a:pt x="414" y="266"/>
                    <a:pt x="414" y="266"/>
                    <a:pt x="414" y="266"/>
                  </a:cubicBezTo>
                  <a:cubicBezTo>
                    <a:pt x="414" y="266"/>
                    <a:pt x="414" y="266"/>
                    <a:pt x="414" y="266"/>
                  </a:cubicBezTo>
                  <a:cubicBezTo>
                    <a:pt x="414" y="266"/>
                    <a:pt x="414" y="266"/>
                    <a:pt x="414" y="266"/>
                  </a:cubicBezTo>
                  <a:cubicBezTo>
                    <a:pt x="414" y="265"/>
                    <a:pt x="414" y="265"/>
                    <a:pt x="414" y="265"/>
                  </a:cubicBezTo>
                  <a:cubicBezTo>
                    <a:pt x="414" y="265"/>
                    <a:pt x="414" y="265"/>
                    <a:pt x="414" y="265"/>
                  </a:cubicBezTo>
                  <a:cubicBezTo>
                    <a:pt x="416" y="265"/>
                    <a:pt x="416" y="265"/>
                    <a:pt x="416" y="265"/>
                  </a:cubicBezTo>
                  <a:cubicBezTo>
                    <a:pt x="417" y="265"/>
                    <a:pt x="417" y="265"/>
                    <a:pt x="417" y="265"/>
                  </a:cubicBezTo>
                  <a:cubicBezTo>
                    <a:pt x="418" y="264"/>
                    <a:pt x="418" y="264"/>
                    <a:pt x="418" y="264"/>
                  </a:cubicBezTo>
                  <a:cubicBezTo>
                    <a:pt x="413" y="262"/>
                    <a:pt x="413" y="262"/>
                    <a:pt x="413" y="262"/>
                  </a:cubicBezTo>
                  <a:cubicBezTo>
                    <a:pt x="412" y="261"/>
                    <a:pt x="412" y="261"/>
                    <a:pt x="412" y="261"/>
                  </a:cubicBezTo>
                  <a:cubicBezTo>
                    <a:pt x="413" y="260"/>
                    <a:pt x="413" y="260"/>
                    <a:pt x="413" y="260"/>
                  </a:cubicBezTo>
                  <a:cubicBezTo>
                    <a:pt x="413" y="260"/>
                    <a:pt x="413" y="260"/>
                    <a:pt x="413" y="260"/>
                  </a:cubicBezTo>
                  <a:cubicBezTo>
                    <a:pt x="415" y="260"/>
                    <a:pt x="415" y="260"/>
                    <a:pt x="415" y="260"/>
                  </a:cubicBezTo>
                  <a:cubicBezTo>
                    <a:pt x="416" y="261"/>
                    <a:pt x="416" y="261"/>
                    <a:pt x="416" y="261"/>
                  </a:cubicBezTo>
                  <a:cubicBezTo>
                    <a:pt x="417" y="261"/>
                    <a:pt x="417" y="261"/>
                    <a:pt x="417" y="261"/>
                  </a:cubicBezTo>
                  <a:cubicBezTo>
                    <a:pt x="416" y="260"/>
                    <a:pt x="416" y="260"/>
                    <a:pt x="416" y="260"/>
                  </a:cubicBezTo>
                  <a:cubicBezTo>
                    <a:pt x="417" y="260"/>
                    <a:pt x="417" y="260"/>
                    <a:pt x="417" y="260"/>
                  </a:cubicBezTo>
                  <a:cubicBezTo>
                    <a:pt x="418" y="260"/>
                    <a:pt x="418" y="260"/>
                    <a:pt x="418" y="260"/>
                  </a:cubicBezTo>
                  <a:cubicBezTo>
                    <a:pt x="418" y="261"/>
                    <a:pt x="418" y="261"/>
                    <a:pt x="418" y="261"/>
                  </a:cubicBezTo>
                  <a:cubicBezTo>
                    <a:pt x="419" y="261"/>
                    <a:pt x="419" y="261"/>
                    <a:pt x="419" y="261"/>
                  </a:cubicBezTo>
                  <a:cubicBezTo>
                    <a:pt x="419" y="261"/>
                    <a:pt x="419" y="261"/>
                    <a:pt x="419" y="261"/>
                  </a:cubicBezTo>
                  <a:cubicBezTo>
                    <a:pt x="419" y="262"/>
                    <a:pt x="419" y="262"/>
                    <a:pt x="419" y="262"/>
                  </a:cubicBezTo>
                  <a:cubicBezTo>
                    <a:pt x="419" y="263"/>
                    <a:pt x="419" y="263"/>
                    <a:pt x="419" y="263"/>
                  </a:cubicBezTo>
                  <a:cubicBezTo>
                    <a:pt x="419" y="263"/>
                    <a:pt x="419" y="263"/>
                    <a:pt x="419" y="263"/>
                  </a:cubicBezTo>
                  <a:cubicBezTo>
                    <a:pt x="420" y="264"/>
                    <a:pt x="420" y="264"/>
                    <a:pt x="420" y="264"/>
                  </a:cubicBezTo>
                  <a:cubicBezTo>
                    <a:pt x="420" y="264"/>
                    <a:pt x="420" y="264"/>
                    <a:pt x="420" y="264"/>
                  </a:cubicBezTo>
                  <a:cubicBezTo>
                    <a:pt x="420" y="264"/>
                    <a:pt x="420" y="264"/>
                    <a:pt x="420" y="264"/>
                  </a:cubicBezTo>
                  <a:cubicBezTo>
                    <a:pt x="421" y="265"/>
                    <a:pt x="421" y="265"/>
                    <a:pt x="421" y="265"/>
                  </a:cubicBezTo>
                  <a:cubicBezTo>
                    <a:pt x="421" y="266"/>
                    <a:pt x="421" y="266"/>
                    <a:pt x="421" y="266"/>
                  </a:cubicBezTo>
                  <a:cubicBezTo>
                    <a:pt x="422" y="266"/>
                    <a:pt x="422" y="266"/>
                    <a:pt x="422" y="266"/>
                  </a:cubicBezTo>
                  <a:cubicBezTo>
                    <a:pt x="422" y="265"/>
                    <a:pt x="422" y="265"/>
                    <a:pt x="422" y="265"/>
                  </a:cubicBezTo>
                  <a:cubicBezTo>
                    <a:pt x="422" y="265"/>
                    <a:pt x="422" y="265"/>
                    <a:pt x="422" y="265"/>
                  </a:cubicBezTo>
                  <a:cubicBezTo>
                    <a:pt x="422" y="264"/>
                    <a:pt x="422" y="264"/>
                    <a:pt x="422" y="264"/>
                  </a:cubicBezTo>
                  <a:cubicBezTo>
                    <a:pt x="423" y="264"/>
                    <a:pt x="423" y="264"/>
                    <a:pt x="423" y="264"/>
                  </a:cubicBezTo>
                  <a:cubicBezTo>
                    <a:pt x="423" y="264"/>
                    <a:pt x="423" y="264"/>
                    <a:pt x="423" y="264"/>
                  </a:cubicBezTo>
                  <a:cubicBezTo>
                    <a:pt x="423" y="264"/>
                    <a:pt x="423" y="264"/>
                    <a:pt x="423" y="264"/>
                  </a:cubicBezTo>
                  <a:cubicBezTo>
                    <a:pt x="424" y="263"/>
                    <a:pt x="424" y="263"/>
                    <a:pt x="424" y="263"/>
                  </a:cubicBezTo>
                  <a:cubicBezTo>
                    <a:pt x="423" y="263"/>
                    <a:pt x="423" y="263"/>
                    <a:pt x="423" y="263"/>
                  </a:cubicBezTo>
                  <a:cubicBezTo>
                    <a:pt x="422" y="263"/>
                    <a:pt x="422" y="263"/>
                    <a:pt x="422" y="263"/>
                  </a:cubicBezTo>
                  <a:cubicBezTo>
                    <a:pt x="422" y="262"/>
                    <a:pt x="422" y="262"/>
                    <a:pt x="422" y="262"/>
                  </a:cubicBezTo>
                  <a:cubicBezTo>
                    <a:pt x="422" y="260"/>
                    <a:pt x="422" y="260"/>
                    <a:pt x="422" y="260"/>
                  </a:cubicBezTo>
                  <a:cubicBezTo>
                    <a:pt x="423" y="262"/>
                    <a:pt x="423" y="262"/>
                    <a:pt x="423" y="262"/>
                  </a:cubicBezTo>
                  <a:cubicBezTo>
                    <a:pt x="424" y="262"/>
                    <a:pt x="424" y="262"/>
                    <a:pt x="424" y="262"/>
                  </a:cubicBezTo>
                  <a:cubicBezTo>
                    <a:pt x="424" y="261"/>
                    <a:pt x="424" y="261"/>
                    <a:pt x="424" y="261"/>
                  </a:cubicBezTo>
                  <a:cubicBezTo>
                    <a:pt x="424" y="261"/>
                    <a:pt x="424" y="261"/>
                    <a:pt x="424" y="261"/>
                  </a:cubicBezTo>
                  <a:cubicBezTo>
                    <a:pt x="424" y="260"/>
                    <a:pt x="424" y="260"/>
                    <a:pt x="424" y="260"/>
                  </a:cubicBezTo>
                  <a:cubicBezTo>
                    <a:pt x="425" y="258"/>
                    <a:pt x="425" y="258"/>
                    <a:pt x="425" y="258"/>
                  </a:cubicBezTo>
                  <a:cubicBezTo>
                    <a:pt x="425" y="258"/>
                    <a:pt x="425" y="258"/>
                    <a:pt x="425" y="258"/>
                  </a:cubicBezTo>
                  <a:cubicBezTo>
                    <a:pt x="425" y="257"/>
                    <a:pt x="425" y="257"/>
                    <a:pt x="425" y="257"/>
                  </a:cubicBezTo>
                  <a:cubicBezTo>
                    <a:pt x="424" y="257"/>
                    <a:pt x="424" y="257"/>
                    <a:pt x="424" y="257"/>
                  </a:cubicBezTo>
                  <a:cubicBezTo>
                    <a:pt x="425" y="256"/>
                    <a:pt x="425" y="256"/>
                    <a:pt x="425" y="256"/>
                  </a:cubicBezTo>
                  <a:cubicBezTo>
                    <a:pt x="427" y="256"/>
                    <a:pt x="427" y="256"/>
                    <a:pt x="427" y="256"/>
                  </a:cubicBezTo>
                  <a:cubicBezTo>
                    <a:pt x="427" y="255"/>
                    <a:pt x="427" y="255"/>
                    <a:pt x="427" y="255"/>
                  </a:cubicBezTo>
                  <a:cubicBezTo>
                    <a:pt x="427" y="256"/>
                    <a:pt x="427" y="256"/>
                    <a:pt x="427" y="256"/>
                  </a:cubicBezTo>
                  <a:cubicBezTo>
                    <a:pt x="428" y="256"/>
                    <a:pt x="428" y="256"/>
                    <a:pt x="428" y="256"/>
                  </a:cubicBezTo>
                  <a:cubicBezTo>
                    <a:pt x="428" y="256"/>
                    <a:pt x="428" y="256"/>
                    <a:pt x="428" y="256"/>
                  </a:cubicBezTo>
                  <a:cubicBezTo>
                    <a:pt x="428" y="255"/>
                    <a:pt x="428" y="255"/>
                    <a:pt x="428" y="255"/>
                  </a:cubicBezTo>
                  <a:cubicBezTo>
                    <a:pt x="428" y="253"/>
                    <a:pt x="428" y="253"/>
                    <a:pt x="428" y="253"/>
                  </a:cubicBezTo>
                  <a:cubicBezTo>
                    <a:pt x="428" y="252"/>
                    <a:pt x="428" y="252"/>
                    <a:pt x="428" y="252"/>
                  </a:cubicBezTo>
                  <a:cubicBezTo>
                    <a:pt x="428" y="251"/>
                    <a:pt x="428" y="251"/>
                    <a:pt x="428" y="251"/>
                  </a:cubicBezTo>
                  <a:cubicBezTo>
                    <a:pt x="429" y="251"/>
                    <a:pt x="429" y="251"/>
                    <a:pt x="429" y="251"/>
                  </a:cubicBezTo>
                  <a:cubicBezTo>
                    <a:pt x="429" y="248"/>
                    <a:pt x="429" y="248"/>
                    <a:pt x="429" y="248"/>
                  </a:cubicBezTo>
                  <a:cubicBezTo>
                    <a:pt x="429" y="247"/>
                    <a:pt x="429" y="247"/>
                    <a:pt x="429" y="247"/>
                  </a:cubicBezTo>
                  <a:cubicBezTo>
                    <a:pt x="429" y="247"/>
                    <a:pt x="429" y="247"/>
                    <a:pt x="429" y="247"/>
                  </a:cubicBezTo>
                  <a:cubicBezTo>
                    <a:pt x="430" y="247"/>
                    <a:pt x="430" y="247"/>
                    <a:pt x="430" y="247"/>
                  </a:cubicBezTo>
                  <a:cubicBezTo>
                    <a:pt x="430" y="248"/>
                    <a:pt x="430" y="248"/>
                    <a:pt x="430" y="248"/>
                  </a:cubicBezTo>
                  <a:cubicBezTo>
                    <a:pt x="431" y="248"/>
                    <a:pt x="431" y="248"/>
                    <a:pt x="431" y="248"/>
                  </a:cubicBezTo>
                  <a:cubicBezTo>
                    <a:pt x="431" y="248"/>
                    <a:pt x="431" y="248"/>
                    <a:pt x="431" y="248"/>
                  </a:cubicBezTo>
                  <a:cubicBezTo>
                    <a:pt x="431" y="246"/>
                    <a:pt x="431" y="246"/>
                    <a:pt x="431" y="246"/>
                  </a:cubicBezTo>
                  <a:cubicBezTo>
                    <a:pt x="431" y="245"/>
                    <a:pt x="431" y="245"/>
                    <a:pt x="431" y="245"/>
                  </a:cubicBezTo>
                  <a:cubicBezTo>
                    <a:pt x="431" y="246"/>
                    <a:pt x="431" y="246"/>
                    <a:pt x="431" y="246"/>
                  </a:cubicBezTo>
                  <a:cubicBezTo>
                    <a:pt x="434" y="249"/>
                    <a:pt x="434" y="249"/>
                    <a:pt x="434" y="249"/>
                  </a:cubicBezTo>
                  <a:cubicBezTo>
                    <a:pt x="435" y="250"/>
                    <a:pt x="435" y="250"/>
                    <a:pt x="435" y="250"/>
                  </a:cubicBezTo>
                  <a:cubicBezTo>
                    <a:pt x="435" y="250"/>
                    <a:pt x="435" y="250"/>
                    <a:pt x="435" y="250"/>
                  </a:cubicBezTo>
                  <a:cubicBezTo>
                    <a:pt x="436" y="250"/>
                    <a:pt x="436" y="250"/>
                    <a:pt x="436" y="250"/>
                  </a:cubicBezTo>
                  <a:cubicBezTo>
                    <a:pt x="436" y="249"/>
                    <a:pt x="436" y="249"/>
                    <a:pt x="436" y="249"/>
                  </a:cubicBezTo>
                  <a:cubicBezTo>
                    <a:pt x="436" y="249"/>
                    <a:pt x="436" y="249"/>
                    <a:pt x="436" y="249"/>
                  </a:cubicBezTo>
                  <a:cubicBezTo>
                    <a:pt x="434" y="247"/>
                    <a:pt x="434" y="247"/>
                    <a:pt x="434" y="247"/>
                  </a:cubicBezTo>
                  <a:cubicBezTo>
                    <a:pt x="434" y="246"/>
                    <a:pt x="434" y="246"/>
                    <a:pt x="434" y="246"/>
                  </a:cubicBezTo>
                  <a:cubicBezTo>
                    <a:pt x="434" y="246"/>
                    <a:pt x="434" y="246"/>
                    <a:pt x="434" y="246"/>
                  </a:cubicBezTo>
                  <a:cubicBezTo>
                    <a:pt x="435" y="246"/>
                    <a:pt x="435" y="246"/>
                    <a:pt x="435" y="246"/>
                  </a:cubicBezTo>
                  <a:cubicBezTo>
                    <a:pt x="435" y="246"/>
                    <a:pt x="435" y="246"/>
                    <a:pt x="435" y="246"/>
                  </a:cubicBezTo>
                  <a:cubicBezTo>
                    <a:pt x="436" y="245"/>
                    <a:pt x="436" y="245"/>
                    <a:pt x="436" y="245"/>
                  </a:cubicBezTo>
                  <a:cubicBezTo>
                    <a:pt x="435" y="245"/>
                    <a:pt x="435" y="245"/>
                    <a:pt x="435" y="245"/>
                  </a:cubicBezTo>
                  <a:cubicBezTo>
                    <a:pt x="434" y="244"/>
                    <a:pt x="434" y="244"/>
                    <a:pt x="434" y="244"/>
                  </a:cubicBezTo>
                  <a:cubicBezTo>
                    <a:pt x="434" y="244"/>
                    <a:pt x="434" y="244"/>
                    <a:pt x="434" y="244"/>
                  </a:cubicBezTo>
                  <a:cubicBezTo>
                    <a:pt x="434" y="242"/>
                    <a:pt x="434" y="242"/>
                    <a:pt x="434" y="242"/>
                  </a:cubicBezTo>
                  <a:cubicBezTo>
                    <a:pt x="434" y="242"/>
                    <a:pt x="434" y="242"/>
                    <a:pt x="434" y="242"/>
                  </a:cubicBezTo>
                  <a:cubicBezTo>
                    <a:pt x="433" y="242"/>
                    <a:pt x="433" y="242"/>
                    <a:pt x="433" y="242"/>
                  </a:cubicBezTo>
                  <a:cubicBezTo>
                    <a:pt x="433" y="241"/>
                    <a:pt x="433" y="241"/>
                    <a:pt x="433" y="241"/>
                  </a:cubicBezTo>
                  <a:cubicBezTo>
                    <a:pt x="434" y="240"/>
                    <a:pt x="434" y="240"/>
                    <a:pt x="434" y="240"/>
                  </a:cubicBezTo>
                  <a:cubicBezTo>
                    <a:pt x="434" y="240"/>
                    <a:pt x="434" y="240"/>
                    <a:pt x="434" y="240"/>
                  </a:cubicBezTo>
                  <a:cubicBezTo>
                    <a:pt x="435" y="241"/>
                    <a:pt x="435" y="241"/>
                    <a:pt x="435" y="241"/>
                  </a:cubicBezTo>
                  <a:cubicBezTo>
                    <a:pt x="436" y="242"/>
                    <a:pt x="436" y="242"/>
                    <a:pt x="436" y="242"/>
                  </a:cubicBezTo>
                  <a:cubicBezTo>
                    <a:pt x="436" y="242"/>
                    <a:pt x="436" y="242"/>
                    <a:pt x="436" y="242"/>
                  </a:cubicBezTo>
                  <a:cubicBezTo>
                    <a:pt x="437" y="243"/>
                    <a:pt x="437" y="243"/>
                    <a:pt x="437" y="243"/>
                  </a:cubicBezTo>
                  <a:cubicBezTo>
                    <a:pt x="438" y="244"/>
                    <a:pt x="438" y="244"/>
                    <a:pt x="438" y="244"/>
                  </a:cubicBezTo>
                  <a:cubicBezTo>
                    <a:pt x="439" y="244"/>
                    <a:pt x="439" y="244"/>
                    <a:pt x="439" y="244"/>
                  </a:cubicBezTo>
                  <a:cubicBezTo>
                    <a:pt x="439" y="245"/>
                    <a:pt x="439" y="245"/>
                    <a:pt x="439" y="245"/>
                  </a:cubicBezTo>
                  <a:cubicBezTo>
                    <a:pt x="439" y="245"/>
                    <a:pt x="439" y="245"/>
                    <a:pt x="439" y="245"/>
                  </a:cubicBezTo>
                  <a:cubicBezTo>
                    <a:pt x="439" y="245"/>
                    <a:pt x="439" y="245"/>
                    <a:pt x="439" y="245"/>
                  </a:cubicBezTo>
                  <a:cubicBezTo>
                    <a:pt x="439" y="246"/>
                    <a:pt x="439" y="246"/>
                    <a:pt x="439" y="246"/>
                  </a:cubicBezTo>
                  <a:cubicBezTo>
                    <a:pt x="439" y="246"/>
                    <a:pt x="439" y="246"/>
                    <a:pt x="439" y="246"/>
                  </a:cubicBezTo>
                  <a:cubicBezTo>
                    <a:pt x="439" y="247"/>
                    <a:pt x="439" y="247"/>
                    <a:pt x="439" y="247"/>
                  </a:cubicBezTo>
                  <a:cubicBezTo>
                    <a:pt x="439" y="248"/>
                    <a:pt x="439" y="248"/>
                    <a:pt x="439" y="248"/>
                  </a:cubicBezTo>
                  <a:cubicBezTo>
                    <a:pt x="441" y="249"/>
                    <a:pt x="441" y="249"/>
                    <a:pt x="441" y="249"/>
                  </a:cubicBezTo>
                  <a:cubicBezTo>
                    <a:pt x="441" y="249"/>
                    <a:pt x="441" y="249"/>
                    <a:pt x="441" y="249"/>
                  </a:cubicBezTo>
                  <a:cubicBezTo>
                    <a:pt x="442" y="248"/>
                    <a:pt x="442" y="248"/>
                    <a:pt x="442" y="248"/>
                  </a:cubicBezTo>
                  <a:cubicBezTo>
                    <a:pt x="442" y="248"/>
                    <a:pt x="442" y="248"/>
                    <a:pt x="442" y="248"/>
                  </a:cubicBezTo>
                  <a:cubicBezTo>
                    <a:pt x="443" y="247"/>
                    <a:pt x="443" y="247"/>
                    <a:pt x="443" y="247"/>
                  </a:cubicBezTo>
                  <a:cubicBezTo>
                    <a:pt x="443" y="247"/>
                    <a:pt x="443" y="247"/>
                    <a:pt x="443" y="247"/>
                  </a:cubicBezTo>
                  <a:cubicBezTo>
                    <a:pt x="443" y="247"/>
                    <a:pt x="443" y="247"/>
                    <a:pt x="443" y="247"/>
                  </a:cubicBezTo>
                  <a:cubicBezTo>
                    <a:pt x="443" y="245"/>
                    <a:pt x="443" y="245"/>
                    <a:pt x="443" y="245"/>
                  </a:cubicBezTo>
                  <a:cubicBezTo>
                    <a:pt x="443" y="243"/>
                    <a:pt x="443" y="243"/>
                    <a:pt x="443" y="243"/>
                  </a:cubicBezTo>
                  <a:cubicBezTo>
                    <a:pt x="443" y="243"/>
                    <a:pt x="443" y="243"/>
                    <a:pt x="443" y="243"/>
                  </a:cubicBezTo>
                  <a:cubicBezTo>
                    <a:pt x="444" y="242"/>
                    <a:pt x="444" y="242"/>
                    <a:pt x="444" y="242"/>
                  </a:cubicBezTo>
                  <a:cubicBezTo>
                    <a:pt x="445" y="241"/>
                    <a:pt x="445" y="241"/>
                    <a:pt x="445" y="241"/>
                  </a:cubicBezTo>
                  <a:cubicBezTo>
                    <a:pt x="446" y="240"/>
                    <a:pt x="446" y="240"/>
                    <a:pt x="446" y="240"/>
                  </a:cubicBezTo>
                  <a:cubicBezTo>
                    <a:pt x="446" y="238"/>
                    <a:pt x="446" y="238"/>
                    <a:pt x="446" y="238"/>
                  </a:cubicBezTo>
                  <a:cubicBezTo>
                    <a:pt x="447" y="237"/>
                    <a:pt x="447" y="237"/>
                    <a:pt x="447" y="237"/>
                  </a:cubicBezTo>
                  <a:cubicBezTo>
                    <a:pt x="448" y="237"/>
                    <a:pt x="448" y="237"/>
                    <a:pt x="448" y="237"/>
                  </a:cubicBezTo>
                  <a:cubicBezTo>
                    <a:pt x="448" y="236"/>
                    <a:pt x="448" y="236"/>
                    <a:pt x="448" y="236"/>
                  </a:cubicBezTo>
                  <a:cubicBezTo>
                    <a:pt x="449" y="236"/>
                    <a:pt x="449" y="236"/>
                    <a:pt x="449" y="236"/>
                  </a:cubicBezTo>
                  <a:cubicBezTo>
                    <a:pt x="451" y="238"/>
                    <a:pt x="451" y="238"/>
                    <a:pt x="451" y="238"/>
                  </a:cubicBezTo>
                  <a:cubicBezTo>
                    <a:pt x="451" y="236"/>
                    <a:pt x="451" y="236"/>
                    <a:pt x="451" y="236"/>
                  </a:cubicBezTo>
                  <a:cubicBezTo>
                    <a:pt x="450" y="235"/>
                    <a:pt x="450" y="235"/>
                    <a:pt x="450" y="235"/>
                  </a:cubicBezTo>
                  <a:cubicBezTo>
                    <a:pt x="451" y="234"/>
                    <a:pt x="451" y="234"/>
                    <a:pt x="451" y="234"/>
                  </a:cubicBezTo>
                  <a:cubicBezTo>
                    <a:pt x="451" y="234"/>
                    <a:pt x="451" y="234"/>
                    <a:pt x="451" y="234"/>
                  </a:cubicBezTo>
                  <a:cubicBezTo>
                    <a:pt x="452" y="233"/>
                    <a:pt x="452" y="233"/>
                    <a:pt x="452" y="233"/>
                  </a:cubicBezTo>
                  <a:cubicBezTo>
                    <a:pt x="452" y="233"/>
                    <a:pt x="452" y="233"/>
                    <a:pt x="452" y="233"/>
                  </a:cubicBezTo>
                  <a:cubicBezTo>
                    <a:pt x="453" y="233"/>
                    <a:pt x="453" y="233"/>
                    <a:pt x="453" y="233"/>
                  </a:cubicBezTo>
                  <a:cubicBezTo>
                    <a:pt x="453" y="233"/>
                    <a:pt x="453" y="233"/>
                    <a:pt x="453" y="233"/>
                  </a:cubicBezTo>
                  <a:cubicBezTo>
                    <a:pt x="453" y="234"/>
                    <a:pt x="453" y="234"/>
                    <a:pt x="453" y="234"/>
                  </a:cubicBezTo>
                  <a:cubicBezTo>
                    <a:pt x="453" y="234"/>
                    <a:pt x="453" y="234"/>
                    <a:pt x="453" y="234"/>
                  </a:cubicBezTo>
                  <a:cubicBezTo>
                    <a:pt x="454" y="235"/>
                    <a:pt x="454" y="235"/>
                    <a:pt x="454" y="235"/>
                  </a:cubicBezTo>
                  <a:cubicBezTo>
                    <a:pt x="454" y="235"/>
                    <a:pt x="454" y="235"/>
                    <a:pt x="454" y="235"/>
                  </a:cubicBezTo>
                  <a:cubicBezTo>
                    <a:pt x="454" y="234"/>
                    <a:pt x="454" y="234"/>
                    <a:pt x="454" y="234"/>
                  </a:cubicBezTo>
                  <a:cubicBezTo>
                    <a:pt x="455" y="234"/>
                    <a:pt x="455" y="234"/>
                    <a:pt x="455" y="234"/>
                  </a:cubicBezTo>
                  <a:cubicBezTo>
                    <a:pt x="457" y="234"/>
                    <a:pt x="457" y="234"/>
                    <a:pt x="457" y="234"/>
                  </a:cubicBezTo>
                  <a:cubicBezTo>
                    <a:pt x="457" y="234"/>
                    <a:pt x="457" y="234"/>
                    <a:pt x="457" y="234"/>
                  </a:cubicBezTo>
                  <a:cubicBezTo>
                    <a:pt x="457" y="233"/>
                    <a:pt x="457" y="233"/>
                    <a:pt x="457" y="233"/>
                  </a:cubicBezTo>
                  <a:cubicBezTo>
                    <a:pt x="457" y="231"/>
                    <a:pt x="457" y="231"/>
                    <a:pt x="457" y="231"/>
                  </a:cubicBezTo>
                  <a:cubicBezTo>
                    <a:pt x="458" y="230"/>
                    <a:pt x="458" y="230"/>
                    <a:pt x="458" y="230"/>
                  </a:cubicBezTo>
                  <a:cubicBezTo>
                    <a:pt x="458" y="229"/>
                    <a:pt x="458" y="229"/>
                    <a:pt x="458" y="229"/>
                  </a:cubicBezTo>
                  <a:cubicBezTo>
                    <a:pt x="459" y="230"/>
                    <a:pt x="459" y="230"/>
                    <a:pt x="459" y="230"/>
                  </a:cubicBezTo>
                  <a:cubicBezTo>
                    <a:pt x="458" y="230"/>
                    <a:pt x="458" y="230"/>
                    <a:pt x="458" y="230"/>
                  </a:cubicBezTo>
                  <a:cubicBezTo>
                    <a:pt x="458" y="231"/>
                    <a:pt x="458" y="231"/>
                    <a:pt x="458" y="231"/>
                  </a:cubicBezTo>
                  <a:cubicBezTo>
                    <a:pt x="458" y="232"/>
                    <a:pt x="458" y="232"/>
                    <a:pt x="458" y="232"/>
                  </a:cubicBezTo>
                  <a:cubicBezTo>
                    <a:pt x="458" y="233"/>
                    <a:pt x="458" y="233"/>
                    <a:pt x="458" y="233"/>
                  </a:cubicBezTo>
                  <a:cubicBezTo>
                    <a:pt x="458" y="234"/>
                    <a:pt x="458" y="234"/>
                    <a:pt x="458" y="234"/>
                  </a:cubicBezTo>
                  <a:cubicBezTo>
                    <a:pt x="459" y="234"/>
                    <a:pt x="459" y="234"/>
                    <a:pt x="459" y="234"/>
                  </a:cubicBezTo>
                  <a:cubicBezTo>
                    <a:pt x="459" y="234"/>
                    <a:pt x="459" y="234"/>
                    <a:pt x="459" y="234"/>
                  </a:cubicBezTo>
                  <a:cubicBezTo>
                    <a:pt x="460" y="232"/>
                    <a:pt x="460" y="232"/>
                    <a:pt x="460" y="232"/>
                  </a:cubicBezTo>
                  <a:cubicBezTo>
                    <a:pt x="460" y="228"/>
                    <a:pt x="460" y="228"/>
                    <a:pt x="460" y="228"/>
                  </a:cubicBezTo>
                  <a:cubicBezTo>
                    <a:pt x="460" y="227"/>
                    <a:pt x="460" y="227"/>
                    <a:pt x="460" y="227"/>
                  </a:cubicBezTo>
                  <a:cubicBezTo>
                    <a:pt x="460" y="228"/>
                    <a:pt x="460" y="228"/>
                    <a:pt x="460" y="228"/>
                  </a:cubicBezTo>
                  <a:cubicBezTo>
                    <a:pt x="461" y="228"/>
                    <a:pt x="461" y="228"/>
                    <a:pt x="461" y="228"/>
                  </a:cubicBezTo>
                  <a:cubicBezTo>
                    <a:pt x="461" y="229"/>
                    <a:pt x="461" y="229"/>
                    <a:pt x="461" y="229"/>
                  </a:cubicBezTo>
                  <a:cubicBezTo>
                    <a:pt x="461" y="230"/>
                    <a:pt x="461" y="230"/>
                    <a:pt x="461" y="230"/>
                  </a:cubicBezTo>
                  <a:cubicBezTo>
                    <a:pt x="461" y="231"/>
                    <a:pt x="461" y="231"/>
                    <a:pt x="461" y="231"/>
                  </a:cubicBezTo>
                  <a:cubicBezTo>
                    <a:pt x="461" y="232"/>
                    <a:pt x="461" y="232"/>
                    <a:pt x="461" y="232"/>
                  </a:cubicBezTo>
                  <a:cubicBezTo>
                    <a:pt x="461" y="232"/>
                    <a:pt x="461" y="232"/>
                    <a:pt x="461" y="232"/>
                  </a:cubicBezTo>
                  <a:cubicBezTo>
                    <a:pt x="461" y="233"/>
                    <a:pt x="461" y="233"/>
                    <a:pt x="461" y="233"/>
                  </a:cubicBezTo>
                  <a:cubicBezTo>
                    <a:pt x="462" y="232"/>
                    <a:pt x="462" y="232"/>
                    <a:pt x="462" y="232"/>
                  </a:cubicBezTo>
                  <a:cubicBezTo>
                    <a:pt x="462" y="232"/>
                    <a:pt x="462" y="232"/>
                    <a:pt x="462" y="232"/>
                  </a:cubicBezTo>
                  <a:cubicBezTo>
                    <a:pt x="462" y="231"/>
                    <a:pt x="462" y="231"/>
                    <a:pt x="462" y="231"/>
                  </a:cubicBezTo>
                  <a:cubicBezTo>
                    <a:pt x="463" y="230"/>
                    <a:pt x="463" y="230"/>
                    <a:pt x="463" y="230"/>
                  </a:cubicBezTo>
                  <a:cubicBezTo>
                    <a:pt x="463" y="230"/>
                    <a:pt x="463" y="230"/>
                    <a:pt x="463" y="230"/>
                  </a:cubicBezTo>
                  <a:cubicBezTo>
                    <a:pt x="462" y="228"/>
                    <a:pt x="462" y="228"/>
                    <a:pt x="462" y="228"/>
                  </a:cubicBezTo>
                  <a:cubicBezTo>
                    <a:pt x="462" y="228"/>
                    <a:pt x="462" y="228"/>
                    <a:pt x="462" y="228"/>
                  </a:cubicBezTo>
                  <a:cubicBezTo>
                    <a:pt x="463" y="227"/>
                    <a:pt x="463" y="227"/>
                    <a:pt x="463" y="227"/>
                  </a:cubicBezTo>
                  <a:cubicBezTo>
                    <a:pt x="463" y="227"/>
                    <a:pt x="463" y="227"/>
                    <a:pt x="463" y="227"/>
                  </a:cubicBezTo>
                  <a:cubicBezTo>
                    <a:pt x="462" y="227"/>
                    <a:pt x="462" y="227"/>
                    <a:pt x="462" y="227"/>
                  </a:cubicBezTo>
                  <a:cubicBezTo>
                    <a:pt x="463" y="227"/>
                    <a:pt x="463" y="227"/>
                    <a:pt x="463" y="227"/>
                  </a:cubicBezTo>
                  <a:cubicBezTo>
                    <a:pt x="464" y="226"/>
                    <a:pt x="464" y="226"/>
                    <a:pt x="464" y="226"/>
                  </a:cubicBezTo>
                  <a:cubicBezTo>
                    <a:pt x="465" y="223"/>
                    <a:pt x="465" y="223"/>
                    <a:pt x="465" y="223"/>
                  </a:cubicBezTo>
                  <a:cubicBezTo>
                    <a:pt x="465" y="223"/>
                    <a:pt x="465" y="223"/>
                    <a:pt x="465" y="223"/>
                  </a:cubicBezTo>
                  <a:cubicBezTo>
                    <a:pt x="466" y="224"/>
                    <a:pt x="466" y="224"/>
                    <a:pt x="466" y="224"/>
                  </a:cubicBezTo>
                  <a:cubicBezTo>
                    <a:pt x="466" y="224"/>
                    <a:pt x="466" y="224"/>
                    <a:pt x="466" y="224"/>
                  </a:cubicBezTo>
                  <a:cubicBezTo>
                    <a:pt x="466" y="225"/>
                    <a:pt x="466" y="225"/>
                    <a:pt x="466" y="225"/>
                  </a:cubicBezTo>
                  <a:cubicBezTo>
                    <a:pt x="466" y="226"/>
                    <a:pt x="466" y="226"/>
                    <a:pt x="466" y="226"/>
                  </a:cubicBezTo>
                  <a:cubicBezTo>
                    <a:pt x="466" y="226"/>
                    <a:pt x="466" y="226"/>
                    <a:pt x="466" y="226"/>
                  </a:cubicBezTo>
                  <a:cubicBezTo>
                    <a:pt x="466" y="226"/>
                    <a:pt x="466" y="226"/>
                    <a:pt x="466" y="226"/>
                  </a:cubicBezTo>
                  <a:cubicBezTo>
                    <a:pt x="467" y="225"/>
                    <a:pt x="467" y="225"/>
                    <a:pt x="467" y="225"/>
                  </a:cubicBezTo>
                  <a:cubicBezTo>
                    <a:pt x="467" y="224"/>
                    <a:pt x="467" y="224"/>
                    <a:pt x="467" y="224"/>
                  </a:cubicBezTo>
                  <a:cubicBezTo>
                    <a:pt x="468" y="223"/>
                    <a:pt x="468" y="223"/>
                    <a:pt x="468" y="223"/>
                  </a:cubicBezTo>
                  <a:cubicBezTo>
                    <a:pt x="469" y="223"/>
                    <a:pt x="469" y="223"/>
                    <a:pt x="469" y="223"/>
                  </a:cubicBezTo>
                  <a:cubicBezTo>
                    <a:pt x="469" y="223"/>
                    <a:pt x="469" y="223"/>
                    <a:pt x="469" y="223"/>
                  </a:cubicBezTo>
                  <a:cubicBezTo>
                    <a:pt x="470" y="225"/>
                    <a:pt x="470" y="225"/>
                    <a:pt x="470" y="225"/>
                  </a:cubicBezTo>
                  <a:cubicBezTo>
                    <a:pt x="470" y="225"/>
                    <a:pt x="470" y="225"/>
                    <a:pt x="470" y="225"/>
                  </a:cubicBezTo>
                  <a:cubicBezTo>
                    <a:pt x="470" y="224"/>
                    <a:pt x="470" y="224"/>
                    <a:pt x="470" y="224"/>
                  </a:cubicBezTo>
                  <a:cubicBezTo>
                    <a:pt x="471" y="223"/>
                    <a:pt x="471" y="223"/>
                    <a:pt x="471" y="223"/>
                  </a:cubicBezTo>
                  <a:cubicBezTo>
                    <a:pt x="471" y="223"/>
                    <a:pt x="471" y="223"/>
                    <a:pt x="471" y="223"/>
                  </a:cubicBezTo>
                  <a:cubicBezTo>
                    <a:pt x="470" y="223"/>
                    <a:pt x="470" y="223"/>
                    <a:pt x="470" y="223"/>
                  </a:cubicBezTo>
                  <a:cubicBezTo>
                    <a:pt x="470" y="222"/>
                    <a:pt x="470" y="222"/>
                    <a:pt x="470" y="222"/>
                  </a:cubicBezTo>
                  <a:cubicBezTo>
                    <a:pt x="470" y="221"/>
                    <a:pt x="470" y="221"/>
                    <a:pt x="470" y="221"/>
                  </a:cubicBezTo>
                  <a:cubicBezTo>
                    <a:pt x="470" y="221"/>
                    <a:pt x="470" y="221"/>
                    <a:pt x="470" y="221"/>
                  </a:cubicBezTo>
                  <a:cubicBezTo>
                    <a:pt x="472" y="221"/>
                    <a:pt x="472" y="221"/>
                    <a:pt x="472" y="221"/>
                  </a:cubicBezTo>
                  <a:cubicBezTo>
                    <a:pt x="473" y="220"/>
                    <a:pt x="473" y="220"/>
                    <a:pt x="473" y="220"/>
                  </a:cubicBezTo>
                  <a:cubicBezTo>
                    <a:pt x="473" y="219"/>
                    <a:pt x="473" y="219"/>
                    <a:pt x="473" y="219"/>
                  </a:cubicBezTo>
                  <a:cubicBezTo>
                    <a:pt x="474" y="217"/>
                    <a:pt x="474" y="217"/>
                    <a:pt x="474" y="217"/>
                  </a:cubicBezTo>
                  <a:cubicBezTo>
                    <a:pt x="475" y="214"/>
                    <a:pt x="475" y="214"/>
                    <a:pt x="475" y="214"/>
                  </a:cubicBezTo>
                  <a:cubicBezTo>
                    <a:pt x="475" y="213"/>
                    <a:pt x="475" y="213"/>
                    <a:pt x="475" y="213"/>
                  </a:cubicBezTo>
                  <a:cubicBezTo>
                    <a:pt x="476" y="213"/>
                    <a:pt x="476" y="213"/>
                    <a:pt x="476" y="213"/>
                  </a:cubicBezTo>
                  <a:cubicBezTo>
                    <a:pt x="476" y="213"/>
                    <a:pt x="476" y="213"/>
                    <a:pt x="476" y="213"/>
                  </a:cubicBezTo>
                  <a:cubicBezTo>
                    <a:pt x="476" y="213"/>
                    <a:pt x="476" y="213"/>
                    <a:pt x="476" y="213"/>
                  </a:cubicBezTo>
                  <a:cubicBezTo>
                    <a:pt x="476" y="212"/>
                    <a:pt x="476" y="212"/>
                    <a:pt x="476" y="212"/>
                  </a:cubicBezTo>
                  <a:cubicBezTo>
                    <a:pt x="477" y="212"/>
                    <a:pt x="477" y="212"/>
                    <a:pt x="477" y="212"/>
                  </a:cubicBezTo>
                  <a:cubicBezTo>
                    <a:pt x="477" y="212"/>
                    <a:pt x="477" y="212"/>
                    <a:pt x="477" y="212"/>
                  </a:cubicBezTo>
                  <a:cubicBezTo>
                    <a:pt x="477" y="211"/>
                    <a:pt x="477" y="211"/>
                    <a:pt x="477" y="211"/>
                  </a:cubicBezTo>
                  <a:cubicBezTo>
                    <a:pt x="477" y="210"/>
                    <a:pt x="477" y="210"/>
                    <a:pt x="477" y="210"/>
                  </a:cubicBezTo>
                  <a:cubicBezTo>
                    <a:pt x="477" y="209"/>
                    <a:pt x="477" y="209"/>
                    <a:pt x="477" y="209"/>
                  </a:cubicBezTo>
                  <a:cubicBezTo>
                    <a:pt x="477" y="209"/>
                    <a:pt x="477" y="209"/>
                    <a:pt x="477" y="209"/>
                  </a:cubicBezTo>
                  <a:cubicBezTo>
                    <a:pt x="477" y="209"/>
                    <a:pt x="477" y="209"/>
                    <a:pt x="477" y="209"/>
                  </a:cubicBezTo>
                  <a:cubicBezTo>
                    <a:pt x="477" y="209"/>
                    <a:pt x="477" y="209"/>
                    <a:pt x="477" y="209"/>
                  </a:cubicBezTo>
                  <a:cubicBezTo>
                    <a:pt x="477" y="208"/>
                    <a:pt x="477" y="208"/>
                    <a:pt x="477" y="208"/>
                  </a:cubicBezTo>
                  <a:cubicBezTo>
                    <a:pt x="477" y="208"/>
                    <a:pt x="477" y="208"/>
                    <a:pt x="477" y="208"/>
                  </a:cubicBezTo>
                  <a:cubicBezTo>
                    <a:pt x="477" y="208"/>
                    <a:pt x="477" y="208"/>
                    <a:pt x="477" y="208"/>
                  </a:cubicBezTo>
                  <a:cubicBezTo>
                    <a:pt x="477" y="207"/>
                    <a:pt x="477" y="207"/>
                    <a:pt x="477" y="207"/>
                  </a:cubicBezTo>
                  <a:cubicBezTo>
                    <a:pt x="477" y="207"/>
                    <a:pt x="477" y="207"/>
                    <a:pt x="477" y="207"/>
                  </a:cubicBezTo>
                  <a:cubicBezTo>
                    <a:pt x="477" y="207"/>
                    <a:pt x="477" y="207"/>
                    <a:pt x="477" y="207"/>
                  </a:cubicBezTo>
                  <a:cubicBezTo>
                    <a:pt x="478" y="204"/>
                    <a:pt x="478" y="204"/>
                    <a:pt x="478" y="204"/>
                  </a:cubicBezTo>
                  <a:cubicBezTo>
                    <a:pt x="479" y="203"/>
                    <a:pt x="479" y="203"/>
                    <a:pt x="479" y="203"/>
                  </a:cubicBezTo>
                  <a:cubicBezTo>
                    <a:pt x="478" y="202"/>
                    <a:pt x="478" y="202"/>
                    <a:pt x="478" y="202"/>
                  </a:cubicBezTo>
                  <a:cubicBezTo>
                    <a:pt x="479" y="201"/>
                    <a:pt x="479" y="201"/>
                    <a:pt x="479" y="201"/>
                  </a:cubicBezTo>
                  <a:cubicBezTo>
                    <a:pt x="481" y="198"/>
                    <a:pt x="481" y="198"/>
                    <a:pt x="481" y="198"/>
                  </a:cubicBezTo>
                  <a:cubicBezTo>
                    <a:pt x="482" y="195"/>
                    <a:pt x="482" y="195"/>
                    <a:pt x="482" y="195"/>
                  </a:cubicBezTo>
                  <a:cubicBezTo>
                    <a:pt x="482" y="195"/>
                    <a:pt x="482" y="195"/>
                    <a:pt x="482" y="195"/>
                  </a:cubicBezTo>
                  <a:cubicBezTo>
                    <a:pt x="482" y="195"/>
                    <a:pt x="482" y="195"/>
                    <a:pt x="482" y="195"/>
                  </a:cubicBezTo>
                  <a:cubicBezTo>
                    <a:pt x="483" y="196"/>
                    <a:pt x="483" y="196"/>
                    <a:pt x="483" y="196"/>
                  </a:cubicBezTo>
                  <a:cubicBezTo>
                    <a:pt x="483" y="195"/>
                    <a:pt x="483" y="195"/>
                    <a:pt x="483" y="195"/>
                  </a:cubicBezTo>
                  <a:cubicBezTo>
                    <a:pt x="487" y="190"/>
                    <a:pt x="487" y="190"/>
                    <a:pt x="487" y="190"/>
                  </a:cubicBezTo>
                  <a:cubicBezTo>
                    <a:pt x="487" y="190"/>
                    <a:pt x="487" y="190"/>
                    <a:pt x="487" y="190"/>
                  </a:cubicBezTo>
                  <a:cubicBezTo>
                    <a:pt x="487" y="190"/>
                    <a:pt x="487" y="190"/>
                    <a:pt x="487" y="190"/>
                  </a:cubicBezTo>
                  <a:cubicBezTo>
                    <a:pt x="488" y="190"/>
                    <a:pt x="488" y="190"/>
                    <a:pt x="488" y="190"/>
                  </a:cubicBezTo>
                  <a:cubicBezTo>
                    <a:pt x="488" y="190"/>
                    <a:pt x="488" y="190"/>
                    <a:pt x="488" y="190"/>
                  </a:cubicBezTo>
                  <a:cubicBezTo>
                    <a:pt x="489" y="189"/>
                    <a:pt x="489" y="189"/>
                    <a:pt x="489" y="189"/>
                  </a:cubicBezTo>
                  <a:cubicBezTo>
                    <a:pt x="490" y="189"/>
                    <a:pt x="490" y="189"/>
                    <a:pt x="490" y="189"/>
                  </a:cubicBezTo>
                  <a:cubicBezTo>
                    <a:pt x="490" y="189"/>
                    <a:pt x="490" y="189"/>
                    <a:pt x="490" y="189"/>
                  </a:cubicBezTo>
                  <a:cubicBezTo>
                    <a:pt x="490" y="189"/>
                    <a:pt x="490" y="189"/>
                    <a:pt x="490" y="189"/>
                  </a:cubicBezTo>
                  <a:cubicBezTo>
                    <a:pt x="490" y="188"/>
                    <a:pt x="490" y="188"/>
                    <a:pt x="490" y="188"/>
                  </a:cubicBezTo>
                  <a:cubicBezTo>
                    <a:pt x="489" y="188"/>
                    <a:pt x="489" y="188"/>
                    <a:pt x="489" y="188"/>
                  </a:cubicBezTo>
                  <a:cubicBezTo>
                    <a:pt x="489" y="188"/>
                    <a:pt x="489" y="188"/>
                    <a:pt x="489" y="188"/>
                  </a:cubicBezTo>
                  <a:cubicBezTo>
                    <a:pt x="489" y="187"/>
                    <a:pt x="489" y="187"/>
                    <a:pt x="489" y="187"/>
                  </a:cubicBezTo>
                  <a:cubicBezTo>
                    <a:pt x="489" y="186"/>
                    <a:pt x="489" y="186"/>
                    <a:pt x="489" y="186"/>
                  </a:cubicBezTo>
                  <a:cubicBezTo>
                    <a:pt x="489" y="186"/>
                    <a:pt x="489" y="186"/>
                    <a:pt x="489" y="186"/>
                  </a:cubicBezTo>
                  <a:cubicBezTo>
                    <a:pt x="490" y="186"/>
                    <a:pt x="490" y="186"/>
                    <a:pt x="490" y="186"/>
                  </a:cubicBezTo>
                  <a:cubicBezTo>
                    <a:pt x="490" y="187"/>
                    <a:pt x="490" y="187"/>
                    <a:pt x="490" y="187"/>
                  </a:cubicBezTo>
                  <a:cubicBezTo>
                    <a:pt x="491" y="188"/>
                    <a:pt x="491" y="188"/>
                    <a:pt x="491" y="188"/>
                  </a:cubicBezTo>
                  <a:cubicBezTo>
                    <a:pt x="492" y="187"/>
                    <a:pt x="492" y="187"/>
                    <a:pt x="492" y="187"/>
                  </a:cubicBezTo>
                  <a:cubicBezTo>
                    <a:pt x="492" y="186"/>
                    <a:pt x="492" y="186"/>
                    <a:pt x="492" y="186"/>
                  </a:cubicBezTo>
                  <a:cubicBezTo>
                    <a:pt x="493" y="185"/>
                    <a:pt x="493" y="185"/>
                    <a:pt x="493" y="185"/>
                  </a:cubicBezTo>
                  <a:cubicBezTo>
                    <a:pt x="495" y="182"/>
                    <a:pt x="495" y="182"/>
                    <a:pt x="495" y="182"/>
                  </a:cubicBezTo>
                  <a:cubicBezTo>
                    <a:pt x="496" y="182"/>
                    <a:pt x="496" y="182"/>
                    <a:pt x="496" y="182"/>
                  </a:cubicBezTo>
                  <a:cubicBezTo>
                    <a:pt x="496" y="181"/>
                    <a:pt x="496" y="181"/>
                    <a:pt x="496" y="181"/>
                  </a:cubicBezTo>
                  <a:cubicBezTo>
                    <a:pt x="496" y="181"/>
                    <a:pt x="496" y="181"/>
                    <a:pt x="496" y="181"/>
                  </a:cubicBezTo>
                  <a:cubicBezTo>
                    <a:pt x="497" y="180"/>
                    <a:pt x="497" y="180"/>
                    <a:pt x="497" y="180"/>
                  </a:cubicBezTo>
                  <a:cubicBezTo>
                    <a:pt x="497" y="180"/>
                    <a:pt x="497" y="180"/>
                    <a:pt x="497" y="180"/>
                  </a:cubicBezTo>
                  <a:cubicBezTo>
                    <a:pt x="498" y="180"/>
                    <a:pt x="498" y="180"/>
                    <a:pt x="498" y="180"/>
                  </a:cubicBezTo>
                  <a:cubicBezTo>
                    <a:pt x="498" y="180"/>
                    <a:pt x="498" y="180"/>
                    <a:pt x="498" y="180"/>
                  </a:cubicBezTo>
                  <a:cubicBezTo>
                    <a:pt x="498" y="179"/>
                    <a:pt x="498" y="179"/>
                    <a:pt x="498" y="179"/>
                  </a:cubicBezTo>
                  <a:cubicBezTo>
                    <a:pt x="498" y="178"/>
                    <a:pt x="498" y="178"/>
                    <a:pt x="498" y="178"/>
                  </a:cubicBezTo>
                  <a:cubicBezTo>
                    <a:pt x="497" y="178"/>
                    <a:pt x="497" y="178"/>
                    <a:pt x="497" y="178"/>
                  </a:cubicBezTo>
                  <a:cubicBezTo>
                    <a:pt x="497" y="178"/>
                    <a:pt x="497" y="178"/>
                    <a:pt x="497" y="178"/>
                  </a:cubicBezTo>
                  <a:cubicBezTo>
                    <a:pt x="497" y="179"/>
                    <a:pt x="497" y="179"/>
                    <a:pt x="497" y="179"/>
                  </a:cubicBezTo>
                  <a:cubicBezTo>
                    <a:pt x="496" y="178"/>
                    <a:pt x="496" y="178"/>
                    <a:pt x="496" y="178"/>
                  </a:cubicBezTo>
                  <a:cubicBezTo>
                    <a:pt x="496" y="178"/>
                    <a:pt x="496" y="178"/>
                    <a:pt x="496" y="178"/>
                  </a:cubicBezTo>
                  <a:cubicBezTo>
                    <a:pt x="496" y="179"/>
                    <a:pt x="496" y="179"/>
                    <a:pt x="496" y="179"/>
                  </a:cubicBezTo>
                  <a:cubicBezTo>
                    <a:pt x="495" y="180"/>
                    <a:pt x="495" y="180"/>
                    <a:pt x="495" y="180"/>
                  </a:cubicBezTo>
                  <a:cubicBezTo>
                    <a:pt x="495" y="180"/>
                    <a:pt x="495" y="180"/>
                    <a:pt x="495" y="180"/>
                  </a:cubicBezTo>
                  <a:cubicBezTo>
                    <a:pt x="494" y="180"/>
                    <a:pt x="494" y="180"/>
                    <a:pt x="494" y="180"/>
                  </a:cubicBezTo>
                  <a:cubicBezTo>
                    <a:pt x="494" y="179"/>
                    <a:pt x="494" y="179"/>
                    <a:pt x="494" y="179"/>
                  </a:cubicBezTo>
                  <a:cubicBezTo>
                    <a:pt x="494" y="178"/>
                    <a:pt x="494" y="178"/>
                    <a:pt x="494" y="178"/>
                  </a:cubicBezTo>
                  <a:cubicBezTo>
                    <a:pt x="494" y="177"/>
                    <a:pt x="494" y="177"/>
                    <a:pt x="494" y="177"/>
                  </a:cubicBezTo>
                  <a:cubicBezTo>
                    <a:pt x="494" y="177"/>
                    <a:pt x="494" y="177"/>
                    <a:pt x="494" y="177"/>
                  </a:cubicBezTo>
                  <a:cubicBezTo>
                    <a:pt x="494" y="176"/>
                    <a:pt x="494" y="176"/>
                    <a:pt x="494" y="176"/>
                  </a:cubicBezTo>
                  <a:cubicBezTo>
                    <a:pt x="494" y="175"/>
                    <a:pt x="494" y="175"/>
                    <a:pt x="494" y="175"/>
                  </a:cubicBezTo>
                  <a:cubicBezTo>
                    <a:pt x="494" y="175"/>
                    <a:pt x="494" y="175"/>
                    <a:pt x="494" y="175"/>
                  </a:cubicBezTo>
                  <a:cubicBezTo>
                    <a:pt x="492" y="175"/>
                    <a:pt x="492" y="175"/>
                    <a:pt x="492" y="175"/>
                  </a:cubicBezTo>
                  <a:cubicBezTo>
                    <a:pt x="492" y="176"/>
                    <a:pt x="492" y="176"/>
                    <a:pt x="492" y="176"/>
                  </a:cubicBezTo>
                  <a:cubicBezTo>
                    <a:pt x="492" y="176"/>
                    <a:pt x="492" y="176"/>
                    <a:pt x="492" y="176"/>
                  </a:cubicBezTo>
                  <a:cubicBezTo>
                    <a:pt x="491" y="176"/>
                    <a:pt x="491" y="176"/>
                    <a:pt x="491" y="176"/>
                  </a:cubicBezTo>
                  <a:cubicBezTo>
                    <a:pt x="491" y="174"/>
                    <a:pt x="491" y="174"/>
                    <a:pt x="491" y="174"/>
                  </a:cubicBezTo>
                  <a:cubicBezTo>
                    <a:pt x="490" y="174"/>
                    <a:pt x="490" y="174"/>
                    <a:pt x="490" y="174"/>
                  </a:cubicBezTo>
                  <a:cubicBezTo>
                    <a:pt x="490" y="174"/>
                    <a:pt x="490" y="174"/>
                    <a:pt x="490" y="174"/>
                  </a:cubicBezTo>
                  <a:cubicBezTo>
                    <a:pt x="490" y="174"/>
                    <a:pt x="490" y="174"/>
                    <a:pt x="490" y="174"/>
                  </a:cubicBezTo>
                  <a:cubicBezTo>
                    <a:pt x="490" y="173"/>
                    <a:pt x="490" y="173"/>
                    <a:pt x="490" y="173"/>
                  </a:cubicBezTo>
                  <a:cubicBezTo>
                    <a:pt x="491" y="173"/>
                    <a:pt x="491" y="173"/>
                    <a:pt x="491" y="173"/>
                  </a:cubicBezTo>
                  <a:cubicBezTo>
                    <a:pt x="491" y="174"/>
                    <a:pt x="491" y="174"/>
                    <a:pt x="491" y="174"/>
                  </a:cubicBezTo>
                  <a:cubicBezTo>
                    <a:pt x="491" y="174"/>
                    <a:pt x="491" y="174"/>
                    <a:pt x="491" y="174"/>
                  </a:cubicBezTo>
                  <a:cubicBezTo>
                    <a:pt x="491" y="175"/>
                    <a:pt x="491" y="175"/>
                    <a:pt x="491" y="175"/>
                  </a:cubicBezTo>
                  <a:cubicBezTo>
                    <a:pt x="492" y="174"/>
                    <a:pt x="492" y="174"/>
                    <a:pt x="492" y="174"/>
                  </a:cubicBezTo>
                  <a:cubicBezTo>
                    <a:pt x="494" y="173"/>
                    <a:pt x="494" y="173"/>
                    <a:pt x="494" y="173"/>
                  </a:cubicBezTo>
                  <a:cubicBezTo>
                    <a:pt x="494" y="173"/>
                    <a:pt x="494" y="173"/>
                    <a:pt x="494" y="173"/>
                  </a:cubicBezTo>
                  <a:cubicBezTo>
                    <a:pt x="495" y="175"/>
                    <a:pt x="495" y="175"/>
                    <a:pt x="495" y="175"/>
                  </a:cubicBezTo>
                  <a:cubicBezTo>
                    <a:pt x="495" y="175"/>
                    <a:pt x="495" y="175"/>
                    <a:pt x="495" y="175"/>
                  </a:cubicBezTo>
                  <a:cubicBezTo>
                    <a:pt x="496" y="175"/>
                    <a:pt x="496" y="175"/>
                    <a:pt x="496" y="175"/>
                  </a:cubicBezTo>
                  <a:cubicBezTo>
                    <a:pt x="496" y="174"/>
                    <a:pt x="496" y="174"/>
                    <a:pt x="496" y="174"/>
                  </a:cubicBezTo>
                  <a:cubicBezTo>
                    <a:pt x="496" y="174"/>
                    <a:pt x="496" y="174"/>
                    <a:pt x="496" y="174"/>
                  </a:cubicBezTo>
                  <a:cubicBezTo>
                    <a:pt x="496" y="174"/>
                    <a:pt x="496" y="174"/>
                    <a:pt x="496" y="174"/>
                  </a:cubicBezTo>
                  <a:cubicBezTo>
                    <a:pt x="495" y="174"/>
                    <a:pt x="495" y="174"/>
                    <a:pt x="495" y="174"/>
                  </a:cubicBezTo>
                  <a:cubicBezTo>
                    <a:pt x="495" y="173"/>
                    <a:pt x="495" y="173"/>
                    <a:pt x="495" y="173"/>
                  </a:cubicBezTo>
                  <a:cubicBezTo>
                    <a:pt x="494" y="173"/>
                    <a:pt x="494" y="173"/>
                    <a:pt x="494" y="173"/>
                  </a:cubicBezTo>
                  <a:cubicBezTo>
                    <a:pt x="494" y="171"/>
                    <a:pt x="494" y="171"/>
                    <a:pt x="494" y="171"/>
                  </a:cubicBezTo>
                  <a:cubicBezTo>
                    <a:pt x="494" y="171"/>
                    <a:pt x="494" y="171"/>
                    <a:pt x="494" y="171"/>
                  </a:cubicBezTo>
                  <a:cubicBezTo>
                    <a:pt x="494" y="170"/>
                    <a:pt x="494" y="170"/>
                    <a:pt x="494" y="170"/>
                  </a:cubicBezTo>
                  <a:cubicBezTo>
                    <a:pt x="494" y="170"/>
                    <a:pt x="494" y="170"/>
                    <a:pt x="494" y="170"/>
                  </a:cubicBezTo>
                  <a:cubicBezTo>
                    <a:pt x="493" y="172"/>
                    <a:pt x="493" y="172"/>
                    <a:pt x="493" y="172"/>
                  </a:cubicBezTo>
                  <a:cubicBezTo>
                    <a:pt x="493" y="171"/>
                    <a:pt x="493" y="171"/>
                    <a:pt x="493" y="171"/>
                  </a:cubicBezTo>
                  <a:cubicBezTo>
                    <a:pt x="492" y="170"/>
                    <a:pt x="492" y="170"/>
                    <a:pt x="492" y="170"/>
                  </a:cubicBezTo>
                  <a:cubicBezTo>
                    <a:pt x="492" y="169"/>
                    <a:pt x="492" y="169"/>
                    <a:pt x="492" y="169"/>
                  </a:cubicBezTo>
                  <a:cubicBezTo>
                    <a:pt x="491" y="169"/>
                    <a:pt x="491" y="169"/>
                    <a:pt x="491" y="169"/>
                  </a:cubicBezTo>
                  <a:cubicBezTo>
                    <a:pt x="491" y="169"/>
                    <a:pt x="491" y="169"/>
                    <a:pt x="491" y="169"/>
                  </a:cubicBezTo>
                  <a:cubicBezTo>
                    <a:pt x="491" y="170"/>
                    <a:pt x="491" y="170"/>
                    <a:pt x="491" y="170"/>
                  </a:cubicBezTo>
                  <a:cubicBezTo>
                    <a:pt x="490" y="171"/>
                    <a:pt x="490" y="171"/>
                    <a:pt x="490" y="171"/>
                  </a:cubicBezTo>
                  <a:cubicBezTo>
                    <a:pt x="491" y="171"/>
                    <a:pt x="491" y="171"/>
                    <a:pt x="491" y="171"/>
                  </a:cubicBezTo>
                  <a:cubicBezTo>
                    <a:pt x="491" y="171"/>
                    <a:pt x="491" y="171"/>
                    <a:pt x="491" y="171"/>
                  </a:cubicBezTo>
                  <a:cubicBezTo>
                    <a:pt x="491" y="171"/>
                    <a:pt x="491" y="171"/>
                    <a:pt x="491" y="171"/>
                  </a:cubicBezTo>
                  <a:cubicBezTo>
                    <a:pt x="490" y="172"/>
                    <a:pt x="490" y="172"/>
                    <a:pt x="490" y="172"/>
                  </a:cubicBezTo>
                  <a:cubicBezTo>
                    <a:pt x="490" y="171"/>
                    <a:pt x="490" y="171"/>
                    <a:pt x="490" y="171"/>
                  </a:cubicBezTo>
                  <a:cubicBezTo>
                    <a:pt x="490" y="170"/>
                    <a:pt x="490" y="170"/>
                    <a:pt x="490" y="170"/>
                  </a:cubicBezTo>
                  <a:cubicBezTo>
                    <a:pt x="489" y="170"/>
                    <a:pt x="489" y="170"/>
                    <a:pt x="489" y="170"/>
                  </a:cubicBezTo>
                  <a:cubicBezTo>
                    <a:pt x="489" y="170"/>
                    <a:pt x="489" y="170"/>
                    <a:pt x="489" y="170"/>
                  </a:cubicBezTo>
                  <a:cubicBezTo>
                    <a:pt x="489" y="169"/>
                    <a:pt x="489" y="169"/>
                    <a:pt x="489" y="169"/>
                  </a:cubicBezTo>
                  <a:cubicBezTo>
                    <a:pt x="489" y="169"/>
                    <a:pt x="489" y="169"/>
                    <a:pt x="489" y="169"/>
                  </a:cubicBezTo>
                  <a:cubicBezTo>
                    <a:pt x="489" y="168"/>
                    <a:pt x="489" y="168"/>
                    <a:pt x="489" y="168"/>
                  </a:cubicBezTo>
                  <a:cubicBezTo>
                    <a:pt x="488" y="168"/>
                    <a:pt x="488" y="168"/>
                    <a:pt x="488" y="168"/>
                  </a:cubicBezTo>
                  <a:cubicBezTo>
                    <a:pt x="488" y="168"/>
                    <a:pt x="488" y="168"/>
                    <a:pt x="488" y="168"/>
                  </a:cubicBezTo>
                  <a:cubicBezTo>
                    <a:pt x="487" y="168"/>
                    <a:pt x="487" y="168"/>
                    <a:pt x="487" y="168"/>
                  </a:cubicBezTo>
                  <a:cubicBezTo>
                    <a:pt x="487" y="167"/>
                    <a:pt x="487" y="167"/>
                    <a:pt x="487" y="167"/>
                  </a:cubicBezTo>
                  <a:cubicBezTo>
                    <a:pt x="487" y="167"/>
                    <a:pt x="487" y="167"/>
                    <a:pt x="487" y="167"/>
                  </a:cubicBezTo>
                  <a:cubicBezTo>
                    <a:pt x="487" y="166"/>
                    <a:pt x="487" y="166"/>
                    <a:pt x="487" y="166"/>
                  </a:cubicBezTo>
                  <a:cubicBezTo>
                    <a:pt x="487" y="165"/>
                    <a:pt x="487" y="165"/>
                    <a:pt x="487" y="165"/>
                  </a:cubicBezTo>
                  <a:cubicBezTo>
                    <a:pt x="486" y="165"/>
                    <a:pt x="486" y="165"/>
                    <a:pt x="486" y="165"/>
                  </a:cubicBezTo>
                  <a:cubicBezTo>
                    <a:pt x="485" y="165"/>
                    <a:pt x="485" y="165"/>
                    <a:pt x="485" y="165"/>
                  </a:cubicBezTo>
                  <a:cubicBezTo>
                    <a:pt x="484" y="164"/>
                    <a:pt x="484" y="164"/>
                    <a:pt x="484" y="164"/>
                  </a:cubicBezTo>
                  <a:cubicBezTo>
                    <a:pt x="484" y="164"/>
                    <a:pt x="484" y="164"/>
                    <a:pt x="484" y="164"/>
                  </a:cubicBezTo>
                  <a:cubicBezTo>
                    <a:pt x="483" y="163"/>
                    <a:pt x="483" y="163"/>
                    <a:pt x="483" y="163"/>
                  </a:cubicBezTo>
                  <a:cubicBezTo>
                    <a:pt x="483" y="161"/>
                    <a:pt x="483" y="161"/>
                    <a:pt x="483" y="161"/>
                  </a:cubicBezTo>
                  <a:cubicBezTo>
                    <a:pt x="483" y="161"/>
                    <a:pt x="483" y="161"/>
                    <a:pt x="483" y="161"/>
                  </a:cubicBezTo>
                  <a:cubicBezTo>
                    <a:pt x="484" y="160"/>
                    <a:pt x="484" y="160"/>
                    <a:pt x="484" y="160"/>
                  </a:cubicBezTo>
                  <a:cubicBezTo>
                    <a:pt x="485" y="161"/>
                    <a:pt x="485" y="161"/>
                    <a:pt x="485" y="161"/>
                  </a:cubicBezTo>
                  <a:cubicBezTo>
                    <a:pt x="485" y="162"/>
                    <a:pt x="485" y="162"/>
                    <a:pt x="485" y="162"/>
                  </a:cubicBezTo>
                  <a:cubicBezTo>
                    <a:pt x="486" y="163"/>
                    <a:pt x="486" y="163"/>
                    <a:pt x="486" y="163"/>
                  </a:cubicBezTo>
                  <a:cubicBezTo>
                    <a:pt x="487" y="163"/>
                    <a:pt x="487" y="163"/>
                    <a:pt x="487" y="163"/>
                  </a:cubicBezTo>
                  <a:cubicBezTo>
                    <a:pt x="488" y="164"/>
                    <a:pt x="488" y="164"/>
                    <a:pt x="488" y="164"/>
                  </a:cubicBezTo>
                  <a:cubicBezTo>
                    <a:pt x="489" y="165"/>
                    <a:pt x="489" y="165"/>
                    <a:pt x="489" y="165"/>
                  </a:cubicBezTo>
                  <a:cubicBezTo>
                    <a:pt x="489" y="164"/>
                    <a:pt x="489" y="164"/>
                    <a:pt x="489" y="164"/>
                  </a:cubicBezTo>
                  <a:cubicBezTo>
                    <a:pt x="488" y="164"/>
                    <a:pt x="488" y="164"/>
                    <a:pt x="488" y="164"/>
                  </a:cubicBezTo>
                  <a:cubicBezTo>
                    <a:pt x="488" y="163"/>
                    <a:pt x="488" y="163"/>
                    <a:pt x="488" y="163"/>
                  </a:cubicBezTo>
                  <a:cubicBezTo>
                    <a:pt x="489" y="163"/>
                    <a:pt x="489" y="163"/>
                    <a:pt x="489" y="163"/>
                  </a:cubicBezTo>
                  <a:cubicBezTo>
                    <a:pt x="489" y="163"/>
                    <a:pt x="489" y="163"/>
                    <a:pt x="489" y="163"/>
                  </a:cubicBezTo>
                  <a:cubicBezTo>
                    <a:pt x="489" y="163"/>
                    <a:pt x="489" y="163"/>
                    <a:pt x="489" y="163"/>
                  </a:cubicBezTo>
                  <a:cubicBezTo>
                    <a:pt x="488" y="161"/>
                    <a:pt x="488" y="161"/>
                    <a:pt x="488" y="161"/>
                  </a:cubicBezTo>
                  <a:cubicBezTo>
                    <a:pt x="487" y="160"/>
                    <a:pt x="487" y="160"/>
                    <a:pt x="487" y="160"/>
                  </a:cubicBezTo>
                  <a:cubicBezTo>
                    <a:pt x="487" y="159"/>
                    <a:pt x="487" y="159"/>
                    <a:pt x="487" y="159"/>
                  </a:cubicBezTo>
                  <a:cubicBezTo>
                    <a:pt x="487" y="159"/>
                    <a:pt x="487" y="159"/>
                    <a:pt x="487" y="159"/>
                  </a:cubicBezTo>
                  <a:cubicBezTo>
                    <a:pt x="489" y="159"/>
                    <a:pt x="489" y="159"/>
                    <a:pt x="489" y="159"/>
                  </a:cubicBezTo>
                  <a:cubicBezTo>
                    <a:pt x="489" y="159"/>
                    <a:pt x="489" y="159"/>
                    <a:pt x="489" y="159"/>
                  </a:cubicBezTo>
                  <a:cubicBezTo>
                    <a:pt x="489" y="158"/>
                    <a:pt x="489" y="158"/>
                    <a:pt x="489" y="158"/>
                  </a:cubicBezTo>
                  <a:cubicBezTo>
                    <a:pt x="488" y="157"/>
                    <a:pt x="488" y="157"/>
                    <a:pt x="488" y="157"/>
                  </a:cubicBezTo>
                  <a:cubicBezTo>
                    <a:pt x="486" y="156"/>
                    <a:pt x="486" y="156"/>
                    <a:pt x="486" y="156"/>
                  </a:cubicBezTo>
                  <a:cubicBezTo>
                    <a:pt x="484" y="157"/>
                    <a:pt x="484" y="157"/>
                    <a:pt x="484" y="157"/>
                  </a:cubicBezTo>
                  <a:cubicBezTo>
                    <a:pt x="483" y="157"/>
                    <a:pt x="483" y="157"/>
                    <a:pt x="483" y="157"/>
                  </a:cubicBezTo>
                  <a:cubicBezTo>
                    <a:pt x="483" y="157"/>
                    <a:pt x="483" y="157"/>
                    <a:pt x="483" y="157"/>
                  </a:cubicBezTo>
                  <a:cubicBezTo>
                    <a:pt x="482" y="156"/>
                    <a:pt x="482" y="156"/>
                    <a:pt x="482" y="156"/>
                  </a:cubicBezTo>
                  <a:cubicBezTo>
                    <a:pt x="482" y="156"/>
                    <a:pt x="482" y="156"/>
                    <a:pt x="482" y="156"/>
                  </a:cubicBezTo>
                  <a:cubicBezTo>
                    <a:pt x="482" y="155"/>
                    <a:pt x="482" y="155"/>
                    <a:pt x="482" y="155"/>
                  </a:cubicBezTo>
                  <a:cubicBezTo>
                    <a:pt x="481" y="155"/>
                    <a:pt x="481" y="155"/>
                    <a:pt x="481" y="155"/>
                  </a:cubicBezTo>
                  <a:cubicBezTo>
                    <a:pt x="481" y="154"/>
                    <a:pt x="481" y="154"/>
                    <a:pt x="481" y="154"/>
                  </a:cubicBezTo>
                  <a:cubicBezTo>
                    <a:pt x="481" y="153"/>
                    <a:pt x="481" y="153"/>
                    <a:pt x="481" y="153"/>
                  </a:cubicBezTo>
                  <a:cubicBezTo>
                    <a:pt x="481" y="152"/>
                    <a:pt x="481" y="152"/>
                    <a:pt x="481" y="152"/>
                  </a:cubicBezTo>
                  <a:cubicBezTo>
                    <a:pt x="481" y="151"/>
                    <a:pt x="481" y="151"/>
                    <a:pt x="481" y="151"/>
                  </a:cubicBezTo>
                  <a:cubicBezTo>
                    <a:pt x="482" y="151"/>
                    <a:pt x="482" y="151"/>
                    <a:pt x="482" y="151"/>
                  </a:cubicBezTo>
                  <a:cubicBezTo>
                    <a:pt x="482" y="151"/>
                    <a:pt x="482" y="151"/>
                    <a:pt x="482" y="151"/>
                  </a:cubicBezTo>
                  <a:cubicBezTo>
                    <a:pt x="482" y="152"/>
                    <a:pt x="482" y="152"/>
                    <a:pt x="482" y="152"/>
                  </a:cubicBezTo>
                  <a:cubicBezTo>
                    <a:pt x="483" y="153"/>
                    <a:pt x="483" y="153"/>
                    <a:pt x="483" y="153"/>
                  </a:cubicBezTo>
                  <a:cubicBezTo>
                    <a:pt x="483" y="154"/>
                    <a:pt x="483" y="154"/>
                    <a:pt x="483" y="154"/>
                  </a:cubicBezTo>
                  <a:cubicBezTo>
                    <a:pt x="483" y="154"/>
                    <a:pt x="483" y="154"/>
                    <a:pt x="483" y="154"/>
                  </a:cubicBezTo>
                  <a:cubicBezTo>
                    <a:pt x="484" y="154"/>
                    <a:pt x="484" y="154"/>
                    <a:pt x="484" y="154"/>
                  </a:cubicBezTo>
                  <a:cubicBezTo>
                    <a:pt x="485" y="153"/>
                    <a:pt x="485" y="153"/>
                    <a:pt x="485" y="153"/>
                  </a:cubicBezTo>
                  <a:cubicBezTo>
                    <a:pt x="485" y="153"/>
                    <a:pt x="485" y="153"/>
                    <a:pt x="485" y="153"/>
                  </a:cubicBezTo>
                  <a:cubicBezTo>
                    <a:pt x="485" y="152"/>
                    <a:pt x="485" y="152"/>
                    <a:pt x="485" y="152"/>
                  </a:cubicBezTo>
                  <a:cubicBezTo>
                    <a:pt x="486" y="151"/>
                    <a:pt x="486" y="151"/>
                    <a:pt x="486" y="151"/>
                  </a:cubicBezTo>
                  <a:cubicBezTo>
                    <a:pt x="486" y="150"/>
                    <a:pt x="486" y="150"/>
                    <a:pt x="486" y="150"/>
                  </a:cubicBezTo>
                  <a:cubicBezTo>
                    <a:pt x="486" y="148"/>
                    <a:pt x="486" y="148"/>
                    <a:pt x="486" y="148"/>
                  </a:cubicBezTo>
                  <a:cubicBezTo>
                    <a:pt x="486" y="148"/>
                    <a:pt x="486" y="148"/>
                    <a:pt x="486" y="148"/>
                  </a:cubicBezTo>
                  <a:cubicBezTo>
                    <a:pt x="487" y="148"/>
                    <a:pt x="487" y="148"/>
                    <a:pt x="487" y="148"/>
                  </a:cubicBezTo>
                  <a:cubicBezTo>
                    <a:pt x="487" y="148"/>
                    <a:pt x="487" y="148"/>
                    <a:pt x="487" y="148"/>
                  </a:cubicBezTo>
                  <a:cubicBezTo>
                    <a:pt x="487" y="147"/>
                    <a:pt x="487" y="147"/>
                    <a:pt x="487" y="147"/>
                  </a:cubicBezTo>
                  <a:cubicBezTo>
                    <a:pt x="487" y="146"/>
                    <a:pt x="487" y="146"/>
                    <a:pt x="487" y="146"/>
                  </a:cubicBezTo>
                  <a:cubicBezTo>
                    <a:pt x="487" y="146"/>
                    <a:pt x="487" y="146"/>
                    <a:pt x="487" y="146"/>
                  </a:cubicBezTo>
                  <a:cubicBezTo>
                    <a:pt x="487" y="145"/>
                    <a:pt x="487" y="145"/>
                    <a:pt x="487" y="145"/>
                  </a:cubicBezTo>
                  <a:cubicBezTo>
                    <a:pt x="487" y="145"/>
                    <a:pt x="487" y="145"/>
                    <a:pt x="487" y="145"/>
                  </a:cubicBezTo>
                  <a:cubicBezTo>
                    <a:pt x="487" y="145"/>
                    <a:pt x="487" y="145"/>
                    <a:pt x="487" y="145"/>
                  </a:cubicBezTo>
                  <a:cubicBezTo>
                    <a:pt x="491" y="144"/>
                    <a:pt x="491" y="144"/>
                    <a:pt x="491" y="144"/>
                  </a:cubicBezTo>
                  <a:cubicBezTo>
                    <a:pt x="492" y="144"/>
                    <a:pt x="492" y="144"/>
                    <a:pt x="492" y="144"/>
                  </a:cubicBezTo>
                  <a:cubicBezTo>
                    <a:pt x="491" y="143"/>
                    <a:pt x="491" y="143"/>
                    <a:pt x="491" y="143"/>
                  </a:cubicBezTo>
                  <a:cubicBezTo>
                    <a:pt x="491" y="142"/>
                    <a:pt x="491" y="142"/>
                    <a:pt x="491" y="142"/>
                  </a:cubicBezTo>
                  <a:cubicBezTo>
                    <a:pt x="492" y="142"/>
                    <a:pt x="492" y="142"/>
                    <a:pt x="492" y="142"/>
                  </a:cubicBezTo>
                  <a:cubicBezTo>
                    <a:pt x="492" y="141"/>
                    <a:pt x="492" y="141"/>
                    <a:pt x="492" y="141"/>
                  </a:cubicBezTo>
                  <a:cubicBezTo>
                    <a:pt x="492" y="141"/>
                    <a:pt x="492" y="141"/>
                    <a:pt x="492" y="141"/>
                  </a:cubicBezTo>
                  <a:cubicBezTo>
                    <a:pt x="492" y="141"/>
                    <a:pt x="492" y="141"/>
                    <a:pt x="492" y="141"/>
                  </a:cubicBezTo>
                  <a:cubicBezTo>
                    <a:pt x="492" y="141"/>
                    <a:pt x="492" y="141"/>
                    <a:pt x="492" y="141"/>
                  </a:cubicBezTo>
                  <a:cubicBezTo>
                    <a:pt x="492" y="140"/>
                    <a:pt x="492" y="140"/>
                    <a:pt x="492" y="140"/>
                  </a:cubicBezTo>
                  <a:cubicBezTo>
                    <a:pt x="493" y="140"/>
                    <a:pt x="493" y="140"/>
                    <a:pt x="493" y="140"/>
                  </a:cubicBezTo>
                  <a:cubicBezTo>
                    <a:pt x="493" y="141"/>
                    <a:pt x="493" y="141"/>
                    <a:pt x="493" y="141"/>
                  </a:cubicBezTo>
                  <a:cubicBezTo>
                    <a:pt x="494" y="141"/>
                    <a:pt x="494" y="141"/>
                    <a:pt x="494" y="141"/>
                  </a:cubicBezTo>
                  <a:cubicBezTo>
                    <a:pt x="494" y="141"/>
                    <a:pt x="494" y="141"/>
                    <a:pt x="494" y="141"/>
                  </a:cubicBezTo>
                  <a:cubicBezTo>
                    <a:pt x="495" y="140"/>
                    <a:pt x="495" y="140"/>
                    <a:pt x="495" y="140"/>
                  </a:cubicBezTo>
                  <a:cubicBezTo>
                    <a:pt x="495" y="140"/>
                    <a:pt x="495" y="140"/>
                    <a:pt x="495" y="140"/>
                  </a:cubicBezTo>
                  <a:cubicBezTo>
                    <a:pt x="494" y="139"/>
                    <a:pt x="494" y="139"/>
                    <a:pt x="494" y="139"/>
                  </a:cubicBezTo>
                  <a:cubicBezTo>
                    <a:pt x="494" y="138"/>
                    <a:pt x="494" y="138"/>
                    <a:pt x="494" y="138"/>
                  </a:cubicBezTo>
                  <a:cubicBezTo>
                    <a:pt x="494" y="137"/>
                    <a:pt x="494" y="137"/>
                    <a:pt x="494" y="137"/>
                  </a:cubicBezTo>
                  <a:cubicBezTo>
                    <a:pt x="496" y="137"/>
                    <a:pt x="496" y="137"/>
                    <a:pt x="496" y="137"/>
                  </a:cubicBezTo>
                  <a:cubicBezTo>
                    <a:pt x="497" y="137"/>
                    <a:pt x="497" y="137"/>
                    <a:pt x="497" y="137"/>
                  </a:cubicBezTo>
                  <a:cubicBezTo>
                    <a:pt x="497" y="136"/>
                    <a:pt x="497" y="136"/>
                    <a:pt x="497" y="136"/>
                  </a:cubicBezTo>
                  <a:cubicBezTo>
                    <a:pt x="496" y="136"/>
                    <a:pt x="496" y="136"/>
                    <a:pt x="496" y="136"/>
                  </a:cubicBezTo>
                  <a:cubicBezTo>
                    <a:pt x="496" y="136"/>
                    <a:pt x="496" y="136"/>
                    <a:pt x="496" y="136"/>
                  </a:cubicBezTo>
                  <a:cubicBezTo>
                    <a:pt x="496" y="133"/>
                    <a:pt x="496" y="133"/>
                    <a:pt x="496" y="133"/>
                  </a:cubicBezTo>
                  <a:cubicBezTo>
                    <a:pt x="496" y="133"/>
                    <a:pt x="496" y="133"/>
                    <a:pt x="496" y="133"/>
                  </a:cubicBezTo>
                  <a:cubicBezTo>
                    <a:pt x="496" y="132"/>
                    <a:pt x="496" y="132"/>
                    <a:pt x="496" y="132"/>
                  </a:cubicBezTo>
                  <a:cubicBezTo>
                    <a:pt x="496" y="132"/>
                    <a:pt x="496" y="132"/>
                    <a:pt x="496" y="132"/>
                  </a:cubicBezTo>
                  <a:cubicBezTo>
                    <a:pt x="498" y="132"/>
                    <a:pt x="498" y="132"/>
                    <a:pt x="498" y="132"/>
                  </a:cubicBezTo>
                  <a:cubicBezTo>
                    <a:pt x="498" y="131"/>
                    <a:pt x="498" y="131"/>
                    <a:pt x="498" y="131"/>
                  </a:cubicBezTo>
                  <a:cubicBezTo>
                    <a:pt x="498" y="129"/>
                    <a:pt x="498" y="129"/>
                    <a:pt x="498" y="129"/>
                  </a:cubicBezTo>
                  <a:cubicBezTo>
                    <a:pt x="496" y="125"/>
                    <a:pt x="496" y="125"/>
                    <a:pt x="496" y="125"/>
                  </a:cubicBezTo>
                  <a:cubicBezTo>
                    <a:pt x="494" y="123"/>
                    <a:pt x="494" y="123"/>
                    <a:pt x="494" y="123"/>
                  </a:cubicBezTo>
                  <a:cubicBezTo>
                    <a:pt x="492" y="120"/>
                    <a:pt x="492" y="120"/>
                    <a:pt x="492" y="120"/>
                  </a:cubicBezTo>
                  <a:cubicBezTo>
                    <a:pt x="491" y="119"/>
                    <a:pt x="491" y="119"/>
                    <a:pt x="491" y="119"/>
                  </a:cubicBezTo>
                  <a:cubicBezTo>
                    <a:pt x="488" y="117"/>
                    <a:pt x="488" y="117"/>
                    <a:pt x="488" y="117"/>
                  </a:cubicBezTo>
                  <a:cubicBezTo>
                    <a:pt x="488" y="117"/>
                    <a:pt x="488" y="117"/>
                    <a:pt x="488" y="117"/>
                  </a:cubicBezTo>
                  <a:cubicBezTo>
                    <a:pt x="489" y="117"/>
                    <a:pt x="489" y="117"/>
                    <a:pt x="489" y="117"/>
                  </a:cubicBezTo>
                  <a:cubicBezTo>
                    <a:pt x="490" y="116"/>
                    <a:pt x="490" y="116"/>
                    <a:pt x="490" y="116"/>
                  </a:cubicBezTo>
                  <a:cubicBezTo>
                    <a:pt x="490" y="115"/>
                    <a:pt x="490" y="115"/>
                    <a:pt x="490" y="115"/>
                  </a:cubicBezTo>
                  <a:cubicBezTo>
                    <a:pt x="489" y="115"/>
                    <a:pt x="489" y="115"/>
                    <a:pt x="489" y="115"/>
                  </a:cubicBezTo>
                  <a:cubicBezTo>
                    <a:pt x="489" y="115"/>
                    <a:pt x="489" y="115"/>
                    <a:pt x="489" y="115"/>
                  </a:cubicBezTo>
                  <a:cubicBezTo>
                    <a:pt x="490" y="115"/>
                    <a:pt x="490" y="115"/>
                    <a:pt x="490" y="115"/>
                  </a:cubicBezTo>
                  <a:cubicBezTo>
                    <a:pt x="491" y="116"/>
                    <a:pt x="491" y="116"/>
                    <a:pt x="491" y="116"/>
                  </a:cubicBezTo>
                  <a:cubicBezTo>
                    <a:pt x="492" y="118"/>
                    <a:pt x="492" y="118"/>
                    <a:pt x="492" y="118"/>
                  </a:cubicBezTo>
                  <a:cubicBezTo>
                    <a:pt x="493" y="119"/>
                    <a:pt x="493" y="119"/>
                    <a:pt x="493" y="119"/>
                  </a:cubicBezTo>
                  <a:cubicBezTo>
                    <a:pt x="493" y="119"/>
                    <a:pt x="493" y="119"/>
                    <a:pt x="493" y="119"/>
                  </a:cubicBezTo>
                  <a:cubicBezTo>
                    <a:pt x="494" y="119"/>
                    <a:pt x="494" y="119"/>
                    <a:pt x="494" y="119"/>
                  </a:cubicBezTo>
                  <a:cubicBezTo>
                    <a:pt x="494" y="120"/>
                    <a:pt x="494" y="120"/>
                    <a:pt x="494" y="120"/>
                  </a:cubicBezTo>
                  <a:cubicBezTo>
                    <a:pt x="495" y="120"/>
                    <a:pt x="495" y="120"/>
                    <a:pt x="495" y="120"/>
                  </a:cubicBezTo>
                  <a:cubicBezTo>
                    <a:pt x="495" y="121"/>
                    <a:pt x="495" y="121"/>
                    <a:pt x="495" y="121"/>
                  </a:cubicBezTo>
                  <a:cubicBezTo>
                    <a:pt x="496" y="123"/>
                    <a:pt x="496" y="123"/>
                    <a:pt x="496" y="123"/>
                  </a:cubicBezTo>
                  <a:cubicBezTo>
                    <a:pt x="496" y="124"/>
                    <a:pt x="496" y="124"/>
                    <a:pt x="496" y="124"/>
                  </a:cubicBezTo>
                  <a:cubicBezTo>
                    <a:pt x="497" y="125"/>
                    <a:pt x="497" y="125"/>
                    <a:pt x="497" y="125"/>
                  </a:cubicBezTo>
                  <a:cubicBezTo>
                    <a:pt x="498" y="124"/>
                    <a:pt x="498" y="124"/>
                    <a:pt x="498" y="124"/>
                  </a:cubicBezTo>
                  <a:cubicBezTo>
                    <a:pt x="500" y="123"/>
                    <a:pt x="500" y="123"/>
                    <a:pt x="500" y="123"/>
                  </a:cubicBezTo>
                  <a:cubicBezTo>
                    <a:pt x="501" y="122"/>
                    <a:pt x="501" y="122"/>
                    <a:pt x="501" y="122"/>
                  </a:cubicBezTo>
                  <a:cubicBezTo>
                    <a:pt x="501" y="121"/>
                    <a:pt x="501" y="121"/>
                    <a:pt x="501" y="121"/>
                  </a:cubicBezTo>
                  <a:cubicBezTo>
                    <a:pt x="500" y="120"/>
                    <a:pt x="500" y="120"/>
                    <a:pt x="500" y="120"/>
                  </a:cubicBezTo>
                  <a:cubicBezTo>
                    <a:pt x="499" y="120"/>
                    <a:pt x="499" y="120"/>
                    <a:pt x="499" y="120"/>
                  </a:cubicBezTo>
                  <a:cubicBezTo>
                    <a:pt x="498" y="118"/>
                    <a:pt x="498" y="118"/>
                    <a:pt x="498" y="118"/>
                  </a:cubicBezTo>
                  <a:cubicBezTo>
                    <a:pt x="498" y="118"/>
                    <a:pt x="498" y="118"/>
                    <a:pt x="498" y="118"/>
                  </a:cubicBezTo>
                  <a:cubicBezTo>
                    <a:pt x="497" y="117"/>
                    <a:pt x="497" y="117"/>
                    <a:pt x="497" y="117"/>
                  </a:cubicBezTo>
                  <a:cubicBezTo>
                    <a:pt x="497" y="119"/>
                    <a:pt x="497" y="119"/>
                    <a:pt x="497" y="119"/>
                  </a:cubicBezTo>
                  <a:cubicBezTo>
                    <a:pt x="497" y="119"/>
                    <a:pt x="497" y="119"/>
                    <a:pt x="497" y="119"/>
                  </a:cubicBezTo>
                  <a:cubicBezTo>
                    <a:pt x="496" y="119"/>
                    <a:pt x="496" y="119"/>
                    <a:pt x="496" y="119"/>
                  </a:cubicBezTo>
                  <a:cubicBezTo>
                    <a:pt x="496" y="118"/>
                    <a:pt x="496" y="118"/>
                    <a:pt x="496" y="118"/>
                  </a:cubicBezTo>
                  <a:cubicBezTo>
                    <a:pt x="495" y="117"/>
                    <a:pt x="495" y="117"/>
                    <a:pt x="495" y="117"/>
                  </a:cubicBezTo>
                  <a:cubicBezTo>
                    <a:pt x="494" y="117"/>
                    <a:pt x="494" y="117"/>
                    <a:pt x="494" y="117"/>
                  </a:cubicBezTo>
                  <a:cubicBezTo>
                    <a:pt x="494" y="116"/>
                    <a:pt x="494" y="116"/>
                    <a:pt x="494" y="116"/>
                  </a:cubicBezTo>
                  <a:cubicBezTo>
                    <a:pt x="493" y="116"/>
                    <a:pt x="493" y="116"/>
                    <a:pt x="493" y="116"/>
                  </a:cubicBezTo>
                  <a:cubicBezTo>
                    <a:pt x="494" y="115"/>
                    <a:pt x="494" y="115"/>
                    <a:pt x="494" y="115"/>
                  </a:cubicBezTo>
                  <a:cubicBezTo>
                    <a:pt x="494" y="115"/>
                    <a:pt x="494" y="115"/>
                    <a:pt x="494" y="115"/>
                  </a:cubicBezTo>
                  <a:cubicBezTo>
                    <a:pt x="494" y="115"/>
                    <a:pt x="494" y="115"/>
                    <a:pt x="494" y="115"/>
                  </a:cubicBezTo>
                  <a:cubicBezTo>
                    <a:pt x="494" y="115"/>
                    <a:pt x="494" y="115"/>
                    <a:pt x="494" y="115"/>
                  </a:cubicBezTo>
                  <a:cubicBezTo>
                    <a:pt x="494" y="114"/>
                    <a:pt x="494" y="114"/>
                    <a:pt x="494" y="114"/>
                  </a:cubicBezTo>
                  <a:cubicBezTo>
                    <a:pt x="496" y="113"/>
                    <a:pt x="496" y="113"/>
                    <a:pt x="496" y="113"/>
                  </a:cubicBezTo>
                  <a:cubicBezTo>
                    <a:pt x="498" y="114"/>
                    <a:pt x="498" y="114"/>
                    <a:pt x="498" y="114"/>
                  </a:cubicBezTo>
                  <a:cubicBezTo>
                    <a:pt x="498" y="113"/>
                    <a:pt x="498" y="113"/>
                    <a:pt x="498" y="113"/>
                  </a:cubicBezTo>
                  <a:cubicBezTo>
                    <a:pt x="497" y="113"/>
                    <a:pt x="497" y="113"/>
                    <a:pt x="497" y="113"/>
                  </a:cubicBezTo>
                  <a:cubicBezTo>
                    <a:pt x="496" y="113"/>
                    <a:pt x="496" y="113"/>
                    <a:pt x="496" y="113"/>
                  </a:cubicBezTo>
                  <a:cubicBezTo>
                    <a:pt x="496" y="112"/>
                    <a:pt x="496" y="112"/>
                    <a:pt x="496" y="112"/>
                  </a:cubicBezTo>
                  <a:cubicBezTo>
                    <a:pt x="497" y="112"/>
                    <a:pt x="497" y="112"/>
                    <a:pt x="497" y="112"/>
                  </a:cubicBezTo>
                  <a:cubicBezTo>
                    <a:pt x="498" y="112"/>
                    <a:pt x="498" y="112"/>
                    <a:pt x="498" y="112"/>
                  </a:cubicBezTo>
                  <a:cubicBezTo>
                    <a:pt x="499" y="113"/>
                    <a:pt x="499" y="113"/>
                    <a:pt x="499" y="113"/>
                  </a:cubicBezTo>
                  <a:cubicBezTo>
                    <a:pt x="499" y="113"/>
                    <a:pt x="499" y="113"/>
                    <a:pt x="499" y="113"/>
                  </a:cubicBezTo>
                  <a:cubicBezTo>
                    <a:pt x="501" y="113"/>
                    <a:pt x="501" y="113"/>
                    <a:pt x="501" y="113"/>
                  </a:cubicBezTo>
                  <a:cubicBezTo>
                    <a:pt x="500" y="112"/>
                    <a:pt x="500" y="112"/>
                    <a:pt x="500" y="112"/>
                  </a:cubicBezTo>
                  <a:cubicBezTo>
                    <a:pt x="501" y="112"/>
                    <a:pt x="501" y="112"/>
                    <a:pt x="501" y="112"/>
                  </a:cubicBezTo>
                  <a:cubicBezTo>
                    <a:pt x="503" y="113"/>
                    <a:pt x="503" y="113"/>
                    <a:pt x="503" y="113"/>
                  </a:cubicBezTo>
                  <a:cubicBezTo>
                    <a:pt x="504" y="113"/>
                    <a:pt x="504" y="113"/>
                    <a:pt x="504" y="113"/>
                  </a:cubicBezTo>
                  <a:cubicBezTo>
                    <a:pt x="505" y="112"/>
                    <a:pt x="505" y="112"/>
                    <a:pt x="505" y="112"/>
                  </a:cubicBezTo>
                  <a:cubicBezTo>
                    <a:pt x="506" y="112"/>
                    <a:pt x="506" y="112"/>
                    <a:pt x="506" y="112"/>
                  </a:cubicBezTo>
                  <a:cubicBezTo>
                    <a:pt x="506" y="112"/>
                    <a:pt x="506" y="112"/>
                    <a:pt x="506" y="112"/>
                  </a:cubicBezTo>
                  <a:cubicBezTo>
                    <a:pt x="507" y="113"/>
                    <a:pt x="507" y="113"/>
                    <a:pt x="507" y="113"/>
                  </a:cubicBezTo>
                  <a:cubicBezTo>
                    <a:pt x="507" y="113"/>
                    <a:pt x="507" y="113"/>
                    <a:pt x="507" y="113"/>
                  </a:cubicBezTo>
                  <a:cubicBezTo>
                    <a:pt x="508" y="112"/>
                    <a:pt x="508" y="112"/>
                    <a:pt x="508" y="112"/>
                  </a:cubicBezTo>
                  <a:cubicBezTo>
                    <a:pt x="508" y="111"/>
                    <a:pt x="508" y="111"/>
                    <a:pt x="508" y="111"/>
                  </a:cubicBezTo>
                  <a:cubicBezTo>
                    <a:pt x="508" y="111"/>
                    <a:pt x="508" y="111"/>
                    <a:pt x="508" y="111"/>
                  </a:cubicBezTo>
                  <a:cubicBezTo>
                    <a:pt x="508" y="110"/>
                    <a:pt x="508" y="110"/>
                    <a:pt x="508" y="110"/>
                  </a:cubicBezTo>
                  <a:cubicBezTo>
                    <a:pt x="508" y="109"/>
                    <a:pt x="508" y="109"/>
                    <a:pt x="508" y="109"/>
                  </a:cubicBezTo>
                  <a:cubicBezTo>
                    <a:pt x="508" y="111"/>
                    <a:pt x="508" y="111"/>
                    <a:pt x="508" y="111"/>
                  </a:cubicBezTo>
                  <a:cubicBezTo>
                    <a:pt x="509" y="111"/>
                    <a:pt x="509" y="111"/>
                    <a:pt x="509" y="111"/>
                  </a:cubicBezTo>
                  <a:cubicBezTo>
                    <a:pt x="509" y="111"/>
                    <a:pt x="509" y="111"/>
                    <a:pt x="509" y="111"/>
                  </a:cubicBezTo>
                  <a:cubicBezTo>
                    <a:pt x="510" y="111"/>
                    <a:pt x="510" y="111"/>
                    <a:pt x="510" y="111"/>
                  </a:cubicBezTo>
                  <a:cubicBezTo>
                    <a:pt x="510" y="110"/>
                    <a:pt x="510" y="110"/>
                    <a:pt x="510" y="110"/>
                  </a:cubicBezTo>
                  <a:cubicBezTo>
                    <a:pt x="510" y="109"/>
                    <a:pt x="510" y="109"/>
                    <a:pt x="510" y="109"/>
                  </a:cubicBezTo>
                  <a:cubicBezTo>
                    <a:pt x="511" y="108"/>
                    <a:pt x="511" y="108"/>
                    <a:pt x="511" y="108"/>
                  </a:cubicBezTo>
                  <a:cubicBezTo>
                    <a:pt x="510" y="107"/>
                    <a:pt x="510" y="107"/>
                    <a:pt x="510" y="107"/>
                  </a:cubicBezTo>
                  <a:cubicBezTo>
                    <a:pt x="508" y="105"/>
                    <a:pt x="508" y="105"/>
                    <a:pt x="508" y="105"/>
                  </a:cubicBezTo>
                  <a:cubicBezTo>
                    <a:pt x="507" y="105"/>
                    <a:pt x="507" y="105"/>
                    <a:pt x="507" y="105"/>
                  </a:cubicBezTo>
                  <a:cubicBezTo>
                    <a:pt x="507" y="105"/>
                    <a:pt x="507" y="105"/>
                    <a:pt x="507" y="105"/>
                  </a:cubicBezTo>
                  <a:cubicBezTo>
                    <a:pt x="508" y="106"/>
                    <a:pt x="508" y="106"/>
                    <a:pt x="508" y="106"/>
                  </a:cubicBezTo>
                  <a:cubicBezTo>
                    <a:pt x="507" y="107"/>
                    <a:pt x="507" y="107"/>
                    <a:pt x="507" y="107"/>
                  </a:cubicBezTo>
                  <a:cubicBezTo>
                    <a:pt x="507" y="106"/>
                    <a:pt x="507" y="106"/>
                    <a:pt x="507" y="106"/>
                  </a:cubicBezTo>
                  <a:cubicBezTo>
                    <a:pt x="505" y="103"/>
                    <a:pt x="505" y="103"/>
                    <a:pt x="505" y="103"/>
                  </a:cubicBezTo>
                  <a:cubicBezTo>
                    <a:pt x="506" y="103"/>
                    <a:pt x="506" y="103"/>
                    <a:pt x="506" y="103"/>
                  </a:cubicBezTo>
                  <a:cubicBezTo>
                    <a:pt x="510" y="104"/>
                    <a:pt x="510" y="104"/>
                    <a:pt x="510" y="104"/>
                  </a:cubicBezTo>
                  <a:cubicBezTo>
                    <a:pt x="511" y="104"/>
                    <a:pt x="511" y="104"/>
                    <a:pt x="511" y="104"/>
                  </a:cubicBezTo>
                  <a:cubicBezTo>
                    <a:pt x="511" y="104"/>
                    <a:pt x="511" y="104"/>
                    <a:pt x="511" y="104"/>
                  </a:cubicBezTo>
                  <a:cubicBezTo>
                    <a:pt x="511" y="104"/>
                    <a:pt x="511" y="104"/>
                    <a:pt x="511" y="104"/>
                  </a:cubicBezTo>
                  <a:cubicBezTo>
                    <a:pt x="511" y="105"/>
                    <a:pt x="511" y="105"/>
                    <a:pt x="511" y="105"/>
                  </a:cubicBezTo>
                  <a:cubicBezTo>
                    <a:pt x="512" y="104"/>
                    <a:pt x="512" y="104"/>
                    <a:pt x="512" y="104"/>
                  </a:cubicBezTo>
                  <a:cubicBezTo>
                    <a:pt x="512" y="104"/>
                    <a:pt x="512" y="104"/>
                    <a:pt x="512" y="104"/>
                  </a:cubicBezTo>
                  <a:cubicBezTo>
                    <a:pt x="512" y="104"/>
                    <a:pt x="512" y="104"/>
                    <a:pt x="512" y="104"/>
                  </a:cubicBezTo>
                  <a:cubicBezTo>
                    <a:pt x="512" y="104"/>
                    <a:pt x="512" y="104"/>
                    <a:pt x="512" y="104"/>
                  </a:cubicBezTo>
                  <a:cubicBezTo>
                    <a:pt x="512" y="103"/>
                    <a:pt x="512" y="103"/>
                    <a:pt x="512" y="103"/>
                  </a:cubicBezTo>
                  <a:cubicBezTo>
                    <a:pt x="513" y="103"/>
                    <a:pt x="513" y="103"/>
                    <a:pt x="513" y="103"/>
                  </a:cubicBezTo>
                  <a:cubicBezTo>
                    <a:pt x="515" y="103"/>
                    <a:pt x="515" y="103"/>
                    <a:pt x="515" y="103"/>
                  </a:cubicBezTo>
                  <a:cubicBezTo>
                    <a:pt x="516" y="102"/>
                    <a:pt x="516" y="102"/>
                    <a:pt x="516" y="102"/>
                  </a:cubicBezTo>
                  <a:cubicBezTo>
                    <a:pt x="515" y="102"/>
                    <a:pt x="515" y="102"/>
                    <a:pt x="515" y="102"/>
                  </a:cubicBezTo>
                  <a:cubicBezTo>
                    <a:pt x="515" y="102"/>
                    <a:pt x="515" y="102"/>
                    <a:pt x="515" y="102"/>
                  </a:cubicBezTo>
                  <a:cubicBezTo>
                    <a:pt x="514" y="101"/>
                    <a:pt x="514" y="101"/>
                    <a:pt x="514" y="101"/>
                  </a:cubicBezTo>
                  <a:cubicBezTo>
                    <a:pt x="514" y="100"/>
                    <a:pt x="514" y="100"/>
                    <a:pt x="514" y="100"/>
                  </a:cubicBezTo>
                  <a:cubicBezTo>
                    <a:pt x="513" y="100"/>
                    <a:pt x="513" y="100"/>
                    <a:pt x="513" y="100"/>
                  </a:cubicBezTo>
                  <a:cubicBezTo>
                    <a:pt x="511" y="99"/>
                    <a:pt x="511" y="99"/>
                    <a:pt x="511" y="99"/>
                  </a:cubicBezTo>
                  <a:cubicBezTo>
                    <a:pt x="509" y="96"/>
                    <a:pt x="509" y="96"/>
                    <a:pt x="509" y="96"/>
                  </a:cubicBezTo>
                  <a:cubicBezTo>
                    <a:pt x="505" y="94"/>
                    <a:pt x="505" y="94"/>
                    <a:pt x="505" y="94"/>
                  </a:cubicBezTo>
                  <a:cubicBezTo>
                    <a:pt x="503" y="92"/>
                    <a:pt x="503" y="92"/>
                    <a:pt x="503" y="92"/>
                  </a:cubicBezTo>
                  <a:cubicBezTo>
                    <a:pt x="502" y="89"/>
                    <a:pt x="502" y="89"/>
                    <a:pt x="502" y="89"/>
                  </a:cubicBezTo>
                  <a:cubicBezTo>
                    <a:pt x="503" y="90"/>
                    <a:pt x="503" y="90"/>
                    <a:pt x="503" y="90"/>
                  </a:cubicBezTo>
                  <a:cubicBezTo>
                    <a:pt x="504" y="91"/>
                    <a:pt x="504" y="91"/>
                    <a:pt x="504" y="91"/>
                  </a:cubicBezTo>
                  <a:cubicBezTo>
                    <a:pt x="504" y="91"/>
                    <a:pt x="504" y="91"/>
                    <a:pt x="504" y="91"/>
                  </a:cubicBezTo>
                  <a:cubicBezTo>
                    <a:pt x="505" y="92"/>
                    <a:pt x="505" y="92"/>
                    <a:pt x="505" y="92"/>
                  </a:cubicBezTo>
                  <a:cubicBezTo>
                    <a:pt x="505" y="93"/>
                    <a:pt x="505" y="93"/>
                    <a:pt x="505" y="93"/>
                  </a:cubicBezTo>
                  <a:cubicBezTo>
                    <a:pt x="506" y="93"/>
                    <a:pt x="506" y="93"/>
                    <a:pt x="506" y="93"/>
                  </a:cubicBezTo>
                  <a:cubicBezTo>
                    <a:pt x="507" y="94"/>
                    <a:pt x="507" y="94"/>
                    <a:pt x="507" y="94"/>
                  </a:cubicBezTo>
                  <a:cubicBezTo>
                    <a:pt x="508" y="95"/>
                    <a:pt x="508" y="95"/>
                    <a:pt x="508" y="95"/>
                  </a:cubicBezTo>
                  <a:cubicBezTo>
                    <a:pt x="510" y="96"/>
                    <a:pt x="510" y="96"/>
                    <a:pt x="510" y="96"/>
                  </a:cubicBezTo>
                  <a:cubicBezTo>
                    <a:pt x="510" y="96"/>
                    <a:pt x="510" y="96"/>
                    <a:pt x="510" y="96"/>
                  </a:cubicBezTo>
                  <a:cubicBezTo>
                    <a:pt x="511" y="97"/>
                    <a:pt x="511" y="97"/>
                    <a:pt x="511" y="97"/>
                  </a:cubicBezTo>
                  <a:cubicBezTo>
                    <a:pt x="513" y="98"/>
                    <a:pt x="513" y="98"/>
                    <a:pt x="513" y="98"/>
                  </a:cubicBezTo>
                  <a:cubicBezTo>
                    <a:pt x="516" y="101"/>
                    <a:pt x="516" y="101"/>
                    <a:pt x="516" y="101"/>
                  </a:cubicBezTo>
                  <a:cubicBezTo>
                    <a:pt x="517" y="101"/>
                    <a:pt x="517" y="101"/>
                    <a:pt x="517" y="101"/>
                  </a:cubicBezTo>
                  <a:cubicBezTo>
                    <a:pt x="517" y="100"/>
                    <a:pt x="517" y="100"/>
                    <a:pt x="517" y="100"/>
                  </a:cubicBezTo>
                  <a:cubicBezTo>
                    <a:pt x="517" y="99"/>
                    <a:pt x="517" y="99"/>
                    <a:pt x="517" y="99"/>
                  </a:cubicBezTo>
                  <a:cubicBezTo>
                    <a:pt x="518" y="100"/>
                    <a:pt x="518" y="100"/>
                    <a:pt x="518" y="100"/>
                  </a:cubicBezTo>
                  <a:cubicBezTo>
                    <a:pt x="518" y="100"/>
                    <a:pt x="518" y="100"/>
                    <a:pt x="518" y="100"/>
                  </a:cubicBezTo>
                  <a:cubicBezTo>
                    <a:pt x="519" y="101"/>
                    <a:pt x="519" y="101"/>
                    <a:pt x="519" y="101"/>
                  </a:cubicBezTo>
                  <a:cubicBezTo>
                    <a:pt x="520" y="101"/>
                    <a:pt x="520" y="101"/>
                    <a:pt x="520" y="101"/>
                  </a:cubicBezTo>
                  <a:cubicBezTo>
                    <a:pt x="520" y="101"/>
                    <a:pt x="520" y="101"/>
                    <a:pt x="520" y="101"/>
                  </a:cubicBezTo>
                  <a:cubicBezTo>
                    <a:pt x="521" y="102"/>
                    <a:pt x="521" y="102"/>
                    <a:pt x="521" y="102"/>
                  </a:cubicBezTo>
                  <a:cubicBezTo>
                    <a:pt x="522" y="103"/>
                    <a:pt x="522" y="103"/>
                    <a:pt x="522" y="103"/>
                  </a:cubicBezTo>
                  <a:cubicBezTo>
                    <a:pt x="522" y="102"/>
                    <a:pt x="522" y="102"/>
                    <a:pt x="522" y="102"/>
                  </a:cubicBezTo>
                  <a:cubicBezTo>
                    <a:pt x="522" y="101"/>
                    <a:pt x="522" y="101"/>
                    <a:pt x="522" y="101"/>
                  </a:cubicBezTo>
                  <a:cubicBezTo>
                    <a:pt x="522" y="100"/>
                    <a:pt x="522" y="100"/>
                    <a:pt x="522" y="100"/>
                  </a:cubicBezTo>
                  <a:cubicBezTo>
                    <a:pt x="522" y="100"/>
                    <a:pt x="522" y="100"/>
                    <a:pt x="522" y="100"/>
                  </a:cubicBezTo>
                  <a:cubicBezTo>
                    <a:pt x="520" y="99"/>
                    <a:pt x="520" y="99"/>
                    <a:pt x="520" y="99"/>
                  </a:cubicBezTo>
                  <a:cubicBezTo>
                    <a:pt x="520" y="99"/>
                    <a:pt x="520" y="99"/>
                    <a:pt x="520" y="99"/>
                  </a:cubicBezTo>
                  <a:cubicBezTo>
                    <a:pt x="520" y="98"/>
                    <a:pt x="520" y="98"/>
                    <a:pt x="520" y="98"/>
                  </a:cubicBezTo>
                  <a:cubicBezTo>
                    <a:pt x="520" y="98"/>
                    <a:pt x="520" y="98"/>
                    <a:pt x="520" y="98"/>
                  </a:cubicBezTo>
                  <a:cubicBezTo>
                    <a:pt x="520" y="97"/>
                    <a:pt x="520" y="97"/>
                    <a:pt x="520" y="97"/>
                  </a:cubicBezTo>
                  <a:cubicBezTo>
                    <a:pt x="520" y="97"/>
                    <a:pt x="519" y="96"/>
                    <a:pt x="519" y="96"/>
                  </a:cubicBezTo>
                  <a:cubicBezTo>
                    <a:pt x="519" y="96"/>
                    <a:pt x="519" y="96"/>
                    <a:pt x="519" y="96"/>
                  </a:cubicBezTo>
                  <a:cubicBezTo>
                    <a:pt x="518" y="98"/>
                    <a:pt x="518" y="98"/>
                    <a:pt x="518" y="98"/>
                  </a:cubicBezTo>
                  <a:cubicBezTo>
                    <a:pt x="517" y="98"/>
                    <a:pt x="517" y="98"/>
                    <a:pt x="517" y="98"/>
                  </a:cubicBezTo>
                  <a:cubicBezTo>
                    <a:pt x="515" y="97"/>
                    <a:pt x="515" y="97"/>
                    <a:pt x="515" y="97"/>
                  </a:cubicBezTo>
                  <a:cubicBezTo>
                    <a:pt x="517" y="97"/>
                    <a:pt x="517" y="97"/>
                    <a:pt x="517" y="97"/>
                  </a:cubicBezTo>
                  <a:cubicBezTo>
                    <a:pt x="518" y="96"/>
                    <a:pt x="518" y="96"/>
                    <a:pt x="518" y="96"/>
                  </a:cubicBezTo>
                  <a:cubicBezTo>
                    <a:pt x="518" y="96"/>
                    <a:pt x="518" y="96"/>
                    <a:pt x="518" y="96"/>
                  </a:cubicBezTo>
                  <a:cubicBezTo>
                    <a:pt x="459" y="61"/>
                    <a:pt x="394" y="33"/>
                    <a:pt x="327" y="14"/>
                  </a:cubicBezTo>
                  <a:cubicBezTo>
                    <a:pt x="321" y="25"/>
                    <a:pt x="321" y="25"/>
                    <a:pt x="321" y="25"/>
                  </a:cubicBezTo>
                  <a:cubicBezTo>
                    <a:pt x="314" y="33"/>
                    <a:pt x="314" y="33"/>
                    <a:pt x="314" y="33"/>
                  </a:cubicBezTo>
                  <a:cubicBezTo>
                    <a:pt x="314" y="35"/>
                    <a:pt x="314" y="35"/>
                    <a:pt x="314" y="35"/>
                  </a:cubicBezTo>
                  <a:cubicBezTo>
                    <a:pt x="315" y="43"/>
                    <a:pt x="315" y="43"/>
                    <a:pt x="315" y="43"/>
                  </a:cubicBezTo>
                  <a:cubicBezTo>
                    <a:pt x="316" y="44"/>
                    <a:pt x="316" y="44"/>
                    <a:pt x="316" y="44"/>
                  </a:cubicBezTo>
                  <a:cubicBezTo>
                    <a:pt x="316" y="47"/>
                    <a:pt x="316" y="47"/>
                    <a:pt x="316" y="47"/>
                  </a:cubicBezTo>
                  <a:cubicBezTo>
                    <a:pt x="316" y="48"/>
                    <a:pt x="316" y="48"/>
                    <a:pt x="316" y="48"/>
                  </a:cubicBezTo>
                  <a:cubicBezTo>
                    <a:pt x="316" y="49"/>
                    <a:pt x="316" y="49"/>
                    <a:pt x="316" y="49"/>
                  </a:cubicBezTo>
                  <a:cubicBezTo>
                    <a:pt x="303" y="58"/>
                    <a:pt x="303" y="58"/>
                    <a:pt x="303" y="58"/>
                  </a:cubicBezTo>
                  <a:cubicBezTo>
                    <a:pt x="295" y="59"/>
                    <a:pt x="295" y="59"/>
                    <a:pt x="295" y="59"/>
                  </a:cubicBezTo>
                  <a:cubicBezTo>
                    <a:pt x="295" y="59"/>
                    <a:pt x="295" y="59"/>
                    <a:pt x="295" y="59"/>
                  </a:cubicBezTo>
                  <a:cubicBezTo>
                    <a:pt x="302" y="58"/>
                    <a:pt x="302" y="58"/>
                    <a:pt x="302" y="58"/>
                  </a:cubicBezTo>
                  <a:cubicBezTo>
                    <a:pt x="314" y="49"/>
                    <a:pt x="314" y="49"/>
                    <a:pt x="314" y="49"/>
                  </a:cubicBezTo>
                  <a:cubicBezTo>
                    <a:pt x="315" y="48"/>
                    <a:pt x="315" y="48"/>
                    <a:pt x="315" y="48"/>
                  </a:cubicBezTo>
                  <a:cubicBezTo>
                    <a:pt x="315" y="47"/>
                    <a:pt x="315" y="47"/>
                    <a:pt x="315" y="47"/>
                  </a:cubicBezTo>
                  <a:cubicBezTo>
                    <a:pt x="314" y="45"/>
                    <a:pt x="314" y="45"/>
                    <a:pt x="314" y="45"/>
                  </a:cubicBezTo>
                  <a:cubicBezTo>
                    <a:pt x="314" y="44"/>
                    <a:pt x="314" y="44"/>
                    <a:pt x="314" y="44"/>
                  </a:cubicBezTo>
                  <a:cubicBezTo>
                    <a:pt x="313" y="36"/>
                    <a:pt x="313" y="36"/>
                    <a:pt x="313" y="36"/>
                  </a:cubicBezTo>
                  <a:cubicBezTo>
                    <a:pt x="313" y="33"/>
                    <a:pt x="313" y="33"/>
                    <a:pt x="313" y="33"/>
                  </a:cubicBezTo>
                  <a:cubicBezTo>
                    <a:pt x="320" y="25"/>
                    <a:pt x="320" y="25"/>
                    <a:pt x="320" y="25"/>
                  </a:cubicBezTo>
                  <a:cubicBezTo>
                    <a:pt x="326" y="14"/>
                    <a:pt x="326" y="14"/>
                    <a:pt x="326" y="14"/>
                  </a:cubicBezTo>
                  <a:cubicBezTo>
                    <a:pt x="307" y="9"/>
                    <a:pt x="288" y="4"/>
                    <a:pt x="269" y="1"/>
                  </a:cubicBezTo>
                  <a:cubicBezTo>
                    <a:pt x="268" y="1"/>
                    <a:pt x="268" y="1"/>
                    <a:pt x="268" y="1"/>
                  </a:cubicBezTo>
                  <a:cubicBezTo>
                    <a:pt x="268" y="0"/>
                    <a:pt x="268" y="0"/>
                    <a:pt x="268" y="0"/>
                  </a:cubicBezTo>
                  <a:cubicBezTo>
                    <a:pt x="266" y="0"/>
                    <a:pt x="265" y="0"/>
                    <a:pt x="263" y="0"/>
                  </a:cubicBezTo>
                  <a:cubicBezTo>
                    <a:pt x="263" y="0"/>
                    <a:pt x="263" y="0"/>
                    <a:pt x="263" y="0"/>
                  </a:cubicBezTo>
                  <a:cubicBezTo>
                    <a:pt x="258" y="0"/>
                    <a:pt x="258" y="0"/>
                    <a:pt x="258" y="0"/>
                  </a:cubicBezTo>
                  <a:cubicBezTo>
                    <a:pt x="257" y="0"/>
                    <a:pt x="257" y="0"/>
                    <a:pt x="257" y="0"/>
                  </a:cubicBezTo>
                  <a:cubicBezTo>
                    <a:pt x="257" y="1"/>
                    <a:pt x="257" y="1"/>
                    <a:pt x="257" y="1"/>
                  </a:cubicBezTo>
                  <a:cubicBezTo>
                    <a:pt x="256" y="2"/>
                    <a:pt x="256" y="2"/>
                    <a:pt x="256" y="2"/>
                  </a:cubicBezTo>
                  <a:cubicBezTo>
                    <a:pt x="257" y="3"/>
                    <a:pt x="257" y="3"/>
                    <a:pt x="257" y="3"/>
                  </a:cubicBezTo>
                  <a:cubicBezTo>
                    <a:pt x="258" y="2"/>
                    <a:pt x="258" y="2"/>
                    <a:pt x="258" y="2"/>
                  </a:cubicBezTo>
                  <a:cubicBezTo>
                    <a:pt x="259" y="3"/>
                    <a:pt x="259" y="3"/>
                    <a:pt x="259" y="3"/>
                  </a:cubicBezTo>
                  <a:cubicBezTo>
                    <a:pt x="259" y="3"/>
                    <a:pt x="259" y="3"/>
                    <a:pt x="259" y="3"/>
                  </a:cubicBezTo>
                  <a:cubicBezTo>
                    <a:pt x="259" y="5"/>
                    <a:pt x="259" y="5"/>
                    <a:pt x="259" y="5"/>
                  </a:cubicBezTo>
                  <a:cubicBezTo>
                    <a:pt x="260" y="5"/>
                    <a:pt x="260" y="5"/>
                    <a:pt x="260" y="5"/>
                  </a:cubicBezTo>
                  <a:cubicBezTo>
                    <a:pt x="260" y="5"/>
                    <a:pt x="260" y="5"/>
                    <a:pt x="260" y="5"/>
                  </a:cubicBezTo>
                  <a:cubicBezTo>
                    <a:pt x="261" y="5"/>
                    <a:pt x="261" y="5"/>
                    <a:pt x="261" y="5"/>
                  </a:cubicBezTo>
                  <a:cubicBezTo>
                    <a:pt x="261" y="6"/>
                    <a:pt x="261" y="6"/>
                    <a:pt x="261" y="6"/>
                  </a:cubicBezTo>
                  <a:cubicBezTo>
                    <a:pt x="261" y="6"/>
                    <a:pt x="261" y="6"/>
                    <a:pt x="261" y="6"/>
                  </a:cubicBezTo>
                  <a:cubicBezTo>
                    <a:pt x="261" y="6"/>
                    <a:pt x="261" y="6"/>
                    <a:pt x="261" y="6"/>
                  </a:cubicBezTo>
                  <a:cubicBezTo>
                    <a:pt x="261" y="6"/>
                    <a:pt x="261" y="6"/>
                    <a:pt x="261" y="6"/>
                  </a:cubicBezTo>
                  <a:cubicBezTo>
                    <a:pt x="261" y="8"/>
                    <a:pt x="261" y="8"/>
                    <a:pt x="261" y="8"/>
                  </a:cubicBezTo>
                  <a:cubicBezTo>
                    <a:pt x="261" y="8"/>
                    <a:pt x="261" y="8"/>
                    <a:pt x="261" y="8"/>
                  </a:cubicBezTo>
                  <a:cubicBezTo>
                    <a:pt x="262" y="7"/>
                    <a:pt x="262" y="7"/>
                    <a:pt x="262" y="7"/>
                  </a:cubicBezTo>
                  <a:cubicBezTo>
                    <a:pt x="263" y="8"/>
                    <a:pt x="263" y="8"/>
                    <a:pt x="263" y="8"/>
                  </a:cubicBezTo>
                  <a:cubicBezTo>
                    <a:pt x="264" y="9"/>
                    <a:pt x="264" y="9"/>
                    <a:pt x="264" y="9"/>
                  </a:cubicBezTo>
                  <a:cubicBezTo>
                    <a:pt x="264" y="9"/>
                    <a:pt x="264" y="9"/>
                    <a:pt x="264" y="9"/>
                  </a:cubicBezTo>
                  <a:cubicBezTo>
                    <a:pt x="269" y="10"/>
                    <a:pt x="269" y="10"/>
                    <a:pt x="269" y="10"/>
                  </a:cubicBezTo>
                  <a:cubicBezTo>
                    <a:pt x="270" y="11"/>
                    <a:pt x="270" y="11"/>
                    <a:pt x="270" y="11"/>
                  </a:cubicBezTo>
                  <a:cubicBezTo>
                    <a:pt x="263" y="11"/>
                    <a:pt x="263" y="11"/>
                    <a:pt x="263" y="11"/>
                  </a:cubicBezTo>
                  <a:cubicBezTo>
                    <a:pt x="261" y="10"/>
                    <a:pt x="261" y="10"/>
                    <a:pt x="261" y="10"/>
                  </a:cubicBezTo>
                  <a:cubicBezTo>
                    <a:pt x="259" y="9"/>
                    <a:pt x="259" y="9"/>
                    <a:pt x="259" y="9"/>
                  </a:cubicBezTo>
                  <a:cubicBezTo>
                    <a:pt x="257" y="10"/>
                    <a:pt x="257" y="10"/>
                    <a:pt x="257" y="10"/>
                  </a:cubicBezTo>
                  <a:cubicBezTo>
                    <a:pt x="256" y="11"/>
                    <a:pt x="256" y="11"/>
                    <a:pt x="256" y="11"/>
                  </a:cubicBezTo>
                  <a:cubicBezTo>
                    <a:pt x="257" y="12"/>
                    <a:pt x="257" y="12"/>
                    <a:pt x="257" y="12"/>
                  </a:cubicBezTo>
                  <a:cubicBezTo>
                    <a:pt x="257" y="12"/>
                    <a:pt x="257" y="12"/>
                    <a:pt x="257" y="12"/>
                  </a:cubicBezTo>
                  <a:cubicBezTo>
                    <a:pt x="257" y="12"/>
                    <a:pt x="257" y="12"/>
                    <a:pt x="257" y="12"/>
                  </a:cubicBezTo>
                  <a:cubicBezTo>
                    <a:pt x="262" y="13"/>
                    <a:pt x="262" y="13"/>
                    <a:pt x="262" y="13"/>
                  </a:cubicBezTo>
                  <a:cubicBezTo>
                    <a:pt x="263" y="13"/>
                    <a:pt x="263" y="13"/>
                    <a:pt x="263" y="13"/>
                  </a:cubicBezTo>
                  <a:cubicBezTo>
                    <a:pt x="262" y="14"/>
                    <a:pt x="262" y="14"/>
                    <a:pt x="262" y="14"/>
                  </a:cubicBezTo>
                  <a:cubicBezTo>
                    <a:pt x="258" y="13"/>
                    <a:pt x="258" y="13"/>
                    <a:pt x="258" y="13"/>
                  </a:cubicBezTo>
                  <a:cubicBezTo>
                    <a:pt x="257" y="14"/>
                    <a:pt x="257" y="14"/>
                    <a:pt x="257" y="14"/>
                  </a:cubicBezTo>
                  <a:cubicBezTo>
                    <a:pt x="257" y="15"/>
                    <a:pt x="257" y="15"/>
                    <a:pt x="257" y="15"/>
                  </a:cubicBezTo>
                  <a:cubicBezTo>
                    <a:pt x="257" y="16"/>
                    <a:pt x="257" y="16"/>
                    <a:pt x="257" y="16"/>
                  </a:cubicBezTo>
                  <a:cubicBezTo>
                    <a:pt x="258" y="17"/>
                    <a:pt x="258" y="17"/>
                    <a:pt x="258" y="17"/>
                  </a:cubicBezTo>
                  <a:cubicBezTo>
                    <a:pt x="259" y="17"/>
                    <a:pt x="259" y="17"/>
                    <a:pt x="259" y="17"/>
                  </a:cubicBezTo>
                  <a:cubicBezTo>
                    <a:pt x="261" y="15"/>
                    <a:pt x="261" y="15"/>
                    <a:pt x="261" y="15"/>
                  </a:cubicBezTo>
                  <a:cubicBezTo>
                    <a:pt x="262" y="15"/>
                    <a:pt x="262" y="15"/>
                    <a:pt x="262" y="15"/>
                  </a:cubicBezTo>
                  <a:cubicBezTo>
                    <a:pt x="267" y="15"/>
                    <a:pt x="267" y="15"/>
                    <a:pt x="267" y="15"/>
                  </a:cubicBezTo>
                  <a:cubicBezTo>
                    <a:pt x="266" y="17"/>
                    <a:pt x="266" y="17"/>
                    <a:pt x="266" y="17"/>
                  </a:cubicBezTo>
                  <a:cubicBezTo>
                    <a:pt x="264" y="17"/>
                    <a:pt x="264" y="17"/>
                    <a:pt x="264" y="17"/>
                  </a:cubicBezTo>
                  <a:cubicBezTo>
                    <a:pt x="261" y="17"/>
                    <a:pt x="261" y="17"/>
                    <a:pt x="261" y="17"/>
                  </a:cubicBezTo>
                  <a:cubicBezTo>
                    <a:pt x="261" y="17"/>
                    <a:pt x="261" y="17"/>
                    <a:pt x="261" y="17"/>
                  </a:cubicBezTo>
                  <a:cubicBezTo>
                    <a:pt x="262" y="18"/>
                    <a:pt x="262" y="18"/>
                    <a:pt x="262" y="18"/>
                  </a:cubicBezTo>
                  <a:cubicBezTo>
                    <a:pt x="261" y="18"/>
                    <a:pt x="261" y="18"/>
                    <a:pt x="261" y="18"/>
                  </a:cubicBezTo>
                  <a:cubicBezTo>
                    <a:pt x="256" y="18"/>
                    <a:pt x="256" y="18"/>
                    <a:pt x="256" y="18"/>
                  </a:cubicBezTo>
                  <a:cubicBezTo>
                    <a:pt x="256" y="18"/>
                    <a:pt x="256" y="18"/>
                    <a:pt x="256" y="18"/>
                  </a:cubicBezTo>
                  <a:cubicBezTo>
                    <a:pt x="255" y="17"/>
                    <a:pt x="255" y="17"/>
                    <a:pt x="255" y="17"/>
                  </a:cubicBezTo>
                  <a:cubicBezTo>
                    <a:pt x="255" y="17"/>
                    <a:pt x="255" y="17"/>
                    <a:pt x="255" y="17"/>
                  </a:cubicBezTo>
                  <a:cubicBezTo>
                    <a:pt x="248" y="16"/>
                    <a:pt x="248" y="16"/>
                    <a:pt x="248" y="16"/>
                  </a:cubicBezTo>
                  <a:cubicBezTo>
                    <a:pt x="247" y="17"/>
                    <a:pt x="247" y="17"/>
                    <a:pt x="247" y="17"/>
                  </a:cubicBezTo>
                  <a:cubicBezTo>
                    <a:pt x="248" y="18"/>
                    <a:pt x="248" y="18"/>
                    <a:pt x="248" y="18"/>
                  </a:cubicBezTo>
                  <a:cubicBezTo>
                    <a:pt x="255" y="20"/>
                    <a:pt x="255" y="20"/>
                    <a:pt x="255" y="20"/>
                  </a:cubicBezTo>
                  <a:cubicBezTo>
                    <a:pt x="256" y="21"/>
                    <a:pt x="256" y="21"/>
                    <a:pt x="256" y="21"/>
                  </a:cubicBezTo>
                  <a:cubicBezTo>
                    <a:pt x="257" y="22"/>
                    <a:pt x="257" y="22"/>
                    <a:pt x="257" y="22"/>
                  </a:cubicBezTo>
                  <a:cubicBezTo>
                    <a:pt x="256" y="22"/>
                    <a:pt x="256" y="22"/>
                    <a:pt x="256" y="22"/>
                  </a:cubicBezTo>
                  <a:cubicBezTo>
                    <a:pt x="254" y="21"/>
                    <a:pt x="254" y="21"/>
                    <a:pt x="254" y="21"/>
                  </a:cubicBezTo>
                  <a:cubicBezTo>
                    <a:pt x="253" y="21"/>
                    <a:pt x="253" y="21"/>
                    <a:pt x="253" y="21"/>
                  </a:cubicBezTo>
                  <a:cubicBezTo>
                    <a:pt x="252" y="22"/>
                    <a:pt x="252" y="22"/>
                    <a:pt x="252" y="22"/>
                  </a:cubicBezTo>
                  <a:cubicBezTo>
                    <a:pt x="251" y="22"/>
                    <a:pt x="251" y="22"/>
                    <a:pt x="251" y="22"/>
                  </a:cubicBezTo>
                  <a:cubicBezTo>
                    <a:pt x="250" y="21"/>
                    <a:pt x="250" y="21"/>
                    <a:pt x="250" y="21"/>
                  </a:cubicBezTo>
                  <a:cubicBezTo>
                    <a:pt x="250" y="21"/>
                    <a:pt x="250" y="21"/>
                    <a:pt x="250" y="21"/>
                  </a:cubicBezTo>
                  <a:cubicBezTo>
                    <a:pt x="249" y="21"/>
                    <a:pt x="249" y="21"/>
                    <a:pt x="249" y="21"/>
                  </a:cubicBezTo>
                  <a:cubicBezTo>
                    <a:pt x="248" y="21"/>
                    <a:pt x="248" y="21"/>
                    <a:pt x="248" y="21"/>
                  </a:cubicBezTo>
                  <a:cubicBezTo>
                    <a:pt x="248" y="21"/>
                    <a:pt x="248" y="21"/>
                    <a:pt x="248" y="21"/>
                  </a:cubicBezTo>
                  <a:cubicBezTo>
                    <a:pt x="247" y="21"/>
                    <a:pt x="247" y="21"/>
                    <a:pt x="247" y="21"/>
                  </a:cubicBezTo>
                  <a:cubicBezTo>
                    <a:pt x="246" y="20"/>
                    <a:pt x="246" y="20"/>
                    <a:pt x="246" y="20"/>
                  </a:cubicBezTo>
                  <a:cubicBezTo>
                    <a:pt x="245" y="21"/>
                    <a:pt x="245" y="21"/>
                    <a:pt x="245" y="21"/>
                  </a:cubicBezTo>
                  <a:cubicBezTo>
                    <a:pt x="248" y="23"/>
                    <a:pt x="248" y="23"/>
                    <a:pt x="248" y="23"/>
                  </a:cubicBezTo>
                  <a:cubicBezTo>
                    <a:pt x="251" y="23"/>
                    <a:pt x="251" y="23"/>
                    <a:pt x="251" y="23"/>
                  </a:cubicBezTo>
                  <a:cubicBezTo>
                    <a:pt x="252" y="23"/>
                    <a:pt x="252" y="23"/>
                    <a:pt x="252" y="23"/>
                  </a:cubicBezTo>
                  <a:cubicBezTo>
                    <a:pt x="252" y="24"/>
                    <a:pt x="252" y="24"/>
                    <a:pt x="252" y="24"/>
                  </a:cubicBezTo>
                  <a:cubicBezTo>
                    <a:pt x="250" y="23"/>
                    <a:pt x="250" y="23"/>
                    <a:pt x="250" y="23"/>
                  </a:cubicBezTo>
                  <a:cubicBezTo>
                    <a:pt x="249" y="24"/>
                    <a:pt x="249" y="24"/>
                    <a:pt x="249" y="24"/>
                  </a:cubicBezTo>
                  <a:cubicBezTo>
                    <a:pt x="248" y="24"/>
                    <a:pt x="248" y="24"/>
                    <a:pt x="248" y="24"/>
                  </a:cubicBezTo>
                  <a:cubicBezTo>
                    <a:pt x="247" y="25"/>
                    <a:pt x="247" y="25"/>
                    <a:pt x="247" y="25"/>
                  </a:cubicBezTo>
                  <a:cubicBezTo>
                    <a:pt x="248" y="25"/>
                    <a:pt x="248" y="25"/>
                    <a:pt x="248" y="25"/>
                  </a:cubicBezTo>
                  <a:cubicBezTo>
                    <a:pt x="248" y="25"/>
                    <a:pt x="248" y="25"/>
                    <a:pt x="248" y="25"/>
                  </a:cubicBezTo>
                  <a:cubicBezTo>
                    <a:pt x="247" y="27"/>
                    <a:pt x="247" y="27"/>
                    <a:pt x="247" y="27"/>
                  </a:cubicBezTo>
                  <a:cubicBezTo>
                    <a:pt x="247" y="27"/>
                    <a:pt x="247" y="27"/>
                    <a:pt x="247" y="27"/>
                  </a:cubicBezTo>
                  <a:cubicBezTo>
                    <a:pt x="247" y="29"/>
                    <a:pt x="247" y="29"/>
                    <a:pt x="247" y="29"/>
                  </a:cubicBezTo>
                  <a:cubicBezTo>
                    <a:pt x="248" y="29"/>
                    <a:pt x="248" y="29"/>
                    <a:pt x="248" y="29"/>
                  </a:cubicBezTo>
                  <a:cubicBezTo>
                    <a:pt x="248" y="29"/>
                    <a:pt x="248" y="29"/>
                    <a:pt x="248" y="29"/>
                  </a:cubicBezTo>
                  <a:cubicBezTo>
                    <a:pt x="251" y="29"/>
                    <a:pt x="251" y="29"/>
                    <a:pt x="251" y="29"/>
                  </a:cubicBezTo>
                  <a:cubicBezTo>
                    <a:pt x="252" y="28"/>
                    <a:pt x="252" y="28"/>
                    <a:pt x="252" y="28"/>
                  </a:cubicBezTo>
                  <a:cubicBezTo>
                    <a:pt x="253" y="28"/>
                    <a:pt x="253" y="28"/>
                    <a:pt x="253" y="28"/>
                  </a:cubicBezTo>
                  <a:cubicBezTo>
                    <a:pt x="254" y="26"/>
                    <a:pt x="254" y="26"/>
                    <a:pt x="254" y="26"/>
                  </a:cubicBezTo>
                  <a:cubicBezTo>
                    <a:pt x="255" y="25"/>
                    <a:pt x="255" y="25"/>
                    <a:pt x="255" y="25"/>
                  </a:cubicBezTo>
                  <a:cubicBezTo>
                    <a:pt x="261" y="24"/>
                    <a:pt x="261" y="24"/>
                    <a:pt x="261" y="24"/>
                  </a:cubicBezTo>
                  <a:cubicBezTo>
                    <a:pt x="262" y="25"/>
                    <a:pt x="262" y="25"/>
                    <a:pt x="262" y="25"/>
                  </a:cubicBezTo>
                  <a:cubicBezTo>
                    <a:pt x="258" y="25"/>
                    <a:pt x="258" y="25"/>
                    <a:pt x="258" y="25"/>
                  </a:cubicBezTo>
                  <a:cubicBezTo>
                    <a:pt x="256" y="27"/>
                    <a:pt x="256" y="27"/>
                    <a:pt x="256" y="27"/>
                  </a:cubicBezTo>
                  <a:cubicBezTo>
                    <a:pt x="254" y="28"/>
                    <a:pt x="254" y="28"/>
                    <a:pt x="254" y="28"/>
                  </a:cubicBezTo>
                  <a:cubicBezTo>
                    <a:pt x="255" y="29"/>
                    <a:pt x="255" y="29"/>
                    <a:pt x="255" y="29"/>
                  </a:cubicBezTo>
                  <a:cubicBezTo>
                    <a:pt x="259" y="30"/>
                    <a:pt x="259" y="30"/>
                    <a:pt x="259" y="30"/>
                  </a:cubicBezTo>
                  <a:cubicBezTo>
                    <a:pt x="260" y="30"/>
                    <a:pt x="260" y="30"/>
                    <a:pt x="260" y="30"/>
                  </a:cubicBezTo>
                  <a:cubicBezTo>
                    <a:pt x="260" y="32"/>
                    <a:pt x="260" y="32"/>
                    <a:pt x="260" y="32"/>
                  </a:cubicBezTo>
                  <a:cubicBezTo>
                    <a:pt x="259" y="31"/>
                    <a:pt x="259" y="31"/>
                    <a:pt x="259" y="31"/>
                  </a:cubicBezTo>
                  <a:cubicBezTo>
                    <a:pt x="257" y="31"/>
                    <a:pt x="257" y="31"/>
                    <a:pt x="257" y="31"/>
                  </a:cubicBezTo>
                  <a:cubicBezTo>
                    <a:pt x="256" y="29"/>
                    <a:pt x="256" y="29"/>
                    <a:pt x="256" y="29"/>
                  </a:cubicBezTo>
                  <a:cubicBezTo>
                    <a:pt x="255" y="29"/>
                    <a:pt x="255" y="29"/>
                    <a:pt x="255" y="29"/>
                  </a:cubicBezTo>
                  <a:cubicBezTo>
                    <a:pt x="254" y="29"/>
                    <a:pt x="254" y="29"/>
                    <a:pt x="254" y="29"/>
                  </a:cubicBezTo>
                  <a:cubicBezTo>
                    <a:pt x="254" y="30"/>
                    <a:pt x="254" y="30"/>
                    <a:pt x="254" y="30"/>
                  </a:cubicBezTo>
                  <a:cubicBezTo>
                    <a:pt x="251" y="30"/>
                    <a:pt x="251" y="30"/>
                    <a:pt x="251" y="30"/>
                  </a:cubicBezTo>
                  <a:cubicBezTo>
                    <a:pt x="250" y="30"/>
                    <a:pt x="250" y="30"/>
                    <a:pt x="250" y="30"/>
                  </a:cubicBezTo>
                  <a:cubicBezTo>
                    <a:pt x="249" y="31"/>
                    <a:pt x="249" y="31"/>
                    <a:pt x="249" y="31"/>
                  </a:cubicBezTo>
                  <a:cubicBezTo>
                    <a:pt x="248" y="31"/>
                    <a:pt x="248" y="31"/>
                    <a:pt x="248" y="31"/>
                  </a:cubicBezTo>
                  <a:cubicBezTo>
                    <a:pt x="248" y="32"/>
                    <a:pt x="248" y="32"/>
                    <a:pt x="248" y="32"/>
                  </a:cubicBezTo>
                  <a:cubicBezTo>
                    <a:pt x="249" y="32"/>
                    <a:pt x="249" y="32"/>
                    <a:pt x="249" y="32"/>
                  </a:cubicBezTo>
                  <a:cubicBezTo>
                    <a:pt x="249" y="33"/>
                    <a:pt x="249" y="33"/>
                    <a:pt x="249" y="33"/>
                  </a:cubicBezTo>
                  <a:cubicBezTo>
                    <a:pt x="248" y="34"/>
                    <a:pt x="248" y="34"/>
                    <a:pt x="248" y="34"/>
                  </a:cubicBezTo>
                  <a:cubicBezTo>
                    <a:pt x="248" y="35"/>
                    <a:pt x="248" y="35"/>
                    <a:pt x="248" y="35"/>
                  </a:cubicBezTo>
                  <a:cubicBezTo>
                    <a:pt x="249" y="36"/>
                    <a:pt x="249" y="36"/>
                    <a:pt x="249" y="36"/>
                  </a:cubicBezTo>
                  <a:cubicBezTo>
                    <a:pt x="252" y="35"/>
                    <a:pt x="252" y="35"/>
                    <a:pt x="252" y="35"/>
                  </a:cubicBezTo>
                  <a:cubicBezTo>
                    <a:pt x="251" y="36"/>
                    <a:pt x="251" y="36"/>
                    <a:pt x="251" y="36"/>
                  </a:cubicBezTo>
                  <a:cubicBezTo>
                    <a:pt x="247" y="36"/>
                    <a:pt x="247" y="36"/>
                    <a:pt x="247" y="36"/>
                  </a:cubicBezTo>
                  <a:cubicBezTo>
                    <a:pt x="247" y="36"/>
                    <a:pt x="247" y="36"/>
                    <a:pt x="247" y="36"/>
                  </a:cubicBezTo>
                  <a:cubicBezTo>
                    <a:pt x="247" y="35"/>
                    <a:pt x="247" y="35"/>
                    <a:pt x="247" y="35"/>
                  </a:cubicBezTo>
                  <a:cubicBezTo>
                    <a:pt x="247" y="34"/>
                    <a:pt x="247" y="34"/>
                    <a:pt x="247" y="34"/>
                  </a:cubicBezTo>
                  <a:cubicBezTo>
                    <a:pt x="247" y="33"/>
                    <a:pt x="247" y="33"/>
                    <a:pt x="247" y="33"/>
                  </a:cubicBezTo>
                  <a:cubicBezTo>
                    <a:pt x="247" y="32"/>
                    <a:pt x="247" y="32"/>
                    <a:pt x="247" y="32"/>
                  </a:cubicBezTo>
                  <a:cubicBezTo>
                    <a:pt x="247" y="32"/>
                    <a:pt x="247" y="32"/>
                    <a:pt x="247" y="32"/>
                  </a:cubicBezTo>
                  <a:cubicBezTo>
                    <a:pt x="246" y="31"/>
                    <a:pt x="246" y="31"/>
                    <a:pt x="246" y="31"/>
                  </a:cubicBezTo>
                  <a:cubicBezTo>
                    <a:pt x="244" y="30"/>
                    <a:pt x="244" y="30"/>
                    <a:pt x="244" y="30"/>
                  </a:cubicBezTo>
                  <a:cubicBezTo>
                    <a:pt x="244" y="30"/>
                    <a:pt x="244" y="30"/>
                    <a:pt x="244" y="30"/>
                  </a:cubicBezTo>
                  <a:cubicBezTo>
                    <a:pt x="243" y="30"/>
                    <a:pt x="243" y="30"/>
                    <a:pt x="243" y="30"/>
                  </a:cubicBezTo>
                  <a:cubicBezTo>
                    <a:pt x="240" y="31"/>
                    <a:pt x="240" y="31"/>
                    <a:pt x="240" y="31"/>
                  </a:cubicBezTo>
                  <a:cubicBezTo>
                    <a:pt x="240" y="32"/>
                    <a:pt x="240" y="32"/>
                    <a:pt x="240" y="32"/>
                  </a:cubicBezTo>
                  <a:cubicBezTo>
                    <a:pt x="241" y="32"/>
                    <a:pt x="241" y="32"/>
                    <a:pt x="241" y="32"/>
                  </a:cubicBezTo>
                  <a:cubicBezTo>
                    <a:pt x="242" y="33"/>
                    <a:pt x="242" y="33"/>
                    <a:pt x="242" y="33"/>
                  </a:cubicBezTo>
                  <a:cubicBezTo>
                    <a:pt x="242" y="33"/>
                    <a:pt x="242" y="33"/>
                    <a:pt x="242" y="33"/>
                  </a:cubicBezTo>
                  <a:cubicBezTo>
                    <a:pt x="243" y="33"/>
                    <a:pt x="243" y="33"/>
                    <a:pt x="243" y="33"/>
                  </a:cubicBezTo>
                  <a:cubicBezTo>
                    <a:pt x="243" y="33"/>
                    <a:pt x="243" y="33"/>
                    <a:pt x="243" y="33"/>
                  </a:cubicBezTo>
                  <a:cubicBezTo>
                    <a:pt x="243" y="34"/>
                    <a:pt x="243" y="34"/>
                    <a:pt x="243" y="34"/>
                  </a:cubicBezTo>
                  <a:cubicBezTo>
                    <a:pt x="243" y="35"/>
                    <a:pt x="243" y="35"/>
                    <a:pt x="243" y="35"/>
                  </a:cubicBezTo>
                  <a:cubicBezTo>
                    <a:pt x="244" y="35"/>
                    <a:pt x="244" y="35"/>
                    <a:pt x="244" y="35"/>
                  </a:cubicBezTo>
                  <a:cubicBezTo>
                    <a:pt x="245" y="35"/>
                    <a:pt x="245" y="35"/>
                    <a:pt x="245" y="35"/>
                  </a:cubicBezTo>
                  <a:cubicBezTo>
                    <a:pt x="245" y="35"/>
                    <a:pt x="245" y="35"/>
                    <a:pt x="245" y="35"/>
                  </a:cubicBezTo>
                  <a:cubicBezTo>
                    <a:pt x="245" y="36"/>
                    <a:pt x="245" y="36"/>
                    <a:pt x="245" y="36"/>
                  </a:cubicBezTo>
                  <a:cubicBezTo>
                    <a:pt x="244" y="36"/>
                    <a:pt x="244" y="36"/>
                    <a:pt x="244" y="36"/>
                  </a:cubicBezTo>
                  <a:cubicBezTo>
                    <a:pt x="244" y="36"/>
                    <a:pt x="244" y="36"/>
                    <a:pt x="244" y="36"/>
                  </a:cubicBezTo>
                  <a:cubicBezTo>
                    <a:pt x="243" y="36"/>
                    <a:pt x="243" y="36"/>
                    <a:pt x="243" y="36"/>
                  </a:cubicBezTo>
                  <a:cubicBezTo>
                    <a:pt x="245" y="37"/>
                    <a:pt x="245" y="37"/>
                    <a:pt x="245" y="37"/>
                  </a:cubicBezTo>
                  <a:cubicBezTo>
                    <a:pt x="245" y="38"/>
                    <a:pt x="245" y="38"/>
                    <a:pt x="245" y="38"/>
                  </a:cubicBezTo>
                  <a:cubicBezTo>
                    <a:pt x="245" y="38"/>
                    <a:pt x="245" y="38"/>
                    <a:pt x="245" y="38"/>
                  </a:cubicBezTo>
                  <a:cubicBezTo>
                    <a:pt x="245" y="39"/>
                    <a:pt x="245" y="39"/>
                    <a:pt x="245" y="39"/>
                  </a:cubicBezTo>
                  <a:cubicBezTo>
                    <a:pt x="245" y="39"/>
                    <a:pt x="245" y="39"/>
                    <a:pt x="245" y="39"/>
                  </a:cubicBezTo>
                  <a:cubicBezTo>
                    <a:pt x="245" y="39"/>
                    <a:pt x="245" y="39"/>
                    <a:pt x="245" y="39"/>
                  </a:cubicBezTo>
                  <a:cubicBezTo>
                    <a:pt x="245" y="41"/>
                    <a:pt x="245" y="41"/>
                    <a:pt x="245" y="41"/>
                  </a:cubicBezTo>
                  <a:cubicBezTo>
                    <a:pt x="240" y="43"/>
                    <a:pt x="240" y="43"/>
                    <a:pt x="240" y="43"/>
                  </a:cubicBezTo>
                  <a:cubicBezTo>
                    <a:pt x="241" y="45"/>
                    <a:pt x="241" y="45"/>
                    <a:pt x="241" y="45"/>
                  </a:cubicBezTo>
                  <a:cubicBezTo>
                    <a:pt x="242" y="46"/>
                    <a:pt x="242" y="46"/>
                    <a:pt x="242" y="46"/>
                  </a:cubicBezTo>
                  <a:cubicBezTo>
                    <a:pt x="242" y="47"/>
                    <a:pt x="242" y="47"/>
                    <a:pt x="242" y="47"/>
                  </a:cubicBezTo>
                  <a:cubicBezTo>
                    <a:pt x="243" y="46"/>
                    <a:pt x="243" y="46"/>
                    <a:pt x="243" y="46"/>
                  </a:cubicBezTo>
                  <a:cubicBezTo>
                    <a:pt x="244" y="45"/>
                    <a:pt x="244" y="45"/>
                    <a:pt x="244" y="45"/>
                  </a:cubicBezTo>
                  <a:cubicBezTo>
                    <a:pt x="245" y="45"/>
                    <a:pt x="245" y="45"/>
                    <a:pt x="245" y="45"/>
                  </a:cubicBezTo>
                  <a:cubicBezTo>
                    <a:pt x="245" y="46"/>
                    <a:pt x="245" y="46"/>
                    <a:pt x="245" y="46"/>
                  </a:cubicBezTo>
                  <a:cubicBezTo>
                    <a:pt x="245" y="46"/>
                    <a:pt x="245" y="46"/>
                    <a:pt x="245" y="46"/>
                  </a:cubicBezTo>
                  <a:cubicBezTo>
                    <a:pt x="245" y="47"/>
                    <a:pt x="245" y="47"/>
                    <a:pt x="245" y="47"/>
                  </a:cubicBezTo>
                  <a:cubicBezTo>
                    <a:pt x="245" y="47"/>
                    <a:pt x="245" y="47"/>
                    <a:pt x="245" y="47"/>
                  </a:cubicBezTo>
                  <a:cubicBezTo>
                    <a:pt x="245" y="47"/>
                    <a:pt x="245" y="47"/>
                    <a:pt x="245" y="47"/>
                  </a:cubicBezTo>
                  <a:cubicBezTo>
                    <a:pt x="247" y="48"/>
                    <a:pt x="247" y="48"/>
                    <a:pt x="247" y="48"/>
                  </a:cubicBezTo>
                  <a:cubicBezTo>
                    <a:pt x="247" y="48"/>
                    <a:pt x="247" y="48"/>
                    <a:pt x="247" y="48"/>
                  </a:cubicBezTo>
                  <a:cubicBezTo>
                    <a:pt x="250" y="46"/>
                    <a:pt x="250" y="46"/>
                    <a:pt x="250" y="46"/>
                  </a:cubicBezTo>
                  <a:cubicBezTo>
                    <a:pt x="250" y="46"/>
                    <a:pt x="250" y="46"/>
                    <a:pt x="250" y="46"/>
                  </a:cubicBezTo>
                  <a:cubicBezTo>
                    <a:pt x="251" y="46"/>
                    <a:pt x="251" y="46"/>
                    <a:pt x="251" y="46"/>
                  </a:cubicBezTo>
                  <a:cubicBezTo>
                    <a:pt x="250" y="45"/>
                    <a:pt x="250" y="45"/>
                    <a:pt x="250" y="45"/>
                  </a:cubicBezTo>
                  <a:cubicBezTo>
                    <a:pt x="250" y="44"/>
                    <a:pt x="250" y="44"/>
                    <a:pt x="250" y="44"/>
                  </a:cubicBezTo>
                  <a:cubicBezTo>
                    <a:pt x="250" y="42"/>
                    <a:pt x="250" y="42"/>
                    <a:pt x="250" y="42"/>
                  </a:cubicBezTo>
                  <a:cubicBezTo>
                    <a:pt x="250" y="42"/>
                    <a:pt x="250" y="42"/>
                    <a:pt x="250" y="42"/>
                  </a:cubicBezTo>
                  <a:cubicBezTo>
                    <a:pt x="250" y="42"/>
                    <a:pt x="250" y="42"/>
                    <a:pt x="250" y="42"/>
                  </a:cubicBezTo>
                  <a:cubicBezTo>
                    <a:pt x="251" y="43"/>
                    <a:pt x="251" y="43"/>
                    <a:pt x="251" y="43"/>
                  </a:cubicBezTo>
                  <a:cubicBezTo>
                    <a:pt x="251" y="44"/>
                    <a:pt x="251" y="44"/>
                    <a:pt x="251" y="44"/>
                  </a:cubicBezTo>
                  <a:cubicBezTo>
                    <a:pt x="251" y="45"/>
                    <a:pt x="251" y="45"/>
                    <a:pt x="251" y="45"/>
                  </a:cubicBezTo>
                  <a:cubicBezTo>
                    <a:pt x="251" y="45"/>
                    <a:pt x="251" y="45"/>
                    <a:pt x="251" y="45"/>
                  </a:cubicBezTo>
                  <a:cubicBezTo>
                    <a:pt x="252" y="45"/>
                    <a:pt x="252" y="45"/>
                    <a:pt x="252" y="45"/>
                  </a:cubicBezTo>
                  <a:cubicBezTo>
                    <a:pt x="253" y="45"/>
                    <a:pt x="253" y="45"/>
                    <a:pt x="253" y="45"/>
                  </a:cubicBezTo>
                  <a:cubicBezTo>
                    <a:pt x="253" y="44"/>
                    <a:pt x="253" y="44"/>
                    <a:pt x="253" y="44"/>
                  </a:cubicBezTo>
                  <a:cubicBezTo>
                    <a:pt x="254" y="45"/>
                    <a:pt x="254" y="45"/>
                    <a:pt x="254" y="45"/>
                  </a:cubicBezTo>
                  <a:cubicBezTo>
                    <a:pt x="253" y="45"/>
                    <a:pt x="253" y="45"/>
                    <a:pt x="253" y="45"/>
                  </a:cubicBezTo>
                  <a:cubicBezTo>
                    <a:pt x="253" y="46"/>
                    <a:pt x="253" y="46"/>
                    <a:pt x="253" y="46"/>
                  </a:cubicBezTo>
                  <a:cubicBezTo>
                    <a:pt x="252" y="46"/>
                    <a:pt x="252" y="46"/>
                    <a:pt x="252" y="46"/>
                  </a:cubicBezTo>
                  <a:cubicBezTo>
                    <a:pt x="255" y="46"/>
                    <a:pt x="255" y="46"/>
                    <a:pt x="255" y="46"/>
                  </a:cubicBezTo>
                  <a:cubicBezTo>
                    <a:pt x="256" y="47"/>
                    <a:pt x="256" y="47"/>
                    <a:pt x="256" y="47"/>
                  </a:cubicBezTo>
                  <a:cubicBezTo>
                    <a:pt x="255" y="48"/>
                    <a:pt x="255" y="48"/>
                    <a:pt x="255" y="48"/>
                  </a:cubicBezTo>
                  <a:cubicBezTo>
                    <a:pt x="250" y="48"/>
                    <a:pt x="250" y="48"/>
                    <a:pt x="250" y="48"/>
                  </a:cubicBezTo>
                  <a:cubicBezTo>
                    <a:pt x="245" y="51"/>
                    <a:pt x="245" y="51"/>
                    <a:pt x="245" y="51"/>
                  </a:cubicBezTo>
                  <a:cubicBezTo>
                    <a:pt x="244" y="51"/>
                    <a:pt x="244" y="51"/>
                    <a:pt x="244" y="51"/>
                  </a:cubicBezTo>
                  <a:cubicBezTo>
                    <a:pt x="244" y="53"/>
                    <a:pt x="244" y="53"/>
                    <a:pt x="244" y="53"/>
                  </a:cubicBezTo>
                  <a:cubicBezTo>
                    <a:pt x="243" y="54"/>
                    <a:pt x="243" y="54"/>
                    <a:pt x="243" y="54"/>
                  </a:cubicBezTo>
                  <a:cubicBezTo>
                    <a:pt x="242" y="54"/>
                    <a:pt x="242" y="54"/>
                    <a:pt x="242" y="54"/>
                  </a:cubicBezTo>
                  <a:cubicBezTo>
                    <a:pt x="241" y="55"/>
                    <a:pt x="241" y="55"/>
                    <a:pt x="241" y="55"/>
                  </a:cubicBezTo>
                  <a:cubicBezTo>
                    <a:pt x="242" y="57"/>
                    <a:pt x="242" y="57"/>
                    <a:pt x="242" y="57"/>
                  </a:cubicBezTo>
                  <a:cubicBezTo>
                    <a:pt x="242" y="57"/>
                    <a:pt x="242" y="57"/>
                    <a:pt x="242" y="57"/>
                  </a:cubicBezTo>
                  <a:cubicBezTo>
                    <a:pt x="247" y="55"/>
                    <a:pt x="247" y="55"/>
                    <a:pt x="247" y="55"/>
                  </a:cubicBezTo>
                  <a:cubicBezTo>
                    <a:pt x="249" y="52"/>
                    <a:pt x="249" y="52"/>
                    <a:pt x="249" y="52"/>
                  </a:cubicBezTo>
                  <a:cubicBezTo>
                    <a:pt x="250" y="52"/>
                    <a:pt x="250" y="52"/>
                    <a:pt x="250" y="52"/>
                  </a:cubicBezTo>
                  <a:cubicBezTo>
                    <a:pt x="253" y="52"/>
                    <a:pt x="253" y="52"/>
                    <a:pt x="253" y="52"/>
                  </a:cubicBezTo>
                  <a:cubicBezTo>
                    <a:pt x="254" y="51"/>
                    <a:pt x="254" y="51"/>
                    <a:pt x="254" y="51"/>
                  </a:cubicBezTo>
                  <a:cubicBezTo>
                    <a:pt x="255" y="51"/>
                    <a:pt x="255" y="51"/>
                    <a:pt x="255" y="51"/>
                  </a:cubicBezTo>
                  <a:cubicBezTo>
                    <a:pt x="257" y="49"/>
                    <a:pt x="257" y="49"/>
                    <a:pt x="257" y="49"/>
                  </a:cubicBezTo>
                  <a:cubicBezTo>
                    <a:pt x="258" y="48"/>
                    <a:pt x="258" y="48"/>
                    <a:pt x="258" y="48"/>
                  </a:cubicBezTo>
                  <a:cubicBezTo>
                    <a:pt x="258" y="48"/>
                    <a:pt x="258" y="48"/>
                    <a:pt x="258" y="48"/>
                  </a:cubicBezTo>
                  <a:cubicBezTo>
                    <a:pt x="258" y="49"/>
                    <a:pt x="258" y="49"/>
                    <a:pt x="258" y="49"/>
                  </a:cubicBezTo>
                  <a:cubicBezTo>
                    <a:pt x="259" y="49"/>
                    <a:pt x="259" y="49"/>
                    <a:pt x="259" y="49"/>
                  </a:cubicBezTo>
                  <a:cubicBezTo>
                    <a:pt x="259" y="49"/>
                    <a:pt x="259" y="49"/>
                    <a:pt x="259" y="49"/>
                  </a:cubicBezTo>
                  <a:cubicBezTo>
                    <a:pt x="258" y="50"/>
                    <a:pt x="258" y="50"/>
                    <a:pt x="258" y="50"/>
                  </a:cubicBezTo>
                  <a:cubicBezTo>
                    <a:pt x="258" y="52"/>
                    <a:pt x="258" y="52"/>
                    <a:pt x="258" y="52"/>
                  </a:cubicBezTo>
                  <a:cubicBezTo>
                    <a:pt x="259" y="52"/>
                    <a:pt x="259" y="52"/>
                    <a:pt x="259" y="52"/>
                  </a:cubicBezTo>
                  <a:cubicBezTo>
                    <a:pt x="261" y="51"/>
                    <a:pt x="261" y="51"/>
                    <a:pt x="261" y="51"/>
                  </a:cubicBezTo>
                  <a:cubicBezTo>
                    <a:pt x="262" y="50"/>
                    <a:pt x="262" y="50"/>
                    <a:pt x="262" y="50"/>
                  </a:cubicBezTo>
                  <a:cubicBezTo>
                    <a:pt x="263" y="49"/>
                    <a:pt x="263" y="49"/>
                    <a:pt x="263" y="49"/>
                  </a:cubicBezTo>
                  <a:cubicBezTo>
                    <a:pt x="262" y="48"/>
                    <a:pt x="262" y="48"/>
                    <a:pt x="262" y="48"/>
                  </a:cubicBezTo>
                  <a:cubicBezTo>
                    <a:pt x="263" y="48"/>
                    <a:pt x="263" y="48"/>
                    <a:pt x="263" y="48"/>
                  </a:cubicBezTo>
                  <a:cubicBezTo>
                    <a:pt x="263" y="48"/>
                    <a:pt x="263" y="48"/>
                    <a:pt x="263" y="48"/>
                  </a:cubicBezTo>
                  <a:cubicBezTo>
                    <a:pt x="264" y="49"/>
                    <a:pt x="264" y="49"/>
                    <a:pt x="264" y="49"/>
                  </a:cubicBezTo>
                  <a:cubicBezTo>
                    <a:pt x="264" y="49"/>
                    <a:pt x="264" y="49"/>
                    <a:pt x="264" y="49"/>
                  </a:cubicBezTo>
                  <a:cubicBezTo>
                    <a:pt x="267" y="50"/>
                    <a:pt x="267" y="50"/>
                    <a:pt x="267" y="50"/>
                  </a:cubicBezTo>
                  <a:cubicBezTo>
                    <a:pt x="268" y="50"/>
                    <a:pt x="268" y="50"/>
                    <a:pt x="268" y="50"/>
                  </a:cubicBezTo>
                  <a:cubicBezTo>
                    <a:pt x="268" y="48"/>
                    <a:pt x="268" y="48"/>
                    <a:pt x="268" y="48"/>
                  </a:cubicBezTo>
                  <a:cubicBezTo>
                    <a:pt x="269" y="47"/>
                    <a:pt x="269" y="47"/>
                    <a:pt x="269" y="47"/>
                  </a:cubicBezTo>
                  <a:cubicBezTo>
                    <a:pt x="272" y="46"/>
                    <a:pt x="272" y="46"/>
                    <a:pt x="272" y="46"/>
                  </a:cubicBezTo>
                  <a:cubicBezTo>
                    <a:pt x="273" y="45"/>
                    <a:pt x="273" y="45"/>
                    <a:pt x="273" y="45"/>
                  </a:cubicBezTo>
                  <a:cubicBezTo>
                    <a:pt x="274" y="44"/>
                    <a:pt x="274" y="44"/>
                    <a:pt x="274" y="44"/>
                  </a:cubicBezTo>
                  <a:cubicBezTo>
                    <a:pt x="275" y="45"/>
                    <a:pt x="275" y="45"/>
                    <a:pt x="275" y="45"/>
                  </a:cubicBezTo>
                  <a:cubicBezTo>
                    <a:pt x="274" y="46"/>
                    <a:pt x="274" y="46"/>
                    <a:pt x="274" y="46"/>
                  </a:cubicBezTo>
                  <a:cubicBezTo>
                    <a:pt x="274" y="48"/>
                    <a:pt x="274" y="48"/>
                    <a:pt x="274" y="48"/>
                  </a:cubicBezTo>
                  <a:cubicBezTo>
                    <a:pt x="273" y="48"/>
                    <a:pt x="273" y="48"/>
                    <a:pt x="273" y="48"/>
                  </a:cubicBezTo>
                  <a:cubicBezTo>
                    <a:pt x="272" y="49"/>
                    <a:pt x="272" y="49"/>
                    <a:pt x="272" y="49"/>
                  </a:cubicBezTo>
                  <a:cubicBezTo>
                    <a:pt x="271" y="49"/>
                    <a:pt x="271" y="49"/>
                    <a:pt x="271" y="49"/>
                  </a:cubicBezTo>
                  <a:cubicBezTo>
                    <a:pt x="271" y="50"/>
                    <a:pt x="271" y="50"/>
                    <a:pt x="271" y="50"/>
                  </a:cubicBezTo>
                  <a:cubicBezTo>
                    <a:pt x="270" y="51"/>
                    <a:pt x="270" y="51"/>
                    <a:pt x="270" y="51"/>
                  </a:cubicBezTo>
                  <a:cubicBezTo>
                    <a:pt x="270" y="51"/>
                    <a:pt x="270" y="51"/>
                    <a:pt x="270" y="51"/>
                  </a:cubicBezTo>
                  <a:cubicBezTo>
                    <a:pt x="270" y="52"/>
                    <a:pt x="270" y="52"/>
                    <a:pt x="270" y="52"/>
                  </a:cubicBezTo>
                  <a:cubicBezTo>
                    <a:pt x="269" y="52"/>
                    <a:pt x="269" y="52"/>
                    <a:pt x="269" y="52"/>
                  </a:cubicBezTo>
                  <a:cubicBezTo>
                    <a:pt x="265" y="53"/>
                    <a:pt x="265" y="53"/>
                    <a:pt x="265" y="53"/>
                  </a:cubicBezTo>
                  <a:cubicBezTo>
                    <a:pt x="264" y="55"/>
                    <a:pt x="264" y="55"/>
                    <a:pt x="264" y="55"/>
                  </a:cubicBezTo>
                  <a:cubicBezTo>
                    <a:pt x="263" y="55"/>
                    <a:pt x="263" y="55"/>
                    <a:pt x="263" y="55"/>
                  </a:cubicBezTo>
                  <a:cubicBezTo>
                    <a:pt x="263" y="54"/>
                    <a:pt x="263" y="54"/>
                    <a:pt x="263" y="54"/>
                  </a:cubicBezTo>
                  <a:cubicBezTo>
                    <a:pt x="264" y="53"/>
                    <a:pt x="264" y="53"/>
                    <a:pt x="264" y="53"/>
                  </a:cubicBezTo>
                  <a:cubicBezTo>
                    <a:pt x="264" y="52"/>
                    <a:pt x="264" y="52"/>
                    <a:pt x="264" y="52"/>
                  </a:cubicBezTo>
                  <a:cubicBezTo>
                    <a:pt x="263" y="52"/>
                    <a:pt x="263" y="52"/>
                    <a:pt x="263" y="52"/>
                  </a:cubicBezTo>
                  <a:cubicBezTo>
                    <a:pt x="261" y="52"/>
                    <a:pt x="261" y="52"/>
                    <a:pt x="261" y="52"/>
                  </a:cubicBezTo>
                  <a:cubicBezTo>
                    <a:pt x="260" y="54"/>
                    <a:pt x="260" y="54"/>
                    <a:pt x="260" y="54"/>
                  </a:cubicBezTo>
                  <a:cubicBezTo>
                    <a:pt x="259" y="56"/>
                    <a:pt x="259" y="56"/>
                    <a:pt x="259" y="56"/>
                  </a:cubicBezTo>
                  <a:cubicBezTo>
                    <a:pt x="261" y="57"/>
                    <a:pt x="261" y="57"/>
                    <a:pt x="261" y="57"/>
                  </a:cubicBezTo>
                  <a:cubicBezTo>
                    <a:pt x="263" y="57"/>
                    <a:pt x="263" y="57"/>
                    <a:pt x="263" y="57"/>
                  </a:cubicBezTo>
                  <a:cubicBezTo>
                    <a:pt x="265" y="57"/>
                    <a:pt x="265" y="57"/>
                    <a:pt x="265" y="57"/>
                  </a:cubicBezTo>
                  <a:cubicBezTo>
                    <a:pt x="265" y="57"/>
                    <a:pt x="265" y="57"/>
                    <a:pt x="265" y="57"/>
                  </a:cubicBezTo>
                  <a:cubicBezTo>
                    <a:pt x="265" y="58"/>
                    <a:pt x="265" y="58"/>
                    <a:pt x="265" y="58"/>
                  </a:cubicBezTo>
                  <a:cubicBezTo>
                    <a:pt x="265" y="59"/>
                    <a:pt x="265" y="59"/>
                    <a:pt x="265" y="59"/>
                  </a:cubicBezTo>
                  <a:cubicBezTo>
                    <a:pt x="265" y="59"/>
                    <a:pt x="265" y="59"/>
                    <a:pt x="265" y="59"/>
                  </a:cubicBezTo>
                  <a:cubicBezTo>
                    <a:pt x="264" y="58"/>
                    <a:pt x="264" y="58"/>
                    <a:pt x="264" y="58"/>
                  </a:cubicBezTo>
                  <a:cubicBezTo>
                    <a:pt x="263" y="58"/>
                    <a:pt x="263" y="58"/>
                    <a:pt x="263" y="58"/>
                  </a:cubicBezTo>
                  <a:cubicBezTo>
                    <a:pt x="263" y="57"/>
                    <a:pt x="263" y="57"/>
                    <a:pt x="263" y="57"/>
                  </a:cubicBezTo>
                  <a:cubicBezTo>
                    <a:pt x="263" y="57"/>
                    <a:pt x="263" y="57"/>
                    <a:pt x="263" y="57"/>
                  </a:cubicBezTo>
                  <a:cubicBezTo>
                    <a:pt x="262" y="58"/>
                    <a:pt x="262" y="58"/>
                    <a:pt x="262" y="58"/>
                  </a:cubicBezTo>
                  <a:cubicBezTo>
                    <a:pt x="260" y="58"/>
                    <a:pt x="260" y="58"/>
                    <a:pt x="260" y="58"/>
                  </a:cubicBezTo>
                  <a:cubicBezTo>
                    <a:pt x="259" y="59"/>
                    <a:pt x="259" y="59"/>
                    <a:pt x="259" y="59"/>
                  </a:cubicBezTo>
                  <a:cubicBezTo>
                    <a:pt x="258" y="59"/>
                    <a:pt x="258" y="59"/>
                    <a:pt x="258" y="59"/>
                  </a:cubicBezTo>
                  <a:cubicBezTo>
                    <a:pt x="257" y="61"/>
                    <a:pt x="257" y="61"/>
                    <a:pt x="257" y="61"/>
                  </a:cubicBezTo>
                  <a:cubicBezTo>
                    <a:pt x="257" y="61"/>
                    <a:pt x="257" y="61"/>
                    <a:pt x="257" y="61"/>
                  </a:cubicBezTo>
                  <a:cubicBezTo>
                    <a:pt x="257" y="62"/>
                    <a:pt x="257" y="62"/>
                    <a:pt x="257" y="62"/>
                  </a:cubicBezTo>
                  <a:cubicBezTo>
                    <a:pt x="256" y="62"/>
                    <a:pt x="256" y="62"/>
                    <a:pt x="256" y="62"/>
                  </a:cubicBezTo>
                  <a:cubicBezTo>
                    <a:pt x="256" y="61"/>
                    <a:pt x="256" y="61"/>
                    <a:pt x="256" y="61"/>
                  </a:cubicBezTo>
                  <a:cubicBezTo>
                    <a:pt x="256" y="60"/>
                    <a:pt x="256" y="60"/>
                    <a:pt x="256" y="60"/>
                  </a:cubicBezTo>
                  <a:cubicBezTo>
                    <a:pt x="257" y="59"/>
                    <a:pt x="257" y="59"/>
                    <a:pt x="257" y="59"/>
                  </a:cubicBezTo>
                  <a:cubicBezTo>
                    <a:pt x="257" y="57"/>
                    <a:pt x="257" y="57"/>
                    <a:pt x="257" y="57"/>
                  </a:cubicBezTo>
                  <a:cubicBezTo>
                    <a:pt x="258" y="56"/>
                    <a:pt x="258" y="56"/>
                    <a:pt x="258" y="56"/>
                  </a:cubicBezTo>
                  <a:cubicBezTo>
                    <a:pt x="255" y="56"/>
                    <a:pt x="255" y="56"/>
                    <a:pt x="255" y="56"/>
                  </a:cubicBezTo>
                  <a:cubicBezTo>
                    <a:pt x="255" y="55"/>
                    <a:pt x="255" y="55"/>
                    <a:pt x="255" y="55"/>
                  </a:cubicBezTo>
                  <a:cubicBezTo>
                    <a:pt x="256" y="55"/>
                    <a:pt x="256" y="55"/>
                    <a:pt x="256" y="55"/>
                  </a:cubicBezTo>
                  <a:cubicBezTo>
                    <a:pt x="257" y="55"/>
                    <a:pt x="257" y="55"/>
                    <a:pt x="257" y="55"/>
                  </a:cubicBezTo>
                  <a:cubicBezTo>
                    <a:pt x="258" y="54"/>
                    <a:pt x="258" y="54"/>
                    <a:pt x="258" y="54"/>
                  </a:cubicBezTo>
                  <a:cubicBezTo>
                    <a:pt x="257" y="52"/>
                    <a:pt x="257" y="52"/>
                    <a:pt x="257" y="52"/>
                  </a:cubicBezTo>
                  <a:cubicBezTo>
                    <a:pt x="256" y="52"/>
                    <a:pt x="256" y="52"/>
                    <a:pt x="256" y="52"/>
                  </a:cubicBezTo>
                  <a:cubicBezTo>
                    <a:pt x="250" y="54"/>
                    <a:pt x="250" y="54"/>
                    <a:pt x="250" y="54"/>
                  </a:cubicBezTo>
                  <a:cubicBezTo>
                    <a:pt x="247" y="56"/>
                    <a:pt x="247" y="56"/>
                    <a:pt x="247" y="56"/>
                  </a:cubicBezTo>
                  <a:cubicBezTo>
                    <a:pt x="246" y="57"/>
                    <a:pt x="246" y="57"/>
                    <a:pt x="246" y="57"/>
                  </a:cubicBezTo>
                  <a:cubicBezTo>
                    <a:pt x="245" y="57"/>
                    <a:pt x="245" y="57"/>
                    <a:pt x="245" y="57"/>
                  </a:cubicBezTo>
                  <a:cubicBezTo>
                    <a:pt x="244" y="58"/>
                    <a:pt x="244" y="58"/>
                    <a:pt x="244" y="58"/>
                  </a:cubicBezTo>
                  <a:cubicBezTo>
                    <a:pt x="243" y="58"/>
                    <a:pt x="243" y="58"/>
                    <a:pt x="243" y="58"/>
                  </a:cubicBezTo>
                  <a:cubicBezTo>
                    <a:pt x="243" y="59"/>
                    <a:pt x="243" y="59"/>
                    <a:pt x="243" y="59"/>
                  </a:cubicBezTo>
                  <a:cubicBezTo>
                    <a:pt x="243" y="59"/>
                    <a:pt x="243" y="59"/>
                    <a:pt x="243" y="59"/>
                  </a:cubicBezTo>
                  <a:cubicBezTo>
                    <a:pt x="242" y="59"/>
                    <a:pt x="242" y="59"/>
                    <a:pt x="242" y="59"/>
                  </a:cubicBezTo>
                  <a:cubicBezTo>
                    <a:pt x="236" y="60"/>
                    <a:pt x="236" y="60"/>
                    <a:pt x="236" y="60"/>
                  </a:cubicBezTo>
                  <a:cubicBezTo>
                    <a:pt x="235" y="61"/>
                    <a:pt x="235" y="61"/>
                    <a:pt x="235" y="61"/>
                  </a:cubicBezTo>
                  <a:cubicBezTo>
                    <a:pt x="234" y="61"/>
                    <a:pt x="234" y="61"/>
                    <a:pt x="234" y="61"/>
                  </a:cubicBezTo>
                  <a:cubicBezTo>
                    <a:pt x="233" y="62"/>
                    <a:pt x="233" y="62"/>
                    <a:pt x="233" y="62"/>
                  </a:cubicBezTo>
                  <a:cubicBezTo>
                    <a:pt x="231" y="64"/>
                    <a:pt x="231" y="64"/>
                    <a:pt x="231" y="64"/>
                  </a:cubicBezTo>
                  <a:cubicBezTo>
                    <a:pt x="231" y="65"/>
                    <a:pt x="231" y="65"/>
                    <a:pt x="231" y="65"/>
                  </a:cubicBezTo>
                  <a:cubicBezTo>
                    <a:pt x="231" y="65"/>
                    <a:pt x="231" y="65"/>
                    <a:pt x="231" y="65"/>
                  </a:cubicBezTo>
                  <a:cubicBezTo>
                    <a:pt x="232" y="65"/>
                    <a:pt x="232" y="65"/>
                    <a:pt x="232" y="65"/>
                  </a:cubicBezTo>
                  <a:cubicBezTo>
                    <a:pt x="232" y="66"/>
                    <a:pt x="232" y="66"/>
                    <a:pt x="232" y="66"/>
                  </a:cubicBezTo>
                  <a:cubicBezTo>
                    <a:pt x="232" y="66"/>
                    <a:pt x="232" y="66"/>
                    <a:pt x="232" y="66"/>
                  </a:cubicBezTo>
                  <a:cubicBezTo>
                    <a:pt x="232" y="66"/>
                    <a:pt x="232" y="66"/>
                    <a:pt x="232" y="66"/>
                  </a:cubicBezTo>
                  <a:cubicBezTo>
                    <a:pt x="232" y="66"/>
                    <a:pt x="232" y="66"/>
                    <a:pt x="232" y="66"/>
                  </a:cubicBezTo>
                  <a:cubicBezTo>
                    <a:pt x="232" y="67"/>
                    <a:pt x="232" y="67"/>
                    <a:pt x="232" y="67"/>
                  </a:cubicBezTo>
                  <a:cubicBezTo>
                    <a:pt x="238" y="65"/>
                    <a:pt x="238" y="65"/>
                    <a:pt x="238" y="65"/>
                  </a:cubicBezTo>
                  <a:cubicBezTo>
                    <a:pt x="240" y="64"/>
                    <a:pt x="240" y="64"/>
                    <a:pt x="240" y="64"/>
                  </a:cubicBezTo>
                  <a:cubicBezTo>
                    <a:pt x="242" y="63"/>
                    <a:pt x="242" y="63"/>
                    <a:pt x="242" y="63"/>
                  </a:cubicBezTo>
                  <a:cubicBezTo>
                    <a:pt x="241" y="65"/>
                    <a:pt x="241" y="65"/>
                    <a:pt x="241" y="65"/>
                  </a:cubicBezTo>
                  <a:cubicBezTo>
                    <a:pt x="239" y="66"/>
                    <a:pt x="239" y="66"/>
                    <a:pt x="239" y="66"/>
                  </a:cubicBezTo>
                  <a:cubicBezTo>
                    <a:pt x="239" y="67"/>
                    <a:pt x="239" y="67"/>
                    <a:pt x="239" y="67"/>
                  </a:cubicBezTo>
                  <a:cubicBezTo>
                    <a:pt x="239" y="68"/>
                    <a:pt x="239" y="68"/>
                    <a:pt x="239" y="68"/>
                  </a:cubicBezTo>
                  <a:cubicBezTo>
                    <a:pt x="239" y="69"/>
                    <a:pt x="239" y="69"/>
                    <a:pt x="239" y="69"/>
                  </a:cubicBezTo>
                  <a:cubicBezTo>
                    <a:pt x="239" y="70"/>
                    <a:pt x="239" y="70"/>
                    <a:pt x="239" y="70"/>
                  </a:cubicBezTo>
                  <a:cubicBezTo>
                    <a:pt x="238" y="70"/>
                    <a:pt x="238" y="70"/>
                    <a:pt x="238" y="70"/>
                  </a:cubicBezTo>
                  <a:cubicBezTo>
                    <a:pt x="239" y="72"/>
                    <a:pt x="239" y="72"/>
                    <a:pt x="239" y="72"/>
                  </a:cubicBezTo>
                  <a:cubicBezTo>
                    <a:pt x="240" y="73"/>
                    <a:pt x="240" y="73"/>
                    <a:pt x="240" y="73"/>
                  </a:cubicBezTo>
                  <a:cubicBezTo>
                    <a:pt x="242" y="74"/>
                    <a:pt x="242" y="74"/>
                    <a:pt x="242" y="74"/>
                  </a:cubicBezTo>
                  <a:cubicBezTo>
                    <a:pt x="244" y="74"/>
                    <a:pt x="244" y="74"/>
                    <a:pt x="244" y="74"/>
                  </a:cubicBezTo>
                  <a:cubicBezTo>
                    <a:pt x="244" y="74"/>
                    <a:pt x="244" y="74"/>
                    <a:pt x="244" y="74"/>
                  </a:cubicBezTo>
                  <a:cubicBezTo>
                    <a:pt x="244" y="75"/>
                    <a:pt x="244" y="75"/>
                    <a:pt x="244" y="75"/>
                  </a:cubicBezTo>
                  <a:cubicBezTo>
                    <a:pt x="244" y="75"/>
                    <a:pt x="244" y="75"/>
                    <a:pt x="244" y="75"/>
                  </a:cubicBezTo>
                  <a:cubicBezTo>
                    <a:pt x="245" y="76"/>
                    <a:pt x="245" y="76"/>
                    <a:pt x="245" y="76"/>
                  </a:cubicBezTo>
                  <a:cubicBezTo>
                    <a:pt x="245" y="78"/>
                    <a:pt x="245" y="78"/>
                    <a:pt x="245" y="78"/>
                  </a:cubicBezTo>
                  <a:cubicBezTo>
                    <a:pt x="245" y="79"/>
                    <a:pt x="245" y="79"/>
                    <a:pt x="245" y="79"/>
                  </a:cubicBezTo>
                  <a:cubicBezTo>
                    <a:pt x="246" y="80"/>
                    <a:pt x="246" y="80"/>
                    <a:pt x="246" y="80"/>
                  </a:cubicBezTo>
                  <a:cubicBezTo>
                    <a:pt x="245" y="81"/>
                    <a:pt x="245" y="81"/>
                    <a:pt x="245" y="81"/>
                  </a:cubicBezTo>
                  <a:cubicBezTo>
                    <a:pt x="244" y="79"/>
                    <a:pt x="244" y="79"/>
                    <a:pt x="244" y="79"/>
                  </a:cubicBezTo>
                  <a:cubicBezTo>
                    <a:pt x="244" y="78"/>
                    <a:pt x="244" y="78"/>
                    <a:pt x="244" y="78"/>
                  </a:cubicBezTo>
                  <a:cubicBezTo>
                    <a:pt x="244" y="78"/>
                    <a:pt x="244" y="78"/>
                    <a:pt x="244" y="78"/>
                  </a:cubicBezTo>
                  <a:cubicBezTo>
                    <a:pt x="244" y="78"/>
                    <a:pt x="244" y="78"/>
                    <a:pt x="244" y="78"/>
                  </a:cubicBezTo>
                  <a:cubicBezTo>
                    <a:pt x="244" y="78"/>
                    <a:pt x="244" y="78"/>
                    <a:pt x="244" y="78"/>
                  </a:cubicBezTo>
                  <a:cubicBezTo>
                    <a:pt x="244" y="78"/>
                    <a:pt x="244" y="78"/>
                    <a:pt x="244" y="78"/>
                  </a:cubicBezTo>
                  <a:cubicBezTo>
                    <a:pt x="243" y="78"/>
                    <a:pt x="243" y="78"/>
                    <a:pt x="243" y="78"/>
                  </a:cubicBezTo>
                  <a:cubicBezTo>
                    <a:pt x="243" y="77"/>
                    <a:pt x="243" y="77"/>
                    <a:pt x="243" y="77"/>
                  </a:cubicBezTo>
                  <a:cubicBezTo>
                    <a:pt x="243" y="77"/>
                    <a:pt x="243" y="77"/>
                    <a:pt x="243" y="77"/>
                  </a:cubicBezTo>
                  <a:cubicBezTo>
                    <a:pt x="242" y="77"/>
                    <a:pt x="242" y="77"/>
                    <a:pt x="242" y="77"/>
                  </a:cubicBezTo>
                  <a:cubicBezTo>
                    <a:pt x="242" y="77"/>
                    <a:pt x="242" y="77"/>
                    <a:pt x="242" y="77"/>
                  </a:cubicBezTo>
                  <a:cubicBezTo>
                    <a:pt x="242" y="75"/>
                    <a:pt x="242" y="75"/>
                    <a:pt x="242" y="75"/>
                  </a:cubicBezTo>
                  <a:cubicBezTo>
                    <a:pt x="242" y="75"/>
                    <a:pt x="242" y="75"/>
                    <a:pt x="242" y="75"/>
                  </a:cubicBezTo>
                  <a:cubicBezTo>
                    <a:pt x="241" y="75"/>
                    <a:pt x="241" y="75"/>
                    <a:pt x="241" y="75"/>
                  </a:cubicBezTo>
                  <a:cubicBezTo>
                    <a:pt x="240" y="75"/>
                    <a:pt x="240" y="75"/>
                    <a:pt x="240" y="75"/>
                  </a:cubicBezTo>
                  <a:cubicBezTo>
                    <a:pt x="239" y="75"/>
                    <a:pt x="239" y="75"/>
                    <a:pt x="239" y="75"/>
                  </a:cubicBezTo>
                  <a:cubicBezTo>
                    <a:pt x="239" y="75"/>
                    <a:pt x="239" y="75"/>
                    <a:pt x="239" y="75"/>
                  </a:cubicBezTo>
                  <a:cubicBezTo>
                    <a:pt x="238" y="74"/>
                    <a:pt x="238" y="74"/>
                    <a:pt x="238" y="74"/>
                  </a:cubicBezTo>
                  <a:cubicBezTo>
                    <a:pt x="238" y="73"/>
                    <a:pt x="238" y="73"/>
                    <a:pt x="238" y="73"/>
                  </a:cubicBezTo>
                  <a:cubicBezTo>
                    <a:pt x="236" y="72"/>
                    <a:pt x="236" y="72"/>
                    <a:pt x="236" y="72"/>
                  </a:cubicBezTo>
                  <a:cubicBezTo>
                    <a:pt x="235" y="72"/>
                    <a:pt x="235" y="72"/>
                    <a:pt x="235" y="72"/>
                  </a:cubicBezTo>
                  <a:cubicBezTo>
                    <a:pt x="234" y="72"/>
                    <a:pt x="234" y="72"/>
                    <a:pt x="234" y="72"/>
                  </a:cubicBezTo>
                  <a:cubicBezTo>
                    <a:pt x="231" y="75"/>
                    <a:pt x="231" y="75"/>
                    <a:pt x="231" y="75"/>
                  </a:cubicBezTo>
                  <a:cubicBezTo>
                    <a:pt x="230" y="76"/>
                    <a:pt x="230" y="76"/>
                    <a:pt x="230" y="76"/>
                  </a:cubicBezTo>
                  <a:cubicBezTo>
                    <a:pt x="230" y="78"/>
                    <a:pt x="230" y="78"/>
                    <a:pt x="230" y="78"/>
                  </a:cubicBezTo>
                  <a:cubicBezTo>
                    <a:pt x="230" y="78"/>
                    <a:pt x="230" y="78"/>
                    <a:pt x="230" y="78"/>
                  </a:cubicBezTo>
                  <a:cubicBezTo>
                    <a:pt x="230" y="79"/>
                    <a:pt x="230" y="79"/>
                    <a:pt x="230" y="79"/>
                  </a:cubicBezTo>
                  <a:cubicBezTo>
                    <a:pt x="230" y="80"/>
                    <a:pt x="230" y="80"/>
                    <a:pt x="230" y="80"/>
                  </a:cubicBezTo>
                  <a:cubicBezTo>
                    <a:pt x="229" y="80"/>
                    <a:pt x="229" y="80"/>
                    <a:pt x="229" y="80"/>
                  </a:cubicBezTo>
                  <a:cubicBezTo>
                    <a:pt x="229" y="80"/>
                    <a:pt x="229" y="80"/>
                    <a:pt x="229" y="80"/>
                  </a:cubicBezTo>
                  <a:cubicBezTo>
                    <a:pt x="229" y="81"/>
                    <a:pt x="229" y="81"/>
                    <a:pt x="229" y="81"/>
                  </a:cubicBezTo>
                  <a:cubicBezTo>
                    <a:pt x="229" y="82"/>
                    <a:pt x="229" y="82"/>
                    <a:pt x="229" y="82"/>
                  </a:cubicBezTo>
                  <a:cubicBezTo>
                    <a:pt x="229" y="82"/>
                    <a:pt x="229" y="82"/>
                    <a:pt x="229" y="82"/>
                  </a:cubicBezTo>
                  <a:cubicBezTo>
                    <a:pt x="229" y="82"/>
                    <a:pt x="229" y="82"/>
                    <a:pt x="229" y="82"/>
                  </a:cubicBezTo>
                  <a:cubicBezTo>
                    <a:pt x="230" y="82"/>
                    <a:pt x="230" y="82"/>
                    <a:pt x="230" y="82"/>
                  </a:cubicBezTo>
                  <a:cubicBezTo>
                    <a:pt x="231" y="82"/>
                    <a:pt x="231" y="82"/>
                    <a:pt x="231" y="82"/>
                  </a:cubicBezTo>
                  <a:cubicBezTo>
                    <a:pt x="232" y="82"/>
                    <a:pt x="232" y="82"/>
                    <a:pt x="232" y="82"/>
                  </a:cubicBezTo>
                  <a:cubicBezTo>
                    <a:pt x="232" y="84"/>
                    <a:pt x="232" y="84"/>
                    <a:pt x="232" y="84"/>
                  </a:cubicBezTo>
                  <a:cubicBezTo>
                    <a:pt x="232" y="85"/>
                    <a:pt x="232" y="85"/>
                    <a:pt x="232" y="85"/>
                  </a:cubicBezTo>
                  <a:cubicBezTo>
                    <a:pt x="231" y="85"/>
                    <a:pt x="231" y="85"/>
                    <a:pt x="231" y="85"/>
                  </a:cubicBezTo>
                  <a:cubicBezTo>
                    <a:pt x="231" y="84"/>
                    <a:pt x="231" y="84"/>
                    <a:pt x="231" y="84"/>
                  </a:cubicBezTo>
                  <a:cubicBezTo>
                    <a:pt x="231" y="84"/>
                    <a:pt x="231" y="84"/>
                    <a:pt x="231" y="84"/>
                  </a:cubicBezTo>
                  <a:cubicBezTo>
                    <a:pt x="230" y="84"/>
                    <a:pt x="230" y="84"/>
                    <a:pt x="230" y="84"/>
                  </a:cubicBezTo>
                  <a:cubicBezTo>
                    <a:pt x="230" y="84"/>
                    <a:pt x="230" y="84"/>
                    <a:pt x="230" y="84"/>
                  </a:cubicBezTo>
                  <a:cubicBezTo>
                    <a:pt x="230" y="84"/>
                    <a:pt x="230" y="84"/>
                    <a:pt x="230" y="84"/>
                  </a:cubicBezTo>
                  <a:cubicBezTo>
                    <a:pt x="229" y="85"/>
                    <a:pt x="229" y="85"/>
                    <a:pt x="229" y="85"/>
                  </a:cubicBezTo>
                  <a:cubicBezTo>
                    <a:pt x="228" y="87"/>
                    <a:pt x="228" y="87"/>
                    <a:pt x="228" y="87"/>
                  </a:cubicBezTo>
                  <a:cubicBezTo>
                    <a:pt x="227" y="88"/>
                    <a:pt x="227" y="88"/>
                    <a:pt x="227" y="88"/>
                  </a:cubicBezTo>
                  <a:cubicBezTo>
                    <a:pt x="228" y="89"/>
                    <a:pt x="228" y="89"/>
                    <a:pt x="228" y="89"/>
                  </a:cubicBezTo>
                  <a:cubicBezTo>
                    <a:pt x="228" y="90"/>
                    <a:pt x="228" y="90"/>
                    <a:pt x="228" y="90"/>
                  </a:cubicBezTo>
                  <a:cubicBezTo>
                    <a:pt x="229" y="90"/>
                    <a:pt x="229" y="90"/>
                    <a:pt x="229" y="90"/>
                  </a:cubicBezTo>
                  <a:cubicBezTo>
                    <a:pt x="230" y="91"/>
                    <a:pt x="230" y="91"/>
                    <a:pt x="230" y="91"/>
                  </a:cubicBezTo>
                  <a:cubicBezTo>
                    <a:pt x="230" y="91"/>
                    <a:pt x="230" y="91"/>
                    <a:pt x="230" y="91"/>
                  </a:cubicBezTo>
                  <a:cubicBezTo>
                    <a:pt x="230" y="92"/>
                    <a:pt x="230" y="92"/>
                    <a:pt x="230" y="92"/>
                  </a:cubicBezTo>
                  <a:cubicBezTo>
                    <a:pt x="230" y="93"/>
                    <a:pt x="230" y="93"/>
                    <a:pt x="230" y="93"/>
                  </a:cubicBezTo>
                  <a:cubicBezTo>
                    <a:pt x="231" y="94"/>
                    <a:pt x="231" y="94"/>
                    <a:pt x="231" y="94"/>
                  </a:cubicBezTo>
                  <a:cubicBezTo>
                    <a:pt x="231" y="94"/>
                    <a:pt x="231" y="94"/>
                    <a:pt x="231" y="94"/>
                  </a:cubicBezTo>
                  <a:cubicBezTo>
                    <a:pt x="231" y="94"/>
                    <a:pt x="231" y="94"/>
                    <a:pt x="231" y="94"/>
                  </a:cubicBezTo>
                  <a:cubicBezTo>
                    <a:pt x="233" y="94"/>
                    <a:pt x="233" y="94"/>
                    <a:pt x="233" y="94"/>
                  </a:cubicBezTo>
                  <a:cubicBezTo>
                    <a:pt x="233" y="95"/>
                    <a:pt x="233" y="95"/>
                    <a:pt x="233" y="95"/>
                  </a:cubicBezTo>
                  <a:cubicBezTo>
                    <a:pt x="234" y="95"/>
                    <a:pt x="234" y="95"/>
                    <a:pt x="234" y="95"/>
                  </a:cubicBezTo>
                  <a:cubicBezTo>
                    <a:pt x="234" y="96"/>
                    <a:pt x="234" y="96"/>
                    <a:pt x="234" y="96"/>
                  </a:cubicBezTo>
                  <a:cubicBezTo>
                    <a:pt x="234" y="96"/>
                    <a:pt x="234" y="96"/>
                    <a:pt x="234" y="96"/>
                  </a:cubicBezTo>
                  <a:cubicBezTo>
                    <a:pt x="233" y="96"/>
                    <a:pt x="233" y="96"/>
                    <a:pt x="233" y="96"/>
                  </a:cubicBezTo>
                  <a:cubicBezTo>
                    <a:pt x="233" y="96"/>
                    <a:pt x="233" y="96"/>
                    <a:pt x="233" y="96"/>
                  </a:cubicBezTo>
                  <a:cubicBezTo>
                    <a:pt x="232" y="96"/>
                    <a:pt x="232" y="96"/>
                    <a:pt x="232" y="96"/>
                  </a:cubicBezTo>
                  <a:cubicBezTo>
                    <a:pt x="231" y="96"/>
                    <a:pt x="231" y="96"/>
                    <a:pt x="231" y="96"/>
                  </a:cubicBezTo>
                  <a:cubicBezTo>
                    <a:pt x="230" y="96"/>
                    <a:pt x="230" y="96"/>
                    <a:pt x="230" y="96"/>
                  </a:cubicBezTo>
                  <a:cubicBezTo>
                    <a:pt x="229" y="95"/>
                    <a:pt x="229" y="95"/>
                    <a:pt x="229" y="95"/>
                  </a:cubicBezTo>
                  <a:cubicBezTo>
                    <a:pt x="229" y="95"/>
                    <a:pt x="229" y="95"/>
                    <a:pt x="229" y="95"/>
                  </a:cubicBezTo>
                  <a:cubicBezTo>
                    <a:pt x="229" y="94"/>
                    <a:pt x="229" y="94"/>
                    <a:pt x="229" y="94"/>
                  </a:cubicBezTo>
                  <a:cubicBezTo>
                    <a:pt x="229" y="93"/>
                    <a:pt x="229" y="93"/>
                    <a:pt x="229" y="93"/>
                  </a:cubicBezTo>
                  <a:cubicBezTo>
                    <a:pt x="229" y="93"/>
                    <a:pt x="229" y="93"/>
                    <a:pt x="229" y="93"/>
                  </a:cubicBezTo>
                  <a:cubicBezTo>
                    <a:pt x="230" y="93"/>
                    <a:pt x="230" y="93"/>
                    <a:pt x="230" y="93"/>
                  </a:cubicBezTo>
                  <a:cubicBezTo>
                    <a:pt x="228" y="93"/>
                    <a:pt x="228" y="93"/>
                    <a:pt x="228" y="93"/>
                  </a:cubicBezTo>
                  <a:cubicBezTo>
                    <a:pt x="228" y="92"/>
                    <a:pt x="228" y="92"/>
                    <a:pt x="228" y="92"/>
                  </a:cubicBezTo>
                  <a:cubicBezTo>
                    <a:pt x="228" y="92"/>
                    <a:pt x="228" y="92"/>
                    <a:pt x="228" y="92"/>
                  </a:cubicBezTo>
                  <a:cubicBezTo>
                    <a:pt x="228" y="91"/>
                    <a:pt x="228" y="91"/>
                    <a:pt x="228" y="91"/>
                  </a:cubicBezTo>
                  <a:cubicBezTo>
                    <a:pt x="228" y="90"/>
                    <a:pt x="228" y="90"/>
                    <a:pt x="228" y="90"/>
                  </a:cubicBezTo>
                  <a:cubicBezTo>
                    <a:pt x="228" y="90"/>
                    <a:pt x="228" y="90"/>
                    <a:pt x="228" y="90"/>
                  </a:cubicBezTo>
                  <a:cubicBezTo>
                    <a:pt x="227" y="89"/>
                    <a:pt x="227" y="89"/>
                    <a:pt x="227" y="89"/>
                  </a:cubicBezTo>
                  <a:cubicBezTo>
                    <a:pt x="226" y="89"/>
                    <a:pt x="226" y="89"/>
                    <a:pt x="226" y="89"/>
                  </a:cubicBezTo>
                  <a:cubicBezTo>
                    <a:pt x="225" y="89"/>
                    <a:pt x="225" y="89"/>
                    <a:pt x="225" y="89"/>
                  </a:cubicBezTo>
                  <a:cubicBezTo>
                    <a:pt x="225" y="90"/>
                    <a:pt x="225" y="90"/>
                    <a:pt x="225" y="90"/>
                  </a:cubicBezTo>
                  <a:cubicBezTo>
                    <a:pt x="225" y="90"/>
                    <a:pt x="225" y="90"/>
                    <a:pt x="225" y="90"/>
                  </a:cubicBezTo>
                  <a:cubicBezTo>
                    <a:pt x="224" y="91"/>
                    <a:pt x="224" y="91"/>
                    <a:pt x="224" y="91"/>
                  </a:cubicBezTo>
                  <a:cubicBezTo>
                    <a:pt x="224" y="91"/>
                    <a:pt x="224" y="91"/>
                    <a:pt x="224" y="91"/>
                  </a:cubicBezTo>
                  <a:cubicBezTo>
                    <a:pt x="224" y="91"/>
                    <a:pt x="224" y="91"/>
                    <a:pt x="224" y="91"/>
                  </a:cubicBezTo>
                  <a:cubicBezTo>
                    <a:pt x="223" y="93"/>
                    <a:pt x="223" y="93"/>
                    <a:pt x="223" y="93"/>
                  </a:cubicBezTo>
                  <a:cubicBezTo>
                    <a:pt x="223" y="93"/>
                    <a:pt x="223" y="93"/>
                    <a:pt x="223" y="93"/>
                  </a:cubicBezTo>
                  <a:cubicBezTo>
                    <a:pt x="221" y="95"/>
                    <a:pt x="221" y="95"/>
                    <a:pt x="221" y="95"/>
                  </a:cubicBezTo>
                  <a:cubicBezTo>
                    <a:pt x="221" y="96"/>
                    <a:pt x="221" y="96"/>
                    <a:pt x="221" y="96"/>
                  </a:cubicBezTo>
                  <a:cubicBezTo>
                    <a:pt x="221" y="97"/>
                    <a:pt x="221" y="97"/>
                    <a:pt x="221" y="97"/>
                  </a:cubicBezTo>
                  <a:cubicBezTo>
                    <a:pt x="221" y="97"/>
                    <a:pt x="221" y="97"/>
                    <a:pt x="221" y="97"/>
                  </a:cubicBezTo>
                  <a:cubicBezTo>
                    <a:pt x="221" y="98"/>
                    <a:pt x="221" y="98"/>
                    <a:pt x="221" y="98"/>
                  </a:cubicBezTo>
                  <a:cubicBezTo>
                    <a:pt x="221" y="98"/>
                    <a:pt x="221" y="98"/>
                    <a:pt x="221" y="98"/>
                  </a:cubicBezTo>
                  <a:cubicBezTo>
                    <a:pt x="222" y="99"/>
                    <a:pt x="222" y="99"/>
                    <a:pt x="222" y="99"/>
                  </a:cubicBezTo>
                  <a:cubicBezTo>
                    <a:pt x="222" y="99"/>
                    <a:pt x="222" y="99"/>
                    <a:pt x="222" y="99"/>
                  </a:cubicBezTo>
                  <a:cubicBezTo>
                    <a:pt x="222" y="99"/>
                    <a:pt x="222" y="99"/>
                    <a:pt x="222" y="99"/>
                  </a:cubicBezTo>
                  <a:cubicBezTo>
                    <a:pt x="223" y="99"/>
                    <a:pt x="223" y="99"/>
                    <a:pt x="223" y="99"/>
                  </a:cubicBezTo>
                  <a:cubicBezTo>
                    <a:pt x="223" y="101"/>
                    <a:pt x="223" y="101"/>
                    <a:pt x="223" y="101"/>
                  </a:cubicBezTo>
                  <a:cubicBezTo>
                    <a:pt x="222" y="102"/>
                    <a:pt x="222" y="102"/>
                    <a:pt x="222" y="102"/>
                  </a:cubicBezTo>
                  <a:cubicBezTo>
                    <a:pt x="223" y="103"/>
                    <a:pt x="223" y="103"/>
                    <a:pt x="223" y="103"/>
                  </a:cubicBezTo>
                  <a:cubicBezTo>
                    <a:pt x="224" y="104"/>
                    <a:pt x="224" y="104"/>
                    <a:pt x="224" y="104"/>
                  </a:cubicBezTo>
                  <a:cubicBezTo>
                    <a:pt x="225" y="103"/>
                    <a:pt x="225" y="103"/>
                    <a:pt x="225" y="103"/>
                  </a:cubicBezTo>
                  <a:cubicBezTo>
                    <a:pt x="226" y="101"/>
                    <a:pt x="226" y="101"/>
                    <a:pt x="226" y="101"/>
                  </a:cubicBezTo>
                  <a:cubicBezTo>
                    <a:pt x="227" y="100"/>
                    <a:pt x="227" y="100"/>
                    <a:pt x="227" y="100"/>
                  </a:cubicBezTo>
                  <a:cubicBezTo>
                    <a:pt x="226" y="102"/>
                    <a:pt x="226" y="102"/>
                    <a:pt x="226" y="102"/>
                  </a:cubicBezTo>
                  <a:cubicBezTo>
                    <a:pt x="226" y="102"/>
                    <a:pt x="226" y="102"/>
                    <a:pt x="226" y="102"/>
                  </a:cubicBezTo>
                  <a:cubicBezTo>
                    <a:pt x="225" y="103"/>
                    <a:pt x="225" y="103"/>
                    <a:pt x="225" y="103"/>
                  </a:cubicBezTo>
                  <a:cubicBezTo>
                    <a:pt x="224" y="104"/>
                    <a:pt x="224" y="104"/>
                    <a:pt x="224" y="104"/>
                  </a:cubicBezTo>
                  <a:cubicBezTo>
                    <a:pt x="226" y="105"/>
                    <a:pt x="226" y="105"/>
                    <a:pt x="226" y="105"/>
                  </a:cubicBezTo>
                  <a:cubicBezTo>
                    <a:pt x="227" y="103"/>
                    <a:pt x="227" y="103"/>
                    <a:pt x="227" y="103"/>
                  </a:cubicBezTo>
                  <a:cubicBezTo>
                    <a:pt x="227" y="101"/>
                    <a:pt x="227" y="101"/>
                    <a:pt x="227" y="101"/>
                  </a:cubicBezTo>
                  <a:cubicBezTo>
                    <a:pt x="228" y="99"/>
                    <a:pt x="228" y="99"/>
                    <a:pt x="228" y="99"/>
                  </a:cubicBezTo>
                  <a:cubicBezTo>
                    <a:pt x="228" y="101"/>
                    <a:pt x="228" y="101"/>
                    <a:pt x="228" y="101"/>
                  </a:cubicBezTo>
                  <a:cubicBezTo>
                    <a:pt x="228" y="102"/>
                    <a:pt x="228" y="102"/>
                    <a:pt x="228" y="102"/>
                  </a:cubicBezTo>
                  <a:cubicBezTo>
                    <a:pt x="228" y="103"/>
                    <a:pt x="228" y="103"/>
                    <a:pt x="228" y="103"/>
                  </a:cubicBezTo>
                  <a:cubicBezTo>
                    <a:pt x="229" y="104"/>
                    <a:pt x="229" y="104"/>
                    <a:pt x="229" y="104"/>
                  </a:cubicBezTo>
                  <a:cubicBezTo>
                    <a:pt x="228" y="104"/>
                    <a:pt x="228" y="104"/>
                    <a:pt x="228" y="104"/>
                  </a:cubicBezTo>
                  <a:cubicBezTo>
                    <a:pt x="228" y="105"/>
                    <a:pt x="228" y="105"/>
                    <a:pt x="228" y="105"/>
                  </a:cubicBezTo>
                  <a:cubicBezTo>
                    <a:pt x="227" y="105"/>
                    <a:pt x="227" y="105"/>
                    <a:pt x="227" y="105"/>
                  </a:cubicBezTo>
                  <a:cubicBezTo>
                    <a:pt x="228" y="106"/>
                    <a:pt x="228" y="106"/>
                    <a:pt x="228" y="106"/>
                  </a:cubicBezTo>
                  <a:cubicBezTo>
                    <a:pt x="228" y="107"/>
                    <a:pt x="228" y="107"/>
                    <a:pt x="228" y="107"/>
                  </a:cubicBezTo>
                  <a:cubicBezTo>
                    <a:pt x="230" y="107"/>
                    <a:pt x="230" y="107"/>
                    <a:pt x="230" y="107"/>
                  </a:cubicBezTo>
                  <a:cubicBezTo>
                    <a:pt x="230" y="107"/>
                    <a:pt x="230" y="107"/>
                    <a:pt x="230" y="107"/>
                  </a:cubicBezTo>
                  <a:cubicBezTo>
                    <a:pt x="230" y="107"/>
                    <a:pt x="230" y="107"/>
                    <a:pt x="230" y="107"/>
                  </a:cubicBezTo>
                  <a:cubicBezTo>
                    <a:pt x="229" y="108"/>
                    <a:pt x="229" y="108"/>
                    <a:pt x="229" y="108"/>
                  </a:cubicBezTo>
                  <a:cubicBezTo>
                    <a:pt x="229" y="108"/>
                    <a:pt x="229" y="108"/>
                    <a:pt x="229" y="108"/>
                  </a:cubicBezTo>
                  <a:cubicBezTo>
                    <a:pt x="229" y="109"/>
                    <a:pt x="229" y="109"/>
                    <a:pt x="229" y="109"/>
                  </a:cubicBezTo>
                  <a:cubicBezTo>
                    <a:pt x="233" y="108"/>
                    <a:pt x="233" y="108"/>
                    <a:pt x="233" y="108"/>
                  </a:cubicBezTo>
                  <a:cubicBezTo>
                    <a:pt x="234" y="109"/>
                    <a:pt x="234" y="109"/>
                    <a:pt x="234" y="109"/>
                  </a:cubicBezTo>
                  <a:cubicBezTo>
                    <a:pt x="230" y="109"/>
                    <a:pt x="230" y="109"/>
                    <a:pt x="230" y="109"/>
                  </a:cubicBezTo>
                  <a:cubicBezTo>
                    <a:pt x="229" y="111"/>
                    <a:pt x="229" y="111"/>
                    <a:pt x="229" y="111"/>
                  </a:cubicBezTo>
                  <a:cubicBezTo>
                    <a:pt x="230" y="112"/>
                    <a:pt x="230" y="112"/>
                    <a:pt x="230" y="112"/>
                  </a:cubicBezTo>
                  <a:cubicBezTo>
                    <a:pt x="232" y="115"/>
                    <a:pt x="232" y="115"/>
                    <a:pt x="232" y="115"/>
                  </a:cubicBezTo>
                  <a:cubicBezTo>
                    <a:pt x="231" y="115"/>
                    <a:pt x="231" y="115"/>
                    <a:pt x="231" y="115"/>
                  </a:cubicBezTo>
                  <a:cubicBezTo>
                    <a:pt x="229" y="112"/>
                    <a:pt x="229" y="112"/>
                    <a:pt x="229" y="112"/>
                  </a:cubicBezTo>
                  <a:cubicBezTo>
                    <a:pt x="229" y="111"/>
                    <a:pt x="229" y="111"/>
                    <a:pt x="229" y="111"/>
                  </a:cubicBezTo>
                  <a:cubicBezTo>
                    <a:pt x="228" y="111"/>
                    <a:pt x="228" y="111"/>
                    <a:pt x="228" y="111"/>
                  </a:cubicBezTo>
                  <a:cubicBezTo>
                    <a:pt x="228" y="112"/>
                    <a:pt x="228" y="112"/>
                    <a:pt x="228" y="112"/>
                  </a:cubicBezTo>
                  <a:cubicBezTo>
                    <a:pt x="228" y="112"/>
                    <a:pt x="228" y="112"/>
                    <a:pt x="228" y="112"/>
                  </a:cubicBezTo>
                  <a:cubicBezTo>
                    <a:pt x="228" y="111"/>
                    <a:pt x="228" y="111"/>
                    <a:pt x="228" y="111"/>
                  </a:cubicBezTo>
                  <a:cubicBezTo>
                    <a:pt x="228" y="111"/>
                    <a:pt x="228" y="111"/>
                    <a:pt x="228" y="111"/>
                  </a:cubicBezTo>
                  <a:cubicBezTo>
                    <a:pt x="228" y="111"/>
                    <a:pt x="228" y="111"/>
                    <a:pt x="228" y="111"/>
                  </a:cubicBezTo>
                  <a:cubicBezTo>
                    <a:pt x="228" y="110"/>
                    <a:pt x="228" y="110"/>
                    <a:pt x="228" y="110"/>
                  </a:cubicBezTo>
                  <a:cubicBezTo>
                    <a:pt x="227" y="110"/>
                    <a:pt x="227" y="110"/>
                    <a:pt x="227" y="110"/>
                  </a:cubicBezTo>
                  <a:cubicBezTo>
                    <a:pt x="226" y="110"/>
                    <a:pt x="226" y="110"/>
                    <a:pt x="226" y="110"/>
                  </a:cubicBezTo>
                  <a:cubicBezTo>
                    <a:pt x="225" y="110"/>
                    <a:pt x="225" y="110"/>
                    <a:pt x="225" y="110"/>
                  </a:cubicBezTo>
                  <a:cubicBezTo>
                    <a:pt x="225" y="111"/>
                    <a:pt x="225" y="111"/>
                    <a:pt x="225" y="111"/>
                  </a:cubicBezTo>
                  <a:cubicBezTo>
                    <a:pt x="226" y="112"/>
                    <a:pt x="226" y="112"/>
                    <a:pt x="226" y="112"/>
                  </a:cubicBezTo>
                  <a:cubicBezTo>
                    <a:pt x="226" y="113"/>
                    <a:pt x="226" y="113"/>
                    <a:pt x="226" y="113"/>
                  </a:cubicBezTo>
                  <a:cubicBezTo>
                    <a:pt x="227" y="114"/>
                    <a:pt x="227" y="114"/>
                    <a:pt x="227" y="114"/>
                  </a:cubicBezTo>
                  <a:cubicBezTo>
                    <a:pt x="227" y="115"/>
                    <a:pt x="227" y="115"/>
                    <a:pt x="227" y="115"/>
                  </a:cubicBezTo>
                  <a:cubicBezTo>
                    <a:pt x="227" y="116"/>
                    <a:pt x="227" y="116"/>
                    <a:pt x="227" y="116"/>
                  </a:cubicBezTo>
                  <a:cubicBezTo>
                    <a:pt x="228" y="116"/>
                    <a:pt x="228" y="116"/>
                    <a:pt x="228" y="116"/>
                  </a:cubicBezTo>
                  <a:cubicBezTo>
                    <a:pt x="229" y="116"/>
                    <a:pt x="229" y="116"/>
                    <a:pt x="229" y="116"/>
                  </a:cubicBezTo>
                  <a:cubicBezTo>
                    <a:pt x="230" y="116"/>
                    <a:pt x="230" y="116"/>
                    <a:pt x="230" y="116"/>
                  </a:cubicBezTo>
                  <a:cubicBezTo>
                    <a:pt x="231" y="118"/>
                    <a:pt x="231" y="118"/>
                    <a:pt x="231" y="118"/>
                  </a:cubicBezTo>
                  <a:cubicBezTo>
                    <a:pt x="231" y="119"/>
                    <a:pt x="231" y="119"/>
                    <a:pt x="231" y="119"/>
                  </a:cubicBezTo>
                  <a:cubicBezTo>
                    <a:pt x="230" y="118"/>
                    <a:pt x="230" y="118"/>
                    <a:pt x="230" y="118"/>
                  </a:cubicBezTo>
                  <a:cubicBezTo>
                    <a:pt x="230" y="118"/>
                    <a:pt x="230" y="118"/>
                    <a:pt x="230" y="118"/>
                  </a:cubicBezTo>
                  <a:cubicBezTo>
                    <a:pt x="229" y="117"/>
                    <a:pt x="229" y="117"/>
                    <a:pt x="229" y="117"/>
                  </a:cubicBezTo>
                  <a:cubicBezTo>
                    <a:pt x="229" y="116"/>
                    <a:pt x="229" y="116"/>
                    <a:pt x="229" y="116"/>
                  </a:cubicBezTo>
                  <a:cubicBezTo>
                    <a:pt x="226" y="116"/>
                    <a:pt x="226" y="116"/>
                    <a:pt x="226" y="116"/>
                  </a:cubicBezTo>
                  <a:cubicBezTo>
                    <a:pt x="226" y="116"/>
                    <a:pt x="226" y="116"/>
                    <a:pt x="226" y="116"/>
                  </a:cubicBezTo>
                  <a:cubicBezTo>
                    <a:pt x="226" y="116"/>
                    <a:pt x="226" y="116"/>
                    <a:pt x="226" y="116"/>
                  </a:cubicBezTo>
                  <a:cubicBezTo>
                    <a:pt x="226" y="115"/>
                    <a:pt x="226" y="115"/>
                    <a:pt x="226" y="115"/>
                  </a:cubicBezTo>
                  <a:cubicBezTo>
                    <a:pt x="226" y="115"/>
                    <a:pt x="226" y="115"/>
                    <a:pt x="226" y="115"/>
                  </a:cubicBezTo>
                  <a:cubicBezTo>
                    <a:pt x="225" y="115"/>
                    <a:pt x="225" y="115"/>
                    <a:pt x="225" y="115"/>
                  </a:cubicBezTo>
                  <a:cubicBezTo>
                    <a:pt x="224" y="117"/>
                    <a:pt x="224" y="117"/>
                    <a:pt x="224" y="117"/>
                  </a:cubicBezTo>
                  <a:cubicBezTo>
                    <a:pt x="223" y="118"/>
                    <a:pt x="223" y="118"/>
                    <a:pt x="223" y="118"/>
                  </a:cubicBezTo>
                  <a:cubicBezTo>
                    <a:pt x="223" y="119"/>
                    <a:pt x="223" y="119"/>
                    <a:pt x="223" y="119"/>
                  </a:cubicBezTo>
                  <a:cubicBezTo>
                    <a:pt x="224" y="118"/>
                    <a:pt x="224" y="118"/>
                    <a:pt x="224" y="118"/>
                  </a:cubicBezTo>
                  <a:cubicBezTo>
                    <a:pt x="225" y="118"/>
                    <a:pt x="225" y="118"/>
                    <a:pt x="225" y="118"/>
                  </a:cubicBezTo>
                  <a:cubicBezTo>
                    <a:pt x="224" y="119"/>
                    <a:pt x="224" y="119"/>
                    <a:pt x="224" y="119"/>
                  </a:cubicBezTo>
                  <a:cubicBezTo>
                    <a:pt x="223" y="120"/>
                    <a:pt x="223" y="120"/>
                    <a:pt x="223" y="120"/>
                  </a:cubicBezTo>
                  <a:cubicBezTo>
                    <a:pt x="222" y="120"/>
                    <a:pt x="222" y="120"/>
                    <a:pt x="222" y="120"/>
                  </a:cubicBezTo>
                  <a:cubicBezTo>
                    <a:pt x="221" y="120"/>
                    <a:pt x="221" y="120"/>
                    <a:pt x="221" y="120"/>
                  </a:cubicBezTo>
                  <a:cubicBezTo>
                    <a:pt x="221" y="121"/>
                    <a:pt x="221" y="121"/>
                    <a:pt x="221" y="121"/>
                  </a:cubicBezTo>
                  <a:cubicBezTo>
                    <a:pt x="220" y="122"/>
                    <a:pt x="220" y="122"/>
                    <a:pt x="220" y="122"/>
                  </a:cubicBezTo>
                  <a:cubicBezTo>
                    <a:pt x="220" y="123"/>
                    <a:pt x="220" y="123"/>
                    <a:pt x="220" y="123"/>
                  </a:cubicBezTo>
                  <a:cubicBezTo>
                    <a:pt x="218" y="124"/>
                    <a:pt x="218" y="124"/>
                    <a:pt x="218" y="124"/>
                  </a:cubicBezTo>
                  <a:cubicBezTo>
                    <a:pt x="218" y="125"/>
                    <a:pt x="218" y="125"/>
                    <a:pt x="218" y="125"/>
                  </a:cubicBezTo>
                  <a:cubicBezTo>
                    <a:pt x="219" y="125"/>
                    <a:pt x="219" y="125"/>
                    <a:pt x="219" y="125"/>
                  </a:cubicBezTo>
                  <a:cubicBezTo>
                    <a:pt x="220" y="124"/>
                    <a:pt x="220" y="124"/>
                    <a:pt x="220" y="124"/>
                  </a:cubicBezTo>
                  <a:cubicBezTo>
                    <a:pt x="220" y="123"/>
                    <a:pt x="220" y="123"/>
                    <a:pt x="220" y="123"/>
                  </a:cubicBezTo>
                  <a:cubicBezTo>
                    <a:pt x="221" y="123"/>
                    <a:pt x="221" y="123"/>
                    <a:pt x="221" y="123"/>
                  </a:cubicBezTo>
                  <a:cubicBezTo>
                    <a:pt x="224" y="122"/>
                    <a:pt x="224" y="122"/>
                    <a:pt x="224" y="122"/>
                  </a:cubicBezTo>
                  <a:cubicBezTo>
                    <a:pt x="224" y="123"/>
                    <a:pt x="224" y="123"/>
                    <a:pt x="224" y="123"/>
                  </a:cubicBezTo>
                  <a:cubicBezTo>
                    <a:pt x="224" y="123"/>
                    <a:pt x="224" y="123"/>
                    <a:pt x="224" y="123"/>
                  </a:cubicBezTo>
                  <a:cubicBezTo>
                    <a:pt x="224" y="124"/>
                    <a:pt x="224" y="124"/>
                    <a:pt x="224" y="124"/>
                  </a:cubicBezTo>
                  <a:cubicBezTo>
                    <a:pt x="225" y="123"/>
                    <a:pt x="225" y="123"/>
                    <a:pt x="225" y="123"/>
                  </a:cubicBezTo>
                  <a:cubicBezTo>
                    <a:pt x="226" y="123"/>
                    <a:pt x="226" y="123"/>
                    <a:pt x="226" y="123"/>
                  </a:cubicBezTo>
                  <a:cubicBezTo>
                    <a:pt x="226" y="123"/>
                    <a:pt x="226" y="123"/>
                    <a:pt x="226" y="123"/>
                  </a:cubicBezTo>
                  <a:cubicBezTo>
                    <a:pt x="228" y="123"/>
                    <a:pt x="228" y="123"/>
                    <a:pt x="228" y="123"/>
                  </a:cubicBezTo>
                  <a:cubicBezTo>
                    <a:pt x="231" y="123"/>
                    <a:pt x="231" y="123"/>
                    <a:pt x="231" y="123"/>
                  </a:cubicBezTo>
                  <a:cubicBezTo>
                    <a:pt x="232" y="124"/>
                    <a:pt x="232" y="124"/>
                    <a:pt x="232" y="124"/>
                  </a:cubicBezTo>
                  <a:cubicBezTo>
                    <a:pt x="231" y="124"/>
                    <a:pt x="231" y="124"/>
                    <a:pt x="231" y="124"/>
                  </a:cubicBezTo>
                  <a:cubicBezTo>
                    <a:pt x="226" y="124"/>
                    <a:pt x="226" y="124"/>
                    <a:pt x="226" y="124"/>
                  </a:cubicBezTo>
                  <a:cubicBezTo>
                    <a:pt x="226" y="124"/>
                    <a:pt x="226" y="124"/>
                    <a:pt x="226" y="124"/>
                  </a:cubicBezTo>
                  <a:cubicBezTo>
                    <a:pt x="225" y="124"/>
                    <a:pt x="225" y="124"/>
                    <a:pt x="225" y="124"/>
                  </a:cubicBezTo>
                  <a:cubicBezTo>
                    <a:pt x="224" y="124"/>
                    <a:pt x="224" y="124"/>
                    <a:pt x="224" y="124"/>
                  </a:cubicBezTo>
                  <a:cubicBezTo>
                    <a:pt x="223" y="124"/>
                    <a:pt x="223" y="124"/>
                    <a:pt x="223" y="124"/>
                  </a:cubicBezTo>
                  <a:cubicBezTo>
                    <a:pt x="222" y="124"/>
                    <a:pt x="222" y="124"/>
                    <a:pt x="222" y="124"/>
                  </a:cubicBezTo>
                  <a:cubicBezTo>
                    <a:pt x="221" y="125"/>
                    <a:pt x="221" y="125"/>
                    <a:pt x="221" y="125"/>
                  </a:cubicBezTo>
                  <a:cubicBezTo>
                    <a:pt x="221" y="126"/>
                    <a:pt x="221" y="126"/>
                    <a:pt x="221" y="126"/>
                  </a:cubicBezTo>
                  <a:cubicBezTo>
                    <a:pt x="222" y="126"/>
                    <a:pt x="222" y="126"/>
                    <a:pt x="222" y="126"/>
                  </a:cubicBezTo>
                  <a:cubicBezTo>
                    <a:pt x="223" y="125"/>
                    <a:pt x="223" y="125"/>
                    <a:pt x="223" y="125"/>
                  </a:cubicBezTo>
                  <a:cubicBezTo>
                    <a:pt x="224" y="125"/>
                    <a:pt x="224" y="125"/>
                    <a:pt x="224" y="125"/>
                  </a:cubicBezTo>
                  <a:cubicBezTo>
                    <a:pt x="224" y="126"/>
                    <a:pt x="224" y="126"/>
                    <a:pt x="224" y="126"/>
                  </a:cubicBezTo>
                  <a:cubicBezTo>
                    <a:pt x="224" y="126"/>
                    <a:pt x="224" y="126"/>
                    <a:pt x="224" y="126"/>
                  </a:cubicBezTo>
                  <a:cubicBezTo>
                    <a:pt x="224" y="126"/>
                    <a:pt x="224" y="126"/>
                    <a:pt x="224" y="126"/>
                  </a:cubicBezTo>
                  <a:cubicBezTo>
                    <a:pt x="224" y="127"/>
                    <a:pt x="224" y="127"/>
                    <a:pt x="224" y="127"/>
                  </a:cubicBezTo>
                  <a:cubicBezTo>
                    <a:pt x="224" y="127"/>
                    <a:pt x="224" y="127"/>
                    <a:pt x="224" y="127"/>
                  </a:cubicBezTo>
                  <a:cubicBezTo>
                    <a:pt x="225" y="127"/>
                    <a:pt x="225" y="127"/>
                    <a:pt x="225" y="127"/>
                  </a:cubicBezTo>
                  <a:cubicBezTo>
                    <a:pt x="226" y="127"/>
                    <a:pt x="226" y="127"/>
                    <a:pt x="226" y="127"/>
                  </a:cubicBezTo>
                  <a:cubicBezTo>
                    <a:pt x="225" y="129"/>
                    <a:pt x="225" y="129"/>
                    <a:pt x="225" y="129"/>
                  </a:cubicBezTo>
                  <a:cubicBezTo>
                    <a:pt x="222" y="129"/>
                    <a:pt x="222" y="129"/>
                    <a:pt x="222" y="129"/>
                  </a:cubicBezTo>
                  <a:cubicBezTo>
                    <a:pt x="222" y="131"/>
                    <a:pt x="222" y="131"/>
                    <a:pt x="222" y="131"/>
                  </a:cubicBezTo>
                  <a:cubicBezTo>
                    <a:pt x="222" y="131"/>
                    <a:pt x="222" y="131"/>
                    <a:pt x="222" y="131"/>
                  </a:cubicBezTo>
                  <a:cubicBezTo>
                    <a:pt x="224" y="132"/>
                    <a:pt x="224" y="132"/>
                    <a:pt x="224" y="132"/>
                  </a:cubicBezTo>
                  <a:cubicBezTo>
                    <a:pt x="226" y="131"/>
                    <a:pt x="226" y="131"/>
                    <a:pt x="226" y="131"/>
                  </a:cubicBezTo>
                  <a:cubicBezTo>
                    <a:pt x="226" y="131"/>
                    <a:pt x="226" y="131"/>
                    <a:pt x="226" y="131"/>
                  </a:cubicBezTo>
                  <a:cubicBezTo>
                    <a:pt x="227" y="130"/>
                    <a:pt x="227" y="130"/>
                    <a:pt x="227" y="130"/>
                  </a:cubicBezTo>
                  <a:cubicBezTo>
                    <a:pt x="227" y="130"/>
                    <a:pt x="227" y="130"/>
                    <a:pt x="227" y="130"/>
                  </a:cubicBezTo>
                  <a:cubicBezTo>
                    <a:pt x="228" y="130"/>
                    <a:pt x="228" y="130"/>
                    <a:pt x="228" y="130"/>
                  </a:cubicBezTo>
                  <a:cubicBezTo>
                    <a:pt x="230" y="128"/>
                    <a:pt x="230" y="128"/>
                    <a:pt x="230" y="128"/>
                  </a:cubicBezTo>
                  <a:cubicBezTo>
                    <a:pt x="235" y="122"/>
                    <a:pt x="235" y="122"/>
                    <a:pt x="235" y="122"/>
                  </a:cubicBezTo>
                  <a:cubicBezTo>
                    <a:pt x="236" y="121"/>
                    <a:pt x="236" y="121"/>
                    <a:pt x="236" y="121"/>
                  </a:cubicBezTo>
                  <a:cubicBezTo>
                    <a:pt x="236" y="121"/>
                    <a:pt x="236" y="121"/>
                    <a:pt x="236" y="121"/>
                  </a:cubicBezTo>
                  <a:cubicBezTo>
                    <a:pt x="237" y="119"/>
                    <a:pt x="237" y="119"/>
                    <a:pt x="237" y="119"/>
                  </a:cubicBezTo>
                  <a:cubicBezTo>
                    <a:pt x="238" y="118"/>
                    <a:pt x="238" y="118"/>
                    <a:pt x="238" y="118"/>
                  </a:cubicBezTo>
                  <a:cubicBezTo>
                    <a:pt x="239" y="118"/>
                    <a:pt x="239" y="118"/>
                    <a:pt x="239" y="118"/>
                  </a:cubicBezTo>
                  <a:cubicBezTo>
                    <a:pt x="238" y="119"/>
                    <a:pt x="238" y="119"/>
                    <a:pt x="238" y="119"/>
                  </a:cubicBezTo>
                  <a:cubicBezTo>
                    <a:pt x="236" y="124"/>
                    <a:pt x="236" y="124"/>
                    <a:pt x="236" y="124"/>
                  </a:cubicBezTo>
                  <a:cubicBezTo>
                    <a:pt x="235" y="124"/>
                    <a:pt x="235" y="124"/>
                    <a:pt x="235" y="124"/>
                  </a:cubicBezTo>
                  <a:cubicBezTo>
                    <a:pt x="235" y="124"/>
                    <a:pt x="235" y="124"/>
                    <a:pt x="235" y="124"/>
                  </a:cubicBezTo>
                  <a:cubicBezTo>
                    <a:pt x="235" y="125"/>
                    <a:pt x="235" y="125"/>
                    <a:pt x="235" y="125"/>
                  </a:cubicBezTo>
                  <a:cubicBezTo>
                    <a:pt x="234" y="126"/>
                    <a:pt x="234" y="126"/>
                    <a:pt x="234" y="126"/>
                  </a:cubicBezTo>
                  <a:cubicBezTo>
                    <a:pt x="234" y="126"/>
                    <a:pt x="234" y="126"/>
                    <a:pt x="234" y="126"/>
                  </a:cubicBezTo>
                  <a:cubicBezTo>
                    <a:pt x="234" y="127"/>
                    <a:pt x="234" y="127"/>
                    <a:pt x="234" y="127"/>
                  </a:cubicBezTo>
                  <a:cubicBezTo>
                    <a:pt x="232" y="128"/>
                    <a:pt x="232" y="128"/>
                    <a:pt x="232" y="128"/>
                  </a:cubicBezTo>
                  <a:cubicBezTo>
                    <a:pt x="231" y="130"/>
                    <a:pt x="231" y="130"/>
                    <a:pt x="231" y="130"/>
                  </a:cubicBezTo>
                  <a:cubicBezTo>
                    <a:pt x="230" y="130"/>
                    <a:pt x="230" y="130"/>
                    <a:pt x="230" y="130"/>
                  </a:cubicBezTo>
                  <a:cubicBezTo>
                    <a:pt x="230" y="131"/>
                    <a:pt x="230" y="131"/>
                    <a:pt x="230" y="131"/>
                  </a:cubicBezTo>
                  <a:cubicBezTo>
                    <a:pt x="229" y="131"/>
                    <a:pt x="229" y="131"/>
                    <a:pt x="229" y="131"/>
                  </a:cubicBezTo>
                  <a:cubicBezTo>
                    <a:pt x="229" y="132"/>
                    <a:pt x="229" y="132"/>
                    <a:pt x="229" y="132"/>
                  </a:cubicBezTo>
                  <a:cubicBezTo>
                    <a:pt x="229" y="132"/>
                    <a:pt x="229" y="132"/>
                    <a:pt x="229" y="132"/>
                  </a:cubicBezTo>
                  <a:cubicBezTo>
                    <a:pt x="229" y="132"/>
                    <a:pt x="229" y="132"/>
                    <a:pt x="229" y="132"/>
                  </a:cubicBezTo>
                  <a:cubicBezTo>
                    <a:pt x="230" y="132"/>
                    <a:pt x="230" y="132"/>
                    <a:pt x="230" y="132"/>
                  </a:cubicBezTo>
                  <a:cubicBezTo>
                    <a:pt x="229" y="133"/>
                    <a:pt x="229" y="133"/>
                    <a:pt x="229" y="133"/>
                  </a:cubicBezTo>
                  <a:cubicBezTo>
                    <a:pt x="226" y="133"/>
                    <a:pt x="226" y="133"/>
                    <a:pt x="226" y="133"/>
                  </a:cubicBezTo>
                  <a:cubicBezTo>
                    <a:pt x="225" y="133"/>
                    <a:pt x="225" y="133"/>
                    <a:pt x="225" y="133"/>
                  </a:cubicBezTo>
                  <a:cubicBezTo>
                    <a:pt x="225" y="135"/>
                    <a:pt x="225" y="135"/>
                    <a:pt x="225" y="135"/>
                  </a:cubicBezTo>
                  <a:cubicBezTo>
                    <a:pt x="224" y="136"/>
                    <a:pt x="224" y="136"/>
                    <a:pt x="224" y="136"/>
                  </a:cubicBezTo>
                  <a:cubicBezTo>
                    <a:pt x="222" y="135"/>
                    <a:pt x="222" y="135"/>
                    <a:pt x="222" y="135"/>
                  </a:cubicBezTo>
                  <a:cubicBezTo>
                    <a:pt x="221" y="136"/>
                    <a:pt x="221" y="136"/>
                    <a:pt x="221" y="136"/>
                  </a:cubicBezTo>
                  <a:cubicBezTo>
                    <a:pt x="219" y="137"/>
                    <a:pt x="219" y="137"/>
                    <a:pt x="219" y="137"/>
                  </a:cubicBezTo>
                  <a:cubicBezTo>
                    <a:pt x="216" y="138"/>
                    <a:pt x="216" y="138"/>
                    <a:pt x="216" y="138"/>
                  </a:cubicBezTo>
                  <a:cubicBezTo>
                    <a:pt x="216" y="138"/>
                    <a:pt x="216" y="138"/>
                    <a:pt x="216" y="138"/>
                  </a:cubicBezTo>
                  <a:cubicBezTo>
                    <a:pt x="216" y="139"/>
                    <a:pt x="216" y="139"/>
                    <a:pt x="216" y="139"/>
                  </a:cubicBezTo>
                  <a:cubicBezTo>
                    <a:pt x="216" y="140"/>
                    <a:pt x="216" y="140"/>
                    <a:pt x="216" y="140"/>
                  </a:cubicBezTo>
                  <a:cubicBezTo>
                    <a:pt x="217" y="140"/>
                    <a:pt x="217" y="140"/>
                    <a:pt x="217" y="140"/>
                  </a:cubicBezTo>
                  <a:cubicBezTo>
                    <a:pt x="217" y="140"/>
                    <a:pt x="217" y="140"/>
                    <a:pt x="217" y="140"/>
                  </a:cubicBezTo>
                  <a:cubicBezTo>
                    <a:pt x="217" y="141"/>
                    <a:pt x="217" y="141"/>
                    <a:pt x="217" y="141"/>
                  </a:cubicBezTo>
                  <a:cubicBezTo>
                    <a:pt x="217" y="142"/>
                    <a:pt x="217" y="142"/>
                    <a:pt x="217" y="142"/>
                  </a:cubicBezTo>
                  <a:cubicBezTo>
                    <a:pt x="216" y="142"/>
                    <a:pt x="216" y="142"/>
                    <a:pt x="216" y="142"/>
                  </a:cubicBezTo>
                  <a:cubicBezTo>
                    <a:pt x="216" y="142"/>
                    <a:pt x="216" y="142"/>
                    <a:pt x="216" y="142"/>
                  </a:cubicBezTo>
                  <a:cubicBezTo>
                    <a:pt x="216" y="142"/>
                    <a:pt x="216" y="142"/>
                    <a:pt x="216" y="142"/>
                  </a:cubicBezTo>
                  <a:cubicBezTo>
                    <a:pt x="216" y="141"/>
                    <a:pt x="216" y="141"/>
                    <a:pt x="216" y="141"/>
                  </a:cubicBezTo>
                  <a:cubicBezTo>
                    <a:pt x="216" y="141"/>
                    <a:pt x="216" y="141"/>
                    <a:pt x="216" y="141"/>
                  </a:cubicBezTo>
                  <a:cubicBezTo>
                    <a:pt x="216" y="141"/>
                    <a:pt x="216" y="141"/>
                    <a:pt x="216" y="141"/>
                  </a:cubicBezTo>
                  <a:cubicBezTo>
                    <a:pt x="216" y="140"/>
                    <a:pt x="216" y="140"/>
                    <a:pt x="216" y="140"/>
                  </a:cubicBezTo>
                  <a:cubicBezTo>
                    <a:pt x="216" y="139"/>
                    <a:pt x="216" y="139"/>
                    <a:pt x="216" y="139"/>
                  </a:cubicBezTo>
                  <a:cubicBezTo>
                    <a:pt x="215" y="139"/>
                    <a:pt x="215" y="139"/>
                    <a:pt x="215" y="139"/>
                  </a:cubicBezTo>
                  <a:cubicBezTo>
                    <a:pt x="215" y="138"/>
                    <a:pt x="215" y="138"/>
                    <a:pt x="215" y="138"/>
                  </a:cubicBezTo>
                  <a:cubicBezTo>
                    <a:pt x="214" y="138"/>
                    <a:pt x="214" y="138"/>
                    <a:pt x="214" y="138"/>
                  </a:cubicBezTo>
                  <a:cubicBezTo>
                    <a:pt x="214" y="138"/>
                    <a:pt x="214" y="138"/>
                    <a:pt x="214" y="138"/>
                  </a:cubicBezTo>
                  <a:cubicBezTo>
                    <a:pt x="213" y="139"/>
                    <a:pt x="213" y="139"/>
                    <a:pt x="213" y="139"/>
                  </a:cubicBezTo>
                  <a:cubicBezTo>
                    <a:pt x="213" y="139"/>
                    <a:pt x="213" y="139"/>
                    <a:pt x="213" y="139"/>
                  </a:cubicBezTo>
                  <a:cubicBezTo>
                    <a:pt x="213" y="138"/>
                    <a:pt x="213" y="138"/>
                    <a:pt x="213" y="138"/>
                  </a:cubicBezTo>
                  <a:cubicBezTo>
                    <a:pt x="212" y="138"/>
                    <a:pt x="212" y="138"/>
                    <a:pt x="212" y="138"/>
                  </a:cubicBezTo>
                  <a:cubicBezTo>
                    <a:pt x="212" y="137"/>
                    <a:pt x="212" y="137"/>
                    <a:pt x="212" y="137"/>
                  </a:cubicBezTo>
                  <a:cubicBezTo>
                    <a:pt x="212" y="137"/>
                    <a:pt x="212" y="137"/>
                    <a:pt x="212" y="137"/>
                  </a:cubicBezTo>
                  <a:cubicBezTo>
                    <a:pt x="212" y="137"/>
                    <a:pt x="212" y="137"/>
                    <a:pt x="212" y="137"/>
                  </a:cubicBezTo>
                  <a:cubicBezTo>
                    <a:pt x="212" y="138"/>
                    <a:pt x="212" y="138"/>
                    <a:pt x="212" y="138"/>
                  </a:cubicBezTo>
                  <a:cubicBezTo>
                    <a:pt x="212" y="139"/>
                    <a:pt x="212" y="139"/>
                    <a:pt x="212" y="139"/>
                  </a:cubicBezTo>
                  <a:cubicBezTo>
                    <a:pt x="212" y="139"/>
                    <a:pt x="212" y="139"/>
                    <a:pt x="212" y="139"/>
                  </a:cubicBezTo>
                  <a:cubicBezTo>
                    <a:pt x="211" y="139"/>
                    <a:pt x="211" y="139"/>
                    <a:pt x="211" y="139"/>
                  </a:cubicBezTo>
                  <a:cubicBezTo>
                    <a:pt x="211" y="139"/>
                    <a:pt x="211" y="139"/>
                    <a:pt x="211" y="139"/>
                  </a:cubicBezTo>
                  <a:cubicBezTo>
                    <a:pt x="211" y="138"/>
                    <a:pt x="211" y="138"/>
                    <a:pt x="211" y="138"/>
                  </a:cubicBezTo>
                  <a:cubicBezTo>
                    <a:pt x="211" y="138"/>
                    <a:pt x="211" y="138"/>
                    <a:pt x="211" y="138"/>
                  </a:cubicBezTo>
                  <a:cubicBezTo>
                    <a:pt x="210" y="137"/>
                    <a:pt x="210" y="137"/>
                    <a:pt x="210" y="137"/>
                  </a:cubicBezTo>
                  <a:cubicBezTo>
                    <a:pt x="209" y="137"/>
                    <a:pt x="209" y="137"/>
                    <a:pt x="209" y="137"/>
                  </a:cubicBezTo>
                  <a:cubicBezTo>
                    <a:pt x="208" y="138"/>
                    <a:pt x="208" y="138"/>
                    <a:pt x="208" y="138"/>
                  </a:cubicBezTo>
                  <a:cubicBezTo>
                    <a:pt x="207" y="139"/>
                    <a:pt x="207" y="139"/>
                    <a:pt x="207" y="139"/>
                  </a:cubicBezTo>
                  <a:cubicBezTo>
                    <a:pt x="205" y="140"/>
                    <a:pt x="205" y="140"/>
                    <a:pt x="205" y="140"/>
                  </a:cubicBezTo>
                  <a:cubicBezTo>
                    <a:pt x="205" y="141"/>
                    <a:pt x="205" y="141"/>
                    <a:pt x="205" y="141"/>
                  </a:cubicBezTo>
                  <a:cubicBezTo>
                    <a:pt x="205" y="142"/>
                    <a:pt x="205" y="142"/>
                    <a:pt x="205" y="142"/>
                  </a:cubicBezTo>
                  <a:cubicBezTo>
                    <a:pt x="205" y="142"/>
                    <a:pt x="205" y="142"/>
                    <a:pt x="205" y="142"/>
                  </a:cubicBezTo>
                  <a:cubicBezTo>
                    <a:pt x="206" y="142"/>
                    <a:pt x="206" y="142"/>
                    <a:pt x="206" y="142"/>
                  </a:cubicBezTo>
                  <a:cubicBezTo>
                    <a:pt x="205" y="143"/>
                    <a:pt x="205" y="143"/>
                    <a:pt x="205" y="143"/>
                  </a:cubicBezTo>
                  <a:cubicBezTo>
                    <a:pt x="204" y="143"/>
                    <a:pt x="204" y="143"/>
                    <a:pt x="204" y="143"/>
                  </a:cubicBezTo>
                  <a:cubicBezTo>
                    <a:pt x="204" y="143"/>
                    <a:pt x="204" y="143"/>
                    <a:pt x="204" y="143"/>
                  </a:cubicBezTo>
                  <a:cubicBezTo>
                    <a:pt x="202" y="145"/>
                    <a:pt x="202" y="145"/>
                    <a:pt x="202" y="145"/>
                  </a:cubicBezTo>
                  <a:cubicBezTo>
                    <a:pt x="201" y="145"/>
                    <a:pt x="201" y="145"/>
                    <a:pt x="201" y="145"/>
                  </a:cubicBezTo>
                  <a:cubicBezTo>
                    <a:pt x="200" y="145"/>
                    <a:pt x="200" y="145"/>
                    <a:pt x="200" y="145"/>
                  </a:cubicBezTo>
                  <a:cubicBezTo>
                    <a:pt x="200" y="144"/>
                    <a:pt x="200" y="144"/>
                    <a:pt x="200" y="144"/>
                  </a:cubicBezTo>
                  <a:cubicBezTo>
                    <a:pt x="200" y="144"/>
                    <a:pt x="200" y="144"/>
                    <a:pt x="200" y="144"/>
                  </a:cubicBezTo>
                  <a:cubicBezTo>
                    <a:pt x="199" y="144"/>
                    <a:pt x="199" y="144"/>
                    <a:pt x="199" y="144"/>
                  </a:cubicBezTo>
                  <a:cubicBezTo>
                    <a:pt x="199" y="145"/>
                    <a:pt x="199" y="145"/>
                    <a:pt x="199" y="145"/>
                  </a:cubicBezTo>
                  <a:cubicBezTo>
                    <a:pt x="200" y="145"/>
                    <a:pt x="200" y="145"/>
                    <a:pt x="200" y="145"/>
                  </a:cubicBezTo>
                  <a:cubicBezTo>
                    <a:pt x="200" y="145"/>
                    <a:pt x="200" y="145"/>
                    <a:pt x="200" y="145"/>
                  </a:cubicBezTo>
                  <a:cubicBezTo>
                    <a:pt x="199" y="145"/>
                    <a:pt x="199" y="145"/>
                    <a:pt x="199" y="145"/>
                  </a:cubicBezTo>
                  <a:cubicBezTo>
                    <a:pt x="198" y="145"/>
                    <a:pt x="198" y="145"/>
                    <a:pt x="198" y="145"/>
                  </a:cubicBezTo>
                  <a:cubicBezTo>
                    <a:pt x="198" y="145"/>
                    <a:pt x="198" y="145"/>
                    <a:pt x="198" y="145"/>
                  </a:cubicBezTo>
                  <a:cubicBezTo>
                    <a:pt x="196" y="146"/>
                    <a:pt x="196" y="146"/>
                    <a:pt x="196" y="146"/>
                  </a:cubicBezTo>
                  <a:cubicBezTo>
                    <a:pt x="195" y="146"/>
                    <a:pt x="195" y="146"/>
                    <a:pt x="195" y="146"/>
                  </a:cubicBezTo>
                  <a:cubicBezTo>
                    <a:pt x="196" y="148"/>
                    <a:pt x="196" y="148"/>
                    <a:pt x="196" y="148"/>
                  </a:cubicBezTo>
                  <a:cubicBezTo>
                    <a:pt x="197" y="148"/>
                    <a:pt x="197" y="148"/>
                    <a:pt x="197" y="148"/>
                  </a:cubicBezTo>
                  <a:cubicBezTo>
                    <a:pt x="197" y="148"/>
                    <a:pt x="197" y="148"/>
                    <a:pt x="197" y="148"/>
                  </a:cubicBezTo>
                  <a:cubicBezTo>
                    <a:pt x="198" y="147"/>
                    <a:pt x="198" y="147"/>
                    <a:pt x="198" y="147"/>
                  </a:cubicBezTo>
                  <a:cubicBezTo>
                    <a:pt x="199" y="147"/>
                    <a:pt x="199" y="147"/>
                    <a:pt x="199" y="147"/>
                  </a:cubicBezTo>
                  <a:cubicBezTo>
                    <a:pt x="199" y="147"/>
                    <a:pt x="199" y="147"/>
                    <a:pt x="199" y="147"/>
                  </a:cubicBezTo>
                  <a:cubicBezTo>
                    <a:pt x="198" y="148"/>
                    <a:pt x="198" y="148"/>
                    <a:pt x="198" y="148"/>
                  </a:cubicBezTo>
                  <a:cubicBezTo>
                    <a:pt x="197" y="148"/>
                    <a:pt x="197" y="148"/>
                    <a:pt x="197" y="148"/>
                  </a:cubicBezTo>
                  <a:cubicBezTo>
                    <a:pt x="197" y="149"/>
                    <a:pt x="197" y="149"/>
                    <a:pt x="197" y="149"/>
                  </a:cubicBezTo>
                  <a:cubicBezTo>
                    <a:pt x="196" y="148"/>
                    <a:pt x="196" y="148"/>
                    <a:pt x="196" y="148"/>
                  </a:cubicBezTo>
                  <a:cubicBezTo>
                    <a:pt x="194" y="147"/>
                    <a:pt x="194" y="147"/>
                    <a:pt x="194" y="147"/>
                  </a:cubicBezTo>
                  <a:cubicBezTo>
                    <a:pt x="193" y="147"/>
                    <a:pt x="193" y="147"/>
                    <a:pt x="193" y="147"/>
                  </a:cubicBezTo>
                  <a:cubicBezTo>
                    <a:pt x="193" y="147"/>
                    <a:pt x="193" y="147"/>
                    <a:pt x="193" y="147"/>
                  </a:cubicBezTo>
                  <a:cubicBezTo>
                    <a:pt x="189" y="151"/>
                    <a:pt x="189" y="151"/>
                    <a:pt x="189" y="151"/>
                  </a:cubicBezTo>
                  <a:cubicBezTo>
                    <a:pt x="188" y="151"/>
                    <a:pt x="188" y="151"/>
                    <a:pt x="188" y="151"/>
                  </a:cubicBezTo>
                  <a:cubicBezTo>
                    <a:pt x="199" y="149"/>
                    <a:pt x="199" y="149"/>
                    <a:pt x="199" y="149"/>
                  </a:cubicBezTo>
                  <a:cubicBezTo>
                    <a:pt x="201" y="148"/>
                    <a:pt x="201" y="148"/>
                    <a:pt x="201" y="148"/>
                  </a:cubicBezTo>
                  <a:cubicBezTo>
                    <a:pt x="202" y="148"/>
                    <a:pt x="202" y="148"/>
                    <a:pt x="202" y="148"/>
                  </a:cubicBezTo>
                  <a:cubicBezTo>
                    <a:pt x="201" y="149"/>
                    <a:pt x="201" y="149"/>
                    <a:pt x="201" y="149"/>
                  </a:cubicBezTo>
                  <a:cubicBezTo>
                    <a:pt x="196" y="151"/>
                    <a:pt x="196" y="151"/>
                    <a:pt x="196" y="151"/>
                  </a:cubicBezTo>
                  <a:cubicBezTo>
                    <a:pt x="189" y="152"/>
                    <a:pt x="189" y="152"/>
                    <a:pt x="189" y="152"/>
                  </a:cubicBezTo>
                  <a:cubicBezTo>
                    <a:pt x="188" y="153"/>
                    <a:pt x="188" y="153"/>
                    <a:pt x="188" y="153"/>
                  </a:cubicBezTo>
                  <a:cubicBezTo>
                    <a:pt x="188" y="154"/>
                    <a:pt x="188" y="154"/>
                    <a:pt x="188" y="154"/>
                  </a:cubicBezTo>
                  <a:cubicBezTo>
                    <a:pt x="188" y="154"/>
                    <a:pt x="188" y="154"/>
                    <a:pt x="188" y="154"/>
                  </a:cubicBezTo>
                  <a:cubicBezTo>
                    <a:pt x="190" y="154"/>
                    <a:pt x="190" y="154"/>
                    <a:pt x="190" y="154"/>
                  </a:cubicBezTo>
                  <a:cubicBezTo>
                    <a:pt x="191" y="155"/>
                    <a:pt x="191" y="155"/>
                    <a:pt x="191" y="155"/>
                  </a:cubicBezTo>
                  <a:cubicBezTo>
                    <a:pt x="194" y="154"/>
                    <a:pt x="194" y="154"/>
                    <a:pt x="194" y="154"/>
                  </a:cubicBezTo>
                  <a:cubicBezTo>
                    <a:pt x="193" y="155"/>
                    <a:pt x="193" y="155"/>
                    <a:pt x="193" y="155"/>
                  </a:cubicBezTo>
                  <a:cubicBezTo>
                    <a:pt x="192" y="157"/>
                    <a:pt x="192" y="157"/>
                    <a:pt x="192" y="157"/>
                  </a:cubicBezTo>
                  <a:cubicBezTo>
                    <a:pt x="191" y="158"/>
                    <a:pt x="191" y="158"/>
                    <a:pt x="191" y="158"/>
                  </a:cubicBezTo>
                  <a:cubicBezTo>
                    <a:pt x="191" y="158"/>
                    <a:pt x="191" y="158"/>
                    <a:pt x="191" y="158"/>
                  </a:cubicBezTo>
                  <a:cubicBezTo>
                    <a:pt x="190" y="159"/>
                    <a:pt x="190" y="159"/>
                    <a:pt x="190" y="159"/>
                  </a:cubicBezTo>
                  <a:cubicBezTo>
                    <a:pt x="188" y="159"/>
                    <a:pt x="188" y="159"/>
                    <a:pt x="188" y="159"/>
                  </a:cubicBezTo>
                  <a:cubicBezTo>
                    <a:pt x="188" y="160"/>
                    <a:pt x="188" y="160"/>
                    <a:pt x="188" y="160"/>
                  </a:cubicBezTo>
                  <a:cubicBezTo>
                    <a:pt x="189" y="160"/>
                    <a:pt x="189" y="160"/>
                    <a:pt x="189" y="160"/>
                  </a:cubicBezTo>
                  <a:cubicBezTo>
                    <a:pt x="192" y="159"/>
                    <a:pt x="192" y="159"/>
                    <a:pt x="192" y="159"/>
                  </a:cubicBezTo>
                  <a:cubicBezTo>
                    <a:pt x="193" y="158"/>
                    <a:pt x="193" y="158"/>
                    <a:pt x="193" y="158"/>
                  </a:cubicBezTo>
                  <a:cubicBezTo>
                    <a:pt x="194" y="157"/>
                    <a:pt x="194" y="157"/>
                    <a:pt x="194" y="157"/>
                  </a:cubicBezTo>
                  <a:cubicBezTo>
                    <a:pt x="194" y="157"/>
                    <a:pt x="194" y="157"/>
                    <a:pt x="194" y="157"/>
                  </a:cubicBezTo>
                  <a:cubicBezTo>
                    <a:pt x="195" y="155"/>
                    <a:pt x="195" y="155"/>
                    <a:pt x="195" y="155"/>
                  </a:cubicBezTo>
                  <a:cubicBezTo>
                    <a:pt x="195" y="155"/>
                    <a:pt x="195" y="155"/>
                    <a:pt x="195" y="155"/>
                  </a:cubicBezTo>
                  <a:cubicBezTo>
                    <a:pt x="196" y="154"/>
                    <a:pt x="196" y="154"/>
                    <a:pt x="196" y="154"/>
                  </a:cubicBezTo>
                  <a:cubicBezTo>
                    <a:pt x="196" y="154"/>
                    <a:pt x="196" y="154"/>
                    <a:pt x="196" y="154"/>
                  </a:cubicBezTo>
                  <a:cubicBezTo>
                    <a:pt x="197" y="154"/>
                    <a:pt x="197" y="154"/>
                    <a:pt x="197" y="154"/>
                  </a:cubicBezTo>
                  <a:cubicBezTo>
                    <a:pt x="199" y="152"/>
                    <a:pt x="199" y="152"/>
                    <a:pt x="199" y="152"/>
                  </a:cubicBezTo>
                  <a:cubicBezTo>
                    <a:pt x="199" y="152"/>
                    <a:pt x="199" y="152"/>
                    <a:pt x="199" y="152"/>
                  </a:cubicBezTo>
                  <a:cubicBezTo>
                    <a:pt x="199" y="151"/>
                    <a:pt x="199" y="151"/>
                    <a:pt x="199" y="151"/>
                  </a:cubicBezTo>
                  <a:cubicBezTo>
                    <a:pt x="199" y="151"/>
                    <a:pt x="199" y="151"/>
                    <a:pt x="199" y="151"/>
                  </a:cubicBezTo>
                  <a:cubicBezTo>
                    <a:pt x="203" y="149"/>
                    <a:pt x="203" y="149"/>
                    <a:pt x="203" y="149"/>
                  </a:cubicBezTo>
                  <a:cubicBezTo>
                    <a:pt x="208" y="145"/>
                    <a:pt x="208" y="145"/>
                    <a:pt x="208" y="145"/>
                  </a:cubicBezTo>
                  <a:cubicBezTo>
                    <a:pt x="210" y="145"/>
                    <a:pt x="210" y="145"/>
                    <a:pt x="210" y="145"/>
                  </a:cubicBezTo>
                  <a:cubicBezTo>
                    <a:pt x="211" y="145"/>
                    <a:pt x="211" y="145"/>
                    <a:pt x="211" y="145"/>
                  </a:cubicBezTo>
                  <a:cubicBezTo>
                    <a:pt x="212" y="144"/>
                    <a:pt x="212" y="144"/>
                    <a:pt x="212" y="144"/>
                  </a:cubicBezTo>
                  <a:cubicBezTo>
                    <a:pt x="212" y="143"/>
                    <a:pt x="212" y="143"/>
                    <a:pt x="212" y="143"/>
                  </a:cubicBezTo>
                  <a:cubicBezTo>
                    <a:pt x="215" y="144"/>
                    <a:pt x="215" y="144"/>
                    <a:pt x="215" y="144"/>
                  </a:cubicBezTo>
                  <a:cubicBezTo>
                    <a:pt x="216" y="144"/>
                    <a:pt x="216" y="144"/>
                    <a:pt x="216" y="144"/>
                  </a:cubicBezTo>
                  <a:cubicBezTo>
                    <a:pt x="217" y="146"/>
                    <a:pt x="217" y="146"/>
                    <a:pt x="217" y="146"/>
                  </a:cubicBezTo>
                  <a:cubicBezTo>
                    <a:pt x="213" y="144"/>
                    <a:pt x="213" y="144"/>
                    <a:pt x="213" y="144"/>
                  </a:cubicBezTo>
                  <a:cubicBezTo>
                    <a:pt x="212" y="144"/>
                    <a:pt x="212" y="144"/>
                    <a:pt x="212" y="144"/>
                  </a:cubicBezTo>
                  <a:cubicBezTo>
                    <a:pt x="211" y="145"/>
                    <a:pt x="211" y="145"/>
                    <a:pt x="211" y="145"/>
                  </a:cubicBezTo>
                  <a:cubicBezTo>
                    <a:pt x="211" y="146"/>
                    <a:pt x="211" y="146"/>
                    <a:pt x="211" y="146"/>
                  </a:cubicBezTo>
                  <a:cubicBezTo>
                    <a:pt x="210" y="146"/>
                    <a:pt x="210" y="146"/>
                    <a:pt x="210" y="146"/>
                  </a:cubicBezTo>
                  <a:cubicBezTo>
                    <a:pt x="208" y="147"/>
                    <a:pt x="208" y="147"/>
                    <a:pt x="208" y="147"/>
                  </a:cubicBezTo>
                  <a:cubicBezTo>
                    <a:pt x="205" y="149"/>
                    <a:pt x="205" y="149"/>
                    <a:pt x="205" y="149"/>
                  </a:cubicBezTo>
                  <a:cubicBezTo>
                    <a:pt x="204" y="149"/>
                    <a:pt x="204" y="149"/>
                    <a:pt x="204" y="149"/>
                  </a:cubicBezTo>
                  <a:cubicBezTo>
                    <a:pt x="203" y="150"/>
                    <a:pt x="203" y="150"/>
                    <a:pt x="203" y="150"/>
                  </a:cubicBezTo>
                  <a:cubicBezTo>
                    <a:pt x="202" y="150"/>
                    <a:pt x="202" y="150"/>
                    <a:pt x="202" y="150"/>
                  </a:cubicBezTo>
                  <a:cubicBezTo>
                    <a:pt x="202" y="151"/>
                    <a:pt x="202" y="151"/>
                    <a:pt x="202" y="151"/>
                  </a:cubicBezTo>
                  <a:cubicBezTo>
                    <a:pt x="200" y="152"/>
                    <a:pt x="200" y="152"/>
                    <a:pt x="200" y="152"/>
                  </a:cubicBezTo>
                  <a:cubicBezTo>
                    <a:pt x="201" y="153"/>
                    <a:pt x="201" y="153"/>
                    <a:pt x="201" y="153"/>
                  </a:cubicBezTo>
                  <a:cubicBezTo>
                    <a:pt x="202" y="153"/>
                    <a:pt x="202" y="153"/>
                    <a:pt x="202" y="153"/>
                  </a:cubicBezTo>
                  <a:cubicBezTo>
                    <a:pt x="204" y="151"/>
                    <a:pt x="204" y="151"/>
                    <a:pt x="204" y="151"/>
                  </a:cubicBezTo>
                  <a:cubicBezTo>
                    <a:pt x="204" y="152"/>
                    <a:pt x="204" y="152"/>
                    <a:pt x="204" y="152"/>
                  </a:cubicBezTo>
                  <a:cubicBezTo>
                    <a:pt x="204" y="152"/>
                    <a:pt x="204" y="152"/>
                    <a:pt x="204" y="152"/>
                  </a:cubicBezTo>
                  <a:cubicBezTo>
                    <a:pt x="204" y="153"/>
                    <a:pt x="204" y="153"/>
                    <a:pt x="204" y="153"/>
                  </a:cubicBezTo>
                  <a:cubicBezTo>
                    <a:pt x="204" y="153"/>
                    <a:pt x="204" y="153"/>
                    <a:pt x="204" y="153"/>
                  </a:cubicBezTo>
                  <a:cubicBezTo>
                    <a:pt x="201" y="153"/>
                    <a:pt x="201" y="153"/>
                    <a:pt x="201" y="153"/>
                  </a:cubicBezTo>
                  <a:cubicBezTo>
                    <a:pt x="200" y="154"/>
                    <a:pt x="200" y="154"/>
                    <a:pt x="200" y="154"/>
                  </a:cubicBezTo>
                  <a:cubicBezTo>
                    <a:pt x="201" y="154"/>
                    <a:pt x="201" y="154"/>
                    <a:pt x="201" y="154"/>
                  </a:cubicBezTo>
                  <a:cubicBezTo>
                    <a:pt x="202" y="155"/>
                    <a:pt x="202" y="155"/>
                    <a:pt x="202" y="155"/>
                  </a:cubicBezTo>
                  <a:cubicBezTo>
                    <a:pt x="203" y="155"/>
                    <a:pt x="203" y="155"/>
                    <a:pt x="203" y="155"/>
                  </a:cubicBezTo>
                  <a:cubicBezTo>
                    <a:pt x="203" y="155"/>
                    <a:pt x="203" y="155"/>
                    <a:pt x="203" y="155"/>
                  </a:cubicBezTo>
                  <a:cubicBezTo>
                    <a:pt x="206" y="155"/>
                    <a:pt x="206" y="155"/>
                    <a:pt x="206" y="155"/>
                  </a:cubicBezTo>
                  <a:cubicBezTo>
                    <a:pt x="206" y="156"/>
                    <a:pt x="206" y="156"/>
                    <a:pt x="206" y="156"/>
                  </a:cubicBezTo>
                  <a:cubicBezTo>
                    <a:pt x="205" y="156"/>
                    <a:pt x="205" y="156"/>
                    <a:pt x="205" y="156"/>
                  </a:cubicBezTo>
                  <a:cubicBezTo>
                    <a:pt x="204" y="157"/>
                    <a:pt x="204" y="157"/>
                    <a:pt x="204" y="157"/>
                  </a:cubicBezTo>
                  <a:cubicBezTo>
                    <a:pt x="197" y="158"/>
                    <a:pt x="197" y="158"/>
                    <a:pt x="197" y="158"/>
                  </a:cubicBezTo>
                  <a:cubicBezTo>
                    <a:pt x="198" y="158"/>
                    <a:pt x="198" y="158"/>
                    <a:pt x="198" y="158"/>
                  </a:cubicBezTo>
                  <a:cubicBezTo>
                    <a:pt x="198" y="158"/>
                    <a:pt x="198" y="158"/>
                    <a:pt x="198" y="158"/>
                  </a:cubicBezTo>
                  <a:cubicBezTo>
                    <a:pt x="199" y="158"/>
                    <a:pt x="199" y="158"/>
                    <a:pt x="199" y="158"/>
                  </a:cubicBezTo>
                  <a:cubicBezTo>
                    <a:pt x="199" y="159"/>
                    <a:pt x="199" y="159"/>
                    <a:pt x="199" y="159"/>
                  </a:cubicBezTo>
                  <a:cubicBezTo>
                    <a:pt x="199" y="160"/>
                    <a:pt x="199" y="160"/>
                    <a:pt x="199" y="160"/>
                  </a:cubicBezTo>
                  <a:cubicBezTo>
                    <a:pt x="198" y="160"/>
                    <a:pt x="198" y="160"/>
                    <a:pt x="198" y="160"/>
                  </a:cubicBezTo>
                  <a:cubicBezTo>
                    <a:pt x="198" y="160"/>
                    <a:pt x="198" y="160"/>
                    <a:pt x="198" y="160"/>
                  </a:cubicBezTo>
                  <a:cubicBezTo>
                    <a:pt x="197" y="159"/>
                    <a:pt x="197" y="159"/>
                    <a:pt x="197" y="159"/>
                  </a:cubicBezTo>
                  <a:cubicBezTo>
                    <a:pt x="195" y="161"/>
                    <a:pt x="195" y="161"/>
                    <a:pt x="195" y="161"/>
                  </a:cubicBezTo>
                  <a:cubicBezTo>
                    <a:pt x="193" y="161"/>
                    <a:pt x="193" y="161"/>
                    <a:pt x="193" y="161"/>
                  </a:cubicBezTo>
                  <a:cubicBezTo>
                    <a:pt x="193" y="162"/>
                    <a:pt x="193" y="162"/>
                    <a:pt x="193" y="162"/>
                  </a:cubicBezTo>
                  <a:cubicBezTo>
                    <a:pt x="193" y="162"/>
                    <a:pt x="193" y="162"/>
                    <a:pt x="193" y="162"/>
                  </a:cubicBezTo>
                  <a:cubicBezTo>
                    <a:pt x="193" y="162"/>
                    <a:pt x="193" y="162"/>
                    <a:pt x="193" y="162"/>
                  </a:cubicBezTo>
                  <a:cubicBezTo>
                    <a:pt x="193" y="163"/>
                    <a:pt x="193" y="163"/>
                    <a:pt x="193" y="163"/>
                  </a:cubicBezTo>
                  <a:cubicBezTo>
                    <a:pt x="193" y="163"/>
                    <a:pt x="193" y="163"/>
                    <a:pt x="193" y="163"/>
                  </a:cubicBezTo>
                  <a:cubicBezTo>
                    <a:pt x="193" y="163"/>
                    <a:pt x="193" y="163"/>
                    <a:pt x="193" y="163"/>
                  </a:cubicBezTo>
                  <a:cubicBezTo>
                    <a:pt x="193" y="163"/>
                    <a:pt x="193" y="163"/>
                    <a:pt x="193" y="163"/>
                  </a:cubicBezTo>
                  <a:cubicBezTo>
                    <a:pt x="193" y="163"/>
                    <a:pt x="193" y="163"/>
                    <a:pt x="193" y="163"/>
                  </a:cubicBezTo>
                  <a:cubicBezTo>
                    <a:pt x="193" y="163"/>
                    <a:pt x="193" y="163"/>
                    <a:pt x="193" y="163"/>
                  </a:cubicBezTo>
                  <a:cubicBezTo>
                    <a:pt x="193" y="164"/>
                    <a:pt x="193" y="164"/>
                    <a:pt x="193" y="164"/>
                  </a:cubicBezTo>
                  <a:cubicBezTo>
                    <a:pt x="193" y="165"/>
                    <a:pt x="193" y="165"/>
                    <a:pt x="193" y="165"/>
                  </a:cubicBezTo>
                  <a:cubicBezTo>
                    <a:pt x="193" y="166"/>
                    <a:pt x="193" y="166"/>
                    <a:pt x="193" y="166"/>
                  </a:cubicBezTo>
                  <a:cubicBezTo>
                    <a:pt x="193" y="166"/>
                    <a:pt x="193" y="166"/>
                    <a:pt x="193" y="166"/>
                  </a:cubicBezTo>
                  <a:cubicBezTo>
                    <a:pt x="193" y="166"/>
                    <a:pt x="193" y="166"/>
                    <a:pt x="193" y="166"/>
                  </a:cubicBezTo>
                  <a:cubicBezTo>
                    <a:pt x="193" y="167"/>
                    <a:pt x="193" y="167"/>
                    <a:pt x="193" y="167"/>
                  </a:cubicBezTo>
                  <a:cubicBezTo>
                    <a:pt x="194" y="167"/>
                    <a:pt x="194" y="167"/>
                    <a:pt x="194" y="167"/>
                  </a:cubicBezTo>
                  <a:cubicBezTo>
                    <a:pt x="194" y="167"/>
                    <a:pt x="194" y="167"/>
                    <a:pt x="194" y="167"/>
                  </a:cubicBezTo>
                  <a:cubicBezTo>
                    <a:pt x="194" y="168"/>
                    <a:pt x="194" y="168"/>
                    <a:pt x="194" y="168"/>
                  </a:cubicBezTo>
                  <a:cubicBezTo>
                    <a:pt x="195" y="169"/>
                    <a:pt x="195" y="169"/>
                    <a:pt x="195" y="169"/>
                  </a:cubicBezTo>
                  <a:cubicBezTo>
                    <a:pt x="195" y="170"/>
                    <a:pt x="195" y="170"/>
                    <a:pt x="195" y="170"/>
                  </a:cubicBezTo>
                  <a:cubicBezTo>
                    <a:pt x="196" y="170"/>
                    <a:pt x="196" y="170"/>
                    <a:pt x="196" y="170"/>
                  </a:cubicBezTo>
                  <a:cubicBezTo>
                    <a:pt x="196" y="171"/>
                    <a:pt x="196" y="171"/>
                    <a:pt x="196" y="171"/>
                  </a:cubicBezTo>
                  <a:cubicBezTo>
                    <a:pt x="197" y="172"/>
                    <a:pt x="197" y="172"/>
                    <a:pt x="197" y="172"/>
                  </a:cubicBezTo>
                  <a:cubicBezTo>
                    <a:pt x="198" y="171"/>
                    <a:pt x="198" y="171"/>
                    <a:pt x="198" y="171"/>
                  </a:cubicBezTo>
                  <a:cubicBezTo>
                    <a:pt x="199" y="170"/>
                    <a:pt x="199" y="170"/>
                    <a:pt x="199" y="170"/>
                  </a:cubicBezTo>
                  <a:cubicBezTo>
                    <a:pt x="198" y="170"/>
                    <a:pt x="198" y="170"/>
                    <a:pt x="198" y="170"/>
                  </a:cubicBezTo>
                  <a:cubicBezTo>
                    <a:pt x="198" y="170"/>
                    <a:pt x="198" y="170"/>
                    <a:pt x="198" y="170"/>
                  </a:cubicBezTo>
                  <a:cubicBezTo>
                    <a:pt x="198" y="169"/>
                    <a:pt x="198" y="169"/>
                    <a:pt x="198" y="169"/>
                  </a:cubicBezTo>
                  <a:cubicBezTo>
                    <a:pt x="197" y="169"/>
                    <a:pt x="197" y="169"/>
                    <a:pt x="197" y="169"/>
                  </a:cubicBezTo>
                  <a:cubicBezTo>
                    <a:pt x="198" y="169"/>
                    <a:pt x="198" y="169"/>
                    <a:pt x="198" y="169"/>
                  </a:cubicBezTo>
                  <a:cubicBezTo>
                    <a:pt x="198" y="168"/>
                    <a:pt x="198" y="168"/>
                    <a:pt x="198" y="168"/>
                  </a:cubicBezTo>
                  <a:cubicBezTo>
                    <a:pt x="199" y="167"/>
                    <a:pt x="199" y="167"/>
                    <a:pt x="199" y="167"/>
                  </a:cubicBezTo>
                  <a:cubicBezTo>
                    <a:pt x="200" y="168"/>
                    <a:pt x="200" y="168"/>
                    <a:pt x="200" y="168"/>
                  </a:cubicBezTo>
                  <a:cubicBezTo>
                    <a:pt x="200" y="169"/>
                    <a:pt x="200" y="169"/>
                    <a:pt x="200" y="169"/>
                  </a:cubicBezTo>
                  <a:cubicBezTo>
                    <a:pt x="199" y="169"/>
                    <a:pt x="199" y="169"/>
                    <a:pt x="199" y="169"/>
                  </a:cubicBezTo>
                  <a:cubicBezTo>
                    <a:pt x="199" y="170"/>
                    <a:pt x="199" y="170"/>
                    <a:pt x="199" y="170"/>
                  </a:cubicBezTo>
                  <a:cubicBezTo>
                    <a:pt x="200" y="171"/>
                    <a:pt x="200" y="171"/>
                    <a:pt x="200" y="171"/>
                  </a:cubicBezTo>
                  <a:cubicBezTo>
                    <a:pt x="200" y="170"/>
                    <a:pt x="200" y="170"/>
                    <a:pt x="200" y="170"/>
                  </a:cubicBezTo>
                  <a:cubicBezTo>
                    <a:pt x="204" y="170"/>
                    <a:pt x="204" y="170"/>
                    <a:pt x="204" y="170"/>
                  </a:cubicBezTo>
                  <a:cubicBezTo>
                    <a:pt x="203" y="170"/>
                    <a:pt x="203" y="170"/>
                    <a:pt x="203" y="170"/>
                  </a:cubicBezTo>
                  <a:cubicBezTo>
                    <a:pt x="200" y="172"/>
                    <a:pt x="200" y="172"/>
                    <a:pt x="200" y="172"/>
                  </a:cubicBezTo>
                  <a:cubicBezTo>
                    <a:pt x="198" y="174"/>
                    <a:pt x="198" y="174"/>
                    <a:pt x="198" y="174"/>
                  </a:cubicBezTo>
                  <a:cubicBezTo>
                    <a:pt x="197" y="173"/>
                    <a:pt x="197" y="173"/>
                    <a:pt x="197" y="173"/>
                  </a:cubicBezTo>
                  <a:cubicBezTo>
                    <a:pt x="197" y="173"/>
                    <a:pt x="197" y="173"/>
                    <a:pt x="197" y="173"/>
                  </a:cubicBezTo>
                  <a:cubicBezTo>
                    <a:pt x="198" y="172"/>
                    <a:pt x="198" y="172"/>
                    <a:pt x="198" y="172"/>
                  </a:cubicBezTo>
                  <a:cubicBezTo>
                    <a:pt x="196" y="173"/>
                    <a:pt x="196" y="173"/>
                    <a:pt x="196" y="173"/>
                  </a:cubicBezTo>
                  <a:cubicBezTo>
                    <a:pt x="196" y="174"/>
                    <a:pt x="196" y="174"/>
                    <a:pt x="196" y="174"/>
                  </a:cubicBezTo>
                  <a:cubicBezTo>
                    <a:pt x="196" y="174"/>
                    <a:pt x="196" y="174"/>
                    <a:pt x="196" y="174"/>
                  </a:cubicBezTo>
                  <a:cubicBezTo>
                    <a:pt x="196" y="174"/>
                    <a:pt x="196" y="174"/>
                    <a:pt x="196" y="174"/>
                  </a:cubicBezTo>
                  <a:cubicBezTo>
                    <a:pt x="197" y="174"/>
                    <a:pt x="197" y="174"/>
                    <a:pt x="197" y="174"/>
                  </a:cubicBezTo>
                  <a:cubicBezTo>
                    <a:pt x="197" y="175"/>
                    <a:pt x="197" y="175"/>
                    <a:pt x="197" y="175"/>
                  </a:cubicBezTo>
                  <a:cubicBezTo>
                    <a:pt x="196" y="175"/>
                    <a:pt x="196" y="175"/>
                    <a:pt x="196" y="175"/>
                  </a:cubicBezTo>
                  <a:cubicBezTo>
                    <a:pt x="195" y="175"/>
                    <a:pt x="195" y="175"/>
                    <a:pt x="195" y="175"/>
                  </a:cubicBezTo>
                  <a:cubicBezTo>
                    <a:pt x="195" y="175"/>
                    <a:pt x="195" y="175"/>
                    <a:pt x="195" y="175"/>
                  </a:cubicBezTo>
                  <a:cubicBezTo>
                    <a:pt x="194" y="177"/>
                    <a:pt x="194" y="177"/>
                    <a:pt x="194" y="177"/>
                  </a:cubicBezTo>
                  <a:cubicBezTo>
                    <a:pt x="194" y="178"/>
                    <a:pt x="194" y="178"/>
                    <a:pt x="194" y="178"/>
                  </a:cubicBezTo>
                  <a:cubicBezTo>
                    <a:pt x="194" y="179"/>
                    <a:pt x="194" y="179"/>
                    <a:pt x="194" y="179"/>
                  </a:cubicBezTo>
                  <a:cubicBezTo>
                    <a:pt x="200" y="178"/>
                    <a:pt x="200" y="178"/>
                    <a:pt x="200" y="178"/>
                  </a:cubicBezTo>
                  <a:cubicBezTo>
                    <a:pt x="199" y="178"/>
                    <a:pt x="199" y="178"/>
                    <a:pt x="199" y="178"/>
                  </a:cubicBezTo>
                  <a:cubicBezTo>
                    <a:pt x="196" y="179"/>
                    <a:pt x="196" y="179"/>
                    <a:pt x="196" y="179"/>
                  </a:cubicBezTo>
                  <a:cubicBezTo>
                    <a:pt x="195" y="180"/>
                    <a:pt x="195" y="180"/>
                    <a:pt x="195" y="180"/>
                  </a:cubicBezTo>
                  <a:cubicBezTo>
                    <a:pt x="194" y="181"/>
                    <a:pt x="194" y="181"/>
                    <a:pt x="194" y="181"/>
                  </a:cubicBezTo>
                  <a:cubicBezTo>
                    <a:pt x="194" y="181"/>
                    <a:pt x="194" y="181"/>
                    <a:pt x="194" y="181"/>
                  </a:cubicBezTo>
                  <a:cubicBezTo>
                    <a:pt x="194" y="180"/>
                    <a:pt x="194" y="180"/>
                    <a:pt x="194" y="180"/>
                  </a:cubicBezTo>
                  <a:cubicBezTo>
                    <a:pt x="193" y="180"/>
                    <a:pt x="193" y="180"/>
                    <a:pt x="193" y="180"/>
                  </a:cubicBezTo>
                  <a:cubicBezTo>
                    <a:pt x="193" y="180"/>
                    <a:pt x="193" y="180"/>
                    <a:pt x="193" y="180"/>
                  </a:cubicBezTo>
                  <a:cubicBezTo>
                    <a:pt x="193" y="180"/>
                    <a:pt x="193" y="180"/>
                    <a:pt x="193" y="180"/>
                  </a:cubicBezTo>
                  <a:cubicBezTo>
                    <a:pt x="192" y="182"/>
                    <a:pt x="192" y="182"/>
                    <a:pt x="192" y="182"/>
                  </a:cubicBezTo>
                  <a:cubicBezTo>
                    <a:pt x="192" y="182"/>
                    <a:pt x="192" y="182"/>
                    <a:pt x="192" y="182"/>
                  </a:cubicBezTo>
                  <a:cubicBezTo>
                    <a:pt x="192" y="182"/>
                    <a:pt x="192" y="182"/>
                    <a:pt x="192" y="182"/>
                  </a:cubicBezTo>
                  <a:cubicBezTo>
                    <a:pt x="193" y="183"/>
                    <a:pt x="193" y="183"/>
                    <a:pt x="193" y="183"/>
                  </a:cubicBezTo>
                  <a:cubicBezTo>
                    <a:pt x="192" y="183"/>
                    <a:pt x="192" y="183"/>
                    <a:pt x="192" y="183"/>
                  </a:cubicBezTo>
                  <a:cubicBezTo>
                    <a:pt x="190" y="185"/>
                    <a:pt x="190" y="185"/>
                    <a:pt x="190" y="185"/>
                  </a:cubicBezTo>
                  <a:cubicBezTo>
                    <a:pt x="189" y="187"/>
                    <a:pt x="189" y="187"/>
                    <a:pt x="189" y="187"/>
                  </a:cubicBezTo>
                  <a:cubicBezTo>
                    <a:pt x="188" y="188"/>
                    <a:pt x="188" y="188"/>
                    <a:pt x="188" y="188"/>
                  </a:cubicBezTo>
                  <a:cubicBezTo>
                    <a:pt x="187" y="189"/>
                    <a:pt x="187" y="189"/>
                    <a:pt x="187" y="189"/>
                  </a:cubicBezTo>
                  <a:cubicBezTo>
                    <a:pt x="189" y="185"/>
                    <a:pt x="189" y="185"/>
                    <a:pt x="189" y="185"/>
                  </a:cubicBezTo>
                  <a:cubicBezTo>
                    <a:pt x="190" y="183"/>
                    <a:pt x="190" y="183"/>
                    <a:pt x="190" y="183"/>
                  </a:cubicBezTo>
                  <a:cubicBezTo>
                    <a:pt x="191" y="182"/>
                    <a:pt x="191" y="182"/>
                    <a:pt x="191" y="182"/>
                  </a:cubicBezTo>
                  <a:cubicBezTo>
                    <a:pt x="191" y="181"/>
                    <a:pt x="191" y="181"/>
                    <a:pt x="191" y="181"/>
                  </a:cubicBezTo>
                  <a:cubicBezTo>
                    <a:pt x="190" y="180"/>
                    <a:pt x="190" y="180"/>
                    <a:pt x="190" y="180"/>
                  </a:cubicBezTo>
                  <a:cubicBezTo>
                    <a:pt x="190" y="180"/>
                    <a:pt x="190" y="180"/>
                    <a:pt x="190" y="180"/>
                  </a:cubicBezTo>
                  <a:cubicBezTo>
                    <a:pt x="189" y="180"/>
                    <a:pt x="189" y="180"/>
                    <a:pt x="189" y="180"/>
                  </a:cubicBezTo>
                  <a:cubicBezTo>
                    <a:pt x="188" y="180"/>
                    <a:pt x="188" y="180"/>
                    <a:pt x="188" y="180"/>
                  </a:cubicBezTo>
                  <a:cubicBezTo>
                    <a:pt x="186" y="180"/>
                    <a:pt x="186" y="180"/>
                    <a:pt x="186" y="180"/>
                  </a:cubicBezTo>
                  <a:cubicBezTo>
                    <a:pt x="186" y="180"/>
                    <a:pt x="186" y="180"/>
                    <a:pt x="186" y="180"/>
                  </a:cubicBezTo>
                  <a:cubicBezTo>
                    <a:pt x="186" y="179"/>
                    <a:pt x="186" y="179"/>
                    <a:pt x="186" y="179"/>
                  </a:cubicBezTo>
                  <a:cubicBezTo>
                    <a:pt x="186" y="178"/>
                    <a:pt x="186" y="178"/>
                    <a:pt x="186" y="178"/>
                  </a:cubicBezTo>
                  <a:cubicBezTo>
                    <a:pt x="186" y="177"/>
                    <a:pt x="186" y="177"/>
                    <a:pt x="186" y="177"/>
                  </a:cubicBezTo>
                  <a:cubicBezTo>
                    <a:pt x="184" y="175"/>
                    <a:pt x="184" y="175"/>
                    <a:pt x="184" y="175"/>
                  </a:cubicBezTo>
                  <a:cubicBezTo>
                    <a:pt x="183" y="175"/>
                    <a:pt x="183" y="175"/>
                    <a:pt x="183" y="175"/>
                  </a:cubicBezTo>
                  <a:cubicBezTo>
                    <a:pt x="183" y="175"/>
                    <a:pt x="183" y="175"/>
                    <a:pt x="183" y="175"/>
                  </a:cubicBezTo>
                  <a:cubicBezTo>
                    <a:pt x="183" y="174"/>
                    <a:pt x="183" y="174"/>
                    <a:pt x="183" y="174"/>
                  </a:cubicBezTo>
                  <a:cubicBezTo>
                    <a:pt x="183" y="173"/>
                    <a:pt x="183" y="173"/>
                    <a:pt x="183" y="173"/>
                  </a:cubicBezTo>
                  <a:cubicBezTo>
                    <a:pt x="183" y="172"/>
                    <a:pt x="183" y="172"/>
                    <a:pt x="183" y="172"/>
                  </a:cubicBezTo>
                  <a:cubicBezTo>
                    <a:pt x="183" y="171"/>
                    <a:pt x="183" y="171"/>
                    <a:pt x="183" y="171"/>
                  </a:cubicBezTo>
                  <a:cubicBezTo>
                    <a:pt x="182" y="171"/>
                    <a:pt x="182" y="171"/>
                    <a:pt x="182" y="171"/>
                  </a:cubicBezTo>
                  <a:cubicBezTo>
                    <a:pt x="181" y="170"/>
                    <a:pt x="181" y="170"/>
                    <a:pt x="181" y="170"/>
                  </a:cubicBezTo>
                  <a:cubicBezTo>
                    <a:pt x="180" y="169"/>
                    <a:pt x="180" y="169"/>
                    <a:pt x="180" y="169"/>
                  </a:cubicBezTo>
                  <a:cubicBezTo>
                    <a:pt x="180" y="169"/>
                    <a:pt x="180" y="169"/>
                    <a:pt x="180" y="169"/>
                  </a:cubicBezTo>
                  <a:cubicBezTo>
                    <a:pt x="180" y="169"/>
                    <a:pt x="180" y="169"/>
                    <a:pt x="180" y="169"/>
                  </a:cubicBezTo>
                  <a:cubicBezTo>
                    <a:pt x="180" y="170"/>
                    <a:pt x="180" y="170"/>
                    <a:pt x="180" y="170"/>
                  </a:cubicBezTo>
                  <a:cubicBezTo>
                    <a:pt x="179" y="170"/>
                    <a:pt x="179" y="170"/>
                    <a:pt x="179" y="170"/>
                  </a:cubicBezTo>
                  <a:cubicBezTo>
                    <a:pt x="179" y="170"/>
                    <a:pt x="179" y="170"/>
                    <a:pt x="179" y="170"/>
                  </a:cubicBezTo>
                  <a:cubicBezTo>
                    <a:pt x="179" y="171"/>
                    <a:pt x="179" y="171"/>
                    <a:pt x="179" y="171"/>
                  </a:cubicBezTo>
                  <a:cubicBezTo>
                    <a:pt x="179" y="171"/>
                    <a:pt x="179" y="171"/>
                    <a:pt x="179" y="171"/>
                  </a:cubicBezTo>
                  <a:cubicBezTo>
                    <a:pt x="178" y="171"/>
                    <a:pt x="178" y="171"/>
                    <a:pt x="178" y="171"/>
                  </a:cubicBezTo>
                  <a:cubicBezTo>
                    <a:pt x="178" y="171"/>
                    <a:pt x="178" y="171"/>
                    <a:pt x="178" y="171"/>
                  </a:cubicBezTo>
                  <a:cubicBezTo>
                    <a:pt x="179" y="171"/>
                    <a:pt x="179" y="171"/>
                    <a:pt x="179" y="171"/>
                  </a:cubicBezTo>
                  <a:cubicBezTo>
                    <a:pt x="179" y="172"/>
                    <a:pt x="179" y="172"/>
                    <a:pt x="179" y="172"/>
                  </a:cubicBezTo>
                  <a:cubicBezTo>
                    <a:pt x="179" y="172"/>
                    <a:pt x="179" y="172"/>
                    <a:pt x="179" y="172"/>
                  </a:cubicBezTo>
                  <a:cubicBezTo>
                    <a:pt x="180" y="173"/>
                    <a:pt x="180" y="173"/>
                    <a:pt x="180" y="173"/>
                  </a:cubicBezTo>
                  <a:cubicBezTo>
                    <a:pt x="179" y="174"/>
                    <a:pt x="179" y="174"/>
                    <a:pt x="179" y="174"/>
                  </a:cubicBezTo>
                  <a:cubicBezTo>
                    <a:pt x="179" y="174"/>
                    <a:pt x="179" y="174"/>
                    <a:pt x="179" y="174"/>
                  </a:cubicBezTo>
                  <a:cubicBezTo>
                    <a:pt x="179" y="175"/>
                    <a:pt x="179" y="175"/>
                    <a:pt x="179" y="175"/>
                  </a:cubicBezTo>
                  <a:cubicBezTo>
                    <a:pt x="180" y="175"/>
                    <a:pt x="180" y="175"/>
                    <a:pt x="180" y="175"/>
                  </a:cubicBezTo>
                  <a:cubicBezTo>
                    <a:pt x="180" y="176"/>
                    <a:pt x="180" y="176"/>
                    <a:pt x="180" y="176"/>
                  </a:cubicBezTo>
                  <a:cubicBezTo>
                    <a:pt x="179" y="175"/>
                    <a:pt x="179" y="175"/>
                    <a:pt x="179" y="175"/>
                  </a:cubicBezTo>
                  <a:cubicBezTo>
                    <a:pt x="179" y="175"/>
                    <a:pt x="179" y="175"/>
                    <a:pt x="179" y="175"/>
                  </a:cubicBezTo>
                  <a:cubicBezTo>
                    <a:pt x="178" y="176"/>
                    <a:pt x="178" y="176"/>
                    <a:pt x="178" y="176"/>
                  </a:cubicBezTo>
                  <a:cubicBezTo>
                    <a:pt x="179" y="176"/>
                    <a:pt x="179" y="176"/>
                    <a:pt x="179" y="176"/>
                  </a:cubicBezTo>
                  <a:cubicBezTo>
                    <a:pt x="180" y="177"/>
                    <a:pt x="180" y="177"/>
                    <a:pt x="180" y="177"/>
                  </a:cubicBezTo>
                  <a:cubicBezTo>
                    <a:pt x="179" y="177"/>
                    <a:pt x="179" y="177"/>
                    <a:pt x="179" y="177"/>
                  </a:cubicBezTo>
                  <a:cubicBezTo>
                    <a:pt x="179" y="177"/>
                    <a:pt x="179" y="177"/>
                    <a:pt x="179" y="177"/>
                  </a:cubicBezTo>
                  <a:cubicBezTo>
                    <a:pt x="179" y="177"/>
                    <a:pt x="179" y="177"/>
                    <a:pt x="179" y="177"/>
                  </a:cubicBezTo>
                  <a:cubicBezTo>
                    <a:pt x="178" y="177"/>
                    <a:pt x="178" y="177"/>
                    <a:pt x="178" y="177"/>
                  </a:cubicBezTo>
                  <a:cubicBezTo>
                    <a:pt x="178" y="177"/>
                    <a:pt x="178" y="177"/>
                    <a:pt x="178" y="177"/>
                  </a:cubicBezTo>
                  <a:cubicBezTo>
                    <a:pt x="178" y="178"/>
                    <a:pt x="178" y="178"/>
                    <a:pt x="178" y="178"/>
                  </a:cubicBezTo>
                  <a:cubicBezTo>
                    <a:pt x="178" y="178"/>
                    <a:pt x="178" y="178"/>
                    <a:pt x="178" y="178"/>
                  </a:cubicBezTo>
                  <a:cubicBezTo>
                    <a:pt x="177" y="178"/>
                    <a:pt x="177" y="178"/>
                    <a:pt x="177" y="178"/>
                  </a:cubicBezTo>
                  <a:cubicBezTo>
                    <a:pt x="177" y="177"/>
                    <a:pt x="177" y="177"/>
                    <a:pt x="177" y="177"/>
                  </a:cubicBezTo>
                  <a:cubicBezTo>
                    <a:pt x="176" y="176"/>
                    <a:pt x="176" y="176"/>
                    <a:pt x="176" y="176"/>
                  </a:cubicBezTo>
                  <a:cubicBezTo>
                    <a:pt x="176" y="175"/>
                    <a:pt x="176" y="175"/>
                    <a:pt x="176" y="175"/>
                  </a:cubicBezTo>
                  <a:cubicBezTo>
                    <a:pt x="175" y="176"/>
                    <a:pt x="175" y="176"/>
                    <a:pt x="175" y="176"/>
                  </a:cubicBezTo>
                  <a:cubicBezTo>
                    <a:pt x="175" y="176"/>
                    <a:pt x="175" y="176"/>
                    <a:pt x="175" y="176"/>
                  </a:cubicBezTo>
                  <a:cubicBezTo>
                    <a:pt x="176" y="177"/>
                    <a:pt x="176" y="177"/>
                    <a:pt x="176" y="177"/>
                  </a:cubicBezTo>
                  <a:cubicBezTo>
                    <a:pt x="176" y="178"/>
                    <a:pt x="176" y="178"/>
                    <a:pt x="176" y="178"/>
                  </a:cubicBezTo>
                  <a:cubicBezTo>
                    <a:pt x="176" y="179"/>
                    <a:pt x="176" y="179"/>
                    <a:pt x="176" y="179"/>
                  </a:cubicBezTo>
                  <a:cubicBezTo>
                    <a:pt x="176" y="178"/>
                    <a:pt x="176" y="178"/>
                    <a:pt x="176" y="178"/>
                  </a:cubicBezTo>
                  <a:cubicBezTo>
                    <a:pt x="175" y="178"/>
                    <a:pt x="175" y="178"/>
                    <a:pt x="175" y="178"/>
                  </a:cubicBezTo>
                  <a:cubicBezTo>
                    <a:pt x="175" y="178"/>
                    <a:pt x="175" y="178"/>
                    <a:pt x="175" y="178"/>
                  </a:cubicBezTo>
                  <a:cubicBezTo>
                    <a:pt x="174" y="178"/>
                    <a:pt x="174" y="178"/>
                    <a:pt x="174" y="178"/>
                  </a:cubicBezTo>
                  <a:cubicBezTo>
                    <a:pt x="174" y="178"/>
                    <a:pt x="174" y="178"/>
                    <a:pt x="174" y="178"/>
                  </a:cubicBezTo>
                  <a:cubicBezTo>
                    <a:pt x="174" y="178"/>
                    <a:pt x="174" y="178"/>
                    <a:pt x="174" y="178"/>
                  </a:cubicBezTo>
                  <a:cubicBezTo>
                    <a:pt x="173" y="178"/>
                    <a:pt x="173" y="178"/>
                    <a:pt x="173" y="178"/>
                  </a:cubicBezTo>
                  <a:cubicBezTo>
                    <a:pt x="173" y="179"/>
                    <a:pt x="173" y="179"/>
                    <a:pt x="173" y="179"/>
                  </a:cubicBezTo>
                  <a:cubicBezTo>
                    <a:pt x="173" y="179"/>
                    <a:pt x="173" y="179"/>
                    <a:pt x="173" y="179"/>
                  </a:cubicBezTo>
                  <a:cubicBezTo>
                    <a:pt x="172" y="178"/>
                    <a:pt x="172" y="178"/>
                    <a:pt x="172" y="178"/>
                  </a:cubicBezTo>
                  <a:cubicBezTo>
                    <a:pt x="172" y="178"/>
                    <a:pt x="172" y="178"/>
                    <a:pt x="172" y="178"/>
                  </a:cubicBezTo>
                  <a:cubicBezTo>
                    <a:pt x="172" y="178"/>
                    <a:pt x="172" y="178"/>
                    <a:pt x="172" y="178"/>
                  </a:cubicBezTo>
                  <a:cubicBezTo>
                    <a:pt x="171" y="179"/>
                    <a:pt x="171" y="179"/>
                    <a:pt x="171" y="179"/>
                  </a:cubicBezTo>
                  <a:cubicBezTo>
                    <a:pt x="171" y="180"/>
                    <a:pt x="171" y="180"/>
                    <a:pt x="171" y="180"/>
                  </a:cubicBezTo>
                  <a:cubicBezTo>
                    <a:pt x="171" y="180"/>
                    <a:pt x="171" y="180"/>
                    <a:pt x="171" y="180"/>
                  </a:cubicBezTo>
                  <a:cubicBezTo>
                    <a:pt x="171" y="181"/>
                    <a:pt x="171" y="181"/>
                    <a:pt x="171" y="181"/>
                  </a:cubicBezTo>
                  <a:cubicBezTo>
                    <a:pt x="173" y="180"/>
                    <a:pt x="173" y="180"/>
                    <a:pt x="173" y="180"/>
                  </a:cubicBezTo>
                  <a:cubicBezTo>
                    <a:pt x="174" y="180"/>
                    <a:pt x="174" y="180"/>
                    <a:pt x="174" y="180"/>
                  </a:cubicBezTo>
                  <a:cubicBezTo>
                    <a:pt x="175" y="181"/>
                    <a:pt x="175" y="181"/>
                    <a:pt x="175" y="181"/>
                  </a:cubicBezTo>
                  <a:cubicBezTo>
                    <a:pt x="175" y="182"/>
                    <a:pt x="175" y="182"/>
                    <a:pt x="175" y="182"/>
                  </a:cubicBezTo>
                  <a:cubicBezTo>
                    <a:pt x="175" y="182"/>
                    <a:pt x="175" y="182"/>
                    <a:pt x="175" y="182"/>
                  </a:cubicBezTo>
                  <a:cubicBezTo>
                    <a:pt x="175" y="183"/>
                    <a:pt x="175" y="183"/>
                    <a:pt x="175" y="183"/>
                  </a:cubicBezTo>
                  <a:cubicBezTo>
                    <a:pt x="177" y="185"/>
                    <a:pt x="177" y="185"/>
                    <a:pt x="177" y="185"/>
                  </a:cubicBezTo>
                  <a:cubicBezTo>
                    <a:pt x="176" y="185"/>
                    <a:pt x="176" y="185"/>
                    <a:pt x="176" y="185"/>
                  </a:cubicBezTo>
                  <a:cubicBezTo>
                    <a:pt x="175" y="185"/>
                    <a:pt x="175" y="185"/>
                    <a:pt x="175" y="185"/>
                  </a:cubicBezTo>
                  <a:cubicBezTo>
                    <a:pt x="173" y="184"/>
                    <a:pt x="173" y="184"/>
                    <a:pt x="173" y="184"/>
                  </a:cubicBezTo>
                  <a:cubicBezTo>
                    <a:pt x="173" y="183"/>
                    <a:pt x="173" y="183"/>
                    <a:pt x="173" y="183"/>
                  </a:cubicBezTo>
                  <a:cubicBezTo>
                    <a:pt x="173" y="183"/>
                    <a:pt x="173" y="183"/>
                    <a:pt x="173" y="183"/>
                  </a:cubicBezTo>
                  <a:cubicBezTo>
                    <a:pt x="173" y="182"/>
                    <a:pt x="173" y="182"/>
                    <a:pt x="173" y="182"/>
                  </a:cubicBezTo>
                  <a:cubicBezTo>
                    <a:pt x="173" y="182"/>
                    <a:pt x="173" y="182"/>
                    <a:pt x="173" y="182"/>
                  </a:cubicBezTo>
                  <a:cubicBezTo>
                    <a:pt x="173" y="182"/>
                    <a:pt x="173" y="182"/>
                    <a:pt x="173" y="182"/>
                  </a:cubicBezTo>
                  <a:cubicBezTo>
                    <a:pt x="171" y="182"/>
                    <a:pt x="171" y="182"/>
                    <a:pt x="171" y="182"/>
                  </a:cubicBezTo>
                  <a:cubicBezTo>
                    <a:pt x="171" y="182"/>
                    <a:pt x="171" y="182"/>
                    <a:pt x="171" y="182"/>
                  </a:cubicBezTo>
                  <a:cubicBezTo>
                    <a:pt x="170" y="181"/>
                    <a:pt x="170" y="181"/>
                    <a:pt x="170" y="181"/>
                  </a:cubicBezTo>
                  <a:cubicBezTo>
                    <a:pt x="170" y="181"/>
                    <a:pt x="170" y="181"/>
                    <a:pt x="170" y="181"/>
                  </a:cubicBezTo>
                  <a:cubicBezTo>
                    <a:pt x="170" y="180"/>
                    <a:pt x="170" y="180"/>
                    <a:pt x="170" y="180"/>
                  </a:cubicBezTo>
                  <a:cubicBezTo>
                    <a:pt x="169" y="180"/>
                    <a:pt x="169" y="180"/>
                    <a:pt x="169" y="180"/>
                  </a:cubicBezTo>
                  <a:cubicBezTo>
                    <a:pt x="169" y="180"/>
                    <a:pt x="169" y="180"/>
                    <a:pt x="169" y="180"/>
                  </a:cubicBezTo>
                  <a:cubicBezTo>
                    <a:pt x="169" y="180"/>
                    <a:pt x="169" y="180"/>
                    <a:pt x="169" y="180"/>
                  </a:cubicBezTo>
                  <a:cubicBezTo>
                    <a:pt x="169" y="180"/>
                    <a:pt x="169" y="180"/>
                    <a:pt x="169" y="180"/>
                  </a:cubicBezTo>
                  <a:cubicBezTo>
                    <a:pt x="169" y="181"/>
                    <a:pt x="169" y="181"/>
                    <a:pt x="169" y="181"/>
                  </a:cubicBezTo>
                  <a:cubicBezTo>
                    <a:pt x="169" y="181"/>
                    <a:pt x="169" y="181"/>
                    <a:pt x="169" y="181"/>
                  </a:cubicBezTo>
                  <a:cubicBezTo>
                    <a:pt x="169" y="181"/>
                    <a:pt x="169" y="181"/>
                    <a:pt x="169" y="181"/>
                  </a:cubicBezTo>
                  <a:cubicBezTo>
                    <a:pt x="169" y="181"/>
                    <a:pt x="169" y="181"/>
                    <a:pt x="169" y="181"/>
                  </a:cubicBezTo>
                  <a:cubicBezTo>
                    <a:pt x="169" y="181"/>
                    <a:pt x="169" y="181"/>
                    <a:pt x="169" y="181"/>
                  </a:cubicBezTo>
                  <a:cubicBezTo>
                    <a:pt x="169" y="182"/>
                    <a:pt x="169" y="182"/>
                    <a:pt x="169" y="182"/>
                  </a:cubicBezTo>
                  <a:cubicBezTo>
                    <a:pt x="170" y="182"/>
                    <a:pt x="170" y="182"/>
                    <a:pt x="170" y="182"/>
                  </a:cubicBezTo>
                  <a:cubicBezTo>
                    <a:pt x="170" y="183"/>
                    <a:pt x="170" y="183"/>
                    <a:pt x="170" y="183"/>
                  </a:cubicBezTo>
                  <a:cubicBezTo>
                    <a:pt x="169" y="183"/>
                    <a:pt x="169" y="183"/>
                    <a:pt x="169" y="183"/>
                  </a:cubicBezTo>
                  <a:cubicBezTo>
                    <a:pt x="167" y="181"/>
                    <a:pt x="167" y="181"/>
                    <a:pt x="167" y="181"/>
                  </a:cubicBezTo>
                  <a:cubicBezTo>
                    <a:pt x="166" y="181"/>
                    <a:pt x="166" y="181"/>
                    <a:pt x="166" y="181"/>
                  </a:cubicBezTo>
                  <a:cubicBezTo>
                    <a:pt x="166" y="181"/>
                    <a:pt x="166" y="181"/>
                    <a:pt x="166" y="181"/>
                  </a:cubicBezTo>
                  <a:cubicBezTo>
                    <a:pt x="166" y="181"/>
                    <a:pt x="166" y="181"/>
                    <a:pt x="166" y="181"/>
                  </a:cubicBezTo>
                  <a:cubicBezTo>
                    <a:pt x="165" y="182"/>
                    <a:pt x="165" y="182"/>
                    <a:pt x="165" y="182"/>
                  </a:cubicBezTo>
                  <a:cubicBezTo>
                    <a:pt x="165" y="183"/>
                    <a:pt x="165" y="183"/>
                    <a:pt x="165" y="183"/>
                  </a:cubicBezTo>
                  <a:cubicBezTo>
                    <a:pt x="168" y="183"/>
                    <a:pt x="168" y="183"/>
                    <a:pt x="168" y="183"/>
                  </a:cubicBezTo>
                  <a:cubicBezTo>
                    <a:pt x="168" y="183"/>
                    <a:pt x="168" y="183"/>
                    <a:pt x="168" y="183"/>
                  </a:cubicBezTo>
                  <a:cubicBezTo>
                    <a:pt x="168" y="183"/>
                    <a:pt x="168" y="183"/>
                    <a:pt x="168" y="183"/>
                  </a:cubicBezTo>
                  <a:cubicBezTo>
                    <a:pt x="168" y="184"/>
                    <a:pt x="168" y="184"/>
                    <a:pt x="168" y="184"/>
                  </a:cubicBezTo>
                  <a:cubicBezTo>
                    <a:pt x="168" y="184"/>
                    <a:pt x="168" y="184"/>
                    <a:pt x="168" y="184"/>
                  </a:cubicBezTo>
                  <a:cubicBezTo>
                    <a:pt x="169" y="184"/>
                    <a:pt x="169" y="184"/>
                    <a:pt x="169" y="184"/>
                  </a:cubicBezTo>
                  <a:cubicBezTo>
                    <a:pt x="169" y="184"/>
                    <a:pt x="169" y="184"/>
                    <a:pt x="169" y="184"/>
                  </a:cubicBezTo>
                  <a:cubicBezTo>
                    <a:pt x="169" y="185"/>
                    <a:pt x="169" y="185"/>
                    <a:pt x="169" y="185"/>
                  </a:cubicBezTo>
                  <a:cubicBezTo>
                    <a:pt x="169" y="186"/>
                    <a:pt x="169" y="186"/>
                    <a:pt x="169" y="186"/>
                  </a:cubicBezTo>
                  <a:cubicBezTo>
                    <a:pt x="170" y="186"/>
                    <a:pt x="170" y="186"/>
                    <a:pt x="170" y="186"/>
                  </a:cubicBezTo>
                  <a:cubicBezTo>
                    <a:pt x="170" y="186"/>
                    <a:pt x="170" y="186"/>
                    <a:pt x="170" y="186"/>
                  </a:cubicBezTo>
                  <a:cubicBezTo>
                    <a:pt x="170" y="186"/>
                    <a:pt x="170" y="186"/>
                    <a:pt x="170" y="186"/>
                  </a:cubicBezTo>
                  <a:cubicBezTo>
                    <a:pt x="169" y="187"/>
                    <a:pt x="169" y="187"/>
                    <a:pt x="169" y="187"/>
                  </a:cubicBezTo>
                  <a:cubicBezTo>
                    <a:pt x="169" y="187"/>
                    <a:pt x="169" y="187"/>
                    <a:pt x="169" y="187"/>
                  </a:cubicBezTo>
                  <a:cubicBezTo>
                    <a:pt x="168" y="186"/>
                    <a:pt x="168" y="186"/>
                    <a:pt x="168" y="186"/>
                  </a:cubicBezTo>
                  <a:cubicBezTo>
                    <a:pt x="167" y="185"/>
                    <a:pt x="167" y="185"/>
                    <a:pt x="167" y="185"/>
                  </a:cubicBezTo>
                  <a:cubicBezTo>
                    <a:pt x="166" y="185"/>
                    <a:pt x="166" y="185"/>
                    <a:pt x="166" y="185"/>
                  </a:cubicBezTo>
                  <a:cubicBezTo>
                    <a:pt x="166" y="186"/>
                    <a:pt x="166" y="186"/>
                    <a:pt x="166" y="186"/>
                  </a:cubicBezTo>
                  <a:cubicBezTo>
                    <a:pt x="167" y="186"/>
                    <a:pt x="167" y="186"/>
                    <a:pt x="167" y="186"/>
                  </a:cubicBezTo>
                  <a:cubicBezTo>
                    <a:pt x="168" y="187"/>
                    <a:pt x="168" y="187"/>
                    <a:pt x="168" y="187"/>
                  </a:cubicBezTo>
                  <a:cubicBezTo>
                    <a:pt x="168" y="188"/>
                    <a:pt x="168" y="188"/>
                    <a:pt x="168" y="188"/>
                  </a:cubicBezTo>
                  <a:cubicBezTo>
                    <a:pt x="166" y="187"/>
                    <a:pt x="166" y="187"/>
                    <a:pt x="166" y="187"/>
                  </a:cubicBezTo>
                  <a:cubicBezTo>
                    <a:pt x="166" y="186"/>
                    <a:pt x="166" y="186"/>
                    <a:pt x="166" y="186"/>
                  </a:cubicBezTo>
                  <a:cubicBezTo>
                    <a:pt x="165" y="186"/>
                    <a:pt x="165" y="186"/>
                    <a:pt x="165" y="186"/>
                  </a:cubicBezTo>
                  <a:cubicBezTo>
                    <a:pt x="165" y="187"/>
                    <a:pt x="165" y="187"/>
                    <a:pt x="165" y="187"/>
                  </a:cubicBezTo>
                  <a:cubicBezTo>
                    <a:pt x="165" y="187"/>
                    <a:pt x="165" y="187"/>
                    <a:pt x="165" y="187"/>
                  </a:cubicBezTo>
                  <a:cubicBezTo>
                    <a:pt x="164" y="187"/>
                    <a:pt x="164" y="187"/>
                    <a:pt x="164" y="187"/>
                  </a:cubicBezTo>
                  <a:cubicBezTo>
                    <a:pt x="165" y="188"/>
                    <a:pt x="165" y="188"/>
                    <a:pt x="165" y="188"/>
                  </a:cubicBezTo>
                  <a:cubicBezTo>
                    <a:pt x="164" y="189"/>
                    <a:pt x="164" y="189"/>
                    <a:pt x="164" y="189"/>
                  </a:cubicBezTo>
                  <a:cubicBezTo>
                    <a:pt x="165" y="190"/>
                    <a:pt x="165" y="190"/>
                    <a:pt x="165" y="190"/>
                  </a:cubicBezTo>
                  <a:cubicBezTo>
                    <a:pt x="166" y="190"/>
                    <a:pt x="166" y="190"/>
                    <a:pt x="166" y="190"/>
                  </a:cubicBezTo>
                  <a:cubicBezTo>
                    <a:pt x="166" y="190"/>
                    <a:pt x="166" y="190"/>
                    <a:pt x="166" y="190"/>
                  </a:cubicBezTo>
                  <a:cubicBezTo>
                    <a:pt x="165" y="190"/>
                    <a:pt x="165" y="190"/>
                    <a:pt x="165" y="190"/>
                  </a:cubicBezTo>
                  <a:cubicBezTo>
                    <a:pt x="165" y="191"/>
                    <a:pt x="165" y="191"/>
                    <a:pt x="165" y="191"/>
                  </a:cubicBezTo>
                  <a:cubicBezTo>
                    <a:pt x="164" y="191"/>
                    <a:pt x="164" y="191"/>
                    <a:pt x="164" y="191"/>
                  </a:cubicBezTo>
                  <a:cubicBezTo>
                    <a:pt x="164" y="191"/>
                    <a:pt x="164" y="191"/>
                    <a:pt x="164" y="191"/>
                  </a:cubicBezTo>
                  <a:cubicBezTo>
                    <a:pt x="163" y="191"/>
                    <a:pt x="163" y="191"/>
                    <a:pt x="163" y="191"/>
                  </a:cubicBezTo>
                  <a:cubicBezTo>
                    <a:pt x="163" y="191"/>
                    <a:pt x="163" y="191"/>
                    <a:pt x="163" y="191"/>
                  </a:cubicBezTo>
                  <a:cubicBezTo>
                    <a:pt x="163" y="192"/>
                    <a:pt x="163" y="192"/>
                    <a:pt x="163" y="192"/>
                  </a:cubicBezTo>
                  <a:cubicBezTo>
                    <a:pt x="163" y="193"/>
                    <a:pt x="163" y="193"/>
                    <a:pt x="163" y="193"/>
                  </a:cubicBezTo>
                  <a:cubicBezTo>
                    <a:pt x="162" y="192"/>
                    <a:pt x="162" y="192"/>
                    <a:pt x="162" y="192"/>
                  </a:cubicBezTo>
                  <a:cubicBezTo>
                    <a:pt x="161" y="192"/>
                    <a:pt x="161" y="192"/>
                    <a:pt x="161" y="192"/>
                  </a:cubicBezTo>
                  <a:cubicBezTo>
                    <a:pt x="161" y="193"/>
                    <a:pt x="161" y="193"/>
                    <a:pt x="161" y="193"/>
                  </a:cubicBezTo>
                  <a:cubicBezTo>
                    <a:pt x="161" y="193"/>
                    <a:pt x="161" y="193"/>
                    <a:pt x="161" y="193"/>
                  </a:cubicBezTo>
                  <a:cubicBezTo>
                    <a:pt x="160" y="193"/>
                    <a:pt x="160" y="193"/>
                    <a:pt x="160" y="193"/>
                  </a:cubicBezTo>
                  <a:cubicBezTo>
                    <a:pt x="159" y="194"/>
                    <a:pt x="159" y="194"/>
                    <a:pt x="159" y="194"/>
                  </a:cubicBezTo>
                  <a:cubicBezTo>
                    <a:pt x="158" y="195"/>
                    <a:pt x="158" y="195"/>
                    <a:pt x="158" y="195"/>
                  </a:cubicBezTo>
                  <a:cubicBezTo>
                    <a:pt x="161" y="195"/>
                    <a:pt x="161" y="195"/>
                    <a:pt x="161" y="195"/>
                  </a:cubicBezTo>
                  <a:cubicBezTo>
                    <a:pt x="162" y="196"/>
                    <a:pt x="162" y="196"/>
                    <a:pt x="162" y="196"/>
                  </a:cubicBezTo>
                  <a:cubicBezTo>
                    <a:pt x="162" y="198"/>
                    <a:pt x="162" y="198"/>
                    <a:pt x="162" y="198"/>
                  </a:cubicBezTo>
                  <a:cubicBezTo>
                    <a:pt x="162" y="198"/>
                    <a:pt x="162" y="198"/>
                    <a:pt x="162" y="198"/>
                  </a:cubicBezTo>
                  <a:cubicBezTo>
                    <a:pt x="161" y="197"/>
                    <a:pt x="161" y="197"/>
                    <a:pt x="161" y="197"/>
                  </a:cubicBezTo>
                  <a:cubicBezTo>
                    <a:pt x="160" y="196"/>
                    <a:pt x="160" y="196"/>
                    <a:pt x="160" y="196"/>
                  </a:cubicBezTo>
                  <a:cubicBezTo>
                    <a:pt x="159" y="197"/>
                    <a:pt x="159" y="197"/>
                    <a:pt x="159" y="197"/>
                  </a:cubicBezTo>
                  <a:cubicBezTo>
                    <a:pt x="158" y="197"/>
                    <a:pt x="158" y="197"/>
                    <a:pt x="158" y="197"/>
                  </a:cubicBezTo>
                  <a:cubicBezTo>
                    <a:pt x="158" y="197"/>
                    <a:pt x="158" y="197"/>
                    <a:pt x="158" y="197"/>
                  </a:cubicBezTo>
                  <a:cubicBezTo>
                    <a:pt x="158" y="197"/>
                    <a:pt x="158" y="197"/>
                    <a:pt x="158" y="197"/>
                  </a:cubicBezTo>
                  <a:cubicBezTo>
                    <a:pt x="158" y="197"/>
                    <a:pt x="158" y="197"/>
                    <a:pt x="158" y="197"/>
                  </a:cubicBezTo>
                  <a:cubicBezTo>
                    <a:pt x="157" y="197"/>
                    <a:pt x="157" y="197"/>
                    <a:pt x="157" y="197"/>
                  </a:cubicBezTo>
                  <a:cubicBezTo>
                    <a:pt x="157" y="197"/>
                    <a:pt x="157" y="197"/>
                    <a:pt x="157" y="197"/>
                  </a:cubicBezTo>
                  <a:cubicBezTo>
                    <a:pt x="156" y="197"/>
                    <a:pt x="156" y="197"/>
                    <a:pt x="156" y="197"/>
                  </a:cubicBezTo>
                  <a:cubicBezTo>
                    <a:pt x="156" y="197"/>
                    <a:pt x="156" y="197"/>
                    <a:pt x="156" y="197"/>
                  </a:cubicBezTo>
                  <a:cubicBezTo>
                    <a:pt x="156" y="197"/>
                    <a:pt x="156" y="197"/>
                    <a:pt x="156" y="197"/>
                  </a:cubicBezTo>
                  <a:cubicBezTo>
                    <a:pt x="156" y="198"/>
                    <a:pt x="156" y="198"/>
                    <a:pt x="156" y="198"/>
                  </a:cubicBezTo>
                  <a:cubicBezTo>
                    <a:pt x="157" y="198"/>
                    <a:pt x="157" y="198"/>
                    <a:pt x="157" y="198"/>
                  </a:cubicBezTo>
                  <a:cubicBezTo>
                    <a:pt x="156" y="199"/>
                    <a:pt x="156" y="199"/>
                    <a:pt x="156" y="199"/>
                  </a:cubicBezTo>
                  <a:cubicBezTo>
                    <a:pt x="156" y="199"/>
                    <a:pt x="156" y="199"/>
                    <a:pt x="156" y="199"/>
                  </a:cubicBezTo>
                  <a:cubicBezTo>
                    <a:pt x="157" y="200"/>
                    <a:pt x="157" y="200"/>
                    <a:pt x="157" y="200"/>
                  </a:cubicBezTo>
                  <a:cubicBezTo>
                    <a:pt x="157" y="200"/>
                    <a:pt x="157" y="200"/>
                    <a:pt x="157" y="200"/>
                  </a:cubicBezTo>
                  <a:cubicBezTo>
                    <a:pt x="156" y="200"/>
                    <a:pt x="156" y="200"/>
                    <a:pt x="156" y="200"/>
                  </a:cubicBezTo>
                  <a:cubicBezTo>
                    <a:pt x="156" y="200"/>
                    <a:pt x="156" y="200"/>
                    <a:pt x="156" y="200"/>
                  </a:cubicBezTo>
                  <a:cubicBezTo>
                    <a:pt x="156" y="200"/>
                    <a:pt x="156" y="200"/>
                    <a:pt x="156" y="200"/>
                  </a:cubicBezTo>
                  <a:cubicBezTo>
                    <a:pt x="156" y="201"/>
                    <a:pt x="156" y="201"/>
                    <a:pt x="156" y="201"/>
                  </a:cubicBezTo>
                  <a:cubicBezTo>
                    <a:pt x="156" y="201"/>
                    <a:pt x="156" y="201"/>
                    <a:pt x="156" y="201"/>
                  </a:cubicBezTo>
                  <a:cubicBezTo>
                    <a:pt x="155" y="201"/>
                    <a:pt x="155" y="201"/>
                    <a:pt x="155" y="201"/>
                  </a:cubicBezTo>
                  <a:cubicBezTo>
                    <a:pt x="155" y="202"/>
                    <a:pt x="155" y="202"/>
                    <a:pt x="155" y="202"/>
                  </a:cubicBezTo>
                  <a:cubicBezTo>
                    <a:pt x="154" y="203"/>
                    <a:pt x="154" y="203"/>
                    <a:pt x="154" y="203"/>
                  </a:cubicBezTo>
                  <a:cubicBezTo>
                    <a:pt x="157" y="203"/>
                    <a:pt x="157" y="203"/>
                    <a:pt x="157" y="203"/>
                  </a:cubicBezTo>
                  <a:cubicBezTo>
                    <a:pt x="158" y="202"/>
                    <a:pt x="158" y="202"/>
                    <a:pt x="158" y="202"/>
                  </a:cubicBezTo>
                  <a:cubicBezTo>
                    <a:pt x="157" y="203"/>
                    <a:pt x="157" y="203"/>
                    <a:pt x="157" y="203"/>
                  </a:cubicBezTo>
                  <a:cubicBezTo>
                    <a:pt x="157" y="204"/>
                    <a:pt x="157" y="204"/>
                    <a:pt x="157" y="204"/>
                  </a:cubicBezTo>
                  <a:cubicBezTo>
                    <a:pt x="154" y="204"/>
                    <a:pt x="154" y="204"/>
                    <a:pt x="154" y="204"/>
                  </a:cubicBezTo>
                  <a:cubicBezTo>
                    <a:pt x="154" y="204"/>
                    <a:pt x="154" y="204"/>
                    <a:pt x="154" y="204"/>
                  </a:cubicBezTo>
                  <a:cubicBezTo>
                    <a:pt x="154" y="204"/>
                    <a:pt x="154" y="204"/>
                    <a:pt x="154" y="204"/>
                  </a:cubicBezTo>
                  <a:cubicBezTo>
                    <a:pt x="152" y="203"/>
                    <a:pt x="152" y="203"/>
                    <a:pt x="152" y="203"/>
                  </a:cubicBezTo>
                  <a:cubicBezTo>
                    <a:pt x="151" y="203"/>
                    <a:pt x="151" y="203"/>
                    <a:pt x="151" y="203"/>
                  </a:cubicBezTo>
                  <a:cubicBezTo>
                    <a:pt x="151" y="203"/>
                    <a:pt x="151" y="203"/>
                    <a:pt x="151" y="203"/>
                  </a:cubicBezTo>
                  <a:cubicBezTo>
                    <a:pt x="151" y="204"/>
                    <a:pt x="151" y="204"/>
                    <a:pt x="151" y="204"/>
                  </a:cubicBezTo>
                  <a:cubicBezTo>
                    <a:pt x="151" y="205"/>
                    <a:pt x="151" y="205"/>
                    <a:pt x="151" y="205"/>
                  </a:cubicBezTo>
                  <a:cubicBezTo>
                    <a:pt x="151" y="206"/>
                    <a:pt x="151" y="206"/>
                    <a:pt x="151" y="206"/>
                  </a:cubicBezTo>
                  <a:cubicBezTo>
                    <a:pt x="152" y="206"/>
                    <a:pt x="152" y="206"/>
                    <a:pt x="152" y="206"/>
                  </a:cubicBezTo>
                  <a:cubicBezTo>
                    <a:pt x="151" y="207"/>
                    <a:pt x="151" y="207"/>
                    <a:pt x="151" y="207"/>
                  </a:cubicBezTo>
                  <a:cubicBezTo>
                    <a:pt x="151" y="208"/>
                    <a:pt x="151" y="208"/>
                    <a:pt x="151" y="208"/>
                  </a:cubicBezTo>
                  <a:cubicBezTo>
                    <a:pt x="152" y="208"/>
                    <a:pt x="152" y="208"/>
                    <a:pt x="152" y="208"/>
                  </a:cubicBezTo>
                  <a:cubicBezTo>
                    <a:pt x="151" y="208"/>
                    <a:pt x="151" y="208"/>
                    <a:pt x="151" y="208"/>
                  </a:cubicBezTo>
                  <a:cubicBezTo>
                    <a:pt x="151" y="209"/>
                    <a:pt x="151" y="209"/>
                    <a:pt x="151" y="209"/>
                  </a:cubicBezTo>
                  <a:cubicBezTo>
                    <a:pt x="151" y="210"/>
                    <a:pt x="151" y="210"/>
                    <a:pt x="151" y="210"/>
                  </a:cubicBezTo>
                  <a:cubicBezTo>
                    <a:pt x="151" y="211"/>
                    <a:pt x="151" y="211"/>
                    <a:pt x="151" y="211"/>
                  </a:cubicBezTo>
                  <a:cubicBezTo>
                    <a:pt x="150" y="212"/>
                    <a:pt x="150" y="212"/>
                    <a:pt x="150" y="212"/>
                  </a:cubicBezTo>
                  <a:cubicBezTo>
                    <a:pt x="149" y="212"/>
                    <a:pt x="149" y="212"/>
                    <a:pt x="149" y="212"/>
                  </a:cubicBezTo>
                  <a:cubicBezTo>
                    <a:pt x="149" y="213"/>
                    <a:pt x="149" y="213"/>
                    <a:pt x="149" y="213"/>
                  </a:cubicBezTo>
                  <a:cubicBezTo>
                    <a:pt x="150" y="213"/>
                    <a:pt x="150" y="213"/>
                    <a:pt x="150" y="213"/>
                  </a:cubicBezTo>
                  <a:cubicBezTo>
                    <a:pt x="151" y="213"/>
                    <a:pt x="151" y="213"/>
                    <a:pt x="151" y="213"/>
                  </a:cubicBezTo>
                  <a:cubicBezTo>
                    <a:pt x="153" y="212"/>
                    <a:pt x="153" y="212"/>
                    <a:pt x="153" y="212"/>
                  </a:cubicBezTo>
                  <a:cubicBezTo>
                    <a:pt x="153" y="212"/>
                    <a:pt x="153" y="212"/>
                    <a:pt x="153" y="212"/>
                  </a:cubicBezTo>
                  <a:cubicBezTo>
                    <a:pt x="153" y="212"/>
                    <a:pt x="153" y="212"/>
                    <a:pt x="153" y="212"/>
                  </a:cubicBezTo>
                  <a:cubicBezTo>
                    <a:pt x="154" y="212"/>
                    <a:pt x="154" y="212"/>
                    <a:pt x="154" y="212"/>
                  </a:cubicBezTo>
                  <a:cubicBezTo>
                    <a:pt x="154" y="212"/>
                    <a:pt x="154" y="212"/>
                    <a:pt x="154" y="212"/>
                  </a:cubicBezTo>
                  <a:cubicBezTo>
                    <a:pt x="154" y="212"/>
                    <a:pt x="154" y="212"/>
                    <a:pt x="154" y="212"/>
                  </a:cubicBezTo>
                  <a:cubicBezTo>
                    <a:pt x="154" y="211"/>
                    <a:pt x="154" y="211"/>
                    <a:pt x="154" y="211"/>
                  </a:cubicBezTo>
                  <a:cubicBezTo>
                    <a:pt x="155" y="212"/>
                    <a:pt x="155" y="212"/>
                    <a:pt x="155" y="212"/>
                  </a:cubicBezTo>
                  <a:cubicBezTo>
                    <a:pt x="154" y="213"/>
                    <a:pt x="154" y="213"/>
                    <a:pt x="154" y="213"/>
                  </a:cubicBezTo>
                  <a:cubicBezTo>
                    <a:pt x="150" y="215"/>
                    <a:pt x="150" y="215"/>
                    <a:pt x="150" y="215"/>
                  </a:cubicBezTo>
                  <a:cubicBezTo>
                    <a:pt x="149" y="216"/>
                    <a:pt x="149" y="216"/>
                    <a:pt x="149" y="216"/>
                  </a:cubicBezTo>
                  <a:cubicBezTo>
                    <a:pt x="150" y="216"/>
                    <a:pt x="150" y="216"/>
                    <a:pt x="150" y="216"/>
                  </a:cubicBezTo>
                  <a:cubicBezTo>
                    <a:pt x="151" y="215"/>
                    <a:pt x="151" y="215"/>
                    <a:pt x="151" y="215"/>
                  </a:cubicBezTo>
                  <a:cubicBezTo>
                    <a:pt x="152" y="215"/>
                    <a:pt x="152" y="215"/>
                    <a:pt x="152" y="215"/>
                  </a:cubicBezTo>
                  <a:cubicBezTo>
                    <a:pt x="153" y="214"/>
                    <a:pt x="153" y="214"/>
                    <a:pt x="153" y="214"/>
                  </a:cubicBezTo>
                  <a:cubicBezTo>
                    <a:pt x="154" y="214"/>
                    <a:pt x="154" y="214"/>
                    <a:pt x="154" y="214"/>
                  </a:cubicBezTo>
                  <a:cubicBezTo>
                    <a:pt x="155" y="213"/>
                    <a:pt x="155" y="213"/>
                    <a:pt x="155" y="213"/>
                  </a:cubicBezTo>
                  <a:cubicBezTo>
                    <a:pt x="155" y="213"/>
                    <a:pt x="155" y="213"/>
                    <a:pt x="155" y="213"/>
                  </a:cubicBezTo>
                  <a:cubicBezTo>
                    <a:pt x="156" y="213"/>
                    <a:pt x="156" y="213"/>
                    <a:pt x="156" y="213"/>
                  </a:cubicBezTo>
                  <a:cubicBezTo>
                    <a:pt x="156" y="213"/>
                    <a:pt x="156" y="213"/>
                    <a:pt x="156" y="213"/>
                  </a:cubicBezTo>
                  <a:cubicBezTo>
                    <a:pt x="157" y="215"/>
                    <a:pt x="157" y="215"/>
                    <a:pt x="157" y="215"/>
                  </a:cubicBezTo>
                  <a:cubicBezTo>
                    <a:pt x="156" y="215"/>
                    <a:pt x="156" y="215"/>
                    <a:pt x="156" y="215"/>
                  </a:cubicBezTo>
                  <a:cubicBezTo>
                    <a:pt x="154" y="215"/>
                    <a:pt x="154" y="215"/>
                    <a:pt x="154" y="215"/>
                  </a:cubicBezTo>
                  <a:cubicBezTo>
                    <a:pt x="153" y="216"/>
                    <a:pt x="153" y="216"/>
                    <a:pt x="153" y="216"/>
                  </a:cubicBezTo>
                  <a:cubicBezTo>
                    <a:pt x="150" y="217"/>
                    <a:pt x="150" y="217"/>
                    <a:pt x="150" y="217"/>
                  </a:cubicBezTo>
                  <a:cubicBezTo>
                    <a:pt x="149" y="218"/>
                    <a:pt x="149" y="218"/>
                    <a:pt x="149" y="218"/>
                  </a:cubicBezTo>
                  <a:cubicBezTo>
                    <a:pt x="149" y="218"/>
                    <a:pt x="149" y="218"/>
                    <a:pt x="149" y="218"/>
                  </a:cubicBezTo>
                  <a:cubicBezTo>
                    <a:pt x="148" y="218"/>
                    <a:pt x="148" y="218"/>
                    <a:pt x="148" y="218"/>
                  </a:cubicBezTo>
                  <a:cubicBezTo>
                    <a:pt x="149" y="218"/>
                    <a:pt x="149" y="218"/>
                    <a:pt x="149" y="218"/>
                  </a:cubicBezTo>
                  <a:cubicBezTo>
                    <a:pt x="148" y="217"/>
                    <a:pt x="148" y="217"/>
                    <a:pt x="148" y="217"/>
                  </a:cubicBezTo>
                  <a:cubicBezTo>
                    <a:pt x="148" y="217"/>
                    <a:pt x="148" y="217"/>
                    <a:pt x="148" y="217"/>
                  </a:cubicBezTo>
                  <a:cubicBezTo>
                    <a:pt x="145" y="218"/>
                    <a:pt x="145" y="218"/>
                    <a:pt x="145" y="218"/>
                  </a:cubicBezTo>
                  <a:cubicBezTo>
                    <a:pt x="145" y="219"/>
                    <a:pt x="145" y="219"/>
                    <a:pt x="145" y="219"/>
                  </a:cubicBezTo>
                  <a:cubicBezTo>
                    <a:pt x="146" y="219"/>
                    <a:pt x="146" y="219"/>
                    <a:pt x="146" y="219"/>
                  </a:cubicBezTo>
                  <a:cubicBezTo>
                    <a:pt x="147" y="219"/>
                    <a:pt x="147" y="219"/>
                    <a:pt x="147" y="219"/>
                  </a:cubicBezTo>
                  <a:cubicBezTo>
                    <a:pt x="147" y="220"/>
                    <a:pt x="147" y="220"/>
                    <a:pt x="147" y="220"/>
                  </a:cubicBezTo>
                  <a:cubicBezTo>
                    <a:pt x="146" y="220"/>
                    <a:pt x="146" y="220"/>
                    <a:pt x="146" y="220"/>
                  </a:cubicBezTo>
                  <a:cubicBezTo>
                    <a:pt x="141" y="223"/>
                    <a:pt x="141" y="223"/>
                    <a:pt x="141" y="223"/>
                  </a:cubicBezTo>
                  <a:cubicBezTo>
                    <a:pt x="138" y="226"/>
                    <a:pt x="138" y="226"/>
                    <a:pt x="138" y="226"/>
                  </a:cubicBezTo>
                  <a:cubicBezTo>
                    <a:pt x="139" y="227"/>
                    <a:pt x="139" y="227"/>
                    <a:pt x="139" y="227"/>
                  </a:cubicBezTo>
                  <a:cubicBezTo>
                    <a:pt x="145" y="226"/>
                    <a:pt x="145" y="226"/>
                    <a:pt x="145" y="226"/>
                  </a:cubicBezTo>
                  <a:cubicBezTo>
                    <a:pt x="145" y="226"/>
                    <a:pt x="145" y="226"/>
                    <a:pt x="145" y="226"/>
                  </a:cubicBezTo>
                  <a:cubicBezTo>
                    <a:pt x="143" y="227"/>
                    <a:pt x="143" y="227"/>
                    <a:pt x="143" y="227"/>
                  </a:cubicBezTo>
                  <a:cubicBezTo>
                    <a:pt x="138" y="229"/>
                    <a:pt x="138" y="229"/>
                    <a:pt x="138" y="229"/>
                  </a:cubicBezTo>
                  <a:cubicBezTo>
                    <a:pt x="138" y="230"/>
                    <a:pt x="138" y="230"/>
                    <a:pt x="138" y="230"/>
                  </a:cubicBezTo>
                  <a:cubicBezTo>
                    <a:pt x="138" y="230"/>
                    <a:pt x="138" y="230"/>
                    <a:pt x="138" y="230"/>
                  </a:cubicBezTo>
                  <a:cubicBezTo>
                    <a:pt x="138" y="232"/>
                    <a:pt x="138" y="232"/>
                    <a:pt x="138" y="232"/>
                  </a:cubicBezTo>
                  <a:cubicBezTo>
                    <a:pt x="138" y="233"/>
                    <a:pt x="138" y="233"/>
                    <a:pt x="138" y="233"/>
                  </a:cubicBezTo>
                  <a:cubicBezTo>
                    <a:pt x="139" y="233"/>
                    <a:pt x="139" y="233"/>
                    <a:pt x="139" y="233"/>
                  </a:cubicBezTo>
                  <a:cubicBezTo>
                    <a:pt x="140" y="232"/>
                    <a:pt x="140" y="232"/>
                    <a:pt x="140" y="232"/>
                  </a:cubicBezTo>
                  <a:cubicBezTo>
                    <a:pt x="140" y="232"/>
                    <a:pt x="140" y="232"/>
                    <a:pt x="140" y="232"/>
                  </a:cubicBezTo>
                  <a:cubicBezTo>
                    <a:pt x="140" y="232"/>
                    <a:pt x="140" y="232"/>
                    <a:pt x="140" y="232"/>
                  </a:cubicBezTo>
                  <a:cubicBezTo>
                    <a:pt x="140" y="232"/>
                    <a:pt x="140" y="232"/>
                    <a:pt x="140" y="232"/>
                  </a:cubicBezTo>
                  <a:cubicBezTo>
                    <a:pt x="140" y="232"/>
                    <a:pt x="140" y="232"/>
                    <a:pt x="140" y="232"/>
                  </a:cubicBezTo>
                  <a:cubicBezTo>
                    <a:pt x="140" y="231"/>
                    <a:pt x="140" y="231"/>
                    <a:pt x="140" y="231"/>
                  </a:cubicBezTo>
                  <a:cubicBezTo>
                    <a:pt x="141" y="231"/>
                    <a:pt x="141" y="231"/>
                    <a:pt x="141" y="231"/>
                  </a:cubicBezTo>
                  <a:cubicBezTo>
                    <a:pt x="141" y="231"/>
                    <a:pt x="141" y="231"/>
                    <a:pt x="141" y="231"/>
                  </a:cubicBezTo>
                  <a:cubicBezTo>
                    <a:pt x="143" y="231"/>
                    <a:pt x="143" y="231"/>
                    <a:pt x="143" y="231"/>
                  </a:cubicBezTo>
                  <a:cubicBezTo>
                    <a:pt x="145" y="229"/>
                    <a:pt x="145" y="229"/>
                    <a:pt x="145" y="229"/>
                  </a:cubicBezTo>
                  <a:cubicBezTo>
                    <a:pt x="147" y="229"/>
                    <a:pt x="147" y="229"/>
                    <a:pt x="147" y="229"/>
                  </a:cubicBezTo>
                  <a:cubicBezTo>
                    <a:pt x="148" y="227"/>
                    <a:pt x="148" y="227"/>
                    <a:pt x="148" y="227"/>
                  </a:cubicBezTo>
                  <a:cubicBezTo>
                    <a:pt x="150" y="226"/>
                    <a:pt x="150" y="226"/>
                    <a:pt x="150" y="226"/>
                  </a:cubicBezTo>
                  <a:cubicBezTo>
                    <a:pt x="150" y="226"/>
                    <a:pt x="150" y="226"/>
                    <a:pt x="150" y="226"/>
                  </a:cubicBezTo>
                  <a:cubicBezTo>
                    <a:pt x="151" y="226"/>
                    <a:pt x="151" y="226"/>
                    <a:pt x="151" y="226"/>
                  </a:cubicBezTo>
                  <a:cubicBezTo>
                    <a:pt x="151" y="225"/>
                    <a:pt x="151" y="225"/>
                    <a:pt x="151" y="225"/>
                  </a:cubicBezTo>
                  <a:cubicBezTo>
                    <a:pt x="152" y="225"/>
                    <a:pt x="152" y="225"/>
                    <a:pt x="152" y="225"/>
                  </a:cubicBezTo>
                  <a:cubicBezTo>
                    <a:pt x="152" y="226"/>
                    <a:pt x="152" y="226"/>
                    <a:pt x="152" y="226"/>
                  </a:cubicBezTo>
                  <a:cubicBezTo>
                    <a:pt x="152" y="226"/>
                    <a:pt x="152" y="226"/>
                    <a:pt x="152" y="226"/>
                  </a:cubicBezTo>
                  <a:cubicBezTo>
                    <a:pt x="152" y="226"/>
                    <a:pt x="152" y="226"/>
                    <a:pt x="152" y="226"/>
                  </a:cubicBezTo>
                  <a:cubicBezTo>
                    <a:pt x="151" y="227"/>
                    <a:pt x="151" y="227"/>
                    <a:pt x="151" y="227"/>
                  </a:cubicBezTo>
                  <a:cubicBezTo>
                    <a:pt x="151" y="228"/>
                    <a:pt x="151" y="228"/>
                    <a:pt x="151" y="228"/>
                  </a:cubicBezTo>
                  <a:cubicBezTo>
                    <a:pt x="152" y="227"/>
                    <a:pt x="152" y="227"/>
                    <a:pt x="152" y="227"/>
                  </a:cubicBezTo>
                  <a:cubicBezTo>
                    <a:pt x="153" y="226"/>
                    <a:pt x="153" y="226"/>
                    <a:pt x="153" y="226"/>
                  </a:cubicBezTo>
                  <a:cubicBezTo>
                    <a:pt x="154" y="226"/>
                    <a:pt x="154" y="226"/>
                    <a:pt x="154" y="226"/>
                  </a:cubicBezTo>
                  <a:cubicBezTo>
                    <a:pt x="153" y="227"/>
                    <a:pt x="153" y="227"/>
                    <a:pt x="153" y="227"/>
                  </a:cubicBezTo>
                  <a:cubicBezTo>
                    <a:pt x="152" y="228"/>
                    <a:pt x="152" y="228"/>
                    <a:pt x="152" y="228"/>
                  </a:cubicBezTo>
                  <a:cubicBezTo>
                    <a:pt x="151" y="229"/>
                    <a:pt x="151" y="229"/>
                    <a:pt x="151" y="229"/>
                  </a:cubicBezTo>
                  <a:cubicBezTo>
                    <a:pt x="149" y="230"/>
                    <a:pt x="149" y="230"/>
                    <a:pt x="149" y="230"/>
                  </a:cubicBezTo>
                  <a:cubicBezTo>
                    <a:pt x="146" y="231"/>
                    <a:pt x="146" y="231"/>
                    <a:pt x="146" y="231"/>
                  </a:cubicBezTo>
                  <a:cubicBezTo>
                    <a:pt x="145" y="231"/>
                    <a:pt x="145" y="231"/>
                    <a:pt x="145" y="231"/>
                  </a:cubicBezTo>
                  <a:cubicBezTo>
                    <a:pt x="145" y="232"/>
                    <a:pt x="145" y="232"/>
                    <a:pt x="145" y="232"/>
                  </a:cubicBezTo>
                  <a:cubicBezTo>
                    <a:pt x="145" y="232"/>
                    <a:pt x="145" y="232"/>
                    <a:pt x="145" y="232"/>
                  </a:cubicBezTo>
                  <a:cubicBezTo>
                    <a:pt x="145" y="233"/>
                    <a:pt x="145" y="233"/>
                    <a:pt x="145" y="233"/>
                  </a:cubicBezTo>
                  <a:cubicBezTo>
                    <a:pt x="145" y="233"/>
                    <a:pt x="145" y="233"/>
                    <a:pt x="145" y="233"/>
                  </a:cubicBezTo>
                  <a:cubicBezTo>
                    <a:pt x="145" y="233"/>
                    <a:pt x="145" y="233"/>
                    <a:pt x="145" y="233"/>
                  </a:cubicBezTo>
                  <a:cubicBezTo>
                    <a:pt x="145" y="233"/>
                    <a:pt x="145" y="233"/>
                    <a:pt x="145" y="233"/>
                  </a:cubicBezTo>
                  <a:cubicBezTo>
                    <a:pt x="146" y="233"/>
                    <a:pt x="146" y="233"/>
                    <a:pt x="146" y="233"/>
                  </a:cubicBezTo>
                  <a:cubicBezTo>
                    <a:pt x="146" y="234"/>
                    <a:pt x="146" y="234"/>
                    <a:pt x="146" y="234"/>
                  </a:cubicBezTo>
                  <a:cubicBezTo>
                    <a:pt x="146" y="235"/>
                    <a:pt x="146" y="235"/>
                    <a:pt x="146" y="235"/>
                  </a:cubicBezTo>
                  <a:cubicBezTo>
                    <a:pt x="146" y="235"/>
                    <a:pt x="146" y="235"/>
                    <a:pt x="146" y="235"/>
                  </a:cubicBezTo>
                  <a:cubicBezTo>
                    <a:pt x="145" y="236"/>
                    <a:pt x="145" y="236"/>
                    <a:pt x="145" y="236"/>
                  </a:cubicBezTo>
                  <a:cubicBezTo>
                    <a:pt x="146" y="237"/>
                    <a:pt x="146" y="237"/>
                    <a:pt x="146" y="237"/>
                  </a:cubicBezTo>
                  <a:cubicBezTo>
                    <a:pt x="146" y="237"/>
                    <a:pt x="146" y="237"/>
                    <a:pt x="146" y="237"/>
                  </a:cubicBezTo>
                  <a:cubicBezTo>
                    <a:pt x="147" y="238"/>
                    <a:pt x="147" y="238"/>
                    <a:pt x="147" y="238"/>
                  </a:cubicBezTo>
                  <a:cubicBezTo>
                    <a:pt x="148" y="238"/>
                    <a:pt x="148" y="238"/>
                    <a:pt x="148" y="238"/>
                  </a:cubicBezTo>
                  <a:cubicBezTo>
                    <a:pt x="148" y="238"/>
                    <a:pt x="148" y="238"/>
                    <a:pt x="148" y="238"/>
                  </a:cubicBezTo>
                  <a:cubicBezTo>
                    <a:pt x="148" y="238"/>
                    <a:pt x="148" y="238"/>
                    <a:pt x="148" y="238"/>
                  </a:cubicBezTo>
                  <a:cubicBezTo>
                    <a:pt x="148" y="239"/>
                    <a:pt x="148" y="239"/>
                    <a:pt x="148" y="239"/>
                  </a:cubicBezTo>
                  <a:cubicBezTo>
                    <a:pt x="148" y="241"/>
                    <a:pt x="148" y="241"/>
                    <a:pt x="148" y="241"/>
                  </a:cubicBezTo>
                  <a:cubicBezTo>
                    <a:pt x="148" y="242"/>
                    <a:pt x="148" y="242"/>
                    <a:pt x="148" y="242"/>
                  </a:cubicBezTo>
                  <a:cubicBezTo>
                    <a:pt x="149" y="243"/>
                    <a:pt x="149" y="243"/>
                    <a:pt x="149" y="243"/>
                  </a:cubicBezTo>
                  <a:cubicBezTo>
                    <a:pt x="150" y="244"/>
                    <a:pt x="150" y="244"/>
                    <a:pt x="150" y="244"/>
                  </a:cubicBezTo>
                  <a:cubicBezTo>
                    <a:pt x="150" y="244"/>
                    <a:pt x="150" y="244"/>
                    <a:pt x="150" y="244"/>
                  </a:cubicBezTo>
                  <a:cubicBezTo>
                    <a:pt x="150" y="244"/>
                    <a:pt x="150" y="244"/>
                    <a:pt x="150" y="244"/>
                  </a:cubicBezTo>
                  <a:cubicBezTo>
                    <a:pt x="150" y="244"/>
                    <a:pt x="150" y="244"/>
                    <a:pt x="150" y="244"/>
                  </a:cubicBezTo>
                  <a:cubicBezTo>
                    <a:pt x="151" y="245"/>
                    <a:pt x="151" y="245"/>
                    <a:pt x="151" y="245"/>
                  </a:cubicBezTo>
                  <a:cubicBezTo>
                    <a:pt x="151" y="245"/>
                    <a:pt x="151" y="245"/>
                    <a:pt x="151" y="245"/>
                  </a:cubicBezTo>
                  <a:cubicBezTo>
                    <a:pt x="151" y="244"/>
                    <a:pt x="151" y="244"/>
                    <a:pt x="151" y="244"/>
                  </a:cubicBezTo>
                  <a:cubicBezTo>
                    <a:pt x="151" y="244"/>
                    <a:pt x="151" y="244"/>
                    <a:pt x="151" y="244"/>
                  </a:cubicBezTo>
                  <a:cubicBezTo>
                    <a:pt x="152" y="244"/>
                    <a:pt x="152" y="244"/>
                    <a:pt x="152" y="244"/>
                  </a:cubicBezTo>
                  <a:cubicBezTo>
                    <a:pt x="154" y="244"/>
                    <a:pt x="154" y="244"/>
                    <a:pt x="154" y="244"/>
                  </a:cubicBezTo>
                  <a:cubicBezTo>
                    <a:pt x="156" y="242"/>
                    <a:pt x="156" y="242"/>
                    <a:pt x="156" y="242"/>
                  </a:cubicBezTo>
                  <a:cubicBezTo>
                    <a:pt x="157" y="241"/>
                    <a:pt x="157" y="241"/>
                    <a:pt x="157" y="241"/>
                  </a:cubicBezTo>
                  <a:cubicBezTo>
                    <a:pt x="157" y="241"/>
                    <a:pt x="157" y="241"/>
                    <a:pt x="157" y="241"/>
                  </a:cubicBezTo>
                  <a:cubicBezTo>
                    <a:pt x="158" y="240"/>
                    <a:pt x="158" y="240"/>
                    <a:pt x="158" y="240"/>
                  </a:cubicBezTo>
                  <a:cubicBezTo>
                    <a:pt x="158" y="240"/>
                    <a:pt x="158" y="240"/>
                    <a:pt x="158" y="240"/>
                  </a:cubicBezTo>
                  <a:cubicBezTo>
                    <a:pt x="161" y="240"/>
                    <a:pt x="161" y="240"/>
                    <a:pt x="161" y="240"/>
                  </a:cubicBezTo>
                  <a:cubicBezTo>
                    <a:pt x="161" y="240"/>
                    <a:pt x="161" y="240"/>
                    <a:pt x="161" y="240"/>
                  </a:cubicBezTo>
                  <a:cubicBezTo>
                    <a:pt x="162" y="239"/>
                    <a:pt x="162" y="239"/>
                    <a:pt x="162" y="239"/>
                  </a:cubicBezTo>
                  <a:cubicBezTo>
                    <a:pt x="163" y="239"/>
                    <a:pt x="163" y="239"/>
                    <a:pt x="163" y="239"/>
                  </a:cubicBezTo>
                  <a:cubicBezTo>
                    <a:pt x="163" y="239"/>
                    <a:pt x="163" y="239"/>
                    <a:pt x="163" y="239"/>
                  </a:cubicBezTo>
                  <a:cubicBezTo>
                    <a:pt x="167" y="236"/>
                    <a:pt x="167" y="236"/>
                    <a:pt x="167" y="236"/>
                  </a:cubicBezTo>
                  <a:cubicBezTo>
                    <a:pt x="168" y="236"/>
                    <a:pt x="168" y="236"/>
                    <a:pt x="168" y="236"/>
                  </a:cubicBezTo>
                  <a:cubicBezTo>
                    <a:pt x="169" y="235"/>
                    <a:pt x="169" y="235"/>
                    <a:pt x="169" y="235"/>
                  </a:cubicBezTo>
                  <a:cubicBezTo>
                    <a:pt x="169" y="235"/>
                    <a:pt x="169" y="235"/>
                    <a:pt x="169" y="235"/>
                  </a:cubicBezTo>
                  <a:cubicBezTo>
                    <a:pt x="170" y="233"/>
                    <a:pt x="170" y="233"/>
                    <a:pt x="170" y="233"/>
                  </a:cubicBezTo>
                  <a:cubicBezTo>
                    <a:pt x="170" y="232"/>
                    <a:pt x="170" y="232"/>
                    <a:pt x="170" y="232"/>
                  </a:cubicBezTo>
                  <a:cubicBezTo>
                    <a:pt x="171" y="232"/>
                    <a:pt x="171" y="232"/>
                    <a:pt x="171" y="232"/>
                  </a:cubicBezTo>
                  <a:cubicBezTo>
                    <a:pt x="173" y="231"/>
                    <a:pt x="173" y="231"/>
                    <a:pt x="173" y="231"/>
                  </a:cubicBezTo>
                  <a:cubicBezTo>
                    <a:pt x="175" y="229"/>
                    <a:pt x="175" y="229"/>
                    <a:pt x="175" y="229"/>
                  </a:cubicBezTo>
                  <a:cubicBezTo>
                    <a:pt x="178" y="229"/>
                    <a:pt x="178" y="229"/>
                    <a:pt x="178" y="229"/>
                  </a:cubicBezTo>
                  <a:cubicBezTo>
                    <a:pt x="179" y="227"/>
                    <a:pt x="179" y="227"/>
                    <a:pt x="179" y="227"/>
                  </a:cubicBezTo>
                  <a:cubicBezTo>
                    <a:pt x="180" y="227"/>
                    <a:pt x="180" y="227"/>
                    <a:pt x="180" y="227"/>
                  </a:cubicBezTo>
                  <a:cubicBezTo>
                    <a:pt x="180" y="227"/>
                    <a:pt x="180" y="227"/>
                    <a:pt x="180" y="227"/>
                  </a:cubicBezTo>
                  <a:cubicBezTo>
                    <a:pt x="180" y="226"/>
                    <a:pt x="180" y="226"/>
                    <a:pt x="180" y="226"/>
                  </a:cubicBezTo>
                  <a:cubicBezTo>
                    <a:pt x="180" y="226"/>
                    <a:pt x="180" y="226"/>
                    <a:pt x="180" y="226"/>
                  </a:cubicBezTo>
                  <a:cubicBezTo>
                    <a:pt x="181" y="224"/>
                    <a:pt x="181" y="224"/>
                    <a:pt x="181" y="224"/>
                  </a:cubicBezTo>
                  <a:cubicBezTo>
                    <a:pt x="181" y="224"/>
                    <a:pt x="181" y="224"/>
                    <a:pt x="181" y="224"/>
                  </a:cubicBezTo>
                  <a:cubicBezTo>
                    <a:pt x="181" y="223"/>
                    <a:pt x="181" y="223"/>
                    <a:pt x="181" y="223"/>
                  </a:cubicBezTo>
                  <a:cubicBezTo>
                    <a:pt x="182" y="222"/>
                    <a:pt x="182" y="222"/>
                    <a:pt x="182" y="222"/>
                  </a:cubicBezTo>
                  <a:cubicBezTo>
                    <a:pt x="182" y="222"/>
                    <a:pt x="182" y="222"/>
                    <a:pt x="182" y="222"/>
                  </a:cubicBezTo>
                  <a:cubicBezTo>
                    <a:pt x="183" y="222"/>
                    <a:pt x="183" y="222"/>
                    <a:pt x="183" y="222"/>
                  </a:cubicBezTo>
                  <a:cubicBezTo>
                    <a:pt x="183" y="220"/>
                    <a:pt x="183" y="220"/>
                    <a:pt x="183" y="220"/>
                  </a:cubicBezTo>
                  <a:cubicBezTo>
                    <a:pt x="182" y="219"/>
                    <a:pt x="182" y="219"/>
                    <a:pt x="182" y="219"/>
                  </a:cubicBezTo>
                  <a:cubicBezTo>
                    <a:pt x="181" y="219"/>
                    <a:pt x="181" y="219"/>
                    <a:pt x="181" y="219"/>
                  </a:cubicBezTo>
                  <a:cubicBezTo>
                    <a:pt x="179" y="217"/>
                    <a:pt x="179" y="217"/>
                    <a:pt x="179" y="217"/>
                  </a:cubicBezTo>
                  <a:cubicBezTo>
                    <a:pt x="178" y="218"/>
                    <a:pt x="178" y="218"/>
                    <a:pt x="178" y="218"/>
                  </a:cubicBezTo>
                  <a:cubicBezTo>
                    <a:pt x="174" y="221"/>
                    <a:pt x="174" y="221"/>
                    <a:pt x="174" y="221"/>
                  </a:cubicBezTo>
                  <a:cubicBezTo>
                    <a:pt x="172" y="221"/>
                    <a:pt x="172" y="221"/>
                    <a:pt x="172" y="221"/>
                  </a:cubicBezTo>
                  <a:cubicBezTo>
                    <a:pt x="172" y="221"/>
                    <a:pt x="172" y="221"/>
                    <a:pt x="172" y="221"/>
                  </a:cubicBezTo>
                  <a:cubicBezTo>
                    <a:pt x="170" y="223"/>
                    <a:pt x="170" y="223"/>
                    <a:pt x="170" y="223"/>
                  </a:cubicBezTo>
                  <a:cubicBezTo>
                    <a:pt x="169" y="223"/>
                    <a:pt x="169" y="223"/>
                    <a:pt x="169" y="223"/>
                  </a:cubicBezTo>
                  <a:cubicBezTo>
                    <a:pt x="169" y="224"/>
                    <a:pt x="169" y="224"/>
                    <a:pt x="169" y="224"/>
                  </a:cubicBezTo>
                  <a:cubicBezTo>
                    <a:pt x="168" y="224"/>
                    <a:pt x="168" y="224"/>
                    <a:pt x="168" y="224"/>
                  </a:cubicBezTo>
                  <a:cubicBezTo>
                    <a:pt x="169" y="223"/>
                    <a:pt x="169" y="223"/>
                    <a:pt x="169" y="223"/>
                  </a:cubicBezTo>
                  <a:cubicBezTo>
                    <a:pt x="170" y="222"/>
                    <a:pt x="170" y="222"/>
                    <a:pt x="170" y="222"/>
                  </a:cubicBezTo>
                  <a:cubicBezTo>
                    <a:pt x="172" y="220"/>
                    <a:pt x="172" y="220"/>
                    <a:pt x="172" y="220"/>
                  </a:cubicBezTo>
                  <a:cubicBezTo>
                    <a:pt x="172" y="219"/>
                    <a:pt x="172" y="219"/>
                    <a:pt x="172" y="219"/>
                  </a:cubicBezTo>
                  <a:cubicBezTo>
                    <a:pt x="176" y="218"/>
                    <a:pt x="176" y="218"/>
                    <a:pt x="176" y="218"/>
                  </a:cubicBezTo>
                  <a:cubicBezTo>
                    <a:pt x="177" y="218"/>
                    <a:pt x="177" y="218"/>
                    <a:pt x="177" y="218"/>
                  </a:cubicBezTo>
                  <a:cubicBezTo>
                    <a:pt x="178" y="217"/>
                    <a:pt x="178" y="217"/>
                    <a:pt x="178" y="217"/>
                  </a:cubicBezTo>
                  <a:cubicBezTo>
                    <a:pt x="178" y="216"/>
                    <a:pt x="178" y="216"/>
                    <a:pt x="178" y="216"/>
                  </a:cubicBezTo>
                  <a:cubicBezTo>
                    <a:pt x="179" y="215"/>
                    <a:pt x="179" y="215"/>
                    <a:pt x="179" y="215"/>
                  </a:cubicBezTo>
                  <a:cubicBezTo>
                    <a:pt x="180" y="214"/>
                    <a:pt x="180" y="214"/>
                    <a:pt x="180" y="214"/>
                  </a:cubicBezTo>
                  <a:cubicBezTo>
                    <a:pt x="186" y="210"/>
                    <a:pt x="186" y="210"/>
                    <a:pt x="186" y="210"/>
                  </a:cubicBezTo>
                  <a:cubicBezTo>
                    <a:pt x="187" y="209"/>
                    <a:pt x="187" y="209"/>
                    <a:pt x="187" y="209"/>
                  </a:cubicBezTo>
                  <a:cubicBezTo>
                    <a:pt x="187" y="209"/>
                    <a:pt x="187" y="209"/>
                    <a:pt x="187" y="209"/>
                  </a:cubicBezTo>
                  <a:cubicBezTo>
                    <a:pt x="187" y="206"/>
                    <a:pt x="187" y="206"/>
                    <a:pt x="187" y="206"/>
                  </a:cubicBezTo>
                  <a:cubicBezTo>
                    <a:pt x="190" y="203"/>
                    <a:pt x="190" y="203"/>
                    <a:pt x="190" y="203"/>
                  </a:cubicBezTo>
                  <a:cubicBezTo>
                    <a:pt x="191" y="203"/>
                    <a:pt x="191" y="203"/>
                    <a:pt x="191" y="203"/>
                  </a:cubicBezTo>
                  <a:cubicBezTo>
                    <a:pt x="192" y="203"/>
                    <a:pt x="192" y="203"/>
                    <a:pt x="192" y="203"/>
                  </a:cubicBezTo>
                  <a:cubicBezTo>
                    <a:pt x="191" y="203"/>
                    <a:pt x="191" y="203"/>
                    <a:pt x="191" y="203"/>
                  </a:cubicBezTo>
                  <a:cubicBezTo>
                    <a:pt x="189" y="205"/>
                    <a:pt x="189" y="205"/>
                    <a:pt x="189" y="205"/>
                  </a:cubicBezTo>
                  <a:cubicBezTo>
                    <a:pt x="188" y="206"/>
                    <a:pt x="188" y="206"/>
                    <a:pt x="188" y="206"/>
                  </a:cubicBezTo>
                  <a:cubicBezTo>
                    <a:pt x="188" y="206"/>
                    <a:pt x="188" y="206"/>
                    <a:pt x="188" y="206"/>
                  </a:cubicBezTo>
                  <a:cubicBezTo>
                    <a:pt x="188" y="207"/>
                    <a:pt x="188" y="207"/>
                    <a:pt x="188" y="207"/>
                  </a:cubicBezTo>
                  <a:cubicBezTo>
                    <a:pt x="188" y="208"/>
                    <a:pt x="188" y="208"/>
                    <a:pt x="188" y="208"/>
                  </a:cubicBezTo>
                  <a:cubicBezTo>
                    <a:pt x="189" y="208"/>
                    <a:pt x="189" y="208"/>
                    <a:pt x="189" y="208"/>
                  </a:cubicBezTo>
                  <a:cubicBezTo>
                    <a:pt x="192" y="209"/>
                    <a:pt x="192" y="209"/>
                    <a:pt x="192" y="209"/>
                  </a:cubicBezTo>
                  <a:cubicBezTo>
                    <a:pt x="194" y="209"/>
                    <a:pt x="194" y="209"/>
                    <a:pt x="194" y="209"/>
                  </a:cubicBezTo>
                  <a:cubicBezTo>
                    <a:pt x="194" y="209"/>
                    <a:pt x="194" y="209"/>
                    <a:pt x="194" y="209"/>
                  </a:cubicBezTo>
                  <a:cubicBezTo>
                    <a:pt x="194" y="209"/>
                    <a:pt x="194" y="209"/>
                    <a:pt x="194" y="209"/>
                  </a:cubicBezTo>
                  <a:cubicBezTo>
                    <a:pt x="196" y="209"/>
                    <a:pt x="196" y="209"/>
                    <a:pt x="196" y="209"/>
                  </a:cubicBezTo>
                  <a:cubicBezTo>
                    <a:pt x="195" y="210"/>
                    <a:pt x="195" y="210"/>
                    <a:pt x="195" y="210"/>
                  </a:cubicBezTo>
                  <a:cubicBezTo>
                    <a:pt x="195" y="211"/>
                    <a:pt x="195" y="211"/>
                    <a:pt x="195" y="211"/>
                  </a:cubicBezTo>
                  <a:cubicBezTo>
                    <a:pt x="194" y="212"/>
                    <a:pt x="194" y="212"/>
                    <a:pt x="194" y="212"/>
                  </a:cubicBezTo>
                  <a:cubicBezTo>
                    <a:pt x="190" y="213"/>
                    <a:pt x="190" y="213"/>
                    <a:pt x="190" y="213"/>
                  </a:cubicBezTo>
                  <a:cubicBezTo>
                    <a:pt x="187" y="214"/>
                    <a:pt x="187" y="214"/>
                    <a:pt x="187" y="214"/>
                  </a:cubicBezTo>
                  <a:cubicBezTo>
                    <a:pt x="187" y="215"/>
                    <a:pt x="187" y="215"/>
                    <a:pt x="187" y="215"/>
                  </a:cubicBezTo>
                  <a:cubicBezTo>
                    <a:pt x="187" y="216"/>
                    <a:pt x="187" y="216"/>
                    <a:pt x="187" y="216"/>
                  </a:cubicBezTo>
                  <a:cubicBezTo>
                    <a:pt x="186" y="217"/>
                    <a:pt x="186" y="217"/>
                    <a:pt x="186" y="217"/>
                  </a:cubicBezTo>
                  <a:cubicBezTo>
                    <a:pt x="184" y="218"/>
                    <a:pt x="184" y="218"/>
                    <a:pt x="184" y="218"/>
                  </a:cubicBezTo>
                  <a:cubicBezTo>
                    <a:pt x="184" y="218"/>
                    <a:pt x="184" y="218"/>
                    <a:pt x="184" y="218"/>
                  </a:cubicBezTo>
                  <a:cubicBezTo>
                    <a:pt x="184" y="218"/>
                    <a:pt x="184" y="218"/>
                    <a:pt x="184" y="218"/>
                  </a:cubicBezTo>
                  <a:cubicBezTo>
                    <a:pt x="184" y="219"/>
                    <a:pt x="184" y="219"/>
                    <a:pt x="184" y="219"/>
                  </a:cubicBezTo>
                  <a:cubicBezTo>
                    <a:pt x="184" y="220"/>
                    <a:pt x="184" y="220"/>
                    <a:pt x="184" y="220"/>
                  </a:cubicBezTo>
                  <a:cubicBezTo>
                    <a:pt x="184" y="220"/>
                    <a:pt x="184" y="220"/>
                    <a:pt x="184" y="220"/>
                  </a:cubicBezTo>
                  <a:cubicBezTo>
                    <a:pt x="184" y="221"/>
                    <a:pt x="184" y="221"/>
                    <a:pt x="184" y="221"/>
                  </a:cubicBezTo>
                  <a:cubicBezTo>
                    <a:pt x="184" y="221"/>
                    <a:pt x="184" y="221"/>
                    <a:pt x="184" y="221"/>
                  </a:cubicBezTo>
                  <a:cubicBezTo>
                    <a:pt x="188" y="220"/>
                    <a:pt x="188" y="220"/>
                    <a:pt x="188" y="220"/>
                  </a:cubicBezTo>
                  <a:cubicBezTo>
                    <a:pt x="189" y="220"/>
                    <a:pt x="189" y="220"/>
                    <a:pt x="189" y="220"/>
                  </a:cubicBezTo>
                  <a:cubicBezTo>
                    <a:pt x="190" y="220"/>
                    <a:pt x="190" y="220"/>
                    <a:pt x="190" y="220"/>
                  </a:cubicBezTo>
                  <a:cubicBezTo>
                    <a:pt x="191" y="221"/>
                    <a:pt x="191" y="221"/>
                    <a:pt x="191" y="221"/>
                  </a:cubicBezTo>
                  <a:cubicBezTo>
                    <a:pt x="191" y="221"/>
                    <a:pt x="191" y="221"/>
                    <a:pt x="191" y="221"/>
                  </a:cubicBezTo>
                  <a:cubicBezTo>
                    <a:pt x="193" y="221"/>
                    <a:pt x="193" y="221"/>
                    <a:pt x="193" y="221"/>
                  </a:cubicBezTo>
                  <a:cubicBezTo>
                    <a:pt x="194" y="222"/>
                    <a:pt x="194" y="222"/>
                    <a:pt x="194" y="222"/>
                  </a:cubicBezTo>
                  <a:cubicBezTo>
                    <a:pt x="194" y="222"/>
                    <a:pt x="194" y="222"/>
                    <a:pt x="194" y="222"/>
                  </a:cubicBezTo>
                  <a:cubicBezTo>
                    <a:pt x="194" y="222"/>
                    <a:pt x="194" y="222"/>
                    <a:pt x="194" y="222"/>
                  </a:cubicBezTo>
                  <a:cubicBezTo>
                    <a:pt x="193" y="223"/>
                    <a:pt x="193" y="223"/>
                    <a:pt x="193" y="223"/>
                  </a:cubicBezTo>
                  <a:cubicBezTo>
                    <a:pt x="194" y="223"/>
                    <a:pt x="194" y="223"/>
                    <a:pt x="194" y="223"/>
                  </a:cubicBezTo>
                  <a:cubicBezTo>
                    <a:pt x="194" y="223"/>
                    <a:pt x="194" y="223"/>
                    <a:pt x="194" y="223"/>
                  </a:cubicBezTo>
                  <a:cubicBezTo>
                    <a:pt x="195" y="223"/>
                    <a:pt x="195" y="223"/>
                    <a:pt x="195" y="223"/>
                  </a:cubicBezTo>
                  <a:cubicBezTo>
                    <a:pt x="195" y="224"/>
                    <a:pt x="195" y="224"/>
                    <a:pt x="195" y="224"/>
                  </a:cubicBezTo>
                  <a:cubicBezTo>
                    <a:pt x="194" y="225"/>
                    <a:pt x="194" y="225"/>
                    <a:pt x="194" y="225"/>
                  </a:cubicBezTo>
                  <a:cubicBezTo>
                    <a:pt x="194" y="225"/>
                    <a:pt x="194" y="225"/>
                    <a:pt x="194" y="225"/>
                  </a:cubicBezTo>
                  <a:cubicBezTo>
                    <a:pt x="191" y="225"/>
                    <a:pt x="191" y="225"/>
                    <a:pt x="191" y="225"/>
                  </a:cubicBezTo>
                  <a:cubicBezTo>
                    <a:pt x="189" y="226"/>
                    <a:pt x="189" y="226"/>
                    <a:pt x="189" y="226"/>
                  </a:cubicBezTo>
                  <a:cubicBezTo>
                    <a:pt x="188" y="227"/>
                    <a:pt x="188" y="227"/>
                    <a:pt x="188" y="227"/>
                  </a:cubicBezTo>
                  <a:cubicBezTo>
                    <a:pt x="187" y="229"/>
                    <a:pt x="187" y="229"/>
                    <a:pt x="187" y="229"/>
                  </a:cubicBezTo>
                  <a:cubicBezTo>
                    <a:pt x="186" y="230"/>
                    <a:pt x="186" y="230"/>
                    <a:pt x="186" y="230"/>
                  </a:cubicBezTo>
                  <a:cubicBezTo>
                    <a:pt x="185" y="230"/>
                    <a:pt x="185" y="230"/>
                    <a:pt x="185" y="230"/>
                  </a:cubicBezTo>
                  <a:cubicBezTo>
                    <a:pt x="184" y="230"/>
                    <a:pt x="184" y="230"/>
                    <a:pt x="184" y="230"/>
                  </a:cubicBezTo>
                  <a:cubicBezTo>
                    <a:pt x="183" y="230"/>
                    <a:pt x="183" y="230"/>
                    <a:pt x="183" y="230"/>
                  </a:cubicBezTo>
                  <a:cubicBezTo>
                    <a:pt x="183" y="230"/>
                    <a:pt x="183" y="230"/>
                    <a:pt x="183" y="230"/>
                  </a:cubicBezTo>
                  <a:cubicBezTo>
                    <a:pt x="182" y="230"/>
                    <a:pt x="182" y="230"/>
                    <a:pt x="182" y="230"/>
                  </a:cubicBezTo>
                  <a:cubicBezTo>
                    <a:pt x="178" y="232"/>
                    <a:pt x="178" y="232"/>
                    <a:pt x="178" y="232"/>
                  </a:cubicBezTo>
                  <a:cubicBezTo>
                    <a:pt x="177" y="234"/>
                    <a:pt x="177" y="234"/>
                    <a:pt x="177" y="234"/>
                  </a:cubicBezTo>
                  <a:cubicBezTo>
                    <a:pt x="176" y="235"/>
                    <a:pt x="176" y="235"/>
                    <a:pt x="176" y="235"/>
                  </a:cubicBezTo>
                  <a:cubicBezTo>
                    <a:pt x="175" y="235"/>
                    <a:pt x="175" y="235"/>
                    <a:pt x="175" y="235"/>
                  </a:cubicBezTo>
                  <a:cubicBezTo>
                    <a:pt x="174" y="236"/>
                    <a:pt x="174" y="236"/>
                    <a:pt x="174" y="236"/>
                  </a:cubicBezTo>
                  <a:cubicBezTo>
                    <a:pt x="173" y="237"/>
                    <a:pt x="173" y="237"/>
                    <a:pt x="173" y="237"/>
                  </a:cubicBezTo>
                  <a:cubicBezTo>
                    <a:pt x="173" y="237"/>
                    <a:pt x="173" y="237"/>
                    <a:pt x="173" y="237"/>
                  </a:cubicBezTo>
                  <a:cubicBezTo>
                    <a:pt x="172" y="237"/>
                    <a:pt x="172" y="237"/>
                    <a:pt x="172" y="237"/>
                  </a:cubicBezTo>
                  <a:cubicBezTo>
                    <a:pt x="172" y="238"/>
                    <a:pt x="172" y="238"/>
                    <a:pt x="172" y="238"/>
                  </a:cubicBezTo>
                  <a:cubicBezTo>
                    <a:pt x="172" y="238"/>
                    <a:pt x="172" y="238"/>
                    <a:pt x="172" y="238"/>
                  </a:cubicBezTo>
                  <a:cubicBezTo>
                    <a:pt x="172" y="238"/>
                    <a:pt x="172" y="238"/>
                    <a:pt x="172" y="238"/>
                  </a:cubicBezTo>
                  <a:cubicBezTo>
                    <a:pt x="172" y="239"/>
                    <a:pt x="172" y="239"/>
                    <a:pt x="172" y="239"/>
                  </a:cubicBezTo>
                  <a:cubicBezTo>
                    <a:pt x="172" y="239"/>
                    <a:pt x="172" y="239"/>
                    <a:pt x="172" y="239"/>
                  </a:cubicBezTo>
                  <a:cubicBezTo>
                    <a:pt x="172" y="239"/>
                    <a:pt x="172" y="239"/>
                    <a:pt x="172" y="239"/>
                  </a:cubicBezTo>
                  <a:cubicBezTo>
                    <a:pt x="171" y="240"/>
                    <a:pt x="171" y="240"/>
                    <a:pt x="171" y="240"/>
                  </a:cubicBezTo>
                  <a:cubicBezTo>
                    <a:pt x="171" y="240"/>
                    <a:pt x="171" y="240"/>
                    <a:pt x="171" y="240"/>
                  </a:cubicBezTo>
                  <a:cubicBezTo>
                    <a:pt x="171" y="240"/>
                    <a:pt x="171" y="240"/>
                    <a:pt x="171" y="240"/>
                  </a:cubicBezTo>
                  <a:cubicBezTo>
                    <a:pt x="171" y="241"/>
                    <a:pt x="171" y="241"/>
                    <a:pt x="171" y="241"/>
                  </a:cubicBezTo>
                  <a:cubicBezTo>
                    <a:pt x="171" y="241"/>
                    <a:pt x="171" y="241"/>
                    <a:pt x="171" y="241"/>
                  </a:cubicBezTo>
                  <a:cubicBezTo>
                    <a:pt x="172" y="241"/>
                    <a:pt x="172" y="241"/>
                    <a:pt x="172" y="241"/>
                  </a:cubicBezTo>
                  <a:cubicBezTo>
                    <a:pt x="172" y="240"/>
                    <a:pt x="172" y="240"/>
                    <a:pt x="172" y="240"/>
                  </a:cubicBezTo>
                  <a:cubicBezTo>
                    <a:pt x="172" y="240"/>
                    <a:pt x="172" y="240"/>
                    <a:pt x="172" y="240"/>
                  </a:cubicBezTo>
                  <a:cubicBezTo>
                    <a:pt x="173" y="239"/>
                    <a:pt x="173" y="239"/>
                    <a:pt x="173" y="239"/>
                  </a:cubicBezTo>
                  <a:cubicBezTo>
                    <a:pt x="174" y="239"/>
                    <a:pt x="174" y="239"/>
                    <a:pt x="174" y="239"/>
                  </a:cubicBezTo>
                  <a:cubicBezTo>
                    <a:pt x="175" y="239"/>
                    <a:pt x="175" y="239"/>
                    <a:pt x="175" y="239"/>
                  </a:cubicBezTo>
                  <a:cubicBezTo>
                    <a:pt x="175" y="238"/>
                    <a:pt x="175" y="238"/>
                    <a:pt x="175" y="238"/>
                  </a:cubicBezTo>
                  <a:cubicBezTo>
                    <a:pt x="176" y="238"/>
                    <a:pt x="176" y="238"/>
                    <a:pt x="176" y="238"/>
                  </a:cubicBezTo>
                  <a:cubicBezTo>
                    <a:pt x="178" y="237"/>
                    <a:pt x="178" y="237"/>
                    <a:pt x="178" y="237"/>
                  </a:cubicBezTo>
                  <a:cubicBezTo>
                    <a:pt x="178" y="238"/>
                    <a:pt x="178" y="238"/>
                    <a:pt x="178" y="238"/>
                  </a:cubicBezTo>
                  <a:cubicBezTo>
                    <a:pt x="178" y="239"/>
                    <a:pt x="178" y="239"/>
                    <a:pt x="178" y="239"/>
                  </a:cubicBezTo>
                  <a:cubicBezTo>
                    <a:pt x="177" y="239"/>
                    <a:pt x="177" y="239"/>
                    <a:pt x="177" y="239"/>
                  </a:cubicBezTo>
                  <a:cubicBezTo>
                    <a:pt x="177" y="239"/>
                    <a:pt x="177" y="239"/>
                    <a:pt x="177" y="239"/>
                  </a:cubicBezTo>
                  <a:cubicBezTo>
                    <a:pt x="177" y="239"/>
                    <a:pt x="177" y="239"/>
                    <a:pt x="177" y="239"/>
                  </a:cubicBezTo>
                  <a:cubicBezTo>
                    <a:pt x="177" y="240"/>
                    <a:pt x="177" y="240"/>
                    <a:pt x="177" y="240"/>
                  </a:cubicBezTo>
                  <a:cubicBezTo>
                    <a:pt x="178" y="240"/>
                    <a:pt x="178" y="240"/>
                    <a:pt x="178" y="240"/>
                  </a:cubicBezTo>
                  <a:cubicBezTo>
                    <a:pt x="178" y="240"/>
                    <a:pt x="178" y="240"/>
                    <a:pt x="178" y="240"/>
                  </a:cubicBezTo>
                  <a:cubicBezTo>
                    <a:pt x="176" y="241"/>
                    <a:pt x="176" y="241"/>
                    <a:pt x="176" y="241"/>
                  </a:cubicBezTo>
                  <a:cubicBezTo>
                    <a:pt x="174" y="242"/>
                    <a:pt x="174" y="242"/>
                    <a:pt x="174" y="242"/>
                  </a:cubicBezTo>
                  <a:cubicBezTo>
                    <a:pt x="174" y="243"/>
                    <a:pt x="174" y="243"/>
                    <a:pt x="174" y="243"/>
                  </a:cubicBezTo>
                  <a:cubicBezTo>
                    <a:pt x="174" y="245"/>
                    <a:pt x="174" y="245"/>
                    <a:pt x="174" y="245"/>
                  </a:cubicBezTo>
                  <a:cubicBezTo>
                    <a:pt x="175" y="246"/>
                    <a:pt x="175" y="246"/>
                    <a:pt x="175" y="246"/>
                  </a:cubicBezTo>
                  <a:cubicBezTo>
                    <a:pt x="178" y="246"/>
                    <a:pt x="178" y="246"/>
                    <a:pt x="178" y="246"/>
                  </a:cubicBezTo>
                  <a:cubicBezTo>
                    <a:pt x="178" y="247"/>
                    <a:pt x="178" y="247"/>
                    <a:pt x="178" y="247"/>
                  </a:cubicBezTo>
                  <a:cubicBezTo>
                    <a:pt x="178" y="248"/>
                    <a:pt x="178" y="248"/>
                    <a:pt x="178" y="248"/>
                  </a:cubicBezTo>
                  <a:cubicBezTo>
                    <a:pt x="177" y="248"/>
                    <a:pt x="177" y="248"/>
                    <a:pt x="177" y="248"/>
                  </a:cubicBezTo>
                  <a:cubicBezTo>
                    <a:pt x="176" y="248"/>
                    <a:pt x="176" y="248"/>
                    <a:pt x="176" y="248"/>
                  </a:cubicBezTo>
                  <a:cubicBezTo>
                    <a:pt x="176" y="248"/>
                    <a:pt x="176" y="248"/>
                    <a:pt x="176" y="248"/>
                  </a:cubicBezTo>
                  <a:cubicBezTo>
                    <a:pt x="175" y="249"/>
                    <a:pt x="175" y="249"/>
                    <a:pt x="175" y="249"/>
                  </a:cubicBezTo>
                  <a:cubicBezTo>
                    <a:pt x="175" y="250"/>
                    <a:pt x="175" y="250"/>
                    <a:pt x="175" y="250"/>
                  </a:cubicBezTo>
                  <a:cubicBezTo>
                    <a:pt x="174" y="249"/>
                    <a:pt x="174" y="249"/>
                    <a:pt x="174" y="249"/>
                  </a:cubicBezTo>
                  <a:cubicBezTo>
                    <a:pt x="174" y="248"/>
                    <a:pt x="174" y="248"/>
                    <a:pt x="174" y="248"/>
                  </a:cubicBezTo>
                  <a:cubicBezTo>
                    <a:pt x="172" y="248"/>
                    <a:pt x="172" y="248"/>
                    <a:pt x="172" y="248"/>
                  </a:cubicBezTo>
                  <a:cubicBezTo>
                    <a:pt x="172" y="247"/>
                    <a:pt x="172" y="247"/>
                    <a:pt x="172" y="247"/>
                  </a:cubicBezTo>
                  <a:cubicBezTo>
                    <a:pt x="168" y="249"/>
                    <a:pt x="168" y="249"/>
                    <a:pt x="168" y="249"/>
                  </a:cubicBezTo>
                  <a:cubicBezTo>
                    <a:pt x="167" y="248"/>
                    <a:pt x="167" y="248"/>
                    <a:pt x="167" y="248"/>
                  </a:cubicBezTo>
                  <a:cubicBezTo>
                    <a:pt x="166" y="248"/>
                    <a:pt x="166" y="248"/>
                    <a:pt x="166" y="248"/>
                  </a:cubicBezTo>
                  <a:cubicBezTo>
                    <a:pt x="165" y="247"/>
                    <a:pt x="165" y="247"/>
                    <a:pt x="165" y="247"/>
                  </a:cubicBezTo>
                  <a:cubicBezTo>
                    <a:pt x="164" y="247"/>
                    <a:pt x="164" y="247"/>
                    <a:pt x="164" y="247"/>
                  </a:cubicBezTo>
                  <a:cubicBezTo>
                    <a:pt x="163" y="247"/>
                    <a:pt x="163" y="247"/>
                    <a:pt x="163" y="247"/>
                  </a:cubicBezTo>
                  <a:cubicBezTo>
                    <a:pt x="163" y="248"/>
                    <a:pt x="163" y="248"/>
                    <a:pt x="163" y="248"/>
                  </a:cubicBezTo>
                  <a:cubicBezTo>
                    <a:pt x="162" y="248"/>
                    <a:pt x="162" y="248"/>
                    <a:pt x="162" y="248"/>
                  </a:cubicBezTo>
                  <a:cubicBezTo>
                    <a:pt x="162" y="248"/>
                    <a:pt x="162" y="248"/>
                    <a:pt x="162" y="248"/>
                  </a:cubicBezTo>
                  <a:cubicBezTo>
                    <a:pt x="160" y="247"/>
                    <a:pt x="160" y="247"/>
                    <a:pt x="160" y="247"/>
                  </a:cubicBezTo>
                  <a:cubicBezTo>
                    <a:pt x="160" y="246"/>
                    <a:pt x="160" y="246"/>
                    <a:pt x="160" y="246"/>
                  </a:cubicBezTo>
                  <a:cubicBezTo>
                    <a:pt x="156" y="247"/>
                    <a:pt x="156" y="247"/>
                    <a:pt x="156" y="247"/>
                  </a:cubicBezTo>
                  <a:cubicBezTo>
                    <a:pt x="154" y="248"/>
                    <a:pt x="154" y="248"/>
                    <a:pt x="154" y="248"/>
                  </a:cubicBezTo>
                  <a:cubicBezTo>
                    <a:pt x="154" y="249"/>
                    <a:pt x="154" y="249"/>
                    <a:pt x="154" y="249"/>
                  </a:cubicBezTo>
                  <a:cubicBezTo>
                    <a:pt x="153" y="250"/>
                    <a:pt x="153" y="250"/>
                    <a:pt x="153" y="250"/>
                  </a:cubicBezTo>
                  <a:cubicBezTo>
                    <a:pt x="153" y="250"/>
                    <a:pt x="153" y="250"/>
                    <a:pt x="153" y="250"/>
                  </a:cubicBezTo>
                  <a:cubicBezTo>
                    <a:pt x="152" y="250"/>
                    <a:pt x="152" y="250"/>
                    <a:pt x="152" y="250"/>
                  </a:cubicBezTo>
                  <a:cubicBezTo>
                    <a:pt x="152" y="251"/>
                    <a:pt x="152" y="251"/>
                    <a:pt x="152" y="251"/>
                  </a:cubicBezTo>
                  <a:cubicBezTo>
                    <a:pt x="153" y="252"/>
                    <a:pt x="153" y="252"/>
                    <a:pt x="153" y="252"/>
                  </a:cubicBezTo>
                  <a:cubicBezTo>
                    <a:pt x="153" y="253"/>
                    <a:pt x="153" y="253"/>
                    <a:pt x="153" y="253"/>
                  </a:cubicBezTo>
                  <a:cubicBezTo>
                    <a:pt x="153" y="253"/>
                    <a:pt x="153" y="253"/>
                    <a:pt x="153" y="253"/>
                  </a:cubicBezTo>
                  <a:cubicBezTo>
                    <a:pt x="154" y="253"/>
                    <a:pt x="154" y="253"/>
                    <a:pt x="154" y="253"/>
                  </a:cubicBezTo>
                  <a:cubicBezTo>
                    <a:pt x="158" y="254"/>
                    <a:pt x="158" y="254"/>
                    <a:pt x="158" y="254"/>
                  </a:cubicBezTo>
                  <a:cubicBezTo>
                    <a:pt x="159" y="255"/>
                    <a:pt x="159" y="255"/>
                    <a:pt x="159" y="255"/>
                  </a:cubicBezTo>
                  <a:cubicBezTo>
                    <a:pt x="159" y="256"/>
                    <a:pt x="159" y="256"/>
                    <a:pt x="159" y="256"/>
                  </a:cubicBezTo>
                  <a:cubicBezTo>
                    <a:pt x="159" y="256"/>
                    <a:pt x="159" y="256"/>
                    <a:pt x="159" y="256"/>
                  </a:cubicBezTo>
                  <a:cubicBezTo>
                    <a:pt x="159" y="256"/>
                    <a:pt x="159" y="256"/>
                    <a:pt x="159" y="256"/>
                  </a:cubicBezTo>
                  <a:cubicBezTo>
                    <a:pt x="159" y="256"/>
                    <a:pt x="159" y="256"/>
                    <a:pt x="159" y="256"/>
                  </a:cubicBezTo>
                  <a:cubicBezTo>
                    <a:pt x="159" y="257"/>
                    <a:pt x="159" y="257"/>
                    <a:pt x="159" y="257"/>
                  </a:cubicBezTo>
                  <a:cubicBezTo>
                    <a:pt x="159" y="257"/>
                    <a:pt x="159" y="257"/>
                    <a:pt x="159" y="257"/>
                  </a:cubicBezTo>
                  <a:cubicBezTo>
                    <a:pt x="159" y="257"/>
                    <a:pt x="159" y="257"/>
                    <a:pt x="159" y="257"/>
                  </a:cubicBezTo>
                  <a:cubicBezTo>
                    <a:pt x="159" y="259"/>
                    <a:pt x="159" y="259"/>
                    <a:pt x="159" y="259"/>
                  </a:cubicBezTo>
                  <a:cubicBezTo>
                    <a:pt x="159" y="259"/>
                    <a:pt x="159" y="259"/>
                    <a:pt x="159" y="259"/>
                  </a:cubicBezTo>
                  <a:cubicBezTo>
                    <a:pt x="159" y="260"/>
                    <a:pt x="159" y="260"/>
                    <a:pt x="159" y="260"/>
                  </a:cubicBezTo>
                  <a:cubicBezTo>
                    <a:pt x="159" y="257"/>
                    <a:pt x="159" y="257"/>
                    <a:pt x="159" y="257"/>
                  </a:cubicBezTo>
                  <a:cubicBezTo>
                    <a:pt x="158" y="256"/>
                    <a:pt x="158" y="256"/>
                    <a:pt x="158" y="256"/>
                  </a:cubicBezTo>
                  <a:cubicBezTo>
                    <a:pt x="157" y="256"/>
                    <a:pt x="157" y="256"/>
                    <a:pt x="157" y="256"/>
                  </a:cubicBezTo>
                  <a:cubicBezTo>
                    <a:pt x="155" y="256"/>
                    <a:pt x="155" y="256"/>
                    <a:pt x="155" y="256"/>
                  </a:cubicBezTo>
                  <a:cubicBezTo>
                    <a:pt x="154" y="256"/>
                    <a:pt x="154" y="256"/>
                    <a:pt x="154" y="256"/>
                  </a:cubicBezTo>
                  <a:cubicBezTo>
                    <a:pt x="152" y="254"/>
                    <a:pt x="152" y="254"/>
                    <a:pt x="152" y="254"/>
                  </a:cubicBezTo>
                  <a:cubicBezTo>
                    <a:pt x="151" y="253"/>
                    <a:pt x="151" y="253"/>
                    <a:pt x="151" y="253"/>
                  </a:cubicBezTo>
                  <a:cubicBezTo>
                    <a:pt x="151" y="253"/>
                    <a:pt x="151" y="253"/>
                    <a:pt x="151" y="253"/>
                  </a:cubicBezTo>
                  <a:cubicBezTo>
                    <a:pt x="149" y="255"/>
                    <a:pt x="149" y="255"/>
                    <a:pt x="149" y="255"/>
                  </a:cubicBezTo>
                  <a:cubicBezTo>
                    <a:pt x="148" y="255"/>
                    <a:pt x="148" y="255"/>
                    <a:pt x="148" y="255"/>
                  </a:cubicBezTo>
                  <a:cubicBezTo>
                    <a:pt x="147" y="256"/>
                    <a:pt x="147" y="256"/>
                    <a:pt x="147" y="256"/>
                  </a:cubicBezTo>
                  <a:cubicBezTo>
                    <a:pt x="146" y="256"/>
                    <a:pt x="146" y="256"/>
                    <a:pt x="146" y="256"/>
                  </a:cubicBezTo>
                  <a:cubicBezTo>
                    <a:pt x="149" y="252"/>
                    <a:pt x="149" y="252"/>
                    <a:pt x="149" y="252"/>
                  </a:cubicBezTo>
                  <a:cubicBezTo>
                    <a:pt x="149" y="251"/>
                    <a:pt x="149" y="251"/>
                    <a:pt x="149" y="251"/>
                  </a:cubicBezTo>
                  <a:cubicBezTo>
                    <a:pt x="150" y="249"/>
                    <a:pt x="150" y="249"/>
                    <a:pt x="150" y="249"/>
                  </a:cubicBezTo>
                  <a:cubicBezTo>
                    <a:pt x="150" y="248"/>
                    <a:pt x="150" y="248"/>
                    <a:pt x="150" y="248"/>
                  </a:cubicBezTo>
                  <a:cubicBezTo>
                    <a:pt x="148" y="246"/>
                    <a:pt x="148" y="246"/>
                    <a:pt x="148" y="246"/>
                  </a:cubicBezTo>
                  <a:cubicBezTo>
                    <a:pt x="145" y="243"/>
                    <a:pt x="145" y="243"/>
                    <a:pt x="145" y="243"/>
                  </a:cubicBezTo>
                  <a:cubicBezTo>
                    <a:pt x="145" y="242"/>
                    <a:pt x="145" y="242"/>
                    <a:pt x="145" y="242"/>
                  </a:cubicBezTo>
                  <a:cubicBezTo>
                    <a:pt x="145" y="241"/>
                    <a:pt x="145" y="241"/>
                    <a:pt x="145" y="241"/>
                  </a:cubicBezTo>
                  <a:cubicBezTo>
                    <a:pt x="145" y="240"/>
                    <a:pt x="145" y="240"/>
                    <a:pt x="145" y="240"/>
                  </a:cubicBezTo>
                  <a:cubicBezTo>
                    <a:pt x="145" y="239"/>
                    <a:pt x="145" y="239"/>
                    <a:pt x="145" y="239"/>
                  </a:cubicBezTo>
                  <a:cubicBezTo>
                    <a:pt x="143" y="237"/>
                    <a:pt x="143" y="237"/>
                    <a:pt x="143" y="237"/>
                  </a:cubicBezTo>
                  <a:cubicBezTo>
                    <a:pt x="143" y="236"/>
                    <a:pt x="143" y="236"/>
                    <a:pt x="143" y="236"/>
                  </a:cubicBezTo>
                  <a:cubicBezTo>
                    <a:pt x="143" y="235"/>
                    <a:pt x="143" y="235"/>
                    <a:pt x="143" y="235"/>
                  </a:cubicBezTo>
                  <a:cubicBezTo>
                    <a:pt x="142" y="235"/>
                    <a:pt x="142" y="235"/>
                    <a:pt x="142" y="235"/>
                  </a:cubicBezTo>
                  <a:cubicBezTo>
                    <a:pt x="141" y="235"/>
                    <a:pt x="141" y="235"/>
                    <a:pt x="141" y="235"/>
                  </a:cubicBezTo>
                  <a:cubicBezTo>
                    <a:pt x="139" y="236"/>
                    <a:pt x="139" y="236"/>
                    <a:pt x="139" y="236"/>
                  </a:cubicBezTo>
                  <a:cubicBezTo>
                    <a:pt x="138" y="237"/>
                    <a:pt x="138" y="237"/>
                    <a:pt x="138" y="237"/>
                  </a:cubicBezTo>
                  <a:cubicBezTo>
                    <a:pt x="137" y="237"/>
                    <a:pt x="137" y="237"/>
                    <a:pt x="137" y="237"/>
                  </a:cubicBezTo>
                  <a:cubicBezTo>
                    <a:pt x="136" y="238"/>
                    <a:pt x="136" y="238"/>
                    <a:pt x="136" y="238"/>
                  </a:cubicBezTo>
                  <a:cubicBezTo>
                    <a:pt x="137" y="238"/>
                    <a:pt x="137" y="238"/>
                    <a:pt x="137" y="238"/>
                  </a:cubicBezTo>
                  <a:cubicBezTo>
                    <a:pt x="138" y="239"/>
                    <a:pt x="138" y="239"/>
                    <a:pt x="138" y="239"/>
                  </a:cubicBezTo>
                  <a:cubicBezTo>
                    <a:pt x="138" y="240"/>
                    <a:pt x="138" y="240"/>
                    <a:pt x="138" y="240"/>
                  </a:cubicBezTo>
                  <a:cubicBezTo>
                    <a:pt x="138" y="241"/>
                    <a:pt x="138" y="241"/>
                    <a:pt x="138" y="241"/>
                  </a:cubicBezTo>
                  <a:cubicBezTo>
                    <a:pt x="138" y="241"/>
                    <a:pt x="138" y="241"/>
                    <a:pt x="138" y="241"/>
                  </a:cubicBezTo>
                  <a:cubicBezTo>
                    <a:pt x="137" y="240"/>
                    <a:pt x="137" y="240"/>
                    <a:pt x="137" y="240"/>
                  </a:cubicBezTo>
                  <a:cubicBezTo>
                    <a:pt x="137" y="239"/>
                    <a:pt x="137" y="239"/>
                    <a:pt x="137" y="239"/>
                  </a:cubicBezTo>
                  <a:cubicBezTo>
                    <a:pt x="136" y="239"/>
                    <a:pt x="136" y="239"/>
                    <a:pt x="136" y="239"/>
                  </a:cubicBezTo>
                  <a:cubicBezTo>
                    <a:pt x="136" y="239"/>
                    <a:pt x="136" y="239"/>
                    <a:pt x="136" y="239"/>
                  </a:cubicBezTo>
                  <a:cubicBezTo>
                    <a:pt x="135" y="240"/>
                    <a:pt x="135" y="240"/>
                    <a:pt x="135" y="240"/>
                  </a:cubicBezTo>
                  <a:cubicBezTo>
                    <a:pt x="134" y="242"/>
                    <a:pt x="134" y="242"/>
                    <a:pt x="134" y="242"/>
                  </a:cubicBezTo>
                  <a:cubicBezTo>
                    <a:pt x="133" y="243"/>
                    <a:pt x="133" y="243"/>
                    <a:pt x="133" y="243"/>
                  </a:cubicBezTo>
                  <a:cubicBezTo>
                    <a:pt x="133" y="243"/>
                    <a:pt x="133" y="243"/>
                    <a:pt x="133" y="243"/>
                  </a:cubicBezTo>
                  <a:cubicBezTo>
                    <a:pt x="133" y="242"/>
                    <a:pt x="133" y="242"/>
                    <a:pt x="133" y="242"/>
                  </a:cubicBezTo>
                  <a:cubicBezTo>
                    <a:pt x="133" y="241"/>
                    <a:pt x="133" y="241"/>
                    <a:pt x="133" y="241"/>
                  </a:cubicBezTo>
                  <a:cubicBezTo>
                    <a:pt x="133" y="241"/>
                    <a:pt x="133" y="241"/>
                    <a:pt x="133" y="241"/>
                  </a:cubicBezTo>
                  <a:cubicBezTo>
                    <a:pt x="133" y="240"/>
                    <a:pt x="133" y="240"/>
                    <a:pt x="133" y="240"/>
                  </a:cubicBezTo>
                  <a:cubicBezTo>
                    <a:pt x="132" y="240"/>
                    <a:pt x="132" y="240"/>
                    <a:pt x="132" y="240"/>
                  </a:cubicBezTo>
                  <a:cubicBezTo>
                    <a:pt x="132" y="240"/>
                    <a:pt x="132" y="240"/>
                    <a:pt x="132" y="240"/>
                  </a:cubicBezTo>
                  <a:cubicBezTo>
                    <a:pt x="131" y="241"/>
                    <a:pt x="131" y="241"/>
                    <a:pt x="131" y="241"/>
                  </a:cubicBezTo>
                  <a:cubicBezTo>
                    <a:pt x="130" y="242"/>
                    <a:pt x="130" y="242"/>
                    <a:pt x="130" y="242"/>
                  </a:cubicBezTo>
                  <a:cubicBezTo>
                    <a:pt x="130" y="242"/>
                    <a:pt x="130" y="242"/>
                    <a:pt x="130" y="242"/>
                  </a:cubicBezTo>
                  <a:cubicBezTo>
                    <a:pt x="129" y="242"/>
                    <a:pt x="129" y="242"/>
                    <a:pt x="129" y="242"/>
                  </a:cubicBezTo>
                  <a:cubicBezTo>
                    <a:pt x="128" y="242"/>
                    <a:pt x="128" y="242"/>
                    <a:pt x="128" y="242"/>
                  </a:cubicBezTo>
                  <a:cubicBezTo>
                    <a:pt x="129" y="243"/>
                    <a:pt x="129" y="243"/>
                    <a:pt x="129" y="243"/>
                  </a:cubicBezTo>
                  <a:cubicBezTo>
                    <a:pt x="127" y="243"/>
                    <a:pt x="127" y="243"/>
                    <a:pt x="127" y="243"/>
                  </a:cubicBezTo>
                  <a:cubicBezTo>
                    <a:pt x="126" y="244"/>
                    <a:pt x="126" y="244"/>
                    <a:pt x="126" y="244"/>
                  </a:cubicBezTo>
                  <a:cubicBezTo>
                    <a:pt x="126" y="245"/>
                    <a:pt x="126" y="245"/>
                    <a:pt x="126" y="245"/>
                  </a:cubicBezTo>
                  <a:cubicBezTo>
                    <a:pt x="126" y="246"/>
                    <a:pt x="126" y="246"/>
                    <a:pt x="126" y="246"/>
                  </a:cubicBezTo>
                  <a:cubicBezTo>
                    <a:pt x="128" y="247"/>
                    <a:pt x="128" y="247"/>
                    <a:pt x="128" y="247"/>
                  </a:cubicBezTo>
                  <a:cubicBezTo>
                    <a:pt x="130" y="247"/>
                    <a:pt x="130" y="247"/>
                    <a:pt x="130" y="247"/>
                  </a:cubicBezTo>
                  <a:cubicBezTo>
                    <a:pt x="130" y="247"/>
                    <a:pt x="130" y="247"/>
                    <a:pt x="130" y="247"/>
                  </a:cubicBezTo>
                  <a:cubicBezTo>
                    <a:pt x="129" y="246"/>
                    <a:pt x="129" y="246"/>
                    <a:pt x="129" y="246"/>
                  </a:cubicBezTo>
                  <a:cubicBezTo>
                    <a:pt x="129" y="245"/>
                    <a:pt x="129" y="245"/>
                    <a:pt x="129" y="245"/>
                  </a:cubicBezTo>
                  <a:cubicBezTo>
                    <a:pt x="129" y="244"/>
                    <a:pt x="129" y="244"/>
                    <a:pt x="129" y="244"/>
                  </a:cubicBezTo>
                  <a:cubicBezTo>
                    <a:pt x="129" y="245"/>
                    <a:pt x="129" y="245"/>
                    <a:pt x="129" y="245"/>
                  </a:cubicBezTo>
                  <a:cubicBezTo>
                    <a:pt x="130" y="245"/>
                    <a:pt x="130" y="245"/>
                    <a:pt x="130" y="245"/>
                  </a:cubicBezTo>
                  <a:cubicBezTo>
                    <a:pt x="130" y="245"/>
                    <a:pt x="130" y="245"/>
                    <a:pt x="130" y="245"/>
                  </a:cubicBezTo>
                  <a:cubicBezTo>
                    <a:pt x="130" y="246"/>
                    <a:pt x="130" y="246"/>
                    <a:pt x="130" y="246"/>
                  </a:cubicBezTo>
                  <a:cubicBezTo>
                    <a:pt x="131" y="246"/>
                    <a:pt x="131" y="246"/>
                    <a:pt x="131" y="246"/>
                  </a:cubicBezTo>
                  <a:cubicBezTo>
                    <a:pt x="132" y="246"/>
                    <a:pt x="132" y="246"/>
                    <a:pt x="132" y="246"/>
                  </a:cubicBezTo>
                  <a:cubicBezTo>
                    <a:pt x="135" y="245"/>
                    <a:pt x="135" y="245"/>
                    <a:pt x="135" y="245"/>
                  </a:cubicBezTo>
                  <a:cubicBezTo>
                    <a:pt x="135" y="245"/>
                    <a:pt x="135" y="245"/>
                    <a:pt x="135" y="245"/>
                  </a:cubicBezTo>
                  <a:cubicBezTo>
                    <a:pt x="136" y="245"/>
                    <a:pt x="136" y="245"/>
                    <a:pt x="136" y="245"/>
                  </a:cubicBezTo>
                  <a:cubicBezTo>
                    <a:pt x="136" y="245"/>
                    <a:pt x="136" y="245"/>
                    <a:pt x="136" y="245"/>
                  </a:cubicBezTo>
                  <a:cubicBezTo>
                    <a:pt x="136" y="246"/>
                    <a:pt x="136" y="246"/>
                    <a:pt x="136" y="246"/>
                  </a:cubicBezTo>
                  <a:cubicBezTo>
                    <a:pt x="127" y="248"/>
                    <a:pt x="127" y="248"/>
                    <a:pt x="127" y="248"/>
                  </a:cubicBezTo>
                  <a:cubicBezTo>
                    <a:pt x="126" y="249"/>
                    <a:pt x="126" y="249"/>
                    <a:pt x="126" y="249"/>
                  </a:cubicBezTo>
                  <a:cubicBezTo>
                    <a:pt x="126" y="251"/>
                    <a:pt x="126" y="251"/>
                    <a:pt x="126" y="251"/>
                  </a:cubicBezTo>
                  <a:cubicBezTo>
                    <a:pt x="127" y="252"/>
                    <a:pt x="127" y="252"/>
                    <a:pt x="127" y="252"/>
                  </a:cubicBezTo>
                  <a:cubicBezTo>
                    <a:pt x="127" y="252"/>
                    <a:pt x="127" y="252"/>
                    <a:pt x="127" y="252"/>
                  </a:cubicBezTo>
                  <a:cubicBezTo>
                    <a:pt x="128" y="253"/>
                    <a:pt x="128" y="253"/>
                    <a:pt x="128" y="253"/>
                  </a:cubicBezTo>
                  <a:cubicBezTo>
                    <a:pt x="128" y="253"/>
                    <a:pt x="128" y="253"/>
                    <a:pt x="128" y="253"/>
                  </a:cubicBezTo>
                  <a:cubicBezTo>
                    <a:pt x="129" y="252"/>
                    <a:pt x="129" y="252"/>
                    <a:pt x="129" y="252"/>
                  </a:cubicBezTo>
                  <a:cubicBezTo>
                    <a:pt x="133" y="252"/>
                    <a:pt x="133" y="252"/>
                    <a:pt x="133" y="252"/>
                  </a:cubicBezTo>
                  <a:cubicBezTo>
                    <a:pt x="135" y="251"/>
                    <a:pt x="135" y="251"/>
                    <a:pt x="135" y="251"/>
                  </a:cubicBezTo>
                  <a:cubicBezTo>
                    <a:pt x="136" y="251"/>
                    <a:pt x="136" y="251"/>
                    <a:pt x="136" y="251"/>
                  </a:cubicBezTo>
                  <a:cubicBezTo>
                    <a:pt x="134" y="252"/>
                    <a:pt x="134" y="252"/>
                    <a:pt x="134" y="252"/>
                  </a:cubicBezTo>
                  <a:cubicBezTo>
                    <a:pt x="129" y="253"/>
                    <a:pt x="129" y="253"/>
                    <a:pt x="129" y="253"/>
                  </a:cubicBezTo>
                  <a:cubicBezTo>
                    <a:pt x="127" y="255"/>
                    <a:pt x="127" y="255"/>
                    <a:pt x="127" y="255"/>
                  </a:cubicBezTo>
                  <a:cubicBezTo>
                    <a:pt x="126" y="255"/>
                    <a:pt x="126" y="255"/>
                    <a:pt x="126" y="255"/>
                  </a:cubicBezTo>
                  <a:cubicBezTo>
                    <a:pt x="125" y="256"/>
                    <a:pt x="125" y="256"/>
                    <a:pt x="125" y="256"/>
                  </a:cubicBezTo>
                  <a:cubicBezTo>
                    <a:pt x="124" y="258"/>
                    <a:pt x="124" y="258"/>
                    <a:pt x="124" y="258"/>
                  </a:cubicBezTo>
                  <a:cubicBezTo>
                    <a:pt x="124" y="256"/>
                    <a:pt x="124" y="256"/>
                    <a:pt x="124" y="256"/>
                  </a:cubicBezTo>
                  <a:cubicBezTo>
                    <a:pt x="124" y="255"/>
                    <a:pt x="124" y="255"/>
                    <a:pt x="124" y="255"/>
                  </a:cubicBezTo>
                  <a:cubicBezTo>
                    <a:pt x="125" y="253"/>
                    <a:pt x="125" y="253"/>
                    <a:pt x="125" y="253"/>
                  </a:cubicBezTo>
                  <a:cubicBezTo>
                    <a:pt x="126" y="252"/>
                    <a:pt x="126" y="252"/>
                    <a:pt x="126" y="252"/>
                  </a:cubicBezTo>
                  <a:cubicBezTo>
                    <a:pt x="125" y="252"/>
                    <a:pt x="125" y="252"/>
                    <a:pt x="125" y="252"/>
                  </a:cubicBezTo>
                  <a:cubicBezTo>
                    <a:pt x="125" y="251"/>
                    <a:pt x="125" y="251"/>
                    <a:pt x="125" y="251"/>
                  </a:cubicBezTo>
                  <a:cubicBezTo>
                    <a:pt x="125" y="250"/>
                    <a:pt x="125" y="250"/>
                    <a:pt x="125" y="250"/>
                  </a:cubicBezTo>
                  <a:cubicBezTo>
                    <a:pt x="125" y="250"/>
                    <a:pt x="125" y="250"/>
                    <a:pt x="125" y="250"/>
                  </a:cubicBezTo>
                  <a:cubicBezTo>
                    <a:pt x="123" y="247"/>
                    <a:pt x="123" y="247"/>
                    <a:pt x="123" y="247"/>
                  </a:cubicBezTo>
                  <a:cubicBezTo>
                    <a:pt x="122" y="246"/>
                    <a:pt x="122" y="246"/>
                    <a:pt x="122" y="246"/>
                  </a:cubicBezTo>
                  <a:cubicBezTo>
                    <a:pt x="121" y="246"/>
                    <a:pt x="121" y="246"/>
                    <a:pt x="121" y="246"/>
                  </a:cubicBezTo>
                  <a:cubicBezTo>
                    <a:pt x="121" y="246"/>
                    <a:pt x="121" y="246"/>
                    <a:pt x="121" y="246"/>
                  </a:cubicBezTo>
                  <a:cubicBezTo>
                    <a:pt x="120" y="248"/>
                    <a:pt x="120" y="248"/>
                    <a:pt x="120" y="248"/>
                  </a:cubicBezTo>
                  <a:cubicBezTo>
                    <a:pt x="120" y="248"/>
                    <a:pt x="120" y="248"/>
                    <a:pt x="120" y="248"/>
                  </a:cubicBezTo>
                  <a:cubicBezTo>
                    <a:pt x="120" y="249"/>
                    <a:pt x="120" y="249"/>
                    <a:pt x="120" y="249"/>
                  </a:cubicBezTo>
                  <a:cubicBezTo>
                    <a:pt x="121" y="249"/>
                    <a:pt x="121" y="249"/>
                    <a:pt x="121" y="249"/>
                  </a:cubicBezTo>
                  <a:cubicBezTo>
                    <a:pt x="121" y="250"/>
                    <a:pt x="121" y="250"/>
                    <a:pt x="121" y="250"/>
                  </a:cubicBezTo>
                  <a:cubicBezTo>
                    <a:pt x="120" y="250"/>
                    <a:pt x="120" y="250"/>
                    <a:pt x="120" y="250"/>
                  </a:cubicBezTo>
                  <a:cubicBezTo>
                    <a:pt x="119" y="249"/>
                    <a:pt x="119" y="249"/>
                    <a:pt x="119" y="249"/>
                  </a:cubicBezTo>
                  <a:cubicBezTo>
                    <a:pt x="118" y="249"/>
                    <a:pt x="118" y="249"/>
                    <a:pt x="118" y="249"/>
                  </a:cubicBezTo>
                  <a:cubicBezTo>
                    <a:pt x="118" y="251"/>
                    <a:pt x="118" y="251"/>
                    <a:pt x="118" y="251"/>
                  </a:cubicBezTo>
                  <a:cubicBezTo>
                    <a:pt x="117" y="250"/>
                    <a:pt x="117" y="250"/>
                    <a:pt x="117" y="250"/>
                  </a:cubicBezTo>
                  <a:cubicBezTo>
                    <a:pt x="117" y="249"/>
                    <a:pt x="117" y="249"/>
                    <a:pt x="117" y="249"/>
                  </a:cubicBezTo>
                  <a:cubicBezTo>
                    <a:pt x="116" y="249"/>
                    <a:pt x="116" y="249"/>
                    <a:pt x="116" y="249"/>
                  </a:cubicBezTo>
                  <a:cubicBezTo>
                    <a:pt x="115" y="249"/>
                    <a:pt x="115" y="249"/>
                    <a:pt x="115" y="249"/>
                  </a:cubicBezTo>
                  <a:cubicBezTo>
                    <a:pt x="115" y="249"/>
                    <a:pt x="115" y="249"/>
                    <a:pt x="115" y="249"/>
                  </a:cubicBezTo>
                  <a:cubicBezTo>
                    <a:pt x="114" y="249"/>
                    <a:pt x="114" y="249"/>
                    <a:pt x="114" y="249"/>
                  </a:cubicBezTo>
                  <a:cubicBezTo>
                    <a:pt x="114" y="250"/>
                    <a:pt x="114" y="250"/>
                    <a:pt x="114" y="250"/>
                  </a:cubicBezTo>
                  <a:cubicBezTo>
                    <a:pt x="113" y="250"/>
                    <a:pt x="113" y="250"/>
                    <a:pt x="113" y="250"/>
                  </a:cubicBezTo>
                  <a:cubicBezTo>
                    <a:pt x="111" y="249"/>
                    <a:pt x="111" y="249"/>
                    <a:pt x="111" y="249"/>
                  </a:cubicBezTo>
                  <a:cubicBezTo>
                    <a:pt x="111" y="250"/>
                    <a:pt x="111" y="250"/>
                    <a:pt x="111" y="250"/>
                  </a:cubicBezTo>
                  <a:cubicBezTo>
                    <a:pt x="111" y="251"/>
                    <a:pt x="111" y="251"/>
                    <a:pt x="111" y="251"/>
                  </a:cubicBezTo>
                  <a:cubicBezTo>
                    <a:pt x="112" y="252"/>
                    <a:pt x="112" y="252"/>
                    <a:pt x="112" y="252"/>
                  </a:cubicBezTo>
                  <a:cubicBezTo>
                    <a:pt x="112" y="253"/>
                    <a:pt x="112" y="253"/>
                    <a:pt x="112" y="253"/>
                  </a:cubicBezTo>
                  <a:cubicBezTo>
                    <a:pt x="112" y="253"/>
                    <a:pt x="112" y="253"/>
                    <a:pt x="112" y="253"/>
                  </a:cubicBezTo>
                  <a:cubicBezTo>
                    <a:pt x="112" y="254"/>
                    <a:pt x="112" y="254"/>
                    <a:pt x="112" y="254"/>
                  </a:cubicBezTo>
                  <a:cubicBezTo>
                    <a:pt x="113" y="254"/>
                    <a:pt x="113" y="254"/>
                    <a:pt x="113" y="254"/>
                  </a:cubicBezTo>
                  <a:cubicBezTo>
                    <a:pt x="113" y="254"/>
                    <a:pt x="113" y="254"/>
                    <a:pt x="113" y="254"/>
                  </a:cubicBezTo>
                  <a:cubicBezTo>
                    <a:pt x="114" y="254"/>
                    <a:pt x="114" y="254"/>
                    <a:pt x="114" y="254"/>
                  </a:cubicBezTo>
                  <a:cubicBezTo>
                    <a:pt x="114" y="255"/>
                    <a:pt x="114" y="255"/>
                    <a:pt x="114" y="255"/>
                  </a:cubicBezTo>
                  <a:cubicBezTo>
                    <a:pt x="112" y="256"/>
                    <a:pt x="112" y="256"/>
                    <a:pt x="112" y="256"/>
                  </a:cubicBezTo>
                  <a:cubicBezTo>
                    <a:pt x="107" y="257"/>
                    <a:pt x="107" y="257"/>
                    <a:pt x="107" y="257"/>
                  </a:cubicBezTo>
                  <a:cubicBezTo>
                    <a:pt x="106" y="258"/>
                    <a:pt x="106" y="258"/>
                    <a:pt x="106" y="258"/>
                  </a:cubicBezTo>
                  <a:cubicBezTo>
                    <a:pt x="106" y="258"/>
                    <a:pt x="106" y="258"/>
                    <a:pt x="106" y="258"/>
                  </a:cubicBezTo>
                  <a:cubicBezTo>
                    <a:pt x="107" y="259"/>
                    <a:pt x="107" y="259"/>
                    <a:pt x="107" y="259"/>
                  </a:cubicBezTo>
                  <a:cubicBezTo>
                    <a:pt x="108" y="260"/>
                    <a:pt x="108" y="260"/>
                    <a:pt x="108" y="260"/>
                  </a:cubicBezTo>
                  <a:cubicBezTo>
                    <a:pt x="109" y="262"/>
                    <a:pt x="109" y="262"/>
                    <a:pt x="109" y="262"/>
                  </a:cubicBezTo>
                  <a:cubicBezTo>
                    <a:pt x="109" y="262"/>
                    <a:pt x="109" y="262"/>
                    <a:pt x="109" y="262"/>
                  </a:cubicBezTo>
                  <a:cubicBezTo>
                    <a:pt x="110" y="264"/>
                    <a:pt x="110" y="264"/>
                    <a:pt x="110" y="264"/>
                  </a:cubicBezTo>
                  <a:cubicBezTo>
                    <a:pt x="110" y="264"/>
                    <a:pt x="110" y="264"/>
                    <a:pt x="110" y="264"/>
                  </a:cubicBezTo>
                  <a:cubicBezTo>
                    <a:pt x="111" y="264"/>
                    <a:pt x="111" y="264"/>
                    <a:pt x="111" y="264"/>
                  </a:cubicBezTo>
                  <a:cubicBezTo>
                    <a:pt x="117" y="263"/>
                    <a:pt x="117" y="263"/>
                    <a:pt x="117" y="263"/>
                  </a:cubicBezTo>
                  <a:cubicBezTo>
                    <a:pt x="120" y="263"/>
                    <a:pt x="120" y="263"/>
                    <a:pt x="120" y="263"/>
                  </a:cubicBezTo>
                  <a:cubicBezTo>
                    <a:pt x="117" y="264"/>
                    <a:pt x="117" y="264"/>
                    <a:pt x="117" y="264"/>
                  </a:cubicBezTo>
                  <a:cubicBezTo>
                    <a:pt x="110" y="265"/>
                    <a:pt x="110" y="265"/>
                    <a:pt x="110" y="265"/>
                  </a:cubicBezTo>
                  <a:cubicBezTo>
                    <a:pt x="109" y="266"/>
                    <a:pt x="109" y="266"/>
                    <a:pt x="109" y="266"/>
                  </a:cubicBezTo>
                  <a:cubicBezTo>
                    <a:pt x="108" y="267"/>
                    <a:pt x="108" y="267"/>
                    <a:pt x="108" y="267"/>
                  </a:cubicBezTo>
                  <a:cubicBezTo>
                    <a:pt x="109" y="268"/>
                    <a:pt x="109" y="268"/>
                    <a:pt x="109" y="268"/>
                  </a:cubicBezTo>
                  <a:cubicBezTo>
                    <a:pt x="110" y="269"/>
                    <a:pt x="110" y="269"/>
                    <a:pt x="110" y="269"/>
                  </a:cubicBezTo>
                  <a:cubicBezTo>
                    <a:pt x="111" y="270"/>
                    <a:pt x="111" y="270"/>
                    <a:pt x="111" y="270"/>
                  </a:cubicBezTo>
                  <a:cubicBezTo>
                    <a:pt x="108" y="269"/>
                    <a:pt x="108" y="269"/>
                    <a:pt x="108" y="269"/>
                  </a:cubicBezTo>
                  <a:cubicBezTo>
                    <a:pt x="99" y="267"/>
                    <a:pt x="99" y="267"/>
                    <a:pt x="99" y="267"/>
                  </a:cubicBezTo>
                  <a:cubicBezTo>
                    <a:pt x="99" y="268"/>
                    <a:pt x="99" y="268"/>
                    <a:pt x="99" y="268"/>
                  </a:cubicBezTo>
                  <a:cubicBezTo>
                    <a:pt x="100" y="269"/>
                    <a:pt x="100" y="269"/>
                    <a:pt x="100" y="269"/>
                  </a:cubicBezTo>
                  <a:cubicBezTo>
                    <a:pt x="101" y="269"/>
                    <a:pt x="101" y="269"/>
                    <a:pt x="101" y="269"/>
                  </a:cubicBezTo>
                  <a:cubicBezTo>
                    <a:pt x="101" y="270"/>
                    <a:pt x="101" y="270"/>
                    <a:pt x="101" y="270"/>
                  </a:cubicBezTo>
                  <a:cubicBezTo>
                    <a:pt x="101" y="271"/>
                    <a:pt x="101" y="271"/>
                    <a:pt x="101" y="271"/>
                  </a:cubicBezTo>
                  <a:cubicBezTo>
                    <a:pt x="101" y="271"/>
                    <a:pt x="101" y="271"/>
                    <a:pt x="101" y="271"/>
                  </a:cubicBezTo>
                  <a:cubicBezTo>
                    <a:pt x="101" y="271"/>
                    <a:pt x="101" y="271"/>
                    <a:pt x="101" y="271"/>
                  </a:cubicBezTo>
                  <a:cubicBezTo>
                    <a:pt x="101" y="271"/>
                    <a:pt x="101" y="271"/>
                    <a:pt x="101" y="271"/>
                  </a:cubicBezTo>
                  <a:cubicBezTo>
                    <a:pt x="101" y="272"/>
                    <a:pt x="101" y="272"/>
                    <a:pt x="101" y="272"/>
                  </a:cubicBezTo>
                  <a:cubicBezTo>
                    <a:pt x="101" y="272"/>
                    <a:pt x="101" y="272"/>
                    <a:pt x="101" y="272"/>
                  </a:cubicBezTo>
                  <a:cubicBezTo>
                    <a:pt x="100" y="272"/>
                    <a:pt x="100" y="272"/>
                    <a:pt x="100" y="272"/>
                  </a:cubicBezTo>
                  <a:cubicBezTo>
                    <a:pt x="100" y="272"/>
                    <a:pt x="100" y="272"/>
                    <a:pt x="100" y="272"/>
                  </a:cubicBezTo>
                  <a:cubicBezTo>
                    <a:pt x="100" y="271"/>
                    <a:pt x="100" y="271"/>
                    <a:pt x="100" y="271"/>
                  </a:cubicBezTo>
                  <a:cubicBezTo>
                    <a:pt x="100" y="271"/>
                    <a:pt x="100" y="271"/>
                    <a:pt x="100" y="271"/>
                  </a:cubicBezTo>
                  <a:cubicBezTo>
                    <a:pt x="99" y="270"/>
                    <a:pt x="99" y="270"/>
                    <a:pt x="99" y="270"/>
                  </a:cubicBezTo>
                  <a:cubicBezTo>
                    <a:pt x="99" y="269"/>
                    <a:pt x="99" y="269"/>
                    <a:pt x="99" y="269"/>
                  </a:cubicBezTo>
                  <a:cubicBezTo>
                    <a:pt x="98" y="268"/>
                    <a:pt x="98" y="268"/>
                    <a:pt x="98" y="268"/>
                  </a:cubicBezTo>
                  <a:cubicBezTo>
                    <a:pt x="97" y="269"/>
                    <a:pt x="97" y="269"/>
                    <a:pt x="97" y="269"/>
                  </a:cubicBezTo>
                  <a:cubicBezTo>
                    <a:pt x="96" y="270"/>
                    <a:pt x="96" y="270"/>
                    <a:pt x="96" y="270"/>
                  </a:cubicBezTo>
                  <a:cubicBezTo>
                    <a:pt x="97" y="270"/>
                    <a:pt x="97" y="270"/>
                    <a:pt x="97" y="270"/>
                  </a:cubicBezTo>
                  <a:cubicBezTo>
                    <a:pt x="98" y="271"/>
                    <a:pt x="98" y="271"/>
                    <a:pt x="98" y="271"/>
                  </a:cubicBezTo>
                  <a:cubicBezTo>
                    <a:pt x="98" y="272"/>
                    <a:pt x="98" y="272"/>
                    <a:pt x="98" y="272"/>
                  </a:cubicBezTo>
                  <a:cubicBezTo>
                    <a:pt x="98" y="273"/>
                    <a:pt x="98" y="273"/>
                    <a:pt x="98" y="273"/>
                  </a:cubicBezTo>
                  <a:cubicBezTo>
                    <a:pt x="98" y="273"/>
                    <a:pt x="98" y="273"/>
                    <a:pt x="98" y="273"/>
                  </a:cubicBezTo>
                  <a:cubicBezTo>
                    <a:pt x="98" y="273"/>
                    <a:pt x="98" y="273"/>
                    <a:pt x="98" y="273"/>
                  </a:cubicBezTo>
                  <a:cubicBezTo>
                    <a:pt x="98" y="274"/>
                    <a:pt x="98" y="274"/>
                    <a:pt x="98" y="274"/>
                  </a:cubicBezTo>
                  <a:cubicBezTo>
                    <a:pt x="98" y="274"/>
                    <a:pt x="98" y="274"/>
                    <a:pt x="98" y="274"/>
                  </a:cubicBezTo>
                  <a:cubicBezTo>
                    <a:pt x="98" y="275"/>
                    <a:pt x="98" y="275"/>
                    <a:pt x="98" y="275"/>
                  </a:cubicBezTo>
                  <a:cubicBezTo>
                    <a:pt x="98" y="275"/>
                    <a:pt x="98" y="275"/>
                    <a:pt x="98" y="275"/>
                  </a:cubicBezTo>
                  <a:cubicBezTo>
                    <a:pt x="99" y="276"/>
                    <a:pt x="99" y="276"/>
                    <a:pt x="99" y="276"/>
                  </a:cubicBezTo>
                  <a:cubicBezTo>
                    <a:pt x="99" y="276"/>
                    <a:pt x="99" y="276"/>
                    <a:pt x="99" y="276"/>
                  </a:cubicBezTo>
                  <a:cubicBezTo>
                    <a:pt x="101" y="276"/>
                    <a:pt x="101" y="276"/>
                    <a:pt x="101" y="276"/>
                  </a:cubicBezTo>
                  <a:cubicBezTo>
                    <a:pt x="105" y="275"/>
                    <a:pt x="105" y="275"/>
                    <a:pt x="105" y="275"/>
                  </a:cubicBezTo>
                  <a:cubicBezTo>
                    <a:pt x="105" y="276"/>
                    <a:pt x="105" y="276"/>
                    <a:pt x="105" y="276"/>
                  </a:cubicBezTo>
                  <a:cubicBezTo>
                    <a:pt x="105" y="277"/>
                    <a:pt x="105" y="277"/>
                    <a:pt x="105" y="277"/>
                  </a:cubicBezTo>
                  <a:cubicBezTo>
                    <a:pt x="102" y="277"/>
                    <a:pt x="102" y="277"/>
                    <a:pt x="102" y="277"/>
                  </a:cubicBezTo>
                  <a:cubicBezTo>
                    <a:pt x="101" y="277"/>
                    <a:pt x="101" y="277"/>
                    <a:pt x="101" y="277"/>
                  </a:cubicBezTo>
                  <a:cubicBezTo>
                    <a:pt x="102" y="278"/>
                    <a:pt x="102" y="278"/>
                    <a:pt x="102" y="278"/>
                  </a:cubicBezTo>
                  <a:cubicBezTo>
                    <a:pt x="102" y="278"/>
                    <a:pt x="102" y="278"/>
                    <a:pt x="102" y="278"/>
                  </a:cubicBezTo>
                  <a:cubicBezTo>
                    <a:pt x="102" y="278"/>
                    <a:pt x="102" y="278"/>
                    <a:pt x="102" y="278"/>
                  </a:cubicBezTo>
                  <a:cubicBezTo>
                    <a:pt x="102" y="279"/>
                    <a:pt x="102" y="279"/>
                    <a:pt x="102" y="279"/>
                  </a:cubicBezTo>
                  <a:cubicBezTo>
                    <a:pt x="103" y="279"/>
                    <a:pt x="103" y="279"/>
                    <a:pt x="103" y="279"/>
                  </a:cubicBezTo>
                  <a:cubicBezTo>
                    <a:pt x="103" y="279"/>
                    <a:pt x="103" y="279"/>
                    <a:pt x="103" y="279"/>
                  </a:cubicBezTo>
                  <a:cubicBezTo>
                    <a:pt x="106" y="278"/>
                    <a:pt x="106" y="278"/>
                    <a:pt x="106" y="278"/>
                  </a:cubicBezTo>
                  <a:cubicBezTo>
                    <a:pt x="108" y="276"/>
                    <a:pt x="108" y="276"/>
                    <a:pt x="108" y="276"/>
                  </a:cubicBezTo>
                  <a:cubicBezTo>
                    <a:pt x="109" y="276"/>
                    <a:pt x="109" y="276"/>
                    <a:pt x="109" y="276"/>
                  </a:cubicBezTo>
                  <a:cubicBezTo>
                    <a:pt x="107" y="277"/>
                    <a:pt x="107" y="277"/>
                    <a:pt x="107" y="277"/>
                  </a:cubicBezTo>
                  <a:cubicBezTo>
                    <a:pt x="107" y="278"/>
                    <a:pt x="107" y="278"/>
                    <a:pt x="107" y="278"/>
                  </a:cubicBezTo>
                  <a:cubicBezTo>
                    <a:pt x="108" y="279"/>
                    <a:pt x="108" y="279"/>
                    <a:pt x="108" y="279"/>
                  </a:cubicBezTo>
                  <a:cubicBezTo>
                    <a:pt x="109" y="279"/>
                    <a:pt x="109" y="279"/>
                    <a:pt x="109" y="279"/>
                  </a:cubicBezTo>
                  <a:cubicBezTo>
                    <a:pt x="111" y="278"/>
                    <a:pt x="111" y="278"/>
                    <a:pt x="111" y="278"/>
                  </a:cubicBezTo>
                  <a:cubicBezTo>
                    <a:pt x="111" y="279"/>
                    <a:pt x="111" y="279"/>
                    <a:pt x="111" y="279"/>
                  </a:cubicBezTo>
                  <a:cubicBezTo>
                    <a:pt x="111" y="279"/>
                    <a:pt x="111" y="279"/>
                    <a:pt x="111" y="279"/>
                  </a:cubicBezTo>
                  <a:cubicBezTo>
                    <a:pt x="104" y="280"/>
                    <a:pt x="104" y="280"/>
                    <a:pt x="104" y="280"/>
                  </a:cubicBezTo>
                  <a:cubicBezTo>
                    <a:pt x="104" y="281"/>
                    <a:pt x="104" y="281"/>
                    <a:pt x="104" y="281"/>
                  </a:cubicBezTo>
                  <a:cubicBezTo>
                    <a:pt x="106" y="283"/>
                    <a:pt x="106" y="283"/>
                    <a:pt x="106" y="283"/>
                  </a:cubicBezTo>
                  <a:cubicBezTo>
                    <a:pt x="106" y="284"/>
                    <a:pt x="106" y="284"/>
                    <a:pt x="106" y="284"/>
                  </a:cubicBezTo>
                  <a:cubicBezTo>
                    <a:pt x="107" y="284"/>
                    <a:pt x="107" y="284"/>
                    <a:pt x="107" y="284"/>
                  </a:cubicBezTo>
                  <a:cubicBezTo>
                    <a:pt x="109" y="285"/>
                    <a:pt x="109" y="285"/>
                    <a:pt x="109" y="285"/>
                  </a:cubicBezTo>
                  <a:cubicBezTo>
                    <a:pt x="110" y="285"/>
                    <a:pt x="110" y="285"/>
                    <a:pt x="110" y="285"/>
                  </a:cubicBezTo>
                  <a:cubicBezTo>
                    <a:pt x="112" y="289"/>
                    <a:pt x="112" y="289"/>
                    <a:pt x="112" y="289"/>
                  </a:cubicBezTo>
                  <a:cubicBezTo>
                    <a:pt x="112" y="288"/>
                    <a:pt x="112" y="288"/>
                    <a:pt x="112" y="288"/>
                  </a:cubicBezTo>
                  <a:cubicBezTo>
                    <a:pt x="111" y="288"/>
                    <a:pt x="111" y="288"/>
                    <a:pt x="111" y="288"/>
                  </a:cubicBezTo>
                  <a:cubicBezTo>
                    <a:pt x="110" y="288"/>
                    <a:pt x="110" y="288"/>
                    <a:pt x="110" y="288"/>
                  </a:cubicBezTo>
                  <a:cubicBezTo>
                    <a:pt x="110" y="287"/>
                    <a:pt x="110" y="287"/>
                    <a:pt x="110" y="287"/>
                  </a:cubicBezTo>
                  <a:cubicBezTo>
                    <a:pt x="110" y="286"/>
                    <a:pt x="110" y="286"/>
                    <a:pt x="110" y="286"/>
                  </a:cubicBezTo>
                  <a:cubicBezTo>
                    <a:pt x="109" y="286"/>
                    <a:pt x="109" y="286"/>
                    <a:pt x="109" y="286"/>
                  </a:cubicBezTo>
                  <a:cubicBezTo>
                    <a:pt x="109" y="285"/>
                    <a:pt x="109" y="285"/>
                    <a:pt x="109" y="285"/>
                  </a:cubicBezTo>
                  <a:cubicBezTo>
                    <a:pt x="105" y="284"/>
                    <a:pt x="105" y="284"/>
                    <a:pt x="105" y="284"/>
                  </a:cubicBezTo>
                  <a:cubicBezTo>
                    <a:pt x="104" y="284"/>
                    <a:pt x="104" y="284"/>
                    <a:pt x="104" y="284"/>
                  </a:cubicBezTo>
                  <a:cubicBezTo>
                    <a:pt x="105" y="285"/>
                    <a:pt x="105" y="285"/>
                    <a:pt x="105" y="285"/>
                  </a:cubicBezTo>
                  <a:cubicBezTo>
                    <a:pt x="107" y="286"/>
                    <a:pt x="107" y="286"/>
                    <a:pt x="107" y="286"/>
                  </a:cubicBezTo>
                  <a:cubicBezTo>
                    <a:pt x="108" y="287"/>
                    <a:pt x="108" y="287"/>
                    <a:pt x="108" y="287"/>
                  </a:cubicBezTo>
                  <a:cubicBezTo>
                    <a:pt x="107" y="287"/>
                    <a:pt x="107" y="287"/>
                    <a:pt x="107" y="287"/>
                  </a:cubicBezTo>
                  <a:cubicBezTo>
                    <a:pt x="106" y="287"/>
                    <a:pt x="106" y="287"/>
                    <a:pt x="106" y="287"/>
                  </a:cubicBezTo>
                  <a:cubicBezTo>
                    <a:pt x="104" y="285"/>
                    <a:pt x="104" y="285"/>
                    <a:pt x="104" y="285"/>
                  </a:cubicBezTo>
                  <a:cubicBezTo>
                    <a:pt x="103" y="284"/>
                    <a:pt x="103" y="284"/>
                    <a:pt x="103" y="284"/>
                  </a:cubicBezTo>
                  <a:cubicBezTo>
                    <a:pt x="103" y="284"/>
                    <a:pt x="103" y="284"/>
                    <a:pt x="103" y="284"/>
                  </a:cubicBezTo>
                  <a:cubicBezTo>
                    <a:pt x="102" y="285"/>
                    <a:pt x="102" y="285"/>
                    <a:pt x="102" y="285"/>
                  </a:cubicBezTo>
                  <a:cubicBezTo>
                    <a:pt x="101" y="285"/>
                    <a:pt x="101" y="285"/>
                    <a:pt x="101" y="285"/>
                  </a:cubicBezTo>
                  <a:cubicBezTo>
                    <a:pt x="101" y="285"/>
                    <a:pt x="101" y="285"/>
                    <a:pt x="101" y="285"/>
                  </a:cubicBezTo>
                  <a:cubicBezTo>
                    <a:pt x="102" y="283"/>
                    <a:pt x="102" y="283"/>
                    <a:pt x="102" y="283"/>
                  </a:cubicBezTo>
                  <a:cubicBezTo>
                    <a:pt x="101" y="282"/>
                    <a:pt x="101" y="282"/>
                    <a:pt x="101" y="282"/>
                  </a:cubicBezTo>
                  <a:cubicBezTo>
                    <a:pt x="101" y="281"/>
                    <a:pt x="101" y="281"/>
                    <a:pt x="101" y="281"/>
                  </a:cubicBezTo>
                  <a:cubicBezTo>
                    <a:pt x="102" y="280"/>
                    <a:pt x="102" y="280"/>
                    <a:pt x="102" y="280"/>
                  </a:cubicBezTo>
                  <a:cubicBezTo>
                    <a:pt x="102" y="279"/>
                    <a:pt x="102" y="279"/>
                    <a:pt x="102" y="279"/>
                  </a:cubicBezTo>
                  <a:cubicBezTo>
                    <a:pt x="101" y="279"/>
                    <a:pt x="101" y="279"/>
                    <a:pt x="101" y="279"/>
                  </a:cubicBezTo>
                  <a:cubicBezTo>
                    <a:pt x="101" y="279"/>
                    <a:pt x="101" y="279"/>
                    <a:pt x="101" y="279"/>
                  </a:cubicBezTo>
                  <a:cubicBezTo>
                    <a:pt x="101" y="279"/>
                    <a:pt x="101" y="279"/>
                    <a:pt x="101" y="279"/>
                  </a:cubicBezTo>
                  <a:cubicBezTo>
                    <a:pt x="100" y="279"/>
                    <a:pt x="100" y="279"/>
                    <a:pt x="100" y="279"/>
                  </a:cubicBezTo>
                  <a:cubicBezTo>
                    <a:pt x="100" y="278"/>
                    <a:pt x="100" y="278"/>
                    <a:pt x="100" y="278"/>
                  </a:cubicBezTo>
                  <a:cubicBezTo>
                    <a:pt x="99" y="277"/>
                    <a:pt x="99" y="277"/>
                    <a:pt x="99" y="277"/>
                  </a:cubicBezTo>
                  <a:cubicBezTo>
                    <a:pt x="99" y="277"/>
                    <a:pt x="99" y="277"/>
                    <a:pt x="99" y="277"/>
                  </a:cubicBezTo>
                  <a:cubicBezTo>
                    <a:pt x="97" y="276"/>
                    <a:pt x="97" y="276"/>
                    <a:pt x="97" y="276"/>
                  </a:cubicBezTo>
                  <a:cubicBezTo>
                    <a:pt x="96" y="276"/>
                    <a:pt x="96" y="276"/>
                    <a:pt x="96" y="276"/>
                  </a:cubicBezTo>
                  <a:cubicBezTo>
                    <a:pt x="96" y="275"/>
                    <a:pt x="96" y="275"/>
                    <a:pt x="96" y="275"/>
                  </a:cubicBezTo>
                  <a:cubicBezTo>
                    <a:pt x="95" y="274"/>
                    <a:pt x="95" y="274"/>
                    <a:pt x="95" y="274"/>
                  </a:cubicBezTo>
                  <a:cubicBezTo>
                    <a:pt x="96" y="272"/>
                    <a:pt x="96" y="272"/>
                    <a:pt x="96" y="272"/>
                  </a:cubicBezTo>
                  <a:cubicBezTo>
                    <a:pt x="95" y="271"/>
                    <a:pt x="95" y="271"/>
                    <a:pt x="95" y="271"/>
                  </a:cubicBezTo>
                  <a:cubicBezTo>
                    <a:pt x="95" y="270"/>
                    <a:pt x="95" y="270"/>
                    <a:pt x="95" y="270"/>
                  </a:cubicBezTo>
                  <a:cubicBezTo>
                    <a:pt x="94" y="270"/>
                    <a:pt x="94" y="270"/>
                    <a:pt x="94" y="270"/>
                  </a:cubicBezTo>
                  <a:cubicBezTo>
                    <a:pt x="93" y="270"/>
                    <a:pt x="93" y="270"/>
                    <a:pt x="93" y="270"/>
                  </a:cubicBezTo>
                  <a:cubicBezTo>
                    <a:pt x="93" y="270"/>
                    <a:pt x="93" y="270"/>
                    <a:pt x="93" y="270"/>
                  </a:cubicBezTo>
                  <a:cubicBezTo>
                    <a:pt x="92" y="271"/>
                    <a:pt x="92" y="271"/>
                    <a:pt x="92" y="271"/>
                  </a:cubicBezTo>
                  <a:cubicBezTo>
                    <a:pt x="91" y="271"/>
                    <a:pt x="91" y="271"/>
                    <a:pt x="91" y="271"/>
                  </a:cubicBezTo>
                  <a:cubicBezTo>
                    <a:pt x="91" y="272"/>
                    <a:pt x="91" y="272"/>
                    <a:pt x="91" y="272"/>
                  </a:cubicBezTo>
                  <a:cubicBezTo>
                    <a:pt x="90" y="274"/>
                    <a:pt x="90" y="274"/>
                    <a:pt x="90" y="274"/>
                  </a:cubicBezTo>
                  <a:cubicBezTo>
                    <a:pt x="90" y="275"/>
                    <a:pt x="90" y="275"/>
                    <a:pt x="90" y="275"/>
                  </a:cubicBezTo>
                  <a:cubicBezTo>
                    <a:pt x="88" y="276"/>
                    <a:pt x="88" y="276"/>
                    <a:pt x="88" y="276"/>
                  </a:cubicBezTo>
                  <a:cubicBezTo>
                    <a:pt x="88" y="276"/>
                    <a:pt x="88" y="276"/>
                    <a:pt x="88" y="276"/>
                  </a:cubicBezTo>
                  <a:cubicBezTo>
                    <a:pt x="88" y="277"/>
                    <a:pt x="88" y="277"/>
                    <a:pt x="88" y="277"/>
                  </a:cubicBezTo>
                  <a:cubicBezTo>
                    <a:pt x="89" y="277"/>
                    <a:pt x="89" y="277"/>
                    <a:pt x="89" y="277"/>
                  </a:cubicBezTo>
                  <a:cubicBezTo>
                    <a:pt x="90" y="277"/>
                    <a:pt x="90" y="277"/>
                    <a:pt x="90" y="277"/>
                  </a:cubicBezTo>
                  <a:cubicBezTo>
                    <a:pt x="91" y="277"/>
                    <a:pt x="91" y="277"/>
                    <a:pt x="91" y="277"/>
                  </a:cubicBezTo>
                  <a:cubicBezTo>
                    <a:pt x="90" y="276"/>
                    <a:pt x="90" y="276"/>
                    <a:pt x="90" y="276"/>
                  </a:cubicBezTo>
                  <a:cubicBezTo>
                    <a:pt x="90" y="276"/>
                    <a:pt x="90" y="276"/>
                    <a:pt x="90" y="276"/>
                  </a:cubicBezTo>
                  <a:cubicBezTo>
                    <a:pt x="90" y="276"/>
                    <a:pt x="90" y="276"/>
                    <a:pt x="90" y="276"/>
                  </a:cubicBezTo>
                  <a:cubicBezTo>
                    <a:pt x="90" y="276"/>
                    <a:pt x="90" y="276"/>
                    <a:pt x="90" y="276"/>
                  </a:cubicBezTo>
                  <a:cubicBezTo>
                    <a:pt x="90" y="276"/>
                    <a:pt x="90" y="276"/>
                    <a:pt x="90" y="276"/>
                  </a:cubicBezTo>
                  <a:cubicBezTo>
                    <a:pt x="90" y="275"/>
                    <a:pt x="90" y="275"/>
                    <a:pt x="90" y="275"/>
                  </a:cubicBezTo>
                  <a:cubicBezTo>
                    <a:pt x="91" y="275"/>
                    <a:pt x="91" y="275"/>
                    <a:pt x="91" y="275"/>
                  </a:cubicBezTo>
                  <a:cubicBezTo>
                    <a:pt x="91" y="276"/>
                    <a:pt x="91" y="276"/>
                    <a:pt x="91" y="276"/>
                  </a:cubicBezTo>
                  <a:cubicBezTo>
                    <a:pt x="91" y="276"/>
                    <a:pt x="91" y="276"/>
                    <a:pt x="91" y="276"/>
                  </a:cubicBezTo>
                  <a:cubicBezTo>
                    <a:pt x="91" y="277"/>
                    <a:pt x="91" y="277"/>
                    <a:pt x="91" y="277"/>
                  </a:cubicBezTo>
                  <a:cubicBezTo>
                    <a:pt x="92" y="277"/>
                    <a:pt x="92" y="277"/>
                    <a:pt x="92" y="277"/>
                  </a:cubicBezTo>
                  <a:cubicBezTo>
                    <a:pt x="94" y="279"/>
                    <a:pt x="94" y="279"/>
                    <a:pt x="94" y="279"/>
                  </a:cubicBezTo>
                  <a:cubicBezTo>
                    <a:pt x="95" y="280"/>
                    <a:pt x="95" y="280"/>
                    <a:pt x="95" y="280"/>
                  </a:cubicBezTo>
                  <a:cubicBezTo>
                    <a:pt x="96" y="280"/>
                    <a:pt x="96" y="280"/>
                    <a:pt x="96" y="280"/>
                  </a:cubicBezTo>
                  <a:cubicBezTo>
                    <a:pt x="96" y="281"/>
                    <a:pt x="96" y="281"/>
                    <a:pt x="96" y="281"/>
                  </a:cubicBezTo>
                  <a:cubicBezTo>
                    <a:pt x="96" y="282"/>
                    <a:pt x="96" y="282"/>
                    <a:pt x="96" y="282"/>
                  </a:cubicBezTo>
                  <a:cubicBezTo>
                    <a:pt x="96" y="282"/>
                    <a:pt x="96" y="282"/>
                    <a:pt x="96" y="282"/>
                  </a:cubicBezTo>
                  <a:cubicBezTo>
                    <a:pt x="97" y="282"/>
                    <a:pt x="97" y="282"/>
                    <a:pt x="97" y="282"/>
                  </a:cubicBezTo>
                  <a:cubicBezTo>
                    <a:pt x="97" y="283"/>
                    <a:pt x="97" y="283"/>
                    <a:pt x="97" y="283"/>
                  </a:cubicBezTo>
                  <a:cubicBezTo>
                    <a:pt x="97" y="283"/>
                    <a:pt x="97" y="283"/>
                    <a:pt x="97" y="283"/>
                  </a:cubicBezTo>
                  <a:cubicBezTo>
                    <a:pt x="98" y="283"/>
                    <a:pt x="98" y="283"/>
                    <a:pt x="98" y="283"/>
                  </a:cubicBezTo>
                  <a:cubicBezTo>
                    <a:pt x="97" y="283"/>
                    <a:pt x="97" y="283"/>
                    <a:pt x="97" y="283"/>
                  </a:cubicBezTo>
                  <a:cubicBezTo>
                    <a:pt x="97" y="284"/>
                    <a:pt x="97" y="284"/>
                    <a:pt x="97" y="284"/>
                  </a:cubicBezTo>
                  <a:cubicBezTo>
                    <a:pt x="97" y="284"/>
                    <a:pt x="97" y="284"/>
                    <a:pt x="97" y="284"/>
                  </a:cubicBezTo>
                  <a:cubicBezTo>
                    <a:pt x="96" y="285"/>
                    <a:pt x="96" y="285"/>
                    <a:pt x="96" y="285"/>
                  </a:cubicBezTo>
                  <a:cubicBezTo>
                    <a:pt x="97" y="286"/>
                    <a:pt x="97" y="286"/>
                    <a:pt x="97" y="286"/>
                  </a:cubicBezTo>
                  <a:cubicBezTo>
                    <a:pt x="97" y="287"/>
                    <a:pt x="97" y="287"/>
                    <a:pt x="97" y="287"/>
                  </a:cubicBezTo>
                  <a:cubicBezTo>
                    <a:pt x="99" y="289"/>
                    <a:pt x="99" y="289"/>
                    <a:pt x="99" y="289"/>
                  </a:cubicBezTo>
                  <a:cubicBezTo>
                    <a:pt x="101" y="290"/>
                    <a:pt x="101" y="290"/>
                    <a:pt x="101" y="290"/>
                  </a:cubicBezTo>
                  <a:cubicBezTo>
                    <a:pt x="103" y="292"/>
                    <a:pt x="103" y="292"/>
                    <a:pt x="103" y="292"/>
                  </a:cubicBezTo>
                  <a:cubicBezTo>
                    <a:pt x="105" y="293"/>
                    <a:pt x="105" y="293"/>
                    <a:pt x="105" y="293"/>
                  </a:cubicBezTo>
                  <a:cubicBezTo>
                    <a:pt x="108" y="295"/>
                    <a:pt x="108" y="295"/>
                    <a:pt x="108" y="295"/>
                  </a:cubicBezTo>
                  <a:cubicBezTo>
                    <a:pt x="108" y="297"/>
                    <a:pt x="108" y="297"/>
                    <a:pt x="108" y="297"/>
                  </a:cubicBezTo>
                  <a:cubicBezTo>
                    <a:pt x="108" y="298"/>
                    <a:pt x="108" y="298"/>
                    <a:pt x="108" y="298"/>
                  </a:cubicBezTo>
                  <a:cubicBezTo>
                    <a:pt x="108" y="300"/>
                    <a:pt x="108" y="300"/>
                    <a:pt x="108" y="300"/>
                  </a:cubicBezTo>
                  <a:cubicBezTo>
                    <a:pt x="108" y="297"/>
                    <a:pt x="108" y="297"/>
                    <a:pt x="108" y="297"/>
                  </a:cubicBezTo>
                  <a:cubicBezTo>
                    <a:pt x="107" y="296"/>
                    <a:pt x="107" y="296"/>
                    <a:pt x="107" y="296"/>
                  </a:cubicBezTo>
                  <a:cubicBezTo>
                    <a:pt x="106" y="296"/>
                    <a:pt x="106" y="296"/>
                    <a:pt x="106" y="296"/>
                  </a:cubicBezTo>
                  <a:cubicBezTo>
                    <a:pt x="105" y="296"/>
                    <a:pt x="105" y="296"/>
                    <a:pt x="105" y="296"/>
                  </a:cubicBezTo>
                  <a:cubicBezTo>
                    <a:pt x="104" y="295"/>
                    <a:pt x="104" y="295"/>
                    <a:pt x="104" y="295"/>
                  </a:cubicBezTo>
                  <a:cubicBezTo>
                    <a:pt x="101" y="292"/>
                    <a:pt x="101" y="292"/>
                    <a:pt x="101" y="292"/>
                  </a:cubicBezTo>
                  <a:cubicBezTo>
                    <a:pt x="100" y="291"/>
                    <a:pt x="100" y="291"/>
                    <a:pt x="100" y="291"/>
                  </a:cubicBezTo>
                  <a:cubicBezTo>
                    <a:pt x="97" y="290"/>
                    <a:pt x="97" y="290"/>
                    <a:pt x="97" y="290"/>
                  </a:cubicBezTo>
                  <a:cubicBezTo>
                    <a:pt x="96" y="289"/>
                    <a:pt x="96" y="289"/>
                    <a:pt x="96" y="289"/>
                  </a:cubicBezTo>
                  <a:cubicBezTo>
                    <a:pt x="96" y="288"/>
                    <a:pt x="96" y="288"/>
                    <a:pt x="96" y="288"/>
                  </a:cubicBezTo>
                  <a:cubicBezTo>
                    <a:pt x="95" y="286"/>
                    <a:pt x="95" y="286"/>
                    <a:pt x="95" y="286"/>
                  </a:cubicBezTo>
                  <a:cubicBezTo>
                    <a:pt x="95" y="284"/>
                    <a:pt x="95" y="284"/>
                    <a:pt x="95" y="284"/>
                  </a:cubicBezTo>
                  <a:cubicBezTo>
                    <a:pt x="95" y="283"/>
                    <a:pt x="95" y="283"/>
                    <a:pt x="95" y="283"/>
                  </a:cubicBezTo>
                  <a:cubicBezTo>
                    <a:pt x="95" y="282"/>
                    <a:pt x="95" y="282"/>
                    <a:pt x="95" y="282"/>
                  </a:cubicBezTo>
                  <a:cubicBezTo>
                    <a:pt x="94" y="282"/>
                    <a:pt x="94" y="282"/>
                    <a:pt x="94" y="282"/>
                  </a:cubicBezTo>
                  <a:cubicBezTo>
                    <a:pt x="94" y="281"/>
                    <a:pt x="94" y="281"/>
                    <a:pt x="94" y="281"/>
                  </a:cubicBezTo>
                  <a:cubicBezTo>
                    <a:pt x="94" y="281"/>
                    <a:pt x="94" y="281"/>
                    <a:pt x="94" y="281"/>
                  </a:cubicBezTo>
                  <a:cubicBezTo>
                    <a:pt x="94" y="280"/>
                    <a:pt x="94" y="280"/>
                    <a:pt x="94" y="280"/>
                  </a:cubicBezTo>
                  <a:cubicBezTo>
                    <a:pt x="91" y="279"/>
                    <a:pt x="91" y="279"/>
                    <a:pt x="91" y="279"/>
                  </a:cubicBezTo>
                  <a:cubicBezTo>
                    <a:pt x="90" y="279"/>
                    <a:pt x="90" y="279"/>
                    <a:pt x="90" y="279"/>
                  </a:cubicBezTo>
                  <a:cubicBezTo>
                    <a:pt x="88" y="280"/>
                    <a:pt x="88" y="280"/>
                    <a:pt x="88" y="280"/>
                  </a:cubicBezTo>
                  <a:cubicBezTo>
                    <a:pt x="88" y="280"/>
                    <a:pt x="88" y="280"/>
                    <a:pt x="88" y="280"/>
                  </a:cubicBezTo>
                  <a:cubicBezTo>
                    <a:pt x="87" y="280"/>
                    <a:pt x="87" y="280"/>
                    <a:pt x="87" y="280"/>
                  </a:cubicBezTo>
                  <a:cubicBezTo>
                    <a:pt x="87" y="281"/>
                    <a:pt x="87" y="281"/>
                    <a:pt x="87" y="281"/>
                  </a:cubicBezTo>
                  <a:cubicBezTo>
                    <a:pt x="82" y="283"/>
                    <a:pt x="82" y="283"/>
                    <a:pt x="82" y="283"/>
                  </a:cubicBezTo>
                  <a:cubicBezTo>
                    <a:pt x="82" y="283"/>
                    <a:pt x="82" y="283"/>
                    <a:pt x="82" y="283"/>
                  </a:cubicBezTo>
                  <a:cubicBezTo>
                    <a:pt x="84" y="281"/>
                    <a:pt x="84" y="281"/>
                    <a:pt x="84" y="281"/>
                  </a:cubicBezTo>
                  <a:cubicBezTo>
                    <a:pt x="84" y="280"/>
                    <a:pt x="84" y="280"/>
                    <a:pt x="84" y="280"/>
                  </a:cubicBezTo>
                  <a:cubicBezTo>
                    <a:pt x="85" y="279"/>
                    <a:pt x="85" y="279"/>
                    <a:pt x="85" y="279"/>
                  </a:cubicBezTo>
                  <a:cubicBezTo>
                    <a:pt x="85" y="279"/>
                    <a:pt x="85" y="279"/>
                    <a:pt x="85" y="279"/>
                  </a:cubicBezTo>
                  <a:cubicBezTo>
                    <a:pt x="85" y="279"/>
                    <a:pt x="85" y="279"/>
                    <a:pt x="85" y="279"/>
                  </a:cubicBezTo>
                  <a:cubicBezTo>
                    <a:pt x="82" y="279"/>
                    <a:pt x="82" y="279"/>
                    <a:pt x="82" y="279"/>
                  </a:cubicBezTo>
                  <a:cubicBezTo>
                    <a:pt x="82" y="279"/>
                    <a:pt x="82" y="279"/>
                    <a:pt x="82" y="279"/>
                  </a:cubicBezTo>
                  <a:cubicBezTo>
                    <a:pt x="80" y="280"/>
                    <a:pt x="80" y="280"/>
                    <a:pt x="80" y="280"/>
                  </a:cubicBezTo>
                  <a:cubicBezTo>
                    <a:pt x="78" y="282"/>
                    <a:pt x="78" y="282"/>
                    <a:pt x="78" y="282"/>
                  </a:cubicBezTo>
                  <a:cubicBezTo>
                    <a:pt x="77" y="283"/>
                    <a:pt x="77" y="283"/>
                    <a:pt x="77" y="283"/>
                  </a:cubicBezTo>
                  <a:cubicBezTo>
                    <a:pt x="75" y="283"/>
                    <a:pt x="75" y="283"/>
                    <a:pt x="75" y="283"/>
                  </a:cubicBezTo>
                  <a:cubicBezTo>
                    <a:pt x="75" y="281"/>
                    <a:pt x="75" y="281"/>
                    <a:pt x="75" y="281"/>
                  </a:cubicBezTo>
                  <a:cubicBezTo>
                    <a:pt x="74" y="280"/>
                    <a:pt x="74" y="280"/>
                    <a:pt x="74" y="280"/>
                  </a:cubicBezTo>
                  <a:cubicBezTo>
                    <a:pt x="73" y="279"/>
                    <a:pt x="73" y="279"/>
                    <a:pt x="73" y="279"/>
                  </a:cubicBezTo>
                  <a:cubicBezTo>
                    <a:pt x="72" y="279"/>
                    <a:pt x="72" y="279"/>
                    <a:pt x="72" y="279"/>
                  </a:cubicBezTo>
                  <a:cubicBezTo>
                    <a:pt x="71" y="277"/>
                    <a:pt x="71" y="277"/>
                    <a:pt x="71" y="277"/>
                  </a:cubicBezTo>
                  <a:cubicBezTo>
                    <a:pt x="70" y="276"/>
                    <a:pt x="70" y="276"/>
                    <a:pt x="70" y="276"/>
                  </a:cubicBezTo>
                  <a:cubicBezTo>
                    <a:pt x="69" y="276"/>
                    <a:pt x="69" y="276"/>
                    <a:pt x="69" y="276"/>
                  </a:cubicBezTo>
                  <a:cubicBezTo>
                    <a:pt x="67" y="277"/>
                    <a:pt x="67" y="277"/>
                    <a:pt x="67" y="277"/>
                  </a:cubicBezTo>
                  <a:cubicBezTo>
                    <a:pt x="65" y="278"/>
                    <a:pt x="65" y="278"/>
                    <a:pt x="65" y="278"/>
                  </a:cubicBezTo>
                  <a:cubicBezTo>
                    <a:pt x="64" y="278"/>
                    <a:pt x="64" y="278"/>
                    <a:pt x="64" y="278"/>
                  </a:cubicBezTo>
                  <a:cubicBezTo>
                    <a:pt x="62" y="280"/>
                    <a:pt x="62" y="280"/>
                    <a:pt x="62" y="280"/>
                  </a:cubicBezTo>
                  <a:cubicBezTo>
                    <a:pt x="59" y="282"/>
                    <a:pt x="59" y="282"/>
                    <a:pt x="59" y="282"/>
                  </a:cubicBezTo>
                  <a:cubicBezTo>
                    <a:pt x="59" y="282"/>
                    <a:pt x="59" y="282"/>
                    <a:pt x="59" y="282"/>
                  </a:cubicBezTo>
                  <a:cubicBezTo>
                    <a:pt x="58" y="283"/>
                    <a:pt x="58" y="283"/>
                    <a:pt x="58" y="283"/>
                  </a:cubicBezTo>
                  <a:cubicBezTo>
                    <a:pt x="60" y="283"/>
                    <a:pt x="60" y="283"/>
                    <a:pt x="60" y="283"/>
                  </a:cubicBezTo>
                  <a:cubicBezTo>
                    <a:pt x="60" y="283"/>
                    <a:pt x="60" y="283"/>
                    <a:pt x="60" y="283"/>
                  </a:cubicBezTo>
                  <a:cubicBezTo>
                    <a:pt x="60" y="285"/>
                    <a:pt x="60" y="285"/>
                    <a:pt x="60" y="285"/>
                  </a:cubicBezTo>
                  <a:cubicBezTo>
                    <a:pt x="62" y="287"/>
                    <a:pt x="62" y="287"/>
                    <a:pt x="62" y="287"/>
                  </a:cubicBezTo>
                  <a:cubicBezTo>
                    <a:pt x="62" y="288"/>
                    <a:pt x="62" y="288"/>
                    <a:pt x="62" y="288"/>
                  </a:cubicBezTo>
                  <a:cubicBezTo>
                    <a:pt x="66" y="287"/>
                    <a:pt x="66" y="287"/>
                    <a:pt x="66" y="287"/>
                  </a:cubicBezTo>
                  <a:cubicBezTo>
                    <a:pt x="66" y="288"/>
                    <a:pt x="66" y="288"/>
                    <a:pt x="66" y="288"/>
                  </a:cubicBezTo>
                  <a:cubicBezTo>
                    <a:pt x="67" y="289"/>
                    <a:pt x="67" y="289"/>
                    <a:pt x="67" y="289"/>
                  </a:cubicBezTo>
                  <a:cubicBezTo>
                    <a:pt x="68" y="289"/>
                    <a:pt x="68" y="289"/>
                    <a:pt x="68" y="289"/>
                  </a:cubicBezTo>
                  <a:cubicBezTo>
                    <a:pt x="63" y="289"/>
                    <a:pt x="63" y="289"/>
                    <a:pt x="63" y="289"/>
                  </a:cubicBezTo>
                  <a:cubicBezTo>
                    <a:pt x="62" y="289"/>
                    <a:pt x="62" y="289"/>
                    <a:pt x="62" y="289"/>
                  </a:cubicBezTo>
                  <a:cubicBezTo>
                    <a:pt x="61" y="291"/>
                    <a:pt x="61" y="291"/>
                    <a:pt x="61" y="291"/>
                  </a:cubicBezTo>
                  <a:cubicBezTo>
                    <a:pt x="61" y="291"/>
                    <a:pt x="61" y="291"/>
                    <a:pt x="61" y="291"/>
                  </a:cubicBezTo>
                  <a:cubicBezTo>
                    <a:pt x="60" y="292"/>
                    <a:pt x="60" y="292"/>
                    <a:pt x="60" y="292"/>
                  </a:cubicBezTo>
                  <a:cubicBezTo>
                    <a:pt x="61" y="293"/>
                    <a:pt x="61" y="293"/>
                    <a:pt x="61" y="293"/>
                  </a:cubicBezTo>
                  <a:cubicBezTo>
                    <a:pt x="61" y="293"/>
                    <a:pt x="61" y="293"/>
                    <a:pt x="61" y="293"/>
                  </a:cubicBezTo>
                  <a:cubicBezTo>
                    <a:pt x="61" y="293"/>
                    <a:pt x="61" y="293"/>
                    <a:pt x="61" y="293"/>
                  </a:cubicBezTo>
                  <a:cubicBezTo>
                    <a:pt x="61" y="294"/>
                    <a:pt x="61" y="294"/>
                    <a:pt x="61" y="294"/>
                  </a:cubicBezTo>
                  <a:cubicBezTo>
                    <a:pt x="61" y="294"/>
                    <a:pt x="61" y="294"/>
                    <a:pt x="61" y="294"/>
                  </a:cubicBezTo>
                  <a:cubicBezTo>
                    <a:pt x="61" y="295"/>
                    <a:pt x="61" y="295"/>
                    <a:pt x="61" y="295"/>
                  </a:cubicBezTo>
                  <a:cubicBezTo>
                    <a:pt x="60" y="295"/>
                    <a:pt x="60" y="295"/>
                    <a:pt x="60" y="295"/>
                  </a:cubicBezTo>
                  <a:cubicBezTo>
                    <a:pt x="61" y="295"/>
                    <a:pt x="61" y="295"/>
                    <a:pt x="61" y="295"/>
                  </a:cubicBezTo>
                  <a:cubicBezTo>
                    <a:pt x="71" y="294"/>
                    <a:pt x="71" y="294"/>
                    <a:pt x="71" y="294"/>
                  </a:cubicBezTo>
                  <a:cubicBezTo>
                    <a:pt x="72" y="293"/>
                    <a:pt x="72" y="293"/>
                    <a:pt x="72" y="293"/>
                  </a:cubicBezTo>
                  <a:cubicBezTo>
                    <a:pt x="74" y="293"/>
                    <a:pt x="74" y="293"/>
                    <a:pt x="74" y="293"/>
                  </a:cubicBezTo>
                  <a:cubicBezTo>
                    <a:pt x="74" y="293"/>
                    <a:pt x="74" y="293"/>
                    <a:pt x="74" y="293"/>
                  </a:cubicBezTo>
                  <a:cubicBezTo>
                    <a:pt x="75" y="292"/>
                    <a:pt x="75" y="292"/>
                    <a:pt x="75" y="292"/>
                  </a:cubicBezTo>
                  <a:cubicBezTo>
                    <a:pt x="80" y="291"/>
                    <a:pt x="80" y="291"/>
                    <a:pt x="80" y="291"/>
                  </a:cubicBezTo>
                  <a:cubicBezTo>
                    <a:pt x="81" y="291"/>
                    <a:pt x="81" y="291"/>
                    <a:pt x="81" y="291"/>
                  </a:cubicBezTo>
                  <a:cubicBezTo>
                    <a:pt x="82" y="291"/>
                    <a:pt x="82" y="291"/>
                    <a:pt x="82" y="291"/>
                  </a:cubicBezTo>
                  <a:cubicBezTo>
                    <a:pt x="76" y="292"/>
                    <a:pt x="76" y="292"/>
                    <a:pt x="76" y="292"/>
                  </a:cubicBezTo>
                  <a:cubicBezTo>
                    <a:pt x="74" y="294"/>
                    <a:pt x="74" y="294"/>
                    <a:pt x="74" y="294"/>
                  </a:cubicBezTo>
                  <a:cubicBezTo>
                    <a:pt x="73" y="295"/>
                    <a:pt x="73" y="295"/>
                    <a:pt x="73" y="295"/>
                  </a:cubicBezTo>
                  <a:cubicBezTo>
                    <a:pt x="74" y="295"/>
                    <a:pt x="74" y="295"/>
                    <a:pt x="74" y="295"/>
                  </a:cubicBezTo>
                  <a:cubicBezTo>
                    <a:pt x="74" y="296"/>
                    <a:pt x="74" y="296"/>
                    <a:pt x="74" y="296"/>
                  </a:cubicBezTo>
                  <a:cubicBezTo>
                    <a:pt x="73" y="297"/>
                    <a:pt x="73" y="297"/>
                    <a:pt x="73" y="297"/>
                  </a:cubicBezTo>
                  <a:cubicBezTo>
                    <a:pt x="72" y="297"/>
                    <a:pt x="72" y="297"/>
                    <a:pt x="72" y="297"/>
                  </a:cubicBezTo>
                  <a:cubicBezTo>
                    <a:pt x="73" y="298"/>
                    <a:pt x="73" y="298"/>
                    <a:pt x="73" y="298"/>
                  </a:cubicBezTo>
                  <a:cubicBezTo>
                    <a:pt x="76" y="298"/>
                    <a:pt x="76" y="298"/>
                    <a:pt x="76" y="298"/>
                  </a:cubicBezTo>
                  <a:cubicBezTo>
                    <a:pt x="77" y="297"/>
                    <a:pt x="77" y="297"/>
                    <a:pt x="77" y="297"/>
                  </a:cubicBezTo>
                  <a:cubicBezTo>
                    <a:pt x="81" y="295"/>
                    <a:pt x="81" y="295"/>
                    <a:pt x="81" y="295"/>
                  </a:cubicBezTo>
                  <a:cubicBezTo>
                    <a:pt x="87" y="294"/>
                    <a:pt x="87" y="294"/>
                    <a:pt x="87" y="294"/>
                  </a:cubicBezTo>
                  <a:cubicBezTo>
                    <a:pt x="89" y="293"/>
                    <a:pt x="89" y="293"/>
                    <a:pt x="89" y="293"/>
                  </a:cubicBezTo>
                  <a:cubicBezTo>
                    <a:pt x="92" y="292"/>
                    <a:pt x="92" y="292"/>
                    <a:pt x="92" y="292"/>
                  </a:cubicBezTo>
                  <a:cubicBezTo>
                    <a:pt x="93" y="292"/>
                    <a:pt x="93" y="292"/>
                    <a:pt x="93" y="292"/>
                  </a:cubicBezTo>
                  <a:cubicBezTo>
                    <a:pt x="94" y="292"/>
                    <a:pt x="94" y="292"/>
                    <a:pt x="94" y="292"/>
                  </a:cubicBezTo>
                  <a:cubicBezTo>
                    <a:pt x="94" y="292"/>
                    <a:pt x="94" y="292"/>
                    <a:pt x="94" y="292"/>
                  </a:cubicBezTo>
                  <a:cubicBezTo>
                    <a:pt x="93" y="293"/>
                    <a:pt x="93" y="293"/>
                    <a:pt x="93" y="293"/>
                  </a:cubicBezTo>
                  <a:cubicBezTo>
                    <a:pt x="93" y="293"/>
                    <a:pt x="93" y="293"/>
                    <a:pt x="93" y="293"/>
                  </a:cubicBezTo>
                  <a:cubicBezTo>
                    <a:pt x="93" y="293"/>
                    <a:pt x="93" y="293"/>
                    <a:pt x="93" y="293"/>
                  </a:cubicBezTo>
                  <a:cubicBezTo>
                    <a:pt x="93" y="294"/>
                    <a:pt x="93" y="294"/>
                    <a:pt x="93" y="294"/>
                  </a:cubicBezTo>
                  <a:cubicBezTo>
                    <a:pt x="95" y="296"/>
                    <a:pt x="95" y="296"/>
                    <a:pt x="95" y="296"/>
                  </a:cubicBezTo>
                  <a:cubicBezTo>
                    <a:pt x="96" y="297"/>
                    <a:pt x="96" y="297"/>
                    <a:pt x="96" y="297"/>
                  </a:cubicBezTo>
                  <a:cubicBezTo>
                    <a:pt x="95" y="297"/>
                    <a:pt x="95" y="297"/>
                    <a:pt x="95" y="297"/>
                  </a:cubicBezTo>
                  <a:cubicBezTo>
                    <a:pt x="93" y="295"/>
                    <a:pt x="93" y="295"/>
                    <a:pt x="93" y="295"/>
                  </a:cubicBezTo>
                  <a:cubicBezTo>
                    <a:pt x="92" y="295"/>
                    <a:pt x="92" y="295"/>
                    <a:pt x="92" y="295"/>
                  </a:cubicBezTo>
                  <a:cubicBezTo>
                    <a:pt x="91" y="294"/>
                    <a:pt x="91" y="294"/>
                    <a:pt x="91" y="294"/>
                  </a:cubicBezTo>
                  <a:cubicBezTo>
                    <a:pt x="90" y="295"/>
                    <a:pt x="90" y="295"/>
                    <a:pt x="90" y="295"/>
                  </a:cubicBezTo>
                  <a:cubicBezTo>
                    <a:pt x="87" y="295"/>
                    <a:pt x="87" y="295"/>
                    <a:pt x="87" y="295"/>
                  </a:cubicBezTo>
                  <a:cubicBezTo>
                    <a:pt x="80" y="297"/>
                    <a:pt x="80" y="297"/>
                    <a:pt x="80" y="297"/>
                  </a:cubicBezTo>
                  <a:cubicBezTo>
                    <a:pt x="79" y="298"/>
                    <a:pt x="79" y="298"/>
                    <a:pt x="79" y="298"/>
                  </a:cubicBezTo>
                  <a:cubicBezTo>
                    <a:pt x="77" y="298"/>
                    <a:pt x="77" y="298"/>
                    <a:pt x="77" y="298"/>
                  </a:cubicBezTo>
                  <a:cubicBezTo>
                    <a:pt x="77" y="299"/>
                    <a:pt x="77" y="299"/>
                    <a:pt x="77" y="299"/>
                  </a:cubicBezTo>
                  <a:cubicBezTo>
                    <a:pt x="77" y="300"/>
                    <a:pt x="77" y="300"/>
                    <a:pt x="77" y="300"/>
                  </a:cubicBezTo>
                  <a:cubicBezTo>
                    <a:pt x="78" y="302"/>
                    <a:pt x="78" y="302"/>
                    <a:pt x="78" y="302"/>
                  </a:cubicBezTo>
                  <a:cubicBezTo>
                    <a:pt x="78" y="304"/>
                    <a:pt x="78" y="304"/>
                    <a:pt x="78" y="304"/>
                  </a:cubicBezTo>
                  <a:cubicBezTo>
                    <a:pt x="77" y="304"/>
                    <a:pt x="77" y="304"/>
                    <a:pt x="77" y="304"/>
                  </a:cubicBezTo>
                  <a:cubicBezTo>
                    <a:pt x="77" y="304"/>
                    <a:pt x="77" y="304"/>
                    <a:pt x="77" y="304"/>
                  </a:cubicBezTo>
                  <a:cubicBezTo>
                    <a:pt x="77" y="302"/>
                    <a:pt x="77" y="302"/>
                    <a:pt x="77" y="302"/>
                  </a:cubicBezTo>
                  <a:cubicBezTo>
                    <a:pt x="76" y="301"/>
                    <a:pt x="76" y="301"/>
                    <a:pt x="76" y="301"/>
                  </a:cubicBezTo>
                  <a:cubicBezTo>
                    <a:pt x="75" y="300"/>
                    <a:pt x="75" y="300"/>
                    <a:pt x="75" y="300"/>
                  </a:cubicBezTo>
                  <a:cubicBezTo>
                    <a:pt x="74" y="301"/>
                    <a:pt x="74" y="301"/>
                    <a:pt x="74" y="301"/>
                  </a:cubicBezTo>
                  <a:cubicBezTo>
                    <a:pt x="74" y="302"/>
                    <a:pt x="74" y="302"/>
                    <a:pt x="74" y="302"/>
                  </a:cubicBezTo>
                  <a:cubicBezTo>
                    <a:pt x="74" y="303"/>
                    <a:pt x="74" y="303"/>
                    <a:pt x="74" y="303"/>
                  </a:cubicBezTo>
                  <a:cubicBezTo>
                    <a:pt x="75" y="304"/>
                    <a:pt x="75" y="304"/>
                    <a:pt x="75" y="304"/>
                  </a:cubicBezTo>
                  <a:cubicBezTo>
                    <a:pt x="75" y="305"/>
                    <a:pt x="75" y="305"/>
                    <a:pt x="75" y="305"/>
                  </a:cubicBezTo>
                  <a:cubicBezTo>
                    <a:pt x="77" y="305"/>
                    <a:pt x="77" y="305"/>
                    <a:pt x="77" y="305"/>
                  </a:cubicBezTo>
                  <a:cubicBezTo>
                    <a:pt x="84" y="304"/>
                    <a:pt x="84" y="304"/>
                    <a:pt x="84" y="304"/>
                  </a:cubicBezTo>
                  <a:cubicBezTo>
                    <a:pt x="85" y="305"/>
                    <a:pt x="85" y="305"/>
                    <a:pt x="85" y="305"/>
                  </a:cubicBezTo>
                  <a:cubicBezTo>
                    <a:pt x="79" y="306"/>
                    <a:pt x="79" y="306"/>
                    <a:pt x="79" y="306"/>
                  </a:cubicBezTo>
                  <a:cubicBezTo>
                    <a:pt x="79" y="306"/>
                    <a:pt x="79" y="306"/>
                    <a:pt x="79" y="306"/>
                  </a:cubicBezTo>
                  <a:cubicBezTo>
                    <a:pt x="79" y="307"/>
                    <a:pt x="79" y="307"/>
                    <a:pt x="79" y="307"/>
                  </a:cubicBezTo>
                  <a:cubicBezTo>
                    <a:pt x="79" y="308"/>
                    <a:pt x="79" y="308"/>
                    <a:pt x="79" y="308"/>
                  </a:cubicBezTo>
                  <a:cubicBezTo>
                    <a:pt x="78" y="309"/>
                    <a:pt x="78" y="309"/>
                    <a:pt x="78" y="309"/>
                  </a:cubicBezTo>
                  <a:cubicBezTo>
                    <a:pt x="78" y="309"/>
                    <a:pt x="78" y="309"/>
                    <a:pt x="78" y="309"/>
                  </a:cubicBezTo>
                  <a:cubicBezTo>
                    <a:pt x="78" y="309"/>
                    <a:pt x="78" y="309"/>
                    <a:pt x="78" y="309"/>
                  </a:cubicBezTo>
                  <a:cubicBezTo>
                    <a:pt x="77" y="308"/>
                    <a:pt x="77" y="308"/>
                    <a:pt x="77" y="308"/>
                  </a:cubicBezTo>
                  <a:cubicBezTo>
                    <a:pt x="77" y="307"/>
                    <a:pt x="77" y="307"/>
                    <a:pt x="77" y="307"/>
                  </a:cubicBezTo>
                  <a:cubicBezTo>
                    <a:pt x="76" y="306"/>
                    <a:pt x="76" y="306"/>
                    <a:pt x="76" y="306"/>
                  </a:cubicBezTo>
                  <a:cubicBezTo>
                    <a:pt x="75" y="307"/>
                    <a:pt x="75" y="307"/>
                    <a:pt x="75" y="307"/>
                  </a:cubicBezTo>
                  <a:cubicBezTo>
                    <a:pt x="73" y="304"/>
                    <a:pt x="73" y="304"/>
                    <a:pt x="73" y="304"/>
                  </a:cubicBezTo>
                  <a:cubicBezTo>
                    <a:pt x="71" y="303"/>
                    <a:pt x="71" y="303"/>
                    <a:pt x="71" y="303"/>
                  </a:cubicBezTo>
                  <a:cubicBezTo>
                    <a:pt x="68" y="302"/>
                    <a:pt x="68" y="302"/>
                    <a:pt x="68" y="302"/>
                  </a:cubicBezTo>
                  <a:cubicBezTo>
                    <a:pt x="67" y="301"/>
                    <a:pt x="67" y="301"/>
                    <a:pt x="67" y="301"/>
                  </a:cubicBezTo>
                  <a:cubicBezTo>
                    <a:pt x="66" y="301"/>
                    <a:pt x="66" y="301"/>
                    <a:pt x="66" y="301"/>
                  </a:cubicBezTo>
                  <a:cubicBezTo>
                    <a:pt x="66" y="303"/>
                    <a:pt x="66" y="303"/>
                    <a:pt x="66" y="303"/>
                  </a:cubicBezTo>
                  <a:cubicBezTo>
                    <a:pt x="66" y="304"/>
                    <a:pt x="66" y="304"/>
                    <a:pt x="66" y="304"/>
                  </a:cubicBezTo>
                  <a:cubicBezTo>
                    <a:pt x="66" y="304"/>
                    <a:pt x="66" y="304"/>
                    <a:pt x="66" y="304"/>
                  </a:cubicBezTo>
                  <a:cubicBezTo>
                    <a:pt x="66" y="305"/>
                    <a:pt x="66" y="305"/>
                    <a:pt x="66" y="305"/>
                  </a:cubicBezTo>
                  <a:cubicBezTo>
                    <a:pt x="66" y="305"/>
                    <a:pt x="66" y="305"/>
                    <a:pt x="66" y="305"/>
                  </a:cubicBezTo>
                  <a:cubicBezTo>
                    <a:pt x="66" y="307"/>
                    <a:pt x="66" y="307"/>
                    <a:pt x="66" y="307"/>
                  </a:cubicBezTo>
                  <a:cubicBezTo>
                    <a:pt x="66" y="308"/>
                    <a:pt x="66" y="308"/>
                    <a:pt x="66" y="308"/>
                  </a:cubicBezTo>
                  <a:cubicBezTo>
                    <a:pt x="66" y="308"/>
                    <a:pt x="66" y="308"/>
                    <a:pt x="66" y="308"/>
                  </a:cubicBezTo>
                  <a:cubicBezTo>
                    <a:pt x="66" y="306"/>
                    <a:pt x="66" y="306"/>
                    <a:pt x="66" y="306"/>
                  </a:cubicBezTo>
                  <a:cubicBezTo>
                    <a:pt x="65" y="304"/>
                    <a:pt x="65" y="304"/>
                    <a:pt x="65" y="304"/>
                  </a:cubicBezTo>
                  <a:cubicBezTo>
                    <a:pt x="65" y="303"/>
                    <a:pt x="65" y="303"/>
                    <a:pt x="65" y="303"/>
                  </a:cubicBezTo>
                  <a:cubicBezTo>
                    <a:pt x="65" y="303"/>
                    <a:pt x="65" y="303"/>
                    <a:pt x="65" y="303"/>
                  </a:cubicBezTo>
                  <a:cubicBezTo>
                    <a:pt x="63" y="303"/>
                    <a:pt x="63" y="303"/>
                    <a:pt x="63" y="303"/>
                  </a:cubicBezTo>
                  <a:cubicBezTo>
                    <a:pt x="63" y="302"/>
                    <a:pt x="63" y="302"/>
                    <a:pt x="63" y="302"/>
                  </a:cubicBezTo>
                  <a:cubicBezTo>
                    <a:pt x="63" y="302"/>
                    <a:pt x="63" y="302"/>
                    <a:pt x="63" y="302"/>
                  </a:cubicBezTo>
                  <a:cubicBezTo>
                    <a:pt x="64" y="301"/>
                    <a:pt x="64" y="301"/>
                    <a:pt x="64" y="301"/>
                  </a:cubicBezTo>
                  <a:cubicBezTo>
                    <a:pt x="64" y="301"/>
                    <a:pt x="64" y="301"/>
                    <a:pt x="64" y="301"/>
                  </a:cubicBezTo>
                  <a:cubicBezTo>
                    <a:pt x="64" y="300"/>
                    <a:pt x="64" y="300"/>
                    <a:pt x="64" y="300"/>
                  </a:cubicBezTo>
                  <a:cubicBezTo>
                    <a:pt x="60" y="300"/>
                    <a:pt x="60" y="300"/>
                    <a:pt x="60" y="300"/>
                  </a:cubicBezTo>
                  <a:cubicBezTo>
                    <a:pt x="58" y="300"/>
                    <a:pt x="58" y="300"/>
                    <a:pt x="58" y="300"/>
                  </a:cubicBezTo>
                  <a:cubicBezTo>
                    <a:pt x="59" y="301"/>
                    <a:pt x="59" y="301"/>
                    <a:pt x="59" y="301"/>
                  </a:cubicBezTo>
                  <a:cubicBezTo>
                    <a:pt x="59" y="301"/>
                    <a:pt x="59" y="301"/>
                    <a:pt x="59" y="301"/>
                  </a:cubicBezTo>
                  <a:cubicBezTo>
                    <a:pt x="59" y="302"/>
                    <a:pt x="59" y="302"/>
                    <a:pt x="59" y="302"/>
                  </a:cubicBezTo>
                  <a:cubicBezTo>
                    <a:pt x="60" y="302"/>
                    <a:pt x="60" y="302"/>
                    <a:pt x="60" y="302"/>
                  </a:cubicBezTo>
                  <a:cubicBezTo>
                    <a:pt x="59" y="303"/>
                    <a:pt x="59" y="303"/>
                    <a:pt x="59" y="303"/>
                  </a:cubicBezTo>
                  <a:cubicBezTo>
                    <a:pt x="59" y="303"/>
                    <a:pt x="59" y="303"/>
                    <a:pt x="59" y="303"/>
                  </a:cubicBezTo>
                  <a:cubicBezTo>
                    <a:pt x="59" y="303"/>
                    <a:pt x="59" y="303"/>
                    <a:pt x="59" y="303"/>
                  </a:cubicBezTo>
                  <a:cubicBezTo>
                    <a:pt x="59" y="304"/>
                    <a:pt x="59" y="304"/>
                    <a:pt x="59" y="304"/>
                  </a:cubicBezTo>
                  <a:cubicBezTo>
                    <a:pt x="60" y="305"/>
                    <a:pt x="60" y="305"/>
                    <a:pt x="60" y="305"/>
                  </a:cubicBezTo>
                  <a:cubicBezTo>
                    <a:pt x="59" y="305"/>
                    <a:pt x="59" y="305"/>
                    <a:pt x="59" y="305"/>
                  </a:cubicBezTo>
                  <a:cubicBezTo>
                    <a:pt x="59" y="305"/>
                    <a:pt x="59" y="305"/>
                    <a:pt x="59" y="305"/>
                  </a:cubicBezTo>
                  <a:cubicBezTo>
                    <a:pt x="59" y="305"/>
                    <a:pt x="59" y="305"/>
                    <a:pt x="59" y="305"/>
                  </a:cubicBezTo>
                  <a:cubicBezTo>
                    <a:pt x="59" y="304"/>
                    <a:pt x="59" y="304"/>
                    <a:pt x="59" y="304"/>
                  </a:cubicBezTo>
                  <a:cubicBezTo>
                    <a:pt x="59" y="304"/>
                    <a:pt x="59" y="304"/>
                    <a:pt x="59" y="304"/>
                  </a:cubicBezTo>
                  <a:cubicBezTo>
                    <a:pt x="58" y="303"/>
                    <a:pt x="58" y="303"/>
                    <a:pt x="58" y="303"/>
                  </a:cubicBezTo>
                  <a:cubicBezTo>
                    <a:pt x="55" y="300"/>
                    <a:pt x="55" y="300"/>
                    <a:pt x="55" y="300"/>
                  </a:cubicBezTo>
                  <a:cubicBezTo>
                    <a:pt x="54" y="300"/>
                    <a:pt x="54" y="300"/>
                    <a:pt x="54" y="300"/>
                  </a:cubicBezTo>
                  <a:cubicBezTo>
                    <a:pt x="54" y="300"/>
                    <a:pt x="54" y="300"/>
                    <a:pt x="54" y="300"/>
                  </a:cubicBezTo>
                  <a:cubicBezTo>
                    <a:pt x="52" y="301"/>
                    <a:pt x="52" y="301"/>
                    <a:pt x="52" y="301"/>
                  </a:cubicBezTo>
                  <a:cubicBezTo>
                    <a:pt x="51" y="303"/>
                    <a:pt x="51" y="303"/>
                    <a:pt x="51" y="303"/>
                  </a:cubicBezTo>
                  <a:cubicBezTo>
                    <a:pt x="51" y="302"/>
                    <a:pt x="51" y="302"/>
                    <a:pt x="51" y="302"/>
                  </a:cubicBezTo>
                  <a:cubicBezTo>
                    <a:pt x="51" y="302"/>
                    <a:pt x="51" y="302"/>
                    <a:pt x="51" y="302"/>
                  </a:cubicBezTo>
                  <a:cubicBezTo>
                    <a:pt x="51" y="302"/>
                    <a:pt x="51" y="302"/>
                    <a:pt x="51" y="302"/>
                  </a:cubicBezTo>
                  <a:cubicBezTo>
                    <a:pt x="50" y="303"/>
                    <a:pt x="50" y="303"/>
                    <a:pt x="50" y="303"/>
                  </a:cubicBezTo>
                  <a:cubicBezTo>
                    <a:pt x="51" y="303"/>
                    <a:pt x="51" y="303"/>
                    <a:pt x="51" y="303"/>
                  </a:cubicBezTo>
                  <a:cubicBezTo>
                    <a:pt x="51" y="304"/>
                    <a:pt x="51" y="304"/>
                    <a:pt x="51" y="304"/>
                  </a:cubicBezTo>
                  <a:cubicBezTo>
                    <a:pt x="50" y="306"/>
                    <a:pt x="50" y="306"/>
                    <a:pt x="50" y="306"/>
                  </a:cubicBezTo>
                  <a:cubicBezTo>
                    <a:pt x="50" y="306"/>
                    <a:pt x="50" y="306"/>
                    <a:pt x="50" y="306"/>
                  </a:cubicBezTo>
                  <a:cubicBezTo>
                    <a:pt x="50" y="304"/>
                    <a:pt x="50" y="304"/>
                    <a:pt x="50" y="304"/>
                  </a:cubicBezTo>
                  <a:cubicBezTo>
                    <a:pt x="49" y="303"/>
                    <a:pt x="49" y="303"/>
                    <a:pt x="49" y="303"/>
                  </a:cubicBezTo>
                  <a:cubicBezTo>
                    <a:pt x="49" y="303"/>
                    <a:pt x="49" y="303"/>
                    <a:pt x="49" y="303"/>
                  </a:cubicBezTo>
                  <a:cubicBezTo>
                    <a:pt x="48" y="302"/>
                    <a:pt x="48" y="302"/>
                    <a:pt x="48" y="302"/>
                  </a:cubicBezTo>
                  <a:cubicBezTo>
                    <a:pt x="41" y="303"/>
                    <a:pt x="41" y="303"/>
                    <a:pt x="41" y="303"/>
                  </a:cubicBezTo>
                  <a:cubicBezTo>
                    <a:pt x="41" y="303"/>
                    <a:pt x="41" y="303"/>
                    <a:pt x="41" y="303"/>
                  </a:cubicBezTo>
                  <a:cubicBezTo>
                    <a:pt x="40" y="304"/>
                    <a:pt x="40" y="304"/>
                    <a:pt x="40" y="304"/>
                  </a:cubicBezTo>
                  <a:cubicBezTo>
                    <a:pt x="40" y="304"/>
                    <a:pt x="40" y="304"/>
                    <a:pt x="40" y="304"/>
                  </a:cubicBezTo>
                  <a:cubicBezTo>
                    <a:pt x="39" y="305"/>
                    <a:pt x="39" y="305"/>
                    <a:pt x="39" y="305"/>
                  </a:cubicBezTo>
                  <a:cubicBezTo>
                    <a:pt x="40" y="305"/>
                    <a:pt x="40" y="305"/>
                    <a:pt x="40" y="305"/>
                  </a:cubicBezTo>
                  <a:cubicBezTo>
                    <a:pt x="40" y="306"/>
                    <a:pt x="40" y="306"/>
                    <a:pt x="40" y="306"/>
                  </a:cubicBezTo>
                  <a:cubicBezTo>
                    <a:pt x="40" y="306"/>
                    <a:pt x="40" y="306"/>
                    <a:pt x="40" y="306"/>
                  </a:cubicBezTo>
                  <a:cubicBezTo>
                    <a:pt x="40" y="307"/>
                    <a:pt x="40" y="307"/>
                    <a:pt x="40" y="307"/>
                  </a:cubicBezTo>
                  <a:cubicBezTo>
                    <a:pt x="40" y="307"/>
                    <a:pt x="40" y="307"/>
                    <a:pt x="40" y="307"/>
                  </a:cubicBezTo>
                  <a:cubicBezTo>
                    <a:pt x="40" y="307"/>
                    <a:pt x="40" y="307"/>
                    <a:pt x="40" y="307"/>
                  </a:cubicBezTo>
                  <a:cubicBezTo>
                    <a:pt x="40" y="307"/>
                    <a:pt x="40" y="307"/>
                    <a:pt x="40" y="307"/>
                  </a:cubicBezTo>
                  <a:cubicBezTo>
                    <a:pt x="40" y="308"/>
                    <a:pt x="40" y="308"/>
                    <a:pt x="40" y="308"/>
                  </a:cubicBezTo>
                  <a:cubicBezTo>
                    <a:pt x="48" y="307"/>
                    <a:pt x="48" y="307"/>
                    <a:pt x="48" y="307"/>
                  </a:cubicBezTo>
                  <a:cubicBezTo>
                    <a:pt x="49" y="308"/>
                    <a:pt x="49" y="308"/>
                    <a:pt x="49" y="308"/>
                  </a:cubicBezTo>
                  <a:cubicBezTo>
                    <a:pt x="48" y="308"/>
                    <a:pt x="48" y="308"/>
                    <a:pt x="48" y="308"/>
                  </a:cubicBezTo>
                  <a:cubicBezTo>
                    <a:pt x="46" y="308"/>
                    <a:pt x="46" y="308"/>
                    <a:pt x="46" y="308"/>
                  </a:cubicBezTo>
                  <a:cubicBezTo>
                    <a:pt x="46" y="309"/>
                    <a:pt x="46" y="309"/>
                    <a:pt x="46" y="309"/>
                  </a:cubicBezTo>
                  <a:cubicBezTo>
                    <a:pt x="49" y="309"/>
                    <a:pt x="49" y="309"/>
                    <a:pt x="49" y="309"/>
                  </a:cubicBezTo>
                  <a:cubicBezTo>
                    <a:pt x="50" y="308"/>
                    <a:pt x="50" y="308"/>
                    <a:pt x="50" y="308"/>
                  </a:cubicBezTo>
                  <a:cubicBezTo>
                    <a:pt x="51" y="309"/>
                    <a:pt x="51" y="309"/>
                    <a:pt x="51" y="309"/>
                  </a:cubicBezTo>
                  <a:cubicBezTo>
                    <a:pt x="52" y="310"/>
                    <a:pt x="52" y="310"/>
                    <a:pt x="52" y="310"/>
                  </a:cubicBezTo>
                  <a:cubicBezTo>
                    <a:pt x="52" y="310"/>
                    <a:pt x="52" y="310"/>
                    <a:pt x="52" y="310"/>
                  </a:cubicBezTo>
                  <a:cubicBezTo>
                    <a:pt x="49" y="310"/>
                    <a:pt x="49" y="310"/>
                    <a:pt x="49" y="310"/>
                  </a:cubicBezTo>
                  <a:cubicBezTo>
                    <a:pt x="48" y="310"/>
                    <a:pt x="48" y="310"/>
                    <a:pt x="48" y="310"/>
                  </a:cubicBezTo>
                  <a:cubicBezTo>
                    <a:pt x="45" y="309"/>
                    <a:pt x="45" y="309"/>
                    <a:pt x="45" y="309"/>
                  </a:cubicBezTo>
                  <a:cubicBezTo>
                    <a:pt x="45" y="310"/>
                    <a:pt x="45" y="310"/>
                    <a:pt x="45" y="310"/>
                  </a:cubicBezTo>
                  <a:cubicBezTo>
                    <a:pt x="44" y="310"/>
                    <a:pt x="44" y="310"/>
                    <a:pt x="44" y="310"/>
                  </a:cubicBezTo>
                  <a:cubicBezTo>
                    <a:pt x="42" y="312"/>
                    <a:pt x="42" y="312"/>
                    <a:pt x="42" y="312"/>
                  </a:cubicBezTo>
                  <a:cubicBezTo>
                    <a:pt x="39" y="312"/>
                    <a:pt x="39" y="312"/>
                    <a:pt x="39" y="312"/>
                  </a:cubicBezTo>
                  <a:cubicBezTo>
                    <a:pt x="39" y="312"/>
                    <a:pt x="39" y="312"/>
                    <a:pt x="39" y="312"/>
                  </a:cubicBezTo>
                  <a:cubicBezTo>
                    <a:pt x="39" y="313"/>
                    <a:pt x="39" y="313"/>
                    <a:pt x="39" y="313"/>
                  </a:cubicBezTo>
                  <a:cubicBezTo>
                    <a:pt x="40" y="313"/>
                    <a:pt x="40" y="313"/>
                    <a:pt x="40" y="313"/>
                  </a:cubicBezTo>
                  <a:cubicBezTo>
                    <a:pt x="40" y="312"/>
                    <a:pt x="40" y="312"/>
                    <a:pt x="40" y="312"/>
                  </a:cubicBezTo>
                  <a:cubicBezTo>
                    <a:pt x="41" y="312"/>
                    <a:pt x="41" y="312"/>
                    <a:pt x="41" y="312"/>
                  </a:cubicBezTo>
                  <a:cubicBezTo>
                    <a:pt x="41" y="313"/>
                    <a:pt x="41" y="313"/>
                    <a:pt x="41" y="313"/>
                  </a:cubicBezTo>
                  <a:cubicBezTo>
                    <a:pt x="42" y="314"/>
                    <a:pt x="42" y="314"/>
                    <a:pt x="42" y="314"/>
                  </a:cubicBezTo>
                  <a:cubicBezTo>
                    <a:pt x="43" y="314"/>
                    <a:pt x="43" y="314"/>
                    <a:pt x="43" y="314"/>
                  </a:cubicBezTo>
                  <a:cubicBezTo>
                    <a:pt x="44" y="315"/>
                    <a:pt x="44" y="315"/>
                    <a:pt x="44" y="315"/>
                  </a:cubicBezTo>
                  <a:cubicBezTo>
                    <a:pt x="46" y="314"/>
                    <a:pt x="46" y="314"/>
                    <a:pt x="46" y="314"/>
                  </a:cubicBezTo>
                  <a:cubicBezTo>
                    <a:pt x="52" y="311"/>
                    <a:pt x="52" y="311"/>
                    <a:pt x="52" y="311"/>
                  </a:cubicBezTo>
                  <a:cubicBezTo>
                    <a:pt x="55" y="311"/>
                    <a:pt x="55" y="311"/>
                    <a:pt x="55" y="311"/>
                  </a:cubicBezTo>
                  <a:cubicBezTo>
                    <a:pt x="55" y="312"/>
                    <a:pt x="55" y="312"/>
                    <a:pt x="55" y="312"/>
                  </a:cubicBezTo>
                  <a:cubicBezTo>
                    <a:pt x="54" y="312"/>
                    <a:pt x="54" y="312"/>
                    <a:pt x="54" y="312"/>
                  </a:cubicBezTo>
                  <a:cubicBezTo>
                    <a:pt x="55" y="312"/>
                    <a:pt x="55" y="312"/>
                    <a:pt x="55" y="312"/>
                  </a:cubicBezTo>
                  <a:cubicBezTo>
                    <a:pt x="56" y="312"/>
                    <a:pt x="56" y="312"/>
                    <a:pt x="56" y="312"/>
                  </a:cubicBezTo>
                  <a:cubicBezTo>
                    <a:pt x="57" y="312"/>
                    <a:pt x="57" y="312"/>
                    <a:pt x="57" y="312"/>
                  </a:cubicBezTo>
                  <a:cubicBezTo>
                    <a:pt x="57" y="313"/>
                    <a:pt x="57" y="313"/>
                    <a:pt x="57" y="313"/>
                  </a:cubicBezTo>
                  <a:cubicBezTo>
                    <a:pt x="61" y="318"/>
                    <a:pt x="61" y="318"/>
                    <a:pt x="61" y="318"/>
                  </a:cubicBezTo>
                  <a:cubicBezTo>
                    <a:pt x="61" y="318"/>
                    <a:pt x="61" y="318"/>
                    <a:pt x="61" y="318"/>
                  </a:cubicBezTo>
                  <a:cubicBezTo>
                    <a:pt x="60" y="318"/>
                    <a:pt x="60" y="318"/>
                    <a:pt x="60" y="318"/>
                  </a:cubicBezTo>
                  <a:cubicBezTo>
                    <a:pt x="59" y="318"/>
                    <a:pt x="59" y="318"/>
                    <a:pt x="59" y="318"/>
                  </a:cubicBezTo>
                  <a:cubicBezTo>
                    <a:pt x="60" y="321"/>
                    <a:pt x="60" y="321"/>
                    <a:pt x="60" y="321"/>
                  </a:cubicBezTo>
                  <a:cubicBezTo>
                    <a:pt x="62" y="322"/>
                    <a:pt x="62" y="322"/>
                    <a:pt x="62" y="322"/>
                  </a:cubicBezTo>
                  <a:cubicBezTo>
                    <a:pt x="66" y="323"/>
                    <a:pt x="66" y="323"/>
                    <a:pt x="66" y="323"/>
                  </a:cubicBezTo>
                  <a:cubicBezTo>
                    <a:pt x="70" y="323"/>
                    <a:pt x="70" y="323"/>
                    <a:pt x="70" y="323"/>
                  </a:cubicBezTo>
                  <a:cubicBezTo>
                    <a:pt x="71" y="323"/>
                    <a:pt x="71" y="323"/>
                    <a:pt x="71" y="323"/>
                  </a:cubicBezTo>
                  <a:cubicBezTo>
                    <a:pt x="72" y="324"/>
                    <a:pt x="72" y="324"/>
                    <a:pt x="72" y="324"/>
                  </a:cubicBezTo>
                  <a:cubicBezTo>
                    <a:pt x="73" y="324"/>
                    <a:pt x="73" y="324"/>
                    <a:pt x="73" y="324"/>
                  </a:cubicBezTo>
                  <a:cubicBezTo>
                    <a:pt x="74" y="326"/>
                    <a:pt x="74" y="326"/>
                    <a:pt x="74" y="326"/>
                  </a:cubicBezTo>
                  <a:cubicBezTo>
                    <a:pt x="74" y="327"/>
                    <a:pt x="74" y="327"/>
                    <a:pt x="74" y="327"/>
                  </a:cubicBezTo>
                  <a:cubicBezTo>
                    <a:pt x="74" y="327"/>
                    <a:pt x="74" y="327"/>
                    <a:pt x="74" y="327"/>
                  </a:cubicBezTo>
                  <a:cubicBezTo>
                    <a:pt x="73" y="326"/>
                    <a:pt x="73" y="326"/>
                    <a:pt x="73" y="326"/>
                  </a:cubicBezTo>
                  <a:cubicBezTo>
                    <a:pt x="72" y="325"/>
                    <a:pt x="72" y="325"/>
                    <a:pt x="72" y="325"/>
                  </a:cubicBezTo>
                  <a:cubicBezTo>
                    <a:pt x="72" y="324"/>
                    <a:pt x="72" y="324"/>
                    <a:pt x="72" y="324"/>
                  </a:cubicBezTo>
                  <a:cubicBezTo>
                    <a:pt x="71" y="324"/>
                    <a:pt x="71" y="324"/>
                    <a:pt x="71" y="324"/>
                  </a:cubicBezTo>
                  <a:cubicBezTo>
                    <a:pt x="70" y="324"/>
                    <a:pt x="70" y="324"/>
                    <a:pt x="70" y="324"/>
                  </a:cubicBezTo>
                  <a:cubicBezTo>
                    <a:pt x="69" y="324"/>
                    <a:pt x="69" y="324"/>
                    <a:pt x="69" y="324"/>
                  </a:cubicBezTo>
                  <a:cubicBezTo>
                    <a:pt x="69" y="325"/>
                    <a:pt x="69" y="325"/>
                    <a:pt x="69" y="325"/>
                  </a:cubicBezTo>
                  <a:cubicBezTo>
                    <a:pt x="68" y="326"/>
                    <a:pt x="68" y="326"/>
                    <a:pt x="68" y="326"/>
                  </a:cubicBezTo>
                  <a:cubicBezTo>
                    <a:pt x="65" y="324"/>
                    <a:pt x="65" y="324"/>
                    <a:pt x="65" y="324"/>
                  </a:cubicBezTo>
                  <a:cubicBezTo>
                    <a:pt x="63" y="324"/>
                    <a:pt x="63" y="324"/>
                    <a:pt x="63" y="324"/>
                  </a:cubicBezTo>
                  <a:cubicBezTo>
                    <a:pt x="63" y="324"/>
                    <a:pt x="63" y="324"/>
                    <a:pt x="63" y="324"/>
                  </a:cubicBezTo>
                  <a:cubicBezTo>
                    <a:pt x="63" y="325"/>
                    <a:pt x="63" y="325"/>
                    <a:pt x="63" y="325"/>
                  </a:cubicBezTo>
                  <a:cubicBezTo>
                    <a:pt x="63" y="325"/>
                    <a:pt x="63" y="325"/>
                    <a:pt x="63" y="325"/>
                  </a:cubicBezTo>
                  <a:cubicBezTo>
                    <a:pt x="63" y="329"/>
                    <a:pt x="63" y="329"/>
                    <a:pt x="63" y="329"/>
                  </a:cubicBezTo>
                  <a:cubicBezTo>
                    <a:pt x="63" y="330"/>
                    <a:pt x="63" y="330"/>
                    <a:pt x="63" y="330"/>
                  </a:cubicBezTo>
                  <a:cubicBezTo>
                    <a:pt x="63" y="331"/>
                    <a:pt x="63" y="331"/>
                    <a:pt x="63" y="331"/>
                  </a:cubicBezTo>
                  <a:cubicBezTo>
                    <a:pt x="61" y="333"/>
                    <a:pt x="61" y="333"/>
                    <a:pt x="61" y="333"/>
                  </a:cubicBezTo>
                  <a:cubicBezTo>
                    <a:pt x="61" y="333"/>
                    <a:pt x="61" y="333"/>
                    <a:pt x="61" y="333"/>
                  </a:cubicBezTo>
                  <a:cubicBezTo>
                    <a:pt x="61" y="334"/>
                    <a:pt x="61" y="334"/>
                    <a:pt x="61" y="334"/>
                  </a:cubicBezTo>
                  <a:cubicBezTo>
                    <a:pt x="63" y="335"/>
                    <a:pt x="63" y="335"/>
                    <a:pt x="63" y="335"/>
                  </a:cubicBezTo>
                  <a:cubicBezTo>
                    <a:pt x="66" y="333"/>
                    <a:pt x="66" y="333"/>
                    <a:pt x="66" y="333"/>
                  </a:cubicBezTo>
                  <a:cubicBezTo>
                    <a:pt x="67" y="335"/>
                    <a:pt x="67" y="335"/>
                    <a:pt x="67" y="335"/>
                  </a:cubicBezTo>
                  <a:cubicBezTo>
                    <a:pt x="66" y="334"/>
                    <a:pt x="66" y="334"/>
                    <a:pt x="66" y="334"/>
                  </a:cubicBezTo>
                  <a:cubicBezTo>
                    <a:pt x="66" y="334"/>
                    <a:pt x="66" y="334"/>
                    <a:pt x="66" y="334"/>
                  </a:cubicBezTo>
                  <a:cubicBezTo>
                    <a:pt x="65" y="334"/>
                    <a:pt x="65" y="334"/>
                    <a:pt x="65" y="334"/>
                  </a:cubicBezTo>
                  <a:cubicBezTo>
                    <a:pt x="65" y="335"/>
                    <a:pt x="65" y="335"/>
                    <a:pt x="65" y="335"/>
                  </a:cubicBezTo>
                  <a:cubicBezTo>
                    <a:pt x="62" y="336"/>
                    <a:pt x="62" y="336"/>
                    <a:pt x="62" y="336"/>
                  </a:cubicBezTo>
                  <a:cubicBezTo>
                    <a:pt x="61" y="336"/>
                    <a:pt x="61" y="336"/>
                    <a:pt x="61" y="336"/>
                  </a:cubicBezTo>
                  <a:cubicBezTo>
                    <a:pt x="60" y="335"/>
                    <a:pt x="60" y="335"/>
                    <a:pt x="60" y="335"/>
                  </a:cubicBezTo>
                  <a:cubicBezTo>
                    <a:pt x="60" y="334"/>
                    <a:pt x="60" y="334"/>
                    <a:pt x="60" y="334"/>
                  </a:cubicBezTo>
                  <a:cubicBezTo>
                    <a:pt x="60" y="333"/>
                    <a:pt x="60" y="333"/>
                    <a:pt x="60" y="333"/>
                  </a:cubicBezTo>
                  <a:cubicBezTo>
                    <a:pt x="62" y="330"/>
                    <a:pt x="62" y="330"/>
                    <a:pt x="62" y="330"/>
                  </a:cubicBezTo>
                  <a:cubicBezTo>
                    <a:pt x="62" y="329"/>
                    <a:pt x="62" y="329"/>
                    <a:pt x="62" y="329"/>
                  </a:cubicBezTo>
                  <a:cubicBezTo>
                    <a:pt x="62" y="328"/>
                    <a:pt x="62" y="328"/>
                    <a:pt x="62" y="328"/>
                  </a:cubicBezTo>
                  <a:cubicBezTo>
                    <a:pt x="62" y="325"/>
                    <a:pt x="62" y="325"/>
                    <a:pt x="62" y="325"/>
                  </a:cubicBezTo>
                  <a:cubicBezTo>
                    <a:pt x="62" y="325"/>
                    <a:pt x="62" y="325"/>
                    <a:pt x="62" y="325"/>
                  </a:cubicBezTo>
                  <a:cubicBezTo>
                    <a:pt x="61" y="324"/>
                    <a:pt x="61" y="324"/>
                    <a:pt x="61" y="324"/>
                  </a:cubicBezTo>
                  <a:cubicBezTo>
                    <a:pt x="61" y="324"/>
                    <a:pt x="61" y="324"/>
                    <a:pt x="61" y="324"/>
                  </a:cubicBezTo>
                  <a:cubicBezTo>
                    <a:pt x="58" y="320"/>
                    <a:pt x="58" y="320"/>
                    <a:pt x="58" y="320"/>
                  </a:cubicBezTo>
                  <a:cubicBezTo>
                    <a:pt x="58" y="319"/>
                    <a:pt x="58" y="319"/>
                    <a:pt x="58" y="319"/>
                  </a:cubicBezTo>
                  <a:cubicBezTo>
                    <a:pt x="58" y="317"/>
                    <a:pt x="58" y="317"/>
                    <a:pt x="58" y="317"/>
                  </a:cubicBezTo>
                  <a:cubicBezTo>
                    <a:pt x="58" y="316"/>
                    <a:pt x="58" y="316"/>
                    <a:pt x="58" y="316"/>
                  </a:cubicBezTo>
                  <a:cubicBezTo>
                    <a:pt x="58" y="315"/>
                    <a:pt x="58" y="315"/>
                    <a:pt x="58" y="315"/>
                  </a:cubicBezTo>
                  <a:cubicBezTo>
                    <a:pt x="54" y="314"/>
                    <a:pt x="54" y="314"/>
                    <a:pt x="54" y="314"/>
                  </a:cubicBezTo>
                  <a:cubicBezTo>
                    <a:pt x="54" y="313"/>
                    <a:pt x="54" y="313"/>
                    <a:pt x="54" y="313"/>
                  </a:cubicBezTo>
                  <a:cubicBezTo>
                    <a:pt x="53" y="313"/>
                    <a:pt x="53" y="313"/>
                    <a:pt x="53" y="313"/>
                  </a:cubicBezTo>
                  <a:cubicBezTo>
                    <a:pt x="52" y="313"/>
                    <a:pt x="52" y="313"/>
                    <a:pt x="52" y="313"/>
                  </a:cubicBezTo>
                  <a:cubicBezTo>
                    <a:pt x="51" y="314"/>
                    <a:pt x="51" y="314"/>
                    <a:pt x="51" y="314"/>
                  </a:cubicBezTo>
                  <a:cubicBezTo>
                    <a:pt x="49" y="315"/>
                    <a:pt x="49" y="315"/>
                    <a:pt x="49" y="315"/>
                  </a:cubicBezTo>
                  <a:cubicBezTo>
                    <a:pt x="48" y="315"/>
                    <a:pt x="48" y="315"/>
                    <a:pt x="48" y="315"/>
                  </a:cubicBezTo>
                  <a:cubicBezTo>
                    <a:pt x="48" y="316"/>
                    <a:pt x="48" y="316"/>
                    <a:pt x="48" y="316"/>
                  </a:cubicBezTo>
                  <a:cubicBezTo>
                    <a:pt x="49" y="316"/>
                    <a:pt x="49" y="316"/>
                    <a:pt x="49" y="316"/>
                  </a:cubicBezTo>
                  <a:cubicBezTo>
                    <a:pt x="49" y="317"/>
                    <a:pt x="49" y="317"/>
                    <a:pt x="49" y="317"/>
                  </a:cubicBezTo>
                  <a:cubicBezTo>
                    <a:pt x="49" y="318"/>
                    <a:pt x="49" y="318"/>
                    <a:pt x="49" y="318"/>
                  </a:cubicBezTo>
                  <a:cubicBezTo>
                    <a:pt x="49" y="319"/>
                    <a:pt x="49" y="319"/>
                    <a:pt x="49" y="319"/>
                  </a:cubicBezTo>
                  <a:cubicBezTo>
                    <a:pt x="48" y="317"/>
                    <a:pt x="48" y="317"/>
                    <a:pt x="48" y="317"/>
                  </a:cubicBezTo>
                  <a:cubicBezTo>
                    <a:pt x="48" y="317"/>
                    <a:pt x="48" y="317"/>
                    <a:pt x="48" y="317"/>
                  </a:cubicBezTo>
                  <a:cubicBezTo>
                    <a:pt x="47" y="316"/>
                    <a:pt x="47" y="316"/>
                    <a:pt x="47" y="316"/>
                  </a:cubicBezTo>
                  <a:cubicBezTo>
                    <a:pt x="46" y="316"/>
                    <a:pt x="46" y="316"/>
                    <a:pt x="46" y="316"/>
                  </a:cubicBezTo>
                  <a:cubicBezTo>
                    <a:pt x="45" y="316"/>
                    <a:pt x="45" y="316"/>
                    <a:pt x="45" y="316"/>
                  </a:cubicBezTo>
                  <a:cubicBezTo>
                    <a:pt x="44" y="317"/>
                    <a:pt x="44" y="317"/>
                    <a:pt x="44" y="317"/>
                  </a:cubicBezTo>
                  <a:cubicBezTo>
                    <a:pt x="44" y="318"/>
                    <a:pt x="44" y="318"/>
                    <a:pt x="44" y="318"/>
                  </a:cubicBezTo>
                  <a:cubicBezTo>
                    <a:pt x="44" y="320"/>
                    <a:pt x="44" y="320"/>
                    <a:pt x="44" y="320"/>
                  </a:cubicBezTo>
                  <a:cubicBezTo>
                    <a:pt x="44" y="322"/>
                    <a:pt x="44" y="322"/>
                    <a:pt x="44" y="322"/>
                  </a:cubicBezTo>
                  <a:cubicBezTo>
                    <a:pt x="47" y="325"/>
                    <a:pt x="47" y="325"/>
                    <a:pt x="47" y="325"/>
                  </a:cubicBezTo>
                  <a:cubicBezTo>
                    <a:pt x="49" y="331"/>
                    <a:pt x="49" y="331"/>
                    <a:pt x="49" y="331"/>
                  </a:cubicBezTo>
                  <a:cubicBezTo>
                    <a:pt x="50" y="333"/>
                    <a:pt x="50" y="333"/>
                    <a:pt x="50" y="333"/>
                  </a:cubicBezTo>
                  <a:cubicBezTo>
                    <a:pt x="48" y="335"/>
                    <a:pt x="48" y="335"/>
                    <a:pt x="48" y="335"/>
                  </a:cubicBezTo>
                  <a:cubicBezTo>
                    <a:pt x="49" y="333"/>
                    <a:pt x="49" y="333"/>
                    <a:pt x="49" y="333"/>
                  </a:cubicBezTo>
                  <a:cubicBezTo>
                    <a:pt x="49" y="332"/>
                    <a:pt x="49" y="332"/>
                    <a:pt x="49" y="332"/>
                  </a:cubicBezTo>
                  <a:cubicBezTo>
                    <a:pt x="48" y="331"/>
                    <a:pt x="48" y="331"/>
                    <a:pt x="48" y="331"/>
                  </a:cubicBezTo>
                  <a:cubicBezTo>
                    <a:pt x="46" y="327"/>
                    <a:pt x="46" y="327"/>
                    <a:pt x="46" y="327"/>
                  </a:cubicBezTo>
                  <a:cubicBezTo>
                    <a:pt x="46" y="326"/>
                    <a:pt x="46" y="326"/>
                    <a:pt x="46" y="326"/>
                  </a:cubicBezTo>
                  <a:cubicBezTo>
                    <a:pt x="44" y="325"/>
                    <a:pt x="44" y="325"/>
                    <a:pt x="44" y="325"/>
                  </a:cubicBezTo>
                  <a:cubicBezTo>
                    <a:pt x="44" y="324"/>
                    <a:pt x="44" y="324"/>
                    <a:pt x="44" y="324"/>
                  </a:cubicBezTo>
                  <a:cubicBezTo>
                    <a:pt x="43" y="322"/>
                    <a:pt x="43" y="322"/>
                    <a:pt x="43" y="322"/>
                  </a:cubicBezTo>
                  <a:cubicBezTo>
                    <a:pt x="42" y="320"/>
                    <a:pt x="42" y="320"/>
                    <a:pt x="42" y="320"/>
                  </a:cubicBezTo>
                  <a:cubicBezTo>
                    <a:pt x="42" y="319"/>
                    <a:pt x="42" y="319"/>
                    <a:pt x="42" y="319"/>
                  </a:cubicBezTo>
                  <a:cubicBezTo>
                    <a:pt x="41" y="318"/>
                    <a:pt x="41" y="318"/>
                    <a:pt x="41" y="318"/>
                  </a:cubicBezTo>
                  <a:cubicBezTo>
                    <a:pt x="39" y="319"/>
                    <a:pt x="39" y="319"/>
                    <a:pt x="39" y="319"/>
                  </a:cubicBezTo>
                  <a:cubicBezTo>
                    <a:pt x="36" y="321"/>
                    <a:pt x="36" y="321"/>
                    <a:pt x="36" y="321"/>
                  </a:cubicBezTo>
                  <a:cubicBezTo>
                    <a:pt x="34" y="321"/>
                    <a:pt x="34" y="321"/>
                    <a:pt x="34" y="321"/>
                  </a:cubicBezTo>
                  <a:cubicBezTo>
                    <a:pt x="33" y="322"/>
                    <a:pt x="33" y="322"/>
                    <a:pt x="33" y="322"/>
                  </a:cubicBezTo>
                  <a:cubicBezTo>
                    <a:pt x="31" y="324"/>
                    <a:pt x="31" y="324"/>
                    <a:pt x="31" y="324"/>
                  </a:cubicBezTo>
                  <a:cubicBezTo>
                    <a:pt x="30" y="326"/>
                    <a:pt x="30" y="326"/>
                    <a:pt x="30" y="326"/>
                  </a:cubicBezTo>
                  <a:cubicBezTo>
                    <a:pt x="31" y="326"/>
                    <a:pt x="31" y="326"/>
                    <a:pt x="31" y="326"/>
                  </a:cubicBezTo>
                  <a:cubicBezTo>
                    <a:pt x="31" y="327"/>
                    <a:pt x="31" y="327"/>
                    <a:pt x="31" y="327"/>
                  </a:cubicBezTo>
                  <a:cubicBezTo>
                    <a:pt x="31" y="327"/>
                    <a:pt x="31" y="327"/>
                    <a:pt x="31" y="327"/>
                  </a:cubicBezTo>
                  <a:cubicBezTo>
                    <a:pt x="32" y="328"/>
                    <a:pt x="32" y="328"/>
                    <a:pt x="32" y="328"/>
                  </a:cubicBezTo>
                  <a:cubicBezTo>
                    <a:pt x="33" y="328"/>
                    <a:pt x="33" y="328"/>
                    <a:pt x="33" y="328"/>
                  </a:cubicBezTo>
                  <a:cubicBezTo>
                    <a:pt x="33" y="328"/>
                    <a:pt x="33" y="328"/>
                    <a:pt x="33" y="328"/>
                  </a:cubicBezTo>
                  <a:cubicBezTo>
                    <a:pt x="34" y="329"/>
                    <a:pt x="34" y="329"/>
                    <a:pt x="34" y="329"/>
                  </a:cubicBezTo>
                  <a:cubicBezTo>
                    <a:pt x="32" y="328"/>
                    <a:pt x="32" y="328"/>
                    <a:pt x="32" y="328"/>
                  </a:cubicBezTo>
                  <a:cubicBezTo>
                    <a:pt x="32" y="328"/>
                    <a:pt x="32" y="328"/>
                    <a:pt x="32" y="328"/>
                  </a:cubicBezTo>
                  <a:cubicBezTo>
                    <a:pt x="31" y="327"/>
                    <a:pt x="31" y="327"/>
                    <a:pt x="31" y="327"/>
                  </a:cubicBezTo>
                  <a:cubicBezTo>
                    <a:pt x="30" y="327"/>
                    <a:pt x="30" y="327"/>
                    <a:pt x="30" y="327"/>
                  </a:cubicBezTo>
                  <a:cubicBezTo>
                    <a:pt x="30" y="327"/>
                    <a:pt x="30" y="327"/>
                    <a:pt x="30" y="327"/>
                  </a:cubicBezTo>
                  <a:cubicBezTo>
                    <a:pt x="29" y="328"/>
                    <a:pt x="29" y="328"/>
                    <a:pt x="29" y="328"/>
                  </a:cubicBezTo>
                  <a:cubicBezTo>
                    <a:pt x="30" y="329"/>
                    <a:pt x="30" y="329"/>
                    <a:pt x="30" y="329"/>
                  </a:cubicBezTo>
                  <a:cubicBezTo>
                    <a:pt x="31" y="330"/>
                    <a:pt x="31" y="330"/>
                    <a:pt x="31" y="330"/>
                  </a:cubicBezTo>
                  <a:cubicBezTo>
                    <a:pt x="33" y="332"/>
                    <a:pt x="33" y="332"/>
                    <a:pt x="33" y="332"/>
                  </a:cubicBezTo>
                  <a:cubicBezTo>
                    <a:pt x="33" y="333"/>
                    <a:pt x="33" y="333"/>
                    <a:pt x="33" y="333"/>
                  </a:cubicBezTo>
                  <a:cubicBezTo>
                    <a:pt x="33" y="333"/>
                    <a:pt x="33" y="333"/>
                    <a:pt x="33" y="333"/>
                  </a:cubicBezTo>
                  <a:cubicBezTo>
                    <a:pt x="34" y="334"/>
                    <a:pt x="34" y="334"/>
                    <a:pt x="34" y="334"/>
                  </a:cubicBezTo>
                  <a:cubicBezTo>
                    <a:pt x="35" y="335"/>
                    <a:pt x="35" y="335"/>
                    <a:pt x="35" y="335"/>
                  </a:cubicBezTo>
                  <a:cubicBezTo>
                    <a:pt x="43" y="337"/>
                    <a:pt x="43" y="337"/>
                    <a:pt x="43" y="337"/>
                  </a:cubicBezTo>
                  <a:cubicBezTo>
                    <a:pt x="43" y="338"/>
                    <a:pt x="43" y="338"/>
                    <a:pt x="43" y="338"/>
                  </a:cubicBezTo>
                  <a:cubicBezTo>
                    <a:pt x="38" y="336"/>
                    <a:pt x="38" y="336"/>
                    <a:pt x="38" y="336"/>
                  </a:cubicBezTo>
                  <a:cubicBezTo>
                    <a:pt x="36" y="336"/>
                    <a:pt x="36" y="336"/>
                    <a:pt x="36" y="336"/>
                  </a:cubicBezTo>
                  <a:cubicBezTo>
                    <a:pt x="35" y="337"/>
                    <a:pt x="35" y="337"/>
                    <a:pt x="35" y="337"/>
                  </a:cubicBezTo>
                  <a:cubicBezTo>
                    <a:pt x="33" y="337"/>
                    <a:pt x="33" y="337"/>
                    <a:pt x="33" y="337"/>
                  </a:cubicBezTo>
                  <a:cubicBezTo>
                    <a:pt x="34" y="336"/>
                    <a:pt x="34" y="336"/>
                    <a:pt x="34" y="336"/>
                  </a:cubicBezTo>
                  <a:cubicBezTo>
                    <a:pt x="33" y="335"/>
                    <a:pt x="33" y="335"/>
                    <a:pt x="33" y="335"/>
                  </a:cubicBezTo>
                  <a:cubicBezTo>
                    <a:pt x="31" y="333"/>
                    <a:pt x="31" y="333"/>
                    <a:pt x="31" y="333"/>
                  </a:cubicBezTo>
                  <a:cubicBezTo>
                    <a:pt x="31" y="333"/>
                    <a:pt x="31" y="333"/>
                    <a:pt x="31" y="333"/>
                  </a:cubicBezTo>
                  <a:cubicBezTo>
                    <a:pt x="30" y="336"/>
                    <a:pt x="30" y="336"/>
                    <a:pt x="30" y="336"/>
                  </a:cubicBezTo>
                  <a:cubicBezTo>
                    <a:pt x="29" y="338"/>
                    <a:pt x="29" y="338"/>
                    <a:pt x="29" y="338"/>
                  </a:cubicBezTo>
                  <a:cubicBezTo>
                    <a:pt x="27" y="340"/>
                    <a:pt x="27" y="340"/>
                    <a:pt x="27" y="340"/>
                  </a:cubicBezTo>
                  <a:cubicBezTo>
                    <a:pt x="28" y="338"/>
                    <a:pt x="28" y="338"/>
                    <a:pt x="28" y="338"/>
                  </a:cubicBezTo>
                  <a:cubicBezTo>
                    <a:pt x="29" y="336"/>
                    <a:pt x="29" y="336"/>
                    <a:pt x="29" y="336"/>
                  </a:cubicBezTo>
                  <a:cubicBezTo>
                    <a:pt x="29" y="334"/>
                    <a:pt x="29" y="334"/>
                    <a:pt x="29" y="334"/>
                  </a:cubicBezTo>
                  <a:cubicBezTo>
                    <a:pt x="30" y="332"/>
                    <a:pt x="30" y="332"/>
                    <a:pt x="30" y="332"/>
                  </a:cubicBezTo>
                  <a:cubicBezTo>
                    <a:pt x="30" y="331"/>
                    <a:pt x="30" y="331"/>
                    <a:pt x="30" y="331"/>
                  </a:cubicBezTo>
                  <a:cubicBezTo>
                    <a:pt x="29" y="330"/>
                    <a:pt x="29" y="330"/>
                    <a:pt x="29" y="330"/>
                  </a:cubicBezTo>
                  <a:cubicBezTo>
                    <a:pt x="29" y="330"/>
                    <a:pt x="29" y="330"/>
                    <a:pt x="29" y="330"/>
                  </a:cubicBezTo>
                  <a:cubicBezTo>
                    <a:pt x="28" y="329"/>
                    <a:pt x="28" y="329"/>
                    <a:pt x="28" y="329"/>
                  </a:cubicBezTo>
                  <a:cubicBezTo>
                    <a:pt x="28" y="329"/>
                    <a:pt x="28" y="329"/>
                    <a:pt x="28" y="329"/>
                  </a:cubicBezTo>
                  <a:cubicBezTo>
                    <a:pt x="27" y="329"/>
                    <a:pt x="27" y="329"/>
                    <a:pt x="27" y="329"/>
                  </a:cubicBezTo>
                  <a:cubicBezTo>
                    <a:pt x="26" y="330"/>
                    <a:pt x="26" y="330"/>
                    <a:pt x="26" y="330"/>
                  </a:cubicBezTo>
                  <a:cubicBezTo>
                    <a:pt x="25" y="330"/>
                    <a:pt x="25" y="330"/>
                    <a:pt x="25" y="330"/>
                  </a:cubicBezTo>
                  <a:cubicBezTo>
                    <a:pt x="23" y="330"/>
                    <a:pt x="23" y="330"/>
                    <a:pt x="23" y="330"/>
                  </a:cubicBezTo>
                  <a:cubicBezTo>
                    <a:pt x="23" y="330"/>
                    <a:pt x="23" y="330"/>
                    <a:pt x="23" y="330"/>
                  </a:cubicBezTo>
                  <a:cubicBezTo>
                    <a:pt x="22" y="331"/>
                    <a:pt x="22" y="331"/>
                    <a:pt x="22" y="331"/>
                  </a:cubicBezTo>
                  <a:cubicBezTo>
                    <a:pt x="22" y="333"/>
                    <a:pt x="22" y="333"/>
                    <a:pt x="22" y="333"/>
                  </a:cubicBezTo>
                  <a:cubicBezTo>
                    <a:pt x="23" y="334"/>
                    <a:pt x="23" y="334"/>
                    <a:pt x="23" y="334"/>
                  </a:cubicBezTo>
                  <a:cubicBezTo>
                    <a:pt x="24" y="335"/>
                    <a:pt x="24" y="335"/>
                    <a:pt x="24" y="335"/>
                  </a:cubicBezTo>
                  <a:cubicBezTo>
                    <a:pt x="24" y="336"/>
                    <a:pt x="24" y="336"/>
                    <a:pt x="24" y="336"/>
                  </a:cubicBezTo>
                  <a:cubicBezTo>
                    <a:pt x="23" y="334"/>
                    <a:pt x="23" y="334"/>
                    <a:pt x="23" y="334"/>
                  </a:cubicBezTo>
                  <a:cubicBezTo>
                    <a:pt x="22" y="334"/>
                    <a:pt x="22" y="334"/>
                    <a:pt x="22" y="334"/>
                  </a:cubicBezTo>
                  <a:cubicBezTo>
                    <a:pt x="22" y="333"/>
                    <a:pt x="22" y="333"/>
                    <a:pt x="22" y="333"/>
                  </a:cubicBezTo>
                  <a:cubicBezTo>
                    <a:pt x="21" y="332"/>
                    <a:pt x="21" y="332"/>
                    <a:pt x="21" y="332"/>
                  </a:cubicBezTo>
                  <a:cubicBezTo>
                    <a:pt x="21" y="332"/>
                    <a:pt x="21" y="332"/>
                    <a:pt x="21" y="332"/>
                  </a:cubicBezTo>
                  <a:cubicBezTo>
                    <a:pt x="21" y="331"/>
                    <a:pt x="21" y="331"/>
                    <a:pt x="21" y="331"/>
                  </a:cubicBezTo>
                  <a:cubicBezTo>
                    <a:pt x="18" y="330"/>
                    <a:pt x="18" y="330"/>
                    <a:pt x="18" y="330"/>
                  </a:cubicBezTo>
                  <a:cubicBezTo>
                    <a:pt x="16" y="330"/>
                    <a:pt x="16" y="330"/>
                    <a:pt x="16" y="330"/>
                  </a:cubicBezTo>
                  <a:cubicBezTo>
                    <a:pt x="16" y="330"/>
                    <a:pt x="16" y="330"/>
                    <a:pt x="16" y="330"/>
                  </a:cubicBezTo>
                  <a:cubicBezTo>
                    <a:pt x="15" y="330"/>
                    <a:pt x="15" y="330"/>
                    <a:pt x="15" y="330"/>
                  </a:cubicBezTo>
                  <a:cubicBezTo>
                    <a:pt x="15" y="330"/>
                    <a:pt x="15" y="330"/>
                    <a:pt x="15" y="330"/>
                  </a:cubicBezTo>
                  <a:cubicBezTo>
                    <a:pt x="14" y="331"/>
                    <a:pt x="14" y="331"/>
                    <a:pt x="14" y="331"/>
                  </a:cubicBezTo>
                  <a:cubicBezTo>
                    <a:pt x="14" y="333"/>
                    <a:pt x="14" y="333"/>
                    <a:pt x="14" y="333"/>
                  </a:cubicBezTo>
                  <a:cubicBezTo>
                    <a:pt x="14" y="334"/>
                    <a:pt x="14" y="334"/>
                    <a:pt x="14" y="334"/>
                  </a:cubicBezTo>
                  <a:cubicBezTo>
                    <a:pt x="14" y="334"/>
                    <a:pt x="14" y="334"/>
                    <a:pt x="14" y="334"/>
                  </a:cubicBezTo>
                  <a:cubicBezTo>
                    <a:pt x="15" y="335"/>
                    <a:pt x="15" y="335"/>
                    <a:pt x="15" y="335"/>
                  </a:cubicBezTo>
                  <a:cubicBezTo>
                    <a:pt x="19" y="336"/>
                    <a:pt x="19" y="336"/>
                    <a:pt x="19" y="336"/>
                  </a:cubicBezTo>
                  <a:cubicBezTo>
                    <a:pt x="20" y="337"/>
                    <a:pt x="20" y="337"/>
                    <a:pt x="20" y="337"/>
                  </a:cubicBezTo>
                  <a:cubicBezTo>
                    <a:pt x="19" y="337"/>
                    <a:pt x="19" y="337"/>
                    <a:pt x="19" y="337"/>
                  </a:cubicBezTo>
                  <a:cubicBezTo>
                    <a:pt x="19" y="336"/>
                    <a:pt x="19" y="336"/>
                    <a:pt x="19" y="336"/>
                  </a:cubicBezTo>
                  <a:cubicBezTo>
                    <a:pt x="19" y="336"/>
                    <a:pt x="19" y="336"/>
                    <a:pt x="19" y="336"/>
                  </a:cubicBezTo>
                  <a:cubicBezTo>
                    <a:pt x="18" y="337"/>
                    <a:pt x="18" y="337"/>
                    <a:pt x="18" y="337"/>
                  </a:cubicBezTo>
                  <a:cubicBezTo>
                    <a:pt x="18" y="337"/>
                    <a:pt x="18" y="337"/>
                    <a:pt x="18" y="337"/>
                  </a:cubicBezTo>
                  <a:cubicBezTo>
                    <a:pt x="18" y="337"/>
                    <a:pt x="18" y="337"/>
                    <a:pt x="18" y="337"/>
                  </a:cubicBezTo>
                  <a:cubicBezTo>
                    <a:pt x="17" y="340"/>
                    <a:pt x="17" y="340"/>
                    <a:pt x="17" y="340"/>
                  </a:cubicBezTo>
                  <a:cubicBezTo>
                    <a:pt x="17" y="341"/>
                    <a:pt x="17" y="341"/>
                    <a:pt x="17" y="341"/>
                  </a:cubicBezTo>
                  <a:cubicBezTo>
                    <a:pt x="16" y="341"/>
                    <a:pt x="16" y="341"/>
                    <a:pt x="16" y="341"/>
                  </a:cubicBezTo>
                  <a:cubicBezTo>
                    <a:pt x="16" y="341"/>
                    <a:pt x="16" y="341"/>
                    <a:pt x="16" y="341"/>
                  </a:cubicBezTo>
                  <a:cubicBezTo>
                    <a:pt x="16" y="338"/>
                    <a:pt x="16" y="338"/>
                    <a:pt x="16" y="338"/>
                  </a:cubicBezTo>
                  <a:cubicBezTo>
                    <a:pt x="14" y="336"/>
                    <a:pt x="14" y="336"/>
                    <a:pt x="14" y="336"/>
                  </a:cubicBezTo>
                  <a:cubicBezTo>
                    <a:pt x="12" y="335"/>
                    <a:pt x="12" y="335"/>
                    <a:pt x="12" y="335"/>
                  </a:cubicBezTo>
                  <a:cubicBezTo>
                    <a:pt x="10" y="333"/>
                    <a:pt x="10" y="333"/>
                    <a:pt x="10" y="333"/>
                  </a:cubicBezTo>
                  <a:cubicBezTo>
                    <a:pt x="10" y="333"/>
                    <a:pt x="10" y="333"/>
                    <a:pt x="10" y="333"/>
                  </a:cubicBezTo>
                  <a:cubicBezTo>
                    <a:pt x="10" y="332"/>
                    <a:pt x="10" y="332"/>
                    <a:pt x="10" y="332"/>
                  </a:cubicBezTo>
                  <a:cubicBezTo>
                    <a:pt x="10" y="331"/>
                    <a:pt x="10" y="331"/>
                    <a:pt x="10" y="331"/>
                  </a:cubicBezTo>
                  <a:cubicBezTo>
                    <a:pt x="10" y="331"/>
                    <a:pt x="10" y="331"/>
                    <a:pt x="10" y="331"/>
                  </a:cubicBezTo>
                  <a:cubicBezTo>
                    <a:pt x="10" y="331"/>
                    <a:pt x="10" y="331"/>
                    <a:pt x="10" y="331"/>
                  </a:cubicBezTo>
                  <a:cubicBezTo>
                    <a:pt x="10" y="331"/>
                    <a:pt x="10" y="331"/>
                    <a:pt x="10" y="331"/>
                  </a:cubicBezTo>
                  <a:cubicBezTo>
                    <a:pt x="10" y="330"/>
                    <a:pt x="10" y="330"/>
                    <a:pt x="10" y="330"/>
                  </a:cubicBezTo>
                  <a:cubicBezTo>
                    <a:pt x="9" y="330"/>
                    <a:pt x="9" y="330"/>
                    <a:pt x="9" y="330"/>
                  </a:cubicBezTo>
                  <a:cubicBezTo>
                    <a:pt x="8" y="329"/>
                    <a:pt x="8" y="329"/>
                    <a:pt x="8" y="329"/>
                  </a:cubicBezTo>
                  <a:cubicBezTo>
                    <a:pt x="8" y="328"/>
                    <a:pt x="8" y="328"/>
                    <a:pt x="8" y="328"/>
                  </a:cubicBezTo>
                  <a:cubicBezTo>
                    <a:pt x="7" y="328"/>
                    <a:pt x="7" y="328"/>
                    <a:pt x="7" y="328"/>
                  </a:cubicBezTo>
                  <a:cubicBezTo>
                    <a:pt x="7" y="329"/>
                    <a:pt x="7" y="329"/>
                    <a:pt x="7" y="329"/>
                  </a:cubicBezTo>
                  <a:cubicBezTo>
                    <a:pt x="7" y="329"/>
                    <a:pt x="7" y="329"/>
                    <a:pt x="7" y="329"/>
                  </a:cubicBezTo>
                  <a:cubicBezTo>
                    <a:pt x="7" y="329"/>
                    <a:pt x="7" y="329"/>
                    <a:pt x="7" y="329"/>
                  </a:cubicBezTo>
                  <a:cubicBezTo>
                    <a:pt x="7" y="330"/>
                    <a:pt x="7" y="330"/>
                    <a:pt x="7" y="330"/>
                  </a:cubicBezTo>
                  <a:cubicBezTo>
                    <a:pt x="6" y="330"/>
                    <a:pt x="6" y="330"/>
                    <a:pt x="6" y="330"/>
                  </a:cubicBezTo>
                  <a:cubicBezTo>
                    <a:pt x="6" y="329"/>
                    <a:pt x="6" y="329"/>
                    <a:pt x="6" y="329"/>
                  </a:cubicBezTo>
                  <a:cubicBezTo>
                    <a:pt x="6" y="330"/>
                    <a:pt x="6" y="330"/>
                    <a:pt x="6" y="330"/>
                  </a:cubicBezTo>
                  <a:cubicBezTo>
                    <a:pt x="5" y="329"/>
                    <a:pt x="5" y="329"/>
                    <a:pt x="5" y="329"/>
                  </a:cubicBezTo>
                  <a:cubicBezTo>
                    <a:pt x="5" y="330"/>
                    <a:pt x="5" y="330"/>
                    <a:pt x="5" y="330"/>
                  </a:cubicBezTo>
                  <a:cubicBezTo>
                    <a:pt x="5" y="330"/>
                    <a:pt x="5" y="330"/>
                    <a:pt x="5" y="330"/>
                  </a:cubicBezTo>
                  <a:cubicBezTo>
                    <a:pt x="5" y="330"/>
                    <a:pt x="5" y="330"/>
                    <a:pt x="5" y="330"/>
                  </a:cubicBezTo>
                  <a:cubicBezTo>
                    <a:pt x="5" y="330"/>
                    <a:pt x="5" y="330"/>
                    <a:pt x="5" y="330"/>
                  </a:cubicBezTo>
                  <a:cubicBezTo>
                    <a:pt x="5" y="331"/>
                    <a:pt x="5" y="331"/>
                    <a:pt x="5" y="331"/>
                  </a:cubicBezTo>
                  <a:cubicBezTo>
                    <a:pt x="5" y="331"/>
                    <a:pt x="5" y="331"/>
                    <a:pt x="5" y="331"/>
                  </a:cubicBezTo>
                  <a:cubicBezTo>
                    <a:pt x="5" y="331"/>
                    <a:pt x="5" y="331"/>
                    <a:pt x="5" y="331"/>
                  </a:cubicBezTo>
                  <a:cubicBezTo>
                    <a:pt x="4" y="331"/>
                    <a:pt x="4" y="331"/>
                    <a:pt x="4" y="331"/>
                  </a:cubicBezTo>
                  <a:cubicBezTo>
                    <a:pt x="4" y="331"/>
                    <a:pt x="4" y="331"/>
                    <a:pt x="4" y="331"/>
                  </a:cubicBezTo>
                  <a:cubicBezTo>
                    <a:pt x="5" y="332"/>
                    <a:pt x="5" y="332"/>
                    <a:pt x="5" y="332"/>
                  </a:cubicBezTo>
                  <a:lnTo>
                    <a:pt x="5" y="333"/>
                  </a:lnTo>
                  <a:close/>
                  <a:moveTo>
                    <a:pt x="267" y="156"/>
                  </a:moveTo>
                  <a:cubicBezTo>
                    <a:pt x="275" y="142"/>
                    <a:pt x="275" y="142"/>
                    <a:pt x="275" y="142"/>
                  </a:cubicBezTo>
                  <a:cubicBezTo>
                    <a:pt x="279" y="136"/>
                    <a:pt x="279" y="136"/>
                    <a:pt x="279" y="136"/>
                  </a:cubicBezTo>
                  <a:cubicBezTo>
                    <a:pt x="280" y="133"/>
                    <a:pt x="280" y="133"/>
                    <a:pt x="280" y="133"/>
                  </a:cubicBezTo>
                  <a:cubicBezTo>
                    <a:pt x="280" y="133"/>
                    <a:pt x="280" y="133"/>
                    <a:pt x="280" y="133"/>
                  </a:cubicBezTo>
                  <a:cubicBezTo>
                    <a:pt x="280" y="133"/>
                    <a:pt x="280" y="133"/>
                    <a:pt x="280" y="133"/>
                  </a:cubicBezTo>
                  <a:cubicBezTo>
                    <a:pt x="281" y="126"/>
                    <a:pt x="281" y="126"/>
                    <a:pt x="281" y="126"/>
                  </a:cubicBezTo>
                  <a:cubicBezTo>
                    <a:pt x="281" y="124"/>
                    <a:pt x="281" y="124"/>
                    <a:pt x="281" y="124"/>
                  </a:cubicBezTo>
                  <a:cubicBezTo>
                    <a:pt x="282" y="123"/>
                    <a:pt x="282" y="123"/>
                    <a:pt x="282" y="123"/>
                  </a:cubicBezTo>
                  <a:cubicBezTo>
                    <a:pt x="284" y="121"/>
                    <a:pt x="284" y="121"/>
                    <a:pt x="284" y="121"/>
                  </a:cubicBezTo>
                  <a:cubicBezTo>
                    <a:pt x="285" y="119"/>
                    <a:pt x="285" y="119"/>
                    <a:pt x="285" y="119"/>
                  </a:cubicBezTo>
                  <a:cubicBezTo>
                    <a:pt x="286" y="116"/>
                    <a:pt x="286" y="116"/>
                    <a:pt x="286" y="116"/>
                  </a:cubicBezTo>
                  <a:cubicBezTo>
                    <a:pt x="285" y="112"/>
                    <a:pt x="285" y="112"/>
                    <a:pt x="285" y="112"/>
                  </a:cubicBezTo>
                  <a:cubicBezTo>
                    <a:pt x="285" y="109"/>
                    <a:pt x="285" y="109"/>
                    <a:pt x="285" y="109"/>
                  </a:cubicBezTo>
                  <a:cubicBezTo>
                    <a:pt x="287" y="91"/>
                    <a:pt x="287" y="91"/>
                    <a:pt x="287" y="91"/>
                  </a:cubicBezTo>
                  <a:cubicBezTo>
                    <a:pt x="287" y="90"/>
                    <a:pt x="287" y="90"/>
                    <a:pt x="287" y="90"/>
                  </a:cubicBezTo>
                  <a:cubicBezTo>
                    <a:pt x="289" y="86"/>
                    <a:pt x="289" y="86"/>
                    <a:pt x="289" y="86"/>
                  </a:cubicBezTo>
                  <a:cubicBezTo>
                    <a:pt x="290" y="84"/>
                    <a:pt x="290" y="84"/>
                    <a:pt x="290" y="84"/>
                  </a:cubicBezTo>
                  <a:cubicBezTo>
                    <a:pt x="289" y="81"/>
                    <a:pt x="289" y="81"/>
                    <a:pt x="289" y="81"/>
                  </a:cubicBezTo>
                  <a:cubicBezTo>
                    <a:pt x="286" y="60"/>
                    <a:pt x="286" y="60"/>
                    <a:pt x="286" y="60"/>
                  </a:cubicBezTo>
                  <a:cubicBezTo>
                    <a:pt x="288" y="60"/>
                    <a:pt x="288" y="60"/>
                    <a:pt x="288" y="60"/>
                  </a:cubicBezTo>
                  <a:cubicBezTo>
                    <a:pt x="291" y="81"/>
                    <a:pt x="291" y="81"/>
                    <a:pt x="291" y="81"/>
                  </a:cubicBezTo>
                  <a:cubicBezTo>
                    <a:pt x="291" y="84"/>
                    <a:pt x="291" y="84"/>
                    <a:pt x="291" y="84"/>
                  </a:cubicBezTo>
                  <a:cubicBezTo>
                    <a:pt x="290" y="85"/>
                    <a:pt x="290" y="85"/>
                    <a:pt x="290" y="85"/>
                  </a:cubicBezTo>
                  <a:cubicBezTo>
                    <a:pt x="288" y="90"/>
                    <a:pt x="288" y="90"/>
                    <a:pt x="288" y="90"/>
                  </a:cubicBezTo>
                  <a:cubicBezTo>
                    <a:pt x="288" y="91"/>
                    <a:pt x="288" y="91"/>
                    <a:pt x="288" y="91"/>
                  </a:cubicBezTo>
                  <a:cubicBezTo>
                    <a:pt x="287" y="108"/>
                    <a:pt x="287" y="108"/>
                    <a:pt x="287" y="108"/>
                  </a:cubicBezTo>
                  <a:cubicBezTo>
                    <a:pt x="287" y="112"/>
                    <a:pt x="287" y="112"/>
                    <a:pt x="287" y="112"/>
                  </a:cubicBezTo>
                  <a:cubicBezTo>
                    <a:pt x="287" y="116"/>
                    <a:pt x="287" y="116"/>
                    <a:pt x="287" y="116"/>
                  </a:cubicBezTo>
                  <a:cubicBezTo>
                    <a:pt x="287" y="119"/>
                    <a:pt x="287" y="119"/>
                    <a:pt x="287" y="119"/>
                  </a:cubicBezTo>
                  <a:cubicBezTo>
                    <a:pt x="286" y="121"/>
                    <a:pt x="286" y="121"/>
                    <a:pt x="286" y="121"/>
                  </a:cubicBezTo>
                  <a:cubicBezTo>
                    <a:pt x="283" y="123"/>
                    <a:pt x="283" y="123"/>
                    <a:pt x="283" y="123"/>
                  </a:cubicBezTo>
                  <a:cubicBezTo>
                    <a:pt x="283" y="124"/>
                    <a:pt x="283" y="124"/>
                    <a:pt x="283" y="124"/>
                  </a:cubicBezTo>
                  <a:cubicBezTo>
                    <a:pt x="282" y="126"/>
                    <a:pt x="282" y="126"/>
                    <a:pt x="282" y="126"/>
                  </a:cubicBezTo>
                  <a:cubicBezTo>
                    <a:pt x="282" y="133"/>
                    <a:pt x="282" y="133"/>
                    <a:pt x="282" y="133"/>
                  </a:cubicBezTo>
                  <a:cubicBezTo>
                    <a:pt x="281" y="133"/>
                    <a:pt x="281" y="133"/>
                    <a:pt x="281" y="133"/>
                  </a:cubicBezTo>
                  <a:cubicBezTo>
                    <a:pt x="281" y="133"/>
                    <a:pt x="281" y="133"/>
                    <a:pt x="281" y="133"/>
                  </a:cubicBezTo>
                  <a:cubicBezTo>
                    <a:pt x="281" y="136"/>
                    <a:pt x="281" y="136"/>
                    <a:pt x="281" y="136"/>
                  </a:cubicBezTo>
                  <a:cubicBezTo>
                    <a:pt x="277" y="142"/>
                    <a:pt x="277" y="142"/>
                    <a:pt x="277" y="142"/>
                  </a:cubicBezTo>
                  <a:cubicBezTo>
                    <a:pt x="269" y="156"/>
                    <a:pt x="269" y="156"/>
                    <a:pt x="269" y="156"/>
                  </a:cubicBezTo>
                  <a:cubicBezTo>
                    <a:pt x="261" y="170"/>
                    <a:pt x="261" y="170"/>
                    <a:pt x="261" y="170"/>
                  </a:cubicBezTo>
                  <a:cubicBezTo>
                    <a:pt x="270" y="177"/>
                    <a:pt x="270" y="177"/>
                    <a:pt x="270" y="177"/>
                  </a:cubicBezTo>
                  <a:cubicBezTo>
                    <a:pt x="271" y="177"/>
                    <a:pt x="271" y="177"/>
                    <a:pt x="271" y="177"/>
                  </a:cubicBezTo>
                  <a:cubicBezTo>
                    <a:pt x="273" y="178"/>
                    <a:pt x="273" y="178"/>
                    <a:pt x="273" y="178"/>
                  </a:cubicBezTo>
                  <a:cubicBezTo>
                    <a:pt x="274" y="179"/>
                    <a:pt x="274" y="179"/>
                    <a:pt x="274" y="179"/>
                  </a:cubicBezTo>
                  <a:cubicBezTo>
                    <a:pt x="275" y="180"/>
                    <a:pt x="275" y="180"/>
                    <a:pt x="275" y="180"/>
                  </a:cubicBezTo>
                  <a:cubicBezTo>
                    <a:pt x="276" y="197"/>
                    <a:pt x="276" y="197"/>
                    <a:pt x="276" y="197"/>
                  </a:cubicBezTo>
                  <a:cubicBezTo>
                    <a:pt x="276" y="198"/>
                    <a:pt x="276" y="198"/>
                    <a:pt x="276" y="198"/>
                  </a:cubicBezTo>
                  <a:cubicBezTo>
                    <a:pt x="276" y="199"/>
                    <a:pt x="276" y="199"/>
                    <a:pt x="276" y="199"/>
                  </a:cubicBezTo>
                  <a:cubicBezTo>
                    <a:pt x="271" y="209"/>
                    <a:pt x="271" y="209"/>
                    <a:pt x="271" y="209"/>
                  </a:cubicBezTo>
                  <a:cubicBezTo>
                    <a:pt x="270" y="210"/>
                    <a:pt x="270" y="210"/>
                    <a:pt x="270" y="210"/>
                  </a:cubicBezTo>
                  <a:cubicBezTo>
                    <a:pt x="270" y="210"/>
                    <a:pt x="270" y="210"/>
                    <a:pt x="270" y="210"/>
                  </a:cubicBezTo>
                  <a:cubicBezTo>
                    <a:pt x="269" y="210"/>
                    <a:pt x="269" y="210"/>
                    <a:pt x="269" y="210"/>
                  </a:cubicBezTo>
                  <a:cubicBezTo>
                    <a:pt x="269" y="210"/>
                    <a:pt x="269" y="210"/>
                    <a:pt x="269" y="210"/>
                  </a:cubicBezTo>
                  <a:cubicBezTo>
                    <a:pt x="270" y="209"/>
                    <a:pt x="270" y="209"/>
                    <a:pt x="270" y="209"/>
                  </a:cubicBezTo>
                  <a:cubicBezTo>
                    <a:pt x="275" y="199"/>
                    <a:pt x="275" y="199"/>
                    <a:pt x="275" y="199"/>
                  </a:cubicBezTo>
                  <a:cubicBezTo>
                    <a:pt x="275" y="198"/>
                    <a:pt x="275" y="198"/>
                    <a:pt x="275" y="198"/>
                  </a:cubicBezTo>
                  <a:cubicBezTo>
                    <a:pt x="275" y="197"/>
                    <a:pt x="275" y="197"/>
                    <a:pt x="275" y="197"/>
                  </a:cubicBezTo>
                  <a:cubicBezTo>
                    <a:pt x="274" y="180"/>
                    <a:pt x="274" y="180"/>
                    <a:pt x="274" y="180"/>
                  </a:cubicBezTo>
                  <a:cubicBezTo>
                    <a:pt x="273" y="179"/>
                    <a:pt x="273" y="179"/>
                    <a:pt x="273" y="179"/>
                  </a:cubicBezTo>
                  <a:cubicBezTo>
                    <a:pt x="272" y="178"/>
                    <a:pt x="272" y="178"/>
                    <a:pt x="272" y="178"/>
                  </a:cubicBezTo>
                  <a:cubicBezTo>
                    <a:pt x="270" y="177"/>
                    <a:pt x="270" y="177"/>
                    <a:pt x="270" y="177"/>
                  </a:cubicBezTo>
                  <a:cubicBezTo>
                    <a:pt x="268" y="177"/>
                    <a:pt x="268" y="177"/>
                    <a:pt x="268" y="177"/>
                  </a:cubicBezTo>
                  <a:cubicBezTo>
                    <a:pt x="260" y="170"/>
                    <a:pt x="260" y="170"/>
                    <a:pt x="260" y="170"/>
                  </a:cubicBezTo>
                  <a:lnTo>
                    <a:pt x="267" y="156"/>
                  </a:lnTo>
                  <a:close/>
                  <a:moveTo>
                    <a:pt x="217" y="247"/>
                  </a:moveTo>
                  <a:cubicBezTo>
                    <a:pt x="217" y="246"/>
                    <a:pt x="217" y="246"/>
                    <a:pt x="217" y="246"/>
                  </a:cubicBezTo>
                  <a:cubicBezTo>
                    <a:pt x="217" y="244"/>
                    <a:pt x="217" y="244"/>
                    <a:pt x="217" y="244"/>
                  </a:cubicBezTo>
                  <a:cubicBezTo>
                    <a:pt x="216" y="238"/>
                    <a:pt x="216" y="238"/>
                    <a:pt x="216" y="238"/>
                  </a:cubicBezTo>
                  <a:cubicBezTo>
                    <a:pt x="219" y="234"/>
                    <a:pt x="219" y="234"/>
                    <a:pt x="219" y="234"/>
                  </a:cubicBezTo>
                  <a:cubicBezTo>
                    <a:pt x="225" y="223"/>
                    <a:pt x="225" y="223"/>
                    <a:pt x="225" y="223"/>
                  </a:cubicBezTo>
                  <a:cubicBezTo>
                    <a:pt x="231" y="214"/>
                    <a:pt x="231" y="214"/>
                    <a:pt x="231" y="214"/>
                  </a:cubicBezTo>
                  <a:cubicBezTo>
                    <a:pt x="233" y="211"/>
                    <a:pt x="233" y="211"/>
                    <a:pt x="233" y="211"/>
                  </a:cubicBezTo>
                  <a:cubicBezTo>
                    <a:pt x="240" y="206"/>
                    <a:pt x="240" y="206"/>
                    <a:pt x="240" y="206"/>
                  </a:cubicBezTo>
                  <a:cubicBezTo>
                    <a:pt x="247" y="204"/>
                    <a:pt x="247" y="204"/>
                    <a:pt x="247" y="204"/>
                  </a:cubicBezTo>
                  <a:cubicBezTo>
                    <a:pt x="248" y="205"/>
                    <a:pt x="248" y="205"/>
                    <a:pt x="248" y="205"/>
                  </a:cubicBezTo>
                  <a:cubicBezTo>
                    <a:pt x="241" y="207"/>
                    <a:pt x="241" y="207"/>
                    <a:pt x="241" y="207"/>
                  </a:cubicBezTo>
                  <a:cubicBezTo>
                    <a:pt x="234" y="211"/>
                    <a:pt x="234" y="211"/>
                    <a:pt x="234" y="211"/>
                  </a:cubicBezTo>
                  <a:cubicBezTo>
                    <a:pt x="232" y="214"/>
                    <a:pt x="232" y="214"/>
                    <a:pt x="232" y="214"/>
                  </a:cubicBezTo>
                  <a:cubicBezTo>
                    <a:pt x="226" y="224"/>
                    <a:pt x="226" y="224"/>
                    <a:pt x="226" y="224"/>
                  </a:cubicBezTo>
                  <a:cubicBezTo>
                    <a:pt x="221" y="234"/>
                    <a:pt x="221" y="234"/>
                    <a:pt x="221" y="234"/>
                  </a:cubicBezTo>
                  <a:cubicBezTo>
                    <a:pt x="217" y="238"/>
                    <a:pt x="217" y="238"/>
                    <a:pt x="217" y="238"/>
                  </a:cubicBezTo>
                  <a:cubicBezTo>
                    <a:pt x="218" y="245"/>
                    <a:pt x="218" y="245"/>
                    <a:pt x="218" y="245"/>
                  </a:cubicBezTo>
                  <a:cubicBezTo>
                    <a:pt x="218" y="246"/>
                    <a:pt x="218" y="246"/>
                    <a:pt x="218" y="246"/>
                  </a:cubicBezTo>
                  <a:cubicBezTo>
                    <a:pt x="218" y="247"/>
                    <a:pt x="218" y="247"/>
                    <a:pt x="218" y="247"/>
                  </a:cubicBezTo>
                  <a:cubicBezTo>
                    <a:pt x="212" y="258"/>
                    <a:pt x="212" y="258"/>
                    <a:pt x="212" y="258"/>
                  </a:cubicBezTo>
                  <a:cubicBezTo>
                    <a:pt x="214" y="264"/>
                    <a:pt x="214" y="264"/>
                    <a:pt x="214" y="264"/>
                  </a:cubicBezTo>
                  <a:cubicBezTo>
                    <a:pt x="219" y="277"/>
                    <a:pt x="219" y="277"/>
                    <a:pt x="219" y="277"/>
                  </a:cubicBezTo>
                  <a:cubicBezTo>
                    <a:pt x="215" y="283"/>
                    <a:pt x="215" y="283"/>
                    <a:pt x="215" y="283"/>
                  </a:cubicBezTo>
                  <a:cubicBezTo>
                    <a:pt x="215" y="284"/>
                    <a:pt x="215" y="284"/>
                    <a:pt x="215" y="284"/>
                  </a:cubicBezTo>
                  <a:cubicBezTo>
                    <a:pt x="215" y="285"/>
                    <a:pt x="215" y="285"/>
                    <a:pt x="215" y="285"/>
                  </a:cubicBezTo>
                  <a:cubicBezTo>
                    <a:pt x="217" y="295"/>
                    <a:pt x="217" y="295"/>
                    <a:pt x="217" y="295"/>
                  </a:cubicBezTo>
                  <a:cubicBezTo>
                    <a:pt x="217" y="296"/>
                    <a:pt x="217" y="296"/>
                    <a:pt x="217" y="296"/>
                  </a:cubicBezTo>
                  <a:cubicBezTo>
                    <a:pt x="216" y="298"/>
                    <a:pt x="216" y="298"/>
                    <a:pt x="216" y="298"/>
                  </a:cubicBezTo>
                  <a:cubicBezTo>
                    <a:pt x="215" y="301"/>
                    <a:pt x="215" y="301"/>
                    <a:pt x="215" y="301"/>
                  </a:cubicBezTo>
                  <a:cubicBezTo>
                    <a:pt x="215" y="303"/>
                    <a:pt x="215" y="303"/>
                    <a:pt x="215" y="303"/>
                  </a:cubicBezTo>
                  <a:cubicBezTo>
                    <a:pt x="215" y="305"/>
                    <a:pt x="215" y="305"/>
                    <a:pt x="215" y="305"/>
                  </a:cubicBezTo>
                  <a:cubicBezTo>
                    <a:pt x="220" y="320"/>
                    <a:pt x="220" y="320"/>
                    <a:pt x="220" y="320"/>
                  </a:cubicBezTo>
                  <a:cubicBezTo>
                    <a:pt x="221" y="321"/>
                    <a:pt x="221" y="321"/>
                    <a:pt x="221" y="321"/>
                  </a:cubicBezTo>
                  <a:cubicBezTo>
                    <a:pt x="221" y="324"/>
                    <a:pt x="221" y="324"/>
                    <a:pt x="221" y="324"/>
                  </a:cubicBezTo>
                  <a:cubicBezTo>
                    <a:pt x="221" y="325"/>
                    <a:pt x="221" y="325"/>
                    <a:pt x="221" y="325"/>
                  </a:cubicBezTo>
                  <a:cubicBezTo>
                    <a:pt x="221" y="327"/>
                    <a:pt x="221" y="327"/>
                    <a:pt x="221" y="327"/>
                  </a:cubicBezTo>
                  <a:cubicBezTo>
                    <a:pt x="219" y="343"/>
                    <a:pt x="219" y="343"/>
                    <a:pt x="219" y="343"/>
                  </a:cubicBezTo>
                  <a:cubicBezTo>
                    <a:pt x="217" y="359"/>
                    <a:pt x="217" y="359"/>
                    <a:pt x="217" y="359"/>
                  </a:cubicBezTo>
                  <a:cubicBezTo>
                    <a:pt x="217" y="360"/>
                    <a:pt x="217" y="360"/>
                    <a:pt x="217" y="360"/>
                  </a:cubicBezTo>
                  <a:cubicBezTo>
                    <a:pt x="221" y="364"/>
                    <a:pt x="221" y="364"/>
                    <a:pt x="221" y="364"/>
                  </a:cubicBezTo>
                  <a:cubicBezTo>
                    <a:pt x="222" y="365"/>
                    <a:pt x="222" y="365"/>
                    <a:pt x="222" y="365"/>
                  </a:cubicBezTo>
                  <a:cubicBezTo>
                    <a:pt x="224" y="368"/>
                    <a:pt x="224" y="368"/>
                    <a:pt x="224" y="368"/>
                  </a:cubicBezTo>
                  <a:cubicBezTo>
                    <a:pt x="225" y="369"/>
                    <a:pt x="225" y="369"/>
                    <a:pt x="225" y="369"/>
                  </a:cubicBezTo>
                  <a:cubicBezTo>
                    <a:pt x="224" y="368"/>
                    <a:pt x="224" y="368"/>
                    <a:pt x="224" y="368"/>
                  </a:cubicBezTo>
                  <a:cubicBezTo>
                    <a:pt x="223" y="368"/>
                    <a:pt x="223" y="368"/>
                    <a:pt x="223" y="368"/>
                  </a:cubicBezTo>
                  <a:cubicBezTo>
                    <a:pt x="221" y="365"/>
                    <a:pt x="221" y="365"/>
                    <a:pt x="221" y="365"/>
                  </a:cubicBezTo>
                  <a:cubicBezTo>
                    <a:pt x="219" y="364"/>
                    <a:pt x="219" y="364"/>
                    <a:pt x="219" y="364"/>
                  </a:cubicBezTo>
                  <a:cubicBezTo>
                    <a:pt x="216" y="360"/>
                    <a:pt x="216" y="360"/>
                    <a:pt x="216" y="360"/>
                  </a:cubicBezTo>
                  <a:cubicBezTo>
                    <a:pt x="215" y="359"/>
                    <a:pt x="215" y="359"/>
                    <a:pt x="215" y="359"/>
                  </a:cubicBezTo>
                  <a:cubicBezTo>
                    <a:pt x="218" y="343"/>
                    <a:pt x="218" y="343"/>
                    <a:pt x="218" y="343"/>
                  </a:cubicBezTo>
                  <a:cubicBezTo>
                    <a:pt x="220" y="327"/>
                    <a:pt x="220" y="327"/>
                    <a:pt x="220" y="327"/>
                  </a:cubicBezTo>
                  <a:cubicBezTo>
                    <a:pt x="220" y="324"/>
                    <a:pt x="220" y="324"/>
                    <a:pt x="220" y="324"/>
                  </a:cubicBezTo>
                  <a:cubicBezTo>
                    <a:pt x="220" y="323"/>
                    <a:pt x="220" y="323"/>
                    <a:pt x="220" y="323"/>
                  </a:cubicBezTo>
                  <a:cubicBezTo>
                    <a:pt x="219" y="320"/>
                    <a:pt x="219" y="320"/>
                    <a:pt x="219" y="320"/>
                  </a:cubicBezTo>
                  <a:cubicBezTo>
                    <a:pt x="219" y="320"/>
                    <a:pt x="219" y="320"/>
                    <a:pt x="219" y="320"/>
                  </a:cubicBezTo>
                  <a:cubicBezTo>
                    <a:pt x="213" y="304"/>
                    <a:pt x="213" y="304"/>
                    <a:pt x="213" y="304"/>
                  </a:cubicBezTo>
                  <a:cubicBezTo>
                    <a:pt x="213" y="303"/>
                    <a:pt x="213" y="303"/>
                    <a:pt x="213" y="303"/>
                  </a:cubicBezTo>
                  <a:cubicBezTo>
                    <a:pt x="214" y="301"/>
                    <a:pt x="214" y="301"/>
                    <a:pt x="214" y="301"/>
                  </a:cubicBezTo>
                  <a:cubicBezTo>
                    <a:pt x="215" y="298"/>
                    <a:pt x="215" y="298"/>
                    <a:pt x="215" y="298"/>
                  </a:cubicBezTo>
                  <a:cubicBezTo>
                    <a:pt x="215" y="296"/>
                    <a:pt x="215" y="296"/>
                    <a:pt x="215" y="296"/>
                  </a:cubicBezTo>
                  <a:cubicBezTo>
                    <a:pt x="215" y="295"/>
                    <a:pt x="215" y="295"/>
                    <a:pt x="215" y="295"/>
                  </a:cubicBezTo>
                  <a:cubicBezTo>
                    <a:pt x="214" y="285"/>
                    <a:pt x="214" y="285"/>
                    <a:pt x="214" y="285"/>
                  </a:cubicBezTo>
                  <a:cubicBezTo>
                    <a:pt x="213" y="283"/>
                    <a:pt x="213" y="283"/>
                    <a:pt x="213" y="283"/>
                  </a:cubicBezTo>
                  <a:cubicBezTo>
                    <a:pt x="214" y="282"/>
                    <a:pt x="214" y="282"/>
                    <a:pt x="214" y="282"/>
                  </a:cubicBezTo>
                  <a:cubicBezTo>
                    <a:pt x="217" y="277"/>
                    <a:pt x="217" y="277"/>
                    <a:pt x="217" y="277"/>
                  </a:cubicBezTo>
                  <a:cubicBezTo>
                    <a:pt x="212" y="264"/>
                    <a:pt x="212" y="264"/>
                    <a:pt x="212" y="264"/>
                  </a:cubicBezTo>
                  <a:cubicBezTo>
                    <a:pt x="210" y="258"/>
                    <a:pt x="210" y="258"/>
                    <a:pt x="210" y="258"/>
                  </a:cubicBezTo>
                  <a:lnTo>
                    <a:pt x="217" y="247"/>
                  </a:lnTo>
                  <a:close/>
                  <a:moveTo>
                    <a:pt x="197" y="530"/>
                  </a:moveTo>
                  <a:cubicBezTo>
                    <a:pt x="199" y="529"/>
                    <a:pt x="199" y="529"/>
                    <a:pt x="199" y="529"/>
                  </a:cubicBezTo>
                  <a:cubicBezTo>
                    <a:pt x="201" y="527"/>
                    <a:pt x="201" y="527"/>
                    <a:pt x="201" y="527"/>
                  </a:cubicBezTo>
                  <a:cubicBezTo>
                    <a:pt x="202" y="524"/>
                    <a:pt x="202" y="524"/>
                    <a:pt x="202" y="524"/>
                  </a:cubicBezTo>
                  <a:cubicBezTo>
                    <a:pt x="202" y="523"/>
                    <a:pt x="202" y="523"/>
                    <a:pt x="202" y="523"/>
                  </a:cubicBezTo>
                  <a:cubicBezTo>
                    <a:pt x="202" y="522"/>
                    <a:pt x="202" y="522"/>
                    <a:pt x="202" y="522"/>
                  </a:cubicBezTo>
                  <a:cubicBezTo>
                    <a:pt x="203" y="519"/>
                    <a:pt x="203" y="519"/>
                    <a:pt x="203" y="519"/>
                  </a:cubicBezTo>
                  <a:cubicBezTo>
                    <a:pt x="203" y="518"/>
                    <a:pt x="203" y="518"/>
                    <a:pt x="203" y="518"/>
                  </a:cubicBezTo>
                  <a:cubicBezTo>
                    <a:pt x="203" y="515"/>
                    <a:pt x="203" y="515"/>
                    <a:pt x="203" y="515"/>
                  </a:cubicBezTo>
                  <a:cubicBezTo>
                    <a:pt x="204" y="511"/>
                    <a:pt x="204" y="511"/>
                    <a:pt x="204" y="511"/>
                  </a:cubicBezTo>
                  <a:cubicBezTo>
                    <a:pt x="204" y="510"/>
                    <a:pt x="204" y="510"/>
                    <a:pt x="204" y="510"/>
                  </a:cubicBezTo>
                  <a:cubicBezTo>
                    <a:pt x="205" y="509"/>
                    <a:pt x="205" y="509"/>
                    <a:pt x="205" y="509"/>
                  </a:cubicBezTo>
                  <a:cubicBezTo>
                    <a:pt x="205" y="509"/>
                    <a:pt x="205" y="509"/>
                    <a:pt x="205" y="509"/>
                  </a:cubicBezTo>
                  <a:cubicBezTo>
                    <a:pt x="205" y="509"/>
                    <a:pt x="205" y="509"/>
                    <a:pt x="205" y="509"/>
                  </a:cubicBezTo>
                  <a:cubicBezTo>
                    <a:pt x="205" y="507"/>
                    <a:pt x="205" y="507"/>
                    <a:pt x="205" y="507"/>
                  </a:cubicBezTo>
                  <a:cubicBezTo>
                    <a:pt x="205" y="506"/>
                    <a:pt x="205" y="506"/>
                    <a:pt x="205" y="506"/>
                  </a:cubicBezTo>
                  <a:cubicBezTo>
                    <a:pt x="204" y="502"/>
                    <a:pt x="204" y="502"/>
                    <a:pt x="204" y="502"/>
                  </a:cubicBezTo>
                  <a:cubicBezTo>
                    <a:pt x="201" y="490"/>
                    <a:pt x="201" y="490"/>
                    <a:pt x="201" y="490"/>
                  </a:cubicBezTo>
                  <a:cubicBezTo>
                    <a:pt x="201" y="489"/>
                    <a:pt x="201" y="489"/>
                    <a:pt x="201" y="489"/>
                  </a:cubicBezTo>
                  <a:cubicBezTo>
                    <a:pt x="201" y="488"/>
                    <a:pt x="201" y="488"/>
                    <a:pt x="201" y="488"/>
                  </a:cubicBezTo>
                  <a:cubicBezTo>
                    <a:pt x="202" y="487"/>
                    <a:pt x="202" y="487"/>
                    <a:pt x="202" y="487"/>
                  </a:cubicBezTo>
                  <a:cubicBezTo>
                    <a:pt x="205" y="485"/>
                    <a:pt x="205" y="485"/>
                    <a:pt x="205" y="485"/>
                  </a:cubicBezTo>
                  <a:cubicBezTo>
                    <a:pt x="206" y="484"/>
                    <a:pt x="206" y="484"/>
                    <a:pt x="206" y="484"/>
                  </a:cubicBezTo>
                  <a:cubicBezTo>
                    <a:pt x="207" y="482"/>
                    <a:pt x="207" y="482"/>
                    <a:pt x="207" y="482"/>
                  </a:cubicBezTo>
                  <a:cubicBezTo>
                    <a:pt x="208" y="481"/>
                    <a:pt x="208" y="481"/>
                    <a:pt x="208" y="481"/>
                  </a:cubicBezTo>
                  <a:cubicBezTo>
                    <a:pt x="208" y="480"/>
                    <a:pt x="208" y="480"/>
                    <a:pt x="208" y="480"/>
                  </a:cubicBezTo>
                  <a:cubicBezTo>
                    <a:pt x="208" y="478"/>
                    <a:pt x="208" y="478"/>
                    <a:pt x="208" y="478"/>
                  </a:cubicBezTo>
                  <a:cubicBezTo>
                    <a:pt x="208" y="477"/>
                    <a:pt x="208" y="477"/>
                    <a:pt x="208" y="477"/>
                  </a:cubicBezTo>
                  <a:cubicBezTo>
                    <a:pt x="207" y="476"/>
                    <a:pt x="207" y="476"/>
                    <a:pt x="207" y="476"/>
                  </a:cubicBezTo>
                  <a:cubicBezTo>
                    <a:pt x="207" y="476"/>
                    <a:pt x="207" y="476"/>
                    <a:pt x="207" y="476"/>
                  </a:cubicBezTo>
                  <a:cubicBezTo>
                    <a:pt x="206" y="475"/>
                    <a:pt x="206" y="475"/>
                    <a:pt x="206" y="475"/>
                  </a:cubicBezTo>
                  <a:cubicBezTo>
                    <a:pt x="206" y="474"/>
                    <a:pt x="206" y="474"/>
                    <a:pt x="206" y="474"/>
                  </a:cubicBezTo>
                  <a:cubicBezTo>
                    <a:pt x="206" y="472"/>
                    <a:pt x="206" y="472"/>
                    <a:pt x="206" y="472"/>
                  </a:cubicBezTo>
                  <a:cubicBezTo>
                    <a:pt x="207" y="471"/>
                    <a:pt x="207" y="471"/>
                    <a:pt x="207" y="471"/>
                  </a:cubicBezTo>
                  <a:cubicBezTo>
                    <a:pt x="207" y="471"/>
                    <a:pt x="207" y="471"/>
                    <a:pt x="207" y="471"/>
                  </a:cubicBezTo>
                  <a:cubicBezTo>
                    <a:pt x="209" y="470"/>
                    <a:pt x="209" y="470"/>
                    <a:pt x="209" y="470"/>
                  </a:cubicBezTo>
                  <a:cubicBezTo>
                    <a:pt x="214" y="471"/>
                    <a:pt x="214" y="471"/>
                    <a:pt x="214" y="471"/>
                  </a:cubicBezTo>
                  <a:cubicBezTo>
                    <a:pt x="215" y="470"/>
                    <a:pt x="215" y="470"/>
                    <a:pt x="215" y="470"/>
                  </a:cubicBezTo>
                  <a:cubicBezTo>
                    <a:pt x="219" y="467"/>
                    <a:pt x="219" y="467"/>
                    <a:pt x="219" y="467"/>
                  </a:cubicBezTo>
                  <a:cubicBezTo>
                    <a:pt x="224" y="461"/>
                    <a:pt x="224" y="461"/>
                    <a:pt x="224" y="461"/>
                  </a:cubicBezTo>
                  <a:cubicBezTo>
                    <a:pt x="225" y="460"/>
                    <a:pt x="225" y="460"/>
                    <a:pt x="225" y="460"/>
                  </a:cubicBezTo>
                  <a:cubicBezTo>
                    <a:pt x="226" y="457"/>
                    <a:pt x="226" y="457"/>
                    <a:pt x="226" y="457"/>
                  </a:cubicBezTo>
                  <a:cubicBezTo>
                    <a:pt x="226" y="455"/>
                    <a:pt x="226" y="455"/>
                    <a:pt x="226" y="455"/>
                  </a:cubicBezTo>
                  <a:cubicBezTo>
                    <a:pt x="226" y="453"/>
                    <a:pt x="226" y="453"/>
                    <a:pt x="226" y="453"/>
                  </a:cubicBezTo>
                  <a:cubicBezTo>
                    <a:pt x="225" y="449"/>
                    <a:pt x="225" y="449"/>
                    <a:pt x="225" y="449"/>
                  </a:cubicBezTo>
                  <a:cubicBezTo>
                    <a:pt x="225" y="447"/>
                    <a:pt x="225" y="447"/>
                    <a:pt x="225" y="447"/>
                  </a:cubicBezTo>
                  <a:cubicBezTo>
                    <a:pt x="225" y="446"/>
                    <a:pt x="225" y="446"/>
                    <a:pt x="225" y="446"/>
                  </a:cubicBezTo>
                  <a:cubicBezTo>
                    <a:pt x="226" y="445"/>
                    <a:pt x="226" y="445"/>
                    <a:pt x="226" y="445"/>
                  </a:cubicBezTo>
                  <a:cubicBezTo>
                    <a:pt x="227" y="443"/>
                    <a:pt x="227" y="443"/>
                    <a:pt x="227" y="443"/>
                  </a:cubicBezTo>
                  <a:cubicBezTo>
                    <a:pt x="228" y="442"/>
                    <a:pt x="228" y="442"/>
                    <a:pt x="228" y="442"/>
                  </a:cubicBezTo>
                  <a:cubicBezTo>
                    <a:pt x="228" y="441"/>
                    <a:pt x="228" y="441"/>
                    <a:pt x="228" y="441"/>
                  </a:cubicBezTo>
                  <a:cubicBezTo>
                    <a:pt x="229" y="439"/>
                    <a:pt x="229" y="439"/>
                    <a:pt x="229" y="439"/>
                  </a:cubicBezTo>
                  <a:cubicBezTo>
                    <a:pt x="229" y="437"/>
                    <a:pt x="229" y="437"/>
                    <a:pt x="229" y="437"/>
                  </a:cubicBezTo>
                  <a:cubicBezTo>
                    <a:pt x="229" y="435"/>
                    <a:pt x="229" y="435"/>
                    <a:pt x="229" y="435"/>
                  </a:cubicBezTo>
                  <a:cubicBezTo>
                    <a:pt x="228" y="433"/>
                    <a:pt x="228" y="433"/>
                    <a:pt x="228" y="433"/>
                  </a:cubicBezTo>
                  <a:cubicBezTo>
                    <a:pt x="225" y="425"/>
                    <a:pt x="225" y="425"/>
                    <a:pt x="225" y="425"/>
                  </a:cubicBezTo>
                  <a:cubicBezTo>
                    <a:pt x="222" y="419"/>
                    <a:pt x="222" y="419"/>
                    <a:pt x="222" y="419"/>
                  </a:cubicBezTo>
                  <a:cubicBezTo>
                    <a:pt x="221" y="417"/>
                    <a:pt x="221" y="417"/>
                    <a:pt x="221" y="417"/>
                  </a:cubicBezTo>
                  <a:cubicBezTo>
                    <a:pt x="221" y="414"/>
                    <a:pt x="221" y="414"/>
                    <a:pt x="221" y="414"/>
                  </a:cubicBezTo>
                  <a:cubicBezTo>
                    <a:pt x="220" y="410"/>
                    <a:pt x="220" y="410"/>
                    <a:pt x="220" y="410"/>
                  </a:cubicBezTo>
                  <a:cubicBezTo>
                    <a:pt x="219" y="408"/>
                    <a:pt x="219" y="408"/>
                    <a:pt x="219" y="408"/>
                  </a:cubicBezTo>
                  <a:cubicBezTo>
                    <a:pt x="218" y="405"/>
                    <a:pt x="218" y="405"/>
                    <a:pt x="218" y="405"/>
                  </a:cubicBezTo>
                  <a:cubicBezTo>
                    <a:pt x="218" y="404"/>
                    <a:pt x="218" y="404"/>
                    <a:pt x="218" y="404"/>
                  </a:cubicBezTo>
                  <a:cubicBezTo>
                    <a:pt x="219" y="403"/>
                    <a:pt x="219" y="403"/>
                    <a:pt x="219" y="403"/>
                  </a:cubicBezTo>
                  <a:cubicBezTo>
                    <a:pt x="226" y="401"/>
                    <a:pt x="226" y="401"/>
                    <a:pt x="226" y="401"/>
                  </a:cubicBezTo>
                  <a:cubicBezTo>
                    <a:pt x="228" y="401"/>
                    <a:pt x="228" y="401"/>
                    <a:pt x="228" y="401"/>
                  </a:cubicBezTo>
                  <a:cubicBezTo>
                    <a:pt x="231" y="401"/>
                    <a:pt x="231" y="401"/>
                    <a:pt x="231" y="401"/>
                  </a:cubicBezTo>
                  <a:cubicBezTo>
                    <a:pt x="232" y="401"/>
                    <a:pt x="232" y="401"/>
                    <a:pt x="232" y="401"/>
                  </a:cubicBezTo>
                  <a:cubicBezTo>
                    <a:pt x="232" y="400"/>
                    <a:pt x="232" y="400"/>
                    <a:pt x="232" y="400"/>
                  </a:cubicBezTo>
                  <a:cubicBezTo>
                    <a:pt x="232" y="400"/>
                    <a:pt x="232" y="400"/>
                    <a:pt x="232" y="400"/>
                  </a:cubicBezTo>
                  <a:cubicBezTo>
                    <a:pt x="233" y="396"/>
                    <a:pt x="233" y="396"/>
                    <a:pt x="233" y="396"/>
                  </a:cubicBezTo>
                  <a:cubicBezTo>
                    <a:pt x="233" y="395"/>
                    <a:pt x="233" y="395"/>
                    <a:pt x="233" y="395"/>
                  </a:cubicBezTo>
                  <a:cubicBezTo>
                    <a:pt x="233" y="395"/>
                    <a:pt x="233" y="395"/>
                    <a:pt x="233" y="395"/>
                  </a:cubicBezTo>
                  <a:cubicBezTo>
                    <a:pt x="235" y="391"/>
                    <a:pt x="235" y="391"/>
                    <a:pt x="235" y="391"/>
                  </a:cubicBezTo>
                  <a:cubicBezTo>
                    <a:pt x="236" y="390"/>
                    <a:pt x="236" y="390"/>
                    <a:pt x="236" y="390"/>
                  </a:cubicBezTo>
                  <a:cubicBezTo>
                    <a:pt x="236" y="388"/>
                    <a:pt x="236" y="388"/>
                    <a:pt x="236" y="388"/>
                  </a:cubicBezTo>
                  <a:cubicBezTo>
                    <a:pt x="237" y="382"/>
                    <a:pt x="237" y="382"/>
                    <a:pt x="237" y="382"/>
                  </a:cubicBezTo>
                  <a:cubicBezTo>
                    <a:pt x="237" y="382"/>
                    <a:pt x="237" y="382"/>
                    <a:pt x="237" y="382"/>
                  </a:cubicBezTo>
                  <a:cubicBezTo>
                    <a:pt x="237" y="381"/>
                    <a:pt x="237" y="381"/>
                    <a:pt x="237" y="381"/>
                  </a:cubicBezTo>
                  <a:cubicBezTo>
                    <a:pt x="229" y="370"/>
                    <a:pt x="229" y="370"/>
                    <a:pt x="229" y="370"/>
                  </a:cubicBezTo>
                  <a:cubicBezTo>
                    <a:pt x="228" y="369"/>
                    <a:pt x="228" y="369"/>
                    <a:pt x="228" y="369"/>
                  </a:cubicBezTo>
                  <a:cubicBezTo>
                    <a:pt x="228" y="369"/>
                    <a:pt x="228" y="369"/>
                    <a:pt x="228" y="369"/>
                  </a:cubicBezTo>
                  <a:cubicBezTo>
                    <a:pt x="228" y="369"/>
                    <a:pt x="228" y="369"/>
                    <a:pt x="228" y="369"/>
                  </a:cubicBezTo>
                  <a:cubicBezTo>
                    <a:pt x="229" y="370"/>
                    <a:pt x="229" y="370"/>
                    <a:pt x="229" y="370"/>
                  </a:cubicBezTo>
                  <a:cubicBezTo>
                    <a:pt x="230" y="371"/>
                    <a:pt x="230" y="371"/>
                    <a:pt x="230" y="371"/>
                  </a:cubicBezTo>
                  <a:cubicBezTo>
                    <a:pt x="238" y="382"/>
                    <a:pt x="238" y="382"/>
                    <a:pt x="238" y="382"/>
                  </a:cubicBezTo>
                  <a:cubicBezTo>
                    <a:pt x="238" y="382"/>
                    <a:pt x="238" y="382"/>
                    <a:pt x="238" y="382"/>
                  </a:cubicBezTo>
                  <a:cubicBezTo>
                    <a:pt x="238" y="383"/>
                    <a:pt x="238" y="383"/>
                    <a:pt x="238" y="383"/>
                  </a:cubicBezTo>
                  <a:cubicBezTo>
                    <a:pt x="237" y="389"/>
                    <a:pt x="237" y="389"/>
                    <a:pt x="237" y="389"/>
                  </a:cubicBezTo>
                  <a:cubicBezTo>
                    <a:pt x="237" y="391"/>
                    <a:pt x="237" y="391"/>
                    <a:pt x="237" y="391"/>
                  </a:cubicBezTo>
                  <a:cubicBezTo>
                    <a:pt x="236" y="392"/>
                    <a:pt x="236" y="392"/>
                    <a:pt x="236" y="392"/>
                  </a:cubicBezTo>
                  <a:cubicBezTo>
                    <a:pt x="234" y="395"/>
                    <a:pt x="234" y="395"/>
                    <a:pt x="234" y="395"/>
                  </a:cubicBezTo>
                  <a:cubicBezTo>
                    <a:pt x="234" y="396"/>
                    <a:pt x="234" y="396"/>
                    <a:pt x="234" y="396"/>
                  </a:cubicBezTo>
                  <a:cubicBezTo>
                    <a:pt x="234" y="397"/>
                    <a:pt x="234" y="397"/>
                    <a:pt x="234" y="397"/>
                  </a:cubicBezTo>
                  <a:cubicBezTo>
                    <a:pt x="233" y="401"/>
                    <a:pt x="233" y="401"/>
                    <a:pt x="233" y="401"/>
                  </a:cubicBezTo>
                  <a:cubicBezTo>
                    <a:pt x="233" y="401"/>
                    <a:pt x="233" y="401"/>
                    <a:pt x="233" y="401"/>
                  </a:cubicBezTo>
                  <a:cubicBezTo>
                    <a:pt x="233" y="402"/>
                    <a:pt x="233" y="402"/>
                    <a:pt x="233" y="402"/>
                  </a:cubicBezTo>
                  <a:cubicBezTo>
                    <a:pt x="232" y="402"/>
                    <a:pt x="232" y="402"/>
                    <a:pt x="232" y="402"/>
                  </a:cubicBezTo>
                  <a:cubicBezTo>
                    <a:pt x="229" y="401"/>
                    <a:pt x="229" y="401"/>
                    <a:pt x="229" y="401"/>
                  </a:cubicBezTo>
                  <a:cubicBezTo>
                    <a:pt x="227" y="401"/>
                    <a:pt x="227" y="401"/>
                    <a:pt x="227" y="401"/>
                  </a:cubicBezTo>
                  <a:cubicBezTo>
                    <a:pt x="220" y="404"/>
                    <a:pt x="220" y="404"/>
                    <a:pt x="220" y="404"/>
                  </a:cubicBezTo>
                  <a:cubicBezTo>
                    <a:pt x="220" y="404"/>
                    <a:pt x="220" y="404"/>
                    <a:pt x="220" y="404"/>
                  </a:cubicBezTo>
                  <a:cubicBezTo>
                    <a:pt x="220" y="406"/>
                    <a:pt x="220" y="406"/>
                    <a:pt x="220" y="406"/>
                  </a:cubicBezTo>
                  <a:cubicBezTo>
                    <a:pt x="221" y="409"/>
                    <a:pt x="221" y="409"/>
                    <a:pt x="221" y="409"/>
                  </a:cubicBezTo>
                  <a:cubicBezTo>
                    <a:pt x="221" y="410"/>
                    <a:pt x="221" y="410"/>
                    <a:pt x="221" y="410"/>
                  </a:cubicBezTo>
                  <a:cubicBezTo>
                    <a:pt x="222" y="415"/>
                    <a:pt x="222" y="415"/>
                    <a:pt x="222" y="415"/>
                  </a:cubicBezTo>
                  <a:cubicBezTo>
                    <a:pt x="222" y="417"/>
                    <a:pt x="222" y="417"/>
                    <a:pt x="222" y="417"/>
                  </a:cubicBezTo>
                  <a:cubicBezTo>
                    <a:pt x="223" y="419"/>
                    <a:pt x="223" y="419"/>
                    <a:pt x="223" y="419"/>
                  </a:cubicBezTo>
                  <a:cubicBezTo>
                    <a:pt x="226" y="425"/>
                    <a:pt x="226" y="425"/>
                    <a:pt x="226" y="425"/>
                  </a:cubicBezTo>
                  <a:cubicBezTo>
                    <a:pt x="230" y="434"/>
                    <a:pt x="230" y="434"/>
                    <a:pt x="230" y="434"/>
                  </a:cubicBezTo>
                  <a:cubicBezTo>
                    <a:pt x="230" y="436"/>
                    <a:pt x="230" y="436"/>
                    <a:pt x="230" y="436"/>
                  </a:cubicBezTo>
                  <a:cubicBezTo>
                    <a:pt x="230" y="438"/>
                    <a:pt x="230" y="438"/>
                    <a:pt x="230" y="438"/>
                  </a:cubicBezTo>
                  <a:cubicBezTo>
                    <a:pt x="230" y="440"/>
                    <a:pt x="230" y="440"/>
                    <a:pt x="230" y="440"/>
                  </a:cubicBezTo>
                  <a:cubicBezTo>
                    <a:pt x="230" y="441"/>
                    <a:pt x="230" y="441"/>
                    <a:pt x="230" y="441"/>
                  </a:cubicBezTo>
                  <a:cubicBezTo>
                    <a:pt x="229" y="443"/>
                    <a:pt x="229" y="443"/>
                    <a:pt x="229" y="443"/>
                  </a:cubicBezTo>
                  <a:cubicBezTo>
                    <a:pt x="229" y="444"/>
                    <a:pt x="229" y="444"/>
                    <a:pt x="229" y="444"/>
                  </a:cubicBezTo>
                  <a:cubicBezTo>
                    <a:pt x="227" y="446"/>
                    <a:pt x="227" y="446"/>
                    <a:pt x="227" y="446"/>
                  </a:cubicBezTo>
                  <a:cubicBezTo>
                    <a:pt x="227" y="446"/>
                    <a:pt x="227" y="446"/>
                    <a:pt x="227" y="446"/>
                  </a:cubicBezTo>
                  <a:cubicBezTo>
                    <a:pt x="227" y="447"/>
                    <a:pt x="227" y="447"/>
                    <a:pt x="227" y="447"/>
                  </a:cubicBezTo>
                  <a:cubicBezTo>
                    <a:pt x="227" y="449"/>
                    <a:pt x="227" y="449"/>
                    <a:pt x="227" y="449"/>
                  </a:cubicBezTo>
                  <a:cubicBezTo>
                    <a:pt x="227" y="453"/>
                    <a:pt x="227" y="453"/>
                    <a:pt x="227" y="453"/>
                  </a:cubicBezTo>
                  <a:cubicBezTo>
                    <a:pt x="228" y="455"/>
                    <a:pt x="228" y="455"/>
                    <a:pt x="228" y="455"/>
                  </a:cubicBezTo>
                  <a:cubicBezTo>
                    <a:pt x="227" y="458"/>
                    <a:pt x="227" y="458"/>
                    <a:pt x="227" y="458"/>
                  </a:cubicBezTo>
                  <a:cubicBezTo>
                    <a:pt x="226" y="460"/>
                    <a:pt x="226" y="460"/>
                    <a:pt x="226" y="460"/>
                  </a:cubicBezTo>
                  <a:cubicBezTo>
                    <a:pt x="225" y="462"/>
                    <a:pt x="225" y="462"/>
                    <a:pt x="225" y="462"/>
                  </a:cubicBezTo>
                  <a:cubicBezTo>
                    <a:pt x="221" y="467"/>
                    <a:pt x="221" y="467"/>
                    <a:pt x="221" y="467"/>
                  </a:cubicBezTo>
                  <a:cubicBezTo>
                    <a:pt x="216" y="471"/>
                    <a:pt x="216" y="471"/>
                    <a:pt x="216" y="471"/>
                  </a:cubicBezTo>
                  <a:cubicBezTo>
                    <a:pt x="215" y="471"/>
                    <a:pt x="215" y="471"/>
                    <a:pt x="215" y="471"/>
                  </a:cubicBezTo>
                  <a:cubicBezTo>
                    <a:pt x="210" y="471"/>
                    <a:pt x="210" y="471"/>
                    <a:pt x="210" y="471"/>
                  </a:cubicBezTo>
                  <a:cubicBezTo>
                    <a:pt x="209" y="471"/>
                    <a:pt x="209" y="471"/>
                    <a:pt x="209" y="471"/>
                  </a:cubicBezTo>
                  <a:cubicBezTo>
                    <a:pt x="208" y="472"/>
                    <a:pt x="208" y="472"/>
                    <a:pt x="208" y="472"/>
                  </a:cubicBezTo>
                  <a:cubicBezTo>
                    <a:pt x="208" y="473"/>
                    <a:pt x="208" y="473"/>
                    <a:pt x="208" y="473"/>
                  </a:cubicBezTo>
                  <a:cubicBezTo>
                    <a:pt x="207" y="475"/>
                    <a:pt x="207" y="475"/>
                    <a:pt x="207" y="475"/>
                  </a:cubicBezTo>
                  <a:cubicBezTo>
                    <a:pt x="208" y="476"/>
                    <a:pt x="208" y="476"/>
                    <a:pt x="208" y="476"/>
                  </a:cubicBezTo>
                  <a:cubicBezTo>
                    <a:pt x="209" y="477"/>
                    <a:pt x="209" y="477"/>
                    <a:pt x="209" y="477"/>
                  </a:cubicBezTo>
                  <a:cubicBezTo>
                    <a:pt x="209" y="477"/>
                    <a:pt x="209" y="477"/>
                    <a:pt x="209" y="477"/>
                  </a:cubicBezTo>
                  <a:cubicBezTo>
                    <a:pt x="209" y="478"/>
                    <a:pt x="209" y="478"/>
                    <a:pt x="209" y="478"/>
                  </a:cubicBezTo>
                  <a:cubicBezTo>
                    <a:pt x="209" y="479"/>
                    <a:pt x="209" y="479"/>
                    <a:pt x="209" y="479"/>
                  </a:cubicBezTo>
                  <a:cubicBezTo>
                    <a:pt x="209" y="481"/>
                    <a:pt x="209" y="481"/>
                    <a:pt x="209" y="481"/>
                  </a:cubicBezTo>
                  <a:cubicBezTo>
                    <a:pt x="209" y="482"/>
                    <a:pt x="209" y="482"/>
                    <a:pt x="209" y="482"/>
                  </a:cubicBezTo>
                  <a:cubicBezTo>
                    <a:pt x="209" y="482"/>
                    <a:pt x="209" y="482"/>
                    <a:pt x="209" y="482"/>
                  </a:cubicBezTo>
                  <a:cubicBezTo>
                    <a:pt x="208" y="484"/>
                    <a:pt x="208" y="484"/>
                    <a:pt x="208" y="484"/>
                  </a:cubicBezTo>
                  <a:cubicBezTo>
                    <a:pt x="207" y="485"/>
                    <a:pt x="207" y="485"/>
                    <a:pt x="207" y="485"/>
                  </a:cubicBezTo>
                  <a:cubicBezTo>
                    <a:pt x="203" y="488"/>
                    <a:pt x="203" y="488"/>
                    <a:pt x="203" y="488"/>
                  </a:cubicBezTo>
                  <a:cubicBezTo>
                    <a:pt x="202" y="488"/>
                    <a:pt x="202" y="488"/>
                    <a:pt x="202" y="488"/>
                  </a:cubicBezTo>
                  <a:cubicBezTo>
                    <a:pt x="202" y="490"/>
                    <a:pt x="202" y="490"/>
                    <a:pt x="202" y="490"/>
                  </a:cubicBezTo>
                  <a:cubicBezTo>
                    <a:pt x="202" y="491"/>
                    <a:pt x="202" y="491"/>
                    <a:pt x="202" y="491"/>
                  </a:cubicBezTo>
                  <a:cubicBezTo>
                    <a:pt x="206" y="503"/>
                    <a:pt x="206" y="503"/>
                    <a:pt x="206" y="503"/>
                  </a:cubicBezTo>
                  <a:cubicBezTo>
                    <a:pt x="206" y="507"/>
                    <a:pt x="206" y="507"/>
                    <a:pt x="206" y="507"/>
                  </a:cubicBezTo>
                  <a:cubicBezTo>
                    <a:pt x="206" y="508"/>
                    <a:pt x="206" y="508"/>
                    <a:pt x="206" y="508"/>
                  </a:cubicBezTo>
                  <a:cubicBezTo>
                    <a:pt x="206" y="509"/>
                    <a:pt x="206" y="509"/>
                    <a:pt x="206" y="509"/>
                  </a:cubicBezTo>
                  <a:cubicBezTo>
                    <a:pt x="206" y="509"/>
                    <a:pt x="206" y="509"/>
                    <a:pt x="206" y="509"/>
                  </a:cubicBezTo>
                  <a:cubicBezTo>
                    <a:pt x="206" y="510"/>
                    <a:pt x="206" y="510"/>
                    <a:pt x="206" y="510"/>
                  </a:cubicBezTo>
                  <a:cubicBezTo>
                    <a:pt x="206" y="511"/>
                    <a:pt x="206" y="511"/>
                    <a:pt x="206" y="511"/>
                  </a:cubicBezTo>
                  <a:cubicBezTo>
                    <a:pt x="205" y="512"/>
                    <a:pt x="205" y="512"/>
                    <a:pt x="205" y="512"/>
                  </a:cubicBezTo>
                  <a:cubicBezTo>
                    <a:pt x="204" y="516"/>
                    <a:pt x="204" y="516"/>
                    <a:pt x="204" y="516"/>
                  </a:cubicBezTo>
                  <a:cubicBezTo>
                    <a:pt x="204" y="518"/>
                    <a:pt x="204" y="518"/>
                    <a:pt x="204" y="518"/>
                  </a:cubicBezTo>
                  <a:cubicBezTo>
                    <a:pt x="204" y="520"/>
                    <a:pt x="204" y="520"/>
                    <a:pt x="204" y="520"/>
                  </a:cubicBezTo>
                  <a:cubicBezTo>
                    <a:pt x="203" y="523"/>
                    <a:pt x="203" y="523"/>
                    <a:pt x="203" y="523"/>
                  </a:cubicBezTo>
                  <a:cubicBezTo>
                    <a:pt x="203" y="524"/>
                    <a:pt x="203" y="524"/>
                    <a:pt x="203" y="524"/>
                  </a:cubicBezTo>
                  <a:cubicBezTo>
                    <a:pt x="203" y="525"/>
                    <a:pt x="203" y="525"/>
                    <a:pt x="203" y="525"/>
                  </a:cubicBezTo>
                  <a:cubicBezTo>
                    <a:pt x="202" y="528"/>
                    <a:pt x="202" y="528"/>
                    <a:pt x="202" y="528"/>
                  </a:cubicBezTo>
                  <a:cubicBezTo>
                    <a:pt x="200" y="530"/>
                    <a:pt x="200" y="530"/>
                    <a:pt x="200" y="530"/>
                  </a:cubicBezTo>
                  <a:cubicBezTo>
                    <a:pt x="199" y="530"/>
                    <a:pt x="199" y="530"/>
                    <a:pt x="199" y="530"/>
                  </a:cubicBezTo>
                  <a:cubicBezTo>
                    <a:pt x="197" y="530"/>
                    <a:pt x="197" y="530"/>
                    <a:pt x="197" y="530"/>
                  </a:cubicBezTo>
                  <a:cubicBezTo>
                    <a:pt x="196" y="530"/>
                    <a:pt x="196" y="530"/>
                    <a:pt x="196" y="530"/>
                  </a:cubicBezTo>
                  <a:cubicBezTo>
                    <a:pt x="196" y="529"/>
                    <a:pt x="196" y="529"/>
                    <a:pt x="196" y="529"/>
                  </a:cubicBezTo>
                  <a:lnTo>
                    <a:pt x="197" y="5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00" name="Freeform 320">
              <a:extLst>
                <a:ext uri="{FF2B5EF4-FFF2-40B4-BE49-F238E27FC236}">
                  <a16:creationId xmlns:a16="http://schemas.microsoft.com/office/drawing/2014/main" id="{2546F4DC-A2A3-443B-8018-01F60535B54B}"/>
                </a:ext>
              </a:extLst>
            </p:cNvPr>
            <p:cNvSpPr>
              <a:spLocks/>
            </p:cNvSpPr>
            <p:nvPr/>
          </p:nvSpPr>
          <p:spPr bwMode="gray">
            <a:xfrm>
              <a:off x="-1821" y="-611"/>
              <a:ext cx="9" cy="19"/>
            </a:xfrm>
            <a:custGeom>
              <a:avLst/>
              <a:gdLst>
                <a:gd name="T0" fmla="*/ 0 w 9"/>
                <a:gd name="T1" fmla="*/ 14 h 19"/>
                <a:gd name="T2" fmla="*/ 0 w 9"/>
                <a:gd name="T3" fmla="*/ 14 h 19"/>
                <a:gd name="T4" fmla="*/ 2 w 9"/>
                <a:gd name="T5" fmla="*/ 14 h 19"/>
                <a:gd name="T6" fmla="*/ 2 w 9"/>
                <a:gd name="T7" fmla="*/ 14 h 19"/>
                <a:gd name="T8" fmla="*/ 2 w 9"/>
                <a:gd name="T9" fmla="*/ 16 h 19"/>
                <a:gd name="T10" fmla="*/ 2 w 9"/>
                <a:gd name="T11" fmla="*/ 16 h 19"/>
                <a:gd name="T12" fmla="*/ 5 w 9"/>
                <a:gd name="T13" fmla="*/ 16 h 19"/>
                <a:gd name="T14" fmla="*/ 5 w 9"/>
                <a:gd name="T15" fmla="*/ 19 h 19"/>
                <a:gd name="T16" fmla="*/ 5 w 9"/>
                <a:gd name="T17" fmla="*/ 16 h 19"/>
                <a:gd name="T18" fmla="*/ 5 w 9"/>
                <a:gd name="T19" fmla="*/ 14 h 19"/>
                <a:gd name="T20" fmla="*/ 5 w 9"/>
                <a:gd name="T21" fmla="*/ 11 h 19"/>
                <a:gd name="T22" fmla="*/ 5 w 9"/>
                <a:gd name="T23" fmla="*/ 9 h 19"/>
                <a:gd name="T24" fmla="*/ 5 w 9"/>
                <a:gd name="T25" fmla="*/ 7 h 19"/>
                <a:gd name="T26" fmla="*/ 5 w 9"/>
                <a:gd name="T27" fmla="*/ 7 h 19"/>
                <a:gd name="T28" fmla="*/ 7 w 9"/>
                <a:gd name="T29" fmla="*/ 9 h 19"/>
                <a:gd name="T30" fmla="*/ 7 w 9"/>
                <a:gd name="T31" fmla="*/ 9 h 19"/>
                <a:gd name="T32" fmla="*/ 7 w 9"/>
                <a:gd name="T33" fmla="*/ 11 h 19"/>
                <a:gd name="T34" fmla="*/ 7 w 9"/>
                <a:gd name="T35" fmla="*/ 11 h 19"/>
                <a:gd name="T36" fmla="*/ 9 w 9"/>
                <a:gd name="T37" fmla="*/ 11 h 19"/>
                <a:gd name="T38" fmla="*/ 9 w 9"/>
                <a:gd name="T39" fmla="*/ 7 h 19"/>
                <a:gd name="T40" fmla="*/ 9 w 9"/>
                <a:gd name="T41" fmla="*/ 4 h 19"/>
                <a:gd name="T42" fmla="*/ 9 w 9"/>
                <a:gd name="T43" fmla="*/ 0 h 19"/>
                <a:gd name="T44" fmla="*/ 9 w 9"/>
                <a:gd name="T45" fmla="*/ 0 h 19"/>
                <a:gd name="T46" fmla="*/ 9 w 9"/>
                <a:gd name="T47" fmla="*/ 0 h 19"/>
                <a:gd name="T48" fmla="*/ 7 w 9"/>
                <a:gd name="T49" fmla="*/ 0 h 19"/>
                <a:gd name="T50" fmla="*/ 7 w 9"/>
                <a:gd name="T51" fmla="*/ 0 h 19"/>
                <a:gd name="T52" fmla="*/ 7 w 9"/>
                <a:gd name="T53" fmla="*/ 2 h 19"/>
                <a:gd name="T54" fmla="*/ 7 w 9"/>
                <a:gd name="T55" fmla="*/ 4 h 19"/>
                <a:gd name="T56" fmla="*/ 7 w 9"/>
                <a:gd name="T57" fmla="*/ 4 h 19"/>
                <a:gd name="T58" fmla="*/ 7 w 9"/>
                <a:gd name="T59" fmla="*/ 2 h 19"/>
                <a:gd name="T60" fmla="*/ 7 w 9"/>
                <a:gd name="T61" fmla="*/ 2 h 19"/>
                <a:gd name="T62" fmla="*/ 7 w 9"/>
                <a:gd name="T63" fmla="*/ 2 h 19"/>
                <a:gd name="T64" fmla="*/ 7 w 9"/>
                <a:gd name="T65" fmla="*/ 0 h 19"/>
                <a:gd name="T66" fmla="*/ 5 w 9"/>
                <a:gd name="T67" fmla="*/ 0 h 19"/>
                <a:gd name="T68" fmla="*/ 5 w 9"/>
                <a:gd name="T69" fmla="*/ 0 h 19"/>
                <a:gd name="T70" fmla="*/ 0 w 9"/>
                <a:gd name="T71" fmla="*/ 2 h 19"/>
                <a:gd name="T72" fmla="*/ 0 w 9"/>
                <a:gd name="T73" fmla="*/ 2 h 19"/>
                <a:gd name="T74" fmla="*/ 0 w 9"/>
                <a:gd name="T75" fmla="*/ 2 h 19"/>
                <a:gd name="T76" fmla="*/ 0 w 9"/>
                <a:gd name="T77" fmla="*/ 4 h 19"/>
                <a:gd name="T78" fmla="*/ 2 w 9"/>
                <a:gd name="T79" fmla="*/ 7 h 19"/>
                <a:gd name="T80" fmla="*/ 2 w 9"/>
                <a:gd name="T81" fmla="*/ 7 h 19"/>
                <a:gd name="T82" fmla="*/ 2 w 9"/>
                <a:gd name="T83" fmla="*/ 9 h 19"/>
                <a:gd name="T84" fmla="*/ 0 w 9"/>
                <a:gd name="T85" fmla="*/ 11 h 19"/>
                <a:gd name="T86" fmla="*/ 0 w 9"/>
                <a:gd name="T87" fmla="*/ 11 h 19"/>
                <a:gd name="T88" fmla="*/ 0 w 9"/>
                <a:gd name="T89" fmla="*/ 14 h 19"/>
                <a:gd name="T90" fmla="*/ 0 w 9"/>
                <a:gd name="T91"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 h="19">
                  <a:moveTo>
                    <a:pt x="0" y="14"/>
                  </a:moveTo>
                  <a:lnTo>
                    <a:pt x="0" y="14"/>
                  </a:lnTo>
                  <a:lnTo>
                    <a:pt x="2" y="14"/>
                  </a:lnTo>
                  <a:lnTo>
                    <a:pt x="2" y="14"/>
                  </a:lnTo>
                  <a:lnTo>
                    <a:pt x="2" y="16"/>
                  </a:lnTo>
                  <a:lnTo>
                    <a:pt x="2" y="16"/>
                  </a:lnTo>
                  <a:lnTo>
                    <a:pt x="5" y="16"/>
                  </a:lnTo>
                  <a:lnTo>
                    <a:pt x="5" y="19"/>
                  </a:lnTo>
                  <a:lnTo>
                    <a:pt x="5" y="16"/>
                  </a:lnTo>
                  <a:lnTo>
                    <a:pt x="5" y="14"/>
                  </a:lnTo>
                  <a:lnTo>
                    <a:pt x="5" y="11"/>
                  </a:lnTo>
                  <a:lnTo>
                    <a:pt x="5" y="9"/>
                  </a:lnTo>
                  <a:lnTo>
                    <a:pt x="5" y="7"/>
                  </a:lnTo>
                  <a:lnTo>
                    <a:pt x="5" y="7"/>
                  </a:lnTo>
                  <a:lnTo>
                    <a:pt x="7" y="9"/>
                  </a:lnTo>
                  <a:lnTo>
                    <a:pt x="7" y="9"/>
                  </a:lnTo>
                  <a:lnTo>
                    <a:pt x="7" y="11"/>
                  </a:lnTo>
                  <a:lnTo>
                    <a:pt x="7" y="11"/>
                  </a:lnTo>
                  <a:lnTo>
                    <a:pt x="9" y="11"/>
                  </a:lnTo>
                  <a:lnTo>
                    <a:pt x="9" y="7"/>
                  </a:lnTo>
                  <a:lnTo>
                    <a:pt x="9" y="4"/>
                  </a:lnTo>
                  <a:lnTo>
                    <a:pt x="9" y="0"/>
                  </a:lnTo>
                  <a:lnTo>
                    <a:pt x="9" y="0"/>
                  </a:lnTo>
                  <a:lnTo>
                    <a:pt x="9" y="0"/>
                  </a:lnTo>
                  <a:lnTo>
                    <a:pt x="7" y="0"/>
                  </a:lnTo>
                  <a:lnTo>
                    <a:pt x="7" y="0"/>
                  </a:lnTo>
                  <a:lnTo>
                    <a:pt x="7" y="2"/>
                  </a:lnTo>
                  <a:lnTo>
                    <a:pt x="7" y="4"/>
                  </a:lnTo>
                  <a:lnTo>
                    <a:pt x="7" y="4"/>
                  </a:lnTo>
                  <a:lnTo>
                    <a:pt x="7" y="2"/>
                  </a:lnTo>
                  <a:lnTo>
                    <a:pt x="7" y="2"/>
                  </a:lnTo>
                  <a:lnTo>
                    <a:pt x="7" y="2"/>
                  </a:lnTo>
                  <a:lnTo>
                    <a:pt x="7" y="0"/>
                  </a:lnTo>
                  <a:lnTo>
                    <a:pt x="5" y="0"/>
                  </a:lnTo>
                  <a:lnTo>
                    <a:pt x="5" y="0"/>
                  </a:lnTo>
                  <a:lnTo>
                    <a:pt x="0" y="2"/>
                  </a:lnTo>
                  <a:lnTo>
                    <a:pt x="0" y="2"/>
                  </a:lnTo>
                  <a:lnTo>
                    <a:pt x="0" y="2"/>
                  </a:lnTo>
                  <a:lnTo>
                    <a:pt x="0" y="4"/>
                  </a:lnTo>
                  <a:lnTo>
                    <a:pt x="2" y="7"/>
                  </a:lnTo>
                  <a:lnTo>
                    <a:pt x="2" y="7"/>
                  </a:lnTo>
                  <a:lnTo>
                    <a:pt x="2" y="9"/>
                  </a:lnTo>
                  <a:lnTo>
                    <a:pt x="0" y="11"/>
                  </a:lnTo>
                  <a:lnTo>
                    <a:pt x="0" y="11"/>
                  </a:lnTo>
                  <a:lnTo>
                    <a:pt x="0" y="14"/>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01" name="Freeform 321">
              <a:extLst>
                <a:ext uri="{FF2B5EF4-FFF2-40B4-BE49-F238E27FC236}">
                  <a16:creationId xmlns:a16="http://schemas.microsoft.com/office/drawing/2014/main" id="{6E1782E3-039D-4C63-BBAE-064FFD57C223}"/>
                </a:ext>
              </a:extLst>
            </p:cNvPr>
            <p:cNvSpPr>
              <a:spLocks/>
            </p:cNvSpPr>
            <p:nvPr/>
          </p:nvSpPr>
          <p:spPr bwMode="gray">
            <a:xfrm>
              <a:off x="-2140" y="-171"/>
              <a:ext cx="38" cy="24"/>
            </a:xfrm>
            <a:custGeom>
              <a:avLst/>
              <a:gdLst>
                <a:gd name="T0" fmla="*/ 3 w 38"/>
                <a:gd name="T1" fmla="*/ 24 h 24"/>
                <a:gd name="T2" fmla="*/ 5 w 38"/>
                <a:gd name="T3" fmla="*/ 24 h 24"/>
                <a:gd name="T4" fmla="*/ 5 w 38"/>
                <a:gd name="T5" fmla="*/ 24 h 24"/>
                <a:gd name="T6" fmla="*/ 10 w 38"/>
                <a:gd name="T7" fmla="*/ 22 h 24"/>
                <a:gd name="T8" fmla="*/ 12 w 38"/>
                <a:gd name="T9" fmla="*/ 22 h 24"/>
                <a:gd name="T10" fmla="*/ 12 w 38"/>
                <a:gd name="T11" fmla="*/ 22 h 24"/>
                <a:gd name="T12" fmla="*/ 12 w 38"/>
                <a:gd name="T13" fmla="*/ 22 h 24"/>
                <a:gd name="T14" fmla="*/ 17 w 38"/>
                <a:gd name="T15" fmla="*/ 19 h 24"/>
                <a:gd name="T16" fmla="*/ 12 w 38"/>
                <a:gd name="T17" fmla="*/ 24 h 24"/>
                <a:gd name="T18" fmla="*/ 14 w 38"/>
                <a:gd name="T19" fmla="*/ 24 h 24"/>
                <a:gd name="T20" fmla="*/ 19 w 38"/>
                <a:gd name="T21" fmla="*/ 22 h 24"/>
                <a:gd name="T22" fmla="*/ 33 w 38"/>
                <a:gd name="T23" fmla="*/ 22 h 24"/>
                <a:gd name="T24" fmla="*/ 36 w 38"/>
                <a:gd name="T25" fmla="*/ 19 h 24"/>
                <a:gd name="T26" fmla="*/ 38 w 38"/>
                <a:gd name="T27" fmla="*/ 17 h 24"/>
                <a:gd name="T28" fmla="*/ 38 w 38"/>
                <a:gd name="T29" fmla="*/ 12 h 24"/>
                <a:gd name="T30" fmla="*/ 38 w 38"/>
                <a:gd name="T31" fmla="*/ 12 h 24"/>
                <a:gd name="T32" fmla="*/ 38 w 38"/>
                <a:gd name="T33" fmla="*/ 10 h 24"/>
                <a:gd name="T34" fmla="*/ 38 w 38"/>
                <a:gd name="T35" fmla="*/ 10 h 24"/>
                <a:gd name="T36" fmla="*/ 38 w 38"/>
                <a:gd name="T37" fmla="*/ 5 h 24"/>
                <a:gd name="T38" fmla="*/ 36 w 38"/>
                <a:gd name="T39" fmla="*/ 5 h 24"/>
                <a:gd name="T40" fmla="*/ 36 w 38"/>
                <a:gd name="T41" fmla="*/ 3 h 24"/>
                <a:gd name="T42" fmla="*/ 36 w 38"/>
                <a:gd name="T43" fmla="*/ 3 h 24"/>
                <a:gd name="T44" fmla="*/ 36 w 38"/>
                <a:gd name="T45" fmla="*/ 3 h 24"/>
                <a:gd name="T46" fmla="*/ 36 w 38"/>
                <a:gd name="T47" fmla="*/ 3 h 24"/>
                <a:gd name="T48" fmla="*/ 36 w 38"/>
                <a:gd name="T49" fmla="*/ 0 h 24"/>
                <a:gd name="T50" fmla="*/ 36 w 38"/>
                <a:gd name="T51" fmla="*/ 0 h 24"/>
                <a:gd name="T52" fmla="*/ 36 w 38"/>
                <a:gd name="T53" fmla="*/ 0 h 24"/>
                <a:gd name="T54" fmla="*/ 33 w 38"/>
                <a:gd name="T55" fmla="*/ 3 h 24"/>
                <a:gd name="T56" fmla="*/ 33 w 38"/>
                <a:gd name="T57" fmla="*/ 3 h 24"/>
                <a:gd name="T58" fmla="*/ 33 w 38"/>
                <a:gd name="T59" fmla="*/ 3 h 24"/>
                <a:gd name="T60" fmla="*/ 29 w 38"/>
                <a:gd name="T61" fmla="*/ 5 h 24"/>
                <a:gd name="T62" fmla="*/ 29 w 38"/>
                <a:gd name="T63" fmla="*/ 7 h 24"/>
                <a:gd name="T64" fmla="*/ 29 w 38"/>
                <a:gd name="T65" fmla="*/ 7 h 24"/>
                <a:gd name="T66" fmla="*/ 31 w 38"/>
                <a:gd name="T67" fmla="*/ 5 h 24"/>
                <a:gd name="T68" fmla="*/ 31 w 38"/>
                <a:gd name="T69" fmla="*/ 5 h 24"/>
                <a:gd name="T70" fmla="*/ 33 w 38"/>
                <a:gd name="T71" fmla="*/ 7 h 24"/>
                <a:gd name="T72" fmla="*/ 17 w 38"/>
                <a:gd name="T73" fmla="*/ 17 h 24"/>
                <a:gd name="T74" fmla="*/ 3 w 38"/>
                <a:gd name="T75" fmla="*/ 19 h 24"/>
                <a:gd name="T76" fmla="*/ 0 w 38"/>
                <a:gd name="T77" fmla="*/ 22 h 24"/>
                <a:gd name="T78" fmla="*/ 0 w 38"/>
                <a:gd name="T79" fmla="*/ 24 h 24"/>
                <a:gd name="T80" fmla="*/ 3 w 38"/>
                <a:gd name="T8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 h="24">
                  <a:moveTo>
                    <a:pt x="3" y="24"/>
                  </a:moveTo>
                  <a:lnTo>
                    <a:pt x="5" y="24"/>
                  </a:lnTo>
                  <a:lnTo>
                    <a:pt x="5" y="24"/>
                  </a:lnTo>
                  <a:lnTo>
                    <a:pt x="10" y="22"/>
                  </a:lnTo>
                  <a:lnTo>
                    <a:pt x="12" y="22"/>
                  </a:lnTo>
                  <a:lnTo>
                    <a:pt x="12" y="22"/>
                  </a:lnTo>
                  <a:lnTo>
                    <a:pt x="12" y="22"/>
                  </a:lnTo>
                  <a:lnTo>
                    <a:pt x="17" y="19"/>
                  </a:lnTo>
                  <a:lnTo>
                    <a:pt x="12" y="24"/>
                  </a:lnTo>
                  <a:lnTo>
                    <a:pt x="14" y="24"/>
                  </a:lnTo>
                  <a:lnTo>
                    <a:pt x="19" y="22"/>
                  </a:lnTo>
                  <a:lnTo>
                    <a:pt x="33" y="22"/>
                  </a:lnTo>
                  <a:lnTo>
                    <a:pt x="36" y="19"/>
                  </a:lnTo>
                  <a:lnTo>
                    <a:pt x="38" y="17"/>
                  </a:lnTo>
                  <a:lnTo>
                    <a:pt x="38" y="12"/>
                  </a:lnTo>
                  <a:lnTo>
                    <a:pt x="38" y="12"/>
                  </a:lnTo>
                  <a:lnTo>
                    <a:pt x="38" y="10"/>
                  </a:lnTo>
                  <a:lnTo>
                    <a:pt x="38" y="10"/>
                  </a:lnTo>
                  <a:lnTo>
                    <a:pt x="38" y="5"/>
                  </a:lnTo>
                  <a:lnTo>
                    <a:pt x="36" y="5"/>
                  </a:lnTo>
                  <a:lnTo>
                    <a:pt x="36" y="3"/>
                  </a:lnTo>
                  <a:lnTo>
                    <a:pt x="36" y="3"/>
                  </a:lnTo>
                  <a:lnTo>
                    <a:pt x="36" y="3"/>
                  </a:lnTo>
                  <a:lnTo>
                    <a:pt x="36" y="3"/>
                  </a:lnTo>
                  <a:lnTo>
                    <a:pt x="36" y="0"/>
                  </a:lnTo>
                  <a:lnTo>
                    <a:pt x="36" y="0"/>
                  </a:lnTo>
                  <a:lnTo>
                    <a:pt x="36" y="0"/>
                  </a:lnTo>
                  <a:lnTo>
                    <a:pt x="33" y="3"/>
                  </a:lnTo>
                  <a:lnTo>
                    <a:pt x="33" y="3"/>
                  </a:lnTo>
                  <a:lnTo>
                    <a:pt x="33" y="3"/>
                  </a:lnTo>
                  <a:lnTo>
                    <a:pt x="29" y="5"/>
                  </a:lnTo>
                  <a:lnTo>
                    <a:pt x="29" y="7"/>
                  </a:lnTo>
                  <a:lnTo>
                    <a:pt x="29" y="7"/>
                  </a:lnTo>
                  <a:lnTo>
                    <a:pt x="31" y="5"/>
                  </a:lnTo>
                  <a:lnTo>
                    <a:pt x="31" y="5"/>
                  </a:lnTo>
                  <a:lnTo>
                    <a:pt x="33" y="7"/>
                  </a:lnTo>
                  <a:lnTo>
                    <a:pt x="17" y="17"/>
                  </a:lnTo>
                  <a:lnTo>
                    <a:pt x="3" y="19"/>
                  </a:lnTo>
                  <a:lnTo>
                    <a:pt x="0" y="22"/>
                  </a:lnTo>
                  <a:lnTo>
                    <a:pt x="0" y="24"/>
                  </a:lnTo>
                  <a:lnTo>
                    <a:pt x="3"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02" name="Freeform 322">
              <a:extLst>
                <a:ext uri="{FF2B5EF4-FFF2-40B4-BE49-F238E27FC236}">
                  <a16:creationId xmlns:a16="http://schemas.microsoft.com/office/drawing/2014/main" id="{EB2A50E4-4E1F-4844-98A7-1D9E59DD8E94}"/>
                </a:ext>
              </a:extLst>
            </p:cNvPr>
            <p:cNvSpPr>
              <a:spLocks/>
            </p:cNvSpPr>
            <p:nvPr/>
          </p:nvSpPr>
          <p:spPr bwMode="gray">
            <a:xfrm>
              <a:off x="-1828" y="-585"/>
              <a:ext cx="12" cy="16"/>
            </a:xfrm>
            <a:custGeom>
              <a:avLst/>
              <a:gdLst>
                <a:gd name="T0" fmla="*/ 2 w 12"/>
                <a:gd name="T1" fmla="*/ 11 h 16"/>
                <a:gd name="T2" fmla="*/ 2 w 12"/>
                <a:gd name="T3" fmla="*/ 14 h 16"/>
                <a:gd name="T4" fmla="*/ 2 w 12"/>
                <a:gd name="T5" fmla="*/ 14 h 16"/>
                <a:gd name="T6" fmla="*/ 4 w 12"/>
                <a:gd name="T7" fmla="*/ 16 h 16"/>
                <a:gd name="T8" fmla="*/ 7 w 12"/>
                <a:gd name="T9" fmla="*/ 14 h 16"/>
                <a:gd name="T10" fmla="*/ 7 w 12"/>
                <a:gd name="T11" fmla="*/ 16 h 16"/>
                <a:gd name="T12" fmla="*/ 9 w 12"/>
                <a:gd name="T13" fmla="*/ 14 h 16"/>
                <a:gd name="T14" fmla="*/ 9 w 12"/>
                <a:gd name="T15" fmla="*/ 11 h 16"/>
                <a:gd name="T16" fmla="*/ 9 w 12"/>
                <a:gd name="T17" fmla="*/ 11 h 16"/>
                <a:gd name="T18" fmla="*/ 12 w 12"/>
                <a:gd name="T19" fmla="*/ 11 h 16"/>
                <a:gd name="T20" fmla="*/ 12 w 12"/>
                <a:gd name="T21" fmla="*/ 9 h 16"/>
                <a:gd name="T22" fmla="*/ 12 w 12"/>
                <a:gd name="T23" fmla="*/ 4 h 16"/>
                <a:gd name="T24" fmla="*/ 12 w 12"/>
                <a:gd name="T25" fmla="*/ 4 h 16"/>
                <a:gd name="T26" fmla="*/ 12 w 12"/>
                <a:gd name="T27" fmla="*/ 2 h 16"/>
                <a:gd name="T28" fmla="*/ 9 w 12"/>
                <a:gd name="T29" fmla="*/ 2 h 16"/>
                <a:gd name="T30" fmla="*/ 9 w 12"/>
                <a:gd name="T31" fmla="*/ 2 h 16"/>
                <a:gd name="T32" fmla="*/ 9 w 12"/>
                <a:gd name="T33" fmla="*/ 2 h 16"/>
                <a:gd name="T34" fmla="*/ 9 w 12"/>
                <a:gd name="T35" fmla="*/ 2 h 16"/>
                <a:gd name="T36" fmla="*/ 7 w 12"/>
                <a:gd name="T37" fmla="*/ 2 h 16"/>
                <a:gd name="T38" fmla="*/ 7 w 12"/>
                <a:gd name="T39" fmla="*/ 2 h 16"/>
                <a:gd name="T40" fmla="*/ 7 w 12"/>
                <a:gd name="T41" fmla="*/ 2 h 16"/>
                <a:gd name="T42" fmla="*/ 7 w 12"/>
                <a:gd name="T43" fmla="*/ 0 h 16"/>
                <a:gd name="T44" fmla="*/ 4 w 12"/>
                <a:gd name="T45" fmla="*/ 0 h 16"/>
                <a:gd name="T46" fmla="*/ 4 w 12"/>
                <a:gd name="T47" fmla="*/ 0 h 16"/>
                <a:gd name="T48" fmla="*/ 4 w 12"/>
                <a:gd name="T49" fmla="*/ 0 h 16"/>
                <a:gd name="T50" fmla="*/ 4 w 12"/>
                <a:gd name="T51" fmla="*/ 2 h 16"/>
                <a:gd name="T52" fmla="*/ 4 w 12"/>
                <a:gd name="T53" fmla="*/ 2 h 16"/>
                <a:gd name="T54" fmla="*/ 2 w 12"/>
                <a:gd name="T55" fmla="*/ 4 h 16"/>
                <a:gd name="T56" fmla="*/ 2 w 12"/>
                <a:gd name="T57" fmla="*/ 7 h 16"/>
                <a:gd name="T58" fmla="*/ 0 w 12"/>
                <a:gd name="T59" fmla="*/ 9 h 16"/>
                <a:gd name="T60" fmla="*/ 0 w 12"/>
                <a:gd name="T61" fmla="*/ 9 h 16"/>
                <a:gd name="T62" fmla="*/ 0 w 12"/>
                <a:gd name="T63" fmla="*/ 11 h 16"/>
                <a:gd name="T64" fmla="*/ 0 w 12"/>
                <a:gd name="T65" fmla="*/ 11 h 16"/>
                <a:gd name="T66" fmla="*/ 0 w 12"/>
                <a:gd name="T67" fmla="*/ 11 h 16"/>
                <a:gd name="T68" fmla="*/ 2 w 12"/>
                <a:gd name="T69"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16">
                  <a:moveTo>
                    <a:pt x="2" y="11"/>
                  </a:moveTo>
                  <a:lnTo>
                    <a:pt x="2" y="14"/>
                  </a:lnTo>
                  <a:lnTo>
                    <a:pt x="2" y="14"/>
                  </a:lnTo>
                  <a:lnTo>
                    <a:pt x="4" y="16"/>
                  </a:lnTo>
                  <a:lnTo>
                    <a:pt x="7" y="14"/>
                  </a:lnTo>
                  <a:lnTo>
                    <a:pt x="7" y="16"/>
                  </a:lnTo>
                  <a:lnTo>
                    <a:pt x="9" y="14"/>
                  </a:lnTo>
                  <a:lnTo>
                    <a:pt x="9" y="11"/>
                  </a:lnTo>
                  <a:lnTo>
                    <a:pt x="9" y="11"/>
                  </a:lnTo>
                  <a:lnTo>
                    <a:pt x="12" y="11"/>
                  </a:lnTo>
                  <a:lnTo>
                    <a:pt x="12" y="9"/>
                  </a:lnTo>
                  <a:lnTo>
                    <a:pt x="12" y="4"/>
                  </a:lnTo>
                  <a:lnTo>
                    <a:pt x="12" y="4"/>
                  </a:lnTo>
                  <a:lnTo>
                    <a:pt x="12" y="2"/>
                  </a:lnTo>
                  <a:lnTo>
                    <a:pt x="9" y="2"/>
                  </a:lnTo>
                  <a:lnTo>
                    <a:pt x="9" y="2"/>
                  </a:lnTo>
                  <a:lnTo>
                    <a:pt x="9" y="2"/>
                  </a:lnTo>
                  <a:lnTo>
                    <a:pt x="9" y="2"/>
                  </a:lnTo>
                  <a:lnTo>
                    <a:pt x="7" y="2"/>
                  </a:lnTo>
                  <a:lnTo>
                    <a:pt x="7" y="2"/>
                  </a:lnTo>
                  <a:lnTo>
                    <a:pt x="7" y="2"/>
                  </a:lnTo>
                  <a:lnTo>
                    <a:pt x="7" y="0"/>
                  </a:lnTo>
                  <a:lnTo>
                    <a:pt x="4" y="0"/>
                  </a:lnTo>
                  <a:lnTo>
                    <a:pt x="4" y="0"/>
                  </a:lnTo>
                  <a:lnTo>
                    <a:pt x="4" y="0"/>
                  </a:lnTo>
                  <a:lnTo>
                    <a:pt x="4" y="2"/>
                  </a:lnTo>
                  <a:lnTo>
                    <a:pt x="4" y="2"/>
                  </a:lnTo>
                  <a:lnTo>
                    <a:pt x="2" y="4"/>
                  </a:lnTo>
                  <a:lnTo>
                    <a:pt x="2" y="7"/>
                  </a:lnTo>
                  <a:lnTo>
                    <a:pt x="0" y="9"/>
                  </a:lnTo>
                  <a:lnTo>
                    <a:pt x="0" y="9"/>
                  </a:lnTo>
                  <a:lnTo>
                    <a:pt x="0" y="11"/>
                  </a:lnTo>
                  <a:lnTo>
                    <a:pt x="0" y="11"/>
                  </a:lnTo>
                  <a:lnTo>
                    <a:pt x="0" y="11"/>
                  </a:lnTo>
                  <a:lnTo>
                    <a:pt x="2"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03" name="Freeform 323">
              <a:extLst>
                <a:ext uri="{FF2B5EF4-FFF2-40B4-BE49-F238E27FC236}">
                  <a16:creationId xmlns:a16="http://schemas.microsoft.com/office/drawing/2014/main" id="{93A1BFFF-AAAC-494E-A3C8-7BCB455610D4}"/>
                </a:ext>
              </a:extLst>
            </p:cNvPr>
            <p:cNvSpPr>
              <a:spLocks/>
            </p:cNvSpPr>
            <p:nvPr/>
          </p:nvSpPr>
          <p:spPr bwMode="gray">
            <a:xfrm>
              <a:off x="-1852" y="-536"/>
              <a:ext cx="38" cy="26"/>
            </a:xfrm>
            <a:custGeom>
              <a:avLst/>
              <a:gdLst>
                <a:gd name="T0" fmla="*/ 5 w 38"/>
                <a:gd name="T1" fmla="*/ 24 h 26"/>
                <a:gd name="T2" fmla="*/ 5 w 38"/>
                <a:gd name="T3" fmla="*/ 24 h 26"/>
                <a:gd name="T4" fmla="*/ 5 w 38"/>
                <a:gd name="T5" fmla="*/ 26 h 26"/>
                <a:gd name="T6" fmla="*/ 5 w 38"/>
                <a:gd name="T7" fmla="*/ 26 h 26"/>
                <a:gd name="T8" fmla="*/ 7 w 38"/>
                <a:gd name="T9" fmla="*/ 24 h 26"/>
                <a:gd name="T10" fmla="*/ 17 w 38"/>
                <a:gd name="T11" fmla="*/ 14 h 26"/>
                <a:gd name="T12" fmla="*/ 21 w 38"/>
                <a:gd name="T13" fmla="*/ 12 h 26"/>
                <a:gd name="T14" fmla="*/ 26 w 38"/>
                <a:gd name="T15" fmla="*/ 10 h 26"/>
                <a:gd name="T16" fmla="*/ 33 w 38"/>
                <a:gd name="T17" fmla="*/ 5 h 26"/>
                <a:gd name="T18" fmla="*/ 36 w 38"/>
                <a:gd name="T19" fmla="*/ 5 h 26"/>
                <a:gd name="T20" fmla="*/ 38 w 38"/>
                <a:gd name="T21" fmla="*/ 2 h 26"/>
                <a:gd name="T22" fmla="*/ 33 w 38"/>
                <a:gd name="T23" fmla="*/ 0 h 26"/>
                <a:gd name="T24" fmla="*/ 28 w 38"/>
                <a:gd name="T25" fmla="*/ 0 h 26"/>
                <a:gd name="T26" fmla="*/ 26 w 38"/>
                <a:gd name="T27" fmla="*/ 2 h 26"/>
                <a:gd name="T28" fmla="*/ 21 w 38"/>
                <a:gd name="T29" fmla="*/ 5 h 26"/>
                <a:gd name="T30" fmla="*/ 21 w 38"/>
                <a:gd name="T31" fmla="*/ 7 h 26"/>
                <a:gd name="T32" fmla="*/ 19 w 38"/>
                <a:gd name="T33" fmla="*/ 7 h 26"/>
                <a:gd name="T34" fmla="*/ 19 w 38"/>
                <a:gd name="T35" fmla="*/ 10 h 26"/>
                <a:gd name="T36" fmla="*/ 17 w 38"/>
                <a:gd name="T37" fmla="*/ 10 h 26"/>
                <a:gd name="T38" fmla="*/ 17 w 38"/>
                <a:gd name="T39" fmla="*/ 7 h 26"/>
                <a:gd name="T40" fmla="*/ 17 w 38"/>
                <a:gd name="T41" fmla="*/ 5 h 26"/>
                <a:gd name="T42" fmla="*/ 19 w 38"/>
                <a:gd name="T43" fmla="*/ 2 h 26"/>
                <a:gd name="T44" fmla="*/ 17 w 38"/>
                <a:gd name="T45" fmla="*/ 0 h 26"/>
                <a:gd name="T46" fmla="*/ 17 w 38"/>
                <a:gd name="T47" fmla="*/ 0 h 26"/>
                <a:gd name="T48" fmla="*/ 7 w 38"/>
                <a:gd name="T49" fmla="*/ 5 h 26"/>
                <a:gd name="T50" fmla="*/ 7 w 38"/>
                <a:gd name="T51" fmla="*/ 7 h 26"/>
                <a:gd name="T52" fmla="*/ 5 w 38"/>
                <a:gd name="T53" fmla="*/ 10 h 26"/>
                <a:gd name="T54" fmla="*/ 5 w 38"/>
                <a:gd name="T55" fmla="*/ 14 h 26"/>
                <a:gd name="T56" fmla="*/ 5 w 38"/>
                <a:gd name="T57" fmla="*/ 17 h 26"/>
                <a:gd name="T58" fmla="*/ 0 w 38"/>
                <a:gd name="T59" fmla="*/ 19 h 26"/>
                <a:gd name="T60" fmla="*/ 0 w 38"/>
                <a:gd name="T61" fmla="*/ 24 h 26"/>
                <a:gd name="T62" fmla="*/ 7 w 38"/>
                <a:gd name="T63" fmla="*/ 21 h 26"/>
                <a:gd name="T64" fmla="*/ 7 w 38"/>
                <a:gd name="T65" fmla="*/ 24 h 26"/>
                <a:gd name="T66" fmla="*/ 5 w 38"/>
                <a:gd name="T6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 h="26">
                  <a:moveTo>
                    <a:pt x="5" y="24"/>
                  </a:moveTo>
                  <a:lnTo>
                    <a:pt x="5" y="24"/>
                  </a:lnTo>
                  <a:lnTo>
                    <a:pt x="5" y="26"/>
                  </a:lnTo>
                  <a:lnTo>
                    <a:pt x="5" y="26"/>
                  </a:lnTo>
                  <a:lnTo>
                    <a:pt x="7" y="24"/>
                  </a:lnTo>
                  <a:lnTo>
                    <a:pt x="17" y="14"/>
                  </a:lnTo>
                  <a:lnTo>
                    <a:pt x="21" y="12"/>
                  </a:lnTo>
                  <a:lnTo>
                    <a:pt x="26" y="10"/>
                  </a:lnTo>
                  <a:lnTo>
                    <a:pt x="33" y="5"/>
                  </a:lnTo>
                  <a:lnTo>
                    <a:pt x="36" y="5"/>
                  </a:lnTo>
                  <a:lnTo>
                    <a:pt x="38" y="2"/>
                  </a:lnTo>
                  <a:lnTo>
                    <a:pt x="33" y="0"/>
                  </a:lnTo>
                  <a:lnTo>
                    <a:pt x="28" y="0"/>
                  </a:lnTo>
                  <a:lnTo>
                    <a:pt x="26" y="2"/>
                  </a:lnTo>
                  <a:lnTo>
                    <a:pt x="21" y="5"/>
                  </a:lnTo>
                  <a:lnTo>
                    <a:pt x="21" y="7"/>
                  </a:lnTo>
                  <a:lnTo>
                    <a:pt x="19" y="7"/>
                  </a:lnTo>
                  <a:lnTo>
                    <a:pt x="19" y="10"/>
                  </a:lnTo>
                  <a:lnTo>
                    <a:pt x="17" y="10"/>
                  </a:lnTo>
                  <a:lnTo>
                    <a:pt x="17" y="7"/>
                  </a:lnTo>
                  <a:lnTo>
                    <a:pt x="17" y="5"/>
                  </a:lnTo>
                  <a:lnTo>
                    <a:pt x="19" y="2"/>
                  </a:lnTo>
                  <a:lnTo>
                    <a:pt x="17" y="0"/>
                  </a:lnTo>
                  <a:lnTo>
                    <a:pt x="17" y="0"/>
                  </a:lnTo>
                  <a:lnTo>
                    <a:pt x="7" y="5"/>
                  </a:lnTo>
                  <a:lnTo>
                    <a:pt x="7" y="7"/>
                  </a:lnTo>
                  <a:lnTo>
                    <a:pt x="5" y="10"/>
                  </a:lnTo>
                  <a:lnTo>
                    <a:pt x="5" y="14"/>
                  </a:lnTo>
                  <a:lnTo>
                    <a:pt x="5" y="17"/>
                  </a:lnTo>
                  <a:lnTo>
                    <a:pt x="0" y="19"/>
                  </a:lnTo>
                  <a:lnTo>
                    <a:pt x="0" y="24"/>
                  </a:lnTo>
                  <a:lnTo>
                    <a:pt x="7" y="21"/>
                  </a:lnTo>
                  <a:lnTo>
                    <a:pt x="7" y="24"/>
                  </a:lnTo>
                  <a:lnTo>
                    <a:pt x="5"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04" name="Freeform 324">
              <a:extLst>
                <a:ext uri="{FF2B5EF4-FFF2-40B4-BE49-F238E27FC236}">
                  <a16:creationId xmlns:a16="http://schemas.microsoft.com/office/drawing/2014/main" id="{9DCE92A1-86F9-47A1-BFA3-F4A5A1139E01}"/>
                </a:ext>
              </a:extLst>
            </p:cNvPr>
            <p:cNvSpPr>
              <a:spLocks/>
            </p:cNvSpPr>
            <p:nvPr/>
          </p:nvSpPr>
          <p:spPr bwMode="gray">
            <a:xfrm>
              <a:off x="-1937" y="-312"/>
              <a:ext cx="12" cy="14"/>
            </a:xfrm>
            <a:custGeom>
              <a:avLst/>
              <a:gdLst>
                <a:gd name="T0" fmla="*/ 10 w 12"/>
                <a:gd name="T1" fmla="*/ 0 h 14"/>
                <a:gd name="T2" fmla="*/ 0 w 12"/>
                <a:gd name="T3" fmla="*/ 2 h 14"/>
                <a:gd name="T4" fmla="*/ 0 w 12"/>
                <a:gd name="T5" fmla="*/ 5 h 14"/>
                <a:gd name="T6" fmla="*/ 0 w 12"/>
                <a:gd name="T7" fmla="*/ 5 h 14"/>
                <a:gd name="T8" fmla="*/ 0 w 12"/>
                <a:gd name="T9" fmla="*/ 5 h 14"/>
                <a:gd name="T10" fmla="*/ 0 w 12"/>
                <a:gd name="T11" fmla="*/ 5 h 14"/>
                <a:gd name="T12" fmla="*/ 0 w 12"/>
                <a:gd name="T13" fmla="*/ 7 h 14"/>
                <a:gd name="T14" fmla="*/ 0 w 12"/>
                <a:gd name="T15" fmla="*/ 7 h 14"/>
                <a:gd name="T16" fmla="*/ 0 w 12"/>
                <a:gd name="T17" fmla="*/ 9 h 14"/>
                <a:gd name="T18" fmla="*/ 3 w 12"/>
                <a:gd name="T19" fmla="*/ 9 h 14"/>
                <a:gd name="T20" fmla="*/ 5 w 12"/>
                <a:gd name="T21" fmla="*/ 9 h 14"/>
                <a:gd name="T22" fmla="*/ 5 w 12"/>
                <a:gd name="T23" fmla="*/ 9 h 14"/>
                <a:gd name="T24" fmla="*/ 5 w 12"/>
                <a:gd name="T25" fmla="*/ 9 h 14"/>
                <a:gd name="T26" fmla="*/ 5 w 12"/>
                <a:gd name="T27" fmla="*/ 9 h 14"/>
                <a:gd name="T28" fmla="*/ 5 w 12"/>
                <a:gd name="T29" fmla="*/ 9 h 14"/>
                <a:gd name="T30" fmla="*/ 7 w 12"/>
                <a:gd name="T31" fmla="*/ 12 h 14"/>
                <a:gd name="T32" fmla="*/ 7 w 12"/>
                <a:gd name="T33" fmla="*/ 14 h 14"/>
                <a:gd name="T34" fmla="*/ 10 w 12"/>
                <a:gd name="T35" fmla="*/ 14 h 14"/>
                <a:gd name="T36" fmla="*/ 10 w 12"/>
                <a:gd name="T37" fmla="*/ 14 h 14"/>
                <a:gd name="T38" fmla="*/ 10 w 12"/>
                <a:gd name="T39" fmla="*/ 14 h 14"/>
                <a:gd name="T40" fmla="*/ 12 w 12"/>
                <a:gd name="T41" fmla="*/ 14 h 14"/>
                <a:gd name="T42" fmla="*/ 12 w 12"/>
                <a:gd name="T43" fmla="*/ 12 h 14"/>
                <a:gd name="T44" fmla="*/ 12 w 12"/>
                <a:gd name="T45" fmla="*/ 12 h 14"/>
                <a:gd name="T46" fmla="*/ 12 w 12"/>
                <a:gd name="T47" fmla="*/ 12 h 14"/>
                <a:gd name="T48" fmla="*/ 12 w 12"/>
                <a:gd name="T49" fmla="*/ 12 h 14"/>
                <a:gd name="T50" fmla="*/ 12 w 12"/>
                <a:gd name="T51" fmla="*/ 9 h 14"/>
                <a:gd name="T52" fmla="*/ 12 w 12"/>
                <a:gd name="T53" fmla="*/ 9 h 14"/>
                <a:gd name="T54" fmla="*/ 12 w 12"/>
                <a:gd name="T55" fmla="*/ 7 h 14"/>
                <a:gd name="T56" fmla="*/ 12 w 12"/>
                <a:gd name="T57" fmla="*/ 5 h 14"/>
                <a:gd name="T58" fmla="*/ 12 w 12"/>
                <a:gd name="T59" fmla="*/ 2 h 14"/>
                <a:gd name="T60" fmla="*/ 10 w 12"/>
                <a:gd name="T61" fmla="*/ 2 h 14"/>
                <a:gd name="T62" fmla="*/ 10 w 12"/>
                <a:gd name="T63" fmla="*/ 0 h 14"/>
                <a:gd name="T64" fmla="*/ 10 w 12"/>
                <a:gd name="T6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14">
                  <a:moveTo>
                    <a:pt x="10" y="0"/>
                  </a:moveTo>
                  <a:lnTo>
                    <a:pt x="0" y="2"/>
                  </a:lnTo>
                  <a:lnTo>
                    <a:pt x="0" y="5"/>
                  </a:lnTo>
                  <a:lnTo>
                    <a:pt x="0" y="5"/>
                  </a:lnTo>
                  <a:lnTo>
                    <a:pt x="0" y="5"/>
                  </a:lnTo>
                  <a:lnTo>
                    <a:pt x="0" y="5"/>
                  </a:lnTo>
                  <a:lnTo>
                    <a:pt x="0" y="7"/>
                  </a:lnTo>
                  <a:lnTo>
                    <a:pt x="0" y="7"/>
                  </a:lnTo>
                  <a:lnTo>
                    <a:pt x="0" y="9"/>
                  </a:lnTo>
                  <a:lnTo>
                    <a:pt x="3" y="9"/>
                  </a:lnTo>
                  <a:lnTo>
                    <a:pt x="5" y="9"/>
                  </a:lnTo>
                  <a:lnTo>
                    <a:pt x="5" y="9"/>
                  </a:lnTo>
                  <a:lnTo>
                    <a:pt x="5" y="9"/>
                  </a:lnTo>
                  <a:lnTo>
                    <a:pt x="5" y="9"/>
                  </a:lnTo>
                  <a:lnTo>
                    <a:pt x="5" y="9"/>
                  </a:lnTo>
                  <a:lnTo>
                    <a:pt x="7" y="12"/>
                  </a:lnTo>
                  <a:lnTo>
                    <a:pt x="7" y="14"/>
                  </a:lnTo>
                  <a:lnTo>
                    <a:pt x="10" y="14"/>
                  </a:lnTo>
                  <a:lnTo>
                    <a:pt x="10" y="14"/>
                  </a:lnTo>
                  <a:lnTo>
                    <a:pt x="10" y="14"/>
                  </a:lnTo>
                  <a:lnTo>
                    <a:pt x="12" y="14"/>
                  </a:lnTo>
                  <a:lnTo>
                    <a:pt x="12" y="12"/>
                  </a:lnTo>
                  <a:lnTo>
                    <a:pt x="12" y="12"/>
                  </a:lnTo>
                  <a:lnTo>
                    <a:pt x="12" y="12"/>
                  </a:lnTo>
                  <a:lnTo>
                    <a:pt x="12" y="12"/>
                  </a:lnTo>
                  <a:lnTo>
                    <a:pt x="12" y="9"/>
                  </a:lnTo>
                  <a:lnTo>
                    <a:pt x="12" y="9"/>
                  </a:lnTo>
                  <a:lnTo>
                    <a:pt x="12" y="7"/>
                  </a:lnTo>
                  <a:lnTo>
                    <a:pt x="12" y="5"/>
                  </a:lnTo>
                  <a:lnTo>
                    <a:pt x="12" y="2"/>
                  </a:lnTo>
                  <a:lnTo>
                    <a:pt x="10" y="2"/>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05" name="Freeform 325">
              <a:extLst>
                <a:ext uri="{FF2B5EF4-FFF2-40B4-BE49-F238E27FC236}">
                  <a16:creationId xmlns:a16="http://schemas.microsoft.com/office/drawing/2014/main" id="{AA4410CA-2AB2-4AE5-9A36-DD62C68C9EF6}"/>
                </a:ext>
              </a:extLst>
            </p:cNvPr>
            <p:cNvSpPr>
              <a:spLocks/>
            </p:cNvSpPr>
            <p:nvPr/>
          </p:nvSpPr>
          <p:spPr bwMode="gray">
            <a:xfrm>
              <a:off x="-1960" y="520"/>
              <a:ext cx="4" cy="7"/>
            </a:xfrm>
            <a:custGeom>
              <a:avLst/>
              <a:gdLst>
                <a:gd name="T0" fmla="*/ 2 w 4"/>
                <a:gd name="T1" fmla="*/ 7 h 7"/>
                <a:gd name="T2" fmla="*/ 2 w 4"/>
                <a:gd name="T3" fmla="*/ 4 h 7"/>
                <a:gd name="T4" fmla="*/ 2 w 4"/>
                <a:gd name="T5" fmla="*/ 4 h 7"/>
                <a:gd name="T6" fmla="*/ 2 w 4"/>
                <a:gd name="T7" fmla="*/ 7 h 7"/>
                <a:gd name="T8" fmla="*/ 2 w 4"/>
                <a:gd name="T9" fmla="*/ 7 h 7"/>
                <a:gd name="T10" fmla="*/ 4 w 4"/>
                <a:gd name="T11" fmla="*/ 4 h 7"/>
                <a:gd name="T12" fmla="*/ 4 w 4"/>
                <a:gd name="T13" fmla="*/ 2 h 7"/>
                <a:gd name="T14" fmla="*/ 4 w 4"/>
                <a:gd name="T15" fmla="*/ 0 h 7"/>
                <a:gd name="T16" fmla="*/ 4 w 4"/>
                <a:gd name="T17" fmla="*/ 0 h 7"/>
                <a:gd name="T18" fmla="*/ 4 w 4"/>
                <a:gd name="T19" fmla="*/ 0 h 7"/>
                <a:gd name="T20" fmla="*/ 2 w 4"/>
                <a:gd name="T21" fmla="*/ 2 h 7"/>
                <a:gd name="T22" fmla="*/ 2 w 4"/>
                <a:gd name="T23" fmla="*/ 2 h 7"/>
                <a:gd name="T24" fmla="*/ 2 w 4"/>
                <a:gd name="T25" fmla="*/ 2 h 7"/>
                <a:gd name="T26" fmla="*/ 2 w 4"/>
                <a:gd name="T27" fmla="*/ 2 h 7"/>
                <a:gd name="T28" fmla="*/ 2 w 4"/>
                <a:gd name="T29" fmla="*/ 2 h 7"/>
                <a:gd name="T30" fmla="*/ 2 w 4"/>
                <a:gd name="T31" fmla="*/ 0 h 7"/>
                <a:gd name="T32" fmla="*/ 2 w 4"/>
                <a:gd name="T33" fmla="*/ 0 h 7"/>
                <a:gd name="T34" fmla="*/ 2 w 4"/>
                <a:gd name="T35" fmla="*/ 0 h 7"/>
                <a:gd name="T36" fmla="*/ 0 w 4"/>
                <a:gd name="T37" fmla="*/ 2 h 7"/>
                <a:gd name="T38" fmla="*/ 0 w 4"/>
                <a:gd name="T39" fmla="*/ 2 h 7"/>
                <a:gd name="T40" fmla="*/ 0 w 4"/>
                <a:gd name="T41" fmla="*/ 2 h 7"/>
                <a:gd name="T42" fmla="*/ 0 w 4"/>
                <a:gd name="T43" fmla="*/ 4 h 7"/>
                <a:gd name="T44" fmla="*/ 0 w 4"/>
                <a:gd name="T45" fmla="*/ 4 h 7"/>
                <a:gd name="T46" fmla="*/ 0 w 4"/>
                <a:gd name="T47" fmla="*/ 4 h 7"/>
                <a:gd name="T48" fmla="*/ 2 w 4"/>
                <a:gd name="T4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 h="7">
                  <a:moveTo>
                    <a:pt x="2" y="7"/>
                  </a:moveTo>
                  <a:lnTo>
                    <a:pt x="2" y="4"/>
                  </a:lnTo>
                  <a:lnTo>
                    <a:pt x="2" y="4"/>
                  </a:lnTo>
                  <a:lnTo>
                    <a:pt x="2" y="7"/>
                  </a:lnTo>
                  <a:lnTo>
                    <a:pt x="2" y="7"/>
                  </a:lnTo>
                  <a:lnTo>
                    <a:pt x="4" y="4"/>
                  </a:lnTo>
                  <a:lnTo>
                    <a:pt x="4" y="2"/>
                  </a:lnTo>
                  <a:lnTo>
                    <a:pt x="4" y="0"/>
                  </a:lnTo>
                  <a:lnTo>
                    <a:pt x="4" y="0"/>
                  </a:lnTo>
                  <a:lnTo>
                    <a:pt x="4" y="0"/>
                  </a:lnTo>
                  <a:lnTo>
                    <a:pt x="2" y="2"/>
                  </a:lnTo>
                  <a:lnTo>
                    <a:pt x="2" y="2"/>
                  </a:lnTo>
                  <a:lnTo>
                    <a:pt x="2" y="2"/>
                  </a:lnTo>
                  <a:lnTo>
                    <a:pt x="2" y="2"/>
                  </a:lnTo>
                  <a:lnTo>
                    <a:pt x="2" y="2"/>
                  </a:lnTo>
                  <a:lnTo>
                    <a:pt x="2" y="0"/>
                  </a:lnTo>
                  <a:lnTo>
                    <a:pt x="2" y="0"/>
                  </a:lnTo>
                  <a:lnTo>
                    <a:pt x="2" y="0"/>
                  </a:lnTo>
                  <a:lnTo>
                    <a:pt x="0" y="2"/>
                  </a:lnTo>
                  <a:lnTo>
                    <a:pt x="0" y="2"/>
                  </a:lnTo>
                  <a:lnTo>
                    <a:pt x="0" y="2"/>
                  </a:lnTo>
                  <a:lnTo>
                    <a:pt x="0" y="4"/>
                  </a:lnTo>
                  <a:lnTo>
                    <a:pt x="0" y="4"/>
                  </a:lnTo>
                  <a:lnTo>
                    <a:pt x="0" y="4"/>
                  </a:ln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06" name="Freeform 326">
              <a:extLst>
                <a:ext uri="{FF2B5EF4-FFF2-40B4-BE49-F238E27FC236}">
                  <a16:creationId xmlns:a16="http://schemas.microsoft.com/office/drawing/2014/main" id="{446DC141-6858-4F30-9BA1-29ECC306FA40}"/>
                </a:ext>
              </a:extLst>
            </p:cNvPr>
            <p:cNvSpPr>
              <a:spLocks/>
            </p:cNvSpPr>
            <p:nvPr/>
          </p:nvSpPr>
          <p:spPr bwMode="gray">
            <a:xfrm>
              <a:off x="-1949" y="524"/>
              <a:ext cx="5" cy="10"/>
            </a:xfrm>
            <a:custGeom>
              <a:avLst/>
              <a:gdLst>
                <a:gd name="T0" fmla="*/ 3 w 5"/>
                <a:gd name="T1" fmla="*/ 0 h 10"/>
                <a:gd name="T2" fmla="*/ 0 w 5"/>
                <a:gd name="T3" fmla="*/ 0 h 10"/>
                <a:gd name="T4" fmla="*/ 0 w 5"/>
                <a:gd name="T5" fmla="*/ 0 h 10"/>
                <a:gd name="T6" fmla="*/ 0 w 5"/>
                <a:gd name="T7" fmla="*/ 0 h 10"/>
                <a:gd name="T8" fmla="*/ 0 w 5"/>
                <a:gd name="T9" fmla="*/ 3 h 10"/>
                <a:gd name="T10" fmla="*/ 0 w 5"/>
                <a:gd name="T11" fmla="*/ 5 h 10"/>
                <a:gd name="T12" fmla="*/ 0 w 5"/>
                <a:gd name="T13" fmla="*/ 7 h 10"/>
                <a:gd name="T14" fmla="*/ 0 w 5"/>
                <a:gd name="T15" fmla="*/ 7 h 10"/>
                <a:gd name="T16" fmla="*/ 0 w 5"/>
                <a:gd name="T17" fmla="*/ 7 h 10"/>
                <a:gd name="T18" fmla="*/ 0 w 5"/>
                <a:gd name="T19" fmla="*/ 7 h 10"/>
                <a:gd name="T20" fmla="*/ 0 w 5"/>
                <a:gd name="T21" fmla="*/ 10 h 10"/>
                <a:gd name="T22" fmla="*/ 0 w 5"/>
                <a:gd name="T23" fmla="*/ 10 h 10"/>
                <a:gd name="T24" fmla="*/ 3 w 5"/>
                <a:gd name="T25" fmla="*/ 10 h 10"/>
                <a:gd name="T26" fmla="*/ 3 w 5"/>
                <a:gd name="T27" fmla="*/ 7 h 10"/>
                <a:gd name="T28" fmla="*/ 5 w 5"/>
                <a:gd name="T29" fmla="*/ 7 h 10"/>
                <a:gd name="T30" fmla="*/ 3 w 5"/>
                <a:gd name="T31" fmla="*/ 7 h 10"/>
                <a:gd name="T32" fmla="*/ 3 w 5"/>
                <a:gd name="T33" fmla="*/ 5 h 10"/>
                <a:gd name="T34" fmla="*/ 5 w 5"/>
                <a:gd name="T35" fmla="*/ 5 h 10"/>
                <a:gd name="T36" fmla="*/ 5 w 5"/>
                <a:gd name="T37" fmla="*/ 5 h 10"/>
                <a:gd name="T38" fmla="*/ 5 w 5"/>
                <a:gd name="T39" fmla="*/ 3 h 10"/>
                <a:gd name="T40" fmla="*/ 5 w 5"/>
                <a:gd name="T41" fmla="*/ 0 h 10"/>
                <a:gd name="T42" fmla="*/ 5 w 5"/>
                <a:gd name="T43" fmla="*/ 0 h 10"/>
                <a:gd name="T44" fmla="*/ 5 w 5"/>
                <a:gd name="T45" fmla="*/ 0 h 10"/>
                <a:gd name="T46" fmla="*/ 5 w 5"/>
                <a:gd name="T47" fmla="*/ 0 h 10"/>
                <a:gd name="T48" fmla="*/ 5 w 5"/>
                <a:gd name="T49" fmla="*/ 3 h 10"/>
                <a:gd name="T50" fmla="*/ 3 w 5"/>
                <a:gd name="T51" fmla="*/ 3 h 10"/>
                <a:gd name="T52" fmla="*/ 3 w 5"/>
                <a:gd name="T53" fmla="*/ 3 h 10"/>
                <a:gd name="T54" fmla="*/ 3 w 5"/>
                <a:gd name="T55" fmla="*/ 0 h 10"/>
                <a:gd name="T56" fmla="*/ 3 w 5"/>
                <a:gd name="T5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 h="10">
                  <a:moveTo>
                    <a:pt x="3" y="0"/>
                  </a:moveTo>
                  <a:lnTo>
                    <a:pt x="0" y="0"/>
                  </a:lnTo>
                  <a:lnTo>
                    <a:pt x="0" y="0"/>
                  </a:lnTo>
                  <a:lnTo>
                    <a:pt x="0" y="0"/>
                  </a:lnTo>
                  <a:lnTo>
                    <a:pt x="0" y="3"/>
                  </a:lnTo>
                  <a:lnTo>
                    <a:pt x="0" y="5"/>
                  </a:lnTo>
                  <a:lnTo>
                    <a:pt x="0" y="7"/>
                  </a:lnTo>
                  <a:lnTo>
                    <a:pt x="0" y="7"/>
                  </a:lnTo>
                  <a:lnTo>
                    <a:pt x="0" y="7"/>
                  </a:lnTo>
                  <a:lnTo>
                    <a:pt x="0" y="7"/>
                  </a:lnTo>
                  <a:lnTo>
                    <a:pt x="0" y="10"/>
                  </a:lnTo>
                  <a:lnTo>
                    <a:pt x="0" y="10"/>
                  </a:lnTo>
                  <a:lnTo>
                    <a:pt x="3" y="10"/>
                  </a:lnTo>
                  <a:lnTo>
                    <a:pt x="3" y="7"/>
                  </a:lnTo>
                  <a:lnTo>
                    <a:pt x="5" y="7"/>
                  </a:lnTo>
                  <a:lnTo>
                    <a:pt x="3" y="7"/>
                  </a:lnTo>
                  <a:lnTo>
                    <a:pt x="3" y="5"/>
                  </a:lnTo>
                  <a:lnTo>
                    <a:pt x="5" y="5"/>
                  </a:lnTo>
                  <a:lnTo>
                    <a:pt x="5" y="5"/>
                  </a:lnTo>
                  <a:lnTo>
                    <a:pt x="5" y="3"/>
                  </a:lnTo>
                  <a:lnTo>
                    <a:pt x="5" y="0"/>
                  </a:lnTo>
                  <a:lnTo>
                    <a:pt x="5" y="0"/>
                  </a:lnTo>
                  <a:lnTo>
                    <a:pt x="5" y="0"/>
                  </a:lnTo>
                  <a:lnTo>
                    <a:pt x="5" y="0"/>
                  </a:lnTo>
                  <a:lnTo>
                    <a:pt x="5" y="3"/>
                  </a:lnTo>
                  <a:lnTo>
                    <a:pt x="3" y="3"/>
                  </a:lnTo>
                  <a:lnTo>
                    <a:pt x="3" y="3"/>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09" name="Freeform 327">
              <a:extLst>
                <a:ext uri="{FF2B5EF4-FFF2-40B4-BE49-F238E27FC236}">
                  <a16:creationId xmlns:a16="http://schemas.microsoft.com/office/drawing/2014/main" id="{08CA7628-3752-4B11-9797-2CB1E3366C99}"/>
                </a:ext>
              </a:extLst>
            </p:cNvPr>
            <p:cNvSpPr>
              <a:spLocks/>
            </p:cNvSpPr>
            <p:nvPr/>
          </p:nvSpPr>
          <p:spPr bwMode="gray">
            <a:xfrm>
              <a:off x="-1859" y="-571"/>
              <a:ext cx="26" cy="37"/>
            </a:xfrm>
            <a:custGeom>
              <a:avLst/>
              <a:gdLst>
                <a:gd name="T0" fmla="*/ 21 w 26"/>
                <a:gd name="T1" fmla="*/ 26 h 37"/>
                <a:gd name="T2" fmla="*/ 21 w 26"/>
                <a:gd name="T3" fmla="*/ 23 h 37"/>
                <a:gd name="T4" fmla="*/ 24 w 26"/>
                <a:gd name="T5" fmla="*/ 23 h 37"/>
                <a:gd name="T6" fmla="*/ 26 w 26"/>
                <a:gd name="T7" fmla="*/ 23 h 37"/>
                <a:gd name="T8" fmla="*/ 26 w 26"/>
                <a:gd name="T9" fmla="*/ 23 h 37"/>
                <a:gd name="T10" fmla="*/ 26 w 26"/>
                <a:gd name="T11" fmla="*/ 21 h 37"/>
                <a:gd name="T12" fmla="*/ 26 w 26"/>
                <a:gd name="T13" fmla="*/ 19 h 37"/>
                <a:gd name="T14" fmla="*/ 24 w 26"/>
                <a:gd name="T15" fmla="*/ 19 h 37"/>
                <a:gd name="T16" fmla="*/ 21 w 26"/>
                <a:gd name="T17" fmla="*/ 19 h 37"/>
                <a:gd name="T18" fmla="*/ 21 w 26"/>
                <a:gd name="T19" fmla="*/ 19 h 37"/>
                <a:gd name="T20" fmla="*/ 24 w 26"/>
                <a:gd name="T21" fmla="*/ 19 h 37"/>
                <a:gd name="T22" fmla="*/ 24 w 26"/>
                <a:gd name="T23" fmla="*/ 16 h 37"/>
                <a:gd name="T24" fmla="*/ 19 w 26"/>
                <a:gd name="T25" fmla="*/ 16 h 37"/>
                <a:gd name="T26" fmla="*/ 19 w 26"/>
                <a:gd name="T27" fmla="*/ 16 h 37"/>
                <a:gd name="T28" fmla="*/ 21 w 26"/>
                <a:gd name="T29" fmla="*/ 14 h 37"/>
                <a:gd name="T30" fmla="*/ 24 w 26"/>
                <a:gd name="T31" fmla="*/ 12 h 37"/>
                <a:gd name="T32" fmla="*/ 24 w 26"/>
                <a:gd name="T33" fmla="*/ 9 h 37"/>
                <a:gd name="T34" fmla="*/ 24 w 26"/>
                <a:gd name="T35" fmla="*/ 7 h 37"/>
                <a:gd name="T36" fmla="*/ 24 w 26"/>
                <a:gd name="T37" fmla="*/ 4 h 37"/>
                <a:gd name="T38" fmla="*/ 21 w 26"/>
                <a:gd name="T39" fmla="*/ 4 h 37"/>
                <a:gd name="T40" fmla="*/ 21 w 26"/>
                <a:gd name="T41" fmla="*/ 2 h 37"/>
                <a:gd name="T42" fmla="*/ 19 w 26"/>
                <a:gd name="T43" fmla="*/ 0 h 37"/>
                <a:gd name="T44" fmla="*/ 19 w 26"/>
                <a:gd name="T45" fmla="*/ 2 h 37"/>
                <a:gd name="T46" fmla="*/ 19 w 26"/>
                <a:gd name="T47" fmla="*/ 4 h 37"/>
                <a:gd name="T48" fmla="*/ 19 w 26"/>
                <a:gd name="T49" fmla="*/ 4 h 37"/>
                <a:gd name="T50" fmla="*/ 17 w 26"/>
                <a:gd name="T51" fmla="*/ 4 h 37"/>
                <a:gd name="T52" fmla="*/ 12 w 26"/>
                <a:gd name="T53" fmla="*/ 9 h 37"/>
                <a:gd name="T54" fmla="*/ 12 w 26"/>
                <a:gd name="T55" fmla="*/ 9 h 37"/>
                <a:gd name="T56" fmla="*/ 12 w 26"/>
                <a:gd name="T57" fmla="*/ 9 h 37"/>
                <a:gd name="T58" fmla="*/ 17 w 26"/>
                <a:gd name="T59" fmla="*/ 9 h 37"/>
                <a:gd name="T60" fmla="*/ 19 w 26"/>
                <a:gd name="T61" fmla="*/ 9 h 37"/>
                <a:gd name="T62" fmla="*/ 21 w 26"/>
                <a:gd name="T63" fmla="*/ 12 h 37"/>
                <a:gd name="T64" fmla="*/ 17 w 26"/>
                <a:gd name="T65" fmla="*/ 14 h 37"/>
                <a:gd name="T66" fmla="*/ 14 w 26"/>
                <a:gd name="T67" fmla="*/ 16 h 37"/>
                <a:gd name="T68" fmla="*/ 14 w 26"/>
                <a:gd name="T69" fmla="*/ 16 h 37"/>
                <a:gd name="T70" fmla="*/ 14 w 26"/>
                <a:gd name="T71" fmla="*/ 19 h 37"/>
                <a:gd name="T72" fmla="*/ 14 w 26"/>
                <a:gd name="T73" fmla="*/ 19 h 37"/>
                <a:gd name="T74" fmla="*/ 12 w 26"/>
                <a:gd name="T75" fmla="*/ 21 h 37"/>
                <a:gd name="T76" fmla="*/ 10 w 26"/>
                <a:gd name="T77" fmla="*/ 21 h 37"/>
                <a:gd name="T78" fmla="*/ 7 w 26"/>
                <a:gd name="T79" fmla="*/ 21 h 37"/>
                <a:gd name="T80" fmla="*/ 5 w 26"/>
                <a:gd name="T81" fmla="*/ 23 h 37"/>
                <a:gd name="T82" fmla="*/ 5 w 26"/>
                <a:gd name="T83" fmla="*/ 23 h 37"/>
                <a:gd name="T84" fmla="*/ 5 w 26"/>
                <a:gd name="T85" fmla="*/ 26 h 37"/>
                <a:gd name="T86" fmla="*/ 5 w 26"/>
                <a:gd name="T87" fmla="*/ 26 h 37"/>
                <a:gd name="T88" fmla="*/ 10 w 26"/>
                <a:gd name="T89" fmla="*/ 23 h 37"/>
                <a:gd name="T90" fmla="*/ 10 w 26"/>
                <a:gd name="T91" fmla="*/ 23 h 37"/>
                <a:gd name="T92" fmla="*/ 12 w 26"/>
                <a:gd name="T93" fmla="*/ 23 h 37"/>
                <a:gd name="T94" fmla="*/ 10 w 26"/>
                <a:gd name="T95" fmla="*/ 26 h 37"/>
                <a:gd name="T96" fmla="*/ 7 w 26"/>
                <a:gd name="T97" fmla="*/ 28 h 37"/>
                <a:gd name="T98" fmla="*/ 7 w 26"/>
                <a:gd name="T99" fmla="*/ 30 h 37"/>
                <a:gd name="T100" fmla="*/ 5 w 26"/>
                <a:gd name="T101" fmla="*/ 30 h 37"/>
                <a:gd name="T102" fmla="*/ 5 w 26"/>
                <a:gd name="T103" fmla="*/ 30 h 37"/>
                <a:gd name="T104" fmla="*/ 5 w 26"/>
                <a:gd name="T105" fmla="*/ 33 h 37"/>
                <a:gd name="T106" fmla="*/ 0 w 26"/>
                <a:gd name="T107" fmla="*/ 37 h 37"/>
                <a:gd name="T108" fmla="*/ 19 w 26"/>
                <a:gd name="T109" fmla="*/ 28 h 37"/>
                <a:gd name="T110" fmla="*/ 21 w 26"/>
                <a:gd name="T111" fmla="*/ 2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 h="37">
                  <a:moveTo>
                    <a:pt x="21" y="26"/>
                  </a:moveTo>
                  <a:lnTo>
                    <a:pt x="21" y="23"/>
                  </a:lnTo>
                  <a:lnTo>
                    <a:pt x="24" y="23"/>
                  </a:lnTo>
                  <a:lnTo>
                    <a:pt x="26" y="23"/>
                  </a:lnTo>
                  <a:lnTo>
                    <a:pt x="26" y="23"/>
                  </a:lnTo>
                  <a:lnTo>
                    <a:pt x="26" y="21"/>
                  </a:lnTo>
                  <a:lnTo>
                    <a:pt x="26" y="19"/>
                  </a:lnTo>
                  <a:lnTo>
                    <a:pt x="24" y="19"/>
                  </a:lnTo>
                  <a:lnTo>
                    <a:pt x="21" y="19"/>
                  </a:lnTo>
                  <a:lnTo>
                    <a:pt x="21" y="19"/>
                  </a:lnTo>
                  <a:lnTo>
                    <a:pt x="24" y="19"/>
                  </a:lnTo>
                  <a:lnTo>
                    <a:pt x="24" y="16"/>
                  </a:lnTo>
                  <a:lnTo>
                    <a:pt x="19" y="16"/>
                  </a:lnTo>
                  <a:lnTo>
                    <a:pt x="19" y="16"/>
                  </a:lnTo>
                  <a:lnTo>
                    <a:pt x="21" y="14"/>
                  </a:lnTo>
                  <a:lnTo>
                    <a:pt x="24" y="12"/>
                  </a:lnTo>
                  <a:lnTo>
                    <a:pt x="24" y="9"/>
                  </a:lnTo>
                  <a:lnTo>
                    <a:pt x="24" y="7"/>
                  </a:lnTo>
                  <a:lnTo>
                    <a:pt x="24" y="4"/>
                  </a:lnTo>
                  <a:lnTo>
                    <a:pt x="21" y="4"/>
                  </a:lnTo>
                  <a:lnTo>
                    <a:pt x="21" y="2"/>
                  </a:lnTo>
                  <a:lnTo>
                    <a:pt x="19" y="0"/>
                  </a:lnTo>
                  <a:lnTo>
                    <a:pt x="19" y="2"/>
                  </a:lnTo>
                  <a:lnTo>
                    <a:pt x="19" y="4"/>
                  </a:lnTo>
                  <a:lnTo>
                    <a:pt x="19" y="4"/>
                  </a:lnTo>
                  <a:lnTo>
                    <a:pt x="17" y="4"/>
                  </a:lnTo>
                  <a:lnTo>
                    <a:pt x="12" y="9"/>
                  </a:lnTo>
                  <a:lnTo>
                    <a:pt x="12" y="9"/>
                  </a:lnTo>
                  <a:lnTo>
                    <a:pt x="12" y="9"/>
                  </a:lnTo>
                  <a:lnTo>
                    <a:pt x="17" y="9"/>
                  </a:lnTo>
                  <a:lnTo>
                    <a:pt x="19" y="9"/>
                  </a:lnTo>
                  <a:lnTo>
                    <a:pt x="21" y="12"/>
                  </a:lnTo>
                  <a:lnTo>
                    <a:pt x="17" y="14"/>
                  </a:lnTo>
                  <a:lnTo>
                    <a:pt x="14" y="16"/>
                  </a:lnTo>
                  <a:lnTo>
                    <a:pt x="14" y="16"/>
                  </a:lnTo>
                  <a:lnTo>
                    <a:pt x="14" y="19"/>
                  </a:lnTo>
                  <a:lnTo>
                    <a:pt x="14" y="19"/>
                  </a:lnTo>
                  <a:lnTo>
                    <a:pt x="12" y="21"/>
                  </a:lnTo>
                  <a:lnTo>
                    <a:pt x="10" y="21"/>
                  </a:lnTo>
                  <a:lnTo>
                    <a:pt x="7" y="21"/>
                  </a:lnTo>
                  <a:lnTo>
                    <a:pt x="5" y="23"/>
                  </a:lnTo>
                  <a:lnTo>
                    <a:pt x="5" y="23"/>
                  </a:lnTo>
                  <a:lnTo>
                    <a:pt x="5" y="26"/>
                  </a:lnTo>
                  <a:lnTo>
                    <a:pt x="5" y="26"/>
                  </a:lnTo>
                  <a:lnTo>
                    <a:pt x="10" y="23"/>
                  </a:lnTo>
                  <a:lnTo>
                    <a:pt x="10" y="23"/>
                  </a:lnTo>
                  <a:lnTo>
                    <a:pt x="12" y="23"/>
                  </a:lnTo>
                  <a:lnTo>
                    <a:pt x="10" y="26"/>
                  </a:lnTo>
                  <a:lnTo>
                    <a:pt x="7" y="28"/>
                  </a:lnTo>
                  <a:lnTo>
                    <a:pt x="7" y="30"/>
                  </a:lnTo>
                  <a:lnTo>
                    <a:pt x="5" y="30"/>
                  </a:lnTo>
                  <a:lnTo>
                    <a:pt x="5" y="30"/>
                  </a:lnTo>
                  <a:lnTo>
                    <a:pt x="5" y="33"/>
                  </a:lnTo>
                  <a:lnTo>
                    <a:pt x="0" y="37"/>
                  </a:lnTo>
                  <a:lnTo>
                    <a:pt x="19" y="28"/>
                  </a:lnTo>
                  <a:lnTo>
                    <a:pt x="21"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10" name="Freeform 328">
              <a:extLst>
                <a:ext uri="{FF2B5EF4-FFF2-40B4-BE49-F238E27FC236}">
                  <a16:creationId xmlns:a16="http://schemas.microsoft.com/office/drawing/2014/main" id="{88C3028B-D174-4044-A20B-722A1D564BB4}"/>
                </a:ext>
              </a:extLst>
            </p:cNvPr>
            <p:cNvSpPr>
              <a:spLocks/>
            </p:cNvSpPr>
            <p:nvPr/>
          </p:nvSpPr>
          <p:spPr bwMode="gray">
            <a:xfrm>
              <a:off x="-1913" y="-383"/>
              <a:ext cx="19" cy="14"/>
            </a:xfrm>
            <a:custGeom>
              <a:avLst/>
              <a:gdLst>
                <a:gd name="T0" fmla="*/ 5 w 19"/>
                <a:gd name="T1" fmla="*/ 14 h 14"/>
                <a:gd name="T2" fmla="*/ 7 w 19"/>
                <a:gd name="T3" fmla="*/ 12 h 14"/>
                <a:gd name="T4" fmla="*/ 7 w 19"/>
                <a:gd name="T5" fmla="*/ 10 h 14"/>
                <a:gd name="T6" fmla="*/ 9 w 19"/>
                <a:gd name="T7" fmla="*/ 10 h 14"/>
                <a:gd name="T8" fmla="*/ 9 w 19"/>
                <a:gd name="T9" fmla="*/ 10 h 14"/>
                <a:gd name="T10" fmla="*/ 9 w 19"/>
                <a:gd name="T11" fmla="*/ 10 h 14"/>
                <a:gd name="T12" fmla="*/ 9 w 19"/>
                <a:gd name="T13" fmla="*/ 10 h 14"/>
                <a:gd name="T14" fmla="*/ 9 w 19"/>
                <a:gd name="T15" fmla="*/ 12 h 14"/>
                <a:gd name="T16" fmla="*/ 9 w 19"/>
                <a:gd name="T17" fmla="*/ 12 h 14"/>
                <a:gd name="T18" fmla="*/ 9 w 19"/>
                <a:gd name="T19" fmla="*/ 14 h 14"/>
                <a:gd name="T20" fmla="*/ 12 w 19"/>
                <a:gd name="T21" fmla="*/ 12 h 14"/>
                <a:gd name="T22" fmla="*/ 12 w 19"/>
                <a:gd name="T23" fmla="*/ 12 h 14"/>
                <a:gd name="T24" fmla="*/ 14 w 19"/>
                <a:gd name="T25" fmla="*/ 10 h 14"/>
                <a:gd name="T26" fmla="*/ 14 w 19"/>
                <a:gd name="T27" fmla="*/ 10 h 14"/>
                <a:gd name="T28" fmla="*/ 12 w 19"/>
                <a:gd name="T29" fmla="*/ 10 h 14"/>
                <a:gd name="T30" fmla="*/ 12 w 19"/>
                <a:gd name="T31" fmla="*/ 10 h 14"/>
                <a:gd name="T32" fmla="*/ 12 w 19"/>
                <a:gd name="T33" fmla="*/ 7 h 14"/>
                <a:gd name="T34" fmla="*/ 12 w 19"/>
                <a:gd name="T35" fmla="*/ 7 h 14"/>
                <a:gd name="T36" fmla="*/ 14 w 19"/>
                <a:gd name="T37" fmla="*/ 7 h 14"/>
                <a:gd name="T38" fmla="*/ 16 w 19"/>
                <a:gd name="T39" fmla="*/ 5 h 14"/>
                <a:gd name="T40" fmla="*/ 19 w 19"/>
                <a:gd name="T41" fmla="*/ 3 h 14"/>
                <a:gd name="T42" fmla="*/ 19 w 19"/>
                <a:gd name="T43" fmla="*/ 3 h 14"/>
                <a:gd name="T44" fmla="*/ 19 w 19"/>
                <a:gd name="T45" fmla="*/ 0 h 14"/>
                <a:gd name="T46" fmla="*/ 19 w 19"/>
                <a:gd name="T47" fmla="*/ 0 h 14"/>
                <a:gd name="T48" fmla="*/ 16 w 19"/>
                <a:gd name="T49" fmla="*/ 0 h 14"/>
                <a:gd name="T50" fmla="*/ 16 w 19"/>
                <a:gd name="T51" fmla="*/ 0 h 14"/>
                <a:gd name="T52" fmla="*/ 16 w 19"/>
                <a:gd name="T53" fmla="*/ 3 h 14"/>
                <a:gd name="T54" fmla="*/ 14 w 19"/>
                <a:gd name="T55" fmla="*/ 3 h 14"/>
                <a:gd name="T56" fmla="*/ 14 w 19"/>
                <a:gd name="T57" fmla="*/ 3 h 14"/>
                <a:gd name="T58" fmla="*/ 14 w 19"/>
                <a:gd name="T59" fmla="*/ 0 h 14"/>
                <a:gd name="T60" fmla="*/ 12 w 19"/>
                <a:gd name="T61" fmla="*/ 0 h 14"/>
                <a:gd name="T62" fmla="*/ 12 w 19"/>
                <a:gd name="T63" fmla="*/ 0 h 14"/>
                <a:gd name="T64" fmla="*/ 5 w 19"/>
                <a:gd name="T65" fmla="*/ 3 h 14"/>
                <a:gd name="T66" fmla="*/ 5 w 19"/>
                <a:gd name="T67" fmla="*/ 3 h 14"/>
                <a:gd name="T68" fmla="*/ 2 w 19"/>
                <a:gd name="T69" fmla="*/ 5 h 14"/>
                <a:gd name="T70" fmla="*/ 2 w 19"/>
                <a:gd name="T71" fmla="*/ 5 h 14"/>
                <a:gd name="T72" fmla="*/ 2 w 19"/>
                <a:gd name="T73" fmla="*/ 7 h 14"/>
                <a:gd name="T74" fmla="*/ 2 w 19"/>
                <a:gd name="T75" fmla="*/ 7 h 14"/>
                <a:gd name="T76" fmla="*/ 0 w 19"/>
                <a:gd name="T77" fmla="*/ 10 h 14"/>
                <a:gd name="T78" fmla="*/ 0 w 19"/>
                <a:gd name="T79" fmla="*/ 10 h 14"/>
                <a:gd name="T80" fmla="*/ 0 w 19"/>
                <a:gd name="T81" fmla="*/ 10 h 14"/>
                <a:gd name="T82" fmla="*/ 0 w 19"/>
                <a:gd name="T83" fmla="*/ 12 h 14"/>
                <a:gd name="T84" fmla="*/ 2 w 19"/>
                <a:gd name="T85" fmla="*/ 14 h 14"/>
                <a:gd name="T86" fmla="*/ 5 w 19"/>
                <a:gd name="T8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 h="14">
                  <a:moveTo>
                    <a:pt x="5" y="14"/>
                  </a:moveTo>
                  <a:lnTo>
                    <a:pt x="7" y="12"/>
                  </a:lnTo>
                  <a:lnTo>
                    <a:pt x="7" y="10"/>
                  </a:lnTo>
                  <a:lnTo>
                    <a:pt x="9" y="10"/>
                  </a:lnTo>
                  <a:lnTo>
                    <a:pt x="9" y="10"/>
                  </a:lnTo>
                  <a:lnTo>
                    <a:pt x="9" y="10"/>
                  </a:lnTo>
                  <a:lnTo>
                    <a:pt x="9" y="10"/>
                  </a:lnTo>
                  <a:lnTo>
                    <a:pt x="9" y="12"/>
                  </a:lnTo>
                  <a:lnTo>
                    <a:pt x="9" y="12"/>
                  </a:lnTo>
                  <a:lnTo>
                    <a:pt x="9" y="14"/>
                  </a:lnTo>
                  <a:lnTo>
                    <a:pt x="12" y="12"/>
                  </a:lnTo>
                  <a:lnTo>
                    <a:pt x="12" y="12"/>
                  </a:lnTo>
                  <a:lnTo>
                    <a:pt x="14" y="10"/>
                  </a:lnTo>
                  <a:lnTo>
                    <a:pt x="14" y="10"/>
                  </a:lnTo>
                  <a:lnTo>
                    <a:pt x="12" y="10"/>
                  </a:lnTo>
                  <a:lnTo>
                    <a:pt x="12" y="10"/>
                  </a:lnTo>
                  <a:lnTo>
                    <a:pt x="12" y="7"/>
                  </a:lnTo>
                  <a:lnTo>
                    <a:pt x="12" y="7"/>
                  </a:lnTo>
                  <a:lnTo>
                    <a:pt x="14" y="7"/>
                  </a:lnTo>
                  <a:lnTo>
                    <a:pt x="16" y="5"/>
                  </a:lnTo>
                  <a:lnTo>
                    <a:pt x="19" y="3"/>
                  </a:lnTo>
                  <a:lnTo>
                    <a:pt x="19" y="3"/>
                  </a:lnTo>
                  <a:lnTo>
                    <a:pt x="19" y="0"/>
                  </a:lnTo>
                  <a:lnTo>
                    <a:pt x="19" y="0"/>
                  </a:lnTo>
                  <a:lnTo>
                    <a:pt x="16" y="0"/>
                  </a:lnTo>
                  <a:lnTo>
                    <a:pt x="16" y="0"/>
                  </a:lnTo>
                  <a:lnTo>
                    <a:pt x="16" y="3"/>
                  </a:lnTo>
                  <a:lnTo>
                    <a:pt x="14" y="3"/>
                  </a:lnTo>
                  <a:lnTo>
                    <a:pt x="14" y="3"/>
                  </a:lnTo>
                  <a:lnTo>
                    <a:pt x="14" y="0"/>
                  </a:lnTo>
                  <a:lnTo>
                    <a:pt x="12" y="0"/>
                  </a:lnTo>
                  <a:lnTo>
                    <a:pt x="12" y="0"/>
                  </a:lnTo>
                  <a:lnTo>
                    <a:pt x="5" y="3"/>
                  </a:lnTo>
                  <a:lnTo>
                    <a:pt x="5" y="3"/>
                  </a:lnTo>
                  <a:lnTo>
                    <a:pt x="2" y="5"/>
                  </a:lnTo>
                  <a:lnTo>
                    <a:pt x="2" y="5"/>
                  </a:lnTo>
                  <a:lnTo>
                    <a:pt x="2" y="7"/>
                  </a:lnTo>
                  <a:lnTo>
                    <a:pt x="2" y="7"/>
                  </a:lnTo>
                  <a:lnTo>
                    <a:pt x="0" y="10"/>
                  </a:lnTo>
                  <a:lnTo>
                    <a:pt x="0" y="10"/>
                  </a:lnTo>
                  <a:lnTo>
                    <a:pt x="0" y="10"/>
                  </a:lnTo>
                  <a:lnTo>
                    <a:pt x="0" y="12"/>
                  </a:lnTo>
                  <a:lnTo>
                    <a:pt x="2" y="14"/>
                  </a:lnTo>
                  <a:lnTo>
                    <a:pt x="5"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11" name="Freeform 329">
              <a:extLst>
                <a:ext uri="{FF2B5EF4-FFF2-40B4-BE49-F238E27FC236}">
                  <a16:creationId xmlns:a16="http://schemas.microsoft.com/office/drawing/2014/main" id="{71AED725-1491-4676-B386-959E7CCC5402}"/>
                </a:ext>
              </a:extLst>
            </p:cNvPr>
            <p:cNvSpPr>
              <a:spLocks/>
            </p:cNvSpPr>
            <p:nvPr/>
          </p:nvSpPr>
          <p:spPr bwMode="gray">
            <a:xfrm>
              <a:off x="-1897" y="-482"/>
              <a:ext cx="19" cy="19"/>
            </a:xfrm>
            <a:custGeom>
              <a:avLst/>
              <a:gdLst>
                <a:gd name="T0" fmla="*/ 7 w 19"/>
                <a:gd name="T1" fmla="*/ 17 h 19"/>
                <a:gd name="T2" fmla="*/ 10 w 19"/>
                <a:gd name="T3" fmla="*/ 17 h 19"/>
                <a:gd name="T4" fmla="*/ 7 w 19"/>
                <a:gd name="T5" fmla="*/ 17 h 19"/>
                <a:gd name="T6" fmla="*/ 7 w 19"/>
                <a:gd name="T7" fmla="*/ 19 h 19"/>
                <a:gd name="T8" fmla="*/ 10 w 19"/>
                <a:gd name="T9" fmla="*/ 19 h 19"/>
                <a:gd name="T10" fmla="*/ 10 w 19"/>
                <a:gd name="T11" fmla="*/ 19 h 19"/>
                <a:gd name="T12" fmla="*/ 10 w 19"/>
                <a:gd name="T13" fmla="*/ 17 h 19"/>
                <a:gd name="T14" fmla="*/ 12 w 19"/>
                <a:gd name="T15" fmla="*/ 19 h 19"/>
                <a:gd name="T16" fmla="*/ 12 w 19"/>
                <a:gd name="T17" fmla="*/ 19 h 19"/>
                <a:gd name="T18" fmla="*/ 12 w 19"/>
                <a:gd name="T19" fmla="*/ 19 h 19"/>
                <a:gd name="T20" fmla="*/ 12 w 19"/>
                <a:gd name="T21" fmla="*/ 19 h 19"/>
                <a:gd name="T22" fmla="*/ 15 w 19"/>
                <a:gd name="T23" fmla="*/ 19 h 19"/>
                <a:gd name="T24" fmla="*/ 15 w 19"/>
                <a:gd name="T25" fmla="*/ 14 h 19"/>
                <a:gd name="T26" fmla="*/ 17 w 19"/>
                <a:gd name="T27" fmla="*/ 12 h 19"/>
                <a:gd name="T28" fmla="*/ 17 w 19"/>
                <a:gd name="T29" fmla="*/ 12 h 19"/>
                <a:gd name="T30" fmla="*/ 17 w 19"/>
                <a:gd name="T31" fmla="*/ 10 h 19"/>
                <a:gd name="T32" fmla="*/ 15 w 19"/>
                <a:gd name="T33" fmla="*/ 7 h 19"/>
                <a:gd name="T34" fmla="*/ 17 w 19"/>
                <a:gd name="T35" fmla="*/ 5 h 19"/>
                <a:gd name="T36" fmla="*/ 19 w 19"/>
                <a:gd name="T37" fmla="*/ 5 h 19"/>
                <a:gd name="T38" fmla="*/ 19 w 19"/>
                <a:gd name="T39" fmla="*/ 3 h 19"/>
                <a:gd name="T40" fmla="*/ 19 w 19"/>
                <a:gd name="T41" fmla="*/ 0 h 19"/>
                <a:gd name="T42" fmla="*/ 17 w 19"/>
                <a:gd name="T43" fmla="*/ 0 h 19"/>
                <a:gd name="T44" fmla="*/ 17 w 19"/>
                <a:gd name="T45" fmla="*/ 3 h 19"/>
                <a:gd name="T46" fmla="*/ 15 w 19"/>
                <a:gd name="T47" fmla="*/ 3 h 19"/>
                <a:gd name="T48" fmla="*/ 15 w 19"/>
                <a:gd name="T49" fmla="*/ 0 h 19"/>
                <a:gd name="T50" fmla="*/ 10 w 19"/>
                <a:gd name="T51" fmla="*/ 0 h 19"/>
                <a:gd name="T52" fmla="*/ 5 w 19"/>
                <a:gd name="T53" fmla="*/ 3 h 19"/>
                <a:gd name="T54" fmla="*/ 5 w 19"/>
                <a:gd name="T55" fmla="*/ 5 h 19"/>
                <a:gd name="T56" fmla="*/ 3 w 19"/>
                <a:gd name="T57" fmla="*/ 7 h 19"/>
                <a:gd name="T58" fmla="*/ 3 w 19"/>
                <a:gd name="T59" fmla="*/ 12 h 19"/>
                <a:gd name="T60" fmla="*/ 0 w 19"/>
                <a:gd name="T61" fmla="*/ 14 h 19"/>
                <a:gd name="T62" fmla="*/ 3 w 19"/>
                <a:gd name="T63" fmla="*/ 17 h 19"/>
                <a:gd name="T64" fmla="*/ 7 w 19"/>
                <a:gd name="T6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 h="19">
                  <a:moveTo>
                    <a:pt x="7" y="17"/>
                  </a:moveTo>
                  <a:lnTo>
                    <a:pt x="10" y="17"/>
                  </a:lnTo>
                  <a:lnTo>
                    <a:pt x="7" y="17"/>
                  </a:lnTo>
                  <a:lnTo>
                    <a:pt x="7" y="19"/>
                  </a:lnTo>
                  <a:lnTo>
                    <a:pt x="10" y="19"/>
                  </a:lnTo>
                  <a:lnTo>
                    <a:pt x="10" y="19"/>
                  </a:lnTo>
                  <a:lnTo>
                    <a:pt x="10" y="17"/>
                  </a:lnTo>
                  <a:lnTo>
                    <a:pt x="12" y="19"/>
                  </a:lnTo>
                  <a:lnTo>
                    <a:pt x="12" y="19"/>
                  </a:lnTo>
                  <a:lnTo>
                    <a:pt x="12" y="19"/>
                  </a:lnTo>
                  <a:lnTo>
                    <a:pt x="12" y="19"/>
                  </a:lnTo>
                  <a:lnTo>
                    <a:pt x="15" y="19"/>
                  </a:lnTo>
                  <a:lnTo>
                    <a:pt x="15" y="14"/>
                  </a:lnTo>
                  <a:lnTo>
                    <a:pt x="17" y="12"/>
                  </a:lnTo>
                  <a:lnTo>
                    <a:pt x="17" y="12"/>
                  </a:lnTo>
                  <a:lnTo>
                    <a:pt x="17" y="10"/>
                  </a:lnTo>
                  <a:lnTo>
                    <a:pt x="15" y="7"/>
                  </a:lnTo>
                  <a:lnTo>
                    <a:pt x="17" y="5"/>
                  </a:lnTo>
                  <a:lnTo>
                    <a:pt x="19" y="5"/>
                  </a:lnTo>
                  <a:lnTo>
                    <a:pt x="19" y="3"/>
                  </a:lnTo>
                  <a:lnTo>
                    <a:pt x="19" y="0"/>
                  </a:lnTo>
                  <a:lnTo>
                    <a:pt x="17" y="0"/>
                  </a:lnTo>
                  <a:lnTo>
                    <a:pt x="17" y="3"/>
                  </a:lnTo>
                  <a:lnTo>
                    <a:pt x="15" y="3"/>
                  </a:lnTo>
                  <a:lnTo>
                    <a:pt x="15" y="0"/>
                  </a:lnTo>
                  <a:lnTo>
                    <a:pt x="10" y="0"/>
                  </a:lnTo>
                  <a:lnTo>
                    <a:pt x="5" y="3"/>
                  </a:lnTo>
                  <a:lnTo>
                    <a:pt x="5" y="5"/>
                  </a:lnTo>
                  <a:lnTo>
                    <a:pt x="3" y="7"/>
                  </a:lnTo>
                  <a:lnTo>
                    <a:pt x="3" y="12"/>
                  </a:lnTo>
                  <a:lnTo>
                    <a:pt x="0" y="14"/>
                  </a:lnTo>
                  <a:lnTo>
                    <a:pt x="3" y="17"/>
                  </a:lnTo>
                  <a:lnTo>
                    <a:pt x="7"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12" name="Freeform 330">
              <a:extLst>
                <a:ext uri="{FF2B5EF4-FFF2-40B4-BE49-F238E27FC236}">
                  <a16:creationId xmlns:a16="http://schemas.microsoft.com/office/drawing/2014/main" id="{65D61E69-9F05-4055-8A65-2DB7DC94025D}"/>
                </a:ext>
              </a:extLst>
            </p:cNvPr>
            <p:cNvSpPr>
              <a:spLocks/>
            </p:cNvSpPr>
            <p:nvPr/>
          </p:nvSpPr>
          <p:spPr bwMode="gray">
            <a:xfrm>
              <a:off x="-1880" y="-399"/>
              <a:ext cx="23" cy="28"/>
            </a:xfrm>
            <a:custGeom>
              <a:avLst/>
              <a:gdLst>
                <a:gd name="T0" fmla="*/ 5 w 23"/>
                <a:gd name="T1" fmla="*/ 23 h 28"/>
                <a:gd name="T2" fmla="*/ 0 w 23"/>
                <a:gd name="T3" fmla="*/ 21 h 28"/>
                <a:gd name="T4" fmla="*/ 0 w 23"/>
                <a:gd name="T5" fmla="*/ 23 h 28"/>
                <a:gd name="T6" fmla="*/ 2 w 23"/>
                <a:gd name="T7" fmla="*/ 23 h 28"/>
                <a:gd name="T8" fmla="*/ 5 w 23"/>
                <a:gd name="T9" fmla="*/ 26 h 28"/>
                <a:gd name="T10" fmla="*/ 7 w 23"/>
                <a:gd name="T11" fmla="*/ 26 h 28"/>
                <a:gd name="T12" fmla="*/ 7 w 23"/>
                <a:gd name="T13" fmla="*/ 26 h 28"/>
                <a:gd name="T14" fmla="*/ 12 w 23"/>
                <a:gd name="T15" fmla="*/ 26 h 28"/>
                <a:gd name="T16" fmla="*/ 12 w 23"/>
                <a:gd name="T17" fmla="*/ 28 h 28"/>
                <a:gd name="T18" fmla="*/ 19 w 23"/>
                <a:gd name="T19" fmla="*/ 26 h 28"/>
                <a:gd name="T20" fmla="*/ 21 w 23"/>
                <a:gd name="T21" fmla="*/ 23 h 28"/>
                <a:gd name="T22" fmla="*/ 23 w 23"/>
                <a:gd name="T23" fmla="*/ 21 h 28"/>
                <a:gd name="T24" fmla="*/ 23 w 23"/>
                <a:gd name="T25" fmla="*/ 19 h 28"/>
                <a:gd name="T26" fmla="*/ 21 w 23"/>
                <a:gd name="T27" fmla="*/ 16 h 28"/>
                <a:gd name="T28" fmla="*/ 19 w 23"/>
                <a:gd name="T29" fmla="*/ 16 h 28"/>
                <a:gd name="T30" fmla="*/ 16 w 23"/>
                <a:gd name="T31" fmla="*/ 16 h 28"/>
                <a:gd name="T32" fmla="*/ 19 w 23"/>
                <a:gd name="T33" fmla="*/ 12 h 28"/>
                <a:gd name="T34" fmla="*/ 21 w 23"/>
                <a:gd name="T35" fmla="*/ 9 h 28"/>
                <a:gd name="T36" fmla="*/ 19 w 23"/>
                <a:gd name="T37" fmla="*/ 7 h 28"/>
                <a:gd name="T38" fmla="*/ 16 w 23"/>
                <a:gd name="T39" fmla="*/ 2 h 28"/>
                <a:gd name="T40" fmla="*/ 14 w 23"/>
                <a:gd name="T41" fmla="*/ 0 h 28"/>
                <a:gd name="T42" fmla="*/ 14 w 23"/>
                <a:gd name="T43" fmla="*/ 2 h 28"/>
                <a:gd name="T44" fmla="*/ 12 w 23"/>
                <a:gd name="T45" fmla="*/ 2 h 28"/>
                <a:gd name="T46" fmla="*/ 9 w 23"/>
                <a:gd name="T47" fmla="*/ 4 h 28"/>
                <a:gd name="T48" fmla="*/ 9 w 23"/>
                <a:gd name="T49" fmla="*/ 7 h 28"/>
                <a:gd name="T50" fmla="*/ 9 w 23"/>
                <a:gd name="T51" fmla="*/ 7 h 28"/>
                <a:gd name="T52" fmla="*/ 7 w 23"/>
                <a:gd name="T53" fmla="*/ 9 h 28"/>
                <a:gd name="T54" fmla="*/ 7 w 23"/>
                <a:gd name="T55" fmla="*/ 12 h 28"/>
                <a:gd name="T56" fmla="*/ 7 w 23"/>
                <a:gd name="T57" fmla="*/ 12 h 28"/>
                <a:gd name="T58" fmla="*/ 7 w 23"/>
                <a:gd name="T59" fmla="*/ 14 h 28"/>
                <a:gd name="T60" fmla="*/ 9 w 23"/>
                <a:gd name="T61" fmla="*/ 14 h 28"/>
                <a:gd name="T62" fmla="*/ 9 w 23"/>
                <a:gd name="T63" fmla="*/ 14 h 28"/>
                <a:gd name="T64" fmla="*/ 9 w 23"/>
                <a:gd name="T65" fmla="*/ 14 h 28"/>
                <a:gd name="T66" fmla="*/ 9 w 23"/>
                <a:gd name="T67" fmla="*/ 16 h 28"/>
                <a:gd name="T68" fmla="*/ 5 w 23"/>
                <a:gd name="T69" fmla="*/ 16 h 28"/>
                <a:gd name="T70" fmla="*/ 5 w 23"/>
                <a:gd name="T71" fmla="*/ 19 h 28"/>
                <a:gd name="T72" fmla="*/ 5 w 23"/>
                <a:gd name="T73" fmla="*/ 19 h 28"/>
                <a:gd name="T74" fmla="*/ 5 w 23"/>
                <a:gd name="T75" fmla="*/ 21 h 28"/>
                <a:gd name="T76" fmla="*/ 5 w 23"/>
                <a:gd name="T77" fmla="*/ 21 h 28"/>
                <a:gd name="T78" fmla="*/ 5 w 23"/>
                <a:gd name="T79" fmla="*/ 2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 h="28">
                  <a:moveTo>
                    <a:pt x="5" y="23"/>
                  </a:moveTo>
                  <a:lnTo>
                    <a:pt x="0" y="21"/>
                  </a:lnTo>
                  <a:lnTo>
                    <a:pt x="0" y="23"/>
                  </a:lnTo>
                  <a:lnTo>
                    <a:pt x="2" y="23"/>
                  </a:lnTo>
                  <a:lnTo>
                    <a:pt x="5" y="26"/>
                  </a:lnTo>
                  <a:lnTo>
                    <a:pt x="7" y="26"/>
                  </a:lnTo>
                  <a:lnTo>
                    <a:pt x="7" y="26"/>
                  </a:lnTo>
                  <a:lnTo>
                    <a:pt x="12" y="26"/>
                  </a:lnTo>
                  <a:lnTo>
                    <a:pt x="12" y="28"/>
                  </a:lnTo>
                  <a:lnTo>
                    <a:pt x="19" y="26"/>
                  </a:lnTo>
                  <a:lnTo>
                    <a:pt x="21" y="23"/>
                  </a:lnTo>
                  <a:lnTo>
                    <a:pt x="23" y="21"/>
                  </a:lnTo>
                  <a:lnTo>
                    <a:pt x="23" y="19"/>
                  </a:lnTo>
                  <a:lnTo>
                    <a:pt x="21" y="16"/>
                  </a:lnTo>
                  <a:lnTo>
                    <a:pt x="19" y="16"/>
                  </a:lnTo>
                  <a:lnTo>
                    <a:pt x="16" y="16"/>
                  </a:lnTo>
                  <a:lnTo>
                    <a:pt x="19" y="12"/>
                  </a:lnTo>
                  <a:lnTo>
                    <a:pt x="21" y="9"/>
                  </a:lnTo>
                  <a:lnTo>
                    <a:pt x="19" y="7"/>
                  </a:lnTo>
                  <a:lnTo>
                    <a:pt x="16" y="2"/>
                  </a:lnTo>
                  <a:lnTo>
                    <a:pt x="14" y="0"/>
                  </a:lnTo>
                  <a:lnTo>
                    <a:pt x="14" y="2"/>
                  </a:lnTo>
                  <a:lnTo>
                    <a:pt x="12" y="2"/>
                  </a:lnTo>
                  <a:lnTo>
                    <a:pt x="9" y="4"/>
                  </a:lnTo>
                  <a:lnTo>
                    <a:pt x="9" y="7"/>
                  </a:lnTo>
                  <a:lnTo>
                    <a:pt x="9" y="7"/>
                  </a:lnTo>
                  <a:lnTo>
                    <a:pt x="7" y="9"/>
                  </a:lnTo>
                  <a:lnTo>
                    <a:pt x="7" y="12"/>
                  </a:lnTo>
                  <a:lnTo>
                    <a:pt x="7" y="12"/>
                  </a:lnTo>
                  <a:lnTo>
                    <a:pt x="7" y="14"/>
                  </a:lnTo>
                  <a:lnTo>
                    <a:pt x="9" y="14"/>
                  </a:lnTo>
                  <a:lnTo>
                    <a:pt x="9" y="14"/>
                  </a:lnTo>
                  <a:lnTo>
                    <a:pt x="9" y="14"/>
                  </a:lnTo>
                  <a:lnTo>
                    <a:pt x="9" y="16"/>
                  </a:lnTo>
                  <a:lnTo>
                    <a:pt x="5" y="16"/>
                  </a:lnTo>
                  <a:lnTo>
                    <a:pt x="5" y="19"/>
                  </a:lnTo>
                  <a:lnTo>
                    <a:pt x="5" y="19"/>
                  </a:lnTo>
                  <a:lnTo>
                    <a:pt x="5" y="21"/>
                  </a:lnTo>
                  <a:lnTo>
                    <a:pt x="5" y="21"/>
                  </a:lnTo>
                  <a:lnTo>
                    <a:pt x="5"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13" name="Freeform 331">
              <a:extLst>
                <a:ext uri="{FF2B5EF4-FFF2-40B4-BE49-F238E27FC236}">
                  <a16:creationId xmlns:a16="http://schemas.microsoft.com/office/drawing/2014/main" id="{912AEF01-D2D6-41DA-B381-CB6965EA13A5}"/>
                </a:ext>
              </a:extLst>
            </p:cNvPr>
            <p:cNvSpPr>
              <a:spLocks/>
            </p:cNvSpPr>
            <p:nvPr/>
          </p:nvSpPr>
          <p:spPr bwMode="gray">
            <a:xfrm>
              <a:off x="-1875" y="-460"/>
              <a:ext cx="33" cy="61"/>
            </a:xfrm>
            <a:custGeom>
              <a:avLst/>
              <a:gdLst>
                <a:gd name="T0" fmla="*/ 9 w 33"/>
                <a:gd name="T1" fmla="*/ 56 h 61"/>
                <a:gd name="T2" fmla="*/ 14 w 33"/>
                <a:gd name="T3" fmla="*/ 51 h 61"/>
                <a:gd name="T4" fmla="*/ 14 w 33"/>
                <a:gd name="T5" fmla="*/ 49 h 61"/>
                <a:gd name="T6" fmla="*/ 11 w 33"/>
                <a:gd name="T7" fmla="*/ 47 h 61"/>
                <a:gd name="T8" fmla="*/ 11 w 33"/>
                <a:gd name="T9" fmla="*/ 42 h 61"/>
                <a:gd name="T10" fmla="*/ 21 w 33"/>
                <a:gd name="T11" fmla="*/ 42 h 61"/>
                <a:gd name="T12" fmla="*/ 23 w 33"/>
                <a:gd name="T13" fmla="*/ 40 h 61"/>
                <a:gd name="T14" fmla="*/ 23 w 33"/>
                <a:gd name="T15" fmla="*/ 37 h 61"/>
                <a:gd name="T16" fmla="*/ 28 w 33"/>
                <a:gd name="T17" fmla="*/ 33 h 61"/>
                <a:gd name="T18" fmla="*/ 33 w 33"/>
                <a:gd name="T19" fmla="*/ 30 h 61"/>
                <a:gd name="T20" fmla="*/ 30 w 33"/>
                <a:gd name="T21" fmla="*/ 30 h 61"/>
                <a:gd name="T22" fmla="*/ 28 w 33"/>
                <a:gd name="T23" fmla="*/ 25 h 61"/>
                <a:gd name="T24" fmla="*/ 28 w 33"/>
                <a:gd name="T25" fmla="*/ 21 h 61"/>
                <a:gd name="T26" fmla="*/ 23 w 33"/>
                <a:gd name="T27" fmla="*/ 11 h 61"/>
                <a:gd name="T28" fmla="*/ 21 w 33"/>
                <a:gd name="T29" fmla="*/ 9 h 61"/>
                <a:gd name="T30" fmla="*/ 18 w 33"/>
                <a:gd name="T31" fmla="*/ 7 h 61"/>
                <a:gd name="T32" fmla="*/ 16 w 33"/>
                <a:gd name="T33" fmla="*/ 0 h 61"/>
                <a:gd name="T34" fmla="*/ 14 w 33"/>
                <a:gd name="T35" fmla="*/ 4 h 61"/>
                <a:gd name="T36" fmla="*/ 14 w 33"/>
                <a:gd name="T37" fmla="*/ 7 h 61"/>
                <a:gd name="T38" fmla="*/ 14 w 33"/>
                <a:gd name="T39" fmla="*/ 7 h 61"/>
                <a:gd name="T40" fmla="*/ 14 w 33"/>
                <a:gd name="T41" fmla="*/ 11 h 61"/>
                <a:gd name="T42" fmla="*/ 14 w 33"/>
                <a:gd name="T43" fmla="*/ 16 h 61"/>
                <a:gd name="T44" fmla="*/ 14 w 33"/>
                <a:gd name="T45" fmla="*/ 18 h 61"/>
                <a:gd name="T46" fmla="*/ 18 w 33"/>
                <a:gd name="T47" fmla="*/ 14 h 61"/>
                <a:gd name="T48" fmla="*/ 18 w 33"/>
                <a:gd name="T49" fmla="*/ 16 h 61"/>
                <a:gd name="T50" fmla="*/ 18 w 33"/>
                <a:gd name="T51" fmla="*/ 18 h 61"/>
                <a:gd name="T52" fmla="*/ 11 w 33"/>
                <a:gd name="T53" fmla="*/ 25 h 61"/>
                <a:gd name="T54" fmla="*/ 7 w 33"/>
                <a:gd name="T55" fmla="*/ 30 h 61"/>
                <a:gd name="T56" fmla="*/ 9 w 33"/>
                <a:gd name="T57" fmla="*/ 33 h 61"/>
                <a:gd name="T58" fmla="*/ 9 w 33"/>
                <a:gd name="T59" fmla="*/ 33 h 61"/>
                <a:gd name="T60" fmla="*/ 11 w 33"/>
                <a:gd name="T61" fmla="*/ 35 h 61"/>
                <a:gd name="T62" fmla="*/ 9 w 33"/>
                <a:gd name="T63" fmla="*/ 37 h 61"/>
                <a:gd name="T64" fmla="*/ 9 w 33"/>
                <a:gd name="T65" fmla="*/ 37 h 61"/>
                <a:gd name="T66" fmla="*/ 7 w 33"/>
                <a:gd name="T67" fmla="*/ 37 h 61"/>
                <a:gd name="T68" fmla="*/ 4 w 33"/>
                <a:gd name="T69" fmla="*/ 40 h 61"/>
                <a:gd name="T70" fmla="*/ 2 w 33"/>
                <a:gd name="T71" fmla="*/ 47 h 61"/>
                <a:gd name="T72" fmla="*/ 4 w 33"/>
                <a:gd name="T73" fmla="*/ 47 h 61"/>
                <a:gd name="T74" fmla="*/ 4 w 33"/>
                <a:gd name="T75" fmla="*/ 47 h 61"/>
                <a:gd name="T76" fmla="*/ 2 w 33"/>
                <a:gd name="T77" fmla="*/ 58 h 61"/>
                <a:gd name="T78" fmla="*/ 2 w 33"/>
                <a:gd name="T7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 h="61">
                  <a:moveTo>
                    <a:pt x="9" y="56"/>
                  </a:moveTo>
                  <a:lnTo>
                    <a:pt x="9" y="56"/>
                  </a:lnTo>
                  <a:lnTo>
                    <a:pt x="11" y="51"/>
                  </a:lnTo>
                  <a:lnTo>
                    <a:pt x="14" y="51"/>
                  </a:lnTo>
                  <a:lnTo>
                    <a:pt x="14" y="51"/>
                  </a:lnTo>
                  <a:lnTo>
                    <a:pt x="14" y="49"/>
                  </a:lnTo>
                  <a:lnTo>
                    <a:pt x="11" y="47"/>
                  </a:lnTo>
                  <a:lnTo>
                    <a:pt x="11" y="47"/>
                  </a:lnTo>
                  <a:lnTo>
                    <a:pt x="11" y="44"/>
                  </a:lnTo>
                  <a:lnTo>
                    <a:pt x="11" y="42"/>
                  </a:lnTo>
                  <a:lnTo>
                    <a:pt x="14" y="44"/>
                  </a:lnTo>
                  <a:lnTo>
                    <a:pt x="21" y="42"/>
                  </a:lnTo>
                  <a:lnTo>
                    <a:pt x="21" y="42"/>
                  </a:lnTo>
                  <a:lnTo>
                    <a:pt x="23" y="40"/>
                  </a:lnTo>
                  <a:lnTo>
                    <a:pt x="23" y="37"/>
                  </a:lnTo>
                  <a:lnTo>
                    <a:pt x="23" y="37"/>
                  </a:lnTo>
                  <a:lnTo>
                    <a:pt x="28" y="35"/>
                  </a:lnTo>
                  <a:lnTo>
                    <a:pt x="28" y="33"/>
                  </a:lnTo>
                  <a:lnTo>
                    <a:pt x="30" y="33"/>
                  </a:lnTo>
                  <a:lnTo>
                    <a:pt x="33" y="30"/>
                  </a:lnTo>
                  <a:lnTo>
                    <a:pt x="30" y="30"/>
                  </a:lnTo>
                  <a:lnTo>
                    <a:pt x="30" y="30"/>
                  </a:lnTo>
                  <a:lnTo>
                    <a:pt x="28" y="28"/>
                  </a:lnTo>
                  <a:lnTo>
                    <a:pt x="28" y="25"/>
                  </a:lnTo>
                  <a:lnTo>
                    <a:pt x="28" y="23"/>
                  </a:lnTo>
                  <a:lnTo>
                    <a:pt x="28" y="21"/>
                  </a:lnTo>
                  <a:lnTo>
                    <a:pt x="28" y="18"/>
                  </a:lnTo>
                  <a:lnTo>
                    <a:pt x="23" y="11"/>
                  </a:lnTo>
                  <a:lnTo>
                    <a:pt x="23" y="11"/>
                  </a:lnTo>
                  <a:lnTo>
                    <a:pt x="21" y="9"/>
                  </a:lnTo>
                  <a:lnTo>
                    <a:pt x="18" y="9"/>
                  </a:lnTo>
                  <a:lnTo>
                    <a:pt x="18" y="7"/>
                  </a:lnTo>
                  <a:lnTo>
                    <a:pt x="18" y="2"/>
                  </a:lnTo>
                  <a:lnTo>
                    <a:pt x="16" y="0"/>
                  </a:lnTo>
                  <a:lnTo>
                    <a:pt x="14" y="2"/>
                  </a:lnTo>
                  <a:lnTo>
                    <a:pt x="14" y="4"/>
                  </a:lnTo>
                  <a:lnTo>
                    <a:pt x="11" y="4"/>
                  </a:lnTo>
                  <a:lnTo>
                    <a:pt x="14" y="7"/>
                  </a:lnTo>
                  <a:lnTo>
                    <a:pt x="14" y="7"/>
                  </a:lnTo>
                  <a:lnTo>
                    <a:pt x="14" y="7"/>
                  </a:lnTo>
                  <a:lnTo>
                    <a:pt x="14" y="9"/>
                  </a:lnTo>
                  <a:lnTo>
                    <a:pt x="14" y="11"/>
                  </a:lnTo>
                  <a:lnTo>
                    <a:pt x="11" y="16"/>
                  </a:lnTo>
                  <a:lnTo>
                    <a:pt x="14" y="16"/>
                  </a:lnTo>
                  <a:lnTo>
                    <a:pt x="11" y="18"/>
                  </a:lnTo>
                  <a:lnTo>
                    <a:pt x="14" y="18"/>
                  </a:lnTo>
                  <a:lnTo>
                    <a:pt x="14" y="18"/>
                  </a:lnTo>
                  <a:lnTo>
                    <a:pt x="18" y="14"/>
                  </a:lnTo>
                  <a:lnTo>
                    <a:pt x="18" y="16"/>
                  </a:lnTo>
                  <a:lnTo>
                    <a:pt x="18" y="16"/>
                  </a:lnTo>
                  <a:lnTo>
                    <a:pt x="18" y="18"/>
                  </a:lnTo>
                  <a:lnTo>
                    <a:pt x="18" y="18"/>
                  </a:lnTo>
                  <a:lnTo>
                    <a:pt x="16" y="21"/>
                  </a:lnTo>
                  <a:lnTo>
                    <a:pt x="11" y="25"/>
                  </a:lnTo>
                  <a:lnTo>
                    <a:pt x="9" y="30"/>
                  </a:lnTo>
                  <a:lnTo>
                    <a:pt x="7" y="30"/>
                  </a:lnTo>
                  <a:lnTo>
                    <a:pt x="9" y="33"/>
                  </a:lnTo>
                  <a:lnTo>
                    <a:pt x="9" y="33"/>
                  </a:lnTo>
                  <a:lnTo>
                    <a:pt x="9" y="33"/>
                  </a:lnTo>
                  <a:lnTo>
                    <a:pt x="9" y="33"/>
                  </a:lnTo>
                  <a:lnTo>
                    <a:pt x="11" y="33"/>
                  </a:lnTo>
                  <a:lnTo>
                    <a:pt x="11" y="35"/>
                  </a:lnTo>
                  <a:lnTo>
                    <a:pt x="11" y="35"/>
                  </a:lnTo>
                  <a:lnTo>
                    <a:pt x="9" y="37"/>
                  </a:lnTo>
                  <a:lnTo>
                    <a:pt x="9" y="40"/>
                  </a:lnTo>
                  <a:lnTo>
                    <a:pt x="9" y="37"/>
                  </a:lnTo>
                  <a:lnTo>
                    <a:pt x="7" y="37"/>
                  </a:lnTo>
                  <a:lnTo>
                    <a:pt x="7" y="37"/>
                  </a:lnTo>
                  <a:lnTo>
                    <a:pt x="4" y="37"/>
                  </a:lnTo>
                  <a:lnTo>
                    <a:pt x="4" y="40"/>
                  </a:lnTo>
                  <a:lnTo>
                    <a:pt x="4" y="42"/>
                  </a:lnTo>
                  <a:lnTo>
                    <a:pt x="2" y="47"/>
                  </a:lnTo>
                  <a:lnTo>
                    <a:pt x="2" y="47"/>
                  </a:lnTo>
                  <a:lnTo>
                    <a:pt x="4" y="47"/>
                  </a:lnTo>
                  <a:lnTo>
                    <a:pt x="4" y="47"/>
                  </a:lnTo>
                  <a:lnTo>
                    <a:pt x="4" y="47"/>
                  </a:lnTo>
                  <a:lnTo>
                    <a:pt x="4" y="54"/>
                  </a:lnTo>
                  <a:lnTo>
                    <a:pt x="2" y="58"/>
                  </a:lnTo>
                  <a:lnTo>
                    <a:pt x="0" y="61"/>
                  </a:lnTo>
                  <a:lnTo>
                    <a:pt x="2" y="61"/>
                  </a:lnTo>
                  <a:lnTo>
                    <a:pt x="9"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14" name="Freeform 332">
              <a:extLst>
                <a:ext uri="{FF2B5EF4-FFF2-40B4-BE49-F238E27FC236}">
                  <a16:creationId xmlns:a16="http://schemas.microsoft.com/office/drawing/2014/main" id="{AB32472E-1749-4697-A5CA-1EEEF96B8AB8}"/>
                </a:ext>
              </a:extLst>
            </p:cNvPr>
            <p:cNvSpPr>
              <a:spLocks/>
            </p:cNvSpPr>
            <p:nvPr/>
          </p:nvSpPr>
          <p:spPr bwMode="gray">
            <a:xfrm>
              <a:off x="-2142" y="-88"/>
              <a:ext cx="24" cy="21"/>
            </a:xfrm>
            <a:custGeom>
              <a:avLst/>
              <a:gdLst>
                <a:gd name="T0" fmla="*/ 7 w 24"/>
                <a:gd name="T1" fmla="*/ 19 h 21"/>
                <a:gd name="T2" fmla="*/ 9 w 24"/>
                <a:gd name="T3" fmla="*/ 19 h 21"/>
                <a:gd name="T4" fmla="*/ 12 w 24"/>
                <a:gd name="T5" fmla="*/ 21 h 21"/>
                <a:gd name="T6" fmla="*/ 21 w 24"/>
                <a:gd name="T7" fmla="*/ 19 h 21"/>
                <a:gd name="T8" fmla="*/ 24 w 24"/>
                <a:gd name="T9" fmla="*/ 14 h 21"/>
                <a:gd name="T10" fmla="*/ 21 w 24"/>
                <a:gd name="T11" fmla="*/ 12 h 21"/>
                <a:gd name="T12" fmla="*/ 16 w 24"/>
                <a:gd name="T13" fmla="*/ 7 h 21"/>
                <a:gd name="T14" fmla="*/ 14 w 24"/>
                <a:gd name="T15" fmla="*/ 2 h 21"/>
                <a:gd name="T16" fmla="*/ 14 w 24"/>
                <a:gd name="T17" fmla="*/ 2 h 21"/>
                <a:gd name="T18" fmla="*/ 12 w 24"/>
                <a:gd name="T19" fmla="*/ 0 h 21"/>
                <a:gd name="T20" fmla="*/ 12 w 24"/>
                <a:gd name="T21" fmla="*/ 2 h 21"/>
                <a:gd name="T22" fmla="*/ 9 w 24"/>
                <a:gd name="T23" fmla="*/ 2 h 21"/>
                <a:gd name="T24" fmla="*/ 9 w 24"/>
                <a:gd name="T25" fmla="*/ 5 h 21"/>
                <a:gd name="T26" fmla="*/ 12 w 24"/>
                <a:gd name="T27" fmla="*/ 7 h 21"/>
                <a:gd name="T28" fmla="*/ 9 w 24"/>
                <a:gd name="T29" fmla="*/ 9 h 21"/>
                <a:gd name="T30" fmla="*/ 9 w 24"/>
                <a:gd name="T31" fmla="*/ 9 h 21"/>
                <a:gd name="T32" fmla="*/ 7 w 24"/>
                <a:gd name="T33" fmla="*/ 5 h 21"/>
                <a:gd name="T34" fmla="*/ 7 w 24"/>
                <a:gd name="T35" fmla="*/ 5 h 21"/>
                <a:gd name="T36" fmla="*/ 7 w 24"/>
                <a:gd name="T37" fmla="*/ 5 h 21"/>
                <a:gd name="T38" fmla="*/ 7 w 24"/>
                <a:gd name="T39" fmla="*/ 5 h 21"/>
                <a:gd name="T40" fmla="*/ 5 w 24"/>
                <a:gd name="T41" fmla="*/ 5 h 21"/>
                <a:gd name="T42" fmla="*/ 5 w 24"/>
                <a:gd name="T43" fmla="*/ 5 h 21"/>
                <a:gd name="T44" fmla="*/ 5 w 24"/>
                <a:gd name="T45" fmla="*/ 2 h 21"/>
                <a:gd name="T46" fmla="*/ 2 w 24"/>
                <a:gd name="T47" fmla="*/ 2 h 21"/>
                <a:gd name="T48" fmla="*/ 2 w 24"/>
                <a:gd name="T49" fmla="*/ 2 h 21"/>
                <a:gd name="T50" fmla="*/ 2 w 24"/>
                <a:gd name="T51" fmla="*/ 2 h 21"/>
                <a:gd name="T52" fmla="*/ 2 w 24"/>
                <a:gd name="T53" fmla="*/ 5 h 21"/>
                <a:gd name="T54" fmla="*/ 0 w 24"/>
                <a:gd name="T55" fmla="*/ 7 h 21"/>
                <a:gd name="T56" fmla="*/ 0 w 24"/>
                <a:gd name="T57" fmla="*/ 9 h 21"/>
                <a:gd name="T58" fmla="*/ 2 w 24"/>
                <a:gd name="T59" fmla="*/ 12 h 21"/>
                <a:gd name="T60" fmla="*/ 7 w 24"/>
                <a:gd name="T61"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 h="21">
                  <a:moveTo>
                    <a:pt x="7" y="19"/>
                  </a:moveTo>
                  <a:lnTo>
                    <a:pt x="9" y="19"/>
                  </a:lnTo>
                  <a:lnTo>
                    <a:pt x="12" y="21"/>
                  </a:lnTo>
                  <a:lnTo>
                    <a:pt x="21" y="19"/>
                  </a:lnTo>
                  <a:lnTo>
                    <a:pt x="24" y="14"/>
                  </a:lnTo>
                  <a:lnTo>
                    <a:pt x="21" y="12"/>
                  </a:lnTo>
                  <a:lnTo>
                    <a:pt x="16" y="7"/>
                  </a:lnTo>
                  <a:lnTo>
                    <a:pt x="14" y="2"/>
                  </a:lnTo>
                  <a:lnTo>
                    <a:pt x="14" y="2"/>
                  </a:lnTo>
                  <a:lnTo>
                    <a:pt x="12" y="0"/>
                  </a:lnTo>
                  <a:lnTo>
                    <a:pt x="12" y="2"/>
                  </a:lnTo>
                  <a:lnTo>
                    <a:pt x="9" y="2"/>
                  </a:lnTo>
                  <a:lnTo>
                    <a:pt x="9" y="5"/>
                  </a:lnTo>
                  <a:lnTo>
                    <a:pt x="12" y="7"/>
                  </a:lnTo>
                  <a:lnTo>
                    <a:pt x="9" y="9"/>
                  </a:lnTo>
                  <a:lnTo>
                    <a:pt x="9" y="9"/>
                  </a:lnTo>
                  <a:lnTo>
                    <a:pt x="7" y="5"/>
                  </a:lnTo>
                  <a:lnTo>
                    <a:pt x="7" y="5"/>
                  </a:lnTo>
                  <a:lnTo>
                    <a:pt x="7" y="5"/>
                  </a:lnTo>
                  <a:lnTo>
                    <a:pt x="7" y="5"/>
                  </a:lnTo>
                  <a:lnTo>
                    <a:pt x="5" y="5"/>
                  </a:lnTo>
                  <a:lnTo>
                    <a:pt x="5" y="5"/>
                  </a:lnTo>
                  <a:lnTo>
                    <a:pt x="5" y="2"/>
                  </a:lnTo>
                  <a:lnTo>
                    <a:pt x="2" y="2"/>
                  </a:lnTo>
                  <a:lnTo>
                    <a:pt x="2" y="2"/>
                  </a:lnTo>
                  <a:lnTo>
                    <a:pt x="2" y="2"/>
                  </a:lnTo>
                  <a:lnTo>
                    <a:pt x="2" y="5"/>
                  </a:lnTo>
                  <a:lnTo>
                    <a:pt x="0" y="7"/>
                  </a:lnTo>
                  <a:lnTo>
                    <a:pt x="0" y="9"/>
                  </a:lnTo>
                  <a:lnTo>
                    <a:pt x="2" y="12"/>
                  </a:lnTo>
                  <a:lnTo>
                    <a:pt x="7"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15" name="Freeform 333">
              <a:extLst>
                <a:ext uri="{FF2B5EF4-FFF2-40B4-BE49-F238E27FC236}">
                  <a16:creationId xmlns:a16="http://schemas.microsoft.com/office/drawing/2014/main" id="{CC133899-04A5-4838-BA5E-28037E8039CD}"/>
                </a:ext>
              </a:extLst>
            </p:cNvPr>
            <p:cNvSpPr>
              <a:spLocks/>
            </p:cNvSpPr>
            <p:nvPr/>
          </p:nvSpPr>
          <p:spPr bwMode="gray">
            <a:xfrm>
              <a:off x="-2345" y="388"/>
              <a:ext cx="21" cy="23"/>
            </a:xfrm>
            <a:custGeom>
              <a:avLst/>
              <a:gdLst>
                <a:gd name="T0" fmla="*/ 0 w 21"/>
                <a:gd name="T1" fmla="*/ 9 h 23"/>
                <a:gd name="T2" fmla="*/ 0 w 21"/>
                <a:gd name="T3" fmla="*/ 12 h 23"/>
                <a:gd name="T4" fmla="*/ 0 w 21"/>
                <a:gd name="T5" fmla="*/ 14 h 23"/>
                <a:gd name="T6" fmla="*/ 2 w 21"/>
                <a:gd name="T7" fmla="*/ 14 h 23"/>
                <a:gd name="T8" fmla="*/ 2 w 21"/>
                <a:gd name="T9" fmla="*/ 16 h 23"/>
                <a:gd name="T10" fmla="*/ 5 w 21"/>
                <a:gd name="T11" fmla="*/ 16 h 23"/>
                <a:gd name="T12" fmla="*/ 7 w 21"/>
                <a:gd name="T13" fmla="*/ 16 h 23"/>
                <a:gd name="T14" fmla="*/ 7 w 21"/>
                <a:gd name="T15" fmla="*/ 16 h 23"/>
                <a:gd name="T16" fmla="*/ 7 w 21"/>
                <a:gd name="T17" fmla="*/ 16 h 23"/>
                <a:gd name="T18" fmla="*/ 7 w 21"/>
                <a:gd name="T19" fmla="*/ 16 h 23"/>
                <a:gd name="T20" fmla="*/ 9 w 21"/>
                <a:gd name="T21" fmla="*/ 16 h 23"/>
                <a:gd name="T22" fmla="*/ 9 w 21"/>
                <a:gd name="T23" fmla="*/ 21 h 23"/>
                <a:gd name="T24" fmla="*/ 9 w 21"/>
                <a:gd name="T25" fmla="*/ 23 h 23"/>
                <a:gd name="T26" fmla="*/ 12 w 21"/>
                <a:gd name="T27" fmla="*/ 23 h 23"/>
                <a:gd name="T28" fmla="*/ 14 w 21"/>
                <a:gd name="T29" fmla="*/ 21 h 23"/>
                <a:gd name="T30" fmla="*/ 17 w 21"/>
                <a:gd name="T31" fmla="*/ 21 h 23"/>
                <a:gd name="T32" fmla="*/ 19 w 21"/>
                <a:gd name="T33" fmla="*/ 23 h 23"/>
                <a:gd name="T34" fmla="*/ 19 w 21"/>
                <a:gd name="T35" fmla="*/ 21 h 23"/>
                <a:gd name="T36" fmla="*/ 19 w 21"/>
                <a:gd name="T37" fmla="*/ 19 h 23"/>
                <a:gd name="T38" fmla="*/ 17 w 21"/>
                <a:gd name="T39" fmla="*/ 16 h 23"/>
                <a:gd name="T40" fmla="*/ 17 w 21"/>
                <a:gd name="T41" fmla="*/ 16 h 23"/>
                <a:gd name="T42" fmla="*/ 21 w 21"/>
                <a:gd name="T43" fmla="*/ 9 h 23"/>
                <a:gd name="T44" fmla="*/ 21 w 21"/>
                <a:gd name="T45" fmla="*/ 7 h 23"/>
                <a:gd name="T46" fmla="*/ 21 w 21"/>
                <a:gd name="T47" fmla="*/ 0 h 23"/>
                <a:gd name="T48" fmla="*/ 21 w 21"/>
                <a:gd name="T49" fmla="*/ 0 h 23"/>
                <a:gd name="T50" fmla="*/ 19 w 21"/>
                <a:gd name="T51" fmla="*/ 0 h 23"/>
                <a:gd name="T52" fmla="*/ 19 w 21"/>
                <a:gd name="T53" fmla="*/ 0 h 23"/>
                <a:gd name="T54" fmla="*/ 17 w 21"/>
                <a:gd name="T55" fmla="*/ 0 h 23"/>
                <a:gd name="T56" fmla="*/ 17 w 21"/>
                <a:gd name="T57" fmla="*/ 0 h 23"/>
                <a:gd name="T58" fmla="*/ 17 w 21"/>
                <a:gd name="T59" fmla="*/ 2 h 23"/>
                <a:gd name="T60" fmla="*/ 17 w 21"/>
                <a:gd name="T61" fmla="*/ 2 h 23"/>
                <a:gd name="T62" fmla="*/ 17 w 21"/>
                <a:gd name="T63" fmla="*/ 2 h 23"/>
                <a:gd name="T64" fmla="*/ 17 w 21"/>
                <a:gd name="T65" fmla="*/ 2 h 23"/>
                <a:gd name="T66" fmla="*/ 14 w 21"/>
                <a:gd name="T67" fmla="*/ 0 h 23"/>
                <a:gd name="T68" fmla="*/ 9 w 21"/>
                <a:gd name="T69" fmla="*/ 2 h 23"/>
                <a:gd name="T70" fmla="*/ 9 w 21"/>
                <a:gd name="T71" fmla="*/ 2 h 23"/>
                <a:gd name="T72" fmla="*/ 9 w 21"/>
                <a:gd name="T73" fmla="*/ 2 h 23"/>
                <a:gd name="T74" fmla="*/ 9 w 21"/>
                <a:gd name="T75" fmla="*/ 2 h 23"/>
                <a:gd name="T76" fmla="*/ 9 w 21"/>
                <a:gd name="T77" fmla="*/ 4 h 23"/>
                <a:gd name="T78" fmla="*/ 7 w 21"/>
                <a:gd name="T79" fmla="*/ 2 h 23"/>
                <a:gd name="T80" fmla="*/ 7 w 21"/>
                <a:gd name="T81" fmla="*/ 2 h 23"/>
                <a:gd name="T82" fmla="*/ 7 w 21"/>
                <a:gd name="T83" fmla="*/ 2 h 23"/>
                <a:gd name="T84" fmla="*/ 7 w 21"/>
                <a:gd name="T85" fmla="*/ 2 h 23"/>
                <a:gd name="T86" fmla="*/ 5 w 21"/>
                <a:gd name="T87" fmla="*/ 4 h 23"/>
                <a:gd name="T88" fmla="*/ 5 w 21"/>
                <a:gd name="T89" fmla="*/ 4 h 23"/>
                <a:gd name="T90" fmla="*/ 5 w 21"/>
                <a:gd name="T91" fmla="*/ 7 h 23"/>
                <a:gd name="T92" fmla="*/ 7 w 21"/>
                <a:gd name="T93" fmla="*/ 9 h 23"/>
                <a:gd name="T94" fmla="*/ 7 w 21"/>
                <a:gd name="T95" fmla="*/ 9 h 23"/>
                <a:gd name="T96" fmla="*/ 0 w 21"/>
                <a:gd name="T97"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 h="23">
                  <a:moveTo>
                    <a:pt x="0" y="9"/>
                  </a:moveTo>
                  <a:lnTo>
                    <a:pt x="0" y="12"/>
                  </a:lnTo>
                  <a:lnTo>
                    <a:pt x="0" y="14"/>
                  </a:lnTo>
                  <a:lnTo>
                    <a:pt x="2" y="14"/>
                  </a:lnTo>
                  <a:lnTo>
                    <a:pt x="2" y="16"/>
                  </a:lnTo>
                  <a:lnTo>
                    <a:pt x="5" y="16"/>
                  </a:lnTo>
                  <a:lnTo>
                    <a:pt x="7" y="16"/>
                  </a:lnTo>
                  <a:lnTo>
                    <a:pt x="7" y="16"/>
                  </a:lnTo>
                  <a:lnTo>
                    <a:pt x="7" y="16"/>
                  </a:lnTo>
                  <a:lnTo>
                    <a:pt x="7" y="16"/>
                  </a:lnTo>
                  <a:lnTo>
                    <a:pt x="9" y="16"/>
                  </a:lnTo>
                  <a:lnTo>
                    <a:pt x="9" y="21"/>
                  </a:lnTo>
                  <a:lnTo>
                    <a:pt x="9" y="23"/>
                  </a:lnTo>
                  <a:lnTo>
                    <a:pt x="12" y="23"/>
                  </a:lnTo>
                  <a:lnTo>
                    <a:pt x="14" y="21"/>
                  </a:lnTo>
                  <a:lnTo>
                    <a:pt x="17" y="21"/>
                  </a:lnTo>
                  <a:lnTo>
                    <a:pt x="19" y="23"/>
                  </a:lnTo>
                  <a:lnTo>
                    <a:pt x="19" y="21"/>
                  </a:lnTo>
                  <a:lnTo>
                    <a:pt x="19" y="19"/>
                  </a:lnTo>
                  <a:lnTo>
                    <a:pt x="17" y="16"/>
                  </a:lnTo>
                  <a:lnTo>
                    <a:pt x="17" y="16"/>
                  </a:lnTo>
                  <a:lnTo>
                    <a:pt x="21" y="9"/>
                  </a:lnTo>
                  <a:lnTo>
                    <a:pt x="21" y="7"/>
                  </a:lnTo>
                  <a:lnTo>
                    <a:pt x="21" y="0"/>
                  </a:lnTo>
                  <a:lnTo>
                    <a:pt x="21" y="0"/>
                  </a:lnTo>
                  <a:lnTo>
                    <a:pt x="19" y="0"/>
                  </a:lnTo>
                  <a:lnTo>
                    <a:pt x="19" y="0"/>
                  </a:lnTo>
                  <a:lnTo>
                    <a:pt x="17" y="0"/>
                  </a:lnTo>
                  <a:lnTo>
                    <a:pt x="17" y="0"/>
                  </a:lnTo>
                  <a:lnTo>
                    <a:pt x="17" y="2"/>
                  </a:lnTo>
                  <a:lnTo>
                    <a:pt x="17" y="2"/>
                  </a:lnTo>
                  <a:lnTo>
                    <a:pt x="17" y="2"/>
                  </a:lnTo>
                  <a:lnTo>
                    <a:pt x="17" y="2"/>
                  </a:lnTo>
                  <a:lnTo>
                    <a:pt x="14" y="0"/>
                  </a:lnTo>
                  <a:lnTo>
                    <a:pt x="9" y="2"/>
                  </a:lnTo>
                  <a:lnTo>
                    <a:pt x="9" y="2"/>
                  </a:lnTo>
                  <a:lnTo>
                    <a:pt x="9" y="2"/>
                  </a:lnTo>
                  <a:lnTo>
                    <a:pt x="9" y="2"/>
                  </a:lnTo>
                  <a:lnTo>
                    <a:pt x="9" y="4"/>
                  </a:lnTo>
                  <a:lnTo>
                    <a:pt x="7" y="2"/>
                  </a:lnTo>
                  <a:lnTo>
                    <a:pt x="7" y="2"/>
                  </a:lnTo>
                  <a:lnTo>
                    <a:pt x="7" y="2"/>
                  </a:lnTo>
                  <a:lnTo>
                    <a:pt x="7" y="2"/>
                  </a:lnTo>
                  <a:lnTo>
                    <a:pt x="5" y="4"/>
                  </a:lnTo>
                  <a:lnTo>
                    <a:pt x="5" y="4"/>
                  </a:lnTo>
                  <a:lnTo>
                    <a:pt x="5" y="7"/>
                  </a:lnTo>
                  <a:lnTo>
                    <a:pt x="7" y="9"/>
                  </a:lnTo>
                  <a:lnTo>
                    <a:pt x="7" y="9"/>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16" name="Freeform 334">
              <a:extLst>
                <a:ext uri="{FF2B5EF4-FFF2-40B4-BE49-F238E27FC236}">
                  <a16:creationId xmlns:a16="http://schemas.microsoft.com/office/drawing/2014/main" id="{2C2D1CFB-8A04-4AE4-BF96-DC0EECB19B61}"/>
                </a:ext>
              </a:extLst>
            </p:cNvPr>
            <p:cNvSpPr>
              <a:spLocks/>
            </p:cNvSpPr>
            <p:nvPr/>
          </p:nvSpPr>
          <p:spPr bwMode="gray">
            <a:xfrm>
              <a:off x="-2352" y="402"/>
              <a:ext cx="16" cy="31"/>
            </a:xfrm>
            <a:custGeom>
              <a:avLst/>
              <a:gdLst>
                <a:gd name="T0" fmla="*/ 5 w 16"/>
                <a:gd name="T1" fmla="*/ 0 h 31"/>
                <a:gd name="T2" fmla="*/ 5 w 16"/>
                <a:gd name="T3" fmla="*/ 0 h 31"/>
                <a:gd name="T4" fmla="*/ 2 w 16"/>
                <a:gd name="T5" fmla="*/ 0 h 31"/>
                <a:gd name="T6" fmla="*/ 2 w 16"/>
                <a:gd name="T7" fmla="*/ 0 h 31"/>
                <a:gd name="T8" fmla="*/ 2 w 16"/>
                <a:gd name="T9" fmla="*/ 0 h 31"/>
                <a:gd name="T10" fmla="*/ 2 w 16"/>
                <a:gd name="T11" fmla="*/ 0 h 31"/>
                <a:gd name="T12" fmla="*/ 0 w 16"/>
                <a:gd name="T13" fmla="*/ 2 h 31"/>
                <a:gd name="T14" fmla="*/ 2 w 16"/>
                <a:gd name="T15" fmla="*/ 2 h 31"/>
                <a:gd name="T16" fmla="*/ 2 w 16"/>
                <a:gd name="T17" fmla="*/ 2 h 31"/>
                <a:gd name="T18" fmla="*/ 2 w 16"/>
                <a:gd name="T19" fmla="*/ 5 h 31"/>
                <a:gd name="T20" fmla="*/ 0 w 16"/>
                <a:gd name="T21" fmla="*/ 9 h 31"/>
                <a:gd name="T22" fmla="*/ 0 w 16"/>
                <a:gd name="T23" fmla="*/ 9 h 31"/>
                <a:gd name="T24" fmla="*/ 0 w 16"/>
                <a:gd name="T25" fmla="*/ 12 h 31"/>
                <a:gd name="T26" fmla="*/ 0 w 16"/>
                <a:gd name="T27" fmla="*/ 12 h 31"/>
                <a:gd name="T28" fmla="*/ 0 w 16"/>
                <a:gd name="T29" fmla="*/ 14 h 31"/>
                <a:gd name="T30" fmla="*/ 0 w 16"/>
                <a:gd name="T31" fmla="*/ 16 h 31"/>
                <a:gd name="T32" fmla="*/ 2 w 16"/>
                <a:gd name="T33" fmla="*/ 16 h 31"/>
                <a:gd name="T34" fmla="*/ 2 w 16"/>
                <a:gd name="T35" fmla="*/ 21 h 31"/>
                <a:gd name="T36" fmla="*/ 2 w 16"/>
                <a:gd name="T37" fmla="*/ 23 h 31"/>
                <a:gd name="T38" fmla="*/ 2 w 16"/>
                <a:gd name="T39" fmla="*/ 26 h 31"/>
                <a:gd name="T40" fmla="*/ 5 w 16"/>
                <a:gd name="T41" fmla="*/ 26 h 31"/>
                <a:gd name="T42" fmla="*/ 5 w 16"/>
                <a:gd name="T43" fmla="*/ 26 h 31"/>
                <a:gd name="T44" fmla="*/ 7 w 16"/>
                <a:gd name="T45" fmla="*/ 28 h 31"/>
                <a:gd name="T46" fmla="*/ 7 w 16"/>
                <a:gd name="T47" fmla="*/ 26 h 31"/>
                <a:gd name="T48" fmla="*/ 7 w 16"/>
                <a:gd name="T49" fmla="*/ 26 h 31"/>
                <a:gd name="T50" fmla="*/ 7 w 16"/>
                <a:gd name="T51" fmla="*/ 26 h 31"/>
                <a:gd name="T52" fmla="*/ 9 w 16"/>
                <a:gd name="T53" fmla="*/ 26 h 31"/>
                <a:gd name="T54" fmla="*/ 9 w 16"/>
                <a:gd name="T55" fmla="*/ 26 h 31"/>
                <a:gd name="T56" fmla="*/ 9 w 16"/>
                <a:gd name="T57" fmla="*/ 26 h 31"/>
                <a:gd name="T58" fmla="*/ 9 w 16"/>
                <a:gd name="T59" fmla="*/ 28 h 31"/>
                <a:gd name="T60" fmla="*/ 9 w 16"/>
                <a:gd name="T61" fmla="*/ 28 h 31"/>
                <a:gd name="T62" fmla="*/ 7 w 16"/>
                <a:gd name="T63" fmla="*/ 28 h 31"/>
                <a:gd name="T64" fmla="*/ 7 w 16"/>
                <a:gd name="T65" fmla="*/ 28 h 31"/>
                <a:gd name="T66" fmla="*/ 7 w 16"/>
                <a:gd name="T67" fmla="*/ 28 h 31"/>
                <a:gd name="T68" fmla="*/ 9 w 16"/>
                <a:gd name="T69" fmla="*/ 31 h 31"/>
                <a:gd name="T70" fmla="*/ 12 w 16"/>
                <a:gd name="T71" fmla="*/ 31 h 31"/>
                <a:gd name="T72" fmla="*/ 16 w 16"/>
                <a:gd name="T73" fmla="*/ 26 h 31"/>
                <a:gd name="T74" fmla="*/ 16 w 16"/>
                <a:gd name="T75" fmla="*/ 23 h 31"/>
                <a:gd name="T76" fmla="*/ 16 w 16"/>
                <a:gd name="T77" fmla="*/ 21 h 31"/>
                <a:gd name="T78" fmla="*/ 16 w 16"/>
                <a:gd name="T79" fmla="*/ 16 h 31"/>
                <a:gd name="T80" fmla="*/ 16 w 16"/>
                <a:gd name="T81" fmla="*/ 16 h 31"/>
                <a:gd name="T82" fmla="*/ 14 w 16"/>
                <a:gd name="T83" fmla="*/ 12 h 31"/>
                <a:gd name="T84" fmla="*/ 12 w 16"/>
                <a:gd name="T85" fmla="*/ 9 h 31"/>
                <a:gd name="T86" fmla="*/ 12 w 16"/>
                <a:gd name="T87" fmla="*/ 5 h 31"/>
                <a:gd name="T88" fmla="*/ 9 w 16"/>
                <a:gd name="T89" fmla="*/ 2 h 31"/>
                <a:gd name="T90" fmla="*/ 5 w 16"/>
                <a:gd name="T91" fmla="*/ 2 h 31"/>
                <a:gd name="T92" fmla="*/ 5 w 16"/>
                <a:gd name="T9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 h="31">
                  <a:moveTo>
                    <a:pt x="5" y="0"/>
                  </a:moveTo>
                  <a:lnTo>
                    <a:pt x="5" y="0"/>
                  </a:lnTo>
                  <a:lnTo>
                    <a:pt x="2" y="0"/>
                  </a:lnTo>
                  <a:lnTo>
                    <a:pt x="2" y="0"/>
                  </a:lnTo>
                  <a:lnTo>
                    <a:pt x="2" y="0"/>
                  </a:lnTo>
                  <a:lnTo>
                    <a:pt x="2" y="0"/>
                  </a:lnTo>
                  <a:lnTo>
                    <a:pt x="0" y="2"/>
                  </a:lnTo>
                  <a:lnTo>
                    <a:pt x="2" y="2"/>
                  </a:lnTo>
                  <a:lnTo>
                    <a:pt x="2" y="2"/>
                  </a:lnTo>
                  <a:lnTo>
                    <a:pt x="2" y="5"/>
                  </a:lnTo>
                  <a:lnTo>
                    <a:pt x="0" y="9"/>
                  </a:lnTo>
                  <a:lnTo>
                    <a:pt x="0" y="9"/>
                  </a:lnTo>
                  <a:lnTo>
                    <a:pt x="0" y="12"/>
                  </a:lnTo>
                  <a:lnTo>
                    <a:pt x="0" y="12"/>
                  </a:lnTo>
                  <a:lnTo>
                    <a:pt x="0" y="14"/>
                  </a:lnTo>
                  <a:lnTo>
                    <a:pt x="0" y="16"/>
                  </a:lnTo>
                  <a:lnTo>
                    <a:pt x="2" y="16"/>
                  </a:lnTo>
                  <a:lnTo>
                    <a:pt x="2" y="21"/>
                  </a:lnTo>
                  <a:lnTo>
                    <a:pt x="2" y="23"/>
                  </a:lnTo>
                  <a:lnTo>
                    <a:pt x="2" y="26"/>
                  </a:lnTo>
                  <a:lnTo>
                    <a:pt x="5" y="26"/>
                  </a:lnTo>
                  <a:lnTo>
                    <a:pt x="5" y="26"/>
                  </a:lnTo>
                  <a:lnTo>
                    <a:pt x="7" y="28"/>
                  </a:lnTo>
                  <a:lnTo>
                    <a:pt x="7" y="26"/>
                  </a:lnTo>
                  <a:lnTo>
                    <a:pt x="7" y="26"/>
                  </a:lnTo>
                  <a:lnTo>
                    <a:pt x="7" y="26"/>
                  </a:lnTo>
                  <a:lnTo>
                    <a:pt x="9" y="26"/>
                  </a:lnTo>
                  <a:lnTo>
                    <a:pt x="9" y="26"/>
                  </a:lnTo>
                  <a:lnTo>
                    <a:pt x="9" y="26"/>
                  </a:lnTo>
                  <a:lnTo>
                    <a:pt x="9" y="28"/>
                  </a:lnTo>
                  <a:lnTo>
                    <a:pt x="9" y="28"/>
                  </a:lnTo>
                  <a:lnTo>
                    <a:pt x="7" y="28"/>
                  </a:lnTo>
                  <a:lnTo>
                    <a:pt x="7" y="28"/>
                  </a:lnTo>
                  <a:lnTo>
                    <a:pt x="7" y="28"/>
                  </a:lnTo>
                  <a:lnTo>
                    <a:pt x="9" y="31"/>
                  </a:lnTo>
                  <a:lnTo>
                    <a:pt x="12" y="31"/>
                  </a:lnTo>
                  <a:lnTo>
                    <a:pt x="16" y="26"/>
                  </a:lnTo>
                  <a:lnTo>
                    <a:pt x="16" y="23"/>
                  </a:lnTo>
                  <a:lnTo>
                    <a:pt x="16" y="21"/>
                  </a:lnTo>
                  <a:lnTo>
                    <a:pt x="16" y="16"/>
                  </a:lnTo>
                  <a:lnTo>
                    <a:pt x="16" y="16"/>
                  </a:lnTo>
                  <a:lnTo>
                    <a:pt x="14" y="12"/>
                  </a:lnTo>
                  <a:lnTo>
                    <a:pt x="12" y="9"/>
                  </a:lnTo>
                  <a:lnTo>
                    <a:pt x="12" y="5"/>
                  </a:lnTo>
                  <a:lnTo>
                    <a:pt x="9" y="2"/>
                  </a:lnTo>
                  <a:lnTo>
                    <a:pt x="5" y="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17" name="Freeform 335">
              <a:extLst>
                <a:ext uri="{FF2B5EF4-FFF2-40B4-BE49-F238E27FC236}">
                  <a16:creationId xmlns:a16="http://schemas.microsoft.com/office/drawing/2014/main" id="{B6AEB6D4-DD13-4A02-9B06-E52779FE01FE}"/>
                </a:ext>
              </a:extLst>
            </p:cNvPr>
            <p:cNvSpPr>
              <a:spLocks/>
            </p:cNvSpPr>
            <p:nvPr/>
          </p:nvSpPr>
          <p:spPr bwMode="gray">
            <a:xfrm>
              <a:off x="-2359" y="480"/>
              <a:ext cx="12" cy="37"/>
            </a:xfrm>
            <a:custGeom>
              <a:avLst/>
              <a:gdLst>
                <a:gd name="T0" fmla="*/ 0 w 12"/>
                <a:gd name="T1" fmla="*/ 23 h 37"/>
                <a:gd name="T2" fmla="*/ 0 w 12"/>
                <a:gd name="T3" fmla="*/ 26 h 37"/>
                <a:gd name="T4" fmla="*/ 0 w 12"/>
                <a:gd name="T5" fmla="*/ 30 h 37"/>
                <a:gd name="T6" fmla="*/ 2 w 12"/>
                <a:gd name="T7" fmla="*/ 33 h 37"/>
                <a:gd name="T8" fmla="*/ 2 w 12"/>
                <a:gd name="T9" fmla="*/ 35 h 37"/>
                <a:gd name="T10" fmla="*/ 2 w 12"/>
                <a:gd name="T11" fmla="*/ 37 h 37"/>
                <a:gd name="T12" fmla="*/ 5 w 12"/>
                <a:gd name="T13" fmla="*/ 37 h 37"/>
                <a:gd name="T14" fmla="*/ 7 w 12"/>
                <a:gd name="T15" fmla="*/ 35 h 37"/>
                <a:gd name="T16" fmla="*/ 9 w 12"/>
                <a:gd name="T17" fmla="*/ 33 h 37"/>
                <a:gd name="T18" fmla="*/ 9 w 12"/>
                <a:gd name="T19" fmla="*/ 28 h 37"/>
                <a:gd name="T20" fmla="*/ 12 w 12"/>
                <a:gd name="T21" fmla="*/ 26 h 37"/>
                <a:gd name="T22" fmla="*/ 12 w 12"/>
                <a:gd name="T23" fmla="*/ 21 h 37"/>
                <a:gd name="T24" fmla="*/ 9 w 12"/>
                <a:gd name="T25" fmla="*/ 18 h 37"/>
                <a:gd name="T26" fmla="*/ 9 w 12"/>
                <a:gd name="T27" fmla="*/ 16 h 37"/>
                <a:gd name="T28" fmla="*/ 9 w 12"/>
                <a:gd name="T29" fmla="*/ 16 h 37"/>
                <a:gd name="T30" fmla="*/ 7 w 12"/>
                <a:gd name="T31" fmla="*/ 16 h 37"/>
                <a:gd name="T32" fmla="*/ 7 w 12"/>
                <a:gd name="T33" fmla="*/ 14 h 37"/>
                <a:gd name="T34" fmla="*/ 9 w 12"/>
                <a:gd name="T35" fmla="*/ 14 h 37"/>
                <a:gd name="T36" fmla="*/ 9 w 12"/>
                <a:gd name="T37" fmla="*/ 11 h 37"/>
                <a:gd name="T38" fmla="*/ 9 w 12"/>
                <a:gd name="T39" fmla="*/ 11 h 37"/>
                <a:gd name="T40" fmla="*/ 7 w 12"/>
                <a:gd name="T41" fmla="*/ 9 h 37"/>
                <a:gd name="T42" fmla="*/ 7 w 12"/>
                <a:gd name="T43" fmla="*/ 9 h 37"/>
                <a:gd name="T44" fmla="*/ 7 w 12"/>
                <a:gd name="T45" fmla="*/ 9 h 37"/>
                <a:gd name="T46" fmla="*/ 5 w 12"/>
                <a:gd name="T47" fmla="*/ 4 h 37"/>
                <a:gd name="T48" fmla="*/ 2 w 12"/>
                <a:gd name="T49" fmla="*/ 0 h 37"/>
                <a:gd name="T50" fmla="*/ 2 w 12"/>
                <a:gd name="T51" fmla="*/ 0 h 37"/>
                <a:gd name="T52" fmla="*/ 2 w 12"/>
                <a:gd name="T53" fmla="*/ 2 h 37"/>
                <a:gd name="T54" fmla="*/ 2 w 12"/>
                <a:gd name="T55" fmla="*/ 4 h 37"/>
                <a:gd name="T56" fmla="*/ 2 w 12"/>
                <a:gd name="T57" fmla="*/ 4 h 37"/>
                <a:gd name="T58" fmla="*/ 2 w 12"/>
                <a:gd name="T59" fmla="*/ 7 h 37"/>
                <a:gd name="T60" fmla="*/ 2 w 12"/>
                <a:gd name="T61" fmla="*/ 7 h 37"/>
                <a:gd name="T62" fmla="*/ 0 w 12"/>
                <a:gd name="T63" fmla="*/ 9 h 37"/>
                <a:gd name="T64" fmla="*/ 0 w 12"/>
                <a:gd name="T65" fmla="*/ 9 h 37"/>
                <a:gd name="T66" fmla="*/ 2 w 12"/>
                <a:gd name="T67" fmla="*/ 11 h 37"/>
                <a:gd name="T68" fmla="*/ 5 w 12"/>
                <a:gd name="T69" fmla="*/ 16 h 37"/>
                <a:gd name="T70" fmla="*/ 2 w 12"/>
                <a:gd name="T71" fmla="*/ 16 h 37"/>
                <a:gd name="T72" fmla="*/ 0 w 12"/>
                <a:gd name="T73" fmla="*/ 18 h 37"/>
                <a:gd name="T74" fmla="*/ 0 w 12"/>
                <a:gd name="T75" fmla="*/ 18 h 37"/>
                <a:gd name="T76" fmla="*/ 0 w 12"/>
                <a:gd name="T77" fmla="*/ 21 h 37"/>
                <a:gd name="T78" fmla="*/ 0 w 12"/>
                <a:gd name="T79"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 h="37">
                  <a:moveTo>
                    <a:pt x="0" y="23"/>
                  </a:moveTo>
                  <a:lnTo>
                    <a:pt x="0" y="26"/>
                  </a:lnTo>
                  <a:lnTo>
                    <a:pt x="0" y="30"/>
                  </a:lnTo>
                  <a:lnTo>
                    <a:pt x="2" y="33"/>
                  </a:lnTo>
                  <a:lnTo>
                    <a:pt x="2" y="35"/>
                  </a:lnTo>
                  <a:lnTo>
                    <a:pt x="2" y="37"/>
                  </a:lnTo>
                  <a:lnTo>
                    <a:pt x="5" y="37"/>
                  </a:lnTo>
                  <a:lnTo>
                    <a:pt x="7" y="35"/>
                  </a:lnTo>
                  <a:lnTo>
                    <a:pt x="9" y="33"/>
                  </a:lnTo>
                  <a:lnTo>
                    <a:pt x="9" y="28"/>
                  </a:lnTo>
                  <a:lnTo>
                    <a:pt x="12" y="26"/>
                  </a:lnTo>
                  <a:lnTo>
                    <a:pt x="12" y="21"/>
                  </a:lnTo>
                  <a:lnTo>
                    <a:pt x="9" y="18"/>
                  </a:lnTo>
                  <a:lnTo>
                    <a:pt x="9" y="16"/>
                  </a:lnTo>
                  <a:lnTo>
                    <a:pt x="9" y="16"/>
                  </a:lnTo>
                  <a:lnTo>
                    <a:pt x="7" y="16"/>
                  </a:lnTo>
                  <a:lnTo>
                    <a:pt x="7" y="14"/>
                  </a:lnTo>
                  <a:lnTo>
                    <a:pt x="9" y="14"/>
                  </a:lnTo>
                  <a:lnTo>
                    <a:pt x="9" y="11"/>
                  </a:lnTo>
                  <a:lnTo>
                    <a:pt x="9" y="11"/>
                  </a:lnTo>
                  <a:lnTo>
                    <a:pt x="7" y="9"/>
                  </a:lnTo>
                  <a:lnTo>
                    <a:pt x="7" y="9"/>
                  </a:lnTo>
                  <a:lnTo>
                    <a:pt x="7" y="9"/>
                  </a:lnTo>
                  <a:lnTo>
                    <a:pt x="5" y="4"/>
                  </a:lnTo>
                  <a:lnTo>
                    <a:pt x="2" y="0"/>
                  </a:lnTo>
                  <a:lnTo>
                    <a:pt x="2" y="0"/>
                  </a:lnTo>
                  <a:lnTo>
                    <a:pt x="2" y="2"/>
                  </a:lnTo>
                  <a:lnTo>
                    <a:pt x="2" y="4"/>
                  </a:lnTo>
                  <a:lnTo>
                    <a:pt x="2" y="4"/>
                  </a:lnTo>
                  <a:lnTo>
                    <a:pt x="2" y="7"/>
                  </a:lnTo>
                  <a:lnTo>
                    <a:pt x="2" y="7"/>
                  </a:lnTo>
                  <a:lnTo>
                    <a:pt x="0" y="9"/>
                  </a:lnTo>
                  <a:lnTo>
                    <a:pt x="0" y="9"/>
                  </a:lnTo>
                  <a:lnTo>
                    <a:pt x="2" y="11"/>
                  </a:lnTo>
                  <a:lnTo>
                    <a:pt x="5" y="16"/>
                  </a:lnTo>
                  <a:lnTo>
                    <a:pt x="2" y="16"/>
                  </a:lnTo>
                  <a:lnTo>
                    <a:pt x="0" y="18"/>
                  </a:lnTo>
                  <a:lnTo>
                    <a:pt x="0" y="18"/>
                  </a:lnTo>
                  <a:lnTo>
                    <a:pt x="0" y="21"/>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18" name="Freeform 336">
              <a:extLst>
                <a:ext uri="{FF2B5EF4-FFF2-40B4-BE49-F238E27FC236}">
                  <a16:creationId xmlns:a16="http://schemas.microsoft.com/office/drawing/2014/main" id="{15D4D756-BAD2-40EA-8667-E6F17FD5B899}"/>
                </a:ext>
              </a:extLst>
            </p:cNvPr>
            <p:cNvSpPr>
              <a:spLocks/>
            </p:cNvSpPr>
            <p:nvPr/>
          </p:nvSpPr>
          <p:spPr bwMode="gray">
            <a:xfrm>
              <a:off x="-2366" y="416"/>
              <a:ext cx="19" cy="38"/>
            </a:xfrm>
            <a:custGeom>
              <a:avLst/>
              <a:gdLst>
                <a:gd name="T0" fmla="*/ 7 w 19"/>
                <a:gd name="T1" fmla="*/ 38 h 38"/>
                <a:gd name="T2" fmla="*/ 9 w 19"/>
                <a:gd name="T3" fmla="*/ 38 h 38"/>
                <a:gd name="T4" fmla="*/ 9 w 19"/>
                <a:gd name="T5" fmla="*/ 35 h 38"/>
                <a:gd name="T6" fmla="*/ 9 w 19"/>
                <a:gd name="T7" fmla="*/ 33 h 38"/>
                <a:gd name="T8" fmla="*/ 9 w 19"/>
                <a:gd name="T9" fmla="*/ 31 h 38"/>
                <a:gd name="T10" fmla="*/ 9 w 19"/>
                <a:gd name="T11" fmla="*/ 28 h 38"/>
                <a:gd name="T12" fmla="*/ 9 w 19"/>
                <a:gd name="T13" fmla="*/ 28 h 38"/>
                <a:gd name="T14" fmla="*/ 7 w 19"/>
                <a:gd name="T15" fmla="*/ 31 h 38"/>
                <a:gd name="T16" fmla="*/ 7 w 19"/>
                <a:gd name="T17" fmla="*/ 26 h 38"/>
                <a:gd name="T18" fmla="*/ 9 w 19"/>
                <a:gd name="T19" fmla="*/ 21 h 38"/>
                <a:gd name="T20" fmla="*/ 9 w 19"/>
                <a:gd name="T21" fmla="*/ 19 h 38"/>
                <a:gd name="T22" fmla="*/ 9 w 19"/>
                <a:gd name="T23" fmla="*/ 17 h 38"/>
                <a:gd name="T24" fmla="*/ 9 w 19"/>
                <a:gd name="T25" fmla="*/ 17 h 38"/>
                <a:gd name="T26" fmla="*/ 12 w 19"/>
                <a:gd name="T27" fmla="*/ 17 h 38"/>
                <a:gd name="T28" fmla="*/ 14 w 19"/>
                <a:gd name="T29" fmla="*/ 19 h 38"/>
                <a:gd name="T30" fmla="*/ 14 w 19"/>
                <a:gd name="T31" fmla="*/ 17 h 38"/>
                <a:gd name="T32" fmla="*/ 16 w 19"/>
                <a:gd name="T33" fmla="*/ 19 h 38"/>
                <a:gd name="T34" fmla="*/ 16 w 19"/>
                <a:gd name="T35" fmla="*/ 24 h 38"/>
                <a:gd name="T36" fmla="*/ 14 w 19"/>
                <a:gd name="T37" fmla="*/ 26 h 38"/>
                <a:gd name="T38" fmla="*/ 16 w 19"/>
                <a:gd name="T39" fmla="*/ 26 h 38"/>
                <a:gd name="T40" fmla="*/ 19 w 19"/>
                <a:gd name="T41" fmla="*/ 24 h 38"/>
                <a:gd name="T42" fmla="*/ 19 w 19"/>
                <a:gd name="T43" fmla="*/ 17 h 38"/>
                <a:gd name="T44" fmla="*/ 16 w 19"/>
                <a:gd name="T45" fmla="*/ 14 h 38"/>
                <a:gd name="T46" fmla="*/ 14 w 19"/>
                <a:gd name="T47" fmla="*/ 9 h 38"/>
                <a:gd name="T48" fmla="*/ 12 w 19"/>
                <a:gd name="T49" fmla="*/ 9 h 38"/>
                <a:gd name="T50" fmla="*/ 12 w 19"/>
                <a:gd name="T51" fmla="*/ 7 h 38"/>
                <a:gd name="T52" fmla="*/ 9 w 19"/>
                <a:gd name="T53" fmla="*/ 5 h 38"/>
                <a:gd name="T54" fmla="*/ 9 w 19"/>
                <a:gd name="T55" fmla="*/ 5 h 38"/>
                <a:gd name="T56" fmla="*/ 7 w 19"/>
                <a:gd name="T57" fmla="*/ 2 h 38"/>
                <a:gd name="T58" fmla="*/ 4 w 19"/>
                <a:gd name="T59" fmla="*/ 0 h 38"/>
                <a:gd name="T60" fmla="*/ 2 w 19"/>
                <a:gd name="T61" fmla="*/ 0 h 38"/>
                <a:gd name="T62" fmla="*/ 7 w 19"/>
                <a:gd name="T63" fmla="*/ 7 h 38"/>
                <a:gd name="T64" fmla="*/ 4 w 19"/>
                <a:gd name="T65" fmla="*/ 5 h 38"/>
                <a:gd name="T66" fmla="*/ 4 w 19"/>
                <a:gd name="T67" fmla="*/ 7 h 38"/>
                <a:gd name="T68" fmla="*/ 2 w 19"/>
                <a:gd name="T69" fmla="*/ 7 h 38"/>
                <a:gd name="T70" fmla="*/ 2 w 19"/>
                <a:gd name="T71" fmla="*/ 9 h 38"/>
                <a:gd name="T72" fmla="*/ 0 w 19"/>
                <a:gd name="T73" fmla="*/ 12 h 38"/>
                <a:gd name="T74" fmla="*/ 2 w 19"/>
                <a:gd name="T75" fmla="*/ 17 h 38"/>
                <a:gd name="T76" fmla="*/ 4 w 19"/>
                <a:gd name="T77" fmla="*/ 12 h 38"/>
                <a:gd name="T78" fmla="*/ 4 w 19"/>
                <a:gd name="T79" fmla="*/ 17 h 38"/>
                <a:gd name="T80" fmla="*/ 7 w 19"/>
                <a:gd name="T81" fmla="*/ 19 h 38"/>
                <a:gd name="T82" fmla="*/ 4 w 19"/>
                <a:gd name="T83" fmla="*/ 26 h 38"/>
                <a:gd name="T84" fmla="*/ 4 w 19"/>
                <a:gd name="T85" fmla="*/ 33 h 38"/>
                <a:gd name="T86" fmla="*/ 4 w 19"/>
                <a:gd name="T87" fmla="*/ 38 h 38"/>
                <a:gd name="T88" fmla="*/ 7 w 19"/>
                <a:gd name="T8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 h="38">
                  <a:moveTo>
                    <a:pt x="7" y="38"/>
                  </a:moveTo>
                  <a:lnTo>
                    <a:pt x="7" y="38"/>
                  </a:lnTo>
                  <a:lnTo>
                    <a:pt x="9" y="38"/>
                  </a:lnTo>
                  <a:lnTo>
                    <a:pt x="9" y="38"/>
                  </a:lnTo>
                  <a:lnTo>
                    <a:pt x="9" y="38"/>
                  </a:lnTo>
                  <a:lnTo>
                    <a:pt x="9" y="35"/>
                  </a:lnTo>
                  <a:lnTo>
                    <a:pt x="9" y="35"/>
                  </a:lnTo>
                  <a:lnTo>
                    <a:pt x="9" y="33"/>
                  </a:lnTo>
                  <a:lnTo>
                    <a:pt x="9" y="33"/>
                  </a:lnTo>
                  <a:lnTo>
                    <a:pt x="9" y="31"/>
                  </a:lnTo>
                  <a:lnTo>
                    <a:pt x="9" y="31"/>
                  </a:lnTo>
                  <a:lnTo>
                    <a:pt x="9" y="28"/>
                  </a:lnTo>
                  <a:lnTo>
                    <a:pt x="9" y="26"/>
                  </a:lnTo>
                  <a:lnTo>
                    <a:pt x="9" y="28"/>
                  </a:lnTo>
                  <a:lnTo>
                    <a:pt x="7" y="28"/>
                  </a:lnTo>
                  <a:lnTo>
                    <a:pt x="7" y="31"/>
                  </a:lnTo>
                  <a:lnTo>
                    <a:pt x="7" y="28"/>
                  </a:lnTo>
                  <a:lnTo>
                    <a:pt x="7" y="26"/>
                  </a:lnTo>
                  <a:lnTo>
                    <a:pt x="9" y="24"/>
                  </a:lnTo>
                  <a:lnTo>
                    <a:pt x="9" y="21"/>
                  </a:lnTo>
                  <a:lnTo>
                    <a:pt x="9" y="21"/>
                  </a:lnTo>
                  <a:lnTo>
                    <a:pt x="9" y="19"/>
                  </a:lnTo>
                  <a:lnTo>
                    <a:pt x="9" y="19"/>
                  </a:lnTo>
                  <a:lnTo>
                    <a:pt x="9" y="17"/>
                  </a:lnTo>
                  <a:lnTo>
                    <a:pt x="9" y="17"/>
                  </a:lnTo>
                  <a:lnTo>
                    <a:pt x="9" y="17"/>
                  </a:lnTo>
                  <a:lnTo>
                    <a:pt x="12" y="17"/>
                  </a:lnTo>
                  <a:lnTo>
                    <a:pt x="12" y="17"/>
                  </a:lnTo>
                  <a:lnTo>
                    <a:pt x="12" y="19"/>
                  </a:lnTo>
                  <a:lnTo>
                    <a:pt x="14" y="19"/>
                  </a:lnTo>
                  <a:lnTo>
                    <a:pt x="14" y="19"/>
                  </a:lnTo>
                  <a:lnTo>
                    <a:pt x="14" y="17"/>
                  </a:lnTo>
                  <a:lnTo>
                    <a:pt x="16" y="17"/>
                  </a:lnTo>
                  <a:lnTo>
                    <a:pt x="16" y="19"/>
                  </a:lnTo>
                  <a:lnTo>
                    <a:pt x="16" y="21"/>
                  </a:lnTo>
                  <a:lnTo>
                    <a:pt x="16" y="24"/>
                  </a:lnTo>
                  <a:lnTo>
                    <a:pt x="16" y="26"/>
                  </a:lnTo>
                  <a:lnTo>
                    <a:pt x="14" y="26"/>
                  </a:lnTo>
                  <a:lnTo>
                    <a:pt x="14" y="26"/>
                  </a:lnTo>
                  <a:lnTo>
                    <a:pt x="16" y="26"/>
                  </a:lnTo>
                  <a:lnTo>
                    <a:pt x="16" y="26"/>
                  </a:lnTo>
                  <a:lnTo>
                    <a:pt x="19" y="24"/>
                  </a:lnTo>
                  <a:lnTo>
                    <a:pt x="19" y="21"/>
                  </a:lnTo>
                  <a:lnTo>
                    <a:pt x="19" y="17"/>
                  </a:lnTo>
                  <a:lnTo>
                    <a:pt x="16" y="17"/>
                  </a:lnTo>
                  <a:lnTo>
                    <a:pt x="16" y="14"/>
                  </a:lnTo>
                  <a:lnTo>
                    <a:pt x="16" y="14"/>
                  </a:lnTo>
                  <a:lnTo>
                    <a:pt x="14" y="9"/>
                  </a:lnTo>
                  <a:lnTo>
                    <a:pt x="14" y="9"/>
                  </a:lnTo>
                  <a:lnTo>
                    <a:pt x="12" y="9"/>
                  </a:lnTo>
                  <a:lnTo>
                    <a:pt x="12" y="9"/>
                  </a:lnTo>
                  <a:lnTo>
                    <a:pt x="12" y="7"/>
                  </a:lnTo>
                  <a:lnTo>
                    <a:pt x="12" y="7"/>
                  </a:lnTo>
                  <a:lnTo>
                    <a:pt x="9" y="5"/>
                  </a:lnTo>
                  <a:lnTo>
                    <a:pt x="9" y="5"/>
                  </a:lnTo>
                  <a:lnTo>
                    <a:pt x="9" y="5"/>
                  </a:lnTo>
                  <a:lnTo>
                    <a:pt x="7" y="2"/>
                  </a:lnTo>
                  <a:lnTo>
                    <a:pt x="7" y="2"/>
                  </a:lnTo>
                  <a:lnTo>
                    <a:pt x="7" y="0"/>
                  </a:lnTo>
                  <a:lnTo>
                    <a:pt x="4" y="0"/>
                  </a:lnTo>
                  <a:lnTo>
                    <a:pt x="4" y="0"/>
                  </a:lnTo>
                  <a:lnTo>
                    <a:pt x="2" y="0"/>
                  </a:lnTo>
                  <a:lnTo>
                    <a:pt x="4" y="5"/>
                  </a:lnTo>
                  <a:lnTo>
                    <a:pt x="7" y="7"/>
                  </a:lnTo>
                  <a:lnTo>
                    <a:pt x="4" y="5"/>
                  </a:lnTo>
                  <a:lnTo>
                    <a:pt x="4" y="5"/>
                  </a:lnTo>
                  <a:lnTo>
                    <a:pt x="4" y="7"/>
                  </a:lnTo>
                  <a:lnTo>
                    <a:pt x="4" y="7"/>
                  </a:lnTo>
                  <a:lnTo>
                    <a:pt x="2" y="7"/>
                  </a:lnTo>
                  <a:lnTo>
                    <a:pt x="2" y="7"/>
                  </a:lnTo>
                  <a:lnTo>
                    <a:pt x="2" y="9"/>
                  </a:lnTo>
                  <a:lnTo>
                    <a:pt x="2" y="9"/>
                  </a:lnTo>
                  <a:lnTo>
                    <a:pt x="0" y="9"/>
                  </a:lnTo>
                  <a:lnTo>
                    <a:pt x="0" y="12"/>
                  </a:lnTo>
                  <a:lnTo>
                    <a:pt x="0" y="14"/>
                  </a:lnTo>
                  <a:lnTo>
                    <a:pt x="2" y="17"/>
                  </a:lnTo>
                  <a:lnTo>
                    <a:pt x="2" y="14"/>
                  </a:lnTo>
                  <a:lnTo>
                    <a:pt x="4" y="12"/>
                  </a:lnTo>
                  <a:lnTo>
                    <a:pt x="4" y="17"/>
                  </a:lnTo>
                  <a:lnTo>
                    <a:pt x="4" y="17"/>
                  </a:lnTo>
                  <a:lnTo>
                    <a:pt x="9" y="17"/>
                  </a:lnTo>
                  <a:lnTo>
                    <a:pt x="7" y="19"/>
                  </a:lnTo>
                  <a:lnTo>
                    <a:pt x="4" y="21"/>
                  </a:lnTo>
                  <a:lnTo>
                    <a:pt x="4" y="26"/>
                  </a:lnTo>
                  <a:lnTo>
                    <a:pt x="2" y="31"/>
                  </a:lnTo>
                  <a:lnTo>
                    <a:pt x="4" y="33"/>
                  </a:lnTo>
                  <a:lnTo>
                    <a:pt x="4" y="35"/>
                  </a:lnTo>
                  <a:lnTo>
                    <a:pt x="4" y="38"/>
                  </a:lnTo>
                  <a:lnTo>
                    <a:pt x="7" y="38"/>
                  </a:lnTo>
                  <a:lnTo>
                    <a:pt x="7" y="38"/>
                  </a:lnTo>
                  <a:lnTo>
                    <a:pt x="7"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19" name="Freeform 337">
              <a:extLst>
                <a:ext uri="{FF2B5EF4-FFF2-40B4-BE49-F238E27FC236}">
                  <a16:creationId xmlns:a16="http://schemas.microsoft.com/office/drawing/2014/main" id="{0A147F5D-0199-4969-8089-7D201651CE98}"/>
                </a:ext>
              </a:extLst>
            </p:cNvPr>
            <p:cNvSpPr>
              <a:spLocks/>
            </p:cNvSpPr>
            <p:nvPr/>
          </p:nvSpPr>
          <p:spPr bwMode="gray">
            <a:xfrm>
              <a:off x="-2359" y="381"/>
              <a:ext cx="9" cy="19"/>
            </a:xfrm>
            <a:custGeom>
              <a:avLst/>
              <a:gdLst>
                <a:gd name="T0" fmla="*/ 2 w 9"/>
                <a:gd name="T1" fmla="*/ 4 h 19"/>
                <a:gd name="T2" fmla="*/ 2 w 9"/>
                <a:gd name="T3" fmla="*/ 4 h 19"/>
                <a:gd name="T4" fmla="*/ 2 w 9"/>
                <a:gd name="T5" fmla="*/ 7 h 19"/>
                <a:gd name="T6" fmla="*/ 0 w 9"/>
                <a:gd name="T7" fmla="*/ 9 h 19"/>
                <a:gd name="T8" fmla="*/ 0 w 9"/>
                <a:gd name="T9" fmla="*/ 9 h 19"/>
                <a:gd name="T10" fmla="*/ 0 w 9"/>
                <a:gd name="T11" fmla="*/ 11 h 19"/>
                <a:gd name="T12" fmla="*/ 2 w 9"/>
                <a:gd name="T13" fmla="*/ 11 h 19"/>
                <a:gd name="T14" fmla="*/ 2 w 9"/>
                <a:gd name="T15" fmla="*/ 14 h 19"/>
                <a:gd name="T16" fmla="*/ 2 w 9"/>
                <a:gd name="T17" fmla="*/ 14 h 19"/>
                <a:gd name="T18" fmla="*/ 2 w 9"/>
                <a:gd name="T19" fmla="*/ 14 h 19"/>
                <a:gd name="T20" fmla="*/ 5 w 9"/>
                <a:gd name="T21" fmla="*/ 16 h 19"/>
                <a:gd name="T22" fmla="*/ 5 w 9"/>
                <a:gd name="T23" fmla="*/ 16 h 19"/>
                <a:gd name="T24" fmla="*/ 5 w 9"/>
                <a:gd name="T25" fmla="*/ 16 h 19"/>
                <a:gd name="T26" fmla="*/ 5 w 9"/>
                <a:gd name="T27" fmla="*/ 16 h 19"/>
                <a:gd name="T28" fmla="*/ 5 w 9"/>
                <a:gd name="T29" fmla="*/ 16 h 19"/>
                <a:gd name="T30" fmla="*/ 7 w 9"/>
                <a:gd name="T31" fmla="*/ 19 h 19"/>
                <a:gd name="T32" fmla="*/ 7 w 9"/>
                <a:gd name="T33" fmla="*/ 19 h 19"/>
                <a:gd name="T34" fmla="*/ 7 w 9"/>
                <a:gd name="T35" fmla="*/ 16 h 19"/>
                <a:gd name="T36" fmla="*/ 9 w 9"/>
                <a:gd name="T37" fmla="*/ 16 h 19"/>
                <a:gd name="T38" fmla="*/ 9 w 9"/>
                <a:gd name="T39" fmla="*/ 14 h 19"/>
                <a:gd name="T40" fmla="*/ 9 w 9"/>
                <a:gd name="T41" fmla="*/ 11 h 19"/>
                <a:gd name="T42" fmla="*/ 9 w 9"/>
                <a:gd name="T43" fmla="*/ 11 h 19"/>
                <a:gd name="T44" fmla="*/ 9 w 9"/>
                <a:gd name="T45" fmla="*/ 9 h 19"/>
                <a:gd name="T46" fmla="*/ 9 w 9"/>
                <a:gd name="T47" fmla="*/ 9 h 19"/>
                <a:gd name="T48" fmla="*/ 9 w 9"/>
                <a:gd name="T49" fmla="*/ 7 h 19"/>
                <a:gd name="T50" fmla="*/ 9 w 9"/>
                <a:gd name="T51" fmla="*/ 7 h 19"/>
                <a:gd name="T52" fmla="*/ 7 w 9"/>
                <a:gd name="T53" fmla="*/ 4 h 19"/>
                <a:gd name="T54" fmla="*/ 7 w 9"/>
                <a:gd name="T55" fmla="*/ 4 h 19"/>
                <a:gd name="T56" fmla="*/ 7 w 9"/>
                <a:gd name="T57" fmla="*/ 7 h 19"/>
                <a:gd name="T58" fmla="*/ 7 w 9"/>
                <a:gd name="T59" fmla="*/ 7 h 19"/>
                <a:gd name="T60" fmla="*/ 7 w 9"/>
                <a:gd name="T61" fmla="*/ 4 h 19"/>
                <a:gd name="T62" fmla="*/ 7 w 9"/>
                <a:gd name="T63" fmla="*/ 4 h 19"/>
                <a:gd name="T64" fmla="*/ 7 w 9"/>
                <a:gd name="T65" fmla="*/ 4 h 19"/>
                <a:gd name="T66" fmla="*/ 7 w 9"/>
                <a:gd name="T67" fmla="*/ 2 h 19"/>
                <a:gd name="T68" fmla="*/ 5 w 9"/>
                <a:gd name="T69" fmla="*/ 2 h 19"/>
                <a:gd name="T70" fmla="*/ 5 w 9"/>
                <a:gd name="T71" fmla="*/ 0 h 19"/>
                <a:gd name="T72" fmla="*/ 5 w 9"/>
                <a:gd name="T73" fmla="*/ 0 h 19"/>
                <a:gd name="T74" fmla="*/ 2 w 9"/>
                <a:gd name="T75" fmla="*/ 0 h 19"/>
                <a:gd name="T76" fmla="*/ 2 w 9"/>
                <a:gd name="T77" fmla="*/ 2 h 19"/>
                <a:gd name="T78" fmla="*/ 2 w 9"/>
                <a:gd name="T79" fmla="*/ 4 h 19"/>
                <a:gd name="T80" fmla="*/ 5 w 9"/>
                <a:gd name="T81" fmla="*/ 4 h 19"/>
                <a:gd name="T82" fmla="*/ 5 w 9"/>
                <a:gd name="T83" fmla="*/ 7 h 19"/>
                <a:gd name="T84" fmla="*/ 5 w 9"/>
                <a:gd name="T85" fmla="*/ 7 h 19"/>
                <a:gd name="T86" fmla="*/ 5 w 9"/>
                <a:gd name="T87" fmla="*/ 9 h 19"/>
                <a:gd name="T88" fmla="*/ 5 w 9"/>
                <a:gd name="T89" fmla="*/ 9 h 19"/>
                <a:gd name="T90" fmla="*/ 5 w 9"/>
                <a:gd name="T91" fmla="*/ 9 h 19"/>
                <a:gd name="T92" fmla="*/ 5 w 9"/>
                <a:gd name="T93" fmla="*/ 11 h 19"/>
                <a:gd name="T94" fmla="*/ 5 w 9"/>
                <a:gd name="T95" fmla="*/ 11 h 19"/>
                <a:gd name="T96" fmla="*/ 5 w 9"/>
                <a:gd name="T97" fmla="*/ 11 h 19"/>
                <a:gd name="T98" fmla="*/ 5 w 9"/>
                <a:gd name="T99" fmla="*/ 11 h 19"/>
                <a:gd name="T100" fmla="*/ 5 w 9"/>
                <a:gd name="T101" fmla="*/ 9 h 19"/>
                <a:gd name="T102" fmla="*/ 5 w 9"/>
                <a:gd name="T103" fmla="*/ 9 h 19"/>
                <a:gd name="T104" fmla="*/ 2 w 9"/>
                <a:gd name="T105" fmla="*/ 7 h 19"/>
                <a:gd name="T106" fmla="*/ 2 w 9"/>
                <a:gd name="T107" fmla="*/ 7 h 19"/>
                <a:gd name="T108" fmla="*/ 2 w 9"/>
                <a:gd name="T109" fmla="*/ 4 h 19"/>
                <a:gd name="T110" fmla="*/ 2 w 9"/>
                <a:gd name="T111"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 h="19">
                  <a:moveTo>
                    <a:pt x="2" y="4"/>
                  </a:moveTo>
                  <a:lnTo>
                    <a:pt x="2" y="4"/>
                  </a:lnTo>
                  <a:lnTo>
                    <a:pt x="2" y="7"/>
                  </a:lnTo>
                  <a:lnTo>
                    <a:pt x="0" y="9"/>
                  </a:lnTo>
                  <a:lnTo>
                    <a:pt x="0" y="9"/>
                  </a:lnTo>
                  <a:lnTo>
                    <a:pt x="0" y="11"/>
                  </a:lnTo>
                  <a:lnTo>
                    <a:pt x="2" y="11"/>
                  </a:lnTo>
                  <a:lnTo>
                    <a:pt x="2" y="14"/>
                  </a:lnTo>
                  <a:lnTo>
                    <a:pt x="2" y="14"/>
                  </a:lnTo>
                  <a:lnTo>
                    <a:pt x="2" y="14"/>
                  </a:lnTo>
                  <a:lnTo>
                    <a:pt x="5" y="16"/>
                  </a:lnTo>
                  <a:lnTo>
                    <a:pt x="5" y="16"/>
                  </a:lnTo>
                  <a:lnTo>
                    <a:pt x="5" y="16"/>
                  </a:lnTo>
                  <a:lnTo>
                    <a:pt x="5" y="16"/>
                  </a:lnTo>
                  <a:lnTo>
                    <a:pt x="5" y="16"/>
                  </a:lnTo>
                  <a:lnTo>
                    <a:pt x="7" y="19"/>
                  </a:lnTo>
                  <a:lnTo>
                    <a:pt x="7" y="19"/>
                  </a:lnTo>
                  <a:lnTo>
                    <a:pt x="7" y="16"/>
                  </a:lnTo>
                  <a:lnTo>
                    <a:pt x="9" y="16"/>
                  </a:lnTo>
                  <a:lnTo>
                    <a:pt x="9" y="14"/>
                  </a:lnTo>
                  <a:lnTo>
                    <a:pt x="9" y="11"/>
                  </a:lnTo>
                  <a:lnTo>
                    <a:pt x="9" y="11"/>
                  </a:lnTo>
                  <a:lnTo>
                    <a:pt x="9" y="9"/>
                  </a:lnTo>
                  <a:lnTo>
                    <a:pt x="9" y="9"/>
                  </a:lnTo>
                  <a:lnTo>
                    <a:pt x="9" y="7"/>
                  </a:lnTo>
                  <a:lnTo>
                    <a:pt x="9" y="7"/>
                  </a:lnTo>
                  <a:lnTo>
                    <a:pt x="7" y="4"/>
                  </a:lnTo>
                  <a:lnTo>
                    <a:pt x="7" y="4"/>
                  </a:lnTo>
                  <a:lnTo>
                    <a:pt x="7" y="7"/>
                  </a:lnTo>
                  <a:lnTo>
                    <a:pt x="7" y="7"/>
                  </a:lnTo>
                  <a:lnTo>
                    <a:pt x="7" y="4"/>
                  </a:lnTo>
                  <a:lnTo>
                    <a:pt x="7" y="4"/>
                  </a:lnTo>
                  <a:lnTo>
                    <a:pt x="7" y="4"/>
                  </a:lnTo>
                  <a:lnTo>
                    <a:pt x="7" y="2"/>
                  </a:lnTo>
                  <a:lnTo>
                    <a:pt x="5" y="2"/>
                  </a:lnTo>
                  <a:lnTo>
                    <a:pt x="5" y="0"/>
                  </a:lnTo>
                  <a:lnTo>
                    <a:pt x="5" y="0"/>
                  </a:lnTo>
                  <a:lnTo>
                    <a:pt x="2" y="0"/>
                  </a:lnTo>
                  <a:lnTo>
                    <a:pt x="2" y="2"/>
                  </a:lnTo>
                  <a:lnTo>
                    <a:pt x="2" y="4"/>
                  </a:lnTo>
                  <a:lnTo>
                    <a:pt x="5" y="4"/>
                  </a:lnTo>
                  <a:lnTo>
                    <a:pt x="5" y="7"/>
                  </a:lnTo>
                  <a:lnTo>
                    <a:pt x="5" y="7"/>
                  </a:lnTo>
                  <a:lnTo>
                    <a:pt x="5" y="9"/>
                  </a:lnTo>
                  <a:lnTo>
                    <a:pt x="5" y="9"/>
                  </a:lnTo>
                  <a:lnTo>
                    <a:pt x="5" y="9"/>
                  </a:lnTo>
                  <a:lnTo>
                    <a:pt x="5" y="11"/>
                  </a:lnTo>
                  <a:lnTo>
                    <a:pt x="5" y="11"/>
                  </a:lnTo>
                  <a:lnTo>
                    <a:pt x="5" y="11"/>
                  </a:lnTo>
                  <a:lnTo>
                    <a:pt x="5" y="11"/>
                  </a:lnTo>
                  <a:lnTo>
                    <a:pt x="5" y="9"/>
                  </a:lnTo>
                  <a:lnTo>
                    <a:pt x="5" y="9"/>
                  </a:lnTo>
                  <a:lnTo>
                    <a:pt x="2" y="7"/>
                  </a:lnTo>
                  <a:lnTo>
                    <a:pt x="2" y="7"/>
                  </a:lnTo>
                  <a:lnTo>
                    <a:pt x="2" y="4"/>
                  </a:lnTo>
                  <a:lnTo>
                    <a:pt x="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20" name="Freeform 338">
              <a:extLst>
                <a:ext uri="{FF2B5EF4-FFF2-40B4-BE49-F238E27FC236}">
                  <a16:creationId xmlns:a16="http://schemas.microsoft.com/office/drawing/2014/main" id="{D79E6022-8F36-452F-BAA2-3F637EAAC15C}"/>
                </a:ext>
              </a:extLst>
            </p:cNvPr>
            <p:cNvSpPr>
              <a:spLocks/>
            </p:cNvSpPr>
            <p:nvPr/>
          </p:nvSpPr>
          <p:spPr bwMode="gray">
            <a:xfrm>
              <a:off x="-2376" y="336"/>
              <a:ext cx="12" cy="35"/>
            </a:xfrm>
            <a:custGeom>
              <a:avLst/>
              <a:gdLst>
                <a:gd name="T0" fmla="*/ 5 w 12"/>
                <a:gd name="T1" fmla="*/ 21 h 35"/>
                <a:gd name="T2" fmla="*/ 5 w 12"/>
                <a:gd name="T3" fmla="*/ 21 h 35"/>
                <a:gd name="T4" fmla="*/ 0 w 12"/>
                <a:gd name="T5" fmla="*/ 21 h 35"/>
                <a:gd name="T6" fmla="*/ 0 w 12"/>
                <a:gd name="T7" fmla="*/ 21 h 35"/>
                <a:gd name="T8" fmla="*/ 0 w 12"/>
                <a:gd name="T9" fmla="*/ 23 h 35"/>
                <a:gd name="T10" fmla="*/ 3 w 12"/>
                <a:gd name="T11" fmla="*/ 26 h 35"/>
                <a:gd name="T12" fmla="*/ 3 w 12"/>
                <a:gd name="T13" fmla="*/ 28 h 35"/>
                <a:gd name="T14" fmla="*/ 5 w 12"/>
                <a:gd name="T15" fmla="*/ 31 h 35"/>
                <a:gd name="T16" fmla="*/ 7 w 12"/>
                <a:gd name="T17" fmla="*/ 31 h 35"/>
                <a:gd name="T18" fmla="*/ 7 w 12"/>
                <a:gd name="T19" fmla="*/ 28 h 35"/>
                <a:gd name="T20" fmla="*/ 7 w 12"/>
                <a:gd name="T21" fmla="*/ 28 h 35"/>
                <a:gd name="T22" fmla="*/ 10 w 12"/>
                <a:gd name="T23" fmla="*/ 31 h 35"/>
                <a:gd name="T24" fmla="*/ 10 w 12"/>
                <a:gd name="T25" fmla="*/ 33 h 35"/>
                <a:gd name="T26" fmla="*/ 10 w 12"/>
                <a:gd name="T27" fmla="*/ 35 h 35"/>
                <a:gd name="T28" fmla="*/ 10 w 12"/>
                <a:gd name="T29" fmla="*/ 35 h 35"/>
                <a:gd name="T30" fmla="*/ 12 w 12"/>
                <a:gd name="T31" fmla="*/ 35 h 35"/>
                <a:gd name="T32" fmla="*/ 12 w 12"/>
                <a:gd name="T33" fmla="*/ 35 h 35"/>
                <a:gd name="T34" fmla="*/ 12 w 12"/>
                <a:gd name="T35" fmla="*/ 33 h 35"/>
                <a:gd name="T36" fmla="*/ 12 w 12"/>
                <a:gd name="T37" fmla="*/ 33 h 35"/>
                <a:gd name="T38" fmla="*/ 12 w 12"/>
                <a:gd name="T39" fmla="*/ 31 h 35"/>
                <a:gd name="T40" fmla="*/ 12 w 12"/>
                <a:gd name="T41" fmla="*/ 28 h 35"/>
                <a:gd name="T42" fmla="*/ 12 w 12"/>
                <a:gd name="T43" fmla="*/ 26 h 35"/>
                <a:gd name="T44" fmla="*/ 12 w 12"/>
                <a:gd name="T45" fmla="*/ 26 h 35"/>
                <a:gd name="T46" fmla="*/ 10 w 12"/>
                <a:gd name="T47" fmla="*/ 23 h 35"/>
                <a:gd name="T48" fmla="*/ 10 w 12"/>
                <a:gd name="T49" fmla="*/ 21 h 35"/>
                <a:gd name="T50" fmla="*/ 12 w 12"/>
                <a:gd name="T51" fmla="*/ 21 h 35"/>
                <a:gd name="T52" fmla="*/ 12 w 12"/>
                <a:gd name="T53" fmla="*/ 19 h 35"/>
                <a:gd name="T54" fmla="*/ 12 w 12"/>
                <a:gd name="T55" fmla="*/ 16 h 35"/>
                <a:gd name="T56" fmla="*/ 10 w 12"/>
                <a:gd name="T57" fmla="*/ 14 h 35"/>
                <a:gd name="T58" fmla="*/ 5 w 12"/>
                <a:gd name="T59" fmla="*/ 5 h 35"/>
                <a:gd name="T60" fmla="*/ 5 w 12"/>
                <a:gd name="T61" fmla="*/ 0 h 35"/>
                <a:gd name="T62" fmla="*/ 5 w 12"/>
                <a:gd name="T63" fmla="*/ 0 h 35"/>
                <a:gd name="T64" fmla="*/ 3 w 12"/>
                <a:gd name="T65" fmla="*/ 0 h 35"/>
                <a:gd name="T66" fmla="*/ 3 w 12"/>
                <a:gd name="T67" fmla="*/ 0 h 35"/>
                <a:gd name="T68" fmla="*/ 0 w 12"/>
                <a:gd name="T69" fmla="*/ 2 h 35"/>
                <a:gd name="T70" fmla="*/ 3 w 12"/>
                <a:gd name="T71" fmla="*/ 5 h 35"/>
                <a:gd name="T72" fmla="*/ 3 w 12"/>
                <a:gd name="T73" fmla="*/ 7 h 35"/>
                <a:gd name="T74" fmla="*/ 3 w 12"/>
                <a:gd name="T75" fmla="*/ 7 h 35"/>
                <a:gd name="T76" fmla="*/ 3 w 12"/>
                <a:gd name="T77" fmla="*/ 7 h 35"/>
                <a:gd name="T78" fmla="*/ 3 w 12"/>
                <a:gd name="T79" fmla="*/ 9 h 35"/>
                <a:gd name="T80" fmla="*/ 3 w 12"/>
                <a:gd name="T81" fmla="*/ 12 h 35"/>
                <a:gd name="T82" fmla="*/ 3 w 12"/>
                <a:gd name="T83" fmla="*/ 14 h 35"/>
                <a:gd name="T84" fmla="*/ 5 w 12"/>
                <a:gd name="T85" fmla="*/ 16 h 35"/>
                <a:gd name="T86" fmla="*/ 5 w 12"/>
                <a:gd name="T87" fmla="*/ 16 h 35"/>
                <a:gd name="T88" fmla="*/ 5 w 12"/>
                <a:gd name="T89" fmla="*/ 19 h 35"/>
                <a:gd name="T90" fmla="*/ 7 w 12"/>
                <a:gd name="T91" fmla="*/ 19 h 35"/>
                <a:gd name="T92" fmla="*/ 7 w 12"/>
                <a:gd name="T93" fmla="*/ 19 h 35"/>
                <a:gd name="T94" fmla="*/ 7 w 12"/>
                <a:gd name="T95" fmla="*/ 21 h 35"/>
                <a:gd name="T96" fmla="*/ 5 w 12"/>
                <a:gd name="T97" fmla="*/ 2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 h="35">
                  <a:moveTo>
                    <a:pt x="5" y="21"/>
                  </a:moveTo>
                  <a:lnTo>
                    <a:pt x="5" y="21"/>
                  </a:lnTo>
                  <a:lnTo>
                    <a:pt x="0" y="21"/>
                  </a:lnTo>
                  <a:lnTo>
                    <a:pt x="0" y="21"/>
                  </a:lnTo>
                  <a:lnTo>
                    <a:pt x="0" y="23"/>
                  </a:lnTo>
                  <a:lnTo>
                    <a:pt x="3" y="26"/>
                  </a:lnTo>
                  <a:lnTo>
                    <a:pt x="3" y="28"/>
                  </a:lnTo>
                  <a:lnTo>
                    <a:pt x="5" y="31"/>
                  </a:lnTo>
                  <a:lnTo>
                    <a:pt x="7" y="31"/>
                  </a:lnTo>
                  <a:lnTo>
                    <a:pt x="7" y="28"/>
                  </a:lnTo>
                  <a:lnTo>
                    <a:pt x="7" y="28"/>
                  </a:lnTo>
                  <a:lnTo>
                    <a:pt x="10" y="31"/>
                  </a:lnTo>
                  <a:lnTo>
                    <a:pt x="10" y="33"/>
                  </a:lnTo>
                  <a:lnTo>
                    <a:pt x="10" y="35"/>
                  </a:lnTo>
                  <a:lnTo>
                    <a:pt x="10" y="35"/>
                  </a:lnTo>
                  <a:lnTo>
                    <a:pt x="12" y="35"/>
                  </a:lnTo>
                  <a:lnTo>
                    <a:pt x="12" y="35"/>
                  </a:lnTo>
                  <a:lnTo>
                    <a:pt x="12" y="33"/>
                  </a:lnTo>
                  <a:lnTo>
                    <a:pt x="12" y="33"/>
                  </a:lnTo>
                  <a:lnTo>
                    <a:pt x="12" y="31"/>
                  </a:lnTo>
                  <a:lnTo>
                    <a:pt x="12" y="28"/>
                  </a:lnTo>
                  <a:lnTo>
                    <a:pt x="12" y="26"/>
                  </a:lnTo>
                  <a:lnTo>
                    <a:pt x="12" y="26"/>
                  </a:lnTo>
                  <a:lnTo>
                    <a:pt x="10" y="23"/>
                  </a:lnTo>
                  <a:lnTo>
                    <a:pt x="10" y="21"/>
                  </a:lnTo>
                  <a:lnTo>
                    <a:pt x="12" y="21"/>
                  </a:lnTo>
                  <a:lnTo>
                    <a:pt x="12" y="19"/>
                  </a:lnTo>
                  <a:lnTo>
                    <a:pt x="12" y="16"/>
                  </a:lnTo>
                  <a:lnTo>
                    <a:pt x="10" y="14"/>
                  </a:lnTo>
                  <a:lnTo>
                    <a:pt x="5" y="5"/>
                  </a:lnTo>
                  <a:lnTo>
                    <a:pt x="5" y="0"/>
                  </a:lnTo>
                  <a:lnTo>
                    <a:pt x="5" y="0"/>
                  </a:lnTo>
                  <a:lnTo>
                    <a:pt x="3" y="0"/>
                  </a:lnTo>
                  <a:lnTo>
                    <a:pt x="3" y="0"/>
                  </a:lnTo>
                  <a:lnTo>
                    <a:pt x="0" y="2"/>
                  </a:lnTo>
                  <a:lnTo>
                    <a:pt x="3" y="5"/>
                  </a:lnTo>
                  <a:lnTo>
                    <a:pt x="3" y="7"/>
                  </a:lnTo>
                  <a:lnTo>
                    <a:pt x="3" y="7"/>
                  </a:lnTo>
                  <a:lnTo>
                    <a:pt x="3" y="7"/>
                  </a:lnTo>
                  <a:lnTo>
                    <a:pt x="3" y="9"/>
                  </a:lnTo>
                  <a:lnTo>
                    <a:pt x="3" y="12"/>
                  </a:lnTo>
                  <a:lnTo>
                    <a:pt x="3" y="14"/>
                  </a:lnTo>
                  <a:lnTo>
                    <a:pt x="5" y="16"/>
                  </a:lnTo>
                  <a:lnTo>
                    <a:pt x="5" y="16"/>
                  </a:lnTo>
                  <a:lnTo>
                    <a:pt x="5" y="19"/>
                  </a:lnTo>
                  <a:lnTo>
                    <a:pt x="7" y="19"/>
                  </a:lnTo>
                  <a:lnTo>
                    <a:pt x="7" y="19"/>
                  </a:lnTo>
                  <a:lnTo>
                    <a:pt x="7" y="21"/>
                  </a:lnTo>
                  <a:lnTo>
                    <a:pt x="5"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21" name="Freeform 339">
              <a:extLst>
                <a:ext uri="{FF2B5EF4-FFF2-40B4-BE49-F238E27FC236}">
                  <a16:creationId xmlns:a16="http://schemas.microsoft.com/office/drawing/2014/main" id="{FEF5AF04-84E0-4F9B-97E9-AB4FCAC64AB5}"/>
                </a:ext>
              </a:extLst>
            </p:cNvPr>
            <p:cNvSpPr>
              <a:spLocks/>
            </p:cNvSpPr>
            <p:nvPr/>
          </p:nvSpPr>
          <p:spPr bwMode="gray">
            <a:xfrm>
              <a:off x="-2255" y="-3"/>
              <a:ext cx="19" cy="14"/>
            </a:xfrm>
            <a:custGeom>
              <a:avLst/>
              <a:gdLst>
                <a:gd name="T0" fmla="*/ 2 w 19"/>
                <a:gd name="T1" fmla="*/ 9 h 14"/>
                <a:gd name="T2" fmla="*/ 2 w 19"/>
                <a:gd name="T3" fmla="*/ 11 h 14"/>
                <a:gd name="T4" fmla="*/ 2 w 19"/>
                <a:gd name="T5" fmla="*/ 11 h 14"/>
                <a:gd name="T6" fmla="*/ 2 w 19"/>
                <a:gd name="T7" fmla="*/ 14 h 14"/>
                <a:gd name="T8" fmla="*/ 2 w 19"/>
                <a:gd name="T9" fmla="*/ 14 h 14"/>
                <a:gd name="T10" fmla="*/ 7 w 19"/>
                <a:gd name="T11" fmla="*/ 9 h 14"/>
                <a:gd name="T12" fmla="*/ 19 w 19"/>
                <a:gd name="T13" fmla="*/ 7 h 14"/>
                <a:gd name="T14" fmla="*/ 19 w 19"/>
                <a:gd name="T15" fmla="*/ 4 h 14"/>
                <a:gd name="T16" fmla="*/ 19 w 19"/>
                <a:gd name="T17" fmla="*/ 2 h 14"/>
                <a:gd name="T18" fmla="*/ 16 w 19"/>
                <a:gd name="T19" fmla="*/ 0 h 14"/>
                <a:gd name="T20" fmla="*/ 14 w 19"/>
                <a:gd name="T21" fmla="*/ 0 h 14"/>
                <a:gd name="T22" fmla="*/ 7 w 19"/>
                <a:gd name="T23" fmla="*/ 2 h 14"/>
                <a:gd name="T24" fmla="*/ 4 w 19"/>
                <a:gd name="T25" fmla="*/ 2 h 14"/>
                <a:gd name="T26" fmla="*/ 7 w 19"/>
                <a:gd name="T27" fmla="*/ 2 h 14"/>
                <a:gd name="T28" fmla="*/ 4 w 19"/>
                <a:gd name="T29" fmla="*/ 0 h 14"/>
                <a:gd name="T30" fmla="*/ 2 w 19"/>
                <a:gd name="T31" fmla="*/ 2 h 14"/>
                <a:gd name="T32" fmla="*/ 2 w 19"/>
                <a:gd name="T33" fmla="*/ 4 h 14"/>
                <a:gd name="T34" fmla="*/ 2 w 19"/>
                <a:gd name="T35" fmla="*/ 7 h 14"/>
                <a:gd name="T36" fmla="*/ 2 w 19"/>
                <a:gd name="T37" fmla="*/ 7 h 14"/>
                <a:gd name="T38" fmla="*/ 2 w 19"/>
                <a:gd name="T39" fmla="*/ 7 h 14"/>
                <a:gd name="T40" fmla="*/ 0 w 19"/>
                <a:gd name="T41" fmla="*/ 9 h 14"/>
                <a:gd name="T42" fmla="*/ 0 w 19"/>
                <a:gd name="T43" fmla="*/ 9 h 14"/>
                <a:gd name="T44" fmla="*/ 0 w 19"/>
                <a:gd name="T45" fmla="*/ 9 h 14"/>
                <a:gd name="T46" fmla="*/ 0 w 19"/>
                <a:gd name="T47" fmla="*/ 9 h 14"/>
                <a:gd name="T48" fmla="*/ 2 w 19"/>
                <a:gd name="T49"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14">
                  <a:moveTo>
                    <a:pt x="2" y="9"/>
                  </a:moveTo>
                  <a:lnTo>
                    <a:pt x="2" y="11"/>
                  </a:lnTo>
                  <a:lnTo>
                    <a:pt x="2" y="11"/>
                  </a:lnTo>
                  <a:lnTo>
                    <a:pt x="2" y="14"/>
                  </a:lnTo>
                  <a:lnTo>
                    <a:pt x="2" y="14"/>
                  </a:lnTo>
                  <a:lnTo>
                    <a:pt x="7" y="9"/>
                  </a:lnTo>
                  <a:lnTo>
                    <a:pt x="19" y="7"/>
                  </a:lnTo>
                  <a:lnTo>
                    <a:pt x="19" y="4"/>
                  </a:lnTo>
                  <a:lnTo>
                    <a:pt x="19" y="2"/>
                  </a:lnTo>
                  <a:lnTo>
                    <a:pt x="16" y="0"/>
                  </a:lnTo>
                  <a:lnTo>
                    <a:pt x="14" y="0"/>
                  </a:lnTo>
                  <a:lnTo>
                    <a:pt x="7" y="2"/>
                  </a:lnTo>
                  <a:lnTo>
                    <a:pt x="4" y="2"/>
                  </a:lnTo>
                  <a:lnTo>
                    <a:pt x="7" y="2"/>
                  </a:lnTo>
                  <a:lnTo>
                    <a:pt x="4" y="0"/>
                  </a:lnTo>
                  <a:lnTo>
                    <a:pt x="2" y="2"/>
                  </a:lnTo>
                  <a:lnTo>
                    <a:pt x="2" y="4"/>
                  </a:lnTo>
                  <a:lnTo>
                    <a:pt x="2" y="7"/>
                  </a:lnTo>
                  <a:lnTo>
                    <a:pt x="2" y="7"/>
                  </a:lnTo>
                  <a:lnTo>
                    <a:pt x="2" y="7"/>
                  </a:lnTo>
                  <a:lnTo>
                    <a:pt x="0" y="9"/>
                  </a:lnTo>
                  <a:lnTo>
                    <a:pt x="0" y="9"/>
                  </a:lnTo>
                  <a:lnTo>
                    <a:pt x="0" y="9"/>
                  </a:lnTo>
                  <a:lnTo>
                    <a:pt x="0" y="9"/>
                  </a:lnTo>
                  <a:lnTo>
                    <a:pt x="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22" name="Freeform 340">
              <a:extLst>
                <a:ext uri="{FF2B5EF4-FFF2-40B4-BE49-F238E27FC236}">
                  <a16:creationId xmlns:a16="http://schemas.microsoft.com/office/drawing/2014/main" id="{319DE2E2-E13B-47DA-930C-3AC3C29852B4}"/>
                </a:ext>
              </a:extLst>
            </p:cNvPr>
            <p:cNvSpPr>
              <a:spLocks/>
            </p:cNvSpPr>
            <p:nvPr/>
          </p:nvSpPr>
          <p:spPr bwMode="gray">
            <a:xfrm>
              <a:off x="-2395" y="244"/>
              <a:ext cx="5" cy="14"/>
            </a:xfrm>
            <a:custGeom>
              <a:avLst/>
              <a:gdLst>
                <a:gd name="T0" fmla="*/ 0 w 5"/>
                <a:gd name="T1" fmla="*/ 9 h 14"/>
                <a:gd name="T2" fmla="*/ 0 w 5"/>
                <a:gd name="T3" fmla="*/ 9 h 14"/>
                <a:gd name="T4" fmla="*/ 0 w 5"/>
                <a:gd name="T5" fmla="*/ 9 h 14"/>
                <a:gd name="T6" fmla="*/ 0 w 5"/>
                <a:gd name="T7" fmla="*/ 12 h 14"/>
                <a:gd name="T8" fmla="*/ 3 w 5"/>
                <a:gd name="T9" fmla="*/ 12 h 14"/>
                <a:gd name="T10" fmla="*/ 3 w 5"/>
                <a:gd name="T11" fmla="*/ 12 h 14"/>
                <a:gd name="T12" fmla="*/ 3 w 5"/>
                <a:gd name="T13" fmla="*/ 12 h 14"/>
                <a:gd name="T14" fmla="*/ 3 w 5"/>
                <a:gd name="T15" fmla="*/ 9 h 14"/>
                <a:gd name="T16" fmla="*/ 3 w 5"/>
                <a:gd name="T17" fmla="*/ 9 h 14"/>
                <a:gd name="T18" fmla="*/ 3 w 5"/>
                <a:gd name="T19" fmla="*/ 9 h 14"/>
                <a:gd name="T20" fmla="*/ 3 w 5"/>
                <a:gd name="T21" fmla="*/ 12 h 14"/>
                <a:gd name="T22" fmla="*/ 3 w 5"/>
                <a:gd name="T23" fmla="*/ 12 h 14"/>
                <a:gd name="T24" fmla="*/ 3 w 5"/>
                <a:gd name="T25" fmla="*/ 14 h 14"/>
                <a:gd name="T26" fmla="*/ 5 w 5"/>
                <a:gd name="T27" fmla="*/ 12 h 14"/>
                <a:gd name="T28" fmla="*/ 5 w 5"/>
                <a:gd name="T29" fmla="*/ 12 h 14"/>
                <a:gd name="T30" fmla="*/ 5 w 5"/>
                <a:gd name="T31" fmla="*/ 9 h 14"/>
                <a:gd name="T32" fmla="*/ 5 w 5"/>
                <a:gd name="T33" fmla="*/ 7 h 14"/>
                <a:gd name="T34" fmla="*/ 5 w 5"/>
                <a:gd name="T35" fmla="*/ 7 h 14"/>
                <a:gd name="T36" fmla="*/ 5 w 5"/>
                <a:gd name="T37" fmla="*/ 7 h 14"/>
                <a:gd name="T38" fmla="*/ 5 w 5"/>
                <a:gd name="T39" fmla="*/ 5 h 14"/>
                <a:gd name="T40" fmla="*/ 5 w 5"/>
                <a:gd name="T41" fmla="*/ 5 h 14"/>
                <a:gd name="T42" fmla="*/ 5 w 5"/>
                <a:gd name="T43" fmla="*/ 2 h 14"/>
                <a:gd name="T44" fmla="*/ 3 w 5"/>
                <a:gd name="T45" fmla="*/ 2 h 14"/>
                <a:gd name="T46" fmla="*/ 3 w 5"/>
                <a:gd name="T47" fmla="*/ 0 h 14"/>
                <a:gd name="T48" fmla="*/ 3 w 5"/>
                <a:gd name="T49" fmla="*/ 0 h 14"/>
                <a:gd name="T50" fmla="*/ 3 w 5"/>
                <a:gd name="T51" fmla="*/ 0 h 14"/>
                <a:gd name="T52" fmla="*/ 3 w 5"/>
                <a:gd name="T53" fmla="*/ 0 h 14"/>
                <a:gd name="T54" fmla="*/ 3 w 5"/>
                <a:gd name="T55" fmla="*/ 2 h 14"/>
                <a:gd name="T56" fmla="*/ 0 w 5"/>
                <a:gd name="T57" fmla="*/ 2 h 14"/>
                <a:gd name="T58" fmla="*/ 0 w 5"/>
                <a:gd name="T59" fmla="*/ 2 h 14"/>
                <a:gd name="T60" fmla="*/ 0 w 5"/>
                <a:gd name="T61" fmla="*/ 2 h 14"/>
                <a:gd name="T62" fmla="*/ 0 w 5"/>
                <a:gd name="T63" fmla="*/ 2 h 14"/>
                <a:gd name="T64" fmla="*/ 0 w 5"/>
                <a:gd name="T65" fmla="*/ 2 h 14"/>
                <a:gd name="T66" fmla="*/ 0 w 5"/>
                <a:gd name="T67" fmla="*/ 5 h 14"/>
                <a:gd name="T68" fmla="*/ 0 w 5"/>
                <a:gd name="T69" fmla="*/ 5 h 14"/>
                <a:gd name="T70" fmla="*/ 0 w 5"/>
                <a:gd name="T71" fmla="*/ 7 h 14"/>
                <a:gd name="T72" fmla="*/ 0 w 5"/>
                <a:gd name="T73" fmla="*/ 7 h 14"/>
                <a:gd name="T74" fmla="*/ 0 w 5"/>
                <a:gd name="T75"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 h="14">
                  <a:moveTo>
                    <a:pt x="0" y="9"/>
                  </a:moveTo>
                  <a:lnTo>
                    <a:pt x="0" y="9"/>
                  </a:lnTo>
                  <a:lnTo>
                    <a:pt x="0" y="9"/>
                  </a:lnTo>
                  <a:lnTo>
                    <a:pt x="0" y="12"/>
                  </a:lnTo>
                  <a:lnTo>
                    <a:pt x="3" y="12"/>
                  </a:lnTo>
                  <a:lnTo>
                    <a:pt x="3" y="12"/>
                  </a:lnTo>
                  <a:lnTo>
                    <a:pt x="3" y="12"/>
                  </a:lnTo>
                  <a:lnTo>
                    <a:pt x="3" y="9"/>
                  </a:lnTo>
                  <a:lnTo>
                    <a:pt x="3" y="9"/>
                  </a:lnTo>
                  <a:lnTo>
                    <a:pt x="3" y="9"/>
                  </a:lnTo>
                  <a:lnTo>
                    <a:pt x="3" y="12"/>
                  </a:lnTo>
                  <a:lnTo>
                    <a:pt x="3" y="12"/>
                  </a:lnTo>
                  <a:lnTo>
                    <a:pt x="3" y="14"/>
                  </a:lnTo>
                  <a:lnTo>
                    <a:pt x="5" y="12"/>
                  </a:lnTo>
                  <a:lnTo>
                    <a:pt x="5" y="12"/>
                  </a:lnTo>
                  <a:lnTo>
                    <a:pt x="5" y="9"/>
                  </a:lnTo>
                  <a:lnTo>
                    <a:pt x="5" y="7"/>
                  </a:lnTo>
                  <a:lnTo>
                    <a:pt x="5" y="7"/>
                  </a:lnTo>
                  <a:lnTo>
                    <a:pt x="5" y="7"/>
                  </a:lnTo>
                  <a:lnTo>
                    <a:pt x="5" y="5"/>
                  </a:lnTo>
                  <a:lnTo>
                    <a:pt x="5" y="5"/>
                  </a:lnTo>
                  <a:lnTo>
                    <a:pt x="5" y="2"/>
                  </a:lnTo>
                  <a:lnTo>
                    <a:pt x="3" y="2"/>
                  </a:lnTo>
                  <a:lnTo>
                    <a:pt x="3" y="0"/>
                  </a:lnTo>
                  <a:lnTo>
                    <a:pt x="3" y="0"/>
                  </a:lnTo>
                  <a:lnTo>
                    <a:pt x="3" y="0"/>
                  </a:lnTo>
                  <a:lnTo>
                    <a:pt x="3" y="0"/>
                  </a:lnTo>
                  <a:lnTo>
                    <a:pt x="3" y="2"/>
                  </a:lnTo>
                  <a:lnTo>
                    <a:pt x="0" y="2"/>
                  </a:lnTo>
                  <a:lnTo>
                    <a:pt x="0" y="2"/>
                  </a:lnTo>
                  <a:lnTo>
                    <a:pt x="0" y="2"/>
                  </a:lnTo>
                  <a:lnTo>
                    <a:pt x="0" y="2"/>
                  </a:lnTo>
                  <a:lnTo>
                    <a:pt x="0" y="2"/>
                  </a:lnTo>
                  <a:lnTo>
                    <a:pt x="0" y="5"/>
                  </a:lnTo>
                  <a:lnTo>
                    <a:pt x="0" y="5"/>
                  </a:lnTo>
                  <a:lnTo>
                    <a:pt x="0" y="7"/>
                  </a:lnTo>
                  <a:lnTo>
                    <a:pt x="0" y="7"/>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23" name="Freeform 341">
              <a:extLst>
                <a:ext uri="{FF2B5EF4-FFF2-40B4-BE49-F238E27FC236}">
                  <a16:creationId xmlns:a16="http://schemas.microsoft.com/office/drawing/2014/main" id="{B1A84B60-3F53-49BE-81BE-ADEE97A84286}"/>
                </a:ext>
              </a:extLst>
            </p:cNvPr>
            <p:cNvSpPr>
              <a:spLocks/>
            </p:cNvSpPr>
            <p:nvPr/>
          </p:nvSpPr>
          <p:spPr bwMode="gray">
            <a:xfrm>
              <a:off x="-2305" y="496"/>
              <a:ext cx="12" cy="10"/>
            </a:xfrm>
            <a:custGeom>
              <a:avLst/>
              <a:gdLst>
                <a:gd name="T0" fmla="*/ 10 w 12"/>
                <a:gd name="T1" fmla="*/ 7 h 10"/>
                <a:gd name="T2" fmla="*/ 12 w 12"/>
                <a:gd name="T3" fmla="*/ 5 h 10"/>
                <a:gd name="T4" fmla="*/ 12 w 12"/>
                <a:gd name="T5" fmla="*/ 2 h 10"/>
                <a:gd name="T6" fmla="*/ 10 w 12"/>
                <a:gd name="T7" fmla="*/ 0 h 10"/>
                <a:gd name="T8" fmla="*/ 5 w 12"/>
                <a:gd name="T9" fmla="*/ 0 h 10"/>
                <a:gd name="T10" fmla="*/ 5 w 12"/>
                <a:gd name="T11" fmla="*/ 0 h 10"/>
                <a:gd name="T12" fmla="*/ 0 w 12"/>
                <a:gd name="T13" fmla="*/ 0 h 10"/>
                <a:gd name="T14" fmla="*/ 0 w 12"/>
                <a:gd name="T15" fmla="*/ 2 h 10"/>
                <a:gd name="T16" fmla="*/ 0 w 12"/>
                <a:gd name="T17" fmla="*/ 7 h 10"/>
                <a:gd name="T18" fmla="*/ 2 w 12"/>
                <a:gd name="T19" fmla="*/ 10 h 10"/>
                <a:gd name="T20" fmla="*/ 5 w 12"/>
                <a:gd name="T21" fmla="*/ 7 h 10"/>
                <a:gd name="T22" fmla="*/ 10 w 12"/>
                <a:gd name="T23"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0">
                  <a:moveTo>
                    <a:pt x="10" y="7"/>
                  </a:moveTo>
                  <a:lnTo>
                    <a:pt x="12" y="5"/>
                  </a:lnTo>
                  <a:lnTo>
                    <a:pt x="12" y="2"/>
                  </a:lnTo>
                  <a:lnTo>
                    <a:pt x="10" y="0"/>
                  </a:lnTo>
                  <a:lnTo>
                    <a:pt x="5" y="0"/>
                  </a:lnTo>
                  <a:lnTo>
                    <a:pt x="5" y="0"/>
                  </a:lnTo>
                  <a:lnTo>
                    <a:pt x="0" y="0"/>
                  </a:lnTo>
                  <a:lnTo>
                    <a:pt x="0" y="2"/>
                  </a:lnTo>
                  <a:lnTo>
                    <a:pt x="0" y="7"/>
                  </a:lnTo>
                  <a:lnTo>
                    <a:pt x="2" y="10"/>
                  </a:lnTo>
                  <a:lnTo>
                    <a:pt x="5" y="7"/>
                  </a:lnTo>
                  <a:lnTo>
                    <a:pt x="1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24" name="Freeform 342">
              <a:extLst>
                <a:ext uri="{FF2B5EF4-FFF2-40B4-BE49-F238E27FC236}">
                  <a16:creationId xmlns:a16="http://schemas.microsoft.com/office/drawing/2014/main" id="{75D6E3E1-848F-4D1E-81B9-AF03BD8DCF59}"/>
                </a:ext>
              </a:extLst>
            </p:cNvPr>
            <p:cNvSpPr>
              <a:spLocks/>
            </p:cNvSpPr>
            <p:nvPr/>
          </p:nvSpPr>
          <p:spPr bwMode="gray">
            <a:xfrm>
              <a:off x="-2345" y="503"/>
              <a:ext cx="7" cy="12"/>
            </a:xfrm>
            <a:custGeom>
              <a:avLst/>
              <a:gdLst>
                <a:gd name="T0" fmla="*/ 7 w 7"/>
                <a:gd name="T1" fmla="*/ 3 h 12"/>
                <a:gd name="T2" fmla="*/ 5 w 7"/>
                <a:gd name="T3" fmla="*/ 3 h 12"/>
                <a:gd name="T4" fmla="*/ 5 w 7"/>
                <a:gd name="T5" fmla="*/ 0 h 12"/>
                <a:gd name="T6" fmla="*/ 5 w 7"/>
                <a:gd name="T7" fmla="*/ 0 h 12"/>
                <a:gd name="T8" fmla="*/ 2 w 7"/>
                <a:gd name="T9" fmla="*/ 0 h 12"/>
                <a:gd name="T10" fmla="*/ 2 w 7"/>
                <a:gd name="T11" fmla="*/ 0 h 12"/>
                <a:gd name="T12" fmla="*/ 2 w 7"/>
                <a:gd name="T13" fmla="*/ 0 h 12"/>
                <a:gd name="T14" fmla="*/ 2 w 7"/>
                <a:gd name="T15" fmla="*/ 0 h 12"/>
                <a:gd name="T16" fmla="*/ 0 w 7"/>
                <a:gd name="T17" fmla="*/ 3 h 12"/>
                <a:gd name="T18" fmla="*/ 0 w 7"/>
                <a:gd name="T19" fmla="*/ 3 h 12"/>
                <a:gd name="T20" fmla="*/ 0 w 7"/>
                <a:gd name="T21" fmla="*/ 5 h 12"/>
                <a:gd name="T22" fmla="*/ 2 w 7"/>
                <a:gd name="T23" fmla="*/ 7 h 12"/>
                <a:gd name="T24" fmla="*/ 2 w 7"/>
                <a:gd name="T25" fmla="*/ 7 h 12"/>
                <a:gd name="T26" fmla="*/ 5 w 7"/>
                <a:gd name="T27" fmla="*/ 10 h 12"/>
                <a:gd name="T28" fmla="*/ 5 w 7"/>
                <a:gd name="T29" fmla="*/ 10 h 12"/>
                <a:gd name="T30" fmla="*/ 5 w 7"/>
                <a:gd name="T31" fmla="*/ 10 h 12"/>
                <a:gd name="T32" fmla="*/ 5 w 7"/>
                <a:gd name="T33" fmla="*/ 10 h 12"/>
                <a:gd name="T34" fmla="*/ 5 w 7"/>
                <a:gd name="T35" fmla="*/ 10 h 12"/>
                <a:gd name="T36" fmla="*/ 5 w 7"/>
                <a:gd name="T37" fmla="*/ 12 h 12"/>
                <a:gd name="T38" fmla="*/ 5 w 7"/>
                <a:gd name="T39" fmla="*/ 12 h 12"/>
                <a:gd name="T40" fmla="*/ 7 w 7"/>
                <a:gd name="T41" fmla="*/ 10 h 12"/>
                <a:gd name="T42" fmla="*/ 7 w 7"/>
                <a:gd name="T43" fmla="*/ 7 h 12"/>
                <a:gd name="T44" fmla="*/ 7 w 7"/>
                <a:gd name="T45" fmla="*/ 7 h 12"/>
                <a:gd name="T46" fmla="*/ 7 w 7"/>
                <a:gd name="T47" fmla="*/ 5 h 12"/>
                <a:gd name="T48" fmla="*/ 7 w 7"/>
                <a:gd name="T49" fmla="*/ 5 h 12"/>
                <a:gd name="T50" fmla="*/ 7 w 7"/>
                <a:gd name="T51"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 h="12">
                  <a:moveTo>
                    <a:pt x="7" y="3"/>
                  </a:moveTo>
                  <a:lnTo>
                    <a:pt x="5" y="3"/>
                  </a:lnTo>
                  <a:lnTo>
                    <a:pt x="5" y="0"/>
                  </a:lnTo>
                  <a:lnTo>
                    <a:pt x="5" y="0"/>
                  </a:lnTo>
                  <a:lnTo>
                    <a:pt x="2" y="0"/>
                  </a:lnTo>
                  <a:lnTo>
                    <a:pt x="2" y="0"/>
                  </a:lnTo>
                  <a:lnTo>
                    <a:pt x="2" y="0"/>
                  </a:lnTo>
                  <a:lnTo>
                    <a:pt x="2" y="0"/>
                  </a:lnTo>
                  <a:lnTo>
                    <a:pt x="0" y="3"/>
                  </a:lnTo>
                  <a:lnTo>
                    <a:pt x="0" y="3"/>
                  </a:lnTo>
                  <a:lnTo>
                    <a:pt x="0" y="5"/>
                  </a:lnTo>
                  <a:lnTo>
                    <a:pt x="2" y="7"/>
                  </a:lnTo>
                  <a:lnTo>
                    <a:pt x="2" y="7"/>
                  </a:lnTo>
                  <a:lnTo>
                    <a:pt x="5" y="10"/>
                  </a:lnTo>
                  <a:lnTo>
                    <a:pt x="5" y="10"/>
                  </a:lnTo>
                  <a:lnTo>
                    <a:pt x="5" y="10"/>
                  </a:lnTo>
                  <a:lnTo>
                    <a:pt x="5" y="10"/>
                  </a:lnTo>
                  <a:lnTo>
                    <a:pt x="5" y="10"/>
                  </a:lnTo>
                  <a:lnTo>
                    <a:pt x="5" y="12"/>
                  </a:lnTo>
                  <a:lnTo>
                    <a:pt x="5" y="12"/>
                  </a:lnTo>
                  <a:lnTo>
                    <a:pt x="7" y="10"/>
                  </a:lnTo>
                  <a:lnTo>
                    <a:pt x="7" y="7"/>
                  </a:lnTo>
                  <a:lnTo>
                    <a:pt x="7" y="7"/>
                  </a:lnTo>
                  <a:lnTo>
                    <a:pt x="7" y="5"/>
                  </a:lnTo>
                  <a:lnTo>
                    <a:pt x="7" y="5"/>
                  </a:lnTo>
                  <a:lnTo>
                    <a:pt x="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25" name="Freeform 343">
              <a:extLst>
                <a:ext uri="{FF2B5EF4-FFF2-40B4-BE49-F238E27FC236}">
                  <a16:creationId xmlns:a16="http://schemas.microsoft.com/office/drawing/2014/main" id="{3E2EAB62-DACE-4B80-BA22-C4B425ED9C37}"/>
                </a:ext>
              </a:extLst>
            </p:cNvPr>
            <p:cNvSpPr>
              <a:spLocks/>
            </p:cNvSpPr>
            <p:nvPr/>
          </p:nvSpPr>
          <p:spPr bwMode="gray">
            <a:xfrm>
              <a:off x="-2331" y="517"/>
              <a:ext cx="14" cy="10"/>
            </a:xfrm>
            <a:custGeom>
              <a:avLst/>
              <a:gdLst>
                <a:gd name="T0" fmla="*/ 12 w 14"/>
                <a:gd name="T1" fmla="*/ 10 h 10"/>
                <a:gd name="T2" fmla="*/ 14 w 14"/>
                <a:gd name="T3" fmla="*/ 7 h 10"/>
                <a:gd name="T4" fmla="*/ 14 w 14"/>
                <a:gd name="T5" fmla="*/ 5 h 10"/>
                <a:gd name="T6" fmla="*/ 14 w 14"/>
                <a:gd name="T7" fmla="*/ 3 h 10"/>
                <a:gd name="T8" fmla="*/ 14 w 14"/>
                <a:gd name="T9" fmla="*/ 3 h 10"/>
                <a:gd name="T10" fmla="*/ 12 w 14"/>
                <a:gd name="T11" fmla="*/ 3 h 10"/>
                <a:gd name="T12" fmla="*/ 12 w 14"/>
                <a:gd name="T13" fmla="*/ 3 h 10"/>
                <a:gd name="T14" fmla="*/ 10 w 14"/>
                <a:gd name="T15" fmla="*/ 3 h 10"/>
                <a:gd name="T16" fmla="*/ 7 w 14"/>
                <a:gd name="T17" fmla="*/ 3 h 10"/>
                <a:gd name="T18" fmla="*/ 5 w 14"/>
                <a:gd name="T19" fmla="*/ 0 h 10"/>
                <a:gd name="T20" fmla="*/ 5 w 14"/>
                <a:gd name="T21" fmla="*/ 0 h 10"/>
                <a:gd name="T22" fmla="*/ 5 w 14"/>
                <a:gd name="T23" fmla="*/ 0 h 10"/>
                <a:gd name="T24" fmla="*/ 3 w 14"/>
                <a:gd name="T25" fmla="*/ 0 h 10"/>
                <a:gd name="T26" fmla="*/ 3 w 14"/>
                <a:gd name="T27" fmla="*/ 0 h 10"/>
                <a:gd name="T28" fmla="*/ 3 w 14"/>
                <a:gd name="T29" fmla="*/ 0 h 10"/>
                <a:gd name="T30" fmla="*/ 0 w 14"/>
                <a:gd name="T31" fmla="*/ 3 h 10"/>
                <a:gd name="T32" fmla="*/ 3 w 14"/>
                <a:gd name="T33" fmla="*/ 3 h 10"/>
                <a:gd name="T34" fmla="*/ 7 w 14"/>
                <a:gd name="T35" fmla="*/ 5 h 10"/>
                <a:gd name="T36" fmla="*/ 12 w 14"/>
                <a:gd name="T3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10">
                  <a:moveTo>
                    <a:pt x="12" y="10"/>
                  </a:moveTo>
                  <a:lnTo>
                    <a:pt x="14" y="7"/>
                  </a:lnTo>
                  <a:lnTo>
                    <a:pt x="14" y="5"/>
                  </a:lnTo>
                  <a:lnTo>
                    <a:pt x="14" y="3"/>
                  </a:lnTo>
                  <a:lnTo>
                    <a:pt x="14" y="3"/>
                  </a:lnTo>
                  <a:lnTo>
                    <a:pt x="12" y="3"/>
                  </a:lnTo>
                  <a:lnTo>
                    <a:pt x="12" y="3"/>
                  </a:lnTo>
                  <a:lnTo>
                    <a:pt x="10" y="3"/>
                  </a:lnTo>
                  <a:lnTo>
                    <a:pt x="7" y="3"/>
                  </a:lnTo>
                  <a:lnTo>
                    <a:pt x="5" y="0"/>
                  </a:lnTo>
                  <a:lnTo>
                    <a:pt x="5" y="0"/>
                  </a:lnTo>
                  <a:lnTo>
                    <a:pt x="5" y="0"/>
                  </a:lnTo>
                  <a:lnTo>
                    <a:pt x="3" y="0"/>
                  </a:lnTo>
                  <a:lnTo>
                    <a:pt x="3" y="0"/>
                  </a:lnTo>
                  <a:lnTo>
                    <a:pt x="3" y="0"/>
                  </a:lnTo>
                  <a:lnTo>
                    <a:pt x="0" y="3"/>
                  </a:lnTo>
                  <a:lnTo>
                    <a:pt x="3" y="3"/>
                  </a:lnTo>
                  <a:lnTo>
                    <a:pt x="7" y="5"/>
                  </a:lnTo>
                  <a:lnTo>
                    <a:pt x="1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26" name="Freeform 344">
              <a:extLst>
                <a:ext uri="{FF2B5EF4-FFF2-40B4-BE49-F238E27FC236}">
                  <a16:creationId xmlns:a16="http://schemas.microsoft.com/office/drawing/2014/main" id="{82D6ECA4-B9A3-413D-958C-07E4E3FAAD09}"/>
                </a:ext>
              </a:extLst>
            </p:cNvPr>
            <p:cNvSpPr>
              <a:spLocks/>
            </p:cNvSpPr>
            <p:nvPr/>
          </p:nvSpPr>
          <p:spPr bwMode="gray">
            <a:xfrm>
              <a:off x="-2373" y="319"/>
              <a:ext cx="16" cy="22"/>
            </a:xfrm>
            <a:custGeom>
              <a:avLst/>
              <a:gdLst>
                <a:gd name="T0" fmla="*/ 11 w 16"/>
                <a:gd name="T1" fmla="*/ 19 h 22"/>
                <a:gd name="T2" fmla="*/ 11 w 16"/>
                <a:gd name="T3" fmla="*/ 22 h 22"/>
                <a:gd name="T4" fmla="*/ 11 w 16"/>
                <a:gd name="T5" fmla="*/ 22 h 22"/>
                <a:gd name="T6" fmla="*/ 11 w 16"/>
                <a:gd name="T7" fmla="*/ 22 h 22"/>
                <a:gd name="T8" fmla="*/ 16 w 16"/>
                <a:gd name="T9" fmla="*/ 19 h 22"/>
                <a:gd name="T10" fmla="*/ 16 w 16"/>
                <a:gd name="T11" fmla="*/ 19 h 22"/>
                <a:gd name="T12" fmla="*/ 16 w 16"/>
                <a:gd name="T13" fmla="*/ 15 h 22"/>
                <a:gd name="T14" fmla="*/ 16 w 16"/>
                <a:gd name="T15" fmla="*/ 12 h 22"/>
                <a:gd name="T16" fmla="*/ 14 w 16"/>
                <a:gd name="T17" fmla="*/ 7 h 22"/>
                <a:gd name="T18" fmla="*/ 4 w 16"/>
                <a:gd name="T19" fmla="*/ 5 h 22"/>
                <a:gd name="T20" fmla="*/ 2 w 16"/>
                <a:gd name="T21" fmla="*/ 0 h 22"/>
                <a:gd name="T22" fmla="*/ 0 w 16"/>
                <a:gd name="T23" fmla="*/ 0 h 22"/>
                <a:gd name="T24" fmla="*/ 0 w 16"/>
                <a:gd name="T25" fmla="*/ 0 h 22"/>
                <a:gd name="T26" fmla="*/ 2 w 16"/>
                <a:gd name="T27" fmla="*/ 5 h 22"/>
                <a:gd name="T28" fmla="*/ 2 w 16"/>
                <a:gd name="T29" fmla="*/ 7 h 22"/>
                <a:gd name="T30" fmla="*/ 2 w 16"/>
                <a:gd name="T31" fmla="*/ 7 h 22"/>
                <a:gd name="T32" fmla="*/ 4 w 16"/>
                <a:gd name="T33" fmla="*/ 7 h 22"/>
                <a:gd name="T34" fmla="*/ 4 w 16"/>
                <a:gd name="T35" fmla="*/ 7 h 22"/>
                <a:gd name="T36" fmla="*/ 4 w 16"/>
                <a:gd name="T37" fmla="*/ 7 h 22"/>
                <a:gd name="T38" fmla="*/ 7 w 16"/>
                <a:gd name="T39" fmla="*/ 7 h 22"/>
                <a:gd name="T40" fmla="*/ 7 w 16"/>
                <a:gd name="T41" fmla="*/ 10 h 22"/>
                <a:gd name="T42" fmla="*/ 7 w 16"/>
                <a:gd name="T43" fmla="*/ 10 h 22"/>
                <a:gd name="T44" fmla="*/ 7 w 16"/>
                <a:gd name="T45" fmla="*/ 12 h 22"/>
                <a:gd name="T46" fmla="*/ 9 w 16"/>
                <a:gd name="T47" fmla="*/ 12 h 22"/>
                <a:gd name="T48" fmla="*/ 9 w 16"/>
                <a:gd name="T49" fmla="*/ 12 h 22"/>
                <a:gd name="T50" fmla="*/ 7 w 16"/>
                <a:gd name="T51" fmla="*/ 12 h 22"/>
                <a:gd name="T52" fmla="*/ 7 w 16"/>
                <a:gd name="T53" fmla="*/ 12 h 22"/>
                <a:gd name="T54" fmla="*/ 7 w 16"/>
                <a:gd name="T55" fmla="*/ 12 h 22"/>
                <a:gd name="T56" fmla="*/ 9 w 16"/>
                <a:gd name="T57" fmla="*/ 15 h 22"/>
                <a:gd name="T58" fmla="*/ 11 w 16"/>
                <a:gd name="T59" fmla="*/ 17 h 22"/>
                <a:gd name="T60" fmla="*/ 11 w 16"/>
                <a:gd name="T61" fmla="*/ 17 h 22"/>
                <a:gd name="T62" fmla="*/ 11 w 16"/>
                <a:gd name="T6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22">
                  <a:moveTo>
                    <a:pt x="11" y="19"/>
                  </a:moveTo>
                  <a:lnTo>
                    <a:pt x="11" y="22"/>
                  </a:lnTo>
                  <a:lnTo>
                    <a:pt x="11" y="22"/>
                  </a:lnTo>
                  <a:lnTo>
                    <a:pt x="11" y="22"/>
                  </a:lnTo>
                  <a:lnTo>
                    <a:pt x="16" y="19"/>
                  </a:lnTo>
                  <a:lnTo>
                    <a:pt x="16" y="19"/>
                  </a:lnTo>
                  <a:lnTo>
                    <a:pt x="16" y="15"/>
                  </a:lnTo>
                  <a:lnTo>
                    <a:pt x="16" y="12"/>
                  </a:lnTo>
                  <a:lnTo>
                    <a:pt x="14" y="7"/>
                  </a:lnTo>
                  <a:lnTo>
                    <a:pt x="4" y="5"/>
                  </a:lnTo>
                  <a:lnTo>
                    <a:pt x="2" y="0"/>
                  </a:lnTo>
                  <a:lnTo>
                    <a:pt x="0" y="0"/>
                  </a:lnTo>
                  <a:lnTo>
                    <a:pt x="0" y="0"/>
                  </a:lnTo>
                  <a:lnTo>
                    <a:pt x="2" y="5"/>
                  </a:lnTo>
                  <a:lnTo>
                    <a:pt x="2" y="7"/>
                  </a:lnTo>
                  <a:lnTo>
                    <a:pt x="2" y="7"/>
                  </a:lnTo>
                  <a:lnTo>
                    <a:pt x="4" y="7"/>
                  </a:lnTo>
                  <a:lnTo>
                    <a:pt x="4" y="7"/>
                  </a:lnTo>
                  <a:lnTo>
                    <a:pt x="4" y="7"/>
                  </a:lnTo>
                  <a:lnTo>
                    <a:pt x="7" y="7"/>
                  </a:lnTo>
                  <a:lnTo>
                    <a:pt x="7" y="10"/>
                  </a:lnTo>
                  <a:lnTo>
                    <a:pt x="7" y="10"/>
                  </a:lnTo>
                  <a:lnTo>
                    <a:pt x="7" y="12"/>
                  </a:lnTo>
                  <a:lnTo>
                    <a:pt x="9" y="12"/>
                  </a:lnTo>
                  <a:lnTo>
                    <a:pt x="9" y="12"/>
                  </a:lnTo>
                  <a:lnTo>
                    <a:pt x="7" y="12"/>
                  </a:lnTo>
                  <a:lnTo>
                    <a:pt x="7" y="12"/>
                  </a:lnTo>
                  <a:lnTo>
                    <a:pt x="7" y="12"/>
                  </a:lnTo>
                  <a:lnTo>
                    <a:pt x="9" y="15"/>
                  </a:lnTo>
                  <a:lnTo>
                    <a:pt x="11" y="17"/>
                  </a:lnTo>
                  <a:lnTo>
                    <a:pt x="11" y="17"/>
                  </a:lnTo>
                  <a:lnTo>
                    <a:pt x="11"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27" name="Freeform 345">
              <a:extLst>
                <a:ext uri="{FF2B5EF4-FFF2-40B4-BE49-F238E27FC236}">
                  <a16:creationId xmlns:a16="http://schemas.microsoft.com/office/drawing/2014/main" id="{9A390762-09EE-4ACF-BAEC-304C06AC4B4D}"/>
                </a:ext>
              </a:extLst>
            </p:cNvPr>
            <p:cNvSpPr>
              <a:spLocks/>
            </p:cNvSpPr>
            <p:nvPr/>
          </p:nvSpPr>
          <p:spPr bwMode="gray">
            <a:xfrm>
              <a:off x="-2347" y="301"/>
              <a:ext cx="26" cy="35"/>
            </a:xfrm>
            <a:custGeom>
              <a:avLst/>
              <a:gdLst>
                <a:gd name="T0" fmla="*/ 26 w 26"/>
                <a:gd name="T1" fmla="*/ 14 h 35"/>
                <a:gd name="T2" fmla="*/ 26 w 26"/>
                <a:gd name="T3" fmla="*/ 11 h 35"/>
                <a:gd name="T4" fmla="*/ 26 w 26"/>
                <a:gd name="T5" fmla="*/ 2 h 35"/>
                <a:gd name="T6" fmla="*/ 23 w 26"/>
                <a:gd name="T7" fmla="*/ 0 h 35"/>
                <a:gd name="T8" fmla="*/ 21 w 26"/>
                <a:gd name="T9" fmla="*/ 0 h 35"/>
                <a:gd name="T10" fmla="*/ 19 w 26"/>
                <a:gd name="T11" fmla="*/ 0 h 35"/>
                <a:gd name="T12" fmla="*/ 19 w 26"/>
                <a:gd name="T13" fmla="*/ 2 h 35"/>
                <a:gd name="T14" fmla="*/ 19 w 26"/>
                <a:gd name="T15" fmla="*/ 2 h 35"/>
                <a:gd name="T16" fmla="*/ 19 w 26"/>
                <a:gd name="T17" fmla="*/ 7 h 35"/>
                <a:gd name="T18" fmla="*/ 16 w 26"/>
                <a:gd name="T19" fmla="*/ 7 h 35"/>
                <a:gd name="T20" fmla="*/ 16 w 26"/>
                <a:gd name="T21" fmla="*/ 9 h 35"/>
                <a:gd name="T22" fmla="*/ 14 w 26"/>
                <a:gd name="T23" fmla="*/ 9 h 35"/>
                <a:gd name="T24" fmla="*/ 14 w 26"/>
                <a:gd name="T25" fmla="*/ 11 h 35"/>
                <a:gd name="T26" fmla="*/ 9 w 26"/>
                <a:gd name="T27" fmla="*/ 14 h 35"/>
                <a:gd name="T28" fmla="*/ 7 w 26"/>
                <a:gd name="T29" fmla="*/ 16 h 35"/>
                <a:gd name="T30" fmla="*/ 7 w 26"/>
                <a:gd name="T31" fmla="*/ 16 h 35"/>
                <a:gd name="T32" fmla="*/ 4 w 26"/>
                <a:gd name="T33" fmla="*/ 18 h 35"/>
                <a:gd name="T34" fmla="*/ 4 w 26"/>
                <a:gd name="T35" fmla="*/ 18 h 35"/>
                <a:gd name="T36" fmla="*/ 4 w 26"/>
                <a:gd name="T37" fmla="*/ 18 h 35"/>
                <a:gd name="T38" fmla="*/ 0 w 26"/>
                <a:gd name="T39" fmla="*/ 18 h 35"/>
                <a:gd name="T40" fmla="*/ 0 w 26"/>
                <a:gd name="T41" fmla="*/ 21 h 35"/>
                <a:gd name="T42" fmla="*/ 4 w 26"/>
                <a:gd name="T43" fmla="*/ 25 h 35"/>
                <a:gd name="T44" fmla="*/ 7 w 26"/>
                <a:gd name="T45" fmla="*/ 30 h 35"/>
                <a:gd name="T46" fmla="*/ 7 w 26"/>
                <a:gd name="T47" fmla="*/ 30 h 35"/>
                <a:gd name="T48" fmla="*/ 9 w 26"/>
                <a:gd name="T49" fmla="*/ 30 h 35"/>
                <a:gd name="T50" fmla="*/ 11 w 26"/>
                <a:gd name="T51" fmla="*/ 35 h 35"/>
                <a:gd name="T52" fmla="*/ 11 w 26"/>
                <a:gd name="T53" fmla="*/ 35 h 35"/>
                <a:gd name="T54" fmla="*/ 14 w 26"/>
                <a:gd name="T55" fmla="*/ 35 h 35"/>
                <a:gd name="T56" fmla="*/ 19 w 26"/>
                <a:gd name="T57" fmla="*/ 35 h 35"/>
                <a:gd name="T58" fmla="*/ 19 w 26"/>
                <a:gd name="T59" fmla="*/ 33 h 35"/>
                <a:gd name="T60" fmla="*/ 19 w 26"/>
                <a:gd name="T61" fmla="*/ 33 h 35"/>
                <a:gd name="T62" fmla="*/ 21 w 26"/>
                <a:gd name="T63" fmla="*/ 30 h 35"/>
                <a:gd name="T64" fmla="*/ 21 w 26"/>
                <a:gd name="T65" fmla="*/ 30 h 35"/>
                <a:gd name="T66" fmla="*/ 23 w 26"/>
                <a:gd name="T67" fmla="*/ 30 h 35"/>
                <a:gd name="T68" fmla="*/ 23 w 26"/>
                <a:gd name="T69" fmla="*/ 30 h 35"/>
                <a:gd name="T70" fmla="*/ 23 w 26"/>
                <a:gd name="T71" fmla="*/ 28 h 35"/>
                <a:gd name="T72" fmla="*/ 23 w 26"/>
                <a:gd name="T73" fmla="*/ 23 h 35"/>
                <a:gd name="T74" fmla="*/ 23 w 26"/>
                <a:gd name="T75" fmla="*/ 21 h 35"/>
                <a:gd name="T76" fmla="*/ 26 w 26"/>
                <a:gd name="T77" fmla="*/ 1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6" h="35">
                  <a:moveTo>
                    <a:pt x="26" y="14"/>
                  </a:moveTo>
                  <a:lnTo>
                    <a:pt x="26" y="11"/>
                  </a:lnTo>
                  <a:lnTo>
                    <a:pt x="26" y="2"/>
                  </a:lnTo>
                  <a:lnTo>
                    <a:pt x="23" y="0"/>
                  </a:lnTo>
                  <a:lnTo>
                    <a:pt x="21" y="0"/>
                  </a:lnTo>
                  <a:lnTo>
                    <a:pt x="19" y="0"/>
                  </a:lnTo>
                  <a:lnTo>
                    <a:pt x="19" y="2"/>
                  </a:lnTo>
                  <a:lnTo>
                    <a:pt x="19" y="2"/>
                  </a:lnTo>
                  <a:lnTo>
                    <a:pt x="19" y="7"/>
                  </a:lnTo>
                  <a:lnTo>
                    <a:pt x="16" y="7"/>
                  </a:lnTo>
                  <a:lnTo>
                    <a:pt x="16" y="9"/>
                  </a:lnTo>
                  <a:lnTo>
                    <a:pt x="14" y="9"/>
                  </a:lnTo>
                  <a:lnTo>
                    <a:pt x="14" y="11"/>
                  </a:lnTo>
                  <a:lnTo>
                    <a:pt x="9" y="14"/>
                  </a:lnTo>
                  <a:lnTo>
                    <a:pt x="7" y="16"/>
                  </a:lnTo>
                  <a:lnTo>
                    <a:pt x="7" y="16"/>
                  </a:lnTo>
                  <a:lnTo>
                    <a:pt x="4" y="18"/>
                  </a:lnTo>
                  <a:lnTo>
                    <a:pt x="4" y="18"/>
                  </a:lnTo>
                  <a:lnTo>
                    <a:pt x="4" y="18"/>
                  </a:lnTo>
                  <a:lnTo>
                    <a:pt x="0" y="18"/>
                  </a:lnTo>
                  <a:lnTo>
                    <a:pt x="0" y="21"/>
                  </a:lnTo>
                  <a:lnTo>
                    <a:pt x="4" y="25"/>
                  </a:lnTo>
                  <a:lnTo>
                    <a:pt x="7" y="30"/>
                  </a:lnTo>
                  <a:lnTo>
                    <a:pt x="7" y="30"/>
                  </a:lnTo>
                  <a:lnTo>
                    <a:pt x="9" y="30"/>
                  </a:lnTo>
                  <a:lnTo>
                    <a:pt x="11" y="35"/>
                  </a:lnTo>
                  <a:lnTo>
                    <a:pt x="11" y="35"/>
                  </a:lnTo>
                  <a:lnTo>
                    <a:pt x="14" y="35"/>
                  </a:lnTo>
                  <a:lnTo>
                    <a:pt x="19" y="35"/>
                  </a:lnTo>
                  <a:lnTo>
                    <a:pt x="19" y="33"/>
                  </a:lnTo>
                  <a:lnTo>
                    <a:pt x="19" y="33"/>
                  </a:lnTo>
                  <a:lnTo>
                    <a:pt x="21" y="30"/>
                  </a:lnTo>
                  <a:lnTo>
                    <a:pt x="21" y="30"/>
                  </a:lnTo>
                  <a:lnTo>
                    <a:pt x="23" y="30"/>
                  </a:lnTo>
                  <a:lnTo>
                    <a:pt x="23" y="30"/>
                  </a:lnTo>
                  <a:lnTo>
                    <a:pt x="23" y="28"/>
                  </a:lnTo>
                  <a:lnTo>
                    <a:pt x="23" y="23"/>
                  </a:lnTo>
                  <a:lnTo>
                    <a:pt x="23" y="21"/>
                  </a:lnTo>
                  <a:lnTo>
                    <a:pt x="2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28" name="Freeform 346">
              <a:extLst>
                <a:ext uri="{FF2B5EF4-FFF2-40B4-BE49-F238E27FC236}">
                  <a16:creationId xmlns:a16="http://schemas.microsoft.com/office/drawing/2014/main" id="{4D5EB0F5-29A5-42EA-9E60-8E2806142FF1}"/>
                </a:ext>
              </a:extLst>
            </p:cNvPr>
            <p:cNvSpPr>
              <a:spLocks/>
            </p:cNvSpPr>
            <p:nvPr/>
          </p:nvSpPr>
          <p:spPr bwMode="gray">
            <a:xfrm>
              <a:off x="-2336" y="63"/>
              <a:ext cx="22" cy="18"/>
            </a:xfrm>
            <a:custGeom>
              <a:avLst/>
              <a:gdLst>
                <a:gd name="T0" fmla="*/ 3 w 22"/>
                <a:gd name="T1" fmla="*/ 14 h 18"/>
                <a:gd name="T2" fmla="*/ 3 w 22"/>
                <a:gd name="T3" fmla="*/ 16 h 18"/>
                <a:gd name="T4" fmla="*/ 3 w 22"/>
                <a:gd name="T5" fmla="*/ 16 h 18"/>
                <a:gd name="T6" fmla="*/ 3 w 22"/>
                <a:gd name="T7" fmla="*/ 16 h 18"/>
                <a:gd name="T8" fmla="*/ 3 w 22"/>
                <a:gd name="T9" fmla="*/ 16 h 18"/>
                <a:gd name="T10" fmla="*/ 15 w 22"/>
                <a:gd name="T11" fmla="*/ 18 h 18"/>
                <a:gd name="T12" fmla="*/ 19 w 22"/>
                <a:gd name="T13" fmla="*/ 14 h 18"/>
                <a:gd name="T14" fmla="*/ 22 w 22"/>
                <a:gd name="T15" fmla="*/ 14 h 18"/>
                <a:gd name="T16" fmla="*/ 22 w 22"/>
                <a:gd name="T17" fmla="*/ 14 h 18"/>
                <a:gd name="T18" fmla="*/ 22 w 22"/>
                <a:gd name="T19" fmla="*/ 11 h 18"/>
                <a:gd name="T20" fmla="*/ 22 w 22"/>
                <a:gd name="T21" fmla="*/ 11 h 18"/>
                <a:gd name="T22" fmla="*/ 22 w 22"/>
                <a:gd name="T23" fmla="*/ 9 h 18"/>
                <a:gd name="T24" fmla="*/ 22 w 22"/>
                <a:gd name="T25" fmla="*/ 9 h 18"/>
                <a:gd name="T26" fmla="*/ 22 w 22"/>
                <a:gd name="T27" fmla="*/ 9 h 18"/>
                <a:gd name="T28" fmla="*/ 22 w 22"/>
                <a:gd name="T29" fmla="*/ 7 h 18"/>
                <a:gd name="T30" fmla="*/ 22 w 22"/>
                <a:gd name="T31" fmla="*/ 7 h 18"/>
                <a:gd name="T32" fmla="*/ 22 w 22"/>
                <a:gd name="T33" fmla="*/ 7 h 18"/>
                <a:gd name="T34" fmla="*/ 22 w 22"/>
                <a:gd name="T35" fmla="*/ 4 h 18"/>
                <a:gd name="T36" fmla="*/ 19 w 22"/>
                <a:gd name="T37" fmla="*/ 4 h 18"/>
                <a:gd name="T38" fmla="*/ 17 w 22"/>
                <a:gd name="T39" fmla="*/ 4 h 18"/>
                <a:gd name="T40" fmla="*/ 17 w 22"/>
                <a:gd name="T41" fmla="*/ 4 h 18"/>
                <a:gd name="T42" fmla="*/ 15 w 22"/>
                <a:gd name="T43" fmla="*/ 4 h 18"/>
                <a:gd name="T44" fmla="*/ 15 w 22"/>
                <a:gd name="T45" fmla="*/ 2 h 18"/>
                <a:gd name="T46" fmla="*/ 15 w 22"/>
                <a:gd name="T47" fmla="*/ 2 h 18"/>
                <a:gd name="T48" fmla="*/ 15 w 22"/>
                <a:gd name="T49" fmla="*/ 0 h 18"/>
                <a:gd name="T50" fmla="*/ 15 w 22"/>
                <a:gd name="T51" fmla="*/ 2 h 18"/>
                <a:gd name="T52" fmla="*/ 12 w 22"/>
                <a:gd name="T53" fmla="*/ 2 h 18"/>
                <a:gd name="T54" fmla="*/ 12 w 22"/>
                <a:gd name="T55" fmla="*/ 2 h 18"/>
                <a:gd name="T56" fmla="*/ 8 w 22"/>
                <a:gd name="T57" fmla="*/ 2 h 18"/>
                <a:gd name="T58" fmla="*/ 5 w 22"/>
                <a:gd name="T59" fmla="*/ 2 h 18"/>
                <a:gd name="T60" fmla="*/ 3 w 22"/>
                <a:gd name="T61" fmla="*/ 4 h 18"/>
                <a:gd name="T62" fmla="*/ 5 w 22"/>
                <a:gd name="T63" fmla="*/ 4 h 18"/>
                <a:gd name="T64" fmla="*/ 5 w 22"/>
                <a:gd name="T65" fmla="*/ 7 h 18"/>
                <a:gd name="T66" fmla="*/ 5 w 22"/>
                <a:gd name="T67" fmla="*/ 7 h 18"/>
                <a:gd name="T68" fmla="*/ 5 w 22"/>
                <a:gd name="T69" fmla="*/ 7 h 18"/>
                <a:gd name="T70" fmla="*/ 3 w 22"/>
                <a:gd name="T71" fmla="*/ 7 h 18"/>
                <a:gd name="T72" fmla="*/ 3 w 22"/>
                <a:gd name="T73" fmla="*/ 9 h 18"/>
                <a:gd name="T74" fmla="*/ 3 w 22"/>
                <a:gd name="T75" fmla="*/ 9 h 18"/>
                <a:gd name="T76" fmla="*/ 3 w 22"/>
                <a:gd name="T77" fmla="*/ 9 h 18"/>
                <a:gd name="T78" fmla="*/ 5 w 22"/>
                <a:gd name="T79" fmla="*/ 11 h 18"/>
                <a:gd name="T80" fmla="*/ 8 w 22"/>
                <a:gd name="T81" fmla="*/ 11 h 18"/>
                <a:gd name="T82" fmla="*/ 8 w 22"/>
                <a:gd name="T83" fmla="*/ 11 h 18"/>
                <a:gd name="T84" fmla="*/ 8 w 22"/>
                <a:gd name="T85" fmla="*/ 14 h 18"/>
                <a:gd name="T86" fmla="*/ 0 w 22"/>
                <a:gd name="T87" fmla="*/ 11 h 18"/>
                <a:gd name="T88" fmla="*/ 0 w 22"/>
                <a:gd name="T89" fmla="*/ 14 h 18"/>
                <a:gd name="T90" fmla="*/ 3 w 22"/>
                <a:gd name="T91"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18">
                  <a:moveTo>
                    <a:pt x="3" y="14"/>
                  </a:moveTo>
                  <a:lnTo>
                    <a:pt x="3" y="16"/>
                  </a:lnTo>
                  <a:lnTo>
                    <a:pt x="3" y="16"/>
                  </a:lnTo>
                  <a:lnTo>
                    <a:pt x="3" y="16"/>
                  </a:lnTo>
                  <a:lnTo>
                    <a:pt x="3" y="16"/>
                  </a:lnTo>
                  <a:lnTo>
                    <a:pt x="15" y="18"/>
                  </a:lnTo>
                  <a:lnTo>
                    <a:pt x="19" y="14"/>
                  </a:lnTo>
                  <a:lnTo>
                    <a:pt x="22" y="14"/>
                  </a:lnTo>
                  <a:lnTo>
                    <a:pt x="22" y="14"/>
                  </a:lnTo>
                  <a:lnTo>
                    <a:pt x="22" y="11"/>
                  </a:lnTo>
                  <a:lnTo>
                    <a:pt x="22" y="11"/>
                  </a:lnTo>
                  <a:lnTo>
                    <a:pt x="22" y="9"/>
                  </a:lnTo>
                  <a:lnTo>
                    <a:pt x="22" y="9"/>
                  </a:lnTo>
                  <a:lnTo>
                    <a:pt x="22" y="9"/>
                  </a:lnTo>
                  <a:lnTo>
                    <a:pt x="22" y="7"/>
                  </a:lnTo>
                  <a:lnTo>
                    <a:pt x="22" y="7"/>
                  </a:lnTo>
                  <a:lnTo>
                    <a:pt x="22" y="7"/>
                  </a:lnTo>
                  <a:lnTo>
                    <a:pt x="22" y="4"/>
                  </a:lnTo>
                  <a:lnTo>
                    <a:pt x="19" y="4"/>
                  </a:lnTo>
                  <a:lnTo>
                    <a:pt x="17" y="4"/>
                  </a:lnTo>
                  <a:lnTo>
                    <a:pt x="17" y="4"/>
                  </a:lnTo>
                  <a:lnTo>
                    <a:pt x="15" y="4"/>
                  </a:lnTo>
                  <a:lnTo>
                    <a:pt x="15" y="2"/>
                  </a:lnTo>
                  <a:lnTo>
                    <a:pt x="15" y="2"/>
                  </a:lnTo>
                  <a:lnTo>
                    <a:pt x="15" y="0"/>
                  </a:lnTo>
                  <a:lnTo>
                    <a:pt x="15" y="2"/>
                  </a:lnTo>
                  <a:lnTo>
                    <a:pt x="12" y="2"/>
                  </a:lnTo>
                  <a:lnTo>
                    <a:pt x="12" y="2"/>
                  </a:lnTo>
                  <a:lnTo>
                    <a:pt x="8" y="2"/>
                  </a:lnTo>
                  <a:lnTo>
                    <a:pt x="5" y="2"/>
                  </a:lnTo>
                  <a:lnTo>
                    <a:pt x="3" y="4"/>
                  </a:lnTo>
                  <a:lnTo>
                    <a:pt x="5" y="4"/>
                  </a:lnTo>
                  <a:lnTo>
                    <a:pt x="5" y="7"/>
                  </a:lnTo>
                  <a:lnTo>
                    <a:pt x="5" y="7"/>
                  </a:lnTo>
                  <a:lnTo>
                    <a:pt x="5" y="7"/>
                  </a:lnTo>
                  <a:lnTo>
                    <a:pt x="3" y="7"/>
                  </a:lnTo>
                  <a:lnTo>
                    <a:pt x="3" y="9"/>
                  </a:lnTo>
                  <a:lnTo>
                    <a:pt x="3" y="9"/>
                  </a:lnTo>
                  <a:lnTo>
                    <a:pt x="3" y="9"/>
                  </a:lnTo>
                  <a:lnTo>
                    <a:pt x="5" y="11"/>
                  </a:lnTo>
                  <a:lnTo>
                    <a:pt x="8" y="11"/>
                  </a:lnTo>
                  <a:lnTo>
                    <a:pt x="8" y="11"/>
                  </a:lnTo>
                  <a:lnTo>
                    <a:pt x="8" y="14"/>
                  </a:lnTo>
                  <a:lnTo>
                    <a:pt x="0" y="11"/>
                  </a:lnTo>
                  <a:lnTo>
                    <a:pt x="0" y="14"/>
                  </a:lnTo>
                  <a:lnTo>
                    <a:pt x="3"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29" name="Freeform 347">
              <a:extLst>
                <a:ext uri="{FF2B5EF4-FFF2-40B4-BE49-F238E27FC236}">
                  <a16:creationId xmlns:a16="http://schemas.microsoft.com/office/drawing/2014/main" id="{AAA1DC66-89D5-4CD6-B6C2-71F87B3FECD4}"/>
                </a:ext>
              </a:extLst>
            </p:cNvPr>
            <p:cNvSpPr>
              <a:spLocks/>
            </p:cNvSpPr>
            <p:nvPr/>
          </p:nvSpPr>
          <p:spPr bwMode="gray">
            <a:xfrm>
              <a:off x="-2298" y="41"/>
              <a:ext cx="21" cy="7"/>
            </a:xfrm>
            <a:custGeom>
              <a:avLst/>
              <a:gdLst>
                <a:gd name="T0" fmla="*/ 10 w 21"/>
                <a:gd name="T1" fmla="*/ 7 h 7"/>
                <a:gd name="T2" fmla="*/ 19 w 21"/>
                <a:gd name="T3" fmla="*/ 7 h 7"/>
                <a:gd name="T4" fmla="*/ 19 w 21"/>
                <a:gd name="T5" fmla="*/ 7 h 7"/>
                <a:gd name="T6" fmla="*/ 19 w 21"/>
                <a:gd name="T7" fmla="*/ 5 h 7"/>
                <a:gd name="T8" fmla="*/ 21 w 21"/>
                <a:gd name="T9" fmla="*/ 5 h 7"/>
                <a:gd name="T10" fmla="*/ 21 w 21"/>
                <a:gd name="T11" fmla="*/ 5 h 7"/>
                <a:gd name="T12" fmla="*/ 19 w 21"/>
                <a:gd name="T13" fmla="*/ 5 h 7"/>
                <a:gd name="T14" fmla="*/ 19 w 21"/>
                <a:gd name="T15" fmla="*/ 5 h 7"/>
                <a:gd name="T16" fmla="*/ 17 w 21"/>
                <a:gd name="T17" fmla="*/ 5 h 7"/>
                <a:gd name="T18" fmla="*/ 12 w 21"/>
                <a:gd name="T19" fmla="*/ 0 h 7"/>
                <a:gd name="T20" fmla="*/ 12 w 21"/>
                <a:gd name="T21" fmla="*/ 0 h 7"/>
                <a:gd name="T22" fmla="*/ 0 w 21"/>
                <a:gd name="T23" fmla="*/ 3 h 7"/>
                <a:gd name="T24" fmla="*/ 5 w 21"/>
                <a:gd name="T25" fmla="*/ 7 h 7"/>
                <a:gd name="T26" fmla="*/ 10 w 21"/>
                <a:gd name="T2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7">
                  <a:moveTo>
                    <a:pt x="10" y="7"/>
                  </a:moveTo>
                  <a:lnTo>
                    <a:pt x="19" y="7"/>
                  </a:lnTo>
                  <a:lnTo>
                    <a:pt x="19" y="7"/>
                  </a:lnTo>
                  <a:lnTo>
                    <a:pt x="19" y="5"/>
                  </a:lnTo>
                  <a:lnTo>
                    <a:pt x="21" y="5"/>
                  </a:lnTo>
                  <a:lnTo>
                    <a:pt x="21" y="5"/>
                  </a:lnTo>
                  <a:lnTo>
                    <a:pt x="19" y="5"/>
                  </a:lnTo>
                  <a:lnTo>
                    <a:pt x="19" y="5"/>
                  </a:lnTo>
                  <a:lnTo>
                    <a:pt x="17" y="5"/>
                  </a:lnTo>
                  <a:lnTo>
                    <a:pt x="12" y="0"/>
                  </a:lnTo>
                  <a:lnTo>
                    <a:pt x="12" y="0"/>
                  </a:lnTo>
                  <a:lnTo>
                    <a:pt x="0" y="3"/>
                  </a:lnTo>
                  <a:lnTo>
                    <a:pt x="5" y="7"/>
                  </a:lnTo>
                  <a:lnTo>
                    <a:pt x="1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30" name="Freeform 348">
              <a:extLst>
                <a:ext uri="{FF2B5EF4-FFF2-40B4-BE49-F238E27FC236}">
                  <a16:creationId xmlns:a16="http://schemas.microsoft.com/office/drawing/2014/main" id="{B5BA5DE6-ACC9-4D14-8D37-9605DA50C0F0}"/>
                </a:ext>
              </a:extLst>
            </p:cNvPr>
            <p:cNvSpPr>
              <a:spLocks/>
            </p:cNvSpPr>
            <p:nvPr/>
          </p:nvSpPr>
          <p:spPr bwMode="gray">
            <a:xfrm>
              <a:off x="-2336" y="53"/>
              <a:ext cx="8" cy="7"/>
            </a:xfrm>
            <a:custGeom>
              <a:avLst/>
              <a:gdLst>
                <a:gd name="T0" fmla="*/ 0 w 8"/>
                <a:gd name="T1" fmla="*/ 5 h 7"/>
                <a:gd name="T2" fmla="*/ 0 w 8"/>
                <a:gd name="T3" fmla="*/ 5 h 7"/>
                <a:gd name="T4" fmla="*/ 3 w 8"/>
                <a:gd name="T5" fmla="*/ 5 h 7"/>
                <a:gd name="T6" fmla="*/ 3 w 8"/>
                <a:gd name="T7" fmla="*/ 7 h 7"/>
                <a:gd name="T8" fmla="*/ 5 w 8"/>
                <a:gd name="T9" fmla="*/ 5 h 7"/>
                <a:gd name="T10" fmla="*/ 8 w 8"/>
                <a:gd name="T11" fmla="*/ 5 h 7"/>
                <a:gd name="T12" fmla="*/ 8 w 8"/>
                <a:gd name="T13" fmla="*/ 5 h 7"/>
                <a:gd name="T14" fmla="*/ 8 w 8"/>
                <a:gd name="T15" fmla="*/ 3 h 7"/>
                <a:gd name="T16" fmla="*/ 8 w 8"/>
                <a:gd name="T17" fmla="*/ 3 h 7"/>
                <a:gd name="T18" fmla="*/ 5 w 8"/>
                <a:gd name="T19" fmla="*/ 3 h 7"/>
                <a:gd name="T20" fmla="*/ 3 w 8"/>
                <a:gd name="T21" fmla="*/ 0 h 7"/>
                <a:gd name="T22" fmla="*/ 3 w 8"/>
                <a:gd name="T23" fmla="*/ 0 h 7"/>
                <a:gd name="T24" fmla="*/ 0 w 8"/>
                <a:gd name="T25" fmla="*/ 0 h 7"/>
                <a:gd name="T26" fmla="*/ 3 w 8"/>
                <a:gd name="T27" fmla="*/ 3 h 7"/>
                <a:gd name="T28" fmla="*/ 0 w 8"/>
                <a:gd name="T2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7">
                  <a:moveTo>
                    <a:pt x="0" y="5"/>
                  </a:moveTo>
                  <a:lnTo>
                    <a:pt x="0" y="5"/>
                  </a:lnTo>
                  <a:lnTo>
                    <a:pt x="3" y="5"/>
                  </a:lnTo>
                  <a:lnTo>
                    <a:pt x="3" y="7"/>
                  </a:lnTo>
                  <a:lnTo>
                    <a:pt x="5" y="5"/>
                  </a:lnTo>
                  <a:lnTo>
                    <a:pt x="8" y="5"/>
                  </a:lnTo>
                  <a:lnTo>
                    <a:pt x="8" y="5"/>
                  </a:lnTo>
                  <a:lnTo>
                    <a:pt x="8" y="3"/>
                  </a:lnTo>
                  <a:lnTo>
                    <a:pt x="8" y="3"/>
                  </a:lnTo>
                  <a:lnTo>
                    <a:pt x="5" y="3"/>
                  </a:lnTo>
                  <a:lnTo>
                    <a:pt x="3" y="0"/>
                  </a:lnTo>
                  <a:lnTo>
                    <a:pt x="3" y="0"/>
                  </a:lnTo>
                  <a:lnTo>
                    <a:pt x="0" y="0"/>
                  </a:lnTo>
                  <a:lnTo>
                    <a:pt x="3" y="3"/>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31" name="Freeform 349">
              <a:extLst>
                <a:ext uri="{FF2B5EF4-FFF2-40B4-BE49-F238E27FC236}">
                  <a16:creationId xmlns:a16="http://schemas.microsoft.com/office/drawing/2014/main" id="{CFC7FC84-CEB3-4550-ACA0-D41DACA70299}"/>
                </a:ext>
              </a:extLst>
            </p:cNvPr>
            <p:cNvSpPr>
              <a:spLocks/>
            </p:cNvSpPr>
            <p:nvPr/>
          </p:nvSpPr>
          <p:spPr bwMode="gray">
            <a:xfrm>
              <a:off x="-2328" y="53"/>
              <a:ext cx="9" cy="7"/>
            </a:xfrm>
            <a:custGeom>
              <a:avLst/>
              <a:gdLst>
                <a:gd name="T0" fmla="*/ 2 w 9"/>
                <a:gd name="T1" fmla="*/ 7 h 7"/>
                <a:gd name="T2" fmla="*/ 2 w 9"/>
                <a:gd name="T3" fmla="*/ 7 h 7"/>
                <a:gd name="T4" fmla="*/ 4 w 9"/>
                <a:gd name="T5" fmla="*/ 7 h 7"/>
                <a:gd name="T6" fmla="*/ 4 w 9"/>
                <a:gd name="T7" fmla="*/ 7 h 7"/>
                <a:gd name="T8" fmla="*/ 4 w 9"/>
                <a:gd name="T9" fmla="*/ 7 h 7"/>
                <a:gd name="T10" fmla="*/ 4 w 9"/>
                <a:gd name="T11" fmla="*/ 7 h 7"/>
                <a:gd name="T12" fmla="*/ 4 w 9"/>
                <a:gd name="T13" fmla="*/ 7 h 7"/>
                <a:gd name="T14" fmla="*/ 7 w 9"/>
                <a:gd name="T15" fmla="*/ 7 h 7"/>
                <a:gd name="T16" fmla="*/ 9 w 9"/>
                <a:gd name="T17" fmla="*/ 7 h 7"/>
                <a:gd name="T18" fmla="*/ 9 w 9"/>
                <a:gd name="T19" fmla="*/ 7 h 7"/>
                <a:gd name="T20" fmla="*/ 9 w 9"/>
                <a:gd name="T21" fmla="*/ 5 h 7"/>
                <a:gd name="T22" fmla="*/ 9 w 9"/>
                <a:gd name="T23" fmla="*/ 5 h 7"/>
                <a:gd name="T24" fmla="*/ 9 w 9"/>
                <a:gd name="T25" fmla="*/ 3 h 7"/>
                <a:gd name="T26" fmla="*/ 9 w 9"/>
                <a:gd name="T27" fmla="*/ 3 h 7"/>
                <a:gd name="T28" fmla="*/ 9 w 9"/>
                <a:gd name="T29" fmla="*/ 3 h 7"/>
                <a:gd name="T30" fmla="*/ 9 w 9"/>
                <a:gd name="T31" fmla="*/ 3 h 7"/>
                <a:gd name="T32" fmla="*/ 9 w 9"/>
                <a:gd name="T33" fmla="*/ 0 h 7"/>
                <a:gd name="T34" fmla="*/ 7 w 9"/>
                <a:gd name="T35" fmla="*/ 0 h 7"/>
                <a:gd name="T36" fmla="*/ 7 w 9"/>
                <a:gd name="T37" fmla="*/ 0 h 7"/>
                <a:gd name="T38" fmla="*/ 7 w 9"/>
                <a:gd name="T39" fmla="*/ 0 h 7"/>
                <a:gd name="T40" fmla="*/ 4 w 9"/>
                <a:gd name="T41" fmla="*/ 3 h 7"/>
                <a:gd name="T42" fmla="*/ 4 w 9"/>
                <a:gd name="T43" fmla="*/ 5 h 7"/>
                <a:gd name="T44" fmla="*/ 4 w 9"/>
                <a:gd name="T45" fmla="*/ 5 h 7"/>
                <a:gd name="T46" fmla="*/ 4 w 9"/>
                <a:gd name="T47" fmla="*/ 5 h 7"/>
                <a:gd name="T48" fmla="*/ 2 w 9"/>
                <a:gd name="T49" fmla="*/ 5 h 7"/>
                <a:gd name="T50" fmla="*/ 0 w 9"/>
                <a:gd name="T51" fmla="*/ 5 h 7"/>
                <a:gd name="T52" fmla="*/ 0 w 9"/>
                <a:gd name="T53" fmla="*/ 7 h 7"/>
                <a:gd name="T54" fmla="*/ 0 w 9"/>
                <a:gd name="T55" fmla="*/ 7 h 7"/>
                <a:gd name="T56" fmla="*/ 2 w 9"/>
                <a:gd name="T5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 h="7">
                  <a:moveTo>
                    <a:pt x="2" y="7"/>
                  </a:moveTo>
                  <a:lnTo>
                    <a:pt x="2" y="7"/>
                  </a:lnTo>
                  <a:lnTo>
                    <a:pt x="4" y="7"/>
                  </a:lnTo>
                  <a:lnTo>
                    <a:pt x="4" y="7"/>
                  </a:lnTo>
                  <a:lnTo>
                    <a:pt x="4" y="7"/>
                  </a:lnTo>
                  <a:lnTo>
                    <a:pt x="4" y="7"/>
                  </a:lnTo>
                  <a:lnTo>
                    <a:pt x="4" y="7"/>
                  </a:lnTo>
                  <a:lnTo>
                    <a:pt x="7" y="7"/>
                  </a:lnTo>
                  <a:lnTo>
                    <a:pt x="9" y="7"/>
                  </a:lnTo>
                  <a:lnTo>
                    <a:pt x="9" y="7"/>
                  </a:lnTo>
                  <a:lnTo>
                    <a:pt x="9" y="5"/>
                  </a:lnTo>
                  <a:lnTo>
                    <a:pt x="9" y="5"/>
                  </a:lnTo>
                  <a:lnTo>
                    <a:pt x="9" y="3"/>
                  </a:lnTo>
                  <a:lnTo>
                    <a:pt x="9" y="3"/>
                  </a:lnTo>
                  <a:lnTo>
                    <a:pt x="9" y="3"/>
                  </a:lnTo>
                  <a:lnTo>
                    <a:pt x="9" y="3"/>
                  </a:lnTo>
                  <a:lnTo>
                    <a:pt x="9" y="0"/>
                  </a:lnTo>
                  <a:lnTo>
                    <a:pt x="7" y="0"/>
                  </a:lnTo>
                  <a:lnTo>
                    <a:pt x="7" y="0"/>
                  </a:lnTo>
                  <a:lnTo>
                    <a:pt x="7" y="0"/>
                  </a:lnTo>
                  <a:lnTo>
                    <a:pt x="4" y="3"/>
                  </a:lnTo>
                  <a:lnTo>
                    <a:pt x="4" y="5"/>
                  </a:lnTo>
                  <a:lnTo>
                    <a:pt x="4" y="5"/>
                  </a:lnTo>
                  <a:lnTo>
                    <a:pt x="4" y="5"/>
                  </a:lnTo>
                  <a:lnTo>
                    <a:pt x="2" y="5"/>
                  </a:lnTo>
                  <a:lnTo>
                    <a:pt x="0" y="5"/>
                  </a:lnTo>
                  <a:lnTo>
                    <a:pt x="0" y="7"/>
                  </a:lnTo>
                  <a:lnTo>
                    <a:pt x="0" y="7"/>
                  </a:ln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32" name="Freeform 350">
              <a:extLst>
                <a:ext uri="{FF2B5EF4-FFF2-40B4-BE49-F238E27FC236}">
                  <a16:creationId xmlns:a16="http://schemas.microsoft.com/office/drawing/2014/main" id="{C26364E8-7D71-419C-8564-C8EBCE5073CC}"/>
                </a:ext>
              </a:extLst>
            </p:cNvPr>
            <p:cNvSpPr>
              <a:spLocks/>
            </p:cNvSpPr>
            <p:nvPr/>
          </p:nvSpPr>
          <p:spPr bwMode="gray">
            <a:xfrm>
              <a:off x="-2246" y="-20"/>
              <a:ext cx="12" cy="12"/>
            </a:xfrm>
            <a:custGeom>
              <a:avLst/>
              <a:gdLst>
                <a:gd name="T0" fmla="*/ 5 w 12"/>
                <a:gd name="T1" fmla="*/ 10 h 12"/>
                <a:gd name="T2" fmla="*/ 7 w 12"/>
                <a:gd name="T3" fmla="*/ 12 h 12"/>
                <a:gd name="T4" fmla="*/ 7 w 12"/>
                <a:gd name="T5" fmla="*/ 12 h 12"/>
                <a:gd name="T6" fmla="*/ 10 w 12"/>
                <a:gd name="T7" fmla="*/ 12 h 12"/>
                <a:gd name="T8" fmla="*/ 10 w 12"/>
                <a:gd name="T9" fmla="*/ 10 h 12"/>
                <a:gd name="T10" fmla="*/ 10 w 12"/>
                <a:gd name="T11" fmla="*/ 7 h 12"/>
                <a:gd name="T12" fmla="*/ 7 w 12"/>
                <a:gd name="T13" fmla="*/ 7 h 12"/>
                <a:gd name="T14" fmla="*/ 7 w 12"/>
                <a:gd name="T15" fmla="*/ 7 h 12"/>
                <a:gd name="T16" fmla="*/ 10 w 12"/>
                <a:gd name="T17" fmla="*/ 5 h 12"/>
                <a:gd name="T18" fmla="*/ 12 w 12"/>
                <a:gd name="T19" fmla="*/ 5 h 12"/>
                <a:gd name="T20" fmla="*/ 12 w 12"/>
                <a:gd name="T21" fmla="*/ 2 h 12"/>
                <a:gd name="T22" fmla="*/ 12 w 12"/>
                <a:gd name="T23" fmla="*/ 0 h 12"/>
                <a:gd name="T24" fmla="*/ 10 w 12"/>
                <a:gd name="T25" fmla="*/ 0 h 12"/>
                <a:gd name="T26" fmla="*/ 7 w 12"/>
                <a:gd name="T27" fmla="*/ 0 h 12"/>
                <a:gd name="T28" fmla="*/ 5 w 12"/>
                <a:gd name="T29" fmla="*/ 2 h 12"/>
                <a:gd name="T30" fmla="*/ 2 w 12"/>
                <a:gd name="T31" fmla="*/ 0 h 12"/>
                <a:gd name="T32" fmla="*/ 0 w 12"/>
                <a:gd name="T33" fmla="*/ 0 h 12"/>
                <a:gd name="T34" fmla="*/ 0 w 12"/>
                <a:gd name="T35" fmla="*/ 0 h 12"/>
                <a:gd name="T36" fmla="*/ 0 w 12"/>
                <a:gd name="T37" fmla="*/ 2 h 12"/>
                <a:gd name="T38" fmla="*/ 0 w 12"/>
                <a:gd name="T39" fmla="*/ 2 h 12"/>
                <a:gd name="T40" fmla="*/ 2 w 12"/>
                <a:gd name="T41" fmla="*/ 5 h 12"/>
                <a:gd name="T42" fmla="*/ 0 w 12"/>
                <a:gd name="T43" fmla="*/ 5 h 12"/>
                <a:gd name="T44" fmla="*/ 0 w 12"/>
                <a:gd name="T45" fmla="*/ 5 h 12"/>
                <a:gd name="T46" fmla="*/ 0 w 12"/>
                <a:gd name="T47" fmla="*/ 5 h 12"/>
                <a:gd name="T48" fmla="*/ 0 w 12"/>
                <a:gd name="T49" fmla="*/ 7 h 12"/>
                <a:gd name="T50" fmla="*/ 5 w 12"/>
                <a:gd name="T51"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 h="12">
                  <a:moveTo>
                    <a:pt x="5" y="10"/>
                  </a:moveTo>
                  <a:lnTo>
                    <a:pt x="7" y="12"/>
                  </a:lnTo>
                  <a:lnTo>
                    <a:pt x="7" y="12"/>
                  </a:lnTo>
                  <a:lnTo>
                    <a:pt x="10" y="12"/>
                  </a:lnTo>
                  <a:lnTo>
                    <a:pt x="10" y="10"/>
                  </a:lnTo>
                  <a:lnTo>
                    <a:pt x="10" y="7"/>
                  </a:lnTo>
                  <a:lnTo>
                    <a:pt x="7" y="7"/>
                  </a:lnTo>
                  <a:lnTo>
                    <a:pt x="7" y="7"/>
                  </a:lnTo>
                  <a:lnTo>
                    <a:pt x="10" y="5"/>
                  </a:lnTo>
                  <a:lnTo>
                    <a:pt x="12" y="5"/>
                  </a:lnTo>
                  <a:lnTo>
                    <a:pt x="12" y="2"/>
                  </a:lnTo>
                  <a:lnTo>
                    <a:pt x="12" y="0"/>
                  </a:lnTo>
                  <a:lnTo>
                    <a:pt x="10" y="0"/>
                  </a:lnTo>
                  <a:lnTo>
                    <a:pt x="7" y="0"/>
                  </a:lnTo>
                  <a:lnTo>
                    <a:pt x="5" y="2"/>
                  </a:lnTo>
                  <a:lnTo>
                    <a:pt x="2" y="0"/>
                  </a:lnTo>
                  <a:lnTo>
                    <a:pt x="0" y="0"/>
                  </a:lnTo>
                  <a:lnTo>
                    <a:pt x="0" y="0"/>
                  </a:lnTo>
                  <a:lnTo>
                    <a:pt x="0" y="2"/>
                  </a:lnTo>
                  <a:lnTo>
                    <a:pt x="0" y="2"/>
                  </a:lnTo>
                  <a:lnTo>
                    <a:pt x="2" y="5"/>
                  </a:lnTo>
                  <a:lnTo>
                    <a:pt x="0" y="5"/>
                  </a:lnTo>
                  <a:lnTo>
                    <a:pt x="0" y="5"/>
                  </a:lnTo>
                  <a:lnTo>
                    <a:pt x="0" y="5"/>
                  </a:lnTo>
                  <a:lnTo>
                    <a:pt x="0" y="7"/>
                  </a:lnTo>
                  <a:lnTo>
                    <a:pt x="5"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33" name="Freeform 351">
              <a:extLst>
                <a:ext uri="{FF2B5EF4-FFF2-40B4-BE49-F238E27FC236}">
                  <a16:creationId xmlns:a16="http://schemas.microsoft.com/office/drawing/2014/main" id="{B30CF977-7213-4C47-BE89-97E87E102757}"/>
                </a:ext>
              </a:extLst>
            </p:cNvPr>
            <p:cNvSpPr>
              <a:spLocks/>
            </p:cNvSpPr>
            <p:nvPr/>
          </p:nvSpPr>
          <p:spPr bwMode="gray">
            <a:xfrm>
              <a:off x="-2314" y="44"/>
              <a:ext cx="19" cy="28"/>
            </a:xfrm>
            <a:custGeom>
              <a:avLst/>
              <a:gdLst>
                <a:gd name="T0" fmla="*/ 2 w 19"/>
                <a:gd name="T1" fmla="*/ 16 h 28"/>
                <a:gd name="T2" fmla="*/ 2 w 19"/>
                <a:gd name="T3" fmla="*/ 19 h 28"/>
                <a:gd name="T4" fmla="*/ 2 w 19"/>
                <a:gd name="T5" fmla="*/ 21 h 28"/>
                <a:gd name="T6" fmla="*/ 2 w 19"/>
                <a:gd name="T7" fmla="*/ 23 h 28"/>
                <a:gd name="T8" fmla="*/ 2 w 19"/>
                <a:gd name="T9" fmla="*/ 23 h 28"/>
                <a:gd name="T10" fmla="*/ 4 w 19"/>
                <a:gd name="T11" fmla="*/ 23 h 28"/>
                <a:gd name="T12" fmla="*/ 2 w 19"/>
                <a:gd name="T13" fmla="*/ 23 h 28"/>
                <a:gd name="T14" fmla="*/ 0 w 19"/>
                <a:gd name="T15" fmla="*/ 26 h 28"/>
                <a:gd name="T16" fmla="*/ 0 w 19"/>
                <a:gd name="T17" fmla="*/ 28 h 28"/>
                <a:gd name="T18" fmla="*/ 4 w 19"/>
                <a:gd name="T19" fmla="*/ 26 h 28"/>
                <a:gd name="T20" fmla="*/ 16 w 19"/>
                <a:gd name="T21" fmla="*/ 14 h 28"/>
                <a:gd name="T22" fmla="*/ 19 w 19"/>
                <a:gd name="T23" fmla="*/ 14 h 28"/>
                <a:gd name="T24" fmla="*/ 19 w 19"/>
                <a:gd name="T25" fmla="*/ 14 h 28"/>
                <a:gd name="T26" fmla="*/ 19 w 19"/>
                <a:gd name="T27" fmla="*/ 14 h 28"/>
                <a:gd name="T28" fmla="*/ 19 w 19"/>
                <a:gd name="T29" fmla="*/ 12 h 28"/>
                <a:gd name="T30" fmla="*/ 16 w 19"/>
                <a:gd name="T31" fmla="*/ 12 h 28"/>
                <a:gd name="T32" fmla="*/ 14 w 19"/>
                <a:gd name="T33" fmla="*/ 9 h 28"/>
                <a:gd name="T34" fmla="*/ 14 w 19"/>
                <a:gd name="T35" fmla="*/ 9 h 28"/>
                <a:gd name="T36" fmla="*/ 14 w 19"/>
                <a:gd name="T37" fmla="*/ 9 h 28"/>
                <a:gd name="T38" fmla="*/ 14 w 19"/>
                <a:gd name="T39" fmla="*/ 7 h 28"/>
                <a:gd name="T40" fmla="*/ 14 w 19"/>
                <a:gd name="T41" fmla="*/ 4 h 28"/>
                <a:gd name="T42" fmla="*/ 11 w 19"/>
                <a:gd name="T43" fmla="*/ 2 h 28"/>
                <a:gd name="T44" fmla="*/ 9 w 19"/>
                <a:gd name="T45" fmla="*/ 0 h 28"/>
                <a:gd name="T46" fmla="*/ 7 w 19"/>
                <a:gd name="T47" fmla="*/ 0 h 28"/>
                <a:gd name="T48" fmla="*/ 7 w 19"/>
                <a:gd name="T49" fmla="*/ 2 h 28"/>
                <a:gd name="T50" fmla="*/ 4 w 19"/>
                <a:gd name="T51" fmla="*/ 2 h 28"/>
                <a:gd name="T52" fmla="*/ 2 w 19"/>
                <a:gd name="T53" fmla="*/ 4 h 28"/>
                <a:gd name="T54" fmla="*/ 0 w 19"/>
                <a:gd name="T55" fmla="*/ 7 h 28"/>
                <a:gd name="T56" fmla="*/ 0 w 19"/>
                <a:gd name="T57" fmla="*/ 9 h 28"/>
                <a:gd name="T58" fmla="*/ 0 w 19"/>
                <a:gd name="T59" fmla="*/ 14 h 28"/>
                <a:gd name="T60" fmla="*/ 2 w 19"/>
                <a:gd name="T61"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 h="28">
                  <a:moveTo>
                    <a:pt x="2" y="16"/>
                  </a:moveTo>
                  <a:lnTo>
                    <a:pt x="2" y="19"/>
                  </a:lnTo>
                  <a:lnTo>
                    <a:pt x="2" y="21"/>
                  </a:lnTo>
                  <a:lnTo>
                    <a:pt x="2" y="23"/>
                  </a:lnTo>
                  <a:lnTo>
                    <a:pt x="2" y="23"/>
                  </a:lnTo>
                  <a:lnTo>
                    <a:pt x="4" y="23"/>
                  </a:lnTo>
                  <a:lnTo>
                    <a:pt x="2" y="23"/>
                  </a:lnTo>
                  <a:lnTo>
                    <a:pt x="0" y="26"/>
                  </a:lnTo>
                  <a:lnTo>
                    <a:pt x="0" y="28"/>
                  </a:lnTo>
                  <a:lnTo>
                    <a:pt x="4" y="26"/>
                  </a:lnTo>
                  <a:lnTo>
                    <a:pt x="16" y="14"/>
                  </a:lnTo>
                  <a:lnTo>
                    <a:pt x="19" y="14"/>
                  </a:lnTo>
                  <a:lnTo>
                    <a:pt x="19" y="14"/>
                  </a:lnTo>
                  <a:lnTo>
                    <a:pt x="19" y="14"/>
                  </a:lnTo>
                  <a:lnTo>
                    <a:pt x="19" y="12"/>
                  </a:lnTo>
                  <a:lnTo>
                    <a:pt x="16" y="12"/>
                  </a:lnTo>
                  <a:lnTo>
                    <a:pt x="14" y="9"/>
                  </a:lnTo>
                  <a:lnTo>
                    <a:pt x="14" y="9"/>
                  </a:lnTo>
                  <a:lnTo>
                    <a:pt x="14" y="9"/>
                  </a:lnTo>
                  <a:lnTo>
                    <a:pt x="14" y="7"/>
                  </a:lnTo>
                  <a:lnTo>
                    <a:pt x="14" y="4"/>
                  </a:lnTo>
                  <a:lnTo>
                    <a:pt x="11" y="2"/>
                  </a:lnTo>
                  <a:lnTo>
                    <a:pt x="9" y="0"/>
                  </a:lnTo>
                  <a:lnTo>
                    <a:pt x="7" y="0"/>
                  </a:lnTo>
                  <a:lnTo>
                    <a:pt x="7" y="2"/>
                  </a:lnTo>
                  <a:lnTo>
                    <a:pt x="4" y="2"/>
                  </a:lnTo>
                  <a:lnTo>
                    <a:pt x="2" y="4"/>
                  </a:lnTo>
                  <a:lnTo>
                    <a:pt x="0" y="7"/>
                  </a:lnTo>
                  <a:lnTo>
                    <a:pt x="0" y="9"/>
                  </a:lnTo>
                  <a:lnTo>
                    <a:pt x="0" y="14"/>
                  </a:lnTo>
                  <a:lnTo>
                    <a:pt x="2"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34" name="Freeform 352">
              <a:extLst>
                <a:ext uri="{FF2B5EF4-FFF2-40B4-BE49-F238E27FC236}">
                  <a16:creationId xmlns:a16="http://schemas.microsoft.com/office/drawing/2014/main" id="{7A2DDFBF-EEFC-4289-836B-D89220BF665C}"/>
                </a:ext>
              </a:extLst>
            </p:cNvPr>
            <p:cNvSpPr>
              <a:spLocks/>
            </p:cNvSpPr>
            <p:nvPr/>
          </p:nvSpPr>
          <p:spPr bwMode="gray">
            <a:xfrm>
              <a:off x="-2371" y="103"/>
              <a:ext cx="12" cy="16"/>
            </a:xfrm>
            <a:custGeom>
              <a:avLst/>
              <a:gdLst>
                <a:gd name="T0" fmla="*/ 5 w 12"/>
                <a:gd name="T1" fmla="*/ 9 h 16"/>
                <a:gd name="T2" fmla="*/ 5 w 12"/>
                <a:gd name="T3" fmla="*/ 11 h 16"/>
                <a:gd name="T4" fmla="*/ 5 w 12"/>
                <a:gd name="T5" fmla="*/ 14 h 16"/>
                <a:gd name="T6" fmla="*/ 2 w 12"/>
                <a:gd name="T7" fmla="*/ 11 h 16"/>
                <a:gd name="T8" fmla="*/ 2 w 12"/>
                <a:gd name="T9" fmla="*/ 11 h 16"/>
                <a:gd name="T10" fmla="*/ 2 w 12"/>
                <a:gd name="T11" fmla="*/ 11 h 16"/>
                <a:gd name="T12" fmla="*/ 2 w 12"/>
                <a:gd name="T13" fmla="*/ 14 h 16"/>
                <a:gd name="T14" fmla="*/ 2 w 12"/>
                <a:gd name="T15" fmla="*/ 14 h 16"/>
                <a:gd name="T16" fmla="*/ 2 w 12"/>
                <a:gd name="T17" fmla="*/ 14 h 16"/>
                <a:gd name="T18" fmla="*/ 2 w 12"/>
                <a:gd name="T19" fmla="*/ 16 h 16"/>
                <a:gd name="T20" fmla="*/ 2 w 12"/>
                <a:gd name="T21" fmla="*/ 16 h 16"/>
                <a:gd name="T22" fmla="*/ 5 w 12"/>
                <a:gd name="T23" fmla="*/ 16 h 16"/>
                <a:gd name="T24" fmla="*/ 7 w 12"/>
                <a:gd name="T25" fmla="*/ 16 h 16"/>
                <a:gd name="T26" fmla="*/ 7 w 12"/>
                <a:gd name="T27" fmla="*/ 14 h 16"/>
                <a:gd name="T28" fmla="*/ 9 w 12"/>
                <a:gd name="T29" fmla="*/ 14 h 16"/>
                <a:gd name="T30" fmla="*/ 9 w 12"/>
                <a:gd name="T31" fmla="*/ 11 h 16"/>
                <a:gd name="T32" fmla="*/ 9 w 12"/>
                <a:gd name="T33" fmla="*/ 11 h 16"/>
                <a:gd name="T34" fmla="*/ 9 w 12"/>
                <a:gd name="T35" fmla="*/ 9 h 16"/>
                <a:gd name="T36" fmla="*/ 12 w 12"/>
                <a:gd name="T37" fmla="*/ 7 h 16"/>
                <a:gd name="T38" fmla="*/ 12 w 12"/>
                <a:gd name="T39" fmla="*/ 7 h 16"/>
                <a:gd name="T40" fmla="*/ 9 w 12"/>
                <a:gd name="T41" fmla="*/ 2 h 16"/>
                <a:gd name="T42" fmla="*/ 9 w 12"/>
                <a:gd name="T43" fmla="*/ 2 h 16"/>
                <a:gd name="T44" fmla="*/ 7 w 12"/>
                <a:gd name="T45" fmla="*/ 2 h 16"/>
                <a:gd name="T46" fmla="*/ 7 w 12"/>
                <a:gd name="T47" fmla="*/ 4 h 16"/>
                <a:gd name="T48" fmla="*/ 7 w 12"/>
                <a:gd name="T49" fmla="*/ 4 h 16"/>
                <a:gd name="T50" fmla="*/ 7 w 12"/>
                <a:gd name="T51" fmla="*/ 4 h 16"/>
                <a:gd name="T52" fmla="*/ 5 w 12"/>
                <a:gd name="T53" fmla="*/ 4 h 16"/>
                <a:gd name="T54" fmla="*/ 0 w 12"/>
                <a:gd name="T55" fmla="*/ 2 h 16"/>
                <a:gd name="T56" fmla="*/ 0 w 12"/>
                <a:gd name="T57" fmla="*/ 0 h 16"/>
                <a:gd name="T58" fmla="*/ 0 w 12"/>
                <a:gd name="T59" fmla="*/ 0 h 16"/>
                <a:gd name="T60" fmla="*/ 0 w 12"/>
                <a:gd name="T61" fmla="*/ 2 h 16"/>
                <a:gd name="T62" fmla="*/ 0 w 12"/>
                <a:gd name="T63" fmla="*/ 2 h 16"/>
                <a:gd name="T64" fmla="*/ 0 w 12"/>
                <a:gd name="T65" fmla="*/ 4 h 16"/>
                <a:gd name="T66" fmla="*/ 0 w 12"/>
                <a:gd name="T67" fmla="*/ 4 h 16"/>
                <a:gd name="T68" fmla="*/ 0 w 12"/>
                <a:gd name="T69" fmla="*/ 7 h 16"/>
                <a:gd name="T70" fmla="*/ 5 w 12"/>
                <a:gd name="T7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 h="16">
                  <a:moveTo>
                    <a:pt x="5" y="9"/>
                  </a:moveTo>
                  <a:lnTo>
                    <a:pt x="5" y="11"/>
                  </a:lnTo>
                  <a:lnTo>
                    <a:pt x="5" y="14"/>
                  </a:lnTo>
                  <a:lnTo>
                    <a:pt x="2" y="11"/>
                  </a:lnTo>
                  <a:lnTo>
                    <a:pt x="2" y="11"/>
                  </a:lnTo>
                  <a:lnTo>
                    <a:pt x="2" y="11"/>
                  </a:lnTo>
                  <a:lnTo>
                    <a:pt x="2" y="14"/>
                  </a:lnTo>
                  <a:lnTo>
                    <a:pt x="2" y="14"/>
                  </a:lnTo>
                  <a:lnTo>
                    <a:pt x="2" y="14"/>
                  </a:lnTo>
                  <a:lnTo>
                    <a:pt x="2" y="16"/>
                  </a:lnTo>
                  <a:lnTo>
                    <a:pt x="2" y="16"/>
                  </a:lnTo>
                  <a:lnTo>
                    <a:pt x="5" y="16"/>
                  </a:lnTo>
                  <a:lnTo>
                    <a:pt x="7" y="16"/>
                  </a:lnTo>
                  <a:lnTo>
                    <a:pt x="7" y="14"/>
                  </a:lnTo>
                  <a:lnTo>
                    <a:pt x="9" y="14"/>
                  </a:lnTo>
                  <a:lnTo>
                    <a:pt x="9" y="11"/>
                  </a:lnTo>
                  <a:lnTo>
                    <a:pt x="9" y="11"/>
                  </a:lnTo>
                  <a:lnTo>
                    <a:pt x="9" y="9"/>
                  </a:lnTo>
                  <a:lnTo>
                    <a:pt x="12" y="7"/>
                  </a:lnTo>
                  <a:lnTo>
                    <a:pt x="12" y="7"/>
                  </a:lnTo>
                  <a:lnTo>
                    <a:pt x="9" y="2"/>
                  </a:lnTo>
                  <a:lnTo>
                    <a:pt x="9" y="2"/>
                  </a:lnTo>
                  <a:lnTo>
                    <a:pt x="7" y="2"/>
                  </a:lnTo>
                  <a:lnTo>
                    <a:pt x="7" y="4"/>
                  </a:lnTo>
                  <a:lnTo>
                    <a:pt x="7" y="4"/>
                  </a:lnTo>
                  <a:lnTo>
                    <a:pt x="7" y="4"/>
                  </a:lnTo>
                  <a:lnTo>
                    <a:pt x="5" y="4"/>
                  </a:lnTo>
                  <a:lnTo>
                    <a:pt x="0" y="2"/>
                  </a:lnTo>
                  <a:lnTo>
                    <a:pt x="0" y="0"/>
                  </a:lnTo>
                  <a:lnTo>
                    <a:pt x="0" y="0"/>
                  </a:lnTo>
                  <a:lnTo>
                    <a:pt x="0" y="2"/>
                  </a:lnTo>
                  <a:lnTo>
                    <a:pt x="0" y="2"/>
                  </a:lnTo>
                  <a:lnTo>
                    <a:pt x="0" y="4"/>
                  </a:lnTo>
                  <a:lnTo>
                    <a:pt x="0" y="4"/>
                  </a:lnTo>
                  <a:lnTo>
                    <a:pt x="0" y="7"/>
                  </a:lnTo>
                  <a:lnTo>
                    <a:pt x="5"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35" name="Freeform 353">
              <a:extLst>
                <a:ext uri="{FF2B5EF4-FFF2-40B4-BE49-F238E27FC236}">
                  <a16:creationId xmlns:a16="http://schemas.microsoft.com/office/drawing/2014/main" id="{7DE43D58-A64F-4589-9B4D-8CEB0893E362}"/>
                </a:ext>
              </a:extLst>
            </p:cNvPr>
            <p:cNvSpPr>
              <a:spLocks/>
            </p:cNvSpPr>
            <p:nvPr/>
          </p:nvSpPr>
          <p:spPr bwMode="gray">
            <a:xfrm>
              <a:off x="-2383" y="152"/>
              <a:ext cx="5" cy="7"/>
            </a:xfrm>
            <a:custGeom>
              <a:avLst/>
              <a:gdLst>
                <a:gd name="T0" fmla="*/ 0 w 5"/>
                <a:gd name="T1" fmla="*/ 5 h 7"/>
                <a:gd name="T2" fmla="*/ 3 w 5"/>
                <a:gd name="T3" fmla="*/ 7 h 7"/>
                <a:gd name="T4" fmla="*/ 3 w 5"/>
                <a:gd name="T5" fmla="*/ 7 h 7"/>
                <a:gd name="T6" fmla="*/ 3 w 5"/>
                <a:gd name="T7" fmla="*/ 7 h 7"/>
                <a:gd name="T8" fmla="*/ 3 w 5"/>
                <a:gd name="T9" fmla="*/ 7 h 7"/>
                <a:gd name="T10" fmla="*/ 5 w 5"/>
                <a:gd name="T11" fmla="*/ 7 h 7"/>
                <a:gd name="T12" fmla="*/ 5 w 5"/>
                <a:gd name="T13" fmla="*/ 7 h 7"/>
                <a:gd name="T14" fmla="*/ 5 w 5"/>
                <a:gd name="T15" fmla="*/ 7 h 7"/>
                <a:gd name="T16" fmla="*/ 5 w 5"/>
                <a:gd name="T17" fmla="*/ 7 h 7"/>
                <a:gd name="T18" fmla="*/ 5 w 5"/>
                <a:gd name="T19" fmla="*/ 7 h 7"/>
                <a:gd name="T20" fmla="*/ 5 w 5"/>
                <a:gd name="T21" fmla="*/ 5 h 7"/>
                <a:gd name="T22" fmla="*/ 5 w 5"/>
                <a:gd name="T23" fmla="*/ 2 h 7"/>
                <a:gd name="T24" fmla="*/ 5 w 5"/>
                <a:gd name="T25" fmla="*/ 2 h 7"/>
                <a:gd name="T26" fmla="*/ 5 w 5"/>
                <a:gd name="T27" fmla="*/ 2 h 7"/>
                <a:gd name="T28" fmla="*/ 5 w 5"/>
                <a:gd name="T29" fmla="*/ 2 h 7"/>
                <a:gd name="T30" fmla="*/ 5 w 5"/>
                <a:gd name="T31" fmla="*/ 0 h 7"/>
                <a:gd name="T32" fmla="*/ 3 w 5"/>
                <a:gd name="T33" fmla="*/ 0 h 7"/>
                <a:gd name="T34" fmla="*/ 3 w 5"/>
                <a:gd name="T35" fmla="*/ 0 h 7"/>
                <a:gd name="T36" fmla="*/ 3 w 5"/>
                <a:gd name="T37" fmla="*/ 0 h 7"/>
                <a:gd name="T38" fmla="*/ 3 w 5"/>
                <a:gd name="T39" fmla="*/ 0 h 7"/>
                <a:gd name="T40" fmla="*/ 0 w 5"/>
                <a:gd name="T41" fmla="*/ 2 h 7"/>
                <a:gd name="T42" fmla="*/ 0 w 5"/>
                <a:gd name="T43" fmla="*/ 2 h 7"/>
                <a:gd name="T44" fmla="*/ 0 w 5"/>
                <a:gd name="T45" fmla="*/ 2 h 7"/>
                <a:gd name="T46" fmla="*/ 0 w 5"/>
                <a:gd name="T47" fmla="*/ 5 h 7"/>
                <a:gd name="T48" fmla="*/ 0 w 5"/>
                <a:gd name="T49" fmla="*/ 5 h 7"/>
                <a:gd name="T50" fmla="*/ 0 w 5"/>
                <a:gd name="T51"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 h="7">
                  <a:moveTo>
                    <a:pt x="0" y="5"/>
                  </a:moveTo>
                  <a:lnTo>
                    <a:pt x="3" y="7"/>
                  </a:lnTo>
                  <a:lnTo>
                    <a:pt x="3" y="7"/>
                  </a:lnTo>
                  <a:lnTo>
                    <a:pt x="3" y="7"/>
                  </a:lnTo>
                  <a:lnTo>
                    <a:pt x="3" y="7"/>
                  </a:lnTo>
                  <a:lnTo>
                    <a:pt x="5" y="7"/>
                  </a:lnTo>
                  <a:lnTo>
                    <a:pt x="5" y="7"/>
                  </a:lnTo>
                  <a:lnTo>
                    <a:pt x="5" y="7"/>
                  </a:lnTo>
                  <a:lnTo>
                    <a:pt x="5" y="7"/>
                  </a:lnTo>
                  <a:lnTo>
                    <a:pt x="5" y="7"/>
                  </a:lnTo>
                  <a:lnTo>
                    <a:pt x="5" y="5"/>
                  </a:lnTo>
                  <a:lnTo>
                    <a:pt x="5" y="2"/>
                  </a:lnTo>
                  <a:lnTo>
                    <a:pt x="5" y="2"/>
                  </a:lnTo>
                  <a:lnTo>
                    <a:pt x="5" y="2"/>
                  </a:lnTo>
                  <a:lnTo>
                    <a:pt x="5" y="2"/>
                  </a:lnTo>
                  <a:lnTo>
                    <a:pt x="5" y="0"/>
                  </a:lnTo>
                  <a:lnTo>
                    <a:pt x="3" y="0"/>
                  </a:lnTo>
                  <a:lnTo>
                    <a:pt x="3" y="0"/>
                  </a:lnTo>
                  <a:lnTo>
                    <a:pt x="3" y="0"/>
                  </a:lnTo>
                  <a:lnTo>
                    <a:pt x="3" y="0"/>
                  </a:lnTo>
                  <a:lnTo>
                    <a:pt x="0" y="2"/>
                  </a:lnTo>
                  <a:lnTo>
                    <a:pt x="0" y="2"/>
                  </a:lnTo>
                  <a:lnTo>
                    <a:pt x="0" y="2"/>
                  </a:lnTo>
                  <a:lnTo>
                    <a:pt x="0" y="5"/>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36" name="Freeform 354">
              <a:extLst>
                <a:ext uri="{FF2B5EF4-FFF2-40B4-BE49-F238E27FC236}">
                  <a16:creationId xmlns:a16="http://schemas.microsoft.com/office/drawing/2014/main" id="{A73FF031-9796-4DA3-A115-68C19DD8126B}"/>
                </a:ext>
              </a:extLst>
            </p:cNvPr>
            <p:cNvSpPr>
              <a:spLocks/>
            </p:cNvSpPr>
            <p:nvPr/>
          </p:nvSpPr>
          <p:spPr bwMode="gray">
            <a:xfrm>
              <a:off x="-2385" y="225"/>
              <a:ext cx="14" cy="24"/>
            </a:xfrm>
            <a:custGeom>
              <a:avLst/>
              <a:gdLst>
                <a:gd name="T0" fmla="*/ 0 w 14"/>
                <a:gd name="T1" fmla="*/ 14 h 24"/>
                <a:gd name="T2" fmla="*/ 0 w 14"/>
                <a:gd name="T3" fmla="*/ 19 h 24"/>
                <a:gd name="T4" fmla="*/ 0 w 14"/>
                <a:gd name="T5" fmla="*/ 21 h 24"/>
                <a:gd name="T6" fmla="*/ 0 w 14"/>
                <a:gd name="T7" fmla="*/ 24 h 24"/>
                <a:gd name="T8" fmla="*/ 0 w 14"/>
                <a:gd name="T9" fmla="*/ 24 h 24"/>
                <a:gd name="T10" fmla="*/ 2 w 14"/>
                <a:gd name="T11" fmla="*/ 21 h 24"/>
                <a:gd name="T12" fmla="*/ 2 w 14"/>
                <a:gd name="T13" fmla="*/ 21 h 24"/>
                <a:gd name="T14" fmla="*/ 2 w 14"/>
                <a:gd name="T15" fmla="*/ 19 h 24"/>
                <a:gd name="T16" fmla="*/ 2 w 14"/>
                <a:gd name="T17" fmla="*/ 19 h 24"/>
                <a:gd name="T18" fmla="*/ 5 w 14"/>
                <a:gd name="T19" fmla="*/ 17 h 24"/>
                <a:gd name="T20" fmla="*/ 5 w 14"/>
                <a:gd name="T21" fmla="*/ 17 h 24"/>
                <a:gd name="T22" fmla="*/ 5 w 14"/>
                <a:gd name="T23" fmla="*/ 17 h 24"/>
                <a:gd name="T24" fmla="*/ 7 w 14"/>
                <a:gd name="T25" fmla="*/ 21 h 24"/>
                <a:gd name="T26" fmla="*/ 7 w 14"/>
                <a:gd name="T27" fmla="*/ 21 h 24"/>
                <a:gd name="T28" fmla="*/ 7 w 14"/>
                <a:gd name="T29" fmla="*/ 21 h 24"/>
                <a:gd name="T30" fmla="*/ 9 w 14"/>
                <a:gd name="T31" fmla="*/ 19 h 24"/>
                <a:gd name="T32" fmla="*/ 12 w 14"/>
                <a:gd name="T33" fmla="*/ 17 h 24"/>
                <a:gd name="T34" fmla="*/ 14 w 14"/>
                <a:gd name="T35" fmla="*/ 14 h 24"/>
                <a:gd name="T36" fmla="*/ 14 w 14"/>
                <a:gd name="T37" fmla="*/ 14 h 24"/>
                <a:gd name="T38" fmla="*/ 12 w 14"/>
                <a:gd name="T39" fmla="*/ 5 h 24"/>
                <a:gd name="T40" fmla="*/ 12 w 14"/>
                <a:gd name="T41" fmla="*/ 5 h 24"/>
                <a:gd name="T42" fmla="*/ 9 w 14"/>
                <a:gd name="T43" fmla="*/ 3 h 24"/>
                <a:gd name="T44" fmla="*/ 9 w 14"/>
                <a:gd name="T45" fmla="*/ 3 h 24"/>
                <a:gd name="T46" fmla="*/ 9 w 14"/>
                <a:gd name="T47" fmla="*/ 3 h 24"/>
                <a:gd name="T48" fmla="*/ 9 w 14"/>
                <a:gd name="T49" fmla="*/ 3 h 24"/>
                <a:gd name="T50" fmla="*/ 9 w 14"/>
                <a:gd name="T51" fmla="*/ 5 h 24"/>
                <a:gd name="T52" fmla="*/ 9 w 14"/>
                <a:gd name="T53" fmla="*/ 5 h 24"/>
                <a:gd name="T54" fmla="*/ 9 w 14"/>
                <a:gd name="T55" fmla="*/ 5 h 24"/>
                <a:gd name="T56" fmla="*/ 9 w 14"/>
                <a:gd name="T57" fmla="*/ 7 h 24"/>
                <a:gd name="T58" fmla="*/ 7 w 14"/>
                <a:gd name="T59" fmla="*/ 7 h 24"/>
                <a:gd name="T60" fmla="*/ 7 w 14"/>
                <a:gd name="T61" fmla="*/ 7 h 24"/>
                <a:gd name="T62" fmla="*/ 7 w 14"/>
                <a:gd name="T63" fmla="*/ 7 h 24"/>
                <a:gd name="T64" fmla="*/ 7 w 14"/>
                <a:gd name="T65" fmla="*/ 7 h 24"/>
                <a:gd name="T66" fmla="*/ 7 w 14"/>
                <a:gd name="T67" fmla="*/ 10 h 24"/>
                <a:gd name="T68" fmla="*/ 7 w 14"/>
                <a:gd name="T69" fmla="*/ 10 h 24"/>
                <a:gd name="T70" fmla="*/ 7 w 14"/>
                <a:gd name="T71" fmla="*/ 12 h 24"/>
                <a:gd name="T72" fmla="*/ 7 w 14"/>
                <a:gd name="T73" fmla="*/ 10 h 24"/>
                <a:gd name="T74" fmla="*/ 7 w 14"/>
                <a:gd name="T75" fmla="*/ 7 h 24"/>
                <a:gd name="T76" fmla="*/ 5 w 14"/>
                <a:gd name="T77" fmla="*/ 3 h 24"/>
                <a:gd name="T78" fmla="*/ 5 w 14"/>
                <a:gd name="T79" fmla="*/ 0 h 24"/>
                <a:gd name="T80" fmla="*/ 5 w 14"/>
                <a:gd name="T81" fmla="*/ 3 h 24"/>
                <a:gd name="T82" fmla="*/ 5 w 14"/>
                <a:gd name="T83" fmla="*/ 10 h 24"/>
                <a:gd name="T84" fmla="*/ 5 w 14"/>
                <a:gd name="T85" fmla="*/ 12 h 24"/>
                <a:gd name="T86" fmla="*/ 5 w 14"/>
                <a:gd name="T87" fmla="*/ 14 h 24"/>
                <a:gd name="T88" fmla="*/ 5 w 14"/>
                <a:gd name="T89" fmla="*/ 12 h 24"/>
                <a:gd name="T90" fmla="*/ 2 w 14"/>
                <a:gd name="T91" fmla="*/ 7 h 24"/>
                <a:gd name="T92" fmla="*/ 2 w 14"/>
                <a:gd name="T93" fmla="*/ 7 h 24"/>
                <a:gd name="T94" fmla="*/ 0 w 14"/>
                <a:gd name="T95" fmla="*/ 7 h 24"/>
                <a:gd name="T96" fmla="*/ 0 w 14"/>
                <a:gd name="T97" fmla="*/ 10 h 24"/>
                <a:gd name="T98" fmla="*/ 0 w 14"/>
                <a:gd name="T99" fmla="*/ 12 h 24"/>
                <a:gd name="T100" fmla="*/ 0 w 14"/>
                <a:gd name="T101" fmla="*/ 12 h 24"/>
                <a:gd name="T102" fmla="*/ 0 w 14"/>
                <a:gd name="T103"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 h="24">
                  <a:moveTo>
                    <a:pt x="0" y="14"/>
                  </a:moveTo>
                  <a:lnTo>
                    <a:pt x="0" y="19"/>
                  </a:lnTo>
                  <a:lnTo>
                    <a:pt x="0" y="21"/>
                  </a:lnTo>
                  <a:lnTo>
                    <a:pt x="0" y="24"/>
                  </a:lnTo>
                  <a:lnTo>
                    <a:pt x="0" y="24"/>
                  </a:lnTo>
                  <a:lnTo>
                    <a:pt x="2" y="21"/>
                  </a:lnTo>
                  <a:lnTo>
                    <a:pt x="2" y="21"/>
                  </a:lnTo>
                  <a:lnTo>
                    <a:pt x="2" y="19"/>
                  </a:lnTo>
                  <a:lnTo>
                    <a:pt x="2" y="19"/>
                  </a:lnTo>
                  <a:lnTo>
                    <a:pt x="5" y="17"/>
                  </a:lnTo>
                  <a:lnTo>
                    <a:pt x="5" y="17"/>
                  </a:lnTo>
                  <a:lnTo>
                    <a:pt x="5" y="17"/>
                  </a:lnTo>
                  <a:lnTo>
                    <a:pt x="7" y="21"/>
                  </a:lnTo>
                  <a:lnTo>
                    <a:pt x="7" y="21"/>
                  </a:lnTo>
                  <a:lnTo>
                    <a:pt x="7" y="21"/>
                  </a:lnTo>
                  <a:lnTo>
                    <a:pt x="9" y="19"/>
                  </a:lnTo>
                  <a:lnTo>
                    <a:pt x="12" y="17"/>
                  </a:lnTo>
                  <a:lnTo>
                    <a:pt x="14" y="14"/>
                  </a:lnTo>
                  <a:lnTo>
                    <a:pt x="14" y="14"/>
                  </a:lnTo>
                  <a:lnTo>
                    <a:pt x="12" y="5"/>
                  </a:lnTo>
                  <a:lnTo>
                    <a:pt x="12" y="5"/>
                  </a:lnTo>
                  <a:lnTo>
                    <a:pt x="9" y="3"/>
                  </a:lnTo>
                  <a:lnTo>
                    <a:pt x="9" y="3"/>
                  </a:lnTo>
                  <a:lnTo>
                    <a:pt x="9" y="3"/>
                  </a:lnTo>
                  <a:lnTo>
                    <a:pt x="9" y="3"/>
                  </a:lnTo>
                  <a:lnTo>
                    <a:pt x="9" y="5"/>
                  </a:lnTo>
                  <a:lnTo>
                    <a:pt x="9" y="5"/>
                  </a:lnTo>
                  <a:lnTo>
                    <a:pt x="9" y="5"/>
                  </a:lnTo>
                  <a:lnTo>
                    <a:pt x="9" y="7"/>
                  </a:lnTo>
                  <a:lnTo>
                    <a:pt x="7" y="7"/>
                  </a:lnTo>
                  <a:lnTo>
                    <a:pt x="7" y="7"/>
                  </a:lnTo>
                  <a:lnTo>
                    <a:pt x="7" y="7"/>
                  </a:lnTo>
                  <a:lnTo>
                    <a:pt x="7" y="7"/>
                  </a:lnTo>
                  <a:lnTo>
                    <a:pt x="7" y="10"/>
                  </a:lnTo>
                  <a:lnTo>
                    <a:pt x="7" y="10"/>
                  </a:lnTo>
                  <a:lnTo>
                    <a:pt x="7" y="12"/>
                  </a:lnTo>
                  <a:lnTo>
                    <a:pt x="7" y="10"/>
                  </a:lnTo>
                  <a:lnTo>
                    <a:pt x="7" y="7"/>
                  </a:lnTo>
                  <a:lnTo>
                    <a:pt x="5" y="3"/>
                  </a:lnTo>
                  <a:lnTo>
                    <a:pt x="5" y="0"/>
                  </a:lnTo>
                  <a:lnTo>
                    <a:pt x="5" y="3"/>
                  </a:lnTo>
                  <a:lnTo>
                    <a:pt x="5" y="10"/>
                  </a:lnTo>
                  <a:lnTo>
                    <a:pt x="5" y="12"/>
                  </a:lnTo>
                  <a:lnTo>
                    <a:pt x="5" y="14"/>
                  </a:lnTo>
                  <a:lnTo>
                    <a:pt x="5" y="12"/>
                  </a:lnTo>
                  <a:lnTo>
                    <a:pt x="2" y="7"/>
                  </a:lnTo>
                  <a:lnTo>
                    <a:pt x="2" y="7"/>
                  </a:lnTo>
                  <a:lnTo>
                    <a:pt x="0" y="7"/>
                  </a:lnTo>
                  <a:lnTo>
                    <a:pt x="0" y="10"/>
                  </a:lnTo>
                  <a:lnTo>
                    <a:pt x="0" y="12"/>
                  </a:lnTo>
                  <a:lnTo>
                    <a:pt x="0" y="12"/>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37" name="Freeform 355">
              <a:extLst>
                <a:ext uri="{FF2B5EF4-FFF2-40B4-BE49-F238E27FC236}">
                  <a16:creationId xmlns:a16="http://schemas.microsoft.com/office/drawing/2014/main" id="{F0D8ACAE-7ABE-4B20-8DB3-3D8E010EA149}"/>
                </a:ext>
              </a:extLst>
            </p:cNvPr>
            <p:cNvSpPr>
              <a:spLocks/>
            </p:cNvSpPr>
            <p:nvPr/>
          </p:nvSpPr>
          <p:spPr bwMode="gray">
            <a:xfrm>
              <a:off x="-2385" y="124"/>
              <a:ext cx="31" cy="16"/>
            </a:xfrm>
            <a:custGeom>
              <a:avLst/>
              <a:gdLst>
                <a:gd name="T0" fmla="*/ 7 w 31"/>
                <a:gd name="T1" fmla="*/ 12 h 16"/>
                <a:gd name="T2" fmla="*/ 9 w 31"/>
                <a:gd name="T3" fmla="*/ 9 h 16"/>
                <a:gd name="T4" fmla="*/ 9 w 31"/>
                <a:gd name="T5" fmla="*/ 12 h 16"/>
                <a:gd name="T6" fmla="*/ 7 w 31"/>
                <a:gd name="T7" fmla="*/ 14 h 16"/>
                <a:gd name="T8" fmla="*/ 7 w 31"/>
                <a:gd name="T9" fmla="*/ 14 h 16"/>
                <a:gd name="T10" fmla="*/ 7 w 31"/>
                <a:gd name="T11" fmla="*/ 12 h 16"/>
                <a:gd name="T12" fmla="*/ 5 w 31"/>
                <a:gd name="T13" fmla="*/ 12 h 16"/>
                <a:gd name="T14" fmla="*/ 5 w 31"/>
                <a:gd name="T15" fmla="*/ 14 h 16"/>
                <a:gd name="T16" fmla="*/ 7 w 31"/>
                <a:gd name="T17" fmla="*/ 16 h 16"/>
                <a:gd name="T18" fmla="*/ 9 w 31"/>
                <a:gd name="T19" fmla="*/ 16 h 16"/>
                <a:gd name="T20" fmla="*/ 14 w 31"/>
                <a:gd name="T21" fmla="*/ 14 h 16"/>
                <a:gd name="T22" fmla="*/ 19 w 31"/>
                <a:gd name="T23" fmla="*/ 14 h 16"/>
                <a:gd name="T24" fmla="*/ 21 w 31"/>
                <a:gd name="T25" fmla="*/ 9 h 16"/>
                <a:gd name="T26" fmla="*/ 23 w 31"/>
                <a:gd name="T27" fmla="*/ 7 h 16"/>
                <a:gd name="T28" fmla="*/ 23 w 31"/>
                <a:gd name="T29" fmla="*/ 7 h 16"/>
                <a:gd name="T30" fmla="*/ 23 w 31"/>
                <a:gd name="T31" fmla="*/ 9 h 16"/>
                <a:gd name="T32" fmla="*/ 23 w 31"/>
                <a:gd name="T33" fmla="*/ 9 h 16"/>
                <a:gd name="T34" fmla="*/ 23 w 31"/>
                <a:gd name="T35" fmla="*/ 12 h 16"/>
                <a:gd name="T36" fmla="*/ 26 w 31"/>
                <a:gd name="T37" fmla="*/ 12 h 16"/>
                <a:gd name="T38" fmla="*/ 28 w 31"/>
                <a:gd name="T39" fmla="*/ 9 h 16"/>
                <a:gd name="T40" fmla="*/ 31 w 31"/>
                <a:gd name="T41" fmla="*/ 7 h 16"/>
                <a:gd name="T42" fmla="*/ 12 w 31"/>
                <a:gd name="T43" fmla="*/ 0 h 16"/>
                <a:gd name="T44" fmla="*/ 7 w 31"/>
                <a:gd name="T45" fmla="*/ 0 h 16"/>
                <a:gd name="T46" fmla="*/ 5 w 31"/>
                <a:gd name="T47" fmla="*/ 2 h 16"/>
                <a:gd name="T48" fmla="*/ 5 w 31"/>
                <a:gd name="T49" fmla="*/ 5 h 16"/>
                <a:gd name="T50" fmla="*/ 5 w 31"/>
                <a:gd name="T51" fmla="*/ 5 h 16"/>
                <a:gd name="T52" fmla="*/ 2 w 31"/>
                <a:gd name="T53" fmla="*/ 7 h 16"/>
                <a:gd name="T54" fmla="*/ 0 w 31"/>
                <a:gd name="T55" fmla="*/ 9 h 16"/>
                <a:gd name="T56" fmla="*/ 2 w 31"/>
                <a:gd name="T57" fmla="*/ 9 h 16"/>
                <a:gd name="T58" fmla="*/ 7 w 31"/>
                <a:gd name="T59"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 h="16">
                  <a:moveTo>
                    <a:pt x="7" y="12"/>
                  </a:moveTo>
                  <a:lnTo>
                    <a:pt x="9" y="9"/>
                  </a:lnTo>
                  <a:lnTo>
                    <a:pt x="9" y="12"/>
                  </a:lnTo>
                  <a:lnTo>
                    <a:pt x="7" y="14"/>
                  </a:lnTo>
                  <a:lnTo>
                    <a:pt x="7" y="14"/>
                  </a:lnTo>
                  <a:lnTo>
                    <a:pt x="7" y="12"/>
                  </a:lnTo>
                  <a:lnTo>
                    <a:pt x="5" y="12"/>
                  </a:lnTo>
                  <a:lnTo>
                    <a:pt x="5" y="14"/>
                  </a:lnTo>
                  <a:lnTo>
                    <a:pt x="7" y="16"/>
                  </a:lnTo>
                  <a:lnTo>
                    <a:pt x="9" y="16"/>
                  </a:lnTo>
                  <a:lnTo>
                    <a:pt x="14" y="14"/>
                  </a:lnTo>
                  <a:lnTo>
                    <a:pt x="19" y="14"/>
                  </a:lnTo>
                  <a:lnTo>
                    <a:pt x="21" y="9"/>
                  </a:lnTo>
                  <a:lnTo>
                    <a:pt x="23" y="7"/>
                  </a:lnTo>
                  <a:lnTo>
                    <a:pt x="23" y="7"/>
                  </a:lnTo>
                  <a:lnTo>
                    <a:pt x="23" y="9"/>
                  </a:lnTo>
                  <a:lnTo>
                    <a:pt x="23" y="9"/>
                  </a:lnTo>
                  <a:lnTo>
                    <a:pt x="23" y="12"/>
                  </a:lnTo>
                  <a:lnTo>
                    <a:pt x="26" y="12"/>
                  </a:lnTo>
                  <a:lnTo>
                    <a:pt x="28" y="9"/>
                  </a:lnTo>
                  <a:lnTo>
                    <a:pt x="31" y="7"/>
                  </a:lnTo>
                  <a:lnTo>
                    <a:pt x="12" y="0"/>
                  </a:lnTo>
                  <a:lnTo>
                    <a:pt x="7" y="0"/>
                  </a:lnTo>
                  <a:lnTo>
                    <a:pt x="5" y="2"/>
                  </a:lnTo>
                  <a:lnTo>
                    <a:pt x="5" y="5"/>
                  </a:lnTo>
                  <a:lnTo>
                    <a:pt x="5" y="5"/>
                  </a:lnTo>
                  <a:lnTo>
                    <a:pt x="2" y="7"/>
                  </a:lnTo>
                  <a:lnTo>
                    <a:pt x="0" y="9"/>
                  </a:lnTo>
                  <a:lnTo>
                    <a:pt x="2" y="9"/>
                  </a:lnTo>
                  <a:lnTo>
                    <a:pt x="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38" name="Freeform 356">
              <a:extLst>
                <a:ext uri="{FF2B5EF4-FFF2-40B4-BE49-F238E27FC236}">
                  <a16:creationId xmlns:a16="http://schemas.microsoft.com/office/drawing/2014/main" id="{AFF436EB-8684-4F56-9A89-9FE3EA88BED7}"/>
                </a:ext>
              </a:extLst>
            </p:cNvPr>
            <p:cNvSpPr>
              <a:spLocks/>
            </p:cNvSpPr>
            <p:nvPr/>
          </p:nvSpPr>
          <p:spPr bwMode="gray">
            <a:xfrm>
              <a:off x="-2385" y="263"/>
              <a:ext cx="9" cy="14"/>
            </a:xfrm>
            <a:custGeom>
              <a:avLst/>
              <a:gdLst>
                <a:gd name="T0" fmla="*/ 0 w 9"/>
                <a:gd name="T1" fmla="*/ 5 h 14"/>
                <a:gd name="T2" fmla="*/ 0 w 9"/>
                <a:gd name="T3" fmla="*/ 5 h 14"/>
                <a:gd name="T4" fmla="*/ 0 w 9"/>
                <a:gd name="T5" fmla="*/ 5 h 14"/>
                <a:gd name="T6" fmla="*/ 0 w 9"/>
                <a:gd name="T7" fmla="*/ 5 h 14"/>
                <a:gd name="T8" fmla="*/ 0 w 9"/>
                <a:gd name="T9" fmla="*/ 5 h 14"/>
                <a:gd name="T10" fmla="*/ 2 w 9"/>
                <a:gd name="T11" fmla="*/ 5 h 14"/>
                <a:gd name="T12" fmla="*/ 2 w 9"/>
                <a:gd name="T13" fmla="*/ 5 h 14"/>
                <a:gd name="T14" fmla="*/ 2 w 9"/>
                <a:gd name="T15" fmla="*/ 5 h 14"/>
                <a:gd name="T16" fmla="*/ 2 w 9"/>
                <a:gd name="T17" fmla="*/ 5 h 14"/>
                <a:gd name="T18" fmla="*/ 2 w 9"/>
                <a:gd name="T19" fmla="*/ 7 h 14"/>
                <a:gd name="T20" fmla="*/ 2 w 9"/>
                <a:gd name="T21" fmla="*/ 7 h 14"/>
                <a:gd name="T22" fmla="*/ 2 w 9"/>
                <a:gd name="T23" fmla="*/ 7 h 14"/>
                <a:gd name="T24" fmla="*/ 5 w 9"/>
                <a:gd name="T25" fmla="*/ 9 h 14"/>
                <a:gd name="T26" fmla="*/ 5 w 9"/>
                <a:gd name="T27" fmla="*/ 9 h 14"/>
                <a:gd name="T28" fmla="*/ 5 w 9"/>
                <a:gd name="T29" fmla="*/ 9 h 14"/>
                <a:gd name="T30" fmla="*/ 5 w 9"/>
                <a:gd name="T31" fmla="*/ 9 h 14"/>
                <a:gd name="T32" fmla="*/ 5 w 9"/>
                <a:gd name="T33" fmla="*/ 9 h 14"/>
                <a:gd name="T34" fmla="*/ 5 w 9"/>
                <a:gd name="T35" fmla="*/ 12 h 14"/>
                <a:gd name="T36" fmla="*/ 7 w 9"/>
                <a:gd name="T37" fmla="*/ 12 h 14"/>
                <a:gd name="T38" fmla="*/ 7 w 9"/>
                <a:gd name="T39" fmla="*/ 14 h 14"/>
                <a:gd name="T40" fmla="*/ 9 w 9"/>
                <a:gd name="T41" fmla="*/ 14 h 14"/>
                <a:gd name="T42" fmla="*/ 9 w 9"/>
                <a:gd name="T43" fmla="*/ 14 h 14"/>
                <a:gd name="T44" fmla="*/ 9 w 9"/>
                <a:gd name="T45" fmla="*/ 14 h 14"/>
                <a:gd name="T46" fmla="*/ 9 w 9"/>
                <a:gd name="T47" fmla="*/ 12 h 14"/>
                <a:gd name="T48" fmla="*/ 9 w 9"/>
                <a:gd name="T49" fmla="*/ 12 h 14"/>
                <a:gd name="T50" fmla="*/ 9 w 9"/>
                <a:gd name="T51" fmla="*/ 12 h 14"/>
                <a:gd name="T52" fmla="*/ 9 w 9"/>
                <a:gd name="T53" fmla="*/ 12 h 14"/>
                <a:gd name="T54" fmla="*/ 9 w 9"/>
                <a:gd name="T55" fmla="*/ 12 h 14"/>
                <a:gd name="T56" fmla="*/ 9 w 9"/>
                <a:gd name="T57" fmla="*/ 9 h 14"/>
                <a:gd name="T58" fmla="*/ 7 w 9"/>
                <a:gd name="T59" fmla="*/ 7 h 14"/>
                <a:gd name="T60" fmla="*/ 7 w 9"/>
                <a:gd name="T61" fmla="*/ 5 h 14"/>
                <a:gd name="T62" fmla="*/ 5 w 9"/>
                <a:gd name="T63" fmla="*/ 5 h 14"/>
                <a:gd name="T64" fmla="*/ 5 w 9"/>
                <a:gd name="T65" fmla="*/ 5 h 14"/>
                <a:gd name="T66" fmla="*/ 7 w 9"/>
                <a:gd name="T67" fmla="*/ 5 h 14"/>
                <a:gd name="T68" fmla="*/ 7 w 9"/>
                <a:gd name="T69" fmla="*/ 5 h 14"/>
                <a:gd name="T70" fmla="*/ 7 w 9"/>
                <a:gd name="T71" fmla="*/ 2 h 14"/>
                <a:gd name="T72" fmla="*/ 5 w 9"/>
                <a:gd name="T73" fmla="*/ 2 h 14"/>
                <a:gd name="T74" fmla="*/ 5 w 9"/>
                <a:gd name="T75" fmla="*/ 2 h 14"/>
                <a:gd name="T76" fmla="*/ 2 w 9"/>
                <a:gd name="T77" fmla="*/ 2 h 14"/>
                <a:gd name="T78" fmla="*/ 2 w 9"/>
                <a:gd name="T79" fmla="*/ 2 h 14"/>
                <a:gd name="T80" fmla="*/ 2 w 9"/>
                <a:gd name="T81" fmla="*/ 2 h 14"/>
                <a:gd name="T82" fmla="*/ 2 w 9"/>
                <a:gd name="T83" fmla="*/ 2 h 14"/>
                <a:gd name="T84" fmla="*/ 2 w 9"/>
                <a:gd name="T85" fmla="*/ 0 h 14"/>
                <a:gd name="T86" fmla="*/ 0 w 9"/>
                <a:gd name="T87" fmla="*/ 2 h 14"/>
                <a:gd name="T88" fmla="*/ 0 w 9"/>
                <a:gd name="T89" fmla="*/ 2 h 14"/>
                <a:gd name="T90" fmla="*/ 0 w 9"/>
                <a:gd name="T91" fmla="*/ 2 h 14"/>
                <a:gd name="T92" fmla="*/ 0 w 9"/>
                <a:gd name="T93" fmla="*/ 5 h 14"/>
                <a:gd name="T94" fmla="*/ 0 w 9"/>
                <a:gd name="T95"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 h="14">
                  <a:moveTo>
                    <a:pt x="0" y="5"/>
                  </a:moveTo>
                  <a:lnTo>
                    <a:pt x="0" y="5"/>
                  </a:lnTo>
                  <a:lnTo>
                    <a:pt x="0" y="5"/>
                  </a:lnTo>
                  <a:lnTo>
                    <a:pt x="0" y="5"/>
                  </a:lnTo>
                  <a:lnTo>
                    <a:pt x="0" y="5"/>
                  </a:lnTo>
                  <a:lnTo>
                    <a:pt x="2" y="5"/>
                  </a:lnTo>
                  <a:lnTo>
                    <a:pt x="2" y="5"/>
                  </a:lnTo>
                  <a:lnTo>
                    <a:pt x="2" y="5"/>
                  </a:lnTo>
                  <a:lnTo>
                    <a:pt x="2" y="5"/>
                  </a:lnTo>
                  <a:lnTo>
                    <a:pt x="2" y="7"/>
                  </a:lnTo>
                  <a:lnTo>
                    <a:pt x="2" y="7"/>
                  </a:lnTo>
                  <a:lnTo>
                    <a:pt x="2" y="7"/>
                  </a:lnTo>
                  <a:lnTo>
                    <a:pt x="5" y="9"/>
                  </a:lnTo>
                  <a:lnTo>
                    <a:pt x="5" y="9"/>
                  </a:lnTo>
                  <a:lnTo>
                    <a:pt x="5" y="9"/>
                  </a:lnTo>
                  <a:lnTo>
                    <a:pt x="5" y="9"/>
                  </a:lnTo>
                  <a:lnTo>
                    <a:pt x="5" y="9"/>
                  </a:lnTo>
                  <a:lnTo>
                    <a:pt x="5" y="12"/>
                  </a:lnTo>
                  <a:lnTo>
                    <a:pt x="7" y="12"/>
                  </a:lnTo>
                  <a:lnTo>
                    <a:pt x="7" y="14"/>
                  </a:lnTo>
                  <a:lnTo>
                    <a:pt x="9" y="14"/>
                  </a:lnTo>
                  <a:lnTo>
                    <a:pt x="9" y="14"/>
                  </a:lnTo>
                  <a:lnTo>
                    <a:pt x="9" y="14"/>
                  </a:lnTo>
                  <a:lnTo>
                    <a:pt x="9" y="12"/>
                  </a:lnTo>
                  <a:lnTo>
                    <a:pt x="9" y="12"/>
                  </a:lnTo>
                  <a:lnTo>
                    <a:pt x="9" y="12"/>
                  </a:lnTo>
                  <a:lnTo>
                    <a:pt x="9" y="12"/>
                  </a:lnTo>
                  <a:lnTo>
                    <a:pt x="9" y="12"/>
                  </a:lnTo>
                  <a:lnTo>
                    <a:pt x="9" y="9"/>
                  </a:lnTo>
                  <a:lnTo>
                    <a:pt x="7" y="7"/>
                  </a:lnTo>
                  <a:lnTo>
                    <a:pt x="7" y="5"/>
                  </a:lnTo>
                  <a:lnTo>
                    <a:pt x="5" y="5"/>
                  </a:lnTo>
                  <a:lnTo>
                    <a:pt x="5" y="5"/>
                  </a:lnTo>
                  <a:lnTo>
                    <a:pt x="7" y="5"/>
                  </a:lnTo>
                  <a:lnTo>
                    <a:pt x="7" y="5"/>
                  </a:lnTo>
                  <a:lnTo>
                    <a:pt x="7" y="2"/>
                  </a:lnTo>
                  <a:lnTo>
                    <a:pt x="5" y="2"/>
                  </a:lnTo>
                  <a:lnTo>
                    <a:pt x="5" y="2"/>
                  </a:lnTo>
                  <a:lnTo>
                    <a:pt x="2" y="2"/>
                  </a:lnTo>
                  <a:lnTo>
                    <a:pt x="2" y="2"/>
                  </a:lnTo>
                  <a:lnTo>
                    <a:pt x="2" y="2"/>
                  </a:lnTo>
                  <a:lnTo>
                    <a:pt x="2" y="2"/>
                  </a:lnTo>
                  <a:lnTo>
                    <a:pt x="2" y="0"/>
                  </a:lnTo>
                  <a:lnTo>
                    <a:pt x="0" y="2"/>
                  </a:lnTo>
                  <a:lnTo>
                    <a:pt x="0" y="2"/>
                  </a:lnTo>
                  <a:lnTo>
                    <a:pt x="0" y="2"/>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39" name="Freeform 357">
              <a:extLst>
                <a:ext uri="{FF2B5EF4-FFF2-40B4-BE49-F238E27FC236}">
                  <a16:creationId xmlns:a16="http://schemas.microsoft.com/office/drawing/2014/main" id="{943DBB1E-F2FD-41DA-A95E-CC3BBE7CF550}"/>
                </a:ext>
              </a:extLst>
            </p:cNvPr>
            <p:cNvSpPr>
              <a:spLocks/>
            </p:cNvSpPr>
            <p:nvPr/>
          </p:nvSpPr>
          <p:spPr bwMode="gray">
            <a:xfrm>
              <a:off x="-2385" y="303"/>
              <a:ext cx="5" cy="12"/>
            </a:xfrm>
            <a:custGeom>
              <a:avLst/>
              <a:gdLst>
                <a:gd name="T0" fmla="*/ 0 w 5"/>
                <a:gd name="T1" fmla="*/ 12 h 12"/>
                <a:gd name="T2" fmla="*/ 2 w 5"/>
                <a:gd name="T3" fmla="*/ 12 h 12"/>
                <a:gd name="T4" fmla="*/ 2 w 5"/>
                <a:gd name="T5" fmla="*/ 12 h 12"/>
                <a:gd name="T6" fmla="*/ 2 w 5"/>
                <a:gd name="T7" fmla="*/ 12 h 12"/>
                <a:gd name="T8" fmla="*/ 2 w 5"/>
                <a:gd name="T9" fmla="*/ 9 h 12"/>
                <a:gd name="T10" fmla="*/ 5 w 5"/>
                <a:gd name="T11" fmla="*/ 9 h 12"/>
                <a:gd name="T12" fmla="*/ 5 w 5"/>
                <a:gd name="T13" fmla="*/ 7 h 12"/>
                <a:gd name="T14" fmla="*/ 5 w 5"/>
                <a:gd name="T15" fmla="*/ 7 h 12"/>
                <a:gd name="T16" fmla="*/ 5 w 5"/>
                <a:gd name="T17" fmla="*/ 7 h 12"/>
                <a:gd name="T18" fmla="*/ 2 w 5"/>
                <a:gd name="T19" fmla="*/ 7 h 12"/>
                <a:gd name="T20" fmla="*/ 2 w 5"/>
                <a:gd name="T21" fmla="*/ 7 h 12"/>
                <a:gd name="T22" fmla="*/ 2 w 5"/>
                <a:gd name="T23" fmla="*/ 5 h 12"/>
                <a:gd name="T24" fmla="*/ 2 w 5"/>
                <a:gd name="T25" fmla="*/ 5 h 12"/>
                <a:gd name="T26" fmla="*/ 2 w 5"/>
                <a:gd name="T27" fmla="*/ 5 h 12"/>
                <a:gd name="T28" fmla="*/ 2 w 5"/>
                <a:gd name="T29" fmla="*/ 5 h 12"/>
                <a:gd name="T30" fmla="*/ 2 w 5"/>
                <a:gd name="T31" fmla="*/ 2 h 12"/>
                <a:gd name="T32" fmla="*/ 2 w 5"/>
                <a:gd name="T33" fmla="*/ 2 h 12"/>
                <a:gd name="T34" fmla="*/ 2 w 5"/>
                <a:gd name="T35" fmla="*/ 2 h 12"/>
                <a:gd name="T36" fmla="*/ 0 w 5"/>
                <a:gd name="T37" fmla="*/ 2 h 12"/>
                <a:gd name="T38" fmla="*/ 0 w 5"/>
                <a:gd name="T39" fmla="*/ 0 h 12"/>
                <a:gd name="T40" fmla="*/ 0 w 5"/>
                <a:gd name="T41" fmla="*/ 0 h 12"/>
                <a:gd name="T42" fmla="*/ 0 w 5"/>
                <a:gd name="T43" fmla="*/ 2 h 12"/>
                <a:gd name="T44" fmla="*/ 0 w 5"/>
                <a:gd name="T45" fmla="*/ 2 h 12"/>
                <a:gd name="T46" fmla="*/ 0 w 5"/>
                <a:gd name="T47" fmla="*/ 5 h 12"/>
                <a:gd name="T48" fmla="*/ 0 w 5"/>
                <a:gd name="T49" fmla="*/ 5 h 12"/>
                <a:gd name="T50" fmla="*/ 0 w 5"/>
                <a:gd name="T51" fmla="*/ 7 h 12"/>
                <a:gd name="T52" fmla="*/ 0 w 5"/>
                <a:gd name="T53" fmla="*/ 7 h 12"/>
                <a:gd name="T54" fmla="*/ 0 w 5"/>
                <a:gd name="T55" fmla="*/ 7 h 12"/>
                <a:gd name="T56" fmla="*/ 0 w 5"/>
                <a:gd name="T57" fmla="*/ 7 h 12"/>
                <a:gd name="T58" fmla="*/ 0 w 5"/>
                <a:gd name="T59" fmla="*/ 9 h 12"/>
                <a:gd name="T60" fmla="*/ 0 w 5"/>
                <a:gd name="T61" fmla="*/ 9 h 12"/>
                <a:gd name="T62" fmla="*/ 0 w 5"/>
                <a:gd name="T63" fmla="*/ 9 h 12"/>
                <a:gd name="T64" fmla="*/ 0 w 5"/>
                <a:gd name="T65" fmla="*/ 9 h 12"/>
                <a:gd name="T66" fmla="*/ 0 w 5"/>
                <a:gd name="T67" fmla="*/ 12 h 12"/>
                <a:gd name="T68" fmla="*/ 0 w 5"/>
                <a:gd name="T6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 h="12">
                  <a:moveTo>
                    <a:pt x="0" y="12"/>
                  </a:moveTo>
                  <a:lnTo>
                    <a:pt x="2" y="12"/>
                  </a:lnTo>
                  <a:lnTo>
                    <a:pt x="2" y="12"/>
                  </a:lnTo>
                  <a:lnTo>
                    <a:pt x="2" y="12"/>
                  </a:lnTo>
                  <a:lnTo>
                    <a:pt x="2" y="9"/>
                  </a:lnTo>
                  <a:lnTo>
                    <a:pt x="5" y="9"/>
                  </a:lnTo>
                  <a:lnTo>
                    <a:pt x="5" y="7"/>
                  </a:lnTo>
                  <a:lnTo>
                    <a:pt x="5" y="7"/>
                  </a:lnTo>
                  <a:lnTo>
                    <a:pt x="5" y="7"/>
                  </a:lnTo>
                  <a:lnTo>
                    <a:pt x="2" y="7"/>
                  </a:lnTo>
                  <a:lnTo>
                    <a:pt x="2" y="7"/>
                  </a:lnTo>
                  <a:lnTo>
                    <a:pt x="2" y="5"/>
                  </a:lnTo>
                  <a:lnTo>
                    <a:pt x="2" y="5"/>
                  </a:lnTo>
                  <a:lnTo>
                    <a:pt x="2" y="5"/>
                  </a:lnTo>
                  <a:lnTo>
                    <a:pt x="2" y="5"/>
                  </a:lnTo>
                  <a:lnTo>
                    <a:pt x="2" y="2"/>
                  </a:lnTo>
                  <a:lnTo>
                    <a:pt x="2" y="2"/>
                  </a:lnTo>
                  <a:lnTo>
                    <a:pt x="2" y="2"/>
                  </a:lnTo>
                  <a:lnTo>
                    <a:pt x="0" y="2"/>
                  </a:lnTo>
                  <a:lnTo>
                    <a:pt x="0" y="0"/>
                  </a:lnTo>
                  <a:lnTo>
                    <a:pt x="0" y="0"/>
                  </a:lnTo>
                  <a:lnTo>
                    <a:pt x="0" y="2"/>
                  </a:lnTo>
                  <a:lnTo>
                    <a:pt x="0" y="2"/>
                  </a:lnTo>
                  <a:lnTo>
                    <a:pt x="0" y="5"/>
                  </a:lnTo>
                  <a:lnTo>
                    <a:pt x="0" y="5"/>
                  </a:lnTo>
                  <a:lnTo>
                    <a:pt x="0" y="7"/>
                  </a:lnTo>
                  <a:lnTo>
                    <a:pt x="0" y="7"/>
                  </a:lnTo>
                  <a:lnTo>
                    <a:pt x="0" y="7"/>
                  </a:lnTo>
                  <a:lnTo>
                    <a:pt x="0" y="7"/>
                  </a:lnTo>
                  <a:lnTo>
                    <a:pt x="0" y="9"/>
                  </a:lnTo>
                  <a:lnTo>
                    <a:pt x="0" y="9"/>
                  </a:lnTo>
                  <a:lnTo>
                    <a:pt x="0" y="9"/>
                  </a:lnTo>
                  <a:lnTo>
                    <a:pt x="0" y="9"/>
                  </a:lnTo>
                  <a:lnTo>
                    <a:pt x="0" y="12"/>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40" name="Freeform 358">
              <a:extLst>
                <a:ext uri="{FF2B5EF4-FFF2-40B4-BE49-F238E27FC236}">
                  <a16:creationId xmlns:a16="http://schemas.microsoft.com/office/drawing/2014/main" id="{9D10685C-231D-4CB9-AF48-3E4721F7E03C}"/>
                </a:ext>
              </a:extLst>
            </p:cNvPr>
            <p:cNvSpPr>
              <a:spLocks/>
            </p:cNvSpPr>
            <p:nvPr/>
          </p:nvSpPr>
          <p:spPr bwMode="gray">
            <a:xfrm>
              <a:off x="-630" y="2065"/>
              <a:ext cx="29" cy="24"/>
            </a:xfrm>
            <a:custGeom>
              <a:avLst/>
              <a:gdLst>
                <a:gd name="T0" fmla="*/ 15 w 29"/>
                <a:gd name="T1" fmla="*/ 15 h 24"/>
                <a:gd name="T2" fmla="*/ 12 w 29"/>
                <a:gd name="T3" fmla="*/ 15 h 24"/>
                <a:gd name="T4" fmla="*/ 10 w 29"/>
                <a:gd name="T5" fmla="*/ 17 h 24"/>
                <a:gd name="T6" fmla="*/ 10 w 29"/>
                <a:gd name="T7" fmla="*/ 17 h 24"/>
                <a:gd name="T8" fmla="*/ 10 w 29"/>
                <a:gd name="T9" fmla="*/ 17 h 24"/>
                <a:gd name="T10" fmla="*/ 8 w 29"/>
                <a:gd name="T11" fmla="*/ 17 h 24"/>
                <a:gd name="T12" fmla="*/ 8 w 29"/>
                <a:gd name="T13" fmla="*/ 19 h 24"/>
                <a:gd name="T14" fmla="*/ 5 w 29"/>
                <a:gd name="T15" fmla="*/ 19 h 24"/>
                <a:gd name="T16" fmla="*/ 5 w 29"/>
                <a:gd name="T17" fmla="*/ 19 h 24"/>
                <a:gd name="T18" fmla="*/ 5 w 29"/>
                <a:gd name="T19" fmla="*/ 22 h 24"/>
                <a:gd name="T20" fmla="*/ 0 w 29"/>
                <a:gd name="T21" fmla="*/ 24 h 24"/>
                <a:gd name="T22" fmla="*/ 5 w 29"/>
                <a:gd name="T23" fmla="*/ 22 h 24"/>
                <a:gd name="T24" fmla="*/ 12 w 29"/>
                <a:gd name="T25" fmla="*/ 17 h 24"/>
                <a:gd name="T26" fmla="*/ 29 w 29"/>
                <a:gd name="T27" fmla="*/ 0 h 24"/>
                <a:gd name="T28" fmla="*/ 24 w 29"/>
                <a:gd name="T29" fmla="*/ 3 h 24"/>
                <a:gd name="T30" fmla="*/ 15 w 29"/>
                <a:gd name="T31"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24">
                  <a:moveTo>
                    <a:pt x="15" y="15"/>
                  </a:moveTo>
                  <a:lnTo>
                    <a:pt x="12" y="15"/>
                  </a:lnTo>
                  <a:lnTo>
                    <a:pt x="10" y="17"/>
                  </a:lnTo>
                  <a:lnTo>
                    <a:pt x="10" y="17"/>
                  </a:lnTo>
                  <a:lnTo>
                    <a:pt x="10" y="17"/>
                  </a:lnTo>
                  <a:lnTo>
                    <a:pt x="8" y="17"/>
                  </a:lnTo>
                  <a:lnTo>
                    <a:pt x="8" y="19"/>
                  </a:lnTo>
                  <a:lnTo>
                    <a:pt x="5" y="19"/>
                  </a:lnTo>
                  <a:lnTo>
                    <a:pt x="5" y="19"/>
                  </a:lnTo>
                  <a:lnTo>
                    <a:pt x="5" y="22"/>
                  </a:lnTo>
                  <a:lnTo>
                    <a:pt x="0" y="24"/>
                  </a:lnTo>
                  <a:lnTo>
                    <a:pt x="5" y="22"/>
                  </a:lnTo>
                  <a:lnTo>
                    <a:pt x="12" y="17"/>
                  </a:lnTo>
                  <a:lnTo>
                    <a:pt x="29" y="0"/>
                  </a:lnTo>
                  <a:lnTo>
                    <a:pt x="24" y="3"/>
                  </a:lnTo>
                  <a:lnTo>
                    <a:pt x="15"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41" name="Freeform 359">
              <a:extLst>
                <a:ext uri="{FF2B5EF4-FFF2-40B4-BE49-F238E27FC236}">
                  <a16:creationId xmlns:a16="http://schemas.microsoft.com/office/drawing/2014/main" id="{D76C791F-A329-4E16-B0D1-BF17E33E854D}"/>
                </a:ext>
              </a:extLst>
            </p:cNvPr>
            <p:cNvSpPr>
              <a:spLocks/>
            </p:cNvSpPr>
            <p:nvPr/>
          </p:nvSpPr>
          <p:spPr bwMode="gray">
            <a:xfrm>
              <a:off x="-504" y="1988"/>
              <a:ext cx="56" cy="37"/>
            </a:xfrm>
            <a:custGeom>
              <a:avLst/>
              <a:gdLst>
                <a:gd name="T0" fmla="*/ 21 w 24"/>
                <a:gd name="T1" fmla="*/ 4 h 16"/>
                <a:gd name="T2" fmla="*/ 18 w 24"/>
                <a:gd name="T3" fmla="*/ 3 h 16"/>
                <a:gd name="T4" fmla="*/ 17 w 24"/>
                <a:gd name="T5" fmla="*/ 3 h 16"/>
                <a:gd name="T6" fmla="*/ 16 w 24"/>
                <a:gd name="T7" fmla="*/ 4 h 16"/>
                <a:gd name="T8" fmla="*/ 13 w 24"/>
                <a:gd name="T9" fmla="*/ 3 h 16"/>
                <a:gd name="T10" fmla="*/ 11 w 24"/>
                <a:gd name="T11" fmla="*/ 3 h 16"/>
                <a:gd name="T12" fmla="*/ 10 w 24"/>
                <a:gd name="T13" fmla="*/ 3 h 16"/>
                <a:gd name="T14" fmla="*/ 9 w 24"/>
                <a:gd name="T15" fmla="*/ 2 h 16"/>
                <a:gd name="T16" fmla="*/ 7 w 24"/>
                <a:gd name="T17" fmla="*/ 1 h 16"/>
                <a:gd name="T18" fmla="*/ 2 w 24"/>
                <a:gd name="T19" fmla="*/ 2 h 16"/>
                <a:gd name="T20" fmla="*/ 2 w 24"/>
                <a:gd name="T21" fmla="*/ 2 h 16"/>
                <a:gd name="T22" fmla="*/ 1 w 24"/>
                <a:gd name="T23" fmla="*/ 1 h 16"/>
                <a:gd name="T24" fmla="*/ 0 w 24"/>
                <a:gd name="T25" fmla="*/ 0 h 16"/>
                <a:gd name="T26" fmla="*/ 1 w 24"/>
                <a:gd name="T27" fmla="*/ 1 h 16"/>
                <a:gd name="T28" fmla="*/ 4 w 24"/>
                <a:gd name="T29" fmla="*/ 4 h 16"/>
                <a:gd name="T30" fmla="*/ 4 w 24"/>
                <a:gd name="T31" fmla="*/ 5 h 16"/>
                <a:gd name="T32" fmla="*/ 5 w 24"/>
                <a:gd name="T33" fmla="*/ 5 h 16"/>
                <a:gd name="T34" fmla="*/ 5 w 24"/>
                <a:gd name="T35" fmla="*/ 7 h 16"/>
                <a:gd name="T36" fmla="*/ 5 w 24"/>
                <a:gd name="T37" fmla="*/ 5 h 16"/>
                <a:gd name="T38" fmla="*/ 5 w 24"/>
                <a:gd name="T39" fmla="*/ 5 h 16"/>
                <a:gd name="T40" fmla="*/ 6 w 24"/>
                <a:gd name="T41" fmla="*/ 5 h 16"/>
                <a:gd name="T42" fmla="*/ 6 w 24"/>
                <a:gd name="T43" fmla="*/ 4 h 16"/>
                <a:gd name="T44" fmla="*/ 6 w 24"/>
                <a:gd name="T45" fmla="*/ 4 h 16"/>
                <a:gd name="T46" fmla="*/ 7 w 24"/>
                <a:gd name="T47" fmla="*/ 4 h 16"/>
                <a:gd name="T48" fmla="*/ 7 w 24"/>
                <a:gd name="T49" fmla="*/ 4 h 16"/>
                <a:gd name="T50" fmla="*/ 8 w 24"/>
                <a:gd name="T51" fmla="*/ 4 h 16"/>
                <a:gd name="T52" fmla="*/ 12 w 24"/>
                <a:gd name="T53" fmla="*/ 6 h 16"/>
                <a:gd name="T54" fmla="*/ 13 w 24"/>
                <a:gd name="T55" fmla="*/ 6 h 16"/>
                <a:gd name="T56" fmla="*/ 15 w 24"/>
                <a:gd name="T57" fmla="*/ 6 h 16"/>
                <a:gd name="T58" fmla="*/ 15 w 24"/>
                <a:gd name="T59" fmla="*/ 6 h 16"/>
                <a:gd name="T60" fmla="*/ 16 w 24"/>
                <a:gd name="T61" fmla="*/ 8 h 16"/>
                <a:gd name="T62" fmla="*/ 17 w 24"/>
                <a:gd name="T63" fmla="*/ 8 h 16"/>
                <a:gd name="T64" fmla="*/ 16 w 24"/>
                <a:gd name="T65" fmla="*/ 8 h 16"/>
                <a:gd name="T66" fmla="*/ 16 w 24"/>
                <a:gd name="T67" fmla="*/ 8 h 16"/>
                <a:gd name="T68" fmla="*/ 16 w 24"/>
                <a:gd name="T69" fmla="*/ 9 h 16"/>
                <a:gd name="T70" fmla="*/ 14 w 24"/>
                <a:gd name="T71" fmla="*/ 10 h 16"/>
                <a:gd name="T72" fmla="*/ 14 w 24"/>
                <a:gd name="T73" fmla="*/ 10 h 16"/>
                <a:gd name="T74" fmla="*/ 12 w 24"/>
                <a:gd name="T75" fmla="*/ 11 h 16"/>
                <a:gd name="T76" fmla="*/ 10 w 24"/>
                <a:gd name="T77" fmla="*/ 10 h 16"/>
                <a:gd name="T78" fmla="*/ 9 w 24"/>
                <a:gd name="T79" fmla="*/ 10 h 16"/>
                <a:gd name="T80" fmla="*/ 9 w 24"/>
                <a:gd name="T81" fmla="*/ 11 h 16"/>
                <a:gd name="T82" fmla="*/ 8 w 24"/>
                <a:gd name="T83" fmla="*/ 11 h 16"/>
                <a:gd name="T84" fmla="*/ 8 w 24"/>
                <a:gd name="T85" fmla="*/ 12 h 16"/>
                <a:gd name="T86" fmla="*/ 8 w 24"/>
                <a:gd name="T87" fmla="*/ 12 h 16"/>
                <a:gd name="T88" fmla="*/ 8 w 24"/>
                <a:gd name="T89" fmla="*/ 13 h 16"/>
                <a:gd name="T90" fmla="*/ 9 w 24"/>
                <a:gd name="T91" fmla="*/ 13 h 16"/>
                <a:gd name="T92" fmla="*/ 9 w 24"/>
                <a:gd name="T93" fmla="*/ 13 h 16"/>
                <a:gd name="T94" fmla="*/ 11 w 24"/>
                <a:gd name="T95" fmla="*/ 13 h 16"/>
                <a:gd name="T96" fmla="*/ 12 w 24"/>
                <a:gd name="T97" fmla="*/ 13 h 16"/>
                <a:gd name="T98" fmla="*/ 11 w 24"/>
                <a:gd name="T99" fmla="*/ 13 h 16"/>
                <a:gd name="T100" fmla="*/ 11 w 24"/>
                <a:gd name="T101" fmla="*/ 12 h 16"/>
                <a:gd name="T102" fmla="*/ 11 w 24"/>
                <a:gd name="T103" fmla="*/ 12 h 16"/>
                <a:gd name="T104" fmla="*/ 14 w 24"/>
                <a:gd name="T105" fmla="*/ 14 h 16"/>
                <a:gd name="T106" fmla="*/ 15 w 24"/>
                <a:gd name="T107" fmla="*/ 14 h 16"/>
                <a:gd name="T108" fmla="*/ 16 w 24"/>
                <a:gd name="T109" fmla="*/ 14 h 16"/>
                <a:gd name="T110" fmla="*/ 17 w 24"/>
                <a:gd name="T111" fmla="*/ 14 h 16"/>
                <a:gd name="T112" fmla="*/ 18 w 24"/>
                <a:gd name="T113" fmla="*/ 16 h 16"/>
                <a:gd name="T114" fmla="*/ 24 w 24"/>
                <a:gd name="T115" fmla="*/ 5 h 16"/>
                <a:gd name="T116" fmla="*/ 23 w 24"/>
                <a:gd name="T117" fmla="*/ 5 h 16"/>
                <a:gd name="T118" fmla="*/ 21 w 24"/>
                <a:gd name="T1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 h="16">
                  <a:moveTo>
                    <a:pt x="21" y="4"/>
                  </a:moveTo>
                  <a:cubicBezTo>
                    <a:pt x="18" y="3"/>
                    <a:pt x="18" y="3"/>
                    <a:pt x="18" y="3"/>
                  </a:cubicBezTo>
                  <a:cubicBezTo>
                    <a:pt x="17" y="3"/>
                    <a:pt x="17" y="3"/>
                    <a:pt x="17" y="3"/>
                  </a:cubicBezTo>
                  <a:cubicBezTo>
                    <a:pt x="16" y="4"/>
                    <a:pt x="16" y="4"/>
                    <a:pt x="16" y="4"/>
                  </a:cubicBezTo>
                  <a:cubicBezTo>
                    <a:pt x="13" y="3"/>
                    <a:pt x="13" y="3"/>
                    <a:pt x="13" y="3"/>
                  </a:cubicBezTo>
                  <a:cubicBezTo>
                    <a:pt x="11" y="3"/>
                    <a:pt x="11" y="3"/>
                    <a:pt x="11" y="3"/>
                  </a:cubicBezTo>
                  <a:cubicBezTo>
                    <a:pt x="10" y="3"/>
                    <a:pt x="10" y="3"/>
                    <a:pt x="10" y="3"/>
                  </a:cubicBezTo>
                  <a:cubicBezTo>
                    <a:pt x="9" y="2"/>
                    <a:pt x="9" y="2"/>
                    <a:pt x="9" y="2"/>
                  </a:cubicBezTo>
                  <a:cubicBezTo>
                    <a:pt x="7" y="1"/>
                    <a:pt x="7" y="1"/>
                    <a:pt x="7" y="1"/>
                  </a:cubicBezTo>
                  <a:cubicBezTo>
                    <a:pt x="2" y="2"/>
                    <a:pt x="2" y="2"/>
                    <a:pt x="2" y="2"/>
                  </a:cubicBezTo>
                  <a:cubicBezTo>
                    <a:pt x="2" y="2"/>
                    <a:pt x="2" y="2"/>
                    <a:pt x="2" y="2"/>
                  </a:cubicBezTo>
                  <a:cubicBezTo>
                    <a:pt x="1" y="1"/>
                    <a:pt x="1" y="1"/>
                    <a:pt x="1" y="1"/>
                  </a:cubicBezTo>
                  <a:cubicBezTo>
                    <a:pt x="0" y="0"/>
                    <a:pt x="0" y="0"/>
                    <a:pt x="0" y="0"/>
                  </a:cubicBezTo>
                  <a:cubicBezTo>
                    <a:pt x="1" y="1"/>
                    <a:pt x="1" y="1"/>
                    <a:pt x="1" y="1"/>
                  </a:cubicBezTo>
                  <a:cubicBezTo>
                    <a:pt x="4" y="4"/>
                    <a:pt x="4" y="4"/>
                    <a:pt x="4" y="4"/>
                  </a:cubicBezTo>
                  <a:cubicBezTo>
                    <a:pt x="4" y="5"/>
                    <a:pt x="4" y="5"/>
                    <a:pt x="4" y="5"/>
                  </a:cubicBezTo>
                  <a:cubicBezTo>
                    <a:pt x="5" y="5"/>
                    <a:pt x="5" y="5"/>
                    <a:pt x="5" y="5"/>
                  </a:cubicBezTo>
                  <a:cubicBezTo>
                    <a:pt x="5" y="7"/>
                    <a:pt x="5" y="7"/>
                    <a:pt x="5" y="7"/>
                  </a:cubicBezTo>
                  <a:cubicBezTo>
                    <a:pt x="5" y="5"/>
                    <a:pt x="5" y="5"/>
                    <a:pt x="5" y="5"/>
                  </a:cubicBezTo>
                  <a:cubicBezTo>
                    <a:pt x="5" y="5"/>
                    <a:pt x="5" y="5"/>
                    <a:pt x="5" y="5"/>
                  </a:cubicBezTo>
                  <a:cubicBezTo>
                    <a:pt x="6" y="5"/>
                    <a:pt x="6" y="5"/>
                    <a:pt x="6" y="5"/>
                  </a:cubicBezTo>
                  <a:cubicBezTo>
                    <a:pt x="6" y="4"/>
                    <a:pt x="6" y="4"/>
                    <a:pt x="6" y="4"/>
                  </a:cubicBezTo>
                  <a:cubicBezTo>
                    <a:pt x="6" y="4"/>
                    <a:pt x="6" y="4"/>
                    <a:pt x="6" y="4"/>
                  </a:cubicBezTo>
                  <a:cubicBezTo>
                    <a:pt x="7" y="4"/>
                    <a:pt x="7" y="4"/>
                    <a:pt x="7" y="4"/>
                  </a:cubicBezTo>
                  <a:cubicBezTo>
                    <a:pt x="7" y="4"/>
                    <a:pt x="7" y="4"/>
                    <a:pt x="7" y="4"/>
                  </a:cubicBezTo>
                  <a:cubicBezTo>
                    <a:pt x="8" y="4"/>
                    <a:pt x="8" y="4"/>
                    <a:pt x="8" y="4"/>
                  </a:cubicBezTo>
                  <a:cubicBezTo>
                    <a:pt x="12" y="6"/>
                    <a:pt x="12" y="6"/>
                    <a:pt x="12" y="6"/>
                  </a:cubicBezTo>
                  <a:cubicBezTo>
                    <a:pt x="13" y="6"/>
                    <a:pt x="13" y="6"/>
                    <a:pt x="13" y="6"/>
                  </a:cubicBezTo>
                  <a:cubicBezTo>
                    <a:pt x="15" y="6"/>
                    <a:pt x="15" y="6"/>
                    <a:pt x="15" y="6"/>
                  </a:cubicBezTo>
                  <a:cubicBezTo>
                    <a:pt x="15" y="6"/>
                    <a:pt x="15" y="6"/>
                    <a:pt x="15" y="6"/>
                  </a:cubicBezTo>
                  <a:cubicBezTo>
                    <a:pt x="16" y="8"/>
                    <a:pt x="16" y="8"/>
                    <a:pt x="16" y="8"/>
                  </a:cubicBezTo>
                  <a:cubicBezTo>
                    <a:pt x="17" y="8"/>
                    <a:pt x="17" y="8"/>
                    <a:pt x="17" y="8"/>
                  </a:cubicBezTo>
                  <a:cubicBezTo>
                    <a:pt x="16" y="8"/>
                    <a:pt x="16" y="8"/>
                    <a:pt x="16" y="8"/>
                  </a:cubicBezTo>
                  <a:cubicBezTo>
                    <a:pt x="16" y="8"/>
                    <a:pt x="16" y="8"/>
                    <a:pt x="16" y="8"/>
                  </a:cubicBezTo>
                  <a:cubicBezTo>
                    <a:pt x="16" y="9"/>
                    <a:pt x="16" y="9"/>
                    <a:pt x="16" y="9"/>
                  </a:cubicBezTo>
                  <a:cubicBezTo>
                    <a:pt x="14" y="10"/>
                    <a:pt x="14" y="10"/>
                    <a:pt x="14" y="10"/>
                  </a:cubicBezTo>
                  <a:cubicBezTo>
                    <a:pt x="14" y="10"/>
                    <a:pt x="14" y="10"/>
                    <a:pt x="14" y="10"/>
                  </a:cubicBezTo>
                  <a:cubicBezTo>
                    <a:pt x="12" y="11"/>
                    <a:pt x="12" y="11"/>
                    <a:pt x="12" y="11"/>
                  </a:cubicBezTo>
                  <a:cubicBezTo>
                    <a:pt x="10" y="10"/>
                    <a:pt x="10" y="10"/>
                    <a:pt x="10" y="10"/>
                  </a:cubicBezTo>
                  <a:cubicBezTo>
                    <a:pt x="9" y="10"/>
                    <a:pt x="9" y="10"/>
                    <a:pt x="9" y="10"/>
                  </a:cubicBezTo>
                  <a:cubicBezTo>
                    <a:pt x="9" y="11"/>
                    <a:pt x="9" y="11"/>
                    <a:pt x="9" y="11"/>
                  </a:cubicBezTo>
                  <a:cubicBezTo>
                    <a:pt x="8" y="11"/>
                    <a:pt x="8" y="11"/>
                    <a:pt x="8" y="11"/>
                  </a:cubicBezTo>
                  <a:cubicBezTo>
                    <a:pt x="8" y="12"/>
                    <a:pt x="8" y="12"/>
                    <a:pt x="8" y="12"/>
                  </a:cubicBezTo>
                  <a:cubicBezTo>
                    <a:pt x="8" y="12"/>
                    <a:pt x="8" y="12"/>
                    <a:pt x="8" y="12"/>
                  </a:cubicBezTo>
                  <a:cubicBezTo>
                    <a:pt x="8" y="13"/>
                    <a:pt x="8" y="13"/>
                    <a:pt x="8" y="13"/>
                  </a:cubicBezTo>
                  <a:cubicBezTo>
                    <a:pt x="9" y="13"/>
                    <a:pt x="9" y="13"/>
                    <a:pt x="9" y="13"/>
                  </a:cubicBezTo>
                  <a:cubicBezTo>
                    <a:pt x="9" y="13"/>
                    <a:pt x="9" y="13"/>
                    <a:pt x="9" y="13"/>
                  </a:cubicBezTo>
                  <a:cubicBezTo>
                    <a:pt x="11" y="13"/>
                    <a:pt x="11" y="13"/>
                    <a:pt x="11" y="13"/>
                  </a:cubicBezTo>
                  <a:cubicBezTo>
                    <a:pt x="12" y="13"/>
                    <a:pt x="12" y="13"/>
                    <a:pt x="12" y="13"/>
                  </a:cubicBezTo>
                  <a:cubicBezTo>
                    <a:pt x="11" y="13"/>
                    <a:pt x="11" y="13"/>
                    <a:pt x="11" y="13"/>
                  </a:cubicBezTo>
                  <a:cubicBezTo>
                    <a:pt x="11" y="12"/>
                    <a:pt x="11" y="12"/>
                    <a:pt x="11" y="12"/>
                  </a:cubicBezTo>
                  <a:cubicBezTo>
                    <a:pt x="11" y="12"/>
                    <a:pt x="11" y="12"/>
                    <a:pt x="11" y="12"/>
                  </a:cubicBezTo>
                  <a:cubicBezTo>
                    <a:pt x="14" y="14"/>
                    <a:pt x="14" y="14"/>
                    <a:pt x="14" y="14"/>
                  </a:cubicBezTo>
                  <a:cubicBezTo>
                    <a:pt x="15" y="14"/>
                    <a:pt x="15" y="14"/>
                    <a:pt x="15" y="14"/>
                  </a:cubicBezTo>
                  <a:cubicBezTo>
                    <a:pt x="16" y="14"/>
                    <a:pt x="16" y="14"/>
                    <a:pt x="16" y="14"/>
                  </a:cubicBezTo>
                  <a:cubicBezTo>
                    <a:pt x="17" y="14"/>
                    <a:pt x="17" y="14"/>
                    <a:pt x="17" y="14"/>
                  </a:cubicBezTo>
                  <a:cubicBezTo>
                    <a:pt x="18" y="16"/>
                    <a:pt x="18" y="16"/>
                    <a:pt x="18" y="16"/>
                  </a:cubicBezTo>
                  <a:cubicBezTo>
                    <a:pt x="20" y="12"/>
                    <a:pt x="22" y="9"/>
                    <a:pt x="24" y="5"/>
                  </a:cubicBezTo>
                  <a:cubicBezTo>
                    <a:pt x="23" y="5"/>
                    <a:pt x="23" y="5"/>
                    <a:pt x="23" y="5"/>
                  </a:cubicBez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42" name="Freeform 360">
              <a:extLst>
                <a:ext uri="{FF2B5EF4-FFF2-40B4-BE49-F238E27FC236}">
                  <a16:creationId xmlns:a16="http://schemas.microsoft.com/office/drawing/2014/main" id="{351FAF68-E886-4165-98A8-98D35FBEF40D}"/>
                </a:ext>
              </a:extLst>
            </p:cNvPr>
            <p:cNvSpPr>
              <a:spLocks/>
            </p:cNvSpPr>
            <p:nvPr/>
          </p:nvSpPr>
          <p:spPr bwMode="gray">
            <a:xfrm>
              <a:off x="-504" y="2009"/>
              <a:ext cx="40" cy="21"/>
            </a:xfrm>
            <a:custGeom>
              <a:avLst/>
              <a:gdLst>
                <a:gd name="T0" fmla="*/ 13 w 17"/>
                <a:gd name="T1" fmla="*/ 8 h 9"/>
                <a:gd name="T2" fmla="*/ 3 w 17"/>
                <a:gd name="T3" fmla="*/ 5 h 9"/>
                <a:gd name="T4" fmla="*/ 2 w 17"/>
                <a:gd name="T5" fmla="*/ 5 h 9"/>
                <a:gd name="T6" fmla="*/ 1 w 17"/>
                <a:gd name="T7" fmla="*/ 4 h 9"/>
                <a:gd name="T8" fmla="*/ 1 w 17"/>
                <a:gd name="T9" fmla="*/ 2 h 9"/>
                <a:gd name="T10" fmla="*/ 0 w 17"/>
                <a:gd name="T11" fmla="*/ 0 h 9"/>
                <a:gd name="T12" fmla="*/ 0 w 17"/>
                <a:gd name="T13" fmla="*/ 0 h 9"/>
                <a:gd name="T14" fmla="*/ 0 w 17"/>
                <a:gd name="T15" fmla="*/ 1 h 9"/>
                <a:gd name="T16" fmla="*/ 0 w 17"/>
                <a:gd name="T17" fmla="*/ 2 h 9"/>
                <a:gd name="T18" fmla="*/ 0 w 17"/>
                <a:gd name="T19" fmla="*/ 3 h 9"/>
                <a:gd name="T20" fmla="*/ 1 w 17"/>
                <a:gd name="T21" fmla="*/ 4 h 9"/>
                <a:gd name="T22" fmla="*/ 2 w 17"/>
                <a:gd name="T23" fmla="*/ 5 h 9"/>
                <a:gd name="T24" fmla="*/ 7 w 17"/>
                <a:gd name="T25" fmla="*/ 7 h 9"/>
                <a:gd name="T26" fmla="*/ 17 w 17"/>
                <a:gd name="T27" fmla="*/ 9 h 9"/>
                <a:gd name="T28" fmla="*/ 17 w 17"/>
                <a:gd name="T29" fmla="*/ 9 h 9"/>
                <a:gd name="T30" fmla="*/ 17 w 17"/>
                <a:gd name="T31" fmla="*/ 8 h 9"/>
                <a:gd name="T32" fmla="*/ 13 w 17"/>
                <a:gd name="T33"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9">
                  <a:moveTo>
                    <a:pt x="13" y="8"/>
                  </a:moveTo>
                  <a:cubicBezTo>
                    <a:pt x="3" y="5"/>
                    <a:pt x="3" y="5"/>
                    <a:pt x="3" y="5"/>
                  </a:cubicBezTo>
                  <a:cubicBezTo>
                    <a:pt x="2" y="5"/>
                    <a:pt x="2" y="5"/>
                    <a:pt x="2" y="5"/>
                  </a:cubicBezTo>
                  <a:cubicBezTo>
                    <a:pt x="1" y="4"/>
                    <a:pt x="1" y="4"/>
                    <a:pt x="1" y="4"/>
                  </a:cubicBezTo>
                  <a:cubicBezTo>
                    <a:pt x="1" y="2"/>
                    <a:pt x="1" y="2"/>
                    <a:pt x="1" y="2"/>
                  </a:cubicBezTo>
                  <a:cubicBezTo>
                    <a:pt x="0" y="0"/>
                    <a:pt x="0" y="0"/>
                    <a:pt x="0" y="0"/>
                  </a:cubicBezTo>
                  <a:cubicBezTo>
                    <a:pt x="0" y="0"/>
                    <a:pt x="0" y="0"/>
                    <a:pt x="0" y="0"/>
                  </a:cubicBezTo>
                  <a:cubicBezTo>
                    <a:pt x="0" y="1"/>
                    <a:pt x="0" y="1"/>
                    <a:pt x="0" y="1"/>
                  </a:cubicBezTo>
                  <a:cubicBezTo>
                    <a:pt x="0" y="2"/>
                    <a:pt x="0" y="2"/>
                    <a:pt x="0" y="2"/>
                  </a:cubicBezTo>
                  <a:cubicBezTo>
                    <a:pt x="0" y="3"/>
                    <a:pt x="0" y="3"/>
                    <a:pt x="0" y="3"/>
                  </a:cubicBezTo>
                  <a:cubicBezTo>
                    <a:pt x="1" y="4"/>
                    <a:pt x="1" y="4"/>
                    <a:pt x="1" y="4"/>
                  </a:cubicBezTo>
                  <a:cubicBezTo>
                    <a:pt x="2" y="5"/>
                    <a:pt x="2" y="5"/>
                    <a:pt x="2" y="5"/>
                  </a:cubicBezTo>
                  <a:cubicBezTo>
                    <a:pt x="7" y="7"/>
                    <a:pt x="7" y="7"/>
                    <a:pt x="7" y="7"/>
                  </a:cubicBezTo>
                  <a:cubicBezTo>
                    <a:pt x="17" y="9"/>
                    <a:pt x="17" y="9"/>
                    <a:pt x="17" y="9"/>
                  </a:cubicBezTo>
                  <a:cubicBezTo>
                    <a:pt x="17" y="9"/>
                    <a:pt x="17" y="9"/>
                    <a:pt x="17" y="9"/>
                  </a:cubicBezTo>
                  <a:cubicBezTo>
                    <a:pt x="17" y="8"/>
                    <a:pt x="17" y="8"/>
                    <a:pt x="17" y="8"/>
                  </a:cubicBezTo>
                  <a:lnTo>
                    <a:pt x="1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43" name="Freeform 361">
              <a:extLst>
                <a:ext uri="{FF2B5EF4-FFF2-40B4-BE49-F238E27FC236}">
                  <a16:creationId xmlns:a16="http://schemas.microsoft.com/office/drawing/2014/main" id="{3F0894F1-CE24-4144-8E0B-CDB7C294D2D6}"/>
                </a:ext>
              </a:extLst>
            </p:cNvPr>
            <p:cNvSpPr>
              <a:spLocks noEditPoints="1"/>
            </p:cNvSpPr>
            <p:nvPr/>
          </p:nvSpPr>
          <p:spPr bwMode="gray">
            <a:xfrm>
              <a:off x="-3379" y="-343"/>
              <a:ext cx="3144" cy="3195"/>
            </a:xfrm>
            <a:custGeom>
              <a:avLst/>
              <a:gdLst>
                <a:gd name="T0" fmla="*/ 938 w 1332"/>
                <a:gd name="T1" fmla="*/ 113 h 1356"/>
                <a:gd name="T2" fmla="*/ 916 w 1332"/>
                <a:gd name="T3" fmla="*/ 267 h 1356"/>
                <a:gd name="T4" fmla="*/ 1013 w 1332"/>
                <a:gd name="T5" fmla="*/ 310 h 1356"/>
                <a:gd name="T6" fmla="*/ 1118 w 1332"/>
                <a:gd name="T7" fmla="*/ 283 h 1356"/>
                <a:gd name="T8" fmla="*/ 999 w 1332"/>
                <a:gd name="T9" fmla="*/ 350 h 1356"/>
                <a:gd name="T10" fmla="*/ 934 w 1332"/>
                <a:gd name="T11" fmla="*/ 453 h 1356"/>
                <a:gd name="T12" fmla="*/ 870 w 1332"/>
                <a:gd name="T13" fmla="*/ 611 h 1356"/>
                <a:gd name="T14" fmla="*/ 689 w 1332"/>
                <a:gd name="T15" fmla="*/ 642 h 1356"/>
                <a:gd name="T16" fmla="*/ 581 w 1332"/>
                <a:gd name="T17" fmla="*/ 624 h 1356"/>
                <a:gd name="T18" fmla="*/ 591 w 1332"/>
                <a:gd name="T19" fmla="*/ 532 h 1356"/>
                <a:gd name="T20" fmla="*/ 552 w 1332"/>
                <a:gd name="T21" fmla="*/ 492 h 1356"/>
                <a:gd name="T22" fmla="*/ 535 w 1332"/>
                <a:gd name="T23" fmla="*/ 624 h 1356"/>
                <a:gd name="T24" fmla="*/ 400 w 1332"/>
                <a:gd name="T25" fmla="*/ 749 h 1356"/>
                <a:gd name="T26" fmla="*/ 231 w 1332"/>
                <a:gd name="T27" fmla="*/ 853 h 1356"/>
                <a:gd name="T28" fmla="*/ 172 w 1332"/>
                <a:gd name="T29" fmla="*/ 891 h 1356"/>
                <a:gd name="T30" fmla="*/ 169 w 1332"/>
                <a:gd name="T31" fmla="*/ 938 h 1356"/>
                <a:gd name="T32" fmla="*/ 217 w 1332"/>
                <a:gd name="T33" fmla="*/ 970 h 1356"/>
                <a:gd name="T34" fmla="*/ 186 w 1332"/>
                <a:gd name="T35" fmla="*/ 1125 h 1356"/>
                <a:gd name="T36" fmla="*/ 32 w 1332"/>
                <a:gd name="T37" fmla="*/ 1123 h 1356"/>
                <a:gd name="T38" fmla="*/ 20 w 1332"/>
                <a:gd name="T39" fmla="*/ 1181 h 1356"/>
                <a:gd name="T40" fmla="*/ 372 w 1332"/>
                <a:gd name="T41" fmla="*/ 1177 h 1356"/>
                <a:gd name="T42" fmla="*/ 494 w 1332"/>
                <a:gd name="T43" fmla="*/ 1114 h 1356"/>
                <a:gd name="T44" fmla="*/ 693 w 1332"/>
                <a:gd name="T45" fmla="*/ 1217 h 1356"/>
                <a:gd name="T46" fmla="*/ 797 w 1332"/>
                <a:gd name="T47" fmla="*/ 1245 h 1356"/>
                <a:gd name="T48" fmla="*/ 644 w 1332"/>
                <a:gd name="T49" fmla="*/ 1048 h 1356"/>
                <a:gd name="T50" fmla="*/ 697 w 1332"/>
                <a:gd name="T51" fmla="*/ 1059 h 1356"/>
                <a:gd name="T52" fmla="*/ 807 w 1332"/>
                <a:gd name="T53" fmla="*/ 1145 h 1356"/>
                <a:gd name="T54" fmla="*/ 859 w 1332"/>
                <a:gd name="T55" fmla="*/ 1214 h 1356"/>
                <a:gd name="T56" fmla="*/ 909 w 1332"/>
                <a:gd name="T57" fmla="*/ 1300 h 1356"/>
                <a:gd name="T58" fmla="*/ 953 w 1332"/>
                <a:gd name="T59" fmla="*/ 1239 h 1356"/>
                <a:gd name="T60" fmla="*/ 1028 w 1332"/>
                <a:gd name="T61" fmla="*/ 1219 h 1356"/>
                <a:gd name="T62" fmla="*/ 1134 w 1332"/>
                <a:gd name="T63" fmla="*/ 1085 h 1356"/>
                <a:gd name="T64" fmla="*/ 1193 w 1332"/>
                <a:gd name="T65" fmla="*/ 1000 h 1356"/>
                <a:gd name="T66" fmla="*/ 62 w 1332"/>
                <a:gd name="T67" fmla="*/ 1184 h 1356"/>
                <a:gd name="T68" fmla="*/ 1253 w 1332"/>
                <a:gd name="T69" fmla="*/ 670 h 1356"/>
                <a:gd name="T70" fmla="*/ 1151 w 1332"/>
                <a:gd name="T71" fmla="*/ 997 h 1356"/>
                <a:gd name="T72" fmla="*/ 947 w 1332"/>
                <a:gd name="T73" fmla="*/ 1147 h 1356"/>
                <a:gd name="T74" fmla="*/ 860 w 1332"/>
                <a:gd name="T75" fmla="*/ 922 h 1356"/>
                <a:gd name="T76" fmla="*/ 956 w 1332"/>
                <a:gd name="T77" fmla="*/ 1124 h 1356"/>
                <a:gd name="T78" fmla="*/ 952 w 1332"/>
                <a:gd name="T79" fmla="*/ 878 h 1356"/>
                <a:gd name="T80" fmla="*/ 1085 w 1332"/>
                <a:gd name="T81" fmla="*/ 910 h 1356"/>
                <a:gd name="T82" fmla="*/ 930 w 1332"/>
                <a:gd name="T83" fmla="*/ 960 h 1356"/>
                <a:gd name="T84" fmla="*/ 979 w 1332"/>
                <a:gd name="T85" fmla="*/ 642 h 1356"/>
                <a:gd name="T86" fmla="*/ 874 w 1332"/>
                <a:gd name="T87" fmla="*/ 873 h 1356"/>
                <a:gd name="T88" fmla="*/ 713 w 1332"/>
                <a:gd name="T89" fmla="*/ 791 h 1356"/>
                <a:gd name="T90" fmla="*/ 764 w 1332"/>
                <a:gd name="T91" fmla="*/ 992 h 1356"/>
                <a:gd name="T92" fmla="*/ 765 w 1332"/>
                <a:gd name="T93" fmla="*/ 986 h 1356"/>
                <a:gd name="T94" fmla="*/ 653 w 1332"/>
                <a:gd name="T95" fmla="*/ 857 h 1356"/>
                <a:gd name="T96" fmla="*/ 895 w 1332"/>
                <a:gd name="T97" fmla="*/ 1024 h 1356"/>
                <a:gd name="T98" fmla="*/ 1110 w 1332"/>
                <a:gd name="T99" fmla="*/ 535 h 1356"/>
                <a:gd name="T100" fmla="*/ 955 w 1332"/>
                <a:gd name="T101" fmla="*/ 611 h 1356"/>
                <a:gd name="T102" fmla="*/ 645 w 1332"/>
                <a:gd name="T103" fmla="*/ 827 h 1356"/>
                <a:gd name="T104" fmla="*/ 453 w 1332"/>
                <a:gd name="T105" fmla="*/ 852 h 1356"/>
                <a:gd name="T106" fmla="*/ 497 w 1332"/>
                <a:gd name="T107" fmla="*/ 875 h 1356"/>
                <a:gd name="T108" fmla="*/ 272 w 1332"/>
                <a:gd name="T109" fmla="*/ 1150 h 1356"/>
                <a:gd name="T110" fmla="*/ 422 w 1332"/>
                <a:gd name="T111" fmla="*/ 830 h 1356"/>
                <a:gd name="T112" fmla="*/ 487 w 1332"/>
                <a:gd name="T113" fmla="*/ 1089 h 1356"/>
                <a:gd name="T114" fmla="*/ 590 w 1332"/>
                <a:gd name="T115" fmla="*/ 981 h 1356"/>
                <a:gd name="T116" fmla="*/ 753 w 1332"/>
                <a:gd name="T117" fmla="*/ 1071 h 1356"/>
                <a:gd name="T118" fmla="*/ 845 w 1332"/>
                <a:gd name="T119" fmla="*/ 1118 h 1356"/>
                <a:gd name="T120" fmla="*/ 915 w 1332"/>
                <a:gd name="T121" fmla="*/ 1222 h 1356"/>
                <a:gd name="T122" fmla="*/ 1089 w 1332"/>
                <a:gd name="T123" fmla="*/ 1176 h 1356"/>
                <a:gd name="T124" fmla="*/ 1191 w 1332"/>
                <a:gd name="T125" fmla="*/ 773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32" h="1356">
                  <a:moveTo>
                    <a:pt x="1317" y="780"/>
                  </a:moveTo>
                  <a:cubicBezTo>
                    <a:pt x="1327" y="731"/>
                    <a:pt x="1332" y="680"/>
                    <a:pt x="1332" y="627"/>
                  </a:cubicBezTo>
                  <a:cubicBezTo>
                    <a:pt x="1332" y="461"/>
                    <a:pt x="1281" y="307"/>
                    <a:pt x="1194" y="180"/>
                  </a:cubicBezTo>
                  <a:cubicBezTo>
                    <a:pt x="1194" y="180"/>
                    <a:pt x="1194" y="180"/>
                    <a:pt x="1194" y="180"/>
                  </a:cubicBezTo>
                  <a:cubicBezTo>
                    <a:pt x="1193" y="180"/>
                    <a:pt x="1193" y="180"/>
                    <a:pt x="1193" y="180"/>
                  </a:cubicBezTo>
                  <a:cubicBezTo>
                    <a:pt x="1193" y="181"/>
                    <a:pt x="1193" y="181"/>
                    <a:pt x="1193" y="181"/>
                  </a:cubicBezTo>
                  <a:cubicBezTo>
                    <a:pt x="1192" y="183"/>
                    <a:pt x="1192" y="183"/>
                    <a:pt x="1192" y="183"/>
                  </a:cubicBezTo>
                  <a:cubicBezTo>
                    <a:pt x="1188" y="188"/>
                    <a:pt x="1188" y="188"/>
                    <a:pt x="1188" y="188"/>
                  </a:cubicBezTo>
                  <a:cubicBezTo>
                    <a:pt x="1184" y="193"/>
                    <a:pt x="1184" y="193"/>
                    <a:pt x="1184" y="193"/>
                  </a:cubicBezTo>
                  <a:cubicBezTo>
                    <a:pt x="1178" y="202"/>
                    <a:pt x="1178" y="202"/>
                    <a:pt x="1178" y="202"/>
                  </a:cubicBezTo>
                  <a:cubicBezTo>
                    <a:pt x="1173" y="210"/>
                    <a:pt x="1173" y="210"/>
                    <a:pt x="1173" y="210"/>
                  </a:cubicBezTo>
                  <a:cubicBezTo>
                    <a:pt x="1169" y="214"/>
                    <a:pt x="1169" y="214"/>
                    <a:pt x="1169" y="214"/>
                  </a:cubicBezTo>
                  <a:cubicBezTo>
                    <a:pt x="1169" y="215"/>
                    <a:pt x="1169" y="215"/>
                    <a:pt x="1169" y="215"/>
                  </a:cubicBezTo>
                  <a:cubicBezTo>
                    <a:pt x="1168" y="217"/>
                    <a:pt x="1168" y="217"/>
                    <a:pt x="1168" y="217"/>
                  </a:cubicBezTo>
                  <a:cubicBezTo>
                    <a:pt x="1167" y="218"/>
                    <a:pt x="1167" y="218"/>
                    <a:pt x="1167" y="218"/>
                  </a:cubicBezTo>
                  <a:cubicBezTo>
                    <a:pt x="1163" y="223"/>
                    <a:pt x="1163" y="223"/>
                    <a:pt x="1163" y="223"/>
                  </a:cubicBezTo>
                  <a:cubicBezTo>
                    <a:pt x="1162" y="224"/>
                    <a:pt x="1162" y="224"/>
                    <a:pt x="1162" y="224"/>
                  </a:cubicBezTo>
                  <a:cubicBezTo>
                    <a:pt x="1160" y="225"/>
                    <a:pt x="1160" y="225"/>
                    <a:pt x="1160" y="225"/>
                  </a:cubicBezTo>
                  <a:cubicBezTo>
                    <a:pt x="1160" y="226"/>
                    <a:pt x="1160" y="226"/>
                    <a:pt x="1160" y="226"/>
                  </a:cubicBezTo>
                  <a:cubicBezTo>
                    <a:pt x="1159" y="227"/>
                    <a:pt x="1159" y="227"/>
                    <a:pt x="1159" y="227"/>
                  </a:cubicBezTo>
                  <a:cubicBezTo>
                    <a:pt x="1158" y="228"/>
                    <a:pt x="1158" y="228"/>
                    <a:pt x="1158" y="228"/>
                  </a:cubicBezTo>
                  <a:cubicBezTo>
                    <a:pt x="1158" y="229"/>
                    <a:pt x="1158" y="229"/>
                    <a:pt x="1158" y="229"/>
                  </a:cubicBezTo>
                  <a:cubicBezTo>
                    <a:pt x="1154" y="234"/>
                    <a:pt x="1154" y="234"/>
                    <a:pt x="1154" y="234"/>
                  </a:cubicBezTo>
                  <a:cubicBezTo>
                    <a:pt x="1153" y="236"/>
                    <a:pt x="1153" y="236"/>
                    <a:pt x="1153" y="236"/>
                  </a:cubicBezTo>
                  <a:cubicBezTo>
                    <a:pt x="1152" y="236"/>
                    <a:pt x="1152" y="236"/>
                    <a:pt x="1152" y="236"/>
                  </a:cubicBezTo>
                  <a:cubicBezTo>
                    <a:pt x="1152" y="237"/>
                    <a:pt x="1152" y="237"/>
                    <a:pt x="1152" y="237"/>
                  </a:cubicBezTo>
                  <a:cubicBezTo>
                    <a:pt x="1150" y="240"/>
                    <a:pt x="1150" y="240"/>
                    <a:pt x="1150" y="240"/>
                  </a:cubicBezTo>
                  <a:cubicBezTo>
                    <a:pt x="1148" y="242"/>
                    <a:pt x="1148" y="242"/>
                    <a:pt x="1148" y="242"/>
                  </a:cubicBezTo>
                  <a:cubicBezTo>
                    <a:pt x="1144" y="245"/>
                    <a:pt x="1144" y="245"/>
                    <a:pt x="1144" y="245"/>
                  </a:cubicBezTo>
                  <a:cubicBezTo>
                    <a:pt x="1142" y="246"/>
                    <a:pt x="1142" y="246"/>
                    <a:pt x="1142" y="246"/>
                  </a:cubicBezTo>
                  <a:cubicBezTo>
                    <a:pt x="1140" y="248"/>
                    <a:pt x="1140" y="248"/>
                    <a:pt x="1140" y="248"/>
                  </a:cubicBezTo>
                  <a:cubicBezTo>
                    <a:pt x="1138" y="249"/>
                    <a:pt x="1138" y="249"/>
                    <a:pt x="1138" y="249"/>
                  </a:cubicBezTo>
                  <a:cubicBezTo>
                    <a:pt x="1138" y="250"/>
                    <a:pt x="1138" y="250"/>
                    <a:pt x="1138" y="250"/>
                  </a:cubicBezTo>
                  <a:cubicBezTo>
                    <a:pt x="1137" y="251"/>
                    <a:pt x="1137" y="251"/>
                    <a:pt x="1137" y="251"/>
                  </a:cubicBezTo>
                  <a:cubicBezTo>
                    <a:pt x="1135" y="253"/>
                    <a:pt x="1135" y="253"/>
                    <a:pt x="1135" y="253"/>
                  </a:cubicBezTo>
                  <a:cubicBezTo>
                    <a:pt x="1134" y="254"/>
                    <a:pt x="1134" y="254"/>
                    <a:pt x="1134" y="254"/>
                  </a:cubicBezTo>
                  <a:cubicBezTo>
                    <a:pt x="1134" y="256"/>
                    <a:pt x="1134" y="256"/>
                    <a:pt x="1134" y="256"/>
                  </a:cubicBezTo>
                  <a:cubicBezTo>
                    <a:pt x="1133" y="257"/>
                    <a:pt x="1133" y="257"/>
                    <a:pt x="1133" y="257"/>
                  </a:cubicBezTo>
                  <a:cubicBezTo>
                    <a:pt x="1131" y="258"/>
                    <a:pt x="1131" y="258"/>
                    <a:pt x="1131" y="258"/>
                  </a:cubicBezTo>
                  <a:cubicBezTo>
                    <a:pt x="1132" y="257"/>
                    <a:pt x="1132" y="257"/>
                    <a:pt x="1132" y="257"/>
                  </a:cubicBezTo>
                  <a:cubicBezTo>
                    <a:pt x="1132" y="255"/>
                    <a:pt x="1132" y="255"/>
                    <a:pt x="1132" y="255"/>
                  </a:cubicBezTo>
                  <a:cubicBezTo>
                    <a:pt x="1133" y="254"/>
                    <a:pt x="1133" y="254"/>
                    <a:pt x="1133" y="254"/>
                  </a:cubicBezTo>
                  <a:cubicBezTo>
                    <a:pt x="1134" y="252"/>
                    <a:pt x="1134" y="252"/>
                    <a:pt x="1134" y="252"/>
                  </a:cubicBezTo>
                  <a:cubicBezTo>
                    <a:pt x="1135" y="251"/>
                    <a:pt x="1135" y="251"/>
                    <a:pt x="1135" y="251"/>
                  </a:cubicBezTo>
                  <a:cubicBezTo>
                    <a:pt x="1136" y="250"/>
                    <a:pt x="1136" y="250"/>
                    <a:pt x="1136" y="250"/>
                  </a:cubicBezTo>
                  <a:cubicBezTo>
                    <a:pt x="1138" y="249"/>
                    <a:pt x="1138" y="249"/>
                    <a:pt x="1138" y="249"/>
                  </a:cubicBezTo>
                  <a:cubicBezTo>
                    <a:pt x="1140" y="247"/>
                    <a:pt x="1140" y="247"/>
                    <a:pt x="1140" y="247"/>
                  </a:cubicBezTo>
                  <a:cubicBezTo>
                    <a:pt x="1141" y="246"/>
                    <a:pt x="1141" y="246"/>
                    <a:pt x="1141" y="246"/>
                  </a:cubicBezTo>
                  <a:cubicBezTo>
                    <a:pt x="1146" y="243"/>
                    <a:pt x="1146" y="243"/>
                    <a:pt x="1146" y="243"/>
                  </a:cubicBezTo>
                  <a:cubicBezTo>
                    <a:pt x="1148" y="241"/>
                    <a:pt x="1148" y="241"/>
                    <a:pt x="1148" y="241"/>
                  </a:cubicBezTo>
                  <a:cubicBezTo>
                    <a:pt x="1149" y="238"/>
                    <a:pt x="1149" y="238"/>
                    <a:pt x="1149" y="238"/>
                  </a:cubicBezTo>
                  <a:cubicBezTo>
                    <a:pt x="1150" y="237"/>
                    <a:pt x="1150" y="237"/>
                    <a:pt x="1150" y="237"/>
                  </a:cubicBezTo>
                  <a:cubicBezTo>
                    <a:pt x="1150" y="237"/>
                    <a:pt x="1150" y="237"/>
                    <a:pt x="1150" y="237"/>
                  </a:cubicBezTo>
                  <a:cubicBezTo>
                    <a:pt x="1151" y="235"/>
                    <a:pt x="1151" y="235"/>
                    <a:pt x="1151" y="235"/>
                  </a:cubicBezTo>
                  <a:cubicBezTo>
                    <a:pt x="1156" y="230"/>
                    <a:pt x="1156" y="230"/>
                    <a:pt x="1156" y="230"/>
                  </a:cubicBezTo>
                  <a:cubicBezTo>
                    <a:pt x="1156" y="229"/>
                    <a:pt x="1156" y="229"/>
                    <a:pt x="1156" y="229"/>
                  </a:cubicBezTo>
                  <a:cubicBezTo>
                    <a:pt x="1157" y="228"/>
                    <a:pt x="1157" y="228"/>
                    <a:pt x="1157" y="228"/>
                  </a:cubicBezTo>
                  <a:cubicBezTo>
                    <a:pt x="1157" y="227"/>
                    <a:pt x="1157" y="227"/>
                    <a:pt x="1157" y="227"/>
                  </a:cubicBezTo>
                  <a:cubicBezTo>
                    <a:pt x="1158" y="226"/>
                    <a:pt x="1158" y="226"/>
                    <a:pt x="1158" y="226"/>
                  </a:cubicBezTo>
                  <a:cubicBezTo>
                    <a:pt x="1160" y="225"/>
                    <a:pt x="1160" y="225"/>
                    <a:pt x="1160" y="225"/>
                  </a:cubicBezTo>
                  <a:cubicBezTo>
                    <a:pt x="1161" y="224"/>
                    <a:pt x="1161" y="224"/>
                    <a:pt x="1161" y="224"/>
                  </a:cubicBezTo>
                  <a:cubicBezTo>
                    <a:pt x="1165" y="219"/>
                    <a:pt x="1165" y="219"/>
                    <a:pt x="1165" y="219"/>
                  </a:cubicBezTo>
                  <a:cubicBezTo>
                    <a:pt x="1166" y="218"/>
                    <a:pt x="1166" y="218"/>
                    <a:pt x="1166" y="218"/>
                  </a:cubicBezTo>
                  <a:cubicBezTo>
                    <a:pt x="1166" y="216"/>
                    <a:pt x="1166" y="216"/>
                    <a:pt x="1166" y="216"/>
                  </a:cubicBezTo>
                  <a:cubicBezTo>
                    <a:pt x="1167" y="215"/>
                    <a:pt x="1167" y="215"/>
                    <a:pt x="1167" y="215"/>
                  </a:cubicBezTo>
                  <a:cubicBezTo>
                    <a:pt x="1171" y="211"/>
                    <a:pt x="1171" y="211"/>
                    <a:pt x="1171" y="211"/>
                  </a:cubicBezTo>
                  <a:cubicBezTo>
                    <a:pt x="1176" y="203"/>
                    <a:pt x="1176" y="203"/>
                    <a:pt x="1176" y="203"/>
                  </a:cubicBezTo>
                  <a:cubicBezTo>
                    <a:pt x="1181" y="194"/>
                    <a:pt x="1181" y="194"/>
                    <a:pt x="1181" y="194"/>
                  </a:cubicBezTo>
                  <a:cubicBezTo>
                    <a:pt x="1186" y="189"/>
                    <a:pt x="1186" y="189"/>
                    <a:pt x="1186" y="189"/>
                  </a:cubicBezTo>
                  <a:cubicBezTo>
                    <a:pt x="1189" y="184"/>
                    <a:pt x="1189" y="184"/>
                    <a:pt x="1189" y="184"/>
                  </a:cubicBezTo>
                  <a:cubicBezTo>
                    <a:pt x="1190" y="182"/>
                    <a:pt x="1190" y="182"/>
                    <a:pt x="1190" y="182"/>
                  </a:cubicBezTo>
                  <a:cubicBezTo>
                    <a:pt x="1190" y="181"/>
                    <a:pt x="1190" y="181"/>
                    <a:pt x="1190" y="181"/>
                  </a:cubicBezTo>
                  <a:cubicBezTo>
                    <a:pt x="1191" y="181"/>
                    <a:pt x="1191" y="181"/>
                    <a:pt x="1191" y="181"/>
                  </a:cubicBezTo>
                  <a:cubicBezTo>
                    <a:pt x="1192" y="180"/>
                    <a:pt x="1192" y="180"/>
                    <a:pt x="1192" y="180"/>
                  </a:cubicBezTo>
                  <a:cubicBezTo>
                    <a:pt x="1193" y="179"/>
                    <a:pt x="1193" y="179"/>
                    <a:pt x="1193" y="179"/>
                  </a:cubicBezTo>
                  <a:cubicBezTo>
                    <a:pt x="1146" y="111"/>
                    <a:pt x="1089" y="50"/>
                    <a:pt x="1023" y="0"/>
                  </a:cubicBezTo>
                  <a:cubicBezTo>
                    <a:pt x="1021" y="2"/>
                    <a:pt x="1021" y="2"/>
                    <a:pt x="1021" y="2"/>
                  </a:cubicBezTo>
                  <a:cubicBezTo>
                    <a:pt x="1017" y="2"/>
                    <a:pt x="1017" y="2"/>
                    <a:pt x="1017" y="2"/>
                  </a:cubicBezTo>
                  <a:cubicBezTo>
                    <a:pt x="1016" y="3"/>
                    <a:pt x="1016" y="3"/>
                    <a:pt x="1016" y="3"/>
                  </a:cubicBezTo>
                  <a:cubicBezTo>
                    <a:pt x="1016" y="4"/>
                    <a:pt x="1016" y="4"/>
                    <a:pt x="1016" y="4"/>
                  </a:cubicBezTo>
                  <a:cubicBezTo>
                    <a:pt x="1014" y="4"/>
                    <a:pt x="1014" y="4"/>
                    <a:pt x="1014" y="4"/>
                  </a:cubicBezTo>
                  <a:cubicBezTo>
                    <a:pt x="1014" y="5"/>
                    <a:pt x="1014" y="5"/>
                    <a:pt x="1014" y="5"/>
                  </a:cubicBezTo>
                  <a:cubicBezTo>
                    <a:pt x="1014" y="6"/>
                    <a:pt x="1014" y="6"/>
                    <a:pt x="1014" y="6"/>
                  </a:cubicBezTo>
                  <a:cubicBezTo>
                    <a:pt x="1014" y="6"/>
                    <a:pt x="1014" y="6"/>
                    <a:pt x="1014" y="6"/>
                  </a:cubicBezTo>
                  <a:cubicBezTo>
                    <a:pt x="1014" y="7"/>
                    <a:pt x="1014" y="7"/>
                    <a:pt x="1014" y="7"/>
                  </a:cubicBezTo>
                  <a:cubicBezTo>
                    <a:pt x="1014" y="7"/>
                    <a:pt x="1014" y="7"/>
                    <a:pt x="1014" y="7"/>
                  </a:cubicBezTo>
                  <a:cubicBezTo>
                    <a:pt x="1014" y="7"/>
                    <a:pt x="1014" y="7"/>
                    <a:pt x="1014" y="7"/>
                  </a:cubicBezTo>
                  <a:cubicBezTo>
                    <a:pt x="1013" y="7"/>
                    <a:pt x="1013" y="7"/>
                    <a:pt x="1013" y="7"/>
                  </a:cubicBezTo>
                  <a:cubicBezTo>
                    <a:pt x="1011" y="6"/>
                    <a:pt x="1011" y="6"/>
                    <a:pt x="1011" y="6"/>
                  </a:cubicBezTo>
                  <a:cubicBezTo>
                    <a:pt x="1010" y="6"/>
                    <a:pt x="1010" y="6"/>
                    <a:pt x="1010" y="6"/>
                  </a:cubicBezTo>
                  <a:cubicBezTo>
                    <a:pt x="1010" y="6"/>
                    <a:pt x="1010" y="6"/>
                    <a:pt x="1010" y="6"/>
                  </a:cubicBezTo>
                  <a:cubicBezTo>
                    <a:pt x="1010" y="7"/>
                    <a:pt x="1010" y="7"/>
                    <a:pt x="1010" y="7"/>
                  </a:cubicBezTo>
                  <a:cubicBezTo>
                    <a:pt x="1011" y="8"/>
                    <a:pt x="1011" y="8"/>
                    <a:pt x="1011" y="8"/>
                  </a:cubicBezTo>
                  <a:cubicBezTo>
                    <a:pt x="1010" y="9"/>
                    <a:pt x="1010" y="9"/>
                    <a:pt x="1010" y="9"/>
                  </a:cubicBezTo>
                  <a:cubicBezTo>
                    <a:pt x="1010" y="9"/>
                    <a:pt x="1010" y="9"/>
                    <a:pt x="1010" y="9"/>
                  </a:cubicBezTo>
                  <a:cubicBezTo>
                    <a:pt x="1010" y="10"/>
                    <a:pt x="1010" y="10"/>
                    <a:pt x="1010" y="10"/>
                  </a:cubicBezTo>
                  <a:cubicBezTo>
                    <a:pt x="1010" y="10"/>
                    <a:pt x="1010" y="10"/>
                    <a:pt x="1010" y="10"/>
                  </a:cubicBezTo>
                  <a:cubicBezTo>
                    <a:pt x="1010" y="11"/>
                    <a:pt x="1010" y="11"/>
                    <a:pt x="1010" y="11"/>
                  </a:cubicBezTo>
                  <a:cubicBezTo>
                    <a:pt x="1010" y="11"/>
                    <a:pt x="1010" y="11"/>
                    <a:pt x="1010" y="11"/>
                  </a:cubicBezTo>
                  <a:cubicBezTo>
                    <a:pt x="1010" y="12"/>
                    <a:pt x="1010" y="12"/>
                    <a:pt x="1010" y="12"/>
                  </a:cubicBezTo>
                  <a:cubicBezTo>
                    <a:pt x="1009" y="13"/>
                    <a:pt x="1009" y="13"/>
                    <a:pt x="1009" y="13"/>
                  </a:cubicBezTo>
                  <a:cubicBezTo>
                    <a:pt x="1008" y="14"/>
                    <a:pt x="1008" y="14"/>
                    <a:pt x="1008" y="14"/>
                  </a:cubicBezTo>
                  <a:cubicBezTo>
                    <a:pt x="1007" y="15"/>
                    <a:pt x="1007" y="15"/>
                    <a:pt x="1007" y="15"/>
                  </a:cubicBezTo>
                  <a:cubicBezTo>
                    <a:pt x="1007" y="15"/>
                    <a:pt x="1007" y="15"/>
                    <a:pt x="1007" y="15"/>
                  </a:cubicBezTo>
                  <a:cubicBezTo>
                    <a:pt x="1006" y="15"/>
                    <a:pt x="1006" y="15"/>
                    <a:pt x="1006" y="15"/>
                  </a:cubicBezTo>
                  <a:cubicBezTo>
                    <a:pt x="1006" y="16"/>
                    <a:pt x="1006" y="16"/>
                    <a:pt x="1006" y="16"/>
                  </a:cubicBezTo>
                  <a:cubicBezTo>
                    <a:pt x="1006" y="16"/>
                    <a:pt x="1006" y="16"/>
                    <a:pt x="1006" y="16"/>
                  </a:cubicBezTo>
                  <a:cubicBezTo>
                    <a:pt x="1006" y="17"/>
                    <a:pt x="1006" y="17"/>
                    <a:pt x="1006" y="17"/>
                  </a:cubicBezTo>
                  <a:cubicBezTo>
                    <a:pt x="1005" y="19"/>
                    <a:pt x="1005" y="19"/>
                    <a:pt x="1005" y="19"/>
                  </a:cubicBezTo>
                  <a:cubicBezTo>
                    <a:pt x="1005" y="19"/>
                    <a:pt x="1005" y="19"/>
                    <a:pt x="1005" y="19"/>
                  </a:cubicBezTo>
                  <a:cubicBezTo>
                    <a:pt x="1005" y="21"/>
                    <a:pt x="1005" y="21"/>
                    <a:pt x="1005" y="21"/>
                  </a:cubicBezTo>
                  <a:cubicBezTo>
                    <a:pt x="1005" y="22"/>
                    <a:pt x="1005" y="22"/>
                    <a:pt x="1005" y="22"/>
                  </a:cubicBezTo>
                  <a:cubicBezTo>
                    <a:pt x="1005" y="22"/>
                    <a:pt x="1005" y="22"/>
                    <a:pt x="1005" y="22"/>
                  </a:cubicBezTo>
                  <a:cubicBezTo>
                    <a:pt x="1005" y="23"/>
                    <a:pt x="1005" y="23"/>
                    <a:pt x="1005" y="23"/>
                  </a:cubicBezTo>
                  <a:cubicBezTo>
                    <a:pt x="1005" y="23"/>
                    <a:pt x="1005" y="23"/>
                    <a:pt x="1005" y="23"/>
                  </a:cubicBezTo>
                  <a:cubicBezTo>
                    <a:pt x="1005" y="24"/>
                    <a:pt x="1005" y="24"/>
                    <a:pt x="1005" y="24"/>
                  </a:cubicBezTo>
                  <a:cubicBezTo>
                    <a:pt x="1005" y="24"/>
                    <a:pt x="1005" y="24"/>
                    <a:pt x="1005" y="24"/>
                  </a:cubicBezTo>
                  <a:cubicBezTo>
                    <a:pt x="1004" y="25"/>
                    <a:pt x="1004" y="25"/>
                    <a:pt x="1004" y="25"/>
                  </a:cubicBezTo>
                  <a:cubicBezTo>
                    <a:pt x="1004" y="26"/>
                    <a:pt x="1004" y="26"/>
                    <a:pt x="1004" y="26"/>
                  </a:cubicBezTo>
                  <a:cubicBezTo>
                    <a:pt x="1003" y="26"/>
                    <a:pt x="1003" y="26"/>
                    <a:pt x="1003" y="26"/>
                  </a:cubicBezTo>
                  <a:cubicBezTo>
                    <a:pt x="1002" y="27"/>
                    <a:pt x="1002" y="27"/>
                    <a:pt x="1002" y="27"/>
                  </a:cubicBezTo>
                  <a:cubicBezTo>
                    <a:pt x="1002" y="27"/>
                    <a:pt x="1002" y="27"/>
                    <a:pt x="1002" y="27"/>
                  </a:cubicBezTo>
                  <a:cubicBezTo>
                    <a:pt x="1002" y="28"/>
                    <a:pt x="1002" y="28"/>
                    <a:pt x="1002" y="28"/>
                  </a:cubicBezTo>
                  <a:cubicBezTo>
                    <a:pt x="1002" y="28"/>
                    <a:pt x="1002" y="28"/>
                    <a:pt x="1002" y="28"/>
                  </a:cubicBezTo>
                  <a:cubicBezTo>
                    <a:pt x="1002" y="28"/>
                    <a:pt x="1002" y="28"/>
                    <a:pt x="1002" y="28"/>
                  </a:cubicBezTo>
                  <a:cubicBezTo>
                    <a:pt x="1001" y="28"/>
                    <a:pt x="1001" y="28"/>
                    <a:pt x="1001" y="28"/>
                  </a:cubicBezTo>
                  <a:cubicBezTo>
                    <a:pt x="1000" y="28"/>
                    <a:pt x="1000" y="28"/>
                    <a:pt x="1000" y="28"/>
                  </a:cubicBezTo>
                  <a:cubicBezTo>
                    <a:pt x="1000" y="29"/>
                    <a:pt x="1000" y="29"/>
                    <a:pt x="1000" y="29"/>
                  </a:cubicBezTo>
                  <a:cubicBezTo>
                    <a:pt x="1000" y="29"/>
                    <a:pt x="1000" y="29"/>
                    <a:pt x="1000" y="29"/>
                  </a:cubicBezTo>
                  <a:cubicBezTo>
                    <a:pt x="1000" y="31"/>
                    <a:pt x="1000" y="31"/>
                    <a:pt x="1000" y="31"/>
                  </a:cubicBezTo>
                  <a:cubicBezTo>
                    <a:pt x="1000" y="31"/>
                    <a:pt x="1000" y="31"/>
                    <a:pt x="1000" y="31"/>
                  </a:cubicBezTo>
                  <a:cubicBezTo>
                    <a:pt x="999" y="31"/>
                    <a:pt x="999" y="31"/>
                    <a:pt x="999" y="31"/>
                  </a:cubicBezTo>
                  <a:cubicBezTo>
                    <a:pt x="998" y="32"/>
                    <a:pt x="998" y="32"/>
                    <a:pt x="998" y="32"/>
                  </a:cubicBezTo>
                  <a:cubicBezTo>
                    <a:pt x="998" y="32"/>
                    <a:pt x="998" y="32"/>
                    <a:pt x="998" y="32"/>
                  </a:cubicBezTo>
                  <a:cubicBezTo>
                    <a:pt x="997" y="32"/>
                    <a:pt x="997" y="32"/>
                    <a:pt x="997" y="32"/>
                  </a:cubicBezTo>
                  <a:cubicBezTo>
                    <a:pt x="997" y="32"/>
                    <a:pt x="997" y="32"/>
                    <a:pt x="997" y="32"/>
                  </a:cubicBezTo>
                  <a:cubicBezTo>
                    <a:pt x="997" y="32"/>
                    <a:pt x="997" y="32"/>
                    <a:pt x="997" y="32"/>
                  </a:cubicBezTo>
                  <a:cubicBezTo>
                    <a:pt x="996" y="32"/>
                    <a:pt x="996" y="32"/>
                    <a:pt x="996" y="32"/>
                  </a:cubicBezTo>
                  <a:cubicBezTo>
                    <a:pt x="996" y="34"/>
                    <a:pt x="996" y="34"/>
                    <a:pt x="996" y="34"/>
                  </a:cubicBezTo>
                  <a:cubicBezTo>
                    <a:pt x="996" y="34"/>
                    <a:pt x="996" y="34"/>
                    <a:pt x="996" y="34"/>
                  </a:cubicBezTo>
                  <a:cubicBezTo>
                    <a:pt x="995" y="35"/>
                    <a:pt x="995" y="35"/>
                    <a:pt x="995" y="35"/>
                  </a:cubicBezTo>
                  <a:cubicBezTo>
                    <a:pt x="994" y="35"/>
                    <a:pt x="994" y="35"/>
                    <a:pt x="994" y="35"/>
                  </a:cubicBezTo>
                  <a:cubicBezTo>
                    <a:pt x="994" y="36"/>
                    <a:pt x="994" y="36"/>
                    <a:pt x="994" y="36"/>
                  </a:cubicBezTo>
                  <a:cubicBezTo>
                    <a:pt x="994" y="38"/>
                    <a:pt x="994" y="38"/>
                    <a:pt x="994" y="38"/>
                  </a:cubicBezTo>
                  <a:cubicBezTo>
                    <a:pt x="993" y="39"/>
                    <a:pt x="993" y="39"/>
                    <a:pt x="993" y="39"/>
                  </a:cubicBezTo>
                  <a:cubicBezTo>
                    <a:pt x="992" y="40"/>
                    <a:pt x="992" y="40"/>
                    <a:pt x="992" y="40"/>
                  </a:cubicBezTo>
                  <a:cubicBezTo>
                    <a:pt x="992" y="41"/>
                    <a:pt x="992" y="41"/>
                    <a:pt x="992" y="41"/>
                  </a:cubicBezTo>
                  <a:cubicBezTo>
                    <a:pt x="992" y="42"/>
                    <a:pt x="992" y="42"/>
                    <a:pt x="992" y="42"/>
                  </a:cubicBezTo>
                  <a:cubicBezTo>
                    <a:pt x="992" y="43"/>
                    <a:pt x="992" y="43"/>
                    <a:pt x="992" y="43"/>
                  </a:cubicBezTo>
                  <a:cubicBezTo>
                    <a:pt x="992" y="44"/>
                    <a:pt x="992" y="44"/>
                    <a:pt x="992" y="44"/>
                  </a:cubicBezTo>
                  <a:cubicBezTo>
                    <a:pt x="992" y="45"/>
                    <a:pt x="992" y="45"/>
                    <a:pt x="992" y="45"/>
                  </a:cubicBezTo>
                  <a:cubicBezTo>
                    <a:pt x="992" y="44"/>
                    <a:pt x="992" y="44"/>
                    <a:pt x="992" y="44"/>
                  </a:cubicBezTo>
                  <a:cubicBezTo>
                    <a:pt x="990" y="44"/>
                    <a:pt x="990" y="44"/>
                    <a:pt x="990" y="44"/>
                  </a:cubicBezTo>
                  <a:cubicBezTo>
                    <a:pt x="990" y="44"/>
                    <a:pt x="990" y="44"/>
                    <a:pt x="990" y="44"/>
                  </a:cubicBezTo>
                  <a:cubicBezTo>
                    <a:pt x="989" y="46"/>
                    <a:pt x="989" y="46"/>
                    <a:pt x="989" y="46"/>
                  </a:cubicBezTo>
                  <a:cubicBezTo>
                    <a:pt x="989" y="46"/>
                    <a:pt x="989" y="46"/>
                    <a:pt x="989" y="46"/>
                  </a:cubicBezTo>
                  <a:cubicBezTo>
                    <a:pt x="988" y="47"/>
                    <a:pt x="988" y="47"/>
                    <a:pt x="988" y="47"/>
                  </a:cubicBezTo>
                  <a:cubicBezTo>
                    <a:pt x="987" y="48"/>
                    <a:pt x="987" y="48"/>
                    <a:pt x="987" y="48"/>
                  </a:cubicBezTo>
                  <a:cubicBezTo>
                    <a:pt x="987" y="48"/>
                    <a:pt x="987" y="48"/>
                    <a:pt x="987" y="48"/>
                  </a:cubicBezTo>
                  <a:cubicBezTo>
                    <a:pt x="986" y="47"/>
                    <a:pt x="986" y="47"/>
                    <a:pt x="986" y="47"/>
                  </a:cubicBezTo>
                  <a:cubicBezTo>
                    <a:pt x="986" y="48"/>
                    <a:pt x="986" y="48"/>
                    <a:pt x="986" y="48"/>
                  </a:cubicBezTo>
                  <a:cubicBezTo>
                    <a:pt x="986" y="49"/>
                    <a:pt x="986" y="49"/>
                    <a:pt x="986" y="49"/>
                  </a:cubicBezTo>
                  <a:cubicBezTo>
                    <a:pt x="985" y="50"/>
                    <a:pt x="985" y="50"/>
                    <a:pt x="985" y="50"/>
                  </a:cubicBezTo>
                  <a:cubicBezTo>
                    <a:pt x="986" y="50"/>
                    <a:pt x="986" y="50"/>
                    <a:pt x="986" y="50"/>
                  </a:cubicBezTo>
                  <a:cubicBezTo>
                    <a:pt x="985" y="51"/>
                    <a:pt x="985" y="51"/>
                    <a:pt x="985" y="51"/>
                  </a:cubicBezTo>
                  <a:cubicBezTo>
                    <a:pt x="985" y="51"/>
                    <a:pt x="985" y="51"/>
                    <a:pt x="985" y="51"/>
                  </a:cubicBezTo>
                  <a:cubicBezTo>
                    <a:pt x="984" y="51"/>
                    <a:pt x="984" y="51"/>
                    <a:pt x="984" y="51"/>
                  </a:cubicBezTo>
                  <a:cubicBezTo>
                    <a:pt x="984" y="52"/>
                    <a:pt x="984" y="52"/>
                    <a:pt x="984" y="52"/>
                  </a:cubicBezTo>
                  <a:cubicBezTo>
                    <a:pt x="984" y="53"/>
                    <a:pt x="984" y="53"/>
                    <a:pt x="984" y="53"/>
                  </a:cubicBezTo>
                  <a:cubicBezTo>
                    <a:pt x="983" y="54"/>
                    <a:pt x="983" y="54"/>
                    <a:pt x="983" y="54"/>
                  </a:cubicBezTo>
                  <a:cubicBezTo>
                    <a:pt x="983" y="55"/>
                    <a:pt x="983" y="55"/>
                    <a:pt x="983" y="55"/>
                  </a:cubicBezTo>
                  <a:cubicBezTo>
                    <a:pt x="983" y="55"/>
                    <a:pt x="983" y="55"/>
                    <a:pt x="983" y="55"/>
                  </a:cubicBezTo>
                  <a:cubicBezTo>
                    <a:pt x="982" y="54"/>
                    <a:pt x="982" y="54"/>
                    <a:pt x="982" y="54"/>
                  </a:cubicBezTo>
                  <a:cubicBezTo>
                    <a:pt x="981" y="55"/>
                    <a:pt x="981" y="55"/>
                    <a:pt x="981" y="55"/>
                  </a:cubicBezTo>
                  <a:cubicBezTo>
                    <a:pt x="981" y="55"/>
                    <a:pt x="981" y="55"/>
                    <a:pt x="981" y="55"/>
                  </a:cubicBezTo>
                  <a:cubicBezTo>
                    <a:pt x="982" y="56"/>
                    <a:pt x="982" y="56"/>
                    <a:pt x="982" y="56"/>
                  </a:cubicBezTo>
                  <a:cubicBezTo>
                    <a:pt x="982" y="58"/>
                    <a:pt x="982" y="58"/>
                    <a:pt x="982" y="58"/>
                  </a:cubicBezTo>
                  <a:cubicBezTo>
                    <a:pt x="983" y="59"/>
                    <a:pt x="983" y="59"/>
                    <a:pt x="983" y="59"/>
                  </a:cubicBezTo>
                  <a:cubicBezTo>
                    <a:pt x="982" y="60"/>
                    <a:pt x="982" y="60"/>
                    <a:pt x="982" y="60"/>
                  </a:cubicBezTo>
                  <a:cubicBezTo>
                    <a:pt x="980" y="60"/>
                    <a:pt x="980" y="60"/>
                    <a:pt x="980" y="60"/>
                  </a:cubicBezTo>
                  <a:cubicBezTo>
                    <a:pt x="979" y="59"/>
                    <a:pt x="979" y="59"/>
                    <a:pt x="979" y="59"/>
                  </a:cubicBezTo>
                  <a:cubicBezTo>
                    <a:pt x="979" y="59"/>
                    <a:pt x="979" y="59"/>
                    <a:pt x="979" y="59"/>
                  </a:cubicBezTo>
                  <a:cubicBezTo>
                    <a:pt x="979" y="60"/>
                    <a:pt x="979" y="60"/>
                    <a:pt x="979" y="60"/>
                  </a:cubicBezTo>
                  <a:cubicBezTo>
                    <a:pt x="978" y="60"/>
                    <a:pt x="978" y="60"/>
                    <a:pt x="978" y="60"/>
                  </a:cubicBezTo>
                  <a:cubicBezTo>
                    <a:pt x="978" y="59"/>
                    <a:pt x="978" y="59"/>
                    <a:pt x="978" y="59"/>
                  </a:cubicBezTo>
                  <a:cubicBezTo>
                    <a:pt x="978" y="59"/>
                    <a:pt x="978" y="59"/>
                    <a:pt x="978" y="59"/>
                  </a:cubicBezTo>
                  <a:cubicBezTo>
                    <a:pt x="978" y="59"/>
                    <a:pt x="978" y="59"/>
                    <a:pt x="978" y="59"/>
                  </a:cubicBezTo>
                  <a:cubicBezTo>
                    <a:pt x="977" y="58"/>
                    <a:pt x="977" y="58"/>
                    <a:pt x="977" y="58"/>
                  </a:cubicBezTo>
                  <a:cubicBezTo>
                    <a:pt x="976" y="58"/>
                    <a:pt x="976" y="58"/>
                    <a:pt x="976" y="58"/>
                  </a:cubicBezTo>
                  <a:cubicBezTo>
                    <a:pt x="976" y="59"/>
                    <a:pt x="976" y="59"/>
                    <a:pt x="976" y="59"/>
                  </a:cubicBezTo>
                  <a:cubicBezTo>
                    <a:pt x="975" y="62"/>
                    <a:pt x="975" y="62"/>
                    <a:pt x="975" y="62"/>
                  </a:cubicBezTo>
                  <a:cubicBezTo>
                    <a:pt x="975" y="62"/>
                    <a:pt x="975" y="62"/>
                    <a:pt x="975" y="62"/>
                  </a:cubicBezTo>
                  <a:cubicBezTo>
                    <a:pt x="975" y="63"/>
                    <a:pt x="975" y="63"/>
                    <a:pt x="975" y="63"/>
                  </a:cubicBezTo>
                  <a:cubicBezTo>
                    <a:pt x="975" y="63"/>
                    <a:pt x="975" y="63"/>
                    <a:pt x="975" y="63"/>
                  </a:cubicBezTo>
                  <a:cubicBezTo>
                    <a:pt x="975" y="64"/>
                    <a:pt x="975" y="64"/>
                    <a:pt x="975" y="64"/>
                  </a:cubicBezTo>
                  <a:cubicBezTo>
                    <a:pt x="975" y="65"/>
                    <a:pt x="975" y="65"/>
                    <a:pt x="975" y="65"/>
                  </a:cubicBezTo>
                  <a:cubicBezTo>
                    <a:pt x="975" y="66"/>
                    <a:pt x="975" y="66"/>
                    <a:pt x="975" y="66"/>
                  </a:cubicBezTo>
                  <a:cubicBezTo>
                    <a:pt x="976" y="66"/>
                    <a:pt x="976" y="66"/>
                    <a:pt x="976" y="66"/>
                  </a:cubicBezTo>
                  <a:cubicBezTo>
                    <a:pt x="977" y="67"/>
                    <a:pt x="977" y="67"/>
                    <a:pt x="977" y="67"/>
                  </a:cubicBezTo>
                  <a:cubicBezTo>
                    <a:pt x="976" y="68"/>
                    <a:pt x="976" y="68"/>
                    <a:pt x="976" y="68"/>
                  </a:cubicBezTo>
                  <a:cubicBezTo>
                    <a:pt x="975" y="69"/>
                    <a:pt x="975" y="69"/>
                    <a:pt x="975" y="69"/>
                  </a:cubicBezTo>
                  <a:cubicBezTo>
                    <a:pt x="975" y="69"/>
                    <a:pt x="975" y="69"/>
                    <a:pt x="975" y="69"/>
                  </a:cubicBezTo>
                  <a:cubicBezTo>
                    <a:pt x="974" y="68"/>
                    <a:pt x="974" y="68"/>
                    <a:pt x="974" y="68"/>
                  </a:cubicBezTo>
                  <a:cubicBezTo>
                    <a:pt x="973" y="69"/>
                    <a:pt x="973" y="69"/>
                    <a:pt x="973" y="69"/>
                  </a:cubicBezTo>
                  <a:cubicBezTo>
                    <a:pt x="972" y="70"/>
                    <a:pt x="972" y="70"/>
                    <a:pt x="972" y="70"/>
                  </a:cubicBezTo>
                  <a:cubicBezTo>
                    <a:pt x="970" y="69"/>
                    <a:pt x="970" y="69"/>
                    <a:pt x="970" y="69"/>
                  </a:cubicBezTo>
                  <a:cubicBezTo>
                    <a:pt x="969" y="70"/>
                    <a:pt x="969" y="70"/>
                    <a:pt x="969" y="70"/>
                  </a:cubicBezTo>
                  <a:cubicBezTo>
                    <a:pt x="969" y="70"/>
                    <a:pt x="969" y="70"/>
                    <a:pt x="969" y="70"/>
                  </a:cubicBezTo>
                  <a:cubicBezTo>
                    <a:pt x="969" y="70"/>
                    <a:pt x="969" y="70"/>
                    <a:pt x="969" y="70"/>
                  </a:cubicBezTo>
                  <a:cubicBezTo>
                    <a:pt x="969" y="71"/>
                    <a:pt x="969" y="71"/>
                    <a:pt x="969" y="71"/>
                  </a:cubicBezTo>
                  <a:cubicBezTo>
                    <a:pt x="969" y="71"/>
                    <a:pt x="969" y="71"/>
                    <a:pt x="969" y="71"/>
                  </a:cubicBezTo>
                  <a:cubicBezTo>
                    <a:pt x="969" y="72"/>
                    <a:pt x="969" y="72"/>
                    <a:pt x="969" y="72"/>
                  </a:cubicBezTo>
                  <a:cubicBezTo>
                    <a:pt x="968" y="72"/>
                    <a:pt x="968" y="72"/>
                    <a:pt x="968" y="72"/>
                  </a:cubicBezTo>
                  <a:cubicBezTo>
                    <a:pt x="968" y="72"/>
                    <a:pt x="968" y="72"/>
                    <a:pt x="968" y="72"/>
                  </a:cubicBezTo>
                  <a:cubicBezTo>
                    <a:pt x="966" y="72"/>
                    <a:pt x="966" y="72"/>
                    <a:pt x="966" y="72"/>
                  </a:cubicBezTo>
                  <a:cubicBezTo>
                    <a:pt x="966" y="72"/>
                    <a:pt x="966" y="72"/>
                    <a:pt x="966" y="72"/>
                  </a:cubicBezTo>
                  <a:cubicBezTo>
                    <a:pt x="966" y="73"/>
                    <a:pt x="966" y="73"/>
                    <a:pt x="966" y="73"/>
                  </a:cubicBezTo>
                  <a:cubicBezTo>
                    <a:pt x="964" y="74"/>
                    <a:pt x="964" y="74"/>
                    <a:pt x="964" y="74"/>
                  </a:cubicBezTo>
                  <a:cubicBezTo>
                    <a:pt x="964" y="75"/>
                    <a:pt x="964" y="75"/>
                    <a:pt x="964" y="75"/>
                  </a:cubicBezTo>
                  <a:cubicBezTo>
                    <a:pt x="964" y="76"/>
                    <a:pt x="964" y="76"/>
                    <a:pt x="964" y="76"/>
                  </a:cubicBezTo>
                  <a:cubicBezTo>
                    <a:pt x="964" y="76"/>
                    <a:pt x="964" y="76"/>
                    <a:pt x="964" y="76"/>
                  </a:cubicBezTo>
                  <a:cubicBezTo>
                    <a:pt x="964" y="77"/>
                    <a:pt x="964" y="77"/>
                    <a:pt x="964" y="77"/>
                  </a:cubicBezTo>
                  <a:cubicBezTo>
                    <a:pt x="964" y="78"/>
                    <a:pt x="964" y="78"/>
                    <a:pt x="964" y="78"/>
                  </a:cubicBezTo>
                  <a:cubicBezTo>
                    <a:pt x="964" y="78"/>
                    <a:pt x="964" y="78"/>
                    <a:pt x="964" y="78"/>
                  </a:cubicBezTo>
                  <a:cubicBezTo>
                    <a:pt x="964" y="77"/>
                    <a:pt x="964" y="77"/>
                    <a:pt x="964" y="77"/>
                  </a:cubicBezTo>
                  <a:cubicBezTo>
                    <a:pt x="963" y="76"/>
                    <a:pt x="963" y="76"/>
                    <a:pt x="963" y="76"/>
                  </a:cubicBezTo>
                  <a:cubicBezTo>
                    <a:pt x="963" y="76"/>
                    <a:pt x="963" y="76"/>
                    <a:pt x="963" y="76"/>
                  </a:cubicBezTo>
                  <a:cubicBezTo>
                    <a:pt x="962" y="75"/>
                    <a:pt x="962" y="75"/>
                    <a:pt x="962" y="75"/>
                  </a:cubicBezTo>
                  <a:cubicBezTo>
                    <a:pt x="961" y="76"/>
                    <a:pt x="961" y="76"/>
                    <a:pt x="961" y="76"/>
                  </a:cubicBezTo>
                  <a:cubicBezTo>
                    <a:pt x="961" y="77"/>
                    <a:pt x="961" y="77"/>
                    <a:pt x="961" y="77"/>
                  </a:cubicBezTo>
                  <a:cubicBezTo>
                    <a:pt x="962" y="77"/>
                    <a:pt x="962" y="77"/>
                    <a:pt x="962" y="77"/>
                  </a:cubicBezTo>
                  <a:cubicBezTo>
                    <a:pt x="962" y="78"/>
                    <a:pt x="962" y="78"/>
                    <a:pt x="962" y="78"/>
                  </a:cubicBezTo>
                  <a:cubicBezTo>
                    <a:pt x="962" y="78"/>
                    <a:pt x="962" y="78"/>
                    <a:pt x="962" y="78"/>
                  </a:cubicBezTo>
                  <a:cubicBezTo>
                    <a:pt x="962" y="78"/>
                    <a:pt x="962" y="78"/>
                    <a:pt x="962" y="78"/>
                  </a:cubicBezTo>
                  <a:cubicBezTo>
                    <a:pt x="962" y="79"/>
                    <a:pt x="962" y="79"/>
                    <a:pt x="962" y="79"/>
                  </a:cubicBezTo>
                  <a:cubicBezTo>
                    <a:pt x="962" y="79"/>
                    <a:pt x="962" y="79"/>
                    <a:pt x="962" y="79"/>
                  </a:cubicBezTo>
                  <a:cubicBezTo>
                    <a:pt x="962" y="80"/>
                    <a:pt x="962" y="80"/>
                    <a:pt x="962" y="80"/>
                  </a:cubicBezTo>
                  <a:cubicBezTo>
                    <a:pt x="961" y="80"/>
                    <a:pt x="961" y="80"/>
                    <a:pt x="961" y="80"/>
                  </a:cubicBezTo>
                  <a:cubicBezTo>
                    <a:pt x="961" y="79"/>
                    <a:pt x="961" y="79"/>
                    <a:pt x="961" y="79"/>
                  </a:cubicBezTo>
                  <a:cubicBezTo>
                    <a:pt x="961" y="80"/>
                    <a:pt x="961" y="80"/>
                    <a:pt x="961" y="80"/>
                  </a:cubicBezTo>
                  <a:cubicBezTo>
                    <a:pt x="961" y="80"/>
                    <a:pt x="961" y="80"/>
                    <a:pt x="961" y="80"/>
                  </a:cubicBezTo>
                  <a:cubicBezTo>
                    <a:pt x="959" y="80"/>
                    <a:pt x="959" y="80"/>
                    <a:pt x="959" y="80"/>
                  </a:cubicBezTo>
                  <a:cubicBezTo>
                    <a:pt x="961" y="81"/>
                    <a:pt x="961" y="81"/>
                    <a:pt x="961" y="81"/>
                  </a:cubicBezTo>
                  <a:cubicBezTo>
                    <a:pt x="961" y="82"/>
                    <a:pt x="961" y="82"/>
                    <a:pt x="961" y="82"/>
                  </a:cubicBezTo>
                  <a:cubicBezTo>
                    <a:pt x="961" y="83"/>
                    <a:pt x="961" y="83"/>
                    <a:pt x="961" y="83"/>
                  </a:cubicBezTo>
                  <a:cubicBezTo>
                    <a:pt x="960" y="83"/>
                    <a:pt x="960" y="83"/>
                    <a:pt x="960" y="83"/>
                  </a:cubicBezTo>
                  <a:cubicBezTo>
                    <a:pt x="960" y="84"/>
                    <a:pt x="960" y="84"/>
                    <a:pt x="960" y="84"/>
                  </a:cubicBezTo>
                  <a:cubicBezTo>
                    <a:pt x="959" y="84"/>
                    <a:pt x="959" y="84"/>
                    <a:pt x="959" y="84"/>
                  </a:cubicBezTo>
                  <a:cubicBezTo>
                    <a:pt x="959" y="84"/>
                    <a:pt x="959" y="84"/>
                    <a:pt x="959" y="84"/>
                  </a:cubicBezTo>
                  <a:cubicBezTo>
                    <a:pt x="959" y="85"/>
                    <a:pt x="959" y="85"/>
                    <a:pt x="959" y="85"/>
                  </a:cubicBezTo>
                  <a:cubicBezTo>
                    <a:pt x="959" y="85"/>
                    <a:pt x="959" y="85"/>
                    <a:pt x="959" y="85"/>
                  </a:cubicBezTo>
                  <a:cubicBezTo>
                    <a:pt x="959" y="86"/>
                    <a:pt x="959" y="86"/>
                    <a:pt x="959" y="86"/>
                  </a:cubicBezTo>
                  <a:cubicBezTo>
                    <a:pt x="959" y="86"/>
                    <a:pt x="959" y="86"/>
                    <a:pt x="959" y="86"/>
                  </a:cubicBezTo>
                  <a:cubicBezTo>
                    <a:pt x="959" y="86"/>
                    <a:pt x="959" y="86"/>
                    <a:pt x="959" y="86"/>
                  </a:cubicBezTo>
                  <a:cubicBezTo>
                    <a:pt x="958" y="86"/>
                    <a:pt x="958" y="86"/>
                    <a:pt x="958" y="86"/>
                  </a:cubicBezTo>
                  <a:cubicBezTo>
                    <a:pt x="958" y="87"/>
                    <a:pt x="958" y="87"/>
                    <a:pt x="958" y="87"/>
                  </a:cubicBezTo>
                  <a:cubicBezTo>
                    <a:pt x="958" y="87"/>
                    <a:pt x="958" y="87"/>
                    <a:pt x="958" y="87"/>
                  </a:cubicBezTo>
                  <a:cubicBezTo>
                    <a:pt x="957" y="87"/>
                    <a:pt x="957" y="87"/>
                    <a:pt x="957" y="87"/>
                  </a:cubicBezTo>
                  <a:cubicBezTo>
                    <a:pt x="957" y="87"/>
                    <a:pt x="957" y="87"/>
                    <a:pt x="957" y="87"/>
                  </a:cubicBezTo>
                  <a:cubicBezTo>
                    <a:pt x="956" y="87"/>
                    <a:pt x="956" y="87"/>
                    <a:pt x="956" y="87"/>
                  </a:cubicBezTo>
                  <a:cubicBezTo>
                    <a:pt x="956" y="86"/>
                    <a:pt x="956" y="86"/>
                    <a:pt x="956" y="86"/>
                  </a:cubicBezTo>
                  <a:cubicBezTo>
                    <a:pt x="955" y="85"/>
                    <a:pt x="955" y="85"/>
                    <a:pt x="955" y="85"/>
                  </a:cubicBezTo>
                  <a:cubicBezTo>
                    <a:pt x="956" y="84"/>
                    <a:pt x="956" y="84"/>
                    <a:pt x="956" y="84"/>
                  </a:cubicBezTo>
                  <a:cubicBezTo>
                    <a:pt x="955" y="83"/>
                    <a:pt x="955" y="83"/>
                    <a:pt x="955" y="83"/>
                  </a:cubicBezTo>
                  <a:cubicBezTo>
                    <a:pt x="955" y="83"/>
                    <a:pt x="955" y="83"/>
                    <a:pt x="955" y="83"/>
                  </a:cubicBezTo>
                  <a:cubicBezTo>
                    <a:pt x="955" y="82"/>
                    <a:pt x="955" y="82"/>
                    <a:pt x="955" y="82"/>
                  </a:cubicBezTo>
                  <a:cubicBezTo>
                    <a:pt x="954" y="82"/>
                    <a:pt x="954" y="82"/>
                    <a:pt x="954" y="82"/>
                  </a:cubicBezTo>
                  <a:cubicBezTo>
                    <a:pt x="954" y="82"/>
                    <a:pt x="954" y="82"/>
                    <a:pt x="954" y="82"/>
                  </a:cubicBezTo>
                  <a:cubicBezTo>
                    <a:pt x="954" y="82"/>
                    <a:pt x="954" y="82"/>
                    <a:pt x="954" y="82"/>
                  </a:cubicBezTo>
                  <a:cubicBezTo>
                    <a:pt x="954" y="83"/>
                    <a:pt x="954" y="83"/>
                    <a:pt x="954" y="83"/>
                  </a:cubicBezTo>
                  <a:cubicBezTo>
                    <a:pt x="954" y="83"/>
                    <a:pt x="954" y="83"/>
                    <a:pt x="954" y="83"/>
                  </a:cubicBezTo>
                  <a:cubicBezTo>
                    <a:pt x="953" y="83"/>
                    <a:pt x="953" y="83"/>
                    <a:pt x="953" y="83"/>
                  </a:cubicBezTo>
                  <a:cubicBezTo>
                    <a:pt x="953" y="82"/>
                    <a:pt x="953" y="82"/>
                    <a:pt x="953" y="82"/>
                  </a:cubicBezTo>
                  <a:cubicBezTo>
                    <a:pt x="952" y="82"/>
                    <a:pt x="952" y="82"/>
                    <a:pt x="952" y="82"/>
                  </a:cubicBezTo>
                  <a:cubicBezTo>
                    <a:pt x="952" y="82"/>
                    <a:pt x="952" y="82"/>
                    <a:pt x="952" y="82"/>
                  </a:cubicBezTo>
                  <a:cubicBezTo>
                    <a:pt x="952" y="83"/>
                    <a:pt x="952" y="83"/>
                    <a:pt x="952" y="83"/>
                  </a:cubicBezTo>
                  <a:cubicBezTo>
                    <a:pt x="952" y="84"/>
                    <a:pt x="952" y="84"/>
                    <a:pt x="952" y="84"/>
                  </a:cubicBezTo>
                  <a:cubicBezTo>
                    <a:pt x="952" y="85"/>
                    <a:pt x="952" y="85"/>
                    <a:pt x="952" y="85"/>
                  </a:cubicBezTo>
                  <a:cubicBezTo>
                    <a:pt x="952" y="85"/>
                    <a:pt x="952" y="85"/>
                    <a:pt x="952" y="85"/>
                  </a:cubicBezTo>
                  <a:cubicBezTo>
                    <a:pt x="950" y="85"/>
                    <a:pt x="950" y="85"/>
                    <a:pt x="950" y="85"/>
                  </a:cubicBezTo>
                  <a:cubicBezTo>
                    <a:pt x="950" y="85"/>
                    <a:pt x="950" y="85"/>
                    <a:pt x="950" y="85"/>
                  </a:cubicBezTo>
                  <a:cubicBezTo>
                    <a:pt x="950" y="86"/>
                    <a:pt x="950" y="86"/>
                    <a:pt x="950" y="86"/>
                  </a:cubicBezTo>
                  <a:cubicBezTo>
                    <a:pt x="950" y="86"/>
                    <a:pt x="950" y="86"/>
                    <a:pt x="950" y="86"/>
                  </a:cubicBezTo>
                  <a:cubicBezTo>
                    <a:pt x="950" y="86"/>
                    <a:pt x="950" y="86"/>
                    <a:pt x="950" y="86"/>
                  </a:cubicBezTo>
                  <a:cubicBezTo>
                    <a:pt x="950" y="87"/>
                    <a:pt x="950" y="87"/>
                    <a:pt x="950" y="87"/>
                  </a:cubicBezTo>
                  <a:cubicBezTo>
                    <a:pt x="950" y="87"/>
                    <a:pt x="950" y="87"/>
                    <a:pt x="950" y="87"/>
                  </a:cubicBezTo>
                  <a:cubicBezTo>
                    <a:pt x="951" y="90"/>
                    <a:pt x="951" y="90"/>
                    <a:pt x="951" y="90"/>
                  </a:cubicBezTo>
                  <a:cubicBezTo>
                    <a:pt x="951" y="91"/>
                    <a:pt x="951" y="91"/>
                    <a:pt x="951" y="91"/>
                  </a:cubicBezTo>
                  <a:cubicBezTo>
                    <a:pt x="950" y="90"/>
                    <a:pt x="950" y="90"/>
                    <a:pt x="950" y="90"/>
                  </a:cubicBezTo>
                  <a:cubicBezTo>
                    <a:pt x="950" y="90"/>
                    <a:pt x="950" y="90"/>
                    <a:pt x="950" y="90"/>
                  </a:cubicBezTo>
                  <a:cubicBezTo>
                    <a:pt x="949" y="91"/>
                    <a:pt x="949" y="91"/>
                    <a:pt x="949" y="91"/>
                  </a:cubicBezTo>
                  <a:cubicBezTo>
                    <a:pt x="949" y="91"/>
                    <a:pt x="949" y="91"/>
                    <a:pt x="949" y="91"/>
                  </a:cubicBezTo>
                  <a:cubicBezTo>
                    <a:pt x="949" y="92"/>
                    <a:pt x="949" y="92"/>
                    <a:pt x="949" y="92"/>
                  </a:cubicBezTo>
                  <a:cubicBezTo>
                    <a:pt x="948" y="92"/>
                    <a:pt x="948" y="92"/>
                    <a:pt x="948" y="92"/>
                  </a:cubicBezTo>
                  <a:cubicBezTo>
                    <a:pt x="948" y="95"/>
                    <a:pt x="948" y="95"/>
                    <a:pt x="948" y="95"/>
                  </a:cubicBezTo>
                  <a:cubicBezTo>
                    <a:pt x="948" y="95"/>
                    <a:pt x="948" y="95"/>
                    <a:pt x="948" y="95"/>
                  </a:cubicBezTo>
                  <a:cubicBezTo>
                    <a:pt x="948" y="95"/>
                    <a:pt x="948" y="95"/>
                    <a:pt x="948" y="95"/>
                  </a:cubicBezTo>
                  <a:cubicBezTo>
                    <a:pt x="947" y="96"/>
                    <a:pt x="947" y="96"/>
                    <a:pt x="947" y="96"/>
                  </a:cubicBezTo>
                  <a:cubicBezTo>
                    <a:pt x="947" y="96"/>
                    <a:pt x="947" y="96"/>
                    <a:pt x="947" y="96"/>
                  </a:cubicBezTo>
                  <a:cubicBezTo>
                    <a:pt x="948" y="97"/>
                    <a:pt x="948" y="97"/>
                    <a:pt x="948" y="97"/>
                  </a:cubicBezTo>
                  <a:cubicBezTo>
                    <a:pt x="948" y="98"/>
                    <a:pt x="948" y="98"/>
                    <a:pt x="948" y="98"/>
                  </a:cubicBezTo>
                  <a:cubicBezTo>
                    <a:pt x="947" y="98"/>
                    <a:pt x="947" y="98"/>
                    <a:pt x="947" y="98"/>
                  </a:cubicBezTo>
                  <a:cubicBezTo>
                    <a:pt x="947" y="99"/>
                    <a:pt x="947" y="99"/>
                    <a:pt x="947" y="99"/>
                  </a:cubicBezTo>
                  <a:cubicBezTo>
                    <a:pt x="946" y="99"/>
                    <a:pt x="946" y="99"/>
                    <a:pt x="946" y="99"/>
                  </a:cubicBezTo>
                  <a:cubicBezTo>
                    <a:pt x="947" y="97"/>
                    <a:pt x="947" y="97"/>
                    <a:pt x="947" y="97"/>
                  </a:cubicBezTo>
                  <a:cubicBezTo>
                    <a:pt x="946" y="97"/>
                    <a:pt x="946" y="97"/>
                    <a:pt x="946" y="97"/>
                  </a:cubicBezTo>
                  <a:cubicBezTo>
                    <a:pt x="945" y="96"/>
                    <a:pt x="945" y="96"/>
                    <a:pt x="945" y="96"/>
                  </a:cubicBezTo>
                  <a:cubicBezTo>
                    <a:pt x="945" y="96"/>
                    <a:pt x="945" y="96"/>
                    <a:pt x="945" y="96"/>
                  </a:cubicBezTo>
                  <a:cubicBezTo>
                    <a:pt x="944" y="96"/>
                    <a:pt x="944" y="96"/>
                    <a:pt x="944" y="96"/>
                  </a:cubicBezTo>
                  <a:cubicBezTo>
                    <a:pt x="945" y="95"/>
                    <a:pt x="945" y="95"/>
                    <a:pt x="945" y="95"/>
                  </a:cubicBezTo>
                  <a:cubicBezTo>
                    <a:pt x="945" y="94"/>
                    <a:pt x="945" y="94"/>
                    <a:pt x="945" y="94"/>
                  </a:cubicBezTo>
                  <a:cubicBezTo>
                    <a:pt x="944" y="94"/>
                    <a:pt x="944" y="94"/>
                    <a:pt x="944" y="94"/>
                  </a:cubicBezTo>
                  <a:cubicBezTo>
                    <a:pt x="943" y="94"/>
                    <a:pt x="943" y="94"/>
                    <a:pt x="943" y="94"/>
                  </a:cubicBezTo>
                  <a:cubicBezTo>
                    <a:pt x="943" y="94"/>
                    <a:pt x="943" y="94"/>
                    <a:pt x="943" y="94"/>
                  </a:cubicBezTo>
                  <a:cubicBezTo>
                    <a:pt x="943" y="95"/>
                    <a:pt x="943" y="95"/>
                    <a:pt x="943" y="95"/>
                  </a:cubicBezTo>
                  <a:cubicBezTo>
                    <a:pt x="943" y="96"/>
                    <a:pt x="943" y="96"/>
                    <a:pt x="943" y="96"/>
                  </a:cubicBezTo>
                  <a:cubicBezTo>
                    <a:pt x="944" y="98"/>
                    <a:pt x="944" y="98"/>
                    <a:pt x="944" y="98"/>
                  </a:cubicBezTo>
                  <a:cubicBezTo>
                    <a:pt x="947" y="101"/>
                    <a:pt x="947" y="101"/>
                    <a:pt x="947" y="101"/>
                  </a:cubicBezTo>
                  <a:cubicBezTo>
                    <a:pt x="946" y="100"/>
                    <a:pt x="946" y="100"/>
                    <a:pt x="946" y="100"/>
                  </a:cubicBezTo>
                  <a:cubicBezTo>
                    <a:pt x="945" y="100"/>
                    <a:pt x="945" y="100"/>
                    <a:pt x="945" y="100"/>
                  </a:cubicBezTo>
                  <a:cubicBezTo>
                    <a:pt x="944" y="100"/>
                    <a:pt x="944" y="100"/>
                    <a:pt x="944" y="100"/>
                  </a:cubicBezTo>
                  <a:cubicBezTo>
                    <a:pt x="943" y="99"/>
                    <a:pt x="943" y="99"/>
                    <a:pt x="943" y="99"/>
                  </a:cubicBezTo>
                  <a:cubicBezTo>
                    <a:pt x="942" y="98"/>
                    <a:pt x="942" y="98"/>
                    <a:pt x="942" y="98"/>
                  </a:cubicBezTo>
                  <a:cubicBezTo>
                    <a:pt x="941" y="98"/>
                    <a:pt x="941" y="98"/>
                    <a:pt x="941" y="98"/>
                  </a:cubicBezTo>
                  <a:cubicBezTo>
                    <a:pt x="940" y="99"/>
                    <a:pt x="940" y="99"/>
                    <a:pt x="940" y="99"/>
                  </a:cubicBezTo>
                  <a:cubicBezTo>
                    <a:pt x="941" y="100"/>
                    <a:pt x="941" y="100"/>
                    <a:pt x="941" y="100"/>
                  </a:cubicBezTo>
                  <a:cubicBezTo>
                    <a:pt x="941" y="101"/>
                    <a:pt x="941" y="101"/>
                    <a:pt x="941" y="101"/>
                  </a:cubicBezTo>
                  <a:cubicBezTo>
                    <a:pt x="941" y="101"/>
                    <a:pt x="941" y="101"/>
                    <a:pt x="941" y="101"/>
                  </a:cubicBezTo>
                  <a:cubicBezTo>
                    <a:pt x="942" y="102"/>
                    <a:pt x="942" y="102"/>
                    <a:pt x="942" y="102"/>
                  </a:cubicBezTo>
                  <a:cubicBezTo>
                    <a:pt x="942" y="102"/>
                    <a:pt x="942" y="102"/>
                    <a:pt x="942" y="102"/>
                  </a:cubicBezTo>
                  <a:cubicBezTo>
                    <a:pt x="942" y="102"/>
                    <a:pt x="942" y="102"/>
                    <a:pt x="942" y="102"/>
                  </a:cubicBezTo>
                  <a:cubicBezTo>
                    <a:pt x="944" y="104"/>
                    <a:pt x="944" y="104"/>
                    <a:pt x="944" y="104"/>
                  </a:cubicBezTo>
                  <a:cubicBezTo>
                    <a:pt x="945" y="105"/>
                    <a:pt x="945" y="105"/>
                    <a:pt x="945" y="105"/>
                  </a:cubicBezTo>
                  <a:cubicBezTo>
                    <a:pt x="945" y="106"/>
                    <a:pt x="945" y="106"/>
                    <a:pt x="945" y="106"/>
                  </a:cubicBezTo>
                  <a:cubicBezTo>
                    <a:pt x="945" y="107"/>
                    <a:pt x="945" y="107"/>
                    <a:pt x="945" y="107"/>
                  </a:cubicBezTo>
                  <a:cubicBezTo>
                    <a:pt x="945" y="107"/>
                    <a:pt x="945" y="107"/>
                    <a:pt x="945" y="107"/>
                  </a:cubicBezTo>
                  <a:cubicBezTo>
                    <a:pt x="946" y="108"/>
                    <a:pt x="946" y="108"/>
                    <a:pt x="946" y="108"/>
                  </a:cubicBezTo>
                  <a:cubicBezTo>
                    <a:pt x="945" y="109"/>
                    <a:pt x="945" y="109"/>
                    <a:pt x="945" y="109"/>
                  </a:cubicBezTo>
                  <a:cubicBezTo>
                    <a:pt x="944" y="110"/>
                    <a:pt x="944" y="110"/>
                    <a:pt x="944" y="110"/>
                  </a:cubicBezTo>
                  <a:cubicBezTo>
                    <a:pt x="944" y="111"/>
                    <a:pt x="944" y="111"/>
                    <a:pt x="944" y="111"/>
                  </a:cubicBezTo>
                  <a:cubicBezTo>
                    <a:pt x="943" y="109"/>
                    <a:pt x="943" y="109"/>
                    <a:pt x="943" y="109"/>
                  </a:cubicBezTo>
                  <a:cubicBezTo>
                    <a:pt x="943" y="109"/>
                    <a:pt x="943" y="109"/>
                    <a:pt x="943" y="109"/>
                  </a:cubicBezTo>
                  <a:cubicBezTo>
                    <a:pt x="943" y="110"/>
                    <a:pt x="943" y="110"/>
                    <a:pt x="943" y="110"/>
                  </a:cubicBezTo>
                  <a:cubicBezTo>
                    <a:pt x="942" y="111"/>
                    <a:pt x="942" y="111"/>
                    <a:pt x="942" y="111"/>
                  </a:cubicBezTo>
                  <a:cubicBezTo>
                    <a:pt x="941" y="113"/>
                    <a:pt x="941" y="113"/>
                    <a:pt x="941" y="113"/>
                  </a:cubicBezTo>
                  <a:cubicBezTo>
                    <a:pt x="941" y="113"/>
                    <a:pt x="941" y="113"/>
                    <a:pt x="941" y="113"/>
                  </a:cubicBezTo>
                  <a:cubicBezTo>
                    <a:pt x="940" y="113"/>
                    <a:pt x="940" y="113"/>
                    <a:pt x="940" y="113"/>
                  </a:cubicBezTo>
                  <a:cubicBezTo>
                    <a:pt x="940" y="113"/>
                    <a:pt x="940" y="113"/>
                    <a:pt x="940" y="113"/>
                  </a:cubicBezTo>
                  <a:cubicBezTo>
                    <a:pt x="940" y="113"/>
                    <a:pt x="940" y="113"/>
                    <a:pt x="940" y="113"/>
                  </a:cubicBezTo>
                  <a:cubicBezTo>
                    <a:pt x="940" y="113"/>
                    <a:pt x="940" y="113"/>
                    <a:pt x="940" y="113"/>
                  </a:cubicBezTo>
                  <a:cubicBezTo>
                    <a:pt x="940" y="114"/>
                    <a:pt x="940" y="114"/>
                    <a:pt x="940" y="114"/>
                  </a:cubicBezTo>
                  <a:cubicBezTo>
                    <a:pt x="939" y="114"/>
                    <a:pt x="939" y="114"/>
                    <a:pt x="939" y="114"/>
                  </a:cubicBezTo>
                  <a:cubicBezTo>
                    <a:pt x="939" y="113"/>
                    <a:pt x="939" y="113"/>
                    <a:pt x="939" y="113"/>
                  </a:cubicBezTo>
                  <a:cubicBezTo>
                    <a:pt x="939" y="113"/>
                    <a:pt x="939" y="113"/>
                    <a:pt x="939" y="113"/>
                  </a:cubicBezTo>
                  <a:cubicBezTo>
                    <a:pt x="938" y="113"/>
                    <a:pt x="938" y="113"/>
                    <a:pt x="938" y="113"/>
                  </a:cubicBezTo>
                  <a:cubicBezTo>
                    <a:pt x="937" y="114"/>
                    <a:pt x="937" y="114"/>
                    <a:pt x="937" y="114"/>
                  </a:cubicBezTo>
                  <a:cubicBezTo>
                    <a:pt x="937" y="114"/>
                    <a:pt x="937" y="114"/>
                    <a:pt x="937" y="114"/>
                  </a:cubicBezTo>
                  <a:cubicBezTo>
                    <a:pt x="936" y="114"/>
                    <a:pt x="936" y="114"/>
                    <a:pt x="936" y="114"/>
                  </a:cubicBezTo>
                  <a:cubicBezTo>
                    <a:pt x="936" y="113"/>
                    <a:pt x="936" y="113"/>
                    <a:pt x="936" y="113"/>
                  </a:cubicBezTo>
                  <a:cubicBezTo>
                    <a:pt x="936" y="113"/>
                    <a:pt x="936" y="113"/>
                    <a:pt x="936" y="113"/>
                  </a:cubicBezTo>
                  <a:cubicBezTo>
                    <a:pt x="936" y="113"/>
                    <a:pt x="936" y="113"/>
                    <a:pt x="936" y="113"/>
                  </a:cubicBezTo>
                  <a:cubicBezTo>
                    <a:pt x="935" y="114"/>
                    <a:pt x="935" y="114"/>
                    <a:pt x="935" y="114"/>
                  </a:cubicBezTo>
                  <a:cubicBezTo>
                    <a:pt x="935" y="114"/>
                    <a:pt x="935" y="114"/>
                    <a:pt x="935" y="114"/>
                  </a:cubicBezTo>
                  <a:cubicBezTo>
                    <a:pt x="935" y="115"/>
                    <a:pt x="935" y="115"/>
                    <a:pt x="935" y="115"/>
                  </a:cubicBezTo>
                  <a:cubicBezTo>
                    <a:pt x="935" y="115"/>
                    <a:pt x="935" y="115"/>
                    <a:pt x="935" y="115"/>
                  </a:cubicBezTo>
                  <a:cubicBezTo>
                    <a:pt x="935" y="116"/>
                    <a:pt x="935" y="116"/>
                    <a:pt x="935" y="116"/>
                  </a:cubicBezTo>
                  <a:cubicBezTo>
                    <a:pt x="934" y="116"/>
                    <a:pt x="934" y="116"/>
                    <a:pt x="934" y="116"/>
                  </a:cubicBezTo>
                  <a:cubicBezTo>
                    <a:pt x="934" y="117"/>
                    <a:pt x="934" y="117"/>
                    <a:pt x="934" y="117"/>
                  </a:cubicBezTo>
                  <a:cubicBezTo>
                    <a:pt x="934" y="118"/>
                    <a:pt x="934" y="118"/>
                    <a:pt x="934" y="118"/>
                  </a:cubicBezTo>
                  <a:cubicBezTo>
                    <a:pt x="934" y="119"/>
                    <a:pt x="934" y="119"/>
                    <a:pt x="934" y="119"/>
                  </a:cubicBezTo>
                  <a:cubicBezTo>
                    <a:pt x="932" y="117"/>
                    <a:pt x="932" y="117"/>
                    <a:pt x="932" y="117"/>
                  </a:cubicBezTo>
                  <a:cubicBezTo>
                    <a:pt x="931" y="117"/>
                    <a:pt x="931" y="117"/>
                    <a:pt x="931" y="117"/>
                  </a:cubicBezTo>
                  <a:cubicBezTo>
                    <a:pt x="931" y="116"/>
                    <a:pt x="931" y="116"/>
                    <a:pt x="931" y="116"/>
                  </a:cubicBezTo>
                  <a:cubicBezTo>
                    <a:pt x="932" y="116"/>
                    <a:pt x="932" y="116"/>
                    <a:pt x="932" y="116"/>
                  </a:cubicBezTo>
                  <a:cubicBezTo>
                    <a:pt x="931" y="113"/>
                    <a:pt x="931" y="113"/>
                    <a:pt x="931" y="113"/>
                  </a:cubicBezTo>
                  <a:cubicBezTo>
                    <a:pt x="931" y="113"/>
                    <a:pt x="931" y="113"/>
                    <a:pt x="931" y="113"/>
                  </a:cubicBezTo>
                  <a:cubicBezTo>
                    <a:pt x="932" y="112"/>
                    <a:pt x="932" y="112"/>
                    <a:pt x="932" y="112"/>
                  </a:cubicBezTo>
                  <a:cubicBezTo>
                    <a:pt x="931" y="112"/>
                    <a:pt x="931" y="112"/>
                    <a:pt x="931" y="112"/>
                  </a:cubicBezTo>
                  <a:cubicBezTo>
                    <a:pt x="929" y="113"/>
                    <a:pt x="929" y="113"/>
                    <a:pt x="929" y="113"/>
                  </a:cubicBezTo>
                  <a:cubicBezTo>
                    <a:pt x="929" y="113"/>
                    <a:pt x="929" y="113"/>
                    <a:pt x="929" y="113"/>
                  </a:cubicBezTo>
                  <a:cubicBezTo>
                    <a:pt x="928" y="113"/>
                    <a:pt x="928" y="113"/>
                    <a:pt x="928" y="113"/>
                  </a:cubicBezTo>
                  <a:cubicBezTo>
                    <a:pt x="927" y="113"/>
                    <a:pt x="927" y="113"/>
                    <a:pt x="927" y="113"/>
                  </a:cubicBezTo>
                  <a:cubicBezTo>
                    <a:pt x="926" y="114"/>
                    <a:pt x="926" y="114"/>
                    <a:pt x="926" y="114"/>
                  </a:cubicBezTo>
                  <a:cubicBezTo>
                    <a:pt x="926" y="114"/>
                    <a:pt x="926" y="114"/>
                    <a:pt x="926" y="114"/>
                  </a:cubicBezTo>
                  <a:cubicBezTo>
                    <a:pt x="926" y="115"/>
                    <a:pt x="926" y="115"/>
                    <a:pt x="926" y="115"/>
                  </a:cubicBezTo>
                  <a:cubicBezTo>
                    <a:pt x="927" y="115"/>
                    <a:pt x="927" y="115"/>
                    <a:pt x="927" y="115"/>
                  </a:cubicBezTo>
                  <a:cubicBezTo>
                    <a:pt x="928" y="115"/>
                    <a:pt x="928" y="115"/>
                    <a:pt x="928" y="115"/>
                  </a:cubicBezTo>
                  <a:cubicBezTo>
                    <a:pt x="927" y="116"/>
                    <a:pt x="927" y="116"/>
                    <a:pt x="927" y="116"/>
                  </a:cubicBezTo>
                  <a:cubicBezTo>
                    <a:pt x="926" y="115"/>
                    <a:pt x="926" y="115"/>
                    <a:pt x="926" y="115"/>
                  </a:cubicBezTo>
                  <a:cubicBezTo>
                    <a:pt x="925" y="115"/>
                    <a:pt x="925" y="115"/>
                    <a:pt x="925" y="115"/>
                  </a:cubicBezTo>
                  <a:cubicBezTo>
                    <a:pt x="925" y="114"/>
                    <a:pt x="925" y="114"/>
                    <a:pt x="925" y="114"/>
                  </a:cubicBezTo>
                  <a:cubicBezTo>
                    <a:pt x="924" y="116"/>
                    <a:pt x="924" y="116"/>
                    <a:pt x="924" y="116"/>
                  </a:cubicBezTo>
                  <a:cubicBezTo>
                    <a:pt x="923" y="115"/>
                    <a:pt x="923" y="115"/>
                    <a:pt x="923" y="115"/>
                  </a:cubicBezTo>
                  <a:cubicBezTo>
                    <a:pt x="922" y="114"/>
                    <a:pt x="922" y="114"/>
                    <a:pt x="922" y="114"/>
                  </a:cubicBezTo>
                  <a:cubicBezTo>
                    <a:pt x="921" y="114"/>
                    <a:pt x="921" y="114"/>
                    <a:pt x="921" y="114"/>
                  </a:cubicBezTo>
                  <a:cubicBezTo>
                    <a:pt x="921" y="114"/>
                    <a:pt x="921" y="114"/>
                    <a:pt x="921" y="114"/>
                  </a:cubicBezTo>
                  <a:cubicBezTo>
                    <a:pt x="920" y="115"/>
                    <a:pt x="920" y="115"/>
                    <a:pt x="920" y="115"/>
                  </a:cubicBezTo>
                  <a:cubicBezTo>
                    <a:pt x="920" y="115"/>
                    <a:pt x="920" y="115"/>
                    <a:pt x="920" y="115"/>
                  </a:cubicBezTo>
                  <a:cubicBezTo>
                    <a:pt x="920" y="116"/>
                    <a:pt x="920" y="116"/>
                    <a:pt x="920" y="116"/>
                  </a:cubicBezTo>
                  <a:cubicBezTo>
                    <a:pt x="920" y="117"/>
                    <a:pt x="920" y="117"/>
                    <a:pt x="920" y="117"/>
                  </a:cubicBezTo>
                  <a:cubicBezTo>
                    <a:pt x="922" y="117"/>
                    <a:pt x="922" y="117"/>
                    <a:pt x="922" y="117"/>
                  </a:cubicBezTo>
                  <a:cubicBezTo>
                    <a:pt x="922" y="118"/>
                    <a:pt x="922" y="118"/>
                    <a:pt x="922" y="118"/>
                  </a:cubicBezTo>
                  <a:cubicBezTo>
                    <a:pt x="921" y="118"/>
                    <a:pt x="921" y="118"/>
                    <a:pt x="921" y="118"/>
                  </a:cubicBezTo>
                  <a:cubicBezTo>
                    <a:pt x="920" y="118"/>
                    <a:pt x="920" y="118"/>
                    <a:pt x="920" y="118"/>
                  </a:cubicBezTo>
                  <a:cubicBezTo>
                    <a:pt x="920" y="119"/>
                    <a:pt x="920" y="119"/>
                    <a:pt x="920" y="119"/>
                  </a:cubicBezTo>
                  <a:cubicBezTo>
                    <a:pt x="920" y="119"/>
                    <a:pt x="920" y="119"/>
                    <a:pt x="920" y="119"/>
                  </a:cubicBezTo>
                  <a:cubicBezTo>
                    <a:pt x="920" y="119"/>
                    <a:pt x="920" y="119"/>
                    <a:pt x="920" y="119"/>
                  </a:cubicBezTo>
                  <a:cubicBezTo>
                    <a:pt x="920" y="120"/>
                    <a:pt x="920" y="120"/>
                    <a:pt x="920" y="120"/>
                  </a:cubicBezTo>
                  <a:cubicBezTo>
                    <a:pt x="921" y="121"/>
                    <a:pt x="921" y="121"/>
                    <a:pt x="921" y="121"/>
                  </a:cubicBezTo>
                  <a:cubicBezTo>
                    <a:pt x="921" y="121"/>
                    <a:pt x="921" y="121"/>
                    <a:pt x="921" y="121"/>
                  </a:cubicBezTo>
                  <a:cubicBezTo>
                    <a:pt x="921" y="121"/>
                    <a:pt x="921" y="121"/>
                    <a:pt x="921" y="121"/>
                  </a:cubicBezTo>
                  <a:cubicBezTo>
                    <a:pt x="922" y="121"/>
                    <a:pt x="922" y="121"/>
                    <a:pt x="922" y="121"/>
                  </a:cubicBezTo>
                  <a:cubicBezTo>
                    <a:pt x="922" y="121"/>
                    <a:pt x="922" y="121"/>
                    <a:pt x="922" y="121"/>
                  </a:cubicBezTo>
                  <a:cubicBezTo>
                    <a:pt x="922" y="122"/>
                    <a:pt x="922" y="122"/>
                    <a:pt x="922" y="122"/>
                  </a:cubicBezTo>
                  <a:cubicBezTo>
                    <a:pt x="922" y="123"/>
                    <a:pt x="922" y="123"/>
                    <a:pt x="922" y="123"/>
                  </a:cubicBezTo>
                  <a:cubicBezTo>
                    <a:pt x="922" y="123"/>
                    <a:pt x="922" y="123"/>
                    <a:pt x="922" y="123"/>
                  </a:cubicBezTo>
                  <a:cubicBezTo>
                    <a:pt x="924" y="125"/>
                    <a:pt x="924" y="125"/>
                    <a:pt x="924" y="125"/>
                  </a:cubicBezTo>
                  <a:cubicBezTo>
                    <a:pt x="925" y="127"/>
                    <a:pt x="925" y="127"/>
                    <a:pt x="925" y="127"/>
                  </a:cubicBezTo>
                  <a:cubicBezTo>
                    <a:pt x="925" y="128"/>
                    <a:pt x="925" y="128"/>
                    <a:pt x="925" y="128"/>
                  </a:cubicBezTo>
                  <a:cubicBezTo>
                    <a:pt x="924" y="127"/>
                    <a:pt x="924" y="127"/>
                    <a:pt x="924" y="127"/>
                  </a:cubicBezTo>
                  <a:cubicBezTo>
                    <a:pt x="923" y="127"/>
                    <a:pt x="923" y="127"/>
                    <a:pt x="923" y="127"/>
                  </a:cubicBezTo>
                  <a:cubicBezTo>
                    <a:pt x="922" y="126"/>
                    <a:pt x="922" y="126"/>
                    <a:pt x="922" y="126"/>
                  </a:cubicBezTo>
                  <a:cubicBezTo>
                    <a:pt x="921" y="125"/>
                    <a:pt x="921" y="125"/>
                    <a:pt x="921" y="125"/>
                  </a:cubicBezTo>
                  <a:cubicBezTo>
                    <a:pt x="920" y="124"/>
                    <a:pt x="920" y="124"/>
                    <a:pt x="920" y="124"/>
                  </a:cubicBezTo>
                  <a:cubicBezTo>
                    <a:pt x="920" y="125"/>
                    <a:pt x="920" y="125"/>
                    <a:pt x="920" y="125"/>
                  </a:cubicBezTo>
                  <a:cubicBezTo>
                    <a:pt x="919" y="126"/>
                    <a:pt x="919" y="126"/>
                    <a:pt x="919" y="126"/>
                  </a:cubicBezTo>
                  <a:cubicBezTo>
                    <a:pt x="919" y="126"/>
                    <a:pt x="919" y="126"/>
                    <a:pt x="919" y="126"/>
                  </a:cubicBezTo>
                  <a:cubicBezTo>
                    <a:pt x="919" y="126"/>
                    <a:pt x="919" y="126"/>
                    <a:pt x="919" y="126"/>
                  </a:cubicBezTo>
                  <a:cubicBezTo>
                    <a:pt x="919" y="126"/>
                    <a:pt x="919" y="126"/>
                    <a:pt x="919" y="126"/>
                  </a:cubicBezTo>
                  <a:cubicBezTo>
                    <a:pt x="918" y="126"/>
                    <a:pt x="918" y="126"/>
                    <a:pt x="918" y="126"/>
                  </a:cubicBezTo>
                  <a:cubicBezTo>
                    <a:pt x="918" y="126"/>
                    <a:pt x="918" y="126"/>
                    <a:pt x="918" y="126"/>
                  </a:cubicBezTo>
                  <a:cubicBezTo>
                    <a:pt x="918" y="127"/>
                    <a:pt x="918" y="127"/>
                    <a:pt x="918" y="127"/>
                  </a:cubicBezTo>
                  <a:cubicBezTo>
                    <a:pt x="918" y="127"/>
                    <a:pt x="918" y="127"/>
                    <a:pt x="918" y="127"/>
                  </a:cubicBezTo>
                  <a:cubicBezTo>
                    <a:pt x="918" y="128"/>
                    <a:pt x="918" y="128"/>
                    <a:pt x="918" y="128"/>
                  </a:cubicBezTo>
                  <a:cubicBezTo>
                    <a:pt x="918" y="130"/>
                    <a:pt x="918" y="130"/>
                    <a:pt x="918" y="130"/>
                  </a:cubicBezTo>
                  <a:cubicBezTo>
                    <a:pt x="919" y="132"/>
                    <a:pt x="919" y="132"/>
                    <a:pt x="919" y="132"/>
                  </a:cubicBezTo>
                  <a:cubicBezTo>
                    <a:pt x="918" y="133"/>
                    <a:pt x="918" y="133"/>
                    <a:pt x="918" y="133"/>
                  </a:cubicBezTo>
                  <a:cubicBezTo>
                    <a:pt x="918" y="133"/>
                    <a:pt x="918" y="133"/>
                    <a:pt x="918" y="133"/>
                  </a:cubicBezTo>
                  <a:cubicBezTo>
                    <a:pt x="918" y="133"/>
                    <a:pt x="918" y="133"/>
                    <a:pt x="918" y="133"/>
                  </a:cubicBezTo>
                  <a:cubicBezTo>
                    <a:pt x="917" y="135"/>
                    <a:pt x="917" y="135"/>
                    <a:pt x="917" y="135"/>
                  </a:cubicBezTo>
                  <a:cubicBezTo>
                    <a:pt x="917" y="135"/>
                    <a:pt x="917" y="135"/>
                    <a:pt x="917" y="135"/>
                  </a:cubicBezTo>
                  <a:cubicBezTo>
                    <a:pt x="917" y="136"/>
                    <a:pt x="917" y="136"/>
                    <a:pt x="917" y="136"/>
                  </a:cubicBezTo>
                  <a:cubicBezTo>
                    <a:pt x="917" y="137"/>
                    <a:pt x="917" y="137"/>
                    <a:pt x="917" y="137"/>
                  </a:cubicBezTo>
                  <a:cubicBezTo>
                    <a:pt x="917" y="137"/>
                    <a:pt x="917" y="137"/>
                    <a:pt x="917" y="137"/>
                  </a:cubicBezTo>
                  <a:cubicBezTo>
                    <a:pt x="916" y="138"/>
                    <a:pt x="916" y="138"/>
                    <a:pt x="916" y="138"/>
                  </a:cubicBezTo>
                  <a:cubicBezTo>
                    <a:pt x="916" y="138"/>
                    <a:pt x="916" y="138"/>
                    <a:pt x="916" y="138"/>
                  </a:cubicBezTo>
                  <a:cubicBezTo>
                    <a:pt x="915" y="138"/>
                    <a:pt x="915" y="138"/>
                    <a:pt x="915" y="138"/>
                  </a:cubicBezTo>
                  <a:cubicBezTo>
                    <a:pt x="913" y="138"/>
                    <a:pt x="913" y="138"/>
                    <a:pt x="913" y="138"/>
                  </a:cubicBezTo>
                  <a:cubicBezTo>
                    <a:pt x="912" y="138"/>
                    <a:pt x="912" y="138"/>
                    <a:pt x="912" y="138"/>
                  </a:cubicBezTo>
                  <a:cubicBezTo>
                    <a:pt x="912" y="138"/>
                    <a:pt x="912" y="138"/>
                    <a:pt x="912" y="138"/>
                  </a:cubicBezTo>
                  <a:cubicBezTo>
                    <a:pt x="912" y="139"/>
                    <a:pt x="912" y="139"/>
                    <a:pt x="912" y="139"/>
                  </a:cubicBezTo>
                  <a:cubicBezTo>
                    <a:pt x="912" y="140"/>
                    <a:pt x="912" y="140"/>
                    <a:pt x="912" y="140"/>
                  </a:cubicBezTo>
                  <a:cubicBezTo>
                    <a:pt x="912" y="141"/>
                    <a:pt x="912" y="141"/>
                    <a:pt x="912" y="141"/>
                  </a:cubicBezTo>
                  <a:cubicBezTo>
                    <a:pt x="911" y="141"/>
                    <a:pt x="911" y="141"/>
                    <a:pt x="911" y="141"/>
                  </a:cubicBezTo>
                  <a:cubicBezTo>
                    <a:pt x="911" y="142"/>
                    <a:pt x="911" y="142"/>
                    <a:pt x="911" y="142"/>
                  </a:cubicBezTo>
                  <a:cubicBezTo>
                    <a:pt x="911" y="143"/>
                    <a:pt x="911" y="143"/>
                    <a:pt x="911" y="143"/>
                  </a:cubicBezTo>
                  <a:cubicBezTo>
                    <a:pt x="911" y="143"/>
                    <a:pt x="911" y="143"/>
                    <a:pt x="911" y="143"/>
                  </a:cubicBezTo>
                  <a:cubicBezTo>
                    <a:pt x="910" y="143"/>
                    <a:pt x="910" y="143"/>
                    <a:pt x="910" y="143"/>
                  </a:cubicBezTo>
                  <a:cubicBezTo>
                    <a:pt x="910" y="142"/>
                    <a:pt x="910" y="142"/>
                    <a:pt x="910" y="142"/>
                  </a:cubicBezTo>
                  <a:cubicBezTo>
                    <a:pt x="909" y="143"/>
                    <a:pt x="909" y="143"/>
                    <a:pt x="909" y="143"/>
                  </a:cubicBezTo>
                  <a:cubicBezTo>
                    <a:pt x="909" y="143"/>
                    <a:pt x="909" y="143"/>
                    <a:pt x="909" y="143"/>
                  </a:cubicBezTo>
                  <a:cubicBezTo>
                    <a:pt x="908" y="144"/>
                    <a:pt x="908" y="144"/>
                    <a:pt x="908" y="144"/>
                  </a:cubicBezTo>
                  <a:cubicBezTo>
                    <a:pt x="909" y="145"/>
                    <a:pt x="909" y="145"/>
                    <a:pt x="909" y="145"/>
                  </a:cubicBezTo>
                  <a:cubicBezTo>
                    <a:pt x="909" y="146"/>
                    <a:pt x="909" y="146"/>
                    <a:pt x="909" y="146"/>
                  </a:cubicBezTo>
                  <a:cubicBezTo>
                    <a:pt x="909" y="146"/>
                    <a:pt x="909" y="146"/>
                    <a:pt x="909" y="146"/>
                  </a:cubicBezTo>
                  <a:cubicBezTo>
                    <a:pt x="910" y="147"/>
                    <a:pt x="910" y="147"/>
                    <a:pt x="910" y="147"/>
                  </a:cubicBezTo>
                  <a:cubicBezTo>
                    <a:pt x="910" y="146"/>
                    <a:pt x="910" y="146"/>
                    <a:pt x="910" y="146"/>
                  </a:cubicBezTo>
                  <a:cubicBezTo>
                    <a:pt x="910" y="147"/>
                    <a:pt x="910" y="147"/>
                    <a:pt x="910" y="147"/>
                  </a:cubicBezTo>
                  <a:cubicBezTo>
                    <a:pt x="910" y="147"/>
                    <a:pt x="910" y="147"/>
                    <a:pt x="910" y="147"/>
                  </a:cubicBezTo>
                  <a:cubicBezTo>
                    <a:pt x="910" y="148"/>
                    <a:pt x="910" y="148"/>
                    <a:pt x="910" y="148"/>
                  </a:cubicBezTo>
                  <a:cubicBezTo>
                    <a:pt x="909" y="149"/>
                    <a:pt x="909" y="149"/>
                    <a:pt x="909" y="149"/>
                  </a:cubicBezTo>
                  <a:cubicBezTo>
                    <a:pt x="908" y="150"/>
                    <a:pt x="908" y="150"/>
                    <a:pt x="908" y="150"/>
                  </a:cubicBezTo>
                  <a:cubicBezTo>
                    <a:pt x="908" y="150"/>
                    <a:pt x="908" y="150"/>
                    <a:pt x="908" y="150"/>
                  </a:cubicBezTo>
                  <a:cubicBezTo>
                    <a:pt x="908" y="151"/>
                    <a:pt x="908" y="151"/>
                    <a:pt x="908" y="151"/>
                  </a:cubicBezTo>
                  <a:cubicBezTo>
                    <a:pt x="907" y="154"/>
                    <a:pt x="907" y="154"/>
                    <a:pt x="907" y="154"/>
                  </a:cubicBezTo>
                  <a:cubicBezTo>
                    <a:pt x="907" y="155"/>
                    <a:pt x="907" y="155"/>
                    <a:pt x="907" y="155"/>
                  </a:cubicBezTo>
                  <a:cubicBezTo>
                    <a:pt x="908" y="154"/>
                    <a:pt x="908" y="154"/>
                    <a:pt x="908" y="154"/>
                  </a:cubicBezTo>
                  <a:cubicBezTo>
                    <a:pt x="908" y="154"/>
                    <a:pt x="908" y="154"/>
                    <a:pt x="908" y="154"/>
                  </a:cubicBezTo>
                  <a:cubicBezTo>
                    <a:pt x="908" y="154"/>
                    <a:pt x="908" y="154"/>
                    <a:pt x="908" y="154"/>
                  </a:cubicBezTo>
                  <a:cubicBezTo>
                    <a:pt x="909" y="154"/>
                    <a:pt x="909" y="154"/>
                    <a:pt x="909" y="154"/>
                  </a:cubicBezTo>
                  <a:cubicBezTo>
                    <a:pt x="911" y="155"/>
                    <a:pt x="911" y="155"/>
                    <a:pt x="911" y="155"/>
                  </a:cubicBezTo>
                  <a:cubicBezTo>
                    <a:pt x="911" y="156"/>
                    <a:pt x="911" y="156"/>
                    <a:pt x="911" y="156"/>
                  </a:cubicBezTo>
                  <a:cubicBezTo>
                    <a:pt x="911" y="156"/>
                    <a:pt x="911" y="156"/>
                    <a:pt x="911" y="156"/>
                  </a:cubicBezTo>
                  <a:cubicBezTo>
                    <a:pt x="910" y="157"/>
                    <a:pt x="910" y="157"/>
                    <a:pt x="910" y="157"/>
                  </a:cubicBezTo>
                  <a:cubicBezTo>
                    <a:pt x="909" y="157"/>
                    <a:pt x="909" y="157"/>
                    <a:pt x="909" y="157"/>
                  </a:cubicBezTo>
                  <a:cubicBezTo>
                    <a:pt x="909" y="158"/>
                    <a:pt x="909" y="158"/>
                    <a:pt x="909" y="158"/>
                  </a:cubicBezTo>
                  <a:cubicBezTo>
                    <a:pt x="910" y="159"/>
                    <a:pt x="910" y="159"/>
                    <a:pt x="910" y="159"/>
                  </a:cubicBezTo>
                  <a:cubicBezTo>
                    <a:pt x="910" y="160"/>
                    <a:pt x="910" y="160"/>
                    <a:pt x="910" y="160"/>
                  </a:cubicBezTo>
                  <a:cubicBezTo>
                    <a:pt x="909" y="160"/>
                    <a:pt x="909" y="160"/>
                    <a:pt x="909" y="160"/>
                  </a:cubicBezTo>
                  <a:cubicBezTo>
                    <a:pt x="909" y="161"/>
                    <a:pt x="909" y="161"/>
                    <a:pt x="909" y="161"/>
                  </a:cubicBezTo>
                  <a:cubicBezTo>
                    <a:pt x="909" y="162"/>
                    <a:pt x="909" y="162"/>
                    <a:pt x="909" y="162"/>
                  </a:cubicBezTo>
                  <a:cubicBezTo>
                    <a:pt x="909" y="163"/>
                    <a:pt x="909" y="163"/>
                    <a:pt x="909" y="163"/>
                  </a:cubicBezTo>
                  <a:cubicBezTo>
                    <a:pt x="909" y="164"/>
                    <a:pt x="909" y="164"/>
                    <a:pt x="909" y="164"/>
                  </a:cubicBezTo>
                  <a:cubicBezTo>
                    <a:pt x="909" y="164"/>
                    <a:pt x="909" y="164"/>
                    <a:pt x="909" y="164"/>
                  </a:cubicBezTo>
                  <a:cubicBezTo>
                    <a:pt x="909" y="164"/>
                    <a:pt x="909" y="164"/>
                    <a:pt x="909" y="164"/>
                  </a:cubicBezTo>
                  <a:cubicBezTo>
                    <a:pt x="910" y="164"/>
                    <a:pt x="910" y="164"/>
                    <a:pt x="910" y="164"/>
                  </a:cubicBezTo>
                  <a:cubicBezTo>
                    <a:pt x="910" y="165"/>
                    <a:pt x="910" y="165"/>
                    <a:pt x="910" y="165"/>
                  </a:cubicBezTo>
                  <a:cubicBezTo>
                    <a:pt x="909" y="167"/>
                    <a:pt x="909" y="167"/>
                    <a:pt x="909" y="167"/>
                  </a:cubicBezTo>
                  <a:cubicBezTo>
                    <a:pt x="909" y="168"/>
                    <a:pt x="909" y="168"/>
                    <a:pt x="909" y="168"/>
                  </a:cubicBezTo>
                  <a:cubicBezTo>
                    <a:pt x="910" y="167"/>
                    <a:pt x="910" y="167"/>
                    <a:pt x="910" y="167"/>
                  </a:cubicBezTo>
                  <a:cubicBezTo>
                    <a:pt x="910" y="167"/>
                    <a:pt x="910" y="167"/>
                    <a:pt x="910" y="167"/>
                  </a:cubicBezTo>
                  <a:cubicBezTo>
                    <a:pt x="911" y="166"/>
                    <a:pt x="911" y="166"/>
                    <a:pt x="911" y="166"/>
                  </a:cubicBezTo>
                  <a:cubicBezTo>
                    <a:pt x="911" y="167"/>
                    <a:pt x="911" y="167"/>
                    <a:pt x="911" y="167"/>
                  </a:cubicBezTo>
                  <a:cubicBezTo>
                    <a:pt x="911" y="167"/>
                    <a:pt x="911" y="167"/>
                    <a:pt x="911" y="167"/>
                  </a:cubicBezTo>
                  <a:cubicBezTo>
                    <a:pt x="911" y="167"/>
                    <a:pt x="911" y="167"/>
                    <a:pt x="911" y="167"/>
                  </a:cubicBezTo>
                  <a:cubicBezTo>
                    <a:pt x="911" y="168"/>
                    <a:pt x="911" y="168"/>
                    <a:pt x="911" y="168"/>
                  </a:cubicBezTo>
                  <a:cubicBezTo>
                    <a:pt x="911" y="168"/>
                    <a:pt x="911" y="168"/>
                    <a:pt x="911" y="168"/>
                  </a:cubicBezTo>
                  <a:cubicBezTo>
                    <a:pt x="911" y="168"/>
                    <a:pt x="911" y="168"/>
                    <a:pt x="911" y="168"/>
                  </a:cubicBezTo>
                  <a:cubicBezTo>
                    <a:pt x="911" y="169"/>
                    <a:pt x="911" y="169"/>
                    <a:pt x="911" y="169"/>
                  </a:cubicBezTo>
                  <a:cubicBezTo>
                    <a:pt x="911" y="170"/>
                    <a:pt x="911" y="170"/>
                    <a:pt x="911" y="170"/>
                  </a:cubicBezTo>
                  <a:cubicBezTo>
                    <a:pt x="911" y="171"/>
                    <a:pt x="911" y="171"/>
                    <a:pt x="911" y="171"/>
                  </a:cubicBezTo>
                  <a:cubicBezTo>
                    <a:pt x="911" y="172"/>
                    <a:pt x="911" y="172"/>
                    <a:pt x="911" y="172"/>
                  </a:cubicBezTo>
                  <a:cubicBezTo>
                    <a:pt x="912" y="172"/>
                    <a:pt x="912" y="172"/>
                    <a:pt x="912" y="172"/>
                  </a:cubicBezTo>
                  <a:cubicBezTo>
                    <a:pt x="911" y="171"/>
                    <a:pt x="911" y="171"/>
                    <a:pt x="911" y="171"/>
                  </a:cubicBezTo>
                  <a:cubicBezTo>
                    <a:pt x="911" y="170"/>
                    <a:pt x="911" y="170"/>
                    <a:pt x="911" y="170"/>
                  </a:cubicBezTo>
                  <a:cubicBezTo>
                    <a:pt x="913" y="167"/>
                    <a:pt x="913" y="167"/>
                    <a:pt x="913" y="167"/>
                  </a:cubicBezTo>
                  <a:cubicBezTo>
                    <a:pt x="913" y="168"/>
                    <a:pt x="913" y="168"/>
                    <a:pt x="913" y="168"/>
                  </a:cubicBezTo>
                  <a:cubicBezTo>
                    <a:pt x="913" y="169"/>
                    <a:pt x="913" y="169"/>
                    <a:pt x="913" y="169"/>
                  </a:cubicBezTo>
                  <a:cubicBezTo>
                    <a:pt x="913" y="170"/>
                    <a:pt x="913" y="170"/>
                    <a:pt x="913" y="170"/>
                  </a:cubicBezTo>
                  <a:cubicBezTo>
                    <a:pt x="913" y="170"/>
                    <a:pt x="913" y="170"/>
                    <a:pt x="913" y="170"/>
                  </a:cubicBezTo>
                  <a:cubicBezTo>
                    <a:pt x="913" y="171"/>
                    <a:pt x="913" y="171"/>
                    <a:pt x="913" y="171"/>
                  </a:cubicBezTo>
                  <a:cubicBezTo>
                    <a:pt x="914" y="171"/>
                    <a:pt x="914" y="171"/>
                    <a:pt x="914" y="171"/>
                  </a:cubicBezTo>
                  <a:cubicBezTo>
                    <a:pt x="915" y="171"/>
                    <a:pt x="915" y="171"/>
                    <a:pt x="915" y="171"/>
                  </a:cubicBezTo>
                  <a:cubicBezTo>
                    <a:pt x="915" y="172"/>
                    <a:pt x="915" y="172"/>
                    <a:pt x="915" y="172"/>
                  </a:cubicBezTo>
                  <a:cubicBezTo>
                    <a:pt x="915" y="175"/>
                    <a:pt x="915" y="175"/>
                    <a:pt x="915" y="175"/>
                  </a:cubicBezTo>
                  <a:cubicBezTo>
                    <a:pt x="915" y="176"/>
                    <a:pt x="915" y="176"/>
                    <a:pt x="915" y="176"/>
                  </a:cubicBezTo>
                  <a:cubicBezTo>
                    <a:pt x="914" y="178"/>
                    <a:pt x="914" y="178"/>
                    <a:pt x="914" y="178"/>
                  </a:cubicBezTo>
                  <a:cubicBezTo>
                    <a:pt x="914" y="179"/>
                    <a:pt x="914" y="179"/>
                    <a:pt x="914" y="179"/>
                  </a:cubicBezTo>
                  <a:cubicBezTo>
                    <a:pt x="915" y="178"/>
                    <a:pt x="915" y="178"/>
                    <a:pt x="915" y="178"/>
                  </a:cubicBezTo>
                  <a:cubicBezTo>
                    <a:pt x="915" y="177"/>
                    <a:pt x="915" y="177"/>
                    <a:pt x="915" y="177"/>
                  </a:cubicBezTo>
                  <a:cubicBezTo>
                    <a:pt x="916" y="177"/>
                    <a:pt x="916" y="177"/>
                    <a:pt x="916" y="177"/>
                  </a:cubicBezTo>
                  <a:cubicBezTo>
                    <a:pt x="916" y="177"/>
                    <a:pt x="916" y="177"/>
                    <a:pt x="916" y="177"/>
                  </a:cubicBezTo>
                  <a:cubicBezTo>
                    <a:pt x="916" y="179"/>
                    <a:pt x="916" y="179"/>
                    <a:pt x="916" y="179"/>
                  </a:cubicBezTo>
                  <a:cubicBezTo>
                    <a:pt x="916" y="180"/>
                    <a:pt x="916" y="180"/>
                    <a:pt x="916" y="180"/>
                  </a:cubicBezTo>
                  <a:cubicBezTo>
                    <a:pt x="917" y="180"/>
                    <a:pt x="917" y="180"/>
                    <a:pt x="917" y="180"/>
                  </a:cubicBezTo>
                  <a:cubicBezTo>
                    <a:pt x="917" y="181"/>
                    <a:pt x="917" y="181"/>
                    <a:pt x="917" y="181"/>
                  </a:cubicBezTo>
                  <a:cubicBezTo>
                    <a:pt x="916" y="182"/>
                    <a:pt x="916" y="182"/>
                    <a:pt x="916" y="182"/>
                  </a:cubicBezTo>
                  <a:cubicBezTo>
                    <a:pt x="915" y="182"/>
                    <a:pt x="915" y="182"/>
                    <a:pt x="915" y="182"/>
                  </a:cubicBezTo>
                  <a:cubicBezTo>
                    <a:pt x="915" y="183"/>
                    <a:pt x="915" y="183"/>
                    <a:pt x="915" y="183"/>
                  </a:cubicBezTo>
                  <a:cubicBezTo>
                    <a:pt x="915" y="184"/>
                    <a:pt x="915" y="184"/>
                    <a:pt x="915" y="184"/>
                  </a:cubicBezTo>
                  <a:cubicBezTo>
                    <a:pt x="915" y="185"/>
                    <a:pt x="915" y="185"/>
                    <a:pt x="915" y="185"/>
                  </a:cubicBezTo>
                  <a:cubicBezTo>
                    <a:pt x="914" y="186"/>
                    <a:pt x="914" y="186"/>
                    <a:pt x="914" y="186"/>
                  </a:cubicBezTo>
                  <a:cubicBezTo>
                    <a:pt x="914" y="185"/>
                    <a:pt x="914" y="185"/>
                    <a:pt x="914" y="185"/>
                  </a:cubicBezTo>
                  <a:cubicBezTo>
                    <a:pt x="914" y="186"/>
                    <a:pt x="914" y="186"/>
                    <a:pt x="914" y="186"/>
                  </a:cubicBezTo>
                  <a:cubicBezTo>
                    <a:pt x="914" y="189"/>
                    <a:pt x="914" y="189"/>
                    <a:pt x="914" y="189"/>
                  </a:cubicBezTo>
                  <a:cubicBezTo>
                    <a:pt x="913" y="190"/>
                    <a:pt x="913" y="190"/>
                    <a:pt x="913" y="190"/>
                  </a:cubicBezTo>
                  <a:cubicBezTo>
                    <a:pt x="912" y="194"/>
                    <a:pt x="912" y="194"/>
                    <a:pt x="912" y="194"/>
                  </a:cubicBezTo>
                  <a:cubicBezTo>
                    <a:pt x="914" y="195"/>
                    <a:pt x="914" y="195"/>
                    <a:pt x="914" y="195"/>
                  </a:cubicBezTo>
                  <a:cubicBezTo>
                    <a:pt x="914" y="195"/>
                    <a:pt x="914" y="195"/>
                    <a:pt x="914" y="195"/>
                  </a:cubicBezTo>
                  <a:cubicBezTo>
                    <a:pt x="913" y="197"/>
                    <a:pt x="913" y="197"/>
                    <a:pt x="913" y="197"/>
                  </a:cubicBezTo>
                  <a:cubicBezTo>
                    <a:pt x="914" y="197"/>
                    <a:pt x="914" y="197"/>
                    <a:pt x="914" y="197"/>
                  </a:cubicBezTo>
                  <a:cubicBezTo>
                    <a:pt x="914" y="197"/>
                    <a:pt x="914" y="197"/>
                    <a:pt x="914" y="197"/>
                  </a:cubicBezTo>
                  <a:cubicBezTo>
                    <a:pt x="914" y="197"/>
                    <a:pt x="914" y="197"/>
                    <a:pt x="914" y="197"/>
                  </a:cubicBezTo>
                  <a:cubicBezTo>
                    <a:pt x="915" y="197"/>
                    <a:pt x="915" y="197"/>
                    <a:pt x="915" y="197"/>
                  </a:cubicBezTo>
                  <a:cubicBezTo>
                    <a:pt x="916" y="197"/>
                    <a:pt x="916" y="197"/>
                    <a:pt x="916" y="197"/>
                  </a:cubicBezTo>
                  <a:cubicBezTo>
                    <a:pt x="916" y="197"/>
                    <a:pt x="916" y="197"/>
                    <a:pt x="916" y="197"/>
                  </a:cubicBezTo>
                  <a:cubicBezTo>
                    <a:pt x="917" y="198"/>
                    <a:pt x="917" y="198"/>
                    <a:pt x="917" y="198"/>
                  </a:cubicBezTo>
                  <a:cubicBezTo>
                    <a:pt x="917" y="199"/>
                    <a:pt x="917" y="199"/>
                    <a:pt x="917" y="199"/>
                  </a:cubicBezTo>
                  <a:cubicBezTo>
                    <a:pt x="917" y="199"/>
                    <a:pt x="917" y="199"/>
                    <a:pt x="917" y="199"/>
                  </a:cubicBezTo>
                  <a:cubicBezTo>
                    <a:pt x="917" y="199"/>
                    <a:pt x="917" y="199"/>
                    <a:pt x="917" y="199"/>
                  </a:cubicBezTo>
                  <a:cubicBezTo>
                    <a:pt x="917" y="200"/>
                    <a:pt x="917" y="200"/>
                    <a:pt x="917" y="200"/>
                  </a:cubicBezTo>
                  <a:cubicBezTo>
                    <a:pt x="917" y="200"/>
                    <a:pt x="917" y="200"/>
                    <a:pt x="917" y="200"/>
                  </a:cubicBezTo>
                  <a:cubicBezTo>
                    <a:pt x="917" y="201"/>
                    <a:pt x="917" y="201"/>
                    <a:pt x="917" y="201"/>
                  </a:cubicBezTo>
                  <a:cubicBezTo>
                    <a:pt x="917" y="201"/>
                    <a:pt x="917" y="201"/>
                    <a:pt x="917" y="201"/>
                  </a:cubicBezTo>
                  <a:cubicBezTo>
                    <a:pt x="917" y="202"/>
                    <a:pt x="917" y="202"/>
                    <a:pt x="917" y="202"/>
                  </a:cubicBezTo>
                  <a:cubicBezTo>
                    <a:pt x="918" y="204"/>
                    <a:pt x="918" y="204"/>
                    <a:pt x="918" y="204"/>
                  </a:cubicBezTo>
                  <a:cubicBezTo>
                    <a:pt x="918" y="205"/>
                    <a:pt x="918" y="205"/>
                    <a:pt x="918" y="205"/>
                  </a:cubicBezTo>
                  <a:cubicBezTo>
                    <a:pt x="919" y="205"/>
                    <a:pt x="919" y="205"/>
                    <a:pt x="919" y="205"/>
                  </a:cubicBezTo>
                  <a:cubicBezTo>
                    <a:pt x="919" y="205"/>
                    <a:pt x="919" y="205"/>
                    <a:pt x="919" y="205"/>
                  </a:cubicBezTo>
                  <a:cubicBezTo>
                    <a:pt x="920" y="206"/>
                    <a:pt x="920" y="206"/>
                    <a:pt x="920" y="206"/>
                  </a:cubicBezTo>
                  <a:cubicBezTo>
                    <a:pt x="920" y="206"/>
                    <a:pt x="920" y="206"/>
                    <a:pt x="920" y="206"/>
                  </a:cubicBezTo>
                  <a:cubicBezTo>
                    <a:pt x="920" y="207"/>
                    <a:pt x="920" y="207"/>
                    <a:pt x="920" y="207"/>
                  </a:cubicBezTo>
                  <a:cubicBezTo>
                    <a:pt x="919" y="208"/>
                    <a:pt x="919" y="208"/>
                    <a:pt x="919" y="208"/>
                  </a:cubicBezTo>
                  <a:cubicBezTo>
                    <a:pt x="919" y="209"/>
                    <a:pt x="919" y="209"/>
                    <a:pt x="919" y="209"/>
                  </a:cubicBezTo>
                  <a:cubicBezTo>
                    <a:pt x="920" y="210"/>
                    <a:pt x="920" y="210"/>
                    <a:pt x="920" y="210"/>
                  </a:cubicBezTo>
                  <a:cubicBezTo>
                    <a:pt x="922" y="212"/>
                    <a:pt x="922" y="212"/>
                    <a:pt x="922" y="212"/>
                  </a:cubicBezTo>
                  <a:cubicBezTo>
                    <a:pt x="923" y="213"/>
                    <a:pt x="923" y="213"/>
                    <a:pt x="923" y="213"/>
                  </a:cubicBezTo>
                  <a:cubicBezTo>
                    <a:pt x="922" y="213"/>
                    <a:pt x="922" y="213"/>
                    <a:pt x="922" y="213"/>
                  </a:cubicBezTo>
                  <a:cubicBezTo>
                    <a:pt x="921" y="212"/>
                    <a:pt x="921" y="212"/>
                    <a:pt x="921" y="212"/>
                  </a:cubicBezTo>
                  <a:cubicBezTo>
                    <a:pt x="920" y="212"/>
                    <a:pt x="920" y="212"/>
                    <a:pt x="920" y="212"/>
                  </a:cubicBezTo>
                  <a:cubicBezTo>
                    <a:pt x="920" y="212"/>
                    <a:pt x="920" y="212"/>
                    <a:pt x="920" y="212"/>
                  </a:cubicBezTo>
                  <a:cubicBezTo>
                    <a:pt x="921" y="214"/>
                    <a:pt x="921" y="214"/>
                    <a:pt x="921" y="214"/>
                  </a:cubicBezTo>
                  <a:cubicBezTo>
                    <a:pt x="921" y="214"/>
                    <a:pt x="921" y="214"/>
                    <a:pt x="921" y="214"/>
                  </a:cubicBezTo>
                  <a:cubicBezTo>
                    <a:pt x="921" y="215"/>
                    <a:pt x="921" y="215"/>
                    <a:pt x="921" y="215"/>
                  </a:cubicBezTo>
                  <a:cubicBezTo>
                    <a:pt x="921" y="216"/>
                    <a:pt x="921" y="216"/>
                    <a:pt x="921" y="216"/>
                  </a:cubicBezTo>
                  <a:cubicBezTo>
                    <a:pt x="922" y="216"/>
                    <a:pt x="922" y="216"/>
                    <a:pt x="922" y="216"/>
                  </a:cubicBezTo>
                  <a:cubicBezTo>
                    <a:pt x="922" y="217"/>
                    <a:pt x="922" y="217"/>
                    <a:pt x="922" y="217"/>
                  </a:cubicBezTo>
                  <a:cubicBezTo>
                    <a:pt x="923" y="217"/>
                    <a:pt x="923" y="217"/>
                    <a:pt x="923" y="217"/>
                  </a:cubicBezTo>
                  <a:cubicBezTo>
                    <a:pt x="923" y="220"/>
                    <a:pt x="923" y="220"/>
                    <a:pt x="923" y="220"/>
                  </a:cubicBezTo>
                  <a:cubicBezTo>
                    <a:pt x="924" y="221"/>
                    <a:pt x="924" y="221"/>
                    <a:pt x="924" y="221"/>
                  </a:cubicBezTo>
                  <a:cubicBezTo>
                    <a:pt x="926" y="223"/>
                    <a:pt x="926" y="223"/>
                    <a:pt x="926" y="223"/>
                  </a:cubicBezTo>
                  <a:cubicBezTo>
                    <a:pt x="926" y="224"/>
                    <a:pt x="926" y="224"/>
                    <a:pt x="926" y="224"/>
                  </a:cubicBezTo>
                  <a:cubicBezTo>
                    <a:pt x="925" y="224"/>
                    <a:pt x="925" y="224"/>
                    <a:pt x="925" y="224"/>
                  </a:cubicBezTo>
                  <a:cubicBezTo>
                    <a:pt x="924" y="222"/>
                    <a:pt x="924" y="222"/>
                    <a:pt x="924" y="222"/>
                  </a:cubicBezTo>
                  <a:cubicBezTo>
                    <a:pt x="920" y="221"/>
                    <a:pt x="920" y="221"/>
                    <a:pt x="920" y="221"/>
                  </a:cubicBezTo>
                  <a:cubicBezTo>
                    <a:pt x="920" y="221"/>
                    <a:pt x="920" y="221"/>
                    <a:pt x="920" y="221"/>
                  </a:cubicBezTo>
                  <a:cubicBezTo>
                    <a:pt x="919" y="221"/>
                    <a:pt x="919" y="221"/>
                    <a:pt x="919" y="221"/>
                  </a:cubicBezTo>
                  <a:cubicBezTo>
                    <a:pt x="919" y="221"/>
                    <a:pt x="919" y="221"/>
                    <a:pt x="919" y="221"/>
                  </a:cubicBezTo>
                  <a:cubicBezTo>
                    <a:pt x="919" y="222"/>
                    <a:pt x="919" y="222"/>
                    <a:pt x="919" y="222"/>
                  </a:cubicBezTo>
                  <a:cubicBezTo>
                    <a:pt x="919" y="222"/>
                    <a:pt x="919" y="222"/>
                    <a:pt x="919" y="222"/>
                  </a:cubicBezTo>
                  <a:cubicBezTo>
                    <a:pt x="920" y="224"/>
                    <a:pt x="920" y="224"/>
                    <a:pt x="920" y="224"/>
                  </a:cubicBezTo>
                  <a:cubicBezTo>
                    <a:pt x="921" y="224"/>
                    <a:pt x="921" y="224"/>
                    <a:pt x="921" y="224"/>
                  </a:cubicBezTo>
                  <a:cubicBezTo>
                    <a:pt x="922" y="224"/>
                    <a:pt x="922" y="224"/>
                    <a:pt x="922" y="224"/>
                  </a:cubicBezTo>
                  <a:cubicBezTo>
                    <a:pt x="922" y="224"/>
                    <a:pt x="922" y="224"/>
                    <a:pt x="922" y="224"/>
                  </a:cubicBezTo>
                  <a:cubicBezTo>
                    <a:pt x="922" y="224"/>
                    <a:pt x="922" y="224"/>
                    <a:pt x="922" y="224"/>
                  </a:cubicBezTo>
                  <a:cubicBezTo>
                    <a:pt x="923" y="226"/>
                    <a:pt x="923" y="226"/>
                    <a:pt x="923" y="226"/>
                  </a:cubicBezTo>
                  <a:cubicBezTo>
                    <a:pt x="922" y="227"/>
                    <a:pt x="922" y="227"/>
                    <a:pt x="922" y="227"/>
                  </a:cubicBezTo>
                  <a:cubicBezTo>
                    <a:pt x="918" y="226"/>
                    <a:pt x="918" y="226"/>
                    <a:pt x="918" y="226"/>
                  </a:cubicBezTo>
                  <a:cubicBezTo>
                    <a:pt x="918" y="227"/>
                    <a:pt x="918" y="227"/>
                    <a:pt x="918" y="227"/>
                  </a:cubicBezTo>
                  <a:cubicBezTo>
                    <a:pt x="920" y="228"/>
                    <a:pt x="920" y="228"/>
                    <a:pt x="920" y="228"/>
                  </a:cubicBezTo>
                  <a:cubicBezTo>
                    <a:pt x="921" y="229"/>
                    <a:pt x="921" y="229"/>
                    <a:pt x="921" y="229"/>
                  </a:cubicBezTo>
                  <a:cubicBezTo>
                    <a:pt x="922" y="229"/>
                    <a:pt x="922" y="229"/>
                    <a:pt x="922" y="229"/>
                  </a:cubicBezTo>
                  <a:cubicBezTo>
                    <a:pt x="922" y="230"/>
                    <a:pt x="922" y="230"/>
                    <a:pt x="922" y="230"/>
                  </a:cubicBezTo>
                  <a:cubicBezTo>
                    <a:pt x="921" y="231"/>
                    <a:pt x="921" y="231"/>
                    <a:pt x="921" y="231"/>
                  </a:cubicBezTo>
                  <a:cubicBezTo>
                    <a:pt x="919" y="231"/>
                    <a:pt x="919" y="231"/>
                    <a:pt x="919" y="231"/>
                  </a:cubicBezTo>
                  <a:cubicBezTo>
                    <a:pt x="918" y="231"/>
                    <a:pt x="918" y="231"/>
                    <a:pt x="918" y="231"/>
                  </a:cubicBezTo>
                  <a:cubicBezTo>
                    <a:pt x="919" y="231"/>
                    <a:pt x="919" y="231"/>
                    <a:pt x="919" y="231"/>
                  </a:cubicBezTo>
                  <a:cubicBezTo>
                    <a:pt x="920" y="232"/>
                    <a:pt x="920" y="232"/>
                    <a:pt x="920" y="232"/>
                  </a:cubicBezTo>
                  <a:cubicBezTo>
                    <a:pt x="920" y="232"/>
                    <a:pt x="920" y="232"/>
                    <a:pt x="920" y="232"/>
                  </a:cubicBezTo>
                  <a:cubicBezTo>
                    <a:pt x="920" y="232"/>
                    <a:pt x="920" y="232"/>
                    <a:pt x="920" y="232"/>
                  </a:cubicBezTo>
                  <a:cubicBezTo>
                    <a:pt x="921" y="233"/>
                    <a:pt x="921" y="233"/>
                    <a:pt x="921" y="233"/>
                  </a:cubicBezTo>
                  <a:cubicBezTo>
                    <a:pt x="921" y="234"/>
                    <a:pt x="921" y="234"/>
                    <a:pt x="921" y="234"/>
                  </a:cubicBezTo>
                  <a:cubicBezTo>
                    <a:pt x="921" y="234"/>
                    <a:pt x="921" y="234"/>
                    <a:pt x="921" y="234"/>
                  </a:cubicBezTo>
                  <a:cubicBezTo>
                    <a:pt x="921" y="235"/>
                    <a:pt x="921" y="235"/>
                    <a:pt x="921" y="235"/>
                  </a:cubicBezTo>
                  <a:cubicBezTo>
                    <a:pt x="921" y="235"/>
                    <a:pt x="921" y="235"/>
                    <a:pt x="921" y="235"/>
                  </a:cubicBezTo>
                  <a:cubicBezTo>
                    <a:pt x="921" y="236"/>
                    <a:pt x="921" y="236"/>
                    <a:pt x="921" y="236"/>
                  </a:cubicBezTo>
                  <a:cubicBezTo>
                    <a:pt x="921" y="236"/>
                    <a:pt x="921" y="236"/>
                    <a:pt x="921" y="236"/>
                  </a:cubicBezTo>
                  <a:cubicBezTo>
                    <a:pt x="921" y="236"/>
                    <a:pt x="921" y="236"/>
                    <a:pt x="921" y="236"/>
                  </a:cubicBezTo>
                  <a:cubicBezTo>
                    <a:pt x="921" y="237"/>
                    <a:pt x="921" y="237"/>
                    <a:pt x="921" y="237"/>
                  </a:cubicBezTo>
                  <a:cubicBezTo>
                    <a:pt x="921" y="238"/>
                    <a:pt x="921" y="238"/>
                    <a:pt x="921" y="238"/>
                  </a:cubicBezTo>
                  <a:cubicBezTo>
                    <a:pt x="921" y="238"/>
                    <a:pt x="921" y="238"/>
                    <a:pt x="921" y="238"/>
                  </a:cubicBezTo>
                  <a:cubicBezTo>
                    <a:pt x="921" y="239"/>
                    <a:pt x="921" y="239"/>
                    <a:pt x="921" y="239"/>
                  </a:cubicBezTo>
                  <a:cubicBezTo>
                    <a:pt x="920" y="239"/>
                    <a:pt x="920" y="239"/>
                    <a:pt x="920" y="239"/>
                  </a:cubicBezTo>
                  <a:cubicBezTo>
                    <a:pt x="920" y="240"/>
                    <a:pt x="920" y="240"/>
                    <a:pt x="920" y="240"/>
                  </a:cubicBezTo>
                  <a:cubicBezTo>
                    <a:pt x="920" y="240"/>
                    <a:pt x="920" y="240"/>
                    <a:pt x="920" y="240"/>
                  </a:cubicBezTo>
                  <a:cubicBezTo>
                    <a:pt x="920" y="240"/>
                    <a:pt x="920" y="240"/>
                    <a:pt x="920" y="240"/>
                  </a:cubicBezTo>
                  <a:cubicBezTo>
                    <a:pt x="919" y="241"/>
                    <a:pt x="919" y="241"/>
                    <a:pt x="919" y="241"/>
                  </a:cubicBezTo>
                  <a:cubicBezTo>
                    <a:pt x="921" y="242"/>
                    <a:pt x="921" y="242"/>
                    <a:pt x="921" y="242"/>
                  </a:cubicBezTo>
                  <a:cubicBezTo>
                    <a:pt x="921" y="242"/>
                    <a:pt x="921" y="242"/>
                    <a:pt x="921" y="242"/>
                  </a:cubicBezTo>
                  <a:cubicBezTo>
                    <a:pt x="922" y="244"/>
                    <a:pt x="922" y="244"/>
                    <a:pt x="922" y="244"/>
                  </a:cubicBezTo>
                  <a:cubicBezTo>
                    <a:pt x="921" y="244"/>
                    <a:pt x="921" y="244"/>
                    <a:pt x="921" y="244"/>
                  </a:cubicBezTo>
                  <a:cubicBezTo>
                    <a:pt x="920" y="244"/>
                    <a:pt x="920" y="244"/>
                    <a:pt x="920" y="244"/>
                  </a:cubicBezTo>
                  <a:cubicBezTo>
                    <a:pt x="920" y="244"/>
                    <a:pt x="920" y="244"/>
                    <a:pt x="920" y="244"/>
                  </a:cubicBezTo>
                  <a:cubicBezTo>
                    <a:pt x="920" y="245"/>
                    <a:pt x="920" y="245"/>
                    <a:pt x="920" y="245"/>
                  </a:cubicBezTo>
                  <a:cubicBezTo>
                    <a:pt x="919" y="245"/>
                    <a:pt x="919" y="245"/>
                    <a:pt x="919" y="245"/>
                  </a:cubicBezTo>
                  <a:cubicBezTo>
                    <a:pt x="919" y="245"/>
                    <a:pt x="919" y="245"/>
                    <a:pt x="919" y="245"/>
                  </a:cubicBezTo>
                  <a:cubicBezTo>
                    <a:pt x="918" y="246"/>
                    <a:pt x="918" y="246"/>
                    <a:pt x="918" y="246"/>
                  </a:cubicBezTo>
                  <a:cubicBezTo>
                    <a:pt x="919" y="246"/>
                    <a:pt x="919" y="246"/>
                    <a:pt x="919" y="246"/>
                  </a:cubicBezTo>
                  <a:cubicBezTo>
                    <a:pt x="918" y="246"/>
                    <a:pt x="918" y="246"/>
                    <a:pt x="918" y="246"/>
                  </a:cubicBezTo>
                  <a:cubicBezTo>
                    <a:pt x="918" y="247"/>
                    <a:pt x="918" y="247"/>
                    <a:pt x="918" y="247"/>
                  </a:cubicBezTo>
                  <a:cubicBezTo>
                    <a:pt x="919" y="247"/>
                    <a:pt x="919" y="247"/>
                    <a:pt x="919" y="247"/>
                  </a:cubicBezTo>
                  <a:cubicBezTo>
                    <a:pt x="919" y="247"/>
                    <a:pt x="919" y="247"/>
                    <a:pt x="919" y="247"/>
                  </a:cubicBezTo>
                  <a:cubicBezTo>
                    <a:pt x="918" y="247"/>
                    <a:pt x="918" y="247"/>
                    <a:pt x="918" y="247"/>
                  </a:cubicBezTo>
                  <a:cubicBezTo>
                    <a:pt x="918" y="247"/>
                    <a:pt x="918" y="247"/>
                    <a:pt x="918" y="247"/>
                  </a:cubicBezTo>
                  <a:cubicBezTo>
                    <a:pt x="918" y="248"/>
                    <a:pt x="918" y="248"/>
                    <a:pt x="918" y="248"/>
                  </a:cubicBezTo>
                  <a:cubicBezTo>
                    <a:pt x="919" y="248"/>
                    <a:pt x="919" y="248"/>
                    <a:pt x="919" y="248"/>
                  </a:cubicBezTo>
                  <a:cubicBezTo>
                    <a:pt x="919" y="250"/>
                    <a:pt x="919" y="250"/>
                    <a:pt x="919" y="250"/>
                  </a:cubicBezTo>
                  <a:cubicBezTo>
                    <a:pt x="919" y="251"/>
                    <a:pt x="919" y="251"/>
                    <a:pt x="919" y="251"/>
                  </a:cubicBezTo>
                  <a:cubicBezTo>
                    <a:pt x="919" y="251"/>
                    <a:pt x="919" y="251"/>
                    <a:pt x="919" y="251"/>
                  </a:cubicBezTo>
                  <a:cubicBezTo>
                    <a:pt x="919" y="252"/>
                    <a:pt x="919" y="252"/>
                    <a:pt x="919" y="252"/>
                  </a:cubicBezTo>
                  <a:cubicBezTo>
                    <a:pt x="920" y="252"/>
                    <a:pt x="920" y="252"/>
                    <a:pt x="920" y="252"/>
                  </a:cubicBezTo>
                  <a:cubicBezTo>
                    <a:pt x="919" y="253"/>
                    <a:pt x="919" y="253"/>
                    <a:pt x="919" y="253"/>
                  </a:cubicBezTo>
                  <a:cubicBezTo>
                    <a:pt x="917" y="252"/>
                    <a:pt x="917" y="252"/>
                    <a:pt x="917" y="252"/>
                  </a:cubicBezTo>
                  <a:cubicBezTo>
                    <a:pt x="916" y="252"/>
                    <a:pt x="916" y="252"/>
                    <a:pt x="916" y="252"/>
                  </a:cubicBezTo>
                  <a:cubicBezTo>
                    <a:pt x="917" y="253"/>
                    <a:pt x="917" y="253"/>
                    <a:pt x="917" y="253"/>
                  </a:cubicBezTo>
                  <a:cubicBezTo>
                    <a:pt x="917" y="253"/>
                    <a:pt x="917" y="253"/>
                    <a:pt x="917" y="253"/>
                  </a:cubicBezTo>
                  <a:cubicBezTo>
                    <a:pt x="917" y="253"/>
                    <a:pt x="917" y="253"/>
                    <a:pt x="917" y="253"/>
                  </a:cubicBezTo>
                  <a:cubicBezTo>
                    <a:pt x="917" y="253"/>
                    <a:pt x="917" y="253"/>
                    <a:pt x="917" y="253"/>
                  </a:cubicBezTo>
                  <a:cubicBezTo>
                    <a:pt x="917" y="254"/>
                    <a:pt x="917" y="254"/>
                    <a:pt x="917" y="254"/>
                  </a:cubicBezTo>
                  <a:cubicBezTo>
                    <a:pt x="916" y="253"/>
                    <a:pt x="916" y="253"/>
                    <a:pt x="916" y="253"/>
                  </a:cubicBezTo>
                  <a:cubicBezTo>
                    <a:pt x="915" y="252"/>
                    <a:pt x="915" y="252"/>
                    <a:pt x="915" y="252"/>
                  </a:cubicBezTo>
                  <a:cubicBezTo>
                    <a:pt x="914" y="252"/>
                    <a:pt x="914" y="252"/>
                    <a:pt x="914" y="252"/>
                  </a:cubicBezTo>
                  <a:cubicBezTo>
                    <a:pt x="914" y="253"/>
                    <a:pt x="914" y="253"/>
                    <a:pt x="914" y="253"/>
                  </a:cubicBezTo>
                  <a:cubicBezTo>
                    <a:pt x="914" y="254"/>
                    <a:pt x="914" y="254"/>
                    <a:pt x="914" y="254"/>
                  </a:cubicBezTo>
                  <a:cubicBezTo>
                    <a:pt x="915" y="254"/>
                    <a:pt x="915" y="254"/>
                    <a:pt x="915" y="254"/>
                  </a:cubicBezTo>
                  <a:cubicBezTo>
                    <a:pt x="915" y="255"/>
                    <a:pt x="915" y="255"/>
                    <a:pt x="915" y="255"/>
                  </a:cubicBezTo>
                  <a:cubicBezTo>
                    <a:pt x="914" y="255"/>
                    <a:pt x="914" y="255"/>
                    <a:pt x="914" y="255"/>
                  </a:cubicBezTo>
                  <a:cubicBezTo>
                    <a:pt x="915" y="256"/>
                    <a:pt x="915" y="256"/>
                    <a:pt x="915" y="256"/>
                  </a:cubicBezTo>
                  <a:cubicBezTo>
                    <a:pt x="916" y="259"/>
                    <a:pt x="916" y="259"/>
                    <a:pt x="916" y="259"/>
                  </a:cubicBezTo>
                  <a:cubicBezTo>
                    <a:pt x="917" y="259"/>
                    <a:pt x="917" y="259"/>
                    <a:pt x="917" y="259"/>
                  </a:cubicBezTo>
                  <a:cubicBezTo>
                    <a:pt x="917" y="260"/>
                    <a:pt x="917" y="260"/>
                    <a:pt x="917" y="260"/>
                  </a:cubicBezTo>
                  <a:cubicBezTo>
                    <a:pt x="917" y="260"/>
                    <a:pt x="917" y="260"/>
                    <a:pt x="917" y="260"/>
                  </a:cubicBezTo>
                  <a:cubicBezTo>
                    <a:pt x="917" y="260"/>
                    <a:pt x="917" y="260"/>
                    <a:pt x="917" y="260"/>
                  </a:cubicBezTo>
                  <a:cubicBezTo>
                    <a:pt x="917" y="260"/>
                    <a:pt x="917" y="260"/>
                    <a:pt x="917" y="260"/>
                  </a:cubicBezTo>
                  <a:cubicBezTo>
                    <a:pt x="917" y="261"/>
                    <a:pt x="917" y="261"/>
                    <a:pt x="917" y="261"/>
                  </a:cubicBezTo>
                  <a:cubicBezTo>
                    <a:pt x="918" y="261"/>
                    <a:pt x="918" y="261"/>
                    <a:pt x="918" y="261"/>
                  </a:cubicBezTo>
                  <a:cubicBezTo>
                    <a:pt x="918" y="262"/>
                    <a:pt x="918" y="262"/>
                    <a:pt x="918" y="262"/>
                  </a:cubicBezTo>
                  <a:cubicBezTo>
                    <a:pt x="917" y="262"/>
                    <a:pt x="917" y="262"/>
                    <a:pt x="917" y="262"/>
                  </a:cubicBezTo>
                  <a:cubicBezTo>
                    <a:pt x="917" y="262"/>
                    <a:pt x="917" y="262"/>
                    <a:pt x="917" y="262"/>
                  </a:cubicBezTo>
                  <a:cubicBezTo>
                    <a:pt x="917" y="261"/>
                    <a:pt x="917" y="261"/>
                    <a:pt x="917" y="261"/>
                  </a:cubicBezTo>
                  <a:cubicBezTo>
                    <a:pt x="917" y="261"/>
                    <a:pt x="917" y="261"/>
                    <a:pt x="917" y="261"/>
                  </a:cubicBezTo>
                  <a:cubicBezTo>
                    <a:pt x="917" y="261"/>
                    <a:pt x="917" y="261"/>
                    <a:pt x="917" y="261"/>
                  </a:cubicBezTo>
                  <a:cubicBezTo>
                    <a:pt x="916" y="262"/>
                    <a:pt x="916" y="262"/>
                    <a:pt x="916" y="262"/>
                  </a:cubicBezTo>
                  <a:cubicBezTo>
                    <a:pt x="916" y="262"/>
                    <a:pt x="916" y="262"/>
                    <a:pt x="916" y="262"/>
                  </a:cubicBezTo>
                  <a:cubicBezTo>
                    <a:pt x="916" y="263"/>
                    <a:pt x="916" y="263"/>
                    <a:pt x="916" y="263"/>
                  </a:cubicBezTo>
                  <a:cubicBezTo>
                    <a:pt x="916" y="263"/>
                    <a:pt x="916" y="263"/>
                    <a:pt x="916" y="263"/>
                  </a:cubicBezTo>
                  <a:cubicBezTo>
                    <a:pt x="917" y="263"/>
                    <a:pt x="917" y="263"/>
                    <a:pt x="917" y="263"/>
                  </a:cubicBezTo>
                  <a:cubicBezTo>
                    <a:pt x="917" y="264"/>
                    <a:pt x="917" y="264"/>
                    <a:pt x="917" y="264"/>
                  </a:cubicBezTo>
                  <a:cubicBezTo>
                    <a:pt x="918" y="264"/>
                    <a:pt x="918" y="264"/>
                    <a:pt x="918" y="264"/>
                  </a:cubicBezTo>
                  <a:cubicBezTo>
                    <a:pt x="917" y="264"/>
                    <a:pt x="917" y="264"/>
                    <a:pt x="917" y="264"/>
                  </a:cubicBezTo>
                  <a:cubicBezTo>
                    <a:pt x="917" y="264"/>
                    <a:pt x="917" y="264"/>
                    <a:pt x="917" y="264"/>
                  </a:cubicBezTo>
                  <a:cubicBezTo>
                    <a:pt x="915" y="264"/>
                    <a:pt x="915" y="264"/>
                    <a:pt x="915" y="264"/>
                  </a:cubicBezTo>
                  <a:cubicBezTo>
                    <a:pt x="914" y="264"/>
                    <a:pt x="914" y="264"/>
                    <a:pt x="914" y="264"/>
                  </a:cubicBezTo>
                  <a:cubicBezTo>
                    <a:pt x="915" y="266"/>
                    <a:pt x="915" y="266"/>
                    <a:pt x="915" y="266"/>
                  </a:cubicBezTo>
                  <a:cubicBezTo>
                    <a:pt x="915" y="266"/>
                    <a:pt x="915" y="266"/>
                    <a:pt x="915" y="266"/>
                  </a:cubicBezTo>
                  <a:cubicBezTo>
                    <a:pt x="915" y="267"/>
                    <a:pt x="915" y="267"/>
                    <a:pt x="915" y="267"/>
                  </a:cubicBezTo>
                  <a:cubicBezTo>
                    <a:pt x="915" y="267"/>
                    <a:pt x="915" y="267"/>
                    <a:pt x="915" y="267"/>
                  </a:cubicBezTo>
                  <a:cubicBezTo>
                    <a:pt x="915" y="267"/>
                    <a:pt x="915" y="267"/>
                    <a:pt x="915" y="267"/>
                  </a:cubicBezTo>
                  <a:cubicBezTo>
                    <a:pt x="915" y="267"/>
                    <a:pt x="915" y="267"/>
                    <a:pt x="915" y="267"/>
                  </a:cubicBezTo>
                  <a:cubicBezTo>
                    <a:pt x="916" y="267"/>
                    <a:pt x="916" y="267"/>
                    <a:pt x="916" y="267"/>
                  </a:cubicBezTo>
                  <a:cubicBezTo>
                    <a:pt x="916" y="268"/>
                    <a:pt x="916" y="268"/>
                    <a:pt x="916" y="268"/>
                  </a:cubicBezTo>
                  <a:cubicBezTo>
                    <a:pt x="916" y="269"/>
                    <a:pt x="916" y="269"/>
                    <a:pt x="916" y="269"/>
                  </a:cubicBezTo>
                  <a:cubicBezTo>
                    <a:pt x="916" y="270"/>
                    <a:pt x="916" y="270"/>
                    <a:pt x="916" y="270"/>
                  </a:cubicBezTo>
                  <a:cubicBezTo>
                    <a:pt x="917" y="270"/>
                    <a:pt x="917" y="270"/>
                    <a:pt x="917" y="270"/>
                  </a:cubicBezTo>
                  <a:cubicBezTo>
                    <a:pt x="917" y="270"/>
                    <a:pt x="917" y="270"/>
                    <a:pt x="917" y="270"/>
                  </a:cubicBezTo>
                  <a:cubicBezTo>
                    <a:pt x="918" y="271"/>
                    <a:pt x="918" y="271"/>
                    <a:pt x="918" y="271"/>
                  </a:cubicBezTo>
                  <a:cubicBezTo>
                    <a:pt x="917" y="271"/>
                    <a:pt x="917" y="271"/>
                    <a:pt x="917" y="271"/>
                  </a:cubicBezTo>
                  <a:cubicBezTo>
                    <a:pt x="917" y="271"/>
                    <a:pt x="917" y="271"/>
                    <a:pt x="917" y="271"/>
                  </a:cubicBezTo>
                  <a:cubicBezTo>
                    <a:pt x="917" y="271"/>
                    <a:pt x="917" y="271"/>
                    <a:pt x="917" y="271"/>
                  </a:cubicBezTo>
                  <a:cubicBezTo>
                    <a:pt x="917" y="272"/>
                    <a:pt x="917" y="272"/>
                    <a:pt x="917" y="272"/>
                  </a:cubicBezTo>
                  <a:cubicBezTo>
                    <a:pt x="918" y="272"/>
                    <a:pt x="918" y="272"/>
                    <a:pt x="918" y="272"/>
                  </a:cubicBezTo>
                  <a:cubicBezTo>
                    <a:pt x="918" y="273"/>
                    <a:pt x="918" y="273"/>
                    <a:pt x="918" y="273"/>
                  </a:cubicBezTo>
                  <a:cubicBezTo>
                    <a:pt x="919" y="273"/>
                    <a:pt x="919" y="273"/>
                    <a:pt x="919" y="273"/>
                  </a:cubicBezTo>
                  <a:cubicBezTo>
                    <a:pt x="919" y="273"/>
                    <a:pt x="919" y="273"/>
                    <a:pt x="919" y="273"/>
                  </a:cubicBezTo>
                  <a:cubicBezTo>
                    <a:pt x="918" y="273"/>
                    <a:pt x="918" y="273"/>
                    <a:pt x="918" y="273"/>
                  </a:cubicBezTo>
                  <a:cubicBezTo>
                    <a:pt x="918" y="274"/>
                    <a:pt x="918" y="274"/>
                    <a:pt x="918" y="274"/>
                  </a:cubicBezTo>
                  <a:cubicBezTo>
                    <a:pt x="918" y="274"/>
                    <a:pt x="918" y="274"/>
                    <a:pt x="918" y="274"/>
                  </a:cubicBezTo>
                  <a:cubicBezTo>
                    <a:pt x="918" y="275"/>
                    <a:pt x="918" y="275"/>
                    <a:pt x="918" y="275"/>
                  </a:cubicBezTo>
                  <a:cubicBezTo>
                    <a:pt x="918" y="276"/>
                    <a:pt x="918" y="276"/>
                    <a:pt x="918" y="276"/>
                  </a:cubicBezTo>
                  <a:cubicBezTo>
                    <a:pt x="918" y="276"/>
                    <a:pt x="918" y="276"/>
                    <a:pt x="918" y="276"/>
                  </a:cubicBezTo>
                  <a:cubicBezTo>
                    <a:pt x="916" y="275"/>
                    <a:pt x="916" y="275"/>
                    <a:pt x="916" y="275"/>
                  </a:cubicBezTo>
                  <a:cubicBezTo>
                    <a:pt x="916" y="275"/>
                    <a:pt x="916" y="275"/>
                    <a:pt x="916" y="275"/>
                  </a:cubicBezTo>
                  <a:cubicBezTo>
                    <a:pt x="916" y="276"/>
                    <a:pt x="916" y="276"/>
                    <a:pt x="916" y="276"/>
                  </a:cubicBezTo>
                  <a:cubicBezTo>
                    <a:pt x="916" y="276"/>
                    <a:pt x="916" y="276"/>
                    <a:pt x="916" y="276"/>
                  </a:cubicBezTo>
                  <a:cubicBezTo>
                    <a:pt x="916" y="277"/>
                    <a:pt x="916" y="277"/>
                    <a:pt x="916" y="277"/>
                  </a:cubicBezTo>
                  <a:cubicBezTo>
                    <a:pt x="916" y="278"/>
                    <a:pt x="916" y="278"/>
                    <a:pt x="916" y="278"/>
                  </a:cubicBezTo>
                  <a:cubicBezTo>
                    <a:pt x="917" y="279"/>
                    <a:pt x="917" y="279"/>
                    <a:pt x="917" y="279"/>
                  </a:cubicBezTo>
                  <a:cubicBezTo>
                    <a:pt x="918" y="279"/>
                    <a:pt x="918" y="279"/>
                    <a:pt x="918" y="279"/>
                  </a:cubicBezTo>
                  <a:cubicBezTo>
                    <a:pt x="919" y="280"/>
                    <a:pt x="919" y="280"/>
                    <a:pt x="919" y="280"/>
                  </a:cubicBezTo>
                  <a:cubicBezTo>
                    <a:pt x="919" y="280"/>
                    <a:pt x="919" y="280"/>
                    <a:pt x="919" y="280"/>
                  </a:cubicBezTo>
                  <a:cubicBezTo>
                    <a:pt x="918" y="280"/>
                    <a:pt x="918" y="280"/>
                    <a:pt x="918" y="280"/>
                  </a:cubicBezTo>
                  <a:cubicBezTo>
                    <a:pt x="917" y="280"/>
                    <a:pt x="917" y="280"/>
                    <a:pt x="917" y="280"/>
                  </a:cubicBezTo>
                  <a:cubicBezTo>
                    <a:pt x="918" y="281"/>
                    <a:pt x="918" y="281"/>
                    <a:pt x="918" y="281"/>
                  </a:cubicBezTo>
                  <a:cubicBezTo>
                    <a:pt x="918" y="281"/>
                    <a:pt x="918" y="281"/>
                    <a:pt x="918" y="281"/>
                  </a:cubicBezTo>
                  <a:cubicBezTo>
                    <a:pt x="917" y="281"/>
                    <a:pt x="917" y="281"/>
                    <a:pt x="917" y="281"/>
                  </a:cubicBezTo>
                  <a:cubicBezTo>
                    <a:pt x="917" y="281"/>
                    <a:pt x="917" y="281"/>
                    <a:pt x="917" y="281"/>
                  </a:cubicBezTo>
                  <a:cubicBezTo>
                    <a:pt x="917" y="282"/>
                    <a:pt x="917" y="282"/>
                    <a:pt x="917" y="282"/>
                  </a:cubicBezTo>
                  <a:cubicBezTo>
                    <a:pt x="917" y="282"/>
                    <a:pt x="917" y="282"/>
                    <a:pt x="917" y="282"/>
                  </a:cubicBezTo>
                  <a:cubicBezTo>
                    <a:pt x="918" y="282"/>
                    <a:pt x="918" y="282"/>
                    <a:pt x="918" y="282"/>
                  </a:cubicBezTo>
                  <a:cubicBezTo>
                    <a:pt x="918" y="283"/>
                    <a:pt x="918" y="283"/>
                    <a:pt x="918" y="283"/>
                  </a:cubicBezTo>
                  <a:cubicBezTo>
                    <a:pt x="919" y="283"/>
                    <a:pt x="919" y="283"/>
                    <a:pt x="919" y="283"/>
                  </a:cubicBezTo>
                  <a:cubicBezTo>
                    <a:pt x="920" y="282"/>
                    <a:pt x="920" y="282"/>
                    <a:pt x="920" y="282"/>
                  </a:cubicBezTo>
                  <a:cubicBezTo>
                    <a:pt x="922" y="282"/>
                    <a:pt x="922" y="282"/>
                    <a:pt x="922" y="282"/>
                  </a:cubicBezTo>
                  <a:cubicBezTo>
                    <a:pt x="922" y="283"/>
                    <a:pt x="922" y="283"/>
                    <a:pt x="922" y="283"/>
                  </a:cubicBezTo>
                  <a:cubicBezTo>
                    <a:pt x="922" y="283"/>
                    <a:pt x="922" y="283"/>
                    <a:pt x="922" y="283"/>
                  </a:cubicBezTo>
                  <a:cubicBezTo>
                    <a:pt x="921" y="283"/>
                    <a:pt x="921" y="283"/>
                    <a:pt x="921" y="283"/>
                  </a:cubicBezTo>
                  <a:cubicBezTo>
                    <a:pt x="920" y="283"/>
                    <a:pt x="920" y="283"/>
                    <a:pt x="920" y="283"/>
                  </a:cubicBezTo>
                  <a:cubicBezTo>
                    <a:pt x="922" y="285"/>
                    <a:pt x="922" y="285"/>
                    <a:pt x="922" y="285"/>
                  </a:cubicBezTo>
                  <a:cubicBezTo>
                    <a:pt x="923" y="286"/>
                    <a:pt x="923" y="286"/>
                    <a:pt x="923" y="286"/>
                  </a:cubicBezTo>
                  <a:cubicBezTo>
                    <a:pt x="922" y="287"/>
                    <a:pt x="922" y="287"/>
                    <a:pt x="922" y="287"/>
                  </a:cubicBezTo>
                  <a:cubicBezTo>
                    <a:pt x="922" y="287"/>
                    <a:pt x="922" y="287"/>
                    <a:pt x="922" y="287"/>
                  </a:cubicBezTo>
                  <a:cubicBezTo>
                    <a:pt x="923" y="287"/>
                    <a:pt x="923" y="287"/>
                    <a:pt x="923" y="287"/>
                  </a:cubicBezTo>
                  <a:cubicBezTo>
                    <a:pt x="924" y="287"/>
                    <a:pt x="924" y="287"/>
                    <a:pt x="924" y="287"/>
                  </a:cubicBezTo>
                  <a:cubicBezTo>
                    <a:pt x="925" y="286"/>
                    <a:pt x="925" y="286"/>
                    <a:pt x="925" y="286"/>
                  </a:cubicBezTo>
                  <a:cubicBezTo>
                    <a:pt x="925" y="285"/>
                    <a:pt x="925" y="285"/>
                    <a:pt x="925" y="285"/>
                  </a:cubicBezTo>
                  <a:cubicBezTo>
                    <a:pt x="925" y="285"/>
                    <a:pt x="925" y="285"/>
                    <a:pt x="925" y="285"/>
                  </a:cubicBezTo>
                  <a:cubicBezTo>
                    <a:pt x="925" y="285"/>
                    <a:pt x="925" y="285"/>
                    <a:pt x="925" y="285"/>
                  </a:cubicBezTo>
                  <a:cubicBezTo>
                    <a:pt x="925" y="284"/>
                    <a:pt x="925" y="284"/>
                    <a:pt x="925" y="284"/>
                  </a:cubicBezTo>
                  <a:cubicBezTo>
                    <a:pt x="925" y="284"/>
                    <a:pt x="925" y="284"/>
                    <a:pt x="925" y="284"/>
                  </a:cubicBezTo>
                  <a:cubicBezTo>
                    <a:pt x="925" y="283"/>
                    <a:pt x="925" y="283"/>
                    <a:pt x="925" y="283"/>
                  </a:cubicBezTo>
                  <a:cubicBezTo>
                    <a:pt x="925" y="283"/>
                    <a:pt x="925" y="283"/>
                    <a:pt x="925" y="283"/>
                  </a:cubicBezTo>
                  <a:cubicBezTo>
                    <a:pt x="925" y="282"/>
                    <a:pt x="925" y="282"/>
                    <a:pt x="925" y="282"/>
                  </a:cubicBezTo>
                  <a:cubicBezTo>
                    <a:pt x="927" y="282"/>
                    <a:pt x="927" y="282"/>
                    <a:pt x="927" y="282"/>
                  </a:cubicBezTo>
                  <a:cubicBezTo>
                    <a:pt x="928" y="281"/>
                    <a:pt x="928" y="281"/>
                    <a:pt x="928" y="281"/>
                  </a:cubicBezTo>
                  <a:cubicBezTo>
                    <a:pt x="928" y="280"/>
                    <a:pt x="928" y="280"/>
                    <a:pt x="928" y="280"/>
                  </a:cubicBezTo>
                  <a:cubicBezTo>
                    <a:pt x="930" y="279"/>
                    <a:pt x="930" y="279"/>
                    <a:pt x="930" y="279"/>
                  </a:cubicBezTo>
                  <a:cubicBezTo>
                    <a:pt x="930" y="280"/>
                    <a:pt x="930" y="280"/>
                    <a:pt x="930" y="280"/>
                  </a:cubicBezTo>
                  <a:cubicBezTo>
                    <a:pt x="930" y="280"/>
                    <a:pt x="930" y="280"/>
                    <a:pt x="930" y="280"/>
                  </a:cubicBezTo>
                  <a:cubicBezTo>
                    <a:pt x="930" y="281"/>
                    <a:pt x="930" y="281"/>
                    <a:pt x="930" y="281"/>
                  </a:cubicBezTo>
                  <a:cubicBezTo>
                    <a:pt x="930" y="281"/>
                    <a:pt x="930" y="281"/>
                    <a:pt x="930" y="281"/>
                  </a:cubicBezTo>
                  <a:cubicBezTo>
                    <a:pt x="929" y="281"/>
                    <a:pt x="929" y="281"/>
                    <a:pt x="929" y="281"/>
                  </a:cubicBezTo>
                  <a:cubicBezTo>
                    <a:pt x="929" y="282"/>
                    <a:pt x="929" y="282"/>
                    <a:pt x="929" y="282"/>
                  </a:cubicBezTo>
                  <a:cubicBezTo>
                    <a:pt x="929" y="283"/>
                    <a:pt x="929" y="283"/>
                    <a:pt x="929" y="283"/>
                  </a:cubicBezTo>
                  <a:cubicBezTo>
                    <a:pt x="929" y="284"/>
                    <a:pt x="929" y="284"/>
                    <a:pt x="929" y="284"/>
                  </a:cubicBezTo>
                  <a:cubicBezTo>
                    <a:pt x="929" y="285"/>
                    <a:pt x="929" y="285"/>
                    <a:pt x="929" y="285"/>
                  </a:cubicBezTo>
                  <a:cubicBezTo>
                    <a:pt x="928" y="287"/>
                    <a:pt x="928" y="287"/>
                    <a:pt x="928" y="287"/>
                  </a:cubicBezTo>
                  <a:cubicBezTo>
                    <a:pt x="928" y="288"/>
                    <a:pt x="928" y="288"/>
                    <a:pt x="928" y="288"/>
                  </a:cubicBezTo>
                  <a:cubicBezTo>
                    <a:pt x="929" y="287"/>
                    <a:pt x="929" y="287"/>
                    <a:pt x="929" y="287"/>
                  </a:cubicBezTo>
                  <a:cubicBezTo>
                    <a:pt x="930" y="287"/>
                    <a:pt x="930" y="287"/>
                    <a:pt x="930" y="287"/>
                  </a:cubicBezTo>
                  <a:cubicBezTo>
                    <a:pt x="931" y="288"/>
                    <a:pt x="931" y="288"/>
                    <a:pt x="931" y="288"/>
                  </a:cubicBezTo>
                  <a:cubicBezTo>
                    <a:pt x="930" y="286"/>
                    <a:pt x="930" y="286"/>
                    <a:pt x="930" y="286"/>
                  </a:cubicBezTo>
                  <a:cubicBezTo>
                    <a:pt x="930" y="286"/>
                    <a:pt x="930" y="286"/>
                    <a:pt x="930" y="286"/>
                  </a:cubicBezTo>
                  <a:cubicBezTo>
                    <a:pt x="931" y="285"/>
                    <a:pt x="931" y="285"/>
                    <a:pt x="931" y="285"/>
                  </a:cubicBezTo>
                  <a:cubicBezTo>
                    <a:pt x="931" y="285"/>
                    <a:pt x="931" y="285"/>
                    <a:pt x="931" y="285"/>
                  </a:cubicBezTo>
                  <a:cubicBezTo>
                    <a:pt x="932" y="285"/>
                    <a:pt x="932" y="285"/>
                    <a:pt x="932" y="285"/>
                  </a:cubicBezTo>
                  <a:cubicBezTo>
                    <a:pt x="933" y="285"/>
                    <a:pt x="933" y="285"/>
                    <a:pt x="933" y="285"/>
                  </a:cubicBezTo>
                  <a:cubicBezTo>
                    <a:pt x="933" y="286"/>
                    <a:pt x="933" y="286"/>
                    <a:pt x="933" y="286"/>
                  </a:cubicBezTo>
                  <a:cubicBezTo>
                    <a:pt x="933" y="286"/>
                    <a:pt x="933" y="286"/>
                    <a:pt x="933" y="286"/>
                  </a:cubicBezTo>
                  <a:cubicBezTo>
                    <a:pt x="933" y="287"/>
                    <a:pt x="933" y="287"/>
                    <a:pt x="933" y="287"/>
                  </a:cubicBezTo>
                  <a:cubicBezTo>
                    <a:pt x="933" y="287"/>
                    <a:pt x="933" y="287"/>
                    <a:pt x="933" y="287"/>
                  </a:cubicBezTo>
                  <a:cubicBezTo>
                    <a:pt x="934" y="287"/>
                    <a:pt x="934" y="287"/>
                    <a:pt x="934" y="287"/>
                  </a:cubicBezTo>
                  <a:cubicBezTo>
                    <a:pt x="934" y="288"/>
                    <a:pt x="934" y="288"/>
                    <a:pt x="934" y="288"/>
                  </a:cubicBezTo>
                  <a:cubicBezTo>
                    <a:pt x="934" y="288"/>
                    <a:pt x="934" y="288"/>
                    <a:pt x="934" y="288"/>
                  </a:cubicBezTo>
                  <a:cubicBezTo>
                    <a:pt x="934" y="288"/>
                    <a:pt x="934" y="288"/>
                    <a:pt x="934" y="288"/>
                  </a:cubicBezTo>
                  <a:cubicBezTo>
                    <a:pt x="935" y="288"/>
                    <a:pt x="935" y="288"/>
                    <a:pt x="935" y="288"/>
                  </a:cubicBezTo>
                  <a:cubicBezTo>
                    <a:pt x="935" y="288"/>
                    <a:pt x="935" y="288"/>
                    <a:pt x="935" y="288"/>
                  </a:cubicBezTo>
                  <a:cubicBezTo>
                    <a:pt x="935" y="288"/>
                    <a:pt x="935" y="288"/>
                    <a:pt x="935" y="288"/>
                  </a:cubicBezTo>
                  <a:cubicBezTo>
                    <a:pt x="935" y="288"/>
                    <a:pt x="935" y="288"/>
                    <a:pt x="935" y="288"/>
                  </a:cubicBezTo>
                  <a:cubicBezTo>
                    <a:pt x="935" y="289"/>
                    <a:pt x="935" y="289"/>
                    <a:pt x="935" y="289"/>
                  </a:cubicBezTo>
                  <a:cubicBezTo>
                    <a:pt x="935" y="289"/>
                    <a:pt x="935" y="289"/>
                    <a:pt x="935" y="289"/>
                  </a:cubicBezTo>
                  <a:cubicBezTo>
                    <a:pt x="936" y="290"/>
                    <a:pt x="936" y="290"/>
                    <a:pt x="936" y="290"/>
                  </a:cubicBezTo>
                  <a:cubicBezTo>
                    <a:pt x="937" y="290"/>
                    <a:pt x="937" y="290"/>
                    <a:pt x="937" y="290"/>
                  </a:cubicBezTo>
                  <a:cubicBezTo>
                    <a:pt x="937" y="290"/>
                    <a:pt x="937" y="290"/>
                    <a:pt x="937" y="290"/>
                  </a:cubicBezTo>
                  <a:cubicBezTo>
                    <a:pt x="938" y="289"/>
                    <a:pt x="938" y="289"/>
                    <a:pt x="938" y="289"/>
                  </a:cubicBezTo>
                  <a:cubicBezTo>
                    <a:pt x="938" y="289"/>
                    <a:pt x="938" y="289"/>
                    <a:pt x="938" y="289"/>
                  </a:cubicBezTo>
                  <a:cubicBezTo>
                    <a:pt x="938" y="290"/>
                    <a:pt x="938" y="290"/>
                    <a:pt x="938" y="290"/>
                  </a:cubicBezTo>
                  <a:cubicBezTo>
                    <a:pt x="938" y="290"/>
                    <a:pt x="938" y="290"/>
                    <a:pt x="938" y="290"/>
                  </a:cubicBezTo>
                  <a:cubicBezTo>
                    <a:pt x="939" y="291"/>
                    <a:pt x="939" y="291"/>
                    <a:pt x="939" y="291"/>
                  </a:cubicBezTo>
                  <a:cubicBezTo>
                    <a:pt x="940" y="291"/>
                    <a:pt x="940" y="291"/>
                    <a:pt x="940" y="291"/>
                  </a:cubicBezTo>
                  <a:cubicBezTo>
                    <a:pt x="942" y="292"/>
                    <a:pt x="942" y="292"/>
                    <a:pt x="942" y="292"/>
                  </a:cubicBezTo>
                  <a:cubicBezTo>
                    <a:pt x="943" y="293"/>
                    <a:pt x="943" y="293"/>
                    <a:pt x="943" y="293"/>
                  </a:cubicBezTo>
                  <a:cubicBezTo>
                    <a:pt x="943" y="294"/>
                    <a:pt x="943" y="294"/>
                    <a:pt x="943" y="294"/>
                  </a:cubicBezTo>
                  <a:cubicBezTo>
                    <a:pt x="944" y="294"/>
                    <a:pt x="944" y="294"/>
                    <a:pt x="944" y="294"/>
                  </a:cubicBezTo>
                  <a:cubicBezTo>
                    <a:pt x="949" y="293"/>
                    <a:pt x="949" y="293"/>
                    <a:pt x="949" y="293"/>
                  </a:cubicBezTo>
                  <a:cubicBezTo>
                    <a:pt x="948" y="294"/>
                    <a:pt x="948" y="294"/>
                    <a:pt x="948" y="294"/>
                  </a:cubicBezTo>
                  <a:cubicBezTo>
                    <a:pt x="951" y="294"/>
                    <a:pt x="951" y="294"/>
                    <a:pt x="951" y="294"/>
                  </a:cubicBezTo>
                  <a:cubicBezTo>
                    <a:pt x="952" y="294"/>
                    <a:pt x="952" y="294"/>
                    <a:pt x="952" y="294"/>
                  </a:cubicBezTo>
                  <a:cubicBezTo>
                    <a:pt x="953" y="293"/>
                    <a:pt x="953" y="293"/>
                    <a:pt x="953" y="293"/>
                  </a:cubicBezTo>
                  <a:cubicBezTo>
                    <a:pt x="953" y="293"/>
                    <a:pt x="953" y="293"/>
                    <a:pt x="953" y="293"/>
                  </a:cubicBezTo>
                  <a:cubicBezTo>
                    <a:pt x="953" y="294"/>
                    <a:pt x="953" y="294"/>
                    <a:pt x="953" y="294"/>
                  </a:cubicBezTo>
                  <a:cubicBezTo>
                    <a:pt x="952" y="295"/>
                    <a:pt x="952" y="295"/>
                    <a:pt x="952" y="295"/>
                  </a:cubicBezTo>
                  <a:cubicBezTo>
                    <a:pt x="951" y="297"/>
                    <a:pt x="951" y="297"/>
                    <a:pt x="951" y="297"/>
                  </a:cubicBezTo>
                  <a:cubicBezTo>
                    <a:pt x="951" y="298"/>
                    <a:pt x="951" y="298"/>
                    <a:pt x="951" y="298"/>
                  </a:cubicBezTo>
                  <a:cubicBezTo>
                    <a:pt x="950" y="299"/>
                    <a:pt x="950" y="299"/>
                    <a:pt x="950" y="299"/>
                  </a:cubicBezTo>
                  <a:cubicBezTo>
                    <a:pt x="949" y="300"/>
                    <a:pt x="949" y="300"/>
                    <a:pt x="949" y="300"/>
                  </a:cubicBezTo>
                  <a:cubicBezTo>
                    <a:pt x="949" y="300"/>
                    <a:pt x="949" y="300"/>
                    <a:pt x="949" y="300"/>
                  </a:cubicBezTo>
                  <a:cubicBezTo>
                    <a:pt x="948" y="300"/>
                    <a:pt x="948" y="300"/>
                    <a:pt x="948" y="300"/>
                  </a:cubicBezTo>
                  <a:cubicBezTo>
                    <a:pt x="948" y="301"/>
                    <a:pt x="948" y="301"/>
                    <a:pt x="948" y="301"/>
                  </a:cubicBezTo>
                  <a:cubicBezTo>
                    <a:pt x="948" y="301"/>
                    <a:pt x="948" y="301"/>
                    <a:pt x="948" y="301"/>
                  </a:cubicBezTo>
                  <a:cubicBezTo>
                    <a:pt x="948" y="302"/>
                    <a:pt x="948" y="302"/>
                    <a:pt x="948" y="302"/>
                  </a:cubicBezTo>
                  <a:cubicBezTo>
                    <a:pt x="948" y="302"/>
                    <a:pt x="948" y="302"/>
                    <a:pt x="948" y="302"/>
                  </a:cubicBezTo>
                  <a:cubicBezTo>
                    <a:pt x="950" y="302"/>
                    <a:pt x="950" y="302"/>
                    <a:pt x="950" y="302"/>
                  </a:cubicBezTo>
                  <a:cubicBezTo>
                    <a:pt x="950" y="302"/>
                    <a:pt x="950" y="302"/>
                    <a:pt x="950" y="302"/>
                  </a:cubicBezTo>
                  <a:cubicBezTo>
                    <a:pt x="952" y="300"/>
                    <a:pt x="952" y="300"/>
                    <a:pt x="952" y="300"/>
                  </a:cubicBezTo>
                  <a:cubicBezTo>
                    <a:pt x="953" y="300"/>
                    <a:pt x="953" y="300"/>
                    <a:pt x="953" y="300"/>
                  </a:cubicBezTo>
                  <a:cubicBezTo>
                    <a:pt x="954" y="300"/>
                    <a:pt x="954" y="300"/>
                    <a:pt x="954" y="300"/>
                  </a:cubicBezTo>
                  <a:cubicBezTo>
                    <a:pt x="953" y="301"/>
                    <a:pt x="953" y="301"/>
                    <a:pt x="953" y="301"/>
                  </a:cubicBezTo>
                  <a:cubicBezTo>
                    <a:pt x="952" y="301"/>
                    <a:pt x="952" y="301"/>
                    <a:pt x="952" y="301"/>
                  </a:cubicBezTo>
                  <a:cubicBezTo>
                    <a:pt x="952" y="302"/>
                    <a:pt x="952" y="302"/>
                    <a:pt x="952" y="302"/>
                  </a:cubicBezTo>
                  <a:cubicBezTo>
                    <a:pt x="952" y="303"/>
                    <a:pt x="952" y="303"/>
                    <a:pt x="952" y="303"/>
                  </a:cubicBezTo>
                  <a:cubicBezTo>
                    <a:pt x="952" y="303"/>
                    <a:pt x="952" y="303"/>
                    <a:pt x="952" y="303"/>
                  </a:cubicBezTo>
                  <a:cubicBezTo>
                    <a:pt x="951" y="304"/>
                    <a:pt x="951" y="304"/>
                    <a:pt x="951" y="304"/>
                  </a:cubicBezTo>
                  <a:cubicBezTo>
                    <a:pt x="950" y="304"/>
                    <a:pt x="950" y="304"/>
                    <a:pt x="950" y="304"/>
                  </a:cubicBezTo>
                  <a:cubicBezTo>
                    <a:pt x="951" y="304"/>
                    <a:pt x="951" y="304"/>
                    <a:pt x="951" y="304"/>
                  </a:cubicBezTo>
                  <a:cubicBezTo>
                    <a:pt x="953" y="303"/>
                    <a:pt x="953" y="303"/>
                    <a:pt x="953" y="303"/>
                  </a:cubicBezTo>
                  <a:cubicBezTo>
                    <a:pt x="957" y="302"/>
                    <a:pt x="957" y="302"/>
                    <a:pt x="957" y="302"/>
                  </a:cubicBezTo>
                  <a:cubicBezTo>
                    <a:pt x="961" y="299"/>
                    <a:pt x="961" y="299"/>
                    <a:pt x="961" y="299"/>
                  </a:cubicBezTo>
                  <a:cubicBezTo>
                    <a:pt x="963" y="298"/>
                    <a:pt x="963" y="298"/>
                    <a:pt x="963" y="298"/>
                  </a:cubicBezTo>
                  <a:cubicBezTo>
                    <a:pt x="964" y="298"/>
                    <a:pt x="964" y="298"/>
                    <a:pt x="964" y="298"/>
                  </a:cubicBezTo>
                  <a:cubicBezTo>
                    <a:pt x="965" y="297"/>
                    <a:pt x="965" y="297"/>
                    <a:pt x="965" y="297"/>
                  </a:cubicBezTo>
                  <a:cubicBezTo>
                    <a:pt x="965" y="296"/>
                    <a:pt x="965" y="296"/>
                    <a:pt x="965" y="296"/>
                  </a:cubicBezTo>
                  <a:cubicBezTo>
                    <a:pt x="966" y="295"/>
                    <a:pt x="966" y="295"/>
                    <a:pt x="966" y="295"/>
                  </a:cubicBezTo>
                  <a:cubicBezTo>
                    <a:pt x="967" y="295"/>
                    <a:pt x="967" y="295"/>
                    <a:pt x="967" y="295"/>
                  </a:cubicBezTo>
                  <a:cubicBezTo>
                    <a:pt x="967" y="296"/>
                    <a:pt x="967" y="296"/>
                    <a:pt x="967" y="296"/>
                  </a:cubicBezTo>
                  <a:cubicBezTo>
                    <a:pt x="966" y="296"/>
                    <a:pt x="966" y="296"/>
                    <a:pt x="966" y="296"/>
                  </a:cubicBezTo>
                  <a:cubicBezTo>
                    <a:pt x="966" y="297"/>
                    <a:pt x="966" y="297"/>
                    <a:pt x="966" y="297"/>
                  </a:cubicBezTo>
                  <a:cubicBezTo>
                    <a:pt x="965" y="298"/>
                    <a:pt x="965" y="298"/>
                    <a:pt x="965" y="298"/>
                  </a:cubicBezTo>
                  <a:cubicBezTo>
                    <a:pt x="965" y="299"/>
                    <a:pt x="965" y="299"/>
                    <a:pt x="965" y="299"/>
                  </a:cubicBezTo>
                  <a:cubicBezTo>
                    <a:pt x="965" y="299"/>
                    <a:pt x="965" y="299"/>
                    <a:pt x="965" y="299"/>
                  </a:cubicBezTo>
                  <a:cubicBezTo>
                    <a:pt x="965" y="300"/>
                    <a:pt x="965" y="300"/>
                    <a:pt x="965" y="300"/>
                  </a:cubicBezTo>
                  <a:cubicBezTo>
                    <a:pt x="963" y="302"/>
                    <a:pt x="963" y="302"/>
                    <a:pt x="963" y="302"/>
                  </a:cubicBezTo>
                  <a:cubicBezTo>
                    <a:pt x="962" y="303"/>
                    <a:pt x="962" y="303"/>
                    <a:pt x="962" y="303"/>
                  </a:cubicBezTo>
                  <a:cubicBezTo>
                    <a:pt x="960" y="306"/>
                    <a:pt x="960" y="306"/>
                    <a:pt x="960" y="306"/>
                  </a:cubicBezTo>
                  <a:cubicBezTo>
                    <a:pt x="961" y="306"/>
                    <a:pt x="961" y="306"/>
                    <a:pt x="961" y="306"/>
                  </a:cubicBezTo>
                  <a:cubicBezTo>
                    <a:pt x="961" y="307"/>
                    <a:pt x="961" y="307"/>
                    <a:pt x="961" y="307"/>
                  </a:cubicBezTo>
                  <a:cubicBezTo>
                    <a:pt x="961" y="307"/>
                    <a:pt x="961" y="307"/>
                    <a:pt x="961" y="307"/>
                  </a:cubicBezTo>
                  <a:cubicBezTo>
                    <a:pt x="961" y="308"/>
                    <a:pt x="961" y="308"/>
                    <a:pt x="961" y="308"/>
                  </a:cubicBezTo>
                  <a:cubicBezTo>
                    <a:pt x="961" y="308"/>
                    <a:pt x="961" y="308"/>
                    <a:pt x="961" y="308"/>
                  </a:cubicBezTo>
                  <a:cubicBezTo>
                    <a:pt x="962" y="309"/>
                    <a:pt x="962" y="309"/>
                    <a:pt x="962" y="309"/>
                  </a:cubicBezTo>
                  <a:cubicBezTo>
                    <a:pt x="963" y="309"/>
                    <a:pt x="963" y="309"/>
                    <a:pt x="963" y="309"/>
                  </a:cubicBezTo>
                  <a:cubicBezTo>
                    <a:pt x="963" y="309"/>
                    <a:pt x="963" y="309"/>
                    <a:pt x="963" y="309"/>
                  </a:cubicBezTo>
                  <a:cubicBezTo>
                    <a:pt x="964" y="310"/>
                    <a:pt x="964" y="310"/>
                    <a:pt x="964" y="310"/>
                  </a:cubicBezTo>
                  <a:cubicBezTo>
                    <a:pt x="964" y="311"/>
                    <a:pt x="964" y="311"/>
                    <a:pt x="964" y="311"/>
                  </a:cubicBezTo>
                  <a:cubicBezTo>
                    <a:pt x="964" y="311"/>
                    <a:pt x="964" y="311"/>
                    <a:pt x="964" y="311"/>
                  </a:cubicBezTo>
                  <a:cubicBezTo>
                    <a:pt x="964" y="311"/>
                    <a:pt x="964" y="311"/>
                    <a:pt x="964" y="311"/>
                  </a:cubicBezTo>
                  <a:cubicBezTo>
                    <a:pt x="964" y="310"/>
                    <a:pt x="964" y="310"/>
                    <a:pt x="964" y="310"/>
                  </a:cubicBezTo>
                  <a:cubicBezTo>
                    <a:pt x="965" y="310"/>
                    <a:pt x="965" y="310"/>
                    <a:pt x="965" y="310"/>
                  </a:cubicBezTo>
                  <a:cubicBezTo>
                    <a:pt x="965" y="309"/>
                    <a:pt x="965" y="309"/>
                    <a:pt x="965" y="309"/>
                  </a:cubicBezTo>
                  <a:cubicBezTo>
                    <a:pt x="965" y="309"/>
                    <a:pt x="965" y="309"/>
                    <a:pt x="965" y="309"/>
                  </a:cubicBezTo>
                  <a:cubicBezTo>
                    <a:pt x="966" y="309"/>
                    <a:pt x="966" y="309"/>
                    <a:pt x="966" y="309"/>
                  </a:cubicBezTo>
                  <a:cubicBezTo>
                    <a:pt x="965" y="311"/>
                    <a:pt x="965" y="311"/>
                    <a:pt x="965" y="311"/>
                  </a:cubicBezTo>
                  <a:cubicBezTo>
                    <a:pt x="964" y="311"/>
                    <a:pt x="964" y="311"/>
                    <a:pt x="964" y="311"/>
                  </a:cubicBezTo>
                  <a:cubicBezTo>
                    <a:pt x="964" y="312"/>
                    <a:pt x="964" y="312"/>
                    <a:pt x="964" y="312"/>
                  </a:cubicBezTo>
                  <a:cubicBezTo>
                    <a:pt x="964" y="313"/>
                    <a:pt x="964" y="313"/>
                    <a:pt x="964" y="313"/>
                  </a:cubicBezTo>
                  <a:cubicBezTo>
                    <a:pt x="965" y="314"/>
                    <a:pt x="965" y="314"/>
                    <a:pt x="965" y="314"/>
                  </a:cubicBezTo>
                  <a:cubicBezTo>
                    <a:pt x="965" y="314"/>
                    <a:pt x="965" y="314"/>
                    <a:pt x="965" y="314"/>
                  </a:cubicBezTo>
                  <a:cubicBezTo>
                    <a:pt x="966" y="314"/>
                    <a:pt x="966" y="314"/>
                    <a:pt x="966" y="314"/>
                  </a:cubicBezTo>
                  <a:cubicBezTo>
                    <a:pt x="967" y="314"/>
                    <a:pt x="967" y="314"/>
                    <a:pt x="967" y="314"/>
                  </a:cubicBezTo>
                  <a:cubicBezTo>
                    <a:pt x="970" y="314"/>
                    <a:pt x="970" y="314"/>
                    <a:pt x="970" y="314"/>
                  </a:cubicBezTo>
                  <a:cubicBezTo>
                    <a:pt x="972" y="314"/>
                    <a:pt x="972" y="314"/>
                    <a:pt x="972" y="314"/>
                  </a:cubicBezTo>
                  <a:cubicBezTo>
                    <a:pt x="972" y="315"/>
                    <a:pt x="972" y="315"/>
                    <a:pt x="972" y="315"/>
                  </a:cubicBezTo>
                  <a:cubicBezTo>
                    <a:pt x="971" y="316"/>
                    <a:pt x="971" y="316"/>
                    <a:pt x="971" y="316"/>
                  </a:cubicBezTo>
                  <a:cubicBezTo>
                    <a:pt x="970" y="317"/>
                    <a:pt x="970" y="317"/>
                    <a:pt x="970" y="317"/>
                  </a:cubicBezTo>
                  <a:cubicBezTo>
                    <a:pt x="968" y="318"/>
                    <a:pt x="968" y="318"/>
                    <a:pt x="968" y="318"/>
                  </a:cubicBezTo>
                  <a:cubicBezTo>
                    <a:pt x="968" y="318"/>
                    <a:pt x="968" y="318"/>
                    <a:pt x="968" y="318"/>
                  </a:cubicBezTo>
                  <a:cubicBezTo>
                    <a:pt x="968" y="319"/>
                    <a:pt x="968" y="319"/>
                    <a:pt x="968" y="319"/>
                  </a:cubicBezTo>
                  <a:cubicBezTo>
                    <a:pt x="967" y="320"/>
                    <a:pt x="967" y="320"/>
                    <a:pt x="967" y="320"/>
                  </a:cubicBezTo>
                  <a:cubicBezTo>
                    <a:pt x="967" y="321"/>
                    <a:pt x="967" y="321"/>
                    <a:pt x="967" y="321"/>
                  </a:cubicBezTo>
                  <a:cubicBezTo>
                    <a:pt x="968" y="321"/>
                    <a:pt x="968" y="321"/>
                    <a:pt x="968" y="321"/>
                  </a:cubicBezTo>
                  <a:cubicBezTo>
                    <a:pt x="968" y="321"/>
                    <a:pt x="968" y="321"/>
                    <a:pt x="968" y="321"/>
                  </a:cubicBezTo>
                  <a:cubicBezTo>
                    <a:pt x="968" y="321"/>
                    <a:pt x="968" y="321"/>
                    <a:pt x="968" y="321"/>
                  </a:cubicBezTo>
                  <a:cubicBezTo>
                    <a:pt x="968" y="320"/>
                    <a:pt x="968" y="320"/>
                    <a:pt x="968" y="320"/>
                  </a:cubicBezTo>
                  <a:cubicBezTo>
                    <a:pt x="969" y="321"/>
                    <a:pt x="969" y="321"/>
                    <a:pt x="969" y="321"/>
                  </a:cubicBezTo>
                  <a:cubicBezTo>
                    <a:pt x="969" y="320"/>
                    <a:pt x="969" y="320"/>
                    <a:pt x="969" y="320"/>
                  </a:cubicBezTo>
                  <a:cubicBezTo>
                    <a:pt x="970" y="320"/>
                    <a:pt x="970" y="320"/>
                    <a:pt x="970" y="320"/>
                  </a:cubicBezTo>
                  <a:cubicBezTo>
                    <a:pt x="970" y="320"/>
                    <a:pt x="970" y="320"/>
                    <a:pt x="970" y="320"/>
                  </a:cubicBezTo>
                  <a:cubicBezTo>
                    <a:pt x="970" y="320"/>
                    <a:pt x="970" y="320"/>
                    <a:pt x="970" y="320"/>
                  </a:cubicBezTo>
                  <a:cubicBezTo>
                    <a:pt x="971" y="320"/>
                    <a:pt x="971" y="320"/>
                    <a:pt x="971" y="320"/>
                  </a:cubicBezTo>
                  <a:cubicBezTo>
                    <a:pt x="970" y="320"/>
                    <a:pt x="970" y="320"/>
                    <a:pt x="970" y="320"/>
                  </a:cubicBezTo>
                  <a:cubicBezTo>
                    <a:pt x="970" y="321"/>
                    <a:pt x="970" y="321"/>
                    <a:pt x="970" y="321"/>
                  </a:cubicBezTo>
                  <a:cubicBezTo>
                    <a:pt x="971" y="321"/>
                    <a:pt x="971" y="321"/>
                    <a:pt x="971" y="321"/>
                  </a:cubicBezTo>
                  <a:cubicBezTo>
                    <a:pt x="972" y="320"/>
                    <a:pt x="972" y="320"/>
                    <a:pt x="972" y="320"/>
                  </a:cubicBezTo>
                  <a:cubicBezTo>
                    <a:pt x="974" y="315"/>
                    <a:pt x="974" y="315"/>
                    <a:pt x="974" y="315"/>
                  </a:cubicBezTo>
                  <a:cubicBezTo>
                    <a:pt x="974" y="315"/>
                    <a:pt x="974" y="315"/>
                    <a:pt x="974" y="315"/>
                  </a:cubicBezTo>
                  <a:cubicBezTo>
                    <a:pt x="974" y="316"/>
                    <a:pt x="974" y="316"/>
                    <a:pt x="974" y="316"/>
                  </a:cubicBezTo>
                  <a:cubicBezTo>
                    <a:pt x="974" y="318"/>
                    <a:pt x="974" y="318"/>
                    <a:pt x="974" y="318"/>
                  </a:cubicBezTo>
                  <a:cubicBezTo>
                    <a:pt x="973" y="319"/>
                    <a:pt x="973" y="319"/>
                    <a:pt x="973" y="319"/>
                  </a:cubicBezTo>
                  <a:cubicBezTo>
                    <a:pt x="972" y="321"/>
                    <a:pt x="972" y="321"/>
                    <a:pt x="972" y="321"/>
                  </a:cubicBezTo>
                  <a:cubicBezTo>
                    <a:pt x="972" y="321"/>
                    <a:pt x="972" y="321"/>
                    <a:pt x="972" y="321"/>
                  </a:cubicBezTo>
                  <a:cubicBezTo>
                    <a:pt x="971" y="322"/>
                    <a:pt x="971" y="322"/>
                    <a:pt x="971" y="322"/>
                  </a:cubicBezTo>
                  <a:cubicBezTo>
                    <a:pt x="970" y="322"/>
                    <a:pt x="970" y="322"/>
                    <a:pt x="970" y="322"/>
                  </a:cubicBezTo>
                  <a:cubicBezTo>
                    <a:pt x="970" y="322"/>
                    <a:pt x="970" y="322"/>
                    <a:pt x="970" y="322"/>
                  </a:cubicBezTo>
                  <a:cubicBezTo>
                    <a:pt x="969" y="322"/>
                    <a:pt x="969" y="322"/>
                    <a:pt x="969" y="322"/>
                  </a:cubicBezTo>
                  <a:cubicBezTo>
                    <a:pt x="969" y="322"/>
                    <a:pt x="969" y="322"/>
                    <a:pt x="969" y="322"/>
                  </a:cubicBezTo>
                  <a:cubicBezTo>
                    <a:pt x="969" y="323"/>
                    <a:pt x="969" y="323"/>
                    <a:pt x="969" y="323"/>
                  </a:cubicBezTo>
                  <a:cubicBezTo>
                    <a:pt x="968" y="323"/>
                    <a:pt x="968" y="323"/>
                    <a:pt x="968" y="323"/>
                  </a:cubicBezTo>
                  <a:cubicBezTo>
                    <a:pt x="964" y="325"/>
                    <a:pt x="964" y="325"/>
                    <a:pt x="964" y="325"/>
                  </a:cubicBezTo>
                  <a:cubicBezTo>
                    <a:pt x="963" y="326"/>
                    <a:pt x="963" y="326"/>
                    <a:pt x="963" y="326"/>
                  </a:cubicBezTo>
                  <a:cubicBezTo>
                    <a:pt x="962" y="326"/>
                    <a:pt x="962" y="326"/>
                    <a:pt x="962" y="326"/>
                  </a:cubicBezTo>
                  <a:cubicBezTo>
                    <a:pt x="962" y="327"/>
                    <a:pt x="962" y="327"/>
                    <a:pt x="962" y="327"/>
                  </a:cubicBezTo>
                  <a:cubicBezTo>
                    <a:pt x="961" y="328"/>
                    <a:pt x="961" y="328"/>
                    <a:pt x="961" y="328"/>
                  </a:cubicBezTo>
                  <a:cubicBezTo>
                    <a:pt x="962" y="328"/>
                    <a:pt x="962" y="328"/>
                    <a:pt x="962" y="328"/>
                  </a:cubicBezTo>
                  <a:cubicBezTo>
                    <a:pt x="963" y="328"/>
                    <a:pt x="963" y="328"/>
                    <a:pt x="963" y="328"/>
                  </a:cubicBezTo>
                  <a:cubicBezTo>
                    <a:pt x="964" y="327"/>
                    <a:pt x="964" y="327"/>
                    <a:pt x="964" y="327"/>
                  </a:cubicBezTo>
                  <a:cubicBezTo>
                    <a:pt x="964" y="327"/>
                    <a:pt x="964" y="327"/>
                    <a:pt x="964" y="327"/>
                  </a:cubicBezTo>
                  <a:cubicBezTo>
                    <a:pt x="966" y="327"/>
                    <a:pt x="966" y="327"/>
                    <a:pt x="966" y="327"/>
                  </a:cubicBezTo>
                  <a:cubicBezTo>
                    <a:pt x="967" y="327"/>
                    <a:pt x="967" y="327"/>
                    <a:pt x="967" y="327"/>
                  </a:cubicBezTo>
                  <a:cubicBezTo>
                    <a:pt x="972" y="326"/>
                    <a:pt x="972" y="326"/>
                    <a:pt x="972" y="326"/>
                  </a:cubicBezTo>
                  <a:cubicBezTo>
                    <a:pt x="972" y="326"/>
                    <a:pt x="972" y="326"/>
                    <a:pt x="972" y="326"/>
                  </a:cubicBezTo>
                  <a:cubicBezTo>
                    <a:pt x="971" y="325"/>
                    <a:pt x="971" y="325"/>
                    <a:pt x="971" y="325"/>
                  </a:cubicBezTo>
                  <a:cubicBezTo>
                    <a:pt x="971" y="325"/>
                    <a:pt x="971" y="325"/>
                    <a:pt x="971" y="325"/>
                  </a:cubicBezTo>
                  <a:cubicBezTo>
                    <a:pt x="971" y="324"/>
                    <a:pt x="971" y="324"/>
                    <a:pt x="971" y="324"/>
                  </a:cubicBezTo>
                  <a:cubicBezTo>
                    <a:pt x="971" y="323"/>
                    <a:pt x="971" y="323"/>
                    <a:pt x="971" y="323"/>
                  </a:cubicBezTo>
                  <a:cubicBezTo>
                    <a:pt x="974" y="321"/>
                    <a:pt x="974" y="321"/>
                    <a:pt x="974" y="321"/>
                  </a:cubicBezTo>
                  <a:cubicBezTo>
                    <a:pt x="975" y="320"/>
                    <a:pt x="975" y="320"/>
                    <a:pt x="975" y="320"/>
                  </a:cubicBezTo>
                  <a:cubicBezTo>
                    <a:pt x="976" y="318"/>
                    <a:pt x="976" y="318"/>
                    <a:pt x="976" y="318"/>
                  </a:cubicBezTo>
                  <a:cubicBezTo>
                    <a:pt x="976" y="318"/>
                    <a:pt x="976" y="318"/>
                    <a:pt x="976" y="318"/>
                  </a:cubicBezTo>
                  <a:cubicBezTo>
                    <a:pt x="977" y="317"/>
                    <a:pt x="977" y="317"/>
                    <a:pt x="977" y="317"/>
                  </a:cubicBezTo>
                  <a:cubicBezTo>
                    <a:pt x="977" y="317"/>
                    <a:pt x="977" y="317"/>
                    <a:pt x="977" y="317"/>
                  </a:cubicBezTo>
                  <a:cubicBezTo>
                    <a:pt x="977" y="316"/>
                    <a:pt x="977" y="316"/>
                    <a:pt x="977" y="316"/>
                  </a:cubicBezTo>
                  <a:cubicBezTo>
                    <a:pt x="978" y="316"/>
                    <a:pt x="978" y="316"/>
                    <a:pt x="978" y="316"/>
                  </a:cubicBezTo>
                  <a:cubicBezTo>
                    <a:pt x="978" y="315"/>
                    <a:pt x="978" y="315"/>
                    <a:pt x="978" y="315"/>
                  </a:cubicBezTo>
                  <a:cubicBezTo>
                    <a:pt x="978" y="315"/>
                    <a:pt x="978" y="315"/>
                    <a:pt x="978" y="315"/>
                  </a:cubicBezTo>
                  <a:cubicBezTo>
                    <a:pt x="978" y="315"/>
                    <a:pt x="978" y="315"/>
                    <a:pt x="978" y="315"/>
                  </a:cubicBezTo>
                  <a:cubicBezTo>
                    <a:pt x="979" y="314"/>
                    <a:pt x="979" y="314"/>
                    <a:pt x="979" y="314"/>
                  </a:cubicBezTo>
                  <a:cubicBezTo>
                    <a:pt x="979" y="313"/>
                    <a:pt x="979" y="313"/>
                    <a:pt x="979" y="313"/>
                  </a:cubicBezTo>
                  <a:cubicBezTo>
                    <a:pt x="979" y="313"/>
                    <a:pt x="979" y="313"/>
                    <a:pt x="979" y="313"/>
                  </a:cubicBezTo>
                  <a:cubicBezTo>
                    <a:pt x="979" y="313"/>
                    <a:pt x="979" y="313"/>
                    <a:pt x="979" y="313"/>
                  </a:cubicBezTo>
                  <a:cubicBezTo>
                    <a:pt x="980" y="312"/>
                    <a:pt x="980" y="312"/>
                    <a:pt x="980" y="312"/>
                  </a:cubicBezTo>
                  <a:cubicBezTo>
                    <a:pt x="980" y="313"/>
                    <a:pt x="980" y="313"/>
                    <a:pt x="980" y="313"/>
                  </a:cubicBezTo>
                  <a:cubicBezTo>
                    <a:pt x="980" y="313"/>
                    <a:pt x="980" y="313"/>
                    <a:pt x="980" y="313"/>
                  </a:cubicBezTo>
                  <a:cubicBezTo>
                    <a:pt x="980" y="314"/>
                    <a:pt x="980" y="314"/>
                    <a:pt x="980" y="314"/>
                  </a:cubicBezTo>
                  <a:cubicBezTo>
                    <a:pt x="980" y="315"/>
                    <a:pt x="980" y="315"/>
                    <a:pt x="980" y="315"/>
                  </a:cubicBezTo>
                  <a:cubicBezTo>
                    <a:pt x="980" y="315"/>
                    <a:pt x="980" y="315"/>
                    <a:pt x="980" y="315"/>
                  </a:cubicBezTo>
                  <a:cubicBezTo>
                    <a:pt x="980" y="315"/>
                    <a:pt x="980" y="315"/>
                    <a:pt x="980" y="315"/>
                  </a:cubicBezTo>
                  <a:cubicBezTo>
                    <a:pt x="979" y="315"/>
                    <a:pt x="979" y="315"/>
                    <a:pt x="979" y="315"/>
                  </a:cubicBezTo>
                  <a:cubicBezTo>
                    <a:pt x="979" y="316"/>
                    <a:pt x="979" y="316"/>
                    <a:pt x="979" y="316"/>
                  </a:cubicBezTo>
                  <a:cubicBezTo>
                    <a:pt x="977" y="318"/>
                    <a:pt x="977" y="318"/>
                    <a:pt x="977" y="318"/>
                  </a:cubicBezTo>
                  <a:cubicBezTo>
                    <a:pt x="977" y="319"/>
                    <a:pt x="977" y="319"/>
                    <a:pt x="977" y="319"/>
                  </a:cubicBezTo>
                  <a:cubicBezTo>
                    <a:pt x="978" y="319"/>
                    <a:pt x="978" y="319"/>
                    <a:pt x="978" y="319"/>
                  </a:cubicBezTo>
                  <a:cubicBezTo>
                    <a:pt x="979" y="319"/>
                    <a:pt x="979" y="319"/>
                    <a:pt x="979" y="319"/>
                  </a:cubicBezTo>
                  <a:cubicBezTo>
                    <a:pt x="981" y="318"/>
                    <a:pt x="981" y="318"/>
                    <a:pt x="981" y="318"/>
                  </a:cubicBezTo>
                  <a:cubicBezTo>
                    <a:pt x="981" y="318"/>
                    <a:pt x="981" y="318"/>
                    <a:pt x="981" y="318"/>
                  </a:cubicBezTo>
                  <a:cubicBezTo>
                    <a:pt x="982" y="318"/>
                    <a:pt x="982" y="318"/>
                    <a:pt x="982" y="318"/>
                  </a:cubicBezTo>
                  <a:cubicBezTo>
                    <a:pt x="982" y="319"/>
                    <a:pt x="982" y="319"/>
                    <a:pt x="982" y="319"/>
                  </a:cubicBezTo>
                  <a:cubicBezTo>
                    <a:pt x="982" y="319"/>
                    <a:pt x="982" y="319"/>
                    <a:pt x="982" y="319"/>
                  </a:cubicBezTo>
                  <a:cubicBezTo>
                    <a:pt x="987" y="319"/>
                    <a:pt x="987" y="319"/>
                    <a:pt x="987" y="319"/>
                  </a:cubicBezTo>
                  <a:cubicBezTo>
                    <a:pt x="988" y="319"/>
                    <a:pt x="988" y="319"/>
                    <a:pt x="988" y="319"/>
                  </a:cubicBezTo>
                  <a:cubicBezTo>
                    <a:pt x="990" y="317"/>
                    <a:pt x="990" y="317"/>
                    <a:pt x="990" y="317"/>
                  </a:cubicBezTo>
                  <a:cubicBezTo>
                    <a:pt x="992" y="317"/>
                    <a:pt x="992" y="317"/>
                    <a:pt x="992" y="317"/>
                  </a:cubicBezTo>
                  <a:cubicBezTo>
                    <a:pt x="993" y="316"/>
                    <a:pt x="993" y="316"/>
                    <a:pt x="993" y="316"/>
                  </a:cubicBezTo>
                  <a:cubicBezTo>
                    <a:pt x="993" y="316"/>
                    <a:pt x="993" y="316"/>
                    <a:pt x="993" y="316"/>
                  </a:cubicBezTo>
                  <a:cubicBezTo>
                    <a:pt x="993" y="315"/>
                    <a:pt x="993" y="315"/>
                    <a:pt x="993" y="315"/>
                  </a:cubicBezTo>
                  <a:cubicBezTo>
                    <a:pt x="994" y="315"/>
                    <a:pt x="994" y="315"/>
                    <a:pt x="994" y="315"/>
                  </a:cubicBezTo>
                  <a:cubicBezTo>
                    <a:pt x="994" y="314"/>
                    <a:pt x="994" y="314"/>
                    <a:pt x="994" y="314"/>
                  </a:cubicBezTo>
                  <a:cubicBezTo>
                    <a:pt x="994" y="314"/>
                    <a:pt x="994" y="314"/>
                    <a:pt x="994" y="314"/>
                  </a:cubicBezTo>
                  <a:cubicBezTo>
                    <a:pt x="994" y="315"/>
                    <a:pt x="994" y="315"/>
                    <a:pt x="994" y="315"/>
                  </a:cubicBezTo>
                  <a:cubicBezTo>
                    <a:pt x="994" y="315"/>
                    <a:pt x="994" y="315"/>
                    <a:pt x="994" y="315"/>
                  </a:cubicBezTo>
                  <a:cubicBezTo>
                    <a:pt x="994" y="316"/>
                    <a:pt x="994" y="316"/>
                    <a:pt x="994" y="316"/>
                  </a:cubicBezTo>
                  <a:cubicBezTo>
                    <a:pt x="995" y="316"/>
                    <a:pt x="995" y="316"/>
                    <a:pt x="995" y="316"/>
                  </a:cubicBezTo>
                  <a:cubicBezTo>
                    <a:pt x="995" y="315"/>
                    <a:pt x="995" y="315"/>
                    <a:pt x="995" y="315"/>
                  </a:cubicBezTo>
                  <a:cubicBezTo>
                    <a:pt x="996" y="315"/>
                    <a:pt x="996" y="315"/>
                    <a:pt x="996" y="315"/>
                  </a:cubicBezTo>
                  <a:cubicBezTo>
                    <a:pt x="996" y="315"/>
                    <a:pt x="996" y="315"/>
                    <a:pt x="996" y="315"/>
                  </a:cubicBezTo>
                  <a:cubicBezTo>
                    <a:pt x="997" y="315"/>
                    <a:pt x="997" y="315"/>
                    <a:pt x="997" y="315"/>
                  </a:cubicBezTo>
                  <a:cubicBezTo>
                    <a:pt x="997" y="315"/>
                    <a:pt x="997" y="315"/>
                    <a:pt x="997" y="315"/>
                  </a:cubicBezTo>
                  <a:cubicBezTo>
                    <a:pt x="998" y="315"/>
                    <a:pt x="998" y="315"/>
                    <a:pt x="998" y="315"/>
                  </a:cubicBezTo>
                  <a:cubicBezTo>
                    <a:pt x="998" y="315"/>
                    <a:pt x="998" y="315"/>
                    <a:pt x="998" y="315"/>
                  </a:cubicBezTo>
                  <a:cubicBezTo>
                    <a:pt x="999" y="315"/>
                    <a:pt x="999" y="315"/>
                    <a:pt x="999" y="315"/>
                  </a:cubicBezTo>
                  <a:cubicBezTo>
                    <a:pt x="999" y="315"/>
                    <a:pt x="999" y="315"/>
                    <a:pt x="999" y="315"/>
                  </a:cubicBezTo>
                  <a:cubicBezTo>
                    <a:pt x="999" y="315"/>
                    <a:pt x="999" y="315"/>
                    <a:pt x="999" y="315"/>
                  </a:cubicBezTo>
                  <a:cubicBezTo>
                    <a:pt x="999" y="314"/>
                    <a:pt x="999" y="314"/>
                    <a:pt x="999" y="314"/>
                  </a:cubicBezTo>
                  <a:cubicBezTo>
                    <a:pt x="999" y="314"/>
                    <a:pt x="999" y="314"/>
                    <a:pt x="999" y="314"/>
                  </a:cubicBezTo>
                  <a:cubicBezTo>
                    <a:pt x="1000" y="314"/>
                    <a:pt x="1000" y="314"/>
                    <a:pt x="1000" y="314"/>
                  </a:cubicBezTo>
                  <a:cubicBezTo>
                    <a:pt x="1001" y="314"/>
                    <a:pt x="1001" y="314"/>
                    <a:pt x="1001" y="314"/>
                  </a:cubicBezTo>
                  <a:cubicBezTo>
                    <a:pt x="1001" y="314"/>
                    <a:pt x="1001" y="314"/>
                    <a:pt x="1001" y="314"/>
                  </a:cubicBezTo>
                  <a:cubicBezTo>
                    <a:pt x="1002" y="314"/>
                    <a:pt x="1002" y="314"/>
                    <a:pt x="1002" y="314"/>
                  </a:cubicBezTo>
                  <a:cubicBezTo>
                    <a:pt x="1003" y="313"/>
                    <a:pt x="1003" y="313"/>
                    <a:pt x="1003" y="313"/>
                  </a:cubicBezTo>
                  <a:cubicBezTo>
                    <a:pt x="1002" y="313"/>
                    <a:pt x="1002" y="313"/>
                    <a:pt x="1002" y="313"/>
                  </a:cubicBezTo>
                  <a:cubicBezTo>
                    <a:pt x="1003" y="312"/>
                    <a:pt x="1003" y="312"/>
                    <a:pt x="1003" y="312"/>
                  </a:cubicBezTo>
                  <a:cubicBezTo>
                    <a:pt x="1003" y="312"/>
                    <a:pt x="1003" y="312"/>
                    <a:pt x="1003" y="312"/>
                  </a:cubicBezTo>
                  <a:cubicBezTo>
                    <a:pt x="1005" y="312"/>
                    <a:pt x="1005" y="312"/>
                    <a:pt x="1005" y="312"/>
                  </a:cubicBezTo>
                  <a:cubicBezTo>
                    <a:pt x="1005" y="313"/>
                    <a:pt x="1005" y="313"/>
                    <a:pt x="1005" y="313"/>
                  </a:cubicBezTo>
                  <a:cubicBezTo>
                    <a:pt x="1005" y="314"/>
                    <a:pt x="1005" y="314"/>
                    <a:pt x="1005" y="314"/>
                  </a:cubicBezTo>
                  <a:cubicBezTo>
                    <a:pt x="1005" y="314"/>
                    <a:pt x="1005" y="314"/>
                    <a:pt x="1005" y="314"/>
                  </a:cubicBezTo>
                  <a:cubicBezTo>
                    <a:pt x="1005" y="315"/>
                    <a:pt x="1005" y="315"/>
                    <a:pt x="1005" y="315"/>
                  </a:cubicBezTo>
                  <a:cubicBezTo>
                    <a:pt x="1004" y="315"/>
                    <a:pt x="1004" y="315"/>
                    <a:pt x="1004" y="315"/>
                  </a:cubicBezTo>
                  <a:cubicBezTo>
                    <a:pt x="1004" y="315"/>
                    <a:pt x="1004" y="315"/>
                    <a:pt x="1004" y="315"/>
                  </a:cubicBezTo>
                  <a:cubicBezTo>
                    <a:pt x="1003" y="316"/>
                    <a:pt x="1003" y="316"/>
                    <a:pt x="1003" y="316"/>
                  </a:cubicBezTo>
                  <a:cubicBezTo>
                    <a:pt x="1003" y="317"/>
                    <a:pt x="1003" y="317"/>
                    <a:pt x="1003" y="317"/>
                  </a:cubicBezTo>
                  <a:cubicBezTo>
                    <a:pt x="1004" y="316"/>
                    <a:pt x="1004" y="316"/>
                    <a:pt x="1004" y="316"/>
                  </a:cubicBezTo>
                  <a:cubicBezTo>
                    <a:pt x="1004" y="316"/>
                    <a:pt x="1004" y="316"/>
                    <a:pt x="1004" y="316"/>
                  </a:cubicBezTo>
                  <a:cubicBezTo>
                    <a:pt x="1005" y="315"/>
                    <a:pt x="1005" y="315"/>
                    <a:pt x="1005" y="315"/>
                  </a:cubicBezTo>
                  <a:cubicBezTo>
                    <a:pt x="1005" y="316"/>
                    <a:pt x="1005" y="316"/>
                    <a:pt x="1005" y="316"/>
                  </a:cubicBezTo>
                  <a:cubicBezTo>
                    <a:pt x="1006" y="315"/>
                    <a:pt x="1006" y="315"/>
                    <a:pt x="1006" y="315"/>
                  </a:cubicBezTo>
                  <a:cubicBezTo>
                    <a:pt x="1007" y="314"/>
                    <a:pt x="1007" y="314"/>
                    <a:pt x="1007" y="314"/>
                  </a:cubicBezTo>
                  <a:cubicBezTo>
                    <a:pt x="1008" y="314"/>
                    <a:pt x="1008" y="314"/>
                    <a:pt x="1008" y="314"/>
                  </a:cubicBezTo>
                  <a:cubicBezTo>
                    <a:pt x="1007" y="314"/>
                    <a:pt x="1007" y="314"/>
                    <a:pt x="1007" y="314"/>
                  </a:cubicBezTo>
                  <a:cubicBezTo>
                    <a:pt x="1006" y="316"/>
                    <a:pt x="1006" y="316"/>
                    <a:pt x="1006" y="316"/>
                  </a:cubicBezTo>
                  <a:cubicBezTo>
                    <a:pt x="1006" y="317"/>
                    <a:pt x="1006" y="317"/>
                    <a:pt x="1006" y="317"/>
                  </a:cubicBezTo>
                  <a:cubicBezTo>
                    <a:pt x="1007" y="317"/>
                    <a:pt x="1007" y="317"/>
                    <a:pt x="1007" y="317"/>
                  </a:cubicBezTo>
                  <a:cubicBezTo>
                    <a:pt x="1008" y="317"/>
                    <a:pt x="1008" y="317"/>
                    <a:pt x="1008" y="317"/>
                  </a:cubicBezTo>
                  <a:cubicBezTo>
                    <a:pt x="1008" y="316"/>
                    <a:pt x="1008" y="316"/>
                    <a:pt x="1008" y="316"/>
                  </a:cubicBezTo>
                  <a:cubicBezTo>
                    <a:pt x="1010" y="315"/>
                    <a:pt x="1010" y="315"/>
                    <a:pt x="1010" y="315"/>
                  </a:cubicBezTo>
                  <a:cubicBezTo>
                    <a:pt x="1012" y="313"/>
                    <a:pt x="1012" y="313"/>
                    <a:pt x="1012" y="313"/>
                  </a:cubicBezTo>
                  <a:cubicBezTo>
                    <a:pt x="1012" y="313"/>
                    <a:pt x="1012" y="313"/>
                    <a:pt x="1012" y="313"/>
                  </a:cubicBezTo>
                  <a:cubicBezTo>
                    <a:pt x="1011" y="312"/>
                    <a:pt x="1011" y="312"/>
                    <a:pt x="1011" y="312"/>
                  </a:cubicBezTo>
                  <a:cubicBezTo>
                    <a:pt x="1012" y="312"/>
                    <a:pt x="1012" y="312"/>
                    <a:pt x="1012" y="312"/>
                  </a:cubicBezTo>
                  <a:cubicBezTo>
                    <a:pt x="1012" y="311"/>
                    <a:pt x="1012" y="311"/>
                    <a:pt x="1012" y="311"/>
                  </a:cubicBezTo>
                  <a:cubicBezTo>
                    <a:pt x="1012" y="311"/>
                    <a:pt x="1012" y="311"/>
                    <a:pt x="1012" y="311"/>
                  </a:cubicBezTo>
                  <a:cubicBezTo>
                    <a:pt x="1010" y="312"/>
                    <a:pt x="1010" y="312"/>
                    <a:pt x="1010" y="312"/>
                  </a:cubicBezTo>
                  <a:cubicBezTo>
                    <a:pt x="1010" y="311"/>
                    <a:pt x="1010" y="311"/>
                    <a:pt x="1010" y="311"/>
                  </a:cubicBezTo>
                  <a:cubicBezTo>
                    <a:pt x="1010" y="310"/>
                    <a:pt x="1010" y="310"/>
                    <a:pt x="1010" y="310"/>
                  </a:cubicBezTo>
                  <a:cubicBezTo>
                    <a:pt x="1011" y="310"/>
                    <a:pt x="1011" y="310"/>
                    <a:pt x="1011" y="310"/>
                  </a:cubicBezTo>
                  <a:cubicBezTo>
                    <a:pt x="1011" y="310"/>
                    <a:pt x="1011" y="310"/>
                    <a:pt x="1011" y="310"/>
                  </a:cubicBezTo>
                  <a:cubicBezTo>
                    <a:pt x="1012" y="309"/>
                    <a:pt x="1012" y="309"/>
                    <a:pt x="1012" y="309"/>
                  </a:cubicBezTo>
                  <a:cubicBezTo>
                    <a:pt x="1011" y="309"/>
                    <a:pt x="1011" y="309"/>
                    <a:pt x="1011" y="309"/>
                  </a:cubicBezTo>
                  <a:cubicBezTo>
                    <a:pt x="1011" y="309"/>
                    <a:pt x="1011" y="309"/>
                    <a:pt x="1011" y="309"/>
                  </a:cubicBezTo>
                  <a:cubicBezTo>
                    <a:pt x="1010" y="308"/>
                    <a:pt x="1010" y="308"/>
                    <a:pt x="1010" y="308"/>
                  </a:cubicBezTo>
                  <a:cubicBezTo>
                    <a:pt x="1010" y="308"/>
                    <a:pt x="1010" y="308"/>
                    <a:pt x="1010" y="308"/>
                  </a:cubicBezTo>
                  <a:cubicBezTo>
                    <a:pt x="1010" y="307"/>
                    <a:pt x="1010" y="307"/>
                    <a:pt x="1010" y="307"/>
                  </a:cubicBezTo>
                  <a:cubicBezTo>
                    <a:pt x="1011" y="307"/>
                    <a:pt x="1011" y="307"/>
                    <a:pt x="1011" y="307"/>
                  </a:cubicBezTo>
                  <a:cubicBezTo>
                    <a:pt x="1013" y="309"/>
                    <a:pt x="1013" y="309"/>
                    <a:pt x="1013" y="309"/>
                  </a:cubicBezTo>
                  <a:cubicBezTo>
                    <a:pt x="1013" y="309"/>
                    <a:pt x="1013" y="309"/>
                    <a:pt x="1013" y="309"/>
                  </a:cubicBezTo>
                  <a:cubicBezTo>
                    <a:pt x="1013" y="309"/>
                    <a:pt x="1013" y="309"/>
                    <a:pt x="1013" y="309"/>
                  </a:cubicBezTo>
                  <a:cubicBezTo>
                    <a:pt x="1013" y="310"/>
                    <a:pt x="1013" y="310"/>
                    <a:pt x="1013" y="310"/>
                  </a:cubicBezTo>
                  <a:cubicBezTo>
                    <a:pt x="1013" y="311"/>
                    <a:pt x="1013" y="311"/>
                    <a:pt x="1013" y="311"/>
                  </a:cubicBezTo>
                  <a:cubicBezTo>
                    <a:pt x="1014" y="311"/>
                    <a:pt x="1014" y="311"/>
                    <a:pt x="1014" y="311"/>
                  </a:cubicBezTo>
                  <a:cubicBezTo>
                    <a:pt x="1014" y="310"/>
                    <a:pt x="1014" y="310"/>
                    <a:pt x="1014" y="310"/>
                  </a:cubicBezTo>
                  <a:cubicBezTo>
                    <a:pt x="1014" y="310"/>
                    <a:pt x="1014" y="310"/>
                    <a:pt x="1014" y="310"/>
                  </a:cubicBezTo>
                  <a:cubicBezTo>
                    <a:pt x="1014" y="309"/>
                    <a:pt x="1014" y="309"/>
                    <a:pt x="1014" y="309"/>
                  </a:cubicBezTo>
                  <a:cubicBezTo>
                    <a:pt x="1014" y="309"/>
                    <a:pt x="1014" y="309"/>
                    <a:pt x="1014" y="309"/>
                  </a:cubicBezTo>
                  <a:cubicBezTo>
                    <a:pt x="1014" y="309"/>
                    <a:pt x="1014" y="309"/>
                    <a:pt x="1014" y="309"/>
                  </a:cubicBezTo>
                  <a:cubicBezTo>
                    <a:pt x="1015" y="308"/>
                    <a:pt x="1015" y="308"/>
                    <a:pt x="1015" y="308"/>
                  </a:cubicBezTo>
                  <a:cubicBezTo>
                    <a:pt x="1017" y="308"/>
                    <a:pt x="1017" y="308"/>
                    <a:pt x="1017" y="308"/>
                  </a:cubicBezTo>
                  <a:cubicBezTo>
                    <a:pt x="1017" y="308"/>
                    <a:pt x="1017" y="308"/>
                    <a:pt x="1017" y="308"/>
                  </a:cubicBezTo>
                  <a:cubicBezTo>
                    <a:pt x="1018" y="307"/>
                    <a:pt x="1018" y="307"/>
                    <a:pt x="1018" y="307"/>
                  </a:cubicBezTo>
                  <a:cubicBezTo>
                    <a:pt x="1018" y="307"/>
                    <a:pt x="1018" y="307"/>
                    <a:pt x="1018" y="307"/>
                  </a:cubicBezTo>
                  <a:cubicBezTo>
                    <a:pt x="1018" y="305"/>
                    <a:pt x="1018" y="305"/>
                    <a:pt x="1018" y="305"/>
                  </a:cubicBezTo>
                  <a:cubicBezTo>
                    <a:pt x="1019" y="305"/>
                    <a:pt x="1019" y="305"/>
                    <a:pt x="1019" y="305"/>
                  </a:cubicBezTo>
                  <a:cubicBezTo>
                    <a:pt x="1020" y="306"/>
                    <a:pt x="1020" y="306"/>
                    <a:pt x="1020" y="306"/>
                  </a:cubicBezTo>
                  <a:cubicBezTo>
                    <a:pt x="1020" y="307"/>
                    <a:pt x="1020" y="307"/>
                    <a:pt x="1020" y="307"/>
                  </a:cubicBezTo>
                  <a:cubicBezTo>
                    <a:pt x="1019" y="307"/>
                    <a:pt x="1019" y="307"/>
                    <a:pt x="1019" y="307"/>
                  </a:cubicBezTo>
                  <a:cubicBezTo>
                    <a:pt x="1019" y="308"/>
                    <a:pt x="1019" y="308"/>
                    <a:pt x="1019" y="308"/>
                  </a:cubicBezTo>
                  <a:cubicBezTo>
                    <a:pt x="1020" y="308"/>
                    <a:pt x="1020" y="308"/>
                    <a:pt x="1020" y="308"/>
                  </a:cubicBezTo>
                  <a:cubicBezTo>
                    <a:pt x="1022" y="308"/>
                    <a:pt x="1022" y="308"/>
                    <a:pt x="1022" y="308"/>
                  </a:cubicBezTo>
                  <a:cubicBezTo>
                    <a:pt x="1022" y="308"/>
                    <a:pt x="1022" y="308"/>
                    <a:pt x="1022" y="308"/>
                  </a:cubicBezTo>
                  <a:cubicBezTo>
                    <a:pt x="1023" y="305"/>
                    <a:pt x="1023" y="305"/>
                    <a:pt x="1023" y="305"/>
                  </a:cubicBezTo>
                  <a:cubicBezTo>
                    <a:pt x="1024" y="304"/>
                    <a:pt x="1024" y="304"/>
                    <a:pt x="1024" y="304"/>
                  </a:cubicBezTo>
                  <a:cubicBezTo>
                    <a:pt x="1024" y="304"/>
                    <a:pt x="1024" y="304"/>
                    <a:pt x="1024" y="304"/>
                  </a:cubicBezTo>
                  <a:cubicBezTo>
                    <a:pt x="1024" y="305"/>
                    <a:pt x="1024" y="305"/>
                    <a:pt x="1024" y="305"/>
                  </a:cubicBezTo>
                  <a:cubicBezTo>
                    <a:pt x="1024" y="306"/>
                    <a:pt x="1024" y="306"/>
                    <a:pt x="1024" y="306"/>
                  </a:cubicBezTo>
                  <a:cubicBezTo>
                    <a:pt x="1024" y="306"/>
                    <a:pt x="1024" y="306"/>
                    <a:pt x="1024" y="306"/>
                  </a:cubicBezTo>
                  <a:cubicBezTo>
                    <a:pt x="1024" y="307"/>
                    <a:pt x="1024" y="307"/>
                    <a:pt x="1024" y="307"/>
                  </a:cubicBezTo>
                  <a:cubicBezTo>
                    <a:pt x="1024" y="308"/>
                    <a:pt x="1024" y="308"/>
                    <a:pt x="1024" y="308"/>
                  </a:cubicBezTo>
                  <a:cubicBezTo>
                    <a:pt x="1024" y="308"/>
                    <a:pt x="1024" y="308"/>
                    <a:pt x="1024" y="308"/>
                  </a:cubicBezTo>
                  <a:cubicBezTo>
                    <a:pt x="1025" y="307"/>
                    <a:pt x="1025" y="307"/>
                    <a:pt x="1025" y="307"/>
                  </a:cubicBezTo>
                  <a:cubicBezTo>
                    <a:pt x="1025" y="307"/>
                    <a:pt x="1025" y="307"/>
                    <a:pt x="1025" y="307"/>
                  </a:cubicBezTo>
                  <a:cubicBezTo>
                    <a:pt x="1026" y="307"/>
                    <a:pt x="1026" y="307"/>
                    <a:pt x="1026" y="307"/>
                  </a:cubicBezTo>
                  <a:cubicBezTo>
                    <a:pt x="1025" y="307"/>
                    <a:pt x="1025" y="307"/>
                    <a:pt x="1025" y="307"/>
                  </a:cubicBezTo>
                  <a:cubicBezTo>
                    <a:pt x="1025" y="306"/>
                    <a:pt x="1025" y="306"/>
                    <a:pt x="1025" y="306"/>
                  </a:cubicBezTo>
                  <a:cubicBezTo>
                    <a:pt x="1026" y="305"/>
                    <a:pt x="1026" y="305"/>
                    <a:pt x="1026" y="305"/>
                  </a:cubicBezTo>
                  <a:cubicBezTo>
                    <a:pt x="1026" y="306"/>
                    <a:pt x="1026" y="306"/>
                    <a:pt x="1026" y="306"/>
                  </a:cubicBezTo>
                  <a:cubicBezTo>
                    <a:pt x="1026" y="306"/>
                    <a:pt x="1026" y="306"/>
                    <a:pt x="1026" y="306"/>
                  </a:cubicBezTo>
                  <a:cubicBezTo>
                    <a:pt x="1026" y="306"/>
                    <a:pt x="1026" y="306"/>
                    <a:pt x="1026" y="306"/>
                  </a:cubicBezTo>
                  <a:cubicBezTo>
                    <a:pt x="1027" y="306"/>
                    <a:pt x="1027" y="306"/>
                    <a:pt x="1027" y="306"/>
                  </a:cubicBezTo>
                  <a:cubicBezTo>
                    <a:pt x="1029" y="306"/>
                    <a:pt x="1029" y="306"/>
                    <a:pt x="1029" y="306"/>
                  </a:cubicBezTo>
                  <a:cubicBezTo>
                    <a:pt x="1029" y="305"/>
                    <a:pt x="1029" y="305"/>
                    <a:pt x="1029" y="305"/>
                  </a:cubicBezTo>
                  <a:cubicBezTo>
                    <a:pt x="1029" y="305"/>
                    <a:pt x="1029" y="305"/>
                    <a:pt x="1029" y="305"/>
                  </a:cubicBezTo>
                  <a:cubicBezTo>
                    <a:pt x="1029" y="305"/>
                    <a:pt x="1029" y="305"/>
                    <a:pt x="1029" y="305"/>
                  </a:cubicBezTo>
                  <a:cubicBezTo>
                    <a:pt x="1029" y="304"/>
                    <a:pt x="1029" y="304"/>
                    <a:pt x="1029" y="304"/>
                  </a:cubicBezTo>
                  <a:cubicBezTo>
                    <a:pt x="1029" y="304"/>
                    <a:pt x="1029" y="304"/>
                    <a:pt x="1029" y="304"/>
                  </a:cubicBezTo>
                  <a:cubicBezTo>
                    <a:pt x="1028" y="303"/>
                    <a:pt x="1028" y="303"/>
                    <a:pt x="1028" y="303"/>
                  </a:cubicBezTo>
                  <a:cubicBezTo>
                    <a:pt x="1028" y="303"/>
                    <a:pt x="1028" y="303"/>
                    <a:pt x="1028" y="303"/>
                  </a:cubicBezTo>
                  <a:cubicBezTo>
                    <a:pt x="1029" y="303"/>
                    <a:pt x="1029" y="303"/>
                    <a:pt x="1029" y="303"/>
                  </a:cubicBezTo>
                  <a:cubicBezTo>
                    <a:pt x="1029" y="303"/>
                    <a:pt x="1029" y="303"/>
                    <a:pt x="1029" y="303"/>
                  </a:cubicBezTo>
                  <a:cubicBezTo>
                    <a:pt x="1029" y="303"/>
                    <a:pt x="1029" y="303"/>
                    <a:pt x="1029" y="303"/>
                  </a:cubicBezTo>
                  <a:cubicBezTo>
                    <a:pt x="1029" y="302"/>
                    <a:pt x="1029" y="302"/>
                    <a:pt x="1029" y="302"/>
                  </a:cubicBezTo>
                  <a:cubicBezTo>
                    <a:pt x="1029" y="302"/>
                    <a:pt x="1029" y="302"/>
                    <a:pt x="1029" y="302"/>
                  </a:cubicBezTo>
                  <a:cubicBezTo>
                    <a:pt x="1029" y="302"/>
                    <a:pt x="1029" y="302"/>
                    <a:pt x="1029" y="302"/>
                  </a:cubicBezTo>
                  <a:cubicBezTo>
                    <a:pt x="1032" y="302"/>
                    <a:pt x="1032" y="302"/>
                    <a:pt x="1032" y="302"/>
                  </a:cubicBezTo>
                  <a:cubicBezTo>
                    <a:pt x="1033" y="302"/>
                    <a:pt x="1033" y="302"/>
                    <a:pt x="1033" y="302"/>
                  </a:cubicBezTo>
                  <a:cubicBezTo>
                    <a:pt x="1033" y="301"/>
                    <a:pt x="1033" y="301"/>
                    <a:pt x="1033" y="301"/>
                  </a:cubicBezTo>
                  <a:cubicBezTo>
                    <a:pt x="1033" y="301"/>
                    <a:pt x="1033" y="301"/>
                    <a:pt x="1033" y="301"/>
                  </a:cubicBezTo>
                  <a:cubicBezTo>
                    <a:pt x="1033" y="300"/>
                    <a:pt x="1033" y="300"/>
                    <a:pt x="1033" y="300"/>
                  </a:cubicBezTo>
                  <a:cubicBezTo>
                    <a:pt x="1034" y="301"/>
                    <a:pt x="1034" y="301"/>
                    <a:pt x="1034" y="301"/>
                  </a:cubicBezTo>
                  <a:cubicBezTo>
                    <a:pt x="1034" y="301"/>
                    <a:pt x="1034" y="301"/>
                    <a:pt x="1034" y="301"/>
                  </a:cubicBezTo>
                  <a:cubicBezTo>
                    <a:pt x="1034" y="302"/>
                    <a:pt x="1034" y="302"/>
                    <a:pt x="1034" y="302"/>
                  </a:cubicBezTo>
                  <a:cubicBezTo>
                    <a:pt x="1038" y="302"/>
                    <a:pt x="1038" y="302"/>
                    <a:pt x="1038" y="302"/>
                  </a:cubicBezTo>
                  <a:cubicBezTo>
                    <a:pt x="1039" y="302"/>
                    <a:pt x="1039" y="302"/>
                    <a:pt x="1039" y="302"/>
                  </a:cubicBezTo>
                  <a:cubicBezTo>
                    <a:pt x="1039" y="302"/>
                    <a:pt x="1039" y="302"/>
                    <a:pt x="1039" y="302"/>
                  </a:cubicBezTo>
                  <a:cubicBezTo>
                    <a:pt x="1039" y="300"/>
                    <a:pt x="1039" y="300"/>
                    <a:pt x="1039" y="300"/>
                  </a:cubicBezTo>
                  <a:cubicBezTo>
                    <a:pt x="1039" y="300"/>
                    <a:pt x="1039" y="300"/>
                    <a:pt x="1039" y="300"/>
                  </a:cubicBezTo>
                  <a:cubicBezTo>
                    <a:pt x="1039" y="300"/>
                    <a:pt x="1039" y="300"/>
                    <a:pt x="1039" y="300"/>
                  </a:cubicBezTo>
                  <a:cubicBezTo>
                    <a:pt x="1040" y="300"/>
                    <a:pt x="1040" y="300"/>
                    <a:pt x="1040" y="300"/>
                  </a:cubicBezTo>
                  <a:cubicBezTo>
                    <a:pt x="1040" y="299"/>
                    <a:pt x="1040" y="299"/>
                    <a:pt x="1040" y="299"/>
                  </a:cubicBezTo>
                  <a:cubicBezTo>
                    <a:pt x="1040" y="298"/>
                    <a:pt x="1040" y="298"/>
                    <a:pt x="1040" y="298"/>
                  </a:cubicBezTo>
                  <a:cubicBezTo>
                    <a:pt x="1040" y="298"/>
                    <a:pt x="1040" y="298"/>
                    <a:pt x="1040" y="298"/>
                  </a:cubicBezTo>
                  <a:cubicBezTo>
                    <a:pt x="1039" y="297"/>
                    <a:pt x="1039" y="297"/>
                    <a:pt x="1039" y="297"/>
                  </a:cubicBezTo>
                  <a:cubicBezTo>
                    <a:pt x="1039" y="297"/>
                    <a:pt x="1039" y="297"/>
                    <a:pt x="1039" y="297"/>
                  </a:cubicBezTo>
                  <a:cubicBezTo>
                    <a:pt x="1041" y="296"/>
                    <a:pt x="1041" y="296"/>
                    <a:pt x="1041" y="296"/>
                  </a:cubicBezTo>
                  <a:cubicBezTo>
                    <a:pt x="1042" y="296"/>
                    <a:pt x="1042" y="296"/>
                    <a:pt x="1042" y="296"/>
                  </a:cubicBezTo>
                  <a:cubicBezTo>
                    <a:pt x="1043" y="295"/>
                    <a:pt x="1043" y="295"/>
                    <a:pt x="1043" y="295"/>
                  </a:cubicBezTo>
                  <a:cubicBezTo>
                    <a:pt x="1043" y="295"/>
                    <a:pt x="1043" y="295"/>
                    <a:pt x="1043" y="295"/>
                  </a:cubicBezTo>
                  <a:cubicBezTo>
                    <a:pt x="1044" y="295"/>
                    <a:pt x="1044" y="295"/>
                    <a:pt x="1044" y="295"/>
                  </a:cubicBezTo>
                  <a:cubicBezTo>
                    <a:pt x="1044" y="296"/>
                    <a:pt x="1044" y="296"/>
                    <a:pt x="1044" y="296"/>
                  </a:cubicBezTo>
                  <a:cubicBezTo>
                    <a:pt x="1043" y="296"/>
                    <a:pt x="1043" y="296"/>
                    <a:pt x="1043" y="296"/>
                  </a:cubicBezTo>
                  <a:cubicBezTo>
                    <a:pt x="1043" y="297"/>
                    <a:pt x="1043" y="297"/>
                    <a:pt x="1043" y="297"/>
                  </a:cubicBezTo>
                  <a:cubicBezTo>
                    <a:pt x="1043" y="297"/>
                    <a:pt x="1043" y="297"/>
                    <a:pt x="1043" y="297"/>
                  </a:cubicBezTo>
                  <a:cubicBezTo>
                    <a:pt x="1043" y="297"/>
                    <a:pt x="1043" y="297"/>
                    <a:pt x="1043" y="297"/>
                  </a:cubicBezTo>
                  <a:cubicBezTo>
                    <a:pt x="1043" y="298"/>
                    <a:pt x="1043" y="298"/>
                    <a:pt x="1043" y="298"/>
                  </a:cubicBezTo>
                  <a:cubicBezTo>
                    <a:pt x="1043" y="299"/>
                    <a:pt x="1043" y="299"/>
                    <a:pt x="1043" y="299"/>
                  </a:cubicBezTo>
                  <a:cubicBezTo>
                    <a:pt x="1043" y="299"/>
                    <a:pt x="1043" y="299"/>
                    <a:pt x="1043" y="299"/>
                  </a:cubicBezTo>
                  <a:cubicBezTo>
                    <a:pt x="1045" y="302"/>
                    <a:pt x="1045" y="302"/>
                    <a:pt x="1045" y="302"/>
                  </a:cubicBezTo>
                  <a:cubicBezTo>
                    <a:pt x="1046" y="302"/>
                    <a:pt x="1046" y="302"/>
                    <a:pt x="1046" y="302"/>
                  </a:cubicBezTo>
                  <a:cubicBezTo>
                    <a:pt x="1047" y="302"/>
                    <a:pt x="1047" y="302"/>
                    <a:pt x="1047" y="302"/>
                  </a:cubicBezTo>
                  <a:cubicBezTo>
                    <a:pt x="1047" y="302"/>
                    <a:pt x="1047" y="302"/>
                    <a:pt x="1047" y="302"/>
                  </a:cubicBezTo>
                  <a:cubicBezTo>
                    <a:pt x="1049" y="301"/>
                    <a:pt x="1049" y="301"/>
                    <a:pt x="1049" y="301"/>
                  </a:cubicBezTo>
                  <a:cubicBezTo>
                    <a:pt x="1047" y="300"/>
                    <a:pt x="1047" y="300"/>
                    <a:pt x="1047" y="300"/>
                  </a:cubicBezTo>
                  <a:cubicBezTo>
                    <a:pt x="1046" y="299"/>
                    <a:pt x="1046" y="299"/>
                    <a:pt x="1046" y="299"/>
                  </a:cubicBezTo>
                  <a:cubicBezTo>
                    <a:pt x="1045" y="298"/>
                    <a:pt x="1045" y="298"/>
                    <a:pt x="1045" y="298"/>
                  </a:cubicBezTo>
                  <a:cubicBezTo>
                    <a:pt x="1046" y="297"/>
                    <a:pt x="1046" y="297"/>
                    <a:pt x="1046" y="297"/>
                  </a:cubicBezTo>
                  <a:cubicBezTo>
                    <a:pt x="1046" y="298"/>
                    <a:pt x="1046" y="298"/>
                    <a:pt x="1046" y="298"/>
                  </a:cubicBezTo>
                  <a:cubicBezTo>
                    <a:pt x="1047" y="299"/>
                    <a:pt x="1047" y="299"/>
                    <a:pt x="1047" y="299"/>
                  </a:cubicBezTo>
                  <a:cubicBezTo>
                    <a:pt x="1048" y="299"/>
                    <a:pt x="1048" y="299"/>
                    <a:pt x="1048" y="299"/>
                  </a:cubicBezTo>
                  <a:cubicBezTo>
                    <a:pt x="1048" y="299"/>
                    <a:pt x="1048" y="299"/>
                    <a:pt x="1048" y="299"/>
                  </a:cubicBezTo>
                  <a:cubicBezTo>
                    <a:pt x="1049" y="300"/>
                    <a:pt x="1049" y="300"/>
                    <a:pt x="1049" y="300"/>
                  </a:cubicBezTo>
                  <a:cubicBezTo>
                    <a:pt x="1049" y="300"/>
                    <a:pt x="1049" y="300"/>
                    <a:pt x="1049" y="300"/>
                  </a:cubicBezTo>
                  <a:cubicBezTo>
                    <a:pt x="1049" y="301"/>
                    <a:pt x="1049" y="301"/>
                    <a:pt x="1049" y="301"/>
                  </a:cubicBezTo>
                  <a:cubicBezTo>
                    <a:pt x="1050" y="301"/>
                    <a:pt x="1050" y="301"/>
                    <a:pt x="1050" y="301"/>
                  </a:cubicBezTo>
                  <a:cubicBezTo>
                    <a:pt x="1050" y="302"/>
                    <a:pt x="1050" y="302"/>
                    <a:pt x="1050" y="302"/>
                  </a:cubicBezTo>
                  <a:cubicBezTo>
                    <a:pt x="1050" y="302"/>
                    <a:pt x="1050" y="302"/>
                    <a:pt x="1050" y="302"/>
                  </a:cubicBezTo>
                  <a:cubicBezTo>
                    <a:pt x="1051" y="302"/>
                    <a:pt x="1051" y="302"/>
                    <a:pt x="1051" y="302"/>
                  </a:cubicBezTo>
                  <a:cubicBezTo>
                    <a:pt x="1051" y="301"/>
                    <a:pt x="1051" y="301"/>
                    <a:pt x="1051" y="301"/>
                  </a:cubicBezTo>
                  <a:cubicBezTo>
                    <a:pt x="1050" y="299"/>
                    <a:pt x="1050" y="299"/>
                    <a:pt x="1050" y="299"/>
                  </a:cubicBezTo>
                  <a:cubicBezTo>
                    <a:pt x="1050" y="298"/>
                    <a:pt x="1050" y="298"/>
                    <a:pt x="1050" y="298"/>
                  </a:cubicBezTo>
                  <a:cubicBezTo>
                    <a:pt x="1050" y="298"/>
                    <a:pt x="1050" y="298"/>
                    <a:pt x="1050" y="298"/>
                  </a:cubicBezTo>
                  <a:cubicBezTo>
                    <a:pt x="1050" y="296"/>
                    <a:pt x="1050" y="296"/>
                    <a:pt x="1050" y="296"/>
                  </a:cubicBezTo>
                  <a:cubicBezTo>
                    <a:pt x="1051" y="295"/>
                    <a:pt x="1051" y="295"/>
                    <a:pt x="1051" y="295"/>
                  </a:cubicBezTo>
                  <a:cubicBezTo>
                    <a:pt x="1050" y="295"/>
                    <a:pt x="1050" y="295"/>
                    <a:pt x="1050" y="295"/>
                  </a:cubicBezTo>
                  <a:cubicBezTo>
                    <a:pt x="1049" y="294"/>
                    <a:pt x="1049" y="294"/>
                    <a:pt x="1049" y="294"/>
                  </a:cubicBezTo>
                  <a:cubicBezTo>
                    <a:pt x="1048" y="293"/>
                    <a:pt x="1048" y="293"/>
                    <a:pt x="1048" y="293"/>
                  </a:cubicBezTo>
                  <a:cubicBezTo>
                    <a:pt x="1049" y="293"/>
                    <a:pt x="1049" y="293"/>
                    <a:pt x="1049" y="293"/>
                  </a:cubicBezTo>
                  <a:cubicBezTo>
                    <a:pt x="1050" y="293"/>
                    <a:pt x="1050" y="293"/>
                    <a:pt x="1050" y="293"/>
                  </a:cubicBezTo>
                  <a:cubicBezTo>
                    <a:pt x="1051" y="295"/>
                    <a:pt x="1051" y="295"/>
                    <a:pt x="1051" y="295"/>
                  </a:cubicBezTo>
                  <a:cubicBezTo>
                    <a:pt x="1052" y="295"/>
                    <a:pt x="1052" y="295"/>
                    <a:pt x="1052" y="295"/>
                  </a:cubicBezTo>
                  <a:cubicBezTo>
                    <a:pt x="1052" y="295"/>
                    <a:pt x="1052" y="295"/>
                    <a:pt x="1052" y="295"/>
                  </a:cubicBezTo>
                  <a:cubicBezTo>
                    <a:pt x="1052" y="295"/>
                    <a:pt x="1052" y="295"/>
                    <a:pt x="1052" y="295"/>
                  </a:cubicBezTo>
                  <a:cubicBezTo>
                    <a:pt x="1053" y="295"/>
                    <a:pt x="1053" y="295"/>
                    <a:pt x="1053" y="295"/>
                  </a:cubicBezTo>
                  <a:cubicBezTo>
                    <a:pt x="1053" y="295"/>
                    <a:pt x="1053" y="295"/>
                    <a:pt x="1053" y="295"/>
                  </a:cubicBezTo>
                  <a:cubicBezTo>
                    <a:pt x="1053" y="295"/>
                    <a:pt x="1053" y="295"/>
                    <a:pt x="1053" y="295"/>
                  </a:cubicBezTo>
                  <a:cubicBezTo>
                    <a:pt x="1053" y="295"/>
                    <a:pt x="1053" y="295"/>
                    <a:pt x="1053" y="295"/>
                  </a:cubicBezTo>
                  <a:cubicBezTo>
                    <a:pt x="1054" y="297"/>
                    <a:pt x="1054" y="297"/>
                    <a:pt x="1054" y="297"/>
                  </a:cubicBezTo>
                  <a:cubicBezTo>
                    <a:pt x="1054" y="299"/>
                    <a:pt x="1054" y="299"/>
                    <a:pt x="1054" y="299"/>
                  </a:cubicBezTo>
                  <a:cubicBezTo>
                    <a:pt x="1056" y="298"/>
                    <a:pt x="1056" y="298"/>
                    <a:pt x="1056" y="298"/>
                  </a:cubicBezTo>
                  <a:cubicBezTo>
                    <a:pt x="1056" y="298"/>
                    <a:pt x="1056" y="298"/>
                    <a:pt x="1056" y="298"/>
                  </a:cubicBezTo>
                  <a:cubicBezTo>
                    <a:pt x="1056" y="297"/>
                    <a:pt x="1056" y="297"/>
                    <a:pt x="1056" y="297"/>
                  </a:cubicBezTo>
                  <a:cubicBezTo>
                    <a:pt x="1056" y="296"/>
                    <a:pt x="1056" y="296"/>
                    <a:pt x="1056" y="296"/>
                  </a:cubicBezTo>
                  <a:cubicBezTo>
                    <a:pt x="1056" y="296"/>
                    <a:pt x="1056" y="296"/>
                    <a:pt x="1056" y="296"/>
                  </a:cubicBezTo>
                  <a:cubicBezTo>
                    <a:pt x="1056" y="296"/>
                    <a:pt x="1056" y="296"/>
                    <a:pt x="1056" y="296"/>
                  </a:cubicBezTo>
                  <a:cubicBezTo>
                    <a:pt x="1055" y="296"/>
                    <a:pt x="1055" y="296"/>
                    <a:pt x="1055" y="296"/>
                  </a:cubicBezTo>
                  <a:cubicBezTo>
                    <a:pt x="1055" y="295"/>
                    <a:pt x="1055" y="295"/>
                    <a:pt x="1055" y="295"/>
                  </a:cubicBezTo>
                  <a:cubicBezTo>
                    <a:pt x="1054" y="294"/>
                    <a:pt x="1054" y="294"/>
                    <a:pt x="1054" y="294"/>
                  </a:cubicBezTo>
                  <a:cubicBezTo>
                    <a:pt x="1054" y="293"/>
                    <a:pt x="1054" y="293"/>
                    <a:pt x="1054" y="293"/>
                  </a:cubicBezTo>
                  <a:cubicBezTo>
                    <a:pt x="1053" y="293"/>
                    <a:pt x="1053" y="293"/>
                    <a:pt x="1053" y="293"/>
                  </a:cubicBezTo>
                  <a:cubicBezTo>
                    <a:pt x="1054" y="293"/>
                    <a:pt x="1054" y="293"/>
                    <a:pt x="1054" y="293"/>
                  </a:cubicBezTo>
                  <a:cubicBezTo>
                    <a:pt x="1054" y="293"/>
                    <a:pt x="1054" y="293"/>
                    <a:pt x="1054" y="293"/>
                  </a:cubicBezTo>
                  <a:cubicBezTo>
                    <a:pt x="1054" y="292"/>
                    <a:pt x="1054" y="292"/>
                    <a:pt x="1054" y="292"/>
                  </a:cubicBezTo>
                  <a:cubicBezTo>
                    <a:pt x="1054" y="292"/>
                    <a:pt x="1054" y="292"/>
                    <a:pt x="1054" y="292"/>
                  </a:cubicBezTo>
                  <a:cubicBezTo>
                    <a:pt x="1054" y="291"/>
                    <a:pt x="1054" y="291"/>
                    <a:pt x="1054" y="291"/>
                  </a:cubicBezTo>
                  <a:cubicBezTo>
                    <a:pt x="1054" y="291"/>
                    <a:pt x="1054" y="291"/>
                    <a:pt x="1054" y="291"/>
                  </a:cubicBezTo>
                  <a:cubicBezTo>
                    <a:pt x="1053" y="290"/>
                    <a:pt x="1053" y="290"/>
                    <a:pt x="1053" y="290"/>
                  </a:cubicBezTo>
                  <a:cubicBezTo>
                    <a:pt x="1053" y="289"/>
                    <a:pt x="1053" y="289"/>
                    <a:pt x="1053" y="289"/>
                  </a:cubicBezTo>
                  <a:cubicBezTo>
                    <a:pt x="1052" y="289"/>
                    <a:pt x="1052" y="289"/>
                    <a:pt x="1052" y="289"/>
                  </a:cubicBezTo>
                  <a:cubicBezTo>
                    <a:pt x="1051" y="288"/>
                    <a:pt x="1051" y="288"/>
                    <a:pt x="1051" y="288"/>
                  </a:cubicBezTo>
                  <a:cubicBezTo>
                    <a:pt x="1051" y="287"/>
                    <a:pt x="1051" y="287"/>
                    <a:pt x="1051" y="287"/>
                  </a:cubicBezTo>
                  <a:cubicBezTo>
                    <a:pt x="1051" y="288"/>
                    <a:pt x="1051" y="288"/>
                    <a:pt x="1051" y="288"/>
                  </a:cubicBezTo>
                  <a:cubicBezTo>
                    <a:pt x="1053" y="288"/>
                    <a:pt x="1053" y="288"/>
                    <a:pt x="1053" y="288"/>
                  </a:cubicBezTo>
                  <a:cubicBezTo>
                    <a:pt x="1054" y="289"/>
                    <a:pt x="1054" y="289"/>
                    <a:pt x="1054" y="289"/>
                  </a:cubicBezTo>
                  <a:cubicBezTo>
                    <a:pt x="1055" y="290"/>
                    <a:pt x="1055" y="290"/>
                    <a:pt x="1055" y="290"/>
                  </a:cubicBezTo>
                  <a:cubicBezTo>
                    <a:pt x="1055" y="291"/>
                    <a:pt x="1055" y="291"/>
                    <a:pt x="1055" y="291"/>
                  </a:cubicBezTo>
                  <a:cubicBezTo>
                    <a:pt x="1056" y="291"/>
                    <a:pt x="1056" y="291"/>
                    <a:pt x="1056" y="291"/>
                  </a:cubicBezTo>
                  <a:cubicBezTo>
                    <a:pt x="1057" y="293"/>
                    <a:pt x="1057" y="293"/>
                    <a:pt x="1057" y="293"/>
                  </a:cubicBezTo>
                  <a:cubicBezTo>
                    <a:pt x="1057" y="293"/>
                    <a:pt x="1057" y="293"/>
                    <a:pt x="1057" y="293"/>
                  </a:cubicBezTo>
                  <a:cubicBezTo>
                    <a:pt x="1057" y="293"/>
                    <a:pt x="1057" y="293"/>
                    <a:pt x="1057" y="293"/>
                  </a:cubicBezTo>
                  <a:cubicBezTo>
                    <a:pt x="1058" y="292"/>
                    <a:pt x="1058" y="292"/>
                    <a:pt x="1058" y="292"/>
                  </a:cubicBezTo>
                  <a:cubicBezTo>
                    <a:pt x="1058" y="292"/>
                    <a:pt x="1058" y="292"/>
                    <a:pt x="1058" y="292"/>
                  </a:cubicBezTo>
                  <a:cubicBezTo>
                    <a:pt x="1061" y="293"/>
                    <a:pt x="1061" y="293"/>
                    <a:pt x="1061" y="293"/>
                  </a:cubicBezTo>
                  <a:cubicBezTo>
                    <a:pt x="1060" y="291"/>
                    <a:pt x="1060" y="291"/>
                    <a:pt x="1060" y="291"/>
                  </a:cubicBezTo>
                  <a:cubicBezTo>
                    <a:pt x="1060" y="290"/>
                    <a:pt x="1060" y="290"/>
                    <a:pt x="1060" y="290"/>
                  </a:cubicBezTo>
                  <a:cubicBezTo>
                    <a:pt x="1060" y="290"/>
                    <a:pt x="1060" y="290"/>
                    <a:pt x="1060" y="290"/>
                  </a:cubicBezTo>
                  <a:cubicBezTo>
                    <a:pt x="1060" y="290"/>
                    <a:pt x="1060" y="290"/>
                    <a:pt x="1060" y="290"/>
                  </a:cubicBezTo>
                  <a:cubicBezTo>
                    <a:pt x="1061" y="290"/>
                    <a:pt x="1061" y="290"/>
                    <a:pt x="1061" y="290"/>
                  </a:cubicBezTo>
                  <a:cubicBezTo>
                    <a:pt x="1061" y="291"/>
                    <a:pt x="1061" y="291"/>
                    <a:pt x="1061" y="291"/>
                  </a:cubicBezTo>
                  <a:cubicBezTo>
                    <a:pt x="1062" y="291"/>
                    <a:pt x="1062" y="291"/>
                    <a:pt x="1062" y="291"/>
                  </a:cubicBezTo>
                  <a:cubicBezTo>
                    <a:pt x="1062" y="292"/>
                    <a:pt x="1062" y="292"/>
                    <a:pt x="1062" y="292"/>
                  </a:cubicBezTo>
                  <a:cubicBezTo>
                    <a:pt x="1062" y="293"/>
                    <a:pt x="1062" y="293"/>
                    <a:pt x="1062" y="293"/>
                  </a:cubicBezTo>
                  <a:cubicBezTo>
                    <a:pt x="1063" y="294"/>
                    <a:pt x="1063" y="294"/>
                    <a:pt x="1063" y="294"/>
                  </a:cubicBezTo>
                  <a:cubicBezTo>
                    <a:pt x="1063" y="294"/>
                    <a:pt x="1063" y="294"/>
                    <a:pt x="1063" y="294"/>
                  </a:cubicBezTo>
                  <a:cubicBezTo>
                    <a:pt x="1063" y="294"/>
                    <a:pt x="1063" y="294"/>
                    <a:pt x="1063" y="294"/>
                  </a:cubicBezTo>
                  <a:cubicBezTo>
                    <a:pt x="1063" y="293"/>
                    <a:pt x="1063" y="293"/>
                    <a:pt x="1063" y="293"/>
                  </a:cubicBezTo>
                  <a:cubicBezTo>
                    <a:pt x="1064" y="293"/>
                    <a:pt x="1064" y="293"/>
                    <a:pt x="1064" y="293"/>
                  </a:cubicBezTo>
                  <a:cubicBezTo>
                    <a:pt x="1064" y="293"/>
                    <a:pt x="1064" y="293"/>
                    <a:pt x="1064" y="293"/>
                  </a:cubicBezTo>
                  <a:cubicBezTo>
                    <a:pt x="1064" y="293"/>
                    <a:pt x="1064" y="293"/>
                    <a:pt x="1064" y="293"/>
                  </a:cubicBezTo>
                  <a:cubicBezTo>
                    <a:pt x="1064" y="293"/>
                    <a:pt x="1064" y="293"/>
                    <a:pt x="1064" y="293"/>
                  </a:cubicBezTo>
                  <a:cubicBezTo>
                    <a:pt x="1065" y="292"/>
                    <a:pt x="1065" y="292"/>
                    <a:pt x="1065" y="292"/>
                  </a:cubicBezTo>
                  <a:cubicBezTo>
                    <a:pt x="1065" y="292"/>
                    <a:pt x="1065" y="292"/>
                    <a:pt x="1065" y="292"/>
                  </a:cubicBezTo>
                  <a:cubicBezTo>
                    <a:pt x="1065" y="293"/>
                    <a:pt x="1065" y="293"/>
                    <a:pt x="1065" y="293"/>
                  </a:cubicBezTo>
                  <a:cubicBezTo>
                    <a:pt x="1065" y="293"/>
                    <a:pt x="1065" y="293"/>
                    <a:pt x="1065" y="293"/>
                  </a:cubicBezTo>
                  <a:cubicBezTo>
                    <a:pt x="1066" y="293"/>
                    <a:pt x="1066" y="293"/>
                    <a:pt x="1066" y="293"/>
                  </a:cubicBezTo>
                  <a:cubicBezTo>
                    <a:pt x="1065" y="292"/>
                    <a:pt x="1065" y="292"/>
                    <a:pt x="1065" y="292"/>
                  </a:cubicBezTo>
                  <a:cubicBezTo>
                    <a:pt x="1066" y="292"/>
                    <a:pt x="1066" y="292"/>
                    <a:pt x="1066" y="292"/>
                  </a:cubicBezTo>
                  <a:cubicBezTo>
                    <a:pt x="1066" y="292"/>
                    <a:pt x="1066" y="292"/>
                    <a:pt x="1066" y="292"/>
                  </a:cubicBezTo>
                  <a:cubicBezTo>
                    <a:pt x="1067" y="291"/>
                    <a:pt x="1067" y="291"/>
                    <a:pt x="1067" y="291"/>
                  </a:cubicBezTo>
                  <a:cubicBezTo>
                    <a:pt x="1067" y="291"/>
                    <a:pt x="1067" y="291"/>
                    <a:pt x="1067" y="291"/>
                  </a:cubicBezTo>
                  <a:cubicBezTo>
                    <a:pt x="1067" y="290"/>
                    <a:pt x="1067" y="290"/>
                    <a:pt x="1067" y="290"/>
                  </a:cubicBezTo>
                  <a:cubicBezTo>
                    <a:pt x="1067" y="288"/>
                    <a:pt x="1067" y="288"/>
                    <a:pt x="1067" y="288"/>
                  </a:cubicBezTo>
                  <a:cubicBezTo>
                    <a:pt x="1067" y="286"/>
                    <a:pt x="1067" y="286"/>
                    <a:pt x="1067" y="286"/>
                  </a:cubicBezTo>
                  <a:cubicBezTo>
                    <a:pt x="1069" y="281"/>
                    <a:pt x="1069" y="281"/>
                    <a:pt x="1069" y="281"/>
                  </a:cubicBezTo>
                  <a:cubicBezTo>
                    <a:pt x="1071" y="279"/>
                    <a:pt x="1071" y="279"/>
                    <a:pt x="1071" y="279"/>
                  </a:cubicBezTo>
                  <a:cubicBezTo>
                    <a:pt x="1071" y="278"/>
                    <a:pt x="1071" y="278"/>
                    <a:pt x="1071" y="278"/>
                  </a:cubicBezTo>
                  <a:cubicBezTo>
                    <a:pt x="1073" y="277"/>
                    <a:pt x="1073" y="277"/>
                    <a:pt x="1073" y="277"/>
                  </a:cubicBezTo>
                  <a:cubicBezTo>
                    <a:pt x="1074" y="278"/>
                    <a:pt x="1074" y="278"/>
                    <a:pt x="1074" y="278"/>
                  </a:cubicBezTo>
                  <a:cubicBezTo>
                    <a:pt x="1075" y="280"/>
                    <a:pt x="1075" y="280"/>
                    <a:pt x="1075" y="280"/>
                  </a:cubicBezTo>
                  <a:cubicBezTo>
                    <a:pt x="1075" y="282"/>
                    <a:pt x="1075" y="282"/>
                    <a:pt x="1075" y="282"/>
                  </a:cubicBezTo>
                  <a:cubicBezTo>
                    <a:pt x="1073" y="280"/>
                    <a:pt x="1073" y="280"/>
                    <a:pt x="1073" y="280"/>
                  </a:cubicBezTo>
                  <a:cubicBezTo>
                    <a:pt x="1072" y="280"/>
                    <a:pt x="1072" y="280"/>
                    <a:pt x="1072" y="280"/>
                  </a:cubicBezTo>
                  <a:cubicBezTo>
                    <a:pt x="1070" y="281"/>
                    <a:pt x="1070" y="281"/>
                    <a:pt x="1070" y="281"/>
                  </a:cubicBezTo>
                  <a:cubicBezTo>
                    <a:pt x="1070" y="282"/>
                    <a:pt x="1070" y="282"/>
                    <a:pt x="1070" y="282"/>
                  </a:cubicBezTo>
                  <a:cubicBezTo>
                    <a:pt x="1070" y="282"/>
                    <a:pt x="1070" y="282"/>
                    <a:pt x="1070" y="282"/>
                  </a:cubicBezTo>
                  <a:cubicBezTo>
                    <a:pt x="1070" y="284"/>
                    <a:pt x="1070" y="284"/>
                    <a:pt x="1070" y="284"/>
                  </a:cubicBezTo>
                  <a:cubicBezTo>
                    <a:pt x="1070" y="284"/>
                    <a:pt x="1070" y="284"/>
                    <a:pt x="1070" y="284"/>
                  </a:cubicBezTo>
                  <a:cubicBezTo>
                    <a:pt x="1069" y="286"/>
                    <a:pt x="1069" y="286"/>
                    <a:pt x="1069" y="286"/>
                  </a:cubicBezTo>
                  <a:cubicBezTo>
                    <a:pt x="1068" y="286"/>
                    <a:pt x="1068" y="286"/>
                    <a:pt x="1068" y="286"/>
                  </a:cubicBezTo>
                  <a:cubicBezTo>
                    <a:pt x="1068" y="287"/>
                    <a:pt x="1068" y="287"/>
                    <a:pt x="1068" y="287"/>
                  </a:cubicBezTo>
                  <a:cubicBezTo>
                    <a:pt x="1067" y="287"/>
                    <a:pt x="1067" y="287"/>
                    <a:pt x="1067" y="287"/>
                  </a:cubicBezTo>
                  <a:cubicBezTo>
                    <a:pt x="1067" y="289"/>
                    <a:pt x="1067" y="289"/>
                    <a:pt x="1067" y="289"/>
                  </a:cubicBezTo>
                  <a:cubicBezTo>
                    <a:pt x="1068" y="290"/>
                    <a:pt x="1068" y="290"/>
                    <a:pt x="1068" y="290"/>
                  </a:cubicBezTo>
                  <a:cubicBezTo>
                    <a:pt x="1069" y="290"/>
                    <a:pt x="1069" y="290"/>
                    <a:pt x="1069" y="290"/>
                  </a:cubicBezTo>
                  <a:cubicBezTo>
                    <a:pt x="1069" y="291"/>
                    <a:pt x="1069" y="291"/>
                    <a:pt x="1069" y="291"/>
                  </a:cubicBezTo>
                  <a:cubicBezTo>
                    <a:pt x="1070" y="290"/>
                    <a:pt x="1070" y="290"/>
                    <a:pt x="1070" y="290"/>
                  </a:cubicBezTo>
                  <a:cubicBezTo>
                    <a:pt x="1070" y="290"/>
                    <a:pt x="1070" y="290"/>
                    <a:pt x="1070" y="290"/>
                  </a:cubicBezTo>
                  <a:cubicBezTo>
                    <a:pt x="1071" y="290"/>
                    <a:pt x="1071" y="290"/>
                    <a:pt x="1071" y="290"/>
                  </a:cubicBezTo>
                  <a:cubicBezTo>
                    <a:pt x="1071" y="290"/>
                    <a:pt x="1071" y="290"/>
                    <a:pt x="1071" y="290"/>
                  </a:cubicBezTo>
                  <a:cubicBezTo>
                    <a:pt x="1072" y="290"/>
                    <a:pt x="1072" y="290"/>
                    <a:pt x="1072" y="290"/>
                  </a:cubicBezTo>
                  <a:cubicBezTo>
                    <a:pt x="1072" y="290"/>
                    <a:pt x="1072" y="290"/>
                    <a:pt x="1072" y="290"/>
                  </a:cubicBezTo>
                  <a:cubicBezTo>
                    <a:pt x="1073" y="291"/>
                    <a:pt x="1073" y="291"/>
                    <a:pt x="1073" y="291"/>
                  </a:cubicBezTo>
                  <a:cubicBezTo>
                    <a:pt x="1073" y="292"/>
                    <a:pt x="1073" y="292"/>
                    <a:pt x="1073" y="292"/>
                  </a:cubicBezTo>
                  <a:cubicBezTo>
                    <a:pt x="1074" y="291"/>
                    <a:pt x="1074" y="291"/>
                    <a:pt x="1074" y="291"/>
                  </a:cubicBezTo>
                  <a:cubicBezTo>
                    <a:pt x="1074" y="291"/>
                    <a:pt x="1074" y="291"/>
                    <a:pt x="1074" y="291"/>
                  </a:cubicBezTo>
                  <a:cubicBezTo>
                    <a:pt x="1075" y="291"/>
                    <a:pt x="1075" y="291"/>
                    <a:pt x="1075" y="291"/>
                  </a:cubicBezTo>
                  <a:cubicBezTo>
                    <a:pt x="1075" y="290"/>
                    <a:pt x="1075" y="290"/>
                    <a:pt x="1075" y="290"/>
                  </a:cubicBezTo>
                  <a:cubicBezTo>
                    <a:pt x="1075" y="290"/>
                    <a:pt x="1075" y="290"/>
                    <a:pt x="1075" y="290"/>
                  </a:cubicBezTo>
                  <a:cubicBezTo>
                    <a:pt x="1075" y="289"/>
                    <a:pt x="1075" y="289"/>
                    <a:pt x="1075" y="289"/>
                  </a:cubicBezTo>
                  <a:cubicBezTo>
                    <a:pt x="1075" y="289"/>
                    <a:pt x="1075" y="289"/>
                    <a:pt x="1075" y="289"/>
                  </a:cubicBezTo>
                  <a:cubicBezTo>
                    <a:pt x="1076" y="288"/>
                    <a:pt x="1076" y="288"/>
                    <a:pt x="1076" y="288"/>
                  </a:cubicBezTo>
                  <a:cubicBezTo>
                    <a:pt x="1076" y="288"/>
                    <a:pt x="1076" y="288"/>
                    <a:pt x="1076" y="288"/>
                  </a:cubicBezTo>
                  <a:cubicBezTo>
                    <a:pt x="1077" y="287"/>
                    <a:pt x="1077" y="287"/>
                    <a:pt x="1077" y="287"/>
                  </a:cubicBezTo>
                  <a:cubicBezTo>
                    <a:pt x="1077" y="287"/>
                    <a:pt x="1077" y="287"/>
                    <a:pt x="1077" y="287"/>
                  </a:cubicBezTo>
                  <a:cubicBezTo>
                    <a:pt x="1077" y="288"/>
                    <a:pt x="1077" y="288"/>
                    <a:pt x="1077" y="288"/>
                  </a:cubicBezTo>
                  <a:cubicBezTo>
                    <a:pt x="1077" y="289"/>
                    <a:pt x="1077" y="289"/>
                    <a:pt x="1077" y="289"/>
                  </a:cubicBezTo>
                  <a:cubicBezTo>
                    <a:pt x="1077" y="289"/>
                    <a:pt x="1077" y="289"/>
                    <a:pt x="1077" y="289"/>
                  </a:cubicBezTo>
                  <a:cubicBezTo>
                    <a:pt x="1077" y="289"/>
                    <a:pt x="1077" y="289"/>
                    <a:pt x="1077" y="289"/>
                  </a:cubicBezTo>
                  <a:cubicBezTo>
                    <a:pt x="1080" y="288"/>
                    <a:pt x="1080" y="288"/>
                    <a:pt x="1080" y="288"/>
                  </a:cubicBezTo>
                  <a:cubicBezTo>
                    <a:pt x="1080" y="289"/>
                    <a:pt x="1080" y="289"/>
                    <a:pt x="1080" y="289"/>
                  </a:cubicBezTo>
                  <a:cubicBezTo>
                    <a:pt x="1081" y="290"/>
                    <a:pt x="1081" y="290"/>
                    <a:pt x="1081" y="290"/>
                  </a:cubicBezTo>
                  <a:cubicBezTo>
                    <a:pt x="1081" y="290"/>
                    <a:pt x="1081" y="290"/>
                    <a:pt x="1081" y="290"/>
                  </a:cubicBezTo>
                  <a:cubicBezTo>
                    <a:pt x="1082" y="289"/>
                    <a:pt x="1082" y="289"/>
                    <a:pt x="1082" y="289"/>
                  </a:cubicBezTo>
                  <a:cubicBezTo>
                    <a:pt x="1081" y="289"/>
                    <a:pt x="1081" y="289"/>
                    <a:pt x="1081" y="289"/>
                  </a:cubicBezTo>
                  <a:cubicBezTo>
                    <a:pt x="1081" y="287"/>
                    <a:pt x="1081" y="287"/>
                    <a:pt x="1081" y="287"/>
                  </a:cubicBezTo>
                  <a:cubicBezTo>
                    <a:pt x="1082" y="288"/>
                    <a:pt x="1082" y="288"/>
                    <a:pt x="1082" y="288"/>
                  </a:cubicBezTo>
                  <a:cubicBezTo>
                    <a:pt x="1083" y="287"/>
                    <a:pt x="1083" y="287"/>
                    <a:pt x="1083" y="287"/>
                  </a:cubicBezTo>
                  <a:cubicBezTo>
                    <a:pt x="1083" y="286"/>
                    <a:pt x="1083" y="286"/>
                    <a:pt x="1083" y="286"/>
                  </a:cubicBezTo>
                  <a:cubicBezTo>
                    <a:pt x="1083" y="286"/>
                    <a:pt x="1083" y="286"/>
                    <a:pt x="1083" y="286"/>
                  </a:cubicBezTo>
                  <a:cubicBezTo>
                    <a:pt x="1084" y="285"/>
                    <a:pt x="1084" y="285"/>
                    <a:pt x="1084" y="285"/>
                  </a:cubicBezTo>
                  <a:cubicBezTo>
                    <a:pt x="1083" y="285"/>
                    <a:pt x="1083" y="285"/>
                    <a:pt x="1083" y="285"/>
                  </a:cubicBezTo>
                  <a:cubicBezTo>
                    <a:pt x="1083" y="284"/>
                    <a:pt x="1083" y="284"/>
                    <a:pt x="1083" y="284"/>
                  </a:cubicBezTo>
                  <a:cubicBezTo>
                    <a:pt x="1084" y="284"/>
                    <a:pt x="1084" y="284"/>
                    <a:pt x="1084" y="284"/>
                  </a:cubicBezTo>
                  <a:cubicBezTo>
                    <a:pt x="1084" y="284"/>
                    <a:pt x="1084" y="284"/>
                    <a:pt x="1084" y="284"/>
                  </a:cubicBezTo>
                  <a:cubicBezTo>
                    <a:pt x="1084" y="284"/>
                    <a:pt x="1084" y="284"/>
                    <a:pt x="1084" y="284"/>
                  </a:cubicBezTo>
                  <a:cubicBezTo>
                    <a:pt x="1084" y="284"/>
                    <a:pt x="1084" y="284"/>
                    <a:pt x="1084" y="284"/>
                  </a:cubicBezTo>
                  <a:cubicBezTo>
                    <a:pt x="1085" y="285"/>
                    <a:pt x="1085" y="285"/>
                    <a:pt x="1085" y="285"/>
                  </a:cubicBezTo>
                  <a:cubicBezTo>
                    <a:pt x="1085" y="285"/>
                    <a:pt x="1085" y="285"/>
                    <a:pt x="1085" y="285"/>
                  </a:cubicBezTo>
                  <a:cubicBezTo>
                    <a:pt x="1086" y="285"/>
                    <a:pt x="1086" y="285"/>
                    <a:pt x="1086" y="285"/>
                  </a:cubicBezTo>
                  <a:cubicBezTo>
                    <a:pt x="1086" y="284"/>
                    <a:pt x="1086" y="284"/>
                    <a:pt x="1086" y="284"/>
                  </a:cubicBezTo>
                  <a:cubicBezTo>
                    <a:pt x="1086" y="284"/>
                    <a:pt x="1086" y="284"/>
                    <a:pt x="1086" y="284"/>
                  </a:cubicBezTo>
                  <a:cubicBezTo>
                    <a:pt x="1086" y="284"/>
                    <a:pt x="1086" y="284"/>
                    <a:pt x="1086" y="284"/>
                  </a:cubicBezTo>
                  <a:cubicBezTo>
                    <a:pt x="1087" y="285"/>
                    <a:pt x="1087" y="285"/>
                    <a:pt x="1087" y="285"/>
                  </a:cubicBezTo>
                  <a:cubicBezTo>
                    <a:pt x="1087" y="285"/>
                    <a:pt x="1087" y="285"/>
                    <a:pt x="1087" y="285"/>
                  </a:cubicBezTo>
                  <a:cubicBezTo>
                    <a:pt x="1088" y="285"/>
                    <a:pt x="1088" y="285"/>
                    <a:pt x="1088" y="285"/>
                  </a:cubicBezTo>
                  <a:cubicBezTo>
                    <a:pt x="1088" y="285"/>
                    <a:pt x="1088" y="285"/>
                    <a:pt x="1088" y="285"/>
                  </a:cubicBezTo>
                  <a:cubicBezTo>
                    <a:pt x="1088" y="286"/>
                    <a:pt x="1088" y="286"/>
                    <a:pt x="1088" y="286"/>
                  </a:cubicBezTo>
                  <a:cubicBezTo>
                    <a:pt x="1089" y="285"/>
                    <a:pt x="1089" y="285"/>
                    <a:pt x="1089" y="285"/>
                  </a:cubicBezTo>
                  <a:cubicBezTo>
                    <a:pt x="1089" y="284"/>
                    <a:pt x="1089" y="284"/>
                    <a:pt x="1089" y="284"/>
                  </a:cubicBezTo>
                  <a:cubicBezTo>
                    <a:pt x="1088" y="283"/>
                    <a:pt x="1088" y="283"/>
                    <a:pt x="1088" y="283"/>
                  </a:cubicBezTo>
                  <a:cubicBezTo>
                    <a:pt x="1088" y="283"/>
                    <a:pt x="1088" y="283"/>
                    <a:pt x="1088" y="283"/>
                  </a:cubicBezTo>
                  <a:cubicBezTo>
                    <a:pt x="1088" y="282"/>
                    <a:pt x="1088" y="282"/>
                    <a:pt x="1088" y="282"/>
                  </a:cubicBezTo>
                  <a:cubicBezTo>
                    <a:pt x="1089" y="281"/>
                    <a:pt x="1089" y="281"/>
                    <a:pt x="1089" y="281"/>
                  </a:cubicBezTo>
                  <a:cubicBezTo>
                    <a:pt x="1089" y="282"/>
                    <a:pt x="1089" y="282"/>
                    <a:pt x="1089" y="282"/>
                  </a:cubicBezTo>
                  <a:cubicBezTo>
                    <a:pt x="1089" y="283"/>
                    <a:pt x="1089" y="283"/>
                    <a:pt x="1089" y="283"/>
                  </a:cubicBezTo>
                  <a:cubicBezTo>
                    <a:pt x="1091" y="284"/>
                    <a:pt x="1091" y="284"/>
                    <a:pt x="1091" y="284"/>
                  </a:cubicBezTo>
                  <a:cubicBezTo>
                    <a:pt x="1092" y="285"/>
                    <a:pt x="1092" y="285"/>
                    <a:pt x="1092" y="285"/>
                  </a:cubicBezTo>
                  <a:cubicBezTo>
                    <a:pt x="1090" y="285"/>
                    <a:pt x="1090" y="285"/>
                    <a:pt x="1090" y="285"/>
                  </a:cubicBezTo>
                  <a:cubicBezTo>
                    <a:pt x="1089" y="285"/>
                    <a:pt x="1089" y="285"/>
                    <a:pt x="1089" y="285"/>
                  </a:cubicBezTo>
                  <a:cubicBezTo>
                    <a:pt x="1089" y="286"/>
                    <a:pt x="1089" y="286"/>
                    <a:pt x="1089" y="286"/>
                  </a:cubicBezTo>
                  <a:cubicBezTo>
                    <a:pt x="1090" y="286"/>
                    <a:pt x="1090" y="286"/>
                    <a:pt x="1090" y="286"/>
                  </a:cubicBezTo>
                  <a:cubicBezTo>
                    <a:pt x="1092" y="286"/>
                    <a:pt x="1092" y="286"/>
                    <a:pt x="1092" y="286"/>
                  </a:cubicBezTo>
                  <a:cubicBezTo>
                    <a:pt x="1094" y="287"/>
                    <a:pt x="1094" y="287"/>
                    <a:pt x="1094" y="287"/>
                  </a:cubicBezTo>
                  <a:cubicBezTo>
                    <a:pt x="1096" y="289"/>
                    <a:pt x="1096" y="289"/>
                    <a:pt x="1096" y="289"/>
                  </a:cubicBezTo>
                  <a:cubicBezTo>
                    <a:pt x="1098" y="289"/>
                    <a:pt x="1098" y="289"/>
                    <a:pt x="1098" y="289"/>
                  </a:cubicBezTo>
                  <a:cubicBezTo>
                    <a:pt x="1097" y="289"/>
                    <a:pt x="1097" y="289"/>
                    <a:pt x="1097" y="289"/>
                  </a:cubicBezTo>
                  <a:cubicBezTo>
                    <a:pt x="1097" y="288"/>
                    <a:pt x="1097" y="288"/>
                    <a:pt x="1097" y="288"/>
                  </a:cubicBezTo>
                  <a:cubicBezTo>
                    <a:pt x="1097" y="288"/>
                    <a:pt x="1097" y="288"/>
                    <a:pt x="1097" y="288"/>
                  </a:cubicBezTo>
                  <a:cubicBezTo>
                    <a:pt x="1097" y="288"/>
                    <a:pt x="1097" y="288"/>
                    <a:pt x="1097" y="288"/>
                  </a:cubicBezTo>
                  <a:cubicBezTo>
                    <a:pt x="1097" y="288"/>
                    <a:pt x="1097" y="288"/>
                    <a:pt x="1097" y="288"/>
                  </a:cubicBezTo>
                  <a:cubicBezTo>
                    <a:pt x="1097" y="287"/>
                    <a:pt x="1097" y="287"/>
                    <a:pt x="1097" y="287"/>
                  </a:cubicBezTo>
                  <a:cubicBezTo>
                    <a:pt x="1097" y="287"/>
                    <a:pt x="1097" y="287"/>
                    <a:pt x="1097" y="287"/>
                  </a:cubicBezTo>
                  <a:cubicBezTo>
                    <a:pt x="1097" y="286"/>
                    <a:pt x="1097" y="286"/>
                    <a:pt x="1097" y="286"/>
                  </a:cubicBezTo>
                  <a:cubicBezTo>
                    <a:pt x="1097" y="286"/>
                    <a:pt x="1097" y="286"/>
                    <a:pt x="1097" y="286"/>
                  </a:cubicBezTo>
                  <a:cubicBezTo>
                    <a:pt x="1097" y="286"/>
                    <a:pt x="1097" y="286"/>
                    <a:pt x="1097" y="286"/>
                  </a:cubicBezTo>
                  <a:cubicBezTo>
                    <a:pt x="1098" y="286"/>
                    <a:pt x="1098" y="286"/>
                    <a:pt x="1098" y="286"/>
                  </a:cubicBezTo>
                  <a:cubicBezTo>
                    <a:pt x="1100" y="288"/>
                    <a:pt x="1100" y="288"/>
                    <a:pt x="1100" y="288"/>
                  </a:cubicBezTo>
                  <a:cubicBezTo>
                    <a:pt x="1101" y="288"/>
                    <a:pt x="1101" y="288"/>
                    <a:pt x="1101" y="288"/>
                  </a:cubicBezTo>
                  <a:cubicBezTo>
                    <a:pt x="1101" y="288"/>
                    <a:pt x="1101" y="288"/>
                    <a:pt x="1101" y="288"/>
                  </a:cubicBezTo>
                  <a:cubicBezTo>
                    <a:pt x="1101" y="287"/>
                    <a:pt x="1101" y="287"/>
                    <a:pt x="1101" y="287"/>
                  </a:cubicBezTo>
                  <a:cubicBezTo>
                    <a:pt x="1101" y="287"/>
                    <a:pt x="1101" y="287"/>
                    <a:pt x="1101" y="287"/>
                  </a:cubicBezTo>
                  <a:cubicBezTo>
                    <a:pt x="1101" y="286"/>
                    <a:pt x="1101" y="286"/>
                    <a:pt x="1101" y="286"/>
                  </a:cubicBezTo>
                  <a:cubicBezTo>
                    <a:pt x="1101" y="285"/>
                    <a:pt x="1101" y="285"/>
                    <a:pt x="1101" y="285"/>
                  </a:cubicBezTo>
                  <a:cubicBezTo>
                    <a:pt x="1102" y="285"/>
                    <a:pt x="1102" y="285"/>
                    <a:pt x="1102" y="285"/>
                  </a:cubicBezTo>
                  <a:cubicBezTo>
                    <a:pt x="1103" y="286"/>
                    <a:pt x="1103" y="286"/>
                    <a:pt x="1103" y="286"/>
                  </a:cubicBezTo>
                  <a:cubicBezTo>
                    <a:pt x="1103" y="286"/>
                    <a:pt x="1103" y="286"/>
                    <a:pt x="1103" y="286"/>
                  </a:cubicBezTo>
                  <a:cubicBezTo>
                    <a:pt x="1102" y="286"/>
                    <a:pt x="1102" y="286"/>
                    <a:pt x="1102" y="286"/>
                  </a:cubicBezTo>
                  <a:cubicBezTo>
                    <a:pt x="1101" y="287"/>
                    <a:pt x="1101" y="287"/>
                    <a:pt x="1101" y="287"/>
                  </a:cubicBezTo>
                  <a:cubicBezTo>
                    <a:pt x="1103" y="287"/>
                    <a:pt x="1103" y="287"/>
                    <a:pt x="1103" y="287"/>
                  </a:cubicBezTo>
                  <a:cubicBezTo>
                    <a:pt x="1104" y="287"/>
                    <a:pt x="1104" y="287"/>
                    <a:pt x="1104" y="287"/>
                  </a:cubicBezTo>
                  <a:cubicBezTo>
                    <a:pt x="1105" y="286"/>
                    <a:pt x="1105" y="286"/>
                    <a:pt x="1105" y="286"/>
                  </a:cubicBezTo>
                  <a:cubicBezTo>
                    <a:pt x="1105" y="286"/>
                    <a:pt x="1105" y="286"/>
                    <a:pt x="1105" y="286"/>
                  </a:cubicBezTo>
                  <a:cubicBezTo>
                    <a:pt x="1104" y="286"/>
                    <a:pt x="1104" y="286"/>
                    <a:pt x="1104" y="286"/>
                  </a:cubicBezTo>
                  <a:cubicBezTo>
                    <a:pt x="1105" y="286"/>
                    <a:pt x="1105" y="286"/>
                    <a:pt x="1105" y="286"/>
                  </a:cubicBezTo>
                  <a:cubicBezTo>
                    <a:pt x="1105" y="286"/>
                    <a:pt x="1105" y="286"/>
                    <a:pt x="1105" y="286"/>
                  </a:cubicBezTo>
                  <a:cubicBezTo>
                    <a:pt x="1105" y="285"/>
                    <a:pt x="1105" y="285"/>
                    <a:pt x="1105" y="285"/>
                  </a:cubicBezTo>
                  <a:cubicBezTo>
                    <a:pt x="1104" y="284"/>
                    <a:pt x="1104" y="284"/>
                    <a:pt x="1104" y="284"/>
                  </a:cubicBezTo>
                  <a:cubicBezTo>
                    <a:pt x="1104" y="283"/>
                    <a:pt x="1104" y="283"/>
                    <a:pt x="1104" y="283"/>
                  </a:cubicBezTo>
                  <a:cubicBezTo>
                    <a:pt x="1105" y="283"/>
                    <a:pt x="1105" y="283"/>
                    <a:pt x="1105" y="283"/>
                  </a:cubicBezTo>
                  <a:cubicBezTo>
                    <a:pt x="1105" y="283"/>
                    <a:pt x="1105" y="283"/>
                    <a:pt x="1105" y="283"/>
                  </a:cubicBezTo>
                  <a:cubicBezTo>
                    <a:pt x="1105" y="282"/>
                    <a:pt x="1105" y="282"/>
                    <a:pt x="1105" y="282"/>
                  </a:cubicBezTo>
                  <a:cubicBezTo>
                    <a:pt x="1105" y="282"/>
                    <a:pt x="1105" y="282"/>
                    <a:pt x="1105" y="282"/>
                  </a:cubicBezTo>
                  <a:cubicBezTo>
                    <a:pt x="1105" y="282"/>
                    <a:pt x="1105" y="282"/>
                    <a:pt x="1105" y="282"/>
                  </a:cubicBezTo>
                  <a:cubicBezTo>
                    <a:pt x="1106" y="282"/>
                    <a:pt x="1106" y="282"/>
                    <a:pt x="1106" y="282"/>
                  </a:cubicBezTo>
                  <a:cubicBezTo>
                    <a:pt x="1106" y="283"/>
                    <a:pt x="1106" y="283"/>
                    <a:pt x="1106" y="283"/>
                  </a:cubicBezTo>
                  <a:cubicBezTo>
                    <a:pt x="1106" y="283"/>
                    <a:pt x="1106" y="283"/>
                    <a:pt x="1106" y="283"/>
                  </a:cubicBezTo>
                  <a:cubicBezTo>
                    <a:pt x="1109" y="280"/>
                    <a:pt x="1109" y="280"/>
                    <a:pt x="1109" y="280"/>
                  </a:cubicBezTo>
                  <a:cubicBezTo>
                    <a:pt x="1112" y="278"/>
                    <a:pt x="1112" y="278"/>
                    <a:pt x="1112" y="278"/>
                  </a:cubicBezTo>
                  <a:cubicBezTo>
                    <a:pt x="1112" y="277"/>
                    <a:pt x="1112" y="277"/>
                    <a:pt x="1112" y="277"/>
                  </a:cubicBezTo>
                  <a:cubicBezTo>
                    <a:pt x="1117" y="271"/>
                    <a:pt x="1117" y="271"/>
                    <a:pt x="1117" y="271"/>
                  </a:cubicBezTo>
                  <a:cubicBezTo>
                    <a:pt x="1119" y="269"/>
                    <a:pt x="1119" y="269"/>
                    <a:pt x="1119" y="269"/>
                  </a:cubicBezTo>
                  <a:cubicBezTo>
                    <a:pt x="1122" y="265"/>
                    <a:pt x="1122" y="265"/>
                    <a:pt x="1122" y="265"/>
                  </a:cubicBezTo>
                  <a:cubicBezTo>
                    <a:pt x="1127" y="260"/>
                    <a:pt x="1127" y="260"/>
                    <a:pt x="1127" y="260"/>
                  </a:cubicBezTo>
                  <a:cubicBezTo>
                    <a:pt x="1128" y="259"/>
                    <a:pt x="1128" y="259"/>
                    <a:pt x="1128" y="259"/>
                  </a:cubicBezTo>
                  <a:cubicBezTo>
                    <a:pt x="1129" y="259"/>
                    <a:pt x="1129" y="259"/>
                    <a:pt x="1129" y="259"/>
                  </a:cubicBezTo>
                  <a:cubicBezTo>
                    <a:pt x="1129" y="259"/>
                    <a:pt x="1129" y="259"/>
                    <a:pt x="1129" y="259"/>
                  </a:cubicBezTo>
                  <a:cubicBezTo>
                    <a:pt x="1124" y="264"/>
                    <a:pt x="1124" y="264"/>
                    <a:pt x="1124" y="264"/>
                  </a:cubicBezTo>
                  <a:cubicBezTo>
                    <a:pt x="1122" y="268"/>
                    <a:pt x="1122" y="268"/>
                    <a:pt x="1122" y="268"/>
                  </a:cubicBezTo>
                  <a:cubicBezTo>
                    <a:pt x="1119" y="270"/>
                    <a:pt x="1119" y="270"/>
                    <a:pt x="1119" y="270"/>
                  </a:cubicBezTo>
                  <a:cubicBezTo>
                    <a:pt x="1115" y="276"/>
                    <a:pt x="1115" y="276"/>
                    <a:pt x="1115" y="276"/>
                  </a:cubicBezTo>
                  <a:cubicBezTo>
                    <a:pt x="1114" y="277"/>
                    <a:pt x="1114" y="277"/>
                    <a:pt x="1114" y="277"/>
                  </a:cubicBezTo>
                  <a:cubicBezTo>
                    <a:pt x="1111" y="279"/>
                    <a:pt x="1111" y="279"/>
                    <a:pt x="1111" y="279"/>
                  </a:cubicBezTo>
                  <a:cubicBezTo>
                    <a:pt x="1109" y="282"/>
                    <a:pt x="1109" y="282"/>
                    <a:pt x="1109" y="282"/>
                  </a:cubicBezTo>
                  <a:cubicBezTo>
                    <a:pt x="1108" y="283"/>
                    <a:pt x="1108" y="283"/>
                    <a:pt x="1108" y="283"/>
                  </a:cubicBezTo>
                  <a:cubicBezTo>
                    <a:pt x="1108" y="283"/>
                    <a:pt x="1108" y="283"/>
                    <a:pt x="1108" y="283"/>
                  </a:cubicBezTo>
                  <a:cubicBezTo>
                    <a:pt x="1109" y="284"/>
                    <a:pt x="1109" y="284"/>
                    <a:pt x="1109" y="284"/>
                  </a:cubicBezTo>
                  <a:cubicBezTo>
                    <a:pt x="1109" y="283"/>
                    <a:pt x="1109" y="283"/>
                    <a:pt x="1109" y="283"/>
                  </a:cubicBezTo>
                  <a:cubicBezTo>
                    <a:pt x="1110" y="282"/>
                    <a:pt x="1110" y="282"/>
                    <a:pt x="1110" y="282"/>
                  </a:cubicBezTo>
                  <a:cubicBezTo>
                    <a:pt x="1110" y="281"/>
                    <a:pt x="1110" y="281"/>
                    <a:pt x="1110" y="281"/>
                  </a:cubicBezTo>
                  <a:cubicBezTo>
                    <a:pt x="1111" y="283"/>
                    <a:pt x="1111" y="283"/>
                    <a:pt x="1111" y="283"/>
                  </a:cubicBezTo>
                  <a:cubicBezTo>
                    <a:pt x="1111" y="284"/>
                    <a:pt x="1111" y="284"/>
                    <a:pt x="1111" y="284"/>
                  </a:cubicBezTo>
                  <a:cubicBezTo>
                    <a:pt x="1115" y="284"/>
                    <a:pt x="1115" y="284"/>
                    <a:pt x="1115" y="284"/>
                  </a:cubicBezTo>
                  <a:cubicBezTo>
                    <a:pt x="1116" y="284"/>
                    <a:pt x="1116" y="284"/>
                    <a:pt x="1116" y="284"/>
                  </a:cubicBezTo>
                  <a:cubicBezTo>
                    <a:pt x="1117" y="283"/>
                    <a:pt x="1117" y="283"/>
                    <a:pt x="1117" y="283"/>
                  </a:cubicBezTo>
                  <a:cubicBezTo>
                    <a:pt x="1117" y="283"/>
                    <a:pt x="1117" y="283"/>
                    <a:pt x="1117" y="283"/>
                  </a:cubicBezTo>
                  <a:cubicBezTo>
                    <a:pt x="1118" y="283"/>
                    <a:pt x="1118" y="283"/>
                    <a:pt x="1118" y="283"/>
                  </a:cubicBezTo>
                  <a:cubicBezTo>
                    <a:pt x="1118" y="283"/>
                    <a:pt x="1118" y="283"/>
                    <a:pt x="1118" y="283"/>
                  </a:cubicBezTo>
                  <a:cubicBezTo>
                    <a:pt x="1118" y="283"/>
                    <a:pt x="1118" y="283"/>
                    <a:pt x="1118" y="283"/>
                  </a:cubicBezTo>
                  <a:cubicBezTo>
                    <a:pt x="1119" y="283"/>
                    <a:pt x="1119" y="283"/>
                    <a:pt x="1119" y="283"/>
                  </a:cubicBezTo>
                  <a:cubicBezTo>
                    <a:pt x="1119" y="283"/>
                    <a:pt x="1119" y="283"/>
                    <a:pt x="1119" y="283"/>
                  </a:cubicBezTo>
                  <a:cubicBezTo>
                    <a:pt x="1119" y="283"/>
                    <a:pt x="1119" y="283"/>
                    <a:pt x="1119" y="283"/>
                  </a:cubicBezTo>
                  <a:cubicBezTo>
                    <a:pt x="1119" y="282"/>
                    <a:pt x="1119" y="282"/>
                    <a:pt x="1119" y="282"/>
                  </a:cubicBezTo>
                  <a:cubicBezTo>
                    <a:pt x="1119" y="282"/>
                    <a:pt x="1119" y="282"/>
                    <a:pt x="1119" y="282"/>
                  </a:cubicBezTo>
                  <a:cubicBezTo>
                    <a:pt x="1120" y="283"/>
                    <a:pt x="1120" y="283"/>
                    <a:pt x="1120" y="283"/>
                  </a:cubicBezTo>
                  <a:cubicBezTo>
                    <a:pt x="1121" y="283"/>
                    <a:pt x="1121" y="283"/>
                    <a:pt x="1121" y="283"/>
                  </a:cubicBezTo>
                  <a:cubicBezTo>
                    <a:pt x="1121" y="283"/>
                    <a:pt x="1121" y="283"/>
                    <a:pt x="1121" y="283"/>
                  </a:cubicBezTo>
                  <a:cubicBezTo>
                    <a:pt x="1121" y="282"/>
                    <a:pt x="1121" y="282"/>
                    <a:pt x="1121" y="282"/>
                  </a:cubicBezTo>
                  <a:cubicBezTo>
                    <a:pt x="1122" y="281"/>
                    <a:pt x="1122" y="281"/>
                    <a:pt x="1122" y="281"/>
                  </a:cubicBezTo>
                  <a:cubicBezTo>
                    <a:pt x="1123" y="280"/>
                    <a:pt x="1123" y="280"/>
                    <a:pt x="1123" y="280"/>
                  </a:cubicBezTo>
                  <a:cubicBezTo>
                    <a:pt x="1123" y="280"/>
                    <a:pt x="1123" y="280"/>
                    <a:pt x="1123" y="280"/>
                  </a:cubicBezTo>
                  <a:cubicBezTo>
                    <a:pt x="1123" y="280"/>
                    <a:pt x="1123" y="280"/>
                    <a:pt x="1123" y="280"/>
                  </a:cubicBezTo>
                  <a:cubicBezTo>
                    <a:pt x="1123" y="279"/>
                    <a:pt x="1123" y="279"/>
                    <a:pt x="1123" y="279"/>
                  </a:cubicBezTo>
                  <a:cubicBezTo>
                    <a:pt x="1124" y="279"/>
                    <a:pt x="1124" y="279"/>
                    <a:pt x="1124" y="279"/>
                  </a:cubicBezTo>
                  <a:cubicBezTo>
                    <a:pt x="1124" y="279"/>
                    <a:pt x="1124" y="279"/>
                    <a:pt x="1124" y="279"/>
                  </a:cubicBezTo>
                  <a:cubicBezTo>
                    <a:pt x="1124" y="280"/>
                    <a:pt x="1124" y="280"/>
                    <a:pt x="1124" y="280"/>
                  </a:cubicBezTo>
                  <a:cubicBezTo>
                    <a:pt x="1125" y="280"/>
                    <a:pt x="1125" y="280"/>
                    <a:pt x="1125" y="280"/>
                  </a:cubicBezTo>
                  <a:cubicBezTo>
                    <a:pt x="1124" y="279"/>
                    <a:pt x="1124" y="279"/>
                    <a:pt x="1124" y="279"/>
                  </a:cubicBezTo>
                  <a:cubicBezTo>
                    <a:pt x="1124" y="279"/>
                    <a:pt x="1124" y="279"/>
                    <a:pt x="1124" y="279"/>
                  </a:cubicBezTo>
                  <a:cubicBezTo>
                    <a:pt x="1124" y="278"/>
                    <a:pt x="1124" y="278"/>
                    <a:pt x="1124" y="278"/>
                  </a:cubicBezTo>
                  <a:cubicBezTo>
                    <a:pt x="1124" y="278"/>
                    <a:pt x="1124" y="278"/>
                    <a:pt x="1124" y="278"/>
                  </a:cubicBezTo>
                  <a:cubicBezTo>
                    <a:pt x="1124" y="278"/>
                    <a:pt x="1124" y="278"/>
                    <a:pt x="1124" y="278"/>
                  </a:cubicBezTo>
                  <a:cubicBezTo>
                    <a:pt x="1125" y="278"/>
                    <a:pt x="1125" y="278"/>
                    <a:pt x="1125" y="278"/>
                  </a:cubicBezTo>
                  <a:cubicBezTo>
                    <a:pt x="1126" y="278"/>
                    <a:pt x="1126" y="278"/>
                    <a:pt x="1126" y="278"/>
                  </a:cubicBezTo>
                  <a:cubicBezTo>
                    <a:pt x="1126" y="277"/>
                    <a:pt x="1126" y="277"/>
                    <a:pt x="1126" y="277"/>
                  </a:cubicBezTo>
                  <a:cubicBezTo>
                    <a:pt x="1126" y="276"/>
                    <a:pt x="1126" y="276"/>
                    <a:pt x="1126" y="276"/>
                  </a:cubicBezTo>
                  <a:cubicBezTo>
                    <a:pt x="1127" y="275"/>
                    <a:pt x="1127" y="275"/>
                    <a:pt x="1127" y="275"/>
                  </a:cubicBezTo>
                  <a:cubicBezTo>
                    <a:pt x="1129" y="275"/>
                    <a:pt x="1129" y="275"/>
                    <a:pt x="1129" y="275"/>
                  </a:cubicBezTo>
                  <a:cubicBezTo>
                    <a:pt x="1129" y="275"/>
                    <a:pt x="1129" y="275"/>
                    <a:pt x="1129" y="275"/>
                  </a:cubicBezTo>
                  <a:cubicBezTo>
                    <a:pt x="1130" y="274"/>
                    <a:pt x="1130" y="274"/>
                    <a:pt x="1130" y="274"/>
                  </a:cubicBezTo>
                  <a:cubicBezTo>
                    <a:pt x="1130" y="274"/>
                    <a:pt x="1130" y="274"/>
                    <a:pt x="1130" y="274"/>
                  </a:cubicBezTo>
                  <a:cubicBezTo>
                    <a:pt x="1131" y="274"/>
                    <a:pt x="1131" y="274"/>
                    <a:pt x="1131" y="274"/>
                  </a:cubicBezTo>
                  <a:cubicBezTo>
                    <a:pt x="1132" y="274"/>
                    <a:pt x="1132" y="274"/>
                    <a:pt x="1132" y="274"/>
                  </a:cubicBezTo>
                  <a:cubicBezTo>
                    <a:pt x="1132" y="273"/>
                    <a:pt x="1132" y="273"/>
                    <a:pt x="1132" y="273"/>
                  </a:cubicBezTo>
                  <a:cubicBezTo>
                    <a:pt x="1133" y="272"/>
                    <a:pt x="1133" y="272"/>
                    <a:pt x="1133" y="272"/>
                  </a:cubicBezTo>
                  <a:cubicBezTo>
                    <a:pt x="1134" y="272"/>
                    <a:pt x="1134" y="272"/>
                    <a:pt x="1134" y="272"/>
                  </a:cubicBezTo>
                  <a:cubicBezTo>
                    <a:pt x="1135" y="271"/>
                    <a:pt x="1135" y="271"/>
                    <a:pt x="1135" y="271"/>
                  </a:cubicBezTo>
                  <a:cubicBezTo>
                    <a:pt x="1136" y="272"/>
                    <a:pt x="1136" y="272"/>
                    <a:pt x="1136" y="272"/>
                  </a:cubicBezTo>
                  <a:cubicBezTo>
                    <a:pt x="1136" y="274"/>
                    <a:pt x="1136" y="274"/>
                    <a:pt x="1136" y="274"/>
                  </a:cubicBezTo>
                  <a:cubicBezTo>
                    <a:pt x="1136" y="275"/>
                    <a:pt x="1136" y="275"/>
                    <a:pt x="1136" y="275"/>
                  </a:cubicBezTo>
                  <a:cubicBezTo>
                    <a:pt x="1135" y="275"/>
                    <a:pt x="1135" y="275"/>
                    <a:pt x="1135" y="275"/>
                  </a:cubicBezTo>
                  <a:cubicBezTo>
                    <a:pt x="1134" y="275"/>
                    <a:pt x="1134" y="275"/>
                    <a:pt x="1134" y="275"/>
                  </a:cubicBezTo>
                  <a:cubicBezTo>
                    <a:pt x="1134" y="274"/>
                    <a:pt x="1134" y="274"/>
                    <a:pt x="1134" y="274"/>
                  </a:cubicBezTo>
                  <a:cubicBezTo>
                    <a:pt x="1133" y="275"/>
                    <a:pt x="1133" y="275"/>
                    <a:pt x="1133" y="275"/>
                  </a:cubicBezTo>
                  <a:cubicBezTo>
                    <a:pt x="1134" y="276"/>
                    <a:pt x="1134" y="276"/>
                    <a:pt x="1134" y="276"/>
                  </a:cubicBezTo>
                  <a:cubicBezTo>
                    <a:pt x="1134" y="278"/>
                    <a:pt x="1134" y="278"/>
                    <a:pt x="1134" y="278"/>
                  </a:cubicBezTo>
                  <a:cubicBezTo>
                    <a:pt x="1135" y="278"/>
                    <a:pt x="1135" y="278"/>
                    <a:pt x="1135" y="278"/>
                  </a:cubicBezTo>
                  <a:cubicBezTo>
                    <a:pt x="1134" y="279"/>
                    <a:pt x="1134" y="279"/>
                    <a:pt x="1134" y="279"/>
                  </a:cubicBezTo>
                  <a:cubicBezTo>
                    <a:pt x="1134" y="280"/>
                    <a:pt x="1134" y="280"/>
                    <a:pt x="1134" y="280"/>
                  </a:cubicBezTo>
                  <a:cubicBezTo>
                    <a:pt x="1134" y="281"/>
                    <a:pt x="1134" y="281"/>
                    <a:pt x="1134" y="281"/>
                  </a:cubicBezTo>
                  <a:cubicBezTo>
                    <a:pt x="1134" y="282"/>
                    <a:pt x="1134" y="282"/>
                    <a:pt x="1134" y="282"/>
                  </a:cubicBezTo>
                  <a:cubicBezTo>
                    <a:pt x="1134" y="283"/>
                    <a:pt x="1134" y="283"/>
                    <a:pt x="1134" y="283"/>
                  </a:cubicBezTo>
                  <a:cubicBezTo>
                    <a:pt x="1135" y="284"/>
                    <a:pt x="1135" y="284"/>
                    <a:pt x="1135" y="284"/>
                  </a:cubicBezTo>
                  <a:cubicBezTo>
                    <a:pt x="1135" y="286"/>
                    <a:pt x="1135" y="286"/>
                    <a:pt x="1135" y="286"/>
                  </a:cubicBezTo>
                  <a:cubicBezTo>
                    <a:pt x="1135" y="287"/>
                    <a:pt x="1135" y="287"/>
                    <a:pt x="1135" y="287"/>
                  </a:cubicBezTo>
                  <a:cubicBezTo>
                    <a:pt x="1135" y="288"/>
                    <a:pt x="1135" y="288"/>
                    <a:pt x="1135" y="288"/>
                  </a:cubicBezTo>
                  <a:cubicBezTo>
                    <a:pt x="1135" y="288"/>
                    <a:pt x="1135" y="288"/>
                    <a:pt x="1135" y="288"/>
                  </a:cubicBezTo>
                  <a:cubicBezTo>
                    <a:pt x="1134" y="288"/>
                    <a:pt x="1134" y="288"/>
                    <a:pt x="1134" y="288"/>
                  </a:cubicBezTo>
                  <a:cubicBezTo>
                    <a:pt x="1133" y="286"/>
                    <a:pt x="1133" y="286"/>
                    <a:pt x="1133" y="286"/>
                  </a:cubicBezTo>
                  <a:cubicBezTo>
                    <a:pt x="1131" y="285"/>
                    <a:pt x="1131" y="285"/>
                    <a:pt x="1131" y="285"/>
                  </a:cubicBezTo>
                  <a:cubicBezTo>
                    <a:pt x="1130" y="284"/>
                    <a:pt x="1130" y="284"/>
                    <a:pt x="1130" y="284"/>
                  </a:cubicBezTo>
                  <a:cubicBezTo>
                    <a:pt x="1130" y="283"/>
                    <a:pt x="1130" y="283"/>
                    <a:pt x="1130" y="283"/>
                  </a:cubicBezTo>
                  <a:cubicBezTo>
                    <a:pt x="1130" y="282"/>
                    <a:pt x="1130" y="282"/>
                    <a:pt x="1130" y="282"/>
                  </a:cubicBezTo>
                  <a:cubicBezTo>
                    <a:pt x="1130" y="282"/>
                    <a:pt x="1130" y="282"/>
                    <a:pt x="1130" y="282"/>
                  </a:cubicBezTo>
                  <a:cubicBezTo>
                    <a:pt x="1129" y="282"/>
                    <a:pt x="1129" y="282"/>
                    <a:pt x="1129" y="282"/>
                  </a:cubicBezTo>
                  <a:cubicBezTo>
                    <a:pt x="1128" y="281"/>
                    <a:pt x="1128" y="281"/>
                    <a:pt x="1128" y="281"/>
                  </a:cubicBezTo>
                  <a:cubicBezTo>
                    <a:pt x="1128" y="282"/>
                    <a:pt x="1128" y="282"/>
                    <a:pt x="1128" y="282"/>
                  </a:cubicBezTo>
                  <a:cubicBezTo>
                    <a:pt x="1127" y="282"/>
                    <a:pt x="1127" y="282"/>
                    <a:pt x="1127" y="282"/>
                  </a:cubicBezTo>
                  <a:cubicBezTo>
                    <a:pt x="1128" y="283"/>
                    <a:pt x="1128" y="283"/>
                    <a:pt x="1128" y="283"/>
                  </a:cubicBezTo>
                  <a:cubicBezTo>
                    <a:pt x="1130" y="286"/>
                    <a:pt x="1130" y="286"/>
                    <a:pt x="1130" y="286"/>
                  </a:cubicBezTo>
                  <a:cubicBezTo>
                    <a:pt x="1132" y="292"/>
                    <a:pt x="1132" y="292"/>
                    <a:pt x="1132" y="292"/>
                  </a:cubicBezTo>
                  <a:cubicBezTo>
                    <a:pt x="1133" y="293"/>
                    <a:pt x="1133" y="293"/>
                    <a:pt x="1133" y="293"/>
                  </a:cubicBezTo>
                  <a:cubicBezTo>
                    <a:pt x="1133" y="293"/>
                    <a:pt x="1133" y="293"/>
                    <a:pt x="1133" y="293"/>
                  </a:cubicBezTo>
                  <a:cubicBezTo>
                    <a:pt x="1135" y="294"/>
                    <a:pt x="1135" y="294"/>
                    <a:pt x="1135" y="294"/>
                  </a:cubicBezTo>
                  <a:cubicBezTo>
                    <a:pt x="1136" y="294"/>
                    <a:pt x="1136" y="294"/>
                    <a:pt x="1136" y="294"/>
                  </a:cubicBezTo>
                  <a:cubicBezTo>
                    <a:pt x="1136" y="295"/>
                    <a:pt x="1136" y="295"/>
                    <a:pt x="1136" y="295"/>
                  </a:cubicBezTo>
                  <a:cubicBezTo>
                    <a:pt x="1137" y="295"/>
                    <a:pt x="1137" y="295"/>
                    <a:pt x="1137" y="295"/>
                  </a:cubicBezTo>
                  <a:cubicBezTo>
                    <a:pt x="1138" y="295"/>
                    <a:pt x="1138" y="295"/>
                    <a:pt x="1138" y="295"/>
                  </a:cubicBezTo>
                  <a:cubicBezTo>
                    <a:pt x="1138" y="295"/>
                    <a:pt x="1138" y="295"/>
                    <a:pt x="1138" y="295"/>
                  </a:cubicBezTo>
                  <a:cubicBezTo>
                    <a:pt x="1138" y="294"/>
                    <a:pt x="1138" y="294"/>
                    <a:pt x="1138" y="294"/>
                  </a:cubicBezTo>
                  <a:cubicBezTo>
                    <a:pt x="1138" y="293"/>
                    <a:pt x="1138" y="293"/>
                    <a:pt x="1138" y="293"/>
                  </a:cubicBezTo>
                  <a:cubicBezTo>
                    <a:pt x="1139" y="294"/>
                    <a:pt x="1139" y="294"/>
                    <a:pt x="1139" y="294"/>
                  </a:cubicBezTo>
                  <a:cubicBezTo>
                    <a:pt x="1139" y="295"/>
                    <a:pt x="1139" y="295"/>
                    <a:pt x="1139" y="295"/>
                  </a:cubicBezTo>
                  <a:cubicBezTo>
                    <a:pt x="1139" y="297"/>
                    <a:pt x="1139" y="297"/>
                    <a:pt x="1139" y="297"/>
                  </a:cubicBezTo>
                  <a:cubicBezTo>
                    <a:pt x="1140" y="298"/>
                    <a:pt x="1140" y="298"/>
                    <a:pt x="1140" y="298"/>
                  </a:cubicBezTo>
                  <a:cubicBezTo>
                    <a:pt x="1141" y="298"/>
                    <a:pt x="1141" y="298"/>
                    <a:pt x="1141" y="298"/>
                  </a:cubicBezTo>
                  <a:cubicBezTo>
                    <a:pt x="1142" y="299"/>
                    <a:pt x="1142" y="299"/>
                    <a:pt x="1142" y="299"/>
                  </a:cubicBezTo>
                  <a:cubicBezTo>
                    <a:pt x="1142" y="300"/>
                    <a:pt x="1142" y="300"/>
                    <a:pt x="1142" y="300"/>
                  </a:cubicBezTo>
                  <a:cubicBezTo>
                    <a:pt x="1144" y="302"/>
                    <a:pt x="1144" y="302"/>
                    <a:pt x="1144" y="302"/>
                  </a:cubicBezTo>
                  <a:cubicBezTo>
                    <a:pt x="1145" y="304"/>
                    <a:pt x="1145" y="304"/>
                    <a:pt x="1145" y="304"/>
                  </a:cubicBezTo>
                  <a:cubicBezTo>
                    <a:pt x="1146" y="305"/>
                    <a:pt x="1146" y="305"/>
                    <a:pt x="1146" y="305"/>
                  </a:cubicBezTo>
                  <a:cubicBezTo>
                    <a:pt x="1147" y="305"/>
                    <a:pt x="1147" y="305"/>
                    <a:pt x="1147" y="305"/>
                  </a:cubicBezTo>
                  <a:cubicBezTo>
                    <a:pt x="1152" y="305"/>
                    <a:pt x="1152" y="305"/>
                    <a:pt x="1152" y="305"/>
                  </a:cubicBezTo>
                  <a:cubicBezTo>
                    <a:pt x="1157" y="305"/>
                    <a:pt x="1157" y="305"/>
                    <a:pt x="1157" y="305"/>
                  </a:cubicBezTo>
                  <a:cubicBezTo>
                    <a:pt x="1158" y="305"/>
                    <a:pt x="1158" y="305"/>
                    <a:pt x="1158" y="305"/>
                  </a:cubicBezTo>
                  <a:cubicBezTo>
                    <a:pt x="1160" y="304"/>
                    <a:pt x="1160" y="304"/>
                    <a:pt x="1160" y="304"/>
                  </a:cubicBezTo>
                  <a:cubicBezTo>
                    <a:pt x="1165" y="304"/>
                    <a:pt x="1165" y="304"/>
                    <a:pt x="1165" y="304"/>
                  </a:cubicBezTo>
                  <a:cubicBezTo>
                    <a:pt x="1169" y="305"/>
                    <a:pt x="1169" y="305"/>
                    <a:pt x="1169" y="305"/>
                  </a:cubicBezTo>
                  <a:cubicBezTo>
                    <a:pt x="1170" y="307"/>
                    <a:pt x="1170" y="307"/>
                    <a:pt x="1170" y="307"/>
                  </a:cubicBezTo>
                  <a:cubicBezTo>
                    <a:pt x="1171" y="308"/>
                    <a:pt x="1171" y="308"/>
                    <a:pt x="1171" y="308"/>
                  </a:cubicBezTo>
                  <a:cubicBezTo>
                    <a:pt x="1171" y="308"/>
                    <a:pt x="1171" y="308"/>
                    <a:pt x="1171" y="308"/>
                  </a:cubicBezTo>
                  <a:cubicBezTo>
                    <a:pt x="1171" y="309"/>
                    <a:pt x="1171" y="309"/>
                    <a:pt x="1171" y="309"/>
                  </a:cubicBezTo>
                  <a:cubicBezTo>
                    <a:pt x="1171" y="309"/>
                    <a:pt x="1171" y="309"/>
                    <a:pt x="1171" y="309"/>
                  </a:cubicBezTo>
                  <a:cubicBezTo>
                    <a:pt x="1171" y="310"/>
                    <a:pt x="1171" y="310"/>
                    <a:pt x="1171" y="310"/>
                  </a:cubicBezTo>
                  <a:cubicBezTo>
                    <a:pt x="1171" y="311"/>
                    <a:pt x="1171" y="311"/>
                    <a:pt x="1171" y="311"/>
                  </a:cubicBezTo>
                  <a:cubicBezTo>
                    <a:pt x="1172" y="311"/>
                    <a:pt x="1172" y="311"/>
                    <a:pt x="1172" y="311"/>
                  </a:cubicBezTo>
                  <a:cubicBezTo>
                    <a:pt x="1172" y="311"/>
                    <a:pt x="1172" y="311"/>
                    <a:pt x="1172" y="311"/>
                  </a:cubicBezTo>
                  <a:cubicBezTo>
                    <a:pt x="1172" y="314"/>
                    <a:pt x="1172" y="314"/>
                    <a:pt x="1172" y="314"/>
                  </a:cubicBezTo>
                  <a:cubicBezTo>
                    <a:pt x="1174" y="315"/>
                    <a:pt x="1174" y="315"/>
                    <a:pt x="1174" y="315"/>
                  </a:cubicBezTo>
                  <a:cubicBezTo>
                    <a:pt x="1180" y="315"/>
                    <a:pt x="1180" y="315"/>
                    <a:pt x="1180" y="315"/>
                  </a:cubicBezTo>
                  <a:cubicBezTo>
                    <a:pt x="1181" y="316"/>
                    <a:pt x="1181" y="316"/>
                    <a:pt x="1181" y="316"/>
                  </a:cubicBezTo>
                  <a:cubicBezTo>
                    <a:pt x="1181" y="317"/>
                    <a:pt x="1181" y="317"/>
                    <a:pt x="1181" y="317"/>
                  </a:cubicBezTo>
                  <a:cubicBezTo>
                    <a:pt x="1181" y="317"/>
                    <a:pt x="1181" y="317"/>
                    <a:pt x="1181" y="317"/>
                  </a:cubicBezTo>
                  <a:cubicBezTo>
                    <a:pt x="1180" y="318"/>
                    <a:pt x="1180" y="318"/>
                    <a:pt x="1180" y="318"/>
                  </a:cubicBezTo>
                  <a:cubicBezTo>
                    <a:pt x="1180" y="319"/>
                    <a:pt x="1180" y="319"/>
                    <a:pt x="1180" y="319"/>
                  </a:cubicBezTo>
                  <a:cubicBezTo>
                    <a:pt x="1181" y="320"/>
                    <a:pt x="1181" y="320"/>
                    <a:pt x="1181" y="320"/>
                  </a:cubicBezTo>
                  <a:cubicBezTo>
                    <a:pt x="1180" y="321"/>
                    <a:pt x="1180" y="321"/>
                    <a:pt x="1180" y="321"/>
                  </a:cubicBezTo>
                  <a:cubicBezTo>
                    <a:pt x="1180" y="323"/>
                    <a:pt x="1180" y="323"/>
                    <a:pt x="1180" y="323"/>
                  </a:cubicBezTo>
                  <a:cubicBezTo>
                    <a:pt x="1179" y="323"/>
                    <a:pt x="1179" y="323"/>
                    <a:pt x="1179" y="323"/>
                  </a:cubicBezTo>
                  <a:cubicBezTo>
                    <a:pt x="1177" y="323"/>
                    <a:pt x="1177" y="323"/>
                    <a:pt x="1177" y="323"/>
                  </a:cubicBezTo>
                  <a:cubicBezTo>
                    <a:pt x="1170" y="320"/>
                    <a:pt x="1170" y="320"/>
                    <a:pt x="1170" y="320"/>
                  </a:cubicBezTo>
                  <a:cubicBezTo>
                    <a:pt x="1168" y="319"/>
                    <a:pt x="1168" y="319"/>
                    <a:pt x="1168" y="319"/>
                  </a:cubicBezTo>
                  <a:cubicBezTo>
                    <a:pt x="1159" y="317"/>
                    <a:pt x="1159" y="317"/>
                    <a:pt x="1159" y="317"/>
                  </a:cubicBezTo>
                  <a:cubicBezTo>
                    <a:pt x="1152" y="316"/>
                    <a:pt x="1152" y="316"/>
                    <a:pt x="1152" y="316"/>
                  </a:cubicBezTo>
                  <a:cubicBezTo>
                    <a:pt x="1149" y="315"/>
                    <a:pt x="1149" y="315"/>
                    <a:pt x="1149" y="315"/>
                  </a:cubicBezTo>
                  <a:cubicBezTo>
                    <a:pt x="1148" y="316"/>
                    <a:pt x="1148" y="316"/>
                    <a:pt x="1148" y="316"/>
                  </a:cubicBezTo>
                  <a:cubicBezTo>
                    <a:pt x="1147" y="317"/>
                    <a:pt x="1147" y="317"/>
                    <a:pt x="1147" y="317"/>
                  </a:cubicBezTo>
                  <a:cubicBezTo>
                    <a:pt x="1145" y="319"/>
                    <a:pt x="1145" y="319"/>
                    <a:pt x="1145" y="319"/>
                  </a:cubicBezTo>
                  <a:cubicBezTo>
                    <a:pt x="1145" y="320"/>
                    <a:pt x="1145" y="320"/>
                    <a:pt x="1145" y="320"/>
                  </a:cubicBezTo>
                  <a:cubicBezTo>
                    <a:pt x="1144" y="320"/>
                    <a:pt x="1144" y="320"/>
                    <a:pt x="1144" y="320"/>
                  </a:cubicBezTo>
                  <a:cubicBezTo>
                    <a:pt x="1144" y="320"/>
                    <a:pt x="1144" y="320"/>
                    <a:pt x="1144" y="320"/>
                  </a:cubicBezTo>
                  <a:cubicBezTo>
                    <a:pt x="1145" y="321"/>
                    <a:pt x="1145" y="321"/>
                    <a:pt x="1145" y="321"/>
                  </a:cubicBezTo>
                  <a:cubicBezTo>
                    <a:pt x="1145" y="322"/>
                    <a:pt x="1145" y="322"/>
                    <a:pt x="1145" y="322"/>
                  </a:cubicBezTo>
                  <a:cubicBezTo>
                    <a:pt x="1144" y="324"/>
                    <a:pt x="1144" y="324"/>
                    <a:pt x="1144" y="324"/>
                  </a:cubicBezTo>
                  <a:cubicBezTo>
                    <a:pt x="1143" y="326"/>
                    <a:pt x="1143" y="326"/>
                    <a:pt x="1143" y="326"/>
                  </a:cubicBezTo>
                  <a:cubicBezTo>
                    <a:pt x="1143" y="326"/>
                    <a:pt x="1143" y="326"/>
                    <a:pt x="1143" y="326"/>
                  </a:cubicBezTo>
                  <a:cubicBezTo>
                    <a:pt x="1143" y="326"/>
                    <a:pt x="1143" y="326"/>
                    <a:pt x="1143" y="326"/>
                  </a:cubicBezTo>
                  <a:cubicBezTo>
                    <a:pt x="1142" y="326"/>
                    <a:pt x="1142" y="326"/>
                    <a:pt x="1142" y="326"/>
                  </a:cubicBezTo>
                  <a:cubicBezTo>
                    <a:pt x="1142" y="326"/>
                    <a:pt x="1142" y="326"/>
                    <a:pt x="1142" y="326"/>
                  </a:cubicBezTo>
                  <a:cubicBezTo>
                    <a:pt x="1141" y="326"/>
                    <a:pt x="1141" y="326"/>
                    <a:pt x="1141" y="326"/>
                  </a:cubicBezTo>
                  <a:cubicBezTo>
                    <a:pt x="1141" y="326"/>
                    <a:pt x="1141" y="326"/>
                    <a:pt x="1141" y="326"/>
                  </a:cubicBezTo>
                  <a:cubicBezTo>
                    <a:pt x="1139" y="328"/>
                    <a:pt x="1139" y="328"/>
                    <a:pt x="1139" y="328"/>
                  </a:cubicBezTo>
                  <a:cubicBezTo>
                    <a:pt x="1139" y="328"/>
                    <a:pt x="1139" y="328"/>
                    <a:pt x="1139" y="328"/>
                  </a:cubicBezTo>
                  <a:cubicBezTo>
                    <a:pt x="1139" y="328"/>
                    <a:pt x="1139" y="328"/>
                    <a:pt x="1139" y="328"/>
                  </a:cubicBezTo>
                  <a:cubicBezTo>
                    <a:pt x="1138" y="327"/>
                    <a:pt x="1138" y="327"/>
                    <a:pt x="1138" y="327"/>
                  </a:cubicBezTo>
                  <a:cubicBezTo>
                    <a:pt x="1137" y="327"/>
                    <a:pt x="1137" y="327"/>
                    <a:pt x="1137" y="327"/>
                  </a:cubicBezTo>
                  <a:cubicBezTo>
                    <a:pt x="1136" y="328"/>
                    <a:pt x="1136" y="328"/>
                    <a:pt x="1136" y="328"/>
                  </a:cubicBezTo>
                  <a:cubicBezTo>
                    <a:pt x="1136" y="328"/>
                    <a:pt x="1136" y="328"/>
                    <a:pt x="1136" y="328"/>
                  </a:cubicBezTo>
                  <a:cubicBezTo>
                    <a:pt x="1135" y="328"/>
                    <a:pt x="1135" y="328"/>
                    <a:pt x="1135" y="328"/>
                  </a:cubicBezTo>
                  <a:cubicBezTo>
                    <a:pt x="1135" y="328"/>
                    <a:pt x="1135" y="328"/>
                    <a:pt x="1135" y="328"/>
                  </a:cubicBezTo>
                  <a:cubicBezTo>
                    <a:pt x="1135" y="327"/>
                    <a:pt x="1135" y="327"/>
                    <a:pt x="1135" y="327"/>
                  </a:cubicBezTo>
                  <a:cubicBezTo>
                    <a:pt x="1135" y="326"/>
                    <a:pt x="1135" y="326"/>
                    <a:pt x="1135" y="326"/>
                  </a:cubicBezTo>
                  <a:cubicBezTo>
                    <a:pt x="1134" y="326"/>
                    <a:pt x="1134" y="326"/>
                    <a:pt x="1134" y="326"/>
                  </a:cubicBezTo>
                  <a:cubicBezTo>
                    <a:pt x="1134" y="326"/>
                    <a:pt x="1134" y="326"/>
                    <a:pt x="1134" y="326"/>
                  </a:cubicBezTo>
                  <a:cubicBezTo>
                    <a:pt x="1133" y="326"/>
                    <a:pt x="1133" y="326"/>
                    <a:pt x="1133" y="326"/>
                  </a:cubicBezTo>
                  <a:cubicBezTo>
                    <a:pt x="1132" y="325"/>
                    <a:pt x="1132" y="325"/>
                    <a:pt x="1132" y="325"/>
                  </a:cubicBezTo>
                  <a:cubicBezTo>
                    <a:pt x="1131" y="324"/>
                    <a:pt x="1131" y="324"/>
                    <a:pt x="1131" y="324"/>
                  </a:cubicBezTo>
                  <a:cubicBezTo>
                    <a:pt x="1130" y="324"/>
                    <a:pt x="1130" y="324"/>
                    <a:pt x="1130" y="324"/>
                  </a:cubicBezTo>
                  <a:cubicBezTo>
                    <a:pt x="1130" y="324"/>
                    <a:pt x="1130" y="324"/>
                    <a:pt x="1130" y="324"/>
                  </a:cubicBezTo>
                  <a:cubicBezTo>
                    <a:pt x="1129" y="324"/>
                    <a:pt x="1129" y="324"/>
                    <a:pt x="1129" y="324"/>
                  </a:cubicBezTo>
                  <a:cubicBezTo>
                    <a:pt x="1129" y="324"/>
                    <a:pt x="1129" y="324"/>
                    <a:pt x="1129" y="324"/>
                  </a:cubicBezTo>
                  <a:cubicBezTo>
                    <a:pt x="1128" y="325"/>
                    <a:pt x="1128" y="325"/>
                    <a:pt x="1128" y="325"/>
                  </a:cubicBezTo>
                  <a:cubicBezTo>
                    <a:pt x="1127" y="326"/>
                    <a:pt x="1127" y="326"/>
                    <a:pt x="1127" y="326"/>
                  </a:cubicBezTo>
                  <a:cubicBezTo>
                    <a:pt x="1127" y="328"/>
                    <a:pt x="1127" y="328"/>
                    <a:pt x="1127" y="328"/>
                  </a:cubicBezTo>
                  <a:cubicBezTo>
                    <a:pt x="1127" y="331"/>
                    <a:pt x="1127" y="331"/>
                    <a:pt x="1127" y="331"/>
                  </a:cubicBezTo>
                  <a:cubicBezTo>
                    <a:pt x="1127" y="333"/>
                    <a:pt x="1127" y="333"/>
                    <a:pt x="1127" y="333"/>
                  </a:cubicBezTo>
                  <a:cubicBezTo>
                    <a:pt x="1126" y="334"/>
                    <a:pt x="1126" y="334"/>
                    <a:pt x="1126" y="334"/>
                  </a:cubicBezTo>
                  <a:cubicBezTo>
                    <a:pt x="1126" y="335"/>
                    <a:pt x="1126" y="335"/>
                    <a:pt x="1126" y="335"/>
                  </a:cubicBezTo>
                  <a:cubicBezTo>
                    <a:pt x="1124" y="335"/>
                    <a:pt x="1124" y="335"/>
                    <a:pt x="1124" y="335"/>
                  </a:cubicBezTo>
                  <a:cubicBezTo>
                    <a:pt x="1121" y="334"/>
                    <a:pt x="1121" y="334"/>
                    <a:pt x="1121" y="334"/>
                  </a:cubicBezTo>
                  <a:cubicBezTo>
                    <a:pt x="1121" y="332"/>
                    <a:pt x="1121" y="332"/>
                    <a:pt x="1121" y="332"/>
                  </a:cubicBezTo>
                  <a:cubicBezTo>
                    <a:pt x="1120" y="331"/>
                    <a:pt x="1120" y="331"/>
                    <a:pt x="1120" y="331"/>
                  </a:cubicBezTo>
                  <a:cubicBezTo>
                    <a:pt x="1120" y="330"/>
                    <a:pt x="1120" y="330"/>
                    <a:pt x="1120" y="330"/>
                  </a:cubicBezTo>
                  <a:cubicBezTo>
                    <a:pt x="1119" y="329"/>
                    <a:pt x="1119" y="329"/>
                    <a:pt x="1119" y="329"/>
                  </a:cubicBezTo>
                  <a:cubicBezTo>
                    <a:pt x="1118" y="328"/>
                    <a:pt x="1118" y="328"/>
                    <a:pt x="1118" y="328"/>
                  </a:cubicBezTo>
                  <a:cubicBezTo>
                    <a:pt x="1117" y="327"/>
                    <a:pt x="1117" y="327"/>
                    <a:pt x="1117" y="327"/>
                  </a:cubicBezTo>
                  <a:cubicBezTo>
                    <a:pt x="1116" y="328"/>
                    <a:pt x="1116" y="328"/>
                    <a:pt x="1116" y="328"/>
                  </a:cubicBezTo>
                  <a:cubicBezTo>
                    <a:pt x="1115" y="330"/>
                    <a:pt x="1115" y="330"/>
                    <a:pt x="1115" y="330"/>
                  </a:cubicBezTo>
                  <a:cubicBezTo>
                    <a:pt x="1115" y="331"/>
                    <a:pt x="1115" y="331"/>
                    <a:pt x="1115" y="331"/>
                  </a:cubicBezTo>
                  <a:cubicBezTo>
                    <a:pt x="1114" y="332"/>
                    <a:pt x="1114" y="332"/>
                    <a:pt x="1114" y="332"/>
                  </a:cubicBezTo>
                  <a:cubicBezTo>
                    <a:pt x="1114" y="333"/>
                    <a:pt x="1114" y="333"/>
                    <a:pt x="1114" y="333"/>
                  </a:cubicBezTo>
                  <a:cubicBezTo>
                    <a:pt x="1114" y="334"/>
                    <a:pt x="1114" y="334"/>
                    <a:pt x="1114" y="334"/>
                  </a:cubicBezTo>
                  <a:cubicBezTo>
                    <a:pt x="1115" y="336"/>
                    <a:pt x="1115" y="336"/>
                    <a:pt x="1115" y="336"/>
                  </a:cubicBezTo>
                  <a:cubicBezTo>
                    <a:pt x="1116" y="338"/>
                    <a:pt x="1116" y="338"/>
                    <a:pt x="1116" y="338"/>
                  </a:cubicBezTo>
                  <a:cubicBezTo>
                    <a:pt x="1117" y="340"/>
                    <a:pt x="1117" y="340"/>
                    <a:pt x="1117" y="340"/>
                  </a:cubicBezTo>
                  <a:cubicBezTo>
                    <a:pt x="1116" y="343"/>
                    <a:pt x="1116" y="343"/>
                    <a:pt x="1116" y="343"/>
                  </a:cubicBezTo>
                  <a:cubicBezTo>
                    <a:pt x="1115" y="346"/>
                    <a:pt x="1115" y="346"/>
                    <a:pt x="1115" y="346"/>
                  </a:cubicBezTo>
                  <a:cubicBezTo>
                    <a:pt x="1115" y="347"/>
                    <a:pt x="1115" y="347"/>
                    <a:pt x="1115" y="347"/>
                  </a:cubicBezTo>
                  <a:cubicBezTo>
                    <a:pt x="1117" y="348"/>
                    <a:pt x="1117" y="348"/>
                    <a:pt x="1117" y="348"/>
                  </a:cubicBezTo>
                  <a:cubicBezTo>
                    <a:pt x="1118" y="349"/>
                    <a:pt x="1118" y="349"/>
                    <a:pt x="1118" y="349"/>
                  </a:cubicBezTo>
                  <a:cubicBezTo>
                    <a:pt x="1118" y="350"/>
                    <a:pt x="1118" y="350"/>
                    <a:pt x="1118" y="350"/>
                  </a:cubicBezTo>
                  <a:cubicBezTo>
                    <a:pt x="1118" y="351"/>
                    <a:pt x="1118" y="351"/>
                    <a:pt x="1118" y="351"/>
                  </a:cubicBezTo>
                  <a:cubicBezTo>
                    <a:pt x="1119" y="351"/>
                    <a:pt x="1119" y="351"/>
                    <a:pt x="1119" y="351"/>
                  </a:cubicBezTo>
                  <a:cubicBezTo>
                    <a:pt x="1120" y="352"/>
                    <a:pt x="1120" y="352"/>
                    <a:pt x="1120" y="352"/>
                  </a:cubicBezTo>
                  <a:cubicBezTo>
                    <a:pt x="1120" y="352"/>
                    <a:pt x="1120" y="352"/>
                    <a:pt x="1120" y="352"/>
                  </a:cubicBezTo>
                  <a:cubicBezTo>
                    <a:pt x="1120" y="353"/>
                    <a:pt x="1120" y="353"/>
                    <a:pt x="1120" y="353"/>
                  </a:cubicBezTo>
                  <a:cubicBezTo>
                    <a:pt x="1119" y="353"/>
                    <a:pt x="1119" y="353"/>
                    <a:pt x="1119" y="353"/>
                  </a:cubicBezTo>
                  <a:cubicBezTo>
                    <a:pt x="1119" y="353"/>
                    <a:pt x="1119" y="353"/>
                    <a:pt x="1119" y="353"/>
                  </a:cubicBezTo>
                  <a:cubicBezTo>
                    <a:pt x="1118" y="353"/>
                    <a:pt x="1118" y="353"/>
                    <a:pt x="1118" y="353"/>
                  </a:cubicBezTo>
                  <a:cubicBezTo>
                    <a:pt x="1118" y="352"/>
                    <a:pt x="1118" y="352"/>
                    <a:pt x="1118" y="352"/>
                  </a:cubicBezTo>
                  <a:cubicBezTo>
                    <a:pt x="1117" y="352"/>
                    <a:pt x="1117" y="352"/>
                    <a:pt x="1117" y="352"/>
                  </a:cubicBezTo>
                  <a:cubicBezTo>
                    <a:pt x="1117" y="350"/>
                    <a:pt x="1117" y="350"/>
                    <a:pt x="1117" y="350"/>
                  </a:cubicBezTo>
                  <a:cubicBezTo>
                    <a:pt x="1116" y="349"/>
                    <a:pt x="1116" y="349"/>
                    <a:pt x="1116" y="349"/>
                  </a:cubicBezTo>
                  <a:cubicBezTo>
                    <a:pt x="1115" y="348"/>
                    <a:pt x="1115" y="348"/>
                    <a:pt x="1115" y="348"/>
                  </a:cubicBezTo>
                  <a:cubicBezTo>
                    <a:pt x="1114" y="347"/>
                    <a:pt x="1114" y="347"/>
                    <a:pt x="1114" y="347"/>
                  </a:cubicBezTo>
                  <a:cubicBezTo>
                    <a:pt x="1113" y="349"/>
                    <a:pt x="1113" y="349"/>
                    <a:pt x="1113" y="349"/>
                  </a:cubicBezTo>
                  <a:cubicBezTo>
                    <a:pt x="1112" y="351"/>
                    <a:pt x="1112" y="351"/>
                    <a:pt x="1112" y="351"/>
                  </a:cubicBezTo>
                  <a:cubicBezTo>
                    <a:pt x="1111" y="351"/>
                    <a:pt x="1111" y="351"/>
                    <a:pt x="1111" y="351"/>
                  </a:cubicBezTo>
                  <a:cubicBezTo>
                    <a:pt x="1110" y="352"/>
                    <a:pt x="1110" y="352"/>
                    <a:pt x="1110" y="352"/>
                  </a:cubicBezTo>
                  <a:cubicBezTo>
                    <a:pt x="1105" y="350"/>
                    <a:pt x="1105" y="350"/>
                    <a:pt x="1105" y="350"/>
                  </a:cubicBezTo>
                  <a:cubicBezTo>
                    <a:pt x="1100" y="350"/>
                    <a:pt x="1100" y="350"/>
                    <a:pt x="1100" y="350"/>
                  </a:cubicBezTo>
                  <a:cubicBezTo>
                    <a:pt x="1096" y="349"/>
                    <a:pt x="1096" y="349"/>
                    <a:pt x="1096" y="349"/>
                  </a:cubicBezTo>
                  <a:cubicBezTo>
                    <a:pt x="1092" y="349"/>
                    <a:pt x="1092" y="349"/>
                    <a:pt x="1092" y="349"/>
                  </a:cubicBezTo>
                  <a:cubicBezTo>
                    <a:pt x="1087" y="349"/>
                    <a:pt x="1087" y="349"/>
                    <a:pt x="1087" y="349"/>
                  </a:cubicBezTo>
                  <a:cubicBezTo>
                    <a:pt x="1082" y="349"/>
                    <a:pt x="1082" y="349"/>
                    <a:pt x="1082" y="349"/>
                  </a:cubicBezTo>
                  <a:cubicBezTo>
                    <a:pt x="1081" y="348"/>
                    <a:pt x="1081" y="348"/>
                    <a:pt x="1081" y="348"/>
                  </a:cubicBezTo>
                  <a:cubicBezTo>
                    <a:pt x="1080" y="348"/>
                    <a:pt x="1080" y="348"/>
                    <a:pt x="1080" y="348"/>
                  </a:cubicBezTo>
                  <a:cubicBezTo>
                    <a:pt x="1079" y="347"/>
                    <a:pt x="1079" y="347"/>
                    <a:pt x="1079" y="347"/>
                  </a:cubicBezTo>
                  <a:cubicBezTo>
                    <a:pt x="1077" y="345"/>
                    <a:pt x="1077" y="345"/>
                    <a:pt x="1077" y="345"/>
                  </a:cubicBezTo>
                  <a:cubicBezTo>
                    <a:pt x="1076" y="344"/>
                    <a:pt x="1076" y="344"/>
                    <a:pt x="1076" y="344"/>
                  </a:cubicBezTo>
                  <a:cubicBezTo>
                    <a:pt x="1075" y="343"/>
                    <a:pt x="1075" y="343"/>
                    <a:pt x="1075" y="343"/>
                  </a:cubicBezTo>
                  <a:cubicBezTo>
                    <a:pt x="1074" y="342"/>
                    <a:pt x="1074" y="342"/>
                    <a:pt x="1074" y="342"/>
                  </a:cubicBezTo>
                  <a:cubicBezTo>
                    <a:pt x="1073" y="342"/>
                    <a:pt x="1073" y="342"/>
                    <a:pt x="1073" y="342"/>
                  </a:cubicBezTo>
                  <a:cubicBezTo>
                    <a:pt x="1071" y="342"/>
                    <a:pt x="1071" y="342"/>
                    <a:pt x="1071" y="342"/>
                  </a:cubicBezTo>
                  <a:cubicBezTo>
                    <a:pt x="1071" y="342"/>
                    <a:pt x="1071" y="342"/>
                    <a:pt x="1071" y="342"/>
                  </a:cubicBezTo>
                  <a:cubicBezTo>
                    <a:pt x="1070" y="343"/>
                    <a:pt x="1070" y="343"/>
                    <a:pt x="1070" y="343"/>
                  </a:cubicBezTo>
                  <a:cubicBezTo>
                    <a:pt x="1069" y="343"/>
                    <a:pt x="1069" y="343"/>
                    <a:pt x="1069" y="343"/>
                  </a:cubicBezTo>
                  <a:cubicBezTo>
                    <a:pt x="1069" y="343"/>
                    <a:pt x="1069" y="343"/>
                    <a:pt x="1069" y="343"/>
                  </a:cubicBezTo>
                  <a:cubicBezTo>
                    <a:pt x="1068" y="343"/>
                    <a:pt x="1068" y="343"/>
                    <a:pt x="1068" y="343"/>
                  </a:cubicBezTo>
                  <a:cubicBezTo>
                    <a:pt x="1066" y="342"/>
                    <a:pt x="1066" y="342"/>
                    <a:pt x="1066" y="342"/>
                  </a:cubicBezTo>
                  <a:cubicBezTo>
                    <a:pt x="1064" y="341"/>
                    <a:pt x="1064" y="341"/>
                    <a:pt x="1064" y="341"/>
                  </a:cubicBezTo>
                  <a:cubicBezTo>
                    <a:pt x="1063" y="340"/>
                    <a:pt x="1063" y="340"/>
                    <a:pt x="1063" y="340"/>
                  </a:cubicBezTo>
                  <a:cubicBezTo>
                    <a:pt x="1062" y="340"/>
                    <a:pt x="1062" y="340"/>
                    <a:pt x="1062" y="340"/>
                  </a:cubicBezTo>
                  <a:cubicBezTo>
                    <a:pt x="1057" y="340"/>
                    <a:pt x="1057" y="340"/>
                    <a:pt x="1057" y="340"/>
                  </a:cubicBezTo>
                  <a:cubicBezTo>
                    <a:pt x="1056" y="340"/>
                    <a:pt x="1056" y="340"/>
                    <a:pt x="1056" y="340"/>
                  </a:cubicBezTo>
                  <a:cubicBezTo>
                    <a:pt x="1056" y="340"/>
                    <a:pt x="1056" y="340"/>
                    <a:pt x="1056" y="340"/>
                  </a:cubicBezTo>
                  <a:cubicBezTo>
                    <a:pt x="1056" y="339"/>
                    <a:pt x="1056" y="339"/>
                    <a:pt x="1056" y="339"/>
                  </a:cubicBezTo>
                  <a:cubicBezTo>
                    <a:pt x="1056" y="339"/>
                    <a:pt x="1056" y="339"/>
                    <a:pt x="1056" y="339"/>
                  </a:cubicBezTo>
                  <a:cubicBezTo>
                    <a:pt x="1055" y="338"/>
                    <a:pt x="1055" y="338"/>
                    <a:pt x="1055" y="338"/>
                  </a:cubicBezTo>
                  <a:cubicBezTo>
                    <a:pt x="1054" y="337"/>
                    <a:pt x="1054" y="337"/>
                    <a:pt x="1054" y="337"/>
                  </a:cubicBezTo>
                  <a:cubicBezTo>
                    <a:pt x="1054" y="337"/>
                    <a:pt x="1054" y="337"/>
                    <a:pt x="1054" y="337"/>
                  </a:cubicBezTo>
                  <a:cubicBezTo>
                    <a:pt x="1053" y="337"/>
                    <a:pt x="1053" y="337"/>
                    <a:pt x="1053" y="337"/>
                  </a:cubicBezTo>
                  <a:cubicBezTo>
                    <a:pt x="1053" y="338"/>
                    <a:pt x="1053" y="338"/>
                    <a:pt x="1053" y="338"/>
                  </a:cubicBezTo>
                  <a:cubicBezTo>
                    <a:pt x="1053" y="339"/>
                    <a:pt x="1053" y="339"/>
                    <a:pt x="1053" y="339"/>
                  </a:cubicBezTo>
                  <a:cubicBezTo>
                    <a:pt x="1053" y="339"/>
                    <a:pt x="1053" y="339"/>
                    <a:pt x="1053" y="339"/>
                  </a:cubicBezTo>
                  <a:cubicBezTo>
                    <a:pt x="1053" y="339"/>
                    <a:pt x="1053" y="339"/>
                    <a:pt x="1053" y="339"/>
                  </a:cubicBezTo>
                  <a:cubicBezTo>
                    <a:pt x="1052" y="340"/>
                    <a:pt x="1052" y="340"/>
                    <a:pt x="1052" y="340"/>
                  </a:cubicBezTo>
                  <a:cubicBezTo>
                    <a:pt x="1052" y="339"/>
                    <a:pt x="1052" y="339"/>
                    <a:pt x="1052" y="339"/>
                  </a:cubicBezTo>
                  <a:cubicBezTo>
                    <a:pt x="1051" y="338"/>
                    <a:pt x="1051" y="338"/>
                    <a:pt x="1051" y="338"/>
                  </a:cubicBezTo>
                  <a:cubicBezTo>
                    <a:pt x="1050" y="337"/>
                    <a:pt x="1050" y="337"/>
                    <a:pt x="1050" y="337"/>
                  </a:cubicBezTo>
                  <a:cubicBezTo>
                    <a:pt x="1050" y="339"/>
                    <a:pt x="1050" y="339"/>
                    <a:pt x="1050" y="339"/>
                  </a:cubicBezTo>
                  <a:cubicBezTo>
                    <a:pt x="1050" y="339"/>
                    <a:pt x="1050" y="339"/>
                    <a:pt x="1050" y="339"/>
                  </a:cubicBezTo>
                  <a:cubicBezTo>
                    <a:pt x="1050" y="340"/>
                    <a:pt x="1050" y="340"/>
                    <a:pt x="1050" y="340"/>
                  </a:cubicBezTo>
                  <a:cubicBezTo>
                    <a:pt x="1049" y="341"/>
                    <a:pt x="1049" y="341"/>
                    <a:pt x="1049" y="341"/>
                  </a:cubicBezTo>
                  <a:cubicBezTo>
                    <a:pt x="1049" y="341"/>
                    <a:pt x="1049" y="341"/>
                    <a:pt x="1049" y="341"/>
                  </a:cubicBezTo>
                  <a:cubicBezTo>
                    <a:pt x="1049" y="341"/>
                    <a:pt x="1049" y="341"/>
                    <a:pt x="1049" y="341"/>
                  </a:cubicBezTo>
                  <a:cubicBezTo>
                    <a:pt x="1048" y="340"/>
                    <a:pt x="1048" y="340"/>
                    <a:pt x="1048" y="340"/>
                  </a:cubicBezTo>
                  <a:cubicBezTo>
                    <a:pt x="1048" y="340"/>
                    <a:pt x="1048" y="340"/>
                    <a:pt x="1048" y="340"/>
                  </a:cubicBezTo>
                  <a:cubicBezTo>
                    <a:pt x="1047" y="338"/>
                    <a:pt x="1047" y="338"/>
                    <a:pt x="1047" y="338"/>
                  </a:cubicBezTo>
                  <a:cubicBezTo>
                    <a:pt x="1047" y="338"/>
                    <a:pt x="1047" y="338"/>
                    <a:pt x="1047" y="338"/>
                  </a:cubicBezTo>
                  <a:cubicBezTo>
                    <a:pt x="1047" y="337"/>
                    <a:pt x="1047" y="337"/>
                    <a:pt x="1047" y="337"/>
                  </a:cubicBezTo>
                  <a:cubicBezTo>
                    <a:pt x="1046" y="335"/>
                    <a:pt x="1046" y="335"/>
                    <a:pt x="1046" y="335"/>
                  </a:cubicBezTo>
                  <a:cubicBezTo>
                    <a:pt x="1045" y="335"/>
                    <a:pt x="1045" y="335"/>
                    <a:pt x="1045" y="335"/>
                  </a:cubicBezTo>
                  <a:cubicBezTo>
                    <a:pt x="1044" y="336"/>
                    <a:pt x="1044" y="336"/>
                    <a:pt x="1044" y="336"/>
                  </a:cubicBezTo>
                  <a:cubicBezTo>
                    <a:pt x="1045" y="336"/>
                    <a:pt x="1045" y="336"/>
                    <a:pt x="1045" y="336"/>
                  </a:cubicBezTo>
                  <a:cubicBezTo>
                    <a:pt x="1045" y="336"/>
                    <a:pt x="1045" y="336"/>
                    <a:pt x="1045" y="336"/>
                  </a:cubicBezTo>
                  <a:cubicBezTo>
                    <a:pt x="1045" y="337"/>
                    <a:pt x="1045" y="337"/>
                    <a:pt x="1045" y="337"/>
                  </a:cubicBezTo>
                  <a:cubicBezTo>
                    <a:pt x="1045" y="338"/>
                    <a:pt x="1045" y="338"/>
                    <a:pt x="1045" y="338"/>
                  </a:cubicBezTo>
                  <a:cubicBezTo>
                    <a:pt x="1045" y="339"/>
                    <a:pt x="1045" y="339"/>
                    <a:pt x="1045" y="339"/>
                  </a:cubicBezTo>
                  <a:cubicBezTo>
                    <a:pt x="1046" y="340"/>
                    <a:pt x="1046" y="340"/>
                    <a:pt x="1046" y="340"/>
                  </a:cubicBezTo>
                  <a:cubicBezTo>
                    <a:pt x="1045" y="341"/>
                    <a:pt x="1045" y="341"/>
                    <a:pt x="1045" y="341"/>
                  </a:cubicBezTo>
                  <a:cubicBezTo>
                    <a:pt x="1044" y="341"/>
                    <a:pt x="1044" y="341"/>
                    <a:pt x="1044" y="341"/>
                  </a:cubicBezTo>
                  <a:cubicBezTo>
                    <a:pt x="1043" y="341"/>
                    <a:pt x="1043" y="341"/>
                    <a:pt x="1043" y="341"/>
                  </a:cubicBezTo>
                  <a:cubicBezTo>
                    <a:pt x="1043" y="340"/>
                    <a:pt x="1043" y="340"/>
                    <a:pt x="1043" y="340"/>
                  </a:cubicBezTo>
                  <a:cubicBezTo>
                    <a:pt x="1042" y="339"/>
                    <a:pt x="1042" y="339"/>
                    <a:pt x="1042" y="339"/>
                  </a:cubicBezTo>
                  <a:cubicBezTo>
                    <a:pt x="1041" y="338"/>
                    <a:pt x="1041" y="338"/>
                    <a:pt x="1041" y="338"/>
                  </a:cubicBezTo>
                  <a:cubicBezTo>
                    <a:pt x="1041" y="338"/>
                    <a:pt x="1041" y="338"/>
                    <a:pt x="1041" y="338"/>
                  </a:cubicBezTo>
                  <a:cubicBezTo>
                    <a:pt x="1040" y="337"/>
                    <a:pt x="1040" y="337"/>
                    <a:pt x="1040" y="337"/>
                  </a:cubicBezTo>
                  <a:cubicBezTo>
                    <a:pt x="1039" y="335"/>
                    <a:pt x="1039" y="335"/>
                    <a:pt x="1039" y="335"/>
                  </a:cubicBezTo>
                  <a:cubicBezTo>
                    <a:pt x="1039" y="335"/>
                    <a:pt x="1039" y="335"/>
                    <a:pt x="1039" y="335"/>
                  </a:cubicBezTo>
                  <a:cubicBezTo>
                    <a:pt x="1038" y="336"/>
                    <a:pt x="1038" y="336"/>
                    <a:pt x="1038" y="336"/>
                  </a:cubicBezTo>
                  <a:cubicBezTo>
                    <a:pt x="1038" y="338"/>
                    <a:pt x="1038" y="338"/>
                    <a:pt x="1038" y="338"/>
                  </a:cubicBezTo>
                  <a:cubicBezTo>
                    <a:pt x="1039" y="341"/>
                    <a:pt x="1039" y="341"/>
                    <a:pt x="1039" y="341"/>
                  </a:cubicBezTo>
                  <a:cubicBezTo>
                    <a:pt x="1040" y="342"/>
                    <a:pt x="1040" y="342"/>
                    <a:pt x="1040" y="342"/>
                  </a:cubicBezTo>
                  <a:cubicBezTo>
                    <a:pt x="1040" y="342"/>
                    <a:pt x="1040" y="342"/>
                    <a:pt x="1040" y="342"/>
                  </a:cubicBezTo>
                  <a:cubicBezTo>
                    <a:pt x="1040" y="342"/>
                    <a:pt x="1040" y="342"/>
                    <a:pt x="1040" y="342"/>
                  </a:cubicBezTo>
                  <a:cubicBezTo>
                    <a:pt x="1040" y="343"/>
                    <a:pt x="1040" y="343"/>
                    <a:pt x="1040" y="343"/>
                  </a:cubicBezTo>
                  <a:cubicBezTo>
                    <a:pt x="1040" y="343"/>
                    <a:pt x="1040" y="343"/>
                    <a:pt x="1040" y="343"/>
                  </a:cubicBezTo>
                  <a:cubicBezTo>
                    <a:pt x="1037" y="343"/>
                    <a:pt x="1037" y="343"/>
                    <a:pt x="1037" y="343"/>
                  </a:cubicBezTo>
                  <a:cubicBezTo>
                    <a:pt x="1036" y="343"/>
                    <a:pt x="1036" y="343"/>
                    <a:pt x="1036" y="343"/>
                  </a:cubicBezTo>
                  <a:cubicBezTo>
                    <a:pt x="1036" y="344"/>
                    <a:pt x="1036" y="344"/>
                    <a:pt x="1036" y="344"/>
                  </a:cubicBezTo>
                  <a:cubicBezTo>
                    <a:pt x="1036" y="345"/>
                    <a:pt x="1036" y="345"/>
                    <a:pt x="1036" y="345"/>
                  </a:cubicBezTo>
                  <a:cubicBezTo>
                    <a:pt x="1030" y="343"/>
                    <a:pt x="1030" y="343"/>
                    <a:pt x="1030" y="343"/>
                  </a:cubicBezTo>
                  <a:cubicBezTo>
                    <a:pt x="1028" y="342"/>
                    <a:pt x="1028" y="342"/>
                    <a:pt x="1028" y="342"/>
                  </a:cubicBezTo>
                  <a:cubicBezTo>
                    <a:pt x="1028" y="342"/>
                    <a:pt x="1028" y="342"/>
                    <a:pt x="1028" y="342"/>
                  </a:cubicBezTo>
                  <a:cubicBezTo>
                    <a:pt x="1027" y="343"/>
                    <a:pt x="1027" y="343"/>
                    <a:pt x="1027" y="343"/>
                  </a:cubicBezTo>
                  <a:cubicBezTo>
                    <a:pt x="1028" y="345"/>
                    <a:pt x="1028" y="345"/>
                    <a:pt x="1028" y="345"/>
                  </a:cubicBezTo>
                  <a:cubicBezTo>
                    <a:pt x="1027" y="345"/>
                    <a:pt x="1027" y="345"/>
                    <a:pt x="1027" y="345"/>
                  </a:cubicBezTo>
                  <a:cubicBezTo>
                    <a:pt x="1026" y="345"/>
                    <a:pt x="1026" y="345"/>
                    <a:pt x="1026" y="345"/>
                  </a:cubicBezTo>
                  <a:cubicBezTo>
                    <a:pt x="1025" y="344"/>
                    <a:pt x="1025" y="344"/>
                    <a:pt x="1025" y="344"/>
                  </a:cubicBezTo>
                  <a:cubicBezTo>
                    <a:pt x="1024" y="344"/>
                    <a:pt x="1024" y="344"/>
                    <a:pt x="1024" y="344"/>
                  </a:cubicBezTo>
                  <a:cubicBezTo>
                    <a:pt x="1022" y="344"/>
                    <a:pt x="1022" y="344"/>
                    <a:pt x="1022" y="344"/>
                  </a:cubicBezTo>
                  <a:cubicBezTo>
                    <a:pt x="1021" y="344"/>
                    <a:pt x="1021" y="344"/>
                    <a:pt x="1021" y="344"/>
                  </a:cubicBezTo>
                  <a:cubicBezTo>
                    <a:pt x="1019" y="341"/>
                    <a:pt x="1019" y="341"/>
                    <a:pt x="1019" y="341"/>
                  </a:cubicBezTo>
                  <a:cubicBezTo>
                    <a:pt x="1018" y="340"/>
                    <a:pt x="1018" y="340"/>
                    <a:pt x="1018" y="340"/>
                  </a:cubicBezTo>
                  <a:cubicBezTo>
                    <a:pt x="1017" y="341"/>
                    <a:pt x="1017" y="341"/>
                    <a:pt x="1017" y="341"/>
                  </a:cubicBezTo>
                  <a:cubicBezTo>
                    <a:pt x="1017" y="341"/>
                    <a:pt x="1017" y="341"/>
                    <a:pt x="1017" y="341"/>
                  </a:cubicBezTo>
                  <a:cubicBezTo>
                    <a:pt x="1017" y="342"/>
                    <a:pt x="1017" y="342"/>
                    <a:pt x="1017" y="342"/>
                  </a:cubicBezTo>
                  <a:cubicBezTo>
                    <a:pt x="1018" y="342"/>
                    <a:pt x="1018" y="342"/>
                    <a:pt x="1018" y="342"/>
                  </a:cubicBezTo>
                  <a:cubicBezTo>
                    <a:pt x="1018" y="343"/>
                    <a:pt x="1018" y="343"/>
                    <a:pt x="1018" y="343"/>
                  </a:cubicBezTo>
                  <a:cubicBezTo>
                    <a:pt x="1018" y="343"/>
                    <a:pt x="1018" y="343"/>
                    <a:pt x="1018" y="343"/>
                  </a:cubicBezTo>
                  <a:cubicBezTo>
                    <a:pt x="1018" y="344"/>
                    <a:pt x="1018" y="344"/>
                    <a:pt x="1018" y="344"/>
                  </a:cubicBezTo>
                  <a:cubicBezTo>
                    <a:pt x="1018" y="344"/>
                    <a:pt x="1018" y="344"/>
                    <a:pt x="1018" y="344"/>
                  </a:cubicBezTo>
                  <a:cubicBezTo>
                    <a:pt x="1018" y="344"/>
                    <a:pt x="1018" y="344"/>
                    <a:pt x="1018" y="344"/>
                  </a:cubicBezTo>
                  <a:cubicBezTo>
                    <a:pt x="1018" y="345"/>
                    <a:pt x="1018" y="345"/>
                    <a:pt x="1018" y="345"/>
                  </a:cubicBezTo>
                  <a:cubicBezTo>
                    <a:pt x="1018" y="345"/>
                    <a:pt x="1018" y="345"/>
                    <a:pt x="1018" y="345"/>
                  </a:cubicBezTo>
                  <a:cubicBezTo>
                    <a:pt x="1018" y="347"/>
                    <a:pt x="1018" y="347"/>
                    <a:pt x="1018" y="347"/>
                  </a:cubicBezTo>
                  <a:cubicBezTo>
                    <a:pt x="1018" y="347"/>
                    <a:pt x="1018" y="347"/>
                    <a:pt x="1018" y="347"/>
                  </a:cubicBezTo>
                  <a:cubicBezTo>
                    <a:pt x="1017" y="347"/>
                    <a:pt x="1017" y="347"/>
                    <a:pt x="1017" y="347"/>
                  </a:cubicBezTo>
                  <a:cubicBezTo>
                    <a:pt x="1016" y="348"/>
                    <a:pt x="1016" y="348"/>
                    <a:pt x="1016" y="348"/>
                  </a:cubicBezTo>
                  <a:cubicBezTo>
                    <a:pt x="1016" y="347"/>
                    <a:pt x="1016" y="347"/>
                    <a:pt x="1016" y="347"/>
                  </a:cubicBezTo>
                  <a:cubicBezTo>
                    <a:pt x="1015" y="346"/>
                    <a:pt x="1015" y="346"/>
                    <a:pt x="1015" y="346"/>
                  </a:cubicBezTo>
                  <a:cubicBezTo>
                    <a:pt x="1015" y="345"/>
                    <a:pt x="1015" y="345"/>
                    <a:pt x="1015" y="345"/>
                  </a:cubicBezTo>
                  <a:cubicBezTo>
                    <a:pt x="1015" y="345"/>
                    <a:pt x="1015" y="345"/>
                    <a:pt x="1015" y="345"/>
                  </a:cubicBezTo>
                  <a:cubicBezTo>
                    <a:pt x="1014" y="345"/>
                    <a:pt x="1014" y="345"/>
                    <a:pt x="1014" y="345"/>
                  </a:cubicBezTo>
                  <a:cubicBezTo>
                    <a:pt x="1014" y="345"/>
                    <a:pt x="1014" y="345"/>
                    <a:pt x="1014" y="345"/>
                  </a:cubicBezTo>
                  <a:cubicBezTo>
                    <a:pt x="1014" y="345"/>
                    <a:pt x="1014" y="345"/>
                    <a:pt x="1014" y="345"/>
                  </a:cubicBezTo>
                  <a:cubicBezTo>
                    <a:pt x="1014" y="346"/>
                    <a:pt x="1014" y="346"/>
                    <a:pt x="1014" y="346"/>
                  </a:cubicBezTo>
                  <a:cubicBezTo>
                    <a:pt x="1013" y="346"/>
                    <a:pt x="1013" y="346"/>
                    <a:pt x="1013" y="346"/>
                  </a:cubicBezTo>
                  <a:cubicBezTo>
                    <a:pt x="1013" y="346"/>
                    <a:pt x="1013" y="346"/>
                    <a:pt x="1013" y="346"/>
                  </a:cubicBezTo>
                  <a:cubicBezTo>
                    <a:pt x="1013" y="347"/>
                    <a:pt x="1013" y="347"/>
                    <a:pt x="1013" y="347"/>
                  </a:cubicBezTo>
                  <a:cubicBezTo>
                    <a:pt x="1013" y="347"/>
                    <a:pt x="1013" y="347"/>
                    <a:pt x="1013" y="347"/>
                  </a:cubicBezTo>
                  <a:cubicBezTo>
                    <a:pt x="1014" y="347"/>
                    <a:pt x="1014" y="347"/>
                    <a:pt x="1014" y="347"/>
                  </a:cubicBezTo>
                  <a:cubicBezTo>
                    <a:pt x="1014" y="348"/>
                    <a:pt x="1014" y="348"/>
                    <a:pt x="1014" y="348"/>
                  </a:cubicBezTo>
                  <a:cubicBezTo>
                    <a:pt x="1013" y="348"/>
                    <a:pt x="1013" y="348"/>
                    <a:pt x="1013" y="348"/>
                  </a:cubicBezTo>
                  <a:cubicBezTo>
                    <a:pt x="1013" y="348"/>
                    <a:pt x="1013" y="348"/>
                    <a:pt x="1013" y="348"/>
                  </a:cubicBezTo>
                  <a:cubicBezTo>
                    <a:pt x="1011" y="347"/>
                    <a:pt x="1011" y="347"/>
                    <a:pt x="1011" y="347"/>
                  </a:cubicBezTo>
                  <a:cubicBezTo>
                    <a:pt x="1010" y="346"/>
                    <a:pt x="1010" y="346"/>
                    <a:pt x="1010" y="346"/>
                  </a:cubicBezTo>
                  <a:cubicBezTo>
                    <a:pt x="1010" y="347"/>
                    <a:pt x="1010" y="347"/>
                    <a:pt x="1010" y="347"/>
                  </a:cubicBezTo>
                  <a:cubicBezTo>
                    <a:pt x="1009" y="347"/>
                    <a:pt x="1009" y="347"/>
                    <a:pt x="1009" y="347"/>
                  </a:cubicBezTo>
                  <a:cubicBezTo>
                    <a:pt x="1009" y="348"/>
                    <a:pt x="1009" y="348"/>
                    <a:pt x="1009" y="348"/>
                  </a:cubicBezTo>
                  <a:cubicBezTo>
                    <a:pt x="1008" y="347"/>
                    <a:pt x="1008" y="347"/>
                    <a:pt x="1008" y="347"/>
                  </a:cubicBezTo>
                  <a:cubicBezTo>
                    <a:pt x="1007" y="346"/>
                    <a:pt x="1007" y="346"/>
                    <a:pt x="1007" y="346"/>
                  </a:cubicBezTo>
                  <a:cubicBezTo>
                    <a:pt x="1007" y="346"/>
                    <a:pt x="1007" y="346"/>
                    <a:pt x="1007" y="346"/>
                  </a:cubicBezTo>
                  <a:cubicBezTo>
                    <a:pt x="1006" y="345"/>
                    <a:pt x="1006" y="345"/>
                    <a:pt x="1006" y="345"/>
                  </a:cubicBezTo>
                  <a:cubicBezTo>
                    <a:pt x="1004" y="346"/>
                    <a:pt x="1004" y="346"/>
                    <a:pt x="1004" y="346"/>
                  </a:cubicBezTo>
                  <a:cubicBezTo>
                    <a:pt x="1004" y="346"/>
                    <a:pt x="1004" y="346"/>
                    <a:pt x="1004" y="346"/>
                  </a:cubicBezTo>
                  <a:cubicBezTo>
                    <a:pt x="1004" y="348"/>
                    <a:pt x="1004" y="348"/>
                    <a:pt x="1004" y="348"/>
                  </a:cubicBezTo>
                  <a:cubicBezTo>
                    <a:pt x="1003" y="349"/>
                    <a:pt x="1003" y="349"/>
                    <a:pt x="1003" y="349"/>
                  </a:cubicBezTo>
                  <a:cubicBezTo>
                    <a:pt x="1002" y="349"/>
                    <a:pt x="1002" y="349"/>
                    <a:pt x="1002" y="349"/>
                  </a:cubicBezTo>
                  <a:cubicBezTo>
                    <a:pt x="999" y="349"/>
                    <a:pt x="999" y="349"/>
                    <a:pt x="999" y="349"/>
                  </a:cubicBezTo>
                  <a:cubicBezTo>
                    <a:pt x="999" y="350"/>
                    <a:pt x="999" y="350"/>
                    <a:pt x="999" y="350"/>
                  </a:cubicBezTo>
                  <a:cubicBezTo>
                    <a:pt x="999" y="351"/>
                    <a:pt x="999" y="351"/>
                    <a:pt x="999" y="351"/>
                  </a:cubicBezTo>
                  <a:cubicBezTo>
                    <a:pt x="1000" y="352"/>
                    <a:pt x="1000" y="352"/>
                    <a:pt x="1000" y="352"/>
                  </a:cubicBezTo>
                  <a:cubicBezTo>
                    <a:pt x="1001" y="353"/>
                    <a:pt x="1001" y="353"/>
                    <a:pt x="1001" y="353"/>
                  </a:cubicBezTo>
                  <a:cubicBezTo>
                    <a:pt x="1000" y="353"/>
                    <a:pt x="1000" y="353"/>
                    <a:pt x="1000" y="353"/>
                  </a:cubicBezTo>
                  <a:cubicBezTo>
                    <a:pt x="999" y="353"/>
                    <a:pt x="999" y="353"/>
                    <a:pt x="999" y="353"/>
                  </a:cubicBezTo>
                  <a:cubicBezTo>
                    <a:pt x="997" y="351"/>
                    <a:pt x="997" y="351"/>
                    <a:pt x="997" y="351"/>
                  </a:cubicBezTo>
                  <a:cubicBezTo>
                    <a:pt x="996" y="350"/>
                    <a:pt x="996" y="350"/>
                    <a:pt x="996" y="350"/>
                  </a:cubicBezTo>
                  <a:cubicBezTo>
                    <a:pt x="996" y="350"/>
                    <a:pt x="996" y="350"/>
                    <a:pt x="996" y="350"/>
                  </a:cubicBezTo>
                  <a:cubicBezTo>
                    <a:pt x="996" y="350"/>
                    <a:pt x="996" y="350"/>
                    <a:pt x="996" y="350"/>
                  </a:cubicBezTo>
                  <a:cubicBezTo>
                    <a:pt x="995" y="351"/>
                    <a:pt x="995" y="351"/>
                    <a:pt x="995" y="351"/>
                  </a:cubicBezTo>
                  <a:cubicBezTo>
                    <a:pt x="995" y="351"/>
                    <a:pt x="995" y="351"/>
                    <a:pt x="995" y="351"/>
                  </a:cubicBezTo>
                  <a:cubicBezTo>
                    <a:pt x="995" y="352"/>
                    <a:pt x="995" y="352"/>
                    <a:pt x="995" y="352"/>
                  </a:cubicBezTo>
                  <a:cubicBezTo>
                    <a:pt x="995" y="352"/>
                    <a:pt x="995" y="352"/>
                    <a:pt x="995" y="352"/>
                  </a:cubicBezTo>
                  <a:cubicBezTo>
                    <a:pt x="997" y="355"/>
                    <a:pt x="997" y="355"/>
                    <a:pt x="997" y="355"/>
                  </a:cubicBezTo>
                  <a:cubicBezTo>
                    <a:pt x="997" y="356"/>
                    <a:pt x="997" y="356"/>
                    <a:pt x="997" y="356"/>
                  </a:cubicBezTo>
                  <a:cubicBezTo>
                    <a:pt x="996" y="357"/>
                    <a:pt x="996" y="357"/>
                    <a:pt x="996" y="357"/>
                  </a:cubicBezTo>
                  <a:cubicBezTo>
                    <a:pt x="995" y="356"/>
                    <a:pt x="995" y="356"/>
                    <a:pt x="995" y="356"/>
                  </a:cubicBezTo>
                  <a:cubicBezTo>
                    <a:pt x="993" y="356"/>
                    <a:pt x="993" y="356"/>
                    <a:pt x="993" y="356"/>
                  </a:cubicBezTo>
                  <a:cubicBezTo>
                    <a:pt x="992" y="357"/>
                    <a:pt x="992" y="357"/>
                    <a:pt x="992" y="357"/>
                  </a:cubicBezTo>
                  <a:cubicBezTo>
                    <a:pt x="991" y="357"/>
                    <a:pt x="991" y="357"/>
                    <a:pt x="991" y="357"/>
                  </a:cubicBezTo>
                  <a:cubicBezTo>
                    <a:pt x="989" y="356"/>
                    <a:pt x="989" y="356"/>
                    <a:pt x="989" y="356"/>
                  </a:cubicBezTo>
                  <a:cubicBezTo>
                    <a:pt x="986" y="356"/>
                    <a:pt x="986" y="356"/>
                    <a:pt x="986" y="356"/>
                  </a:cubicBezTo>
                  <a:cubicBezTo>
                    <a:pt x="986" y="357"/>
                    <a:pt x="986" y="357"/>
                    <a:pt x="986" y="357"/>
                  </a:cubicBezTo>
                  <a:cubicBezTo>
                    <a:pt x="986" y="358"/>
                    <a:pt x="986" y="358"/>
                    <a:pt x="986" y="358"/>
                  </a:cubicBezTo>
                  <a:cubicBezTo>
                    <a:pt x="986" y="358"/>
                    <a:pt x="986" y="358"/>
                    <a:pt x="986" y="358"/>
                  </a:cubicBezTo>
                  <a:cubicBezTo>
                    <a:pt x="986" y="358"/>
                    <a:pt x="986" y="358"/>
                    <a:pt x="986" y="358"/>
                  </a:cubicBezTo>
                  <a:cubicBezTo>
                    <a:pt x="986" y="359"/>
                    <a:pt x="986" y="359"/>
                    <a:pt x="986" y="359"/>
                  </a:cubicBezTo>
                  <a:cubicBezTo>
                    <a:pt x="986" y="359"/>
                    <a:pt x="986" y="359"/>
                    <a:pt x="986" y="359"/>
                  </a:cubicBezTo>
                  <a:cubicBezTo>
                    <a:pt x="985" y="359"/>
                    <a:pt x="985" y="359"/>
                    <a:pt x="985" y="359"/>
                  </a:cubicBezTo>
                  <a:cubicBezTo>
                    <a:pt x="984" y="358"/>
                    <a:pt x="984" y="358"/>
                    <a:pt x="984" y="358"/>
                  </a:cubicBezTo>
                  <a:cubicBezTo>
                    <a:pt x="983" y="358"/>
                    <a:pt x="983" y="358"/>
                    <a:pt x="983" y="358"/>
                  </a:cubicBezTo>
                  <a:cubicBezTo>
                    <a:pt x="983" y="358"/>
                    <a:pt x="983" y="358"/>
                    <a:pt x="983" y="358"/>
                  </a:cubicBezTo>
                  <a:cubicBezTo>
                    <a:pt x="982" y="359"/>
                    <a:pt x="982" y="359"/>
                    <a:pt x="982" y="359"/>
                  </a:cubicBezTo>
                  <a:cubicBezTo>
                    <a:pt x="982" y="359"/>
                    <a:pt x="982" y="359"/>
                    <a:pt x="982" y="359"/>
                  </a:cubicBezTo>
                  <a:cubicBezTo>
                    <a:pt x="981" y="360"/>
                    <a:pt x="981" y="360"/>
                    <a:pt x="981" y="360"/>
                  </a:cubicBezTo>
                  <a:cubicBezTo>
                    <a:pt x="981" y="360"/>
                    <a:pt x="981" y="360"/>
                    <a:pt x="981" y="360"/>
                  </a:cubicBezTo>
                  <a:cubicBezTo>
                    <a:pt x="981" y="360"/>
                    <a:pt x="981" y="360"/>
                    <a:pt x="981" y="360"/>
                  </a:cubicBezTo>
                  <a:cubicBezTo>
                    <a:pt x="980" y="359"/>
                    <a:pt x="980" y="359"/>
                    <a:pt x="980" y="359"/>
                  </a:cubicBezTo>
                  <a:cubicBezTo>
                    <a:pt x="980" y="359"/>
                    <a:pt x="980" y="359"/>
                    <a:pt x="980" y="359"/>
                  </a:cubicBezTo>
                  <a:cubicBezTo>
                    <a:pt x="978" y="360"/>
                    <a:pt x="978" y="360"/>
                    <a:pt x="978" y="360"/>
                  </a:cubicBezTo>
                  <a:cubicBezTo>
                    <a:pt x="978" y="363"/>
                    <a:pt x="978" y="363"/>
                    <a:pt x="978" y="363"/>
                  </a:cubicBezTo>
                  <a:cubicBezTo>
                    <a:pt x="979" y="365"/>
                    <a:pt x="979" y="365"/>
                    <a:pt x="979" y="365"/>
                  </a:cubicBezTo>
                  <a:cubicBezTo>
                    <a:pt x="979" y="368"/>
                    <a:pt x="979" y="368"/>
                    <a:pt x="979" y="368"/>
                  </a:cubicBezTo>
                  <a:cubicBezTo>
                    <a:pt x="979" y="368"/>
                    <a:pt x="979" y="368"/>
                    <a:pt x="979" y="368"/>
                  </a:cubicBezTo>
                  <a:cubicBezTo>
                    <a:pt x="978" y="368"/>
                    <a:pt x="978" y="368"/>
                    <a:pt x="978" y="368"/>
                  </a:cubicBezTo>
                  <a:cubicBezTo>
                    <a:pt x="978" y="368"/>
                    <a:pt x="978" y="368"/>
                    <a:pt x="978" y="368"/>
                  </a:cubicBezTo>
                  <a:cubicBezTo>
                    <a:pt x="977" y="369"/>
                    <a:pt x="977" y="369"/>
                    <a:pt x="977" y="369"/>
                  </a:cubicBezTo>
                  <a:cubicBezTo>
                    <a:pt x="976" y="370"/>
                    <a:pt x="976" y="370"/>
                    <a:pt x="976" y="370"/>
                  </a:cubicBezTo>
                  <a:cubicBezTo>
                    <a:pt x="977" y="371"/>
                    <a:pt x="977" y="371"/>
                    <a:pt x="977" y="371"/>
                  </a:cubicBezTo>
                  <a:cubicBezTo>
                    <a:pt x="976" y="371"/>
                    <a:pt x="976" y="371"/>
                    <a:pt x="976" y="371"/>
                  </a:cubicBezTo>
                  <a:cubicBezTo>
                    <a:pt x="976" y="371"/>
                    <a:pt x="976" y="371"/>
                    <a:pt x="976" y="371"/>
                  </a:cubicBezTo>
                  <a:cubicBezTo>
                    <a:pt x="976" y="371"/>
                    <a:pt x="976" y="371"/>
                    <a:pt x="976" y="371"/>
                  </a:cubicBezTo>
                  <a:cubicBezTo>
                    <a:pt x="977" y="372"/>
                    <a:pt x="977" y="372"/>
                    <a:pt x="977" y="372"/>
                  </a:cubicBezTo>
                  <a:cubicBezTo>
                    <a:pt x="977" y="373"/>
                    <a:pt x="977" y="373"/>
                    <a:pt x="977" y="373"/>
                  </a:cubicBezTo>
                  <a:cubicBezTo>
                    <a:pt x="979" y="374"/>
                    <a:pt x="979" y="374"/>
                    <a:pt x="979" y="374"/>
                  </a:cubicBezTo>
                  <a:cubicBezTo>
                    <a:pt x="980" y="374"/>
                    <a:pt x="980" y="374"/>
                    <a:pt x="980" y="374"/>
                  </a:cubicBezTo>
                  <a:cubicBezTo>
                    <a:pt x="980" y="374"/>
                    <a:pt x="980" y="374"/>
                    <a:pt x="980" y="374"/>
                  </a:cubicBezTo>
                  <a:cubicBezTo>
                    <a:pt x="980" y="374"/>
                    <a:pt x="980" y="374"/>
                    <a:pt x="980" y="374"/>
                  </a:cubicBezTo>
                  <a:cubicBezTo>
                    <a:pt x="980" y="374"/>
                    <a:pt x="980" y="374"/>
                    <a:pt x="980" y="374"/>
                  </a:cubicBezTo>
                  <a:cubicBezTo>
                    <a:pt x="980" y="374"/>
                    <a:pt x="980" y="374"/>
                    <a:pt x="980" y="374"/>
                  </a:cubicBezTo>
                  <a:cubicBezTo>
                    <a:pt x="980" y="374"/>
                    <a:pt x="980" y="374"/>
                    <a:pt x="980" y="374"/>
                  </a:cubicBezTo>
                  <a:cubicBezTo>
                    <a:pt x="980" y="373"/>
                    <a:pt x="980" y="373"/>
                    <a:pt x="980" y="373"/>
                  </a:cubicBezTo>
                  <a:cubicBezTo>
                    <a:pt x="981" y="373"/>
                    <a:pt x="981" y="373"/>
                    <a:pt x="981" y="373"/>
                  </a:cubicBezTo>
                  <a:cubicBezTo>
                    <a:pt x="981" y="372"/>
                    <a:pt x="981" y="372"/>
                    <a:pt x="981" y="372"/>
                  </a:cubicBezTo>
                  <a:cubicBezTo>
                    <a:pt x="982" y="372"/>
                    <a:pt x="982" y="372"/>
                    <a:pt x="982" y="372"/>
                  </a:cubicBezTo>
                  <a:cubicBezTo>
                    <a:pt x="982" y="372"/>
                    <a:pt x="982" y="372"/>
                    <a:pt x="982" y="372"/>
                  </a:cubicBezTo>
                  <a:cubicBezTo>
                    <a:pt x="982" y="371"/>
                    <a:pt x="982" y="371"/>
                    <a:pt x="982" y="371"/>
                  </a:cubicBezTo>
                  <a:cubicBezTo>
                    <a:pt x="981" y="371"/>
                    <a:pt x="981" y="371"/>
                    <a:pt x="981" y="371"/>
                  </a:cubicBezTo>
                  <a:cubicBezTo>
                    <a:pt x="980" y="370"/>
                    <a:pt x="980" y="370"/>
                    <a:pt x="980" y="370"/>
                  </a:cubicBezTo>
                  <a:cubicBezTo>
                    <a:pt x="981" y="370"/>
                    <a:pt x="981" y="370"/>
                    <a:pt x="981" y="370"/>
                  </a:cubicBezTo>
                  <a:cubicBezTo>
                    <a:pt x="982" y="371"/>
                    <a:pt x="982" y="371"/>
                    <a:pt x="982" y="371"/>
                  </a:cubicBezTo>
                  <a:cubicBezTo>
                    <a:pt x="982" y="372"/>
                    <a:pt x="982" y="372"/>
                    <a:pt x="982" y="372"/>
                  </a:cubicBezTo>
                  <a:cubicBezTo>
                    <a:pt x="983" y="373"/>
                    <a:pt x="983" y="373"/>
                    <a:pt x="983" y="373"/>
                  </a:cubicBezTo>
                  <a:cubicBezTo>
                    <a:pt x="982" y="374"/>
                    <a:pt x="982" y="374"/>
                    <a:pt x="982" y="374"/>
                  </a:cubicBezTo>
                  <a:cubicBezTo>
                    <a:pt x="982" y="374"/>
                    <a:pt x="982" y="374"/>
                    <a:pt x="982" y="374"/>
                  </a:cubicBezTo>
                  <a:cubicBezTo>
                    <a:pt x="982" y="375"/>
                    <a:pt x="982" y="375"/>
                    <a:pt x="982" y="375"/>
                  </a:cubicBezTo>
                  <a:cubicBezTo>
                    <a:pt x="981" y="375"/>
                    <a:pt x="981" y="375"/>
                    <a:pt x="981" y="375"/>
                  </a:cubicBezTo>
                  <a:cubicBezTo>
                    <a:pt x="981" y="376"/>
                    <a:pt x="981" y="376"/>
                    <a:pt x="981" y="376"/>
                  </a:cubicBezTo>
                  <a:cubicBezTo>
                    <a:pt x="980" y="376"/>
                    <a:pt x="980" y="376"/>
                    <a:pt x="980" y="376"/>
                  </a:cubicBezTo>
                  <a:cubicBezTo>
                    <a:pt x="980" y="375"/>
                    <a:pt x="980" y="375"/>
                    <a:pt x="980" y="375"/>
                  </a:cubicBezTo>
                  <a:cubicBezTo>
                    <a:pt x="979" y="376"/>
                    <a:pt x="979" y="376"/>
                    <a:pt x="979" y="376"/>
                  </a:cubicBezTo>
                  <a:cubicBezTo>
                    <a:pt x="977" y="376"/>
                    <a:pt x="977" y="376"/>
                    <a:pt x="977" y="376"/>
                  </a:cubicBezTo>
                  <a:cubicBezTo>
                    <a:pt x="976" y="377"/>
                    <a:pt x="976" y="377"/>
                    <a:pt x="976" y="377"/>
                  </a:cubicBezTo>
                  <a:cubicBezTo>
                    <a:pt x="976" y="378"/>
                    <a:pt x="976" y="378"/>
                    <a:pt x="976" y="378"/>
                  </a:cubicBezTo>
                  <a:cubicBezTo>
                    <a:pt x="977" y="379"/>
                    <a:pt x="977" y="379"/>
                    <a:pt x="977" y="379"/>
                  </a:cubicBezTo>
                  <a:cubicBezTo>
                    <a:pt x="977" y="380"/>
                    <a:pt x="977" y="380"/>
                    <a:pt x="977" y="380"/>
                  </a:cubicBezTo>
                  <a:cubicBezTo>
                    <a:pt x="979" y="383"/>
                    <a:pt x="979" y="383"/>
                    <a:pt x="979" y="383"/>
                  </a:cubicBezTo>
                  <a:cubicBezTo>
                    <a:pt x="979" y="383"/>
                    <a:pt x="979" y="383"/>
                    <a:pt x="979" y="383"/>
                  </a:cubicBezTo>
                  <a:cubicBezTo>
                    <a:pt x="978" y="384"/>
                    <a:pt x="978" y="384"/>
                    <a:pt x="978" y="384"/>
                  </a:cubicBezTo>
                  <a:cubicBezTo>
                    <a:pt x="977" y="384"/>
                    <a:pt x="977" y="384"/>
                    <a:pt x="977" y="384"/>
                  </a:cubicBezTo>
                  <a:cubicBezTo>
                    <a:pt x="976" y="386"/>
                    <a:pt x="976" y="386"/>
                    <a:pt x="976" y="386"/>
                  </a:cubicBezTo>
                  <a:cubicBezTo>
                    <a:pt x="978" y="385"/>
                    <a:pt x="978" y="385"/>
                    <a:pt x="978" y="385"/>
                  </a:cubicBezTo>
                  <a:cubicBezTo>
                    <a:pt x="979" y="385"/>
                    <a:pt x="979" y="385"/>
                    <a:pt x="979" y="385"/>
                  </a:cubicBezTo>
                  <a:cubicBezTo>
                    <a:pt x="980" y="386"/>
                    <a:pt x="980" y="386"/>
                    <a:pt x="980" y="386"/>
                  </a:cubicBezTo>
                  <a:cubicBezTo>
                    <a:pt x="980" y="386"/>
                    <a:pt x="980" y="386"/>
                    <a:pt x="980" y="386"/>
                  </a:cubicBezTo>
                  <a:cubicBezTo>
                    <a:pt x="980" y="385"/>
                    <a:pt x="980" y="385"/>
                    <a:pt x="980" y="385"/>
                  </a:cubicBezTo>
                  <a:cubicBezTo>
                    <a:pt x="980" y="385"/>
                    <a:pt x="980" y="385"/>
                    <a:pt x="980" y="385"/>
                  </a:cubicBezTo>
                  <a:cubicBezTo>
                    <a:pt x="981" y="385"/>
                    <a:pt x="981" y="385"/>
                    <a:pt x="981" y="385"/>
                  </a:cubicBezTo>
                  <a:cubicBezTo>
                    <a:pt x="981" y="385"/>
                    <a:pt x="981" y="385"/>
                    <a:pt x="981" y="385"/>
                  </a:cubicBezTo>
                  <a:cubicBezTo>
                    <a:pt x="984" y="385"/>
                    <a:pt x="984" y="385"/>
                    <a:pt x="984" y="385"/>
                  </a:cubicBezTo>
                  <a:cubicBezTo>
                    <a:pt x="985" y="384"/>
                    <a:pt x="985" y="384"/>
                    <a:pt x="985" y="384"/>
                  </a:cubicBezTo>
                  <a:cubicBezTo>
                    <a:pt x="986" y="385"/>
                    <a:pt x="986" y="385"/>
                    <a:pt x="986" y="385"/>
                  </a:cubicBezTo>
                  <a:cubicBezTo>
                    <a:pt x="986" y="385"/>
                    <a:pt x="986" y="385"/>
                    <a:pt x="986" y="385"/>
                  </a:cubicBezTo>
                  <a:cubicBezTo>
                    <a:pt x="987" y="384"/>
                    <a:pt x="987" y="384"/>
                    <a:pt x="987" y="384"/>
                  </a:cubicBezTo>
                  <a:cubicBezTo>
                    <a:pt x="988" y="384"/>
                    <a:pt x="988" y="384"/>
                    <a:pt x="988" y="384"/>
                  </a:cubicBezTo>
                  <a:cubicBezTo>
                    <a:pt x="989" y="385"/>
                    <a:pt x="989" y="385"/>
                    <a:pt x="989" y="385"/>
                  </a:cubicBezTo>
                  <a:cubicBezTo>
                    <a:pt x="989" y="386"/>
                    <a:pt x="989" y="386"/>
                    <a:pt x="989" y="386"/>
                  </a:cubicBezTo>
                  <a:cubicBezTo>
                    <a:pt x="989" y="386"/>
                    <a:pt x="989" y="386"/>
                    <a:pt x="989" y="386"/>
                  </a:cubicBezTo>
                  <a:cubicBezTo>
                    <a:pt x="988" y="385"/>
                    <a:pt x="988" y="385"/>
                    <a:pt x="988" y="385"/>
                  </a:cubicBezTo>
                  <a:cubicBezTo>
                    <a:pt x="987" y="385"/>
                    <a:pt x="987" y="385"/>
                    <a:pt x="987" y="385"/>
                  </a:cubicBezTo>
                  <a:cubicBezTo>
                    <a:pt x="987" y="386"/>
                    <a:pt x="987" y="386"/>
                    <a:pt x="987" y="386"/>
                  </a:cubicBezTo>
                  <a:cubicBezTo>
                    <a:pt x="987" y="386"/>
                    <a:pt x="987" y="386"/>
                    <a:pt x="987" y="386"/>
                  </a:cubicBezTo>
                  <a:cubicBezTo>
                    <a:pt x="987" y="387"/>
                    <a:pt x="987" y="387"/>
                    <a:pt x="987" y="387"/>
                  </a:cubicBezTo>
                  <a:cubicBezTo>
                    <a:pt x="987" y="387"/>
                    <a:pt x="987" y="387"/>
                    <a:pt x="987" y="387"/>
                  </a:cubicBezTo>
                  <a:cubicBezTo>
                    <a:pt x="987" y="387"/>
                    <a:pt x="987" y="387"/>
                    <a:pt x="987" y="387"/>
                  </a:cubicBezTo>
                  <a:cubicBezTo>
                    <a:pt x="987" y="388"/>
                    <a:pt x="987" y="388"/>
                    <a:pt x="987" y="388"/>
                  </a:cubicBezTo>
                  <a:cubicBezTo>
                    <a:pt x="987" y="388"/>
                    <a:pt x="987" y="388"/>
                    <a:pt x="987" y="388"/>
                  </a:cubicBezTo>
                  <a:cubicBezTo>
                    <a:pt x="987" y="388"/>
                    <a:pt x="987" y="388"/>
                    <a:pt x="987" y="388"/>
                  </a:cubicBezTo>
                  <a:cubicBezTo>
                    <a:pt x="986" y="388"/>
                    <a:pt x="986" y="388"/>
                    <a:pt x="986" y="388"/>
                  </a:cubicBezTo>
                  <a:cubicBezTo>
                    <a:pt x="986" y="388"/>
                    <a:pt x="986" y="388"/>
                    <a:pt x="986" y="388"/>
                  </a:cubicBezTo>
                  <a:cubicBezTo>
                    <a:pt x="985" y="387"/>
                    <a:pt x="985" y="387"/>
                    <a:pt x="985" y="387"/>
                  </a:cubicBezTo>
                  <a:cubicBezTo>
                    <a:pt x="984" y="387"/>
                    <a:pt x="984" y="387"/>
                    <a:pt x="984" y="387"/>
                  </a:cubicBezTo>
                  <a:cubicBezTo>
                    <a:pt x="983" y="387"/>
                    <a:pt x="983" y="387"/>
                    <a:pt x="983" y="387"/>
                  </a:cubicBezTo>
                  <a:cubicBezTo>
                    <a:pt x="982" y="388"/>
                    <a:pt x="982" y="388"/>
                    <a:pt x="982" y="388"/>
                  </a:cubicBezTo>
                  <a:cubicBezTo>
                    <a:pt x="981" y="388"/>
                    <a:pt x="981" y="388"/>
                    <a:pt x="981" y="388"/>
                  </a:cubicBezTo>
                  <a:cubicBezTo>
                    <a:pt x="980" y="387"/>
                    <a:pt x="980" y="387"/>
                    <a:pt x="980" y="387"/>
                  </a:cubicBezTo>
                  <a:cubicBezTo>
                    <a:pt x="979" y="387"/>
                    <a:pt x="979" y="387"/>
                    <a:pt x="979" y="387"/>
                  </a:cubicBezTo>
                  <a:cubicBezTo>
                    <a:pt x="979" y="388"/>
                    <a:pt x="979" y="388"/>
                    <a:pt x="979" y="388"/>
                  </a:cubicBezTo>
                  <a:cubicBezTo>
                    <a:pt x="979" y="389"/>
                    <a:pt x="979" y="389"/>
                    <a:pt x="979" y="389"/>
                  </a:cubicBezTo>
                  <a:cubicBezTo>
                    <a:pt x="980" y="389"/>
                    <a:pt x="980" y="389"/>
                    <a:pt x="980" y="389"/>
                  </a:cubicBezTo>
                  <a:cubicBezTo>
                    <a:pt x="980" y="389"/>
                    <a:pt x="980" y="389"/>
                    <a:pt x="980" y="389"/>
                  </a:cubicBezTo>
                  <a:cubicBezTo>
                    <a:pt x="980" y="390"/>
                    <a:pt x="980" y="390"/>
                    <a:pt x="980" y="390"/>
                  </a:cubicBezTo>
                  <a:cubicBezTo>
                    <a:pt x="979" y="390"/>
                    <a:pt x="979" y="390"/>
                    <a:pt x="979" y="390"/>
                  </a:cubicBezTo>
                  <a:cubicBezTo>
                    <a:pt x="979" y="390"/>
                    <a:pt x="979" y="390"/>
                    <a:pt x="979" y="390"/>
                  </a:cubicBezTo>
                  <a:cubicBezTo>
                    <a:pt x="978" y="390"/>
                    <a:pt x="978" y="390"/>
                    <a:pt x="978" y="390"/>
                  </a:cubicBezTo>
                  <a:cubicBezTo>
                    <a:pt x="978" y="390"/>
                    <a:pt x="978" y="390"/>
                    <a:pt x="978" y="390"/>
                  </a:cubicBezTo>
                  <a:cubicBezTo>
                    <a:pt x="978" y="391"/>
                    <a:pt x="978" y="391"/>
                    <a:pt x="978" y="391"/>
                  </a:cubicBezTo>
                  <a:cubicBezTo>
                    <a:pt x="978" y="393"/>
                    <a:pt x="978" y="393"/>
                    <a:pt x="978" y="393"/>
                  </a:cubicBezTo>
                  <a:cubicBezTo>
                    <a:pt x="979" y="394"/>
                    <a:pt x="979" y="394"/>
                    <a:pt x="979" y="394"/>
                  </a:cubicBezTo>
                  <a:cubicBezTo>
                    <a:pt x="979" y="395"/>
                    <a:pt x="979" y="395"/>
                    <a:pt x="979" y="395"/>
                  </a:cubicBezTo>
                  <a:cubicBezTo>
                    <a:pt x="979" y="396"/>
                    <a:pt x="979" y="396"/>
                    <a:pt x="979" y="396"/>
                  </a:cubicBezTo>
                  <a:cubicBezTo>
                    <a:pt x="978" y="397"/>
                    <a:pt x="978" y="397"/>
                    <a:pt x="978" y="397"/>
                  </a:cubicBezTo>
                  <a:cubicBezTo>
                    <a:pt x="978" y="397"/>
                    <a:pt x="978" y="397"/>
                    <a:pt x="978" y="397"/>
                  </a:cubicBezTo>
                  <a:cubicBezTo>
                    <a:pt x="978" y="398"/>
                    <a:pt x="978" y="398"/>
                    <a:pt x="978" y="398"/>
                  </a:cubicBezTo>
                  <a:cubicBezTo>
                    <a:pt x="979" y="398"/>
                    <a:pt x="979" y="398"/>
                    <a:pt x="979" y="398"/>
                  </a:cubicBezTo>
                  <a:cubicBezTo>
                    <a:pt x="979" y="398"/>
                    <a:pt x="979" y="398"/>
                    <a:pt x="979" y="398"/>
                  </a:cubicBezTo>
                  <a:cubicBezTo>
                    <a:pt x="979" y="397"/>
                    <a:pt x="979" y="397"/>
                    <a:pt x="979" y="397"/>
                  </a:cubicBezTo>
                  <a:cubicBezTo>
                    <a:pt x="980" y="397"/>
                    <a:pt x="980" y="397"/>
                    <a:pt x="980" y="397"/>
                  </a:cubicBezTo>
                  <a:cubicBezTo>
                    <a:pt x="980" y="397"/>
                    <a:pt x="980" y="397"/>
                    <a:pt x="980" y="397"/>
                  </a:cubicBezTo>
                  <a:cubicBezTo>
                    <a:pt x="980" y="397"/>
                    <a:pt x="980" y="397"/>
                    <a:pt x="980" y="397"/>
                  </a:cubicBezTo>
                  <a:cubicBezTo>
                    <a:pt x="980" y="398"/>
                    <a:pt x="980" y="398"/>
                    <a:pt x="980" y="398"/>
                  </a:cubicBezTo>
                  <a:cubicBezTo>
                    <a:pt x="980" y="398"/>
                    <a:pt x="980" y="398"/>
                    <a:pt x="980" y="398"/>
                  </a:cubicBezTo>
                  <a:cubicBezTo>
                    <a:pt x="981" y="399"/>
                    <a:pt x="981" y="399"/>
                    <a:pt x="981" y="399"/>
                  </a:cubicBezTo>
                  <a:cubicBezTo>
                    <a:pt x="981" y="399"/>
                    <a:pt x="981" y="399"/>
                    <a:pt x="981" y="399"/>
                  </a:cubicBezTo>
                  <a:cubicBezTo>
                    <a:pt x="982" y="400"/>
                    <a:pt x="982" y="400"/>
                    <a:pt x="982" y="400"/>
                  </a:cubicBezTo>
                  <a:cubicBezTo>
                    <a:pt x="982" y="400"/>
                    <a:pt x="982" y="400"/>
                    <a:pt x="982" y="400"/>
                  </a:cubicBezTo>
                  <a:cubicBezTo>
                    <a:pt x="983" y="399"/>
                    <a:pt x="983" y="399"/>
                    <a:pt x="983" y="399"/>
                  </a:cubicBezTo>
                  <a:cubicBezTo>
                    <a:pt x="983" y="400"/>
                    <a:pt x="983" y="400"/>
                    <a:pt x="983" y="400"/>
                  </a:cubicBezTo>
                  <a:cubicBezTo>
                    <a:pt x="984" y="401"/>
                    <a:pt x="984" y="401"/>
                    <a:pt x="984" y="401"/>
                  </a:cubicBezTo>
                  <a:cubicBezTo>
                    <a:pt x="983" y="403"/>
                    <a:pt x="983" y="403"/>
                    <a:pt x="983" y="403"/>
                  </a:cubicBezTo>
                  <a:cubicBezTo>
                    <a:pt x="983" y="405"/>
                    <a:pt x="983" y="405"/>
                    <a:pt x="983" y="405"/>
                  </a:cubicBezTo>
                  <a:cubicBezTo>
                    <a:pt x="983" y="405"/>
                    <a:pt x="983" y="405"/>
                    <a:pt x="983" y="405"/>
                  </a:cubicBezTo>
                  <a:cubicBezTo>
                    <a:pt x="983" y="406"/>
                    <a:pt x="983" y="406"/>
                    <a:pt x="983" y="406"/>
                  </a:cubicBezTo>
                  <a:cubicBezTo>
                    <a:pt x="984" y="406"/>
                    <a:pt x="984" y="406"/>
                    <a:pt x="984" y="406"/>
                  </a:cubicBezTo>
                  <a:cubicBezTo>
                    <a:pt x="984" y="407"/>
                    <a:pt x="984" y="407"/>
                    <a:pt x="984" y="407"/>
                  </a:cubicBezTo>
                  <a:cubicBezTo>
                    <a:pt x="985" y="407"/>
                    <a:pt x="985" y="407"/>
                    <a:pt x="985" y="407"/>
                  </a:cubicBezTo>
                  <a:cubicBezTo>
                    <a:pt x="985" y="408"/>
                    <a:pt x="985" y="408"/>
                    <a:pt x="985" y="408"/>
                  </a:cubicBezTo>
                  <a:cubicBezTo>
                    <a:pt x="985" y="408"/>
                    <a:pt x="985" y="408"/>
                    <a:pt x="985" y="408"/>
                  </a:cubicBezTo>
                  <a:cubicBezTo>
                    <a:pt x="985" y="409"/>
                    <a:pt x="985" y="409"/>
                    <a:pt x="985" y="409"/>
                  </a:cubicBezTo>
                  <a:cubicBezTo>
                    <a:pt x="985" y="410"/>
                    <a:pt x="985" y="410"/>
                    <a:pt x="985" y="410"/>
                  </a:cubicBezTo>
                  <a:cubicBezTo>
                    <a:pt x="985" y="410"/>
                    <a:pt x="985" y="410"/>
                    <a:pt x="985" y="410"/>
                  </a:cubicBezTo>
                  <a:cubicBezTo>
                    <a:pt x="985" y="411"/>
                    <a:pt x="985" y="411"/>
                    <a:pt x="985" y="411"/>
                  </a:cubicBezTo>
                  <a:cubicBezTo>
                    <a:pt x="986" y="411"/>
                    <a:pt x="986" y="411"/>
                    <a:pt x="986" y="411"/>
                  </a:cubicBezTo>
                  <a:cubicBezTo>
                    <a:pt x="986" y="410"/>
                    <a:pt x="986" y="410"/>
                    <a:pt x="986" y="410"/>
                  </a:cubicBezTo>
                  <a:cubicBezTo>
                    <a:pt x="986" y="410"/>
                    <a:pt x="986" y="410"/>
                    <a:pt x="986" y="410"/>
                  </a:cubicBezTo>
                  <a:cubicBezTo>
                    <a:pt x="986" y="410"/>
                    <a:pt x="986" y="410"/>
                    <a:pt x="986" y="410"/>
                  </a:cubicBezTo>
                  <a:cubicBezTo>
                    <a:pt x="986" y="410"/>
                    <a:pt x="986" y="410"/>
                    <a:pt x="986" y="410"/>
                  </a:cubicBezTo>
                  <a:cubicBezTo>
                    <a:pt x="987" y="410"/>
                    <a:pt x="987" y="410"/>
                    <a:pt x="987" y="410"/>
                  </a:cubicBezTo>
                  <a:cubicBezTo>
                    <a:pt x="987" y="410"/>
                    <a:pt x="987" y="410"/>
                    <a:pt x="987" y="410"/>
                  </a:cubicBezTo>
                  <a:cubicBezTo>
                    <a:pt x="987" y="410"/>
                    <a:pt x="987" y="410"/>
                    <a:pt x="987" y="410"/>
                  </a:cubicBezTo>
                  <a:cubicBezTo>
                    <a:pt x="987" y="410"/>
                    <a:pt x="987" y="410"/>
                    <a:pt x="987" y="410"/>
                  </a:cubicBezTo>
                  <a:cubicBezTo>
                    <a:pt x="988" y="410"/>
                    <a:pt x="988" y="410"/>
                    <a:pt x="988" y="410"/>
                  </a:cubicBezTo>
                  <a:cubicBezTo>
                    <a:pt x="988" y="410"/>
                    <a:pt x="988" y="410"/>
                    <a:pt x="988" y="410"/>
                  </a:cubicBezTo>
                  <a:cubicBezTo>
                    <a:pt x="988" y="410"/>
                    <a:pt x="988" y="410"/>
                    <a:pt x="988" y="410"/>
                  </a:cubicBezTo>
                  <a:cubicBezTo>
                    <a:pt x="988" y="410"/>
                    <a:pt x="988" y="410"/>
                    <a:pt x="988" y="410"/>
                  </a:cubicBezTo>
                  <a:cubicBezTo>
                    <a:pt x="989" y="411"/>
                    <a:pt x="989" y="411"/>
                    <a:pt x="989" y="411"/>
                  </a:cubicBezTo>
                  <a:cubicBezTo>
                    <a:pt x="989" y="411"/>
                    <a:pt x="989" y="411"/>
                    <a:pt x="989" y="411"/>
                  </a:cubicBezTo>
                  <a:cubicBezTo>
                    <a:pt x="990" y="411"/>
                    <a:pt x="990" y="411"/>
                    <a:pt x="990" y="411"/>
                  </a:cubicBezTo>
                  <a:cubicBezTo>
                    <a:pt x="992" y="412"/>
                    <a:pt x="992" y="412"/>
                    <a:pt x="992" y="412"/>
                  </a:cubicBezTo>
                  <a:cubicBezTo>
                    <a:pt x="993" y="413"/>
                    <a:pt x="993" y="413"/>
                    <a:pt x="993" y="413"/>
                  </a:cubicBezTo>
                  <a:cubicBezTo>
                    <a:pt x="994" y="414"/>
                    <a:pt x="994" y="414"/>
                    <a:pt x="994" y="414"/>
                  </a:cubicBezTo>
                  <a:cubicBezTo>
                    <a:pt x="995" y="416"/>
                    <a:pt x="995" y="416"/>
                    <a:pt x="995" y="416"/>
                  </a:cubicBezTo>
                  <a:cubicBezTo>
                    <a:pt x="996" y="416"/>
                    <a:pt x="996" y="416"/>
                    <a:pt x="996" y="416"/>
                  </a:cubicBezTo>
                  <a:cubicBezTo>
                    <a:pt x="996" y="416"/>
                    <a:pt x="996" y="416"/>
                    <a:pt x="996" y="416"/>
                  </a:cubicBezTo>
                  <a:cubicBezTo>
                    <a:pt x="996" y="416"/>
                    <a:pt x="996" y="416"/>
                    <a:pt x="996" y="416"/>
                  </a:cubicBezTo>
                  <a:cubicBezTo>
                    <a:pt x="997" y="415"/>
                    <a:pt x="997" y="415"/>
                    <a:pt x="997" y="415"/>
                  </a:cubicBezTo>
                  <a:cubicBezTo>
                    <a:pt x="997" y="414"/>
                    <a:pt x="997" y="414"/>
                    <a:pt x="997" y="414"/>
                  </a:cubicBezTo>
                  <a:cubicBezTo>
                    <a:pt x="998" y="414"/>
                    <a:pt x="998" y="414"/>
                    <a:pt x="998" y="414"/>
                  </a:cubicBezTo>
                  <a:cubicBezTo>
                    <a:pt x="999" y="415"/>
                    <a:pt x="999" y="415"/>
                    <a:pt x="999" y="415"/>
                  </a:cubicBezTo>
                  <a:cubicBezTo>
                    <a:pt x="1000" y="414"/>
                    <a:pt x="1000" y="414"/>
                    <a:pt x="1000" y="414"/>
                  </a:cubicBezTo>
                  <a:cubicBezTo>
                    <a:pt x="1000" y="414"/>
                    <a:pt x="1000" y="414"/>
                    <a:pt x="1000" y="414"/>
                  </a:cubicBezTo>
                  <a:cubicBezTo>
                    <a:pt x="1000" y="414"/>
                    <a:pt x="1000" y="414"/>
                    <a:pt x="1000" y="414"/>
                  </a:cubicBezTo>
                  <a:cubicBezTo>
                    <a:pt x="1001" y="412"/>
                    <a:pt x="1001" y="412"/>
                    <a:pt x="1001" y="412"/>
                  </a:cubicBezTo>
                  <a:cubicBezTo>
                    <a:pt x="1002" y="411"/>
                    <a:pt x="1002" y="411"/>
                    <a:pt x="1002" y="411"/>
                  </a:cubicBezTo>
                  <a:cubicBezTo>
                    <a:pt x="1002" y="411"/>
                    <a:pt x="1002" y="411"/>
                    <a:pt x="1002" y="411"/>
                  </a:cubicBezTo>
                  <a:cubicBezTo>
                    <a:pt x="1002" y="410"/>
                    <a:pt x="1002" y="410"/>
                    <a:pt x="1002" y="410"/>
                  </a:cubicBezTo>
                  <a:cubicBezTo>
                    <a:pt x="1002" y="409"/>
                    <a:pt x="1002" y="409"/>
                    <a:pt x="1002" y="409"/>
                  </a:cubicBezTo>
                  <a:cubicBezTo>
                    <a:pt x="1002" y="408"/>
                    <a:pt x="1002" y="408"/>
                    <a:pt x="1002" y="408"/>
                  </a:cubicBezTo>
                  <a:cubicBezTo>
                    <a:pt x="1003" y="408"/>
                    <a:pt x="1003" y="408"/>
                    <a:pt x="1003" y="408"/>
                  </a:cubicBezTo>
                  <a:cubicBezTo>
                    <a:pt x="1004" y="408"/>
                    <a:pt x="1004" y="408"/>
                    <a:pt x="1004" y="408"/>
                  </a:cubicBezTo>
                  <a:cubicBezTo>
                    <a:pt x="1005" y="408"/>
                    <a:pt x="1005" y="408"/>
                    <a:pt x="1005" y="408"/>
                  </a:cubicBezTo>
                  <a:cubicBezTo>
                    <a:pt x="1006" y="408"/>
                    <a:pt x="1006" y="408"/>
                    <a:pt x="1006" y="408"/>
                  </a:cubicBezTo>
                  <a:cubicBezTo>
                    <a:pt x="1009" y="410"/>
                    <a:pt x="1009" y="410"/>
                    <a:pt x="1009" y="410"/>
                  </a:cubicBezTo>
                  <a:cubicBezTo>
                    <a:pt x="1009" y="411"/>
                    <a:pt x="1009" y="411"/>
                    <a:pt x="1009" y="411"/>
                  </a:cubicBezTo>
                  <a:cubicBezTo>
                    <a:pt x="1009" y="412"/>
                    <a:pt x="1009" y="412"/>
                    <a:pt x="1009" y="412"/>
                  </a:cubicBezTo>
                  <a:cubicBezTo>
                    <a:pt x="1009" y="414"/>
                    <a:pt x="1009" y="414"/>
                    <a:pt x="1009" y="414"/>
                  </a:cubicBezTo>
                  <a:cubicBezTo>
                    <a:pt x="1008" y="414"/>
                    <a:pt x="1008" y="414"/>
                    <a:pt x="1008" y="414"/>
                  </a:cubicBezTo>
                  <a:cubicBezTo>
                    <a:pt x="1007" y="415"/>
                    <a:pt x="1007" y="415"/>
                    <a:pt x="1007" y="415"/>
                  </a:cubicBezTo>
                  <a:cubicBezTo>
                    <a:pt x="1007" y="416"/>
                    <a:pt x="1007" y="416"/>
                    <a:pt x="1007" y="416"/>
                  </a:cubicBezTo>
                  <a:cubicBezTo>
                    <a:pt x="1007" y="417"/>
                    <a:pt x="1007" y="417"/>
                    <a:pt x="1007" y="417"/>
                  </a:cubicBezTo>
                  <a:cubicBezTo>
                    <a:pt x="1007" y="417"/>
                    <a:pt x="1007" y="417"/>
                    <a:pt x="1007" y="417"/>
                  </a:cubicBezTo>
                  <a:cubicBezTo>
                    <a:pt x="1007" y="418"/>
                    <a:pt x="1007" y="418"/>
                    <a:pt x="1007" y="418"/>
                  </a:cubicBezTo>
                  <a:cubicBezTo>
                    <a:pt x="1006" y="419"/>
                    <a:pt x="1006" y="419"/>
                    <a:pt x="1006" y="419"/>
                  </a:cubicBezTo>
                  <a:cubicBezTo>
                    <a:pt x="1006" y="420"/>
                    <a:pt x="1006" y="420"/>
                    <a:pt x="1006" y="420"/>
                  </a:cubicBezTo>
                  <a:cubicBezTo>
                    <a:pt x="1006" y="420"/>
                    <a:pt x="1006" y="420"/>
                    <a:pt x="1006" y="420"/>
                  </a:cubicBezTo>
                  <a:cubicBezTo>
                    <a:pt x="1007" y="421"/>
                    <a:pt x="1007" y="421"/>
                    <a:pt x="1007" y="421"/>
                  </a:cubicBezTo>
                  <a:cubicBezTo>
                    <a:pt x="1007" y="421"/>
                    <a:pt x="1007" y="421"/>
                    <a:pt x="1007" y="421"/>
                  </a:cubicBezTo>
                  <a:cubicBezTo>
                    <a:pt x="1007" y="422"/>
                    <a:pt x="1007" y="422"/>
                    <a:pt x="1007" y="422"/>
                  </a:cubicBezTo>
                  <a:cubicBezTo>
                    <a:pt x="1006" y="423"/>
                    <a:pt x="1006" y="423"/>
                    <a:pt x="1006" y="423"/>
                  </a:cubicBezTo>
                  <a:cubicBezTo>
                    <a:pt x="1006" y="426"/>
                    <a:pt x="1006" y="426"/>
                    <a:pt x="1006" y="426"/>
                  </a:cubicBezTo>
                  <a:cubicBezTo>
                    <a:pt x="1006" y="427"/>
                    <a:pt x="1006" y="427"/>
                    <a:pt x="1006" y="427"/>
                  </a:cubicBezTo>
                  <a:cubicBezTo>
                    <a:pt x="1004" y="429"/>
                    <a:pt x="1004" y="429"/>
                    <a:pt x="1004" y="429"/>
                  </a:cubicBezTo>
                  <a:cubicBezTo>
                    <a:pt x="1004" y="431"/>
                    <a:pt x="1004" y="431"/>
                    <a:pt x="1004" y="431"/>
                  </a:cubicBezTo>
                  <a:cubicBezTo>
                    <a:pt x="1002" y="434"/>
                    <a:pt x="1002" y="434"/>
                    <a:pt x="1002" y="434"/>
                  </a:cubicBezTo>
                  <a:cubicBezTo>
                    <a:pt x="1002" y="435"/>
                    <a:pt x="1002" y="435"/>
                    <a:pt x="1002" y="435"/>
                  </a:cubicBezTo>
                  <a:cubicBezTo>
                    <a:pt x="1002" y="436"/>
                    <a:pt x="1002" y="436"/>
                    <a:pt x="1002" y="436"/>
                  </a:cubicBezTo>
                  <a:cubicBezTo>
                    <a:pt x="1002" y="436"/>
                    <a:pt x="1002" y="436"/>
                    <a:pt x="1002" y="436"/>
                  </a:cubicBezTo>
                  <a:cubicBezTo>
                    <a:pt x="1002" y="437"/>
                    <a:pt x="1002" y="437"/>
                    <a:pt x="1002" y="437"/>
                  </a:cubicBezTo>
                  <a:cubicBezTo>
                    <a:pt x="1002" y="437"/>
                    <a:pt x="1002" y="437"/>
                    <a:pt x="1002" y="437"/>
                  </a:cubicBezTo>
                  <a:cubicBezTo>
                    <a:pt x="1003" y="438"/>
                    <a:pt x="1003" y="438"/>
                    <a:pt x="1003" y="438"/>
                  </a:cubicBezTo>
                  <a:cubicBezTo>
                    <a:pt x="1004" y="438"/>
                    <a:pt x="1004" y="438"/>
                    <a:pt x="1004" y="438"/>
                  </a:cubicBezTo>
                  <a:cubicBezTo>
                    <a:pt x="1004" y="437"/>
                    <a:pt x="1004" y="437"/>
                    <a:pt x="1004" y="437"/>
                  </a:cubicBezTo>
                  <a:cubicBezTo>
                    <a:pt x="1005" y="437"/>
                    <a:pt x="1005" y="437"/>
                    <a:pt x="1005" y="437"/>
                  </a:cubicBezTo>
                  <a:cubicBezTo>
                    <a:pt x="1005" y="436"/>
                    <a:pt x="1005" y="436"/>
                    <a:pt x="1005" y="436"/>
                  </a:cubicBezTo>
                  <a:cubicBezTo>
                    <a:pt x="1005" y="435"/>
                    <a:pt x="1005" y="435"/>
                    <a:pt x="1005" y="435"/>
                  </a:cubicBezTo>
                  <a:cubicBezTo>
                    <a:pt x="1007" y="434"/>
                    <a:pt x="1007" y="434"/>
                    <a:pt x="1007" y="434"/>
                  </a:cubicBezTo>
                  <a:cubicBezTo>
                    <a:pt x="1008" y="433"/>
                    <a:pt x="1008" y="433"/>
                    <a:pt x="1008" y="433"/>
                  </a:cubicBezTo>
                  <a:cubicBezTo>
                    <a:pt x="1009" y="433"/>
                    <a:pt x="1009" y="433"/>
                    <a:pt x="1009" y="433"/>
                  </a:cubicBezTo>
                  <a:cubicBezTo>
                    <a:pt x="1011" y="433"/>
                    <a:pt x="1011" y="433"/>
                    <a:pt x="1011" y="433"/>
                  </a:cubicBezTo>
                  <a:cubicBezTo>
                    <a:pt x="1013" y="433"/>
                    <a:pt x="1013" y="433"/>
                    <a:pt x="1013" y="433"/>
                  </a:cubicBezTo>
                  <a:cubicBezTo>
                    <a:pt x="1013" y="433"/>
                    <a:pt x="1013" y="433"/>
                    <a:pt x="1013" y="433"/>
                  </a:cubicBezTo>
                  <a:cubicBezTo>
                    <a:pt x="1014" y="431"/>
                    <a:pt x="1014" y="431"/>
                    <a:pt x="1014" y="431"/>
                  </a:cubicBezTo>
                  <a:cubicBezTo>
                    <a:pt x="1014" y="431"/>
                    <a:pt x="1014" y="431"/>
                    <a:pt x="1014" y="431"/>
                  </a:cubicBezTo>
                  <a:cubicBezTo>
                    <a:pt x="1015" y="431"/>
                    <a:pt x="1015" y="431"/>
                    <a:pt x="1015" y="431"/>
                  </a:cubicBezTo>
                  <a:cubicBezTo>
                    <a:pt x="1016" y="431"/>
                    <a:pt x="1016" y="431"/>
                    <a:pt x="1016" y="431"/>
                  </a:cubicBezTo>
                  <a:cubicBezTo>
                    <a:pt x="1015" y="431"/>
                    <a:pt x="1015" y="431"/>
                    <a:pt x="1015" y="431"/>
                  </a:cubicBezTo>
                  <a:cubicBezTo>
                    <a:pt x="1015" y="432"/>
                    <a:pt x="1015" y="432"/>
                    <a:pt x="1015" y="432"/>
                  </a:cubicBezTo>
                  <a:cubicBezTo>
                    <a:pt x="1014" y="433"/>
                    <a:pt x="1014" y="433"/>
                    <a:pt x="1014" y="433"/>
                  </a:cubicBezTo>
                  <a:cubicBezTo>
                    <a:pt x="1014" y="434"/>
                    <a:pt x="1014" y="434"/>
                    <a:pt x="1014" y="434"/>
                  </a:cubicBezTo>
                  <a:cubicBezTo>
                    <a:pt x="1012" y="434"/>
                    <a:pt x="1012" y="434"/>
                    <a:pt x="1012" y="434"/>
                  </a:cubicBezTo>
                  <a:cubicBezTo>
                    <a:pt x="1010" y="434"/>
                    <a:pt x="1010" y="434"/>
                    <a:pt x="1010" y="434"/>
                  </a:cubicBezTo>
                  <a:cubicBezTo>
                    <a:pt x="1010" y="434"/>
                    <a:pt x="1010" y="434"/>
                    <a:pt x="1010" y="434"/>
                  </a:cubicBezTo>
                  <a:cubicBezTo>
                    <a:pt x="1008" y="435"/>
                    <a:pt x="1008" y="435"/>
                    <a:pt x="1008" y="435"/>
                  </a:cubicBezTo>
                  <a:cubicBezTo>
                    <a:pt x="1007" y="436"/>
                    <a:pt x="1007" y="436"/>
                    <a:pt x="1007" y="436"/>
                  </a:cubicBezTo>
                  <a:cubicBezTo>
                    <a:pt x="1006" y="436"/>
                    <a:pt x="1006" y="436"/>
                    <a:pt x="1006" y="436"/>
                  </a:cubicBezTo>
                  <a:cubicBezTo>
                    <a:pt x="1006" y="438"/>
                    <a:pt x="1006" y="438"/>
                    <a:pt x="1006" y="438"/>
                  </a:cubicBezTo>
                  <a:cubicBezTo>
                    <a:pt x="1006" y="438"/>
                    <a:pt x="1006" y="438"/>
                    <a:pt x="1006" y="438"/>
                  </a:cubicBezTo>
                  <a:cubicBezTo>
                    <a:pt x="1005" y="439"/>
                    <a:pt x="1005" y="439"/>
                    <a:pt x="1005" y="439"/>
                  </a:cubicBezTo>
                  <a:cubicBezTo>
                    <a:pt x="1004" y="439"/>
                    <a:pt x="1004" y="439"/>
                    <a:pt x="1004" y="439"/>
                  </a:cubicBezTo>
                  <a:cubicBezTo>
                    <a:pt x="1003" y="438"/>
                    <a:pt x="1003" y="438"/>
                    <a:pt x="1003" y="438"/>
                  </a:cubicBezTo>
                  <a:cubicBezTo>
                    <a:pt x="1002" y="439"/>
                    <a:pt x="1002" y="439"/>
                    <a:pt x="1002" y="439"/>
                  </a:cubicBezTo>
                  <a:cubicBezTo>
                    <a:pt x="1002" y="439"/>
                    <a:pt x="1002" y="439"/>
                    <a:pt x="1002" y="439"/>
                  </a:cubicBezTo>
                  <a:cubicBezTo>
                    <a:pt x="1002" y="440"/>
                    <a:pt x="1002" y="440"/>
                    <a:pt x="1002" y="440"/>
                  </a:cubicBezTo>
                  <a:cubicBezTo>
                    <a:pt x="1002" y="441"/>
                    <a:pt x="1002" y="441"/>
                    <a:pt x="1002" y="441"/>
                  </a:cubicBezTo>
                  <a:cubicBezTo>
                    <a:pt x="1003" y="444"/>
                    <a:pt x="1003" y="444"/>
                    <a:pt x="1003" y="444"/>
                  </a:cubicBezTo>
                  <a:cubicBezTo>
                    <a:pt x="1003" y="445"/>
                    <a:pt x="1003" y="445"/>
                    <a:pt x="1003" y="445"/>
                  </a:cubicBezTo>
                  <a:cubicBezTo>
                    <a:pt x="1003" y="446"/>
                    <a:pt x="1003" y="446"/>
                    <a:pt x="1003" y="446"/>
                  </a:cubicBezTo>
                  <a:cubicBezTo>
                    <a:pt x="1004" y="448"/>
                    <a:pt x="1004" y="448"/>
                    <a:pt x="1004" y="448"/>
                  </a:cubicBezTo>
                  <a:cubicBezTo>
                    <a:pt x="1004" y="449"/>
                    <a:pt x="1004" y="449"/>
                    <a:pt x="1004" y="449"/>
                  </a:cubicBezTo>
                  <a:cubicBezTo>
                    <a:pt x="1005" y="452"/>
                    <a:pt x="1005" y="452"/>
                    <a:pt x="1005" y="452"/>
                  </a:cubicBezTo>
                  <a:cubicBezTo>
                    <a:pt x="1004" y="454"/>
                    <a:pt x="1004" y="454"/>
                    <a:pt x="1004" y="454"/>
                  </a:cubicBezTo>
                  <a:cubicBezTo>
                    <a:pt x="1004" y="456"/>
                    <a:pt x="1004" y="456"/>
                    <a:pt x="1004" y="456"/>
                  </a:cubicBezTo>
                  <a:cubicBezTo>
                    <a:pt x="1004" y="456"/>
                    <a:pt x="1004" y="456"/>
                    <a:pt x="1004" y="456"/>
                  </a:cubicBezTo>
                  <a:cubicBezTo>
                    <a:pt x="1005" y="457"/>
                    <a:pt x="1005" y="457"/>
                    <a:pt x="1005" y="457"/>
                  </a:cubicBezTo>
                  <a:cubicBezTo>
                    <a:pt x="1005" y="458"/>
                    <a:pt x="1005" y="458"/>
                    <a:pt x="1005" y="458"/>
                  </a:cubicBezTo>
                  <a:cubicBezTo>
                    <a:pt x="1005" y="460"/>
                    <a:pt x="1005" y="460"/>
                    <a:pt x="1005" y="460"/>
                  </a:cubicBezTo>
                  <a:cubicBezTo>
                    <a:pt x="1006" y="467"/>
                    <a:pt x="1006" y="467"/>
                    <a:pt x="1006" y="467"/>
                  </a:cubicBezTo>
                  <a:cubicBezTo>
                    <a:pt x="1006" y="470"/>
                    <a:pt x="1006" y="470"/>
                    <a:pt x="1006" y="470"/>
                  </a:cubicBezTo>
                  <a:cubicBezTo>
                    <a:pt x="1006" y="472"/>
                    <a:pt x="1006" y="472"/>
                    <a:pt x="1006" y="472"/>
                  </a:cubicBezTo>
                  <a:cubicBezTo>
                    <a:pt x="1005" y="473"/>
                    <a:pt x="1005" y="473"/>
                    <a:pt x="1005" y="473"/>
                  </a:cubicBezTo>
                  <a:cubicBezTo>
                    <a:pt x="1003" y="476"/>
                    <a:pt x="1003" y="476"/>
                    <a:pt x="1003" y="476"/>
                  </a:cubicBezTo>
                  <a:cubicBezTo>
                    <a:pt x="1002" y="476"/>
                    <a:pt x="1002" y="476"/>
                    <a:pt x="1002" y="476"/>
                  </a:cubicBezTo>
                  <a:cubicBezTo>
                    <a:pt x="1002" y="477"/>
                    <a:pt x="1002" y="477"/>
                    <a:pt x="1002" y="477"/>
                  </a:cubicBezTo>
                  <a:cubicBezTo>
                    <a:pt x="1002" y="477"/>
                    <a:pt x="1002" y="477"/>
                    <a:pt x="1002" y="477"/>
                  </a:cubicBezTo>
                  <a:cubicBezTo>
                    <a:pt x="1001" y="477"/>
                    <a:pt x="1001" y="477"/>
                    <a:pt x="1001" y="477"/>
                  </a:cubicBezTo>
                  <a:cubicBezTo>
                    <a:pt x="1001" y="478"/>
                    <a:pt x="1001" y="478"/>
                    <a:pt x="1001" y="478"/>
                  </a:cubicBezTo>
                  <a:cubicBezTo>
                    <a:pt x="1000" y="478"/>
                    <a:pt x="1000" y="478"/>
                    <a:pt x="1000" y="478"/>
                  </a:cubicBezTo>
                  <a:cubicBezTo>
                    <a:pt x="1000" y="479"/>
                    <a:pt x="1000" y="479"/>
                    <a:pt x="1000" y="479"/>
                  </a:cubicBezTo>
                  <a:cubicBezTo>
                    <a:pt x="997" y="481"/>
                    <a:pt x="997" y="481"/>
                    <a:pt x="997" y="481"/>
                  </a:cubicBezTo>
                  <a:cubicBezTo>
                    <a:pt x="996" y="482"/>
                    <a:pt x="996" y="482"/>
                    <a:pt x="996" y="482"/>
                  </a:cubicBezTo>
                  <a:cubicBezTo>
                    <a:pt x="995" y="482"/>
                    <a:pt x="995" y="482"/>
                    <a:pt x="995" y="482"/>
                  </a:cubicBezTo>
                  <a:cubicBezTo>
                    <a:pt x="994" y="483"/>
                    <a:pt x="994" y="483"/>
                    <a:pt x="994" y="483"/>
                  </a:cubicBezTo>
                  <a:cubicBezTo>
                    <a:pt x="994" y="483"/>
                    <a:pt x="994" y="483"/>
                    <a:pt x="994" y="483"/>
                  </a:cubicBezTo>
                  <a:cubicBezTo>
                    <a:pt x="993" y="484"/>
                    <a:pt x="993" y="484"/>
                    <a:pt x="993" y="484"/>
                  </a:cubicBezTo>
                  <a:cubicBezTo>
                    <a:pt x="992" y="485"/>
                    <a:pt x="992" y="485"/>
                    <a:pt x="992" y="485"/>
                  </a:cubicBezTo>
                  <a:cubicBezTo>
                    <a:pt x="992" y="486"/>
                    <a:pt x="992" y="486"/>
                    <a:pt x="992" y="486"/>
                  </a:cubicBezTo>
                  <a:cubicBezTo>
                    <a:pt x="990" y="487"/>
                    <a:pt x="990" y="487"/>
                    <a:pt x="990" y="487"/>
                  </a:cubicBezTo>
                  <a:cubicBezTo>
                    <a:pt x="985" y="488"/>
                    <a:pt x="985" y="488"/>
                    <a:pt x="985" y="488"/>
                  </a:cubicBezTo>
                  <a:cubicBezTo>
                    <a:pt x="983" y="487"/>
                    <a:pt x="983" y="487"/>
                    <a:pt x="983" y="487"/>
                  </a:cubicBezTo>
                  <a:cubicBezTo>
                    <a:pt x="981" y="487"/>
                    <a:pt x="981" y="487"/>
                    <a:pt x="981" y="487"/>
                  </a:cubicBezTo>
                  <a:cubicBezTo>
                    <a:pt x="981" y="487"/>
                    <a:pt x="981" y="487"/>
                    <a:pt x="981" y="487"/>
                  </a:cubicBezTo>
                  <a:cubicBezTo>
                    <a:pt x="981" y="487"/>
                    <a:pt x="981" y="487"/>
                    <a:pt x="981" y="487"/>
                  </a:cubicBezTo>
                  <a:cubicBezTo>
                    <a:pt x="979" y="484"/>
                    <a:pt x="979" y="484"/>
                    <a:pt x="979" y="484"/>
                  </a:cubicBezTo>
                  <a:cubicBezTo>
                    <a:pt x="979" y="484"/>
                    <a:pt x="979" y="484"/>
                    <a:pt x="979" y="484"/>
                  </a:cubicBezTo>
                  <a:cubicBezTo>
                    <a:pt x="977" y="484"/>
                    <a:pt x="977" y="484"/>
                    <a:pt x="977" y="484"/>
                  </a:cubicBezTo>
                  <a:cubicBezTo>
                    <a:pt x="974" y="483"/>
                    <a:pt x="974" y="483"/>
                    <a:pt x="974" y="483"/>
                  </a:cubicBezTo>
                  <a:cubicBezTo>
                    <a:pt x="973" y="481"/>
                    <a:pt x="973" y="481"/>
                    <a:pt x="973" y="481"/>
                  </a:cubicBezTo>
                  <a:cubicBezTo>
                    <a:pt x="972" y="481"/>
                    <a:pt x="972" y="481"/>
                    <a:pt x="972" y="481"/>
                  </a:cubicBezTo>
                  <a:cubicBezTo>
                    <a:pt x="972" y="481"/>
                    <a:pt x="972" y="481"/>
                    <a:pt x="972" y="481"/>
                  </a:cubicBezTo>
                  <a:cubicBezTo>
                    <a:pt x="971" y="480"/>
                    <a:pt x="971" y="480"/>
                    <a:pt x="971" y="480"/>
                  </a:cubicBezTo>
                  <a:cubicBezTo>
                    <a:pt x="971" y="475"/>
                    <a:pt x="971" y="475"/>
                    <a:pt x="971" y="475"/>
                  </a:cubicBezTo>
                  <a:cubicBezTo>
                    <a:pt x="970" y="474"/>
                    <a:pt x="970" y="474"/>
                    <a:pt x="970" y="474"/>
                  </a:cubicBezTo>
                  <a:cubicBezTo>
                    <a:pt x="970" y="474"/>
                    <a:pt x="970" y="474"/>
                    <a:pt x="970" y="474"/>
                  </a:cubicBezTo>
                  <a:cubicBezTo>
                    <a:pt x="970" y="473"/>
                    <a:pt x="970" y="473"/>
                    <a:pt x="970" y="473"/>
                  </a:cubicBezTo>
                  <a:cubicBezTo>
                    <a:pt x="969" y="471"/>
                    <a:pt x="969" y="471"/>
                    <a:pt x="969" y="471"/>
                  </a:cubicBezTo>
                  <a:cubicBezTo>
                    <a:pt x="969" y="470"/>
                    <a:pt x="969" y="470"/>
                    <a:pt x="969" y="470"/>
                  </a:cubicBezTo>
                  <a:cubicBezTo>
                    <a:pt x="969" y="469"/>
                    <a:pt x="969" y="469"/>
                    <a:pt x="969" y="469"/>
                  </a:cubicBezTo>
                  <a:cubicBezTo>
                    <a:pt x="969" y="469"/>
                    <a:pt x="969" y="469"/>
                    <a:pt x="969" y="469"/>
                  </a:cubicBezTo>
                  <a:cubicBezTo>
                    <a:pt x="968" y="467"/>
                    <a:pt x="968" y="467"/>
                    <a:pt x="968" y="467"/>
                  </a:cubicBezTo>
                  <a:cubicBezTo>
                    <a:pt x="968" y="467"/>
                    <a:pt x="968" y="467"/>
                    <a:pt x="968" y="467"/>
                  </a:cubicBezTo>
                  <a:cubicBezTo>
                    <a:pt x="968" y="466"/>
                    <a:pt x="968" y="466"/>
                    <a:pt x="968" y="466"/>
                  </a:cubicBezTo>
                  <a:cubicBezTo>
                    <a:pt x="968" y="466"/>
                    <a:pt x="968" y="466"/>
                    <a:pt x="968" y="466"/>
                  </a:cubicBezTo>
                  <a:cubicBezTo>
                    <a:pt x="967" y="465"/>
                    <a:pt x="967" y="465"/>
                    <a:pt x="967" y="465"/>
                  </a:cubicBezTo>
                  <a:cubicBezTo>
                    <a:pt x="966" y="465"/>
                    <a:pt x="966" y="465"/>
                    <a:pt x="966" y="465"/>
                  </a:cubicBezTo>
                  <a:cubicBezTo>
                    <a:pt x="965" y="464"/>
                    <a:pt x="965" y="464"/>
                    <a:pt x="965" y="464"/>
                  </a:cubicBezTo>
                  <a:cubicBezTo>
                    <a:pt x="963" y="462"/>
                    <a:pt x="963" y="462"/>
                    <a:pt x="963" y="462"/>
                  </a:cubicBezTo>
                  <a:cubicBezTo>
                    <a:pt x="960" y="460"/>
                    <a:pt x="960" y="460"/>
                    <a:pt x="960" y="460"/>
                  </a:cubicBezTo>
                  <a:cubicBezTo>
                    <a:pt x="954" y="454"/>
                    <a:pt x="954" y="454"/>
                    <a:pt x="954" y="454"/>
                  </a:cubicBezTo>
                  <a:cubicBezTo>
                    <a:pt x="952" y="451"/>
                    <a:pt x="952" y="451"/>
                    <a:pt x="952" y="451"/>
                  </a:cubicBezTo>
                  <a:cubicBezTo>
                    <a:pt x="952" y="450"/>
                    <a:pt x="952" y="450"/>
                    <a:pt x="952" y="450"/>
                  </a:cubicBezTo>
                  <a:cubicBezTo>
                    <a:pt x="952" y="450"/>
                    <a:pt x="952" y="450"/>
                    <a:pt x="952" y="450"/>
                  </a:cubicBezTo>
                  <a:cubicBezTo>
                    <a:pt x="952" y="447"/>
                    <a:pt x="952" y="447"/>
                    <a:pt x="952" y="447"/>
                  </a:cubicBezTo>
                  <a:cubicBezTo>
                    <a:pt x="952" y="445"/>
                    <a:pt x="952" y="445"/>
                    <a:pt x="952" y="445"/>
                  </a:cubicBezTo>
                  <a:cubicBezTo>
                    <a:pt x="952" y="445"/>
                    <a:pt x="952" y="445"/>
                    <a:pt x="952" y="445"/>
                  </a:cubicBezTo>
                  <a:cubicBezTo>
                    <a:pt x="952" y="444"/>
                    <a:pt x="952" y="444"/>
                    <a:pt x="952" y="444"/>
                  </a:cubicBezTo>
                  <a:cubicBezTo>
                    <a:pt x="952" y="444"/>
                    <a:pt x="952" y="444"/>
                    <a:pt x="952" y="444"/>
                  </a:cubicBezTo>
                  <a:cubicBezTo>
                    <a:pt x="952" y="444"/>
                    <a:pt x="952" y="444"/>
                    <a:pt x="952" y="444"/>
                  </a:cubicBezTo>
                  <a:cubicBezTo>
                    <a:pt x="952" y="444"/>
                    <a:pt x="952" y="444"/>
                    <a:pt x="952" y="444"/>
                  </a:cubicBezTo>
                  <a:cubicBezTo>
                    <a:pt x="951" y="444"/>
                    <a:pt x="951" y="444"/>
                    <a:pt x="951" y="444"/>
                  </a:cubicBezTo>
                  <a:cubicBezTo>
                    <a:pt x="951" y="445"/>
                    <a:pt x="951" y="445"/>
                    <a:pt x="951" y="445"/>
                  </a:cubicBezTo>
                  <a:cubicBezTo>
                    <a:pt x="951" y="445"/>
                    <a:pt x="951" y="445"/>
                    <a:pt x="951" y="445"/>
                  </a:cubicBezTo>
                  <a:cubicBezTo>
                    <a:pt x="950" y="445"/>
                    <a:pt x="950" y="445"/>
                    <a:pt x="950" y="445"/>
                  </a:cubicBezTo>
                  <a:cubicBezTo>
                    <a:pt x="948" y="445"/>
                    <a:pt x="948" y="445"/>
                    <a:pt x="948" y="445"/>
                  </a:cubicBezTo>
                  <a:cubicBezTo>
                    <a:pt x="940" y="450"/>
                    <a:pt x="940" y="450"/>
                    <a:pt x="940" y="450"/>
                  </a:cubicBezTo>
                  <a:cubicBezTo>
                    <a:pt x="934" y="453"/>
                    <a:pt x="934" y="453"/>
                    <a:pt x="934" y="453"/>
                  </a:cubicBezTo>
                  <a:cubicBezTo>
                    <a:pt x="933" y="453"/>
                    <a:pt x="933" y="453"/>
                    <a:pt x="933" y="453"/>
                  </a:cubicBezTo>
                  <a:cubicBezTo>
                    <a:pt x="928" y="454"/>
                    <a:pt x="928" y="454"/>
                    <a:pt x="928" y="454"/>
                  </a:cubicBezTo>
                  <a:cubicBezTo>
                    <a:pt x="926" y="455"/>
                    <a:pt x="926" y="455"/>
                    <a:pt x="926" y="455"/>
                  </a:cubicBezTo>
                  <a:cubicBezTo>
                    <a:pt x="925" y="455"/>
                    <a:pt x="925" y="455"/>
                    <a:pt x="925" y="455"/>
                  </a:cubicBezTo>
                  <a:cubicBezTo>
                    <a:pt x="922" y="462"/>
                    <a:pt x="922" y="462"/>
                    <a:pt x="922" y="462"/>
                  </a:cubicBezTo>
                  <a:cubicBezTo>
                    <a:pt x="920" y="465"/>
                    <a:pt x="920" y="465"/>
                    <a:pt x="920" y="465"/>
                  </a:cubicBezTo>
                  <a:cubicBezTo>
                    <a:pt x="919" y="468"/>
                    <a:pt x="919" y="468"/>
                    <a:pt x="919" y="468"/>
                  </a:cubicBezTo>
                  <a:cubicBezTo>
                    <a:pt x="918" y="468"/>
                    <a:pt x="918" y="468"/>
                    <a:pt x="918" y="468"/>
                  </a:cubicBezTo>
                  <a:cubicBezTo>
                    <a:pt x="918" y="468"/>
                    <a:pt x="918" y="468"/>
                    <a:pt x="918" y="468"/>
                  </a:cubicBezTo>
                  <a:cubicBezTo>
                    <a:pt x="917" y="469"/>
                    <a:pt x="917" y="469"/>
                    <a:pt x="917" y="469"/>
                  </a:cubicBezTo>
                  <a:cubicBezTo>
                    <a:pt x="917" y="470"/>
                    <a:pt x="917" y="470"/>
                    <a:pt x="917" y="470"/>
                  </a:cubicBezTo>
                  <a:cubicBezTo>
                    <a:pt x="917" y="471"/>
                    <a:pt x="917" y="471"/>
                    <a:pt x="917" y="471"/>
                  </a:cubicBezTo>
                  <a:cubicBezTo>
                    <a:pt x="917" y="472"/>
                    <a:pt x="917" y="472"/>
                    <a:pt x="917" y="472"/>
                  </a:cubicBezTo>
                  <a:cubicBezTo>
                    <a:pt x="917" y="476"/>
                    <a:pt x="917" y="476"/>
                    <a:pt x="917" y="476"/>
                  </a:cubicBezTo>
                  <a:cubicBezTo>
                    <a:pt x="917" y="476"/>
                    <a:pt x="917" y="476"/>
                    <a:pt x="917" y="476"/>
                  </a:cubicBezTo>
                  <a:cubicBezTo>
                    <a:pt x="916" y="477"/>
                    <a:pt x="916" y="477"/>
                    <a:pt x="916" y="477"/>
                  </a:cubicBezTo>
                  <a:cubicBezTo>
                    <a:pt x="916" y="478"/>
                    <a:pt x="916" y="478"/>
                    <a:pt x="916" y="478"/>
                  </a:cubicBezTo>
                  <a:cubicBezTo>
                    <a:pt x="917" y="479"/>
                    <a:pt x="917" y="479"/>
                    <a:pt x="917" y="479"/>
                  </a:cubicBezTo>
                  <a:cubicBezTo>
                    <a:pt x="917" y="480"/>
                    <a:pt x="917" y="480"/>
                    <a:pt x="917" y="480"/>
                  </a:cubicBezTo>
                  <a:cubicBezTo>
                    <a:pt x="917" y="482"/>
                    <a:pt x="917" y="482"/>
                    <a:pt x="917" y="482"/>
                  </a:cubicBezTo>
                  <a:cubicBezTo>
                    <a:pt x="916" y="484"/>
                    <a:pt x="916" y="484"/>
                    <a:pt x="916" y="484"/>
                  </a:cubicBezTo>
                  <a:cubicBezTo>
                    <a:pt x="916" y="485"/>
                    <a:pt x="916" y="485"/>
                    <a:pt x="916" y="485"/>
                  </a:cubicBezTo>
                  <a:cubicBezTo>
                    <a:pt x="915" y="487"/>
                    <a:pt x="915" y="487"/>
                    <a:pt x="915" y="487"/>
                  </a:cubicBezTo>
                  <a:cubicBezTo>
                    <a:pt x="914" y="487"/>
                    <a:pt x="914" y="487"/>
                    <a:pt x="914" y="487"/>
                  </a:cubicBezTo>
                  <a:cubicBezTo>
                    <a:pt x="913" y="488"/>
                    <a:pt x="913" y="488"/>
                    <a:pt x="913" y="488"/>
                  </a:cubicBezTo>
                  <a:cubicBezTo>
                    <a:pt x="913" y="488"/>
                    <a:pt x="913" y="488"/>
                    <a:pt x="913" y="488"/>
                  </a:cubicBezTo>
                  <a:cubicBezTo>
                    <a:pt x="913" y="489"/>
                    <a:pt x="913" y="489"/>
                    <a:pt x="913" y="489"/>
                  </a:cubicBezTo>
                  <a:cubicBezTo>
                    <a:pt x="912" y="490"/>
                    <a:pt x="912" y="490"/>
                    <a:pt x="912" y="490"/>
                  </a:cubicBezTo>
                  <a:cubicBezTo>
                    <a:pt x="911" y="491"/>
                    <a:pt x="911" y="491"/>
                    <a:pt x="911" y="491"/>
                  </a:cubicBezTo>
                  <a:cubicBezTo>
                    <a:pt x="909" y="492"/>
                    <a:pt x="909" y="492"/>
                    <a:pt x="909" y="492"/>
                  </a:cubicBezTo>
                  <a:cubicBezTo>
                    <a:pt x="909" y="493"/>
                    <a:pt x="909" y="493"/>
                    <a:pt x="909" y="493"/>
                  </a:cubicBezTo>
                  <a:cubicBezTo>
                    <a:pt x="906" y="494"/>
                    <a:pt x="906" y="494"/>
                    <a:pt x="906" y="494"/>
                  </a:cubicBezTo>
                  <a:cubicBezTo>
                    <a:pt x="906" y="495"/>
                    <a:pt x="906" y="495"/>
                    <a:pt x="906" y="495"/>
                  </a:cubicBezTo>
                  <a:cubicBezTo>
                    <a:pt x="906" y="496"/>
                    <a:pt x="906" y="496"/>
                    <a:pt x="906" y="496"/>
                  </a:cubicBezTo>
                  <a:cubicBezTo>
                    <a:pt x="906" y="497"/>
                    <a:pt x="906" y="497"/>
                    <a:pt x="906" y="497"/>
                  </a:cubicBezTo>
                  <a:cubicBezTo>
                    <a:pt x="906" y="498"/>
                    <a:pt x="906" y="498"/>
                    <a:pt x="906" y="498"/>
                  </a:cubicBezTo>
                  <a:cubicBezTo>
                    <a:pt x="906" y="503"/>
                    <a:pt x="906" y="503"/>
                    <a:pt x="906" y="503"/>
                  </a:cubicBezTo>
                  <a:cubicBezTo>
                    <a:pt x="906" y="504"/>
                    <a:pt x="906" y="504"/>
                    <a:pt x="906" y="504"/>
                  </a:cubicBezTo>
                  <a:cubicBezTo>
                    <a:pt x="905" y="508"/>
                    <a:pt x="905" y="508"/>
                    <a:pt x="905" y="508"/>
                  </a:cubicBezTo>
                  <a:cubicBezTo>
                    <a:pt x="905" y="510"/>
                    <a:pt x="905" y="510"/>
                    <a:pt x="905" y="510"/>
                  </a:cubicBezTo>
                  <a:cubicBezTo>
                    <a:pt x="904" y="510"/>
                    <a:pt x="904" y="510"/>
                    <a:pt x="904" y="510"/>
                  </a:cubicBezTo>
                  <a:cubicBezTo>
                    <a:pt x="904" y="510"/>
                    <a:pt x="904" y="510"/>
                    <a:pt x="904" y="510"/>
                  </a:cubicBezTo>
                  <a:cubicBezTo>
                    <a:pt x="905" y="511"/>
                    <a:pt x="905" y="511"/>
                    <a:pt x="905" y="511"/>
                  </a:cubicBezTo>
                  <a:cubicBezTo>
                    <a:pt x="905" y="511"/>
                    <a:pt x="905" y="511"/>
                    <a:pt x="905" y="511"/>
                  </a:cubicBezTo>
                  <a:cubicBezTo>
                    <a:pt x="905" y="511"/>
                    <a:pt x="905" y="511"/>
                    <a:pt x="905" y="511"/>
                  </a:cubicBezTo>
                  <a:cubicBezTo>
                    <a:pt x="905" y="512"/>
                    <a:pt x="905" y="512"/>
                    <a:pt x="905" y="512"/>
                  </a:cubicBezTo>
                  <a:cubicBezTo>
                    <a:pt x="905" y="512"/>
                    <a:pt x="905" y="512"/>
                    <a:pt x="905" y="512"/>
                  </a:cubicBezTo>
                  <a:cubicBezTo>
                    <a:pt x="906" y="512"/>
                    <a:pt x="906" y="512"/>
                    <a:pt x="906" y="512"/>
                  </a:cubicBezTo>
                  <a:cubicBezTo>
                    <a:pt x="906" y="512"/>
                    <a:pt x="906" y="512"/>
                    <a:pt x="906" y="512"/>
                  </a:cubicBezTo>
                  <a:cubicBezTo>
                    <a:pt x="906" y="513"/>
                    <a:pt x="906" y="513"/>
                    <a:pt x="906" y="513"/>
                  </a:cubicBezTo>
                  <a:cubicBezTo>
                    <a:pt x="906" y="513"/>
                    <a:pt x="906" y="513"/>
                    <a:pt x="906" y="513"/>
                  </a:cubicBezTo>
                  <a:cubicBezTo>
                    <a:pt x="907" y="514"/>
                    <a:pt x="907" y="514"/>
                    <a:pt x="907" y="514"/>
                  </a:cubicBezTo>
                  <a:cubicBezTo>
                    <a:pt x="907" y="515"/>
                    <a:pt x="907" y="515"/>
                    <a:pt x="907" y="515"/>
                  </a:cubicBezTo>
                  <a:cubicBezTo>
                    <a:pt x="907" y="515"/>
                    <a:pt x="907" y="515"/>
                    <a:pt x="907" y="515"/>
                  </a:cubicBezTo>
                  <a:cubicBezTo>
                    <a:pt x="906" y="516"/>
                    <a:pt x="906" y="516"/>
                    <a:pt x="906" y="516"/>
                  </a:cubicBezTo>
                  <a:cubicBezTo>
                    <a:pt x="907" y="517"/>
                    <a:pt x="907" y="517"/>
                    <a:pt x="907" y="517"/>
                  </a:cubicBezTo>
                  <a:cubicBezTo>
                    <a:pt x="907" y="518"/>
                    <a:pt x="907" y="518"/>
                    <a:pt x="907" y="518"/>
                  </a:cubicBezTo>
                  <a:cubicBezTo>
                    <a:pt x="907" y="519"/>
                    <a:pt x="907" y="519"/>
                    <a:pt x="907" y="519"/>
                  </a:cubicBezTo>
                  <a:cubicBezTo>
                    <a:pt x="907" y="519"/>
                    <a:pt x="907" y="519"/>
                    <a:pt x="907" y="519"/>
                  </a:cubicBezTo>
                  <a:cubicBezTo>
                    <a:pt x="906" y="519"/>
                    <a:pt x="906" y="519"/>
                    <a:pt x="906" y="519"/>
                  </a:cubicBezTo>
                  <a:cubicBezTo>
                    <a:pt x="906" y="519"/>
                    <a:pt x="906" y="519"/>
                    <a:pt x="906" y="519"/>
                  </a:cubicBezTo>
                  <a:cubicBezTo>
                    <a:pt x="905" y="518"/>
                    <a:pt x="905" y="518"/>
                    <a:pt x="905" y="518"/>
                  </a:cubicBezTo>
                  <a:cubicBezTo>
                    <a:pt x="906" y="517"/>
                    <a:pt x="906" y="517"/>
                    <a:pt x="906" y="517"/>
                  </a:cubicBezTo>
                  <a:cubicBezTo>
                    <a:pt x="906" y="516"/>
                    <a:pt x="906" y="516"/>
                    <a:pt x="906" y="516"/>
                  </a:cubicBezTo>
                  <a:cubicBezTo>
                    <a:pt x="906" y="516"/>
                    <a:pt x="906" y="516"/>
                    <a:pt x="906" y="516"/>
                  </a:cubicBezTo>
                  <a:cubicBezTo>
                    <a:pt x="905" y="516"/>
                    <a:pt x="905" y="516"/>
                    <a:pt x="905" y="516"/>
                  </a:cubicBezTo>
                  <a:cubicBezTo>
                    <a:pt x="906" y="515"/>
                    <a:pt x="906" y="515"/>
                    <a:pt x="906" y="515"/>
                  </a:cubicBezTo>
                  <a:cubicBezTo>
                    <a:pt x="906" y="514"/>
                    <a:pt x="906" y="514"/>
                    <a:pt x="906" y="514"/>
                  </a:cubicBezTo>
                  <a:cubicBezTo>
                    <a:pt x="905" y="513"/>
                    <a:pt x="905" y="513"/>
                    <a:pt x="905" y="513"/>
                  </a:cubicBezTo>
                  <a:cubicBezTo>
                    <a:pt x="905" y="512"/>
                    <a:pt x="905" y="512"/>
                    <a:pt x="905" y="512"/>
                  </a:cubicBezTo>
                  <a:cubicBezTo>
                    <a:pt x="905" y="512"/>
                    <a:pt x="905" y="512"/>
                    <a:pt x="905" y="512"/>
                  </a:cubicBezTo>
                  <a:cubicBezTo>
                    <a:pt x="905" y="512"/>
                    <a:pt x="905" y="512"/>
                    <a:pt x="905" y="512"/>
                  </a:cubicBezTo>
                  <a:cubicBezTo>
                    <a:pt x="905" y="513"/>
                    <a:pt x="905" y="513"/>
                    <a:pt x="905" y="513"/>
                  </a:cubicBezTo>
                  <a:cubicBezTo>
                    <a:pt x="905" y="514"/>
                    <a:pt x="905" y="514"/>
                    <a:pt x="905" y="514"/>
                  </a:cubicBezTo>
                  <a:cubicBezTo>
                    <a:pt x="905" y="515"/>
                    <a:pt x="905" y="515"/>
                    <a:pt x="905" y="515"/>
                  </a:cubicBezTo>
                  <a:cubicBezTo>
                    <a:pt x="905" y="516"/>
                    <a:pt x="905" y="516"/>
                    <a:pt x="905" y="516"/>
                  </a:cubicBezTo>
                  <a:cubicBezTo>
                    <a:pt x="905" y="516"/>
                    <a:pt x="905" y="516"/>
                    <a:pt x="905" y="516"/>
                  </a:cubicBezTo>
                  <a:cubicBezTo>
                    <a:pt x="905" y="517"/>
                    <a:pt x="905" y="517"/>
                    <a:pt x="905" y="517"/>
                  </a:cubicBezTo>
                  <a:cubicBezTo>
                    <a:pt x="904" y="517"/>
                    <a:pt x="904" y="517"/>
                    <a:pt x="904" y="517"/>
                  </a:cubicBezTo>
                  <a:cubicBezTo>
                    <a:pt x="904" y="518"/>
                    <a:pt x="904" y="518"/>
                    <a:pt x="904" y="518"/>
                  </a:cubicBezTo>
                  <a:cubicBezTo>
                    <a:pt x="904" y="519"/>
                    <a:pt x="904" y="519"/>
                    <a:pt x="904" y="519"/>
                  </a:cubicBezTo>
                  <a:cubicBezTo>
                    <a:pt x="904" y="520"/>
                    <a:pt x="904" y="520"/>
                    <a:pt x="904" y="520"/>
                  </a:cubicBezTo>
                  <a:cubicBezTo>
                    <a:pt x="904" y="521"/>
                    <a:pt x="904" y="521"/>
                    <a:pt x="904" y="521"/>
                  </a:cubicBezTo>
                  <a:cubicBezTo>
                    <a:pt x="904" y="523"/>
                    <a:pt x="904" y="523"/>
                    <a:pt x="904" y="523"/>
                  </a:cubicBezTo>
                  <a:cubicBezTo>
                    <a:pt x="904" y="524"/>
                    <a:pt x="904" y="524"/>
                    <a:pt x="904" y="524"/>
                  </a:cubicBezTo>
                  <a:cubicBezTo>
                    <a:pt x="904" y="524"/>
                    <a:pt x="904" y="524"/>
                    <a:pt x="904" y="524"/>
                  </a:cubicBezTo>
                  <a:cubicBezTo>
                    <a:pt x="904" y="525"/>
                    <a:pt x="904" y="525"/>
                    <a:pt x="904" y="525"/>
                  </a:cubicBezTo>
                  <a:cubicBezTo>
                    <a:pt x="904" y="526"/>
                    <a:pt x="904" y="526"/>
                    <a:pt x="904" y="526"/>
                  </a:cubicBezTo>
                  <a:cubicBezTo>
                    <a:pt x="904" y="526"/>
                    <a:pt x="904" y="526"/>
                    <a:pt x="904" y="526"/>
                  </a:cubicBezTo>
                  <a:cubicBezTo>
                    <a:pt x="904" y="527"/>
                    <a:pt x="904" y="527"/>
                    <a:pt x="904" y="527"/>
                  </a:cubicBezTo>
                  <a:cubicBezTo>
                    <a:pt x="904" y="528"/>
                    <a:pt x="904" y="528"/>
                    <a:pt x="904" y="528"/>
                  </a:cubicBezTo>
                  <a:cubicBezTo>
                    <a:pt x="905" y="532"/>
                    <a:pt x="905" y="532"/>
                    <a:pt x="905" y="532"/>
                  </a:cubicBezTo>
                  <a:cubicBezTo>
                    <a:pt x="906" y="533"/>
                    <a:pt x="906" y="533"/>
                    <a:pt x="906" y="533"/>
                  </a:cubicBezTo>
                  <a:cubicBezTo>
                    <a:pt x="906" y="536"/>
                    <a:pt x="906" y="536"/>
                    <a:pt x="906" y="536"/>
                  </a:cubicBezTo>
                  <a:cubicBezTo>
                    <a:pt x="906" y="536"/>
                    <a:pt x="906" y="536"/>
                    <a:pt x="906" y="536"/>
                  </a:cubicBezTo>
                  <a:cubicBezTo>
                    <a:pt x="907" y="536"/>
                    <a:pt x="907" y="536"/>
                    <a:pt x="907" y="536"/>
                  </a:cubicBezTo>
                  <a:cubicBezTo>
                    <a:pt x="907" y="536"/>
                    <a:pt x="907" y="536"/>
                    <a:pt x="907" y="536"/>
                  </a:cubicBezTo>
                  <a:cubicBezTo>
                    <a:pt x="907" y="537"/>
                    <a:pt x="907" y="537"/>
                    <a:pt x="907" y="537"/>
                  </a:cubicBezTo>
                  <a:cubicBezTo>
                    <a:pt x="907" y="541"/>
                    <a:pt x="907" y="541"/>
                    <a:pt x="907" y="541"/>
                  </a:cubicBezTo>
                  <a:cubicBezTo>
                    <a:pt x="907" y="542"/>
                    <a:pt x="907" y="542"/>
                    <a:pt x="907" y="542"/>
                  </a:cubicBezTo>
                  <a:cubicBezTo>
                    <a:pt x="907" y="542"/>
                    <a:pt x="907" y="542"/>
                    <a:pt x="907" y="542"/>
                  </a:cubicBezTo>
                  <a:cubicBezTo>
                    <a:pt x="907" y="543"/>
                    <a:pt x="907" y="543"/>
                    <a:pt x="907" y="543"/>
                  </a:cubicBezTo>
                  <a:cubicBezTo>
                    <a:pt x="907" y="546"/>
                    <a:pt x="907" y="546"/>
                    <a:pt x="907" y="546"/>
                  </a:cubicBezTo>
                  <a:cubicBezTo>
                    <a:pt x="908" y="550"/>
                    <a:pt x="908" y="550"/>
                    <a:pt x="908" y="550"/>
                  </a:cubicBezTo>
                  <a:cubicBezTo>
                    <a:pt x="908" y="551"/>
                    <a:pt x="908" y="551"/>
                    <a:pt x="908" y="551"/>
                  </a:cubicBezTo>
                  <a:cubicBezTo>
                    <a:pt x="908" y="552"/>
                    <a:pt x="908" y="552"/>
                    <a:pt x="908" y="552"/>
                  </a:cubicBezTo>
                  <a:cubicBezTo>
                    <a:pt x="908" y="553"/>
                    <a:pt x="908" y="553"/>
                    <a:pt x="908" y="553"/>
                  </a:cubicBezTo>
                  <a:cubicBezTo>
                    <a:pt x="908" y="553"/>
                    <a:pt x="908" y="553"/>
                    <a:pt x="908" y="553"/>
                  </a:cubicBezTo>
                  <a:cubicBezTo>
                    <a:pt x="909" y="553"/>
                    <a:pt x="909" y="553"/>
                    <a:pt x="909" y="553"/>
                  </a:cubicBezTo>
                  <a:cubicBezTo>
                    <a:pt x="910" y="555"/>
                    <a:pt x="910" y="555"/>
                    <a:pt x="910" y="555"/>
                  </a:cubicBezTo>
                  <a:cubicBezTo>
                    <a:pt x="910" y="556"/>
                    <a:pt x="910" y="556"/>
                    <a:pt x="910" y="556"/>
                  </a:cubicBezTo>
                  <a:cubicBezTo>
                    <a:pt x="910" y="557"/>
                    <a:pt x="910" y="557"/>
                    <a:pt x="910" y="557"/>
                  </a:cubicBezTo>
                  <a:cubicBezTo>
                    <a:pt x="910" y="558"/>
                    <a:pt x="910" y="558"/>
                    <a:pt x="910" y="558"/>
                  </a:cubicBezTo>
                  <a:cubicBezTo>
                    <a:pt x="912" y="561"/>
                    <a:pt x="912" y="561"/>
                    <a:pt x="912" y="561"/>
                  </a:cubicBezTo>
                  <a:cubicBezTo>
                    <a:pt x="912" y="561"/>
                    <a:pt x="912" y="561"/>
                    <a:pt x="912" y="561"/>
                  </a:cubicBezTo>
                  <a:cubicBezTo>
                    <a:pt x="912" y="562"/>
                    <a:pt x="912" y="562"/>
                    <a:pt x="912" y="562"/>
                  </a:cubicBezTo>
                  <a:cubicBezTo>
                    <a:pt x="912" y="562"/>
                    <a:pt x="912" y="562"/>
                    <a:pt x="912" y="562"/>
                  </a:cubicBezTo>
                  <a:cubicBezTo>
                    <a:pt x="912" y="563"/>
                    <a:pt x="912" y="563"/>
                    <a:pt x="912" y="563"/>
                  </a:cubicBezTo>
                  <a:cubicBezTo>
                    <a:pt x="912" y="563"/>
                    <a:pt x="912" y="563"/>
                    <a:pt x="912" y="563"/>
                  </a:cubicBezTo>
                  <a:cubicBezTo>
                    <a:pt x="912" y="564"/>
                    <a:pt x="912" y="564"/>
                    <a:pt x="912" y="564"/>
                  </a:cubicBezTo>
                  <a:cubicBezTo>
                    <a:pt x="912" y="564"/>
                    <a:pt x="912" y="564"/>
                    <a:pt x="912" y="564"/>
                  </a:cubicBezTo>
                  <a:cubicBezTo>
                    <a:pt x="912" y="564"/>
                    <a:pt x="912" y="564"/>
                    <a:pt x="912" y="564"/>
                  </a:cubicBezTo>
                  <a:cubicBezTo>
                    <a:pt x="912" y="565"/>
                    <a:pt x="912" y="565"/>
                    <a:pt x="912" y="565"/>
                  </a:cubicBezTo>
                  <a:cubicBezTo>
                    <a:pt x="913" y="566"/>
                    <a:pt x="913" y="566"/>
                    <a:pt x="913" y="566"/>
                  </a:cubicBezTo>
                  <a:cubicBezTo>
                    <a:pt x="913" y="568"/>
                    <a:pt x="913" y="568"/>
                    <a:pt x="913" y="568"/>
                  </a:cubicBezTo>
                  <a:cubicBezTo>
                    <a:pt x="913" y="570"/>
                    <a:pt x="913" y="570"/>
                    <a:pt x="913" y="570"/>
                  </a:cubicBezTo>
                  <a:cubicBezTo>
                    <a:pt x="913" y="570"/>
                    <a:pt x="913" y="570"/>
                    <a:pt x="913" y="570"/>
                  </a:cubicBezTo>
                  <a:cubicBezTo>
                    <a:pt x="912" y="571"/>
                    <a:pt x="912" y="571"/>
                    <a:pt x="912" y="571"/>
                  </a:cubicBezTo>
                  <a:cubicBezTo>
                    <a:pt x="911" y="573"/>
                    <a:pt x="911" y="573"/>
                    <a:pt x="911" y="573"/>
                  </a:cubicBezTo>
                  <a:cubicBezTo>
                    <a:pt x="911" y="573"/>
                    <a:pt x="911" y="573"/>
                    <a:pt x="911" y="573"/>
                  </a:cubicBezTo>
                  <a:cubicBezTo>
                    <a:pt x="911" y="574"/>
                    <a:pt x="911" y="574"/>
                    <a:pt x="911" y="574"/>
                  </a:cubicBezTo>
                  <a:cubicBezTo>
                    <a:pt x="913" y="572"/>
                    <a:pt x="913" y="572"/>
                    <a:pt x="913" y="572"/>
                  </a:cubicBezTo>
                  <a:cubicBezTo>
                    <a:pt x="913" y="572"/>
                    <a:pt x="913" y="572"/>
                    <a:pt x="913" y="572"/>
                  </a:cubicBezTo>
                  <a:cubicBezTo>
                    <a:pt x="913" y="573"/>
                    <a:pt x="913" y="573"/>
                    <a:pt x="913" y="573"/>
                  </a:cubicBezTo>
                  <a:cubicBezTo>
                    <a:pt x="913" y="574"/>
                    <a:pt x="913" y="574"/>
                    <a:pt x="913" y="574"/>
                  </a:cubicBezTo>
                  <a:cubicBezTo>
                    <a:pt x="914" y="574"/>
                    <a:pt x="914" y="574"/>
                    <a:pt x="914" y="574"/>
                  </a:cubicBezTo>
                  <a:cubicBezTo>
                    <a:pt x="914" y="574"/>
                    <a:pt x="914" y="574"/>
                    <a:pt x="914" y="574"/>
                  </a:cubicBezTo>
                  <a:cubicBezTo>
                    <a:pt x="914" y="575"/>
                    <a:pt x="914" y="575"/>
                    <a:pt x="914" y="575"/>
                  </a:cubicBezTo>
                  <a:cubicBezTo>
                    <a:pt x="914" y="576"/>
                    <a:pt x="914" y="576"/>
                    <a:pt x="914" y="576"/>
                  </a:cubicBezTo>
                  <a:cubicBezTo>
                    <a:pt x="914" y="576"/>
                    <a:pt x="914" y="576"/>
                    <a:pt x="914" y="576"/>
                  </a:cubicBezTo>
                  <a:cubicBezTo>
                    <a:pt x="914" y="577"/>
                    <a:pt x="914" y="577"/>
                    <a:pt x="914" y="577"/>
                  </a:cubicBezTo>
                  <a:cubicBezTo>
                    <a:pt x="914" y="577"/>
                    <a:pt x="914" y="577"/>
                    <a:pt x="914" y="577"/>
                  </a:cubicBezTo>
                  <a:cubicBezTo>
                    <a:pt x="914" y="577"/>
                    <a:pt x="914" y="577"/>
                    <a:pt x="914" y="577"/>
                  </a:cubicBezTo>
                  <a:cubicBezTo>
                    <a:pt x="914" y="577"/>
                    <a:pt x="914" y="577"/>
                    <a:pt x="914" y="577"/>
                  </a:cubicBezTo>
                  <a:cubicBezTo>
                    <a:pt x="914" y="577"/>
                    <a:pt x="914" y="577"/>
                    <a:pt x="914" y="577"/>
                  </a:cubicBezTo>
                  <a:cubicBezTo>
                    <a:pt x="914" y="578"/>
                    <a:pt x="914" y="578"/>
                    <a:pt x="914" y="578"/>
                  </a:cubicBezTo>
                  <a:cubicBezTo>
                    <a:pt x="914" y="579"/>
                    <a:pt x="914" y="579"/>
                    <a:pt x="914" y="579"/>
                  </a:cubicBezTo>
                  <a:cubicBezTo>
                    <a:pt x="916" y="577"/>
                    <a:pt x="916" y="577"/>
                    <a:pt x="916" y="577"/>
                  </a:cubicBezTo>
                  <a:cubicBezTo>
                    <a:pt x="917" y="576"/>
                    <a:pt x="917" y="576"/>
                    <a:pt x="917" y="576"/>
                  </a:cubicBezTo>
                  <a:cubicBezTo>
                    <a:pt x="918" y="577"/>
                    <a:pt x="918" y="577"/>
                    <a:pt x="918" y="577"/>
                  </a:cubicBezTo>
                  <a:cubicBezTo>
                    <a:pt x="920" y="580"/>
                    <a:pt x="920" y="580"/>
                    <a:pt x="920" y="580"/>
                  </a:cubicBezTo>
                  <a:cubicBezTo>
                    <a:pt x="921" y="581"/>
                    <a:pt x="921" y="581"/>
                    <a:pt x="921" y="581"/>
                  </a:cubicBezTo>
                  <a:cubicBezTo>
                    <a:pt x="924" y="581"/>
                    <a:pt x="924" y="581"/>
                    <a:pt x="924" y="581"/>
                  </a:cubicBezTo>
                  <a:cubicBezTo>
                    <a:pt x="925" y="582"/>
                    <a:pt x="925" y="582"/>
                    <a:pt x="925" y="582"/>
                  </a:cubicBezTo>
                  <a:cubicBezTo>
                    <a:pt x="927" y="584"/>
                    <a:pt x="927" y="584"/>
                    <a:pt x="927" y="584"/>
                  </a:cubicBezTo>
                  <a:cubicBezTo>
                    <a:pt x="927" y="584"/>
                    <a:pt x="927" y="584"/>
                    <a:pt x="927" y="584"/>
                  </a:cubicBezTo>
                  <a:cubicBezTo>
                    <a:pt x="928" y="585"/>
                    <a:pt x="928" y="585"/>
                    <a:pt x="928" y="585"/>
                  </a:cubicBezTo>
                  <a:cubicBezTo>
                    <a:pt x="930" y="585"/>
                    <a:pt x="930" y="585"/>
                    <a:pt x="930" y="585"/>
                  </a:cubicBezTo>
                  <a:cubicBezTo>
                    <a:pt x="931" y="586"/>
                    <a:pt x="931" y="586"/>
                    <a:pt x="931" y="586"/>
                  </a:cubicBezTo>
                  <a:cubicBezTo>
                    <a:pt x="932" y="587"/>
                    <a:pt x="932" y="587"/>
                    <a:pt x="932" y="587"/>
                  </a:cubicBezTo>
                  <a:cubicBezTo>
                    <a:pt x="933" y="587"/>
                    <a:pt x="933" y="587"/>
                    <a:pt x="933" y="587"/>
                  </a:cubicBezTo>
                  <a:cubicBezTo>
                    <a:pt x="933" y="587"/>
                    <a:pt x="933" y="587"/>
                    <a:pt x="933" y="587"/>
                  </a:cubicBezTo>
                  <a:cubicBezTo>
                    <a:pt x="934" y="587"/>
                    <a:pt x="934" y="587"/>
                    <a:pt x="934" y="587"/>
                  </a:cubicBezTo>
                  <a:cubicBezTo>
                    <a:pt x="934" y="587"/>
                    <a:pt x="934" y="587"/>
                    <a:pt x="934" y="587"/>
                  </a:cubicBezTo>
                  <a:cubicBezTo>
                    <a:pt x="935" y="587"/>
                    <a:pt x="935" y="587"/>
                    <a:pt x="935" y="587"/>
                  </a:cubicBezTo>
                  <a:cubicBezTo>
                    <a:pt x="935" y="587"/>
                    <a:pt x="935" y="587"/>
                    <a:pt x="935" y="587"/>
                  </a:cubicBezTo>
                  <a:cubicBezTo>
                    <a:pt x="936" y="587"/>
                    <a:pt x="936" y="587"/>
                    <a:pt x="936" y="587"/>
                  </a:cubicBezTo>
                  <a:cubicBezTo>
                    <a:pt x="936" y="587"/>
                    <a:pt x="936" y="587"/>
                    <a:pt x="936" y="587"/>
                  </a:cubicBezTo>
                  <a:cubicBezTo>
                    <a:pt x="936" y="588"/>
                    <a:pt x="936" y="588"/>
                    <a:pt x="936" y="588"/>
                  </a:cubicBezTo>
                  <a:cubicBezTo>
                    <a:pt x="936" y="589"/>
                    <a:pt x="936" y="589"/>
                    <a:pt x="936" y="589"/>
                  </a:cubicBezTo>
                  <a:cubicBezTo>
                    <a:pt x="937" y="590"/>
                    <a:pt x="937" y="590"/>
                    <a:pt x="937" y="590"/>
                  </a:cubicBezTo>
                  <a:cubicBezTo>
                    <a:pt x="938" y="590"/>
                    <a:pt x="938" y="590"/>
                    <a:pt x="938" y="590"/>
                  </a:cubicBezTo>
                  <a:cubicBezTo>
                    <a:pt x="938" y="590"/>
                    <a:pt x="938" y="590"/>
                    <a:pt x="938" y="590"/>
                  </a:cubicBezTo>
                  <a:cubicBezTo>
                    <a:pt x="939" y="590"/>
                    <a:pt x="939" y="590"/>
                    <a:pt x="939" y="590"/>
                  </a:cubicBezTo>
                  <a:cubicBezTo>
                    <a:pt x="939" y="589"/>
                    <a:pt x="939" y="589"/>
                    <a:pt x="939" y="589"/>
                  </a:cubicBezTo>
                  <a:cubicBezTo>
                    <a:pt x="939" y="589"/>
                    <a:pt x="939" y="589"/>
                    <a:pt x="939" y="589"/>
                  </a:cubicBezTo>
                  <a:cubicBezTo>
                    <a:pt x="943" y="588"/>
                    <a:pt x="943" y="588"/>
                    <a:pt x="943" y="588"/>
                  </a:cubicBezTo>
                  <a:cubicBezTo>
                    <a:pt x="943" y="588"/>
                    <a:pt x="943" y="588"/>
                    <a:pt x="943" y="588"/>
                  </a:cubicBezTo>
                  <a:cubicBezTo>
                    <a:pt x="948" y="588"/>
                    <a:pt x="948" y="588"/>
                    <a:pt x="948" y="588"/>
                  </a:cubicBezTo>
                  <a:cubicBezTo>
                    <a:pt x="951" y="587"/>
                    <a:pt x="951" y="587"/>
                    <a:pt x="951" y="587"/>
                  </a:cubicBezTo>
                  <a:cubicBezTo>
                    <a:pt x="952" y="588"/>
                    <a:pt x="952" y="588"/>
                    <a:pt x="952" y="588"/>
                  </a:cubicBezTo>
                  <a:cubicBezTo>
                    <a:pt x="952" y="588"/>
                    <a:pt x="952" y="588"/>
                    <a:pt x="952" y="588"/>
                  </a:cubicBezTo>
                  <a:cubicBezTo>
                    <a:pt x="952" y="589"/>
                    <a:pt x="952" y="589"/>
                    <a:pt x="952" y="589"/>
                  </a:cubicBezTo>
                  <a:cubicBezTo>
                    <a:pt x="953" y="590"/>
                    <a:pt x="953" y="590"/>
                    <a:pt x="953" y="590"/>
                  </a:cubicBezTo>
                  <a:cubicBezTo>
                    <a:pt x="953" y="592"/>
                    <a:pt x="953" y="592"/>
                    <a:pt x="953" y="592"/>
                  </a:cubicBezTo>
                  <a:cubicBezTo>
                    <a:pt x="953" y="593"/>
                    <a:pt x="953" y="593"/>
                    <a:pt x="953" y="593"/>
                  </a:cubicBezTo>
                  <a:cubicBezTo>
                    <a:pt x="954" y="594"/>
                    <a:pt x="954" y="594"/>
                    <a:pt x="954" y="594"/>
                  </a:cubicBezTo>
                  <a:cubicBezTo>
                    <a:pt x="954" y="594"/>
                    <a:pt x="954" y="594"/>
                    <a:pt x="954" y="594"/>
                  </a:cubicBezTo>
                  <a:cubicBezTo>
                    <a:pt x="956" y="594"/>
                    <a:pt x="956" y="594"/>
                    <a:pt x="956" y="594"/>
                  </a:cubicBezTo>
                  <a:cubicBezTo>
                    <a:pt x="956" y="594"/>
                    <a:pt x="956" y="594"/>
                    <a:pt x="956" y="594"/>
                  </a:cubicBezTo>
                  <a:cubicBezTo>
                    <a:pt x="956" y="594"/>
                    <a:pt x="956" y="594"/>
                    <a:pt x="956" y="594"/>
                  </a:cubicBezTo>
                  <a:cubicBezTo>
                    <a:pt x="957" y="595"/>
                    <a:pt x="957" y="595"/>
                    <a:pt x="957" y="595"/>
                  </a:cubicBezTo>
                  <a:cubicBezTo>
                    <a:pt x="957" y="595"/>
                    <a:pt x="957" y="595"/>
                    <a:pt x="957" y="595"/>
                  </a:cubicBezTo>
                  <a:cubicBezTo>
                    <a:pt x="957" y="595"/>
                    <a:pt x="957" y="595"/>
                    <a:pt x="957" y="595"/>
                  </a:cubicBezTo>
                  <a:cubicBezTo>
                    <a:pt x="957" y="596"/>
                    <a:pt x="957" y="596"/>
                    <a:pt x="957" y="596"/>
                  </a:cubicBezTo>
                  <a:cubicBezTo>
                    <a:pt x="957" y="596"/>
                    <a:pt x="957" y="596"/>
                    <a:pt x="957" y="596"/>
                  </a:cubicBezTo>
                  <a:cubicBezTo>
                    <a:pt x="959" y="597"/>
                    <a:pt x="959" y="597"/>
                    <a:pt x="959" y="597"/>
                  </a:cubicBezTo>
                  <a:cubicBezTo>
                    <a:pt x="959" y="598"/>
                    <a:pt x="959" y="598"/>
                    <a:pt x="959" y="598"/>
                  </a:cubicBezTo>
                  <a:cubicBezTo>
                    <a:pt x="960" y="598"/>
                    <a:pt x="960" y="598"/>
                    <a:pt x="960" y="598"/>
                  </a:cubicBezTo>
                  <a:cubicBezTo>
                    <a:pt x="960" y="600"/>
                    <a:pt x="960" y="600"/>
                    <a:pt x="960" y="600"/>
                  </a:cubicBezTo>
                  <a:cubicBezTo>
                    <a:pt x="960" y="601"/>
                    <a:pt x="960" y="601"/>
                    <a:pt x="960" y="601"/>
                  </a:cubicBezTo>
                  <a:cubicBezTo>
                    <a:pt x="960" y="602"/>
                    <a:pt x="960" y="602"/>
                    <a:pt x="960" y="602"/>
                  </a:cubicBezTo>
                  <a:cubicBezTo>
                    <a:pt x="960" y="603"/>
                    <a:pt x="960" y="603"/>
                    <a:pt x="960" y="603"/>
                  </a:cubicBezTo>
                  <a:cubicBezTo>
                    <a:pt x="960" y="603"/>
                    <a:pt x="960" y="603"/>
                    <a:pt x="960" y="603"/>
                  </a:cubicBezTo>
                  <a:cubicBezTo>
                    <a:pt x="959" y="600"/>
                    <a:pt x="959" y="600"/>
                    <a:pt x="959" y="600"/>
                  </a:cubicBezTo>
                  <a:cubicBezTo>
                    <a:pt x="959" y="600"/>
                    <a:pt x="959" y="600"/>
                    <a:pt x="959" y="600"/>
                  </a:cubicBezTo>
                  <a:cubicBezTo>
                    <a:pt x="959" y="599"/>
                    <a:pt x="959" y="599"/>
                    <a:pt x="959" y="599"/>
                  </a:cubicBezTo>
                  <a:cubicBezTo>
                    <a:pt x="957" y="598"/>
                    <a:pt x="957" y="598"/>
                    <a:pt x="957" y="598"/>
                  </a:cubicBezTo>
                  <a:cubicBezTo>
                    <a:pt x="957" y="598"/>
                    <a:pt x="957" y="598"/>
                    <a:pt x="957" y="598"/>
                  </a:cubicBezTo>
                  <a:cubicBezTo>
                    <a:pt x="957" y="597"/>
                    <a:pt x="957" y="597"/>
                    <a:pt x="957" y="597"/>
                  </a:cubicBezTo>
                  <a:cubicBezTo>
                    <a:pt x="957" y="597"/>
                    <a:pt x="957" y="597"/>
                    <a:pt x="957" y="597"/>
                  </a:cubicBezTo>
                  <a:cubicBezTo>
                    <a:pt x="956" y="597"/>
                    <a:pt x="956" y="597"/>
                    <a:pt x="956" y="597"/>
                  </a:cubicBezTo>
                  <a:cubicBezTo>
                    <a:pt x="956" y="596"/>
                    <a:pt x="956" y="596"/>
                    <a:pt x="956" y="596"/>
                  </a:cubicBezTo>
                  <a:cubicBezTo>
                    <a:pt x="956" y="596"/>
                    <a:pt x="956" y="596"/>
                    <a:pt x="956" y="596"/>
                  </a:cubicBezTo>
                  <a:cubicBezTo>
                    <a:pt x="956" y="596"/>
                    <a:pt x="956" y="596"/>
                    <a:pt x="956" y="596"/>
                  </a:cubicBezTo>
                  <a:cubicBezTo>
                    <a:pt x="954" y="596"/>
                    <a:pt x="954" y="596"/>
                    <a:pt x="954" y="596"/>
                  </a:cubicBezTo>
                  <a:cubicBezTo>
                    <a:pt x="953" y="596"/>
                    <a:pt x="953" y="596"/>
                    <a:pt x="953" y="596"/>
                  </a:cubicBezTo>
                  <a:cubicBezTo>
                    <a:pt x="953" y="595"/>
                    <a:pt x="953" y="595"/>
                    <a:pt x="953" y="595"/>
                  </a:cubicBezTo>
                  <a:cubicBezTo>
                    <a:pt x="953" y="594"/>
                    <a:pt x="953" y="594"/>
                    <a:pt x="953" y="594"/>
                  </a:cubicBezTo>
                  <a:cubicBezTo>
                    <a:pt x="952" y="592"/>
                    <a:pt x="952" y="592"/>
                    <a:pt x="952" y="592"/>
                  </a:cubicBezTo>
                  <a:cubicBezTo>
                    <a:pt x="952" y="591"/>
                    <a:pt x="952" y="591"/>
                    <a:pt x="952" y="591"/>
                  </a:cubicBezTo>
                  <a:cubicBezTo>
                    <a:pt x="952" y="590"/>
                    <a:pt x="952" y="590"/>
                    <a:pt x="952" y="590"/>
                  </a:cubicBezTo>
                  <a:cubicBezTo>
                    <a:pt x="951" y="590"/>
                    <a:pt x="951" y="590"/>
                    <a:pt x="951" y="590"/>
                  </a:cubicBezTo>
                  <a:cubicBezTo>
                    <a:pt x="951" y="590"/>
                    <a:pt x="951" y="590"/>
                    <a:pt x="951" y="590"/>
                  </a:cubicBezTo>
                  <a:cubicBezTo>
                    <a:pt x="947" y="591"/>
                    <a:pt x="947" y="591"/>
                    <a:pt x="947" y="591"/>
                  </a:cubicBezTo>
                  <a:cubicBezTo>
                    <a:pt x="942" y="590"/>
                    <a:pt x="942" y="590"/>
                    <a:pt x="942" y="590"/>
                  </a:cubicBezTo>
                  <a:cubicBezTo>
                    <a:pt x="942" y="590"/>
                    <a:pt x="942" y="590"/>
                    <a:pt x="942" y="590"/>
                  </a:cubicBezTo>
                  <a:cubicBezTo>
                    <a:pt x="938" y="591"/>
                    <a:pt x="938" y="591"/>
                    <a:pt x="938" y="591"/>
                  </a:cubicBezTo>
                  <a:cubicBezTo>
                    <a:pt x="938" y="591"/>
                    <a:pt x="938" y="591"/>
                    <a:pt x="938" y="591"/>
                  </a:cubicBezTo>
                  <a:cubicBezTo>
                    <a:pt x="938" y="592"/>
                    <a:pt x="938" y="592"/>
                    <a:pt x="938" y="592"/>
                  </a:cubicBezTo>
                  <a:cubicBezTo>
                    <a:pt x="937" y="592"/>
                    <a:pt x="937" y="592"/>
                    <a:pt x="937" y="592"/>
                  </a:cubicBezTo>
                  <a:cubicBezTo>
                    <a:pt x="936" y="592"/>
                    <a:pt x="936" y="592"/>
                    <a:pt x="936" y="592"/>
                  </a:cubicBezTo>
                  <a:cubicBezTo>
                    <a:pt x="936" y="592"/>
                    <a:pt x="936" y="592"/>
                    <a:pt x="936" y="592"/>
                  </a:cubicBezTo>
                  <a:cubicBezTo>
                    <a:pt x="935" y="591"/>
                    <a:pt x="935" y="591"/>
                    <a:pt x="935" y="591"/>
                  </a:cubicBezTo>
                  <a:cubicBezTo>
                    <a:pt x="935" y="591"/>
                    <a:pt x="935" y="591"/>
                    <a:pt x="935" y="591"/>
                  </a:cubicBezTo>
                  <a:cubicBezTo>
                    <a:pt x="935" y="590"/>
                    <a:pt x="935" y="590"/>
                    <a:pt x="935" y="590"/>
                  </a:cubicBezTo>
                  <a:cubicBezTo>
                    <a:pt x="935" y="589"/>
                    <a:pt x="935" y="589"/>
                    <a:pt x="935" y="589"/>
                  </a:cubicBezTo>
                  <a:cubicBezTo>
                    <a:pt x="934" y="589"/>
                    <a:pt x="934" y="589"/>
                    <a:pt x="934" y="589"/>
                  </a:cubicBezTo>
                  <a:cubicBezTo>
                    <a:pt x="933" y="589"/>
                    <a:pt x="933" y="589"/>
                    <a:pt x="933" y="589"/>
                  </a:cubicBezTo>
                  <a:cubicBezTo>
                    <a:pt x="933" y="589"/>
                    <a:pt x="933" y="589"/>
                    <a:pt x="933" y="589"/>
                  </a:cubicBezTo>
                  <a:cubicBezTo>
                    <a:pt x="932" y="590"/>
                    <a:pt x="932" y="590"/>
                    <a:pt x="932" y="590"/>
                  </a:cubicBezTo>
                  <a:cubicBezTo>
                    <a:pt x="932" y="589"/>
                    <a:pt x="932" y="589"/>
                    <a:pt x="932" y="589"/>
                  </a:cubicBezTo>
                  <a:cubicBezTo>
                    <a:pt x="931" y="589"/>
                    <a:pt x="931" y="589"/>
                    <a:pt x="931" y="589"/>
                  </a:cubicBezTo>
                  <a:cubicBezTo>
                    <a:pt x="930" y="589"/>
                    <a:pt x="930" y="589"/>
                    <a:pt x="930" y="589"/>
                  </a:cubicBezTo>
                  <a:cubicBezTo>
                    <a:pt x="930" y="588"/>
                    <a:pt x="930" y="588"/>
                    <a:pt x="930" y="588"/>
                  </a:cubicBezTo>
                  <a:cubicBezTo>
                    <a:pt x="929" y="587"/>
                    <a:pt x="929" y="587"/>
                    <a:pt x="929" y="587"/>
                  </a:cubicBezTo>
                  <a:cubicBezTo>
                    <a:pt x="926" y="587"/>
                    <a:pt x="926" y="587"/>
                    <a:pt x="926" y="587"/>
                  </a:cubicBezTo>
                  <a:cubicBezTo>
                    <a:pt x="926" y="587"/>
                    <a:pt x="926" y="587"/>
                    <a:pt x="926" y="587"/>
                  </a:cubicBezTo>
                  <a:cubicBezTo>
                    <a:pt x="926" y="586"/>
                    <a:pt x="926" y="586"/>
                    <a:pt x="926" y="586"/>
                  </a:cubicBezTo>
                  <a:cubicBezTo>
                    <a:pt x="923" y="584"/>
                    <a:pt x="923" y="584"/>
                    <a:pt x="923" y="584"/>
                  </a:cubicBezTo>
                  <a:cubicBezTo>
                    <a:pt x="922" y="584"/>
                    <a:pt x="922" y="584"/>
                    <a:pt x="922" y="584"/>
                  </a:cubicBezTo>
                  <a:cubicBezTo>
                    <a:pt x="919" y="584"/>
                    <a:pt x="919" y="584"/>
                    <a:pt x="919" y="584"/>
                  </a:cubicBezTo>
                  <a:cubicBezTo>
                    <a:pt x="918" y="583"/>
                    <a:pt x="918" y="583"/>
                    <a:pt x="918" y="583"/>
                  </a:cubicBezTo>
                  <a:cubicBezTo>
                    <a:pt x="916" y="579"/>
                    <a:pt x="916" y="579"/>
                    <a:pt x="916" y="579"/>
                  </a:cubicBezTo>
                  <a:cubicBezTo>
                    <a:pt x="915" y="578"/>
                    <a:pt x="915" y="578"/>
                    <a:pt x="915" y="578"/>
                  </a:cubicBezTo>
                  <a:cubicBezTo>
                    <a:pt x="914" y="579"/>
                    <a:pt x="914" y="579"/>
                    <a:pt x="914" y="579"/>
                  </a:cubicBezTo>
                  <a:cubicBezTo>
                    <a:pt x="912" y="581"/>
                    <a:pt x="912" y="581"/>
                    <a:pt x="912" y="581"/>
                  </a:cubicBezTo>
                  <a:cubicBezTo>
                    <a:pt x="912" y="581"/>
                    <a:pt x="912" y="581"/>
                    <a:pt x="912" y="581"/>
                  </a:cubicBezTo>
                  <a:cubicBezTo>
                    <a:pt x="912" y="581"/>
                    <a:pt x="912" y="581"/>
                    <a:pt x="912" y="581"/>
                  </a:cubicBezTo>
                  <a:cubicBezTo>
                    <a:pt x="912" y="582"/>
                    <a:pt x="912" y="582"/>
                    <a:pt x="912" y="582"/>
                  </a:cubicBezTo>
                  <a:cubicBezTo>
                    <a:pt x="912" y="583"/>
                    <a:pt x="912" y="583"/>
                    <a:pt x="912" y="583"/>
                  </a:cubicBezTo>
                  <a:cubicBezTo>
                    <a:pt x="912" y="583"/>
                    <a:pt x="912" y="583"/>
                    <a:pt x="912" y="583"/>
                  </a:cubicBezTo>
                  <a:cubicBezTo>
                    <a:pt x="911" y="583"/>
                    <a:pt x="911" y="583"/>
                    <a:pt x="911" y="583"/>
                  </a:cubicBezTo>
                  <a:cubicBezTo>
                    <a:pt x="911" y="583"/>
                    <a:pt x="911" y="583"/>
                    <a:pt x="911" y="583"/>
                  </a:cubicBezTo>
                  <a:cubicBezTo>
                    <a:pt x="910" y="583"/>
                    <a:pt x="910" y="583"/>
                    <a:pt x="910" y="583"/>
                  </a:cubicBezTo>
                  <a:cubicBezTo>
                    <a:pt x="910" y="583"/>
                    <a:pt x="910" y="583"/>
                    <a:pt x="910" y="583"/>
                  </a:cubicBezTo>
                  <a:cubicBezTo>
                    <a:pt x="910" y="583"/>
                    <a:pt x="910" y="583"/>
                    <a:pt x="910" y="583"/>
                  </a:cubicBezTo>
                  <a:cubicBezTo>
                    <a:pt x="910" y="582"/>
                    <a:pt x="910" y="582"/>
                    <a:pt x="910" y="582"/>
                  </a:cubicBezTo>
                  <a:cubicBezTo>
                    <a:pt x="909" y="583"/>
                    <a:pt x="909" y="583"/>
                    <a:pt x="909" y="583"/>
                  </a:cubicBezTo>
                  <a:cubicBezTo>
                    <a:pt x="909" y="583"/>
                    <a:pt x="909" y="583"/>
                    <a:pt x="909" y="583"/>
                  </a:cubicBezTo>
                  <a:cubicBezTo>
                    <a:pt x="909" y="584"/>
                    <a:pt x="909" y="584"/>
                    <a:pt x="909" y="584"/>
                  </a:cubicBezTo>
                  <a:cubicBezTo>
                    <a:pt x="909" y="585"/>
                    <a:pt x="909" y="585"/>
                    <a:pt x="909" y="585"/>
                  </a:cubicBezTo>
                  <a:cubicBezTo>
                    <a:pt x="909" y="585"/>
                    <a:pt x="909" y="585"/>
                    <a:pt x="909" y="585"/>
                  </a:cubicBezTo>
                  <a:cubicBezTo>
                    <a:pt x="909" y="586"/>
                    <a:pt x="909" y="586"/>
                    <a:pt x="909" y="586"/>
                  </a:cubicBezTo>
                  <a:cubicBezTo>
                    <a:pt x="909" y="586"/>
                    <a:pt x="909" y="586"/>
                    <a:pt x="909" y="586"/>
                  </a:cubicBezTo>
                  <a:cubicBezTo>
                    <a:pt x="910" y="587"/>
                    <a:pt x="910" y="587"/>
                    <a:pt x="910" y="587"/>
                  </a:cubicBezTo>
                  <a:cubicBezTo>
                    <a:pt x="910" y="593"/>
                    <a:pt x="910" y="593"/>
                    <a:pt x="910" y="593"/>
                  </a:cubicBezTo>
                  <a:cubicBezTo>
                    <a:pt x="911" y="595"/>
                    <a:pt x="911" y="595"/>
                    <a:pt x="911" y="595"/>
                  </a:cubicBezTo>
                  <a:cubicBezTo>
                    <a:pt x="911" y="596"/>
                    <a:pt x="911" y="596"/>
                    <a:pt x="911" y="596"/>
                  </a:cubicBezTo>
                  <a:cubicBezTo>
                    <a:pt x="911" y="597"/>
                    <a:pt x="911" y="597"/>
                    <a:pt x="911" y="597"/>
                  </a:cubicBezTo>
                  <a:cubicBezTo>
                    <a:pt x="909" y="598"/>
                    <a:pt x="909" y="598"/>
                    <a:pt x="909" y="598"/>
                  </a:cubicBezTo>
                  <a:cubicBezTo>
                    <a:pt x="907" y="598"/>
                    <a:pt x="907" y="598"/>
                    <a:pt x="907" y="598"/>
                  </a:cubicBezTo>
                  <a:cubicBezTo>
                    <a:pt x="907" y="598"/>
                    <a:pt x="907" y="598"/>
                    <a:pt x="907" y="598"/>
                  </a:cubicBezTo>
                  <a:cubicBezTo>
                    <a:pt x="907" y="599"/>
                    <a:pt x="907" y="599"/>
                    <a:pt x="907" y="599"/>
                  </a:cubicBezTo>
                  <a:cubicBezTo>
                    <a:pt x="907" y="599"/>
                    <a:pt x="907" y="599"/>
                    <a:pt x="907" y="599"/>
                  </a:cubicBezTo>
                  <a:cubicBezTo>
                    <a:pt x="906" y="599"/>
                    <a:pt x="906" y="599"/>
                    <a:pt x="906" y="599"/>
                  </a:cubicBezTo>
                  <a:cubicBezTo>
                    <a:pt x="906" y="599"/>
                    <a:pt x="906" y="599"/>
                    <a:pt x="906" y="599"/>
                  </a:cubicBezTo>
                  <a:cubicBezTo>
                    <a:pt x="906" y="598"/>
                    <a:pt x="906" y="598"/>
                    <a:pt x="906" y="598"/>
                  </a:cubicBezTo>
                  <a:cubicBezTo>
                    <a:pt x="905" y="598"/>
                    <a:pt x="905" y="598"/>
                    <a:pt x="905" y="598"/>
                  </a:cubicBezTo>
                  <a:cubicBezTo>
                    <a:pt x="905" y="598"/>
                    <a:pt x="905" y="598"/>
                    <a:pt x="905" y="598"/>
                  </a:cubicBezTo>
                  <a:cubicBezTo>
                    <a:pt x="905" y="599"/>
                    <a:pt x="905" y="599"/>
                    <a:pt x="905" y="599"/>
                  </a:cubicBezTo>
                  <a:cubicBezTo>
                    <a:pt x="903" y="599"/>
                    <a:pt x="903" y="599"/>
                    <a:pt x="903" y="599"/>
                  </a:cubicBezTo>
                  <a:cubicBezTo>
                    <a:pt x="899" y="598"/>
                    <a:pt x="899" y="598"/>
                    <a:pt x="899" y="598"/>
                  </a:cubicBezTo>
                  <a:cubicBezTo>
                    <a:pt x="898" y="597"/>
                    <a:pt x="898" y="597"/>
                    <a:pt x="898" y="597"/>
                  </a:cubicBezTo>
                  <a:cubicBezTo>
                    <a:pt x="896" y="596"/>
                    <a:pt x="896" y="596"/>
                    <a:pt x="896" y="596"/>
                  </a:cubicBezTo>
                  <a:cubicBezTo>
                    <a:pt x="891" y="597"/>
                    <a:pt x="891" y="597"/>
                    <a:pt x="891" y="597"/>
                  </a:cubicBezTo>
                  <a:cubicBezTo>
                    <a:pt x="890" y="597"/>
                    <a:pt x="890" y="597"/>
                    <a:pt x="890" y="597"/>
                  </a:cubicBezTo>
                  <a:cubicBezTo>
                    <a:pt x="890" y="597"/>
                    <a:pt x="890" y="597"/>
                    <a:pt x="890" y="597"/>
                  </a:cubicBezTo>
                  <a:cubicBezTo>
                    <a:pt x="890" y="596"/>
                    <a:pt x="890" y="596"/>
                    <a:pt x="890" y="596"/>
                  </a:cubicBezTo>
                  <a:cubicBezTo>
                    <a:pt x="889" y="596"/>
                    <a:pt x="889" y="596"/>
                    <a:pt x="889" y="596"/>
                  </a:cubicBezTo>
                  <a:cubicBezTo>
                    <a:pt x="889" y="595"/>
                    <a:pt x="889" y="595"/>
                    <a:pt x="889" y="595"/>
                  </a:cubicBezTo>
                  <a:cubicBezTo>
                    <a:pt x="889" y="595"/>
                    <a:pt x="889" y="595"/>
                    <a:pt x="889" y="595"/>
                  </a:cubicBezTo>
                  <a:cubicBezTo>
                    <a:pt x="890" y="595"/>
                    <a:pt x="890" y="595"/>
                    <a:pt x="890" y="595"/>
                  </a:cubicBezTo>
                  <a:cubicBezTo>
                    <a:pt x="890" y="595"/>
                    <a:pt x="890" y="595"/>
                    <a:pt x="890" y="595"/>
                  </a:cubicBezTo>
                  <a:cubicBezTo>
                    <a:pt x="890" y="595"/>
                    <a:pt x="890" y="595"/>
                    <a:pt x="890" y="595"/>
                  </a:cubicBezTo>
                  <a:cubicBezTo>
                    <a:pt x="894" y="591"/>
                    <a:pt x="894" y="591"/>
                    <a:pt x="894" y="591"/>
                  </a:cubicBezTo>
                  <a:cubicBezTo>
                    <a:pt x="897" y="588"/>
                    <a:pt x="897" y="588"/>
                    <a:pt x="897" y="588"/>
                  </a:cubicBezTo>
                  <a:cubicBezTo>
                    <a:pt x="898" y="586"/>
                    <a:pt x="898" y="586"/>
                    <a:pt x="898" y="586"/>
                  </a:cubicBezTo>
                  <a:cubicBezTo>
                    <a:pt x="899" y="586"/>
                    <a:pt x="899" y="586"/>
                    <a:pt x="899" y="586"/>
                  </a:cubicBezTo>
                  <a:cubicBezTo>
                    <a:pt x="899" y="584"/>
                    <a:pt x="899" y="584"/>
                    <a:pt x="899" y="584"/>
                  </a:cubicBezTo>
                  <a:cubicBezTo>
                    <a:pt x="899" y="584"/>
                    <a:pt x="899" y="584"/>
                    <a:pt x="899" y="584"/>
                  </a:cubicBezTo>
                  <a:cubicBezTo>
                    <a:pt x="900" y="584"/>
                    <a:pt x="900" y="584"/>
                    <a:pt x="900" y="584"/>
                  </a:cubicBezTo>
                  <a:cubicBezTo>
                    <a:pt x="900" y="583"/>
                    <a:pt x="900" y="583"/>
                    <a:pt x="900" y="583"/>
                  </a:cubicBezTo>
                  <a:cubicBezTo>
                    <a:pt x="900" y="583"/>
                    <a:pt x="900" y="583"/>
                    <a:pt x="900" y="583"/>
                  </a:cubicBezTo>
                  <a:cubicBezTo>
                    <a:pt x="900" y="583"/>
                    <a:pt x="900" y="583"/>
                    <a:pt x="900" y="583"/>
                  </a:cubicBezTo>
                  <a:cubicBezTo>
                    <a:pt x="900" y="582"/>
                    <a:pt x="900" y="582"/>
                    <a:pt x="900" y="582"/>
                  </a:cubicBezTo>
                  <a:cubicBezTo>
                    <a:pt x="901" y="582"/>
                    <a:pt x="901" y="582"/>
                    <a:pt x="901" y="582"/>
                  </a:cubicBezTo>
                  <a:cubicBezTo>
                    <a:pt x="901" y="582"/>
                    <a:pt x="901" y="582"/>
                    <a:pt x="901" y="582"/>
                  </a:cubicBezTo>
                  <a:cubicBezTo>
                    <a:pt x="901" y="581"/>
                    <a:pt x="901" y="581"/>
                    <a:pt x="901" y="581"/>
                  </a:cubicBezTo>
                  <a:cubicBezTo>
                    <a:pt x="902" y="581"/>
                    <a:pt x="902" y="581"/>
                    <a:pt x="902" y="581"/>
                  </a:cubicBezTo>
                  <a:cubicBezTo>
                    <a:pt x="902" y="581"/>
                    <a:pt x="902" y="581"/>
                    <a:pt x="902" y="581"/>
                  </a:cubicBezTo>
                  <a:cubicBezTo>
                    <a:pt x="902" y="581"/>
                    <a:pt x="902" y="581"/>
                    <a:pt x="902" y="581"/>
                  </a:cubicBezTo>
                  <a:cubicBezTo>
                    <a:pt x="902" y="580"/>
                    <a:pt x="902" y="580"/>
                    <a:pt x="902" y="580"/>
                  </a:cubicBezTo>
                  <a:cubicBezTo>
                    <a:pt x="903" y="579"/>
                    <a:pt x="903" y="579"/>
                    <a:pt x="903" y="579"/>
                  </a:cubicBezTo>
                  <a:cubicBezTo>
                    <a:pt x="901" y="579"/>
                    <a:pt x="901" y="579"/>
                    <a:pt x="901" y="579"/>
                  </a:cubicBezTo>
                  <a:cubicBezTo>
                    <a:pt x="898" y="584"/>
                    <a:pt x="898" y="584"/>
                    <a:pt x="898" y="584"/>
                  </a:cubicBezTo>
                  <a:cubicBezTo>
                    <a:pt x="898" y="584"/>
                    <a:pt x="898" y="584"/>
                    <a:pt x="898" y="584"/>
                  </a:cubicBezTo>
                  <a:cubicBezTo>
                    <a:pt x="892" y="591"/>
                    <a:pt x="892" y="591"/>
                    <a:pt x="892" y="591"/>
                  </a:cubicBezTo>
                  <a:cubicBezTo>
                    <a:pt x="888" y="595"/>
                    <a:pt x="888" y="595"/>
                    <a:pt x="888" y="595"/>
                  </a:cubicBezTo>
                  <a:cubicBezTo>
                    <a:pt x="886" y="596"/>
                    <a:pt x="886" y="596"/>
                    <a:pt x="886" y="596"/>
                  </a:cubicBezTo>
                  <a:cubicBezTo>
                    <a:pt x="884" y="596"/>
                    <a:pt x="884" y="596"/>
                    <a:pt x="884" y="596"/>
                  </a:cubicBezTo>
                  <a:cubicBezTo>
                    <a:pt x="879" y="596"/>
                    <a:pt x="879" y="596"/>
                    <a:pt x="879" y="596"/>
                  </a:cubicBezTo>
                  <a:cubicBezTo>
                    <a:pt x="878" y="596"/>
                    <a:pt x="878" y="596"/>
                    <a:pt x="878" y="596"/>
                  </a:cubicBezTo>
                  <a:cubicBezTo>
                    <a:pt x="875" y="596"/>
                    <a:pt x="875" y="596"/>
                    <a:pt x="875" y="596"/>
                  </a:cubicBezTo>
                  <a:cubicBezTo>
                    <a:pt x="874" y="596"/>
                    <a:pt x="874" y="596"/>
                    <a:pt x="874" y="596"/>
                  </a:cubicBezTo>
                  <a:cubicBezTo>
                    <a:pt x="874" y="596"/>
                    <a:pt x="874" y="596"/>
                    <a:pt x="874" y="596"/>
                  </a:cubicBezTo>
                  <a:cubicBezTo>
                    <a:pt x="873" y="595"/>
                    <a:pt x="873" y="595"/>
                    <a:pt x="873" y="595"/>
                  </a:cubicBezTo>
                  <a:cubicBezTo>
                    <a:pt x="873" y="595"/>
                    <a:pt x="873" y="595"/>
                    <a:pt x="873" y="595"/>
                  </a:cubicBezTo>
                  <a:cubicBezTo>
                    <a:pt x="872" y="596"/>
                    <a:pt x="872" y="596"/>
                    <a:pt x="872" y="596"/>
                  </a:cubicBezTo>
                  <a:cubicBezTo>
                    <a:pt x="871" y="597"/>
                    <a:pt x="871" y="597"/>
                    <a:pt x="871" y="597"/>
                  </a:cubicBezTo>
                  <a:cubicBezTo>
                    <a:pt x="871" y="598"/>
                    <a:pt x="871" y="598"/>
                    <a:pt x="871" y="598"/>
                  </a:cubicBezTo>
                  <a:cubicBezTo>
                    <a:pt x="871" y="599"/>
                    <a:pt x="871" y="599"/>
                    <a:pt x="871" y="599"/>
                  </a:cubicBezTo>
                  <a:cubicBezTo>
                    <a:pt x="871" y="600"/>
                    <a:pt x="871" y="600"/>
                    <a:pt x="871" y="600"/>
                  </a:cubicBezTo>
                  <a:cubicBezTo>
                    <a:pt x="871" y="601"/>
                    <a:pt x="871" y="601"/>
                    <a:pt x="871" y="601"/>
                  </a:cubicBezTo>
                  <a:cubicBezTo>
                    <a:pt x="872" y="603"/>
                    <a:pt x="872" y="603"/>
                    <a:pt x="872" y="603"/>
                  </a:cubicBezTo>
                  <a:cubicBezTo>
                    <a:pt x="872" y="604"/>
                    <a:pt x="872" y="604"/>
                    <a:pt x="872" y="604"/>
                  </a:cubicBezTo>
                  <a:cubicBezTo>
                    <a:pt x="872" y="606"/>
                    <a:pt x="872" y="606"/>
                    <a:pt x="872" y="606"/>
                  </a:cubicBezTo>
                  <a:cubicBezTo>
                    <a:pt x="872" y="606"/>
                    <a:pt x="872" y="606"/>
                    <a:pt x="872" y="606"/>
                  </a:cubicBezTo>
                  <a:cubicBezTo>
                    <a:pt x="871" y="608"/>
                    <a:pt x="871" y="608"/>
                    <a:pt x="871" y="608"/>
                  </a:cubicBezTo>
                  <a:cubicBezTo>
                    <a:pt x="871" y="609"/>
                    <a:pt x="871" y="609"/>
                    <a:pt x="871" y="609"/>
                  </a:cubicBezTo>
                  <a:cubicBezTo>
                    <a:pt x="870" y="610"/>
                    <a:pt x="870" y="610"/>
                    <a:pt x="870" y="610"/>
                  </a:cubicBezTo>
                  <a:cubicBezTo>
                    <a:pt x="870" y="610"/>
                    <a:pt x="870" y="610"/>
                    <a:pt x="870" y="610"/>
                  </a:cubicBezTo>
                  <a:cubicBezTo>
                    <a:pt x="870" y="610"/>
                    <a:pt x="870" y="610"/>
                    <a:pt x="870" y="610"/>
                  </a:cubicBezTo>
                  <a:cubicBezTo>
                    <a:pt x="870" y="611"/>
                    <a:pt x="870" y="611"/>
                    <a:pt x="870" y="611"/>
                  </a:cubicBezTo>
                  <a:cubicBezTo>
                    <a:pt x="870" y="611"/>
                    <a:pt x="870" y="611"/>
                    <a:pt x="870" y="611"/>
                  </a:cubicBezTo>
                  <a:cubicBezTo>
                    <a:pt x="870" y="611"/>
                    <a:pt x="870" y="611"/>
                    <a:pt x="870" y="611"/>
                  </a:cubicBezTo>
                  <a:cubicBezTo>
                    <a:pt x="870" y="611"/>
                    <a:pt x="870" y="611"/>
                    <a:pt x="870" y="611"/>
                  </a:cubicBezTo>
                  <a:cubicBezTo>
                    <a:pt x="870" y="612"/>
                    <a:pt x="870" y="612"/>
                    <a:pt x="870" y="612"/>
                  </a:cubicBezTo>
                  <a:cubicBezTo>
                    <a:pt x="868" y="615"/>
                    <a:pt x="868" y="615"/>
                    <a:pt x="868" y="615"/>
                  </a:cubicBezTo>
                  <a:cubicBezTo>
                    <a:pt x="865" y="618"/>
                    <a:pt x="865" y="618"/>
                    <a:pt x="865" y="618"/>
                  </a:cubicBezTo>
                  <a:cubicBezTo>
                    <a:pt x="864" y="620"/>
                    <a:pt x="864" y="620"/>
                    <a:pt x="864" y="620"/>
                  </a:cubicBezTo>
                  <a:cubicBezTo>
                    <a:pt x="863" y="619"/>
                    <a:pt x="863" y="619"/>
                    <a:pt x="863" y="619"/>
                  </a:cubicBezTo>
                  <a:cubicBezTo>
                    <a:pt x="862" y="619"/>
                    <a:pt x="862" y="619"/>
                    <a:pt x="862" y="619"/>
                  </a:cubicBezTo>
                  <a:cubicBezTo>
                    <a:pt x="861" y="621"/>
                    <a:pt x="861" y="621"/>
                    <a:pt x="861" y="621"/>
                  </a:cubicBezTo>
                  <a:cubicBezTo>
                    <a:pt x="860" y="622"/>
                    <a:pt x="860" y="622"/>
                    <a:pt x="860" y="622"/>
                  </a:cubicBezTo>
                  <a:cubicBezTo>
                    <a:pt x="859" y="622"/>
                    <a:pt x="859" y="622"/>
                    <a:pt x="859" y="622"/>
                  </a:cubicBezTo>
                  <a:cubicBezTo>
                    <a:pt x="856" y="623"/>
                    <a:pt x="856" y="623"/>
                    <a:pt x="856" y="623"/>
                  </a:cubicBezTo>
                  <a:cubicBezTo>
                    <a:pt x="845" y="625"/>
                    <a:pt x="845" y="625"/>
                    <a:pt x="845" y="625"/>
                  </a:cubicBezTo>
                  <a:cubicBezTo>
                    <a:pt x="844" y="625"/>
                    <a:pt x="844" y="625"/>
                    <a:pt x="844" y="625"/>
                  </a:cubicBezTo>
                  <a:cubicBezTo>
                    <a:pt x="844" y="625"/>
                    <a:pt x="844" y="625"/>
                    <a:pt x="844" y="625"/>
                  </a:cubicBezTo>
                  <a:cubicBezTo>
                    <a:pt x="843" y="624"/>
                    <a:pt x="843" y="624"/>
                    <a:pt x="843" y="624"/>
                  </a:cubicBezTo>
                  <a:cubicBezTo>
                    <a:pt x="842" y="625"/>
                    <a:pt x="842" y="625"/>
                    <a:pt x="842" y="625"/>
                  </a:cubicBezTo>
                  <a:cubicBezTo>
                    <a:pt x="841" y="625"/>
                    <a:pt x="841" y="625"/>
                    <a:pt x="841" y="625"/>
                  </a:cubicBezTo>
                  <a:cubicBezTo>
                    <a:pt x="836" y="623"/>
                    <a:pt x="836" y="623"/>
                    <a:pt x="836" y="623"/>
                  </a:cubicBezTo>
                  <a:cubicBezTo>
                    <a:pt x="836" y="622"/>
                    <a:pt x="836" y="622"/>
                    <a:pt x="836" y="622"/>
                  </a:cubicBezTo>
                  <a:cubicBezTo>
                    <a:pt x="836" y="622"/>
                    <a:pt x="836" y="622"/>
                    <a:pt x="836" y="622"/>
                  </a:cubicBezTo>
                  <a:cubicBezTo>
                    <a:pt x="835" y="622"/>
                    <a:pt x="835" y="622"/>
                    <a:pt x="835" y="622"/>
                  </a:cubicBezTo>
                  <a:cubicBezTo>
                    <a:pt x="835" y="621"/>
                    <a:pt x="835" y="621"/>
                    <a:pt x="835" y="621"/>
                  </a:cubicBezTo>
                  <a:cubicBezTo>
                    <a:pt x="834" y="621"/>
                    <a:pt x="834" y="621"/>
                    <a:pt x="834" y="621"/>
                  </a:cubicBezTo>
                  <a:cubicBezTo>
                    <a:pt x="834" y="621"/>
                    <a:pt x="834" y="621"/>
                    <a:pt x="834" y="621"/>
                  </a:cubicBezTo>
                  <a:cubicBezTo>
                    <a:pt x="833" y="621"/>
                    <a:pt x="833" y="621"/>
                    <a:pt x="833" y="621"/>
                  </a:cubicBezTo>
                  <a:cubicBezTo>
                    <a:pt x="832" y="620"/>
                    <a:pt x="832" y="620"/>
                    <a:pt x="832" y="620"/>
                  </a:cubicBezTo>
                  <a:cubicBezTo>
                    <a:pt x="832" y="619"/>
                    <a:pt x="832" y="619"/>
                    <a:pt x="832" y="619"/>
                  </a:cubicBezTo>
                  <a:cubicBezTo>
                    <a:pt x="832" y="618"/>
                    <a:pt x="832" y="618"/>
                    <a:pt x="832" y="618"/>
                  </a:cubicBezTo>
                  <a:cubicBezTo>
                    <a:pt x="832" y="616"/>
                    <a:pt x="832" y="616"/>
                    <a:pt x="832" y="616"/>
                  </a:cubicBezTo>
                  <a:cubicBezTo>
                    <a:pt x="832" y="614"/>
                    <a:pt x="832" y="614"/>
                    <a:pt x="832" y="614"/>
                  </a:cubicBezTo>
                  <a:cubicBezTo>
                    <a:pt x="832" y="614"/>
                    <a:pt x="832" y="614"/>
                    <a:pt x="832" y="614"/>
                  </a:cubicBezTo>
                  <a:cubicBezTo>
                    <a:pt x="831" y="612"/>
                    <a:pt x="831" y="612"/>
                    <a:pt x="831" y="612"/>
                  </a:cubicBezTo>
                  <a:cubicBezTo>
                    <a:pt x="831" y="611"/>
                    <a:pt x="831" y="611"/>
                    <a:pt x="831" y="611"/>
                  </a:cubicBezTo>
                  <a:cubicBezTo>
                    <a:pt x="830" y="610"/>
                    <a:pt x="830" y="610"/>
                    <a:pt x="830" y="610"/>
                  </a:cubicBezTo>
                  <a:cubicBezTo>
                    <a:pt x="831" y="609"/>
                    <a:pt x="831" y="609"/>
                    <a:pt x="831" y="609"/>
                  </a:cubicBezTo>
                  <a:cubicBezTo>
                    <a:pt x="830" y="610"/>
                    <a:pt x="830" y="610"/>
                    <a:pt x="830" y="610"/>
                  </a:cubicBezTo>
                  <a:cubicBezTo>
                    <a:pt x="829" y="610"/>
                    <a:pt x="829" y="610"/>
                    <a:pt x="829" y="610"/>
                  </a:cubicBezTo>
                  <a:cubicBezTo>
                    <a:pt x="829" y="610"/>
                    <a:pt x="829" y="610"/>
                    <a:pt x="829" y="610"/>
                  </a:cubicBezTo>
                  <a:cubicBezTo>
                    <a:pt x="829" y="609"/>
                    <a:pt x="829" y="609"/>
                    <a:pt x="829" y="609"/>
                  </a:cubicBezTo>
                  <a:cubicBezTo>
                    <a:pt x="829" y="608"/>
                    <a:pt x="829" y="608"/>
                    <a:pt x="829" y="608"/>
                  </a:cubicBezTo>
                  <a:cubicBezTo>
                    <a:pt x="829" y="608"/>
                    <a:pt x="829" y="608"/>
                    <a:pt x="829" y="608"/>
                  </a:cubicBezTo>
                  <a:cubicBezTo>
                    <a:pt x="829" y="608"/>
                    <a:pt x="829" y="608"/>
                    <a:pt x="829" y="608"/>
                  </a:cubicBezTo>
                  <a:cubicBezTo>
                    <a:pt x="829" y="607"/>
                    <a:pt x="829" y="607"/>
                    <a:pt x="829" y="607"/>
                  </a:cubicBezTo>
                  <a:cubicBezTo>
                    <a:pt x="829" y="606"/>
                    <a:pt x="829" y="606"/>
                    <a:pt x="829" y="606"/>
                  </a:cubicBezTo>
                  <a:cubicBezTo>
                    <a:pt x="828" y="606"/>
                    <a:pt x="828" y="606"/>
                    <a:pt x="828" y="606"/>
                  </a:cubicBezTo>
                  <a:cubicBezTo>
                    <a:pt x="828" y="606"/>
                    <a:pt x="828" y="606"/>
                    <a:pt x="828" y="606"/>
                  </a:cubicBezTo>
                  <a:cubicBezTo>
                    <a:pt x="827" y="605"/>
                    <a:pt x="827" y="605"/>
                    <a:pt x="827" y="605"/>
                  </a:cubicBezTo>
                  <a:cubicBezTo>
                    <a:pt x="827" y="605"/>
                    <a:pt x="827" y="605"/>
                    <a:pt x="827" y="605"/>
                  </a:cubicBezTo>
                  <a:cubicBezTo>
                    <a:pt x="827" y="604"/>
                    <a:pt x="827" y="604"/>
                    <a:pt x="827" y="604"/>
                  </a:cubicBezTo>
                  <a:cubicBezTo>
                    <a:pt x="827" y="604"/>
                    <a:pt x="827" y="604"/>
                    <a:pt x="827" y="604"/>
                  </a:cubicBezTo>
                  <a:cubicBezTo>
                    <a:pt x="828" y="603"/>
                    <a:pt x="828" y="603"/>
                    <a:pt x="828" y="603"/>
                  </a:cubicBezTo>
                  <a:cubicBezTo>
                    <a:pt x="828" y="602"/>
                    <a:pt x="828" y="602"/>
                    <a:pt x="828" y="602"/>
                  </a:cubicBezTo>
                  <a:cubicBezTo>
                    <a:pt x="828" y="602"/>
                    <a:pt x="828" y="602"/>
                    <a:pt x="828" y="602"/>
                  </a:cubicBezTo>
                  <a:cubicBezTo>
                    <a:pt x="828" y="602"/>
                    <a:pt x="828" y="602"/>
                    <a:pt x="828" y="602"/>
                  </a:cubicBezTo>
                  <a:cubicBezTo>
                    <a:pt x="829" y="603"/>
                    <a:pt x="829" y="603"/>
                    <a:pt x="829" y="603"/>
                  </a:cubicBezTo>
                  <a:cubicBezTo>
                    <a:pt x="830" y="603"/>
                    <a:pt x="830" y="603"/>
                    <a:pt x="830" y="603"/>
                  </a:cubicBezTo>
                  <a:cubicBezTo>
                    <a:pt x="831" y="604"/>
                    <a:pt x="831" y="604"/>
                    <a:pt x="831" y="604"/>
                  </a:cubicBezTo>
                  <a:cubicBezTo>
                    <a:pt x="833" y="605"/>
                    <a:pt x="833" y="605"/>
                    <a:pt x="833" y="605"/>
                  </a:cubicBezTo>
                  <a:cubicBezTo>
                    <a:pt x="834" y="606"/>
                    <a:pt x="834" y="606"/>
                    <a:pt x="834" y="606"/>
                  </a:cubicBezTo>
                  <a:cubicBezTo>
                    <a:pt x="834" y="606"/>
                    <a:pt x="834" y="606"/>
                    <a:pt x="834" y="606"/>
                  </a:cubicBezTo>
                  <a:cubicBezTo>
                    <a:pt x="835" y="606"/>
                    <a:pt x="835" y="606"/>
                    <a:pt x="835" y="606"/>
                  </a:cubicBezTo>
                  <a:cubicBezTo>
                    <a:pt x="836" y="606"/>
                    <a:pt x="836" y="606"/>
                    <a:pt x="836" y="606"/>
                  </a:cubicBezTo>
                  <a:cubicBezTo>
                    <a:pt x="836" y="607"/>
                    <a:pt x="836" y="607"/>
                    <a:pt x="836" y="607"/>
                  </a:cubicBezTo>
                  <a:cubicBezTo>
                    <a:pt x="838" y="609"/>
                    <a:pt x="838" y="609"/>
                    <a:pt x="838" y="609"/>
                  </a:cubicBezTo>
                  <a:cubicBezTo>
                    <a:pt x="838" y="610"/>
                    <a:pt x="838" y="610"/>
                    <a:pt x="838" y="610"/>
                  </a:cubicBezTo>
                  <a:cubicBezTo>
                    <a:pt x="838" y="611"/>
                    <a:pt x="838" y="611"/>
                    <a:pt x="838" y="611"/>
                  </a:cubicBezTo>
                  <a:cubicBezTo>
                    <a:pt x="839" y="611"/>
                    <a:pt x="839" y="611"/>
                    <a:pt x="839" y="611"/>
                  </a:cubicBezTo>
                  <a:cubicBezTo>
                    <a:pt x="839" y="611"/>
                    <a:pt x="839" y="611"/>
                    <a:pt x="839" y="611"/>
                  </a:cubicBezTo>
                  <a:cubicBezTo>
                    <a:pt x="839" y="612"/>
                    <a:pt x="839" y="612"/>
                    <a:pt x="839" y="612"/>
                  </a:cubicBezTo>
                  <a:cubicBezTo>
                    <a:pt x="839" y="612"/>
                    <a:pt x="839" y="612"/>
                    <a:pt x="839" y="612"/>
                  </a:cubicBezTo>
                  <a:cubicBezTo>
                    <a:pt x="840" y="612"/>
                    <a:pt x="840" y="612"/>
                    <a:pt x="840" y="612"/>
                  </a:cubicBezTo>
                  <a:cubicBezTo>
                    <a:pt x="840" y="611"/>
                    <a:pt x="840" y="611"/>
                    <a:pt x="840" y="611"/>
                  </a:cubicBezTo>
                  <a:cubicBezTo>
                    <a:pt x="840" y="610"/>
                    <a:pt x="840" y="610"/>
                    <a:pt x="840" y="610"/>
                  </a:cubicBezTo>
                  <a:cubicBezTo>
                    <a:pt x="839" y="610"/>
                    <a:pt x="839" y="610"/>
                    <a:pt x="839" y="610"/>
                  </a:cubicBezTo>
                  <a:cubicBezTo>
                    <a:pt x="837" y="607"/>
                    <a:pt x="837" y="607"/>
                    <a:pt x="837" y="607"/>
                  </a:cubicBezTo>
                  <a:cubicBezTo>
                    <a:pt x="827" y="601"/>
                    <a:pt x="827" y="601"/>
                    <a:pt x="827" y="601"/>
                  </a:cubicBezTo>
                  <a:cubicBezTo>
                    <a:pt x="826" y="601"/>
                    <a:pt x="826" y="601"/>
                    <a:pt x="826" y="601"/>
                  </a:cubicBezTo>
                  <a:cubicBezTo>
                    <a:pt x="826" y="601"/>
                    <a:pt x="826" y="601"/>
                    <a:pt x="826" y="601"/>
                  </a:cubicBezTo>
                  <a:cubicBezTo>
                    <a:pt x="825" y="600"/>
                    <a:pt x="825" y="600"/>
                    <a:pt x="825" y="600"/>
                  </a:cubicBezTo>
                  <a:cubicBezTo>
                    <a:pt x="824" y="600"/>
                    <a:pt x="824" y="600"/>
                    <a:pt x="824" y="600"/>
                  </a:cubicBezTo>
                  <a:cubicBezTo>
                    <a:pt x="819" y="600"/>
                    <a:pt x="819" y="600"/>
                    <a:pt x="819" y="600"/>
                  </a:cubicBezTo>
                  <a:cubicBezTo>
                    <a:pt x="811" y="600"/>
                    <a:pt x="811" y="600"/>
                    <a:pt x="811" y="600"/>
                  </a:cubicBezTo>
                  <a:cubicBezTo>
                    <a:pt x="806" y="602"/>
                    <a:pt x="806" y="602"/>
                    <a:pt x="806" y="602"/>
                  </a:cubicBezTo>
                  <a:cubicBezTo>
                    <a:pt x="795" y="604"/>
                    <a:pt x="795" y="604"/>
                    <a:pt x="795" y="604"/>
                  </a:cubicBezTo>
                  <a:cubicBezTo>
                    <a:pt x="786" y="608"/>
                    <a:pt x="786" y="608"/>
                    <a:pt x="786" y="608"/>
                  </a:cubicBezTo>
                  <a:cubicBezTo>
                    <a:pt x="783" y="612"/>
                    <a:pt x="783" y="612"/>
                    <a:pt x="783" y="612"/>
                  </a:cubicBezTo>
                  <a:cubicBezTo>
                    <a:pt x="782" y="612"/>
                    <a:pt x="782" y="612"/>
                    <a:pt x="782" y="612"/>
                  </a:cubicBezTo>
                  <a:cubicBezTo>
                    <a:pt x="781" y="612"/>
                    <a:pt x="781" y="612"/>
                    <a:pt x="781" y="612"/>
                  </a:cubicBezTo>
                  <a:cubicBezTo>
                    <a:pt x="778" y="613"/>
                    <a:pt x="778" y="613"/>
                    <a:pt x="778" y="613"/>
                  </a:cubicBezTo>
                  <a:cubicBezTo>
                    <a:pt x="772" y="614"/>
                    <a:pt x="772" y="614"/>
                    <a:pt x="772" y="614"/>
                  </a:cubicBezTo>
                  <a:cubicBezTo>
                    <a:pt x="770" y="615"/>
                    <a:pt x="770" y="615"/>
                    <a:pt x="770" y="615"/>
                  </a:cubicBezTo>
                  <a:cubicBezTo>
                    <a:pt x="769" y="616"/>
                    <a:pt x="769" y="616"/>
                    <a:pt x="769" y="616"/>
                  </a:cubicBezTo>
                  <a:cubicBezTo>
                    <a:pt x="768" y="618"/>
                    <a:pt x="768" y="618"/>
                    <a:pt x="768" y="618"/>
                  </a:cubicBezTo>
                  <a:cubicBezTo>
                    <a:pt x="769" y="617"/>
                    <a:pt x="769" y="617"/>
                    <a:pt x="769" y="617"/>
                  </a:cubicBezTo>
                  <a:cubicBezTo>
                    <a:pt x="769" y="617"/>
                    <a:pt x="769" y="617"/>
                    <a:pt x="769" y="617"/>
                  </a:cubicBezTo>
                  <a:cubicBezTo>
                    <a:pt x="769" y="617"/>
                    <a:pt x="769" y="617"/>
                    <a:pt x="769" y="617"/>
                  </a:cubicBezTo>
                  <a:cubicBezTo>
                    <a:pt x="769" y="618"/>
                    <a:pt x="769" y="618"/>
                    <a:pt x="769" y="618"/>
                  </a:cubicBezTo>
                  <a:cubicBezTo>
                    <a:pt x="769" y="618"/>
                    <a:pt x="769" y="618"/>
                    <a:pt x="769" y="618"/>
                  </a:cubicBezTo>
                  <a:cubicBezTo>
                    <a:pt x="768" y="619"/>
                    <a:pt x="768" y="619"/>
                    <a:pt x="768" y="619"/>
                  </a:cubicBezTo>
                  <a:cubicBezTo>
                    <a:pt x="768" y="618"/>
                    <a:pt x="768" y="618"/>
                    <a:pt x="768" y="618"/>
                  </a:cubicBezTo>
                  <a:cubicBezTo>
                    <a:pt x="768" y="618"/>
                    <a:pt x="768" y="618"/>
                    <a:pt x="768" y="618"/>
                  </a:cubicBezTo>
                  <a:cubicBezTo>
                    <a:pt x="768" y="618"/>
                    <a:pt x="768" y="618"/>
                    <a:pt x="768" y="618"/>
                  </a:cubicBezTo>
                  <a:cubicBezTo>
                    <a:pt x="765" y="622"/>
                    <a:pt x="765" y="622"/>
                    <a:pt x="765" y="622"/>
                  </a:cubicBezTo>
                  <a:cubicBezTo>
                    <a:pt x="763" y="624"/>
                    <a:pt x="763" y="624"/>
                    <a:pt x="763" y="624"/>
                  </a:cubicBezTo>
                  <a:cubicBezTo>
                    <a:pt x="764" y="624"/>
                    <a:pt x="764" y="624"/>
                    <a:pt x="764" y="624"/>
                  </a:cubicBezTo>
                  <a:cubicBezTo>
                    <a:pt x="764" y="623"/>
                    <a:pt x="764" y="623"/>
                    <a:pt x="764" y="623"/>
                  </a:cubicBezTo>
                  <a:cubicBezTo>
                    <a:pt x="765" y="623"/>
                    <a:pt x="765" y="623"/>
                    <a:pt x="765" y="623"/>
                  </a:cubicBezTo>
                  <a:cubicBezTo>
                    <a:pt x="765" y="624"/>
                    <a:pt x="765" y="624"/>
                    <a:pt x="765" y="624"/>
                  </a:cubicBezTo>
                  <a:cubicBezTo>
                    <a:pt x="765" y="625"/>
                    <a:pt x="765" y="625"/>
                    <a:pt x="765" y="625"/>
                  </a:cubicBezTo>
                  <a:cubicBezTo>
                    <a:pt x="764" y="625"/>
                    <a:pt x="764" y="625"/>
                    <a:pt x="764" y="625"/>
                  </a:cubicBezTo>
                  <a:cubicBezTo>
                    <a:pt x="763" y="626"/>
                    <a:pt x="763" y="626"/>
                    <a:pt x="763" y="626"/>
                  </a:cubicBezTo>
                  <a:cubicBezTo>
                    <a:pt x="763" y="626"/>
                    <a:pt x="763" y="626"/>
                    <a:pt x="763" y="626"/>
                  </a:cubicBezTo>
                  <a:cubicBezTo>
                    <a:pt x="762" y="626"/>
                    <a:pt x="762" y="626"/>
                    <a:pt x="762" y="626"/>
                  </a:cubicBezTo>
                  <a:cubicBezTo>
                    <a:pt x="762" y="626"/>
                    <a:pt x="762" y="626"/>
                    <a:pt x="762" y="626"/>
                  </a:cubicBezTo>
                  <a:cubicBezTo>
                    <a:pt x="762" y="626"/>
                    <a:pt x="762" y="626"/>
                    <a:pt x="762" y="626"/>
                  </a:cubicBezTo>
                  <a:cubicBezTo>
                    <a:pt x="763" y="625"/>
                    <a:pt x="763" y="625"/>
                    <a:pt x="763" y="625"/>
                  </a:cubicBezTo>
                  <a:cubicBezTo>
                    <a:pt x="763" y="624"/>
                    <a:pt x="763" y="624"/>
                    <a:pt x="763" y="624"/>
                  </a:cubicBezTo>
                  <a:cubicBezTo>
                    <a:pt x="761" y="626"/>
                    <a:pt x="761" y="626"/>
                    <a:pt x="761" y="626"/>
                  </a:cubicBezTo>
                  <a:cubicBezTo>
                    <a:pt x="760" y="627"/>
                    <a:pt x="760" y="627"/>
                    <a:pt x="760" y="627"/>
                  </a:cubicBezTo>
                  <a:cubicBezTo>
                    <a:pt x="759" y="628"/>
                    <a:pt x="759" y="628"/>
                    <a:pt x="759" y="628"/>
                  </a:cubicBezTo>
                  <a:cubicBezTo>
                    <a:pt x="761" y="627"/>
                    <a:pt x="761" y="627"/>
                    <a:pt x="761" y="627"/>
                  </a:cubicBezTo>
                  <a:cubicBezTo>
                    <a:pt x="761" y="627"/>
                    <a:pt x="761" y="627"/>
                    <a:pt x="761" y="627"/>
                  </a:cubicBezTo>
                  <a:cubicBezTo>
                    <a:pt x="761" y="628"/>
                    <a:pt x="761" y="628"/>
                    <a:pt x="761" y="628"/>
                  </a:cubicBezTo>
                  <a:cubicBezTo>
                    <a:pt x="761" y="628"/>
                    <a:pt x="761" y="628"/>
                    <a:pt x="761" y="628"/>
                  </a:cubicBezTo>
                  <a:cubicBezTo>
                    <a:pt x="761" y="628"/>
                    <a:pt x="761" y="628"/>
                    <a:pt x="761" y="628"/>
                  </a:cubicBezTo>
                  <a:cubicBezTo>
                    <a:pt x="760" y="628"/>
                    <a:pt x="760" y="628"/>
                    <a:pt x="760" y="628"/>
                  </a:cubicBezTo>
                  <a:cubicBezTo>
                    <a:pt x="760" y="629"/>
                    <a:pt x="760" y="629"/>
                    <a:pt x="760" y="629"/>
                  </a:cubicBezTo>
                  <a:cubicBezTo>
                    <a:pt x="760" y="629"/>
                    <a:pt x="760" y="629"/>
                    <a:pt x="760" y="629"/>
                  </a:cubicBezTo>
                  <a:cubicBezTo>
                    <a:pt x="760" y="629"/>
                    <a:pt x="760" y="629"/>
                    <a:pt x="760" y="629"/>
                  </a:cubicBezTo>
                  <a:cubicBezTo>
                    <a:pt x="758" y="630"/>
                    <a:pt x="758" y="630"/>
                    <a:pt x="758" y="630"/>
                  </a:cubicBezTo>
                  <a:cubicBezTo>
                    <a:pt x="757" y="629"/>
                    <a:pt x="757" y="629"/>
                    <a:pt x="757" y="629"/>
                  </a:cubicBezTo>
                  <a:cubicBezTo>
                    <a:pt x="758" y="628"/>
                    <a:pt x="758" y="628"/>
                    <a:pt x="758" y="628"/>
                  </a:cubicBezTo>
                  <a:cubicBezTo>
                    <a:pt x="759" y="628"/>
                    <a:pt x="759" y="628"/>
                    <a:pt x="759" y="628"/>
                  </a:cubicBezTo>
                  <a:cubicBezTo>
                    <a:pt x="756" y="629"/>
                    <a:pt x="756" y="629"/>
                    <a:pt x="756" y="629"/>
                  </a:cubicBezTo>
                  <a:cubicBezTo>
                    <a:pt x="751" y="630"/>
                    <a:pt x="751" y="630"/>
                    <a:pt x="751" y="630"/>
                  </a:cubicBezTo>
                  <a:cubicBezTo>
                    <a:pt x="745" y="632"/>
                    <a:pt x="745" y="632"/>
                    <a:pt x="745" y="632"/>
                  </a:cubicBezTo>
                  <a:cubicBezTo>
                    <a:pt x="739" y="634"/>
                    <a:pt x="739" y="634"/>
                    <a:pt x="739" y="634"/>
                  </a:cubicBezTo>
                  <a:cubicBezTo>
                    <a:pt x="733" y="635"/>
                    <a:pt x="733" y="635"/>
                    <a:pt x="733" y="635"/>
                  </a:cubicBezTo>
                  <a:cubicBezTo>
                    <a:pt x="725" y="639"/>
                    <a:pt x="725" y="639"/>
                    <a:pt x="725" y="639"/>
                  </a:cubicBezTo>
                  <a:cubicBezTo>
                    <a:pt x="718" y="641"/>
                    <a:pt x="718" y="641"/>
                    <a:pt x="718" y="641"/>
                  </a:cubicBezTo>
                  <a:cubicBezTo>
                    <a:pt x="710" y="644"/>
                    <a:pt x="710" y="644"/>
                    <a:pt x="710" y="644"/>
                  </a:cubicBezTo>
                  <a:cubicBezTo>
                    <a:pt x="708" y="646"/>
                    <a:pt x="708" y="646"/>
                    <a:pt x="708" y="646"/>
                  </a:cubicBezTo>
                  <a:cubicBezTo>
                    <a:pt x="707" y="646"/>
                    <a:pt x="707" y="646"/>
                    <a:pt x="707" y="646"/>
                  </a:cubicBezTo>
                  <a:cubicBezTo>
                    <a:pt x="706" y="646"/>
                    <a:pt x="706" y="646"/>
                    <a:pt x="706" y="646"/>
                  </a:cubicBezTo>
                  <a:cubicBezTo>
                    <a:pt x="703" y="646"/>
                    <a:pt x="703" y="646"/>
                    <a:pt x="703" y="646"/>
                  </a:cubicBezTo>
                  <a:cubicBezTo>
                    <a:pt x="702" y="646"/>
                    <a:pt x="702" y="646"/>
                    <a:pt x="702" y="646"/>
                  </a:cubicBezTo>
                  <a:cubicBezTo>
                    <a:pt x="702" y="646"/>
                    <a:pt x="702" y="646"/>
                    <a:pt x="702" y="646"/>
                  </a:cubicBezTo>
                  <a:cubicBezTo>
                    <a:pt x="702" y="646"/>
                    <a:pt x="702" y="646"/>
                    <a:pt x="702" y="646"/>
                  </a:cubicBezTo>
                  <a:cubicBezTo>
                    <a:pt x="697" y="640"/>
                    <a:pt x="697" y="640"/>
                    <a:pt x="697" y="640"/>
                  </a:cubicBezTo>
                  <a:cubicBezTo>
                    <a:pt x="696" y="640"/>
                    <a:pt x="696" y="640"/>
                    <a:pt x="696" y="640"/>
                  </a:cubicBezTo>
                  <a:cubicBezTo>
                    <a:pt x="695" y="639"/>
                    <a:pt x="695" y="639"/>
                    <a:pt x="695" y="639"/>
                  </a:cubicBezTo>
                  <a:cubicBezTo>
                    <a:pt x="693" y="638"/>
                    <a:pt x="693" y="638"/>
                    <a:pt x="693" y="638"/>
                  </a:cubicBezTo>
                  <a:cubicBezTo>
                    <a:pt x="692" y="637"/>
                    <a:pt x="692" y="637"/>
                    <a:pt x="692" y="637"/>
                  </a:cubicBezTo>
                  <a:cubicBezTo>
                    <a:pt x="692" y="637"/>
                    <a:pt x="692" y="637"/>
                    <a:pt x="692" y="637"/>
                  </a:cubicBezTo>
                  <a:cubicBezTo>
                    <a:pt x="691" y="635"/>
                    <a:pt x="691" y="635"/>
                    <a:pt x="691" y="635"/>
                  </a:cubicBezTo>
                  <a:cubicBezTo>
                    <a:pt x="691" y="635"/>
                    <a:pt x="691" y="635"/>
                    <a:pt x="691" y="635"/>
                  </a:cubicBezTo>
                  <a:cubicBezTo>
                    <a:pt x="690" y="634"/>
                    <a:pt x="690" y="634"/>
                    <a:pt x="690" y="634"/>
                  </a:cubicBezTo>
                  <a:cubicBezTo>
                    <a:pt x="690" y="635"/>
                    <a:pt x="690" y="635"/>
                    <a:pt x="690" y="635"/>
                  </a:cubicBezTo>
                  <a:cubicBezTo>
                    <a:pt x="689" y="635"/>
                    <a:pt x="689" y="635"/>
                    <a:pt x="689" y="635"/>
                  </a:cubicBezTo>
                  <a:cubicBezTo>
                    <a:pt x="689" y="636"/>
                    <a:pt x="689" y="636"/>
                    <a:pt x="689" y="636"/>
                  </a:cubicBezTo>
                  <a:cubicBezTo>
                    <a:pt x="689" y="636"/>
                    <a:pt x="689" y="636"/>
                    <a:pt x="689" y="636"/>
                  </a:cubicBezTo>
                  <a:cubicBezTo>
                    <a:pt x="690" y="638"/>
                    <a:pt x="690" y="638"/>
                    <a:pt x="690" y="638"/>
                  </a:cubicBezTo>
                  <a:cubicBezTo>
                    <a:pt x="691" y="638"/>
                    <a:pt x="691" y="638"/>
                    <a:pt x="691" y="638"/>
                  </a:cubicBezTo>
                  <a:cubicBezTo>
                    <a:pt x="691" y="640"/>
                    <a:pt x="691" y="640"/>
                    <a:pt x="691" y="640"/>
                  </a:cubicBezTo>
                  <a:cubicBezTo>
                    <a:pt x="690" y="641"/>
                    <a:pt x="690" y="641"/>
                    <a:pt x="690" y="641"/>
                  </a:cubicBezTo>
                  <a:cubicBezTo>
                    <a:pt x="690" y="642"/>
                    <a:pt x="690" y="642"/>
                    <a:pt x="690" y="642"/>
                  </a:cubicBezTo>
                  <a:cubicBezTo>
                    <a:pt x="690" y="642"/>
                    <a:pt x="690" y="642"/>
                    <a:pt x="690" y="642"/>
                  </a:cubicBezTo>
                  <a:cubicBezTo>
                    <a:pt x="690" y="642"/>
                    <a:pt x="690" y="642"/>
                    <a:pt x="690" y="642"/>
                  </a:cubicBezTo>
                  <a:cubicBezTo>
                    <a:pt x="691" y="642"/>
                    <a:pt x="691" y="642"/>
                    <a:pt x="691" y="642"/>
                  </a:cubicBezTo>
                  <a:cubicBezTo>
                    <a:pt x="692" y="641"/>
                    <a:pt x="692" y="641"/>
                    <a:pt x="692" y="641"/>
                  </a:cubicBezTo>
                  <a:cubicBezTo>
                    <a:pt x="692" y="641"/>
                    <a:pt x="692" y="641"/>
                    <a:pt x="692" y="641"/>
                  </a:cubicBezTo>
                  <a:cubicBezTo>
                    <a:pt x="692" y="641"/>
                    <a:pt x="692" y="641"/>
                    <a:pt x="692" y="641"/>
                  </a:cubicBezTo>
                  <a:cubicBezTo>
                    <a:pt x="693" y="642"/>
                    <a:pt x="693" y="642"/>
                    <a:pt x="693" y="642"/>
                  </a:cubicBezTo>
                  <a:cubicBezTo>
                    <a:pt x="693" y="642"/>
                    <a:pt x="693" y="642"/>
                    <a:pt x="693" y="642"/>
                  </a:cubicBezTo>
                  <a:cubicBezTo>
                    <a:pt x="692" y="642"/>
                    <a:pt x="692" y="642"/>
                    <a:pt x="692" y="642"/>
                  </a:cubicBezTo>
                  <a:cubicBezTo>
                    <a:pt x="692" y="643"/>
                    <a:pt x="692" y="643"/>
                    <a:pt x="692" y="643"/>
                  </a:cubicBezTo>
                  <a:cubicBezTo>
                    <a:pt x="692" y="643"/>
                    <a:pt x="692" y="643"/>
                    <a:pt x="692" y="643"/>
                  </a:cubicBezTo>
                  <a:cubicBezTo>
                    <a:pt x="693" y="643"/>
                    <a:pt x="693" y="643"/>
                    <a:pt x="693" y="643"/>
                  </a:cubicBezTo>
                  <a:cubicBezTo>
                    <a:pt x="693" y="643"/>
                    <a:pt x="693" y="643"/>
                    <a:pt x="693" y="643"/>
                  </a:cubicBezTo>
                  <a:cubicBezTo>
                    <a:pt x="693" y="642"/>
                    <a:pt x="693" y="642"/>
                    <a:pt x="693" y="642"/>
                  </a:cubicBezTo>
                  <a:cubicBezTo>
                    <a:pt x="693" y="642"/>
                    <a:pt x="693" y="642"/>
                    <a:pt x="693" y="642"/>
                  </a:cubicBezTo>
                  <a:cubicBezTo>
                    <a:pt x="694" y="642"/>
                    <a:pt x="694" y="642"/>
                    <a:pt x="694" y="642"/>
                  </a:cubicBezTo>
                  <a:cubicBezTo>
                    <a:pt x="694" y="642"/>
                    <a:pt x="694" y="642"/>
                    <a:pt x="694" y="642"/>
                  </a:cubicBezTo>
                  <a:cubicBezTo>
                    <a:pt x="694" y="641"/>
                    <a:pt x="694" y="641"/>
                    <a:pt x="694" y="641"/>
                  </a:cubicBezTo>
                  <a:cubicBezTo>
                    <a:pt x="694" y="641"/>
                    <a:pt x="694" y="641"/>
                    <a:pt x="694" y="641"/>
                  </a:cubicBezTo>
                  <a:cubicBezTo>
                    <a:pt x="694" y="640"/>
                    <a:pt x="694" y="640"/>
                    <a:pt x="694" y="640"/>
                  </a:cubicBezTo>
                  <a:cubicBezTo>
                    <a:pt x="695" y="640"/>
                    <a:pt x="695" y="640"/>
                    <a:pt x="695" y="640"/>
                  </a:cubicBezTo>
                  <a:cubicBezTo>
                    <a:pt x="695" y="640"/>
                    <a:pt x="695" y="640"/>
                    <a:pt x="695" y="640"/>
                  </a:cubicBezTo>
                  <a:cubicBezTo>
                    <a:pt x="696" y="641"/>
                    <a:pt x="696" y="641"/>
                    <a:pt x="696" y="641"/>
                  </a:cubicBezTo>
                  <a:cubicBezTo>
                    <a:pt x="696" y="641"/>
                    <a:pt x="696" y="641"/>
                    <a:pt x="696" y="641"/>
                  </a:cubicBezTo>
                  <a:cubicBezTo>
                    <a:pt x="697" y="642"/>
                    <a:pt x="697" y="642"/>
                    <a:pt x="697" y="642"/>
                  </a:cubicBezTo>
                  <a:cubicBezTo>
                    <a:pt x="697" y="643"/>
                    <a:pt x="697" y="643"/>
                    <a:pt x="697" y="643"/>
                  </a:cubicBezTo>
                  <a:cubicBezTo>
                    <a:pt x="697" y="642"/>
                    <a:pt x="697" y="642"/>
                    <a:pt x="697" y="642"/>
                  </a:cubicBezTo>
                  <a:cubicBezTo>
                    <a:pt x="698" y="643"/>
                    <a:pt x="698" y="643"/>
                    <a:pt x="698" y="643"/>
                  </a:cubicBezTo>
                  <a:cubicBezTo>
                    <a:pt x="698" y="645"/>
                    <a:pt x="698" y="645"/>
                    <a:pt x="698" y="645"/>
                  </a:cubicBezTo>
                  <a:cubicBezTo>
                    <a:pt x="697" y="646"/>
                    <a:pt x="697" y="646"/>
                    <a:pt x="697" y="646"/>
                  </a:cubicBezTo>
                  <a:cubicBezTo>
                    <a:pt x="698" y="646"/>
                    <a:pt x="698" y="646"/>
                    <a:pt x="698" y="646"/>
                  </a:cubicBezTo>
                  <a:cubicBezTo>
                    <a:pt x="697" y="646"/>
                    <a:pt x="697" y="646"/>
                    <a:pt x="697" y="646"/>
                  </a:cubicBezTo>
                  <a:cubicBezTo>
                    <a:pt x="697" y="646"/>
                    <a:pt x="697" y="646"/>
                    <a:pt x="697" y="646"/>
                  </a:cubicBezTo>
                  <a:cubicBezTo>
                    <a:pt x="697" y="646"/>
                    <a:pt x="697" y="646"/>
                    <a:pt x="697" y="646"/>
                  </a:cubicBezTo>
                  <a:cubicBezTo>
                    <a:pt x="697" y="645"/>
                    <a:pt x="697" y="645"/>
                    <a:pt x="697" y="645"/>
                  </a:cubicBezTo>
                  <a:cubicBezTo>
                    <a:pt x="696" y="645"/>
                    <a:pt x="696" y="645"/>
                    <a:pt x="696" y="645"/>
                  </a:cubicBezTo>
                  <a:cubicBezTo>
                    <a:pt x="696" y="646"/>
                    <a:pt x="696" y="646"/>
                    <a:pt x="696" y="646"/>
                  </a:cubicBezTo>
                  <a:cubicBezTo>
                    <a:pt x="695" y="646"/>
                    <a:pt x="695" y="646"/>
                    <a:pt x="695" y="646"/>
                  </a:cubicBezTo>
                  <a:cubicBezTo>
                    <a:pt x="695" y="646"/>
                    <a:pt x="695" y="646"/>
                    <a:pt x="695" y="646"/>
                  </a:cubicBezTo>
                  <a:cubicBezTo>
                    <a:pt x="695" y="645"/>
                    <a:pt x="695" y="645"/>
                    <a:pt x="695" y="645"/>
                  </a:cubicBezTo>
                  <a:cubicBezTo>
                    <a:pt x="695" y="644"/>
                    <a:pt x="695" y="644"/>
                    <a:pt x="695" y="644"/>
                  </a:cubicBezTo>
                  <a:cubicBezTo>
                    <a:pt x="696" y="644"/>
                    <a:pt x="696" y="644"/>
                    <a:pt x="696" y="644"/>
                  </a:cubicBezTo>
                  <a:cubicBezTo>
                    <a:pt x="695" y="644"/>
                    <a:pt x="695" y="644"/>
                    <a:pt x="695" y="644"/>
                  </a:cubicBezTo>
                  <a:cubicBezTo>
                    <a:pt x="693" y="644"/>
                    <a:pt x="693" y="644"/>
                    <a:pt x="693" y="644"/>
                  </a:cubicBezTo>
                  <a:cubicBezTo>
                    <a:pt x="693" y="645"/>
                    <a:pt x="693" y="645"/>
                    <a:pt x="693" y="645"/>
                  </a:cubicBezTo>
                  <a:cubicBezTo>
                    <a:pt x="694" y="647"/>
                    <a:pt x="694" y="647"/>
                    <a:pt x="694" y="647"/>
                  </a:cubicBezTo>
                  <a:cubicBezTo>
                    <a:pt x="694" y="648"/>
                    <a:pt x="694" y="648"/>
                    <a:pt x="694" y="648"/>
                  </a:cubicBezTo>
                  <a:cubicBezTo>
                    <a:pt x="694" y="649"/>
                    <a:pt x="694" y="649"/>
                    <a:pt x="694" y="649"/>
                  </a:cubicBezTo>
                  <a:cubicBezTo>
                    <a:pt x="693" y="649"/>
                    <a:pt x="693" y="649"/>
                    <a:pt x="693" y="649"/>
                  </a:cubicBezTo>
                  <a:cubicBezTo>
                    <a:pt x="692" y="650"/>
                    <a:pt x="692" y="650"/>
                    <a:pt x="692" y="650"/>
                  </a:cubicBezTo>
                  <a:cubicBezTo>
                    <a:pt x="691" y="650"/>
                    <a:pt x="691" y="650"/>
                    <a:pt x="691" y="650"/>
                  </a:cubicBezTo>
                  <a:cubicBezTo>
                    <a:pt x="691" y="650"/>
                    <a:pt x="691" y="650"/>
                    <a:pt x="691" y="650"/>
                  </a:cubicBezTo>
                  <a:cubicBezTo>
                    <a:pt x="691" y="651"/>
                    <a:pt x="691" y="651"/>
                    <a:pt x="691" y="651"/>
                  </a:cubicBezTo>
                  <a:cubicBezTo>
                    <a:pt x="693" y="651"/>
                    <a:pt x="693" y="651"/>
                    <a:pt x="693" y="651"/>
                  </a:cubicBezTo>
                  <a:cubicBezTo>
                    <a:pt x="694" y="651"/>
                    <a:pt x="694" y="651"/>
                    <a:pt x="694" y="651"/>
                  </a:cubicBezTo>
                  <a:cubicBezTo>
                    <a:pt x="696" y="651"/>
                    <a:pt x="696" y="651"/>
                    <a:pt x="696" y="651"/>
                  </a:cubicBezTo>
                  <a:cubicBezTo>
                    <a:pt x="697" y="650"/>
                    <a:pt x="697" y="650"/>
                    <a:pt x="697" y="650"/>
                  </a:cubicBezTo>
                  <a:cubicBezTo>
                    <a:pt x="698" y="650"/>
                    <a:pt x="698" y="650"/>
                    <a:pt x="698" y="650"/>
                  </a:cubicBezTo>
                  <a:cubicBezTo>
                    <a:pt x="698" y="650"/>
                    <a:pt x="698" y="650"/>
                    <a:pt x="698" y="650"/>
                  </a:cubicBezTo>
                  <a:cubicBezTo>
                    <a:pt x="699" y="650"/>
                    <a:pt x="699" y="650"/>
                    <a:pt x="699" y="650"/>
                  </a:cubicBezTo>
                  <a:cubicBezTo>
                    <a:pt x="702" y="650"/>
                    <a:pt x="702" y="650"/>
                    <a:pt x="702" y="650"/>
                  </a:cubicBezTo>
                  <a:cubicBezTo>
                    <a:pt x="703" y="651"/>
                    <a:pt x="703" y="651"/>
                    <a:pt x="703" y="651"/>
                  </a:cubicBezTo>
                  <a:cubicBezTo>
                    <a:pt x="704" y="651"/>
                    <a:pt x="704" y="651"/>
                    <a:pt x="704" y="651"/>
                  </a:cubicBezTo>
                  <a:cubicBezTo>
                    <a:pt x="704" y="651"/>
                    <a:pt x="704" y="651"/>
                    <a:pt x="704" y="651"/>
                  </a:cubicBezTo>
                  <a:cubicBezTo>
                    <a:pt x="705" y="652"/>
                    <a:pt x="705" y="652"/>
                    <a:pt x="705" y="652"/>
                  </a:cubicBezTo>
                  <a:cubicBezTo>
                    <a:pt x="705" y="652"/>
                    <a:pt x="705" y="652"/>
                    <a:pt x="705" y="652"/>
                  </a:cubicBezTo>
                  <a:cubicBezTo>
                    <a:pt x="705" y="652"/>
                    <a:pt x="705" y="652"/>
                    <a:pt x="705" y="652"/>
                  </a:cubicBezTo>
                  <a:cubicBezTo>
                    <a:pt x="705" y="651"/>
                    <a:pt x="705" y="651"/>
                    <a:pt x="705" y="651"/>
                  </a:cubicBezTo>
                  <a:cubicBezTo>
                    <a:pt x="705" y="651"/>
                    <a:pt x="705" y="651"/>
                    <a:pt x="705" y="651"/>
                  </a:cubicBezTo>
                  <a:cubicBezTo>
                    <a:pt x="705" y="651"/>
                    <a:pt x="705" y="651"/>
                    <a:pt x="705" y="651"/>
                  </a:cubicBezTo>
                  <a:cubicBezTo>
                    <a:pt x="705" y="651"/>
                    <a:pt x="705" y="651"/>
                    <a:pt x="705" y="651"/>
                  </a:cubicBezTo>
                  <a:cubicBezTo>
                    <a:pt x="706" y="651"/>
                    <a:pt x="706" y="651"/>
                    <a:pt x="706" y="651"/>
                  </a:cubicBezTo>
                  <a:cubicBezTo>
                    <a:pt x="706" y="650"/>
                    <a:pt x="706" y="650"/>
                    <a:pt x="706" y="650"/>
                  </a:cubicBezTo>
                  <a:cubicBezTo>
                    <a:pt x="707" y="650"/>
                    <a:pt x="707" y="650"/>
                    <a:pt x="707" y="650"/>
                  </a:cubicBezTo>
                  <a:cubicBezTo>
                    <a:pt x="707" y="650"/>
                    <a:pt x="707" y="650"/>
                    <a:pt x="707" y="650"/>
                  </a:cubicBezTo>
                  <a:cubicBezTo>
                    <a:pt x="707" y="650"/>
                    <a:pt x="707" y="650"/>
                    <a:pt x="707" y="650"/>
                  </a:cubicBezTo>
                  <a:cubicBezTo>
                    <a:pt x="707" y="649"/>
                    <a:pt x="707" y="649"/>
                    <a:pt x="707" y="649"/>
                  </a:cubicBezTo>
                  <a:cubicBezTo>
                    <a:pt x="707" y="649"/>
                    <a:pt x="707" y="649"/>
                    <a:pt x="707" y="649"/>
                  </a:cubicBezTo>
                  <a:cubicBezTo>
                    <a:pt x="707" y="649"/>
                    <a:pt x="707" y="649"/>
                    <a:pt x="707" y="649"/>
                  </a:cubicBezTo>
                  <a:cubicBezTo>
                    <a:pt x="706" y="649"/>
                    <a:pt x="706" y="649"/>
                    <a:pt x="706" y="649"/>
                  </a:cubicBezTo>
                  <a:cubicBezTo>
                    <a:pt x="706" y="648"/>
                    <a:pt x="706" y="648"/>
                    <a:pt x="706" y="648"/>
                  </a:cubicBezTo>
                  <a:cubicBezTo>
                    <a:pt x="706" y="648"/>
                    <a:pt x="706" y="648"/>
                    <a:pt x="706" y="648"/>
                  </a:cubicBezTo>
                  <a:cubicBezTo>
                    <a:pt x="706" y="648"/>
                    <a:pt x="706" y="648"/>
                    <a:pt x="706" y="648"/>
                  </a:cubicBezTo>
                  <a:cubicBezTo>
                    <a:pt x="707" y="647"/>
                    <a:pt x="707" y="647"/>
                    <a:pt x="707" y="647"/>
                  </a:cubicBezTo>
                  <a:cubicBezTo>
                    <a:pt x="707" y="648"/>
                    <a:pt x="707" y="648"/>
                    <a:pt x="707" y="648"/>
                  </a:cubicBezTo>
                  <a:cubicBezTo>
                    <a:pt x="707" y="648"/>
                    <a:pt x="707" y="648"/>
                    <a:pt x="707" y="648"/>
                  </a:cubicBezTo>
                  <a:cubicBezTo>
                    <a:pt x="708" y="648"/>
                    <a:pt x="708" y="648"/>
                    <a:pt x="708" y="648"/>
                  </a:cubicBezTo>
                  <a:cubicBezTo>
                    <a:pt x="708" y="647"/>
                    <a:pt x="708" y="647"/>
                    <a:pt x="708" y="647"/>
                  </a:cubicBezTo>
                  <a:cubicBezTo>
                    <a:pt x="708" y="647"/>
                    <a:pt x="708" y="647"/>
                    <a:pt x="708" y="647"/>
                  </a:cubicBezTo>
                  <a:cubicBezTo>
                    <a:pt x="708" y="647"/>
                    <a:pt x="708" y="647"/>
                    <a:pt x="708" y="647"/>
                  </a:cubicBezTo>
                  <a:cubicBezTo>
                    <a:pt x="708" y="648"/>
                    <a:pt x="708" y="648"/>
                    <a:pt x="708" y="648"/>
                  </a:cubicBezTo>
                  <a:cubicBezTo>
                    <a:pt x="708" y="649"/>
                    <a:pt x="708" y="649"/>
                    <a:pt x="708" y="649"/>
                  </a:cubicBezTo>
                  <a:cubicBezTo>
                    <a:pt x="712" y="649"/>
                    <a:pt x="712" y="649"/>
                    <a:pt x="712" y="649"/>
                  </a:cubicBezTo>
                  <a:cubicBezTo>
                    <a:pt x="712" y="650"/>
                    <a:pt x="712" y="650"/>
                    <a:pt x="712" y="650"/>
                  </a:cubicBezTo>
                  <a:cubicBezTo>
                    <a:pt x="713" y="651"/>
                    <a:pt x="713" y="651"/>
                    <a:pt x="713" y="651"/>
                  </a:cubicBezTo>
                  <a:cubicBezTo>
                    <a:pt x="712" y="651"/>
                    <a:pt x="712" y="651"/>
                    <a:pt x="712" y="651"/>
                  </a:cubicBezTo>
                  <a:cubicBezTo>
                    <a:pt x="712" y="651"/>
                    <a:pt x="712" y="651"/>
                    <a:pt x="712" y="651"/>
                  </a:cubicBezTo>
                  <a:cubicBezTo>
                    <a:pt x="712" y="651"/>
                    <a:pt x="712" y="651"/>
                    <a:pt x="712" y="651"/>
                  </a:cubicBezTo>
                  <a:cubicBezTo>
                    <a:pt x="712" y="652"/>
                    <a:pt x="712" y="652"/>
                    <a:pt x="712" y="652"/>
                  </a:cubicBezTo>
                  <a:cubicBezTo>
                    <a:pt x="712" y="652"/>
                    <a:pt x="712" y="652"/>
                    <a:pt x="712" y="652"/>
                  </a:cubicBezTo>
                  <a:cubicBezTo>
                    <a:pt x="713" y="652"/>
                    <a:pt x="713" y="652"/>
                    <a:pt x="713" y="652"/>
                  </a:cubicBezTo>
                  <a:cubicBezTo>
                    <a:pt x="713" y="652"/>
                    <a:pt x="713" y="652"/>
                    <a:pt x="713" y="652"/>
                  </a:cubicBezTo>
                  <a:cubicBezTo>
                    <a:pt x="713" y="652"/>
                    <a:pt x="713" y="652"/>
                    <a:pt x="713" y="652"/>
                  </a:cubicBezTo>
                  <a:cubicBezTo>
                    <a:pt x="713" y="651"/>
                    <a:pt x="713" y="651"/>
                    <a:pt x="713" y="651"/>
                  </a:cubicBezTo>
                  <a:cubicBezTo>
                    <a:pt x="714" y="650"/>
                    <a:pt x="714" y="650"/>
                    <a:pt x="714" y="650"/>
                  </a:cubicBezTo>
                  <a:cubicBezTo>
                    <a:pt x="714" y="650"/>
                    <a:pt x="714" y="650"/>
                    <a:pt x="714" y="650"/>
                  </a:cubicBezTo>
                  <a:cubicBezTo>
                    <a:pt x="714" y="650"/>
                    <a:pt x="714" y="650"/>
                    <a:pt x="714" y="650"/>
                  </a:cubicBezTo>
                  <a:cubicBezTo>
                    <a:pt x="714" y="651"/>
                    <a:pt x="714" y="651"/>
                    <a:pt x="714" y="651"/>
                  </a:cubicBezTo>
                  <a:cubicBezTo>
                    <a:pt x="713" y="652"/>
                    <a:pt x="713" y="652"/>
                    <a:pt x="713" y="652"/>
                  </a:cubicBezTo>
                  <a:cubicBezTo>
                    <a:pt x="713" y="653"/>
                    <a:pt x="713" y="653"/>
                    <a:pt x="713" y="653"/>
                  </a:cubicBezTo>
                  <a:cubicBezTo>
                    <a:pt x="714" y="654"/>
                    <a:pt x="714" y="654"/>
                    <a:pt x="714" y="654"/>
                  </a:cubicBezTo>
                  <a:cubicBezTo>
                    <a:pt x="713" y="654"/>
                    <a:pt x="713" y="654"/>
                    <a:pt x="713" y="654"/>
                  </a:cubicBezTo>
                  <a:cubicBezTo>
                    <a:pt x="713" y="654"/>
                    <a:pt x="713" y="654"/>
                    <a:pt x="713" y="654"/>
                  </a:cubicBezTo>
                  <a:cubicBezTo>
                    <a:pt x="713" y="654"/>
                    <a:pt x="713" y="654"/>
                    <a:pt x="713" y="654"/>
                  </a:cubicBezTo>
                  <a:cubicBezTo>
                    <a:pt x="712" y="654"/>
                    <a:pt x="712" y="654"/>
                    <a:pt x="712" y="654"/>
                  </a:cubicBezTo>
                  <a:cubicBezTo>
                    <a:pt x="711" y="656"/>
                    <a:pt x="711" y="656"/>
                    <a:pt x="711" y="656"/>
                  </a:cubicBezTo>
                  <a:cubicBezTo>
                    <a:pt x="711" y="657"/>
                    <a:pt x="711" y="657"/>
                    <a:pt x="711" y="657"/>
                  </a:cubicBezTo>
                  <a:cubicBezTo>
                    <a:pt x="712" y="659"/>
                    <a:pt x="712" y="659"/>
                    <a:pt x="712" y="659"/>
                  </a:cubicBezTo>
                  <a:cubicBezTo>
                    <a:pt x="713" y="660"/>
                    <a:pt x="713" y="660"/>
                    <a:pt x="713" y="660"/>
                  </a:cubicBezTo>
                  <a:cubicBezTo>
                    <a:pt x="713" y="660"/>
                    <a:pt x="713" y="660"/>
                    <a:pt x="713" y="660"/>
                  </a:cubicBezTo>
                  <a:cubicBezTo>
                    <a:pt x="714" y="660"/>
                    <a:pt x="714" y="660"/>
                    <a:pt x="714" y="660"/>
                  </a:cubicBezTo>
                  <a:cubicBezTo>
                    <a:pt x="714" y="660"/>
                    <a:pt x="714" y="660"/>
                    <a:pt x="714" y="660"/>
                  </a:cubicBezTo>
                  <a:cubicBezTo>
                    <a:pt x="714" y="660"/>
                    <a:pt x="714" y="660"/>
                    <a:pt x="714" y="660"/>
                  </a:cubicBezTo>
                  <a:cubicBezTo>
                    <a:pt x="714" y="661"/>
                    <a:pt x="714" y="661"/>
                    <a:pt x="714" y="661"/>
                  </a:cubicBezTo>
                  <a:cubicBezTo>
                    <a:pt x="713" y="661"/>
                    <a:pt x="713" y="661"/>
                    <a:pt x="713" y="661"/>
                  </a:cubicBezTo>
                  <a:cubicBezTo>
                    <a:pt x="713" y="661"/>
                    <a:pt x="713" y="661"/>
                    <a:pt x="713" y="661"/>
                  </a:cubicBezTo>
                  <a:cubicBezTo>
                    <a:pt x="713" y="662"/>
                    <a:pt x="713" y="662"/>
                    <a:pt x="713" y="662"/>
                  </a:cubicBezTo>
                  <a:cubicBezTo>
                    <a:pt x="713" y="662"/>
                    <a:pt x="713" y="662"/>
                    <a:pt x="713" y="662"/>
                  </a:cubicBezTo>
                  <a:cubicBezTo>
                    <a:pt x="713" y="663"/>
                    <a:pt x="713" y="663"/>
                    <a:pt x="713" y="663"/>
                  </a:cubicBezTo>
                  <a:cubicBezTo>
                    <a:pt x="712" y="662"/>
                    <a:pt x="712" y="662"/>
                    <a:pt x="712" y="662"/>
                  </a:cubicBezTo>
                  <a:cubicBezTo>
                    <a:pt x="711" y="660"/>
                    <a:pt x="711" y="660"/>
                    <a:pt x="711" y="660"/>
                  </a:cubicBezTo>
                  <a:cubicBezTo>
                    <a:pt x="711" y="660"/>
                    <a:pt x="711" y="660"/>
                    <a:pt x="711" y="660"/>
                  </a:cubicBezTo>
                  <a:cubicBezTo>
                    <a:pt x="710" y="659"/>
                    <a:pt x="710" y="659"/>
                    <a:pt x="710" y="659"/>
                  </a:cubicBezTo>
                  <a:cubicBezTo>
                    <a:pt x="709" y="659"/>
                    <a:pt x="709" y="659"/>
                    <a:pt x="709" y="659"/>
                  </a:cubicBezTo>
                  <a:cubicBezTo>
                    <a:pt x="707" y="659"/>
                    <a:pt x="707" y="659"/>
                    <a:pt x="707" y="659"/>
                  </a:cubicBezTo>
                  <a:cubicBezTo>
                    <a:pt x="707" y="658"/>
                    <a:pt x="707" y="658"/>
                    <a:pt x="707" y="658"/>
                  </a:cubicBezTo>
                  <a:cubicBezTo>
                    <a:pt x="706" y="658"/>
                    <a:pt x="706" y="658"/>
                    <a:pt x="706" y="658"/>
                  </a:cubicBezTo>
                  <a:cubicBezTo>
                    <a:pt x="706" y="657"/>
                    <a:pt x="706" y="657"/>
                    <a:pt x="706" y="657"/>
                  </a:cubicBezTo>
                  <a:cubicBezTo>
                    <a:pt x="705" y="657"/>
                    <a:pt x="705" y="657"/>
                    <a:pt x="705" y="657"/>
                  </a:cubicBezTo>
                  <a:cubicBezTo>
                    <a:pt x="705" y="656"/>
                    <a:pt x="705" y="656"/>
                    <a:pt x="705" y="656"/>
                  </a:cubicBezTo>
                  <a:cubicBezTo>
                    <a:pt x="704" y="655"/>
                    <a:pt x="704" y="655"/>
                    <a:pt x="704" y="655"/>
                  </a:cubicBezTo>
                  <a:cubicBezTo>
                    <a:pt x="704" y="655"/>
                    <a:pt x="704" y="655"/>
                    <a:pt x="704" y="655"/>
                  </a:cubicBezTo>
                  <a:cubicBezTo>
                    <a:pt x="704" y="655"/>
                    <a:pt x="704" y="655"/>
                    <a:pt x="704" y="655"/>
                  </a:cubicBezTo>
                  <a:cubicBezTo>
                    <a:pt x="704" y="655"/>
                    <a:pt x="704" y="655"/>
                    <a:pt x="704" y="655"/>
                  </a:cubicBezTo>
                  <a:cubicBezTo>
                    <a:pt x="703" y="655"/>
                    <a:pt x="703" y="655"/>
                    <a:pt x="703" y="655"/>
                  </a:cubicBezTo>
                  <a:cubicBezTo>
                    <a:pt x="703" y="656"/>
                    <a:pt x="703" y="656"/>
                    <a:pt x="703" y="656"/>
                  </a:cubicBezTo>
                  <a:cubicBezTo>
                    <a:pt x="703" y="656"/>
                    <a:pt x="703" y="656"/>
                    <a:pt x="703" y="656"/>
                  </a:cubicBezTo>
                  <a:cubicBezTo>
                    <a:pt x="702" y="657"/>
                    <a:pt x="702" y="657"/>
                    <a:pt x="702" y="657"/>
                  </a:cubicBezTo>
                  <a:cubicBezTo>
                    <a:pt x="700" y="656"/>
                    <a:pt x="700" y="656"/>
                    <a:pt x="700" y="656"/>
                  </a:cubicBezTo>
                  <a:cubicBezTo>
                    <a:pt x="699" y="656"/>
                    <a:pt x="699" y="656"/>
                    <a:pt x="699" y="656"/>
                  </a:cubicBezTo>
                  <a:cubicBezTo>
                    <a:pt x="698" y="656"/>
                    <a:pt x="698" y="656"/>
                    <a:pt x="698" y="656"/>
                  </a:cubicBezTo>
                  <a:cubicBezTo>
                    <a:pt x="698" y="656"/>
                    <a:pt x="698" y="656"/>
                    <a:pt x="698" y="656"/>
                  </a:cubicBezTo>
                  <a:cubicBezTo>
                    <a:pt x="697" y="656"/>
                    <a:pt x="697" y="656"/>
                    <a:pt x="697" y="656"/>
                  </a:cubicBezTo>
                  <a:cubicBezTo>
                    <a:pt x="697" y="656"/>
                    <a:pt x="697" y="656"/>
                    <a:pt x="697" y="656"/>
                  </a:cubicBezTo>
                  <a:cubicBezTo>
                    <a:pt x="697" y="655"/>
                    <a:pt x="697" y="655"/>
                    <a:pt x="697" y="655"/>
                  </a:cubicBezTo>
                  <a:cubicBezTo>
                    <a:pt x="696" y="655"/>
                    <a:pt x="696" y="655"/>
                    <a:pt x="696" y="655"/>
                  </a:cubicBezTo>
                  <a:cubicBezTo>
                    <a:pt x="694" y="653"/>
                    <a:pt x="694" y="653"/>
                    <a:pt x="694" y="653"/>
                  </a:cubicBezTo>
                  <a:cubicBezTo>
                    <a:pt x="693" y="653"/>
                    <a:pt x="693" y="653"/>
                    <a:pt x="693" y="653"/>
                  </a:cubicBezTo>
                  <a:cubicBezTo>
                    <a:pt x="693" y="653"/>
                    <a:pt x="693" y="653"/>
                    <a:pt x="693" y="653"/>
                  </a:cubicBezTo>
                  <a:cubicBezTo>
                    <a:pt x="692" y="652"/>
                    <a:pt x="692" y="652"/>
                    <a:pt x="692" y="652"/>
                  </a:cubicBezTo>
                  <a:cubicBezTo>
                    <a:pt x="692" y="651"/>
                    <a:pt x="692" y="651"/>
                    <a:pt x="692" y="651"/>
                  </a:cubicBezTo>
                  <a:cubicBezTo>
                    <a:pt x="692" y="651"/>
                    <a:pt x="692" y="651"/>
                    <a:pt x="692" y="651"/>
                  </a:cubicBezTo>
                  <a:cubicBezTo>
                    <a:pt x="691" y="651"/>
                    <a:pt x="691" y="651"/>
                    <a:pt x="691" y="651"/>
                  </a:cubicBezTo>
                  <a:cubicBezTo>
                    <a:pt x="691" y="651"/>
                    <a:pt x="691" y="651"/>
                    <a:pt x="691" y="651"/>
                  </a:cubicBezTo>
                  <a:cubicBezTo>
                    <a:pt x="690" y="650"/>
                    <a:pt x="690" y="650"/>
                    <a:pt x="690" y="650"/>
                  </a:cubicBezTo>
                  <a:cubicBezTo>
                    <a:pt x="691" y="650"/>
                    <a:pt x="691" y="650"/>
                    <a:pt x="691" y="650"/>
                  </a:cubicBezTo>
                  <a:cubicBezTo>
                    <a:pt x="693" y="648"/>
                    <a:pt x="693" y="648"/>
                    <a:pt x="693" y="648"/>
                  </a:cubicBezTo>
                  <a:cubicBezTo>
                    <a:pt x="693" y="647"/>
                    <a:pt x="693" y="647"/>
                    <a:pt x="693" y="647"/>
                  </a:cubicBezTo>
                  <a:cubicBezTo>
                    <a:pt x="693" y="647"/>
                    <a:pt x="693" y="647"/>
                    <a:pt x="693" y="647"/>
                  </a:cubicBezTo>
                  <a:cubicBezTo>
                    <a:pt x="693" y="646"/>
                    <a:pt x="693" y="646"/>
                    <a:pt x="693" y="646"/>
                  </a:cubicBezTo>
                  <a:cubicBezTo>
                    <a:pt x="693" y="646"/>
                    <a:pt x="693" y="646"/>
                    <a:pt x="693" y="646"/>
                  </a:cubicBezTo>
                  <a:cubicBezTo>
                    <a:pt x="693" y="646"/>
                    <a:pt x="693" y="646"/>
                    <a:pt x="693" y="646"/>
                  </a:cubicBezTo>
                  <a:cubicBezTo>
                    <a:pt x="693" y="646"/>
                    <a:pt x="693" y="646"/>
                    <a:pt x="693" y="646"/>
                  </a:cubicBezTo>
                  <a:cubicBezTo>
                    <a:pt x="693" y="646"/>
                    <a:pt x="693" y="646"/>
                    <a:pt x="693" y="646"/>
                  </a:cubicBezTo>
                  <a:cubicBezTo>
                    <a:pt x="692" y="646"/>
                    <a:pt x="692" y="646"/>
                    <a:pt x="692" y="646"/>
                  </a:cubicBezTo>
                  <a:cubicBezTo>
                    <a:pt x="692" y="646"/>
                    <a:pt x="692" y="646"/>
                    <a:pt x="692" y="646"/>
                  </a:cubicBezTo>
                  <a:cubicBezTo>
                    <a:pt x="692" y="646"/>
                    <a:pt x="692" y="646"/>
                    <a:pt x="692" y="646"/>
                  </a:cubicBezTo>
                  <a:cubicBezTo>
                    <a:pt x="692" y="645"/>
                    <a:pt x="692" y="645"/>
                    <a:pt x="692" y="645"/>
                  </a:cubicBezTo>
                  <a:cubicBezTo>
                    <a:pt x="692" y="645"/>
                    <a:pt x="692" y="645"/>
                    <a:pt x="692" y="645"/>
                  </a:cubicBezTo>
                  <a:cubicBezTo>
                    <a:pt x="692" y="645"/>
                    <a:pt x="692" y="645"/>
                    <a:pt x="692" y="645"/>
                  </a:cubicBezTo>
                  <a:cubicBezTo>
                    <a:pt x="692" y="645"/>
                    <a:pt x="692" y="645"/>
                    <a:pt x="692" y="645"/>
                  </a:cubicBezTo>
                  <a:cubicBezTo>
                    <a:pt x="692" y="645"/>
                    <a:pt x="692" y="645"/>
                    <a:pt x="692" y="645"/>
                  </a:cubicBezTo>
                  <a:cubicBezTo>
                    <a:pt x="691" y="644"/>
                    <a:pt x="691" y="644"/>
                    <a:pt x="691" y="644"/>
                  </a:cubicBezTo>
                  <a:cubicBezTo>
                    <a:pt x="691" y="644"/>
                    <a:pt x="691" y="644"/>
                    <a:pt x="691" y="644"/>
                  </a:cubicBezTo>
                  <a:cubicBezTo>
                    <a:pt x="690" y="644"/>
                    <a:pt x="690" y="644"/>
                    <a:pt x="690" y="644"/>
                  </a:cubicBezTo>
                  <a:cubicBezTo>
                    <a:pt x="690" y="644"/>
                    <a:pt x="690" y="644"/>
                    <a:pt x="690" y="644"/>
                  </a:cubicBezTo>
                  <a:cubicBezTo>
                    <a:pt x="690" y="643"/>
                    <a:pt x="690" y="643"/>
                    <a:pt x="690" y="643"/>
                  </a:cubicBezTo>
                  <a:cubicBezTo>
                    <a:pt x="689" y="642"/>
                    <a:pt x="689" y="642"/>
                    <a:pt x="689" y="642"/>
                  </a:cubicBezTo>
                  <a:cubicBezTo>
                    <a:pt x="689" y="642"/>
                    <a:pt x="689" y="642"/>
                    <a:pt x="689" y="642"/>
                  </a:cubicBezTo>
                  <a:cubicBezTo>
                    <a:pt x="690" y="641"/>
                    <a:pt x="690" y="641"/>
                    <a:pt x="690" y="641"/>
                  </a:cubicBezTo>
                  <a:cubicBezTo>
                    <a:pt x="690" y="640"/>
                    <a:pt x="690" y="640"/>
                    <a:pt x="690" y="640"/>
                  </a:cubicBezTo>
                  <a:cubicBezTo>
                    <a:pt x="690" y="639"/>
                    <a:pt x="690" y="639"/>
                    <a:pt x="690" y="639"/>
                  </a:cubicBezTo>
                  <a:cubicBezTo>
                    <a:pt x="690" y="638"/>
                    <a:pt x="690" y="638"/>
                    <a:pt x="690" y="638"/>
                  </a:cubicBezTo>
                  <a:cubicBezTo>
                    <a:pt x="690" y="638"/>
                    <a:pt x="690" y="638"/>
                    <a:pt x="690" y="638"/>
                  </a:cubicBezTo>
                  <a:cubicBezTo>
                    <a:pt x="688" y="636"/>
                    <a:pt x="688" y="636"/>
                    <a:pt x="688" y="636"/>
                  </a:cubicBezTo>
                  <a:cubicBezTo>
                    <a:pt x="687" y="636"/>
                    <a:pt x="687" y="636"/>
                    <a:pt x="687" y="636"/>
                  </a:cubicBezTo>
                  <a:cubicBezTo>
                    <a:pt x="687" y="635"/>
                    <a:pt x="687" y="635"/>
                    <a:pt x="687" y="635"/>
                  </a:cubicBezTo>
                  <a:cubicBezTo>
                    <a:pt x="687" y="635"/>
                    <a:pt x="687" y="635"/>
                    <a:pt x="687" y="635"/>
                  </a:cubicBezTo>
                  <a:cubicBezTo>
                    <a:pt x="688" y="635"/>
                    <a:pt x="688" y="635"/>
                    <a:pt x="688" y="635"/>
                  </a:cubicBezTo>
                  <a:cubicBezTo>
                    <a:pt x="688" y="635"/>
                    <a:pt x="688" y="635"/>
                    <a:pt x="688" y="635"/>
                  </a:cubicBezTo>
                  <a:cubicBezTo>
                    <a:pt x="688" y="635"/>
                    <a:pt x="688" y="635"/>
                    <a:pt x="688" y="635"/>
                  </a:cubicBezTo>
                  <a:cubicBezTo>
                    <a:pt x="687" y="635"/>
                    <a:pt x="687" y="635"/>
                    <a:pt x="687" y="635"/>
                  </a:cubicBezTo>
                  <a:cubicBezTo>
                    <a:pt x="685" y="636"/>
                    <a:pt x="685" y="636"/>
                    <a:pt x="685" y="636"/>
                  </a:cubicBezTo>
                  <a:cubicBezTo>
                    <a:pt x="684" y="636"/>
                    <a:pt x="684" y="636"/>
                    <a:pt x="684" y="636"/>
                  </a:cubicBezTo>
                  <a:cubicBezTo>
                    <a:pt x="681" y="637"/>
                    <a:pt x="681" y="637"/>
                    <a:pt x="681" y="637"/>
                  </a:cubicBezTo>
                  <a:cubicBezTo>
                    <a:pt x="681" y="637"/>
                    <a:pt x="681" y="637"/>
                    <a:pt x="681" y="637"/>
                  </a:cubicBezTo>
                  <a:cubicBezTo>
                    <a:pt x="681" y="638"/>
                    <a:pt x="681" y="638"/>
                    <a:pt x="681" y="638"/>
                  </a:cubicBezTo>
                  <a:cubicBezTo>
                    <a:pt x="681" y="638"/>
                    <a:pt x="681" y="638"/>
                    <a:pt x="681" y="638"/>
                  </a:cubicBezTo>
                  <a:cubicBezTo>
                    <a:pt x="682" y="638"/>
                    <a:pt x="682" y="638"/>
                    <a:pt x="682" y="638"/>
                  </a:cubicBezTo>
                  <a:cubicBezTo>
                    <a:pt x="682" y="639"/>
                    <a:pt x="682" y="639"/>
                    <a:pt x="682" y="639"/>
                  </a:cubicBezTo>
                  <a:cubicBezTo>
                    <a:pt x="681" y="639"/>
                    <a:pt x="681" y="639"/>
                    <a:pt x="681" y="639"/>
                  </a:cubicBezTo>
                  <a:cubicBezTo>
                    <a:pt x="680" y="638"/>
                    <a:pt x="680" y="638"/>
                    <a:pt x="680" y="638"/>
                  </a:cubicBezTo>
                  <a:cubicBezTo>
                    <a:pt x="680" y="638"/>
                    <a:pt x="680" y="638"/>
                    <a:pt x="680" y="638"/>
                  </a:cubicBezTo>
                  <a:cubicBezTo>
                    <a:pt x="679" y="637"/>
                    <a:pt x="679" y="637"/>
                    <a:pt x="679" y="637"/>
                  </a:cubicBezTo>
                  <a:cubicBezTo>
                    <a:pt x="679" y="636"/>
                    <a:pt x="679" y="636"/>
                    <a:pt x="679" y="636"/>
                  </a:cubicBezTo>
                  <a:cubicBezTo>
                    <a:pt x="679" y="636"/>
                    <a:pt x="679" y="636"/>
                    <a:pt x="679" y="636"/>
                  </a:cubicBezTo>
                  <a:cubicBezTo>
                    <a:pt x="679" y="636"/>
                    <a:pt x="679" y="636"/>
                    <a:pt x="679" y="636"/>
                  </a:cubicBezTo>
                  <a:cubicBezTo>
                    <a:pt x="678" y="636"/>
                    <a:pt x="678" y="636"/>
                    <a:pt x="678" y="636"/>
                  </a:cubicBezTo>
                  <a:cubicBezTo>
                    <a:pt x="678" y="636"/>
                    <a:pt x="678" y="636"/>
                    <a:pt x="678" y="636"/>
                  </a:cubicBezTo>
                  <a:cubicBezTo>
                    <a:pt x="678" y="636"/>
                    <a:pt x="678" y="636"/>
                    <a:pt x="678" y="636"/>
                  </a:cubicBezTo>
                  <a:cubicBezTo>
                    <a:pt x="678" y="635"/>
                    <a:pt x="678" y="635"/>
                    <a:pt x="678" y="635"/>
                  </a:cubicBezTo>
                  <a:cubicBezTo>
                    <a:pt x="678" y="635"/>
                    <a:pt x="678" y="635"/>
                    <a:pt x="678" y="635"/>
                  </a:cubicBezTo>
                  <a:cubicBezTo>
                    <a:pt x="678" y="635"/>
                    <a:pt x="678" y="635"/>
                    <a:pt x="678" y="635"/>
                  </a:cubicBezTo>
                  <a:cubicBezTo>
                    <a:pt x="678" y="634"/>
                    <a:pt x="678" y="634"/>
                    <a:pt x="678" y="634"/>
                  </a:cubicBezTo>
                  <a:cubicBezTo>
                    <a:pt x="677" y="635"/>
                    <a:pt x="677" y="635"/>
                    <a:pt x="677" y="635"/>
                  </a:cubicBezTo>
                  <a:cubicBezTo>
                    <a:pt x="676" y="635"/>
                    <a:pt x="676" y="635"/>
                    <a:pt x="676" y="635"/>
                  </a:cubicBezTo>
                  <a:cubicBezTo>
                    <a:pt x="676" y="635"/>
                    <a:pt x="676" y="635"/>
                    <a:pt x="676" y="635"/>
                  </a:cubicBezTo>
                  <a:cubicBezTo>
                    <a:pt x="677" y="634"/>
                    <a:pt x="677" y="634"/>
                    <a:pt x="677" y="634"/>
                  </a:cubicBezTo>
                  <a:cubicBezTo>
                    <a:pt x="676" y="634"/>
                    <a:pt x="676" y="634"/>
                    <a:pt x="676" y="634"/>
                  </a:cubicBezTo>
                  <a:cubicBezTo>
                    <a:pt x="675" y="632"/>
                    <a:pt x="675" y="632"/>
                    <a:pt x="675" y="632"/>
                  </a:cubicBezTo>
                  <a:cubicBezTo>
                    <a:pt x="674" y="631"/>
                    <a:pt x="674" y="631"/>
                    <a:pt x="674" y="631"/>
                  </a:cubicBezTo>
                  <a:cubicBezTo>
                    <a:pt x="673" y="631"/>
                    <a:pt x="673" y="631"/>
                    <a:pt x="673" y="631"/>
                  </a:cubicBezTo>
                  <a:cubicBezTo>
                    <a:pt x="672" y="630"/>
                    <a:pt x="672" y="630"/>
                    <a:pt x="672" y="630"/>
                  </a:cubicBezTo>
                  <a:cubicBezTo>
                    <a:pt x="671" y="630"/>
                    <a:pt x="671" y="630"/>
                    <a:pt x="671" y="630"/>
                  </a:cubicBezTo>
                  <a:cubicBezTo>
                    <a:pt x="671" y="630"/>
                    <a:pt x="671" y="630"/>
                    <a:pt x="671" y="630"/>
                  </a:cubicBezTo>
                  <a:cubicBezTo>
                    <a:pt x="671" y="630"/>
                    <a:pt x="671" y="630"/>
                    <a:pt x="671" y="630"/>
                  </a:cubicBezTo>
                  <a:cubicBezTo>
                    <a:pt x="671" y="630"/>
                    <a:pt x="671" y="630"/>
                    <a:pt x="671" y="630"/>
                  </a:cubicBezTo>
                  <a:cubicBezTo>
                    <a:pt x="671" y="629"/>
                    <a:pt x="671" y="629"/>
                    <a:pt x="671" y="629"/>
                  </a:cubicBezTo>
                  <a:cubicBezTo>
                    <a:pt x="670" y="629"/>
                    <a:pt x="670" y="629"/>
                    <a:pt x="670" y="629"/>
                  </a:cubicBezTo>
                  <a:cubicBezTo>
                    <a:pt x="670" y="629"/>
                    <a:pt x="670" y="629"/>
                    <a:pt x="670" y="629"/>
                  </a:cubicBezTo>
                  <a:cubicBezTo>
                    <a:pt x="670" y="629"/>
                    <a:pt x="670" y="629"/>
                    <a:pt x="670" y="629"/>
                  </a:cubicBezTo>
                  <a:cubicBezTo>
                    <a:pt x="670" y="628"/>
                    <a:pt x="670" y="628"/>
                    <a:pt x="670" y="628"/>
                  </a:cubicBezTo>
                  <a:cubicBezTo>
                    <a:pt x="670" y="628"/>
                    <a:pt x="670" y="628"/>
                    <a:pt x="670" y="628"/>
                  </a:cubicBezTo>
                  <a:cubicBezTo>
                    <a:pt x="669" y="626"/>
                    <a:pt x="669" y="626"/>
                    <a:pt x="669" y="626"/>
                  </a:cubicBezTo>
                  <a:cubicBezTo>
                    <a:pt x="669" y="626"/>
                    <a:pt x="669" y="626"/>
                    <a:pt x="669" y="626"/>
                  </a:cubicBezTo>
                  <a:cubicBezTo>
                    <a:pt x="669" y="625"/>
                    <a:pt x="669" y="625"/>
                    <a:pt x="669" y="625"/>
                  </a:cubicBezTo>
                  <a:cubicBezTo>
                    <a:pt x="669" y="624"/>
                    <a:pt x="669" y="624"/>
                    <a:pt x="669" y="624"/>
                  </a:cubicBezTo>
                  <a:cubicBezTo>
                    <a:pt x="668" y="623"/>
                    <a:pt x="668" y="623"/>
                    <a:pt x="668" y="623"/>
                  </a:cubicBezTo>
                  <a:cubicBezTo>
                    <a:pt x="667" y="623"/>
                    <a:pt x="667" y="623"/>
                    <a:pt x="667" y="623"/>
                  </a:cubicBezTo>
                  <a:cubicBezTo>
                    <a:pt x="667" y="622"/>
                    <a:pt x="667" y="622"/>
                    <a:pt x="667" y="622"/>
                  </a:cubicBezTo>
                  <a:cubicBezTo>
                    <a:pt x="667" y="622"/>
                    <a:pt x="667" y="622"/>
                    <a:pt x="667" y="622"/>
                  </a:cubicBezTo>
                  <a:cubicBezTo>
                    <a:pt x="667" y="621"/>
                    <a:pt x="667" y="621"/>
                    <a:pt x="667" y="621"/>
                  </a:cubicBezTo>
                  <a:cubicBezTo>
                    <a:pt x="666" y="621"/>
                    <a:pt x="666" y="621"/>
                    <a:pt x="666" y="621"/>
                  </a:cubicBezTo>
                  <a:cubicBezTo>
                    <a:pt x="665" y="622"/>
                    <a:pt x="665" y="622"/>
                    <a:pt x="665" y="622"/>
                  </a:cubicBezTo>
                  <a:cubicBezTo>
                    <a:pt x="664" y="622"/>
                    <a:pt x="664" y="622"/>
                    <a:pt x="664" y="622"/>
                  </a:cubicBezTo>
                  <a:cubicBezTo>
                    <a:pt x="663" y="623"/>
                    <a:pt x="663" y="623"/>
                    <a:pt x="663" y="623"/>
                  </a:cubicBezTo>
                  <a:cubicBezTo>
                    <a:pt x="663" y="624"/>
                    <a:pt x="663" y="624"/>
                    <a:pt x="663" y="624"/>
                  </a:cubicBezTo>
                  <a:cubicBezTo>
                    <a:pt x="663" y="624"/>
                    <a:pt x="663" y="624"/>
                    <a:pt x="663" y="624"/>
                  </a:cubicBezTo>
                  <a:cubicBezTo>
                    <a:pt x="663" y="625"/>
                    <a:pt x="663" y="625"/>
                    <a:pt x="663" y="625"/>
                  </a:cubicBezTo>
                  <a:cubicBezTo>
                    <a:pt x="662" y="625"/>
                    <a:pt x="662" y="625"/>
                    <a:pt x="662" y="625"/>
                  </a:cubicBezTo>
                  <a:cubicBezTo>
                    <a:pt x="662" y="625"/>
                    <a:pt x="662" y="625"/>
                    <a:pt x="662" y="625"/>
                  </a:cubicBezTo>
                  <a:cubicBezTo>
                    <a:pt x="661" y="625"/>
                    <a:pt x="661" y="625"/>
                    <a:pt x="661" y="625"/>
                  </a:cubicBezTo>
                  <a:cubicBezTo>
                    <a:pt x="661" y="625"/>
                    <a:pt x="661" y="625"/>
                    <a:pt x="661" y="625"/>
                  </a:cubicBezTo>
                  <a:cubicBezTo>
                    <a:pt x="661" y="625"/>
                    <a:pt x="661" y="625"/>
                    <a:pt x="661" y="625"/>
                  </a:cubicBezTo>
                  <a:cubicBezTo>
                    <a:pt x="660" y="625"/>
                    <a:pt x="660" y="625"/>
                    <a:pt x="660" y="625"/>
                  </a:cubicBezTo>
                  <a:cubicBezTo>
                    <a:pt x="660" y="624"/>
                    <a:pt x="660" y="624"/>
                    <a:pt x="660" y="624"/>
                  </a:cubicBezTo>
                  <a:cubicBezTo>
                    <a:pt x="660" y="624"/>
                    <a:pt x="660" y="624"/>
                    <a:pt x="660" y="624"/>
                  </a:cubicBezTo>
                  <a:cubicBezTo>
                    <a:pt x="660" y="623"/>
                    <a:pt x="660" y="623"/>
                    <a:pt x="660" y="623"/>
                  </a:cubicBezTo>
                  <a:cubicBezTo>
                    <a:pt x="660" y="624"/>
                    <a:pt x="660" y="624"/>
                    <a:pt x="660" y="624"/>
                  </a:cubicBezTo>
                  <a:cubicBezTo>
                    <a:pt x="659" y="624"/>
                    <a:pt x="659" y="624"/>
                    <a:pt x="659" y="624"/>
                  </a:cubicBezTo>
                  <a:cubicBezTo>
                    <a:pt x="659" y="624"/>
                    <a:pt x="659" y="624"/>
                    <a:pt x="659" y="624"/>
                  </a:cubicBezTo>
                  <a:cubicBezTo>
                    <a:pt x="659" y="624"/>
                    <a:pt x="659" y="624"/>
                    <a:pt x="659" y="624"/>
                  </a:cubicBezTo>
                  <a:cubicBezTo>
                    <a:pt x="658" y="624"/>
                    <a:pt x="658" y="624"/>
                    <a:pt x="658" y="624"/>
                  </a:cubicBezTo>
                  <a:cubicBezTo>
                    <a:pt x="658" y="624"/>
                    <a:pt x="658" y="624"/>
                    <a:pt x="658" y="624"/>
                  </a:cubicBezTo>
                  <a:cubicBezTo>
                    <a:pt x="658" y="624"/>
                    <a:pt x="658" y="624"/>
                    <a:pt x="658" y="624"/>
                  </a:cubicBezTo>
                  <a:cubicBezTo>
                    <a:pt x="657" y="623"/>
                    <a:pt x="657" y="623"/>
                    <a:pt x="657" y="623"/>
                  </a:cubicBezTo>
                  <a:cubicBezTo>
                    <a:pt x="657" y="623"/>
                    <a:pt x="657" y="623"/>
                    <a:pt x="657" y="623"/>
                  </a:cubicBezTo>
                  <a:cubicBezTo>
                    <a:pt x="657" y="624"/>
                    <a:pt x="657" y="624"/>
                    <a:pt x="657" y="624"/>
                  </a:cubicBezTo>
                  <a:cubicBezTo>
                    <a:pt x="657" y="625"/>
                    <a:pt x="657" y="625"/>
                    <a:pt x="657" y="625"/>
                  </a:cubicBezTo>
                  <a:cubicBezTo>
                    <a:pt x="657" y="624"/>
                    <a:pt x="657" y="624"/>
                    <a:pt x="657" y="624"/>
                  </a:cubicBezTo>
                  <a:cubicBezTo>
                    <a:pt x="657" y="623"/>
                    <a:pt x="657" y="623"/>
                    <a:pt x="657" y="623"/>
                  </a:cubicBezTo>
                  <a:cubicBezTo>
                    <a:pt x="657" y="623"/>
                    <a:pt x="657" y="623"/>
                    <a:pt x="657" y="623"/>
                  </a:cubicBezTo>
                  <a:cubicBezTo>
                    <a:pt x="658" y="623"/>
                    <a:pt x="658" y="623"/>
                    <a:pt x="658" y="623"/>
                  </a:cubicBezTo>
                  <a:cubicBezTo>
                    <a:pt x="658" y="622"/>
                    <a:pt x="658" y="622"/>
                    <a:pt x="658" y="622"/>
                  </a:cubicBezTo>
                  <a:cubicBezTo>
                    <a:pt x="657" y="622"/>
                    <a:pt x="657" y="622"/>
                    <a:pt x="657" y="622"/>
                  </a:cubicBezTo>
                  <a:cubicBezTo>
                    <a:pt x="657" y="622"/>
                    <a:pt x="657" y="622"/>
                    <a:pt x="657" y="622"/>
                  </a:cubicBezTo>
                  <a:cubicBezTo>
                    <a:pt x="657" y="623"/>
                    <a:pt x="657" y="623"/>
                    <a:pt x="657" y="623"/>
                  </a:cubicBezTo>
                  <a:cubicBezTo>
                    <a:pt x="656" y="623"/>
                    <a:pt x="656" y="623"/>
                    <a:pt x="656" y="623"/>
                  </a:cubicBezTo>
                  <a:cubicBezTo>
                    <a:pt x="656" y="623"/>
                    <a:pt x="656" y="623"/>
                    <a:pt x="656" y="623"/>
                  </a:cubicBezTo>
                  <a:cubicBezTo>
                    <a:pt x="657" y="623"/>
                    <a:pt x="657" y="623"/>
                    <a:pt x="657" y="623"/>
                  </a:cubicBezTo>
                  <a:cubicBezTo>
                    <a:pt x="657" y="623"/>
                    <a:pt x="657" y="623"/>
                    <a:pt x="657" y="623"/>
                  </a:cubicBezTo>
                  <a:cubicBezTo>
                    <a:pt x="655" y="624"/>
                    <a:pt x="655" y="624"/>
                    <a:pt x="655" y="624"/>
                  </a:cubicBezTo>
                  <a:cubicBezTo>
                    <a:pt x="654" y="625"/>
                    <a:pt x="654" y="625"/>
                    <a:pt x="654" y="625"/>
                  </a:cubicBezTo>
                  <a:cubicBezTo>
                    <a:pt x="653" y="624"/>
                    <a:pt x="653" y="624"/>
                    <a:pt x="653" y="624"/>
                  </a:cubicBezTo>
                  <a:cubicBezTo>
                    <a:pt x="653" y="625"/>
                    <a:pt x="653" y="625"/>
                    <a:pt x="653" y="625"/>
                  </a:cubicBezTo>
                  <a:cubicBezTo>
                    <a:pt x="653" y="624"/>
                    <a:pt x="653" y="624"/>
                    <a:pt x="653" y="624"/>
                  </a:cubicBezTo>
                  <a:cubicBezTo>
                    <a:pt x="653" y="624"/>
                    <a:pt x="653" y="624"/>
                    <a:pt x="653" y="624"/>
                  </a:cubicBezTo>
                  <a:cubicBezTo>
                    <a:pt x="652" y="625"/>
                    <a:pt x="652" y="625"/>
                    <a:pt x="652" y="625"/>
                  </a:cubicBezTo>
                  <a:cubicBezTo>
                    <a:pt x="652" y="625"/>
                    <a:pt x="652" y="625"/>
                    <a:pt x="652" y="625"/>
                  </a:cubicBezTo>
                  <a:cubicBezTo>
                    <a:pt x="653" y="625"/>
                    <a:pt x="653" y="625"/>
                    <a:pt x="653" y="625"/>
                  </a:cubicBezTo>
                  <a:cubicBezTo>
                    <a:pt x="653" y="625"/>
                    <a:pt x="653" y="625"/>
                    <a:pt x="653" y="625"/>
                  </a:cubicBezTo>
                  <a:cubicBezTo>
                    <a:pt x="651" y="626"/>
                    <a:pt x="651" y="626"/>
                    <a:pt x="651" y="626"/>
                  </a:cubicBezTo>
                  <a:cubicBezTo>
                    <a:pt x="651" y="626"/>
                    <a:pt x="651" y="626"/>
                    <a:pt x="651" y="626"/>
                  </a:cubicBezTo>
                  <a:cubicBezTo>
                    <a:pt x="651" y="627"/>
                    <a:pt x="651" y="627"/>
                    <a:pt x="651" y="627"/>
                  </a:cubicBezTo>
                  <a:cubicBezTo>
                    <a:pt x="651" y="627"/>
                    <a:pt x="651" y="627"/>
                    <a:pt x="651" y="627"/>
                  </a:cubicBezTo>
                  <a:cubicBezTo>
                    <a:pt x="651" y="628"/>
                    <a:pt x="651" y="628"/>
                    <a:pt x="651" y="628"/>
                  </a:cubicBezTo>
                  <a:cubicBezTo>
                    <a:pt x="650" y="628"/>
                    <a:pt x="650" y="628"/>
                    <a:pt x="650" y="628"/>
                  </a:cubicBezTo>
                  <a:cubicBezTo>
                    <a:pt x="650" y="628"/>
                    <a:pt x="650" y="628"/>
                    <a:pt x="650" y="628"/>
                  </a:cubicBezTo>
                  <a:cubicBezTo>
                    <a:pt x="650" y="628"/>
                    <a:pt x="650" y="628"/>
                    <a:pt x="650" y="628"/>
                  </a:cubicBezTo>
                  <a:cubicBezTo>
                    <a:pt x="649" y="629"/>
                    <a:pt x="649" y="629"/>
                    <a:pt x="649" y="629"/>
                  </a:cubicBezTo>
                  <a:cubicBezTo>
                    <a:pt x="649" y="629"/>
                    <a:pt x="649" y="629"/>
                    <a:pt x="649" y="629"/>
                  </a:cubicBezTo>
                  <a:cubicBezTo>
                    <a:pt x="649" y="630"/>
                    <a:pt x="649" y="630"/>
                    <a:pt x="649" y="630"/>
                  </a:cubicBezTo>
                  <a:cubicBezTo>
                    <a:pt x="649" y="630"/>
                    <a:pt x="649" y="630"/>
                    <a:pt x="649" y="630"/>
                  </a:cubicBezTo>
                  <a:cubicBezTo>
                    <a:pt x="650" y="630"/>
                    <a:pt x="650" y="630"/>
                    <a:pt x="650" y="630"/>
                  </a:cubicBezTo>
                  <a:cubicBezTo>
                    <a:pt x="650" y="630"/>
                    <a:pt x="650" y="630"/>
                    <a:pt x="650" y="630"/>
                  </a:cubicBezTo>
                  <a:cubicBezTo>
                    <a:pt x="649" y="631"/>
                    <a:pt x="649" y="631"/>
                    <a:pt x="649" y="631"/>
                  </a:cubicBezTo>
                  <a:cubicBezTo>
                    <a:pt x="649" y="631"/>
                    <a:pt x="649" y="631"/>
                    <a:pt x="649" y="631"/>
                  </a:cubicBezTo>
                  <a:cubicBezTo>
                    <a:pt x="647" y="630"/>
                    <a:pt x="647" y="630"/>
                    <a:pt x="647" y="630"/>
                  </a:cubicBezTo>
                  <a:cubicBezTo>
                    <a:pt x="648" y="629"/>
                    <a:pt x="648" y="629"/>
                    <a:pt x="648" y="629"/>
                  </a:cubicBezTo>
                  <a:cubicBezTo>
                    <a:pt x="648" y="629"/>
                    <a:pt x="648" y="629"/>
                    <a:pt x="648" y="629"/>
                  </a:cubicBezTo>
                  <a:cubicBezTo>
                    <a:pt x="647" y="628"/>
                    <a:pt x="647" y="628"/>
                    <a:pt x="647" y="628"/>
                  </a:cubicBezTo>
                  <a:cubicBezTo>
                    <a:pt x="647" y="628"/>
                    <a:pt x="647" y="628"/>
                    <a:pt x="647" y="628"/>
                  </a:cubicBezTo>
                  <a:cubicBezTo>
                    <a:pt x="648" y="628"/>
                    <a:pt x="648" y="628"/>
                    <a:pt x="648" y="628"/>
                  </a:cubicBezTo>
                  <a:cubicBezTo>
                    <a:pt x="648" y="627"/>
                    <a:pt x="648" y="627"/>
                    <a:pt x="648" y="627"/>
                  </a:cubicBezTo>
                  <a:cubicBezTo>
                    <a:pt x="648" y="626"/>
                    <a:pt x="648" y="626"/>
                    <a:pt x="648" y="626"/>
                  </a:cubicBezTo>
                  <a:cubicBezTo>
                    <a:pt x="648" y="626"/>
                    <a:pt x="648" y="626"/>
                    <a:pt x="648" y="626"/>
                  </a:cubicBezTo>
                  <a:cubicBezTo>
                    <a:pt x="648" y="626"/>
                    <a:pt x="648" y="626"/>
                    <a:pt x="648" y="626"/>
                  </a:cubicBezTo>
                  <a:cubicBezTo>
                    <a:pt x="648" y="626"/>
                    <a:pt x="648" y="626"/>
                    <a:pt x="648" y="626"/>
                  </a:cubicBezTo>
                  <a:cubicBezTo>
                    <a:pt x="649" y="626"/>
                    <a:pt x="649" y="626"/>
                    <a:pt x="649" y="626"/>
                  </a:cubicBezTo>
                  <a:cubicBezTo>
                    <a:pt x="649" y="626"/>
                    <a:pt x="649" y="626"/>
                    <a:pt x="649" y="626"/>
                  </a:cubicBezTo>
                  <a:cubicBezTo>
                    <a:pt x="649" y="625"/>
                    <a:pt x="649" y="625"/>
                    <a:pt x="649" y="625"/>
                  </a:cubicBezTo>
                  <a:cubicBezTo>
                    <a:pt x="649" y="624"/>
                    <a:pt x="649" y="624"/>
                    <a:pt x="649" y="624"/>
                  </a:cubicBezTo>
                  <a:cubicBezTo>
                    <a:pt x="649" y="624"/>
                    <a:pt x="649" y="624"/>
                    <a:pt x="649" y="624"/>
                  </a:cubicBezTo>
                  <a:cubicBezTo>
                    <a:pt x="650" y="623"/>
                    <a:pt x="650" y="623"/>
                    <a:pt x="650" y="623"/>
                  </a:cubicBezTo>
                  <a:cubicBezTo>
                    <a:pt x="651" y="624"/>
                    <a:pt x="651" y="624"/>
                    <a:pt x="651" y="624"/>
                  </a:cubicBezTo>
                  <a:cubicBezTo>
                    <a:pt x="651" y="624"/>
                    <a:pt x="651" y="624"/>
                    <a:pt x="651" y="624"/>
                  </a:cubicBezTo>
                  <a:cubicBezTo>
                    <a:pt x="652" y="625"/>
                    <a:pt x="652" y="625"/>
                    <a:pt x="652" y="625"/>
                  </a:cubicBezTo>
                  <a:cubicBezTo>
                    <a:pt x="652" y="624"/>
                    <a:pt x="652" y="624"/>
                    <a:pt x="652" y="624"/>
                  </a:cubicBezTo>
                  <a:cubicBezTo>
                    <a:pt x="653" y="624"/>
                    <a:pt x="653" y="624"/>
                    <a:pt x="653" y="624"/>
                  </a:cubicBezTo>
                  <a:cubicBezTo>
                    <a:pt x="654" y="623"/>
                    <a:pt x="654" y="623"/>
                    <a:pt x="654" y="623"/>
                  </a:cubicBezTo>
                  <a:cubicBezTo>
                    <a:pt x="654" y="624"/>
                    <a:pt x="654" y="624"/>
                    <a:pt x="654" y="624"/>
                  </a:cubicBezTo>
                  <a:cubicBezTo>
                    <a:pt x="654" y="624"/>
                    <a:pt x="654" y="624"/>
                    <a:pt x="654" y="624"/>
                  </a:cubicBezTo>
                  <a:cubicBezTo>
                    <a:pt x="654" y="623"/>
                    <a:pt x="654" y="623"/>
                    <a:pt x="654" y="623"/>
                  </a:cubicBezTo>
                  <a:cubicBezTo>
                    <a:pt x="654" y="623"/>
                    <a:pt x="654" y="623"/>
                    <a:pt x="654" y="623"/>
                  </a:cubicBezTo>
                  <a:cubicBezTo>
                    <a:pt x="654" y="623"/>
                    <a:pt x="654" y="623"/>
                    <a:pt x="654" y="623"/>
                  </a:cubicBezTo>
                  <a:cubicBezTo>
                    <a:pt x="654" y="623"/>
                    <a:pt x="654" y="623"/>
                    <a:pt x="654" y="623"/>
                  </a:cubicBezTo>
                  <a:cubicBezTo>
                    <a:pt x="654" y="623"/>
                    <a:pt x="654" y="623"/>
                    <a:pt x="654" y="623"/>
                  </a:cubicBezTo>
                  <a:cubicBezTo>
                    <a:pt x="654" y="623"/>
                    <a:pt x="654" y="623"/>
                    <a:pt x="654" y="623"/>
                  </a:cubicBezTo>
                  <a:cubicBezTo>
                    <a:pt x="654" y="622"/>
                    <a:pt x="654" y="622"/>
                    <a:pt x="654" y="622"/>
                  </a:cubicBezTo>
                  <a:cubicBezTo>
                    <a:pt x="654" y="623"/>
                    <a:pt x="654" y="623"/>
                    <a:pt x="654" y="623"/>
                  </a:cubicBezTo>
                  <a:cubicBezTo>
                    <a:pt x="655" y="622"/>
                    <a:pt x="655" y="622"/>
                    <a:pt x="655" y="622"/>
                  </a:cubicBezTo>
                  <a:cubicBezTo>
                    <a:pt x="655" y="622"/>
                    <a:pt x="655" y="622"/>
                    <a:pt x="655" y="622"/>
                  </a:cubicBezTo>
                  <a:cubicBezTo>
                    <a:pt x="656" y="622"/>
                    <a:pt x="656" y="622"/>
                    <a:pt x="656" y="622"/>
                  </a:cubicBezTo>
                  <a:cubicBezTo>
                    <a:pt x="656" y="622"/>
                    <a:pt x="656" y="622"/>
                    <a:pt x="656" y="622"/>
                  </a:cubicBezTo>
                  <a:cubicBezTo>
                    <a:pt x="657" y="622"/>
                    <a:pt x="657" y="622"/>
                    <a:pt x="657" y="622"/>
                  </a:cubicBezTo>
                  <a:cubicBezTo>
                    <a:pt x="657" y="621"/>
                    <a:pt x="657" y="621"/>
                    <a:pt x="657" y="621"/>
                  </a:cubicBezTo>
                  <a:cubicBezTo>
                    <a:pt x="657" y="621"/>
                    <a:pt x="657" y="621"/>
                    <a:pt x="657" y="621"/>
                  </a:cubicBezTo>
                  <a:cubicBezTo>
                    <a:pt x="658" y="621"/>
                    <a:pt x="658" y="621"/>
                    <a:pt x="658" y="621"/>
                  </a:cubicBezTo>
                  <a:cubicBezTo>
                    <a:pt x="659" y="622"/>
                    <a:pt x="659" y="622"/>
                    <a:pt x="659" y="622"/>
                  </a:cubicBezTo>
                  <a:cubicBezTo>
                    <a:pt x="662" y="622"/>
                    <a:pt x="662" y="622"/>
                    <a:pt x="662" y="622"/>
                  </a:cubicBezTo>
                  <a:cubicBezTo>
                    <a:pt x="663" y="622"/>
                    <a:pt x="663" y="622"/>
                    <a:pt x="663" y="622"/>
                  </a:cubicBezTo>
                  <a:cubicBezTo>
                    <a:pt x="664" y="621"/>
                    <a:pt x="664" y="621"/>
                    <a:pt x="664" y="621"/>
                  </a:cubicBezTo>
                  <a:cubicBezTo>
                    <a:pt x="663" y="621"/>
                    <a:pt x="663" y="621"/>
                    <a:pt x="663" y="621"/>
                  </a:cubicBezTo>
                  <a:cubicBezTo>
                    <a:pt x="663" y="621"/>
                    <a:pt x="663" y="621"/>
                    <a:pt x="663" y="621"/>
                  </a:cubicBezTo>
                  <a:cubicBezTo>
                    <a:pt x="662" y="621"/>
                    <a:pt x="662" y="621"/>
                    <a:pt x="662" y="621"/>
                  </a:cubicBezTo>
                  <a:cubicBezTo>
                    <a:pt x="661" y="620"/>
                    <a:pt x="661" y="620"/>
                    <a:pt x="661" y="620"/>
                  </a:cubicBezTo>
                  <a:cubicBezTo>
                    <a:pt x="654" y="620"/>
                    <a:pt x="654" y="620"/>
                    <a:pt x="654" y="620"/>
                  </a:cubicBezTo>
                  <a:cubicBezTo>
                    <a:pt x="653" y="620"/>
                    <a:pt x="653" y="620"/>
                    <a:pt x="653" y="620"/>
                  </a:cubicBezTo>
                  <a:cubicBezTo>
                    <a:pt x="652" y="619"/>
                    <a:pt x="652" y="619"/>
                    <a:pt x="652" y="619"/>
                  </a:cubicBezTo>
                  <a:cubicBezTo>
                    <a:pt x="652" y="619"/>
                    <a:pt x="652" y="619"/>
                    <a:pt x="652" y="619"/>
                  </a:cubicBezTo>
                  <a:cubicBezTo>
                    <a:pt x="652" y="619"/>
                    <a:pt x="652" y="619"/>
                    <a:pt x="652" y="619"/>
                  </a:cubicBezTo>
                  <a:cubicBezTo>
                    <a:pt x="652" y="619"/>
                    <a:pt x="652" y="619"/>
                    <a:pt x="652" y="619"/>
                  </a:cubicBezTo>
                  <a:cubicBezTo>
                    <a:pt x="651" y="619"/>
                    <a:pt x="651" y="619"/>
                    <a:pt x="651" y="619"/>
                  </a:cubicBezTo>
                  <a:cubicBezTo>
                    <a:pt x="651" y="621"/>
                    <a:pt x="651" y="621"/>
                    <a:pt x="651" y="621"/>
                  </a:cubicBezTo>
                  <a:cubicBezTo>
                    <a:pt x="650" y="623"/>
                    <a:pt x="650" y="623"/>
                    <a:pt x="650" y="623"/>
                  </a:cubicBezTo>
                  <a:cubicBezTo>
                    <a:pt x="649" y="623"/>
                    <a:pt x="649" y="623"/>
                    <a:pt x="649" y="623"/>
                  </a:cubicBezTo>
                  <a:cubicBezTo>
                    <a:pt x="648" y="626"/>
                    <a:pt x="648" y="626"/>
                    <a:pt x="648" y="626"/>
                  </a:cubicBezTo>
                  <a:cubicBezTo>
                    <a:pt x="647" y="628"/>
                    <a:pt x="647" y="628"/>
                    <a:pt x="647" y="628"/>
                  </a:cubicBezTo>
                  <a:cubicBezTo>
                    <a:pt x="646" y="629"/>
                    <a:pt x="646" y="629"/>
                    <a:pt x="646" y="629"/>
                  </a:cubicBezTo>
                  <a:cubicBezTo>
                    <a:pt x="645" y="629"/>
                    <a:pt x="645" y="629"/>
                    <a:pt x="645" y="629"/>
                  </a:cubicBezTo>
                  <a:cubicBezTo>
                    <a:pt x="643" y="631"/>
                    <a:pt x="643" y="631"/>
                    <a:pt x="643" y="631"/>
                  </a:cubicBezTo>
                  <a:cubicBezTo>
                    <a:pt x="642" y="631"/>
                    <a:pt x="642" y="631"/>
                    <a:pt x="642" y="631"/>
                  </a:cubicBezTo>
                  <a:cubicBezTo>
                    <a:pt x="642" y="631"/>
                    <a:pt x="642" y="631"/>
                    <a:pt x="642" y="631"/>
                  </a:cubicBezTo>
                  <a:cubicBezTo>
                    <a:pt x="641" y="632"/>
                    <a:pt x="641" y="632"/>
                    <a:pt x="641" y="632"/>
                  </a:cubicBezTo>
                  <a:cubicBezTo>
                    <a:pt x="640" y="633"/>
                    <a:pt x="640" y="633"/>
                    <a:pt x="640" y="633"/>
                  </a:cubicBezTo>
                  <a:cubicBezTo>
                    <a:pt x="640" y="634"/>
                    <a:pt x="640" y="634"/>
                    <a:pt x="640" y="634"/>
                  </a:cubicBezTo>
                  <a:cubicBezTo>
                    <a:pt x="639" y="635"/>
                    <a:pt x="639" y="635"/>
                    <a:pt x="639" y="635"/>
                  </a:cubicBezTo>
                  <a:cubicBezTo>
                    <a:pt x="640" y="634"/>
                    <a:pt x="640" y="634"/>
                    <a:pt x="640" y="634"/>
                  </a:cubicBezTo>
                  <a:cubicBezTo>
                    <a:pt x="640" y="634"/>
                    <a:pt x="640" y="634"/>
                    <a:pt x="640" y="634"/>
                  </a:cubicBezTo>
                  <a:cubicBezTo>
                    <a:pt x="640" y="634"/>
                    <a:pt x="640" y="634"/>
                    <a:pt x="640" y="634"/>
                  </a:cubicBezTo>
                  <a:cubicBezTo>
                    <a:pt x="640" y="634"/>
                    <a:pt x="640" y="634"/>
                    <a:pt x="640" y="634"/>
                  </a:cubicBezTo>
                  <a:cubicBezTo>
                    <a:pt x="640" y="635"/>
                    <a:pt x="640" y="635"/>
                    <a:pt x="640" y="635"/>
                  </a:cubicBezTo>
                  <a:cubicBezTo>
                    <a:pt x="639" y="635"/>
                    <a:pt x="639" y="635"/>
                    <a:pt x="639" y="635"/>
                  </a:cubicBezTo>
                  <a:cubicBezTo>
                    <a:pt x="639" y="636"/>
                    <a:pt x="639" y="636"/>
                    <a:pt x="639" y="636"/>
                  </a:cubicBezTo>
                  <a:cubicBezTo>
                    <a:pt x="639" y="637"/>
                    <a:pt x="639" y="637"/>
                    <a:pt x="639" y="637"/>
                  </a:cubicBezTo>
                  <a:cubicBezTo>
                    <a:pt x="639" y="638"/>
                    <a:pt x="639" y="638"/>
                    <a:pt x="639" y="638"/>
                  </a:cubicBezTo>
                  <a:cubicBezTo>
                    <a:pt x="640" y="638"/>
                    <a:pt x="640" y="638"/>
                    <a:pt x="640" y="638"/>
                  </a:cubicBezTo>
                  <a:cubicBezTo>
                    <a:pt x="639" y="638"/>
                    <a:pt x="639" y="638"/>
                    <a:pt x="639" y="638"/>
                  </a:cubicBezTo>
                  <a:cubicBezTo>
                    <a:pt x="639" y="636"/>
                    <a:pt x="639" y="636"/>
                    <a:pt x="639" y="636"/>
                  </a:cubicBezTo>
                  <a:cubicBezTo>
                    <a:pt x="639" y="635"/>
                    <a:pt x="639" y="635"/>
                    <a:pt x="639" y="635"/>
                  </a:cubicBezTo>
                  <a:cubicBezTo>
                    <a:pt x="639" y="634"/>
                    <a:pt x="639" y="634"/>
                    <a:pt x="639" y="634"/>
                  </a:cubicBezTo>
                  <a:cubicBezTo>
                    <a:pt x="638" y="634"/>
                    <a:pt x="638" y="634"/>
                    <a:pt x="638" y="634"/>
                  </a:cubicBezTo>
                  <a:cubicBezTo>
                    <a:pt x="631" y="636"/>
                    <a:pt x="631" y="636"/>
                    <a:pt x="631" y="636"/>
                  </a:cubicBezTo>
                  <a:cubicBezTo>
                    <a:pt x="628" y="635"/>
                    <a:pt x="628" y="635"/>
                    <a:pt x="628" y="635"/>
                  </a:cubicBezTo>
                  <a:cubicBezTo>
                    <a:pt x="627" y="635"/>
                    <a:pt x="627" y="635"/>
                    <a:pt x="627" y="635"/>
                  </a:cubicBezTo>
                  <a:cubicBezTo>
                    <a:pt x="626" y="636"/>
                    <a:pt x="626" y="636"/>
                    <a:pt x="626" y="636"/>
                  </a:cubicBezTo>
                  <a:cubicBezTo>
                    <a:pt x="625" y="638"/>
                    <a:pt x="625" y="638"/>
                    <a:pt x="625" y="638"/>
                  </a:cubicBezTo>
                  <a:cubicBezTo>
                    <a:pt x="625" y="638"/>
                    <a:pt x="625" y="638"/>
                    <a:pt x="625" y="638"/>
                  </a:cubicBezTo>
                  <a:cubicBezTo>
                    <a:pt x="625" y="638"/>
                    <a:pt x="625" y="638"/>
                    <a:pt x="625" y="638"/>
                  </a:cubicBezTo>
                  <a:cubicBezTo>
                    <a:pt x="625" y="638"/>
                    <a:pt x="625" y="638"/>
                    <a:pt x="625" y="638"/>
                  </a:cubicBezTo>
                  <a:cubicBezTo>
                    <a:pt x="625" y="638"/>
                    <a:pt x="625" y="638"/>
                    <a:pt x="625" y="638"/>
                  </a:cubicBezTo>
                  <a:cubicBezTo>
                    <a:pt x="625" y="638"/>
                    <a:pt x="625" y="638"/>
                    <a:pt x="625" y="638"/>
                  </a:cubicBezTo>
                  <a:cubicBezTo>
                    <a:pt x="625" y="639"/>
                    <a:pt x="625" y="639"/>
                    <a:pt x="625" y="639"/>
                  </a:cubicBezTo>
                  <a:cubicBezTo>
                    <a:pt x="625" y="639"/>
                    <a:pt x="625" y="639"/>
                    <a:pt x="625" y="639"/>
                  </a:cubicBezTo>
                  <a:cubicBezTo>
                    <a:pt x="625" y="639"/>
                    <a:pt x="625" y="639"/>
                    <a:pt x="625" y="639"/>
                  </a:cubicBezTo>
                  <a:cubicBezTo>
                    <a:pt x="625" y="640"/>
                    <a:pt x="625" y="640"/>
                    <a:pt x="625" y="640"/>
                  </a:cubicBezTo>
                  <a:cubicBezTo>
                    <a:pt x="624" y="640"/>
                    <a:pt x="624" y="640"/>
                    <a:pt x="624" y="640"/>
                  </a:cubicBezTo>
                  <a:cubicBezTo>
                    <a:pt x="624" y="640"/>
                    <a:pt x="624" y="640"/>
                    <a:pt x="624" y="640"/>
                  </a:cubicBezTo>
                  <a:cubicBezTo>
                    <a:pt x="623" y="642"/>
                    <a:pt x="623" y="642"/>
                    <a:pt x="623" y="642"/>
                  </a:cubicBezTo>
                  <a:cubicBezTo>
                    <a:pt x="623" y="642"/>
                    <a:pt x="623" y="642"/>
                    <a:pt x="623" y="642"/>
                  </a:cubicBezTo>
                  <a:cubicBezTo>
                    <a:pt x="622" y="642"/>
                    <a:pt x="622" y="642"/>
                    <a:pt x="622" y="642"/>
                  </a:cubicBezTo>
                  <a:cubicBezTo>
                    <a:pt x="622" y="642"/>
                    <a:pt x="622" y="642"/>
                    <a:pt x="622" y="642"/>
                  </a:cubicBezTo>
                  <a:cubicBezTo>
                    <a:pt x="622" y="642"/>
                    <a:pt x="622" y="642"/>
                    <a:pt x="622" y="642"/>
                  </a:cubicBezTo>
                  <a:cubicBezTo>
                    <a:pt x="622" y="642"/>
                    <a:pt x="622" y="642"/>
                    <a:pt x="622" y="642"/>
                  </a:cubicBezTo>
                  <a:cubicBezTo>
                    <a:pt x="622" y="642"/>
                    <a:pt x="622" y="642"/>
                    <a:pt x="622" y="642"/>
                  </a:cubicBezTo>
                  <a:cubicBezTo>
                    <a:pt x="621" y="643"/>
                    <a:pt x="621" y="643"/>
                    <a:pt x="621" y="643"/>
                  </a:cubicBezTo>
                  <a:cubicBezTo>
                    <a:pt x="621" y="644"/>
                    <a:pt x="621" y="644"/>
                    <a:pt x="621" y="644"/>
                  </a:cubicBezTo>
                  <a:cubicBezTo>
                    <a:pt x="621" y="644"/>
                    <a:pt x="621" y="644"/>
                    <a:pt x="621" y="644"/>
                  </a:cubicBezTo>
                  <a:cubicBezTo>
                    <a:pt x="621" y="644"/>
                    <a:pt x="621" y="644"/>
                    <a:pt x="621" y="644"/>
                  </a:cubicBezTo>
                  <a:cubicBezTo>
                    <a:pt x="621" y="644"/>
                    <a:pt x="621" y="644"/>
                    <a:pt x="621" y="644"/>
                  </a:cubicBezTo>
                  <a:cubicBezTo>
                    <a:pt x="621" y="645"/>
                    <a:pt x="621" y="645"/>
                    <a:pt x="621" y="645"/>
                  </a:cubicBezTo>
                  <a:cubicBezTo>
                    <a:pt x="620" y="645"/>
                    <a:pt x="620" y="645"/>
                    <a:pt x="620" y="645"/>
                  </a:cubicBezTo>
                  <a:cubicBezTo>
                    <a:pt x="620" y="646"/>
                    <a:pt x="620" y="646"/>
                    <a:pt x="620" y="646"/>
                  </a:cubicBezTo>
                  <a:cubicBezTo>
                    <a:pt x="620" y="647"/>
                    <a:pt x="620" y="647"/>
                    <a:pt x="620" y="647"/>
                  </a:cubicBezTo>
                  <a:cubicBezTo>
                    <a:pt x="620" y="648"/>
                    <a:pt x="620" y="648"/>
                    <a:pt x="620" y="648"/>
                  </a:cubicBezTo>
                  <a:cubicBezTo>
                    <a:pt x="620" y="648"/>
                    <a:pt x="620" y="648"/>
                    <a:pt x="620" y="648"/>
                  </a:cubicBezTo>
                  <a:cubicBezTo>
                    <a:pt x="620" y="648"/>
                    <a:pt x="620" y="648"/>
                    <a:pt x="620" y="648"/>
                  </a:cubicBezTo>
                  <a:cubicBezTo>
                    <a:pt x="619" y="648"/>
                    <a:pt x="619" y="648"/>
                    <a:pt x="619" y="648"/>
                  </a:cubicBezTo>
                  <a:cubicBezTo>
                    <a:pt x="618" y="647"/>
                    <a:pt x="618" y="647"/>
                    <a:pt x="618" y="647"/>
                  </a:cubicBezTo>
                  <a:cubicBezTo>
                    <a:pt x="618" y="646"/>
                    <a:pt x="618" y="646"/>
                    <a:pt x="618" y="646"/>
                  </a:cubicBezTo>
                  <a:cubicBezTo>
                    <a:pt x="617" y="646"/>
                    <a:pt x="617" y="646"/>
                    <a:pt x="617" y="646"/>
                  </a:cubicBezTo>
                  <a:cubicBezTo>
                    <a:pt x="617" y="646"/>
                    <a:pt x="617" y="646"/>
                    <a:pt x="617" y="646"/>
                  </a:cubicBezTo>
                  <a:cubicBezTo>
                    <a:pt x="616" y="646"/>
                    <a:pt x="616" y="646"/>
                    <a:pt x="616" y="646"/>
                  </a:cubicBezTo>
                  <a:cubicBezTo>
                    <a:pt x="616" y="645"/>
                    <a:pt x="616" y="645"/>
                    <a:pt x="616" y="645"/>
                  </a:cubicBezTo>
                  <a:cubicBezTo>
                    <a:pt x="615" y="646"/>
                    <a:pt x="615" y="646"/>
                    <a:pt x="615" y="646"/>
                  </a:cubicBezTo>
                  <a:cubicBezTo>
                    <a:pt x="615" y="647"/>
                    <a:pt x="615" y="647"/>
                    <a:pt x="615" y="647"/>
                  </a:cubicBezTo>
                  <a:cubicBezTo>
                    <a:pt x="614" y="646"/>
                    <a:pt x="614" y="646"/>
                    <a:pt x="614" y="646"/>
                  </a:cubicBezTo>
                  <a:cubicBezTo>
                    <a:pt x="613" y="646"/>
                    <a:pt x="613" y="646"/>
                    <a:pt x="613" y="646"/>
                  </a:cubicBezTo>
                  <a:cubicBezTo>
                    <a:pt x="613" y="646"/>
                    <a:pt x="613" y="646"/>
                    <a:pt x="613" y="646"/>
                  </a:cubicBezTo>
                  <a:cubicBezTo>
                    <a:pt x="614" y="645"/>
                    <a:pt x="614" y="645"/>
                    <a:pt x="614" y="645"/>
                  </a:cubicBezTo>
                  <a:cubicBezTo>
                    <a:pt x="613" y="644"/>
                    <a:pt x="613" y="644"/>
                    <a:pt x="613" y="644"/>
                  </a:cubicBezTo>
                  <a:cubicBezTo>
                    <a:pt x="612" y="644"/>
                    <a:pt x="612" y="644"/>
                    <a:pt x="612" y="644"/>
                  </a:cubicBezTo>
                  <a:cubicBezTo>
                    <a:pt x="612" y="644"/>
                    <a:pt x="612" y="644"/>
                    <a:pt x="612" y="644"/>
                  </a:cubicBezTo>
                  <a:cubicBezTo>
                    <a:pt x="612" y="643"/>
                    <a:pt x="612" y="643"/>
                    <a:pt x="612" y="643"/>
                  </a:cubicBezTo>
                  <a:cubicBezTo>
                    <a:pt x="612" y="643"/>
                    <a:pt x="612" y="643"/>
                    <a:pt x="612" y="643"/>
                  </a:cubicBezTo>
                  <a:cubicBezTo>
                    <a:pt x="612" y="642"/>
                    <a:pt x="612" y="642"/>
                    <a:pt x="612" y="642"/>
                  </a:cubicBezTo>
                  <a:cubicBezTo>
                    <a:pt x="608" y="643"/>
                    <a:pt x="608" y="643"/>
                    <a:pt x="608" y="643"/>
                  </a:cubicBezTo>
                  <a:cubicBezTo>
                    <a:pt x="606" y="644"/>
                    <a:pt x="606" y="644"/>
                    <a:pt x="606" y="644"/>
                  </a:cubicBezTo>
                  <a:cubicBezTo>
                    <a:pt x="606" y="644"/>
                    <a:pt x="606" y="644"/>
                    <a:pt x="606" y="644"/>
                  </a:cubicBezTo>
                  <a:cubicBezTo>
                    <a:pt x="605" y="644"/>
                    <a:pt x="605" y="644"/>
                    <a:pt x="605" y="644"/>
                  </a:cubicBezTo>
                  <a:cubicBezTo>
                    <a:pt x="604" y="645"/>
                    <a:pt x="604" y="645"/>
                    <a:pt x="604" y="645"/>
                  </a:cubicBezTo>
                  <a:cubicBezTo>
                    <a:pt x="604" y="645"/>
                    <a:pt x="604" y="645"/>
                    <a:pt x="604" y="645"/>
                  </a:cubicBezTo>
                  <a:cubicBezTo>
                    <a:pt x="603" y="645"/>
                    <a:pt x="603" y="645"/>
                    <a:pt x="603" y="645"/>
                  </a:cubicBezTo>
                  <a:cubicBezTo>
                    <a:pt x="603" y="645"/>
                    <a:pt x="603" y="645"/>
                    <a:pt x="603" y="645"/>
                  </a:cubicBezTo>
                  <a:cubicBezTo>
                    <a:pt x="603" y="645"/>
                    <a:pt x="603" y="645"/>
                    <a:pt x="603" y="645"/>
                  </a:cubicBezTo>
                  <a:cubicBezTo>
                    <a:pt x="603" y="645"/>
                    <a:pt x="603" y="645"/>
                    <a:pt x="603" y="645"/>
                  </a:cubicBezTo>
                  <a:cubicBezTo>
                    <a:pt x="603" y="644"/>
                    <a:pt x="603" y="644"/>
                    <a:pt x="603" y="644"/>
                  </a:cubicBezTo>
                  <a:cubicBezTo>
                    <a:pt x="602" y="644"/>
                    <a:pt x="602" y="644"/>
                    <a:pt x="602" y="644"/>
                  </a:cubicBezTo>
                  <a:cubicBezTo>
                    <a:pt x="602" y="644"/>
                    <a:pt x="602" y="644"/>
                    <a:pt x="602" y="644"/>
                  </a:cubicBezTo>
                  <a:cubicBezTo>
                    <a:pt x="601" y="644"/>
                    <a:pt x="601" y="644"/>
                    <a:pt x="601" y="644"/>
                  </a:cubicBezTo>
                  <a:cubicBezTo>
                    <a:pt x="600" y="643"/>
                    <a:pt x="600" y="643"/>
                    <a:pt x="600" y="643"/>
                  </a:cubicBezTo>
                  <a:cubicBezTo>
                    <a:pt x="600" y="643"/>
                    <a:pt x="600" y="643"/>
                    <a:pt x="600" y="643"/>
                  </a:cubicBezTo>
                  <a:cubicBezTo>
                    <a:pt x="599" y="642"/>
                    <a:pt x="599" y="642"/>
                    <a:pt x="599" y="642"/>
                  </a:cubicBezTo>
                  <a:cubicBezTo>
                    <a:pt x="599" y="641"/>
                    <a:pt x="599" y="641"/>
                    <a:pt x="599" y="641"/>
                  </a:cubicBezTo>
                  <a:cubicBezTo>
                    <a:pt x="599" y="641"/>
                    <a:pt x="599" y="641"/>
                    <a:pt x="599" y="641"/>
                  </a:cubicBezTo>
                  <a:cubicBezTo>
                    <a:pt x="599" y="641"/>
                    <a:pt x="599" y="641"/>
                    <a:pt x="599" y="641"/>
                  </a:cubicBezTo>
                  <a:cubicBezTo>
                    <a:pt x="600" y="639"/>
                    <a:pt x="600" y="639"/>
                    <a:pt x="600" y="639"/>
                  </a:cubicBezTo>
                  <a:cubicBezTo>
                    <a:pt x="600" y="639"/>
                    <a:pt x="600" y="639"/>
                    <a:pt x="600" y="639"/>
                  </a:cubicBezTo>
                  <a:cubicBezTo>
                    <a:pt x="601" y="638"/>
                    <a:pt x="601" y="638"/>
                    <a:pt x="601" y="638"/>
                  </a:cubicBezTo>
                  <a:cubicBezTo>
                    <a:pt x="601" y="638"/>
                    <a:pt x="601" y="638"/>
                    <a:pt x="601" y="638"/>
                  </a:cubicBezTo>
                  <a:cubicBezTo>
                    <a:pt x="601" y="639"/>
                    <a:pt x="601" y="639"/>
                    <a:pt x="601" y="639"/>
                  </a:cubicBezTo>
                  <a:cubicBezTo>
                    <a:pt x="601" y="639"/>
                    <a:pt x="601" y="639"/>
                    <a:pt x="601" y="639"/>
                  </a:cubicBezTo>
                  <a:cubicBezTo>
                    <a:pt x="601" y="639"/>
                    <a:pt x="601" y="639"/>
                    <a:pt x="601" y="639"/>
                  </a:cubicBezTo>
                  <a:cubicBezTo>
                    <a:pt x="602" y="639"/>
                    <a:pt x="602" y="639"/>
                    <a:pt x="602" y="639"/>
                  </a:cubicBezTo>
                  <a:cubicBezTo>
                    <a:pt x="603" y="638"/>
                    <a:pt x="603" y="638"/>
                    <a:pt x="603" y="638"/>
                  </a:cubicBezTo>
                  <a:cubicBezTo>
                    <a:pt x="603" y="638"/>
                    <a:pt x="603" y="638"/>
                    <a:pt x="603" y="638"/>
                  </a:cubicBezTo>
                  <a:cubicBezTo>
                    <a:pt x="605" y="636"/>
                    <a:pt x="605" y="636"/>
                    <a:pt x="605" y="636"/>
                  </a:cubicBezTo>
                  <a:cubicBezTo>
                    <a:pt x="608" y="634"/>
                    <a:pt x="608" y="634"/>
                    <a:pt x="608" y="634"/>
                  </a:cubicBezTo>
                  <a:cubicBezTo>
                    <a:pt x="608" y="634"/>
                    <a:pt x="608" y="634"/>
                    <a:pt x="608" y="634"/>
                  </a:cubicBezTo>
                  <a:cubicBezTo>
                    <a:pt x="609" y="633"/>
                    <a:pt x="609" y="633"/>
                    <a:pt x="609" y="633"/>
                  </a:cubicBezTo>
                  <a:cubicBezTo>
                    <a:pt x="609" y="633"/>
                    <a:pt x="609" y="633"/>
                    <a:pt x="609" y="633"/>
                  </a:cubicBezTo>
                  <a:cubicBezTo>
                    <a:pt x="609" y="632"/>
                    <a:pt x="609" y="632"/>
                    <a:pt x="609" y="632"/>
                  </a:cubicBezTo>
                  <a:cubicBezTo>
                    <a:pt x="609" y="631"/>
                    <a:pt x="609" y="631"/>
                    <a:pt x="609" y="631"/>
                  </a:cubicBezTo>
                  <a:cubicBezTo>
                    <a:pt x="609" y="630"/>
                    <a:pt x="609" y="630"/>
                    <a:pt x="609" y="630"/>
                  </a:cubicBezTo>
                  <a:cubicBezTo>
                    <a:pt x="609" y="629"/>
                    <a:pt x="609" y="629"/>
                    <a:pt x="609" y="629"/>
                  </a:cubicBezTo>
                  <a:cubicBezTo>
                    <a:pt x="609" y="628"/>
                    <a:pt x="609" y="628"/>
                    <a:pt x="609" y="628"/>
                  </a:cubicBezTo>
                  <a:cubicBezTo>
                    <a:pt x="608" y="626"/>
                    <a:pt x="608" y="626"/>
                    <a:pt x="608" y="626"/>
                  </a:cubicBezTo>
                  <a:cubicBezTo>
                    <a:pt x="608" y="625"/>
                    <a:pt x="608" y="625"/>
                    <a:pt x="608" y="625"/>
                  </a:cubicBezTo>
                  <a:cubicBezTo>
                    <a:pt x="609" y="625"/>
                    <a:pt x="609" y="625"/>
                    <a:pt x="609" y="625"/>
                  </a:cubicBezTo>
                  <a:cubicBezTo>
                    <a:pt x="609" y="626"/>
                    <a:pt x="609" y="626"/>
                    <a:pt x="609" y="626"/>
                  </a:cubicBezTo>
                  <a:cubicBezTo>
                    <a:pt x="609" y="625"/>
                    <a:pt x="609" y="625"/>
                    <a:pt x="609" y="625"/>
                  </a:cubicBezTo>
                  <a:cubicBezTo>
                    <a:pt x="610" y="624"/>
                    <a:pt x="610" y="624"/>
                    <a:pt x="610" y="624"/>
                  </a:cubicBezTo>
                  <a:cubicBezTo>
                    <a:pt x="609" y="623"/>
                    <a:pt x="609" y="623"/>
                    <a:pt x="609" y="623"/>
                  </a:cubicBezTo>
                  <a:cubicBezTo>
                    <a:pt x="607" y="625"/>
                    <a:pt x="607" y="625"/>
                    <a:pt x="607" y="625"/>
                  </a:cubicBezTo>
                  <a:cubicBezTo>
                    <a:pt x="606" y="624"/>
                    <a:pt x="606" y="624"/>
                    <a:pt x="606" y="624"/>
                  </a:cubicBezTo>
                  <a:cubicBezTo>
                    <a:pt x="606" y="624"/>
                    <a:pt x="606" y="624"/>
                    <a:pt x="606" y="624"/>
                  </a:cubicBezTo>
                  <a:cubicBezTo>
                    <a:pt x="605" y="624"/>
                    <a:pt x="605" y="624"/>
                    <a:pt x="605" y="624"/>
                  </a:cubicBezTo>
                  <a:cubicBezTo>
                    <a:pt x="606" y="624"/>
                    <a:pt x="606" y="624"/>
                    <a:pt x="606" y="624"/>
                  </a:cubicBezTo>
                  <a:cubicBezTo>
                    <a:pt x="606" y="624"/>
                    <a:pt x="606" y="624"/>
                    <a:pt x="606" y="624"/>
                  </a:cubicBezTo>
                  <a:cubicBezTo>
                    <a:pt x="607" y="624"/>
                    <a:pt x="607" y="624"/>
                    <a:pt x="607" y="624"/>
                  </a:cubicBezTo>
                  <a:cubicBezTo>
                    <a:pt x="607" y="624"/>
                    <a:pt x="607" y="624"/>
                    <a:pt x="607" y="624"/>
                  </a:cubicBezTo>
                  <a:cubicBezTo>
                    <a:pt x="604" y="624"/>
                    <a:pt x="604" y="624"/>
                    <a:pt x="604" y="624"/>
                  </a:cubicBezTo>
                  <a:cubicBezTo>
                    <a:pt x="603" y="625"/>
                    <a:pt x="603" y="625"/>
                    <a:pt x="603" y="625"/>
                  </a:cubicBezTo>
                  <a:cubicBezTo>
                    <a:pt x="602" y="625"/>
                    <a:pt x="602" y="625"/>
                    <a:pt x="602" y="625"/>
                  </a:cubicBezTo>
                  <a:cubicBezTo>
                    <a:pt x="601" y="627"/>
                    <a:pt x="601" y="627"/>
                    <a:pt x="601" y="627"/>
                  </a:cubicBezTo>
                  <a:cubicBezTo>
                    <a:pt x="599" y="627"/>
                    <a:pt x="599" y="627"/>
                    <a:pt x="599" y="627"/>
                  </a:cubicBezTo>
                  <a:cubicBezTo>
                    <a:pt x="598" y="628"/>
                    <a:pt x="598" y="628"/>
                    <a:pt x="598" y="628"/>
                  </a:cubicBezTo>
                  <a:cubicBezTo>
                    <a:pt x="597" y="627"/>
                    <a:pt x="597" y="627"/>
                    <a:pt x="597" y="627"/>
                  </a:cubicBezTo>
                  <a:cubicBezTo>
                    <a:pt x="594" y="625"/>
                    <a:pt x="594" y="625"/>
                    <a:pt x="594" y="625"/>
                  </a:cubicBezTo>
                  <a:cubicBezTo>
                    <a:pt x="590" y="623"/>
                    <a:pt x="590" y="623"/>
                    <a:pt x="590" y="623"/>
                  </a:cubicBezTo>
                  <a:cubicBezTo>
                    <a:pt x="588" y="621"/>
                    <a:pt x="588" y="621"/>
                    <a:pt x="588" y="621"/>
                  </a:cubicBezTo>
                  <a:cubicBezTo>
                    <a:pt x="587" y="621"/>
                    <a:pt x="587" y="621"/>
                    <a:pt x="587" y="621"/>
                  </a:cubicBezTo>
                  <a:cubicBezTo>
                    <a:pt x="586" y="621"/>
                    <a:pt x="586" y="621"/>
                    <a:pt x="586" y="621"/>
                  </a:cubicBezTo>
                  <a:cubicBezTo>
                    <a:pt x="585" y="621"/>
                    <a:pt x="585" y="621"/>
                    <a:pt x="585" y="621"/>
                  </a:cubicBezTo>
                  <a:cubicBezTo>
                    <a:pt x="585" y="621"/>
                    <a:pt x="585" y="621"/>
                    <a:pt x="585" y="621"/>
                  </a:cubicBezTo>
                  <a:cubicBezTo>
                    <a:pt x="585" y="622"/>
                    <a:pt x="585" y="622"/>
                    <a:pt x="585" y="622"/>
                  </a:cubicBezTo>
                  <a:cubicBezTo>
                    <a:pt x="585" y="622"/>
                    <a:pt x="585" y="622"/>
                    <a:pt x="585" y="622"/>
                  </a:cubicBezTo>
                  <a:cubicBezTo>
                    <a:pt x="584" y="622"/>
                    <a:pt x="584" y="622"/>
                    <a:pt x="584" y="622"/>
                  </a:cubicBezTo>
                  <a:cubicBezTo>
                    <a:pt x="583" y="622"/>
                    <a:pt x="583" y="622"/>
                    <a:pt x="583" y="622"/>
                  </a:cubicBezTo>
                  <a:cubicBezTo>
                    <a:pt x="583" y="622"/>
                    <a:pt x="583" y="622"/>
                    <a:pt x="583" y="622"/>
                  </a:cubicBezTo>
                  <a:cubicBezTo>
                    <a:pt x="583" y="623"/>
                    <a:pt x="583" y="623"/>
                    <a:pt x="583" y="623"/>
                  </a:cubicBezTo>
                  <a:cubicBezTo>
                    <a:pt x="582" y="625"/>
                    <a:pt x="582" y="625"/>
                    <a:pt x="582" y="625"/>
                  </a:cubicBezTo>
                  <a:cubicBezTo>
                    <a:pt x="582" y="626"/>
                    <a:pt x="582" y="626"/>
                    <a:pt x="582" y="626"/>
                  </a:cubicBezTo>
                  <a:cubicBezTo>
                    <a:pt x="581" y="627"/>
                    <a:pt x="581" y="627"/>
                    <a:pt x="581" y="627"/>
                  </a:cubicBezTo>
                  <a:cubicBezTo>
                    <a:pt x="580" y="627"/>
                    <a:pt x="580" y="627"/>
                    <a:pt x="580" y="627"/>
                  </a:cubicBezTo>
                  <a:cubicBezTo>
                    <a:pt x="581" y="626"/>
                    <a:pt x="581" y="626"/>
                    <a:pt x="581" y="626"/>
                  </a:cubicBezTo>
                  <a:cubicBezTo>
                    <a:pt x="581" y="626"/>
                    <a:pt x="581" y="626"/>
                    <a:pt x="581" y="626"/>
                  </a:cubicBezTo>
                  <a:cubicBezTo>
                    <a:pt x="581" y="626"/>
                    <a:pt x="581" y="626"/>
                    <a:pt x="581" y="626"/>
                  </a:cubicBezTo>
                  <a:cubicBezTo>
                    <a:pt x="580" y="625"/>
                    <a:pt x="580" y="625"/>
                    <a:pt x="580" y="625"/>
                  </a:cubicBezTo>
                  <a:cubicBezTo>
                    <a:pt x="580" y="625"/>
                    <a:pt x="580" y="625"/>
                    <a:pt x="580" y="625"/>
                  </a:cubicBezTo>
                  <a:cubicBezTo>
                    <a:pt x="580" y="625"/>
                    <a:pt x="580" y="625"/>
                    <a:pt x="580" y="625"/>
                  </a:cubicBezTo>
                  <a:cubicBezTo>
                    <a:pt x="580" y="625"/>
                    <a:pt x="580" y="625"/>
                    <a:pt x="580" y="625"/>
                  </a:cubicBezTo>
                  <a:cubicBezTo>
                    <a:pt x="581" y="624"/>
                    <a:pt x="581" y="624"/>
                    <a:pt x="581" y="624"/>
                  </a:cubicBezTo>
                  <a:cubicBezTo>
                    <a:pt x="581" y="624"/>
                    <a:pt x="581" y="624"/>
                    <a:pt x="581" y="624"/>
                  </a:cubicBezTo>
                  <a:cubicBezTo>
                    <a:pt x="582" y="623"/>
                    <a:pt x="582" y="623"/>
                    <a:pt x="582" y="623"/>
                  </a:cubicBezTo>
                  <a:cubicBezTo>
                    <a:pt x="582" y="623"/>
                    <a:pt x="582" y="623"/>
                    <a:pt x="582" y="623"/>
                  </a:cubicBezTo>
                  <a:cubicBezTo>
                    <a:pt x="582" y="622"/>
                    <a:pt x="582" y="622"/>
                    <a:pt x="582" y="622"/>
                  </a:cubicBezTo>
                  <a:cubicBezTo>
                    <a:pt x="582" y="621"/>
                    <a:pt x="582" y="621"/>
                    <a:pt x="582" y="621"/>
                  </a:cubicBezTo>
                  <a:cubicBezTo>
                    <a:pt x="582" y="620"/>
                    <a:pt x="582" y="620"/>
                    <a:pt x="582" y="620"/>
                  </a:cubicBezTo>
                  <a:cubicBezTo>
                    <a:pt x="582" y="620"/>
                    <a:pt x="582" y="620"/>
                    <a:pt x="582" y="620"/>
                  </a:cubicBezTo>
                  <a:cubicBezTo>
                    <a:pt x="580" y="618"/>
                    <a:pt x="580" y="618"/>
                    <a:pt x="580" y="618"/>
                  </a:cubicBezTo>
                  <a:cubicBezTo>
                    <a:pt x="580" y="618"/>
                    <a:pt x="580" y="618"/>
                    <a:pt x="580" y="618"/>
                  </a:cubicBezTo>
                  <a:cubicBezTo>
                    <a:pt x="573" y="620"/>
                    <a:pt x="573" y="620"/>
                    <a:pt x="573" y="620"/>
                  </a:cubicBezTo>
                  <a:cubicBezTo>
                    <a:pt x="571" y="619"/>
                    <a:pt x="571" y="619"/>
                    <a:pt x="571" y="619"/>
                  </a:cubicBezTo>
                  <a:cubicBezTo>
                    <a:pt x="571" y="619"/>
                    <a:pt x="571" y="619"/>
                    <a:pt x="571" y="619"/>
                  </a:cubicBezTo>
                  <a:cubicBezTo>
                    <a:pt x="573" y="619"/>
                    <a:pt x="573" y="619"/>
                    <a:pt x="573" y="619"/>
                  </a:cubicBezTo>
                  <a:cubicBezTo>
                    <a:pt x="574" y="618"/>
                    <a:pt x="574" y="618"/>
                    <a:pt x="574" y="618"/>
                  </a:cubicBezTo>
                  <a:cubicBezTo>
                    <a:pt x="575" y="618"/>
                    <a:pt x="575" y="618"/>
                    <a:pt x="575" y="618"/>
                  </a:cubicBezTo>
                  <a:cubicBezTo>
                    <a:pt x="576" y="617"/>
                    <a:pt x="576" y="617"/>
                    <a:pt x="576" y="617"/>
                  </a:cubicBezTo>
                  <a:cubicBezTo>
                    <a:pt x="576" y="616"/>
                    <a:pt x="576" y="616"/>
                    <a:pt x="576" y="616"/>
                  </a:cubicBezTo>
                  <a:cubicBezTo>
                    <a:pt x="577" y="616"/>
                    <a:pt x="577" y="616"/>
                    <a:pt x="577" y="616"/>
                  </a:cubicBezTo>
                  <a:cubicBezTo>
                    <a:pt x="577" y="615"/>
                    <a:pt x="577" y="615"/>
                    <a:pt x="577" y="615"/>
                  </a:cubicBezTo>
                  <a:cubicBezTo>
                    <a:pt x="577" y="614"/>
                    <a:pt x="577" y="614"/>
                    <a:pt x="577" y="614"/>
                  </a:cubicBezTo>
                  <a:cubicBezTo>
                    <a:pt x="577" y="612"/>
                    <a:pt x="577" y="612"/>
                    <a:pt x="577" y="612"/>
                  </a:cubicBezTo>
                  <a:cubicBezTo>
                    <a:pt x="577" y="611"/>
                    <a:pt x="577" y="611"/>
                    <a:pt x="577" y="611"/>
                  </a:cubicBezTo>
                  <a:cubicBezTo>
                    <a:pt x="577" y="610"/>
                    <a:pt x="577" y="610"/>
                    <a:pt x="577" y="610"/>
                  </a:cubicBezTo>
                  <a:cubicBezTo>
                    <a:pt x="577" y="609"/>
                    <a:pt x="577" y="609"/>
                    <a:pt x="577" y="609"/>
                  </a:cubicBezTo>
                  <a:cubicBezTo>
                    <a:pt x="577" y="609"/>
                    <a:pt x="577" y="609"/>
                    <a:pt x="577" y="609"/>
                  </a:cubicBezTo>
                  <a:cubicBezTo>
                    <a:pt x="577" y="609"/>
                    <a:pt x="577" y="609"/>
                    <a:pt x="577" y="609"/>
                  </a:cubicBezTo>
                  <a:cubicBezTo>
                    <a:pt x="576" y="609"/>
                    <a:pt x="576" y="609"/>
                    <a:pt x="576" y="609"/>
                  </a:cubicBezTo>
                  <a:cubicBezTo>
                    <a:pt x="576" y="609"/>
                    <a:pt x="576" y="609"/>
                    <a:pt x="576" y="609"/>
                  </a:cubicBezTo>
                  <a:cubicBezTo>
                    <a:pt x="575" y="609"/>
                    <a:pt x="575" y="609"/>
                    <a:pt x="575" y="609"/>
                  </a:cubicBezTo>
                  <a:cubicBezTo>
                    <a:pt x="574" y="609"/>
                    <a:pt x="574" y="609"/>
                    <a:pt x="574" y="609"/>
                  </a:cubicBezTo>
                  <a:cubicBezTo>
                    <a:pt x="574" y="609"/>
                    <a:pt x="574" y="609"/>
                    <a:pt x="574" y="609"/>
                  </a:cubicBezTo>
                  <a:cubicBezTo>
                    <a:pt x="574" y="609"/>
                    <a:pt x="574" y="609"/>
                    <a:pt x="574" y="609"/>
                  </a:cubicBezTo>
                  <a:cubicBezTo>
                    <a:pt x="574" y="608"/>
                    <a:pt x="574" y="608"/>
                    <a:pt x="574" y="608"/>
                  </a:cubicBezTo>
                  <a:cubicBezTo>
                    <a:pt x="574" y="608"/>
                    <a:pt x="574" y="608"/>
                    <a:pt x="574" y="608"/>
                  </a:cubicBezTo>
                  <a:cubicBezTo>
                    <a:pt x="574" y="608"/>
                    <a:pt x="574" y="608"/>
                    <a:pt x="574" y="608"/>
                  </a:cubicBezTo>
                  <a:cubicBezTo>
                    <a:pt x="575" y="608"/>
                    <a:pt x="575" y="608"/>
                    <a:pt x="575" y="608"/>
                  </a:cubicBezTo>
                  <a:cubicBezTo>
                    <a:pt x="575" y="608"/>
                    <a:pt x="575" y="608"/>
                    <a:pt x="575" y="608"/>
                  </a:cubicBezTo>
                  <a:cubicBezTo>
                    <a:pt x="576" y="608"/>
                    <a:pt x="576" y="608"/>
                    <a:pt x="576" y="608"/>
                  </a:cubicBezTo>
                  <a:cubicBezTo>
                    <a:pt x="576" y="608"/>
                    <a:pt x="576" y="608"/>
                    <a:pt x="576" y="608"/>
                  </a:cubicBezTo>
                  <a:cubicBezTo>
                    <a:pt x="576" y="608"/>
                    <a:pt x="576" y="608"/>
                    <a:pt x="576" y="608"/>
                  </a:cubicBezTo>
                  <a:cubicBezTo>
                    <a:pt x="577" y="608"/>
                    <a:pt x="577" y="608"/>
                    <a:pt x="577" y="608"/>
                  </a:cubicBezTo>
                  <a:cubicBezTo>
                    <a:pt x="576" y="607"/>
                    <a:pt x="576" y="607"/>
                    <a:pt x="576" y="607"/>
                  </a:cubicBezTo>
                  <a:cubicBezTo>
                    <a:pt x="576" y="607"/>
                    <a:pt x="576" y="607"/>
                    <a:pt x="576" y="607"/>
                  </a:cubicBezTo>
                  <a:cubicBezTo>
                    <a:pt x="576" y="606"/>
                    <a:pt x="576" y="606"/>
                    <a:pt x="576" y="606"/>
                  </a:cubicBezTo>
                  <a:cubicBezTo>
                    <a:pt x="575" y="605"/>
                    <a:pt x="575" y="605"/>
                    <a:pt x="575" y="605"/>
                  </a:cubicBezTo>
                  <a:cubicBezTo>
                    <a:pt x="575" y="604"/>
                    <a:pt x="575" y="604"/>
                    <a:pt x="575" y="604"/>
                  </a:cubicBezTo>
                  <a:cubicBezTo>
                    <a:pt x="574" y="603"/>
                    <a:pt x="574" y="603"/>
                    <a:pt x="574" y="603"/>
                  </a:cubicBezTo>
                  <a:cubicBezTo>
                    <a:pt x="573" y="603"/>
                    <a:pt x="573" y="603"/>
                    <a:pt x="573" y="603"/>
                  </a:cubicBezTo>
                  <a:cubicBezTo>
                    <a:pt x="573" y="604"/>
                    <a:pt x="573" y="604"/>
                    <a:pt x="573" y="604"/>
                  </a:cubicBezTo>
                  <a:cubicBezTo>
                    <a:pt x="572" y="605"/>
                    <a:pt x="572" y="605"/>
                    <a:pt x="572" y="605"/>
                  </a:cubicBezTo>
                  <a:cubicBezTo>
                    <a:pt x="571" y="605"/>
                    <a:pt x="571" y="605"/>
                    <a:pt x="571" y="605"/>
                  </a:cubicBezTo>
                  <a:cubicBezTo>
                    <a:pt x="570" y="604"/>
                    <a:pt x="570" y="604"/>
                    <a:pt x="570" y="604"/>
                  </a:cubicBezTo>
                  <a:cubicBezTo>
                    <a:pt x="570" y="603"/>
                    <a:pt x="570" y="603"/>
                    <a:pt x="570" y="603"/>
                  </a:cubicBezTo>
                  <a:cubicBezTo>
                    <a:pt x="569" y="603"/>
                    <a:pt x="569" y="603"/>
                    <a:pt x="569" y="603"/>
                  </a:cubicBezTo>
                  <a:cubicBezTo>
                    <a:pt x="569" y="603"/>
                    <a:pt x="569" y="603"/>
                    <a:pt x="569" y="603"/>
                  </a:cubicBezTo>
                  <a:cubicBezTo>
                    <a:pt x="568" y="602"/>
                    <a:pt x="568" y="602"/>
                    <a:pt x="568" y="602"/>
                  </a:cubicBezTo>
                  <a:cubicBezTo>
                    <a:pt x="567" y="602"/>
                    <a:pt x="567" y="602"/>
                    <a:pt x="567" y="602"/>
                  </a:cubicBezTo>
                  <a:cubicBezTo>
                    <a:pt x="565" y="602"/>
                    <a:pt x="565" y="602"/>
                    <a:pt x="565" y="602"/>
                  </a:cubicBezTo>
                  <a:cubicBezTo>
                    <a:pt x="564" y="601"/>
                    <a:pt x="564" y="601"/>
                    <a:pt x="564" y="601"/>
                  </a:cubicBezTo>
                  <a:cubicBezTo>
                    <a:pt x="563" y="599"/>
                    <a:pt x="563" y="599"/>
                    <a:pt x="563" y="599"/>
                  </a:cubicBezTo>
                  <a:cubicBezTo>
                    <a:pt x="563" y="599"/>
                    <a:pt x="563" y="599"/>
                    <a:pt x="563" y="599"/>
                  </a:cubicBezTo>
                  <a:cubicBezTo>
                    <a:pt x="563" y="600"/>
                    <a:pt x="563" y="600"/>
                    <a:pt x="563" y="600"/>
                  </a:cubicBezTo>
                  <a:cubicBezTo>
                    <a:pt x="562" y="600"/>
                    <a:pt x="562" y="600"/>
                    <a:pt x="562" y="600"/>
                  </a:cubicBezTo>
                  <a:cubicBezTo>
                    <a:pt x="561" y="601"/>
                    <a:pt x="561" y="601"/>
                    <a:pt x="561" y="601"/>
                  </a:cubicBezTo>
                  <a:cubicBezTo>
                    <a:pt x="560" y="602"/>
                    <a:pt x="560" y="602"/>
                    <a:pt x="560" y="602"/>
                  </a:cubicBezTo>
                  <a:cubicBezTo>
                    <a:pt x="559" y="602"/>
                    <a:pt x="559" y="602"/>
                    <a:pt x="559" y="602"/>
                  </a:cubicBezTo>
                  <a:cubicBezTo>
                    <a:pt x="559" y="602"/>
                    <a:pt x="559" y="602"/>
                    <a:pt x="559" y="602"/>
                  </a:cubicBezTo>
                  <a:cubicBezTo>
                    <a:pt x="558" y="602"/>
                    <a:pt x="558" y="602"/>
                    <a:pt x="558" y="602"/>
                  </a:cubicBezTo>
                  <a:cubicBezTo>
                    <a:pt x="558" y="602"/>
                    <a:pt x="558" y="602"/>
                    <a:pt x="558" y="602"/>
                  </a:cubicBezTo>
                  <a:cubicBezTo>
                    <a:pt x="557" y="602"/>
                    <a:pt x="557" y="602"/>
                    <a:pt x="557" y="602"/>
                  </a:cubicBezTo>
                  <a:cubicBezTo>
                    <a:pt x="557" y="602"/>
                    <a:pt x="557" y="602"/>
                    <a:pt x="557" y="602"/>
                  </a:cubicBezTo>
                  <a:cubicBezTo>
                    <a:pt x="556" y="602"/>
                    <a:pt x="556" y="602"/>
                    <a:pt x="556" y="602"/>
                  </a:cubicBezTo>
                  <a:cubicBezTo>
                    <a:pt x="556" y="602"/>
                    <a:pt x="556" y="602"/>
                    <a:pt x="556" y="602"/>
                  </a:cubicBezTo>
                  <a:cubicBezTo>
                    <a:pt x="556" y="602"/>
                    <a:pt x="556" y="602"/>
                    <a:pt x="556" y="602"/>
                  </a:cubicBezTo>
                  <a:cubicBezTo>
                    <a:pt x="553" y="602"/>
                    <a:pt x="553" y="602"/>
                    <a:pt x="553" y="602"/>
                  </a:cubicBezTo>
                  <a:cubicBezTo>
                    <a:pt x="553" y="602"/>
                    <a:pt x="553" y="602"/>
                    <a:pt x="553" y="602"/>
                  </a:cubicBezTo>
                  <a:cubicBezTo>
                    <a:pt x="553" y="602"/>
                    <a:pt x="553" y="602"/>
                    <a:pt x="553" y="602"/>
                  </a:cubicBezTo>
                  <a:cubicBezTo>
                    <a:pt x="552" y="601"/>
                    <a:pt x="552" y="601"/>
                    <a:pt x="552" y="601"/>
                  </a:cubicBezTo>
                  <a:cubicBezTo>
                    <a:pt x="552" y="601"/>
                    <a:pt x="552" y="601"/>
                    <a:pt x="552" y="601"/>
                  </a:cubicBezTo>
                  <a:cubicBezTo>
                    <a:pt x="552" y="601"/>
                    <a:pt x="552" y="601"/>
                    <a:pt x="552" y="601"/>
                  </a:cubicBezTo>
                  <a:cubicBezTo>
                    <a:pt x="553" y="602"/>
                    <a:pt x="553" y="602"/>
                    <a:pt x="553" y="602"/>
                  </a:cubicBezTo>
                  <a:cubicBezTo>
                    <a:pt x="553" y="602"/>
                    <a:pt x="553" y="602"/>
                    <a:pt x="553" y="602"/>
                  </a:cubicBezTo>
                  <a:cubicBezTo>
                    <a:pt x="556" y="602"/>
                    <a:pt x="556" y="602"/>
                    <a:pt x="556" y="602"/>
                  </a:cubicBezTo>
                  <a:cubicBezTo>
                    <a:pt x="556" y="602"/>
                    <a:pt x="556" y="602"/>
                    <a:pt x="556" y="602"/>
                  </a:cubicBezTo>
                  <a:cubicBezTo>
                    <a:pt x="556" y="601"/>
                    <a:pt x="556" y="601"/>
                    <a:pt x="556" y="601"/>
                  </a:cubicBezTo>
                  <a:cubicBezTo>
                    <a:pt x="557" y="601"/>
                    <a:pt x="557" y="601"/>
                    <a:pt x="557" y="601"/>
                  </a:cubicBezTo>
                  <a:cubicBezTo>
                    <a:pt x="557" y="601"/>
                    <a:pt x="557" y="601"/>
                    <a:pt x="557" y="601"/>
                  </a:cubicBezTo>
                  <a:cubicBezTo>
                    <a:pt x="557" y="601"/>
                    <a:pt x="557" y="601"/>
                    <a:pt x="557" y="601"/>
                  </a:cubicBezTo>
                  <a:cubicBezTo>
                    <a:pt x="558" y="601"/>
                    <a:pt x="558" y="601"/>
                    <a:pt x="558" y="601"/>
                  </a:cubicBezTo>
                  <a:cubicBezTo>
                    <a:pt x="559" y="602"/>
                    <a:pt x="559" y="602"/>
                    <a:pt x="559" y="602"/>
                  </a:cubicBezTo>
                  <a:cubicBezTo>
                    <a:pt x="559" y="601"/>
                    <a:pt x="559" y="601"/>
                    <a:pt x="559" y="601"/>
                  </a:cubicBezTo>
                  <a:cubicBezTo>
                    <a:pt x="559" y="601"/>
                    <a:pt x="559" y="601"/>
                    <a:pt x="559" y="601"/>
                  </a:cubicBezTo>
                  <a:cubicBezTo>
                    <a:pt x="559" y="600"/>
                    <a:pt x="559" y="600"/>
                    <a:pt x="559" y="600"/>
                  </a:cubicBezTo>
                  <a:cubicBezTo>
                    <a:pt x="560" y="599"/>
                    <a:pt x="560" y="599"/>
                    <a:pt x="560" y="599"/>
                  </a:cubicBezTo>
                  <a:cubicBezTo>
                    <a:pt x="561" y="599"/>
                    <a:pt x="561" y="599"/>
                    <a:pt x="561" y="599"/>
                  </a:cubicBezTo>
                  <a:cubicBezTo>
                    <a:pt x="561" y="598"/>
                    <a:pt x="561" y="598"/>
                    <a:pt x="561" y="598"/>
                  </a:cubicBezTo>
                  <a:cubicBezTo>
                    <a:pt x="562" y="598"/>
                    <a:pt x="562" y="598"/>
                    <a:pt x="562" y="598"/>
                  </a:cubicBezTo>
                  <a:cubicBezTo>
                    <a:pt x="562" y="598"/>
                    <a:pt x="562" y="598"/>
                    <a:pt x="562" y="598"/>
                  </a:cubicBezTo>
                  <a:cubicBezTo>
                    <a:pt x="562" y="598"/>
                    <a:pt x="562" y="598"/>
                    <a:pt x="562" y="598"/>
                  </a:cubicBezTo>
                  <a:cubicBezTo>
                    <a:pt x="562" y="598"/>
                    <a:pt x="562" y="598"/>
                    <a:pt x="562" y="598"/>
                  </a:cubicBezTo>
                  <a:cubicBezTo>
                    <a:pt x="563" y="597"/>
                    <a:pt x="563" y="597"/>
                    <a:pt x="563" y="597"/>
                  </a:cubicBezTo>
                  <a:cubicBezTo>
                    <a:pt x="563" y="597"/>
                    <a:pt x="563" y="597"/>
                    <a:pt x="563" y="597"/>
                  </a:cubicBezTo>
                  <a:cubicBezTo>
                    <a:pt x="563" y="596"/>
                    <a:pt x="563" y="596"/>
                    <a:pt x="563" y="596"/>
                  </a:cubicBezTo>
                  <a:cubicBezTo>
                    <a:pt x="563" y="595"/>
                    <a:pt x="563" y="595"/>
                    <a:pt x="563" y="595"/>
                  </a:cubicBezTo>
                  <a:cubicBezTo>
                    <a:pt x="564" y="595"/>
                    <a:pt x="564" y="595"/>
                    <a:pt x="564" y="595"/>
                  </a:cubicBezTo>
                  <a:cubicBezTo>
                    <a:pt x="565" y="595"/>
                    <a:pt x="565" y="595"/>
                    <a:pt x="565" y="595"/>
                  </a:cubicBezTo>
                  <a:cubicBezTo>
                    <a:pt x="565" y="596"/>
                    <a:pt x="565" y="596"/>
                    <a:pt x="565" y="596"/>
                  </a:cubicBezTo>
                  <a:cubicBezTo>
                    <a:pt x="564" y="596"/>
                    <a:pt x="564" y="596"/>
                    <a:pt x="564" y="596"/>
                  </a:cubicBezTo>
                  <a:cubicBezTo>
                    <a:pt x="564" y="596"/>
                    <a:pt x="564" y="596"/>
                    <a:pt x="564" y="596"/>
                  </a:cubicBezTo>
                  <a:cubicBezTo>
                    <a:pt x="564" y="597"/>
                    <a:pt x="564" y="597"/>
                    <a:pt x="564" y="597"/>
                  </a:cubicBezTo>
                  <a:cubicBezTo>
                    <a:pt x="565" y="598"/>
                    <a:pt x="565" y="598"/>
                    <a:pt x="565" y="598"/>
                  </a:cubicBezTo>
                  <a:cubicBezTo>
                    <a:pt x="565" y="598"/>
                    <a:pt x="565" y="598"/>
                    <a:pt x="565" y="598"/>
                  </a:cubicBezTo>
                  <a:cubicBezTo>
                    <a:pt x="565" y="598"/>
                    <a:pt x="565" y="598"/>
                    <a:pt x="565" y="598"/>
                  </a:cubicBezTo>
                  <a:cubicBezTo>
                    <a:pt x="565" y="599"/>
                    <a:pt x="565" y="599"/>
                    <a:pt x="565" y="599"/>
                  </a:cubicBezTo>
                  <a:cubicBezTo>
                    <a:pt x="565" y="599"/>
                    <a:pt x="565" y="599"/>
                    <a:pt x="565" y="599"/>
                  </a:cubicBezTo>
                  <a:cubicBezTo>
                    <a:pt x="566" y="599"/>
                    <a:pt x="566" y="599"/>
                    <a:pt x="566" y="599"/>
                  </a:cubicBezTo>
                  <a:cubicBezTo>
                    <a:pt x="567" y="599"/>
                    <a:pt x="567" y="599"/>
                    <a:pt x="567" y="599"/>
                  </a:cubicBezTo>
                  <a:cubicBezTo>
                    <a:pt x="567" y="599"/>
                    <a:pt x="567" y="599"/>
                    <a:pt x="567" y="599"/>
                  </a:cubicBezTo>
                  <a:cubicBezTo>
                    <a:pt x="567" y="600"/>
                    <a:pt x="567" y="600"/>
                    <a:pt x="567" y="600"/>
                  </a:cubicBezTo>
                  <a:cubicBezTo>
                    <a:pt x="568" y="600"/>
                    <a:pt x="568" y="600"/>
                    <a:pt x="568" y="600"/>
                  </a:cubicBezTo>
                  <a:cubicBezTo>
                    <a:pt x="568" y="600"/>
                    <a:pt x="568" y="600"/>
                    <a:pt x="568" y="600"/>
                  </a:cubicBezTo>
                  <a:cubicBezTo>
                    <a:pt x="568" y="599"/>
                    <a:pt x="568" y="599"/>
                    <a:pt x="568" y="599"/>
                  </a:cubicBezTo>
                  <a:cubicBezTo>
                    <a:pt x="568" y="599"/>
                    <a:pt x="568" y="599"/>
                    <a:pt x="568" y="599"/>
                  </a:cubicBezTo>
                  <a:cubicBezTo>
                    <a:pt x="568" y="598"/>
                    <a:pt x="568" y="598"/>
                    <a:pt x="568" y="598"/>
                  </a:cubicBezTo>
                  <a:cubicBezTo>
                    <a:pt x="568" y="598"/>
                    <a:pt x="568" y="598"/>
                    <a:pt x="568" y="598"/>
                  </a:cubicBezTo>
                  <a:cubicBezTo>
                    <a:pt x="568" y="598"/>
                    <a:pt x="568" y="598"/>
                    <a:pt x="568" y="598"/>
                  </a:cubicBezTo>
                  <a:cubicBezTo>
                    <a:pt x="567" y="597"/>
                    <a:pt x="567" y="597"/>
                    <a:pt x="567" y="597"/>
                  </a:cubicBezTo>
                  <a:cubicBezTo>
                    <a:pt x="567" y="597"/>
                    <a:pt x="567" y="597"/>
                    <a:pt x="567" y="597"/>
                  </a:cubicBezTo>
                  <a:cubicBezTo>
                    <a:pt x="567" y="597"/>
                    <a:pt x="567" y="597"/>
                    <a:pt x="567" y="597"/>
                  </a:cubicBezTo>
                  <a:cubicBezTo>
                    <a:pt x="568" y="597"/>
                    <a:pt x="568" y="597"/>
                    <a:pt x="568" y="597"/>
                  </a:cubicBezTo>
                  <a:cubicBezTo>
                    <a:pt x="568" y="597"/>
                    <a:pt x="568" y="597"/>
                    <a:pt x="568" y="597"/>
                  </a:cubicBezTo>
                  <a:cubicBezTo>
                    <a:pt x="569" y="597"/>
                    <a:pt x="569" y="597"/>
                    <a:pt x="569" y="597"/>
                  </a:cubicBezTo>
                  <a:cubicBezTo>
                    <a:pt x="569" y="597"/>
                    <a:pt x="569" y="597"/>
                    <a:pt x="569" y="597"/>
                  </a:cubicBezTo>
                  <a:cubicBezTo>
                    <a:pt x="569" y="597"/>
                    <a:pt x="569" y="597"/>
                    <a:pt x="569" y="597"/>
                  </a:cubicBezTo>
                  <a:cubicBezTo>
                    <a:pt x="569" y="596"/>
                    <a:pt x="569" y="596"/>
                    <a:pt x="569" y="596"/>
                  </a:cubicBezTo>
                  <a:cubicBezTo>
                    <a:pt x="568" y="593"/>
                    <a:pt x="568" y="593"/>
                    <a:pt x="568" y="593"/>
                  </a:cubicBezTo>
                  <a:cubicBezTo>
                    <a:pt x="568" y="592"/>
                    <a:pt x="568" y="592"/>
                    <a:pt x="568" y="592"/>
                  </a:cubicBezTo>
                  <a:cubicBezTo>
                    <a:pt x="567" y="591"/>
                    <a:pt x="567" y="591"/>
                    <a:pt x="567" y="591"/>
                  </a:cubicBezTo>
                  <a:cubicBezTo>
                    <a:pt x="566" y="591"/>
                    <a:pt x="566" y="591"/>
                    <a:pt x="566" y="591"/>
                  </a:cubicBezTo>
                  <a:cubicBezTo>
                    <a:pt x="565" y="590"/>
                    <a:pt x="565" y="590"/>
                    <a:pt x="565" y="590"/>
                  </a:cubicBezTo>
                  <a:cubicBezTo>
                    <a:pt x="564" y="589"/>
                    <a:pt x="564" y="589"/>
                    <a:pt x="564" y="589"/>
                  </a:cubicBezTo>
                  <a:cubicBezTo>
                    <a:pt x="563" y="589"/>
                    <a:pt x="563" y="589"/>
                    <a:pt x="563" y="589"/>
                  </a:cubicBezTo>
                  <a:cubicBezTo>
                    <a:pt x="563" y="589"/>
                    <a:pt x="563" y="589"/>
                    <a:pt x="563" y="589"/>
                  </a:cubicBezTo>
                  <a:cubicBezTo>
                    <a:pt x="563" y="589"/>
                    <a:pt x="563" y="589"/>
                    <a:pt x="563" y="589"/>
                  </a:cubicBezTo>
                  <a:cubicBezTo>
                    <a:pt x="562" y="589"/>
                    <a:pt x="562" y="589"/>
                    <a:pt x="562" y="589"/>
                  </a:cubicBezTo>
                  <a:cubicBezTo>
                    <a:pt x="562" y="590"/>
                    <a:pt x="562" y="590"/>
                    <a:pt x="562" y="590"/>
                  </a:cubicBezTo>
                  <a:cubicBezTo>
                    <a:pt x="562" y="590"/>
                    <a:pt x="562" y="590"/>
                    <a:pt x="562" y="590"/>
                  </a:cubicBezTo>
                  <a:cubicBezTo>
                    <a:pt x="561" y="590"/>
                    <a:pt x="561" y="590"/>
                    <a:pt x="561" y="590"/>
                  </a:cubicBezTo>
                  <a:cubicBezTo>
                    <a:pt x="560" y="590"/>
                    <a:pt x="560" y="590"/>
                    <a:pt x="560" y="590"/>
                  </a:cubicBezTo>
                  <a:cubicBezTo>
                    <a:pt x="559" y="590"/>
                    <a:pt x="559" y="590"/>
                    <a:pt x="559" y="590"/>
                  </a:cubicBezTo>
                  <a:cubicBezTo>
                    <a:pt x="559" y="590"/>
                    <a:pt x="559" y="590"/>
                    <a:pt x="559" y="590"/>
                  </a:cubicBezTo>
                  <a:cubicBezTo>
                    <a:pt x="559" y="589"/>
                    <a:pt x="559" y="589"/>
                    <a:pt x="559" y="589"/>
                  </a:cubicBezTo>
                  <a:cubicBezTo>
                    <a:pt x="561" y="589"/>
                    <a:pt x="561" y="589"/>
                    <a:pt x="561" y="589"/>
                  </a:cubicBezTo>
                  <a:cubicBezTo>
                    <a:pt x="561" y="589"/>
                    <a:pt x="561" y="589"/>
                    <a:pt x="561" y="589"/>
                  </a:cubicBezTo>
                  <a:cubicBezTo>
                    <a:pt x="562" y="588"/>
                    <a:pt x="562" y="588"/>
                    <a:pt x="562" y="588"/>
                  </a:cubicBezTo>
                  <a:cubicBezTo>
                    <a:pt x="563" y="587"/>
                    <a:pt x="563" y="587"/>
                    <a:pt x="563" y="587"/>
                  </a:cubicBezTo>
                  <a:cubicBezTo>
                    <a:pt x="562" y="586"/>
                    <a:pt x="562" y="586"/>
                    <a:pt x="562" y="586"/>
                  </a:cubicBezTo>
                  <a:cubicBezTo>
                    <a:pt x="562" y="585"/>
                    <a:pt x="562" y="585"/>
                    <a:pt x="562" y="585"/>
                  </a:cubicBezTo>
                  <a:cubicBezTo>
                    <a:pt x="561" y="585"/>
                    <a:pt x="561" y="585"/>
                    <a:pt x="561" y="585"/>
                  </a:cubicBezTo>
                  <a:cubicBezTo>
                    <a:pt x="560" y="585"/>
                    <a:pt x="560" y="585"/>
                    <a:pt x="560" y="585"/>
                  </a:cubicBezTo>
                  <a:cubicBezTo>
                    <a:pt x="560" y="585"/>
                    <a:pt x="560" y="585"/>
                    <a:pt x="560" y="585"/>
                  </a:cubicBezTo>
                  <a:cubicBezTo>
                    <a:pt x="560" y="585"/>
                    <a:pt x="560" y="585"/>
                    <a:pt x="560" y="585"/>
                  </a:cubicBezTo>
                  <a:cubicBezTo>
                    <a:pt x="560" y="585"/>
                    <a:pt x="560" y="585"/>
                    <a:pt x="560" y="585"/>
                  </a:cubicBezTo>
                  <a:cubicBezTo>
                    <a:pt x="560" y="585"/>
                    <a:pt x="560" y="585"/>
                    <a:pt x="560" y="585"/>
                  </a:cubicBezTo>
                  <a:cubicBezTo>
                    <a:pt x="561" y="585"/>
                    <a:pt x="561" y="585"/>
                    <a:pt x="561" y="585"/>
                  </a:cubicBezTo>
                  <a:cubicBezTo>
                    <a:pt x="561" y="584"/>
                    <a:pt x="561" y="584"/>
                    <a:pt x="561" y="584"/>
                  </a:cubicBezTo>
                  <a:cubicBezTo>
                    <a:pt x="561" y="584"/>
                    <a:pt x="561" y="584"/>
                    <a:pt x="561" y="584"/>
                  </a:cubicBezTo>
                  <a:cubicBezTo>
                    <a:pt x="561" y="584"/>
                    <a:pt x="561" y="584"/>
                    <a:pt x="561" y="584"/>
                  </a:cubicBezTo>
                  <a:cubicBezTo>
                    <a:pt x="561" y="583"/>
                    <a:pt x="561" y="583"/>
                    <a:pt x="561" y="583"/>
                  </a:cubicBezTo>
                  <a:cubicBezTo>
                    <a:pt x="561" y="583"/>
                    <a:pt x="561" y="583"/>
                    <a:pt x="561" y="583"/>
                  </a:cubicBezTo>
                  <a:cubicBezTo>
                    <a:pt x="561" y="583"/>
                    <a:pt x="561" y="583"/>
                    <a:pt x="561" y="583"/>
                  </a:cubicBezTo>
                  <a:cubicBezTo>
                    <a:pt x="562" y="583"/>
                    <a:pt x="562" y="583"/>
                    <a:pt x="562" y="583"/>
                  </a:cubicBezTo>
                  <a:cubicBezTo>
                    <a:pt x="562" y="582"/>
                    <a:pt x="562" y="582"/>
                    <a:pt x="562" y="582"/>
                  </a:cubicBezTo>
                  <a:cubicBezTo>
                    <a:pt x="562" y="582"/>
                    <a:pt x="562" y="582"/>
                    <a:pt x="562" y="582"/>
                  </a:cubicBezTo>
                  <a:cubicBezTo>
                    <a:pt x="563" y="582"/>
                    <a:pt x="563" y="582"/>
                    <a:pt x="563" y="582"/>
                  </a:cubicBezTo>
                  <a:cubicBezTo>
                    <a:pt x="563" y="582"/>
                    <a:pt x="563" y="582"/>
                    <a:pt x="563" y="582"/>
                  </a:cubicBezTo>
                  <a:cubicBezTo>
                    <a:pt x="563" y="582"/>
                    <a:pt x="563" y="582"/>
                    <a:pt x="563" y="582"/>
                  </a:cubicBezTo>
                  <a:cubicBezTo>
                    <a:pt x="565" y="582"/>
                    <a:pt x="565" y="582"/>
                    <a:pt x="565" y="582"/>
                  </a:cubicBezTo>
                  <a:cubicBezTo>
                    <a:pt x="566" y="582"/>
                    <a:pt x="566" y="582"/>
                    <a:pt x="566" y="582"/>
                  </a:cubicBezTo>
                  <a:cubicBezTo>
                    <a:pt x="566" y="582"/>
                    <a:pt x="566" y="582"/>
                    <a:pt x="566" y="582"/>
                  </a:cubicBezTo>
                  <a:cubicBezTo>
                    <a:pt x="566" y="581"/>
                    <a:pt x="566" y="581"/>
                    <a:pt x="566" y="581"/>
                  </a:cubicBezTo>
                  <a:cubicBezTo>
                    <a:pt x="567" y="581"/>
                    <a:pt x="567" y="581"/>
                    <a:pt x="567" y="581"/>
                  </a:cubicBezTo>
                  <a:cubicBezTo>
                    <a:pt x="567" y="580"/>
                    <a:pt x="567" y="580"/>
                    <a:pt x="567" y="580"/>
                  </a:cubicBezTo>
                  <a:cubicBezTo>
                    <a:pt x="567" y="580"/>
                    <a:pt x="567" y="580"/>
                    <a:pt x="567" y="580"/>
                  </a:cubicBezTo>
                  <a:cubicBezTo>
                    <a:pt x="567" y="579"/>
                    <a:pt x="567" y="579"/>
                    <a:pt x="567" y="579"/>
                  </a:cubicBezTo>
                  <a:cubicBezTo>
                    <a:pt x="567" y="579"/>
                    <a:pt x="567" y="579"/>
                    <a:pt x="567" y="579"/>
                  </a:cubicBezTo>
                  <a:cubicBezTo>
                    <a:pt x="567" y="578"/>
                    <a:pt x="567" y="578"/>
                    <a:pt x="567" y="578"/>
                  </a:cubicBezTo>
                  <a:cubicBezTo>
                    <a:pt x="567" y="577"/>
                    <a:pt x="567" y="577"/>
                    <a:pt x="567" y="577"/>
                  </a:cubicBezTo>
                  <a:cubicBezTo>
                    <a:pt x="566" y="577"/>
                    <a:pt x="566" y="577"/>
                    <a:pt x="566" y="577"/>
                  </a:cubicBezTo>
                  <a:cubicBezTo>
                    <a:pt x="565" y="575"/>
                    <a:pt x="565" y="575"/>
                    <a:pt x="565" y="575"/>
                  </a:cubicBezTo>
                  <a:cubicBezTo>
                    <a:pt x="565" y="575"/>
                    <a:pt x="565" y="575"/>
                    <a:pt x="565" y="575"/>
                  </a:cubicBezTo>
                  <a:cubicBezTo>
                    <a:pt x="565" y="575"/>
                    <a:pt x="565" y="575"/>
                    <a:pt x="565" y="575"/>
                  </a:cubicBezTo>
                  <a:cubicBezTo>
                    <a:pt x="565" y="574"/>
                    <a:pt x="565" y="574"/>
                    <a:pt x="565" y="574"/>
                  </a:cubicBezTo>
                  <a:cubicBezTo>
                    <a:pt x="565" y="574"/>
                    <a:pt x="565" y="574"/>
                    <a:pt x="565" y="574"/>
                  </a:cubicBezTo>
                  <a:cubicBezTo>
                    <a:pt x="565" y="573"/>
                    <a:pt x="565" y="573"/>
                    <a:pt x="565" y="573"/>
                  </a:cubicBezTo>
                  <a:cubicBezTo>
                    <a:pt x="565" y="573"/>
                    <a:pt x="565" y="573"/>
                    <a:pt x="565" y="573"/>
                  </a:cubicBezTo>
                  <a:cubicBezTo>
                    <a:pt x="564" y="573"/>
                    <a:pt x="564" y="573"/>
                    <a:pt x="564" y="573"/>
                  </a:cubicBezTo>
                  <a:cubicBezTo>
                    <a:pt x="564" y="572"/>
                    <a:pt x="564" y="572"/>
                    <a:pt x="564" y="572"/>
                  </a:cubicBezTo>
                  <a:cubicBezTo>
                    <a:pt x="564" y="572"/>
                    <a:pt x="564" y="572"/>
                    <a:pt x="564" y="572"/>
                  </a:cubicBezTo>
                  <a:cubicBezTo>
                    <a:pt x="564" y="571"/>
                    <a:pt x="564" y="571"/>
                    <a:pt x="564" y="571"/>
                  </a:cubicBezTo>
                  <a:cubicBezTo>
                    <a:pt x="564" y="571"/>
                    <a:pt x="564" y="571"/>
                    <a:pt x="564" y="571"/>
                  </a:cubicBezTo>
                  <a:cubicBezTo>
                    <a:pt x="564" y="570"/>
                    <a:pt x="564" y="570"/>
                    <a:pt x="564" y="570"/>
                  </a:cubicBezTo>
                  <a:cubicBezTo>
                    <a:pt x="563" y="569"/>
                    <a:pt x="563" y="569"/>
                    <a:pt x="563" y="569"/>
                  </a:cubicBezTo>
                  <a:cubicBezTo>
                    <a:pt x="564" y="569"/>
                    <a:pt x="564" y="569"/>
                    <a:pt x="564" y="569"/>
                  </a:cubicBezTo>
                  <a:cubicBezTo>
                    <a:pt x="565" y="569"/>
                    <a:pt x="565" y="569"/>
                    <a:pt x="565" y="569"/>
                  </a:cubicBezTo>
                  <a:cubicBezTo>
                    <a:pt x="565" y="569"/>
                    <a:pt x="565" y="569"/>
                    <a:pt x="565" y="569"/>
                  </a:cubicBezTo>
                  <a:cubicBezTo>
                    <a:pt x="566" y="568"/>
                    <a:pt x="566" y="568"/>
                    <a:pt x="566" y="568"/>
                  </a:cubicBezTo>
                  <a:cubicBezTo>
                    <a:pt x="566" y="567"/>
                    <a:pt x="566" y="567"/>
                    <a:pt x="566" y="567"/>
                  </a:cubicBezTo>
                  <a:cubicBezTo>
                    <a:pt x="566" y="567"/>
                    <a:pt x="566" y="567"/>
                    <a:pt x="566" y="567"/>
                  </a:cubicBezTo>
                  <a:cubicBezTo>
                    <a:pt x="564" y="566"/>
                    <a:pt x="564" y="566"/>
                    <a:pt x="564" y="566"/>
                  </a:cubicBezTo>
                  <a:cubicBezTo>
                    <a:pt x="564" y="566"/>
                    <a:pt x="564" y="566"/>
                    <a:pt x="564" y="566"/>
                  </a:cubicBezTo>
                  <a:cubicBezTo>
                    <a:pt x="563" y="566"/>
                    <a:pt x="563" y="566"/>
                    <a:pt x="563" y="566"/>
                  </a:cubicBezTo>
                  <a:cubicBezTo>
                    <a:pt x="562" y="566"/>
                    <a:pt x="562" y="566"/>
                    <a:pt x="562" y="566"/>
                  </a:cubicBezTo>
                  <a:cubicBezTo>
                    <a:pt x="561" y="566"/>
                    <a:pt x="561" y="566"/>
                    <a:pt x="561" y="566"/>
                  </a:cubicBezTo>
                  <a:cubicBezTo>
                    <a:pt x="561" y="566"/>
                    <a:pt x="561" y="566"/>
                    <a:pt x="561" y="566"/>
                  </a:cubicBezTo>
                  <a:cubicBezTo>
                    <a:pt x="561" y="566"/>
                    <a:pt x="561" y="566"/>
                    <a:pt x="561" y="566"/>
                  </a:cubicBezTo>
                  <a:cubicBezTo>
                    <a:pt x="562" y="565"/>
                    <a:pt x="562" y="565"/>
                    <a:pt x="562" y="565"/>
                  </a:cubicBezTo>
                  <a:cubicBezTo>
                    <a:pt x="563" y="565"/>
                    <a:pt x="563" y="565"/>
                    <a:pt x="563" y="565"/>
                  </a:cubicBezTo>
                  <a:cubicBezTo>
                    <a:pt x="563" y="565"/>
                    <a:pt x="563" y="565"/>
                    <a:pt x="563" y="565"/>
                  </a:cubicBezTo>
                  <a:cubicBezTo>
                    <a:pt x="563" y="564"/>
                    <a:pt x="563" y="564"/>
                    <a:pt x="563" y="564"/>
                  </a:cubicBezTo>
                  <a:cubicBezTo>
                    <a:pt x="563" y="564"/>
                    <a:pt x="563" y="564"/>
                    <a:pt x="563" y="564"/>
                  </a:cubicBezTo>
                  <a:cubicBezTo>
                    <a:pt x="564" y="565"/>
                    <a:pt x="564" y="565"/>
                    <a:pt x="564" y="565"/>
                  </a:cubicBezTo>
                  <a:cubicBezTo>
                    <a:pt x="564" y="565"/>
                    <a:pt x="564" y="565"/>
                    <a:pt x="564" y="565"/>
                  </a:cubicBezTo>
                  <a:cubicBezTo>
                    <a:pt x="565" y="565"/>
                    <a:pt x="565" y="565"/>
                    <a:pt x="565" y="565"/>
                  </a:cubicBezTo>
                  <a:cubicBezTo>
                    <a:pt x="565" y="564"/>
                    <a:pt x="565" y="564"/>
                    <a:pt x="565" y="564"/>
                  </a:cubicBezTo>
                  <a:cubicBezTo>
                    <a:pt x="567" y="564"/>
                    <a:pt x="567" y="564"/>
                    <a:pt x="567" y="564"/>
                  </a:cubicBezTo>
                  <a:cubicBezTo>
                    <a:pt x="567" y="563"/>
                    <a:pt x="567" y="563"/>
                    <a:pt x="567" y="563"/>
                  </a:cubicBezTo>
                  <a:cubicBezTo>
                    <a:pt x="567" y="563"/>
                    <a:pt x="567" y="563"/>
                    <a:pt x="567" y="563"/>
                  </a:cubicBezTo>
                  <a:cubicBezTo>
                    <a:pt x="567" y="562"/>
                    <a:pt x="567" y="562"/>
                    <a:pt x="567" y="562"/>
                  </a:cubicBezTo>
                  <a:cubicBezTo>
                    <a:pt x="568" y="562"/>
                    <a:pt x="568" y="562"/>
                    <a:pt x="568" y="562"/>
                  </a:cubicBezTo>
                  <a:cubicBezTo>
                    <a:pt x="568" y="562"/>
                    <a:pt x="568" y="562"/>
                    <a:pt x="568" y="562"/>
                  </a:cubicBezTo>
                  <a:cubicBezTo>
                    <a:pt x="569" y="562"/>
                    <a:pt x="569" y="562"/>
                    <a:pt x="569" y="562"/>
                  </a:cubicBezTo>
                  <a:cubicBezTo>
                    <a:pt x="569" y="561"/>
                    <a:pt x="569" y="561"/>
                    <a:pt x="569" y="561"/>
                  </a:cubicBezTo>
                  <a:cubicBezTo>
                    <a:pt x="571" y="559"/>
                    <a:pt x="571" y="559"/>
                    <a:pt x="571" y="559"/>
                  </a:cubicBezTo>
                  <a:cubicBezTo>
                    <a:pt x="572" y="559"/>
                    <a:pt x="572" y="559"/>
                    <a:pt x="572" y="559"/>
                  </a:cubicBezTo>
                  <a:cubicBezTo>
                    <a:pt x="569" y="559"/>
                    <a:pt x="569" y="559"/>
                    <a:pt x="569" y="559"/>
                  </a:cubicBezTo>
                  <a:cubicBezTo>
                    <a:pt x="568" y="559"/>
                    <a:pt x="568" y="559"/>
                    <a:pt x="568" y="559"/>
                  </a:cubicBezTo>
                  <a:cubicBezTo>
                    <a:pt x="568" y="558"/>
                    <a:pt x="568" y="558"/>
                    <a:pt x="568" y="558"/>
                  </a:cubicBezTo>
                  <a:cubicBezTo>
                    <a:pt x="568" y="558"/>
                    <a:pt x="568" y="558"/>
                    <a:pt x="568" y="558"/>
                  </a:cubicBezTo>
                  <a:cubicBezTo>
                    <a:pt x="567" y="557"/>
                    <a:pt x="567" y="557"/>
                    <a:pt x="567" y="557"/>
                  </a:cubicBezTo>
                  <a:cubicBezTo>
                    <a:pt x="566" y="556"/>
                    <a:pt x="566" y="556"/>
                    <a:pt x="566" y="556"/>
                  </a:cubicBezTo>
                  <a:cubicBezTo>
                    <a:pt x="565" y="555"/>
                    <a:pt x="565" y="555"/>
                    <a:pt x="565" y="555"/>
                  </a:cubicBezTo>
                  <a:cubicBezTo>
                    <a:pt x="563" y="555"/>
                    <a:pt x="563" y="555"/>
                    <a:pt x="563" y="555"/>
                  </a:cubicBezTo>
                  <a:cubicBezTo>
                    <a:pt x="562" y="555"/>
                    <a:pt x="562" y="555"/>
                    <a:pt x="562" y="555"/>
                  </a:cubicBezTo>
                  <a:cubicBezTo>
                    <a:pt x="562" y="555"/>
                    <a:pt x="562" y="555"/>
                    <a:pt x="562" y="555"/>
                  </a:cubicBezTo>
                  <a:cubicBezTo>
                    <a:pt x="562" y="555"/>
                    <a:pt x="562" y="555"/>
                    <a:pt x="562" y="555"/>
                  </a:cubicBezTo>
                  <a:cubicBezTo>
                    <a:pt x="562" y="554"/>
                    <a:pt x="562" y="554"/>
                    <a:pt x="562" y="554"/>
                  </a:cubicBezTo>
                  <a:cubicBezTo>
                    <a:pt x="563" y="554"/>
                    <a:pt x="563" y="554"/>
                    <a:pt x="563" y="554"/>
                  </a:cubicBezTo>
                  <a:cubicBezTo>
                    <a:pt x="563" y="555"/>
                    <a:pt x="563" y="555"/>
                    <a:pt x="563" y="555"/>
                  </a:cubicBezTo>
                  <a:cubicBezTo>
                    <a:pt x="566" y="555"/>
                    <a:pt x="566" y="555"/>
                    <a:pt x="566" y="555"/>
                  </a:cubicBezTo>
                  <a:cubicBezTo>
                    <a:pt x="567" y="555"/>
                    <a:pt x="567" y="555"/>
                    <a:pt x="567" y="555"/>
                  </a:cubicBezTo>
                  <a:cubicBezTo>
                    <a:pt x="568" y="556"/>
                    <a:pt x="568" y="556"/>
                    <a:pt x="568" y="556"/>
                  </a:cubicBezTo>
                  <a:cubicBezTo>
                    <a:pt x="570" y="556"/>
                    <a:pt x="570" y="556"/>
                    <a:pt x="570" y="556"/>
                  </a:cubicBezTo>
                  <a:cubicBezTo>
                    <a:pt x="571" y="556"/>
                    <a:pt x="571" y="556"/>
                    <a:pt x="571" y="556"/>
                  </a:cubicBezTo>
                  <a:cubicBezTo>
                    <a:pt x="572" y="556"/>
                    <a:pt x="572" y="556"/>
                    <a:pt x="572" y="556"/>
                  </a:cubicBezTo>
                  <a:cubicBezTo>
                    <a:pt x="575" y="555"/>
                    <a:pt x="575" y="555"/>
                    <a:pt x="575" y="555"/>
                  </a:cubicBezTo>
                  <a:cubicBezTo>
                    <a:pt x="576" y="555"/>
                    <a:pt x="576" y="555"/>
                    <a:pt x="576" y="555"/>
                  </a:cubicBezTo>
                  <a:cubicBezTo>
                    <a:pt x="576" y="555"/>
                    <a:pt x="576" y="555"/>
                    <a:pt x="576" y="555"/>
                  </a:cubicBezTo>
                  <a:cubicBezTo>
                    <a:pt x="576" y="555"/>
                    <a:pt x="576" y="555"/>
                    <a:pt x="576" y="555"/>
                  </a:cubicBezTo>
                  <a:cubicBezTo>
                    <a:pt x="576" y="554"/>
                    <a:pt x="576" y="554"/>
                    <a:pt x="576" y="554"/>
                  </a:cubicBezTo>
                  <a:cubicBezTo>
                    <a:pt x="576" y="553"/>
                    <a:pt x="576" y="553"/>
                    <a:pt x="576" y="553"/>
                  </a:cubicBezTo>
                  <a:cubicBezTo>
                    <a:pt x="578" y="553"/>
                    <a:pt x="578" y="553"/>
                    <a:pt x="578" y="553"/>
                  </a:cubicBezTo>
                  <a:cubicBezTo>
                    <a:pt x="578" y="552"/>
                    <a:pt x="578" y="552"/>
                    <a:pt x="578" y="552"/>
                  </a:cubicBezTo>
                  <a:cubicBezTo>
                    <a:pt x="577" y="552"/>
                    <a:pt x="577" y="552"/>
                    <a:pt x="577" y="552"/>
                  </a:cubicBezTo>
                  <a:cubicBezTo>
                    <a:pt x="576" y="552"/>
                    <a:pt x="576" y="552"/>
                    <a:pt x="576" y="552"/>
                  </a:cubicBezTo>
                  <a:cubicBezTo>
                    <a:pt x="576" y="552"/>
                    <a:pt x="576" y="552"/>
                    <a:pt x="576" y="552"/>
                  </a:cubicBezTo>
                  <a:cubicBezTo>
                    <a:pt x="577" y="551"/>
                    <a:pt x="577" y="551"/>
                    <a:pt x="577" y="551"/>
                  </a:cubicBezTo>
                  <a:cubicBezTo>
                    <a:pt x="577" y="550"/>
                    <a:pt x="577" y="550"/>
                    <a:pt x="577" y="550"/>
                  </a:cubicBezTo>
                  <a:cubicBezTo>
                    <a:pt x="577" y="549"/>
                    <a:pt x="577" y="549"/>
                    <a:pt x="577" y="549"/>
                  </a:cubicBezTo>
                  <a:cubicBezTo>
                    <a:pt x="577" y="549"/>
                    <a:pt x="577" y="549"/>
                    <a:pt x="577" y="549"/>
                  </a:cubicBezTo>
                  <a:cubicBezTo>
                    <a:pt x="573" y="548"/>
                    <a:pt x="573" y="548"/>
                    <a:pt x="573" y="548"/>
                  </a:cubicBezTo>
                  <a:cubicBezTo>
                    <a:pt x="572" y="547"/>
                    <a:pt x="572" y="547"/>
                    <a:pt x="572" y="547"/>
                  </a:cubicBezTo>
                  <a:cubicBezTo>
                    <a:pt x="573" y="547"/>
                    <a:pt x="573" y="547"/>
                    <a:pt x="573" y="547"/>
                  </a:cubicBezTo>
                  <a:cubicBezTo>
                    <a:pt x="574" y="547"/>
                    <a:pt x="574" y="547"/>
                    <a:pt x="574" y="547"/>
                  </a:cubicBezTo>
                  <a:cubicBezTo>
                    <a:pt x="575" y="547"/>
                    <a:pt x="575" y="547"/>
                    <a:pt x="575" y="547"/>
                  </a:cubicBezTo>
                  <a:cubicBezTo>
                    <a:pt x="575" y="546"/>
                    <a:pt x="575" y="546"/>
                    <a:pt x="575" y="546"/>
                  </a:cubicBezTo>
                  <a:cubicBezTo>
                    <a:pt x="575" y="546"/>
                    <a:pt x="575" y="546"/>
                    <a:pt x="575" y="546"/>
                  </a:cubicBezTo>
                  <a:cubicBezTo>
                    <a:pt x="576" y="546"/>
                    <a:pt x="576" y="546"/>
                    <a:pt x="576" y="546"/>
                  </a:cubicBezTo>
                  <a:cubicBezTo>
                    <a:pt x="576" y="546"/>
                    <a:pt x="576" y="546"/>
                    <a:pt x="576" y="546"/>
                  </a:cubicBezTo>
                  <a:cubicBezTo>
                    <a:pt x="579" y="545"/>
                    <a:pt x="579" y="545"/>
                    <a:pt x="579" y="545"/>
                  </a:cubicBezTo>
                  <a:cubicBezTo>
                    <a:pt x="579" y="546"/>
                    <a:pt x="579" y="546"/>
                    <a:pt x="579" y="546"/>
                  </a:cubicBezTo>
                  <a:cubicBezTo>
                    <a:pt x="580" y="546"/>
                    <a:pt x="580" y="546"/>
                    <a:pt x="580" y="546"/>
                  </a:cubicBezTo>
                  <a:cubicBezTo>
                    <a:pt x="580" y="546"/>
                    <a:pt x="580" y="546"/>
                    <a:pt x="580" y="546"/>
                  </a:cubicBezTo>
                  <a:cubicBezTo>
                    <a:pt x="580" y="547"/>
                    <a:pt x="580" y="547"/>
                    <a:pt x="580" y="547"/>
                  </a:cubicBezTo>
                  <a:cubicBezTo>
                    <a:pt x="580" y="547"/>
                    <a:pt x="580" y="547"/>
                    <a:pt x="580" y="547"/>
                  </a:cubicBezTo>
                  <a:cubicBezTo>
                    <a:pt x="580" y="548"/>
                    <a:pt x="580" y="548"/>
                    <a:pt x="580" y="548"/>
                  </a:cubicBezTo>
                  <a:cubicBezTo>
                    <a:pt x="581" y="548"/>
                    <a:pt x="581" y="548"/>
                    <a:pt x="581" y="548"/>
                  </a:cubicBezTo>
                  <a:cubicBezTo>
                    <a:pt x="581" y="548"/>
                    <a:pt x="581" y="548"/>
                    <a:pt x="581" y="548"/>
                  </a:cubicBezTo>
                  <a:cubicBezTo>
                    <a:pt x="581" y="548"/>
                    <a:pt x="581" y="548"/>
                    <a:pt x="581" y="548"/>
                  </a:cubicBezTo>
                  <a:cubicBezTo>
                    <a:pt x="582" y="548"/>
                    <a:pt x="582" y="548"/>
                    <a:pt x="582" y="548"/>
                  </a:cubicBezTo>
                  <a:cubicBezTo>
                    <a:pt x="582" y="547"/>
                    <a:pt x="582" y="547"/>
                    <a:pt x="582" y="547"/>
                  </a:cubicBezTo>
                  <a:cubicBezTo>
                    <a:pt x="582" y="547"/>
                    <a:pt x="582" y="547"/>
                    <a:pt x="582" y="547"/>
                  </a:cubicBezTo>
                  <a:cubicBezTo>
                    <a:pt x="582" y="547"/>
                    <a:pt x="582" y="547"/>
                    <a:pt x="582" y="547"/>
                  </a:cubicBezTo>
                  <a:cubicBezTo>
                    <a:pt x="582" y="546"/>
                    <a:pt x="582" y="546"/>
                    <a:pt x="582" y="546"/>
                  </a:cubicBezTo>
                  <a:cubicBezTo>
                    <a:pt x="581" y="546"/>
                    <a:pt x="581" y="546"/>
                    <a:pt x="581" y="546"/>
                  </a:cubicBezTo>
                  <a:cubicBezTo>
                    <a:pt x="582" y="546"/>
                    <a:pt x="582" y="546"/>
                    <a:pt x="582" y="546"/>
                  </a:cubicBezTo>
                  <a:cubicBezTo>
                    <a:pt x="582" y="545"/>
                    <a:pt x="582" y="545"/>
                    <a:pt x="582" y="545"/>
                  </a:cubicBezTo>
                  <a:cubicBezTo>
                    <a:pt x="582" y="545"/>
                    <a:pt x="582" y="545"/>
                    <a:pt x="582" y="545"/>
                  </a:cubicBezTo>
                  <a:cubicBezTo>
                    <a:pt x="583" y="545"/>
                    <a:pt x="583" y="545"/>
                    <a:pt x="583" y="545"/>
                  </a:cubicBezTo>
                  <a:cubicBezTo>
                    <a:pt x="583" y="545"/>
                    <a:pt x="583" y="545"/>
                    <a:pt x="583" y="545"/>
                  </a:cubicBezTo>
                  <a:cubicBezTo>
                    <a:pt x="583" y="544"/>
                    <a:pt x="583" y="544"/>
                    <a:pt x="583" y="544"/>
                  </a:cubicBezTo>
                  <a:cubicBezTo>
                    <a:pt x="583" y="543"/>
                    <a:pt x="583" y="543"/>
                    <a:pt x="583" y="543"/>
                  </a:cubicBezTo>
                  <a:cubicBezTo>
                    <a:pt x="583" y="543"/>
                    <a:pt x="583" y="543"/>
                    <a:pt x="583" y="543"/>
                  </a:cubicBezTo>
                  <a:cubicBezTo>
                    <a:pt x="583" y="542"/>
                    <a:pt x="583" y="542"/>
                    <a:pt x="583" y="542"/>
                  </a:cubicBezTo>
                  <a:cubicBezTo>
                    <a:pt x="583" y="541"/>
                    <a:pt x="583" y="541"/>
                    <a:pt x="583" y="541"/>
                  </a:cubicBezTo>
                  <a:cubicBezTo>
                    <a:pt x="583" y="540"/>
                    <a:pt x="583" y="540"/>
                    <a:pt x="583" y="540"/>
                  </a:cubicBezTo>
                  <a:cubicBezTo>
                    <a:pt x="584" y="538"/>
                    <a:pt x="584" y="538"/>
                    <a:pt x="584" y="538"/>
                  </a:cubicBezTo>
                  <a:cubicBezTo>
                    <a:pt x="584" y="538"/>
                    <a:pt x="584" y="538"/>
                    <a:pt x="584" y="538"/>
                  </a:cubicBezTo>
                  <a:cubicBezTo>
                    <a:pt x="584" y="538"/>
                    <a:pt x="584" y="538"/>
                    <a:pt x="584" y="538"/>
                  </a:cubicBezTo>
                  <a:cubicBezTo>
                    <a:pt x="583" y="538"/>
                    <a:pt x="583" y="538"/>
                    <a:pt x="583" y="538"/>
                  </a:cubicBezTo>
                  <a:cubicBezTo>
                    <a:pt x="583" y="537"/>
                    <a:pt x="583" y="537"/>
                    <a:pt x="583" y="537"/>
                  </a:cubicBezTo>
                  <a:cubicBezTo>
                    <a:pt x="584" y="536"/>
                    <a:pt x="584" y="536"/>
                    <a:pt x="584" y="536"/>
                  </a:cubicBezTo>
                  <a:cubicBezTo>
                    <a:pt x="584" y="535"/>
                    <a:pt x="584" y="535"/>
                    <a:pt x="584" y="535"/>
                  </a:cubicBezTo>
                  <a:cubicBezTo>
                    <a:pt x="584" y="534"/>
                    <a:pt x="584" y="534"/>
                    <a:pt x="584" y="534"/>
                  </a:cubicBezTo>
                  <a:cubicBezTo>
                    <a:pt x="583" y="533"/>
                    <a:pt x="583" y="533"/>
                    <a:pt x="583" y="533"/>
                  </a:cubicBezTo>
                  <a:cubicBezTo>
                    <a:pt x="583" y="532"/>
                    <a:pt x="583" y="532"/>
                    <a:pt x="583" y="532"/>
                  </a:cubicBezTo>
                  <a:cubicBezTo>
                    <a:pt x="583" y="531"/>
                    <a:pt x="583" y="531"/>
                    <a:pt x="583" y="531"/>
                  </a:cubicBezTo>
                  <a:cubicBezTo>
                    <a:pt x="583" y="530"/>
                    <a:pt x="583" y="530"/>
                    <a:pt x="583" y="530"/>
                  </a:cubicBezTo>
                  <a:cubicBezTo>
                    <a:pt x="584" y="529"/>
                    <a:pt x="584" y="529"/>
                    <a:pt x="584" y="529"/>
                  </a:cubicBezTo>
                  <a:cubicBezTo>
                    <a:pt x="585" y="528"/>
                    <a:pt x="585" y="528"/>
                    <a:pt x="585" y="528"/>
                  </a:cubicBezTo>
                  <a:cubicBezTo>
                    <a:pt x="586" y="527"/>
                    <a:pt x="586" y="527"/>
                    <a:pt x="586" y="527"/>
                  </a:cubicBezTo>
                  <a:cubicBezTo>
                    <a:pt x="587" y="525"/>
                    <a:pt x="587" y="525"/>
                    <a:pt x="587" y="525"/>
                  </a:cubicBezTo>
                  <a:cubicBezTo>
                    <a:pt x="587" y="525"/>
                    <a:pt x="587" y="525"/>
                    <a:pt x="587" y="525"/>
                  </a:cubicBezTo>
                  <a:cubicBezTo>
                    <a:pt x="587" y="525"/>
                    <a:pt x="587" y="525"/>
                    <a:pt x="587" y="525"/>
                  </a:cubicBezTo>
                  <a:cubicBezTo>
                    <a:pt x="588" y="525"/>
                    <a:pt x="588" y="525"/>
                    <a:pt x="588" y="525"/>
                  </a:cubicBezTo>
                  <a:cubicBezTo>
                    <a:pt x="588" y="524"/>
                    <a:pt x="588" y="524"/>
                    <a:pt x="588" y="524"/>
                  </a:cubicBezTo>
                  <a:cubicBezTo>
                    <a:pt x="588" y="523"/>
                    <a:pt x="588" y="523"/>
                    <a:pt x="588" y="523"/>
                  </a:cubicBezTo>
                  <a:cubicBezTo>
                    <a:pt x="588" y="524"/>
                    <a:pt x="588" y="524"/>
                    <a:pt x="588" y="524"/>
                  </a:cubicBezTo>
                  <a:cubicBezTo>
                    <a:pt x="589" y="523"/>
                    <a:pt x="589" y="523"/>
                    <a:pt x="589" y="523"/>
                  </a:cubicBezTo>
                  <a:cubicBezTo>
                    <a:pt x="590" y="524"/>
                    <a:pt x="590" y="524"/>
                    <a:pt x="590" y="524"/>
                  </a:cubicBezTo>
                  <a:cubicBezTo>
                    <a:pt x="590" y="524"/>
                    <a:pt x="590" y="524"/>
                    <a:pt x="590" y="524"/>
                  </a:cubicBezTo>
                  <a:cubicBezTo>
                    <a:pt x="590" y="524"/>
                    <a:pt x="590" y="524"/>
                    <a:pt x="590" y="524"/>
                  </a:cubicBezTo>
                  <a:cubicBezTo>
                    <a:pt x="591" y="525"/>
                    <a:pt x="591" y="525"/>
                    <a:pt x="591" y="525"/>
                  </a:cubicBezTo>
                  <a:cubicBezTo>
                    <a:pt x="591" y="525"/>
                    <a:pt x="591" y="525"/>
                    <a:pt x="591" y="525"/>
                  </a:cubicBezTo>
                  <a:cubicBezTo>
                    <a:pt x="590" y="526"/>
                    <a:pt x="590" y="526"/>
                    <a:pt x="590" y="526"/>
                  </a:cubicBezTo>
                  <a:cubicBezTo>
                    <a:pt x="590" y="527"/>
                    <a:pt x="590" y="527"/>
                    <a:pt x="590" y="527"/>
                  </a:cubicBezTo>
                  <a:cubicBezTo>
                    <a:pt x="591" y="528"/>
                    <a:pt x="591" y="528"/>
                    <a:pt x="591" y="528"/>
                  </a:cubicBezTo>
                  <a:cubicBezTo>
                    <a:pt x="590" y="528"/>
                    <a:pt x="590" y="528"/>
                    <a:pt x="590" y="528"/>
                  </a:cubicBezTo>
                  <a:cubicBezTo>
                    <a:pt x="590" y="528"/>
                    <a:pt x="590" y="528"/>
                    <a:pt x="590" y="528"/>
                  </a:cubicBezTo>
                  <a:cubicBezTo>
                    <a:pt x="589" y="528"/>
                    <a:pt x="589" y="528"/>
                    <a:pt x="589" y="528"/>
                  </a:cubicBezTo>
                  <a:cubicBezTo>
                    <a:pt x="589" y="527"/>
                    <a:pt x="589" y="527"/>
                    <a:pt x="589" y="527"/>
                  </a:cubicBezTo>
                  <a:cubicBezTo>
                    <a:pt x="588" y="528"/>
                    <a:pt x="588" y="528"/>
                    <a:pt x="588" y="528"/>
                  </a:cubicBezTo>
                  <a:cubicBezTo>
                    <a:pt x="587" y="528"/>
                    <a:pt x="587" y="528"/>
                    <a:pt x="587" y="528"/>
                  </a:cubicBezTo>
                  <a:cubicBezTo>
                    <a:pt x="587" y="528"/>
                    <a:pt x="587" y="528"/>
                    <a:pt x="587" y="528"/>
                  </a:cubicBezTo>
                  <a:cubicBezTo>
                    <a:pt x="587" y="529"/>
                    <a:pt x="587" y="529"/>
                    <a:pt x="587" y="529"/>
                  </a:cubicBezTo>
                  <a:cubicBezTo>
                    <a:pt x="588" y="530"/>
                    <a:pt x="588" y="530"/>
                    <a:pt x="588" y="530"/>
                  </a:cubicBezTo>
                  <a:cubicBezTo>
                    <a:pt x="588" y="530"/>
                    <a:pt x="588" y="530"/>
                    <a:pt x="588" y="530"/>
                  </a:cubicBezTo>
                  <a:cubicBezTo>
                    <a:pt x="589" y="530"/>
                    <a:pt x="589" y="530"/>
                    <a:pt x="589" y="530"/>
                  </a:cubicBezTo>
                  <a:cubicBezTo>
                    <a:pt x="590" y="530"/>
                    <a:pt x="590" y="530"/>
                    <a:pt x="590" y="530"/>
                  </a:cubicBezTo>
                  <a:cubicBezTo>
                    <a:pt x="590" y="530"/>
                    <a:pt x="590" y="530"/>
                    <a:pt x="590" y="530"/>
                  </a:cubicBezTo>
                  <a:cubicBezTo>
                    <a:pt x="591" y="530"/>
                    <a:pt x="591" y="530"/>
                    <a:pt x="591" y="530"/>
                  </a:cubicBezTo>
                  <a:cubicBezTo>
                    <a:pt x="591" y="530"/>
                    <a:pt x="591" y="530"/>
                    <a:pt x="591" y="530"/>
                  </a:cubicBezTo>
                  <a:cubicBezTo>
                    <a:pt x="592" y="531"/>
                    <a:pt x="592" y="531"/>
                    <a:pt x="592" y="531"/>
                  </a:cubicBezTo>
                  <a:cubicBezTo>
                    <a:pt x="591" y="531"/>
                    <a:pt x="591" y="531"/>
                    <a:pt x="591" y="531"/>
                  </a:cubicBezTo>
                  <a:cubicBezTo>
                    <a:pt x="591" y="532"/>
                    <a:pt x="591" y="532"/>
                    <a:pt x="591" y="532"/>
                  </a:cubicBezTo>
                  <a:cubicBezTo>
                    <a:pt x="591" y="532"/>
                    <a:pt x="591" y="532"/>
                    <a:pt x="591" y="532"/>
                  </a:cubicBezTo>
                  <a:cubicBezTo>
                    <a:pt x="591" y="532"/>
                    <a:pt x="591" y="532"/>
                    <a:pt x="591" y="532"/>
                  </a:cubicBezTo>
                  <a:cubicBezTo>
                    <a:pt x="591" y="533"/>
                    <a:pt x="591" y="533"/>
                    <a:pt x="591" y="533"/>
                  </a:cubicBezTo>
                  <a:cubicBezTo>
                    <a:pt x="591" y="534"/>
                    <a:pt x="591" y="534"/>
                    <a:pt x="591" y="534"/>
                  </a:cubicBezTo>
                  <a:cubicBezTo>
                    <a:pt x="592" y="534"/>
                    <a:pt x="592" y="534"/>
                    <a:pt x="592" y="534"/>
                  </a:cubicBezTo>
                  <a:cubicBezTo>
                    <a:pt x="592" y="534"/>
                    <a:pt x="592" y="534"/>
                    <a:pt x="592" y="534"/>
                  </a:cubicBezTo>
                  <a:cubicBezTo>
                    <a:pt x="593" y="534"/>
                    <a:pt x="593" y="534"/>
                    <a:pt x="593" y="534"/>
                  </a:cubicBezTo>
                  <a:cubicBezTo>
                    <a:pt x="593" y="533"/>
                    <a:pt x="593" y="533"/>
                    <a:pt x="593" y="533"/>
                  </a:cubicBezTo>
                  <a:cubicBezTo>
                    <a:pt x="593" y="532"/>
                    <a:pt x="593" y="532"/>
                    <a:pt x="593" y="532"/>
                  </a:cubicBezTo>
                  <a:cubicBezTo>
                    <a:pt x="593" y="531"/>
                    <a:pt x="593" y="531"/>
                    <a:pt x="593" y="531"/>
                  </a:cubicBezTo>
                  <a:cubicBezTo>
                    <a:pt x="592" y="530"/>
                    <a:pt x="592" y="530"/>
                    <a:pt x="592" y="530"/>
                  </a:cubicBezTo>
                  <a:cubicBezTo>
                    <a:pt x="593" y="529"/>
                    <a:pt x="593" y="529"/>
                    <a:pt x="593" y="529"/>
                  </a:cubicBezTo>
                  <a:cubicBezTo>
                    <a:pt x="594" y="527"/>
                    <a:pt x="594" y="527"/>
                    <a:pt x="594" y="527"/>
                  </a:cubicBezTo>
                  <a:cubicBezTo>
                    <a:pt x="595" y="527"/>
                    <a:pt x="595" y="527"/>
                    <a:pt x="595" y="527"/>
                  </a:cubicBezTo>
                  <a:cubicBezTo>
                    <a:pt x="596" y="527"/>
                    <a:pt x="596" y="527"/>
                    <a:pt x="596" y="527"/>
                  </a:cubicBezTo>
                  <a:cubicBezTo>
                    <a:pt x="596" y="527"/>
                    <a:pt x="596" y="527"/>
                    <a:pt x="596" y="527"/>
                  </a:cubicBezTo>
                  <a:cubicBezTo>
                    <a:pt x="596" y="527"/>
                    <a:pt x="596" y="527"/>
                    <a:pt x="596" y="527"/>
                  </a:cubicBezTo>
                  <a:cubicBezTo>
                    <a:pt x="597" y="527"/>
                    <a:pt x="597" y="527"/>
                    <a:pt x="597" y="527"/>
                  </a:cubicBezTo>
                  <a:cubicBezTo>
                    <a:pt x="597" y="528"/>
                    <a:pt x="597" y="528"/>
                    <a:pt x="597" y="528"/>
                  </a:cubicBezTo>
                  <a:cubicBezTo>
                    <a:pt x="597" y="529"/>
                    <a:pt x="597" y="529"/>
                    <a:pt x="597" y="529"/>
                  </a:cubicBezTo>
                  <a:cubicBezTo>
                    <a:pt x="596" y="529"/>
                    <a:pt x="596" y="529"/>
                    <a:pt x="596" y="529"/>
                  </a:cubicBezTo>
                  <a:cubicBezTo>
                    <a:pt x="595" y="529"/>
                    <a:pt x="595" y="529"/>
                    <a:pt x="595" y="529"/>
                  </a:cubicBezTo>
                  <a:cubicBezTo>
                    <a:pt x="596" y="530"/>
                    <a:pt x="596" y="530"/>
                    <a:pt x="596" y="530"/>
                  </a:cubicBezTo>
                  <a:cubicBezTo>
                    <a:pt x="597" y="531"/>
                    <a:pt x="597" y="531"/>
                    <a:pt x="597" y="531"/>
                  </a:cubicBezTo>
                  <a:cubicBezTo>
                    <a:pt x="598" y="531"/>
                    <a:pt x="598" y="531"/>
                    <a:pt x="598" y="531"/>
                  </a:cubicBezTo>
                  <a:cubicBezTo>
                    <a:pt x="598" y="529"/>
                    <a:pt x="598" y="529"/>
                    <a:pt x="598" y="529"/>
                  </a:cubicBezTo>
                  <a:cubicBezTo>
                    <a:pt x="598" y="528"/>
                    <a:pt x="598" y="528"/>
                    <a:pt x="598" y="528"/>
                  </a:cubicBezTo>
                  <a:cubicBezTo>
                    <a:pt x="599" y="527"/>
                    <a:pt x="599" y="527"/>
                    <a:pt x="599" y="527"/>
                  </a:cubicBezTo>
                  <a:cubicBezTo>
                    <a:pt x="599" y="526"/>
                    <a:pt x="599" y="526"/>
                    <a:pt x="599" y="526"/>
                  </a:cubicBezTo>
                  <a:cubicBezTo>
                    <a:pt x="600" y="525"/>
                    <a:pt x="600" y="525"/>
                    <a:pt x="600" y="525"/>
                  </a:cubicBezTo>
                  <a:cubicBezTo>
                    <a:pt x="603" y="522"/>
                    <a:pt x="603" y="522"/>
                    <a:pt x="603" y="522"/>
                  </a:cubicBezTo>
                  <a:cubicBezTo>
                    <a:pt x="604" y="520"/>
                    <a:pt x="604" y="520"/>
                    <a:pt x="604" y="520"/>
                  </a:cubicBezTo>
                  <a:cubicBezTo>
                    <a:pt x="604" y="519"/>
                    <a:pt x="604" y="519"/>
                    <a:pt x="604" y="519"/>
                  </a:cubicBezTo>
                  <a:cubicBezTo>
                    <a:pt x="604" y="518"/>
                    <a:pt x="604" y="518"/>
                    <a:pt x="604" y="518"/>
                  </a:cubicBezTo>
                  <a:cubicBezTo>
                    <a:pt x="604" y="516"/>
                    <a:pt x="604" y="516"/>
                    <a:pt x="604" y="516"/>
                  </a:cubicBezTo>
                  <a:cubicBezTo>
                    <a:pt x="605" y="516"/>
                    <a:pt x="605" y="516"/>
                    <a:pt x="605" y="516"/>
                  </a:cubicBezTo>
                  <a:cubicBezTo>
                    <a:pt x="605" y="515"/>
                    <a:pt x="605" y="515"/>
                    <a:pt x="605" y="515"/>
                  </a:cubicBezTo>
                  <a:cubicBezTo>
                    <a:pt x="603" y="513"/>
                    <a:pt x="603" y="513"/>
                    <a:pt x="603" y="513"/>
                  </a:cubicBezTo>
                  <a:cubicBezTo>
                    <a:pt x="602" y="512"/>
                    <a:pt x="602" y="512"/>
                    <a:pt x="602" y="512"/>
                  </a:cubicBezTo>
                  <a:cubicBezTo>
                    <a:pt x="602" y="511"/>
                    <a:pt x="602" y="511"/>
                    <a:pt x="602" y="511"/>
                  </a:cubicBezTo>
                  <a:cubicBezTo>
                    <a:pt x="600" y="511"/>
                    <a:pt x="600" y="511"/>
                    <a:pt x="600" y="511"/>
                  </a:cubicBezTo>
                  <a:cubicBezTo>
                    <a:pt x="600" y="511"/>
                    <a:pt x="600" y="511"/>
                    <a:pt x="600" y="511"/>
                  </a:cubicBezTo>
                  <a:cubicBezTo>
                    <a:pt x="593" y="512"/>
                    <a:pt x="593" y="512"/>
                    <a:pt x="593" y="512"/>
                  </a:cubicBezTo>
                  <a:cubicBezTo>
                    <a:pt x="590" y="511"/>
                    <a:pt x="590" y="511"/>
                    <a:pt x="590" y="511"/>
                  </a:cubicBezTo>
                  <a:cubicBezTo>
                    <a:pt x="588" y="510"/>
                    <a:pt x="588" y="510"/>
                    <a:pt x="588" y="510"/>
                  </a:cubicBezTo>
                  <a:cubicBezTo>
                    <a:pt x="587" y="510"/>
                    <a:pt x="587" y="510"/>
                    <a:pt x="587" y="510"/>
                  </a:cubicBezTo>
                  <a:cubicBezTo>
                    <a:pt x="587" y="509"/>
                    <a:pt x="587" y="509"/>
                    <a:pt x="587" y="509"/>
                  </a:cubicBezTo>
                  <a:cubicBezTo>
                    <a:pt x="587" y="509"/>
                    <a:pt x="587" y="509"/>
                    <a:pt x="587" y="509"/>
                  </a:cubicBezTo>
                  <a:cubicBezTo>
                    <a:pt x="587" y="508"/>
                    <a:pt x="587" y="508"/>
                    <a:pt x="587" y="508"/>
                  </a:cubicBezTo>
                  <a:cubicBezTo>
                    <a:pt x="587" y="508"/>
                    <a:pt x="587" y="508"/>
                    <a:pt x="587" y="508"/>
                  </a:cubicBezTo>
                  <a:cubicBezTo>
                    <a:pt x="586" y="507"/>
                    <a:pt x="586" y="507"/>
                    <a:pt x="586" y="507"/>
                  </a:cubicBezTo>
                  <a:cubicBezTo>
                    <a:pt x="585" y="508"/>
                    <a:pt x="585" y="508"/>
                    <a:pt x="585" y="508"/>
                  </a:cubicBezTo>
                  <a:cubicBezTo>
                    <a:pt x="584" y="509"/>
                    <a:pt x="584" y="509"/>
                    <a:pt x="584" y="509"/>
                  </a:cubicBezTo>
                  <a:cubicBezTo>
                    <a:pt x="583" y="510"/>
                    <a:pt x="583" y="510"/>
                    <a:pt x="583" y="510"/>
                  </a:cubicBezTo>
                  <a:cubicBezTo>
                    <a:pt x="583" y="510"/>
                    <a:pt x="583" y="510"/>
                    <a:pt x="583" y="510"/>
                  </a:cubicBezTo>
                  <a:cubicBezTo>
                    <a:pt x="583" y="512"/>
                    <a:pt x="583" y="512"/>
                    <a:pt x="583" y="512"/>
                  </a:cubicBezTo>
                  <a:cubicBezTo>
                    <a:pt x="583" y="514"/>
                    <a:pt x="583" y="514"/>
                    <a:pt x="583" y="514"/>
                  </a:cubicBezTo>
                  <a:cubicBezTo>
                    <a:pt x="582" y="514"/>
                    <a:pt x="582" y="514"/>
                    <a:pt x="582" y="514"/>
                  </a:cubicBezTo>
                  <a:cubicBezTo>
                    <a:pt x="581" y="514"/>
                    <a:pt x="581" y="514"/>
                    <a:pt x="581" y="514"/>
                  </a:cubicBezTo>
                  <a:cubicBezTo>
                    <a:pt x="582" y="514"/>
                    <a:pt x="582" y="514"/>
                    <a:pt x="582" y="514"/>
                  </a:cubicBezTo>
                  <a:cubicBezTo>
                    <a:pt x="582" y="513"/>
                    <a:pt x="582" y="513"/>
                    <a:pt x="582" y="513"/>
                  </a:cubicBezTo>
                  <a:cubicBezTo>
                    <a:pt x="582" y="512"/>
                    <a:pt x="582" y="512"/>
                    <a:pt x="582" y="512"/>
                  </a:cubicBezTo>
                  <a:cubicBezTo>
                    <a:pt x="582" y="512"/>
                    <a:pt x="582" y="512"/>
                    <a:pt x="582" y="512"/>
                  </a:cubicBezTo>
                  <a:cubicBezTo>
                    <a:pt x="582" y="511"/>
                    <a:pt x="582" y="511"/>
                    <a:pt x="582" y="511"/>
                  </a:cubicBezTo>
                  <a:cubicBezTo>
                    <a:pt x="582" y="510"/>
                    <a:pt x="582" y="510"/>
                    <a:pt x="582" y="510"/>
                  </a:cubicBezTo>
                  <a:cubicBezTo>
                    <a:pt x="583" y="509"/>
                    <a:pt x="583" y="509"/>
                    <a:pt x="583" y="509"/>
                  </a:cubicBezTo>
                  <a:cubicBezTo>
                    <a:pt x="584" y="508"/>
                    <a:pt x="584" y="508"/>
                    <a:pt x="584" y="508"/>
                  </a:cubicBezTo>
                  <a:cubicBezTo>
                    <a:pt x="586" y="506"/>
                    <a:pt x="586" y="506"/>
                    <a:pt x="586" y="506"/>
                  </a:cubicBezTo>
                  <a:cubicBezTo>
                    <a:pt x="587" y="505"/>
                    <a:pt x="587" y="505"/>
                    <a:pt x="587" y="505"/>
                  </a:cubicBezTo>
                  <a:cubicBezTo>
                    <a:pt x="587" y="503"/>
                    <a:pt x="587" y="503"/>
                    <a:pt x="587" y="503"/>
                  </a:cubicBezTo>
                  <a:cubicBezTo>
                    <a:pt x="586" y="502"/>
                    <a:pt x="586" y="502"/>
                    <a:pt x="586" y="502"/>
                  </a:cubicBezTo>
                  <a:cubicBezTo>
                    <a:pt x="585" y="502"/>
                    <a:pt x="585" y="502"/>
                    <a:pt x="585" y="502"/>
                  </a:cubicBezTo>
                  <a:cubicBezTo>
                    <a:pt x="584" y="502"/>
                    <a:pt x="584" y="502"/>
                    <a:pt x="584" y="502"/>
                  </a:cubicBezTo>
                  <a:cubicBezTo>
                    <a:pt x="583" y="502"/>
                    <a:pt x="583" y="502"/>
                    <a:pt x="583" y="502"/>
                  </a:cubicBezTo>
                  <a:cubicBezTo>
                    <a:pt x="582" y="502"/>
                    <a:pt x="582" y="502"/>
                    <a:pt x="582" y="502"/>
                  </a:cubicBezTo>
                  <a:cubicBezTo>
                    <a:pt x="581" y="502"/>
                    <a:pt x="581" y="502"/>
                    <a:pt x="581" y="502"/>
                  </a:cubicBezTo>
                  <a:cubicBezTo>
                    <a:pt x="581" y="502"/>
                    <a:pt x="581" y="502"/>
                    <a:pt x="581" y="502"/>
                  </a:cubicBezTo>
                  <a:cubicBezTo>
                    <a:pt x="581" y="501"/>
                    <a:pt x="581" y="501"/>
                    <a:pt x="581" y="501"/>
                  </a:cubicBezTo>
                  <a:cubicBezTo>
                    <a:pt x="580" y="501"/>
                    <a:pt x="580" y="501"/>
                    <a:pt x="580" y="501"/>
                  </a:cubicBezTo>
                  <a:cubicBezTo>
                    <a:pt x="580" y="501"/>
                    <a:pt x="580" y="501"/>
                    <a:pt x="580" y="501"/>
                  </a:cubicBezTo>
                  <a:cubicBezTo>
                    <a:pt x="580" y="502"/>
                    <a:pt x="580" y="502"/>
                    <a:pt x="580" y="502"/>
                  </a:cubicBezTo>
                  <a:cubicBezTo>
                    <a:pt x="580" y="502"/>
                    <a:pt x="580" y="502"/>
                    <a:pt x="580" y="502"/>
                  </a:cubicBezTo>
                  <a:cubicBezTo>
                    <a:pt x="579" y="502"/>
                    <a:pt x="579" y="502"/>
                    <a:pt x="579" y="502"/>
                  </a:cubicBezTo>
                  <a:cubicBezTo>
                    <a:pt x="579" y="503"/>
                    <a:pt x="579" y="503"/>
                    <a:pt x="579" y="503"/>
                  </a:cubicBezTo>
                  <a:cubicBezTo>
                    <a:pt x="579" y="503"/>
                    <a:pt x="579" y="503"/>
                    <a:pt x="579" y="503"/>
                  </a:cubicBezTo>
                  <a:cubicBezTo>
                    <a:pt x="578" y="503"/>
                    <a:pt x="578" y="503"/>
                    <a:pt x="578" y="503"/>
                  </a:cubicBezTo>
                  <a:cubicBezTo>
                    <a:pt x="578" y="502"/>
                    <a:pt x="578" y="502"/>
                    <a:pt x="578" y="502"/>
                  </a:cubicBezTo>
                  <a:cubicBezTo>
                    <a:pt x="578" y="502"/>
                    <a:pt x="578" y="502"/>
                    <a:pt x="578" y="502"/>
                  </a:cubicBezTo>
                  <a:cubicBezTo>
                    <a:pt x="578" y="503"/>
                    <a:pt x="578" y="503"/>
                    <a:pt x="578" y="503"/>
                  </a:cubicBezTo>
                  <a:cubicBezTo>
                    <a:pt x="577" y="503"/>
                    <a:pt x="577" y="503"/>
                    <a:pt x="577" y="503"/>
                  </a:cubicBezTo>
                  <a:cubicBezTo>
                    <a:pt x="577" y="503"/>
                    <a:pt x="577" y="503"/>
                    <a:pt x="577" y="503"/>
                  </a:cubicBezTo>
                  <a:cubicBezTo>
                    <a:pt x="577" y="503"/>
                    <a:pt x="577" y="503"/>
                    <a:pt x="577" y="503"/>
                  </a:cubicBezTo>
                  <a:cubicBezTo>
                    <a:pt x="577" y="503"/>
                    <a:pt x="577" y="503"/>
                    <a:pt x="577" y="503"/>
                  </a:cubicBezTo>
                  <a:cubicBezTo>
                    <a:pt x="576" y="504"/>
                    <a:pt x="576" y="504"/>
                    <a:pt x="576" y="504"/>
                  </a:cubicBezTo>
                  <a:cubicBezTo>
                    <a:pt x="571" y="505"/>
                    <a:pt x="571" y="505"/>
                    <a:pt x="571" y="505"/>
                  </a:cubicBezTo>
                  <a:cubicBezTo>
                    <a:pt x="570" y="505"/>
                    <a:pt x="570" y="505"/>
                    <a:pt x="570" y="505"/>
                  </a:cubicBezTo>
                  <a:cubicBezTo>
                    <a:pt x="570" y="505"/>
                    <a:pt x="570" y="505"/>
                    <a:pt x="570" y="505"/>
                  </a:cubicBezTo>
                  <a:cubicBezTo>
                    <a:pt x="574" y="504"/>
                    <a:pt x="574" y="504"/>
                    <a:pt x="574" y="504"/>
                  </a:cubicBezTo>
                  <a:cubicBezTo>
                    <a:pt x="576" y="503"/>
                    <a:pt x="576" y="503"/>
                    <a:pt x="576" y="503"/>
                  </a:cubicBezTo>
                  <a:cubicBezTo>
                    <a:pt x="577" y="503"/>
                    <a:pt x="577" y="503"/>
                    <a:pt x="577" y="503"/>
                  </a:cubicBezTo>
                  <a:cubicBezTo>
                    <a:pt x="578" y="502"/>
                    <a:pt x="578" y="502"/>
                    <a:pt x="578" y="502"/>
                  </a:cubicBezTo>
                  <a:cubicBezTo>
                    <a:pt x="578" y="502"/>
                    <a:pt x="578" y="502"/>
                    <a:pt x="578" y="502"/>
                  </a:cubicBezTo>
                  <a:cubicBezTo>
                    <a:pt x="579" y="502"/>
                    <a:pt x="579" y="502"/>
                    <a:pt x="579" y="502"/>
                  </a:cubicBezTo>
                  <a:cubicBezTo>
                    <a:pt x="579" y="502"/>
                    <a:pt x="579" y="502"/>
                    <a:pt x="579" y="502"/>
                  </a:cubicBezTo>
                  <a:cubicBezTo>
                    <a:pt x="580" y="501"/>
                    <a:pt x="580" y="501"/>
                    <a:pt x="580" y="501"/>
                  </a:cubicBezTo>
                  <a:cubicBezTo>
                    <a:pt x="580" y="501"/>
                    <a:pt x="580" y="501"/>
                    <a:pt x="580" y="501"/>
                  </a:cubicBezTo>
                  <a:cubicBezTo>
                    <a:pt x="581" y="501"/>
                    <a:pt x="581" y="501"/>
                    <a:pt x="581" y="501"/>
                  </a:cubicBezTo>
                  <a:cubicBezTo>
                    <a:pt x="582" y="501"/>
                    <a:pt x="582" y="501"/>
                    <a:pt x="582" y="501"/>
                  </a:cubicBezTo>
                  <a:cubicBezTo>
                    <a:pt x="582" y="502"/>
                    <a:pt x="582" y="502"/>
                    <a:pt x="582" y="502"/>
                  </a:cubicBezTo>
                  <a:cubicBezTo>
                    <a:pt x="583" y="501"/>
                    <a:pt x="583" y="501"/>
                    <a:pt x="583" y="501"/>
                  </a:cubicBezTo>
                  <a:cubicBezTo>
                    <a:pt x="583" y="501"/>
                    <a:pt x="583" y="501"/>
                    <a:pt x="583" y="501"/>
                  </a:cubicBezTo>
                  <a:cubicBezTo>
                    <a:pt x="584" y="501"/>
                    <a:pt x="584" y="501"/>
                    <a:pt x="584" y="501"/>
                  </a:cubicBezTo>
                  <a:cubicBezTo>
                    <a:pt x="585" y="501"/>
                    <a:pt x="585" y="501"/>
                    <a:pt x="585" y="501"/>
                  </a:cubicBezTo>
                  <a:cubicBezTo>
                    <a:pt x="586" y="501"/>
                    <a:pt x="586" y="501"/>
                    <a:pt x="586" y="501"/>
                  </a:cubicBezTo>
                  <a:cubicBezTo>
                    <a:pt x="586" y="501"/>
                    <a:pt x="586" y="501"/>
                    <a:pt x="586" y="501"/>
                  </a:cubicBezTo>
                  <a:cubicBezTo>
                    <a:pt x="586" y="501"/>
                    <a:pt x="586" y="501"/>
                    <a:pt x="586" y="501"/>
                  </a:cubicBezTo>
                  <a:cubicBezTo>
                    <a:pt x="586" y="501"/>
                    <a:pt x="586" y="501"/>
                    <a:pt x="586" y="501"/>
                  </a:cubicBezTo>
                  <a:cubicBezTo>
                    <a:pt x="586" y="500"/>
                    <a:pt x="586" y="500"/>
                    <a:pt x="586" y="500"/>
                  </a:cubicBezTo>
                  <a:cubicBezTo>
                    <a:pt x="586" y="500"/>
                    <a:pt x="586" y="500"/>
                    <a:pt x="586" y="500"/>
                  </a:cubicBezTo>
                  <a:cubicBezTo>
                    <a:pt x="585" y="498"/>
                    <a:pt x="585" y="498"/>
                    <a:pt x="585" y="498"/>
                  </a:cubicBezTo>
                  <a:cubicBezTo>
                    <a:pt x="585" y="496"/>
                    <a:pt x="585" y="496"/>
                    <a:pt x="585" y="496"/>
                  </a:cubicBezTo>
                  <a:cubicBezTo>
                    <a:pt x="584" y="494"/>
                    <a:pt x="584" y="494"/>
                    <a:pt x="584" y="494"/>
                  </a:cubicBezTo>
                  <a:cubicBezTo>
                    <a:pt x="584" y="491"/>
                    <a:pt x="584" y="491"/>
                    <a:pt x="584" y="491"/>
                  </a:cubicBezTo>
                  <a:cubicBezTo>
                    <a:pt x="584" y="490"/>
                    <a:pt x="584" y="490"/>
                    <a:pt x="584" y="490"/>
                  </a:cubicBezTo>
                  <a:cubicBezTo>
                    <a:pt x="584" y="490"/>
                    <a:pt x="584" y="490"/>
                    <a:pt x="584" y="490"/>
                  </a:cubicBezTo>
                  <a:cubicBezTo>
                    <a:pt x="584" y="489"/>
                    <a:pt x="584" y="489"/>
                    <a:pt x="584" y="489"/>
                  </a:cubicBezTo>
                  <a:cubicBezTo>
                    <a:pt x="584" y="488"/>
                    <a:pt x="584" y="488"/>
                    <a:pt x="584" y="488"/>
                  </a:cubicBezTo>
                  <a:cubicBezTo>
                    <a:pt x="584" y="488"/>
                    <a:pt x="584" y="488"/>
                    <a:pt x="584" y="488"/>
                  </a:cubicBezTo>
                  <a:cubicBezTo>
                    <a:pt x="585" y="487"/>
                    <a:pt x="585" y="487"/>
                    <a:pt x="585" y="487"/>
                  </a:cubicBezTo>
                  <a:cubicBezTo>
                    <a:pt x="585" y="486"/>
                    <a:pt x="585" y="486"/>
                    <a:pt x="585" y="486"/>
                  </a:cubicBezTo>
                  <a:cubicBezTo>
                    <a:pt x="582" y="486"/>
                    <a:pt x="582" y="486"/>
                    <a:pt x="582" y="486"/>
                  </a:cubicBezTo>
                  <a:cubicBezTo>
                    <a:pt x="582" y="486"/>
                    <a:pt x="582" y="486"/>
                    <a:pt x="582" y="486"/>
                  </a:cubicBezTo>
                  <a:cubicBezTo>
                    <a:pt x="580" y="485"/>
                    <a:pt x="580" y="485"/>
                    <a:pt x="580" y="485"/>
                  </a:cubicBezTo>
                  <a:cubicBezTo>
                    <a:pt x="580" y="484"/>
                    <a:pt x="580" y="484"/>
                    <a:pt x="580" y="484"/>
                  </a:cubicBezTo>
                  <a:cubicBezTo>
                    <a:pt x="577" y="481"/>
                    <a:pt x="577" y="481"/>
                    <a:pt x="577" y="481"/>
                  </a:cubicBezTo>
                  <a:cubicBezTo>
                    <a:pt x="576" y="481"/>
                    <a:pt x="576" y="481"/>
                    <a:pt x="576" y="481"/>
                  </a:cubicBezTo>
                  <a:cubicBezTo>
                    <a:pt x="575" y="481"/>
                    <a:pt x="575" y="481"/>
                    <a:pt x="575" y="481"/>
                  </a:cubicBezTo>
                  <a:cubicBezTo>
                    <a:pt x="575" y="482"/>
                    <a:pt x="575" y="482"/>
                    <a:pt x="575" y="482"/>
                  </a:cubicBezTo>
                  <a:cubicBezTo>
                    <a:pt x="574" y="482"/>
                    <a:pt x="574" y="482"/>
                    <a:pt x="574" y="482"/>
                  </a:cubicBezTo>
                  <a:cubicBezTo>
                    <a:pt x="574" y="482"/>
                    <a:pt x="574" y="482"/>
                    <a:pt x="574" y="482"/>
                  </a:cubicBezTo>
                  <a:cubicBezTo>
                    <a:pt x="574" y="482"/>
                    <a:pt x="574" y="482"/>
                    <a:pt x="574" y="482"/>
                  </a:cubicBezTo>
                  <a:cubicBezTo>
                    <a:pt x="575" y="481"/>
                    <a:pt x="575" y="481"/>
                    <a:pt x="575" y="481"/>
                  </a:cubicBezTo>
                  <a:cubicBezTo>
                    <a:pt x="576" y="481"/>
                    <a:pt x="576" y="481"/>
                    <a:pt x="576" y="481"/>
                  </a:cubicBezTo>
                  <a:cubicBezTo>
                    <a:pt x="576" y="481"/>
                    <a:pt x="576" y="481"/>
                    <a:pt x="576" y="481"/>
                  </a:cubicBezTo>
                  <a:cubicBezTo>
                    <a:pt x="577" y="482"/>
                    <a:pt x="577" y="482"/>
                    <a:pt x="577" y="482"/>
                  </a:cubicBezTo>
                  <a:cubicBezTo>
                    <a:pt x="579" y="482"/>
                    <a:pt x="579" y="482"/>
                    <a:pt x="579" y="482"/>
                  </a:cubicBezTo>
                  <a:cubicBezTo>
                    <a:pt x="581" y="484"/>
                    <a:pt x="581" y="484"/>
                    <a:pt x="581" y="484"/>
                  </a:cubicBezTo>
                  <a:cubicBezTo>
                    <a:pt x="583" y="486"/>
                    <a:pt x="583" y="486"/>
                    <a:pt x="583" y="486"/>
                  </a:cubicBezTo>
                  <a:cubicBezTo>
                    <a:pt x="584" y="486"/>
                    <a:pt x="584" y="486"/>
                    <a:pt x="584" y="486"/>
                  </a:cubicBezTo>
                  <a:cubicBezTo>
                    <a:pt x="584" y="486"/>
                    <a:pt x="584" y="486"/>
                    <a:pt x="584" y="486"/>
                  </a:cubicBezTo>
                  <a:cubicBezTo>
                    <a:pt x="586" y="486"/>
                    <a:pt x="586" y="486"/>
                    <a:pt x="586" y="486"/>
                  </a:cubicBezTo>
                  <a:cubicBezTo>
                    <a:pt x="586" y="486"/>
                    <a:pt x="586" y="486"/>
                    <a:pt x="586" y="486"/>
                  </a:cubicBezTo>
                  <a:cubicBezTo>
                    <a:pt x="586" y="485"/>
                    <a:pt x="586" y="485"/>
                    <a:pt x="586" y="485"/>
                  </a:cubicBezTo>
                  <a:cubicBezTo>
                    <a:pt x="586" y="485"/>
                    <a:pt x="586" y="485"/>
                    <a:pt x="586" y="485"/>
                  </a:cubicBezTo>
                  <a:cubicBezTo>
                    <a:pt x="587" y="484"/>
                    <a:pt x="587" y="484"/>
                    <a:pt x="587" y="484"/>
                  </a:cubicBezTo>
                  <a:cubicBezTo>
                    <a:pt x="587" y="482"/>
                    <a:pt x="587" y="482"/>
                    <a:pt x="587" y="482"/>
                  </a:cubicBezTo>
                  <a:cubicBezTo>
                    <a:pt x="588" y="479"/>
                    <a:pt x="588" y="479"/>
                    <a:pt x="588" y="479"/>
                  </a:cubicBezTo>
                  <a:cubicBezTo>
                    <a:pt x="588" y="478"/>
                    <a:pt x="588" y="478"/>
                    <a:pt x="588" y="478"/>
                  </a:cubicBezTo>
                  <a:cubicBezTo>
                    <a:pt x="589" y="476"/>
                    <a:pt x="589" y="476"/>
                    <a:pt x="589" y="476"/>
                  </a:cubicBezTo>
                  <a:cubicBezTo>
                    <a:pt x="590" y="475"/>
                    <a:pt x="590" y="475"/>
                    <a:pt x="590" y="475"/>
                  </a:cubicBezTo>
                  <a:cubicBezTo>
                    <a:pt x="592" y="473"/>
                    <a:pt x="592" y="473"/>
                    <a:pt x="592" y="473"/>
                  </a:cubicBezTo>
                  <a:cubicBezTo>
                    <a:pt x="592" y="473"/>
                    <a:pt x="592" y="473"/>
                    <a:pt x="592" y="473"/>
                  </a:cubicBezTo>
                  <a:cubicBezTo>
                    <a:pt x="591" y="467"/>
                    <a:pt x="591" y="467"/>
                    <a:pt x="591" y="467"/>
                  </a:cubicBezTo>
                  <a:cubicBezTo>
                    <a:pt x="591" y="464"/>
                    <a:pt x="591" y="464"/>
                    <a:pt x="591" y="464"/>
                  </a:cubicBezTo>
                  <a:cubicBezTo>
                    <a:pt x="592" y="462"/>
                    <a:pt x="592" y="462"/>
                    <a:pt x="592" y="462"/>
                  </a:cubicBezTo>
                  <a:cubicBezTo>
                    <a:pt x="591" y="459"/>
                    <a:pt x="591" y="459"/>
                    <a:pt x="591" y="459"/>
                  </a:cubicBezTo>
                  <a:cubicBezTo>
                    <a:pt x="590" y="457"/>
                    <a:pt x="590" y="457"/>
                    <a:pt x="590" y="457"/>
                  </a:cubicBezTo>
                  <a:cubicBezTo>
                    <a:pt x="589" y="454"/>
                    <a:pt x="589" y="454"/>
                    <a:pt x="589" y="454"/>
                  </a:cubicBezTo>
                  <a:cubicBezTo>
                    <a:pt x="590" y="451"/>
                    <a:pt x="590" y="451"/>
                    <a:pt x="590" y="451"/>
                  </a:cubicBezTo>
                  <a:cubicBezTo>
                    <a:pt x="592" y="447"/>
                    <a:pt x="592" y="447"/>
                    <a:pt x="592" y="447"/>
                  </a:cubicBezTo>
                  <a:cubicBezTo>
                    <a:pt x="594" y="446"/>
                    <a:pt x="594" y="446"/>
                    <a:pt x="594" y="446"/>
                  </a:cubicBezTo>
                  <a:cubicBezTo>
                    <a:pt x="595" y="445"/>
                    <a:pt x="595" y="445"/>
                    <a:pt x="595" y="445"/>
                  </a:cubicBezTo>
                  <a:cubicBezTo>
                    <a:pt x="595" y="445"/>
                    <a:pt x="595" y="445"/>
                    <a:pt x="595" y="445"/>
                  </a:cubicBezTo>
                  <a:cubicBezTo>
                    <a:pt x="594" y="444"/>
                    <a:pt x="594" y="444"/>
                    <a:pt x="594" y="444"/>
                  </a:cubicBezTo>
                  <a:cubicBezTo>
                    <a:pt x="593" y="445"/>
                    <a:pt x="593" y="445"/>
                    <a:pt x="593" y="445"/>
                  </a:cubicBezTo>
                  <a:cubicBezTo>
                    <a:pt x="592" y="445"/>
                    <a:pt x="592" y="445"/>
                    <a:pt x="592" y="445"/>
                  </a:cubicBezTo>
                  <a:cubicBezTo>
                    <a:pt x="590" y="446"/>
                    <a:pt x="590" y="446"/>
                    <a:pt x="590" y="446"/>
                  </a:cubicBezTo>
                  <a:cubicBezTo>
                    <a:pt x="587" y="450"/>
                    <a:pt x="587" y="450"/>
                    <a:pt x="587" y="450"/>
                  </a:cubicBezTo>
                  <a:cubicBezTo>
                    <a:pt x="584" y="452"/>
                    <a:pt x="584" y="452"/>
                    <a:pt x="584" y="452"/>
                  </a:cubicBezTo>
                  <a:cubicBezTo>
                    <a:pt x="582" y="453"/>
                    <a:pt x="582" y="453"/>
                    <a:pt x="582" y="453"/>
                  </a:cubicBezTo>
                  <a:cubicBezTo>
                    <a:pt x="579" y="453"/>
                    <a:pt x="579" y="453"/>
                    <a:pt x="579" y="453"/>
                  </a:cubicBezTo>
                  <a:cubicBezTo>
                    <a:pt x="576" y="453"/>
                    <a:pt x="576" y="453"/>
                    <a:pt x="576" y="453"/>
                  </a:cubicBezTo>
                  <a:cubicBezTo>
                    <a:pt x="575" y="453"/>
                    <a:pt x="575" y="453"/>
                    <a:pt x="575" y="453"/>
                  </a:cubicBezTo>
                  <a:cubicBezTo>
                    <a:pt x="574" y="454"/>
                    <a:pt x="574" y="454"/>
                    <a:pt x="574" y="454"/>
                  </a:cubicBezTo>
                  <a:cubicBezTo>
                    <a:pt x="574" y="455"/>
                    <a:pt x="574" y="455"/>
                    <a:pt x="574" y="455"/>
                  </a:cubicBezTo>
                  <a:cubicBezTo>
                    <a:pt x="573" y="456"/>
                    <a:pt x="573" y="456"/>
                    <a:pt x="573" y="456"/>
                  </a:cubicBezTo>
                  <a:cubicBezTo>
                    <a:pt x="571" y="459"/>
                    <a:pt x="571" y="459"/>
                    <a:pt x="571" y="459"/>
                  </a:cubicBezTo>
                  <a:cubicBezTo>
                    <a:pt x="569" y="460"/>
                    <a:pt x="569" y="460"/>
                    <a:pt x="569" y="460"/>
                  </a:cubicBezTo>
                  <a:cubicBezTo>
                    <a:pt x="563" y="472"/>
                    <a:pt x="563" y="472"/>
                    <a:pt x="563" y="472"/>
                  </a:cubicBezTo>
                  <a:cubicBezTo>
                    <a:pt x="561" y="475"/>
                    <a:pt x="561" y="475"/>
                    <a:pt x="561" y="475"/>
                  </a:cubicBezTo>
                  <a:cubicBezTo>
                    <a:pt x="558" y="477"/>
                    <a:pt x="558" y="477"/>
                    <a:pt x="558" y="477"/>
                  </a:cubicBezTo>
                  <a:cubicBezTo>
                    <a:pt x="556" y="478"/>
                    <a:pt x="556" y="478"/>
                    <a:pt x="556" y="478"/>
                  </a:cubicBezTo>
                  <a:cubicBezTo>
                    <a:pt x="553" y="478"/>
                    <a:pt x="553" y="478"/>
                    <a:pt x="553" y="478"/>
                  </a:cubicBezTo>
                  <a:cubicBezTo>
                    <a:pt x="545" y="477"/>
                    <a:pt x="545" y="477"/>
                    <a:pt x="545" y="477"/>
                  </a:cubicBezTo>
                  <a:cubicBezTo>
                    <a:pt x="545" y="477"/>
                    <a:pt x="545" y="477"/>
                    <a:pt x="545" y="477"/>
                  </a:cubicBezTo>
                  <a:cubicBezTo>
                    <a:pt x="543" y="479"/>
                    <a:pt x="543" y="479"/>
                    <a:pt x="543" y="479"/>
                  </a:cubicBezTo>
                  <a:cubicBezTo>
                    <a:pt x="542" y="479"/>
                    <a:pt x="542" y="479"/>
                    <a:pt x="542" y="479"/>
                  </a:cubicBezTo>
                  <a:cubicBezTo>
                    <a:pt x="539" y="480"/>
                    <a:pt x="539" y="480"/>
                    <a:pt x="539" y="480"/>
                  </a:cubicBezTo>
                  <a:cubicBezTo>
                    <a:pt x="538" y="480"/>
                    <a:pt x="538" y="480"/>
                    <a:pt x="538" y="480"/>
                  </a:cubicBezTo>
                  <a:cubicBezTo>
                    <a:pt x="535" y="479"/>
                    <a:pt x="535" y="479"/>
                    <a:pt x="535" y="479"/>
                  </a:cubicBezTo>
                  <a:cubicBezTo>
                    <a:pt x="535" y="479"/>
                    <a:pt x="535" y="479"/>
                    <a:pt x="535" y="479"/>
                  </a:cubicBezTo>
                  <a:cubicBezTo>
                    <a:pt x="534" y="480"/>
                    <a:pt x="534" y="480"/>
                    <a:pt x="534" y="480"/>
                  </a:cubicBezTo>
                  <a:cubicBezTo>
                    <a:pt x="531" y="484"/>
                    <a:pt x="531" y="484"/>
                    <a:pt x="531" y="484"/>
                  </a:cubicBezTo>
                  <a:cubicBezTo>
                    <a:pt x="529" y="485"/>
                    <a:pt x="529" y="485"/>
                    <a:pt x="529" y="485"/>
                  </a:cubicBezTo>
                  <a:cubicBezTo>
                    <a:pt x="524" y="494"/>
                    <a:pt x="524" y="494"/>
                    <a:pt x="524" y="494"/>
                  </a:cubicBezTo>
                  <a:cubicBezTo>
                    <a:pt x="523" y="496"/>
                    <a:pt x="523" y="496"/>
                    <a:pt x="523" y="496"/>
                  </a:cubicBezTo>
                  <a:cubicBezTo>
                    <a:pt x="523" y="498"/>
                    <a:pt x="523" y="498"/>
                    <a:pt x="523" y="498"/>
                  </a:cubicBezTo>
                  <a:cubicBezTo>
                    <a:pt x="523" y="500"/>
                    <a:pt x="523" y="500"/>
                    <a:pt x="523" y="500"/>
                  </a:cubicBezTo>
                  <a:cubicBezTo>
                    <a:pt x="523" y="502"/>
                    <a:pt x="523" y="502"/>
                    <a:pt x="523" y="502"/>
                  </a:cubicBezTo>
                  <a:cubicBezTo>
                    <a:pt x="524" y="502"/>
                    <a:pt x="524" y="502"/>
                    <a:pt x="524" y="502"/>
                  </a:cubicBezTo>
                  <a:cubicBezTo>
                    <a:pt x="524" y="501"/>
                    <a:pt x="524" y="501"/>
                    <a:pt x="524" y="501"/>
                  </a:cubicBezTo>
                  <a:cubicBezTo>
                    <a:pt x="524" y="500"/>
                    <a:pt x="524" y="500"/>
                    <a:pt x="524" y="500"/>
                  </a:cubicBezTo>
                  <a:cubicBezTo>
                    <a:pt x="523" y="498"/>
                    <a:pt x="523" y="498"/>
                    <a:pt x="523" y="498"/>
                  </a:cubicBezTo>
                  <a:cubicBezTo>
                    <a:pt x="524" y="498"/>
                    <a:pt x="524" y="498"/>
                    <a:pt x="524" y="498"/>
                  </a:cubicBezTo>
                  <a:cubicBezTo>
                    <a:pt x="525" y="498"/>
                    <a:pt x="525" y="498"/>
                    <a:pt x="525" y="498"/>
                  </a:cubicBezTo>
                  <a:cubicBezTo>
                    <a:pt x="525" y="498"/>
                    <a:pt x="525" y="498"/>
                    <a:pt x="525" y="498"/>
                  </a:cubicBezTo>
                  <a:cubicBezTo>
                    <a:pt x="525" y="499"/>
                    <a:pt x="525" y="499"/>
                    <a:pt x="525" y="499"/>
                  </a:cubicBezTo>
                  <a:cubicBezTo>
                    <a:pt x="525" y="501"/>
                    <a:pt x="525" y="501"/>
                    <a:pt x="525" y="501"/>
                  </a:cubicBezTo>
                  <a:cubicBezTo>
                    <a:pt x="526" y="501"/>
                    <a:pt x="526" y="501"/>
                    <a:pt x="526" y="501"/>
                  </a:cubicBezTo>
                  <a:cubicBezTo>
                    <a:pt x="526" y="502"/>
                    <a:pt x="526" y="502"/>
                    <a:pt x="526" y="502"/>
                  </a:cubicBezTo>
                  <a:cubicBezTo>
                    <a:pt x="527" y="503"/>
                    <a:pt x="527" y="503"/>
                    <a:pt x="527" y="503"/>
                  </a:cubicBezTo>
                  <a:cubicBezTo>
                    <a:pt x="528" y="503"/>
                    <a:pt x="528" y="503"/>
                    <a:pt x="528" y="503"/>
                  </a:cubicBezTo>
                  <a:cubicBezTo>
                    <a:pt x="528" y="503"/>
                    <a:pt x="528" y="503"/>
                    <a:pt x="528" y="503"/>
                  </a:cubicBezTo>
                  <a:cubicBezTo>
                    <a:pt x="529" y="504"/>
                    <a:pt x="529" y="504"/>
                    <a:pt x="529" y="504"/>
                  </a:cubicBezTo>
                  <a:cubicBezTo>
                    <a:pt x="530" y="504"/>
                    <a:pt x="530" y="504"/>
                    <a:pt x="530" y="504"/>
                  </a:cubicBezTo>
                  <a:cubicBezTo>
                    <a:pt x="530" y="505"/>
                    <a:pt x="530" y="505"/>
                    <a:pt x="530" y="505"/>
                  </a:cubicBezTo>
                  <a:cubicBezTo>
                    <a:pt x="531" y="506"/>
                    <a:pt x="531" y="506"/>
                    <a:pt x="531" y="506"/>
                  </a:cubicBezTo>
                  <a:cubicBezTo>
                    <a:pt x="531" y="507"/>
                    <a:pt x="531" y="507"/>
                    <a:pt x="531" y="507"/>
                  </a:cubicBezTo>
                  <a:cubicBezTo>
                    <a:pt x="532" y="508"/>
                    <a:pt x="532" y="508"/>
                    <a:pt x="532" y="508"/>
                  </a:cubicBezTo>
                  <a:cubicBezTo>
                    <a:pt x="533" y="508"/>
                    <a:pt x="533" y="508"/>
                    <a:pt x="533" y="508"/>
                  </a:cubicBezTo>
                  <a:cubicBezTo>
                    <a:pt x="532" y="507"/>
                    <a:pt x="532" y="507"/>
                    <a:pt x="532" y="507"/>
                  </a:cubicBezTo>
                  <a:cubicBezTo>
                    <a:pt x="532" y="507"/>
                    <a:pt x="532" y="507"/>
                    <a:pt x="532" y="507"/>
                  </a:cubicBezTo>
                  <a:cubicBezTo>
                    <a:pt x="533" y="507"/>
                    <a:pt x="533" y="507"/>
                    <a:pt x="533" y="507"/>
                  </a:cubicBezTo>
                  <a:cubicBezTo>
                    <a:pt x="533" y="507"/>
                    <a:pt x="533" y="507"/>
                    <a:pt x="533" y="507"/>
                  </a:cubicBezTo>
                  <a:cubicBezTo>
                    <a:pt x="533" y="507"/>
                    <a:pt x="533" y="507"/>
                    <a:pt x="533" y="507"/>
                  </a:cubicBezTo>
                  <a:cubicBezTo>
                    <a:pt x="534" y="506"/>
                    <a:pt x="534" y="506"/>
                    <a:pt x="534" y="506"/>
                  </a:cubicBezTo>
                  <a:cubicBezTo>
                    <a:pt x="534" y="506"/>
                    <a:pt x="534" y="506"/>
                    <a:pt x="534" y="506"/>
                  </a:cubicBezTo>
                  <a:cubicBezTo>
                    <a:pt x="534" y="505"/>
                    <a:pt x="534" y="505"/>
                    <a:pt x="534" y="505"/>
                  </a:cubicBezTo>
                  <a:cubicBezTo>
                    <a:pt x="534" y="504"/>
                    <a:pt x="534" y="504"/>
                    <a:pt x="534" y="504"/>
                  </a:cubicBezTo>
                  <a:cubicBezTo>
                    <a:pt x="534" y="504"/>
                    <a:pt x="534" y="504"/>
                    <a:pt x="534" y="504"/>
                  </a:cubicBezTo>
                  <a:cubicBezTo>
                    <a:pt x="534" y="503"/>
                    <a:pt x="534" y="503"/>
                    <a:pt x="534" y="503"/>
                  </a:cubicBezTo>
                  <a:cubicBezTo>
                    <a:pt x="534" y="502"/>
                    <a:pt x="534" y="502"/>
                    <a:pt x="534" y="502"/>
                  </a:cubicBezTo>
                  <a:cubicBezTo>
                    <a:pt x="533" y="502"/>
                    <a:pt x="533" y="502"/>
                    <a:pt x="533" y="502"/>
                  </a:cubicBezTo>
                  <a:cubicBezTo>
                    <a:pt x="531" y="503"/>
                    <a:pt x="531" y="503"/>
                    <a:pt x="531" y="503"/>
                  </a:cubicBezTo>
                  <a:cubicBezTo>
                    <a:pt x="531" y="503"/>
                    <a:pt x="531" y="503"/>
                    <a:pt x="531" y="503"/>
                  </a:cubicBezTo>
                  <a:cubicBezTo>
                    <a:pt x="530" y="503"/>
                    <a:pt x="530" y="503"/>
                    <a:pt x="530" y="503"/>
                  </a:cubicBezTo>
                  <a:cubicBezTo>
                    <a:pt x="530" y="502"/>
                    <a:pt x="530" y="502"/>
                    <a:pt x="530" y="502"/>
                  </a:cubicBezTo>
                  <a:cubicBezTo>
                    <a:pt x="528" y="503"/>
                    <a:pt x="528" y="503"/>
                    <a:pt x="528" y="503"/>
                  </a:cubicBezTo>
                  <a:cubicBezTo>
                    <a:pt x="528" y="502"/>
                    <a:pt x="528" y="502"/>
                    <a:pt x="528" y="502"/>
                  </a:cubicBezTo>
                  <a:cubicBezTo>
                    <a:pt x="528" y="502"/>
                    <a:pt x="528" y="502"/>
                    <a:pt x="528" y="502"/>
                  </a:cubicBezTo>
                  <a:cubicBezTo>
                    <a:pt x="529" y="502"/>
                    <a:pt x="529" y="502"/>
                    <a:pt x="529" y="502"/>
                  </a:cubicBezTo>
                  <a:cubicBezTo>
                    <a:pt x="529" y="502"/>
                    <a:pt x="529" y="502"/>
                    <a:pt x="529" y="502"/>
                  </a:cubicBezTo>
                  <a:cubicBezTo>
                    <a:pt x="530" y="502"/>
                    <a:pt x="530" y="502"/>
                    <a:pt x="530" y="502"/>
                  </a:cubicBezTo>
                  <a:cubicBezTo>
                    <a:pt x="531" y="502"/>
                    <a:pt x="531" y="502"/>
                    <a:pt x="531" y="502"/>
                  </a:cubicBezTo>
                  <a:cubicBezTo>
                    <a:pt x="531" y="502"/>
                    <a:pt x="531" y="502"/>
                    <a:pt x="531" y="502"/>
                  </a:cubicBezTo>
                  <a:cubicBezTo>
                    <a:pt x="531" y="502"/>
                    <a:pt x="531" y="502"/>
                    <a:pt x="531" y="502"/>
                  </a:cubicBezTo>
                  <a:cubicBezTo>
                    <a:pt x="532" y="502"/>
                    <a:pt x="532" y="502"/>
                    <a:pt x="532" y="502"/>
                  </a:cubicBezTo>
                  <a:cubicBezTo>
                    <a:pt x="532" y="502"/>
                    <a:pt x="532" y="502"/>
                    <a:pt x="532" y="502"/>
                  </a:cubicBezTo>
                  <a:cubicBezTo>
                    <a:pt x="532" y="501"/>
                    <a:pt x="532" y="501"/>
                    <a:pt x="532" y="501"/>
                  </a:cubicBezTo>
                  <a:cubicBezTo>
                    <a:pt x="531" y="501"/>
                    <a:pt x="531" y="501"/>
                    <a:pt x="531" y="501"/>
                  </a:cubicBezTo>
                  <a:cubicBezTo>
                    <a:pt x="530" y="501"/>
                    <a:pt x="530" y="501"/>
                    <a:pt x="530" y="501"/>
                  </a:cubicBezTo>
                  <a:cubicBezTo>
                    <a:pt x="530" y="501"/>
                    <a:pt x="530" y="501"/>
                    <a:pt x="530" y="501"/>
                  </a:cubicBezTo>
                  <a:cubicBezTo>
                    <a:pt x="531" y="500"/>
                    <a:pt x="531" y="500"/>
                    <a:pt x="531" y="500"/>
                  </a:cubicBezTo>
                  <a:cubicBezTo>
                    <a:pt x="531" y="499"/>
                    <a:pt x="531" y="499"/>
                    <a:pt x="531" y="499"/>
                  </a:cubicBezTo>
                  <a:cubicBezTo>
                    <a:pt x="530" y="497"/>
                    <a:pt x="530" y="497"/>
                    <a:pt x="530" y="497"/>
                  </a:cubicBezTo>
                  <a:cubicBezTo>
                    <a:pt x="531" y="497"/>
                    <a:pt x="531" y="497"/>
                    <a:pt x="531" y="497"/>
                  </a:cubicBezTo>
                  <a:cubicBezTo>
                    <a:pt x="531" y="496"/>
                    <a:pt x="531" y="496"/>
                    <a:pt x="531" y="496"/>
                  </a:cubicBezTo>
                  <a:cubicBezTo>
                    <a:pt x="532" y="496"/>
                    <a:pt x="532" y="496"/>
                    <a:pt x="532" y="496"/>
                  </a:cubicBezTo>
                  <a:cubicBezTo>
                    <a:pt x="532" y="496"/>
                    <a:pt x="532" y="496"/>
                    <a:pt x="532" y="496"/>
                  </a:cubicBezTo>
                  <a:cubicBezTo>
                    <a:pt x="532" y="496"/>
                    <a:pt x="532" y="496"/>
                    <a:pt x="532" y="496"/>
                  </a:cubicBezTo>
                  <a:cubicBezTo>
                    <a:pt x="532" y="496"/>
                    <a:pt x="532" y="496"/>
                    <a:pt x="532" y="496"/>
                  </a:cubicBezTo>
                  <a:cubicBezTo>
                    <a:pt x="533" y="495"/>
                    <a:pt x="533" y="495"/>
                    <a:pt x="533" y="495"/>
                  </a:cubicBezTo>
                  <a:cubicBezTo>
                    <a:pt x="534" y="494"/>
                    <a:pt x="534" y="494"/>
                    <a:pt x="534" y="494"/>
                  </a:cubicBezTo>
                  <a:cubicBezTo>
                    <a:pt x="534" y="494"/>
                    <a:pt x="534" y="494"/>
                    <a:pt x="534" y="494"/>
                  </a:cubicBezTo>
                  <a:cubicBezTo>
                    <a:pt x="534" y="493"/>
                    <a:pt x="534" y="493"/>
                    <a:pt x="534" y="493"/>
                  </a:cubicBezTo>
                  <a:cubicBezTo>
                    <a:pt x="534" y="493"/>
                    <a:pt x="534" y="493"/>
                    <a:pt x="534" y="493"/>
                  </a:cubicBezTo>
                  <a:cubicBezTo>
                    <a:pt x="534" y="493"/>
                    <a:pt x="534" y="493"/>
                    <a:pt x="534" y="493"/>
                  </a:cubicBezTo>
                  <a:cubicBezTo>
                    <a:pt x="535" y="491"/>
                    <a:pt x="535" y="491"/>
                    <a:pt x="535" y="491"/>
                  </a:cubicBezTo>
                  <a:cubicBezTo>
                    <a:pt x="535" y="491"/>
                    <a:pt x="535" y="491"/>
                    <a:pt x="535" y="491"/>
                  </a:cubicBezTo>
                  <a:cubicBezTo>
                    <a:pt x="535" y="490"/>
                    <a:pt x="535" y="490"/>
                    <a:pt x="535" y="490"/>
                  </a:cubicBezTo>
                  <a:cubicBezTo>
                    <a:pt x="536" y="490"/>
                    <a:pt x="536" y="490"/>
                    <a:pt x="536" y="490"/>
                  </a:cubicBezTo>
                  <a:cubicBezTo>
                    <a:pt x="536" y="489"/>
                    <a:pt x="536" y="489"/>
                    <a:pt x="536" y="489"/>
                  </a:cubicBezTo>
                  <a:cubicBezTo>
                    <a:pt x="536" y="488"/>
                    <a:pt x="536" y="488"/>
                    <a:pt x="536" y="488"/>
                  </a:cubicBezTo>
                  <a:cubicBezTo>
                    <a:pt x="537" y="488"/>
                    <a:pt x="537" y="488"/>
                    <a:pt x="537" y="488"/>
                  </a:cubicBezTo>
                  <a:cubicBezTo>
                    <a:pt x="538" y="488"/>
                    <a:pt x="538" y="488"/>
                    <a:pt x="538" y="488"/>
                  </a:cubicBezTo>
                  <a:cubicBezTo>
                    <a:pt x="539" y="488"/>
                    <a:pt x="539" y="488"/>
                    <a:pt x="539" y="488"/>
                  </a:cubicBezTo>
                  <a:cubicBezTo>
                    <a:pt x="540" y="487"/>
                    <a:pt x="540" y="487"/>
                    <a:pt x="540" y="487"/>
                  </a:cubicBezTo>
                  <a:cubicBezTo>
                    <a:pt x="541" y="486"/>
                    <a:pt x="541" y="486"/>
                    <a:pt x="541" y="486"/>
                  </a:cubicBezTo>
                  <a:cubicBezTo>
                    <a:pt x="541" y="486"/>
                    <a:pt x="541" y="486"/>
                    <a:pt x="541" y="486"/>
                  </a:cubicBezTo>
                  <a:cubicBezTo>
                    <a:pt x="541" y="485"/>
                    <a:pt x="541" y="485"/>
                    <a:pt x="541" y="485"/>
                  </a:cubicBezTo>
                  <a:cubicBezTo>
                    <a:pt x="542" y="485"/>
                    <a:pt x="542" y="485"/>
                    <a:pt x="542" y="485"/>
                  </a:cubicBezTo>
                  <a:cubicBezTo>
                    <a:pt x="543" y="486"/>
                    <a:pt x="543" y="486"/>
                    <a:pt x="543" y="486"/>
                  </a:cubicBezTo>
                  <a:cubicBezTo>
                    <a:pt x="543" y="486"/>
                    <a:pt x="543" y="486"/>
                    <a:pt x="543" y="486"/>
                  </a:cubicBezTo>
                  <a:cubicBezTo>
                    <a:pt x="543" y="486"/>
                    <a:pt x="543" y="486"/>
                    <a:pt x="543" y="486"/>
                  </a:cubicBezTo>
                  <a:cubicBezTo>
                    <a:pt x="544" y="486"/>
                    <a:pt x="544" y="486"/>
                    <a:pt x="544" y="486"/>
                  </a:cubicBezTo>
                  <a:cubicBezTo>
                    <a:pt x="544" y="485"/>
                    <a:pt x="544" y="485"/>
                    <a:pt x="544" y="485"/>
                  </a:cubicBezTo>
                  <a:cubicBezTo>
                    <a:pt x="545" y="485"/>
                    <a:pt x="545" y="485"/>
                    <a:pt x="545" y="485"/>
                  </a:cubicBezTo>
                  <a:cubicBezTo>
                    <a:pt x="545" y="485"/>
                    <a:pt x="545" y="485"/>
                    <a:pt x="545" y="485"/>
                  </a:cubicBezTo>
                  <a:cubicBezTo>
                    <a:pt x="546" y="484"/>
                    <a:pt x="546" y="484"/>
                    <a:pt x="546" y="484"/>
                  </a:cubicBezTo>
                  <a:cubicBezTo>
                    <a:pt x="546" y="484"/>
                    <a:pt x="546" y="484"/>
                    <a:pt x="546" y="484"/>
                  </a:cubicBezTo>
                  <a:cubicBezTo>
                    <a:pt x="547" y="484"/>
                    <a:pt x="547" y="484"/>
                    <a:pt x="547" y="484"/>
                  </a:cubicBezTo>
                  <a:cubicBezTo>
                    <a:pt x="547" y="485"/>
                    <a:pt x="547" y="485"/>
                    <a:pt x="547" y="485"/>
                  </a:cubicBezTo>
                  <a:cubicBezTo>
                    <a:pt x="547" y="485"/>
                    <a:pt x="547" y="485"/>
                    <a:pt x="547" y="485"/>
                  </a:cubicBezTo>
                  <a:cubicBezTo>
                    <a:pt x="548" y="485"/>
                    <a:pt x="548" y="485"/>
                    <a:pt x="548" y="485"/>
                  </a:cubicBezTo>
                  <a:cubicBezTo>
                    <a:pt x="548" y="484"/>
                    <a:pt x="548" y="484"/>
                    <a:pt x="548" y="484"/>
                  </a:cubicBezTo>
                  <a:cubicBezTo>
                    <a:pt x="549" y="484"/>
                    <a:pt x="549" y="484"/>
                    <a:pt x="549" y="484"/>
                  </a:cubicBezTo>
                  <a:cubicBezTo>
                    <a:pt x="549" y="483"/>
                    <a:pt x="549" y="483"/>
                    <a:pt x="549" y="483"/>
                  </a:cubicBezTo>
                  <a:cubicBezTo>
                    <a:pt x="549" y="482"/>
                    <a:pt x="549" y="482"/>
                    <a:pt x="549" y="482"/>
                  </a:cubicBezTo>
                  <a:cubicBezTo>
                    <a:pt x="553" y="485"/>
                    <a:pt x="553" y="485"/>
                    <a:pt x="553" y="485"/>
                  </a:cubicBezTo>
                  <a:cubicBezTo>
                    <a:pt x="553" y="485"/>
                    <a:pt x="553" y="485"/>
                    <a:pt x="553" y="485"/>
                  </a:cubicBezTo>
                  <a:cubicBezTo>
                    <a:pt x="554" y="485"/>
                    <a:pt x="554" y="485"/>
                    <a:pt x="554" y="485"/>
                  </a:cubicBezTo>
                  <a:cubicBezTo>
                    <a:pt x="561" y="483"/>
                    <a:pt x="561" y="483"/>
                    <a:pt x="561" y="483"/>
                  </a:cubicBezTo>
                  <a:cubicBezTo>
                    <a:pt x="563" y="483"/>
                    <a:pt x="563" y="483"/>
                    <a:pt x="563" y="483"/>
                  </a:cubicBezTo>
                  <a:cubicBezTo>
                    <a:pt x="565" y="482"/>
                    <a:pt x="565" y="482"/>
                    <a:pt x="565" y="482"/>
                  </a:cubicBezTo>
                  <a:cubicBezTo>
                    <a:pt x="566" y="481"/>
                    <a:pt x="566" y="481"/>
                    <a:pt x="566" y="481"/>
                  </a:cubicBezTo>
                  <a:cubicBezTo>
                    <a:pt x="566" y="481"/>
                    <a:pt x="566" y="481"/>
                    <a:pt x="566" y="481"/>
                  </a:cubicBezTo>
                  <a:cubicBezTo>
                    <a:pt x="567" y="482"/>
                    <a:pt x="567" y="482"/>
                    <a:pt x="567" y="482"/>
                  </a:cubicBezTo>
                  <a:cubicBezTo>
                    <a:pt x="567" y="482"/>
                    <a:pt x="567" y="482"/>
                    <a:pt x="567" y="482"/>
                  </a:cubicBezTo>
                  <a:cubicBezTo>
                    <a:pt x="568" y="482"/>
                    <a:pt x="568" y="482"/>
                    <a:pt x="568" y="482"/>
                  </a:cubicBezTo>
                  <a:cubicBezTo>
                    <a:pt x="569" y="481"/>
                    <a:pt x="569" y="481"/>
                    <a:pt x="569" y="481"/>
                  </a:cubicBezTo>
                  <a:cubicBezTo>
                    <a:pt x="569" y="480"/>
                    <a:pt x="569" y="480"/>
                    <a:pt x="569" y="480"/>
                  </a:cubicBezTo>
                  <a:cubicBezTo>
                    <a:pt x="570" y="480"/>
                    <a:pt x="570" y="480"/>
                    <a:pt x="570" y="480"/>
                  </a:cubicBezTo>
                  <a:cubicBezTo>
                    <a:pt x="570" y="480"/>
                    <a:pt x="570" y="480"/>
                    <a:pt x="570" y="480"/>
                  </a:cubicBezTo>
                  <a:cubicBezTo>
                    <a:pt x="571" y="480"/>
                    <a:pt x="571" y="480"/>
                    <a:pt x="571" y="480"/>
                  </a:cubicBezTo>
                  <a:cubicBezTo>
                    <a:pt x="572" y="481"/>
                    <a:pt x="572" y="481"/>
                    <a:pt x="572" y="481"/>
                  </a:cubicBezTo>
                  <a:cubicBezTo>
                    <a:pt x="573" y="482"/>
                    <a:pt x="573" y="482"/>
                    <a:pt x="573" y="482"/>
                  </a:cubicBezTo>
                  <a:cubicBezTo>
                    <a:pt x="570" y="483"/>
                    <a:pt x="570" y="483"/>
                    <a:pt x="570" y="483"/>
                  </a:cubicBezTo>
                  <a:cubicBezTo>
                    <a:pt x="569" y="482"/>
                    <a:pt x="569" y="482"/>
                    <a:pt x="569" y="482"/>
                  </a:cubicBezTo>
                  <a:cubicBezTo>
                    <a:pt x="568" y="483"/>
                    <a:pt x="568" y="483"/>
                    <a:pt x="568" y="483"/>
                  </a:cubicBezTo>
                  <a:cubicBezTo>
                    <a:pt x="567" y="483"/>
                    <a:pt x="567" y="483"/>
                    <a:pt x="567" y="483"/>
                  </a:cubicBezTo>
                  <a:cubicBezTo>
                    <a:pt x="566" y="484"/>
                    <a:pt x="566" y="484"/>
                    <a:pt x="566" y="484"/>
                  </a:cubicBezTo>
                  <a:cubicBezTo>
                    <a:pt x="566" y="485"/>
                    <a:pt x="566" y="485"/>
                    <a:pt x="566" y="485"/>
                  </a:cubicBezTo>
                  <a:cubicBezTo>
                    <a:pt x="564" y="487"/>
                    <a:pt x="564" y="487"/>
                    <a:pt x="564" y="487"/>
                  </a:cubicBezTo>
                  <a:cubicBezTo>
                    <a:pt x="564" y="487"/>
                    <a:pt x="564" y="487"/>
                    <a:pt x="564" y="487"/>
                  </a:cubicBezTo>
                  <a:cubicBezTo>
                    <a:pt x="564" y="487"/>
                    <a:pt x="564" y="487"/>
                    <a:pt x="564" y="487"/>
                  </a:cubicBezTo>
                  <a:cubicBezTo>
                    <a:pt x="563" y="487"/>
                    <a:pt x="563" y="487"/>
                    <a:pt x="563" y="487"/>
                  </a:cubicBezTo>
                  <a:cubicBezTo>
                    <a:pt x="563" y="487"/>
                    <a:pt x="563" y="487"/>
                    <a:pt x="563" y="487"/>
                  </a:cubicBezTo>
                  <a:cubicBezTo>
                    <a:pt x="563" y="486"/>
                    <a:pt x="563" y="486"/>
                    <a:pt x="563" y="486"/>
                  </a:cubicBezTo>
                  <a:cubicBezTo>
                    <a:pt x="563" y="486"/>
                    <a:pt x="563" y="486"/>
                    <a:pt x="563" y="486"/>
                  </a:cubicBezTo>
                  <a:cubicBezTo>
                    <a:pt x="563" y="486"/>
                    <a:pt x="563" y="486"/>
                    <a:pt x="563" y="486"/>
                  </a:cubicBezTo>
                  <a:cubicBezTo>
                    <a:pt x="560" y="484"/>
                    <a:pt x="560" y="484"/>
                    <a:pt x="560" y="484"/>
                  </a:cubicBezTo>
                  <a:cubicBezTo>
                    <a:pt x="559" y="484"/>
                    <a:pt x="559" y="484"/>
                    <a:pt x="559" y="484"/>
                  </a:cubicBezTo>
                  <a:cubicBezTo>
                    <a:pt x="555" y="486"/>
                    <a:pt x="555" y="486"/>
                    <a:pt x="555" y="486"/>
                  </a:cubicBezTo>
                  <a:cubicBezTo>
                    <a:pt x="554" y="487"/>
                    <a:pt x="554" y="487"/>
                    <a:pt x="554" y="487"/>
                  </a:cubicBezTo>
                  <a:cubicBezTo>
                    <a:pt x="554" y="487"/>
                    <a:pt x="554" y="487"/>
                    <a:pt x="554" y="487"/>
                  </a:cubicBezTo>
                  <a:cubicBezTo>
                    <a:pt x="554" y="487"/>
                    <a:pt x="554" y="487"/>
                    <a:pt x="554" y="487"/>
                  </a:cubicBezTo>
                  <a:cubicBezTo>
                    <a:pt x="554" y="487"/>
                    <a:pt x="554" y="487"/>
                    <a:pt x="554" y="487"/>
                  </a:cubicBezTo>
                  <a:cubicBezTo>
                    <a:pt x="553" y="487"/>
                    <a:pt x="553" y="487"/>
                    <a:pt x="553" y="487"/>
                  </a:cubicBezTo>
                  <a:cubicBezTo>
                    <a:pt x="552" y="488"/>
                    <a:pt x="552" y="488"/>
                    <a:pt x="552" y="488"/>
                  </a:cubicBezTo>
                  <a:cubicBezTo>
                    <a:pt x="552" y="489"/>
                    <a:pt x="552" y="489"/>
                    <a:pt x="552" y="489"/>
                  </a:cubicBezTo>
                  <a:cubicBezTo>
                    <a:pt x="551" y="490"/>
                    <a:pt x="551" y="490"/>
                    <a:pt x="551" y="490"/>
                  </a:cubicBezTo>
                  <a:cubicBezTo>
                    <a:pt x="551" y="491"/>
                    <a:pt x="551" y="491"/>
                    <a:pt x="551" y="491"/>
                  </a:cubicBezTo>
                  <a:cubicBezTo>
                    <a:pt x="551" y="492"/>
                    <a:pt x="551" y="492"/>
                    <a:pt x="551" y="492"/>
                  </a:cubicBezTo>
                  <a:cubicBezTo>
                    <a:pt x="552" y="492"/>
                    <a:pt x="552" y="492"/>
                    <a:pt x="552" y="492"/>
                  </a:cubicBezTo>
                  <a:cubicBezTo>
                    <a:pt x="552" y="492"/>
                    <a:pt x="552" y="492"/>
                    <a:pt x="552" y="492"/>
                  </a:cubicBezTo>
                  <a:cubicBezTo>
                    <a:pt x="552" y="492"/>
                    <a:pt x="552" y="492"/>
                    <a:pt x="552" y="492"/>
                  </a:cubicBezTo>
                  <a:cubicBezTo>
                    <a:pt x="552" y="493"/>
                    <a:pt x="552" y="493"/>
                    <a:pt x="552" y="493"/>
                  </a:cubicBezTo>
                  <a:cubicBezTo>
                    <a:pt x="552" y="494"/>
                    <a:pt x="552" y="494"/>
                    <a:pt x="552" y="494"/>
                  </a:cubicBezTo>
                  <a:cubicBezTo>
                    <a:pt x="552" y="494"/>
                    <a:pt x="552" y="494"/>
                    <a:pt x="552" y="494"/>
                  </a:cubicBezTo>
                  <a:cubicBezTo>
                    <a:pt x="552" y="494"/>
                    <a:pt x="552" y="494"/>
                    <a:pt x="552" y="494"/>
                  </a:cubicBezTo>
                  <a:cubicBezTo>
                    <a:pt x="551" y="495"/>
                    <a:pt x="551" y="495"/>
                    <a:pt x="551" y="495"/>
                  </a:cubicBezTo>
                  <a:cubicBezTo>
                    <a:pt x="551" y="495"/>
                    <a:pt x="551" y="495"/>
                    <a:pt x="551" y="495"/>
                  </a:cubicBezTo>
                  <a:cubicBezTo>
                    <a:pt x="551" y="496"/>
                    <a:pt x="551" y="496"/>
                    <a:pt x="551" y="496"/>
                  </a:cubicBezTo>
                  <a:cubicBezTo>
                    <a:pt x="551" y="497"/>
                    <a:pt x="551" y="497"/>
                    <a:pt x="551" y="497"/>
                  </a:cubicBezTo>
                  <a:cubicBezTo>
                    <a:pt x="551" y="497"/>
                    <a:pt x="551" y="497"/>
                    <a:pt x="551" y="497"/>
                  </a:cubicBezTo>
                  <a:cubicBezTo>
                    <a:pt x="552" y="498"/>
                    <a:pt x="552" y="498"/>
                    <a:pt x="552" y="498"/>
                  </a:cubicBezTo>
                  <a:cubicBezTo>
                    <a:pt x="552" y="498"/>
                    <a:pt x="552" y="498"/>
                    <a:pt x="552" y="498"/>
                  </a:cubicBezTo>
                  <a:cubicBezTo>
                    <a:pt x="552" y="498"/>
                    <a:pt x="552" y="498"/>
                    <a:pt x="552" y="498"/>
                  </a:cubicBezTo>
                  <a:cubicBezTo>
                    <a:pt x="552" y="499"/>
                    <a:pt x="552" y="499"/>
                    <a:pt x="552" y="499"/>
                  </a:cubicBezTo>
                  <a:cubicBezTo>
                    <a:pt x="553" y="499"/>
                    <a:pt x="553" y="499"/>
                    <a:pt x="553" y="499"/>
                  </a:cubicBezTo>
                  <a:cubicBezTo>
                    <a:pt x="553" y="499"/>
                    <a:pt x="553" y="499"/>
                    <a:pt x="553" y="499"/>
                  </a:cubicBezTo>
                  <a:cubicBezTo>
                    <a:pt x="553" y="500"/>
                    <a:pt x="553" y="500"/>
                    <a:pt x="553" y="500"/>
                  </a:cubicBezTo>
                  <a:cubicBezTo>
                    <a:pt x="553" y="501"/>
                    <a:pt x="553" y="501"/>
                    <a:pt x="553" y="501"/>
                  </a:cubicBezTo>
                  <a:cubicBezTo>
                    <a:pt x="551" y="502"/>
                    <a:pt x="551" y="502"/>
                    <a:pt x="551" y="502"/>
                  </a:cubicBezTo>
                  <a:cubicBezTo>
                    <a:pt x="551" y="502"/>
                    <a:pt x="551" y="502"/>
                    <a:pt x="551" y="502"/>
                  </a:cubicBezTo>
                  <a:cubicBezTo>
                    <a:pt x="551" y="503"/>
                    <a:pt x="551" y="503"/>
                    <a:pt x="551" y="503"/>
                  </a:cubicBezTo>
                  <a:cubicBezTo>
                    <a:pt x="552" y="503"/>
                    <a:pt x="552" y="503"/>
                    <a:pt x="552" y="503"/>
                  </a:cubicBezTo>
                  <a:cubicBezTo>
                    <a:pt x="552" y="503"/>
                    <a:pt x="552" y="503"/>
                    <a:pt x="552" y="503"/>
                  </a:cubicBezTo>
                  <a:cubicBezTo>
                    <a:pt x="553" y="502"/>
                    <a:pt x="553" y="502"/>
                    <a:pt x="553" y="502"/>
                  </a:cubicBezTo>
                  <a:cubicBezTo>
                    <a:pt x="554" y="502"/>
                    <a:pt x="554" y="502"/>
                    <a:pt x="554" y="502"/>
                  </a:cubicBezTo>
                  <a:cubicBezTo>
                    <a:pt x="555" y="502"/>
                    <a:pt x="555" y="502"/>
                    <a:pt x="555" y="502"/>
                  </a:cubicBezTo>
                  <a:cubicBezTo>
                    <a:pt x="555" y="502"/>
                    <a:pt x="555" y="502"/>
                    <a:pt x="555" y="502"/>
                  </a:cubicBezTo>
                  <a:cubicBezTo>
                    <a:pt x="555" y="502"/>
                    <a:pt x="555" y="502"/>
                    <a:pt x="555" y="502"/>
                  </a:cubicBezTo>
                  <a:cubicBezTo>
                    <a:pt x="556" y="503"/>
                    <a:pt x="556" y="503"/>
                    <a:pt x="556" y="503"/>
                  </a:cubicBezTo>
                  <a:cubicBezTo>
                    <a:pt x="556" y="505"/>
                    <a:pt x="556" y="505"/>
                    <a:pt x="556" y="505"/>
                  </a:cubicBezTo>
                  <a:cubicBezTo>
                    <a:pt x="555" y="507"/>
                    <a:pt x="555" y="507"/>
                    <a:pt x="555" y="507"/>
                  </a:cubicBezTo>
                  <a:cubicBezTo>
                    <a:pt x="555" y="509"/>
                    <a:pt x="555" y="509"/>
                    <a:pt x="555" y="509"/>
                  </a:cubicBezTo>
                  <a:cubicBezTo>
                    <a:pt x="555" y="509"/>
                    <a:pt x="555" y="509"/>
                    <a:pt x="555" y="509"/>
                  </a:cubicBezTo>
                  <a:cubicBezTo>
                    <a:pt x="555" y="509"/>
                    <a:pt x="555" y="509"/>
                    <a:pt x="555" y="509"/>
                  </a:cubicBezTo>
                  <a:cubicBezTo>
                    <a:pt x="555" y="509"/>
                    <a:pt x="555" y="509"/>
                    <a:pt x="555" y="509"/>
                  </a:cubicBezTo>
                  <a:cubicBezTo>
                    <a:pt x="555" y="510"/>
                    <a:pt x="555" y="510"/>
                    <a:pt x="555" y="510"/>
                  </a:cubicBezTo>
                  <a:cubicBezTo>
                    <a:pt x="555" y="510"/>
                    <a:pt x="555" y="510"/>
                    <a:pt x="555" y="510"/>
                  </a:cubicBezTo>
                  <a:cubicBezTo>
                    <a:pt x="556" y="509"/>
                    <a:pt x="556" y="509"/>
                    <a:pt x="556" y="509"/>
                  </a:cubicBezTo>
                  <a:cubicBezTo>
                    <a:pt x="556" y="509"/>
                    <a:pt x="556" y="509"/>
                    <a:pt x="556" y="509"/>
                  </a:cubicBezTo>
                  <a:cubicBezTo>
                    <a:pt x="557" y="509"/>
                    <a:pt x="557" y="509"/>
                    <a:pt x="557" y="509"/>
                  </a:cubicBezTo>
                  <a:cubicBezTo>
                    <a:pt x="557" y="510"/>
                    <a:pt x="557" y="510"/>
                    <a:pt x="557" y="510"/>
                  </a:cubicBezTo>
                  <a:cubicBezTo>
                    <a:pt x="557" y="510"/>
                    <a:pt x="557" y="510"/>
                    <a:pt x="557" y="510"/>
                  </a:cubicBezTo>
                  <a:cubicBezTo>
                    <a:pt x="556" y="510"/>
                    <a:pt x="556" y="510"/>
                    <a:pt x="556" y="510"/>
                  </a:cubicBezTo>
                  <a:cubicBezTo>
                    <a:pt x="556" y="510"/>
                    <a:pt x="556" y="510"/>
                    <a:pt x="556" y="510"/>
                  </a:cubicBezTo>
                  <a:cubicBezTo>
                    <a:pt x="556" y="511"/>
                    <a:pt x="556" y="511"/>
                    <a:pt x="556" y="511"/>
                  </a:cubicBezTo>
                  <a:cubicBezTo>
                    <a:pt x="555" y="511"/>
                    <a:pt x="555" y="511"/>
                    <a:pt x="555" y="511"/>
                  </a:cubicBezTo>
                  <a:cubicBezTo>
                    <a:pt x="555" y="511"/>
                    <a:pt x="555" y="511"/>
                    <a:pt x="555" y="511"/>
                  </a:cubicBezTo>
                  <a:cubicBezTo>
                    <a:pt x="555" y="510"/>
                    <a:pt x="555" y="510"/>
                    <a:pt x="555" y="510"/>
                  </a:cubicBezTo>
                  <a:cubicBezTo>
                    <a:pt x="555" y="510"/>
                    <a:pt x="555" y="510"/>
                    <a:pt x="555" y="510"/>
                  </a:cubicBezTo>
                  <a:cubicBezTo>
                    <a:pt x="554" y="510"/>
                    <a:pt x="554" y="510"/>
                    <a:pt x="554" y="510"/>
                  </a:cubicBezTo>
                  <a:cubicBezTo>
                    <a:pt x="554" y="510"/>
                    <a:pt x="554" y="510"/>
                    <a:pt x="554" y="510"/>
                  </a:cubicBezTo>
                  <a:cubicBezTo>
                    <a:pt x="554" y="509"/>
                    <a:pt x="554" y="509"/>
                    <a:pt x="554" y="509"/>
                  </a:cubicBezTo>
                  <a:cubicBezTo>
                    <a:pt x="554" y="509"/>
                    <a:pt x="554" y="509"/>
                    <a:pt x="554" y="509"/>
                  </a:cubicBezTo>
                  <a:cubicBezTo>
                    <a:pt x="554" y="508"/>
                    <a:pt x="554" y="508"/>
                    <a:pt x="554" y="508"/>
                  </a:cubicBezTo>
                  <a:cubicBezTo>
                    <a:pt x="553" y="508"/>
                    <a:pt x="553" y="508"/>
                    <a:pt x="553" y="508"/>
                  </a:cubicBezTo>
                  <a:cubicBezTo>
                    <a:pt x="554" y="508"/>
                    <a:pt x="554" y="508"/>
                    <a:pt x="554" y="508"/>
                  </a:cubicBezTo>
                  <a:cubicBezTo>
                    <a:pt x="554" y="507"/>
                    <a:pt x="554" y="507"/>
                    <a:pt x="554" y="507"/>
                  </a:cubicBezTo>
                  <a:cubicBezTo>
                    <a:pt x="554" y="506"/>
                    <a:pt x="554" y="506"/>
                    <a:pt x="554" y="506"/>
                  </a:cubicBezTo>
                  <a:cubicBezTo>
                    <a:pt x="554" y="505"/>
                    <a:pt x="554" y="505"/>
                    <a:pt x="554" y="505"/>
                  </a:cubicBezTo>
                  <a:cubicBezTo>
                    <a:pt x="554" y="505"/>
                    <a:pt x="554" y="505"/>
                    <a:pt x="554" y="505"/>
                  </a:cubicBezTo>
                  <a:cubicBezTo>
                    <a:pt x="553" y="505"/>
                    <a:pt x="553" y="505"/>
                    <a:pt x="553" y="505"/>
                  </a:cubicBezTo>
                  <a:cubicBezTo>
                    <a:pt x="553" y="505"/>
                    <a:pt x="553" y="505"/>
                    <a:pt x="553" y="505"/>
                  </a:cubicBezTo>
                  <a:cubicBezTo>
                    <a:pt x="552" y="505"/>
                    <a:pt x="552" y="505"/>
                    <a:pt x="552" y="505"/>
                  </a:cubicBezTo>
                  <a:cubicBezTo>
                    <a:pt x="551" y="505"/>
                    <a:pt x="551" y="505"/>
                    <a:pt x="551" y="505"/>
                  </a:cubicBezTo>
                  <a:cubicBezTo>
                    <a:pt x="550" y="505"/>
                    <a:pt x="550" y="505"/>
                    <a:pt x="550" y="505"/>
                  </a:cubicBezTo>
                  <a:cubicBezTo>
                    <a:pt x="551" y="504"/>
                    <a:pt x="551" y="504"/>
                    <a:pt x="551" y="504"/>
                  </a:cubicBezTo>
                  <a:cubicBezTo>
                    <a:pt x="550" y="504"/>
                    <a:pt x="550" y="504"/>
                    <a:pt x="550" y="504"/>
                  </a:cubicBezTo>
                  <a:cubicBezTo>
                    <a:pt x="550" y="505"/>
                    <a:pt x="550" y="505"/>
                    <a:pt x="550" y="505"/>
                  </a:cubicBezTo>
                  <a:cubicBezTo>
                    <a:pt x="550" y="505"/>
                    <a:pt x="550" y="505"/>
                    <a:pt x="550" y="505"/>
                  </a:cubicBezTo>
                  <a:cubicBezTo>
                    <a:pt x="550" y="506"/>
                    <a:pt x="550" y="506"/>
                    <a:pt x="550" y="506"/>
                  </a:cubicBezTo>
                  <a:cubicBezTo>
                    <a:pt x="549" y="506"/>
                    <a:pt x="549" y="506"/>
                    <a:pt x="549" y="506"/>
                  </a:cubicBezTo>
                  <a:cubicBezTo>
                    <a:pt x="550" y="506"/>
                    <a:pt x="550" y="506"/>
                    <a:pt x="550" y="506"/>
                  </a:cubicBezTo>
                  <a:cubicBezTo>
                    <a:pt x="550" y="506"/>
                    <a:pt x="550" y="506"/>
                    <a:pt x="550" y="506"/>
                  </a:cubicBezTo>
                  <a:cubicBezTo>
                    <a:pt x="550" y="506"/>
                    <a:pt x="550" y="506"/>
                    <a:pt x="550" y="506"/>
                  </a:cubicBezTo>
                  <a:cubicBezTo>
                    <a:pt x="551" y="507"/>
                    <a:pt x="551" y="507"/>
                    <a:pt x="551" y="507"/>
                  </a:cubicBezTo>
                  <a:cubicBezTo>
                    <a:pt x="550" y="507"/>
                    <a:pt x="550" y="507"/>
                    <a:pt x="550" y="507"/>
                  </a:cubicBezTo>
                  <a:cubicBezTo>
                    <a:pt x="549" y="507"/>
                    <a:pt x="549" y="507"/>
                    <a:pt x="549" y="507"/>
                  </a:cubicBezTo>
                  <a:cubicBezTo>
                    <a:pt x="549" y="507"/>
                    <a:pt x="549" y="507"/>
                    <a:pt x="549" y="507"/>
                  </a:cubicBezTo>
                  <a:cubicBezTo>
                    <a:pt x="549" y="508"/>
                    <a:pt x="549" y="508"/>
                    <a:pt x="549" y="508"/>
                  </a:cubicBezTo>
                  <a:cubicBezTo>
                    <a:pt x="548" y="509"/>
                    <a:pt x="548" y="509"/>
                    <a:pt x="548" y="509"/>
                  </a:cubicBezTo>
                  <a:cubicBezTo>
                    <a:pt x="548" y="509"/>
                    <a:pt x="548" y="509"/>
                    <a:pt x="548" y="509"/>
                  </a:cubicBezTo>
                  <a:cubicBezTo>
                    <a:pt x="548" y="509"/>
                    <a:pt x="548" y="509"/>
                    <a:pt x="548" y="509"/>
                  </a:cubicBezTo>
                  <a:cubicBezTo>
                    <a:pt x="547" y="507"/>
                    <a:pt x="547" y="507"/>
                    <a:pt x="547" y="507"/>
                  </a:cubicBezTo>
                  <a:cubicBezTo>
                    <a:pt x="547" y="506"/>
                    <a:pt x="547" y="506"/>
                    <a:pt x="547" y="506"/>
                  </a:cubicBezTo>
                  <a:cubicBezTo>
                    <a:pt x="548" y="505"/>
                    <a:pt x="548" y="505"/>
                    <a:pt x="548" y="505"/>
                  </a:cubicBezTo>
                  <a:cubicBezTo>
                    <a:pt x="549" y="505"/>
                    <a:pt x="549" y="505"/>
                    <a:pt x="549" y="505"/>
                  </a:cubicBezTo>
                  <a:cubicBezTo>
                    <a:pt x="549" y="504"/>
                    <a:pt x="549" y="504"/>
                    <a:pt x="549" y="504"/>
                  </a:cubicBezTo>
                  <a:cubicBezTo>
                    <a:pt x="549" y="504"/>
                    <a:pt x="549" y="504"/>
                    <a:pt x="549" y="504"/>
                  </a:cubicBezTo>
                  <a:cubicBezTo>
                    <a:pt x="549" y="503"/>
                    <a:pt x="549" y="503"/>
                    <a:pt x="549" y="503"/>
                  </a:cubicBezTo>
                  <a:cubicBezTo>
                    <a:pt x="549" y="503"/>
                    <a:pt x="549" y="503"/>
                    <a:pt x="549" y="503"/>
                  </a:cubicBezTo>
                  <a:cubicBezTo>
                    <a:pt x="550" y="502"/>
                    <a:pt x="550" y="502"/>
                    <a:pt x="550" y="502"/>
                  </a:cubicBezTo>
                  <a:cubicBezTo>
                    <a:pt x="551" y="501"/>
                    <a:pt x="551" y="501"/>
                    <a:pt x="551" y="501"/>
                  </a:cubicBezTo>
                  <a:cubicBezTo>
                    <a:pt x="551" y="500"/>
                    <a:pt x="551" y="500"/>
                    <a:pt x="551" y="500"/>
                  </a:cubicBezTo>
                  <a:cubicBezTo>
                    <a:pt x="550" y="500"/>
                    <a:pt x="550" y="500"/>
                    <a:pt x="550" y="500"/>
                  </a:cubicBezTo>
                  <a:cubicBezTo>
                    <a:pt x="550" y="499"/>
                    <a:pt x="550" y="499"/>
                    <a:pt x="550" y="499"/>
                  </a:cubicBezTo>
                  <a:cubicBezTo>
                    <a:pt x="549" y="498"/>
                    <a:pt x="549" y="498"/>
                    <a:pt x="549" y="498"/>
                  </a:cubicBezTo>
                  <a:cubicBezTo>
                    <a:pt x="549" y="497"/>
                    <a:pt x="549" y="497"/>
                    <a:pt x="549" y="497"/>
                  </a:cubicBezTo>
                  <a:cubicBezTo>
                    <a:pt x="549" y="496"/>
                    <a:pt x="549" y="496"/>
                    <a:pt x="549" y="496"/>
                  </a:cubicBezTo>
                  <a:cubicBezTo>
                    <a:pt x="549" y="496"/>
                    <a:pt x="549" y="496"/>
                    <a:pt x="549" y="496"/>
                  </a:cubicBezTo>
                  <a:cubicBezTo>
                    <a:pt x="548" y="496"/>
                    <a:pt x="548" y="496"/>
                    <a:pt x="548" y="496"/>
                  </a:cubicBezTo>
                  <a:cubicBezTo>
                    <a:pt x="547" y="496"/>
                    <a:pt x="547" y="496"/>
                    <a:pt x="547" y="496"/>
                  </a:cubicBezTo>
                  <a:cubicBezTo>
                    <a:pt x="547" y="496"/>
                    <a:pt x="547" y="496"/>
                    <a:pt x="547" y="496"/>
                  </a:cubicBezTo>
                  <a:cubicBezTo>
                    <a:pt x="547" y="496"/>
                    <a:pt x="547" y="496"/>
                    <a:pt x="547" y="496"/>
                  </a:cubicBezTo>
                  <a:cubicBezTo>
                    <a:pt x="547" y="496"/>
                    <a:pt x="547" y="496"/>
                    <a:pt x="547" y="496"/>
                  </a:cubicBezTo>
                  <a:cubicBezTo>
                    <a:pt x="546" y="496"/>
                    <a:pt x="546" y="496"/>
                    <a:pt x="546" y="496"/>
                  </a:cubicBezTo>
                  <a:cubicBezTo>
                    <a:pt x="546" y="496"/>
                    <a:pt x="546" y="496"/>
                    <a:pt x="546" y="496"/>
                  </a:cubicBezTo>
                  <a:cubicBezTo>
                    <a:pt x="545" y="496"/>
                    <a:pt x="545" y="496"/>
                    <a:pt x="545" y="496"/>
                  </a:cubicBezTo>
                  <a:cubicBezTo>
                    <a:pt x="545" y="496"/>
                    <a:pt x="545" y="496"/>
                    <a:pt x="545" y="496"/>
                  </a:cubicBezTo>
                  <a:cubicBezTo>
                    <a:pt x="545" y="496"/>
                    <a:pt x="545" y="496"/>
                    <a:pt x="545" y="496"/>
                  </a:cubicBezTo>
                  <a:cubicBezTo>
                    <a:pt x="543" y="498"/>
                    <a:pt x="543" y="498"/>
                    <a:pt x="543" y="498"/>
                  </a:cubicBezTo>
                  <a:cubicBezTo>
                    <a:pt x="542" y="498"/>
                    <a:pt x="542" y="498"/>
                    <a:pt x="542" y="498"/>
                  </a:cubicBezTo>
                  <a:cubicBezTo>
                    <a:pt x="542" y="499"/>
                    <a:pt x="542" y="499"/>
                    <a:pt x="542" y="499"/>
                  </a:cubicBezTo>
                  <a:cubicBezTo>
                    <a:pt x="541" y="500"/>
                    <a:pt x="541" y="500"/>
                    <a:pt x="541" y="500"/>
                  </a:cubicBezTo>
                  <a:cubicBezTo>
                    <a:pt x="541" y="501"/>
                    <a:pt x="541" y="501"/>
                    <a:pt x="541" y="501"/>
                  </a:cubicBezTo>
                  <a:cubicBezTo>
                    <a:pt x="542" y="501"/>
                    <a:pt x="542" y="501"/>
                    <a:pt x="542" y="501"/>
                  </a:cubicBezTo>
                  <a:cubicBezTo>
                    <a:pt x="543" y="501"/>
                    <a:pt x="543" y="501"/>
                    <a:pt x="543" y="501"/>
                  </a:cubicBezTo>
                  <a:cubicBezTo>
                    <a:pt x="543" y="501"/>
                    <a:pt x="543" y="501"/>
                    <a:pt x="543" y="501"/>
                  </a:cubicBezTo>
                  <a:cubicBezTo>
                    <a:pt x="542" y="501"/>
                    <a:pt x="542" y="501"/>
                    <a:pt x="542" y="501"/>
                  </a:cubicBezTo>
                  <a:cubicBezTo>
                    <a:pt x="541" y="502"/>
                    <a:pt x="541" y="502"/>
                    <a:pt x="541" y="502"/>
                  </a:cubicBezTo>
                  <a:cubicBezTo>
                    <a:pt x="540" y="502"/>
                    <a:pt x="540" y="502"/>
                    <a:pt x="540" y="502"/>
                  </a:cubicBezTo>
                  <a:cubicBezTo>
                    <a:pt x="538" y="505"/>
                    <a:pt x="538" y="505"/>
                    <a:pt x="538" y="505"/>
                  </a:cubicBezTo>
                  <a:cubicBezTo>
                    <a:pt x="537" y="505"/>
                    <a:pt x="537" y="505"/>
                    <a:pt x="537" y="505"/>
                  </a:cubicBezTo>
                  <a:cubicBezTo>
                    <a:pt x="536" y="506"/>
                    <a:pt x="536" y="506"/>
                    <a:pt x="536" y="506"/>
                  </a:cubicBezTo>
                  <a:cubicBezTo>
                    <a:pt x="536" y="506"/>
                    <a:pt x="536" y="506"/>
                    <a:pt x="536" y="506"/>
                  </a:cubicBezTo>
                  <a:cubicBezTo>
                    <a:pt x="537" y="507"/>
                    <a:pt x="537" y="507"/>
                    <a:pt x="537" y="507"/>
                  </a:cubicBezTo>
                  <a:cubicBezTo>
                    <a:pt x="537" y="507"/>
                    <a:pt x="537" y="507"/>
                    <a:pt x="537" y="507"/>
                  </a:cubicBezTo>
                  <a:cubicBezTo>
                    <a:pt x="537" y="508"/>
                    <a:pt x="537" y="508"/>
                    <a:pt x="537" y="508"/>
                  </a:cubicBezTo>
                  <a:cubicBezTo>
                    <a:pt x="537" y="508"/>
                    <a:pt x="537" y="508"/>
                    <a:pt x="537" y="508"/>
                  </a:cubicBezTo>
                  <a:cubicBezTo>
                    <a:pt x="537" y="508"/>
                    <a:pt x="537" y="508"/>
                    <a:pt x="537" y="508"/>
                  </a:cubicBezTo>
                  <a:cubicBezTo>
                    <a:pt x="538" y="508"/>
                    <a:pt x="538" y="508"/>
                    <a:pt x="538" y="508"/>
                  </a:cubicBezTo>
                  <a:cubicBezTo>
                    <a:pt x="539" y="509"/>
                    <a:pt x="539" y="509"/>
                    <a:pt x="539" y="509"/>
                  </a:cubicBezTo>
                  <a:cubicBezTo>
                    <a:pt x="539" y="509"/>
                    <a:pt x="539" y="509"/>
                    <a:pt x="539" y="509"/>
                  </a:cubicBezTo>
                  <a:cubicBezTo>
                    <a:pt x="539" y="509"/>
                    <a:pt x="539" y="509"/>
                    <a:pt x="539" y="509"/>
                  </a:cubicBezTo>
                  <a:cubicBezTo>
                    <a:pt x="538" y="510"/>
                    <a:pt x="538" y="510"/>
                    <a:pt x="538" y="510"/>
                  </a:cubicBezTo>
                  <a:cubicBezTo>
                    <a:pt x="538" y="510"/>
                    <a:pt x="538" y="510"/>
                    <a:pt x="538" y="510"/>
                  </a:cubicBezTo>
                  <a:cubicBezTo>
                    <a:pt x="538" y="511"/>
                    <a:pt x="538" y="511"/>
                    <a:pt x="538" y="511"/>
                  </a:cubicBezTo>
                  <a:cubicBezTo>
                    <a:pt x="538" y="511"/>
                    <a:pt x="538" y="511"/>
                    <a:pt x="538" y="511"/>
                  </a:cubicBezTo>
                  <a:cubicBezTo>
                    <a:pt x="538" y="512"/>
                    <a:pt x="538" y="512"/>
                    <a:pt x="538" y="512"/>
                  </a:cubicBezTo>
                  <a:cubicBezTo>
                    <a:pt x="538" y="513"/>
                    <a:pt x="538" y="513"/>
                    <a:pt x="538" y="513"/>
                  </a:cubicBezTo>
                  <a:cubicBezTo>
                    <a:pt x="538" y="513"/>
                    <a:pt x="538" y="513"/>
                    <a:pt x="538" y="513"/>
                  </a:cubicBezTo>
                  <a:cubicBezTo>
                    <a:pt x="538" y="513"/>
                    <a:pt x="538" y="513"/>
                    <a:pt x="538" y="513"/>
                  </a:cubicBezTo>
                  <a:cubicBezTo>
                    <a:pt x="538" y="513"/>
                    <a:pt x="538" y="513"/>
                    <a:pt x="538" y="513"/>
                  </a:cubicBezTo>
                  <a:cubicBezTo>
                    <a:pt x="536" y="514"/>
                    <a:pt x="536" y="514"/>
                    <a:pt x="536" y="514"/>
                  </a:cubicBezTo>
                  <a:cubicBezTo>
                    <a:pt x="535" y="514"/>
                    <a:pt x="535" y="514"/>
                    <a:pt x="535" y="514"/>
                  </a:cubicBezTo>
                  <a:cubicBezTo>
                    <a:pt x="535" y="514"/>
                    <a:pt x="535" y="514"/>
                    <a:pt x="535" y="514"/>
                  </a:cubicBezTo>
                  <a:cubicBezTo>
                    <a:pt x="535" y="513"/>
                    <a:pt x="535" y="513"/>
                    <a:pt x="535" y="513"/>
                  </a:cubicBezTo>
                  <a:cubicBezTo>
                    <a:pt x="534" y="513"/>
                    <a:pt x="534" y="513"/>
                    <a:pt x="534" y="513"/>
                  </a:cubicBezTo>
                  <a:cubicBezTo>
                    <a:pt x="534" y="512"/>
                    <a:pt x="534" y="512"/>
                    <a:pt x="534" y="512"/>
                  </a:cubicBezTo>
                  <a:cubicBezTo>
                    <a:pt x="534" y="511"/>
                    <a:pt x="534" y="511"/>
                    <a:pt x="534" y="511"/>
                  </a:cubicBezTo>
                  <a:cubicBezTo>
                    <a:pt x="534" y="511"/>
                    <a:pt x="534" y="511"/>
                    <a:pt x="534" y="511"/>
                  </a:cubicBezTo>
                  <a:cubicBezTo>
                    <a:pt x="534" y="511"/>
                    <a:pt x="534" y="511"/>
                    <a:pt x="534" y="511"/>
                  </a:cubicBezTo>
                  <a:cubicBezTo>
                    <a:pt x="533" y="508"/>
                    <a:pt x="533" y="508"/>
                    <a:pt x="533" y="508"/>
                  </a:cubicBezTo>
                  <a:cubicBezTo>
                    <a:pt x="533" y="508"/>
                    <a:pt x="533" y="508"/>
                    <a:pt x="533" y="508"/>
                  </a:cubicBezTo>
                  <a:cubicBezTo>
                    <a:pt x="532" y="509"/>
                    <a:pt x="532" y="509"/>
                    <a:pt x="532" y="509"/>
                  </a:cubicBezTo>
                  <a:cubicBezTo>
                    <a:pt x="532" y="510"/>
                    <a:pt x="532" y="510"/>
                    <a:pt x="532" y="510"/>
                  </a:cubicBezTo>
                  <a:cubicBezTo>
                    <a:pt x="532" y="510"/>
                    <a:pt x="532" y="510"/>
                    <a:pt x="532" y="510"/>
                  </a:cubicBezTo>
                  <a:cubicBezTo>
                    <a:pt x="531" y="510"/>
                    <a:pt x="531" y="510"/>
                    <a:pt x="531" y="510"/>
                  </a:cubicBezTo>
                  <a:cubicBezTo>
                    <a:pt x="530" y="509"/>
                    <a:pt x="530" y="509"/>
                    <a:pt x="530" y="509"/>
                  </a:cubicBezTo>
                  <a:cubicBezTo>
                    <a:pt x="530" y="509"/>
                    <a:pt x="530" y="509"/>
                    <a:pt x="530" y="509"/>
                  </a:cubicBezTo>
                  <a:cubicBezTo>
                    <a:pt x="529" y="508"/>
                    <a:pt x="529" y="508"/>
                    <a:pt x="529" y="508"/>
                  </a:cubicBezTo>
                  <a:cubicBezTo>
                    <a:pt x="528" y="508"/>
                    <a:pt x="528" y="508"/>
                    <a:pt x="528" y="508"/>
                  </a:cubicBezTo>
                  <a:cubicBezTo>
                    <a:pt x="526" y="508"/>
                    <a:pt x="526" y="508"/>
                    <a:pt x="526" y="508"/>
                  </a:cubicBezTo>
                  <a:cubicBezTo>
                    <a:pt x="525" y="508"/>
                    <a:pt x="525" y="508"/>
                    <a:pt x="525" y="508"/>
                  </a:cubicBezTo>
                  <a:cubicBezTo>
                    <a:pt x="525" y="509"/>
                    <a:pt x="525" y="509"/>
                    <a:pt x="525" y="509"/>
                  </a:cubicBezTo>
                  <a:cubicBezTo>
                    <a:pt x="525" y="509"/>
                    <a:pt x="525" y="509"/>
                    <a:pt x="525" y="509"/>
                  </a:cubicBezTo>
                  <a:cubicBezTo>
                    <a:pt x="525" y="510"/>
                    <a:pt x="525" y="510"/>
                    <a:pt x="525" y="510"/>
                  </a:cubicBezTo>
                  <a:cubicBezTo>
                    <a:pt x="525" y="510"/>
                    <a:pt x="525" y="510"/>
                    <a:pt x="525" y="510"/>
                  </a:cubicBezTo>
                  <a:cubicBezTo>
                    <a:pt x="525" y="510"/>
                    <a:pt x="525" y="510"/>
                    <a:pt x="525" y="510"/>
                  </a:cubicBezTo>
                  <a:cubicBezTo>
                    <a:pt x="525" y="509"/>
                    <a:pt x="525" y="509"/>
                    <a:pt x="525" y="509"/>
                  </a:cubicBezTo>
                  <a:cubicBezTo>
                    <a:pt x="525" y="508"/>
                    <a:pt x="525" y="508"/>
                    <a:pt x="525" y="508"/>
                  </a:cubicBezTo>
                  <a:cubicBezTo>
                    <a:pt x="525" y="508"/>
                    <a:pt x="525" y="508"/>
                    <a:pt x="525" y="508"/>
                  </a:cubicBezTo>
                  <a:cubicBezTo>
                    <a:pt x="525" y="507"/>
                    <a:pt x="525" y="507"/>
                    <a:pt x="525" y="507"/>
                  </a:cubicBezTo>
                  <a:cubicBezTo>
                    <a:pt x="525" y="507"/>
                    <a:pt x="525" y="507"/>
                    <a:pt x="525" y="507"/>
                  </a:cubicBezTo>
                  <a:cubicBezTo>
                    <a:pt x="524" y="507"/>
                    <a:pt x="524" y="507"/>
                    <a:pt x="524" y="507"/>
                  </a:cubicBezTo>
                  <a:cubicBezTo>
                    <a:pt x="523" y="507"/>
                    <a:pt x="523" y="507"/>
                    <a:pt x="523" y="507"/>
                  </a:cubicBezTo>
                  <a:cubicBezTo>
                    <a:pt x="523" y="506"/>
                    <a:pt x="523" y="506"/>
                    <a:pt x="523" y="506"/>
                  </a:cubicBezTo>
                  <a:cubicBezTo>
                    <a:pt x="523" y="506"/>
                    <a:pt x="523" y="506"/>
                    <a:pt x="523" y="506"/>
                  </a:cubicBezTo>
                  <a:cubicBezTo>
                    <a:pt x="523" y="505"/>
                    <a:pt x="523" y="505"/>
                    <a:pt x="523" y="505"/>
                  </a:cubicBezTo>
                  <a:cubicBezTo>
                    <a:pt x="522" y="505"/>
                    <a:pt x="522" y="505"/>
                    <a:pt x="522" y="505"/>
                  </a:cubicBezTo>
                  <a:cubicBezTo>
                    <a:pt x="522" y="505"/>
                    <a:pt x="522" y="505"/>
                    <a:pt x="522" y="505"/>
                  </a:cubicBezTo>
                  <a:cubicBezTo>
                    <a:pt x="522" y="505"/>
                    <a:pt x="522" y="505"/>
                    <a:pt x="522" y="505"/>
                  </a:cubicBezTo>
                  <a:cubicBezTo>
                    <a:pt x="522" y="505"/>
                    <a:pt x="522" y="505"/>
                    <a:pt x="522" y="505"/>
                  </a:cubicBezTo>
                  <a:cubicBezTo>
                    <a:pt x="522" y="504"/>
                    <a:pt x="522" y="504"/>
                    <a:pt x="522" y="504"/>
                  </a:cubicBezTo>
                  <a:cubicBezTo>
                    <a:pt x="523" y="502"/>
                    <a:pt x="523" y="502"/>
                    <a:pt x="523" y="502"/>
                  </a:cubicBezTo>
                  <a:cubicBezTo>
                    <a:pt x="523" y="502"/>
                    <a:pt x="523" y="502"/>
                    <a:pt x="523" y="502"/>
                  </a:cubicBezTo>
                  <a:cubicBezTo>
                    <a:pt x="523" y="502"/>
                    <a:pt x="523" y="502"/>
                    <a:pt x="523" y="502"/>
                  </a:cubicBezTo>
                  <a:cubicBezTo>
                    <a:pt x="523" y="501"/>
                    <a:pt x="523" y="501"/>
                    <a:pt x="523" y="501"/>
                  </a:cubicBezTo>
                  <a:cubicBezTo>
                    <a:pt x="522" y="501"/>
                    <a:pt x="522" y="501"/>
                    <a:pt x="522" y="501"/>
                  </a:cubicBezTo>
                  <a:cubicBezTo>
                    <a:pt x="522" y="502"/>
                    <a:pt x="522" y="502"/>
                    <a:pt x="522" y="502"/>
                  </a:cubicBezTo>
                  <a:cubicBezTo>
                    <a:pt x="521" y="503"/>
                    <a:pt x="521" y="503"/>
                    <a:pt x="521" y="503"/>
                  </a:cubicBezTo>
                  <a:cubicBezTo>
                    <a:pt x="520" y="508"/>
                    <a:pt x="520" y="508"/>
                    <a:pt x="520" y="508"/>
                  </a:cubicBezTo>
                  <a:cubicBezTo>
                    <a:pt x="520" y="509"/>
                    <a:pt x="520" y="509"/>
                    <a:pt x="520" y="509"/>
                  </a:cubicBezTo>
                  <a:cubicBezTo>
                    <a:pt x="520" y="510"/>
                    <a:pt x="520" y="510"/>
                    <a:pt x="520" y="510"/>
                  </a:cubicBezTo>
                  <a:cubicBezTo>
                    <a:pt x="520" y="528"/>
                    <a:pt x="520" y="528"/>
                    <a:pt x="520" y="528"/>
                  </a:cubicBezTo>
                  <a:cubicBezTo>
                    <a:pt x="520" y="530"/>
                    <a:pt x="520" y="530"/>
                    <a:pt x="520" y="530"/>
                  </a:cubicBezTo>
                  <a:cubicBezTo>
                    <a:pt x="519" y="533"/>
                    <a:pt x="519" y="533"/>
                    <a:pt x="519" y="533"/>
                  </a:cubicBezTo>
                  <a:cubicBezTo>
                    <a:pt x="519" y="534"/>
                    <a:pt x="519" y="534"/>
                    <a:pt x="519" y="534"/>
                  </a:cubicBezTo>
                  <a:cubicBezTo>
                    <a:pt x="519" y="538"/>
                    <a:pt x="519" y="538"/>
                    <a:pt x="519" y="538"/>
                  </a:cubicBezTo>
                  <a:cubicBezTo>
                    <a:pt x="519" y="539"/>
                    <a:pt x="519" y="539"/>
                    <a:pt x="519" y="539"/>
                  </a:cubicBezTo>
                  <a:cubicBezTo>
                    <a:pt x="519" y="539"/>
                    <a:pt x="519" y="539"/>
                    <a:pt x="519" y="539"/>
                  </a:cubicBezTo>
                  <a:cubicBezTo>
                    <a:pt x="520" y="539"/>
                    <a:pt x="520" y="539"/>
                    <a:pt x="520" y="539"/>
                  </a:cubicBezTo>
                  <a:cubicBezTo>
                    <a:pt x="520" y="540"/>
                    <a:pt x="520" y="540"/>
                    <a:pt x="520" y="540"/>
                  </a:cubicBezTo>
                  <a:cubicBezTo>
                    <a:pt x="520" y="539"/>
                    <a:pt x="520" y="539"/>
                    <a:pt x="520" y="539"/>
                  </a:cubicBezTo>
                  <a:cubicBezTo>
                    <a:pt x="520" y="538"/>
                    <a:pt x="520" y="538"/>
                    <a:pt x="520" y="538"/>
                  </a:cubicBezTo>
                  <a:cubicBezTo>
                    <a:pt x="520" y="537"/>
                    <a:pt x="520" y="537"/>
                    <a:pt x="520" y="537"/>
                  </a:cubicBezTo>
                  <a:cubicBezTo>
                    <a:pt x="520" y="536"/>
                    <a:pt x="520" y="536"/>
                    <a:pt x="520" y="536"/>
                  </a:cubicBezTo>
                  <a:cubicBezTo>
                    <a:pt x="520" y="534"/>
                    <a:pt x="520" y="534"/>
                    <a:pt x="520" y="534"/>
                  </a:cubicBezTo>
                  <a:cubicBezTo>
                    <a:pt x="520" y="533"/>
                    <a:pt x="520" y="533"/>
                    <a:pt x="520" y="533"/>
                  </a:cubicBezTo>
                  <a:cubicBezTo>
                    <a:pt x="521" y="533"/>
                    <a:pt x="521" y="533"/>
                    <a:pt x="521" y="533"/>
                  </a:cubicBezTo>
                  <a:cubicBezTo>
                    <a:pt x="523" y="534"/>
                    <a:pt x="523" y="534"/>
                    <a:pt x="523" y="534"/>
                  </a:cubicBezTo>
                  <a:cubicBezTo>
                    <a:pt x="524" y="535"/>
                    <a:pt x="524" y="535"/>
                    <a:pt x="524" y="535"/>
                  </a:cubicBezTo>
                  <a:cubicBezTo>
                    <a:pt x="525" y="536"/>
                    <a:pt x="525" y="536"/>
                    <a:pt x="525" y="536"/>
                  </a:cubicBezTo>
                  <a:cubicBezTo>
                    <a:pt x="525" y="538"/>
                    <a:pt x="525" y="538"/>
                    <a:pt x="525" y="538"/>
                  </a:cubicBezTo>
                  <a:cubicBezTo>
                    <a:pt x="525" y="540"/>
                    <a:pt x="525" y="540"/>
                    <a:pt x="525" y="540"/>
                  </a:cubicBezTo>
                  <a:cubicBezTo>
                    <a:pt x="527" y="542"/>
                    <a:pt x="527" y="542"/>
                    <a:pt x="527" y="542"/>
                  </a:cubicBezTo>
                  <a:cubicBezTo>
                    <a:pt x="527" y="542"/>
                    <a:pt x="527" y="542"/>
                    <a:pt x="527" y="542"/>
                  </a:cubicBezTo>
                  <a:cubicBezTo>
                    <a:pt x="528" y="543"/>
                    <a:pt x="528" y="543"/>
                    <a:pt x="528" y="543"/>
                  </a:cubicBezTo>
                  <a:cubicBezTo>
                    <a:pt x="528" y="544"/>
                    <a:pt x="528" y="544"/>
                    <a:pt x="528" y="544"/>
                  </a:cubicBezTo>
                  <a:cubicBezTo>
                    <a:pt x="528" y="545"/>
                    <a:pt x="528" y="545"/>
                    <a:pt x="528" y="545"/>
                  </a:cubicBezTo>
                  <a:cubicBezTo>
                    <a:pt x="526" y="546"/>
                    <a:pt x="526" y="546"/>
                    <a:pt x="526" y="546"/>
                  </a:cubicBezTo>
                  <a:cubicBezTo>
                    <a:pt x="525" y="547"/>
                    <a:pt x="525" y="547"/>
                    <a:pt x="525" y="547"/>
                  </a:cubicBezTo>
                  <a:cubicBezTo>
                    <a:pt x="525" y="547"/>
                    <a:pt x="525" y="547"/>
                    <a:pt x="525" y="547"/>
                  </a:cubicBezTo>
                  <a:cubicBezTo>
                    <a:pt x="523" y="548"/>
                    <a:pt x="523" y="548"/>
                    <a:pt x="523" y="548"/>
                  </a:cubicBezTo>
                  <a:cubicBezTo>
                    <a:pt x="522" y="549"/>
                    <a:pt x="522" y="549"/>
                    <a:pt x="522" y="549"/>
                  </a:cubicBezTo>
                  <a:cubicBezTo>
                    <a:pt x="521" y="549"/>
                    <a:pt x="521" y="549"/>
                    <a:pt x="521" y="549"/>
                  </a:cubicBezTo>
                  <a:cubicBezTo>
                    <a:pt x="521" y="548"/>
                    <a:pt x="521" y="548"/>
                    <a:pt x="521" y="548"/>
                  </a:cubicBezTo>
                  <a:cubicBezTo>
                    <a:pt x="521" y="548"/>
                    <a:pt x="521" y="548"/>
                    <a:pt x="521" y="548"/>
                  </a:cubicBezTo>
                  <a:cubicBezTo>
                    <a:pt x="522" y="547"/>
                    <a:pt x="522" y="547"/>
                    <a:pt x="522" y="547"/>
                  </a:cubicBezTo>
                  <a:cubicBezTo>
                    <a:pt x="522" y="547"/>
                    <a:pt x="522" y="547"/>
                    <a:pt x="522" y="547"/>
                  </a:cubicBezTo>
                  <a:cubicBezTo>
                    <a:pt x="522" y="546"/>
                    <a:pt x="522" y="546"/>
                    <a:pt x="522" y="546"/>
                  </a:cubicBezTo>
                  <a:cubicBezTo>
                    <a:pt x="521" y="545"/>
                    <a:pt x="521" y="545"/>
                    <a:pt x="521" y="545"/>
                  </a:cubicBezTo>
                  <a:cubicBezTo>
                    <a:pt x="520" y="540"/>
                    <a:pt x="520" y="540"/>
                    <a:pt x="520" y="540"/>
                  </a:cubicBezTo>
                  <a:cubicBezTo>
                    <a:pt x="520" y="540"/>
                    <a:pt x="520" y="540"/>
                    <a:pt x="520" y="540"/>
                  </a:cubicBezTo>
                  <a:cubicBezTo>
                    <a:pt x="520" y="540"/>
                    <a:pt x="520" y="540"/>
                    <a:pt x="520" y="540"/>
                  </a:cubicBezTo>
                  <a:cubicBezTo>
                    <a:pt x="520" y="540"/>
                    <a:pt x="520" y="540"/>
                    <a:pt x="520" y="540"/>
                  </a:cubicBezTo>
                  <a:cubicBezTo>
                    <a:pt x="520" y="540"/>
                    <a:pt x="520" y="540"/>
                    <a:pt x="520" y="540"/>
                  </a:cubicBezTo>
                  <a:cubicBezTo>
                    <a:pt x="520" y="540"/>
                    <a:pt x="520" y="540"/>
                    <a:pt x="520" y="540"/>
                  </a:cubicBezTo>
                  <a:cubicBezTo>
                    <a:pt x="520" y="540"/>
                    <a:pt x="520" y="540"/>
                    <a:pt x="520" y="540"/>
                  </a:cubicBezTo>
                  <a:cubicBezTo>
                    <a:pt x="520" y="541"/>
                    <a:pt x="520" y="541"/>
                    <a:pt x="520" y="541"/>
                  </a:cubicBezTo>
                  <a:cubicBezTo>
                    <a:pt x="520" y="541"/>
                    <a:pt x="520" y="541"/>
                    <a:pt x="520" y="541"/>
                  </a:cubicBezTo>
                  <a:cubicBezTo>
                    <a:pt x="521" y="551"/>
                    <a:pt x="521" y="551"/>
                    <a:pt x="521" y="551"/>
                  </a:cubicBezTo>
                  <a:cubicBezTo>
                    <a:pt x="521" y="553"/>
                    <a:pt x="521" y="553"/>
                    <a:pt x="521" y="553"/>
                  </a:cubicBezTo>
                  <a:cubicBezTo>
                    <a:pt x="521" y="556"/>
                    <a:pt x="521" y="556"/>
                    <a:pt x="521" y="556"/>
                  </a:cubicBezTo>
                  <a:cubicBezTo>
                    <a:pt x="520" y="558"/>
                    <a:pt x="520" y="558"/>
                    <a:pt x="520" y="558"/>
                  </a:cubicBezTo>
                  <a:cubicBezTo>
                    <a:pt x="519" y="562"/>
                    <a:pt x="519" y="562"/>
                    <a:pt x="519" y="562"/>
                  </a:cubicBezTo>
                  <a:cubicBezTo>
                    <a:pt x="519" y="563"/>
                    <a:pt x="519" y="563"/>
                    <a:pt x="519" y="563"/>
                  </a:cubicBezTo>
                  <a:cubicBezTo>
                    <a:pt x="519" y="563"/>
                    <a:pt x="519" y="563"/>
                    <a:pt x="519" y="563"/>
                  </a:cubicBezTo>
                  <a:cubicBezTo>
                    <a:pt x="521" y="564"/>
                    <a:pt x="521" y="564"/>
                    <a:pt x="521" y="564"/>
                  </a:cubicBezTo>
                  <a:cubicBezTo>
                    <a:pt x="522" y="564"/>
                    <a:pt x="522" y="564"/>
                    <a:pt x="522" y="564"/>
                  </a:cubicBezTo>
                  <a:cubicBezTo>
                    <a:pt x="525" y="567"/>
                    <a:pt x="525" y="567"/>
                    <a:pt x="525" y="567"/>
                  </a:cubicBezTo>
                  <a:cubicBezTo>
                    <a:pt x="526" y="567"/>
                    <a:pt x="526" y="567"/>
                    <a:pt x="526" y="567"/>
                  </a:cubicBezTo>
                  <a:cubicBezTo>
                    <a:pt x="525" y="566"/>
                    <a:pt x="525" y="566"/>
                    <a:pt x="525" y="566"/>
                  </a:cubicBezTo>
                  <a:cubicBezTo>
                    <a:pt x="525" y="565"/>
                    <a:pt x="525" y="565"/>
                    <a:pt x="525" y="565"/>
                  </a:cubicBezTo>
                  <a:cubicBezTo>
                    <a:pt x="524" y="565"/>
                    <a:pt x="524" y="565"/>
                    <a:pt x="524" y="565"/>
                  </a:cubicBezTo>
                  <a:cubicBezTo>
                    <a:pt x="523" y="565"/>
                    <a:pt x="523" y="565"/>
                    <a:pt x="523" y="565"/>
                  </a:cubicBezTo>
                  <a:cubicBezTo>
                    <a:pt x="524" y="564"/>
                    <a:pt x="524" y="564"/>
                    <a:pt x="524" y="564"/>
                  </a:cubicBezTo>
                  <a:cubicBezTo>
                    <a:pt x="524" y="564"/>
                    <a:pt x="524" y="564"/>
                    <a:pt x="524" y="564"/>
                  </a:cubicBezTo>
                  <a:cubicBezTo>
                    <a:pt x="524" y="564"/>
                    <a:pt x="524" y="564"/>
                    <a:pt x="524" y="564"/>
                  </a:cubicBezTo>
                  <a:cubicBezTo>
                    <a:pt x="523" y="563"/>
                    <a:pt x="523" y="563"/>
                    <a:pt x="523" y="563"/>
                  </a:cubicBezTo>
                  <a:cubicBezTo>
                    <a:pt x="523" y="562"/>
                    <a:pt x="523" y="562"/>
                    <a:pt x="523" y="562"/>
                  </a:cubicBezTo>
                  <a:cubicBezTo>
                    <a:pt x="523" y="562"/>
                    <a:pt x="523" y="562"/>
                    <a:pt x="523" y="562"/>
                  </a:cubicBezTo>
                  <a:cubicBezTo>
                    <a:pt x="524" y="561"/>
                    <a:pt x="524" y="561"/>
                    <a:pt x="524" y="561"/>
                  </a:cubicBezTo>
                  <a:cubicBezTo>
                    <a:pt x="525" y="561"/>
                    <a:pt x="525" y="561"/>
                    <a:pt x="525" y="561"/>
                  </a:cubicBezTo>
                  <a:cubicBezTo>
                    <a:pt x="525" y="561"/>
                    <a:pt x="525" y="561"/>
                    <a:pt x="525" y="561"/>
                  </a:cubicBezTo>
                  <a:cubicBezTo>
                    <a:pt x="526" y="562"/>
                    <a:pt x="526" y="562"/>
                    <a:pt x="526" y="562"/>
                  </a:cubicBezTo>
                  <a:cubicBezTo>
                    <a:pt x="526" y="562"/>
                    <a:pt x="526" y="562"/>
                    <a:pt x="526" y="562"/>
                  </a:cubicBezTo>
                  <a:cubicBezTo>
                    <a:pt x="525" y="562"/>
                    <a:pt x="525" y="562"/>
                    <a:pt x="525" y="562"/>
                  </a:cubicBezTo>
                  <a:cubicBezTo>
                    <a:pt x="525" y="562"/>
                    <a:pt x="525" y="562"/>
                    <a:pt x="525" y="562"/>
                  </a:cubicBezTo>
                  <a:cubicBezTo>
                    <a:pt x="528" y="566"/>
                    <a:pt x="528" y="566"/>
                    <a:pt x="528" y="566"/>
                  </a:cubicBezTo>
                  <a:cubicBezTo>
                    <a:pt x="529" y="567"/>
                    <a:pt x="529" y="567"/>
                    <a:pt x="529" y="567"/>
                  </a:cubicBezTo>
                  <a:cubicBezTo>
                    <a:pt x="531" y="568"/>
                    <a:pt x="531" y="568"/>
                    <a:pt x="531" y="568"/>
                  </a:cubicBezTo>
                  <a:cubicBezTo>
                    <a:pt x="533" y="568"/>
                    <a:pt x="533" y="568"/>
                    <a:pt x="533" y="568"/>
                  </a:cubicBezTo>
                  <a:cubicBezTo>
                    <a:pt x="534" y="568"/>
                    <a:pt x="534" y="568"/>
                    <a:pt x="534" y="568"/>
                  </a:cubicBezTo>
                  <a:cubicBezTo>
                    <a:pt x="535" y="569"/>
                    <a:pt x="535" y="569"/>
                    <a:pt x="535" y="569"/>
                  </a:cubicBezTo>
                  <a:cubicBezTo>
                    <a:pt x="535" y="570"/>
                    <a:pt x="535" y="570"/>
                    <a:pt x="535" y="570"/>
                  </a:cubicBezTo>
                  <a:cubicBezTo>
                    <a:pt x="535" y="571"/>
                    <a:pt x="535" y="571"/>
                    <a:pt x="535" y="571"/>
                  </a:cubicBezTo>
                  <a:cubicBezTo>
                    <a:pt x="535" y="573"/>
                    <a:pt x="535" y="573"/>
                    <a:pt x="535" y="573"/>
                  </a:cubicBezTo>
                  <a:cubicBezTo>
                    <a:pt x="536" y="575"/>
                    <a:pt x="536" y="575"/>
                    <a:pt x="536" y="575"/>
                  </a:cubicBezTo>
                  <a:cubicBezTo>
                    <a:pt x="536" y="575"/>
                    <a:pt x="536" y="575"/>
                    <a:pt x="536" y="575"/>
                  </a:cubicBezTo>
                  <a:cubicBezTo>
                    <a:pt x="536" y="576"/>
                    <a:pt x="536" y="576"/>
                    <a:pt x="536" y="576"/>
                  </a:cubicBezTo>
                  <a:cubicBezTo>
                    <a:pt x="535" y="576"/>
                    <a:pt x="535" y="576"/>
                    <a:pt x="535" y="576"/>
                  </a:cubicBezTo>
                  <a:cubicBezTo>
                    <a:pt x="535" y="577"/>
                    <a:pt x="535" y="577"/>
                    <a:pt x="535" y="577"/>
                  </a:cubicBezTo>
                  <a:cubicBezTo>
                    <a:pt x="536" y="579"/>
                    <a:pt x="536" y="579"/>
                    <a:pt x="536" y="579"/>
                  </a:cubicBezTo>
                  <a:cubicBezTo>
                    <a:pt x="536" y="582"/>
                    <a:pt x="536" y="582"/>
                    <a:pt x="536" y="582"/>
                  </a:cubicBezTo>
                  <a:cubicBezTo>
                    <a:pt x="537" y="583"/>
                    <a:pt x="537" y="583"/>
                    <a:pt x="537" y="583"/>
                  </a:cubicBezTo>
                  <a:cubicBezTo>
                    <a:pt x="537" y="584"/>
                    <a:pt x="537" y="584"/>
                    <a:pt x="537" y="584"/>
                  </a:cubicBezTo>
                  <a:cubicBezTo>
                    <a:pt x="536" y="584"/>
                    <a:pt x="536" y="584"/>
                    <a:pt x="536" y="584"/>
                  </a:cubicBezTo>
                  <a:cubicBezTo>
                    <a:pt x="536" y="585"/>
                    <a:pt x="536" y="585"/>
                    <a:pt x="536" y="585"/>
                  </a:cubicBezTo>
                  <a:cubicBezTo>
                    <a:pt x="536" y="586"/>
                    <a:pt x="536" y="586"/>
                    <a:pt x="536" y="586"/>
                  </a:cubicBezTo>
                  <a:cubicBezTo>
                    <a:pt x="536" y="587"/>
                    <a:pt x="536" y="587"/>
                    <a:pt x="536" y="587"/>
                  </a:cubicBezTo>
                  <a:cubicBezTo>
                    <a:pt x="535" y="589"/>
                    <a:pt x="535" y="589"/>
                    <a:pt x="535" y="589"/>
                  </a:cubicBezTo>
                  <a:cubicBezTo>
                    <a:pt x="535" y="590"/>
                    <a:pt x="535" y="590"/>
                    <a:pt x="535" y="590"/>
                  </a:cubicBezTo>
                  <a:cubicBezTo>
                    <a:pt x="535" y="592"/>
                    <a:pt x="535" y="592"/>
                    <a:pt x="535" y="592"/>
                  </a:cubicBezTo>
                  <a:cubicBezTo>
                    <a:pt x="536" y="593"/>
                    <a:pt x="536" y="593"/>
                    <a:pt x="536" y="593"/>
                  </a:cubicBezTo>
                  <a:cubicBezTo>
                    <a:pt x="536" y="594"/>
                    <a:pt x="536" y="594"/>
                    <a:pt x="536" y="594"/>
                  </a:cubicBezTo>
                  <a:cubicBezTo>
                    <a:pt x="536" y="596"/>
                    <a:pt x="536" y="596"/>
                    <a:pt x="536" y="596"/>
                  </a:cubicBezTo>
                  <a:cubicBezTo>
                    <a:pt x="536" y="596"/>
                    <a:pt x="536" y="596"/>
                    <a:pt x="536" y="596"/>
                  </a:cubicBezTo>
                  <a:cubicBezTo>
                    <a:pt x="536" y="597"/>
                    <a:pt x="536" y="597"/>
                    <a:pt x="536" y="597"/>
                  </a:cubicBezTo>
                  <a:cubicBezTo>
                    <a:pt x="537" y="597"/>
                    <a:pt x="537" y="597"/>
                    <a:pt x="537" y="597"/>
                  </a:cubicBezTo>
                  <a:cubicBezTo>
                    <a:pt x="538" y="597"/>
                    <a:pt x="538" y="597"/>
                    <a:pt x="538" y="597"/>
                  </a:cubicBezTo>
                  <a:cubicBezTo>
                    <a:pt x="540" y="596"/>
                    <a:pt x="540" y="596"/>
                    <a:pt x="540" y="596"/>
                  </a:cubicBezTo>
                  <a:cubicBezTo>
                    <a:pt x="541" y="596"/>
                    <a:pt x="541" y="596"/>
                    <a:pt x="541" y="596"/>
                  </a:cubicBezTo>
                  <a:cubicBezTo>
                    <a:pt x="543" y="597"/>
                    <a:pt x="543" y="597"/>
                    <a:pt x="543" y="597"/>
                  </a:cubicBezTo>
                  <a:cubicBezTo>
                    <a:pt x="545" y="598"/>
                    <a:pt x="545" y="598"/>
                    <a:pt x="545" y="598"/>
                  </a:cubicBezTo>
                  <a:cubicBezTo>
                    <a:pt x="552" y="599"/>
                    <a:pt x="552" y="599"/>
                    <a:pt x="552" y="599"/>
                  </a:cubicBezTo>
                  <a:cubicBezTo>
                    <a:pt x="552" y="600"/>
                    <a:pt x="552" y="600"/>
                    <a:pt x="552" y="600"/>
                  </a:cubicBezTo>
                  <a:cubicBezTo>
                    <a:pt x="552" y="600"/>
                    <a:pt x="552" y="600"/>
                    <a:pt x="552" y="600"/>
                  </a:cubicBezTo>
                  <a:cubicBezTo>
                    <a:pt x="552" y="600"/>
                    <a:pt x="552" y="600"/>
                    <a:pt x="552" y="600"/>
                  </a:cubicBezTo>
                  <a:cubicBezTo>
                    <a:pt x="552" y="600"/>
                    <a:pt x="552" y="600"/>
                    <a:pt x="552" y="600"/>
                  </a:cubicBezTo>
                  <a:cubicBezTo>
                    <a:pt x="546" y="599"/>
                    <a:pt x="546" y="599"/>
                    <a:pt x="546" y="599"/>
                  </a:cubicBezTo>
                  <a:cubicBezTo>
                    <a:pt x="543" y="598"/>
                    <a:pt x="543" y="598"/>
                    <a:pt x="543" y="598"/>
                  </a:cubicBezTo>
                  <a:cubicBezTo>
                    <a:pt x="541" y="597"/>
                    <a:pt x="541" y="597"/>
                    <a:pt x="541" y="597"/>
                  </a:cubicBezTo>
                  <a:cubicBezTo>
                    <a:pt x="540" y="597"/>
                    <a:pt x="540" y="597"/>
                    <a:pt x="540" y="597"/>
                  </a:cubicBezTo>
                  <a:cubicBezTo>
                    <a:pt x="538" y="598"/>
                    <a:pt x="538" y="598"/>
                    <a:pt x="538" y="598"/>
                  </a:cubicBezTo>
                  <a:cubicBezTo>
                    <a:pt x="537" y="598"/>
                    <a:pt x="537" y="598"/>
                    <a:pt x="537" y="598"/>
                  </a:cubicBezTo>
                  <a:cubicBezTo>
                    <a:pt x="536" y="598"/>
                    <a:pt x="536" y="598"/>
                    <a:pt x="536" y="598"/>
                  </a:cubicBezTo>
                  <a:cubicBezTo>
                    <a:pt x="536" y="598"/>
                    <a:pt x="536" y="598"/>
                    <a:pt x="536" y="598"/>
                  </a:cubicBezTo>
                  <a:cubicBezTo>
                    <a:pt x="536" y="598"/>
                    <a:pt x="536" y="598"/>
                    <a:pt x="536" y="598"/>
                  </a:cubicBezTo>
                  <a:cubicBezTo>
                    <a:pt x="536" y="598"/>
                    <a:pt x="536" y="598"/>
                    <a:pt x="536" y="598"/>
                  </a:cubicBezTo>
                  <a:cubicBezTo>
                    <a:pt x="535" y="599"/>
                    <a:pt x="535" y="599"/>
                    <a:pt x="535" y="599"/>
                  </a:cubicBezTo>
                  <a:cubicBezTo>
                    <a:pt x="535" y="600"/>
                    <a:pt x="535" y="600"/>
                    <a:pt x="535" y="600"/>
                  </a:cubicBezTo>
                  <a:cubicBezTo>
                    <a:pt x="535" y="602"/>
                    <a:pt x="535" y="602"/>
                    <a:pt x="535" y="602"/>
                  </a:cubicBezTo>
                  <a:cubicBezTo>
                    <a:pt x="536" y="603"/>
                    <a:pt x="536" y="603"/>
                    <a:pt x="536" y="603"/>
                  </a:cubicBezTo>
                  <a:cubicBezTo>
                    <a:pt x="537" y="604"/>
                    <a:pt x="537" y="604"/>
                    <a:pt x="537" y="604"/>
                  </a:cubicBezTo>
                  <a:cubicBezTo>
                    <a:pt x="537" y="605"/>
                    <a:pt x="537" y="605"/>
                    <a:pt x="537" y="605"/>
                  </a:cubicBezTo>
                  <a:cubicBezTo>
                    <a:pt x="537" y="605"/>
                    <a:pt x="537" y="605"/>
                    <a:pt x="537" y="605"/>
                  </a:cubicBezTo>
                  <a:cubicBezTo>
                    <a:pt x="537" y="606"/>
                    <a:pt x="537" y="606"/>
                    <a:pt x="537" y="606"/>
                  </a:cubicBezTo>
                  <a:cubicBezTo>
                    <a:pt x="538" y="606"/>
                    <a:pt x="538" y="606"/>
                    <a:pt x="538" y="606"/>
                  </a:cubicBezTo>
                  <a:cubicBezTo>
                    <a:pt x="539" y="608"/>
                    <a:pt x="539" y="608"/>
                    <a:pt x="539" y="608"/>
                  </a:cubicBezTo>
                  <a:cubicBezTo>
                    <a:pt x="540" y="608"/>
                    <a:pt x="540" y="608"/>
                    <a:pt x="540" y="608"/>
                  </a:cubicBezTo>
                  <a:cubicBezTo>
                    <a:pt x="541" y="609"/>
                    <a:pt x="541" y="609"/>
                    <a:pt x="541" y="609"/>
                  </a:cubicBezTo>
                  <a:cubicBezTo>
                    <a:pt x="542" y="612"/>
                    <a:pt x="542" y="612"/>
                    <a:pt x="542" y="612"/>
                  </a:cubicBezTo>
                  <a:cubicBezTo>
                    <a:pt x="541" y="613"/>
                    <a:pt x="541" y="613"/>
                    <a:pt x="541" y="613"/>
                  </a:cubicBezTo>
                  <a:cubicBezTo>
                    <a:pt x="541" y="613"/>
                    <a:pt x="541" y="613"/>
                    <a:pt x="541" y="613"/>
                  </a:cubicBezTo>
                  <a:cubicBezTo>
                    <a:pt x="541" y="613"/>
                    <a:pt x="541" y="613"/>
                    <a:pt x="541" y="613"/>
                  </a:cubicBezTo>
                  <a:cubicBezTo>
                    <a:pt x="542" y="613"/>
                    <a:pt x="542" y="613"/>
                    <a:pt x="542" y="613"/>
                  </a:cubicBezTo>
                  <a:cubicBezTo>
                    <a:pt x="542" y="613"/>
                    <a:pt x="542" y="613"/>
                    <a:pt x="542" y="613"/>
                  </a:cubicBezTo>
                  <a:cubicBezTo>
                    <a:pt x="543" y="613"/>
                    <a:pt x="543" y="613"/>
                    <a:pt x="543" y="613"/>
                  </a:cubicBezTo>
                  <a:cubicBezTo>
                    <a:pt x="543" y="613"/>
                    <a:pt x="543" y="613"/>
                    <a:pt x="543" y="613"/>
                  </a:cubicBezTo>
                  <a:cubicBezTo>
                    <a:pt x="543" y="614"/>
                    <a:pt x="543" y="614"/>
                    <a:pt x="543" y="614"/>
                  </a:cubicBezTo>
                  <a:cubicBezTo>
                    <a:pt x="546" y="617"/>
                    <a:pt x="546" y="617"/>
                    <a:pt x="546" y="617"/>
                  </a:cubicBezTo>
                  <a:cubicBezTo>
                    <a:pt x="546" y="618"/>
                    <a:pt x="546" y="618"/>
                    <a:pt x="546" y="618"/>
                  </a:cubicBezTo>
                  <a:cubicBezTo>
                    <a:pt x="546" y="619"/>
                    <a:pt x="546" y="619"/>
                    <a:pt x="546" y="619"/>
                  </a:cubicBezTo>
                  <a:cubicBezTo>
                    <a:pt x="546" y="620"/>
                    <a:pt x="546" y="620"/>
                    <a:pt x="546" y="620"/>
                  </a:cubicBezTo>
                  <a:cubicBezTo>
                    <a:pt x="546" y="620"/>
                    <a:pt x="546" y="620"/>
                    <a:pt x="546" y="620"/>
                  </a:cubicBezTo>
                  <a:cubicBezTo>
                    <a:pt x="545" y="621"/>
                    <a:pt x="545" y="621"/>
                    <a:pt x="545" y="621"/>
                  </a:cubicBezTo>
                  <a:cubicBezTo>
                    <a:pt x="543" y="622"/>
                    <a:pt x="543" y="622"/>
                    <a:pt x="543" y="622"/>
                  </a:cubicBezTo>
                  <a:cubicBezTo>
                    <a:pt x="543" y="622"/>
                    <a:pt x="543" y="622"/>
                    <a:pt x="543" y="622"/>
                  </a:cubicBezTo>
                  <a:cubicBezTo>
                    <a:pt x="542" y="622"/>
                    <a:pt x="542" y="622"/>
                    <a:pt x="542" y="622"/>
                  </a:cubicBezTo>
                  <a:cubicBezTo>
                    <a:pt x="539" y="622"/>
                    <a:pt x="539" y="622"/>
                    <a:pt x="539" y="622"/>
                  </a:cubicBezTo>
                  <a:cubicBezTo>
                    <a:pt x="536" y="623"/>
                    <a:pt x="536" y="623"/>
                    <a:pt x="536" y="623"/>
                  </a:cubicBezTo>
                  <a:cubicBezTo>
                    <a:pt x="535" y="623"/>
                    <a:pt x="535" y="623"/>
                    <a:pt x="535" y="623"/>
                  </a:cubicBezTo>
                  <a:cubicBezTo>
                    <a:pt x="535" y="623"/>
                    <a:pt x="535" y="623"/>
                    <a:pt x="535" y="623"/>
                  </a:cubicBezTo>
                  <a:cubicBezTo>
                    <a:pt x="535" y="624"/>
                    <a:pt x="535" y="624"/>
                    <a:pt x="535" y="624"/>
                  </a:cubicBezTo>
                  <a:cubicBezTo>
                    <a:pt x="535" y="624"/>
                    <a:pt x="535" y="624"/>
                    <a:pt x="535" y="624"/>
                  </a:cubicBezTo>
                  <a:cubicBezTo>
                    <a:pt x="535" y="625"/>
                    <a:pt x="535" y="625"/>
                    <a:pt x="535" y="625"/>
                  </a:cubicBezTo>
                  <a:cubicBezTo>
                    <a:pt x="536" y="624"/>
                    <a:pt x="536" y="624"/>
                    <a:pt x="536" y="624"/>
                  </a:cubicBezTo>
                  <a:cubicBezTo>
                    <a:pt x="536" y="624"/>
                    <a:pt x="536" y="624"/>
                    <a:pt x="536" y="624"/>
                  </a:cubicBezTo>
                  <a:cubicBezTo>
                    <a:pt x="536" y="625"/>
                    <a:pt x="536" y="625"/>
                    <a:pt x="536" y="625"/>
                  </a:cubicBezTo>
                  <a:cubicBezTo>
                    <a:pt x="537" y="625"/>
                    <a:pt x="537" y="625"/>
                    <a:pt x="537" y="625"/>
                  </a:cubicBezTo>
                  <a:cubicBezTo>
                    <a:pt x="537" y="625"/>
                    <a:pt x="537" y="625"/>
                    <a:pt x="537" y="625"/>
                  </a:cubicBezTo>
                  <a:cubicBezTo>
                    <a:pt x="536" y="625"/>
                    <a:pt x="536" y="625"/>
                    <a:pt x="536" y="625"/>
                  </a:cubicBezTo>
                  <a:cubicBezTo>
                    <a:pt x="535" y="625"/>
                    <a:pt x="535" y="625"/>
                    <a:pt x="535" y="625"/>
                  </a:cubicBezTo>
                  <a:cubicBezTo>
                    <a:pt x="534" y="626"/>
                    <a:pt x="534" y="626"/>
                    <a:pt x="534" y="626"/>
                  </a:cubicBezTo>
                  <a:cubicBezTo>
                    <a:pt x="534" y="626"/>
                    <a:pt x="534" y="626"/>
                    <a:pt x="534" y="626"/>
                  </a:cubicBezTo>
                  <a:cubicBezTo>
                    <a:pt x="534" y="628"/>
                    <a:pt x="534" y="628"/>
                    <a:pt x="534" y="628"/>
                  </a:cubicBezTo>
                  <a:cubicBezTo>
                    <a:pt x="535" y="629"/>
                    <a:pt x="535" y="629"/>
                    <a:pt x="535" y="629"/>
                  </a:cubicBezTo>
                  <a:cubicBezTo>
                    <a:pt x="536" y="629"/>
                    <a:pt x="536" y="629"/>
                    <a:pt x="536" y="629"/>
                  </a:cubicBezTo>
                  <a:cubicBezTo>
                    <a:pt x="536" y="630"/>
                    <a:pt x="536" y="630"/>
                    <a:pt x="536" y="630"/>
                  </a:cubicBezTo>
                  <a:cubicBezTo>
                    <a:pt x="537" y="630"/>
                    <a:pt x="537" y="630"/>
                    <a:pt x="537" y="630"/>
                  </a:cubicBezTo>
                  <a:cubicBezTo>
                    <a:pt x="538" y="629"/>
                    <a:pt x="538" y="629"/>
                    <a:pt x="538" y="629"/>
                  </a:cubicBezTo>
                  <a:cubicBezTo>
                    <a:pt x="538" y="629"/>
                    <a:pt x="538" y="629"/>
                    <a:pt x="538" y="629"/>
                  </a:cubicBezTo>
                  <a:cubicBezTo>
                    <a:pt x="539" y="629"/>
                    <a:pt x="539" y="629"/>
                    <a:pt x="539" y="629"/>
                  </a:cubicBezTo>
                  <a:cubicBezTo>
                    <a:pt x="540" y="629"/>
                    <a:pt x="540" y="629"/>
                    <a:pt x="540" y="629"/>
                  </a:cubicBezTo>
                  <a:cubicBezTo>
                    <a:pt x="542" y="628"/>
                    <a:pt x="542" y="628"/>
                    <a:pt x="542" y="628"/>
                  </a:cubicBezTo>
                  <a:cubicBezTo>
                    <a:pt x="543" y="628"/>
                    <a:pt x="543" y="628"/>
                    <a:pt x="543" y="628"/>
                  </a:cubicBezTo>
                  <a:cubicBezTo>
                    <a:pt x="543" y="628"/>
                    <a:pt x="543" y="628"/>
                    <a:pt x="543" y="628"/>
                  </a:cubicBezTo>
                  <a:cubicBezTo>
                    <a:pt x="543" y="629"/>
                    <a:pt x="543" y="629"/>
                    <a:pt x="543" y="629"/>
                  </a:cubicBezTo>
                  <a:cubicBezTo>
                    <a:pt x="542" y="629"/>
                    <a:pt x="542" y="629"/>
                    <a:pt x="542" y="629"/>
                  </a:cubicBezTo>
                  <a:cubicBezTo>
                    <a:pt x="543" y="628"/>
                    <a:pt x="543" y="628"/>
                    <a:pt x="543" y="628"/>
                  </a:cubicBezTo>
                  <a:cubicBezTo>
                    <a:pt x="544" y="627"/>
                    <a:pt x="544" y="627"/>
                    <a:pt x="544" y="627"/>
                  </a:cubicBezTo>
                  <a:cubicBezTo>
                    <a:pt x="545" y="627"/>
                    <a:pt x="545" y="627"/>
                    <a:pt x="545" y="627"/>
                  </a:cubicBezTo>
                  <a:cubicBezTo>
                    <a:pt x="545" y="628"/>
                    <a:pt x="545" y="628"/>
                    <a:pt x="545" y="628"/>
                  </a:cubicBezTo>
                  <a:cubicBezTo>
                    <a:pt x="544" y="629"/>
                    <a:pt x="544" y="629"/>
                    <a:pt x="544" y="629"/>
                  </a:cubicBezTo>
                  <a:cubicBezTo>
                    <a:pt x="544" y="629"/>
                    <a:pt x="544" y="629"/>
                    <a:pt x="544" y="629"/>
                  </a:cubicBezTo>
                  <a:cubicBezTo>
                    <a:pt x="543" y="630"/>
                    <a:pt x="543" y="630"/>
                    <a:pt x="543" y="630"/>
                  </a:cubicBezTo>
                  <a:cubicBezTo>
                    <a:pt x="543" y="630"/>
                    <a:pt x="543" y="630"/>
                    <a:pt x="543" y="630"/>
                  </a:cubicBezTo>
                  <a:cubicBezTo>
                    <a:pt x="542" y="630"/>
                    <a:pt x="542" y="630"/>
                    <a:pt x="542" y="630"/>
                  </a:cubicBezTo>
                  <a:cubicBezTo>
                    <a:pt x="541" y="630"/>
                    <a:pt x="541" y="630"/>
                    <a:pt x="541" y="630"/>
                  </a:cubicBezTo>
                  <a:cubicBezTo>
                    <a:pt x="541" y="631"/>
                    <a:pt x="541" y="631"/>
                    <a:pt x="541" y="631"/>
                  </a:cubicBezTo>
                  <a:cubicBezTo>
                    <a:pt x="541" y="632"/>
                    <a:pt x="541" y="632"/>
                    <a:pt x="541" y="632"/>
                  </a:cubicBezTo>
                  <a:cubicBezTo>
                    <a:pt x="541" y="632"/>
                    <a:pt x="541" y="632"/>
                    <a:pt x="541" y="632"/>
                  </a:cubicBezTo>
                  <a:cubicBezTo>
                    <a:pt x="541" y="633"/>
                    <a:pt x="541" y="633"/>
                    <a:pt x="541" y="633"/>
                  </a:cubicBezTo>
                  <a:cubicBezTo>
                    <a:pt x="541" y="634"/>
                    <a:pt x="541" y="634"/>
                    <a:pt x="541" y="634"/>
                  </a:cubicBezTo>
                  <a:cubicBezTo>
                    <a:pt x="541" y="635"/>
                    <a:pt x="541" y="635"/>
                    <a:pt x="541" y="635"/>
                  </a:cubicBezTo>
                  <a:cubicBezTo>
                    <a:pt x="541" y="636"/>
                    <a:pt x="541" y="636"/>
                    <a:pt x="541" y="636"/>
                  </a:cubicBezTo>
                  <a:cubicBezTo>
                    <a:pt x="542" y="637"/>
                    <a:pt x="542" y="637"/>
                    <a:pt x="542" y="637"/>
                  </a:cubicBezTo>
                  <a:cubicBezTo>
                    <a:pt x="542" y="637"/>
                    <a:pt x="542" y="637"/>
                    <a:pt x="542" y="637"/>
                  </a:cubicBezTo>
                  <a:cubicBezTo>
                    <a:pt x="543" y="636"/>
                    <a:pt x="543" y="636"/>
                    <a:pt x="543" y="636"/>
                  </a:cubicBezTo>
                  <a:cubicBezTo>
                    <a:pt x="544" y="636"/>
                    <a:pt x="544" y="636"/>
                    <a:pt x="544" y="636"/>
                  </a:cubicBezTo>
                  <a:cubicBezTo>
                    <a:pt x="545" y="636"/>
                    <a:pt x="545" y="636"/>
                    <a:pt x="545" y="636"/>
                  </a:cubicBezTo>
                  <a:cubicBezTo>
                    <a:pt x="545" y="636"/>
                    <a:pt x="545" y="636"/>
                    <a:pt x="545" y="636"/>
                  </a:cubicBezTo>
                  <a:cubicBezTo>
                    <a:pt x="545" y="636"/>
                    <a:pt x="545" y="636"/>
                    <a:pt x="545" y="636"/>
                  </a:cubicBezTo>
                  <a:cubicBezTo>
                    <a:pt x="545" y="637"/>
                    <a:pt x="545" y="637"/>
                    <a:pt x="545" y="637"/>
                  </a:cubicBezTo>
                  <a:cubicBezTo>
                    <a:pt x="546" y="638"/>
                    <a:pt x="546" y="638"/>
                    <a:pt x="546" y="638"/>
                  </a:cubicBezTo>
                  <a:cubicBezTo>
                    <a:pt x="546" y="638"/>
                    <a:pt x="546" y="638"/>
                    <a:pt x="546" y="638"/>
                  </a:cubicBezTo>
                  <a:cubicBezTo>
                    <a:pt x="547" y="638"/>
                    <a:pt x="547" y="638"/>
                    <a:pt x="547" y="638"/>
                  </a:cubicBezTo>
                  <a:cubicBezTo>
                    <a:pt x="547" y="639"/>
                    <a:pt x="547" y="639"/>
                    <a:pt x="547" y="639"/>
                  </a:cubicBezTo>
                  <a:cubicBezTo>
                    <a:pt x="546" y="640"/>
                    <a:pt x="546" y="640"/>
                    <a:pt x="546" y="640"/>
                  </a:cubicBezTo>
                  <a:cubicBezTo>
                    <a:pt x="546" y="641"/>
                    <a:pt x="546" y="641"/>
                    <a:pt x="546" y="641"/>
                  </a:cubicBezTo>
                  <a:cubicBezTo>
                    <a:pt x="546" y="642"/>
                    <a:pt x="546" y="642"/>
                    <a:pt x="546" y="642"/>
                  </a:cubicBezTo>
                  <a:cubicBezTo>
                    <a:pt x="545" y="642"/>
                    <a:pt x="545" y="642"/>
                    <a:pt x="545" y="642"/>
                  </a:cubicBezTo>
                  <a:cubicBezTo>
                    <a:pt x="545" y="642"/>
                    <a:pt x="545" y="642"/>
                    <a:pt x="545" y="642"/>
                  </a:cubicBezTo>
                  <a:cubicBezTo>
                    <a:pt x="544" y="641"/>
                    <a:pt x="544" y="641"/>
                    <a:pt x="544" y="641"/>
                  </a:cubicBezTo>
                  <a:cubicBezTo>
                    <a:pt x="543" y="641"/>
                    <a:pt x="543" y="641"/>
                    <a:pt x="543" y="641"/>
                  </a:cubicBezTo>
                  <a:cubicBezTo>
                    <a:pt x="542" y="641"/>
                    <a:pt x="542" y="641"/>
                    <a:pt x="542" y="641"/>
                  </a:cubicBezTo>
                  <a:cubicBezTo>
                    <a:pt x="541" y="642"/>
                    <a:pt x="541" y="642"/>
                    <a:pt x="541" y="642"/>
                  </a:cubicBezTo>
                  <a:cubicBezTo>
                    <a:pt x="544" y="647"/>
                    <a:pt x="544" y="647"/>
                    <a:pt x="544" y="647"/>
                  </a:cubicBezTo>
                  <a:cubicBezTo>
                    <a:pt x="545" y="648"/>
                    <a:pt x="545" y="648"/>
                    <a:pt x="545" y="648"/>
                  </a:cubicBezTo>
                  <a:cubicBezTo>
                    <a:pt x="546" y="649"/>
                    <a:pt x="546" y="649"/>
                    <a:pt x="546" y="649"/>
                  </a:cubicBezTo>
                  <a:cubicBezTo>
                    <a:pt x="546" y="649"/>
                    <a:pt x="546" y="649"/>
                    <a:pt x="546" y="649"/>
                  </a:cubicBezTo>
                  <a:cubicBezTo>
                    <a:pt x="547" y="648"/>
                    <a:pt x="547" y="648"/>
                    <a:pt x="547" y="648"/>
                  </a:cubicBezTo>
                  <a:cubicBezTo>
                    <a:pt x="547" y="648"/>
                    <a:pt x="547" y="648"/>
                    <a:pt x="547" y="648"/>
                  </a:cubicBezTo>
                  <a:cubicBezTo>
                    <a:pt x="548" y="648"/>
                    <a:pt x="548" y="648"/>
                    <a:pt x="548" y="648"/>
                  </a:cubicBezTo>
                  <a:cubicBezTo>
                    <a:pt x="549" y="649"/>
                    <a:pt x="549" y="649"/>
                    <a:pt x="549" y="649"/>
                  </a:cubicBezTo>
                  <a:cubicBezTo>
                    <a:pt x="553" y="649"/>
                    <a:pt x="553" y="649"/>
                    <a:pt x="553" y="649"/>
                  </a:cubicBezTo>
                  <a:cubicBezTo>
                    <a:pt x="554" y="649"/>
                    <a:pt x="554" y="649"/>
                    <a:pt x="554" y="649"/>
                  </a:cubicBezTo>
                  <a:cubicBezTo>
                    <a:pt x="555" y="650"/>
                    <a:pt x="555" y="650"/>
                    <a:pt x="555" y="650"/>
                  </a:cubicBezTo>
                  <a:cubicBezTo>
                    <a:pt x="557" y="651"/>
                    <a:pt x="557" y="651"/>
                    <a:pt x="557" y="651"/>
                  </a:cubicBezTo>
                  <a:cubicBezTo>
                    <a:pt x="558" y="652"/>
                    <a:pt x="558" y="652"/>
                    <a:pt x="558" y="652"/>
                  </a:cubicBezTo>
                  <a:cubicBezTo>
                    <a:pt x="558" y="653"/>
                    <a:pt x="558" y="653"/>
                    <a:pt x="558" y="653"/>
                  </a:cubicBezTo>
                  <a:cubicBezTo>
                    <a:pt x="559" y="655"/>
                    <a:pt x="559" y="655"/>
                    <a:pt x="559" y="655"/>
                  </a:cubicBezTo>
                  <a:cubicBezTo>
                    <a:pt x="559" y="656"/>
                    <a:pt x="559" y="656"/>
                    <a:pt x="559" y="656"/>
                  </a:cubicBezTo>
                  <a:cubicBezTo>
                    <a:pt x="560" y="657"/>
                    <a:pt x="560" y="657"/>
                    <a:pt x="560" y="657"/>
                  </a:cubicBezTo>
                  <a:cubicBezTo>
                    <a:pt x="560" y="657"/>
                    <a:pt x="560" y="657"/>
                    <a:pt x="560" y="657"/>
                  </a:cubicBezTo>
                  <a:cubicBezTo>
                    <a:pt x="562" y="658"/>
                    <a:pt x="562" y="658"/>
                    <a:pt x="562" y="658"/>
                  </a:cubicBezTo>
                  <a:cubicBezTo>
                    <a:pt x="562" y="658"/>
                    <a:pt x="562" y="658"/>
                    <a:pt x="562" y="658"/>
                  </a:cubicBezTo>
                  <a:cubicBezTo>
                    <a:pt x="562" y="659"/>
                    <a:pt x="562" y="659"/>
                    <a:pt x="562" y="659"/>
                  </a:cubicBezTo>
                  <a:cubicBezTo>
                    <a:pt x="562" y="660"/>
                    <a:pt x="562" y="660"/>
                    <a:pt x="562" y="660"/>
                  </a:cubicBezTo>
                  <a:cubicBezTo>
                    <a:pt x="563" y="662"/>
                    <a:pt x="563" y="662"/>
                    <a:pt x="563" y="662"/>
                  </a:cubicBezTo>
                  <a:cubicBezTo>
                    <a:pt x="564" y="663"/>
                    <a:pt x="564" y="663"/>
                    <a:pt x="564" y="663"/>
                  </a:cubicBezTo>
                  <a:cubicBezTo>
                    <a:pt x="566" y="664"/>
                    <a:pt x="566" y="664"/>
                    <a:pt x="566" y="664"/>
                  </a:cubicBezTo>
                  <a:cubicBezTo>
                    <a:pt x="567" y="665"/>
                    <a:pt x="567" y="665"/>
                    <a:pt x="567" y="665"/>
                  </a:cubicBezTo>
                  <a:cubicBezTo>
                    <a:pt x="569" y="665"/>
                    <a:pt x="569" y="665"/>
                    <a:pt x="569" y="665"/>
                  </a:cubicBezTo>
                  <a:cubicBezTo>
                    <a:pt x="571" y="666"/>
                    <a:pt x="571" y="666"/>
                    <a:pt x="571" y="666"/>
                  </a:cubicBezTo>
                  <a:cubicBezTo>
                    <a:pt x="571" y="666"/>
                    <a:pt x="571" y="666"/>
                    <a:pt x="571" y="666"/>
                  </a:cubicBezTo>
                  <a:cubicBezTo>
                    <a:pt x="571" y="666"/>
                    <a:pt x="571" y="666"/>
                    <a:pt x="571" y="666"/>
                  </a:cubicBezTo>
                  <a:cubicBezTo>
                    <a:pt x="569" y="666"/>
                    <a:pt x="569" y="666"/>
                    <a:pt x="569" y="666"/>
                  </a:cubicBezTo>
                  <a:cubicBezTo>
                    <a:pt x="567" y="666"/>
                    <a:pt x="567" y="666"/>
                    <a:pt x="567" y="666"/>
                  </a:cubicBezTo>
                  <a:cubicBezTo>
                    <a:pt x="565" y="665"/>
                    <a:pt x="565" y="665"/>
                    <a:pt x="565" y="665"/>
                  </a:cubicBezTo>
                  <a:cubicBezTo>
                    <a:pt x="565" y="664"/>
                    <a:pt x="565" y="664"/>
                    <a:pt x="565" y="664"/>
                  </a:cubicBezTo>
                  <a:cubicBezTo>
                    <a:pt x="564" y="664"/>
                    <a:pt x="564" y="664"/>
                    <a:pt x="564" y="664"/>
                  </a:cubicBezTo>
                  <a:cubicBezTo>
                    <a:pt x="564" y="664"/>
                    <a:pt x="564" y="664"/>
                    <a:pt x="564" y="664"/>
                  </a:cubicBezTo>
                  <a:cubicBezTo>
                    <a:pt x="563" y="664"/>
                    <a:pt x="563" y="664"/>
                    <a:pt x="563" y="664"/>
                  </a:cubicBezTo>
                  <a:cubicBezTo>
                    <a:pt x="561" y="660"/>
                    <a:pt x="561" y="660"/>
                    <a:pt x="561" y="660"/>
                  </a:cubicBezTo>
                  <a:cubicBezTo>
                    <a:pt x="561" y="659"/>
                    <a:pt x="561" y="659"/>
                    <a:pt x="561" y="659"/>
                  </a:cubicBezTo>
                  <a:cubicBezTo>
                    <a:pt x="560" y="659"/>
                    <a:pt x="560" y="659"/>
                    <a:pt x="560" y="659"/>
                  </a:cubicBezTo>
                  <a:cubicBezTo>
                    <a:pt x="559" y="658"/>
                    <a:pt x="559" y="658"/>
                    <a:pt x="559" y="658"/>
                  </a:cubicBezTo>
                  <a:cubicBezTo>
                    <a:pt x="558" y="656"/>
                    <a:pt x="558" y="656"/>
                    <a:pt x="558" y="656"/>
                  </a:cubicBezTo>
                  <a:cubicBezTo>
                    <a:pt x="555" y="651"/>
                    <a:pt x="555" y="651"/>
                    <a:pt x="555" y="651"/>
                  </a:cubicBezTo>
                  <a:cubicBezTo>
                    <a:pt x="555" y="650"/>
                    <a:pt x="555" y="650"/>
                    <a:pt x="555" y="650"/>
                  </a:cubicBezTo>
                  <a:cubicBezTo>
                    <a:pt x="554" y="650"/>
                    <a:pt x="554" y="650"/>
                    <a:pt x="554" y="650"/>
                  </a:cubicBezTo>
                  <a:cubicBezTo>
                    <a:pt x="553" y="650"/>
                    <a:pt x="553" y="650"/>
                    <a:pt x="553" y="650"/>
                  </a:cubicBezTo>
                  <a:cubicBezTo>
                    <a:pt x="553" y="650"/>
                    <a:pt x="553" y="650"/>
                    <a:pt x="553" y="650"/>
                  </a:cubicBezTo>
                  <a:cubicBezTo>
                    <a:pt x="552" y="650"/>
                    <a:pt x="552" y="650"/>
                    <a:pt x="552" y="650"/>
                  </a:cubicBezTo>
                  <a:cubicBezTo>
                    <a:pt x="552" y="650"/>
                    <a:pt x="552" y="650"/>
                    <a:pt x="552" y="650"/>
                  </a:cubicBezTo>
                  <a:cubicBezTo>
                    <a:pt x="550" y="650"/>
                    <a:pt x="550" y="650"/>
                    <a:pt x="550" y="650"/>
                  </a:cubicBezTo>
                  <a:cubicBezTo>
                    <a:pt x="547" y="651"/>
                    <a:pt x="547" y="651"/>
                    <a:pt x="547" y="651"/>
                  </a:cubicBezTo>
                  <a:cubicBezTo>
                    <a:pt x="547" y="651"/>
                    <a:pt x="547" y="651"/>
                    <a:pt x="547" y="651"/>
                  </a:cubicBezTo>
                  <a:cubicBezTo>
                    <a:pt x="545" y="651"/>
                    <a:pt x="545" y="651"/>
                    <a:pt x="545" y="651"/>
                  </a:cubicBezTo>
                  <a:cubicBezTo>
                    <a:pt x="543" y="652"/>
                    <a:pt x="543" y="652"/>
                    <a:pt x="543" y="652"/>
                  </a:cubicBezTo>
                  <a:cubicBezTo>
                    <a:pt x="542" y="652"/>
                    <a:pt x="542" y="652"/>
                    <a:pt x="542" y="652"/>
                  </a:cubicBezTo>
                  <a:cubicBezTo>
                    <a:pt x="540" y="651"/>
                    <a:pt x="540" y="651"/>
                    <a:pt x="540" y="651"/>
                  </a:cubicBezTo>
                  <a:cubicBezTo>
                    <a:pt x="538" y="651"/>
                    <a:pt x="538" y="651"/>
                    <a:pt x="538" y="651"/>
                  </a:cubicBezTo>
                  <a:cubicBezTo>
                    <a:pt x="537" y="650"/>
                    <a:pt x="537" y="650"/>
                    <a:pt x="537" y="650"/>
                  </a:cubicBezTo>
                  <a:cubicBezTo>
                    <a:pt x="537" y="649"/>
                    <a:pt x="537" y="649"/>
                    <a:pt x="537" y="649"/>
                  </a:cubicBezTo>
                  <a:cubicBezTo>
                    <a:pt x="536" y="649"/>
                    <a:pt x="536" y="649"/>
                    <a:pt x="536" y="649"/>
                  </a:cubicBezTo>
                  <a:cubicBezTo>
                    <a:pt x="536" y="649"/>
                    <a:pt x="536" y="649"/>
                    <a:pt x="536" y="649"/>
                  </a:cubicBezTo>
                  <a:cubicBezTo>
                    <a:pt x="535" y="649"/>
                    <a:pt x="535" y="649"/>
                    <a:pt x="535" y="649"/>
                  </a:cubicBezTo>
                  <a:cubicBezTo>
                    <a:pt x="534" y="649"/>
                    <a:pt x="534" y="649"/>
                    <a:pt x="534" y="649"/>
                  </a:cubicBezTo>
                  <a:cubicBezTo>
                    <a:pt x="534" y="650"/>
                    <a:pt x="534" y="650"/>
                    <a:pt x="534" y="650"/>
                  </a:cubicBezTo>
                  <a:cubicBezTo>
                    <a:pt x="533" y="651"/>
                    <a:pt x="533" y="651"/>
                    <a:pt x="533" y="651"/>
                  </a:cubicBezTo>
                  <a:cubicBezTo>
                    <a:pt x="533" y="652"/>
                    <a:pt x="533" y="652"/>
                    <a:pt x="533" y="652"/>
                  </a:cubicBezTo>
                  <a:cubicBezTo>
                    <a:pt x="532" y="655"/>
                    <a:pt x="532" y="655"/>
                    <a:pt x="532" y="655"/>
                  </a:cubicBezTo>
                  <a:cubicBezTo>
                    <a:pt x="531" y="658"/>
                    <a:pt x="531" y="658"/>
                    <a:pt x="531" y="658"/>
                  </a:cubicBezTo>
                  <a:cubicBezTo>
                    <a:pt x="531" y="659"/>
                    <a:pt x="531" y="659"/>
                    <a:pt x="531" y="659"/>
                  </a:cubicBezTo>
                  <a:cubicBezTo>
                    <a:pt x="530" y="659"/>
                    <a:pt x="530" y="659"/>
                    <a:pt x="530" y="659"/>
                  </a:cubicBezTo>
                  <a:cubicBezTo>
                    <a:pt x="531" y="660"/>
                    <a:pt x="531" y="660"/>
                    <a:pt x="531" y="660"/>
                  </a:cubicBezTo>
                  <a:cubicBezTo>
                    <a:pt x="531" y="661"/>
                    <a:pt x="531" y="661"/>
                    <a:pt x="531" y="661"/>
                  </a:cubicBezTo>
                  <a:cubicBezTo>
                    <a:pt x="531" y="662"/>
                    <a:pt x="531" y="662"/>
                    <a:pt x="531" y="662"/>
                  </a:cubicBezTo>
                  <a:cubicBezTo>
                    <a:pt x="532" y="663"/>
                    <a:pt x="532" y="663"/>
                    <a:pt x="532" y="663"/>
                  </a:cubicBezTo>
                  <a:cubicBezTo>
                    <a:pt x="532" y="664"/>
                    <a:pt x="532" y="664"/>
                    <a:pt x="532" y="664"/>
                  </a:cubicBezTo>
                  <a:cubicBezTo>
                    <a:pt x="532" y="664"/>
                    <a:pt x="532" y="664"/>
                    <a:pt x="532" y="664"/>
                  </a:cubicBezTo>
                  <a:cubicBezTo>
                    <a:pt x="533" y="666"/>
                    <a:pt x="533" y="666"/>
                    <a:pt x="533" y="666"/>
                  </a:cubicBezTo>
                  <a:cubicBezTo>
                    <a:pt x="533" y="666"/>
                    <a:pt x="533" y="666"/>
                    <a:pt x="533" y="666"/>
                  </a:cubicBezTo>
                  <a:cubicBezTo>
                    <a:pt x="533" y="668"/>
                    <a:pt x="533" y="668"/>
                    <a:pt x="533" y="668"/>
                  </a:cubicBezTo>
                  <a:cubicBezTo>
                    <a:pt x="532" y="668"/>
                    <a:pt x="532" y="668"/>
                    <a:pt x="532" y="668"/>
                  </a:cubicBezTo>
                  <a:cubicBezTo>
                    <a:pt x="531" y="669"/>
                    <a:pt x="531" y="669"/>
                    <a:pt x="531" y="669"/>
                  </a:cubicBezTo>
                  <a:cubicBezTo>
                    <a:pt x="531" y="670"/>
                    <a:pt x="531" y="670"/>
                    <a:pt x="531" y="670"/>
                  </a:cubicBezTo>
                  <a:cubicBezTo>
                    <a:pt x="531" y="671"/>
                    <a:pt x="531" y="671"/>
                    <a:pt x="531" y="671"/>
                  </a:cubicBezTo>
                  <a:cubicBezTo>
                    <a:pt x="531" y="674"/>
                    <a:pt x="531" y="674"/>
                    <a:pt x="531" y="674"/>
                  </a:cubicBezTo>
                  <a:cubicBezTo>
                    <a:pt x="531" y="676"/>
                    <a:pt x="531" y="676"/>
                    <a:pt x="531" y="676"/>
                  </a:cubicBezTo>
                  <a:cubicBezTo>
                    <a:pt x="531" y="675"/>
                    <a:pt x="531" y="675"/>
                    <a:pt x="531" y="675"/>
                  </a:cubicBezTo>
                  <a:cubicBezTo>
                    <a:pt x="530" y="673"/>
                    <a:pt x="530" y="673"/>
                    <a:pt x="530" y="673"/>
                  </a:cubicBezTo>
                  <a:cubicBezTo>
                    <a:pt x="530" y="671"/>
                    <a:pt x="530" y="671"/>
                    <a:pt x="530" y="671"/>
                  </a:cubicBezTo>
                  <a:cubicBezTo>
                    <a:pt x="531" y="669"/>
                    <a:pt x="531" y="669"/>
                    <a:pt x="531" y="669"/>
                  </a:cubicBezTo>
                  <a:cubicBezTo>
                    <a:pt x="531" y="668"/>
                    <a:pt x="531" y="668"/>
                    <a:pt x="531" y="668"/>
                  </a:cubicBezTo>
                  <a:cubicBezTo>
                    <a:pt x="532" y="667"/>
                    <a:pt x="532" y="667"/>
                    <a:pt x="532" y="667"/>
                  </a:cubicBezTo>
                  <a:cubicBezTo>
                    <a:pt x="533" y="667"/>
                    <a:pt x="533" y="667"/>
                    <a:pt x="533" y="667"/>
                  </a:cubicBezTo>
                  <a:cubicBezTo>
                    <a:pt x="533" y="666"/>
                    <a:pt x="533" y="666"/>
                    <a:pt x="533" y="666"/>
                  </a:cubicBezTo>
                  <a:cubicBezTo>
                    <a:pt x="531" y="666"/>
                    <a:pt x="531" y="666"/>
                    <a:pt x="531" y="666"/>
                  </a:cubicBezTo>
                  <a:cubicBezTo>
                    <a:pt x="529" y="665"/>
                    <a:pt x="529" y="665"/>
                    <a:pt x="529" y="665"/>
                  </a:cubicBezTo>
                  <a:cubicBezTo>
                    <a:pt x="528" y="665"/>
                    <a:pt x="528" y="665"/>
                    <a:pt x="528" y="665"/>
                  </a:cubicBezTo>
                  <a:cubicBezTo>
                    <a:pt x="527" y="664"/>
                    <a:pt x="527" y="664"/>
                    <a:pt x="527" y="664"/>
                  </a:cubicBezTo>
                  <a:cubicBezTo>
                    <a:pt x="527" y="663"/>
                    <a:pt x="527" y="663"/>
                    <a:pt x="527" y="663"/>
                  </a:cubicBezTo>
                  <a:cubicBezTo>
                    <a:pt x="527" y="663"/>
                    <a:pt x="527" y="663"/>
                    <a:pt x="527" y="663"/>
                  </a:cubicBezTo>
                  <a:cubicBezTo>
                    <a:pt x="526" y="663"/>
                    <a:pt x="526" y="663"/>
                    <a:pt x="526" y="663"/>
                  </a:cubicBezTo>
                  <a:cubicBezTo>
                    <a:pt x="525" y="663"/>
                    <a:pt x="525" y="663"/>
                    <a:pt x="525" y="663"/>
                  </a:cubicBezTo>
                  <a:cubicBezTo>
                    <a:pt x="524" y="663"/>
                    <a:pt x="524" y="663"/>
                    <a:pt x="524" y="663"/>
                  </a:cubicBezTo>
                  <a:cubicBezTo>
                    <a:pt x="524" y="663"/>
                    <a:pt x="524" y="663"/>
                    <a:pt x="524" y="663"/>
                  </a:cubicBezTo>
                  <a:cubicBezTo>
                    <a:pt x="523" y="664"/>
                    <a:pt x="523" y="664"/>
                    <a:pt x="523" y="664"/>
                  </a:cubicBezTo>
                  <a:cubicBezTo>
                    <a:pt x="523" y="666"/>
                    <a:pt x="523" y="666"/>
                    <a:pt x="523" y="666"/>
                  </a:cubicBezTo>
                  <a:cubicBezTo>
                    <a:pt x="523" y="667"/>
                    <a:pt x="523" y="667"/>
                    <a:pt x="523" y="667"/>
                  </a:cubicBezTo>
                  <a:cubicBezTo>
                    <a:pt x="523" y="667"/>
                    <a:pt x="523" y="667"/>
                    <a:pt x="523" y="667"/>
                  </a:cubicBezTo>
                  <a:cubicBezTo>
                    <a:pt x="524" y="667"/>
                    <a:pt x="524" y="667"/>
                    <a:pt x="524" y="667"/>
                  </a:cubicBezTo>
                  <a:cubicBezTo>
                    <a:pt x="525" y="667"/>
                    <a:pt x="525" y="667"/>
                    <a:pt x="525" y="667"/>
                  </a:cubicBezTo>
                  <a:cubicBezTo>
                    <a:pt x="526" y="668"/>
                    <a:pt x="526" y="668"/>
                    <a:pt x="526" y="668"/>
                  </a:cubicBezTo>
                  <a:cubicBezTo>
                    <a:pt x="526" y="670"/>
                    <a:pt x="526" y="670"/>
                    <a:pt x="526" y="670"/>
                  </a:cubicBezTo>
                  <a:cubicBezTo>
                    <a:pt x="525" y="672"/>
                    <a:pt x="525" y="672"/>
                    <a:pt x="525" y="672"/>
                  </a:cubicBezTo>
                  <a:cubicBezTo>
                    <a:pt x="524" y="672"/>
                    <a:pt x="524" y="672"/>
                    <a:pt x="524" y="672"/>
                  </a:cubicBezTo>
                  <a:cubicBezTo>
                    <a:pt x="524" y="673"/>
                    <a:pt x="524" y="673"/>
                    <a:pt x="524" y="673"/>
                  </a:cubicBezTo>
                  <a:cubicBezTo>
                    <a:pt x="523" y="673"/>
                    <a:pt x="523" y="673"/>
                    <a:pt x="523" y="673"/>
                  </a:cubicBezTo>
                  <a:cubicBezTo>
                    <a:pt x="523" y="673"/>
                    <a:pt x="523" y="673"/>
                    <a:pt x="523" y="673"/>
                  </a:cubicBezTo>
                  <a:cubicBezTo>
                    <a:pt x="523" y="673"/>
                    <a:pt x="523" y="673"/>
                    <a:pt x="523" y="673"/>
                  </a:cubicBezTo>
                  <a:cubicBezTo>
                    <a:pt x="522" y="673"/>
                    <a:pt x="522" y="673"/>
                    <a:pt x="522" y="673"/>
                  </a:cubicBezTo>
                  <a:cubicBezTo>
                    <a:pt x="522" y="672"/>
                    <a:pt x="522" y="672"/>
                    <a:pt x="522" y="672"/>
                  </a:cubicBezTo>
                  <a:cubicBezTo>
                    <a:pt x="522" y="672"/>
                    <a:pt x="522" y="672"/>
                    <a:pt x="522" y="672"/>
                  </a:cubicBezTo>
                  <a:cubicBezTo>
                    <a:pt x="521" y="672"/>
                    <a:pt x="521" y="672"/>
                    <a:pt x="521" y="672"/>
                  </a:cubicBezTo>
                  <a:cubicBezTo>
                    <a:pt x="521" y="672"/>
                    <a:pt x="521" y="672"/>
                    <a:pt x="521" y="672"/>
                  </a:cubicBezTo>
                  <a:cubicBezTo>
                    <a:pt x="521" y="671"/>
                    <a:pt x="521" y="671"/>
                    <a:pt x="521" y="671"/>
                  </a:cubicBezTo>
                  <a:cubicBezTo>
                    <a:pt x="520" y="671"/>
                    <a:pt x="520" y="671"/>
                    <a:pt x="520" y="671"/>
                  </a:cubicBezTo>
                  <a:cubicBezTo>
                    <a:pt x="520" y="671"/>
                    <a:pt x="520" y="671"/>
                    <a:pt x="520" y="671"/>
                  </a:cubicBezTo>
                  <a:cubicBezTo>
                    <a:pt x="519" y="671"/>
                    <a:pt x="519" y="671"/>
                    <a:pt x="519" y="671"/>
                  </a:cubicBezTo>
                  <a:cubicBezTo>
                    <a:pt x="519" y="671"/>
                    <a:pt x="519" y="671"/>
                    <a:pt x="519" y="671"/>
                  </a:cubicBezTo>
                  <a:cubicBezTo>
                    <a:pt x="519" y="671"/>
                    <a:pt x="519" y="671"/>
                    <a:pt x="519" y="671"/>
                  </a:cubicBezTo>
                  <a:cubicBezTo>
                    <a:pt x="518" y="670"/>
                    <a:pt x="518" y="670"/>
                    <a:pt x="518" y="670"/>
                  </a:cubicBezTo>
                  <a:cubicBezTo>
                    <a:pt x="518" y="669"/>
                    <a:pt x="518" y="669"/>
                    <a:pt x="518" y="669"/>
                  </a:cubicBezTo>
                  <a:cubicBezTo>
                    <a:pt x="518" y="668"/>
                    <a:pt x="518" y="668"/>
                    <a:pt x="518" y="668"/>
                  </a:cubicBezTo>
                  <a:cubicBezTo>
                    <a:pt x="520" y="668"/>
                    <a:pt x="520" y="668"/>
                    <a:pt x="520" y="668"/>
                  </a:cubicBezTo>
                  <a:cubicBezTo>
                    <a:pt x="520" y="668"/>
                    <a:pt x="520" y="668"/>
                    <a:pt x="520" y="668"/>
                  </a:cubicBezTo>
                  <a:cubicBezTo>
                    <a:pt x="521" y="667"/>
                    <a:pt x="521" y="667"/>
                    <a:pt x="521" y="667"/>
                  </a:cubicBezTo>
                  <a:cubicBezTo>
                    <a:pt x="521" y="667"/>
                    <a:pt x="521" y="667"/>
                    <a:pt x="521" y="667"/>
                  </a:cubicBezTo>
                  <a:cubicBezTo>
                    <a:pt x="521" y="666"/>
                    <a:pt x="521" y="666"/>
                    <a:pt x="521" y="666"/>
                  </a:cubicBezTo>
                  <a:cubicBezTo>
                    <a:pt x="521" y="665"/>
                    <a:pt x="521" y="665"/>
                    <a:pt x="521" y="665"/>
                  </a:cubicBezTo>
                  <a:cubicBezTo>
                    <a:pt x="520" y="665"/>
                    <a:pt x="520" y="665"/>
                    <a:pt x="520" y="665"/>
                  </a:cubicBezTo>
                  <a:cubicBezTo>
                    <a:pt x="520" y="665"/>
                    <a:pt x="520" y="665"/>
                    <a:pt x="520" y="665"/>
                  </a:cubicBezTo>
                  <a:cubicBezTo>
                    <a:pt x="520" y="664"/>
                    <a:pt x="520" y="664"/>
                    <a:pt x="520" y="664"/>
                  </a:cubicBezTo>
                  <a:cubicBezTo>
                    <a:pt x="520" y="664"/>
                    <a:pt x="520" y="664"/>
                    <a:pt x="520" y="664"/>
                  </a:cubicBezTo>
                  <a:cubicBezTo>
                    <a:pt x="519" y="663"/>
                    <a:pt x="519" y="663"/>
                    <a:pt x="519" y="663"/>
                  </a:cubicBezTo>
                  <a:cubicBezTo>
                    <a:pt x="518" y="662"/>
                    <a:pt x="518" y="662"/>
                    <a:pt x="518" y="662"/>
                  </a:cubicBezTo>
                  <a:cubicBezTo>
                    <a:pt x="517" y="660"/>
                    <a:pt x="517" y="660"/>
                    <a:pt x="517" y="660"/>
                  </a:cubicBezTo>
                  <a:cubicBezTo>
                    <a:pt x="517" y="659"/>
                    <a:pt x="517" y="659"/>
                    <a:pt x="517" y="659"/>
                  </a:cubicBezTo>
                  <a:cubicBezTo>
                    <a:pt x="517" y="658"/>
                    <a:pt x="517" y="658"/>
                    <a:pt x="517" y="658"/>
                  </a:cubicBezTo>
                  <a:cubicBezTo>
                    <a:pt x="515" y="657"/>
                    <a:pt x="515" y="657"/>
                    <a:pt x="515" y="657"/>
                  </a:cubicBezTo>
                  <a:cubicBezTo>
                    <a:pt x="506" y="659"/>
                    <a:pt x="506" y="659"/>
                    <a:pt x="506" y="659"/>
                  </a:cubicBezTo>
                  <a:cubicBezTo>
                    <a:pt x="501" y="660"/>
                    <a:pt x="501" y="660"/>
                    <a:pt x="501" y="660"/>
                  </a:cubicBezTo>
                  <a:cubicBezTo>
                    <a:pt x="500" y="660"/>
                    <a:pt x="500" y="660"/>
                    <a:pt x="500" y="660"/>
                  </a:cubicBezTo>
                  <a:cubicBezTo>
                    <a:pt x="500" y="659"/>
                    <a:pt x="500" y="659"/>
                    <a:pt x="500" y="659"/>
                  </a:cubicBezTo>
                  <a:cubicBezTo>
                    <a:pt x="500" y="659"/>
                    <a:pt x="500" y="659"/>
                    <a:pt x="500" y="659"/>
                  </a:cubicBezTo>
                  <a:cubicBezTo>
                    <a:pt x="495" y="659"/>
                    <a:pt x="495" y="659"/>
                    <a:pt x="495" y="659"/>
                  </a:cubicBezTo>
                  <a:cubicBezTo>
                    <a:pt x="493" y="660"/>
                    <a:pt x="493" y="660"/>
                    <a:pt x="493" y="660"/>
                  </a:cubicBezTo>
                  <a:cubicBezTo>
                    <a:pt x="492" y="661"/>
                    <a:pt x="492" y="661"/>
                    <a:pt x="492" y="661"/>
                  </a:cubicBezTo>
                  <a:cubicBezTo>
                    <a:pt x="491" y="662"/>
                    <a:pt x="491" y="662"/>
                    <a:pt x="491" y="662"/>
                  </a:cubicBezTo>
                  <a:cubicBezTo>
                    <a:pt x="490" y="663"/>
                    <a:pt x="490" y="663"/>
                    <a:pt x="490" y="663"/>
                  </a:cubicBezTo>
                  <a:cubicBezTo>
                    <a:pt x="489" y="664"/>
                    <a:pt x="489" y="664"/>
                    <a:pt x="489" y="664"/>
                  </a:cubicBezTo>
                  <a:cubicBezTo>
                    <a:pt x="489" y="664"/>
                    <a:pt x="489" y="664"/>
                    <a:pt x="489" y="664"/>
                  </a:cubicBezTo>
                  <a:cubicBezTo>
                    <a:pt x="489" y="665"/>
                    <a:pt x="489" y="665"/>
                    <a:pt x="489" y="665"/>
                  </a:cubicBezTo>
                  <a:cubicBezTo>
                    <a:pt x="489" y="665"/>
                    <a:pt x="489" y="665"/>
                    <a:pt x="489" y="665"/>
                  </a:cubicBezTo>
                  <a:cubicBezTo>
                    <a:pt x="490" y="666"/>
                    <a:pt x="490" y="666"/>
                    <a:pt x="490" y="666"/>
                  </a:cubicBezTo>
                  <a:cubicBezTo>
                    <a:pt x="490" y="666"/>
                    <a:pt x="490" y="666"/>
                    <a:pt x="490" y="666"/>
                  </a:cubicBezTo>
                  <a:cubicBezTo>
                    <a:pt x="490" y="667"/>
                    <a:pt x="490" y="667"/>
                    <a:pt x="490" y="667"/>
                  </a:cubicBezTo>
                  <a:cubicBezTo>
                    <a:pt x="490" y="667"/>
                    <a:pt x="490" y="667"/>
                    <a:pt x="490" y="667"/>
                  </a:cubicBezTo>
                  <a:cubicBezTo>
                    <a:pt x="490" y="667"/>
                    <a:pt x="490" y="667"/>
                    <a:pt x="490" y="667"/>
                  </a:cubicBezTo>
                  <a:cubicBezTo>
                    <a:pt x="490" y="668"/>
                    <a:pt x="490" y="668"/>
                    <a:pt x="490" y="668"/>
                  </a:cubicBezTo>
                  <a:cubicBezTo>
                    <a:pt x="488" y="667"/>
                    <a:pt x="488" y="667"/>
                    <a:pt x="488" y="667"/>
                  </a:cubicBezTo>
                  <a:cubicBezTo>
                    <a:pt x="488" y="667"/>
                    <a:pt x="488" y="667"/>
                    <a:pt x="488" y="667"/>
                  </a:cubicBezTo>
                  <a:cubicBezTo>
                    <a:pt x="488" y="668"/>
                    <a:pt x="488" y="668"/>
                    <a:pt x="488" y="668"/>
                  </a:cubicBezTo>
                  <a:cubicBezTo>
                    <a:pt x="487" y="669"/>
                    <a:pt x="487" y="669"/>
                    <a:pt x="487" y="669"/>
                  </a:cubicBezTo>
                  <a:cubicBezTo>
                    <a:pt x="487" y="670"/>
                    <a:pt x="487" y="670"/>
                    <a:pt x="487" y="670"/>
                  </a:cubicBezTo>
                  <a:cubicBezTo>
                    <a:pt x="487" y="671"/>
                    <a:pt x="487" y="671"/>
                    <a:pt x="487" y="671"/>
                  </a:cubicBezTo>
                  <a:cubicBezTo>
                    <a:pt x="487" y="675"/>
                    <a:pt x="487" y="675"/>
                    <a:pt x="487" y="675"/>
                  </a:cubicBezTo>
                  <a:cubicBezTo>
                    <a:pt x="487" y="676"/>
                    <a:pt x="487" y="676"/>
                    <a:pt x="487" y="676"/>
                  </a:cubicBezTo>
                  <a:cubicBezTo>
                    <a:pt x="488" y="677"/>
                    <a:pt x="488" y="677"/>
                    <a:pt x="488" y="677"/>
                  </a:cubicBezTo>
                  <a:cubicBezTo>
                    <a:pt x="495" y="677"/>
                    <a:pt x="495" y="677"/>
                    <a:pt x="495" y="677"/>
                  </a:cubicBezTo>
                  <a:cubicBezTo>
                    <a:pt x="496" y="677"/>
                    <a:pt x="496" y="677"/>
                    <a:pt x="496" y="677"/>
                  </a:cubicBezTo>
                  <a:cubicBezTo>
                    <a:pt x="497" y="678"/>
                    <a:pt x="497" y="678"/>
                    <a:pt x="497" y="678"/>
                  </a:cubicBezTo>
                  <a:cubicBezTo>
                    <a:pt x="496" y="678"/>
                    <a:pt x="496" y="678"/>
                    <a:pt x="496" y="678"/>
                  </a:cubicBezTo>
                  <a:cubicBezTo>
                    <a:pt x="495" y="678"/>
                    <a:pt x="495" y="678"/>
                    <a:pt x="495" y="678"/>
                  </a:cubicBezTo>
                  <a:cubicBezTo>
                    <a:pt x="495" y="677"/>
                    <a:pt x="495" y="677"/>
                    <a:pt x="495" y="677"/>
                  </a:cubicBezTo>
                  <a:cubicBezTo>
                    <a:pt x="494" y="677"/>
                    <a:pt x="494" y="677"/>
                    <a:pt x="494" y="677"/>
                  </a:cubicBezTo>
                  <a:cubicBezTo>
                    <a:pt x="494" y="678"/>
                    <a:pt x="494" y="678"/>
                    <a:pt x="494" y="678"/>
                  </a:cubicBezTo>
                  <a:cubicBezTo>
                    <a:pt x="493" y="679"/>
                    <a:pt x="493" y="679"/>
                    <a:pt x="493" y="679"/>
                  </a:cubicBezTo>
                  <a:cubicBezTo>
                    <a:pt x="493" y="679"/>
                    <a:pt x="493" y="679"/>
                    <a:pt x="493" y="679"/>
                  </a:cubicBezTo>
                  <a:cubicBezTo>
                    <a:pt x="493" y="680"/>
                    <a:pt x="493" y="680"/>
                    <a:pt x="493" y="680"/>
                  </a:cubicBezTo>
                  <a:cubicBezTo>
                    <a:pt x="493" y="680"/>
                    <a:pt x="493" y="680"/>
                    <a:pt x="493" y="680"/>
                  </a:cubicBezTo>
                  <a:cubicBezTo>
                    <a:pt x="492" y="681"/>
                    <a:pt x="492" y="681"/>
                    <a:pt x="492" y="681"/>
                  </a:cubicBezTo>
                  <a:cubicBezTo>
                    <a:pt x="492" y="681"/>
                    <a:pt x="492" y="681"/>
                    <a:pt x="492" y="681"/>
                  </a:cubicBezTo>
                  <a:cubicBezTo>
                    <a:pt x="492" y="681"/>
                    <a:pt x="492" y="681"/>
                    <a:pt x="492" y="681"/>
                  </a:cubicBezTo>
                  <a:cubicBezTo>
                    <a:pt x="492" y="682"/>
                    <a:pt x="492" y="682"/>
                    <a:pt x="492" y="682"/>
                  </a:cubicBezTo>
                  <a:cubicBezTo>
                    <a:pt x="491" y="681"/>
                    <a:pt x="491" y="681"/>
                    <a:pt x="491" y="681"/>
                  </a:cubicBezTo>
                  <a:cubicBezTo>
                    <a:pt x="490" y="681"/>
                    <a:pt x="490" y="681"/>
                    <a:pt x="490" y="681"/>
                  </a:cubicBezTo>
                  <a:cubicBezTo>
                    <a:pt x="490" y="680"/>
                    <a:pt x="490" y="680"/>
                    <a:pt x="490" y="680"/>
                  </a:cubicBezTo>
                  <a:cubicBezTo>
                    <a:pt x="490" y="680"/>
                    <a:pt x="490" y="680"/>
                    <a:pt x="490" y="680"/>
                  </a:cubicBezTo>
                  <a:cubicBezTo>
                    <a:pt x="490" y="679"/>
                    <a:pt x="490" y="679"/>
                    <a:pt x="490" y="679"/>
                  </a:cubicBezTo>
                  <a:cubicBezTo>
                    <a:pt x="490" y="679"/>
                    <a:pt x="490" y="679"/>
                    <a:pt x="490" y="679"/>
                  </a:cubicBezTo>
                  <a:cubicBezTo>
                    <a:pt x="490" y="679"/>
                    <a:pt x="490" y="679"/>
                    <a:pt x="490" y="679"/>
                  </a:cubicBezTo>
                  <a:cubicBezTo>
                    <a:pt x="490" y="679"/>
                    <a:pt x="490" y="679"/>
                    <a:pt x="490" y="679"/>
                  </a:cubicBezTo>
                  <a:cubicBezTo>
                    <a:pt x="490" y="679"/>
                    <a:pt x="490" y="679"/>
                    <a:pt x="490" y="679"/>
                  </a:cubicBezTo>
                  <a:cubicBezTo>
                    <a:pt x="490" y="679"/>
                    <a:pt x="490" y="679"/>
                    <a:pt x="490" y="679"/>
                  </a:cubicBezTo>
                  <a:cubicBezTo>
                    <a:pt x="489" y="679"/>
                    <a:pt x="489" y="679"/>
                    <a:pt x="489" y="679"/>
                  </a:cubicBezTo>
                  <a:cubicBezTo>
                    <a:pt x="489" y="679"/>
                    <a:pt x="489" y="679"/>
                    <a:pt x="489" y="679"/>
                  </a:cubicBezTo>
                  <a:cubicBezTo>
                    <a:pt x="489" y="679"/>
                    <a:pt x="489" y="679"/>
                    <a:pt x="489" y="679"/>
                  </a:cubicBezTo>
                  <a:cubicBezTo>
                    <a:pt x="487" y="678"/>
                    <a:pt x="487" y="678"/>
                    <a:pt x="487" y="678"/>
                  </a:cubicBezTo>
                  <a:cubicBezTo>
                    <a:pt x="486" y="678"/>
                    <a:pt x="486" y="678"/>
                    <a:pt x="486" y="678"/>
                  </a:cubicBezTo>
                  <a:cubicBezTo>
                    <a:pt x="486" y="678"/>
                    <a:pt x="486" y="678"/>
                    <a:pt x="486" y="678"/>
                  </a:cubicBezTo>
                  <a:cubicBezTo>
                    <a:pt x="486" y="677"/>
                    <a:pt x="486" y="677"/>
                    <a:pt x="486" y="677"/>
                  </a:cubicBezTo>
                  <a:cubicBezTo>
                    <a:pt x="486" y="677"/>
                    <a:pt x="486" y="677"/>
                    <a:pt x="486" y="677"/>
                  </a:cubicBezTo>
                  <a:cubicBezTo>
                    <a:pt x="485" y="677"/>
                    <a:pt x="485" y="677"/>
                    <a:pt x="485" y="677"/>
                  </a:cubicBezTo>
                  <a:cubicBezTo>
                    <a:pt x="485" y="677"/>
                    <a:pt x="485" y="677"/>
                    <a:pt x="485" y="677"/>
                  </a:cubicBezTo>
                  <a:cubicBezTo>
                    <a:pt x="484" y="673"/>
                    <a:pt x="484" y="673"/>
                    <a:pt x="484" y="673"/>
                  </a:cubicBezTo>
                  <a:cubicBezTo>
                    <a:pt x="483" y="672"/>
                    <a:pt x="483" y="672"/>
                    <a:pt x="483" y="672"/>
                  </a:cubicBezTo>
                  <a:cubicBezTo>
                    <a:pt x="483" y="672"/>
                    <a:pt x="483" y="672"/>
                    <a:pt x="483" y="672"/>
                  </a:cubicBezTo>
                  <a:cubicBezTo>
                    <a:pt x="480" y="671"/>
                    <a:pt x="480" y="671"/>
                    <a:pt x="480" y="671"/>
                  </a:cubicBezTo>
                  <a:cubicBezTo>
                    <a:pt x="473" y="672"/>
                    <a:pt x="473" y="672"/>
                    <a:pt x="473" y="672"/>
                  </a:cubicBezTo>
                  <a:cubicBezTo>
                    <a:pt x="468" y="674"/>
                    <a:pt x="468" y="674"/>
                    <a:pt x="468" y="674"/>
                  </a:cubicBezTo>
                  <a:cubicBezTo>
                    <a:pt x="467" y="674"/>
                    <a:pt x="467" y="674"/>
                    <a:pt x="467" y="674"/>
                  </a:cubicBezTo>
                  <a:cubicBezTo>
                    <a:pt x="467" y="674"/>
                    <a:pt x="467" y="674"/>
                    <a:pt x="467" y="674"/>
                  </a:cubicBezTo>
                  <a:cubicBezTo>
                    <a:pt x="467" y="674"/>
                    <a:pt x="467" y="674"/>
                    <a:pt x="467" y="674"/>
                  </a:cubicBezTo>
                  <a:cubicBezTo>
                    <a:pt x="466" y="674"/>
                    <a:pt x="466" y="674"/>
                    <a:pt x="466" y="674"/>
                  </a:cubicBezTo>
                  <a:cubicBezTo>
                    <a:pt x="466" y="674"/>
                    <a:pt x="466" y="674"/>
                    <a:pt x="466" y="674"/>
                  </a:cubicBezTo>
                  <a:cubicBezTo>
                    <a:pt x="463" y="674"/>
                    <a:pt x="463" y="674"/>
                    <a:pt x="463" y="674"/>
                  </a:cubicBezTo>
                  <a:cubicBezTo>
                    <a:pt x="460" y="674"/>
                    <a:pt x="460" y="674"/>
                    <a:pt x="460" y="674"/>
                  </a:cubicBezTo>
                  <a:cubicBezTo>
                    <a:pt x="457" y="674"/>
                    <a:pt x="457" y="674"/>
                    <a:pt x="457" y="674"/>
                  </a:cubicBezTo>
                  <a:cubicBezTo>
                    <a:pt x="455" y="675"/>
                    <a:pt x="455" y="675"/>
                    <a:pt x="455" y="675"/>
                  </a:cubicBezTo>
                  <a:cubicBezTo>
                    <a:pt x="454" y="675"/>
                    <a:pt x="454" y="675"/>
                    <a:pt x="454" y="675"/>
                  </a:cubicBezTo>
                  <a:cubicBezTo>
                    <a:pt x="453" y="676"/>
                    <a:pt x="453" y="676"/>
                    <a:pt x="453" y="676"/>
                  </a:cubicBezTo>
                  <a:cubicBezTo>
                    <a:pt x="449" y="678"/>
                    <a:pt x="449" y="678"/>
                    <a:pt x="449" y="678"/>
                  </a:cubicBezTo>
                  <a:cubicBezTo>
                    <a:pt x="447" y="679"/>
                    <a:pt x="447" y="679"/>
                    <a:pt x="447" y="679"/>
                  </a:cubicBezTo>
                  <a:cubicBezTo>
                    <a:pt x="446" y="679"/>
                    <a:pt x="446" y="679"/>
                    <a:pt x="446" y="679"/>
                  </a:cubicBezTo>
                  <a:cubicBezTo>
                    <a:pt x="445" y="679"/>
                    <a:pt x="445" y="679"/>
                    <a:pt x="445" y="679"/>
                  </a:cubicBezTo>
                  <a:cubicBezTo>
                    <a:pt x="445" y="680"/>
                    <a:pt x="445" y="680"/>
                    <a:pt x="445" y="680"/>
                  </a:cubicBezTo>
                  <a:cubicBezTo>
                    <a:pt x="444" y="680"/>
                    <a:pt x="444" y="680"/>
                    <a:pt x="444" y="680"/>
                  </a:cubicBezTo>
                  <a:cubicBezTo>
                    <a:pt x="444" y="681"/>
                    <a:pt x="444" y="681"/>
                    <a:pt x="444" y="681"/>
                  </a:cubicBezTo>
                  <a:cubicBezTo>
                    <a:pt x="443" y="681"/>
                    <a:pt x="443" y="681"/>
                    <a:pt x="443" y="681"/>
                  </a:cubicBezTo>
                  <a:cubicBezTo>
                    <a:pt x="442" y="682"/>
                    <a:pt x="442" y="682"/>
                    <a:pt x="442" y="682"/>
                  </a:cubicBezTo>
                  <a:cubicBezTo>
                    <a:pt x="441" y="683"/>
                    <a:pt x="441" y="683"/>
                    <a:pt x="441" y="683"/>
                  </a:cubicBezTo>
                  <a:cubicBezTo>
                    <a:pt x="440" y="685"/>
                    <a:pt x="440" y="685"/>
                    <a:pt x="440" y="685"/>
                  </a:cubicBezTo>
                  <a:cubicBezTo>
                    <a:pt x="440" y="688"/>
                    <a:pt x="440" y="688"/>
                    <a:pt x="440" y="688"/>
                  </a:cubicBezTo>
                  <a:cubicBezTo>
                    <a:pt x="439" y="689"/>
                    <a:pt x="439" y="689"/>
                    <a:pt x="439" y="689"/>
                  </a:cubicBezTo>
                  <a:cubicBezTo>
                    <a:pt x="438" y="689"/>
                    <a:pt x="438" y="689"/>
                    <a:pt x="438" y="689"/>
                  </a:cubicBezTo>
                  <a:cubicBezTo>
                    <a:pt x="437" y="690"/>
                    <a:pt x="437" y="690"/>
                    <a:pt x="437" y="690"/>
                  </a:cubicBezTo>
                  <a:cubicBezTo>
                    <a:pt x="436" y="690"/>
                    <a:pt x="436" y="690"/>
                    <a:pt x="436" y="690"/>
                  </a:cubicBezTo>
                  <a:cubicBezTo>
                    <a:pt x="436" y="691"/>
                    <a:pt x="436" y="691"/>
                    <a:pt x="436" y="691"/>
                  </a:cubicBezTo>
                  <a:cubicBezTo>
                    <a:pt x="430" y="696"/>
                    <a:pt x="430" y="696"/>
                    <a:pt x="430" y="696"/>
                  </a:cubicBezTo>
                  <a:cubicBezTo>
                    <a:pt x="429" y="697"/>
                    <a:pt x="429" y="697"/>
                    <a:pt x="429" y="697"/>
                  </a:cubicBezTo>
                  <a:cubicBezTo>
                    <a:pt x="427" y="697"/>
                    <a:pt x="427" y="697"/>
                    <a:pt x="427" y="697"/>
                  </a:cubicBezTo>
                  <a:cubicBezTo>
                    <a:pt x="427" y="697"/>
                    <a:pt x="427" y="697"/>
                    <a:pt x="427" y="697"/>
                  </a:cubicBezTo>
                  <a:cubicBezTo>
                    <a:pt x="425" y="698"/>
                    <a:pt x="425" y="698"/>
                    <a:pt x="425" y="698"/>
                  </a:cubicBezTo>
                  <a:cubicBezTo>
                    <a:pt x="425" y="698"/>
                    <a:pt x="425" y="698"/>
                    <a:pt x="425" y="698"/>
                  </a:cubicBezTo>
                  <a:cubicBezTo>
                    <a:pt x="424" y="699"/>
                    <a:pt x="424" y="699"/>
                    <a:pt x="424" y="699"/>
                  </a:cubicBezTo>
                  <a:cubicBezTo>
                    <a:pt x="422" y="698"/>
                    <a:pt x="422" y="698"/>
                    <a:pt x="422" y="698"/>
                  </a:cubicBezTo>
                  <a:cubicBezTo>
                    <a:pt x="422" y="697"/>
                    <a:pt x="422" y="697"/>
                    <a:pt x="422" y="697"/>
                  </a:cubicBezTo>
                  <a:cubicBezTo>
                    <a:pt x="422" y="696"/>
                    <a:pt x="422" y="696"/>
                    <a:pt x="422" y="696"/>
                  </a:cubicBezTo>
                  <a:cubicBezTo>
                    <a:pt x="422" y="695"/>
                    <a:pt x="422" y="695"/>
                    <a:pt x="422" y="695"/>
                  </a:cubicBezTo>
                  <a:cubicBezTo>
                    <a:pt x="422" y="696"/>
                    <a:pt x="422" y="696"/>
                    <a:pt x="422" y="696"/>
                  </a:cubicBezTo>
                  <a:cubicBezTo>
                    <a:pt x="420" y="695"/>
                    <a:pt x="420" y="695"/>
                    <a:pt x="420" y="695"/>
                  </a:cubicBezTo>
                  <a:cubicBezTo>
                    <a:pt x="419" y="696"/>
                    <a:pt x="419" y="696"/>
                    <a:pt x="419" y="696"/>
                  </a:cubicBezTo>
                  <a:cubicBezTo>
                    <a:pt x="419" y="697"/>
                    <a:pt x="419" y="697"/>
                    <a:pt x="419" y="697"/>
                  </a:cubicBezTo>
                  <a:cubicBezTo>
                    <a:pt x="419" y="698"/>
                    <a:pt x="419" y="698"/>
                    <a:pt x="419" y="698"/>
                  </a:cubicBezTo>
                  <a:cubicBezTo>
                    <a:pt x="419" y="699"/>
                    <a:pt x="419" y="699"/>
                    <a:pt x="419" y="699"/>
                  </a:cubicBezTo>
                  <a:cubicBezTo>
                    <a:pt x="419" y="700"/>
                    <a:pt x="419" y="700"/>
                    <a:pt x="419" y="700"/>
                  </a:cubicBezTo>
                  <a:cubicBezTo>
                    <a:pt x="417" y="704"/>
                    <a:pt x="417" y="704"/>
                    <a:pt x="417" y="704"/>
                  </a:cubicBezTo>
                  <a:cubicBezTo>
                    <a:pt x="417" y="705"/>
                    <a:pt x="417" y="705"/>
                    <a:pt x="417" y="705"/>
                  </a:cubicBezTo>
                  <a:cubicBezTo>
                    <a:pt x="417" y="706"/>
                    <a:pt x="417" y="706"/>
                    <a:pt x="417" y="706"/>
                  </a:cubicBezTo>
                  <a:cubicBezTo>
                    <a:pt x="416" y="708"/>
                    <a:pt x="416" y="708"/>
                    <a:pt x="416" y="708"/>
                  </a:cubicBezTo>
                  <a:cubicBezTo>
                    <a:pt x="415" y="718"/>
                    <a:pt x="415" y="718"/>
                    <a:pt x="415" y="718"/>
                  </a:cubicBezTo>
                  <a:cubicBezTo>
                    <a:pt x="415" y="719"/>
                    <a:pt x="415" y="719"/>
                    <a:pt x="415" y="719"/>
                  </a:cubicBezTo>
                  <a:cubicBezTo>
                    <a:pt x="415" y="719"/>
                    <a:pt x="415" y="719"/>
                    <a:pt x="415" y="719"/>
                  </a:cubicBezTo>
                  <a:cubicBezTo>
                    <a:pt x="414" y="721"/>
                    <a:pt x="414" y="721"/>
                    <a:pt x="414" y="721"/>
                  </a:cubicBezTo>
                  <a:cubicBezTo>
                    <a:pt x="412" y="726"/>
                    <a:pt x="412" y="726"/>
                    <a:pt x="412" y="726"/>
                  </a:cubicBezTo>
                  <a:cubicBezTo>
                    <a:pt x="409" y="731"/>
                    <a:pt x="409" y="731"/>
                    <a:pt x="409" y="731"/>
                  </a:cubicBezTo>
                  <a:cubicBezTo>
                    <a:pt x="406" y="736"/>
                    <a:pt x="406" y="736"/>
                    <a:pt x="406" y="736"/>
                  </a:cubicBezTo>
                  <a:cubicBezTo>
                    <a:pt x="401" y="742"/>
                    <a:pt x="401" y="742"/>
                    <a:pt x="401" y="742"/>
                  </a:cubicBezTo>
                  <a:cubicBezTo>
                    <a:pt x="400" y="742"/>
                    <a:pt x="400" y="742"/>
                    <a:pt x="400" y="742"/>
                  </a:cubicBezTo>
                  <a:cubicBezTo>
                    <a:pt x="399" y="743"/>
                    <a:pt x="399" y="743"/>
                    <a:pt x="399" y="743"/>
                  </a:cubicBezTo>
                  <a:cubicBezTo>
                    <a:pt x="398" y="742"/>
                    <a:pt x="398" y="742"/>
                    <a:pt x="398" y="742"/>
                  </a:cubicBezTo>
                  <a:cubicBezTo>
                    <a:pt x="398" y="743"/>
                    <a:pt x="398" y="743"/>
                    <a:pt x="398" y="743"/>
                  </a:cubicBezTo>
                  <a:cubicBezTo>
                    <a:pt x="397" y="743"/>
                    <a:pt x="397" y="743"/>
                    <a:pt x="397" y="743"/>
                  </a:cubicBezTo>
                  <a:cubicBezTo>
                    <a:pt x="398" y="744"/>
                    <a:pt x="398" y="744"/>
                    <a:pt x="398" y="744"/>
                  </a:cubicBezTo>
                  <a:cubicBezTo>
                    <a:pt x="398" y="746"/>
                    <a:pt x="398" y="746"/>
                    <a:pt x="398" y="746"/>
                  </a:cubicBezTo>
                  <a:cubicBezTo>
                    <a:pt x="398" y="746"/>
                    <a:pt x="398" y="746"/>
                    <a:pt x="398" y="746"/>
                  </a:cubicBezTo>
                  <a:cubicBezTo>
                    <a:pt x="398" y="746"/>
                    <a:pt x="398" y="746"/>
                    <a:pt x="398" y="746"/>
                  </a:cubicBezTo>
                  <a:cubicBezTo>
                    <a:pt x="398" y="747"/>
                    <a:pt x="398" y="747"/>
                    <a:pt x="398" y="747"/>
                  </a:cubicBezTo>
                  <a:cubicBezTo>
                    <a:pt x="398" y="747"/>
                    <a:pt x="398" y="747"/>
                    <a:pt x="398" y="747"/>
                  </a:cubicBezTo>
                  <a:cubicBezTo>
                    <a:pt x="398" y="747"/>
                    <a:pt x="398" y="747"/>
                    <a:pt x="398" y="747"/>
                  </a:cubicBezTo>
                  <a:cubicBezTo>
                    <a:pt x="398" y="748"/>
                    <a:pt x="398" y="748"/>
                    <a:pt x="398" y="748"/>
                  </a:cubicBezTo>
                  <a:cubicBezTo>
                    <a:pt x="398" y="748"/>
                    <a:pt x="398" y="748"/>
                    <a:pt x="398" y="748"/>
                  </a:cubicBezTo>
                  <a:cubicBezTo>
                    <a:pt x="399" y="748"/>
                    <a:pt x="399" y="748"/>
                    <a:pt x="399" y="748"/>
                  </a:cubicBezTo>
                  <a:cubicBezTo>
                    <a:pt x="399" y="749"/>
                    <a:pt x="399" y="749"/>
                    <a:pt x="399" y="749"/>
                  </a:cubicBezTo>
                  <a:cubicBezTo>
                    <a:pt x="400" y="749"/>
                    <a:pt x="400" y="749"/>
                    <a:pt x="400" y="749"/>
                  </a:cubicBezTo>
                  <a:cubicBezTo>
                    <a:pt x="399" y="750"/>
                    <a:pt x="399" y="750"/>
                    <a:pt x="399" y="750"/>
                  </a:cubicBezTo>
                  <a:cubicBezTo>
                    <a:pt x="399" y="750"/>
                    <a:pt x="399" y="750"/>
                    <a:pt x="399" y="750"/>
                  </a:cubicBezTo>
                  <a:cubicBezTo>
                    <a:pt x="399" y="750"/>
                    <a:pt x="399" y="750"/>
                    <a:pt x="399" y="750"/>
                  </a:cubicBezTo>
                  <a:cubicBezTo>
                    <a:pt x="398" y="750"/>
                    <a:pt x="398" y="750"/>
                    <a:pt x="398" y="750"/>
                  </a:cubicBezTo>
                  <a:cubicBezTo>
                    <a:pt x="398" y="749"/>
                    <a:pt x="398" y="749"/>
                    <a:pt x="398" y="749"/>
                  </a:cubicBezTo>
                  <a:cubicBezTo>
                    <a:pt x="397" y="749"/>
                    <a:pt x="397" y="749"/>
                    <a:pt x="397" y="749"/>
                  </a:cubicBezTo>
                  <a:cubicBezTo>
                    <a:pt x="396" y="749"/>
                    <a:pt x="396" y="749"/>
                    <a:pt x="396" y="749"/>
                  </a:cubicBezTo>
                  <a:cubicBezTo>
                    <a:pt x="396" y="750"/>
                    <a:pt x="396" y="750"/>
                    <a:pt x="396" y="750"/>
                  </a:cubicBezTo>
                  <a:cubicBezTo>
                    <a:pt x="394" y="750"/>
                    <a:pt x="394" y="750"/>
                    <a:pt x="394" y="750"/>
                  </a:cubicBezTo>
                  <a:cubicBezTo>
                    <a:pt x="393" y="751"/>
                    <a:pt x="393" y="751"/>
                    <a:pt x="393" y="751"/>
                  </a:cubicBezTo>
                  <a:cubicBezTo>
                    <a:pt x="393" y="752"/>
                    <a:pt x="393" y="752"/>
                    <a:pt x="393" y="752"/>
                  </a:cubicBezTo>
                  <a:cubicBezTo>
                    <a:pt x="394" y="752"/>
                    <a:pt x="394" y="752"/>
                    <a:pt x="394" y="752"/>
                  </a:cubicBezTo>
                  <a:cubicBezTo>
                    <a:pt x="394" y="752"/>
                    <a:pt x="394" y="752"/>
                    <a:pt x="394" y="752"/>
                  </a:cubicBezTo>
                  <a:cubicBezTo>
                    <a:pt x="394" y="752"/>
                    <a:pt x="394" y="752"/>
                    <a:pt x="394" y="752"/>
                  </a:cubicBezTo>
                  <a:cubicBezTo>
                    <a:pt x="395" y="752"/>
                    <a:pt x="395" y="752"/>
                    <a:pt x="395" y="752"/>
                  </a:cubicBezTo>
                  <a:cubicBezTo>
                    <a:pt x="395" y="752"/>
                    <a:pt x="395" y="752"/>
                    <a:pt x="395" y="752"/>
                  </a:cubicBezTo>
                  <a:cubicBezTo>
                    <a:pt x="396" y="751"/>
                    <a:pt x="396" y="751"/>
                    <a:pt x="396" y="751"/>
                  </a:cubicBezTo>
                  <a:cubicBezTo>
                    <a:pt x="397" y="751"/>
                    <a:pt x="397" y="751"/>
                    <a:pt x="397" y="751"/>
                  </a:cubicBezTo>
                  <a:cubicBezTo>
                    <a:pt x="397" y="751"/>
                    <a:pt x="397" y="751"/>
                    <a:pt x="397" y="751"/>
                  </a:cubicBezTo>
                  <a:cubicBezTo>
                    <a:pt x="398" y="752"/>
                    <a:pt x="398" y="752"/>
                    <a:pt x="398" y="752"/>
                  </a:cubicBezTo>
                  <a:cubicBezTo>
                    <a:pt x="399" y="753"/>
                    <a:pt x="399" y="753"/>
                    <a:pt x="399" y="753"/>
                  </a:cubicBezTo>
                  <a:cubicBezTo>
                    <a:pt x="399" y="755"/>
                    <a:pt x="399" y="755"/>
                    <a:pt x="399" y="755"/>
                  </a:cubicBezTo>
                  <a:cubicBezTo>
                    <a:pt x="399" y="755"/>
                    <a:pt x="399" y="755"/>
                    <a:pt x="399" y="755"/>
                  </a:cubicBezTo>
                  <a:cubicBezTo>
                    <a:pt x="401" y="756"/>
                    <a:pt x="401" y="756"/>
                    <a:pt x="401" y="756"/>
                  </a:cubicBezTo>
                  <a:cubicBezTo>
                    <a:pt x="402" y="756"/>
                    <a:pt x="402" y="756"/>
                    <a:pt x="402" y="756"/>
                  </a:cubicBezTo>
                  <a:cubicBezTo>
                    <a:pt x="403" y="757"/>
                    <a:pt x="403" y="757"/>
                    <a:pt x="403" y="757"/>
                  </a:cubicBezTo>
                  <a:cubicBezTo>
                    <a:pt x="401" y="757"/>
                    <a:pt x="401" y="757"/>
                    <a:pt x="401" y="757"/>
                  </a:cubicBezTo>
                  <a:cubicBezTo>
                    <a:pt x="401" y="757"/>
                    <a:pt x="401" y="757"/>
                    <a:pt x="401" y="757"/>
                  </a:cubicBezTo>
                  <a:cubicBezTo>
                    <a:pt x="400" y="758"/>
                    <a:pt x="400" y="758"/>
                    <a:pt x="400" y="758"/>
                  </a:cubicBezTo>
                  <a:cubicBezTo>
                    <a:pt x="400" y="758"/>
                    <a:pt x="400" y="758"/>
                    <a:pt x="400" y="758"/>
                  </a:cubicBezTo>
                  <a:cubicBezTo>
                    <a:pt x="400" y="758"/>
                    <a:pt x="400" y="758"/>
                    <a:pt x="400" y="758"/>
                  </a:cubicBezTo>
                  <a:cubicBezTo>
                    <a:pt x="400" y="759"/>
                    <a:pt x="400" y="759"/>
                    <a:pt x="400" y="759"/>
                  </a:cubicBezTo>
                  <a:cubicBezTo>
                    <a:pt x="401" y="759"/>
                    <a:pt x="401" y="759"/>
                    <a:pt x="401" y="759"/>
                  </a:cubicBezTo>
                  <a:cubicBezTo>
                    <a:pt x="401" y="760"/>
                    <a:pt x="401" y="760"/>
                    <a:pt x="401" y="760"/>
                  </a:cubicBezTo>
                  <a:cubicBezTo>
                    <a:pt x="401" y="760"/>
                    <a:pt x="401" y="760"/>
                    <a:pt x="401" y="760"/>
                  </a:cubicBezTo>
                  <a:cubicBezTo>
                    <a:pt x="402" y="760"/>
                    <a:pt x="402" y="760"/>
                    <a:pt x="402" y="760"/>
                  </a:cubicBezTo>
                  <a:cubicBezTo>
                    <a:pt x="403" y="760"/>
                    <a:pt x="403" y="760"/>
                    <a:pt x="403" y="760"/>
                  </a:cubicBezTo>
                  <a:cubicBezTo>
                    <a:pt x="403" y="760"/>
                    <a:pt x="403" y="760"/>
                    <a:pt x="403" y="760"/>
                  </a:cubicBezTo>
                  <a:cubicBezTo>
                    <a:pt x="403" y="760"/>
                    <a:pt x="403" y="760"/>
                    <a:pt x="403" y="760"/>
                  </a:cubicBezTo>
                  <a:cubicBezTo>
                    <a:pt x="403" y="761"/>
                    <a:pt x="403" y="761"/>
                    <a:pt x="403" y="761"/>
                  </a:cubicBezTo>
                  <a:cubicBezTo>
                    <a:pt x="403" y="761"/>
                    <a:pt x="403" y="761"/>
                    <a:pt x="403" y="761"/>
                  </a:cubicBezTo>
                  <a:cubicBezTo>
                    <a:pt x="402" y="760"/>
                    <a:pt x="402" y="760"/>
                    <a:pt x="402" y="760"/>
                  </a:cubicBezTo>
                  <a:cubicBezTo>
                    <a:pt x="399" y="760"/>
                    <a:pt x="399" y="760"/>
                    <a:pt x="399" y="760"/>
                  </a:cubicBezTo>
                  <a:cubicBezTo>
                    <a:pt x="398" y="761"/>
                    <a:pt x="398" y="761"/>
                    <a:pt x="398" y="761"/>
                  </a:cubicBezTo>
                  <a:cubicBezTo>
                    <a:pt x="397" y="761"/>
                    <a:pt x="397" y="761"/>
                    <a:pt x="397" y="761"/>
                  </a:cubicBezTo>
                  <a:cubicBezTo>
                    <a:pt x="399" y="763"/>
                    <a:pt x="399" y="763"/>
                    <a:pt x="399" y="763"/>
                  </a:cubicBezTo>
                  <a:cubicBezTo>
                    <a:pt x="400" y="764"/>
                    <a:pt x="400" y="764"/>
                    <a:pt x="400" y="764"/>
                  </a:cubicBezTo>
                  <a:cubicBezTo>
                    <a:pt x="400" y="764"/>
                    <a:pt x="400" y="764"/>
                    <a:pt x="400" y="764"/>
                  </a:cubicBezTo>
                  <a:cubicBezTo>
                    <a:pt x="401" y="764"/>
                    <a:pt x="401" y="764"/>
                    <a:pt x="401" y="764"/>
                  </a:cubicBezTo>
                  <a:cubicBezTo>
                    <a:pt x="402" y="764"/>
                    <a:pt x="402" y="764"/>
                    <a:pt x="402" y="764"/>
                  </a:cubicBezTo>
                  <a:cubicBezTo>
                    <a:pt x="403" y="764"/>
                    <a:pt x="403" y="764"/>
                    <a:pt x="403" y="764"/>
                  </a:cubicBezTo>
                  <a:cubicBezTo>
                    <a:pt x="404" y="765"/>
                    <a:pt x="404" y="765"/>
                    <a:pt x="404" y="765"/>
                  </a:cubicBezTo>
                  <a:cubicBezTo>
                    <a:pt x="404" y="765"/>
                    <a:pt x="404" y="765"/>
                    <a:pt x="404" y="765"/>
                  </a:cubicBezTo>
                  <a:cubicBezTo>
                    <a:pt x="405" y="765"/>
                    <a:pt x="405" y="765"/>
                    <a:pt x="405" y="765"/>
                  </a:cubicBezTo>
                  <a:cubicBezTo>
                    <a:pt x="406" y="766"/>
                    <a:pt x="406" y="766"/>
                    <a:pt x="406" y="766"/>
                  </a:cubicBezTo>
                  <a:cubicBezTo>
                    <a:pt x="406" y="767"/>
                    <a:pt x="406" y="767"/>
                    <a:pt x="406" y="767"/>
                  </a:cubicBezTo>
                  <a:cubicBezTo>
                    <a:pt x="406" y="768"/>
                    <a:pt x="406" y="768"/>
                    <a:pt x="406" y="768"/>
                  </a:cubicBezTo>
                  <a:cubicBezTo>
                    <a:pt x="405" y="768"/>
                    <a:pt x="405" y="768"/>
                    <a:pt x="405" y="768"/>
                  </a:cubicBezTo>
                  <a:cubicBezTo>
                    <a:pt x="405" y="768"/>
                    <a:pt x="405" y="768"/>
                    <a:pt x="405" y="768"/>
                  </a:cubicBezTo>
                  <a:cubicBezTo>
                    <a:pt x="404" y="768"/>
                    <a:pt x="404" y="768"/>
                    <a:pt x="404" y="768"/>
                  </a:cubicBezTo>
                  <a:cubicBezTo>
                    <a:pt x="403" y="768"/>
                    <a:pt x="403" y="768"/>
                    <a:pt x="403" y="768"/>
                  </a:cubicBezTo>
                  <a:cubicBezTo>
                    <a:pt x="403" y="768"/>
                    <a:pt x="403" y="768"/>
                    <a:pt x="403" y="768"/>
                  </a:cubicBezTo>
                  <a:cubicBezTo>
                    <a:pt x="401" y="768"/>
                    <a:pt x="401" y="768"/>
                    <a:pt x="401" y="768"/>
                  </a:cubicBezTo>
                  <a:cubicBezTo>
                    <a:pt x="400" y="768"/>
                    <a:pt x="400" y="768"/>
                    <a:pt x="400" y="768"/>
                  </a:cubicBezTo>
                  <a:cubicBezTo>
                    <a:pt x="400" y="768"/>
                    <a:pt x="400" y="768"/>
                    <a:pt x="400" y="768"/>
                  </a:cubicBezTo>
                  <a:cubicBezTo>
                    <a:pt x="399" y="766"/>
                    <a:pt x="399" y="766"/>
                    <a:pt x="399" y="766"/>
                  </a:cubicBezTo>
                  <a:cubicBezTo>
                    <a:pt x="399" y="765"/>
                    <a:pt x="399" y="765"/>
                    <a:pt x="399" y="765"/>
                  </a:cubicBezTo>
                  <a:cubicBezTo>
                    <a:pt x="398" y="764"/>
                    <a:pt x="398" y="764"/>
                    <a:pt x="398" y="764"/>
                  </a:cubicBezTo>
                  <a:cubicBezTo>
                    <a:pt x="396" y="763"/>
                    <a:pt x="396" y="763"/>
                    <a:pt x="396" y="763"/>
                  </a:cubicBezTo>
                  <a:cubicBezTo>
                    <a:pt x="393" y="763"/>
                    <a:pt x="393" y="763"/>
                    <a:pt x="393" y="763"/>
                  </a:cubicBezTo>
                  <a:cubicBezTo>
                    <a:pt x="393" y="763"/>
                    <a:pt x="393" y="763"/>
                    <a:pt x="393" y="763"/>
                  </a:cubicBezTo>
                  <a:cubicBezTo>
                    <a:pt x="393" y="763"/>
                    <a:pt x="393" y="763"/>
                    <a:pt x="393" y="763"/>
                  </a:cubicBezTo>
                  <a:cubicBezTo>
                    <a:pt x="394" y="763"/>
                    <a:pt x="394" y="763"/>
                    <a:pt x="394" y="763"/>
                  </a:cubicBezTo>
                  <a:cubicBezTo>
                    <a:pt x="394" y="762"/>
                    <a:pt x="394" y="762"/>
                    <a:pt x="394" y="762"/>
                  </a:cubicBezTo>
                  <a:cubicBezTo>
                    <a:pt x="394" y="762"/>
                    <a:pt x="394" y="762"/>
                    <a:pt x="394" y="762"/>
                  </a:cubicBezTo>
                  <a:cubicBezTo>
                    <a:pt x="394" y="761"/>
                    <a:pt x="394" y="761"/>
                    <a:pt x="394" y="761"/>
                  </a:cubicBezTo>
                  <a:cubicBezTo>
                    <a:pt x="393" y="761"/>
                    <a:pt x="393" y="761"/>
                    <a:pt x="393" y="761"/>
                  </a:cubicBezTo>
                  <a:cubicBezTo>
                    <a:pt x="393" y="760"/>
                    <a:pt x="393" y="760"/>
                    <a:pt x="393" y="760"/>
                  </a:cubicBezTo>
                  <a:cubicBezTo>
                    <a:pt x="392" y="760"/>
                    <a:pt x="392" y="760"/>
                    <a:pt x="392" y="760"/>
                  </a:cubicBezTo>
                  <a:cubicBezTo>
                    <a:pt x="384" y="761"/>
                    <a:pt x="384" y="761"/>
                    <a:pt x="384" y="761"/>
                  </a:cubicBezTo>
                  <a:cubicBezTo>
                    <a:pt x="381" y="763"/>
                    <a:pt x="381" y="763"/>
                    <a:pt x="381" y="763"/>
                  </a:cubicBezTo>
                  <a:cubicBezTo>
                    <a:pt x="380" y="763"/>
                    <a:pt x="380" y="763"/>
                    <a:pt x="380" y="763"/>
                  </a:cubicBezTo>
                  <a:cubicBezTo>
                    <a:pt x="381" y="764"/>
                    <a:pt x="381" y="764"/>
                    <a:pt x="381" y="764"/>
                  </a:cubicBezTo>
                  <a:cubicBezTo>
                    <a:pt x="381" y="765"/>
                    <a:pt x="381" y="765"/>
                    <a:pt x="381" y="765"/>
                  </a:cubicBezTo>
                  <a:cubicBezTo>
                    <a:pt x="382" y="765"/>
                    <a:pt x="382" y="765"/>
                    <a:pt x="382" y="765"/>
                  </a:cubicBezTo>
                  <a:cubicBezTo>
                    <a:pt x="382" y="766"/>
                    <a:pt x="382" y="766"/>
                    <a:pt x="382" y="766"/>
                  </a:cubicBezTo>
                  <a:cubicBezTo>
                    <a:pt x="383" y="767"/>
                    <a:pt x="383" y="767"/>
                    <a:pt x="383" y="767"/>
                  </a:cubicBezTo>
                  <a:cubicBezTo>
                    <a:pt x="383" y="768"/>
                    <a:pt x="383" y="768"/>
                    <a:pt x="383" y="768"/>
                  </a:cubicBezTo>
                  <a:cubicBezTo>
                    <a:pt x="384" y="768"/>
                    <a:pt x="384" y="768"/>
                    <a:pt x="384" y="768"/>
                  </a:cubicBezTo>
                  <a:cubicBezTo>
                    <a:pt x="385" y="768"/>
                    <a:pt x="385" y="768"/>
                    <a:pt x="385" y="768"/>
                  </a:cubicBezTo>
                  <a:cubicBezTo>
                    <a:pt x="386" y="768"/>
                    <a:pt x="386" y="768"/>
                    <a:pt x="386" y="768"/>
                  </a:cubicBezTo>
                  <a:cubicBezTo>
                    <a:pt x="387" y="768"/>
                    <a:pt x="387" y="768"/>
                    <a:pt x="387" y="768"/>
                  </a:cubicBezTo>
                  <a:cubicBezTo>
                    <a:pt x="388" y="768"/>
                    <a:pt x="388" y="768"/>
                    <a:pt x="388" y="768"/>
                  </a:cubicBezTo>
                  <a:cubicBezTo>
                    <a:pt x="389" y="769"/>
                    <a:pt x="389" y="769"/>
                    <a:pt x="389" y="769"/>
                  </a:cubicBezTo>
                  <a:cubicBezTo>
                    <a:pt x="391" y="770"/>
                    <a:pt x="391" y="770"/>
                    <a:pt x="391" y="770"/>
                  </a:cubicBezTo>
                  <a:cubicBezTo>
                    <a:pt x="392" y="770"/>
                    <a:pt x="392" y="770"/>
                    <a:pt x="392" y="770"/>
                  </a:cubicBezTo>
                  <a:cubicBezTo>
                    <a:pt x="392" y="771"/>
                    <a:pt x="392" y="771"/>
                    <a:pt x="392" y="771"/>
                  </a:cubicBezTo>
                  <a:cubicBezTo>
                    <a:pt x="392" y="771"/>
                    <a:pt x="392" y="771"/>
                    <a:pt x="392" y="771"/>
                  </a:cubicBezTo>
                  <a:cubicBezTo>
                    <a:pt x="393" y="770"/>
                    <a:pt x="393" y="770"/>
                    <a:pt x="393" y="770"/>
                  </a:cubicBezTo>
                  <a:cubicBezTo>
                    <a:pt x="394" y="770"/>
                    <a:pt x="394" y="770"/>
                    <a:pt x="394" y="770"/>
                  </a:cubicBezTo>
                  <a:cubicBezTo>
                    <a:pt x="394" y="770"/>
                    <a:pt x="394" y="770"/>
                    <a:pt x="394" y="770"/>
                  </a:cubicBezTo>
                  <a:cubicBezTo>
                    <a:pt x="395" y="770"/>
                    <a:pt x="395" y="770"/>
                    <a:pt x="395" y="770"/>
                  </a:cubicBezTo>
                  <a:cubicBezTo>
                    <a:pt x="396" y="768"/>
                    <a:pt x="396" y="768"/>
                    <a:pt x="396" y="768"/>
                  </a:cubicBezTo>
                  <a:cubicBezTo>
                    <a:pt x="396" y="768"/>
                    <a:pt x="396" y="768"/>
                    <a:pt x="396" y="768"/>
                  </a:cubicBezTo>
                  <a:cubicBezTo>
                    <a:pt x="397" y="768"/>
                    <a:pt x="397" y="768"/>
                    <a:pt x="397" y="768"/>
                  </a:cubicBezTo>
                  <a:cubicBezTo>
                    <a:pt x="398" y="768"/>
                    <a:pt x="398" y="768"/>
                    <a:pt x="398" y="768"/>
                  </a:cubicBezTo>
                  <a:cubicBezTo>
                    <a:pt x="399" y="769"/>
                    <a:pt x="399" y="769"/>
                    <a:pt x="399" y="769"/>
                  </a:cubicBezTo>
                  <a:cubicBezTo>
                    <a:pt x="400" y="770"/>
                    <a:pt x="400" y="770"/>
                    <a:pt x="400" y="770"/>
                  </a:cubicBezTo>
                  <a:cubicBezTo>
                    <a:pt x="400" y="770"/>
                    <a:pt x="400" y="770"/>
                    <a:pt x="400" y="770"/>
                  </a:cubicBezTo>
                  <a:cubicBezTo>
                    <a:pt x="403" y="770"/>
                    <a:pt x="403" y="770"/>
                    <a:pt x="403" y="770"/>
                  </a:cubicBezTo>
                  <a:cubicBezTo>
                    <a:pt x="404" y="770"/>
                    <a:pt x="404" y="770"/>
                    <a:pt x="404" y="770"/>
                  </a:cubicBezTo>
                  <a:cubicBezTo>
                    <a:pt x="404" y="769"/>
                    <a:pt x="404" y="769"/>
                    <a:pt x="404" y="769"/>
                  </a:cubicBezTo>
                  <a:cubicBezTo>
                    <a:pt x="405" y="770"/>
                    <a:pt x="405" y="770"/>
                    <a:pt x="405" y="770"/>
                  </a:cubicBezTo>
                  <a:cubicBezTo>
                    <a:pt x="405" y="770"/>
                    <a:pt x="405" y="770"/>
                    <a:pt x="405" y="770"/>
                  </a:cubicBezTo>
                  <a:cubicBezTo>
                    <a:pt x="405" y="770"/>
                    <a:pt x="405" y="770"/>
                    <a:pt x="405" y="770"/>
                  </a:cubicBezTo>
                  <a:cubicBezTo>
                    <a:pt x="405" y="771"/>
                    <a:pt x="405" y="771"/>
                    <a:pt x="405" y="771"/>
                  </a:cubicBezTo>
                  <a:cubicBezTo>
                    <a:pt x="405" y="772"/>
                    <a:pt x="405" y="772"/>
                    <a:pt x="405" y="772"/>
                  </a:cubicBezTo>
                  <a:cubicBezTo>
                    <a:pt x="405" y="772"/>
                    <a:pt x="405" y="772"/>
                    <a:pt x="405" y="772"/>
                  </a:cubicBezTo>
                  <a:cubicBezTo>
                    <a:pt x="405" y="772"/>
                    <a:pt x="405" y="772"/>
                    <a:pt x="405" y="772"/>
                  </a:cubicBezTo>
                  <a:cubicBezTo>
                    <a:pt x="406" y="772"/>
                    <a:pt x="406" y="772"/>
                    <a:pt x="406" y="772"/>
                  </a:cubicBezTo>
                  <a:cubicBezTo>
                    <a:pt x="406" y="772"/>
                    <a:pt x="406" y="772"/>
                    <a:pt x="406" y="772"/>
                  </a:cubicBezTo>
                  <a:cubicBezTo>
                    <a:pt x="406" y="773"/>
                    <a:pt x="406" y="773"/>
                    <a:pt x="406" y="773"/>
                  </a:cubicBezTo>
                  <a:cubicBezTo>
                    <a:pt x="406" y="774"/>
                    <a:pt x="406" y="774"/>
                    <a:pt x="406" y="774"/>
                  </a:cubicBezTo>
                  <a:cubicBezTo>
                    <a:pt x="406" y="775"/>
                    <a:pt x="406" y="775"/>
                    <a:pt x="406" y="775"/>
                  </a:cubicBezTo>
                  <a:cubicBezTo>
                    <a:pt x="406" y="774"/>
                    <a:pt x="406" y="774"/>
                    <a:pt x="406" y="774"/>
                  </a:cubicBezTo>
                  <a:cubicBezTo>
                    <a:pt x="405" y="774"/>
                    <a:pt x="405" y="774"/>
                    <a:pt x="405" y="774"/>
                  </a:cubicBezTo>
                  <a:cubicBezTo>
                    <a:pt x="405" y="773"/>
                    <a:pt x="405" y="773"/>
                    <a:pt x="405" y="773"/>
                  </a:cubicBezTo>
                  <a:cubicBezTo>
                    <a:pt x="405" y="772"/>
                    <a:pt x="405" y="772"/>
                    <a:pt x="405" y="772"/>
                  </a:cubicBezTo>
                  <a:cubicBezTo>
                    <a:pt x="404" y="772"/>
                    <a:pt x="404" y="772"/>
                    <a:pt x="404" y="772"/>
                  </a:cubicBezTo>
                  <a:cubicBezTo>
                    <a:pt x="404" y="772"/>
                    <a:pt x="404" y="772"/>
                    <a:pt x="404" y="772"/>
                  </a:cubicBezTo>
                  <a:cubicBezTo>
                    <a:pt x="404" y="773"/>
                    <a:pt x="404" y="773"/>
                    <a:pt x="404" y="773"/>
                  </a:cubicBezTo>
                  <a:cubicBezTo>
                    <a:pt x="404" y="773"/>
                    <a:pt x="404" y="773"/>
                    <a:pt x="404" y="773"/>
                  </a:cubicBezTo>
                  <a:cubicBezTo>
                    <a:pt x="402" y="775"/>
                    <a:pt x="402" y="775"/>
                    <a:pt x="402" y="775"/>
                  </a:cubicBezTo>
                  <a:cubicBezTo>
                    <a:pt x="401" y="776"/>
                    <a:pt x="401" y="776"/>
                    <a:pt x="401" y="776"/>
                  </a:cubicBezTo>
                  <a:cubicBezTo>
                    <a:pt x="397" y="778"/>
                    <a:pt x="397" y="778"/>
                    <a:pt x="397" y="778"/>
                  </a:cubicBezTo>
                  <a:cubicBezTo>
                    <a:pt x="396" y="779"/>
                    <a:pt x="396" y="779"/>
                    <a:pt x="396" y="779"/>
                  </a:cubicBezTo>
                  <a:cubicBezTo>
                    <a:pt x="395" y="779"/>
                    <a:pt x="395" y="779"/>
                    <a:pt x="395" y="779"/>
                  </a:cubicBezTo>
                  <a:cubicBezTo>
                    <a:pt x="392" y="779"/>
                    <a:pt x="392" y="779"/>
                    <a:pt x="392" y="779"/>
                  </a:cubicBezTo>
                  <a:cubicBezTo>
                    <a:pt x="391" y="779"/>
                    <a:pt x="391" y="779"/>
                    <a:pt x="391" y="779"/>
                  </a:cubicBezTo>
                  <a:cubicBezTo>
                    <a:pt x="391" y="779"/>
                    <a:pt x="391" y="779"/>
                    <a:pt x="391" y="779"/>
                  </a:cubicBezTo>
                  <a:cubicBezTo>
                    <a:pt x="391" y="779"/>
                    <a:pt x="391" y="779"/>
                    <a:pt x="391" y="779"/>
                  </a:cubicBezTo>
                  <a:cubicBezTo>
                    <a:pt x="395" y="779"/>
                    <a:pt x="395" y="779"/>
                    <a:pt x="395" y="779"/>
                  </a:cubicBezTo>
                  <a:cubicBezTo>
                    <a:pt x="396" y="779"/>
                    <a:pt x="396" y="779"/>
                    <a:pt x="396" y="779"/>
                  </a:cubicBezTo>
                  <a:cubicBezTo>
                    <a:pt x="397" y="778"/>
                    <a:pt x="397" y="778"/>
                    <a:pt x="397" y="778"/>
                  </a:cubicBezTo>
                  <a:cubicBezTo>
                    <a:pt x="401" y="776"/>
                    <a:pt x="401" y="776"/>
                    <a:pt x="401" y="776"/>
                  </a:cubicBezTo>
                  <a:cubicBezTo>
                    <a:pt x="402" y="775"/>
                    <a:pt x="402" y="775"/>
                    <a:pt x="402" y="775"/>
                  </a:cubicBezTo>
                  <a:cubicBezTo>
                    <a:pt x="404" y="773"/>
                    <a:pt x="404" y="773"/>
                    <a:pt x="404" y="773"/>
                  </a:cubicBezTo>
                  <a:cubicBezTo>
                    <a:pt x="404" y="773"/>
                    <a:pt x="404" y="773"/>
                    <a:pt x="404" y="773"/>
                  </a:cubicBezTo>
                  <a:cubicBezTo>
                    <a:pt x="404" y="772"/>
                    <a:pt x="404" y="772"/>
                    <a:pt x="404" y="772"/>
                  </a:cubicBezTo>
                  <a:cubicBezTo>
                    <a:pt x="404" y="772"/>
                    <a:pt x="404" y="772"/>
                    <a:pt x="404" y="772"/>
                  </a:cubicBezTo>
                  <a:cubicBezTo>
                    <a:pt x="403" y="771"/>
                    <a:pt x="403" y="771"/>
                    <a:pt x="403" y="771"/>
                  </a:cubicBezTo>
                  <a:cubicBezTo>
                    <a:pt x="403" y="771"/>
                    <a:pt x="403" y="771"/>
                    <a:pt x="403" y="771"/>
                  </a:cubicBezTo>
                  <a:cubicBezTo>
                    <a:pt x="402" y="772"/>
                    <a:pt x="402" y="772"/>
                    <a:pt x="402" y="772"/>
                  </a:cubicBezTo>
                  <a:cubicBezTo>
                    <a:pt x="402" y="772"/>
                    <a:pt x="402" y="772"/>
                    <a:pt x="402" y="772"/>
                  </a:cubicBezTo>
                  <a:cubicBezTo>
                    <a:pt x="401" y="772"/>
                    <a:pt x="401" y="772"/>
                    <a:pt x="401" y="772"/>
                  </a:cubicBezTo>
                  <a:cubicBezTo>
                    <a:pt x="401" y="772"/>
                    <a:pt x="401" y="772"/>
                    <a:pt x="401" y="772"/>
                  </a:cubicBezTo>
                  <a:cubicBezTo>
                    <a:pt x="400" y="772"/>
                    <a:pt x="400" y="772"/>
                    <a:pt x="400" y="772"/>
                  </a:cubicBezTo>
                  <a:cubicBezTo>
                    <a:pt x="400" y="772"/>
                    <a:pt x="400" y="772"/>
                    <a:pt x="400" y="772"/>
                  </a:cubicBezTo>
                  <a:cubicBezTo>
                    <a:pt x="399" y="772"/>
                    <a:pt x="399" y="772"/>
                    <a:pt x="399" y="772"/>
                  </a:cubicBezTo>
                  <a:cubicBezTo>
                    <a:pt x="399" y="771"/>
                    <a:pt x="399" y="771"/>
                    <a:pt x="399" y="771"/>
                  </a:cubicBezTo>
                  <a:cubicBezTo>
                    <a:pt x="399" y="771"/>
                    <a:pt x="399" y="771"/>
                    <a:pt x="399" y="771"/>
                  </a:cubicBezTo>
                  <a:cubicBezTo>
                    <a:pt x="398" y="770"/>
                    <a:pt x="398" y="770"/>
                    <a:pt x="398" y="770"/>
                  </a:cubicBezTo>
                  <a:cubicBezTo>
                    <a:pt x="398" y="770"/>
                    <a:pt x="398" y="770"/>
                    <a:pt x="398" y="770"/>
                  </a:cubicBezTo>
                  <a:cubicBezTo>
                    <a:pt x="397" y="770"/>
                    <a:pt x="397" y="770"/>
                    <a:pt x="397" y="770"/>
                  </a:cubicBezTo>
                  <a:cubicBezTo>
                    <a:pt x="397" y="770"/>
                    <a:pt x="397" y="770"/>
                    <a:pt x="397" y="770"/>
                  </a:cubicBezTo>
                  <a:cubicBezTo>
                    <a:pt x="396" y="770"/>
                    <a:pt x="396" y="770"/>
                    <a:pt x="396" y="770"/>
                  </a:cubicBezTo>
                  <a:cubicBezTo>
                    <a:pt x="396" y="771"/>
                    <a:pt x="396" y="771"/>
                    <a:pt x="396" y="771"/>
                  </a:cubicBezTo>
                  <a:cubicBezTo>
                    <a:pt x="396" y="772"/>
                    <a:pt x="396" y="772"/>
                    <a:pt x="396" y="772"/>
                  </a:cubicBezTo>
                  <a:cubicBezTo>
                    <a:pt x="393" y="773"/>
                    <a:pt x="393" y="773"/>
                    <a:pt x="393" y="773"/>
                  </a:cubicBezTo>
                  <a:cubicBezTo>
                    <a:pt x="392" y="773"/>
                    <a:pt x="392" y="773"/>
                    <a:pt x="392" y="773"/>
                  </a:cubicBezTo>
                  <a:cubicBezTo>
                    <a:pt x="391" y="773"/>
                    <a:pt x="391" y="773"/>
                    <a:pt x="391" y="773"/>
                  </a:cubicBezTo>
                  <a:cubicBezTo>
                    <a:pt x="390" y="773"/>
                    <a:pt x="390" y="773"/>
                    <a:pt x="390" y="773"/>
                  </a:cubicBezTo>
                  <a:cubicBezTo>
                    <a:pt x="389" y="772"/>
                    <a:pt x="389" y="772"/>
                    <a:pt x="389" y="772"/>
                  </a:cubicBezTo>
                  <a:cubicBezTo>
                    <a:pt x="388" y="772"/>
                    <a:pt x="388" y="772"/>
                    <a:pt x="388" y="772"/>
                  </a:cubicBezTo>
                  <a:cubicBezTo>
                    <a:pt x="385" y="771"/>
                    <a:pt x="385" y="771"/>
                    <a:pt x="385" y="771"/>
                  </a:cubicBezTo>
                  <a:cubicBezTo>
                    <a:pt x="383" y="770"/>
                    <a:pt x="383" y="770"/>
                    <a:pt x="383" y="770"/>
                  </a:cubicBezTo>
                  <a:cubicBezTo>
                    <a:pt x="383" y="770"/>
                    <a:pt x="383" y="770"/>
                    <a:pt x="383" y="770"/>
                  </a:cubicBezTo>
                  <a:cubicBezTo>
                    <a:pt x="382" y="770"/>
                    <a:pt x="382" y="770"/>
                    <a:pt x="382" y="770"/>
                  </a:cubicBezTo>
                  <a:cubicBezTo>
                    <a:pt x="378" y="771"/>
                    <a:pt x="378" y="771"/>
                    <a:pt x="378" y="771"/>
                  </a:cubicBezTo>
                  <a:cubicBezTo>
                    <a:pt x="378" y="771"/>
                    <a:pt x="378" y="771"/>
                    <a:pt x="378" y="771"/>
                  </a:cubicBezTo>
                  <a:cubicBezTo>
                    <a:pt x="371" y="774"/>
                    <a:pt x="371" y="774"/>
                    <a:pt x="371" y="774"/>
                  </a:cubicBezTo>
                  <a:cubicBezTo>
                    <a:pt x="365" y="778"/>
                    <a:pt x="365" y="778"/>
                    <a:pt x="365" y="778"/>
                  </a:cubicBezTo>
                  <a:cubicBezTo>
                    <a:pt x="359" y="781"/>
                    <a:pt x="359" y="781"/>
                    <a:pt x="359" y="781"/>
                  </a:cubicBezTo>
                  <a:cubicBezTo>
                    <a:pt x="354" y="784"/>
                    <a:pt x="354" y="784"/>
                    <a:pt x="354" y="784"/>
                  </a:cubicBezTo>
                  <a:cubicBezTo>
                    <a:pt x="353" y="785"/>
                    <a:pt x="353" y="785"/>
                    <a:pt x="353" y="785"/>
                  </a:cubicBezTo>
                  <a:cubicBezTo>
                    <a:pt x="353" y="785"/>
                    <a:pt x="353" y="785"/>
                    <a:pt x="353" y="785"/>
                  </a:cubicBezTo>
                  <a:cubicBezTo>
                    <a:pt x="353" y="786"/>
                    <a:pt x="353" y="786"/>
                    <a:pt x="353" y="786"/>
                  </a:cubicBezTo>
                  <a:cubicBezTo>
                    <a:pt x="353" y="787"/>
                    <a:pt x="353" y="787"/>
                    <a:pt x="353" y="787"/>
                  </a:cubicBezTo>
                  <a:cubicBezTo>
                    <a:pt x="353" y="787"/>
                    <a:pt x="353" y="787"/>
                    <a:pt x="353" y="787"/>
                  </a:cubicBezTo>
                  <a:cubicBezTo>
                    <a:pt x="351" y="787"/>
                    <a:pt x="351" y="787"/>
                    <a:pt x="351" y="787"/>
                  </a:cubicBezTo>
                  <a:cubicBezTo>
                    <a:pt x="349" y="788"/>
                    <a:pt x="349" y="788"/>
                    <a:pt x="349" y="788"/>
                  </a:cubicBezTo>
                  <a:cubicBezTo>
                    <a:pt x="347" y="788"/>
                    <a:pt x="347" y="788"/>
                    <a:pt x="347" y="788"/>
                  </a:cubicBezTo>
                  <a:cubicBezTo>
                    <a:pt x="347" y="788"/>
                    <a:pt x="347" y="788"/>
                    <a:pt x="347" y="788"/>
                  </a:cubicBezTo>
                  <a:cubicBezTo>
                    <a:pt x="347" y="788"/>
                    <a:pt x="347" y="788"/>
                    <a:pt x="347" y="788"/>
                  </a:cubicBezTo>
                  <a:cubicBezTo>
                    <a:pt x="341" y="790"/>
                    <a:pt x="341" y="790"/>
                    <a:pt x="341" y="790"/>
                  </a:cubicBezTo>
                  <a:cubicBezTo>
                    <a:pt x="337" y="790"/>
                    <a:pt x="337" y="790"/>
                    <a:pt x="337" y="790"/>
                  </a:cubicBezTo>
                  <a:cubicBezTo>
                    <a:pt x="336" y="791"/>
                    <a:pt x="336" y="791"/>
                    <a:pt x="336" y="791"/>
                  </a:cubicBezTo>
                  <a:cubicBezTo>
                    <a:pt x="335" y="791"/>
                    <a:pt x="335" y="791"/>
                    <a:pt x="335" y="791"/>
                  </a:cubicBezTo>
                  <a:cubicBezTo>
                    <a:pt x="329" y="793"/>
                    <a:pt x="329" y="793"/>
                    <a:pt x="329" y="793"/>
                  </a:cubicBezTo>
                  <a:cubicBezTo>
                    <a:pt x="328" y="794"/>
                    <a:pt x="328" y="794"/>
                    <a:pt x="328" y="794"/>
                  </a:cubicBezTo>
                  <a:cubicBezTo>
                    <a:pt x="328" y="795"/>
                    <a:pt x="328" y="795"/>
                    <a:pt x="328" y="795"/>
                  </a:cubicBezTo>
                  <a:cubicBezTo>
                    <a:pt x="327" y="796"/>
                    <a:pt x="327" y="796"/>
                    <a:pt x="327" y="796"/>
                  </a:cubicBezTo>
                  <a:cubicBezTo>
                    <a:pt x="326" y="796"/>
                    <a:pt x="326" y="796"/>
                    <a:pt x="326" y="796"/>
                  </a:cubicBezTo>
                  <a:cubicBezTo>
                    <a:pt x="326" y="796"/>
                    <a:pt x="326" y="796"/>
                    <a:pt x="326" y="796"/>
                  </a:cubicBezTo>
                  <a:cubicBezTo>
                    <a:pt x="326" y="796"/>
                    <a:pt x="326" y="796"/>
                    <a:pt x="326" y="796"/>
                  </a:cubicBezTo>
                  <a:cubicBezTo>
                    <a:pt x="325" y="797"/>
                    <a:pt x="325" y="797"/>
                    <a:pt x="325" y="797"/>
                  </a:cubicBezTo>
                  <a:cubicBezTo>
                    <a:pt x="325" y="797"/>
                    <a:pt x="325" y="797"/>
                    <a:pt x="325" y="797"/>
                  </a:cubicBezTo>
                  <a:cubicBezTo>
                    <a:pt x="325" y="798"/>
                    <a:pt x="325" y="798"/>
                    <a:pt x="325" y="798"/>
                  </a:cubicBezTo>
                  <a:cubicBezTo>
                    <a:pt x="325" y="799"/>
                    <a:pt x="325" y="799"/>
                    <a:pt x="325" y="799"/>
                  </a:cubicBezTo>
                  <a:cubicBezTo>
                    <a:pt x="326" y="801"/>
                    <a:pt x="326" y="801"/>
                    <a:pt x="326" y="801"/>
                  </a:cubicBezTo>
                  <a:cubicBezTo>
                    <a:pt x="325" y="802"/>
                    <a:pt x="325" y="802"/>
                    <a:pt x="325" y="802"/>
                  </a:cubicBezTo>
                  <a:cubicBezTo>
                    <a:pt x="325" y="802"/>
                    <a:pt x="325" y="802"/>
                    <a:pt x="325" y="802"/>
                  </a:cubicBezTo>
                  <a:cubicBezTo>
                    <a:pt x="325" y="804"/>
                    <a:pt x="325" y="804"/>
                    <a:pt x="325" y="804"/>
                  </a:cubicBezTo>
                  <a:cubicBezTo>
                    <a:pt x="324" y="805"/>
                    <a:pt x="324" y="805"/>
                    <a:pt x="324" y="805"/>
                  </a:cubicBezTo>
                  <a:cubicBezTo>
                    <a:pt x="324" y="806"/>
                    <a:pt x="324" y="806"/>
                    <a:pt x="324" y="806"/>
                  </a:cubicBezTo>
                  <a:cubicBezTo>
                    <a:pt x="325" y="808"/>
                    <a:pt x="325" y="808"/>
                    <a:pt x="325" y="808"/>
                  </a:cubicBezTo>
                  <a:cubicBezTo>
                    <a:pt x="325" y="810"/>
                    <a:pt x="325" y="810"/>
                    <a:pt x="325" y="810"/>
                  </a:cubicBezTo>
                  <a:cubicBezTo>
                    <a:pt x="325" y="811"/>
                    <a:pt x="325" y="811"/>
                    <a:pt x="325" y="811"/>
                  </a:cubicBezTo>
                  <a:cubicBezTo>
                    <a:pt x="326" y="812"/>
                    <a:pt x="326" y="812"/>
                    <a:pt x="326" y="812"/>
                  </a:cubicBezTo>
                  <a:cubicBezTo>
                    <a:pt x="325" y="813"/>
                    <a:pt x="325" y="813"/>
                    <a:pt x="325" y="813"/>
                  </a:cubicBezTo>
                  <a:cubicBezTo>
                    <a:pt x="325" y="815"/>
                    <a:pt x="325" y="815"/>
                    <a:pt x="325" y="815"/>
                  </a:cubicBezTo>
                  <a:cubicBezTo>
                    <a:pt x="325" y="817"/>
                    <a:pt x="325" y="817"/>
                    <a:pt x="325" y="817"/>
                  </a:cubicBezTo>
                  <a:cubicBezTo>
                    <a:pt x="324" y="818"/>
                    <a:pt x="324" y="818"/>
                    <a:pt x="324" y="818"/>
                  </a:cubicBezTo>
                  <a:cubicBezTo>
                    <a:pt x="324" y="819"/>
                    <a:pt x="324" y="819"/>
                    <a:pt x="324" y="819"/>
                  </a:cubicBezTo>
                  <a:cubicBezTo>
                    <a:pt x="326" y="820"/>
                    <a:pt x="326" y="820"/>
                    <a:pt x="326" y="820"/>
                  </a:cubicBezTo>
                  <a:cubicBezTo>
                    <a:pt x="326" y="820"/>
                    <a:pt x="326" y="820"/>
                    <a:pt x="326" y="820"/>
                  </a:cubicBezTo>
                  <a:cubicBezTo>
                    <a:pt x="325" y="820"/>
                    <a:pt x="325" y="820"/>
                    <a:pt x="325" y="820"/>
                  </a:cubicBezTo>
                  <a:cubicBezTo>
                    <a:pt x="325" y="820"/>
                    <a:pt x="325" y="820"/>
                    <a:pt x="325" y="820"/>
                  </a:cubicBezTo>
                  <a:cubicBezTo>
                    <a:pt x="324" y="821"/>
                    <a:pt x="324" y="821"/>
                    <a:pt x="324" y="821"/>
                  </a:cubicBezTo>
                  <a:cubicBezTo>
                    <a:pt x="324" y="823"/>
                    <a:pt x="324" y="823"/>
                    <a:pt x="324" y="823"/>
                  </a:cubicBezTo>
                  <a:cubicBezTo>
                    <a:pt x="324" y="824"/>
                    <a:pt x="324" y="824"/>
                    <a:pt x="324" y="824"/>
                  </a:cubicBezTo>
                  <a:cubicBezTo>
                    <a:pt x="324" y="825"/>
                    <a:pt x="324" y="825"/>
                    <a:pt x="324" y="825"/>
                  </a:cubicBezTo>
                  <a:cubicBezTo>
                    <a:pt x="325" y="825"/>
                    <a:pt x="325" y="825"/>
                    <a:pt x="325" y="825"/>
                  </a:cubicBezTo>
                  <a:cubicBezTo>
                    <a:pt x="325" y="826"/>
                    <a:pt x="325" y="826"/>
                    <a:pt x="325" y="826"/>
                  </a:cubicBezTo>
                  <a:cubicBezTo>
                    <a:pt x="326" y="827"/>
                    <a:pt x="326" y="827"/>
                    <a:pt x="326" y="827"/>
                  </a:cubicBezTo>
                  <a:cubicBezTo>
                    <a:pt x="326" y="827"/>
                    <a:pt x="326" y="827"/>
                    <a:pt x="326" y="827"/>
                  </a:cubicBezTo>
                  <a:cubicBezTo>
                    <a:pt x="327" y="827"/>
                    <a:pt x="327" y="827"/>
                    <a:pt x="327" y="827"/>
                  </a:cubicBezTo>
                  <a:cubicBezTo>
                    <a:pt x="327" y="827"/>
                    <a:pt x="327" y="827"/>
                    <a:pt x="327" y="827"/>
                  </a:cubicBezTo>
                  <a:cubicBezTo>
                    <a:pt x="327" y="828"/>
                    <a:pt x="327" y="828"/>
                    <a:pt x="327" y="828"/>
                  </a:cubicBezTo>
                  <a:cubicBezTo>
                    <a:pt x="327" y="828"/>
                    <a:pt x="327" y="828"/>
                    <a:pt x="327" y="828"/>
                  </a:cubicBezTo>
                  <a:cubicBezTo>
                    <a:pt x="327" y="828"/>
                    <a:pt x="327" y="828"/>
                    <a:pt x="327" y="828"/>
                  </a:cubicBezTo>
                  <a:cubicBezTo>
                    <a:pt x="327" y="828"/>
                    <a:pt x="327" y="828"/>
                    <a:pt x="327" y="828"/>
                  </a:cubicBezTo>
                  <a:cubicBezTo>
                    <a:pt x="327" y="828"/>
                    <a:pt x="327" y="828"/>
                    <a:pt x="327" y="828"/>
                  </a:cubicBezTo>
                  <a:cubicBezTo>
                    <a:pt x="328" y="828"/>
                    <a:pt x="328" y="828"/>
                    <a:pt x="328" y="828"/>
                  </a:cubicBezTo>
                  <a:cubicBezTo>
                    <a:pt x="328" y="828"/>
                    <a:pt x="328" y="828"/>
                    <a:pt x="328" y="828"/>
                  </a:cubicBezTo>
                  <a:cubicBezTo>
                    <a:pt x="327" y="829"/>
                    <a:pt x="327" y="829"/>
                    <a:pt x="327" y="829"/>
                  </a:cubicBezTo>
                  <a:cubicBezTo>
                    <a:pt x="327" y="829"/>
                    <a:pt x="327" y="829"/>
                    <a:pt x="327" y="829"/>
                  </a:cubicBezTo>
                  <a:cubicBezTo>
                    <a:pt x="324" y="827"/>
                    <a:pt x="324" y="827"/>
                    <a:pt x="324" y="827"/>
                  </a:cubicBezTo>
                  <a:cubicBezTo>
                    <a:pt x="323" y="828"/>
                    <a:pt x="323" y="828"/>
                    <a:pt x="323" y="828"/>
                  </a:cubicBezTo>
                  <a:cubicBezTo>
                    <a:pt x="322" y="829"/>
                    <a:pt x="322" y="829"/>
                    <a:pt x="322" y="829"/>
                  </a:cubicBezTo>
                  <a:cubicBezTo>
                    <a:pt x="321" y="831"/>
                    <a:pt x="321" y="831"/>
                    <a:pt x="321" y="831"/>
                  </a:cubicBezTo>
                  <a:cubicBezTo>
                    <a:pt x="321" y="832"/>
                    <a:pt x="321" y="832"/>
                    <a:pt x="321" y="832"/>
                  </a:cubicBezTo>
                  <a:cubicBezTo>
                    <a:pt x="321" y="832"/>
                    <a:pt x="321" y="832"/>
                    <a:pt x="321" y="832"/>
                  </a:cubicBezTo>
                  <a:cubicBezTo>
                    <a:pt x="319" y="834"/>
                    <a:pt x="319" y="834"/>
                    <a:pt x="319" y="834"/>
                  </a:cubicBezTo>
                  <a:cubicBezTo>
                    <a:pt x="315" y="837"/>
                    <a:pt x="315" y="837"/>
                    <a:pt x="315" y="837"/>
                  </a:cubicBezTo>
                  <a:cubicBezTo>
                    <a:pt x="314" y="838"/>
                    <a:pt x="314" y="838"/>
                    <a:pt x="314" y="838"/>
                  </a:cubicBezTo>
                  <a:cubicBezTo>
                    <a:pt x="313" y="839"/>
                    <a:pt x="313" y="839"/>
                    <a:pt x="313" y="839"/>
                  </a:cubicBezTo>
                  <a:cubicBezTo>
                    <a:pt x="313" y="839"/>
                    <a:pt x="313" y="839"/>
                    <a:pt x="313" y="839"/>
                  </a:cubicBezTo>
                  <a:cubicBezTo>
                    <a:pt x="300" y="843"/>
                    <a:pt x="300" y="843"/>
                    <a:pt x="300" y="843"/>
                  </a:cubicBezTo>
                  <a:cubicBezTo>
                    <a:pt x="298" y="843"/>
                    <a:pt x="298" y="843"/>
                    <a:pt x="298" y="843"/>
                  </a:cubicBezTo>
                  <a:cubicBezTo>
                    <a:pt x="295" y="844"/>
                    <a:pt x="295" y="844"/>
                    <a:pt x="295" y="844"/>
                  </a:cubicBezTo>
                  <a:cubicBezTo>
                    <a:pt x="294" y="845"/>
                    <a:pt x="294" y="845"/>
                    <a:pt x="294" y="845"/>
                  </a:cubicBezTo>
                  <a:cubicBezTo>
                    <a:pt x="293" y="845"/>
                    <a:pt x="293" y="845"/>
                    <a:pt x="293" y="845"/>
                  </a:cubicBezTo>
                  <a:cubicBezTo>
                    <a:pt x="289" y="847"/>
                    <a:pt x="289" y="847"/>
                    <a:pt x="289" y="847"/>
                  </a:cubicBezTo>
                  <a:cubicBezTo>
                    <a:pt x="289" y="848"/>
                    <a:pt x="289" y="848"/>
                    <a:pt x="289" y="848"/>
                  </a:cubicBezTo>
                  <a:cubicBezTo>
                    <a:pt x="285" y="850"/>
                    <a:pt x="285" y="850"/>
                    <a:pt x="285" y="850"/>
                  </a:cubicBezTo>
                  <a:cubicBezTo>
                    <a:pt x="285" y="850"/>
                    <a:pt x="285" y="850"/>
                    <a:pt x="285" y="850"/>
                  </a:cubicBezTo>
                  <a:cubicBezTo>
                    <a:pt x="284" y="850"/>
                    <a:pt x="284" y="850"/>
                    <a:pt x="284" y="850"/>
                  </a:cubicBezTo>
                  <a:cubicBezTo>
                    <a:pt x="283" y="851"/>
                    <a:pt x="283" y="851"/>
                    <a:pt x="283" y="851"/>
                  </a:cubicBezTo>
                  <a:cubicBezTo>
                    <a:pt x="283" y="852"/>
                    <a:pt x="283" y="852"/>
                    <a:pt x="283" y="852"/>
                  </a:cubicBezTo>
                  <a:cubicBezTo>
                    <a:pt x="281" y="856"/>
                    <a:pt x="281" y="856"/>
                    <a:pt x="281" y="856"/>
                  </a:cubicBezTo>
                  <a:cubicBezTo>
                    <a:pt x="280" y="859"/>
                    <a:pt x="280" y="859"/>
                    <a:pt x="280" y="859"/>
                  </a:cubicBezTo>
                  <a:cubicBezTo>
                    <a:pt x="280" y="859"/>
                    <a:pt x="280" y="859"/>
                    <a:pt x="280" y="859"/>
                  </a:cubicBezTo>
                  <a:cubicBezTo>
                    <a:pt x="280" y="859"/>
                    <a:pt x="280" y="859"/>
                    <a:pt x="280" y="859"/>
                  </a:cubicBezTo>
                  <a:cubicBezTo>
                    <a:pt x="280" y="860"/>
                    <a:pt x="280" y="860"/>
                    <a:pt x="280" y="860"/>
                  </a:cubicBezTo>
                  <a:cubicBezTo>
                    <a:pt x="280" y="860"/>
                    <a:pt x="280" y="860"/>
                    <a:pt x="280" y="860"/>
                  </a:cubicBezTo>
                  <a:cubicBezTo>
                    <a:pt x="280" y="860"/>
                    <a:pt x="280" y="860"/>
                    <a:pt x="280" y="860"/>
                  </a:cubicBezTo>
                  <a:cubicBezTo>
                    <a:pt x="280" y="861"/>
                    <a:pt x="280" y="861"/>
                    <a:pt x="280" y="861"/>
                  </a:cubicBezTo>
                  <a:cubicBezTo>
                    <a:pt x="281" y="861"/>
                    <a:pt x="281" y="861"/>
                    <a:pt x="281" y="861"/>
                  </a:cubicBezTo>
                  <a:cubicBezTo>
                    <a:pt x="282" y="861"/>
                    <a:pt x="282" y="861"/>
                    <a:pt x="282" y="861"/>
                  </a:cubicBezTo>
                  <a:cubicBezTo>
                    <a:pt x="282" y="861"/>
                    <a:pt x="282" y="861"/>
                    <a:pt x="282" y="861"/>
                  </a:cubicBezTo>
                  <a:cubicBezTo>
                    <a:pt x="283" y="861"/>
                    <a:pt x="283" y="861"/>
                    <a:pt x="283" y="861"/>
                  </a:cubicBezTo>
                  <a:cubicBezTo>
                    <a:pt x="285" y="862"/>
                    <a:pt x="285" y="862"/>
                    <a:pt x="285" y="862"/>
                  </a:cubicBezTo>
                  <a:cubicBezTo>
                    <a:pt x="288" y="862"/>
                    <a:pt x="288" y="862"/>
                    <a:pt x="288" y="862"/>
                  </a:cubicBezTo>
                  <a:cubicBezTo>
                    <a:pt x="290" y="862"/>
                    <a:pt x="290" y="862"/>
                    <a:pt x="290" y="862"/>
                  </a:cubicBezTo>
                  <a:cubicBezTo>
                    <a:pt x="292" y="861"/>
                    <a:pt x="292" y="861"/>
                    <a:pt x="292" y="861"/>
                  </a:cubicBezTo>
                  <a:cubicBezTo>
                    <a:pt x="292" y="861"/>
                    <a:pt x="292" y="861"/>
                    <a:pt x="292" y="861"/>
                  </a:cubicBezTo>
                  <a:cubicBezTo>
                    <a:pt x="291" y="862"/>
                    <a:pt x="291" y="862"/>
                    <a:pt x="291" y="862"/>
                  </a:cubicBezTo>
                  <a:cubicBezTo>
                    <a:pt x="290" y="863"/>
                    <a:pt x="290" y="863"/>
                    <a:pt x="290" y="863"/>
                  </a:cubicBezTo>
                  <a:cubicBezTo>
                    <a:pt x="286" y="863"/>
                    <a:pt x="286" y="863"/>
                    <a:pt x="286" y="863"/>
                  </a:cubicBezTo>
                  <a:cubicBezTo>
                    <a:pt x="282" y="864"/>
                    <a:pt x="282" y="864"/>
                    <a:pt x="282" y="864"/>
                  </a:cubicBezTo>
                  <a:cubicBezTo>
                    <a:pt x="280" y="866"/>
                    <a:pt x="280" y="866"/>
                    <a:pt x="280" y="866"/>
                  </a:cubicBezTo>
                  <a:cubicBezTo>
                    <a:pt x="279" y="867"/>
                    <a:pt x="279" y="867"/>
                    <a:pt x="279" y="867"/>
                  </a:cubicBezTo>
                  <a:cubicBezTo>
                    <a:pt x="279" y="867"/>
                    <a:pt x="279" y="867"/>
                    <a:pt x="279" y="867"/>
                  </a:cubicBezTo>
                  <a:cubicBezTo>
                    <a:pt x="279" y="867"/>
                    <a:pt x="279" y="867"/>
                    <a:pt x="279" y="867"/>
                  </a:cubicBezTo>
                  <a:cubicBezTo>
                    <a:pt x="278" y="868"/>
                    <a:pt x="278" y="868"/>
                    <a:pt x="278" y="868"/>
                  </a:cubicBezTo>
                  <a:cubicBezTo>
                    <a:pt x="276" y="869"/>
                    <a:pt x="276" y="869"/>
                    <a:pt x="276" y="869"/>
                  </a:cubicBezTo>
                  <a:cubicBezTo>
                    <a:pt x="272" y="870"/>
                    <a:pt x="272" y="870"/>
                    <a:pt x="272" y="870"/>
                  </a:cubicBezTo>
                  <a:cubicBezTo>
                    <a:pt x="271" y="871"/>
                    <a:pt x="271" y="871"/>
                    <a:pt x="271" y="871"/>
                  </a:cubicBezTo>
                  <a:cubicBezTo>
                    <a:pt x="268" y="869"/>
                    <a:pt x="268" y="869"/>
                    <a:pt x="268" y="869"/>
                  </a:cubicBezTo>
                  <a:cubicBezTo>
                    <a:pt x="266" y="869"/>
                    <a:pt x="266" y="869"/>
                    <a:pt x="266" y="869"/>
                  </a:cubicBezTo>
                  <a:cubicBezTo>
                    <a:pt x="265" y="868"/>
                    <a:pt x="265" y="868"/>
                    <a:pt x="265" y="868"/>
                  </a:cubicBezTo>
                  <a:cubicBezTo>
                    <a:pt x="265" y="868"/>
                    <a:pt x="265" y="868"/>
                    <a:pt x="265" y="868"/>
                  </a:cubicBezTo>
                  <a:cubicBezTo>
                    <a:pt x="263" y="868"/>
                    <a:pt x="263" y="868"/>
                    <a:pt x="263" y="868"/>
                  </a:cubicBezTo>
                  <a:cubicBezTo>
                    <a:pt x="262" y="867"/>
                    <a:pt x="262" y="867"/>
                    <a:pt x="262" y="867"/>
                  </a:cubicBezTo>
                  <a:cubicBezTo>
                    <a:pt x="261" y="867"/>
                    <a:pt x="261" y="867"/>
                    <a:pt x="261" y="867"/>
                  </a:cubicBezTo>
                  <a:cubicBezTo>
                    <a:pt x="260" y="868"/>
                    <a:pt x="260" y="868"/>
                    <a:pt x="260" y="868"/>
                  </a:cubicBezTo>
                  <a:cubicBezTo>
                    <a:pt x="259" y="867"/>
                    <a:pt x="259" y="867"/>
                    <a:pt x="259" y="867"/>
                  </a:cubicBezTo>
                  <a:cubicBezTo>
                    <a:pt x="258" y="867"/>
                    <a:pt x="258" y="867"/>
                    <a:pt x="258" y="867"/>
                  </a:cubicBezTo>
                  <a:cubicBezTo>
                    <a:pt x="253" y="867"/>
                    <a:pt x="253" y="867"/>
                    <a:pt x="253" y="867"/>
                  </a:cubicBezTo>
                  <a:cubicBezTo>
                    <a:pt x="249" y="865"/>
                    <a:pt x="249" y="865"/>
                    <a:pt x="249" y="865"/>
                  </a:cubicBezTo>
                  <a:cubicBezTo>
                    <a:pt x="245" y="865"/>
                    <a:pt x="245" y="865"/>
                    <a:pt x="245" y="865"/>
                  </a:cubicBezTo>
                  <a:cubicBezTo>
                    <a:pt x="245" y="865"/>
                    <a:pt x="245" y="865"/>
                    <a:pt x="245" y="865"/>
                  </a:cubicBezTo>
                  <a:cubicBezTo>
                    <a:pt x="244" y="866"/>
                    <a:pt x="244" y="866"/>
                    <a:pt x="244" y="866"/>
                  </a:cubicBezTo>
                  <a:cubicBezTo>
                    <a:pt x="244" y="867"/>
                    <a:pt x="244" y="867"/>
                    <a:pt x="244" y="867"/>
                  </a:cubicBezTo>
                  <a:cubicBezTo>
                    <a:pt x="244" y="867"/>
                    <a:pt x="244" y="867"/>
                    <a:pt x="244" y="867"/>
                  </a:cubicBezTo>
                  <a:cubicBezTo>
                    <a:pt x="244" y="867"/>
                    <a:pt x="244" y="867"/>
                    <a:pt x="244" y="867"/>
                  </a:cubicBezTo>
                  <a:cubicBezTo>
                    <a:pt x="244" y="868"/>
                    <a:pt x="244" y="868"/>
                    <a:pt x="244" y="868"/>
                  </a:cubicBezTo>
                  <a:cubicBezTo>
                    <a:pt x="243" y="867"/>
                    <a:pt x="243" y="867"/>
                    <a:pt x="243" y="867"/>
                  </a:cubicBezTo>
                  <a:cubicBezTo>
                    <a:pt x="243" y="867"/>
                    <a:pt x="243" y="867"/>
                    <a:pt x="243" y="867"/>
                  </a:cubicBezTo>
                  <a:cubicBezTo>
                    <a:pt x="243" y="867"/>
                    <a:pt x="243" y="867"/>
                    <a:pt x="243" y="867"/>
                  </a:cubicBezTo>
                  <a:cubicBezTo>
                    <a:pt x="242" y="867"/>
                    <a:pt x="242" y="867"/>
                    <a:pt x="242" y="867"/>
                  </a:cubicBezTo>
                  <a:cubicBezTo>
                    <a:pt x="242" y="867"/>
                    <a:pt x="242" y="867"/>
                    <a:pt x="242" y="867"/>
                  </a:cubicBezTo>
                  <a:cubicBezTo>
                    <a:pt x="242" y="867"/>
                    <a:pt x="242" y="867"/>
                    <a:pt x="242" y="867"/>
                  </a:cubicBezTo>
                  <a:cubicBezTo>
                    <a:pt x="242" y="867"/>
                    <a:pt x="242" y="867"/>
                    <a:pt x="242" y="867"/>
                  </a:cubicBezTo>
                  <a:cubicBezTo>
                    <a:pt x="242" y="866"/>
                    <a:pt x="242" y="866"/>
                    <a:pt x="242" y="866"/>
                  </a:cubicBezTo>
                  <a:cubicBezTo>
                    <a:pt x="242" y="866"/>
                    <a:pt x="242" y="866"/>
                    <a:pt x="242" y="866"/>
                  </a:cubicBezTo>
                  <a:cubicBezTo>
                    <a:pt x="242" y="866"/>
                    <a:pt x="242" y="866"/>
                    <a:pt x="242" y="866"/>
                  </a:cubicBezTo>
                  <a:cubicBezTo>
                    <a:pt x="242" y="865"/>
                    <a:pt x="242" y="865"/>
                    <a:pt x="242" y="865"/>
                  </a:cubicBezTo>
                  <a:cubicBezTo>
                    <a:pt x="242" y="864"/>
                    <a:pt x="242" y="864"/>
                    <a:pt x="242" y="864"/>
                  </a:cubicBezTo>
                  <a:cubicBezTo>
                    <a:pt x="242" y="864"/>
                    <a:pt x="242" y="864"/>
                    <a:pt x="242" y="864"/>
                  </a:cubicBezTo>
                  <a:cubicBezTo>
                    <a:pt x="239" y="861"/>
                    <a:pt x="239" y="861"/>
                    <a:pt x="239" y="861"/>
                  </a:cubicBezTo>
                  <a:cubicBezTo>
                    <a:pt x="239" y="859"/>
                    <a:pt x="239" y="859"/>
                    <a:pt x="239" y="859"/>
                  </a:cubicBezTo>
                  <a:cubicBezTo>
                    <a:pt x="238" y="859"/>
                    <a:pt x="238" y="859"/>
                    <a:pt x="238" y="859"/>
                  </a:cubicBezTo>
                  <a:cubicBezTo>
                    <a:pt x="238" y="858"/>
                    <a:pt x="238" y="858"/>
                    <a:pt x="238" y="858"/>
                  </a:cubicBezTo>
                  <a:cubicBezTo>
                    <a:pt x="238" y="857"/>
                    <a:pt x="238" y="857"/>
                    <a:pt x="238" y="857"/>
                  </a:cubicBezTo>
                  <a:cubicBezTo>
                    <a:pt x="238" y="856"/>
                    <a:pt x="238" y="856"/>
                    <a:pt x="238" y="856"/>
                  </a:cubicBezTo>
                  <a:cubicBezTo>
                    <a:pt x="239" y="856"/>
                    <a:pt x="239" y="856"/>
                    <a:pt x="239" y="856"/>
                  </a:cubicBezTo>
                  <a:cubicBezTo>
                    <a:pt x="239" y="856"/>
                    <a:pt x="239" y="856"/>
                    <a:pt x="239" y="856"/>
                  </a:cubicBezTo>
                  <a:cubicBezTo>
                    <a:pt x="240" y="856"/>
                    <a:pt x="240" y="856"/>
                    <a:pt x="240" y="856"/>
                  </a:cubicBezTo>
                  <a:cubicBezTo>
                    <a:pt x="240" y="856"/>
                    <a:pt x="240" y="856"/>
                    <a:pt x="240" y="856"/>
                  </a:cubicBezTo>
                  <a:cubicBezTo>
                    <a:pt x="240" y="855"/>
                    <a:pt x="240" y="855"/>
                    <a:pt x="240" y="855"/>
                  </a:cubicBezTo>
                  <a:cubicBezTo>
                    <a:pt x="240" y="855"/>
                    <a:pt x="240" y="855"/>
                    <a:pt x="240" y="855"/>
                  </a:cubicBezTo>
                  <a:cubicBezTo>
                    <a:pt x="240" y="854"/>
                    <a:pt x="240" y="854"/>
                    <a:pt x="240" y="854"/>
                  </a:cubicBezTo>
                  <a:cubicBezTo>
                    <a:pt x="240" y="853"/>
                    <a:pt x="240" y="853"/>
                    <a:pt x="240" y="853"/>
                  </a:cubicBezTo>
                  <a:cubicBezTo>
                    <a:pt x="240" y="852"/>
                    <a:pt x="240" y="852"/>
                    <a:pt x="240" y="852"/>
                  </a:cubicBezTo>
                  <a:cubicBezTo>
                    <a:pt x="239" y="851"/>
                    <a:pt x="239" y="851"/>
                    <a:pt x="239" y="851"/>
                  </a:cubicBezTo>
                  <a:cubicBezTo>
                    <a:pt x="239" y="851"/>
                    <a:pt x="239" y="851"/>
                    <a:pt x="239" y="851"/>
                  </a:cubicBezTo>
                  <a:cubicBezTo>
                    <a:pt x="236" y="851"/>
                    <a:pt x="236" y="851"/>
                    <a:pt x="236" y="851"/>
                  </a:cubicBezTo>
                  <a:cubicBezTo>
                    <a:pt x="235" y="851"/>
                    <a:pt x="235" y="851"/>
                    <a:pt x="235" y="851"/>
                  </a:cubicBezTo>
                  <a:cubicBezTo>
                    <a:pt x="234" y="851"/>
                    <a:pt x="234" y="851"/>
                    <a:pt x="234" y="851"/>
                  </a:cubicBezTo>
                  <a:cubicBezTo>
                    <a:pt x="233" y="852"/>
                    <a:pt x="233" y="852"/>
                    <a:pt x="233" y="852"/>
                  </a:cubicBezTo>
                  <a:cubicBezTo>
                    <a:pt x="232" y="853"/>
                    <a:pt x="232" y="853"/>
                    <a:pt x="232" y="853"/>
                  </a:cubicBezTo>
                  <a:cubicBezTo>
                    <a:pt x="232" y="853"/>
                    <a:pt x="232" y="853"/>
                    <a:pt x="232" y="853"/>
                  </a:cubicBezTo>
                  <a:cubicBezTo>
                    <a:pt x="231" y="853"/>
                    <a:pt x="231" y="853"/>
                    <a:pt x="231" y="853"/>
                  </a:cubicBezTo>
                  <a:cubicBezTo>
                    <a:pt x="231" y="853"/>
                    <a:pt x="231" y="853"/>
                    <a:pt x="231" y="853"/>
                  </a:cubicBezTo>
                  <a:cubicBezTo>
                    <a:pt x="230" y="853"/>
                    <a:pt x="230" y="853"/>
                    <a:pt x="230" y="853"/>
                  </a:cubicBezTo>
                  <a:cubicBezTo>
                    <a:pt x="230" y="853"/>
                    <a:pt x="230" y="853"/>
                    <a:pt x="230" y="853"/>
                  </a:cubicBezTo>
                  <a:cubicBezTo>
                    <a:pt x="230" y="853"/>
                    <a:pt x="230" y="853"/>
                    <a:pt x="230" y="853"/>
                  </a:cubicBezTo>
                  <a:cubicBezTo>
                    <a:pt x="229" y="853"/>
                    <a:pt x="229" y="853"/>
                    <a:pt x="229" y="853"/>
                  </a:cubicBezTo>
                  <a:cubicBezTo>
                    <a:pt x="229" y="854"/>
                    <a:pt x="229" y="854"/>
                    <a:pt x="229" y="854"/>
                  </a:cubicBezTo>
                  <a:cubicBezTo>
                    <a:pt x="229" y="853"/>
                    <a:pt x="229" y="853"/>
                    <a:pt x="229" y="853"/>
                  </a:cubicBezTo>
                  <a:cubicBezTo>
                    <a:pt x="229" y="853"/>
                    <a:pt x="229" y="853"/>
                    <a:pt x="229" y="853"/>
                  </a:cubicBezTo>
                  <a:cubicBezTo>
                    <a:pt x="229" y="853"/>
                    <a:pt x="229" y="853"/>
                    <a:pt x="229" y="853"/>
                  </a:cubicBezTo>
                  <a:cubicBezTo>
                    <a:pt x="229" y="853"/>
                    <a:pt x="229" y="853"/>
                    <a:pt x="229" y="853"/>
                  </a:cubicBezTo>
                  <a:cubicBezTo>
                    <a:pt x="228" y="853"/>
                    <a:pt x="228" y="853"/>
                    <a:pt x="228" y="853"/>
                  </a:cubicBezTo>
                  <a:cubicBezTo>
                    <a:pt x="226" y="852"/>
                    <a:pt x="226" y="852"/>
                    <a:pt x="226" y="852"/>
                  </a:cubicBezTo>
                  <a:cubicBezTo>
                    <a:pt x="224" y="852"/>
                    <a:pt x="224" y="852"/>
                    <a:pt x="224" y="852"/>
                  </a:cubicBezTo>
                  <a:cubicBezTo>
                    <a:pt x="223" y="852"/>
                    <a:pt x="223" y="852"/>
                    <a:pt x="223" y="852"/>
                  </a:cubicBezTo>
                  <a:cubicBezTo>
                    <a:pt x="223" y="852"/>
                    <a:pt x="223" y="852"/>
                    <a:pt x="223" y="852"/>
                  </a:cubicBezTo>
                  <a:cubicBezTo>
                    <a:pt x="223" y="852"/>
                    <a:pt x="223" y="852"/>
                    <a:pt x="223" y="852"/>
                  </a:cubicBezTo>
                  <a:cubicBezTo>
                    <a:pt x="223" y="852"/>
                    <a:pt x="223" y="852"/>
                    <a:pt x="223" y="852"/>
                  </a:cubicBezTo>
                  <a:cubicBezTo>
                    <a:pt x="223" y="851"/>
                    <a:pt x="223" y="851"/>
                    <a:pt x="223" y="851"/>
                  </a:cubicBezTo>
                  <a:cubicBezTo>
                    <a:pt x="222" y="851"/>
                    <a:pt x="222" y="851"/>
                    <a:pt x="222" y="851"/>
                  </a:cubicBezTo>
                  <a:cubicBezTo>
                    <a:pt x="222" y="851"/>
                    <a:pt x="222" y="851"/>
                    <a:pt x="222" y="851"/>
                  </a:cubicBezTo>
                  <a:cubicBezTo>
                    <a:pt x="222" y="851"/>
                    <a:pt x="222" y="851"/>
                    <a:pt x="222" y="851"/>
                  </a:cubicBezTo>
                  <a:cubicBezTo>
                    <a:pt x="221" y="851"/>
                    <a:pt x="221" y="851"/>
                    <a:pt x="221" y="851"/>
                  </a:cubicBezTo>
                  <a:cubicBezTo>
                    <a:pt x="221" y="851"/>
                    <a:pt x="221" y="851"/>
                    <a:pt x="221" y="851"/>
                  </a:cubicBezTo>
                  <a:cubicBezTo>
                    <a:pt x="220" y="850"/>
                    <a:pt x="220" y="850"/>
                    <a:pt x="220" y="850"/>
                  </a:cubicBezTo>
                  <a:cubicBezTo>
                    <a:pt x="220" y="850"/>
                    <a:pt x="220" y="850"/>
                    <a:pt x="220" y="850"/>
                  </a:cubicBezTo>
                  <a:cubicBezTo>
                    <a:pt x="219" y="850"/>
                    <a:pt x="219" y="850"/>
                    <a:pt x="219" y="850"/>
                  </a:cubicBezTo>
                  <a:cubicBezTo>
                    <a:pt x="219" y="850"/>
                    <a:pt x="219" y="850"/>
                    <a:pt x="219" y="850"/>
                  </a:cubicBezTo>
                  <a:cubicBezTo>
                    <a:pt x="219" y="851"/>
                    <a:pt x="219" y="851"/>
                    <a:pt x="219" y="851"/>
                  </a:cubicBezTo>
                  <a:cubicBezTo>
                    <a:pt x="219" y="852"/>
                    <a:pt x="219" y="852"/>
                    <a:pt x="219" y="852"/>
                  </a:cubicBezTo>
                  <a:cubicBezTo>
                    <a:pt x="220" y="853"/>
                    <a:pt x="220" y="853"/>
                    <a:pt x="220" y="853"/>
                  </a:cubicBezTo>
                  <a:cubicBezTo>
                    <a:pt x="221" y="853"/>
                    <a:pt x="221" y="853"/>
                    <a:pt x="221" y="853"/>
                  </a:cubicBezTo>
                  <a:cubicBezTo>
                    <a:pt x="221" y="853"/>
                    <a:pt x="221" y="853"/>
                    <a:pt x="221" y="853"/>
                  </a:cubicBezTo>
                  <a:cubicBezTo>
                    <a:pt x="222" y="854"/>
                    <a:pt x="222" y="854"/>
                    <a:pt x="222" y="854"/>
                  </a:cubicBezTo>
                  <a:cubicBezTo>
                    <a:pt x="222" y="854"/>
                    <a:pt x="222" y="854"/>
                    <a:pt x="222" y="854"/>
                  </a:cubicBezTo>
                  <a:cubicBezTo>
                    <a:pt x="222" y="855"/>
                    <a:pt x="222" y="855"/>
                    <a:pt x="222" y="855"/>
                  </a:cubicBezTo>
                  <a:cubicBezTo>
                    <a:pt x="222" y="856"/>
                    <a:pt x="222" y="856"/>
                    <a:pt x="222" y="856"/>
                  </a:cubicBezTo>
                  <a:cubicBezTo>
                    <a:pt x="222" y="857"/>
                    <a:pt x="222" y="857"/>
                    <a:pt x="222" y="857"/>
                  </a:cubicBezTo>
                  <a:cubicBezTo>
                    <a:pt x="222" y="858"/>
                    <a:pt x="222" y="858"/>
                    <a:pt x="222" y="858"/>
                  </a:cubicBezTo>
                  <a:cubicBezTo>
                    <a:pt x="221" y="858"/>
                    <a:pt x="221" y="858"/>
                    <a:pt x="221" y="858"/>
                  </a:cubicBezTo>
                  <a:cubicBezTo>
                    <a:pt x="221" y="859"/>
                    <a:pt x="221" y="859"/>
                    <a:pt x="221" y="859"/>
                  </a:cubicBezTo>
                  <a:cubicBezTo>
                    <a:pt x="221" y="859"/>
                    <a:pt x="221" y="859"/>
                    <a:pt x="221" y="859"/>
                  </a:cubicBezTo>
                  <a:cubicBezTo>
                    <a:pt x="222" y="860"/>
                    <a:pt x="222" y="860"/>
                    <a:pt x="222" y="860"/>
                  </a:cubicBezTo>
                  <a:cubicBezTo>
                    <a:pt x="222" y="861"/>
                    <a:pt x="222" y="861"/>
                    <a:pt x="222" y="861"/>
                  </a:cubicBezTo>
                  <a:cubicBezTo>
                    <a:pt x="222" y="861"/>
                    <a:pt x="222" y="861"/>
                    <a:pt x="222" y="861"/>
                  </a:cubicBezTo>
                  <a:cubicBezTo>
                    <a:pt x="222" y="861"/>
                    <a:pt x="222" y="861"/>
                    <a:pt x="222" y="861"/>
                  </a:cubicBezTo>
                  <a:cubicBezTo>
                    <a:pt x="222" y="862"/>
                    <a:pt x="222" y="862"/>
                    <a:pt x="222" y="862"/>
                  </a:cubicBezTo>
                  <a:cubicBezTo>
                    <a:pt x="222" y="862"/>
                    <a:pt x="222" y="862"/>
                    <a:pt x="222" y="862"/>
                  </a:cubicBezTo>
                  <a:cubicBezTo>
                    <a:pt x="223" y="863"/>
                    <a:pt x="223" y="863"/>
                    <a:pt x="223" y="863"/>
                  </a:cubicBezTo>
                  <a:cubicBezTo>
                    <a:pt x="223" y="863"/>
                    <a:pt x="223" y="863"/>
                    <a:pt x="223" y="863"/>
                  </a:cubicBezTo>
                  <a:cubicBezTo>
                    <a:pt x="223" y="864"/>
                    <a:pt x="223" y="864"/>
                    <a:pt x="223" y="864"/>
                  </a:cubicBezTo>
                  <a:cubicBezTo>
                    <a:pt x="223" y="865"/>
                    <a:pt x="223" y="865"/>
                    <a:pt x="223" y="865"/>
                  </a:cubicBezTo>
                  <a:cubicBezTo>
                    <a:pt x="223" y="866"/>
                    <a:pt x="223" y="866"/>
                    <a:pt x="223" y="866"/>
                  </a:cubicBezTo>
                  <a:cubicBezTo>
                    <a:pt x="223" y="866"/>
                    <a:pt x="223" y="866"/>
                    <a:pt x="223" y="866"/>
                  </a:cubicBezTo>
                  <a:cubicBezTo>
                    <a:pt x="223" y="866"/>
                    <a:pt x="223" y="866"/>
                    <a:pt x="223" y="866"/>
                  </a:cubicBezTo>
                  <a:cubicBezTo>
                    <a:pt x="224" y="866"/>
                    <a:pt x="224" y="866"/>
                    <a:pt x="224" y="866"/>
                  </a:cubicBezTo>
                  <a:cubicBezTo>
                    <a:pt x="224" y="866"/>
                    <a:pt x="224" y="866"/>
                    <a:pt x="224" y="866"/>
                  </a:cubicBezTo>
                  <a:cubicBezTo>
                    <a:pt x="224" y="866"/>
                    <a:pt x="224" y="866"/>
                    <a:pt x="224" y="866"/>
                  </a:cubicBezTo>
                  <a:cubicBezTo>
                    <a:pt x="224" y="866"/>
                    <a:pt x="224" y="866"/>
                    <a:pt x="224" y="866"/>
                  </a:cubicBezTo>
                  <a:cubicBezTo>
                    <a:pt x="225" y="867"/>
                    <a:pt x="225" y="867"/>
                    <a:pt x="225" y="867"/>
                  </a:cubicBezTo>
                  <a:cubicBezTo>
                    <a:pt x="225" y="868"/>
                    <a:pt x="225" y="868"/>
                    <a:pt x="225" y="868"/>
                  </a:cubicBezTo>
                  <a:cubicBezTo>
                    <a:pt x="226" y="868"/>
                    <a:pt x="226" y="868"/>
                    <a:pt x="226" y="868"/>
                  </a:cubicBezTo>
                  <a:cubicBezTo>
                    <a:pt x="226" y="867"/>
                    <a:pt x="226" y="867"/>
                    <a:pt x="226" y="867"/>
                  </a:cubicBezTo>
                  <a:cubicBezTo>
                    <a:pt x="226" y="867"/>
                    <a:pt x="226" y="867"/>
                    <a:pt x="226" y="867"/>
                  </a:cubicBezTo>
                  <a:cubicBezTo>
                    <a:pt x="227" y="868"/>
                    <a:pt x="227" y="868"/>
                    <a:pt x="227" y="868"/>
                  </a:cubicBezTo>
                  <a:cubicBezTo>
                    <a:pt x="227" y="868"/>
                    <a:pt x="227" y="868"/>
                    <a:pt x="227" y="868"/>
                  </a:cubicBezTo>
                  <a:cubicBezTo>
                    <a:pt x="226" y="868"/>
                    <a:pt x="226" y="868"/>
                    <a:pt x="226" y="868"/>
                  </a:cubicBezTo>
                  <a:cubicBezTo>
                    <a:pt x="226" y="869"/>
                    <a:pt x="226" y="869"/>
                    <a:pt x="226" y="869"/>
                  </a:cubicBezTo>
                  <a:cubicBezTo>
                    <a:pt x="227" y="869"/>
                    <a:pt x="227" y="869"/>
                    <a:pt x="227" y="869"/>
                  </a:cubicBezTo>
                  <a:cubicBezTo>
                    <a:pt x="228" y="870"/>
                    <a:pt x="228" y="870"/>
                    <a:pt x="228" y="870"/>
                  </a:cubicBezTo>
                  <a:cubicBezTo>
                    <a:pt x="227" y="870"/>
                    <a:pt x="227" y="870"/>
                    <a:pt x="227" y="870"/>
                  </a:cubicBezTo>
                  <a:cubicBezTo>
                    <a:pt x="227" y="870"/>
                    <a:pt x="227" y="870"/>
                    <a:pt x="227" y="870"/>
                  </a:cubicBezTo>
                  <a:cubicBezTo>
                    <a:pt x="227" y="871"/>
                    <a:pt x="227" y="871"/>
                    <a:pt x="227" y="871"/>
                  </a:cubicBezTo>
                  <a:cubicBezTo>
                    <a:pt x="228" y="871"/>
                    <a:pt x="228" y="871"/>
                    <a:pt x="228" y="871"/>
                  </a:cubicBezTo>
                  <a:cubicBezTo>
                    <a:pt x="228" y="873"/>
                    <a:pt x="228" y="873"/>
                    <a:pt x="228" y="873"/>
                  </a:cubicBezTo>
                  <a:cubicBezTo>
                    <a:pt x="229" y="873"/>
                    <a:pt x="229" y="873"/>
                    <a:pt x="229" y="873"/>
                  </a:cubicBezTo>
                  <a:cubicBezTo>
                    <a:pt x="229" y="872"/>
                    <a:pt x="229" y="872"/>
                    <a:pt x="229" y="872"/>
                  </a:cubicBezTo>
                  <a:cubicBezTo>
                    <a:pt x="230" y="872"/>
                    <a:pt x="230" y="872"/>
                    <a:pt x="230" y="872"/>
                  </a:cubicBezTo>
                  <a:cubicBezTo>
                    <a:pt x="230" y="873"/>
                    <a:pt x="230" y="873"/>
                    <a:pt x="230" y="873"/>
                  </a:cubicBezTo>
                  <a:cubicBezTo>
                    <a:pt x="231" y="873"/>
                    <a:pt x="231" y="873"/>
                    <a:pt x="231" y="873"/>
                  </a:cubicBezTo>
                  <a:cubicBezTo>
                    <a:pt x="231" y="873"/>
                    <a:pt x="231" y="873"/>
                    <a:pt x="231" y="873"/>
                  </a:cubicBezTo>
                  <a:cubicBezTo>
                    <a:pt x="230" y="873"/>
                    <a:pt x="230" y="873"/>
                    <a:pt x="230" y="873"/>
                  </a:cubicBezTo>
                  <a:cubicBezTo>
                    <a:pt x="229" y="873"/>
                    <a:pt x="229" y="873"/>
                    <a:pt x="229" y="873"/>
                  </a:cubicBezTo>
                  <a:cubicBezTo>
                    <a:pt x="229" y="873"/>
                    <a:pt x="229" y="873"/>
                    <a:pt x="229" y="873"/>
                  </a:cubicBezTo>
                  <a:cubicBezTo>
                    <a:pt x="229" y="874"/>
                    <a:pt x="229" y="874"/>
                    <a:pt x="229" y="874"/>
                  </a:cubicBezTo>
                  <a:cubicBezTo>
                    <a:pt x="229" y="875"/>
                    <a:pt x="229" y="875"/>
                    <a:pt x="229" y="875"/>
                  </a:cubicBezTo>
                  <a:cubicBezTo>
                    <a:pt x="229" y="876"/>
                    <a:pt x="229" y="876"/>
                    <a:pt x="229" y="876"/>
                  </a:cubicBezTo>
                  <a:cubicBezTo>
                    <a:pt x="230" y="877"/>
                    <a:pt x="230" y="877"/>
                    <a:pt x="230" y="877"/>
                  </a:cubicBezTo>
                  <a:cubicBezTo>
                    <a:pt x="230" y="877"/>
                    <a:pt x="230" y="877"/>
                    <a:pt x="230" y="877"/>
                  </a:cubicBezTo>
                  <a:cubicBezTo>
                    <a:pt x="230" y="876"/>
                    <a:pt x="230" y="876"/>
                    <a:pt x="230" y="876"/>
                  </a:cubicBezTo>
                  <a:cubicBezTo>
                    <a:pt x="230" y="877"/>
                    <a:pt x="230" y="877"/>
                    <a:pt x="230" y="877"/>
                  </a:cubicBezTo>
                  <a:cubicBezTo>
                    <a:pt x="230" y="877"/>
                    <a:pt x="230" y="877"/>
                    <a:pt x="230" y="877"/>
                  </a:cubicBezTo>
                  <a:cubicBezTo>
                    <a:pt x="229" y="878"/>
                    <a:pt x="229" y="878"/>
                    <a:pt x="229" y="878"/>
                  </a:cubicBezTo>
                  <a:cubicBezTo>
                    <a:pt x="229" y="878"/>
                    <a:pt x="229" y="878"/>
                    <a:pt x="229" y="878"/>
                  </a:cubicBezTo>
                  <a:cubicBezTo>
                    <a:pt x="229" y="879"/>
                    <a:pt x="229" y="879"/>
                    <a:pt x="229" y="879"/>
                  </a:cubicBezTo>
                  <a:cubicBezTo>
                    <a:pt x="229" y="879"/>
                    <a:pt x="229" y="879"/>
                    <a:pt x="229" y="879"/>
                  </a:cubicBezTo>
                  <a:cubicBezTo>
                    <a:pt x="229" y="879"/>
                    <a:pt x="229" y="879"/>
                    <a:pt x="229" y="879"/>
                  </a:cubicBezTo>
                  <a:cubicBezTo>
                    <a:pt x="230" y="880"/>
                    <a:pt x="230" y="880"/>
                    <a:pt x="230" y="880"/>
                  </a:cubicBezTo>
                  <a:cubicBezTo>
                    <a:pt x="230" y="880"/>
                    <a:pt x="230" y="880"/>
                    <a:pt x="230" y="880"/>
                  </a:cubicBezTo>
                  <a:cubicBezTo>
                    <a:pt x="229" y="881"/>
                    <a:pt x="229" y="881"/>
                    <a:pt x="229" y="881"/>
                  </a:cubicBezTo>
                  <a:cubicBezTo>
                    <a:pt x="229" y="881"/>
                    <a:pt x="229" y="881"/>
                    <a:pt x="229" y="881"/>
                  </a:cubicBezTo>
                  <a:cubicBezTo>
                    <a:pt x="230" y="882"/>
                    <a:pt x="230" y="882"/>
                    <a:pt x="230" y="882"/>
                  </a:cubicBezTo>
                  <a:cubicBezTo>
                    <a:pt x="230" y="882"/>
                    <a:pt x="230" y="882"/>
                    <a:pt x="230" y="882"/>
                  </a:cubicBezTo>
                  <a:cubicBezTo>
                    <a:pt x="230" y="883"/>
                    <a:pt x="230" y="883"/>
                    <a:pt x="230" y="883"/>
                  </a:cubicBezTo>
                  <a:cubicBezTo>
                    <a:pt x="230" y="882"/>
                    <a:pt x="230" y="882"/>
                    <a:pt x="230" y="882"/>
                  </a:cubicBezTo>
                  <a:cubicBezTo>
                    <a:pt x="230" y="882"/>
                    <a:pt x="230" y="882"/>
                    <a:pt x="230" y="882"/>
                  </a:cubicBezTo>
                  <a:cubicBezTo>
                    <a:pt x="231" y="881"/>
                    <a:pt x="231" y="881"/>
                    <a:pt x="231" y="881"/>
                  </a:cubicBezTo>
                  <a:cubicBezTo>
                    <a:pt x="231" y="881"/>
                    <a:pt x="231" y="881"/>
                    <a:pt x="231" y="881"/>
                  </a:cubicBezTo>
                  <a:cubicBezTo>
                    <a:pt x="232" y="882"/>
                    <a:pt x="232" y="882"/>
                    <a:pt x="232" y="882"/>
                  </a:cubicBezTo>
                  <a:cubicBezTo>
                    <a:pt x="232" y="882"/>
                    <a:pt x="232" y="882"/>
                    <a:pt x="232" y="882"/>
                  </a:cubicBezTo>
                  <a:cubicBezTo>
                    <a:pt x="231" y="882"/>
                    <a:pt x="231" y="882"/>
                    <a:pt x="231" y="882"/>
                  </a:cubicBezTo>
                  <a:cubicBezTo>
                    <a:pt x="231" y="882"/>
                    <a:pt x="231" y="882"/>
                    <a:pt x="231" y="882"/>
                  </a:cubicBezTo>
                  <a:cubicBezTo>
                    <a:pt x="231" y="883"/>
                    <a:pt x="231" y="883"/>
                    <a:pt x="231" y="883"/>
                  </a:cubicBezTo>
                  <a:cubicBezTo>
                    <a:pt x="230" y="885"/>
                    <a:pt x="230" y="885"/>
                    <a:pt x="230" y="885"/>
                  </a:cubicBezTo>
                  <a:cubicBezTo>
                    <a:pt x="230" y="885"/>
                    <a:pt x="230" y="885"/>
                    <a:pt x="230" y="885"/>
                  </a:cubicBezTo>
                  <a:cubicBezTo>
                    <a:pt x="231" y="886"/>
                    <a:pt x="231" y="886"/>
                    <a:pt x="231" y="886"/>
                  </a:cubicBezTo>
                  <a:cubicBezTo>
                    <a:pt x="231" y="886"/>
                    <a:pt x="231" y="886"/>
                    <a:pt x="231" y="886"/>
                  </a:cubicBezTo>
                  <a:cubicBezTo>
                    <a:pt x="231" y="886"/>
                    <a:pt x="231" y="886"/>
                    <a:pt x="231" y="886"/>
                  </a:cubicBezTo>
                  <a:cubicBezTo>
                    <a:pt x="231" y="887"/>
                    <a:pt x="231" y="887"/>
                    <a:pt x="231" y="887"/>
                  </a:cubicBezTo>
                  <a:cubicBezTo>
                    <a:pt x="230" y="886"/>
                    <a:pt x="230" y="886"/>
                    <a:pt x="230" y="886"/>
                  </a:cubicBezTo>
                  <a:cubicBezTo>
                    <a:pt x="230" y="887"/>
                    <a:pt x="230" y="887"/>
                    <a:pt x="230" y="887"/>
                  </a:cubicBezTo>
                  <a:cubicBezTo>
                    <a:pt x="230" y="889"/>
                    <a:pt x="230" y="889"/>
                    <a:pt x="230" y="889"/>
                  </a:cubicBezTo>
                  <a:cubicBezTo>
                    <a:pt x="230" y="890"/>
                    <a:pt x="230" y="890"/>
                    <a:pt x="230" y="890"/>
                  </a:cubicBezTo>
                  <a:cubicBezTo>
                    <a:pt x="230" y="890"/>
                    <a:pt x="230" y="890"/>
                    <a:pt x="230" y="890"/>
                  </a:cubicBezTo>
                  <a:cubicBezTo>
                    <a:pt x="229" y="890"/>
                    <a:pt x="229" y="890"/>
                    <a:pt x="229" y="890"/>
                  </a:cubicBezTo>
                  <a:cubicBezTo>
                    <a:pt x="229" y="891"/>
                    <a:pt x="229" y="891"/>
                    <a:pt x="229" y="891"/>
                  </a:cubicBezTo>
                  <a:cubicBezTo>
                    <a:pt x="230" y="891"/>
                    <a:pt x="230" y="891"/>
                    <a:pt x="230" y="891"/>
                  </a:cubicBezTo>
                  <a:cubicBezTo>
                    <a:pt x="230" y="891"/>
                    <a:pt x="230" y="891"/>
                    <a:pt x="230" y="891"/>
                  </a:cubicBezTo>
                  <a:cubicBezTo>
                    <a:pt x="230" y="892"/>
                    <a:pt x="230" y="892"/>
                    <a:pt x="230" y="892"/>
                  </a:cubicBezTo>
                  <a:cubicBezTo>
                    <a:pt x="230" y="894"/>
                    <a:pt x="230" y="894"/>
                    <a:pt x="230" y="894"/>
                  </a:cubicBezTo>
                  <a:cubicBezTo>
                    <a:pt x="231" y="895"/>
                    <a:pt x="231" y="895"/>
                    <a:pt x="231" y="895"/>
                  </a:cubicBezTo>
                  <a:cubicBezTo>
                    <a:pt x="232" y="896"/>
                    <a:pt x="232" y="896"/>
                    <a:pt x="232" y="896"/>
                  </a:cubicBezTo>
                  <a:cubicBezTo>
                    <a:pt x="232" y="897"/>
                    <a:pt x="232" y="897"/>
                    <a:pt x="232" y="897"/>
                  </a:cubicBezTo>
                  <a:cubicBezTo>
                    <a:pt x="232" y="897"/>
                    <a:pt x="232" y="897"/>
                    <a:pt x="232" y="897"/>
                  </a:cubicBezTo>
                  <a:cubicBezTo>
                    <a:pt x="233" y="897"/>
                    <a:pt x="233" y="897"/>
                    <a:pt x="233" y="897"/>
                  </a:cubicBezTo>
                  <a:cubicBezTo>
                    <a:pt x="234" y="898"/>
                    <a:pt x="234" y="898"/>
                    <a:pt x="234" y="898"/>
                  </a:cubicBezTo>
                  <a:cubicBezTo>
                    <a:pt x="234" y="898"/>
                    <a:pt x="234" y="898"/>
                    <a:pt x="234" y="898"/>
                  </a:cubicBezTo>
                  <a:cubicBezTo>
                    <a:pt x="234" y="898"/>
                    <a:pt x="234" y="898"/>
                    <a:pt x="234" y="898"/>
                  </a:cubicBezTo>
                  <a:cubicBezTo>
                    <a:pt x="234" y="898"/>
                    <a:pt x="234" y="898"/>
                    <a:pt x="234" y="898"/>
                  </a:cubicBezTo>
                  <a:cubicBezTo>
                    <a:pt x="234" y="899"/>
                    <a:pt x="234" y="899"/>
                    <a:pt x="234" y="899"/>
                  </a:cubicBezTo>
                  <a:cubicBezTo>
                    <a:pt x="234" y="898"/>
                    <a:pt x="234" y="898"/>
                    <a:pt x="234" y="898"/>
                  </a:cubicBezTo>
                  <a:cubicBezTo>
                    <a:pt x="234" y="898"/>
                    <a:pt x="234" y="898"/>
                    <a:pt x="234" y="898"/>
                  </a:cubicBezTo>
                  <a:cubicBezTo>
                    <a:pt x="235" y="898"/>
                    <a:pt x="235" y="898"/>
                    <a:pt x="235" y="898"/>
                  </a:cubicBezTo>
                  <a:cubicBezTo>
                    <a:pt x="236" y="899"/>
                    <a:pt x="236" y="899"/>
                    <a:pt x="236" y="899"/>
                  </a:cubicBezTo>
                  <a:cubicBezTo>
                    <a:pt x="237" y="899"/>
                    <a:pt x="237" y="899"/>
                    <a:pt x="237" y="899"/>
                  </a:cubicBezTo>
                  <a:cubicBezTo>
                    <a:pt x="236" y="899"/>
                    <a:pt x="236" y="899"/>
                    <a:pt x="236" y="899"/>
                  </a:cubicBezTo>
                  <a:cubicBezTo>
                    <a:pt x="232" y="900"/>
                    <a:pt x="232" y="900"/>
                    <a:pt x="232" y="900"/>
                  </a:cubicBezTo>
                  <a:cubicBezTo>
                    <a:pt x="230" y="899"/>
                    <a:pt x="230" y="899"/>
                    <a:pt x="230" y="899"/>
                  </a:cubicBezTo>
                  <a:cubicBezTo>
                    <a:pt x="230" y="900"/>
                    <a:pt x="230" y="900"/>
                    <a:pt x="230" y="900"/>
                  </a:cubicBezTo>
                  <a:cubicBezTo>
                    <a:pt x="228" y="900"/>
                    <a:pt x="228" y="900"/>
                    <a:pt x="228" y="900"/>
                  </a:cubicBezTo>
                  <a:cubicBezTo>
                    <a:pt x="226" y="901"/>
                    <a:pt x="226" y="901"/>
                    <a:pt x="226" y="901"/>
                  </a:cubicBezTo>
                  <a:cubicBezTo>
                    <a:pt x="223" y="901"/>
                    <a:pt x="223" y="901"/>
                    <a:pt x="223" y="901"/>
                  </a:cubicBezTo>
                  <a:cubicBezTo>
                    <a:pt x="222" y="900"/>
                    <a:pt x="222" y="900"/>
                    <a:pt x="222" y="900"/>
                  </a:cubicBezTo>
                  <a:cubicBezTo>
                    <a:pt x="221" y="900"/>
                    <a:pt x="221" y="900"/>
                    <a:pt x="221" y="900"/>
                  </a:cubicBezTo>
                  <a:cubicBezTo>
                    <a:pt x="221" y="898"/>
                    <a:pt x="221" y="898"/>
                    <a:pt x="221" y="898"/>
                  </a:cubicBezTo>
                  <a:cubicBezTo>
                    <a:pt x="222" y="897"/>
                    <a:pt x="222" y="897"/>
                    <a:pt x="222" y="897"/>
                  </a:cubicBezTo>
                  <a:cubicBezTo>
                    <a:pt x="222" y="897"/>
                    <a:pt x="222" y="897"/>
                    <a:pt x="222" y="897"/>
                  </a:cubicBezTo>
                  <a:cubicBezTo>
                    <a:pt x="222" y="897"/>
                    <a:pt x="222" y="897"/>
                    <a:pt x="222" y="897"/>
                  </a:cubicBezTo>
                  <a:cubicBezTo>
                    <a:pt x="222" y="897"/>
                    <a:pt x="222" y="897"/>
                    <a:pt x="222" y="897"/>
                  </a:cubicBezTo>
                  <a:cubicBezTo>
                    <a:pt x="222" y="896"/>
                    <a:pt x="222" y="896"/>
                    <a:pt x="222" y="896"/>
                  </a:cubicBezTo>
                  <a:cubicBezTo>
                    <a:pt x="219" y="897"/>
                    <a:pt x="219" y="897"/>
                    <a:pt x="219" y="897"/>
                  </a:cubicBezTo>
                  <a:cubicBezTo>
                    <a:pt x="219" y="897"/>
                    <a:pt x="219" y="897"/>
                    <a:pt x="219" y="897"/>
                  </a:cubicBezTo>
                  <a:cubicBezTo>
                    <a:pt x="218" y="897"/>
                    <a:pt x="218" y="897"/>
                    <a:pt x="218" y="897"/>
                  </a:cubicBezTo>
                  <a:cubicBezTo>
                    <a:pt x="218" y="897"/>
                    <a:pt x="218" y="897"/>
                    <a:pt x="218" y="897"/>
                  </a:cubicBezTo>
                  <a:cubicBezTo>
                    <a:pt x="218" y="898"/>
                    <a:pt x="218" y="898"/>
                    <a:pt x="218" y="898"/>
                  </a:cubicBezTo>
                  <a:cubicBezTo>
                    <a:pt x="218" y="898"/>
                    <a:pt x="218" y="898"/>
                    <a:pt x="218" y="898"/>
                  </a:cubicBezTo>
                  <a:cubicBezTo>
                    <a:pt x="217" y="898"/>
                    <a:pt x="217" y="898"/>
                    <a:pt x="217" y="898"/>
                  </a:cubicBezTo>
                  <a:cubicBezTo>
                    <a:pt x="217" y="898"/>
                    <a:pt x="217" y="898"/>
                    <a:pt x="217" y="898"/>
                  </a:cubicBezTo>
                  <a:cubicBezTo>
                    <a:pt x="217" y="899"/>
                    <a:pt x="217" y="899"/>
                    <a:pt x="217" y="899"/>
                  </a:cubicBezTo>
                  <a:cubicBezTo>
                    <a:pt x="216" y="899"/>
                    <a:pt x="216" y="899"/>
                    <a:pt x="216" y="899"/>
                  </a:cubicBezTo>
                  <a:cubicBezTo>
                    <a:pt x="216" y="899"/>
                    <a:pt x="216" y="899"/>
                    <a:pt x="216" y="899"/>
                  </a:cubicBezTo>
                  <a:cubicBezTo>
                    <a:pt x="217" y="900"/>
                    <a:pt x="217" y="900"/>
                    <a:pt x="217" y="900"/>
                  </a:cubicBezTo>
                  <a:cubicBezTo>
                    <a:pt x="217" y="901"/>
                    <a:pt x="217" y="901"/>
                    <a:pt x="217" y="901"/>
                  </a:cubicBezTo>
                  <a:cubicBezTo>
                    <a:pt x="217" y="902"/>
                    <a:pt x="217" y="902"/>
                    <a:pt x="217" y="902"/>
                  </a:cubicBezTo>
                  <a:cubicBezTo>
                    <a:pt x="218" y="902"/>
                    <a:pt x="218" y="902"/>
                    <a:pt x="218" y="902"/>
                  </a:cubicBezTo>
                  <a:cubicBezTo>
                    <a:pt x="218" y="902"/>
                    <a:pt x="218" y="902"/>
                    <a:pt x="218" y="902"/>
                  </a:cubicBezTo>
                  <a:cubicBezTo>
                    <a:pt x="218" y="902"/>
                    <a:pt x="218" y="902"/>
                    <a:pt x="218" y="902"/>
                  </a:cubicBezTo>
                  <a:cubicBezTo>
                    <a:pt x="219" y="903"/>
                    <a:pt x="219" y="903"/>
                    <a:pt x="219" y="903"/>
                  </a:cubicBezTo>
                  <a:cubicBezTo>
                    <a:pt x="218" y="902"/>
                    <a:pt x="218" y="902"/>
                    <a:pt x="218" y="902"/>
                  </a:cubicBezTo>
                  <a:cubicBezTo>
                    <a:pt x="218" y="902"/>
                    <a:pt x="218" y="902"/>
                    <a:pt x="218" y="902"/>
                  </a:cubicBezTo>
                  <a:cubicBezTo>
                    <a:pt x="218" y="902"/>
                    <a:pt x="218" y="902"/>
                    <a:pt x="218" y="902"/>
                  </a:cubicBezTo>
                  <a:cubicBezTo>
                    <a:pt x="218" y="902"/>
                    <a:pt x="218" y="902"/>
                    <a:pt x="218" y="902"/>
                  </a:cubicBezTo>
                  <a:cubicBezTo>
                    <a:pt x="218" y="903"/>
                    <a:pt x="218" y="903"/>
                    <a:pt x="218" y="903"/>
                  </a:cubicBezTo>
                  <a:cubicBezTo>
                    <a:pt x="218" y="903"/>
                    <a:pt x="218" y="903"/>
                    <a:pt x="218" y="903"/>
                  </a:cubicBezTo>
                  <a:cubicBezTo>
                    <a:pt x="218" y="904"/>
                    <a:pt x="218" y="904"/>
                    <a:pt x="218" y="904"/>
                  </a:cubicBezTo>
                  <a:cubicBezTo>
                    <a:pt x="219" y="904"/>
                    <a:pt x="219" y="904"/>
                    <a:pt x="219" y="904"/>
                  </a:cubicBezTo>
                  <a:cubicBezTo>
                    <a:pt x="218" y="905"/>
                    <a:pt x="218" y="905"/>
                    <a:pt x="218" y="905"/>
                  </a:cubicBezTo>
                  <a:cubicBezTo>
                    <a:pt x="218" y="905"/>
                    <a:pt x="218" y="905"/>
                    <a:pt x="218" y="905"/>
                  </a:cubicBezTo>
                  <a:cubicBezTo>
                    <a:pt x="218" y="904"/>
                    <a:pt x="218" y="904"/>
                    <a:pt x="218" y="904"/>
                  </a:cubicBezTo>
                  <a:cubicBezTo>
                    <a:pt x="218" y="904"/>
                    <a:pt x="218" y="904"/>
                    <a:pt x="218" y="904"/>
                  </a:cubicBezTo>
                  <a:cubicBezTo>
                    <a:pt x="217" y="903"/>
                    <a:pt x="217" y="903"/>
                    <a:pt x="217" y="903"/>
                  </a:cubicBezTo>
                  <a:cubicBezTo>
                    <a:pt x="217" y="902"/>
                    <a:pt x="217" y="902"/>
                    <a:pt x="217" y="902"/>
                  </a:cubicBezTo>
                  <a:cubicBezTo>
                    <a:pt x="217" y="902"/>
                    <a:pt x="217" y="902"/>
                    <a:pt x="217" y="902"/>
                  </a:cubicBezTo>
                  <a:cubicBezTo>
                    <a:pt x="217" y="902"/>
                    <a:pt x="217" y="902"/>
                    <a:pt x="217" y="902"/>
                  </a:cubicBezTo>
                  <a:cubicBezTo>
                    <a:pt x="217" y="901"/>
                    <a:pt x="217" y="901"/>
                    <a:pt x="217" y="901"/>
                  </a:cubicBezTo>
                  <a:cubicBezTo>
                    <a:pt x="216" y="901"/>
                    <a:pt x="216" y="901"/>
                    <a:pt x="216" y="901"/>
                  </a:cubicBezTo>
                  <a:cubicBezTo>
                    <a:pt x="216" y="900"/>
                    <a:pt x="216" y="900"/>
                    <a:pt x="216" y="900"/>
                  </a:cubicBezTo>
                  <a:cubicBezTo>
                    <a:pt x="216" y="899"/>
                    <a:pt x="216" y="899"/>
                    <a:pt x="216" y="899"/>
                  </a:cubicBezTo>
                  <a:cubicBezTo>
                    <a:pt x="216" y="899"/>
                    <a:pt x="216" y="899"/>
                    <a:pt x="216" y="899"/>
                  </a:cubicBezTo>
                  <a:cubicBezTo>
                    <a:pt x="214" y="899"/>
                    <a:pt x="214" y="899"/>
                    <a:pt x="214" y="899"/>
                  </a:cubicBezTo>
                  <a:cubicBezTo>
                    <a:pt x="213" y="900"/>
                    <a:pt x="213" y="900"/>
                    <a:pt x="213" y="900"/>
                  </a:cubicBezTo>
                  <a:cubicBezTo>
                    <a:pt x="213" y="900"/>
                    <a:pt x="213" y="900"/>
                    <a:pt x="213" y="900"/>
                  </a:cubicBezTo>
                  <a:cubicBezTo>
                    <a:pt x="213" y="901"/>
                    <a:pt x="213" y="901"/>
                    <a:pt x="213" y="901"/>
                  </a:cubicBezTo>
                  <a:cubicBezTo>
                    <a:pt x="214" y="901"/>
                    <a:pt x="214" y="901"/>
                    <a:pt x="214" y="901"/>
                  </a:cubicBezTo>
                  <a:cubicBezTo>
                    <a:pt x="213" y="901"/>
                    <a:pt x="213" y="901"/>
                    <a:pt x="213" y="901"/>
                  </a:cubicBezTo>
                  <a:cubicBezTo>
                    <a:pt x="213" y="901"/>
                    <a:pt x="213" y="901"/>
                    <a:pt x="213" y="901"/>
                  </a:cubicBezTo>
                  <a:cubicBezTo>
                    <a:pt x="213" y="900"/>
                    <a:pt x="213" y="900"/>
                    <a:pt x="213" y="900"/>
                  </a:cubicBezTo>
                  <a:cubicBezTo>
                    <a:pt x="213" y="900"/>
                    <a:pt x="213" y="900"/>
                    <a:pt x="213" y="900"/>
                  </a:cubicBezTo>
                  <a:cubicBezTo>
                    <a:pt x="212" y="901"/>
                    <a:pt x="212" y="901"/>
                    <a:pt x="212" y="901"/>
                  </a:cubicBezTo>
                  <a:cubicBezTo>
                    <a:pt x="212" y="901"/>
                    <a:pt x="212" y="901"/>
                    <a:pt x="212" y="901"/>
                  </a:cubicBezTo>
                  <a:cubicBezTo>
                    <a:pt x="212" y="902"/>
                    <a:pt x="212" y="902"/>
                    <a:pt x="212" y="902"/>
                  </a:cubicBezTo>
                  <a:cubicBezTo>
                    <a:pt x="212" y="902"/>
                    <a:pt x="212" y="902"/>
                    <a:pt x="212" y="902"/>
                  </a:cubicBezTo>
                  <a:cubicBezTo>
                    <a:pt x="212" y="902"/>
                    <a:pt x="212" y="902"/>
                    <a:pt x="212" y="902"/>
                  </a:cubicBezTo>
                  <a:cubicBezTo>
                    <a:pt x="212" y="902"/>
                    <a:pt x="212" y="902"/>
                    <a:pt x="212" y="902"/>
                  </a:cubicBezTo>
                  <a:cubicBezTo>
                    <a:pt x="212" y="902"/>
                    <a:pt x="212" y="902"/>
                    <a:pt x="212" y="902"/>
                  </a:cubicBezTo>
                  <a:cubicBezTo>
                    <a:pt x="212" y="901"/>
                    <a:pt x="212" y="901"/>
                    <a:pt x="212" y="901"/>
                  </a:cubicBezTo>
                  <a:cubicBezTo>
                    <a:pt x="211" y="902"/>
                    <a:pt x="211" y="902"/>
                    <a:pt x="211" y="902"/>
                  </a:cubicBezTo>
                  <a:cubicBezTo>
                    <a:pt x="211" y="902"/>
                    <a:pt x="211" y="902"/>
                    <a:pt x="211" y="902"/>
                  </a:cubicBezTo>
                  <a:cubicBezTo>
                    <a:pt x="211" y="902"/>
                    <a:pt x="211" y="902"/>
                    <a:pt x="211" y="902"/>
                  </a:cubicBezTo>
                  <a:cubicBezTo>
                    <a:pt x="211" y="902"/>
                    <a:pt x="211" y="902"/>
                    <a:pt x="211" y="902"/>
                  </a:cubicBezTo>
                  <a:cubicBezTo>
                    <a:pt x="211" y="901"/>
                    <a:pt x="211" y="901"/>
                    <a:pt x="211" y="901"/>
                  </a:cubicBezTo>
                  <a:cubicBezTo>
                    <a:pt x="210" y="901"/>
                    <a:pt x="210" y="901"/>
                    <a:pt x="210" y="901"/>
                  </a:cubicBezTo>
                  <a:cubicBezTo>
                    <a:pt x="210" y="901"/>
                    <a:pt x="210" y="901"/>
                    <a:pt x="210" y="901"/>
                  </a:cubicBezTo>
                  <a:cubicBezTo>
                    <a:pt x="210" y="900"/>
                    <a:pt x="210" y="900"/>
                    <a:pt x="210" y="900"/>
                  </a:cubicBezTo>
                  <a:cubicBezTo>
                    <a:pt x="210" y="899"/>
                    <a:pt x="210" y="899"/>
                    <a:pt x="210" y="899"/>
                  </a:cubicBezTo>
                  <a:cubicBezTo>
                    <a:pt x="210" y="899"/>
                    <a:pt x="210" y="899"/>
                    <a:pt x="210" y="899"/>
                  </a:cubicBezTo>
                  <a:cubicBezTo>
                    <a:pt x="209" y="899"/>
                    <a:pt x="209" y="899"/>
                    <a:pt x="209" y="899"/>
                  </a:cubicBezTo>
                  <a:cubicBezTo>
                    <a:pt x="208" y="900"/>
                    <a:pt x="208" y="900"/>
                    <a:pt x="208" y="900"/>
                  </a:cubicBezTo>
                  <a:cubicBezTo>
                    <a:pt x="208" y="900"/>
                    <a:pt x="208" y="900"/>
                    <a:pt x="208" y="900"/>
                  </a:cubicBezTo>
                  <a:cubicBezTo>
                    <a:pt x="207" y="900"/>
                    <a:pt x="207" y="900"/>
                    <a:pt x="207" y="900"/>
                  </a:cubicBezTo>
                  <a:cubicBezTo>
                    <a:pt x="208" y="899"/>
                    <a:pt x="208" y="899"/>
                    <a:pt x="208" y="899"/>
                  </a:cubicBezTo>
                  <a:cubicBezTo>
                    <a:pt x="208" y="899"/>
                    <a:pt x="208" y="899"/>
                    <a:pt x="208" y="899"/>
                  </a:cubicBezTo>
                  <a:cubicBezTo>
                    <a:pt x="208" y="899"/>
                    <a:pt x="208" y="899"/>
                    <a:pt x="208" y="899"/>
                  </a:cubicBezTo>
                  <a:cubicBezTo>
                    <a:pt x="208" y="898"/>
                    <a:pt x="208" y="898"/>
                    <a:pt x="208" y="898"/>
                  </a:cubicBezTo>
                  <a:cubicBezTo>
                    <a:pt x="209" y="898"/>
                    <a:pt x="209" y="898"/>
                    <a:pt x="209" y="898"/>
                  </a:cubicBezTo>
                  <a:cubicBezTo>
                    <a:pt x="209" y="898"/>
                    <a:pt x="209" y="898"/>
                    <a:pt x="209" y="898"/>
                  </a:cubicBezTo>
                  <a:cubicBezTo>
                    <a:pt x="208" y="898"/>
                    <a:pt x="208" y="898"/>
                    <a:pt x="208" y="898"/>
                  </a:cubicBezTo>
                  <a:cubicBezTo>
                    <a:pt x="208" y="898"/>
                    <a:pt x="208" y="898"/>
                    <a:pt x="208" y="898"/>
                  </a:cubicBezTo>
                  <a:cubicBezTo>
                    <a:pt x="208" y="897"/>
                    <a:pt x="208" y="897"/>
                    <a:pt x="208" y="897"/>
                  </a:cubicBezTo>
                  <a:cubicBezTo>
                    <a:pt x="208" y="897"/>
                    <a:pt x="208" y="897"/>
                    <a:pt x="208" y="897"/>
                  </a:cubicBezTo>
                  <a:cubicBezTo>
                    <a:pt x="207" y="898"/>
                    <a:pt x="207" y="898"/>
                    <a:pt x="207" y="898"/>
                  </a:cubicBezTo>
                  <a:cubicBezTo>
                    <a:pt x="207" y="898"/>
                    <a:pt x="207" y="898"/>
                    <a:pt x="207" y="898"/>
                  </a:cubicBezTo>
                  <a:cubicBezTo>
                    <a:pt x="206" y="899"/>
                    <a:pt x="206" y="899"/>
                    <a:pt x="206" y="899"/>
                  </a:cubicBezTo>
                  <a:cubicBezTo>
                    <a:pt x="205" y="899"/>
                    <a:pt x="205" y="899"/>
                    <a:pt x="205" y="899"/>
                  </a:cubicBezTo>
                  <a:cubicBezTo>
                    <a:pt x="205" y="899"/>
                    <a:pt x="205" y="899"/>
                    <a:pt x="205" y="899"/>
                  </a:cubicBezTo>
                  <a:cubicBezTo>
                    <a:pt x="204" y="899"/>
                    <a:pt x="204" y="899"/>
                    <a:pt x="204" y="899"/>
                  </a:cubicBezTo>
                  <a:cubicBezTo>
                    <a:pt x="203" y="899"/>
                    <a:pt x="203" y="899"/>
                    <a:pt x="203" y="899"/>
                  </a:cubicBezTo>
                  <a:cubicBezTo>
                    <a:pt x="203" y="899"/>
                    <a:pt x="203" y="899"/>
                    <a:pt x="203" y="899"/>
                  </a:cubicBezTo>
                  <a:cubicBezTo>
                    <a:pt x="203" y="899"/>
                    <a:pt x="203" y="899"/>
                    <a:pt x="203" y="899"/>
                  </a:cubicBezTo>
                  <a:cubicBezTo>
                    <a:pt x="203" y="900"/>
                    <a:pt x="203" y="900"/>
                    <a:pt x="203" y="900"/>
                  </a:cubicBezTo>
                  <a:cubicBezTo>
                    <a:pt x="203" y="900"/>
                    <a:pt x="203" y="900"/>
                    <a:pt x="203" y="900"/>
                  </a:cubicBezTo>
                  <a:cubicBezTo>
                    <a:pt x="201" y="901"/>
                    <a:pt x="201" y="901"/>
                    <a:pt x="201" y="901"/>
                  </a:cubicBezTo>
                  <a:cubicBezTo>
                    <a:pt x="201" y="902"/>
                    <a:pt x="201" y="902"/>
                    <a:pt x="201" y="902"/>
                  </a:cubicBezTo>
                  <a:cubicBezTo>
                    <a:pt x="200" y="902"/>
                    <a:pt x="200" y="902"/>
                    <a:pt x="200" y="902"/>
                  </a:cubicBezTo>
                  <a:cubicBezTo>
                    <a:pt x="200" y="902"/>
                    <a:pt x="200" y="902"/>
                    <a:pt x="200" y="902"/>
                  </a:cubicBezTo>
                  <a:cubicBezTo>
                    <a:pt x="199" y="903"/>
                    <a:pt x="199" y="903"/>
                    <a:pt x="199" y="903"/>
                  </a:cubicBezTo>
                  <a:cubicBezTo>
                    <a:pt x="199" y="904"/>
                    <a:pt x="199" y="904"/>
                    <a:pt x="199" y="904"/>
                  </a:cubicBezTo>
                  <a:cubicBezTo>
                    <a:pt x="198" y="904"/>
                    <a:pt x="198" y="904"/>
                    <a:pt x="198" y="904"/>
                  </a:cubicBezTo>
                  <a:cubicBezTo>
                    <a:pt x="197" y="904"/>
                    <a:pt x="197" y="904"/>
                    <a:pt x="197" y="904"/>
                  </a:cubicBezTo>
                  <a:cubicBezTo>
                    <a:pt x="197" y="904"/>
                    <a:pt x="197" y="904"/>
                    <a:pt x="197" y="904"/>
                  </a:cubicBezTo>
                  <a:cubicBezTo>
                    <a:pt x="197" y="905"/>
                    <a:pt x="197" y="905"/>
                    <a:pt x="197" y="905"/>
                  </a:cubicBezTo>
                  <a:cubicBezTo>
                    <a:pt x="197" y="905"/>
                    <a:pt x="197" y="905"/>
                    <a:pt x="197" y="905"/>
                  </a:cubicBezTo>
                  <a:cubicBezTo>
                    <a:pt x="196" y="905"/>
                    <a:pt x="196" y="905"/>
                    <a:pt x="196" y="905"/>
                  </a:cubicBezTo>
                  <a:cubicBezTo>
                    <a:pt x="196" y="905"/>
                    <a:pt x="196" y="905"/>
                    <a:pt x="196" y="905"/>
                  </a:cubicBezTo>
                  <a:cubicBezTo>
                    <a:pt x="196" y="904"/>
                    <a:pt x="196" y="904"/>
                    <a:pt x="196" y="904"/>
                  </a:cubicBezTo>
                  <a:cubicBezTo>
                    <a:pt x="195" y="904"/>
                    <a:pt x="195" y="904"/>
                    <a:pt x="195" y="904"/>
                  </a:cubicBezTo>
                  <a:cubicBezTo>
                    <a:pt x="195" y="904"/>
                    <a:pt x="195" y="904"/>
                    <a:pt x="195" y="904"/>
                  </a:cubicBezTo>
                  <a:cubicBezTo>
                    <a:pt x="195" y="904"/>
                    <a:pt x="195" y="904"/>
                    <a:pt x="195" y="904"/>
                  </a:cubicBezTo>
                  <a:cubicBezTo>
                    <a:pt x="196" y="904"/>
                    <a:pt x="196" y="904"/>
                    <a:pt x="196" y="904"/>
                  </a:cubicBezTo>
                  <a:cubicBezTo>
                    <a:pt x="196" y="903"/>
                    <a:pt x="196" y="903"/>
                    <a:pt x="196" y="903"/>
                  </a:cubicBezTo>
                  <a:cubicBezTo>
                    <a:pt x="196" y="903"/>
                    <a:pt x="196" y="903"/>
                    <a:pt x="196" y="903"/>
                  </a:cubicBezTo>
                  <a:cubicBezTo>
                    <a:pt x="194" y="902"/>
                    <a:pt x="194" y="902"/>
                    <a:pt x="194" y="902"/>
                  </a:cubicBezTo>
                  <a:cubicBezTo>
                    <a:pt x="193" y="902"/>
                    <a:pt x="193" y="902"/>
                    <a:pt x="193" y="902"/>
                  </a:cubicBezTo>
                  <a:cubicBezTo>
                    <a:pt x="193" y="902"/>
                    <a:pt x="193" y="902"/>
                    <a:pt x="193" y="902"/>
                  </a:cubicBezTo>
                  <a:cubicBezTo>
                    <a:pt x="193" y="901"/>
                    <a:pt x="193" y="901"/>
                    <a:pt x="193" y="901"/>
                  </a:cubicBezTo>
                  <a:cubicBezTo>
                    <a:pt x="193" y="901"/>
                    <a:pt x="193" y="901"/>
                    <a:pt x="193" y="901"/>
                  </a:cubicBezTo>
                  <a:cubicBezTo>
                    <a:pt x="193" y="901"/>
                    <a:pt x="193" y="901"/>
                    <a:pt x="193" y="901"/>
                  </a:cubicBezTo>
                  <a:cubicBezTo>
                    <a:pt x="193" y="901"/>
                    <a:pt x="193" y="901"/>
                    <a:pt x="193" y="901"/>
                  </a:cubicBezTo>
                  <a:cubicBezTo>
                    <a:pt x="193" y="900"/>
                    <a:pt x="193" y="900"/>
                    <a:pt x="193" y="900"/>
                  </a:cubicBezTo>
                  <a:cubicBezTo>
                    <a:pt x="193" y="900"/>
                    <a:pt x="193" y="900"/>
                    <a:pt x="193" y="900"/>
                  </a:cubicBezTo>
                  <a:cubicBezTo>
                    <a:pt x="192" y="899"/>
                    <a:pt x="192" y="899"/>
                    <a:pt x="192" y="899"/>
                  </a:cubicBezTo>
                  <a:cubicBezTo>
                    <a:pt x="191" y="897"/>
                    <a:pt x="191" y="897"/>
                    <a:pt x="191" y="897"/>
                  </a:cubicBezTo>
                  <a:cubicBezTo>
                    <a:pt x="190" y="897"/>
                    <a:pt x="190" y="897"/>
                    <a:pt x="190" y="897"/>
                  </a:cubicBezTo>
                  <a:cubicBezTo>
                    <a:pt x="190" y="896"/>
                    <a:pt x="190" y="896"/>
                    <a:pt x="190" y="896"/>
                  </a:cubicBezTo>
                  <a:cubicBezTo>
                    <a:pt x="189" y="896"/>
                    <a:pt x="189" y="896"/>
                    <a:pt x="189" y="896"/>
                  </a:cubicBezTo>
                  <a:cubicBezTo>
                    <a:pt x="189" y="895"/>
                    <a:pt x="189" y="895"/>
                    <a:pt x="189" y="895"/>
                  </a:cubicBezTo>
                  <a:cubicBezTo>
                    <a:pt x="189" y="895"/>
                    <a:pt x="189" y="895"/>
                    <a:pt x="189" y="895"/>
                  </a:cubicBezTo>
                  <a:cubicBezTo>
                    <a:pt x="189" y="895"/>
                    <a:pt x="189" y="895"/>
                    <a:pt x="189" y="895"/>
                  </a:cubicBezTo>
                  <a:cubicBezTo>
                    <a:pt x="189" y="894"/>
                    <a:pt x="189" y="894"/>
                    <a:pt x="189" y="894"/>
                  </a:cubicBezTo>
                  <a:cubicBezTo>
                    <a:pt x="189" y="894"/>
                    <a:pt x="189" y="894"/>
                    <a:pt x="189" y="894"/>
                  </a:cubicBezTo>
                  <a:cubicBezTo>
                    <a:pt x="189" y="894"/>
                    <a:pt x="189" y="894"/>
                    <a:pt x="189" y="894"/>
                  </a:cubicBezTo>
                  <a:cubicBezTo>
                    <a:pt x="189" y="894"/>
                    <a:pt x="189" y="894"/>
                    <a:pt x="189" y="894"/>
                  </a:cubicBezTo>
                  <a:cubicBezTo>
                    <a:pt x="187" y="894"/>
                    <a:pt x="187" y="894"/>
                    <a:pt x="187" y="894"/>
                  </a:cubicBezTo>
                  <a:cubicBezTo>
                    <a:pt x="186" y="893"/>
                    <a:pt x="186" y="893"/>
                    <a:pt x="186" y="893"/>
                  </a:cubicBezTo>
                  <a:cubicBezTo>
                    <a:pt x="186" y="893"/>
                    <a:pt x="186" y="893"/>
                    <a:pt x="186" y="893"/>
                  </a:cubicBezTo>
                  <a:cubicBezTo>
                    <a:pt x="186" y="893"/>
                    <a:pt x="186" y="893"/>
                    <a:pt x="186" y="893"/>
                  </a:cubicBezTo>
                  <a:cubicBezTo>
                    <a:pt x="186" y="892"/>
                    <a:pt x="186" y="892"/>
                    <a:pt x="186" y="892"/>
                  </a:cubicBezTo>
                  <a:cubicBezTo>
                    <a:pt x="187" y="892"/>
                    <a:pt x="187" y="892"/>
                    <a:pt x="187" y="892"/>
                  </a:cubicBezTo>
                  <a:cubicBezTo>
                    <a:pt x="187" y="892"/>
                    <a:pt x="187" y="892"/>
                    <a:pt x="187" y="892"/>
                  </a:cubicBezTo>
                  <a:cubicBezTo>
                    <a:pt x="187" y="892"/>
                    <a:pt x="187" y="892"/>
                    <a:pt x="187" y="892"/>
                  </a:cubicBezTo>
                  <a:cubicBezTo>
                    <a:pt x="187" y="892"/>
                    <a:pt x="187" y="892"/>
                    <a:pt x="187" y="892"/>
                  </a:cubicBezTo>
                  <a:cubicBezTo>
                    <a:pt x="187" y="892"/>
                    <a:pt x="187" y="892"/>
                    <a:pt x="187" y="892"/>
                  </a:cubicBezTo>
                  <a:cubicBezTo>
                    <a:pt x="187" y="891"/>
                    <a:pt x="187" y="891"/>
                    <a:pt x="187" y="891"/>
                  </a:cubicBezTo>
                  <a:cubicBezTo>
                    <a:pt x="187" y="891"/>
                    <a:pt x="187" y="891"/>
                    <a:pt x="187" y="891"/>
                  </a:cubicBezTo>
                  <a:cubicBezTo>
                    <a:pt x="186" y="891"/>
                    <a:pt x="186" y="891"/>
                    <a:pt x="186" y="891"/>
                  </a:cubicBezTo>
                  <a:cubicBezTo>
                    <a:pt x="186" y="891"/>
                    <a:pt x="186" y="891"/>
                    <a:pt x="186" y="891"/>
                  </a:cubicBezTo>
                  <a:cubicBezTo>
                    <a:pt x="186" y="891"/>
                    <a:pt x="186" y="891"/>
                    <a:pt x="186" y="891"/>
                  </a:cubicBezTo>
                  <a:cubicBezTo>
                    <a:pt x="185" y="891"/>
                    <a:pt x="185" y="891"/>
                    <a:pt x="185" y="891"/>
                  </a:cubicBezTo>
                  <a:cubicBezTo>
                    <a:pt x="185" y="892"/>
                    <a:pt x="185" y="892"/>
                    <a:pt x="185" y="892"/>
                  </a:cubicBezTo>
                  <a:cubicBezTo>
                    <a:pt x="184" y="894"/>
                    <a:pt x="184" y="894"/>
                    <a:pt x="184" y="894"/>
                  </a:cubicBezTo>
                  <a:cubicBezTo>
                    <a:pt x="183" y="894"/>
                    <a:pt x="183" y="894"/>
                    <a:pt x="183" y="894"/>
                  </a:cubicBezTo>
                  <a:cubicBezTo>
                    <a:pt x="183" y="894"/>
                    <a:pt x="183" y="894"/>
                    <a:pt x="183" y="894"/>
                  </a:cubicBezTo>
                  <a:cubicBezTo>
                    <a:pt x="184" y="893"/>
                    <a:pt x="184" y="893"/>
                    <a:pt x="184" y="893"/>
                  </a:cubicBezTo>
                  <a:cubicBezTo>
                    <a:pt x="184" y="893"/>
                    <a:pt x="184" y="893"/>
                    <a:pt x="184" y="893"/>
                  </a:cubicBezTo>
                  <a:cubicBezTo>
                    <a:pt x="185" y="891"/>
                    <a:pt x="185" y="891"/>
                    <a:pt x="185" y="891"/>
                  </a:cubicBezTo>
                  <a:cubicBezTo>
                    <a:pt x="185" y="891"/>
                    <a:pt x="185" y="891"/>
                    <a:pt x="185" y="891"/>
                  </a:cubicBezTo>
                  <a:cubicBezTo>
                    <a:pt x="184" y="891"/>
                    <a:pt x="184" y="891"/>
                    <a:pt x="184" y="891"/>
                  </a:cubicBezTo>
                  <a:cubicBezTo>
                    <a:pt x="184" y="891"/>
                    <a:pt x="184" y="891"/>
                    <a:pt x="184" y="891"/>
                  </a:cubicBezTo>
                  <a:cubicBezTo>
                    <a:pt x="185" y="890"/>
                    <a:pt x="185" y="890"/>
                    <a:pt x="185" y="890"/>
                  </a:cubicBezTo>
                  <a:cubicBezTo>
                    <a:pt x="185" y="890"/>
                    <a:pt x="185" y="890"/>
                    <a:pt x="185" y="890"/>
                  </a:cubicBezTo>
                  <a:cubicBezTo>
                    <a:pt x="184" y="889"/>
                    <a:pt x="184" y="889"/>
                    <a:pt x="184" y="889"/>
                  </a:cubicBezTo>
                  <a:cubicBezTo>
                    <a:pt x="184" y="889"/>
                    <a:pt x="184" y="889"/>
                    <a:pt x="184" y="889"/>
                  </a:cubicBezTo>
                  <a:cubicBezTo>
                    <a:pt x="184" y="889"/>
                    <a:pt x="184" y="889"/>
                    <a:pt x="184" y="889"/>
                  </a:cubicBezTo>
                  <a:cubicBezTo>
                    <a:pt x="183" y="890"/>
                    <a:pt x="183" y="890"/>
                    <a:pt x="183" y="890"/>
                  </a:cubicBezTo>
                  <a:cubicBezTo>
                    <a:pt x="183" y="890"/>
                    <a:pt x="183" y="890"/>
                    <a:pt x="183" y="890"/>
                  </a:cubicBezTo>
                  <a:cubicBezTo>
                    <a:pt x="183" y="890"/>
                    <a:pt x="183" y="890"/>
                    <a:pt x="183" y="890"/>
                  </a:cubicBezTo>
                  <a:cubicBezTo>
                    <a:pt x="182" y="891"/>
                    <a:pt x="182" y="891"/>
                    <a:pt x="182" y="891"/>
                  </a:cubicBezTo>
                  <a:cubicBezTo>
                    <a:pt x="181" y="892"/>
                    <a:pt x="181" y="892"/>
                    <a:pt x="181" y="892"/>
                  </a:cubicBezTo>
                  <a:cubicBezTo>
                    <a:pt x="181" y="892"/>
                    <a:pt x="181" y="892"/>
                    <a:pt x="181" y="892"/>
                  </a:cubicBezTo>
                  <a:cubicBezTo>
                    <a:pt x="180" y="893"/>
                    <a:pt x="180" y="893"/>
                    <a:pt x="180" y="893"/>
                  </a:cubicBezTo>
                  <a:cubicBezTo>
                    <a:pt x="180" y="892"/>
                    <a:pt x="180" y="892"/>
                    <a:pt x="180" y="892"/>
                  </a:cubicBezTo>
                  <a:cubicBezTo>
                    <a:pt x="180" y="892"/>
                    <a:pt x="180" y="892"/>
                    <a:pt x="180" y="892"/>
                  </a:cubicBezTo>
                  <a:cubicBezTo>
                    <a:pt x="180" y="892"/>
                    <a:pt x="180" y="892"/>
                    <a:pt x="180" y="892"/>
                  </a:cubicBezTo>
                  <a:cubicBezTo>
                    <a:pt x="181" y="892"/>
                    <a:pt x="181" y="892"/>
                    <a:pt x="181" y="892"/>
                  </a:cubicBezTo>
                  <a:cubicBezTo>
                    <a:pt x="181" y="891"/>
                    <a:pt x="181" y="891"/>
                    <a:pt x="181" y="891"/>
                  </a:cubicBezTo>
                  <a:cubicBezTo>
                    <a:pt x="181" y="890"/>
                    <a:pt x="181" y="890"/>
                    <a:pt x="181" y="890"/>
                  </a:cubicBezTo>
                  <a:cubicBezTo>
                    <a:pt x="181" y="889"/>
                    <a:pt x="181" y="889"/>
                    <a:pt x="181" y="889"/>
                  </a:cubicBezTo>
                  <a:cubicBezTo>
                    <a:pt x="180" y="889"/>
                    <a:pt x="180" y="889"/>
                    <a:pt x="180" y="889"/>
                  </a:cubicBezTo>
                  <a:cubicBezTo>
                    <a:pt x="179" y="890"/>
                    <a:pt x="179" y="890"/>
                    <a:pt x="179" y="890"/>
                  </a:cubicBezTo>
                  <a:cubicBezTo>
                    <a:pt x="179" y="890"/>
                    <a:pt x="179" y="890"/>
                    <a:pt x="179" y="890"/>
                  </a:cubicBezTo>
                  <a:cubicBezTo>
                    <a:pt x="179" y="890"/>
                    <a:pt x="179" y="890"/>
                    <a:pt x="179" y="890"/>
                  </a:cubicBezTo>
                  <a:cubicBezTo>
                    <a:pt x="179" y="890"/>
                    <a:pt x="179" y="890"/>
                    <a:pt x="179" y="890"/>
                  </a:cubicBezTo>
                  <a:cubicBezTo>
                    <a:pt x="176" y="891"/>
                    <a:pt x="176" y="891"/>
                    <a:pt x="176" y="891"/>
                  </a:cubicBezTo>
                  <a:cubicBezTo>
                    <a:pt x="176" y="891"/>
                    <a:pt x="176" y="891"/>
                    <a:pt x="176" y="891"/>
                  </a:cubicBezTo>
                  <a:cubicBezTo>
                    <a:pt x="176" y="892"/>
                    <a:pt x="176" y="892"/>
                    <a:pt x="176" y="892"/>
                  </a:cubicBezTo>
                  <a:cubicBezTo>
                    <a:pt x="175" y="892"/>
                    <a:pt x="175" y="892"/>
                    <a:pt x="175" y="892"/>
                  </a:cubicBezTo>
                  <a:cubicBezTo>
                    <a:pt x="175" y="892"/>
                    <a:pt x="175" y="892"/>
                    <a:pt x="175" y="892"/>
                  </a:cubicBezTo>
                  <a:cubicBezTo>
                    <a:pt x="174" y="892"/>
                    <a:pt x="174" y="892"/>
                    <a:pt x="174" y="892"/>
                  </a:cubicBezTo>
                  <a:cubicBezTo>
                    <a:pt x="174" y="892"/>
                    <a:pt x="174" y="892"/>
                    <a:pt x="174" y="892"/>
                  </a:cubicBezTo>
                  <a:cubicBezTo>
                    <a:pt x="174" y="892"/>
                    <a:pt x="174" y="892"/>
                    <a:pt x="174" y="892"/>
                  </a:cubicBezTo>
                  <a:cubicBezTo>
                    <a:pt x="174" y="891"/>
                    <a:pt x="174" y="891"/>
                    <a:pt x="174" y="891"/>
                  </a:cubicBezTo>
                  <a:cubicBezTo>
                    <a:pt x="175" y="891"/>
                    <a:pt x="175" y="891"/>
                    <a:pt x="175" y="891"/>
                  </a:cubicBezTo>
                  <a:cubicBezTo>
                    <a:pt x="174" y="891"/>
                    <a:pt x="174" y="891"/>
                    <a:pt x="174" y="891"/>
                  </a:cubicBezTo>
                  <a:cubicBezTo>
                    <a:pt x="173" y="891"/>
                    <a:pt x="173" y="891"/>
                    <a:pt x="173" y="891"/>
                  </a:cubicBezTo>
                  <a:cubicBezTo>
                    <a:pt x="172" y="891"/>
                    <a:pt x="172" y="891"/>
                    <a:pt x="172" y="891"/>
                  </a:cubicBezTo>
                  <a:cubicBezTo>
                    <a:pt x="172" y="891"/>
                    <a:pt x="172" y="891"/>
                    <a:pt x="172" y="891"/>
                  </a:cubicBezTo>
                  <a:cubicBezTo>
                    <a:pt x="172" y="891"/>
                    <a:pt x="172" y="891"/>
                    <a:pt x="172" y="891"/>
                  </a:cubicBezTo>
                  <a:cubicBezTo>
                    <a:pt x="172" y="891"/>
                    <a:pt x="172" y="891"/>
                    <a:pt x="172" y="891"/>
                  </a:cubicBezTo>
                  <a:cubicBezTo>
                    <a:pt x="171" y="892"/>
                    <a:pt x="171" y="892"/>
                    <a:pt x="171" y="892"/>
                  </a:cubicBezTo>
                  <a:cubicBezTo>
                    <a:pt x="170" y="892"/>
                    <a:pt x="170" y="892"/>
                    <a:pt x="170" y="892"/>
                  </a:cubicBezTo>
                  <a:cubicBezTo>
                    <a:pt x="170" y="893"/>
                    <a:pt x="170" y="893"/>
                    <a:pt x="170" y="893"/>
                  </a:cubicBezTo>
                  <a:cubicBezTo>
                    <a:pt x="170" y="894"/>
                    <a:pt x="170" y="894"/>
                    <a:pt x="170" y="894"/>
                  </a:cubicBezTo>
                  <a:cubicBezTo>
                    <a:pt x="171" y="895"/>
                    <a:pt x="171" y="895"/>
                    <a:pt x="171" y="895"/>
                  </a:cubicBezTo>
                  <a:cubicBezTo>
                    <a:pt x="171" y="895"/>
                    <a:pt x="171" y="895"/>
                    <a:pt x="171" y="895"/>
                  </a:cubicBezTo>
                  <a:cubicBezTo>
                    <a:pt x="170" y="895"/>
                    <a:pt x="170" y="895"/>
                    <a:pt x="170" y="895"/>
                  </a:cubicBezTo>
                  <a:cubicBezTo>
                    <a:pt x="170" y="896"/>
                    <a:pt x="170" y="896"/>
                    <a:pt x="170" y="896"/>
                  </a:cubicBezTo>
                  <a:cubicBezTo>
                    <a:pt x="170" y="896"/>
                    <a:pt x="170" y="896"/>
                    <a:pt x="170" y="896"/>
                  </a:cubicBezTo>
                  <a:cubicBezTo>
                    <a:pt x="170" y="897"/>
                    <a:pt x="170" y="897"/>
                    <a:pt x="170" y="897"/>
                  </a:cubicBezTo>
                  <a:cubicBezTo>
                    <a:pt x="170" y="898"/>
                    <a:pt x="170" y="898"/>
                    <a:pt x="170" y="898"/>
                  </a:cubicBezTo>
                  <a:cubicBezTo>
                    <a:pt x="169" y="898"/>
                    <a:pt x="169" y="898"/>
                    <a:pt x="169" y="898"/>
                  </a:cubicBezTo>
                  <a:cubicBezTo>
                    <a:pt x="168" y="897"/>
                    <a:pt x="168" y="897"/>
                    <a:pt x="168" y="897"/>
                  </a:cubicBezTo>
                  <a:cubicBezTo>
                    <a:pt x="168" y="897"/>
                    <a:pt x="168" y="897"/>
                    <a:pt x="168" y="897"/>
                  </a:cubicBezTo>
                  <a:cubicBezTo>
                    <a:pt x="167" y="897"/>
                    <a:pt x="167" y="897"/>
                    <a:pt x="167" y="897"/>
                  </a:cubicBezTo>
                  <a:cubicBezTo>
                    <a:pt x="167" y="897"/>
                    <a:pt x="167" y="897"/>
                    <a:pt x="167" y="897"/>
                  </a:cubicBezTo>
                  <a:cubicBezTo>
                    <a:pt x="166" y="897"/>
                    <a:pt x="166" y="897"/>
                    <a:pt x="166" y="897"/>
                  </a:cubicBezTo>
                  <a:cubicBezTo>
                    <a:pt x="166" y="896"/>
                    <a:pt x="166" y="896"/>
                    <a:pt x="166" y="896"/>
                  </a:cubicBezTo>
                  <a:cubicBezTo>
                    <a:pt x="165" y="896"/>
                    <a:pt x="165" y="896"/>
                    <a:pt x="165" y="896"/>
                  </a:cubicBezTo>
                  <a:cubicBezTo>
                    <a:pt x="164" y="896"/>
                    <a:pt x="164" y="896"/>
                    <a:pt x="164" y="896"/>
                  </a:cubicBezTo>
                  <a:cubicBezTo>
                    <a:pt x="163" y="896"/>
                    <a:pt x="163" y="896"/>
                    <a:pt x="163" y="896"/>
                  </a:cubicBezTo>
                  <a:cubicBezTo>
                    <a:pt x="163" y="895"/>
                    <a:pt x="163" y="895"/>
                    <a:pt x="163" y="895"/>
                  </a:cubicBezTo>
                  <a:cubicBezTo>
                    <a:pt x="163" y="896"/>
                    <a:pt x="163" y="896"/>
                    <a:pt x="163" y="896"/>
                  </a:cubicBezTo>
                  <a:cubicBezTo>
                    <a:pt x="163" y="896"/>
                    <a:pt x="163" y="896"/>
                    <a:pt x="163" y="896"/>
                  </a:cubicBezTo>
                  <a:cubicBezTo>
                    <a:pt x="163" y="896"/>
                    <a:pt x="163" y="896"/>
                    <a:pt x="163" y="896"/>
                  </a:cubicBezTo>
                  <a:cubicBezTo>
                    <a:pt x="163" y="896"/>
                    <a:pt x="163" y="896"/>
                    <a:pt x="163" y="896"/>
                  </a:cubicBezTo>
                  <a:cubicBezTo>
                    <a:pt x="162" y="896"/>
                    <a:pt x="162" y="896"/>
                    <a:pt x="162" y="896"/>
                  </a:cubicBezTo>
                  <a:cubicBezTo>
                    <a:pt x="162" y="897"/>
                    <a:pt x="162" y="897"/>
                    <a:pt x="162" y="897"/>
                  </a:cubicBezTo>
                  <a:cubicBezTo>
                    <a:pt x="162" y="897"/>
                    <a:pt x="162" y="897"/>
                    <a:pt x="162" y="897"/>
                  </a:cubicBezTo>
                  <a:cubicBezTo>
                    <a:pt x="162" y="898"/>
                    <a:pt x="162" y="898"/>
                    <a:pt x="162" y="898"/>
                  </a:cubicBezTo>
                  <a:cubicBezTo>
                    <a:pt x="162" y="898"/>
                    <a:pt x="162" y="898"/>
                    <a:pt x="162" y="898"/>
                  </a:cubicBezTo>
                  <a:cubicBezTo>
                    <a:pt x="162" y="898"/>
                    <a:pt x="162" y="898"/>
                    <a:pt x="162" y="898"/>
                  </a:cubicBezTo>
                  <a:cubicBezTo>
                    <a:pt x="162" y="897"/>
                    <a:pt x="162" y="897"/>
                    <a:pt x="162" y="897"/>
                  </a:cubicBezTo>
                  <a:cubicBezTo>
                    <a:pt x="161" y="897"/>
                    <a:pt x="161" y="897"/>
                    <a:pt x="161" y="897"/>
                  </a:cubicBezTo>
                  <a:cubicBezTo>
                    <a:pt x="162" y="898"/>
                    <a:pt x="162" y="898"/>
                    <a:pt x="162" y="898"/>
                  </a:cubicBezTo>
                  <a:cubicBezTo>
                    <a:pt x="162" y="899"/>
                    <a:pt x="162" y="899"/>
                    <a:pt x="162" y="899"/>
                  </a:cubicBezTo>
                  <a:cubicBezTo>
                    <a:pt x="162" y="899"/>
                    <a:pt x="162" y="899"/>
                    <a:pt x="162" y="899"/>
                  </a:cubicBezTo>
                  <a:cubicBezTo>
                    <a:pt x="162" y="899"/>
                    <a:pt x="162" y="899"/>
                    <a:pt x="162" y="899"/>
                  </a:cubicBezTo>
                  <a:cubicBezTo>
                    <a:pt x="162" y="900"/>
                    <a:pt x="162" y="900"/>
                    <a:pt x="162" y="900"/>
                  </a:cubicBezTo>
                  <a:cubicBezTo>
                    <a:pt x="162" y="900"/>
                    <a:pt x="162" y="900"/>
                    <a:pt x="162" y="900"/>
                  </a:cubicBezTo>
                  <a:cubicBezTo>
                    <a:pt x="161" y="900"/>
                    <a:pt x="161" y="900"/>
                    <a:pt x="161" y="900"/>
                  </a:cubicBezTo>
                  <a:cubicBezTo>
                    <a:pt x="160" y="899"/>
                    <a:pt x="160" y="899"/>
                    <a:pt x="160" y="899"/>
                  </a:cubicBezTo>
                  <a:cubicBezTo>
                    <a:pt x="160" y="898"/>
                    <a:pt x="160" y="898"/>
                    <a:pt x="160" y="898"/>
                  </a:cubicBezTo>
                  <a:cubicBezTo>
                    <a:pt x="160" y="898"/>
                    <a:pt x="160" y="898"/>
                    <a:pt x="160" y="898"/>
                  </a:cubicBezTo>
                  <a:cubicBezTo>
                    <a:pt x="160" y="898"/>
                    <a:pt x="160" y="898"/>
                    <a:pt x="160" y="898"/>
                  </a:cubicBezTo>
                  <a:cubicBezTo>
                    <a:pt x="160" y="898"/>
                    <a:pt x="160" y="898"/>
                    <a:pt x="160" y="898"/>
                  </a:cubicBezTo>
                  <a:cubicBezTo>
                    <a:pt x="160" y="898"/>
                    <a:pt x="160" y="898"/>
                    <a:pt x="160" y="898"/>
                  </a:cubicBezTo>
                  <a:cubicBezTo>
                    <a:pt x="159" y="898"/>
                    <a:pt x="159" y="898"/>
                    <a:pt x="159" y="898"/>
                  </a:cubicBezTo>
                  <a:cubicBezTo>
                    <a:pt x="159" y="899"/>
                    <a:pt x="159" y="899"/>
                    <a:pt x="159" y="899"/>
                  </a:cubicBezTo>
                  <a:cubicBezTo>
                    <a:pt x="159" y="898"/>
                    <a:pt x="159" y="898"/>
                    <a:pt x="159" y="898"/>
                  </a:cubicBezTo>
                  <a:cubicBezTo>
                    <a:pt x="159" y="898"/>
                    <a:pt x="159" y="898"/>
                    <a:pt x="159" y="898"/>
                  </a:cubicBezTo>
                  <a:cubicBezTo>
                    <a:pt x="158" y="897"/>
                    <a:pt x="158" y="897"/>
                    <a:pt x="158" y="897"/>
                  </a:cubicBezTo>
                  <a:cubicBezTo>
                    <a:pt x="158" y="897"/>
                    <a:pt x="158" y="897"/>
                    <a:pt x="158" y="897"/>
                  </a:cubicBezTo>
                  <a:cubicBezTo>
                    <a:pt x="158" y="897"/>
                    <a:pt x="158" y="897"/>
                    <a:pt x="158" y="897"/>
                  </a:cubicBezTo>
                  <a:cubicBezTo>
                    <a:pt x="158" y="897"/>
                    <a:pt x="158" y="897"/>
                    <a:pt x="158" y="897"/>
                  </a:cubicBezTo>
                  <a:cubicBezTo>
                    <a:pt x="158" y="897"/>
                    <a:pt x="158" y="897"/>
                    <a:pt x="158" y="897"/>
                  </a:cubicBezTo>
                  <a:cubicBezTo>
                    <a:pt x="158" y="897"/>
                    <a:pt x="158" y="897"/>
                    <a:pt x="158" y="897"/>
                  </a:cubicBezTo>
                  <a:cubicBezTo>
                    <a:pt x="158" y="896"/>
                    <a:pt x="158" y="896"/>
                    <a:pt x="158" y="896"/>
                  </a:cubicBezTo>
                  <a:cubicBezTo>
                    <a:pt x="158" y="896"/>
                    <a:pt x="158" y="896"/>
                    <a:pt x="158" y="896"/>
                  </a:cubicBezTo>
                  <a:cubicBezTo>
                    <a:pt x="158" y="896"/>
                    <a:pt x="158" y="896"/>
                    <a:pt x="158" y="896"/>
                  </a:cubicBezTo>
                  <a:cubicBezTo>
                    <a:pt x="158" y="895"/>
                    <a:pt x="158" y="895"/>
                    <a:pt x="158" y="895"/>
                  </a:cubicBezTo>
                  <a:cubicBezTo>
                    <a:pt x="157" y="896"/>
                    <a:pt x="157" y="896"/>
                    <a:pt x="157" y="896"/>
                  </a:cubicBezTo>
                  <a:cubicBezTo>
                    <a:pt x="156" y="896"/>
                    <a:pt x="156" y="896"/>
                    <a:pt x="156" y="896"/>
                  </a:cubicBezTo>
                  <a:cubicBezTo>
                    <a:pt x="156" y="896"/>
                    <a:pt x="156" y="896"/>
                    <a:pt x="156" y="896"/>
                  </a:cubicBezTo>
                  <a:cubicBezTo>
                    <a:pt x="155" y="896"/>
                    <a:pt x="155" y="896"/>
                    <a:pt x="155" y="896"/>
                  </a:cubicBezTo>
                  <a:cubicBezTo>
                    <a:pt x="155" y="897"/>
                    <a:pt x="155" y="897"/>
                    <a:pt x="155" y="897"/>
                  </a:cubicBezTo>
                  <a:cubicBezTo>
                    <a:pt x="155" y="897"/>
                    <a:pt x="155" y="897"/>
                    <a:pt x="155" y="897"/>
                  </a:cubicBezTo>
                  <a:cubicBezTo>
                    <a:pt x="155" y="897"/>
                    <a:pt x="155" y="897"/>
                    <a:pt x="155" y="897"/>
                  </a:cubicBezTo>
                  <a:cubicBezTo>
                    <a:pt x="155" y="897"/>
                    <a:pt x="155" y="897"/>
                    <a:pt x="155" y="897"/>
                  </a:cubicBezTo>
                  <a:cubicBezTo>
                    <a:pt x="155" y="897"/>
                    <a:pt x="155" y="897"/>
                    <a:pt x="155" y="897"/>
                  </a:cubicBezTo>
                  <a:cubicBezTo>
                    <a:pt x="155" y="897"/>
                    <a:pt x="155" y="897"/>
                    <a:pt x="155" y="897"/>
                  </a:cubicBezTo>
                  <a:cubicBezTo>
                    <a:pt x="155" y="897"/>
                    <a:pt x="155" y="897"/>
                    <a:pt x="155" y="897"/>
                  </a:cubicBezTo>
                  <a:cubicBezTo>
                    <a:pt x="155" y="897"/>
                    <a:pt x="155" y="897"/>
                    <a:pt x="155" y="897"/>
                  </a:cubicBezTo>
                  <a:cubicBezTo>
                    <a:pt x="154" y="897"/>
                    <a:pt x="154" y="897"/>
                    <a:pt x="154" y="897"/>
                  </a:cubicBezTo>
                  <a:cubicBezTo>
                    <a:pt x="154" y="897"/>
                    <a:pt x="154" y="897"/>
                    <a:pt x="154" y="897"/>
                  </a:cubicBezTo>
                  <a:cubicBezTo>
                    <a:pt x="153" y="897"/>
                    <a:pt x="153" y="897"/>
                    <a:pt x="153" y="897"/>
                  </a:cubicBezTo>
                  <a:cubicBezTo>
                    <a:pt x="152" y="897"/>
                    <a:pt x="152" y="897"/>
                    <a:pt x="152" y="897"/>
                  </a:cubicBezTo>
                  <a:cubicBezTo>
                    <a:pt x="152" y="897"/>
                    <a:pt x="152" y="897"/>
                    <a:pt x="152" y="897"/>
                  </a:cubicBezTo>
                  <a:cubicBezTo>
                    <a:pt x="152" y="898"/>
                    <a:pt x="152" y="898"/>
                    <a:pt x="152" y="898"/>
                  </a:cubicBezTo>
                  <a:cubicBezTo>
                    <a:pt x="151" y="898"/>
                    <a:pt x="151" y="898"/>
                    <a:pt x="151" y="898"/>
                  </a:cubicBezTo>
                  <a:cubicBezTo>
                    <a:pt x="151" y="899"/>
                    <a:pt x="151" y="899"/>
                    <a:pt x="151" y="899"/>
                  </a:cubicBezTo>
                  <a:cubicBezTo>
                    <a:pt x="151" y="899"/>
                    <a:pt x="151" y="899"/>
                    <a:pt x="151" y="899"/>
                  </a:cubicBezTo>
                  <a:cubicBezTo>
                    <a:pt x="151" y="899"/>
                    <a:pt x="151" y="899"/>
                    <a:pt x="151" y="899"/>
                  </a:cubicBezTo>
                  <a:cubicBezTo>
                    <a:pt x="151" y="899"/>
                    <a:pt x="151" y="899"/>
                    <a:pt x="151" y="899"/>
                  </a:cubicBezTo>
                  <a:cubicBezTo>
                    <a:pt x="150" y="899"/>
                    <a:pt x="150" y="899"/>
                    <a:pt x="150" y="899"/>
                  </a:cubicBezTo>
                  <a:cubicBezTo>
                    <a:pt x="150" y="899"/>
                    <a:pt x="150" y="899"/>
                    <a:pt x="150" y="899"/>
                  </a:cubicBezTo>
                  <a:cubicBezTo>
                    <a:pt x="150" y="899"/>
                    <a:pt x="150" y="899"/>
                    <a:pt x="150" y="899"/>
                  </a:cubicBezTo>
                  <a:cubicBezTo>
                    <a:pt x="149" y="899"/>
                    <a:pt x="149" y="899"/>
                    <a:pt x="149" y="899"/>
                  </a:cubicBezTo>
                  <a:cubicBezTo>
                    <a:pt x="148" y="900"/>
                    <a:pt x="148" y="900"/>
                    <a:pt x="148" y="900"/>
                  </a:cubicBezTo>
                  <a:cubicBezTo>
                    <a:pt x="148" y="898"/>
                    <a:pt x="148" y="898"/>
                    <a:pt x="148" y="898"/>
                  </a:cubicBezTo>
                  <a:cubicBezTo>
                    <a:pt x="148" y="898"/>
                    <a:pt x="148" y="898"/>
                    <a:pt x="148" y="898"/>
                  </a:cubicBezTo>
                  <a:cubicBezTo>
                    <a:pt x="147" y="898"/>
                    <a:pt x="147" y="898"/>
                    <a:pt x="147" y="898"/>
                  </a:cubicBezTo>
                  <a:cubicBezTo>
                    <a:pt x="146" y="898"/>
                    <a:pt x="146" y="898"/>
                    <a:pt x="146" y="898"/>
                  </a:cubicBezTo>
                  <a:cubicBezTo>
                    <a:pt x="145" y="899"/>
                    <a:pt x="145" y="899"/>
                    <a:pt x="145" y="899"/>
                  </a:cubicBezTo>
                  <a:cubicBezTo>
                    <a:pt x="144" y="899"/>
                    <a:pt x="144" y="899"/>
                    <a:pt x="144" y="899"/>
                  </a:cubicBezTo>
                  <a:cubicBezTo>
                    <a:pt x="144" y="899"/>
                    <a:pt x="144" y="899"/>
                    <a:pt x="144" y="899"/>
                  </a:cubicBezTo>
                  <a:cubicBezTo>
                    <a:pt x="145" y="899"/>
                    <a:pt x="145" y="899"/>
                    <a:pt x="145" y="899"/>
                  </a:cubicBezTo>
                  <a:cubicBezTo>
                    <a:pt x="145" y="899"/>
                    <a:pt x="145" y="899"/>
                    <a:pt x="145" y="899"/>
                  </a:cubicBezTo>
                  <a:cubicBezTo>
                    <a:pt x="144" y="899"/>
                    <a:pt x="144" y="899"/>
                    <a:pt x="144" y="899"/>
                  </a:cubicBezTo>
                  <a:cubicBezTo>
                    <a:pt x="143" y="900"/>
                    <a:pt x="143" y="900"/>
                    <a:pt x="143" y="900"/>
                  </a:cubicBezTo>
                  <a:cubicBezTo>
                    <a:pt x="143" y="900"/>
                    <a:pt x="143" y="900"/>
                    <a:pt x="143" y="900"/>
                  </a:cubicBezTo>
                  <a:cubicBezTo>
                    <a:pt x="140" y="900"/>
                    <a:pt x="140" y="900"/>
                    <a:pt x="140" y="900"/>
                  </a:cubicBezTo>
                  <a:cubicBezTo>
                    <a:pt x="140" y="900"/>
                    <a:pt x="140" y="900"/>
                    <a:pt x="140" y="900"/>
                  </a:cubicBezTo>
                  <a:cubicBezTo>
                    <a:pt x="141" y="900"/>
                    <a:pt x="141" y="900"/>
                    <a:pt x="141" y="900"/>
                  </a:cubicBezTo>
                  <a:cubicBezTo>
                    <a:pt x="141" y="901"/>
                    <a:pt x="141" y="901"/>
                    <a:pt x="141" y="901"/>
                  </a:cubicBezTo>
                  <a:cubicBezTo>
                    <a:pt x="141" y="901"/>
                    <a:pt x="141" y="901"/>
                    <a:pt x="141" y="901"/>
                  </a:cubicBezTo>
                  <a:cubicBezTo>
                    <a:pt x="140" y="901"/>
                    <a:pt x="140" y="901"/>
                    <a:pt x="140" y="901"/>
                  </a:cubicBezTo>
                  <a:cubicBezTo>
                    <a:pt x="141" y="901"/>
                    <a:pt x="141" y="901"/>
                    <a:pt x="141" y="901"/>
                  </a:cubicBezTo>
                  <a:cubicBezTo>
                    <a:pt x="141" y="901"/>
                    <a:pt x="141" y="901"/>
                    <a:pt x="141" y="901"/>
                  </a:cubicBezTo>
                  <a:cubicBezTo>
                    <a:pt x="139" y="901"/>
                    <a:pt x="139" y="901"/>
                    <a:pt x="139" y="901"/>
                  </a:cubicBezTo>
                  <a:cubicBezTo>
                    <a:pt x="139" y="901"/>
                    <a:pt x="139" y="901"/>
                    <a:pt x="139" y="901"/>
                  </a:cubicBezTo>
                  <a:cubicBezTo>
                    <a:pt x="139" y="902"/>
                    <a:pt x="139" y="902"/>
                    <a:pt x="139" y="902"/>
                  </a:cubicBezTo>
                  <a:cubicBezTo>
                    <a:pt x="140" y="903"/>
                    <a:pt x="140" y="903"/>
                    <a:pt x="140" y="903"/>
                  </a:cubicBezTo>
                  <a:cubicBezTo>
                    <a:pt x="139" y="903"/>
                    <a:pt x="139" y="903"/>
                    <a:pt x="139" y="903"/>
                  </a:cubicBezTo>
                  <a:cubicBezTo>
                    <a:pt x="138" y="902"/>
                    <a:pt x="138" y="902"/>
                    <a:pt x="138" y="902"/>
                  </a:cubicBezTo>
                  <a:cubicBezTo>
                    <a:pt x="138" y="902"/>
                    <a:pt x="138" y="902"/>
                    <a:pt x="138" y="902"/>
                  </a:cubicBezTo>
                  <a:cubicBezTo>
                    <a:pt x="137" y="902"/>
                    <a:pt x="137" y="902"/>
                    <a:pt x="137" y="902"/>
                  </a:cubicBezTo>
                  <a:cubicBezTo>
                    <a:pt x="136" y="903"/>
                    <a:pt x="136" y="903"/>
                    <a:pt x="136" y="903"/>
                  </a:cubicBezTo>
                  <a:cubicBezTo>
                    <a:pt x="136" y="903"/>
                    <a:pt x="136" y="903"/>
                    <a:pt x="136" y="903"/>
                  </a:cubicBezTo>
                  <a:cubicBezTo>
                    <a:pt x="136" y="903"/>
                    <a:pt x="136" y="903"/>
                    <a:pt x="136" y="903"/>
                  </a:cubicBezTo>
                  <a:cubicBezTo>
                    <a:pt x="136" y="903"/>
                    <a:pt x="136" y="903"/>
                    <a:pt x="136" y="903"/>
                  </a:cubicBezTo>
                  <a:cubicBezTo>
                    <a:pt x="135" y="903"/>
                    <a:pt x="135" y="903"/>
                    <a:pt x="135" y="903"/>
                  </a:cubicBezTo>
                  <a:cubicBezTo>
                    <a:pt x="135" y="903"/>
                    <a:pt x="135" y="903"/>
                    <a:pt x="135" y="903"/>
                  </a:cubicBezTo>
                  <a:cubicBezTo>
                    <a:pt x="134" y="905"/>
                    <a:pt x="134" y="905"/>
                    <a:pt x="134" y="905"/>
                  </a:cubicBezTo>
                  <a:cubicBezTo>
                    <a:pt x="134" y="906"/>
                    <a:pt x="134" y="906"/>
                    <a:pt x="134" y="906"/>
                  </a:cubicBezTo>
                  <a:cubicBezTo>
                    <a:pt x="135" y="907"/>
                    <a:pt x="135" y="907"/>
                    <a:pt x="135" y="907"/>
                  </a:cubicBezTo>
                  <a:cubicBezTo>
                    <a:pt x="135" y="907"/>
                    <a:pt x="135" y="907"/>
                    <a:pt x="135" y="907"/>
                  </a:cubicBezTo>
                  <a:cubicBezTo>
                    <a:pt x="134" y="907"/>
                    <a:pt x="134" y="907"/>
                    <a:pt x="134" y="907"/>
                  </a:cubicBezTo>
                  <a:cubicBezTo>
                    <a:pt x="134" y="908"/>
                    <a:pt x="134" y="908"/>
                    <a:pt x="134" y="908"/>
                  </a:cubicBezTo>
                  <a:cubicBezTo>
                    <a:pt x="134" y="909"/>
                    <a:pt x="134" y="909"/>
                    <a:pt x="134" y="909"/>
                  </a:cubicBezTo>
                  <a:cubicBezTo>
                    <a:pt x="134" y="910"/>
                    <a:pt x="134" y="910"/>
                    <a:pt x="134" y="910"/>
                  </a:cubicBezTo>
                  <a:cubicBezTo>
                    <a:pt x="134" y="911"/>
                    <a:pt x="134" y="911"/>
                    <a:pt x="134" y="911"/>
                  </a:cubicBezTo>
                  <a:cubicBezTo>
                    <a:pt x="134" y="911"/>
                    <a:pt x="134" y="911"/>
                    <a:pt x="134" y="911"/>
                  </a:cubicBezTo>
                  <a:cubicBezTo>
                    <a:pt x="134" y="911"/>
                    <a:pt x="134" y="911"/>
                    <a:pt x="134" y="911"/>
                  </a:cubicBezTo>
                  <a:cubicBezTo>
                    <a:pt x="134" y="912"/>
                    <a:pt x="134" y="912"/>
                    <a:pt x="134" y="912"/>
                  </a:cubicBezTo>
                  <a:cubicBezTo>
                    <a:pt x="134" y="913"/>
                    <a:pt x="134" y="913"/>
                    <a:pt x="134" y="913"/>
                  </a:cubicBezTo>
                  <a:cubicBezTo>
                    <a:pt x="134" y="913"/>
                    <a:pt x="134" y="913"/>
                    <a:pt x="134" y="913"/>
                  </a:cubicBezTo>
                  <a:cubicBezTo>
                    <a:pt x="136" y="913"/>
                    <a:pt x="136" y="913"/>
                    <a:pt x="136" y="913"/>
                  </a:cubicBezTo>
                  <a:cubicBezTo>
                    <a:pt x="136" y="913"/>
                    <a:pt x="136" y="913"/>
                    <a:pt x="136" y="913"/>
                  </a:cubicBezTo>
                  <a:cubicBezTo>
                    <a:pt x="136" y="913"/>
                    <a:pt x="136" y="913"/>
                    <a:pt x="136" y="913"/>
                  </a:cubicBezTo>
                  <a:cubicBezTo>
                    <a:pt x="136" y="912"/>
                    <a:pt x="136" y="912"/>
                    <a:pt x="136" y="912"/>
                  </a:cubicBezTo>
                  <a:cubicBezTo>
                    <a:pt x="136" y="912"/>
                    <a:pt x="136" y="912"/>
                    <a:pt x="136" y="912"/>
                  </a:cubicBezTo>
                  <a:cubicBezTo>
                    <a:pt x="137" y="912"/>
                    <a:pt x="137" y="912"/>
                    <a:pt x="137" y="912"/>
                  </a:cubicBezTo>
                  <a:cubicBezTo>
                    <a:pt x="138" y="913"/>
                    <a:pt x="138" y="913"/>
                    <a:pt x="138" y="913"/>
                  </a:cubicBezTo>
                  <a:cubicBezTo>
                    <a:pt x="139" y="913"/>
                    <a:pt x="139" y="913"/>
                    <a:pt x="139" y="913"/>
                  </a:cubicBezTo>
                  <a:cubicBezTo>
                    <a:pt x="139" y="913"/>
                    <a:pt x="139" y="913"/>
                    <a:pt x="139" y="913"/>
                  </a:cubicBezTo>
                  <a:cubicBezTo>
                    <a:pt x="140" y="912"/>
                    <a:pt x="140" y="912"/>
                    <a:pt x="140" y="912"/>
                  </a:cubicBezTo>
                  <a:cubicBezTo>
                    <a:pt x="141" y="912"/>
                    <a:pt x="141" y="912"/>
                    <a:pt x="141" y="912"/>
                  </a:cubicBezTo>
                  <a:cubicBezTo>
                    <a:pt x="143" y="911"/>
                    <a:pt x="143" y="911"/>
                    <a:pt x="143" y="911"/>
                  </a:cubicBezTo>
                  <a:cubicBezTo>
                    <a:pt x="144" y="910"/>
                    <a:pt x="144" y="910"/>
                    <a:pt x="144" y="910"/>
                  </a:cubicBezTo>
                  <a:cubicBezTo>
                    <a:pt x="146" y="910"/>
                    <a:pt x="146" y="910"/>
                    <a:pt x="146" y="910"/>
                  </a:cubicBezTo>
                  <a:cubicBezTo>
                    <a:pt x="147" y="910"/>
                    <a:pt x="147" y="910"/>
                    <a:pt x="147" y="910"/>
                  </a:cubicBezTo>
                  <a:cubicBezTo>
                    <a:pt x="148" y="909"/>
                    <a:pt x="148" y="909"/>
                    <a:pt x="148" y="909"/>
                  </a:cubicBezTo>
                  <a:cubicBezTo>
                    <a:pt x="148" y="909"/>
                    <a:pt x="148" y="909"/>
                    <a:pt x="148" y="909"/>
                  </a:cubicBezTo>
                  <a:cubicBezTo>
                    <a:pt x="145" y="911"/>
                    <a:pt x="145" y="911"/>
                    <a:pt x="145" y="911"/>
                  </a:cubicBezTo>
                  <a:cubicBezTo>
                    <a:pt x="145" y="911"/>
                    <a:pt x="145" y="911"/>
                    <a:pt x="145" y="911"/>
                  </a:cubicBezTo>
                  <a:cubicBezTo>
                    <a:pt x="144" y="913"/>
                    <a:pt x="144" y="913"/>
                    <a:pt x="144" y="913"/>
                  </a:cubicBezTo>
                  <a:cubicBezTo>
                    <a:pt x="144" y="913"/>
                    <a:pt x="144" y="913"/>
                    <a:pt x="144" y="913"/>
                  </a:cubicBezTo>
                  <a:cubicBezTo>
                    <a:pt x="144" y="913"/>
                    <a:pt x="144" y="913"/>
                    <a:pt x="144" y="913"/>
                  </a:cubicBezTo>
                  <a:cubicBezTo>
                    <a:pt x="144" y="913"/>
                    <a:pt x="144" y="913"/>
                    <a:pt x="144" y="913"/>
                  </a:cubicBezTo>
                  <a:cubicBezTo>
                    <a:pt x="145" y="913"/>
                    <a:pt x="145" y="913"/>
                    <a:pt x="145" y="913"/>
                  </a:cubicBezTo>
                  <a:cubicBezTo>
                    <a:pt x="145" y="913"/>
                    <a:pt x="145" y="913"/>
                    <a:pt x="145" y="913"/>
                  </a:cubicBezTo>
                  <a:cubicBezTo>
                    <a:pt x="145" y="913"/>
                    <a:pt x="145" y="913"/>
                    <a:pt x="145" y="913"/>
                  </a:cubicBezTo>
                  <a:cubicBezTo>
                    <a:pt x="145" y="913"/>
                    <a:pt x="145" y="913"/>
                    <a:pt x="145" y="913"/>
                  </a:cubicBezTo>
                  <a:cubicBezTo>
                    <a:pt x="145" y="913"/>
                    <a:pt x="145" y="913"/>
                    <a:pt x="145" y="913"/>
                  </a:cubicBezTo>
                  <a:cubicBezTo>
                    <a:pt x="146" y="913"/>
                    <a:pt x="146" y="913"/>
                    <a:pt x="146" y="913"/>
                  </a:cubicBezTo>
                  <a:cubicBezTo>
                    <a:pt x="147" y="913"/>
                    <a:pt x="147" y="913"/>
                    <a:pt x="147" y="913"/>
                  </a:cubicBezTo>
                  <a:cubicBezTo>
                    <a:pt x="147" y="913"/>
                    <a:pt x="147" y="913"/>
                    <a:pt x="147" y="913"/>
                  </a:cubicBezTo>
                  <a:cubicBezTo>
                    <a:pt x="147" y="913"/>
                    <a:pt x="147" y="913"/>
                    <a:pt x="147" y="913"/>
                  </a:cubicBezTo>
                  <a:cubicBezTo>
                    <a:pt x="147" y="912"/>
                    <a:pt x="147" y="912"/>
                    <a:pt x="147" y="912"/>
                  </a:cubicBezTo>
                  <a:cubicBezTo>
                    <a:pt x="147" y="912"/>
                    <a:pt x="147" y="912"/>
                    <a:pt x="147" y="912"/>
                  </a:cubicBezTo>
                  <a:cubicBezTo>
                    <a:pt x="148" y="912"/>
                    <a:pt x="148" y="912"/>
                    <a:pt x="148" y="912"/>
                  </a:cubicBezTo>
                  <a:cubicBezTo>
                    <a:pt x="148" y="912"/>
                    <a:pt x="148" y="912"/>
                    <a:pt x="148" y="912"/>
                  </a:cubicBezTo>
                  <a:cubicBezTo>
                    <a:pt x="147" y="912"/>
                    <a:pt x="147" y="912"/>
                    <a:pt x="147" y="912"/>
                  </a:cubicBezTo>
                  <a:cubicBezTo>
                    <a:pt x="147" y="913"/>
                    <a:pt x="147" y="913"/>
                    <a:pt x="147" y="913"/>
                  </a:cubicBezTo>
                  <a:cubicBezTo>
                    <a:pt x="148" y="913"/>
                    <a:pt x="148" y="913"/>
                    <a:pt x="148" y="913"/>
                  </a:cubicBezTo>
                  <a:cubicBezTo>
                    <a:pt x="148" y="912"/>
                    <a:pt x="148" y="912"/>
                    <a:pt x="148" y="912"/>
                  </a:cubicBezTo>
                  <a:cubicBezTo>
                    <a:pt x="149" y="912"/>
                    <a:pt x="149" y="912"/>
                    <a:pt x="149" y="912"/>
                  </a:cubicBezTo>
                  <a:cubicBezTo>
                    <a:pt x="148" y="913"/>
                    <a:pt x="148" y="913"/>
                    <a:pt x="148" y="913"/>
                  </a:cubicBezTo>
                  <a:cubicBezTo>
                    <a:pt x="148" y="913"/>
                    <a:pt x="148" y="913"/>
                    <a:pt x="148" y="913"/>
                  </a:cubicBezTo>
                  <a:cubicBezTo>
                    <a:pt x="148" y="913"/>
                    <a:pt x="148" y="913"/>
                    <a:pt x="148" y="913"/>
                  </a:cubicBezTo>
                  <a:cubicBezTo>
                    <a:pt x="148" y="913"/>
                    <a:pt x="148" y="913"/>
                    <a:pt x="148" y="913"/>
                  </a:cubicBezTo>
                  <a:cubicBezTo>
                    <a:pt x="148" y="913"/>
                    <a:pt x="148" y="913"/>
                    <a:pt x="148" y="913"/>
                  </a:cubicBezTo>
                  <a:cubicBezTo>
                    <a:pt x="148" y="913"/>
                    <a:pt x="148" y="913"/>
                    <a:pt x="148" y="913"/>
                  </a:cubicBezTo>
                  <a:cubicBezTo>
                    <a:pt x="147" y="914"/>
                    <a:pt x="147" y="914"/>
                    <a:pt x="147" y="914"/>
                  </a:cubicBezTo>
                  <a:cubicBezTo>
                    <a:pt x="149" y="914"/>
                    <a:pt x="149" y="914"/>
                    <a:pt x="149" y="914"/>
                  </a:cubicBezTo>
                  <a:cubicBezTo>
                    <a:pt x="149" y="914"/>
                    <a:pt x="149" y="914"/>
                    <a:pt x="149" y="914"/>
                  </a:cubicBezTo>
                  <a:cubicBezTo>
                    <a:pt x="149" y="914"/>
                    <a:pt x="149" y="914"/>
                    <a:pt x="149" y="914"/>
                  </a:cubicBezTo>
                  <a:cubicBezTo>
                    <a:pt x="149" y="914"/>
                    <a:pt x="149" y="914"/>
                    <a:pt x="149" y="914"/>
                  </a:cubicBezTo>
                  <a:cubicBezTo>
                    <a:pt x="150" y="914"/>
                    <a:pt x="150" y="914"/>
                    <a:pt x="150" y="914"/>
                  </a:cubicBezTo>
                  <a:cubicBezTo>
                    <a:pt x="150" y="914"/>
                    <a:pt x="150" y="914"/>
                    <a:pt x="150" y="914"/>
                  </a:cubicBezTo>
                  <a:cubicBezTo>
                    <a:pt x="150" y="914"/>
                    <a:pt x="150" y="914"/>
                    <a:pt x="150" y="914"/>
                  </a:cubicBezTo>
                  <a:cubicBezTo>
                    <a:pt x="151" y="915"/>
                    <a:pt x="151" y="915"/>
                    <a:pt x="151" y="915"/>
                  </a:cubicBezTo>
                  <a:cubicBezTo>
                    <a:pt x="152" y="915"/>
                    <a:pt x="152" y="915"/>
                    <a:pt x="152" y="915"/>
                  </a:cubicBezTo>
                  <a:cubicBezTo>
                    <a:pt x="152" y="915"/>
                    <a:pt x="152" y="915"/>
                    <a:pt x="152" y="915"/>
                  </a:cubicBezTo>
                  <a:cubicBezTo>
                    <a:pt x="149" y="915"/>
                    <a:pt x="149" y="915"/>
                    <a:pt x="149" y="915"/>
                  </a:cubicBezTo>
                  <a:cubicBezTo>
                    <a:pt x="148" y="915"/>
                    <a:pt x="148" y="915"/>
                    <a:pt x="148" y="915"/>
                  </a:cubicBezTo>
                  <a:cubicBezTo>
                    <a:pt x="149" y="915"/>
                    <a:pt x="149" y="915"/>
                    <a:pt x="149" y="915"/>
                  </a:cubicBezTo>
                  <a:cubicBezTo>
                    <a:pt x="149" y="915"/>
                    <a:pt x="149" y="915"/>
                    <a:pt x="149" y="915"/>
                  </a:cubicBezTo>
                  <a:cubicBezTo>
                    <a:pt x="149" y="915"/>
                    <a:pt x="149" y="915"/>
                    <a:pt x="149" y="915"/>
                  </a:cubicBezTo>
                  <a:cubicBezTo>
                    <a:pt x="147" y="915"/>
                    <a:pt x="147" y="915"/>
                    <a:pt x="147" y="915"/>
                  </a:cubicBezTo>
                  <a:cubicBezTo>
                    <a:pt x="146" y="915"/>
                    <a:pt x="146" y="915"/>
                    <a:pt x="146" y="915"/>
                  </a:cubicBezTo>
                  <a:cubicBezTo>
                    <a:pt x="145" y="915"/>
                    <a:pt x="145" y="915"/>
                    <a:pt x="145" y="915"/>
                  </a:cubicBezTo>
                  <a:cubicBezTo>
                    <a:pt x="145" y="915"/>
                    <a:pt x="145" y="915"/>
                    <a:pt x="145" y="915"/>
                  </a:cubicBezTo>
                  <a:cubicBezTo>
                    <a:pt x="145" y="915"/>
                    <a:pt x="145" y="915"/>
                    <a:pt x="145" y="915"/>
                  </a:cubicBezTo>
                  <a:cubicBezTo>
                    <a:pt x="145" y="915"/>
                    <a:pt x="145" y="915"/>
                    <a:pt x="145" y="915"/>
                  </a:cubicBezTo>
                  <a:cubicBezTo>
                    <a:pt x="144" y="915"/>
                    <a:pt x="144" y="915"/>
                    <a:pt x="144" y="915"/>
                  </a:cubicBezTo>
                  <a:cubicBezTo>
                    <a:pt x="142" y="915"/>
                    <a:pt x="142" y="915"/>
                    <a:pt x="142" y="915"/>
                  </a:cubicBezTo>
                  <a:cubicBezTo>
                    <a:pt x="141" y="915"/>
                    <a:pt x="141" y="915"/>
                    <a:pt x="141" y="915"/>
                  </a:cubicBezTo>
                  <a:cubicBezTo>
                    <a:pt x="141" y="913"/>
                    <a:pt x="141" y="913"/>
                    <a:pt x="141" y="913"/>
                  </a:cubicBezTo>
                  <a:cubicBezTo>
                    <a:pt x="141" y="913"/>
                    <a:pt x="141" y="913"/>
                    <a:pt x="141" y="913"/>
                  </a:cubicBezTo>
                  <a:cubicBezTo>
                    <a:pt x="140" y="913"/>
                    <a:pt x="140" y="913"/>
                    <a:pt x="140" y="913"/>
                  </a:cubicBezTo>
                  <a:cubicBezTo>
                    <a:pt x="140" y="915"/>
                    <a:pt x="140" y="915"/>
                    <a:pt x="140" y="915"/>
                  </a:cubicBezTo>
                  <a:cubicBezTo>
                    <a:pt x="140" y="915"/>
                    <a:pt x="140" y="915"/>
                    <a:pt x="140" y="915"/>
                  </a:cubicBezTo>
                  <a:cubicBezTo>
                    <a:pt x="140" y="915"/>
                    <a:pt x="140" y="915"/>
                    <a:pt x="140" y="915"/>
                  </a:cubicBezTo>
                  <a:cubicBezTo>
                    <a:pt x="139" y="915"/>
                    <a:pt x="139" y="915"/>
                    <a:pt x="139" y="915"/>
                  </a:cubicBezTo>
                  <a:cubicBezTo>
                    <a:pt x="139" y="915"/>
                    <a:pt x="139" y="915"/>
                    <a:pt x="139" y="915"/>
                  </a:cubicBezTo>
                  <a:cubicBezTo>
                    <a:pt x="139" y="915"/>
                    <a:pt x="139" y="915"/>
                    <a:pt x="139" y="915"/>
                  </a:cubicBezTo>
                  <a:cubicBezTo>
                    <a:pt x="139" y="915"/>
                    <a:pt x="139" y="915"/>
                    <a:pt x="139" y="915"/>
                  </a:cubicBezTo>
                  <a:cubicBezTo>
                    <a:pt x="138" y="915"/>
                    <a:pt x="138" y="915"/>
                    <a:pt x="138" y="915"/>
                  </a:cubicBezTo>
                  <a:cubicBezTo>
                    <a:pt x="138" y="916"/>
                    <a:pt x="138" y="916"/>
                    <a:pt x="138" y="916"/>
                  </a:cubicBezTo>
                  <a:cubicBezTo>
                    <a:pt x="138" y="916"/>
                    <a:pt x="138" y="916"/>
                    <a:pt x="138" y="916"/>
                  </a:cubicBezTo>
                  <a:cubicBezTo>
                    <a:pt x="140" y="916"/>
                    <a:pt x="140" y="916"/>
                    <a:pt x="140" y="916"/>
                  </a:cubicBezTo>
                  <a:cubicBezTo>
                    <a:pt x="141" y="916"/>
                    <a:pt x="141" y="916"/>
                    <a:pt x="141" y="916"/>
                  </a:cubicBezTo>
                  <a:cubicBezTo>
                    <a:pt x="141" y="917"/>
                    <a:pt x="141" y="917"/>
                    <a:pt x="141" y="917"/>
                  </a:cubicBezTo>
                  <a:cubicBezTo>
                    <a:pt x="141" y="917"/>
                    <a:pt x="141" y="917"/>
                    <a:pt x="141" y="917"/>
                  </a:cubicBezTo>
                  <a:cubicBezTo>
                    <a:pt x="140" y="917"/>
                    <a:pt x="140" y="917"/>
                    <a:pt x="140" y="917"/>
                  </a:cubicBezTo>
                  <a:cubicBezTo>
                    <a:pt x="140" y="918"/>
                    <a:pt x="140" y="918"/>
                    <a:pt x="140" y="918"/>
                  </a:cubicBezTo>
                  <a:cubicBezTo>
                    <a:pt x="140" y="918"/>
                    <a:pt x="140" y="918"/>
                    <a:pt x="140" y="918"/>
                  </a:cubicBezTo>
                  <a:cubicBezTo>
                    <a:pt x="141" y="919"/>
                    <a:pt x="141" y="919"/>
                    <a:pt x="141" y="919"/>
                  </a:cubicBezTo>
                  <a:cubicBezTo>
                    <a:pt x="141" y="919"/>
                    <a:pt x="141" y="919"/>
                    <a:pt x="141" y="919"/>
                  </a:cubicBezTo>
                  <a:cubicBezTo>
                    <a:pt x="141" y="919"/>
                    <a:pt x="141" y="919"/>
                    <a:pt x="141" y="919"/>
                  </a:cubicBezTo>
                  <a:cubicBezTo>
                    <a:pt x="140" y="920"/>
                    <a:pt x="140" y="920"/>
                    <a:pt x="140" y="920"/>
                  </a:cubicBezTo>
                  <a:cubicBezTo>
                    <a:pt x="141" y="920"/>
                    <a:pt x="141" y="920"/>
                    <a:pt x="141" y="920"/>
                  </a:cubicBezTo>
                  <a:cubicBezTo>
                    <a:pt x="142" y="919"/>
                    <a:pt x="142" y="919"/>
                    <a:pt x="142" y="919"/>
                  </a:cubicBezTo>
                  <a:cubicBezTo>
                    <a:pt x="142" y="918"/>
                    <a:pt x="142" y="918"/>
                    <a:pt x="142" y="918"/>
                  </a:cubicBezTo>
                  <a:cubicBezTo>
                    <a:pt x="143" y="917"/>
                    <a:pt x="143" y="917"/>
                    <a:pt x="143" y="917"/>
                  </a:cubicBezTo>
                  <a:cubicBezTo>
                    <a:pt x="143" y="917"/>
                    <a:pt x="143" y="917"/>
                    <a:pt x="143" y="917"/>
                  </a:cubicBezTo>
                  <a:cubicBezTo>
                    <a:pt x="145" y="918"/>
                    <a:pt x="145" y="918"/>
                    <a:pt x="145" y="918"/>
                  </a:cubicBezTo>
                  <a:cubicBezTo>
                    <a:pt x="146" y="918"/>
                    <a:pt x="146" y="918"/>
                    <a:pt x="146" y="918"/>
                  </a:cubicBezTo>
                  <a:cubicBezTo>
                    <a:pt x="146" y="918"/>
                    <a:pt x="146" y="918"/>
                    <a:pt x="146" y="918"/>
                  </a:cubicBezTo>
                  <a:cubicBezTo>
                    <a:pt x="146" y="918"/>
                    <a:pt x="146" y="918"/>
                    <a:pt x="146" y="918"/>
                  </a:cubicBezTo>
                  <a:cubicBezTo>
                    <a:pt x="146" y="919"/>
                    <a:pt x="146" y="919"/>
                    <a:pt x="146" y="919"/>
                  </a:cubicBezTo>
                  <a:cubicBezTo>
                    <a:pt x="146" y="919"/>
                    <a:pt x="146" y="919"/>
                    <a:pt x="146" y="919"/>
                  </a:cubicBezTo>
                  <a:cubicBezTo>
                    <a:pt x="148" y="919"/>
                    <a:pt x="148" y="919"/>
                    <a:pt x="148" y="919"/>
                  </a:cubicBezTo>
                  <a:cubicBezTo>
                    <a:pt x="148" y="919"/>
                    <a:pt x="148" y="919"/>
                    <a:pt x="148" y="919"/>
                  </a:cubicBezTo>
                  <a:cubicBezTo>
                    <a:pt x="148" y="920"/>
                    <a:pt x="148" y="920"/>
                    <a:pt x="148" y="920"/>
                  </a:cubicBezTo>
                  <a:cubicBezTo>
                    <a:pt x="148" y="921"/>
                    <a:pt x="148" y="921"/>
                    <a:pt x="148" y="921"/>
                  </a:cubicBezTo>
                  <a:cubicBezTo>
                    <a:pt x="149" y="921"/>
                    <a:pt x="149" y="921"/>
                    <a:pt x="149" y="921"/>
                  </a:cubicBezTo>
                  <a:cubicBezTo>
                    <a:pt x="149" y="922"/>
                    <a:pt x="149" y="922"/>
                    <a:pt x="149" y="922"/>
                  </a:cubicBezTo>
                  <a:cubicBezTo>
                    <a:pt x="148" y="923"/>
                    <a:pt x="148" y="923"/>
                    <a:pt x="148" y="923"/>
                  </a:cubicBezTo>
                  <a:cubicBezTo>
                    <a:pt x="148" y="923"/>
                    <a:pt x="148" y="923"/>
                    <a:pt x="148" y="923"/>
                  </a:cubicBezTo>
                  <a:cubicBezTo>
                    <a:pt x="148" y="924"/>
                    <a:pt x="148" y="924"/>
                    <a:pt x="148" y="924"/>
                  </a:cubicBezTo>
                  <a:cubicBezTo>
                    <a:pt x="146" y="923"/>
                    <a:pt x="146" y="923"/>
                    <a:pt x="146" y="923"/>
                  </a:cubicBezTo>
                  <a:cubicBezTo>
                    <a:pt x="137" y="925"/>
                    <a:pt x="137" y="925"/>
                    <a:pt x="137" y="925"/>
                  </a:cubicBezTo>
                  <a:cubicBezTo>
                    <a:pt x="136" y="925"/>
                    <a:pt x="136" y="925"/>
                    <a:pt x="136" y="925"/>
                  </a:cubicBezTo>
                  <a:cubicBezTo>
                    <a:pt x="136" y="925"/>
                    <a:pt x="136" y="925"/>
                    <a:pt x="136" y="925"/>
                  </a:cubicBezTo>
                  <a:cubicBezTo>
                    <a:pt x="136" y="925"/>
                    <a:pt x="136" y="925"/>
                    <a:pt x="136" y="925"/>
                  </a:cubicBezTo>
                  <a:cubicBezTo>
                    <a:pt x="136" y="925"/>
                    <a:pt x="136" y="925"/>
                    <a:pt x="136" y="925"/>
                  </a:cubicBezTo>
                  <a:cubicBezTo>
                    <a:pt x="136" y="925"/>
                    <a:pt x="136" y="925"/>
                    <a:pt x="136" y="925"/>
                  </a:cubicBezTo>
                  <a:cubicBezTo>
                    <a:pt x="136" y="926"/>
                    <a:pt x="136" y="926"/>
                    <a:pt x="136" y="926"/>
                  </a:cubicBezTo>
                  <a:cubicBezTo>
                    <a:pt x="136" y="926"/>
                    <a:pt x="136" y="926"/>
                    <a:pt x="136" y="926"/>
                  </a:cubicBezTo>
                  <a:cubicBezTo>
                    <a:pt x="135" y="926"/>
                    <a:pt x="135" y="926"/>
                    <a:pt x="135" y="926"/>
                  </a:cubicBezTo>
                  <a:cubicBezTo>
                    <a:pt x="135" y="926"/>
                    <a:pt x="135" y="926"/>
                    <a:pt x="135" y="926"/>
                  </a:cubicBezTo>
                  <a:cubicBezTo>
                    <a:pt x="138" y="927"/>
                    <a:pt x="138" y="927"/>
                    <a:pt x="138" y="927"/>
                  </a:cubicBezTo>
                  <a:cubicBezTo>
                    <a:pt x="139" y="927"/>
                    <a:pt x="139" y="927"/>
                    <a:pt x="139" y="927"/>
                  </a:cubicBezTo>
                  <a:cubicBezTo>
                    <a:pt x="139" y="927"/>
                    <a:pt x="139" y="927"/>
                    <a:pt x="139" y="927"/>
                  </a:cubicBezTo>
                  <a:cubicBezTo>
                    <a:pt x="140" y="928"/>
                    <a:pt x="140" y="928"/>
                    <a:pt x="140" y="928"/>
                  </a:cubicBezTo>
                  <a:cubicBezTo>
                    <a:pt x="140" y="928"/>
                    <a:pt x="140" y="928"/>
                    <a:pt x="140" y="928"/>
                  </a:cubicBezTo>
                  <a:cubicBezTo>
                    <a:pt x="141" y="927"/>
                    <a:pt x="141" y="927"/>
                    <a:pt x="141" y="927"/>
                  </a:cubicBezTo>
                  <a:cubicBezTo>
                    <a:pt x="141" y="927"/>
                    <a:pt x="141" y="927"/>
                    <a:pt x="141" y="927"/>
                  </a:cubicBezTo>
                  <a:cubicBezTo>
                    <a:pt x="141" y="927"/>
                    <a:pt x="141" y="927"/>
                    <a:pt x="141" y="927"/>
                  </a:cubicBezTo>
                  <a:cubicBezTo>
                    <a:pt x="144" y="929"/>
                    <a:pt x="144" y="929"/>
                    <a:pt x="144" y="929"/>
                  </a:cubicBezTo>
                  <a:cubicBezTo>
                    <a:pt x="145" y="931"/>
                    <a:pt x="145" y="931"/>
                    <a:pt x="145" y="931"/>
                  </a:cubicBezTo>
                  <a:cubicBezTo>
                    <a:pt x="146" y="932"/>
                    <a:pt x="146" y="932"/>
                    <a:pt x="146" y="932"/>
                  </a:cubicBezTo>
                  <a:cubicBezTo>
                    <a:pt x="146" y="933"/>
                    <a:pt x="146" y="933"/>
                    <a:pt x="146" y="933"/>
                  </a:cubicBezTo>
                  <a:cubicBezTo>
                    <a:pt x="147" y="934"/>
                    <a:pt x="147" y="934"/>
                    <a:pt x="147" y="934"/>
                  </a:cubicBezTo>
                  <a:cubicBezTo>
                    <a:pt x="147" y="935"/>
                    <a:pt x="147" y="935"/>
                    <a:pt x="147" y="935"/>
                  </a:cubicBezTo>
                  <a:cubicBezTo>
                    <a:pt x="147" y="935"/>
                    <a:pt x="147" y="935"/>
                    <a:pt x="147" y="935"/>
                  </a:cubicBezTo>
                  <a:cubicBezTo>
                    <a:pt x="146" y="935"/>
                    <a:pt x="146" y="935"/>
                    <a:pt x="146" y="935"/>
                  </a:cubicBezTo>
                  <a:cubicBezTo>
                    <a:pt x="146" y="935"/>
                    <a:pt x="146" y="935"/>
                    <a:pt x="146" y="935"/>
                  </a:cubicBezTo>
                  <a:cubicBezTo>
                    <a:pt x="146" y="936"/>
                    <a:pt x="146" y="936"/>
                    <a:pt x="146" y="936"/>
                  </a:cubicBezTo>
                  <a:cubicBezTo>
                    <a:pt x="146" y="936"/>
                    <a:pt x="146" y="936"/>
                    <a:pt x="146" y="936"/>
                  </a:cubicBezTo>
                  <a:cubicBezTo>
                    <a:pt x="146" y="936"/>
                    <a:pt x="146" y="936"/>
                    <a:pt x="146" y="936"/>
                  </a:cubicBezTo>
                  <a:cubicBezTo>
                    <a:pt x="146" y="937"/>
                    <a:pt x="146" y="937"/>
                    <a:pt x="146" y="937"/>
                  </a:cubicBezTo>
                  <a:cubicBezTo>
                    <a:pt x="150" y="937"/>
                    <a:pt x="150" y="937"/>
                    <a:pt x="150" y="937"/>
                  </a:cubicBezTo>
                  <a:cubicBezTo>
                    <a:pt x="151" y="937"/>
                    <a:pt x="151" y="937"/>
                    <a:pt x="151" y="937"/>
                  </a:cubicBezTo>
                  <a:cubicBezTo>
                    <a:pt x="152" y="937"/>
                    <a:pt x="152" y="937"/>
                    <a:pt x="152" y="937"/>
                  </a:cubicBezTo>
                  <a:cubicBezTo>
                    <a:pt x="153" y="936"/>
                    <a:pt x="153" y="936"/>
                    <a:pt x="153" y="936"/>
                  </a:cubicBezTo>
                  <a:cubicBezTo>
                    <a:pt x="153" y="935"/>
                    <a:pt x="153" y="935"/>
                    <a:pt x="153" y="935"/>
                  </a:cubicBezTo>
                  <a:cubicBezTo>
                    <a:pt x="152" y="935"/>
                    <a:pt x="152" y="935"/>
                    <a:pt x="152" y="935"/>
                  </a:cubicBezTo>
                  <a:cubicBezTo>
                    <a:pt x="152" y="935"/>
                    <a:pt x="152" y="935"/>
                    <a:pt x="152" y="935"/>
                  </a:cubicBezTo>
                  <a:cubicBezTo>
                    <a:pt x="152" y="935"/>
                    <a:pt x="152" y="935"/>
                    <a:pt x="152" y="935"/>
                  </a:cubicBezTo>
                  <a:cubicBezTo>
                    <a:pt x="152" y="935"/>
                    <a:pt x="152" y="935"/>
                    <a:pt x="152" y="935"/>
                  </a:cubicBezTo>
                  <a:cubicBezTo>
                    <a:pt x="152" y="934"/>
                    <a:pt x="152" y="934"/>
                    <a:pt x="152" y="934"/>
                  </a:cubicBezTo>
                  <a:cubicBezTo>
                    <a:pt x="152" y="934"/>
                    <a:pt x="152" y="934"/>
                    <a:pt x="152" y="934"/>
                  </a:cubicBezTo>
                  <a:cubicBezTo>
                    <a:pt x="152" y="934"/>
                    <a:pt x="152" y="934"/>
                    <a:pt x="152" y="934"/>
                  </a:cubicBezTo>
                  <a:cubicBezTo>
                    <a:pt x="153" y="935"/>
                    <a:pt x="153" y="935"/>
                    <a:pt x="153" y="935"/>
                  </a:cubicBezTo>
                  <a:cubicBezTo>
                    <a:pt x="153" y="934"/>
                    <a:pt x="153" y="934"/>
                    <a:pt x="153" y="934"/>
                  </a:cubicBezTo>
                  <a:cubicBezTo>
                    <a:pt x="153" y="934"/>
                    <a:pt x="153" y="934"/>
                    <a:pt x="153" y="934"/>
                  </a:cubicBezTo>
                  <a:cubicBezTo>
                    <a:pt x="153" y="934"/>
                    <a:pt x="153" y="934"/>
                    <a:pt x="153" y="934"/>
                  </a:cubicBezTo>
                  <a:cubicBezTo>
                    <a:pt x="154" y="934"/>
                    <a:pt x="154" y="934"/>
                    <a:pt x="154" y="934"/>
                  </a:cubicBezTo>
                  <a:cubicBezTo>
                    <a:pt x="154" y="934"/>
                    <a:pt x="154" y="934"/>
                    <a:pt x="154" y="934"/>
                  </a:cubicBezTo>
                  <a:cubicBezTo>
                    <a:pt x="153" y="933"/>
                    <a:pt x="153" y="933"/>
                    <a:pt x="153" y="933"/>
                  </a:cubicBezTo>
                  <a:cubicBezTo>
                    <a:pt x="153" y="933"/>
                    <a:pt x="153" y="933"/>
                    <a:pt x="153" y="933"/>
                  </a:cubicBezTo>
                  <a:cubicBezTo>
                    <a:pt x="153" y="932"/>
                    <a:pt x="153" y="932"/>
                    <a:pt x="153" y="932"/>
                  </a:cubicBezTo>
                  <a:cubicBezTo>
                    <a:pt x="153" y="932"/>
                    <a:pt x="153" y="932"/>
                    <a:pt x="153" y="932"/>
                  </a:cubicBezTo>
                  <a:cubicBezTo>
                    <a:pt x="153" y="932"/>
                    <a:pt x="153" y="932"/>
                    <a:pt x="153" y="932"/>
                  </a:cubicBezTo>
                  <a:cubicBezTo>
                    <a:pt x="154" y="933"/>
                    <a:pt x="154" y="933"/>
                    <a:pt x="154" y="933"/>
                  </a:cubicBezTo>
                  <a:cubicBezTo>
                    <a:pt x="154" y="934"/>
                    <a:pt x="154" y="934"/>
                    <a:pt x="154" y="934"/>
                  </a:cubicBezTo>
                  <a:cubicBezTo>
                    <a:pt x="154" y="934"/>
                    <a:pt x="154" y="934"/>
                    <a:pt x="154" y="934"/>
                  </a:cubicBezTo>
                  <a:cubicBezTo>
                    <a:pt x="155" y="934"/>
                    <a:pt x="155" y="934"/>
                    <a:pt x="155" y="934"/>
                  </a:cubicBezTo>
                  <a:cubicBezTo>
                    <a:pt x="155" y="934"/>
                    <a:pt x="155" y="934"/>
                    <a:pt x="155" y="934"/>
                  </a:cubicBezTo>
                  <a:cubicBezTo>
                    <a:pt x="156" y="935"/>
                    <a:pt x="156" y="935"/>
                    <a:pt x="156" y="935"/>
                  </a:cubicBezTo>
                  <a:cubicBezTo>
                    <a:pt x="156" y="934"/>
                    <a:pt x="156" y="934"/>
                    <a:pt x="156" y="934"/>
                  </a:cubicBezTo>
                  <a:cubicBezTo>
                    <a:pt x="156" y="934"/>
                    <a:pt x="156" y="934"/>
                    <a:pt x="156" y="934"/>
                  </a:cubicBezTo>
                  <a:cubicBezTo>
                    <a:pt x="157" y="934"/>
                    <a:pt x="157" y="934"/>
                    <a:pt x="157" y="934"/>
                  </a:cubicBezTo>
                  <a:cubicBezTo>
                    <a:pt x="157" y="934"/>
                    <a:pt x="157" y="934"/>
                    <a:pt x="157" y="934"/>
                  </a:cubicBezTo>
                  <a:cubicBezTo>
                    <a:pt x="157" y="934"/>
                    <a:pt x="157" y="934"/>
                    <a:pt x="157" y="934"/>
                  </a:cubicBezTo>
                  <a:cubicBezTo>
                    <a:pt x="157" y="935"/>
                    <a:pt x="157" y="935"/>
                    <a:pt x="157" y="935"/>
                  </a:cubicBezTo>
                  <a:cubicBezTo>
                    <a:pt x="157" y="935"/>
                    <a:pt x="157" y="935"/>
                    <a:pt x="157" y="935"/>
                  </a:cubicBezTo>
                  <a:cubicBezTo>
                    <a:pt x="156" y="935"/>
                    <a:pt x="156" y="935"/>
                    <a:pt x="156" y="935"/>
                  </a:cubicBezTo>
                  <a:cubicBezTo>
                    <a:pt x="157" y="935"/>
                    <a:pt x="157" y="935"/>
                    <a:pt x="157" y="935"/>
                  </a:cubicBezTo>
                  <a:cubicBezTo>
                    <a:pt x="158" y="934"/>
                    <a:pt x="158" y="934"/>
                    <a:pt x="158" y="934"/>
                  </a:cubicBezTo>
                  <a:cubicBezTo>
                    <a:pt x="158" y="933"/>
                    <a:pt x="158" y="933"/>
                    <a:pt x="158" y="933"/>
                  </a:cubicBezTo>
                  <a:cubicBezTo>
                    <a:pt x="157" y="932"/>
                    <a:pt x="157" y="932"/>
                    <a:pt x="157" y="932"/>
                  </a:cubicBezTo>
                  <a:cubicBezTo>
                    <a:pt x="158" y="933"/>
                    <a:pt x="158" y="933"/>
                    <a:pt x="158" y="933"/>
                  </a:cubicBezTo>
                  <a:cubicBezTo>
                    <a:pt x="159" y="933"/>
                    <a:pt x="159" y="933"/>
                    <a:pt x="159" y="933"/>
                  </a:cubicBezTo>
                  <a:cubicBezTo>
                    <a:pt x="160" y="934"/>
                    <a:pt x="160" y="934"/>
                    <a:pt x="160" y="934"/>
                  </a:cubicBezTo>
                  <a:cubicBezTo>
                    <a:pt x="160" y="934"/>
                    <a:pt x="160" y="934"/>
                    <a:pt x="160" y="934"/>
                  </a:cubicBezTo>
                  <a:cubicBezTo>
                    <a:pt x="160" y="935"/>
                    <a:pt x="160" y="935"/>
                    <a:pt x="160" y="935"/>
                  </a:cubicBezTo>
                  <a:cubicBezTo>
                    <a:pt x="160" y="935"/>
                    <a:pt x="160" y="935"/>
                    <a:pt x="160" y="935"/>
                  </a:cubicBezTo>
                  <a:cubicBezTo>
                    <a:pt x="161" y="935"/>
                    <a:pt x="161" y="935"/>
                    <a:pt x="161" y="935"/>
                  </a:cubicBezTo>
                  <a:cubicBezTo>
                    <a:pt x="160" y="935"/>
                    <a:pt x="160" y="935"/>
                    <a:pt x="160" y="935"/>
                  </a:cubicBezTo>
                  <a:cubicBezTo>
                    <a:pt x="161" y="935"/>
                    <a:pt x="161" y="935"/>
                    <a:pt x="161" y="935"/>
                  </a:cubicBezTo>
                  <a:cubicBezTo>
                    <a:pt x="161" y="936"/>
                    <a:pt x="161" y="936"/>
                    <a:pt x="161" y="936"/>
                  </a:cubicBezTo>
                  <a:cubicBezTo>
                    <a:pt x="161" y="936"/>
                    <a:pt x="161" y="936"/>
                    <a:pt x="161" y="936"/>
                  </a:cubicBezTo>
                  <a:cubicBezTo>
                    <a:pt x="162" y="937"/>
                    <a:pt x="162" y="937"/>
                    <a:pt x="162" y="937"/>
                  </a:cubicBezTo>
                  <a:cubicBezTo>
                    <a:pt x="162" y="937"/>
                    <a:pt x="162" y="937"/>
                    <a:pt x="162" y="937"/>
                  </a:cubicBezTo>
                  <a:cubicBezTo>
                    <a:pt x="162" y="937"/>
                    <a:pt x="162" y="937"/>
                    <a:pt x="162" y="937"/>
                  </a:cubicBezTo>
                  <a:cubicBezTo>
                    <a:pt x="163" y="937"/>
                    <a:pt x="163" y="937"/>
                    <a:pt x="163" y="937"/>
                  </a:cubicBezTo>
                  <a:cubicBezTo>
                    <a:pt x="163" y="937"/>
                    <a:pt x="163" y="937"/>
                    <a:pt x="163" y="937"/>
                  </a:cubicBezTo>
                  <a:cubicBezTo>
                    <a:pt x="164" y="937"/>
                    <a:pt x="164" y="937"/>
                    <a:pt x="164" y="937"/>
                  </a:cubicBezTo>
                  <a:cubicBezTo>
                    <a:pt x="166" y="937"/>
                    <a:pt x="166" y="937"/>
                    <a:pt x="166" y="937"/>
                  </a:cubicBezTo>
                  <a:cubicBezTo>
                    <a:pt x="166" y="937"/>
                    <a:pt x="166" y="937"/>
                    <a:pt x="166" y="937"/>
                  </a:cubicBezTo>
                  <a:cubicBezTo>
                    <a:pt x="166" y="937"/>
                    <a:pt x="166" y="937"/>
                    <a:pt x="166" y="937"/>
                  </a:cubicBezTo>
                  <a:cubicBezTo>
                    <a:pt x="167" y="938"/>
                    <a:pt x="167" y="938"/>
                    <a:pt x="167" y="938"/>
                  </a:cubicBezTo>
                  <a:cubicBezTo>
                    <a:pt x="168" y="937"/>
                    <a:pt x="168" y="937"/>
                    <a:pt x="168" y="937"/>
                  </a:cubicBezTo>
                  <a:cubicBezTo>
                    <a:pt x="168" y="938"/>
                    <a:pt x="168" y="938"/>
                    <a:pt x="168" y="938"/>
                  </a:cubicBezTo>
                  <a:cubicBezTo>
                    <a:pt x="168" y="938"/>
                    <a:pt x="168" y="938"/>
                    <a:pt x="168" y="938"/>
                  </a:cubicBezTo>
                  <a:cubicBezTo>
                    <a:pt x="168" y="938"/>
                    <a:pt x="168" y="938"/>
                    <a:pt x="168" y="938"/>
                  </a:cubicBezTo>
                  <a:cubicBezTo>
                    <a:pt x="169" y="938"/>
                    <a:pt x="169" y="938"/>
                    <a:pt x="169" y="938"/>
                  </a:cubicBezTo>
                  <a:cubicBezTo>
                    <a:pt x="169" y="938"/>
                    <a:pt x="169" y="938"/>
                    <a:pt x="169" y="938"/>
                  </a:cubicBezTo>
                  <a:cubicBezTo>
                    <a:pt x="170" y="938"/>
                    <a:pt x="170" y="938"/>
                    <a:pt x="170" y="938"/>
                  </a:cubicBezTo>
                  <a:cubicBezTo>
                    <a:pt x="171" y="938"/>
                    <a:pt x="171" y="938"/>
                    <a:pt x="171" y="938"/>
                  </a:cubicBezTo>
                  <a:cubicBezTo>
                    <a:pt x="171" y="938"/>
                    <a:pt x="171" y="938"/>
                    <a:pt x="171" y="938"/>
                  </a:cubicBezTo>
                  <a:cubicBezTo>
                    <a:pt x="171" y="938"/>
                    <a:pt x="171" y="938"/>
                    <a:pt x="171" y="938"/>
                  </a:cubicBezTo>
                  <a:cubicBezTo>
                    <a:pt x="172" y="938"/>
                    <a:pt x="172" y="938"/>
                    <a:pt x="172" y="938"/>
                  </a:cubicBezTo>
                  <a:cubicBezTo>
                    <a:pt x="172" y="939"/>
                    <a:pt x="172" y="939"/>
                    <a:pt x="172" y="939"/>
                  </a:cubicBezTo>
                  <a:cubicBezTo>
                    <a:pt x="172" y="940"/>
                    <a:pt x="172" y="940"/>
                    <a:pt x="172" y="940"/>
                  </a:cubicBezTo>
                  <a:cubicBezTo>
                    <a:pt x="173" y="941"/>
                    <a:pt x="173" y="941"/>
                    <a:pt x="173" y="941"/>
                  </a:cubicBezTo>
                  <a:cubicBezTo>
                    <a:pt x="173" y="941"/>
                    <a:pt x="173" y="941"/>
                    <a:pt x="173" y="941"/>
                  </a:cubicBezTo>
                  <a:cubicBezTo>
                    <a:pt x="174" y="941"/>
                    <a:pt x="174" y="941"/>
                    <a:pt x="174" y="941"/>
                  </a:cubicBezTo>
                  <a:cubicBezTo>
                    <a:pt x="176" y="941"/>
                    <a:pt x="176" y="941"/>
                    <a:pt x="176" y="941"/>
                  </a:cubicBezTo>
                  <a:cubicBezTo>
                    <a:pt x="176" y="940"/>
                    <a:pt x="176" y="940"/>
                    <a:pt x="176" y="940"/>
                  </a:cubicBezTo>
                  <a:cubicBezTo>
                    <a:pt x="176" y="940"/>
                    <a:pt x="176" y="940"/>
                    <a:pt x="176" y="940"/>
                  </a:cubicBezTo>
                  <a:cubicBezTo>
                    <a:pt x="176" y="940"/>
                    <a:pt x="176" y="940"/>
                    <a:pt x="176" y="940"/>
                  </a:cubicBezTo>
                  <a:cubicBezTo>
                    <a:pt x="176" y="940"/>
                    <a:pt x="176" y="940"/>
                    <a:pt x="176" y="940"/>
                  </a:cubicBezTo>
                  <a:cubicBezTo>
                    <a:pt x="176" y="940"/>
                    <a:pt x="176" y="940"/>
                    <a:pt x="176" y="940"/>
                  </a:cubicBezTo>
                  <a:cubicBezTo>
                    <a:pt x="177" y="939"/>
                    <a:pt x="177" y="939"/>
                    <a:pt x="177" y="939"/>
                  </a:cubicBezTo>
                  <a:cubicBezTo>
                    <a:pt x="178" y="938"/>
                    <a:pt x="178" y="938"/>
                    <a:pt x="178" y="938"/>
                  </a:cubicBezTo>
                  <a:cubicBezTo>
                    <a:pt x="179" y="938"/>
                    <a:pt x="179" y="938"/>
                    <a:pt x="179" y="938"/>
                  </a:cubicBezTo>
                  <a:cubicBezTo>
                    <a:pt x="179" y="938"/>
                    <a:pt x="179" y="938"/>
                    <a:pt x="179" y="938"/>
                  </a:cubicBezTo>
                  <a:cubicBezTo>
                    <a:pt x="178" y="938"/>
                    <a:pt x="178" y="938"/>
                    <a:pt x="178" y="938"/>
                  </a:cubicBezTo>
                  <a:cubicBezTo>
                    <a:pt x="178" y="939"/>
                    <a:pt x="178" y="939"/>
                    <a:pt x="178" y="939"/>
                  </a:cubicBezTo>
                  <a:cubicBezTo>
                    <a:pt x="178" y="940"/>
                    <a:pt x="178" y="940"/>
                    <a:pt x="178" y="940"/>
                  </a:cubicBezTo>
                  <a:cubicBezTo>
                    <a:pt x="177" y="940"/>
                    <a:pt x="177" y="940"/>
                    <a:pt x="177" y="940"/>
                  </a:cubicBezTo>
                  <a:cubicBezTo>
                    <a:pt x="177" y="940"/>
                    <a:pt x="177" y="940"/>
                    <a:pt x="177" y="940"/>
                  </a:cubicBezTo>
                  <a:cubicBezTo>
                    <a:pt x="177" y="940"/>
                    <a:pt x="177" y="940"/>
                    <a:pt x="177" y="940"/>
                  </a:cubicBezTo>
                  <a:cubicBezTo>
                    <a:pt x="177" y="940"/>
                    <a:pt x="177" y="940"/>
                    <a:pt x="177" y="940"/>
                  </a:cubicBezTo>
                  <a:cubicBezTo>
                    <a:pt x="177" y="941"/>
                    <a:pt x="177" y="941"/>
                    <a:pt x="177" y="941"/>
                  </a:cubicBezTo>
                  <a:cubicBezTo>
                    <a:pt x="177" y="941"/>
                    <a:pt x="177" y="941"/>
                    <a:pt x="177" y="941"/>
                  </a:cubicBezTo>
                  <a:cubicBezTo>
                    <a:pt x="176" y="941"/>
                    <a:pt x="176" y="941"/>
                    <a:pt x="176" y="941"/>
                  </a:cubicBezTo>
                  <a:cubicBezTo>
                    <a:pt x="176" y="941"/>
                    <a:pt x="176" y="941"/>
                    <a:pt x="176" y="941"/>
                  </a:cubicBezTo>
                  <a:cubicBezTo>
                    <a:pt x="178" y="941"/>
                    <a:pt x="178" y="941"/>
                    <a:pt x="178" y="941"/>
                  </a:cubicBezTo>
                  <a:cubicBezTo>
                    <a:pt x="178" y="941"/>
                    <a:pt x="178" y="941"/>
                    <a:pt x="178" y="941"/>
                  </a:cubicBezTo>
                  <a:cubicBezTo>
                    <a:pt x="179" y="942"/>
                    <a:pt x="179" y="942"/>
                    <a:pt x="179" y="942"/>
                  </a:cubicBezTo>
                  <a:cubicBezTo>
                    <a:pt x="179" y="942"/>
                    <a:pt x="179" y="942"/>
                    <a:pt x="179" y="942"/>
                  </a:cubicBezTo>
                  <a:cubicBezTo>
                    <a:pt x="177" y="941"/>
                    <a:pt x="177" y="941"/>
                    <a:pt x="177" y="941"/>
                  </a:cubicBezTo>
                  <a:cubicBezTo>
                    <a:pt x="177" y="941"/>
                    <a:pt x="177" y="941"/>
                    <a:pt x="177" y="941"/>
                  </a:cubicBezTo>
                  <a:cubicBezTo>
                    <a:pt x="176" y="942"/>
                    <a:pt x="176" y="942"/>
                    <a:pt x="176" y="942"/>
                  </a:cubicBezTo>
                  <a:cubicBezTo>
                    <a:pt x="177" y="942"/>
                    <a:pt x="177" y="942"/>
                    <a:pt x="177" y="942"/>
                  </a:cubicBezTo>
                  <a:cubicBezTo>
                    <a:pt x="179" y="942"/>
                    <a:pt x="179" y="942"/>
                    <a:pt x="179" y="942"/>
                  </a:cubicBezTo>
                  <a:cubicBezTo>
                    <a:pt x="179" y="942"/>
                    <a:pt x="179" y="942"/>
                    <a:pt x="179" y="942"/>
                  </a:cubicBezTo>
                  <a:cubicBezTo>
                    <a:pt x="180" y="943"/>
                    <a:pt x="180" y="943"/>
                    <a:pt x="180" y="943"/>
                  </a:cubicBezTo>
                  <a:cubicBezTo>
                    <a:pt x="180" y="943"/>
                    <a:pt x="180" y="943"/>
                    <a:pt x="180" y="943"/>
                  </a:cubicBezTo>
                  <a:cubicBezTo>
                    <a:pt x="181" y="943"/>
                    <a:pt x="181" y="943"/>
                    <a:pt x="181" y="943"/>
                  </a:cubicBezTo>
                  <a:cubicBezTo>
                    <a:pt x="181" y="943"/>
                    <a:pt x="181" y="943"/>
                    <a:pt x="181" y="943"/>
                  </a:cubicBezTo>
                  <a:cubicBezTo>
                    <a:pt x="181" y="942"/>
                    <a:pt x="181" y="942"/>
                    <a:pt x="181" y="942"/>
                  </a:cubicBezTo>
                  <a:cubicBezTo>
                    <a:pt x="181" y="942"/>
                    <a:pt x="181" y="942"/>
                    <a:pt x="181" y="942"/>
                  </a:cubicBezTo>
                  <a:cubicBezTo>
                    <a:pt x="181" y="942"/>
                    <a:pt x="181" y="942"/>
                    <a:pt x="181" y="942"/>
                  </a:cubicBezTo>
                  <a:cubicBezTo>
                    <a:pt x="181" y="941"/>
                    <a:pt x="181" y="941"/>
                    <a:pt x="181" y="941"/>
                  </a:cubicBezTo>
                  <a:cubicBezTo>
                    <a:pt x="182" y="941"/>
                    <a:pt x="182" y="941"/>
                    <a:pt x="182" y="941"/>
                  </a:cubicBezTo>
                  <a:cubicBezTo>
                    <a:pt x="182" y="941"/>
                    <a:pt x="182" y="941"/>
                    <a:pt x="182" y="941"/>
                  </a:cubicBezTo>
                  <a:cubicBezTo>
                    <a:pt x="182" y="941"/>
                    <a:pt x="182" y="941"/>
                    <a:pt x="182" y="941"/>
                  </a:cubicBezTo>
                  <a:cubicBezTo>
                    <a:pt x="182" y="941"/>
                    <a:pt x="182" y="941"/>
                    <a:pt x="182" y="941"/>
                  </a:cubicBezTo>
                  <a:cubicBezTo>
                    <a:pt x="182" y="941"/>
                    <a:pt x="182" y="941"/>
                    <a:pt x="182" y="941"/>
                  </a:cubicBezTo>
                  <a:cubicBezTo>
                    <a:pt x="182" y="940"/>
                    <a:pt x="182" y="940"/>
                    <a:pt x="182" y="940"/>
                  </a:cubicBezTo>
                  <a:cubicBezTo>
                    <a:pt x="182" y="940"/>
                    <a:pt x="182" y="940"/>
                    <a:pt x="182" y="940"/>
                  </a:cubicBezTo>
                  <a:cubicBezTo>
                    <a:pt x="182" y="940"/>
                    <a:pt x="182" y="940"/>
                    <a:pt x="182" y="940"/>
                  </a:cubicBezTo>
                  <a:cubicBezTo>
                    <a:pt x="181" y="939"/>
                    <a:pt x="181" y="939"/>
                    <a:pt x="181" y="939"/>
                  </a:cubicBezTo>
                  <a:cubicBezTo>
                    <a:pt x="182" y="939"/>
                    <a:pt x="182" y="939"/>
                    <a:pt x="182" y="939"/>
                  </a:cubicBezTo>
                  <a:cubicBezTo>
                    <a:pt x="182" y="940"/>
                    <a:pt x="182" y="940"/>
                    <a:pt x="182" y="940"/>
                  </a:cubicBezTo>
                  <a:cubicBezTo>
                    <a:pt x="183" y="940"/>
                    <a:pt x="183" y="940"/>
                    <a:pt x="183" y="940"/>
                  </a:cubicBezTo>
                  <a:cubicBezTo>
                    <a:pt x="183" y="939"/>
                    <a:pt x="183" y="939"/>
                    <a:pt x="183" y="939"/>
                  </a:cubicBezTo>
                  <a:cubicBezTo>
                    <a:pt x="183" y="939"/>
                    <a:pt x="183" y="939"/>
                    <a:pt x="183" y="939"/>
                  </a:cubicBezTo>
                  <a:cubicBezTo>
                    <a:pt x="183" y="939"/>
                    <a:pt x="183" y="939"/>
                    <a:pt x="183" y="939"/>
                  </a:cubicBezTo>
                  <a:cubicBezTo>
                    <a:pt x="183" y="940"/>
                    <a:pt x="183" y="940"/>
                    <a:pt x="183" y="940"/>
                  </a:cubicBezTo>
                  <a:cubicBezTo>
                    <a:pt x="183" y="940"/>
                    <a:pt x="183" y="940"/>
                    <a:pt x="183" y="940"/>
                  </a:cubicBezTo>
                  <a:cubicBezTo>
                    <a:pt x="184" y="940"/>
                    <a:pt x="184" y="940"/>
                    <a:pt x="184" y="940"/>
                  </a:cubicBezTo>
                  <a:cubicBezTo>
                    <a:pt x="184" y="940"/>
                    <a:pt x="184" y="940"/>
                    <a:pt x="184" y="940"/>
                  </a:cubicBezTo>
                  <a:cubicBezTo>
                    <a:pt x="184" y="941"/>
                    <a:pt x="184" y="941"/>
                    <a:pt x="184" y="941"/>
                  </a:cubicBezTo>
                  <a:cubicBezTo>
                    <a:pt x="184" y="941"/>
                    <a:pt x="184" y="941"/>
                    <a:pt x="184" y="941"/>
                  </a:cubicBezTo>
                  <a:cubicBezTo>
                    <a:pt x="184" y="941"/>
                    <a:pt x="184" y="941"/>
                    <a:pt x="184" y="941"/>
                  </a:cubicBezTo>
                  <a:cubicBezTo>
                    <a:pt x="184" y="941"/>
                    <a:pt x="184" y="941"/>
                    <a:pt x="184" y="941"/>
                  </a:cubicBezTo>
                  <a:cubicBezTo>
                    <a:pt x="182" y="942"/>
                    <a:pt x="182" y="942"/>
                    <a:pt x="182" y="942"/>
                  </a:cubicBezTo>
                  <a:cubicBezTo>
                    <a:pt x="181" y="944"/>
                    <a:pt x="181" y="944"/>
                    <a:pt x="181" y="944"/>
                  </a:cubicBezTo>
                  <a:cubicBezTo>
                    <a:pt x="181" y="944"/>
                    <a:pt x="181" y="944"/>
                    <a:pt x="181" y="944"/>
                  </a:cubicBezTo>
                  <a:cubicBezTo>
                    <a:pt x="181" y="944"/>
                    <a:pt x="181" y="944"/>
                    <a:pt x="181" y="944"/>
                  </a:cubicBezTo>
                  <a:cubicBezTo>
                    <a:pt x="182" y="945"/>
                    <a:pt x="182" y="945"/>
                    <a:pt x="182" y="945"/>
                  </a:cubicBezTo>
                  <a:cubicBezTo>
                    <a:pt x="182" y="945"/>
                    <a:pt x="182" y="945"/>
                    <a:pt x="182" y="945"/>
                  </a:cubicBezTo>
                  <a:cubicBezTo>
                    <a:pt x="182" y="945"/>
                    <a:pt x="182" y="945"/>
                    <a:pt x="182" y="945"/>
                  </a:cubicBezTo>
                  <a:cubicBezTo>
                    <a:pt x="183" y="945"/>
                    <a:pt x="183" y="945"/>
                    <a:pt x="183" y="945"/>
                  </a:cubicBezTo>
                  <a:cubicBezTo>
                    <a:pt x="183" y="946"/>
                    <a:pt x="183" y="946"/>
                    <a:pt x="183" y="946"/>
                  </a:cubicBezTo>
                  <a:cubicBezTo>
                    <a:pt x="183" y="947"/>
                    <a:pt x="183" y="947"/>
                    <a:pt x="183" y="947"/>
                  </a:cubicBezTo>
                  <a:cubicBezTo>
                    <a:pt x="183" y="948"/>
                    <a:pt x="183" y="948"/>
                    <a:pt x="183" y="948"/>
                  </a:cubicBezTo>
                  <a:cubicBezTo>
                    <a:pt x="183" y="948"/>
                    <a:pt x="183" y="948"/>
                    <a:pt x="183" y="948"/>
                  </a:cubicBezTo>
                  <a:cubicBezTo>
                    <a:pt x="183" y="949"/>
                    <a:pt x="183" y="949"/>
                    <a:pt x="183" y="949"/>
                  </a:cubicBezTo>
                  <a:cubicBezTo>
                    <a:pt x="183" y="950"/>
                    <a:pt x="183" y="950"/>
                    <a:pt x="183" y="950"/>
                  </a:cubicBezTo>
                  <a:cubicBezTo>
                    <a:pt x="183" y="950"/>
                    <a:pt x="183" y="950"/>
                    <a:pt x="183" y="950"/>
                  </a:cubicBezTo>
                  <a:cubicBezTo>
                    <a:pt x="183" y="951"/>
                    <a:pt x="183" y="951"/>
                    <a:pt x="183" y="951"/>
                  </a:cubicBezTo>
                  <a:cubicBezTo>
                    <a:pt x="184" y="951"/>
                    <a:pt x="184" y="951"/>
                    <a:pt x="184" y="951"/>
                  </a:cubicBezTo>
                  <a:cubicBezTo>
                    <a:pt x="184" y="951"/>
                    <a:pt x="184" y="951"/>
                    <a:pt x="184" y="951"/>
                  </a:cubicBezTo>
                  <a:cubicBezTo>
                    <a:pt x="185" y="951"/>
                    <a:pt x="185" y="951"/>
                    <a:pt x="185" y="951"/>
                  </a:cubicBezTo>
                  <a:cubicBezTo>
                    <a:pt x="184" y="951"/>
                    <a:pt x="184" y="951"/>
                    <a:pt x="184" y="951"/>
                  </a:cubicBezTo>
                  <a:cubicBezTo>
                    <a:pt x="184" y="950"/>
                    <a:pt x="184" y="950"/>
                    <a:pt x="184" y="950"/>
                  </a:cubicBezTo>
                  <a:cubicBezTo>
                    <a:pt x="183" y="948"/>
                    <a:pt x="183" y="948"/>
                    <a:pt x="183" y="948"/>
                  </a:cubicBezTo>
                  <a:cubicBezTo>
                    <a:pt x="184" y="947"/>
                    <a:pt x="184" y="947"/>
                    <a:pt x="184" y="947"/>
                  </a:cubicBezTo>
                  <a:cubicBezTo>
                    <a:pt x="184" y="947"/>
                    <a:pt x="184" y="947"/>
                    <a:pt x="184" y="947"/>
                  </a:cubicBezTo>
                  <a:cubicBezTo>
                    <a:pt x="183" y="947"/>
                    <a:pt x="183" y="947"/>
                    <a:pt x="183" y="947"/>
                  </a:cubicBezTo>
                  <a:cubicBezTo>
                    <a:pt x="183" y="946"/>
                    <a:pt x="183" y="946"/>
                    <a:pt x="183" y="946"/>
                  </a:cubicBezTo>
                  <a:cubicBezTo>
                    <a:pt x="184" y="946"/>
                    <a:pt x="184" y="946"/>
                    <a:pt x="184" y="946"/>
                  </a:cubicBezTo>
                  <a:cubicBezTo>
                    <a:pt x="184" y="946"/>
                    <a:pt x="184" y="946"/>
                    <a:pt x="184" y="946"/>
                  </a:cubicBezTo>
                  <a:cubicBezTo>
                    <a:pt x="184" y="946"/>
                    <a:pt x="184" y="946"/>
                    <a:pt x="184" y="946"/>
                  </a:cubicBezTo>
                  <a:cubicBezTo>
                    <a:pt x="184" y="946"/>
                    <a:pt x="184" y="946"/>
                    <a:pt x="184" y="946"/>
                  </a:cubicBezTo>
                  <a:cubicBezTo>
                    <a:pt x="184" y="947"/>
                    <a:pt x="184" y="947"/>
                    <a:pt x="184" y="947"/>
                  </a:cubicBezTo>
                  <a:cubicBezTo>
                    <a:pt x="184" y="947"/>
                    <a:pt x="184" y="947"/>
                    <a:pt x="184" y="947"/>
                  </a:cubicBezTo>
                  <a:cubicBezTo>
                    <a:pt x="184" y="947"/>
                    <a:pt x="184" y="947"/>
                    <a:pt x="184" y="947"/>
                  </a:cubicBezTo>
                  <a:cubicBezTo>
                    <a:pt x="185" y="947"/>
                    <a:pt x="185" y="947"/>
                    <a:pt x="185" y="947"/>
                  </a:cubicBezTo>
                  <a:cubicBezTo>
                    <a:pt x="186" y="946"/>
                    <a:pt x="186" y="946"/>
                    <a:pt x="186" y="946"/>
                  </a:cubicBezTo>
                  <a:cubicBezTo>
                    <a:pt x="186" y="947"/>
                    <a:pt x="186" y="947"/>
                    <a:pt x="186" y="947"/>
                  </a:cubicBezTo>
                  <a:cubicBezTo>
                    <a:pt x="186" y="947"/>
                    <a:pt x="186" y="947"/>
                    <a:pt x="186" y="947"/>
                  </a:cubicBezTo>
                  <a:cubicBezTo>
                    <a:pt x="187" y="947"/>
                    <a:pt x="187" y="947"/>
                    <a:pt x="187" y="947"/>
                  </a:cubicBezTo>
                  <a:cubicBezTo>
                    <a:pt x="187" y="946"/>
                    <a:pt x="187" y="946"/>
                    <a:pt x="187" y="946"/>
                  </a:cubicBezTo>
                  <a:cubicBezTo>
                    <a:pt x="187" y="946"/>
                    <a:pt x="187" y="946"/>
                    <a:pt x="187" y="946"/>
                  </a:cubicBezTo>
                  <a:cubicBezTo>
                    <a:pt x="187" y="946"/>
                    <a:pt x="187" y="946"/>
                    <a:pt x="187" y="946"/>
                  </a:cubicBezTo>
                  <a:cubicBezTo>
                    <a:pt x="187" y="946"/>
                    <a:pt x="187" y="946"/>
                    <a:pt x="187" y="946"/>
                  </a:cubicBezTo>
                  <a:cubicBezTo>
                    <a:pt x="187" y="947"/>
                    <a:pt x="187" y="947"/>
                    <a:pt x="187" y="947"/>
                  </a:cubicBezTo>
                  <a:cubicBezTo>
                    <a:pt x="187" y="947"/>
                    <a:pt x="187" y="947"/>
                    <a:pt x="187" y="947"/>
                  </a:cubicBezTo>
                  <a:cubicBezTo>
                    <a:pt x="187" y="947"/>
                    <a:pt x="187" y="947"/>
                    <a:pt x="187" y="947"/>
                  </a:cubicBezTo>
                  <a:cubicBezTo>
                    <a:pt x="187" y="946"/>
                    <a:pt x="187" y="946"/>
                    <a:pt x="187" y="946"/>
                  </a:cubicBezTo>
                  <a:cubicBezTo>
                    <a:pt x="188" y="947"/>
                    <a:pt x="188" y="947"/>
                    <a:pt x="188" y="947"/>
                  </a:cubicBezTo>
                  <a:cubicBezTo>
                    <a:pt x="188" y="947"/>
                    <a:pt x="188" y="947"/>
                    <a:pt x="188" y="947"/>
                  </a:cubicBezTo>
                  <a:cubicBezTo>
                    <a:pt x="188" y="947"/>
                    <a:pt x="188" y="947"/>
                    <a:pt x="188" y="947"/>
                  </a:cubicBezTo>
                  <a:cubicBezTo>
                    <a:pt x="189" y="947"/>
                    <a:pt x="189" y="947"/>
                    <a:pt x="189" y="947"/>
                  </a:cubicBezTo>
                  <a:cubicBezTo>
                    <a:pt x="189" y="947"/>
                    <a:pt x="189" y="947"/>
                    <a:pt x="189" y="947"/>
                  </a:cubicBezTo>
                  <a:cubicBezTo>
                    <a:pt x="189" y="948"/>
                    <a:pt x="189" y="948"/>
                    <a:pt x="189" y="948"/>
                  </a:cubicBezTo>
                  <a:cubicBezTo>
                    <a:pt x="189" y="947"/>
                    <a:pt x="189" y="947"/>
                    <a:pt x="189" y="947"/>
                  </a:cubicBezTo>
                  <a:cubicBezTo>
                    <a:pt x="189" y="947"/>
                    <a:pt x="189" y="947"/>
                    <a:pt x="189" y="947"/>
                  </a:cubicBezTo>
                  <a:cubicBezTo>
                    <a:pt x="189" y="947"/>
                    <a:pt x="189" y="947"/>
                    <a:pt x="189" y="947"/>
                  </a:cubicBezTo>
                  <a:cubicBezTo>
                    <a:pt x="189" y="947"/>
                    <a:pt x="189" y="947"/>
                    <a:pt x="189" y="947"/>
                  </a:cubicBezTo>
                  <a:cubicBezTo>
                    <a:pt x="189" y="946"/>
                    <a:pt x="189" y="946"/>
                    <a:pt x="189" y="946"/>
                  </a:cubicBezTo>
                  <a:cubicBezTo>
                    <a:pt x="188" y="946"/>
                    <a:pt x="188" y="946"/>
                    <a:pt x="188" y="946"/>
                  </a:cubicBezTo>
                  <a:cubicBezTo>
                    <a:pt x="188" y="945"/>
                    <a:pt x="188" y="945"/>
                    <a:pt x="188" y="945"/>
                  </a:cubicBezTo>
                  <a:cubicBezTo>
                    <a:pt x="188" y="944"/>
                    <a:pt x="188" y="944"/>
                    <a:pt x="188" y="944"/>
                  </a:cubicBezTo>
                  <a:cubicBezTo>
                    <a:pt x="188" y="944"/>
                    <a:pt x="188" y="944"/>
                    <a:pt x="188" y="944"/>
                  </a:cubicBezTo>
                  <a:cubicBezTo>
                    <a:pt x="188" y="943"/>
                    <a:pt x="188" y="943"/>
                    <a:pt x="188" y="943"/>
                  </a:cubicBezTo>
                  <a:cubicBezTo>
                    <a:pt x="188" y="943"/>
                    <a:pt x="188" y="943"/>
                    <a:pt x="188" y="943"/>
                  </a:cubicBezTo>
                  <a:cubicBezTo>
                    <a:pt x="188" y="943"/>
                    <a:pt x="188" y="943"/>
                    <a:pt x="188" y="943"/>
                  </a:cubicBezTo>
                  <a:cubicBezTo>
                    <a:pt x="188" y="944"/>
                    <a:pt x="188" y="944"/>
                    <a:pt x="188" y="944"/>
                  </a:cubicBezTo>
                  <a:cubicBezTo>
                    <a:pt x="188" y="944"/>
                    <a:pt x="188" y="944"/>
                    <a:pt x="188" y="944"/>
                  </a:cubicBezTo>
                  <a:cubicBezTo>
                    <a:pt x="189" y="944"/>
                    <a:pt x="189" y="944"/>
                    <a:pt x="189" y="944"/>
                  </a:cubicBezTo>
                  <a:cubicBezTo>
                    <a:pt x="189" y="944"/>
                    <a:pt x="189" y="944"/>
                    <a:pt x="189" y="944"/>
                  </a:cubicBezTo>
                  <a:cubicBezTo>
                    <a:pt x="189" y="944"/>
                    <a:pt x="189" y="944"/>
                    <a:pt x="189" y="944"/>
                  </a:cubicBezTo>
                  <a:cubicBezTo>
                    <a:pt x="189" y="945"/>
                    <a:pt x="189" y="945"/>
                    <a:pt x="189" y="945"/>
                  </a:cubicBezTo>
                  <a:cubicBezTo>
                    <a:pt x="189" y="945"/>
                    <a:pt x="189" y="945"/>
                    <a:pt x="189" y="945"/>
                  </a:cubicBezTo>
                  <a:cubicBezTo>
                    <a:pt x="189" y="946"/>
                    <a:pt x="189" y="946"/>
                    <a:pt x="189" y="946"/>
                  </a:cubicBezTo>
                  <a:cubicBezTo>
                    <a:pt x="189" y="946"/>
                    <a:pt x="189" y="946"/>
                    <a:pt x="189" y="946"/>
                  </a:cubicBezTo>
                  <a:cubicBezTo>
                    <a:pt x="189" y="946"/>
                    <a:pt x="189" y="946"/>
                    <a:pt x="189" y="946"/>
                  </a:cubicBezTo>
                  <a:cubicBezTo>
                    <a:pt x="190" y="946"/>
                    <a:pt x="190" y="946"/>
                    <a:pt x="190" y="946"/>
                  </a:cubicBezTo>
                  <a:cubicBezTo>
                    <a:pt x="190" y="946"/>
                    <a:pt x="190" y="946"/>
                    <a:pt x="190" y="946"/>
                  </a:cubicBezTo>
                  <a:cubicBezTo>
                    <a:pt x="190" y="946"/>
                    <a:pt x="190" y="946"/>
                    <a:pt x="190" y="946"/>
                  </a:cubicBezTo>
                  <a:cubicBezTo>
                    <a:pt x="190" y="946"/>
                    <a:pt x="190" y="946"/>
                    <a:pt x="190" y="946"/>
                  </a:cubicBezTo>
                  <a:cubicBezTo>
                    <a:pt x="191" y="946"/>
                    <a:pt x="191" y="946"/>
                    <a:pt x="191" y="946"/>
                  </a:cubicBezTo>
                  <a:cubicBezTo>
                    <a:pt x="191" y="946"/>
                    <a:pt x="191" y="946"/>
                    <a:pt x="191" y="946"/>
                  </a:cubicBezTo>
                  <a:cubicBezTo>
                    <a:pt x="191" y="945"/>
                    <a:pt x="191" y="945"/>
                    <a:pt x="191" y="945"/>
                  </a:cubicBezTo>
                  <a:cubicBezTo>
                    <a:pt x="192" y="945"/>
                    <a:pt x="192" y="945"/>
                    <a:pt x="192" y="945"/>
                  </a:cubicBezTo>
                  <a:cubicBezTo>
                    <a:pt x="193" y="945"/>
                    <a:pt x="193" y="945"/>
                    <a:pt x="193" y="945"/>
                  </a:cubicBezTo>
                  <a:cubicBezTo>
                    <a:pt x="194" y="944"/>
                    <a:pt x="194" y="944"/>
                    <a:pt x="194" y="944"/>
                  </a:cubicBezTo>
                  <a:cubicBezTo>
                    <a:pt x="194" y="944"/>
                    <a:pt x="194" y="944"/>
                    <a:pt x="194" y="944"/>
                  </a:cubicBezTo>
                  <a:cubicBezTo>
                    <a:pt x="194" y="944"/>
                    <a:pt x="194" y="944"/>
                    <a:pt x="194" y="944"/>
                  </a:cubicBezTo>
                  <a:cubicBezTo>
                    <a:pt x="195" y="944"/>
                    <a:pt x="195" y="944"/>
                    <a:pt x="195" y="944"/>
                  </a:cubicBezTo>
                  <a:cubicBezTo>
                    <a:pt x="195" y="945"/>
                    <a:pt x="195" y="945"/>
                    <a:pt x="195" y="945"/>
                  </a:cubicBezTo>
                  <a:cubicBezTo>
                    <a:pt x="194" y="945"/>
                    <a:pt x="194" y="945"/>
                    <a:pt x="194" y="945"/>
                  </a:cubicBezTo>
                  <a:cubicBezTo>
                    <a:pt x="194" y="945"/>
                    <a:pt x="194" y="945"/>
                    <a:pt x="194" y="945"/>
                  </a:cubicBezTo>
                  <a:cubicBezTo>
                    <a:pt x="195" y="946"/>
                    <a:pt x="195" y="946"/>
                    <a:pt x="195" y="946"/>
                  </a:cubicBezTo>
                  <a:cubicBezTo>
                    <a:pt x="196" y="946"/>
                    <a:pt x="196" y="946"/>
                    <a:pt x="196" y="946"/>
                  </a:cubicBezTo>
                  <a:cubicBezTo>
                    <a:pt x="196" y="946"/>
                    <a:pt x="196" y="946"/>
                    <a:pt x="196" y="946"/>
                  </a:cubicBezTo>
                  <a:cubicBezTo>
                    <a:pt x="196" y="946"/>
                    <a:pt x="196" y="946"/>
                    <a:pt x="196" y="946"/>
                  </a:cubicBezTo>
                  <a:cubicBezTo>
                    <a:pt x="196" y="946"/>
                    <a:pt x="196" y="946"/>
                    <a:pt x="196" y="946"/>
                  </a:cubicBezTo>
                  <a:cubicBezTo>
                    <a:pt x="196" y="945"/>
                    <a:pt x="196" y="945"/>
                    <a:pt x="196" y="945"/>
                  </a:cubicBezTo>
                  <a:cubicBezTo>
                    <a:pt x="196" y="945"/>
                    <a:pt x="196" y="945"/>
                    <a:pt x="196" y="945"/>
                  </a:cubicBezTo>
                  <a:cubicBezTo>
                    <a:pt x="196" y="945"/>
                    <a:pt x="196" y="945"/>
                    <a:pt x="196" y="945"/>
                  </a:cubicBezTo>
                  <a:cubicBezTo>
                    <a:pt x="196" y="945"/>
                    <a:pt x="196" y="945"/>
                    <a:pt x="196" y="945"/>
                  </a:cubicBezTo>
                  <a:cubicBezTo>
                    <a:pt x="196" y="944"/>
                    <a:pt x="196" y="944"/>
                    <a:pt x="196" y="944"/>
                  </a:cubicBezTo>
                  <a:cubicBezTo>
                    <a:pt x="196" y="944"/>
                    <a:pt x="196" y="944"/>
                    <a:pt x="196" y="944"/>
                  </a:cubicBezTo>
                  <a:cubicBezTo>
                    <a:pt x="197" y="945"/>
                    <a:pt x="197" y="945"/>
                    <a:pt x="197" y="945"/>
                  </a:cubicBezTo>
                  <a:cubicBezTo>
                    <a:pt x="197" y="946"/>
                    <a:pt x="197" y="946"/>
                    <a:pt x="197" y="946"/>
                  </a:cubicBezTo>
                  <a:cubicBezTo>
                    <a:pt x="195" y="947"/>
                    <a:pt x="195" y="947"/>
                    <a:pt x="195" y="947"/>
                  </a:cubicBezTo>
                  <a:cubicBezTo>
                    <a:pt x="196" y="948"/>
                    <a:pt x="196" y="948"/>
                    <a:pt x="196" y="948"/>
                  </a:cubicBezTo>
                  <a:cubicBezTo>
                    <a:pt x="195" y="948"/>
                    <a:pt x="195" y="948"/>
                    <a:pt x="195" y="948"/>
                  </a:cubicBezTo>
                  <a:cubicBezTo>
                    <a:pt x="194" y="948"/>
                    <a:pt x="194" y="948"/>
                    <a:pt x="194" y="948"/>
                  </a:cubicBezTo>
                  <a:cubicBezTo>
                    <a:pt x="193" y="948"/>
                    <a:pt x="193" y="948"/>
                    <a:pt x="193" y="948"/>
                  </a:cubicBezTo>
                  <a:cubicBezTo>
                    <a:pt x="193" y="947"/>
                    <a:pt x="193" y="947"/>
                    <a:pt x="193" y="947"/>
                  </a:cubicBezTo>
                  <a:cubicBezTo>
                    <a:pt x="193" y="948"/>
                    <a:pt x="193" y="948"/>
                    <a:pt x="193" y="948"/>
                  </a:cubicBezTo>
                  <a:cubicBezTo>
                    <a:pt x="193" y="948"/>
                    <a:pt x="193" y="948"/>
                    <a:pt x="193" y="948"/>
                  </a:cubicBezTo>
                  <a:cubicBezTo>
                    <a:pt x="192" y="948"/>
                    <a:pt x="192" y="948"/>
                    <a:pt x="192" y="948"/>
                  </a:cubicBezTo>
                  <a:cubicBezTo>
                    <a:pt x="192" y="948"/>
                    <a:pt x="192" y="948"/>
                    <a:pt x="192" y="948"/>
                  </a:cubicBezTo>
                  <a:cubicBezTo>
                    <a:pt x="192" y="948"/>
                    <a:pt x="192" y="948"/>
                    <a:pt x="192" y="948"/>
                  </a:cubicBezTo>
                  <a:cubicBezTo>
                    <a:pt x="192" y="948"/>
                    <a:pt x="192" y="948"/>
                    <a:pt x="192" y="948"/>
                  </a:cubicBezTo>
                  <a:cubicBezTo>
                    <a:pt x="192" y="948"/>
                    <a:pt x="192" y="948"/>
                    <a:pt x="192" y="948"/>
                  </a:cubicBezTo>
                  <a:cubicBezTo>
                    <a:pt x="191" y="947"/>
                    <a:pt x="191" y="947"/>
                    <a:pt x="191" y="947"/>
                  </a:cubicBezTo>
                  <a:cubicBezTo>
                    <a:pt x="191" y="947"/>
                    <a:pt x="191" y="947"/>
                    <a:pt x="191" y="947"/>
                  </a:cubicBezTo>
                  <a:cubicBezTo>
                    <a:pt x="190" y="948"/>
                    <a:pt x="190" y="948"/>
                    <a:pt x="190" y="948"/>
                  </a:cubicBezTo>
                  <a:cubicBezTo>
                    <a:pt x="191" y="948"/>
                    <a:pt x="191" y="948"/>
                    <a:pt x="191" y="948"/>
                  </a:cubicBezTo>
                  <a:cubicBezTo>
                    <a:pt x="191" y="948"/>
                    <a:pt x="191" y="948"/>
                    <a:pt x="191" y="948"/>
                  </a:cubicBezTo>
                  <a:cubicBezTo>
                    <a:pt x="191" y="948"/>
                    <a:pt x="191" y="948"/>
                    <a:pt x="191" y="948"/>
                  </a:cubicBezTo>
                  <a:cubicBezTo>
                    <a:pt x="191" y="948"/>
                    <a:pt x="191" y="948"/>
                    <a:pt x="191" y="948"/>
                  </a:cubicBezTo>
                  <a:cubicBezTo>
                    <a:pt x="191" y="949"/>
                    <a:pt x="191" y="949"/>
                    <a:pt x="191" y="949"/>
                  </a:cubicBezTo>
                  <a:cubicBezTo>
                    <a:pt x="191" y="949"/>
                    <a:pt x="191" y="949"/>
                    <a:pt x="191" y="949"/>
                  </a:cubicBezTo>
                  <a:cubicBezTo>
                    <a:pt x="192" y="950"/>
                    <a:pt x="192" y="950"/>
                    <a:pt x="192" y="950"/>
                  </a:cubicBezTo>
                  <a:cubicBezTo>
                    <a:pt x="192" y="950"/>
                    <a:pt x="192" y="950"/>
                    <a:pt x="192" y="950"/>
                  </a:cubicBezTo>
                  <a:cubicBezTo>
                    <a:pt x="192" y="950"/>
                    <a:pt x="192" y="950"/>
                    <a:pt x="192" y="950"/>
                  </a:cubicBezTo>
                  <a:cubicBezTo>
                    <a:pt x="193" y="950"/>
                    <a:pt x="193" y="950"/>
                    <a:pt x="193" y="950"/>
                  </a:cubicBezTo>
                  <a:cubicBezTo>
                    <a:pt x="193" y="951"/>
                    <a:pt x="193" y="951"/>
                    <a:pt x="193" y="951"/>
                  </a:cubicBezTo>
                  <a:cubicBezTo>
                    <a:pt x="194" y="950"/>
                    <a:pt x="194" y="950"/>
                    <a:pt x="194" y="950"/>
                  </a:cubicBezTo>
                  <a:cubicBezTo>
                    <a:pt x="195" y="950"/>
                    <a:pt x="195" y="950"/>
                    <a:pt x="195" y="950"/>
                  </a:cubicBezTo>
                  <a:cubicBezTo>
                    <a:pt x="196" y="950"/>
                    <a:pt x="196" y="950"/>
                    <a:pt x="196" y="950"/>
                  </a:cubicBezTo>
                  <a:cubicBezTo>
                    <a:pt x="197" y="950"/>
                    <a:pt x="197" y="950"/>
                    <a:pt x="197" y="950"/>
                  </a:cubicBezTo>
                  <a:cubicBezTo>
                    <a:pt x="197" y="950"/>
                    <a:pt x="197" y="950"/>
                    <a:pt x="197" y="950"/>
                  </a:cubicBezTo>
                  <a:cubicBezTo>
                    <a:pt x="197" y="949"/>
                    <a:pt x="197" y="949"/>
                    <a:pt x="197" y="949"/>
                  </a:cubicBezTo>
                  <a:cubicBezTo>
                    <a:pt x="198" y="949"/>
                    <a:pt x="198" y="949"/>
                    <a:pt x="198" y="949"/>
                  </a:cubicBezTo>
                  <a:cubicBezTo>
                    <a:pt x="198" y="949"/>
                    <a:pt x="198" y="949"/>
                    <a:pt x="198" y="949"/>
                  </a:cubicBezTo>
                  <a:cubicBezTo>
                    <a:pt x="199" y="949"/>
                    <a:pt x="199" y="949"/>
                    <a:pt x="199" y="949"/>
                  </a:cubicBezTo>
                  <a:cubicBezTo>
                    <a:pt x="199" y="949"/>
                    <a:pt x="199" y="949"/>
                    <a:pt x="199" y="949"/>
                  </a:cubicBezTo>
                  <a:cubicBezTo>
                    <a:pt x="198" y="949"/>
                    <a:pt x="198" y="949"/>
                    <a:pt x="198" y="949"/>
                  </a:cubicBezTo>
                  <a:cubicBezTo>
                    <a:pt x="198" y="949"/>
                    <a:pt x="198" y="949"/>
                    <a:pt x="198" y="949"/>
                  </a:cubicBezTo>
                  <a:cubicBezTo>
                    <a:pt x="198" y="949"/>
                    <a:pt x="198" y="949"/>
                    <a:pt x="198" y="949"/>
                  </a:cubicBezTo>
                  <a:cubicBezTo>
                    <a:pt x="199" y="948"/>
                    <a:pt x="199" y="948"/>
                    <a:pt x="199" y="948"/>
                  </a:cubicBezTo>
                  <a:cubicBezTo>
                    <a:pt x="199" y="948"/>
                    <a:pt x="199" y="948"/>
                    <a:pt x="199" y="948"/>
                  </a:cubicBezTo>
                  <a:cubicBezTo>
                    <a:pt x="199" y="948"/>
                    <a:pt x="199" y="948"/>
                    <a:pt x="199" y="948"/>
                  </a:cubicBezTo>
                  <a:cubicBezTo>
                    <a:pt x="200" y="948"/>
                    <a:pt x="200" y="948"/>
                    <a:pt x="200" y="948"/>
                  </a:cubicBezTo>
                  <a:cubicBezTo>
                    <a:pt x="200" y="949"/>
                    <a:pt x="200" y="949"/>
                    <a:pt x="200" y="949"/>
                  </a:cubicBezTo>
                  <a:cubicBezTo>
                    <a:pt x="199" y="949"/>
                    <a:pt x="199" y="949"/>
                    <a:pt x="199" y="949"/>
                  </a:cubicBezTo>
                  <a:cubicBezTo>
                    <a:pt x="199" y="949"/>
                    <a:pt x="199" y="949"/>
                    <a:pt x="199" y="949"/>
                  </a:cubicBezTo>
                  <a:cubicBezTo>
                    <a:pt x="198" y="950"/>
                    <a:pt x="198" y="950"/>
                    <a:pt x="198" y="950"/>
                  </a:cubicBezTo>
                  <a:cubicBezTo>
                    <a:pt x="199" y="950"/>
                    <a:pt x="199" y="950"/>
                    <a:pt x="199" y="950"/>
                  </a:cubicBezTo>
                  <a:cubicBezTo>
                    <a:pt x="199" y="950"/>
                    <a:pt x="199" y="950"/>
                    <a:pt x="199" y="950"/>
                  </a:cubicBezTo>
                  <a:cubicBezTo>
                    <a:pt x="199" y="950"/>
                    <a:pt x="199" y="950"/>
                    <a:pt x="199" y="950"/>
                  </a:cubicBezTo>
                  <a:cubicBezTo>
                    <a:pt x="199" y="950"/>
                    <a:pt x="199" y="950"/>
                    <a:pt x="199" y="950"/>
                  </a:cubicBezTo>
                  <a:cubicBezTo>
                    <a:pt x="200" y="950"/>
                    <a:pt x="200" y="950"/>
                    <a:pt x="200" y="950"/>
                  </a:cubicBezTo>
                  <a:cubicBezTo>
                    <a:pt x="201" y="949"/>
                    <a:pt x="201" y="949"/>
                    <a:pt x="201" y="949"/>
                  </a:cubicBezTo>
                  <a:cubicBezTo>
                    <a:pt x="202" y="949"/>
                    <a:pt x="202" y="949"/>
                    <a:pt x="202" y="949"/>
                  </a:cubicBezTo>
                  <a:cubicBezTo>
                    <a:pt x="202" y="949"/>
                    <a:pt x="202" y="949"/>
                    <a:pt x="202" y="949"/>
                  </a:cubicBezTo>
                  <a:cubicBezTo>
                    <a:pt x="205" y="950"/>
                    <a:pt x="205" y="950"/>
                    <a:pt x="205" y="950"/>
                  </a:cubicBezTo>
                  <a:cubicBezTo>
                    <a:pt x="205" y="950"/>
                    <a:pt x="205" y="950"/>
                    <a:pt x="205" y="950"/>
                  </a:cubicBezTo>
                  <a:cubicBezTo>
                    <a:pt x="205" y="950"/>
                    <a:pt x="205" y="950"/>
                    <a:pt x="205" y="950"/>
                  </a:cubicBezTo>
                  <a:cubicBezTo>
                    <a:pt x="206" y="950"/>
                    <a:pt x="206" y="950"/>
                    <a:pt x="206" y="950"/>
                  </a:cubicBezTo>
                  <a:cubicBezTo>
                    <a:pt x="206" y="950"/>
                    <a:pt x="206" y="950"/>
                    <a:pt x="206" y="950"/>
                  </a:cubicBezTo>
                  <a:cubicBezTo>
                    <a:pt x="206" y="950"/>
                    <a:pt x="206" y="950"/>
                    <a:pt x="206" y="950"/>
                  </a:cubicBezTo>
                  <a:cubicBezTo>
                    <a:pt x="206" y="950"/>
                    <a:pt x="206" y="950"/>
                    <a:pt x="206" y="950"/>
                  </a:cubicBezTo>
                  <a:cubicBezTo>
                    <a:pt x="206" y="950"/>
                    <a:pt x="206" y="950"/>
                    <a:pt x="206" y="950"/>
                  </a:cubicBezTo>
                  <a:cubicBezTo>
                    <a:pt x="205" y="950"/>
                    <a:pt x="205" y="950"/>
                    <a:pt x="205" y="950"/>
                  </a:cubicBezTo>
                  <a:cubicBezTo>
                    <a:pt x="205" y="950"/>
                    <a:pt x="205" y="950"/>
                    <a:pt x="205" y="950"/>
                  </a:cubicBezTo>
                  <a:cubicBezTo>
                    <a:pt x="203" y="951"/>
                    <a:pt x="203" y="951"/>
                    <a:pt x="203" y="951"/>
                  </a:cubicBezTo>
                  <a:cubicBezTo>
                    <a:pt x="202" y="951"/>
                    <a:pt x="202" y="951"/>
                    <a:pt x="202" y="951"/>
                  </a:cubicBezTo>
                  <a:cubicBezTo>
                    <a:pt x="203" y="951"/>
                    <a:pt x="203" y="951"/>
                    <a:pt x="203" y="951"/>
                  </a:cubicBezTo>
                  <a:cubicBezTo>
                    <a:pt x="203" y="952"/>
                    <a:pt x="203" y="952"/>
                    <a:pt x="203" y="952"/>
                  </a:cubicBezTo>
                  <a:cubicBezTo>
                    <a:pt x="203" y="952"/>
                    <a:pt x="203" y="952"/>
                    <a:pt x="203" y="952"/>
                  </a:cubicBezTo>
                  <a:cubicBezTo>
                    <a:pt x="204" y="952"/>
                    <a:pt x="204" y="952"/>
                    <a:pt x="204" y="952"/>
                  </a:cubicBezTo>
                  <a:cubicBezTo>
                    <a:pt x="204" y="953"/>
                    <a:pt x="204" y="953"/>
                    <a:pt x="204" y="953"/>
                  </a:cubicBezTo>
                  <a:cubicBezTo>
                    <a:pt x="204" y="953"/>
                    <a:pt x="204" y="953"/>
                    <a:pt x="204" y="953"/>
                  </a:cubicBezTo>
                  <a:cubicBezTo>
                    <a:pt x="204" y="954"/>
                    <a:pt x="204" y="954"/>
                    <a:pt x="204" y="954"/>
                  </a:cubicBezTo>
                  <a:cubicBezTo>
                    <a:pt x="205" y="954"/>
                    <a:pt x="205" y="954"/>
                    <a:pt x="205" y="954"/>
                  </a:cubicBezTo>
                  <a:cubicBezTo>
                    <a:pt x="205" y="954"/>
                    <a:pt x="205" y="954"/>
                    <a:pt x="205" y="954"/>
                  </a:cubicBezTo>
                  <a:cubicBezTo>
                    <a:pt x="205" y="954"/>
                    <a:pt x="205" y="954"/>
                    <a:pt x="205" y="954"/>
                  </a:cubicBezTo>
                  <a:cubicBezTo>
                    <a:pt x="204" y="955"/>
                    <a:pt x="204" y="955"/>
                    <a:pt x="204" y="955"/>
                  </a:cubicBezTo>
                  <a:cubicBezTo>
                    <a:pt x="204" y="955"/>
                    <a:pt x="204" y="955"/>
                    <a:pt x="204" y="955"/>
                  </a:cubicBezTo>
                  <a:cubicBezTo>
                    <a:pt x="204" y="955"/>
                    <a:pt x="204" y="955"/>
                    <a:pt x="204" y="955"/>
                  </a:cubicBezTo>
                  <a:cubicBezTo>
                    <a:pt x="204" y="954"/>
                    <a:pt x="204" y="954"/>
                    <a:pt x="204" y="954"/>
                  </a:cubicBezTo>
                  <a:cubicBezTo>
                    <a:pt x="204" y="954"/>
                    <a:pt x="204" y="954"/>
                    <a:pt x="204" y="954"/>
                  </a:cubicBezTo>
                  <a:cubicBezTo>
                    <a:pt x="204" y="954"/>
                    <a:pt x="204" y="954"/>
                    <a:pt x="204" y="954"/>
                  </a:cubicBezTo>
                  <a:cubicBezTo>
                    <a:pt x="203" y="954"/>
                    <a:pt x="203" y="954"/>
                    <a:pt x="203" y="954"/>
                  </a:cubicBezTo>
                  <a:cubicBezTo>
                    <a:pt x="203" y="954"/>
                    <a:pt x="203" y="954"/>
                    <a:pt x="203" y="954"/>
                  </a:cubicBezTo>
                  <a:cubicBezTo>
                    <a:pt x="201" y="955"/>
                    <a:pt x="201" y="955"/>
                    <a:pt x="201" y="955"/>
                  </a:cubicBezTo>
                  <a:cubicBezTo>
                    <a:pt x="202" y="956"/>
                    <a:pt x="202" y="956"/>
                    <a:pt x="202" y="956"/>
                  </a:cubicBezTo>
                  <a:cubicBezTo>
                    <a:pt x="202" y="957"/>
                    <a:pt x="202" y="957"/>
                    <a:pt x="202" y="957"/>
                  </a:cubicBezTo>
                  <a:cubicBezTo>
                    <a:pt x="202" y="958"/>
                    <a:pt x="202" y="958"/>
                    <a:pt x="202" y="958"/>
                  </a:cubicBezTo>
                  <a:cubicBezTo>
                    <a:pt x="202" y="958"/>
                    <a:pt x="202" y="958"/>
                    <a:pt x="202" y="958"/>
                  </a:cubicBezTo>
                  <a:cubicBezTo>
                    <a:pt x="203" y="958"/>
                    <a:pt x="203" y="958"/>
                    <a:pt x="203" y="958"/>
                  </a:cubicBezTo>
                  <a:cubicBezTo>
                    <a:pt x="203" y="958"/>
                    <a:pt x="203" y="958"/>
                    <a:pt x="203" y="958"/>
                  </a:cubicBezTo>
                  <a:cubicBezTo>
                    <a:pt x="202" y="957"/>
                    <a:pt x="202" y="957"/>
                    <a:pt x="202" y="957"/>
                  </a:cubicBezTo>
                  <a:cubicBezTo>
                    <a:pt x="203" y="957"/>
                    <a:pt x="203" y="957"/>
                    <a:pt x="203" y="957"/>
                  </a:cubicBezTo>
                  <a:cubicBezTo>
                    <a:pt x="203" y="957"/>
                    <a:pt x="203" y="957"/>
                    <a:pt x="203" y="957"/>
                  </a:cubicBezTo>
                  <a:cubicBezTo>
                    <a:pt x="203" y="958"/>
                    <a:pt x="203" y="958"/>
                    <a:pt x="203" y="958"/>
                  </a:cubicBezTo>
                  <a:cubicBezTo>
                    <a:pt x="204" y="958"/>
                    <a:pt x="204" y="958"/>
                    <a:pt x="204" y="958"/>
                  </a:cubicBezTo>
                  <a:cubicBezTo>
                    <a:pt x="204" y="959"/>
                    <a:pt x="204" y="959"/>
                    <a:pt x="204" y="959"/>
                  </a:cubicBezTo>
                  <a:cubicBezTo>
                    <a:pt x="204" y="959"/>
                    <a:pt x="204" y="959"/>
                    <a:pt x="204" y="959"/>
                  </a:cubicBezTo>
                  <a:cubicBezTo>
                    <a:pt x="203" y="960"/>
                    <a:pt x="203" y="960"/>
                    <a:pt x="203" y="960"/>
                  </a:cubicBezTo>
                  <a:cubicBezTo>
                    <a:pt x="202" y="959"/>
                    <a:pt x="202" y="959"/>
                    <a:pt x="202" y="959"/>
                  </a:cubicBezTo>
                  <a:cubicBezTo>
                    <a:pt x="201" y="959"/>
                    <a:pt x="201" y="959"/>
                    <a:pt x="201" y="959"/>
                  </a:cubicBezTo>
                  <a:cubicBezTo>
                    <a:pt x="201" y="959"/>
                    <a:pt x="201" y="959"/>
                    <a:pt x="201" y="959"/>
                  </a:cubicBezTo>
                  <a:cubicBezTo>
                    <a:pt x="204" y="960"/>
                    <a:pt x="204" y="960"/>
                    <a:pt x="204" y="960"/>
                  </a:cubicBezTo>
                  <a:cubicBezTo>
                    <a:pt x="205" y="961"/>
                    <a:pt x="205" y="961"/>
                    <a:pt x="205" y="961"/>
                  </a:cubicBezTo>
                  <a:cubicBezTo>
                    <a:pt x="205" y="960"/>
                    <a:pt x="205" y="960"/>
                    <a:pt x="205" y="960"/>
                  </a:cubicBezTo>
                  <a:cubicBezTo>
                    <a:pt x="205" y="960"/>
                    <a:pt x="205" y="960"/>
                    <a:pt x="205" y="960"/>
                  </a:cubicBezTo>
                  <a:cubicBezTo>
                    <a:pt x="205" y="960"/>
                    <a:pt x="205" y="960"/>
                    <a:pt x="205" y="960"/>
                  </a:cubicBezTo>
                  <a:cubicBezTo>
                    <a:pt x="205" y="960"/>
                    <a:pt x="205" y="960"/>
                    <a:pt x="205" y="960"/>
                  </a:cubicBezTo>
                  <a:cubicBezTo>
                    <a:pt x="205" y="960"/>
                    <a:pt x="205" y="960"/>
                    <a:pt x="205" y="960"/>
                  </a:cubicBezTo>
                  <a:cubicBezTo>
                    <a:pt x="205" y="960"/>
                    <a:pt x="205" y="960"/>
                    <a:pt x="205" y="960"/>
                  </a:cubicBezTo>
                  <a:cubicBezTo>
                    <a:pt x="206" y="960"/>
                    <a:pt x="206" y="960"/>
                    <a:pt x="206" y="960"/>
                  </a:cubicBezTo>
                  <a:cubicBezTo>
                    <a:pt x="207" y="960"/>
                    <a:pt x="207" y="960"/>
                    <a:pt x="207" y="960"/>
                  </a:cubicBezTo>
                  <a:cubicBezTo>
                    <a:pt x="207" y="961"/>
                    <a:pt x="207" y="961"/>
                    <a:pt x="207" y="961"/>
                  </a:cubicBezTo>
                  <a:cubicBezTo>
                    <a:pt x="208" y="961"/>
                    <a:pt x="208" y="961"/>
                    <a:pt x="208" y="961"/>
                  </a:cubicBezTo>
                  <a:cubicBezTo>
                    <a:pt x="208" y="961"/>
                    <a:pt x="208" y="961"/>
                    <a:pt x="208" y="961"/>
                  </a:cubicBezTo>
                  <a:cubicBezTo>
                    <a:pt x="209" y="961"/>
                    <a:pt x="209" y="961"/>
                    <a:pt x="209" y="961"/>
                  </a:cubicBezTo>
                  <a:cubicBezTo>
                    <a:pt x="209" y="961"/>
                    <a:pt x="209" y="961"/>
                    <a:pt x="209" y="961"/>
                  </a:cubicBezTo>
                  <a:cubicBezTo>
                    <a:pt x="210" y="960"/>
                    <a:pt x="210" y="960"/>
                    <a:pt x="210" y="960"/>
                  </a:cubicBezTo>
                  <a:cubicBezTo>
                    <a:pt x="211" y="960"/>
                    <a:pt x="211" y="960"/>
                    <a:pt x="211" y="960"/>
                  </a:cubicBezTo>
                  <a:cubicBezTo>
                    <a:pt x="211" y="960"/>
                    <a:pt x="211" y="960"/>
                    <a:pt x="211" y="960"/>
                  </a:cubicBezTo>
                  <a:cubicBezTo>
                    <a:pt x="212" y="960"/>
                    <a:pt x="212" y="960"/>
                    <a:pt x="212" y="960"/>
                  </a:cubicBezTo>
                  <a:cubicBezTo>
                    <a:pt x="212" y="960"/>
                    <a:pt x="212" y="960"/>
                    <a:pt x="212" y="960"/>
                  </a:cubicBezTo>
                  <a:cubicBezTo>
                    <a:pt x="212" y="959"/>
                    <a:pt x="212" y="959"/>
                    <a:pt x="212" y="959"/>
                  </a:cubicBezTo>
                  <a:cubicBezTo>
                    <a:pt x="213" y="959"/>
                    <a:pt x="213" y="959"/>
                    <a:pt x="213" y="959"/>
                  </a:cubicBezTo>
                  <a:cubicBezTo>
                    <a:pt x="217" y="958"/>
                    <a:pt x="217" y="958"/>
                    <a:pt x="217" y="958"/>
                  </a:cubicBezTo>
                  <a:cubicBezTo>
                    <a:pt x="218" y="959"/>
                    <a:pt x="218" y="959"/>
                    <a:pt x="218" y="959"/>
                  </a:cubicBezTo>
                  <a:cubicBezTo>
                    <a:pt x="219" y="959"/>
                    <a:pt x="219" y="959"/>
                    <a:pt x="219" y="959"/>
                  </a:cubicBezTo>
                  <a:cubicBezTo>
                    <a:pt x="219" y="959"/>
                    <a:pt x="219" y="959"/>
                    <a:pt x="219" y="959"/>
                  </a:cubicBezTo>
                  <a:cubicBezTo>
                    <a:pt x="219" y="959"/>
                    <a:pt x="219" y="959"/>
                    <a:pt x="219" y="959"/>
                  </a:cubicBezTo>
                  <a:cubicBezTo>
                    <a:pt x="220" y="959"/>
                    <a:pt x="220" y="959"/>
                    <a:pt x="220" y="959"/>
                  </a:cubicBezTo>
                  <a:cubicBezTo>
                    <a:pt x="221" y="960"/>
                    <a:pt x="221" y="960"/>
                    <a:pt x="221" y="960"/>
                  </a:cubicBezTo>
                  <a:cubicBezTo>
                    <a:pt x="222" y="961"/>
                    <a:pt x="222" y="961"/>
                    <a:pt x="222" y="961"/>
                  </a:cubicBezTo>
                  <a:cubicBezTo>
                    <a:pt x="223" y="962"/>
                    <a:pt x="223" y="962"/>
                    <a:pt x="223" y="962"/>
                  </a:cubicBezTo>
                  <a:cubicBezTo>
                    <a:pt x="224" y="962"/>
                    <a:pt x="224" y="962"/>
                    <a:pt x="224" y="962"/>
                  </a:cubicBezTo>
                  <a:cubicBezTo>
                    <a:pt x="225" y="963"/>
                    <a:pt x="225" y="963"/>
                    <a:pt x="225" y="963"/>
                  </a:cubicBezTo>
                  <a:cubicBezTo>
                    <a:pt x="226" y="963"/>
                    <a:pt x="226" y="963"/>
                    <a:pt x="226" y="963"/>
                  </a:cubicBezTo>
                  <a:cubicBezTo>
                    <a:pt x="224" y="963"/>
                    <a:pt x="224" y="963"/>
                    <a:pt x="224" y="963"/>
                  </a:cubicBezTo>
                  <a:cubicBezTo>
                    <a:pt x="223" y="963"/>
                    <a:pt x="223" y="963"/>
                    <a:pt x="223" y="963"/>
                  </a:cubicBezTo>
                  <a:cubicBezTo>
                    <a:pt x="222" y="962"/>
                    <a:pt x="222" y="962"/>
                    <a:pt x="222" y="962"/>
                  </a:cubicBezTo>
                  <a:cubicBezTo>
                    <a:pt x="222" y="962"/>
                    <a:pt x="222" y="962"/>
                    <a:pt x="222" y="962"/>
                  </a:cubicBezTo>
                  <a:cubicBezTo>
                    <a:pt x="221" y="961"/>
                    <a:pt x="221" y="961"/>
                    <a:pt x="221" y="961"/>
                  </a:cubicBezTo>
                  <a:cubicBezTo>
                    <a:pt x="220" y="961"/>
                    <a:pt x="220" y="961"/>
                    <a:pt x="220" y="961"/>
                  </a:cubicBezTo>
                  <a:cubicBezTo>
                    <a:pt x="220" y="960"/>
                    <a:pt x="220" y="960"/>
                    <a:pt x="220" y="960"/>
                  </a:cubicBezTo>
                  <a:cubicBezTo>
                    <a:pt x="220" y="960"/>
                    <a:pt x="220" y="960"/>
                    <a:pt x="220" y="960"/>
                  </a:cubicBezTo>
                  <a:cubicBezTo>
                    <a:pt x="220" y="960"/>
                    <a:pt x="220" y="960"/>
                    <a:pt x="220" y="960"/>
                  </a:cubicBezTo>
                  <a:cubicBezTo>
                    <a:pt x="220" y="960"/>
                    <a:pt x="220" y="960"/>
                    <a:pt x="220" y="960"/>
                  </a:cubicBezTo>
                  <a:cubicBezTo>
                    <a:pt x="219" y="960"/>
                    <a:pt x="219" y="960"/>
                    <a:pt x="219" y="960"/>
                  </a:cubicBezTo>
                  <a:cubicBezTo>
                    <a:pt x="219" y="960"/>
                    <a:pt x="219" y="960"/>
                    <a:pt x="219" y="960"/>
                  </a:cubicBezTo>
                  <a:cubicBezTo>
                    <a:pt x="219" y="960"/>
                    <a:pt x="219" y="960"/>
                    <a:pt x="219" y="960"/>
                  </a:cubicBezTo>
                  <a:cubicBezTo>
                    <a:pt x="219" y="960"/>
                    <a:pt x="219" y="960"/>
                    <a:pt x="219" y="960"/>
                  </a:cubicBezTo>
                  <a:cubicBezTo>
                    <a:pt x="217" y="960"/>
                    <a:pt x="217" y="960"/>
                    <a:pt x="217" y="960"/>
                  </a:cubicBezTo>
                  <a:cubicBezTo>
                    <a:pt x="217" y="959"/>
                    <a:pt x="217" y="959"/>
                    <a:pt x="217" y="959"/>
                  </a:cubicBezTo>
                  <a:cubicBezTo>
                    <a:pt x="217" y="959"/>
                    <a:pt x="217" y="959"/>
                    <a:pt x="217" y="959"/>
                  </a:cubicBezTo>
                  <a:cubicBezTo>
                    <a:pt x="217" y="959"/>
                    <a:pt x="217" y="959"/>
                    <a:pt x="217" y="959"/>
                  </a:cubicBezTo>
                  <a:cubicBezTo>
                    <a:pt x="216" y="959"/>
                    <a:pt x="216" y="959"/>
                    <a:pt x="216" y="959"/>
                  </a:cubicBezTo>
                  <a:cubicBezTo>
                    <a:pt x="216" y="959"/>
                    <a:pt x="216" y="959"/>
                    <a:pt x="216" y="959"/>
                  </a:cubicBezTo>
                  <a:cubicBezTo>
                    <a:pt x="213" y="960"/>
                    <a:pt x="213" y="960"/>
                    <a:pt x="213" y="960"/>
                  </a:cubicBezTo>
                  <a:cubicBezTo>
                    <a:pt x="213" y="960"/>
                    <a:pt x="213" y="960"/>
                    <a:pt x="213" y="960"/>
                  </a:cubicBezTo>
                  <a:cubicBezTo>
                    <a:pt x="212" y="960"/>
                    <a:pt x="212" y="960"/>
                    <a:pt x="212" y="960"/>
                  </a:cubicBezTo>
                  <a:cubicBezTo>
                    <a:pt x="212" y="961"/>
                    <a:pt x="212" y="961"/>
                    <a:pt x="212" y="961"/>
                  </a:cubicBezTo>
                  <a:cubicBezTo>
                    <a:pt x="212" y="961"/>
                    <a:pt x="212" y="961"/>
                    <a:pt x="212" y="961"/>
                  </a:cubicBezTo>
                  <a:cubicBezTo>
                    <a:pt x="212" y="962"/>
                    <a:pt x="212" y="962"/>
                    <a:pt x="212" y="962"/>
                  </a:cubicBezTo>
                  <a:cubicBezTo>
                    <a:pt x="212" y="963"/>
                    <a:pt x="212" y="963"/>
                    <a:pt x="212" y="963"/>
                  </a:cubicBezTo>
                  <a:cubicBezTo>
                    <a:pt x="212" y="963"/>
                    <a:pt x="212" y="963"/>
                    <a:pt x="212" y="963"/>
                  </a:cubicBezTo>
                  <a:cubicBezTo>
                    <a:pt x="212" y="964"/>
                    <a:pt x="212" y="964"/>
                    <a:pt x="212" y="964"/>
                  </a:cubicBezTo>
                  <a:cubicBezTo>
                    <a:pt x="212" y="965"/>
                    <a:pt x="212" y="965"/>
                    <a:pt x="212" y="965"/>
                  </a:cubicBezTo>
                  <a:cubicBezTo>
                    <a:pt x="212" y="965"/>
                    <a:pt x="212" y="965"/>
                    <a:pt x="212" y="965"/>
                  </a:cubicBezTo>
                  <a:cubicBezTo>
                    <a:pt x="212" y="965"/>
                    <a:pt x="212" y="965"/>
                    <a:pt x="212" y="965"/>
                  </a:cubicBezTo>
                  <a:cubicBezTo>
                    <a:pt x="211" y="965"/>
                    <a:pt x="211" y="965"/>
                    <a:pt x="211" y="965"/>
                  </a:cubicBezTo>
                  <a:cubicBezTo>
                    <a:pt x="211" y="965"/>
                    <a:pt x="211" y="965"/>
                    <a:pt x="211" y="965"/>
                  </a:cubicBezTo>
                  <a:cubicBezTo>
                    <a:pt x="210" y="966"/>
                    <a:pt x="210" y="966"/>
                    <a:pt x="210" y="966"/>
                  </a:cubicBezTo>
                  <a:cubicBezTo>
                    <a:pt x="210" y="966"/>
                    <a:pt x="210" y="966"/>
                    <a:pt x="210" y="966"/>
                  </a:cubicBezTo>
                  <a:cubicBezTo>
                    <a:pt x="211" y="967"/>
                    <a:pt x="211" y="967"/>
                    <a:pt x="211" y="967"/>
                  </a:cubicBezTo>
                  <a:cubicBezTo>
                    <a:pt x="215" y="967"/>
                    <a:pt x="215" y="967"/>
                    <a:pt x="215" y="967"/>
                  </a:cubicBezTo>
                  <a:cubicBezTo>
                    <a:pt x="216" y="968"/>
                    <a:pt x="216" y="968"/>
                    <a:pt x="216" y="968"/>
                  </a:cubicBezTo>
                  <a:cubicBezTo>
                    <a:pt x="217" y="969"/>
                    <a:pt x="217" y="969"/>
                    <a:pt x="217" y="969"/>
                  </a:cubicBezTo>
                  <a:cubicBezTo>
                    <a:pt x="217" y="969"/>
                    <a:pt x="217" y="969"/>
                    <a:pt x="217" y="969"/>
                  </a:cubicBezTo>
                  <a:cubicBezTo>
                    <a:pt x="217" y="970"/>
                    <a:pt x="217" y="970"/>
                    <a:pt x="217" y="970"/>
                  </a:cubicBezTo>
                  <a:cubicBezTo>
                    <a:pt x="218" y="971"/>
                    <a:pt x="218" y="971"/>
                    <a:pt x="218" y="971"/>
                  </a:cubicBezTo>
                  <a:cubicBezTo>
                    <a:pt x="217" y="971"/>
                    <a:pt x="217" y="971"/>
                    <a:pt x="217" y="971"/>
                  </a:cubicBezTo>
                  <a:cubicBezTo>
                    <a:pt x="217" y="972"/>
                    <a:pt x="217" y="972"/>
                    <a:pt x="217" y="972"/>
                  </a:cubicBezTo>
                  <a:cubicBezTo>
                    <a:pt x="216" y="973"/>
                    <a:pt x="216" y="973"/>
                    <a:pt x="216" y="973"/>
                  </a:cubicBezTo>
                  <a:cubicBezTo>
                    <a:pt x="216" y="974"/>
                    <a:pt x="216" y="974"/>
                    <a:pt x="216" y="974"/>
                  </a:cubicBezTo>
                  <a:cubicBezTo>
                    <a:pt x="215" y="975"/>
                    <a:pt x="215" y="975"/>
                    <a:pt x="215" y="975"/>
                  </a:cubicBezTo>
                  <a:cubicBezTo>
                    <a:pt x="214" y="975"/>
                    <a:pt x="214" y="975"/>
                    <a:pt x="214" y="975"/>
                  </a:cubicBezTo>
                  <a:cubicBezTo>
                    <a:pt x="214" y="976"/>
                    <a:pt x="214" y="976"/>
                    <a:pt x="214" y="976"/>
                  </a:cubicBezTo>
                  <a:cubicBezTo>
                    <a:pt x="214" y="976"/>
                    <a:pt x="214" y="976"/>
                    <a:pt x="214" y="976"/>
                  </a:cubicBezTo>
                  <a:cubicBezTo>
                    <a:pt x="213" y="977"/>
                    <a:pt x="213" y="977"/>
                    <a:pt x="213" y="977"/>
                  </a:cubicBezTo>
                  <a:cubicBezTo>
                    <a:pt x="213" y="978"/>
                    <a:pt x="213" y="978"/>
                    <a:pt x="213" y="978"/>
                  </a:cubicBezTo>
                  <a:cubicBezTo>
                    <a:pt x="213" y="979"/>
                    <a:pt x="213" y="979"/>
                    <a:pt x="213" y="979"/>
                  </a:cubicBezTo>
                  <a:cubicBezTo>
                    <a:pt x="213" y="979"/>
                    <a:pt x="213" y="979"/>
                    <a:pt x="213" y="979"/>
                  </a:cubicBezTo>
                  <a:cubicBezTo>
                    <a:pt x="214" y="980"/>
                    <a:pt x="214" y="980"/>
                    <a:pt x="214" y="980"/>
                  </a:cubicBezTo>
                  <a:cubicBezTo>
                    <a:pt x="214" y="980"/>
                    <a:pt x="214" y="980"/>
                    <a:pt x="214" y="980"/>
                  </a:cubicBezTo>
                  <a:cubicBezTo>
                    <a:pt x="215" y="981"/>
                    <a:pt x="215" y="981"/>
                    <a:pt x="215" y="981"/>
                  </a:cubicBezTo>
                  <a:cubicBezTo>
                    <a:pt x="216" y="981"/>
                    <a:pt x="216" y="981"/>
                    <a:pt x="216" y="981"/>
                  </a:cubicBezTo>
                  <a:cubicBezTo>
                    <a:pt x="217" y="983"/>
                    <a:pt x="217" y="983"/>
                    <a:pt x="217" y="983"/>
                  </a:cubicBezTo>
                  <a:cubicBezTo>
                    <a:pt x="218" y="985"/>
                    <a:pt x="218" y="985"/>
                    <a:pt x="218" y="985"/>
                  </a:cubicBezTo>
                  <a:cubicBezTo>
                    <a:pt x="219" y="985"/>
                    <a:pt x="219" y="985"/>
                    <a:pt x="219" y="985"/>
                  </a:cubicBezTo>
                  <a:cubicBezTo>
                    <a:pt x="219" y="985"/>
                    <a:pt x="219" y="985"/>
                    <a:pt x="219" y="985"/>
                  </a:cubicBezTo>
                  <a:cubicBezTo>
                    <a:pt x="219" y="985"/>
                    <a:pt x="219" y="985"/>
                    <a:pt x="219" y="985"/>
                  </a:cubicBezTo>
                  <a:cubicBezTo>
                    <a:pt x="220" y="986"/>
                    <a:pt x="220" y="986"/>
                    <a:pt x="220" y="986"/>
                  </a:cubicBezTo>
                  <a:cubicBezTo>
                    <a:pt x="220" y="987"/>
                    <a:pt x="220" y="987"/>
                    <a:pt x="220" y="987"/>
                  </a:cubicBezTo>
                  <a:cubicBezTo>
                    <a:pt x="221" y="987"/>
                    <a:pt x="221" y="987"/>
                    <a:pt x="221" y="987"/>
                  </a:cubicBezTo>
                  <a:cubicBezTo>
                    <a:pt x="221" y="988"/>
                    <a:pt x="221" y="988"/>
                    <a:pt x="221" y="988"/>
                  </a:cubicBezTo>
                  <a:cubicBezTo>
                    <a:pt x="222" y="988"/>
                    <a:pt x="222" y="988"/>
                    <a:pt x="222" y="988"/>
                  </a:cubicBezTo>
                  <a:cubicBezTo>
                    <a:pt x="222" y="989"/>
                    <a:pt x="222" y="989"/>
                    <a:pt x="222" y="989"/>
                  </a:cubicBezTo>
                  <a:cubicBezTo>
                    <a:pt x="222" y="989"/>
                    <a:pt x="222" y="989"/>
                    <a:pt x="222" y="989"/>
                  </a:cubicBezTo>
                  <a:cubicBezTo>
                    <a:pt x="222" y="990"/>
                    <a:pt x="222" y="990"/>
                    <a:pt x="222" y="990"/>
                  </a:cubicBezTo>
                  <a:cubicBezTo>
                    <a:pt x="222" y="990"/>
                    <a:pt x="222" y="990"/>
                    <a:pt x="222" y="990"/>
                  </a:cubicBezTo>
                  <a:cubicBezTo>
                    <a:pt x="222" y="991"/>
                    <a:pt x="222" y="991"/>
                    <a:pt x="222" y="991"/>
                  </a:cubicBezTo>
                  <a:cubicBezTo>
                    <a:pt x="223" y="994"/>
                    <a:pt x="223" y="994"/>
                    <a:pt x="223" y="994"/>
                  </a:cubicBezTo>
                  <a:cubicBezTo>
                    <a:pt x="223" y="994"/>
                    <a:pt x="223" y="994"/>
                    <a:pt x="223" y="994"/>
                  </a:cubicBezTo>
                  <a:cubicBezTo>
                    <a:pt x="224" y="994"/>
                    <a:pt x="224" y="994"/>
                    <a:pt x="224" y="994"/>
                  </a:cubicBezTo>
                  <a:cubicBezTo>
                    <a:pt x="224" y="994"/>
                    <a:pt x="224" y="994"/>
                    <a:pt x="224" y="994"/>
                  </a:cubicBezTo>
                  <a:cubicBezTo>
                    <a:pt x="224" y="994"/>
                    <a:pt x="224" y="994"/>
                    <a:pt x="224" y="994"/>
                  </a:cubicBezTo>
                  <a:cubicBezTo>
                    <a:pt x="224" y="993"/>
                    <a:pt x="224" y="993"/>
                    <a:pt x="224" y="993"/>
                  </a:cubicBezTo>
                  <a:cubicBezTo>
                    <a:pt x="224" y="993"/>
                    <a:pt x="224" y="993"/>
                    <a:pt x="224" y="993"/>
                  </a:cubicBezTo>
                  <a:cubicBezTo>
                    <a:pt x="224" y="993"/>
                    <a:pt x="224" y="993"/>
                    <a:pt x="224" y="993"/>
                  </a:cubicBezTo>
                  <a:cubicBezTo>
                    <a:pt x="224" y="994"/>
                    <a:pt x="224" y="994"/>
                    <a:pt x="224" y="994"/>
                  </a:cubicBezTo>
                  <a:cubicBezTo>
                    <a:pt x="224" y="994"/>
                    <a:pt x="224" y="994"/>
                    <a:pt x="224" y="994"/>
                  </a:cubicBezTo>
                  <a:cubicBezTo>
                    <a:pt x="225" y="995"/>
                    <a:pt x="225" y="995"/>
                    <a:pt x="225" y="995"/>
                  </a:cubicBezTo>
                  <a:cubicBezTo>
                    <a:pt x="226" y="995"/>
                    <a:pt x="226" y="995"/>
                    <a:pt x="226" y="995"/>
                  </a:cubicBezTo>
                  <a:cubicBezTo>
                    <a:pt x="227" y="996"/>
                    <a:pt x="227" y="996"/>
                    <a:pt x="227" y="996"/>
                  </a:cubicBezTo>
                  <a:cubicBezTo>
                    <a:pt x="228" y="996"/>
                    <a:pt x="228" y="996"/>
                    <a:pt x="228" y="996"/>
                  </a:cubicBezTo>
                  <a:cubicBezTo>
                    <a:pt x="229" y="996"/>
                    <a:pt x="229" y="996"/>
                    <a:pt x="229" y="996"/>
                  </a:cubicBezTo>
                  <a:cubicBezTo>
                    <a:pt x="229" y="997"/>
                    <a:pt x="229" y="997"/>
                    <a:pt x="229" y="997"/>
                  </a:cubicBezTo>
                  <a:cubicBezTo>
                    <a:pt x="229" y="997"/>
                    <a:pt x="229" y="997"/>
                    <a:pt x="229" y="997"/>
                  </a:cubicBezTo>
                  <a:cubicBezTo>
                    <a:pt x="231" y="997"/>
                    <a:pt x="231" y="997"/>
                    <a:pt x="231" y="997"/>
                  </a:cubicBezTo>
                  <a:cubicBezTo>
                    <a:pt x="232" y="998"/>
                    <a:pt x="232" y="998"/>
                    <a:pt x="232" y="998"/>
                  </a:cubicBezTo>
                  <a:cubicBezTo>
                    <a:pt x="233" y="998"/>
                    <a:pt x="233" y="998"/>
                    <a:pt x="233" y="998"/>
                  </a:cubicBezTo>
                  <a:cubicBezTo>
                    <a:pt x="233" y="999"/>
                    <a:pt x="233" y="999"/>
                    <a:pt x="233" y="999"/>
                  </a:cubicBezTo>
                  <a:cubicBezTo>
                    <a:pt x="233" y="1000"/>
                    <a:pt x="233" y="1000"/>
                    <a:pt x="233" y="1000"/>
                  </a:cubicBezTo>
                  <a:cubicBezTo>
                    <a:pt x="234" y="1001"/>
                    <a:pt x="234" y="1001"/>
                    <a:pt x="234" y="1001"/>
                  </a:cubicBezTo>
                  <a:cubicBezTo>
                    <a:pt x="235" y="1001"/>
                    <a:pt x="235" y="1001"/>
                    <a:pt x="235" y="1001"/>
                  </a:cubicBezTo>
                  <a:cubicBezTo>
                    <a:pt x="236" y="1000"/>
                    <a:pt x="236" y="1000"/>
                    <a:pt x="236" y="1000"/>
                  </a:cubicBezTo>
                  <a:cubicBezTo>
                    <a:pt x="237" y="1000"/>
                    <a:pt x="237" y="1000"/>
                    <a:pt x="237" y="1000"/>
                  </a:cubicBezTo>
                  <a:cubicBezTo>
                    <a:pt x="237" y="1001"/>
                    <a:pt x="237" y="1001"/>
                    <a:pt x="237" y="1001"/>
                  </a:cubicBezTo>
                  <a:cubicBezTo>
                    <a:pt x="238" y="1002"/>
                    <a:pt x="238" y="1002"/>
                    <a:pt x="238" y="1002"/>
                  </a:cubicBezTo>
                  <a:cubicBezTo>
                    <a:pt x="238" y="1002"/>
                    <a:pt x="238" y="1002"/>
                    <a:pt x="238" y="1002"/>
                  </a:cubicBezTo>
                  <a:cubicBezTo>
                    <a:pt x="239" y="1002"/>
                    <a:pt x="239" y="1002"/>
                    <a:pt x="239" y="1002"/>
                  </a:cubicBezTo>
                  <a:cubicBezTo>
                    <a:pt x="240" y="1003"/>
                    <a:pt x="240" y="1003"/>
                    <a:pt x="240" y="1003"/>
                  </a:cubicBezTo>
                  <a:cubicBezTo>
                    <a:pt x="240" y="1003"/>
                    <a:pt x="240" y="1003"/>
                    <a:pt x="240" y="1003"/>
                  </a:cubicBezTo>
                  <a:cubicBezTo>
                    <a:pt x="241" y="1004"/>
                    <a:pt x="241" y="1004"/>
                    <a:pt x="241" y="1004"/>
                  </a:cubicBezTo>
                  <a:cubicBezTo>
                    <a:pt x="241" y="1002"/>
                    <a:pt x="241" y="1002"/>
                    <a:pt x="241" y="1002"/>
                  </a:cubicBezTo>
                  <a:cubicBezTo>
                    <a:pt x="242" y="1001"/>
                    <a:pt x="242" y="1001"/>
                    <a:pt x="242" y="1001"/>
                  </a:cubicBezTo>
                  <a:cubicBezTo>
                    <a:pt x="243" y="1001"/>
                    <a:pt x="243" y="1001"/>
                    <a:pt x="243" y="1001"/>
                  </a:cubicBezTo>
                  <a:cubicBezTo>
                    <a:pt x="244" y="1002"/>
                    <a:pt x="244" y="1002"/>
                    <a:pt x="244" y="1002"/>
                  </a:cubicBezTo>
                  <a:cubicBezTo>
                    <a:pt x="244" y="1003"/>
                    <a:pt x="244" y="1003"/>
                    <a:pt x="244" y="1003"/>
                  </a:cubicBezTo>
                  <a:cubicBezTo>
                    <a:pt x="244" y="1004"/>
                    <a:pt x="244" y="1004"/>
                    <a:pt x="244" y="1004"/>
                  </a:cubicBezTo>
                  <a:cubicBezTo>
                    <a:pt x="244" y="1004"/>
                    <a:pt x="244" y="1004"/>
                    <a:pt x="244" y="1004"/>
                  </a:cubicBezTo>
                  <a:cubicBezTo>
                    <a:pt x="244" y="1004"/>
                    <a:pt x="244" y="1004"/>
                    <a:pt x="244" y="1004"/>
                  </a:cubicBezTo>
                  <a:cubicBezTo>
                    <a:pt x="242" y="1006"/>
                    <a:pt x="242" y="1006"/>
                    <a:pt x="242" y="1006"/>
                  </a:cubicBezTo>
                  <a:cubicBezTo>
                    <a:pt x="242" y="1006"/>
                    <a:pt x="242" y="1006"/>
                    <a:pt x="242" y="1006"/>
                  </a:cubicBezTo>
                  <a:cubicBezTo>
                    <a:pt x="242" y="1007"/>
                    <a:pt x="242" y="1007"/>
                    <a:pt x="242" y="1007"/>
                  </a:cubicBezTo>
                  <a:cubicBezTo>
                    <a:pt x="241" y="1007"/>
                    <a:pt x="241" y="1007"/>
                    <a:pt x="241" y="1007"/>
                  </a:cubicBezTo>
                  <a:cubicBezTo>
                    <a:pt x="241" y="1007"/>
                    <a:pt x="241" y="1007"/>
                    <a:pt x="241" y="1007"/>
                  </a:cubicBezTo>
                  <a:cubicBezTo>
                    <a:pt x="241" y="1008"/>
                    <a:pt x="241" y="1008"/>
                    <a:pt x="241" y="1008"/>
                  </a:cubicBezTo>
                  <a:cubicBezTo>
                    <a:pt x="241" y="1008"/>
                    <a:pt x="241" y="1008"/>
                    <a:pt x="241" y="1008"/>
                  </a:cubicBezTo>
                  <a:cubicBezTo>
                    <a:pt x="241" y="1009"/>
                    <a:pt x="241" y="1009"/>
                    <a:pt x="241" y="1009"/>
                  </a:cubicBezTo>
                  <a:cubicBezTo>
                    <a:pt x="241" y="1009"/>
                    <a:pt x="241" y="1009"/>
                    <a:pt x="241" y="1009"/>
                  </a:cubicBezTo>
                  <a:cubicBezTo>
                    <a:pt x="242" y="1009"/>
                    <a:pt x="242" y="1009"/>
                    <a:pt x="242" y="1009"/>
                  </a:cubicBezTo>
                  <a:cubicBezTo>
                    <a:pt x="242" y="1009"/>
                    <a:pt x="242" y="1009"/>
                    <a:pt x="242" y="1009"/>
                  </a:cubicBezTo>
                  <a:cubicBezTo>
                    <a:pt x="243" y="1009"/>
                    <a:pt x="243" y="1009"/>
                    <a:pt x="243" y="1009"/>
                  </a:cubicBezTo>
                  <a:cubicBezTo>
                    <a:pt x="243" y="1009"/>
                    <a:pt x="243" y="1009"/>
                    <a:pt x="243" y="1009"/>
                  </a:cubicBezTo>
                  <a:cubicBezTo>
                    <a:pt x="243" y="1009"/>
                    <a:pt x="243" y="1009"/>
                    <a:pt x="243" y="1009"/>
                  </a:cubicBezTo>
                  <a:cubicBezTo>
                    <a:pt x="243" y="1009"/>
                    <a:pt x="243" y="1009"/>
                    <a:pt x="243" y="1009"/>
                  </a:cubicBezTo>
                  <a:cubicBezTo>
                    <a:pt x="243" y="1009"/>
                    <a:pt x="243" y="1009"/>
                    <a:pt x="243" y="1009"/>
                  </a:cubicBezTo>
                  <a:cubicBezTo>
                    <a:pt x="243" y="1009"/>
                    <a:pt x="243" y="1009"/>
                    <a:pt x="243" y="1009"/>
                  </a:cubicBezTo>
                  <a:cubicBezTo>
                    <a:pt x="244" y="1010"/>
                    <a:pt x="244" y="1010"/>
                    <a:pt x="244" y="1010"/>
                  </a:cubicBezTo>
                  <a:cubicBezTo>
                    <a:pt x="243" y="1010"/>
                    <a:pt x="243" y="1010"/>
                    <a:pt x="243" y="1010"/>
                  </a:cubicBezTo>
                  <a:cubicBezTo>
                    <a:pt x="243" y="1011"/>
                    <a:pt x="243" y="1011"/>
                    <a:pt x="243" y="1011"/>
                  </a:cubicBezTo>
                  <a:cubicBezTo>
                    <a:pt x="244" y="1011"/>
                    <a:pt x="244" y="1011"/>
                    <a:pt x="244" y="1011"/>
                  </a:cubicBezTo>
                  <a:cubicBezTo>
                    <a:pt x="244" y="1011"/>
                    <a:pt x="244" y="1011"/>
                    <a:pt x="244" y="1011"/>
                  </a:cubicBezTo>
                  <a:cubicBezTo>
                    <a:pt x="244" y="1011"/>
                    <a:pt x="244" y="1011"/>
                    <a:pt x="244" y="1011"/>
                  </a:cubicBezTo>
                  <a:cubicBezTo>
                    <a:pt x="244" y="1011"/>
                    <a:pt x="244" y="1011"/>
                    <a:pt x="244" y="1011"/>
                  </a:cubicBezTo>
                  <a:cubicBezTo>
                    <a:pt x="244" y="1011"/>
                    <a:pt x="244" y="1011"/>
                    <a:pt x="244" y="1011"/>
                  </a:cubicBezTo>
                  <a:cubicBezTo>
                    <a:pt x="244" y="1012"/>
                    <a:pt x="244" y="1012"/>
                    <a:pt x="244" y="1012"/>
                  </a:cubicBezTo>
                  <a:cubicBezTo>
                    <a:pt x="245" y="1012"/>
                    <a:pt x="245" y="1012"/>
                    <a:pt x="245" y="1012"/>
                  </a:cubicBezTo>
                  <a:cubicBezTo>
                    <a:pt x="245" y="1013"/>
                    <a:pt x="245" y="1013"/>
                    <a:pt x="245" y="1013"/>
                  </a:cubicBezTo>
                  <a:cubicBezTo>
                    <a:pt x="245" y="1013"/>
                    <a:pt x="245" y="1013"/>
                    <a:pt x="245" y="1013"/>
                  </a:cubicBezTo>
                  <a:cubicBezTo>
                    <a:pt x="245" y="1013"/>
                    <a:pt x="245" y="1013"/>
                    <a:pt x="245" y="1013"/>
                  </a:cubicBezTo>
                  <a:cubicBezTo>
                    <a:pt x="246" y="1014"/>
                    <a:pt x="246" y="1014"/>
                    <a:pt x="246" y="1014"/>
                  </a:cubicBezTo>
                  <a:cubicBezTo>
                    <a:pt x="246" y="1014"/>
                    <a:pt x="246" y="1014"/>
                    <a:pt x="246" y="1014"/>
                  </a:cubicBezTo>
                  <a:cubicBezTo>
                    <a:pt x="246" y="1014"/>
                    <a:pt x="246" y="1014"/>
                    <a:pt x="246" y="1014"/>
                  </a:cubicBezTo>
                  <a:cubicBezTo>
                    <a:pt x="246" y="1014"/>
                    <a:pt x="246" y="1014"/>
                    <a:pt x="246" y="1014"/>
                  </a:cubicBezTo>
                  <a:cubicBezTo>
                    <a:pt x="245" y="1015"/>
                    <a:pt x="245" y="1015"/>
                    <a:pt x="245" y="1015"/>
                  </a:cubicBezTo>
                  <a:cubicBezTo>
                    <a:pt x="245" y="1015"/>
                    <a:pt x="245" y="1015"/>
                    <a:pt x="245" y="1015"/>
                  </a:cubicBezTo>
                  <a:cubicBezTo>
                    <a:pt x="245" y="1015"/>
                    <a:pt x="245" y="1015"/>
                    <a:pt x="245" y="1015"/>
                  </a:cubicBezTo>
                  <a:cubicBezTo>
                    <a:pt x="244" y="1015"/>
                    <a:pt x="244" y="1015"/>
                    <a:pt x="244" y="1015"/>
                  </a:cubicBezTo>
                  <a:cubicBezTo>
                    <a:pt x="244" y="1016"/>
                    <a:pt x="244" y="1016"/>
                    <a:pt x="244" y="1016"/>
                  </a:cubicBezTo>
                  <a:cubicBezTo>
                    <a:pt x="245" y="1017"/>
                    <a:pt x="245" y="1017"/>
                    <a:pt x="245" y="1017"/>
                  </a:cubicBezTo>
                  <a:cubicBezTo>
                    <a:pt x="245" y="1017"/>
                    <a:pt x="245" y="1017"/>
                    <a:pt x="245" y="1017"/>
                  </a:cubicBezTo>
                  <a:cubicBezTo>
                    <a:pt x="245" y="1017"/>
                    <a:pt x="245" y="1017"/>
                    <a:pt x="245" y="1017"/>
                  </a:cubicBezTo>
                  <a:cubicBezTo>
                    <a:pt x="245" y="1017"/>
                    <a:pt x="245" y="1017"/>
                    <a:pt x="245" y="1017"/>
                  </a:cubicBezTo>
                  <a:cubicBezTo>
                    <a:pt x="245" y="1018"/>
                    <a:pt x="245" y="1018"/>
                    <a:pt x="245" y="1018"/>
                  </a:cubicBezTo>
                  <a:cubicBezTo>
                    <a:pt x="245" y="1018"/>
                    <a:pt x="245" y="1018"/>
                    <a:pt x="245" y="1018"/>
                  </a:cubicBezTo>
                  <a:cubicBezTo>
                    <a:pt x="245" y="1018"/>
                    <a:pt x="245" y="1018"/>
                    <a:pt x="245" y="1018"/>
                  </a:cubicBezTo>
                  <a:cubicBezTo>
                    <a:pt x="245" y="1019"/>
                    <a:pt x="245" y="1019"/>
                    <a:pt x="245" y="1019"/>
                  </a:cubicBezTo>
                  <a:cubicBezTo>
                    <a:pt x="245" y="1019"/>
                    <a:pt x="245" y="1019"/>
                    <a:pt x="245" y="1019"/>
                  </a:cubicBezTo>
                  <a:cubicBezTo>
                    <a:pt x="245" y="1020"/>
                    <a:pt x="245" y="1020"/>
                    <a:pt x="245" y="1020"/>
                  </a:cubicBezTo>
                  <a:cubicBezTo>
                    <a:pt x="245" y="1020"/>
                    <a:pt x="245" y="1020"/>
                    <a:pt x="245" y="1020"/>
                  </a:cubicBezTo>
                  <a:cubicBezTo>
                    <a:pt x="245" y="1020"/>
                    <a:pt x="245" y="1020"/>
                    <a:pt x="245" y="1020"/>
                  </a:cubicBezTo>
                  <a:cubicBezTo>
                    <a:pt x="244" y="1020"/>
                    <a:pt x="244" y="1020"/>
                    <a:pt x="244" y="1020"/>
                  </a:cubicBezTo>
                  <a:cubicBezTo>
                    <a:pt x="244" y="1020"/>
                    <a:pt x="244" y="1020"/>
                    <a:pt x="244" y="1020"/>
                  </a:cubicBezTo>
                  <a:cubicBezTo>
                    <a:pt x="244" y="1020"/>
                    <a:pt x="244" y="1020"/>
                    <a:pt x="244" y="1020"/>
                  </a:cubicBezTo>
                  <a:cubicBezTo>
                    <a:pt x="243" y="1020"/>
                    <a:pt x="243" y="1020"/>
                    <a:pt x="243" y="1020"/>
                  </a:cubicBezTo>
                  <a:cubicBezTo>
                    <a:pt x="243" y="1021"/>
                    <a:pt x="243" y="1021"/>
                    <a:pt x="243" y="1021"/>
                  </a:cubicBezTo>
                  <a:cubicBezTo>
                    <a:pt x="243" y="1021"/>
                    <a:pt x="243" y="1021"/>
                    <a:pt x="243" y="1021"/>
                  </a:cubicBezTo>
                  <a:cubicBezTo>
                    <a:pt x="243" y="1021"/>
                    <a:pt x="243" y="1021"/>
                    <a:pt x="243" y="1021"/>
                  </a:cubicBezTo>
                  <a:cubicBezTo>
                    <a:pt x="243" y="1022"/>
                    <a:pt x="243" y="1022"/>
                    <a:pt x="243" y="1022"/>
                  </a:cubicBezTo>
                  <a:cubicBezTo>
                    <a:pt x="243" y="1022"/>
                    <a:pt x="243" y="1022"/>
                    <a:pt x="243" y="1022"/>
                  </a:cubicBezTo>
                  <a:cubicBezTo>
                    <a:pt x="243" y="1023"/>
                    <a:pt x="243" y="1023"/>
                    <a:pt x="243" y="1023"/>
                  </a:cubicBezTo>
                  <a:cubicBezTo>
                    <a:pt x="243" y="1023"/>
                    <a:pt x="243" y="1023"/>
                    <a:pt x="243" y="1023"/>
                  </a:cubicBezTo>
                  <a:cubicBezTo>
                    <a:pt x="244" y="1024"/>
                    <a:pt x="244" y="1024"/>
                    <a:pt x="244" y="1024"/>
                  </a:cubicBezTo>
                  <a:cubicBezTo>
                    <a:pt x="244" y="1025"/>
                    <a:pt x="244" y="1025"/>
                    <a:pt x="244" y="1025"/>
                  </a:cubicBezTo>
                  <a:cubicBezTo>
                    <a:pt x="247" y="1027"/>
                    <a:pt x="247" y="1027"/>
                    <a:pt x="247" y="1027"/>
                  </a:cubicBezTo>
                  <a:cubicBezTo>
                    <a:pt x="248" y="1028"/>
                    <a:pt x="248" y="1028"/>
                    <a:pt x="248" y="1028"/>
                  </a:cubicBezTo>
                  <a:cubicBezTo>
                    <a:pt x="246" y="1027"/>
                    <a:pt x="246" y="1027"/>
                    <a:pt x="246" y="1027"/>
                  </a:cubicBezTo>
                  <a:cubicBezTo>
                    <a:pt x="245" y="1026"/>
                    <a:pt x="245" y="1026"/>
                    <a:pt x="245" y="1026"/>
                  </a:cubicBezTo>
                  <a:cubicBezTo>
                    <a:pt x="245" y="1026"/>
                    <a:pt x="245" y="1026"/>
                    <a:pt x="245" y="1026"/>
                  </a:cubicBezTo>
                  <a:cubicBezTo>
                    <a:pt x="243" y="1024"/>
                    <a:pt x="243" y="1024"/>
                    <a:pt x="243" y="1024"/>
                  </a:cubicBezTo>
                  <a:cubicBezTo>
                    <a:pt x="242" y="1024"/>
                    <a:pt x="242" y="1024"/>
                    <a:pt x="242" y="1024"/>
                  </a:cubicBezTo>
                  <a:cubicBezTo>
                    <a:pt x="240" y="1024"/>
                    <a:pt x="240" y="1024"/>
                    <a:pt x="240" y="1024"/>
                  </a:cubicBezTo>
                  <a:cubicBezTo>
                    <a:pt x="240" y="1025"/>
                    <a:pt x="240" y="1025"/>
                    <a:pt x="240" y="1025"/>
                  </a:cubicBezTo>
                  <a:cubicBezTo>
                    <a:pt x="240" y="1028"/>
                    <a:pt x="240" y="1028"/>
                    <a:pt x="240" y="1028"/>
                  </a:cubicBezTo>
                  <a:cubicBezTo>
                    <a:pt x="240" y="1028"/>
                    <a:pt x="240" y="1028"/>
                    <a:pt x="240" y="1028"/>
                  </a:cubicBezTo>
                  <a:cubicBezTo>
                    <a:pt x="241" y="1028"/>
                    <a:pt x="241" y="1028"/>
                    <a:pt x="241" y="1028"/>
                  </a:cubicBezTo>
                  <a:cubicBezTo>
                    <a:pt x="242" y="1028"/>
                    <a:pt x="242" y="1028"/>
                    <a:pt x="242" y="1028"/>
                  </a:cubicBezTo>
                  <a:cubicBezTo>
                    <a:pt x="242" y="1029"/>
                    <a:pt x="242" y="1029"/>
                    <a:pt x="242" y="1029"/>
                  </a:cubicBezTo>
                  <a:cubicBezTo>
                    <a:pt x="243" y="1029"/>
                    <a:pt x="243" y="1029"/>
                    <a:pt x="243" y="1029"/>
                  </a:cubicBezTo>
                  <a:cubicBezTo>
                    <a:pt x="243" y="1029"/>
                    <a:pt x="243" y="1029"/>
                    <a:pt x="243" y="1029"/>
                  </a:cubicBezTo>
                  <a:cubicBezTo>
                    <a:pt x="244" y="1030"/>
                    <a:pt x="244" y="1030"/>
                    <a:pt x="244" y="1030"/>
                  </a:cubicBezTo>
                  <a:cubicBezTo>
                    <a:pt x="245" y="1030"/>
                    <a:pt x="245" y="1030"/>
                    <a:pt x="245" y="1030"/>
                  </a:cubicBezTo>
                  <a:cubicBezTo>
                    <a:pt x="246" y="1032"/>
                    <a:pt x="246" y="1032"/>
                    <a:pt x="246" y="1032"/>
                  </a:cubicBezTo>
                  <a:cubicBezTo>
                    <a:pt x="247" y="1032"/>
                    <a:pt x="247" y="1032"/>
                    <a:pt x="247" y="1032"/>
                  </a:cubicBezTo>
                  <a:cubicBezTo>
                    <a:pt x="247" y="1032"/>
                    <a:pt x="247" y="1032"/>
                    <a:pt x="247" y="1032"/>
                  </a:cubicBezTo>
                  <a:cubicBezTo>
                    <a:pt x="248" y="1033"/>
                    <a:pt x="248" y="1033"/>
                    <a:pt x="248" y="1033"/>
                  </a:cubicBezTo>
                  <a:cubicBezTo>
                    <a:pt x="248" y="1033"/>
                    <a:pt x="248" y="1033"/>
                    <a:pt x="248" y="1033"/>
                  </a:cubicBezTo>
                  <a:cubicBezTo>
                    <a:pt x="252" y="1036"/>
                    <a:pt x="252" y="1036"/>
                    <a:pt x="252" y="1036"/>
                  </a:cubicBezTo>
                  <a:cubicBezTo>
                    <a:pt x="254" y="1038"/>
                    <a:pt x="254" y="1038"/>
                    <a:pt x="254" y="1038"/>
                  </a:cubicBezTo>
                  <a:cubicBezTo>
                    <a:pt x="254" y="1039"/>
                    <a:pt x="254" y="1039"/>
                    <a:pt x="254" y="1039"/>
                  </a:cubicBezTo>
                  <a:cubicBezTo>
                    <a:pt x="255" y="1040"/>
                    <a:pt x="255" y="1040"/>
                    <a:pt x="255" y="1040"/>
                  </a:cubicBezTo>
                  <a:cubicBezTo>
                    <a:pt x="256" y="1043"/>
                    <a:pt x="256" y="1043"/>
                    <a:pt x="256" y="1043"/>
                  </a:cubicBezTo>
                  <a:cubicBezTo>
                    <a:pt x="256" y="1044"/>
                    <a:pt x="256" y="1044"/>
                    <a:pt x="256" y="1044"/>
                  </a:cubicBezTo>
                  <a:cubicBezTo>
                    <a:pt x="257" y="1052"/>
                    <a:pt x="257" y="1052"/>
                    <a:pt x="257" y="1052"/>
                  </a:cubicBezTo>
                  <a:cubicBezTo>
                    <a:pt x="258" y="1054"/>
                    <a:pt x="258" y="1054"/>
                    <a:pt x="258" y="1054"/>
                  </a:cubicBezTo>
                  <a:cubicBezTo>
                    <a:pt x="258" y="1055"/>
                    <a:pt x="258" y="1055"/>
                    <a:pt x="258" y="1055"/>
                  </a:cubicBezTo>
                  <a:cubicBezTo>
                    <a:pt x="259" y="1056"/>
                    <a:pt x="259" y="1056"/>
                    <a:pt x="259" y="1056"/>
                  </a:cubicBezTo>
                  <a:cubicBezTo>
                    <a:pt x="261" y="1056"/>
                    <a:pt x="261" y="1056"/>
                    <a:pt x="261" y="1056"/>
                  </a:cubicBezTo>
                  <a:cubicBezTo>
                    <a:pt x="262" y="1057"/>
                    <a:pt x="262" y="1057"/>
                    <a:pt x="262" y="1057"/>
                  </a:cubicBezTo>
                  <a:cubicBezTo>
                    <a:pt x="262" y="1058"/>
                    <a:pt x="262" y="1058"/>
                    <a:pt x="262" y="1058"/>
                  </a:cubicBezTo>
                  <a:cubicBezTo>
                    <a:pt x="262" y="1058"/>
                    <a:pt x="262" y="1058"/>
                    <a:pt x="262" y="1058"/>
                  </a:cubicBezTo>
                  <a:cubicBezTo>
                    <a:pt x="261" y="1057"/>
                    <a:pt x="261" y="1057"/>
                    <a:pt x="261" y="1057"/>
                  </a:cubicBezTo>
                  <a:cubicBezTo>
                    <a:pt x="260" y="1057"/>
                    <a:pt x="260" y="1057"/>
                    <a:pt x="260" y="1057"/>
                  </a:cubicBezTo>
                  <a:cubicBezTo>
                    <a:pt x="259" y="1057"/>
                    <a:pt x="259" y="1057"/>
                    <a:pt x="259" y="1057"/>
                  </a:cubicBezTo>
                  <a:cubicBezTo>
                    <a:pt x="260" y="1057"/>
                    <a:pt x="260" y="1057"/>
                    <a:pt x="260" y="1057"/>
                  </a:cubicBezTo>
                  <a:cubicBezTo>
                    <a:pt x="261" y="1058"/>
                    <a:pt x="261" y="1058"/>
                    <a:pt x="261" y="1058"/>
                  </a:cubicBezTo>
                  <a:cubicBezTo>
                    <a:pt x="261" y="1059"/>
                    <a:pt x="261" y="1059"/>
                    <a:pt x="261" y="1059"/>
                  </a:cubicBezTo>
                  <a:cubicBezTo>
                    <a:pt x="261" y="1060"/>
                    <a:pt x="261" y="1060"/>
                    <a:pt x="261" y="1060"/>
                  </a:cubicBezTo>
                  <a:cubicBezTo>
                    <a:pt x="261" y="1061"/>
                    <a:pt x="261" y="1061"/>
                    <a:pt x="261" y="1061"/>
                  </a:cubicBezTo>
                  <a:cubicBezTo>
                    <a:pt x="261" y="1062"/>
                    <a:pt x="261" y="1062"/>
                    <a:pt x="261" y="1062"/>
                  </a:cubicBezTo>
                  <a:cubicBezTo>
                    <a:pt x="261" y="1062"/>
                    <a:pt x="261" y="1062"/>
                    <a:pt x="261" y="1062"/>
                  </a:cubicBezTo>
                  <a:cubicBezTo>
                    <a:pt x="261" y="1062"/>
                    <a:pt x="261" y="1062"/>
                    <a:pt x="261" y="1062"/>
                  </a:cubicBezTo>
                  <a:cubicBezTo>
                    <a:pt x="261" y="1061"/>
                    <a:pt x="261" y="1061"/>
                    <a:pt x="261" y="1061"/>
                  </a:cubicBezTo>
                  <a:cubicBezTo>
                    <a:pt x="261" y="1061"/>
                    <a:pt x="261" y="1061"/>
                    <a:pt x="261" y="1061"/>
                  </a:cubicBezTo>
                  <a:cubicBezTo>
                    <a:pt x="260" y="1060"/>
                    <a:pt x="260" y="1060"/>
                    <a:pt x="260" y="1060"/>
                  </a:cubicBezTo>
                  <a:cubicBezTo>
                    <a:pt x="261" y="1059"/>
                    <a:pt x="261" y="1059"/>
                    <a:pt x="261" y="1059"/>
                  </a:cubicBezTo>
                  <a:cubicBezTo>
                    <a:pt x="261" y="1059"/>
                    <a:pt x="261" y="1059"/>
                    <a:pt x="261" y="1059"/>
                  </a:cubicBezTo>
                  <a:cubicBezTo>
                    <a:pt x="260" y="1058"/>
                    <a:pt x="260" y="1058"/>
                    <a:pt x="260" y="1058"/>
                  </a:cubicBezTo>
                  <a:cubicBezTo>
                    <a:pt x="260" y="1058"/>
                    <a:pt x="260" y="1058"/>
                    <a:pt x="260" y="1058"/>
                  </a:cubicBezTo>
                  <a:cubicBezTo>
                    <a:pt x="259" y="1057"/>
                    <a:pt x="259" y="1057"/>
                    <a:pt x="259" y="1057"/>
                  </a:cubicBezTo>
                  <a:cubicBezTo>
                    <a:pt x="258" y="1056"/>
                    <a:pt x="258" y="1056"/>
                    <a:pt x="258" y="1056"/>
                  </a:cubicBezTo>
                  <a:cubicBezTo>
                    <a:pt x="257" y="1055"/>
                    <a:pt x="257" y="1055"/>
                    <a:pt x="257" y="1055"/>
                  </a:cubicBezTo>
                  <a:cubicBezTo>
                    <a:pt x="256" y="1052"/>
                    <a:pt x="256" y="1052"/>
                    <a:pt x="256" y="1052"/>
                  </a:cubicBezTo>
                  <a:cubicBezTo>
                    <a:pt x="256" y="1052"/>
                    <a:pt x="256" y="1052"/>
                    <a:pt x="256" y="1052"/>
                  </a:cubicBezTo>
                  <a:cubicBezTo>
                    <a:pt x="255" y="1048"/>
                    <a:pt x="255" y="1048"/>
                    <a:pt x="255" y="1048"/>
                  </a:cubicBezTo>
                  <a:cubicBezTo>
                    <a:pt x="255" y="1046"/>
                    <a:pt x="255" y="1046"/>
                    <a:pt x="255" y="1046"/>
                  </a:cubicBezTo>
                  <a:cubicBezTo>
                    <a:pt x="255" y="1045"/>
                    <a:pt x="255" y="1045"/>
                    <a:pt x="255" y="1045"/>
                  </a:cubicBezTo>
                  <a:cubicBezTo>
                    <a:pt x="254" y="1044"/>
                    <a:pt x="254" y="1044"/>
                    <a:pt x="254" y="1044"/>
                  </a:cubicBezTo>
                  <a:cubicBezTo>
                    <a:pt x="254" y="1043"/>
                    <a:pt x="254" y="1043"/>
                    <a:pt x="254" y="1043"/>
                  </a:cubicBezTo>
                  <a:cubicBezTo>
                    <a:pt x="250" y="1039"/>
                    <a:pt x="250" y="1039"/>
                    <a:pt x="250" y="1039"/>
                  </a:cubicBezTo>
                  <a:cubicBezTo>
                    <a:pt x="249" y="1039"/>
                    <a:pt x="249" y="1039"/>
                    <a:pt x="249" y="1039"/>
                  </a:cubicBezTo>
                  <a:cubicBezTo>
                    <a:pt x="248" y="1038"/>
                    <a:pt x="248" y="1038"/>
                    <a:pt x="248" y="1038"/>
                  </a:cubicBezTo>
                  <a:cubicBezTo>
                    <a:pt x="246" y="1036"/>
                    <a:pt x="246" y="1036"/>
                    <a:pt x="246" y="1036"/>
                  </a:cubicBezTo>
                  <a:cubicBezTo>
                    <a:pt x="246" y="1036"/>
                    <a:pt x="246" y="1036"/>
                    <a:pt x="246" y="1036"/>
                  </a:cubicBezTo>
                  <a:cubicBezTo>
                    <a:pt x="245" y="1036"/>
                    <a:pt x="245" y="1036"/>
                    <a:pt x="245" y="1036"/>
                  </a:cubicBezTo>
                  <a:cubicBezTo>
                    <a:pt x="245" y="1036"/>
                    <a:pt x="245" y="1036"/>
                    <a:pt x="245" y="1036"/>
                  </a:cubicBezTo>
                  <a:cubicBezTo>
                    <a:pt x="245" y="1035"/>
                    <a:pt x="245" y="1035"/>
                    <a:pt x="245" y="1035"/>
                  </a:cubicBezTo>
                  <a:cubicBezTo>
                    <a:pt x="245" y="1035"/>
                    <a:pt x="245" y="1035"/>
                    <a:pt x="245" y="1035"/>
                  </a:cubicBezTo>
                  <a:cubicBezTo>
                    <a:pt x="246" y="1035"/>
                    <a:pt x="246" y="1035"/>
                    <a:pt x="246" y="1035"/>
                  </a:cubicBezTo>
                  <a:cubicBezTo>
                    <a:pt x="246" y="1034"/>
                    <a:pt x="246" y="1034"/>
                    <a:pt x="246" y="1034"/>
                  </a:cubicBezTo>
                  <a:cubicBezTo>
                    <a:pt x="246" y="1034"/>
                    <a:pt x="246" y="1034"/>
                    <a:pt x="246" y="1034"/>
                  </a:cubicBezTo>
                  <a:cubicBezTo>
                    <a:pt x="246" y="1034"/>
                    <a:pt x="246" y="1034"/>
                    <a:pt x="246" y="1034"/>
                  </a:cubicBezTo>
                  <a:cubicBezTo>
                    <a:pt x="245" y="1034"/>
                    <a:pt x="245" y="1034"/>
                    <a:pt x="245" y="1034"/>
                  </a:cubicBezTo>
                  <a:cubicBezTo>
                    <a:pt x="245" y="1034"/>
                    <a:pt x="245" y="1034"/>
                    <a:pt x="245" y="1034"/>
                  </a:cubicBezTo>
                  <a:cubicBezTo>
                    <a:pt x="244" y="1035"/>
                    <a:pt x="244" y="1035"/>
                    <a:pt x="244" y="1035"/>
                  </a:cubicBezTo>
                  <a:cubicBezTo>
                    <a:pt x="243" y="1037"/>
                    <a:pt x="243" y="1037"/>
                    <a:pt x="243" y="1037"/>
                  </a:cubicBezTo>
                  <a:cubicBezTo>
                    <a:pt x="243" y="1037"/>
                    <a:pt x="243" y="1037"/>
                    <a:pt x="243" y="1037"/>
                  </a:cubicBezTo>
                  <a:cubicBezTo>
                    <a:pt x="243" y="1046"/>
                    <a:pt x="243" y="1046"/>
                    <a:pt x="243" y="1046"/>
                  </a:cubicBezTo>
                  <a:cubicBezTo>
                    <a:pt x="241" y="1053"/>
                    <a:pt x="241" y="1053"/>
                    <a:pt x="241" y="1053"/>
                  </a:cubicBezTo>
                  <a:cubicBezTo>
                    <a:pt x="240" y="1074"/>
                    <a:pt x="240" y="1074"/>
                    <a:pt x="240" y="1074"/>
                  </a:cubicBezTo>
                  <a:cubicBezTo>
                    <a:pt x="240" y="1073"/>
                    <a:pt x="240" y="1073"/>
                    <a:pt x="240" y="1073"/>
                  </a:cubicBezTo>
                  <a:cubicBezTo>
                    <a:pt x="240" y="1072"/>
                    <a:pt x="240" y="1072"/>
                    <a:pt x="240" y="1072"/>
                  </a:cubicBezTo>
                  <a:cubicBezTo>
                    <a:pt x="240" y="1070"/>
                    <a:pt x="240" y="1070"/>
                    <a:pt x="240" y="1070"/>
                  </a:cubicBezTo>
                  <a:cubicBezTo>
                    <a:pt x="242" y="1068"/>
                    <a:pt x="242" y="1068"/>
                    <a:pt x="242" y="1068"/>
                  </a:cubicBezTo>
                  <a:cubicBezTo>
                    <a:pt x="242" y="1068"/>
                    <a:pt x="242" y="1068"/>
                    <a:pt x="242" y="1068"/>
                  </a:cubicBezTo>
                  <a:cubicBezTo>
                    <a:pt x="242" y="1068"/>
                    <a:pt x="242" y="1068"/>
                    <a:pt x="242" y="1068"/>
                  </a:cubicBezTo>
                  <a:cubicBezTo>
                    <a:pt x="242" y="1067"/>
                    <a:pt x="242" y="1067"/>
                    <a:pt x="242" y="1067"/>
                  </a:cubicBezTo>
                  <a:cubicBezTo>
                    <a:pt x="242" y="1067"/>
                    <a:pt x="242" y="1067"/>
                    <a:pt x="242" y="1067"/>
                  </a:cubicBezTo>
                  <a:cubicBezTo>
                    <a:pt x="242" y="1067"/>
                    <a:pt x="242" y="1067"/>
                    <a:pt x="242" y="1067"/>
                  </a:cubicBezTo>
                  <a:cubicBezTo>
                    <a:pt x="242" y="1067"/>
                    <a:pt x="242" y="1067"/>
                    <a:pt x="242" y="1067"/>
                  </a:cubicBezTo>
                  <a:cubicBezTo>
                    <a:pt x="242" y="1067"/>
                    <a:pt x="242" y="1067"/>
                    <a:pt x="242" y="1067"/>
                  </a:cubicBezTo>
                  <a:cubicBezTo>
                    <a:pt x="243" y="1067"/>
                    <a:pt x="243" y="1067"/>
                    <a:pt x="243" y="1067"/>
                  </a:cubicBezTo>
                  <a:cubicBezTo>
                    <a:pt x="243" y="1067"/>
                    <a:pt x="243" y="1067"/>
                    <a:pt x="243" y="1067"/>
                  </a:cubicBezTo>
                  <a:cubicBezTo>
                    <a:pt x="243" y="1068"/>
                    <a:pt x="243" y="1068"/>
                    <a:pt x="243" y="1068"/>
                  </a:cubicBezTo>
                  <a:cubicBezTo>
                    <a:pt x="245" y="1070"/>
                    <a:pt x="245" y="1070"/>
                    <a:pt x="245" y="1070"/>
                  </a:cubicBezTo>
                  <a:cubicBezTo>
                    <a:pt x="246" y="1070"/>
                    <a:pt x="246" y="1070"/>
                    <a:pt x="246" y="1070"/>
                  </a:cubicBezTo>
                  <a:cubicBezTo>
                    <a:pt x="245" y="1070"/>
                    <a:pt x="245" y="1070"/>
                    <a:pt x="245" y="1070"/>
                  </a:cubicBezTo>
                  <a:cubicBezTo>
                    <a:pt x="246" y="1071"/>
                    <a:pt x="246" y="1071"/>
                    <a:pt x="246" y="1071"/>
                  </a:cubicBezTo>
                  <a:cubicBezTo>
                    <a:pt x="246" y="1072"/>
                    <a:pt x="246" y="1072"/>
                    <a:pt x="246" y="1072"/>
                  </a:cubicBezTo>
                  <a:cubicBezTo>
                    <a:pt x="245" y="1072"/>
                    <a:pt x="245" y="1072"/>
                    <a:pt x="245" y="1072"/>
                  </a:cubicBezTo>
                  <a:cubicBezTo>
                    <a:pt x="244" y="1072"/>
                    <a:pt x="244" y="1072"/>
                    <a:pt x="244" y="1072"/>
                  </a:cubicBezTo>
                  <a:cubicBezTo>
                    <a:pt x="242" y="1072"/>
                    <a:pt x="242" y="1072"/>
                    <a:pt x="242" y="1072"/>
                  </a:cubicBezTo>
                  <a:cubicBezTo>
                    <a:pt x="242" y="1072"/>
                    <a:pt x="242" y="1072"/>
                    <a:pt x="242" y="1072"/>
                  </a:cubicBezTo>
                  <a:cubicBezTo>
                    <a:pt x="241" y="1073"/>
                    <a:pt x="241" y="1073"/>
                    <a:pt x="241" y="1073"/>
                  </a:cubicBezTo>
                  <a:cubicBezTo>
                    <a:pt x="241" y="1075"/>
                    <a:pt x="241" y="1075"/>
                    <a:pt x="241" y="1075"/>
                  </a:cubicBezTo>
                  <a:cubicBezTo>
                    <a:pt x="240" y="1075"/>
                    <a:pt x="240" y="1075"/>
                    <a:pt x="240" y="1075"/>
                  </a:cubicBezTo>
                  <a:cubicBezTo>
                    <a:pt x="240" y="1075"/>
                    <a:pt x="240" y="1075"/>
                    <a:pt x="240" y="1075"/>
                  </a:cubicBezTo>
                  <a:cubicBezTo>
                    <a:pt x="240" y="1077"/>
                    <a:pt x="240" y="1077"/>
                    <a:pt x="240" y="1077"/>
                  </a:cubicBezTo>
                  <a:cubicBezTo>
                    <a:pt x="240" y="1077"/>
                    <a:pt x="240" y="1077"/>
                    <a:pt x="240" y="1077"/>
                  </a:cubicBezTo>
                  <a:cubicBezTo>
                    <a:pt x="240" y="1078"/>
                    <a:pt x="240" y="1078"/>
                    <a:pt x="240" y="1078"/>
                  </a:cubicBezTo>
                  <a:cubicBezTo>
                    <a:pt x="240" y="1079"/>
                    <a:pt x="240" y="1079"/>
                    <a:pt x="240" y="1079"/>
                  </a:cubicBezTo>
                  <a:cubicBezTo>
                    <a:pt x="240" y="1081"/>
                    <a:pt x="240" y="1081"/>
                    <a:pt x="240" y="1081"/>
                  </a:cubicBezTo>
                  <a:cubicBezTo>
                    <a:pt x="239" y="1087"/>
                    <a:pt x="239" y="1087"/>
                    <a:pt x="239" y="1087"/>
                  </a:cubicBezTo>
                  <a:cubicBezTo>
                    <a:pt x="237" y="1099"/>
                    <a:pt x="237" y="1099"/>
                    <a:pt x="237" y="1099"/>
                  </a:cubicBezTo>
                  <a:cubicBezTo>
                    <a:pt x="236" y="1104"/>
                    <a:pt x="236" y="1104"/>
                    <a:pt x="236" y="1104"/>
                  </a:cubicBezTo>
                  <a:cubicBezTo>
                    <a:pt x="235" y="1107"/>
                    <a:pt x="235" y="1107"/>
                    <a:pt x="235" y="1107"/>
                  </a:cubicBezTo>
                  <a:cubicBezTo>
                    <a:pt x="234" y="1113"/>
                    <a:pt x="234" y="1113"/>
                    <a:pt x="234" y="1113"/>
                  </a:cubicBezTo>
                  <a:cubicBezTo>
                    <a:pt x="233" y="1116"/>
                    <a:pt x="233" y="1116"/>
                    <a:pt x="233" y="1116"/>
                  </a:cubicBezTo>
                  <a:cubicBezTo>
                    <a:pt x="233" y="1117"/>
                    <a:pt x="233" y="1117"/>
                    <a:pt x="233" y="1117"/>
                  </a:cubicBezTo>
                  <a:cubicBezTo>
                    <a:pt x="232" y="1118"/>
                    <a:pt x="232" y="1118"/>
                    <a:pt x="232" y="1118"/>
                  </a:cubicBezTo>
                  <a:cubicBezTo>
                    <a:pt x="232" y="1119"/>
                    <a:pt x="232" y="1119"/>
                    <a:pt x="232" y="1119"/>
                  </a:cubicBezTo>
                  <a:cubicBezTo>
                    <a:pt x="231" y="1120"/>
                    <a:pt x="231" y="1120"/>
                    <a:pt x="231" y="1120"/>
                  </a:cubicBezTo>
                  <a:cubicBezTo>
                    <a:pt x="230" y="1121"/>
                    <a:pt x="230" y="1121"/>
                    <a:pt x="230" y="1121"/>
                  </a:cubicBezTo>
                  <a:cubicBezTo>
                    <a:pt x="230" y="1121"/>
                    <a:pt x="230" y="1121"/>
                    <a:pt x="230" y="1121"/>
                  </a:cubicBezTo>
                  <a:cubicBezTo>
                    <a:pt x="230" y="1122"/>
                    <a:pt x="230" y="1122"/>
                    <a:pt x="230" y="1122"/>
                  </a:cubicBezTo>
                  <a:cubicBezTo>
                    <a:pt x="229" y="1123"/>
                    <a:pt x="229" y="1123"/>
                    <a:pt x="229" y="1123"/>
                  </a:cubicBezTo>
                  <a:cubicBezTo>
                    <a:pt x="229" y="1123"/>
                    <a:pt x="229" y="1123"/>
                    <a:pt x="229" y="1123"/>
                  </a:cubicBezTo>
                  <a:cubicBezTo>
                    <a:pt x="228" y="1123"/>
                    <a:pt x="228" y="1123"/>
                    <a:pt x="228" y="1123"/>
                  </a:cubicBezTo>
                  <a:cubicBezTo>
                    <a:pt x="227" y="1124"/>
                    <a:pt x="227" y="1124"/>
                    <a:pt x="227" y="1124"/>
                  </a:cubicBezTo>
                  <a:cubicBezTo>
                    <a:pt x="225" y="1125"/>
                    <a:pt x="225" y="1125"/>
                    <a:pt x="225" y="1125"/>
                  </a:cubicBezTo>
                  <a:cubicBezTo>
                    <a:pt x="224" y="1125"/>
                    <a:pt x="224" y="1125"/>
                    <a:pt x="224" y="1125"/>
                  </a:cubicBezTo>
                  <a:cubicBezTo>
                    <a:pt x="224" y="1125"/>
                    <a:pt x="224" y="1125"/>
                    <a:pt x="224" y="1125"/>
                  </a:cubicBezTo>
                  <a:cubicBezTo>
                    <a:pt x="223" y="1125"/>
                    <a:pt x="223" y="1125"/>
                    <a:pt x="223" y="1125"/>
                  </a:cubicBezTo>
                  <a:cubicBezTo>
                    <a:pt x="223" y="1125"/>
                    <a:pt x="223" y="1125"/>
                    <a:pt x="223" y="1125"/>
                  </a:cubicBezTo>
                  <a:cubicBezTo>
                    <a:pt x="223" y="1125"/>
                    <a:pt x="223" y="1125"/>
                    <a:pt x="223" y="1125"/>
                  </a:cubicBezTo>
                  <a:cubicBezTo>
                    <a:pt x="223" y="1126"/>
                    <a:pt x="223" y="1126"/>
                    <a:pt x="223" y="1126"/>
                  </a:cubicBezTo>
                  <a:cubicBezTo>
                    <a:pt x="223" y="1126"/>
                    <a:pt x="223" y="1126"/>
                    <a:pt x="223" y="1126"/>
                  </a:cubicBezTo>
                  <a:cubicBezTo>
                    <a:pt x="223" y="1126"/>
                    <a:pt x="223" y="1126"/>
                    <a:pt x="223" y="1126"/>
                  </a:cubicBezTo>
                  <a:cubicBezTo>
                    <a:pt x="223" y="1125"/>
                    <a:pt x="223" y="1125"/>
                    <a:pt x="223" y="1125"/>
                  </a:cubicBezTo>
                  <a:cubicBezTo>
                    <a:pt x="223" y="1125"/>
                    <a:pt x="223" y="1125"/>
                    <a:pt x="223" y="1125"/>
                  </a:cubicBezTo>
                  <a:cubicBezTo>
                    <a:pt x="223" y="1124"/>
                    <a:pt x="223" y="1124"/>
                    <a:pt x="223" y="1124"/>
                  </a:cubicBezTo>
                  <a:cubicBezTo>
                    <a:pt x="222" y="1124"/>
                    <a:pt x="222" y="1124"/>
                    <a:pt x="222" y="1124"/>
                  </a:cubicBezTo>
                  <a:cubicBezTo>
                    <a:pt x="221" y="1124"/>
                    <a:pt x="221" y="1124"/>
                    <a:pt x="221" y="1124"/>
                  </a:cubicBezTo>
                  <a:cubicBezTo>
                    <a:pt x="220" y="1125"/>
                    <a:pt x="220" y="1125"/>
                    <a:pt x="220" y="1125"/>
                  </a:cubicBezTo>
                  <a:cubicBezTo>
                    <a:pt x="219" y="1126"/>
                    <a:pt x="219" y="1126"/>
                    <a:pt x="219" y="1126"/>
                  </a:cubicBezTo>
                  <a:cubicBezTo>
                    <a:pt x="219" y="1126"/>
                    <a:pt x="219" y="1126"/>
                    <a:pt x="219" y="1126"/>
                  </a:cubicBezTo>
                  <a:cubicBezTo>
                    <a:pt x="220" y="1126"/>
                    <a:pt x="220" y="1126"/>
                    <a:pt x="220" y="1126"/>
                  </a:cubicBezTo>
                  <a:cubicBezTo>
                    <a:pt x="220" y="1127"/>
                    <a:pt x="220" y="1127"/>
                    <a:pt x="220" y="1127"/>
                  </a:cubicBezTo>
                  <a:cubicBezTo>
                    <a:pt x="219" y="1127"/>
                    <a:pt x="219" y="1127"/>
                    <a:pt x="219" y="1127"/>
                  </a:cubicBezTo>
                  <a:cubicBezTo>
                    <a:pt x="219" y="1127"/>
                    <a:pt x="219" y="1127"/>
                    <a:pt x="219" y="1127"/>
                  </a:cubicBezTo>
                  <a:cubicBezTo>
                    <a:pt x="219" y="1126"/>
                    <a:pt x="219" y="1126"/>
                    <a:pt x="219" y="1126"/>
                  </a:cubicBezTo>
                  <a:cubicBezTo>
                    <a:pt x="218" y="1126"/>
                    <a:pt x="218" y="1126"/>
                    <a:pt x="218" y="1126"/>
                  </a:cubicBezTo>
                  <a:cubicBezTo>
                    <a:pt x="218" y="1126"/>
                    <a:pt x="218" y="1126"/>
                    <a:pt x="218" y="1126"/>
                  </a:cubicBezTo>
                  <a:cubicBezTo>
                    <a:pt x="218" y="1126"/>
                    <a:pt x="218" y="1126"/>
                    <a:pt x="218" y="1126"/>
                  </a:cubicBezTo>
                  <a:cubicBezTo>
                    <a:pt x="217" y="1127"/>
                    <a:pt x="217" y="1127"/>
                    <a:pt x="217" y="1127"/>
                  </a:cubicBezTo>
                  <a:cubicBezTo>
                    <a:pt x="215" y="1127"/>
                    <a:pt x="215" y="1127"/>
                    <a:pt x="215" y="1127"/>
                  </a:cubicBezTo>
                  <a:cubicBezTo>
                    <a:pt x="214" y="1127"/>
                    <a:pt x="214" y="1127"/>
                    <a:pt x="214" y="1127"/>
                  </a:cubicBezTo>
                  <a:cubicBezTo>
                    <a:pt x="214" y="1128"/>
                    <a:pt x="214" y="1128"/>
                    <a:pt x="214" y="1128"/>
                  </a:cubicBezTo>
                  <a:cubicBezTo>
                    <a:pt x="213" y="1128"/>
                    <a:pt x="213" y="1128"/>
                    <a:pt x="213" y="1128"/>
                  </a:cubicBezTo>
                  <a:cubicBezTo>
                    <a:pt x="213" y="1128"/>
                    <a:pt x="213" y="1128"/>
                    <a:pt x="213" y="1128"/>
                  </a:cubicBezTo>
                  <a:cubicBezTo>
                    <a:pt x="213" y="1128"/>
                    <a:pt x="213" y="1128"/>
                    <a:pt x="213" y="1128"/>
                  </a:cubicBezTo>
                  <a:cubicBezTo>
                    <a:pt x="213" y="1128"/>
                    <a:pt x="213" y="1128"/>
                    <a:pt x="213" y="1128"/>
                  </a:cubicBezTo>
                  <a:cubicBezTo>
                    <a:pt x="212" y="1128"/>
                    <a:pt x="212" y="1128"/>
                    <a:pt x="212" y="1128"/>
                  </a:cubicBezTo>
                  <a:cubicBezTo>
                    <a:pt x="212" y="1128"/>
                    <a:pt x="212" y="1128"/>
                    <a:pt x="212" y="1128"/>
                  </a:cubicBezTo>
                  <a:cubicBezTo>
                    <a:pt x="212" y="1128"/>
                    <a:pt x="212" y="1128"/>
                    <a:pt x="212" y="1128"/>
                  </a:cubicBezTo>
                  <a:cubicBezTo>
                    <a:pt x="212" y="1128"/>
                    <a:pt x="212" y="1128"/>
                    <a:pt x="212" y="1128"/>
                  </a:cubicBezTo>
                  <a:cubicBezTo>
                    <a:pt x="211" y="1128"/>
                    <a:pt x="211" y="1128"/>
                    <a:pt x="211" y="1128"/>
                  </a:cubicBezTo>
                  <a:cubicBezTo>
                    <a:pt x="211" y="1128"/>
                    <a:pt x="211" y="1128"/>
                    <a:pt x="211" y="1128"/>
                  </a:cubicBezTo>
                  <a:cubicBezTo>
                    <a:pt x="211" y="1127"/>
                    <a:pt x="211" y="1127"/>
                    <a:pt x="211" y="1127"/>
                  </a:cubicBezTo>
                  <a:cubicBezTo>
                    <a:pt x="211" y="1127"/>
                    <a:pt x="211" y="1127"/>
                    <a:pt x="211" y="1127"/>
                  </a:cubicBezTo>
                  <a:cubicBezTo>
                    <a:pt x="211" y="1127"/>
                    <a:pt x="211" y="1127"/>
                    <a:pt x="211" y="1127"/>
                  </a:cubicBezTo>
                  <a:cubicBezTo>
                    <a:pt x="210" y="1127"/>
                    <a:pt x="210" y="1127"/>
                    <a:pt x="210" y="1127"/>
                  </a:cubicBezTo>
                  <a:cubicBezTo>
                    <a:pt x="208" y="1128"/>
                    <a:pt x="208" y="1128"/>
                    <a:pt x="208" y="1128"/>
                  </a:cubicBezTo>
                  <a:cubicBezTo>
                    <a:pt x="207" y="1128"/>
                    <a:pt x="207" y="1128"/>
                    <a:pt x="207" y="1128"/>
                  </a:cubicBezTo>
                  <a:cubicBezTo>
                    <a:pt x="206" y="1127"/>
                    <a:pt x="206" y="1127"/>
                    <a:pt x="206" y="1127"/>
                  </a:cubicBezTo>
                  <a:cubicBezTo>
                    <a:pt x="203" y="1126"/>
                    <a:pt x="203" y="1126"/>
                    <a:pt x="203" y="1126"/>
                  </a:cubicBezTo>
                  <a:cubicBezTo>
                    <a:pt x="202" y="1125"/>
                    <a:pt x="202" y="1125"/>
                    <a:pt x="202" y="1125"/>
                  </a:cubicBezTo>
                  <a:cubicBezTo>
                    <a:pt x="202" y="1125"/>
                    <a:pt x="202" y="1125"/>
                    <a:pt x="202" y="1125"/>
                  </a:cubicBezTo>
                  <a:cubicBezTo>
                    <a:pt x="200" y="1124"/>
                    <a:pt x="200" y="1124"/>
                    <a:pt x="200" y="1124"/>
                  </a:cubicBezTo>
                  <a:cubicBezTo>
                    <a:pt x="199" y="1124"/>
                    <a:pt x="199" y="1124"/>
                    <a:pt x="199" y="1124"/>
                  </a:cubicBezTo>
                  <a:cubicBezTo>
                    <a:pt x="198" y="1123"/>
                    <a:pt x="198" y="1123"/>
                    <a:pt x="198" y="1123"/>
                  </a:cubicBezTo>
                  <a:cubicBezTo>
                    <a:pt x="197" y="1123"/>
                    <a:pt x="197" y="1123"/>
                    <a:pt x="197" y="1123"/>
                  </a:cubicBezTo>
                  <a:cubicBezTo>
                    <a:pt x="197" y="1123"/>
                    <a:pt x="197" y="1123"/>
                    <a:pt x="197" y="1123"/>
                  </a:cubicBezTo>
                  <a:cubicBezTo>
                    <a:pt x="197" y="1123"/>
                    <a:pt x="197" y="1123"/>
                    <a:pt x="197" y="1123"/>
                  </a:cubicBezTo>
                  <a:cubicBezTo>
                    <a:pt x="197" y="1123"/>
                    <a:pt x="197" y="1123"/>
                    <a:pt x="197" y="1123"/>
                  </a:cubicBezTo>
                  <a:cubicBezTo>
                    <a:pt x="197" y="1124"/>
                    <a:pt x="197" y="1124"/>
                    <a:pt x="197" y="1124"/>
                  </a:cubicBezTo>
                  <a:cubicBezTo>
                    <a:pt x="197" y="1124"/>
                    <a:pt x="197" y="1124"/>
                    <a:pt x="197" y="1124"/>
                  </a:cubicBezTo>
                  <a:cubicBezTo>
                    <a:pt x="196" y="1124"/>
                    <a:pt x="196" y="1124"/>
                    <a:pt x="196" y="1124"/>
                  </a:cubicBezTo>
                  <a:cubicBezTo>
                    <a:pt x="196" y="1125"/>
                    <a:pt x="196" y="1125"/>
                    <a:pt x="196" y="1125"/>
                  </a:cubicBezTo>
                  <a:cubicBezTo>
                    <a:pt x="196" y="1125"/>
                    <a:pt x="196" y="1125"/>
                    <a:pt x="196" y="1125"/>
                  </a:cubicBezTo>
                  <a:cubicBezTo>
                    <a:pt x="196" y="1124"/>
                    <a:pt x="196" y="1124"/>
                    <a:pt x="196" y="1124"/>
                  </a:cubicBezTo>
                  <a:cubicBezTo>
                    <a:pt x="196" y="1123"/>
                    <a:pt x="196" y="1123"/>
                    <a:pt x="196" y="1123"/>
                  </a:cubicBezTo>
                  <a:cubicBezTo>
                    <a:pt x="196" y="1123"/>
                    <a:pt x="196" y="1123"/>
                    <a:pt x="196" y="1123"/>
                  </a:cubicBezTo>
                  <a:cubicBezTo>
                    <a:pt x="195" y="1122"/>
                    <a:pt x="195" y="1122"/>
                    <a:pt x="195" y="1122"/>
                  </a:cubicBezTo>
                  <a:cubicBezTo>
                    <a:pt x="194" y="1122"/>
                    <a:pt x="194" y="1122"/>
                    <a:pt x="194" y="1122"/>
                  </a:cubicBezTo>
                  <a:cubicBezTo>
                    <a:pt x="194" y="1122"/>
                    <a:pt x="194" y="1122"/>
                    <a:pt x="194" y="1122"/>
                  </a:cubicBezTo>
                  <a:cubicBezTo>
                    <a:pt x="193" y="1122"/>
                    <a:pt x="193" y="1122"/>
                    <a:pt x="193" y="1122"/>
                  </a:cubicBezTo>
                  <a:cubicBezTo>
                    <a:pt x="193" y="1122"/>
                    <a:pt x="193" y="1122"/>
                    <a:pt x="193" y="1122"/>
                  </a:cubicBezTo>
                  <a:cubicBezTo>
                    <a:pt x="191" y="1122"/>
                    <a:pt x="191" y="1122"/>
                    <a:pt x="191" y="1122"/>
                  </a:cubicBezTo>
                  <a:cubicBezTo>
                    <a:pt x="190" y="1122"/>
                    <a:pt x="190" y="1122"/>
                    <a:pt x="190" y="1122"/>
                  </a:cubicBezTo>
                  <a:cubicBezTo>
                    <a:pt x="189" y="1122"/>
                    <a:pt x="189" y="1122"/>
                    <a:pt x="189" y="1122"/>
                  </a:cubicBezTo>
                  <a:cubicBezTo>
                    <a:pt x="189" y="1122"/>
                    <a:pt x="189" y="1122"/>
                    <a:pt x="189" y="1122"/>
                  </a:cubicBezTo>
                  <a:cubicBezTo>
                    <a:pt x="189" y="1123"/>
                    <a:pt x="189" y="1123"/>
                    <a:pt x="189" y="1123"/>
                  </a:cubicBezTo>
                  <a:cubicBezTo>
                    <a:pt x="189" y="1123"/>
                    <a:pt x="189" y="1123"/>
                    <a:pt x="189" y="1123"/>
                  </a:cubicBezTo>
                  <a:cubicBezTo>
                    <a:pt x="189" y="1123"/>
                    <a:pt x="189" y="1123"/>
                    <a:pt x="189" y="1123"/>
                  </a:cubicBezTo>
                  <a:cubicBezTo>
                    <a:pt x="188" y="1123"/>
                    <a:pt x="188" y="1123"/>
                    <a:pt x="188" y="1123"/>
                  </a:cubicBezTo>
                  <a:cubicBezTo>
                    <a:pt x="187" y="1124"/>
                    <a:pt x="187" y="1124"/>
                    <a:pt x="187" y="1124"/>
                  </a:cubicBezTo>
                  <a:cubicBezTo>
                    <a:pt x="187" y="1124"/>
                    <a:pt x="187" y="1124"/>
                    <a:pt x="187" y="1124"/>
                  </a:cubicBezTo>
                  <a:cubicBezTo>
                    <a:pt x="186" y="1124"/>
                    <a:pt x="186" y="1124"/>
                    <a:pt x="186" y="1124"/>
                  </a:cubicBezTo>
                  <a:cubicBezTo>
                    <a:pt x="186" y="1125"/>
                    <a:pt x="186" y="1125"/>
                    <a:pt x="186" y="1125"/>
                  </a:cubicBezTo>
                  <a:cubicBezTo>
                    <a:pt x="186" y="1125"/>
                    <a:pt x="186" y="1125"/>
                    <a:pt x="186" y="1125"/>
                  </a:cubicBezTo>
                  <a:cubicBezTo>
                    <a:pt x="186" y="1125"/>
                    <a:pt x="186" y="1125"/>
                    <a:pt x="186" y="1125"/>
                  </a:cubicBezTo>
                  <a:cubicBezTo>
                    <a:pt x="186" y="1126"/>
                    <a:pt x="186" y="1126"/>
                    <a:pt x="186" y="1126"/>
                  </a:cubicBezTo>
                  <a:cubicBezTo>
                    <a:pt x="187" y="1127"/>
                    <a:pt x="187" y="1127"/>
                    <a:pt x="187" y="1127"/>
                  </a:cubicBezTo>
                  <a:cubicBezTo>
                    <a:pt x="187" y="1127"/>
                    <a:pt x="187" y="1127"/>
                    <a:pt x="187" y="1127"/>
                  </a:cubicBezTo>
                  <a:cubicBezTo>
                    <a:pt x="185" y="1126"/>
                    <a:pt x="185" y="1126"/>
                    <a:pt x="185" y="1126"/>
                  </a:cubicBezTo>
                  <a:cubicBezTo>
                    <a:pt x="184" y="1125"/>
                    <a:pt x="184" y="1125"/>
                    <a:pt x="184" y="1125"/>
                  </a:cubicBezTo>
                  <a:cubicBezTo>
                    <a:pt x="184" y="1125"/>
                    <a:pt x="184" y="1125"/>
                    <a:pt x="184" y="1125"/>
                  </a:cubicBezTo>
                  <a:cubicBezTo>
                    <a:pt x="183" y="1125"/>
                    <a:pt x="183" y="1125"/>
                    <a:pt x="183" y="1125"/>
                  </a:cubicBezTo>
                  <a:cubicBezTo>
                    <a:pt x="182" y="1125"/>
                    <a:pt x="182" y="1125"/>
                    <a:pt x="182" y="1125"/>
                  </a:cubicBezTo>
                  <a:cubicBezTo>
                    <a:pt x="182" y="1125"/>
                    <a:pt x="182" y="1125"/>
                    <a:pt x="182" y="1125"/>
                  </a:cubicBezTo>
                  <a:cubicBezTo>
                    <a:pt x="181" y="1124"/>
                    <a:pt x="181" y="1124"/>
                    <a:pt x="181" y="1124"/>
                  </a:cubicBezTo>
                  <a:cubicBezTo>
                    <a:pt x="181" y="1124"/>
                    <a:pt x="181" y="1124"/>
                    <a:pt x="181" y="1124"/>
                  </a:cubicBezTo>
                  <a:cubicBezTo>
                    <a:pt x="180" y="1124"/>
                    <a:pt x="180" y="1124"/>
                    <a:pt x="180" y="1124"/>
                  </a:cubicBezTo>
                  <a:cubicBezTo>
                    <a:pt x="179" y="1124"/>
                    <a:pt x="179" y="1124"/>
                    <a:pt x="179" y="1124"/>
                  </a:cubicBezTo>
                  <a:cubicBezTo>
                    <a:pt x="177" y="1123"/>
                    <a:pt x="177" y="1123"/>
                    <a:pt x="177" y="1123"/>
                  </a:cubicBezTo>
                  <a:cubicBezTo>
                    <a:pt x="176" y="1123"/>
                    <a:pt x="176" y="1123"/>
                    <a:pt x="176" y="1123"/>
                  </a:cubicBezTo>
                  <a:cubicBezTo>
                    <a:pt x="175" y="1123"/>
                    <a:pt x="175" y="1123"/>
                    <a:pt x="175" y="1123"/>
                  </a:cubicBezTo>
                  <a:cubicBezTo>
                    <a:pt x="174" y="1123"/>
                    <a:pt x="174" y="1123"/>
                    <a:pt x="174" y="1123"/>
                  </a:cubicBezTo>
                  <a:cubicBezTo>
                    <a:pt x="174" y="1123"/>
                    <a:pt x="174" y="1123"/>
                    <a:pt x="174" y="1123"/>
                  </a:cubicBezTo>
                  <a:cubicBezTo>
                    <a:pt x="174" y="1122"/>
                    <a:pt x="174" y="1122"/>
                    <a:pt x="174" y="1122"/>
                  </a:cubicBezTo>
                  <a:cubicBezTo>
                    <a:pt x="173" y="1123"/>
                    <a:pt x="173" y="1123"/>
                    <a:pt x="173" y="1123"/>
                  </a:cubicBezTo>
                  <a:cubicBezTo>
                    <a:pt x="173" y="1123"/>
                    <a:pt x="173" y="1123"/>
                    <a:pt x="173" y="1123"/>
                  </a:cubicBezTo>
                  <a:cubicBezTo>
                    <a:pt x="173" y="1122"/>
                    <a:pt x="173" y="1122"/>
                    <a:pt x="173" y="1122"/>
                  </a:cubicBezTo>
                  <a:cubicBezTo>
                    <a:pt x="172" y="1122"/>
                    <a:pt x="172" y="1122"/>
                    <a:pt x="172" y="1122"/>
                  </a:cubicBezTo>
                  <a:cubicBezTo>
                    <a:pt x="172" y="1122"/>
                    <a:pt x="172" y="1122"/>
                    <a:pt x="172" y="1122"/>
                  </a:cubicBezTo>
                  <a:cubicBezTo>
                    <a:pt x="173" y="1122"/>
                    <a:pt x="173" y="1122"/>
                    <a:pt x="173" y="1122"/>
                  </a:cubicBezTo>
                  <a:cubicBezTo>
                    <a:pt x="173" y="1122"/>
                    <a:pt x="173" y="1122"/>
                    <a:pt x="173" y="1122"/>
                  </a:cubicBezTo>
                  <a:cubicBezTo>
                    <a:pt x="173" y="1122"/>
                    <a:pt x="173" y="1122"/>
                    <a:pt x="173" y="1122"/>
                  </a:cubicBezTo>
                  <a:cubicBezTo>
                    <a:pt x="173" y="1122"/>
                    <a:pt x="173" y="1122"/>
                    <a:pt x="173" y="1122"/>
                  </a:cubicBezTo>
                  <a:cubicBezTo>
                    <a:pt x="174" y="1122"/>
                    <a:pt x="174" y="1122"/>
                    <a:pt x="174" y="1122"/>
                  </a:cubicBezTo>
                  <a:cubicBezTo>
                    <a:pt x="174" y="1122"/>
                    <a:pt x="174" y="1122"/>
                    <a:pt x="174" y="1122"/>
                  </a:cubicBezTo>
                  <a:cubicBezTo>
                    <a:pt x="174" y="1122"/>
                    <a:pt x="174" y="1122"/>
                    <a:pt x="174" y="1122"/>
                  </a:cubicBezTo>
                  <a:cubicBezTo>
                    <a:pt x="174" y="1122"/>
                    <a:pt x="174" y="1122"/>
                    <a:pt x="174" y="1122"/>
                  </a:cubicBezTo>
                  <a:cubicBezTo>
                    <a:pt x="174" y="1121"/>
                    <a:pt x="174" y="1121"/>
                    <a:pt x="174" y="1121"/>
                  </a:cubicBezTo>
                  <a:cubicBezTo>
                    <a:pt x="174" y="1121"/>
                    <a:pt x="174" y="1121"/>
                    <a:pt x="174" y="1121"/>
                  </a:cubicBezTo>
                  <a:cubicBezTo>
                    <a:pt x="174" y="1121"/>
                    <a:pt x="174" y="1121"/>
                    <a:pt x="174" y="1121"/>
                  </a:cubicBezTo>
                  <a:cubicBezTo>
                    <a:pt x="174" y="1121"/>
                    <a:pt x="174" y="1121"/>
                    <a:pt x="174" y="1121"/>
                  </a:cubicBezTo>
                  <a:cubicBezTo>
                    <a:pt x="172" y="1120"/>
                    <a:pt x="172" y="1120"/>
                    <a:pt x="172" y="1120"/>
                  </a:cubicBezTo>
                  <a:cubicBezTo>
                    <a:pt x="172" y="1120"/>
                    <a:pt x="172" y="1120"/>
                    <a:pt x="172" y="1120"/>
                  </a:cubicBezTo>
                  <a:cubicBezTo>
                    <a:pt x="171" y="1120"/>
                    <a:pt x="171" y="1120"/>
                    <a:pt x="171" y="1120"/>
                  </a:cubicBezTo>
                  <a:cubicBezTo>
                    <a:pt x="171" y="1120"/>
                    <a:pt x="171" y="1120"/>
                    <a:pt x="171" y="1120"/>
                  </a:cubicBezTo>
                  <a:cubicBezTo>
                    <a:pt x="170" y="1120"/>
                    <a:pt x="170" y="1120"/>
                    <a:pt x="170" y="1120"/>
                  </a:cubicBezTo>
                  <a:cubicBezTo>
                    <a:pt x="170" y="1119"/>
                    <a:pt x="170" y="1119"/>
                    <a:pt x="170" y="1119"/>
                  </a:cubicBezTo>
                  <a:cubicBezTo>
                    <a:pt x="170" y="1119"/>
                    <a:pt x="170" y="1119"/>
                    <a:pt x="170" y="1119"/>
                  </a:cubicBezTo>
                  <a:cubicBezTo>
                    <a:pt x="167" y="1119"/>
                    <a:pt x="167" y="1119"/>
                    <a:pt x="167" y="1119"/>
                  </a:cubicBezTo>
                  <a:cubicBezTo>
                    <a:pt x="167" y="1120"/>
                    <a:pt x="167" y="1120"/>
                    <a:pt x="167" y="1120"/>
                  </a:cubicBezTo>
                  <a:cubicBezTo>
                    <a:pt x="167" y="1120"/>
                    <a:pt x="167" y="1120"/>
                    <a:pt x="167" y="1120"/>
                  </a:cubicBezTo>
                  <a:cubicBezTo>
                    <a:pt x="166" y="1120"/>
                    <a:pt x="166" y="1120"/>
                    <a:pt x="166" y="1120"/>
                  </a:cubicBezTo>
                  <a:cubicBezTo>
                    <a:pt x="166" y="1120"/>
                    <a:pt x="166" y="1120"/>
                    <a:pt x="166" y="1120"/>
                  </a:cubicBezTo>
                  <a:cubicBezTo>
                    <a:pt x="165" y="1120"/>
                    <a:pt x="165" y="1120"/>
                    <a:pt x="165" y="1120"/>
                  </a:cubicBezTo>
                  <a:cubicBezTo>
                    <a:pt x="165" y="1121"/>
                    <a:pt x="165" y="1121"/>
                    <a:pt x="165" y="1121"/>
                  </a:cubicBezTo>
                  <a:cubicBezTo>
                    <a:pt x="165" y="1121"/>
                    <a:pt x="165" y="1121"/>
                    <a:pt x="165" y="1121"/>
                  </a:cubicBezTo>
                  <a:cubicBezTo>
                    <a:pt x="165" y="1121"/>
                    <a:pt x="165" y="1121"/>
                    <a:pt x="165" y="1121"/>
                  </a:cubicBezTo>
                  <a:cubicBezTo>
                    <a:pt x="165" y="1121"/>
                    <a:pt x="165" y="1121"/>
                    <a:pt x="165" y="1121"/>
                  </a:cubicBezTo>
                  <a:cubicBezTo>
                    <a:pt x="165" y="1121"/>
                    <a:pt x="165" y="1121"/>
                    <a:pt x="165" y="1121"/>
                  </a:cubicBezTo>
                  <a:cubicBezTo>
                    <a:pt x="165" y="1121"/>
                    <a:pt x="165" y="1121"/>
                    <a:pt x="165" y="1121"/>
                  </a:cubicBezTo>
                  <a:cubicBezTo>
                    <a:pt x="165" y="1121"/>
                    <a:pt x="165" y="1121"/>
                    <a:pt x="165" y="1121"/>
                  </a:cubicBezTo>
                  <a:cubicBezTo>
                    <a:pt x="165" y="1121"/>
                    <a:pt x="165" y="1121"/>
                    <a:pt x="165" y="1121"/>
                  </a:cubicBezTo>
                  <a:cubicBezTo>
                    <a:pt x="165" y="1122"/>
                    <a:pt x="165" y="1122"/>
                    <a:pt x="165" y="1122"/>
                  </a:cubicBezTo>
                  <a:cubicBezTo>
                    <a:pt x="165" y="1122"/>
                    <a:pt x="165" y="1122"/>
                    <a:pt x="165" y="1122"/>
                  </a:cubicBezTo>
                  <a:cubicBezTo>
                    <a:pt x="165" y="1122"/>
                    <a:pt x="165" y="1122"/>
                    <a:pt x="165" y="1122"/>
                  </a:cubicBezTo>
                  <a:cubicBezTo>
                    <a:pt x="165" y="1122"/>
                    <a:pt x="165" y="1122"/>
                    <a:pt x="165" y="1122"/>
                  </a:cubicBezTo>
                  <a:cubicBezTo>
                    <a:pt x="164" y="1122"/>
                    <a:pt x="164" y="1122"/>
                    <a:pt x="164" y="1122"/>
                  </a:cubicBezTo>
                  <a:cubicBezTo>
                    <a:pt x="164" y="1122"/>
                    <a:pt x="164" y="1122"/>
                    <a:pt x="164" y="1122"/>
                  </a:cubicBezTo>
                  <a:cubicBezTo>
                    <a:pt x="164" y="1122"/>
                    <a:pt x="164" y="1122"/>
                    <a:pt x="164" y="1122"/>
                  </a:cubicBezTo>
                  <a:cubicBezTo>
                    <a:pt x="163" y="1122"/>
                    <a:pt x="163" y="1122"/>
                    <a:pt x="163" y="1122"/>
                  </a:cubicBezTo>
                  <a:cubicBezTo>
                    <a:pt x="163" y="1122"/>
                    <a:pt x="163" y="1122"/>
                    <a:pt x="163" y="1122"/>
                  </a:cubicBezTo>
                  <a:cubicBezTo>
                    <a:pt x="163" y="1123"/>
                    <a:pt x="163" y="1123"/>
                    <a:pt x="163" y="1123"/>
                  </a:cubicBezTo>
                  <a:cubicBezTo>
                    <a:pt x="162" y="1123"/>
                    <a:pt x="162" y="1123"/>
                    <a:pt x="162" y="1123"/>
                  </a:cubicBezTo>
                  <a:cubicBezTo>
                    <a:pt x="162" y="1123"/>
                    <a:pt x="162" y="1123"/>
                    <a:pt x="162" y="1123"/>
                  </a:cubicBezTo>
                  <a:cubicBezTo>
                    <a:pt x="162" y="1122"/>
                    <a:pt x="162" y="1122"/>
                    <a:pt x="162" y="1122"/>
                  </a:cubicBezTo>
                  <a:cubicBezTo>
                    <a:pt x="162" y="1122"/>
                    <a:pt x="162" y="1122"/>
                    <a:pt x="162" y="1122"/>
                  </a:cubicBezTo>
                  <a:cubicBezTo>
                    <a:pt x="162" y="1122"/>
                    <a:pt x="162" y="1122"/>
                    <a:pt x="162" y="1122"/>
                  </a:cubicBezTo>
                  <a:cubicBezTo>
                    <a:pt x="162" y="1122"/>
                    <a:pt x="162" y="1122"/>
                    <a:pt x="162" y="1122"/>
                  </a:cubicBezTo>
                  <a:cubicBezTo>
                    <a:pt x="162" y="1122"/>
                    <a:pt x="162" y="1122"/>
                    <a:pt x="162" y="1122"/>
                  </a:cubicBezTo>
                  <a:cubicBezTo>
                    <a:pt x="162" y="1122"/>
                    <a:pt x="162" y="1122"/>
                    <a:pt x="162" y="1122"/>
                  </a:cubicBezTo>
                  <a:cubicBezTo>
                    <a:pt x="162" y="1121"/>
                    <a:pt x="162" y="1121"/>
                    <a:pt x="162" y="1121"/>
                  </a:cubicBezTo>
                  <a:cubicBezTo>
                    <a:pt x="163" y="1121"/>
                    <a:pt x="163" y="1121"/>
                    <a:pt x="163" y="1121"/>
                  </a:cubicBezTo>
                  <a:cubicBezTo>
                    <a:pt x="164" y="1120"/>
                    <a:pt x="164" y="1120"/>
                    <a:pt x="164" y="1120"/>
                  </a:cubicBezTo>
                  <a:cubicBezTo>
                    <a:pt x="163" y="1120"/>
                    <a:pt x="163" y="1120"/>
                    <a:pt x="163" y="1120"/>
                  </a:cubicBezTo>
                  <a:cubicBezTo>
                    <a:pt x="162" y="1120"/>
                    <a:pt x="162" y="1120"/>
                    <a:pt x="162" y="1120"/>
                  </a:cubicBezTo>
                  <a:cubicBezTo>
                    <a:pt x="161" y="1120"/>
                    <a:pt x="161" y="1120"/>
                    <a:pt x="161" y="1120"/>
                  </a:cubicBezTo>
                  <a:cubicBezTo>
                    <a:pt x="161" y="1120"/>
                    <a:pt x="161" y="1120"/>
                    <a:pt x="161" y="1120"/>
                  </a:cubicBezTo>
                  <a:cubicBezTo>
                    <a:pt x="160" y="1120"/>
                    <a:pt x="160" y="1120"/>
                    <a:pt x="160" y="1120"/>
                  </a:cubicBezTo>
                  <a:cubicBezTo>
                    <a:pt x="160" y="1120"/>
                    <a:pt x="160" y="1120"/>
                    <a:pt x="160" y="1120"/>
                  </a:cubicBezTo>
                  <a:cubicBezTo>
                    <a:pt x="159" y="1120"/>
                    <a:pt x="159" y="1120"/>
                    <a:pt x="159" y="1120"/>
                  </a:cubicBezTo>
                  <a:cubicBezTo>
                    <a:pt x="159" y="1121"/>
                    <a:pt x="159" y="1121"/>
                    <a:pt x="159" y="1121"/>
                  </a:cubicBezTo>
                  <a:cubicBezTo>
                    <a:pt x="158" y="1121"/>
                    <a:pt x="158" y="1121"/>
                    <a:pt x="158" y="1121"/>
                  </a:cubicBezTo>
                  <a:cubicBezTo>
                    <a:pt x="158" y="1122"/>
                    <a:pt x="158" y="1122"/>
                    <a:pt x="158" y="1122"/>
                  </a:cubicBezTo>
                  <a:cubicBezTo>
                    <a:pt x="158" y="1122"/>
                    <a:pt x="158" y="1122"/>
                    <a:pt x="158" y="1122"/>
                  </a:cubicBezTo>
                  <a:cubicBezTo>
                    <a:pt x="158" y="1122"/>
                    <a:pt x="158" y="1122"/>
                    <a:pt x="158" y="1122"/>
                  </a:cubicBezTo>
                  <a:cubicBezTo>
                    <a:pt x="158" y="1122"/>
                    <a:pt x="158" y="1122"/>
                    <a:pt x="158" y="1122"/>
                  </a:cubicBezTo>
                  <a:cubicBezTo>
                    <a:pt x="158" y="1122"/>
                    <a:pt x="158" y="1122"/>
                    <a:pt x="158" y="1122"/>
                  </a:cubicBezTo>
                  <a:cubicBezTo>
                    <a:pt x="158" y="1122"/>
                    <a:pt x="158" y="1122"/>
                    <a:pt x="158" y="1122"/>
                  </a:cubicBezTo>
                  <a:cubicBezTo>
                    <a:pt x="158" y="1122"/>
                    <a:pt x="158" y="1122"/>
                    <a:pt x="158" y="1122"/>
                  </a:cubicBezTo>
                  <a:cubicBezTo>
                    <a:pt x="157" y="1122"/>
                    <a:pt x="157" y="1122"/>
                    <a:pt x="157" y="1122"/>
                  </a:cubicBezTo>
                  <a:cubicBezTo>
                    <a:pt x="157" y="1122"/>
                    <a:pt x="157" y="1122"/>
                    <a:pt x="157" y="1122"/>
                  </a:cubicBezTo>
                  <a:cubicBezTo>
                    <a:pt x="156" y="1122"/>
                    <a:pt x="156" y="1122"/>
                    <a:pt x="156" y="1122"/>
                  </a:cubicBezTo>
                  <a:cubicBezTo>
                    <a:pt x="156" y="1122"/>
                    <a:pt x="156" y="1122"/>
                    <a:pt x="156" y="1122"/>
                  </a:cubicBezTo>
                  <a:cubicBezTo>
                    <a:pt x="156" y="1122"/>
                    <a:pt x="156" y="1122"/>
                    <a:pt x="156" y="1122"/>
                  </a:cubicBezTo>
                  <a:cubicBezTo>
                    <a:pt x="156" y="1122"/>
                    <a:pt x="156" y="1122"/>
                    <a:pt x="156" y="1122"/>
                  </a:cubicBezTo>
                  <a:cubicBezTo>
                    <a:pt x="155" y="1122"/>
                    <a:pt x="155" y="1122"/>
                    <a:pt x="155" y="1122"/>
                  </a:cubicBezTo>
                  <a:cubicBezTo>
                    <a:pt x="154" y="1122"/>
                    <a:pt x="154" y="1122"/>
                    <a:pt x="154" y="1122"/>
                  </a:cubicBezTo>
                  <a:cubicBezTo>
                    <a:pt x="152" y="1123"/>
                    <a:pt x="152" y="1123"/>
                    <a:pt x="152" y="1123"/>
                  </a:cubicBezTo>
                  <a:cubicBezTo>
                    <a:pt x="152" y="1123"/>
                    <a:pt x="152" y="1123"/>
                    <a:pt x="152" y="1123"/>
                  </a:cubicBezTo>
                  <a:cubicBezTo>
                    <a:pt x="148" y="1124"/>
                    <a:pt x="148" y="1124"/>
                    <a:pt x="148" y="1124"/>
                  </a:cubicBezTo>
                  <a:cubicBezTo>
                    <a:pt x="147" y="1124"/>
                    <a:pt x="147" y="1124"/>
                    <a:pt x="147" y="1124"/>
                  </a:cubicBezTo>
                  <a:cubicBezTo>
                    <a:pt x="146" y="1124"/>
                    <a:pt x="146" y="1124"/>
                    <a:pt x="146" y="1124"/>
                  </a:cubicBezTo>
                  <a:cubicBezTo>
                    <a:pt x="146" y="1124"/>
                    <a:pt x="146" y="1124"/>
                    <a:pt x="146" y="1124"/>
                  </a:cubicBezTo>
                  <a:cubicBezTo>
                    <a:pt x="146" y="1124"/>
                    <a:pt x="146" y="1124"/>
                    <a:pt x="146" y="1124"/>
                  </a:cubicBezTo>
                  <a:cubicBezTo>
                    <a:pt x="145" y="1124"/>
                    <a:pt x="145" y="1124"/>
                    <a:pt x="145" y="1124"/>
                  </a:cubicBezTo>
                  <a:cubicBezTo>
                    <a:pt x="144" y="1124"/>
                    <a:pt x="144" y="1124"/>
                    <a:pt x="144" y="1124"/>
                  </a:cubicBezTo>
                  <a:cubicBezTo>
                    <a:pt x="144" y="1124"/>
                    <a:pt x="144" y="1124"/>
                    <a:pt x="144" y="1124"/>
                  </a:cubicBezTo>
                  <a:cubicBezTo>
                    <a:pt x="143" y="1124"/>
                    <a:pt x="143" y="1124"/>
                    <a:pt x="143" y="1124"/>
                  </a:cubicBezTo>
                  <a:cubicBezTo>
                    <a:pt x="142" y="1124"/>
                    <a:pt x="142" y="1124"/>
                    <a:pt x="142" y="1124"/>
                  </a:cubicBezTo>
                  <a:cubicBezTo>
                    <a:pt x="142" y="1124"/>
                    <a:pt x="142" y="1124"/>
                    <a:pt x="142" y="1124"/>
                  </a:cubicBezTo>
                  <a:cubicBezTo>
                    <a:pt x="135" y="1123"/>
                    <a:pt x="135" y="1123"/>
                    <a:pt x="135" y="1123"/>
                  </a:cubicBezTo>
                  <a:cubicBezTo>
                    <a:pt x="135" y="1123"/>
                    <a:pt x="135" y="1123"/>
                    <a:pt x="135" y="1123"/>
                  </a:cubicBezTo>
                  <a:cubicBezTo>
                    <a:pt x="132" y="1122"/>
                    <a:pt x="132" y="1122"/>
                    <a:pt x="132" y="1122"/>
                  </a:cubicBezTo>
                  <a:cubicBezTo>
                    <a:pt x="130" y="1121"/>
                    <a:pt x="130" y="1121"/>
                    <a:pt x="130" y="1121"/>
                  </a:cubicBezTo>
                  <a:cubicBezTo>
                    <a:pt x="129" y="1121"/>
                    <a:pt x="129" y="1121"/>
                    <a:pt x="129" y="1121"/>
                  </a:cubicBezTo>
                  <a:cubicBezTo>
                    <a:pt x="129" y="1121"/>
                    <a:pt x="129" y="1121"/>
                    <a:pt x="129" y="1121"/>
                  </a:cubicBezTo>
                  <a:cubicBezTo>
                    <a:pt x="129" y="1121"/>
                    <a:pt x="129" y="1121"/>
                    <a:pt x="129" y="1121"/>
                  </a:cubicBezTo>
                  <a:cubicBezTo>
                    <a:pt x="128" y="1121"/>
                    <a:pt x="128" y="1121"/>
                    <a:pt x="128" y="1121"/>
                  </a:cubicBezTo>
                  <a:cubicBezTo>
                    <a:pt x="128" y="1121"/>
                    <a:pt x="128" y="1121"/>
                    <a:pt x="128" y="1121"/>
                  </a:cubicBezTo>
                  <a:cubicBezTo>
                    <a:pt x="126" y="1121"/>
                    <a:pt x="126" y="1121"/>
                    <a:pt x="126" y="1121"/>
                  </a:cubicBezTo>
                  <a:cubicBezTo>
                    <a:pt x="126" y="1121"/>
                    <a:pt x="126" y="1121"/>
                    <a:pt x="126" y="1121"/>
                  </a:cubicBezTo>
                  <a:cubicBezTo>
                    <a:pt x="125" y="1120"/>
                    <a:pt x="125" y="1120"/>
                    <a:pt x="125" y="1120"/>
                  </a:cubicBezTo>
                  <a:cubicBezTo>
                    <a:pt x="125" y="1120"/>
                    <a:pt x="125" y="1120"/>
                    <a:pt x="125" y="1120"/>
                  </a:cubicBezTo>
                  <a:cubicBezTo>
                    <a:pt x="122" y="1120"/>
                    <a:pt x="122" y="1120"/>
                    <a:pt x="122" y="1120"/>
                  </a:cubicBezTo>
                  <a:cubicBezTo>
                    <a:pt x="121" y="1120"/>
                    <a:pt x="121" y="1120"/>
                    <a:pt x="121" y="1120"/>
                  </a:cubicBezTo>
                  <a:cubicBezTo>
                    <a:pt x="119" y="1118"/>
                    <a:pt x="119" y="1118"/>
                    <a:pt x="119" y="1118"/>
                  </a:cubicBezTo>
                  <a:cubicBezTo>
                    <a:pt x="118" y="1118"/>
                    <a:pt x="118" y="1118"/>
                    <a:pt x="118" y="1118"/>
                  </a:cubicBezTo>
                  <a:cubicBezTo>
                    <a:pt x="117" y="1118"/>
                    <a:pt x="117" y="1118"/>
                    <a:pt x="117" y="1118"/>
                  </a:cubicBezTo>
                  <a:cubicBezTo>
                    <a:pt x="117" y="1118"/>
                    <a:pt x="117" y="1118"/>
                    <a:pt x="117" y="1118"/>
                  </a:cubicBezTo>
                  <a:cubicBezTo>
                    <a:pt x="117" y="1118"/>
                    <a:pt x="117" y="1118"/>
                    <a:pt x="117" y="1118"/>
                  </a:cubicBezTo>
                  <a:cubicBezTo>
                    <a:pt x="116" y="1119"/>
                    <a:pt x="116" y="1119"/>
                    <a:pt x="116" y="1119"/>
                  </a:cubicBezTo>
                  <a:cubicBezTo>
                    <a:pt x="116" y="1119"/>
                    <a:pt x="116" y="1119"/>
                    <a:pt x="116" y="1119"/>
                  </a:cubicBezTo>
                  <a:cubicBezTo>
                    <a:pt x="116" y="1119"/>
                    <a:pt x="116" y="1119"/>
                    <a:pt x="116" y="1119"/>
                  </a:cubicBezTo>
                  <a:cubicBezTo>
                    <a:pt x="115" y="1119"/>
                    <a:pt x="115" y="1119"/>
                    <a:pt x="115" y="1119"/>
                  </a:cubicBezTo>
                  <a:cubicBezTo>
                    <a:pt x="115" y="1119"/>
                    <a:pt x="115" y="1119"/>
                    <a:pt x="115" y="1119"/>
                  </a:cubicBezTo>
                  <a:cubicBezTo>
                    <a:pt x="115" y="1119"/>
                    <a:pt x="115" y="1119"/>
                    <a:pt x="115" y="1119"/>
                  </a:cubicBezTo>
                  <a:cubicBezTo>
                    <a:pt x="115" y="1119"/>
                    <a:pt x="115" y="1119"/>
                    <a:pt x="115" y="1119"/>
                  </a:cubicBezTo>
                  <a:cubicBezTo>
                    <a:pt x="116" y="1118"/>
                    <a:pt x="116" y="1118"/>
                    <a:pt x="116" y="1118"/>
                  </a:cubicBezTo>
                  <a:cubicBezTo>
                    <a:pt x="116" y="1117"/>
                    <a:pt x="116" y="1117"/>
                    <a:pt x="116" y="1117"/>
                  </a:cubicBezTo>
                  <a:cubicBezTo>
                    <a:pt x="115" y="1117"/>
                    <a:pt x="115" y="1117"/>
                    <a:pt x="115" y="1117"/>
                  </a:cubicBezTo>
                  <a:cubicBezTo>
                    <a:pt x="109" y="1117"/>
                    <a:pt x="109" y="1117"/>
                    <a:pt x="109" y="1117"/>
                  </a:cubicBezTo>
                  <a:cubicBezTo>
                    <a:pt x="107" y="1117"/>
                    <a:pt x="107" y="1117"/>
                    <a:pt x="107" y="1117"/>
                  </a:cubicBezTo>
                  <a:cubicBezTo>
                    <a:pt x="107" y="1116"/>
                    <a:pt x="107" y="1116"/>
                    <a:pt x="107" y="1116"/>
                  </a:cubicBezTo>
                  <a:cubicBezTo>
                    <a:pt x="107" y="1116"/>
                    <a:pt x="107" y="1116"/>
                    <a:pt x="107" y="1116"/>
                  </a:cubicBezTo>
                  <a:cubicBezTo>
                    <a:pt x="107" y="1117"/>
                    <a:pt x="107" y="1117"/>
                    <a:pt x="107" y="1117"/>
                  </a:cubicBezTo>
                  <a:cubicBezTo>
                    <a:pt x="106" y="1117"/>
                    <a:pt x="106" y="1117"/>
                    <a:pt x="106" y="1117"/>
                  </a:cubicBezTo>
                  <a:cubicBezTo>
                    <a:pt x="106" y="1116"/>
                    <a:pt x="106" y="1116"/>
                    <a:pt x="106" y="1116"/>
                  </a:cubicBezTo>
                  <a:cubicBezTo>
                    <a:pt x="104" y="1114"/>
                    <a:pt x="104" y="1114"/>
                    <a:pt x="104" y="1114"/>
                  </a:cubicBezTo>
                  <a:cubicBezTo>
                    <a:pt x="103" y="1114"/>
                    <a:pt x="103" y="1114"/>
                    <a:pt x="103" y="1114"/>
                  </a:cubicBezTo>
                  <a:cubicBezTo>
                    <a:pt x="102" y="1113"/>
                    <a:pt x="102" y="1113"/>
                    <a:pt x="102" y="1113"/>
                  </a:cubicBezTo>
                  <a:cubicBezTo>
                    <a:pt x="102" y="1113"/>
                    <a:pt x="102" y="1113"/>
                    <a:pt x="102" y="1113"/>
                  </a:cubicBezTo>
                  <a:cubicBezTo>
                    <a:pt x="102" y="1113"/>
                    <a:pt x="102" y="1113"/>
                    <a:pt x="102" y="1113"/>
                  </a:cubicBezTo>
                  <a:cubicBezTo>
                    <a:pt x="102" y="1114"/>
                    <a:pt x="102" y="1114"/>
                    <a:pt x="102" y="1114"/>
                  </a:cubicBezTo>
                  <a:cubicBezTo>
                    <a:pt x="101" y="1114"/>
                    <a:pt x="101" y="1114"/>
                    <a:pt x="101" y="1114"/>
                  </a:cubicBezTo>
                  <a:cubicBezTo>
                    <a:pt x="100" y="1114"/>
                    <a:pt x="100" y="1114"/>
                    <a:pt x="100" y="1114"/>
                  </a:cubicBezTo>
                  <a:cubicBezTo>
                    <a:pt x="101" y="1114"/>
                    <a:pt x="101" y="1114"/>
                    <a:pt x="101" y="1114"/>
                  </a:cubicBezTo>
                  <a:cubicBezTo>
                    <a:pt x="101" y="1115"/>
                    <a:pt x="101" y="1115"/>
                    <a:pt x="101" y="1115"/>
                  </a:cubicBezTo>
                  <a:cubicBezTo>
                    <a:pt x="100" y="1115"/>
                    <a:pt x="100" y="1115"/>
                    <a:pt x="100" y="1115"/>
                  </a:cubicBezTo>
                  <a:cubicBezTo>
                    <a:pt x="100" y="1115"/>
                    <a:pt x="100" y="1115"/>
                    <a:pt x="100" y="1115"/>
                  </a:cubicBezTo>
                  <a:cubicBezTo>
                    <a:pt x="101" y="1116"/>
                    <a:pt x="101" y="1116"/>
                    <a:pt x="101" y="1116"/>
                  </a:cubicBezTo>
                  <a:cubicBezTo>
                    <a:pt x="100" y="1116"/>
                    <a:pt x="100" y="1116"/>
                    <a:pt x="100" y="1116"/>
                  </a:cubicBezTo>
                  <a:cubicBezTo>
                    <a:pt x="97" y="1116"/>
                    <a:pt x="97" y="1116"/>
                    <a:pt x="97" y="1116"/>
                  </a:cubicBezTo>
                  <a:cubicBezTo>
                    <a:pt x="96" y="1116"/>
                    <a:pt x="96" y="1116"/>
                    <a:pt x="96" y="1116"/>
                  </a:cubicBezTo>
                  <a:cubicBezTo>
                    <a:pt x="96" y="1117"/>
                    <a:pt x="96" y="1117"/>
                    <a:pt x="96" y="1117"/>
                  </a:cubicBezTo>
                  <a:cubicBezTo>
                    <a:pt x="95" y="1117"/>
                    <a:pt x="95" y="1117"/>
                    <a:pt x="95" y="1117"/>
                  </a:cubicBezTo>
                  <a:cubicBezTo>
                    <a:pt x="95" y="1117"/>
                    <a:pt x="95" y="1117"/>
                    <a:pt x="95" y="1117"/>
                  </a:cubicBezTo>
                  <a:cubicBezTo>
                    <a:pt x="95" y="1117"/>
                    <a:pt x="95" y="1117"/>
                    <a:pt x="95" y="1117"/>
                  </a:cubicBezTo>
                  <a:cubicBezTo>
                    <a:pt x="92" y="1117"/>
                    <a:pt x="92" y="1117"/>
                    <a:pt x="92" y="1117"/>
                  </a:cubicBezTo>
                  <a:cubicBezTo>
                    <a:pt x="92" y="1116"/>
                    <a:pt x="92" y="1116"/>
                    <a:pt x="92" y="1116"/>
                  </a:cubicBezTo>
                  <a:cubicBezTo>
                    <a:pt x="91" y="1116"/>
                    <a:pt x="91" y="1116"/>
                    <a:pt x="91" y="1116"/>
                  </a:cubicBezTo>
                  <a:cubicBezTo>
                    <a:pt x="91" y="1116"/>
                    <a:pt x="91" y="1116"/>
                    <a:pt x="91" y="1116"/>
                  </a:cubicBezTo>
                  <a:cubicBezTo>
                    <a:pt x="90" y="1116"/>
                    <a:pt x="90" y="1116"/>
                    <a:pt x="90" y="1116"/>
                  </a:cubicBezTo>
                  <a:cubicBezTo>
                    <a:pt x="90" y="1116"/>
                    <a:pt x="90" y="1116"/>
                    <a:pt x="90" y="1116"/>
                  </a:cubicBezTo>
                  <a:cubicBezTo>
                    <a:pt x="89" y="1116"/>
                    <a:pt x="89" y="1116"/>
                    <a:pt x="89" y="1116"/>
                  </a:cubicBezTo>
                  <a:cubicBezTo>
                    <a:pt x="89" y="1117"/>
                    <a:pt x="89" y="1117"/>
                    <a:pt x="89" y="1117"/>
                  </a:cubicBezTo>
                  <a:cubicBezTo>
                    <a:pt x="88" y="1117"/>
                    <a:pt x="88" y="1117"/>
                    <a:pt x="88" y="1117"/>
                  </a:cubicBezTo>
                  <a:cubicBezTo>
                    <a:pt x="87" y="1117"/>
                    <a:pt x="87" y="1117"/>
                    <a:pt x="87" y="1117"/>
                  </a:cubicBezTo>
                  <a:cubicBezTo>
                    <a:pt x="85" y="1117"/>
                    <a:pt x="85" y="1117"/>
                    <a:pt x="85" y="1117"/>
                  </a:cubicBezTo>
                  <a:cubicBezTo>
                    <a:pt x="85" y="1117"/>
                    <a:pt x="85" y="1117"/>
                    <a:pt x="85" y="1117"/>
                  </a:cubicBezTo>
                  <a:cubicBezTo>
                    <a:pt x="84" y="1117"/>
                    <a:pt x="84" y="1117"/>
                    <a:pt x="84" y="1117"/>
                  </a:cubicBezTo>
                  <a:cubicBezTo>
                    <a:pt x="84" y="1117"/>
                    <a:pt x="84" y="1117"/>
                    <a:pt x="84" y="1117"/>
                  </a:cubicBezTo>
                  <a:cubicBezTo>
                    <a:pt x="84" y="1117"/>
                    <a:pt x="84" y="1117"/>
                    <a:pt x="84" y="1117"/>
                  </a:cubicBezTo>
                  <a:cubicBezTo>
                    <a:pt x="84" y="1117"/>
                    <a:pt x="84" y="1117"/>
                    <a:pt x="84" y="1117"/>
                  </a:cubicBezTo>
                  <a:cubicBezTo>
                    <a:pt x="84" y="1117"/>
                    <a:pt x="84" y="1117"/>
                    <a:pt x="84" y="1117"/>
                  </a:cubicBezTo>
                  <a:cubicBezTo>
                    <a:pt x="83" y="1117"/>
                    <a:pt x="83" y="1117"/>
                    <a:pt x="83" y="1117"/>
                  </a:cubicBezTo>
                  <a:cubicBezTo>
                    <a:pt x="83" y="1117"/>
                    <a:pt x="83" y="1117"/>
                    <a:pt x="83" y="1117"/>
                  </a:cubicBezTo>
                  <a:cubicBezTo>
                    <a:pt x="82" y="1118"/>
                    <a:pt x="82" y="1118"/>
                    <a:pt x="82" y="1118"/>
                  </a:cubicBezTo>
                  <a:cubicBezTo>
                    <a:pt x="81" y="1117"/>
                    <a:pt x="81" y="1117"/>
                    <a:pt x="81" y="1117"/>
                  </a:cubicBezTo>
                  <a:cubicBezTo>
                    <a:pt x="80" y="1117"/>
                    <a:pt x="80" y="1117"/>
                    <a:pt x="80" y="1117"/>
                  </a:cubicBezTo>
                  <a:cubicBezTo>
                    <a:pt x="78" y="1116"/>
                    <a:pt x="78" y="1116"/>
                    <a:pt x="78" y="1116"/>
                  </a:cubicBezTo>
                  <a:cubicBezTo>
                    <a:pt x="77" y="1117"/>
                    <a:pt x="77" y="1117"/>
                    <a:pt x="77" y="1117"/>
                  </a:cubicBezTo>
                  <a:cubicBezTo>
                    <a:pt x="76" y="1117"/>
                    <a:pt x="76" y="1117"/>
                    <a:pt x="76" y="1117"/>
                  </a:cubicBezTo>
                  <a:cubicBezTo>
                    <a:pt x="75" y="1117"/>
                    <a:pt x="75" y="1117"/>
                    <a:pt x="75" y="1117"/>
                  </a:cubicBezTo>
                  <a:cubicBezTo>
                    <a:pt x="73" y="1117"/>
                    <a:pt x="73" y="1117"/>
                    <a:pt x="73" y="1117"/>
                  </a:cubicBezTo>
                  <a:cubicBezTo>
                    <a:pt x="72" y="1117"/>
                    <a:pt x="72" y="1117"/>
                    <a:pt x="72" y="1117"/>
                  </a:cubicBezTo>
                  <a:cubicBezTo>
                    <a:pt x="70" y="1117"/>
                    <a:pt x="70" y="1117"/>
                    <a:pt x="70" y="1117"/>
                  </a:cubicBezTo>
                  <a:cubicBezTo>
                    <a:pt x="68" y="1117"/>
                    <a:pt x="68" y="1117"/>
                    <a:pt x="68" y="1117"/>
                  </a:cubicBezTo>
                  <a:cubicBezTo>
                    <a:pt x="67" y="1118"/>
                    <a:pt x="67" y="1118"/>
                    <a:pt x="67" y="1118"/>
                  </a:cubicBezTo>
                  <a:cubicBezTo>
                    <a:pt x="67" y="1119"/>
                    <a:pt x="67" y="1119"/>
                    <a:pt x="67" y="1119"/>
                  </a:cubicBezTo>
                  <a:cubicBezTo>
                    <a:pt x="67" y="1119"/>
                    <a:pt x="67" y="1119"/>
                    <a:pt x="67" y="1119"/>
                  </a:cubicBezTo>
                  <a:cubicBezTo>
                    <a:pt x="67" y="1120"/>
                    <a:pt x="67" y="1120"/>
                    <a:pt x="67" y="1120"/>
                  </a:cubicBezTo>
                  <a:cubicBezTo>
                    <a:pt x="67" y="1120"/>
                    <a:pt x="67" y="1120"/>
                    <a:pt x="67" y="1120"/>
                  </a:cubicBezTo>
                  <a:cubicBezTo>
                    <a:pt x="67" y="1120"/>
                    <a:pt x="67" y="1120"/>
                    <a:pt x="67" y="1120"/>
                  </a:cubicBezTo>
                  <a:cubicBezTo>
                    <a:pt x="66" y="1120"/>
                    <a:pt x="66" y="1120"/>
                    <a:pt x="66" y="1120"/>
                  </a:cubicBezTo>
                  <a:cubicBezTo>
                    <a:pt x="66" y="1119"/>
                    <a:pt x="66" y="1119"/>
                    <a:pt x="66" y="1119"/>
                  </a:cubicBezTo>
                  <a:cubicBezTo>
                    <a:pt x="67" y="1119"/>
                    <a:pt x="67" y="1119"/>
                    <a:pt x="67" y="1119"/>
                  </a:cubicBezTo>
                  <a:cubicBezTo>
                    <a:pt x="67" y="1118"/>
                    <a:pt x="67" y="1118"/>
                    <a:pt x="67" y="1118"/>
                  </a:cubicBezTo>
                  <a:cubicBezTo>
                    <a:pt x="67" y="1117"/>
                    <a:pt x="67" y="1117"/>
                    <a:pt x="67" y="1117"/>
                  </a:cubicBezTo>
                  <a:cubicBezTo>
                    <a:pt x="67" y="1117"/>
                    <a:pt x="67" y="1117"/>
                    <a:pt x="67" y="1117"/>
                  </a:cubicBezTo>
                  <a:cubicBezTo>
                    <a:pt x="66" y="1117"/>
                    <a:pt x="66" y="1117"/>
                    <a:pt x="66" y="1117"/>
                  </a:cubicBezTo>
                  <a:cubicBezTo>
                    <a:pt x="65" y="1117"/>
                    <a:pt x="65" y="1117"/>
                    <a:pt x="65" y="1117"/>
                  </a:cubicBezTo>
                  <a:cubicBezTo>
                    <a:pt x="65" y="1117"/>
                    <a:pt x="65" y="1117"/>
                    <a:pt x="65" y="1117"/>
                  </a:cubicBezTo>
                  <a:cubicBezTo>
                    <a:pt x="63" y="1117"/>
                    <a:pt x="63" y="1117"/>
                    <a:pt x="63" y="1117"/>
                  </a:cubicBezTo>
                  <a:cubicBezTo>
                    <a:pt x="62" y="1117"/>
                    <a:pt x="62" y="1117"/>
                    <a:pt x="62" y="1117"/>
                  </a:cubicBezTo>
                  <a:cubicBezTo>
                    <a:pt x="61" y="1117"/>
                    <a:pt x="61" y="1117"/>
                    <a:pt x="61" y="1117"/>
                  </a:cubicBezTo>
                  <a:cubicBezTo>
                    <a:pt x="61" y="1117"/>
                    <a:pt x="61" y="1117"/>
                    <a:pt x="61" y="1117"/>
                  </a:cubicBezTo>
                  <a:cubicBezTo>
                    <a:pt x="61" y="1117"/>
                    <a:pt x="61" y="1117"/>
                    <a:pt x="61" y="1117"/>
                  </a:cubicBezTo>
                  <a:cubicBezTo>
                    <a:pt x="60" y="1117"/>
                    <a:pt x="60" y="1117"/>
                    <a:pt x="60" y="1117"/>
                  </a:cubicBezTo>
                  <a:cubicBezTo>
                    <a:pt x="60" y="1117"/>
                    <a:pt x="60" y="1117"/>
                    <a:pt x="60" y="1117"/>
                  </a:cubicBezTo>
                  <a:cubicBezTo>
                    <a:pt x="60" y="1117"/>
                    <a:pt x="60" y="1117"/>
                    <a:pt x="60" y="1117"/>
                  </a:cubicBezTo>
                  <a:cubicBezTo>
                    <a:pt x="60" y="1117"/>
                    <a:pt x="60" y="1117"/>
                    <a:pt x="60" y="1117"/>
                  </a:cubicBezTo>
                  <a:cubicBezTo>
                    <a:pt x="60" y="1117"/>
                    <a:pt x="60" y="1117"/>
                    <a:pt x="60" y="1117"/>
                  </a:cubicBezTo>
                  <a:cubicBezTo>
                    <a:pt x="60" y="1117"/>
                    <a:pt x="60" y="1117"/>
                    <a:pt x="60" y="1117"/>
                  </a:cubicBezTo>
                  <a:cubicBezTo>
                    <a:pt x="60" y="1116"/>
                    <a:pt x="60" y="1116"/>
                    <a:pt x="60" y="1116"/>
                  </a:cubicBezTo>
                  <a:cubicBezTo>
                    <a:pt x="59" y="1116"/>
                    <a:pt x="59" y="1116"/>
                    <a:pt x="59" y="1116"/>
                  </a:cubicBezTo>
                  <a:cubicBezTo>
                    <a:pt x="57" y="1112"/>
                    <a:pt x="57" y="1112"/>
                    <a:pt x="57" y="1112"/>
                  </a:cubicBezTo>
                  <a:cubicBezTo>
                    <a:pt x="56" y="1112"/>
                    <a:pt x="56" y="1112"/>
                    <a:pt x="56" y="1112"/>
                  </a:cubicBezTo>
                  <a:cubicBezTo>
                    <a:pt x="53" y="1110"/>
                    <a:pt x="53" y="1110"/>
                    <a:pt x="53" y="1110"/>
                  </a:cubicBezTo>
                  <a:cubicBezTo>
                    <a:pt x="53" y="1110"/>
                    <a:pt x="53" y="1110"/>
                    <a:pt x="53" y="1110"/>
                  </a:cubicBezTo>
                  <a:cubicBezTo>
                    <a:pt x="52" y="1110"/>
                    <a:pt x="52" y="1110"/>
                    <a:pt x="52" y="1110"/>
                  </a:cubicBezTo>
                  <a:cubicBezTo>
                    <a:pt x="51" y="1110"/>
                    <a:pt x="51" y="1110"/>
                    <a:pt x="51" y="1110"/>
                  </a:cubicBezTo>
                  <a:cubicBezTo>
                    <a:pt x="51" y="1111"/>
                    <a:pt x="51" y="1111"/>
                    <a:pt x="51" y="1111"/>
                  </a:cubicBezTo>
                  <a:cubicBezTo>
                    <a:pt x="51" y="1111"/>
                    <a:pt x="51" y="1111"/>
                    <a:pt x="51" y="1111"/>
                  </a:cubicBezTo>
                  <a:cubicBezTo>
                    <a:pt x="50" y="1111"/>
                    <a:pt x="50" y="1111"/>
                    <a:pt x="50" y="1111"/>
                  </a:cubicBezTo>
                  <a:cubicBezTo>
                    <a:pt x="50" y="1111"/>
                    <a:pt x="50" y="1111"/>
                    <a:pt x="50" y="1111"/>
                  </a:cubicBezTo>
                  <a:cubicBezTo>
                    <a:pt x="50" y="1112"/>
                    <a:pt x="50" y="1112"/>
                    <a:pt x="50" y="1112"/>
                  </a:cubicBezTo>
                  <a:cubicBezTo>
                    <a:pt x="49" y="1112"/>
                    <a:pt x="49" y="1112"/>
                    <a:pt x="49" y="1112"/>
                  </a:cubicBezTo>
                  <a:cubicBezTo>
                    <a:pt x="49" y="1111"/>
                    <a:pt x="49" y="1111"/>
                    <a:pt x="49" y="1111"/>
                  </a:cubicBezTo>
                  <a:cubicBezTo>
                    <a:pt x="49" y="1110"/>
                    <a:pt x="49" y="1110"/>
                    <a:pt x="49" y="1110"/>
                  </a:cubicBezTo>
                  <a:cubicBezTo>
                    <a:pt x="49" y="1109"/>
                    <a:pt x="49" y="1109"/>
                    <a:pt x="49" y="1109"/>
                  </a:cubicBezTo>
                  <a:cubicBezTo>
                    <a:pt x="48" y="1110"/>
                    <a:pt x="48" y="1110"/>
                    <a:pt x="48" y="1110"/>
                  </a:cubicBezTo>
                  <a:cubicBezTo>
                    <a:pt x="48" y="1110"/>
                    <a:pt x="48" y="1110"/>
                    <a:pt x="48" y="1110"/>
                  </a:cubicBezTo>
                  <a:cubicBezTo>
                    <a:pt x="48" y="1110"/>
                    <a:pt x="48" y="1110"/>
                    <a:pt x="48" y="1110"/>
                  </a:cubicBezTo>
                  <a:cubicBezTo>
                    <a:pt x="48" y="1110"/>
                    <a:pt x="48" y="1110"/>
                    <a:pt x="48" y="1110"/>
                  </a:cubicBezTo>
                  <a:cubicBezTo>
                    <a:pt x="48" y="1110"/>
                    <a:pt x="48" y="1110"/>
                    <a:pt x="48" y="1110"/>
                  </a:cubicBezTo>
                  <a:cubicBezTo>
                    <a:pt x="48" y="1110"/>
                    <a:pt x="48" y="1110"/>
                    <a:pt x="48" y="1110"/>
                  </a:cubicBezTo>
                  <a:cubicBezTo>
                    <a:pt x="47" y="1110"/>
                    <a:pt x="47" y="1110"/>
                    <a:pt x="47" y="1110"/>
                  </a:cubicBezTo>
                  <a:cubicBezTo>
                    <a:pt x="47" y="1110"/>
                    <a:pt x="47" y="1110"/>
                    <a:pt x="47" y="1110"/>
                  </a:cubicBezTo>
                  <a:cubicBezTo>
                    <a:pt x="47" y="1110"/>
                    <a:pt x="47" y="1110"/>
                    <a:pt x="47" y="1110"/>
                  </a:cubicBezTo>
                  <a:cubicBezTo>
                    <a:pt x="47" y="1110"/>
                    <a:pt x="47" y="1110"/>
                    <a:pt x="47" y="1110"/>
                  </a:cubicBezTo>
                  <a:cubicBezTo>
                    <a:pt x="48" y="1109"/>
                    <a:pt x="48" y="1109"/>
                    <a:pt x="48" y="1109"/>
                  </a:cubicBezTo>
                  <a:cubicBezTo>
                    <a:pt x="48" y="1108"/>
                    <a:pt x="48" y="1108"/>
                    <a:pt x="48" y="1108"/>
                  </a:cubicBezTo>
                  <a:cubicBezTo>
                    <a:pt x="48" y="1108"/>
                    <a:pt x="48" y="1108"/>
                    <a:pt x="48" y="1108"/>
                  </a:cubicBezTo>
                  <a:cubicBezTo>
                    <a:pt x="48" y="1108"/>
                    <a:pt x="48" y="1108"/>
                    <a:pt x="48" y="1108"/>
                  </a:cubicBezTo>
                  <a:cubicBezTo>
                    <a:pt x="47" y="1108"/>
                    <a:pt x="47" y="1108"/>
                    <a:pt x="47" y="1108"/>
                  </a:cubicBezTo>
                  <a:cubicBezTo>
                    <a:pt x="47" y="1108"/>
                    <a:pt x="47" y="1108"/>
                    <a:pt x="47" y="1108"/>
                  </a:cubicBezTo>
                  <a:cubicBezTo>
                    <a:pt x="47" y="1108"/>
                    <a:pt x="47" y="1108"/>
                    <a:pt x="47" y="1108"/>
                  </a:cubicBezTo>
                  <a:cubicBezTo>
                    <a:pt x="47" y="1109"/>
                    <a:pt x="47" y="1109"/>
                    <a:pt x="47" y="1109"/>
                  </a:cubicBezTo>
                  <a:cubicBezTo>
                    <a:pt x="46" y="1109"/>
                    <a:pt x="46" y="1109"/>
                    <a:pt x="46" y="1109"/>
                  </a:cubicBezTo>
                  <a:cubicBezTo>
                    <a:pt x="45" y="1110"/>
                    <a:pt x="45" y="1110"/>
                    <a:pt x="45" y="1110"/>
                  </a:cubicBezTo>
                  <a:cubicBezTo>
                    <a:pt x="44" y="1110"/>
                    <a:pt x="44" y="1110"/>
                    <a:pt x="44" y="1110"/>
                  </a:cubicBezTo>
                  <a:cubicBezTo>
                    <a:pt x="44" y="1111"/>
                    <a:pt x="44" y="1111"/>
                    <a:pt x="44" y="1111"/>
                  </a:cubicBezTo>
                  <a:cubicBezTo>
                    <a:pt x="43" y="1111"/>
                    <a:pt x="43" y="1111"/>
                    <a:pt x="43" y="1111"/>
                  </a:cubicBezTo>
                  <a:cubicBezTo>
                    <a:pt x="43" y="1111"/>
                    <a:pt x="43" y="1111"/>
                    <a:pt x="43" y="1111"/>
                  </a:cubicBezTo>
                  <a:cubicBezTo>
                    <a:pt x="43" y="1111"/>
                    <a:pt x="43" y="1111"/>
                    <a:pt x="43" y="1111"/>
                  </a:cubicBezTo>
                  <a:cubicBezTo>
                    <a:pt x="43" y="1112"/>
                    <a:pt x="43" y="1112"/>
                    <a:pt x="43" y="1112"/>
                  </a:cubicBezTo>
                  <a:cubicBezTo>
                    <a:pt x="43" y="1111"/>
                    <a:pt x="43" y="1111"/>
                    <a:pt x="43" y="1111"/>
                  </a:cubicBezTo>
                  <a:cubicBezTo>
                    <a:pt x="42" y="1111"/>
                    <a:pt x="42" y="1111"/>
                    <a:pt x="42" y="1111"/>
                  </a:cubicBezTo>
                  <a:cubicBezTo>
                    <a:pt x="42" y="1112"/>
                    <a:pt x="42" y="1112"/>
                    <a:pt x="42" y="1112"/>
                  </a:cubicBezTo>
                  <a:cubicBezTo>
                    <a:pt x="43" y="1112"/>
                    <a:pt x="43" y="1112"/>
                    <a:pt x="43" y="1112"/>
                  </a:cubicBezTo>
                  <a:cubicBezTo>
                    <a:pt x="42" y="1113"/>
                    <a:pt x="42" y="1113"/>
                    <a:pt x="42" y="1113"/>
                  </a:cubicBezTo>
                  <a:cubicBezTo>
                    <a:pt x="41" y="1113"/>
                    <a:pt x="41" y="1113"/>
                    <a:pt x="41" y="1113"/>
                  </a:cubicBezTo>
                  <a:cubicBezTo>
                    <a:pt x="41" y="1112"/>
                    <a:pt x="41" y="1112"/>
                    <a:pt x="41" y="1112"/>
                  </a:cubicBezTo>
                  <a:cubicBezTo>
                    <a:pt x="41" y="1112"/>
                    <a:pt x="41" y="1112"/>
                    <a:pt x="41" y="1112"/>
                  </a:cubicBezTo>
                  <a:cubicBezTo>
                    <a:pt x="41" y="1112"/>
                    <a:pt x="41" y="1112"/>
                    <a:pt x="41" y="1112"/>
                  </a:cubicBezTo>
                  <a:cubicBezTo>
                    <a:pt x="41" y="1112"/>
                    <a:pt x="41" y="1112"/>
                    <a:pt x="41" y="1112"/>
                  </a:cubicBezTo>
                  <a:cubicBezTo>
                    <a:pt x="41" y="1112"/>
                    <a:pt x="41" y="1112"/>
                    <a:pt x="41" y="1112"/>
                  </a:cubicBezTo>
                  <a:cubicBezTo>
                    <a:pt x="41" y="1112"/>
                    <a:pt x="41" y="1112"/>
                    <a:pt x="41" y="1112"/>
                  </a:cubicBezTo>
                  <a:cubicBezTo>
                    <a:pt x="42" y="1112"/>
                    <a:pt x="42" y="1112"/>
                    <a:pt x="42" y="1112"/>
                  </a:cubicBezTo>
                  <a:cubicBezTo>
                    <a:pt x="42" y="1112"/>
                    <a:pt x="42" y="1112"/>
                    <a:pt x="42" y="1112"/>
                  </a:cubicBezTo>
                  <a:cubicBezTo>
                    <a:pt x="42" y="1111"/>
                    <a:pt x="42" y="1111"/>
                    <a:pt x="42" y="1111"/>
                  </a:cubicBezTo>
                  <a:cubicBezTo>
                    <a:pt x="42" y="1111"/>
                    <a:pt x="42" y="1111"/>
                    <a:pt x="42" y="1111"/>
                  </a:cubicBezTo>
                  <a:cubicBezTo>
                    <a:pt x="42" y="1111"/>
                    <a:pt x="42" y="1111"/>
                    <a:pt x="42" y="1111"/>
                  </a:cubicBezTo>
                  <a:cubicBezTo>
                    <a:pt x="42" y="1111"/>
                    <a:pt x="42" y="1111"/>
                    <a:pt x="42" y="1111"/>
                  </a:cubicBezTo>
                  <a:cubicBezTo>
                    <a:pt x="42" y="1111"/>
                    <a:pt x="42" y="1111"/>
                    <a:pt x="42" y="1111"/>
                  </a:cubicBezTo>
                  <a:cubicBezTo>
                    <a:pt x="43" y="1111"/>
                    <a:pt x="43" y="1111"/>
                    <a:pt x="43" y="1111"/>
                  </a:cubicBezTo>
                  <a:cubicBezTo>
                    <a:pt x="43" y="1111"/>
                    <a:pt x="43" y="1111"/>
                    <a:pt x="43" y="1111"/>
                  </a:cubicBezTo>
                  <a:cubicBezTo>
                    <a:pt x="42" y="1110"/>
                    <a:pt x="42" y="1110"/>
                    <a:pt x="42" y="1110"/>
                  </a:cubicBezTo>
                  <a:cubicBezTo>
                    <a:pt x="42" y="1109"/>
                    <a:pt x="42" y="1109"/>
                    <a:pt x="42" y="1109"/>
                  </a:cubicBezTo>
                  <a:cubicBezTo>
                    <a:pt x="42" y="1109"/>
                    <a:pt x="42" y="1109"/>
                    <a:pt x="42" y="1109"/>
                  </a:cubicBezTo>
                  <a:cubicBezTo>
                    <a:pt x="41" y="1109"/>
                    <a:pt x="41" y="1109"/>
                    <a:pt x="41" y="1109"/>
                  </a:cubicBezTo>
                  <a:cubicBezTo>
                    <a:pt x="40" y="1110"/>
                    <a:pt x="40" y="1110"/>
                    <a:pt x="40" y="1110"/>
                  </a:cubicBezTo>
                  <a:cubicBezTo>
                    <a:pt x="39" y="1110"/>
                    <a:pt x="39" y="1110"/>
                    <a:pt x="39" y="1110"/>
                  </a:cubicBezTo>
                  <a:cubicBezTo>
                    <a:pt x="39" y="1111"/>
                    <a:pt x="39" y="1111"/>
                    <a:pt x="39" y="1111"/>
                  </a:cubicBezTo>
                  <a:cubicBezTo>
                    <a:pt x="38" y="1111"/>
                    <a:pt x="38" y="1111"/>
                    <a:pt x="38" y="1111"/>
                  </a:cubicBezTo>
                  <a:cubicBezTo>
                    <a:pt x="37" y="1111"/>
                    <a:pt x="37" y="1111"/>
                    <a:pt x="37" y="1111"/>
                  </a:cubicBezTo>
                  <a:cubicBezTo>
                    <a:pt x="36" y="1111"/>
                    <a:pt x="36" y="1111"/>
                    <a:pt x="36" y="1111"/>
                  </a:cubicBezTo>
                  <a:cubicBezTo>
                    <a:pt x="36" y="1111"/>
                    <a:pt x="36" y="1111"/>
                    <a:pt x="36" y="1111"/>
                  </a:cubicBezTo>
                  <a:cubicBezTo>
                    <a:pt x="36" y="1112"/>
                    <a:pt x="36" y="1112"/>
                    <a:pt x="36" y="1112"/>
                  </a:cubicBezTo>
                  <a:cubicBezTo>
                    <a:pt x="36" y="1112"/>
                    <a:pt x="36" y="1112"/>
                    <a:pt x="36" y="1112"/>
                  </a:cubicBezTo>
                  <a:cubicBezTo>
                    <a:pt x="36" y="1113"/>
                    <a:pt x="36" y="1113"/>
                    <a:pt x="36" y="1113"/>
                  </a:cubicBezTo>
                  <a:cubicBezTo>
                    <a:pt x="37" y="1113"/>
                    <a:pt x="37" y="1113"/>
                    <a:pt x="37" y="1113"/>
                  </a:cubicBezTo>
                  <a:cubicBezTo>
                    <a:pt x="36" y="1113"/>
                    <a:pt x="36" y="1113"/>
                    <a:pt x="36" y="1113"/>
                  </a:cubicBezTo>
                  <a:cubicBezTo>
                    <a:pt x="36" y="1114"/>
                    <a:pt x="36" y="1114"/>
                    <a:pt x="36" y="1114"/>
                  </a:cubicBezTo>
                  <a:cubicBezTo>
                    <a:pt x="36" y="1114"/>
                    <a:pt x="36" y="1114"/>
                    <a:pt x="36" y="1114"/>
                  </a:cubicBezTo>
                  <a:cubicBezTo>
                    <a:pt x="36" y="1114"/>
                    <a:pt x="36" y="1114"/>
                    <a:pt x="36" y="1114"/>
                  </a:cubicBezTo>
                  <a:cubicBezTo>
                    <a:pt x="36" y="1114"/>
                    <a:pt x="36" y="1114"/>
                    <a:pt x="36" y="1114"/>
                  </a:cubicBezTo>
                  <a:cubicBezTo>
                    <a:pt x="37" y="1114"/>
                    <a:pt x="37" y="1114"/>
                    <a:pt x="37" y="1114"/>
                  </a:cubicBezTo>
                  <a:cubicBezTo>
                    <a:pt x="36" y="1114"/>
                    <a:pt x="36" y="1114"/>
                    <a:pt x="36" y="1114"/>
                  </a:cubicBezTo>
                  <a:cubicBezTo>
                    <a:pt x="36" y="1114"/>
                    <a:pt x="36" y="1114"/>
                    <a:pt x="36" y="1114"/>
                  </a:cubicBezTo>
                  <a:cubicBezTo>
                    <a:pt x="36" y="1114"/>
                    <a:pt x="36" y="1114"/>
                    <a:pt x="36" y="1114"/>
                  </a:cubicBezTo>
                  <a:cubicBezTo>
                    <a:pt x="35" y="1113"/>
                    <a:pt x="35" y="1113"/>
                    <a:pt x="35" y="1113"/>
                  </a:cubicBezTo>
                  <a:cubicBezTo>
                    <a:pt x="31" y="1117"/>
                    <a:pt x="31" y="1117"/>
                    <a:pt x="31" y="1117"/>
                  </a:cubicBezTo>
                  <a:cubicBezTo>
                    <a:pt x="30" y="1117"/>
                    <a:pt x="30" y="1117"/>
                    <a:pt x="30" y="1117"/>
                  </a:cubicBezTo>
                  <a:cubicBezTo>
                    <a:pt x="30" y="1117"/>
                    <a:pt x="30" y="1117"/>
                    <a:pt x="30" y="1117"/>
                  </a:cubicBezTo>
                  <a:cubicBezTo>
                    <a:pt x="29" y="1117"/>
                    <a:pt x="29" y="1117"/>
                    <a:pt x="29" y="1117"/>
                  </a:cubicBezTo>
                  <a:cubicBezTo>
                    <a:pt x="29" y="1117"/>
                    <a:pt x="29" y="1117"/>
                    <a:pt x="29" y="1117"/>
                  </a:cubicBezTo>
                  <a:cubicBezTo>
                    <a:pt x="29" y="1117"/>
                    <a:pt x="29" y="1117"/>
                    <a:pt x="29" y="1117"/>
                  </a:cubicBezTo>
                  <a:cubicBezTo>
                    <a:pt x="29" y="1117"/>
                    <a:pt x="29" y="1117"/>
                    <a:pt x="29" y="1117"/>
                  </a:cubicBezTo>
                  <a:cubicBezTo>
                    <a:pt x="29" y="1118"/>
                    <a:pt x="29" y="1118"/>
                    <a:pt x="29" y="1118"/>
                  </a:cubicBezTo>
                  <a:cubicBezTo>
                    <a:pt x="29" y="1118"/>
                    <a:pt x="29" y="1118"/>
                    <a:pt x="29" y="1118"/>
                  </a:cubicBezTo>
                  <a:cubicBezTo>
                    <a:pt x="29" y="1118"/>
                    <a:pt x="29" y="1118"/>
                    <a:pt x="29" y="1118"/>
                  </a:cubicBezTo>
                  <a:cubicBezTo>
                    <a:pt x="29" y="1119"/>
                    <a:pt x="29" y="1119"/>
                    <a:pt x="29" y="1119"/>
                  </a:cubicBezTo>
                  <a:cubicBezTo>
                    <a:pt x="29" y="1119"/>
                    <a:pt x="29" y="1119"/>
                    <a:pt x="29" y="1119"/>
                  </a:cubicBezTo>
                  <a:cubicBezTo>
                    <a:pt x="28" y="1119"/>
                    <a:pt x="28" y="1119"/>
                    <a:pt x="28" y="1119"/>
                  </a:cubicBezTo>
                  <a:cubicBezTo>
                    <a:pt x="28" y="1120"/>
                    <a:pt x="28" y="1120"/>
                    <a:pt x="28" y="1120"/>
                  </a:cubicBezTo>
                  <a:cubicBezTo>
                    <a:pt x="28" y="1121"/>
                    <a:pt x="28" y="1121"/>
                    <a:pt x="28" y="1121"/>
                  </a:cubicBezTo>
                  <a:cubicBezTo>
                    <a:pt x="29" y="1121"/>
                    <a:pt x="29" y="1121"/>
                    <a:pt x="29" y="1121"/>
                  </a:cubicBezTo>
                  <a:cubicBezTo>
                    <a:pt x="30" y="1120"/>
                    <a:pt x="30" y="1120"/>
                    <a:pt x="30" y="1120"/>
                  </a:cubicBezTo>
                  <a:cubicBezTo>
                    <a:pt x="30" y="1120"/>
                    <a:pt x="30" y="1120"/>
                    <a:pt x="30" y="1120"/>
                  </a:cubicBezTo>
                  <a:cubicBezTo>
                    <a:pt x="31" y="1120"/>
                    <a:pt x="31" y="1120"/>
                    <a:pt x="31" y="1120"/>
                  </a:cubicBezTo>
                  <a:cubicBezTo>
                    <a:pt x="31" y="1120"/>
                    <a:pt x="31" y="1120"/>
                    <a:pt x="31" y="1120"/>
                  </a:cubicBezTo>
                  <a:cubicBezTo>
                    <a:pt x="30" y="1120"/>
                    <a:pt x="30" y="1120"/>
                    <a:pt x="30" y="1120"/>
                  </a:cubicBezTo>
                  <a:cubicBezTo>
                    <a:pt x="30" y="1120"/>
                    <a:pt x="30" y="1120"/>
                    <a:pt x="30" y="1120"/>
                  </a:cubicBezTo>
                  <a:cubicBezTo>
                    <a:pt x="32" y="1120"/>
                    <a:pt x="32" y="1120"/>
                    <a:pt x="32" y="1120"/>
                  </a:cubicBezTo>
                  <a:cubicBezTo>
                    <a:pt x="33" y="1120"/>
                    <a:pt x="33" y="1120"/>
                    <a:pt x="33" y="1120"/>
                  </a:cubicBezTo>
                  <a:cubicBezTo>
                    <a:pt x="33" y="1120"/>
                    <a:pt x="33" y="1120"/>
                    <a:pt x="33" y="1120"/>
                  </a:cubicBezTo>
                  <a:cubicBezTo>
                    <a:pt x="33" y="1120"/>
                    <a:pt x="33" y="1120"/>
                    <a:pt x="33" y="1120"/>
                  </a:cubicBezTo>
                  <a:cubicBezTo>
                    <a:pt x="33" y="1120"/>
                    <a:pt x="33" y="1120"/>
                    <a:pt x="33" y="1120"/>
                  </a:cubicBezTo>
                  <a:cubicBezTo>
                    <a:pt x="33" y="1121"/>
                    <a:pt x="33" y="1121"/>
                    <a:pt x="33" y="1121"/>
                  </a:cubicBezTo>
                  <a:cubicBezTo>
                    <a:pt x="32" y="1121"/>
                    <a:pt x="32" y="1121"/>
                    <a:pt x="32" y="1121"/>
                  </a:cubicBezTo>
                  <a:cubicBezTo>
                    <a:pt x="29" y="1121"/>
                    <a:pt x="29" y="1121"/>
                    <a:pt x="29" y="1121"/>
                  </a:cubicBezTo>
                  <a:cubicBezTo>
                    <a:pt x="29" y="1122"/>
                    <a:pt x="29" y="1122"/>
                    <a:pt x="29" y="1122"/>
                  </a:cubicBezTo>
                  <a:cubicBezTo>
                    <a:pt x="29" y="1122"/>
                    <a:pt x="29" y="1122"/>
                    <a:pt x="29" y="1122"/>
                  </a:cubicBezTo>
                  <a:cubicBezTo>
                    <a:pt x="30" y="1123"/>
                    <a:pt x="30" y="1123"/>
                    <a:pt x="30" y="1123"/>
                  </a:cubicBezTo>
                  <a:cubicBezTo>
                    <a:pt x="31" y="1123"/>
                    <a:pt x="31" y="1123"/>
                    <a:pt x="31" y="1123"/>
                  </a:cubicBezTo>
                  <a:cubicBezTo>
                    <a:pt x="32" y="1123"/>
                    <a:pt x="32" y="1123"/>
                    <a:pt x="32" y="1123"/>
                  </a:cubicBezTo>
                  <a:cubicBezTo>
                    <a:pt x="32" y="1123"/>
                    <a:pt x="32" y="1123"/>
                    <a:pt x="32" y="1123"/>
                  </a:cubicBezTo>
                  <a:cubicBezTo>
                    <a:pt x="33" y="1123"/>
                    <a:pt x="33" y="1123"/>
                    <a:pt x="33" y="1123"/>
                  </a:cubicBezTo>
                  <a:cubicBezTo>
                    <a:pt x="32" y="1123"/>
                    <a:pt x="32" y="1123"/>
                    <a:pt x="32" y="1123"/>
                  </a:cubicBezTo>
                  <a:cubicBezTo>
                    <a:pt x="32" y="1124"/>
                    <a:pt x="32" y="1124"/>
                    <a:pt x="32" y="1124"/>
                  </a:cubicBezTo>
                  <a:cubicBezTo>
                    <a:pt x="32" y="1124"/>
                    <a:pt x="32" y="1124"/>
                    <a:pt x="32" y="1124"/>
                  </a:cubicBezTo>
                  <a:cubicBezTo>
                    <a:pt x="32" y="1125"/>
                    <a:pt x="32" y="1125"/>
                    <a:pt x="32" y="1125"/>
                  </a:cubicBezTo>
                  <a:cubicBezTo>
                    <a:pt x="32" y="1126"/>
                    <a:pt x="32" y="1126"/>
                    <a:pt x="32" y="1126"/>
                  </a:cubicBezTo>
                  <a:cubicBezTo>
                    <a:pt x="32" y="1127"/>
                    <a:pt x="32" y="1127"/>
                    <a:pt x="32" y="1127"/>
                  </a:cubicBezTo>
                  <a:cubicBezTo>
                    <a:pt x="32" y="1127"/>
                    <a:pt x="32" y="1127"/>
                    <a:pt x="32" y="1127"/>
                  </a:cubicBezTo>
                  <a:cubicBezTo>
                    <a:pt x="31" y="1127"/>
                    <a:pt x="31" y="1127"/>
                    <a:pt x="31" y="1127"/>
                  </a:cubicBezTo>
                  <a:cubicBezTo>
                    <a:pt x="31" y="1126"/>
                    <a:pt x="31" y="1126"/>
                    <a:pt x="31" y="1126"/>
                  </a:cubicBezTo>
                  <a:cubicBezTo>
                    <a:pt x="30" y="1125"/>
                    <a:pt x="30" y="1125"/>
                    <a:pt x="30" y="1125"/>
                  </a:cubicBezTo>
                  <a:cubicBezTo>
                    <a:pt x="30" y="1125"/>
                    <a:pt x="30" y="1125"/>
                    <a:pt x="30" y="1125"/>
                  </a:cubicBezTo>
                  <a:cubicBezTo>
                    <a:pt x="30" y="1125"/>
                    <a:pt x="30" y="1125"/>
                    <a:pt x="30" y="1125"/>
                  </a:cubicBezTo>
                  <a:cubicBezTo>
                    <a:pt x="30" y="1124"/>
                    <a:pt x="30" y="1124"/>
                    <a:pt x="30" y="1124"/>
                  </a:cubicBezTo>
                  <a:cubicBezTo>
                    <a:pt x="30" y="1124"/>
                    <a:pt x="30" y="1124"/>
                    <a:pt x="30" y="1124"/>
                  </a:cubicBezTo>
                  <a:cubicBezTo>
                    <a:pt x="29" y="1124"/>
                    <a:pt x="29" y="1124"/>
                    <a:pt x="29" y="1124"/>
                  </a:cubicBezTo>
                  <a:cubicBezTo>
                    <a:pt x="28" y="1123"/>
                    <a:pt x="28" y="1123"/>
                    <a:pt x="28" y="1123"/>
                  </a:cubicBezTo>
                  <a:cubicBezTo>
                    <a:pt x="28" y="1124"/>
                    <a:pt x="28" y="1124"/>
                    <a:pt x="28" y="1124"/>
                  </a:cubicBezTo>
                  <a:cubicBezTo>
                    <a:pt x="28" y="1125"/>
                    <a:pt x="28" y="1125"/>
                    <a:pt x="28" y="1125"/>
                  </a:cubicBezTo>
                  <a:cubicBezTo>
                    <a:pt x="28" y="1125"/>
                    <a:pt x="28" y="1125"/>
                    <a:pt x="28" y="1125"/>
                  </a:cubicBezTo>
                  <a:cubicBezTo>
                    <a:pt x="27" y="1126"/>
                    <a:pt x="27" y="1126"/>
                    <a:pt x="27" y="1126"/>
                  </a:cubicBezTo>
                  <a:cubicBezTo>
                    <a:pt x="27" y="1125"/>
                    <a:pt x="27" y="1125"/>
                    <a:pt x="27" y="1125"/>
                  </a:cubicBezTo>
                  <a:cubicBezTo>
                    <a:pt x="27" y="1125"/>
                    <a:pt x="27" y="1125"/>
                    <a:pt x="27" y="1125"/>
                  </a:cubicBezTo>
                  <a:cubicBezTo>
                    <a:pt x="26" y="1124"/>
                    <a:pt x="26" y="1124"/>
                    <a:pt x="26" y="1124"/>
                  </a:cubicBezTo>
                  <a:cubicBezTo>
                    <a:pt x="25" y="1125"/>
                    <a:pt x="25" y="1125"/>
                    <a:pt x="25" y="1125"/>
                  </a:cubicBezTo>
                  <a:cubicBezTo>
                    <a:pt x="24" y="1125"/>
                    <a:pt x="24" y="1125"/>
                    <a:pt x="24" y="1125"/>
                  </a:cubicBezTo>
                  <a:cubicBezTo>
                    <a:pt x="24" y="1125"/>
                    <a:pt x="24" y="1125"/>
                    <a:pt x="24" y="1125"/>
                  </a:cubicBezTo>
                  <a:cubicBezTo>
                    <a:pt x="24" y="1125"/>
                    <a:pt x="24" y="1125"/>
                    <a:pt x="24" y="1125"/>
                  </a:cubicBezTo>
                  <a:cubicBezTo>
                    <a:pt x="24" y="1125"/>
                    <a:pt x="24" y="1125"/>
                    <a:pt x="24" y="1125"/>
                  </a:cubicBezTo>
                  <a:cubicBezTo>
                    <a:pt x="24" y="1125"/>
                    <a:pt x="24" y="1125"/>
                    <a:pt x="24" y="1125"/>
                  </a:cubicBezTo>
                  <a:cubicBezTo>
                    <a:pt x="23" y="1126"/>
                    <a:pt x="23" y="1126"/>
                    <a:pt x="23" y="1126"/>
                  </a:cubicBezTo>
                  <a:cubicBezTo>
                    <a:pt x="23" y="1126"/>
                    <a:pt x="23" y="1126"/>
                    <a:pt x="23" y="1126"/>
                  </a:cubicBezTo>
                  <a:cubicBezTo>
                    <a:pt x="23" y="1126"/>
                    <a:pt x="23" y="1126"/>
                    <a:pt x="23" y="1126"/>
                  </a:cubicBezTo>
                  <a:cubicBezTo>
                    <a:pt x="21" y="1127"/>
                    <a:pt x="21" y="1127"/>
                    <a:pt x="21" y="1127"/>
                  </a:cubicBezTo>
                  <a:cubicBezTo>
                    <a:pt x="20" y="1127"/>
                    <a:pt x="20" y="1127"/>
                    <a:pt x="20" y="1127"/>
                  </a:cubicBezTo>
                  <a:cubicBezTo>
                    <a:pt x="19" y="1127"/>
                    <a:pt x="19" y="1127"/>
                    <a:pt x="19" y="1127"/>
                  </a:cubicBezTo>
                  <a:cubicBezTo>
                    <a:pt x="18" y="1128"/>
                    <a:pt x="18" y="1128"/>
                    <a:pt x="18" y="1128"/>
                  </a:cubicBezTo>
                  <a:cubicBezTo>
                    <a:pt x="17" y="1128"/>
                    <a:pt x="17" y="1128"/>
                    <a:pt x="17" y="1128"/>
                  </a:cubicBezTo>
                  <a:cubicBezTo>
                    <a:pt x="17" y="1128"/>
                    <a:pt x="17" y="1128"/>
                    <a:pt x="17" y="1128"/>
                  </a:cubicBezTo>
                  <a:cubicBezTo>
                    <a:pt x="16" y="1128"/>
                    <a:pt x="16" y="1128"/>
                    <a:pt x="16" y="1128"/>
                  </a:cubicBezTo>
                  <a:cubicBezTo>
                    <a:pt x="15" y="1127"/>
                    <a:pt x="15" y="1127"/>
                    <a:pt x="15" y="1127"/>
                  </a:cubicBezTo>
                  <a:cubicBezTo>
                    <a:pt x="15" y="1127"/>
                    <a:pt x="15" y="1127"/>
                    <a:pt x="15" y="1127"/>
                  </a:cubicBezTo>
                  <a:cubicBezTo>
                    <a:pt x="14" y="1126"/>
                    <a:pt x="14" y="1126"/>
                    <a:pt x="14" y="1126"/>
                  </a:cubicBezTo>
                  <a:cubicBezTo>
                    <a:pt x="13" y="1126"/>
                    <a:pt x="13" y="1126"/>
                    <a:pt x="13" y="1126"/>
                  </a:cubicBezTo>
                  <a:cubicBezTo>
                    <a:pt x="13" y="1126"/>
                    <a:pt x="13" y="1126"/>
                    <a:pt x="13" y="1126"/>
                  </a:cubicBezTo>
                  <a:cubicBezTo>
                    <a:pt x="13" y="1126"/>
                    <a:pt x="13" y="1126"/>
                    <a:pt x="13" y="1126"/>
                  </a:cubicBezTo>
                  <a:cubicBezTo>
                    <a:pt x="12" y="1127"/>
                    <a:pt x="12" y="1127"/>
                    <a:pt x="12" y="1127"/>
                  </a:cubicBezTo>
                  <a:cubicBezTo>
                    <a:pt x="12" y="1127"/>
                    <a:pt x="12" y="1127"/>
                    <a:pt x="12" y="1127"/>
                  </a:cubicBezTo>
                  <a:cubicBezTo>
                    <a:pt x="10" y="1128"/>
                    <a:pt x="10" y="1128"/>
                    <a:pt x="10" y="1128"/>
                  </a:cubicBezTo>
                  <a:cubicBezTo>
                    <a:pt x="9" y="1128"/>
                    <a:pt x="9" y="1128"/>
                    <a:pt x="9" y="1128"/>
                  </a:cubicBezTo>
                  <a:cubicBezTo>
                    <a:pt x="9" y="1128"/>
                    <a:pt x="9" y="1128"/>
                    <a:pt x="9" y="1128"/>
                  </a:cubicBezTo>
                  <a:cubicBezTo>
                    <a:pt x="9" y="1128"/>
                    <a:pt x="9" y="1128"/>
                    <a:pt x="9" y="1128"/>
                  </a:cubicBezTo>
                  <a:cubicBezTo>
                    <a:pt x="9" y="1129"/>
                    <a:pt x="9" y="1129"/>
                    <a:pt x="9" y="1129"/>
                  </a:cubicBezTo>
                  <a:cubicBezTo>
                    <a:pt x="9" y="1129"/>
                    <a:pt x="9" y="1129"/>
                    <a:pt x="9" y="1129"/>
                  </a:cubicBezTo>
                  <a:cubicBezTo>
                    <a:pt x="9" y="1129"/>
                    <a:pt x="9" y="1129"/>
                    <a:pt x="9" y="1129"/>
                  </a:cubicBezTo>
                  <a:cubicBezTo>
                    <a:pt x="10" y="1130"/>
                    <a:pt x="10" y="1130"/>
                    <a:pt x="10" y="1130"/>
                  </a:cubicBezTo>
                  <a:cubicBezTo>
                    <a:pt x="10" y="1130"/>
                    <a:pt x="10" y="1130"/>
                    <a:pt x="10" y="1130"/>
                  </a:cubicBezTo>
                  <a:cubicBezTo>
                    <a:pt x="11" y="1130"/>
                    <a:pt x="11" y="1130"/>
                    <a:pt x="11" y="1130"/>
                  </a:cubicBezTo>
                  <a:cubicBezTo>
                    <a:pt x="10" y="1130"/>
                    <a:pt x="10" y="1130"/>
                    <a:pt x="10" y="1130"/>
                  </a:cubicBezTo>
                  <a:cubicBezTo>
                    <a:pt x="9" y="1131"/>
                    <a:pt x="9" y="1131"/>
                    <a:pt x="9" y="1131"/>
                  </a:cubicBezTo>
                  <a:cubicBezTo>
                    <a:pt x="9" y="1131"/>
                    <a:pt x="9" y="1131"/>
                    <a:pt x="9" y="1131"/>
                  </a:cubicBezTo>
                  <a:cubicBezTo>
                    <a:pt x="8" y="1130"/>
                    <a:pt x="8" y="1130"/>
                    <a:pt x="8" y="1130"/>
                  </a:cubicBezTo>
                  <a:cubicBezTo>
                    <a:pt x="8" y="1130"/>
                    <a:pt x="8" y="1130"/>
                    <a:pt x="8" y="1130"/>
                  </a:cubicBezTo>
                  <a:cubicBezTo>
                    <a:pt x="8" y="1131"/>
                    <a:pt x="8" y="1131"/>
                    <a:pt x="8" y="1131"/>
                  </a:cubicBezTo>
                  <a:cubicBezTo>
                    <a:pt x="7" y="1131"/>
                    <a:pt x="7" y="1131"/>
                    <a:pt x="7" y="1131"/>
                  </a:cubicBezTo>
                  <a:cubicBezTo>
                    <a:pt x="7" y="1132"/>
                    <a:pt x="7" y="1132"/>
                    <a:pt x="7" y="1132"/>
                  </a:cubicBezTo>
                  <a:cubicBezTo>
                    <a:pt x="7" y="1132"/>
                    <a:pt x="7" y="1132"/>
                    <a:pt x="7" y="1132"/>
                  </a:cubicBezTo>
                  <a:cubicBezTo>
                    <a:pt x="6" y="1132"/>
                    <a:pt x="6" y="1132"/>
                    <a:pt x="6" y="1132"/>
                  </a:cubicBezTo>
                  <a:cubicBezTo>
                    <a:pt x="6" y="1132"/>
                    <a:pt x="6" y="1132"/>
                    <a:pt x="6" y="1132"/>
                  </a:cubicBezTo>
                  <a:cubicBezTo>
                    <a:pt x="5" y="1132"/>
                    <a:pt x="5" y="1132"/>
                    <a:pt x="5" y="1132"/>
                  </a:cubicBezTo>
                  <a:cubicBezTo>
                    <a:pt x="4" y="1132"/>
                    <a:pt x="4" y="1132"/>
                    <a:pt x="4" y="1132"/>
                  </a:cubicBezTo>
                  <a:cubicBezTo>
                    <a:pt x="3" y="1132"/>
                    <a:pt x="3" y="1132"/>
                    <a:pt x="3" y="1132"/>
                  </a:cubicBezTo>
                  <a:cubicBezTo>
                    <a:pt x="2" y="1134"/>
                    <a:pt x="2" y="1134"/>
                    <a:pt x="2" y="1134"/>
                  </a:cubicBezTo>
                  <a:cubicBezTo>
                    <a:pt x="2" y="1134"/>
                    <a:pt x="2" y="1134"/>
                    <a:pt x="2" y="1134"/>
                  </a:cubicBezTo>
                  <a:cubicBezTo>
                    <a:pt x="2" y="1134"/>
                    <a:pt x="2" y="1134"/>
                    <a:pt x="2" y="1134"/>
                  </a:cubicBezTo>
                  <a:cubicBezTo>
                    <a:pt x="3" y="1134"/>
                    <a:pt x="3" y="1134"/>
                    <a:pt x="3" y="1134"/>
                  </a:cubicBezTo>
                  <a:cubicBezTo>
                    <a:pt x="3" y="1134"/>
                    <a:pt x="3" y="1134"/>
                    <a:pt x="3" y="1134"/>
                  </a:cubicBezTo>
                  <a:cubicBezTo>
                    <a:pt x="4" y="1134"/>
                    <a:pt x="4" y="1134"/>
                    <a:pt x="4" y="1134"/>
                  </a:cubicBezTo>
                  <a:cubicBezTo>
                    <a:pt x="4" y="1134"/>
                    <a:pt x="4" y="1134"/>
                    <a:pt x="4" y="1134"/>
                  </a:cubicBezTo>
                  <a:cubicBezTo>
                    <a:pt x="5" y="1134"/>
                    <a:pt x="5" y="1134"/>
                    <a:pt x="5" y="1134"/>
                  </a:cubicBezTo>
                  <a:cubicBezTo>
                    <a:pt x="5" y="1134"/>
                    <a:pt x="5" y="1134"/>
                    <a:pt x="5" y="1134"/>
                  </a:cubicBezTo>
                  <a:cubicBezTo>
                    <a:pt x="4" y="1134"/>
                    <a:pt x="4" y="1134"/>
                    <a:pt x="4" y="1134"/>
                  </a:cubicBezTo>
                  <a:cubicBezTo>
                    <a:pt x="4" y="1134"/>
                    <a:pt x="4" y="1134"/>
                    <a:pt x="4" y="1134"/>
                  </a:cubicBezTo>
                  <a:cubicBezTo>
                    <a:pt x="4" y="1134"/>
                    <a:pt x="4" y="1134"/>
                    <a:pt x="4" y="1134"/>
                  </a:cubicBezTo>
                  <a:cubicBezTo>
                    <a:pt x="4" y="1135"/>
                    <a:pt x="4" y="1135"/>
                    <a:pt x="4" y="1135"/>
                  </a:cubicBezTo>
                  <a:cubicBezTo>
                    <a:pt x="4" y="1135"/>
                    <a:pt x="4" y="1135"/>
                    <a:pt x="4" y="1135"/>
                  </a:cubicBezTo>
                  <a:cubicBezTo>
                    <a:pt x="3" y="1135"/>
                    <a:pt x="3" y="1135"/>
                    <a:pt x="3" y="1135"/>
                  </a:cubicBezTo>
                  <a:cubicBezTo>
                    <a:pt x="3" y="1135"/>
                    <a:pt x="3" y="1135"/>
                    <a:pt x="3" y="1135"/>
                  </a:cubicBezTo>
                  <a:cubicBezTo>
                    <a:pt x="3" y="1136"/>
                    <a:pt x="3" y="1136"/>
                    <a:pt x="3" y="1136"/>
                  </a:cubicBezTo>
                  <a:cubicBezTo>
                    <a:pt x="3" y="1136"/>
                    <a:pt x="3" y="1136"/>
                    <a:pt x="3" y="1136"/>
                  </a:cubicBezTo>
                  <a:cubicBezTo>
                    <a:pt x="2" y="1136"/>
                    <a:pt x="2" y="1136"/>
                    <a:pt x="2" y="1136"/>
                  </a:cubicBezTo>
                  <a:cubicBezTo>
                    <a:pt x="2" y="1135"/>
                    <a:pt x="2" y="1135"/>
                    <a:pt x="2" y="1135"/>
                  </a:cubicBezTo>
                  <a:cubicBezTo>
                    <a:pt x="2" y="1136"/>
                    <a:pt x="2" y="1136"/>
                    <a:pt x="2" y="1136"/>
                  </a:cubicBezTo>
                  <a:cubicBezTo>
                    <a:pt x="1" y="1136"/>
                    <a:pt x="1" y="1136"/>
                    <a:pt x="1" y="1136"/>
                  </a:cubicBezTo>
                  <a:cubicBezTo>
                    <a:pt x="1" y="1136"/>
                    <a:pt x="1" y="1136"/>
                    <a:pt x="1" y="1136"/>
                  </a:cubicBezTo>
                  <a:cubicBezTo>
                    <a:pt x="1" y="1137"/>
                    <a:pt x="1" y="1137"/>
                    <a:pt x="1" y="1137"/>
                  </a:cubicBezTo>
                  <a:cubicBezTo>
                    <a:pt x="0" y="1137"/>
                    <a:pt x="0" y="1137"/>
                    <a:pt x="0" y="1137"/>
                  </a:cubicBezTo>
                  <a:cubicBezTo>
                    <a:pt x="0" y="1137"/>
                    <a:pt x="0" y="1137"/>
                    <a:pt x="0" y="1137"/>
                  </a:cubicBezTo>
                  <a:cubicBezTo>
                    <a:pt x="0" y="1138"/>
                    <a:pt x="0" y="1138"/>
                    <a:pt x="0" y="1138"/>
                  </a:cubicBezTo>
                  <a:cubicBezTo>
                    <a:pt x="0" y="1139"/>
                    <a:pt x="0" y="1139"/>
                    <a:pt x="0" y="1139"/>
                  </a:cubicBezTo>
                  <a:cubicBezTo>
                    <a:pt x="0" y="1139"/>
                    <a:pt x="0" y="1139"/>
                    <a:pt x="0" y="1139"/>
                  </a:cubicBezTo>
                  <a:cubicBezTo>
                    <a:pt x="1" y="1139"/>
                    <a:pt x="1" y="1139"/>
                    <a:pt x="1" y="1139"/>
                  </a:cubicBezTo>
                  <a:cubicBezTo>
                    <a:pt x="1" y="1140"/>
                    <a:pt x="1" y="1140"/>
                    <a:pt x="1" y="1140"/>
                  </a:cubicBezTo>
                  <a:cubicBezTo>
                    <a:pt x="0" y="1140"/>
                    <a:pt x="0" y="1140"/>
                    <a:pt x="0" y="1140"/>
                  </a:cubicBezTo>
                  <a:cubicBezTo>
                    <a:pt x="0" y="1140"/>
                    <a:pt x="0" y="1140"/>
                    <a:pt x="0" y="1140"/>
                  </a:cubicBezTo>
                  <a:cubicBezTo>
                    <a:pt x="0" y="1140"/>
                    <a:pt x="0" y="1140"/>
                    <a:pt x="0" y="1140"/>
                  </a:cubicBezTo>
                  <a:cubicBezTo>
                    <a:pt x="0" y="1141"/>
                    <a:pt x="0" y="1141"/>
                    <a:pt x="0" y="1141"/>
                  </a:cubicBezTo>
                  <a:cubicBezTo>
                    <a:pt x="0" y="1142"/>
                    <a:pt x="0" y="1142"/>
                    <a:pt x="0" y="1142"/>
                  </a:cubicBezTo>
                  <a:cubicBezTo>
                    <a:pt x="0" y="1143"/>
                    <a:pt x="0" y="1143"/>
                    <a:pt x="0" y="1143"/>
                  </a:cubicBezTo>
                  <a:cubicBezTo>
                    <a:pt x="0" y="1143"/>
                    <a:pt x="0" y="1143"/>
                    <a:pt x="0" y="1143"/>
                  </a:cubicBezTo>
                  <a:cubicBezTo>
                    <a:pt x="0" y="1143"/>
                    <a:pt x="0" y="1143"/>
                    <a:pt x="0" y="1143"/>
                  </a:cubicBezTo>
                  <a:cubicBezTo>
                    <a:pt x="0" y="1144"/>
                    <a:pt x="0" y="1144"/>
                    <a:pt x="0" y="1144"/>
                  </a:cubicBezTo>
                  <a:cubicBezTo>
                    <a:pt x="0" y="1144"/>
                    <a:pt x="0" y="1144"/>
                    <a:pt x="0" y="1144"/>
                  </a:cubicBezTo>
                  <a:cubicBezTo>
                    <a:pt x="0" y="1144"/>
                    <a:pt x="0" y="1144"/>
                    <a:pt x="0" y="1144"/>
                  </a:cubicBezTo>
                  <a:cubicBezTo>
                    <a:pt x="1" y="1143"/>
                    <a:pt x="1" y="1143"/>
                    <a:pt x="1" y="1143"/>
                  </a:cubicBezTo>
                  <a:cubicBezTo>
                    <a:pt x="1" y="1143"/>
                    <a:pt x="1" y="1143"/>
                    <a:pt x="1" y="1143"/>
                  </a:cubicBezTo>
                  <a:cubicBezTo>
                    <a:pt x="1" y="1143"/>
                    <a:pt x="1" y="1143"/>
                    <a:pt x="1" y="1143"/>
                  </a:cubicBezTo>
                  <a:cubicBezTo>
                    <a:pt x="2" y="1142"/>
                    <a:pt x="2" y="1142"/>
                    <a:pt x="2" y="1142"/>
                  </a:cubicBezTo>
                  <a:cubicBezTo>
                    <a:pt x="2" y="1142"/>
                    <a:pt x="2" y="1142"/>
                    <a:pt x="2" y="1142"/>
                  </a:cubicBezTo>
                  <a:cubicBezTo>
                    <a:pt x="2" y="1143"/>
                    <a:pt x="2" y="1143"/>
                    <a:pt x="2" y="1143"/>
                  </a:cubicBezTo>
                  <a:cubicBezTo>
                    <a:pt x="2" y="1143"/>
                    <a:pt x="2" y="1143"/>
                    <a:pt x="2" y="1143"/>
                  </a:cubicBezTo>
                  <a:cubicBezTo>
                    <a:pt x="2" y="1143"/>
                    <a:pt x="2" y="1143"/>
                    <a:pt x="2" y="1143"/>
                  </a:cubicBezTo>
                  <a:cubicBezTo>
                    <a:pt x="3" y="1143"/>
                    <a:pt x="3" y="1143"/>
                    <a:pt x="3" y="1143"/>
                  </a:cubicBezTo>
                  <a:cubicBezTo>
                    <a:pt x="2" y="1142"/>
                    <a:pt x="2" y="1142"/>
                    <a:pt x="2" y="1142"/>
                  </a:cubicBezTo>
                  <a:cubicBezTo>
                    <a:pt x="2" y="1142"/>
                    <a:pt x="2" y="1142"/>
                    <a:pt x="2" y="1142"/>
                  </a:cubicBezTo>
                  <a:cubicBezTo>
                    <a:pt x="3" y="1142"/>
                    <a:pt x="3" y="1142"/>
                    <a:pt x="3" y="1142"/>
                  </a:cubicBezTo>
                  <a:cubicBezTo>
                    <a:pt x="3" y="1143"/>
                    <a:pt x="3" y="1143"/>
                    <a:pt x="3" y="1143"/>
                  </a:cubicBezTo>
                  <a:cubicBezTo>
                    <a:pt x="3" y="1143"/>
                    <a:pt x="3" y="1143"/>
                    <a:pt x="3" y="1143"/>
                  </a:cubicBezTo>
                  <a:cubicBezTo>
                    <a:pt x="4" y="1143"/>
                    <a:pt x="4" y="1143"/>
                    <a:pt x="4" y="1143"/>
                  </a:cubicBezTo>
                  <a:cubicBezTo>
                    <a:pt x="4" y="1143"/>
                    <a:pt x="4" y="1143"/>
                    <a:pt x="4" y="1143"/>
                  </a:cubicBezTo>
                  <a:cubicBezTo>
                    <a:pt x="4" y="1143"/>
                    <a:pt x="4" y="1143"/>
                    <a:pt x="4" y="1143"/>
                  </a:cubicBezTo>
                  <a:cubicBezTo>
                    <a:pt x="4" y="1144"/>
                    <a:pt x="4" y="1144"/>
                    <a:pt x="4" y="1144"/>
                  </a:cubicBezTo>
                  <a:cubicBezTo>
                    <a:pt x="4" y="1144"/>
                    <a:pt x="4" y="1144"/>
                    <a:pt x="4" y="1144"/>
                  </a:cubicBezTo>
                  <a:cubicBezTo>
                    <a:pt x="4" y="1144"/>
                    <a:pt x="4" y="1144"/>
                    <a:pt x="4" y="1144"/>
                  </a:cubicBezTo>
                  <a:cubicBezTo>
                    <a:pt x="4" y="1145"/>
                    <a:pt x="4" y="1145"/>
                    <a:pt x="4" y="1145"/>
                  </a:cubicBezTo>
                  <a:cubicBezTo>
                    <a:pt x="4" y="1145"/>
                    <a:pt x="4" y="1145"/>
                    <a:pt x="4" y="1145"/>
                  </a:cubicBezTo>
                  <a:cubicBezTo>
                    <a:pt x="4" y="1145"/>
                    <a:pt x="4" y="1145"/>
                    <a:pt x="4" y="1145"/>
                  </a:cubicBezTo>
                  <a:cubicBezTo>
                    <a:pt x="4" y="1146"/>
                    <a:pt x="4" y="1146"/>
                    <a:pt x="4" y="1146"/>
                  </a:cubicBezTo>
                  <a:cubicBezTo>
                    <a:pt x="5" y="1146"/>
                    <a:pt x="5" y="1146"/>
                    <a:pt x="5" y="1146"/>
                  </a:cubicBezTo>
                  <a:cubicBezTo>
                    <a:pt x="5" y="1146"/>
                    <a:pt x="5" y="1146"/>
                    <a:pt x="5" y="1146"/>
                  </a:cubicBezTo>
                  <a:cubicBezTo>
                    <a:pt x="5" y="1147"/>
                    <a:pt x="5" y="1147"/>
                    <a:pt x="5" y="1147"/>
                  </a:cubicBezTo>
                  <a:cubicBezTo>
                    <a:pt x="5" y="1147"/>
                    <a:pt x="5" y="1147"/>
                    <a:pt x="5" y="1147"/>
                  </a:cubicBezTo>
                  <a:cubicBezTo>
                    <a:pt x="5" y="1147"/>
                    <a:pt x="5" y="1147"/>
                    <a:pt x="5" y="1147"/>
                  </a:cubicBezTo>
                  <a:cubicBezTo>
                    <a:pt x="5" y="1147"/>
                    <a:pt x="5" y="1147"/>
                    <a:pt x="5" y="1147"/>
                  </a:cubicBezTo>
                  <a:cubicBezTo>
                    <a:pt x="4" y="1147"/>
                    <a:pt x="4" y="1147"/>
                    <a:pt x="4" y="1147"/>
                  </a:cubicBezTo>
                  <a:cubicBezTo>
                    <a:pt x="4" y="1148"/>
                    <a:pt x="4" y="1148"/>
                    <a:pt x="4" y="1148"/>
                  </a:cubicBezTo>
                  <a:cubicBezTo>
                    <a:pt x="5" y="1149"/>
                    <a:pt x="5" y="1149"/>
                    <a:pt x="5" y="1149"/>
                  </a:cubicBezTo>
                  <a:cubicBezTo>
                    <a:pt x="5" y="1149"/>
                    <a:pt x="5" y="1149"/>
                    <a:pt x="5" y="1149"/>
                  </a:cubicBezTo>
                  <a:cubicBezTo>
                    <a:pt x="5" y="1150"/>
                    <a:pt x="5" y="1150"/>
                    <a:pt x="5" y="1150"/>
                  </a:cubicBezTo>
                  <a:cubicBezTo>
                    <a:pt x="6" y="1150"/>
                    <a:pt x="6" y="1150"/>
                    <a:pt x="6" y="1150"/>
                  </a:cubicBezTo>
                  <a:cubicBezTo>
                    <a:pt x="6" y="1150"/>
                    <a:pt x="6" y="1150"/>
                    <a:pt x="6" y="1150"/>
                  </a:cubicBezTo>
                  <a:cubicBezTo>
                    <a:pt x="7" y="1149"/>
                    <a:pt x="7" y="1149"/>
                    <a:pt x="7" y="1149"/>
                  </a:cubicBezTo>
                  <a:cubicBezTo>
                    <a:pt x="7" y="1148"/>
                    <a:pt x="7" y="1148"/>
                    <a:pt x="7" y="1148"/>
                  </a:cubicBezTo>
                  <a:cubicBezTo>
                    <a:pt x="7" y="1148"/>
                    <a:pt x="7" y="1148"/>
                    <a:pt x="7" y="1148"/>
                  </a:cubicBezTo>
                  <a:cubicBezTo>
                    <a:pt x="9" y="1148"/>
                    <a:pt x="9" y="1148"/>
                    <a:pt x="9" y="1148"/>
                  </a:cubicBezTo>
                  <a:cubicBezTo>
                    <a:pt x="10" y="1148"/>
                    <a:pt x="10" y="1148"/>
                    <a:pt x="10" y="1148"/>
                  </a:cubicBezTo>
                  <a:cubicBezTo>
                    <a:pt x="10" y="1148"/>
                    <a:pt x="10" y="1148"/>
                    <a:pt x="10" y="1148"/>
                  </a:cubicBezTo>
                  <a:cubicBezTo>
                    <a:pt x="11" y="1147"/>
                    <a:pt x="11" y="1147"/>
                    <a:pt x="11" y="1147"/>
                  </a:cubicBezTo>
                  <a:cubicBezTo>
                    <a:pt x="11" y="1146"/>
                    <a:pt x="11" y="1146"/>
                    <a:pt x="11" y="1146"/>
                  </a:cubicBezTo>
                  <a:cubicBezTo>
                    <a:pt x="12" y="1147"/>
                    <a:pt x="12" y="1147"/>
                    <a:pt x="12" y="1147"/>
                  </a:cubicBezTo>
                  <a:cubicBezTo>
                    <a:pt x="12" y="1147"/>
                    <a:pt x="12" y="1147"/>
                    <a:pt x="12" y="1147"/>
                  </a:cubicBezTo>
                  <a:cubicBezTo>
                    <a:pt x="11" y="1148"/>
                    <a:pt x="11" y="1148"/>
                    <a:pt x="11" y="1148"/>
                  </a:cubicBezTo>
                  <a:cubicBezTo>
                    <a:pt x="11" y="1148"/>
                    <a:pt x="11" y="1148"/>
                    <a:pt x="11" y="1148"/>
                  </a:cubicBezTo>
                  <a:cubicBezTo>
                    <a:pt x="11" y="1149"/>
                    <a:pt x="11" y="1149"/>
                    <a:pt x="11" y="1149"/>
                  </a:cubicBezTo>
                  <a:cubicBezTo>
                    <a:pt x="10" y="1149"/>
                    <a:pt x="10" y="1149"/>
                    <a:pt x="10" y="1149"/>
                  </a:cubicBezTo>
                  <a:cubicBezTo>
                    <a:pt x="9" y="1150"/>
                    <a:pt x="9" y="1150"/>
                    <a:pt x="9" y="1150"/>
                  </a:cubicBezTo>
                  <a:cubicBezTo>
                    <a:pt x="8" y="1150"/>
                    <a:pt x="8" y="1150"/>
                    <a:pt x="8" y="1150"/>
                  </a:cubicBezTo>
                  <a:cubicBezTo>
                    <a:pt x="8" y="1151"/>
                    <a:pt x="8" y="1151"/>
                    <a:pt x="8" y="1151"/>
                  </a:cubicBezTo>
                  <a:cubicBezTo>
                    <a:pt x="8" y="1151"/>
                    <a:pt x="8" y="1151"/>
                    <a:pt x="8" y="1151"/>
                  </a:cubicBezTo>
                  <a:cubicBezTo>
                    <a:pt x="8" y="1151"/>
                    <a:pt x="8" y="1151"/>
                    <a:pt x="8" y="1151"/>
                  </a:cubicBezTo>
                  <a:cubicBezTo>
                    <a:pt x="8" y="1151"/>
                    <a:pt x="8" y="1151"/>
                    <a:pt x="8" y="1151"/>
                  </a:cubicBezTo>
                  <a:cubicBezTo>
                    <a:pt x="7" y="1152"/>
                    <a:pt x="7" y="1152"/>
                    <a:pt x="7" y="1152"/>
                  </a:cubicBezTo>
                  <a:cubicBezTo>
                    <a:pt x="7" y="1152"/>
                    <a:pt x="7" y="1152"/>
                    <a:pt x="7" y="1152"/>
                  </a:cubicBezTo>
                  <a:cubicBezTo>
                    <a:pt x="7" y="1153"/>
                    <a:pt x="7" y="1153"/>
                    <a:pt x="7" y="1153"/>
                  </a:cubicBezTo>
                  <a:cubicBezTo>
                    <a:pt x="7" y="1154"/>
                    <a:pt x="7" y="1154"/>
                    <a:pt x="7" y="1154"/>
                  </a:cubicBezTo>
                  <a:cubicBezTo>
                    <a:pt x="7" y="1154"/>
                    <a:pt x="7" y="1154"/>
                    <a:pt x="7" y="1154"/>
                  </a:cubicBezTo>
                  <a:cubicBezTo>
                    <a:pt x="6" y="1155"/>
                    <a:pt x="6" y="1155"/>
                    <a:pt x="6" y="1155"/>
                  </a:cubicBezTo>
                  <a:cubicBezTo>
                    <a:pt x="6" y="1156"/>
                    <a:pt x="6" y="1156"/>
                    <a:pt x="6" y="1156"/>
                  </a:cubicBezTo>
                  <a:cubicBezTo>
                    <a:pt x="6" y="1157"/>
                    <a:pt x="6" y="1157"/>
                    <a:pt x="6" y="1157"/>
                  </a:cubicBezTo>
                  <a:cubicBezTo>
                    <a:pt x="7" y="1157"/>
                    <a:pt x="7" y="1157"/>
                    <a:pt x="7" y="1157"/>
                  </a:cubicBezTo>
                  <a:cubicBezTo>
                    <a:pt x="7" y="1158"/>
                    <a:pt x="7" y="1158"/>
                    <a:pt x="7" y="1158"/>
                  </a:cubicBezTo>
                  <a:cubicBezTo>
                    <a:pt x="7" y="1158"/>
                    <a:pt x="7" y="1158"/>
                    <a:pt x="7" y="1158"/>
                  </a:cubicBezTo>
                  <a:cubicBezTo>
                    <a:pt x="8" y="1159"/>
                    <a:pt x="8" y="1159"/>
                    <a:pt x="8" y="1159"/>
                  </a:cubicBezTo>
                  <a:cubicBezTo>
                    <a:pt x="8" y="1158"/>
                    <a:pt x="8" y="1158"/>
                    <a:pt x="8" y="1158"/>
                  </a:cubicBezTo>
                  <a:cubicBezTo>
                    <a:pt x="9" y="1158"/>
                    <a:pt x="9" y="1158"/>
                    <a:pt x="9" y="1158"/>
                  </a:cubicBezTo>
                  <a:cubicBezTo>
                    <a:pt x="9" y="1158"/>
                    <a:pt x="9" y="1158"/>
                    <a:pt x="9" y="1158"/>
                  </a:cubicBezTo>
                  <a:cubicBezTo>
                    <a:pt x="9" y="1157"/>
                    <a:pt x="9" y="1157"/>
                    <a:pt x="9" y="1157"/>
                  </a:cubicBezTo>
                  <a:cubicBezTo>
                    <a:pt x="9" y="1157"/>
                    <a:pt x="9" y="1157"/>
                    <a:pt x="9" y="1157"/>
                  </a:cubicBezTo>
                  <a:cubicBezTo>
                    <a:pt x="10" y="1157"/>
                    <a:pt x="10" y="1157"/>
                    <a:pt x="10" y="1157"/>
                  </a:cubicBezTo>
                  <a:cubicBezTo>
                    <a:pt x="11" y="1156"/>
                    <a:pt x="11" y="1156"/>
                    <a:pt x="11" y="1156"/>
                  </a:cubicBezTo>
                  <a:cubicBezTo>
                    <a:pt x="10" y="1156"/>
                    <a:pt x="10" y="1156"/>
                    <a:pt x="10" y="1156"/>
                  </a:cubicBezTo>
                  <a:cubicBezTo>
                    <a:pt x="11" y="1155"/>
                    <a:pt x="11" y="1155"/>
                    <a:pt x="11" y="1155"/>
                  </a:cubicBezTo>
                  <a:cubicBezTo>
                    <a:pt x="12" y="1155"/>
                    <a:pt x="12" y="1155"/>
                    <a:pt x="12" y="1155"/>
                  </a:cubicBezTo>
                  <a:cubicBezTo>
                    <a:pt x="11" y="1155"/>
                    <a:pt x="11" y="1155"/>
                    <a:pt x="11" y="1155"/>
                  </a:cubicBezTo>
                  <a:cubicBezTo>
                    <a:pt x="12" y="1156"/>
                    <a:pt x="12" y="1156"/>
                    <a:pt x="12" y="1156"/>
                  </a:cubicBezTo>
                  <a:cubicBezTo>
                    <a:pt x="12" y="1155"/>
                    <a:pt x="12" y="1155"/>
                    <a:pt x="12" y="1155"/>
                  </a:cubicBezTo>
                  <a:cubicBezTo>
                    <a:pt x="13" y="1155"/>
                    <a:pt x="13" y="1155"/>
                    <a:pt x="13" y="1155"/>
                  </a:cubicBezTo>
                  <a:cubicBezTo>
                    <a:pt x="12" y="1154"/>
                    <a:pt x="12" y="1154"/>
                    <a:pt x="12" y="1154"/>
                  </a:cubicBezTo>
                  <a:cubicBezTo>
                    <a:pt x="12" y="1154"/>
                    <a:pt x="12" y="1154"/>
                    <a:pt x="12" y="1154"/>
                  </a:cubicBezTo>
                  <a:cubicBezTo>
                    <a:pt x="13" y="1153"/>
                    <a:pt x="13" y="1153"/>
                    <a:pt x="13" y="1153"/>
                  </a:cubicBezTo>
                  <a:cubicBezTo>
                    <a:pt x="13" y="1153"/>
                    <a:pt x="13" y="1153"/>
                    <a:pt x="13" y="1153"/>
                  </a:cubicBezTo>
                  <a:cubicBezTo>
                    <a:pt x="14" y="1154"/>
                    <a:pt x="14" y="1154"/>
                    <a:pt x="14" y="1154"/>
                  </a:cubicBezTo>
                  <a:cubicBezTo>
                    <a:pt x="14" y="1154"/>
                    <a:pt x="14" y="1154"/>
                    <a:pt x="14" y="1154"/>
                  </a:cubicBezTo>
                  <a:cubicBezTo>
                    <a:pt x="15" y="1155"/>
                    <a:pt x="15" y="1155"/>
                    <a:pt x="15" y="1155"/>
                  </a:cubicBezTo>
                  <a:cubicBezTo>
                    <a:pt x="15" y="1154"/>
                    <a:pt x="15" y="1154"/>
                    <a:pt x="15" y="1154"/>
                  </a:cubicBezTo>
                  <a:cubicBezTo>
                    <a:pt x="15" y="1154"/>
                    <a:pt x="15" y="1154"/>
                    <a:pt x="15" y="1154"/>
                  </a:cubicBezTo>
                  <a:cubicBezTo>
                    <a:pt x="16" y="1153"/>
                    <a:pt x="16" y="1153"/>
                    <a:pt x="16" y="1153"/>
                  </a:cubicBezTo>
                  <a:cubicBezTo>
                    <a:pt x="16" y="1152"/>
                    <a:pt x="16" y="1152"/>
                    <a:pt x="16" y="1152"/>
                  </a:cubicBezTo>
                  <a:cubicBezTo>
                    <a:pt x="16" y="1152"/>
                    <a:pt x="16" y="1152"/>
                    <a:pt x="16" y="1152"/>
                  </a:cubicBezTo>
                  <a:cubicBezTo>
                    <a:pt x="16" y="1153"/>
                    <a:pt x="16" y="1153"/>
                    <a:pt x="16" y="1153"/>
                  </a:cubicBezTo>
                  <a:cubicBezTo>
                    <a:pt x="15" y="1156"/>
                    <a:pt x="15" y="1156"/>
                    <a:pt x="15" y="1156"/>
                  </a:cubicBezTo>
                  <a:cubicBezTo>
                    <a:pt x="15" y="1156"/>
                    <a:pt x="15" y="1156"/>
                    <a:pt x="15" y="1156"/>
                  </a:cubicBezTo>
                  <a:cubicBezTo>
                    <a:pt x="14" y="1157"/>
                    <a:pt x="14" y="1157"/>
                    <a:pt x="14" y="1157"/>
                  </a:cubicBezTo>
                  <a:cubicBezTo>
                    <a:pt x="14" y="1157"/>
                    <a:pt x="14" y="1157"/>
                    <a:pt x="14" y="1157"/>
                  </a:cubicBezTo>
                  <a:cubicBezTo>
                    <a:pt x="13" y="1157"/>
                    <a:pt x="13" y="1157"/>
                    <a:pt x="13" y="1157"/>
                  </a:cubicBezTo>
                  <a:cubicBezTo>
                    <a:pt x="13" y="1158"/>
                    <a:pt x="13" y="1158"/>
                    <a:pt x="13" y="1158"/>
                  </a:cubicBezTo>
                  <a:cubicBezTo>
                    <a:pt x="13" y="1159"/>
                    <a:pt x="13" y="1159"/>
                    <a:pt x="13" y="1159"/>
                  </a:cubicBezTo>
                  <a:cubicBezTo>
                    <a:pt x="14" y="1160"/>
                    <a:pt x="14" y="1160"/>
                    <a:pt x="14" y="1160"/>
                  </a:cubicBezTo>
                  <a:cubicBezTo>
                    <a:pt x="13" y="1160"/>
                    <a:pt x="13" y="1160"/>
                    <a:pt x="13" y="1160"/>
                  </a:cubicBezTo>
                  <a:cubicBezTo>
                    <a:pt x="13" y="1161"/>
                    <a:pt x="13" y="1161"/>
                    <a:pt x="13" y="1161"/>
                  </a:cubicBezTo>
                  <a:cubicBezTo>
                    <a:pt x="13" y="1161"/>
                    <a:pt x="13" y="1161"/>
                    <a:pt x="13" y="1161"/>
                  </a:cubicBezTo>
                  <a:cubicBezTo>
                    <a:pt x="13" y="1162"/>
                    <a:pt x="13" y="1162"/>
                    <a:pt x="13" y="1162"/>
                  </a:cubicBezTo>
                  <a:cubicBezTo>
                    <a:pt x="13" y="1162"/>
                    <a:pt x="13" y="1162"/>
                    <a:pt x="13" y="1162"/>
                  </a:cubicBezTo>
                  <a:cubicBezTo>
                    <a:pt x="13" y="1162"/>
                    <a:pt x="13" y="1162"/>
                    <a:pt x="13" y="1162"/>
                  </a:cubicBezTo>
                  <a:cubicBezTo>
                    <a:pt x="12" y="1161"/>
                    <a:pt x="12" y="1161"/>
                    <a:pt x="12" y="1161"/>
                  </a:cubicBezTo>
                  <a:cubicBezTo>
                    <a:pt x="12" y="1161"/>
                    <a:pt x="12" y="1161"/>
                    <a:pt x="12" y="1161"/>
                  </a:cubicBezTo>
                  <a:cubicBezTo>
                    <a:pt x="12" y="1161"/>
                    <a:pt x="12" y="1161"/>
                    <a:pt x="12" y="1161"/>
                  </a:cubicBezTo>
                  <a:cubicBezTo>
                    <a:pt x="12" y="1161"/>
                    <a:pt x="12" y="1161"/>
                    <a:pt x="12" y="1161"/>
                  </a:cubicBezTo>
                  <a:cubicBezTo>
                    <a:pt x="12" y="1160"/>
                    <a:pt x="12" y="1160"/>
                    <a:pt x="12" y="1160"/>
                  </a:cubicBezTo>
                  <a:cubicBezTo>
                    <a:pt x="12" y="1160"/>
                    <a:pt x="12" y="1160"/>
                    <a:pt x="12" y="1160"/>
                  </a:cubicBezTo>
                  <a:cubicBezTo>
                    <a:pt x="11" y="1160"/>
                    <a:pt x="11" y="1160"/>
                    <a:pt x="11" y="1160"/>
                  </a:cubicBezTo>
                  <a:cubicBezTo>
                    <a:pt x="11" y="1161"/>
                    <a:pt x="11" y="1161"/>
                    <a:pt x="11" y="1161"/>
                  </a:cubicBezTo>
                  <a:cubicBezTo>
                    <a:pt x="10" y="1161"/>
                    <a:pt x="10" y="1161"/>
                    <a:pt x="10" y="1161"/>
                  </a:cubicBezTo>
                  <a:cubicBezTo>
                    <a:pt x="10" y="1161"/>
                    <a:pt x="10" y="1161"/>
                    <a:pt x="10" y="1161"/>
                  </a:cubicBezTo>
                  <a:cubicBezTo>
                    <a:pt x="10" y="1161"/>
                    <a:pt x="10" y="1161"/>
                    <a:pt x="10" y="1161"/>
                  </a:cubicBezTo>
                  <a:cubicBezTo>
                    <a:pt x="11" y="1162"/>
                    <a:pt x="11" y="1162"/>
                    <a:pt x="11" y="1162"/>
                  </a:cubicBezTo>
                  <a:cubicBezTo>
                    <a:pt x="12" y="1162"/>
                    <a:pt x="12" y="1162"/>
                    <a:pt x="12" y="1162"/>
                  </a:cubicBezTo>
                  <a:cubicBezTo>
                    <a:pt x="12" y="1162"/>
                    <a:pt x="12" y="1162"/>
                    <a:pt x="12" y="1162"/>
                  </a:cubicBezTo>
                  <a:cubicBezTo>
                    <a:pt x="12" y="1163"/>
                    <a:pt x="12" y="1163"/>
                    <a:pt x="12" y="1163"/>
                  </a:cubicBezTo>
                  <a:cubicBezTo>
                    <a:pt x="12" y="1163"/>
                    <a:pt x="12" y="1163"/>
                    <a:pt x="12" y="1163"/>
                  </a:cubicBezTo>
                  <a:cubicBezTo>
                    <a:pt x="13" y="1164"/>
                    <a:pt x="13" y="1164"/>
                    <a:pt x="13" y="1164"/>
                  </a:cubicBezTo>
                  <a:cubicBezTo>
                    <a:pt x="14" y="1164"/>
                    <a:pt x="14" y="1164"/>
                    <a:pt x="14" y="1164"/>
                  </a:cubicBezTo>
                  <a:cubicBezTo>
                    <a:pt x="15" y="1164"/>
                    <a:pt x="15" y="1164"/>
                    <a:pt x="15" y="1164"/>
                  </a:cubicBezTo>
                  <a:cubicBezTo>
                    <a:pt x="15" y="1164"/>
                    <a:pt x="15" y="1164"/>
                    <a:pt x="15" y="1164"/>
                  </a:cubicBezTo>
                  <a:cubicBezTo>
                    <a:pt x="16" y="1163"/>
                    <a:pt x="16" y="1163"/>
                    <a:pt x="16" y="1163"/>
                  </a:cubicBezTo>
                  <a:cubicBezTo>
                    <a:pt x="17" y="1163"/>
                    <a:pt x="17" y="1163"/>
                    <a:pt x="17" y="1163"/>
                  </a:cubicBezTo>
                  <a:cubicBezTo>
                    <a:pt x="17" y="1163"/>
                    <a:pt x="17" y="1163"/>
                    <a:pt x="17" y="1163"/>
                  </a:cubicBezTo>
                  <a:cubicBezTo>
                    <a:pt x="17" y="1163"/>
                    <a:pt x="17" y="1163"/>
                    <a:pt x="17" y="1163"/>
                  </a:cubicBezTo>
                  <a:cubicBezTo>
                    <a:pt x="18" y="1162"/>
                    <a:pt x="18" y="1162"/>
                    <a:pt x="18" y="1162"/>
                  </a:cubicBezTo>
                  <a:cubicBezTo>
                    <a:pt x="18" y="1163"/>
                    <a:pt x="18" y="1163"/>
                    <a:pt x="18" y="1163"/>
                  </a:cubicBezTo>
                  <a:cubicBezTo>
                    <a:pt x="18" y="1163"/>
                    <a:pt x="18" y="1163"/>
                    <a:pt x="18" y="1163"/>
                  </a:cubicBezTo>
                  <a:cubicBezTo>
                    <a:pt x="18" y="1162"/>
                    <a:pt x="18" y="1162"/>
                    <a:pt x="18" y="1162"/>
                  </a:cubicBezTo>
                  <a:cubicBezTo>
                    <a:pt x="18" y="1163"/>
                    <a:pt x="18" y="1163"/>
                    <a:pt x="18" y="1163"/>
                  </a:cubicBezTo>
                  <a:cubicBezTo>
                    <a:pt x="18" y="1163"/>
                    <a:pt x="18" y="1163"/>
                    <a:pt x="18" y="1163"/>
                  </a:cubicBezTo>
                  <a:cubicBezTo>
                    <a:pt x="17" y="1164"/>
                    <a:pt x="17" y="1164"/>
                    <a:pt x="17" y="1164"/>
                  </a:cubicBezTo>
                  <a:cubicBezTo>
                    <a:pt x="16" y="1165"/>
                    <a:pt x="16" y="1165"/>
                    <a:pt x="16" y="1165"/>
                  </a:cubicBezTo>
                  <a:cubicBezTo>
                    <a:pt x="15" y="1166"/>
                    <a:pt x="15" y="1166"/>
                    <a:pt x="15" y="1166"/>
                  </a:cubicBezTo>
                  <a:cubicBezTo>
                    <a:pt x="15" y="1166"/>
                    <a:pt x="15" y="1166"/>
                    <a:pt x="15" y="1166"/>
                  </a:cubicBezTo>
                  <a:cubicBezTo>
                    <a:pt x="14" y="1166"/>
                    <a:pt x="14" y="1166"/>
                    <a:pt x="14" y="1166"/>
                  </a:cubicBezTo>
                  <a:cubicBezTo>
                    <a:pt x="13" y="1166"/>
                    <a:pt x="13" y="1166"/>
                    <a:pt x="13" y="1166"/>
                  </a:cubicBezTo>
                  <a:cubicBezTo>
                    <a:pt x="13" y="1166"/>
                    <a:pt x="13" y="1166"/>
                    <a:pt x="13" y="1166"/>
                  </a:cubicBezTo>
                  <a:cubicBezTo>
                    <a:pt x="13" y="1167"/>
                    <a:pt x="13" y="1167"/>
                    <a:pt x="13" y="1167"/>
                  </a:cubicBezTo>
                  <a:cubicBezTo>
                    <a:pt x="13" y="1167"/>
                    <a:pt x="13" y="1167"/>
                    <a:pt x="13" y="1167"/>
                  </a:cubicBezTo>
                  <a:cubicBezTo>
                    <a:pt x="13" y="1168"/>
                    <a:pt x="13" y="1168"/>
                    <a:pt x="13" y="1168"/>
                  </a:cubicBezTo>
                  <a:cubicBezTo>
                    <a:pt x="13" y="1169"/>
                    <a:pt x="13" y="1169"/>
                    <a:pt x="13" y="1169"/>
                  </a:cubicBezTo>
                  <a:cubicBezTo>
                    <a:pt x="13" y="1168"/>
                    <a:pt x="13" y="1168"/>
                    <a:pt x="13" y="1168"/>
                  </a:cubicBezTo>
                  <a:cubicBezTo>
                    <a:pt x="13" y="1168"/>
                    <a:pt x="13" y="1168"/>
                    <a:pt x="13" y="1168"/>
                  </a:cubicBezTo>
                  <a:cubicBezTo>
                    <a:pt x="12" y="1169"/>
                    <a:pt x="12" y="1169"/>
                    <a:pt x="12" y="1169"/>
                  </a:cubicBezTo>
                  <a:cubicBezTo>
                    <a:pt x="12" y="1170"/>
                    <a:pt x="12" y="1170"/>
                    <a:pt x="12" y="1170"/>
                  </a:cubicBezTo>
                  <a:cubicBezTo>
                    <a:pt x="13" y="1170"/>
                    <a:pt x="13" y="1170"/>
                    <a:pt x="13" y="1170"/>
                  </a:cubicBezTo>
                  <a:cubicBezTo>
                    <a:pt x="14" y="1170"/>
                    <a:pt x="14" y="1170"/>
                    <a:pt x="14" y="1170"/>
                  </a:cubicBezTo>
                  <a:cubicBezTo>
                    <a:pt x="15" y="1170"/>
                    <a:pt x="15" y="1170"/>
                    <a:pt x="15" y="1170"/>
                  </a:cubicBezTo>
                  <a:cubicBezTo>
                    <a:pt x="15" y="1169"/>
                    <a:pt x="15" y="1169"/>
                    <a:pt x="15" y="1169"/>
                  </a:cubicBezTo>
                  <a:cubicBezTo>
                    <a:pt x="17" y="1169"/>
                    <a:pt x="17" y="1169"/>
                    <a:pt x="17" y="1169"/>
                  </a:cubicBezTo>
                  <a:cubicBezTo>
                    <a:pt x="17" y="1168"/>
                    <a:pt x="17" y="1168"/>
                    <a:pt x="17" y="1168"/>
                  </a:cubicBezTo>
                  <a:cubicBezTo>
                    <a:pt x="18" y="1168"/>
                    <a:pt x="18" y="1168"/>
                    <a:pt x="18" y="1168"/>
                  </a:cubicBezTo>
                  <a:cubicBezTo>
                    <a:pt x="18" y="1167"/>
                    <a:pt x="18" y="1167"/>
                    <a:pt x="18" y="1167"/>
                  </a:cubicBezTo>
                  <a:cubicBezTo>
                    <a:pt x="19" y="1167"/>
                    <a:pt x="19" y="1167"/>
                    <a:pt x="19" y="1167"/>
                  </a:cubicBezTo>
                  <a:cubicBezTo>
                    <a:pt x="19" y="1166"/>
                    <a:pt x="19" y="1166"/>
                    <a:pt x="19" y="1166"/>
                  </a:cubicBezTo>
                  <a:cubicBezTo>
                    <a:pt x="19" y="1166"/>
                    <a:pt x="19" y="1166"/>
                    <a:pt x="19" y="1166"/>
                  </a:cubicBezTo>
                  <a:cubicBezTo>
                    <a:pt x="19" y="1166"/>
                    <a:pt x="19" y="1166"/>
                    <a:pt x="19" y="1166"/>
                  </a:cubicBezTo>
                  <a:cubicBezTo>
                    <a:pt x="19" y="1166"/>
                    <a:pt x="19" y="1166"/>
                    <a:pt x="19" y="1166"/>
                  </a:cubicBezTo>
                  <a:cubicBezTo>
                    <a:pt x="19" y="1168"/>
                    <a:pt x="19" y="1168"/>
                    <a:pt x="19" y="1168"/>
                  </a:cubicBezTo>
                  <a:cubicBezTo>
                    <a:pt x="19" y="1168"/>
                    <a:pt x="19" y="1168"/>
                    <a:pt x="19" y="1168"/>
                  </a:cubicBezTo>
                  <a:cubicBezTo>
                    <a:pt x="19" y="1168"/>
                    <a:pt x="19" y="1168"/>
                    <a:pt x="19" y="1168"/>
                  </a:cubicBezTo>
                  <a:cubicBezTo>
                    <a:pt x="18" y="1169"/>
                    <a:pt x="18" y="1169"/>
                    <a:pt x="18" y="1169"/>
                  </a:cubicBezTo>
                  <a:cubicBezTo>
                    <a:pt x="18" y="1169"/>
                    <a:pt x="18" y="1169"/>
                    <a:pt x="18" y="1169"/>
                  </a:cubicBezTo>
                  <a:cubicBezTo>
                    <a:pt x="17" y="1170"/>
                    <a:pt x="17" y="1170"/>
                    <a:pt x="17" y="1170"/>
                  </a:cubicBezTo>
                  <a:cubicBezTo>
                    <a:pt x="17" y="1170"/>
                    <a:pt x="17" y="1170"/>
                    <a:pt x="17" y="1170"/>
                  </a:cubicBezTo>
                  <a:cubicBezTo>
                    <a:pt x="17" y="1170"/>
                    <a:pt x="17" y="1170"/>
                    <a:pt x="17" y="1170"/>
                  </a:cubicBezTo>
                  <a:cubicBezTo>
                    <a:pt x="15" y="1171"/>
                    <a:pt x="15" y="1171"/>
                    <a:pt x="15" y="1171"/>
                  </a:cubicBezTo>
                  <a:cubicBezTo>
                    <a:pt x="15" y="1172"/>
                    <a:pt x="15" y="1172"/>
                    <a:pt x="15" y="1172"/>
                  </a:cubicBezTo>
                  <a:cubicBezTo>
                    <a:pt x="14" y="1172"/>
                    <a:pt x="14" y="1172"/>
                    <a:pt x="14" y="1172"/>
                  </a:cubicBezTo>
                  <a:cubicBezTo>
                    <a:pt x="14" y="1172"/>
                    <a:pt x="14" y="1172"/>
                    <a:pt x="14" y="1172"/>
                  </a:cubicBezTo>
                  <a:cubicBezTo>
                    <a:pt x="14" y="1173"/>
                    <a:pt x="14" y="1173"/>
                    <a:pt x="14" y="1173"/>
                  </a:cubicBezTo>
                  <a:cubicBezTo>
                    <a:pt x="14" y="1173"/>
                    <a:pt x="14" y="1173"/>
                    <a:pt x="14" y="1173"/>
                  </a:cubicBezTo>
                  <a:cubicBezTo>
                    <a:pt x="14" y="1173"/>
                    <a:pt x="14" y="1173"/>
                    <a:pt x="14" y="1173"/>
                  </a:cubicBezTo>
                  <a:cubicBezTo>
                    <a:pt x="13" y="1174"/>
                    <a:pt x="13" y="1174"/>
                    <a:pt x="13" y="1174"/>
                  </a:cubicBezTo>
                  <a:cubicBezTo>
                    <a:pt x="13" y="1174"/>
                    <a:pt x="13" y="1174"/>
                    <a:pt x="13" y="1174"/>
                  </a:cubicBezTo>
                  <a:cubicBezTo>
                    <a:pt x="13" y="1174"/>
                    <a:pt x="13" y="1174"/>
                    <a:pt x="13" y="1174"/>
                  </a:cubicBezTo>
                  <a:cubicBezTo>
                    <a:pt x="13" y="1174"/>
                    <a:pt x="13" y="1174"/>
                    <a:pt x="13" y="1174"/>
                  </a:cubicBezTo>
                  <a:cubicBezTo>
                    <a:pt x="14" y="1175"/>
                    <a:pt x="14" y="1175"/>
                    <a:pt x="14" y="1175"/>
                  </a:cubicBezTo>
                  <a:cubicBezTo>
                    <a:pt x="13" y="1175"/>
                    <a:pt x="13" y="1175"/>
                    <a:pt x="13" y="1175"/>
                  </a:cubicBezTo>
                  <a:cubicBezTo>
                    <a:pt x="13" y="1175"/>
                    <a:pt x="13" y="1175"/>
                    <a:pt x="13" y="1175"/>
                  </a:cubicBezTo>
                  <a:cubicBezTo>
                    <a:pt x="12" y="1175"/>
                    <a:pt x="12" y="1175"/>
                    <a:pt x="12" y="1175"/>
                  </a:cubicBezTo>
                  <a:cubicBezTo>
                    <a:pt x="11" y="1175"/>
                    <a:pt x="11" y="1175"/>
                    <a:pt x="11" y="1175"/>
                  </a:cubicBezTo>
                  <a:cubicBezTo>
                    <a:pt x="11" y="1176"/>
                    <a:pt x="11" y="1176"/>
                    <a:pt x="11" y="1176"/>
                  </a:cubicBezTo>
                  <a:cubicBezTo>
                    <a:pt x="12" y="1184"/>
                    <a:pt x="12" y="1184"/>
                    <a:pt x="12" y="1184"/>
                  </a:cubicBezTo>
                  <a:cubicBezTo>
                    <a:pt x="12" y="1184"/>
                    <a:pt x="12" y="1184"/>
                    <a:pt x="12" y="1184"/>
                  </a:cubicBezTo>
                  <a:cubicBezTo>
                    <a:pt x="12" y="1184"/>
                    <a:pt x="12" y="1184"/>
                    <a:pt x="12" y="1184"/>
                  </a:cubicBezTo>
                  <a:cubicBezTo>
                    <a:pt x="13" y="1184"/>
                    <a:pt x="13" y="1184"/>
                    <a:pt x="13" y="1184"/>
                  </a:cubicBezTo>
                  <a:cubicBezTo>
                    <a:pt x="13" y="1184"/>
                    <a:pt x="13" y="1184"/>
                    <a:pt x="13" y="1184"/>
                  </a:cubicBezTo>
                  <a:cubicBezTo>
                    <a:pt x="14" y="1183"/>
                    <a:pt x="14" y="1183"/>
                    <a:pt x="14" y="1183"/>
                  </a:cubicBezTo>
                  <a:cubicBezTo>
                    <a:pt x="14" y="1183"/>
                    <a:pt x="14" y="1183"/>
                    <a:pt x="14" y="1183"/>
                  </a:cubicBezTo>
                  <a:cubicBezTo>
                    <a:pt x="15" y="1183"/>
                    <a:pt x="15" y="1183"/>
                    <a:pt x="15" y="1183"/>
                  </a:cubicBezTo>
                  <a:cubicBezTo>
                    <a:pt x="15" y="1182"/>
                    <a:pt x="15" y="1182"/>
                    <a:pt x="15" y="1182"/>
                  </a:cubicBezTo>
                  <a:cubicBezTo>
                    <a:pt x="16" y="1181"/>
                    <a:pt x="16" y="1181"/>
                    <a:pt x="16" y="1181"/>
                  </a:cubicBezTo>
                  <a:cubicBezTo>
                    <a:pt x="16" y="1181"/>
                    <a:pt x="16" y="1181"/>
                    <a:pt x="16" y="1181"/>
                  </a:cubicBezTo>
                  <a:cubicBezTo>
                    <a:pt x="17" y="1181"/>
                    <a:pt x="17" y="1181"/>
                    <a:pt x="17" y="1181"/>
                  </a:cubicBezTo>
                  <a:cubicBezTo>
                    <a:pt x="17" y="1181"/>
                    <a:pt x="17" y="1181"/>
                    <a:pt x="17" y="1181"/>
                  </a:cubicBezTo>
                  <a:cubicBezTo>
                    <a:pt x="18" y="1180"/>
                    <a:pt x="18" y="1180"/>
                    <a:pt x="18" y="1180"/>
                  </a:cubicBezTo>
                  <a:cubicBezTo>
                    <a:pt x="18" y="1180"/>
                    <a:pt x="18" y="1180"/>
                    <a:pt x="18" y="1180"/>
                  </a:cubicBezTo>
                  <a:cubicBezTo>
                    <a:pt x="18" y="1179"/>
                    <a:pt x="18" y="1179"/>
                    <a:pt x="18" y="1179"/>
                  </a:cubicBezTo>
                  <a:cubicBezTo>
                    <a:pt x="19" y="1178"/>
                    <a:pt x="19" y="1178"/>
                    <a:pt x="19" y="1178"/>
                  </a:cubicBezTo>
                  <a:cubicBezTo>
                    <a:pt x="19" y="1178"/>
                    <a:pt x="19" y="1178"/>
                    <a:pt x="19" y="1178"/>
                  </a:cubicBezTo>
                  <a:cubicBezTo>
                    <a:pt x="20" y="1178"/>
                    <a:pt x="20" y="1178"/>
                    <a:pt x="20" y="1178"/>
                  </a:cubicBezTo>
                  <a:cubicBezTo>
                    <a:pt x="21" y="1178"/>
                    <a:pt x="21" y="1178"/>
                    <a:pt x="21" y="1178"/>
                  </a:cubicBezTo>
                  <a:cubicBezTo>
                    <a:pt x="21" y="1178"/>
                    <a:pt x="21" y="1178"/>
                    <a:pt x="21" y="1178"/>
                  </a:cubicBezTo>
                  <a:cubicBezTo>
                    <a:pt x="22" y="1177"/>
                    <a:pt x="22" y="1177"/>
                    <a:pt x="22" y="1177"/>
                  </a:cubicBezTo>
                  <a:cubicBezTo>
                    <a:pt x="23" y="1177"/>
                    <a:pt x="23" y="1177"/>
                    <a:pt x="23" y="1177"/>
                  </a:cubicBezTo>
                  <a:cubicBezTo>
                    <a:pt x="28" y="1176"/>
                    <a:pt x="28" y="1176"/>
                    <a:pt x="28" y="1176"/>
                  </a:cubicBezTo>
                  <a:cubicBezTo>
                    <a:pt x="28" y="1176"/>
                    <a:pt x="28" y="1176"/>
                    <a:pt x="28" y="1176"/>
                  </a:cubicBezTo>
                  <a:cubicBezTo>
                    <a:pt x="29" y="1175"/>
                    <a:pt x="29" y="1175"/>
                    <a:pt x="29" y="1175"/>
                  </a:cubicBezTo>
                  <a:cubicBezTo>
                    <a:pt x="29" y="1175"/>
                    <a:pt x="29" y="1175"/>
                    <a:pt x="29" y="1175"/>
                  </a:cubicBezTo>
                  <a:cubicBezTo>
                    <a:pt x="29" y="1175"/>
                    <a:pt x="29" y="1175"/>
                    <a:pt x="29" y="1175"/>
                  </a:cubicBezTo>
                  <a:cubicBezTo>
                    <a:pt x="30" y="1175"/>
                    <a:pt x="30" y="1175"/>
                    <a:pt x="30" y="1175"/>
                  </a:cubicBezTo>
                  <a:cubicBezTo>
                    <a:pt x="30" y="1175"/>
                    <a:pt x="30" y="1175"/>
                    <a:pt x="30" y="1175"/>
                  </a:cubicBezTo>
                  <a:cubicBezTo>
                    <a:pt x="31" y="1174"/>
                    <a:pt x="31" y="1174"/>
                    <a:pt x="31" y="1174"/>
                  </a:cubicBezTo>
                  <a:cubicBezTo>
                    <a:pt x="32" y="1174"/>
                    <a:pt x="32" y="1174"/>
                    <a:pt x="32" y="1174"/>
                  </a:cubicBezTo>
                  <a:cubicBezTo>
                    <a:pt x="32" y="1175"/>
                    <a:pt x="32" y="1175"/>
                    <a:pt x="32" y="1175"/>
                  </a:cubicBezTo>
                  <a:cubicBezTo>
                    <a:pt x="32" y="1175"/>
                    <a:pt x="32" y="1175"/>
                    <a:pt x="32" y="1175"/>
                  </a:cubicBezTo>
                  <a:cubicBezTo>
                    <a:pt x="32" y="1175"/>
                    <a:pt x="32" y="1175"/>
                    <a:pt x="32" y="1175"/>
                  </a:cubicBezTo>
                  <a:cubicBezTo>
                    <a:pt x="31" y="1175"/>
                    <a:pt x="31" y="1175"/>
                    <a:pt x="31" y="1175"/>
                  </a:cubicBezTo>
                  <a:cubicBezTo>
                    <a:pt x="31" y="1175"/>
                    <a:pt x="31" y="1175"/>
                    <a:pt x="31" y="1175"/>
                  </a:cubicBezTo>
                  <a:cubicBezTo>
                    <a:pt x="31" y="1176"/>
                    <a:pt x="31" y="1176"/>
                    <a:pt x="31" y="1176"/>
                  </a:cubicBezTo>
                  <a:cubicBezTo>
                    <a:pt x="30" y="1176"/>
                    <a:pt x="30" y="1176"/>
                    <a:pt x="30" y="1176"/>
                  </a:cubicBezTo>
                  <a:cubicBezTo>
                    <a:pt x="29" y="1177"/>
                    <a:pt x="29" y="1177"/>
                    <a:pt x="29" y="1177"/>
                  </a:cubicBezTo>
                  <a:cubicBezTo>
                    <a:pt x="25" y="1177"/>
                    <a:pt x="25" y="1177"/>
                    <a:pt x="25" y="1177"/>
                  </a:cubicBezTo>
                  <a:cubicBezTo>
                    <a:pt x="24" y="1178"/>
                    <a:pt x="24" y="1178"/>
                    <a:pt x="24" y="1178"/>
                  </a:cubicBezTo>
                  <a:cubicBezTo>
                    <a:pt x="23" y="1178"/>
                    <a:pt x="23" y="1178"/>
                    <a:pt x="23" y="1178"/>
                  </a:cubicBezTo>
                  <a:cubicBezTo>
                    <a:pt x="23" y="1178"/>
                    <a:pt x="23" y="1178"/>
                    <a:pt x="23" y="1178"/>
                  </a:cubicBezTo>
                  <a:cubicBezTo>
                    <a:pt x="22" y="1178"/>
                    <a:pt x="22" y="1178"/>
                    <a:pt x="22" y="1178"/>
                  </a:cubicBezTo>
                  <a:cubicBezTo>
                    <a:pt x="21" y="1179"/>
                    <a:pt x="21" y="1179"/>
                    <a:pt x="21" y="1179"/>
                  </a:cubicBezTo>
                  <a:cubicBezTo>
                    <a:pt x="21" y="1179"/>
                    <a:pt x="21" y="1179"/>
                    <a:pt x="21" y="1179"/>
                  </a:cubicBezTo>
                  <a:cubicBezTo>
                    <a:pt x="20" y="1179"/>
                    <a:pt x="20" y="1179"/>
                    <a:pt x="20" y="1179"/>
                  </a:cubicBezTo>
                  <a:cubicBezTo>
                    <a:pt x="20" y="1180"/>
                    <a:pt x="20" y="1180"/>
                    <a:pt x="20" y="1180"/>
                  </a:cubicBezTo>
                  <a:cubicBezTo>
                    <a:pt x="20" y="1181"/>
                    <a:pt x="20" y="1181"/>
                    <a:pt x="20" y="1181"/>
                  </a:cubicBezTo>
                  <a:cubicBezTo>
                    <a:pt x="19" y="1181"/>
                    <a:pt x="19" y="1181"/>
                    <a:pt x="19" y="1181"/>
                  </a:cubicBezTo>
                  <a:cubicBezTo>
                    <a:pt x="19" y="1181"/>
                    <a:pt x="19" y="1181"/>
                    <a:pt x="19" y="1181"/>
                  </a:cubicBezTo>
                  <a:cubicBezTo>
                    <a:pt x="18" y="1182"/>
                    <a:pt x="18" y="1182"/>
                    <a:pt x="18" y="1182"/>
                  </a:cubicBezTo>
                  <a:cubicBezTo>
                    <a:pt x="18" y="1182"/>
                    <a:pt x="18" y="1182"/>
                    <a:pt x="18" y="1182"/>
                  </a:cubicBezTo>
                  <a:cubicBezTo>
                    <a:pt x="17" y="1183"/>
                    <a:pt x="17" y="1183"/>
                    <a:pt x="17" y="1183"/>
                  </a:cubicBezTo>
                  <a:cubicBezTo>
                    <a:pt x="16" y="1184"/>
                    <a:pt x="16" y="1184"/>
                    <a:pt x="16" y="1184"/>
                  </a:cubicBezTo>
                  <a:cubicBezTo>
                    <a:pt x="14" y="1186"/>
                    <a:pt x="14" y="1186"/>
                    <a:pt x="14" y="1186"/>
                  </a:cubicBezTo>
                  <a:cubicBezTo>
                    <a:pt x="14" y="1187"/>
                    <a:pt x="14" y="1187"/>
                    <a:pt x="14" y="1187"/>
                  </a:cubicBezTo>
                  <a:cubicBezTo>
                    <a:pt x="14" y="1187"/>
                    <a:pt x="14" y="1187"/>
                    <a:pt x="14" y="1187"/>
                  </a:cubicBezTo>
                  <a:cubicBezTo>
                    <a:pt x="14" y="1188"/>
                    <a:pt x="14" y="1188"/>
                    <a:pt x="14" y="1188"/>
                  </a:cubicBezTo>
                  <a:cubicBezTo>
                    <a:pt x="14" y="1190"/>
                    <a:pt x="14" y="1190"/>
                    <a:pt x="14" y="1190"/>
                  </a:cubicBezTo>
                  <a:cubicBezTo>
                    <a:pt x="14" y="1191"/>
                    <a:pt x="14" y="1191"/>
                    <a:pt x="14" y="1191"/>
                  </a:cubicBezTo>
                  <a:cubicBezTo>
                    <a:pt x="14" y="1192"/>
                    <a:pt x="14" y="1192"/>
                    <a:pt x="14" y="1192"/>
                  </a:cubicBezTo>
                  <a:cubicBezTo>
                    <a:pt x="15" y="1193"/>
                    <a:pt x="15" y="1193"/>
                    <a:pt x="15" y="1193"/>
                  </a:cubicBezTo>
                  <a:cubicBezTo>
                    <a:pt x="15" y="1193"/>
                    <a:pt x="15" y="1193"/>
                    <a:pt x="15" y="1193"/>
                  </a:cubicBezTo>
                  <a:cubicBezTo>
                    <a:pt x="16" y="1193"/>
                    <a:pt x="16" y="1193"/>
                    <a:pt x="16" y="1193"/>
                  </a:cubicBezTo>
                  <a:cubicBezTo>
                    <a:pt x="19" y="1192"/>
                    <a:pt x="19" y="1192"/>
                    <a:pt x="19" y="1192"/>
                  </a:cubicBezTo>
                  <a:cubicBezTo>
                    <a:pt x="19" y="1192"/>
                    <a:pt x="19" y="1192"/>
                    <a:pt x="19" y="1192"/>
                  </a:cubicBezTo>
                  <a:cubicBezTo>
                    <a:pt x="18" y="1192"/>
                    <a:pt x="18" y="1192"/>
                    <a:pt x="18" y="1192"/>
                  </a:cubicBezTo>
                  <a:cubicBezTo>
                    <a:pt x="18" y="1193"/>
                    <a:pt x="18" y="1193"/>
                    <a:pt x="18" y="1193"/>
                  </a:cubicBezTo>
                  <a:cubicBezTo>
                    <a:pt x="16" y="1193"/>
                    <a:pt x="16" y="1193"/>
                    <a:pt x="16" y="1193"/>
                  </a:cubicBezTo>
                  <a:cubicBezTo>
                    <a:pt x="15" y="1193"/>
                    <a:pt x="15" y="1193"/>
                    <a:pt x="15" y="1193"/>
                  </a:cubicBezTo>
                  <a:cubicBezTo>
                    <a:pt x="15" y="1193"/>
                    <a:pt x="15" y="1193"/>
                    <a:pt x="15" y="1193"/>
                  </a:cubicBezTo>
                  <a:cubicBezTo>
                    <a:pt x="15" y="1194"/>
                    <a:pt x="15" y="1194"/>
                    <a:pt x="15" y="1194"/>
                  </a:cubicBezTo>
                  <a:cubicBezTo>
                    <a:pt x="16" y="1195"/>
                    <a:pt x="16" y="1195"/>
                    <a:pt x="16" y="1195"/>
                  </a:cubicBezTo>
                  <a:cubicBezTo>
                    <a:pt x="16" y="1196"/>
                    <a:pt x="16" y="1196"/>
                    <a:pt x="16" y="1196"/>
                  </a:cubicBezTo>
                  <a:cubicBezTo>
                    <a:pt x="16" y="1196"/>
                    <a:pt x="16" y="1196"/>
                    <a:pt x="16" y="1196"/>
                  </a:cubicBezTo>
                  <a:cubicBezTo>
                    <a:pt x="16" y="1197"/>
                    <a:pt x="16" y="1197"/>
                    <a:pt x="16" y="1197"/>
                  </a:cubicBezTo>
                  <a:cubicBezTo>
                    <a:pt x="16" y="1199"/>
                    <a:pt x="16" y="1199"/>
                    <a:pt x="16" y="1199"/>
                  </a:cubicBezTo>
                  <a:cubicBezTo>
                    <a:pt x="16" y="1199"/>
                    <a:pt x="16" y="1199"/>
                    <a:pt x="16" y="1199"/>
                  </a:cubicBezTo>
                  <a:cubicBezTo>
                    <a:pt x="17" y="1200"/>
                    <a:pt x="17" y="1200"/>
                    <a:pt x="17" y="1200"/>
                  </a:cubicBezTo>
                  <a:cubicBezTo>
                    <a:pt x="17" y="1201"/>
                    <a:pt x="17" y="1201"/>
                    <a:pt x="17" y="1201"/>
                  </a:cubicBezTo>
                  <a:cubicBezTo>
                    <a:pt x="17" y="1201"/>
                    <a:pt x="17" y="1201"/>
                    <a:pt x="17" y="1201"/>
                  </a:cubicBezTo>
                  <a:cubicBezTo>
                    <a:pt x="17" y="1203"/>
                    <a:pt x="17" y="1203"/>
                    <a:pt x="17" y="1203"/>
                  </a:cubicBezTo>
                  <a:cubicBezTo>
                    <a:pt x="17" y="1204"/>
                    <a:pt x="17" y="1204"/>
                    <a:pt x="17" y="1204"/>
                  </a:cubicBezTo>
                  <a:cubicBezTo>
                    <a:pt x="17" y="1204"/>
                    <a:pt x="17" y="1204"/>
                    <a:pt x="17" y="1204"/>
                  </a:cubicBezTo>
                  <a:cubicBezTo>
                    <a:pt x="17" y="1205"/>
                    <a:pt x="17" y="1205"/>
                    <a:pt x="17" y="1205"/>
                  </a:cubicBezTo>
                  <a:cubicBezTo>
                    <a:pt x="17" y="1206"/>
                    <a:pt x="17" y="1206"/>
                    <a:pt x="17" y="1206"/>
                  </a:cubicBezTo>
                  <a:cubicBezTo>
                    <a:pt x="17" y="1206"/>
                    <a:pt x="17" y="1206"/>
                    <a:pt x="17" y="1206"/>
                  </a:cubicBezTo>
                  <a:cubicBezTo>
                    <a:pt x="17" y="1206"/>
                    <a:pt x="17" y="1206"/>
                    <a:pt x="17" y="1206"/>
                  </a:cubicBezTo>
                  <a:cubicBezTo>
                    <a:pt x="18" y="1207"/>
                    <a:pt x="18" y="1207"/>
                    <a:pt x="18" y="1207"/>
                  </a:cubicBezTo>
                  <a:cubicBezTo>
                    <a:pt x="18" y="1207"/>
                    <a:pt x="18" y="1207"/>
                    <a:pt x="18" y="1207"/>
                  </a:cubicBezTo>
                  <a:cubicBezTo>
                    <a:pt x="18" y="1208"/>
                    <a:pt x="18" y="1208"/>
                    <a:pt x="18" y="1208"/>
                  </a:cubicBezTo>
                  <a:cubicBezTo>
                    <a:pt x="18" y="1209"/>
                    <a:pt x="18" y="1209"/>
                    <a:pt x="18" y="1209"/>
                  </a:cubicBezTo>
                  <a:cubicBezTo>
                    <a:pt x="18" y="1209"/>
                    <a:pt x="18" y="1209"/>
                    <a:pt x="18" y="1209"/>
                  </a:cubicBezTo>
                  <a:cubicBezTo>
                    <a:pt x="18" y="1210"/>
                    <a:pt x="18" y="1210"/>
                    <a:pt x="18" y="1210"/>
                  </a:cubicBezTo>
                  <a:cubicBezTo>
                    <a:pt x="18" y="1210"/>
                    <a:pt x="18" y="1210"/>
                    <a:pt x="18" y="1210"/>
                  </a:cubicBezTo>
                  <a:cubicBezTo>
                    <a:pt x="19" y="1211"/>
                    <a:pt x="19" y="1211"/>
                    <a:pt x="19" y="1211"/>
                  </a:cubicBezTo>
                  <a:cubicBezTo>
                    <a:pt x="19" y="1213"/>
                    <a:pt x="19" y="1213"/>
                    <a:pt x="19" y="1213"/>
                  </a:cubicBezTo>
                  <a:cubicBezTo>
                    <a:pt x="20" y="1213"/>
                    <a:pt x="20" y="1213"/>
                    <a:pt x="20" y="1213"/>
                  </a:cubicBezTo>
                  <a:cubicBezTo>
                    <a:pt x="21" y="1214"/>
                    <a:pt x="21" y="1214"/>
                    <a:pt x="21" y="1214"/>
                  </a:cubicBezTo>
                  <a:cubicBezTo>
                    <a:pt x="21" y="1214"/>
                    <a:pt x="21" y="1214"/>
                    <a:pt x="21" y="1214"/>
                  </a:cubicBezTo>
                  <a:cubicBezTo>
                    <a:pt x="20" y="1215"/>
                    <a:pt x="20" y="1215"/>
                    <a:pt x="20" y="1215"/>
                  </a:cubicBezTo>
                  <a:cubicBezTo>
                    <a:pt x="20" y="1216"/>
                    <a:pt x="20" y="1216"/>
                    <a:pt x="20" y="1216"/>
                  </a:cubicBezTo>
                  <a:cubicBezTo>
                    <a:pt x="20" y="1218"/>
                    <a:pt x="20" y="1218"/>
                    <a:pt x="20" y="1218"/>
                  </a:cubicBezTo>
                  <a:cubicBezTo>
                    <a:pt x="20" y="1220"/>
                    <a:pt x="20" y="1220"/>
                    <a:pt x="20" y="1220"/>
                  </a:cubicBezTo>
                  <a:cubicBezTo>
                    <a:pt x="20" y="1222"/>
                    <a:pt x="20" y="1222"/>
                    <a:pt x="20" y="1222"/>
                  </a:cubicBezTo>
                  <a:cubicBezTo>
                    <a:pt x="36" y="1237"/>
                    <a:pt x="53" y="1250"/>
                    <a:pt x="70" y="1263"/>
                  </a:cubicBezTo>
                  <a:cubicBezTo>
                    <a:pt x="70" y="1263"/>
                    <a:pt x="70" y="1263"/>
                    <a:pt x="70" y="1263"/>
                  </a:cubicBezTo>
                  <a:cubicBezTo>
                    <a:pt x="70" y="1263"/>
                    <a:pt x="70" y="1263"/>
                    <a:pt x="70" y="1263"/>
                  </a:cubicBezTo>
                  <a:cubicBezTo>
                    <a:pt x="70" y="1263"/>
                    <a:pt x="70" y="1263"/>
                    <a:pt x="71" y="1263"/>
                  </a:cubicBezTo>
                  <a:cubicBezTo>
                    <a:pt x="71" y="1263"/>
                    <a:pt x="71" y="1263"/>
                    <a:pt x="71" y="1263"/>
                  </a:cubicBezTo>
                  <a:cubicBezTo>
                    <a:pt x="120" y="1300"/>
                    <a:pt x="174" y="1331"/>
                    <a:pt x="232" y="1356"/>
                  </a:cubicBezTo>
                  <a:cubicBezTo>
                    <a:pt x="232" y="1354"/>
                    <a:pt x="232" y="1354"/>
                    <a:pt x="232" y="1354"/>
                  </a:cubicBezTo>
                  <a:cubicBezTo>
                    <a:pt x="233" y="1354"/>
                    <a:pt x="233" y="1354"/>
                    <a:pt x="233" y="1354"/>
                  </a:cubicBezTo>
                  <a:cubicBezTo>
                    <a:pt x="233" y="1354"/>
                    <a:pt x="233" y="1354"/>
                    <a:pt x="233" y="1354"/>
                  </a:cubicBezTo>
                  <a:cubicBezTo>
                    <a:pt x="233" y="1354"/>
                    <a:pt x="233" y="1354"/>
                    <a:pt x="233" y="1354"/>
                  </a:cubicBezTo>
                  <a:cubicBezTo>
                    <a:pt x="233" y="1354"/>
                    <a:pt x="233" y="1354"/>
                    <a:pt x="233" y="1354"/>
                  </a:cubicBezTo>
                  <a:cubicBezTo>
                    <a:pt x="233" y="1354"/>
                    <a:pt x="233" y="1354"/>
                    <a:pt x="233" y="1354"/>
                  </a:cubicBezTo>
                  <a:cubicBezTo>
                    <a:pt x="234" y="1354"/>
                    <a:pt x="234" y="1354"/>
                    <a:pt x="234" y="1354"/>
                  </a:cubicBezTo>
                  <a:cubicBezTo>
                    <a:pt x="234" y="1353"/>
                    <a:pt x="234" y="1353"/>
                    <a:pt x="234" y="1353"/>
                  </a:cubicBezTo>
                  <a:cubicBezTo>
                    <a:pt x="236" y="1352"/>
                    <a:pt x="236" y="1352"/>
                    <a:pt x="236" y="1352"/>
                  </a:cubicBezTo>
                  <a:cubicBezTo>
                    <a:pt x="236" y="1352"/>
                    <a:pt x="236" y="1352"/>
                    <a:pt x="236" y="1352"/>
                  </a:cubicBezTo>
                  <a:cubicBezTo>
                    <a:pt x="237" y="1351"/>
                    <a:pt x="237" y="1351"/>
                    <a:pt x="237" y="1351"/>
                  </a:cubicBezTo>
                  <a:cubicBezTo>
                    <a:pt x="238" y="1351"/>
                    <a:pt x="238" y="1351"/>
                    <a:pt x="238" y="1351"/>
                  </a:cubicBezTo>
                  <a:cubicBezTo>
                    <a:pt x="239" y="1351"/>
                    <a:pt x="239" y="1351"/>
                    <a:pt x="239" y="1351"/>
                  </a:cubicBezTo>
                  <a:cubicBezTo>
                    <a:pt x="239" y="1351"/>
                    <a:pt x="239" y="1351"/>
                    <a:pt x="239" y="1351"/>
                  </a:cubicBezTo>
                  <a:cubicBezTo>
                    <a:pt x="239" y="1351"/>
                    <a:pt x="239" y="1351"/>
                    <a:pt x="239" y="1351"/>
                  </a:cubicBezTo>
                  <a:cubicBezTo>
                    <a:pt x="240" y="1351"/>
                    <a:pt x="240" y="1351"/>
                    <a:pt x="240" y="1351"/>
                  </a:cubicBezTo>
                  <a:cubicBezTo>
                    <a:pt x="241" y="1351"/>
                    <a:pt x="241" y="1351"/>
                    <a:pt x="241" y="1351"/>
                  </a:cubicBezTo>
                  <a:cubicBezTo>
                    <a:pt x="241" y="1351"/>
                    <a:pt x="241" y="1351"/>
                    <a:pt x="241" y="1351"/>
                  </a:cubicBezTo>
                  <a:cubicBezTo>
                    <a:pt x="241" y="1351"/>
                    <a:pt x="241" y="1351"/>
                    <a:pt x="241" y="1351"/>
                  </a:cubicBezTo>
                  <a:cubicBezTo>
                    <a:pt x="242" y="1352"/>
                    <a:pt x="242" y="1352"/>
                    <a:pt x="242" y="1352"/>
                  </a:cubicBezTo>
                  <a:cubicBezTo>
                    <a:pt x="242" y="1352"/>
                    <a:pt x="242" y="1352"/>
                    <a:pt x="242" y="1352"/>
                  </a:cubicBezTo>
                  <a:cubicBezTo>
                    <a:pt x="243" y="1352"/>
                    <a:pt x="243" y="1352"/>
                    <a:pt x="243" y="1352"/>
                  </a:cubicBezTo>
                  <a:cubicBezTo>
                    <a:pt x="243" y="1352"/>
                    <a:pt x="243" y="1352"/>
                    <a:pt x="243" y="1352"/>
                  </a:cubicBezTo>
                  <a:cubicBezTo>
                    <a:pt x="243" y="1351"/>
                    <a:pt x="243" y="1351"/>
                    <a:pt x="243" y="1351"/>
                  </a:cubicBezTo>
                  <a:cubicBezTo>
                    <a:pt x="243" y="1351"/>
                    <a:pt x="243" y="1351"/>
                    <a:pt x="243" y="1351"/>
                  </a:cubicBezTo>
                  <a:cubicBezTo>
                    <a:pt x="244" y="1351"/>
                    <a:pt x="244" y="1351"/>
                    <a:pt x="244" y="1351"/>
                  </a:cubicBezTo>
                  <a:cubicBezTo>
                    <a:pt x="244" y="1351"/>
                    <a:pt x="244" y="1351"/>
                    <a:pt x="244" y="1351"/>
                  </a:cubicBezTo>
                  <a:cubicBezTo>
                    <a:pt x="245" y="1350"/>
                    <a:pt x="245" y="1350"/>
                    <a:pt x="245" y="1350"/>
                  </a:cubicBezTo>
                  <a:cubicBezTo>
                    <a:pt x="246" y="1350"/>
                    <a:pt x="246" y="1350"/>
                    <a:pt x="246" y="1350"/>
                  </a:cubicBezTo>
                  <a:cubicBezTo>
                    <a:pt x="247" y="1351"/>
                    <a:pt x="247" y="1351"/>
                    <a:pt x="247" y="1351"/>
                  </a:cubicBezTo>
                  <a:cubicBezTo>
                    <a:pt x="248" y="1351"/>
                    <a:pt x="248" y="1351"/>
                    <a:pt x="248" y="1351"/>
                  </a:cubicBezTo>
                  <a:cubicBezTo>
                    <a:pt x="249" y="1351"/>
                    <a:pt x="249" y="1351"/>
                    <a:pt x="249" y="1351"/>
                  </a:cubicBezTo>
                  <a:cubicBezTo>
                    <a:pt x="250" y="1351"/>
                    <a:pt x="250" y="1351"/>
                    <a:pt x="250" y="1351"/>
                  </a:cubicBezTo>
                  <a:cubicBezTo>
                    <a:pt x="250" y="1351"/>
                    <a:pt x="250" y="1351"/>
                    <a:pt x="250" y="1351"/>
                  </a:cubicBezTo>
                  <a:cubicBezTo>
                    <a:pt x="250" y="1351"/>
                    <a:pt x="250" y="1351"/>
                    <a:pt x="250" y="1351"/>
                  </a:cubicBezTo>
                  <a:cubicBezTo>
                    <a:pt x="251" y="1351"/>
                    <a:pt x="251" y="1351"/>
                    <a:pt x="251" y="1351"/>
                  </a:cubicBezTo>
                  <a:cubicBezTo>
                    <a:pt x="252" y="1350"/>
                    <a:pt x="252" y="1350"/>
                    <a:pt x="252" y="1350"/>
                  </a:cubicBezTo>
                  <a:cubicBezTo>
                    <a:pt x="253" y="1350"/>
                    <a:pt x="253" y="1350"/>
                    <a:pt x="253" y="1350"/>
                  </a:cubicBezTo>
                  <a:cubicBezTo>
                    <a:pt x="254" y="1350"/>
                    <a:pt x="254" y="1350"/>
                    <a:pt x="254" y="1350"/>
                  </a:cubicBezTo>
                  <a:cubicBezTo>
                    <a:pt x="254" y="1350"/>
                    <a:pt x="254" y="1350"/>
                    <a:pt x="254" y="1350"/>
                  </a:cubicBezTo>
                  <a:cubicBezTo>
                    <a:pt x="254" y="1350"/>
                    <a:pt x="254" y="1350"/>
                    <a:pt x="254" y="1350"/>
                  </a:cubicBezTo>
                  <a:cubicBezTo>
                    <a:pt x="254" y="1350"/>
                    <a:pt x="254" y="1350"/>
                    <a:pt x="254" y="1350"/>
                  </a:cubicBezTo>
                  <a:cubicBezTo>
                    <a:pt x="255" y="1350"/>
                    <a:pt x="255" y="1350"/>
                    <a:pt x="255" y="1350"/>
                  </a:cubicBezTo>
                  <a:cubicBezTo>
                    <a:pt x="255" y="1349"/>
                    <a:pt x="255" y="1349"/>
                    <a:pt x="255" y="1349"/>
                  </a:cubicBezTo>
                  <a:cubicBezTo>
                    <a:pt x="255" y="1349"/>
                    <a:pt x="255" y="1349"/>
                    <a:pt x="255" y="1349"/>
                  </a:cubicBezTo>
                  <a:cubicBezTo>
                    <a:pt x="256" y="1349"/>
                    <a:pt x="256" y="1349"/>
                    <a:pt x="256" y="1349"/>
                  </a:cubicBezTo>
                  <a:cubicBezTo>
                    <a:pt x="255" y="1348"/>
                    <a:pt x="255" y="1348"/>
                    <a:pt x="255" y="1348"/>
                  </a:cubicBezTo>
                  <a:cubicBezTo>
                    <a:pt x="255" y="1348"/>
                    <a:pt x="255" y="1348"/>
                    <a:pt x="255" y="1348"/>
                  </a:cubicBezTo>
                  <a:cubicBezTo>
                    <a:pt x="254" y="1348"/>
                    <a:pt x="254" y="1348"/>
                    <a:pt x="254" y="1348"/>
                  </a:cubicBezTo>
                  <a:cubicBezTo>
                    <a:pt x="254" y="1348"/>
                    <a:pt x="254" y="1348"/>
                    <a:pt x="254" y="1348"/>
                  </a:cubicBezTo>
                  <a:cubicBezTo>
                    <a:pt x="253" y="1348"/>
                    <a:pt x="253" y="1348"/>
                    <a:pt x="253" y="1348"/>
                  </a:cubicBezTo>
                  <a:cubicBezTo>
                    <a:pt x="252" y="1347"/>
                    <a:pt x="252" y="1347"/>
                    <a:pt x="252" y="1347"/>
                  </a:cubicBezTo>
                  <a:cubicBezTo>
                    <a:pt x="252" y="1347"/>
                    <a:pt x="252" y="1347"/>
                    <a:pt x="252" y="1347"/>
                  </a:cubicBezTo>
                  <a:cubicBezTo>
                    <a:pt x="251" y="1345"/>
                    <a:pt x="251" y="1345"/>
                    <a:pt x="251" y="1345"/>
                  </a:cubicBezTo>
                  <a:cubicBezTo>
                    <a:pt x="251" y="1344"/>
                    <a:pt x="251" y="1344"/>
                    <a:pt x="251" y="1344"/>
                  </a:cubicBezTo>
                  <a:cubicBezTo>
                    <a:pt x="251" y="1344"/>
                    <a:pt x="251" y="1344"/>
                    <a:pt x="251" y="1344"/>
                  </a:cubicBezTo>
                  <a:cubicBezTo>
                    <a:pt x="252" y="1344"/>
                    <a:pt x="252" y="1344"/>
                    <a:pt x="252" y="1344"/>
                  </a:cubicBezTo>
                  <a:cubicBezTo>
                    <a:pt x="252" y="1343"/>
                    <a:pt x="252" y="1343"/>
                    <a:pt x="252" y="1343"/>
                  </a:cubicBezTo>
                  <a:cubicBezTo>
                    <a:pt x="253" y="1341"/>
                    <a:pt x="253" y="1341"/>
                    <a:pt x="253" y="1341"/>
                  </a:cubicBezTo>
                  <a:cubicBezTo>
                    <a:pt x="254" y="1342"/>
                    <a:pt x="254" y="1342"/>
                    <a:pt x="254" y="1342"/>
                  </a:cubicBezTo>
                  <a:cubicBezTo>
                    <a:pt x="254" y="1342"/>
                    <a:pt x="254" y="1342"/>
                    <a:pt x="254" y="1342"/>
                  </a:cubicBezTo>
                  <a:cubicBezTo>
                    <a:pt x="254" y="1340"/>
                    <a:pt x="254" y="1340"/>
                    <a:pt x="254" y="1340"/>
                  </a:cubicBezTo>
                  <a:cubicBezTo>
                    <a:pt x="254" y="1340"/>
                    <a:pt x="254" y="1340"/>
                    <a:pt x="254" y="1340"/>
                  </a:cubicBezTo>
                  <a:cubicBezTo>
                    <a:pt x="255" y="1337"/>
                    <a:pt x="255" y="1337"/>
                    <a:pt x="255" y="1337"/>
                  </a:cubicBezTo>
                  <a:cubicBezTo>
                    <a:pt x="255" y="1336"/>
                    <a:pt x="255" y="1336"/>
                    <a:pt x="255" y="1336"/>
                  </a:cubicBezTo>
                  <a:cubicBezTo>
                    <a:pt x="256" y="1336"/>
                    <a:pt x="256" y="1336"/>
                    <a:pt x="256" y="1336"/>
                  </a:cubicBezTo>
                  <a:cubicBezTo>
                    <a:pt x="257" y="1336"/>
                    <a:pt x="257" y="1336"/>
                    <a:pt x="257" y="1336"/>
                  </a:cubicBezTo>
                  <a:cubicBezTo>
                    <a:pt x="257" y="1335"/>
                    <a:pt x="257" y="1335"/>
                    <a:pt x="257" y="1335"/>
                  </a:cubicBezTo>
                  <a:cubicBezTo>
                    <a:pt x="257" y="1334"/>
                    <a:pt x="257" y="1334"/>
                    <a:pt x="257" y="1334"/>
                  </a:cubicBezTo>
                  <a:cubicBezTo>
                    <a:pt x="257" y="1332"/>
                    <a:pt x="257" y="1332"/>
                    <a:pt x="257" y="1332"/>
                  </a:cubicBezTo>
                  <a:cubicBezTo>
                    <a:pt x="257" y="1330"/>
                    <a:pt x="257" y="1330"/>
                    <a:pt x="257" y="1330"/>
                  </a:cubicBezTo>
                  <a:cubicBezTo>
                    <a:pt x="257" y="1330"/>
                    <a:pt x="257" y="1330"/>
                    <a:pt x="257" y="1330"/>
                  </a:cubicBezTo>
                  <a:cubicBezTo>
                    <a:pt x="257" y="1329"/>
                    <a:pt x="257" y="1329"/>
                    <a:pt x="257" y="1329"/>
                  </a:cubicBezTo>
                  <a:cubicBezTo>
                    <a:pt x="258" y="1329"/>
                    <a:pt x="258" y="1329"/>
                    <a:pt x="258" y="1329"/>
                  </a:cubicBezTo>
                  <a:cubicBezTo>
                    <a:pt x="258" y="1328"/>
                    <a:pt x="258" y="1328"/>
                    <a:pt x="258" y="1328"/>
                  </a:cubicBezTo>
                  <a:cubicBezTo>
                    <a:pt x="259" y="1328"/>
                    <a:pt x="259" y="1328"/>
                    <a:pt x="259" y="1328"/>
                  </a:cubicBezTo>
                  <a:cubicBezTo>
                    <a:pt x="259" y="1328"/>
                    <a:pt x="259" y="1328"/>
                    <a:pt x="259" y="1328"/>
                  </a:cubicBezTo>
                  <a:cubicBezTo>
                    <a:pt x="260" y="1328"/>
                    <a:pt x="260" y="1328"/>
                    <a:pt x="260" y="1328"/>
                  </a:cubicBezTo>
                  <a:cubicBezTo>
                    <a:pt x="261" y="1327"/>
                    <a:pt x="261" y="1327"/>
                    <a:pt x="261" y="1327"/>
                  </a:cubicBezTo>
                  <a:cubicBezTo>
                    <a:pt x="261" y="1327"/>
                    <a:pt x="261" y="1327"/>
                    <a:pt x="261" y="1327"/>
                  </a:cubicBezTo>
                  <a:cubicBezTo>
                    <a:pt x="261" y="1324"/>
                    <a:pt x="261" y="1324"/>
                    <a:pt x="261" y="1324"/>
                  </a:cubicBezTo>
                  <a:cubicBezTo>
                    <a:pt x="261" y="1322"/>
                    <a:pt x="261" y="1322"/>
                    <a:pt x="261" y="1322"/>
                  </a:cubicBezTo>
                  <a:cubicBezTo>
                    <a:pt x="262" y="1322"/>
                    <a:pt x="262" y="1322"/>
                    <a:pt x="262" y="1322"/>
                  </a:cubicBezTo>
                  <a:cubicBezTo>
                    <a:pt x="262" y="1322"/>
                    <a:pt x="262" y="1322"/>
                    <a:pt x="262" y="1322"/>
                  </a:cubicBezTo>
                  <a:cubicBezTo>
                    <a:pt x="263" y="1321"/>
                    <a:pt x="263" y="1321"/>
                    <a:pt x="263" y="1321"/>
                  </a:cubicBezTo>
                  <a:cubicBezTo>
                    <a:pt x="263" y="1321"/>
                    <a:pt x="263" y="1321"/>
                    <a:pt x="263" y="1321"/>
                  </a:cubicBezTo>
                  <a:cubicBezTo>
                    <a:pt x="264" y="1321"/>
                    <a:pt x="264" y="1321"/>
                    <a:pt x="264" y="1321"/>
                  </a:cubicBezTo>
                  <a:cubicBezTo>
                    <a:pt x="264" y="1321"/>
                    <a:pt x="264" y="1321"/>
                    <a:pt x="264" y="1321"/>
                  </a:cubicBezTo>
                  <a:cubicBezTo>
                    <a:pt x="264" y="1320"/>
                    <a:pt x="264" y="1320"/>
                    <a:pt x="264" y="1320"/>
                  </a:cubicBezTo>
                  <a:cubicBezTo>
                    <a:pt x="264" y="1320"/>
                    <a:pt x="264" y="1320"/>
                    <a:pt x="264" y="1320"/>
                  </a:cubicBezTo>
                  <a:cubicBezTo>
                    <a:pt x="265" y="1319"/>
                    <a:pt x="265" y="1319"/>
                    <a:pt x="265" y="1319"/>
                  </a:cubicBezTo>
                  <a:cubicBezTo>
                    <a:pt x="266" y="1318"/>
                    <a:pt x="266" y="1318"/>
                    <a:pt x="266" y="1318"/>
                  </a:cubicBezTo>
                  <a:cubicBezTo>
                    <a:pt x="266" y="1318"/>
                    <a:pt x="266" y="1318"/>
                    <a:pt x="266" y="1318"/>
                  </a:cubicBezTo>
                  <a:cubicBezTo>
                    <a:pt x="266" y="1317"/>
                    <a:pt x="266" y="1317"/>
                    <a:pt x="266" y="1317"/>
                  </a:cubicBezTo>
                  <a:cubicBezTo>
                    <a:pt x="267" y="1317"/>
                    <a:pt x="267" y="1317"/>
                    <a:pt x="267" y="1317"/>
                  </a:cubicBezTo>
                  <a:cubicBezTo>
                    <a:pt x="269" y="1316"/>
                    <a:pt x="269" y="1316"/>
                    <a:pt x="269" y="1316"/>
                  </a:cubicBezTo>
                  <a:cubicBezTo>
                    <a:pt x="270" y="1315"/>
                    <a:pt x="270" y="1315"/>
                    <a:pt x="270" y="1315"/>
                  </a:cubicBezTo>
                  <a:cubicBezTo>
                    <a:pt x="271" y="1315"/>
                    <a:pt x="271" y="1315"/>
                    <a:pt x="271" y="1315"/>
                  </a:cubicBezTo>
                  <a:cubicBezTo>
                    <a:pt x="273" y="1315"/>
                    <a:pt x="273" y="1315"/>
                    <a:pt x="273" y="1315"/>
                  </a:cubicBezTo>
                  <a:cubicBezTo>
                    <a:pt x="274" y="1315"/>
                    <a:pt x="274" y="1315"/>
                    <a:pt x="274" y="1315"/>
                  </a:cubicBezTo>
                  <a:cubicBezTo>
                    <a:pt x="274" y="1314"/>
                    <a:pt x="274" y="1314"/>
                    <a:pt x="274" y="1314"/>
                  </a:cubicBezTo>
                  <a:cubicBezTo>
                    <a:pt x="275" y="1314"/>
                    <a:pt x="275" y="1314"/>
                    <a:pt x="275" y="1314"/>
                  </a:cubicBezTo>
                  <a:cubicBezTo>
                    <a:pt x="275" y="1313"/>
                    <a:pt x="275" y="1313"/>
                    <a:pt x="275" y="1313"/>
                  </a:cubicBezTo>
                  <a:cubicBezTo>
                    <a:pt x="275" y="1313"/>
                    <a:pt x="275" y="1313"/>
                    <a:pt x="275" y="1313"/>
                  </a:cubicBezTo>
                  <a:cubicBezTo>
                    <a:pt x="275" y="1312"/>
                    <a:pt x="275" y="1312"/>
                    <a:pt x="275" y="1312"/>
                  </a:cubicBezTo>
                  <a:cubicBezTo>
                    <a:pt x="275" y="1312"/>
                    <a:pt x="275" y="1312"/>
                    <a:pt x="275" y="1312"/>
                  </a:cubicBezTo>
                  <a:cubicBezTo>
                    <a:pt x="276" y="1311"/>
                    <a:pt x="276" y="1311"/>
                    <a:pt x="276" y="1311"/>
                  </a:cubicBezTo>
                  <a:cubicBezTo>
                    <a:pt x="276" y="1311"/>
                    <a:pt x="276" y="1311"/>
                    <a:pt x="276" y="1311"/>
                  </a:cubicBezTo>
                  <a:cubicBezTo>
                    <a:pt x="277" y="1311"/>
                    <a:pt x="277" y="1311"/>
                    <a:pt x="277" y="1311"/>
                  </a:cubicBezTo>
                  <a:cubicBezTo>
                    <a:pt x="277" y="1311"/>
                    <a:pt x="277" y="1311"/>
                    <a:pt x="277" y="1311"/>
                  </a:cubicBezTo>
                  <a:cubicBezTo>
                    <a:pt x="278" y="1311"/>
                    <a:pt x="278" y="1311"/>
                    <a:pt x="278" y="1311"/>
                  </a:cubicBezTo>
                  <a:cubicBezTo>
                    <a:pt x="278" y="1311"/>
                    <a:pt x="278" y="1311"/>
                    <a:pt x="278" y="1311"/>
                  </a:cubicBezTo>
                  <a:cubicBezTo>
                    <a:pt x="279" y="1311"/>
                    <a:pt x="279" y="1311"/>
                    <a:pt x="279" y="1311"/>
                  </a:cubicBezTo>
                  <a:cubicBezTo>
                    <a:pt x="279" y="1310"/>
                    <a:pt x="279" y="1310"/>
                    <a:pt x="279" y="1310"/>
                  </a:cubicBezTo>
                  <a:cubicBezTo>
                    <a:pt x="279" y="1310"/>
                    <a:pt x="279" y="1310"/>
                    <a:pt x="279" y="1310"/>
                  </a:cubicBezTo>
                  <a:cubicBezTo>
                    <a:pt x="279" y="1310"/>
                    <a:pt x="279" y="1310"/>
                    <a:pt x="279" y="1310"/>
                  </a:cubicBezTo>
                  <a:cubicBezTo>
                    <a:pt x="279" y="1309"/>
                    <a:pt x="279" y="1309"/>
                    <a:pt x="279" y="1309"/>
                  </a:cubicBezTo>
                  <a:cubicBezTo>
                    <a:pt x="280" y="1309"/>
                    <a:pt x="280" y="1309"/>
                    <a:pt x="280" y="1309"/>
                  </a:cubicBezTo>
                  <a:cubicBezTo>
                    <a:pt x="280" y="1309"/>
                    <a:pt x="280" y="1309"/>
                    <a:pt x="280" y="1309"/>
                  </a:cubicBezTo>
                  <a:cubicBezTo>
                    <a:pt x="281" y="1309"/>
                    <a:pt x="281" y="1309"/>
                    <a:pt x="281" y="1309"/>
                  </a:cubicBezTo>
                  <a:cubicBezTo>
                    <a:pt x="281" y="1309"/>
                    <a:pt x="281" y="1309"/>
                    <a:pt x="281" y="1309"/>
                  </a:cubicBezTo>
                  <a:cubicBezTo>
                    <a:pt x="281" y="1309"/>
                    <a:pt x="281" y="1309"/>
                    <a:pt x="281" y="1309"/>
                  </a:cubicBezTo>
                  <a:cubicBezTo>
                    <a:pt x="281" y="1308"/>
                    <a:pt x="281" y="1308"/>
                    <a:pt x="281" y="1308"/>
                  </a:cubicBezTo>
                  <a:cubicBezTo>
                    <a:pt x="282" y="1307"/>
                    <a:pt x="282" y="1307"/>
                    <a:pt x="282" y="1307"/>
                  </a:cubicBezTo>
                  <a:cubicBezTo>
                    <a:pt x="282" y="1307"/>
                    <a:pt x="282" y="1307"/>
                    <a:pt x="282" y="1307"/>
                  </a:cubicBezTo>
                  <a:cubicBezTo>
                    <a:pt x="283" y="1307"/>
                    <a:pt x="283" y="1307"/>
                    <a:pt x="283" y="1307"/>
                  </a:cubicBezTo>
                  <a:cubicBezTo>
                    <a:pt x="283" y="1307"/>
                    <a:pt x="283" y="1307"/>
                    <a:pt x="283" y="1307"/>
                  </a:cubicBezTo>
                  <a:cubicBezTo>
                    <a:pt x="283" y="1307"/>
                    <a:pt x="283" y="1307"/>
                    <a:pt x="283" y="1307"/>
                  </a:cubicBezTo>
                  <a:cubicBezTo>
                    <a:pt x="283" y="1306"/>
                    <a:pt x="283" y="1306"/>
                    <a:pt x="283" y="1306"/>
                  </a:cubicBezTo>
                  <a:cubicBezTo>
                    <a:pt x="283" y="1306"/>
                    <a:pt x="283" y="1306"/>
                    <a:pt x="283" y="1306"/>
                  </a:cubicBezTo>
                  <a:cubicBezTo>
                    <a:pt x="283" y="1306"/>
                    <a:pt x="283" y="1306"/>
                    <a:pt x="283" y="1306"/>
                  </a:cubicBezTo>
                  <a:cubicBezTo>
                    <a:pt x="282" y="1305"/>
                    <a:pt x="282" y="1305"/>
                    <a:pt x="282" y="1305"/>
                  </a:cubicBezTo>
                  <a:cubicBezTo>
                    <a:pt x="282" y="1305"/>
                    <a:pt x="282" y="1305"/>
                    <a:pt x="282" y="1305"/>
                  </a:cubicBezTo>
                  <a:cubicBezTo>
                    <a:pt x="282" y="1305"/>
                    <a:pt x="282" y="1305"/>
                    <a:pt x="282" y="1305"/>
                  </a:cubicBezTo>
                  <a:cubicBezTo>
                    <a:pt x="282" y="1304"/>
                    <a:pt x="282" y="1304"/>
                    <a:pt x="282" y="1304"/>
                  </a:cubicBezTo>
                  <a:cubicBezTo>
                    <a:pt x="282" y="1304"/>
                    <a:pt x="282" y="1304"/>
                    <a:pt x="282" y="1304"/>
                  </a:cubicBezTo>
                  <a:cubicBezTo>
                    <a:pt x="281" y="1303"/>
                    <a:pt x="281" y="1303"/>
                    <a:pt x="281" y="1303"/>
                  </a:cubicBezTo>
                  <a:cubicBezTo>
                    <a:pt x="280" y="1303"/>
                    <a:pt x="280" y="1303"/>
                    <a:pt x="280" y="1303"/>
                  </a:cubicBezTo>
                  <a:cubicBezTo>
                    <a:pt x="278" y="1302"/>
                    <a:pt x="278" y="1302"/>
                    <a:pt x="278" y="1302"/>
                  </a:cubicBezTo>
                  <a:cubicBezTo>
                    <a:pt x="277" y="1302"/>
                    <a:pt x="277" y="1302"/>
                    <a:pt x="277" y="1302"/>
                  </a:cubicBezTo>
                  <a:cubicBezTo>
                    <a:pt x="276" y="1302"/>
                    <a:pt x="276" y="1302"/>
                    <a:pt x="276" y="1302"/>
                  </a:cubicBezTo>
                  <a:cubicBezTo>
                    <a:pt x="276" y="1301"/>
                    <a:pt x="276" y="1301"/>
                    <a:pt x="276" y="1301"/>
                  </a:cubicBezTo>
                  <a:cubicBezTo>
                    <a:pt x="274" y="1300"/>
                    <a:pt x="274" y="1300"/>
                    <a:pt x="274" y="1300"/>
                  </a:cubicBezTo>
                  <a:cubicBezTo>
                    <a:pt x="273" y="1299"/>
                    <a:pt x="273" y="1299"/>
                    <a:pt x="273" y="1299"/>
                  </a:cubicBezTo>
                  <a:cubicBezTo>
                    <a:pt x="273" y="1299"/>
                    <a:pt x="273" y="1299"/>
                    <a:pt x="273" y="1299"/>
                  </a:cubicBezTo>
                  <a:cubicBezTo>
                    <a:pt x="272" y="1297"/>
                    <a:pt x="272" y="1297"/>
                    <a:pt x="272" y="1297"/>
                  </a:cubicBezTo>
                  <a:cubicBezTo>
                    <a:pt x="271" y="1295"/>
                    <a:pt x="271" y="1295"/>
                    <a:pt x="271" y="1295"/>
                  </a:cubicBezTo>
                  <a:cubicBezTo>
                    <a:pt x="270" y="1294"/>
                    <a:pt x="270" y="1294"/>
                    <a:pt x="270" y="1294"/>
                  </a:cubicBezTo>
                  <a:cubicBezTo>
                    <a:pt x="270" y="1293"/>
                    <a:pt x="270" y="1293"/>
                    <a:pt x="270" y="1293"/>
                  </a:cubicBezTo>
                  <a:cubicBezTo>
                    <a:pt x="269" y="1291"/>
                    <a:pt x="269" y="1291"/>
                    <a:pt x="269" y="1291"/>
                  </a:cubicBezTo>
                  <a:cubicBezTo>
                    <a:pt x="269" y="1291"/>
                    <a:pt x="269" y="1291"/>
                    <a:pt x="269" y="1291"/>
                  </a:cubicBezTo>
                  <a:cubicBezTo>
                    <a:pt x="270" y="1290"/>
                    <a:pt x="270" y="1290"/>
                    <a:pt x="270" y="1290"/>
                  </a:cubicBezTo>
                  <a:cubicBezTo>
                    <a:pt x="270" y="1290"/>
                    <a:pt x="270" y="1290"/>
                    <a:pt x="270" y="1290"/>
                  </a:cubicBezTo>
                  <a:cubicBezTo>
                    <a:pt x="270" y="1289"/>
                    <a:pt x="270" y="1289"/>
                    <a:pt x="270" y="1289"/>
                  </a:cubicBezTo>
                  <a:cubicBezTo>
                    <a:pt x="269" y="1289"/>
                    <a:pt x="269" y="1289"/>
                    <a:pt x="269" y="1289"/>
                  </a:cubicBezTo>
                  <a:cubicBezTo>
                    <a:pt x="267" y="1285"/>
                    <a:pt x="267" y="1285"/>
                    <a:pt x="267" y="1285"/>
                  </a:cubicBezTo>
                  <a:cubicBezTo>
                    <a:pt x="267" y="1282"/>
                    <a:pt x="267" y="1282"/>
                    <a:pt x="267" y="1282"/>
                  </a:cubicBezTo>
                  <a:cubicBezTo>
                    <a:pt x="267" y="1281"/>
                    <a:pt x="267" y="1281"/>
                    <a:pt x="267" y="1281"/>
                  </a:cubicBezTo>
                  <a:cubicBezTo>
                    <a:pt x="267" y="1279"/>
                    <a:pt x="267" y="1279"/>
                    <a:pt x="267" y="1279"/>
                  </a:cubicBezTo>
                  <a:cubicBezTo>
                    <a:pt x="267" y="1277"/>
                    <a:pt x="267" y="1277"/>
                    <a:pt x="267" y="1277"/>
                  </a:cubicBezTo>
                  <a:cubicBezTo>
                    <a:pt x="267" y="1276"/>
                    <a:pt x="267" y="1276"/>
                    <a:pt x="267" y="1276"/>
                  </a:cubicBezTo>
                  <a:cubicBezTo>
                    <a:pt x="268" y="1275"/>
                    <a:pt x="268" y="1275"/>
                    <a:pt x="268" y="1275"/>
                  </a:cubicBezTo>
                  <a:cubicBezTo>
                    <a:pt x="268" y="1275"/>
                    <a:pt x="268" y="1275"/>
                    <a:pt x="268" y="1275"/>
                  </a:cubicBezTo>
                  <a:cubicBezTo>
                    <a:pt x="268" y="1274"/>
                    <a:pt x="268" y="1274"/>
                    <a:pt x="268" y="1274"/>
                  </a:cubicBezTo>
                  <a:cubicBezTo>
                    <a:pt x="269" y="1273"/>
                    <a:pt x="269" y="1273"/>
                    <a:pt x="269" y="1273"/>
                  </a:cubicBezTo>
                  <a:cubicBezTo>
                    <a:pt x="269" y="1273"/>
                    <a:pt x="269" y="1273"/>
                    <a:pt x="269" y="1273"/>
                  </a:cubicBezTo>
                  <a:cubicBezTo>
                    <a:pt x="270" y="1272"/>
                    <a:pt x="270" y="1272"/>
                    <a:pt x="270" y="1272"/>
                  </a:cubicBezTo>
                  <a:cubicBezTo>
                    <a:pt x="270" y="1272"/>
                    <a:pt x="270" y="1272"/>
                    <a:pt x="270" y="1272"/>
                  </a:cubicBezTo>
                  <a:cubicBezTo>
                    <a:pt x="270" y="1271"/>
                    <a:pt x="270" y="1271"/>
                    <a:pt x="270" y="1271"/>
                  </a:cubicBezTo>
                  <a:cubicBezTo>
                    <a:pt x="270" y="1270"/>
                    <a:pt x="270" y="1270"/>
                    <a:pt x="270" y="1270"/>
                  </a:cubicBezTo>
                  <a:cubicBezTo>
                    <a:pt x="271" y="1269"/>
                    <a:pt x="271" y="1269"/>
                    <a:pt x="271" y="1269"/>
                  </a:cubicBezTo>
                  <a:cubicBezTo>
                    <a:pt x="274" y="1264"/>
                    <a:pt x="274" y="1264"/>
                    <a:pt x="274" y="1264"/>
                  </a:cubicBezTo>
                  <a:cubicBezTo>
                    <a:pt x="276" y="1262"/>
                    <a:pt x="276" y="1262"/>
                    <a:pt x="276" y="1262"/>
                  </a:cubicBezTo>
                  <a:cubicBezTo>
                    <a:pt x="276" y="1261"/>
                    <a:pt x="276" y="1261"/>
                    <a:pt x="276" y="1261"/>
                  </a:cubicBezTo>
                  <a:cubicBezTo>
                    <a:pt x="278" y="1258"/>
                    <a:pt x="278" y="1258"/>
                    <a:pt x="278" y="1258"/>
                  </a:cubicBezTo>
                  <a:cubicBezTo>
                    <a:pt x="278" y="1257"/>
                    <a:pt x="278" y="1257"/>
                    <a:pt x="278" y="1257"/>
                  </a:cubicBezTo>
                  <a:cubicBezTo>
                    <a:pt x="280" y="1256"/>
                    <a:pt x="280" y="1256"/>
                    <a:pt x="280" y="1256"/>
                  </a:cubicBezTo>
                  <a:cubicBezTo>
                    <a:pt x="281" y="1255"/>
                    <a:pt x="281" y="1255"/>
                    <a:pt x="281" y="1255"/>
                  </a:cubicBezTo>
                  <a:cubicBezTo>
                    <a:pt x="282" y="1252"/>
                    <a:pt x="282" y="1252"/>
                    <a:pt x="282" y="1252"/>
                  </a:cubicBezTo>
                  <a:cubicBezTo>
                    <a:pt x="284" y="1250"/>
                    <a:pt x="284" y="1250"/>
                    <a:pt x="284" y="1250"/>
                  </a:cubicBezTo>
                  <a:cubicBezTo>
                    <a:pt x="285" y="1249"/>
                    <a:pt x="285" y="1249"/>
                    <a:pt x="285" y="1249"/>
                  </a:cubicBezTo>
                  <a:cubicBezTo>
                    <a:pt x="286" y="1249"/>
                    <a:pt x="286" y="1249"/>
                    <a:pt x="286" y="1249"/>
                  </a:cubicBezTo>
                  <a:cubicBezTo>
                    <a:pt x="287" y="1248"/>
                    <a:pt x="287" y="1248"/>
                    <a:pt x="287" y="1248"/>
                  </a:cubicBezTo>
                  <a:cubicBezTo>
                    <a:pt x="287" y="1248"/>
                    <a:pt x="287" y="1248"/>
                    <a:pt x="287" y="1248"/>
                  </a:cubicBezTo>
                  <a:cubicBezTo>
                    <a:pt x="289" y="1243"/>
                    <a:pt x="289" y="1243"/>
                    <a:pt x="289" y="1243"/>
                  </a:cubicBezTo>
                  <a:cubicBezTo>
                    <a:pt x="290" y="1243"/>
                    <a:pt x="290" y="1243"/>
                    <a:pt x="290" y="1243"/>
                  </a:cubicBezTo>
                  <a:cubicBezTo>
                    <a:pt x="290" y="1242"/>
                    <a:pt x="290" y="1242"/>
                    <a:pt x="290" y="1242"/>
                  </a:cubicBezTo>
                  <a:cubicBezTo>
                    <a:pt x="290" y="1241"/>
                    <a:pt x="290" y="1241"/>
                    <a:pt x="290" y="1241"/>
                  </a:cubicBezTo>
                  <a:cubicBezTo>
                    <a:pt x="291" y="1241"/>
                    <a:pt x="291" y="1241"/>
                    <a:pt x="291" y="1241"/>
                  </a:cubicBezTo>
                  <a:cubicBezTo>
                    <a:pt x="291" y="1240"/>
                    <a:pt x="291" y="1240"/>
                    <a:pt x="291" y="1240"/>
                  </a:cubicBezTo>
                  <a:cubicBezTo>
                    <a:pt x="292" y="1239"/>
                    <a:pt x="292" y="1239"/>
                    <a:pt x="292" y="1239"/>
                  </a:cubicBezTo>
                  <a:cubicBezTo>
                    <a:pt x="293" y="1236"/>
                    <a:pt x="293" y="1236"/>
                    <a:pt x="293" y="1236"/>
                  </a:cubicBezTo>
                  <a:cubicBezTo>
                    <a:pt x="293" y="1236"/>
                    <a:pt x="293" y="1236"/>
                    <a:pt x="293" y="1236"/>
                  </a:cubicBezTo>
                  <a:cubicBezTo>
                    <a:pt x="294" y="1235"/>
                    <a:pt x="294" y="1235"/>
                    <a:pt x="294" y="1235"/>
                  </a:cubicBezTo>
                  <a:cubicBezTo>
                    <a:pt x="294" y="1235"/>
                    <a:pt x="294" y="1235"/>
                    <a:pt x="294" y="1235"/>
                  </a:cubicBezTo>
                  <a:cubicBezTo>
                    <a:pt x="297" y="1234"/>
                    <a:pt x="297" y="1234"/>
                    <a:pt x="297" y="1234"/>
                  </a:cubicBezTo>
                  <a:cubicBezTo>
                    <a:pt x="298" y="1234"/>
                    <a:pt x="298" y="1234"/>
                    <a:pt x="298" y="1234"/>
                  </a:cubicBezTo>
                  <a:cubicBezTo>
                    <a:pt x="298" y="1234"/>
                    <a:pt x="298" y="1234"/>
                    <a:pt x="298" y="1234"/>
                  </a:cubicBezTo>
                  <a:cubicBezTo>
                    <a:pt x="297" y="1236"/>
                    <a:pt x="297" y="1236"/>
                    <a:pt x="297" y="1236"/>
                  </a:cubicBezTo>
                  <a:cubicBezTo>
                    <a:pt x="296" y="1236"/>
                    <a:pt x="296" y="1236"/>
                    <a:pt x="296" y="1236"/>
                  </a:cubicBezTo>
                  <a:cubicBezTo>
                    <a:pt x="295" y="1236"/>
                    <a:pt x="295" y="1236"/>
                    <a:pt x="295" y="1236"/>
                  </a:cubicBezTo>
                  <a:cubicBezTo>
                    <a:pt x="294" y="1236"/>
                    <a:pt x="294" y="1236"/>
                    <a:pt x="294" y="1236"/>
                  </a:cubicBezTo>
                  <a:cubicBezTo>
                    <a:pt x="295" y="1237"/>
                    <a:pt x="295" y="1237"/>
                    <a:pt x="295" y="1237"/>
                  </a:cubicBezTo>
                  <a:cubicBezTo>
                    <a:pt x="296" y="1237"/>
                    <a:pt x="296" y="1237"/>
                    <a:pt x="296" y="1237"/>
                  </a:cubicBezTo>
                  <a:cubicBezTo>
                    <a:pt x="297" y="1237"/>
                    <a:pt x="297" y="1237"/>
                    <a:pt x="297" y="1237"/>
                  </a:cubicBezTo>
                  <a:cubicBezTo>
                    <a:pt x="297" y="1236"/>
                    <a:pt x="297" y="1236"/>
                    <a:pt x="297" y="1236"/>
                  </a:cubicBezTo>
                  <a:cubicBezTo>
                    <a:pt x="299" y="1234"/>
                    <a:pt x="299" y="1234"/>
                    <a:pt x="299" y="1234"/>
                  </a:cubicBezTo>
                  <a:cubicBezTo>
                    <a:pt x="300" y="1233"/>
                    <a:pt x="300" y="1233"/>
                    <a:pt x="300" y="1233"/>
                  </a:cubicBezTo>
                  <a:cubicBezTo>
                    <a:pt x="302" y="1232"/>
                    <a:pt x="302" y="1232"/>
                    <a:pt x="302" y="1232"/>
                  </a:cubicBezTo>
                  <a:cubicBezTo>
                    <a:pt x="302" y="1232"/>
                    <a:pt x="302" y="1232"/>
                    <a:pt x="302" y="1232"/>
                  </a:cubicBezTo>
                  <a:cubicBezTo>
                    <a:pt x="302" y="1231"/>
                    <a:pt x="302" y="1231"/>
                    <a:pt x="302" y="1231"/>
                  </a:cubicBezTo>
                  <a:cubicBezTo>
                    <a:pt x="302" y="1230"/>
                    <a:pt x="302" y="1230"/>
                    <a:pt x="302" y="1230"/>
                  </a:cubicBezTo>
                  <a:cubicBezTo>
                    <a:pt x="302" y="1230"/>
                    <a:pt x="302" y="1230"/>
                    <a:pt x="302" y="1230"/>
                  </a:cubicBezTo>
                  <a:cubicBezTo>
                    <a:pt x="301" y="1230"/>
                    <a:pt x="301" y="1230"/>
                    <a:pt x="301" y="1230"/>
                  </a:cubicBezTo>
                  <a:cubicBezTo>
                    <a:pt x="301" y="1229"/>
                    <a:pt x="301" y="1229"/>
                    <a:pt x="301" y="1229"/>
                  </a:cubicBezTo>
                  <a:cubicBezTo>
                    <a:pt x="300" y="1229"/>
                    <a:pt x="300" y="1229"/>
                    <a:pt x="300" y="1229"/>
                  </a:cubicBezTo>
                  <a:cubicBezTo>
                    <a:pt x="300" y="1228"/>
                    <a:pt x="300" y="1228"/>
                    <a:pt x="300" y="1228"/>
                  </a:cubicBezTo>
                  <a:cubicBezTo>
                    <a:pt x="299" y="1228"/>
                    <a:pt x="299" y="1228"/>
                    <a:pt x="299" y="1228"/>
                  </a:cubicBezTo>
                  <a:cubicBezTo>
                    <a:pt x="299" y="1228"/>
                    <a:pt x="299" y="1228"/>
                    <a:pt x="299" y="1228"/>
                  </a:cubicBezTo>
                  <a:cubicBezTo>
                    <a:pt x="299" y="1228"/>
                    <a:pt x="299" y="1228"/>
                    <a:pt x="299" y="1228"/>
                  </a:cubicBezTo>
                  <a:cubicBezTo>
                    <a:pt x="299" y="1229"/>
                    <a:pt x="299" y="1229"/>
                    <a:pt x="299" y="1229"/>
                  </a:cubicBezTo>
                  <a:cubicBezTo>
                    <a:pt x="299" y="1229"/>
                    <a:pt x="299" y="1229"/>
                    <a:pt x="299" y="1229"/>
                  </a:cubicBezTo>
                  <a:cubicBezTo>
                    <a:pt x="299" y="1229"/>
                    <a:pt x="299" y="1229"/>
                    <a:pt x="299" y="1229"/>
                  </a:cubicBezTo>
                  <a:cubicBezTo>
                    <a:pt x="298" y="1228"/>
                    <a:pt x="298" y="1228"/>
                    <a:pt x="298" y="1228"/>
                  </a:cubicBezTo>
                  <a:cubicBezTo>
                    <a:pt x="297" y="1228"/>
                    <a:pt x="297" y="1228"/>
                    <a:pt x="297" y="1228"/>
                  </a:cubicBezTo>
                  <a:cubicBezTo>
                    <a:pt x="298" y="1227"/>
                    <a:pt x="298" y="1227"/>
                    <a:pt x="298" y="1227"/>
                  </a:cubicBezTo>
                  <a:cubicBezTo>
                    <a:pt x="301" y="1224"/>
                    <a:pt x="301" y="1224"/>
                    <a:pt x="301" y="1224"/>
                  </a:cubicBezTo>
                  <a:cubicBezTo>
                    <a:pt x="303" y="1221"/>
                    <a:pt x="303" y="1221"/>
                    <a:pt x="303" y="1221"/>
                  </a:cubicBezTo>
                  <a:cubicBezTo>
                    <a:pt x="306" y="1218"/>
                    <a:pt x="306" y="1218"/>
                    <a:pt x="306" y="1218"/>
                  </a:cubicBezTo>
                  <a:cubicBezTo>
                    <a:pt x="307" y="1218"/>
                    <a:pt x="307" y="1218"/>
                    <a:pt x="307" y="1218"/>
                  </a:cubicBezTo>
                  <a:cubicBezTo>
                    <a:pt x="308" y="1217"/>
                    <a:pt x="308" y="1217"/>
                    <a:pt x="308" y="1217"/>
                  </a:cubicBezTo>
                  <a:cubicBezTo>
                    <a:pt x="309" y="1217"/>
                    <a:pt x="309" y="1217"/>
                    <a:pt x="309" y="1217"/>
                  </a:cubicBezTo>
                  <a:cubicBezTo>
                    <a:pt x="310" y="1217"/>
                    <a:pt x="310" y="1217"/>
                    <a:pt x="310" y="1217"/>
                  </a:cubicBezTo>
                  <a:cubicBezTo>
                    <a:pt x="311" y="1217"/>
                    <a:pt x="311" y="1217"/>
                    <a:pt x="311" y="1217"/>
                  </a:cubicBezTo>
                  <a:cubicBezTo>
                    <a:pt x="311" y="1217"/>
                    <a:pt x="311" y="1217"/>
                    <a:pt x="311" y="1217"/>
                  </a:cubicBezTo>
                  <a:cubicBezTo>
                    <a:pt x="312" y="1217"/>
                    <a:pt x="312" y="1217"/>
                    <a:pt x="312" y="1217"/>
                  </a:cubicBezTo>
                  <a:cubicBezTo>
                    <a:pt x="312" y="1217"/>
                    <a:pt x="312" y="1217"/>
                    <a:pt x="312" y="1217"/>
                  </a:cubicBezTo>
                  <a:cubicBezTo>
                    <a:pt x="312" y="1217"/>
                    <a:pt x="312" y="1217"/>
                    <a:pt x="312" y="1217"/>
                  </a:cubicBezTo>
                  <a:cubicBezTo>
                    <a:pt x="313" y="1216"/>
                    <a:pt x="313" y="1216"/>
                    <a:pt x="313" y="1216"/>
                  </a:cubicBezTo>
                  <a:cubicBezTo>
                    <a:pt x="313" y="1216"/>
                    <a:pt x="313" y="1216"/>
                    <a:pt x="313" y="1216"/>
                  </a:cubicBezTo>
                  <a:cubicBezTo>
                    <a:pt x="315" y="1215"/>
                    <a:pt x="315" y="1215"/>
                    <a:pt x="315" y="1215"/>
                  </a:cubicBezTo>
                  <a:cubicBezTo>
                    <a:pt x="322" y="1212"/>
                    <a:pt x="322" y="1212"/>
                    <a:pt x="322" y="1212"/>
                  </a:cubicBezTo>
                  <a:cubicBezTo>
                    <a:pt x="325" y="1212"/>
                    <a:pt x="325" y="1212"/>
                    <a:pt x="325" y="1212"/>
                  </a:cubicBezTo>
                  <a:cubicBezTo>
                    <a:pt x="331" y="1210"/>
                    <a:pt x="331" y="1210"/>
                    <a:pt x="331" y="1210"/>
                  </a:cubicBezTo>
                  <a:cubicBezTo>
                    <a:pt x="332" y="1210"/>
                    <a:pt x="332" y="1210"/>
                    <a:pt x="332" y="1210"/>
                  </a:cubicBezTo>
                  <a:cubicBezTo>
                    <a:pt x="332" y="1210"/>
                    <a:pt x="332" y="1210"/>
                    <a:pt x="332" y="1210"/>
                  </a:cubicBezTo>
                  <a:cubicBezTo>
                    <a:pt x="333" y="1210"/>
                    <a:pt x="333" y="1210"/>
                    <a:pt x="333" y="1210"/>
                  </a:cubicBezTo>
                  <a:cubicBezTo>
                    <a:pt x="334" y="1209"/>
                    <a:pt x="334" y="1209"/>
                    <a:pt x="334" y="1209"/>
                  </a:cubicBezTo>
                  <a:cubicBezTo>
                    <a:pt x="337" y="1209"/>
                    <a:pt x="337" y="1209"/>
                    <a:pt x="337" y="1209"/>
                  </a:cubicBezTo>
                  <a:cubicBezTo>
                    <a:pt x="338" y="1209"/>
                    <a:pt x="338" y="1209"/>
                    <a:pt x="338" y="1209"/>
                  </a:cubicBezTo>
                  <a:cubicBezTo>
                    <a:pt x="340" y="1208"/>
                    <a:pt x="340" y="1208"/>
                    <a:pt x="340" y="1208"/>
                  </a:cubicBezTo>
                  <a:cubicBezTo>
                    <a:pt x="341" y="1207"/>
                    <a:pt x="341" y="1207"/>
                    <a:pt x="341" y="1207"/>
                  </a:cubicBezTo>
                  <a:cubicBezTo>
                    <a:pt x="342" y="1206"/>
                    <a:pt x="342" y="1206"/>
                    <a:pt x="342" y="1206"/>
                  </a:cubicBezTo>
                  <a:cubicBezTo>
                    <a:pt x="343" y="1203"/>
                    <a:pt x="343" y="1203"/>
                    <a:pt x="343" y="1203"/>
                  </a:cubicBezTo>
                  <a:cubicBezTo>
                    <a:pt x="344" y="1202"/>
                    <a:pt x="344" y="1202"/>
                    <a:pt x="344" y="1202"/>
                  </a:cubicBezTo>
                  <a:cubicBezTo>
                    <a:pt x="345" y="1201"/>
                    <a:pt x="345" y="1201"/>
                    <a:pt x="345" y="1201"/>
                  </a:cubicBezTo>
                  <a:cubicBezTo>
                    <a:pt x="347" y="1200"/>
                    <a:pt x="347" y="1200"/>
                    <a:pt x="347" y="1200"/>
                  </a:cubicBezTo>
                  <a:cubicBezTo>
                    <a:pt x="349" y="1199"/>
                    <a:pt x="349" y="1199"/>
                    <a:pt x="349" y="1199"/>
                  </a:cubicBezTo>
                  <a:cubicBezTo>
                    <a:pt x="349" y="1199"/>
                    <a:pt x="349" y="1199"/>
                    <a:pt x="349" y="1199"/>
                  </a:cubicBezTo>
                  <a:cubicBezTo>
                    <a:pt x="356" y="1196"/>
                    <a:pt x="356" y="1196"/>
                    <a:pt x="356" y="1196"/>
                  </a:cubicBezTo>
                  <a:cubicBezTo>
                    <a:pt x="359" y="1194"/>
                    <a:pt x="359" y="1194"/>
                    <a:pt x="359" y="1194"/>
                  </a:cubicBezTo>
                  <a:cubicBezTo>
                    <a:pt x="360" y="1193"/>
                    <a:pt x="360" y="1193"/>
                    <a:pt x="360" y="1193"/>
                  </a:cubicBezTo>
                  <a:cubicBezTo>
                    <a:pt x="360" y="1193"/>
                    <a:pt x="360" y="1193"/>
                    <a:pt x="360" y="1193"/>
                  </a:cubicBezTo>
                  <a:cubicBezTo>
                    <a:pt x="360" y="1193"/>
                    <a:pt x="360" y="1193"/>
                    <a:pt x="360" y="1193"/>
                  </a:cubicBezTo>
                  <a:cubicBezTo>
                    <a:pt x="360" y="1193"/>
                    <a:pt x="360" y="1193"/>
                    <a:pt x="360" y="1193"/>
                  </a:cubicBezTo>
                  <a:cubicBezTo>
                    <a:pt x="360" y="1193"/>
                    <a:pt x="360" y="1193"/>
                    <a:pt x="360" y="1193"/>
                  </a:cubicBezTo>
                  <a:cubicBezTo>
                    <a:pt x="361" y="1192"/>
                    <a:pt x="361" y="1192"/>
                    <a:pt x="361" y="1192"/>
                  </a:cubicBezTo>
                  <a:cubicBezTo>
                    <a:pt x="361" y="1192"/>
                    <a:pt x="361" y="1192"/>
                    <a:pt x="361" y="1192"/>
                  </a:cubicBezTo>
                  <a:cubicBezTo>
                    <a:pt x="361" y="1192"/>
                    <a:pt x="361" y="1192"/>
                    <a:pt x="361" y="1192"/>
                  </a:cubicBezTo>
                  <a:cubicBezTo>
                    <a:pt x="362" y="1192"/>
                    <a:pt x="362" y="1192"/>
                    <a:pt x="362" y="1192"/>
                  </a:cubicBezTo>
                  <a:cubicBezTo>
                    <a:pt x="363" y="1192"/>
                    <a:pt x="363" y="1192"/>
                    <a:pt x="363" y="1192"/>
                  </a:cubicBezTo>
                  <a:cubicBezTo>
                    <a:pt x="364" y="1192"/>
                    <a:pt x="364" y="1192"/>
                    <a:pt x="364" y="1192"/>
                  </a:cubicBezTo>
                  <a:cubicBezTo>
                    <a:pt x="364" y="1191"/>
                    <a:pt x="364" y="1191"/>
                    <a:pt x="364" y="1191"/>
                  </a:cubicBezTo>
                  <a:cubicBezTo>
                    <a:pt x="367" y="1189"/>
                    <a:pt x="367" y="1189"/>
                    <a:pt x="367" y="1189"/>
                  </a:cubicBezTo>
                  <a:cubicBezTo>
                    <a:pt x="368" y="1188"/>
                    <a:pt x="368" y="1188"/>
                    <a:pt x="368" y="1188"/>
                  </a:cubicBezTo>
                  <a:cubicBezTo>
                    <a:pt x="368" y="1187"/>
                    <a:pt x="368" y="1187"/>
                    <a:pt x="368" y="1187"/>
                  </a:cubicBezTo>
                  <a:cubicBezTo>
                    <a:pt x="369" y="1186"/>
                    <a:pt x="369" y="1186"/>
                    <a:pt x="369" y="1186"/>
                  </a:cubicBezTo>
                  <a:cubicBezTo>
                    <a:pt x="370" y="1186"/>
                    <a:pt x="370" y="1186"/>
                    <a:pt x="370" y="1186"/>
                  </a:cubicBezTo>
                  <a:cubicBezTo>
                    <a:pt x="371" y="1185"/>
                    <a:pt x="371" y="1185"/>
                    <a:pt x="371" y="1185"/>
                  </a:cubicBezTo>
                  <a:cubicBezTo>
                    <a:pt x="372" y="1184"/>
                    <a:pt x="372" y="1184"/>
                    <a:pt x="372" y="1184"/>
                  </a:cubicBezTo>
                  <a:cubicBezTo>
                    <a:pt x="372" y="1184"/>
                    <a:pt x="372" y="1184"/>
                    <a:pt x="372" y="1184"/>
                  </a:cubicBezTo>
                  <a:cubicBezTo>
                    <a:pt x="373" y="1182"/>
                    <a:pt x="373" y="1182"/>
                    <a:pt x="373" y="1182"/>
                  </a:cubicBezTo>
                  <a:cubicBezTo>
                    <a:pt x="373" y="1181"/>
                    <a:pt x="373" y="1181"/>
                    <a:pt x="373" y="1181"/>
                  </a:cubicBezTo>
                  <a:cubicBezTo>
                    <a:pt x="373" y="1181"/>
                    <a:pt x="373" y="1181"/>
                    <a:pt x="373" y="1181"/>
                  </a:cubicBezTo>
                  <a:cubicBezTo>
                    <a:pt x="372" y="1181"/>
                    <a:pt x="372" y="1181"/>
                    <a:pt x="372" y="1181"/>
                  </a:cubicBezTo>
                  <a:cubicBezTo>
                    <a:pt x="372" y="1181"/>
                    <a:pt x="372" y="1181"/>
                    <a:pt x="372" y="1181"/>
                  </a:cubicBezTo>
                  <a:cubicBezTo>
                    <a:pt x="372" y="1180"/>
                    <a:pt x="372" y="1180"/>
                    <a:pt x="372" y="1180"/>
                  </a:cubicBezTo>
                  <a:cubicBezTo>
                    <a:pt x="372" y="1179"/>
                    <a:pt x="372" y="1179"/>
                    <a:pt x="372" y="1179"/>
                  </a:cubicBezTo>
                  <a:cubicBezTo>
                    <a:pt x="372" y="1179"/>
                    <a:pt x="372" y="1179"/>
                    <a:pt x="372" y="1179"/>
                  </a:cubicBezTo>
                  <a:cubicBezTo>
                    <a:pt x="372" y="1178"/>
                    <a:pt x="372" y="1178"/>
                    <a:pt x="372" y="1178"/>
                  </a:cubicBezTo>
                  <a:cubicBezTo>
                    <a:pt x="372" y="1178"/>
                    <a:pt x="372" y="1178"/>
                    <a:pt x="372" y="1178"/>
                  </a:cubicBezTo>
                  <a:cubicBezTo>
                    <a:pt x="372" y="1177"/>
                    <a:pt x="372" y="1177"/>
                    <a:pt x="372" y="1177"/>
                  </a:cubicBezTo>
                  <a:cubicBezTo>
                    <a:pt x="371" y="1176"/>
                    <a:pt x="371" y="1176"/>
                    <a:pt x="371" y="1176"/>
                  </a:cubicBezTo>
                  <a:cubicBezTo>
                    <a:pt x="371" y="1176"/>
                    <a:pt x="371" y="1176"/>
                    <a:pt x="371" y="1176"/>
                  </a:cubicBezTo>
                  <a:cubicBezTo>
                    <a:pt x="370" y="1175"/>
                    <a:pt x="370" y="1175"/>
                    <a:pt x="370" y="1175"/>
                  </a:cubicBezTo>
                  <a:cubicBezTo>
                    <a:pt x="369" y="1175"/>
                    <a:pt x="369" y="1175"/>
                    <a:pt x="369" y="1175"/>
                  </a:cubicBezTo>
                  <a:cubicBezTo>
                    <a:pt x="369" y="1174"/>
                    <a:pt x="369" y="1174"/>
                    <a:pt x="369" y="1174"/>
                  </a:cubicBezTo>
                  <a:cubicBezTo>
                    <a:pt x="369" y="1173"/>
                    <a:pt x="369" y="1173"/>
                    <a:pt x="369" y="1173"/>
                  </a:cubicBezTo>
                  <a:cubicBezTo>
                    <a:pt x="369" y="1171"/>
                    <a:pt x="369" y="1171"/>
                    <a:pt x="369" y="1171"/>
                  </a:cubicBezTo>
                  <a:cubicBezTo>
                    <a:pt x="370" y="1170"/>
                    <a:pt x="370" y="1170"/>
                    <a:pt x="370" y="1170"/>
                  </a:cubicBezTo>
                  <a:cubicBezTo>
                    <a:pt x="370" y="1170"/>
                    <a:pt x="370" y="1170"/>
                    <a:pt x="370" y="1170"/>
                  </a:cubicBezTo>
                  <a:cubicBezTo>
                    <a:pt x="371" y="1170"/>
                    <a:pt x="371" y="1170"/>
                    <a:pt x="371" y="1170"/>
                  </a:cubicBezTo>
                  <a:cubicBezTo>
                    <a:pt x="371" y="1170"/>
                    <a:pt x="371" y="1170"/>
                    <a:pt x="371" y="1170"/>
                  </a:cubicBezTo>
                  <a:cubicBezTo>
                    <a:pt x="372" y="1170"/>
                    <a:pt x="372" y="1170"/>
                    <a:pt x="372" y="1170"/>
                  </a:cubicBezTo>
                  <a:cubicBezTo>
                    <a:pt x="373" y="1170"/>
                    <a:pt x="373" y="1170"/>
                    <a:pt x="373" y="1170"/>
                  </a:cubicBezTo>
                  <a:cubicBezTo>
                    <a:pt x="374" y="1170"/>
                    <a:pt x="374" y="1170"/>
                    <a:pt x="374" y="1170"/>
                  </a:cubicBezTo>
                  <a:cubicBezTo>
                    <a:pt x="374" y="1170"/>
                    <a:pt x="374" y="1170"/>
                    <a:pt x="374" y="1170"/>
                  </a:cubicBezTo>
                  <a:cubicBezTo>
                    <a:pt x="374" y="1170"/>
                    <a:pt x="374" y="1170"/>
                    <a:pt x="374" y="1170"/>
                  </a:cubicBezTo>
                  <a:cubicBezTo>
                    <a:pt x="374" y="1169"/>
                    <a:pt x="374" y="1169"/>
                    <a:pt x="374" y="1169"/>
                  </a:cubicBezTo>
                  <a:cubicBezTo>
                    <a:pt x="374" y="1169"/>
                    <a:pt x="374" y="1169"/>
                    <a:pt x="374" y="1169"/>
                  </a:cubicBezTo>
                  <a:cubicBezTo>
                    <a:pt x="375" y="1169"/>
                    <a:pt x="375" y="1169"/>
                    <a:pt x="375" y="1169"/>
                  </a:cubicBezTo>
                  <a:cubicBezTo>
                    <a:pt x="375" y="1167"/>
                    <a:pt x="375" y="1167"/>
                    <a:pt x="375" y="1167"/>
                  </a:cubicBezTo>
                  <a:cubicBezTo>
                    <a:pt x="375" y="1167"/>
                    <a:pt x="375" y="1167"/>
                    <a:pt x="375" y="1167"/>
                  </a:cubicBezTo>
                  <a:cubicBezTo>
                    <a:pt x="374" y="1167"/>
                    <a:pt x="374" y="1167"/>
                    <a:pt x="374" y="1167"/>
                  </a:cubicBezTo>
                  <a:cubicBezTo>
                    <a:pt x="374" y="1167"/>
                    <a:pt x="374" y="1167"/>
                    <a:pt x="374" y="1167"/>
                  </a:cubicBezTo>
                  <a:cubicBezTo>
                    <a:pt x="374" y="1167"/>
                    <a:pt x="374" y="1167"/>
                    <a:pt x="374" y="1167"/>
                  </a:cubicBezTo>
                  <a:cubicBezTo>
                    <a:pt x="373" y="1166"/>
                    <a:pt x="373" y="1166"/>
                    <a:pt x="373" y="1166"/>
                  </a:cubicBezTo>
                  <a:cubicBezTo>
                    <a:pt x="373" y="1166"/>
                    <a:pt x="373" y="1166"/>
                    <a:pt x="373" y="1166"/>
                  </a:cubicBezTo>
                  <a:cubicBezTo>
                    <a:pt x="372" y="1166"/>
                    <a:pt x="372" y="1166"/>
                    <a:pt x="372" y="1166"/>
                  </a:cubicBezTo>
                  <a:cubicBezTo>
                    <a:pt x="371" y="1166"/>
                    <a:pt x="371" y="1166"/>
                    <a:pt x="371" y="1166"/>
                  </a:cubicBezTo>
                  <a:cubicBezTo>
                    <a:pt x="371" y="1166"/>
                    <a:pt x="371" y="1166"/>
                    <a:pt x="371" y="1166"/>
                  </a:cubicBezTo>
                  <a:cubicBezTo>
                    <a:pt x="371" y="1165"/>
                    <a:pt x="371" y="1165"/>
                    <a:pt x="371" y="1165"/>
                  </a:cubicBezTo>
                  <a:cubicBezTo>
                    <a:pt x="371" y="1164"/>
                    <a:pt x="371" y="1164"/>
                    <a:pt x="371" y="1164"/>
                  </a:cubicBezTo>
                  <a:cubicBezTo>
                    <a:pt x="371" y="1164"/>
                    <a:pt x="371" y="1164"/>
                    <a:pt x="371" y="1164"/>
                  </a:cubicBezTo>
                  <a:cubicBezTo>
                    <a:pt x="372" y="1164"/>
                    <a:pt x="372" y="1164"/>
                    <a:pt x="372" y="1164"/>
                  </a:cubicBezTo>
                  <a:cubicBezTo>
                    <a:pt x="373" y="1164"/>
                    <a:pt x="373" y="1164"/>
                    <a:pt x="373" y="1164"/>
                  </a:cubicBezTo>
                  <a:cubicBezTo>
                    <a:pt x="373" y="1164"/>
                    <a:pt x="373" y="1164"/>
                    <a:pt x="373" y="1164"/>
                  </a:cubicBezTo>
                  <a:cubicBezTo>
                    <a:pt x="373" y="1163"/>
                    <a:pt x="373" y="1163"/>
                    <a:pt x="373" y="1163"/>
                  </a:cubicBezTo>
                  <a:cubicBezTo>
                    <a:pt x="372" y="1162"/>
                    <a:pt x="372" y="1162"/>
                    <a:pt x="372" y="1162"/>
                  </a:cubicBezTo>
                  <a:cubicBezTo>
                    <a:pt x="372" y="1162"/>
                    <a:pt x="372" y="1162"/>
                    <a:pt x="372" y="1162"/>
                  </a:cubicBezTo>
                  <a:cubicBezTo>
                    <a:pt x="372" y="1161"/>
                    <a:pt x="372" y="1161"/>
                    <a:pt x="372" y="1161"/>
                  </a:cubicBezTo>
                  <a:cubicBezTo>
                    <a:pt x="372" y="1161"/>
                    <a:pt x="372" y="1161"/>
                    <a:pt x="372" y="1161"/>
                  </a:cubicBezTo>
                  <a:cubicBezTo>
                    <a:pt x="372" y="1160"/>
                    <a:pt x="372" y="1160"/>
                    <a:pt x="372" y="1160"/>
                  </a:cubicBezTo>
                  <a:cubicBezTo>
                    <a:pt x="372" y="1160"/>
                    <a:pt x="372" y="1160"/>
                    <a:pt x="372" y="1160"/>
                  </a:cubicBezTo>
                  <a:cubicBezTo>
                    <a:pt x="371" y="1160"/>
                    <a:pt x="371" y="1160"/>
                    <a:pt x="371" y="1160"/>
                  </a:cubicBezTo>
                  <a:cubicBezTo>
                    <a:pt x="370" y="1159"/>
                    <a:pt x="370" y="1159"/>
                    <a:pt x="370" y="1159"/>
                  </a:cubicBezTo>
                  <a:cubicBezTo>
                    <a:pt x="369" y="1159"/>
                    <a:pt x="369" y="1159"/>
                    <a:pt x="369" y="1159"/>
                  </a:cubicBezTo>
                  <a:cubicBezTo>
                    <a:pt x="369" y="1159"/>
                    <a:pt x="369" y="1159"/>
                    <a:pt x="369" y="1159"/>
                  </a:cubicBezTo>
                  <a:cubicBezTo>
                    <a:pt x="369" y="1157"/>
                    <a:pt x="369" y="1157"/>
                    <a:pt x="369" y="1157"/>
                  </a:cubicBezTo>
                  <a:cubicBezTo>
                    <a:pt x="369" y="1156"/>
                    <a:pt x="369" y="1156"/>
                    <a:pt x="369" y="1156"/>
                  </a:cubicBezTo>
                  <a:cubicBezTo>
                    <a:pt x="369" y="1154"/>
                    <a:pt x="369" y="1154"/>
                    <a:pt x="369" y="1154"/>
                  </a:cubicBezTo>
                  <a:cubicBezTo>
                    <a:pt x="369" y="1152"/>
                    <a:pt x="369" y="1152"/>
                    <a:pt x="369" y="1152"/>
                  </a:cubicBezTo>
                  <a:cubicBezTo>
                    <a:pt x="369" y="1151"/>
                    <a:pt x="369" y="1151"/>
                    <a:pt x="369" y="1151"/>
                  </a:cubicBezTo>
                  <a:cubicBezTo>
                    <a:pt x="369" y="1149"/>
                    <a:pt x="369" y="1149"/>
                    <a:pt x="369" y="1149"/>
                  </a:cubicBezTo>
                  <a:cubicBezTo>
                    <a:pt x="369" y="1147"/>
                    <a:pt x="369" y="1147"/>
                    <a:pt x="369" y="1147"/>
                  </a:cubicBezTo>
                  <a:cubicBezTo>
                    <a:pt x="369" y="1144"/>
                    <a:pt x="369" y="1144"/>
                    <a:pt x="369" y="1144"/>
                  </a:cubicBezTo>
                  <a:cubicBezTo>
                    <a:pt x="369" y="1144"/>
                    <a:pt x="369" y="1144"/>
                    <a:pt x="369" y="1144"/>
                  </a:cubicBezTo>
                  <a:cubicBezTo>
                    <a:pt x="369" y="1143"/>
                    <a:pt x="369" y="1143"/>
                    <a:pt x="369" y="1143"/>
                  </a:cubicBezTo>
                  <a:cubicBezTo>
                    <a:pt x="369" y="1143"/>
                    <a:pt x="369" y="1143"/>
                    <a:pt x="369" y="1143"/>
                  </a:cubicBezTo>
                  <a:cubicBezTo>
                    <a:pt x="369" y="1142"/>
                    <a:pt x="369" y="1142"/>
                    <a:pt x="369" y="1142"/>
                  </a:cubicBezTo>
                  <a:cubicBezTo>
                    <a:pt x="369" y="1141"/>
                    <a:pt x="369" y="1141"/>
                    <a:pt x="369" y="1141"/>
                  </a:cubicBezTo>
                  <a:cubicBezTo>
                    <a:pt x="369" y="1140"/>
                    <a:pt x="369" y="1140"/>
                    <a:pt x="369" y="1140"/>
                  </a:cubicBezTo>
                  <a:cubicBezTo>
                    <a:pt x="370" y="1140"/>
                    <a:pt x="370" y="1140"/>
                    <a:pt x="370" y="1140"/>
                  </a:cubicBezTo>
                  <a:cubicBezTo>
                    <a:pt x="370" y="1138"/>
                    <a:pt x="370" y="1138"/>
                    <a:pt x="370" y="1138"/>
                  </a:cubicBezTo>
                  <a:cubicBezTo>
                    <a:pt x="370" y="1138"/>
                    <a:pt x="370" y="1138"/>
                    <a:pt x="370" y="1138"/>
                  </a:cubicBezTo>
                  <a:cubicBezTo>
                    <a:pt x="371" y="1137"/>
                    <a:pt x="371" y="1137"/>
                    <a:pt x="371" y="1137"/>
                  </a:cubicBezTo>
                  <a:cubicBezTo>
                    <a:pt x="371" y="1136"/>
                    <a:pt x="371" y="1136"/>
                    <a:pt x="371" y="1136"/>
                  </a:cubicBezTo>
                  <a:cubicBezTo>
                    <a:pt x="371" y="1136"/>
                    <a:pt x="371" y="1136"/>
                    <a:pt x="371" y="1136"/>
                  </a:cubicBezTo>
                  <a:cubicBezTo>
                    <a:pt x="372" y="1135"/>
                    <a:pt x="372" y="1135"/>
                    <a:pt x="372" y="1135"/>
                  </a:cubicBezTo>
                  <a:cubicBezTo>
                    <a:pt x="372" y="1134"/>
                    <a:pt x="372" y="1134"/>
                    <a:pt x="372" y="1134"/>
                  </a:cubicBezTo>
                  <a:cubicBezTo>
                    <a:pt x="373" y="1134"/>
                    <a:pt x="373" y="1134"/>
                    <a:pt x="373" y="1134"/>
                  </a:cubicBezTo>
                  <a:cubicBezTo>
                    <a:pt x="373" y="1134"/>
                    <a:pt x="373" y="1134"/>
                    <a:pt x="373" y="1134"/>
                  </a:cubicBezTo>
                  <a:cubicBezTo>
                    <a:pt x="374" y="1133"/>
                    <a:pt x="374" y="1133"/>
                    <a:pt x="374" y="1133"/>
                  </a:cubicBezTo>
                  <a:cubicBezTo>
                    <a:pt x="374" y="1133"/>
                    <a:pt x="374" y="1133"/>
                    <a:pt x="374" y="1133"/>
                  </a:cubicBezTo>
                  <a:cubicBezTo>
                    <a:pt x="374" y="1132"/>
                    <a:pt x="374" y="1132"/>
                    <a:pt x="374" y="1132"/>
                  </a:cubicBezTo>
                  <a:cubicBezTo>
                    <a:pt x="375" y="1132"/>
                    <a:pt x="375" y="1132"/>
                    <a:pt x="375" y="1132"/>
                  </a:cubicBezTo>
                  <a:cubicBezTo>
                    <a:pt x="377" y="1130"/>
                    <a:pt x="377" y="1130"/>
                    <a:pt x="377" y="1130"/>
                  </a:cubicBezTo>
                  <a:cubicBezTo>
                    <a:pt x="379" y="1129"/>
                    <a:pt x="379" y="1129"/>
                    <a:pt x="379" y="1129"/>
                  </a:cubicBezTo>
                  <a:cubicBezTo>
                    <a:pt x="380" y="1129"/>
                    <a:pt x="380" y="1129"/>
                    <a:pt x="380" y="1129"/>
                  </a:cubicBezTo>
                  <a:cubicBezTo>
                    <a:pt x="381" y="1129"/>
                    <a:pt x="381" y="1129"/>
                    <a:pt x="381" y="1129"/>
                  </a:cubicBezTo>
                  <a:cubicBezTo>
                    <a:pt x="382" y="1130"/>
                    <a:pt x="382" y="1130"/>
                    <a:pt x="382" y="1130"/>
                  </a:cubicBezTo>
                  <a:cubicBezTo>
                    <a:pt x="383" y="1129"/>
                    <a:pt x="383" y="1129"/>
                    <a:pt x="383" y="1129"/>
                  </a:cubicBezTo>
                  <a:cubicBezTo>
                    <a:pt x="385" y="1126"/>
                    <a:pt x="385" y="1126"/>
                    <a:pt x="385" y="1126"/>
                  </a:cubicBezTo>
                  <a:cubicBezTo>
                    <a:pt x="386" y="1125"/>
                    <a:pt x="386" y="1125"/>
                    <a:pt x="386" y="1125"/>
                  </a:cubicBezTo>
                  <a:cubicBezTo>
                    <a:pt x="390" y="1124"/>
                    <a:pt x="390" y="1124"/>
                    <a:pt x="390" y="1124"/>
                  </a:cubicBezTo>
                  <a:cubicBezTo>
                    <a:pt x="396" y="1119"/>
                    <a:pt x="396" y="1119"/>
                    <a:pt x="396" y="1119"/>
                  </a:cubicBezTo>
                  <a:cubicBezTo>
                    <a:pt x="396" y="1119"/>
                    <a:pt x="396" y="1119"/>
                    <a:pt x="396" y="1119"/>
                  </a:cubicBezTo>
                  <a:cubicBezTo>
                    <a:pt x="397" y="1118"/>
                    <a:pt x="397" y="1118"/>
                    <a:pt x="397" y="1118"/>
                  </a:cubicBezTo>
                  <a:cubicBezTo>
                    <a:pt x="399" y="1118"/>
                    <a:pt x="399" y="1118"/>
                    <a:pt x="399" y="1118"/>
                  </a:cubicBezTo>
                  <a:cubicBezTo>
                    <a:pt x="401" y="1118"/>
                    <a:pt x="401" y="1118"/>
                    <a:pt x="401" y="1118"/>
                  </a:cubicBezTo>
                  <a:cubicBezTo>
                    <a:pt x="402" y="1119"/>
                    <a:pt x="402" y="1119"/>
                    <a:pt x="402" y="1119"/>
                  </a:cubicBezTo>
                  <a:cubicBezTo>
                    <a:pt x="402" y="1119"/>
                    <a:pt x="402" y="1119"/>
                    <a:pt x="402" y="1119"/>
                  </a:cubicBezTo>
                  <a:cubicBezTo>
                    <a:pt x="401" y="1120"/>
                    <a:pt x="401" y="1120"/>
                    <a:pt x="401" y="1120"/>
                  </a:cubicBezTo>
                  <a:cubicBezTo>
                    <a:pt x="402" y="1121"/>
                    <a:pt x="402" y="1121"/>
                    <a:pt x="402" y="1121"/>
                  </a:cubicBezTo>
                  <a:cubicBezTo>
                    <a:pt x="402" y="1121"/>
                    <a:pt x="402" y="1121"/>
                    <a:pt x="402" y="1121"/>
                  </a:cubicBezTo>
                  <a:cubicBezTo>
                    <a:pt x="403" y="1122"/>
                    <a:pt x="403" y="1122"/>
                    <a:pt x="403" y="1122"/>
                  </a:cubicBezTo>
                  <a:cubicBezTo>
                    <a:pt x="404" y="1122"/>
                    <a:pt x="404" y="1122"/>
                    <a:pt x="404" y="1122"/>
                  </a:cubicBezTo>
                  <a:cubicBezTo>
                    <a:pt x="410" y="1122"/>
                    <a:pt x="410" y="1122"/>
                    <a:pt x="410" y="1122"/>
                  </a:cubicBezTo>
                  <a:cubicBezTo>
                    <a:pt x="413" y="1122"/>
                    <a:pt x="413" y="1122"/>
                    <a:pt x="413" y="1122"/>
                  </a:cubicBezTo>
                  <a:cubicBezTo>
                    <a:pt x="414" y="1123"/>
                    <a:pt x="414" y="1123"/>
                    <a:pt x="414" y="1123"/>
                  </a:cubicBezTo>
                  <a:cubicBezTo>
                    <a:pt x="415" y="1123"/>
                    <a:pt x="415" y="1123"/>
                    <a:pt x="415" y="1123"/>
                  </a:cubicBezTo>
                  <a:cubicBezTo>
                    <a:pt x="415" y="1124"/>
                    <a:pt x="415" y="1124"/>
                    <a:pt x="415" y="1124"/>
                  </a:cubicBezTo>
                  <a:cubicBezTo>
                    <a:pt x="415" y="1124"/>
                    <a:pt x="415" y="1124"/>
                    <a:pt x="415" y="1124"/>
                  </a:cubicBezTo>
                  <a:cubicBezTo>
                    <a:pt x="414" y="1125"/>
                    <a:pt x="414" y="1125"/>
                    <a:pt x="414" y="1125"/>
                  </a:cubicBezTo>
                  <a:cubicBezTo>
                    <a:pt x="414" y="1126"/>
                    <a:pt x="414" y="1126"/>
                    <a:pt x="414" y="1126"/>
                  </a:cubicBezTo>
                  <a:cubicBezTo>
                    <a:pt x="415" y="1126"/>
                    <a:pt x="415" y="1126"/>
                    <a:pt x="415" y="1126"/>
                  </a:cubicBezTo>
                  <a:cubicBezTo>
                    <a:pt x="417" y="1127"/>
                    <a:pt x="417" y="1127"/>
                    <a:pt x="417" y="1127"/>
                  </a:cubicBezTo>
                  <a:cubicBezTo>
                    <a:pt x="421" y="1127"/>
                    <a:pt x="421" y="1127"/>
                    <a:pt x="421" y="1127"/>
                  </a:cubicBezTo>
                  <a:cubicBezTo>
                    <a:pt x="422" y="1127"/>
                    <a:pt x="422" y="1127"/>
                    <a:pt x="422" y="1127"/>
                  </a:cubicBezTo>
                  <a:cubicBezTo>
                    <a:pt x="422" y="1126"/>
                    <a:pt x="422" y="1126"/>
                    <a:pt x="422" y="1126"/>
                  </a:cubicBezTo>
                  <a:cubicBezTo>
                    <a:pt x="422" y="1125"/>
                    <a:pt x="422" y="1125"/>
                    <a:pt x="422" y="1125"/>
                  </a:cubicBezTo>
                  <a:cubicBezTo>
                    <a:pt x="421" y="1124"/>
                    <a:pt x="421" y="1124"/>
                    <a:pt x="421" y="1124"/>
                  </a:cubicBezTo>
                  <a:cubicBezTo>
                    <a:pt x="420" y="1123"/>
                    <a:pt x="420" y="1123"/>
                    <a:pt x="420" y="1123"/>
                  </a:cubicBezTo>
                  <a:cubicBezTo>
                    <a:pt x="419" y="1122"/>
                    <a:pt x="419" y="1122"/>
                    <a:pt x="419" y="1122"/>
                  </a:cubicBezTo>
                  <a:cubicBezTo>
                    <a:pt x="419" y="1119"/>
                    <a:pt x="419" y="1119"/>
                    <a:pt x="419" y="1119"/>
                  </a:cubicBezTo>
                  <a:cubicBezTo>
                    <a:pt x="419" y="1119"/>
                    <a:pt x="419" y="1119"/>
                    <a:pt x="419" y="1119"/>
                  </a:cubicBezTo>
                  <a:cubicBezTo>
                    <a:pt x="418" y="1117"/>
                    <a:pt x="418" y="1117"/>
                    <a:pt x="418" y="1117"/>
                  </a:cubicBezTo>
                  <a:cubicBezTo>
                    <a:pt x="418" y="1117"/>
                    <a:pt x="418" y="1117"/>
                    <a:pt x="418" y="1117"/>
                  </a:cubicBezTo>
                  <a:cubicBezTo>
                    <a:pt x="419" y="1117"/>
                    <a:pt x="419" y="1117"/>
                    <a:pt x="419" y="1117"/>
                  </a:cubicBezTo>
                  <a:cubicBezTo>
                    <a:pt x="419" y="1118"/>
                    <a:pt x="419" y="1118"/>
                    <a:pt x="419" y="1118"/>
                  </a:cubicBezTo>
                  <a:cubicBezTo>
                    <a:pt x="420" y="1119"/>
                    <a:pt x="420" y="1119"/>
                    <a:pt x="420" y="1119"/>
                  </a:cubicBezTo>
                  <a:cubicBezTo>
                    <a:pt x="420" y="1119"/>
                    <a:pt x="420" y="1119"/>
                    <a:pt x="420" y="1119"/>
                  </a:cubicBezTo>
                  <a:cubicBezTo>
                    <a:pt x="420" y="1120"/>
                    <a:pt x="420" y="1120"/>
                    <a:pt x="420" y="1120"/>
                  </a:cubicBezTo>
                  <a:cubicBezTo>
                    <a:pt x="420" y="1122"/>
                    <a:pt x="420" y="1122"/>
                    <a:pt x="420" y="1122"/>
                  </a:cubicBezTo>
                  <a:cubicBezTo>
                    <a:pt x="420" y="1123"/>
                    <a:pt x="420" y="1123"/>
                    <a:pt x="420" y="1123"/>
                  </a:cubicBezTo>
                  <a:cubicBezTo>
                    <a:pt x="421" y="1124"/>
                    <a:pt x="421" y="1124"/>
                    <a:pt x="421" y="1124"/>
                  </a:cubicBezTo>
                  <a:cubicBezTo>
                    <a:pt x="423" y="1125"/>
                    <a:pt x="423" y="1125"/>
                    <a:pt x="423" y="1125"/>
                  </a:cubicBezTo>
                  <a:cubicBezTo>
                    <a:pt x="423" y="1126"/>
                    <a:pt x="423" y="1126"/>
                    <a:pt x="423" y="1126"/>
                  </a:cubicBezTo>
                  <a:cubicBezTo>
                    <a:pt x="423" y="1127"/>
                    <a:pt x="423" y="1127"/>
                    <a:pt x="423" y="1127"/>
                  </a:cubicBezTo>
                  <a:cubicBezTo>
                    <a:pt x="424" y="1126"/>
                    <a:pt x="424" y="1126"/>
                    <a:pt x="424" y="1126"/>
                  </a:cubicBezTo>
                  <a:cubicBezTo>
                    <a:pt x="425" y="1126"/>
                    <a:pt x="425" y="1126"/>
                    <a:pt x="425" y="1126"/>
                  </a:cubicBezTo>
                  <a:cubicBezTo>
                    <a:pt x="424" y="1126"/>
                    <a:pt x="424" y="1126"/>
                    <a:pt x="424" y="1126"/>
                  </a:cubicBezTo>
                  <a:cubicBezTo>
                    <a:pt x="424" y="1125"/>
                    <a:pt x="424" y="1125"/>
                    <a:pt x="424" y="1125"/>
                  </a:cubicBezTo>
                  <a:cubicBezTo>
                    <a:pt x="423" y="1124"/>
                    <a:pt x="423" y="1124"/>
                    <a:pt x="423" y="1124"/>
                  </a:cubicBezTo>
                  <a:cubicBezTo>
                    <a:pt x="423" y="1124"/>
                    <a:pt x="423" y="1124"/>
                    <a:pt x="423" y="1124"/>
                  </a:cubicBezTo>
                  <a:cubicBezTo>
                    <a:pt x="423" y="1124"/>
                    <a:pt x="423" y="1124"/>
                    <a:pt x="423" y="1124"/>
                  </a:cubicBezTo>
                  <a:cubicBezTo>
                    <a:pt x="424" y="1124"/>
                    <a:pt x="424" y="1124"/>
                    <a:pt x="424" y="1124"/>
                  </a:cubicBezTo>
                  <a:cubicBezTo>
                    <a:pt x="424" y="1123"/>
                    <a:pt x="424" y="1123"/>
                    <a:pt x="424" y="1123"/>
                  </a:cubicBezTo>
                  <a:cubicBezTo>
                    <a:pt x="425" y="1123"/>
                    <a:pt x="425" y="1123"/>
                    <a:pt x="425" y="1123"/>
                  </a:cubicBezTo>
                  <a:cubicBezTo>
                    <a:pt x="425" y="1123"/>
                    <a:pt x="425" y="1123"/>
                    <a:pt x="425" y="1123"/>
                  </a:cubicBezTo>
                  <a:cubicBezTo>
                    <a:pt x="427" y="1124"/>
                    <a:pt x="427" y="1124"/>
                    <a:pt x="427" y="1124"/>
                  </a:cubicBezTo>
                  <a:cubicBezTo>
                    <a:pt x="428" y="1124"/>
                    <a:pt x="428" y="1124"/>
                    <a:pt x="428" y="1124"/>
                  </a:cubicBezTo>
                  <a:cubicBezTo>
                    <a:pt x="428" y="1124"/>
                    <a:pt x="428" y="1124"/>
                    <a:pt x="428" y="1124"/>
                  </a:cubicBezTo>
                  <a:cubicBezTo>
                    <a:pt x="429" y="1123"/>
                    <a:pt x="429" y="1123"/>
                    <a:pt x="429" y="1123"/>
                  </a:cubicBezTo>
                  <a:cubicBezTo>
                    <a:pt x="429" y="1122"/>
                    <a:pt x="429" y="1122"/>
                    <a:pt x="429" y="1122"/>
                  </a:cubicBezTo>
                  <a:cubicBezTo>
                    <a:pt x="429" y="1121"/>
                    <a:pt x="429" y="1121"/>
                    <a:pt x="429" y="1121"/>
                  </a:cubicBezTo>
                  <a:cubicBezTo>
                    <a:pt x="429" y="1121"/>
                    <a:pt x="429" y="1121"/>
                    <a:pt x="429" y="1121"/>
                  </a:cubicBezTo>
                  <a:cubicBezTo>
                    <a:pt x="428" y="1121"/>
                    <a:pt x="428" y="1121"/>
                    <a:pt x="428" y="1121"/>
                  </a:cubicBezTo>
                  <a:cubicBezTo>
                    <a:pt x="428" y="1120"/>
                    <a:pt x="428" y="1120"/>
                    <a:pt x="428" y="1120"/>
                  </a:cubicBezTo>
                  <a:cubicBezTo>
                    <a:pt x="428" y="1120"/>
                    <a:pt x="428" y="1120"/>
                    <a:pt x="428" y="1120"/>
                  </a:cubicBezTo>
                  <a:cubicBezTo>
                    <a:pt x="428" y="1119"/>
                    <a:pt x="428" y="1119"/>
                    <a:pt x="428" y="1119"/>
                  </a:cubicBezTo>
                  <a:cubicBezTo>
                    <a:pt x="428" y="1119"/>
                    <a:pt x="428" y="1119"/>
                    <a:pt x="428" y="1119"/>
                  </a:cubicBezTo>
                  <a:cubicBezTo>
                    <a:pt x="428" y="1118"/>
                    <a:pt x="428" y="1118"/>
                    <a:pt x="428" y="1118"/>
                  </a:cubicBezTo>
                  <a:cubicBezTo>
                    <a:pt x="428" y="1118"/>
                    <a:pt x="428" y="1118"/>
                    <a:pt x="428" y="1118"/>
                  </a:cubicBezTo>
                  <a:cubicBezTo>
                    <a:pt x="429" y="1118"/>
                    <a:pt x="429" y="1118"/>
                    <a:pt x="429" y="1118"/>
                  </a:cubicBezTo>
                  <a:cubicBezTo>
                    <a:pt x="429" y="1119"/>
                    <a:pt x="429" y="1119"/>
                    <a:pt x="429" y="1119"/>
                  </a:cubicBezTo>
                  <a:cubicBezTo>
                    <a:pt x="429" y="1119"/>
                    <a:pt x="429" y="1119"/>
                    <a:pt x="429" y="1119"/>
                  </a:cubicBezTo>
                  <a:cubicBezTo>
                    <a:pt x="430" y="1119"/>
                    <a:pt x="430" y="1119"/>
                    <a:pt x="430" y="1119"/>
                  </a:cubicBezTo>
                  <a:cubicBezTo>
                    <a:pt x="430" y="1119"/>
                    <a:pt x="430" y="1119"/>
                    <a:pt x="430" y="1119"/>
                  </a:cubicBezTo>
                  <a:cubicBezTo>
                    <a:pt x="431" y="1119"/>
                    <a:pt x="431" y="1119"/>
                    <a:pt x="431" y="1119"/>
                  </a:cubicBezTo>
                  <a:cubicBezTo>
                    <a:pt x="431" y="1119"/>
                    <a:pt x="431" y="1119"/>
                    <a:pt x="431" y="1119"/>
                  </a:cubicBezTo>
                  <a:cubicBezTo>
                    <a:pt x="431" y="1119"/>
                    <a:pt x="431" y="1119"/>
                    <a:pt x="431" y="1119"/>
                  </a:cubicBezTo>
                  <a:cubicBezTo>
                    <a:pt x="431" y="1120"/>
                    <a:pt x="431" y="1120"/>
                    <a:pt x="431" y="1120"/>
                  </a:cubicBezTo>
                  <a:cubicBezTo>
                    <a:pt x="432" y="1121"/>
                    <a:pt x="432" y="1121"/>
                    <a:pt x="432" y="1121"/>
                  </a:cubicBezTo>
                  <a:cubicBezTo>
                    <a:pt x="433" y="1121"/>
                    <a:pt x="433" y="1121"/>
                    <a:pt x="433" y="1121"/>
                  </a:cubicBezTo>
                  <a:cubicBezTo>
                    <a:pt x="433" y="1121"/>
                    <a:pt x="433" y="1121"/>
                    <a:pt x="433" y="1121"/>
                  </a:cubicBezTo>
                  <a:cubicBezTo>
                    <a:pt x="434" y="1120"/>
                    <a:pt x="434" y="1120"/>
                    <a:pt x="434" y="1120"/>
                  </a:cubicBezTo>
                  <a:cubicBezTo>
                    <a:pt x="434" y="1121"/>
                    <a:pt x="434" y="1121"/>
                    <a:pt x="434" y="1121"/>
                  </a:cubicBezTo>
                  <a:cubicBezTo>
                    <a:pt x="434" y="1122"/>
                    <a:pt x="434" y="1122"/>
                    <a:pt x="434" y="1122"/>
                  </a:cubicBezTo>
                  <a:cubicBezTo>
                    <a:pt x="433" y="1123"/>
                    <a:pt x="433" y="1123"/>
                    <a:pt x="433" y="1123"/>
                  </a:cubicBezTo>
                  <a:cubicBezTo>
                    <a:pt x="433" y="1123"/>
                    <a:pt x="433" y="1123"/>
                    <a:pt x="433" y="1123"/>
                  </a:cubicBezTo>
                  <a:cubicBezTo>
                    <a:pt x="432" y="1123"/>
                    <a:pt x="432" y="1123"/>
                    <a:pt x="432" y="1123"/>
                  </a:cubicBezTo>
                  <a:cubicBezTo>
                    <a:pt x="429" y="1123"/>
                    <a:pt x="429" y="1123"/>
                    <a:pt x="429" y="1123"/>
                  </a:cubicBezTo>
                  <a:cubicBezTo>
                    <a:pt x="428" y="1124"/>
                    <a:pt x="428" y="1124"/>
                    <a:pt x="428" y="1124"/>
                  </a:cubicBezTo>
                  <a:cubicBezTo>
                    <a:pt x="428" y="1125"/>
                    <a:pt x="428" y="1125"/>
                    <a:pt x="428" y="1125"/>
                  </a:cubicBezTo>
                  <a:cubicBezTo>
                    <a:pt x="428" y="1126"/>
                    <a:pt x="428" y="1126"/>
                    <a:pt x="428" y="1126"/>
                  </a:cubicBezTo>
                  <a:cubicBezTo>
                    <a:pt x="429" y="1127"/>
                    <a:pt x="429" y="1127"/>
                    <a:pt x="429" y="1127"/>
                  </a:cubicBezTo>
                  <a:cubicBezTo>
                    <a:pt x="430" y="1127"/>
                    <a:pt x="430" y="1127"/>
                    <a:pt x="430" y="1127"/>
                  </a:cubicBezTo>
                  <a:cubicBezTo>
                    <a:pt x="431" y="1127"/>
                    <a:pt x="431" y="1127"/>
                    <a:pt x="431" y="1127"/>
                  </a:cubicBezTo>
                  <a:cubicBezTo>
                    <a:pt x="432" y="1127"/>
                    <a:pt x="432" y="1127"/>
                    <a:pt x="432" y="1127"/>
                  </a:cubicBezTo>
                  <a:cubicBezTo>
                    <a:pt x="435" y="1127"/>
                    <a:pt x="435" y="1127"/>
                    <a:pt x="435" y="1127"/>
                  </a:cubicBezTo>
                  <a:cubicBezTo>
                    <a:pt x="436" y="1126"/>
                    <a:pt x="436" y="1126"/>
                    <a:pt x="436" y="1126"/>
                  </a:cubicBezTo>
                  <a:cubicBezTo>
                    <a:pt x="438" y="1127"/>
                    <a:pt x="438" y="1127"/>
                    <a:pt x="438" y="1127"/>
                  </a:cubicBezTo>
                  <a:cubicBezTo>
                    <a:pt x="438" y="1129"/>
                    <a:pt x="438" y="1129"/>
                    <a:pt x="438" y="1129"/>
                  </a:cubicBezTo>
                  <a:cubicBezTo>
                    <a:pt x="438" y="1129"/>
                    <a:pt x="438" y="1129"/>
                    <a:pt x="438" y="1129"/>
                  </a:cubicBezTo>
                  <a:cubicBezTo>
                    <a:pt x="438" y="1129"/>
                    <a:pt x="438" y="1129"/>
                    <a:pt x="438" y="1129"/>
                  </a:cubicBezTo>
                  <a:cubicBezTo>
                    <a:pt x="439" y="1130"/>
                    <a:pt x="439" y="1130"/>
                    <a:pt x="439" y="1130"/>
                  </a:cubicBezTo>
                  <a:cubicBezTo>
                    <a:pt x="438" y="1130"/>
                    <a:pt x="438" y="1130"/>
                    <a:pt x="438" y="1130"/>
                  </a:cubicBezTo>
                  <a:cubicBezTo>
                    <a:pt x="438" y="1131"/>
                    <a:pt x="438" y="1131"/>
                    <a:pt x="438" y="1131"/>
                  </a:cubicBezTo>
                  <a:cubicBezTo>
                    <a:pt x="438" y="1131"/>
                    <a:pt x="438" y="1131"/>
                    <a:pt x="438" y="1131"/>
                  </a:cubicBezTo>
                  <a:cubicBezTo>
                    <a:pt x="438" y="1132"/>
                    <a:pt x="438" y="1132"/>
                    <a:pt x="438" y="1132"/>
                  </a:cubicBezTo>
                  <a:cubicBezTo>
                    <a:pt x="439" y="1132"/>
                    <a:pt x="439" y="1132"/>
                    <a:pt x="439" y="1132"/>
                  </a:cubicBezTo>
                  <a:cubicBezTo>
                    <a:pt x="439" y="1132"/>
                    <a:pt x="439" y="1132"/>
                    <a:pt x="439" y="1132"/>
                  </a:cubicBezTo>
                  <a:cubicBezTo>
                    <a:pt x="440" y="1132"/>
                    <a:pt x="440" y="1132"/>
                    <a:pt x="440" y="1132"/>
                  </a:cubicBezTo>
                  <a:cubicBezTo>
                    <a:pt x="441" y="1132"/>
                    <a:pt x="441" y="1132"/>
                    <a:pt x="441" y="1132"/>
                  </a:cubicBezTo>
                  <a:cubicBezTo>
                    <a:pt x="441" y="1132"/>
                    <a:pt x="441" y="1132"/>
                    <a:pt x="441" y="1132"/>
                  </a:cubicBezTo>
                  <a:cubicBezTo>
                    <a:pt x="443" y="1132"/>
                    <a:pt x="443" y="1132"/>
                    <a:pt x="443" y="1132"/>
                  </a:cubicBezTo>
                  <a:cubicBezTo>
                    <a:pt x="443" y="1132"/>
                    <a:pt x="443" y="1132"/>
                    <a:pt x="443" y="1132"/>
                  </a:cubicBezTo>
                  <a:cubicBezTo>
                    <a:pt x="443" y="1132"/>
                    <a:pt x="443" y="1132"/>
                    <a:pt x="443" y="1132"/>
                  </a:cubicBezTo>
                  <a:cubicBezTo>
                    <a:pt x="444" y="1132"/>
                    <a:pt x="444" y="1132"/>
                    <a:pt x="444" y="1132"/>
                  </a:cubicBezTo>
                  <a:cubicBezTo>
                    <a:pt x="444" y="1133"/>
                    <a:pt x="444" y="1133"/>
                    <a:pt x="444" y="1133"/>
                  </a:cubicBezTo>
                  <a:cubicBezTo>
                    <a:pt x="444" y="1133"/>
                    <a:pt x="444" y="1133"/>
                    <a:pt x="444" y="1133"/>
                  </a:cubicBezTo>
                  <a:cubicBezTo>
                    <a:pt x="445" y="1134"/>
                    <a:pt x="445" y="1134"/>
                    <a:pt x="445" y="1134"/>
                  </a:cubicBezTo>
                  <a:cubicBezTo>
                    <a:pt x="445" y="1134"/>
                    <a:pt x="445" y="1134"/>
                    <a:pt x="445" y="1134"/>
                  </a:cubicBezTo>
                  <a:cubicBezTo>
                    <a:pt x="446" y="1134"/>
                    <a:pt x="446" y="1134"/>
                    <a:pt x="446" y="1134"/>
                  </a:cubicBezTo>
                  <a:cubicBezTo>
                    <a:pt x="446" y="1134"/>
                    <a:pt x="446" y="1134"/>
                    <a:pt x="446" y="1134"/>
                  </a:cubicBezTo>
                  <a:cubicBezTo>
                    <a:pt x="447" y="1133"/>
                    <a:pt x="447" y="1133"/>
                    <a:pt x="447" y="1133"/>
                  </a:cubicBezTo>
                  <a:cubicBezTo>
                    <a:pt x="447" y="1133"/>
                    <a:pt x="447" y="1133"/>
                    <a:pt x="447" y="1133"/>
                  </a:cubicBezTo>
                  <a:cubicBezTo>
                    <a:pt x="448" y="1133"/>
                    <a:pt x="448" y="1133"/>
                    <a:pt x="448" y="1133"/>
                  </a:cubicBezTo>
                  <a:cubicBezTo>
                    <a:pt x="448" y="1134"/>
                    <a:pt x="448" y="1134"/>
                    <a:pt x="448" y="1134"/>
                  </a:cubicBezTo>
                  <a:cubicBezTo>
                    <a:pt x="449" y="1135"/>
                    <a:pt x="449" y="1135"/>
                    <a:pt x="449" y="1135"/>
                  </a:cubicBezTo>
                  <a:cubicBezTo>
                    <a:pt x="450" y="1135"/>
                    <a:pt x="450" y="1135"/>
                    <a:pt x="450" y="1135"/>
                  </a:cubicBezTo>
                  <a:cubicBezTo>
                    <a:pt x="450" y="1135"/>
                    <a:pt x="450" y="1135"/>
                    <a:pt x="450" y="1135"/>
                  </a:cubicBezTo>
                  <a:cubicBezTo>
                    <a:pt x="451" y="1135"/>
                    <a:pt x="451" y="1135"/>
                    <a:pt x="451" y="1135"/>
                  </a:cubicBezTo>
                  <a:cubicBezTo>
                    <a:pt x="451" y="1136"/>
                    <a:pt x="451" y="1136"/>
                    <a:pt x="451" y="1136"/>
                  </a:cubicBezTo>
                  <a:cubicBezTo>
                    <a:pt x="451" y="1136"/>
                    <a:pt x="451" y="1136"/>
                    <a:pt x="451" y="1136"/>
                  </a:cubicBezTo>
                  <a:cubicBezTo>
                    <a:pt x="452" y="1136"/>
                    <a:pt x="452" y="1136"/>
                    <a:pt x="452" y="1136"/>
                  </a:cubicBezTo>
                  <a:cubicBezTo>
                    <a:pt x="452" y="1136"/>
                    <a:pt x="452" y="1136"/>
                    <a:pt x="452" y="1136"/>
                  </a:cubicBezTo>
                  <a:cubicBezTo>
                    <a:pt x="452" y="1137"/>
                    <a:pt x="452" y="1137"/>
                    <a:pt x="452" y="1137"/>
                  </a:cubicBezTo>
                  <a:cubicBezTo>
                    <a:pt x="452" y="1137"/>
                    <a:pt x="452" y="1137"/>
                    <a:pt x="452" y="1137"/>
                  </a:cubicBezTo>
                  <a:cubicBezTo>
                    <a:pt x="451" y="1137"/>
                    <a:pt x="451" y="1137"/>
                    <a:pt x="451" y="1137"/>
                  </a:cubicBezTo>
                  <a:cubicBezTo>
                    <a:pt x="451" y="1138"/>
                    <a:pt x="451" y="1138"/>
                    <a:pt x="451" y="1138"/>
                  </a:cubicBezTo>
                  <a:cubicBezTo>
                    <a:pt x="452" y="1139"/>
                    <a:pt x="452" y="1139"/>
                    <a:pt x="452" y="1139"/>
                  </a:cubicBezTo>
                  <a:cubicBezTo>
                    <a:pt x="453" y="1139"/>
                    <a:pt x="453" y="1139"/>
                    <a:pt x="453" y="1139"/>
                  </a:cubicBezTo>
                  <a:cubicBezTo>
                    <a:pt x="454" y="1138"/>
                    <a:pt x="454" y="1138"/>
                    <a:pt x="454" y="1138"/>
                  </a:cubicBezTo>
                  <a:cubicBezTo>
                    <a:pt x="454" y="1138"/>
                    <a:pt x="454" y="1138"/>
                    <a:pt x="454" y="1138"/>
                  </a:cubicBezTo>
                  <a:cubicBezTo>
                    <a:pt x="455" y="1138"/>
                    <a:pt x="455" y="1138"/>
                    <a:pt x="455" y="1138"/>
                  </a:cubicBezTo>
                  <a:cubicBezTo>
                    <a:pt x="456" y="1138"/>
                    <a:pt x="456" y="1138"/>
                    <a:pt x="456" y="1138"/>
                  </a:cubicBezTo>
                  <a:cubicBezTo>
                    <a:pt x="456" y="1137"/>
                    <a:pt x="456" y="1137"/>
                    <a:pt x="456" y="1137"/>
                  </a:cubicBezTo>
                  <a:cubicBezTo>
                    <a:pt x="455" y="1137"/>
                    <a:pt x="455" y="1137"/>
                    <a:pt x="455" y="1137"/>
                  </a:cubicBezTo>
                  <a:cubicBezTo>
                    <a:pt x="455" y="1137"/>
                    <a:pt x="455" y="1137"/>
                    <a:pt x="455" y="1137"/>
                  </a:cubicBezTo>
                  <a:cubicBezTo>
                    <a:pt x="455" y="1136"/>
                    <a:pt x="455" y="1136"/>
                    <a:pt x="455" y="1136"/>
                  </a:cubicBezTo>
                  <a:cubicBezTo>
                    <a:pt x="454" y="1136"/>
                    <a:pt x="454" y="1136"/>
                    <a:pt x="454" y="1136"/>
                  </a:cubicBezTo>
                  <a:cubicBezTo>
                    <a:pt x="455" y="1135"/>
                    <a:pt x="455" y="1135"/>
                    <a:pt x="455" y="1135"/>
                  </a:cubicBezTo>
                  <a:cubicBezTo>
                    <a:pt x="455" y="1135"/>
                    <a:pt x="455" y="1135"/>
                    <a:pt x="455" y="1135"/>
                  </a:cubicBezTo>
                  <a:cubicBezTo>
                    <a:pt x="456" y="1135"/>
                    <a:pt x="456" y="1135"/>
                    <a:pt x="456" y="1135"/>
                  </a:cubicBezTo>
                  <a:cubicBezTo>
                    <a:pt x="456" y="1135"/>
                    <a:pt x="456" y="1135"/>
                    <a:pt x="456" y="1135"/>
                  </a:cubicBezTo>
                  <a:cubicBezTo>
                    <a:pt x="456" y="1136"/>
                    <a:pt x="456" y="1136"/>
                    <a:pt x="456" y="1136"/>
                  </a:cubicBezTo>
                  <a:cubicBezTo>
                    <a:pt x="456" y="1136"/>
                    <a:pt x="456" y="1136"/>
                    <a:pt x="456" y="1136"/>
                  </a:cubicBezTo>
                  <a:cubicBezTo>
                    <a:pt x="456" y="1137"/>
                    <a:pt x="456" y="1137"/>
                    <a:pt x="456" y="1137"/>
                  </a:cubicBezTo>
                  <a:cubicBezTo>
                    <a:pt x="457" y="1137"/>
                    <a:pt x="457" y="1137"/>
                    <a:pt x="457" y="1137"/>
                  </a:cubicBezTo>
                  <a:cubicBezTo>
                    <a:pt x="458" y="1137"/>
                    <a:pt x="458" y="1137"/>
                    <a:pt x="458" y="1137"/>
                  </a:cubicBezTo>
                  <a:cubicBezTo>
                    <a:pt x="458" y="1137"/>
                    <a:pt x="458" y="1137"/>
                    <a:pt x="458" y="1137"/>
                  </a:cubicBezTo>
                  <a:cubicBezTo>
                    <a:pt x="459" y="1137"/>
                    <a:pt x="459" y="1137"/>
                    <a:pt x="459" y="1137"/>
                  </a:cubicBezTo>
                  <a:cubicBezTo>
                    <a:pt x="460" y="1137"/>
                    <a:pt x="460" y="1137"/>
                    <a:pt x="460" y="1137"/>
                  </a:cubicBezTo>
                  <a:cubicBezTo>
                    <a:pt x="461" y="1137"/>
                    <a:pt x="461" y="1137"/>
                    <a:pt x="461" y="1137"/>
                  </a:cubicBezTo>
                  <a:cubicBezTo>
                    <a:pt x="462" y="1138"/>
                    <a:pt x="462" y="1138"/>
                    <a:pt x="462" y="1138"/>
                  </a:cubicBezTo>
                  <a:cubicBezTo>
                    <a:pt x="462" y="1139"/>
                    <a:pt x="462" y="1139"/>
                    <a:pt x="462" y="1139"/>
                  </a:cubicBezTo>
                  <a:cubicBezTo>
                    <a:pt x="461" y="1139"/>
                    <a:pt x="461" y="1139"/>
                    <a:pt x="461" y="1139"/>
                  </a:cubicBezTo>
                  <a:cubicBezTo>
                    <a:pt x="461" y="1139"/>
                    <a:pt x="461" y="1139"/>
                    <a:pt x="461" y="1139"/>
                  </a:cubicBezTo>
                  <a:cubicBezTo>
                    <a:pt x="460" y="1139"/>
                    <a:pt x="460" y="1139"/>
                    <a:pt x="460" y="1139"/>
                  </a:cubicBezTo>
                  <a:cubicBezTo>
                    <a:pt x="461" y="1139"/>
                    <a:pt x="461" y="1139"/>
                    <a:pt x="461" y="1139"/>
                  </a:cubicBezTo>
                  <a:cubicBezTo>
                    <a:pt x="462" y="1139"/>
                    <a:pt x="462" y="1139"/>
                    <a:pt x="462" y="1139"/>
                  </a:cubicBezTo>
                  <a:cubicBezTo>
                    <a:pt x="463" y="1139"/>
                    <a:pt x="463" y="1139"/>
                    <a:pt x="463" y="1139"/>
                  </a:cubicBezTo>
                  <a:cubicBezTo>
                    <a:pt x="463" y="1139"/>
                    <a:pt x="463" y="1139"/>
                    <a:pt x="463" y="1139"/>
                  </a:cubicBezTo>
                  <a:cubicBezTo>
                    <a:pt x="463" y="1139"/>
                    <a:pt x="463" y="1139"/>
                    <a:pt x="463" y="1139"/>
                  </a:cubicBezTo>
                  <a:cubicBezTo>
                    <a:pt x="462" y="1139"/>
                    <a:pt x="462" y="1139"/>
                    <a:pt x="462" y="1139"/>
                  </a:cubicBezTo>
                  <a:cubicBezTo>
                    <a:pt x="462" y="1138"/>
                    <a:pt x="462" y="1138"/>
                    <a:pt x="462" y="1138"/>
                  </a:cubicBezTo>
                  <a:cubicBezTo>
                    <a:pt x="463" y="1137"/>
                    <a:pt x="463" y="1137"/>
                    <a:pt x="463" y="1137"/>
                  </a:cubicBezTo>
                  <a:cubicBezTo>
                    <a:pt x="463" y="1137"/>
                    <a:pt x="463" y="1137"/>
                    <a:pt x="463" y="1137"/>
                  </a:cubicBezTo>
                  <a:cubicBezTo>
                    <a:pt x="463" y="1136"/>
                    <a:pt x="463" y="1136"/>
                    <a:pt x="463" y="1136"/>
                  </a:cubicBezTo>
                  <a:cubicBezTo>
                    <a:pt x="464" y="1136"/>
                    <a:pt x="464" y="1136"/>
                    <a:pt x="464" y="1136"/>
                  </a:cubicBezTo>
                  <a:cubicBezTo>
                    <a:pt x="465" y="1136"/>
                    <a:pt x="465" y="1136"/>
                    <a:pt x="465" y="1136"/>
                  </a:cubicBezTo>
                  <a:cubicBezTo>
                    <a:pt x="466" y="1136"/>
                    <a:pt x="466" y="1136"/>
                    <a:pt x="466" y="1136"/>
                  </a:cubicBezTo>
                  <a:cubicBezTo>
                    <a:pt x="467" y="1136"/>
                    <a:pt x="467" y="1136"/>
                    <a:pt x="467" y="1136"/>
                  </a:cubicBezTo>
                  <a:cubicBezTo>
                    <a:pt x="467" y="1136"/>
                    <a:pt x="467" y="1136"/>
                    <a:pt x="467" y="1136"/>
                  </a:cubicBezTo>
                  <a:cubicBezTo>
                    <a:pt x="467" y="1137"/>
                    <a:pt x="467" y="1137"/>
                    <a:pt x="467" y="1137"/>
                  </a:cubicBezTo>
                  <a:cubicBezTo>
                    <a:pt x="468" y="1137"/>
                    <a:pt x="468" y="1137"/>
                    <a:pt x="468" y="1137"/>
                  </a:cubicBezTo>
                  <a:cubicBezTo>
                    <a:pt x="469" y="1137"/>
                    <a:pt x="469" y="1137"/>
                    <a:pt x="469" y="1137"/>
                  </a:cubicBezTo>
                  <a:cubicBezTo>
                    <a:pt x="469" y="1136"/>
                    <a:pt x="469" y="1136"/>
                    <a:pt x="469" y="1136"/>
                  </a:cubicBezTo>
                  <a:cubicBezTo>
                    <a:pt x="469" y="1136"/>
                    <a:pt x="469" y="1136"/>
                    <a:pt x="469" y="1136"/>
                  </a:cubicBezTo>
                  <a:cubicBezTo>
                    <a:pt x="469" y="1135"/>
                    <a:pt x="469" y="1135"/>
                    <a:pt x="469" y="1135"/>
                  </a:cubicBezTo>
                  <a:cubicBezTo>
                    <a:pt x="470" y="1135"/>
                    <a:pt x="470" y="1135"/>
                    <a:pt x="470" y="1135"/>
                  </a:cubicBezTo>
                  <a:cubicBezTo>
                    <a:pt x="470" y="1134"/>
                    <a:pt x="470" y="1134"/>
                    <a:pt x="470" y="1134"/>
                  </a:cubicBezTo>
                  <a:cubicBezTo>
                    <a:pt x="471" y="1134"/>
                    <a:pt x="471" y="1134"/>
                    <a:pt x="471" y="1134"/>
                  </a:cubicBezTo>
                  <a:cubicBezTo>
                    <a:pt x="472" y="1134"/>
                    <a:pt x="472" y="1134"/>
                    <a:pt x="472" y="1134"/>
                  </a:cubicBezTo>
                  <a:cubicBezTo>
                    <a:pt x="473" y="1134"/>
                    <a:pt x="473" y="1134"/>
                    <a:pt x="473" y="1134"/>
                  </a:cubicBezTo>
                  <a:cubicBezTo>
                    <a:pt x="474" y="1134"/>
                    <a:pt x="474" y="1134"/>
                    <a:pt x="474" y="1134"/>
                  </a:cubicBezTo>
                  <a:cubicBezTo>
                    <a:pt x="474" y="1134"/>
                    <a:pt x="474" y="1134"/>
                    <a:pt x="474" y="1134"/>
                  </a:cubicBezTo>
                  <a:cubicBezTo>
                    <a:pt x="474" y="1133"/>
                    <a:pt x="474" y="1133"/>
                    <a:pt x="474" y="1133"/>
                  </a:cubicBezTo>
                  <a:cubicBezTo>
                    <a:pt x="475" y="1133"/>
                    <a:pt x="475" y="1133"/>
                    <a:pt x="475" y="1133"/>
                  </a:cubicBezTo>
                  <a:cubicBezTo>
                    <a:pt x="475" y="1133"/>
                    <a:pt x="475" y="1133"/>
                    <a:pt x="475" y="1133"/>
                  </a:cubicBezTo>
                  <a:cubicBezTo>
                    <a:pt x="475" y="1133"/>
                    <a:pt x="475" y="1133"/>
                    <a:pt x="475" y="1133"/>
                  </a:cubicBezTo>
                  <a:cubicBezTo>
                    <a:pt x="476" y="1133"/>
                    <a:pt x="476" y="1133"/>
                    <a:pt x="476" y="1133"/>
                  </a:cubicBezTo>
                  <a:cubicBezTo>
                    <a:pt x="476" y="1134"/>
                    <a:pt x="476" y="1134"/>
                    <a:pt x="476" y="1134"/>
                  </a:cubicBezTo>
                  <a:cubicBezTo>
                    <a:pt x="476" y="1134"/>
                    <a:pt x="476" y="1134"/>
                    <a:pt x="476" y="1134"/>
                  </a:cubicBezTo>
                  <a:cubicBezTo>
                    <a:pt x="477" y="1133"/>
                    <a:pt x="477" y="1133"/>
                    <a:pt x="477" y="1133"/>
                  </a:cubicBezTo>
                  <a:cubicBezTo>
                    <a:pt x="477" y="1133"/>
                    <a:pt x="477" y="1133"/>
                    <a:pt x="477" y="1133"/>
                  </a:cubicBezTo>
                  <a:cubicBezTo>
                    <a:pt x="477" y="1133"/>
                    <a:pt x="477" y="1133"/>
                    <a:pt x="477" y="1133"/>
                  </a:cubicBezTo>
                  <a:cubicBezTo>
                    <a:pt x="478" y="1133"/>
                    <a:pt x="478" y="1133"/>
                    <a:pt x="478" y="1133"/>
                  </a:cubicBezTo>
                  <a:cubicBezTo>
                    <a:pt x="478" y="1132"/>
                    <a:pt x="478" y="1132"/>
                    <a:pt x="478" y="1132"/>
                  </a:cubicBezTo>
                  <a:cubicBezTo>
                    <a:pt x="478" y="1132"/>
                    <a:pt x="478" y="1132"/>
                    <a:pt x="478" y="1132"/>
                  </a:cubicBezTo>
                  <a:cubicBezTo>
                    <a:pt x="478" y="1131"/>
                    <a:pt x="478" y="1131"/>
                    <a:pt x="478" y="1131"/>
                  </a:cubicBezTo>
                  <a:cubicBezTo>
                    <a:pt x="478" y="1130"/>
                    <a:pt x="478" y="1130"/>
                    <a:pt x="478" y="1130"/>
                  </a:cubicBezTo>
                  <a:cubicBezTo>
                    <a:pt x="479" y="1130"/>
                    <a:pt x="479" y="1130"/>
                    <a:pt x="479" y="1130"/>
                  </a:cubicBezTo>
                  <a:cubicBezTo>
                    <a:pt x="478" y="1130"/>
                    <a:pt x="478" y="1130"/>
                    <a:pt x="478" y="1130"/>
                  </a:cubicBezTo>
                  <a:cubicBezTo>
                    <a:pt x="478" y="1129"/>
                    <a:pt x="478" y="1129"/>
                    <a:pt x="478" y="1129"/>
                  </a:cubicBezTo>
                  <a:cubicBezTo>
                    <a:pt x="476" y="1130"/>
                    <a:pt x="476" y="1130"/>
                    <a:pt x="476" y="1130"/>
                  </a:cubicBezTo>
                  <a:cubicBezTo>
                    <a:pt x="475" y="1130"/>
                    <a:pt x="475" y="1130"/>
                    <a:pt x="475" y="1130"/>
                  </a:cubicBezTo>
                  <a:cubicBezTo>
                    <a:pt x="476" y="1129"/>
                    <a:pt x="476" y="1129"/>
                    <a:pt x="476" y="1129"/>
                  </a:cubicBezTo>
                  <a:cubicBezTo>
                    <a:pt x="476" y="1129"/>
                    <a:pt x="476" y="1129"/>
                    <a:pt x="476" y="1129"/>
                  </a:cubicBezTo>
                  <a:cubicBezTo>
                    <a:pt x="477" y="1128"/>
                    <a:pt x="477" y="1128"/>
                    <a:pt x="477" y="1128"/>
                  </a:cubicBezTo>
                  <a:cubicBezTo>
                    <a:pt x="477" y="1127"/>
                    <a:pt x="477" y="1127"/>
                    <a:pt x="477" y="1127"/>
                  </a:cubicBezTo>
                  <a:cubicBezTo>
                    <a:pt x="478" y="1127"/>
                    <a:pt x="478" y="1127"/>
                    <a:pt x="478" y="1127"/>
                  </a:cubicBezTo>
                  <a:cubicBezTo>
                    <a:pt x="478" y="1127"/>
                    <a:pt x="478" y="1127"/>
                    <a:pt x="478" y="1127"/>
                  </a:cubicBezTo>
                  <a:cubicBezTo>
                    <a:pt x="478" y="1127"/>
                    <a:pt x="478" y="1127"/>
                    <a:pt x="478" y="1127"/>
                  </a:cubicBezTo>
                  <a:cubicBezTo>
                    <a:pt x="479" y="1126"/>
                    <a:pt x="479" y="1126"/>
                    <a:pt x="479" y="1126"/>
                  </a:cubicBezTo>
                  <a:cubicBezTo>
                    <a:pt x="479" y="1126"/>
                    <a:pt x="479" y="1126"/>
                    <a:pt x="479" y="1126"/>
                  </a:cubicBezTo>
                  <a:cubicBezTo>
                    <a:pt x="480" y="1125"/>
                    <a:pt x="480" y="1125"/>
                    <a:pt x="480" y="1125"/>
                  </a:cubicBezTo>
                  <a:cubicBezTo>
                    <a:pt x="480" y="1124"/>
                    <a:pt x="480" y="1124"/>
                    <a:pt x="480" y="1124"/>
                  </a:cubicBezTo>
                  <a:cubicBezTo>
                    <a:pt x="480" y="1124"/>
                    <a:pt x="480" y="1124"/>
                    <a:pt x="480" y="1124"/>
                  </a:cubicBezTo>
                  <a:cubicBezTo>
                    <a:pt x="480" y="1123"/>
                    <a:pt x="480" y="1123"/>
                    <a:pt x="480" y="1123"/>
                  </a:cubicBezTo>
                  <a:cubicBezTo>
                    <a:pt x="481" y="1124"/>
                    <a:pt x="481" y="1124"/>
                    <a:pt x="481" y="1124"/>
                  </a:cubicBezTo>
                  <a:cubicBezTo>
                    <a:pt x="481" y="1124"/>
                    <a:pt x="481" y="1124"/>
                    <a:pt x="481" y="1124"/>
                  </a:cubicBezTo>
                  <a:cubicBezTo>
                    <a:pt x="482" y="1124"/>
                    <a:pt x="482" y="1124"/>
                    <a:pt x="482" y="1124"/>
                  </a:cubicBezTo>
                  <a:cubicBezTo>
                    <a:pt x="483" y="1124"/>
                    <a:pt x="483" y="1124"/>
                    <a:pt x="483" y="1124"/>
                  </a:cubicBezTo>
                  <a:cubicBezTo>
                    <a:pt x="483" y="1124"/>
                    <a:pt x="483" y="1124"/>
                    <a:pt x="483" y="1124"/>
                  </a:cubicBezTo>
                  <a:cubicBezTo>
                    <a:pt x="484" y="1124"/>
                    <a:pt x="484" y="1124"/>
                    <a:pt x="484" y="1124"/>
                  </a:cubicBezTo>
                  <a:cubicBezTo>
                    <a:pt x="483" y="1123"/>
                    <a:pt x="483" y="1123"/>
                    <a:pt x="483" y="1123"/>
                  </a:cubicBezTo>
                  <a:cubicBezTo>
                    <a:pt x="483" y="1123"/>
                    <a:pt x="483" y="1123"/>
                    <a:pt x="483" y="1123"/>
                  </a:cubicBezTo>
                  <a:cubicBezTo>
                    <a:pt x="484" y="1123"/>
                    <a:pt x="484" y="1123"/>
                    <a:pt x="484" y="1123"/>
                  </a:cubicBezTo>
                  <a:cubicBezTo>
                    <a:pt x="484" y="1123"/>
                    <a:pt x="484" y="1123"/>
                    <a:pt x="484" y="1123"/>
                  </a:cubicBezTo>
                  <a:cubicBezTo>
                    <a:pt x="484" y="1123"/>
                    <a:pt x="484" y="1123"/>
                    <a:pt x="484" y="1123"/>
                  </a:cubicBezTo>
                  <a:cubicBezTo>
                    <a:pt x="484" y="1123"/>
                    <a:pt x="484" y="1123"/>
                    <a:pt x="484" y="1123"/>
                  </a:cubicBezTo>
                  <a:cubicBezTo>
                    <a:pt x="485" y="1123"/>
                    <a:pt x="485" y="1123"/>
                    <a:pt x="485" y="1123"/>
                  </a:cubicBezTo>
                  <a:cubicBezTo>
                    <a:pt x="485" y="1122"/>
                    <a:pt x="485" y="1122"/>
                    <a:pt x="485" y="1122"/>
                  </a:cubicBezTo>
                  <a:cubicBezTo>
                    <a:pt x="485" y="1121"/>
                    <a:pt x="485" y="1121"/>
                    <a:pt x="485" y="1121"/>
                  </a:cubicBezTo>
                  <a:cubicBezTo>
                    <a:pt x="486" y="1120"/>
                    <a:pt x="486" y="1120"/>
                    <a:pt x="486" y="1120"/>
                  </a:cubicBezTo>
                  <a:cubicBezTo>
                    <a:pt x="486" y="1120"/>
                    <a:pt x="486" y="1120"/>
                    <a:pt x="486" y="1120"/>
                  </a:cubicBezTo>
                  <a:cubicBezTo>
                    <a:pt x="486" y="1120"/>
                    <a:pt x="486" y="1120"/>
                    <a:pt x="486" y="1120"/>
                  </a:cubicBezTo>
                  <a:cubicBezTo>
                    <a:pt x="486" y="1120"/>
                    <a:pt x="486" y="1120"/>
                    <a:pt x="486" y="1120"/>
                  </a:cubicBezTo>
                  <a:cubicBezTo>
                    <a:pt x="486" y="1119"/>
                    <a:pt x="486" y="1119"/>
                    <a:pt x="486" y="1119"/>
                  </a:cubicBezTo>
                  <a:cubicBezTo>
                    <a:pt x="487" y="1119"/>
                    <a:pt x="487" y="1119"/>
                    <a:pt x="487" y="1119"/>
                  </a:cubicBezTo>
                  <a:cubicBezTo>
                    <a:pt x="487" y="1118"/>
                    <a:pt x="487" y="1118"/>
                    <a:pt x="487" y="1118"/>
                  </a:cubicBezTo>
                  <a:cubicBezTo>
                    <a:pt x="488" y="1118"/>
                    <a:pt x="488" y="1118"/>
                    <a:pt x="488" y="1118"/>
                  </a:cubicBezTo>
                  <a:cubicBezTo>
                    <a:pt x="488" y="1118"/>
                    <a:pt x="488" y="1118"/>
                    <a:pt x="488" y="1118"/>
                  </a:cubicBezTo>
                  <a:cubicBezTo>
                    <a:pt x="489" y="1118"/>
                    <a:pt x="489" y="1118"/>
                    <a:pt x="489" y="1118"/>
                  </a:cubicBezTo>
                  <a:cubicBezTo>
                    <a:pt x="489" y="1119"/>
                    <a:pt x="489" y="1119"/>
                    <a:pt x="489" y="1119"/>
                  </a:cubicBezTo>
                  <a:cubicBezTo>
                    <a:pt x="489" y="1118"/>
                    <a:pt x="489" y="1118"/>
                    <a:pt x="489" y="1118"/>
                  </a:cubicBezTo>
                  <a:cubicBezTo>
                    <a:pt x="489" y="1118"/>
                    <a:pt x="489" y="1118"/>
                    <a:pt x="489" y="1118"/>
                  </a:cubicBezTo>
                  <a:cubicBezTo>
                    <a:pt x="490" y="1118"/>
                    <a:pt x="490" y="1118"/>
                    <a:pt x="490" y="1118"/>
                  </a:cubicBezTo>
                  <a:cubicBezTo>
                    <a:pt x="490" y="1118"/>
                    <a:pt x="490" y="1118"/>
                    <a:pt x="490" y="1118"/>
                  </a:cubicBezTo>
                  <a:cubicBezTo>
                    <a:pt x="491" y="1118"/>
                    <a:pt x="491" y="1118"/>
                    <a:pt x="491" y="1118"/>
                  </a:cubicBezTo>
                  <a:cubicBezTo>
                    <a:pt x="491" y="1118"/>
                    <a:pt x="491" y="1118"/>
                    <a:pt x="491" y="1118"/>
                  </a:cubicBezTo>
                  <a:cubicBezTo>
                    <a:pt x="491" y="1118"/>
                    <a:pt x="491" y="1118"/>
                    <a:pt x="491" y="1118"/>
                  </a:cubicBezTo>
                  <a:cubicBezTo>
                    <a:pt x="492" y="1118"/>
                    <a:pt x="492" y="1118"/>
                    <a:pt x="492" y="1118"/>
                  </a:cubicBezTo>
                  <a:cubicBezTo>
                    <a:pt x="492" y="1118"/>
                    <a:pt x="492" y="1118"/>
                    <a:pt x="492" y="1118"/>
                  </a:cubicBezTo>
                  <a:cubicBezTo>
                    <a:pt x="492" y="1117"/>
                    <a:pt x="492" y="1117"/>
                    <a:pt x="492" y="1117"/>
                  </a:cubicBezTo>
                  <a:cubicBezTo>
                    <a:pt x="492" y="1117"/>
                    <a:pt x="492" y="1117"/>
                    <a:pt x="492" y="1117"/>
                  </a:cubicBezTo>
                  <a:cubicBezTo>
                    <a:pt x="491" y="1116"/>
                    <a:pt x="491" y="1116"/>
                    <a:pt x="491" y="1116"/>
                  </a:cubicBezTo>
                  <a:cubicBezTo>
                    <a:pt x="492" y="1115"/>
                    <a:pt x="492" y="1115"/>
                    <a:pt x="492" y="1115"/>
                  </a:cubicBezTo>
                  <a:cubicBezTo>
                    <a:pt x="492" y="1115"/>
                    <a:pt x="492" y="1115"/>
                    <a:pt x="492" y="1115"/>
                  </a:cubicBezTo>
                  <a:cubicBezTo>
                    <a:pt x="492" y="1114"/>
                    <a:pt x="492" y="1114"/>
                    <a:pt x="492" y="1114"/>
                  </a:cubicBezTo>
                  <a:cubicBezTo>
                    <a:pt x="492" y="1114"/>
                    <a:pt x="492" y="1114"/>
                    <a:pt x="492" y="1114"/>
                  </a:cubicBezTo>
                  <a:cubicBezTo>
                    <a:pt x="493" y="1114"/>
                    <a:pt x="493" y="1114"/>
                    <a:pt x="493" y="1114"/>
                  </a:cubicBezTo>
                  <a:cubicBezTo>
                    <a:pt x="493" y="1114"/>
                    <a:pt x="493" y="1114"/>
                    <a:pt x="493" y="1114"/>
                  </a:cubicBezTo>
                  <a:cubicBezTo>
                    <a:pt x="494" y="1114"/>
                    <a:pt x="494" y="1114"/>
                    <a:pt x="494" y="1114"/>
                  </a:cubicBezTo>
                  <a:cubicBezTo>
                    <a:pt x="494" y="1114"/>
                    <a:pt x="494" y="1114"/>
                    <a:pt x="494" y="1114"/>
                  </a:cubicBezTo>
                  <a:cubicBezTo>
                    <a:pt x="494" y="1114"/>
                    <a:pt x="494" y="1114"/>
                    <a:pt x="494" y="1114"/>
                  </a:cubicBezTo>
                  <a:cubicBezTo>
                    <a:pt x="495" y="1114"/>
                    <a:pt x="495" y="1114"/>
                    <a:pt x="495" y="1114"/>
                  </a:cubicBezTo>
                  <a:cubicBezTo>
                    <a:pt x="495" y="1113"/>
                    <a:pt x="495" y="1113"/>
                    <a:pt x="495" y="1113"/>
                  </a:cubicBezTo>
                  <a:cubicBezTo>
                    <a:pt x="495" y="1113"/>
                    <a:pt x="495" y="1113"/>
                    <a:pt x="495" y="1113"/>
                  </a:cubicBezTo>
                  <a:cubicBezTo>
                    <a:pt x="495" y="1112"/>
                    <a:pt x="495" y="1112"/>
                    <a:pt x="495" y="1112"/>
                  </a:cubicBezTo>
                  <a:cubicBezTo>
                    <a:pt x="496" y="1112"/>
                    <a:pt x="496" y="1112"/>
                    <a:pt x="496" y="1112"/>
                  </a:cubicBezTo>
                  <a:cubicBezTo>
                    <a:pt x="497" y="1112"/>
                    <a:pt x="497" y="1112"/>
                    <a:pt x="497" y="1112"/>
                  </a:cubicBezTo>
                  <a:cubicBezTo>
                    <a:pt x="497" y="1113"/>
                    <a:pt x="497" y="1113"/>
                    <a:pt x="497" y="1113"/>
                  </a:cubicBezTo>
                  <a:cubicBezTo>
                    <a:pt x="498" y="1113"/>
                    <a:pt x="498" y="1113"/>
                    <a:pt x="498" y="1113"/>
                  </a:cubicBezTo>
                  <a:cubicBezTo>
                    <a:pt x="498" y="1112"/>
                    <a:pt x="498" y="1112"/>
                    <a:pt x="498" y="1112"/>
                  </a:cubicBezTo>
                  <a:cubicBezTo>
                    <a:pt x="498" y="1112"/>
                    <a:pt x="498" y="1112"/>
                    <a:pt x="498" y="1112"/>
                  </a:cubicBezTo>
                  <a:cubicBezTo>
                    <a:pt x="498" y="1111"/>
                    <a:pt x="498" y="1111"/>
                    <a:pt x="498" y="1111"/>
                  </a:cubicBezTo>
                  <a:cubicBezTo>
                    <a:pt x="499" y="1111"/>
                    <a:pt x="499" y="1111"/>
                    <a:pt x="499" y="1111"/>
                  </a:cubicBezTo>
                  <a:cubicBezTo>
                    <a:pt x="499" y="1111"/>
                    <a:pt x="499" y="1111"/>
                    <a:pt x="499" y="1111"/>
                  </a:cubicBezTo>
                  <a:cubicBezTo>
                    <a:pt x="499" y="1111"/>
                    <a:pt x="499" y="1111"/>
                    <a:pt x="499" y="1111"/>
                  </a:cubicBezTo>
                  <a:cubicBezTo>
                    <a:pt x="500" y="1110"/>
                    <a:pt x="500" y="1110"/>
                    <a:pt x="500" y="1110"/>
                  </a:cubicBezTo>
                  <a:cubicBezTo>
                    <a:pt x="500" y="1110"/>
                    <a:pt x="500" y="1110"/>
                    <a:pt x="500" y="1110"/>
                  </a:cubicBezTo>
                  <a:cubicBezTo>
                    <a:pt x="501" y="1110"/>
                    <a:pt x="501" y="1110"/>
                    <a:pt x="501" y="1110"/>
                  </a:cubicBezTo>
                  <a:cubicBezTo>
                    <a:pt x="501" y="1110"/>
                    <a:pt x="501" y="1110"/>
                    <a:pt x="501" y="1110"/>
                  </a:cubicBezTo>
                  <a:cubicBezTo>
                    <a:pt x="501" y="1110"/>
                    <a:pt x="501" y="1110"/>
                    <a:pt x="501" y="1110"/>
                  </a:cubicBezTo>
                  <a:cubicBezTo>
                    <a:pt x="501" y="1110"/>
                    <a:pt x="501" y="1110"/>
                    <a:pt x="501" y="1110"/>
                  </a:cubicBezTo>
                  <a:cubicBezTo>
                    <a:pt x="502" y="1109"/>
                    <a:pt x="502" y="1109"/>
                    <a:pt x="502" y="1109"/>
                  </a:cubicBezTo>
                  <a:cubicBezTo>
                    <a:pt x="502" y="1109"/>
                    <a:pt x="502" y="1109"/>
                    <a:pt x="502" y="1109"/>
                  </a:cubicBezTo>
                  <a:cubicBezTo>
                    <a:pt x="502" y="1109"/>
                    <a:pt x="502" y="1109"/>
                    <a:pt x="502" y="1109"/>
                  </a:cubicBezTo>
                  <a:cubicBezTo>
                    <a:pt x="502" y="1109"/>
                    <a:pt x="502" y="1109"/>
                    <a:pt x="502" y="1109"/>
                  </a:cubicBezTo>
                  <a:cubicBezTo>
                    <a:pt x="502" y="1109"/>
                    <a:pt x="502" y="1109"/>
                    <a:pt x="502" y="1109"/>
                  </a:cubicBezTo>
                  <a:cubicBezTo>
                    <a:pt x="502" y="1108"/>
                    <a:pt x="502" y="1108"/>
                    <a:pt x="502" y="1108"/>
                  </a:cubicBezTo>
                  <a:cubicBezTo>
                    <a:pt x="502" y="1108"/>
                    <a:pt x="502" y="1108"/>
                    <a:pt x="502" y="1108"/>
                  </a:cubicBezTo>
                  <a:cubicBezTo>
                    <a:pt x="502" y="1108"/>
                    <a:pt x="502" y="1108"/>
                    <a:pt x="502" y="1108"/>
                  </a:cubicBezTo>
                  <a:cubicBezTo>
                    <a:pt x="503" y="1108"/>
                    <a:pt x="503" y="1108"/>
                    <a:pt x="503" y="1108"/>
                  </a:cubicBezTo>
                  <a:cubicBezTo>
                    <a:pt x="502" y="1106"/>
                    <a:pt x="502" y="1106"/>
                    <a:pt x="502" y="1106"/>
                  </a:cubicBezTo>
                  <a:cubicBezTo>
                    <a:pt x="502" y="1105"/>
                    <a:pt x="502" y="1105"/>
                    <a:pt x="502" y="1105"/>
                  </a:cubicBezTo>
                  <a:cubicBezTo>
                    <a:pt x="502" y="1104"/>
                    <a:pt x="502" y="1104"/>
                    <a:pt x="502" y="1104"/>
                  </a:cubicBezTo>
                  <a:cubicBezTo>
                    <a:pt x="503" y="1106"/>
                    <a:pt x="503" y="1106"/>
                    <a:pt x="503" y="1106"/>
                  </a:cubicBezTo>
                  <a:cubicBezTo>
                    <a:pt x="503" y="1106"/>
                    <a:pt x="503" y="1106"/>
                    <a:pt x="503" y="1106"/>
                  </a:cubicBezTo>
                  <a:cubicBezTo>
                    <a:pt x="504" y="1106"/>
                    <a:pt x="504" y="1106"/>
                    <a:pt x="504" y="1106"/>
                  </a:cubicBezTo>
                  <a:cubicBezTo>
                    <a:pt x="504" y="1107"/>
                    <a:pt x="504" y="1107"/>
                    <a:pt x="504" y="1107"/>
                  </a:cubicBezTo>
                  <a:cubicBezTo>
                    <a:pt x="504" y="1107"/>
                    <a:pt x="504" y="1107"/>
                    <a:pt x="504" y="1107"/>
                  </a:cubicBezTo>
                  <a:cubicBezTo>
                    <a:pt x="505" y="1106"/>
                    <a:pt x="505" y="1106"/>
                    <a:pt x="505" y="1106"/>
                  </a:cubicBezTo>
                  <a:cubicBezTo>
                    <a:pt x="509" y="1106"/>
                    <a:pt x="509" y="1106"/>
                    <a:pt x="509" y="1106"/>
                  </a:cubicBezTo>
                  <a:cubicBezTo>
                    <a:pt x="510" y="1106"/>
                    <a:pt x="510" y="1106"/>
                    <a:pt x="510" y="1106"/>
                  </a:cubicBezTo>
                  <a:cubicBezTo>
                    <a:pt x="511" y="1105"/>
                    <a:pt x="511" y="1105"/>
                    <a:pt x="511" y="1105"/>
                  </a:cubicBezTo>
                  <a:cubicBezTo>
                    <a:pt x="516" y="1104"/>
                    <a:pt x="516" y="1104"/>
                    <a:pt x="516" y="1104"/>
                  </a:cubicBezTo>
                  <a:cubicBezTo>
                    <a:pt x="519" y="1103"/>
                    <a:pt x="519" y="1103"/>
                    <a:pt x="519" y="1103"/>
                  </a:cubicBezTo>
                  <a:cubicBezTo>
                    <a:pt x="519" y="1102"/>
                    <a:pt x="519" y="1102"/>
                    <a:pt x="519" y="1102"/>
                  </a:cubicBezTo>
                  <a:cubicBezTo>
                    <a:pt x="520" y="1102"/>
                    <a:pt x="520" y="1102"/>
                    <a:pt x="520" y="1102"/>
                  </a:cubicBezTo>
                  <a:cubicBezTo>
                    <a:pt x="520" y="1102"/>
                    <a:pt x="520" y="1102"/>
                    <a:pt x="520" y="1102"/>
                  </a:cubicBezTo>
                  <a:cubicBezTo>
                    <a:pt x="520" y="1102"/>
                    <a:pt x="520" y="1102"/>
                    <a:pt x="520" y="1102"/>
                  </a:cubicBezTo>
                  <a:cubicBezTo>
                    <a:pt x="520" y="1101"/>
                    <a:pt x="520" y="1101"/>
                    <a:pt x="520" y="1101"/>
                  </a:cubicBezTo>
                  <a:cubicBezTo>
                    <a:pt x="520" y="1101"/>
                    <a:pt x="520" y="1101"/>
                    <a:pt x="520" y="1101"/>
                  </a:cubicBezTo>
                  <a:cubicBezTo>
                    <a:pt x="521" y="1101"/>
                    <a:pt x="521" y="1101"/>
                    <a:pt x="521" y="1101"/>
                  </a:cubicBezTo>
                  <a:cubicBezTo>
                    <a:pt x="522" y="1100"/>
                    <a:pt x="522" y="1100"/>
                    <a:pt x="522" y="1100"/>
                  </a:cubicBezTo>
                  <a:cubicBezTo>
                    <a:pt x="523" y="1100"/>
                    <a:pt x="523" y="1100"/>
                    <a:pt x="523" y="1100"/>
                  </a:cubicBezTo>
                  <a:cubicBezTo>
                    <a:pt x="523" y="1099"/>
                    <a:pt x="523" y="1099"/>
                    <a:pt x="523" y="1099"/>
                  </a:cubicBezTo>
                  <a:cubicBezTo>
                    <a:pt x="522" y="1099"/>
                    <a:pt x="522" y="1099"/>
                    <a:pt x="522" y="1099"/>
                  </a:cubicBezTo>
                  <a:cubicBezTo>
                    <a:pt x="523" y="1098"/>
                    <a:pt x="523" y="1098"/>
                    <a:pt x="523" y="1098"/>
                  </a:cubicBezTo>
                  <a:cubicBezTo>
                    <a:pt x="524" y="1096"/>
                    <a:pt x="524" y="1096"/>
                    <a:pt x="524" y="1096"/>
                  </a:cubicBezTo>
                  <a:cubicBezTo>
                    <a:pt x="524" y="1096"/>
                    <a:pt x="524" y="1096"/>
                    <a:pt x="524" y="1096"/>
                  </a:cubicBezTo>
                  <a:cubicBezTo>
                    <a:pt x="524" y="1095"/>
                    <a:pt x="524" y="1095"/>
                    <a:pt x="524" y="1095"/>
                  </a:cubicBezTo>
                  <a:cubicBezTo>
                    <a:pt x="524" y="1094"/>
                    <a:pt x="524" y="1094"/>
                    <a:pt x="524" y="1094"/>
                  </a:cubicBezTo>
                  <a:cubicBezTo>
                    <a:pt x="524" y="1094"/>
                    <a:pt x="524" y="1094"/>
                    <a:pt x="524" y="1094"/>
                  </a:cubicBezTo>
                  <a:cubicBezTo>
                    <a:pt x="524" y="1093"/>
                    <a:pt x="524" y="1093"/>
                    <a:pt x="524" y="1093"/>
                  </a:cubicBezTo>
                  <a:cubicBezTo>
                    <a:pt x="525" y="1093"/>
                    <a:pt x="525" y="1093"/>
                    <a:pt x="525" y="1093"/>
                  </a:cubicBezTo>
                  <a:cubicBezTo>
                    <a:pt x="526" y="1092"/>
                    <a:pt x="526" y="1092"/>
                    <a:pt x="526" y="1092"/>
                  </a:cubicBezTo>
                  <a:cubicBezTo>
                    <a:pt x="526" y="1092"/>
                    <a:pt x="526" y="1092"/>
                    <a:pt x="526" y="1092"/>
                  </a:cubicBezTo>
                  <a:cubicBezTo>
                    <a:pt x="527" y="1091"/>
                    <a:pt x="527" y="1091"/>
                    <a:pt x="527" y="1091"/>
                  </a:cubicBezTo>
                  <a:cubicBezTo>
                    <a:pt x="529" y="1091"/>
                    <a:pt x="529" y="1091"/>
                    <a:pt x="529" y="1091"/>
                  </a:cubicBezTo>
                  <a:cubicBezTo>
                    <a:pt x="529" y="1090"/>
                    <a:pt x="529" y="1090"/>
                    <a:pt x="529" y="1090"/>
                  </a:cubicBezTo>
                  <a:cubicBezTo>
                    <a:pt x="530" y="1090"/>
                    <a:pt x="530" y="1090"/>
                    <a:pt x="530" y="1090"/>
                  </a:cubicBezTo>
                  <a:cubicBezTo>
                    <a:pt x="530" y="1089"/>
                    <a:pt x="530" y="1089"/>
                    <a:pt x="530" y="1089"/>
                  </a:cubicBezTo>
                  <a:cubicBezTo>
                    <a:pt x="530" y="1089"/>
                    <a:pt x="530" y="1089"/>
                    <a:pt x="530" y="1089"/>
                  </a:cubicBezTo>
                  <a:cubicBezTo>
                    <a:pt x="530" y="1088"/>
                    <a:pt x="530" y="1088"/>
                    <a:pt x="530" y="1088"/>
                  </a:cubicBezTo>
                  <a:cubicBezTo>
                    <a:pt x="530" y="1088"/>
                    <a:pt x="530" y="1088"/>
                    <a:pt x="530" y="1088"/>
                  </a:cubicBezTo>
                  <a:cubicBezTo>
                    <a:pt x="530" y="1088"/>
                    <a:pt x="530" y="1088"/>
                    <a:pt x="530" y="1088"/>
                  </a:cubicBezTo>
                  <a:cubicBezTo>
                    <a:pt x="531" y="1088"/>
                    <a:pt x="531" y="1088"/>
                    <a:pt x="531" y="1088"/>
                  </a:cubicBezTo>
                  <a:cubicBezTo>
                    <a:pt x="531" y="1087"/>
                    <a:pt x="531" y="1087"/>
                    <a:pt x="531" y="1087"/>
                  </a:cubicBezTo>
                  <a:cubicBezTo>
                    <a:pt x="531" y="1087"/>
                    <a:pt x="531" y="1087"/>
                    <a:pt x="531" y="1087"/>
                  </a:cubicBezTo>
                  <a:cubicBezTo>
                    <a:pt x="531" y="1087"/>
                    <a:pt x="531" y="1087"/>
                    <a:pt x="531" y="1087"/>
                  </a:cubicBezTo>
                  <a:cubicBezTo>
                    <a:pt x="531" y="1086"/>
                    <a:pt x="531" y="1086"/>
                    <a:pt x="531" y="1086"/>
                  </a:cubicBezTo>
                  <a:cubicBezTo>
                    <a:pt x="532" y="1085"/>
                    <a:pt x="532" y="1085"/>
                    <a:pt x="532" y="1085"/>
                  </a:cubicBezTo>
                  <a:cubicBezTo>
                    <a:pt x="534" y="1084"/>
                    <a:pt x="534" y="1084"/>
                    <a:pt x="534" y="1084"/>
                  </a:cubicBezTo>
                  <a:cubicBezTo>
                    <a:pt x="534" y="1083"/>
                    <a:pt x="534" y="1083"/>
                    <a:pt x="534" y="1083"/>
                  </a:cubicBezTo>
                  <a:cubicBezTo>
                    <a:pt x="535" y="1083"/>
                    <a:pt x="535" y="1083"/>
                    <a:pt x="535" y="1083"/>
                  </a:cubicBezTo>
                  <a:cubicBezTo>
                    <a:pt x="535" y="1083"/>
                    <a:pt x="535" y="1083"/>
                    <a:pt x="535" y="1083"/>
                  </a:cubicBezTo>
                  <a:cubicBezTo>
                    <a:pt x="537" y="1081"/>
                    <a:pt x="537" y="1081"/>
                    <a:pt x="537" y="1081"/>
                  </a:cubicBezTo>
                  <a:cubicBezTo>
                    <a:pt x="537" y="1081"/>
                    <a:pt x="537" y="1081"/>
                    <a:pt x="537" y="1081"/>
                  </a:cubicBezTo>
                  <a:cubicBezTo>
                    <a:pt x="538" y="1081"/>
                    <a:pt x="538" y="1081"/>
                    <a:pt x="538" y="1081"/>
                  </a:cubicBezTo>
                  <a:cubicBezTo>
                    <a:pt x="538" y="1081"/>
                    <a:pt x="538" y="1081"/>
                    <a:pt x="538" y="1081"/>
                  </a:cubicBezTo>
                  <a:cubicBezTo>
                    <a:pt x="538" y="1081"/>
                    <a:pt x="538" y="1081"/>
                    <a:pt x="538" y="1081"/>
                  </a:cubicBezTo>
                  <a:cubicBezTo>
                    <a:pt x="538" y="1081"/>
                    <a:pt x="538" y="1081"/>
                    <a:pt x="538" y="1081"/>
                  </a:cubicBezTo>
                  <a:cubicBezTo>
                    <a:pt x="539" y="1080"/>
                    <a:pt x="539" y="1080"/>
                    <a:pt x="539" y="1080"/>
                  </a:cubicBezTo>
                  <a:cubicBezTo>
                    <a:pt x="540" y="1080"/>
                    <a:pt x="540" y="1080"/>
                    <a:pt x="540" y="1080"/>
                  </a:cubicBezTo>
                  <a:cubicBezTo>
                    <a:pt x="540" y="1080"/>
                    <a:pt x="540" y="1080"/>
                    <a:pt x="540" y="1080"/>
                  </a:cubicBezTo>
                  <a:cubicBezTo>
                    <a:pt x="542" y="1080"/>
                    <a:pt x="542" y="1080"/>
                    <a:pt x="542" y="1080"/>
                  </a:cubicBezTo>
                  <a:cubicBezTo>
                    <a:pt x="543" y="1080"/>
                    <a:pt x="543" y="1080"/>
                    <a:pt x="543" y="1080"/>
                  </a:cubicBezTo>
                  <a:cubicBezTo>
                    <a:pt x="543" y="1081"/>
                    <a:pt x="543" y="1081"/>
                    <a:pt x="543" y="1081"/>
                  </a:cubicBezTo>
                  <a:cubicBezTo>
                    <a:pt x="543" y="1081"/>
                    <a:pt x="543" y="1081"/>
                    <a:pt x="543" y="1081"/>
                  </a:cubicBezTo>
                  <a:cubicBezTo>
                    <a:pt x="545" y="1081"/>
                    <a:pt x="545" y="1081"/>
                    <a:pt x="545" y="1081"/>
                  </a:cubicBezTo>
                  <a:cubicBezTo>
                    <a:pt x="545" y="1081"/>
                    <a:pt x="545" y="1081"/>
                    <a:pt x="545" y="1081"/>
                  </a:cubicBezTo>
                  <a:cubicBezTo>
                    <a:pt x="546" y="1081"/>
                    <a:pt x="546" y="1081"/>
                    <a:pt x="546" y="1081"/>
                  </a:cubicBezTo>
                  <a:cubicBezTo>
                    <a:pt x="547" y="1082"/>
                    <a:pt x="547" y="1082"/>
                    <a:pt x="547" y="1082"/>
                  </a:cubicBezTo>
                  <a:cubicBezTo>
                    <a:pt x="550" y="1082"/>
                    <a:pt x="550" y="1082"/>
                    <a:pt x="550" y="1082"/>
                  </a:cubicBezTo>
                  <a:cubicBezTo>
                    <a:pt x="551" y="1083"/>
                    <a:pt x="551" y="1083"/>
                    <a:pt x="551" y="1083"/>
                  </a:cubicBezTo>
                  <a:cubicBezTo>
                    <a:pt x="552" y="1084"/>
                    <a:pt x="552" y="1084"/>
                    <a:pt x="552" y="1084"/>
                  </a:cubicBezTo>
                  <a:cubicBezTo>
                    <a:pt x="552" y="1084"/>
                    <a:pt x="552" y="1084"/>
                    <a:pt x="552" y="1084"/>
                  </a:cubicBezTo>
                  <a:cubicBezTo>
                    <a:pt x="552" y="1085"/>
                    <a:pt x="552" y="1085"/>
                    <a:pt x="552" y="1085"/>
                  </a:cubicBezTo>
                  <a:cubicBezTo>
                    <a:pt x="554" y="1085"/>
                    <a:pt x="554" y="1085"/>
                    <a:pt x="554" y="1085"/>
                  </a:cubicBezTo>
                  <a:cubicBezTo>
                    <a:pt x="554" y="1084"/>
                    <a:pt x="554" y="1084"/>
                    <a:pt x="554" y="1084"/>
                  </a:cubicBezTo>
                  <a:cubicBezTo>
                    <a:pt x="554" y="1084"/>
                    <a:pt x="554" y="1084"/>
                    <a:pt x="554" y="1084"/>
                  </a:cubicBezTo>
                  <a:cubicBezTo>
                    <a:pt x="554" y="1083"/>
                    <a:pt x="554" y="1083"/>
                    <a:pt x="554" y="1083"/>
                  </a:cubicBezTo>
                  <a:cubicBezTo>
                    <a:pt x="554" y="1083"/>
                    <a:pt x="554" y="1083"/>
                    <a:pt x="554" y="1083"/>
                  </a:cubicBezTo>
                  <a:cubicBezTo>
                    <a:pt x="555" y="1084"/>
                    <a:pt x="555" y="1084"/>
                    <a:pt x="555" y="1084"/>
                  </a:cubicBezTo>
                  <a:cubicBezTo>
                    <a:pt x="558" y="1086"/>
                    <a:pt x="558" y="1086"/>
                    <a:pt x="558" y="1086"/>
                  </a:cubicBezTo>
                  <a:cubicBezTo>
                    <a:pt x="558" y="1087"/>
                    <a:pt x="558" y="1087"/>
                    <a:pt x="558" y="1087"/>
                  </a:cubicBezTo>
                  <a:cubicBezTo>
                    <a:pt x="560" y="1087"/>
                    <a:pt x="560" y="1087"/>
                    <a:pt x="560" y="1087"/>
                  </a:cubicBezTo>
                  <a:cubicBezTo>
                    <a:pt x="560" y="1087"/>
                    <a:pt x="560" y="1087"/>
                    <a:pt x="560" y="1087"/>
                  </a:cubicBezTo>
                  <a:cubicBezTo>
                    <a:pt x="560" y="1088"/>
                    <a:pt x="560" y="1088"/>
                    <a:pt x="560" y="1088"/>
                  </a:cubicBezTo>
                  <a:cubicBezTo>
                    <a:pt x="561" y="1088"/>
                    <a:pt x="561" y="1088"/>
                    <a:pt x="561" y="1088"/>
                  </a:cubicBezTo>
                  <a:cubicBezTo>
                    <a:pt x="561" y="1088"/>
                    <a:pt x="561" y="1088"/>
                    <a:pt x="561" y="1088"/>
                  </a:cubicBezTo>
                  <a:cubicBezTo>
                    <a:pt x="562" y="1088"/>
                    <a:pt x="562" y="1088"/>
                    <a:pt x="562" y="1088"/>
                  </a:cubicBezTo>
                  <a:cubicBezTo>
                    <a:pt x="562" y="1088"/>
                    <a:pt x="562" y="1088"/>
                    <a:pt x="562" y="1088"/>
                  </a:cubicBezTo>
                  <a:cubicBezTo>
                    <a:pt x="562" y="1089"/>
                    <a:pt x="562" y="1089"/>
                    <a:pt x="562" y="1089"/>
                  </a:cubicBezTo>
                  <a:cubicBezTo>
                    <a:pt x="562" y="1089"/>
                    <a:pt x="562" y="1089"/>
                    <a:pt x="562" y="1089"/>
                  </a:cubicBezTo>
                  <a:cubicBezTo>
                    <a:pt x="564" y="1090"/>
                    <a:pt x="564" y="1090"/>
                    <a:pt x="564" y="1090"/>
                  </a:cubicBezTo>
                  <a:cubicBezTo>
                    <a:pt x="564" y="1090"/>
                    <a:pt x="564" y="1090"/>
                    <a:pt x="564" y="1090"/>
                  </a:cubicBezTo>
                  <a:cubicBezTo>
                    <a:pt x="564" y="1090"/>
                    <a:pt x="564" y="1090"/>
                    <a:pt x="564" y="1090"/>
                  </a:cubicBezTo>
                  <a:cubicBezTo>
                    <a:pt x="565" y="1090"/>
                    <a:pt x="565" y="1090"/>
                    <a:pt x="565" y="1090"/>
                  </a:cubicBezTo>
                  <a:cubicBezTo>
                    <a:pt x="566" y="1092"/>
                    <a:pt x="566" y="1092"/>
                    <a:pt x="566" y="1092"/>
                  </a:cubicBezTo>
                  <a:cubicBezTo>
                    <a:pt x="566" y="1092"/>
                    <a:pt x="566" y="1092"/>
                    <a:pt x="566" y="1092"/>
                  </a:cubicBezTo>
                  <a:cubicBezTo>
                    <a:pt x="566" y="1092"/>
                    <a:pt x="566" y="1092"/>
                    <a:pt x="566" y="1092"/>
                  </a:cubicBezTo>
                  <a:cubicBezTo>
                    <a:pt x="567" y="1092"/>
                    <a:pt x="567" y="1092"/>
                    <a:pt x="567" y="1092"/>
                  </a:cubicBezTo>
                  <a:cubicBezTo>
                    <a:pt x="568" y="1092"/>
                    <a:pt x="568" y="1092"/>
                    <a:pt x="568" y="1092"/>
                  </a:cubicBezTo>
                  <a:cubicBezTo>
                    <a:pt x="568" y="1093"/>
                    <a:pt x="568" y="1093"/>
                    <a:pt x="568" y="1093"/>
                  </a:cubicBezTo>
                  <a:cubicBezTo>
                    <a:pt x="569" y="1093"/>
                    <a:pt x="569" y="1093"/>
                    <a:pt x="569" y="1093"/>
                  </a:cubicBezTo>
                  <a:cubicBezTo>
                    <a:pt x="570" y="1095"/>
                    <a:pt x="570" y="1095"/>
                    <a:pt x="570" y="1095"/>
                  </a:cubicBezTo>
                  <a:cubicBezTo>
                    <a:pt x="572" y="1095"/>
                    <a:pt x="572" y="1095"/>
                    <a:pt x="572" y="1095"/>
                  </a:cubicBezTo>
                  <a:cubicBezTo>
                    <a:pt x="572" y="1096"/>
                    <a:pt x="572" y="1096"/>
                    <a:pt x="572" y="1096"/>
                  </a:cubicBezTo>
                  <a:cubicBezTo>
                    <a:pt x="572" y="1096"/>
                    <a:pt x="572" y="1096"/>
                    <a:pt x="572" y="1096"/>
                  </a:cubicBezTo>
                  <a:cubicBezTo>
                    <a:pt x="572" y="1095"/>
                    <a:pt x="572" y="1095"/>
                    <a:pt x="572" y="1095"/>
                  </a:cubicBezTo>
                  <a:cubicBezTo>
                    <a:pt x="572" y="1095"/>
                    <a:pt x="572" y="1095"/>
                    <a:pt x="572" y="1095"/>
                  </a:cubicBezTo>
                  <a:cubicBezTo>
                    <a:pt x="572" y="1095"/>
                    <a:pt x="572" y="1095"/>
                    <a:pt x="572" y="1095"/>
                  </a:cubicBezTo>
                  <a:cubicBezTo>
                    <a:pt x="572" y="1095"/>
                    <a:pt x="572" y="1095"/>
                    <a:pt x="572" y="1095"/>
                  </a:cubicBezTo>
                  <a:cubicBezTo>
                    <a:pt x="572" y="1095"/>
                    <a:pt x="572" y="1095"/>
                    <a:pt x="572" y="1095"/>
                  </a:cubicBezTo>
                  <a:cubicBezTo>
                    <a:pt x="572" y="1095"/>
                    <a:pt x="572" y="1095"/>
                    <a:pt x="572" y="1095"/>
                  </a:cubicBezTo>
                  <a:cubicBezTo>
                    <a:pt x="572" y="1094"/>
                    <a:pt x="572" y="1094"/>
                    <a:pt x="572" y="1094"/>
                  </a:cubicBezTo>
                  <a:cubicBezTo>
                    <a:pt x="572" y="1094"/>
                    <a:pt x="572" y="1094"/>
                    <a:pt x="572" y="1094"/>
                  </a:cubicBezTo>
                  <a:cubicBezTo>
                    <a:pt x="572" y="1094"/>
                    <a:pt x="572" y="1094"/>
                    <a:pt x="572" y="1094"/>
                  </a:cubicBezTo>
                  <a:cubicBezTo>
                    <a:pt x="572" y="1094"/>
                    <a:pt x="572" y="1094"/>
                    <a:pt x="572" y="1094"/>
                  </a:cubicBezTo>
                  <a:cubicBezTo>
                    <a:pt x="572" y="1094"/>
                    <a:pt x="572" y="1094"/>
                    <a:pt x="572" y="1094"/>
                  </a:cubicBezTo>
                  <a:cubicBezTo>
                    <a:pt x="572" y="1093"/>
                    <a:pt x="572" y="1093"/>
                    <a:pt x="572" y="1093"/>
                  </a:cubicBezTo>
                  <a:cubicBezTo>
                    <a:pt x="572" y="1093"/>
                    <a:pt x="572" y="1093"/>
                    <a:pt x="572" y="1093"/>
                  </a:cubicBezTo>
                  <a:cubicBezTo>
                    <a:pt x="573" y="1094"/>
                    <a:pt x="573" y="1094"/>
                    <a:pt x="573" y="1094"/>
                  </a:cubicBezTo>
                  <a:cubicBezTo>
                    <a:pt x="574" y="1094"/>
                    <a:pt x="574" y="1094"/>
                    <a:pt x="574" y="1094"/>
                  </a:cubicBezTo>
                  <a:cubicBezTo>
                    <a:pt x="574" y="1095"/>
                    <a:pt x="574" y="1095"/>
                    <a:pt x="574" y="1095"/>
                  </a:cubicBezTo>
                  <a:cubicBezTo>
                    <a:pt x="575" y="1095"/>
                    <a:pt x="575" y="1095"/>
                    <a:pt x="575" y="1095"/>
                  </a:cubicBezTo>
                  <a:cubicBezTo>
                    <a:pt x="575" y="1096"/>
                    <a:pt x="575" y="1096"/>
                    <a:pt x="575" y="1096"/>
                  </a:cubicBezTo>
                  <a:cubicBezTo>
                    <a:pt x="576" y="1096"/>
                    <a:pt x="576" y="1096"/>
                    <a:pt x="576" y="1096"/>
                  </a:cubicBezTo>
                  <a:cubicBezTo>
                    <a:pt x="576" y="1096"/>
                    <a:pt x="576" y="1096"/>
                    <a:pt x="576" y="1096"/>
                  </a:cubicBezTo>
                  <a:cubicBezTo>
                    <a:pt x="576" y="1096"/>
                    <a:pt x="576" y="1096"/>
                    <a:pt x="576" y="1096"/>
                  </a:cubicBezTo>
                  <a:cubicBezTo>
                    <a:pt x="576" y="1096"/>
                    <a:pt x="576" y="1096"/>
                    <a:pt x="576" y="1096"/>
                  </a:cubicBezTo>
                  <a:cubicBezTo>
                    <a:pt x="577" y="1095"/>
                    <a:pt x="577" y="1095"/>
                    <a:pt x="577" y="1095"/>
                  </a:cubicBezTo>
                  <a:cubicBezTo>
                    <a:pt x="577" y="1095"/>
                    <a:pt x="577" y="1095"/>
                    <a:pt x="577" y="1095"/>
                  </a:cubicBezTo>
                  <a:cubicBezTo>
                    <a:pt x="577" y="1096"/>
                    <a:pt x="577" y="1096"/>
                    <a:pt x="577" y="1096"/>
                  </a:cubicBezTo>
                  <a:cubicBezTo>
                    <a:pt x="578" y="1096"/>
                    <a:pt x="578" y="1096"/>
                    <a:pt x="578" y="1096"/>
                  </a:cubicBezTo>
                  <a:cubicBezTo>
                    <a:pt x="579" y="1097"/>
                    <a:pt x="579" y="1097"/>
                    <a:pt x="579" y="1097"/>
                  </a:cubicBezTo>
                  <a:cubicBezTo>
                    <a:pt x="580" y="1097"/>
                    <a:pt x="580" y="1097"/>
                    <a:pt x="580" y="1097"/>
                  </a:cubicBezTo>
                  <a:cubicBezTo>
                    <a:pt x="580" y="1097"/>
                    <a:pt x="580" y="1097"/>
                    <a:pt x="580" y="1097"/>
                  </a:cubicBezTo>
                  <a:cubicBezTo>
                    <a:pt x="581" y="1099"/>
                    <a:pt x="581" y="1099"/>
                    <a:pt x="581" y="1099"/>
                  </a:cubicBezTo>
                  <a:cubicBezTo>
                    <a:pt x="582" y="1100"/>
                    <a:pt x="582" y="1100"/>
                    <a:pt x="582" y="1100"/>
                  </a:cubicBezTo>
                  <a:cubicBezTo>
                    <a:pt x="583" y="1101"/>
                    <a:pt x="583" y="1101"/>
                    <a:pt x="583" y="1101"/>
                  </a:cubicBezTo>
                  <a:cubicBezTo>
                    <a:pt x="584" y="1104"/>
                    <a:pt x="584" y="1104"/>
                    <a:pt x="584" y="1104"/>
                  </a:cubicBezTo>
                  <a:cubicBezTo>
                    <a:pt x="585" y="1106"/>
                    <a:pt x="585" y="1106"/>
                    <a:pt x="585" y="1106"/>
                  </a:cubicBezTo>
                  <a:cubicBezTo>
                    <a:pt x="586" y="1116"/>
                    <a:pt x="586" y="1116"/>
                    <a:pt x="586" y="1116"/>
                  </a:cubicBezTo>
                  <a:cubicBezTo>
                    <a:pt x="586" y="1119"/>
                    <a:pt x="586" y="1119"/>
                    <a:pt x="586" y="1119"/>
                  </a:cubicBezTo>
                  <a:cubicBezTo>
                    <a:pt x="587" y="1120"/>
                    <a:pt x="587" y="1120"/>
                    <a:pt x="587" y="1120"/>
                  </a:cubicBezTo>
                  <a:cubicBezTo>
                    <a:pt x="588" y="1120"/>
                    <a:pt x="588" y="1120"/>
                    <a:pt x="588" y="1120"/>
                  </a:cubicBezTo>
                  <a:cubicBezTo>
                    <a:pt x="588" y="1120"/>
                    <a:pt x="588" y="1120"/>
                    <a:pt x="588" y="1120"/>
                  </a:cubicBezTo>
                  <a:cubicBezTo>
                    <a:pt x="590" y="1123"/>
                    <a:pt x="590" y="1123"/>
                    <a:pt x="590" y="1123"/>
                  </a:cubicBezTo>
                  <a:cubicBezTo>
                    <a:pt x="592" y="1128"/>
                    <a:pt x="592" y="1128"/>
                    <a:pt x="592" y="1128"/>
                  </a:cubicBezTo>
                  <a:cubicBezTo>
                    <a:pt x="593" y="1129"/>
                    <a:pt x="593" y="1129"/>
                    <a:pt x="593" y="1129"/>
                  </a:cubicBezTo>
                  <a:cubicBezTo>
                    <a:pt x="593" y="1130"/>
                    <a:pt x="593" y="1130"/>
                    <a:pt x="593" y="1130"/>
                  </a:cubicBezTo>
                  <a:cubicBezTo>
                    <a:pt x="593" y="1131"/>
                    <a:pt x="593" y="1131"/>
                    <a:pt x="593" y="1131"/>
                  </a:cubicBezTo>
                  <a:cubicBezTo>
                    <a:pt x="593" y="1132"/>
                    <a:pt x="593" y="1132"/>
                    <a:pt x="593" y="1132"/>
                  </a:cubicBezTo>
                  <a:cubicBezTo>
                    <a:pt x="593" y="1133"/>
                    <a:pt x="593" y="1133"/>
                    <a:pt x="593" y="1133"/>
                  </a:cubicBezTo>
                  <a:cubicBezTo>
                    <a:pt x="593" y="1133"/>
                    <a:pt x="593" y="1133"/>
                    <a:pt x="593" y="1133"/>
                  </a:cubicBezTo>
                  <a:cubicBezTo>
                    <a:pt x="593" y="1134"/>
                    <a:pt x="593" y="1134"/>
                    <a:pt x="593" y="1134"/>
                  </a:cubicBezTo>
                  <a:cubicBezTo>
                    <a:pt x="593" y="1135"/>
                    <a:pt x="593" y="1135"/>
                    <a:pt x="593" y="1135"/>
                  </a:cubicBezTo>
                  <a:cubicBezTo>
                    <a:pt x="593" y="1136"/>
                    <a:pt x="593" y="1136"/>
                    <a:pt x="593" y="1136"/>
                  </a:cubicBezTo>
                  <a:cubicBezTo>
                    <a:pt x="592" y="1138"/>
                    <a:pt x="592" y="1138"/>
                    <a:pt x="592" y="1138"/>
                  </a:cubicBezTo>
                  <a:cubicBezTo>
                    <a:pt x="592" y="1139"/>
                    <a:pt x="592" y="1139"/>
                    <a:pt x="592" y="1139"/>
                  </a:cubicBezTo>
                  <a:cubicBezTo>
                    <a:pt x="591" y="1139"/>
                    <a:pt x="591" y="1139"/>
                    <a:pt x="591" y="1139"/>
                  </a:cubicBezTo>
                  <a:cubicBezTo>
                    <a:pt x="592" y="1141"/>
                    <a:pt x="592" y="1141"/>
                    <a:pt x="592" y="1141"/>
                  </a:cubicBezTo>
                  <a:cubicBezTo>
                    <a:pt x="592" y="1142"/>
                    <a:pt x="592" y="1142"/>
                    <a:pt x="592" y="1142"/>
                  </a:cubicBezTo>
                  <a:cubicBezTo>
                    <a:pt x="593" y="1142"/>
                    <a:pt x="593" y="1142"/>
                    <a:pt x="593" y="1142"/>
                  </a:cubicBezTo>
                  <a:cubicBezTo>
                    <a:pt x="593" y="1141"/>
                    <a:pt x="593" y="1141"/>
                    <a:pt x="593" y="1141"/>
                  </a:cubicBezTo>
                  <a:cubicBezTo>
                    <a:pt x="593" y="1141"/>
                    <a:pt x="593" y="1141"/>
                    <a:pt x="593" y="1141"/>
                  </a:cubicBezTo>
                  <a:cubicBezTo>
                    <a:pt x="594" y="1141"/>
                    <a:pt x="594" y="1141"/>
                    <a:pt x="594" y="1141"/>
                  </a:cubicBezTo>
                  <a:cubicBezTo>
                    <a:pt x="596" y="1141"/>
                    <a:pt x="596" y="1141"/>
                    <a:pt x="596" y="1141"/>
                  </a:cubicBezTo>
                  <a:cubicBezTo>
                    <a:pt x="597" y="1141"/>
                    <a:pt x="597" y="1141"/>
                    <a:pt x="597" y="1141"/>
                  </a:cubicBezTo>
                  <a:cubicBezTo>
                    <a:pt x="599" y="1142"/>
                    <a:pt x="599" y="1142"/>
                    <a:pt x="599" y="1142"/>
                  </a:cubicBezTo>
                  <a:cubicBezTo>
                    <a:pt x="600" y="1142"/>
                    <a:pt x="600" y="1142"/>
                    <a:pt x="600" y="1142"/>
                  </a:cubicBezTo>
                  <a:cubicBezTo>
                    <a:pt x="600" y="1143"/>
                    <a:pt x="600" y="1143"/>
                    <a:pt x="600" y="1143"/>
                  </a:cubicBezTo>
                  <a:cubicBezTo>
                    <a:pt x="600" y="1143"/>
                    <a:pt x="600" y="1143"/>
                    <a:pt x="600" y="1143"/>
                  </a:cubicBezTo>
                  <a:cubicBezTo>
                    <a:pt x="600" y="1143"/>
                    <a:pt x="600" y="1143"/>
                    <a:pt x="600" y="1143"/>
                  </a:cubicBezTo>
                  <a:cubicBezTo>
                    <a:pt x="600" y="1144"/>
                    <a:pt x="600" y="1144"/>
                    <a:pt x="600" y="1144"/>
                  </a:cubicBezTo>
                  <a:cubicBezTo>
                    <a:pt x="600" y="1144"/>
                    <a:pt x="600" y="1144"/>
                    <a:pt x="600" y="1144"/>
                  </a:cubicBezTo>
                  <a:cubicBezTo>
                    <a:pt x="600" y="1145"/>
                    <a:pt x="600" y="1145"/>
                    <a:pt x="600" y="1145"/>
                  </a:cubicBezTo>
                  <a:cubicBezTo>
                    <a:pt x="600" y="1146"/>
                    <a:pt x="600" y="1146"/>
                    <a:pt x="600" y="1146"/>
                  </a:cubicBezTo>
                  <a:cubicBezTo>
                    <a:pt x="599" y="1146"/>
                    <a:pt x="599" y="1146"/>
                    <a:pt x="599" y="1146"/>
                  </a:cubicBezTo>
                  <a:cubicBezTo>
                    <a:pt x="599" y="1147"/>
                    <a:pt x="599" y="1147"/>
                    <a:pt x="599" y="1147"/>
                  </a:cubicBezTo>
                  <a:cubicBezTo>
                    <a:pt x="603" y="1149"/>
                    <a:pt x="603" y="1149"/>
                    <a:pt x="603" y="1149"/>
                  </a:cubicBezTo>
                  <a:cubicBezTo>
                    <a:pt x="605" y="1149"/>
                    <a:pt x="605" y="1149"/>
                    <a:pt x="605" y="1149"/>
                  </a:cubicBezTo>
                  <a:cubicBezTo>
                    <a:pt x="606" y="1150"/>
                    <a:pt x="606" y="1150"/>
                    <a:pt x="606" y="1150"/>
                  </a:cubicBezTo>
                  <a:cubicBezTo>
                    <a:pt x="606" y="1150"/>
                    <a:pt x="606" y="1150"/>
                    <a:pt x="606" y="1150"/>
                  </a:cubicBezTo>
                  <a:cubicBezTo>
                    <a:pt x="606" y="1151"/>
                    <a:pt x="606" y="1151"/>
                    <a:pt x="606" y="1151"/>
                  </a:cubicBezTo>
                  <a:cubicBezTo>
                    <a:pt x="606" y="1151"/>
                    <a:pt x="606" y="1151"/>
                    <a:pt x="606" y="1151"/>
                  </a:cubicBezTo>
                  <a:cubicBezTo>
                    <a:pt x="607" y="1152"/>
                    <a:pt x="607" y="1152"/>
                    <a:pt x="607" y="1152"/>
                  </a:cubicBezTo>
                  <a:cubicBezTo>
                    <a:pt x="607" y="1153"/>
                    <a:pt x="607" y="1153"/>
                    <a:pt x="607" y="1153"/>
                  </a:cubicBezTo>
                  <a:cubicBezTo>
                    <a:pt x="608" y="1153"/>
                    <a:pt x="608" y="1153"/>
                    <a:pt x="608" y="1153"/>
                  </a:cubicBezTo>
                  <a:cubicBezTo>
                    <a:pt x="609" y="1154"/>
                    <a:pt x="609" y="1154"/>
                    <a:pt x="609" y="1154"/>
                  </a:cubicBezTo>
                  <a:cubicBezTo>
                    <a:pt x="609" y="1155"/>
                    <a:pt x="609" y="1155"/>
                    <a:pt x="609" y="1155"/>
                  </a:cubicBezTo>
                  <a:cubicBezTo>
                    <a:pt x="609" y="1155"/>
                    <a:pt x="609" y="1155"/>
                    <a:pt x="609" y="1155"/>
                  </a:cubicBezTo>
                  <a:cubicBezTo>
                    <a:pt x="610" y="1156"/>
                    <a:pt x="610" y="1156"/>
                    <a:pt x="610" y="1156"/>
                  </a:cubicBezTo>
                  <a:cubicBezTo>
                    <a:pt x="610" y="1156"/>
                    <a:pt x="610" y="1156"/>
                    <a:pt x="610" y="1156"/>
                  </a:cubicBezTo>
                  <a:cubicBezTo>
                    <a:pt x="610" y="1157"/>
                    <a:pt x="610" y="1157"/>
                    <a:pt x="610" y="1157"/>
                  </a:cubicBezTo>
                  <a:cubicBezTo>
                    <a:pt x="611" y="1157"/>
                    <a:pt x="611" y="1157"/>
                    <a:pt x="611" y="1157"/>
                  </a:cubicBezTo>
                  <a:cubicBezTo>
                    <a:pt x="611" y="1157"/>
                    <a:pt x="611" y="1157"/>
                    <a:pt x="611" y="1157"/>
                  </a:cubicBezTo>
                  <a:cubicBezTo>
                    <a:pt x="611" y="1157"/>
                    <a:pt x="611" y="1157"/>
                    <a:pt x="611" y="1157"/>
                  </a:cubicBezTo>
                  <a:cubicBezTo>
                    <a:pt x="611" y="1157"/>
                    <a:pt x="611" y="1157"/>
                    <a:pt x="611" y="1157"/>
                  </a:cubicBezTo>
                  <a:cubicBezTo>
                    <a:pt x="612" y="1158"/>
                    <a:pt x="612" y="1158"/>
                    <a:pt x="612" y="1158"/>
                  </a:cubicBezTo>
                  <a:cubicBezTo>
                    <a:pt x="612" y="1159"/>
                    <a:pt x="612" y="1159"/>
                    <a:pt x="612" y="1159"/>
                  </a:cubicBezTo>
                  <a:cubicBezTo>
                    <a:pt x="612" y="1160"/>
                    <a:pt x="612" y="1160"/>
                    <a:pt x="612" y="1160"/>
                  </a:cubicBezTo>
                  <a:cubicBezTo>
                    <a:pt x="612" y="1161"/>
                    <a:pt x="612" y="1161"/>
                    <a:pt x="612" y="1161"/>
                  </a:cubicBezTo>
                  <a:cubicBezTo>
                    <a:pt x="611" y="1162"/>
                    <a:pt x="611" y="1162"/>
                    <a:pt x="611" y="1162"/>
                  </a:cubicBezTo>
                  <a:cubicBezTo>
                    <a:pt x="611" y="1162"/>
                    <a:pt x="611" y="1162"/>
                    <a:pt x="611" y="1162"/>
                  </a:cubicBezTo>
                  <a:cubicBezTo>
                    <a:pt x="610" y="1161"/>
                    <a:pt x="610" y="1161"/>
                    <a:pt x="610" y="1161"/>
                  </a:cubicBezTo>
                  <a:cubicBezTo>
                    <a:pt x="609" y="1162"/>
                    <a:pt x="609" y="1162"/>
                    <a:pt x="609" y="1162"/>
                  </a:cubicBezTo>
                  <a:cubicBezTo>
                    <a:pt x="609" y="1162"/>
                    <a:pt x="609" y="1162"/>
                    <a:pt x="609" y="1162"/>
                  </a:cubicBezTo>
                  <a:cubicBezTo>
                    <a:pt x="609" y="1162"/>
                    <a:pt x="609" y="1162"/>
                    <a:pt x="609" y="1162"/>
                  </a:cubicBezTo>
                  <a:cubicBezTo>
                    <a:pt x="609" y="1163"/>
                    <a:pt x="609" y="1163"/>
                    <a:pt x="609" y="1163"/>
                  </a:cubicBezTo>
                  <a:cubicBezTo>
                    <a:pt x="610" y="1164"/>
                    <a:pt x="610" y="1164"/>
                    <a:pt x="610" y="1164"/>
                  </a:cubicBezTo>
                  <a:cubicBezTo>
                    <a:pt x="611" y="1164"/>
                    <a:pt x="611" y="1164"/>
                    <a:pt x="611" y="1164"/>
                  </a:cubicBezTo>
                  <a:cubicBezTo>
                    <a:pt x="611" y="1164"/>
                    <a:pt x="611" y="1164"/>
                    <a:pt x="611" y="1164"/>
                  </a:cubicBezTo>
                  <a:cubicBezTo>
                    <a:pt x="611" y="1165"/>
                    <a:pt x="611" y="1165"/>
                    <a:pt x="611" y="1165"/>
                  </a:cubicBezTo>
                  <a:cubicBezTo>
                    <a:pt x="611" y="1165"/>
                    <a:pt x="611" y="1165"/>
                    <a:pt x="611" y="1165"/>
                  </a:cubicBezTo>
                  <a:cubicBezTo>
                    <a:pt x="611" y="1165"/>
                    <a:pt x="611" y="1165"/>
                    <a:pt x="611" y="1165"/>
                  </a:cubicBezTo>
                  <a:cubicBezTo>
                    <a:pt x="612" y="1165"/>
                    <a:pt x="612" y="1165"/>
                    <a:pt x="612" y="1165"/>
                  </a:cubicBezTo>
                  <a:cubicBezTo>
                    <a:pt x="612" y="1165"/>
                    <a:pt x="612" y="1165"/>
                    <a:pt x="612" y="1165"/>
                  </a:cubicBezTo>
                  <a:cubicBezTo>
                    <a:pt x="612" y="1164"/>
                    <a:pt x="612" y="1164"/>
                    <a:pt x="612" y="1164"/>
                  </a:cubicBezTo>
                  <a:cubicBezTo>
                    <a:pt x="613" y="1163"/>
                    <a:pt x="613" y="1163"/>
                    <a:pt x="613" y="1163"/>
                  </a:cubicBezTo>
                  <a:cubicBezTo>
                    <a:pt x="613" y="1163"/>
                    <a:pt x="613" y="1163"/>
                    <a:pt x="613" y="1163"/>
                  </a:cubicBezTo>
                  <a:cubicBezTo>
                    <a:pt x="613" y="1162"/>
                    <a:pt x="613" y="1162"/>
                    <a:pt x="613" y="1162"/>
                  </a:cubicBezTo>
                  <a:cubicBezTo>
                    <a:pt x="613" y="1162"/>
                    <a:pt x="613" y="1162"/>
                    <a:pt x="613" y="1162"/>
                  </a:cubicBezTo>
                  <a:cubicBezTo>
                    <a:pt x="614" y="1162"/>
                    <a:pt x="614" y="1162"/>
                    <a:pt x="614" y="1162"/>
                  </a:cubicBezTo>
                  <a:cubicBezTo>
                    <a:pt x="614" y="1162"/>
                    <a:pt x="614" y="1162"/>
                    <a:pt x="614" y="1162"/>
                  </a:cubicBezTo>
                  <a:cubicBezTo>
                    <a:pt x="617" y="1163"/>
                    <a:pt x="617" y="1163"/>
                    <a:pt x="617" y="1163"/>
                  </a:cubicBezTo>
                  <a:cubicBezTo>
                    <a:pt x="617" y="1163"/>
                    <a:pt x="617" y="1163"/>
                    <a:pt x="617" y="1163"/>
                  </a:cubicBezTo>
                  <a:cubicBezTo>
                    <a:pt x="617" y="1163"/>
                    <a:pt x="617" y="1163"/>
                    <a:pt x="617" y="1163"/>
                  </a:cubicBezTo>
                  <a:cubicBezTo>
                    <a:pt x="617" y="1163"/>
                    <a:pt x="617" y="1163"/>
                    <a:pt x="617" y="1163"/>
                  </a:cubicBezTo>
                  <a:cubicBezTo>
                    <a:pt x="618" y="1163"/>
                    <a:pt x="618" y="1163"/>
                    <a:pt x="618" y="1163"/>
                  </a:cubicBezTo>
                  <a:cubicBezTo>
                    <a:pt x="618" y="1163"/>
                    <a:pt x="618" y="1163"/>
                    <a:pt x="618" y="1163"/>
                  </a:cubicBezTo>
                  <a:cubicBezTo>
                    <a:pt x="618" y="1163"/>
                    <a:pt x="618" y="1163"/>
                    <a:pt x="618" y="1163"/>
                  </a:cubicBezTo>
                  <a:cubicBezTo>
                    <a:pt x="618" y="1164"/>
                    <a:pt x="618" y="1164"/>
                    <a:pt x="618" y="1164"/>
                  </a:cubicBezTo>
                  <a:cubicBezTo>
                    <a:pt x="619" y="1164"/>
                    <a:pt x="619" y="1164"/>
                    <a:pt x="619" y="1164"/>
                  </a:cubicBezTo>
                  <a:cubicBezTo>
                    <a:pt x="621" y="1165"/>
                    <a:pt x="621" y="1165"/>
                    <a:pt x="621" y="1165"/>
                  </a:cubicBezTo>
                  <a:cubicBezTo>
                    <a:pt x="622" y="1165"/>
                    <a:pt x="622" y="1165"/>
                    <a:pt x="622" y="1165"/>
                  </a:cubicBezTo>
                  <a:cubicBezTo>
                    <a:pt x="626" y="1168"/>
                    <a:pt x="626" y="1168"/>
                    <a:pt x="626" y="1168"/>
                  </a:cubicBezTo>
                  <a:cubicBezTo>
                    <a:pt x="627" y="1169"/>
                    <a:pt x="627" y="1169"/>
                    <a:pt x="627" y="1169"/>
                  </a:cubicBezTo>
                  <a:cubicBezTo>
                    <a:pt x="628" y="1173"/>
                    <a:pt x="628" y="1173"/>
                    <a:pt x="628" y="1173"/>
                  </a:cubicBezTo>
                  <a:cubicBezTo>
                    <a:pt x="629" y="1173"/>
                    <a:pt x="629" y="1173"/>
                    <a:pt x="629" y="1173"/>
                  </a:cubicBezTo>
                  <a:cubicBezTo>
                    <a:pt x="629" y="1174"/>
                    <a:pt x="629" y="1174"/>
                    <a:pt x="629" y="1174"/>
                  </a:cubicBezTo>
                  <a:cubicBezTo>
                    <a:pt x="629" y="1174"/>
                    <a:pt x="629" y="1174"/>
                    <a:pt x="629" y="1174"/>
                  </a:cubicBezTo>
                  <a:cubicBezTo>
                    <a:pt x="629" y="1175"/>
                    <a:pt x="629" y="1175"/>
                    <a:pt x="629" y="1175"/>
                  </a:cubicBezTo>
                  <a:cubicBezTo>
                    <a:pt x="630" y="1176"/>
                    <a:pt x="630" y="1176"/>
                    <a:pt x="630" y="1176"/>
                  </a:cubicBezTo>
                  <a:cubicBezTo>
                    <a:pt x="630" y="1176"/>
                    <a:pt x="630" y="1176"/>
                    <a:pt x="630" y="1176"/>
                  </a:cubicBezTo>
                  <a:cubicBezTo>
                    <a:pt x="631" y="1177"/>
                    <a:pt x="631" y="1177"/>
                    <a:pt x="631" y="1177"/>
                  </a:cubicBezTo>
                  <a:cubicBezTo>
                    <a:pt x="631" y="1178"/>
                    <a:pt x="631" y="1178"/>
                    <a:pt x="631" y="1178"/>
                  </a:cubicBezTo>
                  <a:cubicBezTo>
                    <a:pt x="631" y="1178"/>
                    <a:pt x="631" y="1178"/>
                    <a:pt x="631" y="1178"/>
                  </a:cubicBezTo>
                  <a:cubicBezTo>
                    <a:pt x="631" y="1178"/>
                    <a:pt x="631" y="1178"/>
                    <a:pt x="631" y="1178"/>
                  </a:cubicBezTo>
                  <a:cubicBezTo>
                    <a:pt x="634" y="1178"/>
                    <a:pt x="634" y="1178"/>
                    <a:pt x="634" y="1178"/>
                  </a:cubicBezTo>
                  <a:cubicBezTo>
                    <a:pt x="634" y="1178"/>
                    <a:pt x="634" y="1178"/>
                    <a:pt x="634" y="1178"/>
                  </a:cubicBezTo>
                  <a:cubicBezTo>
                    <a:pt x="635" y="1179"/>
                    <a:pt x="635" y="1179"/>
                    <a:pt x="635" y="1179"/>
                  </a:cubicBezTo>
                  <a:cubicBezTo>
                    <a:pt x="635" y="1179"/>
                    <a:pt x="635" y="1179"/>
                    <a:pt x="635" y="1179"/>
                  </a:cubicBezTo>
                  <a:cubicBezTo>
                    <a:pt x="636" y="1179"/>
                    <a:pt x="636" y="1179"/>
                    <a:pt x="636" y="1179"/>
                  </a:cubicBezTo>
                  <a:cubicBezTo>
                    <a:pt x="636" y="1180"/>
                    <a:pt x="636" y="1180"/>
                    <a:pt x="636" y="1180"/>
                  </a:cubicBezTo>
                  <a:cubicBezTo>
                    <a:pt x="637" y="1180"/>
                    <a:pt x="637" y="1180"/>
                    <a:pt x="637" y="1180"/>
                  </a:cubicBezTo>
                  <a:cubicBezTo>
                    <a:pt x="637" y="1180"/>
                    <a:pt x="637" y="1180"/>
                    <a:pt x="637" y="1180"/>
                  </a:cubicBezTo>
                  <a:cubicBezTo>
                    <a:pt x="637" y="1181"/>
                    <a:pt x="637" y="1181"/>
                    <a:pt x="637" y="1181"/>
                  </a:cubicBezTo>
                  <a:cubicBezTo>
                    <a:pt x="637" y="1181"/>
                    <a:pt x="637" y="1181"/>
                    <a:pt x="637" y="1181"/>
                  </a:cubicBezTo>
                  <a:cubicBezTo>
                    <a:pt x="638" y="1181"/>
                    <a:pt x="638" y="1181"/>
                    <a:pt x="638" y="1181"/>
                  </a:cubicBezTo>
                  <a:cubicBezTo>
                    <a:pt x="641" y="1183"/>
                    <a:pt x="641" y="1183"/>
                    <a:pt x="641" y="1183"/>
                  </a:cubicBezTo>
                  <a:cubicBezTo>
                    <a:pt x="641" y="1184"/>
                    <a:pt x="641" y="1184"/>
                    <a:pt x="641" y="1184"/>
                  </a:cubicBezTo>
                  <a:cubicBezTo>
                    <a:pt x="642" y="1185"/>
                    <a:pt x="642" y="1185"/>
                    <a:pt x="642" y="1185"/>
                  </a:cubicBezTo>
                  <a:cubicBezTo>
                    <a:pt x="642" y="1186"/>
                    <a:pt x="642" y="1186"/>
                    <a:pt x="642" y="1186"/>
                  </a:cubicBezTo>
                  <a:cubicBezTo>
                    <a:pt x="642" y="1187"/>
                    <a:pt x="642" y="1187"/>
                    <a:pt x="642" y="1187"/>
                  </a:cubicBezTo>
                  <a:cubicBezTo>
                    <a:pt x="642" y="1188"/>
                    <a:pt x="642" y="1188"/>
                    <a:pt x="642" y="1188"/>
                  </a:cubicBezTo>
                  <a:cubicBezTo>
                    <a:pt x="643" y="1189"/>
                    <a:pt x="643" y="1189"/>
                    <a:pt x="643" y="1189"/>
                  </a:cubicBezTo>
                  <a:cubicBezTo>
                    <a:pt x="643" y="1189"/>
                    <a:pt x="643" y="1189"/>
                    <a:pt x="643" y="1189"/>
                  </a:cubicBezTo>
                  <a:cubicBezTo>
                    <a:pt x="643" y="1190"/>
                    <a:pt x="643" y="1190"/>
                    <a:pt x="643" y="1190"/>
                  </a:cubicBezTo>
                  <a:cubicBezTo>
                    <a:pt x="644" y="1190"/>
                    <a:pt x="644" y="1190"/>
                    <a:pt x="644" y="1190"/>
                  </a:cubicBezTo>
                  <a:cubicBezTo>
                    <a:pt x="644" y="1190"/>
                    <a:pt x="644" y="1190"/>
                    <a:pt x="644" y="1190"/>
                  </a:cubicBezTo>
                  <a:cubicBezTo>
                    <a:pt x="645" y="1190"/>
                    <a:pt x="645" y="1190"/>
                    <a:pt x="645" y="1190"/>
                  </a:cubicBezTo>
                  <a:cubicBezTo>
                    <a:pt x="645" y="1191"/>
                    <a:pt x="645" y="1191"/>
                    <a:pt x="645" y="1191"/>
                  </a:cubicBezTo>
                  <a:cubicBezTo>
                    <a:pt x="646" y="1191"/>
                    <a:pt x="646" y="1191"/>
                    <a:pt x="646" y="1191"/>
                  </a:cubicBezTo>
                  <a:cubicBezTo>
                    <a:pt x="646" y="1191"/>
                    <a:pt x="646" y="1191"/>
                    <a:pt x="646" y="1191"/>
                  </a:cubicBezTo>
                  <a:cubicBezTo>
                    <a:pt x="649" y="1194"/>
                    <a:pt x="649" y="1194"/>
                    <a:pt x="649" y="1194"/>
                  </a:cubicBezTo>
                  <a:cubicBezTo>
                    <a:pt x="652" y="1198"/>
                    <a:pt x="652" y="1198"/>
                    <a:pt x="652" y="1198"/>
                  </a:cubicBezTo>
                  <a:cubicBezTo>
                    <a:pt x="655" y="1201"/>
                    <a:pt x="655" y="1201"/>
                    <a:pt x="655" y="1201"/>
                  </a:cubicBezTo>
                  <a:cubicBezTo>
                    <a:pt x="655" y="1202"/>
                    <a:pt x="655" y="1202"/>
                    <a:pt x="655" y="1202"/>
                  </a:cubicBezTo>
                  <a:cubicBezTo>
                    <a:pt x="655" y="1201"/>
                    <a:pt x="655" y="1201"/>
                    <a:pt x="655" y="1201"/>
                  </a:cubicBezTo>
                  <a:cubicBezTo>
                    <a:pt x="656" y="1201"/>
                    <a:pt x="656" y="1201"/>
                    <a:pt x="656" y="1201"/>
                  </a:cubicBezTo>
                  <a:cubicBezTo>
                    <a:pt x="656" y="1201"/>
                    <a:pt x="656" y="1201"/>
                    <a:pt x="656" y="1201"/>
                  </a:cubicBezTo>
                  <a:cubicBezTo>
                    <a:pt x="658" y="1202"/>
                    <a:pt x="658" y="1202"/>
                    <a:pt x="658" y="1202"/>
                  </a:cubicBezTo>
                  <a:cubicBezTo>
                    <a:pt x="659" y="1202"/>
                    <a:pt x="659" y="1202"/>
                    <a:pt x="659" y="1202"/>
                  </a:cubicBezTo>
                  <a:cubicBezTo>
                    <a:pt x="661" y="1203"/>
                    <a:pt x="661" y="1203"/>
                    <a:pt x="661" y="1203"/>
                  </a:cubicBezTo>
                  <a:cubicBezTo>
                    <a:pt x="662" y="1203"/>
                    <a:pt x="662" y="1203"/>
                    <a:pt x="662" y="1203"/>
                  </a:cubicBezTo>
                  <a:cubicBezTo>
                    <a:pt x="663" y="1203"/>
                    <a:pt x="663" y="1203"/>
                    <a:pt x="663" y="1203"/>
                  </a:cubicBezTo>
                  <a:cubicBezTo>
                    <a:pt x="664" y="1204"/>
                    <a:pt x="664" y="1204"/>
                    <a:pt x="664" y="1204"/>
                  </a:cubicBezTo>
                  <a:cubicBezTo>
                    <a:pt x="665" y="1206"/>
                    <a:pt x="665" y="1206"/>
                    <a:pt x="665" y="1206"/>
                  </a:cubicBezTo>
                  <a:cubicBezTo>
                    <a:pt x="666" y="1207"/>
                    <a:pt x="666" y="1207"/>
                    <a:pt x="666" y="1207"/>
                  </a:cubicBezTo>
                  <a:cubicBezTo>
                    <a:pt x="666" y="1208"/>
                    <a:pt x="666" y="1208"/>
                    <a:pt x="666" y="1208"/>
                  </a:cubicBezTo>
                  <a:cubicBezTo>
                    <a:pt x="667" y="1208"/>
                    <a:pt x="667" y="1208"/>
                    <a:pt x="667" y="1208"/>
                  </a:cubicBezTo>
                  <a:cubicBezTo>
                    <a:pt x="667" y="1209"/>
                    <a:pt x="667" y="1209"/>
                    <a:pt x="667" y="1209"/>
                  </a:cubicBezTo>
                  <a:cubicBezTo>
                    <a:pt x="667" y="1210"/>
                    <a:pt x="667" y="1210"/>
                    <a:pt x="667" y="1210"/>
                  </a:cubicBezTo>
                  <a:cubicBezTo>
                    <a:pt x="667" y="1210"/>
                    <a:pt x="667" y="1210"/>
                    <a:pt x="667" y="1210"/>
                  </a:cubicBezTo>
                  <a:cubicBezTo>
                    <a:pt x="668" y="1210"/>
                    <a:pt x="668" y="1210"/>
                    <a:pt x="668" y="1210"/>
                  </a:cubicBezTo>
                  <a:cubicBezTo>
                    <a:pt x="669" y="1210"/>
                    <a:pt x="669" y="1210"/>
                    <a:pt x="669" y="1210"/>
                  </a:cubicBezTo>
                  <a:cubicBezTo>
                    <a:pt x="669" y="1209"/>
                    <a:pt x="669" y="1209"/>
                    <a:pt x="669" y="1209"/>
                  </a:cubicBezTo>
                  <a:cubicBezTo>
                    <a:pt x="670" y="1209"/>
                    <a:pt x="670" y="1209"/>
                    <a:pt x="670" y="1209"/>
                  </a:cubicBezTo>
                  <a:cubicBezTo>
                    <a:pt x="671" y="1208"/>
                    <a:pt x="671" y="1208"/>
                    <a:pt x="671" y="1208"/>
                  </a:cubicBezTo>
                  <a:cubicBezTo>
                    <a:pt x="672" y="1208"/>
                    <a:pt x="672" y="1208"/>
                    <a:pt x="672" y="1208"/>
                  </a:cubicBezTo>
                  <a:cubicBezTo>
                    <a:pt x="674" y="1208"/>
                    <a:pt x="674" y="1208"/>
                    <a:pt x="674" y="1208"/>
                  </a:cubicBezTo>
                  <a:cubicBezTo>
                    <a:pt x="676" y="1208"/>
                    <a:pt x="676" y="1208"/>
                    <a:pt x="676" y="1208"/>
                  </a:cubicBezTo>
                  <a:cubicBezTo>
                    <a:pt x="680" y="1210"/>
                    <a:pt x="680" y="1210"/>
                    <a:pt x="680" y="1210"/>
                  </a:cubicBezTo>
                  <a:cubicBezTo>
                    <a:pt x="681" y="1210"/>
                    <a:pt x="681" y="1210"/>
                    <a:pt x="681" y="1210"/>
                  </a:cubicBezTo>
                  <a:cubicBezTo>
                    <a:pt x="681" y="1210"/>
                    <a:pt x="681" y="1210"/>
                    <a:pt x="681" y="1210"/>
                  </a:cubicBezTo>
                  <a:cubicBezTo>
                    <a:pt x="681" y="1210"/>
                    <a:pt x="681" y="1210"/>
                    <a:pt x="681" y="1210"/>
                  </a:cubicBezTo>
                  <a:cubicBezTo>
                    <a:pt x="681" y="1210"/>
                    <a:pt x="681" y="1210"/>
                    <a:pt x="681" y="1210"/>
                  </a:cubicBezTo>
                  <a:cubicBezTo>
                    <a:pt x="681" y="1211"/>
                    <a:pt x="681" y="1211"/>
                    <a:pt x="681" y="1211"/>
                  </a:cubicBezTo>
                  <a:cubicBezTo>
                    <a:pt x="682" y="1211"/>
                    <a:pt x="682" y="1211"/>
                    <a:pt x="682" y="1211"/>
                  </a:cubicBezTo>
                  <a:cubicBezTo>
                    <a:pt x="682" y="1211"/>
                    <a:pt x="682" y="1211"/>
                    <a:pt x="682" y="1211"/>
                  </a:cubicBezTo>
                  <a:cubicBezTo>
                    <a:pt x="683" y="1211"/>
                    <a:pt x="683" y="1211"/>
                    <a:pt x="683" y="1211"/>
                  </a:cubicBezTo>
                  <a:cubicBezTo>
                    <a:pt x="683" y="1210"/>
                    <a:pt x="683" y="1210"/>
                    <a:pt x="683" y="1210"/>
                  </a:cubicBezTo>
                  <a:cubicBezTo>
                    <a:pt x="683" y="1209"/>
                    <a:pt x="683" y="1209"/>
                    <a:pt x="683" y="1209"/>
                  </a:cubicBezTo>
                  <a:cubicBezTo>
                    <a:pt x="685" y="1209"/>
                    <a:pt x="685" y="1209"/>
                    <a:pt x="685" y="1209"/>
                  </a:cubicBezTo>
                  <a:cubicBezTo>
                    <a:pt x="685" y="1209"/>
                    <a:pt x="685" y="1209"/>
                    <a:pt x="685" y="1209"/>
                  </a:cubicBezTo>
                  <a:cubicBezTo>
                    <a:pt x="686" y="1209"/>
                    <a:pt x="686" y="1209"/>
                    <a:pt x="686" y="1209"/>
                  </a:cubicBezTo>
                  <a:cubicBezTo>
                    <a:pt x="687" y="1209"/>
                    <a:pt x="687" y="1209"/>
                    <a:pt x="687" y="1209"/>
                  </a:cubicBezTo>
                  <a:cubicBezTo>
                    <a:pt x="687" y="1209"/>
                    <a:pt x="687" y="1209"/>
                    <a:pt x="687" y="1209"/>
                  </a:cubicBezTo>
                  <a:cubicBezTo>
                    <a:pt x="689" y="1211"/>
                    <a:pt x="689" y="1211"/>
                    <a:pt x="689" y="1211"/>
                  </a:cubicBezTo>
                  <a:cubicBezTo>
                    <a:pt x="691" y="1213"/>
                    <a:pt x="691" y="1213"/>
                    <a:pt x="691" y="1213"/>
                  </a:cubicBezTo>
                  <a:cubicBezTo>
                    <a:pt x="692" y="1215"/>
                    <a:pt x="692" y="1215"/>
                    <a:pt x="692" y="1215"/>
                  </a:cubicBezTo>
                  <a:cubicBezTo>
                    <a:pt x="693" y="1217"/>
                    <a:pt x="693" y="1217"/>
                    <a:pt x="693" y="1217"/>
                  </a:cubicBezTo>
                  <a:cubicBezTo>
                    <a:pt x="693" y="1217"/>
                    <a:pt x="693" y="1217"/>
                    <a:pt x="693" y="1217"/>
                  </a:cubicBezTo>
                  <a:cubicBezTo>
                    <a:pt x="693" y="1218"/>
                    <a:pt x="693" y="1218"/>
                    <a:pt x="693" y="1218"/>
                  </a:cubicBezTo>
                  <a:cubicBezTo>
                    <a:pt x="693" y="1218"/>
                    <a:pt x="693" y="1218"/>
                    <a:pt x="693" y="1218"/>
                  </a:cubicBezTo>
                  <a:cubicBezTo>
                    <a:pt x="693" y="1219"/>
                    <a:pt x="693" y="1219"/>
                    <a:pt x="693" y="1219"/>
                  </a:cubicBezTo>
                  <a:cubicBezTo>
                    <a:pt x="694" y="1219"/>
                    <a:pt x="694" y="1219"/>
                    <a:pt x="694" y="1219"/>
                  </a:cubicBezTo>
                  <a:cubicBezTo>
                    <a:pt x="696" y="1222"/>
                    <a:pt x="696" y="1222"/>
                    <a:pt x="696" y="1222"/>
                  </a:cubicBezTo>
                  <a:cubicBezTo>
                    <a:pt x="697" y="1224"/>
                    <a:pt x="697" y="1224"/>
                    <a:pt x="697" y="1224"/>
                  </a:cubicBezTo>
                  <a:cubicBezTo>
                    <a:pt x="697" y="1226"/>
                    <a:pt x="697" y="1226"/>
                    <a:pt x="697" y="1226"/>
                  </a:cubicBezTo>
                  <a:cubicBezTo>
                    <a:pt x="697" y="1227"/>
                    <a:pt x="697" y="1227"/>
                    <a:pt x="697" y="1227"/>
                  </a:cubicBezTo>
                  <a:cubicBezTo>
                    <a:pt x="697" y="1228"/>
                    <a:pt x="697" y="1228"/>
                    <a:pt x="697" y="1228"/>
                  </a:cubicBezTo>
                  <a:cubicBezTo>
                    <a:pt x="698" y="1228"/>
                    <a:pt x="698" y="1228"/>
                    <a:pt x="698" y="1228"/>
                  </a:cubicBezTo>
                  <a:cubicBezTo>
                    <a:pt x="698" y="1228"/>
                    <a:pt x="698" y="1228"/>
                    <a:pt x="698" y="1228"/>
                  </a:cubicBezTo>
                  <a:cubicBezTo>
                    <a:pt x="698" y="1227"/>
                    <a:pt x="698" y="1227"/>
                    <a:pt x="698" y="1227"/>
                  </a:cubicBezTo>
                  <a:cubicBezTo>
                    <a:pt x="698" y="1227"/>
                    <a:pt x="698" y="1227"/>
                    <a:pt x="698" y="1227"/>
                  </a:cubicBezTo>
                  <a:cubicBezTo>
                    <a:pt x="698" y="1226"/>
                    <a:pt x="698" y="1226"/>
                    <a:pt x="698" y="1226"/>
                  </a:cubicBezTo>
                  <a:cubicBezTo>
                    <a:pt x="698" y="1226"/>
                    <a:pt x="698" y="1226"/>
                    <a:pt x="698" y="1226"/>
                  </a:cubicBezTo>
                  <a:cubicBezTo>
                    <a:pt x="698" y="1226"/>
                    <a:pt x="698" y="1226"/>
                    <a:pt x="698" y="1226"/>
                  </a:cubicBezTo>
                  <a:cubicBezTo>
                    <a:pt x="699" y="1226"/>
                    <a:pt x="699" y="1226"/>
                    <a:pt x="699" y="1226"/>
                  </a:cubicBezTo>
                  <a:cubicBezTo>
                    <a:pt x="699" y="1226"/>
                    <a:pt x="699" y="1226"/>
                    <a:pt x="699" y="1226"/>
                  </a:cubicBezTo>
                  <a:cubicBezTo>
                    <a:pt x="700" y="1226"/>
                    <a:pt x="700" y="1226"/>
                    <a:pt x="700" y="1226"/>
                  </a:cubicBezTo>
                  <a:cubicBezTo>
                    <a:pt x="701" y="1227"/>
                    <a:pt x="701" y="1227"/>
                    <a:pt x="701" y="1227"/>
                  </a:cubicBezTo>
                  <a:cubicBezTo>
                    <a:pt x="701" y="1227"/>
                    <a:pt x="701" y="1227"/>
                    <a:pt x="701" y="1227"/>
                  </a:cubicBezTo>
                  <a:cubicBezTo>
                    <a:pt x="702" y="1226"/>
                    <a:pt x="702" y="1226"/>
                    <a:pt x="702" y="1226"/>
                  </a:cubicBezTo>
                  <a:cubicBezTo>
                    <a:pt x="702" y="1226"/>
                    <a:pt x="702" y="1226"/>
                    <a:pt x="702" y="1226"/>
                  </a:cubicBezTo>
                  <a:cubicBezTo>
                    <a:pt x="703" y="1226"/>
                    <a:pt x="703" y="1226"/>
                    <a:pt x="703" y="1226"/>
                  </a:cubicBezTo>
                  <a:cubicBezTo>
                    <a:pt x="704" y="1225"/>
                    <a:pt x="704" y="1225"/>
                    <a:pt x="704" y="1225"/>
                  </a:cubicBezTo>
                  <a:cubicBezTo>
                    <a:pt x="704" y="1226"/>
                    <a:pt x="704" y="1226"/>
                    <a:pt x="704" y="1226"/>
                  </a:cubicBezTo>
                  <a:cubicBezTo>
                    <a:pt x="705" y="1226"/>
                    <a:pt x="705" y="1226"/>
                    <a:pt x="705" y="1226"/>
                  </a:cubicBezTo>
                  <a:cubicBezTo>
                    <a:pt x="706" y="1227"/>
                    <a:pt x="706" y="1227"/>
                    <a:pt x="706" y="1227"/>
                  </a:cubicBezTo>
                  <a:cubicBezTo>
                    <a:pt x="706" y="1228"/>
                    <a:pt x="706" y="1228"/>
                    <a:pt x="706" y="1228"/>
                  </a:cubicBezTo>
                  <a:cubicBezTo>
                    <a:pt x="707" y="1228"/>
                    <a:pt x="707" y="1228"/>
                    <a:pt x="707" y="1228"/>
                  </a:cubicBezTo>
                  <a:cubicBezTo>
                    <a:pt x="707" y="1229"/>
                    <a:pt x="707" y="1229"/>
                    <a:pt x="707" y="1229"/>
                  </a:cubicBezTo>
                  <a:cubicBezTo>
                    <a:pt x="707" y="1229"/>
                    <a:pt x="707" y="1229"/>
                    <a:pt x="707" y="1229"/>
                  </a:cubicBezTo>
                  <a:cubicBezTo>
                    <a:pt x="708" y="1229"/>
                    <a:pt x="708" y="1229"/>
                    <a:pt x="708" y="1229"/>
                  </a:cubicBezTo>
                  <a:cubicBezTo>
                    <a:pt x="709" y="1229"/>
                    <a:pt x="709" y="1229"/>
                    <a:pt x="709" y="1229"/>
                  </a:cubicBezTo>
                  <a:cubicBezTo>
                    <a:pt x="709" y="1229"/>
                    <a:pt x="709" y="1229"/>
                    <a:pt x="709" y="1229"/>
                  </a:cubicBezTo>
                  <a:cubicBezTo>
                    <a:pt x="710" y="1230"/>
                    <a:pt x="710" y="1230"/>
                    <a:pt x="710" y="1230"/>
                  </a:cubicBezTo>
                  <a:cubicBezTo>
                    <a:pt x="710" y="1231"/>
                    <a:pt x="710" y="1231"/>
                    <a:pt x="710" y="1231"/>
                  </a:cubicBezTo>
                  <a:cubicBezTo>
                    <a:pt x="710" y="1231"/>
                    <a:pt x="710" y="1231"/>
                    <a:pt x="710" y="1231"/>
                  </a:cubicBezTo>
                  <a:cubicBezTo>
                    <a:pt x="709" y="1231"/>
                    <a:pt x="709" y="1231"/>
                    <a:pt x="709" y="1231"/>
                  </a:cubicBezTo>
                  <a:cubicBezTo>
                    <a:pt x="707" y="1233"/>
                    <a:pt x="707" y="1233"/>
                    <a:pt x="707" y="1233"/>
                  </a:cubicBezTo>
                  <a:cubicBezTo>
                    <a:pt x="707" y="1233"/>
                    <a:pt x="707" y="1233"/>
                    <a:pt x="707" y="1233"/>
                  </a:cubicBezTo>
                  <a:cubicBezTo>
                    <a:pt x="707" y="1234"/>
                    <a:pt x="707" y="1234"/>
                    <a:pt x="707" y="1234"/>
                  </a:cubicBezTo>
                  <a:cubicBezTo>
                    <a:pt x="707" y="1234"/>
                    <a:pt x="707" y="1234"/>
                    <a:pt x="707" y="1234"/>
                  </a:cubicBezTo>
                  <a:cubicBezTo>
                    <a:pt x="706" y="1234"/>
                    <a:pt x="706" y="1234"/>
                    <a:pt x="706" y="1234"/>
                  </a:cubicBezTo>
                  <a:cubicBezTo>
                    <a:pt x="705" y="1234"/>
                    <a:pt x="705" y="1234"/>
                    <a:pt x="705" y="1234"/>
                  </a:cubicBezTo>
                  <a:cubicBezTo>
                    <a:pt x="705" y="1235"/>
                    <a:pt x="705" y="1235"/>
                    <a:pt x="705" y="1235"/>
                  </a:cubicBezTo>
                  <a:cubicBezTo>
                    <a:pt x="705" y="1236"/>
                    <a:pt x="705" y="1236"/>
                    <a:pt x="705" y="1236"/>
                  </a:cubicBezTo>
                  <a:cubicBezTo>
                    <a:pt x="706" y="1236"/>
                    <a:pt x="706" y="1236"/>
                    <a:pt x="706" y="1236"/>
                  </a:cubicBezTo>
                  <a:cubicBezTo>
                    <a:pt x="706" y="1236"/>
                    <a:pt x="706" y="1236"/>
                    <a:pt x="706" y="1236"/>
                  </a:cubicBezTo>
                  <a:cubicBezTo>
                    <a:pt x="707" y="1235"/>
                    <a:pt x="707" y="1235"/>
                    <a:pt x="707" y="1235"/>
                  </a:cubicBezTo>
                  <a:cubicBezTo>
                    <a:pt x="708" y="1234"/>
                    <a:pt x="708" y="1234"/>
                    <a:pt x="708" y="1234"/>
                  </a:cubicBezTo>
                  <a:cubicBezTo>
                    <a:pt x="710" y="1234"/>
                    <a:pt x="710" y="1234"/>
                    <a:pt x="710" y="1234"/>
                  </a:cubicBezTo>
                  <a:cubicBezTo>
                    <a:pt x="710" y="1234"/>
                    <a:pt x="710" y="1234"/>
                    <a:pt x="710" y="1234"/>
                  </a:cubicBezTo>
                  <a:cubicBezTo>
                    <a:pt x="711" y="1234"/>
                    <a:pt x="711" y="1234"/>
                    <a:pt x="711" y="1234"/>
                  </a:cubicBezTo>
                  <a:cubicBezTo>
                    <a:pt x="712" y="1234"/>
                    <a:pt x="712" y="1234"/>
                    <a:pt x="712" y="1234"/>
                  </a:cubicBezTo>
                  <a:cubicBezTo>
                    <a:pt x="712" y="1234"/>
                    <a:pt x="712" y="1234"/>
                    <a:pt x="712" y="1234"/>
                  </a:cubicBezTo>
                  <a:cubicBezTo>
                    <a:pt x="714" y="1233"/>
                    <a:pt x="714" y="1233"/>
                    <a:pt x="714" y="1233"/>
                  </a:cubicBezTo>
                  <a:cubicBezTo>
                    <a:pt x="714" y="1233"/>
                    <a:pt x="714" y="1233"/>
                    <a:pt x="714" y="1233"/>
                  </a:cubicBezTo>
                  <a:cubicBezTo>
                    <a:pt x="716" y="1233"/>
                    <a:pt x="716" y="1233"/>
                    <a:pt x="716" y="1233"/>
                  </a:cubicBezTo>
                  <a:cubicBezTo>
                    <a:pt x="716" y="1233"/>
                    <a:pt x="716" y="1233"/>
                    <a:pt x="716" y="1233"/>
                  </a:cubicBezTo>
                  <a:cubicBezTo>
                    <a:pt x="717" y="1232"/>
                    <a:pt x="717" y="1232"/>
                    <a:pt x="717" y="1232"/>
                  </a:cubicBezTo>
                  <a:cubicBezTo>
                    <a:pt x="718" y="1232"/>
                    <a:pt x="718" y="1232"/>
                    <a:pt x="718" y="1232"/>
                  </a:cubicBezTo>
                  <a:cubicBezTo>
                    <a:pt x="719" y="1232"/>
                    <a:pt x="719" y="1232"/>
                    <a:pt x="719" y="1232"/>
                  </a:cubicBezTo>
                  <a:cubicBezTo>
                    <a:pt x="720" y="1233"/>
                    <a:pt x="720" y="1233"/>
                    <a:pt x="720" y="1233"/>
                  </a:cubicBezTo>
                  <a:cubicBezTo>
                    <a:pt x="720" y="1234"/>
                    <a:pt x="720" y="1234"/>
                    <a:pt x="720" y="1234"/>
                  </a:cubicBezTo>
                  <a:cubicBezTo>
                    <a:pt x="721" y="1235"/>
                    <a:pt x="721" y="1235"/>
                    <a:pt x="721" y="1235"/>
                  </a:cubicBezTo>
                  <a:cubicBezTo>
                    <a:pt x="722" y="1236"/>
                    <a:pt x="722" y="1236"/>
                    <a:pt x="722" y="1236"/>
                  </a:cubicBezTo>
                  <a:cubicBezTo>
                    <a:pt x="724" y="1241"/>
                    <a:pt x="724" y="1241"/>
                    <a:pt x="724" y="1241"/>
                  </a:cubicBezTo>
                  <a:cubicBezTo>
                    <a:pt x="725" y="1243"/>
                    <a:pt x="725" y="1243"/>
                    <a:pt x="725" y="1243"/>
                  </a:cubicBezTo>
                  <a:cubicBezTo>
                    <a:pt x="725" y="1244"/>
                    <a:pt x="725" y="1244"/>
                    <a:pt x="725" y="1244"/>
                  </a:cubicBezTo>
                  <a:cubicBezTo>
                    <a:pt x="725" y="1244"/>
                    <a:pt x="725" y="1244"/>
                    <a:pt x="725" y="1244"/>
                  </a:cubicBezTo>
                  <a:cubicBezTo>
                    <a:pt x="724" y="1245"/>
                    <a:pt x="724" y="1245"/>
                    <a:pt x="724" y="1245"/>
                  </a:cubicBezTo>
                  <a:cubicBezTo>
                    <a:pt x="724" y="1245"/>
                    <a:pt x="724" y="1245"/>
                    <a:pt x="724" y="1245"/>
                  </a:cubicBezTo>
                  <a:cubicBezTo>
                    <a:pt x="724" y="1245"/>
                    <a:pt x="724" y="1245"/>
                    <a:pt x="724" y="1245"/>
                  </a:cubicBezTo>
                  <a:cubicBezTo>
                    <a:pt x="723" y="1245"/>
                    <a:pt x="723" y="1245"/>
                    <a:pt x="723" y="1245"/>
                  </a:cubicBezTo>
                  <a:cubicBezTo>
                    <a:pt x="723" y="1245"/>
                    <a:pt x="723" y="1245"/>
                    <a:pt x="723" y="1245"/>
                  </a:cubicBezTo>
                  <a:cubicBezTo>
                    <a:pt x="723" y="1246"/>
                    <a:pt x="723" y="1246"/>
                    <a:pt x="723" y="1246"/>
                  </a:cubicBezTo>
                  <a:cubicBezTo>
                    <a:pt x="723" y="1246"/>
                    <a:pt x="723" y="1246"/>
                    <a:pt x="723" y="1246"/>
                  </a:cubicBezTo>
                  <a:cubicBezTo>
                    <a:pt x="723" y="1247"/>
                    <a:pt x="723" y="1247"/>
                    <a:pt x="723" y="1247"/>
                  </a:cubicBezTo>
                  <a:cubicBezTo>
                    <a:pt x="722" y="1248"/>
                    <a:pt x="722" y="1248"/>
                    <a:pt x="722" y="1248"/>
                  </a:cubicBezTo>
                  <a:cubicBezTo>
                    <a:pt x="722" y="1249"/>
                    <a:pt x="722" y="1249"/>
                    <a:pt x="722" y="1249"/>
                  </a:cubicBezTo>
                  <a:cubicBezTo>
                    <a:pt x="723" y="1249"/>
                    <a:pt x="723" y="1249"/>
                    <a:pt x="723" y="1249"/>
                  </a:cubicBezTo>
                  <a:cubicBezTo>
                    <a:pt x="723" y="1250"/>
                    <a:pt x="723" y="1250"/>
                    <a:pt x="723" y="1250"/>
                  </a:cubicBezTo>
                  <a:cubicBezTo>
                    <a:pt x="724" y="1249"/>
                    <a:pt x="724" y="1249"/>
                    <a:pt x="724" y="1249"/>
                  </a:cubicBezTo>
                  <a:cubicBezTo>
                    <a:pt x="724" y="1250"/>
                    <a:pt x="724" y="1250"/>
                    <a:pt x="724" y="1250"/>
                  </a:cubicBezTo>
                  <a:cubicBezTo>
                    <a:pt x="724" y="1250"/>
                    <a:pt x="724" y="1250"/>
                    <a:pt x="724" y="1250"/>
                  </a:cubicBezTo>
                  <a:cubicBezTo>
                    <a:pt x="725" y="1250"/>
                    <a:pt x="725" y="1250"/>
                    <a:pt x="725" y="1250"/>
                  </a:cubicBezTo>
                  <a:cubicBezTo>
                    <a:pt x="726" y="1251"/>
                    <a:pt x="726" y="1251"/>
                    <a:pt x="726" y="1251"/>
                  </a:cubicBezTo>
                  <a:cubicBezTo>
                    <a:pt x="726" y="1251"/>
                    <a:pt x="726" y="1251"/>
                    <a:pt x="726" y="1251"/>
                  </a:cubicBezTo>
                  <a:cubicBezTo>
                    <a:pt x="727" y="1252"/>
                    <a:pt x="727" y="1252"/>
                    <a:pt x="727" y="1252"/>
                  </a:cubicBezTo>
                  <a:cubicBezTo>
                    <a:pt x="727" y="1252"/>
                    <a:pt x="727" y="1252"/>
                    <a:pt x="727" y="1252"/>
                  </a:cubicBezTo>
                  <a:cubicBezTo>
                    <a:pt x="728" y="1252"/>
                    <a:pt x="728" y="1252"/>
                    <a:pt x="728" y="1252"/>
                  </a:cubicBezTo>
                  <a:cubicBezTo>
                    <a:pt x="729" y="1251"/>
                    <a:pt x="729" y="1251"/>
                    <a:pt x="729" y="1251"/>
                  </a:cubicBezTo>
                  <a:cubicBezTo>
                    <a:pt x="729" y="1252"/>
                    <a:pt x="729" y="1252"/>
                    <a:pt x="729" y="1252"/>
                  </a:cubicBezTo>
                  <a:cubicBezTo>
                    <a:pt x="731" y="1254"/>
                    <a:pt x="731" y="1254"/>
                    <a:pt x="731" y="1254"/>
                  </a:cubicBezTo>
                  <a:cubicBezTo>
                    <a:pt x="731" y="1254"/>
                    <a:pt x="731" y="1254"/>
                    <a:pt x="731" y="1254"/>
                  </a:cubicBezTo>
                  <a:cubicBezTo>
                    <a:pt x="732" y="1255"/>
                    <a:pt x="732" y="1255"/>
                    <a:pt x="732" y="1255"/>
                  </a:cubicBezTo>
                  <a:cubicBezTo>
                    <a:pt x="733" y="1255"/>
                    <a:pt x="733" y="1255"/>
                    <a:pt x="733" y="1255"/>
                  </a:cubicBezTo>
                  <a:cubicBezTo>
                    <a:pt x="733" y="1257"/>
                    <a:pt x="733" y="1257"/>
                    <a:pt x="733" y="1257"/>
                  </a:cubicBezTo>
                  <a:cubicBezTo>
                    <a:pt x="733" y="1257"/>
                    <a:pt x="733" y="1257"/>
                    <a:pt x="733" y="1257"/>
                  </a:cubicBezTo>
                  <a:cubicBezTo>
                    <a:pt x="733" y="1257"/>
                    <a:pt x="733" y="1257"/>
                    <a:pt x="733" y="1257"/>
                  </a:cubicBezTo>
                  <a:cubicBezTo>
                    <a:pt x="733" y="1257"/>
                    <a:pt x="733" y="1257"/>
                    <a:pt x="733" y="1257"/>
                  </a:cubicBezTo>
                  <a:cubicBezTo>
                    <a:pt x="733" y="1257"/>
                    <a:pt x="733" y="1257"/>
                    <a:pt x="733" y="1257"/>
                  </a:cubicBezTo>
                  <a:cubicBezTo>
                    <a:pt x="734" y="1257"/>
                    <a:pt x="734" y="1257"/>
                    <a:pt x="734" y="1257"/>
                  </a:cubicBezTo>
                  <a:cubicBezTo>
                    <a:pt x="734" y="1257"/>
                    <a:pt x="734" y="1257"/>
                    <a:pt x="734" y="1257"/>
                  </a:cubicBezTo>
                  <a:cubicBezTo>
                    <a:pt x="734" y="1257"/>
                    <a:pt x="734" y="1257"/>
                    <a:pt x="734" y="1257"/>
                  </a:cubicBezTo>
                  <a:cubicBezTo>
                    <a:pt x="735" y="1258"/>
                    <a:pt x="735" y="1258"/>
                    <a:pt x="735" y="1258"/>
                  </a:cubicBezTo>
                  <a:cubicBezTo>
                    <a:pt x="736" y="1258"/>
                    <a:pt x="736" y="1258"/>
                    <a:pt x="736" y="1258"/>
                  </a:cubicBezTo>
                  <a:cubicBezTo>
                    <a:pt x="737" y="1259"/>
                    <a:pt x="737" y="1259"/>
                    <a:pt x="737" y="1259"/>
                  </a:cubicBezTo>
                  <a:cubicBezTo>
                    <a:pt x="738" y="1258"/>
                    <a:pt x="738" y="1258"/>
                    <a:pt x="738" y="1258"/>
                  </a:cubicBezTo>
                  <a:cubicBezTo>
                    <a:pt x="739" y="1257"/>
                    <a:pt x="739" y="1257"/>
                    <a:pt x="739" y="1257"/>
                  </a:cubicBezTo>
                  <a:cubicBezTo>
                    <a:pt x="740" y="1257"/>
                    <a:pt x="740" y="1257"/>
                    <a:pt x="740" y="1257"/>
                  </a:cubicBezTo>
                  <a:cubicBezTo>
                    <a:pt x="740" y="1256"/>
                    <a:pt x="740" y="1256"/>
                    <a:pt x="740" y="1256"/>
                  </a:cubicBezTo>
                  <a:cubicBezTo>
                    <a:pt x="741" y="1255"/>
                    <a:pt x="741" y="1255"/>
                    <a:pt x="741" y="1255"/>
                  </a:cubicBezTo>
                  <a:cubicBezTo>
                    <a:pt x="743" y="1256"/>
                    <a:pt x="743" y="1256"/>
                    <a:pt x="743" y="1256"/>
                  </a:cubicBezTo>
                  <a:cubicBezTo>
                    <a:pt x="744" y="1255"/>
                    <a:pt x="744" y="1255"/>
                    <a:pt x="744" y="1255"/>
                  </a:cubicBezTo>
                  <a:cubicBezTo>
                    <a:pt x="744" y="1256"/>
                    <a:pt x="744" y="1256"/>
                    <a:pt x="744" y="1256"/>
                  </a:cubicBezTo>
                  <a:cubicBezTo>
                    <a:pt x="744" y="1256"/>
                    <a:pt x="744" y="1256"/>
                    <a:pt x="744" y="1256"/>
                  </a:cubicBezTo>
                  <a:cubicBezTo>
                    <a:pt x="744" y="1257"/>
                    <a:pt x="744" y="1257"/>
                    <a:pt x="744" y="1257"/>
                  </a:cubicBezTo>
                  <a:cubicBezTo>
                    <a:pt x="745" y="1258"/>
                    <a:pt x="745" y="1258"/>
                    <a:pt x="745" y="1258"/>
                  </a:cubicBezTo>
                  <a:cubicBezTo>
                    <a:pt x="746" y="1259"/>
                    <a:pt x="746" y="1259"/>
                    <a:pt x="746" y="1259"/>
                  </a:cubicBezTo>
                  <a:cubicBezTo>
                    <a:pt x="747" y="1260"/>
                    <a:pt x="747" y="1260"/>
                    <a:pt x="747" y="1260"/>
                  </a:cubicBezTo>
                  <a:cubicBezTo>
                    <a:pt x="747" y="1261"/>
                    <a:pt x="747" y="1261"/>
                    <a:pt x="747" y="1261"/>
                  </a:cubicBezTo>
                  <a:cubicBezTo>
                    <a:pt x="747" y="1261"/>
                    <a:pt x="747" y="1261"/>
                    <a:pt x="747" y="1261"/>
                  </a:cubicBezTo>
                  <a:cubicBezTo>
                    <a:pt x="748" y="1263"/>
                    <a:pt x="748" y="1263"/>
                    <a:pt x="748" y="1263"/>
                  </a:cubicBezTo>
                  <a:cubicBezTo>
                    <a:pt x="748" y="1264"/>
                    <a:pt x="748" y="1264"/>
                    <a:pt x="748" y="1264"/>
                  </a:cubicBezTo>
                  <a:cubicBezTo>
                    <a:pt x="748" y="1265"/>
                    <a:pt x="748" y="1265"/>
                    <a:pt x="748" y="1265"/>
                  </a:cubicBezTo>
                  <a:cubicBezTo>
                    <a:pt x="748" y="1265"/>
                    <a:pt x="748" y="1265"/>
                    <a:pt x="748" y="1265"/>
                  </a:cubicBezTo>
                  <a:cubicBezTo>
                    <a:pt x="748" y="1265"/>
                    <a:pt x="748" y="1265"/>
                    <a:pt x="748" y="1265"/>
                  </a:cubicBezTo>
                  <a:cubicBezTo>
                    <a:pt x="748" y="1266"/>
                    <a:pt x="748" y="1266"/>
                    <a:pt x="748" y="1266"/>
                  </a:cubicBezTo>
                  <a:cubicBezTo>
                    <a:pt x="749" y="1267"/>
                    <a:pt x="749" y="1267"/>
                    <a:pt x="749" y="1267"/>
                  </a:cubicBezTo>
                  <a:cubicBezTo>
                    <a:pt x="749" y="1266"/>
                    <a:pt x="749" y="1266"/>
                    <a:pt x="749" y="1266"/>
                  </a:cubicBezTo>
                  <a:cubicBezTo>
                    <a:pt x="749" y="1270"/>
                    <a:pt x="749" y="1270"/>
                    <a:pt x="749" y="1270"/>
                  </a:cubicBezTo>
                  <a:cubicBezTo>
                    <a:pt x="749" y="1271"/>
                    <a:pt x="749" y="1271"/>
                    <a:pt x="749" y="1271"/>
                  </a:cubicBezTo>
                  <a:cubicBezTo>
                    <a:pt x="750" y="1272"/>
                    <a:pt x="750" y="1272"/>
                    <a:pt x="750" y="1272"/>
                  </a:cubicBezTo>
                  <a:cubicBezTo>
                    <a:pt x="750" y="1273"/>
                    <a:pt x="750" y="1273"/>
                    <a:pt x="750" y="1273"/>
                  </a:cubicBezTo>
                  <a:cubicBezTo>
                    <a:pt x="751" y="1274"/>
                    <a:pt x="751" y="1274"/>
                    <a:pt x="751" y="1274"/>
                  </a:cubicBezTo>
                  <a:cubicBezTo>
                    <a:pt x="751" y="1275"/>
                    <a:pt x="751" y="1275"/>
                    <a:pt x="751" y="1275"/>
                  </a:cubicBezTo>
                  <a:cubicBezTo>
                    <a:pt x="751" y="1276"/>
                    <a:pt x="751" y="1276"/>
                    <a:pt x="751" y="1276"/>
                  </a:cubicBezTo>
                  <a:cubicBezTo>
                    <a:pt x="752" y="1276"/>
                    <a:pt x="752" y="1276"/>
                    <a:pt x="752" y="1276"/>
                  </a:cubicBezTo>
                  <a:cubicBezTo>
                    <a:pt x="753" y="1277"/>
                    <a:pt x="753" y="1277"/>
                    <a:pt x="753" y="1277"/>
                  </a:cubicBezTo>
                  <a:cubicBezTo>
                    <a:pt x="754" y="1279"/>
                    <a:pt x="754" y="1279"/>
                    <a:pt x="754" y="1279"/>
                  </a:cubicBezTo>
                  <a:cubicBezTo>
                    <a:pt x="755" y="1280"/>
                    <a:pt x="755" y="1280"/>
                    <a:pt x="755" y="1280"/>
                  </a:cubicBezTo>
                  <a:cubicBezTo>
                    <a:pt x="756" y="1284"/>
                    <a:pt x="756" y="1284"/>
                    <a:pt x="756" y="1284"/>
                  </a:cubicBezTo>
                  <a:cubicBezTo>
                    <a:pt x="756" y="1285"/>
                    <a:pt x="756" y="1285"/>
                    <a:pt x="756" y="1285"/>
                  </a:cubicBezTo>
                  <a:cubicBezTo>
                    <a:pt x="757" y="1294"/>
                    <a:pt x="757" y="1294"/>
                    <a:pt x="757" y="1294"/>
                  </a:cubicBezTo>
                  <a:cubicBezTo>
                    <a:pt x="759" y="1298"/>
                    <a:pt x="759" y="1298"/>
                    <a:pt x="759" y="1298"/>
                  </a:cubicBezTo>
                  <a:cubicBezTo>
                    <a:pt x="759" y="1299"/>
                    <a:pt x="759" y="1299"/>
                    <a:pt x="759" y="1299"/>
                  </a:cubicBezTo>
                  <a:cubicBezTo>
                    <a:pt x="760" y="1299"/>
                    <a:pt x="760" y="1299"/>
                    <a:pt x="760" y="1299"/>
                  </a:cubicBezTo>
                  <a:cubicBezTo>
                    <a:pt x="761" y="1299"/>
                    <a:pt x="761" y="1299"/>
                    <a:pt x="761" y="1299"/>
                  </a:cubicBezTo>
                  <a:cubicBezTo>
                    <a:pt x="761" y="1300"/>
                    <a:pt x="761" y="1300"/>
                    <a:pt x="761" y="1300"/>
                  </a:cubicBezTo>
                  <a:cubicBezTo>
                    <a:pt x="761" y="1300"/>
                    <a:pt x="761" y="1300"/>
                    <a:pt x="761" y="1300"/>
                  </a:cubicBezTo>
                  <a:cubicBezTo>
                    <a:pt x="761" y="1301"/>
                    <a:pt x="761" y="1301"/>
                    <a:pt x="761" y="1301"/>
                  </a:cubicBezTo>
                  <a:cubicBezTo>
                    <a:pt x="761" y="1303"/>
                    <a:pt x="761" y="1303"/>
                    <a:pt x="761" y="1303"/>
                  </a:cubicBezTo>
                  <a:cubicBezTo>
                    <a:pt x="761" y="1304"/>
                    <a:pt x="761" y="1304"/>
                    <a:pt x="761" y="1304"/>
                  </a:cubicBezTo>
                  <a:cubicBezTo>
                    <a:pt x="761" y="1306"/>
                    <a:pt x="761" y="1306"/>
                    <a:pt x="761" y="1306"/>
                  </a:cubicBezTo>
                  <a:cubicBezTo>
                    <a:pt x="760" y="1307"/>
                    <a:pt x="760" y="1307"/>
                    <a:pt x="760" y="1307"/>
                  </a:cubicBezTo>
                  <a:cubicBezTo>
                    <a:pt x="759" y="1307"/>
                    <a:pt x="759" y="1307"/>
                    <a:pt x="759" y="1307"/>
                  </a:cubicBezTo>
                  <a:cubicBezTo>
                    <a:pt x="759" y="1308"/>
                    <a:pt x="759" y="1308"/>
                    <a:pt x="759" y="1308"/>
                  </a:cubicBezTo>
                  <a:cubicBezTo>
                    <a:pt x="758" y="1308"/>
                    <a:pt x="758" y="1308"/>
                    <a:pt x="758" y="1308"/>
                  </a:cubicBezTo>
                  <a:cubicBezTo>
                    <a:pt x="756" y="1307"/>
                    <a:pt x="756" y="1307"/>
                    <a:pt x="756" y="1307"/>
                  </a:cubicBezTo>
                  <a:cubicBezTo>
                    <a:pt x="755" y="1307"/>
                    <a:pt x="755" y="1307"/>
                    <a:pt x="755" y="1307"/>
                  </a:cubicBezTo>
                  <a:cubicBezTo>
                    <a:pt x="754" y="1308"/>
                    <a:pt x="754" y="1308"/>
                    <a:pt x="754" y="1308"/>
                  </a:cubicBezTo>
                  <a:cubicBezTo>
                    <a:pt x="752" y="1309"/>
                    <a:pt x="752" y="1309"/>
                    <a:pt x="752" y="1309"/>
                  </a:cubicBezTo>
                  <a:cubicBezTo>
                    <a:pt x="751" y="1310"/>
                    <a:pt x="751" y="1310"/>
                    <a:pt x="751" y="1310"/>
                  </a:cubicBezTo>
                  <a:cubicBezTo>
                    <a:pt x="750" y="1310"/>
                    <a:pt x="750" y="1310"/>
                    <a:pt x="750" y="1310"/>
                  </a:cubicBezTo>
                  <a:cubicBezTo>
                    <a:pt x="750" y="1310"/>
                    <a:pt x="750" y="1310"/>
                    <a:pt x="750" y="1310"/>
                  </a:cubicBezTo>
                  <a:cubicBezTo>
                    <a:pt x="750" y="1311"/>
                    <a:pt x="750" y="1311"/>
                    <a:pt x="750" y="1311"/>
                  </a:cubicBezTo>
                  <a:cubicBezTo>
                    <a:pt x="750" y="1311"/>
                    <a:pt x="750" y="1311"/>
                    <a:pt x="750" y="1311"/>
                  </a:cubicBezTo>
                  <a:cubicBezTo>
                    <a:pt x="750" y="1311"/>
                    <a:pt x="750" y="1311"/>
                    <a:pt x="750" y="1311"/>
                  </a:cubicBezTo>
                  <a:cubicBezTo>
                    <a:pt x="750" y="1312"/>
                    <a:pt x="750" y="1312"/>
                    <a:pt x="750" y="1312"/>
                  </a:cubicBezTo>
                  <a:cubicBezTo>
                    <a:pt x="750" y="1312"/>
                    <a:pt x="750" y="1312"/>
                    <a:pt x="750" y="1312"/>
                  </a:cubicBezTo>
                  <a:cubicBezTo>
                    <a:pt x="751" y="1312"/>
                    <a:pt x="751" y="1312"/>
                    <a:pt x="751" y="1312"/>
                  </a:cubicBezTo>
                  <a:cubicBezTo>
                    <a:pt x="751" y="1312"/>
                    <a:pt x="751" y="1312"/>
                    <a:pt x="751" y="1312"/>
                  </a:cubicBezTo>
                  <a:cubicBezTo>
                    <a:pt x="752" y="1313"/>
                    <a:pt x="752" y="1313"/>
                    <a:pt x="752" y="1313"/>
                  </a:cubicBezTo>
                  <a:cubicBezTo>
                    <a:pt x="752" y="1314"/>
                    <a:pt x="752" y="1314"/>
                    <a:pt x="752" y="1314"/>
                  </a:cubicBezTo>
                  <a:cubicBezTo>
                    <a:pt x="752" y="1316"/>
                    <a:pt x="752" y="1316"/>
                    <a:pt x="752" y="1316"/>
                  </a:cubicBezTo>
                  <a:cubicBezTo>
                    <a:pt x="752" y="1317"/>
                    <a:pt x="752" y="1317"/>
                    <a:pt x="752" y="1317"/>
                  </a:cubicBezTo>
                  <a:cubicBezTo>
                    <a:pt x="750" y="1322"/>
                    <a:pt x="750" y="1322"/>
                    <a:pt x="750" y="1322"/>
                  </a:cubicBezTo>
                  <a:cubicBezTo>
                    <a:pt x="749" y="1324"/>
                    <a:pt x="749" y="1324"/>
                    <a:pt x="749" y="1324"/>
                  </a:cubicBezTo>
                  <a:cubicBezTo>
                    <a:pt x="749" y="1324"/>
                    <a:pt x="749" y="1324"/>
                    <a:pt x="749" y="1324"/>
                  </a:cubicBezTo>
                  <a:cubicBezTo>
                    <a:pt x="749" y="1324"/>
                    <a:pt x="749" y="1324"/>
                    <a:pt x="749" y="1324"/>
                  </a:cubicBezTo>
                  <a:cubicBezTo>
                    <a:pt x="749" y="1324"/>
                    <a:pt x="749" y="1324"/>
                    <a:pt x="749" y="1324"/>
                  </a:cubicBezTo>
                  <a:cubicBezTo>
                    <a:pt x="748" y="1325"/>
                    <a:pt x="748" y="1325"/>
                    <a:pt x="748" y="1325"/>
                  </a:cubicBezTo>
                  <a:cubicBezTo>
                    <a:pt x="745" y="1326"/>
                    <a:pt x="745" y="1326"/>
                    <a:pt x="745" y="1326"/>
                  </a:cubicBezTo>
                  <a:cubicBezTo>
                    <a:pt x="744" y="1326"/>
                    <a:pt x="744" y="1326"/>
                    <a:pt x="744" y="1326"/>
                  </a:cubicBezTo>
                  <a:cubicBezTo>
                    <a:pt x="744" y="1327"/>
                    <a:pt x="744" y="1327"/>
                    <a:pt x="744" y="1327"/>
                  </a:cubicBezTo>
                  <a:cubicBezTo>
                    <a:pt x="744" y="1328"/>
                    <a:pt x="744" y="1328"/>
                    <a:pt x="744" y="1328"/>
                  </a:cubicBezTo>
                  <a:cubicBezTo>
                    <a:pt x="744" y="1329"/>
                    <a:pt x="744" y="1329"/>
                    <a:pt x="744" y="1329"/>
                  </a:cubicBezTo>
                  <a:cubicBezTo>
                    <a:pt x="744" y="1330"/>
                    <a:pt x="744" y="1330"/>
                    <a:pt x="744" y="1330"/>
                  </a:cubicBezTo>
                  <a:cubicBezTo>
                    <a:pt x="744" y="1330"/>
                    <a:pt x="744" y="1330"/>
                    <a:pt x="744" y="1330"/>
                  </a:cubicBezTo>
                  <a:cubicBezTo>
                    <a:pt x="744" y="1331"/>
                    <a:pt x="744" y="1331"/>
                    <a:pt x="744" y="1331"/>
                  </a:cubicBezTo>
                  <a:cubicBezTo>
                    <a:pt x="744" y="1332"/>
                    <a:pt x="744" y="1332"/>
                    <a:pt x="744" y="1332"/>
                  </a:cubicBezTo>
                  <a:cubicBezTo>
                    <a:pt x="744" y="1332"/>
                    <a:pt x="744" y="1332"/>
                    <a:pt x="744" y="1332"/>
                  </a:cubicBezTo>
                  <a:cubicBezTo>
                    <a:pt x="745" y="1333"/>
                    <a:pt x="745" y="1333"/>
                    <a:pt x="745" y="1333"/>
                  </a:cubicBezTo>
                  <a:cubicBezTo>
                    <a:pt x="744" y="1334"/>
                    <a:pt x="744" y="1334"/>
                    <a:pt x="744" y="1334"/>
                  </a:cubicBezTo>
                  <a:cubicBezTo>
                    <a:pt x="744" y="1335"/>
                    <a:pt x="744" y="1335"/>
                    <a:pt x="744" y="1335"/>
                  </a:cubicBezTo>
                  <a:cubicBezTo>
                    <a:pt x="744" y="1336"/>
                    <a:pt x="744" y="1336"/>
                    <a:pt x="744" y="1336"/>
                  </a:cubicBezTo>
                  <a:cubicBezTo>
                    <a:pt x="745" y="1336"/>
                    <a:pt x="745" y="1336"/>
                    <a:pt x="745" y="1336"/>
                  </a:cubicBezTo>
                  <a:cubicBezTo>
                    <a:pt x="745" y="1337"/>
                    <a:pt x="745" y="1337"/>
                    <a:pt x="745" y="1337"/>
                  </a:cubicBezTo>
                  <a:cubicBezTo>
                    <a:pt x="746" y="1337"/>
                    <a:pt x="746" y="1337"/>
                    <a:pt x="746" y="1337"/>
                  </a:cubicBezTo>
                  <a:cubicBezTo>
                    <a:pt x="747" y="1338"/>
                    <a:pt x="747" y="1338"/>
                    <a:pt x="747" y="1338"/>
                  </a:cubicBezTo>
                  <a:cubicBezTo>
                    <a:pt x="748" y="1338"/>
                    <a:pt x="748" y="1338"/>
                    <a:pt x="748" y="1338"/>
                  </a:cubicBezTo>
                  <a:cubicBezTo>
                    <a:pt x="753" y="1338"/>
                    <a:pt x="753" y="1338"/>
                    <a:pt x="753" y="1338"/>
                  </a:cubicBezTo>
                  <a:cubicBezTo>
                    <a:pt x="755" y="1338"/>
                    <a:pt x="755" y="1338"/>
                    <a:pt x="755" y="1338"/>
                  </a:cubicBezTo>
                  <a:cubicBezTo>
                    <a:pt x="755" y="1338"/>
                    <a:pt x="755" y="1338"/>
                    <a:pt x="755" y="1338"/>
                  </a:cubicBezTo>
                  <a:cubicBezTo>
                    <a:pt x="757" y="1338"/>
                    <a:pt x="757" y="1338"/>
                    <a:pt x="757" y="1338"/>
                  </a:cubicBezTo>
                  <a:cubicBezTo>
                    <a:pt x="757" y="1337"/>
                    <a:pt x="757" y="1337"/>
                    <a:pt x="757" y="1337"/>
                  </a:cubicBezTo>
                  <a:cubicBezTo>
                    <a:pt x="758" y="1337"/>
                    <a:pt x="758" y="1337"/>
                    <a:pt x="758" y="1337"/>
                  </a:cubicBezTo>
                  <a:cubicBezTo>
                    <a:pt x="758" y="1337"/>
                    <a:pt x="758" y="1337"/>
                    <a:pt x="758" y="1337"/>
                  </a:cubicBezTo>
                  <a:cubicBezTo>
                    <a:pt x="758" y="1336"/>
                    <a:pt x="758" y="1336"/>
                    <a:pt x="758" y="1336"/>
                  </a:cubicBezTo>
                  <a:cubicBezTo>
                    <a:pt x="758" y="1335"/>
                    <a:pt x="758" y="1335"/>
                    <a:pt x="758" y="1335"/>
                  </a:cubicBezTo>
                  <a:cubicBezTo>
                    <a:pt x="759" y="1331"/>
                    <a:pt x="759" y="1331"/>
                    <a:pt x="759" y="1331"/>
                  </a:cubicBezTo>
                  <a:cubicBezTo>
                    <a:pt x="760" y="1330"/>
                    <a:pt x="760" y="1330"/>
                    <a:pt x="760" y="1330"/>
                  </a:cubicBezTo>
                  <a:cubicBezTo>
                    <a:pt x="764" y="1325"/>
                    <a:pt x="764" y="1325"/>
                    <a:pt x="764" y="1325"/>
                  </a:cubicBezTo>
                  <a:cubicBezTo>
                    <a:pt x="765" y="1324"/>
                    <a:pt x="765" y="1324"/>
                    <a:pt x="765" y="1324"/>
                  </a:cubicBezTo>
                  <a:cubicBezTo>
                    <a:pt x="768" y="1322"/>
                    <a:pt x="768" y="1322"/>
                    <a:pt x="768" y="1322"/>
                  </a:cubicBezTo>
                  <a:cubicBezTo>
                    <a:pt x="769" y="1322"/>
                    <a:pt x="769" y="1322"/>
                    <a:pt x="769" y="1322"/>
                  </a:cubicBezTo>
                  <a:cubicBezTo>
                    <a:pt x="769" y="1321"/>
                    <a:pt x="769" y="1321"/>
                    <a:pt x="769" y="1321"/>
                  </a:cubicBezTo>
                  <a:cubicBezTo>
                    <a:pt x="770" y="1321"/>
                    <a:pt x="770" y="1321"/>
                    <a:pt x="770" y="1321"/>
                  </a:cubicBezTo>
                  <a:cubicBezTo>
                    <a:pt x="770" y="1320"/>
                    <a:pt x="770" y="1320"/>
                    <a:pt x="770" y="1320"/>
                  </a:cubicBezTo>
                  <a:cubicBezTo>
                    <a:pt x="772" y="1319"/>
                    <a:pt x="772" y="1319"/>
                    <a:pt x="772" y="1319"/>
                  </a:cubicBezTo>
                  <a:cubicBezTo>
                    <a:pt x="772" y="1319"/>
                    <a:pt x="772" y="1319"/>
                    <a:pt x="772" y="1319"/>
                  </a:cubicBezTo>
                  <a:cubicBezTo>
                    <a:pt x="772" y="1316"/>
                    <a:pt x="772" y="1316"/>
                    <a:pt x="772" y="1316"/>
                  </a:cubicBezTo>
                  <a:cubicBezTo>
                    <a:pt x="772" y="1315"/>
                    <a:pt x="772" y="1315"/>
                    <a:pt x="772" y="1315"/>
                  </a:cubicBezTo>
                  <a:cubicBezTo>
                    <a:pt x="771" y="1312"/>
                    <a:pt x="771" y="1312"/>
                    <a:pt x="771" y="1312"/>
                  </a:cubicBezTo>
                  <a:cubicBezTo>
                    <a:pt x="771" y="1310"/>
                    <a:pt x="771" y="1310"/>
                    <a:pt x="771" y="1310"/>
                  </a:cubicBezTo>
                  <a:cubicBezTo>
                    <a:pt x="771" y="1309"/>
                    <a:pt x="771" y="1309"/>
                    <a:pt x="771" y="1309"/>
                  </a:cubicBezTo>
                  <a:cubicBezTo>
                    <a:pt x="771" y="1309"/>
                    <a:pt x="771" y="1309"/>
                    <a:pt x="771" y="1309"/>
                  </a:cubicBezTo>
                  <a:cubicBezTo>
                    <a:pt x="771" y="1308"/>
                    <a:pt x="771" y="1308"/>
                    <a:pt x="771" y="1308"/>
                  </a:cubicBezTo>
                  <a:cubicBezTo>
                    <a:pt x="771" y="1307"/>
                    <a:pt x="771" y="1307"/>
                    <a:pt x="771" y="1307"/>
                  </a:cubicBezTo>
                  <a:cubicBezTo>
                    <a:pt x="772" y="1306"/>
                    <a:pt x="772" y="1306"/>
                    <a:pt x="772" y="1306"/>
                  </a:cubicBezTo>
                  <a:cubicBezTo>
                    <a:pt x="772" y="1305"/>
                    <a:pt x="772" y="1305"/>
                    <a:pt x="772" y="1305"/>
                  </a:cubicBezTo>
                  <a:cubicBezTo>
                    <a:pt x="772" y="1305"/>
                    <a:pt x="772" y="1305"/>
                    <a:pt x="772" y="1305"/>
                  </a:cubicBezTo>
                  <a:cubicBezTo>
                    <a:pt x="773" y="1304"/>
                    <a:pt x="773" y="1304"/>
                    <a:pt x="773" y="1304"/>
                  </a:cubicBezTo>
                  <a:cubicBezTo>
                    <a:pt x="775" y="1303"/>
                    <a:pt x="775" y="1303"/>
                    <a:pt x="775" y="1303"/>
                  </a:cubicBezTo>
                  <a:cubicBezTo>
                    <a:pt x="775" y="1303"/>
                    <a:pt x="775" y="1303"/>
                    <a:pt x="775" y="1303"/>
                  </a:cubicBezTo>
                  <a:cubicBezTo>
                    <a:pt x="775" y="1303"/>
                    <a:pt x="775" y="1303"/>
                    <a:pt x="775" y="1303"/>
                  </a:cubicBezTo>
                  <a:cubicBezTo>
                    <a:pt x="776" y="1302"/>
                    <a:pt x="776" y="1302"/>
                    <a:pt x="776" y="1302"/>
                  </a:cubicBezTo>
                  <a:cubicBezTo>
                    <a:pt x="780" y="1300"/>
                    <a:pt x="780" y="1300"/>
                    <a:pt x="780" y="1300"/>
                  </a:cubicBezTo>
                  <a:cubicBezTo>
                    <a:pt x="783" y="1299"/>
                    <a:pt x="783" y="1299"/>
                    <a:pt x="783" y="1299"/>
                  </a:cubicBezTo>
                  <a:cubicBezTo>
                    <a:pt x="783" y="1299"/>
                    <a:pt x="783" y="1299"/>
                    <a:pt x="783" y="1299"/>
                  </a:cubicBezTo>
                  <a:cubicBezTo>
                    <a:pt x="784" y="1299"/>
                    <a:pt x="784" y="1299"/>
                    <a:pt x="784" y="1299"/>
                  </a:cubicBezTo>
                  <a:cubicBezTo>
                    <a:pt x="784" y="1300"/>
                    <a:pt x="784" y="1300"/>
                    <a:pt x="784" y="1300"/>
                  </a:cubicBezTo>
                  <a:cubicBezTo>
                    <a:pt x="785" y="1301"/>
                    <a:pt x="785" y="1301"/>
                    <a:pt x="785" y="1301"/>
                  </a:cubicBezTo>
                  <a:cubicBezTo>
                    <a:pt x="786" y="1300"/>
                    <a:pt x="786" y="1300"/>
                    <a:pt x="786" y="1300"/>
                  </a:cubicBezTo>
                  <a:cubicBezTo>
                    <a:pt x="786" y="1300"/>
                    <a:pt x="786" y="1300"/>
                    <a:pt x="786" y="1300"/>
                  </a:cubicBezTo>
                  <a:cubicBezTo>
                    <a:pt x="787" y="1300"/>
                    <a:pt x="787" y="1300"/>
                    <a:pt x="787" y="1300"/>
                  </a:cubicBezTo>
                  <a:cubicBezTo>
                    <a:pt x="788" y="1301"/>
                    <a:pt x="788" y="1301"/>
                    <a:pt x="788" y="1301"/>
                  </a:cubicBezTo>
                  <a:cubicBezTo>
                    <a:pt x="788" y="1300"/>
                    <a:pt x="788" y="1300"/>
                    <a:pt x="788" y="1300"/>
                  </a:cubicBezTo>
                  <a:cubicBezTo>
                    <a:pt x="788" y="1300"/>
                    <a:pt x="788" y="1300"/>
                    <a:pt x="788" y="1300"/>
                  </a:cubicBezTo>
                  <a:cubicBezTo>
                    <a:pt x="788" y="1300"/>
                    <a:pt x="788" y="1300"/>
                    <a:pt x="788" y="1300"/>
                  </a:cubicBezTo>
                  <a:cubicBezTo>
                    <a:pt x="789" y="1299"/>
                    <a:pt x="789" y="1299"/>
                    <a:pt x="789" y="1299"/>
                  </a:cubicBezTo>
                  <a:cubicBezTo>
                    <a:pt x="789" y="1299"/>
                    <a:pt x="789" y="1299"/>
                    <a:pt x="789" y="1299"/>
                  </a:cubicBezTo>
                  <a:cubicBezTo>
                    <a:pt x="789" y="1298"/>
                    <a:pt x="789" y="1298"/>
                    <a:pt x="789" y="1298"/>
                  </a:cubicBezTo>
                  <a:cubicBezTo>
                    <a:pt x="789" y="1297"/>
                    <a:pt x="789" y="1297"/>
                    <a:pt x="789" y="1297"/>
                  </a:cubicBezTo>
                  <a:cubicBezTo>
                    <a:pt x="790" y="1297"/>
                    <a:pt x="790" y="1297"/>
                    <a:pt x="790" y="1297"/>
                  </a:cubicBezTo>
                  <a:cubicBezTo>
                    <a:pt x="790" y="1296"/>
                    <a:pt x="790" y="1296"/>
                    <a:pt x="790" y="1296"/>
                  </a:cubicBezTo>
                  <a:cubicBezTo>
                    <a:pt x="791" y="1296"/>
                    <a:pt x="791" y="1296"/>
                    <a:pt x="791" y="1296"/>
                  </a:cubicBezTo>
                  <a:cubicBezTo>
                    <a:pt x="790" y="1296"/>
                    <a:pt x="790" y="1296"/>
                    <a:pt x="790" y="1296"/>
                  </a:cubicBezTo>
                  <a:cubicBezTo>
                    <a:pt x="789" y="1295"/>
                    <a:pt x="789" y="1295"/>
                    <a:pt x="789" y="1295"/>
                  </a:cubicBezTo>
                  <a:cubicBezTo>
                    <a:pt x="789" y="1295"/>
                    <a:pt x="789" y="1295"/>
                    <a:pt x="789" y="1295"/>
                  </a:cubicBezTo>
                  <a:cubicBezTo>
                    <a:pt x="789" y="1295"/>
                    <a:pt x="789" y="1295"/>
                    <a:pt x="789" y="1295"/>
                  </a:cubicBezTo>
                  <a:cubicBezTo>
                    <a:pt x="788" y="1294"/>
                    <a:pt x="788" y="1294"/>
                    <a:pt x="788" y="1294"/>
                  </a:cubicBezTo>
                  <a:cubicBezTo>
                    <a:pt x="788" y="1292"/>
                    <a:pt x="788" y="1292"/>
                    <a:pt x="788" y="1292"/>
                  </a:cubicBezTo>
                  <a:cubicBezTo>
                    <a:pt x="789" y="1290"/>
                    <a:pt x="789" y="1290"/>
                    <a:pt x="789" y="1290"/>
                  </a:cubicBezTo>
                  <a:cubicBezTo>
                    <a:pt x="789" y="1289"/>
                    <a:pt x="789" y="1289"/>
                    <a:pt x="789" y="1289"/>
                  </a:cubicBezTo>
                  <a:cubicBezTo>
                    <a:pt x="789" y="1288"/>
                    <a:pt x="789" y="1288"/>
                    <a:pt x="789" y="1288"/>
                  </a:cubicBezTo>
                  <a:cubicBezTo>
                    <a:pt x="788" y="1288"/>
                    <a:pt x="788" y="1288"/>
                    <a:pt x="788" y="1288"/>
                  </a:cubicBezTo>
                  <a:cubicBezTo>
                    <a:pt x="788" y="1287"/>
                    <a:pt x="788" y="1287"/>
                    <a:pt x="788" y="1287"/>
                  </a:cubicBezTo>
                  <a:cubicBezTo>
                    <a:pt x="788" y="1287"/>
                    <a:pt x="788" y="1287"/>
                    <a:pt x="788" y="1287"/>
                  </a:cubicBezTo>
                  <a:cubicBezTo>
                    <a:pt x="788" y="1286"/>
                    <a:pt x="788" y="1286"/>
                    <a:pt x="788" y="1286"/>
                  </a:cubicBezTo>
                  <a:cubicBezTo>
                    <a:pt x="788" y="1284"/>
                    <a:pt x="788" y="1284"/>
                    <a:pt x="788" y="1284"/>
                  </a:cubicBezTo>
                  <a:cubicBezTo>
                    <a:pt x="789" y="1281"/>
                    <a:pt x="789" y="1281"/>
                    <a:pt x="789" y="1281"/>
                  </a:cubicBezTo>
                  <a:cubicBezTo>
                    <a:pt x="788" y="1281"/>
                    <a:pt x="788" y="1281"/>
                    <a:pt x="788" y="1281"/>
                  </a:cubicBezTo>
                  <a:cubicBezTo>
                    <a:pt x="787" y="1281"/>
                    <a:pt x="787" y="1281"/>
                    <a:pt x="787" y="1281"/>
                  </a:cubicBezTo>
                  <a:cubicBezTo>
                    <a:pt x="786" y="1280"/>
                    <a:pt x="786" y="1280"/>
                    <a:pt x="786" y="1280"/>
                  </a:cubicBezTo>
                  <a:cubicBezTo>
                    <a:pt x="786" y="1279"/>
                    <a:pt x="786" y="1279"/>
                    <a:pt x="786" y="1279"/>
                  </a:cubicBezTo>
                  <a:cubicBezTo>
                    <a:pt x="785" y="1279"/>
                    <a:pt x="785" y="1279"/>
                    <a:pt x="785" y="1279"/>
                  </a:cubicBezTo>
                  <a:cubicBezTo>
                    <a:pt x="785" y="1278"/>
                    <a:pt x="785" y="1278"/>
                    <a:pt x="785" y="1278"/>
                  </a:cubicBezTo>
                  <a:cubicBezTo>
                    <a:pt x="784" y="1278"/>
                    <a:pt x="784" y="1278"/>
                    <a:pt x="784" y="1278"/>
                  </a:cubicBezTo>
                  <a:cubicBezTo>
                    <a:pt x="783" y="1278"/>
                    <a:pt x="783" y="1278"/>
                    <a:pt x="783" y="1278"/>
                  </a:cubicBezTo>
                  <a:cubicBezTo>
                    <a:pt x="783" y="1278"/>
                    <a:pt x="783" y="1278"/>
                    <a:pt x="783" y="1278"/>
                  </a:cubicBezTo>
                  <a:cubicBezTo>
                    <a:pt x="782" y="1277"/>
                    <a:pt x="782" y="1277"/>
                    <a:pt x="782" y="1277"/>
                  </a:cubicBezTo>
                  <a:cubicBezTo>
                    <a:pt x="780" y="1276"/>
                    <a:pt x="780" y="1276"/>
                    <a:pt x="780" y="1276"/>
                  </a:cubicBezTo>
                  <a:cubicBezTo>
                    <a:pt x="780" y="1275"/>
                    <a:pt x="780" y="1275"/>
                    <a:pt x="780" y="1275"/>
                  </a:cubicBezTo>
                  <a:cubicBezTo>
                    <a:pt x="779" y="1275"/>
                    <a:pt x="779" y="1275"/>
                    <a:pt x="779" y="1275"/>
                  </a:cubicBezTo>
                  <a:cubicBezTo>
                    <a:pt x="779" y="1274"/>
                    <a:pt x="779" y="1274"/>
                    <a:pt x="779" y="1274"/>
                  </a:cubicBezTo>
                  <a:cubicBezTo>
                    <a:pt x="778" y="1274"/>
                    <a:pt x="778" y="1274"/>
                    <a:pt x="778" y="1274"/>
                  </a:cubicBezTo>
                  <a:cubicBezTo>
                    <a:pt x="778" y="1274"/>
                    <a:pt x="778" y="1274"/>
                    <a:pt x="778" y="1274"/>
                  </a:cubicBezTo>
                  <a:cubicBezTo>
                    <a:pt x="777" y="1273"/>
                    <a:pt x="777" y="1273"/>
                    <a:pt x="777" y="1273"/>
                  </a:cubicBezTo>
                  <a:cubicBezTo>
                    <a:pt x="773" y="1273"/>
                    <a:pt x="773" y="1273"/>
                    <a:pt x="773" y="1273"/>
                  </a:cubicBezTo>
                  <a:cubicBezTo>
                    <a:pt x="772" y="1273"/>
                    <a:pt x="772" y="1273"/>
                    <a:pt x="772" y="1273"/>
                  </a:cubicBezTo>
                  <a:cubicBezTo>
                    <a:pt x="771" y="1272"/>
                    <a:pt x="771" y="1272"/>
                    <a:pt x="771" y="1272"/>
                  </a:cubicBezTo>
                  <a:cubicBezTo>
                    <a:pt x="770" y="1271"/>
                    <a:pt x="770" y="1271"/>
                    <a:pt x="770" y="1271"/>
                  </a:cubicBezTo>
                  <a:cubicBezTo>
                    <a:pt x="770" y="1270"/>
                    <a:pt x="770" y="1270"/>
                    <a:pt x="770" y="1270"/>
                  </a:cubicBezTo>
                  <a:cubicBezTo>
                    <a:pt x="770" y="1269"/>
                    <a:pt x="770" y="1269"/>
                    <a:pt x="770" y="1269"/>
                  </a:cubicBezTo>
                  <a:cubicBezTo>
                    <a:pt x="770" y="1268"/>
                    <a:pt x="770" y="1268"/>
                    <a:pt x="770" y="1268"/>
                  </a:cubicBezTo>
                  <a:cubicBezTo>
                    <a:pt x="769" y="1267"/>
                    <a:pt x="769" y="1267"/>
                    <a:pt x="769" y="1267"/>
                  </a:cubicBezTo>
                  <a:cubicBezTo>
                    <a:pt x="769" y="1266"/>
                    <a:pt x="769" y="1266"/>
                    <a:pt x="769" y="1266"/>
                  </a:cubicBezTo>
                  <a:cubicBezTo>
                    <a:pt x="770" y="1265"/>
                    <a:pt x="770" y="1265"/>
                    <a:pt x="770" y="1265"/>
                  </a:cubicBezTo>
                  <a:cubicBezTo>
                    <a:pt x="771" y="1263"/>
                    <a:pt x="771" y="1263"/>
                    <a:pt x="771" y="1263"/>
                  </a:cubicBezTo>
                  <a:cubicBezTo>
                    <a:pt x="772" y="1261"/>
                    <a:pt x="772" y="1261"/>
                    <a:pt x="772" y="1261"/>
                  </a:cubicBezTo>
                  <a:cubicBezTo>
                    <a:pt x="773" y="1261"/>
                    <a:pt x="773" y="1261"/>
                    <a:pt x="773" y="1261"/>
                  </a:cubicBezTo>
                  <a:cubicBezTo>
                    <a:pt x="773" y="1260"/>
                    <a:pt x="773" y="1260"/>
                    <a:pt x="773" y="1260"/>
                  </a:cubicBezTo>
                  <a:cubicBezTo>
                    <a:pt x="774" y="1260"/>
                    <a:pt x="774" y="1260"/>
                    <a:pt x="774" y="1260"/>
                  </a:cubicBezTo>
                  <a:cubicBezTo>
                    <a:pt x="773" y="1258"/>
                    <a:pt x="773" y="1258"/>
                    <a:pt x="773" y="1258"/>
                  </a:cubicBezTo>
                  <a:cubicBezTo>
                    <a:pt x="773" y="1257"/>
                    <a:pt x="773" y="1257"/>
                    <a:pt x="773" y="1257"/>
                  </a:cubicBezTo>
                  <a:cubicBezTo>
                    <a:pt x="772" y="1257"/>
                    <a:pt x="772" y="1257"/>
                    <a:pt x="772" y="1257"/>
                  </a:cubicBezTo>
                  <a:cubicBezTo>
                    <a:pt x="773" y="1255"/>
                    <a:pt x="773" y="1255"/>
                    <a:pt x="773" y="1255"/>
                  </a:cubicBezTo>
                  <a:cubicBezTo>
                    <a:pt x="773" y="1254"/>
                    <a:pt x="773" y="1254"/>
                    <a:pt x="773" y="1254"/>
                  </a:cubicBezTo>
                  <a:cubicBezTo>
                    <a:pt x="774" y="1254"/>
                    <a:pt x="774" y="1254"/>
                    <a:pt x="774" y="1254"/>
                  </a:cubicBezTo>
                  <a:cubicBezTo>
                    <a:pt x="775" y="1253"/>
                    <a:pt x="775" y="1253"/>
                    <a:pt x="775" y="1253"/>
                  </a:cubicBezTo>
                  <a:cubicBezTo>
                    <a:pt x="776" y="1251"/>
                    <a:pt x="776" y="1251"/>
                    <a:pt x="776" y="1251"/>
                  </a:cubicBezTo>
                  <a:cubicBezTo>
                    <a:pt x="776" y="1251"/>
                    <a:pt x="776" y="1251"/>
                    <a:pt x="776" y="1251"/>
                  </a:cubicBezTo>
                  <a:cubicBezTo>
                    <a:pt x="777" y="1250"/>
                    <a:pt x="777" y="1250"/>
                    <a:pt x="777" y="1250"/>
                  </a:cubicBezTo>
                  <a:cubicBezTo>
                    <a:pt x="777" y="1248"/>
                    <a:pt x="777" y="1248"/>
                    <a:pt x="777" y="1248"/>
                  </a:cubicBezTo>
                  <a:cubicBezTo>
                    <a:pt x="778" y="1247"/>
                    <a:pt x="778" y="1247"/>
                    <a:pt x="778" y="1247"/>
                  </a:cubicBezTo>
                  <a:cubicBezTo>
                    <a:pt x="780" y="1243"/>
                    <a:pt x="780" y="1243"/>
                    <a:pt x="780" y="1243"/>
                  </a:cubicBezTo>
                  <a:cubicBezTo>
                    <a:pt x="782" y="1241"/>
                    <a:pt x="782" y="1241"/>
                    <a:pt x="782" y="1241"/>
                  </a:cubicBezTo>
                  <a:cubicBezTo>
                    <a:pt x="784" y="1239"/>
                    <a:pt x="784" y="1239"/>
                    <a:pt x="784" y="1239"/>
                  </a:cubicBezTo>
                  <a:cubicBezTo>
                    <a:pt x="786" y="1238"/>
                    <a:pt x="786" y="1238"/>
                    <a:pt x="786" y="1238"/>
                  </a:cubicBezTo>
                  <a:cubicBezTo>
                    <a:pt x="788" y="1238"/>
                    <a:pt x="788" y="1238"/>
                    <a:pt x="788" y="1238"/>
                  </a:cubicBezTo>
                  <a:cubicBezTo>
                    <a:pt x="788" y="1238"/>
                    <a:pt x="788" y="1238"/>
                    <a:pt x="788" y="1238"/>
                  </a:cubicBezTo>
                  <a:cubicBezTo>
                    <a:pt x="789" y="1238"/>
                    <a:pt x="789" y="1238"/>
                    <a:pt x="789" y="1238"/>
                  </a:cubicBezTo>
                  <a:cubicBezTo>
                    <a:pt x="789" y="1238"/>
                    <a:pt x="789" y="1238"/>
                    <a:pt x="789" y="1238"/>
                  </a:cubicBezTo>
                  <a:cubicBezTo>
                    <a:pt x="789" y="1239"/>
                    <a:pt x="789" y="1239"/>
                    <a:pt x="789" y="1239"/>
                  </a:cubicBezTo>
                  <a:cubicBezTo>
                    <a:pt x="790" y="1239"/>
                    <a:pt x="790" y="1239"/>
                    <a:pt x="790" y="1239"/>
                  </a:cubicBezTo>
                  <a:cubicBezTo>
                    <a:pt x="790" y="1239"/>
                    <a:pt x="790" y="1239"/>
                    <a:pt x="790" y="1239"/>
                  </a:cubicBezTo>
                  <a:cubicBezTo>
                    <a:pt x="790" y="1240"/>
                    <a:pt x="790" y="1240"/>
                    <a:pt x="790" y="1240"/>
                  </a:cubicBezTo>
                  <a:cubicBezTo>
                    <a:pt x="791" y="1239"/>
                    <a:pt x="791" y="1239"/>
                    <a:pt x="791" y="1239"/>
                  </a:cubicBezTo>
                  <a:cubicBezTo>
                    <a:pt x="791" y="1239"/>
                    <a:pt x="791" y="1239"/>
                    <a:pt x="791" y="1239"/>
                  </a:cubicBezTo>
                  <a:cubicBezTo>
                    <a:pt x="792" y="1239"/>
                    <a:pt x="792" y="1239"/>
                    <a:pt x="792" y="1239"/>
                  </a:cubicBezTo>
                  <a:cubicBezTo>
                    <a:pt x="792" y="1239"/>
                    <a:pt x="792" y="1239"/>
                    <a:pt x="792" y="1239"/>
                  </a:cubicBezTo>
                  <a:cubicBezTo>
                    <a:pt x="792" y="1239"/>
                    <a:pt x="792" y="1239"/>
                    <a:pt x="792" y="1239"/>
                  </a:cubicBezTo>
                  <a:cubicBezTo>
                    <a:pt x="792" y="1239"/>
                    <a:pt x="792" y="1239"/>
                    <a:pt x="792" y="1239"/>
                  </a:cubicBezTo>
                  <a:cubicBezTo>
                    <a:pt x="793" y="1239"/>
                    <a:pt x="793" y="1239"/>
                    <a:pt x="793" y="1239"/>
                  </a:cubicBezTo>
                  <a:cubicBezTo>
                    <a:pt x="794" y="1239"/>
                    <a:pt x="794" y="1239"/>
                    <a:pt x="794" y="1239"/>
                  </a:cubicBezTo>
                  <a:cubicBezTo>
                    <a:pt x="794" y="1240"/>
                    <a:pt x="794" y="1240"/>
                    <a:pt x="794" y="1240"/>
                  </a:cubicBezTo>
                  <a:cubicBezTo>
                    <a:pt x="793" y="1240"/>
                    <a:pt x="793" y="1240"/>
                    <a:pt x="793" y="1240"/>
                  </a:cubicBezTo>
                  <a:cubicBezTo>
                    <a:pt x="792" y="1240"/>
                    <a:pt x="792" y="1240"/>
                    <a:pt x="792" y="1240"/>
                  </a:cubicBezTo>
                  <a:cubicBezTo>
                    <a:pt x="791" y="1240"/>
                    <a:pt x="791" y="1240"/>
                    <a:pt x="791" y="1240"/>
                  </a:cubicBezTo>
                  <a:cubicBezTo>
                    <a:pt x="792" y="1241"/>
                    <a:pt x="792" y="1241"/>
                    <a:pt x="792" y="1241"/>
                  </a:cubicBezTo>
                  <a:cubicBezTo>
                    <a:pt x="792" y="1241"/>
                    <a:pt x="792" y="1241"/>
                    <a:pt x="792" y="1241"/>
                  </a:cubicBezTo>
                  <a:cubicBezTo>
                    <a:pt x="791" y="1242"/>
                    <a:pt x="791" y="1242"/>
                    <a:pt x="791" y="1242"/>
                  </a:cubicBezTo>
                  <a:cubicBezTo>
                    <a:pt x="790" y="1242"/>
                    <a:pt x="790" y="1242"/>
                    <a:pt x="790" y="1242"/>
                  </a:cubicBezTo>
                  <a:cubicBezTo>
                    <a:pt x="791" y="1243"/>
                    <a:pt x="791" y="1243"/>
                    <a:pt x="791" y="1243"/>
                  </a:cubicBezTo>
                  <a:cubicBezTo>
                    <a:pt x="792" y="1243"/>
                    <a:pt x="792" y="1243"/>
                    <a:pt x="792" y="1243"/>
                  </a:cubicBezTo>
                  <a:cubicBezTo>
                    <a:pt x="793" y="1244"/>
                    <a:pt x="793" y="1244"/>
                    <a:pt x="793" y="1244"/>
                  </a:cubicBezTo>
                  <a:cubicBezTo>
                    <a:pt x="795" y="1245"/>
                    <a:pt x="795" y="1245"/>
                    <a:pt x="795" y="1245"/>
                  </a:cubicBezTo>
                  <a:cubicBezTo>
                    <a:pt x="795" y="1245"/>
                    <a:pt x="795" y="1245"/>
                    <a:pt x="795" y="1245"/>
                  </a:cubicBezTo>
                  <a:cubicBezTo>
                    <a:pt x="795" y="1245"/>
                    <a:pt x="795" y="1245"/>
                    <a:pt x="795" y="1245"/>
                  </a:cubicBezTo>
                  <a:cubicBezTo>
                    <a:pt x="796" y="1245"/>
                    <a:pt x="796" y="1245"/>
                    <a:pt x="796" y="1245"/>
                  </a:cubicBezTo>
                  <a:cubicBezTo>
                    <a:pt x="796" y="1245"/>
                    <a:pt x="796" y="1245"/>
                    <a:pt x="796" y="1245"/>
                  </a:cubicBezTo>
                  <a:cubicBezTo>
                    <a:pt x="797" y="1245"/>
                    <a:pt x="797" y="1245"/>
                    <a:pt x="797" y="1245"/>
                  </a:cubicBezTo>
                  <a:cubicBezTo>
                    <a:pt x="797" y="1245"/>
                    <a:pt x="797" y="1245"/>
                    <a:pt x="797" y="1245"/>
                  </a:cubicBezTo>
                  <a:cubicBezTo>
                    <a:pt x="797" y="1245"/>
                    <a:pt x="797" y="1245"/>
                    <a:pt x="797" y="1245"/>
                  </a:cubicBezTo>
                  <a:cubicBezTo>
                    <a:pt x="799" y="1246"/>
                    <a:pt x="799" y="1246"/>
                    <a:pt x="799" y="1246"/>
                  </a:cubicBezTo>
                  <a:cubicBezTo>
                    <a:pt x="800" y="1247"/>
                    <a:pt x="800" y="1247"/>
                    <a:pt x="800" y="1247"/>
                  </a:cubicBezTo>
                  <a:cubicBezTo>
                    <a:pt x="810" y="1247"/>
                    <a:pt x="810" y="1247"/>
                    <a:pt x="810" y="1247"/>
                  </a:cubicBezTo>
                  <a:cubicBezTo>
                    <a:pt x="810" y="1247"/>
                    <a:pt x="810" y="1247"/>
                    <a:pt x="810" y="1247"/>
                  </a:cubicBezTo>
                  <a:cubicBezTo>
                    <a:pt x="811" y="1248"/>
                    <a:pt x="811" y="1248"/>
                    <a:pt x="811" y="1248"/>
                  </a:cubicBezTo>
                  <a:cubicBezTo>
                    <a:pt x="811" y="1249"/>
                    <a:pt x="811" y="1249"/>
                    <a:pt x="811" y="1249"/>
                  </a:cubicBezTo>
                  <a:cubicBezTo>
                    <a:pt x="811" y="1249"/>
                    <a:pt x="811" y="1249"/>
                    <a:pt x="811" y="1249"/>
                  </a:cubicBezTo>
                  <a:cubicBezTo>
                    <a:pt x="811" y="1249"/>
                    <a:pt x="811" y="1249"/>
                    <a:pt x="811" y="1249"/>
                  </a:cubicBezTo>
                  <a:cubicBezTo>
                    <a:pt x="812" y="1250"/>
                    <a:pt x="812" y="1250"/>
                    <a:pt x="812" y="1250"/>
                  </a:cubicBezTo>
                  <a:cubicBezTo>
                    <a:pt x="812" y="1250"/>
                    <a:pt x="812" y="1250"/>
                    <a:pt x="812" y="1250"/>
                  </a:cubicBezTo>
                  <a:cubicBezTo>
                    <a:pt x="812" y="1251"/>
                    <a:pt x="812" y="1251"/>
                    <a:pt x="812" y="1251"/>
                  </a:cubicBezTo>
                  <a:cubicBezTo>
                    <a:pt x="812" y="1251"/>
                    <a:pt x="812" y="1251"/>
                    <a:pt x="812" y="1251"/>
                  </a:cubicBezTo>
                  <a:cubicBezTo>
                    <a:pt x="812" y="1252"/>
                    <a:pt x="812" y="1252"/>
                    <a:pt x="812" y="1252"/>
                  </a:cubicBezTo>
                  <a:cubicBezTo>
                    <a:pt x="813" y="1253"/>
                    <a:pt x="813" y="1253"/>
                    <a:pt x="813" y="1253"/>
                  </a:cubicBezTo>
                  <a:cubicBezTo>
                    <a:pt x="814" y="1254"/>
                    <a:pt x="814" y="1254"/>
                    <a:pt x="814" y="1254"/>
                  </a:cubicBezTo>
                  <a:cubicBezTo>
                    <a:pt x="814" y="1255"/>
                    <a:pt x="814" y="1255"/>
                    <a:pt x="814" y="1255"/>
                  </a:cubicBezTo>
                  <a:cubicBezTo>
                    <a:pt x="814" y="1255"/>
                    <a:pt x="814" y="1255"/>
                    <a:pt x="814" y="1255"/>
                  </a:cubicBezTo>
                  <a:cubicBezTo>
                    <a:pt x="813" y="1256"/>
                    <a:pt x="813" y="1256"/>
                    <a:pt x="813" y="1256"/>
                  </a:cubicBezTo>
                  <a:cubicBezTo>
                    <a:pt x="813" y="1256"/>
                    <a:pt x="813" y="1256"/>
                    <a:pt x="813" y="1256"/>
                  </a:cubicBezTo>
                  <a:cubicBezTo>
                    <a:pt x="814" y="1257"/>
                    <a:pt x="814" y="1257"/>
                    <a:pt x="814" y="1257"/>
                  </a:cubicBezTo>
                  <a:cubicBezTo>
                    <a:pt x="814" y="1257"/>
                    <a:pt x="814" y="1257"/>
                    <a:pt x="814" y="1257"/>
                  </a:cubicBezTo>
                  <a:cubicBezTo>
                    <a:pt x="815" y="1258"/>
                    <a:pt x="815" y="1258"/>
                    <a:pt x="815" y="1258"/>
                  </a:cubicBezTo>
                  <a:cubicBezTo>
                    <a:pt x="815" y="1258"/>
                    <a:pt x="815" y="1258"/>
                    <a:pt x="815" y="1258"/>
                  </a:cubicBezTo>
                  <a:cubicBezTo>
                    <a:pt x="814" y="1258"/>
                    <a:pt x="814" y="1258"/>
                    <a:pt x="814" y="1258"/>
                  </a:cubicBezTo>
                  <a:cubicBezTo>
                    <a:pt x="814" y="1258"/>
                    <a:pt x="814" y="1258"/>
                    <a:pt x="814" y="1258"/>
                  </a:cubicBezTo>
                  <a:cubicBezTo>
                    <a:pt x="814" y="1259"/>
                    <a:pt x="814" y="1259"/>
                    <a:pt x="814" y="1259"/>
                  </a:cubicBezTo>
                  <a:cubicBezTo>
                    <a:pt x="814" y="1259"/>
                    <a:pt x="814" y="1259"/>
                    <a:pt x="814" y="1259"/>
                  </a:cubicBezTo>
                  <a:cubicBezTo>
                    <a:pt x="816" y="1262"/>
                    <a:pt x="816" y="1262"/>
                    <a:pt x="816" y="1262"/>
                  </a:cubicBezTo>
                  <a:cubicBezTo>
                    <a:pt x="817" y="1262"/>
                    <a:pt x="817" y="1262"/>
                    <a:pt x="817" y="1262"/>
                  </a:cubicBezTo>
                  <a:cubicBezTo>
                    <a:pt x="817" y="1262"/>
                    <a:pt x="817" y="1262"/>
                    <a:pt x="817" y="1262"/>
                  </a:cubicBezTo>
                  <a:cubicBezTo>
                    <a:pt x="818" y="1263"/>
                    <a:pt x="818" y="1263"/>
                    <a:pt x="818" y="1263"/>
                  </a:cubicBezTo>
                  <a:cubicBezTo>
                    <a:pt x="819" y="1264"/>
                    <a:pt x="819" y="1264"/>
                    <a:pt x="819" y="1264"/>
                  </a:cubicBezTo>
                  <a:cubicBezTo>
                    <a:pt x="820" y="1264"/>
                    <a:pt x="820" y="1264"/>
                    <a:pt x="820" y="1264"/>
                  </a:cubicBezTo>
                  <a:cubicBezTo>
                    <a:pt x="820" y="1265"/>
                    <a:pt x="820" y="1265"/>
                    <a:pt x="820" y="1265"/>
                  </a:cubicBezTo>
                  <a:cubicBezTo>
                    <a:pt x="821" y="1265"/>
                    <a:pt x="821" y="1265"/>
                    <a:pt x="821" y="1265"/>
                  </a:cubicBezTo>
                  <a:cubicBezTo>
                    <a:pt x="822" y="1265"/>
                    <a:pt x="822" y="1265"/>
                    <a:pt x="822" y="1265"/>
                  </a:cubicBezTo>
                  <a:cubicBezTo>
                    <a:pt x="823" y="1265"/>
                    <a:pt x="823" y="1265"/>
                    <a:pt x="823" y="1265"/>
                  </a:cubicBezTo>
                  <a:cubicBezTo>
                    <a:pt x="824" y="1266"/>
                    <a:pt x="824" y="1266"/>
                    <a:pt x="824" y="1266"/>
                  </a:cubicBezTo>
                  <a:cubicBezTo>
                    <a:pt x="824" y="1266"/>
                    <a:pt x="824" y="1266"/>
                    <a:pt x="824" y="1266"/>
                  </a:cubicBezTo>
                  <a:cubicBezTo>
                    <a:pt x="824" y="1266"/>
                    <a:pt x="824" y="1266"/>
                    <a:pt x="824" y="1266"/>
                  </a:cubicBezTo>
                  <a:cubicBezTo>
                    <a:pt x="825" y="1266"/>
                    <a:pt x="825" y="1266"/>
                    <a:pt x="825" y="1266"/>
                  </a:cubicBezTo>
                  <a:cubicBezTo>
                    <a:pt x="825" y="1266"/>
                    <a:pt x="825" y="1266"/>
                    <a:pt x="825" y="1266"/>
                  </a:cubicBezTo>
                  <a:cubicBezTo>
                    <a:pt x="825" y="1266"/>
                    <a:pt x="825" y="1266"/>
                    <a:pt x="825" y="1266"/>
                  </a:cubicBezTo>
                  <a:cubicBezTo>
                    <a:pt x="825" y="1265"/>
                    <a:pt x="825" y="1265"/>
                    <a:pt x="825" y="1265"/>
                  </a:cubicBezTo>
                  <a:cubicBezTo>
                    <a:pt x="825" y="1265"/>
                    <a:pt x="825" y="1265"/>
                    <a:pt x="825" y="1265"/>
                  </a:cubicBezTo>
                  <a:cubicBezTo>
                    <a:pt x="826" y="1263"/>
                    <a:pt x="826" y="1263"/>
                    <a:pt x="826" y="1263"/>
                  </a:cubicBezTo>
                  <a:cubicBezTo>
                    <a:pt x="826" y="1263"/>
                    <a:pt x="826" y="1263"/>
                    <a:pt x="826" y="1263"/>
                  </a:cubicBezTo>
                  <a:cubicBezTo>
                    <a:pt x="826" y="1262"/>
                    <a:pt x="826" y="1262"/>
                    <a:pt x="826" y="1262"/>
                  </a:cubicBezTo>
                  <a:cubicBezTo>
                    <a:pt x="826" y="1261"/>
                    <a:pt x="826" y="1261"/>
                    <a:pt x="826" y="1261"/>
                  </a:cubicBezTo>
                  <a:cubicBezTo>
                    <a:pt x="826" y="1261"/>
                    <a:pt x="826" y="1261"/>
                    <a:pt x="826" y="1261"/>
                  </a:cubicBezTo>
                  <a:cubicBezTo>
                    <a:pt x="826" y="1260"/>
                    <a:pt x="826" y="1260"/>
                    <a:pt x="826" y="1260"/>
                  </a:cubicBezTo>
                  <a:cubicBezTo>
                    <a:pt x="826" y="1259"/>
                    <a:pt x="826" y="1259"/>
                    <a:pt x="826" y="1259"/>
                  </a:cubicBezTo>
                  <a:cubicBezTo>
                    <a:pt x="827" y="1258"/>
                    <a:pt x="827" y="1258"/>
                    <a:pt x="827" y="1258"/>
                  </a:cubicBezTo>
                  <a:cubicBezTo>
                    <a:pt x="828" y="1257"/>
                    <a:pt x="828" y="1257"/>
                    <a:pt x="828" y="1257"/>
                  </a:cubicBezTo>
                  <a:cubicBezTo>
                    <a:pt x="828" y="1256"/>
                    <a:pt x="828" y="1256"/>
                    <a:pt x="828" y="1256"/>
                  </a:cubicBezTo>
                  <a:cubicBezTo>
                    <a:pt x="829" y="1255"/>
                    <a:pt x="829" y="1255"/>
                    <a:pt x="829" y="1255"/>
                  </a:cubicBezTo>
                  <a:cubicBezTo>
                    <a:pt x="829" y="1255"/>
                    <a:pt x="829" y="1255"/>
                    <a:pt x="829" y="1255"/>
                  </a:cubicBezTo>
                  <a:cubicBezTo>
                    <a:pt x="829" y="1254"/>
                    <a:pt x="829" y="1254"/>
                    <a:pt x="829" y="1254"/>
                  </a:cubicBezTo>
                  <a:cubicBezTo>
                    <a:pt x="829" y="1254"/>
                    <a:pt x="829" y="1254"/>
                    <a:pt x="829" y="1254"/>
                  </a:cubicBezTo>
                  <a:cubicBezTo>
                    <a:pt x="829" y="1254"/>
                    <a:pt x="829" y="1254"/>
                    <a:pt x="829" y="1254"/>
                  </a:cubicBezTo>
                  <a:cubicBezTo>
                    <a:pt x="829" y="1253"/>
                    <a:pt x="829" y="1253"/>
                    <a:pt x="829" y="1253"/>
                  </a:cubicBezTo>
                  <a:cubicBezTo>
                    <a:pt x="829" y="1253"/>
                    <a:pt x="829" y="1253"/>
                    <a:pt x="829" y="1253"/>
                  </a:cubicBezTo>
                  <a:cubicBezTo>
                    <a:pt x="829" y="1253"/>
                    <a:pt x="829" y="1253"/>
                    <a:pt x="829" y="1253"/>
                  </a:cubicBezTo>
                  <a:cubicBezTo>
                    <a:pt x="829" y="1253"/>
                    <a:pt x="829" y="1253"/>
                    <a:pt x="829" y="1253"/>
                  </a:cubicBezTo>
                  <a:cubicBezTo>
                    <a:pt x="829" y="1252"/>
                    <a:pt x="829" y="1252"/>
                    <a:pt x="829" y="1252"/>
                  </a:cubicBezTo>
                  <a:cubicBezTo>
                    <a:pt x="827" y="1248"/>
                    <a:pt x="827" y="1248"/>
                    <a:pt x="827" y="1248"/>
                  </a:cubicBezTo>
                  <a:cubicBezTo>
                    <a:pt x="825" y="1245"/>
                    <a:pt x="825" y="1245"/>
                    <a:pt x="825" y="1245"/>
                  </a:cubicBezTo>
                  <a:cubicBezTo>
                    <a:pt x="825" y="1245"/>
                    <a:pt x="825" y="1245"/>
                    <a:pt x="825" y="1245"/>
                  </a:cubicBezTo>
                  <a:cubicBezTo>
                    <a:pt x="824" y="1245"/>
                    <a:pt x="824" y="1245"/>
                    <a:pt x="824" y="1245"/>
                  </a:cubicBezTo>
                  <a:cubicBezTo>
                    <a:pt x="824" y="1244"/>
                    <a:pt x="824" y="1244"/>
                    <a:pt x="824" y="1244"/>
                  </a:cubicBezTo>
                  <a:cubicBezTo>
                    <a:pt x="823" y="1243"/>
                    <a:pt x="823" y="1243"/>
                    <a:pt x="823" y="1243"/>
                  </a:cubicBezTo>
                  <a:cubicBezTo>
                    <a:pt x="822" y="1242"/>
                    <a:pt x="822" y="1242"/>
                    <a:pt x="822" y="1242"/>
                  </a:cubicBezTo>
                  <a:cubicBezTo>
                    <a:pt x="822" y="1241"/>
                    <a:pt x="822" y="1241"/>
                    <a:pt x="822" y="1241"/>
                  </a:cubicBezTo>
                  <a:cubicBezTo>
                    <a:pt x="821" y="1241"/>
                    <a:pt x="821" y="1241"/>
                    <a:pt x="821" y="1241"/>
                  </a:cubicBezTo>
                  <a:cubicBezTo>
                    <a:pt x="821" y="1240"/>
                    <a:pt x="821" y="1240"/>
                    <a:pt x="821" y="1240"/>
                  </a:cubicBezTo>
                  <a:cubicBezTo>
                    <a:pt x="820" y="1240"/>
                    <a:pt x="820" y="1240"/>
                    <a:pt x="820" y="1240"/>
                  </a:cubicBezTo>
                  <a:cubicBezTo>
                    <a:pt x="818" y="1239"/>
                    <a:pt x="818" y="1239"/>
                    <a:pt x="818" y="1239"/>
                  </a:cubicBezTo>
                  <a:cubicBezTo>
                    <a:pt x="815" y="1237"/>
                    <a:pt x="815" y="1237"/>
                    <a:pt x="815" y="1237"/>
                  </a:cubicBezTo>
                  <a:cubicBezTo>
                    <a:pt x="815" y="1235"/>
                    <a:pt x="815" y="1235"/>
                    <a:pt x="815" y="1235"/>
                  </a:cubicBezTo>
                  <a:cubicBezTo>
                    <a:pt x="815" y="1235"/>
                    <a:pt x="815" y="1235"/>
                    <a:pt x="815" y="1235"/>
                  </a:cubicBezTo>
                  <a:cubicBezTo>
                    <a:pt x="814" y="1234"/>
                    <a:pt x="814" y="1234"/>
                    <a:pt x="814" y="1234"/>
                  </a:cubicBezTo>
                  <a:cubicBezTo>
                    <a:pt x="814" y="1234"/>
                    <a:pt x="814" y="1234"/>
                    <a:pt x="814" y="1234"/>
                  </a:cubicBezTo>
                  <a:cubicBezTo>
                    <a:pt x="814" y="1233"/>
                    <a:pt x="814" y="1233"/>
                    <a:pt x="814" y="1233"/>
                  </a:cubicBezTo>
                  <a:cubicBezTo>
                    <a:pt x="814" y="1233"/>
                    <a:pt x="814" y="1233"/>
                    <a:pt x="814" y="1233"/>
                  </a:cubicBezTo>
                  <a:cubicBezTo>
                    <a:pt x="814" y="1233"/>
                    <a:pt x="814" y="1233"/>
                    <a:pt x="814" y="1233"/>
                  </a:cubicBezTo>
                  <a:cubicBezTo>
                    <a:pt x="813" y="1233"/>
                    <a:pt x="813" y="1233"/>
                    <a:pt x="813" y="1233"/>
                  </a:cubicBezTo>
                  <a:cubicBezTo>
                    <a:pt x="813" y="1233"/>
                    <a:pt x="813" y="1233"/>
                    <a:pt x="813" y="1233"/>
                  </a:cubicBezTo>
                  <a:cubicBezTo>
                    <a:pt x="813" y="1232"/>
                    <a:pt x="813" y="1232"/>
                    <a:pt x="813" y="1232"/>
                  </a:cubicBezTo>
                  <a:cubicBezTo>
                    <a:pt x="812" y="1232"/>
                    <a:pt x="812" y="1232"/>
                    <a:pt x="812" y="1232"/>
                  </a:cubicBezTo>
                  <a:cubicBezTo>
                    <a:pt x="809" y="1231"/>
                    <a:pt x="809" y="1231"/>
                    <a:pt x="809" y="1231"/>
                  </a:cubicBezTo>
                  <a:cubicBezTo>
                    <a:pt x="807" y="1229"/>
                    <a:pt x="807" y="1229"/>
                    <a:pt x="807" y="1229"/>
                  </a:cubicBezTo>
                  <a:cubicBezTo>
                    <a:pt x="804" y="1228"/>
                    <a:pt x="804" y="1228"/>
                    <a:pt x="804" y="1228"/>
                  </a:cubicBezTo>
                  <a:cubicBezTo>
                    <a:pt x="803" y="1228"/>
                    <a:pt x="803" y="1228"/>
                    <a:pt x="803" y="1228"/>
                  </a:cubicBezTo>
                  <a:cubicBezTo>
                    <a:pt x="801" y="1227"/>
                    <a:pt x="801" y="1227"/>
                    <a:pt x="801" y="1227"/>
                  </a:cubicBezTo>
                  <a:cubicBezTo>
                    <a:pt x="800" y="1226"/>
                    <a:pt x="800" y="1226"/>
                    <a:pt x="800" y="1226"/>
                  </a:cubicBezTo>
                  <a:cubicBezTo>
                    <a:pt x="799" y="1226"/>
                    <a:pt x="799" y="1226"/>
                    <a:pt x="799" y="1226"/>
                  </a:cubicBezTo>
                  <a:cubicBezTo>
                    <a:pt x="799" y="1226"/>
                    <a:pt x="799" y="1226"/>
                    <a:pt x="799" y="1226"/>
                  </a:cubicBezTo>
                  <a:cubicBezTo>
                    <a:pt x="797" y="1224"/>
                    <a:pt x="797" y="1224"/>
                    <a:pt x="797" y="1224"/>
                  </a:cubicBezTo>
                  <a:cubicBezTo>
                    <a:pt x="796" y="1223"/>
                    <a:pt x="796" y="1223"/>
                    <a:pt x="796" y="1223"/>
                  </a:cubicBezTo>
                  <a:cubicBezTo>
                    <a:pt x="795" y="1223"/>
                    <a:pt x="795" y="1223"/>
                    <a:pt x="795" y="1223"/>
                  </a:cubicBezTo>
                  <a:cubicBezTo>
                    <a:pt x="795" y="1223"/>
                    <a:pt x="795" y="1223"/>
                    <a:pt x="795" y="1223"/>
                  </a:cubicBezTo>
                  <a:cubicBezTo>
                    <a:pt x="794" y="1221"/>
                    <a:pt x="794" y="1221"/>
                    <a:pt x="794" y="1221"/>
                  </a:cubicBezTo>
                  <a:cubicBezTo>
                    <a:pt x="793" y="1220"/>
                    <a:pt x="793" y="1220"/>
                    <a:pt x="793" y="1220"/>
                  </a:cubicBezTo>
                  <a:cubicBezTo>
                    <a:pt x="790" y="1218"/>
                    <a:pt x="790" y="1218"/>
                    <a:pt x="790" y="1218"/>
                  </a:cubicBezTo>
                  <a:cubicBezTo>
                    <a:pt x="786" y="1216"/>
                    <a:pt x="786" y="1216"/>
                    <a:pt x="786" y="1216"/>
                  </a:cubicBezTo>
                  <a:cubicBezTo>
                    <a:pt x="781" y="1214"/>
                    <a:pt x="781" y="1214"/>
                    <a:pt x="781" y="1214"/>
                  </a:cubicBezTo>
                  <a:cubicBezTo>
                    <a:pt x="780" y="1214"/>
                    <a:pt x="780" y="1214"/>
                    <a:pt x="780" y="1214"/>
                  </a:cubicBezTo>
                  <a:cubicBezTo>
                    <a:pt x="780" y="1214"/>
                    <a:pt x="780" y="1214"/>
                    <a:pt x="780" y="1214"/>
                  </a:cubicBezTo>
                  <a:cubicBezTo>
                    <a:pt x="780" y="1214"/>
                    <a:pt x="780" y="1214"/>
                    <a:pt x="780" y="1214"/>
                  </a:cubicBezTo>
                  <a:cubicBezTo>
                    <a:pt x="780" y="1214"/>
                    <a:pt x="780" y="1214"/>
                    <a:pt x="780" y="1214"/>
                  </a:cubicBezTo>
                  <a:cubicBezTo>
                    <a:pt x="779" y="1213"/>
                    <a:pt x="779" y="1213"/>
                    <a:pt x="779" y="1213"/>
                  </a:cubicBezTo>
                  <a:cubicBezTo>
                    <a:pt x="772" y="1211"/>
                    <a:pt x="772" y="1211"/>
                    <a:pt x="772" y="1211"/>
                  </a:cubicBezTo>
                  <a:cubicBezTo>
                    <a:pt x="771" y="1210"/>
                    <a:pt x="771" y="1210"/>
                    <a:pt x="771" y="1210"/>
                  </a:cubicBezTo>
                  <a:cubicBezTo>
                    <a:pt x="771" y="1210"/>
                    <a:pt x="771" y="1210"/>
                    <a:pt x="771" y="1210"/>
                  </a:cubicBezTo>
                  <a:cubicBezTo>
                    <a:pt x="770" y="1209"/>
                    <a:pt x="770" y="1209"/>
                    <a:pt x="770" y="1209"/>
                  </a:cubicBezTo>
                  <a:cubicBezTo>
                    <a:pt x="768" y="1209"/>
                    <a:pt x="768" y="1209"/>
                    <a:pt x="768" y="1209"/>
                  </a:cubicBezTo>
                  <a:cubicBezTo>
                    <a:pt x="764" y="1206"/>
                    <a:pt x="764" y="1206"/>
                    <a:pt x="764" y="1206"/>
                  </a:cubicBezTo>
                  <a:cubicBezTo>
                    <a:pt x="758" y="1204"/>
                    <a:pt x="758" y="1204"/>
                    <a:pt x="758" y="1204"/>
                  </a:cubicBezTo>
                  <a:cubicBezTo>
                    <a:pt x="758" y="1203"/>
                    <a:pt x="758" y="1203"/>
                    <a:pt x="758" y="1203"/>
                  </a:cubicBezTo>
                  <a:cubicBezTo>
                    <a:pt x="757" y="1203"/>
                    <a:pt x="757" y="1203"/>
                    <a:pt x="757" y="1203"/>
                  </a:cubicBezTo>
                  <a:cubicBezTo>
                    <a:pt x="755" y="1202"/>
                    <a:pt x="755" y="1202"/>
                    <a:pt x="755" y="1202"/>
                  </a:cubicBezTo>
                  <a:cubicBezTo>
                    <a:pt x="754" y="1201"/>
                    <a:pt x="754" y="1201"/>
                    <a:pt x="754" y="1201"/>
                  </a:cubicBezTo>
                  <a:cubicBezTo>
                    <a:pt x="753" y="1200"/>
                    <a:pt x="753" y="1200"/>
                    <a:pt x="753" y="1200"/>
                  </a:cubicBezTo>
                  <a:cubicBezTo>
                    <a:pt x="752" y="1199"/>
                    <a:pt x="752" y="1199"/>
                    <a:pt x="752" y="1199"/>
                  </a:cubicBezTo>
                  <a:cubicBezTo>
                    <a:pt x="752" y="1198"/>
                    <a:pt x="752" y="1198"/>
                    <a:pt x="752" y="1198"/>
                  </a:cubicBezTo>
                  <a:cubicBezTo>
                    <a:pt x="752" y="1196"/>
                    <a:pt x="752" y="1196"/>
                    <a:pt x="752" y="1196"/>
                  </a:cubicBezTo>
                  <a:cubicBezTo>
                    <a:pt x="752" y="1195"/>
                    <a:pt x="752" y="1195"/>
                    <a:pt x="752" y="1195"/>
                  </a:cubicBezTo>
                  <a:cubicBezTo>
                    <a:pt x="752" y="1194"/>
                    <a:pt x="752" y="1194"/>
                    <a:pt x="752" y="1194"/>
                  </a:cubicBezTo>
                  <a:cubicBezTo>
                    <a:pt x="756" y="1192"/>
                    <a:pt x="756" y="1192"/>
                    <a:pt x="756" y="1192"/>
                  </a:cubicBezTo>
                  <a:cubicBezTo>
                    <a:pt x="757" y="1191"/>
                    <a:pt x="757" y="1191"/>
                    <a:pt x="757" y="1191"/>
                  </a:cubicBezTo>
                  <a:cubicBezTo>
                    <a:pt x="758" y="1190"/>
                    <a:pt x="758" y="1190"/>
                    <a:pt x="758" y="1190"/>
                  </a:cubicBezTo>
                  <a:cubicBezTo>
                    <a:pt x="758" y="1190"/>
                    <a:pt x="758" y="1190"/>
                    <a:pt x="758" y="1190"/>
                  </a:cubicBezTo>
                  <a:cubicBezTo>
                    <a:pt x="759" y="1190"/>
                    <a:pt x="759" y="1190"/>
                    <a:pt x="759" y="1190"/>
                  </a:cubicBezTo>
                  <a:cubicBezTo>
                    <a:pt x="759" y="1189"/>
                    <a:pt x="759" y="1189"/>
                    <a:pt x="759" y="1189"/>
                  </a:cubicBezTo>
                  <a:cubicBezTo>
                    <a:pt x="760" y="1189"/>
                    <a:pt x="760" y="1189"/>
                    <a:pt x="760" y="1189"/>
                  </a:cubicBezTo>
                  <a:cubicBezTo>
                    <a:pt x="760" y="1188"/>
                    <a:pt x="760" y="1188"/>
                    <a:pt x="760" y="1188"/>
                  </a:cubicBezTo>
                  <a:cubicBezTo>
                    <a:pt x="761" y="1188"/>
                    <a:pt x="761" y="1188"/>
                    <a:pt x="761" y="1188"/>
                  </a:cubicBezTo>
                  <a:cubicBezTo>
                    <a:pt x="761" y="1187"/>
                    <a:pt x="761" y="1187"/>
                    <a:pt x="761" y="1187"/>
                  </a:cubicBezTo>
                  <a:cubicBezTo>
                    <a:pt x="761" y="1187"/>
                    <a:pt x="761" y="1187"/>
                    <a:pt x="761" y="1187"/>
                  </a:cubicBezTo>
                  <a:cubicBezTo>
                    <a:pt x="760" y="1185"/>
                    <a:pt x="760" y="1185"/>
                    <a:pt x="760" y="1185"/>
                  </a:cubicBezTo>
                  <a:cubicBezTo>
                    <a:pt x="760" y="1184"/>
                    <a:pt x="760" y="1184"/>
                    <a:pt x="760" y="1184"/>
                  </a:cubicBezTo>
                  <a:cubicBezTo>
                    <a:pt x="760" y="1184"/>
                    <a:pt x="760" y="1184"/>
                    <a:pt x="760" y="1184"/>
                  </a:cubicBezTo>
                  <a:cubicBezTo>
                    <a:pt x="760" y="1184"/>
                    <a:pt x="760" y="1184"/>
                    <a:pt x="760" y="1184"/>
                  </a:cubicBezTo>
                  <a:cubicBezTo>
                    <a:pt x="759" y="1183"/>
                    <a:pt x="759" y="1183"/>
                    <a:pt x="759" y="1183"/>
                  </a:cubicBezTo>
                  <a:cubicBezTo>
                    <a:pt x="758" y="1182"/>
                    <a:pt x="758" y="1182"/>
                    <a:pt x="758" y="1182"/>
                  </a:cubicBezTo>
                  <a:cubicBezTo>
                    <a:pt x="756" y="1182"/>
                    <a:pt x="756" y="1182"/>
                    <a:pt x="756" y="1182"/>
                  </a:cubicBezTo>
                  <a:cubicBezTo>
                    <a:pt x="748" y="1182"/>
                    <a:pt x="748" y="1182"/>
                    <a:pt x="748" y="1182"/>
                  </a:cubicBezTo>
                  <a:cubicBezTo>
                    <a:pt x="743" y="1182"/>
                    <a:pt x="743" y="1182"/>
                    <a:pt x="743" y="1182"/>
                  </a:cubicBezTo>
                  <a:cubicBezTo>
                    <a:pt x="738" y="1183"/>
                    <a:pt x="738" y="1183"/>
                    <a:pt x="738" y="1183"/>
                  </a:cubicBezTo>
                  <a:cubicBezTo>
                    <a:pt x="737" y="1183"/>
                    <a:pt x="737" y="1183"/>
                    <a:pt x="737" y="1183"/>
                  </a:cubicBezTo>
                  <a:cubicBezTo>
                    <a:pt x="733" y="1182"/>
                    <a:pt x="733" y="1182"/>
                    <a:pt x="733" y="1182"/>
                  </a:cubicBezTo>
                  <a:cubicBezTo>
                    <a:pt x="730" y="1182"/>
                    <a:pt x="730" y="1182"/>
                    <a:pt x="730" y="1182"/>
                  </a:cubicBezTo>
                  <a:cubicBezTo>
                    <a:pt x="729" y="1182"/>
                    <a:pt x="729" y="1182"/>
                    <a:pt x="729" y="1182"/>
                  </a:cubicBezTo>
                  <a:cubicBezTo>
                    <a:pt x="729" y="1182"/>
                    <a:pt x="729" y="1182"/>
                    <a:pt x="729" y="1182"/>
                  </a:cubicBezTo>
                  <a:cubicBezTo>
                    <a:pt x="728" y="1182"/>
                    <a:pt x="728" y="1182"/>
                    <a:pt x="728" y="1182"/>
                  </a:cubicBezTo>
                  <a:cubicBezTo>
                    <a:pt x="727" y="1181"/>
                    <a:pt x="727" y="1181"/>
                    <a:pt x="727" y="1181"/>
                  </a:cubicBezTo>
                  <a:cubicBezTo>
                    <a:pt x="727" y="1181"/>
                    <a:pt x="727" y="1181"/>
                    <a:pt x="727" y="1181"/>
                  </a:cubicBezTo>
                  <a:cubicBezTo>
                    <a:pt x="726" y="1180"/>
                    <a:pt x="726" y="1180"/>
                    <a:pt x="726" y="1180"/>
                  </a:cubicBezTo>
                  <a:cubicBezTo>
                    <a:pt x="725" y="1179"/>
                    <a:pt x="725" y="1179"/>
                    <a:pt x="725" y="1179"/>
                  </a:cubicBezTo>
                  <a:cubicBezTo>
                    <a:pt x="725" y="1179"/>
                    <a:pt x="725" y="1179"/>
                    <a:pt x="725" y="1179"/>
                  </a:cubicBezTo>
                  <a:cubicBezTo>
                    <a:pt x="724" y="1179"/>
                    <a:pt x="724" y="1179"/>
                    <a:pt x="724" y="1179"/>
                  </a:cubicBezTo>
                  <a:cubicBezTo>
                    <a:pt x="721" y="1178"/>
                    <a:pt x="721" y="1178"/>
                    <a:pt x="721" y="1178"/>
                  </a:cubicBezTo>
                  <a:cubicBezTo>
                    <a:pt x="720" y="1178"/>
                    <a:pt x="720" y="1178"/>
                    <a:pt x="720" y="1178"/>
                  </a:cubicBezTo>
                  <a:cubicBezTo>
                    <a:pt x="719" y="1177"/>
                    <a:pt x="719" y="1177"/>
                    <a:pt x="719" y="1177"/>
                  </a:cubicBezTo>
                  <a:cubicBezTo>
                    <a:pt x="719" y="1176"/>
                    <a:pt x="719" y="1176"/>
                    <a:pt x="719" y="1176"/>
                  </a:cubicBezTo>
                  <a:cubicBezTo>
                    <a:pt x="718" y="1176"/>
                    <a:pt x="718" y="1176"/>
                    <a:pt x="718" y="1176"/>
                  </a:cubicBezTo>
                  <a:cubicBezTo>
                    <a:pt x="718" y="1176"/>
                    <a:pt x="718" y="1176"/>
                    <a:pt x="718" y="1176"/>
                  </a:cubicBezTo>
                  <a:cubicBezTo>
                    <a:pt x="717" y="1176"/>
                    <a:pt x="717" y="1176"/>
                    <a:pt x="717" y="1176"/>
                  </a:cubicBezTo>
                  <a:cubicBezTo>
                    <a:pt x="717" y="1176"/>
                    <a:pt x="717" y="1176"/>
                    <a:pt x="717" y="1176"/>
                  </a:cubicBezTo>
                  <a:cubicBezTo>
                    <a:pt x="717" y="1175"/>
                    <a:pt x="717" y="1175"/>
                    <a:pt x="717" y="1175"/>
                  </a:cubicBezTo>
                  <a:cubicBezTo>
                    <a:pt x="717" y="1173"/>
                    <a:pt x="717" y="1173"/>
                    <a:pt x="717" y="1173"/>
                  </a:cubicBezTo>
                  <a:cubicBezTo>
                    <a:pt x="716" y="1172"/>
                    <a:pt x="716" y="1172"/>
                    <a:pt x="716" y="1172"/>
                  </a:cubicBezTo>
                  <a:cubicBezTo>
                    <a:pt x="716" y="1172"/>
                    <a:pt x="716" y="1172"/>
                    <a:pt x="716" y="1172"/>
                  </a:cubicBezTo>
                  <a:cubicBezTo>
                    <a:pt x="715" y="1172"/>
                    <a:pt x="715" y="1172"/>
                    <a:pt x="715" y="1172"/>
                  </a:cubicBezTo>
                  <a:cubicBezTo>
                    <a:pt x="713" y="1171"/>
                    <a:pt x="713" y="1171"/>
                    <a:pt x="713" y="1171"/>
                  </a:cubicBezTo>
                  <a:cubicBezTo>
                    <a:pt x="712" y="1170"/>
                    <a:pt x="712" y="1170"/>
                    <a:pt x="712" y="1170"/>
                  </a:cubicBezTo>
                  <a:cubicBezTo>
                    <a:pt x="708" y="1166"/>
                    <a:pt x="708" y="1166"/>
                    <a:pt x="708" y="1166"/>
                  </a:cubicBezTo>
                  <a:cubicBezTo>
                    <a:pt x="707" y="1164"/>
                    <a:pt x="707" y="1164"/>
                    <a:pt x="707" y="1164"/>
                  </a:cubicBezTo>
                  <a:cubicBezTo>
                    <a:pt x="706" y="1164"/>
                    <a:pt x="706" y="1164"/>
                    <a:pt x="706" y="1164"/>
                  </a:cubicBezTo>
                  <a:cubicBezTo>
                    <a:pt x="704" y="1162"/>
                    <a:pt x="704" y="1162"/>
                    <a:pt x="704" y="1162"/>
                  </a:cubicBezTo>
                  <a:cubicBezTo>
                    <a:pt x="702" y="1160"/>
                    <a:pt x="702" y="1160"/>
                    <a:pt x="702" y="1160"/>
                  </a:cubicBezTo>
                  <a:cubicBezTo>
                    <a:pt x="698" y="1155"/>
                    <a:pt x="698" y="1155"/>
                    <a:pt x="698" y="1155"/>
                  </a:cubicBezTo>
                  <a:cubicBezTo>
                    <a:pt x="698" y="1155"/>
                    <a:pt x="698" y="1155"/>
                    <a:pt x="698" y="1155"/>
                  </a:cubicBezTo>
                  <a:cubicBezTo>
                    <a:pt x="697" y="1154"/>
                    <a:pt x="697" y="1154"/>
                    <a:pt x="697" y="1154"/>
                  </a:cubicBezTo>
                  <a:cubicBezTo>
                    <a:pt x="696" y="1151"/>
                    <a:pt x="696" y="1151"/>
                    <a:pt x="696" y="1151"/>
                  </a:cubicBezTo>
                  <a:cubicBezTo>
                    <a:pt x="695" y="1150"/>
                    <a:pt x="695" y="1150"/>
                    <a:pt x="695" y="1150"/>
                  </a:cubicBezTo>
                  <a:cubicBezTo>
                    <a:pt x="694" y="1147"/>
                    <a:pt x="694" y="1147"/>
                    <a:pt x="694" y="1147"/>
                  </a:cubicBezTo>
                  <a:cubicBezTo>
                    <a:pt x="693" y="1143"/>
                    <a:pt x="693" y="1143"/>
                    <a:pt x="693" y="1143"/>
                  </a:cubicBezTo>
                  <a:cubicBezTo>
                    <a:pt x="691" y="1139"/>
                    <a:pt x="691" y="1139"/>
                    <a:pt x="691" y="1139"/>
                  </a:cubicBezTo>
                  <a:cubicBezTo>
                    <a:pt x="691" y="1135"/>
                    <a:pt x="691" y="1135"/>
                    <a:pt x="691" y="1135"/>
                  </a:cubicBezTo>
                  <a:cubicBezTo>
                    <a:pt x="691" y="1134"/>
                    <a:pt x="691" y="1134"/>
                    <a:pt x="691" y="1134"/>
                  </a:cubicBezTo>
                  <a:cubicBezTo>
                    <a:pt x="690" y="1132"/>
                    <a:pt x="690" y="1132"/>
                    <a:pt x="690" y="1132"/>
                  </a:cubicBezTo>
                  <a:cubicBezTo>
                    <a:pt x="689" y="1131"/>
                    <a:pt x="689" y="1131"/>
                    <a:pt x="689" y="1131"/>
                  </a:cubicBezTo>
                  <a:cubicBezTo>
                    <a:pt x="689" y="1131"/>
                    <a:pt x="689" y="1131"/>
                    <a:pt x="689" y="1131"/>
                  </a:cubicBezTo>
                  <a:cubicBezTo>
                    <a:pt x="689" y="1129"/>
                    <a:pt x="689" y="1129"/>
                    <a:pt x="689" y="1129"/>
                  </a:cubicBezTo>
                  <a:cubicBezTo>
                    <a:pt x="689" y="1129"/>
                    <a:pt x="689" y="1129"/>
                    <a:pt x="689" y="1129"/>
                  </a:cubicBezTo>
                  <a:cubicBezTo>
                    <a:pt x="688" y="1128"/>
                    <a:pt x="688" y="1128"/>
                    <a:pt x="688" y="1128"/>
                  </a:cubicBezTo>
                  <a:cubicBezTo>
                    <a:pt x="684" y="1117"/>
                    <a:pt x="684" y="1117"/>
                    <a:pt x="684" y="1117"/>
                  </a:cubicBezTo>
                  <a:cubicBezTo>
                    <a:pt x="684" y="1116"/>
                    <a:pt x="684" y="1116"/>
                    <a:pt x="684" y="1116"/>
                  </a:cubicBezTo>
                  <a:cubicBezTo>
                    <a:pt x="684" y="1116"/>
                    <a:pt x="684" y="1116"/>
                    <a:pt x="684" y="1116"/>
                  </a:cubicBezTo>
                  <a:cubicBezTo>
                    <a:pt x="684" y="1116"/>
                    <a:pt x="684" y="1116"/>
                    <a:pt x="684" y="1116"/>
                  </a:cubicBezTo>
                  <a:cubicBezTo>
                    <a:pt x="683" y="1116"/>
                    <a:pt x="683" y="1116"/>
                    <a:pt x="683" y="1116"/>
                  </a:cubicBezTo>
                  <a:cubicBezTo>
                    <a:pt x="683" y="1115"/>
                    <a:pt x="683" y="1115"/>
                    <a:pt x="683" y="1115"/>
                  </a:cubicBezTo>
                  <a:cubicBezTo>
                    <a:pt x="682" y="1114"/>
                    <a:pt x="682" y="1114"/>
                    <a:pt x="682" y="1114"/>
                  </a:cubicBezTo>
                  <a:cubicBezTo>
                    <a:pt x="682" y="1114"/>
                    <a:pt x="682" y="1114"/>
                    <a:pt x="682" y="1114"/>
                  </a:cubicBezTo>
                  <a:cubicBezTo>
                    <a:pt x="681" y="1113"/>
                    <a:pt x="681" y="1113"/>
                    <a:pt x="681" y="1113"/>
                  </a:cubicBezTo>
                  <a:cubicBezTo>
                    <a:pt x="681" y="1113"/>
                    <a:pt x="681" y="1113"/>
                    <a:pt x="681" y="1113"/>
                  </a:cubicBezTo>
                  <a:cubicBezTo>
                    <a:pt x="681" y="1113"/>
                    <a:pt x="681" y="1113"/>
                    <a:pt x="681" y="1113"/>
                  </a:cubicBezTo>
                  <a:cubicBezTo>
                    <a:pt x="681" y="1113"/>
                    <a:pt x="681" y="1113"/>
                    <a:pt x="681" y="1113"/>
                  </a:cubicBezTo>
                  <a:cubicBezTo>
                    <a:pt x="681" y="1113"/>
                    <a:pt x="681" y="1113"/>
                    <a:pt x="681" y="1113"/>
                  </a:cubicBezTo>
                  <a:cubicBezTo>
                    <a:pt x="681" y="1113"/>
                    <a:pt x="681" y="1113"/>
                    <a:pt x="681" y="1113"/>
                  </a:cubicBezTo>
                  <a:cubicBezTo>
                    <a:pt x="680" y="1113"/>
                    <a:pt x="680" y="1113"/>
                    <a:pt x="680" y="1113"/>
                  </a:cubicBezTo>
                  <a:cubicBezTo>
                    <a:pt x="680" y="1114"/>
                    <a:pt x="680" y="1114"/>
                    <a:pt x="680" y="1114"/>
                  </a:cubicBezTo>
                  <a:cubicBezTo>
                    <a:pt x="680" y="1114"/>
                    <a:pt x="680" y="1114"/>
                    <a:pt x="680" y="1114"/>
                  </a:cubicBezTo>
                  <a:cubicBezTo>
                    <a:pt x="679" y="1113"/>
                    <a:pt x="679" y="1113"/>
                    <a:pt x="679" y="1113"/>
                  </a:cubicBezTo>
                  <a:cubicBezTo>
                    <a:pt x="678" y="1113"/>
                    <a:pt x="678" y="1113"/>
                    <a:pt x="678" y="1113"/>
                  </a:cubicBezTo>
                  <a:cubicBezTo>
                    <a:pt x="677" y="1113"/>
                    <a:pt x="677" y="1113"/>
                    <a:pt x="677" y="1113"/>
                  </a:cubicBezTo>
                  <a:cubicBezTo>
                    <a:pt x="677" y="1112"/>
                    <a:pt x="677" y="1112"/>
                    <a:pt x="677" y="1112"/>
                  </a:cubicBezTo>
                  <a:cubicBezTo>
                    <a:pt x="673" y="1110"/>
                    <a:pt x="673" y="1110"/>
                    <a:pt x="673" y="1110"/>
                  </a:cubicBezTo>
                  <a:cubicBezTo>
                    <a:pt x="664" y="1102"/>
                    <a:pt x="664" y="1102"/>
                    <a:pt x="664" y="1102"/>
                  </a:cubicBezTo>
                  <a:cubicBezTo>
                    <a:pt x="664" y="1102"/>
                    <a:pt x="664" y="1102"/>
                    <a:pt x="664" y="1102"/>
                  </a:cubicBezTo>
                  <a:cubicBezTo>
                    <a:pt x="664" y="1101"/>
                    <a:pt x="664" y="1101"/>
                    <a:pt x="664" y="1101"/>
                  </a:cubicBezTo>
                  <a:cubicBezTo>
                    <a:pt x="662" y="1100"/>
                    <a:pt x="662" y="1100"/>
                    <a:pt x="662" y="1100"/>
                  </a:cubicBezTo>
                  <a:cubicBezTo>
                    <a:pt x="661" y="1100"/>
                    <a:pt x="661" y="1100"/>
                    <a:pt x="661" y="1100"/>
                  </a:cubicBezTo>
                  <a:cubicBezTo>
                    <a:pt x="660" y="1099"/>
                    <a:pt x="660" y="1099"/>
                    <a:pt x="660" y="1099"/>
                  </a:cubicBezTo>
                  <a:cubicBezTo>
                    <a:pt x="659" y="1099"/>
                    <a:pt x="659" y="1099"/>
                    <a:pt x="659" y="1099"/>
                  </a:cubicBezTo>
                  <a:cubicBezTo>
                    <a:pt x="657" y="1099"/>
                    <a:pt x="657" y="1099"/>
                    <a:pt x="657" y="1099"/>
                  </a:cubicBezTo>
                  <a:cubicBezTo>
                    <a:pt x="657" y="1098"/>
                    <a:pt x="657" y="1098"/>
                    <a:pt x="657" y="1098"/>
                  </a:cubicBezTo>
                  <a:cubicBezTo>
                    <a:pt x="656" y="1097"/>
                    <a:pt x="656" y="1097"/>
                    <a:pt x="656" y="1097"/>
                  </a:cubicBezTo>
                  <a:cubicBezTo>
                    <a:pt x="655" y="1097"/>
                    <a:pt x="655" y="1097"/>
                    <a:pt x="655" y="1097"/>
                  </a:cubicBezTo>
                  <a:cubicBezTo>
                    <a:pt x="653" y="1094"/>
                    <a:pt x="653" y="1094"/>
                    <a:pt x="653" y="1094"/>
                  </a:cubicBezTo>
                  <a:cubicBezTo>
                    <a:pt x="652" y="1094"/>
                    <a:pt x="652" y="1094"/>
                    <a:pt x="652" y="1094"/>
                  </a:cubicBezTo>
                  <a:cubicBezTo>
                    <a:pt x="651" y="1093"/>
                    <a:pt x="651" y="1093"/>
                    <a:pt x="651" y="1093"/>
                  </a:cubicBezTo>
                  <a:cubicBezTo>
                    <a:pt x="650" y="1092"/>
                    <a:pt x="650" y="1092"/>
                    <a:pt x="650" y="1092"/>
                  </a:cubicBezTo>
                  <a:cubicBezTo>
                    <a:pt x="650" y="1091"/>
                    <a:pt x="650" y="1091"/>
                    <a:pt x="650" y="1091"/>
                  </a:cubicBezTo>
                  <a:cubicBezTo>
                    <a:pt x="649" y="1090"/>
                    <a:pt x="649" y="1090"/>
                    <a:pt x="649" y="1090"/>
                  </a:cubicBezTo>
                  <a:cubicBezTo>
                    <a:pt x="648" y="1089"/>
                    <a:pt x="648" y="1089"/>
                    <a:pt x="648" y="1089"/>
                  </a:cubicBezTo>
                  <a:cubicBezTo>
                    <a:pt x="647" y="1087"/>
                    <a:pt x="647" y="1087"/>
                    <a:pt x="647" y="1087"/>
                  </a:cubicBezTo>
                  <a:cubicBezTo>
                    <a:pt x="647" y="1086"/>
                    <a:pt x="647" y="1086"/>
                    <a:pt x="647" y="1086"/>
                  </a:cubicBezTo>
                  <a:cubicBezTo>
                    <a:pt x="646" y="1085"/>
                    <a:pt x="646" y="1085"/>
                    <a:pt x="646" y="1085"/>
                  </a:cubicBezTo>
                  <a:cubicBezTo>
                    <a:pt x="646" y="1084"/>
                    <a:pt x="646" y="1084"/>
                    <a:pt x="646" y="1084"/>
                  </a:cubicBezTo>
                  <a:cubicBezTo>
                    <a:pt x="646" y="1084"/>
                    <a:pt x="646" y="1084"/>
                    <a:pt x="646" y="1084"/>
                  </a:cubicBezTo>
                  <a:cubicBezTo>
                    <a:pt x="646" y="1083"/>
                    <a:pt x="646" y="1083"/>
                    <a:pt x="646" y="1083"/>
                  </a:cubicBezTo>
                  <a:cubicBezTo>
                    <a:pt x="646" y="1083"/>
                    <a:pt x="646" y="1083"/>
                    <a:pt x="646" y="1083"/>
                  </a:cubicBezTo>
                  <a:cubicBezTo>
                    <a:pt x="646" y="1083"/>
                    <a:pt x="646" y="1083"/>
                    <a:pt x="646" y="1083"/>
                  </a:cubicBezTo>
                  <a:cubicBezTo>
                    <a:pt x="645" y="1082"/>
                    <a:pt x="645" y="1082"/>
                    <a:pt x="645" y="1082"/>
                  </a:cubicBezTo>
                  <a:cubicBezTo>
                    <a:pt x="645" y="1077"/>
                    <a:pt x="645" y="1077"/>
                    <a:pt x="645" y="1077"/>
                  </a:cubicBezTo>
                  <a:cubicBezTo>
                    <a:pt x="645" y="1076"/>
                    <a:pt x="645" y="1076"/>
                    <a:pt x="645" y="1076"/>
                  </a:cubicBezTo>
                  <a:cubicBezTo>
                    <a:pt x="645" y="1073"/>
                    <a:pt x="645" y="1073"/>
                    <a:pt x="645" y="1073"/>
                  </a:cubicBezTo>
                  <a:cubicBezTo>
                    <a:pt x="645" y="1072"/>
                    <a:pt x="645" y="1072"/>
                    <a:pt x="645" y="1072"/>
                  </a:cubicBezTo>
                  <a:cubicBezTo>
                    <a:pt x="644" y="1072"/>
                    <a:pt x="644" y="1072"/>
                    <a:pt x="644" y="1072"/>
                  </a:cubicBezTo>
                  <a:cubicBezTo>
                    <a:pt x="644" y="1071"/>
                    <a:pt x="644" y="1071"/>
                    <a:pt x="644" y="1071"/>
                  </a:cubicBezTo>
                  <a:cubicBezTo>
                    <a:pt x="644" y="1070"/>
                    <a:pt x="644" y="1070"/>
                    <a:pt x="644" y="1070"/>
                  </a:cubicBezTo>
                  <a:cubicBezTo>
                    <a:pt x="644" y="1068"/>
                    <a:pt x="644" y="1068"/>
                    <a:pt x="644" y="1068"/>
                  </a:cubicBezTo>
                  <a:cubicBezTo>
                    <a:pt x="644" y="1067"/>
                    <a:pt x="644" y="1067"/>
                    <a:pt x="644" y="1067"/>
                  </a:cubicBezTo>
                  <a:cubicBezTo>
                    <a:pt x="645" y="1064"/>
                    <a:pt x="645" y="1064"/>
                    <a:pt x="645" y="1064"/>
                  </a:cubicBezTo>
                  <a:cubicBezTo>
                    <a:pt x="644" y="1064"/>
                    <a:pt x="644" y="1064"/>
                    <a:pt x="644" y="1064"/>
                  </a:cubicBezTo>
                  <a:cubicBezTo>
                    <a:pt x="644" y="1063"/>
                    <a:pt x="644" y="1063"/>
                    <a:pt x="644" y="1063"/>
                  </a:cubicBezTo>
                  <a:cubicBezTo>
                    <a:pt x="645" y="1063"/>
                    <a:pt x="645" y="1063"/>
                    <a:pt x="645" y="1063"/>
                  </a:cubicBezTo>
                  <a:cubicBezTo>
                    <a:pt x="645" y="1063"/>
                    <a:pt x="645" y="1063"/>
                    <a:pt x="645" y="1063"/>
                  </a:cubicBezTo>
                  <a:cubicBezTo>
                    <a:pt x="646" y="1063"/>
                    <a:pt x="646" y="1063"/>
                    <a:pt x="646" y="1063"/>
                  </a:cubicBezTo>
                  <a:cubicBezTo>
                    <a:pt x="647" y="1064"/>
                    <a:pt x="647" y="1064"/>
                    <a:pt x="647" y="1064"/>
                  </a:cubicBezTo>
                  <a:cubicBezTo>
                    <a:pt x="647" y="1064"/>
                    <a:pt x="647" y="1064"/>
                    <a:pt x="647" y="1064"/>
                  </a:cubicBezTo>
                  <a:cubicBezTo>
                    <a:pt x="647" y="1065"/>
                    <a:pt x="647" y="1065"/>
                    <a:pt x="647" y="1065"/>
                  </a:cubicBezTo>
                  <a:cubicBezTo>
                    <a:pt x="648" y="1065"/>
                    <a:pt x="648" y="1065"/>
                    <a:pt x="648" y="1065"/>
                  </a:cubicBezTo>
                  <a:cubicBezTo>
                    <a:pt x="648" y="1064"/>
                    <a:pt x="648" y="1064"/>
                    <a:pt x="648" y="1064"/>
                  </a:cubicBezTo>
                  <a:cubicBezTo>
                    <a:pt x="649" y="1064"/>
                    <a:pt x="649" y="1064"/>
                    <a:pt x="649" y="1064"/>
                  </a:cubicBezTo>
                  <a:cubicBezTo>
                    <a:pt x="648" y="1064"/>
                    <a:pt x="648" y="1064"/>
                    <a:pt x="648" y="1064"/>
                  </a:cubicBezTo>
                  <a:cubicBezTo>
                    <a:pt x="648" y="1063"/>
                    <a:pt x="648" y="1063"/>
                    <a:pt x="648" y="1063"/>
                  </a:cubicBezTo>
                  <a:cubicBezTo>
                    <a:pt x="648" y="1063"/>
                    <a:pt x="648" y="1063"/>
                    <a:pt x="648" y="1063"/>
                  </a:cubicBezTo>
                  <a:cubicBezTo>
                    <a:pt x="648" y="1063"/>
                    <a:pt x="648" y="1063"/>
                    <a:pt x="648" y="1063"/>
                  </a:cubicBezTo>
                  <a:cubicBezTo>
                    <a:pt x="648" y="1063"/>
                    <a:pt x="648" y="1063"/>
                    <a:pt x="648" y="1063"/>
                  </a:cubicBezTo>
                  <a:cubicBezTo>
                    <a:pt x="648" y="1063"/>
                    <a:pt x="648" y="1063"/>
                    <a:pt x="648" y="1063"/>
                  </a:cubicBezTo>
                  <a:cubicBezTo>
                    <a:pt x="648" y="1062"/>
                    <a:pt x="648" y="1062"/>
                    <a:pt x="648" y="1062"/>
                  </a:cubicBezTo>
                  <a:cubicBezTo>
                    <a:pt x="648" y="1062"/>
                    <a:pt x="648" y="1062"/>
                    <a:pt x="648" y="1062"/>
                  </a:cubicBezTo>
                  <a:cubicBezTo>
                    <a:pt x="648" y="1062"/>
                    <a:pt x="648" y="1062"/>
                    <a:pt x="648" y="1062"/>
                  </a:cubicBezTo>
                  <a:cubicBezTo>
                    <a:pt x="648" y="1061"/>
                    <a:pt x="648" y="1061"/>
                    <a:pt x="648" y="1061"/>
                  </a:cubicBezTo>
                  <a:cubicBezTo>
                    <a:pt x="648" y="1061"/>
                    <a:pt x="648" y="1061"/>
                    <a:pt x="648" y="1061"/>
                  </a:cubicBezTo>
                  <a:cubicBezTo>
                    <a:pt x="648" y="1060"/>
                    <a:pt x="648" y="1060"/>
                    <a:pt x="648" y="1060"/>
                  </a:cubicBezTo>
                  <a:cubicBezTo>
                    <a:pt x="649" y="1060"/>
                    <a:pt x="649" y="1060"/>
                    <a:pt x="649" y="1060"/>
                  </a:cubicBezTo>
                  <a:cubicBezTo>
                    <a:pt x="649" y="1060"/>
                    <a:pt x="649" y="1060"/>
                    <a:pt x="649" y="1060"/>
                  </a:cubicBezTo>
                  <a:cubicBezTo>
                    <a:pt x="649" y="1061"/>
                    <a:pt x="649" y="1061"/>
                    <a:pt x="649" y="1061"/>
                  </a:cubicBezTo>
                  <a:cubicBezTo>
                    <a:pt x="649" y="1061"/>
                    <a:pt x="649" y="1061"/>
                    <a:pt x="649" y="1061"/>
                  </a:cubicBezTo>
                  <a:cubicBezTo>
                    <a:pt x="649" y="1062"/>
                    <a:pt x="649" y="1062"/>
                    <a:pt x="649" y="1062"/>
                  </a:cubicBezTo>
                  <a:cubicBezTo>
                    <a:pt x="649" y="1063"/>
                    <a:pt x="649" y="1063"/>
                    <a:pt x="649" y="1063"/>
                  </a:cubicBezTo>
                  <a:cubicBezTo>
                    <a:pt x="649" y="1063"/>
                    <a:pt x="649" y="1063"/>
                    <a:pt x="649" y="1063"/>
                  </a:cubicBezTo>
                  <a:cubicBezTo>
                    <a:pt x="649" y="1063"/>
                    <a:pt x="649" y="1063"/>
                    <a:pt x="649" y="1063"/>
                  </a:cubicBezTo>
                  <a:cubicBezTo>
                    <a:pt x="649" y="1064"/>
                    <a:pt x="649" y="1064"/>
                    <a:pt x="649" y="1064"/>
                  </a:cubicBezTo>
                  <a:cubicBezTo>
                    <a:pt x="650" y="1063"/>
                    <a:pt x="650" y="1063"/>
                    <a:pt x="650" y="1063"/>
                  </a:cubicBezTo>
                  <a:cubicBezTo>
                    <a:pt x="651" y="1062"/>
                    <a:pt x="651" y="1062"/>
                    <a:pt x="651" y="1062"/>
                  </a:cubicBezTo>
                  <a:cubicBezTo>
                    <a:pt x="651" y="1061"/>
                    <a:pt x="651" y="1061"/>
                    <a:pt x="651" y="1061"/>
                  </a:cubicBezTo>
                  <a:cubicBezTo>
                    <a:pt x="651" y="1060"/>
                    <a:pt x="651" y="1060"/>
                    <a:pt x="651" y="1060"/>
                  </a:cubicBezTo>
                  <a:cubicBezTo>
                    <a:pt x="651" y="1059"/>
                    <a:pt x="651" y="1059"/>
                    <a:pt x="651" y="1059"/>
                  </a:cubicBezTo>
                  <a:cubicBezTo>
                    <a:pt x="651" y="1059"/>
                    <a:pt x="651" y="1059"/>
                    <a:pt x="651" y="1059"/>
                  </a:cubicBezTo>
                  <a:cubicBezTo>
                    <a:pt x="651" y="1059"/>
                    <a:pt x="651" y="1059"/>
                    <a:pt x="651" y="1059"/>
                  </a:cubicBezTo>
                  <a:cubicBezTo>
                    <a:pt x="651" y="1059"/>
                    <a:pt x="651" y="1059"/>
                    <a:pt x="651" y="1059"/>
                  </a:cubicBezTo>
                  <a:cubicBezTo>
                    <a:pt x="652" y="1059"/>
                    <a:pt x="652" y="1059"/>
                    <a:pt x="652" y="1059"/>
                  </a:cubicBezTo>
                  <a:cubicBezTo>
                    <a:pt x="652" y="1058"/>
                    <a:pt x="652" y="1058"/>
                    <a:pt x="652" y="1058"/>
                  </a:cubicBezTo>
                  <a:cubicBezTo>
                    <a:pt x="652" y="1058"/>
                    <a:pt x="652" y="1058"/>
                    <a:pt x="652" y="1058"/>
                  </a:cubicBezTo>
                  <a:cubicBezTo>
                    <a:pt x="652" y="1058"/>
                    <a:pt x="652" y="1058"/>
                    <a:pt x="652" y="1058"/>
                  </a:cubicBezTo>
                  <a:cubicBezTo>
                    <a:pt x="652" y="1057"/>
                    <a:pt x="652" y="1057"/>
                    <a:pt x="652" y="1057"/>
                  </a:cubicBezTo>
                  <a:cubicBezTo>
                    <a:pt x="652" y="1057"/>
                    <a:pt x="652" y="1057"/>
                    <a:pt x="652" y="1057"/>
                  </a:cubicBezTo>
                  <a:cubicBezTo>
                    <a:pt x="651" y="1057"/>
                    <a:pt x="651" y="1057"/>
                    <a:pt x="651" y="1057"/>
                  </a:cubicBezTo>
                  <a:cubicBezTo>
                    <a:pt x="651" y="1056"/>
                    <a:pt x="651" y="1056"/>
                    <a:pt x="651" y="1056"/>
                  </a:cubicBezTo>
                  <a:cubicBezTo>
                    <a:pt x="651" y="1056"/>
                    <a:pt x="651" y="1056"/>
                    <a:pt x="651" y="1056"/>
                  </a:cubicBezTo>
                  <a:cubicBezTo>
                    <a:pt x="651" y="1057"/>
                    <a:pt x="651" y="1057"/>
                    <a:pt x="651" y="1057"/>
                  </a:cubicBezTo>
                  <a:cubicBezTo>
                    <a:pt x="651" y="1057"/>
                    <a:pt x="651" y="1057"/>
                    <a:pt x="651" y="1057"/>
                  </a:cubicBezTo>
                  <a:cubicBezTo>
                    <a:pt x="651" y="1057"/>
                    <a:pt x="651" y="1057"/>
                    <a:pt x="651" y="1057"/>
                  </a:cubicBezTo>
                  <a:cubicBezTo>
                    <a:pt x="651" y="1057"/>
                    <a:pt x="651" y="1057"/>
                    <a:pt x="651" y="1057"/>
                  </a:cubicBezTo>
                  <a:cubicBezTo>
                    <a:pt x="650" y="1056"/>
                    <a:pt x="650" y="1056"/>
                    <a:pt x="650" y="1056"/>
                  </a:cubicBezTo>
                  <a:cubicBezTo>
                    <a:pt x="649" y="1056"/>
                    <a:pt x="649" y="1056"/>
                    <a:pt x="649" y="1056"/>
                  </a:cubicBezTo>
                  <a:cubicBezTo>
                    <a:pt x="649" y="1055"/>
                    <a:pt x="649" y="1055"/>
                    <a:pt x="649" y="1055"/>
                  </a:cubicBezTo>
                  <a:cubicBezTo>
                    <a:pt x="649" y="1055"/>
                    <a:pt x="649" y="1055"/>
                    <a:pt x="649" y="1055"/>
                  </a:cubicBezTo>
                  <a:cubicBezTo>
                    <a:pt x="648" y="1055"/>
                    <a:pt x="648" y="1055"/>
                    <a:pt x="648" y="1055"/>
                  </a:cubicBezTo>
                  <a:cubicBezTo>
                    <a:pt x="648" y="1054"/>
                    <a:pt x="648" y="1054"/>
                    <a:pt x="648" y="1054"/>
                  </a:cubicBezTo>
                  <a:cubicBezTo>
                    <a:pt x="648" y="1054"/>
                    <a:pt x="648" y="1054"/>
                    <a:pt x="648" y="1054"/>
                  </a:cubicBezTo>
                  <a:cubicBezTo>
                    <a:pt x="648" y="1054"/>
                    <a:pt x="648" y="1054"/>
                    <a:pt x="648" y="1054"/>
                  </a:cubicBezTo>
                  <a:cubicBezTo>
                    <a:pt x="647" y="1053"/>
                    <a:pt x="647" y="1053"/>
                    <a:pt x="647" y="1053"/>
                  </a:cubicBezTo>
                  <a:cubicBezTo>
                    <a:pt x="648" y="1054"/>
                    <a:pt x="648" y="1054"/>
                    <a:pt x="648" y="1054"/>
                  </a:cubicBezTo>
                  <a:cubicBezTo>
                    <a:pt x="648" y="1054"/>
                    <a:pt x="648" y="1054"/>
                    <a:pt x="648" y="1054"/>
                  </a:cubicBezTo>
                  <a:cubicBezTo>
                    <a:pt x="648" y="1055"/>
                    <a:pt x="648" y="1055"/>
                    <a:pt x="648" y="1055"/>
                  </a:cubicBezTo>
                  <a:cubicBezTo>
                    <a:pt x="647" y="1056"/>
                    <a:pt x="647" y="1056"/>
                    <a:pt x="647" y="1056"/>
                  </a:cubicBezTo>
                  <a:cubicBezTo>
                    <a:pt x="647" y="1055"/>
                    <a:pt x="647" y="1055"/>
                    <a:pt x="647" y="1055"/>
                  </a:cubicBezTo>
                  <a:cubicBezTo>
                    <a:pt x="647" y="1055"/>
                    <a:pt x="647" y="1055"/>
                    <a:pt x="647" y="1055"/>
                  </a:cubicBezTo>
                  <a:cubicBezTo>
                    <a:pt x="647" y="1055"/>
                    <a:pt x="647" y="1055"/>
                    <a:pt x="647" y="1055"/>
                  </a:cubicBezTo>
                  <a:cubicBezTo>
                    <a:pt x="647" y="1055"/>
                    <a:pt x="647" y="1055"/>
                    <a:pt x="647" y="1055"/>
                  </a:cubicBezTo>
                  <a:cubicBezTo>
                    <a:pt x="647" y="1054"/>
                    <a:pt x="647" y="1054"/>
                    <a:pt x="647" y="1054"/>
                  </a:cubicBezTo>
                  <a:cubicBezTo>
                    <a:pt x="647" y="1054"/>
                    <a:pt x="647" y="1054"/>
                    <a:pt x="647" y="1054"/>
                  </a:cubicBezTo>
                  <a:cubicBezTo>
                    <a:pt x="647" y="1053"/>
                    <a:pt x="647" y="1053"/>
                    <a:pt x="647" y="1053"/>
                  </a:cubicBezTo>
                  <a:cubicBezTo>
                    <a:pt x="646" y="1053"/>
                    <a:pt x="646" y="1053"/>
                    <a:pt x="646" y="1053"/>
                  </a:cubicBezTo>
                  <a:cubicBezTo>
                    <a:pt x="646" y="1052"/>
                    <a:pt x="646" y="1052"/>
                    <a:pt x="646" y="1052"/>
                  </a:cubicBezTo>
                  <a:cubicBezTo>
                    <a:pt x="646" y="1052"/>
                    <a:pt x="646" y="1052"/>
                    <a:pt x="646" y="1052"/>
                  </a:cubicBezTo>
                  <a:cubicBezTo>
                    <a:pt x="646" y="1053"/>
                    <a:pt x="646" y="1053"/>
                    <a:pt x="646" y="1053"/>
                  </a:cubicBezTo>
                  <a:cubicBezTo>
                    <a:pt x="645" y="1053"/>
                    <a:pt x="645" y="1053"/>
                    <a:pt x="645" y="1053"/>
                  </a:cubicBezTo>
                  <a:cubicBezTo>
                    <a:pt x="645" y="1052"/>
                    <a:pt x="645" y="1052"/>
                    <a:pt x="645" y="1052"/>
                  </a:cubicBezTo>
                  <a:cubicBezTo>
                    <a:pt x="645" y="1051"/>
                    <a:pt x="645" y="1051"/>
                    <a:pt x="645" y="1051"/>
                  </a:cubicBezTo>
                  <a:cubicBezTo>
                    <a:pt x="645" y="1051"/>
                    <a:pt x="645" y="1051"/>
                    <a:pt x="645" y="1051"/>
                  </a:cubicBezTo>
                  <a:cubicBezTo>
                    <a:pt x="645" y="1051"/>
                    <a:pt x="645" y="1051"/>
                    <a:pt x="645" y="1051"/>
                  </a:cubicBezTo>
                  <a:cubicBezTo>
                    <a:pt x="645" y="1051"/>
                    <a:pt x="645" y="1051"/>
                    <a:pt x="645" y="1051"/>
                  </a:cubicBezTo>
                  <a:cubicBezTo>
                    <a:pt x="645" y="1051"/>
                    <a:pt x="645" y="1051"/>
                    <a:pt x="645" y="1051"/>
                  </a:cubicBezTo>
                  <a:cubicBezTo>
                    <a:pt x="646" y="1052"/>
                    <a:pt x="646" y="1052"/>
                    <a:pt x="646" y="1052"/>
                  </a:cubicBezTo>
                  <a:cubicBezTo>
                    <a:pt x="646" y="1052"/>
                    <a:pt x="646" y="1052"/>
                    <a:pt x="646" y="1052"/>
                  </a:cubicBezTo>
                  <a:cubicBezTo>
                    <a:pt x="646" y="1050"/>
                    <a:pt x="646" y="1050"/>
                    <a:pt x="646" y="1050"/>
                  </a:cubicBezTo>
                  <a:cubicBezTo>
                    <a:pt x="646" y="1049"/>
                    <a:pt x="646" y="1049"/>
                    <a:pt x="646" y="1049"/>
                  </a:cubicBezTo>
                  <a:cubicBezTo>
                    <a:pt x="646" y="1048"/>
                    <a:pt x="646" y="1048"/>
                    <a:pt x="646" y="1048"/>
                  </a:cubicBezTo>
                  <a:cubicBezTo>
                    <a:pt x="645" y="1047"/>
                    <a:pt x="645" y="1047"/>
                    <a:pt x="645" y="1047"/>
                  </a:cubicBezTo>
                  <a:cubicBezTo>
                    <a:pt x="645" y="1047"/>
                    <a:pt x="645" y="1047"/>
                    <a:pt x="645" y="1047"/>
                  </a:cubicBezTo>
                  <a:cubicBezTo>
                    <a:pt x="645" y="1046"/>
                    <a:pt x="645" y="1046"/>
                    <a:pt x="645" y="1046"/>
                  </a:cubicBezTo>
                  <a:cubicBezTo>
                    <a:pt x="645" y="1046"/>
                    <a:pt x="645" y="1046"/>
                    <a:pt x="645" y="1046"/>
                  </a:cubicBezTo>
                  <a:cubicBezTo>
                    <a:pt x="644" y="1047"/>
                    <a:pt x="644" y="1047"/>
                    <a:pt x="644" y="1047"/>
                  </a:cubicBezTo>
                  <a:cubicBezTo>
                    <a:pt x="644" y="1047"/>
                    <a:pt x="644" y="1047"/>
                    <a:pt x="644" y="1047"/>
                  </a:cubicBezTo>
                  <a:cubicBezTo>
                    <a:pt x="644" y="1048"/>
                    <a:pt x="644" y="1048"/>
                    <a:pt x="644" y="1048"/>
                  </a:cubicBezTo>
                  <a:cubicBezTo>
                    <a:pt x="644" y="1048"/>
                    <a:pt x="644" y="1048"/>
                    <a:pt x="644" y="1048"/>
                  </a:cubicBezTo>
                  <a:cubicBezTo>
                    <a:pt x="643" y="1047"/>
                    <a:pt x="643" y="1047"/>
                    <a:pt x="643" y="1047"/>
                  </a:cubicBezTo>
                  <a:cubicBezTo>
                    <a:pt x="643" y="1047"/>
                    <a:pt x="643" y="1047"/>
                    <a:pt x="643" y="1047"/>
                  </a:cubicBezTo>
                  <a:cubicBezTo>
                    <a:pt x="643" y="1046"/>
                    <a:pt x="643" y="1046"/>
                    <a:pt x="643" y="1046"/>
                  </a:cubicBezTo>
                  <a:cubicBezTo>
                    <a:pt x="643" y="1046"/>
                    <a:pt x="643" y="1046"/>
                    <a:pt x="643" y="1046"/>
                  </a:cubicBezTo>
                  <a:cubicBezTo>
                    <a:pt x="642" y="1046"/>
                    <a:pt x="642" y="1046"/>
                    <a:pt x="642" y="1046"/>
                  </a:cubicBezTo>
                  <a:cubicBezTo>
                    <a:pt x="642" y="1046"/>
                    <a:pt x="642" y="1046"/>
                    <a:pt x="642" y="1046"/>
                  </a:cubicBezTo>
                  <a:cubicBezTo>
                    <a:pt x="643" y="1045"/>
                    <a:pt x="643" y="1045"/>
                    <a:pt x="643" y="1045"/>
                  </a:cubicBezTo>
                  <a:cubicBezTo>
                    <a:pt x="643" y="1045"/>
                    <a:pt x="643" y="1045"/>
                    <a:pt x="643" y="1045"/>
                  </a:cubicBezTo>
                  <a:cubicBezTo>
                    <a:pt x="643" y="1044"/>
                    <a:pt x="643" y="1044"/>
                    <a:pt x="643" y="1044"/>
                  </a:cubicBezTo>
                  <a:cubicBezTo>
                    <a:pt x="643" y="1044"/>
                    <a:pt x="643" y="1044"/>
                    <a:pt x="643" y="1044"/>
                  </a:cubicBezTo>
                  <a:cubicBezTo>
                    <a:pt x="642" y="1043"/>
                    <a:pt x="642" y="1043"/>
                    <a:pt x="642" y="1043"/>
                  </a:cubicBezTo>
                  <a:cubicBezTo>
                    <a:pt x="642" y="1044"/>
                    <a:pt x="642" y="1044"/>
                    <a:pt x="642" y="1044"/>
                  </a:cubicBezTo>
                  <a:cubicBezTo>
                    <a:pt x="642" y="1044"/>
                    <a:pt x="642" y="1044"/>
                    <a:pt x="642" y="1044"/>
                  </a:cubicBezTo>
                  <a:cubicBezTo>
                    <a:pt x="642" y="1045"/>
                    <a:pt x="642" y="1045"/>
                    <a:pt x="642" y="1045"/>
                  </a:cubicBezTo>
                  <a:cubicBezTo>
                    <a:pt x="642" y="1045"/>
                    <a:pt x="642" y="1045"/>
                    <a:pt x="642" y="1045"/>
                  </a:cubicBezTo>
                  <a:cubicBezTo>
                    <a:pt x="641" y="1045"/>
                    <a:pt x="641" y="1045"/>
                    <a:pt x="641" y="1045"/>
                  </a:cubicBezTo>
                  <a:cubicBezTo>
                    <a:pt x="641" y="1044"/>
                    <a:pt x="641" y="1044"/>
                    <a:pt x="641" y="1044"/>
                  </a:cubicBezTo>
                  <a:cubicBezTo>
                    <a:pt x="641" y="1044"/>
                    <a:pt x="641" y="1044"/>
                    <a:pt x="641" y="1044"/>
                  </a:cubicBezTo>
                  <a:cubicBezTo>
                    <a:pt x="641" y="1043"/>
                    <a:pt x="641" y="1043"/>
                    <a:pt x="641" y="1043"/>
                  </a:cubicBezTo>
                  <a:cubicBezTo>
                    <a:pt x="641" y="1043"/>
                    <a:pt x="641" y="1043"/>
                    <a:pt x="641" y="1043"/>
                  </a:cubicBezTo>
                  <a:cubicBezTo>
                    <a:pt x="641" y="1043"/>
                    <a:pt x="641" y="1043"/>
                    <a:pt x="641" y="1043"/>
                  </a:cubicBezTo>
                  <a:cubicBezTo>
                    <a:pt x="642" y="1043"/>
                    <a:pt x="642" y="1043"/>
                    <a:pt x="642" y="1043"/>
                  </a:cubicBezTo>
                  <a:cubicBezTo>
                    <a:pt x="642" y="1043"/>
                    <a:pt x="642" y="1043"/>
                    <a:pt x="642" y="1043"/>
                  </a:cubicBezTo>
                  <a:cubicBezTo>
                    <a:pt x="643" y="1043"/>
                    <a:pt x="643" y="1043"/>
                    <a:pt x="643" y="1043"/>
                  </a:cubicBezTo>
                  <a:cubicBezTo>
                    <a:pt x="643" y="1042"/>
                    <a:pt x="643" y="1042"/>
                    <a:pt x="643" y="1042"/>
                  </a:cubicBezTo>
                  <a:cubicBezTo>
                    <a:pt x="643" y="1042"/>
                    <a:pt x="643" y="1042"/>
                    <a:pt x="643" y="1042"/>
                  </a:cubicBezTo>
                  <a:cubicBezTo>
                    <a:pt x="643" y="1041"/>
                    <a:pt x="643" y="1041"/>
                    <a:pt x="643" y="1041"/>
                  </a:cubicBezTo>
                  <a:cubicBezTo>
                    <a:pt x="643" y="1041"/>
                    <a:pt x="643" y="1041"/>
                    <a:pt x="643" y="1041"/>
                  </a:cubicBezTo>
                  <a:cubicBezTo>
                    <a:pt x="643" y="1041"/>
                    <a:pt x="643" y="1041"/>
                    <a:pt x="643" y="1041"/>
                  </a:cubicBezTo>
                  <a:cubicBezTo>
                    <a:pt x="643" y="1041"/>
                    <a:pt x="643" y="1041"/>
                    <a:pt x="643" y="1041"/>
                  </a:cubicBezTo>
                  <a:cubicBezTo>
                    <a:pt x="644" y="1040"/>
                    <a:pt x="644" y="1040"/>
                    <a:pt x="644" y="1040"/>
                  </a:cubicBezTo>
                  <a:cubicBezTo>
                    <a:pt x="644" y="1040"/>
                    <a:pt x="644" y="1040"/>
                    <a:pt x="644" y="1040"/>
                  </a:cubicBezTo>
                  <a:cubicBezTo>
                    <a:pt x="644" y="1040"/>
                    <a:pt x="644" y="1040"/>
                    <a:pt x="644" y="1040"/>
                  </a:cubicBezTo>
                  <a:cubicBezTo>
                    <a:pt x="644" y="1039"/>
                    <a:pt x="644" y="1039"/>
                    <a:pt x="644" y="1039"/>
                  </a:cubicBezTo>
                  <a:cubicBezTo>
                    <a:pt x="644" y="1039"/>
                    <a:pt x="644" y="1039"/>
                    <a:pt x="644" y="1039"/>
                  </a:cubicBezTo>
                  <a:cubicBezTo>
                    <a:pt x="644" y="1039"/>
                    <a:pt x="644" y="1039"/>
                    <a:pt x="644" y="1039"/>
                  </a:cubicBezTo>
                  <a:cubicBezTo>
                    <a:pt x="644" y="1038"/>
                    <a:pt x="644" y="1038"/>
                    <a:pt x="644" y="1038"/>
                  </a:cubicBezTo>
                  <a:cubicBezTo>
                    <a:pt x="644" y="1038"/>
                    <a:pt x="644" y="1038"/>
                    <a:pt x="644" y="1038"/>
                  </a:cubicBezTo>
                  <a:cubicBezTo>
                    <a:pt x="644" y="1038"/>
                    <a:pt x="644" y="1038"/>
                    <a:pt x="644" y="1038"/>
                  </a:cubicBezTo>
                  <a:cubicBezTo>
                    <a:pt x="644" y="1037"/>
                    <a:pt x="644" y="1037"/>
                    <a:pt x="644" y="1037"/>
                  </a:cubicBezTo>
                  <a:cubicBezTo>
                    <a:pt x="644" y="1036"/>
                    <a:pt x="644" y="1036"/>
                    <a:pt x="644" y="1036"/>
                  </a:cubicBezTo>
                  <a:cubicBezTo>
                    <a:pt x="645" y="1035"/>
                    <a:pt x="645" y="1035"/>
                    <a:pt x="645" y="1035"/>
                  </a:cubicBezTo>
                  <a:cubicBezTo>
                    <a:pt x="647" y="1035"/>
                    <a:pt x="647" y="1035"/>
                    <a:pt x="647" y="1035"/>
                  </a:cubicBezTo>
                  <a:cubicBezTo>
                    <a:pt x="648" y="1035"/>
                    <a:pt x="648" y="1035"/>
                    <a:pt x="648" y="1035"/>
                  </a:cubicBezTo>
                  <a:cubicBezTo>
                    <a:pt x="648" y="1035"/>
                    <a:pt x="648" y="1035"/>
                    <a:pt x="648" y="1035"/>
                  </a:cubicBezTo>
                  <a:cubicBezTo>
                    <a:pt x="648" y="1035"/>
                    <a:pt x="648" y="1035"/>
                    <a:pt x="648" y="1035"/>
                  </a:cubicBezTo>
                  <a:cubicBezTo>
                    <a:pt x="648" y="1035"/>
                    <a:pt x="648" y="1035"/>
                    <a:pt x="648" y="1035"/>
                  </a:cubicBezTo>
                  <a:cubicBezTo>
                    <a:pt x="649" y="1035"/>
                    <a:pt x="649" y="1035"/>
                    <a:pt x="649" y="1035"/>
                  </a:cubicBezTo>
                  <a:cubicBezTo>
                    <a:pt x="649" y="1035"/>
                    <a:pt x="649" y="1035"/>
                    <a:pt x="649" y="1035"/>
                  </a:cubicBezTo>
                  <a:cubicBezTo>
                    <a:pt x="648" y="1034"/>
                    <a:pt x="648" y="1034"/>
                    <a:pt x="648" y="1034"/>
                  </a:cubicBezTo>
                  <a:cubicBezTo>
                    <a:pt x="648" y="1034"/>
                    <a:pt x="648" y="1034"/>
                    <a:pt x="648" y="1034"/>
                  </a:cubicBezTo>
                  <a:cubicBezTo>
                    <a:pt x="648" y="1033"/>
                    <a:pt x="648" y="1033"/>
                    <a:pt x="648" y="1033"/>
                  </a:cubicBezTo>
                  <a:cubicBezTo>
                    <a:pt x="648" y="1034"/>
                    <a:pt x="648" y="1034"/>
                    <a:pt x="648" y="1034"/>
                  </a:cubicBezTo>
                  <a:cubicBezTo>
                    <a:pt x="648" y="1034"/>
                    <a:pt x="648" y="1034"/>
                    <a:pt x="648" y="1034"/>
                  </a:cubicBezTo>
                  <a:cubicBezTo>
                    <a:pt x="649" y="1034"/>
                    <a:pt x="649" y="1034"/>
                    <a:pt x="649" y="1034"/>
                  </a:cubicBezTo>
                  <a:cubicBezTo>
                    <a:pt x="649" y="1034"/>
                    <a:pt x="649" y="1034"/>
                    <a:pt x="649" y="1034"/>
                  </a:cubicBezTo>
                  <a:cubicBezTo>
                    <a:pt x="650" y="1034"/>
                    <a:pt x="650" y="1034"/>
                    <a:pt x="650" y="1034"/>
                  </a:cubicBezTo>
                  <a:cubicBezTo>
                    <a:pt x="650" y="1034"/>
                    <a:pt x="650" y="1034"/>
                    <a:pt x="650" y="1034"/>
                  </a:cubicBezTo>
                  <a:cubicBezTo>
                    <a:pt x="649" y="1034"/>
                    <a:pt x="649" y="1034"/>
                    <a:pt x="649" y="1034"/>
                  </a:cubicBezTo>
                  <a:cubicBezTo>
                    <a:pt x="650" y="1033"/>
                    <a:pt x="650" y="1033"/>
                    <a:pt x="650" y="1033"/>
                  </a:cubicBezTo>
                  <a:cubicBezTo>
                    <a:pt x="651" y="1032"/>
                    <a:pt x="651" y="1032"/>
                    <a:pt x="651" y="1032"/>
                  </a:cubicBezTo>
                  <a:cubicBezTo>
                    <a:pt x="651" y="1032"/>
                    <a:pt x="651" y="1032"/>
                    <a:pt x="651" y="1032"/>
                  </a:cubicBezTo>
                  <a:cubicBezTo>
                    <a:pt x="651" y="1032"/>
                    <a:pt x="651" y="1032"/>
                    <a:pt x="651" y="1032"/>
                  </a:cubicBezTo>
                  <a:cubicBezTo>
                    <a:pt x="652" y="1033"/>
                    <a:pt x="652" y="1033"/>
                    <a:pt x="652" y="1033"/>
                  </a:cubicBezTo>
                  <a:cubicBezTo>
                    <a:pt x="652" y="1033"/>
                    <a:pt x="652" y="1033"/>
                    <a:pt x="652" y="1033"/>
                  </a:cubicBezTo>
                  <a:cubicBezTo>
                    <a:pt x="652" y="1033"/>
                    <a:pt x="652" y="1033"/>
                    <a:pt x="652" y="1033"/>
                  </a:cubicBezTo>
                  <a:cubicBezTo>
                    <a:pt x="653" y="1033"/>
                    <a:pt x="653" y="1033"/>
                    <a:pt x="653" y="1033"/>
                  </a:cubicBezTo>
                  <a:cubicBezTo>
                    <a:pt x="653" y="1033"/>
                    <a:pt x="653" y="1033"/>
                    <a:pt x="653" y="1033"/>
                  </a:cubicBezTo>
                  <a:cubicBezTo>
                    <a:pt x="653" y="1033"/>
                    <a:pt x="653" y="1033"/>
                    <a:pt x="653" y="1033"/>
                  </a:cubicBezTo>
                  <a:cubicBezTo>
                    <a:pt x="653" y="1034"/>
                    <a:pt x="653" y="1034"/>
                    <a:pt x="653" y="1034"/>
                  </a:cubicBezTo>
                  <a:cubicBezTo>
                    <a:pt x="652" y="1034"/>
                    <a:pt x="652" y="1034"/>
                    <a:pt x="652" y="1034"/>
                  </a:cubicBezTo>
                  <a:cubicBezTo>
                    <a:pt x="652" y="1034"/>
                    <a:pt x="652" y="1034"/>
                    <a:pt x="652" y="1034"/>
                  </a:cubicBezTo>
                  <a:cubicBezTo>
                    <a:pt x="652" y="1034"/>
                    <a:pt x="652" y="1034"/>
                    <a:pt x="652" y="1034"/>
                  </a:cubicBezTo>
                  <a:cubicBezTo>
                    <a:pt x="652" y="1035"/>
                    <a:pt x="652" y="1035"/>
                    <a:pt x="652" y="1035"/>
                  </a:cubicBezTo>
                  <a:cubicBezTo>
                    <a:pt x="651" y="1035"/>
                    <a:pt x="651" y="1035"/>
                    <a:pt x="651" y="1035"/>
                  </a:cubicBezTo>
                  <a:cubicBezTo>
                    <a:pt x="651" y="1035"/>
                    <a:pt x="651" y="1035"/>
                    <a:pt x="651" y="1035"/>
                  </a:cubicBezTo>
                  <a:cubicBezTo>
                    <a:pt x="651" y="1035"/>
                    <a:pt x="651" y="1035"/>
                    <a:pt x="651" y="1035"/>
                  </a:cubicBezTo>
                  <a:cubicBezTo>
                    <a:pt x="651" y="1035"/>
                    <a:pt x="651" y="1035"/>
                    <a:pt x="651" y="1035"/>
                  </a:cubicBezTo>
                  <a:cubicBezTo>
                    <a:pt x="651" y="1035"/>
                    <a:pt x="651" y="1035"/>
                    <a:pt x="651" y="1035"/>
                  </a:cubicBezTo>
                  <a:cubicBezTo>
                    <a:pt x="651" y="1035"/>
                    <a:pt x="651" y="1035"/>
                    <a:pt x="651" y="1035"/>
                  </a:cubicBezTo>
                  <a:cubicBezTo>
                    <a:pt x="651" y="1034"/>
                    <a:pt x="651" y="1034"/>
                    <a:pt x="651" y="1034"/>
                  </a:cubicBezTo>
                  <a:cubicBezTo>
                    <a:pt x="651" y="1035"/>
                    <a:pt x="651" y="1035"/>
                    <a:pt x="651" y="1035"/>
                  </a:cubicBezTo>
                  <a:cubicBezTo>
                    <a:pt x="650" y="1035"/>
                    <a:pt x="650" y="1035"/>
                    <a:pt x="650" y="1035"/>
                  </a:cubicBezTo>
                  <a:cubicBezTo>
                    <a:pt x="650" y="1035"/>
                    <a:pt x="650" y="1035"/>
                    <a:pt x="650" y="1035"/>
                  </a:cubicBezTo>
                  <a:cubicBezTo>
                    <a:pt x="650" y="1035"/>
                    <a:pt x="650" y="1035"/>
                    <a:pt x="650" y="1035"/>
                  </a:cubicBezTo>
                  <a:cubicBezTo>
                    <a:pt x="650" y="1035"/>
                    <a:pt x="650" y="1035"/>
                    <a:pt x="650" y="1035"/>
                  </a:cubicBezTo>
                  <a:cubicBezTo>
                    <a:pt x="650" y="1035"/>
                    <a:pt x="650" y="1035"/>
                    <a:pt x="650" y="1035"/>
                  </a:cubicBezTo>
                  <a:cubicBezTo>
                    <a:pt x="650" y="1035"/>
                    <a:pt x="650" y="1035"/>
                    <a:pt x="650" y="1035"/>
                  </a:cubicBezTo>
                  <a:cubicBezTo>
                    <a:pt x="650" y="1035"/>
                    <a:pt x="650" y="1035"/>
                    <a:pt x="650" y="1035"/>
                  </a:cubicBezTo>
                  <a:cubicBezTo>
                    <a:pt x="650" y="1035"/>
                    <a:pt x="650" y="1035"/>
                    <a:pt x="650" y="1035"/>
                  </a:cubicBezTo>
                  <a:cubicBezTo>
                    <a:pt x="649" y="1035"/>
                    <a:pt x="649" y="1035"/>
                    <a:pt x="649" y="1035"/>
                  </a:cubicBezTo>
                  <a:cubicBezTo>
                    <a:pt x="649" y="1036"/>
                    <a:pt x="649" y="1036"/>
                    <a:pt x="649" y="1036"/>
                  </a:cubicBezTo>
                  <a:cubicBezTo>
                    <a:pt x="649" y="1036"/>
                    <a:pt x="649" y="1036"/>
                    <a:pt x="649" y="1036"/>
                  </a:cubicBezTo>
                  <a:cubicBezTo>
                    <a:pt x="649" y="1036"/>
                    <a:pt x="649" y="1036"/>
                    <a:pt x="649" y="1036"/>
                  </a:cubicBezTo>
                  <a:cubicBezTo>
                    <a:pt x="649" y="1036"/>
                    <a:pt x="649" y="1036"/>
                    <a:pt x="649" y="1036"/>
                  </a:cubicBezTo>
                  <a:cubicBezTo>
                    <a:pt x="649" y="1037"/>
                    <a:pt x="649" y="1037"/>
                    <a:pt x="649" y="1037"/>
                  </a:cubicBezTo>
                  <a:cubicBezTo>
                    <a:pt x="648" y="1037"/>
                    <a:pt x="648" y="1037"/>
                    <a:pt x="648" y="1037"/>
                  </a:cubicBezTo>
                  <a:cubicBezTo>
                    <a:pt x="649" y="1037"/>
                    <a:pt x="649" y="1037"/>
                    <a:pt x="649" y="1037"/>
                  </a:cubicBezTo>
                  <a:cubicBezTo>
                    <a:pt x="650" y="1037"/>
                    <a:pt x="650" y="1037"/>
                    <a:pt x="650" y="1037"/>
                  </a:cubicBezTo>
                  <a:cubicBezTo>
                    <a:pt x="651" y="1037"/>
                    <a:pt x="651" y="1037"/>
                    <a:pt x="651" y="1037"/>
                  </a:cubicBezTo>
                  <a:cubicBezTo>
                    <a:pt x="651" y="1037"/>
                    <a:pt x="651" y="1037"/>
                    <a:pt x="651" y="1037"/>
                  </a:cubicBezTo>
                  <a:cubicBezTo>
                    <a:pt x="651" y="1036"/>
                    <a:pt x="651" y="1036"/>
                    <a:pt x="651" y="1036"/>
                  </a:cubicBezTo>
                  <a:cubicBezTo>
                    <a:pt x="654" y="1035"/>
                    <a:pt x="654" y="1035"/>
                    <a:pt x="654" y="1035"/>
                  </a:cubicBezTo>
                  <a:cubicBezTo>
                    <a:pt x="659" y="1033"/>
                    <a:pt x="659" y="1033"/>
                    <a:pt x="659" y="1033"/>
                  </a:cubicBezTo>
                  <a:cubicBezTo>
                    <a:pt x="664" y="1029"/>
                    <a:pt x="664" y="1029"/>
                    <a:pt x="664" y="1029"/>
                  </a:cubicBezTo>
                  <a:cubicBezTo>
                    <a:pt x="665" y="1029"/>
                    <a:pt x="665" y="1029"/>
                    <a:pt x="665" y="1029"/>
                  </a:cubicBezTo>
                  <a:cubicBezTo>
                    <a:pt x="668" y="1029"/>
                    <a:pt x="668" y="1029"/>
                    <a:pt x="668" y="1029"/>
                  </a:cubicBezTo>
                  <a:cubicBezTo>
                    <a:pt x="668" y="1029"/>
                    <a:pt x="668" y="1029"/>
                    <a:pt x="668" y="1029"/>
                  </a:cubicBezTo>
                  <a:cubicBezTo>
                    <a:pt x="669" y="1028"/>
                    <a:pt x="669" y="1028"/>
                    <a:pt x="669" y="1028"/>
                  </a:cubicBezTo>
                  <a:cubicBezTo>
                    <a:pt x="669" y="1028"/>
                    <a:pt x="669" y="1028"/>
                    <a:pt x="669" y="1028"/>
                  </a:cubicBezTo>
                  <a:cubicBezTo>
                    <a:pt x="670" y="1027"/>
                    <a:pt x="670" y="1027"/>
                    <a:pt x="670" y="1027"/>
                  </a:cubicBezTo>
                  <a:cubicBezTo>
                    <a:pt x="670" y="1026"/>
                    <a:pt x="670" y="1026"/>
                    <a:pt x="670" y="1026"/>
                  </a:cubicBezTo>
                  <a:cubicBezTo>
                    <a:pt x="669" y="1027"/>
                    <a:pt x="669" y="1027"/>
                    <a:pt x="669" y="1027"/>
                  </a:cubicBezTo>
                  <a:cubicBezTo>
                    <a:pt x="669" y="1027"/>
                    <a:pt x="669" y="1027"/>
                    <a:pt x="669" y="1027"/>
                  </a:cubicBezTo>
                  <a:cubicBezTo>
                    <a:pt x="668" y="1026"/>
                    <a:pt x="668" y="1026"/>
                    <a:pt x="668" y="1026"/>
                  </a:cubicBezTo>
                  <a:cubicBezTo>
                    <a:pt x="668" y="1026"/>
                    <a:pt x="668" y="1026"/>
                    <a:pt x="668" y="1026"/>
                  </a:cubicBezTo>
                  <a:cubicBezTo>
                    <a:pt x="668" y="1025"/>
                    <a:pt x="668" y="1025"/>
                    <a:pt x="668" y="1025"/>
                  </a:cubicBezTo>
                  <a:cubicBezTo>
                    <a:pt x="669" y="1025"/>
                    <a:pt x="669" y="1025"/>
                    <a:pt x="669" y="1025"/>
                  </a:cubicBezTo>
                  <a:cubicBezTo>
                    <a:pt x="670" y="1025"/>
                    <a:pt x="670" y="1025"/>
                    <a:pt x="670" y="1025"/>
                  </a:cubicBezTo>
                  <a:cubicBezTo>
                    <a:pt x="670" y="1024"/>
                    <a:pt x="670" y="1024"/>
                    <a:pt x="670" y="1024"/>
                  </a:cubicBezTo>
                  <a:cubicBezTo>
                    <a:pt x="669" y="1024"/>
                    <a:pt x="669" y="1024"/>
                    <a:pt x="669" y="1024"/>
                  </a:cubicBezTo>
                  <a:cubicBezTo>
                    <a:pt x="669" y="1024"/>
                    <a:pt x="669" y="1024"/>
                    <a:pt x="669" y="1024"/>
                  </a:cubicBezTo>
                  <a:cubicBezTo>
                    <a:pt x="669" y="1023"/>
                    <a:pt x="669" y="1023"/>
                    <a:pt x="669" y="1023"/>
                  </a:cubicBezTo>
                  <a:cubicBezTo>
                    <a:pt x="669" y="1023"/>
                    <a:pt x="669" y="1023"/>
                    <a:pt x="669" y="1023"/>
                  </a:cubicBezTo>
                  <a:cubicBezTo>
                    <a:pt x="670" y="1023"/>
                    <a:pt x="670" y="1023"/>
                    <a:pt x="670" y="1023"/>
                  </a:cubicBezTo>
                  <a:cubicBezTo>
                    <a:pt x="670" y="1024"/>
                    <a:pt x="670" y="1024"/>
                    <a:pt x="670" y="1024"/>
                  </a:cubicBezTo>
                  <a:cubicBezTo>
                    <a:pt x="670" y="1024"/>
                    <a:pt x="670" y="1024"/>
                    <a:pt x="670" y="1024"/>
                  </a:cubicBezTo>
                  <a:cubicBezTo>
                    <a:pt x="670" y="1024"/>
                    <a:pt x="670" y="1024"/>
                    <a:pt x="670" y="1024"/>
                  </a:cubicBezTo>
                  <a:cubicBezTo>
                    <a:pt x="671" y="1023"/>
                    <a:pt x="671" y="1023"/>
                    <a:pt x="671" y="1023"/>
                  </a:cubicBezTo>
                  <a:cubicBezTo>
                    <a:pt x="672" y="1023"/>
                    <a:pt x="672" y="1023"/>
                    <a:pt x="672" y="1023"/>
                  </a:cubicBezTo>
                  <a:cubicBezTo>
                    <a:pt x="672" y="1023"/>
                    <a:pt x="672" y="1023"/>
                    <a:pt x="672" y="1023"/>
                  </a:cubicBezTo>
                  <a:cubicBezTo>
                    <a:pt x="672" y="1023"/>
                    <a:pt x="672" y="1023"/>
                    <a:pt x="672" y="1023"/>
                  </a:cubicBezTo>
                  <a:cubicBezTo>
                    <a:pt x="673" y="1024"/>
                    <a:pt x="673" y="1024"/>
                    <a:pt x="673" y="1024"/>
                  </a:cubicBezTo>
                  <a:cubicBezTo>
                    <a:pt x="673" y="1024"/>
                    <a:pt x="673" y="1024"/>
                    <a:pt x="673" y="1024"/>
                  </a:cubicBezTo>
                  <a:cubicBezTo>
                    <a:pt x="676" y="1025"/>
                    <a:pt x="676" y="1025"/>
                    <a:pt x="676" y="1025"/>
                  </a:cubicBezTo>
                  <a:cubicBezTo>
                    <a:pt x="677" y="1024"/>
                    <a:pt x="677" y="1024"/>
                    <a:pt x="677" y="1024"/>
                  </a:cubicBezTo>
                  <a:cubicBezTo>
                    <a:pt x="677" y="1025"/>
                    <a:pt x="677" y="1025"/>
                    <a:pt x="677" y="1025"/>
                  </a:cubicBezTo>
                  <a:cubicBezTo>
                    <a:pt x="678" y="1025"/>
                    <a:pt x="678" y="1025"/>
                    <a:pt x="678" y="1025"/>
                  </a:cubicBezTo>
                  <a:cubicBezTo>
                    <a:pt x="679" y="1026"/>
                    <a:pt x="679" y="1026"/>
                    <a:pt x="679" y="1026"/>
                  </a:cubicBezTo>
                  <a:cubicBezTo>
                    <a:pt x="679" y="1026"/>
                    <a:pt x="679" y="1026"/>
                    <a:pt x="679" y="1026"/>
                  </a:cubicBezTo>
                  <a:cubicBezTo>
                    <a:pt x="678" y="1027"/>
                    <a:pt x="678" y="1027"/>
                    <a:pt x="678" y="1027"/>
                  </a:cubicBezTo>
                  <a:cubicBezTo>
                    <a:pt x="677" y="1027"/>
                    <a:pt x="677" y="1027"/>
                    <a:pt x="677" y="1027"/>
                  </a:cubicBezTo>
                  <a:cubicBezTo>
                    <a:pt x="677" y="1027"/>
                    <a:pt x="677" y="1027"/>
                    <a:pt x="677" y="1027"/>
                  </a:cubicBezTo>
                  <a:cubicBezTo>
                    <a:pt x="678" y="1027"/>
                    <a:pt x="678" y="1027"/>
                    <a:pt x="678" y="1027"/>
                  </a:cubicBezTo>
                  <a:cubicBezTo>
                    <a:pt x="679" y="1027"/>
                    <a:pt x="679" y="1027"/>
                    <a:pt x="679" y="1027"/>
                  </a:cubicBezTo>
                  <a:cubicBezTo>
                    <a:pt x="679" y="1027"/>
                    <a:pt x="679" y="1027"/>
                    <a:pt x="679" y="1027"/>
                  </a:cubicBezTo>
                  <a:cubicBezTo>
                    <a:pt x="680" y="1026"/>
                    <a:pt x="680" y="1026"/>
                    <a:pt x="680" y="1026"/>
                  </a:cubicBezTo>
                  <a:cubicBezTo>
                    <a:pt x="680" y="1026"/>
                    <a:pt x="680" y="1026"/>
                    <a:pt x="680" y="1026"/>
                  </a:cubicBezTo>
                  <a:cubicBezTo>
                    <a:pt x="681" y="1026"/>
                    <a:pt x="681" y="1026"/>
                    <a:pt x="681" y="1026"/>
                  </a:cubicBezTo>
                  <a:cubicBezTo>
                    <a:pt x="681" y="1025"/>
                    <a:pt x="681" y="1025"/>
                    <a:pt x="681" y="1025"/>
                  </a:cubicBezTo>
                  <a:cubicBezTo>
                    <a:pt x="681" y="1025"/>
                    <a:pt x="681" y="1025"/>
                    <a:pt x="681" y="1025"/>
                  </a:cubicBezTo>
                  <a:cubicBezTo>
                    <a:pt x="682" y="1025"/>
                    <a:pt x="682" y="1025"/>
                    <a:pt x="682" y="1025"/>
                  </a:cubicBezTo>
                  <a:cubicBezTo>
                    <a:pt x="682" y="1025"/>
                    <a:pt x="682" y="1025"/>
                    <a:pt x="682" y="1025"/>
                  </a:cubicBezTo>
                  <a:cubicBezTo>
                    <a:pt x="681" y="1024"/>
                    <a:pt x="681" y="1024"/>
                    <a:pt x="681" y="1024"/>
                  </a:cubicBezTo>
                  <a:cubicBezTo>
                    <a:pt x="682" y="1023"/>
                    <a:pt x="682" y="1023"/>
                    <a:pt x="682" y="1023"/>
                  </a:cubicBezTo>
                  <a:cubicBezTo>
                    <a:pt x="682" y="1022"/>
                    <a:pt x="682" y="1022"/>
                    <a:pt x="682" y="1022"/>
                  </a:cubicBezTo>
                  <a:cubicBezTo>
                    <a:pt x="683" y="1022"/>
                    <a:pt x="683" y="1022"/>
                    <a:pt x="683" y="1022"/>
                  </a:cubicBezTo>
                  <a:cubicBezTo>
                    <a:pt x="683" y="1023"/>
                    <a:pt x="683" y="1023"/>
                    <a:pt x="683" y="1023"/>
                  </a:cubicBezTo>
                  <a:cubicBezTo>
                    <a:pt x="683" y="1023"/>
                    <a:pt x="683" y="1023"/>
                    <a:pt x="683" y="1023"/>
                  </a:cubicBezTo>
                  <a:cubicBezTo>
                    <a:pt x="684" y="1023"/>
                    <a:pt x="684" y="1023"/>
                    <a:pt x="684" y="1023"/>
                  </a:cubicBezTo>
                  <a:cubicBezTo>
                    <a:pt x="684" y="1024"/>
                    <a:pt x="684" y="1024"/>
                    <a:pt x="684" y="1024"/>
                  </a:cubicBezTo>
                  <a:cubicBezTo>
                    <a:pt x="685" y="1024"/>
                    <a:pt x="685" y="1024"/>
                    <a:pt x="685" y="1024"/>
                  </a:cubicBezTo>
                  <a:cubicBezTo>
                    <a:pt x="686" y="1024"/>
                    <a:pt x="686" y="1024"/>
                    <a:pt x="686" y="1024"/>
                  </a:cubicBezTo>
                  <a:cubicBezTo>
                    <a:pt x="687" y="1026"/>
                    <a:pt x="687" y="1026"/>
                    <a:pt x="687" y="1026"/>
                  </a:cubicBezTo>
                  <a:cubicBezTo>
                    <a:pt x="688" y="1027"/>
                    <a:pt x="688" y="1027"/>
                    <a:pt x="688" y="1027"/>
                  </a:cubicBezTo>
                  <a:cubicBezTo>
                    <a:pt x="688" y="1027"/>
                    <a:pt x="688" y="1027"/>
                    <a:pt x="688" y="1027"/>
                  </a:cubicBezTo>
                  <a:cubicBezTo>
                    <a:pt x="688" y="1028"/>
                    <a:pt x="688" y="1028"/>
                    <a:pt x="688" y="1028"/>
                  </a:cubicBezTo>
                  <a:cubicBezTo>
                    <a:pt x="688" y="1028"/>
                    <a:pt x="688" y="1028"/>
                    <a:pt x="688" y="1028"/>
                  </a:cubicBezTo>
                  <a:cubicBezTo>
                    <a:pt x="689" y="1029"/>
                    <a:pt x="689" y="1029"/>
                    <a:pt x="689" y="1029"/>
                  </a:cubicBezTo>
                  <a:cubicBezTo>
                    <a:pt x="689" y="1030"/>
                    <a:pt x="689" y="1030"/>
                    <a:pt x="689" y="1030"/>
                  </a:cubicBezTo>
                  <a:cubicBezTo>
                    <a:pt x="690" y="1030"/>
                    <a:pt x="690" y="1030"/>
                    <a:pt x="690" y="1030"/>
                  </a:cubicBezTo>
                  <a:cubicBezTo>
                    <a:pt x="690" y="1030"/>
                    <a:pt x="690" y="1030"/>
                    <a:pt x="690" y="1030"/>
                  </a:cubicBezTo>
                  <a:cubicBezTo>
                    <a:pt x="689" y="1030"/>
                    <a:pt x="689" y="1030"/>
                    <a:pt x="689" y="1030"/>
                  </a:cubicBezTo>
                  <a:cubicBezTo>
                    <a:pt x="688" y="1030"/>
                    <a:pt x="688" y="1030"/>
                    <a:pt x="688" y="1030"/>
                  </a:cubicBezTo>
                  <a:cubicBezTo>
                    <a:pt x="687" y="1030"/>
                    <a:pt x="687" y="1030"/>
                    <a:pt x="687" y="1030"/>
                  </a:cubicBezTo>
                  <a:cubicBezTo>
                    <a:pt x="687" y="1031"/>
                    <a:pt x="687" y="1031"/>
                    <a:pt x="687" y="1031"/>
                  </a:cubicBezTo>
                  <a:cubicBezTo>
                    <a:pt x="687" y="1031"/>
                    <a:pt x="687" y="1031"/>
                    <a:pt x="687" y="1031"/>
                  </a:cubicBezTo>
                  <a:cubicBezTo>
                    <a:pt x="688" y="1031"/>
                    <a:pt x="688" y="1031"/>
                    <a:pt x="688" y="1031"/>
                  </a:cubicBezTo>
                  <a:cubicBezTo>
                    <a:pt x="690" y="1031"/>
                    <a:pt x="690" y="1031"/>
                    <a:pt x="690" y="1031"/>
                  </a:cubicBezTo>
                  <a:cubicBezTo>
                    <a:pt x="691" y="1031"/>
                    <a:pt x="691" y="1031"/>
                    <a:pt x="691" y="1031"/>
                  </a:cubicBezTo>
                  <a:cubicBezTo>
                    <a:pt x="692" y="1031"/>
                    <a:pt x="692" y="1031"/>
                    <a:pt x="692" y="1031"/>
                  </a:cubicBezTo>
                  <a:cubicBezTo>
                    <a:pt x="692" y="1030"/>
                    <a:pt x="692" y="1030"/>
                    <a:pt x="692" y="1030"/>
                  </a:cubicBezTo>
                  <a:cubicBezTo>
                    <a:pt x="692" y="1031"/>
                    <a:pt x="692" y="1031"/>
                    <a:pt x="692" y="1031"/>
                  </a:cubicBezTo>
                  <a:cubicBezTo>
                    <a:pt x="692" y="1031"/>
                    <a:pt x="692" y="1031"/>
                    <a:pt x="692" y="1031"/>
                  </a:cubicBezTo>
                  <a:cubicBezTo>
                    <a:pt x="693" y="1031"/>
                    <a:pt x="693" y="1031"/>
                    <a:pt x="693" y="1031"/>
                  </a:cubicBezTo>
                  <a:cubicBezTo>
                    <a:pt x="693" y="1031"/>
                    <a:pt x="693" y="1031"/>
                    <a:pt x="693" y="1031"/>
                  </a:cubicBezTo>
                  <a:cubicBezTo>
                    <a:pt x="693" y="1032"/>
                    <a:pt x="693" y="1032"/>
                    <a:pt x="693" y="1032"/>
                  </a:cubicBezTo>
                  <a:cubicBezTo>
                    <a:pt x="692" y="1033"/>
                    <a:pt x="692" y="1033"/>
                    <a:pt x="692" y="1033"/>
                  </a:cubicBezTo>
                  <a:cubicBezTo>
                    <a:pt x="692" y="1034"/>
                    <a:pt x="692" y="1034"/>
                    <a:pt x="692" y="1034"/>
                  </a:cubicBezTo>
                  <a:cubicBezTo>
                    <a:pt x="690" y="1034"/>
                    <a:pt x="690" y="1034"/>
                    <a:pt x="690" y="1034"/>
                  </a:cubicBezTo>
                  <a:cubicBezTo>
                    <a:pt x="689" y="1033"/>
                    <a:pt x="689" y="1033"/>
                    <a:pt x="689" y="1033"/>
                  </a:cubicBezTo>
                  <a:cubicBezTo>
                    <a:pt x="688" y="1033"/>
                    <a:pt x="688" y="1033"/>
                    <a:pt x="688" y="1033"/>
                  </a:cubicBezTo>
                  <a:cubicBezTo>
                    <a:pt x="688" y="1034"/>
                    <a:pt x="688" y="1034"/>
                    <a:pt x="688" y="1034"/>
                  </a:cubicBezTo>
                  <a:cubicBezTo>
                    <a:pt x="689" y="1034"/>
                    <a:pt x="689" y="1034"/>
                    <a:pt x="689" y="1034"/>
                  </a:cubicBezTo>
                  <a:cubicBezTo>
                    <a:pt x="689" y="1035"/>
                    <a:pt x="689" y="1035"/>
                    <a:pt x="689" y="1035"/>
                  </a:cubicBezTo>
                  <a:cubicBezTo>
                    <a:pt x="689" y="1035"/>
                    <a:pt x="689" y="1035"/>
                    <a:pt x="689" y="1035"/>
                  </a:cubicBezTo>
                  <a:cubicBezTo>
                    <a:pt x="687" y="1035"/>
                    <a:pt x="687" y="1035"/>
                    <a:pt x="687" y="1035"/>
                  </a:cubicBezTo>
                  <a:cubicBezTo>
                    <a:pt x="684" y="1036"/>
                    <a:pt x="684" y="1036"/>
                    <a:pt x="684" y="1036"/>
                  </a:cubicBezTo>
                  <a:cubicBezTo>
                    <a:pt x="683" y="1035"/>
                    <a:pt x="683" y="1035"/>
                    <a:pt x="683" y="1035"/>
                  </a:cubicBezTo>
                  <a:cubicBezTo>
                    <a:pt x="684" y="1036"/>
                    <a:pt x="684" y="1036"/>
                    <a:pt x="684" y="1036"/>
                  </a:cubicBezTo>
                  <a:cubicBezTo>
                    <a:pt x="684" y="1036"/>
                    <a:pt x="684" y="1036"/>
                    <a:pt x="684" y="1036"/>
                  </a:cubicBezTo>
                  <a:cubicBezTo>
                    <a:pt x="684" y="1036"/>
                    <a:pt x="684" y="1036"/>
                    <a:pt x="684" y="1036"/>
                  </a:cubicBezTo>
                  <a:cubicBezTo>
                    <a:pt x="684" y="1036"/>
                    <a:pt x="684" y="1036"/>
                    <a:pt x="684" y="1036"/>
                  </a:cubicBezTo>
                  <a:cubicBezTo>
                    <a:pt x="684" y="1037"/>
                    <a:pt x="684" y="1037"/>
                    <a:pt x="684" y="1037"/>
                  </a:cubicBezTo>
                  <a:cubicBezTo>
                    <a:pt x="684" y="1037"/>
                    <a:pt x="684" y="1037"/>
                    <a:pt x="684" y="1037"/>
                  </a:cubicBezTo>
                  <a:cubicBezTo>
                    <a:pt x="684" y="1037"/>
                    <a:pt x="684" y="1037"/>
                    <a:pt x="684" y="1037"/>
                  </a:cubicBezTo>
                  <a:cubicBezTo>
                    <a:pt x="683" y="1037"/>
                    <a:pt x="683" y="1037"/>
                    <a:pt x="683" y="1037"/>
                  </a:cubicBezTo>
                  <a:cubicBezTo>
                    <a:pt x="682" y="1036"/>
                    <a:pt x="682" y="1036"/>
                    <a:pt x="682" y="1036"/>
                  </a:cubicBezTo>
                  <a:cubicBezTo>
                    <a:pt x="681" y="1036"/>
                    <a:pt x="681" y="1036"/>
                    <a:pt x="681" y="1036"/>
                  </a:cubicBezTo>
                  <a:cubicBezTo>
                    <a:pt x="681" y="1036"/>
                    <a:pt x="681" y="1036"/>
                    <a:pt x="681" y="1036"/>
                  </a:cubicBezTo>
                  <a:cubicBezTo>
                    <a:pt x="681" y="1036"/>
                    <a:pt x="681" y="1036"/>
                    <a:pt x="681" y="1036"/>
                  </a:cubicBezTo>
                  <a:cubicBezTo>
                    <a:pt x="681" y="1037"/>
                    <a:pt x="681" y="1037"/>
                    <a:pt x="681" y="1037"/>
                  </a:cubicBezTo>
                  <a:cubicBezTo>
                    <a:pt x="682" y="1038"/>
                    <a:pt x="682" y="1038"/>
                    <a:pt x="682" y="1038"/>
                  </a:cubicBezTo>
                  <a:cubicBezTo>
                    <a:pt x="681" y="1038"/>
                    <a:pt x="681" y="1038"/>
                    <a:pt x="681" y="1038"/>
                  </a:cubicBezTo>
                  <a:cubicBezTo>
                    <a:pt x="681" y="1038"/>
                    <a:pt x="681" y="1038"/>
                    <a:pt x="681" y="1038"/>
                  </a:cubicBezTo>
                  <a:cubicBezTo>
                    <a:pt x="682" y="1039"/>
                    <a:pt x="682" y="1039"/>
                    <a:pt x="682" y="1039"/>
                  </a:cubicBezTo>
                  <a:cubicBezTo>
                    <a:pt x="681" y="1039"/>
                    <a:pt x="681" y="1039"/>
                    <a:pt x="681" y="1039"/>
                  </a:cubicBezTo>
                  <a:cubicBezTo>
                    <a:pt x="682" y="1041"/>
                    <a:pt x="682" y="1041"/>
                    <a:pt x="682" y="1041"/>
                  </a:cubicBezTo>
                  <a:cubicBezTo>
                    <a:pt x="683" y="1042"/>
                    <a:pt x="683" y="1042"/>
                    <a:pt x="683" y="1042"/>
                  </a:cubicBezTo>
                  <a:cubicBezTo>
                    <a:pt x="683" y="1042"/>
                    <a:pt x="683" y="1042"/>
                    <a:pt x="683" y="1042"/>
                  </a:cubicBezTo>
                  <a:cubicBezTo>
                    <a:pt x="682" y="1042"/>
                    <a:pt x="682" y="1042"/>
                    <a:pt x="682" y="1042"/>
                  </a:cubicBezTo>
                  <a:cubicBezTo>
                    <a:pt x="682" y="1043"/>
                    <a:pt x="682" y="1043"/>
                    <a:pt x="682" y="1043"/>
                  </a:cubicBezTo>
                  <a:cubicBezTo>
                    <a:pt x="683" y="1043"/>
                    <a:pt x="683" y="1043"/>
                    <a:pt x="683" y="1043"/>
                  </a:cubicBezTo>
                  <a:cubicBezTo>
                    <a:pt x="683" y="1044"/>
                    <a:pt x="683" y="1044"/>
                    <a:pt x="683" y="1044"/>
                  </a:cubicBezTo>
                  <a:cubicBezTo>
                    <a:pt x="683" y="1044"/>
                    <a:pt x="683" y="1044"/>
                    <a:pt x="683" y="1044"/>
                  </a:cubicBezTo>
                  <a:cubicBezTo>
                    <a:pt x="684" y="1044"/>
                    <a:pt x="684" y="1044"/>
                    <a:pt x="684" y="1044"/>
                  </a:cubicBezTo>
                  <a:cubicBezTo>
                    <a:pt x="684" y="1044"/>
                    <a:pt x="684" y="1044"/>
                    <a:pt x="684" y="1044"/>
                  </a:cubicBezTo>
                  <a:cubicBezTo>
                    <a:pt x="684" y="1044"/>
                    <a:pt x="684" y="1044"/>
                    <a:pt x="684" y="1044"/>
                  </a:cubicBezTo>
                  <a:cubicBezTo>
                    <a:pt x="684" y="1044"/>
                    <a:pt x="684" y="1044"/>
                    <a:pt x="684" y="1044"/>
                  </a:cubicBezTo>
                  <a:cubicBezTo>
                    <a:pt x="683" y="1044"/>
                    <a:pt x="683" y="1044"/>
                    <a:pt x="683" y="1044"/>
                  </a:cubicBezTo>
                  <a:cubicBezTo>
                    <a:pt x="683" y="1045"/>
                    <a:pt x="683" y="1045"/>
                    <a:pt x="683" y="1045"/>
                  </a:cubicBezTo>
                  <a:cubicBezTo>
                    <a:pt x="684" y="1045"/>
                    <a:pt x="684" y="1045"/>
                    <a:pt x="684" y="1045"/>
                  </a:cubicBezTo>
                  <a:cubicBezTo>
                    <a:pt x="684" y="1045"/>
                    <a:pt x="684" y="1045"/>
                    <a:pt x="684" y="1045"/>
                  </a:cubicBezTo>
                  <a:cubicBezTo>
                    <a:pt x="684" y="1045"/>
                    <a:pt x="684" y="1045"/>
                    <a:pt x="684" y="1045"/>
                  </a:cubicBezTo>
                  <a:cubicBezTo>
                    <a:pt x="684" y="1046"/>
                    <a:pt x="684" y="1046"/>
                    <a:pt x="684" y="1046"/>
                  </a:cubicBezTo>
                  <a:cubicBezTo>
                    <a:pt x="684" y="1046"/>
                    <a:pt x="684" y="1046"/>
                    <a:pt x="684" y="1046"/>
                  </a:cubicBezTo>
                  <a:cubicBezTo>
                    <a:pt x="684" y="1046"/>
                    <a:pt x="684" y="1046"/>
                    <a:pt x="684" y="1046"/>
                  </a:cubicBezTo>
                  <a:cubicBezTo>
                    <a:pt x="683" y="1046"/>
                    <a:pt x="683" y="1046"/>
                    <a:pt x="683" y="1046"/>
                  </a:cubicBezTo>
                  <a:cubicBezTo>
                    <a:pt x="683" y="1046"/>
                    <a:pt x="683" y="1046"/>
                    <a:pt x="683" y="1046"/>
                  </a:cubicBezTo>
                  <a:cubicBezTo>
                    <a:pt x="684" y="1046"/>
                    <a:pt x="684" y="1046"/>
                    <a:pt x="684" y="1046"/>
                  </a:cubicBezTo>
                  <a:cubicBezTo>
                    <a:pt x="684" y="1047"/>
                    <a:pt x="684" y="1047"/>
                    <a:pt x="684" y="1047"/>
                  </a:cubicBezTo>
                  <a:cubicBezTo>
                    <a:pt x="684" y="1047"/>
                    <a:pt x="684" y="1047"/>
                    <a:pt x="684" y="1047"/>
                  </a:cubicBezTo>
                  <a:cubicBezTo>
                    <a:pt x="684" y="1047"/>
                    <a:pt x="684" y="1047"/>
                    <a:pt x="684" y="1047"/>
                  </a:cubicBezTo>
                  <a:cubicBezTo>
                    <a:pt x="684" y="1048"/>
                    <a:pt x="684" y="1048"/>
                    <a:pt x="684" y="1048"/>
                  </a:cubicBezTo>
                  <a:cubicBezTo>
                    <a:pt x="684" y="1048"/>
                    <a:pt x="684" y="1048"/>
                    <a:pt x="684" y="1048"/>
                  </a:cubicBezTo>
                  <a:cubicBezTo>
                    <a:pt x="684" y="1049"/>
                    <a:pt x="684" y="1049"/>
                    <a:pt x="684" y="1049"/>
                  </a:cubicBezTo>
                  <a:cubicBezTo>
                    <a:pt x="684" y="1049"/>
                    <a:pt x="684" y="1049"/>
                    <a:pt x="684" y="1049"/>
                  </a:cubicBezTo>
                  <a:cubicBezTo>
                    <a:pt x="684" y="1049"/>
                    <a:pt x="684" y="1049"/>
                    <a:pt x="684" y="1049"/>
                  </a:cubicBezTo>
                  <a:cubicBezTo>
                    <a:pt x="684" y="1049"/>
                    <a:pt x="684" y="1049"/>
                    <a:pt x="684" y="1049"/>
                  </a:cubicBezTo>
                  <a:cubicBezTo>
                    <a:pt x="684" y="1049"/>
                    <a:pt x="684" y="1049"/>
                    <a:pt x="684" y="1049"/>
                  </a:cubicBezTo>
                  <a:cubicBezTo>
                    <a:pt x="684" y="1050"/>
                    <a:pt x="684" y="1050"/>
                    <a:pt x="684" y="1050"/>
                  </a:cubicBezTo>
                  <a:cubicBezTo>
                    <a:pt x="684" y="1050"/>
                    <a:pt x="684" y="1050"/>
                    <a:pt x="684" y="1050"/>
                  </a:cubicBezTo>
                  <a:cubicBezTo>
                    <a:pt x="684" y="1050"/>
                    <a:pt x="684" y="1050"/>
                    <a:pt x="684" y="1050"/>
                  </a:cubicBezTo>
                  <a:cubicBezTo>
                    <a:pt x="684" y="1050"/>
                    <a:pt x="684" y="1050"/>
                    <a:pt x="684" y="1050"/>
                  </a:cubicBezTo>
                  <a:cubicBezTo>
                    <a:pt x="684" y="1051"/>
                    <a:pt x="684" y="1051"/>
                    <a:pt x="684" y="1051"/>
                  </a:cubicBezTo>
                  <a:cubicBezTo>
                    <a:pt x="684" y="1051"/>
                    <a:pt x="684" y="1051"/>
                    <a:pt x="684" y="1051"/>
                  </a:cubicBezTo>
                  <a:cubicBezTo>
                    <a:pt x="684" y="1052"/>
                    <a:pt x="684" y="1052"/>
                    <a:pt x="684" y="1052"/>
                  </a:cubicBezTo>
                  <a:cubicBezTo>
                    <a:pt x="684" y="1052"/>
                    <a:pt x="684" y="1052"/>
                    <a:pt x="684" y="1052"/>
                  </a:cubicBezTo>
                  <a:cubicBezTo>
                    <a:pt x="685" y="1051"/>
                    <a:pt x="685" y="1051"/>
                    <a:pt x="685" y="1051"/>
                  </a:cubicBezTo>
                  <a:cubicBezTo>
                    <a:pt x="687" y="1051"/>
                    <a:pt x="687" y="1051"/>
                    <a:pt x="687" y="1051"/>
                  </a:cubicBezTo>
                  <a:cubicBezTo>
                    <a:pt x="687" y="1051"/>
                    <a:pt x="687" y="1051"/>
                    <a:pt x="687" y="1051"/>
                  </a:cubicBezTo>
                  <a:cubicBezTo>
                    <a:pt x="688" y="1052"/>
                    <a:pt x="688" y="1052"/>
                    <a:pt x="688" y="1052"/>
                  </a:cubicBezTo>
                  <a:cubicBezTo>
                    <a:pt x="685" y="1052"/>
                    <a:pt x="685" y="1052"/>
                    <a:pt x="685" y="1052"/>
                  </a:cubicBezTo>
                  <a:cubicBezTo>
                    <a:pt x="684" y="1052"/>
                    <a:pt x="684" y="1052"/>
                    <a:pt x="684" y="1052"/>
                  </a:cubicBezTo>
                  <a:cubicBezTo>
                    <a:pt x="685" y="1053"/>
                    <a:pt x="685" y="1053"/>
                    <a:pt x="685" y="1053"/>
                  </a:cubicBezTo>
                  <a:cubicBezTo>
                    <a:pt x="685" y="1053"/>
                    <a:pt x="685" y="1053"/>
                    <a:pt x="685" y="1053"/>
                  </a:cubicBezTo>
                  <a:cubicBezTo>
                    <a:pt x="685" y="1054"/>
                    <a:pt x="685" y="1054"/>
                    <a:pt x="685" y="1054"/>
                  </a:cubicBezTo>
                  <a:cubicBezTo>
                    <a:pt x="685" y="1054"/>
                    <a:pt x="685" y="1054"/>
                    <a:pt x="685" y="1054"/>
                  </a:cubicBezTo>
                  <a:cubicBezTo>
                    <a:pt x="685" y="1054"/>
                    <a:pt x="685" y="1054"/>
                    <a:pt x="685" y="1054"/>
                  </a:cubicBezTo>
                  <a:cubicBezTo>
                    <a:pt x="686" y="1055"/>
                    <a:pt x="686" y="1055"/>
                    <a:pt x="686" y="1055"/>
                  </a:cubicBezTo>
                  <a:cubicBezTo>
                    <a:pt x="686" y="1055"/>
                    <a:pt x="686" y="1055"/>
                    <a:pt x="686" y="1055"/>
                  </a:cubicBezTo>
                  <a:cubicBezTo>
                    <a:pt x="686" y="1055"/>
                    <a:pt x="686" y="1055"/>
                    <a:pt x="686" y="1055"/>
                  </a:cubicBezTo>
                  <a:cubicBezTo>
                    <a:pt x="688" y="1057"/>
                    <a:pt x="688" y="1057"/>
                    <a:pt x="688" y="1057"/>
                  </a:cubicBezTo>
                  <a:cubicBezTo>
                    <a:pt x="689" y="1059"/>
                    <a:pt x="689" y="1059"/>
                    <a:pt x="689" y="1059"/>
                  </a:cubicBezTo>
                  <a:cubicBezTo>
                    <a:pt x="690" y="1060"/>
                    <a:pt x="690" y="1060"/>
                    <a:pt x="690" y="1060"/>
                  </a:cubicBezTo>
                  <a:cubicBezTo>
                    <a:pt x="690" y="1061"/>
                    <a:pt x="690" y="1061"/>
                    <a:pt x="690" y="1061"/>
                  </a:cubicBezTo>
                  <a:cubicBezTo>
                    <a:pt x="690" y="1061"/>
                    <a:pt x="690" y="1061"/>
                    <a:pt x="690" y="1061"/>
                  </a:cubicBezTo>
                  <a:cubicBezTo>
                    <a:pt x="690" y="1061"/>
                    <a:pt x="690" y="1061"/>
                    <a:pt x="690" y="1061"/>
                  </a:cubicBezTo>
                  <a:cubicBezTo>
                    <a:pt x="690" y="1061"/>
                    <a:pt x="690" y="1061"/>
                    <a:pt x="690" y="1061"/>
                  </a:cubicBezTo>
                  <a:cubicBezTo>
                    <a:pt x="690" y="1062"/>
                    <a:pt x="690" y="1062"/>
                    <a:pt x="690" y="1062"/>
                  </a:cubicBezTo>
                  <a:cubicBezTo>
                    <a:pt x="690" y="1062"/>
                    <a:pt x="690" y="1062"/>
                    <a:pt x="690" y="1062"/>
                  </a:cubicBezTo>
                  <a:cubicBezTo>
                    <a:pt x="691" y="1062"/>
                    <a:pt x="691" y="1062"/>
                    <a:pt x="691" y="1062"/>
                  </a:cubicBezTo>
                  <a:cubicBezTo>
                    <a:pt x="691" y="1062"/>
                    <a:pt x="691" y="1062"/>
                    <a:pt x="691" y="1062"/>
                  </a:cubicBezTo>
                  <a:cubicBezTo>
                    <a:pt x="691" y="1063"/>
                    <a:pt x="691" y="1063"/>
                    <a:pt x="691" y="1063"/>
                  </a:cubicBezTo>
                  <a:cubicBezTo>
                    <a:pt x="691" y="1063"/>
                    <a:pt x="691" y="1063"/>
                    <a:pt x="691" y="1063"/>
                  </a:cubicBezTo>
                  <a:cubicBezTo>
                    <a:pt x="690" y="1063"/>
                    <a:pt x="690" y="1063"/>
                    <a:pt x="690" y="1063"/>
                  </a:cubicBezTo>
                  <a:cubicBezTo>
                    <a:pt x="690" y="1062"/>
                    <a:pt x="690" y="1062"/>
                    <a:pt x="690" y="1062"/>
                  </a:cubicBezTo>
                  <a:cubicBezTo>
                    <a:pt x="690" y="1063"/>
                    <a:pt x="690" y="1063"/>
                    <a:pt x="690" y="1063"/>
                  </a:cubicBezTo>
                  <a:cubicBezTo>
                    <a:pt x="690" y="1063"/>
                    <a:pt x="690" y="1063"/>
                    <a:pt x="690" y="1063"/>
                  </a:cubicBezTo>
                  <a:cubicBezTo>
                    <a:pt x="691" y="1063"/>
                    <a:pt x="691" y="1063"/>
                    <a:pt x="691" y="1063"/>
                  </a:cubicBezTo>
                  <a:cubicBezTo>
                    <a:pt x="691" y="1063"/>
                    <a:pt x="691" y="1063"/>
                    <a:pt x="691" y="1063"/>
                  </a:cubicBezTo>
                  <a:cubicBezTo>
                    <a:pt x="691" y="1063"/>
                    <a:pt x="691" y="1063"/>
                    <a:pt x="691" y="1063"/>
                  </a:cubicBezTo>
                  <a:cubicBezTo>
                    <a:pt x="691" y="1064"/>
                    <a:pt x="691" y="1064"/>
                    <a:pt x="691" y="1064"/>
                  </a:cubicBezTo>
                  <a:cubicBezTo>
                    <a:pt x="691" y="1064"/>
                    <a:pt x="691" y="1064"/>
                    <a:pt x="691" y="1064"/>
                  </a:cubicBezTo>
                  <a:cubicBezTo>
                    <a:pt x="692" y="1064"/>
                    <a:pt x="692" y="1064"/>
                    <a:pt x="692" y="1064"/>
                  </a:cubicBezTo>
                  <a:cubicBezTo>
                    <a:pt x="692" y="1064"/>
                    <a:pt x="692" y="1064"/>
                    <a:pt x="692" y="1064"/>
                  </a:cubicBezTo>
                  <a:cubicBezTo>
                    <a:pt x="691" y="1064"/>
                    <a:pt x="691" y="1064"/>
                    <a:pt x="691" y="1064"/>
                  </a:cubicBezTo>
                  <a:cubicBezTo>
                    <a:pt x="691" y="1065"/>
                    <a:pt x="691" y="1065"/>
                    <a:pt x="691" y="1065"/>
                  </a:cubicBezTo>
                  <a:cubicBezTo>
                    <a:pt x="692" y="1065"/>
                    <a:pt x="692" y="1065"/>
                    <a:pt x="692" y="1065"/>
                  </a:cubicBezTo>
                  <a:cubicBezTo>
                    <a:pt x="693" y="1065"/>
                    <a:pt x="693" y="1065"/>
                    <a:pt x="693" y="1065"/>
                  </a:cubicBezTo>
                  <a:cubicBezTo>
                    <a:pt x="693" y="1065"/>
                    <a:pt x="693" y="1065"/>
                    <a:pt x="693" y="1065"/>
                  </a:cubicBezTo>
                  <a:cubicBezTo>
                    <a:pt x="693" y="1066"/>
                    <a:pt x="693" y="1066"/>
                    <a:pt x="693" y="1066"/>
                  </a:cubicBezTo>
                  <a:cubicBezTo>
                    <a:pt x="693" y="1067"/>
                    <a:pt x="693" y="1067"/>
                    <a:pt x="693" y="1067"/>
                  </a:cubicBezTo>
                  <a:cubicBezTo>
                    <a:pt x="693" y="1067"/>
                    <a:pt x="693" y="1067"/>
                    <a:pt x="693" y="1067"/>
                  </a:cubicBezTo>
                  <a:cubicBezTo>
                    <a:pt x="694" y="1067"/>
                    <a:pt x="694" y="1067"/>
                    <a:pt x="694" y="1067"/>
                  </a:cubicBezTo>
                  <a:cubicBezTo>
                    <a:pt x="693" y="1067"/>
                    <a:pt x="693" y="1067"/>
                    <a:pt x="693" y="1067"/>
                  </a:cubicBezTo>
                  <a:cubicBezTo>
                    <a:pt x="693" y="1066"/>
                    <a:pt x="693" y="1066"/>
                    <a:pt x="693" y="1066"/>
                  </a:cubicBezTo>
                  <a:cubicBezTo>
                    <a:pt x="693" y="1065"/>
                    <a:pt x="693" y="1065"/>
                    <a:pt x="693" y="1065"/>
                  </a:cubicBezTo>
                  <a:cubicBezTo>
                    <a:pt x="693" y="1065"/>
                    <a:pt x="693" y="1065"/>
                    <a:pt x="693" y="1065"/>
                  </a:cubicBezTo>
                  <a:cubicBezTo>
                    <a:pt x="693" y="1065"/>
                    <a:pt x="693" y="1065"/>
                    <a:pt x="693" y="1065"/>
                  </a:cubicBezTo>
                  <a:cubicBezTo>
                    <a:pt x="692" y="1065"/>
                    <a:pt x="692" y="1065"/>
                    <a:pt x="692" y="1065"/>
                  </a:cubicBezTo>
                  <a:cubicBezTo>
                    <a:pt x="693" y="1064"/>
                    <a:pt x="693" y="1064"/>
                    <a:pt x="693" y="1064"/>
                  </a:cubicBezTo>
                  <a:cubicBezTo>
                    <a:pt x="693" y="1065"/>
                    <a:pt x="693" y="1065"/>
                    <a:pt x="693" y="1065"/>
                  </a:cubicBezTo>
                  <a:cubicBezTo>
                    <a:pt x="693" y="1064"/>
                    <a:pt x="693" y="1064"/>
                    <a:pt x="693" y="1064"/>
                  </a:cubicBezTo>
                  <a:cubicBezTo>
                    <a:pt x="694" y="1065"/>
                    <a:pt x="694" y="1065"/>
                    <a:pt x="694" y="1065"/>
                  </a:cubicBezTo>
                  <a:cubicBezTo>
                    <a:pt x="694" y="1065"/>
                    <a:pt x="694" y="1065"/>
                    <a:pt x="694" y="1065"/>
                  </a:cubicBezTo>
                  <a:cubicBezTo>
                    <a:pt x="694" y="1065"/>
                    <a:pt x="694" y="1065"/>
                    <a:pt x="694" y="1065"/>
                  </a:cubicBezTo>
                  <a:cubicBezTo>
                    <a:pt x="694" y="1065"/>
                    <a:pt x="694" y="1065"/>
                    <a:pt x="694" y="1065"/>
                  </a:cubicBezTo>
                  <a:cubicBezTo>
                    <a:pt x="694" y="1065"/>
                    <a:pt x="694" y="1065"/>
                    <a:pt x="694" y="1065"/>
                  </a:cubicBezTo>
                  <a:cubicBezTo>
                    <a:pt x="695" y="1065"/>
                    <a:pt x="695" y="1065"/>
                    <a:pt x="695" y="1065"/>
                  </a:cubicBezTo>
                  <a:cubicBezTo>
                    <a:pt x="696" y="1065"/>
                    <a:pt x="696" y="1065"/>
                    <a:pt x="696" y="1065"/>
                  </a:cubicBezTo>
                  <a:cubicBezTo>
                    <a:pt x="696" y="1065"/>
                    <a:pt x="696" y="1065"/>
                    <a:pt x="696" y="1065"/>
                  </a:cubicBezTo>
                  <a:cubicBezTo>
                    <a:pt x="696" y="1065"/>
                    <a:pt x="696" y="1065"/>
                    <a:pt x="696" y="1065"/>
                  </a:cubicBezTo>
                  <a:cubicBezTo>
                    <a:pt x="695" y="1065"/>
                    <a:pt x="695" y="1065"/>
                    <a:pt x="695" y="1065"/>
                  </a:cubicBezTo>
                  <a:cubicBezTo>
                    <a:pt x="695" y="1065"/>
                    <a:pt x="695" y="1065"/>
                    <a:pt x="695" y="1065"/>
                  </a:cubicBezTo>
                  <a:cubicBezTo>
                    <a:pt x="695" y="1064"/>
                    <a:pt x="695" y="1064"/>
                    <a:pt x="695" y="1064"/>
                  </a:cubicBezTo>
                  <a:cubicBezTo>
                    <a:pt x="695" y="1064"/>
                    <a:pt x="695" y="1064"/>
                    <a:pt x="695" y="1064"/>
                  </a:cubicBezTo>
                  <a:cubicBezTo>
                    <a:pt x="695" y="1064"/>
                    <a:pt x="695" y="1064"/>
                    <a:pt x="695" y="1064"/>
                  </a:cubicBezTo>
                  <a:cubicBezTo>
                    <a:pt x="695" y="1063"/>
                    <a:pt x="695" y="1063"/>
                    <a:pt x="695" y="1063"/>
                  </a:cubicBezTo>
                  <a:cubicBezTo>
                    <a:pt x="696" y="1063"/>
                    <a:pt x="696" y="1063"/>
                    <a:pt x="696" y="1063"/>
                  </a:cubicBezTo>
                  <a:cubicBezTo>
                    <a:pt x="696" y="1063"/>
                    <a:pt x="696" y="1063"/>
                    <a:pt x="696" y="1063"/>
                  </a:cubicBezTo>
                  <a:cubicBezTo>
                    <a:pt x="696" y="1063"/>
                    <a:pt x="696" y="1063"/>
                    <a:pt x="696" y="1063"/>
                  </a:cubicBezTo>
                  <a:cubicBezTo>
                    <a:pt x="696" y="1063"/>
                    <a:pt x="696" y="1063"/>
                    <a:pt x="696" y="1063"/>
                  </a:cubicBezTo>
                  <a:cubicBezTo>
                    <a:pt x="696" y="1062"/>
                    <a:pt x="696" y="1062"/>
                    <a:pt x="696" y="1062"/>
                  </a:cubicBezTo>
                  <a:cubicBezTo>
                    <a:pt x="696" y="1062"/>
                    <a:pt x="696" y="1062"/>
                    <a:pt x="696" y="1062"/>
                  </a:cubicBezTo>
                  <a:cubicBezTo>
                    <a:pt x="696" y="1062"/>
                    <a:pt x="696" y="1062"/>
                    <a:pt x="696" y="1062"/>
                  </a:cubicBezTo>
                  <a:cubicBezTo>
                    <a:pt x="695" y="1062"/>
                    <a:pt x="695" y="1062"/>
                    <a:pt x="695" y="1062"/>
                  </a:cubicBezTo>
                  <a:cubicBezTo>
                    <a:pt x="695" y="1061"/>
                    <a:pt x="695" y="1061"/>
                    <a:pt x="695" y="1061"/>
                  </a:cubicBezTo>
                  <a:cubicBezTo>
                    <a:pt x="696" y="1061"/>
                    <a:pt x="696" y="1061"/>
                    <a:pt x="696" y="1061"/>
                  </a:cubicBezTo>
                  <a:cubicBezTo>
                    <a:pt x="696" y="1061"/>
                    <a:pt x="696" y="1061"/>
                    <a:pt x="696" y="1061"/>
                  </a:cubicBezTo>
                  <a:cubicBezTo>
                    <a:pt x="697" y="1061"/>
                    <a:pt x="697" y="1061"/>
                    <a:pt x="697" y="1061"/>
                  </a:cubicBezTo>
                  <a:cubicBezTo>
                    <a:pt x="697" y="1061"/>
                    <a:pt x="697" y="1061"/>
                    <a:pt x="697" y="1061"/>
                  </a:cubicBezTo>
                  <a:cubicBezTo>
                    <a:pt x="697" y="1061"/>
                    <a:pt x="697" y="1061"/>
                    <a:pt x="697" y="1061"/>
                  </a:cubicBezTo>
                  <a:cubicBezTo>
                    <a:pt x="697" y="1061"/>
                    <a:pt x="697" y="1061"/>
                    <a:pt x="697" y="1061"/>
                  </a:cubicBezTo>
                  <a:cubicBezTo>
                    <a:pt x="697" y="1061"/>
                    <a:pt x="697" y="1061"/>
                    <a:pt x="697" y="1061"/>
                  </a:cubicBezTo>
                  <a:cubicBezTo>
                    <a:pt x="697" y="1060"/>
                    <a:pt x="697" y="1060"/>
                    <a:pt x="697" y="1060"/>
                  </a:cubicBezTo>
                  <a:cubicBezTo>
                    <a:pt x="697" y="1060"/>
                    <a:pt x="697" y="1060"/>
                    <a:pt x="697" y="1060"/>
                  </a:cubicBezTo>
                  <a:cubicBezTo>
                    <a:pt x="697" y="1061"/>
                    <a:pt x="697" y="1061"/>
                    <a:pt x="697" y="1061"/>
                  </a:cubicBezTo>
                  <a:cubicBezTo>
                    <a:pt x="697" y="1060"/>
                    <a:pt x="697" y="1060"/>
                    <a:pt x="697" y="1060"/>
                  </a:cubicBezTo>
                  <a:cubicBezTo>
                    <a:pt x="697" y="1060"/>
                    <a:pt x="697" y="1060"/>
                    <a:pt x="697" y="1060"/>
                  </a:cubicBezTo>
                  <a:cubicBezTo>
                    <a:pt x="697" y="1059"/>
                    <a:pt x="697" y="1059"/>
                    <a:pt x="697" y="1059"/>
                  </a:cubicBezTo>
                  <a:cubicBezTo>
                    <a:pt x="697" y="1059"/>
                    <a:pt x="697" y="1059"/>
                    <a:pt x="697" y="1059"/>
                  </a:cubicBezTo>
                  <a:cubicBezTo>
                    <a:pt x="697" y="1059"/>
                    <a:pt x="697" y="1059"/>
                    <a:pt x="697" y="1059"/>
                  </a:cubicBezTo>
                  <a:cubicBezTo>
                    <a:pt x="697" y="1059"/>
                    <a:pt x="697" y="1059"/>
                    <a:pt x="697" y="1059"/>
                  </a:cubicBezTo>
                  <a:cubicBezTo>
                    <a:pt x="697" y="1059"/>
                    <a:pt x="697" y="1059"/>
                    <a:pt x="697" y="1059"/>
                  </a:cubicBezTo>
                  <a:cubicBezTo>
                    <a:pt x="698" y="1058"/>
                    <a:pt x="698" y="1058"/>
                    <a:pt x="698" y="1058"/>
                  </a:cubicBezTo>
                  <a:cubicBezTo>
                    <a:pt x="698" y="1058"/>
                    <a:pt x="698" y="1058"/>
                    <a:pt x="698" y="1058"/>
                  </a:cubicBezTo>
                  <a:cubicBezTo>
                    <a:pt x="698" y="1058"/>
                    <a:pt x="698" y="1058"/>
                    <a:pt x="698" y="1058"/>
                  </a:cubicBezTo>
                  <a:cubicBezTo>
                    <a:pt x="698" y="1057"/>
                    <a:pt x="698" y="1057"/>
                    <a:pt x="698" y="1057"/>
                  </a:cubicBezTo>
                  <a:cubicBezTo>
                    <a:pt x="698" y="1057"/>
                    <a:pt x="698" y="1057"/>
                    <a:pt x="698" y="1057"/>
                  </a:cubicBezTo>
                  <a:cubicBezTo>
                    <a:pt x="697" y="1057"/>
                    <a:pt x="697" y="1057"/>
                    <a:pt x="697" y="1057"/>
                  </a:cubicBezTo>
                  <a:cubicBezTo>
                    <a:pt x="697" y="1057"/>
                    <a:pt x="697" y="1057"/>
                    <a:pt x="697" y="1057"/>
                  </a:cubicBezTo>
                  <a:cubicBezTo>
                    <a:pt x="697" y="1056"/>
                    <a:pt x="697" y="1056"/>
                    <a:pt x="697" y="1056"/>
                  </a:cubicBezTo>
                  <a:cubicBezTo>
                    <a:pt x="697" y="1056"/>
                    <a:pt x="697" y="1056"/>
                    <a:pt x="697" y="1056"/>
                  </a:cubicBezTo>
                  <a:cubicBezTo>
                    <a:pt x="697" y="1056"/>
                    <a:pt x="697" y="1056"/>
                    <a:pt x="697" y="1056"/>
                  </a:cubicBezTo>
                  <a:cubicBezTo>
                    <a:pt x="697" y="1056"/>
                    <a:pt x="697" y="1056"/>
                    <a:pt x="697" y="1056"/>
                  </a:cubicBezTo>
                  <a:cubicBezTo>
                    <a:pt x="697" y="1056"/>
                    <a:pt x="697" y="1056"/>
                    <a:pt x="697" y="1056"/>
                  </a:cubicBezTo>
                  <a:cubicBezTo>
                    <a:pt x="697" y="1057"/>
                    <a:pt x="697" y="1057"/>
                    <a:pt x="697" y="1057"/>
                  </a:cubicBezTo>
                  <a:cubicBezTo>
                    <a:pt x="698" y="1057"/>
                    <a:pt x="698" y="1057"/>
                    <a:pt x="698" y="1057"/>
                  </a:cubicBezTo>
                  <a:cubicBezTo>
                    <a:pt x="698" y="1058"/>
                    <a:pt x="698" y="1058"/>
                    <a:pt x="698" y="1058"/>
                  </a:cubicBezTo>
                  <a:cubicBezTo>
                    <a:pt x="698" y="1058"/>
                    <a:pt x="698" y="1058"/>
                    <a:pt x="698" y="1058"/>
                  </a:cubicBezTo>
                  <a:cubicBezTo>
                    <a:pt x="698" y="1059"/>
                    <a:pt x="698" y="1059"/>
                    <a:pt x="698" y="1059"/>
                  </a:cubicBezTo>
                  <a:cubicBezTo>
                    <a:pt x="698" y="1059"/>
                    <a:pt x="698" y="1059"/>
                    <a:pt x="698" y="1059"/>
                  </a:cubicBezTo>
                  <a:cubicBezTo>
                    <a:pt x="698" y="1059"/>
                    <a:pt x="698" y="1059"/>
                    <a:pt x="698" y="1059"/>
                  </a:cubicBezTo>
                  <a:cubicBezTo>
                    <a:pt x="698" y="1059"/>
                    <a:pt x="698" y="1059"/>
                    <a:pt x="698" y="1059"/>
                  </a:cubicBezTo>
                  <a:cubicBezTo>
                    <a:pt x="699" y="1059"/>
                    <a:pt x="699" y="1059"/>
                    <a:pt x="699" y="1059"/>
                  </a:cubicBezTo>
                  <a:cubicBezTo>
                    <a:pt x="699" y="1058"/>
                    <a:pt x="699" y="1058"/>
                    <a:pt x="699" y="1058"/>
                  </a:cubicBezTo>
                  <a:cubicBezTo>
                    <a:pt x="699" y="1058"/>
                    <a:pt x="699" y="1058"/>
                    <a:pt x="699" y="1058"/>
                  </a:cubicBezTo>
                  <a:cubicBezTo>
                    <a:pt x="700" y="1058"/>
                    <a:pt x="700" y="1058"/>
                    <a:pt x="700" y="1058"/>
                  </a:cubicBezTo>
                  <a:cubicBezTo>
                    <a:pt x="700" y="1058"/>
                    <a:pt x="700" y="1058"/>
                    <a:pt x="700" y="1058"/>
                  </a:cubicBezTo>
                  <a:cubicBezTo>
                    <a:pt x="700" y="1059"/>
                    <a:pt x="700" y="1059"/>
                    <a:pt x="700" y="1059"/>
                  </a:cubicBezTo>
                  <a:cubicBezTo>
                    <a:pt x="701" y="1058"/>
                    <a:pt x="701" y="1058"/>
                    <a:pt x="701" y="1058"/>
                  </a:cubicBezTo>
                  <a:cubicBezTo>
                    <a:pt x="701" y="1057"/>
                    <a:pt x="701" y="1057"/>
                    <a:pt x="701" y="1057"/>
                  </a:cubicBezTo>
                  <a:cubicBezTo>
                    <a:pt x="701" y="1057"/>
                    <a:pt x="701" y="1057"/>
                    <a:pt x="701" y="1057"/>
                  </a:cubicBezTo>
                  <a:cubicBezTo>
                    <a:pt x="701" y="1056"/>
                    <a:pt x="701" y="1056"/>
                    <a:pt x="701" y="1056"/>
                  </a:cubicBezTo>
                  <a:cubicBezTo>
                    <a:pt x="700" y="1055"/>
                    <a:pt x="700" y="1055"/>
                    <a:pt x="700" y="1055"/>
                  </a:cubicBezTo>
                  <a:cubicBezTo>
                    <a:pt x="700" y="1055"/>
                    <a:pt x="700" y="1055"/>
                    <a:pt x="700" y="1055"/>
                  </a:cubicBezTo>
                  <a:cubicBezTo>
                    <a:pt x="701" y="1055"/>
                    <a:pt x="701" y="1055"/>
                    <a:pt x="701" y="1055"/>
                  </a:cubicBezTo>
                  <a:cubicBezTo>
                    <a:pt x="701" y="1055"/>
                    <a:pt x="701" y="1055"/>
                    <a:pt x="701" y="1055"/>
                  </a:cubicBezTo>
                  <a:cubicBezTo>
                    <a:pt x="701" y="1054"/>
                    <a:pt x="701" y="1054"/>
                    <a:pt x="701" y="1054"/>
                  </a:cubicBezTo>
                  <a:cubicBezTo>
                    <a:pt x="701" y="1054"/>
                    <a:pt x="701" y="1054"/>
                    <a:pt x="701" y="1054"/>
                  </a:cubicBezTo>
                  <a:cubicBezTo>
                    <a:pt x="701" y="1054"/>
                    <a:pt x="701" y="1054"/>
                    <a:pt x="701" y="1054"/>
                  </a:cubicBezTo>
                  <a:cubicBezTo>
                    <a:pt x="701" y="1054"/>
                    <a:pt x="701" y="1054"/>
                    <a:pt x="701" y="1054"/>
                  </a:cubicBezTo>
                  <a:cubicBezTo>
                    <a:pt x="701" y="1053"/>
                    <a:pt x="701" y="1053"/>
                    <a:pt x="701" y="1053"/>
                  </a:cubicBezTo>
                  <a:cubicBezTo>
                    <a:pt x="702" y="1053"/>
                    <a:pt x="702" y="1053"/>
                    <a:pt x="702" y="1053"/>
                  </a:cubicBezTo>
                  <a:cubicBezTo>
                    <a:pt x="702" y="1052"/>
                    <a:pt x="702" y="1052"/>
                    <a:pt x="702" y="1052"/>
                  </a:cubicBezTo>
                  <a:cubicBezTo>
                    <a:pt x="701" y="1052"/>
                    <a:pt x="701" y="1052"/>
                    <a:pt x="701" y="1052"/>
                  </a:cubicBezTo>
                  <a:cubicBezTo>
                    <a:pt x="702" y="1052"/>
                    <a:pt x="702" y="1052"/>
                    <a:pt x="702" y="1052"/>
                  </a:cubicBezTo>
                  <a:cubicBezTo>
                    <a:pt x="703" y="1051"/>
                    <a:pt x="703" y="1051"/>
                    <a:pt x="703" y="1051"/>
                  </a:cubicBezTo>
                  <a:cubicBezTo>
                    <a:pt x="703" y="1051"/>
                    <a:pt x="703" y="1051"/>
                    <a:pt x="703" y="1051"/>
                  </a:cubicBezTo>
                  <a:cubicBezTo>
                    <a:pt x="703" y="1049"/>
                    <a:pt x="703" y="1049"/>
                    <a:pt x="703" y="1049"/>
                  </a:cubicBezTo>
                  <a:cubicBezTo>
                    <a:pt x="704" y="1047"/>
                    <a:pt x="704" y="1047"/>
                    <a:pt x="704" y="1047"/>
                  </a:cubicBezTo>
                  <a:cubicBezTo>
                    <a:pt x="704" y="1045"/>
                    <a:pt x="704" y="1045"/>
                    <a:pt x="704" y="1045"/>
                  </a:cubicBezTo>
                  <a:cubicBezTo>
                    <a:pt x="705" y="1044"/>
                    <a:pt x="705" y="1044"/>
                    <a:pt x="705" y="1044"/>
                  </a:cubicBezTo>
                  <a:cubicBezTo>
                    <a:pt x="705" y="1043"/>
                    <a:pt x="705" y="1043"/>
                    <a:pt x="705" y="1043"/>
                  </a:cubicBezTo>
                  <a:cubicBezTo>
                    <a:pt x="706" y="1042"/>
                    <a:pt x="706" y="1042"/>
                    <a:pt x="706" y="1042"/>
                  </a:cubicBezTo>
                  <a:cubicBezTo>
                    <a:pt x="706" y="1042"/>
                    <a:pt x="706" y="1042"/>
                    <a:pt x="706" y="1042"/>
                  </a:cubicBezTo>
                  <a:cubicBezTo>
                    <a:pt x="707" y="1043"/>
                    <a:pt x="707" y="1043"/>
                    <a:pt x="707" y="1043"/>
                  </a:cubicBezTo>
                  <a:cubicBezTo>
                    <a:pt x="708" y="1043"/>
                    <a:pt x="708" y="1043"/>
                    <a:pt x="708" y="1043"/>
                  </a:cubicBezTo>
                  <a:cubicBezTo>
                    <a:pt x="711" y="1045"/>
                    <a:pt x="711" y="1045"/>
                    <a:pt x="711" y="1045"/>
                  </a:cubicBezTo>
                  <a:cubicBezTo>
                    <a:pt x="712" y="1045"/>
                    <a:pt x="712" y="1045"/>
                    <a:pt x="712" y="1045"/>
                  </a:cubicBezTo>
                  <a:cubicBezTo>
                    <a:pt x="712" y="1045"/>
                    <a:pt x="712" y="1045"/>
                    <a:pt x="712" y="1045"/>
                  </a:cubicBezTo>
                  <a:cubicBezTo>
                    <a:pt x="712" y="1045"/>
                    <a:pt x="712" y="1045"/>
                    <a:pt x="712" y="1045"/>
                  </a:cubicBezTo>
                  <a:cubicBezTo>
                    <a:pt x="712" y="1045"/>
                    <a:pt x="712" y="1045"/>
                    <a:pt x="712" y="1045"/>
                  </a:cubicBezTo>
                  <a:cubicBezTo>
                    <a:pt x="713" y="1045"/>
                    <a:pt x="713" y="1045"/>
                    <a:pt x="713" y="1045"/>
                  </a:cubicBezTo>
                  <a:cubicBezTo>
                    <a:pt x="713" y="1045"/>
                    <a:pt x="713" y="1045"/>
                    <a:pt x="713" y="1045"/>
                  </a:cubicBezTo>
                  <a:cubicBezTo>
                    <a:pt x="712" y="1044"/>
                    <a:pt x="712" y="1044"/>
                    <a:pt x="712" y="1044"/>
                  </a:cubicBezTo>
                  <a:cubicBezTo>
                    <a:pt x="713" y="1045"/>
                    <a:pt x="713" y="1045"/>
                    <a:pt x="713" y="1045"/>
                  </a:cubicBezTo>
                  <a:cubicBezTo>
                    <a:pt x="713" y="1045"/>
                    <a:pt x="713" y="1045"/>
                    <a:pt x="713" y="1045"/>
                  </a:cubicBezTo>
                  <a:cubicBezTo>
                    <a:pt x="713" y="1046"/>
                    <a:pt x="713" y="1046"/>
                    <a:pt x="713" y="1046"/>
                  </a:cubicBezTo>
                  <a:cubicBezTo>
                    <a:pt x="713" y="1046"/>
                    <a:pt x="713" y="1046"/>
                    <a:pt x="713" y="1046"/>
                  </a:cubicBezTo>
                  <a:cubicBezTo>
                    <a:pt x="714" y="1047"/>
                    <a:pt x="714" y="1047"/>
                    <a:pt x="714" y="1047"/>
                  </a:cubicBezTo>
                  <a:cubicBezTo>
                    <a:pt x="714" y="1047"/>
                    <a:pt x="714" y="1047"/>
                    <a:pt x="714" y="1047"/>
                  </a:cubicBezTo>
                  <a:cubicBezTo>
                    <a:pt x="716" y="1049"/>
                    <a:pt x="716" y="1049"/>
                    <a:pt x="716" y="1049"/>
                  </a:cubicBezTo>
                  <a:cubicBezTo>
                    <a:pt x="719" y="1052"/>
                    <a:pt x="719" y="1052"/>
                    <a:pt x="719" y="1052"/>
                  </a:cubicBezTo>
                  <a:cubicBezTo>
                    <a:pt x="721" y="1053"/>
                    <a:pt x="721" y="1053"/>
                    <a:pt x="721" y="1053"/>
                  </a:cubicBezTo>
                  <a:cubicBezTo>
                    <a:pt x="721" y="1053"/>
                    <a:pt x="721" y="1053"/>
                    <a:pt x="721" y="1053"/>
                  </a:cubicBezTo>
                  <a:cubicBezTo>
                    <a:pt x="721" y="1053"/>
                    <a:pt x="721" y="1053"/>
                    <a:pt x="721" y="1053"/>
                  </a:cubicBezTo>
                  <a:cubicBezTo>
                    <a:pt x="722" y="1054"/>
                    <a:pt x="722" y="1054"/>
                    <a:pt x="722" y="1054"/>
                  </a:cubicBezTo>
                  <a:cubicBezTo>
                    <a:pt x="723" y="1058"/>
                    <a:pt x="723" y="1058"/>
                    <a:pt x="723" y="1058"/>
                  </a:cubicBezTo>
                  <a:cubicBezTo>
                    <a:pt x="723" y="1059"/>
                    <a:pt x="723" y="1059"/>
                    <a:pt x="723" y="1059"/>
                  </a:cubicBezTo>
                  <a:cubicBezTo>
                    <a:pt x="723" y="1060"/>
                    <a:pt x="723" y="1060"/>
                    <a:pt x="723" y="1060"/>
                  </a:cubicBezTo>
                  <a:cubicBezTo>
                    <a:pt x="723" y="1060"/>
                    <a:pt x="723" y="1060"/>
                    <a:pt x="723" y="1060"/>
                  </a:cubicBezTo>
                  <a:cubicBezTo>
                    <a:pt x="722" y="1063"/>
                    <a:pt x="722" y="1063"/>
                    <a:pt x="722" y="1063"/>
                  </a:cubicBezTo>
                  <a:cubicBezTo>
                    <a:pt x="722" y="1064"/>
                    <a:pt x="722" y="1064"/>
                    <a:pt x="722" y="1064"/>
                  </a:cubicBezTo>
                  <a:cubicBezTo>
                    <a:pt x="722" y="1066"/>
                    <a:pt x="722" y="1066"/>
                    <a:pt x="722" y="1066"/>
                  </a:cubicBezTo>
                  <a:cubicBezTo>
                    <a:pt x="723" y="1067"/>
                    <a:pt x="723" y="1067"/>
                    <a:pt x="723" y="1067"/>
                  </a:cubicBezTo>
                  <a:cubicBezTo>
                    <a:pt x="723" y="1068"/>
                    <a:pt x="723" y="1068"/>
                    <a:pt x="723" y="1068"/>
                  </a:cubicBezTo>
                  <a:cubicBezTo>
                    <a:pt x="723" y="1068"/>
                    <a:pt x="723" y="1068"/>
                    <a:pt x="723" y="1068"/>
                  </a:cubicBezTo>
                  <a:cubicBezTo>
                    <a:pt x="722" y="1069"/>
                    <a:pt x="722" y="1069"/>
                    <a:pt x="722" y="1069"/>
                  </a:cubicBezTo>
                  <a:cubicBezTo>
                    <a:pt x="723" y="1070"/>
                    <a:pt x="723" y="1070"/>
                    <a:pt x="723" y="1070"/>
                  </a:cubicBezTo>
                  <a:cubicBezTo>
                    <a:pt x="726" y="1075"/>
                    <a:pt x="726" y="1075"/>
                    <a:pt x="726" y="1075"/>
                  </a:cubicBezTo>
                  <a:cubicBezTo>
                    <a:pt x="726" y="1075"/>
                    <a:pt x="726" y="1075"/>
                    <a:pt x="726" y="1075"/>
                  </a:cubicBezTo>
                  <a:cubicBezTo>
                    <a:pt x="726" y="1075"/>
                    <a:pt x="726" y="1075"/>
                    <a:pt x="726" y="1075"/>
                  </a:cubicBezTo>
                  <a:cubicBezTo>
                    <a:pt x="727" y="1076"/>
                    <a:pt x="727" y="1076"/>
                    <a:pt x="727" y="1076"/>
                  </a:cubicBezTo>
                  <a:cubicBezTo>
                    <a:pt x="727" y="1076"/>
                    <a:pt x="727" y="1076"/>
                    <a:pt x="727" y="1076"/>
                  </a:cubicBezTo>
                  <a:cubicBezTo>
                    <a:pt x="728" y="1077"/>
                    <a:pt x="728" y="1077"/>
                    <a:pt x="728" y="1077"/>
                  </a:cubicBezTo>
                  <a:cubicBezTo>
                    <a:pt x="729" y="1078"/>
                    <a:pt x="729" y="1078"/>
                    <a:pt x="729" y="1078"/>
                  </a:cubicBezTo>
                  <a:cubicBezTo>
                    <a:pt x="730" y="1080"/>
                    <a:pt x="730" y="1080"/>
                    <a:pt x="730" y="1080"/>
                  </a:cubicBezTo>
                  <a:cubicBezTo>
                    <a:pt x="735" y="1084"/>
                    <a:pt x="735" y="1084"/>
                    <a:pt x="735" y="1084"/>
                  </a:cubicBezTo>
                  <a:cubicBezTo>
                    <a:pt x="735" y="1084"/>
                    <a:pt x="735" y="1084"/>
                    <a:pt x="735" y="1084"/>
                  </a:cubicBezTo>
                  <a:cubicBezTo>
                    <a:pt x="738" y="1086"/>
                    <a:pt x="738" y="1086"/>
                    <a:pt x="738" y="1086"/>
                  </a:cubicBezTo>
                  <a:cubicBezTo>
                    <a:pt x="738" y="1086"/>
                    <a:pt x="738" y="1086"/>
                    <a:pt x="738" y="1086"/>
                  </a:cubicBezTo>
                  <a:cubicBezTo>
                    <a:pt x="739" y="1087"/>
                    <a:pt x="739" y="1087"/>
                    <a:pt x="739" y="1087"/>
                  </a:cubicBezTo>
                  <a:cubicBezTo>
                    <a:pt x="739" y="1087"/>
                    <a:pt x="739" y="1087"/>
                    <a:pt x="739" y="1087"/>
                  </a:cubicBezTo>
                  <a:cubicBezTo>
                    <a:pt x="741" y="1088"/>
                    <a:pt x="741" y="1088"/>
                    <a:pt x="741" y="1088"/>
                  </a:cubicBezTo>
                  <a:cubicBezTo>
                    <a:pt x="742" y="1088"/>
                    <a:pt x="742" y="1088"/>
                    <a:pt x="742" y="1088"/>
                  </a:cubicBezTo>
                  <a:cubicBezTo>
                    <a:pt x="742" y="1088"/>
                    <a:pt x="742" y="1088"/>
                    <a:pt x="742" y="1088"/>
                  </a:cubicBezTo>
                  <a:cubicBezTo>
                    <a:pt x="741" y="1088"/>
                    <a:pt x="741" y="1088"/>
                    <a:pt x="741" y="1088"/>
                  </a:cubicBezTo>
                  <a:cubicBezTo>
                    <a:pt x="739" y="1088"/>
                    <a:pt x="739" y="1088"/>
                    <a:pt x="739" y="1088"/>
                  </a:cubicBezTo>
                  <a:cubicBezTo>
                    <a:pt x="738" y="1088"/>
                    <a:pt x="738" y="1088"/>
                    <a:pt x="738" y="1088"/>
                  </a:cubicBezTo>
                  <a:cubicBezTo>
                    <a:pt x="736" y="1087"/>
                    <a:pt x="736" y="1087"/>
                    <a:pt x="736" y="1087"/>
                  </a:cubicBezTo>
                  <a:cubicBezTo>
                    <a:pt x="735" y="1086"/>
                    <a:pt x="735" y="1086"/>
                    <a:pt x="735" y="1086"/>
                  </a:cubicBezTo>
                  <a:cubicBezTo>
                    <a:pt x="734" y="1086"/>
                    <a:pt x="734" y="1086"/>
                    <a:pt x="734" y="1086"/>
                  </a:cubicBezTo>
                  <a:cubicBezTo>
                    <a:pt x="734" y="1085"/>
                    <a:pt x="734" y="1085"/>
                    <a:pt x="734" y="1085"/>
                  </a:cubicBezTo>
                  <a:cubicBezTo>
                    <a:pt x="734" y="1086"/>
                    <a:pt x="734" y="1086"/>
                    <a:pt x="734" y="1086"/>
                  </a:cubicBezTo>
                  <a:cubicBezTo>
                    <a:pt x="734" y="1086"/>
                    <a:pt x="734" y="1086"/>
                    <a:pt x="734" y="1086"/>
                  </a:cubicBezTo>
                  <a:cubicBezTo>
                    <a:pt x="735" y="1086"/>
                    <a:pt x="735" y="1086"/>
                    <a:pt x="735" y="1086"/>
                  </a:cubicBezTo>
                  <a:cubicBezTo>
                    <a:pt x="735" y="1087"/>
                    <a:pt x="735" y="1087"/>
                    <a:pt x="735" y="1087"/>
                  </a:cubicBezTo>
                  <a:cubicBezTo>
                    <a:pt x="735" y="1087"/>
                    <a:pt x="735" y="1087"/>
                    <a:pt x="735" y="1087"/>
                  </a:cubicBezTo>
                  <a:cubicBezTo>
                    <a:pt x="735" y="1087"/>
                    <a:pt x="735" y="1087"/>
                    <a:pt x="735" y="1087"/>
                  </a:cubicBezTo>
                  <a:cubicBezTo>
                    <a:pt x="735" y="1087"/>
                    <a:pt x="735" y="1087"/>
                    <a:pt x="735" y="1087"/>
                  </a:cubicBezTo>
                  <a:cubicBezTo>
                    <a:pt x="734" y="1087"/>
                    <a:pt x="734" y="1087"/>
                    <a:pt x="734" y="1087"/>
                  </a:cubicBezTo>
                  <a:cubicBezTo>
                    <a:pt x="735" y="1089"/>
                    <a:pt x="735" y="1089"/>
                    <a:pt x="735" y="1089"/>
                  </a:cubicBezTo>
                  <a:cubicBezTo>
                    <a:pt x="734" y="1089"/>
                    <a:pt x="734" y="1089"/>
                    <a:pt x="734" y="1089"/>
                  </a:cubicBezTo>
                  <a:cubicBezTo>
                    <a:pt x="734" y="1088"/>
                    <a:pt x="734" y="1088"/>
                    <a:pt x="734" y="1088"/>
                  </a:cubicBezTo>
                  <a:cubicBezTo>
                    <a:pt x="733" y="1088"/>
                    <a:pt x="733" y="1088"/>
                    <a:pt x="733" y="1088"/>
                  </a:cubicBezTo>
                  <a:cubicBezTo>
                    <a:pt x="732" y="1087"/>
                    <a:pt x="732" y="1087"/>
                    <a:pt x="732" y="1087"/>
                  </a:cubicBezTo>
                  <a:cubicBezTo>
                    <a:pt x="732" y="1087"/>
                    <a:pt x="732" y="1087"/>
                    <a:pt x="732" y="1087"/>
                  </a:cubicBezTo>
                  <a:cubicBezTo>
                    <a:pt x="732" y="1087"/>
                    <a:pt x="732" y="1087"/>
                    <a:pt x="732" y="1087"/>
                  </a:cubicBezTo>
                  <a:cubicBezTo>
                    <a:pt x="732" y="1087"/>
                    <a:pt x="732" y="1087"/>
                    <a:pt x="732" y="1087"/>
                  </a:cubicBezTo>
                  <a:cubicBezTo>
                    <a:pt x="732" y="1087"/>
                    <a:pt x="732" y="1087"/>
                    <a:pt x="732" y="1087"/>
                  </a:cubicBezTo>
                  <a:cubicBezTo>
                    <a:pt x="732" y="1087"/>
                    <a:pt x="732" y="1087"/>
                    <a:pt x="732" y="1087"/>
                  </a:cubicBezTo>
                  <a:cubicBezTo>
                    <a:pt x="731" y="1087"/>
                    <a:pt x="731" y="1087"/>
                    <a:pt x="731" y="1087"/>
                  </a:cubicBezTo>
                  <a:cubicBezTo>
                    <a:pt x="732" y="1088"/>
                    <a:pt x="732" y="1088"/>
                    <a:pt x="732" y="1088"/>
                  </a:cubicBezTo>
                  <a:cubicBezTo>
                    <a:pt x="732" y="1088"/>
                    <a:pt x="732" y="1088"/>
                    <a:pt x="732" y="1088"/>
                  </a:cubicBezTo>
                  <a:cubicBezTo>
                    <a:pt x="731" y="1089"/>
                    <a:pt x="731" y="1089"/>
                    <a:pt x="731" y="1089"/>
                  </a:cubicBezTo>
                  <a:cubicBezTo>
                    <a:pt x="731" y="1088"/>
                    <a:pt x="731" y="1088"/>
                    <a:pt x="731" y="1088"/>
                  </a:cubicBezTo>
                  <a:cubicBezTo>
                    <a:pt x="731" y="1087"/>
                    <a:pt x="731" y="1087"/>
                    <a:pt x="731" y="1087"/>
                  </a:cubicBezTo>
                  <a:cubicBezTo>
                    <a:pt x="730" y="1087"/>
                    <a:pt x="730" y="1087"/>
                    <a:pt x="730" y="1087"/>
                  </a:cubicBezTo>
                  <a:cubicBezTo>
                    <a:pt x="730" y="1088"/>
                    <a:pt x="730" y="1088"/>
                    <a:pt x="730" y="1088"/>
                  </a:cubicBezTo>
                  <a:cubicBezTo>
                    <a:pt x="729" y="1088"/>
                    <a:pt x="729" y="1088"/>
                    <a:pt x="729" y="1088"/>
                  </a:cubicBezTo>
                  <a:cubicBezTo>
                    <a:pt x="730" y="1089"/>
                    <a:pt x="730" y="1089"/>
                    <a:pt x="730" y="1089"/>
                  </a:cubicBezTo>
                  <a:cubicBezTo>
                    <a:pt x="730" y="1089"/>
                    <a:pt x="730" y="1089"/>
                    <a:pt x="730" y="1089"/>
                  </a:cubicBezTo>
                  <a:cubicBezTo>
                    <a:pt x="731" y="1090"/>
                    <a:pt x="731" y="1090"/>
                    <a:pt x="731" y="1090"/>
                  </a:cubicBezTo>
                  <a:cubicBezTo>
                    <a:pt x="730" y="1091"/>
                    <a:pt x="730" y="1091"/>
                    <a:pt x="730" y="1091"/>
                  </a:cubicBezTo>
                  <a:cubicBezTo>
                    <a:pt x="732" y="1093"/>
                    <a:pt x="732" y="1093"/>
                    <a:pt x="732" y="1093"/>
                  </a:cubicBezTo>
                  <a:cubicBezTo>
                    <a:pt x="732" y="1093"/>
                    <a:pt x="732" y="1093"/>
                    <a:pt x="732" y="1093"/>
                  </a:cubicBezTo>
                  <a:cubicBezTo>
                    <a:pt x="732" y="1093"/>
                    <a:pt x="732" y="1093"/>
                    <a:pt x="732" y="1093"/>
                  </a:cubicBezTo>
                  <a:cubicBezTo>
                    <a:pt x="732" y="1094"/>
                    <a:pt x="732" y="1094"/>
                    <a:pt x="732" y="1094"/>
                  </a:cubicBezTo>
                  <a:cubicBezTo>
                    <a:pt x="733" y="1094"/>
                    <a:pt x="733" y="1094"/>
                    <a:pt x="733" y="1094"/>
                  </a:cubicBezTo>
                  <a:cubicBezTo>
                    <a:pt x="733" y="1094"/>
                    <a:pt x="733" y="1094"/>
                    <a:pt x="733" y="1094"/>
                  </a:cubicBezTo>
                  <a:cubicBezTo>
                    <a:pt x="734" y="1096"/>
                    <a:pt x="734" y="1096"/>
                    <a:pt x="734" y="1096"/>
                  </a:cubicBezTo>
                  <a:cubicBezTo>
                    <a:pt x="734" y="1096"/>
                    <a:pt x="734" y="1096"/>
                    <a:pt x="734" y="1096"/>
                  </a:cubicBezTo>
                  <a:cubicBezTo>
                    <a:pt x="735" y="1097"/>
                    <a:pt x="735" y="1097"/>
                    <a:pt x="735" y="1097"/>
                  </a:cubicBezTo>
                  <a:cubicBezTo>
                    <a:pt x="736" y="1097"/>
                    <a:pt x="736" y="1097"/>
                    <a:pt x="736" y="1097"/>
                  </a:cubicBezTo>
                  <a:cubicBezTo>
                    <a:pt x="737" y="1098"/>
                    <a:pt x="737" y="1098"/>
                    <a:pt x="737" y="1098"/>
                  </a:cubicBezTo>
                  <a:cubicBezTo>
                    <a:pt x="737" y="1099"/>
                    <a:pt x="737" y="1099"/>
                    <a:pt x="737" y="1099"/>
                  </a:cubicBezTo>
                  <a:cubicBezTo>
                    <a:pt x="739" y="1101"/>
                    <a:pt x="739" y="1101"/>
                    <a:pt x="739" y="1101"/>
                  </a:cubicBezTo>
                  <a:cubicBezTo>
                    <a:pt x="739" y="1102"/>
                    <a:pt x="739" y="1102"/>
                    <a:pt x="739" y="1102"/>
                  </a:cubicBezTo>
                  <a:cubicBezTo>
                    <a:pt x="739" y="1102"/>
                    <a:pt x="739" y="1102"/>
                    <a:pt x="739" y="1102"/>
                  </a:cubicBezTo>
                  <a:cubicBezTo>
                    <a:pt x="740" y="1102"/>
                    <a:pt x="740" y="1102"/>
                    <a:pt x="740" y="1102"/>
                  </a:cubicBezTo>
                  <a:cubicBezTo>
                    <a:pt x="740" y="1102"/>
                    <a:pt x="740" y="1102"/>
                    <a:pt x="740" y="1102"/>
                  </a:cubicBezTo>
                  <a:cubicBezTo>
                    <a:pt x="740" y="1103"/>
                    <a:pt x="740" y="1103"/>
                    <a:pt x="740" y="1103"/>
                  </a:cubicBezTo>
                  <a:cubicBezTo>
                    <a:pt x="740" y="1103"/>
                    <a:pt x="740" y="1103"/>
                    <a:pt x="740" y="1103"/>
                  </a:cubicBezTo>
                  <a:cubicBezTo>
                    <a:pt x="741" y="1103"/>
                    <a:pt x="741" y="1103"/>
                    <a:pt x="741" y="1103"/>
                  </a:cubicBezTo>
                  <a:cubicBezTo>
                    <a:pt x="741" y="1103"/>
                    <a:pt x="741" y="1103"/>
                    <a:pt x="741" y="1103"/>
                  </a:cubicBezTo>
                  <a:cubicBezTo>
                    <a:pt x="742" y="1103"/>
                    <a:pt x="742" y="1103"/>
                    <a:pt x="742" y="1103"/>
                  </a:cubicBezTo>
                  <a:cubicBezTo>
                    <a:pt x="742" y="1104"/>
                    <a:pt x="742" y="1104"/>
                    <a:pt x="742" y="1104"/>
                  </a:cubicBezTo>
                  <a:cubicBezTo>
                    <a:pt x="742" y="1104"/>
                    <a:pt x="742" y="1104"/>
                    <a:pt x="742" y="1104"/>
                  </a:cubicBezTo>
                  <a:cubicBezTo>
                    <a:pt x="743" y="1105"/>
                    <a:pt x="743" y="1105"/>
                    <a:pt x="743" y="1105"/>
                  </a:cubicBezTo>
                  <a:cubicBezTo>
                    <a:pt x="745" y="1106"/>
                    <a:pt x="745" y="1106"/>
                    <a:pt x="745" y="1106"/>
                  </a:cubicBezTo>
                  <a:cubicBezTo>
                    <a:pt x="746" y="1107"/>
                    <a:pt x="746" y="1107"/>
                    <a:pt x="746" y="1107"/>
                  </a:cubicBezTo>
                  <a:cubicBezTo>
                    <a:pt x="746" y="1107"/>
                    <a:pt x="746" y="1107"/>
                    <a:pt x="746" y="1107"/>
                  </a:cubicBezTo>
                  <a:cubicBezTo>
                    <a:pt x="746" y="1106"/>
                    <a:pt x="746" y="1106"/>
                    <a:pt x="746" y="1106"/>
                  </a:cubicBezTo>
                  <a:cubicBezTo>
                    <a:pt x="746" y="1106"/>
                    <a:pt x="746" y="1106"/>
                    <a:pt x="746" y="1106"/>
                  </a:cubicBezTo>
                  <a:cubicBezTo>
                    <a:pt x="746" y="1107"/>
                    <a:pt x="746" y="1107"/>
                    <a:pt x="746" y="1107"/>
                  </a:cubicBezTo>
                  <a:cubicBezTo>
                    <a:pt x="746" y="1107"/>
                    <a:pt x="746" y="1107"/>
                    <a:pt x="746" y="1107"/>
                  </a:cubicBezTo>
                  <a:cubicBezTo>
                    <a:pt x="746" y="1107"/>
                    <a:pt x="746" y="1107"/>
                    <a:pt x="746" y="1107"/>
                  </a:cubicBezTo>
                  <a:cubicBezTo>
                    <a:pt x="745" y="1107"/>
                    <a:pt x="745" y="1107"/>
                    <a:pt x="745" y="1107"/>
                  </a:cubicBezTo>
                  <a:cubicBezTo>
                    <a:pt x="744" y="1106"/>
                    <a:pt x="744" y="1106"/>
                    <a:pt x="744" y="1106"/>
                  </a:cubicBezTo>
                  <a:cubicBezTo>
                    <a:pt x="745" y="1107"/>
                    <a:pt x="745" y="1107"/>
                    <a:pt x="745" y="1107"/>
                  </a:cubicBezTo>
                  <a:cubicBezTo>
                    <a:pt x="746" y="1107"/>
                    <a:pt x="746" y="1107"/>
                    <a:pt x="746" y="1107"/>
                  </a:cubicBezTo>
                  <a:cubicBezTo>
                    <a:pt x="746" y="1108"/>
                    <a:pt x="746" y="1108"/>
                    <a:pt x="746" y="1108"/>
                  </a:cubicBezTo>
                  <a:cubicBezTo>
                    <a:pt x="747" y="1108"/>
                    <a:pt x="747" y="1108"/>
                    <a:pt x="747" y="1108"/>
                  </a:cubicBezTo>
                  <a:cubicBezTo>
                    <a:pt x="747" y="1109"/>
                    <a:pt x="747" y="1109"/>
                    <a:pt x="747" y="1109"/>
                  </a:cubicBezTo>
                  <a:cubicBezTo>
                    <a:pt x="749" y="1109"/>
                    <a:pt x="749" y="1109"/>
                    <a:pt x="749" y="1109"/>
                  </a:cubicBezTo>
                  <a:cubicBezTo>
                    <a:pt x="749" y="1109"/>
                    <a:pt x="749" y="1109"/>
                    <a:pt x="749" y="1109"/>
                  </a:cubicBezTo>
                  <a:cubicBezTo>
                    <a:pt x="750" y="1110"/>
                    <a:pt x="750" y="1110"/>
                    <a:pt x="750" y="1110"/>
                  </a:cubicBezTo>
                  <a:cubicBezTo>
                    <a:pt x="751" y="1110"/>
                    <a:pt x="751" y="1110"/>
                    <a:pt x="751" y="1110"/>
                  </a:cubicBezTo>
                  <a:cubicBezTo>
                    <a:pt x="751" y="1111"/>
                    <a:pt x="751" y="1111"/>
                    <a:pt x="751" y="1111"/>
                  </a:cubicBezTo>
                  <a:cubicBezTo>
                    <a:pt x="752" y="1111"/>
                    <a:pt x="752" y="1111"/>
                    <a:pt x="752" y="1111"/>
                  </a:cubicBezTo>
                  <a:cubicBezTo>
                    <a:pt x="752" y="1111"/>
                    <a:pt x="752" y="1111"/>
                    <a:pt x="752" y="1111"/>
                  </a:cubicBezTo>
                  <a:cubicBezTo>
                    <a:pt x="752" y="1112"/>
                    <a:pt x="752" y="1112"/>
                    <a:pt x="752" y="1112"/>
                  </a:cubicBezTo>
                  <a:cubicBezTo>
                    <a:pt x="752" y="1112"/>
                    <a:pt x="752" y="1112"/>
                    <a:pt x="752" y="1112"/>
                  </a:cubicBezTo>
                  <a:cubicBezTo>
                    <a:pt x="753" y="1112"/>
                    <a:pt x="753" y="1112"/>
                    <a:pt x="753" y="1112"/>
                  </a:cubicBezTo>
                  <a:cubicBezTo>
                    <a:pt x="753" y="1112"/>
                    <a:pt x="753" y="1112"/>
                    <a:pt x="753" y="1112"/>
                  </a:cubicBezTo>
                  <a:cubicBezTo>
                    <a:pt x="754" y="1112"/>
                    <a:pt x="754" y="1112"/>
                    <a:pt x="754" y="1112"/>
                  </a:cubicBezTo>
                  <a:cubicBezTo>
                    <a:pt x="754" y="1112"/>
                    <a:pt x="754" y="1112"/>
                    <a:pt x="754" y="1112"/>
                  </a:cubicBezTo>
                  <a:cubicBezTo>
                    <a:pt x="754" y="1112"/>
                    <a:pt x="754" y="1112"/>
                    <a:pt x="754" y="1112"/>
                  </a:cubicBezTo>
                  <a:cubicBezTo>
                    <a:pt x="754" y="1112"/>
                    <a:pt x="754" y="1112"/>
                    <a:pt x="754" y="1112"/>
                  </a:cubicBezTo>
                  <a:cubicBezTo>
                    <a:pt x="754" y="1112"/>
                    <a:pt x="754" y="1112"/>
                    <a:pt x="754" y="1112"/>
                  </a:cubicBezTo>
                  <a:cubicBezTo>
                    <a:pt x="754" y="1113"/>
                    <a:pt x="754" y="1113"/>
                    <a:pt x="754" y="1113"/>
                  </a:cubicBezTo>
                  <a:cubicBezTo>
                    <a:pt x="754" y="1113"/>
                    <a:pt x="754" y="1113"/>
                    <a:pt x="754" y="1113"/>
                  </a:cubicBezTo>
                  <a:cubicBezTo>
                    <a:pt x="754" y="1113"/>
                    <a:pt x="754" y="1113"/>
                    <a:pt x="754" y="1113"/>
                  </a:cubicBezTo>
                  <a:cubicBezTo>
                    <a:pt x="754" y="1113"/>
                    <a:pt x="754" y="1113"/>
                    <a:pt x="754" y="1113"/>
                  </a:cubicBezTo>
                  <a:cubicBezTo>
                    <a:pt x="754" y="1114"/>
                    <a:pt x="754" y="1114"/>
                    <a:pt x="754" y="1114"/>
                  </a:cubicBezTo>
                  <a:cubicBezTo>
                    <a:pt x="754" y="1114"/>
                    <a:pt x="754" y="1114"/>
                    <a:pt x="754" y="1114"/>
                  </a:cubicBezTo>
                  <a:cubicBezTo>
                    <a:pt x="754" y="1114"/>
                    <a:pt x="754" y="1114"/>
                    <a:pt x="754" y="1114"/>
                  </a:cubicBezTo>
                  <a:cubicBezTo>
                    <a:pt x="754" y="1113"/>
                    <a:pt x="754" y="1113"/>
                    <a:pt x="754" y="1113"/>
                  </a:cubicBezTo>
                  <a:cubicBezTo>
                    <a:pt x="753" y="1113"/>
                    <a:pt x="753" y="1113"/>
                    <a:pt x="753" y="1113"/>
                  </a:cubicBezTo>
                  <a:cubicBezTo>
                    <a:pt x="753" y="1114"/>
                    <a:pt x="753" y="1114"/>
                    <a:pt x="753" y="1114"/>
                  </a:cubicBezTo>
                  <a:cubicBezTo>
                    <a:pt x="753" y="1114"/>
                    <a:pt x="753" y="1114"/>
                    <a:pt x="753" y="1114"/>
                  </a:cubicBezTo>
                  <a:cubicBezTo>
                    <a:pt x="755" y="1114"/>
                    <a:pt x="755" y="1114"/>
                    <a:pt x="755" y="1114"/>
                  </a:cubicBezTo>
                  <a:cubicBezTo>
                    <a:pt x="755" y="1114"/>
                    <a:pt x="755" y="1114"/>
                    <a:pt x="755" y="1114"/>
                  </a:cubicBezTo>
                  <a:cubicBezTo>
                    <a:pt x="754" y="1114"/>
                    <a:pt x="754" y="1114"/>
                    <a:pt x="754" y="1114"/>
                  </a:cubicBezTo>
                  <a:cubicBezTo>
                    <a:pt x="753" y="1115"/>
                    <a:pt x="753" y="1115"/>
                    <a:pt x="753" y="1115"/>
                  </a:cubicBezTo>
                  <a:cubicBezTo>
                    <a:pt x="753" y="1115"/>
                    <a:pt x="753" y="1115"/>
                    <a:pt x="753" y="1115"/>
                  </a:cubicBezTo>
                  <a:cubicBezTo>
                    <a:pt x="753" y="1115"/>
                    <a:pt x="753" y="1115"/>
                    <a:pt x="753" y="1115"/>
                  </a:cubicBezTo>
                  <a:cubicBezTo>
                    <a:pt x="753" y="1116"/>
                    <a:pt x="753" y="1116"/>
                    <a:pt x="753" y="1116"/>
                  </a:cubicBezTo>
                  <a:cubicBezTo>
                    <a:pt x="753" y="1116"/>
                    <a:pt x="753" y="1116"/>
                    <a:pt x="753" y="1116"/>
                  </a:cubicBezTo>
                  <a:cubicBezTo>
                    <a:pt x="753" y="1116"/>
                    <a:pt x="753" y="1116"/>
                    <a:pt x="753" y="1116"/>
                  </a:cubicBezTo>
                  <a:cubicBezTo>
                    <a:pt x="754" y="1116"/>
                    <a:pt x="754" y="1116"/>
                    <a:pt x="754" y="1116"/>
                  </a:cubicBezTo>
                  <a:cubicBezTo>
                    <a:pt x="754" y="1116"/>
                    <a:pt x="754" y="1116"/>
                    <a:pt x="754" y="1116"/>
                  </a:cubicBezTo>
                  <a:cubicBezTo>
                    <a:pt x="753" y="1116"/>
                    <a:pt x="753" y="1116"/>
                    <a:pt x="753" y="1116"/>
                  </a:cubicBezTo>
                  <a:cubicBezTo>
                    <a:pt x="753" y="1116"/>
                    <a:pt x="753" y="1116"/>
                    <a:pt x="753" y="1116"/>
                  </a:cubicBezTo>
                  <a:cubicBezTo>
                    <a:pt x="753" y="1117"/>
                    <a:pt x="753" y="1117"/>
                    <a:pt x="753" y="1117"/>
                  </a:cubicBezTo>
                  <a:cubicBezTo>
                    <a:pt x="754" y="1117"/>
                    <a:pt x="754" y="1117"/>
                    <a:pt x="754" y="1117"/>
                  </a:cubicBezTo>
                  <a:cubicBezTo>
                    <a:pt x="754" y="1117"/>
                    <a:pt x="754" y="1117"/>
                    <a:pt x="754" y="1117"/>
                  </a:cubicBezTo>
                  <a:cubicBezTo>
                    <a:pt x="754" y="1117"/>
                    <a:pt x="754" y="1117"/>
                    <a:pt x="754" y="1117"/>
                  </a:cubicBezTo>
                  <a:cubicBezTo>
                    <a:pt x="753" y="1117"/>
                    <a:pt x="753" y="1117"/>
                    <a:pt x="753" y="1117"/>
                  </a:cubicBezTo>
                  <a:cubicBezTo>
                    <a:pt x="754" y="1118"/>
                    <a:pt x="754" y="1118"/>
                    <a:pt x="754" y="1118"/>
                  </a:cubicBezTo>
                  <a:cubicBezTo>
                    <a:pt x="754" y="1118"/>
                    <a:pt x="754" y="1118"/>
                    <a:pt x="754" y="1118"/>
                  </a:cubicBezTo>
                  <a:cubicBezTo>
                    <a:pt x="755" y="1118"/>
                    <a:pt x="755" y="1118"/>
                    <a:pt x="755" y="1118"/>
                  </a:cubicBezTo>
                  <a:cubicBezTo>
                    <a:pt x="755" y="1118"/>
                    <a:pt x="755" y="1118"/>
                    <a:pt x="755" y="1118"/>
                  </a:cubicBezTo>
                  <a:cubicBezTo>
                    <a:pt x="755" y="1118"/>
                    <a:pt x="755" y="1118"/>
                    <a:pt x="755" y="1118"/>
                  </a:cubicBezTo>
                  <a:cubicBezTo>
                    <a:pt x="755" y="1118"/>
                    <a:pt x="755" y="1118"/>
                    <a:pt x="755" y="1118"/>
                  </a:cubicBezTo>
                  <a:cubicBezTo>
                    <a:pt x="755" y="1118"/>
                    <a:pt x="755" y="1118"/>
                    <a:pt x="755" y="1118"/>
                  </a:cubicBezTo>
                  <a:cubicBezTo>
                    <a:pt x="755" y="1118"/>
                    <a:pt x="755" y="1118"/>
                    <a:pt x="755" y="1118"/>
                  </a:cubicBezTo>
                  <a:cubicBezTo>
                    <a:pt x="755" y="1119"/>
                    <a:pt x="755" y="1119"/>
                    <a:pt x="755" y="1119"/>
                  </a:cubicBezTo>
                  <a:cubicBezTo>
                    <a:pt x="755" y="1119"/>
                    <a:pt x="755" y="1119"/>
                    <a:pt x="755" y="1119"/>
                  </a:cubicBezTo>
                  <a:cubicBezTo>
                    <a:pt x="755" y="1119"/>
                    <a:pt x="755" y="1119"/>
                    <a:pt x="755" y="1119"/>
                  </a:cubicBezTo>
                  <a:cubicBezTo>
                    <a:pt x="755" y="1119"/>
                    <a:pt x="755" y="1119"/>
                    <a:pt x="755" y="1119"/>
                  </a:cubicBezTo>
                  <a:cubicBezTo>
                    <a:pt x="755" y="1119"/>
                    <a:pt x="755" y="1119"/>
                    <a:pt x="755" y="1119"/>
                  </a:cubicBezTo>
                  <a:cubicBezTo>
                    <a:pt x="755" y="1120"/>
                    <a:pt x="755" y="1120"/>
                    <a:pt x="755" y="1120"/>
                  </a:cubicBezTo>
                  <a:cubicBezTo>
                    <a:pt x="755" y="1120"/>
                    <a:pt x="755" y="1120"/>
                    <a:pt x="755" y="1120"/>
                  </a:cubicBezTo>
                  <a:cubicBezTo>
                    <a:pt x="755" y="1119"/>
                    <a:pt x="755" y="1119"/>
                    <a:pt x="755" y="1119"/>
                  </a:cubicBezTo>
                  <a:cubicBezTo>
                    <a:pt x="755" y="1119"/>
                    <a:pt x="755" y="1119"/>
                    <a:pt x="755" y="1119"/>
                  </a:cubicBezTo>
                  <a:cubicBezTo>
                    <a:pt x="755" y="1120"/>
                    <a:pt x="755" y="1120"/>
                    <a:pt x="755" y="1120"/>
                  </a:cubicBezTo>
                  <a:cubicBezTo>
                    <a:pt x="756" y="1120"/>
                    <a:pt x="756" y="1120"/>
                    <a:pt x="756" y="1120"/>
                  </a:cubicBezTo>
                  <a:cubicBezTo>
                    <a:pt x="756" y="1120"/>
                    <a:pt x="756" y="1120"/>
                    <a:pt x="756" y="1120"/>
                  </a:cubicBezTo>
                  <a:cubicBezTo>
                    <a:pt x="756" y="1120"/>
                    <a:pt x="756" y="1120"/>
                    <a:pt x="756" y="1120"/>
                  </a:cubicBezTo>
                  <a:cubicBezTo>
                    <a:pt x="756" y="1120"/>
                    <a:pt x="756" y="1120"/>
                    <a:pt x="756" y="1120"/>
                  </a:cubicBezTo>
                  <a:cubicBezTo>
                    <a:pt x="757" y="1120"/>
                    <a:pt x="757" y="1120"/>
                    <a:pt x="757" y="1120"/>
                  </a:cubicBezTo>
                  <a:cubicBezTo>
                    <a:pt x="757" y="1120"/>
                    <a:pt x="757" y="1120"/>
                    <a:pt x="757" y="1120"/>
                  </a:cubicBezTo>
                  <a:cubicBezTo>
                    <a:pt x="758" y="1120"/>
                    <a:pt x="758" y="1120"/>
                    <a:pt x="758" y="1120"/>
                  </a:cubicBezTo>
                  <a:cubicBezTo>
                    <a:pt x="759" y="1121"/>
                    <a:pt x="759" y="1121"/>
                    <a:pt x="759" y="1121"/>
                  </a:cubicBezTo>
                  <a:cubicBezTo>
                    <a:pt x="759" y="1121"/>
                    <a:pt x="759" y="1121"/>
                    <a:pt x="759" y="1121"/>
                  </a:cubicBezTo>
                  <a:cubicBezTo>
                    <a:pt x="759" y="1120"/>
                    <a:pt x="759" y="1120"/>
                    <a:pt x="759" y="1120"/>
                  </a:cubicBezTo>
                  <a:cubicBezTo>
                    <a:pt x="761" y="1120"/>
                    <a:pt x="761" y="1120"/>
                    <a:pt x="761" y="1120"/>
                  </a:cubicBezTo>
                  <a:cubicBezTo>
                    <a:pt x="761" y="1120"/>
                    <a:pt x="761" y="1120"/>
                    <a:pt x="761" y="1120"/>
                  </a:cubicBezTo>
                  <a:cubicBezTo>
                    <a:pt x="760" y="1119"/>
                    <a:pt x="760" y="1119"/>
                    <a:pt x="760" y="1119"/>
                  </a:cubicBezTo>
                  <a:cubicBezTo>
                    <a:pt x="759" y="1119"/>
                    <a:pt x="759" y="1119"/>
                    <a:pt x="759" y="1119"/>
                  </a:cubicBezTo>
                  <a:cubicBezTo>
                    <a:pt x="759" y="1119"/>
                    <a:pt x="759" y="1119"/>
                    <a:pt x="759" y="1119"/>
                  </a:cubicBezTo>
                  <a:cubicBezTo>
                    <a:pt x="763" y="1119"/>
                    <a:pt x="763" y="1119"/>
                    <a:pt x="763" y="1119"/>
                  </a:cubicBezTo>
                  <a:cubicBezTo>
                    <a:pt x="764" y="1118"/>
                    <a:pt x="764" y="1118"/>
                    <a:pt x="764" y="1118"/>
                  </a:cubicBezTo>
                  <a:cubicBezTo>
                    <a:pt x="765" y="1118"/>
                    <a:pt x="765" y="1118"/>
                    <a:pt x="765" y="1118"/>
                  </a:cubicBezTo>
                  <a:cubicBezTo>
                    <a:pt x="765" y="1118"/>
                    <a:pt x="765" y="1118"/>
                    <a:pt x="765" y="1118"/>
                  </a:cubicBezTo>
                  <a:cubicBezTo>
                    <a:pt x="766" y="1118"/>
                    <a:pt x="766" y="1118"/>
                    <a:pt x="766" y="1118"/>
                  </a:cubicBezTo>
                  <a:cubicBezTo>
                    <a:pt x="766" y="1118"/>
                    <a:pt x="766" y="1118"/>
                    <a:pt x="766" y="1118"/>
                  </a:cubicBezTo>
                  <a:cubicBezTo>
                    <a:pt x="769" y="1118"/>
                    <a:pt x="769" y="1118"/>
                    <a:pt x="769" y="1118"/>
                  </a:cubicBezTo>
                  <a:cubicBezTo>
                    <a:pt x="769" y="1118"/>
                    <a:pt x="769" y="1118"/>
                    <a:pt x="769" y="1118"/>
                  </a:cubicBezTo>
                  <a:cubicBezTo>
                    <a:pt x="770" y="1118"/>
                    <a:pt x="770" y="1118"/>
                    <a:pt x="770" y="1118"/>
                  </a:cubicBezTo>
                  <a:cubicBezTo>
                    <a:pt x="769" y="1119"/>
                    <a:pt x="769" y="1119"/>
                    <a:pt x="769" y="1119"/>
                  </a:cubicBezTo>
                  <a:cubicBezTo>
                    <a:pt x="769" y="1119"/>
                    <a:pt x="769" y="1119"/>
                    <a:pt x="769" y="1119"/>
                  </a:cubicBezTo>
                  <a:cubicBezTo>
                    <a:pt x="768" y="1119"/>
                    <a:pt x="768" y="1119"/>
                    <a:pt x="768" y="1119"/>
                  </a:cubicBezTo>
                  <a:cubicBezTo>
                    <a:pt x="767" y="1119"/>
                    <a:pt x="767" y="1119"/>
                    <a:pt x="767" y="1119"/>
                  </a:cubicBezTo>
                  <a:cubicBezTo>
                    <a:pt x="767" y="1119"/>
                    <a:pt x="767" y="1119"/>
                    <a:pt x="767" y="1119"/>
                  </a:cubicBezTo>
                  <a:cubicBezTo>
                    <a:pt x="770" y="1119"/>
                    <a:pt x="770" y="1119"/>
                    <a:pt x="770" y="1119"/>
                  </a:cubicBezTo>
                  <a:cubicBezTo>
                    <a:pt x="771" y="1120"/>
                    <a:pt x="771" y="1120"/>
                    <a:pt x="771" y="1120"/>
                  </a:cubicBezTo>
                  <a:cubicBezTo>
                    <a:pt x="771" y="1119"/>
                    <a:pt x="771" y="1119"/>
                    <a:pt x="771" y="1119"/>
                  </a:cubicBezTo>
                  <a:cubicBezTo>
                    <a:pt x="771" y="1119"/>
                    <a:pt x="771" y="1119"/>
                    <a:pt x="771" y="1119"/>
                  </a:cubicBezTo>
                  <a:cubicBezTo>
                    <a:pt x="772" y="1119"/>
                    <a:pt x="772" y="1119"/>
                    <a:pt x="772" y="1119"/>
                  </a:cubicBezTo>
                  <a:cubicBezTo>
                    <a:pt x="772" y="1119"/>
                    <a:pt x="772" y="1119"/>
                    <a:pt x="772" y="1119"/>
                  </a:cubicBezTo>
                  <a:cubicBezTo>
                    <a:pt x="772" y="1120"/>
                    <a:pt x="772" y="1120"/>
                    <a:pt x="772" y="1120"/>
                  </a:cubicBezTo>
                  <a:cubicBezTo>
                    <a:pt x="772" y="1120"/>
                    <a:pt x="772" y="1120"/>
                    <a:pt x="772" y="1120"/>
                  </a:cubicBezTo>
                  <a:cubicBezTo>
                    <a:pt x="775" y="1122"/>
                    <a:pt x="775" y="1122"/>
                    <a:pt x="775" y="1122"/>
                  </a:cubicBezTo>
                  <a:cubicBezTo>
                    <a:pt x="776" y="1122"/>
                    <a:pt x="776" y="1122"/>
                    <a:pt x="776" y="1122"/>
                  </a:cubicBezTo>
                  <a:cubicBezTo>
                    <a:pt x="778" y="1123"/>
                    <a:pt x="778" y="1123"/>
                    <a:pt x="778" y="1123"/>
                  </a:cubicBezTo>
                  <a:cubicBezTo>
                    <a:pt x="782" y="1124"/>
                    <a:pt x="782" y="1124"/>
                    <a:pt x="782" y="1124"/>
                  </a:cubicBezTo>
                  <a:cubicBezTo>
                    <a:pt x="782" y="1124"/>
                    <a:pt x="782" y="1124"/>
                    <a:pt x="782" y="1124"/>
                  </a:cubicBezTo>
                  <a:cubicBezTo>
                    <a:pt x="783" y="1124"/>
                    <a:pt x="783" y="1124"/>
                    <a:pt x="783" y="1124"/>
                  </a:cubicBezTo>
                  <a:cubicBezTo>
                    <a:pt x="783" y="1124"/>
                    <a:pt x="783" y="1124"/>
                    <a:pt x="783" y="1124"/>
                  </a:cubicBezTo>
                  <a:cubicBezTo>
                    <a:pt x="784" y="1125"/>
                    <a:pt x="784" y="1125"/>
                    <a:pt x="784" y="1125"/>
                  </a:cubicBezTo>
                  <a:cubicBezTo>
                    <a:pt x="787" y="1129"/>
                    <a:pt x="787" y="1129"/>
                    <a:pt x="787" y="1129"/>
                  </a:cubicBezTo>
                  <a:cubicBezTo>
                    <a:pt x="787" y="1129"/>
                    <a:pt x="787" y="1129"/>
                    <a:pt x="787" y="1129"/>
                  </a:cubicBezTo>
                  <a:cubicBezTo>
                    <a:pt x="787" y="1129"/>
                    <a:pt x="787" y="1129"/>
                    <a:pt x="787" y="1129"/>
                  </a:cubicBezTo>
                  <a:cubicBezTo>
                    <a:pt x="787" y="1129"/>
                    <a:pt x="787" y="1129"/>
                    <a:pt x="787" y="1129"/>
                  </a:cubicBezTo>
                  <a:cubicBezTo>
                    <a:pt x="787" y="1129"/>
                    <a:pt x="787" y="1129"/>
                    <a:pt x="787" y="1129"/>
                  </a:cubicBezTo>
                  <a:cubicBezTo>
                    <a:pt x="787" y="1129"/>
                    <a:pt x="787" y="1129"/>
                    <a:pt x="787" y="1129"/>
                  </a:cubicBezTo>
                  <a:cubicBezTo>
                    <a:pt x="787" y="1130"/>
                    <a:pt x="787" y="1130"/>
                    <a:pt x="787" y="1130"/>
                  </a:cubicBezTo>
                  <a:cubicBezTo>
                    <a:pt x="788" y="1130"/>
                    <a:pt x="788" y="1130"/>
                    <a:pt x="788" y="1130"/>
                  </a:cubicBezTo>
                  <a:cubicBezTo>
                    <a:pt x="788" y="1130"/>
                    <a:pt x="788" y="1130"/>
                    <a:pt x="788" y="1130"/>
                  </a:cubicBezTo>
                  <a:cubicBezTo>
                    <a:pt x="788" y="1131"/>
                    <a:pt x="788" y="1131"/>
                    <a:pt x="788" y="1131"/>
                  </a:cubicBezTo>
                  <a:cubicBezTo>
                    <a:pt x="789" y="1131"/>
                    <a:pt x="789" y="1131"/>
                    <a:pt x="789" y="1131"/>
                  </a:cubicBezTo>
                  <a:cubicBezTo>
                    <a:pt x="789" y="1131"/>
                    <a:pt x="789" y="1131"/>
                    <a:pt x="789" y="1131"/>
                  </a:cubicBezTo>
                  <a:cubicBezTo>
                    <a:pt x="789" y="1131"/>
                    <a:pt x="789" y="1131"/>
                    <a:pt x="789" y="1131"/>
                  </a:cubicBezTo>
                  <a:cubicBezTo>
                    <a:pt x="789" y="1132"/>
                    <a:pt x="789" y="1132"/>
                    <a:pt x="789" y="1132"/>
                  </a:cubicBezTo>
                  <a:cubicBezTo>
                    <a:pt x="789" y="1132"/>
                    <a:pt x="789" y="1132"/>
                    <a:pt x="789" y="1132"/>
                  </a:cubicBezTo>
                  <a:cubicBezTo>
                    <a:pt x="790" y="1132"/>
                    <a:pt x="790" y="1132"/>
                    <a:pt x="790" y="1132"/>
                  </a:cubicBezTo>
                  <a:cubicBezTo>
                    <a:pt x="791" y="1133"/>
                    <a:pt x="791" y="1133"/>
                    <a:pt x="791" y="1133"/>
                  </a:cubicBezTo>
                  <a:cubicBezTo>
                    <a:pt x="795" y="1135"/>
                    <a:pt x="795" y="1135"/>
                    <a:pt x="795" y="1135"/>
                  </a:cubicBezTo>
                  <a:cubicBezTo>
                    <a:pt x="797" y="1137"/>
                    <a:pt x="797" y="1137"/>
                    <a:pt x="797" y="1137"/>
                  </a:cubicBezTo>
                  <a:cubicBezTo>
                    <a:pt x="798" y="1138"/>
                    <a:pt x="798" y="1138"/>
                    <a:pt x="798" y="1138"/>
                  </a:cubicBezTo>
                  <a:cubicBezTo>
                    <a:pt x="798" y="1138"/>
                    <a:pt x="798" y="1138"/>
                    <a:pt x="798" y="1138"/>
                  </a:cubicBezTo>
                  <a:cubicBezTo>
                    <a:pt x="798" y="1138"/>
                    <a:pt x="798" y="1138"/>
                    <a:pt x="798" y="1138"/>
                  </a:cubicBezTo>
                  <a:cubicBezTo>
                    <a:pt x="799" y="1138"/>
                    <a:pt x="799" y="1138"/>
                    <a:pt x="799" y="1138"/>
                  </a:cubicBezTo>
                  <a:cubicBezTo>
                    <a:pt x="798" y="1139"/>
                    <a:pt x="798" y="1139"/>
                    <a:pt x="798" y="1139"/>
                  </a:cubicBezTo>
                  <a:cubicBezTo>
                    <a:pt x="799" y="1139"/>
                    <a:pt x="799" y="1139"/>
                    <a:pt x="799" y="1139"/>
                  </a:cubicBezTo>
                  <a:cubicBezTo>
                    <a:pt x="799" y="1139"/>
                    <a:pt x="799" y="1139"/>
                    <a:pt x="799" y="1139"/>
                  </a:cubicBezTo>
                  <a:cubicBezTo>
                    <a:pt x="799" y="1139"/>
                    <a:pt x="799" y="1139"/>
                    <a:pt x="799" y="1139"/>
                  </a:cubicBezTo>
                  <a:cubicBezTo>
                    <a:pt x="799" y="1139"/>
                    <a:pt x="799" y="1139"/>
                    <a:pt x="799" y="1139"/>
                  </a:cubicBezTo>
                  <a:cubicBezTo>
                    <a:pt x="799" y="1139"/>
                    <a:pt x="799" y="1139"/>
                    <a:pt x="799" y="1139"/>
                  </a:cubicBezTo>
                  <a:cubicBezTo>
                    <a:pt x="799" y="1139"/>
                    <a:pt x="799" y="1139"/>
                    <a:pt x="799" y="1139"/>
                  </a:cubicBezTo>
                  <a:cubicBezTo>
                    <a:pt x="800" y="1139"/>
                    <a:pt x="800" y="1139"/>
                    <a:pt x="800" y="1139"/>
                  </a:cubicBezTo>
                  <a:cubicBezTo>
                    <a:pt x="800" y="1139"/>
                    <a:pt x="800" y="1139"/>
                    <a:pt x="800" y="1139"/>
                  </a:cubicBezTo>
                  <a:cubicBezTo>
                    <a:pt x="801" y="1139"/>
                    <a:pt x="801" y="1139"/>
                    <a:pt x="801" y="1139"/>
                  </a:cubicBezTo>
                  <a:cubicBezTo>
                    <a:pt x="800" y="1139"/>
                    <a:pt x="800" y="1139"/>
                    <a:pt x="800" y="1139"/>
                  </a:cubicBezTo>
                  <a:cubicBezTo>
                    <a:pt x="800" y="1140"/>
                    <a:pt x="800" y="1140"/>
                    <a:pt x="800" y="1140"/>
                  </a:cubicBezTo>
                  <a:cubicBezTo>
                    <a:pt x="800" y="1140"/>
                    <a:pt x="800" y="1140"/>
                    <a:pt x="800" y="1140"/>
                  </a:cubicBezTo>
                  <a:cubicBezTo>
                    <a:pt x="800" y="1141"/>
                    <a:pt x="800" y="1141"/>
                    <a:pt x="800" y="1141"/>
                  </a:cubicBezTo>
                  <a:cubicBezTo>
                    <a:pt x="801" y="1141"/>
                    <a:pt x="801" y="1141"/>
                    <a:pt x="801" y="1141"/>
                  </a:cubicBezTo>
                  <a:cubicBezTo>
                    <a:pt x="801" y="1142"/>
                    <a:pt x="801" y="1142"/>
                    <a:pt x="801" y="1142"/>
                  </a:cubicBezTo>
                  <a:cubicBezTo>
                    <a:pt x="802" y="1142"/>
                    <a:pt x="802" y="1142"/>
                    <a:pt x="802" y="1142"/>
                  </a:cubicBezTo>
                  <a:cubicBezTo>
                    <a:pt x="802" y="1142"/>
                    <a:pt x="802" y="1142"/>
                    <a:pt x="802" y="1142"/>
                  </a:cubicBezTo>
                  <a:cubicBezTo>
                    <a:pt x="803" y="1143"/>
                    <a:pt x="803" y="1143"/>
                    <a:pt x="803" y="1143"/>
                  </a:cubicBezTo>
                  <a:cubicBezTo>
                    <a:pt x="803" y="1143"/>
                    <a:pt x="803" y="1143"/>
                    <a:pt x="803" y="1143"/>
                  </a:cubicBezTo>
                  <a:cubicBezTo>
                    <a:pt x="804" y="1143"/>
                    <a:pt x="804" y="1143"/>
                    <a:pt x="804" y="1143"/>
                  </a:cubicBezTo>
                  <a:cubicBezTo>
                    <a:pt x="805" y="1143"/>
                    <a:pt x="805" y="1143"/>
                    <a:pt x="805" y="1143"/>
                  </a:cubicBezTo>
                  <a:cubicBezTo>
                    <a:pt x="805" y="1142"/>
                    <a:pt x="805" y="1142"/>
                    <a:pt x="805" y="1142"/>
                  </a:cubicBezTo>
                  <a:cubicBezTo>
                    <a:pt x="806" y="1142"/>
                    <a:pt x="806" y="1142"/>
                    <a:pt x="806" y="1142"/>
                  </a:cubicBezTo>
                  <a:cubicBezTo>
                    <a:pt x="806" y="1142"/>
                    <a:pt x="806" y="1142"/>
                    <a:pt x="806" y="1142"/>
                  </a:cubicBezTo>
                  <a:cubicBezTo>
                    <a:pt x="808" y="1143"/>
                    <a:pt x="808" y="1143"/>
                    <a:pt x="808" y="1143"/>
                  </a:cubicBezTo>
                  <a:cubicBezTo>
                    <a:pt x="808" y="1143"/>
                    <a:pt x="808" y="1143"/>
                    <a:pt x="808" y="1143"/>
                  </a:cubicBezTo>
                  <a:cubicBezTo>
                    <a:pt x="808" y="1143"/>
                    <a:pt x="808" y="1143"/>
                    <a:pt x="808" y="1143"/>
                  </a:cubicBezTo>
                  <a:cubicBezTo>
                    <a:pt x="809" y="1143"/>
                    <a:pt x="809" y="1143"/>
                    <a:pt x="809" y="1143"/>
                  </a:cubicBezTo>
                  <a:cubicBezTo>
                    <a:pt x="809" y="1143"/>
                    <a:pt x="809" y="1143"/>
                    <a:pt x="809" y="1143"/>
                  </a:cubicBezTo>
                  <a:cubicBezTo>
                    <a:pt x="809" y="1143"/>
                    <a:pt x="809" y="1143"/>
                    <a:pt x="809" y="1143"/>
                  </a:cubicBezTo>
                  <a:cubicBezTo>
                    <a:pt x="809" y="1143"/>
                    <a:pt x="809" y="1143"/>
                    <a:pt x="809" y="1143"/>
                  </a:cubicBezTo>
                  <a:cubicBezTo>
                    <a:pt x="809" y="1144"/>
                    <a:pt x="809" y="1144"/>
                    <a:pt x="809" y="1144"/>
                  </a:cubicBezTo>
                  <a:cubicBezTo>
                    <a:pt x="809" y="1144"/>
                    <a:pt x="809" y="1144"/>
                    <a:pt x="809" y="1144"/>
                  </a:cubicBezTo>
                  <a:cubicBezTo>
                    <a:pt x="809" y="1144"/>
                    <a:pt x="809" y="1144"/>
                    <a:pt x="809" y="1144"/>
                  </a:cubicBezTo>
                  <a:cubicBezTo>
                    <a:pt x="807" y="1144"/>
                    <a:pt x="807" y="1144"/>
                    <a:pt x="807" y="1144"/>
                  </a:cubicBezTo>
                  <a:cubicBezTo>
                    <a:pt x="807" y="1143"/>
                    <a:pt x="807" y="1143"/>
                    <a:pt x="807" y="1143"/>
                  </a:cubicBezTo>
                  <a:cubicBezTo>
                    <a:pt x="806" y="1144"/>
                    <a:pt x="806" y="1144"/>
                    <a:pt x="806" y="1144"/>
                  </a:cubicBezTo>
                  <a:cubicBezTo>
                    <a:pt x="806" y="1144"/>
                    <a:pt x="806" y="1144"/>
                    <a:pt x="806" y="1144"/>
                  </a:cubicBezTo>
                  <a:cubicBezTo>
                    <a:pt x="805" y="1145"/>
                    <a:pt x="805" y="1145"/>
                    <a:pt x="805" y="1145"/>
                  </a:cubicBezTo>
                  <a:cubicBezTo>
                    <a:pt x="806" y="1145"/>
                    <a:pt x="806" y="1145"/>
                    <a:pt x="806" y="1145"/>
                  </a:cubicBezTo>
                  <a:cubicBezTo>
                    <a:pt x="807" y="1145"/>
                    <a:pt x="807" y="1145"/>
                    <a:pt x="807" y="1145"/>
                  </a:cubicBezTo>
                  <a:cubicBezTo>
                    <a:pt x="807" y="1145"/>
                    <a:pt x="807" y="1145"/>
                    <a:pt x="807" y="1145"/>
                  </a:cubicBezTo>
                  <a:cubicBezTo>
                    <a:pt x="807" y="1146"/>
                    <a:pt x="807" y="1146"/>
                    <a:pt x="807" y="1146"/>
                  </a:cubicBezTo>
                  <a:cubicBezTo>
                    <a:pt x="807" y="1146"/>
                    <a:pt x="807" y="1146"/>
                    <a:pt x="807" y="1146"/>
                  </a:cubicBezTo>
                  <a:cubicBezTo>
                    <a:pt x="808" y="1147"/>
                    <a:pt x="808" y="1147"/>
                    <a:pt x="808" y="1147"/>
                  </a:cubicBezTo>
                  <a:cubicBezTo>
                    <a:pt x="807" y="1147"/>
                    <a:pt x="807" y="1147"/>
                    <a:pt x="807" y="1147"/>
                  </a:cubicBezTo>
                  <a:cubicBezTo>
                    <a:pt x="806" y="1145"/>
                    <a:pt x="806" y="1145"/>
                    <a:pt x="806" y="1145"/>
                  </a:cubicBezTo>
                  <a:cubicBezTo>
                    <a:pt x="805" y="1145"/>
                    <a:pt x="805" y="1145"/>
                    <a:pt x="805" y="1145"/>
                  </a:cubicBezTo>
                  <a:cubicBezTo>
                    <a:pt x="805" y="1145"/>
                    <a:pt x="805" y="1145"/>
                    <a:pt x="805" y="1145"/>
                  </a:cubicBezTo>
                  <a:cubicBezTo>
                    <a:pt x="805" y="1145"/>
                    <a:pt x="805" y="1145"/>
                    <a:pt x="805" y="1145"/>
                  </a:cubicBezTo>
                  <a:cubicBezTo>
                    <a:pt x="804" y="1145"/>
                    <a:pt x="804" y="1145"/>
                    <a:pt x="804" y="1145"/>
                  </a:cubicBezTo>
                  <a:cubicBezTo>
                    <a:pt x="803" y="1144"/>
                    <a:pt x="803" y="1144"/>
                    <a:pt x="803" y="1144"/>
                  </a:cubicBezTo>
                  <a:cubicBezTo>
                    <a:pt x="803" y="1144"/>
                    <a:pt x="803" y="1144"/>
                    <a:pt x="803" y="1144"/>
                  </a:cubicBezTo>
                  <a:cubicBezTo>
                    <a:pt x="802" y="1144"/>
                    <a:pt x="802" y="1144"/>
                    <a:pt x="802" y="1144"/>
                  </a:cubicBezTo>
                  <a:cubicBezTo>
                    <a:pt x="802" y="1144"/>
                    <a:pt x="802" y="1144"/>
                    <a:pt x="802" y="1144"/>
                  </a:cubicBezTo>
                  <a:cubicBezTo>
                    <a:pt x="802" y="1144"/>
                    <a:pt x="802" y="1144"/>
                    <a:pt x="802" y="1144"/>
                  </a:cubicBezTo>
                  <a:cubicBezTo>
                    <a:pt x="802" y="1143"/>
                    <a:pt x="802" y="1143"/>
                    <a:pt x="802" y="1143"/>
                  </a:cubicBezTo>
                  <a:cubicBezTo>
                    <a:pt x="801" y="1143"/>
                    <a:pt x="801" y="1143"/>
                    <a:pt x="801" y="1143"/>
                  </a:cubicBezTo>
                  <a:cubicBezTo>
                    <a:pt x="801" y="1144"/>
                    <a:pt x="801" y="1144"/>
                    <a:pt x="801" y="1144"/>
                  </a:cubicBezTo>
                  <a:cubicBezTo>
                    <a:pt x="801" y="1144"/>
                    <a:pt x="801" y="1144"/>
                    <a:pt x="801" y="1144"/>
                  </a:cubicBezTo>
                  <a:cubicBezTo>
                    <a:pt x="801" y="1144"/>
                    <a:pt x="801" y="1144"/>
                    <a:pt x="801" y="1144"/>
                  </a:cubicBezTo>
                  <a:cubicBezTo>
                    <a:pt x="800" y="1143"/>
                    <a:pt x="800" y="1143"/>
                    <a:pt x="800" y="1143"/>
                  </a:cubicBezTo>
                  <a:cubicBezTo>
                    <a:pt x="800" y="1143"/>
                    <a:pt x="800" y="1143"/>
                    <a:pt x="800" y="1143"/>
                  </a:cubicBezTo>
                  <a:cubicBezTo>
                    <a:pt x="800" y="1143"/>
                    <a:pt x="800" y="1143"/>
                    <a:pt x="800" y="1143"/>
                  </a:cubicBezTo>
                  <a:cubicBezTo>
                    <a:pt x="799" y="1143"/>
                    <a:pt x="799" y="1143"/>
                    <a:pt x="799" y="1143"/>
                  </a:cubicBezTo>
                  <a:cubicBezTo>
                    <a:pt x="799" y="1143"/>
                    <a:pt x="799" y="1143"/>
                    <a:pt x="799" y="1143"/>
                  </a:cubicBezTo>
                  <a:cubicBezTo>
                    <a:pt x="799" y="1143"/>
                    <a:pt x="799" y="1143"/>
                    <a:pt x="799" y="1143"/>
                  </a:cubicBezTo>
                  <a:cubicBezTo>
                    <a:pt x="799" y="1143"/>
                    <a:pt x="799" y="1143"/>
                    <a:pt x="799" y="1143"/>
                  </a:cubicBezTo>
                  <a:cubicBezTo>
                    <a:pt x="799" y="1143"/>
                    <a:pt x="799" y="1143"/>
                    <a:pt x="799" y="1143"/>
                  </a:cubicBezTo>
                  <a:cubicBezTo>
                    <a:pt x="798" y="1142"/>
                    <a:pt x="798" y="1142"/>
                    <a:pt x="798" y="1142"/>
                  </a:cubicBezTo>
                  <a:cubicBezTo>
                    <a:pt x="797" y="1141"/>
                    <a:pt x="797" y="1141"/>
                    <a:pt x="797" y="1141"/>
                  </a:cubicBezTo>
                  <a:cubicBezTo>
                    <a:pt x="793" y="1139"/>
                    <a:pt x="793" y="1139"/>
                    <a:pt x="793" y="1139"/>
                  </a:cubicBezTo>
                  <a:cubicBezTo>
                    <a:pt x="790" y="1139"/>
                    <a:pt x="790" y="1139"/>
                    <a:pt x="790" y="1139"/>
                  </a:cubicBezTo>
                  <a:cubicBezTo>
                    <a:pt x="788" y="1139"/>
                    <a:pt x="788" y="1139"/>
                    <a:pt x="788" y="1139"/>
                  </a:cubicBezTo>
                  <a:cubicBezTo>
                    <a:pt x="787" y="1139"/>
                    <a:pt x="787" y="1139"/>
                    <a:pt x="787" y="1139"/>
                  </a:cubicBezTo>
                  <a:cubicBezTo>
                    <a:pt x="786" y="1138"/>
                    <a:pt x="786" y="1138"/>
                    <a:pt x="786" y="1138"/>
                  </a:cubicBezTo>
                  <a:cubicBezTo>
                    <a:pt x="786" y="1138"/>
                    <a:pt x="786" y="1138"/>
                    <a:pt x="786" y="1138"/>
                  </a:cubicBezTo>
                  <a:cubicBezTo>
                    <a:pt x="786" y="1138"/>
                    <a:pt x="786" y="1138"/>
                    <a:pt x="786" y="1138"/>
                  </a:cubicBezTo>
                  <a:cubicBezTo>
                    <a:pt x="786" y="1139"/>
                    <a:pt x="786" y="1139"/>
                    <a:pt x="786" y="1139"/>
                  </a:cubicBezTo>
                  <a:cubicBezTo>
                    <a:pt x="786" y="1139"/>
                    <a:pt x="786" y="1139"/>
                    <a:pt x="786" y="1139"/>
                  </a:cubicBezTo>
                  <a:cubicBezTo>
                    <a:pt x="787" y="1139"/>
                    <a:pt x="787" y="1139"/>
                    <a:pt x="787" y="1139"/>
                  </a:cubicBezTo>
                  <a:cubicBezTo>
                    <a:pt x="787" y="1139"/>
                    <a:pt x="787" y="1139"/>
                    <a:pt x="787" y="1139"/>
                  </a:cubicBezTo>
                  <a:cubicBezTo>
                    <a:pt x="786" y="1140"/>
                    <a:pt x="786" y="1140"/>
                    <a:pt x="786" y="1140"/>
                  </a:cubicBezTo>
                  <a:cubicBezTo>
                    <a:pt x="787" y="1140"/>
                    <a:pt x="787" y="1140"/>
                    <a:pt x="787" y="1140"/>
                  </a:cubicBezTo>
                  <a:cubicBezTo>
                    <a:pt x="787" y="1140"/>
                    <a:pt x="787" y="1140"/>
                    <a:pt x="787" y="1140"/>
                  </a:cubicBezTo>
                  <a:cubicBezTo>
                    <a:pt x="788" y="1141"/>
                    <a:pt x="788" y="1141"/>
                    <a:pt x="788" y="1141"/>
                  </a:cubicBezTo>
                  <a:cubicBezTo>
                    <a:pt x="789" y="1141"/>
                    <a:pt x="789" y="1141"/>
                    <a:pt x="789" y="1141"/>
                  </a:cubicBezTo>
                  <a:cubicBezTo>
                    <a:pt x="792" y="1141"/>
                    <a:pt x="792" y="1141"/>
                    <a:pt x="792" y="1141"/>
                  </a:cubicBezTo>
                  <a:cubicBezTo>
                    <a:pt x="792" y="1141"/>
                    <a:pt x="792" y="1141"/>
                    <a:pt x="792" y="1141"/>
                  </a:cubicBezTo>
                  <a:cubicBezTo>
                    <a:pt x="792" y="1141"/>
                    <a:pt x="792" y="1141"/>
                    <a:pt x="792" y="1141"/>
                  </a:cubicBezTo>
                  <a:cubicBezTo>
                    <a:pt x="793" y="1141"/>
                    <a:pt x="793" y="1141"/>
                    <a:pt x="793" y="1141"/>
                  </a:cubicBezTo>
                  <a:cubicBezTo>
                    <a:pt x="794" y="1142"/>
                    <a:pt x="794" y="1142"/>
                    <a:pt x="794" y="1142"/>
                  </a:cubicBezTo>
                  <a:cubicBezTo>
                    <a:pt x="796" y="1143"/>
                    <a:pt x="796" y="1143"/>
                    <a:pt x="796" y="1143"/>
                  </a:cubicBezTo>
                  <a:cubicBezTo>
                    <a:pt x="798" y="1144"/>
                    <a:pt x="798" y="1144"/>
                    <a:pt x="798" y="1144"/>
                  </a:cubicBezTo>
                  <a:cubicBezTo>
                    <a:pt x="799" y="1144"/>
                    <a:pt x="799" y="1144"/>
                    <a:pt x="799" y="1144"/>
                  </a:cubicBezTo>
                  <a:cubicBezTo>
                    <a:pt x="799" y="1145"/>
                    <a:pt x="799" y="1145"/>
                    <a:pt x="799" y="1145"/>
                  </a:cubicBezTo>
                  <a:cubicBezTo>
                    <a:pt x="801" y="1146"/>
                    <a:pt x="801" y="1146"/>
                    <a:pt x="801" y="1146"/>
                  </a:cubicBezTo>
                  <a:cubicBezTo>
                    <a:pt x="803" y="1147"/>
                    <a:pt x="803" y="1147"/>
                    <a:pt x="803" y="1147"/>
                  </a:cubicBezTo>
                  <a:cubicBezTo>
                    <a:pt x="805" y="1147"/>
                    <a:pt x="805" y="1147"/>
                    <a:pt x="805" y="1147"/>
                  </a:cubicBezTo>
                  <a:cubicBezTo>
                    <a:pt x="806" y="1148"/>
                    <a:pt x="806" y="1148"/>
                    <a:pt x="806" y="1148"/>
                  </a:cubicBezTo>
                  <a:cubicBezTo>
                    <a:pt x="808" y="1148"/>
                    <a:pt x="808" y="1148"/>
                    <a:pt x="808" y="1148"/>
                  </a:cubicBezTo>
                  <a:cubicBezTo>
                    <a:pt x="808" y="1149"/>
                    <a:pt x="808" y="1149"/>
                    <a:pt x="808" y="1149"/>
                  </a:cubicBezTo>
                  <a:cubicBezTo>
                    <a:pt x="808" y="1149"/>
                    <a:pt x="808" y="1149"/>
                    <a:pt x="808" y="1149"/>
                  </a:cubicBezTo>
                  <a:cubicBezTo>
                    <a:pt x="808" y="1149"/>
                    <a:pt x="808" y="1149"/>
                    <a:pt x="808" y="1149"/>
                  </a:cubicBezTo>
                  <a:cubicBezTo>
                    <a:pt x="808" y="1149"/>
                    <a:pt x="808" y="1149"/>
                    <a:pt x="808" y="1149"/>
                  </a:cubicBezTo>
                  <a:cubicBezTo>
                    <a:pt x="808" y="1149"/>
                    <a:pt x="808" y="1149"/>
                    <a:pt x="808" y="1149"/>
                  </a:cubicBezTo>
                  <a:cubicBezTo>
                    <a:pt x="808" y="1149"/>
                    <a:pt x="808" y="1149"/>
                    <a:pt x="808" y="1149"/>
                  </a:cubicBezTo>
                  <a:cubicBezTo>
                    <a:pt x="808" y="1149"/>
                    <a:pt x="808" y="1149"/>
                    <a:pt x="808" y="1149"/>
                  </a:cubicBezTo>
                  <a:cubicBezTo>
                    <a:pt x="808" y="1148"/>
                    <a:pt x="808" y="1148"/>
                    <a:pt x="808" y="1148"/>
                  </a:cubicBezTo>
                  <a:cubicBezTo>
                    <a:pt x="808" y="1148"/>
                    <a:pt x="808" y="1148"/>
                    <a:pt x="808" y="1148"/>
                  </a:cubicBezTo>
                  <a:cubicBezTo>
                    <a:pt x="807" y="1147"/>
                    <a:pt x="807" y="1147"/>
                    <a:pt x="807" y="1147"/>
                  </a:cubicBezTo>
                  <a:cubicBezTo>
                    <a:pt x="808" y="1148"/>
                    <a:pt x="808" y="1148"/>
                    <a:pt x="808" y="1148"/>
                  </a:cubicBezTo>
                  <a:cubicBezTo>
                    <a:pt x="808" y="1148"/>
                    <a:pt x="808" y="1148"/>
                    <a:pt x="808" y="1148"/>
                  </a:cubicBezTo>
                  <a:cubicBezTo>
                    <a:pt x="809" y="1148"/>
                    <a:pt x="809" y="1148"/>
                    <a:pt x="809" y="1148"/>
                  </a:cubicBezTo>
                  <a:cubicBezTo>
                    <a:pt x="809" y="1148"/>
                    <a:pt x="809" y="1148"/>
                    <a:pt x="809" y="1148"/>
                  </a:cubicBezTo>
                  <a:cubicBezTo>
                    <a:pt x="809" y="1148"/>
                    <a:pt x="809" y="1148"/>
                    <a:pt x="809" y="1148"/>
                  </a:cubicBezTo>
                  <a:cubicBezTo>
                    <a:pt x="809" y="1148"/>
                    <a:pt x="809" y="1148"/>
                    <a:pt x="809" y="1148"/>
                  </a:cubicBezTo>
                  <a:cubicBezTo>
                    <a:pt x="809" y="1148"/>
                    <a:pt x="809" y="1148"/>
                    <a:pt x="809" y="1148"/>
                  </a:cubicBezTo>
                  <a:cubicBezTo>
                    <a:pt x="809" y="1148"/>
                    <a:pt x="809" y="1148"/>
                    <a:pt x="809" y="1148"/>
                  </a:cubicBezTo>
                  <a:cubicBezTo>
                    <a:pt x="810" y="1148"/>
                    <a:pt x="810" y="1148"/>
                    <a:pt x="810" y="1148"/>
                  </a:cubicBezTo>
                  <a:cubicBezTo>
                    <a:pt x="810" y="1148"/>
                    <a:pt x="810" y="1148"/>
                    <a:pt x="810" y="1148"/>
                  </a:cubicBezTo>
                  <a:cubicBezTo>
                    <a:pt x="811" y="1148"/>
                    <a:pt x="811" y="1148"/>
                    <a:pt x="811" y="1148"/>
                  </a:cubicBezTo>
                  <a:cubicBezTo>
                    <a:pt x="811" y="1149"/>
                    <a:pt x="811" y="1149"/>
                    <a:pt x="811" y="1149"/>
                  </a:cubicBezTo>
                  <a:cubicBezTo>
                    <a:pt x="812" y="1149"/>
                    <a:pt x="812" y="1149"/>
                    <a:pt x="812" y="1149"/>
                  </a:cubicBezTo>
                  <a:cubicBezTo>
                    <a:pt x="812" y="1150"/>
                    <a:pt x="812" y="1150"/>
                    <a:pt x="812" y="1150"/>
                  </a:cubicBezTo>
                  <a:cubicBezTo>
                    <a:pt x="813" y="1150"/>
                    <a:pt x="813" y="1150"/>
                    <a:pt x="813" y="1150"/>
                  </a:cubicBezTo>
                  <a:cubicBezTo>
                    <a:pt x="815" y="1151"/>
                    <a:pt x="815" y="1151"/>
                    <a:pt x="815" y="1151"/>
                  </a:cubicBezTo>
                  <a:cubicBezTo>
                    <a:pt x="816" y="1152"/>
                    <a:pt x="816" y="1152"/>
                    <a:pt x="816" y="1152"/>
                  </a:cubicBezTo>
                  <a:cubicBezTo>
                    <a:pt x="816" y="1153"/>
                    <a:pt x="816" y="1153"/>
                    <a:pt x="816" y="1153"/>
                  </a:cubicBezTo>
                  <a:cubicBezTo>
                    <a:pt x="817" y="1152"/>
                    <a:pt x="817" y="1152"/>
                    <a:pt x="817" y="1152"/>
                  </a:cubicBezTo>
                  <a:cubicBezTo>
                    <a:pt x="817" y="1153"/>
                    <a:pt x="817" y="1153"/>
                    <a:pt x="817" y="1153"/>
                  </a:cubicBezTo>
                  <a:cubicBezTo>
                    <a:pt x="817" y="1153"/>
                    <a:pt x="817" y="1153"/>
                    <a:pt x="817" y="1153"/>
                  </a:cubicBezTo>
                  <a:cubicBezTo>
                    <a:pt x="818" y="1154"/>
                    <a:pt x="818" y="1154"/>
                    <a:pt x="818" y="1154"/>
                  </a:cubicBezTo>
                  <a:cubicBezTo>
                    <a:pt x="817" y="1154"/>
                    <a:pt x="817" y="1154"/>
                    <a:pt x="817" y="1154"/>
                  </a:cubicBezTo>
                  <a:cubicBezTo>
                    <a:pt x="818" y="1154"/>
                    <a:pt x="818" y="1154"/>
                    <a:pt x="818" y="1154"/>
                  </a:cubicBezTo>
                  <a:cubicBezTo>
                    <a:pt x="818" y="1154"/>
                    <a:pt x="818" y="1154"/>
                    <a:pt x="818" y="1154"/>
                  </a:cubicBezTo>
                  <a:cubicBezTo>
                    <a:pt x="818" y="1155"/>
                    <a:pt x="818" y="1155"/>
                    <a:pt x="818" y="1155"/>
                  </a:cubicBezTo>
                  <a:cubicBezTo>
                    <a:pt x="819" y="1155"/>
                    <a:pt x="819" y="1155"/>
                    <a:pt x="819" y="1155"/>
                  </a:cubicBezTo>
                  <a:cubicBezTo>
                    <a:pt x="819" y="1155"/>
                    <a:pt x="819" y="1155"/>
                    <a:pt x="819" y="1155"/>
                  </a:cubicBezTo>
                  <a:cubicBezTo>
                    <a:pt x="821" y="1155"/>
                    <a:pt x="821" y="1155"/>
                    <a:pt x="821" y="1155"/>
                  </a:cubicBezTo>
                  <a:cubicBezTo>
                    <a:pt x="822" y="1156"/>
                    <a:pt x="822" y="1156"/>
                    <a:pt x="822" y="1156"/>
                  </a:cubicBezTo>
                  <a:cubicBezTo>
                    <a:pt x="822" y="1156"/>
                    <a:pt x="822" y="1156"/>
                    <a:pt x="822" y="1156"/>
                  </a:cubicBezTo>
                  <a:cubicBezTo>
                    <a:pt x="822" y="1156"/>
                    <a:pt x="822" y="1156"/>
                    <a:pt x="822" y="1156"/>
                  </a:cubicBezTo>
                  <a:cubicBezTo>
                    <a:pt x="822" y="1157"/>
                    <a:pt x="822" y="1157"/>
                    <a:pt x="822" y="1157"/>
                  </a:cubicBezTo>
                  <a:cubicBezTo>
                    <a:pt x="822" y="1157"/>
                    <a:pt x="822" y="1157"/>
                    <a:pt x="822" y="1157"/>
                  </a:cubicBezTo>
                  <a:cubicBezTo>
                    <a:pt x="823" y="1158"/>
                    <a:pt x="823" y="1158"/>
                    <a:pt x="823" y="1158"/>
                  </a:cubicBezTo>
                  <a:cubicBezTo>
                    <a:pt x="826" y="1160"/>
                    <a:pt x="826" y="1160"/>
                    <a:pt x="826" y="1160"/>
                  </a:cubicBezTo>
                  <a:cubicBezTo>
                    <a:pt x="826" y="1161"/>
                    <a:pt x="826" y="1161"/>
                    <a:pt x="826" y="1161"/>
                  </a:cubicBezTo>
                  <a:cubicBezTo>
                    <a:pt x="826" y="1161"/>
                    <a:pt x="826" y="1161"/>
                    <a:pt x="826" y="1161"/>
                  </a:cubicBezTo>
                  <a:cubicBezTo>
                    <a:pt x="827" y="1162"/>
                    <a:pt x="827" y="1162"/>
                    <a:pt x="827" y="1162"/>
                  </a:cubicBezTo>
                  <a:cubicBezTo>
                    <a:pt x="827" y="1162"/>
                    <a:pt x="827" y="1162"/>
                    <a:pt x="827" y="1162"/>
                  </a:cubicBezTo>
                  <a:cubicBezTo>
                    <a:pt x="828" y="1162"/>
                    <a:pt x="828" y="1162"/>
                    <a:pt x="828" y="1162"/>
                  </a:cubicBezTo>
                  <a:cubicBezTo>
                    <a:pt x="828" y="1163"/>
                    <a:pt x="828" y="1163"/>
                    <a:pt x="828" y="1163"/>
                  </a:cubicBezTo>
                  <a:cubicBezTo>
                    <a:pt x="828" y="1163"/>
                    <a:pt x="828" y="1163"/>
                    <a:pt x="828" y="1163"/>
                  </a:cubicBezTo>
                  <a:cubicBezTo>
                    <a:pt x="828" y="1163"/>
                    <a:pt x="828" y="1163"/>
                    <a:pt x="828" y="1163"/>
                  </a:cubicBezTo>
                  <a:cubicBezTo>
                    <a:pt x="829" y="1164"/>
                    <a:pt x="829" y="1164"/>
                    <a:pt x="829" y="1164"/>
                  </a:cubicBezTo>
                  <a:cubicBezTo>
                    <a:pt x="828" y="1163"/>
                    <a:pt x="828" y="1163"/>
                    <a:pt x="828" y="1163"/>
                  </a:cubicBezTo>
                  <a:cubicBezTo>
                    <a:pt x="829" y="1162"/>
                    <a:pt x="829" y="1162"/>
                    <a:pt x="829" y="1162"/>
                  </a:cubicBezTo>
                  <a:cubicBezTo>
                    <a:pt x="829" y="1163"/>
                    <a:pt x="829" y="1163"/>
                    <a:pt x="829" y="1163"/>
                  </a:cubicBezTo>
                  <a:cubicBezTo>
                    <a:pt x="829" y="1163"/>
                    <a:pt x="829" y="1163"/>
                    <a:pt x="829" y="1163"/>
                  </a:cubicBezTo>
                  <a:cubicBezTo>
                    <a:pt x="830" y="1163"/>
                    <a:pt x="830" y="1163"/>
                    <a:pt x="830" y="1163"/>
                  </a:cubicBezTo>
                  <a:cubicBezTo>
                    <a:pt x="830" y="1164"/>
                    <a:pt x="830" y="1164"/>
                    <a:pt x="830" y="1164"/>
                  </a:cubicBezTo>
                  <a:cubicBezTo>
                    <a:pt x="830" y="1164"/>
                    <a:pt x="830" y="1164"/>
                    <a:pt x="830" y="1164"/>
                  </a:cubicBezTo>
                  <a:cubicBezTo>
                    <a:pt x="830" y="1164"/>
                    <a:pt x="830" y="1164"/>
                    <a:pt x="830" y="1164"/>
                  </a:cubicBezTo>
                  <a:cubicBezTo>
                    <a:pt x="830" y="1164"/>
                    <a:pt x="830" y="1164"/>
                    <a:pt x="830" y="1164"/>
                  </a:cubicBezTo>
                  <a:cubicBezTo>
                    <a:pt x="831" y="1164"/>
                    <a:pt x="831" y="1164"/>
                    <a:pt x="831" y="1164"/>
                  </a:cubicBezTo>
                  <a:cubicBezTo>
                    <a:pt x="831" y="1165"/>
                    <a:pt x="831" y="1165"/>
                    <a:pt x="831" y="1165"/>
                  </a:cubicBezTo>
                  <a:cubicBezTo>
                    <a:pt x="831" y="1165"/>
                    <a:pt x="831" y="1165"/>
                    <a:pt x="831" y="1165"/>
                  </a:cubicBezTo>
                  <a:cubicBezTo>
                    <a:pt x="832" y="1165"/>
                    <a:pt x="832" y="1165"/>
                    <a:pt x="832" y="1165"/>
                  </a:cubicBezTo>
                  <a:cubicBezTo>
                    <a:pt x="832" y="1165"/>
                    <a:pt x="832" y="1165"/>
                    <a:pt x="832" y="1165"/>
                  </a:cubicBezTo>
                  <a:cubicBezTo>
                    <a:pt x="832" y="1165"/>
                    <a:pt x="832" y="1165"/>
                    <a:pt x="832" y="1165"/>
                  </a:cubicBezTo>
                  <a:cubicBezTo>
                    <a:pt x="833" y="1165"/>
                    <a:pt x="833" y="1165"/>
                    <a:pt x="833" y="1165"/>
                  </a:cubicBezTo>
                  <a:cubicBezTo>
                    <a:pt x="833" y="1164"/>
                    <a:pt x="833" y="1164"/>
                    <a:pt x="833" y="1164"/>
                  </a:cubicBezTo>
                  <a:cubicBezTo>
                    <a:pt x="834" y="1164"/>
                    <a:pt x="834" y="1164"/>
                    <a:pt x="834" y="1164"/>
                  </a:cubicBezTo>
                  <a:cubicBezTo>
                    <a:pt x="834" y="1165"/>
                    <a:pt x="834" y="1165"/>
                    <a:pt x="834" y="1165"/>
                  </a:cubicBezTo>
                  <a:cubicBezTo>
                    <a:pt x="834" y="1165"/>
                    <a:pt x="834" y="1165"/>
                    <a:pt x="834" y="1165"/>
                  </a:cubicBezTo>
                  <a:cubicBezTo>
                    <a:pt x="834" y="1165"/>
                    <a:pt x="834" y="1165"/>
                    <a:pt x="834" y="1165"/>
                  </a:cubicBezTo>
                  <a:cubicBezTo>
                    <a:pt x="834" y="1166"/>
                    <a:pt x="834" y="1166"/>
                    <a:pt x="834" y="1166"/>
                  </a:cubicBezTo>
                  <a:cubicBezTo>
                    <a:pt x="834" y="1166"/>
                    <a:pt x="834" y="1166"/>
                    <a:pt x="834" y="1166"/>
                  </a:cubicBezTo>
                  <a:cubicBezTo>
                    <a:pt x="835" y="1166"/>
                    <a:pt x="835" y="1166"/>
                    <a:pt x="835" y="1166"/>
                  </a:cubicBezTo>
                  <a:cubicBezTo>
                    <a:pt x="835" y="1167"/>
                    <a:pt x="835" y="1167"/>
                    <a:pt x="835" y="1167"/>
                  </a:cubicBezTo>
                  <a:cubicBezTo>
                    <a:pt x="835" y="1167"/>
                    <a:pt x="835" y="1167"/>
                    <a:pt x="835" y="1167"/>
                  </a:cubicBezTo>
                  <a:cubicBezTo>
                    <a:pt x="836" y="1168"/>
                    <a:pt x="836" y="1168"/>
                    <a:pt x="836" y="1168"/>
                  </a:cubicBezTo>
                  <a:cubicBezTo>
                    <a:pt x="836" y="1169"/>
                    <a:pt x="836" y="1169"/>
                    <a:pt x="836" y="1169"/>
                  </a:cubicBezTo>
                  <a:cubicBezTo>
                    <a:pt x="837" y="1169"/>
                    <a:pt x="837" y="1169"/>
                    <a:pt x="837" y="1169"/>
                  </a:cubicBezTo>
                  <a:cubicBezTo>
                    <a:pt x="837" y="1169"/>
                    <a:pt x="837" y="1169"/>
                    <a:pt x="837" y="1169"/>
                  </a:cubicBezTo>
                  <a:cubicBezTo>
                    <a:pt x="837" y="1168"/>
                    <a:pt x="837" y="1168"/>
                    <a:pt x="837" y="1168"/>
                  </a:cubicBezTo>
                  <a:cubicBezTo>
                    <a:pt x="837" y="1168"/>
                    <a:pt x="837" y="1168"/>
                    <a:pt x="837" y="1168"/>
                  </a:cubicBezTo>
                  <a:cubicBezTo>
                    <a:pt x="838" y="1168"/>
                    <a:pt x="838" y="1168"/>
                    <a:pt x="838" y="1168"/>
                  </a:cubicBezTo>
                  <a:cubicBezTo>
                    <a:pt x="838" y="1168"/>
                    <a:pt x="838" y="1168"/>
                    <a:pt x="838" y="1168"/>
                  </a:cubicBezTo>
                  <a:cubicBezTo>
                    <a:pt x="838" y="1168"/>
                    <a:pt x="838" y="1168"/>
                    <a:pt x="838" y="1168"/>
                  </a:cubicBezTo>
                  <a:cubicBezTo>
                    <a:pt x="838" y="1168"/>
                    <a:pt x="838" y="1168"/>
                    <a:pt x="838" y="1168"/>
                  </a:cubicBezTo>
                  <a:cubicBezTo>
                    <a:pt x="838" y="1168"/>
                    <a:pt x="838" y="1168"/>
                    <a:pt x="838" y="1168"/>
                  </a:cubicBezTo>
                  <a:cubicBezTo>
                    <a:pt x="839" y="1168"/>
                    <a:pt x="839" y="1168"/>
                    <a:pt x="839" y="1168"/>
                  </a:cubicBezTo>
                  <a:cubicBezTo>
                    <a:pt x="839" y="1168"/>
                    <a:pt x="839" y="1168"/>
                    <a:pt x="839" y="1168"/>
                  </a:cubicBezTo>
                  <a:cubicBezTo>
                    <a:pt x="840" y="1168"/>
                    <a:pt x="840" y="1168"/>
                    <a:pt x="840" y="1168"/>
                  </a:cubicBezTo>
                  <a:cubicBezTo>
                    <a:pt x="840" y="1169"/>
                    <a:pt x="840" y="1169"/>
                    <a:pt x="840" y="1169"/>
                  </a:cubicBezTo>
                  <a:cubicBezTo>
                    <a:pt x="840" y="1170"/>
                    <a:pt x="840" y="1170"/>
                    <a:pt x="840" y="1170"/>
                  </a:cubicBezTo>
                  <a:cubicBezTo>
                    <a:pt x="841" y="1171"/>
                    <a:pt x="841" y="1171"/>
                    <a:pt x="841" y="1171"/>
                  </a:cubicBezTo>
                  <a:cubicBezTo>
                    <a:pt x="842" y="1172"/>
                    <a:pt x="842" y="1172"/>
                    <a:pt x="842" y="1172"/>
                  </a:cubicBezTo>
                  <a:cubicBezTo>
                    <a:pt x="843" y="1172"/>
                    <a:pt x="843" y="1172"/>
                    <a:pt x="843" y="1172"/>
                  </a:cubicBezTo>
                  <a:cubicBezTo>
                    <a:pt x="843" y="1173"/>
                    <a:pt x="843" y="1173"/>
                    <a:pt x="843" y="1173"/>
                  </a:cubicBezTo>
                  <a:cubicBezTo>
                    <a:pt x="843" y="1173"/>
                    <a:pt x="843" y="1173"/>
                    <a:pt x="843" y="1173"/>
                  </a:cubicBezTo>
                  <a:cubicBezTo>
                    <a:pt x="843" y="1173"/>
                    <a:pt x="843" y="1173"/>
                    <a:pt x="843" y="1173"/>
                  </a:cubicBezTo>
                  <a:cubicBezTo>
                    <a:pt x="844" y="1173"/>
                    <a:pt x="844" y="1173"/>
                    <a:pt x="844" y="1173"/>
                  </a:cubicBezTo>
                  <a:cubicBezTo>
                    <a:pt x="844" y="1174"/>
                    <a:pt x="844" y="1174"/>
                    <a:pt x="844" y="1174"/>
                  </a:cubicBezTo>
                  <a:cubicBezTo>
                    <a:pt x="844" y="1174"/>
                    <a:pt x="844" y="1174"/>
                    <a:pt x="844" y="1174"/>
                  </a:cubicBezTo>
                  <a:cubicBezTo>
                    <a:pt x="845" y="1174"/>
                    <a:pt x="845" y="1174"/>
                    <a:pt x="845" y="1174"/>
                  </a:cubicBezTo>
                  <a:cubicBezTo>
                    <a:pt x="846" y="1175"/>
                    <a:pt x="846" y="1175"/>
                    <a:pt x="846" y="1175"/>
                  </a:cubicBezTo>
                  <a:cubicBezTo>
                    <a:pt x="846" y="1175"/>
                    <a:pt x="846" y="1175"/>
                    <a:pt x="846" y="1175"/>
                  </a:cubicBezTo>
                  <a:cubicBezTo>
                    <a:pt x="846" y="1175"/>
                    <a:pt x="846" y="1175"/>
                    <a:pt x="846" y="1175"/>
                  </a:cubicBezTo>
                  <a:cubicBezTo>
                    <a:pt x="846" y="1176"/>
                    <a:pt x="846" y="1176"/>
                    <a:pt x="846" y="1176"/>
                  </a:cubicBezTo>
                  <a:cubicBezTo>
                    <a:pt x="846" y="1176"/>
                    <a:pt x="846" y="1176"/>
                    <a:pt x="846" y="1176"/>
                  </a:cubicBezTo>
                  <a:cubicBezTo>
                    <a:pt x="848" y="1178"/>
                    <a:pt x="848" y="1178"/>
                    <a:pt x="848" y="1178"/>
                  </a:cubicBezTo>
                  <a:cubicBezTo>
                    <a:pt x="848" y="1180"/>
                    <a:pt x="848" y="1180"/>
                    <a:pt x="848" y="1180"/>
                  </a:cubicBezTo>
                  <a:cubicBezTo>
                    <a:pt x="848" y="1180"/>
                    <a:pt x="848" y="1180"/>
                    <a:pt x="848" y="1180"/>
                  </a:cubicBezTo>
                  <a:cubicBezTo>
                    <a:pt x="848" y="1180"/>
                    <a:pt x="848" y="1180"/>
                    <a:pt x="848" y="1180"/>
                  </a:cubicBezTo>
                  <a:cubicBezTo>
                    <a:pt x="848" y="1180"/>
                    <a:pt x="848" y="1180"/>
                    <a:pt x="848" y="1180"/>
                  </a:cubicBezTo>
                  <a:cubicBezTo>
                    <a:pt x="848" y="1181"/>
                    <a:pt x="848" y="1181"/>
                    <a:pt x="848" y="1181"/>
                  </a:cubicBezTo>
                  <a:cubicBezTo>
                    <a:pt x="849" y="1181"/>
                    <a:pt x="849" y="1181"/>
                    <a:pt x="849" y="1181"/>
                  </a:cubicBezTo>
                  <a:cubicBezTo>
                    <a:pt x="849" y="1181"/>
                    <a:pt x="849" y="1181"/>
                    <a:pt x="849" y="1181"/>
                  </a:cubicBezTo>
                  <a:cubicBezTo>
                    <a:pt x="849" y="1181"/>
                    <a:pt x="849" y="1181"/>
                    <a:pt x="849" y="1181"/>
                  </a:cubicBezTo>
                  <a:cubicBezTo>
                    <a:pt x="849" y="1181"/>
                    <a:pt x="849" y="1181"/>
                    <a:pt x="849" y="1181"/>
                  </a:cubicBezTo>
                  <a:cubicBezTo>
                    <a:pt x="849" y="1182"/>
                    <a:pt x="849" y="1182"/>
                    <a:pt x="849" y="1182"/>
                  </a:cubicBezTo>
                  <a:cubicBezTo>
                    <a:pt x="849" y="1182"/>
                    <a:pt x="849" y="1182"/>
                    <a:pt x="849" y="1182"/>
                  </a:cubicBezTo>
                  <a:cubicBezTo>
                    <a:pt x="850" y="1182"/>
                    <a:pt x="850" y="1182"/>
                    <a:pt x="850" y="1182"/>
                  </a:cubicBezTo>
                  <a:cubicBezTo>
                    <a:pt x="850" y="1183"/>
                    <a:pt x="850" y="1183"/>
                    <a:pt x="850" y="1183"/>
                  </a:cubicBezTo>
                  <a:cubicBezTo>
                    <a:pt x="853" y="1183"/>
                    <a:pt x="853" y="1183"/>
                    <a:pt x="853" y="1183"/>
                  </a:cubicBezTo>
                  <a:cubicBezTo>
                    <a:pt x="853" y="1183"/>
                    <a:pt x="853" y="1183"/>
                    <a:pt x="853" y="1183"/>
                  </a:cubicBezTo>
                  <a:cubicBezTo>
                    <a:pt x="854" y="1185"/>
                    <a:pt x="854" y="1185"/>
                    <a:pt x="854" y="1185"/>
                  </a:cubicBezTo>
                  <a:cubicBezTo>
                    <a:pt x="855" y="1185"/>
                    <a:pt x="855" y="1185"/>
                    <a:pt x="855" y="1185"/>
                  </a:cubicBezTo>
                  <a:cubicBezTo>
                    <a:pt x="855" y="1185"/>
                    <a:pt x="855" y="1185"/>
                    <a:pt x="855" y="1185"/>
                  </a:cubicBezTo>
                  <a:cubicBezTo>
                    <a:pt x="855" y="1184"/>
                    <a:pt x="855" y="1184"/>
                    <a:pt x="855" y="1184"/>
                  </a:cubicBezTo>
                  <a:cubicBezTo>
                    <a:pt x="855" y="1183"/>
                    <a:pt x="855" y="1183"/>
                    <a:pt x="855" y="1183"/>
                  </a:cubicBezTo>
                  <a:cubicBezTo>
                    <a:pt x="854" y="1183"/>
                    <a:pt x="854" y="1183"/>
                    <a:pt x="854" y="1183"/>
                  </a:cubicBezTo>
                  <a:cubicBezTo>
                    <a:pt x="854" y="1183"/>
                    <a:pt x="854" y="1183"/>
                    <a:pt x="854" y="1183"/>
                  </a:cubicBezTo>
                  <a:cubicBezTo>
                    <a:pt x="854" y="1183"/>
                    <a:pt x="854" y="1183"/>
                    <a:pt x="854" y="1183"/>
                  </a:cubicBezTo>
                  <a:cubicBezTo>
                    <a:pt x="854" y="1182"/>
                    <a:pt x="854" y="1182"/>
                    <a:pt x="854" y="1182"/>
                  </a:cubicBezTo>
                  <a:cubicBezTo>
                    <a:pt x="854" y="1182"/>
                    <a:pt x="854" y="1182"/>
                    <a:pt x="854" y="1182"/>
                  </a:cubicBezTo>
                  <a:cubicBezTo>
                    <a:pt x="854" y="1182"/>
                    <a:pt x="854" y="1182"/>
                    <a:pt x="854" y="1182"/>
                  </a:cubicBezTo>
                  <a:cubicBezTo>
                    <a:pt x="855" y="1182"/>
                    <a:pt x="855" y="1182"/>
                    <a:pt x="855" y="1182"/>
                  </a:cubicBezTo>
                  <a:cubicBezTo>
                    <a:pt x="854" y="1181"/>
                    <a:pt x="854" y="1181"/>
                    <a:pt x="854" y="1181"/>
                  </a:cubicBezTo>
                  <a:cubicBezTo>
                    <a:pt x="854" y="1181"/>
                    <a:pt x="854" y="1181"/>
                    <a:pt x="854" y="1181"/>
                  </a:cubicBezTo>
                  <a:cubicBezTo>
                    <a:pt x="855" y="1181"/>
                    <a:pt x="855" y="1181"/>
                    <a:pt x="855" y="1181"/>
                  </a:cubicBezTo>
                  <a:cubicBezTo>
                    <a:pt x="855" y="1181"/>
                    <a:pt x="855" y="1181"/>
                    <a:pt x="855" y="1181"/>
                  </a:cubicBezTo>
                  <a:cubicBezTo>
                    <a:pt x="855" y="1180"/>
                    <a:pt x="855" y="1180"/>
                    <a:pt x="855" y="1180"/>
                  </a:cubicBezTo>
                  <a:cubicBezTo>
                    <a:pt x="855" y="1180"/>
                    <a:pt x="855" y="1180"/>
                    <a:pt x="855" y="1180"/>
                  </a:cubicBezTo>
                  <a:cubicBezTo>
                    <a:pt x="855" y="1179"/>
                    <a:pt x="855" y="1179"/>
                    <a:pt x="855" y="1179"/>
                  </a:cubicBezTo>
                  <a:cubicBezTo>
                    <a:pt x="854" y="1178"/>
                    <a:pt x="854" y="1178"/>
                    <a:pt x="854" y="1178"/>
                  </a:cubicBezTo>
                  <a:cubicBezTo>
                    <a:pt x="854" y="1178"/>
                    <a:pt x="854" y="1178"/>
                    <a:pt x="854" y="1178"/>
                  </a:cubicBezTo>
                  <a:cubicBezTo>
                    <a:pt x="855" y="1177"/>
                    <a:pt x="855" y="1177"/>
                    <a:pt x="855" y="1177"/>
                  </a:cubicBezTo>
                  <a:cubicBezTo>
                    <a:pt x="855" y="1176"/>
                    <a:pt x="855" y="1176"/>
                    <a:pt x="855" y="1176"/>
                  </a:cubicBezTo>
                  <a:cubicBezTo>
                    <a:pt x="855" y="1175"/>
                    <a:pt x="855" y="1175"/>
                    <a:pt x="855" y="1175"/>
                  </a:cubicBezTo>
                  <a:cubicBezTo>
                    <a:pt x="855" y="1175"/>
                    <a:pt x="855" y="1175"/>
                    <a:pt x="855" y="1175"/>
                  </a:cubicBezTo>
                  <a:cubicBezTo>
                    <a:pt x="855" y="1175"/>
                    <a:pt x="855" y="1175"/>
                    <a:pt x="855" y="1175"/>
                  </a:cubicBezTo>
                  <a:cubicBezTo>
                    <a:pt x="853" y="1173"/>
                    <a:pt x="853" y="1173"/>
                    <a:pt x="853" y="1173"/>
                  </a:cubicBezTo>
                  <a:cubicBezTo>
                    <a:pt x="852" y="1173"/>
                    <a:pt x="852" y="1173"/>
                    <a:pt x="852" y="1173"/>
                  </a:cubicBezTo>
                  <a:cubicBezTo>
                    <a:pt x="852" y="1172"/>
                    <a:pt x="852" y="1172"/>
                    <a:pt x="852" y="1172"/>
                  </a:cubicBezTo>
                  <a:cubicBezTo>
                    <a:pt x="852" y="1172"/>
                    <a:pt x="852" y="1172"/>
                    <a:pt x="852" y="1172"/>
                  </a:cubicBezTo>
                  <a:cubicBezTo>
                    <a:pt x="853" y="1171"/>
                    <a:pt x="853" y="1171"/>
                    <a:pt x="853" y="1171"/>
                  </a:cubicBezTo>
                  <a:cubicBezTo>
                    <a:pt x="856" y="1167"/>
                    <a:pt x="856" y="1167"/>
                    <a:pt x="856" y="1167"/>
                  </a:cubicBezTo>
                  <a:cubicBezTo>
                    <a:pt x="856" y="1166"/>
                    <a:pt x="856" y="1166"/>
                    <a:pt x="856" y="1166"/>
                  </a:cubicBezTo>
                  <a:cubicBezTo>
                    <a:pt x="856" y="1166"/>
                    <a:pt x="856" y="1166"/>
                    <a:pt x="856" y="1166"/>
                  </a:cubicBezTo>
                  <a:cubicBezTo>
                    <a:pt x="856" y="1165"/>
                    <a:pt x="856" y="1165"/>
                    <a:pt x="856" y="1165"/>
                  </a:cubicBezTo>
                  <a:cubicBezTo>
                    <a:pt x="856" y="1165"/>
                    <a:pt x="856" y="1165"/>
                    <a:pt x="856" y="1165"/>
                  </a:cubicBezTo>
                  <a:cubicBezTo>
                    <a:pt x="857" y="1165"/>
                    <a:pt x="857" y="1165"/>
                    <a:pt x="857" y="1165"/>
                  </a:cubicBezTo>
                  <a:cubicBezTo>
                    <a:pt x="858" y="1163"/>
                    <a:pt x="858" y="1163"/>
                    <a:pt x="858" y="1163"/>
                  </a:cubicBezTo>
                  <a:cubicBezTo>
                    <a:pt x="859" y="1162"/>
                    <a:pt x="859" y="1162"/>
                    <a:pt x="859" y="1162"/>
                  </a:cubicBezTo>
                  <a:cubicBezTo>
                    <a:pt x="859" y="1162"/>
                    <a:pt x="859" y="1162"/>
                    <a:pt x="859" y="1162"/>
                  </a:cubicBezTo>
                  <a:cubicBezTo>
                    <a:pt x="860" y="1161"/>
                    <a:pt x="860" y="1161"/>
                    <a:pt x="860" y="1161"/>
                  </a:cubicBezTo>
                  <a:cubicBezTo>
                    <a:pt x="860" y="1161"/>
                    <a:pt x="860" y="1161"/>
                    <a:pt x="860" y="1161"/>
                  </a:cubicBezTo>
                  <a:cubicBezTo>
                    <a:pt x="861" y="1160"/>
                    <a:pt x="861" y="1160"/>
                    <a:pt x="861" y="1160"/>
                  </a:cubicBezTo>
                  <a:cubicBezTo>
                    <a:pt x="861" y="1159"/>
                    <a:pt x="861" y="1159"/>
                    <a:pt x="861" y="1159"/>
                  </a:cubicBezTo>
                  <a:cubicBezTo>
                    <a:pt x="861" y="1159"/>
                    <a:pt x="861" y="1159"/>
                    <a:pt x="861" y="1159"/>
                  </a:cubicBezTo>
                  <a:cubicBezTo>
                    <a:pt x="862" y="1159"/>
                    <a:pt x="862" y="1159"/>
                    <a:pt x="862" y="1159"/>
                  </a:cubicBezTo>
                  <a:cubicBezTo>
                    <a:pt x="862" y="1158"/>
                    <a:pt x="862" y="1158"/>
                    <a:pt x="862" y="1158"/>
                  </a:cubicBezTo>
                  <a:cubicBezTo>
                    <a:pt x="862" y="1158"/>
                    <a:pt x="862" y="1158"/>
                    <a:pt x="862" y="1158"/>
                  </a:cubicBezTo>
                  <a:cubicBezTo>
                    <a:pt x="862" y="1157"/>
                    <a:pt x="862" y="1157"/>
                    <a:pt x="862" y="1157"/>
                  </a:cubicBezTo>
                  <a:cubicBezTo>
                    <a:pt x="862" y="1156"/>
                    <a:pt x="862" y="1156"/>
                    <a:pt x="862" y="1156"/>
                  </a:cubicBezTo>
                  <a:cubicBezTo>
                    <a:pt x="863" y="1156"/>
                    <a:pt x="863" y="1156"/>
                    <a:pt x="863" y="1156"/>
                  </a:cubicBezTo>
                  <a:cubicBezTo>
                    <a:pt x="864" y="1155"/>
                    <a:pt x="864" y="1155"/>
                    <a:pt x="864" y="1155"/>
                  </a:cubicBezTo>
                  <a:cubicBezTo>
                    <a:pt x="864" y="1154"/>
                    <a:pt x="864" y="1154"/>
                    <a:pt x="864" y="1154"/>
                  </a:cubicBezTo>
                  <a:cubicBezTo>
                    <a:pt x="865" y="1154"/>
                    <a:pt x="865" y="1154"/>
                    <a:pt x="865" y="1154"/>
                  </a:cubicBezTo>
                  <a:cubicBezTo>
                    <a:pt x="865" y="1154"/>
                    <a:pt x="865" y="1154"/>
                    <a:pt x="865" y="1154"/>
                  </a:cubicBezTo>
                  <a:cubicBezTo>
                    <a:pt x="866" y="1154"/>
                    <a:pt x="866" y="1154"/>
                    <a:pt x="866" y="1154"/>
                  </a:cubicBezTo>
                  <a:cubicBezTo>
                    <a:pt x="865" y="1154"/>
                    <a:pt x="865" y="1154"/>
                    <a:pt x="865" y="1154"/>
                  </a:cubicBezTo>
                  <a:cubicBezTo>
                    <a:pt x="865" y="1154"/>
                    <a:pt x="865" y="1154"/>
                    <a:pt x="865" y="1154"/>
                  </a:cubicBezTo>
                  <a:cubicBezTo>
                    <a:pt x="865" y="1155"/>
                    <a:pt x="865" y="1155"/>
                    <a:pt x="865" y="1155"/>
                  </a:cubicBezTo>
                  <a:cubicBezTo>
                    <a:pt x="864" y="1155"/>
                    <a:pt x="864" y="1155"/>
                    <a:pt x="864" y="1155"/>
                  </a:cubicBezTo>
                  <a:cubicBezTo>
                    <a:pt x="863" y="1156"/>
                    <a:pt x="863" y="1156"/>
                    <a:pt x="863" y="1156"/>
                  </a:cubicBezTo>
                  <a:cubicBezTo>
                    <a:pt x="863" y="1157"/>
                    <a:pt x="863" y="1157"/>
                    <a:pt x="863" y="1157"/>
                  </a:cubicBezTo>
                  <a:cubicBezTo>
                    <a:pt x="863" y="1158"/>
                    <a:pt x="863" y="1158"/>
                    <a:pt x="863" y="1158"/>
                  </a:cubicBezTo>
                  <a:cubicBezTo>
                    <a:pt x="863" y="1158"/>
                    <a:pt x="863" y="1158"/>
                    <a:pt x="863" y="1158"/>
                  </a:cubicBezTo>
                  <a:cubicBezTo>
                    <a:pt x="863" y="1159"/>
                    <a:pt x="863" y="1159"/>
                    <a:pt x="863" y="1159"/>
                  </a:cubicBezTo>
                  <a:cubicBezTo>
                    <a:pt x="862" y="1159"/>
                    <a:pt x="862" y="1159"/>
                    <a:pt x="862" y="1159"/>
                  </a:cubicBezTo>
                  <a:cubicBezTo>
                    <a:pt x="862" y="1159"/>
                    <a:pt x="862" y="1159"/>
                    <a:pt x="862" y="1159"/>
                  </a:cubicBezTo>
                  <a:cubicBezTo>
                    <a:pt x="862" y="1160"/>
                    <a:pt x="862" y="1160"/>
                    <a:pt x="862" y="1160"/>
                  </a:cubicBezTo>
                  <a:cubicBezTo>
                    <a:pt x="861" y="1161"/>
                    <a:pt x="861" y="1161"/>
                    <a:pt x="861" y="1161"/>
                  </a:cubicBezTo>
                  <a:cubicBezTo>
                    <a:pt x="861" y="1161"/>
                    <a:pt x="861" y="1161"/>
                    <a:pt x="861" y="1161"/>
                  </a:cubicBezTo>
                  <a:cubicBezTo>
                    <a:pt x="860" y="1162"/>
                    <a:pt x="860" y="1162"/>
                    <a:pt x="860" y="1162"/>
                  </a:cubicBezTo>
                  <a:cubicBezTo>
                    <a:pt x="860" y="1162"/>
                    <a:pt x="860" y="1162"/>
                    <a:pt x="860" y="1162"/>
                  </a:cubicBezTo>
                  <a:cubicBezTo>
                    <a:pt x="860" y="1163"/>
                    <a:pt x="860" y="1163"/>
                    <a:pt x="860" y="1163"/>
                  </a:cubicBezTo>
                  <a:cubicBezTo>
                    <a:pt x="858" y="1165"/>
                    <a:pt x="858" y="1165"/>
                    <a:pt x="858" y="1165"/>
                  </a:cubicBezTo>
                  <a:cubicBezTo>
                    <a:pt x="858" y="1165"/>
                    <a:pt x="858" y="1165"/>
                    <a:pt x="858" y="1165"/>
                  </a:cubicBezTo>
                  <a:cubicBezTo>
                    <a:pt x="858" y="1166"/>
                    <a:pt x="858" y="1166"/>
                    <a:pt x="858" y="1166"/>
                  </a:cubicBezTo>
                  <a:cubicBezTo>
                    <a:pt x="858" y="1166"/>
                    <a:pt x="858" y="1166"/>
                    <a:pt x="858" y="1166"/>
                  </a:cubicBezTo>
                  <a:cubicBezTo>
                    <a:pt x="858" y="1167"/>
                    <a:pt x="858" y="1167"/>
                    <a:pt x="858" y="1167"/>
                  </a:cubicBezTo>
                  <a:cubicBezTo>
                    <a:pt x="858" y="1167"/>
                    <a:pt x="858" y="1167"/>
                    <a:pt x="858" y="1167"/>
                  </a:cubicBezTo>
                  <a:cubicBezTo>
                    <a:pt x="855" y="1171"/>
                    <a:pt x="855" y="1171"/>
                    <a:pt x="855" y="1171"/>
                  </a:cubicBezTo>
                  <a:cubicBezTo>
                    <a:pt x="854" y="1172"/>
                    <a:pt x="854" y="1172"/>
                    <a:pt x="854" y="1172"/>
                  </a:cubicBezTo>
                  <a:cubicBezTo>
                    <a:pt x="854" y="1173"/>
                    <a:pt x="854" y="1173"/>
                    <a:pt x="854" y="1173"/>
                  </a:cubicBezTo>
                  <a:cubicBezTo>
                    <a:pt x="854" y="1173"/>
                    <a:pt x="854" y="1173"/>
                    <a:pt x="854" y="1173"/>
                  </a:cubicBezTo>
                  <a:cubicBezTo>
                    <a:pt x="855" y="1174"/>
                    <a:pt x="855" y="1174"/>
                    <a:pt x="855" y="1174"/>
                  </a:cubicBezTo>
                  <a:cubicBezTo>
                    <a:pt x="856" y="1175"/>
                    <a:pt x="856" y="1175"/>
                    <a:pt x="856" y="1175"/>
                  </a:cubicBezTo>
                  <a:cubicBezTo>
                    <a:pt x="857" y="1176"/>
                    <a:pt x="857" y="1176"/>
                    <a:pt x="857" y="1176"/>
                  </a:cubicBezTo>
                  <a:cubicBezTo>
                    <a:pt x="857" y="1176"/>
                    <a:pt x="857" y="1176"/>
                    <a:pt x="857" y="1176"/>
                  </a:cubicBezTo>
                  <a:cubicBezTo>
                    <a:pt x="857" y="1176"/>
                    <a:pt x="857" y="1176"/>
                    <a:pt x="857" y="1176"/>
                  </a:cubicBezTo>
                  <a:cubicBezTo>
                    <a:pt x="856" y="1177"/>
                    <a:pt x="856" y="1177"/>
                    <a:pt x="856" y="1177"/>
                  </a:cubicBezTo>
                  <a:cubicBezTo>
                    <a:pt x="856" y="1178"/>
                    <a:pt x="856" y="1178"/>
                    <a:pt x="856" y="1178"/>
                  </a:cubicBezTo>
                  <a:cubicBezTo>
                    <a:pt x="856" y="1179"/>
                    <a:pt x="856" y="1179"/>
                    <a:pt x="856" y="1179"/>
                  </a:cubicBezTo>
                  <a:cubicBezTo>
                    <a:pt x="856" y="1180"/>
                    <a:pt x="856" y="1180"/>
                    <a:pt x="856" y="1180"/>
                  </a:cubicBezTo>
                  <a:cubicBezTo>
                    <a:pt x="857" y="1180"/>
                    <a:pt x="857" y="1180"/>
                    <a:pt x="857" y="1180"/>
                  </a:cubicBezTo>
                  <a:cubicBezTo>
                    <a:pt x="857" y="1180"/>
                    <a:pt x="857" y="1180"/>
                    <a:pt x="857" y="1180"/>
                  </a:cubicBezTo>
                  <a:cubicBezTo>
                    <a:pt x="857" y="1181"/>
                    <a:pt x="857" y="1181"/>
                    <a:pt x="857" y="1181"/>
                  </a:cubicBezTo>
                  <a:cubicBezTo>
                    <a:pt x="857" y="1181"/>
                    <a:pt x="857" y="1181"/>
                    <a:pt x="857" y="1181"/>
                  </a:cubicBezTo>
                  <a:cubicBezTo>
                    <a:pt x="856" y="1181"/>
                    <a:pt x="856" y="1181"/>
                    <a:pt x="856" y="1181"/>
                  </a:cubicBezTo>
                  <a:cubicBezTo>
                    <a:pt x="856" y="1182"/>
                    <a:pt x="856" y="1182"/>
                    <a:pt x="856" y="1182"/>
                  </a:cubicBezTo>
                  <a:cubicBezTo>
                    <a:pt x="856" y="1182"/>
                    <a:pt x="856" y="1182"/>
                    <a:pt x="856" y="1182"/>
                  </a:cubicBezTo>
                  <a:cubicBezTo>
                    <a:pt x="856" y="1183"/>
                    <a:pt x="856" y="1183"/>
                    <a:pt x="856" y="1183"/>
                  </a:cubicBezTo>
                  <a:cubicBezTo>
                    <a:pt x="856" y="1183"/>
                    <a:pt x="856" y="1183"/>
                    <a:pt x="856" y="1183"/>
                  </a:cubicBezTo>
                  <a:cubicBezTo>
                    <a:pt x="856" y="1183"/>
                    <a:pt x="856" y="1183"/>
                    <a:pt x="856" y="1183"/>
                  </a:cubicBezTo>
                  <a:cubicBezTo>
                    <a:pt x="856" y="1183"/>
                    <a:pt x="856" y="1183"/>
                    <a:pt x="856" y="1183"/>
                  </a:cubicBezTo>
                  <a:cubicBezTo>
                    <a:pt x="856" y="1184"/>
                    <a:pt x="856" y="1184"/>
                    <a:pt x="856" y="1184"/>
                  </a:cubicBezTo>
                  <a:cubicBezTo>
                    <a:pt x="856" y="1184"/>
                    <a:pt x="856" y="1184"/>
                    <a:pt x="856" y="1184"/>
                  </a:cubicBezTo>
                  <a:cubicBezTo>
                    <a:pt x="856" y="1184"/>
                    <a:pt x="856" y="1184"/>
                    <a:pt x="856" y="1184"/>
                  </a:cubicBezTo>
                  <a:cubicBezTo>
                    <a:pt x="857" y="1184"/>
                    <a:pt x="857" y="1184"/>
                    <a:pt x="857" y="1184"/>
                  </a:cubicBezTo>
                  <a:cubicBezTo>
                    <a:pt x="857" y="1185"/>
                    <a:pt x="857" y="1185"/>
                    <a:pt x="857" y="1185"/>
                  </a:cubicBezTo>
                  <a:cubicBezTo>
                    <a:pt x="857" y="1186"/>
                    <a:pt x="857" y="1186"/>
                    <a:pt x="857" y="1186"/>
                  </a:cubicBezTo>
                  <a:cubicBezTo>
                    <a:pt x="859" y="1185"/>
                    <a:pt x="859" y="1185"/>
                    <a:pt x="859" y="1185"/>
                  </a:cubicBezTo>
                  <a:cubicBezTo>
                    <a:pt x="859" y="1185"/>
                    <a:pt x="859" y="1185"/>
                    <a:pt x="859" y="1185"/>
                  </a:cubicBezTo>
                  <a:cubicBezTo>
                    <a:pt x="859" y="1186"/>
                    <a:pt x="859" y="1186"/>
                    <a:pt x="859" y="1186"/>
                  </a:cubicBezTo>
                  <a:cubicBezTo>
                    <a:pt x="863" y="1187"/>
                    <a:pt x="863" y="1187"/>
                    <a:pt x="863" y="1187"/>
                  </a:cubicBezTo>
                  <a:cubicBezTo>
                    <a:pt x="863" y="1188"/>
                    <a:pt x="863" y="1188"/>
                    <a:pt x="863" y="1188"/>
                  </a:cubicBezTo>
                  <a:cubicBezTo>
                    <a:pt x="863" y="1189"/>
                    <a:pt x="863" y="1189"/>
                    <a:pt x="863" y="1189"/>
                  </a:cubicBezTo>
                  <a:cubicBezTo>
                    <a:pt x="863" y="1189"/>
                    <a:pt x="863" y="1189"/>
                    <a:pt x="863" y="1189"/>
                  </a:cubicBezTo>
                  <a:cubicBezTo>
                    <a:pt x="862" y="1189"/>
                    <a:pt x="862" y="1189"/>
                    <a:pt x="862" y="1189"/>
                  </a:cubicBezTo>
                  <a:cubicBezTo>
                    <a:pt x="862" y="1190"/>
                    <a:pt x="862" y="1190"/>
                    <a:pt x="862" y="1190"/>
                  </a:cubicBezTo>
                  <a:cubicBezTo>
                    <a:pt x="863" y="1191"/>
                    <a:pt x="863" y="1191"/>
                    <a:pt x="863" y="1191"/>
                  </a:cubicBezTo>
                  <a:cubicBezTo>
                    <a:pt x="863" y="1192"/>
                    <a:pt x="863" y="1192"/>
                    <a:pt x="863" y="1192"/>
                  </a:cubicBezTo>
                  <a:cubicBezTo>
                    <a:pt x="862" y="1194"/>
                    <a:pt x="862" y="1194"/>
                    <a:pt x="862" y="1194"/>
                  </a:cubicBezTo>
                  <a:cubicBezTo>
                    <a:pt x="863" y="1194"/>
                    <a:pt x="863" y="1194"/>
                    <a:pt x="863" y="1194"/>
                  </a:cubicBezTo>
                  <a:cubicBezTo>
                    <a:pt x="863" y="1195"/>
                    <a:pt x="863" y="1195"/>
                    <a:pt x="863" y="1195"/>
                  </a:cubicBezTo>
                  <a:cubicBezTo>
                    <a:pt x="863" y="1194"/>
                    <a:pt x="863" y="1194"/>
                    <a:pt x="863" y="1194"/>
                  </a:cubicBezTo>
                  <a:cubicBezTo>
                    <a:pt x="863" y="1195"/>
                    <a:pt x="863" y="1195"/>
                    <a:pt x="863" y="1195"/>
                  </a:cubicBezTo>
                  <a:cubicBezTo>
                    <a:pt x="864" y="1196"/>
                    <a:pt x="864" y="1196"/>
                    <a:pt x="864" y="1196"/>
                  </a:cubicBezTo>
                  <a:cubicBezTo>
                    <a:pt x="863" y="1196"/>
                    <a:pt x="863" y="1196"/>
                    <a:pt x="863" y="1196"/>
                  </a:cubicBezTo>
                  <a:cubicBezTo>
                    <a:pt x="863" y="1196"/>
                    <a:pt x="863" y="1196"/>
                    <a:pt x="863" y="1196"/>
                  </a:cubicBezTo>
                  <a:cubicBezTo>
                    <a:pt x="863" y="1196"/>
                    <a:pt x="863" y="1196"/>
                    <a:pt x="863" y="1196"/>
                  </a:cubicBezTo>
                  <a:cubicBezTo>
                    <a:pt x="863" y="1195"/>
                    <a:pt x="863" y="1195"/>
                    <a:pt x="863" y="1195"/>
                  </a:cubicBezTo>
                  <a:cubicBezTo>
                    <a:pt x="862" y="1197"/>
                    <a:pt x="862" y="1197"/>
                    <a:pt x="862" y="1197"/>
                  </a:cubicBezTo>
                  <a:cubicBezTo>
                    <a:pt x="862" y="1197"/>
                    <a:pt x="862" y="1197"/>
                    <a:pt x="862" y="1197"/>
                  </a:cubicBezTo>
                  <a:cubicBezTo>
                    <a:pt x="861" y="1197"/>
                    <a:pt x="861" y="1197"/>
                    <a:pt x="861" y="1197"/>
                  </a:cubicBezTo>
                  <a:cubicBezTo>
                    <a:pt x="859" y="1197"/>
                    <a:pt x="859" y="1197"/>
                    <a:pt x="859" y="1197"/>
                  </a:cubicBezTo>
                  <a:cubicBezTo>
                    <a:pt x="859" y="1197"/>
                    <a:pt x="859" y="1197"/>
                    <a:pt x="859" y="1197"/>
                  </a:cubicBezTo>
                  <a:cubicBezTo>
                    <a:pt x="860" y="1198"/>
                    <a:pt x="860" y="1198"/>
                    <a:pt x="860" y="1198"/>
                  </a:cubicBezTo>
                  <a:cubicBezTo>
                    <a:pt x="860" y="1198"/>
                    <a:pt x="860" y="1198"/>
                    <a:pt x="860" y="1198"/>
                  </a:cubicBezTo>
                  <a:cubicBezTo>
                    <a:pt x="860" y="1199"/>
                    <a:pt x="860" y="1199"/>
                    <a:pt x="860" y="1199"/>
                  </a:cubicBezTo>
                  <a:cubicBezTo>
                    <a:pt x="861" y="1199"/>
                    <a:pt x="861" y="1199"/>
                    <a:pt x="861" y="1199"/>
                  </a:cubicBezTo>
                  <a:cubicBezTo>
                    <a:pt x="861" y="1199"/>
                    <a:pt x="861" y="1199"/>
                    <a:pt x="861" y="1199"/>
                  </a:cubicBezTo>
                  <a:cubicBezTo>
                    <a:pt x="861" y="1199"/>
                    <a:pt x="861" y="1199"/>
                    <a:pt x="861" y="1199"/>
                  </a:cubicBezTo>
                  <a:cubicBezTo>
                    <a:pt x="861" y="1200"/>
                    <a:pt x="861" y="1200"/>
                    <a:pt x="861" y="1200"/>
                  </a:cubicBezTo>
                  <a:cubicBezTo>
                    <a:pt x="860" y="1201"/>
                    <a:pt x="860" y="1201"/>
                    <a:pt x="860" y="1201"/>
                  </a:cubicBezTo>
                  <a:cubicBezTo>
                    <a:pt x="859" y="1202"/>
                    <a:pt x="859" y="1202"/>
                    <a:pt x="859" y="1202"/>
                  </a:cubicBezTo>
                  <a:cubicBezTo>
                    <a:pt x="859" y="1202"/>
                    <a:pt x="859" y="1202"/>
                    <a:pt x="859" y="1202"/>
                  </a:cubicBezTo>
                  <a:cubicBezTo>
                    <a:pt x="859" y="1203"/>
                    <a:pt x="859" y="1203"/>
                    <a:pt x="859" y="1203"/>
                  </a:cubicBezTo>
                  <a:cubicBezTo>
                    <a:pt x="859" y="1204"/>
                    <a:pt x="859" y="1204"/>
                    <a:pt x="859" y="1204"/>
                  </a:cubicBezTo>
                  <a:cubicBezTo>
                    <a:pt x="858" y="1204"/>
                    <a:pt x="858" y="1204"/>
                    <a:pt x="858" y="1204"/>
                  </a:cubicBezTo>
                  <a:cubicBezTo>
                    <a:pt x="857" y="1203"/>
                    <a:pt x="857" y="1203"/>
                    <a:pt x="857" y="1203"/>
                  </a:cubicBezTo>
                  <a:cubicBezTo>
                    <a:pt x="858" y="1204"/>
                    <a:pt x="858" y="1204"/>
                    <a:pt x="858" y="1204"/>
                  </a:cubicBezTo>
                  <a:cubicBezTo>
                    <a:pt x="858" y="1204"/>
                    <a:pt x="858" y="1204"/>
                    <a:pt x="858" y="1204"/>
                  </a:cubicBezTo>
                  <a:cubicBezTo>
                    <a:pt x="858" y="1205"/>
                    <a:pt x="858" y="1205"/>
                    <a:pt x="858" y="1205"/>
                  </a:cubicBezTo>
                  <a:cubicBezTo>
                    <a:pt x="858" y="1206"/>
                    <a:pt x="858" y="1206"/>
                    <a:pt x="858" y="1206"/>
                  </a:cubicBezTo>
                  <a:cubicBezTo>
                    <a:pt x="858" y="1207"/>
                    <a:pt x="858" y="1207"/>
                    <a:pt x="858" y="1207"/>
                  </a:cubicBezTo>
                  <a:cubicBezTo>
                    <a:pt x="859" y="1207"/>
                    <a:pt x="859" y="1207"/>
                    <a:pt x="859" y="1207"/>
                  </a:cubicBezTo>
                  <a:cubicBezTo>
                    <a:pt x="859" y="1207"/>
                    <a:pt x="859" y="1207"/>
                    <a:pt x="859" y="1207"/>
                  </a:cubicBezTo>
                  <a:cubicBezTo>
                    <a:pt x="860" y="1207"/>
                    <a:pt x="860" y="1207"/>
                    <a:pt x="860" y="1207"/>
                  </a:cubicBezTo>
                  <a:cubicBezTo>
                    <a:pt x="860" y="1208"/>
                    <a:pt x="860" y="1208"/>
                    <a:pt x="860" y="1208"/>
                  </a:cubicBezTo>
                  <a:cubicBezTo>
                    <a:pt x="860" y="1208"/>
                    <a:pt x="860" y="1208"/>
                    <a:pt x="860" y="1208"/>
                  </a:cubicBezTo>
                  <a:cubicBezTo>
                    <a:pt x="861" y="1209"/>
                    <a:pt x="861" y="1209"/>
                    <a:pt x="861" y="1209"/>
                  </a:cubicBezTo>
                  <a:cubicBezTo>
                    <a:pt x="861" y="1210"/>
                    <a:pt x="861" y="1210"/>
                    <a:pt x="861" y="1210"/>
                  </a:cubicBezTo>
                  <a:cubicBezTo>
                    <a:pt x="861" y="1210"/>
                    <a:pt x="861" y="1210"/>
                    <a:pt x="861" y="1210"/>
                  </a:cubicBezTo>
                  <a:cubicBezTo>
                    <a:pt x="860" y="1212"/>
                    <a:pt x="860" y="1212"/>
                    <a:pt x="860" y="1212"/>
                  </a:cubicBezTo>
                  <a:cubicBezTo>
                    <a:pt x="860" y="1213"/>
                    <a:pt x="860" y="1213"/>
                    <a:pt x="860" y="1213"/>
                  </a:cubicBezTo>
                  <a:cubicBezTo>
                    <a:pt x="860" y="1213"/>
                    <a:pt x="860" y="1213"/>
                    <a:pt x="860" y="1213"/>
                  </a:cubicBezTo>
                  <a:cubicBezTo>
                    <a:pt x="859" y="1214"/>
                    <a:pt x="859" y="1214"/>
                    <a:pt x="859" y="1214"/>
                  </a:cubicBezTo>
                  <a:cubicBezTo>
                    <a:pt x="859" y="1214"/>
                    <a:pt x="859" y="1214"/>
                    <a:pt x="859" y="1214"/>
                  </a:cubicBezTo>
                  <a:cubicBezTo>
                    <a:pt x="859" y="1214"/>
                    <a:pt x="859" y="1214"/>
                    <a:pt x="859" y="1214"/>
                  </a:cubicBezTo>
                  <a:cubicBezTo>
                    <a:pt x="859" y="1215"/>
                    <a:pt x="859" y="1215"/>
                    <a:pt x="859" y="1215"/>
                  </a:cubicBezTo>
                  <a:cubicBezTo>
                    <a:pt x="859" y="1215"/>
                    <a:pt x="859" y="1215"/>
                    <a:pt x="859" y="1215"/>
                  </a:cubicBezTo>
                  <a:cubicBezTo>
                    <a:pt x="859" y="1216"/>
                    <a:pt x="859" y="1216"/>
                    <a:pt x="859" y="1216"/>
                  </a:cubicBezTo>
                  <a:cubicBezTo>
                    <a:pt x="859" y="1219"/>
                    <a:pt x="859" y="1219"/>
                    <a:pt x="859" y="1219"/>
                  </a:cubicBezTo>
                  <a:cubicBezTo>
                    <a:pt x="859" y="1219"/>
                    <a:pt x="859" y="1219"/>
                    <a:pt x="859" y="1219"/>
                  </a:cubicBezTo>
                  <a:cubicBezTo>
                    <a:pt x="859" y="1219"/>
                    <a:pt x="859" y="1219"/>
                    <a:pt x="859" y="1219"/>
                  </a:cubicBezTo>
                  <a:cubicBezTo>
                    <a:pt x="859" y="1219"/>
                    <a:pt x="859" y="1219"/>
                    <a:pt x="859" y="1219"/>
                  </a:cubicBezTo>
                  <a:cubicBezTo>
                    <a:pt x="859" y="1220"/>
                    <a:pt x="859" y="1220"/>
                    <a:pt x="859" y="1220"/>
                  </a:cubicBezTo>
                  <a:cubicBezTo>
                    <a:pt x="860" y="1220"/>
                    <a:pt x="860" y="1220"/>
                    <a:pt x="860" y="1220"/>
                  </a:cubicBezTo>
                  <a:cubicBezTo>
                    <a:pt x="860" y="1220"/>
                    <a:pt x="860" y="1220"/>
                    <a:pt x="860" y="1220"/>
                  </a:cubicBezTo>
                  <a:cubicBezTo>
                    <a:pt x="860" y="1221"/>
                    <a:pt x="860" y="1221"/>
                    <a:pt x="860" y="1221"/>
                  </a:cubicBezTo>
                  <a:cubicBezTo>
                    <a:pt x="860" y="1222"/>
                    <a:pt x="860" y="1222"/>
                    <a:pt x="860" y="1222"/>
                  </a:cubicBezTo>
                  <a:cubicBezTo>
                    <a:pt x="859" y="1222"/>
                    <a:pt x="859" y="1222"/>
                    <a:pt x="859" y="1222"/>
                  </a:cubicBezTo>
                  <a:cubicBezTo>
                    <a:pt x="859" y="1223"/>
                    <a:pt x="859" y="1223"/>
                    <a:pt x="859" y="1223"/>
                  </a:cubicBezTo>
                  <a:cubicBezTo>
                    <a:pt x="859" y="1223"/>
                    <a:pt x="859" y="1223"/>
                    <a:pt x="859" y="1223"/>
                  </a:cubicBezTo>
                  <a:cubicBezTo>
                    <a:pt x="859" y="1223"/>
                    <a:pt x="859" y="1223"/>
                    <a:pt x="859" y="1223"/>
                  </a:cubicBezTo>
                  <a:cubicBezTo>
                    <a:pt x="860" y="1222"/>
                    <a:pt x="860" y="1222"/>
                    <a:pt x="860" y="1222"/>
                  </a:cubicBezTo>
                  <a:cubicBezTo>
                    <a:pt x="860" y="1221"/>
                    <a:pt x="860" y="1221"/>
                    <a:pt x="860" y="1221"/>
                  </a:cubicBezTo>
                  <a:cubicBezTo>
                    <a:pt x="860" y="1220"/>
                    <a:pt x="860" y="1220"/>
                    <a:pt x="860" y="1220"/>
                  </a:cubicBezTo>
                  <a:cubicBezTo>
                    <a:pt x="860" y="1220"/>
                    <a:pt x="860" y="1220"/>
                    <a:pt x="860" y="1220"/>
                  </a:cubicBezTo>
                  <a:cubicBezTo>
                    <a:pt x="861" y="1221"/>
                    <a:pt x="861" y="1221"/>
                    <a:pt x="861" y="1221"/>
                  </a:cubicBezTo>
                  <a:cubicBezTo>
                    <a:pt x="861" y="1222"/>
                    <a:pt x="861" y="1222"/>
                    <a:pt x="861" y="1222"/>
                  </a:cubicBezTo>
                  <a:cubicBezTo>
                    <a:pt x="861" y="1223"/>
                    <a:pt x="861" y="1223"/>
                    <a:pt x="861" y="1223"/>
                  </a:cubicBezTo>
                  <a:cubicBezTo>
                    <a:pt x="861" y="1223"/>
                    <a:pt x="861" y="1223"/>
                    <a:pt x="861" y="1223"/>
                  </a:cubicBezTo>
                  <a:cubicBezTo>
                    <a:pt x="859" y="1224"/>
                    <a:pt x="859" y="1224"/>
                    <a:pt x="859" y="1224"/>
                  </a:cubicBezTo>
                  <a:cubicBezTo>
                    <a:pt x="859" y="1225"/>
                    <a:pt x="859" y="1225"/>
                    <a:pt x="859" y="1225"/>
                  </a:cubicBezTo>
                  <a:cubicBezTo>
                    <a:pt x="859" y="1225"/>
                    <a:pt x="859" y="1225"/>
                    <a:pt x="859" y="1225"/>
                  </a:cubicBezTo>
                  <a:cubicBezTo>
                    <a:pt x="859" y="1224"/>
                    <a:pt x="859" y="1224"/>
                    <a:pt x="859" y="1224"/>
                  </a:cubicBezTo>
                  <a:cubicBezTo>
                    <a:pt x="859" y="1225"/>
                    <a:pt x="859" y="1225"/>
                    <a:pt x="859" y="1225"/>
                  </a:cubicBezTo>
                  <a:cubicBezTo>
                    <a:pt x="858" y="1225"/>
                    <a:pt x="858" y="1225"/>
                    <a:pt x="858" y="1225"/>
                  </a:cubicBezTo>
                  <a:cubicBezTo>
                    <a:pt x="858" y="1224"/>
                    <a:pt x="858" y="1224"/>
                    <a:pt x="858" y="1224"/>
                  </a:cubicBezTo>
                  <a:cubicBezTo>
                    <a:pt x="859" y="1223"/>
                    <a:pt x="859" y="1223"/>
                    <a:pt x="859" y="1223"/>
                  </a:cubicBezTo>
                  <a:cubicBezTo>
                    <a:pt x="858" y="1222"/>
                    <a:pt x="858" y="1222"/>
                    <a:pt x="858" y="1222"/>
                  </a:cubicBezTo>
                  <a:cubicBezTo>
                    <a:pt x="859" y="1222"/>
                    <a:pt x="859" y="1222"/>
                    <a:pt x="859" y="1222"/>
                  </a:cubicBezTo>
                  <a:cubicBezTo>
                    <a:pt x="858" y="1222"/>
                    <a:pt x="858" y="1222"/>
                    <a:pt x="858" y="1222"/>
                  </a:cubicBezTo>
                  <a:cubicBezTo>
                    <a:pt x="858" y="1223"/>
                    <a:pt x="858" y="1223"/>
                    <a:pt x="858" y="1223"/>
                  </a:cubicBezTo>
                  <a:cubicBezTo>
                    <a:pt x="857" y="1223"/>
                    <a:pt x="857" y="1223"/>
                    <a:pt x="857" y="1223"/>
                  </a:cubicBezTo>
                  <a:cubicBezTo>
                    <a:pt x="857" y="1223"/>
                    <a:pt x="857" y="1223"/>
                    <a:pt x="857" y="1223"/>
                  </a:cubicBezTo>
                  <a:cubicBezTo>
                    <a:pt x="857" y="1224"/>
                    <a:pt x="857" y="1224"/>
                    <a:pt x="857" y="1224"/>
                  </a:cubicBezTo>
                  <a:cubicBezTo>
                    <a:pt x="858" y="1225"/>
                    <a:pt x="858" y="1225"/>
                    <a:pt x="858" y="1225"/>
                  </a:cubicBezTo>
                  <a:cubicBezTo>
                    <a:pt x="858" y="1225"/>
                    <a:pt x="858" y="1225"/>
                    <a:pt x="858" y="1225"/>
                  </a:cubicBezTo>
                  <a:cubicBezTo>
                    <a:pt x="858" y="1225"/>
                    <a:pt x="858" y="1225"/>
                    <a:pt x="858" y="1225"/>
                  </a:cubicBezTo>
                  <a:cubicBezTo>
                    <a:pt x="858" y="1225"/>
                    <a:pt x="858" y="1225"/>
                    <a:pt x="858" y="1225"/>
                  </a:cubicBezTo>
                  <a:cubicBezTo>
                    <a:pt x="858" y="1226"/>
                    <a:pt x="858" y="1226"/>
                    <a:pt x="858" y="1226"/>
                  </a:cubicBezTo>
                  <a:cubicBezTo>
                    <a:pt x="857" y="1226"/>
                    <a:pt x="857" y="1226"/>
                    <a:pt x="857" y="1226"/>
                  </a:cubicBezTo>
                  <a:cubicBezTo>
                    <a:pt x="858" y="1226"/>
                    <a:pt x="858" y="1226"/>
                    <a:pt x="858" y="1226"/>
                  </a:cubicBezTo>
                  <a:cubicBezTo>
                    <a:pt x="858" y="1226"/>
                    <a:pt x="858" y="1226"/>
                    <a:pt x="858" y="1226"/>
                  </a:cubicBezTo>
                  <a:cubicBezTo>
                    <a:pt x="858" y="1227"/>
                    <a:pt x="858" y="1227"/>
                    <a:pt x="858" y="1227"/>
                  </a:cubicBezTo>
                  <a:cubicBezTo>
                    <a:pt x="858" y="1227"/>
                    <a:pt x="858" y="1227"/>
                    <a:pt x="858" y="1227"/>
                  </a:cubicBezTo>
                  <a:cubicBezTo>
                    <a:pt x="857" y="1227"/>
                    <a:pt x="857" y="1227"/>
                    <a:pt x="857" y="1227"/>
                  </a:cubicBezTo>
                  <a:cubicBezTo>
                    <a:pt x="857" y="1228"/>
                    <a:pt x="857" y="1228"/>
                    <a:pt x="857" y="1228"/>
                  </a:cubicBezTo>
                  <a:cubicBezTo>
                    <a:pt x="857" y="1228"/>
                    <a:pt x="857" y="1228"/>
                    <a:pt x="857" y="1228"/>
                  </a:cubicBezTo>
                  <a:cubicBezTo>
                    <a:pt x="857" y="1231"/>
                    <a:pt x="857" y="1231"/>
                    <a:pt x="857" y="1231"/>
                  </a:cubicBezTo>
                  <a:cubicBezTo>
                    <a:pt x="857" y="1231"/>
                    <a:pt x="857" y="1231"/>
                    <a:pt x="857" y="1231"/>
                  </a:cubicBezTo>
                  <a:cubicBezTo>
                    <a:pt x="856" y="1232"/>
                    <a:pt x="856" y="1232"/>
                    <a:pt x="856" y="1232"/>
                  </a:cubicBezTo>
                  <a:cubicBezTo>
                    <a:pt x="856" y="1232"/>
                    <a:pt x="856" y="1232"/>
                    <a:pt x="856" y="1232"/>
                  </a:cubicBezTo>
                  <a:cubicBezTo>
                    <a:pt x="856" y="1233"/>
                    <a:pt x="856" y="1233"/>
                    <a:pt x="856" y="1233"/>
                  </a:cubicBezTo>
                  <a:cubicBezTo>
                    <a:pt x="855" y="1233"/>
                    <a:pt x="855" y="1233"/>
                    <a:pt x="855" y="1233"/>
                  </a:cubicBezTo>
                  <a:cubicBezTo>
                    <a:pt x="855" y="1233"/>
                    <a:pt x="855" y="1233"/>
                    <a:pt x="855" y="1233"/>
                  </a:cubicBezTo>
                  <a:cubicBezTo>
                    <a:pt x="855" y="1234"/>
                    <a:pt x="855" y="1234"/>
                    <a:pt x="855" y="1234"/>
                  </a:cubicBezTo>
                  <a:cubicBezTo>
                    <a:pt x="857" y="1237"/>
                    <a:pt x="857" y="1237"/>
                    <a:pt x="857" y="1237"/>
                  </a:cubicBezTo>
                  <a:cubicBezTo>
                    <a:pt x="857" y="1237"/>
                    <a:pt x="857" y="1237"/>
                    <a:pt x="857" y="1237"/>
                  </a:cubicBezTo>
                  <a:cubicBezTo>
                    <a:pt x="857" y="1236"/>
                    <a:pt x="857" y="1236"/>
                    <a:pt x="857" y="1236"/>
                  </a:cubicBezTo>
                  <a:cubicBezTo>
                    <a:pt x="858" y="1236"/>
                    <a:pt x="858" y="1236"/>
                    <a:pt x="858" y="1236"/>
                  </a:cubicBezTo>
                  <a:cubicBezTo>
                    <a:pt x="859" y="1237"/>
                    <a:pt x="859" y="1237"/>
                    <a:pt x="859" y="1237"/>
                  </a:cubicBezTo>
                  <a:cubicBezTo>
                    <a:pt x="859" y="1237"/>
                    <a:pt x="859" y="1237"/>
                    <a:pt x="859" y="1237"/>
                  </a:cubicBezTo>
                  <a:cubicBezTo>
                    <a:pt x="859" y="1238"/>
                    <a:pt x="859" y="1238"/>
                    <a:pt x="859" y="1238"/>
                  </a:cubicBezTo>
                  <a:cubicBezTo>
                    <a:pt x="859" y="1239"/>
                    <a:pt x="859" y="1239"/>
                    <a:pt x="859" y="1239"/>
                  </a:cubicBezTo>
                  <a:cubicBezTo>
                    <a:pt x="859" y="1239"/>
                    <a:pt x="859" y="1239"/>
                    <a:pt x="859" y="1239"/>
                  </a:cubicBezTo>
                  <a:cubicBezTo>
                    <a:pt x="858" y="1239"/>
                    <a:pt x="858" y="1239"/>
                    <a:pt x="858" y="1239"/>
                  </a:cubicBezTo>
                  <a:cubicBezTo>
                    <a:pt x="858" y="1239"/>
                    <a:pt x="858" y="1239"/>
                    <a:pt x="858" y="1239"/>
                  </a:cubicBezTo>
                  <a:cubicBezTo>
                    <a:pt x="858" y="1239"/>
                    <a:pt x="858" y="1239"/>
                    <a:pt x="858" y="1239"/>
                  </a:cubicBezTo>
                  <a:cubicBezTo>
                    <a:pt x="858" y="1238"/>
                    <a:pt x="858" y="1238"/>
                    <a:pt x="858" y="1238"/>
                  </a:cubicBezTo>
                  <a:cubicBezTo>
                    <a:pt x="857" y="1238"/>
                    <a:pt x="857" y="1238"/>
                    <a:pt x="857" y="1238"/>
                  </a:cubicBezTo>
                  <a:cubicBezTo>
                    <a:pt x="857" y="1238"/>
                    <a:pt x="857" y="1238"/>
                    <a:pt x="857" y="1238"/>
                  </a:cubicBezTo>
                  <a:cubicBezTo>
                    <a:pt x="857" y="1239"/>
                    <a:pt x="857" y="1239"/>
                    <a:pt x="857" y="1239"/>
                  </a:cubicBezTo>
                  <a:cubicBezTo>
                    <a:pt x="858" y="1240"/>
                    <a:pt x="858" y="1240"/>
                    <a:pt x="858" y="1240"/>
                  </a:cubicBezTo>
                  <a:cubicBezTo>
                    <a:pt x="859" y="1241"/>
                    <a:pt x="859" y="1241"/>
                    <a:pt x="859" y="1241"/>
                  </a:cubicBezTo>
                  <a:cubicBezTo>
                    <a:pt x="860" y="1241"/>
                    <a:pt x="860" y="1241"/>
                    <a:pt x="860" y="1241"/>
                  </a:cubicBezTo>
                  <a:cubicBezTo>
                    <a:pt x="860" y="1242"/>
                    <a:pt x="860" y="1242"/>
                    <a:pt x="860" y="1242"/>
                  </a:cubicBezTo>
                  <a:cubicBezTo>
                    <a:pt x="860" y="1246"/>
                    <a:pt x="860" y="1246"/>
                    <a:pt x="860" y="1246"/>
                  </a:cubicBezTo>
                  <a:cubicBezTo>
                    <a:pt x="859" y="1246"/>
                    <a:pt x="859" y="1246"/>
                    <a:pt x="859" y="1246"/>
                  </a:cubicBezTo>
                  <a:cubicBezTo>
                    <a:pt x="859" y="1246"/>
                    <a:pt x="859" y="1246"/>
                    <a:pt x="859" y="1246"/>
                  </a:cubicBezTo>
                  <a:cubicBezTo>
                    <a:pt x="858" y="1246"/>
                    <a:pt x="858" y="1246"/>
                    <a:pt x="858" y="1246"/>
                  </a:cubicBezTo>
                  <a:cubicBezTo>
                    <a:pt x="858" y="1246"/>
                    <a:pt x="858" y="1246"/>
                    <a:pt x="858" y="1246"/>
                  </a:cubicBezTo>
                  <a:cubicBezTo>
                    <a:pt x="858" y="1246"/>
                    <a:pt x="858" y="1246"/>
                    <a:pt x="858" y="1246"/>
                  </a:cubicBezTo>
                  <a:cubicBezTo>
                    <a:pt x="858" y="1245"/>
                    <a:pt x="858" y="1245"/>
                    <a:pt x="858" y="1245"/>
                  </a:cubicBezTo>
                  <a:cubicBezTo>
                    <a:pt x="857" y="1244"/>
                    <a:pt x="857" y="1244"/>
                    <a:pt x="857" y="1244"/>
                  </a:cubicBezTo>
                  <a:cubicBezTo>
                    <a:pt x="857" y="1244"/>
                    <a:pt x="857" y="1244"/>
                    <a:pt x="857" y="1244"/>
                  </a:cubicBezTo>
                  <a:cubicBezTo>
                    <a:pt x="856" y="1242"/>
                    <a:pt x="856" y="1242"/>
                    <a:pt x="856" y="1242"/>
                  </a:cubicBezTo>
                  <a:cubicBezTo>
                    <a:pt x="856" y="1242"/>
                    <a:pt x="856" y="1242"/>
                    <a:pt x="856" y="1242"/>
                  </a:cubicBezTo>
                  <a:cubicBezTo>
                    <a:pt x="855" y="1242"/>
                    <a:pt x="855" y="1242"/>
                    <a:pt x="855" y="1242"/>
                  </a:cubicBezTo>
                  <a:cubicBezTo>
                    <a:pt x="854" y="1242"/>
                    <a:pt x="854" y="1242"/>
                    <a:pt x="854" y="1242"/>
                  </a:cubicBezTo>
                  <a:cubicBezTo>
                    <a:pt x="854" y="1243"/>
                    <a:pt x="854" y="1243"/>
                    <a:pt x="854" y="1243"/>
                  </a:cubicBezTo>
                  <a:cubicBezTo>
                    <a:pt x="855" y="1243"/>
                    <a:pt x="855" y="1243"/>
                    <a:pt x="855" y="1243"/>
                  </a:cubicBezTo>
                  <a:cubicBezTo>
                    <a:pt x="855" y="1243"/>
                    <a:pt x="855" y="1243"/>
                    <a:pt x="855" y="1243"/>
                  </a:cubicBezTo>
                  <a:cubicBezTo>
                    <a:pt x="855" y="1243"/>
                    <a:pt x="855" y="1243"/>
                    <a:pt x="855" y="1243"/>
                  </a:cubicBezTo>
                  <a:cubicBezTo>
                    <a:pt x="856" y="1244"/>
                    <a:pt x="856" y="1244"/>
                    <a:pt x="856" y="1244"/>
                  </a:cubicBezTo>
                  <a:cubicBezTo>
                    <a:pt x="856" y="1245"/>
                    <a:pt x="856" y="1245"/>
                    <a:pt x="856" y="1245"/>
                  </a:cubicBezTo>
                  <a:cubicBezTo>
                    <a:pt x="857" y="1247"/>
                    <a:pt x="857" y="1247"/>
                    <a:pt x="857" y="1247"/>
                  </a:cubicBezTo>
                  <a:cubicBezTo>
                    <a:pt x="857" y="1247"/>
                    <a:pt x="857" y="1247"/>
                    <a:pt x="857" y="1247"/>
                  </a:cubicBezTo>
                  <a:cubicBezTo>
                    <a:pt x="857" y="1247"/>
                    <a:pt x="857" y="1247"/>
                    <a:pt x="857" y="1247"/>
                  </a:cubicBezTo>
                  <a:cubicBezTo>
                    <a:pt x="860" y="1251"/>
                    <a:pt x="860" y="1251"/>
                    <a:pt x="860" y="1251"/>
                  </a:cubicBezTo>
                  <a:cubicBezTo>
                    <a:pt x="861" y="1251"/>
                    <a:pt x="861" y="1251"/>
                    <a:pt x="861" y="1251"/>
                  </a:cubicBezTo>
                  <a:cubicBezTo>
                    <a:pt x="862" y="1252"/>
                    <a:pt x="862" y="1252"/>
                    <a:pt x="862" y="1252"/>
                  </a:cubicBezTo>
                  <a:cubicBezTo>
                    <a:pt x="863" y="1253"/>
                    <a:pt x="863" y="1253"/>
                    <a:pt x="863" y="1253"/>
                  </a:cubicBezTo>
                  <a:cubicBezTo>
                    <a:pt x="865" y="1254"/>
                    <a:pt x="865" y="1254"/>
                    <a:pt x="865" y="1254"/>
                  </a:cubicBezTo>
                  <a:cubicBezTo>
                    <a:pt x="867" y="1255"/>
                    <a:pt x="867" y="1255"/>
                    <a:pt x="867" y="1255"/>
                  </a:cubicBezTo>
                  <a:cubicBezTo>
                    <a:pt x="867" y="1255"/>
                    <a:pt x="867" y="1255"/>
                    <a:pt x="867" y="1255"/>
                  </a:cubicBezTo>
                  <a:cubicBezTo>
                    <a:pt x="867" y="1255"/>
                    <a:pt x="867" y="1255"/>
                    <a:pt x="867" y="1255"/>
                  </a:cubicBezTo>
                  <a:cubicBezTo>
                    <a:pt x="867" y="1255"/>
                    <a:pt x="867" y="1255"/>
                    <a:pt x="867" y="1255"/>
                  </a:cubicBezTo>
                  <a:cubicBezTo>
                    <a:pt x="867" y="1256"/>
                    <a:pt x="867" y="1256"/>
                    <a:pt x="867" y="1256"/>
                  </a:cubicBezTo>
                  <a:cubicBezTo>
                    <a:pt x="868" y="1256"/>
                    <a:pt x="868" y="1256"/>
                    <a:pt x="868" y="1256"/>
                  </a:cubicBezTo>
                  <a:cubicBezTo>
                    <a:pt x="868" y="1256"/>
                    <a:pt x="868" y="1256"/>
                    <a:pt x="868" y="1256"/>
                  </a:cubicBezTo>
                  <a:cubicBezTo>
                    <a:pt x="868" y="1256"/>
                    <a:pt x="868" y="1256"/>
                    <a:pt x="868" y="1256"/>
                  </a:cubicBezTo>
                  <a:cubicBezTo>
                    <a:pt x="868" y="1257"/>
                    <a:pt x="868" y="1257"/>
                    <a:pt x="868" y="1257"/>
                  </a:cubicBezTo>
                  <a:cubicBezTo>
                    <a:pt x="868" y="1256"/>
                    <a:pt x="868" y="1256"/>
                    <a:pt x="868" y="1256"/>
                  </a:cubicBezTo>
                  <a:cubicBezTo>
                    <a:pt x="868" y="1256"/>
                    <a:pt x="868" y="1256"/>
                    <a:pt x="868" y="1256"/>
                  </a:cubicBezTo>
                  <a:cubicBezTo>
                    <a:pt x="868" y="1256"/>
                    <a:pt x="868" y="1256"/>
                    <a:pt x="868" y="1256"/>
                  </a:cubicBezTo>
                  <a:cubicBezTo>
                    <a:pt x="869" y="1257"/>
                    <a:pt x="869" y="1257"/>
                    <a:pt x="869" y="1257"/>
                  </a:cubicBezTo>
                  <a:cubicBezTo>
                    <a:pt x="869" y="1257"/>
                    <a:pt x="869" y="1257"/>
                    <a:pt x="869" y="1257"/>
                  </a:cubicBezTo>
                  <a:cubicBezTo>
                    <a:pt x="869" y="1257"/>
                    <a:pt x="869" y="1257"/>
                    <a:pt x="869" y="1257"/>
                  </a:cubicBezTo>
                  <a:cubicBezTo>
                    <a:pt x="869" y="1257"/>
                    <a:pt x="869" y="1257"/>
                    <a:pt x="869" y="1257"/>
                  </a:cubicBezTo>
                  <a:cubicBezTo>
                    <a:pt x="870" y="1257"/>
                    <a:pt x="870" y="1257"/>
                    <a:pt x="870" y="1257"/>
                  </a:cubicBezTo>
                  <a:cubicBezTo>
                    <a:pt x="871" y="1257"/>
                    <a:pt x="871" y="1257"/>
                    <a:pt x="871" y="1257"/>
                  </a:cubicBezTo>
                  <a:cubicBezTo>
                    <a:pt x="871" y="1258"/>
                    <a:pt x="871" y="1258"/>
                    <a:pt x="871" y="1258"/>
                  </a:cubicBezTo>
                  <a:cubicBezTo>
                    <a:pt x="871" y="1258"/>
                    <a:pt x="871" y="1258"/>
                    <a:pt x="871" y="1258"/>
                  </a:cubicBezTo>
                  <a:cubicBezTo>
                    <a:pt x="872" y="1261"/>
                    <a:pt x="872" y="1261"/>
                    <a:pt x="872" y="1261"/>
                  </a:cubicBezTo>
                  <a:cubicBezTo>
                    <a:pt x="873" y="1261"/>
                    <a:pt x="873" y="1261"/>
                    <a:pt x="873" y="1261"/>
                  </a:cubicBezTo>
                  <a:cubicBezTo>
                    <a:pt x="872" y="1262"/>
                    <a:pt x="872" y="1262"/>
                    <a:pt x="872" y="1262"/>
                  </a:cubicBezTo>
                  <a:cubicBezTo>
                    <a:pt x="872" y="1262"/>
                    <a:pt x="872" y="1262"/>
                    <a:pt x="872" y="1262"/>
                  </a:cubicBezTo>
                  <a:cubicBezTo>
                    <a:pt x="872" y="1263"/>
                    <a:pt x="872" y="1263"/>
                    <a:pt x="872" y="1263"/>
                  </a:cubicBezTo>
                  <a:cubicBezTo>
                    <a:pt x="872" y="1263"/>
                    <a:pt x="872" y="1263"/>
                    <a:pt x="872" y="1263"/>
                  </a:cubicBezTo>
                  <a:cubicBezTo>
                    <a:pt x="872" y="1263"/>
                    <a:pt x="872" y="1263"/>
                    <a:pt x="872" y="1263"/>
                  </a:cubicBezTo>
                  <a:cubicBezTo>
                    <a:pt x="872" y="1263"/>
                    <a:pt x="872" y="1263"/>
                    <a:pt x="872" y="1263"/>
                  </a:cubicBezTo>
                  <a:cubicBezTo>
                    <a:pt x="873" y="1263"/>
                    <a:pt x="873" y="1263"/>
                    <a:pt x="873" y="1263"/>
                  </a:cubicBezTo>
                  <a:cubicBezTo>
                    <a:pt x="873" y="1263"/>
                    <a:pt x="873" y="1263"/>
                    <a:pt x="873" y="1263"/>
                  </a:cubicBezTo>
                  <a:cubicBezTo>
                    <a:pt x="873" y="1263"/>
                    <a:pt x="873" y="1263"/>
                    <a:pt x="873" y="1263"/>
                  </a:cubicBezTo>
                  <a:cubicBezTo>
                    <a:pt x="873" y="1263"/>
                    <a:pt x="873" y="1263"/>
                    <a:pt x="873" y="1263"/>
                  </a:cubicBezTo>
                  <a:cubicBezTo>
                    <a:pt x="873" y="1264"/>
                    <a:pt x="873" y="1264"/>
                    <a:pt x="873" y="1264"/>
                  </a:cubicBezTo>
                  <a:cubicBezTo>
                    <a:pt x="873" y="1264"/>
                    <a:pt x="873" y="1264"/>
                    <a:pt x="873" y="1264"/>
                  </a:cubicBezTo>
                  <a:cubicBezTo>
                    <a:pt x="874" y="1264"/>
                    <a:pt x="874" y="1264"/>
                    <a:pt x="874" y="1264"/>
                  </a:cubicBezTo>
                  <a:cubicBezTo>
                    <a:pt x="874" y="1264"/>
                    <a:pt x="874" y="1264"/>
                    <a:pt x="874" y="1264"/>
                  </a:cubicBezTo>
                  <a:cubicBezTo>
                    <a:pt x="875" y="1264"/>
                    <a:pt x="875" y="1264"/>
                    <a:pt x="875" y="1264"/>
                  </a:cubicBezTo>
                  <a:cubicBezTo>
                    <a:pt x="875" y="1265"/>
                    <a:pt x="875" y="1265"/>
                    <a:pt x="875" y="1265"/>
                  </a:cubicBezTo>
                  <a:cubicBezTo>
                    <a:pt x="875" y="1266"/>
                    <a:pt x="875" y="1266"/>
                    <a:pt x="875" y="1266"/>
                  </a:cubicBezTo>
                  <a:cubicBezTo>
                    <a:pt x="874" y="1268"/>
                    <a:pt x="874" y="1268"/>
                    <a:pt x="874" y="1268"/>
                  </a:cubicBezTo>
                  <a:cubicBezTo>
                    <a:pt x="874" y="1269"/>
                    <a:pt x="874" y="1269"/>
                    <a:pt x="874" y="1269"/>
                  </a:cubicBezTo>
                  <a:cubicBezTo>
                    <a:pt x="874" y="1269"/>
                    <a:pt x="874" y="1269"/>
                    <a:pt x="874" y="1269"/>
                  </a:cubicBezTo>
                  <a:cubicBezTo>
                    <a:pt x="875" y="1269"/>
                    <a:pt x="875" y="1269"/>
                    <a:pt x="875" y="1269"/>
                  </a:cubicBezTo>
                  <a:cubicBezTo>
                    <a:pt x="874" y="1270"/>
                    <a:pt x="874" y="1270"/>
                    <a:pt x="874" y="1270"/>
                  </a:cubicBezTo>
                  <a:cubicBezTo>
                    <a:pt x="874" y="1271"/>
                    <a:pt x="874" y="1271"/>
                    <a:pt x="874" y="1271"/>
                  </a:cubicBezTo>
                  <a:cubicBezTo>
                    <a:pt x="874" y="1271"/>
                    <a:pt x="874" y="1271"/>
                    <a:pt x="874" y="1271"/>
                  </a:cubicBezTo>
                  <a:cubicBezTo>
                    <a:pt x="874" y="1271"/>
                    <a:pt x="874" y="1271"/>
                    <a:pt x="874" y="1271"/>
                  </a:cubicBezTo>
                  <a:cubicBezTo>
                    <a:pt x="874" y="1271"/>
                    <a:pt x="874" y="1271"/>
                    <a:pt x="874" y="1271"/>
                  </a:cubicBezTo>
                  <a:cubicBezTo>
                    <a:pt x="875" y="1271"/>
                    <a:pt x="875" y="1271"/>
                    <a:pt x="875" y="1271"/>
                  </a:cubicBezTo>
                  <a:cubicBezTo>
                    <a:pt x="876" y="1271"/>
                    <a:pt x="876" y="1271"/>
                    <a:pt x="876" y="1271"/>
                  </a:cubicBezTo>
                  <a:cubicBezTo>
                    <a:pt x="877" y="1271"/>
                    <a:pt x="877" y="1271"/>
                    <a:pt x="877" y="1271"/>
                  </a:cubicBezTo>
                  <a:cubicBezTo>
                    <a:pt x="878" y="1272"/>
                    <a:pt x="878" y="1272"/>
                    <a:pt x="878" y="1272"/>
                  </a:cubicBezTo>
                  <a:cubicBezTo>
                    <a:pt x="879" y="1273"/>
                    <a:pt x="879" y="1273"/>
                    <a:pt x="879" y="1273"/>
                  </a:cubicBezTo>
                  <a:cubicBezTo>
                    <a:pt x="880" y="1273"/>
                    <a:pt x="880" y="1273"/>
                    <a:pt x="880" y="1273"/>
                  </a:cubicBezTo>
                  <a:cubicBezTo>
                    <a:pt x="880" y="1273"/>
                    <a:pt x="880" y="1273"/>
                    <a:pt x="880" y="1273"/>
                  </a:cubicBezTo>
                  <a:cubicBezTo>
                    <a:pt x="880" y="1273"/>
                    <a:pt x="880" y="1273"/>
                    <a:pt x="880" y="1273"/>
                  </a:cubicBezTo>
                  <a:cubicBezTo>
                    <a:pt x="880" y="1273"/>
                    <a:pt x="880" y="1273"/>
                    <a:pt x="880" y="1273"/>
                  </a:cubicBezTo>
                  <a:cubicBezTo>
                    <a:pt x="880" y="1272"/>
                    <a:pt x="880" y="1272"/>
                    <a:pt x="880" y="1272"/>
                  </a:cubicBezTo>
                  <a:cubicBezTo>
                    <a:pt x="880" y="1272"/>
                    <a:pt x="880" y="1272"/>
                    <a:pt x="880" y="1272"/>
                  </a:cubicBezTo>
                  <a:cubicBezTo>
                    <a:pt x="881" y="1272"/>
                    <a:pt x="881" y="1272"/>
                    <a:pt x="881" y="1272"/>
                  </a:cubicBezTo>
                  <a:cubicBezTo>
                    <a:pt x="881" y="1272"/>
                    <a:pt x="881" y="1272"/>
                    <a:pt x="881" y="1272"/>
                  </a:cubicBezTo>
                  <a:cubicBezTo>
                    <a:pt x="881" y="1273"/>
                    <a:pt x="881" y="1273"/>
                    <a:pt x="881" y="1273"/>
                  </a:cubicBezTo>
                  <a:cubicBezTo>
                    <a:pt x="881" y="1273"/>
                    <a:pt x="881" y="1273"/>
                    <a:pt x="881" y="1273"/>
                  </a:cubicBezTo>
                  <a:cubicBezTo>
                    <a:pt x="881" y="1274"/>
                    <a:pt x="881" y="1274"/>
                    <a:pt x="881" y="1274"/>
                  </a:cubicBezTo>
                  <a:cubicBezTo>
                    <a:pt x="881" y="1274"/>
                    <a:pt x="881" y="1274"/>
                    <a:pt x="881" y="1274"/>
                  </a:cubicBezTo>
                  <a:cubicBezTo>
                    <a:pt x="881" y="1274"/>
                    <a:pt x="881" y="1274"/>
                    <a:pt x="881" y="1274"/>
                  </a:cubicBezTo>
                  <a:cubicBezTo>
                    <a:pt x="881" y="1275"/>
                    <a:pt x="881" y="1275"/>
                    <a:pt x="881" y="1275"/>
                  </a:cubicBezTo>
                  <a:cubicBezTo>
                    <a:pt x="881" y="1275"/>
                    <a:pt x="881" y="1275"/>
                    <a:pt x="881" y="1275"/>
                  </a:cubicBezTo>
                  <a:cubicBezTo>
                    <a:pt x="880" y="1275"/>
                    <a:pt x="880" y="1275"/>
                    <a:pt x="880" y="1275"/>
                  </a:cubicBezTo>
                  <a:cubicBezTo>
                    <a:pt x="880" y="1275"/>
                    <a:pt x="880" y="1275"/>
                    <a:pt x="880" y="1275"/>
                  </a:cubicBezTo>
                  <a:cubicBezTo>
                    <a:pt x="880" y="1275"/>
                    <a:pt x="880" y="1275"/>
                    <a:pt x="880" y="1275"/>
                  </a:cubicBezTo>
                  <a:cubicBezTo>
                    <a:pt x="880" y="1276"/>
                    <a:pt x="880" y="1276"/>
                    <a:pt x="880" y="1276"/>
                  </a:cubicBezTo>
                  <a:cubicBezTo>
                    <a:pt x="880" y="1276"/>
                    <a:pt x="880" y="1276"/>
                    <a:pt x="880" y="1276"/>
                  </a:cubicBezTo>
                  <a:cubicBezTo>
                    <a:pt x="880" y="1276"/>
                    <a:pt x="880" y="1276"/>
                    <a:pt x="880" y="1276"/>
                  </a:cubicBezTo>
                  <a:cubicBezTo>
                    <a:pt x="880" y="1276"/>
                    <a:pt x="880" y="1276"/>
                    <a:pt x="880" y="1276"/>
                  </a:cubicBezTo>
                  <a:cubicBezTo>
                    <a:pt x="881" y="1276"/>
                    <a:pt x="881" y="1276"/>
                    <a:pt x="881" y="1276"/>
                  </a:cubicBezTo>
                  <a:cubicBezTo>
                    <a:pt x="881" y="1276"/>
                    <a:pt x="881" y="1276"/>
                    <a:pt x="881" y="1276"/>
                  </a:cubicBezTo>
                  <a:cubicBezTo>
                    <a:pt x="882" y="1276"/>
                    <a:pt x="882" y="1276"/>
                    <a:pt x="882" y="1276"/>
                  </a:cubicBezTo>
                  <a:cubicBezTo>
                    <a:pt x="881" y="1276"/>
                    <a:pt x="881" y="1276"/>
                    <a:pt x="881" y="1276"/>
                  </a:cubicBezTo>
                  <a:cubicBezTo>
                    <a:pt x="882" y="1276"/>
                    <a:pt x="882" y="1276"/>
                    <a:pt x="882" y="1276"/>
                  </a:cubicBezTo>
                  <a:cubicBezTo>
                    <a:pt x="882" y="1277"/>
                    <a:pt x="882" y="1277"/>
                    <a:pt x="882" y="1277"/>
                  </a:cubicBezTo>
                  <a:cubicBezTo>
                    <a:pt x="882" y="1277"/>
                    <a:pt x="882" y="1277"/>
                    <a:pt x="882" y="1277"/>
                  </a:cubicBezTo>
                  <a:cubicBezTo>
                    <a:pt x="882" y="1276"/>
                    <a:pt x="882" y="1276"/>
                    <a:pt x="882" y="1276"/>
                  </a:cubicBezTo>
                  <a:cubicBezTo>
                    <a:pt x="883" y="1276"/>
                    <a:pt x="883" y="1276"/>
                    <a:pt x="883" y="1276"/>
                  </a:cubicBezTo>
                  <a:cubicBezTo>
                    <a:pt x="883" y="1277"/>
                    <a:pt x="883" y="1277"/>
                    <a:pt x="883" y="1277"/>
                  </a:cubicBezTo>
                  <a:cubicBezTo>
                    <a:pt x="884" y="1277"/>
                    <a:pt x="884" y="1277"/>
                    <a:pt x="884" y="1277"/>
                  </a:cubicBezTo>
                  <a:cubicBezTo>
                    <a:pt x="884" y="1277"/>
                    <a:pt x="884" y="1277"/>
                    <a:pt x="884" y="1277"/>
                  </a:cubicBezTo>
                  <a:cubicBezTo>
                    <a:pt x="883" y="1278"/>
                    <a:pt x="883" y="1278"/>
                    <a:pt x="883" y="1278"/>
                  </a:cubicBezTo>
                  <a:cubicBezTo>
                    <a:pt x="883" y="1278"/>
                    <a:pt x="883" y="1278"/>
                    <a:pt x="883" y="1278"/>
                  </a:cubicBezTo>
                  <a:cubicBezTo>
                    <a:pt x="883" y="1278"/>
                    <a:pt x="883" y="1278"/>
                    <a:pt x="883" y="1278"/>
                  </a:cubicBezTo>
                  <a:cubicBezTo>
                    <a:pt x="882" y="1278"/>
                    <a:pt x="882" y="1278"/>
                    <a:pt x="882" y="1278"/>
                  </a:cubicBezTo>
                  <a:cubicBezTo>
                    <a:pt x="882" y="1278"/>
                    <a:pt x="882" y="1278"/>
                    <a:pt x="882" y="1278"/>
                  </a:cubicBezTo>
                  <a:cubicBezTo>
                    <a:pt x="883" y="1279"/>
                    <a:pt x="883" y="1279"/>
                    <a:pt x="883" y="1279"/>
                  </a:cubicBezTo>
                  <a:cubicBezTo>
                    <a:pt x="884" y="1279"/>
                    <a:pt x="884" y="1279"/>
                    <a:pt x="884" y="1279"/>
                  </a:cubicBezTo>
                  <a:cubicBezTo>
                    <a:pt x="884" y="1279"/>
                    <a:pt x="884" y="1279"/>
                    <a:pt x="884" y="1279"/>
                  </a:cubicBezTo>
                  <a:cubicBezTo>
                    <a:pt x="883" y="1279"/>
                    <a:pt x="883" y="1279"/>
                    <a:pt x="883" y="1279"/>
                  </a:cubicBezTo>
                  <a:cubicBezTo>
                    <a:pt x="883" y="1279"/>
                    <a:pt x="883" y="1279"/>
                    <a:pt x="883" y="1279"/>
                  </a:cubicBezTo>
                  <a:cubicBezTo>
                    <a:pt x="882" y="1280"/>
                    <a:pt x="882" y="1280"/>
                    <a:pt x="882" y="1280"/>
                  </a:cubicBezTo>
                  <a:cubicBezTo>
                    <a:pt x="882" y="1280"/>
                    <a:pt x="882" y="1280"/>
                    <a:pt x="882" y="1280"/>
                  </a:cubicBezTo>
                  <a:cubicBezTo>
                    <a:pt x="883" y="1280"/>
                    <a:pt x="883" y="1280"/>
                    <a:pt x="883" y="1280"/>
                  </a:cubicBezTo>
                  <a:cubicBezTo>
                    <a:pt x="883" y="1281"/>
                    <a:pt x="883" y="1281"/>
                    <a:pt x="883" y="1281"/>
                  </a:cubicBezTo>
                  <a:cubicBezTo>
                    <a:pt x="883" y="1281"/>
                    <a:pt x="883" y="1281"/>
                    <a:pt x="883" y="1281"/>
                  </a:cubicBezTo>
                  <a:cubicBezTo>
                    <a:pt x="883" y="1281"/>
                    <a:pt x="883" y="1281"/>
                    <a:pt x="883" y="1281"/>
                  </a:cubicBezTo>
                  <a:cubicBezTo>
                    <a:pt x="883" y="1281"/>
                    <a:pt x="883" y="1281"/>
                    <a:pt x="883" y="1281"/>
                  </a:cubicBezTo>
                  <a:cubicBezTo>
                    <a:pt x="883" y="1281"/>
                    <a:pt x="883" y="1281"/>
                    <a:pt x="883" y="1281"/>
                  </a:cubicBezTo>
                  <a:cubicBezTo>
                    <a:pt x="884" y="1282"/>
                    <a:pt x="884" y="1282"/>
                    <a:pt x="884" y="1282"/>
                  </a:cubicBezTo>
                  <a:cubicBezTo>
                    <a:pt x="884" y="1282"/>
                    <a:pt x="884" y="1282"/>
                    <a:pt x="884" y="1282"/>
                  </a:cubicBezTo>
                  <a:cubicBezTo>
                    <a:pt x="884" y="1283"/>
                    <a:pt x="884" y="1283"/>
                    <a:pt x="884" y="1283"/>
                  </a:cubicBezTo>
                  <a:cubicBezTo>
                    <a:pt x="884" y="1284"/>
                    <a:pt x="884" y="1284"/>
                    <a:pt x="884" y="1284"/>
                  </a:cubicBezTo>
                  <a:cubicBezTo>
                    <a:pt x="885" y="1285"/>
                    <a:pt x="885" y="1285"/>
                    <a:pt x="885" y="1285"/>
                  </a:cubicBezTo>
                  <a:cubicBezTo>
                    <a:pt x="886" y="1286"/>
                    <a:pt x="886" y="1286"/>
                    <a:pt x="886" y="1286"/>
                  </a:cubicBezTo>
                  <a:cubicBezTo>
                    <a:pt x="887" y="1285"/>
                    <a:pt x="887" y="1285"/>
                    <a:pt x="887" y="1285"/>
                  </a:cubicBezTo>
                  <a:cubicBezTo>
                    <a:pt x="888" y="1286"/>
                    <a:pt x="888" y="1286"/>
                    <a:pt x="888" y="1286"/>
                  </a:cubicBezTo>
                  <a:cubicBezTo>
                    <a:pt x="888" y="1286"/>
                    <a:pt x="888" y="1286"/>
                    <a:pt x="888" y="1286"/>
                  </a:cubicBezTo>
                  <a:cubicBezTo>
                    <a:pt x="889" y="1286"/>
                    <a:pt x="889" y="1286"/>
                    <a:pt x="889" y="1286"/>
                  </a:cubicBezTo>
                  <a:cubicBezTo>
                    <a:pt x="889" y="1286"/>
                    <a:pt x="889" y="1286"/>
                    <a:pt x="889" y="1286"/>
                  </a:cubicBezTo>
                  <a:cubicBezTo>
                    <a:pt x="889" y="1286"/>
                    <a:pt x="889" y="1286"/>
                    <a:pt x="889" y="1286"/>
                  </a:cubicBezTo>
                  <a:cubicBezTo>
                    <a:pt x="889" y="1286"/>
                    <a:pt x="889" y="1286"/>
                    <a:pt x="889" y="1286"/>
                  </a:cubicBezTo>
                  <a:cubicBezTo>
                    <a:pt x="890" y="1286"/>
                    <a:pt x="890" y="1286"/>
                    <a:pt x="890" y="1286"/>
                  </a:cubicBezTo>
                  <a:cubicBezTo>
                    <a:pt x="890" y="1286"/>
                    <a:pt x="890" y="1286"/>
                    <a:pt x="890" y="1286"/>
                  </a:cubicBezTo>
                  <a:cubicBezTo>
                    <a:pt x="890" y="1286"/>
                    <a:pt x="890" y="1286"/>
                    <a:pt x="890" y="1286"/>
                  </a:cubicBezTo>
                  <a:cubicBezTo>
                    <a:pt x="890" y="1286"/>
                    <a:pt x="890" y="1286"/>
                    <a:pt x="890" y="1286"/>
                  </a:cubicBezTo>
                  <a:cubicBezTo>
                    <a:pt x="890" y="1287"/>
                    <a:pt x="890" y="1287"/>
                    <a:pt x="890" y="1287"/>
                  </a:cubicBezTo>
                  <a:cubicBezTo>
                    <a:pt x="890" y="1287"/>
                    <a:pt x="890" y="1287"/>
                    <a:pt x="890" y="1287"/>
                  </a:cubicBezTo>
                  <a:cubicBezTo>
                    <a:pt x="890" y="1288"/>
                    <a:pt x="890" y="1288"/>
                    <a:pt x="890" y="1288"/>
                  </a:cubicBezTo>
                  <a:cubicBezTo>
                    <a:pt x="890" y="1288"/>
                    <a:pt x="890" y="1288"/>
                    <a:pt x="890" y="1288"/>
                  </a:cubicBezTo>
                  <a:cubicBezTo>
                    <a:pt x="890" y="1288"/>
                    <a:pt x="890" y="1288"/>
                    <a:pt x="890" y="1288"/>
                  </a:cubicBezTo>
                  <a:cubicBezTo>
                    <a:pt x="891" y="1289"/>
                    <a:pt x="891" y="1289"/>
                    <a:pt x="891" y="1289"/>
                  </a:cubicBezTo>
                  <a:cubicBezTo>
                    <a:pt x="893" y="1292"/>
                    <a:pt x="893" y="1292"/>
                    <a:pt x="893" y="1292"/>
                  </a:cubicBezTo>
                  <a:cubicBezTo>
                    <a:pt x="894" y="1293"/>
                    <a:pt x="894" y="1293"/>
                    <a:pt x="894" y="1293"/>
                  </a:cubicBezTo>
                  <a:cubicBezTo>
                    <a:pt x="895" y="1293"/>
                    <a:pt x="895" y="1293"/>
                    <a:pt x="895" y="1293"/>
                  </a:cubicBezTo>
                  <a:cubicBezTo>
                    <a:pt x="896" y="1294"/>
                    <a:pt x="896" y="1294"/>
                    <a:pt x="896" y="1294"/>
                  </a:cubicBezTo>
                  <a:cubicBezTo>
                    <a:pt x="897" y="1295"/>
                    <a:pt x="897" y="1295"/>
                    <a:pt x="897" y="1295"/>
                  </a:cubicBezTo>
                  <a:cubicBezTo>
                    <a:pt x="897" y="1296"/>
                    <a:pt x="897" y="1296"/>
                    <a:pt x="897" y="1296"/>
                  </a:cubicBezTo>
                  <a:cubicBezTo>
                    <a:pt x="897" y="1296"/>
                    <a:pt x="897" y="1296"/>
                    <a:pt x="897" y="1296"/>
                  </a:cubicBezTo>
                  <a:cubicBezTo>
                    <a:pt x="897" y="1297"/>
                    <a:pt x="897" y="1297"/>
                    <a:pt x="897" y="1297"/>
                  </a:cubicBezTo>
                  <a:cubicBezTo>
                    <a:pt x="897" y="1297"/>
                    <a:pt x="897" y="1297"/>
                    <a:pt x="897" y="1297"/>
                  </a:cubicBezTo>
                  <a:cubicBezTo>
                    <a:pt x="897" y="1297"/>
                    <a:pt x="897" y="1297"/>
                    <a:pt x="897" y="1297"/>
                  </a:cubicBezTo>
                  <a:cubicBezTo>
                    <a:pt x="897" y="1297"/>
                    <a:pt x="897" y="1297"/>
                    <a:pt x="897" y="1297"/>
                  </a:cubicBezTo>
                  <a:cubicBezTo>
                    <a:pt x="897" y="1297"/>
                    <a:pt x="897" y="1297"/>
                    <a:pt x="897" y="1297"/>
                  </a:cubicBezTo>
                  <a:cubicBezTo>
                    <a:pt x="897" y="1297"/>
                    <a:pt x="897" y="1297"/>
                    <a:pt x="897" y="1297"/>
                  </a:cubicBezTo>
                  <a:cubicBezTo>
                    <a:pt x="897" y="1298"/>
                    <a:pt x="897" y="1298"/>
                    <a:pt x="897" y="1298"/>
                  </a:cubicBezTo>
                  <a:cubicBezTo>
                    <a:pt x="897" y="1298"/>
                    <a:pt x="897" y="1298"/>
                    <a:pt x="897" y="1298"/>
                  </a:cubicBezTo>
                  <a:cubicBezTo>
                    <a:pt x="897" y="1298"/>
                    <a:pt x="897" y="1298"/>
                    <a:pt x="897" y="1298"/>
                  </a:cubicBezTo>
                  <a:cubicBezTo>
                    <a:pt x="897" y="1299"/>
                    <a:pt x="897" y="1299"/>
                    <a:pt x="897" y="1299"/>
                  </a:cubicBezTo>
                  <a:cubicBezTo>
                    <a:pt x="898" y="1298"/>
                    <a:pt x="898" y="1298"/>
                    <a:pt x="898" y="1298"/>
                  </a:cubicBezTo>
                  <a:cubicBezTo>
                    <a:pt x="898" y="1298"/>
                    <a:pt x="898" y="1298"/>
                    <a:pt x="898" y="1298"/>
                  </a:cubicBezTo>
                  <a:cubicBezTo>
                    <a:pt x="898" y="1298"/>
                    <a:pt x="898" y="1298"/>
                    <a:pt x="898" y="1298"/>
                  </a:cubicBezTo>
                  <a:cubicBezTo>
                    <a:pt x="898" y="1297"/>
                    <a:pt x="898" y="1297"/>
                    <a:pt x="898" y="1297"/>
                  </a:cubicBezTo>
                  <a:cubicBezTo>
                    <a:pt x="899" y="1297"/>
                    <a:pt x="899" y="1297"/>
                    <a:pt x="899" y="1297"/>
                  </a:cubicBezTo>
                  <a:cubicBezTo>
                    <a:pt x="900" y="1298"/>
                    <a:pt x="900" y="1298"/>
                    <a:pt x="900" y="1298"/>
                  </a:cubicBezTo>
                  <a:cubicBezTo>
                    <a:pt x="900" y="1298"/>
                    <a:pt x="900" y="1298"/>
                    <a:pt x="900" y="1298"/>
                  </a:cubicBezTo>
                  <a:cubicBezTo>
                    <a:pt x="900" y="1298"/>
                    <a:pt x="900" y="1298"/>
                    <a:pt x="900" y="1298"/>
                  </a:cubicBezTo>
                  <a:cubicBezTo>
                    <a:pt x="900" y="1298"/>
                    <a:pt x="900" y="1298"/>
                    <a:pt x="900" y="1298"/>
                  </a:cubicBezTo>
                  <a:cubicBezTo>
                    <a:pt x="900" y="1298"/>
                    <a:pt x="900" y="1298"/>
                    <a:pt x="900" y="1298"/>
                  </a:cubicBezTo>
                  <a:cubicBezTo>
                    <a:pt x="900" y="1297"/>
                    <a:pt x="900" y="1297"/>
                    <a:pt x="900" y="1297"/>
                  </a:cubicBezTo>
                  <a:cubicBezTo>
                    <a:pt x="900" y="1297"/>
                    <a:pt x="900" y="1297"/>
                    <a:pt x="900" y="1297"/>
                  </a:cubicBezTo>
                  <a:cubicBezTo>
                    <a:pt x="898" y="1296"/>
                    <a:pt x="898" y="1296"/>
                    <a:pt x="898" y="1296"/>
                  </a:cubicBezTo>
                  <a:cubicBezTo>
                    <a:pt x="898" y="1296"/>
                    <a:pt x="898" y="1296"/>
                    <a:pt x="898" y="1296"/>
                  </a:cubicBezTo>
                  <a:cubicBezTo>
                    <a:pt x="898" y="1296"/>
                    <a:pt x="898" y="1296"/>
                    <a:pt x="898" y="1296"/>
                  </a:cubicBezTo>
                  <a:cubicBezTo>
                    <a:pt x="898" y="1296"/>
                    <a:pt x="898" y="1296"/>
                    <a:pt x="898" y="1296"/>
                  </a:cubicBezTo>
                  <a:cubicBezTo>
                    <a:pt x="898" y="1296"/>
                    <a:pt x="898" y="1296"/>
                    <a:pt x="898" y="1296"/>
                  </a:cubicBezTo>
                  <a:cubicBezTo>
                    <a:pt x="898" y="1295"/>
                    <a:pt x="898" y="1295"/>
                    <a:pt x="898" y="1295"/>
                  </a:cubicBezTo>
                  <a:cubicBezTo>
                    <a:pt x="898" y="1295"/>
                    <a:pt x="898" y="1295"/>
                    <a:pt x="898" y="1295"/>
                  </a:cubicBezTo>
                  <a:cubicBezTo>
                    <a:pt x="899" y="1295"/>
                    <a:pt x="899" y="1295"/>
                    <a:pt x="899" y="1295"/>
                  </a:cubicBezTo>
                  <a:cubicBezTo>
                    <a:pt x="899" y="1295"/>
                    <a:pt x="899" y="1295"/>
                    <a:pt x="899" y="1295"/>
                  </a:cubicBezTo>
                  <a:cubicBezTo>
                    <a:pt x="899" y="1294"/>
                    <a:pt x="899" y="1294"/>
                    <a:pt x="899" y="1294"/>
                  </a:cubicBezTo>
                  <a:cubicBezTo>
                    <a:pt x="899" y="1294"/>
                    <a:pt x="899" y="1294"/>
                    <a:pt x="899" y="1294"/>
                  </a:cubicBezTo>
                  <a:cubicBezTo>
                    <a:pt x="899" y="1293"/>
                    <a:pt x="899" y="1293"/>
                    <a:pt x="899" y="1293"/>
                  </a:cubicBezTo>
                  <a:cubicBezTo>
                    <a:pt x="899" y="1293"/>
                    <a:pt x="899" y="1293"/>
                    <a:pt x="899" y="1293"/>
                  </a:cubicBezTo>
                  <a:cubicBezTo>
                    <a:pt x="899" y="1293"/>
                    <a:pt x="899" y="1293"/>
                    <a:pt x="899" y="1293"/>
                  </a:cubicBezTo>
                  <a:cubicBezTo>
                    <a:pt x="899" y="1293"/>
                    <a:pt x="899" y="1293"/>
                    <a:pt x="899" y="1293"/>
                  </a:cubicBezTo>
                  <a:cubicBezTo>
                    <a:pt x="899" y="1293"/>
                    <a:pt x="899" y="1293"/>
                    <a:pt x="899" y="1293"/>
                  </a:cubicBezTo>
                  <a:cubicBezTo>
                    <a:pt x="899" y="1293"/>
                    <a:pt x="899" y="1293"/>
                    <a:pt x="899" y="1293"/>
                  </a:cubicBezTo>
                  <a:cubicBezTo>
                    <a:pt x="900" y="1292"/>
                    <a:pt x="900" y="1292"/>
                    <a:pt x="900" y="1292"/>
                  </a:cubicBezTo>
                  <a:cubicBezTo>
                    <a:pt x="900" y="1293"/>
                    <a:pt x="900" y="1293"/>
                    <a:pt x="900" y="1293"/>
                  </a:cubicBezTo>
                  <a:cubicBezTo>
                    <a:pt x="900" y="1292"/>
                    <a:pt x="900" y="1292"/>
                    <a:pt x="900" y="1292"/>
                  </a:cubicBezTo>
                  <a:cubicBezTo>
                    <a:pt x="900" y="1293"/>
                    <a:pt x="900" y="1293"/>
                    <a:pt x="900" y="1293"/>
                  </a:cubicBezTo>
                  <a:cubicBezTo>
                    <a:pt x="900" y="1293"/>
                    <a:pt x="900" y="1293"/>
                    <a:pt x="900" y="1293"/>
                  </a:cubicBezTo>
                  <a:cubicBezTo>
                    <a:pt x="900" y="1294"/>
                    <a:pt x="900" y="1294"/>
                    <a:pt x="900" y="1294"/>
                  </a:cubicBezTo>
                  <a:cubicBezTo>
                    <a:pt x="900" y="1294"/>
                    <a:pt x="900" y="1294"/>
                    <a:pt x="900" y="1294"/>
                  </a:cubicBezTo>
                  <a:cubicBezTo>
                    <a:pt x="900" y="1294"/>
                    <a:pt x="900" y="1294"/>
                    <a:pt x="900" y="1294"/>
                  </a:cubicBezTo>
                  <a:cubicBezTo>
                    <a:pt x="900" y="1294"/>
                    <a:pt x="900" y="1294"/>
                    <a:pt x="900" y="1294"/>
                  </a:cubicBezTo>
                  <a:cubicBezTo>
                    <a:pt x="901" y="1294"/>
                    <a:pt x="901" y="1294"/>
                    <a:pt x="901" y="1294"/>
                  </a:cubicBezTo>
                  <a:cubicBezTo>
                    <a:pt x="901" y="1294"/>
                    <a:pt x="901" y="1294"/>
                    <a:pt x="901" y="1294"/>
                  </a:cubicBezTo>
                  <a:cubicBezTo>
                    <a:pt x="901" y="1294"/>
                    <a:pt x="901" y="1294"/>
                    <a:pt x="901" y="1294"/>
                  </a:cubicBezTo>
                  <a:cubicBezTo>
                    <a:pt x="901" y="1294"/>
                    <a:pt x="901" y="1294"/>
                    <a:pt x="901" y="1294"/>
                  </a:cubicBezTo>
                  <a:cubicBezTo>
                    <a:pt x="901" y="1294"/>
                    <a:pt x="901" y="1294"/>
                    <a:pt x="901" y="1294"/>
                  </a:cubicBezTo>
                  <a:cubicBezTo>
                    <a:pt x="901" y="1294"/>
                    <a:pt x="901" y="1294"/>
                    <a:pt x="901" y="1294"/>
                  </a:cubicBezTo>
                  <a:cubicBezTo>
                    <a:pt x="901" y="1295"/>
                    <a:pt x="901" y="1295"/>
                    <a:pt x="901" y="1295"/>
                  </a:cubicBezTo>
                  <a:cubicBezTo>
                    <a:pt x="901" y="1295"/>
                    <a:pt x="901" y="1295"/>
                    <a:pt x="901" y="1295"/>
                  </a:cubicBezTo>
                  <a:cubicBezTo>
                    <a:pt x="901" y="1295"/>
                    <a:pt x="901" y="1295"/>
                    <a:pt x="901" y="1295"/>
                  </a:cubicBezTo>
                  <a:cubicBezTo>
                    <a:pt x="902" y="1295"/>
                    <a:pt x="902" y="1295"/>
                    <a:pt x="902" y="1295"/>
                  </a:cubicBezTo>
                  <a:cubicBezTo>
                    <a:pt x="902" y="1295"/>
                    <a:pt x="902" y="1295"/>
                    <a:pt x="902" y="1295"/>
                  </a:cubicBezTo>
                  <a:cubicBezTo>
                    <a:pt x="902" y="1295"/>
                    <a:pt x="902" y="1295"/>
                    <a:pt x="902" y="1295"/>
                  </a:cubicBezTo>
                  <a:cubicBezTo>
                    <a:pt x="901" y="1295"/>
                    <a:pt x="901" y="1295"/>
                    <a:pt x="901" y="1295"/>
                  </a:cubicBezTo>
                  <a:cubicBezTo>
                    <a:pt x="901" y="1294"/>
                    <a:pt x="901" y="1294"/>
                    <a:pt x="901" y="1294"/>
                  </a:cubicBezTo>
                  <a:cubicBezTo>
                    <a:pt x="902" y="1294"/>
                    <a:pt x="902" y="1294"/>
                    <a:pt x="902" y="1294"/>
                  </a:cubicBezTo>
                  <a:cubicBezTo>
                    <a:pt x="902" y="1294"/>
                    <a:pt x="902" y="1294"/>
                    <a:pt x="902" y="1294"/>
                  </a:cubicBezTo>
                  <a:cubicBezTo>
                    <a:pt x="902" y="1294"/>
                    <a:pt x="902" y="1294"/>
                    <a:pt x="902" y="1294"/>
                  </a:cubicBezTo>
                  <a:cubicBezTo>
                    <a:pt x="903" y="1294"/>
                    <a:pt x="903" y="1294"/>
                    <a:pt x="903" y="1294"/>
                  </a:cubicBezTo>
                  <a:cubicBezTo>
                    <a:pt x="903" y="1294"/>
                    <a:pt x="903" y="1294"/>
                    <a:pt x="903" y="1294"/>
                  </a:cubicBezTo>
                  <a:cubicBezTo>
                    <a:pt x="903" y="1294"/>
                    <a:pt x="903" y="1294"/>
                    <a:pt x="903" y="1294"/>
                  </a:cubicBezTo>
                  <a:cubicBezTo>
                    <a:pt x="904" y="1294"/>
                    <a:pt x="904" y="1294"/>
                    <a:pt x="904" y="1294"/>
                  </a:cubicBezTo>
                  <a:cubicBezTo>
                    <a:pt x="904" y="1294"/>
                    <a:pt x="904" y="1294"/>
                    <a:pt x="904" y="1294"/>
                  </a:cubicBezTo>
                  <a:cubicBezTo>
                    <a:pt x="904" y="1294"/>
                    <a:pt x="904" y="1294"/>
                    <a:pt x="904" y="1294"/>
                  </a:cubicBezTo>
                  <a:cubicBezTo>
                    <a:pt x="904" y="1294"/>
                    <a:pt x="904" y="1294"/>
                    <a:pt x="904" y="1294"/>
                  </a:cubicBezTo>
                  <a:cubicBezTo>
                    <a:pt x="903" y="1294"/>
                    <a:pt x="903" y="1294"/>
                    <a:pt x="903" y="1294"/>
                  </a:cubicBezTo>
                  <a:cubicBezTo>
                    <a:pt x="903" y="1295"/>
                    <a:pt x="903" y="1295"/>
                    <a:pt x="903" y="1295"/>
                  </a:cubicBezTo>
                  <a:cubicBezTo>
                    <a:pt x="904" y="1295"/>
                    <a:pt x="904" y="1295"/>
                    <a:pt x="904" y="1295"/>
                  </a:cubicBezTo>
                  <a:cubicBezTo>
                    <a:pt x="904" y="1295"/>
                    <a:pt x="904" y="1295"/>
                    <a:pt x="904" y="1295"/>
                  </a:cubicBezTo>
                  <a:cubicBezTo>
                    <a:pt x="904" y="1295"/>
                    <a:pt x="904" y="1295"/>
                    <a:pt x="904" y="1295"/>
                  </a:cubicBezTo>
                  <a:cubicBezTo>
                    <a:pt x="905" y="1295"/>
                    <a:pt x="905" y="1295"/>
                    <a:pt x="905" y="1295"/>
                  </a:cubicBezTo>
                  <a:cubicBezTo>
                    <a:pt x="905" y="1296"/>
                    <a:pt x="905" y="1296"/>
                    <a:pt x="905" y="1296"/>
                  </a:cubicBezTo>
                  <a:cubicBezTo>
                    <a:pt x="905" y="1296"/>
                    <a:pt x="905" y="1296"/>
                    <a:pt x="905" y="1296"/>
                  </a:cubicBezTo>
                  <a:cubicBezTo>
                    <a:pt x="905" y="1296"/>
                    <a:pt x="905" y="1296"/>
                    <a:pt x="905" y="1296"/>
                  </a:cubicBezTo>
                  <a:cubicBezTo>
                    <a:pt x="907" y="1296"/>
                    <a:pt x="907" y="1296"/>
                    <a:pt x="907" y="1296"/>
                  </a:cubicBezTo>
                  <a:cubicBezTo>
                    <a:pt x="906" y="1296"/>
                    <a:pt x="906" y="1296"/>
                    <a:pt x="906" y="1296"/>
                  </a:cubicBezTo>
                  <a:cubicBezTo>
                    <a:pt x="907" y="1295"/>
                    <a:pt x="907" y="1295"/>
                    <a:pt x="907" y="1295"/>
                  </a:cubicBezTo>
                  <a:cubicBezTo>
                    <a:pt x="907" y="1295"/>
                    <a:pt x="907" y="1295"/>
                    <a:pt x="907" y="1295"/>
                  </a:cubicBezTo>
                  <a:cubicBezTo>
                    <a:pt x="907" y="1295"/>
                    <a:pt x="907" y="1295"/>
                    <a:pt x="907" y="1295"/>
                  </a:cubicBezTo>
                  <a:cubicBezTo>
                    <a:pt x="908" y="1295"/>
                    <a:pt x="908" y="1295"/>
                    <a:pt x="908" y="1295"/>
                  </a:cubicBezTo>
                  <a:cubicBezTo>
                    <a:pt x="908" y="1295"/>
                    <a:pt x="908" y="1295"/>
                    <a:pt x="908" y="1295"/>
                  </a:cubicBezTo>
                  <a:cubicBezTo>
                    <a:pt x="908" y="1295"/>
                    <a:pt x="908" y="1295"/>
                    <a:pt x="908" y="1295"/>
                  </a:cubicBezTo>
                  <a:cubicBezTo>
                    <a:pt x="908" y="1294"/>
                    <a:pt x="908" y="1294"/>
                    <a:pt x="908" y="1294"/>
                  </a:cubicBezTo>
                  <a:cubicBezTo>
                    <a:pt x="908" y="1294"/>
                    <a:pt x="908" y="1294"/>
                    <a:pt x="908" y="1294"/>
                  </a:cubicBezTo>
                  <a:cubicBezTo>
                    <a:pt x="909" y="1296"/>
                    <a:pt x="909" y="1296"/>
                    <a:pt x="909" y="1296"/>
                  </a:cubicBezTo>
                  <a:cubicBezTo>
                    <a:pt x="910" y="1297"/>
                    <a:pt x="910" y="1297"/>
                    <a:pt x="910" y="1297"/>
                  </a:cubicBezTo>
                  <a:cubicBezTo>
                    <a:pt x="910" y="1298"/>
                    <a:pt x="910" y="1298"/>
                    <a:pt x="910" y="1298"/>
                  </a:cubicBezTo>
                  <a:cubicBezTo>
                    <a:pt x="910" y="1297"/>
                    <a:pt x="910" y="1297"/>
                    <a:pt x="910" y="1297"/>
                  </a:cubicBezTo>
                  <a:cubicBezTo>
                    <a:pt x="910" y="1298"/>
                    <a:pt x="910" y="1298"/>
                    <a:pt x="910" y="1298"/>
                  </a:cubicBezTo>
                  <a:cubicBezTo>
                    <a:pt x="910" y="1298"/>
                    <a:pt x="910" y="1298"/>
                    <a:pt x="910" y="1298"/>
                  </a:cubicBezTo>
                  <a:cubicBezTo>
                    <a:pt x="910" y="1298"/>
                    <a:pt x="910" y="1298"/>
                    <a:pt x="910" y="1298"/>
                  </a:cubicBezTo>
                  <a:cubicBezTo>
                    <a:pt x="909" y="1299"/>
                    <a:pt x="909" y="1299"/>
                    <a:pt x="909" y="1299"/>
                  </a:cubicBezTo>
                  <a:cubicBezTo>
                    <a:pt x="910" y="1299"/>
                    <a:pt x="910" y="1299"/>
                    <a:pt x="910" y="1299"/>
                  </a:cubicBezTo>
                  <a:cubicBezTo>
                    <a:pt x="910" y="1300"/>
                    <a:pt x="910" y="1300"/>
                    <a:pt x="910" y="1300"/>
                  </a:cubicBezTo>
                  <a:cubicBezTo>
                    <a:pt x="910" y="1300"/>
                    <a:pt x="910" y="1300"/>
                    <a:pt x="910" y="1300"/>
                  </a:cubicBezTo>
                  <a:cubicBezTo>
                    <a:pt x="910" y="1300"/>
                    <a:pt x="910" y="1300"/>
                    <a:pt x="910" y="1300"/>
                  </a:cubicBezTo>
                  <a:cubicBezTo>
                    <a:pt x="910" y="1300"/>
                    <a:pt x="910" y="1300"/>
                    <a:pt x="910" y="1300"/>
                  </a:cubicBezTo>
                  <a:cubicBezTo>
                    <a:pt x="910" y="1301"/>
                    <a:pt x="910" y="1301"/>
                    <a:pt x="910" y="1301"/>
                  </a:cubicBezTo>
                  <a:cubicBezTo>
                    <a:pt x="910" y="1301"/>
                    <a:pt x="910" y="1301"/>
                    <a:pt x="910" y="1301"/>
                  </a:cubicBezTo>
                  <a:cubicBezTo>
                    <a:pt x="911" y="1301"/>
                    <a:pt x="911" y="1301"/>
                    <a:pt x="911" y="1301"/>
                  </a:cubicBezTo>
                  <a:cubicBezTo>
                    <a:pt x="910" y="1301"/>
                    <a:pt x="910" y="1301"/>
                    <a:pt x="910" y="1301"/>
                  </a:cubicBezTo>
                  <a:cubicBezTo>
                    <a:pt x="910" y="1301"/>
                    <a:pt x="910" y="1301"/>
                    <a:pt x="910" y="1301"/>
                  </a:cubicBezTo>
                  <a:cubicBezTo>
                    <a:pt x="910" y="1301"/>
                    <a:pt x="910" y="1301"/>
                    <a:pt x="910" y="1301"/>
                  </a:cubicBezTo>
                  <a:cubicBezTo>
                    <a:pt x="910" y="1301"/>
                    <a:pt x="910" y="1301"/>
                    <a:pt x="910" y="1301"/>
                  </a:cubicBezTo>
                  <a:cubicBezTo>
                    <a:pt x="909" y="1300"/>
                    <a:pt x="909" y="1300"/>
                    <a:pt x="909" y="1300"/>
                  </a:cubicBezTo>
                  <a:cubicBezTo>
                    <a:pt x="909" y="1300"/>
                    <a:pt x="909" y="1300"/>
                    <a:pt x="909" y="1300"/>
                  </a:cubicBezTo>
                  <a:cubicBezTo>
                    <a:pt x="908" y="1300"/>
                    <a:pt x="908" y="1300"/>
                    <a:pt x="908" y="1300"/>
                  </a:cubicBezTo>
                  <a:cubicBezTo>
                    <a:pt x="908" y="1300"/>
                    <a:pt x="908" y="1300"/>
                    <a:pt x="908" y="1300"/>
                  </a:cubicBezTo>
                  <a:cubicBezTo>
                    <a:pt x="908" y="1301"/>
                    <a:pt x="908" y="1301"/>
                    <a:pt x="908" y="1301"/>
                  </a:cubicBezTo>
                  <a:cubicBezTo>
                    <a:pt x="908" y="1301"/>
                    <a:pt x="908" y="1301"/>
                    <a:pt x="908" y="1301"/>
                  </a:cubicBezTo>
                  <a:cubicBezTo>
                    <a:pt x="908" y="1301"/>
                    <a:pt x="908" y="1301"/>
                    <a:pt x="908" y="1301"/>
                  </a:cubicBezTo>
                  <a:cubicBezTo>
                    <a:pt x="908" y="1301"/>
                    <a:pt x="908" y="1301"/>
                    <a:pt x="908" y="1301"/>
                  </a:cubicBezTo>
                  <a:cubicBezTo>
                    <a:pt x="908" y="1301"/>
                    <a:pt x="908" y="1301"/>
                    <a:pt x="908" y="1301"/>
                  </a:cubicBezTo>
                  <a:cubicBezTo>
                    <a:pt x="908" y="1302"/>
                    <a:pt x="908" y="1302"/>
                    <a:pt x="908" y="1302"/>
                  </a:cubicBezTo>
                  <a:cubicBezTo>
                    <a:pt x="907" y="1301"/>
                    <a:pt x="907" y="1301"/>
                    <a:pt x="907" y="1301"/>
                  </a:cubicBezTo>
                  <a:cubicBezTo>
                    <a:pt x="907" y="1301"/>
                    <a:pt x="907" y="1301"/>
                    <a:pt x="907" y="1301"/>
                  </a:cubicBezTo>
                  <a:cubicBezTo>
                    <a:pt x="906" y="1301"/>
                    <a:pt x="906" y="1301"/>
                    <a:pt x="906" y="1301"/>
                  </a:cubicBezTo>
                  <a:cubicBezTo>
                    <a:pt x="906" y="1300"/>
                    <a:pt x="906" y="1300"/>
                    <a:pt x="906" y="1300"/>
                  </a:cubicBezTo>
                  <a:cubicBezTo>
                    <a:pt x="906" y="1300"/>
                    <a:pt x="906" y="1300"/>
                    <a:pt x="906" y="1300"/>
                  </a:cubicBezTo>
                  <a:cubicBezTo>
                    <a:pt x="906" y="1300"/>
                    <a:pt x="906" y="1300"/>
                    <a:pt x="906" y="1300"/>
                  </a:cubicBezTo>
                  <a:cubicBezTo>
                    <a:pt x="906" y="1299"/>
                    <a:pt x="906" y="1299"/>
                    <a:pt x="906" y="1299"/>
                  </a:cubicBezTo>
                  <a:cubicBezTo>
                    <a:pt x="905" y="1299"/>
                    <a:pt x="905" y="1299"/>
                    <a:pt x="905" y="1299"/>
                  </a:cubicBezTo>
                  <a:cubicBezTo>
                    <a:pt x="905" y="1299"/>
                    <a:pt x="905" y="1299"/>
                    <a:pt x="905" y="1299"/>
                  </a:cubicBezTo>
                  <a:cubicBezTo>
                    <a:pt x="905" y="1299"/>
                    <a:pt x="905" y="1299"/>
                    <a:pt x="905" y="1299"/>
                  </a:cubicBezTo>
                  <a:cubicBezTo>
                    <a:pt x="905" y="1299"/>
                    <a:pt x="905" y="1299"/>
                    <a:pt x="905" y="1299"/>
                  </a:cubicBezTo>
                  <a:cubicBezTo>
                    <a:pt x="904" y="1299"/>
                    <a:pt x="904" y="1299"/>
                    <a:pt x="904" y="1299"/>
                  </a:cubicBezTo>
                  <a:cubicBezTo>
                    <a:pt x="904" y="1299"/>
                    <a:pt x="904" y="1299"/>
                    <a:pt x="904" y="1299"/>
                  </a:cubicBezTo>
                  <a:cubicBezTo>
                    <a:pt x="903" y="1299"/>
                    <a:pt x="903" y="1299"/>
                    <a:pt x="903" y="1299"/>
                  </a:cubicBezTo>
                  <a:cubicBezTo>
                    <a:pt x="903" y="1298"/>
                    <a:pt x="903" y="1298"/>
                    <a:pt x="903" y="1298"/>
                  </a:cubicBezTo>
                  <a:cubicBezTo>
                    <a:pt x="903" y="1298"/>
                    <a:pt x="903" y="1298"/>
                    <a:pt x="903" y="1298"/>
                  </a:cubicBezTo>
                  <a:cubicBezTo>
                    <a:pt x="903" y="1299"/>
                    <a:pt x="903" y="1299"/>
                    <a:pt x="903" y="1299"/>
                  </a:cubicBezTo>
                  <a:cubicBezTo>
                    <a:pt x="902" y="1299"/>
                    <a:pt x="902" y="1299"/>
                    <a:pt x="902" y="1299"/>
                  </a:cubicBezTo>
                  <a:cubicBezTo>
                    <a:pt x="902" y="1300"/>
                    <a:pt x="902" y="1300"/>
                    <a:pt x="902" y="1300"/>
                  </a:cubicBezTo>
                  <a:cubicBezTo>
                    <a:pt x="901" y="1300"/>
                    <a:pt x="901" y="1300"/>
                    <a:pt x="901" y="1300"/>
                  </a:cubicBezTo>
                  <a:cubicBezTo>
                    <a:pt x="902" y="1299"/>
                    <a:pt x="902" y="1299"/>
                    <a:pt x="902" y="1299"/>
                  </a:cubicBezTo>
                  <a:cubicBezTo>
                    <a:pt x="902" y="1299"/>
                    <a:pt x="902" y="1299"/>
                    <a:pt x="902" y="1299"/>
                  </a:cubicBezTo>
                  <a:cubicBezTo>
                    <a:pt x="901" y="1299"/>
                    <a:pt x="901" y="1299"/>
                    <a:pt x="901" y="1299"/>
                  </a:cubicBezTo>
                  <a:cubicBezTo>
                    <a:pt x="901" y="1299"/>
                    <a:pt x="901" y="1299"/>
                    <a:pt x="901" y="1299"/>
                  </a:cubicBezTo>
                  <a:cubicBezTo>
                    <a:pt x="902" y="1299"/>
                    <a:pt x="902" y="1299"/>
                    <a:pt x="902" y="1299"/>
                  </a:cubicBezTo>
                  <a:cubicBezTo>
                    <a:pt x="901" y="1298"/>
                    <a:pt x="901" y="1298"/>
                    <a:pt x="901" y="1298"/>
                  </a:cubicBezTo>
                  <a:cubicBezTo>
                    <a:pt x="901" y="1298"/>
                    <a:pt x="901" y="1298"/>
                    <a:pt x="901" y="1298"/>
                  </a:cubicBezTo>
                  <a:cubicBezTo>
                    <a:pt x="901" y="1298"/>
                    <a:pt x="901" y="1298"/>
                    <a:pt x="901" y="1298"/>
                  </a:cubicBezTo>
                  <a:cubicBezTo>
                    <a:pt x="901" y="1299"/>
                    <a:pt x="901" y="1299"/>
                    <a:pt x="901" y="1299"/>
                  </a:cubicBezTo>
                  <a:cubicBezTo>
                    <a:pt x="900" y="1299"/>
                    <a:pt x="900" y="1299"/>
                    <a:pt x="900" y="1299"/>
                  </a:cubicBezTo>
                  <a:cubicBezTo>
                    <a:pt x="900" y="1300"/>
                    <a:pt x="900" y="1300"/>
                    <a:pt x="900" y="1300"/>
                  </a:cubicBezTo>
                  <a:cubicBezTo>
                    <a:pt x="899" y="1300"/>
                    <a:pt x="899" y="1300"/>
                    <a:pt x="899" y="1300"/>
                  </a:cubicBezTo>
                  <a:cubicBezTo>
                    <a:pt x="899" y="1299"/>
                    <a:pt x="899" y="1299"/>
                    <a:pt x="899" y="1299"/>
                  </a:cubicBezTo>
                  <a:cubicBezTo>
                    <a:pt x="899" y="1298"/>
                    <a:pt x="899" y="1298"/>
                    <a:pt x="899" y="1298"/>
                  </a:cubicBezTo>
                  <a:cubicBezTo>
                    <a:pt x="898" y="1298"/>
                    <a:pt x="898" y="1298"/>
                    <a:pt x="898" y="1298"/>
                  </a:cubicBezTo>
                  <a:cubicBezTo>
                    <a:pt x="898" y="1299"/>
                    <a:pt x="898" y="1299"/>
                    <a:pt x="898" y="1299"/>
                  </a:cubicBezTo>
                  <a:cubicBezTo>
                    <a:pt x="898" y="1300"/>
                    <a:pt x="898" y="1300"/>
                    <a:pt x="898" y="1300"/>
                  </a:cubicBezTo>
                  <a:cubicBezTo>
                    <a:pt x="898" y="1300"/>
                    <a:pt x="898" y="1300"/>
                    <a:pt x="898" y="1300"/>
                  </a:cubicBezTo>
                  <a:cubicBezTo>
                    <a:pt x="898" y="1301"/>
                    <a:pt x="898" y="1301"/>
                    <a:pt x="898" y="1301"/>
                  </a:cubicBezTo>
                  <a:cubicBezTo>
                    <a:pt x="899" y="1301"/>
                    <a:pt x="899" y="1301"/>
                    <a:pt x="899" y="1301"/>
                  </a:cubicBezTo>
                  <a:cubicBezTo>
                    <a:pt x="899" y="1301"/>
                    <a:pt x="899" y="1301"/>
                    <a:pt x="899" y="1301"/>
                  </a:cubicBezTo>
                  <a:cubicBezTo>
                    <a:pt x="900" y="1301"/>
                    <a:pt x="900" y="1301"/>
                    <a:pt x="900" y="1301"/>
                  </a:cubicBezTo>
                  <a:cubicBezTo>
                    <a:pt x="900" y="1302"/>
                    <a:pt x="900" y="1302"/>
                    <a:pt x="900" y="1302"/>
                  </a:cubicBezTo>
                  <a:cubicBezTo>
                    <a:pt x="899" y="1302"/>
                    <a:pt x="899" y="1302"/>
                    <a:pt x="899" y="1302"/>
                  </a:cubicBezTo>
                  <a:cubicBezTo>
                    <a:pt x="899" y="1302"/>
                    <a:pt x="899" y="1302"/>
                    <a:pt x="899" y="1302"/>
                  </a:cubicBezTo>
                  <a:cubicBezTo>
                    <a:pt x="898" y="1302"/>
                    <a:pt x="898" y="1302"/>
                    <a:pt x="898" y="1302"/>
                  </a:cubicBezTo>
                  <a:cubicBezTo>
                    <a:pt x="898" y="1302"/>
                    <a:pt x="898" y="1302"/>
                    <a:pt x="898" y="1302"/>
                  </a:cubicBezTo>
                  <a:cubicBezTo>
                    <a:pt x="898" y="1303"/>
                    <a:pt x="898" y="1303"/>
                    <a:pt x="898" y="1303"/>
                  </a:cubicBezTo>
                  <a:cubicBezTo>
                    <a:pt x="897" y="1304"/>
                    <a:pt x="897" y="1304"/>
                    <a:pt x="897" y="1304"/>
                  </a:cubicBezTo>
                  <a:cubicBezTo>
                    <a:pt x="897" y="1304"/>
                    <a:pt x="897" y="1304"/>
                    <a:pt x="897" y="1304"/>
                  </a:cubicBezTo>
                  <a:cubicBezTo>
                    <a:pt x="897" y="1304"/>
                    <a:pt x="897" y="1304"/>
                    <a:pt x="897" y="1304"/>
                  </a:cubicBezTo>
                  <a:cubicBezTo>
                    <a:pt x="898" y="1305"/>
                    <a:pt x="898" y="1305"/>
                    <a:pt x="898" y="1305"/>
                  </a:cubicBezTo>
                  <a:cubicBezTo>
                    <a:pt x="898" y="1305"/>
                    <a:pt x="898" y="1305"/>
                    <a:pt x="898" y="1305"/>
                  </a:cubicBezTo>
                  <a:cubicBezTo>
                    <a:pt x="898" y="1306"/>
                    <a:pt x="898" y="1306"/>
                    <a:pt x="898" y="1306"/>
                  </a:cubicBezTo>
                  <a:cubicBezTo>
                    <a:pt x="899" y="1306"/>
                    <a:pt x="899" y="1306"/>
                    <a:pt x="899" y="1306"/>
                  </a:cubicBezTo>
                  <a:cubicBezTo>
                    <a:pt x="899" y="1306"/>
                    <a:pt x="899" y="1306"/>
                    <a:pt x="899" y="1306"/>
                  </a:cubicBezTo>
                  <a:cubicBezTo>
                    <a:pt x="899" y="1306"/>
                    <a:pt x="899" y="1306"/>
                    <a:pt x="899" y="1306"/>
                  </a:cubicBezTo>
                  <a:cubicBezTo>
                    <a:pt x="899" y="1305"/>
                    <a:pt x="899" y="1305"/>
                    <a:pt x="899" y="1305"/>
                  </a:cubicBezTo>
                  <a:cubicBezTo>
                    <a:pt x="900" y="1305"/>
                    <a:pt x="900" y="1305"/>
                    <a:pt x="900" y="1305"/>
                  </a:cubicBezTo>
                  <a:cubicBezTo>
                    <a:pt x="900" y="1306"/>
                    <a:pt x="900" y="1306"/>
                    <a:pt x="900" y="1306"/>
                  </a:cubicBezTo>
                  <a:cubicBezTo>
                    <a:pt x="900" y="1305"/>
                    <a:pt x="900" y="1305"/>
                    <a:pt x="900" y="1305"/>
                  </a:cubicBezTo>
                  <a:cubicBezTo>
                    <a:pt x="900" y="1305"/>
                    <a:pt x="900" y="1305"/>
                    <a:pt x="900" y="1305"/>
                  </a:cubicBezTo>
                  <a:cubicBezTo>
                    <a:pt x="901" y="1304"/>
                    <a:pt x="901" y="1304"/>
                    <a:pt x="901" y="1304"/>
                  </a:cubicBezTo>
                  <a:cubicBezTo>
                    <a:pt x="901" y="1304"/>
                    <a:pt x="901" y="1304"/>
                    <a:pt x="901" y="1304"/>
                  </a:cubicBezTo>
                  <a:cubicBezTo>
                    <a:pt x="902" y="1304"/>
                    <a:pt x="902" y="1304"/>
                    <a:pt x="902" y="1304"/>
                  </a:cubicBezTo>
                  <a:cubicBezTo>
                    <a:pt x="902" y="1305"/>
                    <a:pt x="902" y="1305"/>
                    <a:pt x="902" y="1305"/>
                  </a:cubicBezTo>
                  <a:cubicBezTo>
                    <a:pt x="902" y="1308"/>
                    <a:pt x="902" y="1308"/>
                    <a:pt x="902" y="1308"/>
                  </a:cubicBezTo>
                  <a:cubicBezTo>
                    <a:pt x="903" y="1309"/>
                    <a:pt x="903" y="1309"/>
                    <a:pt x="903" y="1309"/>
                  </a:cubicBezTo>
                  <a:cubicBezTo>
                    <a:pt x="903" y="1309"/>
                    <a:pt x="903" y="1309"/>
                    <a:pt x="903" y="1309"/>
                  </a:cubicBezTo>
                  <a:cubicBezTo>
                    <a:pt x="904" y="1309"/>
                    <a:pt x="904" y="1309"/>
                    <a:pt x="904" y="1309"/>
                  </a:cubicBezTo>
                  <a:cubicBezTo>
                    <a:pt x="905" y="1309"/>
                    <a:pt x="905" y="1309"/>
                    <a:pt x="905" y="1309"/>
                  </a:cubicBezTo>
                  <a:cubicBezTo>
                    <a:pt x="905" y="1310"/>
                    <a:pt x="905" y="1310"/>
                    <a:pt x="905" y="1310"/>
                  </a:cubicBezTo>
                  <a:cubicBezTo>
                    <a:pt x="905" y="1311"/>
                    <a:pt x="905" y="1311"/>
                    <a:pt x="905" y="1311"/>
                  </a:cubicBezTo>
                  <a:cubicBezTo>
                    <a:pt x="906" y="1312"/>
                    <a:pt x="906" y="1312"/>
                    <a:pt x="906" y="1312"/>
                  </a:cubicBezTo>
                  <a:cubicBezTo>
                    <a:pt x="906" y="1312"/>
                    <a:pt x="906" y="1312"/>
                    <a:pt x="906" y="1312"/>
                  </a:cubicBezTo>
                  <a:cubicBezTo>
                    <a:pt x="906" y="1314"/>
                    <a:pt x="906" y="1314"/>
                    <a:pt x="906" y="1314"/>
                  </a:cubicBezTo>
                  <a:cubicBezTo>
                    <a:pt x="906" y="1314"/>
                    <a:pt x="906" y="1314"/>
                    <a:pt x="906" y="1314"/>
                  </a:cubicBezTo>
                  <a:cubicBezTo>
                    <a:pt x="906" y="1315"/>
                    <a:pt x="906" y="1315"/>
                    <a:pt x="906" y="1315"/>
                  </a:cubicBezTo>
                  <a:cubicBezTo>
                    <a:pt x="906" y="1315"/>
                    <a:pt x="906" y="1315"/>
                    <a:pt x="906" y="1315"/>
                  </a:cubicBezTo>
                  <a:cubicBezTo>
                    <a:pt x="906" y="1316"/>
                    <a:pt x="906" y="1316"/>
                    <a:pt x="906" y="1316"/>
                  </a:cubicBezTo>
                  <a:cubicBezTo>
                    <a:pt x="907" y="1315"/>
                    <a:pt x="907" y="1315"/>
                    <a:pt x="907" y="1315"/>
                  </a:cubicBezTo>
                  <a:cubicBezTo>
                    <a:pt x="907" y="1315"/>
                    <a:pt x="907" y="1315"/>
                    <a:pt x="907" y="1315"/>
                  </a:cubicBezTo>
                  <a:cubicBezTo>
                    <a:pt x="907" y="1315"/>
                    <a:pt x="907" y="1315"/>
                    <a:pt x="907" y="1315"/>
                  </a:cubicBezTo>
                  <a:cubicBezTo>
                    <a:pt x="907" y="1315"/>
                    <a:pt x="907" y="1315"/>
                    <a:pt x="907" y="1315"/>
                  </a:cubicBezTo>
                  <a:cubicBezTo>
                    <a:pt x="908" y="1315"/>
                    <a:pt x="908" y="1315"/>
                    <a:pt x="908" y="1315"/>
                  </a:cubicBezTo>
                  <a:cubicBezTo>
                    <a:pt x="908" y="1314"/>
                    <a:pt x="908" y="1314"/>
                    <a:pt x="908" y="1314"/>
                  </a:cubicBezTo>
                  <a:cubicBezTo>
                    <a:pt x="908" y="1315"/>
                    <a:pt x="908" y="1315"/>
                    <a:pt x="908" y="1315"/>
                  </a:cubicBezTo>
                  <a:cubicBezTo>
                    <a:pt x="908" y="1315"/>
                    <a:pt x="908" y="1315"/>
                    <a:pt x="908" y="1315"/>
                  </a:cubicBezTo>
                  <a:cubicBezTo>
                    <a:pt x="908" y="1315"/>
                    <a:pt x="908" y="1315"/>
                    <a:pt x="908" y="1315"/>
                  </a:cubicBezTo>
                  <a:cubicBezTo>
                    <a:pt x="908" y="1316"/>
                    <a:pt x="908" y="1316"/>
                    <a:pt x="908" y="1316"/>
                  </a:cubicBezTo>
                  <a:cubicBezTo>
                    <a:pt x="908" y="1316"/>
                    <a:pt x="908" y="1316"/>
                    <a:pt x="908" y="1316"/>
                  </a:cubicBezTo>
                  <a:cubicBezTo>
                    <a:pt x="908" y="1316"/>
                    <a:pt x="908" y="1316"/>
                    <a:pt x="908" y="1316"/>
                  </a:cubicBezTo>
                  <a:cubicBezTo>
                    <a:pt x="908" y="1316"/>
                    <a:pt x="908" y="1316"/>
                    <a:pt x="908" y="1316"/>
                  </a:cubicBezTo>
                  <a:cubicBezTo>
                    <a:pt x="908" y="1316"/>
                    <a:pt x="908" y="1316"/>
                    <a:pt x="908" y="1316"/>
                  </a:cubicBezTo>
                  <a:cubicBezTo>
                    <a:pt x="908" y="1316"/>
                    <a:pt x="908" y="1316"/>
                    <a:pt x="908" y="1316"/>
                  </a:cubicBezTo>
                  <a:cubicBezTo>
                    <a:pt x="908" y="1317"/>
                    <a:pt x="908" y="1317"/>
                    <a:pt x="908" y="1317"/>
                  </a:cubicBezTo>
                  <a:cubicBezTo>
                    <a:pt x="908" y="1317"/>
                    <a:pt x="908" y="1317"/>
                    <a:pt x="908" y="1317"/>
                  </a:cubicBezTo>
                  <a:cubicBezTo>
                    <a:pt x="908" y="1317"/>
                    <a:pt x="908" y="1317"/>
                    <a:pt x="908" y="1317"/>
                  </a:cubicBezTo>
                  <a:cubicBezTo>
                    <a:pt x="908" y="1317"/>
                    <a:pt x="908" y="1317"/>
                    <a:pt x="908" y="1317"/>
                  </a:cubicBezTo>
                  <a:cubicBezTo>
                    <a:pt x="909" y="1318"/>
                    <a:pt x="909" y="1318"/>
                    <a:pt x="909" y="1318"/>
                  </a:cubicBezTo>
                  <a:cubicBezTo>
                    <a:pt x="908" y="1318"/>
                    <a:pt x="908" y="1318"/>
                    <a:pt x="908" y="1318"/>
                  </a:cubicBezTo>
                  <a:cubicBezTo>
                    <a:pt x="909" y="1318"/>
                    <a:pt x="909" y="1318"/>
                    <a:pt x="909" y="1318"/>
                  </a:cubicBezTo>
                  <a:cubicBezTo>
                    <a:pt x="909" y="1318"/>
                    <a:pt x="909" y="1318"/>
                    <a:pt x="909" y="1318"/>
                  </a:cubicBezTo>
                  <a:cubicBezTo>
                    <a:pt x="908" y="1319"/>
                    <a:pt x="908" y="1319"/>
                    <a:pt x="908" y="1319"/>
                  </a:cubicBezTo>
                  <a:cubicBezTo>
                    <a:pt x="908" y="1318"/>
                    <a:pt x="908" y="1318"/>
                    <a:pt x="908" y="1318"/>
                  </a:cubicBezTo>
                  <a:cubicBezTo>
                    <a:pt x="908" y="1318"/>
                    <a:pt x="908" y="1318"/>
                    <a:pt x="908" y="1318"/>
                  </a:cubicBezTo>
                  <a:cubicBezTo>
                    <a:pt x="908" y="1318"/>
                    <a:pt x="908" y="1318"/>
                    <a:pt x="908" y="1318"/>
                  </a:cubicBezTo>
                  <a:cubicBezTo>
                    <a:pt x="908" y="1318"/>
                    <a:pt x="908" y="1318"/>
                    <a:pt x="908" y="1318"/>
                  </a:cubicBezTo>
                  <a:cubicBezTo>
                    <a:pt x="908" y="1319"/>
                    <a:pt x="908" y="1319"/>
                    <a:pt x="908" y="1319"/>
                  </a:cubicBezTo>
                  <a:cubicBezTo>
                    <a:pt x="908" y="1319"/>
                    <a:pt x="908" y="1319"/>
                    <a:pt x="908" y="1319"/>
                  </a:cubicBezTo>
                  <a:cubicBezTo>
                    <a:pt x="908" y="1319"/>
                    <a:pt x="908" y="1319"/>
                    <a:pt x="908" y="1319"/>
                  </a:cubicBezTo>
                  <a:cubicBezTo>
                    <a:pt x="908" y="1320"/>
                    <a:pt x="908" y="1320"/>
                    <a:pt x="908" y="1320"/>
                  </a:cubicBezTo>
                  <a:cubicBezTo>
                    <a:pt x="909" y="1319"/>
                    <a:pt x="909" y="1319"/>
                    <a:pt x="909" y="1319"/>
                  </a:cubicBezTo>
                  <a:cubicBezTo>
                    <a:pt x="909" y="1319"/>
                    <a:pt x="909" y="1319"/>
                    <a:pt x="909" y="1319"/>
                  </a:cubicBezTo>
                  <a:cubicBezTo>
                    <a:pt x="909" y="1320"/>
                    <a:pt x="909" y="1320"/>
                    <a:pt x="909" y="1320"/>
                  </a:cubicBezTo>
                  <a:cubicBezTo>
                    <a:pt x="909" y="1320"/>
                    <a:pt x="909" y="1320"/>
                    <a:pt x="909" y="1320"/>
                  </a:cubicBezTo>
                  <a:cubicBezTo>
                    <a:pt x="909" y="1320"/>
                    <a:pt x="909" y="1320"/>
                    <a:pt x="909" y="1320"/>
                  </a:cubicBezTo>
                  <a:cubicBezTo>
                    <a:pt x="909" y="1321"/>
                    <a:pt x="909" y="1321"/>
                    <a:pt x="909" y="1321"/>
                  </a:cubicBezTo>
                  <a:cubicBezTo>
                    <a:pt x="908" y="1320"/>
                    <a:pt x="908" y="1320"/>
                    <a:pt x="908" y="1320"/>
                  </a:cubicBezTo>
                  <a:cubicBezTo>
                    <a:pt x="908" y="1321"/>
                    <a:pt x="908" y="1321"/>
                    <a:pt x="908" y="1321"/>
                  </a:cubicBezTo>
                  <a:cubicBezTo>
                    <a:pt x="908" y="1321"/>
                    <a:pt x="908" y="1321"/>
                    <a:pt x="908" y="1321"/>
                  </a:cubicBezTo>
                  <a:cubicBezTo>
                    <a:pt x="908" y="1321"/>
                    <a:pt x="908" y="1321"/>
                    <a:pt x="908" y="1321"/>
                  </a:cubicBezTo>
                  <a:cubicBezTo>
                    <a:pt x="908" y="1321"/>
                    <a:pt x="908" y="1321"/>
                    <a:pt x="908" y="1321"/>
                  </a:cubicBezTo>
                  <a:cubicBezTo>
                    <a:pt x="908" y="1322"/>
                    <a:pt x="908" y="1322"/>
                    <a:pt x="908" y="1322"/>
                  </a:cubicBezTo>
                  <a:cubicBezTo>
                    <a:pt x="908" y="1322"/>
                    <a:pt x="908" y="1322"/>
                    <a:pt x="908" y="1322"/>
                  </a:cubicBezTo>
                  <a:cubicBezTo>
                    <a:pt x="908" y="1322"/>
                    <a:pt x="908" y="1322"/>
                    <a:pt x="908" y="1322"/>
                  </a:cubicBezTo>
                  <a:cubicBezTo>
                    <a:pt x="909" y="1322"/>
                    <a:pt x="909" y="1322"/>
                    <a:pt x="909" y="1322"/>
                  </a:cubicBezTo>
                  <a:cubicBezTo>
                    <a:pt x="909" y="1322"/>
                    <a:pt x="909" y="1322"/>
                    <a:pt x="909" y="1322"/>
                  </a:cubicBezTo>
                  <a:cubicBezTo>
                    <a:pt x="910" y="1322"/>
                    <a:pt x="910" y="1322"/>
                    <a:pt x="910" y="1322"/>
                  </a:cubicBezTo>
                  <a:cubicBezTo>
                    <a:pt x="910" y="1323"/>
                    <a:pt x="910" y="1323"/>
                    <a:pt x="910" y="1323"/>
                  </a:cubicBezTo>
                  <a:cubicBezTo>
                    <a:pt x="910" y="1323"/>
                    <a:pt x="910" y="1323"/>
                    <a:pt x="910" y="1323"/>
                  </a:cubicBezTo>
                  <a:cubicBezTo>
                    <a:pt x="910" y="1323"/>
                    <a:pt x="910" y="1323"/>
                    <a:pt x="910" y="1323"/>
                  </a:cubicBezTo>
                  <a:cubicBezTo>
                    <a:pt x="910" y="1323"/>
                    <a:pt x="910" y="1323"/>
                    <a:pt x="910" y="1323"/>
                  </a:cubicBezTo>
                  <a:cubicBezTo>
                    <a:pt x="911" y="1323"/>
                    <a:pt x="911" y="1323"/>
                    <a:pt x="911" y="1323"/>
                  </a:cubicBezTo>
                  <a:cubicBezTo>
                    <a:pt x="911" y="1323"/>
                    <a:pt x="911" y="1323"/>
                    <a:pt x="911" y="1323"/>
                  </a:cubicBezTo>
                  <a:cubicBezTo>
                    <a:pt x="911" y="1323"/>
                    <a:pt x="911" y="1323"/>
                    <a:pt x="911" y="1323"/>
                  </a:cubicBezTo>
                  <a:cubicBezTo>
                    <a:pt x="911" y="1322"/>
                    <a:pt x="911" y="1322"/>
                    <a:pt x="911" y="1322"/>
                  </a:cubicBezTo>
                  <a:cubicBezTo>
                    <a:pt x="911" y="1322"/>
                    <a:pt x="911" y="1322"/>
                    <a:pt x="911" y="1322"/>
                  </a:cubicBezTo>
                  <a:cubicBezTo>
                    <a:pt x="911" y="1322"/>
                    <a:pt x="911" y="1322"/>
                    <a:pt x="911" y="1322"/>
                  </a:cubicBezTo>
                  <a:cubicBezTo>
                    <a:pt x="911" y="1322"/>
                    <a:pt x="911" y="1322"/>
                    <a:pt x="911" y="1322"/>
                  </a:cubicBezTo>
                  <a:cubicBezTo>
                    <a:pt x="911" y="1322"/>
                    <a:pt x="911" y="1322"/>
                    <a:pt x="911" y="1322"/>
                  </a:cubicBezTo>
                  <a:cubicBezTo>
                    <a:pt x="912" y="1322"/>
                    <a:pt x="912" y="1322"/>
                    <a:pt x="912" y="1322"/>
                  </a:cubicBezTo>
                  <a:cubicBezTo>
                    <a:pt x="912" y="1322"/>
                    <a:pt x="912" y="1322"/>
                    <a:pt x="912" y="1322"/>
                  </a:cubicBezTo>
                  <a:cubicBezTo>
                    <a:pt x="912" y="1322"/>
                    <a:pt x="912" y="1322"/>
                    <a:pt x="912" y="1322"/>
                  </a:cubicBezTo>
                  <a:cubicBezTo>
                    <a:pt x="913" y="1322"/>
                    <a:pt x="913" y="1322"/>
                    <a:pt x="913" y="1322"/>
                  </a:cubicBezTo>
                  <a:cubicBezTo>
                    <a:pt x="913" y="1322"/>
                    <a:pt x="913" y="1322"/>
                    <a:pt x="913" y="1322"/>
                  </a:cubicBezTo>
                  <a:cubicBezTo>
                    <a:pt x="913" y="1321"/>
                    <a:pt x="913" y="1321"/>
                    <a:pt x="913" y="1321"/>
                  </a:cubicBezTo>
                  <a:cubicBezTo>
                    <a:pt x="913" y="1321"/>
                    <a:pt x="913" y="1321"/>
                    <a:pt x="913" y="1321"/>
                  </a:cubicBezTo>
                  <a:cubicBezTo>
                    <a:pt x="913" y="1321"/>
                    <a:pt x="913" y="1321"/>
                    <a:pt x="913" y="1321"/>
                  </a:cubicBezTo>
                  <a:cubicBezTo>
                    <a:pt x="913" y="1321"/>
                    <a:pt x="913" y="1321"/>
                    <a:pt x="913" y="1321"/>
                  </a:cubicBezTo>
                  <a:cubicBezTo>
                    <a:pt x="914" y="1321"/>
                    <a:pt x="914" y="1321"/>
                    <a:pt x="914" y="1321"/>
                  </a:cubicBezTo>
                  <a:cubicBezTo>
                    <a:pt x="914" y="1321"/>
                    <a:pt x="914" y="1321"/>
                    <a:pt x="914" y="1321"/>
                  </a:cubicBezTo>
                  <a:cubicBezTo>
                    <a:pt x="914" y="1321"/>
                    <a:pt x="914" y="1321"/>
                    <a:pt x="914" y="1321"/>
                  </a:cubicBezTo>
                  <a:cubicBezTo>
                    <a:pt x="914" y="1321"/>
                    <a:pt x="914" y="1321"/>
                    <a:pt x="914" y="1321"/>
                  </a:cubicBezTo>
                  <a:cubicBezTo>
                    <a:pt x="914" y="1320"/>
                    <a:pt x="914" y="1320"/>
                    <a:pt x="914" y="1320"/>
                  </a:cubicBezTo>
                  <a:cubicBezTo>
                    <a:pt x="915" y="1320"/>
                    <a:pt x="915" y="1320"/>
                    <a:pt x="915" y="1320"/>
                  </a:cubicBezTo>
                  <a:cubicBezTo>
                    <a:pt x="915" y="1320"/>
                    <a:pt x="915" y="1320"/>
                    <a:pt x="915" y="1320"/>
                  </a:cubicBezTo>
                  <a:cubicBezTo>
                    <a:pt x="915" y="1320"/>
                    <a:pt x="915" y="1320"/>
                    <a:pt x="915" y="1320"/>
                  </a:cubicBezTo>
                  <a:cubicBezTo>
                    <a:pt x="915" y="1319"/>
                    <a:pt x="915" y="1319"/>
                    <a:pt x="915" y="1319"/>
                  </a:cubicBezTo>
                  <a:cubicBezTo>
                    <a:pt x="915" y="1319"/>
                    <a:pt x="915" y="1319"/>
                    <a:pt x="915" y="1319"/>
                  </a:cubicBezTo>
                  <a:cubicBezTo>
                    <a:pt x="916" y="1319"/>
                    <a:pt x="916" y="1319"/>
                    <a:pt x="916" y="1319"/>
                  </a:cubicBezTo>
                  <a:cubicBezTo>
                    <a:pt x="915" y="1318"/>
                    <a:pt x="915" y="1318"/>
                    <a:pt x="915" y="1318"/>
                  </a:cubicBezTo>
                  <a:cubicBezTo>
                    <a:pt x="916" y="1318"/>
                    <a:pt x="916" y="1318"/>
                    <a:pt x="916" y="1318"/>
                  </a:cubicBezTo>
                  <a:cubicBezTo>
                    <a:pt x="914" y="1316"/>
                    <a:pt x="914" y="1316"/>
                    <a:pt x="914" y="1316"/>
                  </a:cubicBezTo>
                  <a:cubicBezTo>
                    <a:pt x="914" y="1316"/>
                    <a:pt x="914" y="1316"/>
                    <a:pt x="914" y="1316"/>
                  </a:cubicBezTo>
                  <a:cubicBezTo>
                    <a:pt x="915" y="1316"/>
                    <a:pt x="915" y="1316"/>
                    <a:pt x="915" y="1316"/>
                  </a:cubicBezTo>
                  <a:cubicBezTo>
                    <a:pt x="915" y="1316"/>
                    <a:pt x="915" y="1316"/>
                    <a:pt x="915" y="1316"/>
                  </a:cubicBezTo>
                  <a:cubicBezTo>
                    <a:pt x="915" y="1316"/>
                    <a:pt x="915" y="1316"/>
                    <a:pt x="915" y="1316"/>
                  </a:cubicBezTo>
                  <a:cubicBezTo>
                    <a:pt x="915" y="1316"/>
                    <a:pt x="915" y="1316"/>
                    <a:pt x="915" y="1316"/>
                  </a:cubicBezTo>
                  <a:cubicBezTo>
                    <a:pt x="916" y="1317"/>
                    <a:pt x="916" y="1317"/>
                    <a:pt x="916" y="1317"/>
                  </a:cubicBezTo>
                  <a:cubicBezTo>
                    <a:pt x="916" y="1319"/>
                    <a:pt x="916" y="1319"/>
                    <a:pt x="916" y="1319"/>
                  </a:cubicBezTo>
                  <a:cubicBezTo>
                    <a:pt x="916" y="1320"/>
                    <a:pt x="916" y="1320"/>
                    <a:pt x="916" y="1320"/>
                  </a:cubicBezTo>
                  <a:cubicBezTo>
                    <a:pt x="917" y="1320"/>
                    <a:pt x="917" y="1320"/>
                    <a:pt x="917" y="1320"/>
                  </a:cubicBezTo>
                  <a:cubicBezTo>
                    <a:pt x="918" y="1320"/>
                    <a:pt x="918" y="1320"/>
                    <a:pt x="918" y="1320"/>
                  </a:cubicBezTo>
                  <a:cubicBezTo>
                    <a:pt x="918" y="1320"/>
                    <a:pt x="918" y="1320"/>
                    <a:pt x="918" y="1320"/>
                  </a:cubicBezTo>
                  <a:cubicBezTo>
                    <a:pt x="918" y="1321"/>
                    <a:pt x="918" y="1321"/>
                    <a:pt x="918" y="1321"/>
                  </a:cubicBezTo>
                  <a:cubicBezTo>
                    <a:pt x="918" y="1321"/>
                    <a:pt x="918" y="1321"/>
                    <a:pt x="918" y="1321"/>
                  </a:cubicBezTo>
                  <a:cubicBezTo>
                    <a:pt x="918" y="1321"/>
                    <a:pt x="918" y="1321"/>
                    <a:pt x="918" y="1321"/>
                  </a:cubicBezTo>
                  <a:cubicBezTo>
                    <a:pt x="919" y="1321"/>
                    <a:pt x="919" y="1321"/>
                    <a:pt x="919" y="1321"/>
                  </a:cubicBezTo>
                  <a:cubicBezTo>
                    <a:pt x="919" y="1321"/>
                    <a:pt x="919" y="1321"/>
                    <a:pt x="919" y="1321"/>
                  </a:cubicBezTo>
                  <a:cubicBezTo>
                    <a:pt x="919" y="1321"/>
                    <a:pt x="919" y="1321"/>
                    <a:pt x="919" y="1321"/>
                  </a:cubicBezTo>
                  <a:cubicBezTo>
                    <a:pt x="919" y="1321"/>
                    <a:pt x="919" y="1321"/>
                    <a:pt x="919" y="1321"/>
                  </a:cubicBezTo>
                  <a:cubicBezTo>
                    <a:pt x="919" y="1321"/>
                    <a:pt x="919" y="1321"/>
                    <a:pt x="919" y="1321"/>
                  </a:cubicBezTo>
                  <a:cubicBezTo>
                    <a:pt x="920" y="1321"/>
                    <a:pt x="920" y="1321"/>
                    <a:pt x="920" y="1321"/>
                  </a:cubicBezTo>
                  <a:cubicBezTo>
                    <a:pt x="919" y="1321"/>
                    <a:pt x="919" y="1321"/>
                    <a:pt x="919" y="1321"/>
                  </a:cubicBezTo>
                  <a:cubicBezTo>
                    <a:pt x="919" y="1322"/>
                    <a:pt x="919" y="1322"/>
                    <a:pt x="919" y="1322"/>
                  </a:cubicBezTo>
                  <a:cubicBezTo>
                    <a:pt x="930" y="1316"/>
                    <a:pt x="941" y="1310"/>
                    <a:pt x="952" y="1303"/>
                  </a:cubicBezTo>
                  <a:cubicBezTo>
                    <a:pt x="951" y="1303"/>
                    <a:pt x="951" y="1303"/>
                    <a:pt x="951" y="1303"/>
                  </a:cubicBezTo>
                  <a:cubicBezTo>
                    <a:pt x="951" y="1303"/>
                    <a:pt x="951" y="1303"/>
                    <a:pt x="951" y="1303"/>
                  </a:cubicBezTo>
                  <a:cubicBezTo>
                    <a:pt x="952" y="1302"/>
                    <a:pt x="952" y="1302"/>
                    <a:pt x="952" y="1302"/>
                  </a:cubicBezTo>
                  <a:cubicBezTo>
                    <a:pt x="952" y="1302"/>
                    <a:pt x="952" y="1302"/>
                    <a:pt x="952" y="1302"/>
                  </a:cubicBezTo>
                  <a:cubicBezTo>
                    <a:pt x="950" y="1302"/>
                    <a:pt x="950" y="1302"/>
                    <a:pt x="950" y="1302"/>
                  </a:cubicBezTo>
                  <a:cubicBezTo>
                    <a:pt x="950" y="1301"/>
                    <a:pt x="950" y="1301"/>
                    <a:pt x="950" y="1301"/>
                  </a:cubicBezTo>
                  <a:cubicBezTo>
                    <a:pt x="951" y="1301"/>
                    <a:pt x="951" y="1301"/>
                    <a:pt x="951" y="1301"/>
                  </a:cubicBezTo>
                  <a:cubicBezTo>
                    <a:pt x="951" y="1301"/>
                    <a:pt x="951" y="1301"/>
                    <a:pt x="951" y="1301"/>
                  </a:cubicBezTo>
                  <a:cubicBezTo>
                    <a:pt x="951" y="1301"/>
                    <a:pt x="951" y="1301"/>
                    <a:pt x="951" y="1301"/>
                  </a:cubicBezTo>
                  <a:cubicBezTo>
                    <a:pt x="951" y="1301"/>
                    <a:pt x="951" y="1301"/>
                    <a:pt x="951" y="1301"/>
                  </a:cubicBezTo>
                  <a:cubicBezTo>
                    <a:pt x="952" y="1301"/>
                    <a:pt x="952" y="1301"/>
                    <a:pt x="952" y="1301"/>
                  </a:cubicBezTo>
                  <a:cubicBezTo>
                    <a:pt x="952" y="1301"/>
                    <a:pt x="952" y="1301"/>
                    <a:pt x="952" y="1301"/>
                  </a:cubicBezTo>
                  <a:cubicBezTo>
                    <a:pt x="952" y="1300"/>
                    <a:pt x="952" y="1300"/>
                    <a:pt x="952" y="1300"/>
                  </a:cubicBezTo>
                  <a:cubicBezTo>
                    <a:pt x="952" y="1300"/>
                    <a:pt x="952" y="1300"/>
                    <a:pt x="952" y="1300"/>
                  </a:cubicBezTo>
                  <a:cubicBezTo>
                    <a:pt x="953" y="1300"/>
                    <a:pt x="953" y="1300"/>
                    <a:pt x="953" y="1300"/>
                  </a:cubicBezTo>
                  <a:cubicBezTo>
                    <a:pt x="953" y="1300"/>
                    <a:pt x="953" y="1300"/>
                    <a:pt x="953" y="1300"/>
                  </a:cubicBezTo>
                  <a:cubicBezTo>
                    <a:pt x="954" y="1301"/>
                    <a:pt x="954" y="1301"/>
                    <a:pt x="954" y="1301"/>
                  </a:cubicBezTo>
                  <a:cubicBezTo>
                    <a:pt x="954" y="1301"/>
                    <a:pt x="954" y="1301"/>
                    <a:pt x="954" y="1301"/>
                  </a:cubicBezTo>
                  <a:cubicBezTo>
                    <a:pt x="954" y="1301"/>
                    <a:pt x="954" y="1301"/>
                    <a:pt x="954" y="1301"/>
                  </a:cubicBezTo>
                  <a:cubicBezTo>
                    <a:pt x="955" y="1301"/>
                    <a:pt x="955" y="1301"/>
                    <a:pt x="955" y="1301"/>
                  </a:cubicBezTo>
                  <a:cubicBezTo>
                    <a:pt x="958" y="1299"/>
                    <a:pt x="960" y="1298"/>
                    <a:pt x="963" y="1296"/>
                  </a:cubicBezTo>
                  <a:cubicBezTo>
                    <a:pt x="963" y="1296"/>
                    <a:pt x="963" y="1296"/>
                    <a:pt x="963" y="1296"/>
                  </a:cubicBezTo>
                  <a:cubicBezTo>
                    <a:pt x="963" y="1295"/>
                    <a:pt x="963" y="1295"/>
                    <a:pt x="963" y="1295"/>
                  </a:cubicBezTo>
                  <a:cubicBezTo>
                    <a:pt x="964" y="1295"/>
                    <a:pt x="964" y="1295"/>
                    <a:pt x="964" y="1295"/>
                  </a:cubicBezTo>
                  <a:cubicBezTo>
                    <a:pt x="964" y="1294"/>
                    <a:pt x="964" y="1294"/>
                    <a:pt x="964" y="1294"/>
                  </a:cubicBezTo>
                  <a:cubicBezTo>
                    <a:pt x="964" y="1294"/>
                    <a:pt x="964" y="1294"/>
                    <a:pt x="964" y="1294"/>
                  </a:cubicBezTo>
                  <a:cubicBezTo>
                    <a:pt x="964" y="1293"/>
                    <a:pt x="964" y="1293"/>
                    <a:pt x="964" y="1293"/>
                  </a:cubicBezTo>
                  <a:cubicBezTo>
                    <a:pt x="963" y="1293"/>
                    <a:pt x="963" y="1293"/>
                    <a:pt x="963" y="1293"/>
                  </a:cubicBezTo>
                  <a:cubicBezTo>
                    <a:pt x="963" y="1292"/>
                    <a:pt x="963" y="1292"/>
                    <a:pt x="963" y="1292"/>
                  </a:cubicBezTo>
                  <a:cubicBezTo>
                    <a:pt x="962" y="1292"/>
                    <a:pt x="962" y="1292"/>
                    <a:pt x="962" y="1292"/>
                  </a:cubicBezTo>
                  <a:cubicBezTo>
                    <a:pt x="963" y="1292"/>
                    <a:pt x="963" y="1292"/>
                    <a:pt x="963" y="1292"/>
                  </a:cubicBezTo>
                  <a:cubicBezTo>
                    <a:pt x="963" y="1292"/>
                    <a:pt x="963" y="1292"/>
                    <a:pt x="963" y="1292"/>
                  </a:cubicBezTo>
                  <a:cubicBezTo>
                    <a:pt x="962" y="1292"/>
                    <a:pt x="962" y="1292"/>
                    <a:pt x="962" y="1292"/>
                  </a:cubicBezTo>
                  <a:cubicBezTo>
                    <a:pt x="962" y="1292"/>
                    <a:pt x="962" y="1292"/>
                    <a:pt x="962" y="1292"/>
                  </a:cubicBezTo>
                  <a:cubicBezTo>
                    <a:pt x="962" y="1292"/>
                    <a:pt x="962" y="1292"/>
                    <a:pt x="962" y="1292"/>
                  </a:cubicBezTo>
                  <a:cubicBezTo>
                    <a:pt x="962" y="1291"/>
                    <a:pt x="962" y="1291"/>
                    <a:pt x="962" y="1291"/>
                  </a:cubicBezTo>
                  <a:cubicBezTo>
                    <a:pt x="962" y="1290"/>
                    <a:pt x="962" y="1290"/>
                    <a:pt x="962" y="1290"/>
                  </a:cubicBezTo>
                  <a:cubicBezTo>
                    <a:pt x="961" y="1290"/>
                    <a:pt x="961" y="1290"/>
                    <a:pt x="961" y="1290"/>
                  </a:cubicBezTo>
                  <a:cubicBezTo>
                    <a:pt x="961" y="1290"/>
                    <a:pt x="961" y="1290"/>
                    <a:pt x="961" y="1290"/>
                  </a:cubicBezTo>
                  <a:cubicBezTo>
                    <a:pt x="961" y="1290"/>
                    <a:pt x="961" y="1290"/>
                    <a:pt x="961" y="1290"/>
                  </a:cubicBezTo>
                  <a:cubicBezTo>
                    <a:pt x="961" y="1289"/>
                    <a:pt x="961" y="1289"/>
                    <a:pt x="961" y="1289"/>
                  </a:cubicBezTo>
                  <a:cubicBezTo>
                    <a:pt x="961" y="1289"/>
                    <a:pt x="961" y="1289"/>
                    <a:pt x="961" y="1289"/>
                  </a:cubicBezTo>
                  <a:cubicBezTo>
                    <a:pt x="961" y="1290"/>
                    <a:pt x="961" y="1290"/>
                    <a:pt x="961" y="1290"/>
                  </a:cubicBezTo>
                  <a:cubicBezTo>
                    <a:pt x="961" y="1290"/>
                    <a:pt x="961" y="1290"/>
                    <a:pt x="961" y="1290"/>
                  </a:cubicBezTo>
                  <a:cubicBezTo>
                    <a:pt x="960" y="1290"/>
                    <a:pt x="960" y="1290"/>
                    <a:pt x="960" y="1290"/>
                  </a:cubicBezTo>
                  <a:cubicBezTo>
                    <a:pt x="960" y="1290"/>
                    <a:pt x="960" y="1290"/>
                    <a:pt x="960" y="1290"/>
                  </a:cubicBezTo>
                  <a:cubicBezTo>
                    <a:pt x="959" y="1288"/>
                    <a:pt x="959" y="1288"/>
                    <a:pt x="959" y="1288"/>
                  </a:cubicBezTo>
                  <a:cubicBezTo>
                    <a:pt x="959" y="1288"/>
                    <a:pt x="959" y="1288"/>
                    <a:pt x="959" y="1288"/>
                  </a:cubicBezTo>
                  <a:cubicBezTo>
                    <a:pt x="959" y="1286"/>
                    <a:pt x="959" y="1286"/>
                    <a:pt x="959" y="1286"/>
                  </a:cubicBezTo>
                  <a:cubicBezTo>
                    <a:pt x="960" y="1286"/>
                    <a:pt x="960" y="1286"/>
                    <a:pt x="960" y="1286"/>
                  </a:cubicBezTo>
                  <a:cubicBezTo>
                    <a:pt x="961" y="1285"/>
                    <a:pt x="961" y="1285"/>
                    <a:pt x="961" y="1285"/>
                  </a:cubicBezTo>
                  <a:cubicBezTo>
                    <a:pt x="962" y="1285"/>
                    <a:pt x="962" y="1285"/>
                    <a:pt x="962" y="1285"/>
                  </a:cubicBezTo>
                  <a:cubicBezTo>
                    <a:pt x="963" y="1285"/>
                    <a:pt x="963" y="1285"/>
                    <a:pt x="963" y="1285"/>
                  </a:cubicBezTo>
                  <a:cubicBezTo>
                    <a:pt x="962" y="1285"/>
                    <a:pt x="962" y="1285"/>
                    <a:pt x="962" y="1285"/>
                  </a:cubicBezTo>
                  <a:cubicBezTo>
                    <a:pt x="962" y="1284"/>
                    <a:pt x="962" y="1284"/>
                    <a:pt x="962" y="1284"/>
                  </a:cubicBezTo>
                  <a:cubicBezTo>
                    <a:pt x="962" y="1284"/>
                    <a:pt x="962" y="1284"/>
                    <a:pt x="962" y="1284"/>
                  </a:cubicBezTo>
                  <a:cubicBezTo>
                    <a:pt x="963" y="1283"/>
                    <a:pt x="963" y="1283"/>
                    <a:pt x="963" y="1283"/>
                  </a:cubicBezTo>
                  <a:cubicBezTo>
                    <a:pt x="963" y="1283"/>
                    <a:pt x="963" y="1283"/>
                    <a:pt x="963" y="1283"/>
                  </a:cubicBezTo>
                  <a:cubicBezTo>
                    <a:pt x="962" y="1283"/>
                    <a:pt x="962" y="1283"/>
                    <a:pt x="962" y="1283"/>
                  </a:cubicBezTo>
                  <a:cubicBezTo>
                    <a:pt x="963" y="1283"/>
                    <a:pt x="963" y="1283"/>
                    <a:pt x="963" y="1283"/>
                  </a:cubicBezTo>
                  <a:cubicBezTo>
                    <a:pt x="963" y="1283"/>
                    <a:pt x="963" y="1283"/>
                    <a:pt x="963" y="1283"/>
                  </a:cubicBezTo>
                  <a:cubicBezTo>
                    <a:pt x="964" y="1283"/>
                    <a:pt x="964" y="1283"/>
                    <a:pt x="964" y="1283"/>
                  </a:cubicBezTo>
                  <a:cubicBezTo>
                    <a:pt x="964" y="1283"/>
                    <a:pt x="964" y="1283"/>
                    <a:pt x="964" y="1283"/>
                  </a:cubicBezTo>
                  <a:cubicBezTo>
                    <a:pt x="964" y="1283"/>
                    <a:pt x="964" y="1283"/>
                    <a:pt x="964" y="1283"/>
                  </a:cubicBezTo>
                  <a:cubicBezTo>
                    <a:pt x="965" y="1284"/>
                    <a:pt x="965" y="1284"/>
                    <a:pt x="965" y="1284"/>
                  </a:cubicBezTo>
                  <a:cubicBezTo>
                    <a:pt x="965" y="1284"/>
                    <a:pt x="965" y="1284"/>
                    <a:pt x="965" y="1284"/>
                  </a:cubicBezTo>
                  <a:cubicBezTo>
                    <a:pt x="965" y="1284"/>
                    <a:pt x="965" y="1284"/>
                    <a:pt x="965" y="1284"/>
                  </a:cubicBezTo>
                  <a:cubicBezTo>
                    <a:pt x="965" y="1284"/>
                    <a:pt x="965" y="1284"/>
                    <a:pt x="965" y="1284"/>
                  </a:cubicBezTo>
                  <a:cubicBezTo>
                    <a:pt x="965" y="1284"/>
                    <a:pt x="965" y="1284"/>
                    <a:pt x="965" y="1284"/>
                  </a:cubicBezTo>
                  <a:cubicBezTo>
                    <a:pt x="967" y="1285"/>
                    <a:pt x="967" y="1285"/>
                    <a:pt x="967" y="1285"/>
                  </a:cubicBezTo>
                  <a:cubicBezTo>
                    <a:pt x="968" y="1285"/>
                    <a:pt x="968" y="1285"/>
                    <a:pt x="968" y="1285"/>
                  </a:cubicBezTo>
                  <a:cubicBezTo>
                    <a:pt x="968" y="1285"/>
                    <a:pt x="968" y="1285"/>
                    <a:pt x="968" y="1285"/>
                  </a:cubicBezTo>
                  <a:cubicBezTo>
                    <a:pt x="969" y="1286"/>
                    <a:pt x="969" y="1286"/>
                    <a:pt x="969" y="1286"/>
                  </a:cubicBezTo>
                  <a:cubicBezTo>
                    <a:pt x="969" y="1286"/>
                    <a:pt x="969" y="1286"/>
                    <a:pt x="969" y="1286"/>
                  </a:cubicBezTo>
                  <a:cubicBezTo>
                    <a:pt x="970" y="1287"/>
                    <a:pt x="970" y="1287"/>
                    <a:pt x="970" y="1287"/>
                  </a:cubicBezTo>
                  <a:cubicBezTo>
                    <a:pt x="969" y="1288"/>
                    <a:pt x="969" y="1288"/>
                    <a:pt x="969" y="1288"/>
                  </a:cubicBezTo>
                  <a:cubicBezTo>
                    <a:pt x="970" y="1288"/>
                    <a:pt x="970" y="1288"/>
                    <a:pt x="970" y="1288"/>
                  </a:cubicBezTo>
                  <a:cubicBezTo>
                    <a:pt x="971" y="1289"/>
                    <a:pt x="971" y="1289"/>
                    <a:pt x="971" y="1289"/>
                  </a:cubicBezTo>
                  <a:cubicBezTo>
                    <a:pt x="971" y="1290"/>
                    <a:pt x="971" y="1290"/>
                    <a:pt x="971" y="1290"/>
                  </a:cubicBezTo>
                  <a:cubicBezTo>
                    <a:pt x="971" y="1290"/>
                    <a:pt x="971" y="1290"/>
                    <a:pt x="971" y="1290"/>
                  </a:cubicBezTo>
                  <a:cubicBezTo>
                    <a:pt x="970" y="1291"/>
                    <a:pt x="970" y="1291"/>
                    <a:pt x="970" y="1291"/>
                  </a:cubicBezTo>
                  <a:cubicBezTo>
                    <a:pt x="970" y="1291"/>
                    <a:pt x="970" y="1291"/>
                    <a:pt x="970" y="1291"/>
                  </a:cubicBezTo>
                  <a:cubicBezTo>
                    <a:pt x="970" y="1291"/>
                    <a:pt x="970" y="1291"/>
                    <a:pt x="970" y="1291"/>
                  </a:cubicBezTo>
                  <a:cubicBezTo>
                    <a:pt x="970" y="1291"/>
                    <a:pt x="970" y="1291"/>
                    <a:pt x="970" y="1291"/>
                  </a:cubicBezTo>
                  <a:cubicBezTo>
                    <a:pt x="970" y="1290"/>
                    <a:pt x="970" y="1290"/>
                    <a:pt x="970" y="1290"/>
                  </a:cubicBezTo>
                  <a:cubicBezTo>
                    <a:pt x="969" y="1291"/>
                    <a:pt x="969" y="1291"/>
                    <a:pt x="969" y="1291"/>
                  </a:cubicBezTo>
                  <a:cubicBezTo>
                    <a:pt x="970" y="1291"/>
                    <a:pt x="970" y="1291"/>
                    <a:pt x="970" y="1291"/>
                  </a:cubicBezTo>
                  <a:cubicBezTo>
                    <a:pt x="969" y="1291"/>
                    <a:pt x="969" y="1291"/>
                    <a:pt x="969" y="1291"/>
                  </a:cubicBezTo>
                  <a:cubicBezTo>
                    <a:pt x="967" y="1293"/>
                    <a:pt x="967" y="1293"/>
                    <a:pt x="967" y="1293"/>
                  </a:cubicBezTo>
                  <a:cubicBezTo>
                    <a:pt x="968" y="1291"/>
                    <a:pt x="968" y="1291"/>
                    <a:pt x="968" y="1291"/>
                  </a:cubicBezTo>
                  <a:cubicBezTo>
                    <a:pt x="968" y="1290"/>
                    <a:pt x="968" y="1290"/>
                    <a:pt x="968" y="1290"/>
                  </a:cubicBezTo>
                  <a:cubicBezTo>
                    <a:pt x="967" y="1291"/>
                    <a:pt x="967" y="1291"/>
                    <a:pt x="967" y="1291"/>
                  </a:cubicBezTo>
                  <a:cubicBezTo>
                    <a:pt x="966" y="1291"/>
                    <a:pt x="966" y="1291"/>
                    <a:pt x="966" y="1291"/>
                  </a:cubicBezTo>
                  <a:cubicBezTo>
                    <a:pt x="966" y="1292"/>
                    <a:pt x="966" y="1292"/>
                    <a:pt x="966" y="1292"/>
                  </a:cubicBezTo>
                  <a:cubicBezTo>
                    <a:pt x="966" y="1292"/>
                    <a:pt x="966" y="1292"/>
                    <a:pt x="966" y="1292"/>
                  </a:cubicBezTo>
                  <a:cubicBezTo>
                    <a:pt x="966" y="1293"/>
                    <a:pt x="966" y="1293"/>
                    <a:pt x="966" y="1293"/>
                  </a:cubicBezTo>
                  <a:cubicBezTo>
                    <a:pt x="967" y="1293"/>
                    <a:pt x="967" y="1293"/>
                    <a:pt x="967" y="1293"/>
                  </a:cubicBezTo>
                  <a:cubicBezTo>
                    <a:pt x="968" y="1293"/>
                    <a:pt x="968" y="1293"/>
                    <a:pt x="968" y="1293"/>
                  </a:cubicBezTo>
                  <a:cubicBezTo>
                    <a:pt x="970" y="1292"/>
                    <a:pt x="972" y="1290"/>
                    <a:pt x="974" y="1289"/>
                  </a:cubicBezTo>
                  <a:cubicBezTo>
                    <a:pt x="973" y="1286"/>
                    <a:pt x="973" y="1286"/>
                    <a:pt x="973" y="1286"/>
                  </a:cubicBezTo>
                  <a:cubicBezTo>
                    <a:pt x="972" y="1284"/>
                    <a:pt x="972" y="1284"/>
                    <a:pt x="972" y="1284"/>
                  </a:cubicBezTo>
                  <a:cubicBezTo>
                    <a:pt x="971" y="1283"/>
                    <a:pt x="971" y="1283"/>
                    <a:pt x="971" y="1283"/>
                  </a:cubicBezTo>
                  <a:cubicBezTo>
                    <a:pt x="971" y="1282"/>
                    <a:pt x="971" y="1282"/>
                    <a:pt x="971" y="1282"/>
                  </a:cubicBezTo>
                  <a:cubicBezTo>
                    <a:pt x="968" y="1279"/>
                    <a:pt x="968" y="1279"/>
                    <a:pt x="968" y="1279"/>
                  </a:cubicBezTo>
                  <a:cubicBezTo>
                    <a:pt x="968" y="1279"/>
                    <a:pt x="968" y="1279"/>
                    <a:pt x="968" y="1279"/>
                  </a:cubicBezTo>
                  <a:cubicBezTo>
                    <a:pt x="967" y="1277"/>
                    <a:pt x="967" y="1277"/>
                    <a:pt x="967" y="1277"/>
                  </a:cubicBezTo>
                  <a:cubicBezTo>
                    <a:pt x="967" y="1277"/>
                    <a:pt x="967" y="1277"/>
                    <a:pt x="967" y="1277"/>
                  </a:cubicBezTo>
                  <a:cubicBezTo>
                    <a:pt x="966" y="1276"/>
                    <a:pt x="966" y="1276"/>
                    <a:pt x="966" y="1276"/>
                  </a:cubicBezTo>
                  <a:cubicBezTo>
                    <a:pt x="964" y="1276"/>
                    <a:pt x="964" y="1276"/>
                    <a:pt x="964" y="1276"/>
                  </a:cubicBezTo>
                  <a:cubicBezTo>
                    <a:pt x="963" y="1275"/>
                    <a:pt x="963" y="1275"/>
                    <a:pt x="963" y="1275"/>
                  </a:cubicBezTo>
                  <a:cubicBezTo>
                    <a:pt x="963" y="1274"/>
                    <a:pt x="963" y="1274"/>
                    <a:pt x="963" y="1274"/>
                  </a:cubicBezTo>
                  <a:cubicBezTo>
                    <a:pt x="962" y="1273"/>
                    <a:pt x="962" y="1273"/>
                    <a:pt x="962" y="1273"/>
                  </a:cubicBezTo>
                  <a:cubicBezTo>
                    <a:pt x="961" y="1271"/>
                    <a:pt x="961" y="1271"/>
                    <a:pt x="961" y="1271"/>
                  </a:cubicBezTo>
                  <a:cubicBezTo>
                    <a:pt x="961" y="1269"/>
                    <a:pt x="961" y="1269"/>
                    <a:pt x="961" y="1269"/>
                  </a:cubicBezTo>
                  <a:cubicBezTo>
                    <a:pt x="960" y="1268"/>
                    <a:pt x="960" y="1268"/>
                    <a:pt x="960" y="1268"/>
                  </a:cubicBezTo>
                  <a:cubicBezTo>
                    <a:pt x="960" y="1268"/>
                    <a:pt x="960" y="1268"/>
                    <a:pt x="960" y="1268"/>
                  </a:cubicBezTo>
                  <a:cubicBezTo>
                    <a:pt x="960" y="1267"/>
                    <a:pt x="960" y="1267"/>
                    <a:pt x="960" y="1267"/>
                  </a:cubicBezTo>
                  <a:cubicBezTo>
                    <a:pt x="960" y="1266"/>
                    <a:pt x="960" y="1266"/>
                    <a:pt x="960" y="1266"/>
                  </a:cubicBezTo>
                  <a:cubicBezTo>
                    <a:pt x="960" y="1265"/>
                    <a:pt x="960" y="1265"/>
                    <a:pt x="960" y="1265"/>
                  </a:cubicBezTo>
                  <a:cubicBezTo>
                    <a:pt x="959" y="1265"/>
                    <a:pt x="959" y="1265"/>
                    <a:pt x="959" y="1265"/>
                  </a:cubicBezTo>
                  <a:cubicBezTo>
                    <a:pt x="958" y="1264"/>
                    <a:pt x="958" y="1264"/>
                    <a:pt x="958" y="1264"/>
                  </a:cubicBezTo>
                  <a:cubicBezTo>
                    <a:pt x="958" y="1264"/>
                    <a:pt x="958" y="1264"/>
                    <a:pt x="958" y="1264"/>
                  </a:cubicBezTo>
                  <a:cubicBezTo>
                    <a:pt x="957" y="1263"/>
                    <a:pt x="957" y="1263"/>
                    <a:pt x="957" y="1263"/>
                  </a:cubicBezTo>
                  <a:cubicBezTo>
                    <a:pt x="956" y="1262"/>
                    <a:pt x="956" y="1262"/>
                    <a:pt x="956" y="1262"/>
                  </a:cubicBezTo>
                  <a:cubicBezTo>
                    <a:pt x="956" y="1262"/>
                    <a:pt x="956" y="1262"/>
                    <a:pt x="956" y="1262"/>
                  </a:cubicBezTo>
                  <a:cubicBezTo>
                    <a:pt x="956" y="1260"/>
                    <a:pt x="956" y="1260"/>
                    <a:pt x="956" y="1260"/>
                  </a:cubicBezTo>
                  <a:cubicBezTo>
                    <a:pt x="956" y="1260"/>
                    <a:pt x="956" y="1260"/>
                    <a:pt x="956" y="1260"/>
                  </a:cubicBezTo>
                  <a:cubicBezTo>
                    <a:pt x="956" y="1259"/>
                    <a:pt x="956" y="1259"/>
                    <a:pt x="956" y="1259"/>
                  </a:cubicBezTo>
                  <a:cubicBezTo>
                    <a:pt x="955" y="1259"/>
                    <a:pt x="955" y="1259"/>
                    <a:pt x="955" y="1259"/>
                  </a:cubicBezTo>
                  <a:cubicBezTo>
                    <a:pt x="955" y="1259"/>
                    <a:pt x="955" y="1259"/>
                    <a:pt x="955" y="1259"/>
                  </a:cubicBezTo>
                  <a:cubicBezTo>
                    <a:pt x="955" y="1259"/>
                    <a:pt x="955" y="1259"/>
                    <a:pt x="955" y="1259"/>
                  </a:cubicBezTo>
                  <a:cubicBezTo>
                    <a:pt x="954" y="1259"/>
                    <a:pt x="954" y="1259"/>
                    <a:pt x="954" y="1259"/>
                  </a:cubicBezTo>
                  <a:cubicBezTo>
                    <a:pt x="954" y="1259"/>
                    <a:pt x="954" y="1259"/>
                    <a:pt x="954" y="1259"/>
                  </a:cubicBezTo>
                  <a:cubicBezTo>
                    <a:pt x="954" y="1258"/>
                    <a:pt x="954" y="1258"/>
                    <a:pt x="954" y="1258"/>
                  </a:cubicBezTo>
                  <a:cubicBezTo>
                    <a:pt x="953" y="1257"/>
                    <a:pt x="953" y="1257"/>
                    <a:pt x="953" y="1257"/>
                  </a:cubicBezTo>
                  <a:cubicBezTo>
                    <a:pt x="952" y="1256"/>
                    <a:pt x="952" y="1256"/>
                    <a:pt x="952" y="1256"/>
                  </a:cubicBezTo>
                  <a:cubicBezTo>
                    <a:pt x="952" y="1256"/>
                    <a:pt x="952" y="1256"/>
                    <a:pt x="952" y="1256"/>
                  </a:cubicBezTo>
                  <a:cubicBezTo>
                    <a:pt x="952" y="1256"/>
                    <a:pt x="952" y="1256"/>
                    <a:pt x="952" y="1256"/>
                  </a:cubicBezTo>
                  <a:cubicBezTo>
                    <a:pt x="952" y="1255"/>
                    <a:pt x="952" y="1255"/>
                    <a:pt x="952" y="1255"/>
                  </a:cubicBezTo>
                  <a:cubicBezTo>
                    <a:pt x="952" y="1255"/>
                    <a:pt x="952" y="1255"/>
                    <a:pt x="952" y="1255"/>
                  </a:cubicBezTo>
                  <a:cubicBezTo>
                    <a:pt x="952" y="1254"/>
                    <a:pt x="952" y="1254"/>
                    <a:pt x="952" y="1254"/>
                  </a:cubicBezTo>
                  <a:cubicBezTo>
                    <a:pt x="951" y="1253"/>
                    <a:pt x="951" y="1253"/>
                    <a:pt x="951" y="1253"/>
                  </a:cubicBezTo>
                  <a:cubicBezTo>
                    <a:pt x="951" y="1252"/>
                    <a:pt x="951" y="1252"/>
                    <a:pt x="951" y="1252"/>
                  </a:cubicBezTo>
                  <a:cubicBezTo>
                    <a:pt x="951" y="1251"/>
                    <a:pt x="951" y="1251"/>
                    <a:pt x="951" y="1251"/>
                  </a:cubicBezTo>
                  <a:cubicBezTo>
                    <a:pt x="952" y="1249"/>
                    <a:pt x="952" y="1249"/>
                    <a:pt x="952" y="1249"/>
                  </a:cubicBezTo>
                  <a:cubicBezTo>
                    <a:pt x="952" y="1248"/>
                    <a:pt x="952" y="1248"/>
                    <a:pt x="952" y="1248"/>
                  </a:cubicBezTo>
                  <a:cubicBezTo>
                    <a:pt x="953" y="1246"/>
                    <a:pt x="953" y="1246"/>
                    <a:pt x="953" y="1246"/>
                  </a:cubicBezTo>
                  <a:cubicBezTo>
                    <a:pt x="954" y="1244"/>
                    <a:pt x="954" y="1244"/>
                    <a:pt x="954" y="1244"/>
                  </a:cubicBezTo>
                  <a:cubicBezTo>
                    <a:pt x="954" y="1243"/>
                    <a:pt x="954" y="1243"/>
                    <a:pt x="954" y="1243"/>
                  </a:cubicBezTo>
                  <a:cubicBezTo>
                    <a:pt x="954" y="1243"/>
                    <a:pt x="954" y="1243"/>
                    <a:pt x="954" y="1243"/>
                  </a:cubicBezTo>
                  <a:cubicBezTo>
                    <a:pt x="954" y="1243"/>
                    <a:pt x="954" y="1243"/>
                    <a:pt x="954" y="1243"/>
                  </a:cubicBezTo>
                  <a:cubicBezTo>
                    <a:pt x="953" y="1242"/>
                    <a:pt x="953" y="1242"/>
                    <a:pt x="953" y="1242"/>
                  </a:cubicBezTo>
                  <a:cubicBezTo>
                    <a:pt x="953" y="1242"/>
                    <a:pt x="953" y="1242"/>
                    <a:pt x="953" y="1242"/>
                  </a:cubicBezTo>
                  <a:cubicBezTo>
                    <a:pt x="953" y="1242"/>
                    <a:pt x="953" y="1242"/>
                    <a:pt x="953" y="1242"/>
                  </a:cubicBezTo>
                  <a:cubicBezTo>
                    <a:pt x="953" y="1241"/>
                    <a:pt x="953" y="1241"/>
                    <a:pt x="953" y="1241"/>
                  </a:cubicBezTo>
                  <a:cubicBezTo>
                    <a:pt x="953" y="1241"/>
                    <a:pt x="953" y="1241"/>
                    <a:pt x="953" y="1241"/>
                  </a:cubicBezTo>
                  <a:cubicBezTo>
                    <a:pt x="952" y="1240"/>
                    <a:pt x="952" y="1240"/>
                    <a:pt x="952" y="1240"/>
                  </a:cubicBezTo>
                  <a:cubicBezTo>
                    <a:pt x="952" y="1240"/>
                    <a:pt x="952" y="1240"/>
                    <a:pt x="952" y="1240"/>
                  </a:cubicBezTo>
                  <a:cubicBezTo>
                    <a:pt x="952" y="1239"/>
                    <a:pt x="952" y="1239"/>
                    <a:pt x="952" y="1239"/>
                  </a:cubicBezTo>
                  <a:cubicBezTo>
                    <a:pt x="953" y="1239"/>
                    <a:pt x="953" y="1239"/>
                    <a:pt x="953" y="1239"/>
                  </a:cubicBezTo>
                  <a:cubicBezTo>
                    <a:pt x="953" y="1239"/>
                    <a:pt x="953" y="1239"/>
                    <a:pt x="953" y="1239"/>
                  </a:cubicBezTo>
                  <a:cubicBezTo>
                    <a:pt x="954" y="1239"/>
                    <a:pt x="954" y="1239"/>
                    <a:pt x="954" y="1239"/>
                  </a:cubicBezTo>
                  <a:cubicBezTo>
                    <a:pt x="954" y="1239"/>
                    <a:pt x="954" y="1239"/>
                    <a:pt x="954" y="1239"/>
                  </a:cubicBezTo>
                  <a:cubicBezTo>
                    <a:pt x="954" y="1239"/>
                    <a:pt x="954" y="1239"/>
                    <a:pt x="954" y="1239"/>
                  </a:cubicBezTo>
                  <a:cubicBezTo>
                    <a:pt x="954" y="1239"/>
                    <a:pt x="954" y="1239"/>
                    <a:pt x="954" y="1239"/>
                  </a:cubicBezTo>
                  <a:cubicBezTo>
                    <a:pt x="954" y="1239"/>
                    <a:pt x="954" y="1239"/>
                    <a:pt x="954" y="1239"/>
                  </a:cubicBezTo>
                  <a:cubicBezTo>
                    <a:pt x="954" y="1238"/>
                    <a:pt x="954" y="1238"/>
                    <a:pt x="954" y="1238"/>
                  </a:cubicBezTo>
                  <a:cubicBezTo>
                    <a:pt x="955" y="1238"/>
                    <a:pt x="955" y="1238"/>
                    <a:pt x="955" y="1238"/>
                  </a:cubicBezTo>
                  <a:cubicBezTo>
                    <a:pt x="954" y="1238"/>
                    <a:pt x="954" y="1238"/>
                    <a:pt x="954" y="1238"/>
                  </a:cubicBezTo>
                  <a:cubicBezTo>
                    <a:pt x="954" y="1238"/>
                    <a:pt x="954" y="1238"/>
                    <a:pt x="954" y="1238"/>
                  </a:cubicBezTo>
                  <a:cubicBezTo>
                    <a:pt x="955" y="1237"/>
                    <a:pt x="955" y="1237"/>
                    <a:pt x="955" y="1237"/>
                  </a:cubicBezTo>
                  <a:cubicBezTo>
                    <a:pt x="955" y="1237"/>
                    <a:pt x="955" y="1237"/>
                    <a:pt x="955" y="1237"/>
                  </a:cubicBezTo>
                  <a:cubicBezTo>
                    <a:pt x="955" y="1237"/>
                    <a:pt x="955" y="1237"/>
                    <a:pt x="955" y="1237"/>
                  </a:cubicBezTo>
                  <a:cubicBezTo>
                    <a:pt x="956" y="1237"/>
                    <a:pt x="956" y="1237"/>
                    <a:pt x="956" y="1237"/>
                  </a:cubicBezTo>
                  <a:cubicBezTo>
                    <a:pt x="956" y="1238"/>
                    <a:pt x="956" y="1238"/>
                    <a:pt x="956" y="1238"/>
                  </a:cubicBezTo>
                  <a:cubicBezTo>
                    <a:pt x="956" y="1238"/>
                    <a:pt x="956" y="1238"/>
                    <a:pt x="956" y="1238"/>
                  </a:cubicBezTo>
                  <a:cubicBezTo>
                    <a:pt x="956" y="1237"/>
                    <a:pt x="956" y="1237"/>
                    <a:pt x="956" y="1237"/>
                  </a:cubicBezTo>
                  <a:cubicBezTo>
                    <a:pt x="956" y="1237"/>
                    <a:pt x="956" y="1237"/>
                    <a:pt x="956" y="1237"/>
                  </a:cubicBezTo>
                  <a:cubicBezTo>
                    <a:pt x="956" y="1238"/>
                    <a:pt x="956" y="1238"/>
                    <a:pt x="956" y="1238"/>
                  </a:cubicBezTo>
                  <a:cubicBezTo>
                    <a:pt x="957" y="1238"/>
                    <a:pt x="957" y="1238"/>
                    <a:pt x="957" y="1238"/>
                  </a:cubicBezTo>
                  <a:cubicBezTo>
                    <a:pt x="957" y="1237"/>
                    <a:pt x="957" y="1237"/>
                    <a:pt x="957" y="1237"/>
                  </a:cubicBezTo>
                  <a:cubicBezTo>
                    <a:pt x="957" y="1237"/>
                    <a:pt x="957" y="1237"/>
                    <a:pt x="957" y="1237"/>
                  </a:cubicBezTo>
                  <a:cubicBezTo>
                    <a:pt x="957" y="1237"/>
                    <a:pt x="957" y="1237"/>
                    <a:pt x="957" y="1237"/>
                  </a:cubicBezTo>
                  <a:cubicBezTo>
                    <a:pt x="957" y="1237"/>
                    <a:pt x="957" y="1237"/>
                    <a:pt x="957" y="1237"/>
                  </a:cubicBezTo>
                  <a:cubicBezTo>
                    <a:pt x="957" y="1236"/>
                    <a:pt x="957" y="1236"/>
                    <a:pt x="957" y="1236"/>
                  </a:cubicBezTo>
                  <a:cubicBezTo>
                    <a:pt x="957" y="1236"/>
                    <a:pt x="957" y="1236"/>
                    <a:pt x="957" y="1236"/>
                  </a:cubicBezTo>
                  <a:cubicBezTo>
                    <a:pt x="958" y="1235"/>
                    <a:pt x="958" y="1235"/>
                    <a:pt x="958" y="1235"/>
                  </a:cubicBezTo>
                  <a:cubicBezTo>
                    <a:pt x="958" y="1235"/>
                    <a:pt x="958" y="1235"/>
                    <a:pt x="958" y="1235"/>
                  </a:cubicBezTo>
                  <a:cubicBezTo>
                    <a:pt x="958" y="1235"/>
                    <a:pt x="958" y="1235"/>
                    <a:pt x="958" y="1235"/>
                  </a:cubicBezTo>
                  <a:cubicBezTo>
                    <a:pt x="959" y="1235"/>
                    <a:pt x="959" y="1235"/>
                    <a:pt x="959" y="1235"/>
                  </a:cubicBezTo>
                  <a:cubicBezTo>
                    <a:pt x="959" y="1235"/>
                    <a:pt x="959" y="1235"/>
                    <a:pt x="959" y="1235"/>
                  </a:cubicBezTo>
                  <a:cubicBezTo>
                    <a:pt x="960" y="1235"/>
                    <a:pt x="960" y="1235"/>
                    <a:pt x="960" y="1235"/>
                  </a:cubicBezTo>
                  <a:cubicBezTo>
                    <a:pt x="960" y="1235"/>
                    <a:pt x="960" y="1235"/>
                    <a:pt x="960" y="1235"/>
                  </a:cubicBezTo>
                  <a:cubicBezTo>
                    <a:pt x="960" y="1234"/>
                    <a:pt x="960" y="1234"/>
                    <a:pt x="960" y="1234"/>
                  </a:cubicBezTo>
                  <a:cubicBezTo>
                    <a:pt x="960" y="1233"/>
                    <a:pt x="960" y="1233"/>
                    <a:pt x="960" y="1233"/>
                  </a:cubicBezTo>
                  <a:cubicBezTo>
                    <a:pt x="960" y="1233"/>
                    <a:pt x="960" y="1233"/>
                    <a:pt x="960" y="1233"/>
                  </a:cubicBezTo>
                  <a:cubicBezTo>
                    <a:pt x="961" y="1232"/>
                    <a:pt x="961" y="1232"/>
                    <a:pt x="961" y="1232"/>
                  </a:cubicBezTo>
                  <a:cubicBezTo>
                    <a:pt x="962" y="1233"/>
                    <a:pt x="962" y="1233"/>
                    <a:pt x="962" y="1233"/>
                  </a:cubicBezTo>
                  <a:cubicBezTo>
                    <a:pt x="962" y="1233"/>
                    <a:pt x="962" y="1233"/>
                    <a:pt x="962" y="1233"/>
                  </a:cubicBezTo>
                  <a:cubicBezTo>
                    <a:pt x="963" y="1234"/>
                    <a:pt x="963" y="1234"/>
                    <a:pt x="963" y="1234"/>
                  </a:cubicBezTo>
                  <a:cubicBezTo>
                    <a:pt x="963" y="1234"/>
                    <a:pt x="963" y="1234"/>
                    <a:pt x="963" y="1234"/>
                  </a:cubicBezTo>
                  <a:cubicBezTo>
                    <a:pt x="963" y="1235"/>
                    <a:pt x="963" y="1235"/>
                    <a:pt x="963" y="1235"/>
                  </a:cubicBezTo>
                  <a:cubicBezTo>
                    <a:pt x="963" y="1235"/>
                    <a:pt x="963" y="1235"/>
                    <a:pt x="963" y="1235"/>
                  </a:cubicBezTo>
                  <a:cubicBezTo>
                    <a:pt x="963" y="1235"/>
                    <a:pt x="963" y="1235"/>
                    <a:pt x="963" y="1235"/>
                  </a:cubicBezTo>
                  <a:cubicBezTo>
                    <a:pt x="964" y="1235"/>
                    <a:pt x="964" y="1235"/>
                    <a:pt x="964" y="1235"/>
                  </a:cubicBezTo>
                  <a:cubicBezTo>
                    <a:pt x="964" y="1236"/>
                    <a:pt x="964" y="1236"/>
                    <a:pt x="964" y="1236"/>
                  </a:cubicBezTo>
                  <a:cubicBezTo>
                    <a:pt x="963" y="1237"/>
                    <a:pt x="963" y="1237"/>
                    <a:pt x="963" y="1237"/>
                  </a:cubicBezTo>
                  <a:cubicBezTo>
                    <a:pt x="963" y="1237"/>
                    <a:pt x="963" y="1237"/>
                    <a:pt x="963" y="1237"/>
                  </a:cubicBezTo>
                  <a:cubicBezTo>
                    <a:pt x="963" y="1237"/>
                    <a:pt x="963" y="1237"/>
                    <a:pt x="963" y="1237"/>
                  </a:cubicBezTo>
                  <a:cubicBezTo>
                    <a:pt x="963" y="1238"/>
                    <a:pt x="963" y="1238"/>
                    <a:pt x="963" y="1238"/>
                  </a:cubicBezTo>
                  <a:cubicBezTo>
                    <a:pt x="962" y="1238"/>
                    <a:pt x="962" y="1238"/>
                    <a:pt x="962" y="1238"/>
                  </a:cubicBezTo>
                  <a:cubicBezTo>
                    <a:pt x="960" y="1238"/>
                    <a:pt x="960" y="1238"/>
                    <a:pt x="960" y="1238"/>
                  </a:cubicBezTo>
                  <a:cubicBezTo>
                    <a:pt x="959" y="1238"/>
                    <a:pt x="959" y="1238"/>
                    <a:pt x="959" y="1238"/>
                  </a:cubicBezTo>
                  <a:cubicBezTo>
                    <a:pt x="959" y="1239"/>
                    <a:pt x="959" y="1239"/>
                    <a:pt x="959" y="1239"/>
                  </a:cubicBezTo>
                  <a:cubicBezTo>
                    <a:pt x="960" y="1240"/>
                    <a:pt x="960" y="1240"/>
                    <a:pt x="960" y="1240"/>
                  </a:cubicBezTo>
                  <a:cubicBezTo>
                    <a:pt x="960" y="1240"/>
                    <a:pt x="960" y="1240"/>
                    <a:pt x="960" y="1240"/>
                  </a:cubicBezTo>
                  <a:cubicBezTo>
                    <a:pt x="960" y="1240"/>
                    <a:pt x="960" y="1240"/>
                    <a:pt x="960" y="1240"/>
                  </a:cubicBezTo>
                  <a:cubicBezTo>
                    <a:pt x="961" y="1241"/>
                    <a:pt x="961" y="1241"/>
                    <a:pt x="961" y="1241"/>
                  </a:cubicBezTo>
                  <a:cubicBezTo>
                    <a:pt x="961" y="1242"/>
                    <a:pt x="961" y="1242"/>
                    <a:pt x="961" y="1242"/>
                  </a:cubicBezTo>
                  <a:cubicBezTo>
                    <a:pt x="961" y="1243"/>
                    <a:pt x="961" y="1243"/>
                    <a:pt x="961" y="1243"/>
                  </a:cubicBezTo>
                  <a:cubicBezTo>
                    <a:pt x="962" y="1243"/>
                    <a:pt x="962" y="1243"/>
                    <a:pt x="962" y="1243"/>
                  </a:cubicBezTo>
                  <a:cubicBezTo>
                    <a:pt x="963" y="1243"/>
                    <a:pt x="963" y="1243"/>
                    <a:pt x="963" y="1243"/>
                  </a:cubicBezTo>
                  <a:cubicBezTo>
                    <a:pt x="963" y="1243"/>
                    <a:pt x="963" y="1243"/>
                    <a:pt x="963" y="1243"/>
                  </a:cubicBezTo>
                  <a:cubicBezTo>
                    <a:pt x="965" y="1244"/>
                    <a:pt x="965" y="1244"/>
                    <a:pt x="965" y="1244"/>
                  </a:cubicBezTo>
                  <a:cubicBezTo>
                    <a:pt x="965" y="1245"/>
                    <a:pt x="965" y="1245"/>
                    <a:pt x="965" y="1245"/>
                  </a:cubicBezTo>
                  <a:cubicBezTo>
                    <a:pt x="966" y="1245"/>
                    <a:pt x="966" y="1245"/>
                    <a:pt x="966" y="1245"/>
                  </a:cubicBezTo>
                  <a:cubicBezTo>
                    <a:pt x="967" y="1246"/>
                    <a:pt x="967" y="1246"/>
                    <a:pt x="967" y="1246"/>
                  </a:cubicBezTo>
                  <a:cubicBezTo>
                    <a:pt x="967" y="1246"/>
                    <a:pt x="967" y="1246"/>
                    <a:pt x="967" y="1246"/>
                  </a:cubicBezTo>
                  <a:cubicBezTo>
                    <a:pt x="967" y="1246"/>
                    <a:pt x="967" y="1246"/>
                    <a:pt x="967" y="1246"/>
                  </a:cubicBezTo>
                  <a:cubicBezTo>
                    <a:pt x="969" y="1247"/>
                    <a:pt x="969" y="1247"/>
                    <a:pt x="969" y="1247"/>
                  </a:cubicBezTo>
                  <a:cubicBezTo>
                    <a:pt x="969" y="1247"/>
                    <a:pt x="969" y="1247"/>
                    <a:pt x="969" y="1247"/>
                  </a:cubicBezTo>
                  <a:cubicBezTo>
                    <a:pt x="970" y="1247"/>
                    <a:pt x="970" y="1247"/>
                    <a:pt x="970" y="1247"/>
                  </a:cubicBezTo>
                  <a:cubicBezTo>
                    <a:pt x="970" y="1248"/>
                    <a:pt x="970" y="1248"/>
                    <a:pt x="970" y="1248"/>
                  </a:cubicBezTo>
                  <a:cubicBezTo>
                    <a:pt x="971" y="1248"/>
                    <a:pt x="971" y="1248"/>
                    <a:pt x="971" y="1248"/>
                  </a:cubicBezTo>
                  <a:cubicBezTo>
                    <a:pt x="972" y="1248"/>
                    <a:pt x="972" y="1248"/>
                    <a:pt x="972" y="1248"/>
                  </a:cubicBezTo>
                  <a:cubicBezTo>
                    <a:pt x="973" y="1249"/>
                    <a:pt x="973" y="1249"/>
                    <a:pt x="973" y="1249"/>
                  </a:cubicBezTo>
                  <a:cubicBezTo>
                    <a:pt x="974" y="1250"/>
                    <a:pt x="974" y="1250"/>
                    <a:pt x="974" y="1250"/>
                  </a:cubicBezTo>
                  <a:cubicBezTo>
                    <a:pt x="974" y="1251"/>
                    <a:pt x="974" y="1251"/>
                    <a:pt x="974" y="1251"/>
                  </a:cubicBezTo>
                  <a:cubicBezTo>
                    <a:pt x="974" y="1253"/>
                    <a:pt x="974" y="1253"/>
                    <a:pt x="974" y="1253"/>
                  </a:cubicBezTo>
                  <a:cubicBezTo>
                    <a:pt x="973" y="1254"/>
                    <a:pt x="973" y="1254"/>
                    <a:pt x="973" y="1254"/>
                  </a:cubicBezTo>
                  <a:cubicBezTo>
                    <a:pt x="974" y="1254"/>
                    <a:pt x="974" y="1254"/>
                    <a:pt x="974" y="1254"/>
                  </a:cubicBezTo>
                  <a:cubicBezTo>
                    <a:pt x="974" y="1255"/>
                    <a:pt x="974" y="1255"/>
                    <a:pt x="974" y="1255"/>
                  </a:cubicBezTo>
                  <a:cubicBezTo>
                    <a:pt x="975" y="1256"/>
                    <a:pt x="975" y="1256"/>
                    <a:pt x="975" y="1256"/>
                  </a:cubicBezTo>
                  <a:cubicBezTo>
                    <a:pt x="975" y="1257"/>
                    <a:pt x="975" y="1257"/>
                    <a:pt x="975" y="1257"/>
                  </a:cubicBezTo>
                  <a:cubicBezTo>
                    <a:pt x="975" y="1257"/>
                    <a:pt x="975" y="1257"/>
                    <a:pt x="975" y="1257"/>
                  </a:cubicBezTo>
                  <a:cubicBezTo>
                    <a:pt x="975" y="1257"/>
                    <a:pt x="975" y="1257"/>
                    <a:pt x="975" y="1257"/>
                  </a:cubicBezTo>
                  <a:cubicBezTo>
                    <a:pt x="976" y="1258"/>
                    <a:pt x="976" y="1258"/>
                    <a:pt x="976" y="1258"/>
                  </a:cubicBezTo>
                  <a:cubicBezTo>
                    <a:pt x="975" y="1258"/>
                    <a:pt x="975" y="1258"/>
                    <a:pt x="975" y="1258"/>
                  </a:cubicBezTo>
                  <a:cubicBezTo>
                    <a:pt x="975" y="1259"/>
                    <a:pt x="975" y="1259"/>
                    <a:pt x="975" y="1259"/>
                  </a:cubicBezTo>
                  <a:cubicBezTo>
                    <a:pt x="975" y="1259"/>
                    <a:pt x="975" y="1259"/>
                    <a:pt x="975" y="1259"/>
                  </a:cubicBezTo>
                  <a:cubicBezTo>
                    <a:pt x="975" y="1259"/>
                    <a:pt x="975" y="1259"/>
                    <a:pt x="975" y="1259"/>
                  </a:cubicBezTo>
                  <a:cubicBezTo>
                    <a:pt x="977" y="1259"/>
                    <a:pt x="977" y="1259"/>
                    <a:pt x="977" y="1259"/>
                  </a:cubicBezTo>
                  <a:cubicBezTo>
                    <a:pt x="978" y="1259"/>
                    <a:pt x="978" y="1259"/>
                    <a:pt x="978" y="1259"/>
                  </a:cubicBezTo>
                  <a:cubicBezTo>
                    <a:pt x="982" y="1261"/>
                    <a:pt x="982" y="1261"/>
                    <a:pt x="982" y="1261"/>
                  </a:cubicBezTo>
                  <a:cubicBezTo>
                    <a:pt x="985" y="1261"/>
                    <a:pt x="985" y="1261"/>
                    <a:pt x="985" y="1261"/>
                  </a:cubicBezTo>
                  <a:cubicBezTo>
                    <a:pt x="986" y="1261"/>
                    <a:pt x="986" y="1261"/>
                    <a:pt x="986" y="1261"/>
                  </a:cubicBezTo>
                  <a:cubicBezTo>
                    <a:pt x="986" y="1261"/>
                    <a:pt x="986" y="1261"/>
                    <a:pt x="986" y="1261"/>
                  </a:cubicBezTo>
                  <a:cubicBezTo>
                    <a:pt x="986" y="1261"/>
                    <a:pt x="986" y="1261"/>
                    <a:pt x="986" y="1261"/>
                  </a:cubicBezTo>
                  <a:cubicBezTo>
                    <a:pt x="986" y="1260"/>
                    <a:pt x="986" y="1260"/>
                    <a:pt x="986" y="1260"/>
                  </a:cubicBezTo>
                  <a:cubicBezTo>
                    <a:pt x="985" y="1260"/>
                    <a:pt x="985" y="1260"/>
                    <a:pt x="985" y="1260"/>
                  </a:cubicBezTo>
                  <a:cubicBezTo>
                    <a:pt x="985" y="1260"/>
                    <a:pt x="985" y="1260"/>
                    <a:pt x="985" y="1260"/>
                  </a:cubicBezTo>
                  <a:cubicBezTo>
                    <a:pt x="985" y="1260"/>
                    <a:pt x="985" y="1260"/>
                    <a:pt x="985" y="1260"/>
                  </a:cubicBezTo>
                  <a:cubicBezTo>
                    <a:pt x="984" y="1259"/>
                    <a:pt x="984" y="1259"/>
                    <a:pt x="984" y="1259"/>
                  </a:cubicBezTo>
                  <a:cubicBezTo>
                    <a:pt x="984" y="1259"/>
                    <a:pt x="984" y="1259"/>
                    <a:pt x="984" y="1259"/>
                  </a:cubicBezTo>
                  <a:cubicBezTo>
                    <a:pt x="984" y="1259"/>
                    <a:pt x="984" y="1259"/>
                    <a:pt x="984" y="1259"/>
                  </a:cubicBezTo>
                  <a:cubicBezTo>
                    <a:pt x="984" y="1258"/>
                    <a:pt x="984" y="1258"/>
                    <a:pt x="984" y="1258"/>
                  </a:cubicBezTo>
                  <a:cubicBezTo>
                    <a:pt x="982" y="1258"/>
                    <a:pt x="982" y="1258"/>
                    <a:pt x="982" y="1258"/>
                  </a:cubicBezTo>
                  <a:cubicBezTo>
                    <a:pt x="979" y="1256"/>
                    <a:pt x="979" y="1256"/>
                    <a:pt x="979" y="1256"/>
                  </a:cubicBezTo>
                  <a:cubicBezTo>
                    <a:pt x="978" y="1255"/>
                    <a:pt x="978" y="1255"/>
                    <a:pt x="978" y="1255"/>
                  </a:cubicBezTo>
                  <a:cubicBezTo>
                    <a:pt x="977" y="1253"/>
                    <a:pt x="977" y="1253"/>
                    <a:pt x="977" y="1253"/>
                  </a:cubicBezTo>
                  <a:cubicBezTo>
                    <a:pt x="976" y="1252"/>
                    <a:pt x="976" y="1252"/>
                    <a:pt x="976" y="1252"/>
                  </a:cubicBezTo>
                  <a:cubicBezTo>
                    <a:pt x="976" y="1252"/>
                    <a:pt x="976" y="1252"/>
                    <a:pt x="976" y="1252"/>
                  </a:cubicBezTo>
                  <a:cubicBezTo>
                    <a:pt x="976" y="1252"/>
                    <a:pt x="976" y="1252"/>
                    <a:pt x="976" y="1252"/>
                  </a:cubicBezTo>
                  <a:cubicBezTo>
                    <a:pt x="975" y="1252"/>
                    <a:pt x="975" y="1252"/>
                    <a:pt x="975" y="1252"/>
                  </a:cubicBezTo>
                  <a:cubicBezTo>
                    <a:pt x="975" y="1252"/>
                    <a:pt x="975" y="1252"/>
                    <a:pt x="975" y="1252"/>
                  </a:cubicBezTo>
                  <a:cubicBezTo>
                    <a:pt x="975" y="1252"/>
                    <a:pt x="975" y="1252"/>
                    <a:pt x="975" y="1252"/>
                  </a:cubicBezTo>
                  <a:cubicBezTo>
                    <a:pt x="975" y="1251"/>
                    <a:pt x="975" y="1251"/>
                    <a:pt x="975" y="1251"/>
                  </a:cubicBezTo>
                  <a:cubicBezTo>
                    <a:pt x="974" y="1250"/>
                    <a:pt x="974" y="1250"/>
                    <a:pt x="974" y="1250"/>
                  </a:cubicBezTo>
                  <a:cubicBezTo>
                    <a:pt x="974" y="1250"/>
                    <a:pt x="974" y="1250"/>
                    <a:pt x="974" y="1250"/>
                  </a:cubicBezTo>
                  <a:cubicBezTo>
                    <a:pt x="974" y="1249"/>
                    <a:pt x="974" y="1249"/>
                    <a:pt x="974" y="1249"/>
                  </a:cubicBezTo>
                  <a:cubicBezTo>
                    <a:pt x="975" y="1248"/>
                    <a:pt x="975" y="1248"/>
                    <a:pt x="975" y="1248"/>
                  </a:cubicBezTo>
                  <a:cubicBezTo>
                    <a:pt x="976" y="1247"/>
                    <a:pt x="976" y="1247"/>
                    <a:pt x="976" y="1247"/>
                  </a:cubicBezTo>
                  <a:cubicBezTo>
                    <a:pt x="977" y="1247"/>
                    <a:pt x="977" y="1247"/>
                    <a:pt x="977" y="1247"/>
                  </a:cubicBezTo>
                  <a:cubicBezTo>
                    <a:pt x="979" y="1247"/>
                    <a:pt x="979" y="1247"/>
                    <a:pt x="979" y="1247"/>
                  </a:cubicBezTo>
                  <a:cubicBezTo>
                    <a:pt x="980" y="1248"/>
                    <a:pt x="980" y="1248"/>
                    <a:pt x="980" y="1248"/>
                  </a:cubicBezTo>
                  <a:cubicBezTo>
                    <a:pt x="983" y="1248"/>
                    <a:pt x="983" y="1248"/>
                    <a:pt x="983" y="1248"/>
                  </a:cubicBezTo>
                  <a:cubicBezTo>
                    <a:pt x="983" y="1249"/>
                    <a:pt x="983" y="1249"/>
                    <a:pt x="983" y="1249"/>
                  </a:cubicBezTo>
                  <a:cubicBezTo>
                    <a:pt x="984" y="1249"/>
                    <a:pt x="984" y="1249"/>
                    <a:pt x="984" y="1249"/>
                  </a:cubicBezTo>
                  <a:cubicBezTo>
                    <a:pt x="987" y="1253"/>
                    <a:pt x="987" y="1253"/>
                    <a:pt x="987" y="1253"/>
                  </a:cubicBezTo>
                  <a:cubicBezTo>
                    <a:pt x="987" y="1253"/>
                    <a:pt x="987" y="1253"/>
                    <a:pt x="987" y="1253"/>
                  </a:cubicBezTo>
                  <a:cubicBezTo>
                    <a:pt x="987" y="1254"/>
                    <a:pt x="987" y="1254"/>
                    <a:pt x="987" y="1254"/>
                  </a:cubicBezTo>
                  <a:cubicBezTo>
                    <a:pt x="987" y="1254"/>
                    <a:pt x="987" y="1254"/>
                    <a:pt x="987" y="1254"/>
                  </a:cubicBezTo>
                  <a:cubicBezTo>
                    <a:pt x="988" y="1254"/>
                    <a:pt x="988" y="1254"/>
                    <a:pt x="988" y="1254"/>
                  </a:cubicBezTo>
                  <a:cubicBezTo>
                    <a:pt x="988" y="1254"/>
                    <a:pt x="988" y="1254"/>
                    <a:pt x="988" y="1254"/>
                  </a:cubicBezTo>
                  <a:cubicBezTo>
                    <a:pt x="988" y="1255"/>
                    <a:pt x="988" y="1255"/>
                    <a:pt x="988" y="1255"/>
                  </a:cubicBezTo>
                  <a:cubicBezTo>
                    <a:pt x="987" y="1255"/>
                    <a:pt x="987" y="1255"/>
                    <a:pt x="987" y="1255"/>
                  </a:cubicBezTo>
                  <a:cubicBezTo>
                    <a:pt x="988" y="1256"/>
                    <a:pt x="988" y="1256"/>
                    <a:pt x="988" y="1256"/>
                  </a:cubicBezTo>
                  <a:cubicBezTo>
                    <a:pt x="989" y="1258"/>
                    <a:pt x="989" y="1258"/>
                    <a:pt x="989" y="1258"/>
                  </a:cubicBezTo>
                  <a:cubicBezTo>
                    <a:pt x="989" y="1257"/>
                    <a:pt x="989" y="1257"/>
                    <a:pt x="989" y="1257"/>
                  </a:cubicBezTo>
                  <a:cubicBezTo>
                    <a:pt x="989" y="1257"/>
                    <a:pt x="989" y="1257"/>
                    <a:pt x="989" y="1257"/>
                  </a:cubicBezTo>
                  <a:cubicBezTo>
                    <a:pt x="989" y="1257"/>
                    <a:pt x="989" y="1257"/>
                    <a:pt x="989" y="1257"/>
                  </a:cubicBezTo>
                  <a:cubicBezTo>
                    <a:pt x="989" y="1257"/>
                    <a:pt x="989" y="1257"/>
                    <a:pt x="989" y="1257"/>
                  </a:cubicBezTo>
                  <a:cubicBezTo>
                    <a:pt x="990" y="1257"/>
                    <a:pt x="990" y="1257"/>
                    <a:pt x="990" y="1257"/>
                  </a:cubicBezTo>
                  <a:cubicBezTo>
                    <a:pt x="990" y="1258"/>
                    <a:pt x="990" y="1258"/>
                    <a:pt x="990" y="1258"/>
                  </a:cubicBezTo>
                  <a:cubicBezTo>
                    <a:pt x="990" y="1258"/>
                    <a:pt x="990" y="1258"/>
                    <a:pt x="990" y="1258"/>
                  </a:cubicBezTo>
                  <a:cubicBezTo>
                    <a:pt x="991" y="1258"/>
                    <a:pt x="991" y="1258"/>
                    <a:pt x="991" y="1258"/>
                  </a:cubicBezTo>
                  <a:cubicBezTo>
                    <a:pt x="991" y="1259"/>
                    <a:pt x="991" y="1259"/>
                    <a:pt x="991" y="1259"/>
                  </a:cubicBezTo>
                  <a:cubicBezTo>
                    <a:pt x="991" y="1259"/>
                    <a:pt x="991" y="1259"/>
                    <a:pt x="991" y="1259"/>
                  </a:cubicBezTo>
                  <a:cubicBezTo>
                    <a:pt x="991" y="1259"/>
                    <a:pt x="991" y="1259"/>
                    <a:pt x="991" y="1259"/>
                  </a:cubicBezTo>
                  <a:cubicBezTo>
                    <a:pt x="991" y="1259"/>
                    <a:pt x="991" y="1259"/>
                    <a:pt x="991" y="1259"/>
                  </a:cubicBezTo>
                  <a:cubicBezTo>
                    <a:pt x="992" y="1259"/>
                    <a:pt x="992" y="1259"/>
                    <a:pt x="992" y="1259"/>
                  </a:cubicBezTo>
                  <a:cubicBezTo>
                    <a:pt x="992" y="1259"/>
                    <a:pt x="992" y="1259"/>
                    <a:pt x="992" y="1259"/>
                  </a:cubicBezTo>
                  <a:cubicBezTo>
                    <a:pt x="992" y="1260"/>
                    <a:pt x="992" y="1260"/>
                    <a:pt x="992" y="1260"/>
                  </a:cubicBezTo>
                  <a:cubicBezTo>
                    <a:pt x="992" y="1260"/>
                    <a:pt x="992" y="1260"/>
                    <a:pt x="992" y="1260"/>
                  </a:cubicBezTo>
                  <a:cubicBezTo>
                    <a:pt x="994" y="1260"/>
                    <a:pt x="994" y="1260"/>
                    <a:pt x="994" y="1260"/>
                  </a:cubicBezTo>
                  <a:cubicBezTo>
                    <a:pt x="994" y="1259"/>
                    <a:pt x="994" y="1259"/>
                    <a:pt x="994" y="1259"/>
                  </a:cubicBezTo>
                  <a:cubicBezTo>
                    <a:pt x="993" y="1259"/>
                    <a:pt x="993" y="1259"/>
                    <a:pt x="993" y="1259"/>
                  </a:cubicBezTo>
                  <a:cubicBezTo>
                    <a:pt x="993" y="1259"/>
                    <a:pt x="993" y="1259"/>
                    <a:pt x="993" y="1259"/>
                  </a:cubicBezTo>
                  <a:cubicBezTo>
                    <a:pt x="993" y="1259"/>
                    <a:pt x="993" y="1259"/>
                    <a:pt x="993" y="1259"/>
                  </a:cubicBezTo>
                  <a:cubicBezTo>
                    <a:pt x="994" y="1259"/>
                    <a:pt x="994" y="1259"/>
                    <a:pt x="994" y="1259"/>
                  </a:cubicBezTo>
                  <a:cubicBezTo>
                    <a:pt x="994" y="1258"/>
                    <a:pt x="994" y="1258"/>
                    <a:pt x="994" y="1258"/>
                  </a:cubicBezTo>
                  <a:cubicBezTo>
                    <a:pt x="993" y="1258"/>
                    <a:pt x="993" y="1258"/>
                    <a:pt x="993" y="1258"/>
                  </a:cubicBezTo>
                  <a:cubicBezTo>
                    <a:pt x="994" y="1258"/>
                    <a:pt x="994" y="1258"/>
                    <a:pt x="994" y="1258"/>
                  </a:cubicBezTo>
                  <a:cubicBezTo>
                    <a:pt x="994" y="1257"/>
                    <a:pt x="994" y="1257"/>
                    <a:pt x="994" y="1257"/>
                  </a:cubicBezTo>
                  <a:cubicBezTo>
                    <a:pt x="994" y="1257"/>
                    <a:pt x="994" y="1257"/>
                    <a:pt x="994" y="1257"/>
                  </a:cubicBezTo>
                  <a:cubicBezTo>
                    <a:pt x="994" y="1257"/>
                    <a:pt x="994" y="1257"/>
                    <a:pt x="994" y="1257"/>
                  </a:cubicBezTo>
                  <a:cubicBezTo>
                    <a:pt x="994" y="1257"/>
                    <a:pt x="994" y="1257"/>
                    <a:pt x="994" y="1257"/>
                  </a:cubicBezTo>
                  <a:cubicBezTo>
                    <a:pt x="994" y="1256"/>
                    <a:pt x="994" y="1256"/>
                    <a:pt x="994" y="1256"/>
                  </a:cubicBezTo>
                  <a:cubicBezTo>
                    <a:pt x="994" y="1256"/>
                    <a:pt x="994" y="1256"/>
                    <a:pt x="994" y="1256"/>
                  </a:cubicBezTo>
                  <a:cubicBezTo>
                    <a:pt x="994" y="1256"/>
                    <a:pt x="994" y="1256"/>
                    <a:pt x="994" y="1256"/>
                  </a:cubicBezTo>
                  <a:cubicBezTo>
                    <a:pt x="993" y="1256"/>
                    <a:pt x="993" y="1256"/>
                    <a:pt x="993" y="1256"/>
                  </a:cubicBezTo>
                  <a:cubicBezTo>
                    <a:pt x="993" y="1256"/>
                    <a:pt x="993" y="1256"/>
                    <a:pt x="993" y="1256"/>
                  </a:cubicBezTo>
                  <a:cubicBezTo>
                    <a:pt x="993" y="1256"/>
                    <a:pt x="993" y="1256"/>
                    <a:pt x="993" y="1256"/>
                  </a:cubicBezTo>
                  <a:cubicBezTo>
                    <a:pt x="994" y="1256"/>
                    <a:pt x="994" y="1256"/>
                    <a:pt x="994" y="1256"/>
                  </a:cubicBezTo>
                  <a:cubicBezTo>
                    <a:pt x="994" y="1255"/>
                    <a:pt x="994" y="1255"/>
                    <a:pt x="994" y="1255"/>
                  </a:cubicBezTo>
                  <a:cubicBezTo>
                    <a:pt x="994" y="1255"/>
                    <a:pt x="994" y="1255"/>
                    <a:pt x="994" y="1255"/>
                  </a:cubicBezTo>
                  <a:cubicBezTo>
                    <a:pt x="994" y="1255"/>
                    <a:pt x="994" y="1255"/>
                    <a:pt x="994" y="1255"/>
                  </a:cubicBezTo>
                  <a:cubicBezTo>
                    <a:pt x="993" y="1255"/>
                    <a:pt x="993" y="1255"/>
                    <a:pt x="993" y="1255"/>
                  </a:cubicBezTo>
                  <a:cubicBezTo>
                    <a:pt x="993" y="1254"/>
                    <a:pt x="993" y="1254"/>
                    <a:pt x="993" y="1254"/>
                  </a:cubicBezTo>
                  <a:cubicBezTo>
                    <a:pt x="993" y="1254"/>
                    <a:pt x="993" y="1254"/>
                    <a:pt x="993" y="1254"/>
                  </a:cubicBezTo>
                  <a:cubicBezTo>
                    <a:pt x="994" y="1254"/>
                    <a:pt x="994" y="1254"/>
                    <a:pt x="994" y="1254"/>
                  </a:cubicBezTo>
                  <a:cubicBezTo>
                    <a:pt x="994" y="1253"/>
                    <a:pt x="994" y="1253"/>
                    <a:pt x="994" y="1253"/>
                  </a:cubicBezTo>
                  <a:cubicBezTo>
                    <a:pt x="993" y="1253"/>
                    <a:pt x="993" y="1253"/>
                    <a:pt x="993" y="1253"/>
                  </a:cubicBezTo>
                  <a:cubicBezTo>
                    <a:pt x="992" y="1252"/>
                    <a:pt x="992" y="1252"/>
                    <a:pt x="992" y="1252"/>
                  </a:cubicBezTo>
                  <a:cubicBezTo>
                    <a:pt x="992" y="1252"/>
                    <a:pt x="992" y="1252"/>
                    <a:pt x="992" y="1252"/>
                  </a:cubicBezTo>
                  <a:cubicBezTo>
                    <a:pt x="991" y="1251"/>
                    <a:pt x="991" y="1251"/>
                    <a:pt x="991" y="1251"/>
                  </a:cubicBezTo>
                  <a:cubicBezTo>
                    <a:pt x="991" y="1251"/>
                    <a:pt x="991" y="1251"/>
                    <a:pt x="991" y="1251"/>
                  </a:cubicBezTo>
                  <a:cubicBezTo>
                    <a:pt x="990" y="1251"/>
                    <a:pt x="990" y="1251"/>
                    <a:pt x="990" y="1251"/>
                  </a:cubicBezTo>
                  <a:cubicBezTo>
                    <a:pt x="990" y="1251"/>
                    <a:pt x="990" y="1251"/>
                    <a:pt x="990" y="1251"/>
                  </a:cubicBezTo>
                  <a:cubicBezTo>
                    <a:pt x="988" y="1250"/>
                    <a:pt x="988" y="1250"/>
                    <a:pt x="988" y="1250"/>
                  </a:cubicBezTo>
                  <a:cubicBezTo>
                    <a:pt x="988" y="1250"/>
                    <a:pt x="988" y="1250"/>
                    <a:pt x="988" y="1250"/>
                  </a:cubicBezTo>
                  <a:cubicBezTo>
                    <a:pt x="987" y="1250"/>
                    <a:pt x="987" y="1250"/>
                    <a:pt x="987" y="1250"/>
                  </a:cubicBezTo>
                  <a:cubicBezTo>
                    <a:pt x="987" y="1249"/>
                    <a:pt x="987" y="1249"/>
                    <a:pt x="987" y="1249"/>
                  </a:cubicBezTo>
                  <a:cubicBezTo>
                    <a:pt x="987" y="1249"/>
                    <a:pt x="987" y="1249"/>
                    <a:pt x="987" y="1249"/>
                  </a:cubicBezTo>
                  <a:cubicBezTo>
                    <a:pt x="986" y="1248"/>
                    <a:pt x="986" y="1248"/>
                    <a:pt x="986" y="1248"/>
                  </a:cubicBezTo>
                  <a:cubicBezTo>
                    <a:pt x="985" y="1248"/>
                    <a:pt x="985" y="1248"/>
                    <a:pt x="985" y="1248"/>
                  </a:cubicBezTo>
                  <a:cubicBezTo>
                    <a:pt x="985" y="1248"/>
                    <a:pt x="985" y="1248"/>
                    <a:pt x="985" y="1248"/>
                  </a:cubicBezTo>
                  <a:cubicBezTo>
                    <a:pt x="985" y="1246"/>
                    <a:pt x="985" y="1246"/>
                    <a:pt x="985" y="1246"/>
                  </a:cubicBezTo>
                  <a:cubicBezTo>
                    <a:pt x="985" y="1246"/>
                    <a:pt x="985" y="1246"/>
                    <a:pt x="985" y="1246"/>
                  </a:cubicBezTo>
                  <a:cubicBezTo>
                    <a:pt x="985" y="1245"/>
                    <a:pt x="985" y="1245"/>
                    <a:pt x="985" y="1245"/>
                  </a:cubicBezTo>
                  <a:cubicBezTo>
                    <a:pt x="985" y="1244"/>
                    <a:pt x="985" y="1244"/>
                    <a:pt x="985" y="1244"/>
                  </a:cubicBezTo>
                  <a:cubicBezTo>
                    <a:pt x="986" y="1244"/>
                    <a:pt x="986" y="1244"/>
                    <a:pt x="986" y="1244"/>
                  </a:cubicBezTo>
                  <a:cubicBezTo>
                    <a:pt x="986" y="1244"/>
                    <a:pt x="986" y="1244"/>
                    <a:pt x="986" y="1244"/>
                  </a:cubicBezTo>
                  <a:cubicBezTo>
                    <a:pt x="986" y="1244"/>
                    <a:pt x="986" y="1244"/>
                    <a:pt x="986" y="1244"/>
                  </a:cubicBezTo>
                  <a:cubicBezTo>
                    <a:pt x="987" y="1244"/>
                    <a:pt x="987" y="1244"/>
                    <a:pt x="987" y="1244"/>
                  </a:cubicBezTo>
                  <a:cubicBezTo>
                    <a:pt x="987" y="1244"/>
                    <a:pt x="987" y="1244"/>
                    <a:pt x="987" y="1244"/>
                  </a:cubicBezTo>
                  <a:cubicBezTo>
                    <a:pt x="989" y="1243"/>
                    <a:pt x="989" y="1243"/>
                    <a:pt x="989" y="1243"/>
                  </a:cubicBezTo>
                  <a:cubicBezTo>
                    <a:pt x="989" y="1243"/>
                    <a:pt x="989" y="1243"/>
                    <a:pt x="989" y="1243"/>
                  </a:cubicBezTo>
                  <a:cubicBezTo>
                    <a:pt x="990" y="1244"/>
                    <a:pt x="990" y="1244"/>
                    <a:pt x="990" y="1244"/>
                  </a:cubicBezTo>
                  <a:cubicBezTo>
                    <a:pt x="992" y="1243"/>
                    <a:pt x="992" y="1243"/>
                    <a:pt x="992" y="1243"/>
                  </a:cubicBezTo>
                  <a:cubicBezTo>
                    <a:pt x="992" y="1244"/>
                    <a:pt x="992" y="1244"/>
                    <a:pt x="992" y="1244"/>
                  </a:cubicBezTo>
                  <a:cubicBezTo>
                    <a:pt x="993" y="1244"/>
                    <a:pt x="993" y="1244"/>
                    <a:pt x="993" y="1244"/>
                  </a:cubicBezTo>
                  <a:cubicBezTo>
                    <a:pt x="994" y="1245"/>
                    <a:pt x="994" y="1245"/>
                    <a:pt x="994" y="1245"/>
                  </a:cubicBezTo>
                  <a:cubicBezTo>
                    <a:pt x="994" y="1246"/>
                    <a:pt x="994" y="1246"/>
                    <a:pt x="994" y="1246"/>
                  </a:cubicBezTo>
                  <a:cubicBezTo>
                    <a:pt x="995" y="1246"/>
                    <a:pt x="995" y="1246"/>
                    <a:pt x="995" y="1246"/>
                  </a:cubicBezTo>
                  <a:cubicBezTo>
                    <a:pt x="998" y="1247"/>
                    <a:pt x="998" y="1247"/>
                    <a:pt x="998" y="1247"/>
                  </a:cubicBezTo>
                  <a:cubicBezTo>
                    <a:pt x="999" y="1247"/>
                    <a:pt x="999" y="1247"/>
                    <a:pt x="999" y="1247"/>
                  </a:cubicBezTo>
                  <a:cubicBezTo>
                    <a:pt x="1000" y="1248"/>
                    <a:pt x="1000" y="1248"/>
                    <a:pt x="1000" y="1248"/>
                  </a:cubicBezTo>
                  <a:cubicBezTo>
                    <a:pt x="1000" y="1249"/>
                    <a:pt x="1000" y="1249"/>
                    <a:pt x="1000" y="1249"/>
                  </a:cubicBezTo>
                  <a:cubicBezTo>
                    <a:pt x="1001" y="1251"/>
                    <a:pt x="1001" y="1251"/>
                    <a:pt x="1001" y="1251"/>
                  </a:cubicBezTo>
                  <a:cubicBezTo>
                    <a:pt x="1001" y="1251"/>
                    <a:pt x="1001" y="1251"/>
                    <a:pt x="1001" y="1251"/>
                  </a:cubicBezTo>
                  <a:cubicBezTo>
                    <a:pt x="1002" y="1251"/>
                    <a:pt x="1002" y="1251"/>
                    <a:pt x="1002" y="1251"/>
                  </a:cubicBezTo>
                  <a:cubicBezTo>
                    <a:pt x="1002" y="1252"/>
                    <a:pt x="1002" y="1252"/>
                    <a:pt x="1002" y="1252"/>
                  </a:cubicBezTo>
                  <a:cubicBezTo>
                    <a:pt x="1003" y="1252"/>
                    <a:pt x="1003" y="1252"/>
                    <a:pt x="1003" y="1252"/>
                  </a:cubicBezTo>
                  <a:cubicBezTo>
                    <a:pt x="1003" y="1253"/>
                    <a:pt x="1003" y="1253"/>
                    <a:pt x="1003" y="1253"/>
                  </a:cubicBezTo>
                  <a:cubicBezTo>
                    <a:pt x="1003" y="1253"/>
                    <a:pt x="1003" y="1253"/>
                    <a:pt x="1003" y="1253"/>
                  </a:cubicBezTo>
                  <a:cubicBezTo>
                    <a:pt x="1004" y="1253"/>
                    <a:pt x="1004" y="1253"/>
                    <a:pt x="1004" y="1253"/>
                  </a:cubicBezTo>
                  <a:cubicBezTo>
                    <a:pt x="1006" y="1252"/>
                    <a:pt x="1006" y="1252"/>
                    <a:pt x="1006" y="1252"/>
                  </a:cubicBezTo>
                  <a:cubicBezTo>
                    <a:pt x="1005" y="1251"/>
                    <a:pt x="1005" y="1251"/>
                    <a:pt x="1005" y="1251"/>
                  </a:cubicBezTo>
                  <a:cubicBezTo>
                    <a:pt x="1003" y="1249"/>
                    <a:pt x="1003" y="1249"/>
                    <a:pt x="1003" y="1249"/>
                  </a:cubicBezTo>
                  <a:cubicBezTo>
                    <a:pt x="1002" y="1247"/>
                    <a:pt x="1002" y="1247"/>
                    <a:pt x="1002" y="1247"/>
                  </a:cubicBezTo>
                  <a:cubicBezTo>
                    <a:pt x="1001" y="1245"/>
                    <a:pt x="1001" y="1245"/>
                    <a:pt x="1001" y="1245"/>
                  </a:cubicBezTo>
                  <a:cubicBezTo>
                    <a:pt x="1000" y="1245"/>
                    <a:pt x="1000" y="1245"/>
                    <a:pt x="1000" y="1245"/>
                  </a:cubicBezTo>
                  <a:cubicBezTo>
                    <a:pt x="1000" y="1245"/>
                    <a:pt x="1000" y="1245"/>
                    <a:pt x="1000" y="1245"/>
                  </a:cubicBezTo>
                  <a:cubicBezTo>
                    <a:pt x="999" y="1244"/>
                    <a:pt x="999" y="1244"/>
                    <a:pt x="999" y="1244"/>
                  </a:cubicBezTo>
                  <a:cubicBezTo>
                    <a:pt x="999" y="1244"/>
                    <a:pt x="999" y="1244"/>
                    <a:pt x="999" y="1244"/>
                  </a:cubicBezTo>
                  <a:cubicBezTo>
                    <a:pt x="999" y="1244"/>
                    <a:pt x="999" y="1244"/>
                    <a:pt x="999" y="1244"/>
                  </a:cubicBezTo>
                  <a:cubicBezTo>
                    <a:pt x="998" y="1244"/>
                    <a:pt x="998" y="1244"/>
                    <a:pt x="998" y="1244"/>
                  </a:cubicBezTo>
                  <a:cubicBezTo>
                    <a:pt x="998" y="1244"/>
                    <a:pt x="998" y="1244"/>
                    <a:pt x="998" y="1244"/>
                  </a:cubicBezTo>
                  <a:cubicBezTo>
                    <a:pt x="997" y="1244"/>
                    <a:pt x="997" y="1244"/>
                    <a:pt x="997" y="1244"/>
                  </a:cubicBezTo>
                  <a:cubicBezTo>
                    <a:pt x="996" y="1244"/>
                    <a:pt x="996" y="1244"/>
                    <a:pt x="996" y="1244"/>
                  </a:cubicBezTo>
                  <a:cubicBezTo>
                    <a:pt x="996" y="1243"/>
                    <a:pt x="996" y="1243"/>
                    <a:pt x="996" y="1243"/>
                  </a:cubicBezTo>
                  <a:cubicBezTo>
                    <a:pt x="995" y="1243"/>
                    <a:pt x="995" y="1243"/>
                    <a:pt x="995" y="1243"/>
                  </a:cubicBezTo>
                  <a:cubicBezTo>
                    <a:pt x="995" y="1241"/>
                    <a:pt x="995" y="1241"/>
                    <a:pt x="995" y="1241"/>
                  </a:cubicBezTo>
                  <a:cubicBezTo>
                    <a:pt x="994" y="1240"/>
                    <a:pt x="994" y="1240"/>
                    <a:pt x="994" y="1240"/>
                  </a:cubicBezTo>
                  <a:cubicBezTo>
                    <a:pt x="994" y="1240"/>
                    <a:pt x="994" y="1240"/>
                    <a:pt x="994" y="1240"/>
                  </a:cubicBezTo>
                  <a:cubicBezTo>
                    <a:pt x="994" y="1241"/>
                    <a:pt x="994" y="1241"/>
                    <a:pt x="994" y="1241"/>
                  </a:cubicBezTo>
                  <a:cubicBezTo>
                    <a:pt x="994" y="1241"/>
                    <a:pt x="994" y="1241"/>
                    <a:pt x="994" y="1241"/>
                  </a:cubicBezTo>
                  <a:cubicBezTo>
                    <a:pt x="994" y="1242"/>
                    <a:pt x="994" y="1242"/>
                    <a:pt x="994" y="1242"/>
                  </a:cubicBezTo>
                  <a:cubicBezTo>
                    <a:pt x="994" y="1242"/>
                    <a:pt x="994" y="1242"/>
                    <a:pt x="994" y="1242"/>
                  </a:cubicBezTo>
                  <a:cubicBezTo>
                    <a:pt x="994" y="1243"/>
                    <a:pt x="994" y="1243"/>
                    <a:pt x="994" y="1243"/>
                  </a:cubicBezTo>
                  <a:cubicBezTo>
                    <a:pt x="994" y="1243"/>
                    <a:pt x="994" y="1243"/>
                    <a:pt x="994" y="1243"/>
                  </a:cubicBezTo>
                  <a:cubicBezTo>
                    <a:pt x="993" y="1243"/>
                    <a:pt x="993" y="1243"/>
                    <a:pt x="993" y="1243"/>
                  </a:cubicBezTo>
                  <a:cubicBezTo>
                    <a:pt x="993" y="1243"/>
                    <a:pt x="993" y="1243"/>
                    <a:pt x="993" y="1243"/>
                  </a:cubicBezTo>
                  <a:cubicBezTo>
                    <a:pt x="993" y="1243"/>
                    <a:pt x="993" y="1243"/>
                    <a:pt x="993" y="1243"/>
                  </a:cubicBezTo>
                  <a:cubicBezTo>
                    <a:pt x="991" y="1243"/>
                    <a:pt x="991" y="1243"/>
                    <a:pt x="991" y="1243"/>
                  </a:cubicBezTo>
                  <a:cubicBezTo>
                    <a:pt x="991" y="1242"/>
                    <a:pt x="991" y="1242"/>
                    <a:pt x="991" y="1242"/>
                  </a:cubicBezTo>
                  <a:cubicBezTo>
                    <a:pt x="990" y="1242"/>
                    <a:pt x="990" y="1242"/>
                    <a:pt x="990" y="1242"/>
                  </a:cubicBezTo>
                  <a:cubicBezTo>
                    <a:pt x="990" y="1242"/>
                    <a:pt x="990" y="1242"/>
                    <a:pt x="990" y="1242"/>
                  </a:cubicBezTo>
                  <a:cubicBezTo>
                    <a:pt x="989" y="1240"/>
                    <a:pt x="989" y="1240"/>
                    <a:pt x="989" y="1240"/>
                  </a:cubicBezTo>
                  <a:cubicBezTo>
                    <a:pt x="988" y="1239"/>
                    <a:pt x="988" y="1239"/>
                    <a:pt x="988" y="1239"/>
                  </a:cubicBezTo>
                  <a:cubicBezTo>
                    <a:pt x="989" y="1238"/>
                    <a:pt x="989" y="1238"/>
                    <a:pt x="989" y="1238"/>
                  </a:cubicBezTo>
                  <a:cubicBezTo>
                    <a:pt x="989" y="1237"/>
                    <a:pt x="989" y="1237"/>
                    <a:pt x="989" y="1237"/>
                  </a:cubicBezTo>
                  <a:cubicBezTo>
                    <a:pt x="991" y="1237"/>
                    <a:pt x="991" y="1237"/>
                    <a:pt x="991" y="1237"/>
                  </a:cubicBezTo>
                  <a:cubicBezTo>
                    <a:pt x="991" y="1237"/>
                    <a:pt x="991" y="1237"/>
                    <a:pt x="991" y="1237"/>
                  </a:cubicBezTo>
                  <a:cubicBezTo>
                    <a:pt x="991" y="1237"/>
                    <a:pt x="991" y="1237"/>
                    <a:pt x="991" y="1237"/>
                  </a:cubicBezTo>
                  <a:cubicBezTo>
                    <a:pt x="991" y="1236"/>
                    <a:pt x="991" y="1236"/>
                    <a:pt x="991" y="1236"/>
                  </a:cubicBezTo>
                  <a:cubicBezTo>
                    <a:pt x="991" y="1236"/>
                    <a:pt x="991" y="1236"/>
                    <a:pt x="991" y="1236"/>
                  </a:cubicBezTo>
                  <a:cubicBezTo>
                    <a:pt x="990" y="1236"/>
                    <a:pt x="990" y="1236"/>
                    <a:pt x="990" y="1236"/>
                  </a:cubicBezTo>
                  <a:cubicBezTo>
                    <a:pt x="990" y="1236"/>
                    <a:pt x="990" y="1236"/>
                    <a:pt x="990" y="1236"/>
                  </a:cubicBezTo>
                  <a:cubicBezTo>
                    <a:pt x="989" y="1236"/>
                    <a:pt x="989" y="1236"/>
                    <a:pt x="989" y="1236"/>
                  </a:cubicBezTo>
                  <a:cubicBezTo>
                    <a:pt x="989" y="1236"/>
                    <a:pt x="989" y="1236"/>
                    <a:pt x="989" y="1236"/>
                  </a:cubicBezTo>
                  <a:cubicBezTo>
                    <a:pt x="988" y="1235"/>
                    <a:pt x="988" y="1235"/>
                    <a:pt x="988" y="1235"/>
                  </a:cubicBezTo>
                  <a:cubicBezTo>
                    <a:pt x="988" y="1235"/>
                    <a:pt x="988" y="1235"/>
                    <a:pt x="988" y="1235"/>
                  </a:cubicBezTo>
                  <a:cubicBezTo>
                    <a:pt x="987" y="1234"/>
                    <a:pt x="987" y="1234"/>
                    <a:pt x="987" y="1234"/>
                  </a:cubicBezTo>
                  <a:cubicBezTo>
                    <a:pt x="987" y="1233"/>
                    <a:pt x="987" y="1233"/>
                    <a:pt x="987" y="1233"/>
                  </a:cubicBezTo>
                  <a:cubicBezTo>
                    <a:pt x="987" y="1233"/>
                    <a:pt x="987" y="1233"/>
                    <a:pt x="987" y="1233"/>
                  </a:cubicBezTo>
                  <a:cubicBezTo>
                    <a:pt x="986" y="1232"/>
                    <a:pt x="986" y="1232"/>
                    <a:pt x="986" y="1232"/>
                  </a:cubicBezTo>
                  <a:cubicBezTo>
                    <a:pt x="985" y="1232"/>
                    <a:pt x="985" y="1232"/>
                    <a:pt x="985" y="1232"/>
                  </a:cubicBezTo>
                  <a:cubicBezTo>
                    <a:pt x="985" y="1231"/>
                    <a:pt x="985" y="1231"/>
                    <a:pt x="985" y="1231"/>
                  </a:cubicBezTo>
                  <a:cubicBezTo>
                    <a:pt x="985" y="1230"/>
                    <a:pt x="985" y="1230"/>
                    <a:pt x="985" y="1230"/>
                  </a:cubicBezTo>
                  <a:cubicBezTo>
                    <a:pt x="985" y="1230"/>
                    <a:pt x="985" y="1230"/>
                    <a:pt x="985" y="1230"/>
                  </a:cubicBezTo>
                  <a:cubicBezTo>
                    <a:pt x="985" y="1229"/>
                    <a:pt x="985" y="1229"/>
                    <a:pt x="985" y="1229"/>
                  </a:cubicBezTo>
                  <a:cubicBezTo>
                    <a:pt x="986" y="1228"/>
                    <a:pt x="986" y="1228"/>
                    <a:pt x="986" y="1228"/>
                  </a:cubicBezTo>
                  <a:cubicBezTo>
                    <a:pt x="987" y="1228"/>
                    <a:pt x="987" y="1228"/>
                    <a:pt x="987" y="1228"/>
                  </a:cubicBezTo>
                  <a:cubicBezTo>
                    <a:pt x="988" y="1227"/>
                    <a:pt x="988" y="1227"/>
                    <a:pt x="988" y="1227"/>
                  </a:cubicBezTo>
                  <a:cubicBezTo>
                    <a:pt x="989" y="1227"/>
                    <a:pt x="989" y="1227"/>
                    <a:pt x="989" y="1227"/>
                  </a:cubicBezTo>
                  <a:cubicBezTo>
                    <a:pt x="990" y="1227"/>
                    <a:pt x="990" y="1227"/>
                    <a:pt x="990" y="1227"/>
                  </a:cubicBezTo>
                  <a:cubicBezTo>
                    <a:pt x="990" y="1227"/>
                    <a:pt x="990" y="1227"/>
                    <a:pt x="990" y="1227"/>
                  </a:cubicBezTo>
                  <a:cubicBezTo>
                    <a:pt x="993" y="1229"/>
                    <a:pt x="993" y="1229"/>
                    <a:pt x="993" y="1229"/>
                  </a:cubicBezTo>
                  <a:cubicBezTo>
                    <a:pt x="995" y="1230"/>
                    <a:pt x="995" y="1230"/>
                    <a:pt x="995" y="1230"/>
                  </a:cubicBezTo>
                  <a:cubicBezTo>
                    <a:pt x="996" y="1230"/>
                    <a:pt x="996" y="1230"/>
                    <a:pt x="996" y="1230"/>
                  </a:cubicBezTo>
                  <a:cubicBezTo>
                    <a:pt x="997" y="1229"/>
                    <a:pt x="997" y="1229"/>
                    <a:pt x="997" y="1229"/>
                  </a:cubicBezTo>
                  <a:cubicBezTo>
                    <a:pt x="1000" y="1227"/>
                    <a:pt x="1000" y="1227"/>
                    <a:pt x="1000" y="1227"/>
                  </a:cubicBezTo>
                  <a:cubicBezTo>
                    <a:pt x="1004" y="1225"/>
                    <a:pt x="1004" y="1225"/>
                    <a:pt x="1004" y="1225"/>
                  </a:cubicBezTo>
                  <a:cubicBezTo>
                    <a:pt x="1004" y="1225"/>
                    <a:pt x="1004" y="1225"/>
                    <a:pt x="1004" y="1225"/>
                  </a:cubicBezTo>
                  <a:cubicBezTo>
                    <a:pt x="1003" y="1225"/>
                    <a:pt x="1003" y="1225"/>
                    <a:pt x="1003" y="1225"/>
                  </a:cubicBezTo>
                  <a:cubicBezTo>
                    <a:pt x="1003" y="1225"/>
                    <a:pt x="1003" y="1225"/>
                    <a:pt x="1003" y="1225"/>
                  </a:cubicBezTo>
                  <a:cubicBezTo>
                    <a:pt x="1003" y="1225"/>
                    <a:pt x="1003" y="1225"/>
                    <a:pt x="1003" y="1225"/>
                  </a:cubicBezTo>
                  <a:cubicBezTo>
                    <a:pt x="1003" y="1225"/>
                    <a:pt x="1003" y="1225"/>
                    <a:pt x="1003" y="1225"/>
                  </a:cubicBezTo>
                  <a:cubicBezTo>
                    <a:pt x="1003" y="1224"/>
                    <a:pt x="1003" y="1224"/>
                    <a:pt x="1003" y="1224"/>
                  </a:cubicBezTo>
                  <a:cubicBezTo>
                    <a:pt x="1004" y="1224"/>
                    <a:pt x="1004" y="1224"/>
                    <a:pt x="1004" y="1224"/>
                  </a:cubicBezTo>
                  <a:cubicBezTo>
                    <a:pt x="1004" y="1224"/>
                    <a:pt x="1004" y="1224"/>
                    <a:pt x="1004" y="1224"/>
                  </a:cubicBezTo>
                  <a:cubicBezTo>
                    <a:pt x="1003" y="1224"/>
                    <a:pt x="1003" y="1224"/>
                    <a:pt x="1003" y="1224"/>
                  </a:cubicBezTo>
                  <a:cubicBezTo>
                    <a:pt x="1003" y="1223"/>
                    <a:pt x="1003" y="1223"/>
                    <a:pt x="1003" y="1223"/>
                  </a:cubicBezTo>
                  <a:cubicBezTo>
                    <a:pt x="1003" y="1223"/>
                    <a:pt x="1003" y="1223"/>
                    <a:pt x="1003" y="1223"/>
                  </a:cubicBezTo>
                  <a:cubicBezTo>
                    <a:pt x="1005" y="1222"/>
                    <a:pt x="1005" y="1222"/>
                    <a:pt x="1005" y="1222"/>
                  </a:cubicBezTo>
                  <a:cubicBezTo>
                    <a:pt x="1005" y="1221"/>
                    <a:pt x="1005" y="1221"/>
                    <a:pt x="1005" y="1221"/>
                  </a:cubicBezTo>
                  <a:cubicBezTo>
                    <a:pt x="1006" y="1221"/>
                    <a:pt x="1006" y="1221"/>
                    <a:pt x="1006" y="1221"/>
                  </a:cubicBezTo>
                  <a:cubicBezTo>
                    <a:pt x="1007" y="1221"/>
                    <a:pt x="1007" y="1221"/>
                    <a:pt x="1007" y="1221"/>
                  </a:cubicBezTo>
                  <a:cubicBezTo>
                    <a:pt x="1008" y="1221"/>
                    <a:pt x="1008" y="1221"/>
                    <a:pt x="1008" y="1221"/>
                  </a:cubicBezTo>
                  <a:cubicBezTo>
                    <a:pt x="1008" y="1220"/>
                    <a:pt x="1008" y="1220"/>
                    <a:pt x="1008" y="1220"/>
                  </a:cubicBezTo>
                  <a:cubicBezTo>
                    <a:pt x="1008" y="1220"/>
                    <a:pt x="1008" y="1220"/>
                    <a:pt x="1008" y="1220"/>
                  </a:cubicBezTo>
                  <a:cubicBezTo>
                    <a:pt x="1009" y="1220"/>
                    <a:pt x="1009" y="1220"/>
                    <a:pt x="1009" y="1220"/>
                  </a:cubicBezTo>
                  <a:cubicBezTo>
                    <a:pt x="1009" y="1220"/>
                    <a:pt x="1009" y="1220"/>
                    <a:pt x="1009" y="1220"/>
                  </a:cubicBezTo>
                  <a:cubicBezTo>
                    <a:pt x="1009" y="1220"/>
                    <a:pt x="1009" y="1220"/>
                    <a:pt x="1009" y="1220"/>
                  </a:cubicBezTo>
                  <a:cubicBezTo>
                    <a:pt x="1011" y="1220"/>
                    <a:pt x="1011" y="1220"/>
                    <a:pt x="1011" y="1220"/>
                  </a:cubicBezTo>
                  <a:cubicBezTo>
                    <a:pt x="1011" y="1221"/>
                    <a:pt x="1011" y="1221"/>
                    <a:pt x="1011" y="1221"/>
                  </a:cubicBezTo>
                  <a:cubicBezTo>
                    <a:pt x="1011" y="1221"/>
                    <a:pt x="1011" y="1221"/>
                    <a:pt x="1011" y="1221"/>
                  </a:cubicBezTo>
                  <a:cubicBezTo>
                    <a:pt x="1011" y="1222"/>
                    <a:pt x="1011" y="1222"/>
                    <a:pt x="1011" y="1222"/>
                  </a:cubicBezTo>
                  <a:cubicBezTo>
                    <a:pt x="1012" y="1222"/>
                    <a:pt x="1012" y="1222"/>
                    <a:pt x="1012" y="1222"/>
                  </a:cubicBezTo>
                  <a:cubicBezTo>
                    <a:pt x="1011" y="1222"/>
                    <a:pt x="1011" y="1222"/>
                    <a:pt x="1011" y="1222"/>
                  </a:cubicBezTo>
                  <a:cubicBezTo>
                    <a:pt x="1012" y="1223"/>
                    <a:pt x="1012" y="1223"/>
                    <a:pt x="1012" y="1223"/>
                  </a:cubicBezTo>
                  <a:cubicBezTo>
                    <a:pt x="1012" y="1223"/>
                    <a:pt x="1012" y="1223"/>
                    <a:pt x="1012" y="1223"/>
                  </a:cubicBezTo>
                  <a:cubicBezTo>
                    <a:pt x="1012" y="1224"/>
                    <a:pt x="1012" y="1224"/>
                    <a:pt x="1012" y="1224"/>
                  </a:cubicBezTo>
                  <a:cubicBezTo>
                    <a:pt x="1013" y="1224"/>
                    <a:pt x="1013" y="1224"/>
                    <a:pt x="1013" y="1224"/>
                  </a:cubicBezTo>
                  <a:cubicBezTo>
                    <a:pt x="1013" y="1224"/>
                    <a:pt x="1013" y="1224"/>
                    <a:pt x="1013" y="1224"/>
                  </a:cubicBezTo>
                  <a:cubicBezTo>
                    <a:pt x="1014" y="1223"/>
                    <a:pt x="1014" y="1223"/>
                    <a:pt x="1014" y="1223"/>
                  </a:cubicBezTo>
                  <a:cubicBezTo>
                    <a:pt x="1014" y="1224"/>
                    <a:pt x="1014" y="1224"/>
                    <a:pt x="1014" y="1224"/>
                  </a:cubicBezTo>
                  <a:cubicBezTo>
                    <a:pt x="1014" y="1224"/>
                    <a:pt x="1014" y="1224"/>
                    <a:pt x="1014" y="1224"/>
                  </a:cubicBezTo>
                  <a:cubicBezTo>
                    <a:pt x="1014" y="1224"/>
                    <a:pt x="1014" y="1224"/>
                    <a:pt x="1014" y="1224"/>
                  </a:cubicBezTo>
                  <a:cubicBezTo>
                    <a:pt x="1015" y="1224"/>
                    <a:pt x="1015" y="1224"/>
                    <a:pt x="1015" y="1224"/>
                  </a:cubicBezTo>
                  <a:cubicBezTo>
                    <a:pt x="1015" y="1224"/>
                    <a:pt x="1015" y="1224"/>
                    <a:pt x="1015" y="1224"/>
                  </a:cubicBezTo>
                  <a:cubicBezTo>
                    <a:pt x="1017" y="1224"/>
                    <a:pt x="1017" y="1224"/>
                    <a:pt x="1017" y="1224"/>
                  </a:cubicBezTo>
                  <a:cubicBezTo>
                    <a:pt x="1017" y="1224"/>
                    <a:pt x="1017" y="1224"/>
                    <a:pt x="1017" y="1224"/>
                  </a:cubicBezTo>
                  <a:cubicBezTo>
                    <a:pt x="1019" y="1223"/>
                    <a:pt x="1019" y="1223"/>
                    <a:pt x="1019" y="1223"/>
                  </a:cubicBezTo>
                  <a:cubicBezTo>
                    <a:pt x="1019" y="1222"/>
                    <a:pt x="1019" y="1222"/>
                    <a:pt x="1019" y="1222"/>
                  </a:cubicBezTo>
                  <a:cubicBezTo>
                    <a:pt x="1020" y="1222"/>
                    <a:pt x="1020" y="1222"/>
                    <a:pt x="1020" y="1222"/>
                  </a:cubicBezTo>
                  <a:cubicBezTo>
                    <a:pt x="1021" y="1222"/>
                    <a:pt x="1021" y="1222"/>
                    <a:pt x="1021" y="1222"/>
                  </a:cubicBezTo>
                  <a:cubicBezTo>
                    <a:pt x="1022" y="1221"/>
                    <a:pt x="1022" y="1221"/>
                    <a:pt x="1022" y="1221"/>
                  </a:cubicBezTo>
                  <a:cubicBezTo>
                    <a:pt x="1022" y="1221"/>
                    <a:pt x="1022" y="1221"/>
                    <a:pt x="1022" y="1221"/>
                  </a:cubicBezTo>
                  <a:cubicBezTo>
                    <a:pt x="1023" y="1221"/>
                    <a:pt x="1023" y="1221"/>
                    <a:pt x="1023" y="1221"/>
                  </a:cubicBezTo>
                  <a:cubicBezTo>
                    <a:pt x="1023" y="1221"/>
                    <a:pt x="1023" y="1221"/>
                    <a:pt x="1023" y="1221"/>
                  </a:cubicBezTo>
                  <a:cubicBezTo>
                    <a:pt x="1023" y="1220"/>
                    <a:pt x="1023" y="1220"/>
                    <a:pt x="1023" y="1220"/>
                  </a:cubicBezTo>
                  <a:cubicBezTo>
                    <a:pt x="1023" y="1220"/>
                    <a:pt x="1023" y="1220"/>
                    <a:pt x="1023" y="1220"/>
                  </a:cubicBezTo>
                  <a:cubicBezTo>
                    <a:pt x="1024" y="1220"/>
                    <a:pt x="1024" y="1220"/>
                    <a:pt x="1024" y="1220"/>
                  </a:cubicBezTo>
                  <a:cubicBezTo>
                    <a:pt x="1024" y="1219"/>
                    <a:pt x="1024" y="1219"/>
                    <a:pt x="1024" y="1219"/>
                  </a:cubicBezTo>
                  <a:cubicBezTo>
                    <a:pt x="1025" y="1219"/>
                    <a:pt x="1025" y="1219"/>
                    <a:pt x="1025" y="1219"/>
                  </a:cubicBezTo>
                  <a:cubicBezTo>
                    <a:pt x="1025" y="1218"/>
                    <a:pt x="1025" y="1218"/>
                    <a:pt x="1025" y="1218"/>
                  </a:cubicBezTo>
                  <a:cubicBezTo>
                    <a:pt x="1025" y="1218"/>
                    <a:pt x="1025" y="1218"/>
                    <a:pt x="1025" y="1218"/>
                  </a:cubicBezTo>
                  <a:cubicBezTo>
                    <a:pt x="1027" y="1218"/>
                    <a:pt x="1027" y="1218"/>
                    <a:pt x="1027" y="1218"/>
                  </a:cubicBezTo>
                  <a:cubicBezTo>
                    <a:pt x="1028" y="1218"/>
                    <a:pt x="1028" y="1218"/>
                    <a:pt x="1028" y="1218"/>
                  </a:cubicBezTo>
                  <a:cubicBezTo>
                    <a:pt x="1028" y="1219"/>
                    <a:pt x="1028" y="1219"/>
                    <a:pt x="1028" y="1219"/>
                  </a:cubicBezTo>
                  <a:cubicBezTo>
                    <a:pt x="1028" y="1219"/>
                    <a:pt x="1028" y="1219"/>
                    <a:pt x="1028" y="1219"/>
                  </a:cubicBezTo>
                  <a:cubicBezTo>
                    <a:pt x="1028" y="1219"/>
                    <a:pt x="1028" y="1219"/>
                    <a:pt x="1028" y="1219"/>
                  </a:cubicBezTo>
                  <a:cubicBezTo>
                    <a:pt x="1027" y="1219"/>
                    <a:pt x="1027" y="1219"/>
                    <a:pt x="1027" y="1219"/>
                  </a:cubicBezTo>
                  <a:cubicBezTo>
                    <a:pt x="1027" y="1219"/>
                    <a:pt x="1027" y="1219"/>
                    <a:pt x="1027" y="1219"/>
                  </a:cubicBezTo>
                  <a:cubicBezTo>
                    <a:pt x="1027" y="1220"/>
                    <a:pt x="1027" y="1220"/>
                    <a:pt x="1027" y="1220"/>
                  </a:cubicBezTo>
                  <a:cubicBezTo>
                    <a:pt x="1027" y="1220"/>
                    <a:pt x="1027" y="1220"/>
                    <a:pt x="1027" y="1220"/>
                  </a:cubicBezTo>
                  <a:cubicBezTo>
                    <a:pt x="1028" y="1220"/>
                    <a:pt x="1028" y="1220"/>
                    <a:pt x="1028" y="1220"/>
                  </a:cubicBezTo>
                  <a:cubicBezTo>
                    <a:pt x="1028" y="1220"/>
                    <a:pt x="1028" y="1220"/>
                    <a:pt x="1028" y="1220"/>
                  </a:cubicBezTo>
                  <a:cubicBezTo>
                    <a:pt x="1029" y="1221"/>
                    <a:pt x="1029" y="1221"/>
                    <a:pt x="1029" y="1221"/>
                  </a:cubicBezTo>
                  <a:cubicBezTo>
                    <a:pt x="1031" y="1221"/>
                    <a:pt x="1031" y="1221"/>
                    <a:pt x="1031" y="1221"/>
                  </a:cubicBezTo>
                  <a:cubicBezTo>
                    <a:pt x="1031" y="1221"/>
                    <a:pt x="1031" y="1221"/>
                    <a:pt x="1031" y="1221"/>
                  </a:cubicBezTo>
                  <a:cubicBezTo>
                    <a:pt x="1031" y="1221"/>
                    <a:pt x="1031" y="1221"/>
                    <a:pt x="1031" y="1221"/>
                  </a:cubicBezTo>
                  <a:cubicBezTo>
                    <a:pt x="1032" y="1220"/>
                    <a:pt x="1032" y="1220"/>
                    <a:pt x="1032" y="1220"/>
                  </a:cubicBezTo>
                  <a:cubicBezTo>
                    <a:pt x="1033" y="1221"/>
                    <a:pt x="1033" y="1221"/>
                    <a:pt x="1033" y="1221"/>
                  </a:cubicBezTo>
                  <a:cubicBezTo>
                    <a:pt x="1035" y="1222"/>
                    <a:pt x="1035" y="1222"/>
                    <a:pt x="1035" y="1222"/>
                  </a:cubicBezTo>
                  <a:cubicBezTo>
                    <a:pt x="1036" y="1222"/>
                    <a:pt x="1036" y="1222"/>
                    <a:pt x="1036" y="1222"/>
                  </a:cubicBezTo>
                  <a:cubicBezTo>
                    <a:pt x="1036" y="1222"/>
                    <a:pt x="1036" y="1222"/>
                    <a:pt x="1036" y="1222"/>
                  </a:cubicBezTo>
                  <a:cubicBezTo>
                    <a:pt x="1038" y="1223"/>
                    <a:pt x="1038" y="1223"/>
                    <a:pt x="1038" y="1223"/>
                  </a:cubicBezTo>
                  <a:cubicBezTo>
                    <a:pt x="1038" y="1223"/>
                    <a:pt x="1038" y="1223"/>
                    <a:pt x="1038" y="1223"/>
                  </a:cubicBezTo>
                  <a:cubicBezTo>
                    <a:pt x="1039" y="1223"/>
                    <a:pt x="1039" y="1223"/>
                    <a:pt x="1039" y="1223"/>
                  </a:cubicBezTo>
                  <a:cubicBezTo>
                    <a:pt x="1039" y="1224"/>
                    <a:pt x="1039" y="1224"/>
                    <a:pt x="1039" y="1224"/>
                  </a:cubicBezTo>
                  <a:cubicBezTo>
                    <a:pt x="1040" y="1224"/>
                    <a:pt x="1040" y="1224"/>
                    <a:pt x="1040" y="1224"/>
                  </a:cubicBezTo>
                  <a:cubicBezTo>
                    <a:pt x="1040" y="1224"/>
                    <a:pt x="1040" y="1224"/>
                    <a:pt x="1040" y="1224"/>
                  </a:cubicBezTo>
                  <a:cubicBezTo>
                    <a:pt x="1041" y="1223"/>
                    <a:pt x="1041" y="1223"/>
                    <a:pt x="1041" y="1223"/>
                  </a:cubicBezTo>
                  <a:cubicBezTo>
                    <a:pt x="1043" y="1224"/>
                    <a:pt x="1043" y="1224"/>
                    <a:pt x="1043" y="1224"/>
                  </a:cubicBezTo>
                  <a:cubicBezTo>
                    <a:pt x="1044" y="1224"/>
                    <a:pt x="1044" y="1224"/>
                    <a:pt x="1044" y="1224"/>
                  </a:cubicBezTo>
                  <a:cubicBezTo>
                    <a:pt x="1045" y="1224"/>
                    <a:pt x="1045" y="1224"/>
                    <a:pt x="1045" y="1224"/>
                  </a:cubicBezTo>
                  <a:cubicBezTo>
                    <a:pt x="1047" y="1224"/>
                    <a:pt x="1047" y="1224"/>
                    <a:pt x="1047" y="1224"/>
                  </a:cubicBezTo>
                  <a:cubicBezTo>
                    <a:pt x="1047" y="1224"/>
                    <a:pt x="1047" y="1224"/>
                    <a:pt x="1047" y="1224"/>
                  </a:cubicBezTo>
                  <a:cubicBezTo>
                    <a:pt x="1048" y="1224"/>
                    <a:pt x="1048" y="1224"/>
                    <a:pt x="1048" y="1224"/>
                  </a:cubicBezTo>
                  <a:cubicBezTo>
                    <a:pt x="1049" y="1225"/>
                    <a:pt x="1049" y="1225"/>
                    <a:pt x="1049" y="1225"/>
                  </a:cubicBezTo>
                  <a:cubicBezTo>
                    <a:pt x="1050" y="1225"/>
                    <a:pt x="1050" y="1225"/>
                    <a:pt x="1050" y="1225"/>
                  </a:cubicBezTo>
                  <a:cubicBezTo>
                    <a:pt x="1051" y="1224"/>
                    <a:pt x="1051" y="1224"/>
                    <a:pt x="1051" y="1224"/>
                  </a:cubicBezTo>
                  <a:cubicBezTo>
                    <a:pt x="1051" y="1225"/>
                    <a:pt x="1051" y="1225"/>
                    <a:pt x="1051" y="1225"/>
                  </a:cubicBezTo>
                  <a:cubicBezTo>
                    <a:pt x="1052" y="1225"/>
                    <a:pt x="1052" y="1225"/>
                    <a:pt x="1052" y="1225"/>
                  </a:cubicBezTo>
                  <a:cubicBezTo>
                    <a:pt x="1053" y="1226"/>
                    <a:pt x="1053" y="1226"/>
                    <a:pt x="1053" y="1226"/>
                  </a:cubicBezTo>
                  <a:cubicBezTo>
                    <a:pt x="1053" y="1226"/>
                    <a:pt x="1053" y="1226"/>
                    <a:pt x="1053" y="1226"/>
                  </a:cubicBezTo>
                  <a:cubicBezTo>
                    <a:pt x="1053" y="1225"/>
                    <a:pt x="1053" y="1225"/>
                    <a:pt x="1053" y="1225"/>
                  </a:cubicBezTo>
                  <a:cubicBezTo>
                    <a:pt x="1053" y="1225"/>
                    <a:pt x="1053" y="1225"/>
                    <a:pt x="1053" y="1225"/>
                  </a:cubicBezTo>
                  <a:cubicBezTo>
                    <a:pt x="1053" y="1225"/>
                    <a:pt x="1053" y="1225"/>
                    <a:pt x="1053" y="1225"/>
                  </a:cubicBezTo>
                  <a:cubicBezTo>
                    <a:pt x="1053" y="1225"/>
                    <a:pt x="1053" y="1225"/>
                    <a:pt x="1053" y="1225"/>
                  </a:cubicBezTo>
                  <a:cubicBezTo>
                    <a:pt x="1053" y="1225"/>
                    <a:pt x="1053" y="1225"/>
                    <a:pt x="1053" y="1225"/>
                  </a:cubicBezTo>
                  <a:cubicBezTo>
                    <a:pt x="1053" y="1226"/>
                    <a:pt x="1053" y="1226"/>
                    <a:pt x="1053" y="1226"/>
                  </a:cubicBezTo>
                  <a:cubicBezTo>
                    <a:pt x="1054" y="1225"/>
                    <a:pt x="1054" y="1225"/>
                    <a:pt x="1054" y="1225"/>
                  </a:cubicBezTo>
                  <a:cubicBezTo>
                    <a:pt x="1054" y="1225"/>
                    <a:pt x="1054" y="1225"/>
                    <a:pt x="1054" y="1225"/>
                  </a:cubicBezTo>
                  <a:cubicBezTo>
                    <a:pt x="1054" y="1225"/>
                    <a:pt x="1054" y="1225"/>
                    <a:pt x="1054" y="1225"/>
                  </a:cubicBezTo>
                  <a:cubicBezTo>
                    <a:pt x="1055" y="1226"/>
                    <a:pt x="1055" y="1226"/>
                    <a:pt x="1055" y="1226"/>
                  </a:cubicBezTo>
                  <a:cubicBezTo>
                    <a:pt x="1054" y="1226"/>
                    <a:pt x="1054" y="1226"/>
                    <a:pt x="1054" y="1226"/>
                  </a:cubicBezTo>
                  <a:cubicBezTo>
                    <a:pt x="1054" y="1226"/>
                    <a:pt x="1054" y="1226"/>
                    <a:pt x="1054" y="1226"/>
                  </a:cubicBezTo>
                  <a:cubicBezTo>
                    <a:pt x="1054" y="1226"/>
                    <a:pt x="1054" y="1226"/>
                    <a:pt x="1054" y="1226"/>
                  </a:cubicBezTo>
                  <a:cubicBezTo>
                    <a:pt x="1053" y="1226"/>
                    <a:pt x="1053" y="1226"/>
                    <a:pt x="1053" y="1226"/>
                  </a:cubicBezTo>
                  <a:cubicBezTo>
                    <a:pt x="1053" y="1226"/>
                    <a:pt x="1053" y="1226"/>
                    <a:pt x="1053" y="1226"/>
                  </a:cubicBezTo>
                  <a:cubicBezTo>
                    <a:pt x="1054" y="1226"/>
                    <a:pt x="1054" y="1226"/>
                    <a:pt x="1054" y="1226"/>
                  </a:cubicBezTo>
                  <a:cubicBezTo>
                    <a:pt x="1054" y="1227"/>
                    <a:pt x="1054" y="1227"/>
                    <a:pt x="1054" y="1227"/>
                  </a:cubicBezTo>
                  <a:cubicBezTo>
                    <a:pt x="1054" y="1228"/>
                    <a:pt x="1054" y="1228"/>
                    <a:pt x="1054" y="1228"/>
                  </a:cubicBezTo>
                  <a:cubicBezTo>
                    <a:pt x="1054" y="1229"/>
                    <a:pt x="1054" y="1229"/>
                    <a:pt x="1054" y="1229"/>
                  </a:cubicBezTo>
                  <a:cubicBezTo>
                    <a:pt x="1054" y="1229"/>
                    <a:pt x="1054" y="1229"/>
                    <a:pt x="1054" y="1229"/>
                  </a:cubicBezTo>
                  <a:cubicBezTo>
                    <a:pt x="1055" y="1228"/>
                    <a:pt x="1056" y="1227"/>
                    <a:pt x="1058" y="1226"/>
                  </a:cubicBezTo>
                  <a:cubicBezTo>
                    <a:pt x="1058" y="1226"/>
                    <a:pt x="1058" y="1226"/>
                    <a:pt x="1058" y="1226"/>
                  </a:cubicBezTo>
                  <a:cubicBezTo>
                    <a:pt x="1059" y="1225"/>
                    <a:pt x="1059" y="1225"/>
                    <a:pt x="1059" y="1225"/>
                  </a:cubicBezTo>
                  <a:cubicBezTo>
                    <a:pt x="1059" y="1224"/>
                    <a:pt x="1059" y="1224"/>
                    <a:pt x="1059" y="1224"/>
                  </a:cubicBezTo>
                  <a:cubicBezTo>
                    <a:pt x="1059" y="1224"/>
                    <a:pt x="1059" y="1224"/>
                    <a:pt x="1059" y="1224"/>
                  </a:cubicBezTo>
                  <a:cubicBezTo>
                    <a:pt x="1059" y="1224"/>
                    <a:pt x="1059" y="1224"/>
                    <a:pt x="1059" y="1224"/>
                  </a:cubicBezTo>
                  <a:cubicBezTo>
                    <a:pt x="1059" y="1224"/>
                    <a:pt x="1059" y="1224"/>
                    <a:pt x="1059" y="1224"/>
                  </a:cubicBezTo>
                  <a:cubicBezTo>
                    <a:pt x="1059" y="1223"/>
                    <a:pt x="1059" y="1223"/>
                    <a:pt x="1059" y="1223"/>
                  </a:cubicBezTo>
                  <a:cubicBezTo>
                    <a:pt x="1059" y="1223"/>
                    <a:pt x="1059" y="1223"/>
                    <a:pt x="1059" y="1223"/>
                  </a:cubicBezTo>
                  <a:cubicBezTo>
                    <a:pt x="1059" y="1223"/>
                    <a:pt x="1059" y="1223"/>
                    <a:pt x="1059" y="1223"/>
                  </a:cubicBezTo>
                  <a:cubicBezTo>
                    <a:pt x="1059" y="1223"/>
                    <a:pt x="1059" y="1223"/>
                    <a:pt x="1059" y="1223"/>
                  </a:cubicBezTo>
                  <a:cubicBezTo>
                    <a:pt x="1060" y="1223"/>
                    <a:pt x="1060" y="1223"/>
                    <a:pt x="1060" y="1223"/>
                  </a:cubicBezTo>
                  <a:cubicBezTo>
                    <a:pt x="1060" y="1223"/>
                    <a:pt x="1060" y="1223"/>
                    <a:pt x="1060" y="1223"/>
                  </a:cubicBezTo>
                  <a:cubicBezTo>
                    <a:pt x="1060" y="1223"/>
                    <a:pt x="1060" y="1223"/>
                    <a:pt x="1060" y="1223"/>
                  </a:cubicBezTo>
                  <a:cubicBezTo>
                    <a:pt x="1060" y="1223"/>
                    <a:pt x="1060" y="1223"/>
                    <a:pt x="1060" y="1223"/>
                  </a:cubicBezTo>
                  <a:cubicBezTo>
                    <a:pt x="1061" y="1222"/>
                    <a:pt x="1061" y="1222"/>
                    <a:pt x="1061" y="1222"/>
                  </a:cubicBezTo>
                  <a:cubicBezTo>
                    <a:pt x="1061" y="1222"/>
                    <a:pt x="1061" y="1222"/>
                    <a:pt x="1061" y="1222"/>
                  </a:cubicBezTo>
                  <a:cubicBezTo>
                    <a:pt x="1061" y="1222"/>
                    <a:pt x="1061" y="1222"/>
                    <a:pt x="1061" y="1222"/>
                  </a:cubicBezTo>
                  <a:cubicBezTo>
                    <a:pt x="1061" y="1222"/>
                    <a:pt x="1061" y="1222"/>
                    <a:pt x="1061" y="1222"/>
                  </a:cubicBezTo>
                  <a:cubicBezTo>
                    <a:pt x="1061" y="1222"/>
                    <a:pt x="1061" y="1222"/>
                    <a:pt x="1061" y="1222"/>
                  </a:cubicBezTo>
                  <a:cubicBezTo>
                    <a:pt x="1062" y="1222"/>
                    <a:pt x="1062" y="1222"/>
                    <a:pt x="1062" y="1222"/>
                  </a:cubicBezTo>
                  <a:cubicBezTo>
                    <a:pt x="1062" y="1222"/>
                    <a:pt x="1062" y="1222"/>
                    <a:pt x="1062" y="1222"/>
                  </a:cubicBezTo>
                  <a:cubicBezTo>
                    <a:pt x="1062" y="1222"/>
                    <a:pt x="1062" y="1222"/>
                    <a:pt x="1062" y="1222"/>
                  </a:cubicBezTo>
                  <a:cubicBezTo>
                    <a:pt x="1062" y="1222"/>
                    <a:pt x="1062" y="1222"/>
                    <a:pt x="1062" y="1222"/>
                  </a:cubicBezTo>
                  <a:cubicBezTo>
                    <a:pt x="1062" y="1221"/>
                    <a:pt x="1062" y="1221"/>
                    <a:pt x="1062" y="1221"/>
                  </a:cubicBezTo>
                  <a:cubicBezTo>
                    <a:pt x="1062" y="1221"/>
                    <a:pt x="1062" y="1221"/>
                    <a:pt x="1062" y="1221"/>
                  </a:cubicBezTo>
                  <a:cubicBezTo>
                    <a:pt x="1063" y="1221"/>
                    <a:pt x="1063" y="1221"/>
                    <a:pt x="1063" y="1221"/>
                  </a:cubicBezTo>
                  <a:cubicBezTo>
                    <a:pt x="1063" y="1220"/>
                    <a:pt x="1063" y="1220"/>
                    <a:pt x="1063" y="1220"/>
                  </a:cubicBezTo>
                  <a:cubicBezTo>
                    <a:pt x="1064" y="1220"/>
                    <a:pt x="1064" y="1220"/>
                    <a:pt x="1064" y="1220"/>
                  </a:cubicBezTo>
                  <a:cubicBezTo>
                    <a:pt x="1063" y="1220"/>
                    <a:pt x="1063" y="1220"/>
                    <a:pt x="1063" y="1220"/>
                  </a:cubicBezTo>
                  <a:cubicBezTo>
                    <a:pt x="1063" y="1220"/>
                    <a:pt x="1063" y="1220"/>
                    <a:pt x="1063" y="1220"/>
                  </a:cubicBezTo>
                  <a:cubicBezTo>
                    <a:pt x="1063" y="1219"/>
                    <a:pt x="1063" y="1219"/>
                    <a:pt x="1063" y="1219"/>
                  </a:cubicBezTo>
                  <a:cubicBezTo>
                    <a:pt x="1063" y="1219"/>
                    <a:pt x="1063" y="1219"/>
                    <a:pt x="1063" y="1219"/>
                  </a:cubicBezTo>
                  <a:cubicBezTo>
                    <a:pt x="1063" y="1219"/>
                    <a:pt x="1063" y="1219"/>
                    <a:pt x="1063" y="1219"/>
                  </a:cubicBezTo>
                  <a:cubicBezTo>
                    <a:pt x="1063" y="1219"/>
                    <a:pt x="1063" y="1219"/>
                    <a:pt x="1063" y="1219"/>
                  </a:cubicBezTo>
                  <a:cubicBezTo>
                    <a:pt x="1064" y="1218"/>
                    <a:pt x="1064" y="1218"/>
                    <a:pt x="1064" y="1218"/>
                  </a:cubicBezTo>
                  <a:cubicBezTo>
                    <a:pt x="1064" y="1218"/>
                    <a:pt x="1064" y="1218"/>
                    <a:pt x="1064" y="1218"/>
                  </a:cubicBezTo>
                  <a:cubicBezTo>
                    <a:pt x="1064" y="1218"/>
                    <a:pt x="1064" y="1218"/>
                    <a:pt x="1064" y="1218"/>
                  </a:cubicBezTo>
                  <a:cubicBezTo>
                    <a:pt x="1064" y="1217"/>
                    <a:pt x="1064" y="1217"/>
                    <a:pt x="1064" y="1217"/>
                  </a:cubicBezTo>
                  <a:cubicBezTo>
                    <a:pt x="1063" y="1217"/>
                    <a:pt x="1063" y="1217"/>
                    <a:pt x="1063" y="1217"/>
                  </a:cubicBezTo>
                  <a:cubicBezTo>
                    <a:pt x="1063" y="1216"/>
                    <a:pt x="1063" y="1216"/>
                    <a:pt x="1063" y="1216"/>
                  </a:cubicBezTo>
                  <a:cubicBezTo>
                    <a:pt x="1062" y="1216"/>
                    <a:pt x="1062" y="1216"/>
                    <a:pt x="1062" y="1216"/>
                  </a:cubicBezTo>
                  <a:cubicBezTo>
                    <a:pt x="1062" y="1215"/>
                    <a:pt x="1062" y="1215"/>
                    <a:pt x="1062" y="1215"/>
                  </a:cubicBezTo>
                  <a:cubicBezTo>
                    <a:pt x="1063" y="1214"/>
                    <a:pt x="1063" y="1214"/>
                    <a:pt x="1063" y="1214"/>
                  </a:cubicBezTo>
                  <a:cubicBezTo>
                    <a:pt x="1063" y="1214"/>
                    <a:pt x="1063" y="1214"/>
                    <a:pt x="1063" y="1214"/>
                  </a:cubicBezTo>
                  <a:cubicBezTo>
                    <a:pt x="1062" y="1214"/>
                    <a:pt x="1062" y="1214"/>
                    <a:pt x="1062" y="1214"/>
                  </a:cubicBezTo>
                  <a:cubicBezTo>
                    <a:pt x="1062" y="1213"/>
                    <a:pt x="1062" y="1213"/>
                    <a:pt x="1062" y="1213"/>
                  </a:cubicBezTo>
                  <a:cubicBezTo>
                    <a:pt x="1063" y="1212"/>
                    <a:pt x="1063" y="1212"/>
                    <a:pt x="1063" y="1212"/>
                  </a:cubicBezTo>
                  <a:cubicBezTo>
                    <a:pt x="1062" y="1212"/>
                    <a:pt x="1062" y="1212"/>
                    <a:pt x="1062" y="1212"/>
                  </a:cubicBezTo>
                  <a:cubicBezTo>
                    <a:pt x="1062" y="1211"/>
                    <a:pt x="1062" y="1211"/>
                    <a:pt x="1062" y="1211"/>
                  </a:cubicBezTo>
                  <a:cubicBezTo>
                    <a:pt x="1062" y="1210"/>
                    <a:pt x="1062" y="1210"/>
                    <a:pt x="1062" y="1210"/>
                  </a:cubicBezTo>
                  <a:cubicBezTo>
                    <a:pt x="1063" y="1209"/>
                    <a:pt x="1063" y="1209"/>
                    <a:pt x="1063" y="1209"/>
                  </a:cubicBezTo>
                  <a:cubicBezTo>
                    <a:pt x="1062" y="1209"/>
                    <a:pt x="1062" y="1209"/>
                    <a:pt x="1062" y="1209"/>
                  </a:cubicBezTo>
                  <a:cubicBezTo>
                    <a:pt x="1063" y="1208"/>
                    <a:pt x="1063" y="1208"/>
                    <a:pt x="1063" y="1208"/>
                  </a:cubicBezTo>
                  <a:cubicBezTo>
                    <a:pt x="1064" y="1208"/>
                    <a:pt x="1064" y="1208"/>
                    <a:pt x="1064" y="1208"/>
                  </a:cubicBezTo>
                  <a:cubicBezTo>
                    <a:pt x="1064" y="1209"/>
                    <a:pt x="1064" y="1209"/>
                    <a:pt x="1064" y="1209"/>
                  </a:cubicBezTo>
                  <a:cubicBezTo>
                    <a:pt x="1064" y="1209"/>
                    <a:pt x="1064" y="1209"/>
                    <a:pt x="1064" y="1209"/>
                  </a:cubicBezTo>
                  <a:cubicBezTo>
                    <a:pt x="1064" y="1210"/>
                    <a:pt x="1064" y="1210"/>
                    <a:pt x="1064" y="1210"/>
                  </a:cubicBezTo>
                  <a:cubicBezTo>
                    <a:pt x="1064" y="1211"/>
                    <a:pt x="1064" y="1211"/>
                    <a:pt x="1064" y="1211"/>
                  </a:cubicBezTo>
                  <a:cubicBezTo>
                    <a:pt x="1064" y="1212"/>
                    <a:pt x="1064" y="1212"/>
                    <a:pt x="1064" y="1212"/>
                  </a:cubicBezTo>
                  <a:cubicBezTo>
                    <a:pt x="1064" y="1212"/>
                    <a:pt x="1064" y="1212"/>
                    <a:pt x="1064" y="1212"/>
                  </a:cubicBezTo>
                  <a:cubicBezTo>
                    <a:pt x="1064" y="1213"/>
                    <a:pt x="1064" y="1213"/>
                    <a:pt x="1064" y="1213"/>
                  </a:cubicBezTo>
                  <a:cubicBezTo>
                    <a:pt x="1064" y="1213"/>
                    <a:pt x="1064" y="1213"/>
                    <a:pt x="1064" y="1213"/>
                  </a:cubicBezTo>
                  <a:cubicBezTo>
                    <a:pt x="1064" y="1214"/>
                    <a:pt x="1064" y="1214"/>
                    <a:pt x="1064" y="1214"/>
                  </a:cubicBezTo>
                  <a:cubicBezTo>
                    <a:pt x="1064" y="1214"/>
                    <a:pt x="1064" y="1214"/>
                    <a:pt x="1064" y="1214"/>
                  </a:cubicBezTo>
                  <a:cubicBezTo>
                    <a:pt x="1064" y="1215"/>
                    <a:pt x="1064" y="1215"/>
                    <a:pt x="1064" y="1215"/>
                  </a:cubicBezTo>
                  <a:cubicBezTo>
                    <a:pt x="1064" y="1215"/>
                    <a:pt x="1064" y="1215"/>
                    <a:pt x="1064" y="1215"/>
                  </a:cubicBezTo>
                  <a:cubicBezTo>
                    <a:pt x="1064" y="1216"/>
                    <a:pt x="1064" y="1216"/>
                    <a:pt x="1064" y="1216"/>
                  </a:cubicBezTo>
                  <a:cubicBezTo>
                    <a:pt x="1065" y="1217"/>
                    <a:pt x="1065" y="1217"/>
                    <a:pt x="1065" y="1217"/>
                  </a:cubicBezTo>
                  <a:cubicBezTo>
                    <a:pt x="1066" y="1217"/>
                    <a:pt x="1066" y="1217"/>
                    <a:pt x="1066" y="1217"/>
                  </a:cubicBezTo>
                  <a:cubicBezTo>
                    <a:pt x="1066" y="1218"/>
                    <a:pt x="1066" y="1218"/>
                    <a:pt x="1066" y="1218"/>
                  </a:cubicBezTo>
                  <a:cubicBezTo>
                    <a:pt x="1065" y="1218"/>
                    <a:pt x="1065" y="1218"/>
                    <a:pt x="1065" y="1218"/>
                  </a:cubicBezTo>
                  <a:cubicBezTo>
                    <a:pt x="1065" y="1218"/>
                    <a:pt x="1065" y="1218"/>
                    <a:pt x="1065" y="1218"/>
                  </a:cubicBezTo>
                  <a:cubicBezTo>
                    <a:pt x="1065" y="1218"/>
                    <a:pt x="1065" y="1218"/>
                    <a:pt x="1065" y="1218"/>
                  </a:cubicBezTo>
                  <a:cubicBezTo>
                    <a:pt x="1064" y="1218"/>
                    <a:pt x="1064" y="1218"/>
                    <a:pt x="1064" y="1218"/>
                  </a:cubicBezTo>
                  <a:cubicBezTo>
                    <a:pt x="1064" y="1219"/>
                    <a:pt x="1064" y="1219"/>
                    <a:pt x="1064" y="1219"/>
                  </a:cubicBezTo>
                  <a:cubicBezTo>
                    <a:pt x="1064" y="1219"/>
                    <a:pt x="1064" y="1219"/>
                    <a:pt x="1064" y="1219"/>
                  </a:cubicBezTo>
                  <a:cubicBezTo>
                    <a:pt x="1065" y="1220"/>
                    <a:pt x="1065" y="1220"/>
                    <a:pt x="1065" y="1220"/>
                  </a:cubicBezTo>
                  <a:cubicBezTo>
                    <a:pt x="1065" y="1220"/>
                    <a:pt x="1065" y="1220"/>
                    <a:pt x="1065" y="1220"/>
                  </a:cubicBezTo>
                  <a:cubicBezTo>
                    <a:pt x="1079" y="1207"/>
                    <a:pt x="1092" y="1195"/>
                    <a:pt x="1105" y="1182"/>
                  </a:cubicBezTo>
                  <a:cubicBezTo>
                    <a:pt x="1105" y="1182"/>
                    <a:pt x="1105" y="1182"/>
                    <a:pt x="1105" y="1182"/>
                  </a:cubicBezTo>
                  <a:cubicBezTo>
                    <a:pt x="1106" y="1182"/>
                    <a:pt x="1106" y="1182"/>
                    <a:pt x="1106" y="1182"/>
                  </a:cubicBezTo>
                  <a:cubicBezTo>
                    <a:pt x="1106" y="1182"/>
                    <a:pt x="1106" y="1182"/>
                    <a:pt x="1106" y="1182"/>
                  </a:cubicBezTo>
                  <a:cubicBezTo>
                    <a:pt x="1106" y="1182"/>
                    <a:pt x="1106" y="1182"/>
                    <a:pt x="1106" y="1182"/>
                  </a:cubicBezTo>
                  <a:cubicBezTo>
                    <a:pt x="1106" y="1182"/>
                    <a:pt x="1106" y="1182"/>
                    <a:pt x="1106" y="1182"/>
                  </a:cubicBezTo>
                  <a:cubicBezTo>
                    <a:pt x="1106" y="1181"/>
                    <a:pt x="1106" y="1181"/>
                    <a:pt x="1106" y="1181"/>
                  </a:cubicBezTo>
                  <a:cubicBezTo>
                    <a:pt x="1106" y="1181"/>
                    <a:pt x="1106" y="1181"/>
                    <a:pt x="1106" y="1181"/>
                  </a:cubicBezTo>
                  <a:cubicBezTo>
                    <a:pt x="1106" y="1180"/>
                    <a:pt x="1106" y="1180"/>
                    <a:pt x="1106" y="1180"/>
                  </a:cubicBezTo>
                  <a:cubicBezTo>
                    <a:pt x="1106" y="1180"/>
                    <a:pt x="1106" y="1180"/>
                    <a:pt x="1106" y="1180"/>
                  </a:cubicBezTo>
                  <a:cubicBezTo>
                    <a:pt x="1107" y="1180"/>
                    <a:pt x="1107" y="1180"/>
                    <a:pt x="1107" y="1180"/>
                  </a:cubicBezTo>
                  <a:cubicBezTo>
                    <a:pt x="1107" y="1180"/>
                    <a:pt x="1107" y="1180"/>
                    <a:pt x="1107" y="1180"/>
                  </a:cubicBezTo>
                  <a:cubicBezTo>
                    <a:pt x="1108" y="1180"/>
                    <a:pt x="1108" y="1180"/>
                    <a:pt x="1108" y="1180"/>
                  </a:cubicBezTo>
                  <a:cubicBezTo>
                    <a:pt x="1108" y="1180"/>
                    <a:pt x="1108" y="1180"/>
                    <a:pt x="1108" y="1180"/>
                  </a:cubicBezTo>
                  <a:cubicBezTo>
                    <a:pt x="1109" y="1181"/>
                    <a:pt x="1109" y="1181"/>
                    <a:pt x="1109" y="1181"/>
                  </a:cubicBezTo>
                  <a:cubicBezTo>
                    <a:pt x="1109" y="1181"/>
                    <a:pt x="1109" y="1181"/>
                    <a:pt x="1109" y="1181"/>
                  </a:cubicBezTo>
                  <a:cubicBezTo>
                    <a:pt x="1111" y="1180"/>
                    <a:pt x="1111" y="1180"/>
                    <a:pt x="1111" y="1180"/>
                  </a:cubicBezTo>
                  <a:cubicBezTo>
                    <a:pt x="1111" y="1181"/>
                    <a:pt x="1111" y="1181"/>
                    <a:pt x="1111" y="1181"/>
                  </a:cubicBezTo>
                  <a:cubicBezTo>
                    <a:pt x="1112" y="1181"/>
                    <a:pt x="1112" y="1181"/>
                    <a:pt x="1112" y="1181"/>
                  </a:cubicBezTo>
                  <a:cubicBezTo>
                    <a:pt x="1112" y="1180"/>
                    <a:pt x="1112" y="1180"/>
                    <a:pt x="1112" y="1180"/>
                  </a:cubicBezTo>
                  <a:cubicBezTo>
                    <a:pt x="1113" y="1180"/>
                    <a:pt x="1113" y="1180"/>
                    <a:pt x="1113" y="1180"/>
                  </a:cubicBezTo>
                  <a:cubicBezTo>
                    <a:pt x="1112" y="1179"/>
                    <a:pt x="1112" y="1179"/>
                    <a:pt x="1112" y="1179"/>
                  </a:cubicBezTo>
                  <a:cubicBezTo>
                    <a:pt x="1112" y="1179"/>
                    <a:pt x="1112" y="1179"/>
                    <a:pt x="1112" y="1179"/>
                  </a:cubicBezTo>
                  <a:cubicBezTo>
                    <a:pt x="1112" y="1179"/>
                    <a:pt x="1112" y="1179"/>
                    <a:pt x="1112" y="1179"/>
                  </a:cubicBezTo>
                  <a:cubicBezTo>
                    <a:pt x="1112" y="1179"/>
                    <a:pt x="1112" y="1179"/>
                    <a:pt x="1112" y="1179"/>
                  </a:cubicBezTo>
                  <a:cubicBezTo>
                    <a:pt x="1112" y="1178"/>
                    <a:pt x="1112" y="1178"/>
                    <a:pt x="1112" y="1178"/>
                  </a:cubicBezTo>
                  <a:cubicBezTo>
                    <a:pt x="1112" y="1178"/>
                    <a:pt x="1112" y="1178"/>
                    <a:pt x="1112" y="1178"/>
                  </a:cubicBezTo>
                  <a:cubicBezTo>
                    <a:pt x="1111" y="1178"/>
                    <a:pt x="1111" y="1178"/>
                    <a:pt x="1111" y="1178"/>
                  </a:cubicBezTo>
                  <a:cubicBezTo>
                    <a:pt x="1111" y="1177"/>
                    <a:pt x="1111" y="1177"/>
                    <a:pt x="1111" y="1177"/>
                  </a:cubicBezTo>
                  <a:cubicBezTo>
                    <a:pt x="1111" y="1177"/>
                    <a:pt x="1111" y="1177"/>
                    <a:pt x="1111" y="1177"/>
                  </a:cubicBezTo>
                  <a:cubicBezTo>
                    <a:pt x="1111" y="1177"/>
                    <a:pt x="1111" y="1177"/>
                    <a:pt x="1111" y="1177"/>
                  </a:cubicBezTo>
                  <a:cubicBezTo>
                    <a:pt x="1111" y="1176"/>
                    <a:pt x="1111" y="1176"/>
                    <a:pt x="1111" y="1176"/>
                  </a:cubicBezTo>
                  <a:cubicBezTo>
                    <a:pt x="1111" y="1176"/>
                    <a:pt x="1111" y="1176"/>
                    <a:pt x="1111" y="1176"/>
                  </a:cubicBezTo>
                  <a:cubicBezTo>
                    <a:pt x="1109" y="1175"/>
                    <a:pt x="1109" y="1175"/>
                    <a:pt x="1109" y="1175"/>
                  </a:cubicBezTo>
                  <a:cubicBezTo>
                    <a:pt x="1109" y="1174"/>
                    <a:pt x="1109" y="1174"/>
                    <a:pt x="1109" y="1174"/>
                  </a:cubicBezTo>
                  <a:cubicBezTo>
                    <a:pt x="1108" y="1174"/>
                    <a:pt x="1108" y="1174"/>
                    <a:pt x="1108" y="1174"/>
                  </a:cubicBezTo>
                  <a:cubicBezTo>
                    <a:pt x="1107" y="1173"/>
                    <a:pt x="1107" y="1173"/>
                    <a:pt x="1107" y="1173"/>
                  </a:cubicBezTo>
                  <a:cubicBezTo>
                    <a:pt x="1108" y="1173"/>
                    <a:pt x="1108" y="1173"/>
                    <a:pt x="1108" y="1173"/>
                  </a:cubicBezTo>
                  <a:cubicBezTo>
                    <a:pt x="1108" y="1173"/>
                    <a:pt x="1108" y="1173"/>
                    <a:pt x="1108" y="1173"/>
                  </a:cubicBezTo>
                  <a:cubicBezTo>
                    <a:pt x="1108" y="1173"/>
                    <a:pt x="1108" y="1173"/>
                    <a:pt x="1108" y="1173"/>
                  </a:cubicBezTo>
                  <a:cubicBezTo>
                    <a:pt x="1107" y="1172"/>
                    <a:pt x="1107" y="1172"/>
                    <a:pt x="1107" y="1172"/>
                  </a:cubicBezTo>
                  <a:cubicBezTo>
                    <a:pt x="1107" y="1172"/>
                    <a:pt x="1107" y="1172"/>
                    <a:pt x="1107" y="1172"/>
                  </a:cubicBezTo>
                  <a:cubicBezTo>
                    <a:pt x="1107" y="1172"/>
                    <a:pt x="1107" y="1172"/>
                    <a:pt x="1107" y="1172"/>
                  </a:cubicBezTo>
                  <a:cubicBezTo>
                    <a:pt x="1106" y="1171"/>
                    <a:pt x="1106" y="1171"/>
                    <a:pt x="1106" y="1171"/>
                  </a:cubicBezTo>
                  <a:cubicBezTo>
                    <a:pt x="1106" y="1171"/>
                    <a:pt x="1106" y="1171"/>
                    <a:pt x="1106" y="1171"/>
                  </a:cubicBezTo>
                  <a:cubicBezTo>
                    <a:pt x="1105" y="1170"/>
                    <a:pt x="1105" y="1170"/>
                    <a:pt x="1105" y="1170"/>
                  </a:cubicBezTo>
                  <a:cubicBezTo>
                    <a:pt x="1105" y="1170"/>
                    <a:pt x="1105" y="1170"/>
                    <a:pt x="1105" y="1170"/>
                  </a:cubicBezTo>
                  <a:cubicBezTo>
                    <a:pt x="1105" y="1170"/>
                    <a:pt x="1105" y="1170"/>
                    <a:pt x="1105" y="1170"/>
                  </a:cubicBezTo>
                  <a:cubicBezTo>
                    <a:pt x="1105" y="1169"/>
                    <a:pt x="1105" y="1169"/>
                    <a:pt x="1105" y="1169"/>
                  </a:cubicBezTo>
                  <a:cubicBezTo>
                    <a:pt x="1105" y="1168"/>
                    <a:pt x="1105" y="1168"/>
                    <a:pt x="1105" y="1168"/>
                  </a:cubicBezTo>
                  <a:cubicBezTo>
                    <a:pt x="1106" y="1167"/>
                    <a:pt x="1106" y="1167"/>
                    <a:pt x="1106" y="1167"/>
                  </a:cubicBezTo>
                  <a:cubicBezTo>
                    <a:pt x="1105" y="1167"/>
                    <a:pt x="1105" y="1167"/>
                    <a:pt x="1105" y="1167"/>
                  </a:cubicBezTo>
                  <a:cubicBezTo>
                    <a:pt x="1105" y="1167"/>
                    <a:pt x="1105" y="1167"/>
                    <a:pt x="1105" y="1167"/>
                  </a:cubicBezTo>
                  <a:cubicBezTo>
                    <a:pt x="1105" y="1167"/>
                    <a:pt x="1105" y="1167"/>
                    <a:pt x="1105" y="1167"/>
                  </a:cubicBezTo>
                  <a:cubicBezTo>
                    <a:pt x="1105" y="1167"/>
                    <a:pt x="1105" y="1167"/>
                    <a:pt x="1105" y="1167"/>
                  </a:cubicBezTo>
                  <a:cubicBezTo>
                    <a:pt x="1105" y="1166"/>
                    <a:pt x="1105" y="1166"/>
                    <a:pt x="1105" y="1166"/>
                  </a:cubicBezTo>
                  <a:cubicBezTo>
                    <a:pt x="1105" y="1166"/>
                    <a:pt x="1105" y="1166"/>
                    <a:pt x="1105" y="1166"/>
                  </a:cubicBezTo>
                  <a:cubicBezTo>
                    <a:pt x="1105" y="1166"/>
                    <a:pt x="1105" y="1166"/>
                    <a:pt x="1105" y="1166"/>
                  </a:cubicBezTo>
                  <a:cubicBezTo>
                    <a:pt x="1104" y="1166"/>
                    <a:pt x="1104" y="1166"/>
                    <a:pt x="1104" y="1166"/>
                  </a:cubicBezTo>
                  <a:cubicBezTo>
                    <a:pt x="1104" y="1166"/>
                    <a:pt x="1104" y="1166"/>
                    <a:pt x="1104" y="1166"/>
                  </a:cubicBezTo>
                  <a:cubicBezTo>
                    <a:pt x="1104" y="1166"/>
                    <a:pt x="1104" y="1166"/>
                    <a:pt x="1104" y="1166"/>
                  </a:cubicBezTo>
                  <a:cubicBezTo>
                    <a:pt x="1103" y="1165"/>
                    <a:pt x="1103" y="1165"/>
                    <a:pt x="1103" y="1165"/>
                  </a:cubicBezTo>
                  <a:cubicBezTo>
                    <a:pt x="1103" y="1165"/>
                    <a:pt x="1103" y="1165"/>
                    <a:pt x="1103" y="1165"/>
                  </a:cubicBezTo>
                  <a:cubicBezTo>
                    <a:pt x="1104" y="1164"/>
                    <a:pt x="1104" y="1164"/>
                    <a:pt x="1104" y="1164"/>
                  </a:cubicBezTo>
                  <a:cubicBezTo>
                    <a:pt x="1103" y="1164"/>
                    <a:pt x="1103" y="1164"/>
                    <a:pt x="1103" y="1164"/>
                  </a:cubicBezTo>
                  <a:cubicBezTo>
                    <a:pt x="1103" y="1164"/>
                    <a:pt x="1103" y="1164"/>
                    <a:pt x="1103" y="1164"/>
                  </a:cubicBezTo>
                  <a:cubicBezTo>
                    <a:pt x="1103" y="1164"/>
                    <a:pt x="1103" y="1164"/>
                    <a:pt x="1103" y="1164"/>
                  </a:cubicBezTo>
                  <a:cubicBezTo>
                    <a:pt x="1104" y="1164"/>
                    <a:pt x="1104" y="1164"/>
                    <a:pt x="1104" y="1164"/>
                  </a:cubicBezTo>
                  <a:cubicBezTo>
                    <a:pt x="1104" y="1163"/>
                    <a:pt x="1104" y="1163"/>
                    <a:pt x="1104" y="1163"/>
                  </a:cubicBezTo>
                  <a:cubicBezTo>
                    <a:pt x="1103" y="1163"/>
                    <a:pt x="1103" y="1163"/>
                    <a:pt x="1103" y="1163"/>
                  </a:cubicBezTo>
                  <a:cubicBezTo>
                    <a:pt x="1103" y="1163"/>
                    <a:pt x="1103" y="1163"/>
                    <a:pt x="1103" y="1163"/>
                  </a:cubicBezTo>
                  <a:cubicBezTo>
                    <a:pt x="1103" y="1163"/>
                    <a:pt x="1103" y="1163"/>
                    <a:pt x="1103" y="1163"/>
                  </a:cubicBezTo>
                  <a:cubicBezTo>
                    <a:pt x="1103" y="1163"/>
                    <a:pt x="1103" y="1163"/>
                    <a:pt x="1103" y="1163"/>
                  </a:cubicBezTo>
                  <a:cubicBezTo>
                    <a:pt x="1102" y="1163"/>
                    <a:pt x="1102" y="1163"/>
                    <a:pt x="1102" y="1163"/>
                  </a:cubicBezTo>
                  <a:cubicBezTo>
                    <a:pt x="1102" y="1163"/>
                    <a:pt x="1102" y="1163"/>
                    <a:pt x="1102" y="1163"/>
                  </a:cubicBezTo>
                  <a:cubicBezTo>
                    <a:pt x="1101" y="1163"/>
                    <a:pt x="1101" y="1163"/>
                    <a:pt x="1101" y="1163"/>
                  </a:cubicBezTo>
                  <a:cubicBezTo>
                    <a:pt x="1101" y="1162"/>
                    <a:pt x="1101" y="1162"/>
                    <a:pt x="1101" y="1162"/>
                  </a:cubicBezTo>
                  <a:cubicBezTo>
                    <a:pt x="1101" y="1162"/>
                    <a:pt x="1101" y="1162"/>
                    <a:pt x="1101" y="1162"/>
                  </a:cubicBezTo>
                  <a:cubicBezTo>
                    <a:pt x="1101" y="1162"/>
                    <a:pt x="1101" y="1162"/>
                    <a:pt x="1101" y="1162"/>
                  </a:cubicBezTo>
                  <a:cubicBezTo>
                    <a:pt x="1101" y="1162"/>
                    <a:pt x="1101" y="1162"/>
                    <a:pt x="1101" y="1162"/>
                  </a:cubicBezTo>
                  <a:cubicBezTo>
                    <a:pt x="1101" y="1162"/>
                    <a:pt x="1101" y="1162"/>
                    <a:pt x="1101" y="1162"/>
                  </a:cubicBezTo>
                  <a:cubicBezTo>
                    <a:pt x="1100" y="1162"/>
                    <a:pt x="1100" y="1162"/>
                    <a:pt x="1100" y="1162"/>
                  </a:cubicBezTo>
                  <a:cubicBezTo>
                    <a:pt x="1100" y="1162"/>
                    <a:pt x="1100" y="1162"/>
                    <a:pt x="1100" y="1162"/>
                  </a:cubicBezTo>
                  <a:cubicBezTo>
                    <a:pt x="1100" y="1162"/>
                    <a:pt x="1100" y="1162"/>
                    <a:pt x="1100" y="1162"/>
                  </a:cubicBezTo>
                  <a:cubicBezTo>
                    <a:pt x="1099" y="1162"/>
                    <a:pt x="1099" y="1162"/>
                    <a:pt x="1099" y="1162"/>
                  </a:cubicBezTo>
                  <a:cubicBezTo>
                    <a:pt x="1099" y="1162"/>
                    <a:pt x="1099" y="1162"/>
                    <a:pt x="1099" y="1162"/>
                  </a:cubicBezTo>
                  <a:cubicBezTo>
                    <a:pt x="1099" y="1162"/>
                    <a:pt x="1099" y="1162"/>
                    <a:pt x="1099" y="1162"/>
                  </a:cubicBezTo>
                  <a:cubicBezTo>
                    <a:pt x="1099" y="1161"/>
                    <a:pt x="1099" y="1161"/>
                    <a:pt x="1099" y="1161"/>
                  </a:cubicBezTo>
                  <a:cubicBezTo>
                    <a:pt x="1098" y="1162"/>
                    <a:pt x="1098" y="1162"/>
                    <a:pt x="1098" y="1162"/>
                  </a:cubicBezTo>
                  <a:cubicBezTo>
                    <a:pt x="1098" y="1162"/>
                    <a:pt x="1098" y="1162"/>
                    <a:pt x="1098" y="1162"/>
                  </a:cubicBezTo>
                  <a:cubicBezTo>
                    <a:pt x="1098" y="1163"/>
                    <a:pt x="1098" y="1163"/>
                    <a:pt x="1098" y="1163"/>
                  </a:cubicBezTo>
                  <a:cubicBezTo>
                    <a:pt x="1097" y="1162"/>
                    <a:pt x="1097" y="1162"/>
                    <a:pt x="1097" y="1162"/>
                  </a:cubicBezTo>
                  <a:cubicBezTo>
                    <a:pt x="1096" y="1161"/>
                    <a:pt x="1096" y="1161"/>
                    <a:pt x="1096" y="1161"/>
                  </a:cubicBezTo>
                  <a:cubicBezTo>
                    <a:pt x="1096" y="1162"/>
                    <a:pt x="1096" y="1162"/>
                    <a:pt x="1096" y="1162"/>
                  </a:cubicBezTo>
                  <a:cubicBezTo>
                    <a:pt x="1096" y="1162"/>
                    <a:pt x="1096" y="1162"/>
                    <a:pt x="1096" y="1162"/>
                  </a:cubicBezTo>
                  <a:cubicBezTo>
                    <a:pt x="1096" y="1163"/>
                    <a:pt x="1096" y="1163"/>
                    <a:pt x="1096" y="1163"/>
                  </a:cubicBezTo>
                  <a:cubicBezTo>
                    <a:pt x="1096" y="1163"/>
                    <a:pt x="1096" y="1163"/>
                    <a:pt x="1096" y="1163"/>
                  </a:cubicBezTo>
                  <a:cubicBezTo>
                    <a:pt x="1096" y="1162"/>
                    <a:pt x="1096" y="1162"/>
                    <a:pt x="1096" y="1162"/>
                  </a:cubicBezTo>
                  <a:cubicBezTo>
                    <a:pt x="1096" y="1162"/>
                    <a:pt x="1096" y="1162"/>
                    <a:pt x="1096" y="1162"/>
                  </a:cubicBezTo>
                  <a:cubicBezTo>
                    <a:pt x="1096" y="1162"/>
                    <a:pt x="1096" y="1162"/>
                    <a:pt x="1096" y="1162"/>
                  </a:cubicBezTo>
                  <a:cubicBezTo>
                    <a:pt x="1096" y="1161"/>
                    <a:pt x="1096" y="1161"/>
                    <a:pt x="1096" y="1161"/>
                  </a:cubicBezTo>
                  <a:cubicBezTo>
                    <a:pt x="1096" y="1161"/>
                    <a:pt x="1096" y="1161"/>
                    <a:pt x="1096" y="1161"/>
                  </a:cubicBezTo>
                  <a:cubicBezTo>
                    <a:pt x="1096" y="1160"/>
                    <a:pt x="1096" y="1160"/>
                    <a:pt x="1096" y="1160"/>
                  </a:cubicBezTo>
                  <a:cubicBezTo>
                    <a:pt x="1097" y="1161"/>
                    <a:pt x="1097" y="1161"/>
                    <a:pt x="1097" y="1161"/>
                  </a:cubicBezTo>
                  <a:cubicBezTo>
                    <a:pt x="1097" y="1160"/>
                    <a:pt x="1097" y="1160"/>
                    <a:pt x="1097" y="1160"/>
                  </a:cubicBezTo>
                  <a:cubicBezTo>
                    <a:pt x="1097" y="1159"/>
                    <a:pt x="1097" y="1159"/>
                    <a:pt x="1097" y="1159"/>
                  </a:cubicBezTo>
                  <a:cubicBezTo>
                    <a:pt x="1098" y="1158"/>
                    <a:pt x="1098" y="1158"/>
                    <a:pt x="1098" y="1158"/>
                  </a:cubicBezTo>
                  <a:cubicBezTo>
                    <a:pt x="1098" y="1157"/>
                    <a:pt x="1098" y="1157"/>
                    <a:pt x="1098" y="1157"/>
                  </a:cubicBezTo>
                  <a:cubicBezTo>
                    <a:pt x="1101" y="1157"/>
                    <a:pt x="1101" y="1157"/>
                    <a:pt x="1101" y="1157"/>
                  </a:cubicBezTo>
                  <a:cubicBezTo>
                    <a:pt x="1102" y="1157"/>
                    <a:pt x="1102" y="1157"/>
                    <a:pt x="1102" y="1157"/>
                  </a:cubicBezTo>
                  <a:cubicBezTo>
                    <a:pt x="1101" y="1157"/>
                    <a:pt x="1101" y="1157"/>
                    <a:pt x="1101" y="1157"/>
                  </a:cubicBezTo>
                  <a:cubicBezTo>
                    <a:pt x="1101" y="1156"/>
                    <a:pt x="1101" y="1156"/>
                    <a:pt x="1101" y="1156"/>
                  </a:cubicBezTo>
                  <a:cubicBezTo>
                    <a:pt x="1101" y="1155"/>
                    <a:pt x="1101" y="1155"/>
                    <a:pt x="1101" y="1155"/>
                  </a:cubicBezTo>
                  <a:cubicBezTo>
                    <a:pt x="1101" y="1154"/>
                    <a:pt x="1101" y="1154"/>
                    <a:pt x="1101" y="1154"/>
                  </a:cubicBezTo>
                  <a:cubicBezTo>
                    <a:pt x="1102" y="1154"/>
                    <a:pt x="1102" y="1154"/>
                    <a:pt x="1102" y="1154"/>
                  </a:cubicBezTo>
                  <a:cubicBezTo>
                    <a:pt x="1104" y="1154"/>
                    <a:pt x="1104" y="1154"/>
                    <a:pt x="1104" y="1154"/>
                  </a:cubicBezTo>
                  <a:cubicBezTo>
                    <a:pt x="1104" y="1153"/>
                    <a:pt x="1104" y="1153"/>
                    <a:pt x="1104" y="1153"/>
                  </a:cubicBezTo>
                  <a:cubicBezTo>
                    <a:pt x="1104" y="1153"/>
                    <a:pt x="1104" y="1153"/>
                    <a:pt x="1104" y="1153"/>
                  </a:cubicBezTo>
                  <a:cubicBezTo>
                    <a:pt x="1104" y="1153"/>
                    <a:pt x="1104" y="1153"/>
                    <a:pt x="1104" y="1153"/>
                  </a:cubicBezTo>
                  <a:cubicBezTo>
                    <a:pt x="1104" y="1152"/>
                    <a:pt x="1104" y="1152"/>
                    <a:pt x="1104" y="1152"/>
                  </a:cubicBezTo>
                  <a:cubicBezTo>
                    <a:pt x="1104" y="1152"/>
                    <a:pt x="1104" y="1152"/>
                    <a:pt x="1104" y="1152"/>
                  </a:cubicBezTo>
                  <a:cubicBezTo>
                    <a:pt x="1104" y="1152"/>
                    <a:pt x="1104" y="1152"/>
                    <a:pt x="1104" y="1152"/>
                  </a:cubicBezTo>
                  <a:cubicBezTo>
                    <a:pt x="1104" y="1151"/>
                    <a:pt x="1104" y="1151"/>
                    <a:pt x="1104" y="1151"/>
                  </a:cubicBezTo>
                  <a:cubicBezTo>
                    <a:pt x="1104" y="1151"/>
                    <a:pt x="1104" y="1151"/>
                    <a:pt x="1104" y="1151"/>
                  </a:cubicBezTo>
                  <a:cubicBezTo>
                    <a:pt x="1106" y="1151"/>
                    <a:pt x="1106" y="1151"/>
                    <a:pt x="1106" y="1151"/>
                  </a:cubicBezTo>
                  <a:cubicBezTo>
                    <a:pt x="1107" y="1152"/>
                    <a:pt x="1107" y="1152"/>
                    <a:pt x="1107" y="1152"/>
                  </a:cubicBezTo>
                  <a:cubicBezTo>
                    <a:pt x="1109" y="1152"/>
                    <a:pt x="1109" y="1152"/>
                    <a:pt x="1109" y="1152"/>
                  </a:cubicBezTo>
                  <a:cubicBezTo>
                    <a:pt x="1109" y="1151"/>
                    <a:pt x="1109" y="1151"/>
                    <a:pt x="1109" y="1151"/>
                  </a:cubicBezTo>
                  <a:cubicBezTo>
                    <a:pt x="1109" y="1150"/>
                    <a:pt x="1109" y="1150"/>
                    <a:pt x="1109" y="1150"/>
                  </a:cubicBezTo>
                  <a:cubicBezTo>
                    <a:pt x="1109" y="1149"/>
                    <a:pt x="1109" y="1149"/>
                    <a:pt x="1109" y="1149"/>
                  </a:cubicBezTo>
                  <a:cubicBezTo>
                    <a:pt x="1109" y="1147"/>
                    <a:pt x="1109" y="1147"/>
                    <a:pt x="1109" y="1147"/>
                  </a:cubicBezTo>
                  <a:cubicBezTo>
                    <a:pt x="1109" y="1146"/>
                    <a:pt x="1109" y="1146"/>
                    <a:pt x="1109" y="1146"/>
                  </a:cubicBezTo>
                  <a:cubicBezTo>
                    <a:pt x="1109" y="1146"/>
                    <a:pt x="1109" y="1146"/>
                    <a:pt x="1109" y="1146"/>
                  </a:cubicBezTo>
                  <a:cubicBezTo>
                    <a:pt x="1109" y="1145"/>
                    <a:pt x="1109" y="1145"/>
                    <a:pt x="1109" y="1145"/>
                  </a:cubicBezTo>
                  <a:cubicBezTo>
                    <a:pt x="1109" y="1145"/>
                    <a:pt x="1109" y="1145"/>
                    <a:pt x="1109" y="1145"/>
                  </a:cubicBezTo>
                  <a:cubicBezTo>
                    <a:pt x="1109" y="1142"/>
                    <a:pt x="1109" y="1142"/>
                    <a:pt x="1109" y="1142"/>
                  </a:cubicBezTo>
                  <a:cubicBezTo>
                    <a:pt x="1109" y="1141"/>
                    <a:pt x="1109" y="1141"/>
                    <a:pt x="1109" y="1141"/>
                  </a:cubicBezTo>
                  <a:cubicBezTo>
                    <a:pt x="1109" y="1139"/>
                    <a:pt x="1109" y="1139"/>
                    <a:pt x="1109" y="1139"/>
                  </a:cubicBezTo>
                  <a:cubicBezTo>
                    <a:pt x="1109" y="1138"/>
                    <a:pt x="1109" y="1138"/>
                    <a:pt x="1109" y="1138"/>
                  </a:cubicBezTo>
                  <a:cubicBezTo>
                    <a:pt x="1109" y="1138"/>
                    <a:pt x="1109" y="1138"/>
                    <a:pt x="1109" y="1138"/>
                  </a:cubicBezTo>
                  <a:cubicBezTo>
                    <a:pt x="1109" y="1138"/>
                    <a:pt x="1109" y="1138"/>
                    <a:pt x="1109" y="1138"/>
                  </a:cubicBezTo>
                  <a:cubicBezTo>
                    <a:pt x="1109" y="1138"/>
                    <a:pt x="1109" y="1138"/>
                    <a:pt x="1109" y="1138"/>
                  </a:cubicBezTo>
                  <a:cubicBezTo>
                    <a:pt x="1109" y="1137"/>
                    <a:pt x="1109" y="1137"/>
                    <a:pt x="1109" y="1137"/>
                  </a:cubicBezTo>
                  <a:cubicBezTo>
                    <a:pt x="1110" y="1135"/>
                    <a:pt x="1110" y="1135"/>
                    <a:pt x="1110" y="1135"/>
                  </a:cubicBezTo>
                  <a:cubicBezTo>
                    <a:pt x="1110" y="1133"/>
                    <a:pt x="1110" y="1133"/>
                    <a:pt x="1110" y="1133"/>
                  </a:cubicBezTo>
                  <a:cubicBezTo>
                    <a:pt x="1110" y="1133"/>
                    <a:pt x="1110" y="1133"/>
                    <a:pt x="1110" y="1133"/>
                  </a:cubicBezTo>
                  <a:cubicBezTo>
                    <a:pt x="1110" y="1133"/>
                    <a:pt x="1110" y="1133"/>
                    <a:pt x="1110" y="1133"/>
                  </a:cubicBezTo>
                  <a:cubicBezTo>
                    <a:pt x="1109" y="1132"/>
                    <a:pt x="1109" y="1132"/>
                    <a:pt x="1109" y="1132"/>
                  </a:cubicBezTo>
                  <a:cubicBezTo>
                    <a:pt x="1109" y="1132"/>
                    <a:pt x="1109" y="1132"/>
                    <a:pt x="1109" y="1132"/>
                  </a:cubicBezTo>
                  <a:cubicBezTo>
                    <a:pt x="1109" y="1132"/>
                    <a:pt x="1109" y="1132"/>
                    <a:pt x="1109" y="1132"/>
                  </a:cubicBezTo>
                  <a:cubicBezTo>
                    <a:pt x="1110" y="1132"/>
                    <a:pt x="1110" y="1132"/>
                    <a:pt x="1110" y="1132"/>
                  </a:cubicBezTo>
                  <a:cubicBezTo>
                    <a:pt x="1110" y="1131"/>
                    <a:pt x="1110" y="1131"/>
                    <a:pt x="1110" y="1131"/>
                  </a:cubicBezTo>
                  <a:cubicBezTo>
                    <a:pt x="1112" y="1131"/>
                    <a:pt x="1112" y="1131"/>
                    <a:pt x="1112" y="1131"/>
                  </a:cubicBezTo>
                  <a:cubicBezTo>
                    <a:pt x="1112" y="1130"/>
                    <a:pt x="1112" y="1130"/>
                    <a:pt x="1112" y="1130"/>
                  </a:cubicBezTo>
                  <a:cubicBezTo>
                    <a:pt x="1113" y="1130"/>
                    <a:pt x="1113" y="1130"/>
                    <a:pt x="1113" y="1130"/>
                  </a:cubicBezTo>
                  <a:cubicBezTo>
                    <a:pt x="1114" y="1125"/>
                    <a:pt x="1114" y="1125"/>
                    <a:pt x="1114" y="1125"/>
                  </a:cubicBezTo>
                  <a:cubicBezTo>
                    <a:pt x="1115" y="1125"/>
                    <a:pt x="1115" y="1125"/>
                    <a:pt x="1115" y="1125"/>
                  </a:cubicBezTo>
                  <a:cubicBezTo>
                    <a:pt x="1115" y="1124"/>
                    <a:pt x="1115" y="1124"/>
                    <a:pt x="1115" y="1124"/>
                  </a:cubicBezTo>
                  <a:cubicBezTo>
                    <a:pt x="1116" y="1123"/>
                    <a:pt x="1116" y="1123"/>
                    <a:pt x="1116" y="1123"/>
                  </a:cubicBezTo>
                  <a:cubicBezTo>
                    <a:pt x="1117" y="1123"/>
                    <a:pt x="1117" y="1123"/>
                    <a:pt x="1117" y="1123"/>
                  </a:cubicBezTo>
                  <a:cubicBezTo>
                    <a:pt x="1119" y="1123"/>
                    <a:pt x="1119" y="1123"/>
                    <a:pt x="1119" y="1123"/>
                  </a:cubicBezTo>
                  <a:cubicBezTo>
                    <a:pt x="1120" y="1123"/>
                    <a:pt x="1120" y="1123"/>
                    <a:pt x="1120" y="1123"/>
                  </a:cubicBezTo>
                  <a:cubicBezTo>
                    <a:pt x="1121" y="1123"/>
                    <a:pt x="1121" y="1123"/>
                    <a:pt x="1121" y="1123"/>
                  </a:cubicBezTo>
                  <a:cubicBezTo>
                    <a:pt x="1121" y="1122"/>
                    <a:pt x="1121" y="1122"/>
                    <a:pt x="1121" y="1122"/>
                  </a:cubicBezTo>
                  <a:cubicBezTo>
                    <a:pt x="1123" y="1123"/>
                    <a:pt x="1123" y="1123"/>
                    <a:pt x="1123" y="1123"/>
                  </a:cubicBezTo>
                  <a:cubicBezTo>
                    <a:pt x="1123" y="1123"/>
                    <a:pt x="1123" y="1123"/>
                    <a:pt x="1123" y="1123"/>
                  </a:cubicBezTo>
                  <a:cubicBezTo>
                    <a:pt x="1124" y="1123"/>
                    <a:pt x="1124" y="1123"/>
                    <a:pt x="1124" y="1123"/>
                  </a:cubicBezTo>
                  <a:cubicBezTo>
                    <a:pt x="1124" y="1124"/>
                    <a:pt x="1124" y="1124"/>
                    <a:pt x="1124" y="1124"/>
                  </a:cubicBezTo>
                  <a:cubicBezTo>
                    <a:pt x="1125" y="1124"/>
                    <a:pt x="1125" y="1124"/>
                    <a:pt x="1125" y="1124"/>
                  </a:cubicBezTo>
                  <a:cubicBezTo>
                    <a:pt x="1126" y="1125"/>
                    <a:pt x="1126" y="1125"/>
                    <a:pt x="1126" y="1125"/>
                  </a:cubicBezTo>
                  <a:cubicBezTo>
                    <a:pt x="1126" y="1124"/>
                    <a:pt x="1126" y="1124"/>
                    <a:pt x="1126" y="1124"/>
                  </a:cubicBezTo>
                  <a:cubicBezTo>
                    <a:pt x="1126" y="1124"/>
                    <a:pt x="1126" y="1124"/>
                    <a:pt x="1126" y="1124"/>
                  </a:cubicBezTo>
                  <a:cubicBezTo>
                    <a:pt x="1126" y="1123"/>
                    <a:pt x="1126" y="1123"/>
                    <a:pt x="1126" y="1123"/>
                  </a:cubicBezTo>
                  <a:cubicBezTo>
                    <a:pt x="1128" y="1122"/>
                    <a:pt x="1128" y="1122"/>
                    <a:pt x="1128" y="1122"/>
                  </a:cubicBezTo>
                  <a:cubicBezTo>
                    <a:pt x="1128" y="1122"/>
                    <a:pt x="1128" y="1122"/>
                    <a:pt x="1128" y="1122"/>
                  </a:cubicBezTo>
                  <a:cubicBezTo>
                    <a:pt x="1128" y="1122"/>
                    <a:pt x="1128" y="1122"/>
                    <a:pt x="1128" y="1122"/>
                  </a:cubicBezTo>
                  <a:cubicBezTo>
                    <a:pt x="1129" y="1120"/>
                    <a:pt x="1129" y="1120"/>
                    <a:pt x="1129" y="1120"/>
                  </a:cubicBezTo>
                  <a:cubicBezTo>
                    <a:pt x="1129" y="1119"/>
                    <a:pt x="1129" y="1119"/>
                    <a:pt x="1129" y="1119"/>
                  </a:cubicBezTo>
                  <a:cubicBezTo>
                    <a:pt x="1130" y="1118"/>
                    <a:pt x="1130" y="1118"/>
                    <a:pt x="1130" y="1118"/>
                  </a:cubicBezTo>
                  <a:cubicBezTo>
                    <a:pt x="1130" y="1117"/>
                    <a:pt x="1130" y="1117"/>
                    <a:pt x="1130" y="1117"/>
                  </a:cubicBezTo>
                  <a:cubicBezTo>
                    <a:pt x="1129" y="1117"/>
                    <a:pt x="1129" y="1117"/>
                    <a:pt x="1129" y="1117"/>
                  </a:cubicBezTo>
                  <a:cubicBezTo>
                    <a:pt x="1129" y="1117"/>
                    <a:pt x="1129" y="1117"/>
                    <a:pt x="1129" y="1117"/>
                  </a:cubicBezTo>
                  <a:cubicBezTo>
                    <a:pt x="1129" y="1116"/>
                    <a:pt x="1129" y="1116"/>
                    <a:pt x="1129" y="1116"/>
                  </a:cubicBezTo>
                  <a:cubicBezTo>
                    <a:pt x="1129" y="1115"/>
                    <a:pt x="1129" y="1115"/>
                    <a:pt x="1129" y="1115"/>
                  </a:cubicBezTo>
                  <a:cubicBezTo>
                    <a:pt x="1129" y="1111"/>
                    <a:pt x="1129" y="1111"/>
                    <a:pt x="1129" y="1111"/>
                  </a:cubicBezTo>
                  <a:cubicBezTo>
                    <a:pt x="1131" y="1111"/>
                    <a:pt x="1131" y="1111"/>
                    <a:pt x="1131" y="1111"/>
                  </a:cubicBezTo>
                  <a:cubicBezTo>
                    <a:pt x="1132" y="1110"/>
                    <a:pt x="1132" y="1110"/>
                    <a:pt x="1132" y="1110"/>
                  </a:cubicBezTo>
                  <a:cubicBezTo>
                    <a:pt x="1131" y="1110"/>
                    <a:pt x="1131" y="1110"/>
                    <a:pt x="1131" y="1110"/>
                  </a:cubicBezTo>
                  <a:cubicBezTo>
                    <a:pt x="1131" y="1109"/>
                    <a:pt x="1131" y="1109"/>
                    <a:pt x="1131" y="1109"/>
                  </a:cubicBezTo>
                  <a:cubicBezTo>
                    <a:pt x="1132" y="1109"/>
                    <a:pt x="1132" y="1109"/>
                    <a:pt x="1132" y="1109"/>
                  </a:cubicBezTo>
                  <a:cubicBezTo>
                    <a:pt x="1132" y="1109"/>
                    <a:pt x="1132" y="1109"/>
                    <a:pt x="1132" y="1109"/>
                  </a:cubicBezTo>
                  <a:cubicBezTo>
                    <a:pt x="1132" y="1108"/>
                    <a:pt x="1132" y="1108"/>
                    <a:pt x="1132" y="1108"/>
                  </a:cubicBezTo>
                  <a:cubicBezTo>
                    <a:pt x="1132" y="1108"/>
                    <a:pt x="1132" y="1108"/>
                    <a:pt x="1132" y="1108"/>
                  </a:cubicBezTo>
                  <a:cubicBezTo>
                    <a:pt x="1132" y="1108"/>
                    <a:pt x="1132" y="1108"/>
                    <a:pt x="1132" y="1108"/>
                  </a:cubicBezTo>
                  <a:cubicBezTo>
                    <a:pt x="1132" y="1105"/>
                    <a:pt x="1132" y="1105"/>
                    <a:pt x="1132" y="1105"/>
                  </a:cubicBezTo>
                  <a:cubicBezTo>
                    <a:pt x="1132" y="1105"/>
                    <a:pt x="1132" y="1105"/>
                    <a:pt x="1132" y="1105"/>
                  </a:cubicBezTo>
                  <a:cubicBezTo>
                    <a:pt x="1133" y="1103"/>
                    <a:pt x="1133" y="1103"/>
                    <a:pt x="1133" y="1103"/>
                  </a:cubicBezTo>
                  <a:cubicBezTo>
                    <a:pt x="1133" y="1103"/>
                    <a:pt x="1133" y="1103"/>
                    <a:pt x="1133" y="1103"/>
                  </a:cubicBezTo>
                  <a:cubicBezTo>
                    <a:pt x="1134" y="1101"/>
                    <a:pt x="1134" y="1101"/>
                    <a:pt x="1134" y="1101"/>
                  </a:cubicBezTo>
                  <a:cubicBezTo>
                    <a:pt x="1134" y="1101"/>
                    <a:pt x="1134" y="1101"/>
                    <a:pt x="1134" y="1101"/>
                  </a:cubicBezTo>
                  <a:cubicBezTo>
                    <a:pt x="1134" y="1100"/>
                    <a:pt x="1134" y="1100"/>
                    <a:pt x="1134" y="1100"/>
                  </a:cubicBezTo>
                  <a:cubicBezTo>
                    <a:pt x="1134" y="1100"/>
                    <a:pt x="1134" y="1100"/>
                    <a:pt x="1134" y="1100"/>
                  </a:cubicBezTo>
                  <a:cubicBezTo>
                    <a:pt x="1134" y="1100"/>
                    <a:pt x="1134" y="1100"/>
                    <a:pt x="1134" y="1100"/>
                  </a:cubicBezTo>
                  <a:cubicBezTo>
                    <a:pt x="1134" y="1098"/>
                    <a:pt x="1134" y="1098"/>
                    <a:pt x="1134" y="1098"/>
                  </a:cubicBezTo>
                  <a:cubicBezTo>
                    <a:pt x="1133" y="1094"/>
                    <a:pt x="1133" y="1094"/>
                    <a:pt x="1133" y="1094"/>
                  </a:cubicBezTo>
                  <a:cubicBezTo>
                    <a:pt x="1133" y="1093"/>
                    <a:pt x="1133" y="1093"/>
                    <a:pt x="1133" y="1093"/>
                  </a:cubicBezTo>
                  <a:cubicBezTo>
                    <a:pt x="1133" y="1093"/>
                    <a:pt x="1133" y="1093"/>
                    <a:pt x="1133" y="1093"/>
                  </a:cubicBezTo>
                  <a:cubicBezTo>
                    <a:pt x="1133" y="1093"/>
                    <a:pt x="1133" y="1093"/>
                    <a:pt x="1133" y="1093"/>
                  </a:cubicBezTo>
                  <a:cubicBezTo>
                    <a:pt x="1134" y="1093"/>
                    <a:pt x="1134" y="1093"/>
                    <a:pt x="1134" y="1093"/>
                  </a:cubicBezTo>
                  <a:cubicBezTo>
                    <a:pt x="1134" y="1093"/>
                    <a:pt x="1134" y="1093"/>
                    <a:pt x="1134" y="1093"/>
                  </a:cubicBezTo>
                  <a:cubicBezTo>
                    <a:pt x="1134" y="1092"/>
                    <a:pt x="1134" y="1092"/>
                    <a:pt x="1134" y="1092"/>
                  </a:cubicBezTo>
                  <a:cubicBezTo>
                    <a:pt x="1134" y="1092"/>
                    <a:pt x="1134" y="1092"/>
                    <a:pt x="1134" y="1092"/>
                  </a:cubicBezTo>
                  <a:cubicBezTo>
                    <a:pt x="1134" y="1091"/>
                    <a:pt x="1134" y="1091"/>
                    <a:pt x="1134" y="1091"/>
                  </a:cubicBezTo>
                  <a:cubicBezTo>
                    <a:pt x="1133" y="1090"/>
                    <a:pt x="1133" y="1090"/>
                    <a:pt x="1133" y="1090"/>
                  </a:cubicBezTo>
                  <a:cubicBezTo>
                    <a:pt x="1133" y="1089"/>
                    <a:pt x="1133" y="1089"/>
                    <a:pt x="1133" y="1089"/>
                  </a:cubicBezTo>
                  <a:cubicBezTo>
                    <a:pt x="1133" y="1089"/>
                    <a:pt x="1133" y="1089"/>
                    <a:pt x="1133" y="1089"/>
                  </a:cubicBezTo>
                  <a:cubicBezTo>
                    <a:pt x="1133" y="1087"/>
                    <a:pt x="1133" y="1087"/>
                    <a:pt x="1133" y="1087"/>
                  </a:cubicBezTo>
                  <a:cubicBezTo>
                    <a:pt x="1133" y="1087"/>
                    <a:pt x="1133" y="1087"/>
                    <a:pt x="1133" y="1087"/>
                  </a:cubicBezTo>
                  <a:cubicBezTo>
                    <a:pt x="1133" y="1086"/>
                    <a:pt x="1133" y="1086"/>
                    <a:pt x="1133" y="1086"/>
                  </a:cubicBezTo>
                  <a:cubicBezTo>
                    <a:pt x="1133" y="1086"/>
                    <a:pt x="1133" y="1086"/>
                    <a:pt x="1133" y="1086"/>
                  </a:cubicBezTo>
                  <a:cubicBezTo>
                    <a:pt x="1134" y="1085"/>
                    <a:pt x="1134" y="1085"/>
                    <a:pt x="1134" y="1085"/>
                  </a:cubicBezTo>
                  <a:cubicBezTo>
                    <a:pt x="1134" y="1085"/>
                    <a:pt x="1134" y="1085"/>
                    <a:pt x="1134" y="1085"/>
                  </a:cubicBezTo>
                  <a:cubicBezTo>
                    <a:pt x="1135" y="1085"/>
                    <a:pt x="1135" y="1085"/>
                    <a:pt x="1135" y="1085"/>
                  </a:cubicBezTo>
                  <a:cubicBezTo>
                    <a:pt x="1135" y="1085"/>
                    <a:pt x="1135" y="1085"/>
                    <a:pt x="1135" y="1085"/>
                  </a:cubicBezTo>
                  <a:cubicBezTo>
                    <a:pt x="1135" y="1084"/>
                    <a:pt x="1135" y="1084"/>
                    <a:pt x="1135" y="1084"/>
                  </a:cubicBezTo>
                  <a:cubicBezTo>
                    <a:pt x="1138" y="1080"/>
                    <a:pt x="1138" y="1080"/>
                    <a:pt x="1138" y="1080"/>
                  </a:cubicBezTo>
                  <a:cubicBezTo>
                    <a:pt x="1139" y="1079"/>
                    <a:pt x="1139" y="1079"/>
                    <a:pt x="1139" y="1079"/>
                  </a:cubicBezTo>
                  <a:cubicBezTo>
                    <a:pt x="1141" y="1075"/>
                    <a:pt x="1141" y="1075"/>
                    <a:pt x="1141" y="1075"/>
                  </a:cubicBezTo>
                  <a:cubicBezTo>
                    <a:pt x="1142" y="1075"/>
                    <a:pt x="1142" y="1075"/>
                    <a:pt x="1142" y="1075"/>
                  </a:cubicBezTo>
                  <a:cubicBezTo>
                    <a:pt x="1142" y="1074"/>
                    <a:pt x="1142" y="1074"/>
                    <a:pt x="1142" y="1074"/>
                  </a:cubicBezTo>
                  <a:cubicBezTo>
                    <a:pt x="1141" y="1075"/>
                    <a:pt x="1141" y="1075"/>
                    <a:pt x="1141" y="1075"/>
                  </a:cubicBezTo>
                  <a:cubicBezTo>
                    <a:pt x="1141" y="1075"/>
                    <a:pt x="1141" y="1075"/>
                    <a:pt x="1141" y="1075"/>
                  </a:cubicBezTo>
                  <a:cubicBezTo>
                    <a:pt x="1141" y="1075"/>
                    <a:pt x="1141" y="1075"/>
                    <a:pt x="1141" y="1075"/>
                  </a:cubicBezTo>
                  <a:cubicBezTo>
                    <a:pt x="1140" y="1076"/>
                    <a:pt x="1140" y="1076"/>
                    <a:pt x="1140" y="1076"/>
                  </a:cubicBezTo>
                  <a:cubicBezTo>
                    <a:pt x="1140" y="1076"/>
                    <a:pt x="1140" y="1076"/>
                    <a:pt x="1140" y="1076"/>
                  </a:cubicBezTo>
                  <a:cubicBezTo>
                    <a:pt x="1139" y="1077"/>
                    <a:pt x="1139" y="1077"/>
                    <a:pt x="1139" y="1077"/>
                  </a:cubicBezTo>
                  <a:cubicBezTo>
                    <a:pt x="1138" y="1078"/>
                    <a:pt x="1138" y="1078"/>
                    <a:pt x="1138" y="1078"/>
                  </a:cubicBezTo>
                  <a:cubicBezTo>
                    <a:pt x="1138" y="1078"/>
                    <a:pt x="1138" y="1078"/>
                    <a:pt x="1138" y="1078"/>
                  </a:cubicBezTo>
                  <a:cubicBezTo>
                    <a:pt x="1137" y="1079"/>
                    <a:pt x="1137" y="1079"/>
                    <a:pt x="1137" y="1079"/>
                  </a:cubicBezTo>
                  <a:cubicBezTo>
                    <a:pt x="1137" y="1079"/>
                    <a:pt x="1137" y="1079"/>
                    <a:pt x="1137" y="1079"/>
                  </a:cubicBezTo>
                  <a:cubicBezTo>
                    <a:pt x="1137" y="1080"/>
                    <a:pt x="1137" y="1080"/>
                    <a:pt x="1137" y="1080"/>
                  </a:cubicBezTo>
                  <a:cubicBezTo>
                    <a:pt x="1137" y="1080"/>
                    <a:pt x="1137" y="1080"/>
                    <a:pt x="1137" y="1080"/>
                  </a:cubicBezTo>
                  <a:cubicBezTo>
                    <a:pt x="1136" y="1080"/>
                    <a:pt x="1136" y="1080"/>
                    <a:pt x="1136" y="1080"/>
                  </a:cubicBezTo>
                  <a:cubicBezTo>
                    <a:pt x="1136" y="1079"/>
                    <a:pt x="1136" y="1079"/>
                    <a:pt x="1136" y="1079"/>
                  </a:cubicBezTo>
                  <a:cubicBezTo>
                    <a:pt x="1137" y="1078"/>
                    <a:pt x="1137" y="1078"/>
                    <a:pt x="1137" y="1078"/>
                  </a:cubicBezTo>
                  <a:cubicBezTo>
                    <a:pt x="1137" y="1077"/>
                    <a:pt x="1137" y="1077"/>
                    <a:pt x="1137" y="1077"/>
                  </a:cubicBezTo>
                  <a:cubicBezTo>
                    <a:pt x="1137" y="1077"/>
                    <a:pt x="1137" y="1077"/>
                    <a:pt x="1137" y="1077"/>
                  </a:cubicBezTo>
                  <a:cubicBezTo>
                    <a:pt x="1137" y="1076"/>
                    <a:pt x="1137" y="1076"/>
                    <a:pt x="1137" y="1076"/>
                  </a:cubicBezTo>
                  <a:cubicBezTo>
                    <a:pt x="1136" y="1076"/>
                    <a:pt x="1136" y="1076"/>
                    <a:pt x="1136" y="1076"/>
                  </a:cubicBezTo>
                  <a:cubicBezTo>
                    <a:pt x="1136" y="1076"/>
                    <a:pt x="1136" y="1076"/>
                    <a:pt x="1136" y="1076"/>
                  </a:cubicBezTo>
                  <a:cubicBezTo>
                    <a:pt x="1136" y="1076"/>
                    <a:pt x="1136" y="1076"/>
                    <a:pt x="1136" y="1076"/>
                  </a:cubicBezTo>
                  <a:cubicBezTo>
                    <a:pt x="1136" y="1077"/>
                    <a:pt x="1136" y="1077"/>
                    <a:pt x="1136" y="1077"/>
                  </a:cubicBezTo>
                  <a:cubicBezTo>
                    <a:pt x="1136" y="1076"/>
                    <a:pt x="1136" y="1076"/>
                    <a:pt x="1136" y="1076"/>
                  </a:cubicBezTo>
                  <a:cubicBezTo>
                    <a:pt x="1136" y="1075"/>
                    <a:pt x="1136" y="1075"/>
                    <a:pt x="1136" y="1075"/>
                  </a:cubicBezTo>
                  <a:cubicBezTo>
                    <a:pt x="1138" y="1075"/>
                    <a:pt x="1138" y="1075"/>
                    <a:pt x="1138" y="1075"/>
                  </a:cubicBezTo>
                  <a:cubicBezTo>
                    <a:pt x="1137" y="1075"/>
                    <a:pt x="1137" y="1075"/>
                    <a:pt x="1137" y="1075"/>
                  </a:cubicBezTo>
                  <a:cubicBezTo>
                    <a:pt x="1137" y="1075"/>
                    <a:pt x="1137" y="1075"/>
                    <a:pt x="1137" y="1075"/>
                  </a:cubicBezTo>
                  <a:cubicBezTo>
                    <a:pt x="1137" y="1075"/>
                    <a:pt x="1137" y="1075"/>
                    <a:pt x="1137" y="1075"/>
                  </a:cubicBezTo>
                  <a:cubicBezTo>
                    <a:pt x="1137" y="1074"/>
                    <a:pt x="1137" y="1074"/>
                    <a:pt x="1137" y="1074"/>
                  </a:cubicBezTo>
                  <a:cubicBezTo>
                    <a:pt x="1137" y="1074"/>
                    <a:pt x="1137" y="1074"/>
                    <a:pt x="1137" y="1074"/>
                  </a:cubicBezTo>
                  <a:cubicBezTo>
                    <a:pt x="1137" y="1074"/>
                    <a:pt x="1137" y="1074"/>
                    <a:pt x="1137" y="1074"/>
                  </a:cubicBezTo>
                  <a:cubicBezTo>
                    <a:pt x="1137" y="1073"/>
                    <a:pt x="1137" y="1073"/>
                    <a:pt x="1137" y="1073"/>
                  </a:cubicBezTo>
                  <a:cubicBezTo>
                    <a:pt x="1137" y="1073"/>
                    <a:pt x="1137" y="1073"/>
                    <a:pt x="1137" y="1073"/>
                  </a:cubicBezTo>
                  <a:cubicBezTo>
                    <a:pt x="1138" y="1073"/>
                    <a:pt x="1138" y="1073"/>
                    <a:pt x="1138" y="1073"/>
                  </a:cubicBezTo>
                  <a:cubicBezTo>
                    <a:pt x="1138" y="1074"/>
                    <a:pt x="1138" y="1074"/>
                    <a:pt x="1138" y="1074"/>
                  </a:cubicBezTo>
                  <a:cubicBezTo>
                    <a:pt x="1137" y="1075"/>
                    <a:pt x="1137" y="1075"/>
                    <a:pt x="1137" y="1075"/>
                  </a:cubicBezTo>
                  <a:cubicBezTo>
                    <a:pt x="1138" y="1074"/>
                    <a:pt x="1138" y="1074"/>
                    <a:pt x="1138" y="1074"/>
                  </a:cubicBezTo>
                  <a:cubicBezTo>
                    <a:pt x="1139" y="1073"/>
                    <a:pt x="1139" y="1073"/>
                    <a:pt x="1139" y="1073"/>
                  </a:cubicBezTo>
                  <a:cubicBezTo>
                    <a:pt x="1140" y="1073"/>
                    <a:pt x="1140" y="1073"/>
                    <a:pt x="1140" y="1073"/>
                  </a:cubicBezTo>
                  <a:cubicBezTo>
                    <a:pt x="1141" y="1072"/>
                    <a:pt x="1141" y="1072"/>
                    <a:pt x="1141" y="1072"/>
                  </a:cubicBezTo>
                  <a:cubicBezTo>
                    <a:pt x="1141" y="1072"/>
                    <a:pt x="1141" y="1072"/>
                    <a:pt x="1141" y="1072"/>
                  </a:cubicBezTo>
                  <a:cubicBezTo>
                    <a:pt x="1141" y="1071"/>
                    <a:pt x="1141" y="1071"/>
                    <a:pt x="1141" y="1071"/>
                  </a:cubicBezTo>
                  <a:cubicBezTo>
                    <a:pt x="1141" y="1071"/>
                    <a:pt x="1141" y="1071"/>
                    <a:pt x="1141" y="1071"/>
                  </a:cubicBezTo>
                  <a:cubicBezTo>
                    <a:pt x="1142" y="1071"/>
                    <a:pt x="1142" y="1071"/>
                    <a:pt x="1142" y="1071"/>
                  </a:cubicBezTo>
                  <a:cubicBezTo>
                    <a:pt x="1142" y="1071"/>
                    <a:pt x="1142" y="1071"/>
                    <a:pt x="1142" y="1071"/>
                  </a:cubicBezTo>
                  <a:cubicBezTo>
                    <a:pt x="1142" y="1071"/>
                    <a:pt x="1142" y="1071"/>
                    <a:pt x="1142" y="1071"/>
                  </a:cubicBezTo>
                  <a:cubicBezTo>
                    <a:pt x="1143" y="1071"/>
                    <a:pt x="1143" y="1071"/>
                    <a:pt x="1143" y="1071"/>
                  </a:cubicBezTo>
                  <a:cubicBezTo>
                    <a:pt x="1143" y="1071"/>
                    <a:pt x="1143" y="1071"/>
                    <a:pt x="1143" y="1071"/>
                  </a:cubicBezTo>
                  <a:cubicBezTo>
                    <a:pt x="1143" y="1071"/>
                    <a:pt x="1143" y="1071"/>
                    <a:pt x="1143" y="1071"/>
                  </a:cubicBezTo>
                  <a:cubicBezTo>
                    <a:pt x="1143" y="1071"/>
                    <a:pt x="1143" y="1071"/>
                    <a:pt x="1143" y="1071"/>
                  </a:cubicBezTo>
                  <a:cubicBezTo>
                    <a:pt x="1143" y="1071"/>
                    <a:pt x="1143" y="1071"/>
                    <a:pt x="1143" y="1071"/>
                  </a:cubicBezTo>
                  <a:cubicBezTo>
                    <a:pt x="1143" y="1072"/>
                    <a:pt x="1143" y="1072"/>
                    <a:pt x="1143" y="1072"/>
                  </a:cubicBezTo>
                  <a:cubicBezTo>
                    <a:pt x="1143" y="1072"/>
                    <a:pt x="1143" y="1072"/>
                    <a:pt x="1143" y="1072"/>
                  </a:cubicBezTo>
                  <a:cubicBezTo>
                    <a:pt x="1142" y="1073"/>
                    <a:pt x="1142" y="1073"/>
                    <a:pt x="1142" y="1073"/>
                  </a:cubicBezTo>
                  <a:cubicBezTo>
                    <a:pt x="1143" y="1073"/>
                    <a:pt x="1143" y="1073"/>
                    <a:pt x="1143" y="1073"/>
                  </a:cubicBezTo>
                  <a:cubicBezTo>
                    <a:pt x="1143" y="1072"/>
                    <a:pt x="1143" y="1072"/>
                    <a:pt x="1143" y="1072"/>
                  </a:cubicBezTo>
                  <a:cubicBezTo>
                    <a:pt x="1144" y="1071"/>
                    <a:pt x="1144" y="1071"/>
                    <a:pt x="1144" y="1071"/>
                  </a:cubicBezTo>
                  <a:cubicBezTo>
                    <a:pt x="1143" y="1071"/>
                    <a:pt x="1143" y="1071"/>
                    <a:pt x="1143" y="1071"/>
                  </a:cubicBezTo>
                  <a:cubicBezTo>
                    <a:pt x="1143" y="1070"/>
                    <a:pt x="1143" y="1070"/>
                    <a:pt x="1143" y="1070"/>
                  </a:cubicBezTo>
                  <a:cubicBezTo>
                    <a:pt x="1141" y="1070"/>
                    <a:pt x="1141" y="1070"/>
                    <a:pt x="1141" y="1070"/>
                  </a:cubicBezTo>
                  <a:cubicBezTo>
                    <a:pt x="1141" y="1071"/>
                    <a:pt x="1141" y="1071"/>
                    <a:pt x="1141" y="1071"/>
                  </a:cubicBezTo>
                  <a:cubicBezTo>
                    <a:pt x="1141" y="1071"/>
                    <a:pt x="1141" y="1071"/>
                    <a:pt x="1141" y="1071"/>
                  </a:cubicBezTo>
                  <a:cubicBezTo>
                    <a:pt x="1140" y="1072"/>
                    <a:pt x="1140" y="1072"/>
                    <a:pt x="1140" y="1072"/>
                  </a:cubicBezTo>
                  <a:cubicBezTo>
                    <a:pt x="1139" y="1072"/>
                    <a:pt x="1139" y="1072"/>
                    <a:pt x="1139" y="1072"/>
                  </a:cubicBezTo>
                  <a:cubicBezTo>
                    <a:pt x="1138" y="1073"/>
                    <a:pt x="1138" y="1073"/>
                    <a:pt x="1138" y="1073"/>
                  </a:cubicBezTo>
                  <a:cubicBezTo>
                    <a:pt x="1138" y="1073"/>
                    <a:pt x="1138" y="1073"/>
                    <a:pt x="1138" y="1073"/>
                  </a:cubicBezTo>
                  <a:cubicBezTo>
                    <a:pt x="1137" y="1072"/>
                    <a:pt x="1137" y="1072"/>
                    <a:pt x="1137" y="1072"/>
                  </a:cubicBezTo>
                  <a:cubicBezTo>
                    <a:pt x="1138" y="1071"/>
                    <a:pt x="1138" y="1071"/>
                    <a:pt x="1138" y="1071"/>
                  </a:cubicBezTo>
                  <a:cubicBezTo>
                    <a:pt x="1138" y="1071"/>
                    <a:pt x="1138" y="1071"/>
                    <a:pt x="1138" y="1071"/>
                  </a:cubicBezTo>
                  <a:cubicBezTo>
                    <a:pt x="1138" y="1071"/>
                    <a:pt x="1138" y="1071"/>
                    <a:pt x="1138" y="1071"/>
                  </a:cubicBezTo>
                  <a:cubicBezTo>
                    <a:pt x="1138" y="1071"/>
                    <a:pt x="1138" y="1071"/>
                    <a:pt x="1138" y="1071"/>
                  </a:cubicBezTo>
                  <a:cubicBezTo>
                    <a:pt x="1138" y="1071"/>
                    <a:pt x="1138" y="1071"/>
                    <a:pt x="1138" y="1071"/>
                  </a:cubicBezTo>
                  <a:cubicBezTo>
                    <a:pt x="1138" y="1070"/>
                    <a:pt x="1138" y="1070"/>
                    <a:pt x="1138" y="1070"/>
                  </a:cubicBezTo>
                  <a:cubicBezTo>
                    <a:pt x="1138" y="1070"/>
                    <a:pt x="1138" y="1070"/>
                    <a:pt x="1138" y="1070"/>
                  </a:cubicBezTo>
                  <a:cubicBezTo>
                    <a:pt x="1138" y="1069"/>
                    <a:pt x="1138" y="1069"/>
                    <a:pt x="1138" y="1069"/>
                  </a:cubicBezTo>
                  <a:cubicBezTo>
                    <a:pt x="1140" y="1068"/>
                    <a:pt x="1140" y="1068"/>
                    <a:pt x="1140" y="1068"/>
                  </a:cubicBezTo>
                  <a:cubicBezTo>
                    <a:pt x="1140" y="1068"/>
                    <a:pt x="1140" y="1068"/>
                    <a:pt x="1140" y="1068"/>
                  </a:cubicBezTo>
                  <a:cubicBezTo>
                    <a:pt x="1142" y="1068"/>
                    <a:pt x="1142" y="1068"/>
                    <a:pt x="1142" y="1068"/>
                  </a:cubicBezTo>
                  <a:cubicBezTo>
                    <a:pt x="1142" y="1068"/>
                    <a:pt x="1142" y="1068"/>
                    <a:pt x="1142" y="1068"/>
                  </a:cubicBezTo>
                  <a:cubicBezTo>
                    <a:pt x="1142" y="1068"/>
                    <a:pt x="1142" y="1068"/>
                    <a:pt x="1142" y="1068"/>
                  </a:cubicBezTo>
                  <a:cubicBezTo>
                    <a:pt x="1142" y="1067"/>
                    <a:pt x="1142" y="1067"/>
                    <a:pt x="1142" y="1067"/>
                  </a:cubicBezTo>
                  <a:cubicBezTo>
                    <a:pt x="1142" y="1067"/>
                    <a:pt x="1142" y="1067"/>
                    <a:pt x="1142" y="1067"/>
                  </a:cubicBezTo>
                  <a:cubicBezTo>
                    <a:pt x="1142" y="1066"/>
                    <a:pt x="1142" y="1066"/>
                    <a:pt x="1142" y="1066"/>
                  </a:cubicBezTo>
                  <a:cubicBezTo>
                    <a:pt x="1142" y="1066"/>
                    <a:pt x="1142" y="1066"/>
                    <a:pt x="1142" y="1066"/>
                  </a:cubicBezTo>
                  <a:cubicBezTo>
                    <a:pt x="1142" y="1066"/>
                    <a:pt x="1142" y="1066"/>
                    <a:pt x="1142" y="1066"/>
                  </a:cubicBezTo>
                  <a:cubicBezTo>
                    <a:pt x="1142" y="1066"/>
                    <a:pt x="1142" y="1066"/>
                    <a:pt x="1142" y="1066"/>
                  </a:cubicBezTo>
                  <a:cubicBezTo>
                    <a:pt x="1142" y="1066"/>
                    <a:pt x="1142" y="1066"/>
                    <a:pt x="1142" y="1066"/>
                  </a:cubicBezTo>
                  <a:cubicBezTo>
                    <a:pt x="1142" y="1066"/>
                    <a:pt x="1142" y="1066"/>
                    <a:pt x="1142" y="1066"/>
                  </a:cubicBezTo>
                  <a:cubicBezTo>
                    <a:pt x="1142" y="1065"/>
                    <a:pt x="1142" y="1065"/>
                    <a:pt x="1142" y="1065"/>
                  </a:cubicBezTo>
                  <a:cubicBezTo>
                    <a:pt x="1143" y="1065"/>
                    <a:pt x="1143" y="1065"/>
                    <a:pt x="1143" y="1065"/>
                  </a:cubicBezTo>
                  <a:cubicBezTo>
                    <a:pt x="1141" y="1063"/>
                    <a:pt x="1141" y="1063"/>
                    <a:pt x="1141" y="1063"/>
                  </a:cubicBezTo>
                  <a:cubicBezTo>
                    <a:pt x="1140" y="1063"/>
                    <a:pt x="1140" y="1063"/>
                    <a:pt x="1140" y="1063"/>
                  </a:cubicBezTo>
                  <a:cubicBezTo>
                    <a:pt x="1140" y="1063"/>
                    <a:pt x="1140" y="1063"/>
                    <a:pt x="1140" y="1063"/>
                  </a:cubicBezTo>
                  <a:cubicBezTo>
                    <a:pt x="1140" y="1062"/>
                    <a:pt x="1140" y="1062"/>
                    <a:pt x="1140" y="1062"/>
                  </a:cubicBezTo>
                  <a:cubicBezTo>
                    <a:pt x="1140" y="1062"/>
                    <a:pt x="1140" y="1062"/>
                    <a:pt x="1140" y="1062"/>
                  </a:cubicBezTo>
                  <a:cubicBezTo>
                    <a:pt x="1140" y="1062"/>
                    <a:pt x="1140" y="1062"/>
                    <a:pt x="1140" y="1062"/>
                  </a:cubicBezTo>
                  <a:cubicBezTo>
                    <a:pt x="1140" y="1062"/>
                    <a:pt x="1140" y="1062"/>
                    <a:pt x="1140" y="1062"/>
                  </a:cubicBezTo>
                  <a:cubicBezTo>
                    <a:pt x="1140" y="1062"/>
                    <a:pt x="1140" y="1062"/>
                    <a:pt x="1140" y="1062"/>
                  </a:cubicBezTo>
                  <a:cubicBezTo>
                    <a:pt x="1140" y="1062"/>
                    <a:pt x="1140" y="1062"/>
                    <a:pt x="1140" y="1062"/>
                  </a:cubicBezTo>
                  <a:cubicBezTo>
                    <a:pt x="1140" y="1061"/>
                    <a:pt x="1140" y="1061"/>
                    <a:pt x="1140" y="1061"/>
                  </a:cubicBezTo>
                  <a:cubicBezTo>
                    <a:pt x="1140" y="1061"/>
                    <a:pt x="1140" y="1061"/>
                    <a:pt x="1140" y="1061"/>
                  </a:cubicBezTo>
                  <a:cubicBezTo>
                    <a:pt x="1140" y="1061"/>
                    <a:pt x="1140" y="1061"/>
                    <a:pt x="1140" y="1061"/>
                  </a:cubicBezTo>
                  <a:cubicBezTo>
                    <a:pt x="1140" y="1060"/>
                    <a:pt x="1140" y="1060"/>
                    <a:pt x="1140" y="1060"/>
                  </a:cubicBezTo>
                  <a:cubicBezTo>
                    <a:pt x="1140" y="1059"/>
                    <a:pt x="1140" y="1059"/>
                    <a:pt x="1140" y="1059"/>
                  </a:cubicBezTo>
                  <a:cubicBezTo>
                    <a:pt x="1142" y="1058"/>
                    <a:pt x="1142" y="1058"/>
                    <a:pt x="1142" y="1058"/>
                  </a:cubicBezTo>
                  <a:cubicBezTo>
                    <a:pt x="1142" y="1058"/>
                    <a:pt x="1142" y="1058"/>
                    <a:pt x="1142" y="1058"/>
                  </a:cubicBezTo>
                  <a:cubicBezTo>
                    <a:pt x="1143" y="1058"/>
                    <a:pt x="1143" y="1058"/>
                    <a:pt x="1143" y="1058"/>
                  </a:cubicBezTo>
                  <a:cubicBezTo>
                    <a:pt x="1143" y="1058"/>
                    <a:pt x="1143" y="1058"/>
                    <a:pt x="1143" y="1058"/>
                  </a:cubicBezTo>
                  <a:cubicBezTo>
                    <a:pt x="1143" y="1058"/>
                    <a:pt x="1143" y="1058"/>
                    <a:pt x="1143" y="1058"/>
                  </a:cubicBezTo>
                  <a:cubicBezTo>
                    <a:pt x="1143" y="1057"/>
                    <a:pt x="1143" y="1057"/>
                    <a:pt x="1143" y="1057"/>
                  </a:cubicBezTo>
                  <a:cubicBezTo>
                    <a:pt x="1143" y="1057"/>
                    <a:pt x="1143" y="1057"/>
                    <a:pt x="1143" y="1057"/>
                  </a:cubicBezTo>
                  <a:cubicBezTo>
                    <a:pt x="1143" y="1057"/>
                    <a:pt x="1143" y="1057"/>
                    <a:pt x="1143" y="1057"/>
                  </a:cubicBezTo>
                  <a:cubicBezTo>
                    <a:pt x="1144" y="1057"/>
                    <a:pt x="1144" y="1057"/>
                    <a:pt x="1144" y="1057"/>
                  </a:cubicBezTo>
                  <a:cubicBezTo>
                    <a:pt x="1145" y="1057"/>
                    <a:pt x="1145" y="1057"/>
                    <a:pt x="1145" y="1057"/>
                  </a:cubicBezTo>
                  <a:cubicBezTo>
                    <a:pt x="1146" y="1058"/>
                    <a:pt x="1146" y="1058"/>
                    <a:pt x="1146" y="1058"/>
                  </a:cubicBezTo>
                  <a:cubicBezTo>
                    <a:pt x="1147" y="1058"/>
                    <a:pt x="1147" y="1058"/>
                    <a:pt x="1147" y="1058"/>
                  </a:cubicBezTo>
                  <a:cubicBezTo>
                    <a:pt x="1147" y="1059"/>
                    <a:pt x="1147" y="1059"/>
                    <a:pt x="1147" y="1059"/>
                  </a:cubicBezTo>
                  <a:cubicBezTo>
                    <a:pt x="1147" y="1059"/>
                    <a:pt x="1147" y="1059"/>
                    <a:pt x="1147" y="1059"/>
                  </a:cubicBezTo>
                  <a:cubicBezTo>
                    <a:pt x="1146" y="1060"/>
                    <a:pt x="1146" y="1060"/>
                    <a:pt x="1146" y="1060"/>
                  </a:cubicBezTo>
                  <a:cubicBezTo>
                    <a:pt x="1145" y="1061"/>
                    <a:pt x="1145" y="1061"/>
                    <a:pt x="1145" y="1061"/>
                  </a:cubicBezTo>
                  <a:cubicBezTo>
                    <a:pt x="1145" y="1063"/>
                    <a:pt x="1145" y="1063"/>
                    <a:pt x="1145" y="1063"/>
                  </a:cubicBezTo>
                  <a:cubicBezTo>
                    <a:pt x="1146" y="1064"/>
                    <a:pt x="1146" y="1064"/>
                    <a:pt x="1146" y="1064"/>
                  </a:cubicBezTo>
                  <a:cubicBezTo>
                    <a:pt x="1146" y="1065"/>
                    <a:pt x="1146" y="1065"/>
                    <a:pt x="1146" y="1065"/>
                  </a:cubicBezTo>
                  <a:cubicBezTo>
                    <a:pt x="1146" y="1065"/>
                    <a:pt x="1146" y="1065"/>
                    <a:pt x="1146" y="1065"/>
                  </a:cubicBezTo>
                  <a:cubicBezTo>
                    <a:pt x="1147" y="1064"/>
                    <a:pt x="1147" y="1064"/>
                    <a:pt x="1147" y="1064"/>
                  </a:cubicBezTo>
                  <a:cubicBezTo>
                    <a:pt x="1147" y="1064"/>
                    <a:pt x="1147" y="1064"/>
                    <a:pt x="1147" y="1064"/>
                  </a:cubicBezTo>
                  <a:cubicBezTo>
                    <a:pt x="1147" y="1064"/>
                    <a:pt x="1147" y="1064"/>
                    <a:pt x="1147" y="1064"/>
                  </a:cubicBezTo>
                  <a:cubicBezTo>
                    <a:pt x="1147" y="1064"/>
                    <a:pt x="1147" y="1064"/>
                    <a:pt x="1147" y="1064"/>
                  </a:cubicBezTo>
                  <a:cubicBezTo>
                    <a:pt x="1147" y="1063"/>
                    <a:pt x="1147" y="1063"/>
                    <a:pt x="1147" y="1063"/>
                  </a:cubicBezTo>
                  <a:cubicBezTo>
                    <a:pt x="1148" y="1064"/>
                    <a:pt x="1148" y="1064"/>
                    <a:pt x="1148" y="1064"/>
                  </a:cubicBezTo>
                  <a:cubicBezTo>
                    <a:pt x="1148" y="1064"/>
                    <a:pt x="1148" y="1064"/>
                    <a:pt x="1148" y="1064"/>
                  </a:cubicBezTo>
                  <a:cubicBezTo>
                    <a:pt x="1148" y="1065"/>
                    <a:pt x="1148" y="1065"/>
                    <a:pt x="1148" y="1065"/>
                  </a:cubicBezTo>
                  <a:cubicBezTo>
                    <a:pt x="1148" y="1066"/>
                    <a:pt x="1148" y="1066"/>
                    <a:pt x="1148" y="1066"/>
                  </a:cubicBezTo>
                  <a:cubicBezTo>
                    <a:pt x="1148" y="1067"/>
                    <a:pt x="1148" y="1067"/>
                    <a:pt x="1148" y="1067"/>
                  </a:cubicBezTo>
                  <a:cubicBezTo>
                    <a:pt x="1147" y="1067"/>
                    <a:pt x="1147" y="1067"/>
                    <a:pt x="1147" y="1067"/>
                  </a:cubicBezTo>
                  <a:cubicBezTo>
                    <a:pt x="1146" y="1067"/>
                    <a:pt x="1146" y="1067"/>
                    <a:pt x="1146" y="1067"/>
                  </a:cubicBezTo>
                  <a:cubicBezTo>
                    <a:pt x="1145" y="1068"/>
                    <a:pt x="1145" y="1068"/>
                    <a:pt x="1145" y="1068"/>
                  </a:cubicBezTo>
                  <a:cubicBezTo>
                    <a:pt x="1144" y="1068"/>
                    <a:pt x="1144" y="1068"/>
                    <a:pt x="1144" y="1068"/>
                  </a:cubicBezTo>
                  <a:cubicBezTo>
                    <a:pt x="1143" y="1068"/>
                    <a:pt x="1143" y="1068"/>
                    <a:pt x="1143" y="1068"/>
                  </a:cubicBezTo>
                  <a:cubicBezTo>
                    <a:pt x="1143" y="1069"/>
                    <a:pt x="1143" y="1069"/>
                    <a:pt x="1143" y="1069"/>
                  </a:cubicBezTo>
                  <a:cubicBezTo>
                    <a:pt x="1144" y="1070"/>
                    <a:pt x="1144" y="1070"/>
                    <a:pt x="1144" y="1070"/>
                  </a:cubicBezTo>
                  <a:cubicBezTo>
                    <a:pt x="1144" y="1071"/>
                    <a:pt x="1144" y="1071"/>
                    <a:pt x="1144" y="1071"/>
                  </a:cubicBezTo>
                  <a:cubicBezTo>
                    <a:pt x="1144" y="1071"/>
                    <a:pt x="1144" y="1071"/>
                    <a:pt x="1144" y="1071"/>
                  </a:cubicBezTo>
                  <a:cubicBezTo>
                    <a:pt x="1145" y="1070"/>
                    <a:pt x="1145" y="1070"/>
                    <a:pt x="1145" y="1070"/>
                  </a:cubicBezTo>
                  <a:cubicBezTo>
                    <a:pt x="1146" y="1069"/>
                    <a:pt x="1146" y="1069"/>
                    <a:pt x="1146" y="1069"/>
                  </a:cubicBezTo>
                  <a:cubicBezTo>
                    <a:pt x="1149" y="1067"/>
                    <a:pt x="1149" y="1067"/>
                    <a:pt x="1149" y="1067"/>
                  </a:cubicBezTo>
                  <a:cubicBezTo>
                    <a:pt x="1150" y="1066"/>
                    <a:pt x="1150" y="1066"/>
                    <a:pt x="1150" y="1066"/>
                  </a:cubicBezTo>
                  <a:cubicBezTo>
                    <a:pt x="1153" y="1066"/>
                    <a:pt x="1153" y="1066"/>
                    <a:pt x="1153" y="1066"/>
                  </a:cubicBezTo>
                  <a:cubicBezTo>
                    <a:pt x="1159" y="1065"/>
                    <a:pt x="1159" y="1065"/>
                    <a:pt x="1159" y="1065"/>
                  </a:cubicBezTo>
                  <a:cubicBezTo>
                    <a:pt x="1160" y="1065"/>
                    <a:pt x="1160" y="1065"/>
                    <a:pt x="1160" y="1065"/>
                  </a:cubicBezTo>
                  <a:cubicBezTo>
                    <a:pt x="1160" y="1065"/>
                    <a:pt x="1160" y="1065"/>
                    <a:pt x="1160" y="1065"/>
                  </a:cubicBezTo>
                  <a:cubicBezTo>
                    <a:pt x="1160" y="1065"/>
                    <a:pt x="1160" y="1065"/>
                    <a:pt x="1160" y="1065"/>
                  </a:cubicBezTo>
                  <a:cubicBezTo>
                    <a:pt x="1161" y="1065"/>
                    <a:pt x="1161" y="1065"/>
                    <a:pt x="1161" y="1065"/>
                  </a:cubicBezTo>
                  <a:cubicBezTo>
                    <a:pt x="1161" y="1065"/>
                    <a:pt x="1161" y="1065"/>
                    <a:pt x="1161" y="1065"/>
                  </a:cubicBezTo>
                  <a:cubicBezTo>
                    <a:pt x="1162" y="1064"/>
                    <a:pt x="1162" y="1064"/>
                    <a:pt x="1162" y="1064"/>
                  </a:cubicBezTo>
                  <a:cubicBezTo>
                    <a:pt x="1162" y="1064"/>
                    <a:pt x="1162" y="1064"/>
                    <a:pt x="1162" y="1064"/>
                  </a:cubicBezTo>
                  <a:cubicBezTo>
                    <a:pt x="1162" y="1064"/>
                    <a:pt x="1162" y="1064"/>
                    <a:pt x="1162" y="1064"/>
                  </a:cubicBezTo>
                  <a:cubicBezTo>
                    <a:pt x="1162" y="1064"/>
                    <a:pt x="1162" y="1064"/>
                    <a:pt x="1162" y="1064"/>
                  </a:cubicBezTo>
                  <a:cubicBezTo>
                    <a:pt x="1162" y="1063"/>
                    <a:pt x="1162" y="1063"/>
                    <a:pt x="1162" y="1063"/>
                  </a:cubicBezTo>
                  <a:cubicBezTo>
                    <a:pt x="1162" y="1063"/>
                    <a:pt x="1162" y="1063"/>
                    <a:pt x="1162" y="1063"/>
                  </a:cubicBezTo>
                  <a:cubicBezTo>
                    <a:pt x="1163" y="1062"/>
                    <a:pt x="1163" y="1062"/>
                    <a:pt x="1163" y="1062"/>
                  </a:cubicBezTo>
                  <a:cubicBezTo>
                    <a:pt x="1163" y="1061"/>
                    <a:pt x="1163" y="1061"/>
                    <a:pt x="1163" y="1061"/>
                  </a:cubicBezTo>
                  <a:cubicBezTo>
                    <a:pt x="1163" y="1060"/>
                    <a:pt x="1163" y="1060"/>
                    <a:pt x="1163" y="1060"/>
                  </a:cubicBezTo>
                  <a:cubicBezTo>
                    <a:pt x="1163" y="1060"/>
                    <a:pt x="1163" y="1060"/>
                    <a:pt x="1163" y="1060"/>
                  </a:cubicBezTo>
                  <a:cubicBezTo>
                    <a:pt x="1163" y="1059"/>
                    <a:pt x="1163" y="1059"/>
                    <a:pt x="1163" y="1059"/>
                  </a:cubicBezTo>
                  <a:cubicBezTo>
                    <a:pt x="1163" y="1058"/>
                    <a:pt x="1163" y="1058"/>
                    <a:pt x="1163" y="1058"/>
                  </a:cubicBezTo>
                  <a:cubicBezTo>
                    <a:pt x="1163" y="1057"/>
                    <a:pt x="1163" y="1057"/>
                    <a:pt x="1163" y="1057"/>
                  </a:cubicBezTo>
                  <a:cubicBezTo>
                    <a:pt x="1164" y="1056"/>
                    <a:pt x="1164" y="1056"/>
                    <a:pt x="1164" y="1056"/>
                  </a:cubicBezTo>
                  <a:cubicBezTo>
                    <a:pt x="1164" y="1053"/>
                    <a:pt x="1164" y="1053"/>
                    <a:pt x="1164" y="1053"/>
                  </a:cubicBezTo>
                  <a:cubicBezTo>
                    <a:pt x="1164" y="1051"/>
                    <a:pt x="1164" y="1051"/>
                    <a:pt x="1164" y="1051"/>
                  </a:cubicBezTo>
                  <a:cubicBezTo>
                    <a:pt x="1165" y="1051"/>
                    <a:pt x="1165" y="1051"/>
                    <a:pt x="1165" y="1051"/>
                  </a:cubicBezTo>
                  <a:cubicBezTo>
                    <a:pt x="1164" y="1050"/>
                    <a:pt x="1164" y="1050"/>
                    <a:pt x="1164" y="1050"/>
                  </a:cubicBezTo>
                  <a:cubicBezTo>
                    <a:pt x="1163" y="1050"/>
                    <a:pt x="1163" y="1050"/>
                    <a:pt x="1163" y="1050"/>
                  </a:cubicBezTo>
                  <a:cubicBezTo>
                    <a:pt x="1163" y="1049"/>
                    <a:pt x="1163" y="1049"/>
                    <a:pt x="1163" y="1049"/>
                  </a:cubicBezTo>
                  <a:cubicBezTo>
                    <a:pt x="1163" y="1049"/>
                    <a:pt x="1163" y="1049"/>
                    <a:pt x="1163" y="1049"/>
                  </a:cubicBezTo>
                  <a:cubicBezTo>
                    <a:pt x="1163" y="1048"/>
                    <a:pt x="1163" y="1048"/>
                    <a:pt x="1163" y="1048"/>
                  </a:cubicBezTo>
                  <a:cubicBezTo>
                    <a:pt x="1163" y="1048"/>
                    <a:pt x="1163" y="1048"/>
                    <a:pt x="1163" y="1048"/>
                  </a:cubicBezTo>
                  <a:cubicBezTo>
                    <a:pt x="1164" y="1048"/>
                    <a:pt x="1164" y="1048"/>
                    <a:pt x="1164" y="1048"/>
                  </a:cubicBezTo>
                  <a:cubicBezTo>
                    <a:pt x="1164" y="1048"/>
                    <a:pt x="1164" y="1048"/>
                    <a:pt x="1164" y="1048"/>
                  </a:cubicBezTo>
                  <a:cubicBezTo>
                    <a:pt x="1164" y="1048"/>
                    <a:pt x="1164" y="1048"/>
                    <a:pt x="1164" y="1048"/>
                  </a:cubicBezTo>
                  <a:cubicBezTo>
                    <a:pt x="1164" y="1048"/>
                    <a:pt x="1164" y="1048"/>
                    <a:pt x="1164" y="1048"/>
                  </a:cubicBezTo>
                  <a:cubicBezTo>
                    <a:pt x="1164" y="1047"/>
                    <a:pt x="1164" y="1047"/>
                    <a:pt x="1164" y="1047"/>
                  </a:cubicBezTo>
                  <a:cubicBezTo>
                    <a:pt x="1165" y="1047"/>
                    <a:pt x="1165" y="1047"/>
                    <a:pt x="1165" y="1047"/>
                  </a:cubicBezTo>
                  <a:cubicBezTo>
                    <a:pt x="1165" y="1047"/>
                    <a:pt x="1165" y="1047"/>
                    <a:pt x="1165" y="1047"/>
                  </a:cubicBezTo>
                  <a:cubicBezTo>
                    <a:pt x="1165" y="1046"/>
                    <a:pt x="1165" y="1046"/>
                    <a:pt x="1165" y="1046"/>
                  </a:cubicBezTo>
                  <a:cubicBezTo>
                    <a:pt x="1165" y="1046"/>
                    <a:pt x="1165" y="1046"/>
                    <a:pt x="1165" y="1046"/>
                  </a:cubicBezTo>
                  <a:cubicBezTo>
                    <a:pt x="1166" y="1045"/>
                    <a:pt x="1166" y="1045"/>
                    <a:pt x="1166" y="1045"/>
                  </a:cubicBezTo>
                  <a:cubicBezTo>
                    <a:pt x="1166" y="1045"/>
                    <a:pt x="1166" y="1045"/>
                    <a:pt x="1166" y="1045"/>
                  </a:cubicBezTo>
                  <a:cubicBezTo>
                    <a:pt x="1166" y="1044"/>
                    <a:pt x="1166" y="1044"/>
                    <a:pt x="1166" y="1044"/>
                  </a:cubicBezTo>
                  <a:cubicBezTo>
                    <a:pt x="1166" y="1044"/>
                    <a:pt x="1166" y="1044"/>
                    <a:pt x="1166" y="1044"/>
                  </a:cubicBezTo>
                  <a:cubicBezTo>
                    <a:pt x="1166" y="1043"/>
                    <a:pt x="1166" y="1043"/>
                    <a:pt x="1166" y="1043"/>
                  </a:cubicBezTo>
                  <a:cubicBezTo>
                    <a:pt x="1166" y="1041"/>
                    <a:pt x="1166" y="1041"/>
                    <a:pt x="1166" y="1041"/>
                  </a:cubicBezTo>
                  <a:cubicBezTo>
                    <a:pt x="1166" y="1041"/>
                    <a:pt x="1166" y="1041"/>
                    <a:pt x="1166" y="1041"/>
                  </a:cubicBezTo>
                  <a:cubicBezTo>
                    <a:pt x="1166" y="1040"/>
                    <a:pt x="1166" y="1040"/>
                    <a:pt x="1166" y="1040"/>
                  </a:cubicBezTo>
                  <a:cubicBezTo>
                    <a:pt x="1165" y="1039"/>
                    <a:pt x="1165" y="1039"/>
                    <a:pt x="1165" y="1039"/>
                  </a:cubicBezTo>
                  <a:cubicBezTo>
                    <a:pt x="1166" y="1039"/>
                    <a:pt x="1166" y="1039"/>
                    <a:pt x="1166" y="1039"/>
                  </a:cubicBezTo>
                  <a:cubicBezTo>
                    <a:pt x="1166" y="1039"/>
                    <a:pt x="1166" y="1039"/>
                    <a:pt x="1166" y="1039"/>
                  </a:cubicBezTo>
                  <a:cubicBezTo>
                    <a:pt x="1166" y="1038"/>
                    <a:pt x="1166" y="1038"/>
                    <a:pt x="1166" y="1038"/>
                  </a:cubicBezTo>
                  <a:cubicBezTo>
                    <a:pt x="1166" y="1037"/>
                    <a:pt x="1166" y="1037"/>
                    <a:pt x="1166" y="1037"/>
                  </a:cubicBezTo>
                  <a:cubicBezTo>
                    <a:pt x="1165" y="1037"/>
                    <a:pt x="1165" y="1037"/>
                    <a:pt x="1165" y="1037"/>
                  </a:cubicBezTo>
                  <a:cubicBezTo>
                    <a:pt x="1165" y="1037"/>
                    <a:pt x="1165" y="1037"/>
                    <a:pt x="1165" y="1037"/>
                  </a:cubicBezTo>
                  <a:cubicBezTo>
                    <a:pt x="1165" y="1038"/>
                    <a:pt x="1165" y="1038"/>
                    <a:pt x="1165" y="1038"/>
                  </a:cubicBezTo>
                  <a:cubicBezTo>
                    <a:pt x="1165" y="1038"/>
                    <a:pt x="1165" y="1038"/>
                    <a:pt x="1165" y="1038"/>
                  </a:cubicBezTo>
                  <a:cubicBezTo>
                    <a:pt x="1164" y="1038"/>
                    <a:pt x="1164" y="1038"/>
                    <a:pt x="1164" y="1038"/>
                  </a:cubicBezTo>
                  <a:cubicBezTo>
                    <a:pt x="1164" y="1038"/>
                    <a:pt x="1164" y="1038"/>
                    <a:pt x="1164" y="1038"/>
                  </a:cubicBezTo>
                  <a:cubicBezTo>
                    <a:pt x="1164" y="1038"/>
                    <a:pt x="1164" y="1038"/>
                    <a:pt x="1164" y="1038"/>
                  </a:cubicBezTo>
                  <a:cubicBezTo>
                    <a:pt x="1164" y="1038"/>
                    <a:pt x="1164" y="1038"/>
                    <a:pt x="1164" y="1038"/>
                  </a:cubicBezTo>
                  <a:cubicBezTo>
                    <a:pt x="1164" y="1038"/>
                    <a:pt x="1164" y="1038"/>
                    <a:pt x="1164" y="1038"/>
                  </a:cubicBezTo>
                  <a:cubicBezTo>
                    <a:pt x="1163" y="1038"/>
                    <a:pt x="1163" y="1038"/>
                    <a:pt x="1163" y="1038"/>
                  </a:cubicBezTo>
                  <a:cubicBezTo>
                    <a:pt x="1163" y="1038"/>
                    <a:pt x="1163" y="1038"/>
                    <a:pt x="1163" y="1038"/>
                  </a:cubicBezTo>
                  <a:cubicBezTo>
                    <a:pt x="1163" y="1037"/>
                    <a:pt x="1163" y="1037"/>
                    <a:pt x="1163" y="1037"/>
                  </a:cubicBezTo>
                  <a:cubicBezTo>
                    <a:pt x="1163" y="1037"/>
                    <a:pt x="1163" y="1037"/>
                    <a:pt x="1163" y="1037"/>
                  </a:cubicBezTo>
                  <a:cubicBezTo>
                    <a:pt x="1163" y="1037"/>
                    <a:pt x="1163" y="1037"/>
                    <a:pt x="1163" y="1037"/>
                  </a:cubicBezTo>
                  <a:cubicBezTo>
                    <a:pt x="1163" y="1038"/>
                    <a:pt x="1163" y="1038"/>
                    <a:pt x="1163" y="1038"/>
                  </a:cubicBezTo>
                  <a:cubicBezTo>
                    <a:pt x="1163" y="1038"/>
                    <a:pt x="1163" y="1038"/>
                    <a:pt x="1163" y="1038"/>
                  </a:cubicBezTo>
                  <a:cubicBezTo>
                    <a:pt x="1163" y="1038"/>
                    <a:pt x="1163" y="1038"/>
                    <a:pt x="1163" y="1038"/>
                  </a:cubicBezTo>
                  <a:cubicBezTo>
                    <a:pt x="1162" y="1038"/>
                    <a:pt x="1162" y="1038"/>
                    <a:pt x="1162" y="1038"/>
                  </a:cubicBezTo>
                  <a:cubicBezTo>
                    <a:pt x="1162" y="1038"/>
                    <a:pt x="1162" y="1038"/>
                    <a:pt x="1162" y="1038"/>
                  </a:cubicBezTo>
                  <a:cubicBezTo>
                    <a:pt x="1161" y="1037"/>
                    <a:pt x="1161" y="1037"/>
                    <a:pt x="1161" y="1037"/>
                  </a:cubicBezTo>
                  <a:cubicBezTo>
                    <a:pt x="1161" y="1036"/>
                    <a:pt x="1161" y="1036"/>
                    <a:pt x="1161" y="1036"/>
                  </a:cubicBezTo>
                  <a:cubicBezTo>
                    <a:pt x="1162" y="1036"/>
                    <a:pt x="1162" y="1036"/>
                    <a:pt x="1162" y="1036"/>
                  </a:cubicBezTo>
                  <a:cubicBezTo>
                    <a:pt x="1162" y="1036"/>
                    <a:pt x="1162" y="1036"/>
                    <a:pt x="1162" y="1036"/>
                  </a:cubicBezTo>
                  <a:cubicBezTo>
                    <a:pt x="1162" y="1036"/>
                    <a:pt x="1162" y="1036"/>
                    <a:pt x="1162" y="1036"/>
                  </a:cubicBezTo>
                  <a:cubicBezTo>
                    <a:pt x="1162" y="1035"/>
                    <a:pt x="1162" y="1035"/>
                    <a:pt x="1162" y="1035"/>
                  </a:cubicBezTo>
                  <a:cubicBezTo>
                    <a:pt x="1163" y="1035"/>
                    <a:pt x="1163" y="1035"/>
                    <a:pt x="1163" y="1035"/>
                  </a:cubicBezTo>
                  <a:cubicBezTo>
                    <a:pt x="1163" y="1035"/>
                    <a:pt x="1163" y="1035"/>
                    <a:pt x="1163" y="1035"/>
                  </a:cubicBezTo>
                  <a:cubicBezTo>
                    <a:pt x="1164" y="1033"/>
                    <a:pt x="1164" y="1033"/>
                    <a:pt x="1164" y="1033"/>
                  </a:cubicBezTo>
                  <a:cubicBezTo>
                    <a:pt x="1164" y="1032"/>
                    <a:pt x="1164" y="1032"/>
                    <a:pt x="1164" y="1032"/>
                  </a:cubicBezTo>
                  <a:cubicBezTo>
                    <a:pt x="1164" y="1033"/>
                    <a:pt x="1164" y="1033"/>
                    <a:pt x="1164" y="1033"/>
                  </a:cubicBezTo>
                  <a:cubicBezTo>
                    <a:pt x="1163" y="1034"/>
                    <a:pt x="1163" y="1034"/>
                    <a:pt x="1163" y="1034"/>
                  </a:cubicBezTo>
                  <a:cubicBezTo>
                    <a:pt x="1163" y="1034"/>
                    <a:pt x="1163" y="1034"/>
                    <a:pt x="1163" y="1034"/>
                  </a:cubicBezTo>
                  <a:cubicBezTo>
                    <a:pt x="1162" y="1034"/>
                    <a:pt x="1162" y="1034"/>
                    <a:pt x="1162" y="1034"/>
                  </a:cubicBezTo>
                  <a:cubicBezTo>
                    <a:pt x="1162" y="1034"/>
                    <a:pt x="1162" y="1034"/>
                    <a:pt x="1162" y="1034"/>
                  </a:cubicBezTo>
                  <a:cubicBezTo>
                    <a:pt x="1161" y="1033"/>
                    <a:pt x="1161" y="1033"/>
                    <a:pt x="1161" y="1033"/>
                  </a:cubicBezTo>
                  <a:cubicBezTo>
                    <a:pt x="1161" y="1031"/>
                    <a:pt x="1161" y="1031"/>
                    <a:pt x="1161" y="1031"/>
                  </a:cubicBezTo>
                  <a:cubicBezTo>
                    <a:pt x="1161" y="1029"/>
                    <a:pt x="1161" y="1029"/>
                    <a:pt x="1161" y="1029"/>
                  </a:cubicBezTo>
                  <a:cubicBezTo>
                    <a:pt x="1161" y="1027"/>
                    <a:pt x="1161" y="1027"/>
                    <a:pt x="1161" y="1027"/>
                  </a:cubicBezTo>
                  <a:cubicBezTo>
                    <a:pt x="1162" y="1027"/>
                    <a:pt x="1162" y="1027"/>
                    <a:pt x="1162" y="1027"/>
                  </a:cubicBezTo>
                  <a:cubicBezTo>
                    <a:pt x="1162" y="1026"/>
                    <a:pt x="1162" y="1026"/>
                    <a:pt x="1162" y="1026"/>
                  </a:cubicBezTo>
                  <a:cubicBezTo>
                    <a:pt x="1162" y="1026"/>
                    <a:pt x="1162" y="1026"/>
                    <a:pt x="1162" y="1026"/>
                  </a:cubicBezTo>
                  <a:cubicBezTo>
                    <a:pt x="1162" y="1026"/>
                    <a:pt x="1162" y="1026"/>
                    <a:pt x="1162" y="1026"/>
                  </a:cubicBezTo>
                  <a:cubicBezTo>
                    <a:pt x="1162" y="1025"/>
                    <a:pt x="1162" y="1025"/>
                    <a:pt x="1162" y="1025"/>
                  </a:cubicBezTo>
                  <a:cubicBezTo>
                    <a:pt x="1162" y="1024"/>
                    <a:pt x="1162" y="1024"/>
                    <a:pt x="1162" y="1024"/>
                  </a:cubicBezTo>
                  <a:cubicBezTo>
                    <a:pt x="1163" y="1024"/>
                    <a:pt x="1163" y="1024"/>
                    <a:pt x="1163" y="1024"/>
                  </a:cubicBezTo>
                  <a:cubicBezTo>
                    <a:pt x="1163" y="1023"/>
                    <a:pt x="1163" y="1023"/>
                    <a:pt x="1163" y="1023"/>
                  </a:cubicBezTo>
                  <a:cubicBezTo>
                    <a:pt x="1163" y="1023"/>
                    <a:pt x="1163" y="1023"/>
                    <a:pt x="1163" y="1023"/>
                  </a:cubicBezTo>
                  <a:cubicBezTo>
                    <a:pt x="1162" y="1023"/>
                    <a:pt x="1162" y="1023"/>
                    <a:pt x="1162" y="1023"/>
                  </a:cubicBezTo>
                  <a:cubicBezTo>
                    <a:pt x="1162" y="1022"/>
                    <a:pt x="1162" y="1022"/>
                    <a:pt x="1162" y="1022"/>
                  </a:cubicBezTo>
                  <a:cubicBezTo>
                    <a:pt x="1162" y="1022"/>
                    <a:pt x="1162" y="1022"/>
                    <a:pt x="1162" y="1022"/>
                  </a:cubicBezTo>
                  <a:cubicBezTo>
                    <a:pt x="1162" y="1022"/>
                    <a:pt x="1162" y="1022"/>
                    <a:pt x="1162" y="1022"/>
                  </a:cubicBezTo>
                  <a:cubicBezTo>
                    <a:pt x="1163" y="1022"/>
                    <a:pt x="1163" y="1022"/>
                    <a:pt x="1163" y="1022"/>
                  </a:cubicBezTo>
                  <a:cubicBezTo>
                    <a:pt x="1163" y="1022"/>
                    <a:pt x="1163" y="1022"/>
                    <a:pt x="1163" y="1022"/>
                  </a:cubicBezTo>
                  <a:cubicBezTo>
                    <a:pt x="1163" y="1022"/>
                    <a:pt x="1163" y="1022"/>
                    <a:pt x="1163" y="1022"/>
                  </a:cubicBezTo>
                  <a:cubicBezTo>
                    <a:pt x="1163" y="1023"/>
                    <a:pt x="1163" y="1023"/>
                    <a:pt x="1163" y="1023"/>
                  </a:cubicBezTo>
                  <a:cubicBezTo>
                    <a:pt x="1164" y="1023"/>
                    <a:pt x="1164" y="1023"/>
                    <a:pt x="1164" y="1023"/>
                  </a:cubicBezTo>
                  <a:cubicBezTo>
                    <a:pt x="1164" y="1023"/>
                    <a:pt x="1164" y="1023"/>
                    <a:pt x="1164" y="1023"/>
                  </a:cubicBezTo>
                  <a:cubicBezTo>
                    <a:pt x="1164" y="1024"/>
                    <a:pt x="1164" y="1024"/>
                    <a:pt x="1164" y="1024"/>
                  </a:cubicBezTo>
                  <a:cubicBezTo>
                    <a:pt x="1164" y="1024"/>
                    <a:pt x="1164" y="1024"/>
                    <a:pt x="1164" y="1024"/>
                  </a:cubicBezTo>
                  <a:cubicBezTo>
                    <a:pt x="1164" y="1024"/>
                    <a:pt x="1164" y="1024"/>
                    <a:pt x="1164" y="1024"/>
                  </a:cubicBezTo>
                  <a:cubicBezTo>
                    <a:pt x="1164" y="1025"/>
                    <a:pt x="1164" y="1025"/>
                    <a:pt x="1164" y="1025"/>
                  </a:cubicBezTo>
                  <a:cubicBezTo>
                    <a:pt x="1164" y="1027"/>
                    <a:pt x="1164" y="1027"/>
                    <a:pt x="1164" y="1027"/>
                  </a:cubicBezTo>
                  <a:cubicBezTo>
                    <a:pt x="1164" y="1027"/>
                    <a:pt x="1164" y="1027"/>
                    <a:pt x="1164" y="1027"/>
                  </a:cubicBezTo>
                  <a:cubicBezTo>
                    <a:pt x="1164" y="1028"/>
                    <a:pt x="1164" y="1028"/>
                    <a:pt x="1164" y="1028"/>
                  </a:cubicBezTo>
                  <a:cubicBezTo>
                    <a:pt x="1165" y="1029"/>
                    <a:pt x="1165" y="1029"/>
                    <a:pt x="1165" y="1029"/>
                  </a:cubicBezTo>
                  <a:cubicBezTo>
                    <a:pt x="1165" y="1030"/>
                    <a:pt x="1165" y="1030"/>
                    <a:pt x="1165" y="1030"/>
                  </a:cubicBezTo>
                  <a:cubicBezTo>
                    <a:pt x="1165" y="1031"/>
                    <a:pt x="1165" y="1031"/>
                    <a:pt x="1165" y="1031"/>
                  </a:cubicBezTo>
                  <a:cubicBezTo>
                    <a:pt x="1166" y="1030"/>
                    <a:pt x="1166" y="1030"/>
                    <a:pt x="1166" y="1030"/>
                  </a:cubicBezTo>
                  <a:cubicBezTo>
                    <a:pt x="1166" y="1030"/>
                    <a:pt x="1166" y="1030"/>
                    <a:pt x="1166" y="1030"/>
                  </a:cubicBezTo>
                  <a:cubicBezTo>
                    <a:pt x="1167" y="1030"/>
                    <a:pt x="1167" y="1030"/>
                    <a:pt x="1167" y="1030"/>
                  </a:cubicBezTo>
                  <a:cubicBezTo>
                    <a:pt x="1167" y="1029"/>
                    <a:pt x="1167" y="1029"/>
                    <a:pt x="1167" y="1029"/>
                  </a:cubicBezTo>
                  <a:cubicBezTo>
                    <a:pt x="1167" y="1029"/>
                    <a:pt x="1167" y="1029"/>
                    <a:pt x="1167" y="1029"/>
                  </a:cubicBezTo>
                  <a:cubicBezTo>
                    <a:pt x="1167" y="1029"/>
                    <a:pt x="1167" y="1029"/>
                    <a:pt x="1167" y="1029"/>
                  </a:cubicBezTo>
                  <a:cubicBezTo>
                    <a:pt x="1167" y="1029"/>
                    <a:pt x="1167" y="1029"/>
                    <a:pt x="1167" y="1029"/>
                  </a:cubicBezTo>
                  <a:cubicBezTo>
                    <a:pt x="1168" y="1029"/>
                    <a:pt x="1168" y="1029"/>
                    <a:pt x="1168" y="1029"/>
                  </a:cubicBezTo>
                  <a:cubicBezTo>
                    <a:pt x="1168" y="1029"/>
                    <a:pt x="1168" y="1029"/>
                    <a:pt x="1168" y="1029"/>
                  </a:cubicBezTo>
                  <a:cubicBezTo>
                    <a:pt x="1169" y="1029"/>
                    <a:pt x="1169" y="1029"/>
                    <a:pt x="1169" y="1029"/>
                  </a:cubicBezTo>
                  <a:cubicBezTo>
                    <a:pt x="1169" y="1028"/>
                    <a:pt x="1169" y="1028"/>
                    <a:pt x="1169" y="1028"/>
                  </a:cubicBezTo>
                  <a:cubicBezTo>
                    <a:pt x="1169" y="1028"/>
                    <a:pt x="1169" y="1028"/>
                    <a:pt x="1169" y="1028"/>
                  </a:cubicBezTo>
                  <a:cubicBezTo>
                    <a:pt x="1169" y="1028"/>
                    <a:pt x="1169" y="1028"/>
                    <a:pt x="1169" y="1028"/>
                  </a:cubicBezTo>
                  <a:cubicBezTo>
                    <a:pt x="1168" y="1027"/>
                    <a:pt x="1168" y="1027"/>
                    <a:pt x="1168" y="1027"/>
                  </a:cubicBezTo>
                  <a:cubicBezTo>
                    <a:pt x="1167" y="1027"/>
                    <a:pt x="1167" y="1027"/>
                    <a:pt x="1167" y="1027"/>
                  </a:cubicBezTo>
                  <a:cubicBezTo>
                    <a:pt x="1167" y="1026"/>
                    <a:pt x="1167" y="1026"/>
                    <a:pt x="1167" y="1026"/>
                  </a:cubicBezTo>
                  <a:cubicBezTo>
                    <a:pt x="1167" y="1026"/>
                    <a:pt x="1167" y="1026"/>
                    <a:pt x="1167" y="1026"/>
                  </a:cubicBezTo>
                  <a:cubicBezTo>
                    <a:pt x="1168" y="1025"/>
                    <a:pt x="1168" y="1025"/>
                    <a:pt x="1168" y="1025"/>
                  </a:cubicBezTo>
                  <a:cubicBezTo>
                    <a:pt x="1169" y="1025"/>
                    <a:pt x="1169" y="1025"/>
                    <a:pt x="1169" y="1025"/>
                  </a:cubicBezTo>
                  <a:cubicBezTo>
                    <a:pt x="1169" y="1025"/>
                    <a:pt x="1169" y="1025"/>
                    <a:pt x="1169" y="1025"/>
                  </a:cubicBezTo>
                  <a:cubicBezTo>
                    <a:pt x="1169" y="1025"/>
                    <a:pt x="1169" y="1025"/>
                    <a:pt x="1169" y="1025"/>
                  </a:cubicBezTo>
                  <a:cubicBezTo>
                    <a:pt x="1170" y="1024"/>
                    <a:pt x="1170" y="1024"/>
                    <a:pt x="1170" y="1024"/>
                  </a:cubicBezTo>
                  <a:cubicBezTo>
                    <a:pt x="1170" y="1024"/>
                    <a:pt x="1170" y="1024"/>
                    <a:pt x="1170" y="1024"/>
                  </a:cubicBezTo>
                  <a:cubicBezTo>
                    <a:pt x="1170" y="1024"/>
                    <a:pt x="1170" y="1024"/>
                    <a:pt x="1170" y="1024"/>
                  </a:cubicBezTo>
                  <a:cubicBezTo>
                    <a:pt x="1170" y="1025"/>
                    <a:pt x="1170" y="1025"/>
                    <a:pt x="1170" y="1025"/>
                  </a:cubicBezTo>
                  <a:cubicBezTo>
                    <a:pt x="1170" y="1025"/>
                    <a:pt x="1170" y="1025"/>
                    <a:pt x="1170" y="1025"/>
                  </a:cubicBezTo>
                  <a:cubicBezTo>
                    <a:pt x="1170" y="1025"/>
                    <a:pt x="1170" y="1025"/>
                    <a:pt x="1170" y="1025"/>
                  </a:cubicBezTo>
                  <a:cubicBezTo>
                    <a:pt x="1171" y="1026"/>
                    <a:pt x="1171" y="1026"/>
                    <a:pt x="1171" y="1026"/>
                  </a:cubicBezTo>
                  <a:cubicBezTo>
                    <a:pt x="1171" y="1026"/>
                    <a:pt x="1171" y="1026"/>
                    <a:pt x="1171" y="1026"/>
                  </a:cubicBezTo>
                  <a:cubicBezTo>
                    <a:pt x="1171" y="1026"/>
                    <a:pt x="1171" y="1026"/>
                    <a:pt x="1171" y="1026"/>
                  </a:cubicBezTo>
                  <a:cubicBezTo>
                    <a:pt x="1171" y="1025"/>
                    <a:pt x="1171" y="1025"/>
                    <a:pt x="1171" y="1025"/>
                  </a:cubicBezTo>
                  <a:cubicBezTo>
                    <a:pt x="1171" y="1025"/>
                    <a:pt x="1171" y="1025"/>
                    <a:pt x="1171" y="1025"/>
                  </a:cubicBezTo>
                  <a:cubicBezTo>
                    <a:pt x="1171" y="1024"/>
                    <a:pt x="1171" y="1024"/>
                    <a:pt x="1171" y="1024"/>
                  </a:cubicBezTo>
                  <a:cubicBezTo>
                    <a:pt x="1171" y="1024"/>
                    <a:pt x="1171" y="1024"/>
                    <a:pt x="1171" y="1024"/>
                  </a:cubicBezTo>
                  <a:cubicBezTo>
                    <a:pt x="1171" y="1023"/>
                    <a:pt x="1171" y="1023"/>
                    <a:pt x="1171" y="1023"/>
                  </a:cubicBezTo>
                  <a:cubicBezTo>
                    <a:pt x="1171" y="1022"/>
                    <a:pt x="1171" y="1022"/>
                    <a:pt x="1171" y="1022"/>
                  </a:cubicBezTo>
                  <a:cubicBezTo>
                    <a:pt x="1171" y="1022"/>
                    <a:pt x="1171" y="1022"/>
                    <a:pt x="1171" y="1022"/>
                  </a:cubicBezTo>
                  <a:cubicBezTo>
                    <a:pt x="1171" y="1023"/>
                    <a:pt x="1171" y="1023"/>
                    <a:pt x="1171" y="1023"/>
                  </a:cubicBezTo>
                  <a:cubicBezTo>
                    <a:pt x="1171" y="1023"/>
                    <a:pt x="1171" y="1023"/>
                    <a:pt x="1171" y="1023"/>
                  </a:cubicBezTo>
                  <a:cubicBezTo>
                    <a:pt x="1171" y="1023"/>
                    <a:pt x="1171" y="1023"/>
                    <a:pt x="1171" y="1023"/>
                  </a:cubicBezTo>
                  <a:cubicBezTo>
                    <a:pt x="1172" y="1024"/>
                    <a:pt x="1172" y="1024"/>
                    <a:pt x="1172" y="1024"/>
                  </a:cubicBezTo>
                  <a:cubicBezTo>
                    <a:pt x="1172" y="1024"/>
                    <a:pt x="1172" y="1024"/>
                    <a:pt x="1172" y="1024"/>
                  </a:cubicBezTo>
                  <a:cubicBezTo>
                    <a:pt x="1172" y="1023"/>
                    <a:pt x="1172" y="1023"/>
                    <a:pt x="1172" y="1023"/>
                  </a:cubicBezTo>
                  <a:cubicBezTo>
                    <a:pt x="1172" y="1022"/>
                    <a:pt x="1172" y="1022"/>
                    <a:pt x="1172" y="1022"/>
                  </a:cubicBezTo>
                  <a:cubicBezTo>
                    <a:pt x="1172" y="1021"/>
                    <a:pt x="1172" y="1021"/>
                    <a:pt x="1172" y="1021"/>
                  </a:cubicBezTo>
                  <a:cubicBezTo>
                    <a:pt x="1173" y="1021"/>
                    <a:pt x="1173" y="1021"/>
                    <a:pt x="1173" y="1021"/>
                  </a:cubicBezTo>
                  <a:cubicBezTo>
                    <a:pt x="1174" y="1021"/>
                    <a:pt x="1174" y="1021"/>
                    <a:pt x="1174" y="1021"/>
                  </a:cubicBezTo>
                  <a:cubicBezTo>
                    <a:pt x="1175" y="1022"/>
                    <a:pt x="1175" y="1022"/>
                    <a:pt x="1175" y="1022"/>
                  </a:cubicBezTo>
                  <a:cubicBezTo>
                    <a:pt x="1175" y="1022"/>
                    <a:pt x="1175" y="1022"/>
                    <a:pt x="1175" y="1022"/>
                  </a:cubicBezTo>
                  <a:cubicBezTo>
                    <a:pt x="1175" y="1022"/>
                    <a:pt x="1175" y="1022"/>
                    <a:pt x="1175" y="1022"/>
                  </a:cubicBezTo>
                  <a:cubicBezTo>
                    <a:pt x="1175" y="1022"/>
                    <a:pt x="1175" y="1022"/>
                    <a:pt x="1175" y="1022"/>
                  </a:cubicBezTo>
                  <a:cubicBezTo>
                    <a:pt x="1176" y="1022"/>
                    <a:pt x="1176" y="1022"/>
                    <a:pt x="1176" y="1022"/>
                  </a:cubicBezTo>
                  <a:cubicBezTo>
                    <a:pt x="1176" y="1022"/>
                    <a:pt x="1176" y="1022"/>
                    <a:pt x="1176" y="1022"/>
                  </a:cubicBezTo>
                  <a:cubicBezTo>
                    <a:pt x="1176" y="1022"/>
                    <a:pt x="1176" y="1022"/>
                    <a:pt x="1176" y="1022"/>
                  </a:cubicBezTo>
                  <a:cubicBezTo>
                    <a:pt x="1176" y="1022"/>
                    <a:pt x="1176" y="1022"/>
                    <a:pt x="1176" y="1022"/>
                  </a:cubicBezTo>
                  <a:cubicBezTo>
                    <a:pt x="1176" y="1022"/>
                    <a:pt x="1176" y="1022"/>
                    <a:pt x="1176" y="1022"/>
                  </a:cubicBezTo>
                  <a:cubicBezTo>
                    <a:pt x="1176" y="1022"/>
                    <a:pt x="1176" y="1022"/>
                    <a:pt x="1176" y="1022"/>
                  </a:cubicBezTo>
                  <a:cubicBezTo>
                    <a:pt x="1176" y="1021"/>
                    <a:pt x="1176" y="1021"/>
                    <a:pt x="1176" y="1021"/>
                  </a:cubicBezTo>
                  <a:cubicBezTo>
                    <a:pt x="1176" y="1020"/>
                    <a:pt x="1176" y="1020"/>
                    <a:pt x="1176" y="1020"/>
                  </a:cubicBezTo>
                  <a:cubicBezTo>
                    <a:pt x="1176" y="1020"/>
                    <a:pt x="1176" y="1020"/>
                    <a:pt x="1176" y="1020"/>
                  </a:cubicBezTo>
                  <a:cubicBezTo>
                    <a:pt x="1177" y="1019"/>
                    <a:pt x="1177" y="1019"/>
                    <a:pt x="1177" y="1019"/>
                  </a:cubicBezTo>
                  <a:cubicBezTo>
                    <a:pt x="1177" y="1019"/>
                    <a:pt x="1177" y="1019"/>
                    <a:pt x="1177" y="1019"/>
                  </a:cubicBezTo>
                  <a:cubicBezTo>
                    <a:pt x="1177" y="1019"/>
                    <a:pt x="1177" y="1019"/>
                    <a:pt x="1177" y="1019"/>
                  </a:cubicBezTo>
                  <a:cubicBezTo>
                    <a:pt x="1177" y="1022"/>
                    <a:pt x="1177" y="1022"/>
                    <a:pt x="1177" y="1022"/>
                  </a:cubicBezTo>
                  <a:cubicBezTo>
                    <a:pt x="1177" y="1022"/>
                    <a:pt x="1177" y="1022"/>
                    <a:pt x="1177" y="1022"/>
                  </a:cubicBezTo>
                  <a:cubicBezTo>
                    <a:pt x="1179" y="1020"/>
                    <a:pt x="1179" y="1020"/>
                    <a:pt x="1179" y="1020"/>
                  </a:cubicBezTo>
                  <a:cubicBezTo>
                    <a:pt x="1181" y="1019"/>
                    <a:pt x="1181" y="1019"/>
                    <a:pt x="1181" y="1019"/>
                  </a:cubicBezTo>
                  <a:cubicBezTo>
                    <a:pt x="1184" y="1014"/>
                    <a:pt x="1184" y="1014"/>
                    <a:pt x="1184" y="1014"/>
                  </a:cubicBezTo>
                  <a:cubicBezTo>
                    <a:pt x="1188" y="1011"/>
                    <a:pt x="1188" y="1011"/>
                    <a:pt x="1188" y="1011"/>
                  </a:cubicBezTo>
                  <a:cubicBezTo>
                    <a:pt x="1188" y="1010"/>
                    <a:pt x="1188" y="1010"/>
                    <a:pt x="1188" y="1010"/>
                  </a:cubicBezTo>
                  <a:cubicBezTo>
                    <a:pt x="1189" y="1009"/>
                    <a:pt x="1189" y="1009"/>
                    <a:pt x="1189" y="1009"/>
                  </a:cubicBezTo>
                  <a:cubicBezTo>
                    <a:pt x="1189" y="1008"/>
                    <a:pt x="1189" y="1008"/>
                    <a:pt x="1189" y="1008"/>
                  </a:cubicBezTo>
                  <a:cubicBezTo>
                    <a:pt x="1189" y="1008"/>
                    <a:pt x="1189" y="1008"/>
                    <a:pt x="1189" y="1008"/>
                  </a:cubicBezTo>
                  <a:cubicBezTo>
                    <a:pt x="1190" y="1007"/>
                    <a:pt x="1190" y="1007"/>
                    <a:pt x="1190" y="1007"/>
                  </a:cubicBezTo>
                  <a:cubicBezTo>
                    <a:pt x="1190" y="1006"/>
                    <a:pt x="1190" y="1006"/>
                    <a:pt x="1190" y="1006"/>
                  </a:cubicBezTo>
                  <a:cubicBezTo>
                    <a:pt x="1193" y="1003"/>
                    <a:pt x="1193" y="1003"/>
                    <a:pt x="1193" y="1003"/>
                  </a:cubicBezTo>
                  <a:cubicBezTo>
                    <a:pt x="1193" y="1001"/>
                    <a:pt x="1193" y="1001"/>
                    <a:pt x="1193" y="1001"/>
                  </a:cubicBezTo>
                  <a:cubicBezTo>
                    <a:pt x="1194" y="1001"/>
                    <a:pt x="1194" y="1001"/>
                    <a:pt x="1194" y="1001"/>
                  </a:cubicBezTo>
                  <a:cubicBezTo>
                    <a:pt x="1194" y="1001"/>
                    <a:pt x="1194" y="1001"/>
                    <a:pt x="1194" y="1001"/>
                  </a:cubicBezTo>
                  <a:cubicBezTo>
                    <a:pt x="1193" y="1000"/>
                    <a:pt x="1193" y="1000"/>
                    <a:pt x="1193" y="1000"/>
                  </a:cubicBezTo>
                  <a:cubicBezTo>
                    <a:pt x="1193" y="1000"/>
                    <a:pt x="1193" y="1000"/>
                    <a:pt x="1193" y="1000"/>
                  </a:cubicBezTo>
                  <a:cubicBezTo>
                    <a:pt x="1193" y="1000"/>
                    <a:pt x="1193" y="1000"/>
                    <a:pt x="1193" y="1000"/>
                  </a:cubicBezTo>
                  <a:cubicBezTo>
                    <a:pt x="1193" y="999"/>
                    <a:pt x="1193" y="999"/>
                    <a:pt x="1193" y="999"/>
                  </a:cubicBezTo>
                  <a:cubicBezTo>
                    <a:pt x="1194" y="999"/>
                    <a:pt x="1194" y="999"/>
                    <a:pt x="1194" y="999"/>
                  </a:cubicBezTo>
                  <a:cubicBezTo>
                    <a:pt x="1195" y="999"/>
                    <a:pt x="1195" y="999"/>
                    <a:pt x="1195" y="999"/>
                  </a:cubicBezTo>
                  <a:cubicBezTo>
                    <a:pt x="1196" y="997"/>
                    <a:pt x="1196" y="997"/>
                    <a:pt x="1196" y="997"/>
                  </a:cubicBezTo>
                  <a:cubicBezTo>
                    <a:pt x="1196" y="997"/>
                    <a:pt x="1196" y="997"/>
                    <a:pt x="1196" y="997"/>
                  </a:cubicBezTo>
                  <a:cubicBezTo>
                    <a:pt x="1196" y="996"/>
                    <a:pt x="1196" y="996"/>
                    <a:pt x="1196" y="996"/>
                  </a:cubicBezTo>
                  <a:cubicBezTo>
                    <a:pt x="1197" y="996"/>
                    <a:pt x="1197" y="996"/>
                    <a:pt x="1197" y="996"/>
                  </a:cubicBezTo>
                  <a:cubicBezTo>
                    <a:pt x="1197" y="995"/>
                    <a:pt x="1197" y="995"/>
                    <a:pt x="1197" y="995"/>
                  </a:cubicBezTo>
                  <a:cubicBezTo>
                    <a:pt x="1197" y="995"/>
                    <a:pt x="1197" y="995"/>
                    <a:pt x="1197" y="995"/>
                  </a:cubicBezTo>
                  <a:cubicBezTo>
                    <a:pt x="1197" y="995"/>
                    <a:pt x="1197" y="995"/>
                    <a:pt x="1197" y="995"/>
                  </a:cubicBezTo>
                  <a:cubicBezTo>
                    <a:pt x="1196" y="995"/>
                    <a:pt x="1196" y="995"/>
                    <a:pt x="1196" y="995"/>
                  </a:cubicBezTo>
                  <a:cubicBezTo>
                    <a:pt x="1196" y="994"/>
                    <a:pt x="1196" y="994"/>
                    <a:pt x="1196" y="994"/>
                  </a:cubicBezTo>
                  <a:cubicBezTo>
                    <a:pt x="1196" y="993"/>
                    <a:pt x="1196" y="993"/>
                    <a:pt x="1196" y="993"/>
                  </a:cubicBezTo>
                  <a:cubicBezTo>
                    <a:pt x="1196" y="992"/>
                    <a:pt x="1196" y="992"/>
                    <a:pt x="1196" y="992"/>
                  </a:cubicBezTo>
                  <a:cubicBezTo>
                    <a:pt x="1196" y="992"/>
                    <a:pt x="1196" y="992"/>
                    <a:pt x="1196" y="992"/>
                  </a:cubicBezTo>
                  <a:cubicBezTo>
                    <a:pt x="1197" y="990"/>
                    <a:pt x="1197" y="990"/>
                    <a:pt x="1197" y="990"/>
                  </a:cubicBezTo>
                  <a:cubicBezTo>
                    <a:pt x="1197" y="990"/>
                    <a:pt x="1197" y="990"/>
                    <a:pt x="1197" y="990"/>
                  </a:cubicBezTo>
                  <a:cubicBezTo>
                    <a:pt x="1197" y="990"/>
                    <a:pt x="1197" y="990"/>
                    <a:pt x="1197" y="990"/>
                  </a:cubicBezTo>
                  <a:cubicBezTo>
                    <a:pt x="1199" y="990"/>
                    <a:pt x="1199" y="990"/>
                    <a:pt x="1199" y="990"/>
                  </a:cubicBezTo>
                  <a:cubicBezTo>
                    <a:pt x="1199" y="990"/>
                    <a:pt x="1199" y="990"/>
                    <a:pt x="1199" y="990"/>
                  </a:cubicBezTo>
                  <a:cubicBezTo>
                    <a:pt x="1201" y="989"/>
                    <a:pt x="1201" y="989"/>
                    <a:pt x="1201" y="989"/>
                  </a:cubicBezTo>
                  <a:cubicBezTo>
                    <a:pt x="1201" y="989"/>
                    <a:pt x="1201" y="989"/>
                    <a:pt x="1201" y="989"/>
                  </a:cubicBezTo>
                  <a:cubicBezTo>
                    <a:pt x="1201" y="989"/>
                    <a:pt x="1201" y="989"/>
                    <a:pt x="1201" y="989"/>
                  </a:cubicBezTo>
                  <a:cubicBezTo>
                    <a:pt x="1202" y="989"/>
                    <a:pt x="1202" y="989"/>
                    <a:pt x="1202" y="989"/>
                  </a:cubicBezTo>
                  <a:cubicBezTo>
                    <a:pt x="1202" y="989"/>
                    <a:pt x="1202" y="989"/>
                    <a:pt x="1202" y="989"/>
                  </a:cubicBezTo>
                  <a:cubicBezTo>
                    <a:pt x="1203" y="988"/>
                    <a:pt x="1203" y="988"/>
                    <a:pt x="1203" y="988"/>
                  </a:cubicBezTo>
                  <a:cubicBezTo>
                    <a:pt x="1203" y="988"/>
                    <a:pt x="1203" y="988"/>
                    <a:pt x="1203" y="988"/>
                  </a:cubicBezTo>
                  <a:cubicBezTo>
                    <a:pt x="1205" y="988"/>
                    <a:pt x="1205" y="988"/>
                    <a:pt x="1205" y="988"/>
                  </a:cubicBezTo>
                  <a:cubicBezTo>
                    <a:pt x="1206" y="988"/>
                    <a:pt x="1206" y="988"/>
                    <a:pt x="1206" y="988"/>
                  </a:cubicBezTo>
                  <a:cubicBezTo>
                    <a:pt x="1208" y="987"/>
                    <a:pt x="1208" y="987"/>
                    <a:pt x="1208" y="987"/>
                  </a:cubicBezTo>
                  <a:cubicBezTo>
                    <a:pt x="1209" y="987"/>
                    <a:pt x="1209" y="987"/>
                    <a:pt x="1209" y="987"/>
                  </a:cubicBezTo>
                  <a:cubicBezTo>
                    <a:pt x="1211" y="988"/>
                    <a:pt x="1211" y="988"/>
                    <a:pt x="1211" y="988"/>
                  </a:cubicBezTo>
                  <a:cubicBezTo>
                    <a:pt x="1211" y="988"/>
                    <a:pt x="1211" y="988"/>
                    <a:pt x="1211" y="988"/>
                  </a:cubicBezTo>
                  <a:cubicBezTo>
                    <a:pt x="1211" y="988"/>
                    <a:pt x="1211" y="988"/>
                    <a:pt x="1211" y="988"/>
                  </a:cubicBezTo>
                  <a:cubicBezTo>
                    <a:pt x="1212" y="988"/>
                    <a:pt x="1212" y="988"/>
                    <a:pt x="1212" y="988"/>
                  </a:cubicBezTo>
                  <a:cubicBezTo>
                    <a:pt x="1213" y="988"/>
                    <a:pt x="1213" y="988"/>
                    <a:pt x="1213" y="988"/>
                  </a:cubicBezTo>
                  <a:cubicBezTo>
                    <a:pt x="1213" y="988"/>
                    <a:pt x="1213" y="988"/>
                    <a:pt x="1213" y="988"/>
                  </a:cubicBezTo>
                  <a:cubicBezTo>
                    <a:pt x="1213" y="988"/>
                    <a:pt x="1213" y="988"/>
                    <a:pt x="1213" y="988"/>
                  </a:cubicBezTo>
                  <a:cubicBezTo>
                    <a:pt x="1215" y="987"/>
                    <a:pt x="1215" y="987"/>
                    <a:pt x="1215" y="987"/>
                  </a:cubicBezTo>
                  <a:cubicBezTo>
                    <a:pt x="1215" y="987"/>
                    <a:pt x="1215" y="987"/>
                    <a:pt x="1215" y="987"/>
                  </a:cubicBezTo>
                  <a:cubicBezTo>
                    <a:pt x="1216" y="987"/>
                    <a:pt x="1216" y="987"/>
                    <a:pt x="1216" y="987"/>
                  </a:cubicBezTo>
                  <a:cubicBezTo>
                    <a:pt x="1217" y="985"/>
                    <a:pt x="1217" y="985"/>
                    <a:pt x="1217" y="985"/>
                  </a:cubicBezTo>
                  <a:cubicBezTo>
                    <a:pt x="1217" y="985"/>
                    <a:pt x="1217" y="985"/>
                    <a:pt x="1217" y="985"/>
                  </a:cubicBezTo>
                  <a:cubicBezTo>
                    <a:pt x="1217" y="985"/>
                    <a:pt x="1217" y="985"/>
                    <a:pt x="1217" y="985"/>
                  </a:cubicBezTo>
                  <a:cubicBezTo>
                    <a:pt x="1218" y="984"/>
                    <a:pt x="1218" y="984"/>
                    <a:pt x="1218" y="984"/>
                  </a:cubicBezTo>
                  <a:cubicBezTo>
                    <a:pt x="1218" y="983"/>
                    <a:pt x="1218" y="983"/>
                    <a:pt x="1218" y="983"/>
                  </a:cubicBezTo>
                  <a:cubicBezTo>
                    <a:pt x="1218" y="983"/>
                    <a:pt x="1218" y="983"/>
                    <a:pt x="1218" y="983"/>
                  </a:cubicBezTo>
                  <a:cubicBezTo>
                    <a:pt x="1217" y="982"/>
                    <a:pt x="1217" y="982"/>
                    <a:pt x="1217" y="982"/>
                  </a:cubicBezTo>
                  <a:cubicBezTo>
                    <a:pt x="1217" y="982"/>
                    <a:pt x="1217" y="982"/>
                    <a:pt x="1217" y="982"/>
                  </a:cubicBezTo>
                  <a:cubicBezTo>
                    <a:pt x="1217" y="982"/>
                    <a:pt x="1217" y="982"/>
                    <a:pt x="1217" y="982"/>
                  </a:cubicBezTo>
                  <a:cubicBezTo>
                    <a:pt x="1216" y="981"/>
                    <a:pt x="1216" y="981"/>
                    <a:pt x="1216" y="981"/>
                  </a:cubicBezTo>
                  <a:cubicBezTo>
                    <a:pt x="1216" y="981"/>
                    <a:pt x="1216" y="981"/>
                    <a:pt x="1216" y="981"/>
                  </a:cubicBezTo>
                  <a:cubicBezTo>
                    <a:pt x="1216" y="980"/>
                    <a:pt x="1216" y="980"/>
                    <a:pt x="1216" y="980"/>
                  </a:cubicBezTo>
                  <a:cubicBezTo>
                    <a:pt x="1217" y="980"/>
                    <a:pt x="1217" y="980"/>
                    <a:pt x="1217" y="980"/>
                  </a:cubicBezTo>
                  <a:cubicBezTo>
                    <a:pt x="1217" y="980"/>
                    <a:pt x="1217" y="980"/>
                    <a:pt x="1217" y="980"/>
                  </a:cubicBezTo>
                  <a:cubicBezTo>
                    <a:pt x="1217" y="981"/>
                    <a:pt x="1217" y="981"/>
                    <a:pt x="1217" y="981"/>
                  </a:cubicBezTo>
                  <a:cubicBezTo>
                    <a:pt x="1218" y="982"/>
                    <a:pt x="1218" y="982"/>
                    <a:pt x="1218" y="982"/>
                  </a:cubicBezTo>
                  <a:cubicBezTo>
                    <a:pt x="1218" y="982"/>
                    <a:pt x="1218" y="982"/>
                    <a:pt x="1218" y="982"/>
                  </a:cubicBezTo>
                  <a:cubicBezTo>
                    <a:pt x="1218" y="982"/>
                    <a:pt x="1218" y="982"/>
                    <a:pt x="1218" y="982"/>
                  </a:cubicBezTo>
                  <a:cubicBezTo>
                    <a:pt x="1218" y="982"/>
                    <a:pt x="1218" y="982"/>
                    <a:pt x="1218" y="982"/>
                  </a:cubicBezTo>
                  <a:cubicBezTo>
                    <a:pt x="1219" y="982"/>
                    <a:pt x="1219" y="982"/>
                    <a:pt x="1219" y="982"/>
                  </a:cubicBezTo>
                  <a:cubicBezTo>
                    <a:pt x="1219" y="981"/>
                    <a:pt x="1219" y="981"/>
                    <a:pt x="1219" y="981"/>
                  </a:cubicBezTo>
                  <a:cubicBezTo>
                    <a:pt x="1219" y="980"/>
                    <a:pt x="1219" y="980"/>
                    <a:pt x="1219" y="980"/>
                  </a:cubicBezTo>
                  <a:cubicBezTo>
                    <a:pt x="1220" y="980"/>
                    <a:pt x="1220" y="980"/>
                    <a:pt x="1220" y="980"/>
                  </a:cubicBezTo>
                  <a:cubicBezTo>
                    <a:pt x="1220" y="980"/>
                    <a:pt x="1220" y="980"/>
                    <a:pt x="1220" y="980"/>
                  </a:cubicBezTo>
                  <a:cubicBezTo>
                    <a:pt x="1220" y="980"/>
                    <a:pt x="1220" y="980"/>
                    <a:pt x="1220" y="980"/>
                  </a:cubicBezTo>
                  <a:cubicBezTo>
                    <a:pt x="1221" y="980"/>
                    <a:pt x="1221" y="980"/>
                    <a:pt x="1221" y="980"/>
                  </a:cubicBezTo>
                  <a:cubicBezTo>
                    <a:pt x="1221" y="979"/>
                    <a:pt x="1221" y="979"/>
                    <a:pt x="1221" y="979"/>
                  </a:cubicBezTo>
                  <a:cubicBezTo>
                    <a:pt x="1221" y="979"/>
                    <a:pt x="1221" y="979"/>
                    <a:pt x="1221" y="979"/>
                  </a:cubicBezTo>
                  <a:cubicBezTo>
                    <a:pt x="1221" y="979"/>
                    <a:pt x="1221" y="979"/>
                    <a:pt x="1221" y="979"/>
                  </a:cubicBezTo>
                  <a:cubicBezTo>
                    <a:pt x="1220" y="981"/>
                    <a:pt x="1220" y="981"/>
                    <a:pt x="1220" y="981"/>
                  </a:cubicBezTo>
                  <a:cubicBezTo>
                    <a:pt x="1220" y="981"/>
                    <a:pt x="1220" y="981"/>
                    <a:pt x="1220" y="981"/>
                  </a:cubicBezTo>
                  <a:cubicBezTo>
                    <a:pt x="1220" y="982"/>
                    <a:pt x="1220" y="982"/>
                    <a:pt x="1220" y="982"/>
                  </a:cubicBezTo>
                  <a:cubicBezTo>
                    <a:pt x="1219" y="983"/>
                    <a:pt x="1219" y="983"/>
                    <a:pt x="1219" y="983"/>
                  </a:cubicBezTo>
                  <a:cubicBezTo>
                    <a:pt x="1218" y="986"/>
                    <a:pt x="1218" y="986"/>
                    <a:pt x="1218" y="986"/>
                  </a:cubicBezTo>
                  <a:cubicBezTo>
                    <a:pt x="1217" y="986"/>
                    <a:pt x="1217" y="986"/>
                    <a:pt x="1217" y="986"/>
                  </a:cubicBezTo>
                  <a:cubicBezTo>
                    <a:pt x="1217" y="987"/>
                    <a:pt x="1217" y="987"/>
                    <a:pt x="1217" y="987"/>
                  </a:cubicBezTo>
                  <a:cubicBezTo>
                    <a:pt x="1218" y="987"/>
                    <a:pt x="1218" y="987"/>
                    <a:pt x="1218" y="987"/>
                  </a:cubicBezTo>
                  <a:cubicBezTo>
                    <a:pt x="1218" y="987"/>
                    <a:pt x="1218" y="987"/>
                    <a:pt x="1218" y="987"/>
                  </a:cubicBezTo>
                  <a:cubicBezTo>
                    <a:pt x="1219" y="987"/>
                    <a:pt x="1219" y="987"/>
                    <a:pt x="1219" y="987"/>
                  </a:cubicBezTo>
                  <a:cubicBezTo>
                    <a:pt x="1219" y="987"/>
                    <a:pt x="1219" y="987"/>
                    <a:pt x="1219" y="987"/>
                  </a:cubicBezTo>
                  <a:cubicBezTo>
                    <a:pt x="1219" y="988"/>
                    <a:pt x="1219" y="988"/>
                    <a:pt x="1219" y="988"/>
                  </a:cubicBezTo>
                  <a:cubicBezTo>
                    <a:pt x="1220" y="988"/>
                    <a:pt x="1220" y="988"/>
                    <a:pt x="1220" y="988"/>
                  </a:cubicBezTo>
                  <a:cubicBezTo>
                    <a:pt x="1220" y="988"/>
                    <a:pt x="1220" y="988"/>
                    <a:pt x="1220" y="988"/>
                  </a:cubicBezTo>
                  <a:cubicBezTo>
                    <a:pt x="1221" y="987"/>
                    <a:pt x="1221" y="987"/>
                    <a:pt x="1221" y="987"/>
                  </a:cubicBezTo>
                  <a:cubicBezTo>
                    <a:pt x="1221" y="987"/>
                    <a:pt x="1221" y="987"/>
                    <a:pt x="1221" y="987"/>
                  </a:cubicBezTo>
                  <a:cubicBezTo>
                    <a:pt x="1221" y="986"/>
                    <a:pt x="1221" y="986"/>
                    <a:pt x="1221" y="986"/>
                  </a:cubicBezTo>
                  <a:cubicBezTo>
                    <a:pt x="1223" y="986"/>
                    <a:pt x="1223" y="986"/>
                    <a:pt x="1223" y="986"/>
                  </a:cubicBezTo>
                  <a:cubicBezTo>
                    <a:pt x="1226" y="987"/>
                    <a:pt x="1226" y="987"/>
                    <a:pt x="1226" y="987"/>
                  </a:cubicBezTo>
                  <a:cubicBezTo>
                    <a:pt x="1227" y="987"/>
                    <a:pt x="1227" y="987"/>
                    <a:pt x="1227" y="987"/>
                  </a:cubicBezTo>
                  <a:cubicBezTo>
                    <a:pt x="1229" y="987"/>
                    <a:pt x="1229" y="987"/>
                    <a:pt x="1229" y="987"/>
                  </a:cubicBezTo>
                  <a:cubicBezTo>
                    <a:pt x="1229" y="987"/>
                    <a:pt x="1229" y="987"/>
                    <a:pt x="1229" y="987"/>
                  </a:cubicBezTo>
                  <a:cubicBezTo>
                    <a:pt x="1230" y="987"/>
                    <a:pt x="1230" y="987"/>
                    <a:pt x="1230" y="987"/>
                  </a:cubicBezTo>
                  <a:cubicBezTo>
                    <a:pt x="1230" y="986"/>
                    <a:pt x="1230" y="986"/>
                    <a:pt x="1230" y="986"/>
                  </a:cubicBezTo>
                  <a:cubicBezTo>
                    <a:pt x="1230" y="986"/>
                    <a:pt x="1230" y="986"/>
                    <a:pt x="1230" y="986"/>
                  </a:cubicBezTo>
                  <a:cubicBezTo>
                    <a:pt x="1230" y="985"/>
                    <a:pt x="1230" y="985"/>
                    <a:pt x="1230" y="985"/>
                  </a:cubicBezTo>
                  <a:cubicBezTo>
                    <a:pt x="1230" y="985"/>
                    <a:pt x="1230" y="985"/>
                    <a:pt x="1230" y="985"/>
                  </a:cubicBezTo>
                  <a:cubicBezTo>
                    <a:pt x="1230" y="984"/>
                    <a:pt x="1230" y="984"/>
                    <a:pt x="1230" y="984"/>
                  </a:cubicBezTo>
                  <a:cubicBezTo>
                    <a:pt x="1230" y="982"/>
                    <a:pt x="1230" y="982"/>
                    <a:pt x="1230" y="982"/>
                  </a:cubicBezTo>
                  <a:cubicBezTo>
                    <a:pt x="1230" y="982"/>
                    <a:pt x="1230" y="982"/>
                    <a:pt x="1230" y="982"/>
                  </a:cubicBezTo>
                  <a:cubicBezTo>
                    <a:pt x="1229" y="980"/>
                    <a:pt x="1229" y="980"/>
                    <a:pt x="1229" y="980"/>
                  </a:cubicBezTo>
                  <a:cubicBezTo>
                    <a:pt x="1229" y="980"/>
                    <a:pt x="1229" y="980"/>
                    <a:pt x="1229" y="980"/>
                  </a:cubicBezTo>
                  <a:cubicBezTo>
                    <a:pt x="1229" y="979"/>
                    <a:pt x="1229" y="979"/>
                    <a:pt x="1229" y="979"/>
                  </a:cubicBezTo>
                  <a:cubicBezTo>
                    <a:pt x="1230" y="978"/>
                    <a:pt x="1230" y="978"/>
                    <a:pt x="1230" y="978"/>
                  </a:cubicBezTo>
                  <a:cubicBezTo>
                    <a:pt x="1230" y="978"/>
                    <a:pt x="1230" y="978"/>
                    <a:pt x="1230" y="978"/>
                  </a:cubicBezTo>
                  <a:cubicBezTo>
                    <a:pt x="1231" y="977"/>
                    <a:pt x="1231" y="977"/>
                    <a:pt x="1231" y="977"/>
                  </a:cubicBezTo>
                  <a:cubicBezTo>
                    <a:pt x="1232" y="976"/>
                    <a:pt x="1232" y="976"/>
                    <a:pt x="1232" y="976"/>
                  </a:cubicBezTo>
                  <a:cubicBezTo>
                    <a:pt x="1232" y="975"/>
                    <a:pt x="1232" y="975"/>
                    <a:pt x="1232" y="975"/>
                  </a:cubicBezTo>
                  <a:cubicBezTo>
                    <a:pt x="1232" y="974"/>
                    <a:pt x="1232" y="974"/>
                    <a:pt x="1232" y="974"/>
                  </a:cubicBezTo>
                  <a:cubicBezTo>
                    <a:pt x="1231" y="974"/>
                    <a:pt x="1231" y="974"/>
                    <a:pt x="1231" y="974"/>
                  </a:cubicBezTo>
                  <a:cubicBezTo>
                    <a:pt x="1230" y="974"/>
                    <a:pt x="1230" y="974"/>
                    <a:pt x="1230" y="974"/>
                  </a:cubicBezTo>
                  <a:cubicBezTo>
                    <a:pt x="1230" y="974"/>
                    <a:pt x="1230" y="974"/>
                    <a:pt x="1230" y="974"/>
                  </a:cubicBezTo>
                  <a:cubicBezTo>
                    <a:pt x="1230" y="974"/>
                    <a:pt x="1230" y="974"/>
                    <a:pt x="1230" y="974"/>
                  </a:cubicBezTo>
                  <a:cubicBezTo>
                    <a:pt x="1230" y="973"/>
                    <a:pt x="1230" y="973"/>
                    <a:pt x="1230" y="973"/>
                  </a:cubicBezTo>
                  <a:cubicBezTo>
                    <a:pt x="1230" y="972"/>
                    <a:pt x="1230" y="972"/>
                    <a:pt x="1230" y="972"/>
                  </a:cubicBezTo>
                  <a:cubicBezTo>
                    <a:pt x="1231" y="971"/>
                    <a:pt x="1231" y="971"/>
                    <a:pt x="1231" y="971"/>
                  </a:cubicBezTo>
                  <a:cubicBezTo>
                    <a:pt x="1230" y="971"/>
                    <a:pt x="1230" y="971"/>
                    <a:pt x="1230" y="971"/>
                  </a:cubicBezTo>
                  <a:cubicBezTo>
                    <a:pt x="1229" y="971"/>
                    <a:pt x="1229" y="971"/>
                    <a:pt x="1229" y="971"/>
                  </a:cubicBezTo>
                  <a:cubicBezTo>
                    <a:pt x="1228" y="971"/>
                    <a:pt x="1228" y="971"/>
                    <a:pt x="1228" y="971"/>
                  </a:cubicBezTo>
                  <a:cubicBezTo>
                    <a:pt x="1228" y="969"/>
                    <a:pt x="1228" y="969"/>
                    <a:pt x="1228" y="969"/>
                  </a:cubicBezTo>
                  <a:cubicBezTo>
                    <a:pt x="1228" y="968"/>
                    <a:pt x="1228" y="968"/>
                    <a:pt x="1228" y="968"/>
                  </a:cubicBezTo>
                  <a:cubicBezTo>
                    <a:pt x="1229" y="968"/>
                    <a:pt x="1229" y="968"/>
                    <a:pt x="1229" y="968"/>
                  </a:cubicBezTo>
                  <a:cubicBezTo>
                    <a:pt x="1229" y="967"/>
                    <a:pt x="1229" y="967"/>
                    <a:pt x="1229" y="967"/>
                  </a:cubicBezTo>
                  <a:cubicBezTo>
                    <a:pt x="1229" y="967"/>
                    <a:pt x="1229" y="967"/>
                    <a:pt x="1229" y="967"/>
                  </a:cubicBezTo>
                  <a:cubicBezTo>
                    <a:pt x="1228" y="967"/>
                    <a:pt x="1228" y="967"/>
                    <a:pt x="1228" y="967"/>
                  </a:cubicBezTo>
                  <a:cubicBezTo>
                    <a:pt x="1228" y="966"/>
                    <a:pt x="1228" y="966"/>
                    <a:pt x="1228" y="966"/>
                  </a:cubicBezTo>
                  <a:cubicBezTo>
                    <a:pt x="1228" y="966"/>
                    <a:pt x="1228" y="966"/>
                    <a:pt x="1228" y="966"/>
                  </a:cubicBezTo>
                  <a:cubicBezTo>
                    <a:pt x="1227" y="966"/>
                    <a:pt x="1227" y="966"/>
                    <a:pt x="1227" y="966"/>
                  </a:cubicBezTo>
                  <a:cubicBezTo>
                    <a:pt x="1227" y="966"/>
                    <a:pt x="1227" y="966"/>
                    <a:pt x="1227" y="966"/>
                  </a:cubicBezTo>
                  <a:cubicBezTo>
                    <a:pt x="1227" y="963"/>
                    <a:pt x="1227" y="963"/>
                    <a:pt x="1227" y="963"/>
                  </a:cubicBezTo>
                  <a:cubicBezTo>
                    <a:pt x="1227" y="963"/>
                    <a:pt x="1227" y="963"/>
                    <a:pt x="1227" y="963"/>
                  </a:cubicBezTo>
                  <a:cubicBezTo>
                    <a:pt x="1226" y="962"/>
                    <a:pt x="1226" y="962"/>
                    <a:pt x="1226" y="962"/>
                  </a:cubicBezTo>
                  <a:cubicBezTo>
                    <a:pt x="1225" y="962"/>
                    <a:pt x="1225" y="962"/>
                    <a:pt x="1225" y="962"/>
                  </a:cubicBezTo>
                  <a:cubicBezTo>
                    <a:pt x="1225" y="961"/>
                    <a:pt x="1225" y="961"/>
                    <a:pt x="1225" y="961"/>
                  </a:cubicBezTo>
                  <a:cubicBezTo>
                    <a:pt x="1224" y="961"/>
                    <a:pt x="1224" y="961"/>
                    <a:pt x="1224" y="961"/>
                  </a:cubicBezTo>
                  <a:cubicBezTo>
                    <a:pt x="1224" y="960"/>
                    <a:pt x="1224" y="960"/>
                    <a:pt x="1224" y="960"/>
                  </a:cubicBezTo>
                  <a:cubicBezTo>
                    <a:pt x="1225" y="960"/>
                    <a:pt x="1225" y="960"/>
                    <a:pt x="1225" y="960"/>
                  </a:cubicBezTo>
                  <a:cubicBezTo>
                    <a:pt x="1225" y="960"/>
                    <a:pt x="1225" y="960"/>
                    <a:pt x="1225" y="960"/>
                  </a:cubicBezTo>
                  <a:cubicBezTo>
                    <a:pt x="1225" y="960"/>
                    <a:pt x="1225" y="960"/>
                    <a:pt x="1225" y="960"/>
                  </a:cubicBezTo>
                  <a:cubicBezTo>
                    <a:pt x="1225" y="960"/>
                    <a:pt x="1225" y="960"/>
                    <a:pt x="1225" y="960"/>
                  </a:cubicBezTo>
                  <a:cubicBezTo>
                    <a:pt x="1225" y="961"/>
                    <a:pt x="1225" y="961"/>
                    <a:pt x="1225" y="961"/>
                  </a:cubicBezTo>
                  <a:cubicBezTo>
                    <a:pt x="1226" y="961"/>
                    <a:pt x="1226" y="961"/>
                    <a:pt x="1226" y="961"/>
                  </a:cubicBezTo>
                  <a:cubicBezTo>
                    <a:pt x="1227" y="962"/>
                    <a:pt x="1227" y="962"/>
                    <a:pt x="1227" y="962"/>
                  </a:cubicBezTo>
                  <a:cubicBezTo>
                    <a:pt x="1228" y="963"/>
                    <a:pt x="1228" y="963"/>
                    <a:pt x="1228" y="963"/>
                  </a:cubicBezTo>
                  <a:cubicBezTo>
                    <a:pt x="1228" y="963"/>
                    <a:pt x="1228" y="963"/>
                    <a:pt x="1228" y="963"/>
                  </a:cubicBezTo>
                  <a:cubicBezTo>
                    <a:pt x="1228" y="964"/>
                    <a:pt x="1228" y="964"/>
                    <a:pt x="1228" y="964"/>
                  </a:cubicBezTo>
                  <a:cubicBezTo>
                    <a:pt x="1228" y="964"/>
                    <a:pt x="1228" y="964"/>
                    <a:pt x="1228" y="964"/>
                  </a:cubicBezTo>
                  <a:cubicBezTo>
                    <a:pt x="1228" y="965"/>
                    <a:pt x="1228" y="965"/>
                    <a:pt x="1228" y="965"/>
                  </a:cubicBezTo>
                  <a:cubicBezTo>
                    <a:pt x="1228" y="965"/>
                    <a:pt x="1228" y="965"/>
                    <a:pt x="1228" y="965"/>
                  </a:cubicBezTo>
                  <a:cubicBezTo>
                    <a:pt x="1229" y="965"/>
                    <a:pt x="1229" y="965"/>
                    <a:pt x="1229" y="965"/>
                  </a:cubicBezTo>
                  <a:cubicBezTo>
                    <a:pt x="1229" y="966"/>
                    <a:pt x="1229" y="966"/>
                    <a:pt x="1229" y="966"/>
                  </a:cubicBezTo>
                  <a:cubicBezTo>
                    <a:pt x="1230" y="967"/>
                    <a:pt x="1230" y="967"/>
                    <a:pt x="1230" y="967"/>
                  </a:cubicBezTo>
                  <a:cubicBezTo>
                    <a:pt x="1230" y="968"/>
                    <a:pt x="1230" y="968"/>
                    <a:pt x="1230" y="968"/>
                  </a:cubicBezTo>
                  <a:cubicBezTo>
                    <a:pt x="1229" y="970"/>
                    <a:pt x="1229" y="970"/>
                    <a:pt x="1229" y="970"/>
                  </a:cubicBezTo>
                  <a:cubicBezTo>
                    <a:pt x="1229" y="970"/>
                    <a:pt x="1229" y="970"/>
                    <a:pt x="1229" y="970"/>
                  </a:cubicBezTo>
                  <a:cubicBezTo>
                    <a:pt x="1230" y="970"/>
                    <a:pt x="1230" y="970"/>
                    <a:pt x="1230" y="970"/>
                  </a:cubicBezTo>
                  <a:cubicBezTo>
                    <a:pt x="1231" y="970"/>
                    <a:pt x="1231" y="970"/>
                    <a:pt x="1231" y="970"/>
                  </a:cubicBezTo>
                  <a:cubicBezTo>
                    <a:pt x="1232" y="970"/>
                    <a:pt x="1232" y="970"/>
                    <a:pt x="1232" y="970"/>
                  </a:cubicBezTo>
                  <a:cubicBezTo>
                    <a:pt x="1232" y="970"/>
                    <a:pt x="1232" y="970"/>
                    <a:pt x="1232" y="970"/>
                  </a:cubicBezTo>
                  <a:cubicBezTo>
                    <a:pt x="1232" y="971"/>
                    <a:pt x="1232" y="971"/>
                    <a:pt x="1232" y="971"/>
                  </a:cubicBezTo>
                  <a:cubicBezTo>
                    <a:pt x="1231" y="972"/>
                    <a:pt x="1231" y="972"/>
                    <a:pt x="1231" y="972"/>
                  </a:cubicBezTo>
                  <a:cubicBezTo>
                    <a:pt x="1231" y="973"/>
                    <a:pt x="1231" y="973"/>
                    <a:pt x="1231" y="973"/>
                  </a:cubicBezTo>
                  <a:cubicBezTo>
                    <a:pt x="1231" y="973"/>
                    <a:pt x="1231" y="973"/>
                    <a:pt x="1231" y="973"/>
                  </a:cubicBezTo>
                  <a:cubicBezTo>
                    <a:pt x="1233" y="974"/>
                    <a:pt x="1233" y="974"/>
                    <a:pt x="1233" y="974"/>
                  </a:cubicBezTo>
                  <a:cubicBezTo>
                    <a:pt x="1233" y="974"/>
                    <a:pt x="1233" y="974"/>
                    <a:pt x="1233" y="974"/>
                  </a:cubicBezTo>
                  <a:cubicBezTo>
                    <a:pt x="1233" y="975"/>
                    <a:pt x="1233" y="975"/>
                    <a:pt x="1233" y="975"/>
                  </a:cubicBezTo>
                  <a:cubicBezTo>
                    <a:pt x="1233" y="976"/>
                    <a:pt x="1233" y="976"/>
                    <a:pt x="1233" y="976"/>
                  </a:cubicBezTo>
                  <a:cubicBezTo>
                    <a:pt x="1232" y="977"/>
                    <a:pt x="1232" y="977"/>
                    <a:pt x="1232" y="977"/>
                  </a:cubicBezTo>
                  <a:cubicBezTo>
                    <a:pt x="1231" y="978"/>
                    <a:pt x="1231" y="978"/>
                    <a:pt x="1231" y="978"/>
                  </a:cubicBezTo>
                  <a:cubicBezTo>
                    <a:pt x="1231" y="980"/>
                    <a:pt x="1231" y="980"/>
                    <a:pt x="1231" y="980"/>
                  </a:cubicBezTo>
                  <a:cubicBezTo>
                    <a:pt x="1231" y="981"/>
                    <a:pt x="1231" y="981"/>
                    <a:pt x="1231" y="981"/>
                  </a:cubicBezTo>
                  <a:cubicBezTo>
                    <a:pt x="1231" y="982"/>
                    <a:pt x="1231" y="982"/>
                    <a:pt x="1231" y="982"/>
                  </a:cubicBezTo>
                  <a:cubicBezTo>
                    <a:pt x="1232" y="983"/>
                    <a:pt x="1232" y="983"/>
                    <a:pt x="1232" y="983"/>
                  </a:cubicBezTo>
                  <a:cubicBezTo>
                    <a:pt x="1232" y="983"/>
                    <a:pt x="1232" y="983"/>
                    <a:pt x="1232" y="983"/>
                  </a:cubicBezTo>
                  <a:cubicBezTo>
                    <a:pt x="1232" y="984"/>
                    <a:pt x="1232" y="984"/>
                    <a:pt x="1232" y="984"/>
                  </a:cubicBezTo>
                  <a:cubicBezTo>
                    <a:pt x="1232" y="985"/>
                    <a:pt x="1232" y="985"/>
                    <a:pt x="1232" y="985"/>
                  </a:cubicBezTo>
                  <a:cubicBezTo>
                    <a:pt x="1233" y="986"/>
                    <a:pt x="1233" y="986"/>
                    <a:pt x="1233" y="986"/>
                  </a:cubicBezTo>
                  <a:cubicBezTo>
                    <a:pt x="1233" y="987"/>
                    <a:pt x="1233" y="987"/>
                    <a:pt x="1233" y="987"/>
                  </a:cubicBezTo>
                  <a:cubicBezTo>
                    <a:pt x="1233" y="987"/>
                    <a:pt x="1233" y="987"/>
                    <a:pt x="1233" y="987"/>
                  </a:cubicBezTo>
                  <a:cubicBezTo>
                    <a:pt x="1234" y="987"/>
                    <a:pt x="1234" y="987"/>
                    <a:pt x="1234" y="987"/>
                  </a:cubicBezTo>
                  <a:cubicBezTo>
                    <a:pt x="1236" y="988"/>
                    <a:pt x="1236" y="988"/>
                    <a:pt x="1236" y="988"/>
                  </a:cubicBezTo>
                  <a:cubicBezTo>
                    <a:pt x="1236" y="988"/>
                    <a:pt x="1236" y="988"/>
                    <a:pt x="1236" y="988"/>
                  </a:cubicBezTo>
                  <a:cubicBezTo>
                    <a:pt x="1237" y="990"/>
                    <a:pt x="1237" y="990"/>
                    <a:pt x="1237" y="990"/>
                  </a:cubicBezTo>
                  <a:cubicBezTo>
                    <a:pt x="1237" y="990"/>
                    <a:pt x="1237" y="990"/>
                    <a:pt x="1237" y="990"/>
                  </a:cubicBezTo>
                  <a:cubicBezTo>
                    <a:pt x="1238" y="989"/>
                    <a:pt x="1238" y="989"/>
                    <a:pt x="1238" y="989"/>
                  </a:cubicBezTo>
                  <a:cubicBezTo>
                    <a:pt x="1238" y="989"/>
                    <a:pt x="1238" y="989"/>
                    <a:pt x="1238" y="989"/>
                  </a:cubicBezTo>
                  <a:cubicBezTo>
                    <a:pt x="1239" y="989"/>
                    <a:pt x="1239" y="989"/>
                    <a:pt x="1239" y="989"/>
                  </a:cubicBezTo>
                  <a:cubicBezTo>
                    <a:pt x="1239" y="989"/>
                    <a:pt x="1239" y="989"/>
                    <a:pt x="1239" y="989"/>
                  </a:cubicBezTo>
                  <a:cubicBezTo>
                    <a:pt x="1239" y="989"/>
                    <a:pt x="1239" y="989"/>
                    <a:pt x="1239" y="989"/>
                  </a:cubicBezTo>
                  <a:cubicBezTo>
                    <a:pt x="1240" y="988"/>
                    <a:pt x="1240" y="988"/>
                    <a:pt x="1240" y="988"/>
                  </a:cubicBezTo>
                  <a:cubicBezTo>
                    <a:pt x="1240" y="988"/>
                    <a:pt x="1240" y="988"/>
                    <a:pt x="1240" y="988"/>
                  </a:cubicBezTo>
                  <a:cubicBezTo>
                    <a:pt x="1240" y="988"/>
                    <a:pt x="1240" y="988"/>
                    <a:pt x="1240" y="988"/>
                  </a:cubicBezTo>
                  <a:cubicBezTo>
                    <a:pt x="1241" y="989"/>
                    <a:pt x="1241" y="989"/>
                    <a:pt x="1241" y="989"/>
                  </a:cubicBezTo>
                  <a:cubicBezTo>
                    <a:pt x="1243" y="990"/>
                    <a:pt x="1243" y="990"/>
                    <a:pt x="1243" y="990"/>
                  </a:cubicBezTo>
                  <a:cubicBezTo>
                    <a:pt x="1244" y="990"/>
                    <a:pt x="1244" y="990"/>
                    <a:pt x="1244" y="990"/>
                  </a:cubicBezTo>
                  <a:cubicBezTo>
                    <a:pt x="1277" y="925"/>
                    <a:pt x="1302" y="856"/>
                    <a:pt x="1317" y="782"/>
                  </a:cubicBezTo>
                  <a:cubicBezTo>
                    <a:pt x="1317" y="782"/>
                    <a:pt x="1317" y="782"/>
                    <a:pt x="1317" y="782"/>
                  </a:cubicBezTo>
                  <a:cubicBezTo>
                    <a:pt x="1317" y="782"/>
                    <a:pt x="1317" y="781"/>
                    <a:pt x="1317" y="781"/>
                  </a:cubicBezTo>
                  <a:cubicBezTo>
                    <a:pt x="1317" y="781"/>
                    <a:pt x="1317" y="781"/>
                    <a:pt x="1317" y="780"/>
                  </a:cubicBezTo>
                  <a:close/>
                  <a:moveTo>
                    <a:pt x="70" y="1249"/>
                  </a:moveTo>
                  <a:cubicBezTo>
                    <a:pt x="70" y="1249"/>
                    <a:pt x="70" y="1249"/>
                    <a:pt x="70" y="1249"/>
                  </a:cubicBezTo>
                  <a:cubicBezTo>
                    <a:pt x="70" y="1249"/>
                    <a:pt x="70" y="1249"/>
                    <a:pt x="70" y="1249"/>
                  </a:cubicBezTo>
                  <a:cubicBezTo>
                    <a:pt x="71" y="1249"/>
                    <a:pt x="71" y="1249"/>
                    <a:pt x="71" y="1249"/>
                  </a:cubicBezTo>
                  <a:cubicBezTo>
                    <a:pt x="71" y="1249"/>
                    <a:pt x="71" y="1249"/>
                    <a:pt x="71" y="1249"/>
                  </a:cubicBezTo>
                  <a:cubicBezTo>
                    <a:pt x="71" y="1249"/>
                    <a:pt x="71" y="1249"/>
                    <a:pt x="71" y="1249"/>
                  </a:cubicBezTo>
                  <a:cubicBezTo>
                    <a:pt x="70" y="1249"/>
                    <a:pt x="70" y="1249"/>
                    <a:pt x="70" y="1249"/>
                  </a:cubicBezTo>
                  <a:cubicBezTo>
                    <a:pt x="70" y="1249"/>
                    <a:pt x="70" y="1249"/>
                    <a:pt x="70" y="1249"/>
                  </a:cubicBezTo>
                  <a:cubicBezTo>
                    <a:pt x="70" y="1249"/>
                    <a:pt x="70" y="1249"/>
                    <a:pt x="70" y="1249"/>
                  </a:cubicBezTo>
                  <a:cubicBezTo>
                    <a:pt x="69" y="1249"/>
                    <a:pt x="69" y="1249"/>
                    <a:pt x="69" y="1249"/>
                  </a:cubicBezTo>
                  <a:lnTo>
                    <a:pt x="70" y="1249"/>
                  </a:lnTo>
                  <a:close/>
                  <a:moveTo>
                    <a:pt x="81" y="1192"/>
                  </a:moveTo>
                  <a:cubicBezTo>
                    <a:pt x="81" y="1191"/>
                    <a:pt x="81" y="1191"/>
                    <a:pt x="81" y="1191"/>
                  </a:cubicBezTo>
                  <a:cubicBezTo>
                    <a:pt x="81" y="1191"/>
                    <a:pt x="81" y="1191"/>
                    <a:pt x="81" y="1191"/>
                  </a:cubicBezTo>
                  <a:cubicBezTo>
                    <a:pt x="81" y="1191"/>
                    <a:pt x="81" y="1191"/>
                    <a:pt x="81" y="1191"/>
                  </a:cubicBezTo>
                  <a:cubicBezTo>
                    <a:pt x="81" y="1191"/>
                    <a:pt x="81" y="1191"/>
                    <a:pt x="81" y="1191"/>
                  </a:cubicBezTo>
                  <a:cubicBezTo>
                    <a:pt x="81" y="1192"/>
                    <a:pt x="81" y="1192"/>
                    <a:pt x="81" y="1192"/>
                  </a:cubicBezTo>
                  <a:close/>
                  <a:moveTo>
                    <a:pt x="82" y="1185"/>
                  </a:moveTo>
                  <a:cubicBezTo>
                    <a:pt x="82" y="1186"/>
                    <a:pt x="82" y="1186"/>
                    <a:pt x="82" y="1186"/>
                  </a:cubicBezTo>
                  <a:cubicBezTo>
                    <a:pt x="81" y="1185"/>
                    <a:pt x="81" y="1185"/>
                    <a:pt x="81" y="1185"/>
                  </a:cubicBezTo>
                  <a:cubicBezTo>
                    <a:pt x="81" y="1185"/>
                    <a:pt x="81" y="1185"/>
                    <a:pt x="81" y="1185"/>
                  </a:cubicBezTo>
                  <a:cubicBezTo>
                    <a:pt x="81" y="1185"/>
                    <a:pt x="81" y="1185"/>
                    <a:pt x="81" y="1185"/>
                  </a:cubicBezTo>
                  <a:cubicBezTo>
                    <a:pt x="81" y="1185"/>
                    <a:pt x="81" y="1185"/>
                    <a:pt x="81" y="1185"/>
                  </a:cubicBezTo>
                  <a:cubicBezTo>
                    <a:pt x="81" y="1185"/>
                    <a:pt x="81" y="1185"/>
                    <a:pt x="81" y="1185"/>
                  </a:cubicBezTo>
                  <a:cubicBezTo>
                    <a:pt x="81" y="1185"/>
                    <a:pt x="81" y="1185"/>
                    <a:pt x="81" y="1185"/>
                  </a:cubicBezTo>
                  <a:lnTo>
                    <a:pt x="82" y="1185"/>
                  </a:lnTo>
                  <a:close/>
                  <a:moveTo>
                    <a:pt x="75" y="1183"/>
                  </a:moveTo>
                  <a:cubicBezTo>
                    <a:pt x="76" y="1183"/>
                    <a:pt x="76" y="1183"/>
                    <a:pt x="76" y="1183"/>
                  </a:cubicBezTo>
                  <a:cubicBezTo>
                    <a:pt x="78" y="1183"/>
                    <a:pt x="78" y="1183"/>
                    <a:pt x="78" y="1183"/>
                  </a:cubicBezTo>
                  <a:cubicBezTo>
                    <a:pt x="79" y="1182"/>
                    <a:pt x="79" y="1182"/>
                    <a:pt x="79" y="1182"/>
                  </a:cubicBezTo>
                  <a:cubicBezTo>
                    <a:pt x="79" y="1182"/>
                    <a:pt x="79" y="1182"/>
                    <a:pt x="79" y="1182"/>
                  </a:cubicBezTo>
                  <a:cubicBezTo>
                    <a:pt x="80" y="1182"/>
                    <a:pt x="80" y="1182"/>
                    <a:pt x="80" y="1182"/>
                  </a:cubicBezTo>
                  <a:cubicBezTo>
                    <a:pt x="80" y="1182"/>
                    <a:pt x="80" y="1182"/>
                    <a:pt x="80" y="1182"/>
                  </a:cubicBezTo>
                  <a:cubicBezTo>
                    <a:pt x="81" y="1183"/>
                    <a:pt x="81" y="1183"/>
                    <a:pt x="81" y="1183"/>
                  </a:cubicBezTo>
                  <a:cubicBezTo>
                    <a:pt x="81" y="1183"/>
                    <a:pt x="81" y="1183"/>
                    <a:pt x="81" y="1183"/>
                  </a:cubicBezTo>
                  <a:cubicBezTo>
                    <a:pt x="81" y="1183"/>
                    <a:pt x="81" y="1183"/>
                    <a:pt x="81" y="1183"/>
                  </a:cubicBezTo>
                  <a:cubicBezTo>
                    <a:pt x="80" y="1182"/>
                    <a:pt x="80" y="1182"/>
                    <a:pt x="80" y="1182"/>
                  </a:cubicBezTo>
                  <a:cubicBezTo>
                    <a:pt x="80" y="1182"/>
                    <a:pt x="80" y="1182"/>
                    <a:pt x="80" y="1182"/>
                  </a:cubicBezTo>
                  <a:cubicBezTo>
                    <a:pt x="79" y="1183"/>
                    <a:pt x="79" y="1183"/>
                    <a:pt x="79" y="1183"/>
                  </a:cubicBezTo>
                  <a:cubicBezTo>
                    <a:pt x="78" y="1183"/>
                    <a:pt x="78" y="1183"/>
                    <a:pt x="78" y="1183"/>
                  </a:cubicBezTo>
                  <a:cubicBezTo>
                    <a:pt x="76" y="1183"/>
                    <a:pt x="76" y="1183"/>
                    <a:pt x="76" y="1183"/>
                  </a:cubicBezTo>
                  <a:cubicBezTo>
                    <a:pt x="75" y="1183"/>
                    <a:pt x="75" y="1183"/>
                    <a:pt x="75" y="1183"/>
                  </a:cubicBezTo>
                  <a:cubicBezTo>
                    <a:pt x="74" y="1181"/>
                    <a:pt x="74" y="1181"/>
                    <a:pt x="74" y="1181"/>
                  </a:cubicBezTo>
                  <a:lnTo>
                    <a:pt x="75" y="1183"/>
                  </a:lnTo>
                  <a:close/>
                  <a:moveTo>
                    <a:pt x="54" y="1186"/>
                  </a:moveTo>
                  <a:cubicBezTo>
                    <a:pt x="54" y="1186"/>
                    <a:pt x="54" y="1186"/>
                    <a:pt x="54" y="1186"/>
                  </a:cubicBezTo>
                  <a:cubicBezTo>
                    <a:pt x="54" y="1186"/>
                    <a:pt x="54" y="1186"/>
                    <a:pt x="54" y="1186"/>
                  </a:cubicBezTo>
                  <a:close/>
                  <a:moveTo>
                    <a:pt x="34" y="1178"/>
                  </a:moveTo>
                  <a:cubicBezTo>
                    <a:pt x="35" y="1178"/>
                    <a:pt x="35" y="1178"/>
                    <a:pt x="35" y="1178"/>
                  </a:cubicBezTo>
                  <a:cubicBezTo>
                    <a:pt x="34" y="1178"/>
                    <a:pt x="34" y="1178"/>
                    <a:pt x="34" y="1178"/>
                  </a:cubicBezTo>
                  <a:cubicBezTo>
                    <a:pt x="34" y="1178"/>
                    <a:pt x="34" y="1178"/>
                    <a:pt x="34" y="1178"/>
                  </a:cubicBezTo>
                  <a:cubicBezTo>
                    <a:pt x="33" y="1178"/>
                    <a:pt x="33" y="1178"/>
                    <a:pt x="33" y="1178"/>
                  </a:cubicBezTo>
                  <a:cubicBezTo>
                    <a:pt x="33" y="1177"/>
                    <a:pt x="33" y="1177"/>
                    <a:pt x="33" y="1177"/>
                  </a:cubicBezTo>
                  <a:cubicBezTo>
                    <a:pt x="34" y="1177"/>
                    <a:pt x="34" y="1177"/>
                    <a:pt x="34" y="1177"/>
                  </a:cubicBezTo>
                  <a:lnTo>
                    <a:pt x="34" y="1178"/>
                  </a:lnTo>
                  <a:close/>
                  <a:moveTo>
                    <a:pt x="40" y="1186"/>
                  </a:moveTo>
                  <a:cubicBezTo>
                    <a:pt x="40" y="1186"/>
                    <a:pt x="40" y="1186"/>
                    <a:pt x="40" y="1186"/>
                  </a:cubicBezTo>
                  <a:cubicBezTo>
                    <a:pt x="40" y="1186"/>
                    <a:pt x="40" y="1186"/>
                    <a:pt x="40" y="1186"/>
                  </a:cubicBezTo>
                  <a:cubicBezTo>
                    <a:pt x="39" y="1186"/>
                    <a:pt x="39" y="1186"/>
                    <a:pt x="39" y="1186"/>
                  </a:cubicBezTo>
                  <a:cubicBezTo>
                    <a:pt x="39" y="1187"/>
                    <a:pt x="39" y="1187"/>
                    <a:pt x="39" y="1187"/>
                  </a:cubicBezTo>
                  <a:cubicBezTo>
                    <a:pt x="38" y="1188"/>
                    <a:pt x="38" y="1188"/>
                    <a:pt x="38" y="1188"/>
                  </a:cubicBezTo>
                  <a:cubicBezTo>
                    <a:pt x="37" y="1188"/>
                    <a:pt x="37" y="1188"/>
                    <a:pt x="37" y="1188"/>
                  </a:cubicBezTo>
                  <a:cubicBezTo>
                    <a:pt x="34" y="1188"/>
                    <a:pt x="34" y="1188"/>
                    <a:pt x="34" y="1188"/>
                  </a:cubicBezTo>
                  <a:cubicBezTo>
                    <a:pt x="34" y="1188"/>
                    <a:pt x="34" y="1188"/>
                    <a:pt x="34" y="1188"/>
                  </a:cubicBezTo>
                  <a:cubicBezTo>
                    <a:pt x="34" y="1188"/>
                    <a:pt x="34" y="1188"/>
                    <a:pt x="34" y="1188"/>
                  </a:cubicBezTo>
                  <a:cubicBezTo>
                    <a:pt x="35" y="1188"/>
                    <a:pt x="35" y="1188"/>
                    <a:pt x="35" y="1188"/>
                  </a:cubicBezTo>
                  <a:cubicBezTo>
                    <a:pt x="37" y="1187"/>
                    <a:pt x="37" y="1187"/>
                    <a:pt x="37" y="1187"/>
                  </a:cubicBezTo>
                  <a:cubicBezTo>
                    <a:pt x="37" y="1186"/>
                    <a:pt x="37" y="1186"/>
                    <a:pt x="37" y="1186"/>
                  </a:cubicBezTo>
                  <a:cubicBezTo>
                    <a:pt x="38" y="1186"/>
                    <a:pt x="38" y="1186"/>
                    <a:pt x="38" y="1186"/>
                  </a:cubicBezTo>
                  <a:cubicBezTo>
                    <a:pt x="38" y="1186"/>
                    <a:pt x="38" y="1186"/>
                    <a:pt x="38" y="1186"/>
                  </a:cubicBezTo>
                  <a:cubicBezTo>
                    <a:pt x="39" y="1185"/>
                    <a:pt x="39" y="1185"/>
                    <a:pt x="39" y="1185"/>
                  </a:cubicBezTo>
                  <a:cubicBezTo>
                    <a:pt x="39" y="1185"/>
                    <a:pt x="39" y="1185"/>
                    <a:pt x="39" y="1185"/>
                  </a:cubicBezTo>
                  <a:cubicBezTo>
                    <a:pt x="40" y="1185"/>
                    <a:pt x="40" y="1185"/>
                    <a:pt x="40" y="1185"/>
                  </a:cubicBezTo>
                  <a:cubicBezTo>
                    <a:pt x="40" y="1185"/>
                    <a:pt x="40" y="1185"/>
                    <a:pt x="40" y="1185"/>
                  </a:cubicBezTo>
                  <a:cubicBezTo>
                    <a:pt x="40" y="1184"/>
                    <a:pt x="40" y="1184"/>
                    <a:pt x="40" y="1184"/>
                  </a:cubicBezTo>
                  <a:cubicBezTo>
                    <a:pt x="40" y="1184"/>
                    <a:pt x="40" y="1184"/>
                    <a:pt x="40" y="1184"/>
                  </a:cubicBezTo>
                  <a:cubicBezTo>
                    <a:pt x="41" y="1184"/>
                    <a:pt x="41" y="1184"/>
                    <a:pt x="41" y="1184"/>
                  </a:cubicBezTo>
                  <a:cubicBezTo>
                    <a:pt x="41" y="1185"/>
                    <a:pt x="41" y="1185"/>
                    <a:pt x="41" y="1185"/>
                  </a:cubicBezTo>
                  <a:cubicBezTo>
                    <a:pt x="41" y="1186"/>
                    <a:pt x="41" y="1186"/>
                    <a:pt x="41" y="1186"/>
                  </a:cubicBezTo>
                  <a:cubicBezTo>
                    <a:pt x="41" y="1186"/>
                    <a:pt x="41" y="1186"/>
                    <a:pt x="41" y="1186"/>
                  </a:cubicBezTo>
                  <a:cubicBezTo>
                    <a:pt x="41" y="1186"/>
                    <a:pt x="41" y="1186"/>
                    <a:pt x="41" y="1186"/>
                  </a:cubicBezTo>
                  <a:lnTo>
                    <a:pt x="40" y="1186"/>
                  </a:lnTo>
                  <a:close/>
                  <a:moveTo>
                    <a:pt x="45" y="1185"/>
                  </a:moveTo>
                  <a:cubicBezTo>
                    <a:pt x="44" y="1185"/>
                    <a:pt x="44" y="1185"/>
                    <a:pt x="44" y="1185"/>
                  </a:cubicBezTo>
                  <a:cubicBezTo>
                    <a:pt x="44" y="1185"/>
                    <a:pt x="44" y="1185"/>
                    <a:pt x="44" y="1185"/>
                  </a:cubicBezTo>
                  <a:cubicBezTo>
                    <a:pt x="44" y="1186"/>
                    <a:pt x="44" y="1186"/>
                    <a:pt x="44" y="1186"/>
                  </a:cubicBezTo>
                  <a:cubicBezTo>
                    <a:pt x="43" y="1186"/>
                    <a:pt x="43" y="1186"/>
                    <a:pt x="43" y="1186"/>
                  </a:cubicBezTo>
                  <a:cubicBezTo>
                    <a:pt x="43" y="1186"/>
                    <a:pt x="43" y="1186"/>
                    <a:pt x="43" y="1186"/>
                  </a:cubicBezTo>
                  <a:cubicBezTo>
                    <a:pt x="42" y="1186"/>
                    <a:pt x="42" y="1186"/>
                    <a:pt x="42" y="1186"/>
                  </a:cubicBezTo>
                  <a:cubicBezTo>
                    <a:pt x="42" y="1186"/>
                    <a:pt x="42" y="1186"/>
                    <a:pt x="42" y="1186"/>
                  </a:cubicBezTo>
                  <a:cubicBezTo>
                    <a:pt x="42" y="1185"/>
                    <a:pt x="42" y="1185"/>
                    <a:pt x="42" y="1185"/>
                  </a:cubicBezTo>
                  <a:cubicBezTo>
                    <a:pt x="43" y="1185"/>
                    <a:pt x="43" y="1185"/>
                    <a:pt x="43" y="1185"/>
                  </a:cubicBezTo>
                  <a:cubicBezTo>
                    <a:pt x="43" y="1185"/>
                    <a:pt x="43" y="1185"/>
                    <a:pt x="43" y="1185"/>
                  </a:cubicBezTo>
                  <a:cubicBezTo>
                    <a:pt x="44" y="1185"/>
                    <a:pt x="44" y="1185"/>
                    <a:pt x="44" y="1185"/>
                  </a:cubicBezTo>
                  <a:cubicBezTo>
                    <a:pt x="46" y="1184"/>
                    <a:pt x="46" y="1184"/>
                    <a:pt x="46" y="1184"/>
                  </a:cubicBezTo>
                  <a:cubicBezTo>
                    <a:pt x="46" y="1184"/>
                    <a:pt x="46" y="1184"/>
                    <a:pt x="46" y="1184"/>
                  </a:cubicBezTo>
                  <a:cubicBezTo>
                    <a:pt x="47" y="1184"/>
                    <a:pt x="47" y="1184"/>
                    <a:pt x="47" y="1184"/>
                  </a:cubicBezTo>
                  <a:cubicBezTo>
                    <a:pt x="47" y="1185"/>
                    <a:pt x="47" y="1185"/>
                    <a:pt x="47" y="1185"/>
                  </a:cubicBezTo>
                  <a:cubicBezTo>
                    <a:pt x="47" y="1185"/>
                    <a:pt x="47" y="1185"/>
                    <a:pt x="47" y="1185"/>
                  </a:cubicBezTo>
                  <a:lnTo>
                    <a:pt x="45" y="1185"/>
                  </a:lnTo>
                  <a:close/>
                  <a:moveTo>
                    <a:pt x="49" y="1185"/>
                  </a:moveTo>
                  <a:cubicBezTo>
                    <a:pt x="48" y="1185"/>
                    <a:pt x="48" y="1185"/>
                    <a:pt x="48" y="1185"/>
                  </a:cubicBezTo>
                  <a:cubicBezTo>
                    <a:pt x="50" y="1185"/>
                    <a:pt x="50" y="1185"/>
                    <a:pt x="50" y="1185"/>
                  </a:cubicBezTo>
                  <a:cubicBezTo>
                    <a:pt x="50" y="1186"/>
                    <a:pt x="50" y="1186"/>
                    <a:pt x="50" y="1186"/>
                  </a:cubicBezTo>
                  <a:cubicBezTo>
                    <a:pt x="49" y="1185"/>
                    <a:pt x="49" y="1185"/>
                    <a:pt x="49" y="1185"/>
                  </a:cubicBezTo>
                  <a:close/>
                  <a:moveTo>
                    <a:pt x="53" y="1186"/>
                  </a:moveTo>
                  <a:cubicBezTo>
                    <a:pt x="53" y="1186"/>
                    <a:pt x="53" y="1186"/>
                    <a:pt x="53" y="1186"/>
                  </a:cubicBezTo>
                  <a:cubicBezTo>
                    <a:pt x="53" y="1187"/>
                    <a:pt x="53" y="1187"/>
                    <a:pt x="53" y="1187"/>
                  </a:cubicBezTo>
                  <a:cubicBezTo>
                    <a:pt x="53" y="1187"/>
                    <a:pt x="53" y="1187"/>
                    <a:pt x="53" y="1187"/>
                  </a:cubicBezTo>
                  <a:cubicBezTo>
                    <a:pt x="53" y="1187"/>
                    <a:pt x="53" y="1187"/>
                    <a:pt x="53" y="1187"/>
                  </a:cubicBezTo>
                  <a:cubicBezTo>
                    <a:pt x="52" y="1187"/>
                    <a:pt x="52" y="1187"/>
                    <a:pt x="52" y="1187"/>
                  </a:cubicBezTo>
                  <a:cubicBezTo>
                    <a:pt x="51" y="1188"/>
                    <a:pt x="51" y="1188"/>
                    <a:pt x="51" y="1188"/>
                  </a:cubicBezTo>
                  <a:cubicBezTo>
                    <a:pt x="51" y="1188"/>
                    <a:pt x="51" y="1188"/>
                    <a:pt x="51" y="1188"/>
                  </a:cubicBezTo>
                  <a:cubicBezTo>
                    <a:pt x="50" y="1187"/>
                    <a:pt x="50" y="1187"/>
                    <a:pt x="50" y="1187"/>
                  </a:cubicBezTo>
                  <a:cubicBezTo>
                    <a:pt x="50" y="1187"/>
                    <a:pt x="50" y="1187"/>
                    <a:pt x="50" y="1187"/>
                  </a:cubicBezTo>
                  <a:cubicBezTo>
                    <a:pt x="51" y="1187"/>
                    <a:pt x="51" y="1187"/>
                    <a:pt x="51" y="1187"/>
                  </a:cubicBezTo>
                  <a:cubicBezTo>
                    <a:pt x="52" y="1187"/>
                    <a:pt x="52" y="1187"/>
                    <a:pt x="52" y="1187"/>
                  </a:cubicBezTo>
                  <a:cubicBezTo>
                    <a:pt x="52" y="1187"/>
                    <a:pt x="52" y="1187"/>
                    <a:pt x="52" y="1187"/>
                  </a:cubicBezTo>
                  <a:cubicBezTo>
                    <a:pt x="52" y="1186"/>
                    <a:pt x="52" y="1186"/>
                    <a:pt x="52" y="1186"/>
                  </a:cubicBezTo>
                  <a:cubicBezTo>
                    <a:pt x="52" y="1186"/>
                    <a:pt x="52" y="1186"/>
                    <a:pt x="52" y="1186"/>
                  </a:cubicBezTo>
                  <a:cubicBezTo>
                    <a:pt x="52" y="1186"/>
                    <a:pt x="52" y="1186"/>
                    <a:pt x="52" y="1186"/>
                  </a:cubicBezTo>
                  <a:cubicBezTo>
                    <a:pt x="52" y="1185"/>
                    <a:pt x="52" y="1185"/>
                    <a:pt x="52" y="1185"/>
                  </a:cubicBezTo>
                  <a:cubicBezTo>
                    <a:pt x="53" y="1185"/>
                    <a:pt x="53" y="1185"/>
                    <a:pt x="53" y="1185"/>
                  </a:cubicBezTo>
                  <a:cubicBezTo>
                    <a:pt x="53" y="1186"/>
                    <a:pt x="53" y="1186"/>
                    <a:pt x="53" y="1186"/>
                  </a:cubicBezTo>
                  <a:cubicBezTo>
                    <a:pt x="53" y="1186"/>
                    <a:pt x="53" y="1186"/>
                    <a:pt x="53" y="1186"/>
                  </a:cubicBezTo>
                  <a:cubicBezTo>
                    <a:pt x="54" y="1186"/>
                    <a:pt x="54" y="1186"/>
                    <a:pt x="54" y="1186"/>
                  </a:cubicBezTo>
                  <a:cubicBezTo>
                    <a:pt x="53" y="1186"/>
                    <a:pt x="53" y="1186"/>
                    <a:pt x="53" y="1186"/>
                  </a:cubicBezTo>
                  <a:close/>
                  <a:moveTo>
                    <a:pt x="63" y="1181"/>
                  </a:moveTo>
                  <a:cubicBezTo>
                    <a:pt x="63" y="1182"/>
                    <a:pt x="63" y="1182"/>
                    <a:pt x="63" y="1182"/>
                  </a:cubicBezTo>
                  <a:cubicBezTo>
                    <a:pt x="63" y="1182"/>
                    <a:pt x="63" y="1182"/>
                    <a:pt x="63" y="1182"/>
                  </a:cubicBezTo>
                  <a:cubicBezTo>
                    <a:pt x="63" y="1183"/>
                    <a:pt x="63" y="1183"/>
                    <a:pt x="63" y="1183"/>
                  </a:cubicBezTo>
                  <a:cubicBezTo>
                    <a:pt x="63" y="1184"/>
                    <a:pt x="63" y="1184"/>
                    <a:pt x="63" y="1184"/>
                  </a:cubicBezTo>
                  <a:cubicBezTo>
                    <a:pt x="63" y="1184"/>
                    <a:pt x="63" y="1184"/>
                    <a:pt x="63" y="1184"/>
                  </a:cubicBezTo>
                  <a:cubicBezTo>
                    <a:pt x="62" y="1185"/>
                    <a:pt x="62" y="1185"/>
                    <a:pt x="62" y="1185"/>
                  </a:cubicBezTo>
                  <a:cubicBezTo>
                    <a:pt x="62" y="1185"/>
                    <a:pt x="62" y="1185"/>
                    <a:pt x="62" y="1185"/>
                  </a:cubicBezTo>
                  <a:cubicBezTo>
                    <a:pt x="61" y="1186"/>
                    <a:pt x="61" y="1186"/>
                    <a:pt x="61" y="1186"/>
                  </a:cubicBezTo>
                  <a:cubicBezTo>
                    <a:pt x="59" y="1187"/>
                    <a:pt x="59" y="1187"/>
                    <a:pt x="59" y="1187"/>
                  </a:cubicBezTo>
                  <a:cubicBezTo>
                    <a:pt x="58" y="1187"/>
                    <a:pt x="58" y="1187"/>
                    <a:pt x="58" y="1187"/>
                  </a:cubicBezTo>
                  <a:cubicBezTo>
                    <a:pt x="57" y="1187"/>
                    <a:pt x="57" y="1187"/>
                    <a:pt x="57" y="1187"/>
                  </a:cubicBezTo>
                  <a:cubicBezTo>
                    <a:pt x="57" y="1187"/>
                    <a:pt x="57" y="1187"/>
                    <a:pt x="57" y="1187"/>
                  </a:cubicBezTo>
                  <a:cubicBezTo>
                    <a:pt x="57" y="1187"/>
                    <a:pt x="57" y="1187"/>
                    <a:pt x="57" y="1187"/>
                  </a:cubicBezTo>
                  <a:cubicBezTo>
                    <a:pt x="56" y="1188"/>
                    <a:pt x="56" y="1188"/>
                    <a:pt x="56" y="1188"/>
                  </a:cubicBezTo>
                  <a:cubicBezTo>
                    <a:pt x="55" y="1188"/>
                    <a:pt x="55" y="1188"/>
                    <a:pt x="55" y="1188"/>
                  </a:cubicBezTo>
                  <a:cubicBezTo>
                    <a:pt x="55" y="1188"/>
                    <a:pt x="55" y="1188"/>
                    <a:pt x="55" y="1188"/>
                  </a:cubicBezTo>
                  <a:cubicBezTo>
                    <a:pt x="55" y="1187"/>
                    <a:pt x="55" y="1187"/>
                    <a:pt x="55" y="1187"/>
                  </a:cubicBezTo>
                  <a:cubicBezTo>
                    <a:pt x="56" y="1187"/>
                    <a:pt x="56" y="1187"/>
                    <a:pt x="56" y="1187"/>
                  </a:cubicBezTo>
                  <a:cubicBezTo>
                    <a:pt x="56" y="1186"/>
                    <a:pt x="56" y="1186"/>
                    <a:pt x="56" y="1186"/>
                  </a:cubicBezTo>
                  <a:cubicBezTo>
                    <a:pt x="57" y="1186"/>
                    <a:pt x="57" y="1186"/>
                    <a:pt x="57" y="1186"/>
                  </a:cubicBezTo>
                  <a:cubicBezTo>
                    <a:pt x="58" y="1186"/>
                    <a:pt x="58" y="1186"/>
                    <a:pt x="58" y="1186"/>
                  </a:cubicBezTo>
                  <a:cubicBezTo>
                    <a:pt x="58" y="1186"/>
                    <a:pt x="58" y="1186"/>
                    <a:pt x="58" y="1186"/>
                  </a:cubicBezTo>
                  <a:cubicBezTo>
                    <a:pt x="60" y="1186"/>
                    <a:pt x="60" y="1186"/>
                    <a:pt x="60" y="1186"/>
                  </a:cubicBezTo>
                  <a:cubicBezTo>
                    <a:pt x="61" y="1185"/>
                    <a:pt x="61" y="1185"/>
                    <a:pt x="61" y="1185"/>
                  </a:cubicBezTo>
                  <a:cubicBezTo>
                    <a:pt x="61" y="1184"/>
                    <a:pt x="61" y="1184"/>
                    <a:pt x="61" y="1184"/>
                  </a:cubicBezTo>
                  <a:cubicBezTo>
                    <a:pt x="62" y="1184"/>
                    <a:pt x="62" y="1184"/>
                    <a:pt x="62" y="1184"/>
                  </a:cubicBezTo>
                  <a:cubicBezTo>
                    <a:pt x="62" y="1183"/>
                    <a:pt x="62" y="1183"/>
                    <a:pt x="62" y="1183"/>
                  </a:cubicBezTo>
                  <a:cubicBezTo>
                    <a:pt x="62" y="1182"/>
                    <a:pt x="62" y="1182"/>
                    <a:pt x="62" y="1182"/>
                  </a:cubicBezTo>
                  <a:cubicBezTo>
                    <a:pt x="62" y="1181"/>
                    <a:pt x="62" y="1181"/>
                    <a:pt x="62" y="1181"/>
                  </a:cubicBezTo>
                  <a:cubicBezTo>
                    <a:pt x="62" y="1181"/>
                    <a:pt x="62" y="1181"/>
                    <a:pt x="62" y="1181"/>
                  </a:cubicBezTo>
                  <a:cubicBezTo>
                    <a:pt x="62" y="1181"/>
                    <a:pt x="62" y="1181"/>
                    <a:pt x="62" y="1181"/>
                  </a:cubicBezTo>
                  <a:cubicBezTo>
                    <a:pt x="63" y="1181"/>
                    <a:pt x="63" y="1181"/>
                    <a:pt x="63" y="1181"/>
                  </a:cubicBezTo>
                  <a:cubicBezTo>
                    <a:pt x="64" y="1181"/>
                    <a:pt x="64" y="1181"/>
                    <a:pt x="64" y="1181"/>
                  </a:cubicBezTo>
                  <a:cubicBezTo>
                    <a:pt x="64" y="1181"/>
                    <a:pt x="64" y="1181"/>
                    <a:pt x="64" y="1181"/>
                  </a:cubicBezTo>
                  <a:cubicBezTo>
                    <a:pt x="64" y="1181"/>
                    <a:pt x="64" y="1181"/>
                    <a:pt x="64" y="1181"/>
                  </a:cubicBezTo>
                  <a:lnTo>
                    <a:pt x="63" y="1181"/>
                  </a:lnTo>
                  <a:close/>
                  <a:moveTo>
                    <a:pt x="65" y="1182"/>
                  </a:moveTo>
                  <a:cubicBezTo>
                    <a:pt x="66" y="1182"/>
                    <a:pt x="66" y="1182"/>
                    <a:pt x="66" y="1182"/>
                  </a:cubicBezTo>
                  <a:cubicBezTo>
                    <a:pt x="67" y="1182"/>
                    <a:pt x="67" y="1182"/>
                    <a:pt x="67" y="1182"/>
                  </a:cubicBezTo>
                  <a:cubicBezTo>
                    <a:pt x="68" y="1181"/>
                    <a:pt x="68" y="1181"/>
                    <a:pt x="68" y="1181"/>
                  </a:cubicBezTo>
                  <a:cubicBezTo>
                    <a:pt x="68" y="1181"/>
                    <a:pt x="68" y="1181"/>
                    <a:pt x="68" y="1181"/>
                  </a:cubicBezTo>
                  <a:cubicBezTo>
                    <a:pt x="69" y="1182"/>
                    <a:pt x="69" y="1182"/>
                    <a:pt x="69" y="1182"/>
                  </a:cubicBezTo>
                  <a:cubicBezTo>
                    <a:pt x="69" y="1182"/>
                    <a:pt x="69" y="1182"/>
                    <a:pt x="69" y="1182"/>
                  </a:cubicBezTo>
                  <a:cubicBezTo>
                    <a:pt x="70" y="1183"/>
                    <a:pt x="70" y="1183"/>
                    <a:pt x="70" y="1183"/>
                  </a:cubicBezTo>
                  <a:cubicBezTo>
                    <a:pt x="72" y="1182"/>
                    <a:pt x="72" y="1182"/>
                    <a:pt x="72" y="1182"/>
                  </a:cubicBezTo>
                  <a:cubicBezTo>
                    <a:pt x="73" y="1182"/>
                    <a:pt x="73" y="1182"/>
                    <a:pt x="73" y="1182"/>
                  </a:cubicBezTo>
                  <a:cubicBezTo>
                    <a:pt x="73" y="1181"/>
                    <a:pt x="73" y="1181"/>
                    <a:pt x="73" y="1181"/>
                  </a:cubicBezTo>
                  <a:cubicBezTo>
                    <a:pt x="74" y="1181"/>
                    <a:pt x="74" y="1181"/>
                    <a:pt x="74" y="1181"/>
                  </a:cubicBezTo>
                  <a:cubicBezTo>
                    <a:pt x="74" y="1181"/>
                    <a:pt x="74" y="1181"/>
                    <a:pt x="74" y="1181"/>
                  </a:cubicBezTo>
                  <a:cubicBezTo>
                    <a:pt x="73" y="1181"/>
                    <a:pt x="73" y="1181"/>
                    <a:pt x="73" y="1181"/>
                  </a:cubicBezTo>
                  <a:cubicBezTo>
                    <a:pt x="73" y="1183"/>
                    <a:pt x="73" y="1183"/>
                    <a:pt x="73" y="1183"/>
                  </a:cubicBezTo>
                  <a:cubicBezTo>
                    <a:pt x="73" y="1183"/>
                    <a:pt x="73" y="1183"/>
                    <a:pt x="73" y="1183"/>
                  </a:cubicBezTo>
                  <a:cubicBezTo>
                    <a:pt x="71" y="1183"/>
                    <a:pt x="71" y="1183"/>
                    <a:pt x="71" y="1183"/>
                  </a:cubicBezTo>
                  <a:cubicBezTo>
                    <a:pt x="70" y="1183"/>
                    <a:pt x="70" y="1183"/>
                    <a:pt x="70" y="1183"/>
                  </a:cubicBezTo>
                  <a:cubicBezTo>
                    <a:pt x="69" y="1182"/>
                    <a:pt x="69" y="1182"/>
                    <a:pt x="69" y="1182"/>
                  </a:cubicBezTo>
                  <a:cubicBezTo>
                    <a:pt x="69" y="1182"/>
                    <a:pt x="69" y="1182"/>
                    <a:pt x="69" y="1182"/>
                  </a:cubicBezTo>
                  <a:cubicBezTo>
                    <a:pt x="69" y="1182"/>
                    <a:pt x="69" y="1182"/>
                    <a:pt x="69" y="1182"/>
                  </a:cubicBezTo>
                  <a:cubicBezTo>
                    <a:pt x="68" y="1183"/>
                    <a:pt x="68" y="1183"/>
                    <a:pt x="68" y="1183"/>
                  </a:cubicBezTo>
                  <a:cubicBezTo>
                    <a:pt x="67" y="1183"/>
                    <a:pt x="67" y="1183"/>
                    <a:pt x="67" y="1183"/>
                  </a:cubicBezTo>
                  <a:cubicBezTo>
                    <a:pt x="66" y="1183"/>
                    <a:pt x="66" y="1183"/>
                    <a:pt x="66" y="1183"/>
                  </a:cubicBezTo>
                  <a:lnTo>
                    <a:pt x="65" y="1182"/>
                  </a:lnTo>
                  <a:close/>
                  <a:moveTo>
                    <a:pt x="86" y="1204"/>
                  </a:moveTo>
                  <a:cubicBezTo>
                    <a:pt x="86" y="1205"/>
                    <a:pt x="86" y="1205"/>
                    <a:pt x="86" y="1205"/>
                  </a:cubicBezTo>
                  <a:cubicBezTo>
                    <a:pt x="86" y="1205"/>
                    <a:pt x="86" y="1205"/>
                    <a:pt x="86" y="1205"/>
                  </a:cubicBezTo>
                  <a:cubicBezTo>
                    <a:pt x="86" y="1204"/>
                    <a:pt x="86" y="1204"/>
                    <a:pt x="86" y="1204"/>
                  </a:cubicBezTo>
                  <a:cubicBezTo>
                    <a:pt x="86" y="1204"/>
                    <a:pt x="86" y="1204"/>
                    <a:pt x="86" y="1204"/>
                  </a:cubicBezTo>
                  <a:cubicBezTo>
                    <a:pt x="86" y="1204"/>
                    <a:pt x="86" y="1204"/>
                    <a:pt x="86" y="1204"/>
                  </a:cubicBezTo>
                  <a:cubicBezTo>
                    <a:pt x="86" y="1204"/>
                    <a:pt x="86" y="1204"/>
                    <a:pt x="86" y="1204"/>
                  </a:cubicBezTo>
                  <a:close/>
                  <a:moveTo>
                    <a:pt x="88" y="1203"/>
                  </a:moveTo>
                  <a:cubicBezTo>
                    <a:pt x="88" y="1203"/>
                    <a:pt x="88" y="1203"/>
                    <a:pt x="88" y="1203"/>
                  </a:cubicBezTo>
                  <a:cubicBezTo>
                    <a:pt x="88" y="1203"/>
                    <a:pt x="88" y="1203"/>
                    <a:pt x="88" y="1203"/>
                  </a:cubicBezTo>
                  <a:close/>
                  <a:moveTo>
                    <a:pt x="89" y="1201"/>
                  </a:moveTo>
                  <a:cubicBezTo>
                    <a:pt x="89" y="1201"/>
                    <a:pt x="89" y="1201"/>
                    <a:pt x="89" y="1201"/>
                  </a:cubicBezTo>
                  <a:cubicBezTo>
                    <a:pt x="89" y="1202"/>
                    <a:pt x="89" y="1202"/>
                    <a:pt x="89" y="1202"/>
                  </a:cubicBezTo>
                  <a:cubicBezTo>
                    <a:pt x="89" y="1201"/>
                    <a:pt x="89" y="1201"/>
                    <a:pt x="89" y="1201"/>
                  </a:cubicBezTo>
                  <a:cubicBezTo>
                    <a:pt x="89" y="1201"/>
                    <a:pt x="89" y="1201"/>
                    <a:pt x="89" y="1201"/>
                  </a:cubicBezTo>
                  <a:cubicBezTo>
                    <a:pt x="89" y="1201"/>
                    <a:pt x="89" y="1201"/>
                    <a:pt x="89" y="1201"/>
                  </a:cubicBezTo>
                  <a:cubicBezTo>
                    <a:pt x="89" y="1200"/>
                    <a:pt x="89" y="1200"/>
                    <a:pt x="89" y="1200"/>
                  </a:cubicBezTo>
                  <a:cubicBezTo>
                    <a:pt x="89" y="1201"/>
                    <a:pt x="89" y="1201"/>
                    <a:pt x="89" y="1201"/>
                  </a:cubicBezTo>
                  <a:close/>
                  <a:moveTo>
                    <a:pt x="91" y="1198"/>
                  </a:moveTo>
                  <a:cubicBezTo>
                    <a:pt x="91" y="1197"/>
                    <a:pt x="91" y="1197"/>
                    <a:pt x="91" y="1197"/>
                  </a:cubicBezTo>
                  <a:cubicBezTo>
                    <a:pt x="91" y="1197"/>
                    <a:pt x="91" y="1197"/>
                    <a:pt x="91" y="1197"/>
                  </a:cubicBezTo>
                  <a:cubicBezTo>
                    <a:pt x="89" y="1195"/>
                    <a:pt x="89" y="1195"/>
                    <a:pt x="89" y="1195"/>
                  </a:cubicBezTo>
                  <a:cubicBezTo>
                    <a:pt x="88" y="1194"/>
                    <a:pt x="88" y="1194"/>
                    <a:pt x="88" y="1194"/>
                  </a:cubicBezTo>
                  <a:cubicBezTo>
                    <a:pt x="87" y="1194"/>
                    <a:pt x="87" y="1194"/>
                    <a:pt x="87" y="1194"/>
                  </a:cubicBezTo>
                  <a:cubicBezTo>
                    <a:pt x="84" y="1193"/>
                    <a:pt x="84" y="1193"/>
                    <a:pt x="84" y="1193"/>
                  </a:cubicBezTo>
                  <a:cubicBezTo>
                    <a:pt x="84" y="1193"/>
                    <a:pt x="84" y="1193"/>
                    <a:pt x="84" y="1193"/>
                  </a:cubicBezTo>
                  <a:cubicBezTo>
                    <a:pt x="84" y="1193"/>
                    <a:pt x="84" y="1193"/>
                    <a:pt x="84" y="1193"/>
                  </a:cubicBezTo>
                  <a:cubicBezTo>
                    <a:pt x="83" y="1194"/>
                    <a:pt x="83" y="1194"/>
                    <a:pt x="83" y="1194"/>
                  </a:cubicBezTo>
                  <a:cubicBezTo>
                    <a:pt x="83" y="1194"/>
                    <a:pt x="83" y="1194"/>
                    <a:pt x="83" y="1194"/>
                  </a:cubicBezTo>
                  <a:cubicBezTo>
                    <a:pt x="83" y="1194"/>
                    <a:pt x="83" y="1194"/>
                    <a:pt x="83" y="1194"/>
                  </a:cubicBezTo>
                  <a:cubicBezTo>
                    <a:pt x="82" y="1194"/>
                    <a:pt x="82" y="1194"/>
                    <a:pt x="82" y="1194"/>
                  </a:cubicBezTo>
                  <a:cubicBezTo>
                    <a:pt x="81" y="1194"/>
                    <a:pt x="81" y="1194"/>
                    <a:pt x="81" y="1194"/>
                  </a:cubicBezTo>
                  <a:cubicBezTo>
                    <a:pt x="81" y="1193"/>
                    <a:pt x="81" y="1193"/>
                    <a:pt x="81" y="1193"/>
                  </a:cubicBezTo>
                  <a:cubicBezTo>
                    <a:pt x="81" y="1193"/>
                    <a:pt x="81" y="1193"/>
                    <a:pt x="81" y="1193"/>
                  </a:cubicBezTo>
                  <a:cubicBezTo>
                    <a:pt x="81" y="1194"/>
                    <a:pt x="81" y="1194"/>
                    <a:pt x="81" y="1194"/>
                  </a:cubicBezTo>
                  <a:cubicBezTo>
                    <a:pt x="82" y="1194"/>
                    <a:pt x="82" y="1194"/>
                    <a:pt x="82" y="1194"/>
                  </a:cubicBezTo>
                  <a:cubicBezTo>
                    <a:pt x="83" y="1194"/>
                    <a:pt x="83" y="1194"/>
                    <a:pt x="83" y="1194"/>
                  </a:cubicBezTo>
                  <a:cubicBezTo>
                    <a:pt x="83" y="1194"/>
                    <a:pt x="83" y="1194"/>
                    <a:pt x="83" y="1194"/>
                  </a:cubicBezTo>
                  <a:cubicBezTo>
                    <a:pt x="83" y="1193"/>
                    <a:pt x="83" y="1193"/>
                    <a:pt x="83" y="1193"/>
                  </a:cubicBezTo>
                  <a:cubicBezTo>
                    <a:pt x="84" y="1193"/>
                    <a:pt x="84" y="1193"/>
                    <a:pt x="84" y="1193"/>
                  </a:cubicBezTo>
                  <a:cubicBezTo>
                    <a:pt x="84" y="1193"/>
                    <a:pt x="84" y="1193"/>
                    <a:pt x="84" y="1193"/>
                  </a:cubicBezTo>
                  <a:cubicBezTo>
                    <a:pt x="84" y="1193"/>
                    <a:pt x="84" y="1193"/>
                    <a:pt x="84" y="1193"/>
                  </a:cubicBezTo>
                  <a:cubicBezTo>
                    <a:pt x="87" y="1193"/>
                    <a:pt x="87" y="1193"/>
                    <a:pt x="87" y="1193"/>
                  </a:cubicBezTo>
                  <a:cubicBezTo>
                    <a:pt x="88" y="1194"/>
                    <a:pt x="88" y="1194"/>
                    <a:pt x="88" y="1194"/>
                  </a:cubicBezTo>
                  <a:cubicBezTo>
                    <a:pt x="89" y="1195"/>
                    <a:pt x="89" y="1195"/>
                    <a:pt x="89" y="1195"/>
                  </a:cubicBezTo>
                  <a:cubicBezTo>
                    <a:pt x="91" y="1196"/>
                    <a:pt x="91" y="1196"/>
                    <a:pt x="91" y="1196"/>
                  </a:cubicBezTo>
                  <a:cubicBezTo>
                    <a:pt x="91" y="1197"/>
                    <a:pt x="91" y="1197"/>
                    <a:pt x="91" y="1197"/>
                  </a:cubicBezTo>
                  <a:cubicBezTo>
                    <a:pt x="92" y="1197"/>
                    <a:pt x="92" y="1197"/>
                    <a:pt x="92" y="1197"/>
                  </a:cubicBezTo>
                  <a:lnTo>
                    <a:pt x="91" y="1198"/>
                  </a:lnTo>
                  <a:close/>
                  <a:moveTo>
                    <a:pt x="648" y="1100"/>
                  </a:moveTo>
                  <a:cubicBezTo>
                    <a:pt x="649" y="1099"/>
                    <a:pt x="649" y="1099"/>
                    <a:pt x="649" y="1099"/>
                  </a:cubicBezTo>
                  <a:cubicBezTo>
                    <a:pt x="650" y="1099"/>
                    <a:pt x="650" y="1099"/>
                    <a:pt x="650" y="1099"/>
                  </a:cubicBezTo>
                  <a:cubicBezTo>
                    <a:pt x="651" y="1099"/>
                    <a:pt x="651" y="1099"/>
                    <a:pt x="651" y="1099"/>
                  </a:cubicBezTo>
                  <a:cubicBezTo>
                    <a:pt x="651" y="1099"/>
                    <a:pt x="651" y="1099"/>
                    <a:pt x="651" y="1099"/>
                  </a:cubicBezTo>
                  <a:cubicBezTo>
                    <a:pt x="651" y="1100"/>
                    <a:pt x="651" y="1100"/>
                    <a:pt x="651" y="1100"/>
                  </a:cubicBezTo>
                  <a:cubicBezTo>
                    <a:pt x="651" y="1100"/>
                    <a:pt x="651" y="1100"/>
                    <a:pt x="651" y="1100"/>
                  </a:cubicBezTo>
                  <a:cubicBezTo>
                    <a:pt x="651" y="1101"/>
                    <a:pt x="651" y="1101"/>
                    <a:pt x="651" y="1101"/>
                  </a:cubicBezTo>
                  <a:cubicBezTo>
                    <a:pt x="650" y="1101"/>
                    <a:pt x="650" y="1101"/>
                    <a:pt x="650" y="1101"/>
                  </a:cubicBezTo>
                  <a:cubicBezTo>
                    <a:pt x="650" y="1101"/>
                    <a:pt x="650" y="1101"/>
                    <a:pt x="650" y="1101"/>
                  </a:cubicBezTo>
                  <a:cubicBezTo>
                    <a:pt x="650" y="1101"/>
                    <a:pt x="650" y="1101"/>
                    <a:pt x="650" y="1101"/>
                  </a:cubicBezTo>
                  <a:cubicBezTo>
                    <a:pt x="650" y="1102"/>
                    <a:pt x="650" y="1102"/>
                    <a:pt x="650" y="1102"/>
                  </a:cubicBezTo>
                  <a:cubicBezTo>
                    <a:pt x="649" y="1102"/>
                    <a:pt x="649" y="1102"/>
                    <a:pt x="649" y="1102"/>
                  </a:cubicBezTo>
                  <a:cubicBezTo>
                    <a:pt x="649" y="1102"/>
                    <a:pt x="649" y="1102"/>
                    <a:pt x="649" y="1102"/>
                  </a:cubicBezTo>
                  <a:cubicBezTo>
                    <a:pt x="649" y="1102"/>
                    <a:pt x="649" y="1102"/>
                    <a:pt x="649" y="1102"/>
                  </a:cubicBezTo>
                  <a:cubicBezTo>
                    <a:pt x="649" y="1102"/>
                    <a:pt x="649" y="1102"/>
                    <a:pt x="649" y="1102"/>
                  </a:cubicBezTo>
                  <a:cubicBezTo>
                    <a:pt x="649" y="1101"/>
                    <a:pt x="649" y="1101"/>
                    <a:pt x="649" y="1101"/>
                  </a:cubicBezTo>
                  <a:cubicBezTo>
                    <a:pt x="649" y="1100"/>
                    <a:pt x="649" y="1100"/>
                    <a:pt x="649" y="1100"/>
                  </a:cubicBezTo>
                  <a:cubicBezTo>
                    <a:pt x="648" y="1101"/>
                    <a:pt x="648" y="1101"/>
                    <a:pt x="648" y="1101"/>
                  </a:cubicBezTo>
                  <a:cubicBezTo>
                    <a:pt x="648" y="1101"/>
                    <a:pt x="648" y="1101"/>
                    <a:pt x="648" y="1101"/>
                  </a:cubicBezTo>
                  <a:cubicBezTo>
                    <a:pt x="648" y="1100"/>
                    <a:pt x="648" y="1100"/>
                    <a:pt x="648" y="1100"/>
                  </a:cubicBezTo>
                  <a:close/>
                  <a:moveTo>
                    <a:pt x="1300" y="747"/>
                  </a:moveTo>
                  <a:cubicBezTo>
                    <a:pt x="1300" y="747"/>
                    <a:pt x="1300" y="747"/>
                    <a:pt x="1300" y="747"/>
                  </a:cubicBezTo>
                  <a:cubicBezTo>
                    <a:pt x="1299" y="747"/>
                    <a:pt x="1299" y="747"/>
                    <a:pt x="1299" y="747"/>
                  </a:cubicBezTo>
                  <a:lnTo>
                    <a:pt x="1300" y="747"/>
                  </a:lnTo>
                  <a:close/>
                  <a:moveTo>
                    <a:pt x="1296" y="743"/>
                  </a:moveTo>
                  <a:cubicBezTo>
                    <a:pt x="1295" y="743"/>
                    <a:pt x="1295" y="743"/>
                    <a:pt x="1295" y="743"/>
                  </a:cubicBezTo>
                  <a:cubicBezTo>
                    <a:pt x="1295" y="743"/>
                    <a:pt x="1295" y="743"/>
                    <a:pt x="1295" y="743"/>
                  </a:cubicBezTo>
                  <a:cubicBezTo>
                    <a:pt x="1295" y="742"/>
                    <a:pt x="1295" y="742"/>
                    <a:pt x="1295" y="742"/>
                  </a:cubicBezTo>
                  <a:cubicBezTo>
                    <a:pt x="1295" y="742"/>
                    <a:pt x="1295" y="742"/>
                    <a:pt x="1295" y="742"/>
                  </a:cubicBezTo>
                  <a:cubicBezTo>
                    <a:pt x="1296" y="743"/>
                    <a:pt x="1296" y="743"/>
                    <a:pt x="1296" y="743"/>
                  </a:cubicBezTo>
                  <a:close/>
                  <a:moveTo>
                    <a:pt x="1287" y="725"/>
                  </a:moveTo>
                  <a:cubicBezTo>
                    <a:pt x="1287" y="725"/>
                    <a:pt x="1287" y="725"/>
                    <a:pt x="1287" y="725"/>
                  </a:cubicBezTo>
                  <a:cubicBezTo>
                    <a:pt x="1287" y="725"/>
                    <a:pt x="1287" y="725"/>
                    <a:pt x="1287" y="725"/>
                  </a:cubicBezTo>
                  <a:close/>
                  <a:moveTo>
                    <a:pt x="1220" y="716"/>
                  </a:moveTo>
                  <a:cubicBezTo>
                    <a:pt x="1220" y="716"/>
                    <a:pt x="1220" y="716"/>
                    <a:pt x="1220" y="716"/>
                  </a:cubicBezTo>
                  <a:cubicBezTo>
                    <a:pt x="1219" y="715"/>
                    <a:pt x="1219" y="715"/>
                    <a:pt x="1219" y="715"/>
                  </a:cubicBezTo>
                  <a:cubicBezTo>
                    <a:pt x="1219" y="714"/>
                    <a:pt x="1219" y="714"/>
                    <a:pt x="1219" y="714"/>
                  </a:cubicBezTo>
                  <a:cubicBezTo>
                    <a:pt x="1218" y="712"/>
                    <a:pt x="1218" y="712"/>
                    <a:pt x="1218" y="712"/>
                  </a:cubicBezTo>
                  <a:cubicBezTo>
                    <a:pt x="1216" y="711"/>
                    <a:pt x="1216" y="711"/>
                    <a:pt x="1216" y="711"/>
                  </a:cubicBezTo>
                  <a:cubicBezTo>
                    <a:pt x="1216" y="710"/>
                    <a:pt x="1216" y="710"/>
                    <a:pt x="1216" y="710"/>
                  </a:cubicBezTo>
                  <a:cubicBezTo>
                    <a:pt x="1218" y="709"/>
                    <a:pt x="1218" y="709"/>
                    <a:pt x="1218" y="709"/>
                  </a:cubicBezTo>
                  <a:cubicBezTo>
                    <a:pt x="1219" y="708"/>
                    <a:pt x="1219" y="708"/>
                    <a:pt x="1219" y="708"/>
                  </a:cubicBezTo>
                  <a:cubicBezTo>
                    <a:pt x="1219" y="706"/>
                    <a:pt x="1219" y="706"/>
                    <a:pt x="1219" y="706"/>
                  </a:cubicBezTo>
                  <a:cubicBezTo>
                    <a:pt x="1218" y="705"/>
                    <a:pt x="1218" y="705"/>
                    <a:pt x="1218" y="705"/>
                  </a:cubicBezTo>
                  <a:cubicBezTo>
                    <a:pt x="1218" y="704"/>
                    <a:pt x="1218" y="704"/>
                    <a:pt x="1218" y="704"/>
                  </a:cubicBezTo>
                  <a:cubicBezTo>
                    <a:pt x="1218" y="704"/>
                    <a:pt x="1218" y="704"/>
                    <a:pt x="1218" y="704"/>
                  </a:cubicBezTo>
                  <a:cubicBezTo>
                    <a:pt x="1218" y="704"/>
                    <a:pt x="1218" y="704"/>
                    <a:pt x="1218" y="704"/>
                  </a:cubicBezTo>
                  <a:cubicBezTo>
                    <a:pt x="1217" y="703"/>
                    <a:pt x="1217" y="703"/>
                    <a:pt x="1217" y="703"/>
                  </a:cubicBezTo>
                  <a:cubicBezTo>
                    <a:pt x="1217" y="702"/>
                    <a:pt x="1217" y="702"/>
                    <a:pt x="1217" y="702"/>
                  </a:cubicBezTo>
                  <a:cubicBezTo>
                    <a:pt x="1217" y="702"/>
                    <a:pt x="1217" y="702"/>
                    <a:pt x="1217" y="702"/>
                  </a:cubicBezTo>
                  <a:cubicBezTo>
                    <a:pt x="1216" y="702"/>
                    <a:pt x="1216" y="702"/>
                    <a:pt x="1216" y="702"/>
                  </a:cubicBezTo>
                  <a:cubicBezTo>
                    <a:pt x="1215" y="701"/>
                    <a:pt x="1215" y="701"/>
                    <a:pt x="1215" y="701"/>
                  </a:cubicBezTo>
                  <a:cubicBezTo>
                    <a:pt x="1214" y="701"/>
                    <a:pt x="1214" y="701"/>
                    <a:pt x="1214" y="701"/>
                  </a:cubicBezTo>
                  <a:cubicBezTo>
                    <a:pt x="1213" y="700"/>
                    <a:pt x="1213" y="700"/>
                    <a:pt x="1213" y="700"/>
                  </a:cubicBezTo>
                  <a:cubicBezTo>
                    <a:pt x="1213" y="699"/>
                    <a:pt x="1213" y="699"/>
                    <a:pt x="1213" y="699"/>
                  </a:cubicBezTo>
                  <a:cubicBezTo>
                    <a:pt x="1212" y="696"/>
                    <a:pt x="1212" y="696"/>
                    <a:pt x="1212" y="696"/>
                  </a:cubicBezTo>
                  <a:cubicBezTo>
                    <a:pt x="1211" y="695"/>
                    <a:pt x="1211" y="695"/>
                    <a:pt x="1211" y="695"/>
                  </a:cubicBezTo>
                  <a:cubicBezTo>
                    <a:pt x="1209" y="694"/>
                    <a:pt x="1209" y="694"/>
                    <a:pt x="1209" y="694"/>
                  </a:cubicBezTo>
                  <a:cubicBezTo>
                    <a:pt x="1210" y="693"/>
                    <a:pt x="1210" y="693"/>
                    <a:pt x="1210" y="693"/>
                  </a:cubicBezTo>
                  <a:cubicBezTo>
                    <a:pt x="1211" y="690"/>
                    <a:pt x="1211" y="690"/>
                    <a:pt x="1211" y="690"/>
                  </a:cubicBezTo>
                  <a:cubicBezTo>
                    <a:pt x="1212" y="690"/>
                    <a:pt x="1212" y="690"/>
                    <a:pt x="1212" y="690"/>
                  </a:cubicBezTo>
                  <a:cubicBezTo>
                    <a:pt x="1212" y="690"/>
                    <a:pt x="1212" y="690"/>
                    <a:pt x="1212" y="690"/>
                  </a:cubicBezTo>
                  <a:cubicBezTo>
                    <a:pt x="1213" y="690"/>
                    <a:pt x="1213" y="690"/>
                    <a:pt x="1213" y="690"/>
                  </a:cubicBezTo>
                  <a:cubicBezTo>
                    <a:pt x="1213" y="689"/>
                    <a:pt x="1213" y="689"/>
                    <a:pt x="1213" y="689"/>
                  </a:cubicBezTo>
                  <a:cubicBezTo>
                    <a:pt x="1213" y="689"/>
                    <a:pt x="1213" y="689"/>
                    <a:pt x="1213" y="689"/>
                  </a:cubicBezTo>
                  <a:cubicBezTo>
                    <a:pt x="1213" y="688"/>
                    <a:pt x="1213" y="688"/>
                    <a:pt x="1213" y="688"/>
                  </a:cubicBezTo>
                  <a:cubicBezTo>
                    <a:pt x="1213" y="688"/>
                    <a:pt x="1213" y="688"/>
                    <a:pt x="1213" y="688"/>
                  </a:cubicBezTo>
                  <a:cubicBezTo>
                    <a:pt x="1212" y="688"/>
                    <a:pt x="1212" y="688"/>
                    <a:pt x="1212" y="688"/>
                  </a:cubicBezTo>
                  <a:cubicBezTo>
                    <a:pt x="1213" y="685"/>
                    <a:pt x="1213" y="685"/>
                    <a:pt x="1213" y="685"/>
                  </a:cubicBezTo>
                  <a:cubicBezTo>
                    <a:pt x="1214" y="684"/>
                    <a:pt x="1214" y="684"/>
                    <a:pt x="1214" y="684"/>
                  </a:cubicBezTo>
                  <a:cubicBezTo>
                    <a:pt x="1215" y="684"/>
                    <a:pt x="1215" y="684"/>
                    <a:pt x="1215" y="684"/>
                  </a:cubicBezTo>
                  <a:cubicBezTo>
                    <a:pt x="1215" y="685"/>
                    <a:pt x="1215" y="685"/>
                    <a:pt x="1215" y="685"/>
                  </a:cubicBezTo>
                  <a:cubicBezTo>
                    <a:pt x="1214" y="687"/>
                    <a:pt x="1214" y="687"/>
                    <a:pt x="1214" y="687"/>
                  </a:cubicBezTo>
                  <a:cubicBezTo>
                    <a:pt x="1214" y="688"/>
                    <a:pt x="1214" y="688"/>
                    <a:pt x="1214" y="688"/>
                  </a:cubicBezTo>
                  <a:cubicBezTo>
                    <a:pt x="1214" y="688"/>
                    <a:pt x="1214" y="688"/>
                    <a:pt x="1214" y="688"/>
                  </a:cubicBezTo>
                  <a:cubicBezTo>
                    <a:pt x="1214" y="688"/>
                    <a:pt x="1214" y="688"/>
                    <a:pt x="1214" y="688"/>
                  </a:cubicBezTo>
                  <a:cubicBezTo>
                    <a:pt x="1215" y="689"/>
                    <a:pt x="1215" y="689"/>
                    <a:pt x="1215" y="689"/>
                  </a:cubicBezTo>
                  <a:cubicBezTo>
                    <a:pt x="1214" y="689"/>
                    <a:pt x="1214" y="689"/>
                    <a:pt x="1214" y="689"/>
                  </a:cubicBezTo>
                  <a:cubicBezTo>
                    <a:pt x="1214" y="690"/>
                    <a:pt x="1214" y="690"/>
                    <a:pt x="1214" y="690"/>
                  </a:cubicBezTo>
                  <a:cubicBezTo>
                    <a:pt x="1214" y="690"/>
                    <a:pt x="1214" y="690"/>
                    <a:pt x="1214" y="690"/>
                  </a:cubicBezTo>
                  <a:cubicBezTo>
                    <a:pt x="1213" y="690"/>
                    <a:pt x="1213" y="690"/>
                    <a:pt x="1213" y="690"/>
                  </a:cubicBezTo>
                  <a:cubicBezTo>
                    <a:pt x="1212" y="692"/>
                    <a:pt x="1212" y="692"/>
                    <a:pt x="1212" y="692"/>
                  </a:cubicBezTo>
                  <a:cubicBezTo>
                    <a:pt x="1211" y="693"/>
                    <a:pt x="1211" y="693"/>
                    <a:pt x="1211" y="693"/>
                  </a:cubicBezTo>
                  <a:cubicBezTo>
                    <a:pt x="1213" y="695"/>
                    <a:pt x="1213" y="695"/>
                    <a:pt x="1213" y="695"/>
                  </a:cubicBezTo>
                  <a:cubicBezTo>
                    <a:pt x="1214" y="696"/>
                    <a:pt x="1214" y="696"/>
                    <a:pt x="1214" y="696"/>
                  </a:cubicBezTo>
                  <a:cubicBezTo>
                    <a:pt x="1214" y="698"/>
                    <a:pt x="1214" y="698"/>
                    <a:pt x="1214" y="698"/>
                  </a:cubicBezTo>
                  <a:cubicBezTo>
                    <a:pt x="1215" y="699"/>
                    <a:pt x="1215" y="699"/>
                    <a:pt x="1215" y="699"/>
                  </a:cubicBezTo>
                  <a:cubicBezTo>
                    <a:pt x="1216" y="700"/>
                    <a:pt x="1216" y="700"/>
                    <a:pt x="1216" y="700"/>
                  </a:cubicBezTo>
                  <a:cubicBezTo>
                    <a:pt x="1217" y="701"/>
                    <a:pt x="1217" y="701"/>
                    <a:pt x="1217" y="701"/>
                  </a:cubicBezTo>
                  <a:cubicBezTo>
                    <a:pt x="1218" y="701"/>
                    <a:pt x="1218" y="701"/>
                    <a:pt x="1218" y="701"/>
                  </a:cubicBezTo>
                  <a:cubicBezTo>
                    <a:pt x="1219" y="701"/>
                    <a:pt x="1219" y="701"/>
                    <a:pt x="1219" y="701"/>
                  </a:cubicBezTo>
                  <a:cubicBezTo>
                    <a:pt x="1219" y="702"/>
                    <a:pt x="1219" y="702"/>
                    <a:pt x="1219" y="702"/>
                  </a:cubicBezTo>
                  <a:cubicBezTo>
                    <a:pt x="1219" y="702"/>
                    <a:pt x="1219" y="702"/>
                    <a:pt x="1219" y="702"/>
                  </a:cubicBezTo>
                  <a:cubicBezTo>
                    <a:pt x="1219" y="703"/>
                    <a:pt x="1219" y="703"/>
                    <a:pt x="1219" y="703"/>
                  </a:cubicBezTo>
                  <a:cubicBezTo>
                    <a:pt x="1220" y="704"/>
                    <a:pt x="1220" y="704"/>
                    <a:pt x="1220" y="704"/>
                  </a:cubicBezTo>
                  <a:cubicBezTo>
                    <a:pt x="1220" y="704"/>
                    <a:pt x="1220" y="704"/>
                    <a:pt x="1220" y="704"/>
                  </a:cubicBezTo>
                  <a:cubicBezTo>
                    <a:pt x="1220" y="704"/>
                    <a:pt x="1220" y="704"/>
                    <a:pt x="1220" y="704"/>
                  </a:cubicBezTo>
                  <a:cubicBezTo>
                    <a:pt x="1221" y="705"/>
                    <a:pt x="1221" y="705"/>
                    <a:pt x="1221" y="705"/>
                  </a:cubicBezTo>
                  <a:cubicBezTo>
                    <a:pt x="1221" y="707"/>
                    <a:pt x="1221" y="707"/>
                    <a:pt x="1221" y="707"/>
                  </a:cubicBezTo>
                  <a:cubicBezTo>
                    <a:pt x="1220" y="708"/>
                    <a:pt x="1220" y="708"/>
                    <a:pt x="1220" y="708"/>
                  </a:cubicBezTo>
                  <a:cubicBezTo>
                    <a:pt x="1218" y="709"/>
                    <a:pt x="1218" y="709"/>
                    <a:pt x="1218" y="709"/>
                  </a:cubicBezTo>
                  <a:cubicBezTo>
                    <a:pt x="1218" y="710"/>
                    <a:pt x="1218" y="710"/>
                    <a:pt x="1218" y="710"/>
                  </a:cubicBezTo>
                  <a:cubicBezTo>
                    <a:pt x="1220" y="712"/>
                    <a:pt x="1220" y="712"/>
                    <a:pt x="1220" y="712"/>
                  </a:cubicBezTo>
                  <a:cubicBezTo>
                    <a:pt x="1220" y="714"/>
                    <a:pt x="1220" y="714"/>
                    <a:pt x="1220" y="714"/>
                  </a:cubicBezTo>
                  <a:cubicBezTo>
                    <a:pt x="1221" y="715"/>
                    <a:pt x="1221" y="715"/>
                    <a:pt x="1221" y="715"/>
                  </a:cubicBezTo>
                  <a:cubicBezTo>
                    <a:pt x="1222" y="715"/>
                    <a:pt x="1222" y="715"/>
                    <a:pt x="1222" y="715"/>
                  </a:cubicBezTo>
                  <a:cubicBezTo>
                    <a:pt x="1222" y="716"/>
                    <a:pt x="1222" y="716"/>
                    <a:pt x="1222" y="716"/>
                  </a:cubicBezTo>
                  <a:cubicBezTo>
                    <a:pt x="1222" y="716"/>
                    <a:pt x="1222" y="716"/>
                    <a:pt x="1222" y="716"/>
                  </a:cubicBezTo>
                  <a:cubicBezTo>
                    <a:pt x="1222" y="717"/>
                    <a:pt x="1222" y="717"/>
                    <a:pt x="1222" y="717"/>
                  </a:cubicBezTo>
                  <a:cubicBezTo>
                    <a:pt x="1221" y="716"/>
                    <a:pt x="1221" y="716"/>
                    <a:pt x="1221" y="716"/>
                  </a:cubicBezTo>
                  <a:lnTo>
                    <a:pt x="1220" y="716"/>
                  </a:lnTo>
                  <a:close/>
                  <a:moveTo>
                    <a:pt x="1245" y="681"/>
                  </a:moveTo>
                  <a:cubicBezTo>
                    <a:pt x="1245" y="680"/>
                    <a:pt x="1245" y="680"/>
                    <a:pt x="1245" y="680"/>
                  </a:cubicBezTo>
                  <a:cubicBezTo>
                    <a:pt x="1245" y="679"/>
                    <a:pt x="1245" y="679"/>
                    <a:pt x="1245" y="679"/>
                  </a:cubicBezTo>
                  <a:cubicBezTo>
                    <a:pt x="1246" y="679"/>
                    <a:pt x="1246" y="679"/>
                    <a:pt x="1246" y="679"/>
                  </a:cubicBezTo>
                  <a:cubicBezTo>
                    <a:pt x="1247" y="680"/>
                    <a:pt x="1247" y="680"/>
                    <a:pt x="1247" y="680"/>
                  </a:cubicBezTo>
                  <a:cubicBezTo>
                    <a:pt x="1247" y="680"/>
                    <a:pt x="1247" y="680"/>
                    <a:pt x="1247" y="680"/>
                  </a:cubicBezTo>
                  <a:cubicBezTo>
                    <a:pt x="1247" y="680"/>
                    <a:pt x="1247" y="680"/>
                    <a:pt x="1247" y="680"/>
                  </a:cubicBezTo>
                  <a:cubicBezTo>
                    <a:pt x="1248" y="680"/>
                    <a:pt x="1248" y="680"/>
                    <a:pt x="1248" y="680"/>
                  </a:cubicBezTo>
                  <a:cubicBezTo>
                    <a:pt x="1247" y="681"/>
                    <a:pt x="1247" y="681"/>
                    <a:pt x="1247" y="681"/>
                  </a:cubicBezTo>
                  <a:cubicBezTo>
                    <a:pt x="1247" y="682"/>
                    <a:pt x="1247" y="682"/>
                    <a:pt x="1247" y="682"/>
                  </a:cubicBezTo>
                  <a:cubicBezTo>
                    <a:pt x="1246" y="684"/>
                    <a:pt x="1246" y="684"/>
                    <a:pt x="1246" y="684"/>
                  </a:cubicBezTo>
                  <a:cubicBezTo>
                    <a:pt x="1245" y="684"/>
                    <a:pt x="1245" y="684"/>
                    <a:pt x="1245" y="684"/>
                  </a:cubicBezTo>
                  <a:cubicBezTo>
                    <a:pt x="1245" y="684"/>
                    <a:pt x="1245" y="684"/>
                    <a:pt x="1245" y="684"/>
                  </a:cubicBezTo>
                  <a:cubicBezTo>
                    <a:pt x="1244" y="685"/>
                    <a:pt x="1244" y="685"/>
                    <a:pt x="1244" y="685"/>
                  </a:cubicBezTo>
                  <a:cubicBezTo>
                    <a:pt x="1243" y="686"/>
                    <a:pt x="1243" y="686"/>
                    <a:pt x="1243" y="686"/>
                  </a:cubicBezTo>
                  <a:cubicBezTo>
                    <a:pt x="1242" y="687"/>
                    <a:pt x="1242" y="687"/>
                    <a:pt x="1242" y="687"/>
                  </a:cubicBezTo>
                  <a:cubicBezTo>
                    <a:pt x="1241" y="687"/>
                    <a:pt x="1241" y="687"/>
                    <a:pt x="1241" y="687"/>
                  </a:cubicBezTo>
                  <a:cubicBezTo>
                    <a:pt x="1240" y="687"/>
                    <a:pt x="1240" y="687"/>
                    <a:pt x="1240" y="687"/>
                  </a:cubicBezTo>
                  <a:cubicBezTo>
                    <a:pt x="1241" y="687"/>
                    <a:pt x="1241" y="687"/>
                    <a:pt x="1241" y="687"/>
                  </a:cubicBezTo>
                  <a:cubicBezTo>
                    <a:pt x="1241" y="686"/>
                    <a:pt x="1241" y="686"/>
                    <a:pt x="1241" y="686"/>
                  </a:cubicBezTo>
                  <a:cubicBezTo>
                    <a:pt x="1242" y="685"/>
                    <a:pt x="1242" y="685"/>
                    <a:pt x="1242" y="685"/>
                  </a:cubicBezTo>
                  <a:cubicBezTo>
                    <a:pt x="1243" y="685"/>
                    <a:pt x="1243" y="685"/>
                    <a:pt x="1243" y="685"/>
                  </a:cubicBezTo>
                  <a:cubicBezTo>
                    <a:pt x="1244" y="685"/>
                    <a:pt x="1244" y="685"/>
                    <a:pt x="1244" y="685"/>
                  </a:cubicBezTo>
                  <a:cubicBezTo>
                    <a:pt x="1244" y="684"/>
                    <a:pt x="1244" y="684"/>
                    <a:pt x="1244" y="684"/>
                  </a:cubicBezTo>
                  <a:cubicBezTo>
                    <a:pt x="1245" y="683"/>
                    <a:pt x="1245" y="683"/>
                    <a:pt x="1245" y="683"/>
                  </a:cubicBezTo>
                  <a:cubicBezTo>
                    <a:pt x="1246" y="682"/>
                    <a:pt x="1246" y="682"/>
                    <a:pt x="1246" y="682"/>
                  </a:cubicBezTo>
                  <a:cubicBezTo>
                    <a:pt x="1246" y="681"/>
                    <a:pt x="1246" y="681"/>
                    <a:pt x="1246" y="681"/>
                  </a:cubicBezTo>
                  <a:lnTo>
                    <a:pt x="1245" y="681"/>
                  </a:lnTo>
                  <a:close/>
                  <a:moveTo>
                    <a:pt x="1249" y="679"/>
                  </a:moveTo>
                  <a:cubicBezTo>
                    <a:pt x="1249" y="678"/>
                    <a:pt x="1249" y="678"/>
                    <a:pt x="1249" y="678"/>
                  </a:cubicBezTo>
                  <a:cubicBezTo>
                    <a:pt x="1249" y="678"/>
                    <a:pt x="1249" y="678"/>
                    <a:pt x="1249" y="678"/>
                  </a:cubicBezTo>
                  <a:cubicBezTo>
                    <a:pt x="1251" y="678"/>
                    <a:pt x="1251" y="678"/>
                    <a:pt x="1251" y="678"/>
                  </a:cubicBezTo>
                  <a:cubicBezTo>
                    <a:pt x="1251" y="678"/>
                    <a:pt x="1251" y="678"/>
                    <a:pt x="1251" y="678"/>
                  </a:cubicBezTo>
                  <a:cubicBezTo>
                    <a:pt x="1251" y="678"/>
                    <a:pt x="1251" y="678"/>
                    <a:pt x="1251" y="678"/>
                  </a:cubicBezTo>
                  <a:cubicBezTo>
                    <a:pt x="1251" y="678"/>
                    <a:pt x="1251" y="678"/>
                    <a:pt x="1251" y="678"/>
                  </a:cubicBezTo>
                  <a:cubicBezTo>
                    <a:pt x="1250" y="679"/>
                    <a:pt x="1250" y="679"/>
                    <a:pt x="1250" y="679"/>
                  </a:cubicBezTo>
                  <a:cubicBezTo>
                    <a:pt x="1249" y="679"/>
                    <a:pt x="1249" y="679"/>
                    <a:pt x="1249" y="679"/>
                  </a:cubicBezTo>
                  <a:cubicBezTo>
                    <a:pt x="1249" y="679"/>
                    <a:pt x="1249" y="679"/>
                    <a:pt x="1249" y="679"/>
                  </a:cubicBezTo>
                  <a:cubicBezTo>
                    <a:pt x="1250" y="679"/>
                    <a:pt x="1250" y="679"/>
                    <a:pt x="1250" y="679"/>
                  </a:cubicBezTo>
                  <a:lnTo>
                    <a:pt x="1249" y="679"/>
                  </a:lnTo>
                  <a:close/>
                  <a:moveTo>
                    <a:pt x="1244" y="729"/>
                  </a:moveTo>
                  <a:cubicBezTo>
                    <a:pt x="1244" y="729"/>
                    <a:pt x="1244" y="729"/>
                    <a:pt x="1244" y="729"/>
                  </a:cubicBezTo>
                  <a:cubicBezTo>
                    <a:pt x="1244" y="729"/>
                    <a:pt x="1244" y="729"/>
                    <a:pt x="1244" y="729"/>
                  </a:cubicBezTo>
                  <a:cubicBezTo>
                    <a:pt x="1244" y="729"/>
                    <a:pt x="1244" y="729"/>
                    <a:pt x="1244" y="729"/>
                  </a:cubicBezTo>
                  <a:close/>
                  <a:moveTo>
                    <a:pt x="1219" y="684"/>
                  </a:moveTo>
                  <a:cubicBezTo>
                    <a:pt x="1219" y="684"/>
                    <a:pt x="1219" y="684"/>
                    <a:pt x="1219" y="684"/>
                  </a:cubicBezTo>
                  <a:cubicBezTo>
                    <a:pt x="1219" y="684"/>
                    <a:pt x="1219" y="684"/>
                    <a:pt x="1219" y="684"/>
                  </a:cubicBezTo>
                  <a:cubicBezTo>
                    <a:pt x="1220" y="684"/>
                    <a:pt x="1220" y="684"/>
                    <a:pt x="1220" y="684"/>
                  </a:cubicBezTo>
                  <a:cubicBezTo>
                    <a:pt x="1220" y="684"/>
                    <a:pt x="1220" y="684"/>
                    <a:pt x="1220" y="684"/>
                  </a:cubicBezTo>
                  <a:cubicBezTo>
                    <a:pt x="1219" y="684"/>
                    <a:pt x="1219" y="684"/>
                    <a:pt x="1219" y="684"/>
                  </a:cubicBezTo>
                  <a:close/>
                  <a:moveTo>
                    <a:pt x="1232" y="689"/>
                  </a:moveTo>
                  <a:cubicBezTo>
                    <a:pt x="1232" y="689"/>
                    <a:pt x="1232" y="689"/>
                    <a:pt x="1232" y="689"/>
                  </a:cubicBezTo>
                  <a:cubicBezTo>
                    <a:pt x="1232" y="689"/>
                    <a:pt x="1232" y="689"/>
                    <a:pt x="1232" y="689"/>
                  </a:cubicBezTo>
                  <a:cubicBezTo>
                    <a:pt x="1232" y="689"/>
                    <a:pt x="1232" y="689"/>
                    <a:pt x="1232" y="689"/>
                  </a:cubicBezTo>
                  <a:close/>
                  <a:moveTo>
                    <a:pt x="1236" y="690"/>
                  </a:moveTo>
                  <a:cubicBezTo>
                    <a:pt x="1236" y="690"/>
                    <a:pt x="1236" y="690"/>
                    <a:pt x="1236" y="690"/>
                  </a:cubicBezTo>
                  <a:cubicBezTo>
                    <a:pt x="1237" y="689"/>
                    <a:pt x="1237" y="689"/>
                    <a:pt x="1237" y="689"/>
                  </a:cubicBezTo>
                  <a:cubicBezTo>
                    <a:pt x="1237" y="689"/>
                    <a:pt x="1237" y="689"/>
                    <a:pt x="1237" y="689"/>
                  </a:cubicBezTo>
                  <a:cubicBezTo>
                    <a:pt x="1237" y="690"/>
                    <a:pt x="1237" y="690"/>
                    <a:pt x="1237" y="690"/>
                  </a:cubicBezTo>
                  <a:cubicBezTo>
                    <a:pt x="1237" y="690"/>
                    <a:pt x="1237" y="690"/>
                    <a:pt x="1237" y="690"/>
                  </a:cubicBezTo>
                  <a:lnTo>
                    <a:pt x="1236" y="690"/>
                  </a:lnTo>
                  <a:close/>
                  <a:moveTo>
                    <a:pt x="1238" y="689"/>
                  </a:moveTo>
                  <a:cubicBezTo>
                    <a:pt x="1238" y="689"/>
                    <a:pt x="1238" y="689"/>
                    <a:pt x="1238" y="689"/>
                  </a:cubicBezTo>
                  <a:cubicBezTo>
                    <a:pt x="1238" y="689"/>
                    <a:pt x="1238" y="689"/>
                    <a:pt x="1238" y="689"/>
                  </a:cubicBezTo>
                  <a:cubicBezTo>
                    <a:pt x="1238" y="689"/>
                    <a:pt x="1238" y="689"/>
                    <a:pt x="1238" y="689"/>
                  </a:cubicBezTo>
                  <a:cubicBezTo>
                    <a:pt x="1238" y="688"/>
                    <a:pt x="1238" y="688"/>
                    <a:pt x="1238" y="688"/>
                  </a:cubicBezTo>
                  <a:cubicBezTo>
                    <a:pt x="1238" y="688"/>
                    <a:pt x="1238" y="688"/>
                    <a:pt x="1238" y="688"/>
                  </a:cubicBezTo>
                  <a:cubicBezTo>
                    <a:pt x="1240" y="688"/>
                    <a:pt x="1240" y="688"/>
                    <a:pt x="1240" y="688"/>
                  </a:cubicBezTo>
                  <a:cubicBezTo>
                    <a:pt x="1240" y="688"/>
                    <a:pt x="1240" y="688"/>
                    <a:pt x="1240" y="688"/>
                  </a:cubicBezTo>
                  <a:cubicBezTo>
                    <a:pt x="1240" y="688"/>
                    <a:pt x="1240" y="688"/>
                    <a:pt x="1240" y="688"/>
                  </a:cubicBezTo>
                  <a:cubicBezTo>
                    <a:pt x="1240" y="688"/>
                    <a:pt x="1240" y="688"/>
                    <a:pt x="1240" y="688"/>
                  </a:cubicBezTo>
                  <a:cubicBezTo>
                    <a:pt x="1240" y="689"/>
                    <a:pt x="1240" y="689"/>
                    <a:pt x="1240" y="689"/>
                  </a:cubicBezTo>
                  <a:cubicBezTo>
                    <a:pt x="1240" y="689"/>
                    <a:pt x="1240" y="689"/>
                    <a:pt x="1240" y="689"/>
                  </a:cubicBezTo>
                  <a:cubicBezTo>
                    <a:pt x="1239" y="689"/>
                    <a:pt x="1239" y="689"/>
                    <a:pt x="1239" y="689"/>
                  </a:cubicBezTo>
                  <a:cubicBezTo>
                    <a:pt x="1239" y="689"/>
                    <a:pt x="1239" y="689"/>
                    <a:pt x="1239" y="689"/>
                  </a:cubicBezTo>
                  <a:cubicBezTo>
                    <a:pt x="1239" y="689"/>
                    <a:pt x="1239" y="689"/>
                    <a:pt x="1239" y="689"/>
                  </a:cubicBezTo>
                  <a:cubicBezTo>
                    <a:pt x="1238" y="689"/>
                    <a:pt x="1238" y="689"/>
                    <a:pt x="1238" y="689"/>
                  </a:cubicBezTo>
                  <a:close/>
                  <a:moveTo>
                    <a:pt x="1207" y="610"/>
                  </a:moveTo>
                  <a:cubicBezTo>
                    <a:pt x="1208" y="611"/>
                    <a:pt x="1208" y="611"/>
                    <a:pt x="1208" y="611"/>
                  </a:cubicBezTo>
                  <a:cubicBezTo>
                    <a:pt x="1209" y="612"/>
                    <a:pt x="1209" y="612"/>
                    <a:pt x="1209" y="612"/>
                  </a:cubicBezTo>
                  <a:cubicBezTo>
                    <a:pt x="1208" y="614"/>
                    <a:pt x="1208" y="614"/>
                    <a:pt x="1208" y="614"/>
                  </a:cubicBezTo>
                  <a:cubicBezTo>
                    <a:pt x="1206" y="617"/>
                    <a:pt x="1206" y="617"/>
                    <a:pt x="1206" y="617"/>
                  </a:cubicBezTo>
                  <a:cubicBezTo>
                    <a:pt x="1206" y="619"/>
                    <a:pt x="1206" y="619"/>
                    <a:pt x="1206" y="619"/>
                  </a:cubicBezTo>
                  <a:cubicBezTo>
                    <a:pt x="1206" y="619"/>
                    <a:pt x="1206" y="619"/>
                    <a:pt x="1206" y="619"/>
                  </a:cubicBezTo>
                  <a:cubicBezTo>
                    <a:pt x="1209" y="620"/>
                    <a:pt x="1209" y="620"/>
                    <a:pt x="1209" y="620"/>
                  </a:cubicBezTo>
                  <a:cubicBezTo>
                    <a:pt x="1209" y="621"/>
                    <a:pt x="1209" y="621"/>
                    <a:pt x="1209" y="621"/>
                  </a:cubicBezTo>
                  <a:cubicBezTo>
                    <a:pt x="1210" y="621"/>
                    <a:pt x="1210" y="621"/>
                    <a:pt x="1210" y="621"/>
                  </a:cubicBezTo>
                  <a:cubicBezTo>
                    <a:pt x="1210" y="622"/>
                    <a:pt x="1210" y="622"/>
                    <a:pt x="1210" y="622"/>
                  </a:cubicBezTo>
                  <a:cubicBezTo>
                    <a:pt x="1211" y="625"/>
                    <a:pt x="1211" y="625"/>
                    <a:pt x="1211" y="625"/>
                  </a:cubicBezTo>
                  <a:cubicBezTo>
                    <a:pt x="1211" y="625"/>
                    <a:pt x="1211" y="625"/>
                    <a:pt x="1211" y="625"/>
                  </a:cubicBezTo>
                  <a:cubicBezTo>
                    <a:pt x="1212" y="626"/>
                    <a:pt x="1212" y="626"/>
                    <a:pt x="1212" y="626"/>
                  </a:cubicBezTo>
                  <a:cubicBezTo>
                    <a:pt x="1212" y="626"/>
                    <a:pt x="1212" y="626"/>
                    <a:pt x="1212" y="626"/>
                  </a:cubicBezTo>
                  <a:cubicBezTo>
                    <a:pt x="1212" y="627"/>
                    <a:pt x="1212" y="627"/>
                    <a:pt x="1212" y="627"/>
                  </a:cubicBezTo>
                  <a:cubicBezTo>
                    <a:pt x="1213" y="630"/>
                    <a:pt x="1213" y="630"/>
                    <a:pt x="1213" y="630"/>
                  </a:cubicBezTo>
                  <a:cubicBezTo>
                    <a:pt x="1213" y="631"/>
                    <a:pt x="1213" y="631"/>
                    <a:pt x="1213" y="631"/>
                  </a:cubicBezTo>
                  <a:cubicBezTo>
                    <a:pt x="1213" y="632"/>
                    <a:pt x="1213" y="632"/>
                    <a:pt x="1213" y="632"/>
                  </a:cubicBezTo>
                  <a:cubicBezTo>
                    <a:pt x="1218" y="636"/>
                    <a:pt x="1218" y="636"/>
                    <a:pt x="1218" y="636"/>
                  </a:cubicBezTo>
                  <a:cubicBezTo>
                    <a:pt x="1219" y="636"/>
                    <a:pt x="1219" y="636"/>
                    <a:pt x="1219" y="636"/>
                  </a:cubicBezTo>
                  <a:cubicBezTo>
                    <a:pt x="1220" y="637"/>
                    <a:pt x="1220" y="637"/>
                    <a:pt x="1220" y="637"/>
                  </a:cubicBezTo>
                  <a:cubicBezTo>
                    <a:pt x="1221" y="637"/>
                    <a:pt x="1221" y="637"/>
                    <a:pt x="1221" y="637"/>
                  </a:cubicBezTo>
                  <a:cubicBezTo>
                    <a:pt x="1223" y="639"/>
                    <a:pt x="1223" y="639"/>
                    <a:pt x="1223" y="639"/>
                  </a:cubicBezTo>
                  <a:cubicBezTo>
                    <a:pt x="1224" y="639"/>
                    <a:pt x="1224" y="639"/>
                    <a:pt x="1224" y="639"/>
                  </a:cubicBezTo>
                  <a:cubicBezTo>
                    <a:pt x="1225" y="639"/>
                    <a:pt x="1225" y="639"/>
                    <a:pt x="1225" y="639"/>
                  </a:cubicBezTo>
                  <a:cubicBezTo>
                    <a:pt x="1226" y="639"/>
                    <a:pt x="1226" y="639"/>
                    <a:pt x="1226" y="639"/>
                  </a:cubicBezTo>
                  <a:cubicBezTo>
                    <a:pt x="1226" y="639"/>
                    <a:pt x="1226" y="639"/>
                    <a:pt x="1226" y="639"/>
                  </a:cubicBezTo>
                  <a:cubicBezTo>
                    <a:pt x="1226" y="640"/>
                    <a:pt x="1226" y="640"/>
                    <a:pt x="1226" y="640"/>
                  </a:cubicBezTo>
                  <a:cubicBezTo>
                    <a:pt x="1226" y="641"/>
                    <a:pt x="1226" y="641"/>
                    <a:pt x="1226" y="641"/>
                  </a:cubicBezTo>
                  <a:cubicBezTo>
                    <a:pt x="1227" y="641"/>
                    <a:pt x="1227" y="641"/>
                    <a:pt x="1227" y="641"/>
                  </a:cubicBezTo>
                  <a:cubicBezTo>
                    <a:pt x="1227" y="642"/>
                    <a:pt x="1227" y="642"/>
                    <a:pt x="1227" y="642"/>
                  </a:cubicBezTo>
                  <a:cubicBezTo>
                    <a:pt x="1228" y="641"/>
                    <a:pt x="1228" y="641"/>
                    <a:pt x="1228" y="641"/>
                  </a:cubicBezTo>
                  <a:cubicBezTo>
                    <a:pt x="1228" y="641"/>
                    <a:pt x="1228" y="641"/>
                    <a:pt x="1228" y="641"/>
                  </a:cubicBezTo>
                  <a:cubicBezTo>
                    <a:pt x="1228" y="641"/>
                    <a:pt x="1228" y="641"/>
                    <a:pt x="1228" y="641"/>
                  </a:cubicBezTo>
                  <a:cubicBezTo>
                    <a:pt x="1228" y="642"/>
                    <a:pt x="1228" y="642"/>
                    <a:pt x="1228" y="642"/>
                  </a:cubicBezTo>
                  <a:cubicBezTo>
                    <a:pt x="1229" y="644"/>
                    <a:pt x="1229" y="644"/>
                    <a:pt x="1229" y="644"/>
                  </a:cubicBezTo>
                  <a:cubicBezTo>
                    <a:pt x="1229" y="645"/>
                    <a:pt x="1229" y="645"/>
                    <a:pt x="1229" y="645"/>
                  </a:cubicBezTo>
                  <a:cubicBezTo>
                    <a:pt x="1229" y="645"/>
                    <a:pt x="1229" y="645"/>
                    <a:pt x="1229" y="645"/>
                  </a:cubicBezTo>
                  <a:cubicBezTo>
                    <a:pt x="1229" y="645"/>
                    <a:pt x="1229" y="645"/>
                    <a:pt x="1229" y="645"/>
                  </a:cubicBezTo>
                  <a:cubicBezTo>
                    <a:pt x="1229" y="646"/>
                    <a:pt x="1229" y="646"/>
                    <a:pt x="1229" y="646"/>
                  </a:cubicBezTo>
                  <a:cubicBezTo>
                    <a:pt x="1228" y="647"/>
                    <a:pt x="1228" y="647"/>
                    <a:pt x="1228" y="647"/>
                  </a:cubicBezTo>
                  <a:cubicBezTo>
                    <a:pt x="1228" y="650"/>
                    <a:pt x="1228" y="650"/>
                    <a:pt x="1228" y="650"/>
                  </a:cubicBezTo>
                  <a:cubicBezTo>
                    <a:pt x="1227" y="651"/>
                    <a:pt x="1227" y="651"/>
                    <a:pt x="1227" y="651"/>
                  </a:cubicBezTo>
                  <a:cubicBezTo>
                    <a:pt x="1226" y="653"/>
                    <a:pt x="1226" y="653"/>
                    <a:pt x="1226" y="653"/>
                  </a:cubicBezTo>
                  <a:cubicBezTo>
                    <a:pt x="1226" y="654"/>
                    <a:pt x="1226" y="654"/>
                    <a:pt x="1226" y="654"/>
                  </a:cubicBezTo>
                  <a:cubicBezTo>
                    <a:pt x="1227" y="654"/>
                    <a:pt x="1227" y="654"/>
                    <a:pt x="1227" y="654"/>
                  </a:cubicBezTo>
                  <a:cubicBezTo>
                    <a:pt x="1230" y="655"/>
                    <a:pt x="1230" y="655"/>
                    <a:pt x="1230" y="655"/>
                  </a:cubicBezTo>
                  <a:cubicBezTo>
                    <a:pt x="1236" y="654"/>
                    <a:pt x="1236" y="654"/>
                    <a:pt x="1236" y="654"/>
                  </a:cubicBezTo>
                  <a:cubicBezTo>
                    <a:pt x="1237" y="654"/>
                    <a:pt x="1237" y="654"/>
                    <a:pt x="1237" y="654"/>
                  </a:cubicBezTo>
                  <a:cubicBezTo>
                    <a:pt x="1238" y="655"/>
                    <a:pt x="1238" y="655"/>
                    <a:pt x="1238" y="655"/>
                  </a:cubicBezTo>
                  <a:cubicBezTo>
                    <a:pt x="1242" y="656"/>
                    <a:pt x="1242" y="656"/>
                    <a:pt x="1242" y="656"/>
                  </a:cubicBezTo>
                  <a:cubicBezTo>
                    <a:pt x="1243" y="657"/>
                    <a:pt x="1243" y="657"/>
                    <a:pt x="1243" y="657"/>
                  </a:cubicBezTo>
                  <a:cubicBezTo>
                    <a:pt x="1244" y="658"/>
                    <a:pt x="1244" y="658"/>
                    <a:pt x="1244" y="658"/>
                  </a:cubicBezTo>
                  <a:cubicBezTo>
                    <a:pt x="1244" y="658"/>
                    <a:pt x="1244" y="658"/>
                    <a:pt x="1244" y="658"/>
                  </a:cubicBezTo>
                  <a:cubicBezTo>
                    <a:pt x="1246" y="658"/>
                    <a:pt x="1246" y="658"/>
                    <a:pt x="1246" y="658"/>
                  </a:cubicBezTo>
                  <a:cubicBezTo>
                    <a:pt x="1247" y="658"/>
                    <a:pt x="1247" y="658"/>
                    <a:pt x="1247" y="658"/>
                  </a:cubicBezTo>
                  <a:cubicBezTo>
                    <a:pt x="1247" y="659"/>
                    <a:pt x="1247" y="659"/>
                    <a:pt x="1247" y="659"/>
                  </a:cubicBezTo>
                  <a:cubicBezTo>
                    <a:pt x="1248" y="659"/>
                    <a:pt x="1248" y="659"/>
                    <a:pt x="1248" y="659"/>
                  </a:cubicBezTo>
                  <a:cubicBezTo>
                    <a:pt x="1248" y="660"/>
                    <a:pt x="1248" y="660"/>
                    <a:pt x="1248" y="660"/>
                  </a:cubicBezTo>
                  <a:cubicBezTo>
                    <a:pt x="1248" y="660"/>
                    <a:pt x="1248" y="660"/>
                    <a:pt x="1248" y="660"/>
                  </a:cubicBezTo>
                  <a:cubicBezTo>
                    <a:pt x="1248" y="660"/>
                    <a:pt x="1248" y="660"/>
                    <a:pt x="1248" y="660"/>
                  </a:cubicBezTo>
                  <a:cubicBezTo>
                    <a:pt x="1248" y="661"/>
                    <a:pt x="1248" y="661"/>
                    <a:pt x="1248" y="661"/>
                  </a:cubicBezTo>
                  <a:cubicBezTo>
                    <a:pt x="1245" y="662"/>
                    <a:pt x="1245" y="662"/>
                    <a:pt x="1245" y="662"/>
                  </a:cubicBezTo>
                  <a:cubicBezTo>
                    <a:pt x="1245" y="662"/>
                    <a:pt x="1245" y="662"/>
                    <a:pt x="1245" y="662"/>
                  </a:cubicBezTo>
                  <a:cubicBezTo>
                    <a:pt x="1245" y="663"/>
                    <a:pt x="1245" y="663"/>
                    <a:pt x="1245" y="663"/>
                  </a:cubicBezTo>
                  <a:cubicBezTo>
                    <a:pt x="1245" y="663"/>
                    <a:pt x="1245" y="663"/>
                    <a:pt x="1245" y="663"/>
                  </a:cubicBezTo>
                  <a:cubicBezTo>
                    <a:pt x="1246" y="665"/>
                    <a:pt x="1246" y="665"/>
                    <a:pt x="1246" y="665"/>
                  </a:cubicBezTo>
                  <a:cubicBezTo>
                    <a:pt x="1246" y="666"/>
                    <a:pt x="1246" y="666"/>
                    <a:pt x="1246" y="666"/>
                  </a:cubicBezTo>
                  <a:cubicBezTo>
                    <a:pt x="1247" y="667"/>
                    <a:pt x="1247" y="667"/>
                    <a:pt x="1247" y="667"/>
                  </a:cubicBezTo>
                  <a:cubicBezTo>
                    <a:pt x="1248" y="667"/>
                    <a:pt x="1248" y="667"/>
                    <a:pt x="1248" y="667"/>
                  </a:cubicBezTo>
                  <a:cubicBezTo>
                    <a:pt x="1249" y="668"/>
                    <a:pt x="1249" y="668"/>
                    <a:pt x="1249" y="668"/>
                  </a:cubicBezTo>
                  <a:cubicBezTo>
                    <a:pt x="1250" y="668"/>
                    <a:pt x="1250" y="668"/>
                    <a:pt x="1250" y="668"/>
                  </a:cubicBezTo>
                  <a:cubicBezTo>
                    <a:pt x="1250" y="669"/>
                    <a:pt x="1250" y="669"/>
                    <a:pt x="1250" y="669"/>
                  </a:cubicBezTo>
                  <a:cubicBezTo>
                    <a:pt x="1251" y="670"/>
                    <a:pt x="1251" y="670"/>
                    <a:pt x="1251" y="670"/>
                  </a:cubicBezTo>
                  <a:cubicBezTo>
                    <a:pt x="1251" y="670"/>
                    <a:pt x="1251" y="670"/>
                    <a:pt x="1251" y="670"/>
                  </a:cubicBezTo>
                  <a:cubicBezTo>
                    <a:pt x="1251" y="670"/>
                    <a:pt x="1251" y="670"/>
                    <a:pt x="1251" y="670"/>
                  </a:cubicBezTo>
                  <a:cubicBezTo>
                    <a:pt x="1251" y="669"/>
                    <a:pt x="1251" y="669"/>
                    <a:pt x="1251" y="669"/>
                  </a:cubicBezTo>
                  <a:cubicBezTo>
                    <a:pt x="1252" y="669"/>
                    <a:pt x="1252" y="669"/>
                    <a:pt x="1252" y="669"/>
                  </a:cubicBezTo>
                  <a:cubicBezTo>
                    <a:pt x="1252" y="669"/>
                    <a:pt x="1252" y="669"/>
                    <a:pt x="1252" y="669"/>
                  </a:cubicBezTo>
                  <a:cubicBezTo>
                    <a:pt x="1253" y="669"/>
                    <a:pt x="1253" y="669"/>
                    <a:pt x="1253" y="669"/>
                  </a:cubicBezTo>
                  <a:cubicBezTo>
                    <a:pt x="1253" y="670"/>
                    <a:pt x="1253" y="670"/>
                    <a:pt x="1253" y="670"/>
                  </a:cubicBezTo>
                  <a:cubicBezTo>
                    <a:pt x="1253" y="670"/>
                    <a:pt x="1253" y="670"/>
                    <a:pt x="1253" y="670"/>
                  </a:cubicBezTo>
                  <a:cubicBezTo>
                    <a:pt x="1253" y="671"/>
                    <a:pt x="1253" y="671"/>
                    <a:pt x="1253" y="671"/>
                  </a:cubicBezTo>
                  <a:cubicBezTo>
                    <a:pt x="1253" y="671"/>
                    <a:pt x="1253" y="671"/>
                    <a:pt x="1253" y="671"/>
                  </a:cubicBezTo>
                  <a:cubicBezTo>
                    <a:pt x="1254" y="671"/>
                    <a:pt x="1254" y="671"/>
                    <a:pt x="1254" y="671"/>
                  </a:cubicBezTo>
                  <a:cubicBezTo>
                    <a:pt x="1254" y="671"/>
                    <a:pt x="1254" y="671"/>
                    <a:pt x="1254" y="671"/>
                  </a:cubicBezTo>
                  <a:cubicBezTo>
                    <a:pt x="1255" y="672"/>
                    <a:pt x="1255" y="672"/>
                    <a:pt x="1255" y="672"/>
                  </a:cubicBezTo>
                  <a:cubicBezTo>
                    <a:pt x="1255" y="672"/>
                    <a:pt x="1255" y="672"/>
                    <a:pt x="1255" y="672"/>
                  </a:cubicBezTo>
                  <a:cubicBezTo>
                    <a:pt x="1254" y="675"/>
                    <a:pt x="1254" y="675"/>
                    <a:pt x="1254" y="675"/>
                  </a:cubicBezTo>
                  <a:cubicBezTo>
                    <a:pt x="1255" y="677"/>
                    <a:pt x="1255" y="677"/>
                    <a:pt x="1255" y="677"/>
                  </a:cubicBezTo>
                  <a:cubicBezTo>
                    <a:pt x="1254" y="678"/>
                    <a:pt x="1254" y="678"/>
                    <a:pt x="1254" y="678"/>
                  </a:cubicBezTo>
                  <a:cubicBezTo>
                    <a:pt x="1254" y="678"/>
                    <a:pt x="1254" y="678"/>
                    <a:pt x="1254" y="678"/>
                  </a:cubicBezTo>
                  <a:cubicBezTo>
                    <a:pt x="1253" y="677"/>
                    <a:pt x="1253" y="677"/>
                    <a:pt x="1253" y="677"/>
                  </a:cubicBezTo>
                  <a:cubicBezTo>
                    <a:pt x="1253" y="677"/>
                    <a:pt x="1253" y="677"/>
                    <a:pt x="1253" y="677"/>
                  </a:cubicBezTo>
                  <a:cubicBezTo>
                    <a:pt x="1253" y="676"/>
                    <a:pt x="1253" y="676"/>
                    <a:pt x="1253" y="676"/>
                  </a:cubicBezTo>
                  <a:cubicBezTo>
                    <a:pt x="1253" y="673"/>
                    <a:pt x="1253" y="673"/>
                    <a:pt x="1253" y="673"/>
                  </a:cubicBezTo>
                  <a:cubicBezTo>
                    <a:pt x="1253" y="672"/>
                    <a:pt x="1253" y="672"/>
                    <a:pt x="1253" y="672"/>
                  </a:cubicBezTo>
                  <a:cubicBezTo>
                    <a:pt x="1253" y="671"/>
                    <a:pt x="1253" y="671"/>
                    <a:pt x="1253" y="671"/>
                  </a:cubicBezTo>
                  <a:cubicBezTo>
                    <a:pt x="1252" y="671"/>
                    <a:pt x="1252" y="671"/>
                    <a:pt x="1252" y="671"/>
                  </a:cubicBezTo>
                  <a:cubicBezTo>
                    <a:pt x="1251" y="672"/>
                    <a:pt x="1251" y="672"/>
                    <a:pt x="1251" y="672"/>
                  </a:cubicBezTo>
                  <a:cubicBezTo>
                    <a:pt x="1251" y="672"/>
                    <a:pt x="1251" y="672"/>
                    <a:pt x="1251" y="672"/>
                  </a:cubicBezTo>
                  <a:cubicBezTo>
                    <a:pt x="1251" y="671"/>
                    <a:pt x="1251" y="671"/>
                    <a:pt x="1251" y="671"/>
                  </a:cubicBezTo>
                  <a:cubicBezTo>
                    <a:pt x="1251" y="671"/>
                    <a:pt x="1251" y="671"/>
                    <a:pt x="1251" y="671"/>
                  </a:cubicBezTo>
                  <a:cubicBezTo>
                    <a:pt x="1251" y="670"/>
                    <a:pt x="1251" y="670"/>
                    <a:pt x="1251" y="670"/>
                  </a:cubicBezTo>
                  <a:cubicBezTo>
                    <a:pt x="1251" y="670"/>
                    <a:pt x="1251" y="670"/>
                    <a:pt x="1251" y="670"/>
                  </a:cubicBezTo>
                  <a:cubicBezTo>
                    <a:pt x="1250" y="670"/>
                    <a:pt x="1250" y="670"/>
                    <a:pt x="1250" y="670"/>
                  </a:cubicBezTo>
                  <a:cubicBezTo>
                    <a:pt x="1250" y="670"/>
                    <a:pt x="1250" y="670"/>
                    <a:pt x="1250" y="670"/>
                  </a:cubicBezTo>
                  <a:cubicBezTo>
                    <a:pt x="1249" y="670"/>
                    <a:pt x="1249" y="670"/>
                    <a:pt x="1249" y="670"/>
                  </a:cubicBezTo>
                  <a:cubicBezTo>
                    <a:pt x="1249" y="670"/>
                    <a:pt x="1249" y="670"/>
                    <a:pt x="1249" y="670"/>
                  </a:cubicBezTo>
                  <a:cubicBezTo>
                    <a:pt x="1249" y="670"/>
                    <a:pt x="1249" y="670"/>
                    <a:pt x="1249" y="670"/>
                  </a:cubicBezTo>
                  <a:cubicBezTo>
                    <a:pt x="1249" y="670"/>
                    <a:pt x="1249" y="670"/>
                    <a:pt x="1249" y="670"/>
                  </a:cubicBezTo>
                  <a:cubicBezTo>
                    <a:pt x="1248" y="669"/>
                    <a:pt x="1248" y="669"/>
                    <a:pt x="1248" y="669"/>
                  </a:cubicBezTo>
                  <a:cubicBezTo>
                    <a:pt x="1248" y="668"/>
                    <a:pt x="1248" y="668"/>
                    <a:pt x="1248" y="668"/>
                  </a:cubicBezTo>
                  <a:cubicBezTo>
                    <a:pt x="1246" y="668"/>
                    <a:pt x="1246" y="668"/>
                    <a:pt x="1246" y="668"/>
                  </a:cubicBezTo>
                  <a:cubicBezTo>
                    <a:pt x="1245" y="667"/>
                    <a:pt x="1245" y="667"/>
                    <a:pt x="1245" y="667"/>
                  </a:cubicBezTo>
                  <a:cubicBezTo>
                    <a:pt x="1245" y="666"/>
                    <a:pt x="1245" y="666"/>
                    <a:pt x="1245" y="666"/>
                  </a:cubicBezTo>
                  <a:cubicBezTo>
                    <a:pt x="1244" y="665"/>
                    <a:pt x="1244" y="665"/>
                    <a:pt x="1244" y="665"/>
                  </a:cubicBezTo>
                  <a:cubicBezTo>
                    <a:pt x="1244" y="664"/>
                    <a:pt x="1244" y="664"/>
                    <a:pt x="1244" y="664"/>
                  </a:cubicBezTo>
                  <a:cubicBezTo>
                    <a:pt x="1244" y="663"/>
                    <a:pt x="1244" y="663"/>
                    <a:pt x="1244" y="663"/>
                  </a:cubicBezTo>
                  <a:cubicBezTo>
                    <a:pt x="1244" y="663"/>
                    <a:pt x="1244" y="663"/>
                    <a:pt x="1244" y="663"/>
                  </a:cubicBezTo>
                  <a:cubicBezTo>
                    <a:pt x="1244" y="663"/>
                    <a:pt x="1244" y="663"/>
                    <a:pt x="1244" y="663"/>
                  </a:cubicBezTo>
                  <a:cubicBezTo>
                    <a:pt x="1246" y="661"/>
                    <a:pt x="1246" y="661"/>
                    <a:pt x="1246" y="661"/>
                  </a:cubicBezTo>
                  <a:cubicBezTo>
                    <a:pt x="1246" y="661"/>
                    <a:pt x="1246" y="661"/>
                    <a:pt x="1246" y="661"/>
                  </a:cubicBezTo>
                  <a:cubicBezTo>
                    <a:pt x="1246" y="661"/>
                    <a:pt x="1246" y="661"/>
                    <a:pt x="1246" y="661"/>
                  </a:cubicBezTo>
                  <a:cubicBezTo>
                    <a:pt x="1246" y="660"/>
                    <a:pt x="1246" y="660"/>
                    <a:pt x="1246" y="660"/>
                  </a:cubicBezTo>
                  <a:cubicBezTo>
                    <a:pt x="1246" y="660"/>
                    <a:pt x="1246" y="660"/>
                    <a:pt x="1246" y="660"/>
                  </a:cubicBezTo>
                  <a:cubicBezTo>
                    <a:pt x="1245" y="659"/>
                    <a:pt x="1245" y="659"/>
                    <a:pt x="1245" y="659"/>
                  </a:cubicBezTo>
                  <a:cubicBezTo>
                    <a:pt x="1245" y="659"/>
                    <a:pt x="1245" y="659"/>
                    <a:pt x="1245" y="659"/>
                  </a:cubicBezTo>
                  <a:cubicBezTo>
                    <a:pt x="1244" y="659"/>
                    <a:pt x="1244" y="659"/>
                    <a:pt x="1244" y="659"/>
                  </a:cubicBezTo>
                  <a:cubicBezTo>
                    <a:pt x="1243" y="659"/>
                    <a:pt x="1243" y="659"/>
                    <a:pt x="1243" y="659"/>
                  </a:cubicBezTo>
                  <a:cubicBezTo>
                    <a:pt x="1242" y="659"/>
                    <a:pt x="1242" y="659"/>
                    <a:pt x="1242" y="659"/>
                  </a:cubicBezTo>
                  <a:cubicBezTo>
                    <a:pt x="1241" y="657"/>
                    <a:pt x="1241" y="657"/>
                    <a:pt x="1241" y="657"/>
                  </a:cubicBezTo>
                  <a:cubicBezTo>
                    <a:pt x="1240" y="656"/>
                    <a:pt x="1240" y="656"/>
                    <a:pt x="1240" y="656"/>
                  </a:cubicBezTo>
                  <a:cubicBezTo>
                    <a:pt x="1237" y="655"/>
                    <a:pt x="1237" y="655"/>
                    <a:pt x="1237" y="655"/>
                  </a:cubicBezTo>
                  <a:cubicBezTo>
                    <a:pt x="1235" y="654"/>
                    <a:pt x="1235" y="654"/>
                    <a:pt x="1235" y="654"/>
                  </a:cubicBezTo>
                  <a:cubicBezTo>
                    <a:pt x="1234" y="654"/>
                    <a:pt x="1234" y="654"/>
                    <a:pt x="1234" y="654"/>
                  </a:cubicBezTo>
                  <a:cubicBezTo>
                    <a:pt x="1228" y="656"/>
                    <a:pt x="1228" y="656"/>
                    <a:pt x="1228" y="656"/>
                  </a:cubicBezTo>
                  <a:cubicBezTo>
                    <a:pt x="1225" y="655"/>
                    <a:pt x="1225" y="655"/>
                    <a:pt x="1225" y="655"/>
                  </a:cubicBezTo>
                  <a:cubicBezTo>
                    <a:pt x="1224" y="655"/>
                    <a:pt x="1224" y="655"/>
                    <a:pt x="1224" y="655"/>
                  </a:cubicBezTo>
                  <a:cubicBezTo>
                    <a:pt x="1224" y="654"/>
                    <a:pt x="1224" y="654"/>
                    <a:pt x="1224" y="654"/>
                  </a:cubicBezTo>
                  <a:cubicBezTo>
                    <a:pt x="1225" y="651"/>
                    <a:pt x="1225" y="651"/>
                    <a:pt x="1225" y="651"/>
                  </a:cubicBezTo>
                  <a:cubicBezTo>
                    <a:pt x="1226" y="650"/>
                    <a:pt x="1226" y="650"/>
                    <a:pt x="1226" y="650"/>
                  </a:cubicBezTo>
                  <a:cubicBezTo>
                    <a:pt x="1227" y="647"/>
                    <a:pt x="1227" y="647"/>
                    <a:pt x="1227" y="647"/>
                  </a:cubicBezTo>
                  <a:cubicBezTo>
                    <a:pt x="1227" y="646"/>
                    <a:pt x="1227" y="646"/>
                    <a:pt x="1227" y="646"/>
                  </a:cubicBezTo>
                  <a:cubicBezTo>
                    <a:pt x="1227" y="646"/>
                    <a:pt x="1227" y="646"/>
                    <a:pt x="1227" y="646"/>
                  </a:cubicBezTo>
                  <a:cubicBezTo>
                    <a:pt x="1227" y="645"/>
                    <a:pt x="1227" y="645"/>
                    <a:pt x="1227" y="645"/>
                  </a:cubicBezTo>
                  <a:cubicBezTo>
                    <a:pt x="1227" y="645"/>
                    <a:pt x="1227" y="645"/>
                    <a:pt x="1227" y="645"/>
                  </a:cubicBezTo>
                  <a:cubicBezTo>
                    <a:pt x="1227" y="645"/>
                    <a:pt x="1227" y="645"/>
                    <a:pt x="1227" y="645"/>
                  </a:cubicBezTo>
                  <a:cubicBezTo>
                    <a:pt x="1226" y="642"/>
                    <a:pt x="1226" y="642"/>
                    <a:pt x="1226" y="642"/>
                  </a:cubicBezTo>
                  <a:cubicBezTo>
                    <a:pt x="1226" y="642"/>
                    <a:pt x="1226" y="642"/>
                    <a:pt x="1226" y="642"/>
                  </a:cubicBezTo>
                  <a:cubicBezTo>
                    <a:pt x="1226" y="642"/>
                    <a:pt x="1226" y="642"/>
                    <a:pt x="1226" y="642"/>
                  </a:cubicBezTo>
                  <a:cubicBezTo>
                    <a:pt x="1226" y="642"/>
                    <a:pt x="1226" y="642"/>
                    <a:pt x="1226" y="642"/>
                  </a:cubicBezTo>
                  <a:cubicBezTo>
                    <a:pt x="1225" y="642"/>
                    <a:pt x="1225" y="642"/>
                    <a:pt x="1225" y="642"/>
                  </a:cubicBezTo>
                  <a:cubicBezTo>
                    <a:pt x="1225" y="642"/>
                    <a:pt x="1225" y="642"/>
                    <a:pt x="1225" y="642"/>
                  </a:cubicBezTo>
                  <a:cubicBezTo>
                    <a:pt x="1225" y="641"/>
                    <a:pt x="1225" y="641"/>
                    <a:pt x="1225" y="641"/>
                  </a:cubicBezTo>
                  <a:cubicBezTo>
                    <a:pt x="1224" y="641"/>
                    <a:pt x="1224" y="641"/>
                    <a:pt x="1224" y="641"/>
                  </a:cubicBezTo>
                  <a:cubicBezTo>
                    <a:pt x="1224" y="640"/>
                    <a:pt x="1224" y="640"/>
                    <a:pt x="1224" y="640"/>
                  </a:cubicBezTo>
                  <a:cubicBezTo>
                    <a:pt x="1224" y="640"/>
                    <a:pt x="1224" y="640"/>
                    <a:pt x="1224" y="640"/>
                  </a:cubicBezTo>
                  <a:cubicBezTo>
                    <a:pt x="1223" y="639"/>
                    <a:pt x="1223" y="639"/>
                    <a:pt x="1223" y="639"/>
                  </a:cubicBezTo>
                  <a:cubicBezTo>
                    <a:pt x="1223" y="639"/>
                    <a:pt x="1223" y="639"/>
                    <a:pt x="1223" y="639"/>
                  </a:cubicBezTo>
                  <a:cubicBezTo>
                    <a:pt x="1222" y="639"/>
                    <a:pt x="1222" y="639"/>
                    <a:pt x="1222" y="639"/>
                  </a:cubicBezTo>
                  <a:cubicBezTo>
                    <a:pt x="1219" y="638"/>
                    <a:pt x="1219" y="638"/>
                    <a:pt x="1219" y="638"/>
                  </a:cubicBezTo>
                  <a:cubicBezTo>
                    <a:pt x="1218" y="637"/>
                    <a:pt x="1218" y="637"/>
                    <a:pt x="1218" y="637"/>
                  </a:cubicBezTo>
                  <a:cubicBezTo>
                    <a:pt x="1217" y="637"/>
                    <a:pt x="1217" y="637"/>
                    <a:pt x="1217" y="637"/>
                  </a:cubicBezTo>
                  <a:cubicBezTo>
                    <a:pt x="1216" y="637"/>
                    <a:pt x="1216" y="637"/>
                    <a:pt x="1216" y="637"/>
                  </a:cubicBezTo>
                  <a:cubicBezTo>
                    <a:pt x="1211" y="633"/>
                    <a:pt x="1211" y="633"/>
                    <a:pt x="1211" y="633"/>
                  </a:cubicBezTo>
                  <a:cubicBezTo>
                    <a:pt x="1211" y="632"/>
                    <a:pt x="1211" y="632"/>
                    <a:pt x="1211" y="632"/>
                  </a:cubicBezTo>
                  <a:cubicBezTo>
                    <a:pt x="1211" y="631"/>
                    <a:pt x="1211" y="631"/>
                    <a:pt x="1211" y="631"/>
                  </a:cubicBezTo>
                  <a:cubicBezTo>
                    <a:pt x="1211" y="628"/>
                    <a:pt x="1211" y="628"/>
                    <a:pt x="1211" y="628"/>
                  </a:cubicBezTo>
                  <a:cubicBezTo>
                    <a:pt x="1210" y="627"/>
                    <a:pt x="1210" y="627"/>
                    <a:pt x="1210" y="627"/>
                  </a:cubicBezTo>
                  <a:cubicBezTo>
                    <a:pt x="1210" y="626"/>
                    <a:pt x="1210" y="626"/>
                    <a:pt x="1210" y="626"/>
                  </a:cubicBezTo>
                  <a:cubicBezTo>
                    <a:pt x="1210" y="626"/>
                    <a:pt x="1210" y="626"/>
                    <a:pt x="1210" y="626"/>
                  </a:cubicBezTo>
                  <a:cubicBezTo>
                    <a:pt x="1209" y="625"/>
                    <a:pt x="1209" y="625"/>
                    <a:pt x="1209" y="625"/>
                  </a:cubicBezTo>
                  <a:cubicBezTo>
                    <a:pt x="1208" y="623"/>
                    <a:pt x="1208" y="623"/>
                    <a:pt x="1208" y="623"/>
                  </a:cubicBezTo>
                  <a:cubicBezTo>
                    <a:pt x="1208" y="622"/>
                    <a:pt x="1208" y="622"/>
                    <a:pt x="1208" y="622"/>
                  </a:cubicBezTo>
                  <a:cubicBezTo>
                    <a:pt x="1207" y="621"/>
                    <a:pt x="1207" y="621"/>
                    <a:pt x="1207" y="621"/>
                  </a:cubicBezTo>
                  <a:cubicBezTo>
                    <a:pt x="1207" y="621"/>
                    <a:pt x="1207" y="621"/>
                    <a:pt x="1207" y="621"/>
                  </a:cubicBezTo>
                  <a:cubicBezTo>
                    <a:pt x="1205" y="620"/>
                    <a:pt x="1205" y="620"/>
                    <a:pt x="1205" y="620"/>
                  </a:cubicBezTo>
                  <a:cubicBezTo>
                    <a:pt x="1204" y="619"/>
                    <a:pt x="1204" y="619"/>
                    <a:pt x="1204" y="619"/>
                  </a:cubicBezTo>
                  <a:cubicBezTo>
                    <a:pt x="1205" y="617"/>
                    <a:pt x="1205" y="617"/>
                    <a:pt x="1205" y="617"/>
                  </a:cubicBezTo>
                  <a:cubicBezTo>
                    <a:pt x="1206" y="615"/>
                    <a:pt x="1206" y="615"/>
                    <a:pt x="1206" y="615"/>
                  </a:cubicBezTo>
                  <a:cubicBezTo>
                    <a:pt x="1207" y="613"/>
                    <a:pt x="1207" y="613"/>
                    <a:pt x="1207" y="613"/>
                  </a:cubicBezTo>
                  <a:cubicBezTo>
                    <a:pt x="1206" y="612"/>
                    <a:pt x="1206" y="612"/>
                    <a:pt x="1206" y="612"/>
                  </a:cubicBezTo>
                  <a:cubicBezTo>
                    <a:pt x="1205" y="610"/>
                    <a:pt x="1205" y="610"/>
                    <a:pt x="1205" y="610"/>
                  </a:cubicBezTo>
                  <a:cubicBezTo>
                    <a:pt x="1202" y="610"/>
                    <a:pt x="1202" y="610"/>
                    <a:pt x="1202" y="610"/>
                  </a:cubicBezTo>
                  <a:cubicBezTo>
                    <a:pt x="1202" y="610"/>
                    <a:pt x="1202" y="610"/>
                    <a:pt x="1202" y="610"/>
                  </a:cubicBezTo>
                  <a:cubicBezTo>
                    <a:pt x="1202" y="609"/>
                    <a:pt x="1202" y="609"/>
                    <a:pt x="1202" y="609"/>
                  </a:cubicBezTo>
                  <a:cubicBezTo>
                    <a:pt x="1201" y="608"/>
                    <a:pt x="1201" y="608"/>
                    <a:pt x="1201" y="608"/>
                  </a:cubicBezTo>
                  <a:cubicBezTo>
                    <a:pt x="1197" y="605"/>
                    <a:pt x="1197" y="605"/>
                    <a:pt x="1197" y="605"/>
                  </a:cubicBezTo>
                  <a:cubicBezTo>
                    <a:pt x="1195" y="605"/>
                    <a:pt x="1195" y="605"/>
                    <a:pt x="1195" y="605"/>
                  </a:cubicBezTo>
                  <a:cubicBezTo>
                    <a:pt x="1195" y="604"/>
                    <a:pt x="1195" y="604"/>
                    <a:pt x="1195" y="604"/>
                  </a:cubicBezTo>
                  <a:cubicBezTo>
                    <a:pt x="1195" y="604"/>
                    <a:pt x="1195" y="604"/>
                    <a:pt x="1195" y="604"/>
                  </a:cubicBezTo>
                  <a:cubicBezTo>
                    <a:pt x="1195" y="602"/>
                    <a:pt x="1195" y="602"/>
                    <a:pt x="1195" y="602"/>
                  </a:cubicBezTo>
                  <a:cubicBezTo>
                    <a:pt x="1195" y="601"/>
                    <a:pt x="1195" y="601"/>
                    <a:pt x="1195" y="601"/>
                  </a:cubicBezTo>
                  <a:cubicBezTo>
                    <a:pt x="1196" y="601"/>
                    <a:pt x="1196" y="601"/>
                    <a:pt x="1196" y="601"/>
                  </a:cubicBezTo>
                  <a:cubicBezTo>
                    <a:pt x="1197" y="600"/>
                    <a:pt x="1197" y="600"/>
                    <a:pt x="1197" y="600"/>
                  </a:cubicBezTo>
                  <a:cubicBezTo>
                    <a:pt x="1197" y="598"/>
                    <a:pt x="1197" y="598"/>
                    <a:pt x="1197" y="598"/>
                  </a:cubicBezTo>
                  <a:cubicBezTo>
                    <a:pt x="1196" y="598"/>
                    <a:pt x="1196" y="598"/>
                    <a:pt x="1196" y="598"/>
                  </a:cubicBezTo>
                  <a:cubicBezTo>
                    <a:pt x="1196" y="597"/>
                    <a:pt x="1196" y="597"/>
                    <a:pt x="1196" y="597"/>
                  </a:cubicBezTo>
                  <a:cubicBezTo>
                    <a:pt x="1197" y="596"/>
                    <a:pt x="1197" y="596"/>
                    <a:pt x="1197" y="596"/>
                  </a:cubicBezTo>
                  <a:cubicBezTo>
                    <a:pt x="1198" y="596"/>
                    <a:pt x="1198" y="596"/>
                    <a:pt x="1198" y="596"/>
                  </a:cubicBezTo>
                  <a:cubicBezTo>
                    <a:pt x="1198" y="596"/>
                    <a:pt x="1198" y="596"/>
                    <a:pt x="1198" y="596"/>
                  </a:cubicBezTo>
                  <a:cubicBezTo>
                    <a:pt x="1198" y="597"/>
                    <a:pt x="1198" y="597"/>
                    <a:pt x="1198" y="597"/>
                  </a:cubicBezTo>
                  <a:cubicBezTo>
                    <a:pt x="1199" y="598"/>
                    <a:pt x="1199" y="598"/>
                    <a:pt x="1199" y="598"/>
                  </a:cubicBezTo>
                  <a:cubicBezTo>
                    <a:pt x="1199" y="599"/>
                    <a:pt x="1199" y="599"/>
                    <a:pt x="1199" y="599"/>
                  </a:cubicBezTo>
                  <a:cubicBezTo>
                    <a:pt x="1198" y="600"/>
                    <a:pt x="1198" y="600"/>
                    <a:pt x="1198" y="600"/>
                  </a:cubicBezTo>
                  <a:cubicBezTo>
                    <a:pt x="1197" y="600"/>
                    <a:pt x="1197" y="600"/>
                    <a:pt x="1197" y="600"/>
                  </a:cubicBezTo>
                  <a:cubicBezTo>
                    <a:pt x="1197" y="601"/>
                    <a:pt x="1197" y="601"/>
                    <a:pt x="1197" y="601"/>
                  </a:cubicBezTo>
                  <a:cubicBezTo>
                    <a:pt x="1197" y="603"/>
                    <a:pt x="1197" y="603"/>
                    <a:pt x="1197" y="603"/>
                  </a:cubicBezTo>
                  <a:cubicBezTo>
                    <a:pt x="1197" y="604"/>
                    <a:pt x="1197" y="604"/>
                    <a:pt x="1197" y="604"/>
                  </a:cubicBezTo>
                  <a:cubicBezTo>
                    <a:pt x="1197" y="604"/>
                    <a:pt x="1197" y="604"/>
                    <a:pt x="1197" y="604"/>
                  </a:cubicBezTo>
                  <a:cubicBezTo>
                    <a:pt x="1199" y="605"/>
                    <a:pt x="1199" y="605"/>
                    <a:pt x="1199" y="605"/>
                  </a:cubicBezTo>
                  <a:cubicBezTo>
                    <a:pt x="1203" y="608"/>
                    <a:pt x="1203" y="608"/>
                    <a:pt x="1203" y="608"/>
                  </a:cubicBezTo>
                  <a:cubicBezTo>
                    <a:pt x="1204" y="609"/>
                    <a:pt x="1204" y="609"/>
                    <a:pt x="1204" y="609"/>
                  </a:cubicBezTo>
                  <a:cubicBezTo>
                    <a:pt x="1204" y="610"/>
                    <a:pt x="1204" y="610"/>
                    <a:pt x="1204" y="610"/>
                  </a:cubicBezTo>
                  <a:cubicBezTo>
                    <a:pt x="1204" y="609"/>
                    <a:pt x="1204" y="609"/>
                    <a:pt x="1204" y="609"/>
                  </a:cubicBezTo>
                  <a:lnTo>
                    <a:pt x="1207" y="610"/>
                  </a:lnTo>
                  <a:close/>
                  <a:moveTo>
                    <a:pt x="1199" y="743"/>
                  </a:moveTo>
                  <a:cubicBezTo>
                    <a:pt x="1199" y="743"/>
                    <a:pt x="1199" y="743"/>
                    <a:pt x="1199" y="743"/>
                  </a:cubicBezTo>
                  <a:cubicBezTo>
                    <a:pt x="1199" y="743"/>
                    <a:pt x="1199" y="743"/>
                    <a:pt x="1199" y="743"/>
                  </a:cubicBezTo>
                  <a:close/>
                  <a:moveTo>
                    <a:pt x="1200" y="594"/>
                  </a:moveTo>
                  <a:cubicBezTo>
                    <a:pt x="1199" y="594"/>
                    <a:pt x="1199" y="594"/>
                    <a:pt x="1199" y="594"/>
                  </a:cubicBezTo>
                  <a:cubicBezTo>
                    <a:pt x="1199" y="593"/>
                    <a:pt x="1199" y="593"/>
                    <a:pt x="1199" y="593"/>
                  </a:cubicBezTo>
                  <a:cubicBezTo>
                    <a:pt x="1199" y="592"/>
                    <a:pt x="1199" y="592"/>
                    <a:pt x="1199" y="592"/>
                  </a:cubicBezTo>
                  <a:cubicBezTo>
                    <a:pt x="1200" y="592"/>
                    <a:pt x="1200" y="592"/>
                    <a:pt x="1200" y="592"/>
                  </a:cubicBezTo>
                  <a:cubicBezTo>
                    <a:pt x="1201" y="592"/>
                    <a:pt x="1201" y="592"/>
                    <a:pt x="1201" y="592"/>
                  </a:cubicBezTo>
                  <a:cubicBezTo>
                    <a:pt x="1201" y="593"/>
                    <a:pt x="1201" y="593"/>
                    <a:pt x="1201" y="593"/>
                  </a:cubicBezTo>
                  <a:cubicBezTo>
                    <a:pt x="1202" y="593"/>
                    <a:pt x="1202" y="593"/>
                    <a:pt x="1202" y="593"/>
                  </a:cubicBezTo>
                  <a:cubicBezTo>
                    <a:pt x="1202" y="594"/>
                    <a:pt x="1202" y="594"/>
                    <a:pt x="1202" y="594"/>
                  </a:cubicBezTo>
                  <a:cubicBezTo>
                    <a:pt x="1201" y="595"/>
                    <a:pt x="1201" y="595"/>
                    <a:pt x="1201" y="595"/>
                  </a:cubicBezTo>
                  <a:cubicBezTo>
                    <a:pt x="1201" y="595"/>
                    <a:pt x="1201" y="595"/>
                    <a:pt x="1201" y="595"/>
                  </a:cubicBezTo>
                  <a:cubicBezTo>
                    <a:pt x="1199" y="596"/>
                    <a:pt x="1199" y="596"/>
                    <a:pt x="1199" y="596"/>
                  </a:cubicBezTo>
                  <a:cubicBezTo>
                    <a:pt x="1199" y="596"/>
                    <a:pt x="1199" y="596"/>
                    <a:pt x="1199" y="596"/>
                  </a:cubicBezTo>
                  <a:cubicBezTo>
                    <a:pt x="1200" y="595"/>
                    <a:pt x="1200" y="595"/>
                    <a:pt x="1200" y="595"/>
                  </a:cubicBezTo>
                  <a:lnTo>
                    <a:pt x="1200" y="594"/>
                  </a:lnTo>
                  <a:close/>
                  <a:moveTo>
                    <a:pt x="1199" y="561"/>
                  </a:moveTo>
                  <a:cubicBezTo>
                    <a:pt x="1200" y="561"/>
                    <a:pt x="1200" y="561"/>
                    <a:pt x="1200" y="561"/>
                  </a:cubicBezTo>
                  <a:cubicBezTo>
                    <a:pt x="1201" y="563"/>
                    <a:pt x="1201" y="563"/>
                    <a:pt x="1201" y="563"/>
                  </a:cubicBezTo>
                  <a:cubicBezTo>
                    <a:pt x="1201" y="563"/>
                    <a:pt x="1201" y="563"/>
                    <a:pt x="1201" y="563"/>
                  </a:cubicBezTo>
                  <a:cubicBezTo>
                    <a:pt x="1201" y="565"/>
                    <a:pt x="1201" y="565"/>
                    <a:pt x="1201" y="565"/>
                  </a:cubicBezTo>
                  <a:cubicBezTo>
                    <a:pt x="1201" y="567"/>
                    <a:pt x="1201" y="567"/>
                    <a:pt x="1201" y="567"/>
                  </a:cubicBezTo>
                  <a:cubicBezTo>
                    <a:pt x="1201" y="567"/>
                    <a:pt x="1201" y="567"/>
                    <a:pt x="1201" y="567"/>
                  </a:cubicBezTo>
                  <a:cubicBezTo>
                    <a:pt x="1201" y="567"/>
                    <a:pt x="1201" y="567"/>
                    <a:pt x="1201" y="567"/>
                  </a:cubicBezTo>
                  <a:cubicBezTo>
                    <a:pt x="1201" y="568"/>
                    <a:pt x="1201" y="568"/>
                    <a:pt x="1201" y="568"/>
                  </a:cubicBezTo>
                  <a:cubicBezTo>
                    <a:pt x="1200" y="568"/>
                    <a:pt x="1200" y="568"/>
                    <a:pt x="1200" y="568"/>
                  </a:cubicBezTo>
                  <a:cubicBezTo>
                    <a:pt x="1200" y="569"/>
                    <a:pt x="1200" y="569"/>
                    <a:pt x="1200" y="569"/>
                  </a:cubicBezTo>
                  <a:cubicBezTo>
                    <a:pt x="1200" y="570"/>
                    <a:pt x="1200" y="570"/>
                    <a:pt x="1200" y="570"/>
                  </a:cubicBezTo>
                  <a:cubicBezTo>
                    <a:pt x="1201" y="571"/>
                    <a:pt x="1201" y="571"/>
                    <a:pt x="1201" y="571"/>
                  </a:cubicBezTo>
                  <a:cubicBezTo>
                    <a:pt x="1201" y="571"/>
                    <a:pt x="1201" y="571"/>
                    <a:pt x="1201" y="571"/>
                  </a:cubicBezTo>
                  <a:cubicBezTo>
                    <a:pt x="1201" y="572"/>
                    <a:pt x="1201" y="572"/>
                    <a:pt x="1201" y="572"/>
                  </a:cubicBezTo>
                  <a:cubicBezTo>
                    <a:pt x="1201" y="573"/>
                    <a:pt x="1201" y="573"/>
                    <a:pt x="1201" y="573"/>
                  </a:cubicBezTo>
                  <a:cubicBezTo>
                    <a:pt x="1199" y="574"/>
                    <a:pt x="1199" y="574"/>
                    <a:pt x="1199" y="574"/>
                  </a:cubicBezTo>
                  <a:cubicBezTo>
                    <a:pt x="1198" y="576"/>
                    <a:pt x="1198" y="576"/>
                    <a:pt x="1198" y="576"/>
                  </a:cubicBezTo>
                  <a:cubicBezTo>
                    <a:pt x="1198" y="577"/>
                    <a:pt x="1198" y="577"/>
                    <a:pt x="1198" y="577"/>
                  </a:cubicBezTo>
                  <a:cubicBezTo>
                    <a:pt x="1198" y="578"/>
                    <a:pt x="1198" y="578"/>
                    <a:pt x="1198" y="578"/>
                  </a:cubicBezTo>
                  <a:cubicBezTo>
                    <a:pt x="1198" y="578"/>
                    <a:pt x="1198" y="578"/>
                    <a:pt x="1198" y="578"/>
                  </a:cubicBezTo>
                  <a:cubicBezTo>
                    <a:pt x="1198" y="579"/>
                    <a:pt x="1198" y="579"/>
                    <a:pt x="1198" y="579"/>
                  </a:cubicBezTo>
                  <a:cubicBezTo>
                    <a:pt x="1199" y="579"/>
                    <a:pt x="1199" y="579"/>
                    <a:pt x="1199" y="579"/>
                  </a:cubicBezTo>
                  <a:cubicBezTo>
                    <a:pt x="1200" y="580"/>
                    <a:pt x="1200" y="580"/>
                    <a:pt x="1200" y="580"/>
                  </a:cubicBezTo>
                  <a:cubicBezTo>
                    <a:pt x="1200" y="582"/>
                    <a:pt x="1200" y="582"/>
                    <a:pt x="1200" y="582"/>
                  </a:cubicBezTo>
                  <a:cubicBezTo>
                    <a:pt x="1201" y="583"/>
                    <a:pt x="1201" y="583"/>
                    <a:pt x="1201" y="583"/>
                  </a:cubicBezTo>
                  <a:cubicBezTo>
                    <a:pt x="1202" y="584"/>
                    <a:pt x="1202" y="584"/>
                    <a:pt x="1202" y="584"/>
                  </a:cubicBezTo>
                  <a:cubicBezTo>
                    <a:pt x="1202" y="584"/>
                    <a:pt x="1202" y="584"/>
                    <a:pt x="1202" y="584"/>
                  </a:cubicBezTo>
                  <a:cubicBezTo>
                    <a:pt x="1202" y="584"/>
                    <a:pt x="1202" y="584"/>
                    <a:pt x="1202" y="584"/>
                  </a:cubicBezTo>
                  <a:cubicBezTo>
                    <a:pt x="1202" y="585"/>
                    <a:pt x="1202" y="585"/>
                    <a:pt x="1202" y="585"/>
                  </a:cubicBezTo>
                  <a:cubicBezTo>
                    <a:pt x="1202" y="585"/>
                    <a:pt x="1202" y="585"/>
                    <a:pt x="1202" y="585"/>
                  </a:cubicBezTo>
                  <a:cubicBezTo>
                    <a:pt x="1203" y="585"/>
                    <a:pt x="1203" y="585"/>
                    <a:pt x="1203" y="585"/>
                  </a:cubicBezTo>
                  <a:cubicBezTo>
                    <a:pt x="1203" y="586"/>
                    <a:pt x="1203" y="586"/>
                    <a:pt x="1203" y="586"/>
                  </a:cubicBezTo>
                  <a:cubicBezTo>
                    <a:pt x="1203" y="586"/>
                    <a:pt x="1203" y="586"/>
                    <a:pt x="1203" y="586"/>
                  </a:cubicBezTo>
                  <a:cubicBezTo>
                    <a:pt x="1203" y="586"/>
                    <a:pt x="1203" y="586"/>
                    <a:pt x="1203" y="586"/>
                  </a:cubicBezTo>
                  <a:cubicBezTo>
                    <a:pt x="1203" y="587"/>
                    <a:pt x="1203" y="587"/>
                    <a:pt x="1203" y="587"/>
                  </a:cubicBezTo>
                  <a:cubicBezTo>
                    <a:pt x="1203" y="587"/>
                    <a:pt x="1203" y="587"/>
                    <a:pt x="1203" y="587"/>
                  </a:cubicBezTo>
                  <a:cubicBezTo>
                    <a:pt x="1203" y="587"/>
                    <a:pt x="1203" y="587"/>
                    <a:pt x="1203" y="587"/>
                  </a:cubicBezTo>
                  <a:cubicBezTo>
                    <a:pt x="1203" y="588"/>
                    <a:pt x="1203" y="588"/>
                    <a:pt x="1203" y="588"/>
                  </a:cubicBezTo>
                  <a:cubicBezTo>
                    <a:pt x="1203" y="588"/>
                    <a:pt x="1203" y="588"/>
                    <a:pt x="1203" y="588"/>
                  </a:cubicBezTo>
                  <a:cubicBezTo>
                    <a:pt x="1203" y="589"/>
                    <a:pt x="1203" y="589"/>
                    <a:pt x="1203" y="589"/>
                  </a:cubicBezTo>
                  <a:cubicBezTo>
                    <a:pt x="1204" y="590"/>
                    <a:pt x="1204" y="590"/>
                    <a:pt x="1204" y="590"/>
                  </a:cubicBezTo>
                  <a:cubicBezTo>
                    <a:pt x="1204" y="591"/>
                    <a:pt x="1204" y="591"/>
                    <a:pt x="1204" y="591"/>
                  </a:cubicBezTo>
                  <a:cubicBezTo>
                    <a:pt x="1203" y="592"/>
                    <a:pt x="1203" y="592"/>
                    <a:pt x="1203" y="592"/>
                  </a:cubicBezTo>
                  <a:cubicBezTo>
                    <a:pt x="1202" y="591"/>
                    <a:pt x="1202" y="591"/>
                    <a:pt x="1202" y="591"/>
                  </a:cubicBezTo>
                  <a:cubicBezTo>
                    <a:pt x="1202" y="591"/>
                    <a:pt x="1202" y="591"/>
                    <a:pt x="1202" y="591"/>
                  </a:cubicBezTo>
                  <a:cubicBezTo>
                    <a:pt x="1201" y="590"/>
                    <a:pt x="1201" y="590"/>
                    <a:pt x="1201" y="590"/>
                  </a:cubicBezTo>
                  <a:cubicBezTo>
                    <a:pt x="1201" y="589"/>
                    <a:pt x="1201" y="589"/>
                    <a:pt x="1201" y="589"/>
                  </a:cubicBezTo>
                  <a:cubicBezTo>
                    <a:pt x="1201" y="588"/>
                    <a:pt x="1201" y="588"/>
                    <a:pt x="1201" y="588"/>
                  </a:cubicBezTo>
                  <a:cubicBezTo>
                    <a:pt x="1201" y="588"/>
                    <a:pt x="1201" y="588"/>
                    <a:pt x="1201" y="588"/>
                  </a:cubicBezTo>
                  <a:cubicBezTo>
                    <a:pt x="1201" y="588"/>
                    <a:pt x="1201" y="588"/>
                    <a:pt x="1201" y="588"/>
                  </a:cubicBezTo>
                  <a:cubicBezTo>
                    <a:pt x="1201" y="587"/>
                    <a:pt x="1201" y="587"/>
                    <a:pt x="1201" y="587"/>
                  </a:cubicBezTo>
                  <a:cubicBezTo>
                    <a:pt x="1201" y="587"/>
                    <a:pt x="1201" y="587"/>
                    <a:pt x="1201" y="587"/>
                  </a:cubicBezTo>
                  <a:cubicBezTo>
                    <a:pt x="1201" y="586"/>
                    <a:pt x="1201" y="586"/>
                    <a:pt x="1201" y="586"/>
                  </a:cubicBezTo>
                  <a:cubicBezTo>
                    <a:pt x="1201" y="586"/>
                    <a:pt x="1201" y="586"/>
                    <a:pt x="1201" y="586"/>
                  </a:cubicBezTo>
                  <a:cubicBezTo>
                    <a:pt x="1201" y="586"/>
                    <a:pt x="1201" y="586"/>
                    <a:pt x="1201" y="586"/>
                  </a:cubicBezTo>
                  <a:cubicBezTo>
                    <a:pt x="1201" y="586"/>
                    <a:pt x="1201" y="586"/>
                    <a:pt x="1201" y="586"/>
                  </a:cubicBezTo>
                  <a:cubicBezTo>
                    <a:pt x="1200" y="586"/>
                    <a:pt x="1200" y="586"/>
                    <a:pt x="1200" y="586"/>
                  </a:cubicBezTo>
                  <a:cubicBezTo>
                    <a:pt x="1201" y="585"/>
                    <a:pt x="1201" y="585"/>
                    <a:pt x="1201" y="585"/>
                  </a:cubicBezTo>
                  <a:cubicBezTo>
                    <a:pt x="1201" y="585"/>
                    <a:pt x="1201" y="585"/>
                    <a:pt x="1201" y="585"/>
                  </a:cubicBezTo>
                  <a:cubicBezTo>
                    <a:pt x="1200" y="584"/>
                    <a:pt x="1200" y="584"/>
                    <a:pt x="1200" y="584"/>
                  </a:cubicBezTo>
                  <a:cubicBezTo>
                    <a:pt x="1199" y="583"/>
                    <a:pt x="1199" y="583"/>
                    <a:pt x="1199" y="583"/>
                  </a:cubicBezTo>
                  <a:cubicBezTo>
                    <a:pt x="1198" y="583"/>
                    <a:pt x="1198" y="583"/>
                    <a:pt x="1198" y="583"/>
                  </a:cubicBezTo>
                  <a:cubicBezTo>
                    <a:pt x="1198" y="581"/>
                    <a:pt x="1198" y="581"/>
                    <a:pt x="1198" y="581"/>
                  </a:cubicBezTo>
                  <a:cubicBezTo>
                    <a:pt x="1197" y="580"/>
                    <a:pt x="1197" y="580"/>
                    <a:pt x="1197" y="580"/>
                  </a:cubicBezTo>
                  <a:cubicBezTo>
                    <a:pt x="1196" y="580"/>
                    <a:pt x="1196" y="580"/>
                    <a:pt x="1196" y="580"/>
                  </a:cubicBezTo>
                  <a:cubicBezTo>
                    <a:pt x="1196" y="579"/>
                    <a:pt x="1196" y="579"/>
                    <a:pt x="1196" y="579"/>
                  </a:cubicBezTo>
                  <a:cubicBezTo>
                    <a:pt x="1196" y="578"/>
                    <a:pt x="1196" y="578"/>
                    <a:pt x="1196" y="578"/>
                  </a:cubicBezTo>
                  <a:cubicBezTo>
                    <a:pt x="1196" y="577"/>
                    <a:pt x="1196" y="577"/>
                    <a:pt x="1196" y="577"/>
                  </a:cubicBezTo>
                  <a:cubicBezTo>
                    <a:pt x="1196" y="577"/>
                    <a:pt x="1196" y="577"/>
                    <a:pt x="1196" y="577"/>
                  </a:cubicBezTo>
                  <a:cubicBezTo>
                    <a:pt x="1197" y="575"/>
                    <a:pt x="1197" y="575"/>
                    <a:pt x="1197" y="575"/>
                  </a:cubicBezTo>
                  <a:cubicBezTo>
                    <a:pt x="1199" y="574"/>
                    <a:pt x="1199" y="574"/>
                    <a:pt x="1199" y="574"/>
                  </a:cubicBezTo>
                  <a:cubicBezTo>
                    <a:pt x="1199" y="573"/>
                    <a:pt x="1199" y="573"/>
                    <a:pt x="1199" y="573"/>
                  </a:cubicBezTo>
                  <a:cubicBezTo>
                    <a:pt x="1199" y="572"/>
                    <a:pt x="1199" y="572"/>
                    <a:pt x="1199" y="572"/>
                  </a:cubicBezTo>
                  <a:cubicBezTo>
                    <a:pt x="1199" y="571"/>
                    <a:pt x="1199" y="571"/>
                    <a:pt x="1199" y="571"/>
                  </a:cubicBezTo>
                  <a:cubicBezTo>
                    <a:pt x="1198" y="571"/>
                    <a:pt x="1198" y="571"/>
                    <a:pt x="1198" y="571"/>
                  </a:cubicBezTo>
                  <a:cubicBezTo>
                    <a:pt x="1198" y="570"/>
                    <a:pt x="1198" y="570"/>
                    <a:pt x="1198" y="570"/>
                  </a:cubicBezTo>
                  <a:cubicBezTo>
                    <a:pt x="1198" y="569"/>
                    <a:pt x="1198" y="569"/>
                    <a:pt x="1198" y="569"/>
                  </a:cubicBezTo>
                  <a:cubicBezTo>
                    <a:pt x="1199" y="568"/>
                    <a:pt x="1199" y="568"/>
                    <a:pt x="1199" y="568"/>
                  </a:cubicBezTo>
                  <a:cubicBezTo>
                    <a:pt x="1199" y="568"/>
                    <a:pt x="1199" y="568"/>
                    <a:pt x="1199" y="568"/>
                  </a:cubicBezTo>
                  <a:cubicBezTo>
                    <a:pt x="1199" y="568"/>
                    <a:pt x="1199" y="568"/>
                    <a:pt x="1199" y="568"/>
                  </a:cubicBezTo>
                  <a:cubicBezTo>
                    <a:pt x="1199" y="567"/>
                    <a:pt x="1199" y="567"/>
                    <a:pt x="1199" y="567"/>
                  </a:cubicBezTo>
                  <a:cubicBezTo>
                    <a:pt x="1199" y="565"/>
                    <a:pt x="1199" y="565"/>
                    <a:pt x="1199" y="565"/>
                  </a:cubicBezTo>
                  <a:cubicBezTo>
                    <a:pt x="1199" y="563"/>
                    <a:pt x="1199" y="563"/>
                    <a:pt x="1199" y="563"/>
                  </a:cubicBezTo>
                  <a:cubicBezTo>
                    <a:pt x="1199" y="563"/>
                    <a:pt x="1199" y="563"/>
                    <a:pt x="1199" y="563"/>
                  </a:cubicBezTo>
                  <a:cubicBezTo>
                    <a:pt x="1198" y="562"/>
                    <a:pt x="1198" y="562"/>
                    <a:pt x="1198" y="562"/>
                  </a:cubicBezTo>
                  <a:cubicBezTo>
                    <a:pt x="1197" y="562"/>
                    <a:pt x="1197" y="562"/>
                    <a:pt x="1197" y="562"/>
                  </a:cubicBezTo>
                  <a:cubicBezTo>
                    <a:pt x="1198" y="561"/>
                    <a:pt x="1198" y="561"/>
                    <a:pt x="1198" y="561"/>
                  </a:cubicBezTo>
                  <a:lnTo>
                    <a:pt x="1199" y="561"/>
                  </a:lnTo>
                  <a:close/>
                  <a:moveTo>
                    <a:pt x="1179" y="548"/>
                  </a:moveTo>
                  <a:cubicBezTo>
                    <a:pt x="1180" y="548"/>
                    <a:pt x="1180" y="548"/>
                    <a:pt x="1180" y="548"/>
                  </a:cubicBezTo>
                  <a:cubicBezTo>
                    <a:pt x="1180" y="548"/>
                    <a:pt x="1180" y="548"/>
                    <a:pt x="1180" y="548"/>
                  </a:cubicBezTo>
                  <a:cubicBezTo>
                    <a:pt x="1181" y="549"/>
                    <a:pt x="1181" y="549"/>
                    <a:pt x="1181" y="549"/>
                  </a:cubicBezTo>
                  <a:cubicBezTo>
                    <a:pt x="1182" y="549"/>
                    <a:pt x="1182" y="549"/>
                    <a:pt x="1182" y="549"/>
                  </a:cubicBezTo>
                  <a:cubicBezTo>
                    <a:pt x="1188" y="551"/>
                    <a:pt x="1188" y="551"/>
                    <a:pt x="1188" y="551"/>
                  </a:cubicBezTo>
                  <a:cubicBezTo>
                    <a:pt x="1188" y="551"/>
                    <a:pt x="1188" y="551"/>
                    <a:pt x="1188" y="551"/>
                  </a:cubicBezTo>
                  <a:cubicBezTo>
                    <a:pt x="1188" y="552"/>
                    <a:pt x="1188" y="552"/>
                    <a:pt x="1188" y="552"/>
                  </a:cubicBezTo>
                  <a:cubicBezTo>
                    <a:pt x="1188" y="552"/>
                    <a:pt x="1188" y="552"/>
                    <a:pt x="1188" y="552"/>
                  </a:cubicBezTo>
                  <a:cubicBezTo>
                    <a:pt x="1188" y="553"/>
                    <a:pt x="1188" y="553"/>
                    <a:pt x="1188" y="553"/>
                  </a:cubicBezTo>
                  <a:cubicBezTo>
                    <a:pt x="1188" y="553"/>
                    <a:pt x="1188" y="553"/>
                    <a:pt x="1188" y="553"/>
                  </a:cubicBezTo>
                  <a:cubicBezTo>
                    <a:pt x="1191" y="554"/>
                    <a:pt x="1191" y="554"/>
                    <a:pt x="1191" y="554"/>
                  </a:cubicBezTo>
                  <a:cubicBezTo>
                    <a:pt x="1191" y="555"/>
                    <a:pt x="1191" y="555"/>
                    <a:pt x="1191" y="555"/>
                  </a:cubicBezTo>
                  <a:cubicBezTo>
                    <a:pt x="1191" y="555"/>
                    <a:pt x="1191" y="555"/>
                    <a:pt x="1191" y="555"/>
                  </a:cubicBezTo>
                  <a:cubicBezTo>
                    <a:pt x="1191" y="556"/>
                    <a:pt x="1191" y="556"/>
                    <a:pt x="1191" y="556"/>
                  </a:cubicBezTo>
                  <a:cubicBezTo>
                    <a:pt x="1191" y="556"/>
                    <a:pt x="1191" y="556"/>
                    <a:pt x="1191" y="556"/>
                  </a:cubicBezTo>
                  <a:cubicBezTo>
                    <a:pt x="1191" y="557"/>
                    <a:pt x="1191" y="557"/>
                    <a:pt x="1191" y="557"/>
                  </a:cubicBezTo>
                  <a:cubicBezTo>
                    <a:pt x="1191" y="557"/>
                    <a:pt x="1191" y="557"/>
                    <a:pt x="1191" y="557"/>
                  </a:cubicBezTo>
                  <a:cubicBezTo>
                    <a:pt x="1192" y="558"/>
                    <a:pt x="1192" y="558"/>
                    <a:pt x="1192" y="558"/>
                  </a:cubicBezTo>
                  <a:cubicBezTo>
                    <a:pt x="1192" y="558"/>
                    <a:pt x="1192" y="558"/>
                    <a:pt x="1192" y="558"/>
                  </a:cubicBezTo>
                  <a:cubicBezTo>
                    <a:pt x="1193" y="558"/>
                    <a:pt x="1193" y="558"/>
                    <a:pt x="1193" y="558"/>
                  </a:cubicBezTo>
                  <a:cubicBezTo>
                    <a:pt x="1194" y="558"/>
                    <a:pt x="1194" y="558"/>
                    <a:pt x="1194" y="558"/>
                  </a:cubicBezTo>
                  <a:cubicBezTo>
                    <a:pt x="1195" y="559"/>
                    <a:pt x="1195" y="559"/>
                    <a:pt x="1195" y="559"/>
                  </a:cubicBezTo>
                  <a:cubicBezTo>
                    <a:pt x="1195" y="559"/>
                    <a:pt x="1195" y="559"/>
                    <a:pt x="1195" y="559"/>
                  </a:cubicBezTo>
                  <a:cubicBezTo>
                    <a:pt x="1195" y="560"/>
                    <a:pt x="1195" y="560"/>
                    <a:pt x="1195" y="560"/>
                  </a:cubicBezTo>
                  <a:cubicBezTo>
                    <a:pt x="1196" y="562"/>
                    <a:pt x="1196" y="562"/>
                    <a:pt x="1196" y="562"/>
                  </a:cubicBezTo>
                  <a:cubicBezTo>
                    <a:pt x="1197" y="562"/>
                    <a:pt x="1197" y="562"/>
                    <a:pt x="1197" y="562"/>
                  </a:cubicBezTo>
                  <a:cubicBezTo>
                    <a:pt x="1196" y="562"/>
                    <a:pt x="1196" y="562"/>
                    <a:pt x="1196" y="562"/>
                  </a:cubicBezTo>
                  <a:cubicBezTo>
                    <a:pt x="1195" y="562"/>
                    <a:pt x="1195" y="562"/>
                    <a:pt x="1195" y="562"/>
                  </a:cubicBezTo>
                  <a:cubicBezTo>
                    <a:pt x="1194" y="562"/>
                    <a:pt x="1194" y="562"/>
                    <a:pt x="1194" y="562"/>
                  </a:cubicBezTo>
                  <a:cubicBezTo>
                    <a:pt x="1193" y="561"/>
                    <a:pt x="1193" y="561"/>
                    <a:pt x="1193" y="561"/>
                  </a:cubicBezTo>
                  <a:cubicBezTo>
                    <a:pt x="1193" y="560"/>
                    <a:pt x="1193" y="560"/>
                    <a:pt x="1193" y="560"/>
                  </a:cubicBezTo>
                  <a:cubicBezTo>
                    <a:pt x="1193" y="559"/>
                    <a:pt x="1193" y="559"/>
                    <a:pt x="1193" y="559"/>
                  </a:cubicBezTo>
                  <a:cubicBezTo>
                    <a:pt x="1192" y="559"/>
                    <a:pt x="1192" y="559"/>
                    <a:pt x="1192" y="559"/>
                  </a:cubicBezTo>
                  <a:cubicBezTo>
                    <a:pt x="1191" y="559"/>
                    <a:pt x="1191" y="559"/>
                    <a:pt x="1191" y="559"/>
                  </a:cubicBezTo>
                  <a:cubicBezTo>
                    <a:pt x="1190" y="559"/>
                    <a:pt x="1190" y="559"/>
                    <a:pt x="1190" y="559"/>
                  </a:cubicBezTo>
                  <a:cubicBezTo>
                    <a:pt x="1190" y="559"/>
                    <a:pt x="1190" y="559"/>
                    <a:pt x="1190" y="559"/>
                  </a:cubicBezTo>
                  <a:cubicBezTo>
                    <a:pt x="1189" y="558"/>
                    <a:pt x="1189" y="558"/>
                    <a:pt x="1189" y="558"/>
                  </a:cubicBezTo>
                  <a:cubicBezTo>
                    <a:pt x="1189" y="557"/>
                    <a:pt x="1189" y="557"/>
                    <a:pt x="1189" y="557"/>
                  </a:cubicBezTo>
                  <a:cubicBezTo>
                    <a:pt x="1189" y="557"/>
                    <a:pt x="1189" y="557"/>
                    <a:pt x="1189" y="557"/>
                  </a:cubicBezTo>
                  <a:cubicBezTo>
                    <a:pt x="1189" y="557"/>
                    <a:pt x="1189" y="557"/>
                    <a:pt x="1189" y="557"/>
                  </a:cubicBezTo>
                  <a:cubicBezTo>
                    <a:pt x="1189" y="556"/>
                    <a:pt x="1189" y="556"/>
                    <a:pt x="1189" y="556"/>
                  </a:cubicBezTo>
                  <a:cubicBezTo>
                    <a:pt x="1189" y="555"/>
                    <a:pt x="1189" y="555"/>
                    <a:pt x="1189" y="555"/>
                  </a:cubicBezTo>
                  <a:cubicBezTo>
                    <a:pt x="1189" y="555"/>
                    <a:pt x="1189" y="555"/>
                    <a:pt x="1189" y="555"/>
                  </a:cubicBezTo>
                  <a:cubicBezTo>
                    <a:pt x="1186" y="554"/>
                    <a:pt x="1186" y="554"/>
                    <a:pt x="1186" y="554"/>
                  </a:cubicBezTo>
                  <a:cubicBezTo>
                    <a:pt x="1186" y="554"/>
                    <a:pt x="1186" y="554"/>
                    <a:pt x="1186" y="554"/>
                  </a:cubicBezTo>
                  <a:cubicBezTo>
                    <a:pt x="1186" y="553"/>
                    <a:pt x="1186" y="553"/>
                    <a:pt x="1186" y="553"/>
                  </a:cubicBezTo>
                  <a:cubicBezTo>
                    <a:pt x="1186" y="553"/>
                    <a:pt x="1186" y="553"/>
                    <a:pt x="1186" y="553"/>
                  </a:cubicBezTo>
                  <a:cubicBezTo>
                    <a:pt x="1186" y="552"/>
                    <a:pt x="1186" y="552"/>
                    <a:pt x="1186" y="552"/>
                  </a:cubicBezTo>
                  <a:cubicBezTo>
                    <a:pt x="1186" y="552"/>
                    <a:pt x="1186" y="552"/>
                    <a:pt x="1186" y="552"/>
                  </a:cubicBezTo>
                  <a:cubicBezTo>
                    <a:pt x="1180" y="550"/>
                    <a:pt x="1180" y="550"/>
                    <a:pt x="1180" y="550"/>
                  </a:cubicBezTo>
                  <a:cubicBezTo>
                    <a:pt x="1179" y="550"/>
                    <a:pt x="1179" y="550"/>
                    <a:pt x="1179" y="550"/>
                  </a:cubicBezTo>
                  <a:cubicBezTo>
                    <a:pt x="1178" y="549"/>
                    <a:pt x="1178" y="549"/>
                    <a:pt x="1178" y="549"/>
                  </a:cubicBezTo>
                  <a:lnTo>
                    <a:pt x="1179" y="548"/>
                  </a:lnTo>
                  <a:close/>
                  <a:moveTo>
                    <a:pt x="1190" y="758"/>
                  </a:moveTo>
                  <a:cubicBezTo>
                    <a:pt x="1190" y="758"/>
                    <a:pt x="1190" y="758"/>
                    <a:pt x="1190" y="758"/>
                  </a:cubicBezTo>
                  <a:cubicBezTo>
                    <a:pt x="1190" y="758"/>
                    <a:pt x="1190" y="758"/>
                    <a:pt x="1190" y="758"/>
                  </a:cubicBezTo>
                  <a:cubicBezTo>
                    <a:pt x="1190" y="758"/>
                    <a:pt x="1190" y="758"/>
                    <a:pt x="1190" y="758"/>
                  </a:cubicBezTo>
                  <a:cubicBezTo>
                    <a:pt x="1190" y="759"/>
                    <a:pt x="1190" y="759"/>
                    <a:pt x="1190" y="759"/>
                  </a:cubicBezTo>
                  <a:cubicBezTo>
                    <a:pt x="1190" y="759"/>
                    <a:pt x="1190" y="759"/>
                    <a:pt x="1190" y="759"/>
                  </a:cubicBezTo>
                  <a:cubicBezTo>
                    <a:pt x="1189" y="759"/>
                    <a:pt x="1189" y="759"/>
                    <a:pt x="1189" y="759"/>
                  </a:cubicBezTo>
                  <a:cubicBezTo>
                    <a:pt x="1189" y="760"/>
                    <a:pt x="1189" y="760"/>
                    <a:pt x="1189" y="760"/>
                  </a:cubicBezTo>
                  <a:cubicBezTo>
                    <a:pt x="1189" y="760"/>
                    <a:pt x="1189" y="760"/>
                    <a:pt x="1189" y="760"/>
                  </a:cubicBezTo>
                  <a:cubicBezTo>
                    <a:pt x="1189" y="759"/>
                    <a:pt x="1189" y="759"/>
                    <a:pt x="1189" y="759"/>
                  </a:cubicBezTo>
                  <a:cubicBezTo>
                    <a:pt x="1189" y="758"/>
                    <a:pt x="1189" y="758"/>
                    <a:pt x="1189" y="758"/>
                  </a:cubicBezTo>
                  <a:cubicBezTo>
                    <a:pt x="1189" y="758"/>
                    <a:pt x="1189" y="758"/>
                    <a:pt x="1189" y="758"/>
                  </a:cubicBezTo>
                  <a:cubicBezTo>
                    <a:pt x="1189" y="757"/>
                    <a:pt x="1189" y="757"/>
                    <a:pt x="1189" y="757"/>
                  </a:cubicBezTo>
                  <a:cubicBezTo>
                    <a:pt x="1190" y="757"/>
                    <a:pt x="1190" y="757"/>
                    <a:pt x="1190" y="757"/>
                  </a:cubicBezTo>
                  <a:lnTo>
                    <a:pt x="1190" y="758"/>
                  </a:lnTo>
                  <a:close/>
                  <a:moveTo>
                    <a:pt x="1160" y="964"/>
                  </a:moveTo>
                  <a:cubicBezTo>
                    <a:pt x="1160" y="965"/>
                    <a:pt x="1160" y="965"/>
                    <a:pt x="1160" y="965"/>
                  </a:cubicBezTo>
                  <a:cubicBezTo>
                    <a:pt x="1159" y="966"/>
                    <a:pt x="1159" y="966"/>
                    <a:pt x="1159" y="966"/>
                  </a:cubicBezTo>
                  <a:cubicBezTo>
                    <a:pt x="1159" y="966"/>
                    <a:pt x="1159" y="966"/>
                    <a:pt x="1159" y="966"/>
                  </a:cubicBezTo>
                  <a:cubicBezTo>
                    <a:pt x="1158" y="966"/>
                    <a:pt x="1158" y="966"/>
                    <a:pt x="1158" y="966"/>
                  </a:cubicBezTo>
                  <a:cubicBezTo>
                    <a:pt x="1158" y="966"/>
                    <a:pt x="1158" y="966"/>
                    <a:pt x="1158" y="966"/>
                  </a:cubicBezTo>
                  <a:cubicBezTo>
                    <a:pt x="1159" y="964"/>
                    <a:pt x="1159" y="964"/>
                    <a:pt x="1159" y="964"/>
                  </a:cubicBezTo>
                  <a:cubicBezTo>
                    <a:pt x="1158" y="962"/>
                    <a:pt x="1158" y="962"/>
                    <a:pt x="1158" y="962"/>
                  </a:cubicBezTo>
                  <a:cubicBezTo>
                    <a:pt x="1158" y="961"/>
                    <a:pt x="1158" y="961"/>
                    <a:pt x="1158" y="961"/>
                  </a:cubicBezTo>
                  <a:cubicBezTo>
                    <a:pt x="1159" y="961"/>
                    <a:pt x="1159" y="961"/>
                    <a:pt x="1159" y="961"/>
                  </a:cubicBezTo>
                  <a:cubicBezTo>
                    <a:pt x="1160" y="960"/>
                    <a:pt x="1160" y="960"/>
                    <a:pt x="1160" y="960"/>
                  </a:cubicBezTo>
                  <a:cubicBezTo>
                    <a:pt x="1160" y="959"/>
                    <a:pt x="1160" y="959"/>
                    <a:pt x="1160" y="959"/>
                  </a:cubicBezTo>
                  <a:cubicBezTo>
                    <a:pt x="1159" y="958"/>
                    <a:pt x="1159" y="958"/>
                    <a:pt x="1159" y="958"/>
                  </a:cubicBezTo>
                  <a:cubicBezTo>
                    <a:pt x="1159" y="957"/>
                    <a:pt x="1159" y="957"/>
                    <a:pt x="1159" y="957"/>
                  </a:cubicBezTo>
                  <a:cubicBezTo>
                    <a:pt x="1158" y="957"/>
                    <a:pt x="1158" y="957"/>
                    <a:pt x="1158" y="957"/>
                  </a:cubicBezTo>
                  <a:cubicBezTo>
                    <a:pt x="1158" y="957"/>
                    <a:pt x="1158" y="957"/>
                    <a:pt x="1158" y="957"/>
                  </a:cubicBezTo>
                  <a:cubicBezTo>
                    <a:pt x="1157" y="957"/>
                    <a:pt x="1157" y="957"/>
                    <a:pt x="1157" y="957"/>
                  </a:cubicBezTo>
                  <a:cubicBezTo>
                    <a:pt x="1157" y="957"/>
                    <a:pt x="1157" y="957"/>
                    <a:pt x="1157" y="957"/>
                  </a:cubicBezTo>
                  <a:cubicBezTo>
                    <a:pt x="1158" y="956"/>
                    <a:pt x="1158" y="956"/>
                    <a:pt x="1158" y="956"/>
                  </a:cubicBezTo>
                  <a:cubicBezTo>
                    <a:pt x="1158" y="956"/>
                    <a:pt x="1158" y="956"/>
                    <a:pt x="1158" y="956"/>
                  </a:cubicBezTo>
                  <a:cubicBezTo>
                    <a:pt x="1159" y="956"/>
                    <a:pt x="1159" y="956"/>
                    <a:pt x="1159" y="956"/>
                  </a:cubicBezTo>
                  <a:cubicBezTo>
                    <a:pt x="1159" y="956"/>
                    <a:pt x="1159" y="956"/>
                    <a:pt x="1159" y="956"/>
                  </a:cubicBezTo>
                  <a:cubicBezTo>
                    <a:pt x="1160" y="957"/>
                    <a:pt x="1160" y="957"/>
                    <a:pt x="1160" y="957"/>
                  </a:cubicBezTo>
                  <a:cubicBezTo>
                    <a:pt x="1160" y="957"/>
                    <a:pt x="1160" y="957"/>
                    <a:pt x="1160" y="957"/>
                  </a:cubicBezTo>
                  <a:cubicBezTo>
                    <a:pt x="1161" y="959"/>
                    <a:pt x="1161" y="959"/>
                    <a:pt x="1161" y="959"/>
                  </a:cubicBezTo>
                  <a:cubicBezTo>
                    <a:pt x="1161" y="960"/>
                    <a:pt x="1161" y="960"/>
                    <a:pt x="1161" y="960"/>
                  </a:cubicBezTo>
                  <a:cubicBezTo>
                    <a:pt x="1160" y="960"/>
                    <a:pt x="1160" y="960"/>
                    <a:pt x="1160" y="960"/>
                  </a:cubicBezTo>
                  <a:cubicBezTo>
                    <a:pt x="1160" y="961"/>
                    <a:pt x="1160" y="961"/>
                    <a:pt x="1160" y="961"/>
                  </a:cubicBezTo>
                  <a:cubicBezTo>
                    <a:pt x="1160" y="962"/>
                    <a:pt x="1160" y="962"/>
                    <a:pt x="1160" y="962"/>
                  </a:cubicBezTo>
                  <a:lnTo>
                    <a:pt x="1160" y="964"/>
                  </a:lnTo>
                  <a:close/>
                  <a:moveTo>
                    <a:pt x="1152" y="996"/>
                  </a:moveTo>
                  <a:cubicBezTo>
                    <a:pt x="1152" y="997"/>
                    <a:pt x="1152" y="997"/>
                    <a:pt x="1152" y="997"/>
                  </a:cubicBezTo>
                  <a:cubicBezTo>
                    <a:pt x="1152" y="997"/>
                    <a:pt x="1152" y="997"/>
                    <a:pt x="1152" y="997"/>
                  </a:cubicBezTo>
                  <a:cubicBezTo>
                    <a:pt x="1152" y="997"/>
                    <a:pt x="1152" y="997"/>
                    <a:pt x="1152" y="997"/>
                  </a:cubicBezTo>
                  <a:cubicBezTo>
                    <a:pt x="1151" y="997"/>
                    <a:pt x="1151" y="997"/>
                    <a:pt x="1151" y="997"/>
                  </a:cubicBezTo>
                  <a:cubicBezTo>
                    <a:pt x="1151" y="997"/>
                    <a:pt x="1151" y="997"/>
                    <a:pt x="1151" y="997"/>
                  </a:cubicBezTo>
                  <a:cubicBezTo>
                    <a:pt x="1150" y="999"/>
                    <a:pt x="1150" y="999"/>
                    <a:pt x="1150" y="999"/>
                  </a:cubicBezTo>
                  <a:cubicBezTo>
                    <a:pt x="1149" y="999"/>
                    <a:pt x="1149" y="999"/>
                    <a:pt x="1149" y="999"/>
                  </a:cubicBezTo>
                  <a:cubicBezTo>
                    <a:pt x="1149" y="999"/>
                    <a:pt x="1149" y="999"/>
                    <a:pt x="1149" y="999"/>
                  </a:cubicBezTo>
                  <a:cubicBezTo>
                    <a:pt x="1149" y="999"/>
                    <a:pt x="1149" y="999"/>
                    <a:pt x="1149" y="999"/>
                  </a:cubicBezTo>
                  <a:cubicBezTo>
                    <a:pt x="1150" y="997"/>
                    <a:pt x="1150" y="997"/>
                    <a:pt x="1150" y="997"/>
                  </a:cubicBezTo>
                  <a:cubicBezTo>
                    <a:pt x="1150" y="997"/>
                    <a:pt x="1150" y="997"/>
                    <a:pt x="1150" y="997"/>
                  </a:cubicBezTo>
                  <a:cubicBezTo>
                    <a:pt x="1151" y="997"/>
                    <a:pt x="1151" y="997"/>
                    <a:pt x="1151" y="997"/>
                  </a:cubicBezTo>
                  <a:cubicBezTo>
                    <a:pt x="1151" y="997"/>
                    <a:pt x="1151" y="997"/>
                    <a:pt x="1151" y="997"/>
                  </a:cubicBezTo>
                  <a:cubicBezTo>
                    <a:pt x="1151" y="997"/>
                    <a:pt x="1151" y="997"/>
                    <a:pt x="1151" y="997"/>
                  </a:cubicBezTo>
                  <a:cubicBezTo>
                    <a:pt x="1151" y="996"/>
                    <a:pt x="1151" y="996"/>
                    <a:pt x="1151" y="996"/>
                  </a:cubicBezTo>
                  <a:cubicBezTo>
                    <a:pt x="1151" y="996"/>
                    <a:pt x="1151" y="996"/>
                    <a:pt x="1151" y="996"/>
                  </a:cubicBezTo>
                  <a:cubicBezTo>
                    <a:pt x="1151" y="995"/>
                    <a:pt x="1151" y="995"/>
                    <a:pt x="1151" y="995"/>
                  </a:cubicBezTo>
                  <a:cubicBezTo>
                    <a:pt x="1152" y="994"/>
                    <a:pt x="1152" y="994"/>
                    <a:pt x="1152" y="994"/>
                  </a:cubicBezTo>
                  <a:cubicBezTo>
                    <a:pt x="1152" y="994"/>
                    <a:pt x="1152" y="994"/>
                    <a:pt x="1152" y="994"/>
                  </a:cubicBezTo>
                  <a:cubicBezTo>
                    <a:pt x="1152" y="995"/>
                    <a:pt x="1152" y="995"/>
                    <a:pt x="1152" y="995"/>
                  </a:cubicBezTo>
                  <a:cubicBezTo>
                    <a:pt x="1152" y="995"/>
                    <a:pt x="1152" y="995"/>
                    <a:pt x="1152" y="995"/>
                  </a:cubicBezTo>
                  <a:cubicBezTo>
                    <a:pt x="1152" y="995"/>
                    <a:pt x="1152" y="995"/>
                    <a:pt x="1152" y="995"/>
                  </a:cubicBezTo>
                  <a:lnTo>
                    <a:pt x="1152" y="996"/>
                  </a:lnTo>
                  <a:close/>
                  <a:moveTo>
                    <a:pt x="1141" y="998"/>
                  </a:moveTo>
                  <a:cubicBezTo>
                    <a:pt x="1142" y="1000"/>
                    <a:pt x="1142" y="1000"/>
                    <a:pt x="1142" y="1000"/>
                  </a:cubicBezTo>
                  <a:cubicBezTo>
                    <a:pt x="1142" y="1001"/>
                    <a:pt x="1142" y="1001"/>
                    <a:pt x="1142" y="1001"/>
                  </a:cubicBezTo>
                  <a:cubicBezTo>
                    <a:pt x="1142" y="1002"/>
                    <a:pt x="1142" y="1002"/>
                    <a:pt x="1142" y="1002"/>
                  </a:cubicBezTo>
                  <a:cubicBezTo>
                    <a:pt x="1141" y="1003"/>
                    <a:pt x="1141" y="1003"/>
                    <a:pt x="1141" y="1003"/>
                  </a:cubicBezTo>
                  <a:cubicBezTo>
                    <a:pt x="1141" y="1003"/>
                    <a:pt x="1141" y="1003"/>
                    <a:pt x="1141" y="1003"/>
                  </a:cubicBezTo>
                  <a:cubicBezTo>
                    <a:pt x="1142" y="1004"/>
                    <a:pt x="1142" y="1004"/>
                    <a:pt x="1142" y="1004"/>
                  </a:cubicBezTo>
                  <a:cubicBezTo>
                    <a:pt x="1143" y="1005"/>
                    <a:pt x="1143" y="1005"/>
                    <a:pt x="1143" y="1005"/>
                  </a:cubicBezTo>
                  <a:cubicBezTo>
                    <a:pt x="1144" y="1006"/>
                    <a:pt x="1144" y="1006"/>
                    <a:pt x="1144" y="1006"/>
                  </a:cubicBezTo>
                  <a:cubicBezTo>
                    <a:pt x="1144" y="1006"/>
                    <a:pt x="1144" y="1006"/>
                    <a:pt x="1144" y="1006"/>
                  </a:cubicBezTo>
                  <a:cubicBezTo>
                    <a:pt x="1144" y="1007"/>
                    <a:pt x="1144" y="1007"/>
                    <a:pt x="1144" y="1007"/>
                  </a:cubicBezTo>
                  <a:cubicBezTo>
                    <a:pt x="1143" y="1009"/>
                    <a:pt x="1143" y="1009"/>
                    <a:pt x="1143" y="1009"/>
                  </a:cubicBezTo>
                  <a:cubicBezTo>
                    <a:pt x="1142" y="1010"/>
                    <a:pt x="1142" y="1010"/>
                    <a:pt x="1142" y="1010"/>
                  </a:cubicBezTo>
                  <a:cubicBezTo>
                    <a:pt x="1142" y="1010"/>
                    <a:pt x="1142" y="1010"/>
                    <a:pt x="1142" y="1010"/>
                  </a:cubicBezTo>
                  <a:cubicBezTo>
                    <a:pt x="1142" y="1012"/>
                    <a:pt x="1142" y="1012"/>
                    <a:pt x="1142" y="1012"/>
                  </a:cubicBezTo>
                  <a:cubicBezTo>
                    <a:pt x="1142" y="1013"/>
                    <a:pt x="1142" y="1013"/>
                    <a:pt x="1142" y="1013"/>
                  </a:cubicBezTo>
                  <a:cubicBezTo>
                    <a:pt x="1142" y="1014"/>
                    <a:pt x="1142" y="1014"/>
                    <a:pt x="1142" y="1014"/>
                  </a:cubicBezTo>
                  <a:cubicBezTo>
                    <a:pt x="1141" y="1015"/>
                    <a:pt x="1141" y="1015"/>
                    <a:pt x="1141" y="1015"/>
                  </a:cubicBezTo>
                  <a:cubicBezTo>
                    <a:pt x="1136" y="1016"/>
                    <a:pt x="1136" y="1016"/>
                    <a:pt x="1136" y="1016"/>
                  </a:cubicBezTo>
                  <a:cubicBezTo>
                    <a:pt x="1136" y="1016"/>
                    <a:pt x="1136" y="1016"/>
                    <a:pt x="1136" y="1016"/>
                  </a:cubicBezTo>
                  <a:cubicBezTo>
                    <a:pt x="1135" y="1017"/>
                    <a:pt x="1135" y="1017"/>
                    <a:pt x="1135" y="1017"/>
                  </a:cubicBezTo>
                  <a:cubicBezTo>
                    <a:pt x="1135" y="1018"/>
                    <a:pt x="1135" y="1018"/>
                    <a:pt x="1135" y="1018"/>
                  </a:cubicBezTo>
                  <a:cubicBezTo>
                    <a:pt x="1136" y="1019"/>
                    <a:pt x="1136" y="1019"/>
                    <a:pt x="1136" y="1019"/>
                  </a:cubicBezTo>
                  <a:cubicBezTo>
                    <a:pt x="1136" y="1020"/>
                    <a:pt x="1136" y="1020"/>
                    <a:pt x="1136" y="1020"/>
                  </a:cubicBezTo>
                  <a:cubicBezTo>
                    <a:pt x="1136" y="1021"/>
                    <a:pt x="1136" y="1021"/>
                    <a:pt x="1136" y="1021"/>
                  </a:cubicBezTo>
                  <a:cubicBezTo>
                    <a:pt x="1136" y="1021"/>
                    <a:pt x="1136" y="1021"/>
                    <a:pt x="1136" y="1021"/>
                  </a:cubicBezTo>
                  <a:cubicBezTo>
                    <a:pt x="1135" y="1022"/>
                    <a:pt x="1135" y="1022"/>
                    <a:pt x="1135" y="1022"/>
                  </a:cubicBezTo>
                  <a:cubicBezTo>
                    <a:pt x="1135" y="1022"/>
                    <a:pt x="1135" y="1022"/>
                    <a:pt x="1135" y="1022"/>
                  </a:cubicBezTo>
                  <a:cubicBezTo>
                    <a:pt x="1134" y="1022"/>
                    <a:pt x="1134" y="1022"/>
                    <a:pt x="1134" y="1022"/>
                  </a:cubicBezTo>
                  <a:cubicBezTo>
                    <a:pt x="1133" y="1022"/>
                    <a:pt x="1133" y="1022"/>
                    <a:pt x="1133" y="1022"/>
                  </a:cubicBezTo>
                  <a:cubicBezTo>
                    <a:pt x="1133" y="1023"/>
                    <a:pt x="1133" y="1023"/>
                    <a:pt x="1133" y="1023"/>
                  </a:cubicBezTo>
                  <a:cubicBezTo>
                    <a:pt x="1134" y="1023"/>
                    <a:pt x="1134" y="1023"/>
                    <a:pt x="1134" y="1023"/>
                  </a:cubicBezTo>
                  <a:cubicBezTo>
                    <a:pt x="1134" y="1023"/>
                    <a:pt x="1134" y="1023"/>
                    <a:pt x="1134" y="1023"/>
                  </a:cubicBezTo>
                  <a:cubicBezTo>
                    <a:pt x="1133" y="1024"/>
                    <a:pt x="1133" y="1024"/>
                    <a:pt x="1133" y="1024"/>
                  </a:cubicBezTo>
                  <a:cubicBezTo>
                    <a:pt x="1133" y="1024"/>
                    <a:pt x="1133" y="1024"/>
                    <a:pt x="1133" y="1024"/>
                  </a:cubicBezTo>
                  <a:cubicBezTo>
                    <a:pt x="1131" y="1025"/>
                    <a:pt x="1131" y="1025"/>
                    <a:pt x="1131" y="1025"/>
                  </a:cubicBezTo>
                  <a:cubicBezTo>
                    <a:pt x="1130" y="1025"/>
                    <a:pt x="1130" y="1025"/>
                    <a:pt x="1130" y="1025"/>
                  </a:cubicBezTo>
                  <a:cubicBezTo>
                    <a:pt x="1130" y="1026"/>
                    <a:pt x="1130" y="1026"/>
                    <a:pt x="1130" y="1026"/>
                  </a:cubicBezTo>
                  <a:cubicBezTo>
                    <a:pt x="1130" y="1026"/>
                    <a:pt x="1130" y="1026"/>
                    <a:pt x="1130" y="1026"/>
                  </a:cubicBezTo>
                  <a:cubicBezTo>
                    <a:pt x="1130" y="1026"/>
                    <a:pt x="1130" y="1026"/>
                    <a:pt x="1130" y="1026"/>
                  </a:cubicBezTo>
                  <a:cubicBezTo>
                    <a:pt x="1130" y="1027"/>
                    <a:pt x="1130" y="1027"/>
                    <a:pt x="1130" y="1027"/>
                  </a:cubicBezTo>
                  <a:cubicBezTo>
                    <a:pt x="1129" y="1027"/>
                    <a:pt x="1129" y="1027"/>
                    <a:pt x="1129" y="1027"/>
                  </a:cubicBezTo>
                  <a:cubicBezTo>
                    <a:pt x="1129" y="1027"/>
                    <a:pt x="1129" y="1027"/>
                    <a:pt x="1129" y="1027"/>
                  </a:cubicBezTo>
                  <a:cubicBezTo>
                    <a:pt x="1128" y="1028"/>
                    <a:pt x="1128" y="1028"/>
                    <a:pt x="1128" y="1028"/>
                  </a:cubicBezTo>
                  <a:cubicBezTo>
                    <a:pt x="1128" y="1029"/>
                    <a:pt x="1128" y="1029"/>
                    <a:pt x="1128" y="1029"/>
                  </a:cubicBezTo>
                  <a:cubicBezTo>
                    <a:pt x="1128" y="1029"/>
                    <a:pt x="1128" y="1029"/>
                    <a:pt x="1128" y="1029"/>
                  </a:cubicBezTo>
                  <a:cubicBezTo>
                    <a:pt x="1128" y="1029"/>
                    <a:pt x="1128" y="1029"/>
                    <a:pt x="1128" y="1029"/>
                  </a:cubicBezTo>
                  <a:cubicBezTo>
                    <a:pt x="1127" y="1029"/>
                    <a:pt x="1127" y="1029"/>
                    <a:pt x="1127" y="1029"/>
                  </a:cubicBezTo>
                  <a:cubicBezTo>
                    <a:pt x="1128" y="1028"/>
                    <a:pt x="1128" y="1028"/>
                    <a:pt x="1128" y="1028"/>
                  </a:cubicBezTo>
                  <a:cubicBezTo>
                    <a:pt x="1128" y="1027"/>
                    <a:pt x="1128" y="1027"/>
                    <a:pt x="1128" y="1027"/>
                  </a:cubicBezTo>
                  <a:cubicBezTo>
                    <a:pt x="1128" y="1027"/>
                    <a:pt x="1128" y="1027"/>
                    <a:pt x="1128" y="1027"/>
                  </a:cubicBezTo>
                  <a:cubicBezTo>
                    <a:pt x="1129" y="1026"/>
                    <a:pt x="1129" y="1026"/>
                    <a:pt x="1129" y="1026"/>
                  </a:cubicBezTo>
                  <a:cubicBezTo>
                    <a:pt x="1130" y="1026"/>
                    <a:pt x="1130" y="1026"/>
                    <a:pt x="1130" y="1026"/>
                  </a:cubicBezTo>
                  <a:cubicBezTo>
                    <a:pt x="1130" y="1026"/>
                    <a:pt x="1130" y="1026"/>
                    <a:pt x="1130" y="1026"/>
                  </a:cubicBezTo>
                  <a:cubicBezTo>
                    <a:pt x="1130" y="1025"/>
                    <a:pt x="1130" y="1025"/>
                    <a:pt x="1130" y="1025"/>
                  </a:cubicBezTo>
                  <a:cubicBezTo>
                    <a:pt x="1130" y="1025"/>
                    <a:pt x="1130" y="1025"/>
                    <a:pt x="1130" y="1025"/>
                  </a:cubicBezTo>
                  <a:cubicBezTo>
                    <a:pt x="1130" y="1024"/>
                    <a:pt x="1130" y="1024"/>
                    <a:pt x="1130" y="1024"/>
                  </a:cubicBezTo>
                  <a:cubicBezTo>
                    <a:pt x="1132" y="1024"/>
                    <a:pt x="1132" y="1024"/>
                    <a:pt x="1132" y="1024"/>
                  </a:cubicBezTo>
                  <a:cubicBezTo>
                    <a:pt x="1133" y="1024"/>
                    <a:pt x="1133" y="1024"/>
                    <a:pt x="1133" y="1024"/>
                  </a:cubicBezTo>
                  <a:cubicBezTo>
                    <a:pt x="1133" y="1023"/>
                    <a:pt x="1133" y="1023"/>
                    <a:pt x="1133" y="1023"/>
                  </a:cubicBezTo>
                  <a:cubicBezTo>
                    <a:pt x="1133" y="1023"/>
                    <a:pt x="1133" y="1023"/>
                    <a:pt x="1133" y="1023"/>
                  </a:cubicBezTo>
                  <a:cubicBezTo>
                    <a:pt x="1133" y="1022"/>
                    <a:pt x="1133" y="1022"/>
                    <a:pt x="1133" y="1022"/>
                  </a:cubicBezTo>
                  <a:cubicBezTo>
                    <a:pt x="1133" y="1022"/>
                    <a:pt x="1133" y="1022"/>
                    <a:pt x="1133" y="1022"/>
                  </a:cubicBezTo>
                  <a:cubicBezTo>
                    <a:pt x="1133" y="1022"/>
                    <a:pt x="1133" y="1022"/>
                    <a:pt x="1133" y="1022"/>
                  </a:cubicBezTo>
                  <a:cubicBezTo>
                    <a:pt x="1134" y="1022"/>
                    <a:pt x="1134" y="1022"/>
                    <a:pt x="1134" y="1022"/>
                  </a:cubicBezTo>
                  <a:cubicBezTo>
                    <a:pt x="1135" y="1022"/>
                    <a:pt x="1135" y="1022"/>
                    <a:pt x="1135" y="1022"/>
                  </a:cubicBezTo>
                  <a:cubicBezTo>
                    <a:pt x="1135" y="1021"/>
                    <a:pt x="1135" y="1021"/>
                    <a:pt x="1135" y="1021"/>
                  </a:cubicBezTo>
                  <a:cubicBezTo>
                    <a:pt x="1135" y="1021"/>
                    <a:pt x="1135" y="1021"/>
                    <a:pt x="1135" y="1021"/>
                  </a:cubicBezTo>
                  <a:cubicBezTo>
                    <a:pt x="1135" y="1020"/>
                    <a:pt x="1135" y="1020"/>
                    <a:pt x="1135" y="1020"/>
                  </a:cubicBezTo>
                  <a:cubicBezTo>
                    <a:pt x="1135" y="1019"/>
                    <a:pt x="1135" y="1019"/>
                    <a:pt x="1135" y="1019"/>
                  </a:cubicBezTo>
                  <a:cubicBezTo>
                    <a:pt x="1135" y="1017"/>
                    <a:pt x="1135" y="1017"/>
                    <a:pt x="1135" y="1017"/>
                  </a:cubicBezTo>
                  <a:cubicBezTo>
                    <a:pt x="1135" y="1017"/>
                    <a:pt x="1135" y="1017"/>
                    <a:pt x="1135" y="1017"/>
                  </a:cubicBezTo>
                  <a:cubicBezTo>
                    <a:pt x="1135" y="1016"/>
                    <a:pt x="1135" y="1016"/>
                    <a:pt x="1135" y="1016"/>
                  </a:cubicBezTo>
                  <a:cubicBezTo>
                    <a:pt x="1136" y="1016"/>
                    <a:pt x="1136" y="1016"/>
                    <a:pt x="1136" y="1016"/>
                  </a:cubicBezTo>
                  <a:cubicBezTo>
                    <a:pt x="1141" y="1014"/>
                    <a:pt x="1141" y="1014"/>
                    <a:pt x="1141" y="1014"/>
                  </a:cubicBezTo>
                  <a:cubicBezTo>
                    <a:pt x="1141" y="1014"/>
                    <a:pt x="1141" y="1014"/>
                    <a:pt x="1141" y="1014"/>
                  </a:cubicBezTo>
                  <a:cubicBezTo>
                    <a:pt x="1141" y="1013"/>
                    <a:pt x="1141" y="1013"/>
                    <a:pt x="1141" y="1013"/>
                  </a:cubicBezTo>
                  <a:cubicBezTo>
                    <a:pt x="1141" y="1011"/>
                    <a:pt x="1141" y="1011"/>
                    <a:pt x="1141" y="1011"/>
                  </a:cubicBezTo>
                  <a:cubicBezTo>
                    <a:pt x="1141" y="1010"/>
                    <a:pt x="1141" y="1010"/>
                    <a:pt x="1141" y="1010"/>
                  </a:cubicBezTo>
                  <a:cubicBezTo>
                    <a:pt x="1141" y="1010"/>
                    <a:pt x="1141" y="1010"/>
                    <a:pt x="1141" y="1010"/>
                  </a:cubicBezTo>
                  <a:cubicBezTo>
                    <a:pt x="1142" y="1009"/>
                    <a:pt x="1142" y="1009"/>
                    <a:pt x="1142" y="1009"/>
                  </a:cubicBezTo>
                  <a:cubicBezTo>
                    <a:pt x="1143" y="1007"/>
                    <a:pt x="1143" y="1007"/>
                    <a:pt x="1143" y="1007"/>
                  </a:cubicBezTo>
                  <a:cubicBezTo>
                    <a:pt x="1143" y="1006"/>
                    <a:pt x="1143" y="1006"/>
                    <a:pt x="1143" y="1006"/>
                  </a:cubicBezTo>
                  <a:cubicBezTo>
                    <a:pt x="1143" y="1006"/>
                    <a:pt x="1143" y="1006"/>
                    <a:pt x="1143" y="1006"/>
                  </a:cubicBezTo>
                  <a:cubicBezTo>
                    <a:pt x="1142" y="1005"/>
                    <a:pt x="1142" y="1005"/>
                    <a:pt x="1142" y="1005"/>
                  </a:cubicBezTo>
                  <a:cubicBezTo>
                    <a:pt x="1141" y="1004"/>
                    <a:pt x="1141" y="1004"/>
                    <a:pt x="1141" y="1004"/>
                  </a:cubicBezTo>
                  <a:cubicBezTo>
                    <a:pt x="1141" y="1003"/>
                    <a:pt x="1141" y="1003"/>
                    <a:pt x="1141" y="1003"/>
                  </a:cubicBezTo>
                  <a:cubicBezTo>
                    <a:pt x="1141" y="1003"/>
                    <a:pt x="1141" y="1003"/>
                    <a:pt x="1141" y="1003"/>
                  </a:cubicBezTo>
                  <a:cubicBezTo>
                    <a:pt x="1141" y="1002"/>
                    <a:pt x="1141" y="1002"/>
                    <a:pt x="1141" y="1002"/>
                  </a:cubicBezTo>
                  <a:cubicBezTo>
                    <a:pt x="1141" y="1001"/>
                    <a:pt x="1141" y="1001"/>
                    <a:pt x="1141" y="1001"/>
                  </a:cubicBezTo>
                  <a:cubicBezTo>
                    <a:pt x="1141" y="1001"/>
                    <a:pt x="1141" y="1001"/>
                    <a:pt x="1141" y="1001"/>
                  </a:cubicBezTo>
                  <a:cubicBezTo>
                    <a:pt x="1140" y="998"/>
                    <a:pt x="1140" y="998"/>
                    <a:pt x="1140" y="998"/>
                  </a:cubicBezTo>
                  <a:cubicBezTo>
                    <a:pt x="1140" y="997"/>
                    <a:pt x="1140" y="997"/>
                    <a:pt x="1140" y="997"/>
                  </a:cubicBezTo>
                  <a:cubicBezTo>
                    <a:pt x="1140" y="996"/>
                    <a:pt x="1140" y="996"/>
                    <a:pt x="1140" y="996"/>
                  </a:cubicBezTo>
                  <a:cubicBezTo>
                    <a:pt x="1141" y="995"/>
                    <a:pt x="1141" y="995"/>
                    <a:pt x="1141" y="995"/>
                  </a:cubicBezTo>
                  <a:cubicBezTo>
                    <a:pt x="1143" y="993"/>
                    <a:pt x="1143" y="993"/>
                    <a:pt x="1143" y="993"/>
                  </a:cubicBezTo>
                  <a:cubicBezTo>
                    <a:pt x="1144" y="993"/>
                    <a:pt x="1144" y="993"/>
                    <a:pt x="1144" y="993"/>
                  </a:cubicBezTo>
                  <a:cubicBezTo>
                    <a:pt x="1145" y="993"/>
                    <a:pt x="1145" y="993"/>
                    <a:pt x="1145" y="993"/>
                  </a:cubicBezTo>
                  <a:cubicBezTo>
                    <a:pt x="1147" y="991"/>
                    <a:pt x="1147" y="991"/>
                    <a:pt x="1147" y="991"/>
                  </a:cubicBezTo>
                  <a:cubicBezTo>
                    <a:pt x="1148" y="991"/>
                    <a:pt x="1148" y="991"/>
                    <a:pt x="1148" y="991"/>
                  </a:cubicBezTo>
                  <a:cubicBezTo>
                    <a:pt x="1148" y="991"/>
                    <a:pt x="1148" y="991"/>
                    <a:pt x="1148" y="991"/>
                  </a:cubicBezTo>
                  <a:cubicBezTo>
                    <a:pt x="1146" y="993"/>
                    <a:pt x="1146" y="993"/>
                    <a:pt x="1146" y="993"/>
                  </a:cubicBezTo>
                  <a:cubicBezTo>
                    <a:pt x="1145" y="993"/>
                    <a:pt x="1145" y="993"/>
                    <a:pt x="1145" y="993"/>
                  </a:cubicBezTo>
                  <a:cubicBezTo>
                    <a:pt x="1144" y="993"/>
                    <a:pt x="1144" y="993"/>
                    <a:pt x="1144" y="993"/>
                  </a:cubicBezTo>
                  <a:cubicBezTo>
                    <a:pt x="1142" y="995"/>
                    <a:pt x="1142" y="995"/>
                    <a:pt x="1142" y="995"/>
                  </a:cubicBezTo>
                  <a:cubicBezTo>
                    <a:pt x="1141" y="996"/>
                    <a:pt x="1141" y="996"/>
                    <a:pt x="1141" y="996"/>
                  </a:cubicBezTo>
                  <a:cubicBezTo>
                    <a:pt x="1141" y="997"/>
                    <a:pt x="1141" y="997"/>
                    <a:pt x="1141" y="997"/>
                  </a:cubicBezTo>
                  <a:lnTo>
                    <a:pt x="1141" y="998"/>
                  </a:lnTo>
                  <a:close/>
                  <a:moveTo>
                    <a:pt x="1129" y="1033"/>
                  </a:moveTo>
                  <a:cubicBezTo>
                    <a:pt x="1129" y="1035"/>
                    <a:pt x="1129" y="1035"/>
                    <a:pt x="1129" y="1035"/>
                  </a:cubicBezTo>
                  <a:cubicBezTo>
                    <a:pt x="1129" y="1035"/>
                    <a:pt x="1129" y="1035"/>
                    <a:pt x="1129" y="1035"/>
                  </a:cubicBezTo>
                  <a:cubicBezTo>
                    <a:pt x="1128" y="1036"/>
                    <a:pt x="1128" y="1036"/>
                    <a:pt x="1128" y="1036"/>
                  </a:cubicBezTo>
                  <a:cubicBezTo>
                    <a:pt x="1126" y="1036"/>
                    <a:pt x="1126" y="1036"/>
                    <a:pt x="1126" y="1036"/>
                  </a:cubicBezTo>
                  <a:cubicBezTo>
                    <a:pt x="1124" y="1035"/>
                    <a:pt x="1124" y="1035"/>
                    <a:pt x="1124" y="1035"/>
                  </a:cubicBezTo>
                  <a:cubicBezTo>
                    <a:pt x="1122" y="1035"/>
                    <a:pt x="1122" y="1035"/>
                    <a:pt x="1122" y="1035"/>
                  </a:cubicBezTo>
                  <a:cubicBezTo>
                    <a:pt x="1120" y="1036"/>
                    <a:pt x="1120" y="1036"/>
                    <a:pt x="1120" y="1036"/>
                  </a:cubicBezTo>
                  <a:cubicBezTo>
                    <a:pt x="1120" y="1036"/>
                    <a:pt x="1120" y="1036"/>
                    <a:pt x="1120" y="1036"/>
                  </a:cubicBezTo>
                  <a:cubicBezTo>
                    <a:pt x="1120" y="1037"/>
                    <a:pt x="1120" y="1037"/>
                    <a:pt x="1120" y="1037"/>
                  </a:cubicBezTo>
                  <a:cubicBezTo>
                    <a:pt x="1120" y="1037"/>
                    <a:pt x="1120" y="1037"/>
                    <a:pt x="1120" y="1037"/>
                  </a:cubicBezTo>
                  <a:cubicBezTo>
                    <a:pt x="1119" y="1037"/>
                    <a:pt x="1119" y="1037"/>
                    <a:pt x="1119" y="1037"/>
                  </a:cubicBezTo>
                  <a:cubicBezTo>
                    <a:pt x="1119" y="1037"/>
                    <a:pt x="1119" y="1037"/>
                    <a:pt x="1119" y="1037"/>
                  </a:cubicBezTo>
                  <a:cubicBezTo>
                    <a:pt x="1119" y="1036"/>
                    <a:pt x="1119" y="1036"/>
                    <a:pt x="1119" y="1036"/>
                  </a:cubicBezTo>
                  <a:cubicBezTo>
                    <a:pt x="1120" y="1035"/>
                    <a:pt x="1120" y="1035"/>
                    <a:pt x="1120" y="1035"/>
                  </a:cubicBezTo>
                  <a:cubicBezTo>
                    <a:pt x="1121" y="1034"/>
                    <a:pt x="1121" y="1034"/>
                    <a:pt x="1121" y="1034"/>
                  </a:cubicBezTo>
                  <a:cubicBezTo>
                    <a:pt x="1123" y="1035"/>
                    <a:pt x="1123" y="1035"/>
                    <a:pt x="1123" y="1035"/>
                  </a:cubicBezTo>
                  <a:cubicBezTo>
                    <a:pt x="1125" y="1035"/>
                    <a:pt x="1125" y="1035"/>
                    <a:pt x="1125" y="1035"/>
                  </a:cubicBezTo>
                  <a:cubicBezTo>
                    <a:pt x="1128" y="1035"/>
                    <a:pt x="1128" y="1035"/>
                    <a:pt x="1128" y="1035"/>
                  </a:cubicBezTo>
                  <a:cubicBezTo>
                    <a:pt x="1128" y="1035"/>
                    <a:pt x="1128" y="1035"/>
                    <a:pt x="1128" y="1035"/>
                  </a:cubicBezTo>
                  <a:cubicBezTo>
                    <a:pt x="1128" y="1034"/>
                    <a:pt x="1128" y="1034"/>
                    <a:pt x="1128" y="1034"/>
                  </a:cubicBezTo>
                  <a:cubicBezTo>
                    <a:pt x="1128" y="1033"/>
                    <a:pt x="1128" y="1033"/>
                    <a:pt x="1128" y="1033"/>
                  </a:cubicBezTo>
                  <a:cubicBezTo>
                    <a:pt x="1128" y="1033"/>
                    <a:pt x="1128" y="1033"/>
                    <a:pt x="1128" y="1033"/>
                  </a:cubicBezTo>
                  <a:cubicBezTo>
                    <a:pt x="1128" y="1033"/>
                    <a:pt x="1128" y="1033"/>
                    <a:pt x="1128" y="1033"/>
                  </a:cubicBezTo>
                  <a:cubicBezTo>
                    <a:pt x="1128" y="1032"/>
                    <a:pt x="1128" y="1032"/>
                    <a:pt x="1128" y="1032"/>
                  </a:cubicBezTo>
                  <a:cubicBezTo>
                    <a:pt x="1129" y="1032"/>
                    <a:pt x="1129" y="1032"/>
                    <a:pt x="1129" y="1032"/>
                  </a:cubicBezTo>
                  <a:cubicBezTo>
                    <a:pt x="1129" y="1031"/>
                    <a:pt x="1129" y="1031"/>
                    <a:pt x="1129" y="1031"/>
                  </a:cubicBezTo>
                  <a:cubicBezTo>
                    <a:pt x="1128" y="1031"/>
                    <a:pt x="1128" y="1031"/>
                    <a:pt x="1128" y="1031"/>
                  </a:cubicBezTo>
                  <a:cubicBezTo>
                    <a:pt x="1128" y="1030"/>
                    <a:pt x="1128" y="1030"/>
                    <a:pt x="1128" y="1030"/>
                  </a:cubicBezTo>
                  <a:cubicBezTo>
                    <a:pt x="1128" y="1030"/>
                    <a:pt x="1128" y="1030"/>
                    <a:pt x="1128" y="1030"/>
                  </a:cubicBezTo>
                  <a:cubicBezTo>
                    <a:pt x="1128" y="1029"/>
                    <a:pt x="1128" y="1029"/>
                    <a:pt x="1128" y="1029"/>
                  </a:cubicBezTo>
                  <a:cubicBezTo>
                    <a:pt x="1128" y="1029"/>
                    <a:pt x="1128" y="1029"/>
                    <a:pt x="1128" y="1029"/>
                  </a:cubicBezTo>
                  <a:cubicBezTo>
                    <a:pt x="1129" y="1030"/>
                    <a:pt x="1129" y="1030"/>
                    <a:pt x="1129" y="1030"/>
                  </a:cubicBezTo>
                  <a:cubicBezTo>
                    <a:pt x="1129" y="1030"/>
                    <a:pt x="1129" y="1030"/>
                    <a:pt x="1129" y="1030"/>
                  </a:cubicBezTo>
                  <a:cubicBezTo>
                    <a:pt x="1129" y="1031"/>
                    <a:pt x="1129" y="1031"/>
                    <a:pt x="1129" y="1031"/>
                  </a:cubicBezTo>
                  <a:cubicBezTo>
                    <a:pt x="1129" y="1032"/>
                    <a:pt x="1129" y="1032"/>
                    <a:pt x="1129" y="1032"/>
                  </a:cubicBezTo>
                  <a:cubicBezTo>
                    <a:pt x="1130" y="1032"/>
                    <a:pt x="1130" y="1032"/>
                    <a:pt x="1130" y="1032"/>
                  </a:cubicBezTo>
                  <a:cubicBezTo>
                    <a:pt x="1129" y="1033"/>
                    <a:pt x="1129" y="1033"/>
                    <a:pt x="1129" y="1033"/>
                  </a:cubicBezTo>
                  <a:cubicBezTo>
                    <a:pt x="1129" y="1033"/>
                    <a:pt x="1129" y="1033"/>
                    <a:pt x="1129" y="1033"/>
                  </a:cubicBezTo>
                  <a:cubicBezTo>
                    <a:pt x="1128" y="1033"/>
                    <a:pt x="1128" y="1033"/>
                    <a:pt x="1128" y="1033"/>
                  </a:cubicBezTo>
                  <a:lnTo>
                    <a:pt x="1129" y="1033"/>
                  </a:lnTo>
                  <a:close/>
                  <a:moveTo>
                    <a:pt x="1071" y="1182"/>
                  </a:moveTo>
                  <a:cubicBezTo>
                    <a:pt x="1071" y="1182"/>
                    <a:pt x="1071" y="1182"/>
                    <a:pt x="1071" y="1182"/>
                  </a:cubicBezTo>
                  <a:cubicBezTo>
                    <a:pt x="1071" y="1182"/>
                    <a:pt x="1071" y="1182"/>
                    <a:pt x="1071" y="1182"/>
                  </a:cubicBezTo>
                  <a:cubicBezTo>
                    <a:pt x="1071" y="1183"/>
                    <a:pt x="1071" y="1183"/>
                    <a:pt x="1071" y="1183"/>
                  </a:cubicBezTo>
                  <a:cubicBezTo>
                    <a:pt x="1071" y="1183"/>
                    <a:pt x="1071" y="1183"/>
                    <a:pt x="1071" y="1183"/>
                  </a:cubicBezTo>
                  <a:cubicBezTo>
                    <a:pt x="1071" y="1183"/>
                    <a:pt x="1071" y="1183"/>
                    <a:pt x="1071" y="1183"/>
                  </a:cubicBezTo>
                  <a:cubicBezTo>
                    <a:pt x="1071" y="1183"/>
                    <a:pt x="1071" y="1183"/>
                    <a:pt x="1071" y="1183"/>
                  </a:cubicBezTo>
                  <a:cubicBezTo>
                    <a:pt x="1071" y="1184"/>
                    <a:pt x="1071" y="1184"/>
                    <a:pt x="1071" y="1184"/>
                  </a:cubicBezTo>
                  <a:cubicBezTo>
                    <a:pt x="1070" y="1185"/>
                    <a:pt x="1070" y="1185"/>
                    <a:pt x="1070" y="1185"/>
                  </a:cubicBezTo>
                  <a:cubicBezTo>
                    <a:pt x="1070" y="1186"/>
                    <a:pt x="1070" y="1186"/>
                    <a:pt x="1070" y="1186"/>
                  </a:cubicBezTo>
                  <a:cubicBezTo>
                    <a:pt x="1069" y="1186"/>
                    <a:pt x="1069" y="1186"/>
                    <a:pt x="1069" y="1186"/>
                  </a:cubicBezTo>
                  <a:cubicBezTo>
                    <a:pt x="1069" y="1185"/>
                    <a:pt x="1069" y="1185"/>
                    <a:pt x="1069" y="1185"/>
                  </a:cubicBezTo>
                  <a:cubicBezTo>
                    <a:pt x="1069" y="1185"/>
                    <a:pt x="1069" y="1185"/>
                    <a:pt x="1069" y="1185"/>
                  </a:cubicBezTo>
                  <a:cubicBezTo>
                    <a:pt x="1069" y="1184"/>
                    <a:pt x="1069" y="1184"/>
                    <a:pt x="1069" y="1184"/>
                  </a:cubicBezTo>
                  <a:cubicBezTo>
                    <a:pt x="1069" y="1184"/>
                    <a:pt x="1069" y="1184"/>
                    <a:pt x="1069" y="1184"/>
                  </a:cubicBezTo>
                  <a:cubicBezTo>
                    <a:pt x="1069" y="1184"/>
                    <a:pt x="1069" y="1184"/>
                    <a:pt x="1069" y="1184"/>
                  </a:cubicBezTo>
                  <a:cubicBezTo>
                    <a:pt x="1069" y="1184"/>
                    <a:pt x="1069" y="1184"/>
                    <a:pt x="1069" y="1184"/>
                  </a:cubicBezTo>
                  <a:cubicBezTo>
                    <a:pt x="1070" y="1183"/>
                    <a:pt x="1070" y="1183"/>
                    <a:pt x="1070" y="1183"/>
                  </a:cubicBezTo>
                  <a:cubicBezTo>
                    <a:pt x="1069" y="1183"/>
                    <a:pt x="1069" y="1183"/>
                    <a:pt x="1069" y="1183"/>
                  </a:cubicBezTo>
                  <a:cubicBezTo>
                    <a:pt x="1069" y="1183"/>
                    <a:pt x="1069" y="1183"/>
                    <a:pt x="1069" y="1183"/>
                  </a:cubicBezTo>
                  <a:cubicBezTo>
                    <a:pt x="1069" y="1183"/>
                    <a:pt x="1069" y="1183"/>
                    <a:pt x="1069" y="1183"/>
                  </a:cubicBezTo>
                  <a:cubicBezTo>
                    <a:pt x="1069" y="1183"/>
                    <a:pt x="1069" y="1183"/>
                    <a:pt x="1069" y="1183"/>
                  </a:cubicBezTo>
                  <a:cubicBezTo>
                    <a:pt x="1069" y="1182"/>
                    <a:pt x="1069" y="1182"/>
                    <a:pt x="1069" y="1182"/>
                  </a:cubicBezTo>
                  <a:cubicBezTo>
                    <a:pt x="1070" y="1182"/>
                    <a:pt x="1070" y="1182"/>
                    <a:pt x="1070" y="1182"/>
                  </a:cubicBezTo>
                  <a:cubicBezTo>
                    <a:pt x="1070" y="1181"/>
                    <a:pt x="1070" y="1181"/>
                    <a:pt x="1070" y="1181"/>
                  </a:cubicBezTo>
                  <a:cubicBezTo>
                    <a:pt x="1071" y="1181"/>
                    <a:pt x="1071" y="1181"/>
                    <a:pt x="1071" y="1181"/>
                  </a:cubicBezTo>
                  <a:cubicBezTo>
                    <a:pt x="1071" y="1181"/>
                    <a:pt x="1071" y="1181"/>
                    <a:pt x="1071" y="1181"/>
                  </a:cubicBezTo>
                  <a:cubicBezTo>
                    <a:pt x="1071" y="1181"/>
                    <a:pt x="1071" y="1181"/>
                    <a:pt x="1071" y="1181"/>
                  </a:cubicBezTo>
                  <a:cubicBezTo>
                    <a:pt x="1071" y="1181"/>
                    <a:pt x="1071" y="1181"/>
                    <a:pt x="1071" y="1181"/>
                  </a:cubicBezTo>
                  <a:cubicBezTo>
                    <a:pt x="1071" y="1181"/>
                    <a:pt x="1071" y="1181"/>
                    <a:pt x="1071" y="1181"/>
                  </a:cubicBezTo>
                  <a:cubicBezTo>
                    <a:pt x="1071" y="1182"/>
                    <a:pt x="1071" y="1182"/>
                    <a:pt x="1071" y="1182"/>
                  </a:cubicBezTo>
                  <a:cubicBezTo>
                    <a:pt x="1071" y="1182"/>
                    <a:pt x="1071" y="1182"/>
                    <a:pt x="1071" y="1182"/>
                  </a:cubicBezTo>
                  <a:close/>
                  <a:moveTo>
                    <a:pt x="959" y="1182"/>
                  </a:moveTo>
                  <a:cubicBezTo>
                    <a:pt x="959" y="1181"/>
                    <a:pt x="959" y="1181"/>
                    <a:pt x="959" y="1181"/>
                  </a:cubicBezTo>
                  <a:cubicBezTo>
                    <a:pt x="959" y="1180"/>
                    <a:pt x="959" y="1180"/>
                    <a:pt x="959" y="1180"/>
                  </a:cubicBezTo>
                  <a:cubicBezTo>
                    <a:pt x="959" y="1179"/>
                    <a:pt x="959" y="1179"/>
                    <a:pt x="959" y="1179"/>
                  </a:cubicBezTo>
                  <a:cubicBezTo>
                    <a:pt x="959" y="1179"/>
                    <a:pt x="959" y="1179"/>
                    <a:pt x="959" y="1179"/>
                  </a:cubicBezTo>
                  <a:cubicBezTo>
                    <a:pt x="959" y="1178"/>
                    <a:pt x="959" y="1178"/>
                    <a:pt x="959" y="1178"/>
                  </a:cubicBezTo>
                  <a:cubicBezTo>
                    <a:pt x="959" y="1178"/>
                    <a:pt x="959" y="1178"/>
                    <a:pt x="959" y="1178"/>
                  </a:cubicBezTo>
                  <a:cubicBezTo>
                    <a:pt x="959" y="1178"/>
                    <a:pt x="959" y="1178"/>
                    <a:pt x="959" y="1178"/>
                  </a:cubicBezTo>
                  <a:cubicBezTo>
                    <a:pt x="959" y="1178"/>
                    <a:pt x="959" y="1178"/>
                    <a:pt x="959" y="1178"/>
                  </a:cubicBezTo>
                  <a:cubicBezTo>
                    <a:pt x="959" y="1179"/>
                    <a:pt x="959" y="1179"/>
                    <a:pt x="959" y="1179"/>
                  </a:cubicBezTo>
                  <a:cubicBezTo>
                    <a:pt x="959" y="1179"/>
                    <a:pt x="959" y="1179"/>
                    <a:pt x="959" y="1179"/>
                  </a:cubicBezTo>
                  <a:cubicBezTo>
                    <a:pt x="959" y="1179"/>
                    <a:pt x="959" y="1179"/>
                    <a:pt x="959" y="1179"/>
                  </a:cubicBezTo>
                  <a:cubicBezTo>
                    <a:pt x="959" y="1179"/>
                    <a:pt x="959" y="1179"/>
                    <a:pt x="959" y="1179"/>
                  </a:cubicBezTo>
                  <a:cubicBezTo>
                    <a:pt x="960" y="1179"/>
                    <a:pt x="960" y="1179"/>
                    <a:pt x="960" y="1179"/>
                  </a:cubicBezTo>
                  <a:cubicBezTo>
                    <a:pt x="960" y="1179"/>
                    <a:pt x="960" y="1179"/>
                    <a:pt x="960" y="1179"/>
                  </a:cubicBezTo>
                  <a:cubicBezTo>
                    <a:pt x="960" y="1179"/>
                    <a:pt x="960" y="1179"/>
                    <a:pt x="960" y="1179"/>
                  </a:cubicBezTo>
                  <a:cubicBezTo>
                    <a:pt x="961" y="1179"/>
                    <a:pt x="961" y="1179"/>
                    <a:pt x="961" y="1179"/>
                  </a:cubicBezTo>
                  <a:cubicBezTo>
                    <a:pt x="961" y="1179"/>
                    <a:pt x="961" y="1179"/>
                    <a:pt x="961" y="1179"/>
                  </a:cubicBezTo>
                  <a:cubicBezTo>
                    <a:pt x="961" y="1180"/>
                    <a:pt x="961" y="1180"/>
                    <a:pt x="961" y="1180"/>
                  </a:cubicBezTo>
                  <a:cubicBezTo>
                    <a:pt x="961" y="1180"/>
                    <a:pt x="961" y="1180"/>
                    <a:pt x="961" y="1180"/>
                  </a:cubicBezTo>
                  <a:cubicBezTo>
                    <a:pt x="961" y="1181"/>
                    <a:pt x="961" y="1181"/>
                    <a:pt x="961" y="1181"/>
                  </a:cubicBezTo>
                  <a:cubicBezTo>
                    <a:pt x="961" y="1182"/>
                    <a:pt x="961" y="1182"/>
                    <a:pt x="961" y="1182"/>
                  </a:cubicBezTo>
                  <a:cubicBezTo>
                    <a:pt x="961" y="1183"/>
                    <a:pt x="961" y="1183"/>
                    <a:pt x="961" y="1183"/>
                  </a:cubicBezTo>
                  <a:cubicBezTo>
                    <a:pt x="961" y="1184"/>
                    <a:pt x="961" y="1184"/>
                    <a:pt x="961" y="1184"/>
                  </a:cubicBezTo>
                  <a:cubicBezTo>
                    <a:pt x="961" y="1184"/>
                    <a:pt x="961" y="1184"/>
                    <a:pt x="961" y="1184"/>
                  </a:cubicBezTo>
                  <a:cubicBezTo>
                    <a:pt x="961" y="1184"/>
                    <a:pt x="961" y="1184"/>
                    <a:pt x="961" y="1184"/>
                  </a:cubicBezTo>
                  <a:cubicBezTo>
                    <a:pt x="962" y="1185"/>
                    <a:pt x="962" y="1185"/>
                    <a:pt x="962" y="1185"/>
                  </a:cubicBezTo>
                  <a:cubicBezTo>
                    <a:pt x="962" y="1185"/>
                    <a:pt x="962" y="1185"/>
                    <a:pt x="962" y="1185"/>
                  </a:cubicBezTo>
                  <a:cubicBezTo>
                    <a:pt x="962" y="1185"/>
                    <a:pt x="962" y="1185"/>
                    <a:pt x="962" y="1185"/>
                  </a:cubicBezTo>
                  <a:cubicBezTo>
                    <a:pt x="962" y="1186"/>
                    <a:pt x="962" y="1186"/>
                    <a:pt x="962" y="1186"/>
                  </a:cubicBezTo>
                  <a:cubicBezTo>
                    <a:pt x="963" y="1187"/>
                    <a:pt x="963" y="1187"/>
                    <a:pt x="963" y="1187"/>
                  </a:cubicBezTo>
                  <a:cubicBezTo>
                    <a:pt x="963" y="1188"/>
                    <a:pt x="963" y="1188"/>
                    <a:pt x="963" y="1188"/>
                  </a:cubicBezTo>
                  <a:cubicBezTo>
                    <a:pt x="963" y="1188"/>
                    <a:pt x="963" y="1188"/>
                    <a:pt x="963" y="1188"/>
                  </a:cubicBezTo>
                  <a:cubicBezTo>
                    <a:pt x="963" y="1188"/>
                    <a:pt x="963" y="1188"/>
                    <a:pt x="963" y="1188"/>
                  </a:cubicBezTo>
                  <a:cubicBezTo>
                    <a:pt x="962" y="1188"/>
                    <a:pt x="962" y="1188"/>
                    <a:pt x="962" y="1188"/>
                  </a:cubicBezTo>
                  <a:cubicBezTo>
                    <a:pt x="962" y="1188"/>
                    <a:pt x="962" y="1188"/>
                    <a:pt x="962" y="1188"/>
                  </a:cubicBezTo>
                  <a:cubicBezTo>
                    <a:pt x="962" y="1187"/>
                    <a:pt x="962" y="1187"/>
                    <a:pt x="962" y="1187"/>
                  </a:cubicBezTo>
                  <a:cubicBezTo>
                    <a:pt x="961" y="1186"/>
                    <a:pt x="961" y="1186"/>
                    <a:pt x="961" y="1186"/>
                  </a:cubicBezTo>
                  <a:cubicBezTo>
                    <a:pt x="961" y="1185"/>
                    <a:pt x="961" y="1185"/>
                    <a:pt x="961" y="1185"/>
                  </a:cubicBezTo>
                  <a:cubicBezTo>
                    <a:pt x="960" y="1184"/>
                    <a:pt x="960" y="1184"/>
                    <a:pt x="960" y="1184"/>
                  </a:cubicBezTo>
                  <a:cubicBezTo>
                    <a:pt x="960" y="1184"/>
                    <a:pt x="960" y="1184"/>
                    <a:pt x="960" y="1184"/>
                  </a:cubicBezTo>
                  <a:cubicBezTo>
                    <a:pt x="960" y="1184"/>
                    <a:pt x="960" y="1184"/>
                    <a:pt x="960" y="1184"/>
                  </a:cubicBezTo>
                  <a:cubicBezTo>
                    <a:pt x="960" y="1183"/>
                    <a:pt x="960" y="1183"/>
                    <a:pt x="960" y="1183"/>
                  </a:cubicBezTo>
                  <a:cubicBezTo>
                    <a:pt x="960" y="1183"/>
                    <a:pt x="960" y="1183"/>
                    <a:pt x="960" y="1183"/>
                  </a:cubicBezTo>
                  <a:cubicBezTo>
                    <a:pt x="960" y="1182"/>
                    <a:pt x="960" y="1182"/>
                    <a:pt x="960" y="1182"/>
                  </a:cubicBezTo>
                  <a:lnTo>
                    <a:pt x="959" y="1182"/>
                  </a:lnTo>
                  <a:close/>
                  <a:moveTo>
                    <a:pt x="963" y="1136"/>
                  </a:moveTo>
                  <a:cubicBezTo>
                    <a:pt x="963" y="1136"/>
                    <a:pt x="963" y="1136"/>
                    <a:pt x="963" y="1136"/>
                  </a:cubicBezTo>
                  <a:cubicBezTo>
                    <a:pt x="962" y="1137"/>
                    <a:pt x="962" y="1137"/>
                    <a:pt x="962" y="1137"/>
                  </a:cubicBezTo>
                  <a:cubicBezTo>
                    <a:pt x="962" y="1137"/>
                    <a:pt x="962" y="1137"/>
                    <a:pt x="962" y="1137"/>
                  </a:cubicBezTo>
                  <a:cubicBezTo>
                    <a:pt x="962" y="1137"/>
                    <a:pt x="962" y="1137"/>
                    <a:pt x="962" y="1137"/>
                  </a:cubicBezTo>
                  <a:cubicBezTo>
                    <a:pt x="962" y="1138"/>
                    <a:pt x="962" y="1138"/>
                    <a:pt x="962" y="1138"/>
                  </a:cubicBezTo>
                  <a:cubicBezTo>
                    <a:pt x="962" y="1138"/>
                    <a:pt x="962" y="1138"/>
                    <a:pt x="962" y="1138"/>
                  </a:cubicBezTo>
                  <a:cubicBezTo>
                    <a:pt x="961" y="1140"/>
                    <a:pt x="961" y="1140"/>
                    <a:pt x="961" y="1140"/>
                  </a:cubicBezTo>
                  <a:cubicBezTo>
                    <a:pt x="960" y="1140"/>
                    <a:pt x="960" y="1140"/>
                    <a:pt x="960" y="1140"/>
                  </a:cubicBezTo>
                  <a:cubicBezTo>
                    <a:pt x="960" y="1140"/>
                    <a:pt x="960" y="1140"/>
                    <a:pt x="960" y="1140"/>
                  </a:cubicBezTo>
                  <a:cubicBezTo>
                    <a:pt x="959" y="1140"/>
                    <a:pt x="959" y="1140"/>
                    <a:pt x="959" y="1140"/>
                  </a:cubicBezTo>
                  <a:cubicBezTo>
                    <a:pt x="959" y="1141"/>
                    <a:pt x="959" y="1141"/>
                    <a:pt x="959" y="1141"/>
                  </a:cubicBezTo>
                  <a:cubicBezTo>
                    <a:pt x="958" y="1141"/>
                    <a:pt x="958" y="1141"/>
                    <a:pt x="958" y="1141"/>
                  </a:cubicBezTo>
                  <a:cubicBezTo>
                    <a:pt x="958" y="1141"/>
                    <a:pt x="958" y="1141"/>
                    <a:pt x="958" y="1141"/>
                  </a:cubicBezTo>
                  <a:cubicBezTo>
                    <a:pt x="958" y="1144"/>
                    <a:pt x="958" y="1144"/>
                    <a:pt x="958" y="1144"/>
                  </a:cubicBezTo>
                  <a:cubicBezTo>
                    <a:pt x="957" y="1144"/>
                    <a:pt x="957" y="1144"/>
                    <a:pt x="957" y="1144"/>
                  </a:cubicBezTo>
                  <a:cubicBezTo>
                    <a:pt x="957" y="1144"/>
                    <a:pt x="957" y="1144"/>
                    <a:pt x="957" y="1144"/>
                  </a:cubicBezTo>
                  <a:cubicBezTo>
                    <a:pt x="956" y="1145"/>
                    <a:pt x="956" y="1145"/>
                    <a:pt x="956" y="1145"/>
                  </a:cubicBezTo>
                  <a:cubicBezTo>
                    <a:pt x="955" y="1145"/>
                    <a:pt x="955" y="1145"/>
                    <a:pt x="955" y="1145"/>
                  </a:cubicBezTo>
                  <a:cubicBezTo>
                    <a:pt x="953" y="1144"/>
                    <a:pt x="953" y="1144"/>
                    <a:pt x="953" y="1144"/>
                  </a:cubicBezTo>
                  <a:cubicBezTo>
                    <a:pt x="952" y="1144"/>
                    <a:pt x="952" y="1144"/>
                    <a:pt x="952" y="1144"/>
                  </a:cubicBezTo>
                  <a:cubicBezTo>
                    <a:pt x="952" y="1145"/>
                    <a:pt x="952" y="1145"/>
                    <a:pt x="952" y="1145"/>
                  </a:cubicBezTo>
                  <a:cubicBezTo>
                    <a:pt x="952" y="1145"/>
                    <a:pt x="952" y="1145"/>
                    <a:pt x="952" y="1145"/>
                  </a:cubicBezTo>
                  <a:cubicBezTo>
                    <a:pt x="952" y="1145"/>
                    <a:pt x="952" y="1145"/>
                    <a:pt x="952" y="1145"/>
                  </a:cubicBezTo>
                  <a:cubicBezTo>
                    <a:pt x="951" y="1145"/>
                    <a:pt x="951" y="1145"/>
                    <a:pt x="951" y="1145"/>
                  </a:cubicBezTo>
                  <a:cubicBezTo>
                    <a:pt x="951" y="1145"/>
                    <a:pt x="951" y="1145"/>
                    <a:pt x="951" y="1145"/>
                  </a:cubicBezTo>
                  <a:cubicBezTo>
                    <a:pt x="950" y="1145"/>
                    <a:pt x="950" y="1145"/>
                    <a:pt x="950" y="1145"/>
                  </a:cubicBezTo>
                  <a:cubicBezTo>
                    <a:pt x="950" y="1146"/>
                    <a:pt x="950" y="1146"/>
                    <a:pt x="950" y="1146"/>
                  </a:cubicBezTo>
                  <a:cubicBezTo>
                    <a:pt x="950" y="1146"/>
                    <a:pt x="950" y="1146"/>
                    <a:pt x="950" y="1146"/>
                  </a:cubicBezTo>
                  <a:cubicBezTo>
                    <a:pt x="949" y="1147"/>
                    <a:pt x="949" y="1147"/>
                    <a:pt x="949" y="1147"/>
                  </a:cubicBezTo>
                  <a:cubicBezTo>
                    <a:pt x="949" y="1147"/>
                    <a:pt x="949" y="1147"/>
                    <a:pt x="949" y="1147"/>
                  </a:cubicBezTo>
                  <a:cubicBezTo>
                    <a:pt x="948" y="1147"/>
                    <a:pt x="948" y="1147"/>
                    <a:pt x="948" y="1147"/>
                  </a:cubicBezTo>
                  <a:cubicBezTo>
                    <a:pt x="948" y="1147"/>
                    <a:pt x="948" y="1147"/>
                    <a:pt x="948" y="1147"/>
                  </a:cubicBezTo>
                  <a:cubicBezTo>
                    <a:pt x="948" y="1148"/>
                    <a:pt x="948" y="1148"/>
                    <a:pt x="948" y="1148"/>
                  </a:cubicBezTo>
                  <a:cubicBezTo>
                    <a:pt x="949" y="1149"/>
                    <a:pt x="949" y="1149"/>
                    <a:pt x="949" y="1149"/>
                  </a:cubicBezTo>
                  <a:cubicBezTo>
                    <a:pt x="949" y="1150"/>
                    <a:pt x="949" y="1150"/>
                    <a:pt x="949" y="1150"/>
                  </a:cubicBezTo>
                  <a:cubicBezTo>
                    <a:pt x="950" y="1150"/>
                    <a:pt x="950" y="1150"/>
                    <a:pt x="950" y="1150"/>
                  </a:cubicBezTo>
                  <a:cubicBezTo>
                    <a:pt x="950" y="1150"/>
                    <a:pt x="950" y="1150"/>
                    <a:pt x="950" y="1150"/>
                  </a:cubicBezTo>
                  <a:cubicBezTo>
                    <a:pt x="950" y="1151"/>
                    <a:pt x="950" y="1151"/>
                    <a:pt x="950" y="1151"/>
                  </a:cubicBezTo>
                  <a:cubicBezTo>
                    <a:pt x="950" y="1151"/>
                    <a:pt x="950" y="1151"/>
                    <a:pt x="950" y="1151"/>
                  </a:cubicBezTo>
                  <a:cubicBezTo>
                    <a:pt x="949" y="1151"/>
                    <a:pt x="949" y="1151"/>
                    <a:pt x="949" y="1151"/>
                  </a:cubicBezTo>
                  <a:cubicBezTo>
                    <a:pt x="949" y="1153"/>
                    <a:pt x="949" y="1153"/>
                    <a:pt x="949" y="1153"/>
                  </a:cubicBezTo>
                  <a:cubicBezTo>
                    <a:pt x="949" y="1153"/>
                    <a:pt x="949" y="1153"/>
                    <a:pt x="949" y="1153"/>
                  </a:cubicBezTo>
                  <a:cubicBezTo>
                    <a:pt x="949" y="1154"/>
                    <a:pt x="949" y="1154"/>
                    <a:pt x="949" y="1154"/>
                  </a:cubicBezTo>
                  <a:cubicBezTo>
                    <a:pt x="949" y="1155"/>
                    <a:pt x="949" y="1155"/>
                    <a:pt x="949" y="1155"/>
                  </a:cubicBezTo>
                  <a:cubicBezTo>
                    <a:pt x="948" y="1156"/>
                    <a:pt x="948" y="1156"/>
                    <a:pt x="948" y="1156"/>
                  </a:cubicBezTo>
                  <a:cubicBezTo>
                    <a:pt x="948" y="1157"/>
                    <a:pt x="948" y="1157"/>
                    <a:pt x="948" y="1157"/>
                  </a:cubicBezTo>
                  <a:cubicBezTo>
                    <a:pt x="948" y="1157"/>
                    <a:pt x="948" y="1157"/>
                    <a:pt x="948" y="1157"/>
                  </a:cubicBezTo>
                  <a:cubicBezTo>
                    <a:pt x="950" y="1158"/>
                    <a:pt x="950" y="1158"/>
                    <a:pt x="950" y="1158"/>
                  </a:cubicBezTo>
                  <a:cubicBezTo>
                    <a:pt x="951" y="1159"/>
                    <a:pt x="951" y="1159"/>
                    <a:pt x="951" y="1159"/>
                  </a:cubicBezTo>
                  <a:cubicBezTo>
                    <a:pt x="951" y="1160"/>
                    <a:pt x="951" y="1160"/>
                    <a:pt x="951" y="1160"/>
                  </a:cubicBezTo>
                  <a:cubicBezTo>
                    <a:pt x="951" y="1160"/>
                    <a:pt x="951" y="1160"/>
                    <a:pt x="951" y="1160"/>
                  </a:cubicBezTo>
                  <a:cubicBezTo>
                    <a:pt x="952" y="1161"/>
                    <a:pt x="952" y="1161"/>
                    <a:pt x="952" y="1161"/>
                  </a:cubicBezTo>
                  <a:cubicBezTo>
                    <a:pt x="951" y="1162"/>
                    <a:pt x="951" y="1162"/>
                    <a:pt x="951" y="1162"/>
                  </a:cubicBezTo>
                  <a:cubicBezTo>
                    <a:pt x="951" y="1163"/>
                    <a:pt x="951" y="1163"/>
                    <a:pt x="951" y="1163"/>
                  </a:cubicBezTo>
                  <a:cubicBezTo>
                    <a:pt x="951" y="1164"/>
                    <a:pt x="951" y="1164"/>
                    <a:pt x="951" y="1164"/>
                  </a:cubicBezTo>
                  <a:cubicBezTo>
                    <a:pt x="950" y="1164"/>
                    <a:pt x="950" y="1164"/>
                    <a:pt x="950" y="1164"/>
                  </a:cubicBezTo>
                  <a:cubicBezTo>
                    <a:pt x="950" y="1164"/>
                    <a:pt x="950" y="1164"/>
                    <a:pt x="950" y="1164"/>
                  </a:cubicBezTo>
                  <a:cubicBezTo>
                    <a:pt x="949" y="1164"/>
                    <a:pt x="949" y="1164"/>
                    <a:pt x="949" y="1164"/>
                  </a:cubicBezTo>
                  <a:cubicBezTo>
                    <a:pt x="949" y="1165"/>
                    <a:pt x="949" y="1165"/>
                    <a:pt x="949" y="1165"/>
                  </a:cubicBezTo>
                  <a:cubicBezTo>
                    <a:pt x="949" y="1166"/>
                    <a:pt x="949" y="1166"/>
                    <a:pt x="949" y="1166"/>
                  </a:cubicBezTo>
                  <a:cubicBezTo>
                    <a:pt x="948" y="1167"/>
                    <a:pt x="948" y="1167"/>
                    <a:pt x="948" y="1167"/>
                  </a:cubicBezTo>
                  <a:cubicBezTo>
                    <a:pt x="948" y="1167"/>
                    <a:pt x="948" y="1167"/>
                    <a:pt x="948" y="1167"/>
                  </a:cubicBezTo>
                  <a:cubicBezTo>
                    <a:pt x="946" y="1167"/>
                    <a:pt x="946" y="1167"/>
                    <a:pt x="946" y="1167"/>
                  </a:cubicBezTo>
                  <a:cubicBezTo>
                    <a:pt x="946" y="1167"/>
                    <a:pt x="946" y="1167"/>
                    <a:pt x="946" y="1167"/>
                  </a:cubicBezTo>
                  <a:cubicBezTo>
                    <a:pt x="949" y="1171"/>
                    <a:pt x="949" y="1171"/>
                    <a:pt x="949" y="1171"/>
                  </a:cubicBezTo>
                  <a:cubicBezTo>
                    <a:pt x="950" y="1172"/>
                    <a:pt x="950" y="1172"/>
                    <a:pt x="950" y="1172"/>
                  </a:cubicBezTo>
                  <a:cubicBezTo>
                    <a:pt x="950" y="1173"/>
                    <a:pt x="950" y="1173"/>
                    <a:pt x="950" y="1173"/>
                  </a:cubicBezTo>
                  <a:cubicBezTo>
                    <a:pt x="951" y="1174"/>
                    <a:pt x="951" y="1174"/>
                    <a:pt x="951" y="1174"/>
                  </a:cubicBezTo>
                  <a:cubicBezTo>
                    <a:pt x="951" y="1174"/>
                    <a:pt x="951" y="1174"/>
                    <a:pt x="951" y="1174"/>
                  </a:cubicBezTo>
                  <a:cubicBezTo>
                    <a:pt x="951" y="1175"/>
                    <a:pt x="951" y="1175"/>
                    <a:pt x="951" y="1175"/>
                  </a:cubicBezTo>
                  <a:cubicBezTo>
                    <a:pt x="954" y="1176"/>
                    <a:pt x="954" y="1176"/>
                    <a:pt x="954" y="1176"/>
                  </a:cubicBezTo>
                  <a:cubicBezTo>
                    <a:pt x="953" y="1176"/>
                    <a:pt x="953" y="1176"/>
                    <a:pt x="953" y="1176"/>
                  </a:cubicBezTo>
                  <a:cubicBezTo>
                    <a:pt x="952" y="1176"/>
                    <a:pt x="952" y="1176"/>
                    <a:pt x="952" y="1176"/>
                  </a:cubicBezTo>
                  <a:cubicBezTo>
                    <a:pt x="952" y="1175"/>
                    <a:pt x="952" y="1175"/>
                    <a:pt x="952" y="1175"/>
                  </a:cubicBezTo>
                  <a:cubicBezTo>
                    <a:pt x="949" y="1173"/>
                    <a:pt x="949" y="1173"/>
                    <a:pt x="949" y="1173"/>
                  </a:cubicBezTo>
                  <a:cubicBezTo>
                    <a:pt x="949" y="1173"/>
                    <a:pt x="949" y="1173"/>
                    <a:pt x="949" y="1173"/>
                  </a:cubicBezTo>
                  <a:cubicBezTo>
                    <a:pt x="948" y="1173"/>
                    <a:pt x="948" y="1173"/>
                    <a:pt x="948" y="1173"/>
                  </a:cubicBezTo>
                  <a:cubicBezTo>
                    <a:pt x="948" y="1172"/>
                    <a:pt x="948" y="1172"/>
                    <a:pt x="948" y="1172"/>
                  </a:cubicBezTo>
                  <a:cubicBezTo>
                    <a:pt x="948" y="1171"/>
                    <a:pt x="948" y="1171"/>
                    <a:pt x="948" y="1171"/>
                  </a:cubicBezTo>
                  <a:cubicBezTo>
                    <a:pt x="946" y="1170"/>
                    <a:pt x="946" y="1170"/>
                    <a:pt x="946" y="1170"/>
                  </a:cubicBezTo>
                  <a:cubicBezTo>
                    <a:pt x="944" y="1166"/>
                    <a:pt x="944" y="1166"/>
                    <a:pt x="944" y="1166"/>
                  </a:cubicBezTo>
                  <a:cubicBezTo>
                    <a:pt x="944" y="1166"/>
                    <a:pt x="944" y="1166"/>
                    <a:pt x="944" y="1166"/>
                  </a:cubicBezTo>
                  <a:cubicBezTo>
                    <a:pt x="945" y="1167"/>
                    <a:pt x="945" y="1167"/>
                    <a:pt x="945" y="1167"/>
                  </a:cubicBezTo>
                  <a:cubicBezTo>
                    <a:pt x="945" y="1166"/>
                    <a:pt x="945" y="1166"/>
                    <a:pt x="945" y="1166"/>
                  </a:cubicBezTo>
                  <a:cubicBezTo>
                    <a:pt x="946" y="1166"/>
                    <a:pt x="946" y="1166"/>
                    <a:pt x="946" y="1166"/>
                  </a:cubicBezTo>
                  <a:cubicBezTo>
                    <a:pt x="947" y="1166"/>
                    <a:pt x="947" y="1166"/>
                    <a:pt x="947" y="1166"/>
                  </a:cubicBezTo>
                  <a:cubicBezTo>
                    <a:pt x="947" y="1166"/>
                    <a:pt x="947" y="1166"/>
                    <a:pt x="947" y="1166"/>
                  </a:cubicBezTo>
                  <a:cubicBezTo>
                    <a:pt x="948" y="1164"/>
                    <a:pt x="948" y="1164"/>
                    <a:pt x="948" y="1164"/>
                  </a:cubicBezTo>
                  <a:cubicBezTo>
                    <a:pt x="948" y="1163"/>
                    <a:pt x="948" y="1163"/>
                    <a:pt x="948" y="1163"/>
                  </a:cubicBezTo>
                  <a:cubicBezTo>
                    <a:pt x="949" y="1163"/>
                    <a:pt x="949" y="1163"/>
                    <a:pt x="949" y="1163"/>
                  </a:cubicBezTo>
                  <a:cubicBezTo>
                    <a:pt x="949" y="1163"/>
                    <a:pt x="949" y="1163"/>
                    <a:pt x="949" y="1163"/>
                  </a:cubicBezTo>
                  <a:cubicBezTo>
                    <a:pt x="950" y="1163"/>
                    <a:pt x="950" y="1163"/>
                    <a:pt x="950" y="1163"/>
                  </a:cubicBezTo>
                  <a:cubicBezTo>
                    <a:pt x="950" y="1162"/>
                    <a:pt x="950" y="1162"/>
                    <a:pt x="950" y="1162"/>
                  </a:cubicBezTo>
                  <a:cubicBezTo>
                    <a:pt x="950" y="1161"/>
                    <a:pt x="950" y="1161"/>
                    <a:pt x="950" y="1161"/>
                  </a:cubicBezTo>
                  <a:cubicBezTo>
                    <a:pt x="950" y="1160"/>
                    <a:pt x="950" y="1160"/>
                    <a:pt x="950" y="1160"/>
                  </a:cubicBezTo>
                  <a:cubicBezTo>
                    <a:pt x="950" y="1159"/>
                    <a:pt x="950" y="1159"/>
                    <a:pt x="950" y="1159"/>
                  </a:cubicBezTo>
                  <a:cubicBezTo>
                    <a:pt x="950" y="1159"/>
                    <a:pt x="950" y="1159"/>
                    <a:pt x="950" y="1159"/>
                  </a:cubicBezTo>
                  <a:cubicBezTo>
                    <a:pt x="950" y="1158"/>
                    <a:pt x="950" y="1158"/>
                    <a:pt x="950" y="1158"/>
                  </a:cubicBezTo>
                  <a:cubicBezTo>
                    <a:pt x="949" y="1158"/>
                    <a:pt x="949" y="1158"/>
                    <a:pt x="949" y="1158"/>
                  </a:cubicBezTo>
                  <a:cubicBezTo>
                    <a:pt x="947" y="1156"/>
                    <a:pt x="947" y="1156"/>
                    <a:pt x="947" y="1156"/>
                  </a:cubicBezTo>
                  <a:cubicBezTo>
                    <a:pt x="947" y="1156"/>
                    <a:pt x="947" y="1156"/>
                    <a:pt x="947" y="1156"/>
                  </a:cubicBezTo>
                  <a:cubicBezTo>
                    <a:pt x="947" y="1156"/>
                    <a:pt x="947" y="1156"/>
                    <a:pt x="947" y="1156"/>
                  </a:cubicBezTo>
                  <a:cubicBezTo>
                    <a:pt x="947" y="1154"/>
                    <a:pt x="947" y="1154"/>
                    <a:pt x="947" y="1154"/>
                  </a:cubicBezTo>
                  <a:cubicBezTo>
                    <a:pt x="947" y="1153"/>
                    <a:pt x="947" y="1153"/>
                    <a:pt x="947" y="1153"/>
                  </a:cubicBezTo>
                  <a:cubicBezTo>
                    <a:pt x="948" y="1153"/>
                    <a:pt x="948" y="1153"/>
                    <a:pt x="948" y="1153"/>
                  </a:cubicBezTo>
                  <a:cubicBezTo>
                    <a:pt x="947" y="1152"/>
                    <a:pt x="947" y="1152"/>
                    <a:pt x="947" y="1152"/>
                  </a:cubicBezTo>
                  <a:cubicBezTo>
                    <a:pt x="948" y="1151"/>
                    <a:pt x="948" y="1151"/>
                    <a:pt x="948" y="1151"/>
                  </a:cubicBezTo>
                  <a:cubicBezTo>
                    <a:pt x="949" y="1150"/>
                    <a:pt x="949" y="1150"/>
                    <a:pt x="949" y="1150"/>
                  </a:cubicBezTo>
                  <a:cubicBezTo>
                    <a:pt x="949" y="1150"/>
                    <a:pt x="949" y="1150"/>
                    <a:pt x="949" y="1150"/>
                  </a:cubicBezTo>
                  <a:cubicBezTo>
                    <a:pt x="949" y="1150"/>
                    <a:pt x="949" y="1150"/>
                    <a:pt x="949" y="1150"/>
                  </a:cubicBezTo>
                  <a:cubicBezTo>
                    <a:pt x="949" y="1150"/>
                    <a:pt x="949" y="1150"/>
                    <a:pt x="949" y="1150"/>
                  </a:cubicBezTo>
                  <a:cubicBezTo>
                    <a:pt x="948" y="1149"/>
                    <a:pt x="948" y="1149"/>
                    <a:pt x="948" y="1149"/>
                  </a:cubicBezTo>
                  <a:cubicBezTo>
                    <a:pt x="948" y="1149"/>
                    <a:pt x="948" y="1149"/>
                    <a:pt x="948" y="1149"/>
                  </a:cubicBezTo>
                  <a:cubicBezTo>
                    <a:pt x="947" y="1147"/>
                    <a:pt x="947" y="1147"/>
                    <a:pt x="947" y="1147"/>
                  </a:cubicBezTo>
                  <a:cubicBezTo>
                    <a:pt x="947" y="1147"/>
                    <a:pt x="947" y="1147"/>
                    <a:pt x="947" y="1147"/>
                  </a:cubicBezTo>
                  <a:cubicBezTo>
                    <a:pt x="947" y="1147"/>
                    <a:pt x="947" y="1147"/>
                    <a:pt x="947" y="1147"/>
                  </a:cubicBezTo>
                  <a:cubicBezTo>
                    <a:pt x="947" y="1146"/>
                    <a:pt x="947" y="1146"/>
                    <a:pt x="947" y="1146"/>
                  </a:cubicBezTo>
                  <a:cubicBezTo>
                    <a:pt x="948" y="1146"/>
                    <a:pt x="948" y="1146"/>
                    <a:pt x="948" y="1146"/>
                  </a:cubicBezTo>
                  <a:cubicBezTo>
                    <a:pt x="948" y="1146"/>
                    <a:pt x="948" y="1146"/>
                    <a:pt x="948" y="1146"/>
                  </a:cubicBezTo>
                  <a:cubicBezTo>
                    <a:pt x="949" y="1145"/>
                    <a:pt x="949" y="1145"/>
                    <a:pt x="949" y="1145"/>
                  </a:cubicBezTo>
                  <a:cubicBezTo>
                    <a:pt x="949" y="1145"/>
                    <a:pt x="949" y="1145"/>
                    <a:pt x="949" y="1145"/>
                  </a:cubicBezTo>
                  <a:cubicBezTo>
                    <a:pt x="949" y="1144"/>
                    <a:pt x="949" y="1144"/>
                    <a:pt x="949" y="1144"/>
                  </a:cubicBezTo>
                  <a:cubicBezTo>
                    <a:pt x="950" y="1144"/>
                    <a:pt x="950" y="1144"/>
                    <a:pt x="950" y="1144"/>
                  </a:cubicBezTo>
                  <a:cubicBezTo>
                    <a:pt x="950" y="1145"/>
                    <a:pt x="950" y="1145"/>
                    <a:pt x="950" y="1145"/>
                  </a:cubicBezTo>
                  <a:cubicBezTo>
                    <a:pt x="950" y="1144"/>
                    <a:pt x="950" y="1144"/>
                    <a:pt x="950" y="1144"/>
                  </a:cubicBezTo>
                  <a:cubicBezTo>
                    <a:pt x="951" y="1144"/>
                    <a:pt x="951" y="1144"/>
                    <a:pt x="951" y="1144"/>
                  </a:cubicBezTo>
                  <a:cubicBezTo>
                    <a:pt x="951" y="1144"/>
                    <a:pt x="951" y="1144"/>
                    <a:pt x="951" y="1144"/>
                  </a:cubicBezTo>
                  <a:cubicBezTo>
                    <a:pt x="952" y="1144"/>
                    <a:pt x="952" y="1144"/>
                    <a:pt x="952" y="1144"/>
                  </a:cubicBezTo>
                  <a:cubicBezTo>
                    <a:pt x="954" y="1144"/>
                    <a:pt x="954" y="1144"/>
                    <a:pt x="954" y="1144"/>
                  </a:cubicBezTo>
                  <a:cubicBezTo>
                    <a:pt x="955" y="1144"/>
                    <a:pt x="955" y="1144"/>
                    <a:pt x="955" y="1144"/>
                  </a:cubicBezTo>
                  <a:cubicBezTo>
                    <a:pt x="956" y="1144"/>
                    <a:pt x="956" y="1144"/>
                    <a:pt x="956" y="1144"/>
                  </a:cubicBezTo>
                  <a:cubicBezTo>
                    <a:pt x="956" y="1143"/>
                    <a:pt x="956" y="1143"/>
                    <a:pt x="956" y="1143"/>
                  </a:cubicBezTo>
                  <a:cubicBezTo>
                    <a:pt x="956" y="1143"/>
                    <a:pt x="956" y="1143"/>
                    <a:pt x="956" y="1143"/>
                  </a:cubicBezTo>
                  <a:cubicBezTo>
                    <a:pt x="957" y="1141"/>
                    <a:pt x="957" y="1141"/>
                    <a:pt x="957" y="1141"/>
                  </a:cubicBezTo>
                  <a:cubicBezTo>
                    <a:pt x="957" y="1140"/>
                    <a:pt x="957" y="1140"/>
                    <a:pt x="957" y="1140"/>
                  </a:cubicBezTo>
                  <a:cubicBezTo>
                    <a:pt x="957" y="1140"/>
                    <a:pt x="957" y="1140"/>
                    <a:pt x="957" y="1140"/>
                  </a:cubicBezTo>
                  <a:cubicBezTo>
                    <a:pt x="958" y="1140"/>
                    <a:pt x="958" y="1140"/>
                    <a:pt x="958" y="1140"/>
                  </a:cubicBezTo>
                  <a:cubicBezTo>
                    <a:pt x="959" y="1140"/>
                    <a:pt x="959" y="1140"/>
                    <a:pt x="959" y="1140"/>
                  </a:cubicBezTo>
                  <a:cubicBezTo>
                    <a:pt x="959" y="1139"/>
                    <a:pt x="959" y="1139"/>
                    <a:pt x="959" y="1139"/>
                  </a:cubicBezTo>
                  <a:cubicBezTo>
                    <a:pt x="959" y="1139"/>
                    <a:pt x="959" y="1139"/>
                    <a:pt x="959" y="1139"/>
                  </a:cubicBezTo>
                  <a:cubicBezTo>
                    <a:pt x="961" y="1138"/>
                    <a:pt x="961" y="1138"/>
                    <a:pt x="961" y="1138"/>
                  </a:cubicBezTo>
                  <a:cubicBezTo>
                    <a:pt x="961" y="1138"/>
                    <a:pt x="961" y="1138"/>
                    <a:pt x="961" y="1138"/>
                  </a:cubicBezTo>
                  <a:cubicBezTo>
                    <a:pt x="961" y="1137"/>
                    <a:pt x="961" y="1137"/>
                    <a:pt x="961" y="1137"/>
                  </a:cubicBezTo>
                  <a:cubicBezTo>
                    <a:pt x="961" y="1136"/>
                    <a:pt x="961" y="1136"/>
                    <a:pt x="961" y="1136"/>
                  </a:cubicBezTo>
                  <a:cubicBezTo>
                    <a:pt x="961" y="1136"/>
                    <a:pt x="961" y="1136"/>
                    <a:pt x="961" y="1136"/>
                  </a:cubicBezTo>
                  <a:cubicBezTo>
                    <a:pt x="962" y="1136"/>
                    <a:pt x="962" y="1136"/>
                    <a:pt x="962" y="1136"/>
                  </a:cubicBezTo>
                  <a:cubicBezTo>
                    <a:pt x="962" y="1136"/>
                    <a:pt x="962" y="1136"/>
                    <a:pt x="962" y="1136"/>
                  </a:cubicBezTo>
                  <a:cubicBezTo>
                    <a:pt x="963" y="1135"/>
                    <a:pt x="963" y="1135"/>
                    <a:pt x="963" y="1135"/>
                  </a:cubicBezTo>
                  <a:cubicBezTo>
                    <a:pt x="963" y="1134"/>
                    <a:pt x="963" y="1134"/>
                    <a:pt x="963" y="1134"/>
                  </a:cubicBezTo>
                  <a:cubicBezTo>
                    <a:pt x="964" y="1132"/>
                    <a:pt x="964" y="1132"/>
                    <a:pt x="964" y="1132"/>
                  </a:cubicBezTo>
                  <a:cubicBezTo>
                    <a:pt x="964" y="1132"/>
                    <a:pt x="964" y="1132"/>
                    <a:pt x="964" y="1132"/>
                  </a:cubicBezTo>
                  <a:cubicBezTo>
                    <a:pt x="963" y="1131"/>
                    <a:pt x="963" y="1131"/>
                    <a:pt x="963" y="1131"/>
                  </a:cubicBezTo>
                  <a:cubicBezTo>
                    <a:pt x="964" y="1132"/>
                    <a:pt x="964" y="1132"/>
                    <a:pt x="964" y="1132"/>
                  </a:cubicBezTo>
                  <a:cubicBezTo>
                    <a:pt x="964" y="1132"/>
                    <a:pt x="964" y="1132"/>
                    <a:pt x="964" y="1132"/>
                  </a:cubicBezTo>
                  <a:cubicBezTo>
                    <a:pt x="965" y="1132"/>
                    <a:pt x="965" y="1132"/>
                    <a:pt x="965" y="1132"/>
                  </a:cubicBezTo>
                  <a:cubicBezTo>
                    <a:pt x="965" y="1133"/>
                    <a:pt x="965" y="1133"/>
                    <a:pt x="965" y="1133"/>
                  </a:cubicBezTo>
                  <a:cubicBezTo>
                    <a:pt x="964" y="1134"/>
                    <a:pt x="964" y="1134"/>
                    <a:pt x="964" y="1134"/>
                  </a:cubicBezTo>
                  <a:cubicBezTo>
                    <a:pt x="964" y="1136"/>
                    <a:pt x="964" y="1136"/>
                    <a:pt x="964" y="1136"/>
                  </a:cubicBezTo>
                  <a:lnTo>
                    <a:pt x="963" y="1136"/>
                  </a:lnTo>
                  <a:close/>
                  <a:moveTo>
                    <a:pt x="942" y="1212"/>
                  </a:moveTo>
                  <a:cubicBezTo>
                    <a:pt x="942" y="1212"/>
                    <a:pt x="942" y="1212"/>
                    <a:pt x="942" y="1212"/>
                  </a:cubicBezTo>
                  <a:cubicBezTo>
                    <a:pt x="942" y="1212"/>
                    <a:pt x="942" y="1212"/>
                    <a:pt x="942" y="1212"/>
                  </a:cubicBezTo>
                  <a:close/>
                  <a:moveTo>
                    <a:pt x="880" y="1165"/>
                  </a:moveTo>
                  <a:cubicBezTo>
                    <a:pt x="880" y="1164"/>
                    <a:pt x="880" y="1164"/>
                    <a:pt x="880" y="1164"/>
                  </a:cubicBezTo>
                  <a:cubicBezTo>
                    <a:pt x="880" y="1164"/>
                    <a:pt x="880" y="1164"/>
                    <a:pt x="880" y="1164"/>
                  </a:cubicBezTo>
                  <a:cubicBezTo>
                    <a:pt x="880" y="1164"/>
                    <a:pt x="880" y="1164"/>
                    <a:pt x="880" y="1164"/>
                  </a:cubicBezTo>
                  <a:cubicBezTo>
                    <a:pt x="880" y="1163"/>
                    <a:pt x="880" y="1163"/>
                    <a:pt x="880" y="1163"/>
                  </a:cubicBezTo>
                  <a:cubicBezTo>
                    <a:pt x="880" y="1163"/>
                    <a:pt x="880" y="1163"/>
                    <a:pt x="880" y="1163"/>
                  </a:cubicBezTo>
                  <a:cubicBezTo>
                    <a:pt x="880" y="1163"/>
                    <a:pt x="880" y="1163"/>
                    <a:pt x="880" y="1163"/>
                  </a:cubicBezTo>
                  <a:cubicBezTo>
                    <a:pt x="880" y="1162"/>
                    <a:pt x="880" y="1162"/>
                    <a:pt x="880" y="1162"/>
                  </a:cubicBezTo>
                  <a:cubicBezTo>
                    <a:pt x="880" y="1162"/>
                    <a:pt x="880" y="1162"/>
                    <a:pt x="880" y="1162"/>
                  </a:cubicBezTo>
                  <a:cubicBezTo>
                    <a:pt x="879" y="1160"/>
                    <a:pt x="879" y="1160"/>
                    <a:pt x="879" y="1160"/>
                  </a:cubicBezTo>
                  <a:cubicBezTo>
                    <a:pt x="878" y="1159"/>
                    <a:pt x="878" y="1159"/>
                    <a:pt x="878" y="1159"/>
                  </a:cubicBezTo>
                  <a:cubicBezTo>
                    <a:pt x="877" y="1158"/>
                    <a:pt x="877" y="1158"/>
                    <a:pt x="877" y="1158"/>
                  </a:cubicBezTo>
                  <a:cubicBezTo>
                    <a:pt x="876" y="1158"/>
                    <a:pt x="876" y="1158"/>
                    <a:pt x="876" y="1158"/>
                  </a:cubicBezTo>
                  <a:cubicBezTo>
                    <a:pt x="876" y="1158"/>
                    <a:pt x="876" y="1158"/>
                    <a:pt x="876" y="1158"/>
                  </a:cubicBezTo>
                  <a:cubicBezTo>
                    <a:pt x="876" y="1157"/>
                    <a:pt x="876" y="1157"/>
                    <a:pt x="876" y="1157"/>
                  </a:cubicBezTo>
                  <a:cubicBezTo>
                    <a:pt x="877" y="1158"/>
                    <a:pt x="877" y="1158"/>
                    <a:pt x="877" y="1158"/>
                  </a:cubicBezTo>
                  <a:cubicBezTo>
                    <a:pt x="877" y="1158"/>
                    <a:pt x="877" y="1158"/>
                    <a:pt x="877" y="1158"/>
                  </a:cubicBezTo>
                  <a:cubicBezTo>
                    <a:pt x="877" y="1158"/>
                    <a:pt x="877" y="1158"/>
                    <a:pt x="877" y="1158"/>
                  </a:cubicBezTo>
                  <a:cubicBezTo>
                    <a:pt x="879" y="1159"/>
                    <a:pt x="879" y="1159"/>
                    <a:pt x="879" y="1159"/>
                  </a:cubicBezTo>
                  <a:cubicBezTo>
                    <a:pt x="879" y="1159"/>
                    <a:pt x="879" y="1159"/>
                    <a:pt x="879" y="1159"/>
                  </a:cubicBezTo>
                  <a:cubicBezTo>
                    <a:pt x="880" y="1161"/>
                    <a:pt x="880" y="1161"/>
                    <a:pt x="880" y="1161"/>
                  </a:cubicBezTo>
                  <a:cubicBezTo>
                    <a:pt x="880" y="1162"/>
                    <a:pt x="880" y="1162"/>
                    <a:pt x="880" y="1162"/>
                  </a:cubicBezTo>
                  <a:cubicBezTo>
                    <a:pt x="880" y="1162"/>
                    <a:pt x="880" y="1162"/>
                    <a:pt x="880" y="1162"/>
                  </a:cubicBezTo>
                  <a:cubicBezTo>
                    <a:pt x="881" y="1162"/>
                    <a:pt x="881" y="1162"/>
                    <a:pt x="881" y="1162"/>
                  </a:cubicBezTo>
                  <a:cubicBezTo>
                    <a:pt x="881" y="1163"/>
                    <a:pt x="881" y="1163"/>
                    <a:pt x="881" y="1163"/>
                  </a:cubicBezTo>
                  <a:cubicBezTo>
                    <a:pt x="880" y="1163"/>
                    <a:pt x="880" y="1163"/>
                    <a:pt x="880" y="1163"/>
                  </a:cubicBezTo>
                  <a:cubicBezTo>
                    <a:pt x="880" y="1163"/>
                    <a:pt x="880" y="1163"/>
                    <a:pt x="880" y="1163"/>
                  </a:cubicBezTo>
                  <a:cubicBezTo>
                    <a:pt x="880" y="1164"/>
                    <a:pt x="880" y="1164"/>
                    <a:pt x="880" y="1164"/>
                  </a:cubicBezTo>
                  <a:cubicBezTo>
                    <a:pt x="881" y="1164"/>
                    <a:pt x="881" y="1164"/>
                    <a:pt x="881" y="1164"/>
                  </a:cubicBezTo>
                  <a:cubicBezTo>
                    <a:pt x="881" y="1164"/>
                    <a:pt x="881" y="1164"/>
                    <a:pt x="881" y="1164"/>
                  </a:cubicBezTo>
                  <a:cubicBezTo>
                    <a:pt x="881" y="1165"/>
                    <a:pt x="881" y="1165"/>
                    <a:pt x="881" y="1165"/>
                  </a:cubicBezTo>
                  <a:cubicBezTo>
                    <a:pt x="881" y="1165"/>
                    <a:pt x="881" y="1165"/>
                    <a:pt x="881" y="1165"/>
                  </a:cubicBezTo>
                  <a:cubicBezTo>
                    <a:pt x="881" y="1166"/>
                    <a:pt x="881" y="1166"/>
                    <a:pt x="881" y="1166"/>
                  </a:cubicBezTo>
                  <a:cubicBezTo>
                    <a:pt x="881" y="1166"/>
                    <a:pt x="881" y="1166"/>
                    <a:pt x="881" y="1166"/>
                  </a:cubicBezTo>
                  <a:cubicBezTo>
                    <a:pt x="882" y="1166"/>
                    <a:pt x="882" y="1166"/>
                    <a:pt x="882" y="1166"/>
                  </a:cubicBezTo>
                  <a:cubicBezTo>
                    <a:pt x="882" y="1166"/>
                    <a:pt x="882" y="1166"/>
                    <a:pt x="882" y="1166"/>
                  </a:cubicBezTo>
                  <a:cubicBezTo>
                    <a:pt x="882" y="1166"/>
                    <a:pt x="882" y="1166"/>
                    <a:pt x="882" y="1166"/>
                  </a:cubicBezTo>
                  <a:cubicBezTo>
                    <a:pt x="882" y="1166"/>
                    <a:pt x="882" y="1166"/>
                    <a:pt x="882" y="1166"/>
                  </a:cubicBezTo>
                  <a:cubicBezTo>
                    <a:pt x="882" y="1166"/>
                    <a:pt x="882" y="1166"/>
                    <a:pt x="882" y="1166"/>
                  </a:cubicBezTo>
                  <a:cubicBezTo>
                    <a:pt x="884" y="1166"/>
                    <a:pt x="884" y="1166"/>
                    <a:pt x="884" y="1166"/>
                  </a:cubicBezTo>
                  <a:cubicBezTo>
                    <a:pt x="884" y="1166"/>
                    <a:pt x="884" y="1166"/>
                    <a:pt x="884" y="1166"/>
                  </a:cubicBezTo>
                  <a:cubicBezTo>
                    <a:pt x="888" y="1169"/>
                    <a:pt x="888" y="1169"/>
                    <a:pt x="888" y="1169"/>
                  </a:cubicBezTo>
                  <a:cubicBezTo>
                    <a:pt x="889" y="1170"/>
                    <a:pt x="889" y="1170"/>
                    <a:pt x="889" y="1170"/>
                  </a:cubicBezTo>
                  <a:cubicBezTo>
                    <a:pt x="889" y="1170"/>
                    <a:pt x="889" y="1170"/>
                    <a:pt x="889" y="1170"/>
                  </a:cubicBezTo>
                  <a:cubicBezTo>
                    <a:pt x="889" y="1171"/>
                    <a:pt x="889" y="1171"/>
                    <a:pt x="889" y="1171"/>
                  </a:cubicBezTo>
                  <a:cubicBezTo>
                    <a:pt x="891" y="1173"/>
                    <a:pt x="891" y="1173"/>
                    <a:pt x="891" y="1173"/>
                  </a:cubicBezTo>
                  <a:cubicBezTo>
                    <a:pt x="891" y="1174"/>
                    <a:pt x="891" y="1174"/>
                    <a:pt x="891" y="1174"/>
                  </a:cubicBezTo>
                  <a:cubicBezTo>
                    <a:pt x="891" y="1175"/>
                    <a:pt x="891" y="1175"/>
                    <a:pt x="891" y="1175"/>
                  </a:cubicBezTo>
                  <a:cubicBezTo>
                    <a:pt x="891" y="1176"/>
                    <a:pt x="891" y="1176"/>
                    <a:pt x="891" y="1176"/>
                  </a:cubicBezTo>
                  <a:cubicBezTo>
                    <a:pt x="891" y="1177"/>
                    <a:pt x="891" y="1177"/>
                    <a:pt x="891" y="1177"/>
                  </a:cubicBezTo>
                  <a:cubicBezTo>
                    <a:pt x="892" y="1179"/>
                    <a:pt x="892" y="1179"/>
                    <a:pt x="892" y="1179"/>
                  </a:cubicBezTo>
                  <a:cubicBezTo>
                    <a:pt x="892" y="1180"/>
                    <a:pt x="892" y="1180"/>
                    <a:pt x="892" y="1180"/>
                  </a:cubicBezTo>
                  <a:cubicBezTo>
                    <a:pt x="892" y="1180"/>
                    <a:pt x="892" y="1180"/>
                    <a:pt x="892" y="1180"/>
                  </a:cubicBezTo>
                  <a:cubicBezTo>
                    <a:pt x="892" y="1181"/>
                    <a:pt x="892" y="1181"/>
                    <a:pt x="892" y="1181"/>
                  </a:cubicBezTo>
                  <a:cubicBezTo>
                    <a:pt x="892" y="1182"/>
                    <a:pt x="892" y="1182"/>
                    <a:pt x="892" y="1182"/>
                  </a:cubicBezTo>
                  <a:cubicBezTo>
                    <a:pt x="892" y="1182"/>
                    <a:pt x="892" y="1182"/>
                    <a:pt x="892" y="1182"/>
                  </a:cubicBezTo>
                  <a:cubicBezTo>
                    <a:pt x="892" y="1182"/>
                    <a:pt x="892" y="1182"/>
                    <a:pt x="892" y="1182"/>
                  </a:cubicBezTo>
                  <a:cubicBezTo>
                    <a:pt x="891" y="1182"/>
                    <a:pt x="891" y="1182"/>
                    <a:pt x="891" y="1182"/>
                  </a:cubicBezTo>
                  <a:cubicBezTo>
                    <a:pt x="891" y="1183"/>
                    <a:pt x="891" y="1183"/>
                    <a:pt x="891" y="1183"/>
                  </a:cubicBezTo>
                  <a:cubicBezTo>
                    <a:pt x="891" y="1183"/>
                    <a:pt x="891" y="1183"/>
                    <a:pt x="891" y="1183"/>
                  </a:cubicBezTo>
                  <a:cubicBezTo>
                    <a:pt x="892" y="1184"/>
                    <a:pt x="892" y="1184"/>
                    <a:pt x="892" y="1184"/>
                  </a:cubicBezTo>
                  <a:cubicBezTo>
                    <a:pt x="891" y="1184"/>
                    <a:pt x="891" y="1184"/>
                    <a:pt x="891" y="1184"/>
                  </a:cubicBezTo>
                  <a:cubicBezTo>
                    <a:pt x="892" y="1184"/>
                    <a:pt x="892" y="1184"/>
                    <a:pt x="892" y="1184"/>
                  </a:cubicBezTo>
                  <a:cubicBezTo>
                    <a:pt x="891" y="1184"/>
                    <a:pt x="891" y="1184"/>
                    <a:pt x="891" y="1184"/>
                  </a:cubicBezTo>
                  <a:cubicBezTo>
                    <a:pt x="891" y="1185"/>
                    <a:pt x="891" y="1185"/>
                    <a:pt x="891" y="1185"/>
                  </a:cubicBezTo>
                  <a:cubicBezTo>
                    <a:pt x="891" y="1185"/>
                    <a:pt x="891" y="1185"/>
                    <a:pt x="891" y="1185"/>
                  </a:cubicBezTo>
                  <a:cubicBezTo>
                    <a:pt x="890" y="1184"/>
                    <a:pt x="890" y="1184"/>
                    <a:pt x="890" y="1184"/>
                  </a:cubicBezTo>
                  <a:cubicBezTo>
                    <a:pt x="890" y="1184"/>
                    <a:pt x="890" y="1184"/>
                    <a:pt x="890" y="1184"/>
                  </a:cubicBezTo>
                  <a:cubicBezTo>
                    <a:pt x="890" y="1184"/>
                    <a:pt x="890" y="1184"/>
                    <a:pt x="890" y="1184"/>
                  </a:cubicBezTo>
                  <a:cubicBezTo>
                    <a:pt x="890" y="1183"/>
                    <a:pt x="890" y="1183"/>
                    <a:pt x="890" y="1183"/>
                  </a:cubicBezTo>
                  <a:cubicBezTo>
                    <a:pt x="891" y="1183"/>
                    <a:pt x="891" y="1183"/>
                    <a:pt x="891" y="1183"/>
                  </a:cubicBezTo>
                  <a:cubicBezTo>
                    <a:pt x="891" y="1183"/>
                    <a:pt x="891" y="1183"/>
                    <a:pt x="891" y="1183"/>
                  </a:cubicBezTo>
                  <a:cubicBezTo>
                    <a:pt x="891" y="1183"/>
                    <a:pt x="891" y="1183"/>
                    <a:pt x="891" y="1183"/>
                  </a:cubicBezTo>
                  <a:cubicBezTo>
                    <a:pt x="891" y="1182"/>
                    <a:pt x="891" y="1182"/>
                    <a:pt x="891" y="1182"/>
                  </a:cubicBezTo>
                  <a:cubicBezTo>
                    <a:pt x="891" y="1182"/>
                    <a:pt x="891" y="1182"/>
                    <a:pt x="891" y="1182"/>
                  </a:cubicBezTo>
                  <a:cubicBezTo>
                    <a:pt x="891" y="1181"/>
                    <a:pt x="891" y="1181"/>
                    <a:pt x="891" y="1181"/>
                  </a:cubicBezTo>
                  <a:cubicBezTo>
                    <a:pt x="891" y="1180"/>
                    <a:pt x="891" y="1180"/>
                    <a:pt x="891" y="1180"/>
                  </a:cubicBezTo>
                  <a:cubicBezTo>
                    <a:pt x="890" y="1178"/>
                    <a:pt x="890" y="1178"/>
                    <a:pt x="890" y="1178"/>
                  </a:cubicBezTo>
                  <a:cubicBezTo>
                    <a:pt x="890" y="1177"/>
                    <a:pt x="890" y="1177"/>
                    <a:pt x="890" y="1177"/>
                  </a:cubicBezTo>
                  <a:cubicBezTo>
                    <a:pt x="890" y="1176"/>
                    <a:pt x="890" y="1176"/>
                    <a:pt x="890" y="1176"/>
                  </a:cubicBezTo>
                  <a:cubicBezTo>
                    <a:pt x="890" y="1175"/>
                    <a:pt x="890" y="1175"/>
                    <a:pt x="890" y="1175"/>
                  </a:cubicBezTo>
                  <a:cubicBezTo>
                    <a:pt x="890" y="1174"/>
                    <a:pt x="890" y="1174"/>
                    <a:pt x="890" y="1174"/>
                  </a:cubicBezTo>
                  <a:cubicBezTo>
                    <a:pt x="889" y="1172"/>
                    <a:pt x="889" y="1172"/>
                    <a:pt x="889" y="1172"/>
                  </a:cubicBezTo>
                  <a:cubicBezTo>
                    <a:pt x="888" y="1171"/>
                    <a:pt x="888" y="1171"/>
                    <a:pt x="888" y="1171"/>
                  </a:cubicBezTo>
                  <a:cubicBezTo>
                    <a:pt x="888" y="1170"/>
                    <a:pt x="888" y="1170"/>
                    <a:pt x="888" y="1170"/>
                  </a:cubicBezTo>
                  <a:cubicBezTo>
                    <a:pt x="887" y="1170"/>
                    <a:pt x="887" y="1170"/>
                    <a:pt x="887" y="1170"/>
                  </a:cubicBezTo>
                  <a:cubicBezTo>
                    <a:pt x="884" y="1167"/>
                    <a:pt x="884" y="1167"/>
                    <a:pt x="884" y="1167"/>
                  </a:cubicBezTo>
                  <a:cubicBezTo>
                    <a:pt x="883" y="1167"/>
                    <a:pt x="883" y="1167"/>
                    <a:pt x="883" y="1167"/>
                  </a:cubicBezTo>
                  <a:cubicBezTo>
                    <a:pt x="882" y="1167"/>
                    <a:pt x="882" y="1167"/>
                    <a:pt x="882" y="1167"/>
                  </a:cubicBezTo>
                  <a:cubicBezTo>
                    <a:pt x="881" y="1167"/>
                    <a:pt x="881" y="1167"/>
                    <a:pt x="881" y="1167"/>
                  </a:cubicBezTo>
                  <a:cubicBezTo>
                    <a:pt x="881" y="1167"/>
                    <a:pt x="881" y="1167"/>
                    <a:pt x="881" y="1167"/>
                  </a:cubicBezTo>
                  <a:cubicBezTo>
                    <a:pt x="881" y="1166"/>
                    <a:pt x="881" y="1166"/>
                    <a:pt x="881" y="1166"/>
                  </a:cubicBezTo>
                  <a:cubicBezTo>
                    <a:pt x="881" y="1166"/>
                    <a:pt x="881" y="1166"/>
                    <a:pt x="881" y="1166"/>
                  </a:cubicBezTo>
                  <a:cubicBezTo>
                    <a:pt x="881" y="1165"/>
                    <a:pt x="881" y="1165"/>
                    <a:pt x="881" y="1165"/>
                  </a:cubicBezTo>
                  <a:cubicBezTo>
                    <a:pt x="881" y="1165"/>
                    <a:pt x="881" y="1165"/>
                    <a:pt x="881" y="1165"/>
                  </a:cubicBezTo>
                  <a:lnTo>
                    <a:pt x="880" y="1165"/>
                  </a:lnTo>
                  <a:close/>
                  <a:moveTo>
                    <a:pt x="859" y="1116"/>
                  </a:moveTo>
                  <a:cubicBezTo>
                    <a:pt x="859" y="1116"/>
                    <a:pt x="859" y="1116"/>
                    <a:pt x="859" y="1116"/>
                  </a:cubicBezTo>
                  <a:cubicBezTo>
                    <a:pt x="859" y="1116"/>
                    <a:pt x="859" y="1116"/>
                    <a:pt x="859" y="1116"/>
                  </a:cubicBezTo>
                  <a:cubicBezTo>
                    <a:pt x="859" y="1117"/>
                    <a:pt x="859" y="1117"/>
                    <a:pt x="859" y="1117"/>
                  </a:cubicBezTo>
                  <a:cubicBezTo>
                    <a:pt x="859" y="1117"/>
                    <a:pt x="859" y="1117"/>
                    <a:pt x="859" y="1117"/>
                  </a:cubicBezTo>
                  <a:cubicBezTo>
                    <a:pt x="858" y="1116"/>
                    <a:pt x="858" y="1116"/>
                    <a:pt x="858" y="1116"/>
                  </a:cubicBezTo>
                  <a:cubicBezTo>
                    <a:pt x="858" y="1116"/>
                    <a:pt x="858" y="1116"/>
                    <a:pt x="858" y="1116"/>
                  </a:cubicBezTo>
                  <a:cubicBezTo>
                    <a:pt x="857" y="1117"/>
                    <a:pt x="857" y="1117"/>
                    <a:pt x="857" y="1117"/>
                  </a:cubicBezTo>
                  <a:cubicBezTo>
                    <a:pt x="857" y="1118"/>
                    <a:pt x="857" y="1118"/>
                    <a:pt x="857" y="1118"/>
                  </a:cubicBezTo>
                  <a:cubicBezTo>
                    <a:pt x="857" y="1117"/>
                    <a:pt x="857" y="1117"/>
                    <a:pt x="857" y="1117"/>
                  </a:cubicBezTo>
                  <a:cubicBezTo>
                    <a:pt x="856" y="1116"/>
                    <a:pt x="856" y="1116"/>
                    <a:pt x="856" y="1116"/>
                  </a:cubicBezTo>
                  <a:cubicBezTo>
                    <a:pt x="856" y="1116"/>
                    <a:pt x="856" y="1116"/>
                    <a:pt x="856" y="1116"/>
                  </a:cubicBezTo>
                  <a:cubicBezTo>
                    <a:pt x="856" y="1116"/>
                    <a:pt x="856" y="1116"/>
                    <a:pt x="856" y="1116"/>
                  </a:cubicBezTo>
                  <a:cubicBezTo>
                    <a:pt x="856" y="1116"/>
                    <a:pt x="856" y="1116"/>
                    <a:pt x="856" y="1116"/>
                  </a:cubicBezTo>
                  <a:cubicBezTo>
                    <a:pt x="857" y="1116"/>
                    <a:pt x="857" y="1116"/>
                    <a:pt x="857" y="1116"/>
                  </a:cubicBezTo>
                  <a:cubicBezTo>
                    <a:pt x="857" y="1116"/>
                    <a:pt x="857" y="1116"/>
                    <a:pt x="857" y="1116"/>
                  </a:cubicBezTo>
                  <a:cubicBezTo>
                    <a:pt x="858" y="1116"/>
                    <a:pt x="858" y="1116"/>
                    <a:pt x="858" y="1116"/>
                  </a:cubicBezTo>
                  <a:cubicBezTo>
                    <a:pt x="857" y="1116"/>
                    <a:pt x="857" y="1116"/>
                    <a:pt x="857" y="1116"/>
                  </a:cubicBezTo>
                  <a:cubicBezTo>
                    <a:pt x="857" y="1115"/>
                    <a:pt x="857" y="1115"/>
                    <a:pt x="857" y="1115"/>
                  </a:cubicBezTo>
                  <a:cubicBezTo>
                    <a:pt x="857" y="1115"/>
                    <a:pt x="857" y="1115"/>
                    <a:pt x="857" y="1115"/>
                  </a:cubicBezTo>
                  <a:cubicBezTo>
                    <a:pt x="857" y="1114"/>
                    <a:pt x="857" y="1114"/>
                    <a:pt x="857" y="1114"/>
                  </a:cubicBezTo>
                  <a:cubicBezTo>
                    <a:pt x="857" y="1114"/>
                    <a:pt x="857" y="1114"/>
                    <a:pt x="857" y="1114"/>
                  </a:cubicBezTo>
                  <a:cubicBezTo>
                    <a:pt x="857" y="1113"/>
                    <a:pt x="857" y="1113"/>
                    <a:pt x="857" y="1113"/>
                  </a:cubicBezTo>
                  <a:cubicBezTo>
                    <a:pt x="858" y="1112"/>
                    <a:pt x="858" y="1112"/>
                    <a:pt x="858" y="1112"/>
                  </a:cubicBezTo>
                  <a:cubicBezTo>
                    <a:pt x="858" y="1111"/>
                    <a:pt x="858" y="1111"/>
                    <a:pt x="858" y="1111"/>
                  </a:cubicBezTo>
                  <a:cubicBezTo>
                    <a:pt x="857" y="1109"/>
                    <a:pt x="857" y="1109"/>
                    <a:pt x="857" y="1109"/>
                  </a:cubicBezTo>
                  <a:cubicBezTo>
                    <a:pt x="857" y="1108"/>
                    <a:pt x="857" y="1108"/>
                    <a:pt x="857" y="1108"/>
                  </a:cubicBezTo>
                  <a:cubicBezTo>
                    <a:pt x="854" y="1104"/>
                    <a:pt x="854" y="1104"/>
                    <a:pt x="854" y="1104"/>
                  </a:cubicBezTo>
                  <a:cubicBezTo>
                    <a:pt x="852" y="1102"/>
                    <a:pt x="852" y="1102"/>
                    <a:pt x="852" y="1102"/>
                  </a:cubicBezTo>
                  <a:cubicBezTo>
                    <a:pt x="851" y="1101"/>
                    <a:pt x="851" y="1101"/>
                    <a:pt x="851" y="1101"/>
                  </a:cubicBezTo>
                  <a:cubicBezTo>
                    <a:pt x="850" y="1100"/>
                    <a:pt x="850" y="1100"/>
                    <a:pt x="850" y="1100"/>
                  </a:cubicBezTo>
                  <a:cubicBezTo>
                    <a:pt x="850" y="1100"/>
                    <a:pt x="850" y="1100"/>
                    <a:pt x="850" y="1100"/>
                  </a:cubicBezTo>
                  <a:cubicBezTo>
                    <a:pt x="850" y="1099"/>
                    <a:pt x="850" y="1099"/>
                    <a:pt x="850" y="1099"/>
                  </a:cubicBezTo>
                  <a:cubicBezTo>
                    <a:pt x="850" y="1099"/>
                    <a:pt x="850" y="1099"/>
                    <a:pt x="850" y="1099"/>
                  </a:cubicBezTo>
                  <a:cubicBezTo>
                    <a:pt x="850" y="1098"/>
                    <a:pt x="850" y="1098"/>
                    <a:pt x="850" y="1098"/>
                  </a:cubicBezTo>
                  <a:cubicBezTo>
                    <a:pt x="850" y="1098"/>
                    <a:pt x="850" y="1098"/>
                    <a:pt x="850" y="1098"/>
                  </a:cubicBezTo>
                  <a:cubicBezTo>
                    <a:pt x="850" y="1098"/>
                    <a:pt x="850" y="1098"/>
                    <a:pt x="850" y="1098"/>
                  </a:cubicBezTo>
                  <a:cubicBezTo>
                    <a:pt x="850" y="1098"/>
                    <a:pt x="850" y="1098"/>
                    <a:pt x="850" y="1098"/>
                  </a:cubicBezTo>
                  <a:cubicBezTo>
                    <a:pt x="851" y="1097"/>
                    <a:pt x="851" y="1097"/>
                    <a:pt x="851" y="1097"/>
                  </a:cubicBezTo>
                  <a:cubicBezTo>
                    <a:pt x="852" y="1097"/>
                    <a:pt x="852" y="1097"/>
                    <a:pt x="852" y="1097"/>
                  </a:cubicBezTo>
                  <a:cubicBezTo>
                    <a:pt x="852" y="1097"/>
                    <a:pt x="852" y="1097"/>
                    <a:pt x="852" y="1097"/>
                  </a:cubicBezTo>
                  <a:cubicBezTo>
                    <a:pt x="853" y="1098"/>
                    <a:pt x="853" y="1098"/>
                    <a:pt x="853" y="1098"/>
                  </a:cubicBezTo>
                  <a:cubicBezTo>
                    <a:pt x="853" y="1098"/>
                    <a:pt x="853" y="1098"/>
                    <a:pt x="853" y="1098"/>
                  </a:cubicBezTo>
                  <a:cubicBezTo>
                    <a:pt x="853" y="1098"/>
                    <a:pt x="853" y="1098"/>
                    <a:pt x="853" y="1098"/>
                  </a:cubicBezTo>
                  <a:cubicBezTo>
                    <a:pt x="852" y="1099"/>
                    <a:pt x="852" y="1099"/>
                    <a:pt x="852" y="1099"/>
                  </a:cubicBezTo>
                  <a:cubicBezTo>
                    <a:pt x="852" y="1099"/>
                    <a:pt x="852" y="1099"/>
                    <a:pt x="852" y="1099"/>
                  </a:cubicBezTo>
                  <a:cubicBezTo>
                    <a:pt x="852" y="1099"/>
                    <a:pt x="852" y="1099"/>
                    <a:pt x="852" y="1099"/>
                  </a:cubicBezTo>
                  <a:cubicBezTo>
                    <a:pt x="852" y="1099"/>
                    <a:pt x="852" y="1099"/>
                    <a:pt x="852" y="1099"/>
                  </a:cubicBezTo>
                  <a:cubicBezTo>
                    <a:pt x="852" y="1100"/>
                    <a:pt x="852" y="1100"/>
                    <a:pt x="852" y="1100"/>
                  </a:cubicBezTo>
                  <a:cubicBezTo>
                    <a:pt x="852" y="1100"/>
                    <a:pt x="852" y="1100"/>
                    <a:pt x="852" y="1100"/>
                  </a:cubicBezTo>
                  <a:cubicBezTo>
                    <a:pt x="851" y="1101"/>
                    <a:pt x="851" y="1101"/>
                    <a:pt x="851" y="1101"/>
                  </a:cubicBezTo>
                  <a:cubicBezTo>
                    <a:pt x="852" y="1101"/>
                    <a:pt x="852" y="1101"/>
                    <a:pt x="852" y="1101"/>
                  </a:cubicBezTo>
                  <a:cubicBezTo>
                    <a:pt x="853" y="1102"/>
                    <a:pt x="853" y="1102"/>
                    <a:pt x="853" y="1102"/>
                  </a:cubicBezTo>
                  <a:cubicBezTo>
                    <a:pt x="854" y="1103"/>
                    <a:pt x="854" y="1103"/>
                    <a:pt x="854" y="1103"/>
                  </a:cubicBezTo>
                  <a:cubicBezTo>
                    <a:pt x="855" y="1105"/>
                    <a:pt x="855" y="1105"/>
                    <a:pt x="855" y="1105"/>
                  </a:cubicBezTo>
                  <a:cubicBezTo>
                    <a:pt x="858" y="1108"/>
                    <a:pt x="858" y="1108"/>
                    <a:pt x="858" y="1108"/>
                  </a:cubicBezTo>
                  <a:cubicBezTo>
                    <a:pt x="859" y="1110"/>
                    <a:pt x="859" y="1110"/>
                    <a:pt x="859" y="1110"/>
                  </a:cubicBezTo>
                  <a:cubicBezTo>
                    <a:pt x="860" y="1112"/>
                    <a:pt x="860" y="1112"/>
                    <a:pt x="860" y="1112"/>
                  </a:cubicBezTo>
                  <a:cubicBezTo>
                    <a:pt x="860" y="1113"/>
                    <a:pt x="860" y="1113"/>
                    <a:pt x="860" y="1113"/>
                  </a:cubicBezTo>
                  <a:cubicBezTo>
                    <a:pt x="859" y="1114"/>
                    <a:pt x="859" y="1114"/>
                    <a:pt x="859" y="1114"/>
                  </a:cubicBezTo>
                  <a:cubicBezTo>
                    <a:pt x="859" y="1114"/>
                    <a:pt x="859" y="1114"/>
                    <a:pt x="859" y="1114"/>
                  </a:cubicBezTo>
                  <a:cubicBezTo>
                    <a:pt x="859" y="1115"/>
                    <a:pt x="859" y="1115"/>
                    <a:pt x="859" y="1115"/>
                  </a:cubicBezTo>
                  <a:cubicBezTo>
                    <a:pt x="859" y="1116"/>
                    <a:pt x="859" y="1116"/>
                    <a:pt x="859" y="1116"/>
                  </a:cubicBezTo>
                  <a:close/>
                  <a:moveTo>
                    <a:pt x="834" y="1131"/>
                  </a:moveTo>
                  <a:cubicBezTo>
                    <a:pt x="833" y="1133"/>
                    <a:pt x="833" y="1133"/>
                    <a:pt x="833" y="1133"/>
                  </a:cubicBezTo>
                  <a:cubicBezTo>
                    <a:pt x="833" y="1132"/>
                    <a:pt x="833" y="1132"/>
                    <a:pt x="833" y="1132"/>
                  </a:cubicBezTo>
                  <a:cubicBezTo>
                    <a:pt x="833" y="1131"/>
                    <a:pt x="833" y="1131"/>
                    <a:pt x="833" y="1131"/>
                  </a:cubicBezTo>
                  <a:lnTo>
                    <a:pt x="834" y="1131"/>
                  </a:lnTo>
                  <a:close/>
                  <a:moveTo>
                    <a:pt x="832" y="1139"/>
                  </a:moveTo>
                  <a:cubicBezTo>
                    <a:pt x="831" y="1139"/>
                    <a:pt x="831" y="1139"/>
                    <a:pt x="831" y="1139"/>
                  </a:cubicBezTo>
                  <a:cubicBezTo>
                    <a:pt x="829" y="1139"/>
                    <a:pt x="829" y="1139"/>
                    <a:pt x="829" y="1139"/>
                  </a:cubicBezTo>
                  <a:cubicBezTo>
                    <a:pt x="827" y="1139"/>
                    <a:pt x="827" y="1139"/>
                    <a:pt x="827" y="1139"/>
                  </a:cubicBezTo>
                  <a:cubicBezTo>
                    <a:pt x="827" y="1139"/>
                    <a:pt x="827" y="1139"/>
                    <a:pt x="827" y="1139"/>
                  </a:cubicBezTo>
                  <a:cubicBezTo>
                    <a:pt x="828" y="1138"/>
                    <a:pt x="828" y="1138"/>
                    <a:pt x="828" y="1138"/>
                  </a:cubicBezTo>
                  <a:cubicBezTo>
                    <a:pt x="830" y="1138"/>
                    <a:pt x="830" y="1138"/>
                    <a:pt x="830" y="1138"/>
                  </a:cubicBezTo>
                  <a:cubicBezTo>
                    <a:pt x="832" y="1138"/>
                    <a:pt x="832" y="1138"/>
                    <a:pt x="832" y="1138"/>
                  </a:cubicBezTo>
                  <a:cubicBezTo>
                    <a:pt x="832" y="1138"/>
                    <a:pt x="832" y="1138"/>
                    <a:pt x="832" y="1138"/>
                  </a:cubicBezTo>
                  <a:lnTo>
                    <a:pt x="832" y="1139"/>
                  </a:lnTo>
                  <a:close/>
                  <a:moveTo>
                    <a:pt x="750" y="1052"/>
                  </a:moveTo>
                  <a:cubicBezTo>
                    <a:pt x="750" y="1052"/>
                    <a:pt x="750" y="1052"/>
                    <a:pt x="750" y="1052"/>
                  </a:cubicBezTo>
                  <a:cubicBezTo>
                    <a:pt x="749" y="1054"/>
                    <a:pt x="749" y="1054"/>
                    <a:pt x="749" y="1054"/>
                  </a:cubicBezTo>
                  <a:cubicBezTo>
                    <a:pt x="749" y="1055"/>
                    <a:pt x="749" y="1055"/>
                    <a:pt x="749" y="1055"/>
                  </a:cubicBezTo>
                  <a:cubicBezTo>
                    <a:pt x="750" y="1056"/>
                    <a:pt x="750" y="1056"/>
                    <a:pt x="750" y="1056"/>
                  </a:cubicBezTo>
                  <a:cubicBezTo>
                    <a:pt x="750" y="1057"/>
                    <a:pt x="750" y="1057"/>
                    <a:pt x="750" y="1057"/>
                  </a:cubicBezTo>
                  <a:cubicBezTo>
                    <a:pt x="749" y="1058"/>
                    <a:pt x="749" y="1058"/>
                    <a:pt x="749" y="1058"/>
                  </a:cubicBezTo>
                  <a:cubicBezTo>
                    <a:pt x="749" y="1059"/>
                    <a:pt x="749" y="1059"/>
                    <a:pt x="749" y="1059"/>
                  </a:cubicBezTo>
                  <a:cubicBezTo>
                    <a:pt x="749" y="1059"/>
                    <a:pt x="749" y="1059"/>
                    <a:pt x="749" y="1059"/>
                  </a:cubicBezTo>
                  <a:cubicBezTo>
                    <a:pt x="749" y="1060"/>
                    <a:pt x="749" y="1060"/>
                    <a:pt x="749" y="1060"/>
                  </a:cubicBezTo>
                  <a:cubicBezTo>
                    <a:pt x="749" y="1061"/>
                    <a:pt x="749" y="1061"/>
                    <a:pt x="749" y="1061"/>
                  </a:cubicBezTo>
                  <a:cubicBezTo>
                    <a:pt x="750" y="1062"/>
                    <a:pt x="750" y="1062"/>
                    <a:pt x="750" y="1062"/>
                  </a:cubicBezTo>
                  <a:cubicBezTo>
                    <a:pt x="750" y="1063"/>
                    <a:pt x="750" y="1063"/>
                    <a:pt x="750" y="1063"/>
                  </a:cubicBezTo>
                  <a:cubicBezTo>
                    <a:pt x="750" y="1063"/>
                    <a:pt x="750" y="1063"/>
                    <a:pt x="750" y="1063"/>
                  </a:cubicBezTo>
                  <a:cubicBezTo>
                    <a:pt x="749" y="1063"/>
                    <a:pt x="749" y="1063"/>
                    <a:pt x="749" y="1063"/>
                  </a:cubicBezTo>
                  <a:cubicBezTo>
                    <a:pt x="749" y="1064"/>
                    <a:pt x="749" y="1064"/>
                    <a:pt x="749" y="1064"/>
                  </a:cubicBezTo>
                  <a:cubicBezTo>
                    <a:pt x="749" y="1063"/>
                    <a:pt x="749" y="1063"/>
                    <a:pt x="749" y="1063"/>
                  </a:cubicBezTo>
                  <a:cubicBezTo>
                    <a:pt x="748" y="1062"/>
                    <a:pt x="748" y="1062"/>
                    <a:pt x="748" y="1062"/>
                  </a:cubicBezTo>
                  <a:cubicBezTo>
                    <a:pt x="748" y="1061"/>
                    <a:pt x="748" y="1061"/>
                    <a:pt x="748" y="1061"/>
                  </a:cubicBezTo>
                  <a:cubicBezTo>
                    <a:pt x="748" y="1060"/>
                    <a:pt x="748" y="1060"/>
                    <a:pt x="748" y="1060"/>
                  </a:cubicBezTo>
                  <a:cubicBezTo>
                    <a:pt x="748" y="1060"/>
                    <a:pt x="748" y="1060"/>
                    <a:pt x="748" y="1060"/>
                  </a:cubicBezTo>
                  <a:cubicBezTo>
                    <a:pt x="748" y="1060"/>
                    <a:pt x="748" y="1060"/>
                    <a:pt x="748" y="1060"/>
                  </a:cubicBezTo>
                  <a:cubicBezTo>
                    <a:pt x="749" y="1058"/>
                    <a:pt x="749" y="1058"/>
                    <a:pt x="749" y="1058"/>
                  </a:cubicBezTo>
                  <a:cubicBezTo>
                    <a:pt x="749" y="1058"/>
                    <a:pt x="749" y="1058"/>
                    <a:pt x="749" y="1058"/>
                  </a:cubicBezTo>
                  <a:cubicBezTo>
                    <a:pt x="749" y="1056"/>
                    <a:pt x="749" y="1056"/>
                    <a:pt x="749" y="1056"/>
                  </a:cubicBezTo>
                  <a:cubicBezTo>
                    <a:pt x="749" y="1056"/>
                    <a:pt x="749" y="1056"/>
                    <a:pt x="749" y="1056"/>
                  </a:cubicBezTo>
                  <a:cubicBezTo>
                    <a:pt x="749" y="1054"/>
                    <a:pt x="749" y="1054"/>
                    <a:pt x="749" y="1054"/>
                  </a:cubicBezTo>
                  <a:cubicBezTo>
                    <a:pt x="749" y="1053"/>
                    <a:pt x="749" y="1053"/>
                    <a:pt x="749" y="1053"/>
                  </a:cubicBezTo>
                  <a:cubicBezTo>
                    <a:pt x="749" y="1050"/>
                    <a:pt x="749" y="1050"/>
                    <a:pt x="749" y="1050"/>
                  </a:cubicBezTo>
                  <a:cubicBezTo>
                    <a:pt x="749" y="1050"/>
                    <a:pt x="749" y="1050"/>
                    <a:pt x="749" y="1050"/>
                  </a:cubicBezTo>
                  <a:cubicBezTo>
                    <a:pt x="749" y="1049"/>
                    <a:pt x="749" y="1049"/>
                    <a:pt x="749" y="1049"/>
                  </a:cubicBezTo>
                  <a:cubicBezTo>
                    <a:pt x="750" y="1049"/>
                    <a:pt x="750" y="1049"/>
                    <a:pt x="750" y="1049"/>
                  </a:cubicBezTo>
                  <a:cubicBezTo>
                    <a:pt x="750" y="1049"/>
                    <a:pt x="750" y="1049"/>
                    <a:pt x="750" y="1049"/>
                  </a:cubicBezTo>
                  <a:cubicBezTo>
                    <a:pt x="750" y="1049"/>
                    <a:pt x="750" y="1049"/>
                    <a:pt x="750" y="1049"/>
                  </a:cubicBezTo>
                  <a:cubicBezTo>
                    <a:pt x="750" y="1049"/>
                    <a:pt x="750" y="1049"/>
                    <a:pt x="750" y="1049"/>
                  </a:cubicBezTo>
                  <a:lnTo>
                    <a:pt x="750" y="1052"/>
                  </a:lnTo>
                  <a:close/>
                  <a:moveTo>
                    <a:pt x="737" y="987"/>
                  </a:moveTo>
                  <a:cubicBezTo>
                    <a:pt x="735" y="987"/>
                    <a:pt x="735" y="987"/>
                    <a:pt x="735" y="987"/>
                  </a:cubicBezTo>
                  <a:cubicBezTo>
                    <a:pt x="731" y="987"/>
                    <a:pt x="731" y="987"/>
                    <a:pt x="731" y="987"/>
                  </a:cubicBezTo>
                  <a:cubicBezTo>
                    <a:pt x="730" y="987"/>
                    <a:pt x="730" y="987"/>
                    <a:pt x="730" y="987"/>
                  </a:cubicBezTo>
                  <a:cubicBezTo>
                    <a:pt x="728" y="987"/>
                    <a:pt x="728" y="987"/>
                    <a:pt x="728" y="987"/>
                  </a:cubicBezTo>
                  <a:cubicBezTo>
                    <a:pt x="728" y="987"/>
                    <a:pt x="728" y="987"/>
                    <a:pt x="728" y="987"/>
                  </a:cubicBezTo>
                  <a:cubicBezTo>
                    <a:pt x="727" y="987"/>
                    <a:pt x="727" y="987"/>
                    <a:pt x="727" y="987"/>
                  </a:cubicBezTo>
                  <a:cubicBezTo>
                    <a:pt x="728" y="987"/>
                    <a:pt x="728" y="987"/>
                    <a:pt x="728" y="987"/>
                  </a:cubicBezTo>
                  <a:cubicBezTo>
                    <a:pt x="728" y="987"/>
                    <a:pt x="728" y="987"/>
                    <a:pt x="728" y="987"/>
                  </a:cubicBezTo>
                  <a:cubicBezTo>
                    <a:pt x="729" y="987"/>
                    <a:pt x="729" y="987"/>
                    <a:pt x="729" y="987"/>
                  </a:cubicBezTo>
                  <a:cubicBezTo>
                    <a:pt x="731" y="987"/>
                    <a:pt x="731" y="987"/>
                    <a:pt x="731" y="987"/>
                  </a:cubicBezTo>
                  <a:cubicBezTo>
                    <a:pt x="732" y="987"/>
                    <a:pt x="732" y="987"/>
                    <a:pt x="732" y="987"/>
                  </a:cubicBezTo>
                  <a:cubicBezTo>
                    <a:pt x="736" y="987"/>
                    <a:pt x="736" y="987"/>
                    <a:pt x="736" y="987"/>
                  </a:cubicBezTo>
                  <a:cubicBezTo>
                    <a:pt x="737" y="987"/>
                    <a:pt x="737" y="987"/>
                    <a:pt x="737" y="987"/>
                  </a:cubicBezTo>
                  <a:cubicBezTo>
                    <a:pt x="738" y="987"/>
                    <a:pt x="738" y="987"/>
                    <a:pt x="738" y="987"/>
                  </a:cubicBezTo>
                  <a:cubicBezTo>
                    <a:pt x="739" y="987"/>
                    <a:pt x="739" y="987"/>
                    <a:pt x="739" y="987"/>
                  </a:cubicBezTo>
                  <a:cubicBezTo>
                    <a:pt x="740" y="988"/>
                    <a:pt x="740" y="988"/>
                    <a:pt x="740" y="988"/>
                  </a:cubicBezTo>
                  <a:cubicBezTo>
                    <a:pt x="740" y="988"/>
                    <a:pt x="740" y="988"/>
                    <a:pt x="740" y="988"/>
                  </a:cubicBezTo>
                  <a:cubicBezTo>
                    <a:pt x="739" y="988"/>
                    <a:pt x="739" y="988"/>
                    <a:pt x="739" y="988"/>
                  </a:cubicBezTo>
                  <a:cubicBezTo>
                    <a:pt x="738" y="988"/>
                    <a:pt x="738" y="988"/>
                    <a:pt x="738" y="988"/>
                  </a:cubicBezTo>
                  <a:cubicBezTo>
                    <a:pt x="737" y="987"/>
                    <a:pt x="737" y="987"/>
                    <a:pt x="737" y="987"/>
                  </a:cubicBezTo>
                  <a:close/>
                  <a:moveTo>
                    <a:pt x="642" y="831"/>
                  </a:moveTo>
                  <a:cubicBezTo>
                    <a:pt x="642" y="831"/>
                    <a:pt x="642" y="831"/>
                    <a:pt x="642" y="831"/>
                  </a:cubicBezTo>
                  <a:cubicBezTo>
                    <a:pt x="643" y="832"/>
                    <a:pt x="643" y="832"/>
                    <a:pt x="643" y="832"/>
                  </a:cubicBezTo>
                  <a:cubicBezTo>
                    <a:pt x="643" y="832"/>
                    <a:pt x="643" y="832"/>
                    <a:pt x="643" y="832"/>
                  </a:cubicBezTo>
                  <a:cubicBezTo>
                    <a:pt x="644" y="833"/>
                    <a:pt x="644" y="833"/>
                    <a:pt x="644" y="833"/>
                  </a:cubicBezTo>
                  <a:cubicBezTo>
                    <a:pt x="644" y="833"/>
                    <a:pt x="644" y="833"/>
                    <a:pt x="644" y="833"/>
                  </a:cubicBezTo>
                  <a:cubicBezTo>
                    <a:pt x="644" y="834"/>
                    <a:pt x="644" y="834"/>
                    <a:pt x="644" y="834"/>
                  </a:cubicBezTo>
                  <a:cubicBezTo>
                    <a:pt x="644" y="834"/>
                    <a:pt x="644" y="834"/>
                    <a:pt x="644" y="834"/>
                  </a:cubicBezTo>
                  <a:cubicBezTo>
                    <a:pt x="648" y="836"/>
                    <a:pt x="648" y="836"/>
                    <a:pt x="648" y="836"/>
                  </a:cubicBezTo>
                  <a:cubicBezTo>
                    <a:pt x="649" y="837"/>
                    <a:pt x="649" y="837"/>
                    <a:pt x="649" y="837"/>
                  </a:cubicBezTo>
                  <a:cubicBezTo>
                    <a:pt x="650" y="837"/>
                    <a:pt x="650" y="837"/>
                    <a:pt x="650" y="837"/>
                  </a:cubicBezTo>
                  <a:cubicBezTo>
                    <a:pt x="650" y="837"/>
                    <a:pt x="650" y="837"/>
                    <a:pt x="650" y="837"/>
                  </a:cubicBezTo>
                  <a:cubicBezTo>
                    <a:pt x="650" y="838"/>
                    <a:pt x="650" y="838"/>
                    <a:pt x="650" y="838"/>
                  </a:cubicBezTo>
                  <a:cubicBezTo>
                    <a:pt x="650" y="838"/>
                    <a:pt x="650" y="838"/>
                    <a:pt x="650" y="838"/>
                  </a:cubicBezTo>
                  <a:cubicBezTo>
                    <a:pt x="650" y="838"/>
                    <a:pt x="650" y="838"/>
                    <a:pt x="650" y="838"/>
                  </a:cubicBezTo>
                  <a:cubicBezTo>
                    <a:pt x="650" y="837"/>
                    <a:pt x="650" y="837"/>
                    <a:pt x="650" y="837"/>
                  </a:cubicBezTo>
                  <a:cubicBezTo>
                    <a:pt x="649" y="837"/>
                    <a:pt x="649" y="837"/>
                    <a:pt x="649" y="837"/>
                  </a:cubicBezTo>
                  <a:cubicBezTo>
                    <a:pt x="648" y="837"/>
                    <a:pt x="648" y="837"/>
                    <a:pt x="648" y="837"/>
                  </a:cubicBezTo>
                  <a:cubicBezTo>
                    <a:pt x="644" y="835"/>
                    <a:pt x="644" y="835"/>
                    <a:pt x="644" y="835"/>
                  </a:cubicBezTo>
                  <a:cubicBezTo>
                    <a:pt x="644" y="834"/>
                    <a:pt x="644" y="834"/>
                    <a:pt x="644" y="834"/>
                  </a:cubicBezTo>
                  <a:cubicBezTo>
                    <a:pt x="644" y="834"/>
                    <a:pt x="644" y="834"/>
                    <a:pt x="644" y="834"/>
                  </a:cubicBezTo>
                  <a:cubicBezTo>
                    <a:pt x="644" y="833"/>
                    <a:pt x="644" y="833"/>
                    <a:pt x="644" y="833"/>
                  </a:cubicBezTo>
                  <a:cubicBezTo>
                    <a:pt x="643" y="833"/>
                    <a:pt x="643" y="833"/>
                    <a:pt x="643" y="833"/>
                  </a:cubicBezTo>
                  <a:cubicBezTo>
                    <a:pt x="643" y="833"/>
                    <a:pt x="643" y="833"/>
                    <a:pt x="643" y="833"/>
                  </a:cubicBezTo>
                  <a:cubicBezTo>
                    <a:pt x="642" y="832"/>
                    <a:pt x="642" y="832"/>
                    <a:pt x="642" y="832"/>
                  </a:cubicBezTo>
                  <a:cubicBezTo>
                    <a:pt x="642" y="832"/>
                    <a:pt x="642" y="832"/>
                    <a:pt x="642" y="832"/>
                  </a:cubicBezTo>
                  <a:cubicBezTo>
                    <a:pt x="642" y="831"/>
                    <a:pt x="642" y="831"/>
                    <a:pt x="642" y="831"/>
                  </a:cubicBezTo>
                  <a:cubicBezTo>
                    <a:pt x="642" y="830"/>
                    <a:pt x="642" y="830"/>
                    <a:pt x="642" y="830"/>
                  </a:cubicBezTo>
                  <a:cubicBezTo>
                    <a:pt x="642" y="830"/>
                    <a:pt x="642" y="830"/>
                    <a:pt x="642" y="830"/>
                  </a:cubicBezTo>
                  <a:cubicBezTo>
                    <a:pt x="642" y="830"/>
                    <a:pt x="642" y="830"/>
                    <a:pt x="642" y="830"/>
                  </a:cubicBezTo>
                  <a:lnTo>
                    <a:pt x="642" y="831"/>
                  </a:lnTo>
                  <a:close/>
                  <a:moveTo>
                    <a:pt x="643" y="825"/>
                  </a:moveTo>
                  <a:cubicBezTo>
                    <a:pt x="643" y="825"/>
                    <a:pt x="643" y="825"/>
                    <a:pt x="643" y="825"/>
                  </a:cubicBezTo>
                  <a:cubicBezTo>
                    <a:pt x="643" y="825"/>
                    <a:pt x="643" y="825"/>
                    <a:pt x="643" y="825"/>
                  </a:cubicBezTo>
                  <a:cubicBezTo>
                    <a:pt x="643" y="825"/>
                    <a:pt x="643" y="825"/>
                    <a:pt x="643" y="825"/>
                  </a:cubicBezTo>
                  <a:cubicBezTo>
                    <a:pt x="644" y="825"/>
                    <a:pt x="644" y="825"/>
                    <a:pt x="644" y="825"/>
                  </a:cubicBezTo>
                  <a:cubicBezTo>
                    <a:pt x="644" y="825"/>
                    <a:pt x="644" y="825"/>
                    <a:pt x="644" y="825"/>
                  </a:cubicBezTo>
                  <a:cubicBezTo>
                    <a:pt x="643" y="825"/>
                    <a:pt x="643" y="825"/>
                    <a:pt x="643" y="825"/>
                  </a:cubicBezTo>
                  <a:close/>
                  <a:moveTo>
                    <a:pt x="844" y="924"/>
                  </a:moveTo>
                  <a:cubicBezTo>
                    <a:pt x="845" y="924"/>
                    <a:pt x="845" y="924"/>
                    <a:pt x="845" y="924"/>
                  </a:cubicBezTo>
                  <a:cubicBezTo>
                    <a:pt x="845" y="924"/>
                    <a:pt x="845" y="924"/>
                    <a:pt x="845" y="924"/>
                  </a:cubicBezTo>
                  <a:cubicBezTo>
                    <a:pt x="847" y="924"/>
                    <a:pt x="847" y="924"/>
                    <a:pt x="847" y="924"/>
                  </a:cubicBezTo>
                  <a:cubicBezTo>
                    <a:pt x="851" y="924"/>
                    <a:pt x="851" y="924"/>
                    <a:pt x="851" y="924"/>
                  </a:cubicBezTo>
                  <a:cubicBezTo>
                    <a:pt x="851" y="924"/>
                    <a:pt x="851" y="924"/>
                    <a:pt x="851" y="924"/>
                  </a:cubicBezTo>
                  <a:cubicBezTo>
                    <a:pt x="853" y="923"/>
                    <a:pt x="853" y="923"/>
                    <a:pt x="853" y="923"/>
                  </a:cubicBezTo>
                  <a:cubicBezTo>
                    <a:pt x="857" y="923"/>
                    <a:pt x="857" y="923"/>
                    <a:pt x="857" y="923"/>
                  </a:cubicBezTo>
                  <a:cubicBezTo>
                    <a:pt x="858" y="922"/>
                    <a:pt x="858" y="922"/>
                    <a:pt x="858" y="922"/>
                  </a:cubicBezTo>
                  <a:cubicBezTo>
                    <a:pt x="858" y="922"/>
                    <a:pt x="858" y="922"/>
                    <a:pt x="858" y="922"/>
                  </a:cubicBezTo>
                  <a:cubicBezTo>
                    <a:pt x="858" y="922"/>
                    <a:pt x="858" y="922"/>
                    <a:pt x="858" y="922"/>
                  </a:cubicBezTo>
                  <a:cubicBezTo>
                    <a:pt x="858" y="921"/>
                    <a:pt x="858" y="921"/>
                    <a:pt x="858" y="921"/>
                  </a:cubicBezTo>
                  <a:cubicBezTo>
                    <a:pt x="858" y="921"/>
                    <a:pt x="858" y="921"/>
                    <a:pt x="858" y="921"/>
                  </a:cubicBezTo>
                  <a:cubicBezTo>
                    <a:pt x="858" y="921"/>
                    <a:pt x="858" y="921"/>
                    <a:pt x="858" y="921"/>
                  </a:cubicBezTo>
                  <a:cubicBezTo>
                    <a:pt x="859" y="920"/>
                    <a:pt x="859" y="920"/>
                    <a:pt x="859" y="920"/>
                  </a:cubicBezTo>
                  <a:cubicBezTo>
                    <a:pt x="859" y="919"/>
                    <a:pt x="859" y="919"/>
                    <a:pt x="859" y="919"/>
                  </a:cubicBezTo>
                  <a:cubicBezTo>
                    <a:pt x="859" y="918"/>
                    <a:pt x="859" y="918"/>
                    <a:pt x="859" y="918"/>
                  </a:cubicBezTo>
                  <a:cubicBezTo>
                    <a:pt x="860" y="917"/>
                    <a:pt x="860" y="917"/>
                    <a:pt x="860" y="917"/>
                  </a:cubicBezTo>
                  <a:cubicBezTo>
                    <a:pt x="862" y="917"/>
                    <a:pt x="862" y="917"/>
                    <a:pt x="862" y="917"/>
                  </a:cubicBezTo>
                  <a:cubicBezTo>
                    <a:pt x="863" y="917"/>
                    <a:pt x="863" y="917"/>
                    <a:pt x="863" y="917"/>
                  </a:cubicBezTo>
                  <a:cubicBezTo>
                    <a:pt x="863" y="917"/>
                    <a:pt x="863" y="917"/>
                    <a:pt x="863" y="917"/>
                  </a:cubicBezTo>
                  <a:cubicBezTo>
                    <a:pt x="863" y="917"/>
                    <a:pt x="863" y="917"/>
                    <a:pt x="863" y="917"/>
                  </a:cubicBezTo>
                  <a:cubicBezTo>
                    <a:pt x="864" y="918"/>
                    <a:pt x="864" y="918"/>
                    <a:pt x="864" y="918"/>
                  </a:cubicBezTo>
                  <a:cubicBezTo>
                    <a:pt x="865" y="918"/>
                    <a:pt x="865" y="918"/>
                    <a:pt x="865" y="918"/>
                  </a:cubicBezTo>
                  <a:cubicBezTo>
                    <a:pt x="866" y="918"/>
                    <a:pt x="866" y="918"/>
                    <a:pt x="866" y="918"/>
                  </a:cubicBezTo>
                  <a:cubicBezTo>
                    <a:pt x="867" y="918"/>
                    <a:pt x="867" y="918"/>
                    <a:pt x="867" y="918"/>
                  </a:cubicBezTo>
                  <a:cubicBezTo>
                    <a:pt x="867" y="919"/>
                    <a:pt x="867" y="919"/>
                    <a:pt x="867" y="919"/>
                  </a:cubicBezTo>
                  <a:cubicBezTo>
                    <a:pt x="867" y="919"/>
                    <a:pt x="867" y="919"/>
                    <a:pt x="867" y="919"/>
                  </a:cubicBezTo>
                  <a:cubicBezTo>
                    <a:pt x="867" y="919"/>
                    <a:pt x="867" y="919"/>
                    <a:pt x="867" y="919"/>
                  </a:cubicBezTo>
                  <a:cubicBezTo>
                    <a:pt x="867" y="919"/>
                    <a:pt x="867" y="919"/>
                    <a:pt x="867" y="919"/>
                  </a:cubicBezTo>
                  <a:cubicBezTo>
                    <a:pt x="866" y="920"/>
                    <a:pt x="866" y="920"/>
                    <a:pt x="866" y="920"/>
                  </a:cubicBezTo>
                  <a:cubicBezTo>
                    <a:pt x="865" y="919"/>
                    <a:pt x="865" y="919"/>
                    <a:pt x="865" y="919"/>
                  </a:cubicBezTo>
                  <a:cubicBezTo>
                    <a:pt x="864" y="919"/>
                    <a:pt x="864" y="919"/>
                    <a:pt x="864" y="919"/>
                  </a:cubicBezTo>
                  <a:cubicBezTo>
                    <a:pt x="864" y="918"/>
                    <a:pt x="864" y="918"/>
                    <a:pt x="864" y="918"/>
                  </a:cubicBezTo>
                  <a:cubicBezTo>
                    <a:pt x="864" y="918"/>
                    <a:pt x="864" y="918"/>
                    <a:pt x="864" y="918"/>
                  </a:cubicBezTo>
                  <a:cubicBezTo>
                    <a:pt x="863" y="918"/>
                    <a:pt x="863" y="918"/>
                    <a:pt x="863" y="918"/>
                  </a:cubicBezTo>
                  <a:cubicBezTo>
                    <a:pt x="861" y="919"/>
                    <a:pt x="861" y="919"/>
                    <a:pt x="861" y="919"/>
                  </a:cubicBezTo>
                  <a:cubicBezTo>
                    <a:pt x="860" y="919"/>
                    <a:pt x="860" y="919"/>
                    <a:pt x="860" y="919"/>
                  </a:cubicBezTo>
                  <a:cubicBezTo>
                    <a:pt x="860" y="920"/>
                    <a:pt x="860" y="920"/>
                    <a:pt x="860" y="920"/>
                  </a:cubicBezTo>
                  <a:cubicBezTo>
                    <a:pt x="860" y="922"/>
                    <a:pt x="860" y="922"/>
                    <a:pt x="860" y="922"/>
                  </a:cubicBezTo>
                  <a:cubicBezTo>
                    <a:pt x="859" y="922"/>
                    <a:pt x="859" y="922"/>
                    <a:pt x="859" y="922"/>
                  </a:cubicBezTo>
                  <a:cubicBezTo>
                    <a:pt x="859" y="922"/>
                    <a:pt x="859" y="922"/>
                    <a:pt x="859" y="922"/>
                  </a:cubicBezTo>
                  <a:cubicBezTo>
                    <a:pt x="859" y="923"/>
                    <a:pt x="859" y="923"/>
                    <a:pt x="859" y="923"/>
                  </a:cubicBezTo>
                  <a:cubicBezTo>
                    <a:pt x="859" y="923"/>
                    <a:pt x="859" y="923"/>
                    <a:pt x="859" y="923"/>
                  </a:cubicBezTo>
                  <a:cubicBezTo>
                    <a:pt x="859" y="923"/>
                    <a:pt x="859" y="923"/>
                    <a:pt x="859" y="923"/>
                  </a:cubicBezTo>
                  <a:cubicBezTo>
                    <a:pt x="859" y="923"/>
                    <a:pt x="859" y="923"/>
                    <a:pt x="859" y="923"/>
                  </a:cubicBezTo>
                  <a:cubicBezTo>
                    <a:pt x="858" y="924"/>
                    <a:pt x="858" y="924"/>
                    <a:pt x="858" y="924"/>
                  </a:cubicBezTo>
                  <a:cubicBezTo>
                    <a:pt x="854" y="924"/>
                    <a:pt x="854" y="924"/>
                    <a:pt x="854" y="924"/>
                  </a:cubicBezTo>
                  <a:cubicBezTo>
                    <a:pt x="852" y="926"/>
                    <a:pt x="852" y="926"/>
                    <a:pt x="852" y="926"/>
                  </a:cubicBezTo>
                  <a:cubicBezTo>
                    <a:pt x="852" y="926"/>
                    <a:pt x="852" y="926"/>
                    <a:pt x="852" y="926"/>
                  </a:cubicBezTo>
                  <a:cubicBezTo>
                    <a:pt x="848" y="925"/>
                    <a:pt x="848" y="925"/>
                    <a:pt x="848" y="925"/>
                  </a:cubicBezTo>
                  <a:cubicBezTo>
                    <a:pt x="846" y="925"/>
                    <a:pt x="846" y="925"/>
                    <a:pt x="846" y="925"/>
                  </a:cubicBezTo>
                  <a:cubicBezTo>
                    <a:pt x="846" y="925"/>
                    <a:pt x="846" y="925"/>
                    <a:pt x="846" y="925"/>
                  </a:cubicBezTo>
                  <a:cubicBezTo>
                    <a:pt x="845" y="925"/>
                    <a:pt x="845" y="925"/>
                    <a:pt x="845" y="925"/>
                  </a:cubicBezTo>
                  <a:cubicBezTo>
                    <a:pt x="845" y="926"/>
                    <a:pt x="845" y="926"/>
                    <a:pt x="845" y="926"/>
                  </a:cubicBezTo>
                  <a:cubicBezTo>
                    <a:pt x="843" y="926"/>
                    <a:pt x="843" y="926"/>
                    <a:pt x="843" y="926"/>
                  </a:cubicBezTo>
                  <a:cubicBezTo>
                    <a:pt x="840" y="927"/>
                    <a:pt x="840" y="927"/>
                    <a:pt x="840" y="927"/>
                  </a:cubicBezTo>
                  <a:cubicBezTo>
                    <a:pt x="840" y="927"/>
                    <a:pt x="840" y="927"/>
                    <a:pt x="840" y="927"/>
                  </a:cubicBezTo>
                  <a:cubicBezTo>
                    <a:pt x="839" y="929"/>
                    <a:pt x="839" y="929"/>
                    <a:pt x="839" y="929"/>
                  </a:cubicBezTo>
                  <a:cubicBezTo>
                    <a:pt x="839" y="929"/>
                    <a:pt x="839" y="929"/>
                    <a:pt x="839" y="929"/>
                  </a:cubicBezTo>
                  <a:cubicBezTo>
                    <a:pt x="838" y="929"/>
                    <a:pt x="838" y="929"/>
                    <a:pt x="838" y="929"/>
                  </a:cubicBezTo>
                  <a:cubicBezTo>
                    <a:pt x="838" y="929"/>
                    <a:pt x="838" y="929"/>
                    <a:pt x="838" y="929"/>
                  </a:cubicBezTo>
                  <a:cubicBezTo>
                    <a:pt x="837" y="930"/>
                    <a:pt x="837" y="930"/>
                    <a:pt x="837" y="930"/>
                  </a:cubicBezTo>
                  <a:cubicBezTo>
                    <a:pt x="837" y="930"/>
                    <a:pt x="837" y="930"/>
                    <a:pt x="837" y="930"/>
                  </a:cubicBezTo>
                  <a:cubicBezTo>
                    <a:pt x="838" y="930"/>
                    <a:pt x="838" y="930"/>
                    <a:pt x="838" y="930"/>
                  </a:cubicBezTo>
                  <a:cubicBezTo>
                    <a:pt x="838" y="930"/>
                    <a:pt x="838" y="930"/>
                    <a:pt x="838" y="930"/>
                  </a:cubicBezTo>
                  <a:cubicBezTo>
                    <a:pt x="837" y="932"/>
                    <a:pt x="837" y="932"/>
                    <a:pt x="837" y="932"/>
                  </a:cubicBezTo>
                  <a:cubicBezTo>
                    <a:pt x="837" y="933"/>
                    <a:pt x="837" y="933"/>
                    <a:pt x="837" y="933"/>
                  </a:cubicBezTo>
                  <a:cubicBezTo>
                    <a:pt x="838" y="934"/>
                    <a:pt x="838" y="934"/>
                    <a:pt x="838" y="934"/>
                  </a:cubicBezTo>
                  <a:cubicBezTo>
                    <a:pt x="837" y="934"/>
                    <a:pt x="837" y="934"/>
                    <a:pt x="837" y="934"/>
                  </a:cubicBezTo>
                  <a:cubicBezTo>
                    <a:pt x="837" y="933"/>
                    <a:pt x="837" y="933"/>
                    <a:pt x="837" y="933"/>
                  </a:cubicBezTo>
                  <a:cubicBezTo>
                    <a:pt x="836" y="932"/>
                    <a:pt x="836" y="932"/>
                    <a:pt x="836" y="932"/>
                  </a:cubicBezTo>
                  <a:cubicBezTo>
                    <a:pt x="836" y="931"/>
                    <a:pt x="836" y="931"/>
                    <a:pt x="836" y="931"/>
                  </a:cubicBezTo>
                  <a:cubicBezTo>
                    <a:pt x="837" y="929"/>
                    <a:pt x="837" y="929"/>
                    <a:pt x="837" y="929"/>
                  </a:cubicBezTo>
                  <a:cubicBezTo>
                    <a:pt x="837" y="929"/>
                    <a:pt x="837" y="929"/>
                    <a:pt x="837" y="929"/>
                  </a:cubicBezTo>
                  <a:cubicBezTo>
                    <a:pt x="836" y="928"/>
                    <a:pt x="836" y="928"/>
                    <a:pt x="836" y="928"/>
                  </a:cubicBezTo>
                  <a:cubicBezTo>
                    <a:pt x="836" y="928"/>
                    <a:pt x="836" y="928"/>
                    <a:pt x="836" y="928"/>
                  </a:cubicBezTo>
                  <a:cubicBezTo>
                    <a:pt x="837" y="928"/>
                    <a:pt x="837" y="928"/>
                    <a:pt x="837" y="928"/>
                  </a:cubicBezTo>
                  <a:cubicBezTo>
                    <a:pt x="837" y="928"/>
                    <a:pt x="837" y="928"/>
                    <a:pt x="837" y="928"/>
                  </a:cubicBezTo>
                  <a:cubicBezTo>
                    <a:pt x="838" y="928"/>
                    <a:pt x="838" y="928"/>
                    <a:pt x="838" y="928"/>
                  </a:cubicBezTo>
                  <a:cubicBezTo>
                    <a:pt x="838" y="927"/>
                    <a:pt x="838" y="927"/>
                    <a:pt x="838" y="927"/>
                  </a:cubicBezTo>
                  <a:cubicBezTo>
                    <a:pt x="839" y="926"/>
                    <a:pt x="839" y="926"/>
                    <a:pt x="839" y="926"/>
                  </a:cubicBezTo>
                  <a:cubicBezTo>
                    <a:pt x="839" y="925"/>
                    <a:pt x="839" y="925"/>
                    <a:pt x="839" y="925"/>
                  </a:cubicBezTo>
                  <a:cubicBezTo>
                    <a:pt x="842" y="924"/>
                    <a:pt x="842" y="924"/>
                    <a:pt x="842" y="924"/>
                  </a:cubicBezTo>
                  <a:cubicBezTo>
                    <a:pt x="844" y="924"/>
                    <a:pt x="844" y="924"/>
                    <a:pt x="844" y="924"/>
                  </a:cubicBezTo>
                  <a:close/>
                  <a:moveTo>
                    <a:pt x="1073" y="556"/>
                  </a:moveTo>
                  <a:cubicBezTo>
                    <a:pt x="1074" y="556"/>
                    <a:pt x="1074" y="556"/>
                    <a:pt x="1074" y="556"/>
                  </a:cubicBezTo>
                  <a:cubicBezTo>
                    <a:pt x="1075" y="556"/>
                    <a:pt x="1075" y="556"/>
                    <a:pt x="1075" y="556"/>
                  </a:cubicBezTo>
                  <a:cubicBezTo>
                    <a:pt x="1077" y="555"/>
                    <a:pt x="1077" y="555"/>
                    <a:pt x="1077" y="555"/>
                  </a:cubicBezTo>
                  <a:cubicBezTo>
                    <a:pt x="1078" y="555"/>
                    <a:pt x="1078" y="555"/>
                    <a:pt x="1078" y="555"/>
                  </a:cubicBezTo>
                  <a:cubicBezTo>
                    <a:pt x="1077" y="556"/>
                    <a:pt x="1077" y="556"/>
                    <a:pt x="1077" y="556"/>
                  </a:cubicBezTo>
                  <a:cubicBezTo>
                    <a:pt x="1077" y="557"/>
                    <a:pt x="1077" y="557"/>
                    <a:pt x="1077" y="557"/>
                  </a:cubicBezTo>
                  <a:cubicBezTo>
                    <a:pt x="1074" y="558"/>
                    <a:pt x="1074" y="558"/>
                    <a:pt x="1074" y="558"/>
                  </a:cubicBezTo>
                  <a:cubicBezTo>
                    <a:pt x="1074" y="558"/>
                    <a:pt x="1074" y="558"/>
                    <a:pt x="1074" y="558"/>
                  </a:cubicBezTo>
                  <a:cubicBezTo>
                    <a:pt x="1072" y="557"/>
                    <a:pt x="1072" y="557"/>
                    <a:pt x="1072" y="557"/>
                  </a:cubicBezTo>
                  <a:cubicBezTo>
                    <a:pt x="1071" y="557"/>
                    <a:pt x="1071" y="557"/>
                    <a:pt x="1071" y="557"/>
                  </a:cubicBezTo>
                  <a:cubicBezTo>
                    <a:pt x="1071" y="557"/>
                    <a:pt x="1071" y="557"/>
                    <a:pt x="1071" y="557"/>
                  </a:cubicBezTo>
                  <a:cubicBezTo>
                    <a:pt x="1071" y="557"/>
                    <a:pt x="1071" y="557"/>
                    <a:pt x="1071" y="557"/>
                  </a:cubicBezTo>
                  <a:cubicBezTo>
                    <a:pt x="1071" y="556"/>
                    <a:pt x="1071" y="556"/>
                    <a:pt x="1071" y="556"/>
                  </a:cubicBezTo>
                  <a:cubicBezTo>
                    <a:pt x="1072" y="556"/>
                    <a:pt x="1072" y="556"/>
                    <a:pt x="1072" y="556"/>
                  </a:cubicBezTo>
                  <a:lnTo>
                    <a:pt x="1073" y="556"/>
                  </a:lnTo>
                  <a:close/>
                  <a:moveTo>
                    <a:pt x="1100" y="461"/>
                  </a:moveTo>
                  <a:cubicBezTo>
                    <a:pt x="1100" y="462"/>
                    <a:pt x="1100" y="462"/>
                    <a:pt x="1100" y="462"/>
                  </a:cubicBezTo>
                  <a:cubicBezTo>
                    <a:pt x="1100" y="463"/>
                    <a:pt x="1100" y="463"/>
                    <a:pt x="1100" y="463"/>
                  </a:cubicBezTo>
                  <a:cubicBezTo>
                    <a:pt x="1100" y="463"/>
                    <a:pt x="1100" y="463"/>
                    <a:pt x="1100" y="463"/>
                  </a:cubicBezTo>
                  <a:cubicBezTo>
                    <a:pt x="1104" y="465"/>
                    <a:pt x="1104" y="465"/>
                    <a:pt x="1104" y="465"/>
                  </a:cubicBezTo>
                  <a:cubicBezTo>
                    <a:pt x="1105" y="467"/>
                    <a:pt x="1105" y="467"/>
                    <a:pt x="1105" y="467"/>
                  </a:cubicBezTo>
                  <a:cubicBezTo>
                    <a:pt x="1106" y="467"/>
                    <a:pt x="1106" y="467"/>
                    <a:pt x="1106" y="467"/>
                  </a:cubicBezTo>
                  <a:cubicBezTo>
                    <a:pt x="1109" y="469"/>
                    <a:pt x="1109" y="469"/>
                    <a:pt x="1109" y="469"/>
                  </a:cubicBezTo>
                  <a:cubicBezTo>
                    <a:pt x="1109" y="470"/>
                    <a:pt x="1109" y="470"/>
                    <a:pt x="1109" y="470"/>
                  </a:cubicBezTo>
                  <a:cubicBezTo>
                    <a:pt x="1110" y="470"/>
                    <a:pt x="1110" y="470"/>
                    <a:pt x="1110" y="470"/>
                  </a:cubicBezTo>
                  <a:cubicBezTo>
                    <a:pt x="1110" y="472"/>
                    <a:pt x="1110" y="472"/>
                    <a:pt x="1110" y="472"/>
                  </a:cubicBezTo>
                  <a:cubicBezTo>
                    <a:pt x="1110" y="475"/>
                    <a:pt x="1110" y="475"/>
                    <a:pt x="1110" y="475"/>
                  </a:cubicBezTo>
                  <a:cubicBezTo>
                    <a:pt x="1109" y="476"/>
                    <a:pt x="1109" y="476"/>
                    <a:pt x="1109" y="476"/>
                  </a:cubicBezTo>
                  <a:cubicBezTo>
                    <a:pt x="1109" y="478"/>
                    <a:pt x="1109" y="478"/>
                    <a:pt x="1109" y="478"/>
                  </a:cubicBezTo>
                  <a:cubicBezTo>
                    <a:pt x="1108" y="478"/>
                    <a:pt x="1108" y="478"/>
                    <a:pt x="1108" y="478"/>
                  </a:cubicBezTo>
                  <a:cubicBezTo>
                    <a:pt x="1106" y="480"/>
                    <a:pt x="1106" y="480"/>
                    <a:pt x="1106" y="480"/>
                  </a:cubicBezTo>
                  <a:cubicBezTo>
                    <a:pt x="1105" y="481"/>
                    <a:pt x="1105" y="481"/>
                    <a:pt x="1105" y="481"/>
                  </a:cubicBezTo>
                  <a:cubicBezTo>
                    <a:pt x="1105" y="482"/>
                    <a:pt x="1105" y="482"/>
                    <a:pt x="1105" y="482"/>
                  </a:cubicBezTo>
                  <a:cubicBezTo>
                    <a:pt x="1106" y="482"/>
                    <a:pt x="1106" y="482"/>
                    <a:pt x="1106" y="482"/>
                  </a:cubicBezTo>
                  <a:cubicBezTo>
                    <a:pt x="1107" y="483"/>
                    <a:pt x="1107" y="483"/>
                    <a:pt x="1107" y="483"/>
                  </a:cubicBezTo>
                  <a:cubicBezTo>
                    <a:pt x="1107" y="484"/>
                    <a:pt x="1107" y="484"/>
                    <a:pt x="1107" y="484"/>
                  </a:cubicBezTo>
                  <a:cubicBezTo>
                    <a:pt x="1107" y="485"/>
                    <a:pt x="1107" y="485"/>
                    <a:pt x="1107" y="485"/>
                  </a:cubicBezTo>
                  <a:cubicBezTo>
                    <a:pt x="1106" y="486"/>
                    <a:pt x="1106" y="486"/>
                    <a:pt x="1106" y="486"/>
                  </a:cubicBezTo>
                  <a:cubicBezTo>
                    <a:pt x="1106" y="486"/>
                    <a:pt x="1106" y="486"/>
                    <a:pt x="1106" y="486"/>
                  </a:cubicBezTo>
                  <a:cubicBezTo>
                    <a:pt x="1106" y="487"/>
                    <a:pt x="1106" y="487"/>
                    <a:pt x="1106" y="487"/>
                  </a:cubicBezTo>
                  <a:cubicBezTo>
                    <a:pt x="1106" y="488"/>
                    <a:pt x="1106" y="488"/>
                    <a:pt x="1106" y="488"/>
                  </a:cubicBezTo>
                  <a:cubicBezTo>
                    <a:pt x="1106" y="489"/>
                    <a:pt x="1106" y="489"/>
                    <a:pt x="1106" y="489"/>
                  </a:cubicBezTo>
                  <a:cubicBezTo>
                    <a:pt x="1104" y="493"/>
                    <a:pt x="1104" y="493"/>
                    <a:pt x="1104" y="493"/>
                  </a:cubicBezTo>
                  <a:cubicBezTo>
                    <a:pt x="1104" y="494"/>
                    <a:pt x="1104" y="494"/>
                    <a:pt x="1104" y="494"/>
                  </a:cubicBezTo>
                  <a:cubicBezTo>
                    <a:pt x="1102" y="495"/>
                    <a:pt x="1102" y="495"/>
                    <a:pt x="1102" y="495"/>
                  </a:cubicBezTo>
                  <a:cubicBezTo>
                    <a:pt x="1102" y="495"/>
                    <a:pt x="1102" y="495"/>
                    <a:pt x="1102" y="495"/>
                  </a:cubicBezTo>
                  <a:cubicBezTo>
                    <a:pt x="1101" y="494"/>
                    <a:pt x="1101" y="494"/>
                    <a:pt x="1101" y="494"/>
                  </a:cubicBezTo>
                  <a:cubicBezTo>
                    <a:pt x="1102" y="493"/>
                    <a:pt x="1102" y="493"/>
                    <a:pt x="1102" y="493"/>
                  </a:cubicBezTo>
                  <a:cubicBezTo>
                    <a:pt x="1104" y="488"/>
                    <a:pt x="1104" y="488"/>
                    <a:pt x="1104" y="488"/>
                  </a:cubicBezTo>
                  <a:cubicBezTo>
                    <a:pt x="1104" y="488"/>
                    <a:pt x="1104" y="488"/>
                    <a:pt x="1104" y="488"/>
                  </a:cubicBezTo>
                  <a:cubicBezTo>
                    <a:pt x="1104" y="487"/>
                    <a:pt x="1104" y="487"/>
                    <a:pt x="1104" y="487"/>
                  </a:cubicBezTo>
                  <a:cubicBezTo>
                    <a:pt x="1104" y="486"/>
                    <a:pt x="1104" y="486"/>
                    <a:pt x="1104" y="486"/>
                  </a:cubicBezTo>
                  <a:cubicBezTo>
                    <a:pt x="1104" y="485"/>
                    <a:pt x="1104" y="485"/>
                    <a:pt x="1104" y="485"/>
                  </a:cubicBezTo>
                  <a:cubicBezTo>
                    <a:pt x="1105" y="484"/>
                    <a:pt x="1105" y="484"/>
                    <a:pt x="1105" y="484"/>
                  </a:cubicBezTo>
                  <a:cubicBezTo>
                    <a:pt x="1105" y="484"/>
                    <a:pt x="1105" y="484"/>
                    <a:pt x="1105" y="484"/>
                  </a:cubicBezTo>
                  <a:cubicBezTo>
                    <a:pt x="1105" y="482"/>
                    <a:pt x="1105" y="482"/>
                    <a:pt x="1105" y="482"/>
                  </a:cubicBezTo>
                  <a:cubicBezTo>
                    <a:pt x="1104" y="482"/>
                    <a:pt x="1104" y="482"/>
                    <a:pt x="1104" y="482"/>
                  </a:cubicBezTo>
                  <a:cubicBezTo>
                    <a:pt x="1103" y="481"/>
                    <a:pt x="1103" y="481"/>
                    <a:pt x="1103" y="481"/>
                  </a:cubicBezTo>
                  <a:cubicBezTo>
                    <a:pt x="1103" y="480"/>
                    <a:pt x="1103" y="480"/>
                    <a:pt x="1103" y="480"/>
                  </a:cubicBezTo>
                  <a:cubicBezTo>
                    <a:pt x="1104" y="479"/>
                    <a:pt x="1104" y="479"/>
                    <a:pt x="1104" y="479"/>
                  </a:cubicBezTo>
                  <a:cubicBezTo>
                    <a:pt x="1106" y="478"/>
                    <a:pt x="1106" y="478"/>
                    <a:pt x="1106" y="478"/>
                  </a:cubicBezTo>
                  <a:cubicBezTo>
                    <a:pt x="1107" y="477"/>
                    <a:pt x="1107" y="477"/>
                    <a:pt x="1107" y="477"/>
                  </a:cubicBezTo>
                  <a:cubicBezTo>
                    <a:pt x="1108" y="476"/>
                    <a:pt x="1108" y="476"/>
                    <a:pt x="1108" y="476"/>
                  </a:cubicBezTo>
                  <a:cubicBezTo>
                    <a:pt x="1108" y="474"/>
                    <a:pt x="1108" y="474"/>
                    <a:pt x="1108" y="474"/>
                  </a:cubicBezTo>
                  <a:cubicBezTo>
                    <a:pt x="1108" y="471"/>
                    <a:pt x="1108" y="471"/>
                    <a:pt x="1108" y="471"/>
                  </a:cubicBezTo>
                  <a:cubicBezTo>
                    <a:pt x="1108" y="470"/>
                    <a:pt x="1108" y="470"/>
                    <a:pt x="1108" y="470"/>
                  </a:cubicBezTo>
                  <a:cubicBezTo>
                    <a:pt x="1107" y="469"/>
                    <a:pt x="1107" y="469"/>
                    <a:pt x="1107" y="469"/>
                  </a:cubicBezTo>
                  <a:cubicBezTo>
                    <a:pt x="1107" y="469"/>
                    <a:pt x="1107" y="469"/>
                    <a:pt x="1107" y="469"/>
                  </a:cubicBezTo>
                  <a:cubicBezTo>
                    <a:pt x="1104" y="467"/>
                    <a:pt x="1104" y="467"/>
                    <a:pt x="1104" y="467"/>
                  </a:cubicBezTo>
                  <a:cubicBezTo>
                    <a:pt x="1103" y="467"/>
                    <a:pt x="1103" y="467"/>
                    <a:pt x="1103" y="467"/>
                  </a:cubicBezTo>
                  <a:cubicBezTo>
                    <a:pt x="1102" y="465"/>
                    <a:pt x="1102" y="465"/>
                    <a:pt x="1102" y="465"/>
                  </a:cubicBezTo>
                  <a:cubicBezTo>
                    <a:pt x="1099" y="463"/>
                    <a:pt x="1099" y="463"/>
                    <a:pt x="1099" y="463"/>
                  </a:cubicBezTo>
                  <a:cubicBezTo>
                    <a:pt x="1098" y="462"/>
                    <a:pt x="1098" y="462"/>
                    <a:pt x="1098" y="462"/>
                  </a:cubicBezTo>
                  <a:cubicBezTo>
                    <a:pt x="1098" y="461"/>
                    <a:pt x="1098" y="461"/>
                    <a:pt x="1098" y="461"/>
                  </a:cubicBezTo>
                  <a:cubicBezTo>
                    <a:pt x="1098" y="460"/>
                    <a:pt x="1098" y="460"/>
                    <a:pt x="1098" y="460"/>
                  </a:cubicBezTo>
                  <a:cubicBezTo>
                    <a:pt x="1098" y="459"/>
                    <a:pt x="1098" y="459"/>
                    <a:pt x="1098" y="459"/>
                  </a:cubicBezTo>
                  <a:cubicBezTo>
                    <a:pt x="1098" y="457"/>
                    <a:pt x="1098" y="457"/>
                    <a:pt x="1098" y="457"/>
                  </a:cubicBezTo>
                  <a:cubicBezTo>
                    <a:pt x="1100" y="457"/>
                    <a:pt x="1100" y="457"/>
                    <a:pt x="1100" y="457"/>
                  </a:cubicBezTo>
                  <a:cubicBezTo>
                    <a:pt x="1100" y="459"/>
                    <a:pt x="1100" y="459"/>
                    <a:pt x="1100" y="459"/>
                  </a:cubicBezTo>
                  <a:lnTo>
                    <a:pt x="1100" y="461"/>
                  </a:lnTo>
                  <a:close/>
                  <a:moveTo>
                    <a:pt x="1158" y="968"/>
                  </a:moveTo>
                  <a:cubicBezTo>
                    <a:pt x="1158" y="968"/>
                    <a:pt x="1158" y="968"/>
                    <a:pt x="1158" y="968"/>
                  </a:cubicBezTo>
                  <a:cubicBezTo>
                    <a:pt x="1158" y="969"/>
                    <a:pt x="1158" y="969"/>
                    <a:pt x="1158" y="969"/>
                  </a:cubicBezTo>
                  <a:cubicBezTo>
                    <a:pt x="1158" y="969"/>
                    <a:pt x="1158" y="969"/>
                    <a:pt x="1158" y="969"/>
                  </a:cubicBezTo>
                  <a:cubicBezTo>
                    <a:pt x="1157" y="969"/>
                    <a:pt x="1157" y="969"/>
                    <a:pt x="1157" y="969"/>
                  </a:cubicBezTo>
                  <a:cubicBezTo>
                    <a:pt x="1157" y="967"/>
                    <a:pt x="1157" y="967"/>
                    <a:pt x="1157" y="967"/>
                  </a:cubicBezTo>
                  <a:cubicBezTo>
                    <a:pt x="1157" y="967"/>
                    <a:pt x="1157" y="967"/>
                    <a:pt x="1157" y="967"/>
                  </a:cubicBezTo>
                  <a:cubicBezTo>
                    <a:pt x="1157" y="966"/>
                    <a:pt x="1157" y="966"/>
                    <a:pt x="1157" y="966"/>
                  </a:cubicBezTo>
                  <a:cubicBezTo>
                    <a:pt x="1157" y="966"/>
                    <a:pt x="1157" y="966"/>
                    <a:pt x="1157" y="966"/>
                  </a:cubicBezTo>
                  <a:cubicBezTo>
                    <a:pt x="1157" y="966"/>
                    <a:pt x="1157" y="966"/>
                    <a:pt x="1157" y="966"/>
                  </a:cubicBezTo>
                  <a:cubicBezTo>
                    <a:pt x="1158" y="966"/>
                    <a:pt x="1158" y="966"/>
                    <a:pt x="1158" y="966"/>
                  </a:cubicBezTo>
                  <a:cubicBezTo>
                    <a:pt x="1158" y="966"/>
                    <a:pt x="1158" y="966"/>
                    <a:pt x="1158" y="966"/>
                  </a:cubicBezTo>
                  <a:lnTo>
                    <a:pt x="1158" y="968"/>
                  </a:lnTo>
                  <a:close/>
                  <a:moveTo>
                    <a:pt x="1154" y="959"/>
                  </a:moveTo>
                  <a:cubicBezTo>
                    <a:pt x="1153" y="958"/>
                    <a:pt x="1153" y="958"/>
                    <a:pt x="1153" y="958"/>
                  </a:cubicBezTo>
                  <a:cubicBezTo>
                    <a:pt x="1153" y="958"/>
                    <a:pt x="1153" y="958"/>
                    <a:pt x="1153" y="958"/>
                  </a:cubicBezTo>
                  <a:cubicBezTo>
                    <a:pt x="1153" y="958"/>
                    <a:pt x="1153" y="958"/>
                    <a:pt x="1153" y="958"/>
                  </a:cubicBezTo>
                  <a:cubicBezTo>
                    <a:pt x="1153" y="957"/>
                    <a:pt x="1153" y="957"/>
                    <a:pt x="1153" y="957"/>
                  </a:cubicBezTo>
                  <a:cubicBezTo>
                    <a:pt x="1153" y="956"/>
                    <a:pt x="1153" y="956"/>
                    <a:pt x="1153" y="956"/>
                  </a:cubicBezTo>
                  <a:cubicBezTo>
                    <a:pt x="1153" y="956"/>
                    <a:pt x="1153" y="956"/>
                    <a:pt x="1153" y="956"/>
                  </a:cubicBezTo>
                  <a:cubicBezTo>
                    <a:pt x="1152" y="955"/>
                    <a:pt x="1152" y="955"/>
                    <a:pt x="1152" y="955"/>
                  </a:cubicBezTo>
                  <a:cubicBezTo>
                    <a:pt x="1152" y="955"/>
                    <a:pt x="1152" y="955"/>
                    <a:pt x="1152" y="955"/>
                  </a:cubicBezTo>
                  <a:cubicBezTo>
                    <a:pt x="1151" y="955"/>
                    <a:pt x="1151" y="955"/>
                    <a:pt x="1151" y="955"/>
                  </a:cubicBezTo>
                  <a:cubicBezTo>
                    <a:pt x="1151" y="955"/>
                    <a:pt x="1151" y="955"/>
                    <a:pt x="1151" y="955"/>
                  </a:cubicBezTo>
                  <a:cubicBezTo>
                    <a:pt x="1151" y="954"/>
                    <a:pt x="1151" y="954"/>
                    <a:pt x="1151" y="954"/>
                  </a:cubicBezTo>
                  <a:cubicBezTo>
                    <a:pt x="1151" y="954"/>
                    <a:pt x="1151" y="954"/>
                    <a:pt x="1151" y="954"/>
                  </a:cubicBezTo>
                  <a:cubicBezTo>
                    <a:pt x="1150" y="953"/>
                    <a:pt x="1150" y="953"/>
                    <a:pt x="1150" y="953"/>
                  </a:cubicBezTo>
                  <a:cubicBezTo>
                    <a:pt x="1149" y="952"/>
                    <a:pt x="1149" y="952"/>
                    <a:pt x="1149" y="952"/>
                  </a:cubicBezTo>
                  <a:cubicBezTo>
                    <a:pt x="1149" y="952"/>
                    <a:pt x="1149" y="952"/>
                    <a:pt x="1149" y="952"/>
                  </a:cubicBezTo>
                  <a:cubicBezTo>
                    <a:pt x="1149" y="951"/>
                    <a:pt x="1149" y="951"/>
                    <a:pt x="1149" y="951"/>
                  </a:cubicBezTo>
                  <a:cubicBezTo>
                    <a:pt x="1150" y="951"/>
                    <a:pt x="1150" y="951"/>
                    <a:pt x="1150" y="951"/>
                  </a:cubicBezTo>
                  <a:cubicBezTo>
                    <a:pt x="1150" y="951"/>
                    <a:pt x="1150" y="951"/>
                    <a:pt x="1150" y="951"/>
                  </a:cubicBezTo>
                  <a:cubicBezTo>
                    <a:pt x="1151" y="952"/>
                    <a:pt x="1151" y="952"/>
                    <a:pt x="1151" y="952"/>
                  </a:cubicBezTo>
                  <a:cubicBezTo>
                    <a:pt x="1152" y="953"/>
                    <a:pt x="1152" y="953"/>
                    <a:pt x="1152" y="953"/>
                  </a:cubicBezTo>
                  <a:cubicBezTo>
                    <a:pt x="1152" y="953"/>
                    <a:pt x="1152" y="953"/>
                    <a:pt x="1152" y="953"/>
                  </a:cubicBezTo>
                  <a:cubicBezTo>
                    <a:pt x="1152" y="954"/>
                    <a:pt x="1152" y="954"/>
                    <a:pt x="1152" y="954"/>
                  </a:cubicBezTo>
                  <a:cubicBezTo>
                    <a:pt x="1152" y="954"/>
                    <a:pt x="1152" y="954"/>
                    <a:pt x="1152" y="954"/>
                  </a:cubicBezTo>
                  <a:cubicBezTo>
                    <a:pt x="1153" y="955"/>
                    <a:pt x="1153" y="955"/>
                    <a:pt x="1153" y="955"/>
                  </a:cubicBezTo>
                  <a:cubicBezTo>
                    <a:pt x="1153" y="955"/>
                    <a:pt x="1153" y="955"/>
                    <a:pt x="1153" y="955"/>
                  </a:cubicBezTo>
                  <a:cubicBezTo>
                    <a:pt x="1154" y="955"/>
                    <a:pt x="1154" y="955"/>
                    <a:pt x="1154" y="955"/>
                  </a:cubicBezTo>
                  <a:cubicBezTo>
                    <a:pt x="1154" y="956"/>
                    <a:pt x="1154" y="956"/>
                    <a:pt x="1154" y="956"/>
                  </a:cubicBezTo>
                  <a:cubicBezTo>
                    <a:pt x="1154" y="956"/>
                    <a:pt x="1154" y="956"/>
                    <a:pt x="1154" y="956"/>
                  </a:cubicBezTo>
                  <a:cubicBezTo>
                    <a:pt x="1154" y="957"/>
                    <a:pt x="1154" y="957"/>
                    <a:pt x="1154" y="957"/>
                  </a:cubicBezTo>
                  <a:cubicBezTo>
                    <a:pt x="1154" y="957"/>
                    <a:pt x="1154" y="957"/>
                    <a:pt x="1154" y="957"/>
                  </a:cubicBezTo>
                  <a:cubicBezTo>
                    <a:pt x="1154" y="958"/>
                    <a:pt x="1154" y="958"/>
                    <a:pt x="1154" y="958"/>
                  </a:cubicBezTo>
                  <a:cubicBezTo>
                    <a:pt x="1155" y="958"/>
                    <a:pt x="1155" y="958"/>
                    <a:pt x="1155" y="958"/>
                  </a:cubicBezTo>
                  <a:cubicBezTo>
                    <a:pt x="1155" y="958"/>
                    <a:pt x="1155" y="958"/>
                    <a:pt x="1155" y="958"/>
                  </a:cubicBezTo>
                  <a:cubicBezTo>
                    <a:pt x="1156" y="959"/>
                    <a:pt x="1156" y="959"/>
                    <a:pt x="1156" y="959"/>
                  </a:cubicBezTo>
                  <a:cubicBezTo>
                    <a:pt x="1156" y="959"/>
                    <a:pt x="1156" y="959"/>
                    <a:pt x="1156" y="959"/>
                  </a:cubicBezTo>
                  <a:cubicBezTo>
                    <a:pt x="1155" y="959"/>
                    <a:pt x="1155" y="959"/>
                    <a:pt x="1155" y="959"/>
                  </a:cubicBezTo>
                  <a:cubicBezTo>
                    <a:pt x="1155" y="959"/>
                    <a:pt x="1155" y="959"/>
                    <a:pt x="1155" y="959"/>
                  </a:cubicBezTo>
                  <a:cubicBezTo>
                    <a:pt x="1155" y="959"/>
                    <a:pt x="1155" y="959"/>
                    <a:pt x="1155" y="959"/>
                  </a:cubicBezTo>
                  <a:cubicBezTo>
                    <a:pt x="1154" y="959"/>
                    <a:pt x="1154" y="959"/>
                    <a:pt x="1154" y="959"/>
                  </a:cubicBezTo>
                  <a:close/>
                  <a:moveTo>
                    <a:pt x="1146" y="950"/>
                  </a:moveTo>
                  <a:cubicBezTo>
                    <a:pt x="1146" y="948"/>
                    <a:pt x="1146" y="948"/>
                    <a:pt x="1146" y="948"/>
                  </a:cubicBezTo>
                  <a:cubicBezTo>
                    <a:pt x="1146" y="947"/>
                    <a:pt x="1146" y="947"/>
                    <a:pt x="1146" y="947"/>
                  </a:cubicBezTo>
                  <a:cubicBezTo>
                    <a:pt x="1147" y="946"/>
                    <a:pt x="1147" y="946"/>
                    <a:pt x="1147" y="946"/>
                  </a:cubicBezTo>
                  <a:cubicBezTo>
                    <a:pt x="1148" y="945"/>
                    <a:pt x="1148" y="945"/>
                    <a:pt x="1148" y="945"/>
                  </a:cubicBezTo>
                  <a:cubicBezTo>
                    <a:pt x="1148" y="943"/>
                    <a:pt x="1148" y="943"/>
                    <a:pt x="1148" y="943"/>
                  </a:cubicBezTo>
                  <a:cubicBezTo>
                    <a:pt x="1148" y="942"/>
                    <a:pt x="1148" y="942"/>
                    <a:pt x="1148" y="942"/>
                  </a:cubicBezTo>
                  <a:cubicBezTo>
                    <a:pt x="1148" y="940"/>
                    <a:pt x="1148" y="940"/>
                    <a:pt x="1148" y="940"/>
                  </a:cubicBezTo>
                  <a:cubicBezTo>
                    <a:pt x="1149" y="939"/>
                    <a:pt x="1149" y="939"/>
                    <a:pt x="1149" y="939"/>
                  </a:cubicBezTo>
                  <a:cubicBezTo>
                    <a:pt x="1150" y="939"/>
                    <a:pt x="1150" y="939"/>
                    <a:pt x="1150" y="939"/>
                  </a:cubicBezTo>
                  <a:cubicBezTo>
                    <a:pt x="1149" y="938"/>
                    <a:pt x="1149" y="938"/>
                    <a:pt x="1149" y="938"/>
                  </a:cubicBezTo>
                  <a:cubicBezTo>
                    <a:pt x="1149" y="938"/>
                    <a:pt x="1149" y="938"/>
                    <a:pt x="1149" y="938"/>
                  </a:cubicBezTo>
                  <a:cubicBezTo>
                    <a:pt x="1148" y="937"/>
                    <a:pt x="1148" y="937"/>
                    <a:pt x="1148" y="937"/>
                  </a:cubicBezTo>
                  <a:cubicBezTo>
                    <a:pt x="1148" y="937"/>
                    <a:pt x="1148" y="937"/>
                    <a:pt x="1148" y="937"/>
                  </a:cubicBezTo>
                  <a:cubicBezTo>
                    <a:pt x="1148" y="937"/>
                    <a:pt x="1148" y="937"/>
                    <a:pt x="1148" y="937"/>
                  </a:cubicBezTo>
                  <a:cubicBezTo>
                    <a:pt x="1148" y="936"/>
                    <a:pt x="1148" y="936"/>
                    <a:pt x="1148" y="936"/>
                  </a:cubicBezTo>
                  <a:cubicBezTo>
                    <a:pt x="1148" y="935"/>
                    <a:pt x="1148" y="935"/>
                    <a:pt x="1148" y="935"/>
                  </a:cubicBezTo>
                  <a:cubicBezTo>
                    <a:pt x="1149" y="935"/>
                    <a:pt x="1149" y="935"/>
                    <a:pt x="1149" y="935"/>
                  </a:cubicBezTo>
                  <a:cubicBezTo>
                    <a:pt x="1149" y="934"/>
                    <a:pt x="1149" y="934"/>
                    <a:pt x="1149" y="934"/>
                  </a:cubicBezTo>
                  <a:cubicBezTo>
                    <a:pt x="1149" y="935"/>
                    <a:pt x="1149" y="935"/>
                    <a:pt x="1149" y="935"/>
                  </a:cubicBezTo>
                  <a:cubicBezTo>
                    <a:pt x="1149" y="936"/>
                    <a:pt x="1149" y="936"/>
                    <a:pt x="1149" y="936"/>
                  </a:cubicBezTo>
                  <a:cubicBezTo>
                    <a:pt x="1149" y="936"/>
                    <a:pt x="1149" y="936"/>
                    <a:pt x="1149" y="936"/>
                  </a:cubicBezTo>
                  <a:cubicBezTo>
                    <a:pt x="1149" y="936"/>
                    <a:pt x="1149" y="936"/>
                    <a:pt x="1149" y="936"/>
                  </a:cubicBezTo>
                  <a:cubicBezTo>
                    <a:pt x="1150" y="937"/>
                    <a:pt x="1150" y="937"/>
                    <a:pt x="1150" y="937"/>
                  </a:cubicBezTo>
                  <a:cubicBezTo>
                    <a:pt x="1150" y="937"/>
                    <a:pt x="1150" y="937"/>
                    <a:pt x="1150" y="937"/>
                  </a:cubicBezTo>
                  <a:cubicBezTo>
                    <a:pt x="1151" y="938"/>
                    <a:pt x="1151" y="938"/>
                    <a:pt x="1151" y="938"/>
                  </a:cubicBezTo>
                  <a:cubicBezTo>
                    <a:pt x="1150" y="938"/>
                    <a:pt x="1150" y="938"/>
                    <a:pt x="1150" y="938"/>
                  </a:cubicBezTo>
                  <a:cubicBezTo>
                    <a:pt x="1149" y="939"/>
                    <a:pt x="1149" y="939"/>
                    <a:pt x="1149" y="939"/>
                  </a:cubicBezTo>
                  <a:cubicBezTo>
                    <a:pt x="1149" y="941"/>
                    <a:pt x="1149" y="941"/>
                    <a:pt x="1149" y="941"/>
                  </a:cubicBezTo>
                  <a:cubicBezTo>
                    <a:pt x="1149" y="942"/>
                    <a:pt x="1149" y="942"/>
                    <a:pt x="1149" y="942"/>
                  </a:cubicBezTo>
                  <a:cubicBezTo>
                    <a:pt x="1149" y="944"/>
                    <a:pt x="1149" y="944"/>
                    <a:pt x="1149" y="944"/>
                  </a:cubicBezTo>
                  <a:cubicBezTo>
                    <a:pt x="1148" y="945"/>
                    <a:pt x="1148" y="945"/>
                    <a:pt x="1148" y="945"/>
                  </a:cubicBezTo>
                  <a:cubicBezTo>
                    <a:pt x="1147" y="946"/>
                    <a:pt x="1147" y="946"/>
                    <a:pt x="1147" y="946"/>
                  </a:cubicBezTo>
                  <a:cubicBezTo>
                    <a:pt x="1147" y="947"/>
                    <a:pt x="1147" y="947"/>
                    <a:pt x="1147" y="947"/>
                  </a:cubicBezTo>
                  <a:cubicBezTo>
                    <a:pt x="1147" y="949"/>
                    <a:pt x="1147" y="949"/>
                    <a:pt x="1147" y="949"/>
                  </a:cubicBezTo>
                  <a:cubicBezTo>
                    <a:pt x="1148" y="950"/>
                    <a:pt x="1148" y="950"/>
                    <a:pt x="1148" y="950"/>
                  </a:cubicBezTo>
                  <a:cubicBezTo>
                    <a:pt x="1148" y="950"/>
                    <a:pt x="1148" y="950"/>
                    <a:pt x="1148" y="950"/>
                  </a:cubicBezTo>
                  <a:cubicBezTo>
                    <a:pt x="1148" y="951"/>
                    <a:pt x="1148" y="951"/>
                    <a:pt x="1148" y="951"/>
                  </a:cubicBezTo>
                  <a:cubicBezTo>
                    <a:pt x="1148" y="952"/>
                    <a:pt x="1148" y="952"/>
                    <a:pt x="1148" y="952"/>
                  </a:cubicBezTo>
                  <a:cubicBezTo>
                    <a:pt x="1149" y="952"/>
                    <a:pt x="1149" y="952"/>
                    <a:pt x="1149" y="952"/>
                  </a:cubicBezTo>
                  <a:cubicBezTo>
                    <a:pt x="1148" y="952"/>
                    <a:pt x="1148" y="952"/>
                    <a:pt x="1148" y="952"/>
                  </a:cubicBezTo>
                  <a:cubicBezTo>
                    <a:pt x="1148" y="953"/>
                    <a:pt x="1148" y="953"/>
                    <a:pt x="1148" y="953"/>
                  </a:cubicBezTo>
                  <a:cubicBezTo>
                    <a:pt x="1148" y="953"/>
                    <a:pt x="1148" y="953"/>
                    <a:pt x="1148" y="953"/>
                  </a:cubicBezTo>
                  <a:cubicBezTo>
                    <a:pt x="1147" y="952"/>
                    <a:pt x="1147" y="952"/>
                    <a:pt x="1147" y="952"/>
                  </a:cubicBezTo>
                  <a:cubicBezTo>
                    <a:pt x="1147" y="952"/>
                    <a:pt x="1147" y="952"/>
                    <a:pt x="1147" y="952"/>
                  </a:cubicBezTo>
                  <a:cubicBezTo>
                    <a:pt x="1147" y="951"/>
                    <a:pt x="1147" y="951"/>
                    <a:pt x="1147" y="951"/>
                  </a:cubicBezTo>
                  <a:cubicBezTo>
                    <a:pt x="1147" y="951"/>
                    <a:pt x="1147" y="951"/>
                    <a:pt x="1147" y="951"/>
                  </a:cubicBezTo>
                  <a:lnTo>
                    <a:pt x="1146" y="950"/>
                  </a:lnTo>
                  <a:close/>
                  <a:moveTo>
                    <a:pt x="1137" y="925"/>
                  </a:moveTo>
                  <a:cubicBezTo>
                    <a:pt x="1137" y="924"/>
                    <a:pt x="1137" y="924"/>
                    <a:pt x="1137" y="924"/>
                  </a:cubicBezTo>
                  <a:cubicBezTo>
                    <a:pt x="1137" y="924"/>
                    <a:pt x="1137" y="924"/>
                    <a:pt x="1137" y="924"/>
                  </a:cubicBezTo>
                  <a:cubicBezTo>
                    <a:pt x="1137" y="924"/>
                    <a:pt x="1137" y="924"/>
                    <a:pt x="1137" y="924"/>
                  </a:cubicBezTo>
                  <a:cubicBezTo>
                    <a:pt x="1137" y="923"/>
                    <a:pt x="1137" y="923"/>
                    <a:pt x="1137" y="923"/>
                  </a:cubicBezTo>
                  <a:cubicBezTo>
                    <a:pt x="1137" y="923"/>
                    <a:pt x="1137" y="923"/>
                    <a:pt x="1137" y="923"/>
                  </a:cubicBezTo>
                  <a:cubicBezTo>
                    <a:pt x="1136" y="922"/>
                    <a:pt x="1136" y="922"/>
                    <a:pt x="1136" y="922"/>
                  </a:cubicBezTo>
                  <a:cubicBezTo>
                    <a:pt x="1135" y="922"/>
                    <a:pt x="1135" y="922"/>
                    <a:pt x="1135" y="922"/>
                  </a:cubicBezTo>
                  <a:cubicBezTo>
                    <a:pt x="1133" y="922"/>
                    <a:pt x="1133" y="922"/>
                    <a:pt x="1133" y="922"/>
                  </a:cubicBezTo>
                  <a:cubicBezTo>
                    <a:pt x="1130" y="921"/>
                    <a:pt x="1130" y="921"/>
                    <a:pt x="1130" y="921"/>
                  </a:cubicBezTo>
                  <a:cubicBezTo>
                    <a:pt x="1129" y="921"/>
                    <a:pt x="1129" y="921"/>
                    <a:pt x="1129" y="921"/>
                  </a:cubicBezTo>
                  <a:cubicBezTo>
                    <a:pt x="1129" y="921"/>
                    <a:pt x="1129" y="921"/>
                    <a:pt x="1129" y="921"/>
                  </a:cubicBezTo>
                  <a:cubicBezTo>
                    <a:pt x="1129" y="920"/>
                    <a:pt x="1129" y="920"/>
                    <a:pt x="1129" y="920"/>
                  </a:cubicBezTo>
                  <a:cubicBezTo>
                    <a:pt x="1130" y="920"/>
                    <a:pt x="1130" y="920"/>
                    <a:pt x="1130" y="920"/>
                  </a:cubicBezTo>
                  <a:cubicBezTo>
                    <a:pt x="1131" y="920"/>
                    <a:pt x="1131" y="920"/>
                    <a:pt x="1131" y="920"/>
                  </a:cubicBezTo>
                  <a:cubicBezTo>
                    <a:pt x="1133" y="921"/>
                    <a:pt x="1133" y="921"/>
                    <a:pt x="1133" y="921"/>
                  </a:cubicBezTo>
                  <a:cubicBezTo>
                    <a:pt x="1136" y="921"/>
                    <a:pt x="1136" y="921"/>
                    <a:pt x="1136" y="921"/>
                  </a:cubicBezTo>
                  <a:cubicBezTo>
                    <a:pt x="1136" y="921"/>
                    <a:pt x="1136" y="921"/>
                    <a:pt x="1136" y="921"/>
                  </a:cubicBezTo>
                  <a:cubicBezTo>
                    <a:pt x="1137" y="922"/>
                    <a:pt x="1137" y="922"/>
                    <a:pt x="1137" y="922"/>
                  </a:cubicBezTo>
                  <a:cubicBezTo>
                    <a:pt x="1138" y="922"/>
                    <a:pt x="1138" y="922"/>
                    <a:pt x="1138" y="922"/>
                  </a:cubicBezTo>
                  <a:cubicBezTo>
                    <a:pt x="1138" y="922"/>
                    <a:pt x="1138" y="922"/>
                    <a:pt x="1138" y="922"/>
                  </a:cubicBezTo>
                  <a:cubicBezTo>
                    <a:pt x="1138" y="923"/>
                    <a:pt x="1138" y="923"/>
                    <a:pt x="1138" y="923"/>
                  </a:cubicBezTo>
                  <a:cubicBezTo>
                    <a:pt x="1138" y="923"/>
                    <a:pt x="1138" y="923"/>
                    <a:pt x="1138" y="923"/>
                  </a:cubicBezTo>
                  <a:cubicBezTo>
                    <a:pt x="1138" y="924"/>
                    <a:pt x="1138" y="924"/>
                    <a:pt x="1138" y="924"/>
                  </a:cubicBezTo>
                  <a:cubicBezTo>
                    <a:pt x="1138" y="925"/>
                    <a:pt x="1138" y="925"/>
                    <a:pt x="1138" y="925"/>
                  </a:cubicBezTo>
                  <a:cubicBezTo>
                    <a:pt x="1138" y="926"/>
                    <a:pt x="1138" y="926"/>
                    <a:pt x="1138" y="926"/>
                  </a:cubicBezTo>
                  <a:cubicBezTo>
                    <a:pt x="1139" y="926"/>
                    <a:pt x="1139" y="926"/>
                    <a:pt x="1139" y="926"/>
                  </a:cubicBezTo>
                  <a:cubicBezTo>
                    <a:pt x="1139" y="926"/>
                    <a:pt x="1139" y="926"/>
                    <a:pt x="1139" y="926"/>
                  </a:cubicBezTo>
                  <a:cubicBezTo>
                    <a:pt x="1139" y="927"/>
                    <a:pt x="1139" y="927"/>
                    <a:pt x="1139" y="927"/>
                  </a:cubicBezTo>
                  <a:cubicBezTo>
                    <a:pt x="1140" y="928"/>
                    <a:pt x="1140" y="928"/>
                    <a:pt x="1140" y="928"/>
                  </a:cubicBezTo>
                  <a:cubicBezTo>
                    <a:pt x="1141" y="929"/>
                    <a:pt x="1141" y="929"/>
                    <a:pt x="1141" y="929"/>
                  </a:cubicBezTo>
                  <a:cubicBezTo>
                    <a:pt x="1142" y="929"/>
                    <a:pt x="1142" y="929"/>
                    <a:pt x="1142" y="929"/>
                  </a:cubicBezTo>
                  <a:cubicBezTo>
                    <a:pt x="1142" y="930"/>
                    <a:pt x="1142" y="930"/>
                    <a:pt x="1142" y="930"/>
                  </a:cubicBezTo>
                  <a:cubicBezTo>
                    <a:pt x="1143" y="930"/>
                    <a:pt x="1143" y="930"/>
                    <a:pt x="1143" y="930"/>
                  </a:cubicBezTo>
                  <a:cubicBezTo>
                    <a:pt x="1144" y="930"/>
                    <a:pt x="1144" y="930"/>
                    <a:pt x="1144" y="930"/>
                  </a:cubicBezTo>
                  <a:cubicBezTo>
                    <a:pt x="1143" y="931"/>
                    <a:pt x="1143" y="931"/>
                    <a:pt x="1143" y="931"/>
                  </a:cubicBezTo>
                  <a:cubicBezTo>
                    <a:pt x="1142" y="931"/>
                    <a:pt x="1142" y="931"/>
                    <a:pt x="1142" y="931"/>
                  </a:cubicBezTo>
                  <a:cubicBezTo>
                    <a:pt x="1141" y="931"/>
                    <a:pt x="1141" y="931"/>
                    <a:pt x="1141" y="931"/>
                  </a:cubicBezTo>
                  <a:cubicBezTo>
                    <a:pt x="1141" y="930"/>
                    <a:pt x="1141" y="930"/>
                    <a:pt x="1141" y="930"/>
                  </a:cubicBezTo>
                  <a:cubicBezTo>
                    <a:pt x="1140" y="930"/>
                    <a:pt x="1140" y="930"/>
                    <a:pt x="1140" y="930"/>
                  </a:cubicBezTo>
                  <a:cubicBezTo>
                    <a:pt x="1139" y="929"/>
                    <a:pt x="1139" y="929"/>
                    <a:pt x="1139" y="929"/>
                  </a:cubicBezTo>
                  <a:cubicBezTo>
                    <a:pt x="1139" y="928"/>
                    <a:pt x="1139" y="928"/>
                    <a:pt x="1139" y="928"/>
                  </a:cubicBezTo>
                  <a:cubicBezTo>
                    <a:pt x="1138" y="927"/>
                    <a:pt x="1138" y="927"/>
                    <a:pt x="1138" y="927"/>
                  </a:cubicBezTo>
                  <a:cubicBezTo>
                    <a:pt x="1138" y="927"/>
                    <a:pt x="1138" y="927"/>
                    <a:pt x="1138" y="927"/>
                  </a:cubicBezTo>
                  <a:cubicBezTo>
                    <a:pt x="1138" y="927"/>
                    <a:pt x="1138" y="927"/>
                    <a:pt x="1138" y="927"/>
                  </a:cubicBezTo>
                  <a:cubicBezTo>
                    <a:pt x="1138" y="927"/>
                    <a:pt x="1138" y="927"/>
                    <a:pt x="1138" y="927"/>
                  </a:cubicBezTo>
                  <a:lnTo>
                    <a:pt x="1137" y="925"/>
                  </a:lnTo>
                  <a:close/>
                  <a:moveTo>
                    <a:pt x="1126" y="921"/>
                  </a:moveTo>
                  <a:cubicBezTo>
                    <a:pt x="1125" y="920"/>
                    <a:pt x="1125" y="920"/>
                    <a:pt x="1125" y="920"/>
                  </a:cubicBezTo>
                  <a:cubicBezTo>
                    <a:pt x="1125" y="920"/>
                    <a:pt x="1125" y="920"/>
                    <a:pt x="1125" y="920"/>
                  </a:cubicBezTo>
                  <a:cubicBezTo>
                    <a:pt x="1124" y="921"/>
                    <a:pt x="1124" y="921"/>
                    <a:pt x="1124" y="921"/>
                  </a:cubicBezTo>
                  <a:cubicBezTo>
                    <a:pt x="1124" y="922"/>
                    <a:pt x="1124" y="922"/>
                    <a:pt x="1124" y="922"/>
                  </a:cubicBezTo>
                  <a:cubicBezTo>
                    <a:pt x="1124" y="922"/>
                    <a:pt x="1124" y="922"/>
                    <a:pt x="1124" y="922"/>
                  </a:cubicBezTo>
                  <a:cubicBezTo>
                    <a:pt x="1123" y="922"/>
                    <a:pt x="1123" y="922"/>
                    <a:pt x="1123" y="922"/>
                  </a:cubicBezTo>
                  <a:cubicBezTo>
                    <a:pt x="1123" y="922"/>
                    <a:pt x="1123" y="922"/>
                    <a:pt x="1123" y="922"/>
                  </a:cubicBezTo>
                  <a:cubicBezTo>
                    <a:pt x="1123" y="921"/>
                    <a:pt x="1123" y="921"/>
                    <a:pt x="1123" y="921"/>
                  </a:cubicBezTo>
                  <a:cubicBezTo>
                    <a:pt x="1123" y="921"/>
                    <a:pt x="1123" y="921"/>
                    <a:pt x="1123" y="921"/>
                  </a:cubicBezTo>
                  <a:cubicBezTo>
                    <a:pt x="1123" y="920"/>
                    <a:pt x="1123" y="920"/>
                    <a:pt x="1123" y="920"/>
                  </a:cubicBezTo>
                  <a:cubicBezTo>
                    <a:pt x="1123" y="921"/>
                    <a:pt x="1123" y="921"/>
                    <a:pt x="1123" y="921"/>
                  </a:cubicBezTo>
                  <a:cubicBezTo>
                    <a:pt x="1123" y="921"/>
                    <a:pt x="1123" y="921"/>
                    <a:pt x="1123" y="921"/>
                  </a:cubicBezTo>
                  <a:cubicBezTo>
                    <a:pt x="1124" y="921"/>
                    <a:pt x="1124" y="921"/>
                    <a:pt x="1124" y="921"/>
                  </a:cubicBezTo>
                  <a:cubicBezTo>
                    <a:pt x="1124" y="921"/>
                    <a:pt x="1124" y="921"/>
                    <a:pt x="1124" y="921"/>
                  </a:cubicBezTo>
                  <a:cubicBezTo>
                    <a:pt x="1125" y="920"/>
                    <a:pt x="1125" y="920"/>
                    <a:pt x="1125" y="920"/>
                  </a:cubicBezTo>
                  <a:cubicBezTo>
                    <a:pt x="1125" y="919"/>
                    <a:pt x="1125" y="919"/>
                    <a:pt x="1125" y="919"/>
                  </a:cubicBezTo>
                  <a:cubicBezTo>
                    <a:pt x="1126" y="919"/>
                    <a:pt x="1126" y="919"/>
                    <a:pt x="1126" y="919"/>
                  </a:cubicBezTo>
                  <a:cubicBezTo>
                    <a:pt x="1126" y="920"/>
                    <a:pt x="1126" y="920"/>
                    <a:pt x="1126" y="920"/>
                  </a:cubicBezTo>
                  <a:cubicBezTo>
                    <a:pt x="1127" y="920"/>
                    <a:pt x="1127" y="920"/>
                    <a:pt x="1127" y="920"/>
                  </a:cubicBezTo>
                  <a:cubicBezTo>
                    <a:pt x="1127" y="921"/>
                    <a:pt x="1127" y="921"/>
                    <a:pt x="1127" y="921"/>
                  </a:cubicBezTo>
                  <a:cubicBezTo>
                    <a:pt x="1126" y="921"/>
                    <a:pt x="1126" y="921"/>
                    <a:pt x="1126" y="921"/>
                  </a:cubicBezTo>
                  <a:cubicBezTo>
                    <a:pt x="1127" y="923"/>
                    <a:pt x="1127" y="923"/>
                    <a:pt x="1127" y="923"/>
                  </a:cubicBezTo>
                  <a:cubicBezTo>
                    <a:pt x="1127" y="924"/>
                    <a:pt x="1127" y="924"/>
                    <a:pt x="1127" y="924"/>
                  </a:cubicBezTo>
                  <a:cubicBezTo>
                    <a:pt x="1128" y="924"/>
                    <a:pt x="1128" y="924"/>
                    <a:pt x="1128" y="924"/>
                  </a:cubicBezTo>
                  <a:cubicBezTo>
                    <a:pt x="1128" y="924"/>
                    <a:pt x="1128" y="924"/>
                    <a:pt x="1128" y="924"/>
                  </a:cubicBezTo>
                  <a:cubicBezTo>
                    <a:pt x="1128" y="925"/>
                    <a:pt x="1128" y="925"/>
                    <a:pt x="1128" y="925"/>
                  </a:cubicBezTo>
                  <a:cubicBezTo>
                    <a:pt x="1128" y="925"/>
                    <a:pt x="1128" y="925"/>
                    <a:pt x="1128" y="925"/>
                  </a:cubicBezTo>
                  <a:cubicBezTo>
                    <a:pt x="1127" y="925"/>
                    <a:pt x="1127" y="925"/>
                    <a:pt x="1127" y="925"/>
                  </a:cubicBezTo>
                  <a:cubicBezTo>
                    <a:pt x="1127" y="925"/>
                    <a:pt x="1127" y="925"/>
                    <a:pt x="1127" y="925"/>
                  </a:cubicBezTo>
                  <a:cubicBezTo>
                    <a:pt x="1126" y="924"/>
                    <a:pt x="1126" y="924"/>
                    <a:pt x="1126" y="924"/>
                  </a:cubicBezTo>
                  <a:cubicBezTo>
                    <a:pt x="1126" y="923"/>
                    <a:pt x="1126" y="923"/>
                    <a:pt x="1126" y="923"/>
                  </a:cubicBezTo>
                  <a:cubicBezTo>
                    <a:pt x="1126" y="922"/>
                    <a:pt x="1126" y="922"/>
                    <a:pt x="1126" y="922"/>
                  </a:cubicBezTo>
                  <a:cubicBezTo>
                    <a:pt x="1126" y="921"/>
                    <a:pt x="1126" y="921"/>
                    <a:pt x="1126" y="921"/>
                  </a:cubicBezTo>
                  <a:close/>
                  <a:moveTo>
                    <a:pt x="1093" y="1097"/>
                  </a:moveTo>
                  <a:cubicBezTo>
                    <a:pt x="1091" y="1096"/>
                    <a:pt x="1091" y="1096"/>
                    <a:pt x="1091" y="1096"/>
                  </a:cubicBezTo>
                  <a:cubicBezTo>
                    <a:pt x="1090" y="1095"/>
                    <a:pt x="1090" y="1095"/>
                    <a:pt x="1090" y="1095"/>
                  </a:cubicBezTo>
                  <a:cubicBezTo>
                    <a:pt x="1090" y="1095"/>
                    <a:pt x="1090" y="1095"/>
                    <a:pt x="1090" y="1095"/>
                  </a:cubicBezTo>
                  <a:cubicBezTo>
                    <a:pt x="1091" y="1095"/>
                    <a:pt x="1091" y="1095"/>
                    <a:pt x="1091" y="1095"/>
                  </a:cubicBezTo>
                  <a:cubicBezTo>
                    <a:pt x="1092" y="1095"/>
                    <a:pt x="1092" y="1095"/>
                    <a:pt x="1092" y="1095"/>
                  </a:cubicBezTo>
                  <a:cubicBezTo>
                    <a:pt x="1092" y="1095"/>
                    <a:pt x="1092" y="1095"/>
                    <a:pt x="1092" y="1095"/>
                  </a:cubicBezTo>
                  <a:cubicBezTo>
                    <a:pt x="1092" y="1096"/>
                    <a:pt x="1092" y="1096"/>
                    <a:pt x="1092" y="1096"/>
                  </a:cubicBezTo>
                  <a:cubicBezTo>
                    <a:pt x="1093" y="1097"/>
                    <a:pt x="1093" y="1097"/>
                    <a:pt x="1093" y="1097"/>
                  </a:cubicBezTo>
                  <a:cubicBezTo>
                    <a:pt x="1095" y="1098"/>
                    <a:pt x="1095" y="1098"/>
                    <a:pt x="1095" y="1098"/>
                  </a:cubicBezTo>
                  <a:cubicBezTo>
                    <a:pt x="1095" y="1098"/>
                    <a:pt x="1095" y="1098"/>
                    <a:pt x="1095" y="1098"/>
                  </a:cubicBezTo>
                  <a:cubicBezTo>
                    <a:pt x="1095" y="1099"/>
                    <a:pt x="1095" y="1099"/>
                    <a:pt x="1095" y="1099"/>
                  </a:cubicBezTo>
                  <a:cubicBezTo>
                    <a:pt x="1094" y="1099"/>
                    <a:pt x="1094" y="1099"/>
                    <a:pt x="1094" y="1099"/>
                  </a:cubicBezTo>
                  <a:cubicBezTo>
                    <a:pt x="1094" y="1098"/>
                    <a:pt x="1094" y="1098"/>
                    <a:pt x="1094" y="1098"/>
                  </a:cubicBezTo>
                  <a:cubicBezTo>
                    <a:pt x="1093" y="1097"/>
                    <a:pt x="1093" y="1097"/>
                    <a:pt x="1093" y="1097"/>
                  </a:cubicBezTo>
                  <a:close/>
                  <a:moveTo>
                    <a:pt x="1058" y="1198"/>
                  </a:moveTo>
                  <a:cubicBezTo>
                    <a:pt x="1058" y="1198"/>
                    <a:pt x="1058" y="1198"/>
                    <a:pt x="1058" y="1198"/>
                  </a:cubicBezTo>
                  <a:cubicBezTo>
                    <a:pt x="1057" y="1198"/>
                    <a:pt x="1057" y="1198"/>
                    <a:pt x="1057" y="1198"/>
                  </a:cubicBezTo>
                  <a:cubicBezTo>
                    <a:pt x="1057" y="1197"/>
                    <a:pt x="1057" y="1197"/>
                    <a:pt x="1057" y="1197"/>
                  </a:cubicBezTo>
                  <a:cubicBezTo>
                    <a:pt x="1057" y="1197"/>
                    <a:pt x="1057" y="1197"/>
                    <a:pt x="1057" y="1197"/>
                  </a:cubicBezTo>
                  <a:cubicBezTo>
                    <a:pt x="1057" y="1197"/>
                    <a:pt x="1057" y="1197"/>
                    <a:pt x="1057" y="1197"/>
                  </a:cubicBezTo>
                  <a:cubicBezTo>
                    <a:pt x="1057" y="1197"/>
                    <a:pt x="1057" y="1197"/>
                    <a:pt x="1057" y="1197"/>
                  </a:cubicBezTo>
                  <a:cubicBezTo>
                    <a:pt x="1058" y="1197"/>
                    <a:pt x="1058" y="1197"/>
                    <a:pt x="1058" y="1197"/>
                  </a:cubicBezTo>
                  <a:cubicBezTo>
                    <a:pt x="1058" y="1197"/>
                    <a:pt x="1058" y="1197"/>
                    <a:pt x="1058" y="1197"/>
                  </a:cubicBezTo>
                  <a:lnTo>
                    <a:pt x="1058" y="1198"/>
                  </a:lnTo>
                  <a:close/>
                  <a:moveTo>
                    <a:pt x="1055" y="1193"/>
                  </a:moveTo>
                  <a:cubicBezTo>
                    <a:pt x="1055" y="1193"/>
                    <a:pt x="1055" y="1193"/>
                    <a:pt x="1055" y="1193"/>
                  </a:cubicBezTo>
                  <a:cubicBezTo>
                    <a:pt x="1055" y="1193"/>
                    <a:pt x="1055" y="1193"/>
                    <a:pt x="1055" y="1193"/>
                  </a:cubicBezTo>
                  <a:cubicBezTo>
                    <a:pt x="1055" y="1193"/>
                    <a:pt x="1055" y="1193"/>
                    <a:pt x="1055" y="1193"/>
                  </a:cubicBezTo>
                  <a:cubicBezTo>
                    <a:pt x="1055" y="1193"/>
                    <a:pt x="1055" y="1193"/>
                    <a:pt x="1055" y="1193"/>
                  </a:cubicBezTo>
                  <a:cubicBezTo>
                    <a:pt x="1056" y="1194"/>
                    <a:pt x="1056" y="1194"/>
                    <a:pt x="1056" y="1194"/>
                  </a:cubicBezTo>
                  <a:cubicBezTo>
                    <a:pt x="1056" y="1194"/>
                    <a:pt x="1056" y="1194"/>
                    <a:pt x="1056" y="1194"/>
                  </a:cubicBezTo>
                  <a:cubicBezTo>
                    <a:pt x="1056" y="1194"/>
                    <a:pt x="1056" y="1194"/>
                    <a:pt x="1056" y="1194"/>
                  </a:cubicBezTo>
                  <a:cubicBezTo>
                    <a:pt x="1057" y="1194"/>
                    <a:pt x="1057" y="1194"/>
                    <a:pt x="1057" y="1194"/>
                  </a:cubicBezTo>
                  <a:cubicBezTo>
                    <a:pt x="1057" y="1195"/>
                    <a:pt x="1057" y="1195"/>
                    <a:pt x="1057" y="1195"/>
                  </a:cubicBezTo>
                  <a:cubicBezTo>
                    <a:pt x="1057" y="1195"/>
                    <a:pt x="1057" y="1195"/>
                    <a:pt x="1057" y="1195"/>
                  </a:cubicBezTo>
                  <a:cubicBezTo>
                    <a:pt x="1056" y="1195"/>
                    <a:pt x="1056" y="1195"/>
                    <a:pt x="1056" y="1195"/>
                  </a:cubicBezTo>
                  <a:cubicBezTo>
                    <a:pt x="1056" y="1195"/>
                    <a:pt x="1056" y="1195"/>
                    <a:pt x="1056" y="1195"/>
                  </a:cubicBezTo>
                  <a:cubicBezTo>
                    <a:pt x="1056" y="1194"/>
                    <a:pt x="1056" y="1194"/>
                    <a:pt x="1056" y="1194"/>
                  </a:cubicBezTo>
                  <a:cubicBezTo>
                    <a:pt x="1055" y="1194"/>
                    <a:pt x="1055" y="1194"/>
                    <a:pt x="1055" y="1194"/>
                  </a:cubicBezTo>
                  <a:cubicBezTo>
                    <a:pt x="1055" y="1194"/>
                    <a:pt x="1055" y="1194"/>
                    <a:pt x="1055" y="1194"/>
                  </a:cubicBezTo>
                  <a:cubicBezTo>
                    <a:pt x="1055" y="1194"/>
                    <a:pt x="1055" y="1194"/>
                    <a:pt x="1055" y="1194"/>
                  </a:cubicBezTo>
                  <a:cubicBezTo>
                    <a:pt x="1055" y="1193"/>
                    <a:pt x="1055" y="1193"/>
                    <a:pt x="1055" y="1193"/>
                  </a:cubicBezTo>
                  <a:close/>
                  <a:moveTo>
                    <a:pt x="958" y="1126"/>
                  </a:moveTo>
                  <a:cubicBezTo>
                    <a:pt x="956" y="1124"/>
                    <a:pt x="956" y="1124"/>
                    <a:pt x="956" y="1124"/>
                  </a:cubicBezTo>
                  <a:cubicBezTo>
                    <a:pt x="956" y="1124"/>
                    <a:pt x="956" y="1124"/>
                    <a:pt x="956" y="1124"/>
                  </a:cubicBezTo>
                  <a:cubicBezTo>
                    <a:pt x="956" y="1124"/>
                    <a:pt x="956" y="1124"/>
                    <a:pt x="956" y="1124"/>
                  </a:cubicBezTo>
                  <a:cubicBezTo>
                    <a:pt x="956" y="1124"/>
                    <a:pt x="956" y="1124"/>
                    <a:pt x="956" y="1124"/>
                  </a:cubicBezTo>
                  <a:cubicBezTo>
                    <a:pt x="957" y="1124"/>
                    <a:pt x="957" y="1124"/>
                    <a:pt x="957" y="1124"/>
                  </a:cubicBezTo>
                  <a:cubicBezTo>
                    <a:pt x="957" y="1124"/>
                    <a:pt x="957" y="1124"/>
                    <a:pt x="957" y="1124"/>
                  </a:cubicBezTo>
                  <a:cubicBezTo>
                    <a:pt x="957" y="1124"/>
                    <a:pt x="957" y="1124"/>
                    <a:pt x="957" y="1124"/>
                  </a:cubicBezTo>
                  <a:cubicBezTo>
                    <a:pt x="959" y="1127"/>
                    <a:pt x="959" y="1127"/>
                    <a:pt x="959" y="1127"/>
                  </a:cubicBezTo>
                  <a:cubicBezTo>
                    <a:pt x="960" y="1127"/>
                    <a:pt x="960" y="1127"/>
                    <a:pt x="960" y="1127"/>
                  </a:cubicBezTo>
                  <a:cubicBezTo>
                    <a:pt x="960" y="1127"/>
                    <a:pt x="960" y="1127"/>
                    <a:pt x="960" y="1127"/>
                  </a:cubicBezTo>
                  <a:cubicBezTo>
                    <a:pt x="960" y="1128"/>
                    <a:pt x="960" y="1128"/>
                    <a:pt x="960" y="1128"/>
                  </a:cubicBezTo>
                  <a:cubicBezTo>
                    <a:pt x="960" y="1128"/>
                    <a:pt x="960" y="1128"/>
                    <a:pt x="960" y="1128"/>
                  </a:cubicBezTo>
                  <a:cubicBezTo>
                    <a:pt x="960" y="1129"/>
                    <a:pt x="960" y="1129"/>
                    <a:pt x="960" y="1129"/>
                  </a:cubicBezTo>
                  <a:cubicBezTo>
                    <a:pt x="961" y="1129"/>
                    <a:pt x="961" y="1129"/>
                    <a:pt x="961" y="1129"/>
                  </a:cubicBezTo>
                  <a:cubicBezTo>
                    <a:pt x="962" y="1130"/>
                    <a:pt x="962" y="1130"/>
                    <a:pt x="962" y="1130"/>
                  </a:cubicBezTo>
                  <a:cubicBezTo>
                    <a:pt x="962" y="1131"/>
                    <a:pt x="962" y="1131"/>
                    <a:pt x="962" y="1131"/>
                  </a:cubicBezTo>
                  <a:cubicBezTo>
                    <a:pt x="962" y="1131"/>
                    <a:pt x="962" y="1131"/>
                    <a:pt x="962" y="1131"/>
                  </a:cubicBezTo>
                  <a:cubicBezTo>
                    <a:pt x="961" y="1130"/>
                    <a:pt x="961" y="1130"/>
                    <a:pt x="961" y="1130"/>
                  </a:cubicBezTo>
                  <a:cubicBezTo>
                    <a:pt x="961" y="1130"/>
                    <a:pt x="961" y="1130"/>
                    <a:pt x="961" y="1130"/>
                  </a:cubicBezTo>
                  <a:cubicBezTo>
                    <a:pt x="960" y="1129"/>
                    <a:pt x="960" y="1129"/>
                    <a:pt x="960" y="1129"/>
                  </a:cubicBezTo>
                  <a:cubicBezTo>
                    <a:pt x="959" y="1128"/>
                    <a:pt x="959" y="1128"/>
                    <a:pt x="959" y="1128"/>
                  </a:cubicBezTo>
                  <a:cubicBezTo>
                    <a:pt x="959" y="1128"/>
                    <a:pt x="959" y="1128"/>
                    <a:pt x="959" y="1128"/>
                  </a:cubicBezTo>
                  <a:cubicBezTo>
                    <a:pt x="959" y="1128"/>
                    <a:pt x="959" y="1128"/>
                    <a:pt x="959" y="1128"/>
                  </a:cubicBezTo>
                  <a:cubicBezTo>
                    <a:pt x="959" y="1127"/>
                    <a:pt x="959" y="1127"/>
                    <a:pt x="959" y="1127"/>
                  </a:cubicBezTo>
                  <a:cubicBezTo>
                    <a:pt x="959" y="1127"/>
                    <a:pt x="959" y="1127"/>
                    <a:pt x="959" y="1127"/>
                  </a:cubicBezTo>
                  <a:lnTo>
                    <a:pt x="958" y="1126"/>
                  </a:lnTo>
                  <a:close/>
                  <a:moveTo>
                    <a:pt x="948" y="1115"/>
                  </a:moveTo>
                  <a:cubicBezTo>
                    <a:pt x="948" y="1114"/>
                    <a:pt x="948" y="1114"/>
                    <a:pt x="948" y="1114"/>
                  </a:cubicBezTo>
                  <a:cubicBezTo>
                    <a:pt x="948" y="1113"/>
                    <a:pt x="948" y="1113"/>
                    <a:pt x="948" y="1113"/>
                  </a:cubicBezTo>
                  <a:cubicBezTo>
                    <a:pt x="948" y="1113"/>
                    <a:pt x="948" y="1113"/>
                    <a:pt x="948" y="1113"/>
                  </a:cubicBezTo>
                  <a:cubicBezTo>
                    <a:pt x="947" y="1112"/>
                    <a:pt x="947" y="1112"/>
                    <a:pt x="947" y="1112"/>
                  </a:cubicBezTo>
                  <a:cubicBezTo>
                    <a:pt x="947" y="1112"/>
                    <a:pt x="947" y="1112"/>
                    <a:pt x="947" y="1112"/>
                  </a:cubicBezTo>
                  <a:cubicBezTo>
                    <a:pt x="946" y="1112"/>
                    <a:pt x="946" y="1112"/>
                    <a:pt x="946" y="1112"/>
                  </a:cubicBezTo>
                  <a:cubicBezTo>
                    <a:pt x="946" y="1111"/>
                    <a:pt x="946" y="1111"/>
                    <a:pt x="946" y="1111"/>
                  </a:cubicBezTo>
                  <a:cubicBezTo>
                    <a:pt x="946" y="1111"/>
                    <a:pt x="946" y="1111"/>
                    <a:pt x="946" y="1111"/>
                  </a:cubicBezTo>
                  <a:cubicBezTo>
                    <a:pt x="946" y="1110"/>
                    <a:pt x="946" y="1110"/>
                    <a:pt x="946" y="1110"/>
                  </a:cubicBezTo>
                  <a:cubicBezTo>
                    <a:pt x="946" y="1110"/>
                    <a:pt x="946" y="1110"/>
                    <a:pt x="946" y="1110"/>
                  </a:cubicBezTo>
                  <a:cubicBezTo>
                    <a:pt x="946" y="1109"/>
                    <a:pt x="946" y="1109"/>
                    <a:pt x="946" y="1109"/>
                  </a:cubicBezTo>
                  <a:cubicBezTo>
                    <a:pt x="946" y="1109"/>
                    <a:pt x="946" y="1109"/>
                    <a:pt x="946" y="1109"/>
                  </a:cubicBezTo>
                  <a:cubicBezTo>
                    <a:pt x="945" y="1108"/>
                    <a:pt x="945" y="1108"/>
                    <a:pt x="945" y="1108"/>
                  </a:cubicBezTo>
                  <a:cubicBezTo>
                    <a:pt x="945" y="1107"/>
                    <a:pt x="945" y="1107"/>
                    <a:pt x="945" y="1107"/>
                  </a:cubicBezTo>
                  <a:cubicBezTo>
                    <a:pt x="945" y="1106"/>
                    <a:pt x="945" y="1106"/>
                    <a:pt x="945" y="1106"/>
                  </a:cubicBezTo>
                  <a:cubicBezTo>
                    <a:pt x="945" y="1105"/>
                    <a:pt x="945" y="1105"/>
                    <a:pt x="945" y="1105"/>
                  </a:cubicBezTo>
                  <a:cubicBezTo>
                    <a:pt x="946" y="1104"/>
                    <a:pt x="946" y="1104"/>
                    <a:pt x="946" y="1104"/>
                  </a:cubicBezTo>
                  <a:cubicBezTo>
                    <a:pt x="946" y="1102"/>
                    <a:pt x="946" y="1102"/>
                    <a:pt x="946" y="1102"/>
                  </a:cubicBezTo>
                  <a:cubicBezTo>
                    <a:pt x="946" y="1102"/>
                    <a:pt x="946" y="1102"/>
                    <a:pt x="946" y="1102"/>
                  </a:cubicBezTo>
                  <a:cubicBezTo>
                    <a:pt x="946" y="1102"/>
                    <a:pt x="946" y="1102"/>
                    <a:pt x="946" y="1102"/>
                  </a:cubicBezTo>
                  <a:cubicBezTo>
                    <a:pt x="946" y="1101"/>
                    <a:pt x="946" y="1101"/>
                    <a:pt x="946" y="1101"/>
                  </a:cubicBezTo>
                  <a:cubicBezTo>
                    <a:pt x="946" y="1101"/>
                    <a:pt x="946" y="1101"/>
                    <a:pt x="946" y="1101"/>
                  </a:cubicBezTo>
                  <a:cubicBezTo>
                    <a:pt x="946" y="1100"/>
                    <a:pt x="946" y="1100"/>
                    <a:pt x="946" y="1100"/>
                  </a:cubicBezTo>
                  <a:cubicBezTo>
                    <a:pt x="946" y="1099"/>
                    <a:pt x="946" y="1099"/>
                    <a:pt x="946" y="1099"/>
                  </a:cubicBezTo>
                  <a:cubicBezTo>
                    <a:pt x="946" y="1099"/>
                    <a:pt x="946" y="1099"/>
                    <a:pt x="946" y="1099"/>
                  </a:cubicBezTo>
                  <a:cubicBezTo>
                    <a:pt x="947" y="1098"/>
                    <a:pt x="947" y="1098"/>
                    <a:pt x="947" y="1098"/>
                  </a:cubicBezTo>
                  <a:cubicBezTo>
                    <a:pt x="948" y="1098"/>
                    <a:pt x="948" y="1098"/>
                    <a:pt x="948" y="1098"/>
                  </a:cubicBezTo>
                  <a:cubicBezTo>
                    <a:pt x="949" y="1098"/>
                    <a:pt x="949" y="1098"/>
                    <a:pt x="949" y="1098"/>
                  </a:cubicBezTo>
                  <a:cubicBezTo>
                    <a:pt x="949" y="1098"/>
                    <a:pt x="949" y="1098"/>
                    <a:pt x="949" y="1098"/>
                  </a:cubicBezTo>
                  <a:cubicBezTo>
                    <a:pt x="950" y="1098"/>
                    <a:pt x="950" y="1098"/>
                    <a:pt x="950" y="1098"/>
                  </a:cubicBezTo>
                  <a:cubicBezTo>
                    <a:pt x="950" y="1097"/>
                    <a:pt x="950" y="1097"/>
                    <a:pt x="950" y="1097"/>
                  </a:cubicBezTo>
                  <a:cubicBezTo>
                    <a:pt x="950" y="1097"/>
                    <a:pt x="950" y="1097"/>
                    <a:pt x="950" y="1097"/>
                  </a:cubicBezTo>
                  <a:cubicBezTo>
                    <a:pt x="951" y="1096"/>
                    <a:pt x="951" y="1096"/>
                    <a:pt x="951" y="1096"/>
                  </a:cubicBezTo>
                  <a:cubicBezTo>
                    <a:pt x="951" y="1096"/>
                    <a:pt x="951" y="1096"/>
                    <a:pt x="951" y="1096"/>
                  </a:cubicBezTo>
                  <a:cubicBezTo>
                    <a:pt x="952" y="1096"/>
                    <a:pt x="952" y="1096"/>
                    <a:pt x="952" y="1096"/>
                  </a:cubicBezTo>
                  <a:cubicBezTo>
                    <a:pt x="952" y="1096"/>
                    <a:pt x="952" y="1096"/>
                    <a:pt x="952" y="1096"/>
                  </a:cubicBezTo>
                  <a:cubicBezTo>
                    <a:pt x="952" y="1095"/>
                    <a:pt x="952" y="1095"/>
                    <a:pt x="952" y="1095"/>
                  </a:cubicBezTo>
                  <a:cubicBezTo>
                    <a:pt x="952" y="1094"/>
                    <a:pt x="952" y="1094"/>
                    <a:pt x="952" y="1094"/>
                  </a:cubicBezTo>
                  <a:cubicBezTo>
                    <a:pt x="952" y="1094"/>
                    <a:pt x="952" y="1094"/>
                    <a:pt x="952" y="1094"/>
                  </a:cubicBezTo>
                  <a:cubicBezTo>
                    <a:pt x="952" y="1094"/>
                    <a:pt x="952" y="1094"/>
                    <a:pt x="952" y="1094"/>
                  </a:cubicBezTo>
                  <a:cubicBezTo>
                    <a:pt x="952" y="1092"/>
                    <a:pt x="952" y="1092"/>
                    <a:pt x="952" y="1092"/>
                  </a:cubicBezTo>
                  <a:cubicBezTo>
                    <a:pt x="952" y="1092"/>
                    <a:pt x="952" y="1092"/>
                    <a:pt x="952" y="1092"/>
                  </a:cubicBezTo>
                  <a:cubicBezTo>
                    <a:pt x="952" y="1092"/>
                    <a:pt x="952" y="1092"/>
                    <a:pt x="952" y="1092"/>
                  </a:cubicBezTo>
                  <a:cubicBezTo>
                    <a:pt x="952" y="1092"/>
                    <a:pt x="952" y="1092"/>
                    <a:pt x="952" y="1092"/>
                  </a:cubicBezTo>
                  <a:cubicBezTo>
                    <a:pt x="952" y="1092"/>
                    <a:pt x="952" y="1092"/>
                    <a:pt x="952" y="1092"/>
                  </a:cubicBezTo>
                  <a:cubicBezTo>
                    <a:pt x="953" y="1091"/>
                    <a:pt x="953" y="1091"/>
                    <a:pt x="953" y="1091"/>
                  </a:cubicBezTo>
                  <a:cubicBezTo>
                    <a:pt x="953" y="1091"/>
                    <a:pt x="953" y="1091"/>
                    <a:pt x="953" y="1091"/>
                  </a:cubicBezTo>
                  <a:cubicBezTo>
                    <a:pt x="954" y="1090"/>
                    <a:pt x="954" y="1090"/>
                    <a:pt x="954" y="1090"/>
                  </a:cubicBezTo>
                  <a:cubicBezTo>
                    <a:pt x="955" y="1090"/>
                    <a:pt x="955" y="1090"/>
                    <a:pt x="955" y="1090"/>
                  </a:cubicBezTo>
                  <a:cubicBezTo>
                    <a:pt x="955" y="1090"/>
                    <a:pt x="955" y="1090"/>
                    <a:pt x="955" y="1090"/>
                  </a:cubicBezTo>
                  <a:cubicBezTo>
                    <a:pt x="955" y="1089"/>
                    <a:pt x="955" y="1089"/>
                    <a:pt x="955" y="1089"/>
                  </a:cubicBezTo>
                  <a:cubicBezTo>
                    <a:pt x="955" y="1087"/>
                    <a:pt x="955" y="1087"/>
                    <a:pt x="955" y="1087"/>
                  </a:cubicBezTo>
                  <a:cubicBezTo>
                    <a:pt x="955" y="1087"/>
                    <a:pt x="955" y="1087"/>
                    <a:pt x="955" y="1087"/>
                  </a:cubicBezTo>
                  <a:cubicBezTo>
                    <a:pt x="955" y="1087"/>
                    <a:pt x="955" y="1087"/>
                    <a:pt x="955" y="1087"/>
                  </a:cubicBezTo>
                  <a:cubicBezTo>
                    <a:pt x="955" y="1087"/>
                    <a:pt x="955" y="1087"/>
                    <a:pt x="955" y="1087"/>
                  </a:cubicBezTo>
                  <a:cubicBezTo>
                    <a:pt x="955" y="1088"/>
                    <a:pt x="955" y="1088"/>
                    <a:pt x="955" y="1088"/>
                  </a:cubicBezTo>
                  <a:cubicBezTo>
                    <a:pt x="955" y="1090"/>
                    <a:pt x="955" y="1090"/>
                    <a:pt x="955" y="1090"/>
                  </a:cubicBezTo>
                  <a:cubicBezTo>
                    <a:pt x="955" y="1090"/>
                    <a:pt x="955" y="1090"/>
                    <a:pt x="955" y="1090"/>
                  </a:cubicBezTo>
                  <a:cubicBezTo>
                    <a:pt x="955" y="1090"/>
                    <a:pt x="955" y="1090"/>
                    <a:pt x="955" y="1090"/>
                  </a:cubicBezTo>
                  <a:cubicBezTo>
                    <a:pt x="954" y="1091"/>
                    <a:pt x="954" y="1091"/>
                    <a:pt x="954" y="1091"/>
                  </a:cubicBezTo>
                  <a:cubicBezTo>
                    <a:pt x="954" y="1091"/>
                    <a:pt x="954" y="1091"/>
                    <a:pt x="954" y="1091"/>
                  </a:cubicBezTo>
                  <a:cubicBezTo>
                    <a:pt x="954" y="1092"/>
                    <a:pt x="954" y="1092"/>
                    <a:pt x="954" y="1092"/>
                  </a:cubicBezTo>
                  <a:cubicBezTo>
                    <a:pt x="954" y="1092"/>
                    <a:pt x="954" y="1092"/>
                    <a:pt x="954" y="1092"/>
                  </a:cubicBezTo>
                  <a:cubicBezTo>
                    <a:pt x="954" y="1092"/>
                    <a:pt x="954" y="1092"/>
                    <a:pt x="954" y="1092"/>
                  </a:cubicBezTo>
                  <a:cubicBezTo>
                    <a:pt x="954" y="1092"/>
                    <a:pt x="954" y="1092"/>
                    <a:pt x="954" y="1092"/>
                  </a:cubicBezTo>
                  <a:cubicBezTo>
                    <a:pt x="954" y="1093"/>
                    <a:pt x="954" y="1093"/>
                    <a:pt x="954" y="1093"/>
                  </a:cubicBezTo>
                  <a:cubicBezTo>
                    <a:pt x="953" y="1094"/>
                    <a:pt x="953" y="1094"/>
                    <a:pt x="953" y="1094"/>
                  </a:cubicBezTo>
                  <a:cubicBezTo>
                    <a:pt x="953" y="1094"/>
                    <a:pt x="953" y="1094"/>
                    <a:pt x="953" y="1094"/>
                  </a:cubicBezTo>
                  <a:cubicBezTo>
                    <a:pt x="953" y="1095"/>
                    <a:pt x="953" y="1095"/>
                    <a:pt x="953" y="1095"/>
                  </a:cubicBezTo>
                  <a:cubicBezTo>
                    <a:pt x="954" y="1096"/>
                    <a:pt x="954" y="1096"/>
                    <a:pt x="954" y="1096"/>
                  </a:cubicBezTo>
                  <a:cubicBezTo>
                    <a:pt x="954" y="1096"/>
                    <a:pt x="954" y="1096"/>
                    <a:pt x="954" y="1096"/>
                  </a:cubicBezTo>
                  <a:cubicBezTo>
                    <a:pt x="953" y="1097"/>
                    <a:pt x="953" y="1097"/>
                    <a:pt x="953" y="1097"/>
                  </a:cubicBezTo>
                  <a:cubicBezTo>
                    <a:pt x="953" y="1097"/>
                    <a:pt x="953" y="1097"/>
                    <a:pt x="953" y="1097"/>
                  </a:cubicBezTo>
                  <a:cubicBezTo>
                    <a:pt x="952" y="1097"/>
                    <a:pt x="952" y="1097"/>
                    <a:pt x="952" y="1097"/>
                  </a:cubicBezTo>
                  <a:cubicBezTo>
                    <a:pt x="952" y="1097"/>
                    <a:pt x="952" y="1097"/>
                    <a:pt x="952" y="1097"/>
                  </a:cubicBezTo>
                  <a:cubicBezTo>
                    <a:pt x="951" y="1097"/>
                    <a:pt x="951" y="1097"/>
                    <a:pt x="951" y="1097"/>
                  </a:cubicBezTo>
                  <a:cubicBezTo>
                    <a:pt x="951" y="1098"/>
                    <a:pt x="951" y="1098"/>
                    <a:pt x="951" y="1098"/>
                  </a:cubicBezTo>
                  <a:cubicBezTo>
                    <a:pt x="951" y="1098"/>
                    <a:pt x="951" y="1098"/>
                    <a:pt x="951" y="1098"/>
                  </a:cubicBezTo>
                  <a:cubicBezTo>
                    <a:pt x="950" y="1098"/>
                    <a:pt x="950" y="1098"/>
                    <a:pt x="950" y="1098"/>
                  </a:cubicBezTo>
                  <a:cubicBezTo>
                    <a:pt x="949" y="1098"/>
                    <a:pt x="949" y="1098"/>
                    <a:pt x="949" y="1098"/>
                  </a:cubicBezTo>
                  <a:cubicBezTo>
                    <a:pt x="949" y="1099"/>
                    <a:pt x="949" y="1099"/>
                    <a:pt x="949" y="1099"/>
                  </a:cubicBezTo>
                  <a:cubicBezTo>
                    <a:pt x="948" y="1099"/>
                    <a:pt x="948" y="1099"/>
                    <a:pt x="948" y="1099"/>
                  </a:cubicBezTo>
                  <a:cubicBezTo>
                    <a:pt x="947" y="1100"/>
                    <a:pt x="947" y="1100"/>
                    <a:pt x="947" y="1100"/>
                  </a:cubicBezTo>
                  <a:cubicBezTo>
                    <a:pt x="947" y="1100"/>
                    <a:pt x="947" y="1100"/>
                    <a:pt x="947" y="1100"/>
                  </a:cubicBezTo>
                  <a:cubicBezTo>
                    <a:pt x="947" y="1101"/>
                    <a:pt x="947" y="1101"/>
                    <a:pt x="947" y="1101"/>
                  </a:cubicBezTo>
                  <a:cubicBezTo>
                    <a:pt x="947" y="1102"/>
                    <a:pt x="947" y="1102"/>
                    <a:pt x="947" y="1102"/>
                  </a:cubicBezTo>
                  <a:cubicBezTo>
                    <a:pt x="947" y="1102"/>
                    <a:pt x="947" y="1102"/>
                    <a:pt x="947" y="1102"/>
                  </a:cubicBezTo>
                  <a:cubicBezTo>
                    <a:pt x="947" y="1103"/>
                    <a:pt x="947" y="1103"/>
                    <a:pt x="947" y="1103"/>
                  </a:cubicBezTo>
                  <a:cubicBezTo>
                    <a:pt x="947" y="1103"/>
                    <a:pt x="947" y="1103"/>
                    <a:pt x="947" y="1103"/>
                  </a:cubicBezTo>
                  <a:cubicBezTo>
                    <a:pt x="947" y="1104"/>
                    <a:pt x="947" y="1104"/>
                    <a:pt x="947" y="1104"/>
                  </a:cubicBezTo>
                  <a:cubicBezTo>
                    <a:pt x="947" y="1105"/>
                    <a:pt x="947" y="1105"/>
                    <a:pt x="947" y="1105"/>
                  </a:cubicBezTo>
                  <a:cubicBezTo>
                    <a:pt x="946" y="1106"/>
                    <a:pt x="946" y="1106"/>
                    <a:pt x="946" y="1106"/>
                  </a:cubicBezTo>
                  <a:cubicBezTo>
                    <a:pt x="946" y="1107"/>
                    <a:pt x="946" y="1107"/>
                    <a:pt x="946" y="1107"/>
                  </a:cubicBezTo>
                  <a:cubicBezTo>
                    <a:pt x="946" y="1108"/>
                    <a:pt x="946" y="1108"/>
                    <a:pt x="946" y="1108"/>
                  </a:cubicBezTo>
                  <a:cubicBezTo>
                    <a:pt x="947" y="1109"/>
                    <a:pt x="947" y="1109"/>
                    <a:pt x="947" y="1109"/>
                  </a:cubicBezTo>
                  <a:cubicBezTo>
                    <a:pt x="947" y="1109"/>
                    <a:pt x="947" y="1109"/>
                    <a:pt x="947" y="1109"/>
                  </a:cubicBezTo>
                  <a:cubicBezTo>
                    <a:pt x="947" y="1110"/>
                    <a:pt x="947" y="1110"/>
                    <a:pt x="947" y="1110"/>
                  </a:cubicBezTo>
                  <a:cubicBezTo>
                    <a:pt x="947" y="1110"/>
                    <a:pt x="947" y="1110"/>
                    <a:pt x="947" y="1110"/>
                  </a:cubicBezTo>
                  <a:cubicBezTo>
                    <a:pt x="947" y="1111"/>
                    <a:pt x="947" y="1111"/>
                    <a:pt x="947" y="1111"/>
                  </a:cubicBezTo>
                  <a:cubicBezTo>
                    <a:pt x="947" y="1111"/>
                    <a:pt x="947" y="1111"/>
                    <a:pt x="947" y="1111"/>
                  </a:cubicBezTo>
                  <a:cubicBezTo>
                    <a:pt x="948" y="1112"/>
                    <a:pt x="948" y="1112"/>
                    <a:pt x="948" y="1112"/>
                  </a:cubicBezTo>
                  <a:cubicBezTo>
                    <a:pt x="948" y="1112"/>
                    <a:pt x="948" y="1112"/>
                    <a:pt x="948" y="1112"/>
                  </a:cubicBezTo>
                  <a:cubicBezTo>
                    <a:pt x="948" y="1113"/>
                    <a:pt x="948" y="1113"/>
                    <a:pt x="948" y="1113"/>
                  </a:cubicBezTo>
                  <a:cubicBezTo>
                    <a:pt x="949" y="1113"/>
                    <a:pt x="949" y="1113"/>
                    <a:pt x="949" y="1113"/>
                  </a:cubicBezTo>
                  <a:cubicBezTo>
                    <a:pt x="949" y="1114"/>
                    <a:pt x="949" y="1114"/>
                    <a:pt x="949" y="1114"/>
                  </a:cubicBezTo>
                  <a:cubicBezTo>
                    <a:pt x="950" y="1114"/>
                    <a:pt x="950" y="1114"/>
                    <a:pt x="950" y="1114"/>
                  </a:cubicBezTo>
                  <a:cubicBezTo>
                    <a:pt x="950" y="1115"/>
                    <a:pt x="950" y="1115"/>
                    <a:pt x="950" y="1115"/>
                  </a:cubicBezTo>
                  <a:cubicBezTo>
                    <a:pt x="950" y="1115"/>
                    <a:pt x="950" y="1115"/>
                    <a:pt x="950" y="1115"/>
                  </a:cubicBezTo>
                  <a:cubicBezTo>
                    <a:pt x="950" y="1116"/>
                    <a:pt x="950" y="1116"/>
                    <a:pt x="950" y="1116"/>
                  </a:cubicBezTo>
                  <a:cubicBezTo>
                    <a:pt x="950" y="1116"/>
                    <a:pt x="950" y="1116"/>
                    <a:pt x="950" y="1116"/>
                  </a:cubicBezTo>
                  <a:cubicBezTo>
                    <a:pt x="950" y="1116"/>
                    <a:pt x="950" y="1116"/>
                    <a:pt x="950" y="1116"/>
                  </a:cubicBezTo>
                  <a:cubicBezTo>
                    <a:pt x="950" y="1116"/>
                    <a:pt x="950" y="1116"/>
                    <a:pt x="950" y="1116"/>
                  </a:cubicBezTo>
                  <a:cubicBezTo>
                    <a:pt x="950" y="1116"/>
                    <a:pt x="950" y="1116"/>
                    <a:pt x="950" y="1116"/>
                  </a:cubicBezTo>
                  <a:cubicBezTo>
                    <a:pt x="950" y="1117"/>
                    <a:pt x="950" y="1117"/>
                    <a:pt x="950" y="1117"/>
                  </a:cubicBezTo>
                  <a:cubicBezTo>
                    <a:pt x="950" y="1117"/>
                    <a:pt x="950" y="1117"/>
                    <a:pt x="950" y="1117"/>
                  </a:cubicBezTo>
                  <a:cubicBezTo>
                    <a:pt x="950" y="1117"/>
                    <a:pt x="950" y="1117"/>
                    <a:pt x="950" y="1117"/>
                  </a:cubicBezTo>
                  <a:cubicBezTo>
                    <a:pt x="950" y="1118"/>
                    <a:pt x="950" y="1118"/>
                    <a:pt x="950" y="1118"/>
                  </a:cubicBezTo>
                  <a:cubicBezTo>
                    <a:pt x="951" y="1120"/>
                    <a:pt x="951" y="1120"/>
                    <a:pt x="951" y="1120"/>
                  </a:cubicBezTo>
                  <a:cubicBezTo>
                    <a:pt x="951" y="1121"/>
                    <a:pt x="951" y="1121"/>
                    <a:pt x="951" y="1121"/>
                  </a:cubicBezTo>
                  <a:cubicBezTo>
                    <a:pt x="951" y="1121"/>
                    <a:pt x="951" y="1121"/>
                    <a:pt x="951" y="1121"/>
                  </a:cubicBezTo>
                  <a:cubicBezTo>
                    <a:pt x="952" y="1122"/>
                    <a:pt x="952" y="1122"/>
                    <a:pt x="952" y="1122"/>
                  </a:cubicBezTo>
                  <a:cubicBezTo>
                    <a:pt x="953" y="1122"/>
                    <a:pt x="953" y="1122"/>
                    <a:pt x="953" y="1122"/>
                  </a:cubicBezTo>
                  <a:cubicBezTo>
                    <a:pt x="953" y="1122"/>
                    <a:pt x="953" y="1122"/>
                    <a:pt x="953" y="1122"/>
                  </a:cubicBezTo>
                  <a:cubicBezTo>
                    <a:pt x="952" y="1122"/>
                    <a:pt x="952" y="1122"/>
                    <a:pt x="952" y="1122"/>
                  </a:cubicBezTo>
                  <a:cubicBezTo>
                    <a:pt x="952" y="1122"/>
                    <a:pt x="952" y="1122"/>
                    <a:pt x="952" y="1122"/>
                  </a:cubicBezTo>
                  <a:cubicBezTo>
                    <a:pt x="952" y="1122"/>
                    <a:pt x="952" y="1122"/>
                    <a:pt x="952" y="1122"/>
                  </a:cubicBezTo>
                  <a:cubicBezTo>
                    <a:pt x="951" y="1121"/>
                    <a:pt x="951" y="1121"/>
                    <a:pt x="951" y="1121"/>
                  </a:cubicBezTo>
                  <a:cubicBezTo>
                    <a:pt x="951" y="1121"/>
                    <a:pt x="951" y="1121"/>
                    <a:pt x="951" y="1121"/>
                  </a:cubicBezTo>
                  <a:cubicBezTo>
                    <a:pt x="950" y="1121"/>
                    <a:pt x="950" y="1121"/>
                    <a:pt x="950" y="1121"/>
                  </a:cubicBezTo>
                  <a:cubicBezTo>
                    <a:pt x="950" y="1120"/>
                    <a:pt x="950" y="1120"/>
                    <a:pt x="950" y="1120"/>
                  </a:cubicBezTo>
                  <a:cubicBezTo>
                    <a:pt x="950" y="1119"/>
                    <a:pt x="950" y="1119"/>
                    <a:pt x="950" y="1119"/>
                  </a:cubicBezTo>
                  <a:cubicBezTo>
                    <a:pt x="949" y="1118"/>
                    <a:pt x="949" y="1118"/>
                    <a:pt x="949" y="1118"/>
                  </a:cubicBezTo>
                  <a:cubicBezTo>
                    <a:pt x="949" y="1117"/>
                    <a:pt x="949" y="1117"/>
                    <a:pt x="949" y="1117"/>
                  </a:cubicBezTo>
                  <a:cubicBezTo>
                    <a:pt x="949" y="1116"/>
                    <a:pt x="949" y="1116"/>
                    <a:pt x="949" y="1116"/>
                  </a:cubicBezTo>
                  <a:cubicBezTo>
                    <a:pt x="949" y="1116"/>
                    <a:pt x="949" y="1116"/>
                    <a:pt x="949" y="1116"/>
                  </a:cubicBezTo>
                  <a:cubicBezTo>
                    <a:pt x="949" y="1116"/>
                    <a:pt x="949" y="1116"/>
                    <a:pt x="949" y="1116"/>
                  </a:cubicBezTo>
                  <a:cubicBezTo>
                    <a:pt x="949" y="1116"/>
                    <a:pt x="949" y="1116"/>
                    <a:pt x="949" y="1116"/>
                  </a:cubicBezTo>
                  <a:cubicBezTo>
                    <a:pt x="949" y="1116"/>
                    <a:pt x="949" y="1116"/>
                    <a:pt x="949" y="1116"/>
                  </a:cubicBezTo>
                  <a:cubicBezTo>
                    <a:pt x="949" y="1115"/>
                    <a:pt x="949" y="1115"/>
                    <a:pt x="949" y="1115"/>
                  </a:cubicBezTo>
                  <a:cubicBezTo>
                    <a:pt x="949" y="1115"/>
                    <a:pt x="949" y="1115"/>
                    <a:pt x="949" y="1115"/>
                  </a:cubicBezTo>
                  <a:cubicBezTo>
                    <a:pt x="949" y="1115"/>
                    <a:pt x="949" y="1115"/>
                    <a:pt x="949" y="1115"/>
                  </a:cubicBezTo>
                  <a:lnTo>
                    <a:pt x="948" y="1115"/>
                  </a:lnTo>
                  <a:close/>
                  <a:moveTo>
                    <a:pt x="875" y="1151"/>
                  </a:moveTo>
                  <a:cubicBezTo>
                    <a:pt x="876" y="1151"/>
                    <a:pt x="876" y="1151"/>
                    <a:pt x="876" y="1151"/>
                  </a:cubicBezTo>
                  <a:cubicBezTo>
                    <a:pt x="877" y="1153"/>
                    <a:pt x="877" y="1153"/>
                    <a:pt x="877" y="1153"/>
                  </a:cubicBezTo>
                  <a:cubicBezTo>
                    <a:pt x="878" y="1153"/>
                    <a:pt x="878" y="1153"/>
                    <a:pt x="878" y="1153"/>
                  </a:cubicBezTo>
                  <a:cubicBezTo>
                    <a:pt x="878" y="1153"/>
                    <a:pt x="878" y="1153"/>
                    <a:pt x="878" y="1153"/>
                  </a:cubicBezTo>
                  <a:cubicBezTo>
                    <a:pt x="878" y="1153"/>
                    <a:pt x="878" y="1153"/>
                    <a:pt x="878" y="1153"/>
                  </a:cubicBezTo>
                  <a:cubicBezTo>
                    <a:pt x="876" y="1152"/>
                    <a:pt x="876" y="1152"/>
                    <a:pt x="876" y="1152"/>
                  </a:cubicBezTo>
                  <a:cubicBezTo>
                    <a:pt x="875" y="1151"/>
                    <a:pt x="875" y="1151"/>
                    <a:pt x="875" y="1151"/>
                  </a:cubicBezTo>
                  <a:close/>
                  <a:moveTo>
                    <a:pt x="898" y="1037"/>
                  </a:moveTo>
                  <a:cubicBezTo>
                    <a:pt x="898" y="1037"/>
                    <a:pt x="898" y="1037"/>
                    <a:pt x="898" y="1037"/>
                  </a:cubicBezTo>
                  <a:cubicBezTo>
                    <a:pt x="898" y="1037"/>
                    <a:pt x="898" y="1037"/>
                    <a:pt x="898" y="1037"/>
                  </a:cubicBezTo>
                  <a:cubicBezTo>
                    <a:pt x="899" y="1037"/>
                    <a:pt x="899" y="1037"/>
                    <a:pt x="899" y="1037"/>
                  </a:cubicBezTo>
                  <a:cubicBezTo>
                    <a:pt x="900" y="1038"/>
                    <a:pt x="900" y="1038"/>
                    <a:pt x="900" y="1038"/>
                  </a:cubicBezTo>
                  <a:cubicBezTo>
                    <a:pt x="900" y="1038"/>
                    <a:pt x="900" y="1038"/>
                    <a:pt x="900" y="1038"/>
                  </a:cubicBezTo>
                  <a:cubicBezTo>
                    <a:pt x="901" y="1040"/>
                    <a:pt x="901" y="1040"/>
                    <a:pt x="901" y="1040"/>
                  </a:cubicBezTo>
                  <a:cubicBezTo>
                    <a:pt x="903" y="1042"/>
                    <a:pt x="903" y="1042"/>
                    <a:pt x="903" y="1042"/>
                  </a:cubicBezTo>
                  <a:cubicBezTo>
                    <a:pt x="904" y="1043"/>
                    <a:pt x="904" y="1043"/>
                    <a:pt x="904" y="1043"/>
                  </a:cubicBezTo>
                  <a:cubicBezTo>
                    <a:pt x="904" y="1043"/>
                    <a:pt x="904" y="1043"/>
                    <a:pt x="904" y="1043"/>
                  </a:cubicBezTo>
                  <a:cubicBezTo>
                    <a:pt x="906" y="1044"/>
                    <a:pt x="906" y="1044"/>
                    <a:pt x="906" y="1044"/>
                  </a:cubicBezTo>
                  <a:cubicBezTo>
                    <a:pt x="907" y="1045"/>
                    <a:pt x="907" y="1045"/>
                    <a:pt x="907" y="1045"/>
                  </a:cubicBezTo>
                  <a:cubicBezTo>
                    <a:pt x="907" y="1045"/>
                    <a:pt x="907" y="1045"/>
                    <a:pt x="907" y="1045"/>
                  </a:cubicBezTo>
                  <a:cubicBezTo>
                    <a:pt x="907" y="1045"/>
                    <a:pt x="907" y="1045"/>
                    <a:pt x="907" y="1045"/>
                  </a:cubicBezTo>
                  <a:cubicBezTo>
                    <a:pt x="908" y="1045"/>
                    <a:pt x="908" y="1045"/>
                    <a:pt x="908" y="1045"/>
                  </a:cubicBezTo>
                  <a:cubicBezTo>
                    <a:pt x="908" y="1045"/>
                    <a:pt x="908" y="1045"/>
                    <a:pt x="908" y="1045"/>
                  </a:cubicBezTo>
                  <a:cubicBezTo>
                    <a:pt x="908" y="1045"/>
                    <a:pt x="908" y="1045"/>
                    <a:pt x="908" y="1045"/>
                  </a:cubicBezTo>
                  <a:cubicBezTo>
                    <a:pt x="908" y="1046"/>
                    <a:pt x="908" y="1046"/>
                    <a:pt x="908" y="1046"/>
                  </a:cubicBezTo>
                  <a:cubicBezTo>
                    <a:pt x="907" y="1046"/>
                    <a:pt x="907" y="1046"/>
                    <a:pt x="907" y="1046"/>
                  </a:cubicBezTo>
                  <a:cubicBezTo>
                    <a:pt x="907" y="1046"/>
                    <a:pt x="907" y="1046"/>
                    <a:pt x="907" y="1046"/>
                  </a:cubicBezTo>
                  <a:cubicBezTo>
                    <a:pt x="907" y="1046"/>
                    <a:pt x="907" y="1046"/>
                    <a:pt x="907" y="1046"/>
                  </a:cubicBezTo>
                  <a:cubicBezTo>
                    <a:pt x="907" y="1045"/>
                    <a:pt x="907" y="1045"/>
                    <a:pt x="907" y="1045"/>
                  </a:cubicBezTo>
                  <a:cubicBezTo>
                    <a:pt x="906" y="1045"/>
                    <a:pt x="906" y="1045"/>
                    <a:pt x="906" y="1045"/>
                  </a:cubicBezTo>
                  <a:cubicBezTo>
                    <a:pt x="905" y="1044"/>
                    <a:pt x="905" y="1044"/>
                    <a:pt x="905" y="1044"/>
                  </a:cubicBezTo>
                  <a:cubicBezTo>
                    <a:pt x="904" y="1044"/>
                    <a:pt x="904" y="1044"/>
                    <a:pt x="904" y="1044"/>
                  </a:cubicBezTo>
                  <a:cubicBezTo>
                    <a:pt x="903" y="1044"/>
                    <a:pt x="903" y="1044"/>
                    <a:pt x="903" y="1044"/>
                  </a:cubicBezTo>
                  <a:cubicBezTo>
                    <a:pt x="902" y="1042"/>
                    <a:pt x="902" y="1042"/>
                    <a:pt x="902" y="1042"/>
                  </a:cubicBezTo>
                  <a:cubicBezTo>
                    <a:pt x="900" y="1040"/>
                    <a:pt x="900" y="1040"/>
                    <a:pt x="900" y="1040"/>
                  </a:cubicBezTo>
                  <a:cubicBezTo>
                    <a:pt x="899" y="1039"/>
                    <a:pt x="899" y="1039"/>
                    <a:pt x="899" y="1039"/>
                  </a:cubicBezTo>
                  <a:cubicBezTo>
                    <a:pt x="899" y="1039"/>
                    <a:pt x="899" y="1039"/>
                    <a:pt x="899" y="1039"/>
                  </a:cubicBezTo>
                  <a:cubicBezTo>
                    <a:pt x="898" y="1038"/>
                    <a:pt x="898" y="1038"/>
                    <a:pt x="898" y="1038"/>
                  </a:cubicBezTo>
                  <a:cubicBezTo>
                    <a:pt x="898" y="1038"/>
                    <a:pt x="898" y="1038"/>
                    <a:pt x="898" y="1038"/>
                  </a:cubicBezTo>
                  <a:cubicBezTo>
                    <a:pt x="897" y="1038"/>
                    <a:pt x="897" y="1038"/>
                    <a:pt x="897" y="1038"/>
                  </a:cubicBezTo>
                  <a:cubicBezTo>
                    <a:pt x="897" y="1037"/>
                    <a:pt x="897" y="1037"/>
                    <a:pt x="897" y="1037"/>
                  </a:cubicBezTo>
                  <a:lnTo>
                    <a:pt x="898" y="1037"/>
                  </a:lnTo>
                  <a:close/>
                  <a:moveTo>
                    <a:pt x="897" y="1006"/>
                  </a:moveTo>
                  <a:cubicBezTo>
                    <a:pt x="897" y="1006"/>
                    <a:pt x="897" y="1006"/>
                    <a:pt x="897" y="1006"/>
                  </a:cubicBezTo>
                  <a:cubicBezTo>
                    <a:pt x="897" y="1006"/>
                    <a:pt x="897" y="1006"/>
                    <a:pt x="897" y="1006"/>
                  </a:cubicBezTo>
                  <a:cubicBezTo>
                    <a:pt x="897" y="1006"/>
                    <a:pt x="897" y="1006"/>
                    <a:pt x="897" y="1006"/>
                  </a:cubicBezTo>
                  <a:cubicBezTo>
                    <a:pt x="897" y="1006"/>
                    <a:pt x="897" y="1006"/>
                    <a:pt x="897" y="1006"/>
                  </a:cubicBezTo>
                  <a:cubicBezTo>
                    <a:pt x="897" y="1006"/>
                    <a:pt x="897" y="1006"/>
                    <a:pt x="897" y="1006"/>
                  </a:cubicBezTo>
                  <a:cubicBezTo>
                    <a:pt x="897" y="1006"/>
                    <a:pt x="897" y="1006"/>
                    <a:pt x="897" y="1006"/>
                  </a:cubicBezTo>
                  <a:cubicBezTo>
                    <a:pt x="897" y="1005"/>
                    <a:pt x="897" y="1005"/>
                    <a:pt x="897" y="1005"/>
                  </a:cubicBezTo>
                  <a:cubicBezTo>
                    <a:pt x="897" y="1005"/>
                    <a:pt x="897" y="1005"/>
                    <a:pt x="897" y="1005"/>
                  </a:cubicBezTo>
                  <a:lnTo>
                    <a:pt x="897" y="1006"/>
                  </a:lnTo>
                  <a:close/>
                  <a:moveTo>
                    <a:pt x="863" y="862"/>
                  </a:moveTo>
                  <a:cubicBezTo>
                    <a:pt x="863" y="862"/>
                    <a:pt x="863" y="862"/>
                    <a:pt x="863" y="862"/>
                  </a:cubicBezTo>
                  <a:cubicBezTo>
                    <a:pt x="863" y="861"/>
                    <a:pt x="863" y="861"/>
                    <a:pt x="863" y="861"/>
                  </a:cubicBezTo>
                  <a:cubicBezTo>
                    <a:pt x="863" y="861"/>
                    <a:pt x="863" y="861"/>
                    <a:pt x="863" y="861"/>
                  </a:cubicBezTo>
                  <a:cubicBezTo>
                    <a:pt x="864" y="861"/>
                    <a:pt x="864" y="861"/>
                    <a:pt x="864" y="861"/>
                  </a:cubicBezTo>
                  <a:cubicBezTo>
                    <a:pt x="864" y="862"/>
                    <a:pt x="864" y="862"/>
                    <a:pt x="864" y="862"/>
                  </a:cubicBezTo>
                  <a:cubicBezTo>
                    <a:pt x="864" y="862"/>
                    <a:pt x="864" y="862"/>
                    <a:pt x="864" y="862"/>
                  </a:cubicBezTo>
                  <a:cubicBezTo>
                    <a:pt x="864" y="863"/>
                    <a:pt x="864" y="863"/>
                    <a:pt x="864" y="863"/>
                  </a:cubicBezTo>
                  <a:cubicBezTo>
                    <a:pt x="864" y="863"/>
                    <a:pt x="864" y="863"/>
                    <a:pt x="864" y="863"/>
                  </a:cubicBezTo>
                  <a:cubicBezTo>
                    <a:pt x="865" y="864"/>
                    <a:pt x="865" y="864"/>
                    <a:pt x="865" y="864"/>
                  </a:cubicBezTo>
                  <a:cubicBezTo>
                    <a:pt x="864" y="863"/>
                    <a:pt x="864" y="863"/>
                    <a:pt x="864" y="863"/>
                  </a:cubicBezTo>
                  <a:cubicBezTo>
                    <a:pt x="863" y="863"/>
                    <a:pt x="863" y="863"/>
                    <a:pt x="863" y="863"/>
                  </a:cubicBezTo>
                  <a:lnTo>
                    <a:pt x="863" y="862"/>
                  </a:lnTo>
                  <a:close/>
                  <a:moveTo>
                    <a:pt x="866" y="871"/>
                  </a:moveTo>
                  <a:cubicBezTo>
                    <a:pt x="868" y="870"/>
                    <a:pt x="868" y="870"/>
                    <a:pt x="868" y="870"/>
                  </a:cubicBezTo>
                  <a:cubicBezTo>
                    <a:pt x="868" y="869"/>
                    <a:pt x="868" y="869"/>
                    <a:pt x="868" y="869"/>
                  </a:cubicBezTo>
                  <a:cubicBezTo>
                    <a:pt x="868" y="869"/>
                    <a:pt x="868" y="869"/>
                    <a:pt x="868" y="869"/>
                  </a:cubicBezTo>
                  <a:cubicBezTo>
                    <a:pt x="868" y="869"/>
                    <a:pt x="868" y="869"/>
                    <a:pt x="868" y="869"/>
                  </a:cubicBezTo>
                  <a:cubicBezTo>
                    <a:pt x="868" y="869"/>
                    <a:pt x="868" y="869"/>
                    <a:pt x="868" y="869"/>
                  </a:cubicBezTo>
                  <a:cubicBezTo>
                    <a:pt x="868" y="869"/>
                    <a:pt x="868" y="869"/>
                    <a:pt x="868" y="869"/>
                  </a:cubicBezTo>
                  <a:cubicBezTo>
                    <a:pt x="868" y="868"/>
                    <a:pt x="868" y="868"/>
                    <a:pt x="868" y="868"/>
                  </a:cubicBezTo>
                  <a:cubicBezTo>
                    <a:pt x="867" y="868"/>
                    <a:pt x="867" y="868"/>
                    <a:pt x="867" y="868"/>
                  </a:cubicBezTo>
                  <a:cubicBezTo>
                    <a:pt x="867" y="868"/>
                    <a:pt x="867" y="868"/>
                    <a:pt x="867" y="868"/>
                  </a:cubicBezTo>
                  <a:cubicBezTo>
                    <a:pt x="867" y="868"/>
                    <a:pt x="867" y="868"/>
                    <a:pt x="867" y="868"/>
                  </a:cubicBezTo>
                  <a:cubicBezTo>
                    <a:pt x="867" y="868"/>
                    <a:pt x="867" y="868"/>
                    <a:pt x="867" y="868"/>
                  </a:cubicBezTo>
                  <a:cubicBezTo>
                    <a:pt x="868" y="867"/>
                    <a:pt x="868" y="867"/>
                    <a:pt x="868" y="867"/>
                  </a:cubicBezTo>
                  <a:cubicBezTo>
                    <a:pt x="868" y="867"/>
                    <a:pt x="868" y="867"/>
                    <a:pt x="868" y="867"/>
                  </a:cubicBezTo>
                  <a:cubicBezTo>
                    <a:pt x="867" y="865"/>
                    <a:pt x="867" y="865"/>
                    <a:pt x="867" y="865"/>
                  </a:cubicBezTo>
                  <a:cubicBezTo>
                    <a:pt x="867" y="864"/>
                    <a:pt x="867" y="864"/>
                    <a:pt x="867" y="864"/>
                  </a:cubicBezTo>
                  <a:cubicBezTo>
                    <a:pt x="867" y="864"/>
                    <a:pt x="867" y="864"/>
                    <a:pt x="867" y="864"/>
                  </a:cubicBezTo>
                  <a:cubicBezTo>
                    <a:pt x="868" y="863"/>
                    <a:pt x="868" y="863"/>
                    <a:pt x="868" y="863"/>
                  </a:cubicBezTo>
                  <a:cubicBezTo>
                    <a:pt x="868" y="864"/>
                    <a:pt x="868" y="864"/>
                    <a:pt x="868" y="864"/>
                  </a:cubicBezTo>
                  <a:cubicBezTo>
                    <a:pt x="868" y="864"/>
                    <a:pt x="868" y="864"/>
                    <a:pt x="868" y="864"/>
                  </a:cubicBezTo>
                  <a:cubicBezTo>
                    <a:pt x="868" y="865"/>
                    <a:pt x="868" y="865"/>
                    <a:pt x="868" y="865"/>
                  </a:cubicBezTo>
                  <a:cubicBezTo>
                    <a:pt x="868" y="867"/>
                    <a:pt x="868" y="867"/>
                    <a:pt x="868" y="867"/>
                  </a:cubicBezTo>
                  <a:cubicBezTo>
                    <a:pt x="868" y="868"/>
                    <a:pt x="868" y="868"/>
                    <a:pt x="868" y="868"/>
                  </a:cubicBezTo>
                  <a:cubicBezTo>
                    <a:pt x="868" y="868"/>
                    <a:pt x="868" y="868"/>
                    <a:pt x="868" y="868"/>
                  </a:cubicBezTo>
                  <a:cubicBezTo>
                    <a:pt x="868" y="868"/>
                    <a:pt x="868" y="868"/>
                    <a:pt x="868" y="868"/>
                  </a:cubicBezTo>
                  <a:cubicBezTo>
                    <a:pt x="868" y="868"/>
                    <a:pt x="868" y="868"/>
                    <a:pt x="868" y="868"/>
                  </a:cubicBezTo>
                  <a:cubicBezTo>
                    <a:pt x="868" y="868"/>
                    <a:pt x="868" y="868"/>
                    <a:pt x="868" y="868"/>
                  </a:cubicBezTo>
                  <a:cubicBezTo>
                    <a:pt x="869" y="869"/>
                    <a:pt x="869" y="869"/>
                    <a:pt x="869" y="869"/>
                  </a:cubicBezTo>
                  <a:cubicBezTo>
                    <a:pt x="869" y="869"/>
                    <a:pt x="869" y="869"/>
                    <a:pt x="869" y="869"/>
                  </a:cubicBezTo>
                  <a:cubicBezTo>
                    <a:pt x="869" y="869"/>
                    <a:pt x="869" y="869"/>
                    <a:pt x="869" y="869"/>
                  </a:cubicBezTo>
                  <a:cubicBezTo>
                    <a:pt x="869" y="869"/>
                    <a:pt x="869" y="869"/>
                    <a:pt x="869" y="869"/>
                  </a:cubicBezTo>
                  <a:cubicBezTo>
                    <a:pt x="869" y="870"/>
                    <a:pt x="869" y="870"/>
                    <a:pt x="869" y="870"/>
                  </a:cubicBezTo>
                  <a:cubicBezTo>
                    <a:pt x="869" y="870"/>
                    <a:pt x="869" y="870"/>
                    <a:pt x="869" y="870"/>
                  </a:cubicBezTo>
                  <a:cubicBezTo>
                    <a:pt x="868" y="870"/>
                    <a:pt x="868" y="870"/>
                    <a:pt x="868" y="870"/>
                  </a:cubicBezTo>
                  <a:cubicBezTo>
                    <a:pt x="867" y="871"/>
                    <a:pt x="867" y="871"/>
                    <a:pt x="867" y="871"/>
                  </a:cubicBezTo>
                  <a:cubicBezTo>
                    <a:pt x="867" y="872"/>
                    <a:pt x="867" y="872"/>
                    <a:pt x="867" y="872"/>
                  </a:cubicBezTo>
                  <a:cubicBezTo>
                    <a:pt x="868" y="873"/>
                    <a:pt x="868" y="873"/>
                    <a:pt x="868" y="873"/>
                  </a:cubicBezTo>
                  <a:cubicBezTo>
                    <a:pt x="868" y="873"/>
                    <a:pt x="868" y="873"/>
                    <a:pt x="868" y="873"/>
                  </a:cubicBezTo>
                  <a:cubicBezTo>
                    <a:pt x="867" y="873"/>
                    <a:pt x="867" y="873"/>
                    <a:pt x="867" y="873"/>
                  </a:cubicBezTo>
                  <a:cubicBezTo>
                    <a:pt x="867" y="873"/>
                    <a:pt x="867" y="873"/>
                    <a:pt x="867" y="873"/>
                  </a:cubicBezTo>
                  <a:cubicBezTo>
                    <a:pt x="866" y="872"/>
                    <a:pt x="866" y="872"/>
                    <a:pt x="866" y="872"/>
                  </a:cubicBezTo>
                  <a:lnTo>
                    <a:pt x="866" y="871"/>
                  </a:lnTo>
                  <a:close/>
                  <a:moveTo>
                    <a:pt x="941" y="875"/>
                  </a:moveTo>
                  <a:cubicBezTo>
                    <a:pt x="941" y="875"/>
                    <a:pt x="941" y="875"/>
                    <a:pt x="941" y="875"/>
                  </a:cubicBezTo>
                  <a:cubicBezTo>
                    <a:pt x="942" y="875"/>
                    <a:pt x="942" y="875"/>
                    <a:pt x="942" y="875"/>
                  </a:cubicBezTo>
                  <a:cubicBezTo>
                    <a:pt x="941" y="875"/>
                    <a:pt x="941" y="875"/>
                    <a:pt x="941" y="875"/>
                  </a:cubicBezTo>
                  <a:cubicBezTo>
                    <a:pt x="940" y="875"/>
                    <a:pt x="940" y="875"/>
                    <a:pt x="940" y="875"/>
                  </a:cubicBezTo>
                  <a:cubicBezTo>
                    <a:pt x="940" y="875"/>
                    <a:pt x="940" y="875"/>
                    <a:pt x="940" y="875"/>
                  </a:cubicBezTo>
                  <a:cubicBezTo>
                    <a:pt x="939" y="875"/>
                    <a:pt x="939" y="875"/>
                    <a:pt x="939" y="875"/>
                  </a:cubicBezTo>
                  <a:cubicBezTo>
                    <a:pt x="940" y="874"/>
                    <a:pt x="940" y="874"/>
                    <a:pt x="940" y="874"/>
                  </a:cubicBezTo>
                  <a:cubicBezTo>
                    <a:pt x="940" y="874"/>
                    <a:pt x="940" y="874"/>
                    <a:pt x="940" y="874"/>
                  </a:cubicBezTo>
                  <a:cubicBezTo>
                    <a:pt x="939" y="874"/>
                    <a:pt x="939" y="874"/>
                    <a:pt x="939" y="874"/>
                  </a:cubicBezTo>
                  <a:cubicBezTo>
                    <a:pt x="940" y="874"/>
                    <a:pt x="940" y="874"/>
                    <a:pt x="940" y="874"/>
                  </a:cubicBezTo>
                  <a:cubicBezTo>
                    <a:pt x="940" y="874"/>
                    <a:pt x="940" y="874"/>
                    <a:pt x="940" y="874"/>
                  </a:cubicBezTo>
                  <a:cubicBezTo>
                    <a:pt x="941" y="874"/>
                    <a:pt x="941" y="874"/>
                    <a:pt x="941" y="874"/>
                  </a:cubicBezTo>
                  <a:cubicBezTo>
                    <a:pt x="941" y="874"/>
                    <a:pt x="941" y="874"/>
                    <a:pt x="941" y="874"/>
                  </a:cubicBezTo>
                  <a:cubicBezTo>
                    <a:pt x="941" y="874"/>
                    <a:pt x="941" y="874"/>
                    <a:pt x="941" y="874"/>
                  </a:cubicBezTo>
                  <a:cubicBezTo>
                    <a:pt x="941" y="875"/>
                    <a:pt x="941" y="875"/>
                    <a:pt x="941" y="875"/>
                  </a:cubicBezTo>
                  <a:close/>
                  <a:moveTo>
                    <a:pt x="955" y="859"/>
                  </a:moveTo>
                  <a:cubicBezTo>
                    <a:pt x="955" y="860"/>
                    <a:pt x="955" y="860"/>
                    <a:pt x="955" y="860"/>
                  </a:cubicBezTo>
                  <a:cubicBezTo>
                    <a:pt x="955" y="862"/>
                    <a:pt x="955" y="862"/>
                    <a:pt x="955" y="862"/>
                  </a:cubicBezTo>
                  <a:cubicBezTo>
                    <a:pt x="955" y="862"/>
                    <a:pt x="955" y="862"/>
                    <a:pt x="955" y="862"/>
                  </a:cubicBezTo>
                  <a:cubicBezTo>
                    <a:pt x="955" y="862"/>
                    <a:pt x="955" y="862"/>
                    <a:pt x="955" y="862"/>
                  </a:cubicBezTo>
                  <a:cubicBezTo>
                    <a:pt x="955" y="862"/>
                    <a:pt x="955" y="862"/>
                    <a:pt x="955" y="862"/>
                  </a:cubicBezTo>
                  <a:cubicBezTo>
                    <a:pt x="955" y="860"/>
                    <a:pt x="955" y="860"/>
                    <a:pt x="955" y="860"/>
                  </a:cubicBezTo>
                  <a:cubicBezTo>
                    <a:pt x="955" y="859"/>
                    <a:pt x="955" y="859"/>
                    <a:pt x="955" y="859"/>
                  </a:cubicBezTo>
                  <a:close/>
                  <a:moveTo>
                    <a:pt x="960" y="878"/>
                  </a:moveTo>
                  <a:cubicBezTo>
                    <a:pt x="960" y="879"/>
                    <a:pt x="960" y="879"/>
                    <a:pt x="960" y="879"/>
                  </a:cubicBezTo>
                  <a:cubicBezTo>
                    <a:pt x="960" y="880"/>
                    <a:pt x="960" y="880"/>
                    <a:pt x="960" y="880"/>
                  </a:cubicBezTo>
                  <a:cubicBezTo>
                    <a:pt x="960" y="880"/>
                    <a:pt x="960" y="880"/>
                    <a:pt x="960" y="880"/>
                  </a:cubicBezTo>
                  <a:cubicBezTo>
                    <a:pt x="960" y="880"/>
                    <a:pt x="960" y="880"/>
                    <a:pt x="960" y="880"/>
                  </a:cubicBezTo>
                  <a:cubicBezTo>
                    <a:pt x="960" y="879"/>
                    <a:pt x="960" y="879"/>
                    <a:pt x="960" y="879"/>
                  </a:cubicBezTo>
                  <a:cubicBezTo>
                    <a:pt x="960" y="879"/>
                    <a:pt x="960" y="879"/>
                    <a:pt x="960" y="879"/>
                  </a:cubicBezTo>
                  <a:cubicBezTo>
                    <a:pt x="960" y="878"/>
                    <a:pt x="960" y="878"/>
                    <a:pt x="960" y="878"/>
                  </a:cubicBezTo>
                  <a:cubicBezTo>
                    <a:pt x="960" y="878"/>
                    <a:pt x="960" y="878"/>
                    <a:pt x="960" y="878"/>
                  </a:cubicBezTo>
                  <a:cubicBezTo>
                    <a:pt x="960" y="878"/>
                    <a:pt x="960" y="878"/>
                    <a:pt x="960" y="878"/>
                  </a:cubicBezTo>
                  <a:close/>
                  <a:moveTo>
                    <a:pt x="957" y="870"/>
                  </a:moveTo>
                  <a:cubicBezTo>
                    <a:pt x="956" y="871"/>
                    <a:pt x="956" y="871"/>
                    <a:pt x="956" y="871"/>
                  </a:cubicBezTo>
                  <a:cubicBezTo>
                    <a:pt x="956" y="873"/>
                    <a:pt x="956" y="873"/>
                    <a:pt x="956" y="873"/>
                  </a:cubicBezTo>
                  <a:cubicBezTo>
                    <a:pt x="955" y="874"/>
                    <a:pt x="955" y="874"/>
                    <a:pt x="955" y="874"/>
                  </a:cubicBezTo>
                  <a:cubicBezTo>
                    <a:pt x="955" y="874"/>
                    <a:pt x="955" y="874"/>
                    <a:pt x="955" y="874"/>
                  </a:cubicBezTo>
                  <a:cubicBezTo>
                    <a:pt x="955" y="874"/>
                    <a:pt x="955" y="874"/>
                    <a:pt x="955" y="874"/>
                  </a:cubicBezTo>
                  <a:cubicBezTo>
                    <a:pt x="955" y="874"/>
                    <a:pt x="955" y="874"/>
                    <a:pt x="955" y="874"/>
                  </a:cubicBezTo>
                  <a:cubicBezTo>
                    <a:pt x="956" y="873"/>
                    <a:pt x="956" y="873"/>
                    <a:pt x="956" y="873"/>
                  </a:cubicBezTo>
                  <a:cubicBezTo>
                    <a:pt x="956" y="871"/>
                    <a:pt x="956" y="871"/>
                    <a:pt x="956" y="871"/>
                  </a:cubicBezTo>
                  <a:cubicBezTo>
                    <a:pt x="957" y="870"/>
                    <a:pt x="957" y="870"/>
                    <a:pt x="957" y="870"/>
                  </a:cubicBezTo>
                  <a:cubicBezTo>
                    <a:pt x="957" y="869"/>
                    <a:pt x="957" y="869"/>
                    <a:pt x="957" y="869"/>
                  </a:cubicBezTo>
                  <a:cubicBezTo>
                    <a:pt x="956" y="865"/>
                    <a:pt x="956" y="865"/>
                    <a:pt x="956" y="865"/>
                  </a:cubicBezTo>
                  <a:cubicBezTo>
                    <a:pt x="956" y="864"/>
                    <a:pt x="956" y="864"/>
                    <a:pt x="956" y="864"/>
                  </a:cubicBezTo>
                  <a:cubicBezTo>
                    <a:pt x="956" y="864"/>
                    <a:pt x="956" y="864"/>
                    <a:pt x="956" y="864"/>
                  </a:cubicBezTo>
                  <a:cubicBezTo>
                    <a:pt x="957" y="865"/>
                    <a:pt x="957" y="865"/>
                    <a:pt x="957" y="865"/>
                  </a:cubicBezTo>
                  <a:cubicBezTo>
                    <a:pt x="957" y="869"/>
                    <a:pt x="957" y="869"/>
                    <a:pt x="957" y="869"/>
                  </a:cubicBezTo>
                  <a:lnTo>
                    <a:pt x="957" y="870"/>
                  </a:lnTo>
                  <a:close/>
                  <a:moveTo>
                    <a:pt x="954" y="879"/>
                  </a:moveTo>
                  <a:cubicBezTo>
                    <a:pt x="955" y="880"/>
                    <a:pt x="955" y="880"/>
                    <a:pt x="955" y="880"/>
                  </a:cubicBezTo>
                  <a:cubicBezTo>
                    <a:pt x="955" y="879"/>
                    <a:pt x="955" y="879"/>
                    <a:pt x="955" y="879"/>
                  </a:cubicBezTo>
                  <a:cubicBezTo>
                    <a:pt x="956" y="880"/>
                    <a:pt x="956" y="880"/>
                    <a:pt x="956" y="880"/>
                  </a:cubicBezTo>
                  <a:cubicBezTo>
                    <a:pt x="957" y="879"/>
                    <a:pt x="957" y="879"/>
                    <a:pt x="957" y="879"/>
                  </a:cubicBezTo>
                  <a:cubicBezTo>
                    <a:pt x="957" y="879"/>
                    <a:pt x="957" y="879"/>
                    <a:pt x="957" y="879"/>
                  </a:cubicBezTo>
                  <a:cubicBezTo>
                    <a:pt x="958" y="880"/>
                    <a:pt x="958" y="880"/>
                    <a:pt x="958" y="880"/>
                  </a:cubicBezTo>
                  <a:cubicBezTo>
                    <a:pt x="958" y="880"/>
                    <a:pt x="958" y="880"/>
                    <a:pt x="958" y="880"/>
                  </a:cubicBezTo>
                  <a:cubicBezTo>
                    <a:pt x="959" y="881"/>
                    <a:pt x="959" y="881"/>
                    <a:pt x="959" y="881"/>
                  </a:cubicBezTo>
                  <a:cubicBezTo>
                    <a:pt x="959" y="881"/>
                    <a:pt x="959" y="881"/>
                    <a:pt x="959" y="881"/>
                  </a:cubicBezTo>
                  <a:cubicBezTo>
                    <a:pt x="960" y="882"/>
                    <a:pt x="960" y="882"/>
                    <a:pt x="960" y="882"/>
                  </a:cubicBezTo>
                  <a:cubicBezTo>
                    <a:pt x="960" y="882"/>
                    <a:pt x="960" y="882"/>
                    <a:pt x="960" y="882"/>
                  </a:cubicBezTo>
                  <a:cubicBezTo>
                    <a:pt x="961" y="881"/>
                    <a:pt x="961" y="881"/>
                    <a:pt x="961" y="881"/>
                  </a:cubicBezTo>
                  <a:cubicBezTo>
                    <a:pt x="961" y="881"/>
                    <a:pt x="961" y="881"/>
                    <a:pt x="961" y="881"/>
                  </a:cubicBezTo>
                  <a:cubicBezTo>
                    <a:pt x="961" y="881"/>
                    <a:pt x="961" y="881"/>
                    <a:pt x="961" y="881"/>
                  </a:cubicBezTo>
                  <a:cubicBezTo>
                    <a:pt x="960" y="882"/>
                    <a:pt x="960" y="882"/>
                    <a:pt x="960" y="882"/>
                  </a:cubicBezTo>
                  <a:cubicBezTo>
                    <a:pt x="960" y="882"/>
                    <a:pt x="960" y="882"/>
                    <a:pt x="960" y="882"/>
                  </a:cubicBezTo>
                  <a:cubicBezTo>
                    <a:pt x="959" y="881"/>
                    <a:pt x="959" y="881"/>
                    <a:pt x="959" y="881"/>
                  </a:cubicBezTo>
                  <a:cubicBezTo>
                    <a:pt x="959" y="881"/>
                    <a:pt x="959" y="881"/>
                    <a:pt x="959" y="881"/>
                  </a:cubicBezTo>
                  <a:cubicBezTo>
                    <a:pt x="958" y="881"/>
                    <a:pt x="958" y="881"/>
                    <a:pt x="958" y="881"/>
                  </a:cubicBezTo>
                  <a:cubicBezTo>
                    <a:pt x="958" y="880"/>
                    <a:pt x="958" y="880"/>
                    <a:pt x="958" y="880"/>
                  </a:cubicBezTo>
                  <a:cubicBezTo>
                    <a:pt x="957" y="880"/>
                    <a:pt x="957" y="880"/>
                    <a:pt x="957" y="880"/>
                  </a:cubicBezTo>
                  <a:cubicBezTo>
                    <a:pt x="957" y="880"/>
                    <a:pt x="957" y="880"/>
                    <a:pt x="957" y="880"/>
                  </a:cubicBezTo>
                  <a:cubicBezTo>
                    <a:pt x="956" y="880"/>
                    <a:pt x="956" y="880"/>
                    <a:pt x="956" y="880"/>
                  </a:cubicBezTo>
                  <a:cubicBezTo>
                    <a:pt x="955" y="880"/>
                    <a:pt x="955" y="880"/>
                    <a:pt x="955" y="880"/>
                  </a:cubicBezTo>
                  <a:cubicBezTo>
                    <a:pt x="955" y="880"/>
                    <a:pt x="955" y="880"/>
                    <a:pt x="955" y="880"/>
                  </a:cubicBezTo>
                  <a:cubicBezTo>
                    <a:pt x="954" y="880"/>
                    <a:pt x="954" y="880"/>
                    <a:pt x="954" y="880"/>
                  </a:cubicBezTo>
                  <a:cubicBezTo>
                    <a:pt x="953" y="879"/>
                    <a:pt x="953" y="879"/>
                    <a:pt x="953" y="879"/>
                  </a:cubicBezTo>
                  <a:cubicBezTo>
                    <a:pt x="952" y="878"/>
                    <a:pt x="952" y="878"/>
                    <a:pt x="952" y="878"/>
                  </a:cubicBezTo>
                  <a:cubicBezTo>
                    <a:pt x="952" y="878"/>
                    <a:pt x="952" y="878"/>
                    <a:pt x="952" y="878"/>
                  </a:cubicBezTo>
                  <a:cubicBezTo>
                    <a:pt x="951" y="879"/>
                    <a:pt x="951" y="879"/>
                    <a:pt x="951" y="879"/>
                  </a:cubicBezTo>
                  <a:cubicBezTo>
                    <a:pt x="951" y="879"/>
                    <a:pt x="951" y="879"/>
                    <a:pt x="951" y="879"/>
                  </a:cubicBezTo>
                  <a:cubicBezTo>
                    <a:pt x="951" y="880"/>
                    <a:pt x="951" y="880"/>
                    <a:pt x="951" y="880"/>
                  </a:cubicBezTo>
                  <a:cubicBezTo>
                    <a:pt x="950" y="881"/>
                    <a:pt x="950" y="881"/>
                    <a:pt x="950" y="881"/>
                  </a:cubicBezTo>
                  <a:cubicBezTo>
                    <a:pt x="950" y="882"/>
                    <a:pt x="950" y="882"/>
                    <a:pt x="950" y="882"/>
                  </a:cubicBezTo>
                  <a:cubicBezTo>
                    <a:pt x="950" y="882"/>
                    <a:pt x="950" y="882"/>
                    <a:pt x="950" y="882"/>
                  </a:cubicBezTo>
                  <a:cubicBezTo>
                    <a:pt x="949" y="883"/>
                    <a:pt x="949" y="883"/>
                    <a:pt x="949" y="883"/>
                  </a:cubicBezTo>
                  <a:cubicBezTo>
                    <a:pt x="948" y="883"/>
                    <a:pt x="948" y="883"/>
                    <a:pt x="948" y="883"/>
                  </a:cubicBezTo>
                  <a:cubicBezTo>
                    <a:pt x="948" y="885"/>
                    <a:pt x="948" y="885"/>
                    <a:pt x="948" y="885"/>
                  </a:cubicBezTo>
                  <a:cubicBezTo>
                    <a:pt x="947" y="886"/>
                    <a:pt x="947" y="886"/>
                    <a:pt x="947" y="886"/>
                  </a:cubicBezTo>
                  <a:cubicBezTo>
                    <a:pt x="947" y="886"/>
                    <a:pt x="947" y="886"/>
                    <a:pt x="947" y="886"/>
                  </a:cubicBezTo>
                  <a:cubicBezTo>
                    <a:pt x="947" y="887"/>
                    <a:pt x="947" y="887"/>
                    <a:pt x="947" y="887"/>
                  </a:cubicBezTo>
                  <a:cubicBezTo>
                    <a:pt x="947" y="887"/>
                    <a:pt x="947" y="887"/>
                    <a:pt x="947" y="887"/>
                  </a:cubicBezTo>
                  <a:cubicBezTo>
                    <a:pt x="947" y="887"/>
                    <a:pt x="947" y="887"/>
                    <a:pt x="947" y="887"/>
                  </a:cubicBezTo>
                  <a:cubicBezTo>
                    <a:pt x="946" y="888"/>
                    <a:pt x="946" y="888"/>
                    <a:pt x="946" y="888"/>
                  </a:cubicBezTo>
                  <a:cubicBezTo>
                    <a:pt x="946" y="888"/>
                    <a:pt x="946" y="888"/>
                    <a:pt x="946" y="888"/>
                  </a:cubicBezTo>
                  <a:cubicBezTo>
                    <a:pt x="946" y="888"/>
                    <a:pt x="946" y="888"/>
                    <a:pt x="946" y="888"/>
                  </a:cubicBezTo>
                  <a:cubicBezTo>
                    <a:pt x="946" y="889"/>
                    <a:pt x="946" y="889"/>
                    <a:pt x="946" y="889"/>
                  </a:cubicBezTo>
                  <a:cubicBezTo>
                    <a:pt x="946" y="889"/>
                    <a:pt x="946" y="889"/>
                    <a:pt x="946" y="889"/>
                  </a:cubicBezTo>
                  <a:cubicBezTo>
                    <a:pt x="946" y="890"/>
                    <a:pt x="946" y="890"/>
                    <a:pt x="946" y="890"/>
                  </a:cubicBezTo>
                  <a:cubicBezTo>
                    <a:pt x="946" y="891"/>
                    <a:pt x="946" y="891"/>
                    <a:pt x="946" y="891"/>
                  </a:cubicBezTo>
                  <a:cubicBezTo>
                    <a:pt x="946" y="892"/>
                    <a:pt x="946" y="892"/>
                    <a:pt x="946" y="892"/>
                  </a:cubicBezTo>
                  <a:cubicBezTo>
                    <a:pt x="945" y="892"/>
                    <a:pt x="945" y="892"/>
                    <a:pt x="945" y="892"/>
                  </a:cubicBezTo>
                  <a:cubicBezTo>
                    <a:pt x="945" y="892"/>
                    <a:pt x="945" y="892"/>
                    <a:pt x="945" y="892"/>
                  </a:cubicBezTo>
                  <a:cubicBezTo>
                    <a:pt x="945" y="893"/>
                    <a:pt x="945" y="893"/>
                    <a:pt x="945" y="893"/>
                  </a:cubicBezTo>
                  <a:cubicBezTo>
                    <a:pt x="945" y="893"/>
                    <a:pt x="945" y="893"/>
                    <a:pt x="945" y="893"/>
                  </a:cubicBezTo>
                  <a:cubicBezTo>
                    <a:pt x="945" y="893"/>
                    <a:pt x="945" y="893"/>
                    <a:pt x="945" y="893"/>
                  </a:cubicBezTo>
                  <a:cubicBezTo>
                    <a:pt x="945" y="895"/>
                    <a:pt x="945" y="895"/>
                    <a:pt x="945" y="895"/>
                  </a:cubicBezTo>
                  <a:cubicBezTo>
                    <a:pt x="945" y="895"/>
                    <a:pt x="945" y="895"/>
                    <a:pt x="945" y="895"/>
                  </a:cubicBezTo>
                  <a:cubicBezTo>
                    <a:pt x="944" y="896"/>
                    <a:pt x="944" y="896"/>
                    <a:pt x="944" y="896"/>
                  </a:cubicBezTo>
                  <a:cubicBezTo>
                    <a:pt x="944" y="897"/>
                    <a:pt x="944" y="897"/>
                    <a:pt x="944" y="897"/>
                  </a:cubicBezTo>
                  <a:cubicBezTo>
                    <a:pt x="943" y="897"/>
                    <a:pt x="943" y="897"/>
                    <a:pt x="943" y="897"/>
                  </a:cubicBezTo>
                  <a:cubicBezTo>
                    <a:pt x="942" y="897"/>
                    <a:pt x="942" y="897"/>
                    <a:pt x="942" y="897"/>
                  </a:cubicBezTo>
                  <a:cubicBezTo>
                    <a:pt x="942" y="898"/>
                    <a:pt x="942" y="898"/>
                    <a:pt x="942" y="898"/>
                  </a:cubicBezTo>
                  <a:cubicBezTo>
                    <a:pt x="942" y="898"/>
                    <a:pt x="942" y="898"/>
                    <a:pt x="942" y="898"/>
                  </a:cubicBezTo>
                  <a:cubicBezTo>
                    <a:pt x="942" y="899"/>
                    <a:pt x="942" y="899"/>
                    <a:pt x="942" y="899"/>
                  </a:cubicBezTo>
                  <a:cubicBezTo>
                    <a:pt x="942" y="899"/>
                    <a:pt x="942" y="899"/>
                    <a:pt x="942" y="899"/>
                  </a:cubicBezTo>
                  <a:cubicBezTo>
                    <a:pt x="939" y="901"/>
                    <a:pt x="939" y="901"/>
                    <a:pt x="939" y="901"/>
                  </a:cubicBezTo>
                  <a:cubicBezTo>
                    <a:pt x="939" y="901"/>
                    <a:pt x="939" y="901"/>
                    <a:pt x="939" y="901"/>
                  </a:cubicBezTo>
                  <a:cubicBezTo>
                    <a:pt x="939" y="902"/>
                    <a:pt x="939" y="902"/>
                    <a:pt x="939" y="902"/>
                  </a:cubicBezTo>
                  <a:cubicBezTo>
                    <a:pt x="939" y="904"/>
                    <a:pt x="939" y="904"/>
                    <a:pt x="939" y="904"/>
                  </a:cubicBezTo>
                  <a:cubicBezTo>
                    <a:pt x="939" y="905"/>
                    <a:pt x="939" y="905"/>
                    <a:pt x="939" y="905"/>
                  </a:cubicBezTo>
                  <a:cubicBezTo>
                    <a:pt x="939" y="905"/>
                    <a:pt x="939" y="905"/>
                    <a:pt x="939" y="905"/>
                  </a:cubicBezTo>
                  <a:cubicBezTo>
                    <a:pt x="939" y="909"/>
                    <a:pt x="939" y="909"/>
                    <a:pt x="939" y="909"/>
                  </a:cubicBezTo>
                  <a:cubicBezTo>
                    <a:pt x="940" y="909"/>
                    <a:pt x="940" y="909"/>
                    <a:pt x="940" y="909"/>
                  </a:cubicBezTo>
                  <a:cubicBezTo>
                    <a:pt x="940" y="908"/>
                    <a:pt x="940" y="908"/>
                    <a:pt x="940" y="908"/>
                  </a:cubicBezTo>
                  <a:cubicBezTo>
                    <a:pt x="941" y="908"/>
                    <a:pt x="941" y="908"/>
                    <a:pt x="941" y="908"/>
                  </a:cubicBezTo>
                  <a:cubicBezTo>
                    <a:pt x="942" y="908"/>
                    <a:pt x="942" y="908"/>
                    <a:pt x="942" y="908"/>
                  </a:cubicBezTo>
                  <a:cubicBezTo>
                    <a:pt x="943" y="909"/>
                    <a:pt x="943" y="909"/>
                    <a:pt x="943" y="909"/>
                  </a:cubicBezTo>
                  <a:cubicBezTo>
                    <a:pt x="943" y="910"/>
                    <a:pt x="943" y="910"/>
                    <a:pt x="943" y="910"/>
                  </a:cubicBezTo>
                  <a:cubicBezTo>
                    <a:pt x="943" y="911"/>
                    <a:pt x="943" y="911"/>
                    <a:pt x="943" y="911"/>
                  </a:cubicBezTo>
                  <a:cubicBezTo>
                    <a:pt x="943" y="911"/>
                    <a:pt x="943" y="911"/>
                    <a:pt x="943" y="911"/>
                  </a:cubicBezTo>
                  <a:cubicBezTo>
                    <a:pt x="944" y="911"/>
                    <a:pt x="944" y="911"/>
                    <a:pt x="944" y="911"/>
                  </a:cubicBezTo>
                  <a:cubicBezTo>
                    <a:pt x="944" y="911"/>
                    <a:pt x="944" y="911"/>
                    <a:pt x="944" y="911"/>
                  </a:cubicBezTo>
                  <a:cubicBezTo>
                    <a:pt x="944" y="912"/>
                    <a:pt x="944" y="912"/>
                    <a:pt x="944" y="912"/>
                  </a:cubicBezTo>
                  <a:cubicBezTo>
                    <a:pt x="944" y="912"/>
                    <a:pt x="944" y="912"/>
                    <a:pt x="944" y="912"/>
                  </a:cubicBezTo>
                  <a:cubicBezTo>
                    <a:pt x="944" y="913"/>
                    <a:pt x="944" y="913"/>
                    <a:pt x="944" y="913"/>
                  </a:cubicBezTo>
                  <a:cubicBezTo>
                    <a:pt x="944" y="914"/>
                    <a:pt x="944" y="914"/>
                    <a:pt x="944" y="914"/>
                  </a:cubicBezTo>
                  <a:cubicBezTo>
                    <a:pt x="946" y="916"/>
                    <a:pt x="946" y="916"/>
                    <a:pt x="946" y="916"/>
                  </a:cubicBezTo>
                  <a:cubicBezTo>
                    <a:pt x="946" y="916"/>
                    <a:pt x="946" y="916"/>
                    <a:pt x="946" y="916"/>
                  </a:cubicBezTo>
                  <a:cubicBezTo>
                    <a:pt x="946" y="916"/>
                    <a:pt x="946" y="916"/>
                    <a:pt x="946" y="916"/>
                  </a:cubicBezTo>
                  <a:cubicBezTo>
                    <a:pt x="946" y="916"/>
                    <a:pt x="946" y="916"/>
                    <a:pt x="946" y="916"/>
                  </a:cubicBezTo>
                  <a:cubicBezTo>
                    <a:pt x="946" y="916"/>
                    <a:pt x="946" y="916"/>
                    <a:pt x="946" y="916"/>
                  </a:cubicBezTo>
                  <a:cubicBezTo>
                    <a:pt x="947" y="916"/>
                    <a:pt x="947" y="916"/>
                    <a:pt x="947" y="916"/>
                  </a:cubicBezTo>
                  <a:cubicBezTo>
                    <a:pt x="947" y="916"/>
                    <a:pt x="947" y="916"/>
                    <a:pt x="947" y="916"/>
                  </a:cubicBezTo>
                  <a:cubicBezTo>
                    <a:pt x="947" y="916"/>
                    <a:pt x="947" y="916"/>
                    <a:pt x="947" y="916"/>
                  </a:cubicBezTo>
                  <a:cubicBezTo>
                    <a:pt x="948" y="916"/>
                    <a:pt x="948" y="916"/>
                    <a:pt x="948" y="916"/>
                  </a:cubicBezTo>
                  <a:cubicBezTo>
                    <a:pt x="948" y="916"/>
                    <a:pt x="948" y="916"/>
                    <a:pt x="948" y="916"/>
                  </a:cubicBezTo>
                  <a:cubicBezTo>
                    <a:pt x="949" y="916"/>
                    <a:pt x="949" y="916"/>
                    <a:pt x="949" y="916"/>
                  </a:cubicBezTo>
                  <a:cubicBezTo>
                    <a:pt x="949" y="916"/>
                    <a:pt x="949" y="916"/>
                    <a:pt x="949" y="916"/>
                  </a:cubicBezTo>
                  <a:cubicBezTo>
                    <a:pt x="949" y="916"/>
                    <a:pt x="949" y="916"/>
                    <a:pt x="949" y="916"/>
                  </a:cubicBezTo>
                  <a:cubicBezTo>
                    <a:pt x="951" y="919"/>
                    <a:pt x="951" y="919"/>
                    <a:pt x="951" y="919"/>
                  </a:cubicBezTo>
                  <a:cubicBezTo>
                    <a:pt x="952" y="920"/>
                    <a:pt x="952" y="920"/>
                    <a:pt x="952" y="920"/>
                  </a:cubicBezTo>
                  <a:cubicBezTo>
                    <a:pt x="952" y="921"/>
                    <a:pt x="952" y="921"/>
                    <a:pt x="952" y="921"/>
                  </a:cubicBezTo>
                  <a:cubicBezTo>
                    <a:pt x="953" y="922"/>
                    <a:pt x="953" y="922"/>
                    <a:pt x="953" y="922"/>
                  </a:cubicBezTo>
                  <a:cubicBezTo>
                    <a:pt x="953" y="922"/>
                    <a:pt x="953" y="922"/>
                    <a:pt x="953" y="922"/>
                  </a:cubicBezTo>
                  <a:cubicBezTo>
                    <a:pt x="953" y="922"/>
                    <a:pt x="953" y="922"/>
                    <a:pt x="953" y="922"/>
                  </a:cubicBezTo>
                  <a:cubicBezTo>
                    <a:pt x="956" y="922"/>
                    <a:pt x="956" y="922"/>
                    <a:pt x="956" y="922"/>
                  </a:cubicBezTo>
                  <a:cubicBezTo>
                    <a:pt x="956" y="922"/>
                    <a:pt x="956" y="922"/>
                    <a:pt x="956" y="922"/>
                  </a:cubicBezTo>
                  <a:cubicBezTo>
                    <a:pt x="957" y="922"/>
                    <a:pt x="957" y="922"/>
                    <a:pt x="957" y="922"/>
                  </a:cubicBezTo>
                  <a:cubicBezTo>
                    <a:pt x="957" y="922"/>
                    <a:pt x="957" y="922"/>
                    <a:pt x="957" y="922"/>
                  </a:cubicBezTo>
                  <a:cubicBezTo>
                    <a:pt x="958" y="922"/>
                    <a:pt x="958" y="922"/>
                    <a:pt x="958" y="922"/>
                  </a:cubicBezTo>
                  <a:cubicBezTo>
                    <a:pt x="958" y="922"/>
                    <a:pt x="958" y="922"/>
                    <a:pt x="958" y="922"/>
                  </a:cubicBezTo>
                  <a:cubicBezTo>
                    <a:pt x="959" y="923"/>
                    <a:pt x="959" y="923"/>
                    <a:pt x="959" y="923"/>
                  </a:cubicBezTo>
                  <a:cubicBezTo>
                    <a:pt x="960" y="924"/>
                    <a:pt x="960" y="924"/>
                    <a:pt x="960" y="924"/>
                  </a:cubicBezTo>
                  <a:cubicBezTo>
                    <a:pt x="960" y="924"/>
                    <a:pt x="960" y="924"/>
                    <a:pt x="960" y="924"/>
                  </a:cubicBezTo>
                  <a:cubicBezTo>
                    <a:pt x="960" y="925"/>
                    <a:pt x="960" y="925"/>
                    <a:pt x="960" y="925"/>
                  </a:cubicBezTo>
                  <a:cubicBezTo>
                    <a:pt x="960" y="926"/>
                    <a:pt x="960" y="926"/>
                    <a:pt x="960" y="926"/>
                  </a:cubicBezTo>
                  <a:cubicBezTo>
                    <a:pt x="960" y="926"/>
                    <a:pt x="960" y="926"/>
                    <a:pt x="960" y="926"/>
                  </a:cubicBezTo>
                  <a:cubicBezTo>
                    <a:pt x="960" y="926"/>
                    <a:pt x="960" y="926"/>
                    <a:pt x="960" y="926"/>
                  </a:cubicBezTo>
                  <a:cubicBezTo>
                    <a:pt x="960" y="927"/>
                    <a:pt x="960" y="927"/>
                    <a:pt x="960" y="927"/>
                  </a:cubicBezTo>
                  <a:cubicBezTo>
                    <a:pt x="960" y="928"/>
                    <a:pt x="960" y="928"/>
                    <a:pt x="960" y="928"/>
                  </a:cubicBezTo>
                  <a:cubicBezTo>
                    <a:pt x="960" y="928"/>
                    <a:pt x="960" y="928"/>
                    <a:pt x="960" y="928"/>
                  </a:cubicBezTo>
                  <a:cubicBezTo>
                    <a:pt x="961" y="929"/>
                    <a:pt x="961" y="929"/>
                    <a:pt x="961" y="929"/>
                  </a:cubicBezTo>
                  <a:cubicBezTo>
                    <a:pt x="960" y="929"/>
                    <a:pt x="960" y="929"/>
                    <a:pt x="960" y="929"/>
                  </a:cubicBezTo>
                  <a:cubicBezTo>
                    <a:pt x="960" y="930"/>
                    <a:pt x="960" y="930"/>
                    <a:pt x="960" y="930"/>
                  </a:cubicBezTo>
                  <a:cubicBezTo>
                    <a:pt x="960" y="930"/>
                    <a:pt x="960" y="930"/>
                    <a:pt x="960" y="930"/>
                  </a:cubicBezTo>
                  <a:cubicBezTo>
                    <a:pt x="959" y="930"/>
                    <a:pt x="959" y="930"/>
                    <a:pt x="959" y="930"/>
                  </a:cubicBezTo>
                  <a:cubicBezTo>
                    <a:pt x="959" y="929"/>
                    <a:pt x="959" y="929"/>
                    <a:pt x="959" y="929"/>
                  </a:cubicBezTo>
                  <a:cubicBezTo>
                    <a:pt x="959" y="929"/>
                    <a:pt x="959" y="929"/>
                    <a:pt x="959" y="929"/>
                  </a:cubicBezTo>
                  <a:cubicBezTo>
                    <a:pt x="959" y="928"/>
                    <a:pt x="959" y="928"/>
                    <a:pt x="959" y="928"/>
                  </a:cubicBezTo>
                  <a:cubicBezTo>
                    <a:pt x="960" y="927"/>
                    <a:pt x="960" y="927"/>
                    <a:pt x="960" y="927"/>
                  </a:cubicBezTo>
                  <a:cubicBezTo>
                    <a:pt x="960" y="927"/>
                    <a:pt x="960" y="927"/>
                    <a:pt x="960" y="927"/>
                  </a:cubicBezTo>
                  <a:cubicBezTo>
                    <a:pt x="959" y="926"/>
                    <a:pt x="959" y="926"/>
                    <a:pt x="959" y="926"/>
                  </a:cubicBezTo>
                  <a:cubicBezTo>
                    <a:pt x="959" y="926"/>
                    <a:pt x="959" y="926"/>
                    <a:pt x="959" y="926"/>
                  </a:cubicBezTo>
                  <a:cubicBezTo>
                    <a:pt x="959" y="925"/>
                    <a:pt x="959" y="925"/>
                    <a:pt x="959" y="925"/>
                  </a:cubicBezTo>
                  <a:cubicBezTo>
                    <a:pt x="958" y="924"/>
                    <a:pt x="958" y="924"/>
                    <a:pt x="958" y="924"/>
                  </a:cubicBezTo>
                  <a:cubicBezTo>
                    <a:pt x="957" y="924"/>
                    <a:pt x="957" y="924"/>
                    <a:pt x="957" y="924"/>
                  </a:cubicBezTo>
                  <a:cubicBezTo>
                    <a:pt x="957" y="924"/>
                    <a:pt x="957" y="924"/>
                    <a:pt x="957" y="924"/>
                  </a:cubicBezTo>
                  <a:cubicBezTo>
                    <a:pt x="956" y="923"/>
                    <a:pt x="956" y="923"/>
                    <a:pt x="956" y="923"/>
                  </a:cubicBezTo>
                  <a:cubicBezTo>
                    <a:pt x="956" y="923"/>
                    <a:pt x="956" y="923"/>
                    <a:pt x="956" y="923"/>
                  </a:cubicBezTo>
                  <a:cubicBezTo>
                    <a:pt x="955" y="924"/>
                    <a:pt x="955" y="924"/>
                    <a:pt x="955" y="924"/>
                  </a:cubicBezTo>
                  <a:cubicBezTo>
                    <a:pt x="955" y="924"/>
                    <a:pt x="955" y="924"/>
                    <a:pt x="955" y="924"/>
                  </a:cubicBezTo>
                  <a:cubicBezTo>
                    <a:pt x="952" y="924"/>
                    <a:pt x="952" y="924"/>
                    <a:pt x="952" y="924"/>
                  </a:cubicBezTo>
                  <a:cubicBezTo>
                    <a:pt x="952" y="924"/>
                    <a:pt x="952" y="924"/>
                    <a:pt x="952" y="924"/>
                  </a:cubicBezTo>
                  <a:cubicBezTo>
                    <a:pt x="952" y="924"/>
                    <a:pt x="952" y="924"/>
                    <a:pt x="952" y="924"/>
                  </a:cubicBezTo>
                  <a:cubicBezTo>
                    <a:pt x="951" y="923"/>
                    <a:pt x="951" y="923"/>
                    <a:pt x="951" y="923"/>
                  </a:cubicBezTo>
                  <a:cubicBezTo>
                    <a:pt x="951" y="921"/>
                    <a:pt x="951" y="921"/>
                    <a:pt x="951" y="921"/>
                  </a:cubicBezTo>
                  <a:cubicBezTo>
                    <a:pt x="951" y="920"/>
                    <a:pt x="951" y="920"/>
                    <a:pt x="951" y="920"/>
                  </a:cubicBezTo>
                  <a:cubicBezTo>
                    <a:pt x="948" y="918"/>
                    <a:pt x="948" y="918"/>
                    <a:pt x="948" y="918"/>
                  </a:cubicBezTo>
                  <a:cubicBezTo>
                    <a:pt x="948" y="918"/>
                    <a:pt x="948" y="918"/>
                    <a:pt x="948" y="918"/>
                  </a:cubicBezTo>
                  <a:cubicBezTo>
                    <a:pt x="948" y="918"/>
                    <a:pt x="948" y="918"/>
                    <a:pt x="948" y="918"/>
                  </a:cubicBezTo>
                  <a:cubicBezTo>
                    <a:pt x="947" y="918"/>
                    <a:pt x="947" y="918"/>
                    <a:pt x="947" y="918"/>
                  </a:cubicBezTo>
                  <a:cubicBezTo>
                    <a:pt x="947" y="918"/>
                    <a:pt x="947" y="918"/>
                    <a:pt x="947" y="918"/>
                  </a:cubicBezTo>
                  <a:cubicBezTo>
                    <a:pt x="946" y="918"/>
                    <a:pt x="946" y="918"/>
                    <a:pt x="946" y="918"/>
                  </a:cubicBezTo>
                  <a:cubicBezTo>
                    <a:pt x="946" y="918"/>
                    <a:pt x="946" y="918"/>
                    <a:pt x="946" y="918"/>
                  </a:cubicBezTo>
                  <a:cubicBezTo>
                    <a:pt x="946" y="918"/>
                    <a:pt x="946" y="918"/>
                    <a:pt x="946" y="918"/>
                  </a:cubicBezTo>
                  <a:cubicBezTo>
                    <a:pt x="946" y="918"/>
                    <a:pt x="946" y="918"/>
                    <a:pt x="946" y="918"/>
                  </a:cubicBezTo>
                  <a:cubicBezTo>
                    <a:pt x="945" y="918"/>
                    <a:pt x="945" y="918"/>
                    <a:pt x="945" y="918"/>
                  </a:cubicBezTo>
                  <a:cubicBezTo>
                    <a:pt x="945" y="918"/>
                    <a:pt x="945" y="918"/>
                    <a:pt x="945" y="918"/>
                  </a:cubicBezTo>
                  <a:cubicBezTo>
                    <a:pt x="945" y="918"/>
                    <a:pt x="945" y="918"/>
                    <a:pt x="945" y="918"/>
                  </a:cubicBezTo>
                  <a:cubicBezTo>
                    <a:pt x="945" y="918"/>
                    <a:pt x="945" y="918"/>
                    <a:pt x="945" y="918"/>
                  </a:cubicBezTo>
                  <a:cubicBezTo>
                    <a:pt x="943" y="915"/>
                    <a:pt x="943" y="915"/>
                    <a:pt x="943" y="915"/>
                  </a:cubicBezTo>
                  <a:cubicBezTo>
                    <a:pt x="943" y="914"/>
                    <a:pt x="943" y="914"/>
                    <a:pt x="943" y="914"/>
                  </a:cubicBezTo>
                  <a:cubicBezTo>
                    <a:pt x="943" y="914"/>
                    <a:pt x="943" y="914"/>
                    <a:pt x="943" y="914"/>
                  </a:cubicBezTo>
                  <a:cubicBezTo>
                    <a:pt x="943" y="913"/>
                    <a:pt x="943" y="913"/>
                    <a:pt x="943" y="913"/>
                  </a:cubicBezTo>
                  <a:cubicBezTo>
                    <a:pt x="943" y="913"/>
                    <a:pt x="943" y="913"/>
                    <a:pt x="943" y="913"/>
                  </a:cubicBezTo>
                  <a:cubicBezTo>
                    <a:pt x="943" y="912"/>
                    <a:pt x="943" y="912"/>
                    <a:pt x="943" y="912"/>
                  </a:cubicBezTo>
                  <a:cubicBezTo>
                    <a:pt x="943" y="912"/>
                    <a:pt x="943" y="912"/>
                    <a:pt x="943" y="912"/>
                  </a:cubicBezTo>
                  <a:cubicBezTo>
                    <a:pt x="942" y="912"/>
                    <a:pt x="942" y="912"/>
                    <a:pt x="942" y="912"/>
                  </a:cubicBezTo>
                  <a:cubicBezTo>
                    <a:pt x="942" y="912"/>
                    <a:pt x="942" y="912"/>
                    <a:pt x="942" y="912"/>
                  </a:cubicBezTo>
                  <a:cubicBezTo>
                    <a:pt x="942" y="910"/>
                    <a:pt x="942" y="910"/>
                    <a:pt x="942" y="910"/>
                  </a:cubicBezTo>
                  <a:cubicBezTo>
                    <a:pt x="941" y="910"/>
                    <a:pt x="941" y="910"/>
                    <a:pt x="941" y="910"/>
                  </a:cubicBezTo>
                  <a:cubicBezTo>
                    <a:pt x="940" y="910"/>
                    <a:pt x="940" y="910"/>
                    <a:pt x="940" y="910"/>
                  </a:cubicBezTo>
                  <a:cubicBezTo>
                    <a:pt x="939" y="910"/>
                    <a:pt x="939" y="910"/>
                    <a:pt x="939" y="910"/>
                  </a:cubicBezTo>
                  <a:cubicBezTo>
                    <a:pt x="939" y="910"/>
                    <a:pt x="939" y="910"/>
                    <a:pt x="939" y="910"/>
                  </a:cubicBezTo>
                  <a:cubicBezTo>
                    <a:pt x="938" y="910"/>
                    <a:pt x="938" y="910"/>
                    <a:pt x="938" y="910"/>
                  </a:cubicBezTo>
                  <a:cubicBezTo>
                    <a:pt x="937" y="911"/>
                    <a:pt x="937" y="911"/>
                    <a:pt x="937" y="911"/>
                  </a:cubicBezTo>
                  <a:cubicBezTo>
                    <a:pt x="937" y="911"/>
                    <a:pt x="937" y="911"/>
                    <a:pt x="937" y="911"/>
                  </a:cubicBezTo>
                  <a:cubicBezTo>
                    <a:pt x="936" y="912"/>
                    <a:pt x="936" y="912"/>
                    <a:pt x="936" y="912"/>
                  </a:cubicBezTo>
                  <a:cubicBezTo>
                    <a:pt x="935" y="911"/>
                    <a:pt x="935" y="911"/>
                    <a:pt x="935" y="911"/>
                  </a:cubicBezTo>
                  <a:cubicBezTo>
                    <a:pt x="934" y="911"/>
                    <a:pt x="934" y="911"/>
                    <a:pt x="934" y="911"/>
                  </a:cubicBezTo>
                  <a:cubicBezTo>
                    <a:pt x="934" y="912"/>
                    <a:pt x="934" y="912"/>
                    <a:pt x="934" y="912"/>
                  </a:cubicBezTo>
                  <a:cubicBezTo>
                    <a:pt x="932" y="912"/>
                    <a:pt x="932" y="912"/>
                    <a:pt x="932" y="912"/>
                  </a:cubicBezTo>
                  <a:cubicBezTo>
                    <a:pt x="931" y="912"/>
                    <a:pt x="931" y="912"/>
                    <a:pt x="931" y="912"/>
                  </a:cubicBezTo>
                  <a:cubicBezTo>
                    <a:pt x="931" y="912"/>
                    <a:pt x="931" y="912"/>
                    <a:pt x="931" y="912"/>
                  </a:cubicBezTo>
                  <a:cubicBezTo>
                    <a:pt x="929" y="913"/>
                    <a:pt x="929" y="913"/>
                    <a:pt x="929" y="913"/>
                  </a:cubicBezTo>
                  <a:cubicBezTo>
                    <a:pt x="928" y="913"/>
                    <a:pt x="928" y="913"/>
                    <a:pt x="928" y="913"/>
                  </a:cubicBezTo>
                  <a:cubicBezTo>
                    <a:pt x="927" y="913"/>
                    <a:pt x="927" y="913"/>
                    <a:pt x="927" y="913"/>
                  </a:cubicBezTo>
                  <a:cubicBezTo>
                    <a:pt x="926" y="913"/>
                    <a:pt x="926" y="913"/>
                    <a:pt x="926" y="913"/>
                  </a:cubicBezTo>
                  <a:cubicBezTo>
                    <a:pt x="925" y="912"/>
                    <a:pt x="925" y="912"/>
                    <a:pt x="925" y="912"/>
                  </a:cubicBezTo>
                  <a:cubicBezTo>
                    <a:pt x="925" y="912"/>
                    <a:pt x="925" y="912"/>
                    <a:pt x="925" y="912"/>
                  </a:cubicBezTo>
                  <a:cubicBezTo>
                    <a:pt x="923" y="909"/>
                    <a:pt x="923" y="909"/>
                    <a:pt x="923" y="909"/>
                  </a:cubicBezTo>
                  <a:cubicBezTo>
                    <a:pt x="923" y="909"/>
                    <a:pt x="923" y="909"/>
                    <a:pt x="923" y="909"/>
                  </a:cubicBezTo>
                  <a:cubicBezTo>
                    <a:pt x="922" y="908"/>
                    <a:pt x="922" y="908"/>
                    <a:pt x="922" y="908"/>
                  </a:cubicBezTo>
                  <a:cubicBezTo>
                    <a:pt x="924" y="910"/>
                    <a:pt x="924" y="910"/>
                    <a:pt x="924" y="910"/>
                  </a:cubicBezTo>
                  <a:cubicBezTo>
                    <a:pt x="924" y="911"/>
                    <a:pt x="924" y="911"/>
                    <a:pt x="924" y="911"/>
                  </a:cubicBezTo>
                  <a:cubicBezTo>
                    <a:pt x="925" y="911"/>
                    <a:pt x="925" y="911"/>
                    <a:pt x="925" y="911"/>
                  </a:cubicBezTo>
                  <a:cubicBezTo>
                    <a:pt x="926" y="912"/>
                    <a:pt x="926" y="912"/>
                    <a:pt x="926" y="912"/>
                  </a:cubicBezTo>
                  <a:cubicBezTo>
                    <a:pt x="927" y="912"/>
                    <a:pt x="927" y="912"/>
                    <a:pt x="927" y="912"/>
                  </a:cubicBezTo>
                  <a:cubicBezTo>
                    <a:pt x="928" y="911"/>
                    <a:pt x="928" y="911"/>
                    <a:pt x="928" y="911"/>
                  </a:cubicBezTo>
                  <a:cubicBezTo>
                    <a:pt x="930" y="911"/>
                    <a:pt x="930" y="911"/>
                    <a:pt x="930" y="911"/>
                  </a:cubicBezTo>
                  <a:cubicBezTo>
                    <a:pt x="931" y="910"/>
                    <a:pt x="931" y="910"/>
                    <a:pt x="931" y="910"/>
                  </a:cubicBezTo>
                  <a:cubicBezTo>
                    <a:pt x="931" y="910"/>
                    <a:pt x="931" y="910"/>
                    <a:pt x="931" y="910"/>
                  </a:cubicBezTo>
                  <a:cubicBezTo>
                    <a:pt x="933" y="910"/>
                    <a:pt x="933" y="910"/>
                    <a:pt x="933" y="910"/>
                  </a:cubicBezTo>
                  <a:cubicBezTo>
                    <a:pt x="933" y="910"/>
                    <a:pt x="933" y="910"/>
                    <a:pt x="933" y="910"/>
                  </a:cubicBezTo>
                  <a:cubicBezTo>
                    <a:pt x="934" y="910"/>
                    <a:pt x="934" y="910"/>
                    <a:pt x="934" y="910"/>
                  </a:cubicBezTo>
                  <a:cubicBezTo>
                    <a:pt x="936" y="910"/>
                    <a:pt x="936" y="910"/>
                    <a:pt x="936" y="910"/>
                  </a:cubicBezTo>
                  <a:cubicBezTo>
                    <a:pt x="936" y="910"/>
                    <a:pt x="936" y="910"/>
                    <a:pt x="936" y="910"/>
                  </a:cubicBezTo>
                  <a:cubicBezTo>
                    <a:pt x="937" y="909"/>
                    <a:pt x="937" y="909"/>
                    <a:pt x="937" y="909"/>
                  </a:cubicBezTo>
                  <a:cubicBezTo>
                    <a:pt x="937" y="909"/>
                    <a:pt x="937" y="909"/>
                    <a:pt x="937" y="909"/>
                  </a:cubicBezTo>
                  <a:cubicBezTo>
                    <a:pt x="937" y="905"/>
                    <a:pt x="937" y="905"/>
                    <a:pt x="937" y="905"/>
                  </a:cubicBezTo>
                  <a:cubicBezTo>
                    <a:pt x="938" y="905"/>
                    <a:pt x="938" y="905"/>
                    <a:pt x="938" y="905"/>
                  </a:cubicBezTo>
                  <a:cubicBezTo>
                    <a:pt x="938" y="904"/>
                    <a:pt x="938" y="904"/>
                    <a:pt x="938" y="904"/>
                  </a:cubicBezTo>
                  <a:cubicBezTo>
                    <a:pt x="937" y="902"/>
                    <a:pt x="937" y="902"/>
                    <a:pt x="937" y="902"/>
                  </a:cubicBezTo>
                  <a:cubicBezTo>
                    <a:pt x="937" y="901"/>
                    <a:pt x="937" y="901"/>
                    <a:pt x="937" y="901"/>
                  </a:cubicBezTo>
                  <a:cubicBezTo>
                    <a:pt x="938" y="900"/>
                    <a:pt x="938" y="900"/>
                    <a:pt x="938" y="900"/>
                  </a:cubicBezTo>
                  <a:cubicBezTo>
                    <a:pt x="940" y="899"/>
                    <a:pt x="940" y="899"/>
                    <a:pt x="940" y="899"/>
                  </a:cubicBezTo>
                  <a:cubicBezTo>
                    <a:pt x="940" y="899"/>
                    <a:pt x="940" y="899"/>
                    <a:pt x="940" y="899"/>
                  </a:cubicBezTo>
                  <a:cubicBezTo>
                    <a:pt x="940" y="898"/>
                    <a:pt x="940" y="898"/>
                    <a:pt x="940" y="898"/>
                  </a:cubicBezTo>
                  <a:cubicBezTo>
                    <a:pt x="940" y="897"/>
                    <a:pt x="940" y="897"/>
                    <a:pt x="940" y="897"/>
                  </a:cubicBezTo>
                  <a:cubicBezTo>
                    <a:pt x="941" y="897"/>
                    <a:pt x="941" y="897"/>
                    <a:pt x="941" y="897"/>
                  </a:cubicBezTo>
                  <a:cubicBezTo>
                    <a:pt x="942" y="897"/>
                    <a:pt x="942" y="897"/>
                    <a:pt x="942" y="897"/>
                  </a:cubicBezTo>
                  <a:cubicBezTo>
                    <a:pt x="942" y="897"/>
                    <a:pt x="942" y="897"/>
                    <a:pt x="942" y="897"/>
                  </a:cubicBezTo>
                  <a:cubicBezTo>
                    <a:pt x="943" y="896"/>
                    <a:pt x="943" y="896"/>
                    <a:pt x="943" y="896"/>
                  </a:cubicBezTo>
                  <a:cubicBezTo>
                    <a:pt x="943" y="895"/>
                    <a:pt x="943" y="895"/>
                    <a:pt x="943" y="895"/>
                  </a:cubicBezTo>
                  <a:cubicBezTo>
                    <a:pt x="943" y="894"/>
                    <a:pt x="943" y="894"/>
                    <a:pt x="943" y="894"/>
                  </a:cubicBezTo>
                  <a:cubicBezTo>
                    <a:pt x="943" y="893"/>
                    <a:pt x="943" y="893"/>
                    <a:pt x="943" y="893"/>
                  </a:cubicBezTo>
                  <a:cubicBezTo>
                    <a:pt x="943" y="893"/>
                    <a:pt x="943" y="893"/>
                    <a:pt x="943" y="893"/>
                  </a:cubicBezTo>
                  <a:cubicBezTo>
                    <a:pt x="943" y="892"/>
                    <a:pt x="943" y="892"/>
                    <a:pt x="943" y="892"/>
                  </a:cubicBezTo>
                  <a:cubicBezTo>
                    <a:pt x="944" y="892"/>
                    <a:pt x="944" y="892"/>
                    <a:pt x="944" y="892"/>
                  </a:cubicBezTo>
                  <a:cubicBezTo>
                    <a:pt x="944" y="892"/>
                    <a:pt x="944" y="892"/>
                    <a:pt x="944" y="892"/>
                  </a:cubicBezTo>
                  <a:cubicBezTo>
                    <a:pt x="944" y="891"/>
                    <a:pt x="944" y="891"/>
                    <a:pt x="944" y="891"/>
                  </a:cubicBezTo>
                  <a:cubicBezTo>
                    <a:pt x="944" y="891"/>
                    <a:pt x="944" y="891"/>
                    <a:pt x="944" y="891"/>
                  </a:cubicBezTo>
                  <a:cubicBezTo>
                    <a:pt x="944" y="889"/>
                    <a:pt x="944" y="889"/>
                    <a:pt x="944" y="889"/>
                  </a:cubicBezTo>
                  <a:cubicBezTo>
                    <a:pt x="944" y="889"/>
                    <a:pt x="944" y="889"/>
                    <a:pt x="944" y="889"/>
                  </a:cubicBezTo>
                  <a:cubicBezTo>
                    <a:pt x="944" y="889"/>
                    <a:pt x="944" y="889"/>
                    <a:pt x="944" y="889"/>
                  </a:cubicBezTo>
                  <a:cubicBezTo>
                    <a:pt x="944" y="888"/>
                    <a:pt x="944" y="888"/>
                    <a:pt x="944" y="888"/>
                  </a:cubicBezTo>
                  <a:cubicBezTo>
                    <a:pt x="944" y="888"/>
                    <a:pt x="944" y="888"/>
                    <a:pt x="944" y="888"/>
                  </a:cubicBezTo>
                  <a:cubicBezTo>
                    <a:pt x="945" y="888"/>
                    <a:pt x="945" y="888"/>
                    <a:pt x="945" y="888"/>
                  </a:cubicBezTo>
                  <a:cubicBezTo>
                    <a:pt x="945" y="887"/>
                    <a:pt x="945" y="887"/>
                    <a:pt x="945" y="887"/>
                  </a:cubicBezTo>
                  <a:cubicBezTo>
                    <a:pt x="946" y="887"/>
                    <a:pt x="946" y="887"/>
                    <a:pt x="946" y="887"/>
                  </a:cubicBezTo>
                  <a:cubicBezTo>
                    <a:pt x="946" y="886"/>
                    <a:pt x="946" y="886"/>
                    <a:pt x="946" y="886"/>
                  </a:cubicBezTo>
                  <a:cubicBezTo>
                    <a:pt x="946" y="886"/>
                    <a:pt x="946" y="886"/>
                    <a:pt x="946" y="886"/>
                  </a:cubicBezTo>
                  <a:cubicBezTo>
                    <a:pt x="946" y="886"/>
                    <a:pt x="946" y="886"/>
                    <a:pt x="946" y="886"/>
                  </a:cubicBezTo>
                  <a:cubicBezTo>
                    <a:pt x="946" y="885"/>
                    <a:pt x="946" y="885"/>
                    <a:pt x="946" y="885"/>
                  </a:cubicBezTo>
                  <a:cubicBezTo>
                    <a:pt x="947" y="883"/>
                    <a:pt x="947" y="883"/>
                    <a:pt x="947" y="883"/>
                  </a:cubicBezTo>
                  <a:cubicBezTo>
                    <a:pt x="947" y="882"/>
                    <a:pt x="947" y="882"/>
                    <a:pt x="947" y="882"/>
                  </a:cubicBezTo>
                  <a:cubicBezTo>
                    <a:pt x="948" y="882"/>
                    <a:pt x="948" y="882"/>
                    <a:pt x="948" y="882"/>
                  </a:cubicBezTo>
                  <a:cubicBezTo>
                    <a:pt x="949" y="882"/>
                    <a:pt x="949" y="882"/>
                    <a:pt x="949" y="882"/>
                  </a:cubicBezTo>
                  <a:cubicBezTo>
                    <a:pt x="949" y="881"/>
                    <a:pt x="949" y="881"/>
                    <a:pt x="949" y="881"/>
                  </a:cubicBezTo>
                  <a:cubicBezTo>
                    <a:pt x="949" y="880"/>
                    <a:pt x="949" y="880"/>
                    <a:pt x="949" y="880"/>
                  </a:cubicBezTo>
                  <a:cubicBezTo>
                    <a:pt x="949" y="879"/>
                    <a:pt x="949" y="879"/>
                    <a:pt x="949" y="879"/>
                  </a:cubicBezTo>
                  <a:cubicBezTo>
                    <a:pt x="949" y="878"/>
                    <a:pt x="949" y="878"/>
                    <a:pt x="949" y="878"/>
                  </a:cubicBezTo>
                  <a:cubicBezTo>
                    <a:pt x="948" y="878"/>
                    <a:pt x="948" y="878"/>
                    <a:pt x="948" y="878"/>
                  </a:cubicBezTo>
                  <a:cubicBezTo>
                    <a:pt x="950" y="878"/>
                    <a:pt x="950" y="878"/>
                    <a:pt x="950" y="878"/>
                  </a:cubicBezTo>
                  <a:cubicBezTo>
                    <a:pt x="951" y="878"/>
                    <a:pt x="951" y="878"/>
                    <a:pt x="951" y="878"/>
                  </a:cubicBezTo>
                  <a:cubicBezTo>
                    <a:pt x="952" y="878"/>
                    <a:pt x="952" y="878"/>
                    <a:pt x="952" y="878"/>
                  </a:cubicBezTo>
                  <a:cubicBezTo>
                    <a:pt x="952" y="878"/>
                    <a:pt x="952" y="878"/>
                    <a:pt x="952" y="878"/>
                  </a:cubicBezTo>
                  <a:cubicBezTo>
                    <a:pt x="953" y="879"/>
                    <a:pt x="953" y="879"/>
                    <a:pt x="953" y="879"/>
                  </a:cubicBezTo>
                  <a:lnTo>
                    <a:pt x="954" y="879"/>
                  </a:lnTo>
                  <a:close/>
                  <a:moveTo>
                    <a:pt x="981" y="761"/>
                  </a:moveTo>
                  <a:cubicBezTo>
                    <a:pt x="981" y="761"/>
                    <a:pt x="981" y="761"/>
                    <a:pt x="981" y="761"/>
                  </a:cubicBezTo>
                  <a:cubicBezTo>
                    <a:pt x="982" y="761"/>
                    <a:pt x="982" y="761"/>
                    <a:pt x="982" y="761"/>
                  </a:cubicBezTo>
                  <a:cubicBezTo>
                    <a:pt x="983" y="761"/>
                    <a:pt x="983" y="761"/>
                    <a:pt x="983" y="761"/>
                  </a:cubicBezTo>
                  <a:cubicBezTo>
                    <a:pt x="983" y="763"/>
                    <a:pt x="983" y="763"/>
                    <a:pt x="983" y="763"/>
                  </a:cubicBezTo>
                  <a:cubicBezTo>
                    <a:pt x="983" y="764"/>
                    <a:pt x="983" y="764"/>
                    <a:pt x="983" y="764"/>
                  </a:cubicBezTo>
                  <a:cubicBezTo>
                    <a:pt x="983" y="764"/>
                    <a:pt x="983" y="764"/>
                    <a:pt x="983" y="764"/>
                  </a:cubicBezTo>
                  <a:cubicBezTo>
                    <a:pt x="983" y="764"/>
                    <a:pt x="983" y="764"/>
                    <a:pt x="983" y="764"/>
                  </a:cubicBezTo>
                  <a:cubicBezTo>
                    <a:pt x="983" y="764"/>
                    <a:pt x="983" y="764"/>
                    <a:pt x="983" y="764"/>
                  </a:cubicBezTo>
                  <a:cubicBezTo>
                    <a:pt x="983" y="764"/>
                    <a:pt x="983" y="764"/>
                    <a:pt x="983" y="764"/>
                  </a:cubicBezTo>
                  <a:cubicBezTo>
                    <a:pt x="982" y="763"/>
                    <a:pt x="982" y="763"/>
                    <a:pt x="982" y="763"/>
                  </a:cubicBezTo>
                  <a:cubicBezTo>
                    <a:pt x="982" y="763"/>
                    <a:pt x="982" y="763"/>
                    <a:pt x="982" y="763"/>
                  </a:cubicBezTo>
                  <a:cubicBezTo>
                    <a:pt x="981" y="763"/>
                    <a:pt x="981" y="763"/>
                    <a:pt x="981" y="763"/>
                  </a:cubicBezTo>
                  <a:cubicBezTo>
                    <a:pt x="982" y="763"/>
                    <a:pt x="982" y="763"/>
                    <a:pt x="982" y="763"/>
                  </a:cubicBezTo>
                  <a:cubicBezTo>
                    <a:pt x="982" y="763"/>
                    <a:pt x="982" y="763"/>
                    <a:pt x="982" y="763"/>
                  </a:cubicBezTo>
                  <a:lnTo>
                    <a:pt x="981" y="761"/>
                  </a:lnTo>
                  <a:close/>
                  <a:moveTo>
                    <a:pt x="966" y="626"/>
                  </a:moveTo>
                  <a:cubicBezTo>
                    <a:pt x="966" y="625"/>
                    <a:pt x="966" y="625"/>
                    <a:pt x="966" y="625"/>
                  </a:cubicBezTo>
                  <a:cubicBezTo>
                    <a:pt x="966" y="625"/>
                    <a:pt x="966" y="625"/>
                    <a:pt x="966" y="625"/>
                  </a:cubicBezTo>
                  <a:cubicBezTo>
                    <a:pt x="966" y="626"/>
                    <a:pt x="966" y="626"/>
                    <a:pt x="966" y="626"/>
                  </a:cubicBezTo>
                  <a:cubicBezTo>
                    <a:pt x="966" y="626"/>
                    <a:pt x="966" y="626"/>
                    <a:pt x="966" y="626"/>
                  </a:cubicBezTo>
                  <a:cubicBezTo>
                    <a:pt x="966" y="627"/>
                    <a:pt x="966" y="627"/>
                    <a:pt x="966" y="627"/>
                  </a:cubicBezTo>
                  <a:cubicBezTo>
                    <a:pt x="966" y="627"/>
                    <a:pt x="966" y="627"/>
                    <a:pt x="966" y="627"/>
                  </a:cubicBezTo>
                  <a:lnTo>
                    <a:pt x="966" y="626"/>
                  </a:lnTo>
                  <a:close/>
                  <a:moveTo>
                    <a:pt x="987" y="647"/>
                  </a:moveTo>
                  <a:cubicBezTo>
                    <a:pt x="987" y="647"/>
                    <a:pt x="987" y="647"/>
                    <a:pt x="987" y="647"/>
                  </a:cubicBezTo>
                  <a:cubicBezTo>
                    <a:pt x="988" y="647"/>
                    <a:pt x="988" y="647"/>
                    <a:pt x="988" y="647"/>
                  </a:cubicBezTo>
                  <a:cubicBezTo>
                    <a:pt x="988" y="647"/>
                    <a:pt x="988" y="647"/>
                    <a:pt x="988" y="647"/>
                  </a:cubicBezTo>
                  <a:cubicBezTo>
                    <a:pt x="989" y="647"/>
                    <a:pt x="989" y="647"/>
                    <a:pt x="989" y="647"/>
                  </a:cubicBezTo>
                  <a:cubicBezTo>
                    <a:pt x="989" y="647"/>
                    <a:pt x="989" y="647"/>
                    <a:pt x="989" y="647"/>
                  </a:cubicBezTo>
                  <a:cubicBezTo>
                    <a:pt x="989" y="647"/>
                    <a:pt x="989" y="647"/>
                    <a:pt x="989" y="647"/>
                  </a:cubicBezTo>
                  <a:cubicBezTo>
                    <a:pt x="991" y="646"/>
                    <a:pt x="991" y="646"/>
                    <a:pt x="991" y="646"/>
                  </a:cubicBezTo>
                  <a:cubicBezTo>
                    <a:pt x="992" y="646"/>
                    <a:pt x="992" y="646"/>
                    <a:pt x="992" y="646"/>
                  </a:cubicBezTo>
                  <a:cubicBezTo>
                    <a:pt x="992" y="646"/>
                    <a:pt x="992" y="646"/>
                    <a:pt x="992" y="646"/>
                  </a:cubicBezTo>
                  <a:cubicBezTo>
                    <a:pt x="993" y="646"/>
                    <a:pt x="993" y="646"/>
                    <a:pt x="993" y="646"/>
                  </a:cubicBezTo>
                  <a:cubicBezTo>
                    <a:pt x="994" y="647"/>
                    <a:pt x="994" y="647"/>
                    <a:pt x="994" y="647"/>
                  </a:cubicBezTo>
                  <a:cubicBezTo>
                    <a:pt x="996" y="647"/>
                    <a:pt x="996" y="647"/>
                    <a:pt x="996" y="647"/>
                  </a:cubicBezTo>
                  <a:cubicBezTo>
                    <a:pt x="996" y="646"/>
                    <a:pt x="996" y="646"/>
                    <a:pt x="996" y="646"/>
                  </a:cubicBezTo>
                  <a:cubicBezTo>
                    <a:pt x="998" y="645"/>
                    <a:pt x="998" y="645"/>
                    <a:pt x="998" y="645"/>
                  </a:cubicBezTo>
                  <a:cubicBezTo>
                    <a:pt x="999" y="645"/>
                    <a:pt x="999" y="645"/>
                    <a:pt x="999" y="645"/>
                  </a:cubicBezTo>
                  <a:cubicBezTo>
                    <a:pt x="1000" y="646"/>
                    <a:pt x="1000" y="646"/>
                    <a:pt x="1000" y="646"/>
                  </a:cubicBezTo>
                  <a:cubicBezTo>
                    <a:pt x="1001" y="646"/>
                    <a:pt x="1001" y="646"/>
                    <a:pt x="1001" y="646"/>
                  </a:cubicBezTo>
                  <a:cubicBezTo>
                    <a:pt x="1001" y="648"/>
                    <a:pt x="1001" y="648"/>
                    <a:pt x="1001" y="648"/>
                  </a:cubicBezTo>
                  <a:cubicBezTo>
                    <a:pt x="1002" y="649"/>
                    <a:pt x="1002" y="649"/>
                    <a:pt x="1002" y="649"/>
                  </a:cubicBezTo>
                  <a:cubicBezTo>
                    <a:pt x="1002" y="649"/>
                    <a:pt x="1002" y="649"/>
                    <a:pt x="1002" y="649"/>
                  </a:cubicBezTo>
                  <a:cubicBezTo>
                    <a:pt x="1003" y="649"/>
                    <a:pt x="1003" y="649"/>
                    <a:pt x="1003" y="649"/>
                  </a:cubicBezTo>
                  <a:cubicBezTo>
                    <a:pt x="1004" y="649"/>
                    <a:pt x="1004" y="649"/>
                    <a:pt x="1004" y="649"/>
                  </a:cubicBezTo>
                  <a:cubicBezTo>
                    <a:pt x="1005" y="649"/>
                    <a:pt x="1005" y="649"/>
                    <a:pt x="1005" y="649"/>
                  </a:cubicBezTo>
                  <a:cubicBezTo>
                    <a:pt x="1005" y="649"/>
                    <a:pt x="1005" y="649"/>
                    <a:pt x="1005" y="649"/>
                  </a:cubicBezTo>
                  <a:cubicBezTo>
                    <a:pt x="1005" y="650"/>
                    <a:pt x="1005" y="650"/>
                    <a:pt x="1005" y="650"/>
                  </a:cubicBezTo>
                  <a:cubicBezTo>
                    <a:pt x="1003" y="650"/>
                    <a:pt x="1003" y="650"/>
                    <a:pt x="1003" y="650"/>
                  </a:cubicBezTo>
                  <a:cubicBezTo>
                    <a:pt x="1002" y="650"/>
                    <a:pt x="1002" y="650"/>
                    <a:pt x="1002" y="650"/>
                  </a:cubicBezTo>
                  <a:cubicBezTo>
                    <a:pt x="1001" y="650"/>
                    <a:pt x="1001" y="650"/>
                    <a:pt x="1001" y="650"/>
                  </a:cubicBezTo>
                  <a:cubicBezTo>
                    <a:pt x="1000" y="650"/>
                    <a:pt x="1000" y="650"/>
                    <a:pt x="1000" y="650"/>
                  </a:cubicBezTo>
                  <a:cubicBezTo>
                    <a:pt x="1000" y="650"/>
                    <a:pt x="1000" y="650"/>
                    <a:pt x="1000" y="650"/>
                  </a:cubicBezTo>
                  <a:cubicBezTo>
                    <a:pt x="999" y="649"/>
                    <a:pt x="999" y="649"/>
                    <a:pt x="999" y="649"/>
                  </a:cubicBezTo>
                  <a:cubicBezTo>
                    <a:pt x="999" y="648"/>
                    <a:pt x="999" y="648"/>
                    <a:pt x="999" y="648"/>
                  </a:cubicBezTo>
                  <a:cubicBezTo>
                    <a:pt x="998" y="647"/>
                    <a:pt x="998" y="647"/>
                    <a:pt x="998" y="647"/>
                  </a:cubicBezTo>
                  <a:cubicBezTo>
                    <a:pt x="997" y="646"/>
                    <a:pt x="997" y="646"/>
                    <a:pt x="997" y="646"/>
                  </a:cubicBezTo>
                  <a:cubicBezTo>
                    <a:pt x="996" y="647"/>
                    <a:pt x="996" y="647"/>
                    <a:pt x="996" y="647"/>
                  </a:cubicBezTo>
                  <a:cubicBezTo>
                    <a:pt x="994" y="648"/>
                    <a:pt x="994" y="648"/>
                    <a:pt x="994" y="648"/>
                  </a:cubicBezTo>
                  <a:cubicBezTo>
                    <a:pt x="994" y="648"/>
                    <a:pt x="994" y="648"/>
                    <a:pt x="994" y="648"/>
                  </a:cubicBezTo>
                  <a:cubicBezTo>
                    <a:pt x="991" y="648"/>
                    <a:pt x="991" y="648"/>
                    <a:pt x="991" y="648"/>
                  </a:cubicBezTo>
                  <a:cubicBezTo>
                    <a:pt x="991" y="648"/>
                    <a:pt x="991" y="648"/>
                    <a:pt x="991" y="648"/>
                  </a:cubicBezTo>
                  <a:cubicBezTo>
                    <a:pt x="990" y="647"/>
                    <a:pt x="990" y="647"/>
                    <a:pt x="990" y="647"/>
                  </a:cubicBezTo>
                  <a:cubicBezTo>
                    <a:pt x="990" y="647"/>
                    <a:pt x="990" y="647"/>
                    <a:pt x="990" y="647"/>
                  </a:cubicBezTo>
                  <a:cubicBezTo>
                    <a:pt x="989" y="647"/>
                    <a:pt x="989" y="647"/>
                    <a:pt x="989" y="647"/>
                  </a:cubicBezTo>
                  <a:cubicBezTo>
                    <a:pt x="987" y="648"/>
                    <a:pt x="987" y="648"/>
                    <a:pt x="987" y="648"/>
                  </a:cubicBezTo>
                  <a:cubicBezTo>
                    <a:pt x="987" y="648"/>
                    <a:pt x="987" y="648"/>
                    <a:pt x="987" y="648"/>
                  </a:cubicBezTo>
                  <a:cubicBezTo>
                    <a:pt x="986" y="648"/>
                    <a:pt x="986" y="648"/>
                    <a:pt x="986" y="648"/>
                  </a:cubicBezTo>
                  <a:cubicBezTo>
                    <a:pt x="986" y="648"/>
                    <a:pt x="986" y="648"/>
                    <a:pt x="986" y="648"/>
                  </a:cubicBezTo>
                  <a:cubicBezTo>
                    <a:pt x="986" y="648"/>
                    <a:pt x="986" y="648"/>
                    <a:pt x="986" y="648"/>
                  </a:cubicBezTo>
                  <a:cubicBezTo>
                    <a:pt x="985" y="648"/>
                    <a:pt x="985" y="648"/>
                    <a:pt x="985" y="648"/>
                  </a:cubicBezTo>
                  <a:cubicBezTo>
                    <a:pt x="985" y="648"/>
                    <a:pt x="985" y="648"/>
                    <a:pt x="985" y="648"/>
                  </a:cubicBezTo>
                  <a:cubicBezTo>
                    <a:pt x="983" y="649"/>
                    <a:pt x="983" y="649"/>
                    <a:pt x="983" y="649"/>
                  </a:cubicBezTo>
                  <a:cubicBezTo>
                    <a:pt x="981" y="649"/>
                    <a:pt x="981" y="649"/>
                    <a:pt x="981" y="649"/>
                  </a:cubicBezTo>
                  <a:cubicBezTo>
                    <a:pt x="981" y="649"/>
                    <a:pt x="981" y="649"/>
                    <a:pt x="981" y="649"/>
                  </a:cubicBezTo>
                  <a:cubicBezTo>
                    <a:pt x="980" y="649"/>
                    <a:pt x="980" y="649"/>
                    <a:pt x="980" y="649"/>
                  </a:cubicBezTo>
                  <a:cubicBezTo>
                    <a:pt x="980" y="649"/>
                    <a:pt x="980" y="649"/>
                    <a:pt x="980" y="649"/>
                  </a:cubicBezTo>
                  <a:cubicBezTo>
                    <a:pt x="979" y="648"/>
                    <a:pt x="979" y="648"/>
                    <a:pt x="979" y="648"/>
                  </a:cubicBezTo>
                  <a:cubicBezTo>
                    <a:pt x="979" y="647"/>
                    <a:pt x="979" y="647"/>
                    <a:pt x="979" y="647"/>
                  </a:cubicBezTo>
                  <a:cubicBezTo>
                    <a:pt x="979" y="646"/>
                    <a:pt x="979" y="646"/>
                    <a:pt x="979" y="646"/>
                  </a:cubicBezTo>
                  <a:cubicBezTo>
                    <a:pt x="980" y="646"/>
                    <a:pt x="980" y="646"/>
                    <a:pt x="980" y="646"/>
                  </a:cubicBezTo>
                  <a:cubicBezTo>
                    <a:pt x="983" y="648"/>
                    <a:pt x="983" y="648"/>
                    <a:pt x="983" y="648"/>
                  </a:cubicBezTo>
                  <a:cubicBezTo>
                    <a:pt x="983" y="648"/>
                    <a:pt x="983" y="648"/>
                    <a:pt x="983" y="648"/>
                  </a:cubicBezTo>
                  <a:cubicBezTo>
                    <a:pt x="984" y="648"/>
                    <a:pt x="984" y="648"/>
                    <a:pt x="984" y="648"/>
                  </a:cubicBezTo>
                  <a:cubicBezTo>
                    <a:pt x="985" y="648"/>
                    <a:pt x="985" y="648"/>
                    <a:pt x="985" y="648"/>
                  </a:cubicBezTo>
                  <a:lnTo>
                    <a:pt x="987" y="647"/>
                  </a:lnTo>
                  <a:close/>
                  <a:moveTo>
                    <a:pt x="1116" y="915"/>
                  </a:moveTo>
                  <a:cubicBezTo>
                    <a:pt x="1116" y="915"/>
                    <a:pt x="1116" y="915"/>
                    <a:pt x="1116" y="915"/>
                  </a:cubicBezTo>
                  <a:cubicBezTo>
                    <a:pt x="1116" y="914"/>
                    <a:pt x="1116" y="914"/>
                    <a:pt x="1116" y="914"/>
                  </a:cubicBezTo>
                  <a:cubicBezTo>
                    <a:pt x="1115" y="914"/>
                    <a:pt x="1115" y="914"/>
                    <a:pt x="1115" y="914"/>
                  </a:cubicBezTo>
                  <a:cubicBezTo>
                    <a:pt x="1114" y="914"/>
                    <a:pt x="1114" y="914"/>
                    <a:pt x="1114" y="914"/>
                  </a:cubicBezTo>
                  <a:cubicBezTo>
                    <a:pt x="1112" y="913"/>
                    <a:pt x="1112" y="913"/>
                    <a:pt x="1112" y="913"/>
                  </a:cubicBezTo>
                  <a:cubicBezTo>
                    <a:pt x="1111" y="913"/>
                    <a:pt x="1111" y="913"/>
                    <a:pt x="1111" y="913"/>
                  </a:cubicBezTo>
                  <a:cubicBezTo>
                    <a:pt x="1111" y="912"/>
                    <a:pt x="1111" y="912"/>
                    <a:pt x="1111" y="912"/>
                  </a:cubicBezTo>
                  <a:cubicBezTo>
                    <a:pt x="1110" y="912"/>
                    <a:pt x="1110" y="912"/>
                    <a:pt x="1110" y="912"/>
                  </a:cubicBezTo>
                  <a:cubicBezTo>
                    <a:pt x="1110" y="911"/>
                    <a:pt x="1110" y="911"/>
                    <a:pt x="1110" y="911"/>
                  </a:cubicBezTo>
                  <a:cubicBezTo>
                    <a:pt x="1109" y="910"/>
                    <a:pt x="1109" y="910"/>
                    <a:pt x="1109" y="910"/>
                  </a:cubicBezTo>
                  <a:cubicBezTo>
                    <a:pt x="1109" y="910"/>
                    <a:pt x="1109" y="910"/>
                    <a:pt x="1109" y="910"/>
                  </a:cubicBezTo>
                  <a:cubicBezTo>
                    <a:pt x="1107" y="908"/>
                    <a:pt x="1107" y="908"/>
                    <a:pt x="1107" y="908"/>
                  </a:cubicBezTo>
                  <a:cubicBezTo>
                    <a:pt x="1106" y="908"/>
                    <a:pt x="1106" y="908"/>
                    <a:pt x="1106" y="908"/>
                  </a:cubicBezTo>
                  <a:cubicBezTo>
                    <a:pt x="1103" y="908"/>
                    <a:pt x="1103" y="908"/>
                    <a:pt x="1103" y="908"/>
                  </a:cubicBezTo>
                  <a:cubicBezTo>
                    <a:pt x="1102" y="908"/>
                    <a:pt x="1102" y="908"/>
                    <a:pt x="1102" y="908"/>
                  </a:cubicBezTo>
                  <a:cubicBezTo>
                    <a:pt x="1102" y="906"/>
                    <a:pt x="1102" y="906"/>
                    <a:pt x="1102" y="906"/>
                  </a:cubicBezTo>
                  <a:cubicBezTo>
                    <a:pt x="1101" y="906"/>
                    <a:pt x="1101" y="906"/>
                    <a:pt x="1101" y="906"/>
                  </a:cubicBezTo>
                  <a:cubicBezTo>
                    <a:pt x="1100" y="907"/>
                    <a:pt x="1100" y="907"/>
                    <a:pt x="1100" y="907"/>
                  </a:cubicBezTo>
                  <a:cubicBezTo>
                    <a:pt x="1100" y="907"/>
                    <a:pt x="1100" y="907"/>
                    <a:pt x="1100" y="907"/>
                  </a:cubicBezTo>
                  <a:cubicBezTo>
                    <a:pt x="1099" y="907"/>
                    <a:pt x="1099" y="907"/>
                    <a:pt x="1099" y="907"/>
                  </a:cubicBezTo>
                  <a:cubicBezTo>
                    <a:pt x="1098" y="908"/>
                    <a:pt x="1098" y="908"/>
                    <a:pt x="1098" y="908"/>
                  </a:cubicBezTo>
                  <a:cubicBezTo>
                    <a:pt x="1096" y="909"/>
                    <a:pt x="1096" y="909"/>
                    <a:pt x="1096" y="909"/>
                  </a:cubicBezTo>
                  <a:cubicBezTo>
                    <a:pt x="1096" y="910"/>
                    <a:pt x="1096" y="910"/>
                    <a:pt x="1096" y="910"/>
                  </a:cubicBezTo>
                  <a:cubicBezTo>
                    <a:pt x="1096" y="910"/>
                    <a:pt x="1096" y="910"/>
                    <a:pt x="1096" y="910"/>
                  </a:cubicBezTo>
                  <a:cubicBezTo>
                    <a:pt x="1095" y="909"/>
                    <a:pt x="1095" y="909"/>
                    <a:pt x="1095" y="909"/>
                  </a:cubicBezTo>
                  <a:cubicBezTo>
                    <a:pt x="1094" y="909"/>
                    <a:pt x="1094" y="909"/>
                    <a:pt x="1094" y="909"/>
                  </a:cubicBezTo>
                  <a:cubicBezTo>
                    <a:pt x="1093" y="909"/>
                    <a:pt x="1093" y="909"/>
                    <a:pt x="1093" y="909"/>
                  </a:cubicBezTo>
                  <a:cubicBezTo>
                    <a:pt x="1091" y="911"/>
                    <a:pt x="1091" y="911"/>
                    <a:pt x="1091" y="911"/>
                  </a:cubicBezTo>
                  <a:cubicBezTo>
                    <a:pt x="1091" y="911"/>
                    <a:pt x="1091" y="911"/>
                    <a:pt x="1091" y="911"/>
                  </a:cubicBezTo>
                  <a:cubicBezTo>
                    <a:pt x="1090" y="912"/>
                    <a:pt x="1090" y="912"/>
                    <a:pt x="1090" y="912"/>
                  </a:cubicBezTo>
                  <a:cubicBezTo>
                    <a:pt x="1089" y="912"/>
                    <a:pt x="1089" y="912"/>
                    <a:pt x="1089" y="912"/>
                  </a:cubicBezTo>
                  <a:cubicBezTo>
                    <a:pt x="1086" y="911"/>
                    <a:pt x="1086" y="911"/>
                    <a:pt x="1086" y="911"/>
                  </a:cubicBezTo>
                  <a:cubicBezTo>
                    <a:pt x="1086" y="910"/>
                    <a:pt x="1086" y="910"/>
                    <a:pt x="1086" y="910"/>
                  </a:cubicBezTo>
                  <a:cubicBezTo>
                    <a:pt x="1085" y="910"/>
                    <a:pt x="1085" y="910"/>
                    <a:pt x="1085" y="910"/>
                  </a:cubicBezTo>
                  <a:cubicBezTo>
                    <a:pt x="1085" y="910"/>
                    <a:pt x="1085" y="910"/>
                    <a:pt x="1085" y="910"/>
                  </a:cubicBezTo>
                  <a:cubicBezTo>
                    <a:pt x="1085" y="911"/>
                    <a:pt x="1085" y="911"/>
                    <a:pt x="1085" y="911"/>
                  </a:cubicBezTo>
                  <a:cubicBezTo>
                    <a:pt x="1085" y="911"/>
                    <a:pt x="1085" y="911"/>
                    <a:pt x="1085" y="911"/>
                  </a:cubicBezTo>
                  <a:cubicBezTo>
                    <a:pt x="1085" y="910"/>
                    <a:pt x="1085" y="910"/>
                    <a:pt x="1085" y="910"/>
                  </a:cubicBezTo>
                  <a:cubicBezTo>
                    <a:pt x="1085" y="910"/>
                    <a:pt x="1085" y="910"/>
                    <a:pt x="1085" y="910"/>
                  </a:cubicBezTo>
                  <a:cubicBezTo>
                    <a:pt x="1085" y="910"/>
                    <a:pt x="1085" y="910"/>
                    <a:pt x="1085" y="910"/>
                  </a:cubicBezTo>
                  <a:cubicBezTo>
                    <a:pt x="1084" y="909"/>
                    <a:pt x="1084" y="909"/>
                    <a:pt x="1084" y="909"/>
                  </a:cubicBezTo>
                  <a:cubicBezTo>
                    <a:pt x="1085" y="909"/>
                    <a:pt x="1085" y="909"/>
                    <a:pt x="1085" y="909"/>
                  </a:cubicBezTo>
                  <a:cubicBezTo>
                    <a:pt x="1085" y="909"/>
                    <a:pt x="1085" y="909"/>
                    <a:pt x="1085" y="909"/>
                  </a:cubicBezTo>
                  <a:cubicBezTo>
                    <a:pt x="1085" y="909"/>
                    <a:pt x="1085" y="909"/>
                    <a:pt x="1085" y="909"/>
                  </a:cubicBezTo>
                  <a:cubicBezTo>
                    <a:pt x="1086" y="909"/>
                    <a:pt x="1086" y="909"/>
                    <a:pt x="1086" y="909"/>
                  </a:cubicBezTo>
                  <a:cubicBezTo>
                    <a:pt x="1089" y="911"/>
                    <a:pt x="1089" y="911"/>
                    <a:pt x="1089" y="911"/>
                  </a:cubicBezTo>
                  <a:cubicBezTo>
                    <a:pt x="1090" y="911"/>
                    <a:pt x="1090" y="911"/>
                    <a:pt x="1090" y="911"/>
                  </a:cubicBezTo>
                  <a:cubicBezTo>
                    <a:pt x="1091" y="910"/>
                    <a:pt x="1091" y="910"/>
                    <a:pt x="1091" y="910"/>
                  </a:cubicBezTo>
                  <a:cubicBezTo>
                    <a:pt x="1091" y="910"/>
                    <a:pt x="1091" y="910"/>
                    <a:pt x="1091" y="910"/>
                  </a:cubicBezTo>
                  <a:cubicBezTo>
                    <a:pt x="1093" y="908"/>
                    <a:pt x="1093" y="908"/>
                    <a:pt x="1093" y="908"/>
                  </a:cubicBezTo>
                  <a:cubicBezTo>
                    <a:pt x="1094" y="907"/>
                    <a:pt x="1094" y="907"/>
                    <a:pt x="1094" y="907"/>
                  </a:cubicBezTo>
                  <a:cubicBezTo>
                    <a:pt x="1095" y="908"/>
                    <a:pt x="1095" y="908"/>
                    <a:pt x="1095" y="908"/>
                  </a:cubicBezTo>
                  <a:cubicBezTo>
                    <a:pt x="1095" y="908"/>
                    <a:pt x="1095" y="908"/>
                    <a:pt x="1095" y="908"/>
                  </a:cubicBezTo>
                  <a:cubicBezTo>
                    <a:pt x="1096" y="908"/>
                    <a:pt x="1096" y="908"/>
                    <a:pt x="1096" y="908"/>
                  </a:cubicBezTo>
                  <a:cubicBezTo>
                    <a:pt x="1096" y="908"/>
                    <a:pt x="1096" y="908"/>
                    <a:pt x="1096" y="908"/>
                  </a:cubicBezTo>
                  <a:cubicBezTo>
                    <a:pt x="1098" y="907"/>
                    <a:pt x="1098" y="907"/>
                    <a:pt x="1098" y="907"/>
                  </a:cubicBezTo>
                  <a:cubicBezTo>
                    <a:pt x="1099" y="906"/>
                    <a:pt x="1099" y="906"/>
                    <a:pt x="1099" y="906"/>
                  </a:cubicBezTo>
                  <a:cubicBezTo>
                    <a:pt x="1100" y="906"/>
                    <a:pt x="1100" y="906"/>
                    <a:pt x="1100" y="906"/>
                  </a:cubicBezTo>
                  <a:cubicBezTo>
                    <a:pt x="1100" y="906"/>
                    <a:pt x="1100" y="906"/>
                    <a:pt x="1100" y="906"/>
                  </a:cubicBezTo>
                  <a:cubicBezTo>
                    <a:pt x="1101" y="905"/>
                    <a:pt x="1101" y="905"/>
                    <a:pt x="1101" y="905"/>
                  </a:cubicBezTo>
                  <a:cubicBezTo>
                    <a:pt x="1102" y="905"/>
                    <a:pt x="1102" y="905"/>
                    <a:pt x="1102" y="905"/>
                  </a:cubicBezTo>
                  <a:cubicBezTo>
                    <a:pt x="1102" y="906"/>
                    <a:pt x="1102" y="906"/>
                    <a:pt x="1102" y="906"/>
                  </a:cubicBezTo>
                  <a:cubicBezTo>
                    <a:pt x="1102" y="907"/>
                    <a:pt x="1102" y="907"/>
                    <a:pt x="1102" y="907"/>
                  </a:cubicBezTo>
                  <a:cubicBezTo>
                    <a:pt x="1106" y="907"/>
                    <a:pt x="1106" y="907"/>
                    <a:pt x="1106" y="907"/>
                  </a:cubicBezTo>
                  <a:cubicBezTo>
                    <a:pt x="1107" y="907"/>
                    <a:pt x="1107" y="907"/>
                    <a:pt x="1107" y="907"/>
                  </a:cubicBezTo>
                  <a:cubicBezTo>
                    <a:pt x="1109" y="908"/>
                    <a:pt x="1109" y="908"/>
                    <a:pt x="1109" y="908"/>
                  </a:cubicBezTo>
                  <a:cubicBezTo>
                    <a:pt x="1110" y="909"/>
                    <a:pt x="1110" y="909"/>
                    <a:pt x="1110" y="909"/>
                  </a:cubicBezTo>
                  <a:cubicBezTo>
                    <a:pt x="1110" y="910"/>
                    <a:pt x="1110" y="910"/>
                    <a:pt x="1110" y="910"/>
                  </a:cubicBezTo>
                  <a:cubicBezTo>
                    <a:pt x="1111" y="910"/>
                    <a:pt x="1111" y="910"/>
                    <a:pt x="1111" y="910"/>
                  </a:cubicBezTo>
                  <a:cubicBezTo>
                    <a:pt x="1111" y="911"/>
                    <a:pt x="1111" y="911"/>
                    <a:pt x="1111" y="911"/>
                  </a:cubicBezTo>
                  <a:cubicBezTo>
                    <a:pt x="1112" y="912"/>
                    <a:pt x="1112" y="912"/>
                    <a:pt x="1112" y="912"/>
                  </a:cubicBezTo>
                  <a:cubicBezTo>
                    <a:pt x="1113" y="912"/>
                    <a:pt x="1113" y="912"/>
                    <a:pt x="1113" y="912"/>
                  </a:cubicBezTo>
                  <a:cubicBezTo>
                    <a:pt x="1114" y="912"/>
                    <a:pt x="1114" y="912"/>
                    <a:pt x="1114" y="912"/>
                  </a:cubicBezTo>
                  <a:cubicBezTo>
                    <a:pt x="1115" y="912"/>
                    <a:pt x="1115" y="912"/>
                    <a:pt x="1115" y="912"/>
                  </a:cubicBezTo>
                  <a:cubicBezTo>
                    <a:pt x="1116" y="913"/>
                    <a:pt x="1116" y="913"/>
                    <a:pt x="1116" y="913"/>
                  </a:cubicBezTo>
                  <a:cubicBezTo>
                    <a:pt x="1116" y="913"/>
                    <a:pt x="1116" y="913"/>
                    <a:pt x="1116" y="913"/>
                  </a:cubicBezTo>
                  <a:cubicBezTo>
                    <a:pt x="1117" y="914"/>
                    <a:pt x="1117" y="914"/>
                    <a:pt x="1117" y="914"/>
                  </a:cubicBezTo>
                  <a:lnTo>
                    <a:pt x="1116" y="915"/>
                  </a:lnTo>
                  <a:close/>
                  <a:moveTo>
                    <a:pt x="949" y="1081"/>
                  </a:moveTo>
                  <a:cubicBezTo>
                    <a:pt x="949" y="1080"/>
                    <a:pt x="949" y="1080"/>
                    <a:pt x="949" y="1080"/>
                  </a:cubicBezTo>
                  <a:cubicBezTo>
                    <a:pt x="949" y="1080"/>
                    <a:pt x="949" y="1080"/>
                    <a:pt x="949" y="1080"/>
                  </a:cubicBezTo>
                  <a:cubicBezTo>
                    <a:pt x="949" y="1079"/>
                    <a:pt x="949" y="1079"/>
                    <a:pt x="949" y="1079"/>
                  </a:cubicBezTo>
                  <a:cubicBezTo>
                    <a:pt x="949" y="1079"/>
                    <a:pt x="949" y="1079"/>
                    <a:pt x="949" y="1079"/>
                  </a:cubicBezTo>
                  <a:cubicBezTo>
                    <a:pt x="949" y="1079"/>
                    <a:pt x="949" y="1079"/>
                    <a:pt x="949" y="1079"/>
                  </a:cubicBezTo>
                  <a:cubicBezTo>
                    <a:pt x="949" y="1078"/>
                    <a:pt x="949" y="1078"/>
                    <a:pt x="949" y="1078"/>
                  </a:cubicBezTo>
                  <a:cubicBezTo>
                    <a:pt x="949" y="1078"/>
                    <a:pt x="949" y="1078"/>
                    <a:pt x="949" y="1078"/>
                  </a:cubicBezTo>
                  <a:cubicBezTo>
                    <a:pt x="950" y="1078"/>
                    <a:pt x="950" y="1078"/>
                    <a:pt x="950" y="1078"/>
                  </a:cubicBezTo>
                  <a:cubicBezTo>
                    <a:pt x="951" y="1078"/>
                    <a:pt x="951" y="1078"/>
                    <a:pt x="951" y="1078"/>
                  </a:cubicBezTo>
                  <a:cubicBezTo>
                    <a:pt x="951" y="1078"/>
                    <a:pt x="951" y="1078"/>
                    <a:pt x="951" y="1078"/>
                  </a:cubicBezTo>
                  <a:cubicBezTo>
                    <a:pt x="951" y="1077"/>
                    <a:pt x="951" y="1077"/>
                    <a:pt x="951" y="1077"/>
                  </a:cubicBezTo>
                  <a:cubicBezTo>
                    <a:pt x="951" y="1076"/>
                    <a:pt x="951" y="1076"/>
                    <a:pt x="951" y="1076"/>
                  </a:cubicBezTo>
                  <a:cubicBezTo>
                    <a:pt x="952" y="1076"/>
                    <a:pt x="952" y="1076"/>
                    <a:pt x="952" y="1076"/>
                  </a:cubicBezTo>
                  <a:cubicBezTo>
                    <a:pt x="952" y="1076"/>
                    <a:pt x="952" y="1076"/>
                    <a:pt x="952" y="1076"/>
                  </a:cubicBezTo>
                  <a:cubicBezTo>
                    <a:pt x="953" y="1076"/>
                    <a:pt x="953" y="1076"/>
                    <a:pt x="953" y="1076"/>
                  </a:cubicBezTo>
                  <a:cubicBezTo>
                    <a:pt x="953" y="1076"/>
                    <a:pt x="953" y="1076"/>
                    <a:pt x="953" y="1076"/>
                  </a:cubicBezTo>
                  <a:cubicBezTo>
                    <a:pt x="953" y="1076"/>
                    <a:pt x="953" y="1076"/>
                    <a:pt x="953" y="1076"/>
                  </a:cubicBezTo>
                  <a:cubicBezTo>
                    <a:pt x="952" y="1076"/>
                    <a:pt x="952" y="1076"/>
                    <a:pt x="952" y="1076"/>
                  </a:cubicBezTo>
                  <a:cubicBezTo>
                    <a:pt x="952" y="1076"/>
                    <a:pt x="952" y="1076"/>
                    <a:pt x="952" y="1076"/>
                  </a:cubicBezTo>
                  <a:cubicBezTo>
                    <a:pt x="952" y="1077"/>
                    <a:pt x="952" y="1077"/>
                    <a:pt x="952" y="1077"/>
                  </a:cubicBezTo>
                  <a:cubicBezTo>
                    <a:pt x="951" y="1078"/>
                    <a:pt x="951" y="1078"/>
                    <a:pt x="951" y="1078"/>
                  </a:cubicBezTo>
                  <a:cubicBezTo>
                    <a:pt x="951" y="1078"/>
                    <a:pt x="951" y="1078"/>
                    <a:pt x="951" y="1078"/>
                  </a:cubicBezTo>
                  <a:cubicBezTo>
                    <a:pt x="951" y="1079"/>
                    <a:pt x="951" y="1079"/>
                    <a:pt x="951" y="1079"/>
                  </a:cubicBezTo>
                  <a:cubicBezTo>
                    <a:pt x="950" y="1079"/>
                    <a:pt x="950" y="1079"/>
                    <a:pt x="950" y="1079"/>
                  </a:cubicBezTo>
                  <a:cubicBezTo>
                    <a:pt x="950" y="1079"/>
                    <a:pt x="950" y="1079"/>
                    <a:pt x="950" y="1079"/>
                  </a:cubicBezTo>
                  <a:cubicBezTo>
                    <a:pt x="949" y="1079"/>
                    <a:pt x="949" y="1079"/>
                    <a:pt x="949" y="1079"/>
                  </a:cubicBezTo>
                  <a:cubicBezTo>
                    <a:pt x="949" y="1079"/>
                    <a:pt x="949" y="1079"/>
                    <a:pt x="949" y="1079"/>
                  </a:cubicBezTo>
                  <a:cubicBezTo>
                    <a:pt x="949" y="1080"/>
                    <a:pt x="949" y="1080"/>
                    <a:pt x="949" y="1080"/>
                  </a:cubicBezTo>
                  <a:cubicBezTo>
                    <a:pt x="949" y="1080"/>
                    <a:pt x="949" y="1080"/>
                    <a:pt x="949" y="1080"/>
                  </a:cubicBezTo>
                  <a:cubicBezTo>
                    <a:pt x="949" y="1081"/>
                    <a:pt x="949" y="1081"/>
                    <a:pt x="949" y="1081"/>
                  </a:cubicBezTo>
                  <a:cubicBezTo>
                    <a:pt x="950" y="1081"/>
                    <a:pt x="950" y="1081"/>
                    <a:pt x="950" y="1081"/>
                  </a:cubicBezTo>
                  <a:cubicBezTo>
                    <a:pt x="950" y="1082"/>
                    <a:pt x="950" y="1082"/>
                    <a:pt x="950" y="1082"/>
                  </a:cubicBezTo>
                  <a:cubicBezTo>
                    <a:pt x="950" y="1082"/>
                    <a:pt x="950" y="1082"/>
                    <a:pt x="950" y="1082"/>
                  </a:cubicBezTo>
                  <a:cubicBezTo>
                    <a:pt x="950" y="1083"/>
                    <a:pt x="950" y="1083"/>
                    <a:pt x="950" y="1083"/>
                  </a:cubicBezTo>
                  <a:cubicBezTo>
                    <a:pt x="950" y="1083"/>
                    <a:pt x="950" y="1083"/>
                    <a:pt x="950" y="1083"/>
                  </a:cubicBezTo>
                  <a:cubicBezTo>
                    <a:pt x="951" y="1084"/>
                    <a:pt x="951" y="1084"/>
                    <a:pt x="951" y="1084"/>
                  </a:cubicBezTo>
                  <a:cubicBezTo>
                    <a:pt x="951" y="1085"/>
                    <a:pt x="951" y="1085"/>
                    <a:pt x="951" y="1085"/>
                  </a:cubicBezTo>
                  <a:cubicBezTo>
                    <a:pt x="952" y="1086"/>
                    <a:pt x="952" y="1086"/>
                    <a:pt x="952" y="1086"/>
                  </a:cubicBezTo>
                  <a:cubicBezTo>
                    <a:pt x="952" y="1086"/>
                    <a:pt x="952" y="1086"/>
                    <a:pt x="952" y="1086"/>
                  </a:cubicBezTo>
                  <a:cubicBezTo>
                    <a:pt x="951" y="1085"/>
                    <a:pt x="951" y="1085"/>
                    <a:pt x="951" y="1085"/>
                  </a:cubicBezTo>
                  <a:cubicBezTo>
                    <a:pt x="950" y="1084"/>
                    <a:pt x="950" y="1084"/>
                    <a:pt x="950" y="1084"/>
                  </a:cubicBezTo>
                  <a:cubicBezTo>
                    <a:pt x="949" y="1082"/>
                    <a:pt x="949" y="1082"/>
                    <a:pt x="949" y="1082"/>
                  </a:cubicBezTo>
                  <a:cubicBezTo>
                    <a:pt x="949" y="1082"/>
                    <a:pt x="949" y="1082"/>
                    <a:pt x="949" y="1082"/>
                  </a:cubicBezTo>
                  <a:cubicBezTo>
                    <a:pt x="949" y="1081"/>
                    <a:pt x="949" y="1081"/>
                    <a:pt x="949" y="1081"/>
                  </a:cubicBezTo>
                  <a:cubicBezTo>
                    <a:pt x="949" y="1081"/>
                    <a:pt x="949" y="1081"/>
                    <a:pt x="949" y="1081"/>
                  </a:cubicBezTo>
                  <a:close/>
                  <a:moveTo>
                    <a:pt x="935" y="952"/>
                  </a:moveTo>
                  <a:cubicBezTo>
                    <a:pt x="935" y="953"/>
                    <a:pt x="935" y="953"/>
                    <a:pt x="935" y="953"/>
                  </a:cubicBezTo>
                  <a:cubicBezTo>
                    <a:pt x="934" y="954"/>
                    <a:pt x="934" y="954"/>
                    <a:pt x="934" y="954"/>
                  </a:cubicBezTo>
                  <a:cubicBezTo>
                    <a:pt x="934" y="954"/>
                    <a:pt x="934" y="954"/>
                    <a:pt x="934" y="954"/>
                  </a:cubicBezTo>
                  <a:cubicBezTo>
                    <a:pt x="934" y="954"/>
                    <a:pt x="934" y="954"/>
                    <a:pt x="934" y="954"/>
                  </a:cubicBezTo>
                  <a:cubicBezTo>
                    <a:pt x="934" y="952"/>
                    <a:pt x="934" y="952"/>
                    <a:pt x="934" y="952"/>
                  </a:cubicBezTo>
                  <a:cubicBezTo>
                    <a:pt x="934" y="951"/>
                    <a:pt x="934" y="951"/>
                    <a:pt x="934" y="951"/>
                  </a:cubicBezTo>
                  <a:cubicBezTo>
                    <a:pt x="934" y="950"/>
                    <a:pt x="934" y="950"/>
                    <a:pt x="934" y="950"/>
                  </a:cubicBezTo>
                  <a:cubicBezTo>
                    <a:pt x="935" y="949"/>
                    <a:pt x="935" y="949"/>
                    <a:pt x="935" y="949"/>
                  </a:cubicBezTo>
                  <a:cubicBezTo>
                    <a:pt x="935" y="950"/>
                    <a:pt x="935" y="950"/>
                    <a:pt x="935" y="950"/>
                  </a:cubicBezTo>
                  <a:lnTo>
                    <a:pt x="935" y="952"/>
                  </a:lnTo>
                  <a:close/>
                  <a:moveTo>
                    <a:pt x="913" y="997"/>
                  </a:moveTo>
                  <a:cubicBezTo>
                    <a:pt x="912" y="995"/>
                    <a:pt x="912" y="995"/>
                    <a:pt x="912" y="995"/>
                  </a:cubicBezTo>
                  <a:cubicBezTo>
                    <a:pt x="912" y="994"/>
                    <a:pt x="912" y="994"/>
                    <a:pt x="912" y="994"/>
                  </a:cubicBezTo>
                  <a:cubicBezTo>
                    <a:pt x="912" y="993"/>
                    <a:pt x="912" y="993"/>
                    <a:pt x="912" y="993"/>
                  </a:cubicBezTo>
                  <a:cubicBezTo>
                    <a:pt x="912" y="993"/>
                    <a:pt x="912" y="993"/>
                    <a:pt x="912" y="993"/>
                  </a:cubicBezTo>
                  <a:cubicBezTo>
                    <a:pt x="912" y="994"/>
                    <a:pt x="912" y="994"/>
                    <a:pt x="912" y="994"/>
                  </a:cubicBezTo>
                  <a:cubicBezTo>
                    <a:pt x="913" y="995"/>
                    <a:pt x="913" y="995"/>
                    <a:pt x="913" y="995"/>
                  </a:cubicBezTo>
                  <a:cubicBezTo>
                    <a:pt x="913" y="996"/>
                    <a:pt x="913" y="996"/>
                    <a:pt x="913" y="996"/>
                  </a:cubicBezTo>
                  <a:cubicBezTo>
                    <a:pt x="913" y="997"/>
                    <a:pt x="913" y="997"/>
                    <a:pt x="913" y="997"/>
                  </a:cubicBezTo>
                  <a:cubicBezTo>
                    <a:pt x="913" y="997"/>
                    <a:pt x="913" y="997"/>
                    <a:pt x="913" y="997"/>
                  </a:cubicBezTo>
                  <a:close/>
                  <a:moveTo>
                    <a:pt x="924" y="972"/>
                  </a:moveTo>
                  <a:cubicBezTo>
                    <a:pt x="924" y="972"/>
                    <a:pt x="924" y="972"/>
                    <a:pt x="924" y="972"/>
                  </a:cubicBezTo>
                  <a:cubicBezTo>
                    <a:pt x="924" y="972"/>
                    <a:pt x="924" y="972"/>
                    <a:pt x="924" y="972"/>
                  </a:cubicBezTo>
                  <a:cubicBezTo>
                    <a:pt x="923" y="972"/>
                    <a:pt x="923" y="972"/>
                    <a:pt x="923" y="972"/>
                  </a:cubicBezTo>
                  <a:cubicBezTo>
                    <a:pt x="923" y="971"/>
                    <a:pt x="923" y="971"/>
                    <a:pt x="923" y="971"/>
                  </a:cubicBezTo>
                  <a:cubicBezTo>
                    <a:pt x="923" y="971"/>
                    <a:pt x="923" y="971"/>
                    <a:pt x="923" y="971"/>
                  </a:cubicBezTo>
                  <a:cubicBezTo>
                    <a:pt x="924" y="970"/>
                    <a:pt x="924" y="970"/>
                    <a:pt x="924" y="970"/>
                  </a:cubicBezTo>
                  <a:cubicBezTo>
                    <a:pt x="924" y="970"/>
                    <a:pt x="924" y="970"/>
                    <a:pt x="924" y="970"/>
                  </a:cubicBezTo>
                  <a:cubicBezTo>
                    <a:pt x="925" y="970"/>
                    <a:pt x="925" y="970"/>
                    <a:pt x="925" y="970"/>
                  </a:cubicBezTo>
                  <a:cubicBezTo>
                    <a:pt x="925" y="970"/>
                    <a:pt x="925" y="970"/>
                    <a:pt x="925" y="970"/>
                  </a:cubicBezTo>
                  <a:cubicBezTo>
                    <a:pt x="925" y="971"/>
                    <a:pt x="925" y="971"/>
                    <a:pt x="925" y="971"/>
                  </a:cubicBezTo>
                  <a:cubicBezTo>
                    <a:pt x="925" y="971"/>
                    <a:pt x="925" y="971"/>
                    <a:pt x="925" y="971"/>
                  </a:cubicBezTo>
                  <a:cubicBezTo>
                    <a:pt x="924" y="973"/>
                    <a:pt x="924" y="973"/>
                    <a:pt x="924" y="973"/>
                  </a:cubicBezTo>
                  <a:cubicBezTo>
                    <a:pt x="924" y="974"/>
                    <a:pt x="924" y="974"/>
                    <a:pt x="924" y="974"/>
                  </a:cubicBezTo>
                  <a:cubicBezTo>
                    <a:pt x="924" y="974"/>
                    <a:pt x="924" y="974"/>
                    <a:pt x="924" y="974"/>
                  </a:cubicBezTo>
                  <a:cubicBezTo>
                    <a:pt x="924" y="973"/>
                    <a:pt x="924" y="973"/>
                    <a:pt x="924" y="973"/>
                  </a:cubicBezTo>
                  <a:cubicBezTo>
                    <a:pt x="924" y="973"/>
                    <a:pt x="924" y="973"/>
                    <a:pt x="924" y="973"/>
                  </a:cubicBezTo>
                  <a:lnTo>
                    <a:pt x="924" y="972"/>
                  </a:lnTo>
                  <a:close/>
                  <a:moveTo>
                    <a:pt x="917" y="1067"/>
                  </a:moveTo>
                  <a:cubicBezTo>
                    <a:pt x="916" y="1066"/>
                    <a:pt x="916" y="1066"/>
                    <a:pt x="916" y="1066"/>
                  </a:cubicBezTo>
                  <a:cubicBezTo>
                    <a:pt x="916" y="1065"/>
                    <a:pt x="916" y="1065"/>
                    <a:pt x="916" y="1065"/>
                  </a:cubicBezTo>
                  <a:cubicBezTo>
                    <a:pt x="915" y="1065"/>
                    <a:pt x="915" y="1065"/>
                    <a:pt x="915" y="1065"/>
                  </a:cubicBezTo>
                  <a:cubicBezTo>
                    <a:pt x="915" y="1065"/>
                    <a:pt x="915" y="1065"/>
                    <a:pt x="915" y="1065"/>
                  </a:cubicBezTo>
                  <a:cubicBezTo>
                    <a:pt x="915" y="1064"/>
                    <a:pt x="915" y="1064"/>
                    <a:pt x="915" y="1064"/>
                  </a:cubicBezTo>
                  <a:cubicBezTo>
                    <a:pt x="915" y="1064"/>
                    <a:pt x="915" y="1064"/>
                    <a:pt x="915" y="1064"/>
                  </a:cubicBezTo>
                  <a:cubicBezTo>
                    <a:pt x="915" y="1063"/>
                    <a:pt x="915" y="1063"/>
                    <a:pt x="915" y="1063"/>
                  </a:cubicBezTo>
                  <a:cubicBezTo>
                    <a:pt x="916" y="1063"/>
                    <a:pt x="916" y="1063"/>
                    <a:pt x="916" y="1063"/>
                  </a:cubicBezTo>
                  <a:cubicBezTo>
                    <a:pt x="916" y="1063"/>
                    <a:pt x="916" y="1063"/>
                    <a:pt x="916" y="1063"/>
                  </a:cubicBezTo>
                  <a:cubicBezTo>
                    <a:pt x="916" y="1063"/>
                    <a:pt x="916" y="1063"/>
                    <a:pt x="916" y="1063"/>
                  </a:cubicBezTo>
                  <a:cubicBezTo>
                    <a:pt x="916" y="1064"/>
                    <a:pt x="916" y="1064"/>
                    <a:pt x="916" y="1064"/>
                  </a:cubicBezTo>
                  <a:cubicBezTo>
                    <a:pt x="915" y="1064"/>
                    <a:pt x="915" y="1064"/>
                    <a:pt x="915" y="1064"/>
                  </a:cubicBezTo>
                  <a:cubicBezTo>
                    <a:pt x="915" y="1065"/>
                    <a:pt x="915" y="1065"/>
                    <a:pt x="915" y="1065"/>
                  </a:cubicBezTo>
                  <a:cubicBezTo>
                    <a:pt x="916" y="1065"/>
                    <a:pt x="916" y="1065"/>
                    <a:pt x="916" y="1065"/>
                  </a:cubicBezTo>
                  <a:cubicBezTo>
                    <a:pt x="916" y="1065"/>
                    <a:pt x="916" y="1065"/>
                    <a:pt x="916" y="1065"/>
                  </a:cubicBezTo>
                  <a:cubicBezTo>
                    <a:pt x="917" y="1066"/>
                    <a:pt x="917" y="1066"/>
                    <a:pt x="917" y="1066"/>
                  </a:cubicBezTo>
                  <a:cubicBezTo>
                    <a:pt x="917" y="1067"/>
                    <a:pt x="917" y="1067"/>
                    <a:pt x="917" y="1067"/>
                  </a:cubicBezTo>
                  <a:cubicBezTo>
                    <a:pt x="919" y="1067"/>
                    <a:pt x="919" y="1067"/>
                    <a:pt x="919" y="1067"/>
                  </a:cubicBezTo>
                  <a:cubicBezTo>
                    <a:pt x="919" y="1067"/>
                    <a:pt x="919" y="1067"/>
                    <a:pt x="919" y="1067"/>
                  </a:cubicBezTo>
                  <a:lnTo>
                    <a:pt x="917" y="1067"/>
                  </a:lnTo>
                  <a:close/>
                  <a:moveTo>
                    <a:pt x="916" y="1058"/>
                  </a:moveTo>
                  <a:cubicBezTo>
                    <a:pt x="916" y="1058"/>
                    <a:pt x="916" y="1058"/>
                    <a:pt x="916" y="1058"/>
                  </a:cubicBezTo>
                  <a:cubicBezTo>
                    <a:pt x="916" y="1058"/>
                    <a:pt x="916" y="1058"/>
                    <a:pt x="916" y="1058"/>
                  </a:cubicBezTo>
                  <a:cubicBezTo>
                    <a:pt x="916" y="1059"/>
                    <a:pt x="916" y="1059"/>
                    <a:pt x="916" y="1059"/>
                  </a:cubicBezTo>
                  <a:cubicBezTo>
                    <a:pt x="916" y="1059"/>
                    <a:pt x="916" y="1059"/>
                    <a:pt x="916" y="1059"/>
                  </a:cubicBezTo>
                  <a:cubicBezTo>
                    <a:pt x="917" y="1059"/>
                    <a:pt x="917" y="1059"/>
                    <a:pt x="917" y="1059"/>
                  </a:cubicBezTo>
                  <a:cubicBezTo>
                    <a:pt x="919" y="1060"/>
                    <a:pt x="919" y="1060"/>
                    <a:pt x="919" y="1060"/>
                  </a:cubicBezTo>
                  <a:cubicBezTo>
                    <a:pt x="919" y="1060"/>
                    <a:pt x="919" y="1060"/>
                    <a:pt x="919" y="1060"/>
                  </a:cubicBezTo>
                  <a:cubicBezTo>
                    <a:pt x="920" y="1060"/>
                    <a:pt x="920" y="1060"/>
                    <a:pt x="920" y="1060"/>
                  </a:cubicBezTo>
                  <a:cubicBezTo>
                    <a:pt x="921" y="1061"/>
                    <a:pt x="921" y="1061"/>
                    <a:pt x="921" y="1061"/>
                  </a:cubicBezTo>
                  <a:cubicBezTo>
                    <a:pt x="921" y="1062"/>
                    <a:pt x="921" y="1062"/>
                    <a:pt x="921" y="1062"/>
                  </a:cubicBezTo>
                  <a:cubicBezTo>
                    <a:pt x="921" y="1062"/>
                    <a:pt x="921" y="1062"/>
                    <a:pt x="921" y="1062"/>
                  </a:cubicBezTo>
                  <a:cubicBezTo>
                    <a:pt x="921" y="1063"/>
                    <a:pt x="921" y="1063"/>
                    <a:pt x="921" y="1063"/>
                  </a:cubicBezTo>
                  <a:cubicBezTo>
                    <a:pt x="919" y="1063"/>
                    <a:pt x="919" y="1063"/>
                    <a:pt x="919" y="1063"/>
                  </a:cubicBezTo>
                  <a:cubicBezTo>
                    <a:pt x="919" y="1063"/>
                    <a:pt x="919" y="1063"/>
                    <a:pt x="919" y="1063"/>
                  </a:cubicBezTo>
                  <a:cubicBezTo>
                    <a:pt x="918" y="1063"/>
                    <a:pt x="918" y="1063"/>
                    <a:pt x="918" y="1063"/>
                  </a:cubicBezTo>
                  <a:cubicBezTo>
                    <a:pt x="919" y="1063"/>
                    <a:pt x="919" y="1063"/>
                    <a:pt x="919" y="1063"/>
                  </a:cubicBezTo>
                  <a:cubicBezTo>
                    <a:pt x="920" y="1063"/>
                    <a:pt x="920" y="1063"/>
                    <a:pt x="920" y="1063"/>
                  </a:cubicBezTo>
                  <a:cubicBezTo>
                    <a:pt x="920" y="1062"/>
                    <a:pt x="920" y="1062"/>
                    <a:pt x="920" y="1062"/>
                  </a:cubicBezTo>
                  <a:cubicBezTo>
                    <a:pt x="921" y="1062"/>
                    <a:pt x="921" y="1062"/>
                    <a:pt x="921" y="1062"/>
                  </a:cubicBezTo>
                  <a:cubicBezTo>
                    <a:pt x="920" y="1061"/>
                    <a:pt x="920" y="1061"/>
                    <a:pt x="920" y="1061"/>
                  </a:cubicBezTo>
                  <a:cubicBezTo>
                    <a:pt x="920" y="1061"/>
                    <a:pt x="920" y="1061"/>
                    <a:pt x="920" y="1061"/>
                  </a:cubicBezTo>
                  <a:cubicBezTo>
                    <a:pt x="919" y="1060"/>
                    <a:pt x="919" y="1060"/>
                    <a:pt x="919" y="1060"/>
                  </a:cubicBezTo>
                  <a:cubicBezTo>
                    <a:pt x="918" y="1060"/>
                    <a:pt x="918" y="1060"/>
                    <a:pt x="918" y="1060"/>
                  </a:cubicBezTo>
                  <a:cubicBezTo>
                    <a:pt x="917" y="1060"/>
                    <a:pt x="917" y="1060"/>
                    <a:pt x="917" y="1060"/>
                  </a:cubicBezTo>
                  <a:cubicBezTo>
                    <a:pt x="916" y="1059"/>
                    <a:pt x="916" y="1059"/>
                    <a:pt x="916" y="1059"/>
                  </a:cubicBezTo>
                  <a:cubicBezTo>
                    <a:pt x="916" y="1059"/>
                    <a:pt x="916" y="1059"/>
                    <a:pt x="916" y="1059"/>
                  </a:cubicBezTo>
                  <a:cubicBezTo>
                    <a:pt x="916" y="1059"/>
                    <a:pt x="916" y="1059"/>
                    <a:pt x="916" y="1059"/>
                  </a:cubicBezTo>
                  <a:cubicBezTo>
                    <a:pt x="916" y="1058"/>
                    <a:pt x="916" y="1058"/>
                    <a:pt x="916" y="1058"/>
                  </a:cubicBezTo>
                  <a:cubicBezTo>
                    <a:pt x="915" y="1058"/>
                    <a:pt x="915" y="1058"/>
                    <a:pt x="915" y="1058"/>
                  </a:cubicBezTo>
                  <a:cubicBezTo>
                    <a:pt x="915" y="1058"/>
                    <a:pt x="915" y="1058"/>
                    <a:pt x="915" y="1058"/>
                  </a:cubicBezTo>
                  <a:cubicBezTo>
                    <a:pt x="915" y="1058"/>
                    <a:pt x="915" y="1058"/>
                    <a:pt x="915" y="1058"/>
                  </a:cubicBezTo>
                  <a:cubicBezTo>
                    <a:pt x="915" y="1057"/>
                    <a:pt x="915" y="1057"/>
                    <a:pt x="915" y="1057"/>
                  </a:cubicBezTo>
                  <a:cubicBezTo>
                    <a:pt x="915" y="1057"/>
                    <a:pt x="915" y="1057"/>
                    <a:pt x="915" y="1057"/>
                  </a:cubicBezTo>
                  <a:cubicBezTo>
                    <a:pt x="915" y="1057"/>
                    <a:pt x="915" y="1057"/>
                    <a:pt x="915" y="1057"/>
                  </a:cubicBezTo>
                  <a:cubicBezTo>
                    <a:pt x="916" y="1057"/>
                    <a:pt x="916" y="1057"/>
                    <a:pt x="916" y="1057"/>
                  </a:cubicBezTo>
                  <a:cubicBezTo>
                    <a:pt x="916" y="1057"/>
                    <a:pt x="916" y="1057"/>
                    <a:pt x="916" y="1057"/>
                  </a:cubicBezTo>
                  <a:cubicBezTo>
                    <a:pt x="916" y="1058"/>
                    <a:pt x="916" y="1058"/>
                    <a:pt x="916" y="1058"/>
                  </a:cubicBezTo>
                  <a:cubicBezTo>
                    <a:pt x="916" y="1058"/>
                    <a:pt x="916" y="1058"/>
                    <a:pt x="916" y="1058"/>
                  </a:cubicBezTo>
                  <a:close/>
                  <a:moveTo>
                    <a:pt x="917" y="1057"/>
                  </a:moveTo>
                  <a:cubicBezTo>
                    <a:pt x="917" y="1056"/>
                    <a:pt x="917" y="1056"/>
                    <a:pt x="917" y="1056"/>
                  </a:cubicBezTo>
                  <a:cubicBezTo>
                    <a:pt x="917" y="1056"/>
                    <a:pt x="917" y="1056"/>
                    <a:pt x="917" y="1056"/>
                  </a:cubicBezTo>
                  <a:cubicBezTo>
                    <a:pt x="917" y="1056"/>
                    <a:pt x="917" y="1056"/>
                    <a:pt x="917" y="1056"/>
                  </a:cubicBezTo>
                  <a:cubicBezTo>
                    <a:pt x="917" y="1055"/>
                    <a:pt x="917" y="1055"/>
                    <a:pt x="917" y="1055"/>
                  </a:cubicBezTo>
                  <a:cubicBezTo>
                    <a:pt x="917" y="1055"/>
                    <a:pt x="917" y="1055"/>
                    <a:pt x="917" y="1055"/>
                  </a:cubicBezTo>
                  <a:cubicBezTo>
                    <a:pt x="918" y="1055"/>
                    <a:pt x="918" y="1055"/>
                    <a:pt x="918" y="1055"/>
                  </a:cubicBezTo>
                  <a:cubicBezTo>
                    <a:pt x="918" y="1055"/>
                    <a:pt x="918" y="1055"/>
                    <a:pt x="918" y="1055"/>
                  </a:cubicBezTo>
                  <a:cubicBezTo>
                    <a:pt x="918" y="1055"/>
                    <a:pt x="918" y="1055"/>
                    <a:pt x="918" y="1055"/>
                  </a:cubicBezTo>
                  <a:cubicBezTo>
                    <a:pt x="918" y="1054"/>
                    <a:pt x="918" y="1054"/>
                    <a:pt x="918" y="1054"/>
                  </a:cubicBezTo>
                  <a:cubicBezTo>
                    <a:pt x="918" y="1054"/>
                    <a:pt x="918" y="1054"/>
                    <a:pt x="918" y="1054"/>
                  </a:cubicBezTo>
                  <a:cubicBezTo>
                    <a:pt x="918" y="1054"/>
                    <a:pt x="918" y="1054"/>
                    <a:pt x="918" y="1054"/>
                  </a:cubicBezTo>
                  <a:cubicBezTo>
                    <a:pt x="918" y="1054"/>
                    <a:pt x="918" y="1054"/>
                    <a:pt x="918" y="1054"/>
                  </a:cubicBezTo>
                  <a:cubicBezTo>
                    <a:pt x="918" y="1053"/>
                    <a:pt x="918" y="1053"/>
                    <a:pt x="918" y="1053"/>
                  </a:cubicBezTo>
                  <a:cubicBezTo>
                    <a:pt x="918" y="1053"/>
                    <a:pt x="918" y="1053"/>
                    <a:pt x="918" y="1053"/>
                  </a:cubicBezTo>
                  <a:cubicBezTo>
                    <a:pt x="919" y="1053"/>
                    <a:pt x="919" y="1053"/>
                    <a:pt x="919" y="1053"/>
                  </a:cubicBezTo>
                  <a:cubicBezTo>
                    <a:pt x="918" y="1053"/>
                    <a:pt x="918" y="1053"/>
                    <a:pt x="918" y="1053"/>
                  </a:cubicBezTo>
                  <a:cubicBezTo>
                    <a:pt x="918" y="1054"/>
                    <a:pt x="918" y="1054"/>
                    <a:pt x="918" y="1054"/>
                  </a:cubicBezTo>
                  <a:cubicBezTo>
                    <a:pt x="918" y="1054"/>
                    <a:pt x="918" y="1054"/>
                    <a:pt x="918" y="1054"/>
                  </a:cubicBezTo>
                  <a:cubicBezTo>
                    <a:pt x="918" y="1054"/>
                    <a:pt x="918" y="1054"/>
                    <a:pt x="918" y="1054"/>
                  </a:cubicBezTo>
                  <a:cubicBezTo>
                    <a:pt x="918" y="1054"/>
                    <a:pt x="918" y="1054"/>
                    <a:pt x="918" y="1054"/>
                  </a:cubicBezTo>
                  <a:cubicBezTo>
                    <a:pt x="918" y="1054"/>
                    <a:pt x="918" y="1054"/>
                    <a:pt x="918" y="1054"/>
                  </a:cubicBezTo>
                  <a:cubicBezTo>
                    <a:pt x="918" y="1055"/>
                    <a:pt x="918" y="1055"/>
                    <a:pt x="918" y="1055"/>
                  </a:cubicBezTo>
                  <a:cubicBezTo>
                    <a:pt x="918" y="1055"/>
                    <a:pt x="918" y="1055"/>
                    <a:pt x="918" y="1055"/>
                  </a:cubicBezTo>
                  <a:cubicBezTo>
                    <a:pt x="918" y="1055"/>
                    <a:pt x="918" y="1055"/>
                    <a:pt x="918" y="1055"/>
                  </a:cubicBezTo>
                  <a:cubicBezTo>
                    <a:pt x="918" y="1056"/>
                    <a:pt x="918" y="1056"/>
                    <a:pt x="918" y="1056"/>
                  </a:cubicBezTo>
                  <a:cubicBezTo>
                    <a:pt x="918" y="1056"/>
                    <a:pt x="918" y="1056"/>
                    <a:pt x="918" y="1056"/>
                  </a:cubicBezTo>
                  <a:cubicBezTo>
                    <a:pt x="918" y="1056"/>
                    <a:pt x="918" y="1056"/>
                    <a:pt x="918" y="1056"/>
                  </a:cubicBezTo>
                  <a:cubicBezTo>
                    <a:pt x="917" y="1057"/>
                    <a:pt x="917" y="1057"/>
                    <a:pt x="917" y="1057"/>
                  </a:cubicBezTo>
                  <a:cubicBezTo>
                    <a:pt x="917" y="1057"/>
                    <a:pt x="917" y="1057"/>
                    <a:pt x="917" y="1057"/>
                  </a:cubicBezTo>
                  <a:close/>
                  <a:moveTo>
                    <a:pt x="921" y="906"/>
                  </a:moveTo>
                  <a:cubicBezTo>
                    <a:pt x="920" y="906"/>
                    <a:pt x="920" y="906"/>
                    <a:pt x="920" y="906"/>
                  </a:cubicBezTo>
                  <a:cubicBezTo>
                    <a:pt x="920" y="906"/>
                    <a:pt x="920" y="906"/>
                    <a:pt x="920" y="906"/>
                  </a:cubicBezTo>
                  <a:cubicBezTo>
                    <a:pt x="920" y="906"/>
                    <a:pt x="920" y="906"/>
                    <a:pt x="920" y="906"/>
                  </a:cubicBezTo>
                  <a:cubicBezTo>
                    <a:pt x="919" y="905"/>
                    <a:pt x="919" y="905"/>
                    <a:pt x="919" y="905"/>
                  </a:cubicBezTo>
                  <a:cubicBezTo>
                    <a:pt x="919" y="904"/>
                    <a:pt x="919" y="904"/>
                    <a:pt x="919" y="904"/>
                  </a:cubicBezTo>
                  <a:cubicBezTo>
                    <a:pt x="919" y="905"/>
                    <a:pt x="919" y="905"/>
                    <a:pt x="919" y="905"/>
                  </a:cubicBezTo>
                  <a:cubicBezTo>
                    <a:pt x="921" y="905"/>
                    <a:pt x="921" y="905"/>
                    <a:pt x="921" y="905"/>
                  </a:cubicBezTo>
                  <a:cubicBezTo>
                    <a:pt x="921" y="905"/>
                    <a:pt x="921" y="905"/>
                    <a:pt x="921" y="905"/>
                  </a:cubicBezTo>
                  <a:cubicBezTo>
                    <a:pt x="921" y="905"/>
                    <a:pt x="921" y="905"/>
                    <a:pt x="921" y="905"/>
                  </a:cubicBezTo>
                  <a:cubicBezTo>
                    <a:pt x="922" y="906"/>
                    <a:pt x="922" y="906"/>
                    <a:pt x="922" y="906"/>
                  </a:cubicBezTo>
                  <a:lnTo>
                    <a:pt x="921" y="906"/>
                  </a:lnTo>
                  <a:close/>
                  <a:moveTo>
                    <a:pt x="922" y="1067"/>
                  </a:moveTo>
                  <a:cubicBezTo>
                    <a:pt x="922" y="1067"/>
                    <a:pt x="922" y="1067"/>
                    <a:pt x="922" y="1067"/>
                  </a:cubicBezTo>
                  <a:cubicBezTo>
                    <a:pt x="923" y="1068"/>
                    <a:pt x="923" y="1068"/>
                    <a:pt x="923" y="1068"/>
                  </a:cubicBezTo>
                  <a:cubicBezTo>
                    <a:pt x="923" y="1068"/>
                    <a:pt x="923" y="1068"/>
                    <a:pt x="923" y="1068"/>
                  </a:cubicBezTo>
                  <a:cubicBezTo>
                    <a:pt x="923" y="1069"/>
                    <a:pt x="923" y="1069"/>
                    <a:pt x="923" y="1069"/>
                  </a:cubicBezTo>
                  <a:cubicBezTo>
                    <a:pt x="923" y="1070"/>
                    <a:pt x="923" y="1070"/>
                    <a:pt x="923" y="1070"/>
                  </a:cubicBezTo>
                  <a:cubicBezTo>
                    <a:pt x="925" y="1071"/>
                    <a:pt x="925" y="1071"/>
                    <a:pt x="925" y="1071"/>
                  </a:cubicBezTo>
                  <a:cubicBezTo>
                    <a:pt x="925" y="1071"/>
                    <a:pt x="925" y="1071"/>
                    <a:pt x="925" y="1071"/>
                  </a:cubicBezTo>
                  <a:cubicBezTo>
                    <a:pt x="925" y="1071"/>
                    <a:pt x="925" y="1071"/>
                    <a:pt x="925" y="1071"/>
                  </a:cubicBezTo>
                  <a:cubicBezTo>
                    <a:pt x="924" y="1071"/>
                    <a:pt x="924" y="1071"/>
                    <a:pt x="924" y="1071"/>
                  </a:cubicBezTo>
                  <a:cubicBezTo>
                    <a:pt x="923" y="1070"/>
                    <a:pt x="923" y="1070"/>
                    <a:pt x="923" y="1070"/>
                  </a:cubicBezTo>
                  <a:cubicBezTo>
                    <a:pt x="923" y="1069"/>
                    <a:pt x="923" y="1069"/>
                    <a:pt x="923" y="1069"/>
                  </a:cubicBezTo>
                  <a:cubicBezTo>
                    <a:pt x="922" y="1068"/>
                    <a:pt x="922" y="1068"/>
                    <a:pt x="922" y="1068"/>
                  </a:cubicBezTo>
                  <a:cubicBezTo>
                    <a:pt x="922" y="1068"/>
                    <a:pt x="922" y="1068"/>
                    <a:pt x="922" y="1068"/>
                  </a:cubicBezTo>
                  <a:cubicBezTo>
                    <a:pt x="922" y="1067"/>
                    <a:pt x="922" y="1067"/>
                    <a:pt x="922" y="1067"/>
                  </a:cubicBezTo>
                  <a:cubicBezTo>
                    <a:pt x="921" y="1067"/>
                    <a:pt x="921" y="1067"/>
                    <a:pt x="921" y="1067"/>
                  </a:cubicBezTo>
                  <a:lnTo>
                    <a:pt x="922" y="1067"/>
                  </a:lnTo>
                  <a:close/>
                  <a:moveTo>
                    <a:pt x="928" y="966"/>
                  </a:moveTo>
                  <a:cubicBezTo>
                    <a:pt x="928" y="966"/>
                    <a:pt x="928" y="966"/>
                    <a:pt x="928" y="966"/>
                  </a:cubicBezTo>
                  <a:cubicBezTo>
                    <a:pt x="928" y="966"/>
                    <a:pt x="928" y="966"/>
                    <a:pt x="928" y="966"/>
                  </a:cubicBezTo>
                  <a:cubicBezTo>
                    <a:pt x="928" y="966"/>
                    <a:pt x="928" y="966"/>
                    <a:pt x="928" y="966"/>
                  </a:cubicBezTo>
                  <a:cubicBezTo>
                    <a:pt x="928" y="966"/>
                    <a:pt x="928" y="966"/>
                    <a:pt x="928" y="966"/>
                  </a:cubicBezTo>
                  <a:close/>
                  <a:moveTo>
                    <a:pt x="922" y="976"/>
                  </a:moveTo>
                  <a:cubicBezTo>
                    <a:pt x="923" y="976"/>
                    <a:pt x="923" y="976"/>
                    <a:pt x="923" y="976"/>
                  </a:cubicBezTo>
                  <a:cubicBezTo>
                    <a:pt x="923" y="977"/>
                    <a:pt x="923" y="977"/>
                    <a:pt x="923" y="977"/>
                  </a:cubicBezTo>
                  <a:cubicBezTo>
                    <a:pt x="922" y="977"/>
                    <a:pt x="922" y="977"/>
                    <a:pt x="922" y="977"/>
                  </a:cubicBezTo>
                  <a:cubicBezTo>
                    <a:pt x="922" y="978"/>
                    <a:pt x="922" y="978"/>
                    <a:pt x="922" y="978"/>
                  </a:cubicBezTo>
                  <a:cubicBezTo>
                    <a:pt x="922" y="978"/>
                    <a:pt x="922" y="978"/>
                    <a:pt x="922" y="978"/>
                  </a:cubicBezTo>
                  <a:cubicBezTo>
                    <a:pt x="922" y="977"/>
                    <a:pt x="922" y="977"/>
                    <a:pt x="922" y="977"/>
                  </a:cubicBezTo>
                  <a:cubicBezTo>
                    <a:pt x="922" y="977"/>
                    <a:pt x="922" y="977"/>
                    <a:pt x="922" y="977"/>
                  </a:cubicBezTo>
                  <a:cubicBezTo>
                    <a:pt x="922" y="976"/>
                    <a:pt x="922" y="976"/>
                    <a:pt x="922" y="976"/>
                  </a:cubicBezTo>
                  <a:cubicBezTo>
                    <a:pt x="922" y="976"/>
                    <a:pt x="922" y="976"/>
                    <a:pt x="922" y="976"/>
                  </a:cubicBezTo>
                  <a:close/>
                  <a:moveTo>
                    <a:pt x="919" y="981"/>
                  </a:moveTo>
                  <a:cubicBezTo>
                    <a:pt x="920" y="980"/>
                    <a:pt x="920" y="980"/>
                    <a:pt x="920" y="980"/>
                  </a:cubicBezTo>
                  <a:cubicBezTo>
                    <a:pt x="920" y="980"/>
                    <a:pt x="920" y="980"/>
                    <a:pt x="920" y="980"/>
                  </a:cubicBezTo>
                  <a:cubicBezTo>
                    <a:pt x="919" y="981"/>
                    <a:pt x="919" y="981"/>
                    <a:pt x="919" y="981"/>
                  </a:cubicBezTo>
                  <a:cubicBezTo>
                    <a:pt x="919" y="981"/>
                    <a:pt x="919" y="981"/>
                    <a:pt x="919" y="981"/>
                  </a:cubicBezTo>
                  <a:cubicBezTo>
                    <a:pt x="919" y="981"/>
                    <a:pt x="919" y="981"/>
                    <a:pt x="919" y="981"/>
                  </a:cubicBezTo>
                  <a:cubicBezTo>
                    <a:pt x="919" y="982"/>
                    <a:pt x="919" y="982"/>
                    <a:pt x="919" y="982"/>
                  </a:cubicBezTo>
                  <a:cubicBezTo>
                    <a:pt x="919" y="982"/>
                    <a:pt x="919" y="982"/>
                    <a:pt x="919" y="982"/>
                  </a:cubicBezTo>
                  <a:cubicBezTo>
                    <a:pt x="919" y="982"/>
                    <a:pt x="919" y="982"/>
                    <a:pt x="919" y="982"/>
                  </a:cubicBezTo>
                  <a:cubicBezTo>
                    <a:pt x="919" y="982"/>
                    <a:pt x="919" y="982"/>
                    <a:pt x="919" y="982"/>
                  </a:cubicBezTo>
                  <a:cubicBezTo>
                    <a:pt x="920" y="983"/>
                    <a:pt x="920" y="983"/>
                    <a:pt x="920" y="983"/>
                  </a:cubicBezTo>
                  <a:cubicBezTo>
                    <a:pt x="920" y="984"/>
                    <a:pt x="920" y="984"/>
                    <a:pt x="920" y="984"/>
                  </a:cubicBezTo>
                  <a:cubicBezTo>
                    <a:pt x="919" y="985"/>
                    <a:pt x="919" y="985"/>
                    <a:pt x="919" y="985"/>
                  </a:cubicBezTo>
                  <a:cubicBezTo>
                    <a:pt x="919" y="985"/>
                    <a:pt x="919" y="985"/>
                    <a:pt x="919" y="985"/>
                  </a:cubicBezTo>
                  <a:cubicBezTo>
                    <a:pt x="919" y="984"/>
                    <a:pt x="919" y="984"/>
                    <a:pt x="919" y="984"/>
                  </a:cubicBezTo>
                  <a:cubicBezTo>
                    <a:pt x="919" y="984"/>
                    <a:pt x="919" y="984"/>
                    <a:pt x="919" y="984"/>
                  </a:cubicBezTo>
                  <a:cubicBezTo>
                    <a:pt x="918" y="984"/>
                    <a:pt x="918" y="984"/>
                    <a:pt x="918" y="984"/>
                  </a:cubicBezTo>
                  <a:cubicBezTo>
                    <a:pt x="918" y="983"/>
                    <a:pt x="918" y="983"/>
                    <a:pt x="918" y="983"/>
                  </a:cubicBezTo>
                  <a:cubicBezTo>
                    <a:pt x="918" y="983"/>
                    <a:pt x="918" y="983"/>
                    <a:pt x="918" y="983"/>
                  </a:cubicBezTo>
                  <a:cubicBezTo>
                    <a:pt x="918" y="983"/>
                    <a:pt x="918" y="983"/>
                    <a:pt x="918" y="983"/>
                  </a:cubicBezTo>
                  <a:cubicBezTo>
                    <a:pt x="919" y="983"/>
                    <a:pt x="919" y="983"/>
                    <a:pt x="919" y="983"/>
                  </a:cubicBezTo>
                  <a:cubicBezTo>
                    <a:pt x="919" y="982"/>
                    <a:pt x="919" y="982"/>
                    <a:pt x="919" y="982"/>
                  </a:cubicBezTo>
                  <a:lnTo>
                    <a:pt x="919" y="981"/>
                  </a:lnTo>
                  <a:close/>
                  <a:moveTo>
                    <a:pt x="913" y="992"/>
                  </a:moveTo>
                  <a:cubicBezTo>
                    <a:pt x="913" y="992"/>
                    <a:pt x="913" y="992"/>
                    <a:pt x="913" y="992"/>
                  </a:cubicBezTo>
                  <a:cubicBezTo>
                    <a:pt x="913" y="990"/>
                    <a:pt x="913" y="990"/>
                    <a:pt x="913" y="990"/>
                  </a:cubicBezTo>
                  <a:cubicBezTo>
                    <a:pt x="913" y="989"/>
                    <a:pt x="913" y="989"/>
                    <a:pt x="913" y="989"/>
                  </a:cubicBezTo>
                  <a:cubicBezTo>
                    <a:pt x="914" y="989"/>
                    <a:pt x="914" y="989"/>
                    <a:pt x="914" y="989"/>
                  </a:cubicBezTo>
                  <a:cubicBezTo>
                    <a:pt x="914" y="989"/>
                    <a:pt x="914" y="989"/>
                    <a:pt x="914" y="989"/>
                  </a:cubicBezTo>
                  <a:cubicBezTo>
                    <a:pt x="914" y="989"/>
                    <a:pt x="914" y="989"/>
                    <a:pt x="914" y="989"/>
                  </a:cubicBezTo>
                  <a:cubicBezTo>
                    <a:pt x="914" y="991"/>
                    <a:pt x="914" y="991"/>
                    <a:pt x="914" y="991"/>
                  </a:cubicBezTo>
                  <a:cubicBezTo>
                    <a:pt x="913" y="992"/>
                    <a:pt x="913" y="992"/>
                    <a:pt x="913" y="992"/>
                  </a:cubicBezTo>
                  <a:close/>
                  <a:moveTo>
                    <a:pt x="908" y="1045"/>
                  </a:moveTo>
                  <a:cubicBezTo>
                    <a:pt x="909" y="1045"/>
                    <a:pt x="909" y="1045"/>
                    <a:pt x="909" y="1045"/>
                  </a:cubicBezTo>
                  <a:cubicBezTo>
                    <a:pt x="909" y="1045"/>
                    <a:pt x="909" y="1045"/>
                    <a:pt x="909" y="1045"/>
                  </a:cubicBezTo>
                  <a:cubicBezTo>
                    <a:pt x="910" y="1045"/>
                    <a:pt x="910" y="1045"/>
                    <a:pt x="910" y="1045"/>
                  </a:cubicBezTo>
                  <a:cubicBezTo>
                    <a:pt x="911" y="1046"/>
                    <a:pt x="911" y="1046"/>
                    <a:pt x="911" y="1046"/>
                  </a:cubicBezTo>
                  <a:cubicBezTo>
                    <a:pt x="911" y="1047"/>
                    <a:pt x="911" y="1047"/>
                    <a:pt x="911" y="1047"/>
                  </a:cubicBezTo>
                  <a:cubicBezTo>
                    <a:pt x="912" y="1048"/>
                    <a:pt x="912" y="1048"/>
                    <a:pt x="912" y="1048"/>
                  </a:cubicBezTo>
                  <a:cubicBezTo>
                    <a:pt x="913" y="1048"/>
                    <a:pt x="913" y="1048"/>
                    <a:pt x="913" y="1048"/>
                  </a:cubicBezTo>
                  <a:cubicBezTo>
                    <a:pt x="914" y="1048"/>
                    <a:pt x="914" y="1048"/>
                    <a:pt x="914" y="1048"/>
                  </a:cubicBezTo>
                  <a:cubicBezTo>
                    <a:pt x="917" y="1049"/>
                    <a:pt x="917" y="1049"/>
                    <a:pt x="917" y="1049"/>
                  </a:cubicBezTo>
                  <a:cubicBezTo>
                    <a:pt x="918" y="1050"/>
                    <a:pt x="918" y="1050"/>
                    <a:pt x="918" y="1050"/>
                  </a:cubicBezTo>
                  <a:cubicBezTo>
                    <a:pt x="919" y="1050"/>
                    <a:pt x="919" y="1050"/>
                    <a:pt x="919" y="1050"/>
                  </a:cubicBezTo>
                  <a:cubicBezTo>
                    <a:pt x="919" y="1051"/>
                    <a:pt x="919" y="1051"/>
                    <a:pt x="919" y="1051"/>
                  </a:cubicBezTo>
                  <a:cubicBezTo>
                    <a:pt x="920" y="1051"/>
                    <a:pt x="920" y="1051"/>
                    <a:pt x="920" y="1051"/>
                  </a:cubicBezTo>
                  <a:cubicBezTo>
                    <a:pt x="920" y="1052"/>
                    <a:pt x="920" y="1052"/>
                    <a:pt x="920" y="1052"/>
                  </a:cubicBezTo>
                  <a:cubicBezTo>
                    <a:pt x="920" y="1052"/>
                    <a:pt x="920" y="1052"/>
                    <a:pt x="920" y="1052"/>
                  </a:cubicBezTo>
                  <a:cubicBezTo>
                    <a:pt x="919" y="1053"/>
                    <a:pt x="919" y="1053"/>
                    <a:pt x="919" y="1053"/>
                  </a:cubicBezTo>
                  <a:cubicBezTo>
                    <a:pt x="919" y="1053"/>
                    <a:pt x="919" y="1053"/>
                    <a:pt x="919" y="1053"/>
                  </a:cubicBezTo>
                  <a:cubicBezTo>
                    <a:pt x="919" y="1052"/>
                    <a:pt x="919" y="1052"/>
                    <a:pt x="919" y="1052"/>
                  </a:cubicBezTo>
                  <a:cubicBezTo>
                    <a:pt x="919" y="1052"/>
                    <a:pt x="919" y="1052"/>
                    <a:pt x="919" y="1052"/>
                  </a:cubicBezTo>
                  <a:cubicBezTo>
                    <a:pt x="919" y="1051"/>
                    <a:pt x="919" y="1051"/>
                    <a:pt x="919" y="1051"/>
                  </a:cubicBezTo>
                  <a:cubicBezTo>
                    <a:pt x="918" y="1051"/>
                    <a:pt x="918" y="1051"/>
                    <a:pt x="918" y="1051"/>
                  </a:cubicBezTo>
                  <a:cubicBezTo>
                    <a:pt x="917" y="1050"/>
                    <a:pt x="917" y="1050"/>
                    <a:pt x="917" y="1050"/>
                  </a:cubicBezTo>
                  <a:cubicBezTo>
                    <a:pt x="916" y="1050"/>
                    <a:pt x="916" y="1050"/>
                    <a:pt x="916" y="1050"/>
                  </a:cubicBezTo>
                  <a:cubicBezTo>
                    <a:pt x="913" y="1049"/>
                    <a:pt x="913" y="1049"/>
                    <a:pt x="913" y="1049"/>
                  </a:cubicBezTo>
                  <a:cubicBezTo>
                    <a:pt x="912" y="1049"/>
                    <a:pt x="912" y="1049"/>
                    <a:pt x="912" y="1049"/>
                  </a:cubicBezTo>
                  <a:cubicBezTo>
                    <a:pt x="912" y="1048"/>
                    <a:pt x="912" y="1048"/>
                    <a:pt x="912" y="1048"/>
                  </a:cubicBezTo>
                  <a:cubicBezTo>
                    <a:pt x="911" y="1048"/>
                    <a:pt x="911" y="1048"/>
                    <a:pt x="911" y="1048"/>
                  </a:cubicBezTo>
                  <a:cubicBezTo>
                    <a:pt x="910" y="1047"/>
                    <a:pt x="910" y="1047"/>
                    <a:pt x="910" y="1047"/>
                  </a:cubicBezTo>
                  <a:cubicBezTo>
                    <a:pt x="909" y="1046"/>
                    <a:pt x="909" y="1046"/>
                    <a:pt x="909" y="1046"/>
                  </a:cubicBezTo>
                  <a:cubicBezTo>
                    <a:pt x="908" y="1045"/>
                    <a:pt x="908" y="1045"/>
                    <a:pt x="908" y="1045"/>
                  </a:cubicBezTo>
                  <a:cubicBezTo>
                    <a:pt x="908" y="1045"/>
                    <a:pt x="908" y="1045"/>
                    <a:pt x="908" y="1045"/>
                  </a:cubicBezTo>
                  <a:close/>
                  <a:moveTo>
                    <a:pt x="909" y="1002"/>
                  </a:moveTo>
                  <a:cubicBezTo>
                    <a:pt x="909" y="1002"/>
                    <a:pt x="909" y="1002"/>
                    <a:pt x="909" y="1002"/>
                  </a:cubicBezTo>
                  <a:cubicBezTo>
                    <a:pt x="909" y="1000"/>
                    <a:pt x="909" y="1000"/>
                    <a:pt x="909" y="1000"/>
                  </a:cubicBezTo>
                  <a:cubicBezTo>
                    <a:pt x="910" y="999"/>
                    <a:pt x="910" y="999"/>
                    <a:pt x="910" y="999"/>
                  </a:cubicBezTo>
                  <a:cubicBezTo>
                    <a:pt x="910" y="998"/>
                    <a:pt x="910" y="998"/>
                    <a:pt x="910" y="998"/>
                  </a:cubicBezTo>
                  <a:cubicBezTo>
                    <a:pt x="910" y="999"/>
                    <a:pt x="910" y="999"/>
                    <a:pt x="910" y="999"/>
                  </a:cubicBezTo>
                  <a:cubicBezTo>
                    <a:pt x="910" y="1001"/>
                    <a:pt x="910" y="1001"/>
                    <a:pt x="910" y="1001"/>
                  </a:cubicBezTo>
                  <a:cubicBezTo>
                    <a:pt x="910" y="1001"/>
                    <a:pt x="910" y="1001"/>
                    <a:pt x="910" y="1001"/>
                  </a:cubicBezTo>
                  <a:cubicBezTo>
                    <a:pt x="909" y="1002"/>
                    <a:pt x="909" y="1002"/>
                    <a:pt x="909" y="1002"/>
                  </a:cubicBezTo>
                  <a:close/>
                  <a:moveTo>
                    <a:pt x="917" y="987"/>
                  </a:moveTo>
                  <a:cubicBezTo>
                    <a:pt x="917" y="986"/>
                    <a:pt x="917" y="986"/>
                    <a:pt x="917" y="986"/>
                  </a:cubicBezTo>
                  <a:cubicBezTo>
                    <a:pt x="917" y="986"/>
                    <a:pt x="917" y="986"/>
                    <a:pt x="917" y="986"/>
                  </a:cubicBezTo>
                  <a:lnTo>
                    <a:pt x="917" y="987"/>
                  </a:lnTo>
                  <a:close/>
                  <a:moveTo>
                    <a:pt x="930" y="960"/>
                  </a:moveTo>
                  <a:cubicBezTo>
                    <a:pt x="930" y="960"/>
                    <a:pt x="930" y="960"/>
                    <a:pt x="930" y="960"/>
                  </a:cubicBezTo>
                  <a:cubicBezTo>
                    <a:pt x="930" y="961"/>
                    <a:pt x="930" y="961"/>
                    <a:pt x="930" y="961"/>
                  </a:cubicBezTo>
                  <a:cubicBezTo>
                    <a:pt x="930" y="961"/>
                    <a:pt x="930" y="961"/>
                    <a:pt x="930" y="961"/>
                  </a:cubicBezTo>
                  <a:cubicBezTo>
                    <a:pt x="930" y="962"/>
                    <a:pt x="930" y="962"/>
                    <a:pt x="930" y="962"/>
                  </a:cubicBezTo>
                  <a:cubicBezTo>
                    <a:pt x="930" y="962"/>
                    <a:pt x="930" y="962"/>
                    <a:pt x="930" y="962"/>
                  </a:cubicBezTo>
                  <a:cubicBezTo>
                    <a:pt x="930" y="963"/>
                    <a:pt x="930" y="963"/>
                    <a:pt x="930" y="963"/>
                  </a:cubicBezTo>
                  <a:cubicBezTo>
                    <a:pt x="929" y="963"/>
                    <a:pt x="929" y="963"/>
                    <a:pt x="929" y="963"/>
                  </a:cubicBezTo>
                  <a:cubicBezTo>
                    <a:pt x="929" y="963"/>
                    <a:pt x="929" y="963"/>
                    <a:pt x="929" y="963"/>
                  </a:cubicBezTo>
                  <a:cubicBezTo>
                    <a:pt x="929" y="964"/>
                    <a:pt x="929" y="964"/>
                    <a:pt x="929" y="964"/>
                  </a:cubicBezTo>
                  <a:cubicBezTo>
                    <a:pt x="929" y="963"/>
                    <a:pt x="929" y="963"/>
                    <a:pt x="929" y="963"/>
                  </a:cubicBezTo>
                  <a:cubicBezTo>
                    <a:pt x="929" y="963"/>
                    <a:pt x="929" y="963"/>
                    <a:pt x="929" y="963"/>
                  </a:cubicBezTo>
                  <a:cubicBezTo>
                    <a:pt x="929" y="962"/>
                    <a:pt x="929" y="962"/>
                    <a:pt x="929" y="962"/>
                  </a:cubicBezTo>
                  <a:cubicBezTo>
                    <a:pt x="929" y="962"/>
                    <a:pt x="929" y="962"/>
                    <a:pt x="929" y="962"/>
                  </a:cubicBezTo>
                  <a:cubicBezTo>
                    <a:pt x="929" y="961"/>
                    <a:pt x="929" y="961"/>
                    <a:pt x="929" y="961"/>
                  </a:cubicBezTo>
                  <a:cubicBezTo>
                    <a:pt x="930" y="960"/>
                    <a:pt x="930" y="960"/>
                    <a:pt x="930" y="960"/>
                  </a:cubicBezTo>
                  <a:cubicBezTo>
                    <a:pt x="930" y="959"/>
                    <a:pt x="930" y="959"/>
                    <a:pt x="930" y="959"/>
                  </a:cubicBezTo>
                  <a:cubicBezTo>
                    <a:pt x="930" y="959"/>
                    <a:pt x="930" y="959"/>
                    <a:pt x="930" y="959"/>
                  </a:cubicBezTo>
                  <a:lnTo>
                    <a:pt x="930" y="960"/>
                  </a:lnTo>
                  <a:close/>
                  <a:moveTo>
                    <a:pt x="957" y="933"/>
                  </a:moveTo>
                  <a:cubicBezTo>
                    <a:pt x="957" y="934"/>
                    <a:pt x="957" y="934"/>
                    <a:pt x="957" y="934"/>
                  </a:cubicBezTo>
                  <a:cubicBezTo>
                    <a:pt x="957" y="934"/>
                    <a:pt x="957" y="934"/>
                    <a:pt x="957" y="934"/>
                  </a:cubicBezTo>
                  <a:cubicBezTo>
                    <a:pt x="957" y="934"/>
                    <a:pt x="957" y="934"/>
                    <a:pt x="957" y="934"/>
                  </a:cubicBezTo>
                  <a:cubicBezTo>
                    <a:pt x="957" y="934"/>
                    <a:pt x="957" y="934"/>
                    <a:pt x="957" y="934"/>
                  </a:cubicBezTo>
                  <a:cubicBezTo>
                    <a:pt x="957" y="934"/>
                    <a:pt x="957" y="934"/>
                    <a:pt x="957" y="934"/>
                  </a:cubicBezTo>
                  <a:lnTo>
                    <a:pt x="957" y="933"/>
                  </a:lnTo>
                  <a:close/>
                  <a:moveTo>
                    <a:pt x="940" y="945"/>
                  </a:moveTo>
                  <a:cubicBezTo>
                    <a:pt x="940" y="944"/>
                    <a:pt x="940" y="944"/>
                    <a:pt x="940" y="944"/>
                  </a:cubicBezTo>
                  <a:cubicBezTo>
                    <a:pt x="940" y="945"/>
                    <a:pt x="940" y="945"/>
                    <a:pt x="940" y="945"/>
                  </a:cubicBezTo>
                  <a:close/>
                  <a:moveTo>
                    <a:pt x="940" y="943"/>
                  </a:moveTo>
                  <a:cubicBezTo>
                    <a:pt x="940" y="943"/>
                    <a:pt x="940" y="943"/>
                    <a:pt x="940" y="943"/>
                  </a:cubicBezTo>
                  <a:cubicBezTo>
                    <a:pt x="940" y="943"/>
                    <a:pt x="940" y="943"/>
                    <a:pt x="940" y="943"/>
                  </a:cubicBezTo>
                  <a:cubicBezTo>
                    <a:pt x="940" y="943"/>
                    <a:pt x="940" y="943"/>
                    <a:pt x="940" y="943"/>
                  </a:cubicBezTo>
                  <a:cubicBezTo>
                    <a:pt x="940" y="942"/>
                    <a:pt x="940" y="942"/>
                    <a:pt x="940" y="942"/>
                  </a:cubicBezTo>
                  <a:lnTo>
                    <a:pt x="940" y="943"/>
                  </a:lnTo>
                  <a:close/>
                  <a:moveTo>
                    <a:pt x="949" y="1069"/>
                  </a:moveTo>
                  <a:cubicBezTo>
                    <a:pt x="949" y="1069"/>
                    <a:pt x="949" y="1069"/>
                    <a:pt x="949" y="1069"/>
                  </a:cubicBezTo>
                  <a:cubicBezTo>
                    <a:pt x="951" y="1072"/>
                    <a:pt x="951" y="1072"/>
                    <a:pt x="951" y="1072"/>
                  </a:cubicBezTo>
                  <a:cubicBezTo>
                    <a:pt x="952" y="1073"/>
                    <a:pt x="952" y="1073"/>
                    <a:pt x="952" y="1073"/>
                  </a:cubicBezTo>
                  <a:cubicBezTo>
                    <a:pt x="953" y="1073"/>
                    <a:pt x="953" y="1073"/>
                    <a:pt x="953" y="1073"/>
                  </a:cubicBezTo>
                  <a:cubicBezTo>
                    <a:pt x="953" y="1073"/>
                    <a:pt x="953" y="1073"/>
                    <a:pt x="953" y="1073"/>
                  </a:cubicBezTo>
                  <a:cubicBezTo>
                    <a:pt x="952" y="1072"/>
                    <a:pt x="952" y="1072"/>
                    <a:pt x="952" y="1072"/>
                  </a:cubicBezTo>
                  <a:cubicBezTo>
                    <a:pt x="951" y="1071"/>
                    <a:pt x="951" y="1071"/>
                    <a:pt x="951" y="1071"/>
                  </a:cubicBezTo>
                  <a:cubicBezTo>
                    <a:pt x="949" y="1069"/>
                    <a:pt x="949" y="1069"/>
                    <a:pt x="949" y="1069"/>
                  </a:cubicBezTo>
                  <a:cubicBezTo>
                    <a:pt x="948" y="1069"/>
                    <a:pt x="948" y="1069"/>
                    <a:pt x="948" y="1069"/>
                  </a:cubicBezTo>
                  <a:lnTo>
                    <a:pt x="949" y="1069"/>
                  </a:lnTo>
                  <a:close/>
                  <a:moveTo>
                    <a:pt x="955" y="1077"/>
                  </a:moveTo>
                  <a:cubicBezTo>
                    <a:pt x="956" y="1077"/>
                    <a:pt x="956" y="1077"/>
                    <a:pt x="956" y="1077"/>
                  </a:cubicBezTo>
                  <a:cubicBezTo>
                    <a:pt x="956" y="1076"/>
                    <a:pt x="956" y="1076"/>
                    <a:pt x="956" y="1076"/>
                  </a:cubicBezTo>
                  <a:cubicBezTo>
                    <a:pt x="957" y="1076"/>
                    <a:pt x="957" y="1076"/>
                    <a:pt x="957" y="1076"/>
                  </a:cubicBezTo>
                  <a:cubicBezTo>
                    <a:pt x="957" y="1075"/>
                    <a:pt x="957" y="1075"/>
                    <a:pt x="957" y="1075"/>
                  </a:cubicBezTo>
                  <a:cubicBezTo>
                    <a:pt x="956" y="1073"/>
                    <a:pt x="956" y="1073"/>
                    <a:pt x="956" y="1073"/>
                  </a:cubicBezTo>
                  <a:cubicBezTo>
                    <a:pt x="955" y="1073"/>
                    <a:pt x="955" y="1073"/>
                    <a:pt x="955" y="1073"/>
                  </a:cubicBezTo>
                  <a:cubicBezTo>
                    <a:pt x="956" y="1073"/>
                    <a:pt x="956" y="1073"/>
                    <a:pt x="956" y="1073"/>
                  </a:cubicBezTo>
                  <a:cubicBezTo>
                    <a:pt x="956" y="1074"/>
                    <a:pt x="956" y="1074"/>
                    <a:pt x="956" y="1074"/>
                  </a:cubicBezTo>
                  <a:cubicBezTo>
                    <a:pt x="958" y="1075"/>
                    <a:pt x="958" y="1075"/>
                    <a:pt x="958" y="1075"/>
                  </a:cubicBezTo>
                  <a:cubicBezTo>
                    <a:pt x="957" y="1076"/>
                    <a:pt x="957" y="1076"/>
                    <a:pt x="957" y="1076"/>
                  </a:cubicBezTo>
                  <a:cubicBezTo>
                    <a:pt x="957" y="1077"/>
                    <a:pt x="957" y="1077"/>
                    <a:pt x="957" y="1077"/>
                  </a:cubicBezTo>
                  <a:cubicBezTo>
                    <a:pt x="956" y="1077"/>
                    <a:pt x="956" y="1077"/>
                    <a:pt x="956" y="1077"/>
                  </a:cubicBezTo>
                  <a:cubicBezTo>
                    <a:pt x="956" y="1077"/>
                    <a:pt x="956" y="1077"/>
                    <a:pt x="956" y="1077"/>
                  </a:cubicBezTo>
                  <a:cubicBezTo>
                    <a:pt x="955" y="1077"/>
                    <a:pt x="955" y="1077"/>
                    <a:pt x="955" y="1077"/>
                  </a:cubicBezTo>
                  <a:cubicBezTo>
                    <a:pt x="955" y="1077"/>
                    <a:pt x="955" y="1077"/>
                    <a:pt x="955" y="1077"/>
                  </a:cubicBezTo>
                  <a:close/>
                  <a:moveTo>
                    <a:pt x="962" y="1099"/>
                  </a:moveTo>
                  <a:cubicBezTo>
                    <a:pt x="962" y="1099"/>
                    <a:pt x="962" y="1099"/>
                    <a:pt x="962" y="1099"/>
                  </a:cubicBezTo>
                  <a:cubicBezTo>
                    <a:pt x="963" y="1099"/>
                    <a:pt x="963" y="1099"/>
                    <a:pt x="963" y="1099"/>
                  </a:cubicBezTo>
                  <a:cubicBezTo>
                    <a:pt x="964" y="1099"/>
                    <a:pt x="964" y="1099"/>
                    <a:pt x="964" y="1099"/>
                  </a:cubicBezTo>
                  <a:cubicBezTo>
                    <a:pt x="965" y="1098"/>
                    <a:pt x="965" y="1098"/>
                    <a:pt x="965" y="1098"/>
                  </a:cubicBezTo>
                  <a:cubicBezTo>
                    <a:pt x="966" y="1098"/>
                    <a:pt x="966" y="1098"/>
                    <a:pt x="966" y="1098"/>
                  </a:cubicBezTo>
                  <a:cubicBezTo>
                    <a:pt x="965" y="1099"/>
                    <a:pt x="965" y="1099"/>
                    <a:pt x="965" y="1099"/>
                  </a:cubicBezTo>
                  <a:cubicBezTo>
                    <a:pt x="964" y="1099"/>
                    <a:pt x="964" y="1099"/>
                    <a:pt x="964" y="1099"/>
                  </a:cubicBezTo>
                  <a:cubicBezTo>
                    <a:pt x="964" y="1099"/>
                    <a:pt x="964" y="1099"/>
                    <a:pt x="964" y="1099"/>
                  </a:cubicBezTo>
                  <a:cubicBezTo>
                    <a:pt x="963" y="1100"/>
                    <a:pt x="963" y="1100"/>
                    <a:pt x="963" y="1100"/>
                  </a:cubicBezTo>
                  <a:cubicBezTo>
                    <a:pt x="962" y="1100"/>
                    <a:pt x="962" y="1100"/>
                    <a:pt x="962" y="1100"/>
                  </a:cubicBezTo>
                  <a:cubicBezTo>
                    <a:pt x="962" y="1100"/>
                    <a:pt x="962" y="1100"/>
                    <a:pt x="962" y="1100"/>
                  </a:cubicBezTo>
                  <a:lnTo>
                    <a:pt x="962" y="1099"/>
                  </a:lnTo>
                  <a:close/>
                  <a:moveTo>
                    <a:pt x="1066" y="574"/>
                  </a:moveTo>
                  <a:cubicBezTo>
                    <a:pt x="1066" y="573"/>
                    <a:pt x="1066" y="573"/>
                    <a:pt x="1066" y="573"/>
                  </a:cubicBezTo>
                  <a:cubicBezTo>
                    <a:pt x="1067" y="572"/>
                    <a:pt x="1067" y="572"/>
                    <a:pt x="1067" y="572"/>
                  </a:cubicBezTo>
                  <a:cubicBezTo>
                    <a:pt x="1067" y="573"/>
                    <a:pt x="1067" y="573"/>
                    <a:pt x="1067" y="573"/>
                  </a:cubicBezTo>
                  <a:cubicBezTo>
                    <a:pt x="1066" y="574"/>
                    <a:pt x="1066" y="574"/>
                    <a:pt x="1066" y="574"/>
                  </a:cubicBezTo>
                  <a:cubicBezTo>
                    <a:pt x="1066" y="574"/>
                    <a:pt x="1066" y="574"/>
                    <a:pt x="1066" y="574"/>
                  </a:cubicBezTo>
                  <a:close/>
                  <a:moveTo>
                    <a:pt x="1070" y="563"/>
                  </a:moveTo>
                  <a:cubicBezTo>
                    <a:pt x="1070" y="562"/>
                    <a:pt x="1070" y="562"/>
                    <a:pt x="1070" y="562"/>
                  </a:cubicBezTo>
                  <a:cubicBezTo>
                    <a:pt x="1070" y="562"/>
                    <a:pt x="1070" y="562"/>
                    <a:pt x="1070" y="562"/>
                  </a:cubicBezTo>
                  <a:cubicBezTo>
                    <a:pt x="1070" y="564"/>
                    <a:pt x="1070" y="564"/>
                    <a:pt x="1070" y="564"/>
                  </a:cubicBezTo>
                  <a:cubicBezTo>
                    <a:pt x="1069" y="565"/>
                    <a:pt x="1069" y="565"/>
                    <a:pt x="1069" y="565"/>
                  </a:cubicBezTo>
                  <a:cubicBezTo>
                    <a:pt x="1068" y="565"/>
                    <a:pt x="1068" y="565"/>
                    <a:pt x="1068" y="565"/>
                  </a:cubicBezTo>
                  <a:cubicBezTo>
                    <a:pt x="1069" y="564"/>
                    <a:pt x="1069" y="564"/>
                    <a:pt x="1069" y="564"/>
                  </a:cubicBezTo>
                  <a:cubicBezTo>
                    <a:pt x="1069" y="563"/>
                    <a:pt x="1069" y="563"/>
                    <a:pt x="1069" y="563"/>
                  </a:cubicBezTo>
                  <a:lnTo>
                    <a:pt x="1070" y="563"/>
                  </a:lnTo>
                  <a:close/>
                  <a:moveTo>
                    <a:pt x="1076" y="579"/>
                  </a:moveTo>
                  <a:cubicBezTo>
                    <a:pt x="1076" y="580"/>
                    <a:pt x="1076" y="580"/>
                    <a:pt x="1076" y="580"/>
                  </a:cubicBezTo>
                  <a:cubicBezTo>
                    <a:pt x="1075" y="580"/>
                    <a:pt x="1075" y="580"/>
                    <a:pt x="1075" y="580"/>
                  </a:cubicBezTo>
                  <a:cubicBezTo>
                    <a:pt x="1074" y="581"/>
                    <a:pt x="1074" y="581"/>
                    <a:pt x="1074" y="581"/>
                  </a:cubicBezTo>
                  <a:cubicBezTo>
                    <a:pt x="1073" y="581"/>
                    <a:pt x="1073" y="581"/>
                    <a:pt x="1073" y="581"/>
                  </a:cubicBezTo>
                  <a:cubicBezTo>
                    <a:pt x="1073" y="581"/>
                    <a:pt x="1073" y="581"/>
                    <a:pt x="1073" y="581"/>
                  </a:cubicBezTo>
                  <a:cubicBezTo>
                    <a:pt x="1072" y="582"/>
                    <a:pt x="1072" y="582"/>
                    <a:pt x="1072" y="582"/>
                  </a:cubicBezTo>
                  <a:cubicBezTo>
                    <a:pt x="1072" y="582"/>
                    <a:pt x="1072" y="582"/>
                    <a:pt x="1072" y="582"/>
                  </a:cubicBezTo>
                  <a:cubicBezTo>
                    <a:pt x="1072" y="581"/>
                    <a:pt x="1072" y="581"/>
                    <a:pt x="1072" y="581"/>
                  </a:cubicBezTo>
                  <a:cubicBezTo>
                    <a:pt x="1072" y="581"/>
                    <a:pt x="1072" y="581"/>
                    <a:pt x="1072" y="581"/>
                  </a:cubicBezTo>
                  <a:cubicBezTo>
                    <a:pt x="1072" y="580"/>
                    <a:pt x="1072" y="580"/>
                    <a:pt x="1072" y="580"/>
                  </a:cubicBezTo>
                  <a:cubicBezTo>
                    <a:pt x="1073" y="579"/>
                    <a:pt x="1073" y="579"/>
                    <a:pt x="1073" y="579"/>
                  </a:cubicBezTo>
                  <a:cubicBezTo>
                    <a:pt x="1074" y="579"/>
                    <a:pt x="1074" y="579"/>
                    <a:pt x="1074" y="579"/>
                  </a:cubicBezTo>
                  <a:cubicBezTo>
                    <a:pt x="1075" y="579"/>
                    <a:pt x="1075" y="579"/>
                    <a:pt x="1075" y="579"/>
                  </a:cubicBezTo>
                  <a:cubicBezTo>
                    <a:pt x="1076" y="579"/>
                    <a:pt x="1076" y="579"/>
                    <a:pt x="1076" y="579"/>
                  </a:cubicBezTo>
                  <a:cubicBezTo>
                    <a:pt x="1076" y="578"/>
                    <a:pt x="1076" y="578"/>
                    <a:pt x="1076" y="578"/>
                  </a:cubicBezTo>
                  <a:lnTo>
                    <a:pt x="1076" y="579"/>
                  </a:lnTo>
                  <a:close/>
                  <a:moveTo>
                    <a:pt x="1085" y="911"/>
                  </a:moveTo>
                  <a:cubicBezTo>
                    <a:pt x="1085" y="911"/>
                    <a:pt x="1085" y="911"/>
                    <a:pt x="1085" y="911"/>
                  </a:cubicBezTo>
                  <a:cubicBezTo>
                    <a:pt x="1085" y="911"/>
                    <a:pt x="1085" y="911"/>
                    <a:pt x="1085" y="911"/>
                  </a:cubicBezTo>
                  <a:cubicBezTo>
                    <a:pt x="1085" y="911"/>
                    <a:pt x="1085" y="911"/>
                    <a:pt x="1085" y="911"/>
                  </a:cubicBezTo>
                  <a:cubicBezTo>
                    <a:pt x="1085" y="911"/>
                    <a:pt x="1085" y="911"/>
                    <a:pt x="1085" y="911"/>
                  </a:cubicBezTo>
                  <a:cubicBezTo>
                    <a:pt x="1085" y="912"/>
                    <a:pt x="1085" y="912"/>
                    <a:pt x="1085" y="912"/>
                  </a:cubicBezTo>
                  <a:cubicBezTo>
                    <a:pt x="1085" y="912"/>
                    <a:pt x="1085" y="912"/>
                    <a:pt x="1085" y="912"/>
                  </a:cubicBezTo>
                  <a:cubicBezTo>
                    <a:pt x="1085" y="912"/>
                    <a:pt x="1085" y="912"/>
                    <a:pt x="1085" y="912"/>
                  </a:cubicBezTo>
                  <a:cubicBezTo>
                    <a:pt x="1085" y="912"/>
                    <a:pt x="1085" y="912"/>
                    <a:pt x="1085" y="912"/>
                  </a:cubicBezTo>
                  <a:cubicBezTo>
                    <a:pt x="1084" y="912"/>
                    <a:pt x="1084" y="912"/>
                    <a:pt x="1084" y="912"/>
                  </a:cubicBezTo>
                  <a:cubicBezTo>
                    <a:pt x="1084" y="912"/>
                    <a:pt x="1084" y="912"/>
                    <a:pt x="1084" y="912"/>
                  </a:cubicBezTo>
                  <a:cubicBezTo>
                    <a:pt x="1084" y="912"/>
                    <a:pt x="1084" y="912"/>
                    <a:pt x="1084" y="912"/>
                  </a:cubicBezTo>
                  <a:cubicBezTo>
                    <a:pt x="1084" y="912"/>
                    <a:pt x="1084" y="912"/>
                    <a:pt x="1084" y="912"/>
                  </a:cubicBezTo>
                  <a:cubicBezTo>
                    <a:pt x="1083" y="912"/>
                    <a:pt x="1083" y="912"/>
                    <a:pt x="1083" y="912"/>
                  </a:cubicBezTo>
                  <a:cubicBezTo>
                    <a:pt x="1082" y="912"/>
                    <a:pt x="1082" y="912"/>
                    <a:pt x="1082" y="912"/>
                  </a:cubicBezTo>
                  <a:cubicBezTo>
                    <a:pt x="1081" y="911"/>
                    <a:pt x="1081" y="911"/>
                    <a:pt x="1081" y="911"/>
                  </a:cubicBezTo>
                  <a:cubicBezTo>
                    <a:pt x="1080" y="911"/>
                    <a:pt x="1080" y="911"/>
                    <a:pt x="1080" y="911"/>
                  </a:cubicBezTo>
                  <a:cubicBezTo>
                    <a:pt x="1079" y="911"/>
                    <a:pt x="1079" y="911"/>
                    <a:pt x="1079" y="911"/>
                  </a:cubicBezTo>
                  <a:cubicBezTo>
                    <a:pt x="1079" y="911"/>
                    <a:pt x="1079" y="911"/>
                    <a:pt x="1079" y="911"/>
                  </a:cubicBezTo>
                  <a:cubicBezTo>
                    <a:pt x="1079" y="911"/>
                    <a:pt x="1079" y="911"/>
                    <a:pt x="1079" y="911"/>
                  </a:cubicBezTo>
                  <a:cubicBezTo>
                    <a:pt x="1079" y="911"/>
                    <a:pt x="1079" y="911"/>
                    <a:pt x="1079" y="911"/>
                  </a:cubicBezTo>
                  <a:cubicBezTo>
                    <a:pt x="1079" y="911"/>
                    <a:pt x="1079" y="911"/>
                    <a:pt x="1079" y="911"/>
                  </a:cubicBezTo>
                  <a:cubicBezTo>
                    <a:pt x="1078" y="911"/>
                    <a:pt x="1078" y="911"/>
                    <a:pt x="1078" y="911"/>
                  </a:cubicBezTo>
                  <a:cubicBezTo>
                    <a:pt x="1078" y="912"/>
                    <a:pt x="1078" y="912"/>
                    <a:pt x="1078" y="912"/>
                  </a:cubicBezTo>
                  <a:cubicBezTo>
                    <a:pt x="1078" y="912"/>
                    <a:pt x="1078" y="912"/>
                    <a:pt x="1078" y="912"/>
                  </a:cubicBezTo>
                  <a:cubicBezTo>
                    <a:pt x="1078" y="913"/>
                    <a:pt x="1078" y="913"/>
                    <a:pt x="1078" y="913"/>
                  </a:cubicBezTo>
                  <a:cubicBezTo>
                    <a:pt x="1078" y="914"/>
                    <a:pt x="1078" y="914"/>
                    <a:pt x="1078" y="914"/>
                  </a:cubicBezTo>
                  <a:cubicBezTo>
                    <a:pt x="1078" y="914"/>
                    <a:pt x="1078" y="914"/>
                    <a:pt x="1078" y="914"/>
                  </a:cubicBezTo>
                  <a:cubicBezTo>
                    <a:pt x="1077" y="914"/>
                    <a:pt x="1077" y="914"/>
                    <a:pt x="1077" y="914"/>
                  </a:cubicBezTo>
                  <a:cubicBezTo>
                    <a:pt x="1077" y="914"/>
                    <a:pt x="1077" y="914"/>
                    <a:pt x="1077" y="914"/>
                  </a:cubicBezTo>
                  <a:cubicBezTo>
                    <a:pt x="1076" y="914"/>
                    <a:pt x="1076" y="914"/>
                    <a:pt x="1076" y="914"/>
                  </a:cubicBezTo>
                  <a:cubicBezTo>
                    <a:pt x="1077" y="914"/>
                    <a:pt x="1077" y="914"/>
                    <a:pt x="1077" y="914"/>
                  </a:cubicBezTo>
                  <a:cubicBezTo>
                    <a:pt x="1077" y="914"/>
                    <a:pt x="1077" y="914"/>
                    <a:pt x="1077" y="914"/>
                  </a:cubicBezTo>
                  <a:cubicBezTo>
                    <a:pt x="1077" y="914"/>
                    <a:pt x="1077" y="914"/>
                    <a:pt x="1077" y="914"/>
                  </a:cubicBezTo>
                  <a:cubicBezTo>
                    <a:pt x="1078" y="913"/>
                    <a:pt x="1078" y="913"/>
                    <a:pt x="1078" y="913"/>
                  </a:cubicBezTo>
                  <a:cubicBezTo>
                    <a:pt x="1078" y="912"/>
                    <a:pt x="1078" y="912"/>
                    <a:pt x="1078" y="912"/>
                  </a:cubicBezTo>
                  <a:cubicBezTo>
                    <a:pt x="1077" y="911"/>
                    <a:pt x="1077" y="911"/>
                    <a:pt x="1077" y="911"/>
                  </a:cubicBezTo>
                  <a:cubicBezTo>
                    <a:pt x="1077" y="911"/>
                    <a:pt x="1077" y="911"/>
                    <a:pt x="1077" y="911"/>
                  </a:cubicBezTo>
                  <a:cubicBezTo>
                    <a:pt x="1077" y="910"/>
                    <a:pt x="1077" y="910"/>
                    <a:pt x="1077" y="910"/>
                  </a:cubicBezTo>
                  <a:cubicBezTo>
                    <a:pt x="1078" y="910"/>
                    <a:pt x="1078" y="910"/>
                    <a:pt x="1078" y="910"/>
                  </a:cubicBezTo>
                  <a:cubicBezTo>
                    <a:pt x="1078" y="910"/>
                    <a:pt x="1078" y="910"/>
                    <a:pt x="1078" y="910"/>
                  </a:cubicBezTo>
                  <a:cubicBezTo>
                    <a:pt x="1078" y="910"/>
                    <a:pt x="1078" y="910"/>
                    <a:pt x="1078" y="910"/>
                  </a:cubicBezTo>
                  <a:cubicBezTo>
                    <a:pt x="1079" y="910"/>
                    <a:pt x="1079" y="910"/>
                    <a:pt x="1079" y="910"/>
                  </a:cubicBezTo>
                  <a:cubicBezTo>
                    <a:pt x="1079" y="910"/>
                    <a:pt x="1079" y="910"/>
                    <a:pt x="1079" y="910"/>
                  </a:cubicBezTo>
                  <a:cubicBezTo>
                    <a:pt x="1079" y="909"/>
                    <a:pt x="1079" y="909"/>
                    <a:pt x="1079" y="909"/>
                  </a:cubicBezTo>
                  <a:cubicBezTo>
                    <a:pt x="1079" y="909"/>
                    <a:pt x="1079" y="909"/>
                    <a:pt x="1079" y="909"/>
                  </a:cubicBezTo>
                  <a:cubicBezTo>
                    <a:pt x="1080" y="910"/>
                    <a:pt x="1080" y="910"/>
                    <a:pt x="1080" y="910"/>
                  </a:cubicBezTo>
                  <a:cubicBezTo>
                    <a:pt x="1081" y="911"/>
                    <a:pt x="1081" y="911"/>
                    <a:pt x="1081" y="911"/>
                  </a:cubicBezTo>
                  <a:cubicBezTo>
                    <a:pt x="1082" y="911"/>
                    <a:pt x="1082" y="911"/>
                    <a:pt x="1082" y="911"/>
                  </a:cubicBezTo>
                  <a:cubicBezTo>
                    <a:pt x="1083" y="911"/>
                    <a:pt x="1083" y="911"/>
                    <a:pt x="1083" y="911"/>
                  </a:cubicBezTo>
                  <a:cubicBezTo>
                    <a:pt x="1084" y="911"/>
                    <a:pt x="1084" y="911"/>
                    <a:pt x="1084" y="911"/>
                  </a:cubicBezTo>
                  <a:cubicBezTo>
                    <a:pt x="1084" y="911"/>
                    <a:pt x="1084" y="911"/>
                    <a:pt x="1084" y="911"/>
                  </a:cubicBezTo>
                  <a:cubicBezTo>
                    <a:pt x="1084" y="911"/>
                    <a:pt x="1084" y="911"/>
                    <a:pt x="1084" y="911"/>
                  </a:cubicBezTo>
                  <a:cubicBezTo>
                    <a:pt x="1084" y="911"/>
                    <a:pt x="1084" y="911"/>
                    <a:pt x="1084" y="911"/>
                  </a:cubicBezTo>
                  <a:cubicBezTo>
                    <a:pt x="1085" y="911"/>
                    <a:pt x="1085" y="911"/>
                    <a:pt x="1085" y="911"/>
                  </a:cubicBezTo>
                  <a:close/>
                  <a:moveTo>
                    <a:pt x="979" y="714"/>
                  </a:moveTo>
                  <a:cubicBezTo>
                    <a:pt x="982" y="713"/>
                    <a:pt x="982" y="713"/>
                    <a:pt x="982" y="713"/>
                  </a:cubicBezTo>
                  <a:cubicBezTo>
                    <a:pt x="987" y="711"/>
                    <a:pt x="987" y="711"/>
                    <a:pt x="987" y="711"/>
                  </a:cubicBezTo>
                  <a:cubicBezTo>
                    <a:pt x="988" y="710"/>
                    <a:pt x="988" y="710"/>
                    <a:pt x="988" y="710"/>
                  </a:cubicBezTo>
                  <a:cubicBezTo>
                    <a:pt x="988" y="711"/>
                    <a:pt x="988" y="711"/>
                    <a:pt x="988" y="711"/>
                  </a:cubicBezTo>
                  <a:cubicBezTo>
                    <a:pt x="984" y="713"/>
                    <a:pt x="984" y="713"/>
                    <a:pt x="984" y="713"/>
                  </a:cubicBezTo>
                  <a:cubicBezTo>
                    <a:pt x="979" y="715"/>
                    <a:pt x="979" y="715"/>
                    <a:pt x="979" y="715"/>
                  </a:cubicBezTo>
                  <a:cubicBezTo>
                    <a:pt x="978" y="716"/>
                    <a:pt x="978" y="716"/>
                    <a:pt x="978" y="716"/>
                  </a:cubicBezTo>
                  <a:lnTo>
                    <a:pt x="979" y="714"/>
                  </a:lnTo>
                  <a:close/>
                  <a:moveTo>
                    <a:pt x="996" y="797"/>
                  </a:moveTo>
                  <a:cubicBezTo>
                    <a:pt x="995" y="797"/>
                    <a:pt x="995" y="797"/>
                    <a:pt x="995" y="797"/>
                  </a:cubicBezTo>
                  <a:cubicBezTo>
                    <a:pt x="995" y="797"/>
                    <a:pt x="995" y="797"/>
                    <a:pt x="995" y="797"/>
                  </a:cubicBezTo>
                  <a:cubicBezTo>
                    <a:pt x="996" y="797"/>
                    <a:pt x="996" y="797"/>
                    <a:pt x="996" y="797"/>
                  </a:cubicBezTo>
                  <a:close/>
                  <a:moveTo>
                    <a:pt x="997" y="797"/>
                  </a:moveTo>
                  <a:cubicBezTo>
                    <a:pt x="997" y="797"/>
                    <a:pt x="997" y="797"/>
                    <a:pt x="997" y="797"/>
                  </a:cubicBezTo>
                  <a:cubicBezTo>
                    <a:pt x="997" y="797"/>
                    <a:pt x="997" y="797"/>
                    <a:pt x="997" y="797"/>
                  </a:cubicBezTo>
                  <a:cubicBezTo>
                    <a:pt x="997" y="797"/>
                    <a:pt x="997" y="797"/>
                    <a:pt x="997" y="797"/>
                  </a:cubicBezTo>
                  <a:close/>
                  <a:moveTo>
                    <a:pt x="986" y="818"/>
                  </a:moveTo>
                  <a:cubicBezTo>
                    <a:pt x="986" y="818"/>
                    <a:pt x="986" y="818"/>
                    <a:pt x="986" y="818"/>
                  </a:cubicBezTo>
                  <a:cubicBezTo>
                    <a:pt x="987" y="818"/>
                    <a:pt x="987" y="818"/>
                    <a:pt x="987" y="818"/>
                  </a:cubicBezTo>
                  <a:cubicBezTo>
                    <a:pt x="993" y="818"/>
                    <a:pt x="993" y="818"/>
                    <a:pt x="993" y="818"/>
                  </a:cubicBezTo>
                  <a:cubicBezTo>
                    <a:pt x="994" y="817"/>
                    <a:pt x="994" y="817"/>
                    <a:pt x="994" y="817"/>
                  </a:cubicBezTo>
                  <a:cubicBezTo>
                    <a:pt x="994" y="817"/>
                    <a:pt x="994" y="817"/>
                    <a:pt x="994" y="817"/>
                  </a:cubicBezTo>
                  <a:cubicBezTo>
                    <a:pt x="992" y="818"/>
                    <a:pt x="992" y="818"/>
                    <a:pt x="992" y="818"/>
                  </a:cubicBezTo>
                  <a:cubicBezTo>
                    <a:pt x="987" y="818"/>
                    <a:pt x="987" y="818"/>
                    <a:pt x="987" y="818"/>
                  </a:cubicBezTo>
                  <a:cubicBezTo>
                    <a:pt x="986" y="818"/>
                    <a:pt x="986" y="818"/>
                    <a:pt x="986" y="818"/>
                  </a:cubicBezTo>
                  <a:cubicBezTo>
                    <a:pt x="985" y="818"/>
                    <a:pt x="985" y="818"/>
                    <a:pt x="985" y="818"/>
                  </a:cubicBezTo>
                  <a:lnTo>
                    <a:pt x="986" y="818"/>
                  </a:lnTo>
                  <a:close/>
                  <a:moveTo>
                    <a:pt x="1038" y="634"/>
                  </a:moveTo>
                  <a:cubicBezTo>
                    <a:pt x="1037" y="634"/>
                    <a:pt x="1037" y="634"/>
                    <a:pt x="1037" y="634"/>
                  </a:cubicBezTo>
                  <a:cubicBezTo>
                    <a:pt x="1037" y="633"/>
                    <a:pt x="1037" y="633"/>
                    <a:pt x="1037" y="633"/>
                  </a:cubicBezTo>
                  <a:cubicBezTo>
                    <a:pt x="1038" y="633"/>
                    <a:pt x="1038" y="633"/>
                    <a:pt x="1038" y="633"/>
                  </a:cubicBezTo>
                  <a:cubicBezTo>
                    <a:pt x="1038" y="633"/>
                    <a:pt x="1038" y="633"/>
                    <a:pt x="1038" y="633"/>
                  </a:cubicBezTo>
                  <a:cubicBezTo>
                    <a:pt x="1039" y="633"/>
                    <a:pt x="1039" y="633"/>
                    <a:pt x="1039" y="633"/>
                  </a:cubicBezTo>
                  <a:cubicBezTo>
                    <a:pt x="1038" y="632"/>
                    <a:pt x="1038" y="632"/>
                    <a:pt x="1038" y="632"/>
                  </a:cubicBezTo>
                  <a:cubicBezTo>
                    <a:pt x="1039" y="633"/>
                    <a:pt x="1039" y="633"/>
                    <a:pt x="1039" y="633"/>
                  </a:cubicBezTo>
                  <a:cubicBezTo>
                    <a:pt x="1039" y="633"/>
                    <a:pt x="1039" y="633"/>
                    <a:pt x="1039" y="633"/>
                  </a:cubicBezTo>
                  <a:cubicBezTo>
                    <a:pt x="1039" y="633"/>
                    <a:pt x="1039" y="633"/>
                    <a:pt x="1039" y="633"/>
                  </a:cubicBezTo>
                  <a:cubicBezTo>
                    <a:pt x="1038" y="634"/>
                    <a:pt x="1038" y="634"/>
                    <a:pt x="1038" y="634"/>
                  </a:cubicBezTo>
                  <a:cubicBezTo>
                    <a:pt x="1038" y="634"/>
                    <a:pt x="1038" y="634"/>
                    <a:pt x="1038" y="634"/>
                  </a:cubicBezTo>
                  <a:cubicBezTo>
                    <a:pt x="1038" y="635"/>
                    <a:pt x="1038" y="635"/>
                    <a:pt x="1038" y="635"/>
                  </a:cubicBezTo>
                  <a:cubicBezTo>
                    <a:pt x="1039" y="636"/>
                    <a:pt x="1039" y="636"/>
                    <a:pt x="1039" y="636"/>
                  </a:cubicBezTo>
                  <a:cubicBezTo>
                    <a:pt x="1040" y="636"/>
                    <a:pt x="1040" y="636"/>
                    <a:pt x="1040" y="636"/>
                  </a:cubicBezTo>
                  <a:cubicBezTo>
                    <a:pt x="1042" y="637"/>
                    <a:pt x="1042" y="637"/>
                    <a:pt x="1042" y="637"/>
                  </a:cubicBezTo>
                  <a:cubicBezTo>
                    <a:pt x="1043" y="636"/>
                    <a:pt x="1043" y="636"/>
                    <a:pt x="1043" y="636"/>
                  </a:cubicBezTo>
                  <a:cubicBezTo>
                    <a:pt x="1043" y="636"/>
                    <a:pt x="1043" y="636"/>
                    <a:pt x="1043" y="636"/>
                  </a:cubicBezTo>
                  <a:cubicBezTo>
                    <a:pt x="1044" y="636"/>
                    <a:pt x="1044" y="636"/>
                    <a:pt x="1044" y="636"/>
                  </a:cubicBezTo>
                  <a:cubicBezTo>
                    <a:pt x="1044" y="636"/>
                    <a:pt x="1044" y="636"/>
                    <a:pt x="1044" y="636"/>
                  </a:cubicBezTo>
                  <a:cubicBezTo>
                    <a:pt x="1045" y="636"/>
                    <a:pt x="1045" y="636"/>
                    <a:pt x="1045" y="636"/>
                  </a:cubicBezTo>
                  <a:cubicBezTo>
                    <a:pt x="1045" y="636"/>
                    <a:pt x="1045" y="636"/>
                    <a:pt x="1045" y="636"/>
                  </a:cubicBezTo>
                  <a:cubicBezTo>
                    <a:pt x="1045" y="637"/>
                    <a:pt x="1045" y="637"/>
                    <a:pt x="1045" y="637"/>
                  </a:cubicBezTo>
                  <a:cubicBezTo>
                    <a:pt x="1044" y="637"/>
                    <a:pt x="1044" y="637"/>
                    <a:pt x="1044" y="637"/>
                  </a:cubicBezTo>
                  <a:cubicBezTo>
                    <a:pt x="1044" y="637"/>
                    <a:pt x="1044" y="637"/>
                    <a:pt x="1044" y="637"/>
                  </a:cubicBezTo>
                  <a:cubicBezTo>
                    <a:pt x="1043" y="637"/>
                    <a:pt x="1043" y="637"/>
                    <a:pt x="1043" y="637"/>
                  </a:cubicBezTo>
                  <a:cubicBezTo>
                    <a:pt x="1042" y="637"/>
                    <a:pt x="1042" y="637"/>
                    <a:pt x="1042" y="637"/>
                  </a:cubicBezTo>
                  <a:cubicBezTo>
                    <a:pt x="1042" y="638"/>
                    <a:pt x="1042" y="638"/>
                    <a:pt x="1042" y="638"/>
                  </a:cubicBezTo>
                  <a:cubicBezTo>
                    <a:pt x="1042" y="638"/>
                    <a:pt x="1042" y="638"/>
                    <a:pt x="1042" y="638"/>
                  </a:cubicBezTo>
                  <a:cubicBezTo>
                    <a:pt x="1041" y="638"/>
                    <a:pt x="1041" y="638"/>
                    <a:pt x="1041" y="638"/>
                  </a:cubicBezTo>
                  <a:cubicBezTo>
                    <a:pt x="1038" y="637"/>
                    <a:pt x="1038" y="637"/>
                    <a:pt x="1038" y="637"/>
                  </a:cubicBezTo>
                  <a:cubicBezTo>
                    <a:pt x="1038" y="637"/>
                    <a:pt x="1038" y="637"/>
                    <a:pt x="1038" y="637"/>
                  </a:cubicBezTo>
                  <a:cubicBezTo>
                    <a:pt x="1037" y="637"/>
                    <a:pt x="1037" y="637"/>
                    <a:pt x="1037" y="637"/>
                  </a:cubicBezTo>
                  <a:cubicBezTo>
                    <a:pt x="1037" y="636"/>
                    <a:pt x="1037" y="636"/>
                    <a:pt x="1037" y="636"/>
                  </a:cubicBezTo>
                  <a:cubicBezTo>
                    <a:pt x="1037" y="635"/>
                    <a:pt x="1037" y="635"/>
                    <a:pt x="1037" y="635"/>
                  </a:cubicBezTo>
                  <a:cubicBezTo>
                    <a:pt x="1038" y="635"/>
                    <a:pt x="1038" y="635"/>
                    <a:pt x="1038" y="635"/>
                  </a:cubicBezTo>
                  <a:cubicBezTo>
                    <a:pt x="1038" y="634"/>
                    <a:pt x="1038" y="634"/>
                    <a:pt x="1038" y="634"/>
                  </a:cubicBezTo>
                  <a:close/>
                  <a:moveTo>
                    <a:pt x="1058" y="593"/>
                  </a:moveTo>
                  <a:cubicBezTo>
                    <a:pt x="1057" y="594"/>
                    <a:pt x="1057" y="594"/>
                    <a:pt x="1057" y="594"/>
                  </a:cubicBezTo>
                  <a:cubicBezTo>
                    <a:pt x="1057" y="595"/>
                    <a:pt x="1057" y="595"/>
                    <a:pt x="1057" y="595"/>
                  </a:cubicBezTo>
                  <a:cubicBezTo>
                    <a:pt x="1056" y="595"/>
                    <a:pt x="1056" y="595"/>
                    <a:pt x="1056" y="595"/>
                  </a:cubicBezTo>
                  <a:cubicBezTo>
                    <a:pt x="1055" y="595"/>
                    <a:pt x="1055" y="595"/>
                    <a:pt x="1055" y="595"/>
                  </a:cubicBezTo>
                  <a:cubicBezTo>
                    <a:pt x="1051" y="596"/>
                    <a:pt x="1051" y="596"/>
                    <a:pt x="1051" y="596"/>
                  </a:cubicBezTo>
                  <a:cubicBezTo>
                    <a:pt x="1051" y="596"/>
                    <a:pt x="1051" y="596"/>
                    <a:pt x="1051" y="596"/>
                  </a:cubicBezTo>
                  <a:cubicBezTo>
                    <a:pt x="1050" y="596"/>
                    <a:pt x="1050" y="596"/>
                    <a:pt x="1050" y="596"/>
                  </a:cubicBezTo>
                  <a:cubicBezTo>
                    <a:pt x="1049" y="596"/>
                    <a:pt x="1049" y="596"/>
                    <a:pt x="1049" y="596"/>
                  </a:cubicBezTo>
                  <a:cubicBezTo>
                    <a:pt x="1048" y="596"/>
                    <a:pt x="1048" y="596"/>
                    <a:pt x="1048" y="596"/>
                  </a:cubicBezTo>
                  <a:cubicBezTo>
                    <a:pt x="1049" y="596"/>
                    <a:pt x="1049" y="596"/>
                    <a:pt x="1049" y="596"/>
                  </a:cubicBezTo>
                  <a:cubicBezTo>
                    <a:pt x="1049" y="595"/>
                    <a:pt x="1049" y="595"/>
                    <a:pt x="1049" y="595"/>
                  </a:cubicBezTo>
                  <a:cubicBezTo>
                    <a:pt x="1049" y="595"/>
                    <a:pt x="1049" y="595"/>
                    <a:pt x="1049" y="595"/>
                  </a:cubicBezTo>
                  <a:cubicBezTo>
                    <a:pt x="1049" y="595"/>
                    <a:pt x="1049" y="595"/>
                    <a:pt x="1049" y="595"/>
                  </a:cubicBezTo>
                  <a:cubicBezTo>
                    <a:pt x="1050" y="594"/>
                    <a:pt x="1050" y="594"/>
                    <a:pt x="1050" y="594"/>
                  </a:cubicBezTo>
                  <a:cubicBezTo>
                    <a:pt x="1051" y="594"/>
                    <a:pt x="1051" y="594"/>
                    <a:pt x="1051" y="594"/>
                  </a:cubicBezTo>
                  <a:cubicBezTo>
                    <a:pt x="1052" y="594"/>
                    <a:pt x="1052" y="594"/>
                    <a:pt x="1052" y="594"/>
                  </a:cubicBezTo>
                  <a:cubicBezTo>
                    <a:pt x="1053" y="594"/>
                    <a:pt x="1053" y="594"/>
                    <a:pt x="1053" y="594"/>
                  </a:cubicBezTo>
                  <a:cubicBezTo>
                    <a:pt x="1056" y="594"/>
                    <a:pt x="1056" y="594"/>
                    <a:pt x="1056" y="594"/>
                  </a:cubicBezTo>
                  <a:cubicBezTo>
                    <a:pt x="1057" y="593"/>
                    <a:pt x="1057" y="593"/>
                    <a:pt x="1057" y="593"/>
                  </a:cubicBezTo>
                  <a:cubicBezTo>
                    <a:pt x="1058" y="593"/>
                    <a:pt x="1058" y="593"/>
                    <a:pt x="1058" y="593"/>
                  </a:cubicBezTo>
                  <a:cubicBezTo>
                    <a:pt x="1058" y="592"/>
                    <a:pt x="1058" y="592"/>
                    <a:pt x="1058" y="592"/>
                  </a:cubicBezTo>
                  <a:lnTo>
                    <a:pt x="1058" y="593"/>
                  </a:lnTo>
                  <a:close/>
                  <a:moveTo>
                    <a:pt x="1076" y="914"/>
                  </a:moveTo>
                  <a:cubicBezTo>
                    <a:pt x="1076" y="914"/>
                    <a:pt x="1076" y="914"/>
                    <a:pt x="1076" y="914"/>
                  </a:cubicBezTo>
                  <a:cubicBezTo>
                    <a:pt x="1075" y="914"/>
                    <a:pt x="1075" y="914"/>
                    <a:pt x="1075" y="914"/>
                  </a:cubicBezTo>
                  <a:cubicBezTo>
                    <a:pt x="1075" y="913"/>
                    <a:pt x="1075" y="913"/>
                    <a:pt x="1075" y="913"/>
                  </a:cubicBezTo>
                  <a:cubicBezTo>
                    <a:pt x="1075" y="913"/>
                    <a:pt x="1075" y="913"/>
                    <a:pt x="1075" y="913"/>
                  </a:cubicBezTo>
                  <a:cubicBezTo>
                    <a:pt x="1074" y="913"/>
                    <a:pt x="1074" y="913"/>
                    <a:pt x="1074" y="913"/>
                  </a:cubicBezTo>
                  <a:cubicBezTo>
                    <a:pt x="1073" y="914"/>
                    <a:pt x="1073" y="914"/>
                    <a:pt x="1073" y="914"/>
                  </a:cubicBezTo>
                  <a:cubicBezTo>
                    <a:pt x="1073" y="914"/>
                    <a:pt x="1073" y="914"/>
                    <a:pt x="1073" y="914"/>
                  </a:cubicBezTo>
                  <a:cubicBezTo>
                    <a:pt x="1073" y="914"/>
                    <a:pt x="1073" y="914"/>
                    <a:pt x="1073" y="914"/>
                  </a:cubicBezTo>
                  <a:cubicBezTo>
                    <a:pt x="1073" y="914"/>
                    <a:pt x="1073" y="914"/>
                    <a:pt x="1073" y="914"/>
                  </a:cubicBezTo>
                  <a:cubicBezTo>
                    <a:pt x="1074" y="913"/>
                    <a:pt x="1074" y="913"/>
                    <a:pt x="1074" y="913"/>
                  </a:cubicBezTo>
                  <a:cubicBezTo>
                    <a:pt x="1074" y="912"/>
                    <a:pt x="1074" y="912"/>
                    <a:pt x="1074" y="912"/>
                  </a:cubicBezTo>
                  <a:cubicBezTo>
                    <a:pt x="1074" y="912"/>
                    <a:pt x="1074" y="912"/>
                    <a:pt x="1074" y="912"/>
                  </a:cubicBezTo>
                  <a:cubicBezTo>
                    <a:pt x="1075" y="912"/>
                    <a:pt x="1075" y="912"/>
                    <a:pt x="1075" y="912"/>
                  </a:cubicBezTo>
                  <a:cubicBezTo>
                    <a:pt x="1075" y="913"/>
                    <a:pt x="1075" y="913"/>
                    <a:pt x="1075" y="913"/>
                  </a:cubicBezTo>
                  <a:cubicBezTo>
                    <a:pt x="1076" y="913"/>
                    <a:pt x="1076" y="913"/>
                    <a:pt x="1076" y="913"/>
                  </a:cubicBezTo>
                  <a:cubicBezTo>
                    <a:pt x="1076" y="914"/>
                    <a:pt x="1076" y="914"/>
                    <a:pt x="1076" y="914"/>
                  </a:cubicBezTo>
                  <a:cubicBezTo>
                    <a:pt x="1076" y="914"/>
                    <a:pt x="1076" y="914"/>
                    <a:pt x="1076" y="914"/>
                  </a:cubicBezTo>
                  <a:close/>
                  <a:moveTo>
                    <a:pt x="1068" y="569"/>
                  </a:moveTo>
                  <a:cubicBezTo>
                    <a:pt x="1068" y="569"/>
                    <a:pt x="1068" y="569"/>
                    <a:pt x="1068" y="569"/>
                  </a:cubicBezTo>
                  <a:cubicBezTo>
                    <a:pt x="1068" y="568"/>
                    <a:pt x="1068" y="568"/>
                    <a:pt x="1068" y="568"/>
                  </a:cubicBezTo>
                  <a:cubicBezTo>
                    <a:pt x="1068" y="569"/>
                    <a:pt x="1068" y="569"/>
                    <a:pt x="1068" y="569"/>
                  </a:cubicBezTo>
                  <a:cubicBezTo>
                    <a:pt x="1068" y="569"/>
                    <a:pt x="1068" y="569"/>
                    <a:pt x="1068" y="569"/>
                  </a:cubicBezTo>
                  <a:cubicBezTo>
                    <a:pt x="1068" y="570"/>
                    <a:pt x="1068" y="570"/>
                    <a:pt x="1068" y="570"/>
                  </a:cubicBezTo>
                  <a:lnTo>
                    <a:pt x="1068" y="569"/>
                  </a:lnTo>
                  <a:close/>
                  <a:moveTo>
                    <a:pt x="1065" y="585"/>
                  </a:moveTo>
                  <a:cubicBezTo>
                    <a:pt x="1066" y="585"/>
                    <a:pt x="1066" y="585"/>
                    <a:pt x="1066" y="585"/>
                  </a:cubicBezTo>
                  <a:cubicBezTo>
                    <a:pt x="1066" y="585"/>
                    <a:pt x="1066" y="585"/>
                    <a:pt x="1066" y="585"/>
                  </a:cubicBezTo>
                  <a:cubicBezTo>
                    <a:pt x="1066" y="584"/>
                    <a:pt x="1066" y="584"/>
                    <a:pt x="1066" y="584"/>
                  </a:cubicBezTo>
                  <a:cubicBezTo>
                    <a:pt x="1066" y="584"/>
                    <a:pt x="1066" y="584"/>
                    <a:pt x="1066" y="584"/>
                  </a:cubicBezTo>
                  <a:cubicBezTo>
                    <a:pt x="1066" y="584"/>
                    <a:pt x="1066" y="584"/>
                    <a:pt x="1066" y="584"/>
                  </a:cubicBezTo>
                  <a:cubicBezTo>
                    <a:pt x="1067" y="584"/>
                    <a:pt x="1067" y="584"/>
                    <a:pt x="1067" y="584"/>
                  </a:cubicBezTo>
                  <a:cubicBezTo>
                    <a:pt x="1070" y="585"/>
                    <a:pt x="1070" y="585"/>
                    <a:pt x="1070" y="585"/>
                  </a:cubicBezTo>
                  <a:cubicBezTo>
                    <a:pt x="1071" y="585"/>
                    <a:pt x="1071" y="585"/>
                    <a:pt x="1071" y="585"/>
                  </a:cubicBezTo>
                  <a:cubicBezTo>
                    <a:pt x="1070" y="586"/>
                    <a:pt x="1070" y="586"/>
                    <a:pt x="1070" y="586"/>
                  </a:cubicBezTo>
                  <a:cubicBezTo>
                    <a:pt x="1070" y="587"/>
                    <a:pt x="1070" y="587"/>
                    <a:pt x="1070" y="587"/>
                  </a:cubicBezTo>
                  <a:cubicBezTo>
                    <a:pt x="1069" y="587"/>
                    <a:pt x="1069" y="587"/>
                    <a:pt x="1069" y="587"/>
                  </a:cubicBezTo>
                  <a:cubicBezTo>
                    <a:pt x="1066" y="586"/>
                    <a:pt x="1066" y="586"/>
                    <a:pt x="1066" y="586"/>
                  </a:cubicBezTo>
                  <a:cubicBezTo>
                    <a:pt x="1066" y="586"/>
                    <a:pt x="1066" y="586"/>
                    <a:pt x="1066" y="586"/>
                  </a:cubicBezTo>
                  <a:cubicBezTo>
                    <a:pt x="1065" y="586"/>
                    <a:pt x="1065" y="586"/>
                    <a:pt x="1065" y="586"/>
                  </a:cubicBezTo>
                  <a:cubicBezTo>
                    <a:pt x="1065" y="586"/>
                    <a:pt x="1065" y="586"/>
                    <a:pt x="1065" y="586"/>
                  </a:cubicBezTo>
                  <a:cubicBezTo>
                    <a:pt x="1065" y="586"/>
                    <a:pt x="1065" y="586"/>
                    <a:pt x="1065" y="586"/>
                  </a:cubicBezTo>
                  <a:cubicBezTo>
                    <a:pt x="1065" y="587"/>
                    <a:pt x="1065" y="587"/>
                    <a:pt x="1065" y="587"/>
                  </a:cubicBezTo>
                  <a:cubicBezTo>
                    <a:pt x="1065" y="587"/>
                    <a:pt x="1065" y="587"/>
                    <a:pt x="1065" y="587"/>
                  </a:cubicBezTo>
                  <a:cubicBezTo>
                    <a:pt x="1061" y="586"/>
                    <a:pt x="1061" y="586"/>
                    <a:pt x="1061" y="586"/>
                  </a:cubicBezTo>
                  <a:cubicBezTo>
                    <a:pt x="1060" y="586"/>
                    <a:pt x="1060" y="586"/>
                    <a:pt x="1060" y="586"/>
                  </a:cubicBezTo>
                  <a:cubicBezTo>
                    <a:pt x="1060" y="586"/>
                    <a:pt x="1060" y="586"/>
                    <a:pt x="1060" y="586"/>
                  </a:cubicBezTo>
                  <a:cubicBezTo>
                    <a:pt x="1060" y="586"/>
                    <a:pt x="1060" y="586"/>
                    <a:pt x="1060" y="586"/>
                  </a:cubicBezTo>
                  <a:cubicBezTo>
                    <a:pt x="1060" y="586"/>
                    <a:pt x="1060" y="586"/>
                    <a:pt x="1060" y="586"/>
                  </a:cubicBezTo>
                  <a:cubicBezTo>
                    <a:pt x="1061" y="584"/>
                    <a:pt x="1061" y="584"/>
                    <a:pt x="1061" y="584"/>
                  </a:cubicBezTo>
                  <a:cubicBezTo>
                    <a:pt x="1062" y="584"/>
                    <a:pt x="1062" y="584"/>
                    <a:pt x="1062" y="584"/>
                  </a:cubicBezTo>
                  <a:lnTo>
                    <a:pt x="1065" y="585"/>
                  </a:lnTo>
                  <a:close/>
                  <a:moveTo>
                    <a:pt x="1047" y="598"/>
                  </a:moveTo>
                  <a:cubicBezTo>
                    <a:pt x="1048" y="597"/>
                    <a:pt x="1048" y="597"/>
                    <a:pt x="1048" y="597"/>
                  </a:cubicBezTo>
                  <a:cubicBezTo>
                    <a:pt x="1048" y="598"/>
                    <a:pt x="1048" y="598"/>
                    <a:pt x="1048" y="598"/>
                  </a:cubicBezTo>
                  <a:cubicBezTo>
                    <a:pt x="1047" y="598"/>
                    <a:pt x="1047" y="598"/>
                    <a:pt x="1047" y="598"/>
                  </a:cubicBezTo>
                  <a:cubicBezTo>
                    <a:pt x="1047" y="599"/>
                    <a:pt x="1047" y="599"/>
                    <a:pt x="1047" y="599"/>
                  </a:cubicBezTo>
                  <a:cubicBezTo>
                    <a:pt x="1046" y="599"/>
                    <a:pt x="1046" y="599"/>
                    <a:pt x="1046" y="599"/>
                  </a:cubicBezTo>
                  <a:cubicBezTo>
                    <a:pt x="1047" y="598"/>
                    <a:pt x="1047" y="598"/>
                    <a:pt x="1047" y="598"/>
                  </a:cubicBezTo>
                  <a:close/>
                  <a:moveTo>
                    <a:pt x="1045" y="603"/>
                  </a:moveTo>
                  <a:cubicBezTo>
                    <a:pt x="1045" y="602"/>
                    <a:pt x="1045" y="602"/>
                    <a:pt x="1045" y="602"/>
                  </a:cubicBezTo>
                  <a:cubicBezTo>
                    <a:pt x="1045" y="603"/>
                    <a:pt x="1045" y="603"/>
                    <a:pt x="1045" y="603"/>
                  </a:cubicBezTo>
                  <a:cubicBezTo>
                    <a:pt x="1045" y="603"/>
                    <a:pt x="1045" y="603"/>
                    <a:pt x="1045" y="603"/>
                  </a:cubicBezTo>
                  <a:cubicBezTo>
                    <a:pt x="1045" y="603"/>
                    <a:pt x="1045" y="603"/>
                    <a:pt x="1045" y="603"/>
                  </a:cubicBezTo>
                  <a:cubicBezTo>
                    <a:pt x="1045" y="604"/>
                    <a:pt x="1045" y="604"/>
                    <a:pt x="1045" y="604"/>
                  </a:cubicBezTo>
                  <a:cubicBezTo>
                    <a:pt x="1045" y="604"/>
                    <a:pt x="1045" y="604"/>
                    <a:pt x="1045" y="604"/>
                  </a:cubicBezTo>
                  <a:cubicBezTo>
                    <a:pt x="1045" y="604"/>
                    <a:pt x="1045" y="604"/>
                    <a:pt x="1045" y="604"/>
                  </a:cubicBezTo>
                  <a:cubicBezTo>
                    <a:pt x="1045" y="603"/>
                    <a:pt x="1045" y="603"/>
                    <a:pt x="1045" y="603"/>
                  </a:cubicBezTo>
                  <a:close/>
                  <a:moveTo>
                    <a:pt x="1044" y="615"/>
                  </a:moveTo>
                  <a:cubicBezTo>
                    <a:pt x="1044" y="616"/>
                    <a:pt x="1044" y="616"/>
                    <a:pt x="1044" y="616"/>
                  </a:cubicBezTo>
                  <a:cubicBezTo>
                    <a:pt x="1044" y="616"/>
                    <a:pt x="1044" y="616"/>
                    <a:pt x="1044" y="616"/>
                  </a:cubicBezTo>
                  <a:cubicBezTo>
                    <a:pt x="1043" y="617"/>
                    <a:pt x="1043" y="617"/>
                    <a:pt x="1043" y="617"/>
                  </a:cubicBezTo>
                  <a:cubicBezTo>
                    <a:pt x="1042" y="618"/>
                    <a:pt x="1042" y="618"/>
                    <a:pt x="1042" y="618"/>
                  </a:cubicBezTo>
                  <a:cubicBezTo>
                    <a:pt x="1042" y="617"/>
                    <a:pt x="1042" y="617"/>
                    <a:pt x="1042" y="617"/>
                  </a:cubicBezTo>
                  <a:cubicBezTo>
                    <a:pt x="1043" y="616"/>
                    <a:pt x="1043" y="616"/>
                    <a:pt x="1043" y="616"/>
                  </a:cubicBezTo>
                  <a:lnTo>
                    <a:pt x="1044" y="615"/>
                  </a:lnTo>
                  <a:close/>
                  <a:moveTo>
                    <a:pt x="1040" y="631"/>
                  </a:moveTo>
                  <a:cubicBezTo>
                    <a:pt x="1040" y="632"/>
                    <a:pt x="1040" y="632"/>
                    <a:pt x="1040" y="632"/>
                  </a:cubicBezTo>
                  <a:cubicBezTo>
                    <a:pt x="1039" y="632"/>
                    <a:pt x="1039" y="632"/>
                    <a:pt x="1039" y="632"/>
                  </a:cubicBezTo>
                  <a:cubicBezTo>
                    <a:pt x="1038" y="632"/>
                    <a:pt x="1038" y="632"/>
                    <a:pt x="1038" y="632"/>
                  </a:cubicBezTo>
                  <a:cubicBezTo>
                    <a:pt x="1038" y="632"/>
                    <a:pt x="1038" y="632"/>
                    <a:pt x="1038" y="632"/>
                  </a:cubicBezTo>
                  <a:cubicBezTo>
                    <a:pt x="1037" y="630"/>
                    <a:pt x="1037" y="630"/>
                    <a:pt x="1037" y="630"/>
                  </a:cubicBezTo>
                  <a:cubicBezTo>
                    <a:pt x="1036" y="630"/>
                    <a:pt x="1036" y="630"/>
                    <a:pt x="1036" y="630"/>
                  </a:cubicBezTo>
                  <a:cubicBezTo>
                    <a:pt x="1036" y="629"/>
                    <a:pt x="1036" y="629"/>
                    <a:pt x="1036" y="629"/>
                  </a:cubicBezTo>
                  <a:cubicBezTo>
                    <a:pt x="1036" y="629"/>
                    <a:pt x="1036" y="629"/>
                    <a:pt x="1036" y="629"/>
                  </a:cubicBezTo>
                  <a:cubicBezTo>
                    <a:pt x="1036" y="629"/>
                    <a:pt x="1036" y="629"/>
                    <a:pt x="1036" y="629"/>
                  </a:cubicBezTo>
                  <a:cubicBezTo>
                    <a:pt x="1036" y="628"/>
                    <a:pt x="1036" y="628"/>
                    <a:pt x="1036" y="628"/>
                  </a:cubicBezTo>
                  <a:cubicBezTo>
                    <a:pt x="1037" y="628"/>
                    <a:pt x="1037" y="628"/>
                    <a:pt x="1037" y="628"/>
                  </a:cubicBezTo>
                  <a:cubicBezTo>
                    <a:pt x="1037" y="628"/>
                    <a:pt x="1037" y="628"/>
                    <a:pt x="1037" y="628"/>
                  </a:cubicBezTo>
                  <a:cubicBezTo>
                    <a:pt x="1038" y="628"/>
                    <a:pt x="1038" y="628"/>
                    <a:pt x="1038" y="628"/>
                  </a:cubicBezTo>
                  <a:cubicBezTo>
                    <a:pt x="1038" y="628"/>
                    <a:pt x="1038" y="628"/>
                    <a:pt x="1038" y="628"/>
                  </a:cubicBezTo>
                  <a:lnTo>
                    <a:pt x="1040" y="631"/>
                  </a:lnTo>
                  <a:close/>
                  <a:moveTo>
                    <a:pt x="1034" y="631"/>
                  </a:moveTo>
                  <a:cubicBezTo>
                    <a:pt x="1033" y="632"/>
                    <a:pt x="1033" y="632"/>
                    <a:pt x="1033" y="632"/>
                  </a:cubicBezTo>
                  <a:cubicBezTo>
                    <a:pt x="1031" y="632"/>
                    <a:pt x="1031" y="632"/>
                    <a:pt x="1031" y="632"/>
                  </a:cubicBezTo>
                  <a:cubicBezTo>
                    <a:pt x="1029" y="631"/>
                    <a:pt x="1029" y="631"/>
                    <a:pt x="1029" y="631"/>
                  </a:cubicBezTo>
                  <a:cubicBezTo>
                    <a:pt x="1029" y="631"/>
                    <a:pt x="1029" y="631"/>
                    <a:pt x="1029" y="631"/>
                  </a:cubicBezTo>
                  <a:cubicBezTo>
                    <a:pt x="1030" y="630"/>
                    <a:pt x="1030" y="630"/>
                    <a:pt x="1030" y="630"/>
                  </a:cubicBezTo>
                  <a:cubicBezTo>
                    <a:pt x="1030" y="630"/>
                    <a:pt x="1030" y="630"/>
                    <a:pt x="1030" y="630"/>
                  </a:cubicBezTo>
                  <a:cubicBezTo>
                    <a:pt x="1032" y="631"/>
                    <a:pt x="1032" y="631"/>
                    <a:pt x="1032" y="631"/>
                  </a:cubicBezTo>
                  <a:cubicBezTo>
                    <a:pt x="1035" y="630"/>
                    <a:pt x="1035" y="630"/>
                    <a:pt x="1035" y="630"/>
                  </a:cubicBezTo>
                  <a:cubicBezTo>
                    <a:pt x="1035" y="630"/>
                    <a:pt x="1035" y="630"/>
                    <a:pt x="1035" y="630"/>
                  </a:cubicBezTo>
                  <a:lnTo>
                    <a:pt x="1034" y="631"/>
                  </a:lnTo>
                  <a:close/>
                  <a:moveTo>
                    <a:pt x="1004" y="749"/>
                  </a:moveTo>
                  <a:cubicBezTo>
                    <a:pt x="1003" y="750"/>
                    <a:pt x="1003" y="750"/>
                    <a:pt x="1003" y="750"/>
                  </a:cubicBezTo>
                  <a:cubicBezTo>
                    <a:pt x="1002" y="754"/>
                    <a:pt x="1002" y="754"/>
                    <a:pt x="1002" y="754"/>
                  </a:cubicBezTo>
                  <a:cubicBezTo>
                    <a:pt x="1002" y="755"/>
                    <a:pt x="1002" y="755"/>
                    <a:pt x="1002" y="755"/>
                  </a:cubicBezTo>
                  <a:cubicBezTo>
                    <a:pt x="1000" y="756"/>
                    <a:pt x="1000" y="756"/>
                    <a:pt x="1000" y="756"/>
                  </a:cubicBezTo>
                  <a:cubicBezTo>
                    <a:pt x="1000" y="755"/>
                    <a:pt x="1000" y="755"/>
                    <a:pt x="1000" y="755"/>
                  </a:cubicBezTo>
                  <a:cubicBezTo>
                    <a:pt x="1001" y="752"/>
                    <a:pt x="1001" y="752"/>
                    <a:pt x="1001" y="752"/>
                  </a:cubicBezTo>
                  <a:cubicBezTo>
                    <a:pt x="1001" y="751"/>
                    <a:pt x="1001" y="751"/>
                    <a:pt x="1001" y="751"/>
                  </a:cubicBezTo>
                  <a:cubicBezTo>
                    <a:pt x="1002" y="750"/>
                    <a:pt x="1002" y="750"/>
                    <a:pt x="1002" y="750"/>
                  </a:cubicBezTo>
                  <a:cubicBezTo>
                    <a:pt x="1003" y="749"/>
                    <a:pt x="1003" y="749"/>
                    <a:pt x="1003" y="749"/>
                  </a:cubicBezTo>
                  <a:cubicBezTo>
                    <a:pt x="1004" y="749"/>
                    <a:pt x="1004" y="749"/>
                    <a:pt x="1004" y="749"/>
                  </a:cubicBezTo>
                  <a:cubicBezTo>
                    <a:pt x="1004" y="749"/>
                    <a:pt x="1004" y="749"/>
                    <a:pt x="1004" y="749"/>
                  </a:cubicBezTo>
                  <a:close/>
                  <a:moveTo>
                    <a:pt x="994" y="761"/>
                  </a:moveTo>
                  <a:cubicBezTo>
                    <a:pt x="994" y="761"/>
                    <a:pt x="994" y="761"/>
                    <a:pt x="994" y="761"/>
                  </a:cubicBezTo>
                  <a:cubicBezTo>
                    <a:pt x="996" y="759"/>
                    <a:pt x="996" y="759"/>
                    <a:pt x="996" y="759"/>
                  </a:cubicBezTo>
                  <a:cubicBezTo>
                    <a:pt x="997" y="758"/>
                    <a:pt x="997" y="758"/>
                    <a:pt x="997" y="758"/>
                  </a:cubicBezTo>
                  <a:lnTo>
                    <a:pt x="994" y="761"/>
                  </a:lnTo>
                  <a:close/>
                  <a:moveTo>
                    <a:pt x="979" y="642"/>
                  </a:moveTo>
                  <a:cubicBezTo>
                    <a:pt x="979" y="643"/>
                    <a:pt x="979" y="643"/>
                    <a:pt x="979" y="643"/>
                  </a:cubicBezTo>
                  <a:cubicBezTo>
                    <a:pt x="979" y="643"/>
                    <a:pt x="979" y="643"/>
                    <a:pt x="979" y="643"/>
                  </a:cubicBezTo>
                  <a:cubicBezTo>
                    <a:pt x="978" y="643"/>
                    <a:pt x="978" y="643"/>
                    <a:pt x="978" y="643"/>
                  </a:cubicBezTo>
                  <a:cubicBezTo>
                    <a:pt x="978" y="643"/>
                    <a:pt x="978" y="643"/>
                    <a:pt x="978" y="643"/>
                  </a:cubicBezTo>
                  <a:cubicBezTo>
                    <a:pt x="979" y="643"/>
                    <a:pt x="979" y="643"/>
                    <a:pt x="979" y="643"/>
                  </a:cubicBezTo>
                  <a:cubicBezTo>
                    <a:pt x="979" y="642"/>
                    <a:pt x="979" y="642"/>
                    <a:pt x="979" y="642"/>
                  </a:cubicBezTo>
                  <a:cubicBezTo>
                    <a:pt x="979" y="642"/>
                    <a:pt x="979" y="642"/>
                    <a:pt x="979" y="642"/>
                  </a:cubicBezTo>
                  <a:cubicBezTo>
                    <a:pt x="979" y="642"/>
                    <a:pt x="979" y="642"/>
                    <a:pt x="979" y="642"/>
                  </a:cubicBezTo>
                  <a:close/>
                  <a:moveTo>
                    <a:pt x="984" y="767"/>
                  </a:moveTo>
                  <a:cubicBezTo>
                    <a:pt x="984" y="767"/>
                    <a:pt x="984" y="767"/>
                    <a:pt x="984" y="767"/>
                  </a:cubicBezTo>
                  <a:cubicBezTo>
                    <a:pt x="984" y="767"/>
                    <a:pt x="984" y="767"/>
                    <a:pt x="984" y="767"/>
                  </a:cubicBezTo>
                  <a:cubicBezTo>
                    <a:pt x="984" y="767"/>
                    <a:pt x="984" y="767"/>
                    <a:pt x="984" y="767"/>
                  </a:cubicBezTo>
                  <a:close/>
                  <a:moveTo>
                    <a:pt x="1060" y="926"/>
                  </a:moveTo>
                  <a:cubicBezTo>
                    <a:pt x="1060" y="925"/>
                    <a:pt x="1060" y="925"/>
                    <a:pt x="1060" y="925"/>
                  </a:cubicBezTo>
                  <a:cubicBezTo>
                    <a:pt x="1060" y="925"/>
                    <a:pt x="1060" y="925"/>
                    <a:pt x="1060" y="925"/>
                  </a:cubicBezTo>
                  <a:cubicBezTo>
                    <a:pt x="1060" y="926"/>
                    <a:pt x="1060" y="926"/>
                    <a:pt x="1060" y="926"/>
                  </a:cubicBezTo>
                  <a:close/>
                  <a:moveTo>
                    <a:pt x="1063" y="921"/>
                  </a:moveTo>
                  <a:cubicBezTo>
                    <a:pt x="1063" y="920"/>
                    <a:pt x="1063" y="920"/>
                    <a:pt x="1063" y="920"/>
                  </a:cubicBezTo>
                  <a:cubicBezTo>
                    <a:pt x="1063" y="919"/>
                    <a:pt x="1063" y="919"/>
                    <a:pt x="1063" y="919"/>
                  </a:cubicBezTo>
                  <a:cubicBezTo>
                    <a:pt x="1063" y="917"/>
                    <a:pt x="1063" y="917"/>
                    <a:pt x="1063" y="917"/>
                  </a:cubicBezTo>
                  <a:cubicBezTo>
                    <a:pt x="1063" y="918"/>
                    <a:pt x="1063" y="918"/>
                    <a:pt x="1063" y="918"/>
                  </a:cubicBezTo>
                  <a:cubicBezTo>
                    <a:pt x="1063" y="918"/>
                    <a:pt x="1063" y="918"/>
                    <a:pt x="1063" y="918"/>
                  </a:cubicBezTo>
                  <a:cubicBezTo>
                    <a:pt x="1063" y="918"/>
                    <a:pt x="1063" y="918"/>
                    <a:pt x="1063" y="918"/>
                  </a:cubicBezTo>
                  <a:cubicBezTo>
                    <a:pt x="1063" y="919"/>
                    <a:pt x="1063" y="919"/>
                    <a:pt x="1063" y="919"/>
                  </a:cubicBezTo>
                  <a:cubicBezTo>
                    <a:pt x="1063" y="920"/>
                    <a:pt x="1063" y="920"/>
                    <a:pt x="1063" y="920"/>
                  </a:cubicBezTo>
                  <a:cubicBezTo>
                    <a:pt x="1063" y="922"/>
                    <a:pt x="1063" y="922"/>
                    <a:pt x="1063" y="922"/>
                  </a:cubicBezTo>
                  <a:cubicBezTo>
                    <a:pt x="1062" y="922"/>
                    <a:pt x="1062" y="922"/>
                    <a:pt x="1062" y="922"/>
                  </a:cubicBezTo>
                  <a:lnTo>
                    <a:pt x="1063" y="921"/>
                  </a:lnTo>
                  <a:close/>
                  <a:moveTo>
                    <a:pt x="1085" y="922"/>
                  </a:moveTo>
                  <a:cubicBezTo>
                    <a:pt x="1085" y="922"/>
                    <a:pt x="1085" y="922"/>
                    <a:pt x="1085" y="922"/>
                  </a:cubicBezTo>
                  <a:cubicBezTo>
                    <a:pt x="1086" y="923"/>
                    <a:pt x="1086" y="923"/>
                    <a:pt x="1086" y="923"/>
                  </a:cubicBezTo>
                  <a:cubicBezTo>
                    <a:pt x="1086" y="923"/>
                    <a:pt x="1086" y="923"/>
                    <a:pt x="1086" y="923"/>
                  </a:cubicBezTo>
                  <a:lnTo>
                    <a:pt x="1085" y="922"/>
                  </a:lnTo>
                  <a:close/>
                  <a:moveTo>
                    <a:pt x="1101" y="952"/>
                  </a:moveTo>
                  <a:cubicBezTo>
                    <a:pt x="1101" y="952"/>
                    <a:pt x="1101" y="952"/>
                    <a:pt x="1101" y="952"/>
                  </a:cubicBezTo>
                  <a:cubicBezTo>
                    <a:pt x="1101" y="952"/>
                    <a:pt x="1101" y="952"/>
                    <a:pt x="1101" y="952"/>
                  </a:cubicBezTo>
                  <a:cubicBezTo>
                    <a:pt x="1101" y="952"/>
                    <a:pt x="1101" y="952"/>
                    <a:pt x="1101" y="952"/>
                  </a:cubicBezTo>
                  <a:close/>
                  <a:moveTo>
                    <a:pt x="1093" y="939"/>
                  </a:moveTo>
                  <a:cubicBezTo>
                    <a:pt x="1093" y="939"/>
                    <a:pt x="1093" y="939"/>
                    <a:pt x="1093" y="939"/>
                  </a:cubicBezTo>
                  <a:cubicBezTo>
                    <a:pt x="1093" y="940"/>
                    <a:pt x="1093" y="940"/>
                    <a:pt x="1093" y="940"/>
                  </a:cubicBezTo>
                  <a:cubicBezTo>
                    <a:pt x="1092" y="939"/>
                    <a:pt x="1092" y="939"/>
                    <a:pt x="1092" y="939"/>
                  </a:cubicBezTo>
                  <a:lnTo>
                    <a:pt x="1093" y="939"/>
                  </a:lnTo>
                  <a:close/>
                  <a:moveTo>
                    <a:pt x="1093" y="940"/>
                  </a:moveTo>
                  <a:cubicBezTo>
                    <a:pt x="1093" y="940"/>
                    <a:pt x="1093" y="940"/>
                    <a:pt x="1093" y="940"/>
                  </a:cubicBezTo>
                  <a:cubicBezTo>
                    <a:pt x="1093" y="940"/>
                    <a:pt x="1093" y="940"/>
                    <a:pt x="1093" y="940"/>
                  </a:cubicBezTo>
                  <a:cubicBezTo>
                    <a:pt x="1093" y="940"/>
                    <a:pt x="1093" y="940"/>
                    <a:pt x="1093" y="940"/>
                  </a:cubicBezTo>
                  <a:close/>
                  <a:moveTo>
                    <a:pt x="1091" y="935"/>
                  </a:moveTo>
                  <a:cubicBezTo>
                    <a:pt x="1091" y="935"/>
                    <a:pt x="1091" y="935"/>
                    <a:pt x="1091" y="935"/>
                  </a:cubicBezTo>
                  <a:cubicBezTo>
                    <a:pt x="1091" y="935"/>
                    <a:pt x="1091" y="935"/>
                    <a:pt x="1091" y="935"/>
                  </a:cubicBezTo>
                  <a:close/>
                  <a:moveTo>
                    <a:pt x="1108" y="763"/>
                  </a:moveTo>
                  <a:cubicBezTo>
                    <a:pt x="1108" y="764"/>
                    <a:pt x="1108" y="764"/>
                    <a:pt x="1108" y="764"/>
                  </a:cubicBezTo>
                  <a:cubicBezTo>
                    <a:pt x="1107" y="764"/>
                    <a:pt x="1107" y="764"/>
                    <a:pt x="1107" y="764"/>
                  </a:cubicBezTo>
                  <a:cubicBezTo>
                    <a:pt x="1107" y="765"/>
                    <a:pt x="1107" y="765"/>
                    <a:pt x="1107" y="765"/>
                  </a:cubicBezTo>
                  <a:cubicBezTo>
                    <a:pt x="1106" y="767"/>
                    <a:pt x="1106" y="767"/>
                    <a:pt x="1106" y="767"/>
                  </a:cubicBezTo>
                  <a:cubicBezTo>
                    <a:pt x="1106" y="767"/>
                    <a:pt x="1106" y="767"/>
                    <a:pt x="1106" y="767"/>
                  </a:cubicBezTo>
                  <a:cubicBezTo>
                    <a:pt x="1105" y="767"/>
                    <a:pt x="1105" y="767"/>
                    <a:pt x="1105" y="767"/>
                  </a:cubicBezTo>
                  <a:cubicBezTo>
                    <a:pt x="1105" y="767"/>
                    <a:pt x="1105" y="767"/>
                    <a:pt x="1105" y="767"/>
                  </a:cubicBezTo>
                  <a:cubicBezTo>
                    <a:pt x="1106" y="766"/>
                    <a:pt x="1106" y="766"/>
                    <a:pt x="1106" y="766"/>
                  </a:cubicBezTo>
                  <a:cubicBezTo>
                    <a:pt x="1106" y="766"/>
                    <a:pt x="1106" y="766"/>
                    <a:pt x="1106" y="766"/>
                  </a:cubicBezTo>
                  <a:cubicBezTo>
                    <a:pt x="1106" y="765"/>
                    <a:pt x="1106" y="765"/>
                    <a:pt x="1106" y="765"/>
                  </a:cubicBezTo>
                  <a:cubicBezTo>
                    <a:pt x="1106" y="764"/>
                    <a:pt x="1106" y="764"/>
                    <a:pt x="1106" y="764"/>
                  </a:cubicBezTo>
                  <a:cubicBezTo>
                    <a:pt x="1106" y="764"/>
                    <a:pt x="1106" y="764"/>
                    <a:pt x="1106" y="764"/>
                  </a:cubicBezTo>
                  <a:cubicBezTo>
                    <a:pt x="1106" y="763"/>
                    <a:pt x="1106" y="763"/>
                    <a:pt x="1106" y="763"/>
                  </a:cubicBezTo>
                  <a:cubicBezTo>
                    <a:pt x="1106" y="762"/>
                    <a:pt x="1106" y="762"/>
                    <a:pt x="1106" y="762"/>
                  </a:cubicBezTo>
                  <a:cubicBezTo>
                    <a:pt x="1107" y="762"/>
                    <a:pt x="1107" y="762"/>
                    <a:pt x="1107" y="762"/>
                  </a:cubicBezTo>
                  <a:cubicBezTo>
                    <a:pt x="1107" y="761"/>
                    <a:pt x="1107" y="761"/>
                    <a:pt x="1107" y="761"/>
                  </a:cubicBezTo>
                  <a:cubicBezTo>
                    <a:pt x="1107" y="762"/>
                    <a:pt x="1107" y="762"/>
                    <a:pt x="1107" y="762"/>
                  </a:cubicBezTo>
                  <a:cubicBezTo>
                    <a:pt x="1107" y="763"/>
                    <a:pt x="1107" y="763"/>
                    <a:pt x="1107" y="763"/>
                  </a:cubicBezTo>
                  <a:lnTo>
                    <a:pt x="1108" y="763"/>
                  </a:lnTo>
                  <a:close/>
                  <a:moveTo>
                    <a:pt x="1105" y="542"/>
                  </a:moveTo>
                  <a:cubicBezTo>
                    <a:pt x="1105" y="541"/>
                    <a:pt x="1105" y="541"/>
                    <a:pt x="1105" y="541"/>
                  </a:cubicBezTo>
                  <a:cubicBezTo>
                    <a:pt x="1105" y="541"/>
                    <a:pt x="1105" y="541"/>
                    <a:pt x="1105" y="541"/>
                  </a:cubicBezTo>
                  <a:cubicBezTo>
                    <a:pt x="1104" y="543"/>
                    <a:pt x="1104" y="543"/>
                    <a:pt x="1104" y="543"/>
                  </a:cubicBezTo>
                  <a:cubicBezTo>
                    <a:pt x="1101" y="545"/>
                    <a:pt x="1101" y="545"/>
                    <a:pt x="1101" y="545"/>
                  </a:cubicBezTo>
                  <a:cubicBezTo>
                    <a:pt x="1102" y="544"/>
                    <a:pt x="1102" y="544"/>
                    <a:pt x="1102" y="544"/>
                  </a:cubicBezTo>
                  <a:lnTo>
                    <a:pt x="1105" y="542"/>
                  </a:lnTo>
                  <a:close/>
                  <a:moveTo>
                    <a:pt x="1021" y="636"/>
                  </a:moveTo>
                  <a:cubicBezTo>
                    <a:pt x="1022" y="636"/>
                    <a:pt x="1022" y="636"/>
                    <a:pt x="1022" y="636"/>
                  </a:cubicBezTo>
                  <a:cubicBezTo>
                    <a:pt x="1024" y="637"/>
                    <a:pt x="1024" y="637"/>
                    <a:pt x="1024" y="637"/>
                  </a:cubicBezTo>
                  <a:cubicBezTo>
                    <a:pt x="1026" y="636"/>
                    <a:pt x="1026" y="636"/>
                    <a:pt x="1026" y="636"/>
                  </a:cubicBezTo>
                  <a:cubicBezTo>
                    <a:pt x="1027" y="636"/>
                    <a:pt x="1027" y="636"/>
                    <a:pt x="1027" y="636"/>
                  </a:cubicBezTo>
                  <a:cubicBezTo>
                    <a:pt x="1025" y="637"/>
                    <a:pt x="1025" y="637"/>
                    <a:pt x="1025" y="637"/>
                  </a:cubicBezTo>
                  <a:cubicBezTo>
                    <a:pt x="1024" y="638"/>
                    <a:pt x="1024" y="638"/>
                    <a:pt x="1024" y="638"/>
                  </a:cubicBezTo>
                  <a:cubicBezTo>
                    <a:pt x="1023" y="638"/>
                    <a:pt x="1023" y="638"/>
                    <a:pt x="1023" y="638"/>
                  </a:cubicBezTo>
                  <a:cubicBezTo>
                    <a:pt x="1021" y="637"/>
                    <a:pt x="1021" y="637"/>
                    <a:pt x="1021" y="637"/>
                  </a:cubicBezTo>
                  <a:cubicBezTo>
                    <a:pt x="1019" y="637"/>
                    <a:pt x="1019" y="637"/>
                    <a:pt x="1019" y="637"/>
                  </a:cubicBezTo>
                  <a:cubicBezTo>
                    <a:pt x="1018" y="637"/>
                    <a:pt x="1018" y="637"/>
                    <a:pt x="1018" y="637"/>
                  </a:cubicBezTo>
                  <a:cubicBezTo>
                    <a:pt x="1018" y="637"/>
                    <a:pt x="1018" y="637"/>
                    <a:pt x="1018" y="637"/>
                  </a:cubicBezTo>
                  <a:cubicBezTo>
                    <a:pt x="1018" y="636"/>
                    <a:pt x="1018" y="636"/>
                    <a:pt x="1018" y="636"/>
                  </a:cubicBezTo>
                  <a:cubicBezTo>
                    <a:pt x="1019" y="636"/>
                    <a:pt x="1019" y="636"/>
                    <a:pt x="1019" y="636"/>
                  </a:cubicBezTo>
                  <a:cubicBezTo>
                    <a:pt x="1019" y="636"/>
                    <a:pt x="1019" y="636"/>
                    <a:pt x="1019" y="636"/>
                  </a:cubicBezTo>
                  <a:lnTo>
                    <a:pt x="1021" y="636"/>
                  </a:lnTo>
                  <a:close/>
                  <a:moveTo>
                    <a:pt x="1017" y="645"/>
                  </a:moveTo>
                  <a:cubicBezTo>
                    <a:pt x="1017" y="645"/>
                    <a:pt x="1017" y="645"/>
                    <a:pt x="1017" y="645"/>
                  </a:cubicBezTo>
                  <a:cubicBezTo>
                    <a:pt x="1016" y="646"/>
                    <a:pt x="1016" y="646"/>
                    <a:pt x="1016" y="646"/>
                  </a:cubicBezTo>
                  <a:cubicBezTo>
                    <a:pt x="1016" y="646"/>
                    <a:pt x="1016" y="646"/>
                    <a:pt x="1016" y="646"/>
                  </a:cubicBezTo>
                  <a:cubicBezTo>
                    <a:pt x="1014" y="646"/>
                    <a:pt x="1014" y="646"/>
                    <a:pt x="1014" y="646"/>
                  </a:cubicBezTo>
                  <a:cubicBezTo>
                    <a:pt x="1013" y="646"/>
                    <a:pt x="1013" y="646"/>
                    <a:pt x="1013" y="646"/>
                  </a:cubicBezTo>
                  <a:cubicBezTo>
                    <a:pt x="1013" y="646"/>
                    <a:pt x="1013" y="646"/>
                    <a:pt x="1013" y="646"/>
                  </a:cubicBezTo>
                  <a:cubicBezTo>
                    <a:pt x="1012" y="645"/>
                    <a:pt x="1012" y="645"/>
                    <a:pt x="1012" y="645"/>
                  </a:cubicBezTo>
                  <a:cubicBezTo>
                    <a:pt x="1012" y="645"/>
                    <a:pt x="1012" y="645"/>
                    <a:pt x="1012" y="645"/>
                  </a:cubicBezTo>
                  <a:cubicBezTo>
                    <a:pt x="1012" y="645"/>
                    <a:pt x="1012" y="645"/>
                    <a:pt x="1012" y="645"/>
                  </a:cubicBezTo>
                  <a:cubicBezTo>
                    <a:pt x="1011" y="645"/>
                    <a:pt x="1011" y="645"/>
                    <a:pt x="1011" y="645"/>
                  </a:cubicBezTo>
                  <a:cubicBezTo>
                    <a:pt x="1009" y="646"/>
                    <a:pt x="1009" y="646"/>
                    <a:pt x="1009" y="646"/>
                  </a:cubicBezTo>
                  <a:cubicBezTo>
                    <a:pt x="1009" y="646"/>
                    <a:pt x="1009" y="646"/>
                    <a:pt x="1009" y="646"/>
                  </a:cubicBezTo>
                  <a:cubicBezTo>
                    <a:pt x="1010" y="645"/>
                    <a:pt x="1010" y="645"/>
                    <a:pt x="1010" y="645"/>
                  </a:cubicBezTo>
                  <a:cubicBezTo>
                    <a:pt x="1011" y="644"/>
                    <a:pt x="1011" y="644"/>
                    <a:pt x="1011" y="644"/>
                  </a:cubicBezTo>
                  <a:cubicBezTo>
                    <a:pt x="1013" y="644"/>
                    <a:pt x="1013" y="644"/>
                    <a:pt x="1013" y="644"/>
                  </a:cubicBezTo>
                  <a:cubicBezTo>
                    <a:pt x="1014" y="643"/>
                    <a:pt x="1014" y="643"/>
                    <a:pt x="1014" y="643"/>
                  </a:cubicBezTo>
                  <a:cubicBezTo>
                    <a:pt x="1014" y="643"/>
                    <a:pt x="1014" y="643"/>
                    <a:pt x="1014" y="643"/>
                  </a:cubicBezTo>
                  <a:cubicBezTo>
                    <a:pt x="1014" y="643"/>
                    <a:pt x="1014" y="643"/>
                    <a:pt x="1014" y="643"/>
                  </a:cubicBezTo>
                  <a:cubicBezTo>
                    <a:pt x="1014" y="645"/>
                    <a:pt x="1014" y="645"/>
                    <a:pt x="1014" y="645"/>
                  </a:cubicBezTo>
                  <a:cubicBezTo>
                    <a:pt x="1015" y="645"/>
                    <a:pt x="1015" y="645"/>
                    <a:pt x="1015" y="645"/>
                  </a:cubicBezTo>
                  <a:cubicBezTo>
                    <a:pt x="1015" y="645"/>
                    <a:pt x="1015" y="645"/>
                    <a:pt x="1015" y="645"/>
                  </a:cubicBezTo>
                  <a:lnTo>
                    <a:pt x="1017" y="645"/>
                  </a:lnTo>
                  <a:close/>
                  <a:moveTo>
                    <a:pt x="984" y="766"/>
                  </a:moveTo>
                  <a:cubicBezTo>
                    <a:pt x="984" y="766"/>
                    <a:pt x="984" y="766"/>
                    <a:pt x="984" y="766"/>
                  </a:cubicBezTo>
                  <a:cubicBezTo>
                    <a:pt x="984" y="766"/>
                    <a:pt x="984" y="766"/>
                    <a:pt x="984" y="766"/>
                  </a:cubicBezTo>
                  <a:cubicBezTo>
                    <a:pt x="984" y="766"/>
                    <a:pt x="984" y="766"/>
                    <a:pt x="984" y="766"/>
                  </a:cubicBezTo>
                  <a:cubicBezTo>
                    <a:pt x="984" y="766"/>
                    <a:pt x="984" y="766"/>
                    <a:pt x="984" y="766"/>
                  </a:cubicBezTo>
                  <a:cubicBezTo>
                    <a:pt x="984" y="766"/>
                    <a:pt x="984" y="766"/>
                    <a:pt x="984" y="766"/>
                  </a:cubicBezTo>
                  <a:cubicBezTo>
                    <a:pt x="983" y="765"/>
                    <a:pt x="983" y="765"/>
                    <a:pt x="983" y="765"/>
                  </a:cubicBezTo>
                  <a:cubicBezTo>
                    <a:pt x="983" y="765"/>
                    <a:pt x="983" y="765"/>
                    <a:pt x="983" y="765"/>
                  </a:cubicBezTo>
                  <a:lnTo>
                    <a:pt x="984" y="766"/>
                  </a:lnTo>
                  <a:close/>
                  <a:moveTo>
                    <a:pt x="984" y="775"/>
                  </a:moveTo>
                  <a:cubicBezTo>
                    <a:pt x="985" y="775"/>
                    <a:pt x="985" y="775"/>
                    <a:pt x="985" y="775"/>
                  </a:cubicBezTo>
                  <a:cubicBezTo>
                    <a:pt x="985" y="775"/>
                    <a:pt x="985" y="775"/>
                    <a:pt x="985" y="775"/>
                  </a:cubicBezTo>
                  <a:cubicBezTo>
                    <a:pt x="984" y="775"/>
                    <a:pt x="984" y="775"/>
                    <a:pt x="984" y="775"/>
                  </a:cubicBezTo>
                  <a:cubicBezTo>
                    <a:pt x="984" y="775"/>
                    <a:pt x="984" y="775"/>
                    <a:pt x="984" y="775"/>
                  </a:cubicBezTo>
                  <a:cubicBezTo>
                    <a:pt x="984" y="774"/>
                    <a:pt x="984" y="774"/>
                    <a:pt x="984" y="774"/>
                  </a:cubicBezTo>
                  <a:lnTo>
                    <a:pt x="984" y="775"/>
                  </a:lnTo>
                  <a:close/>
                  <a:moveTo>
                    <a:pt x="962" y="927"/>
                  </a:moveTo>
                  <a:cubicBezTo>
                    <a:pt x="962" y="927"/>
                    <a:pt x="962" y="927"/>
                    <a:pt x="962" y="927"/>
                  </a:cubicBezTo>
                  <a:cubicBezTo>
                    <a:pt x="962" y="928"/>
                    <a:pt x="962" y="928"/>
                    <a:pt x="962" y="928"/>
                  </a:cubicBezTo>
                  <a:cubicBezTo>
                    <a:pt x="962" y="927"/>
                    <a:pt x="962" y="927"/>
                    <a:pt x="962" y="927"/>
                  </a:cubicBezTo>
                  <a:close/>
                  <a:moveTo>
                    <a:pt x="946" y="878"/>
                  </a:moveTo>
                  <a:cubicBezTo>
                    <a:pt x="945" y="877"/>
                    <a:pt x="945" y="877"/>
                    <a:pt x="945" y="877"/>
                  </a:cubicBezTo>
                  <a:cubicBezTo>
                    <a:pt x="943" y="876"/>
                    <a:pt x="943" y="876"/>
                    <a:pt x="943" y="876"/>
                  </a:cubicBezTo>
                  <a:cubicBezTo>
                    <a:pt x="943" y="876"/>
                    <a:pt x="943" y="876"/>
                    <a:pt x="943" y="876"/>
                  </a:cubicBezTo>
                  <a:cubicBezTo>
                    <a:pt x="944" y="876"/>
                    <a:pt x="944" y="876"/>
                    <a:pt x="944" y="876"/>
                  </a:cubicBezTo>
                  <a:cubicBezTo>
                    <a:pt x="945" y="876"/>
                    <a:pt x="945" y="876"/>
                    <a:pt x="945" y="876"/>
                  </a:cubicBezTo>
                  <a:cubicBezTo>
                    <a:pt x="946" y="877"/>
                    <a:pt x="946" y="877"/>
                    <a:pt x="946" y="877"/>
                  </a:cubicBezTo>
                  <a:cubicBezTo>
                    <a:pt x="947" y="878"/>
                    <a:pt x="947" y="878"/>
                    <a:pt x="947" y="878"/>
                  </a:cubicBezTo>
                  <a:lnTo>
                    <a:pt x="946" y="878"/>
                  </a:lnTo>
                  <a:close/>
                  <a:moveTo>
                    <a:pt x="939" y="874"/>
                  </a:moveTo>
                  <a:cubicBezTo>
                    <a:pt x="938" y="874"/>
                    <a:pt x="938" y="874"/>
                    <a:pt x="938" y="874"/>
                  </a:cubicBezTo>
                  <a:cubicBezTo>
                    <a:pt x="938" y="874"/>
                    <a:pt x="938" y="874"/>
                    <a:pt x="938" y="874"/>
                  </a:cubicBezTo>
                  <a:cubicBezTo>
                    <a:pt x="937" y="873"/>
                    <a:pt x="937" y="873"/>
                    <a:pt x="937" y="873"/>
                  </a:cubicBezTo>
                  <a:cubicBezTo>
                    <a:pt x="937" y="873"/>
                    <a:pt x="937" y="873"/>
                    <a:pt x="937" y="873"/>
                  </a:cubicBezTo>
                  <a:cubicBezTo>
                    <a:pt x="934" y="872"/>
                    <a:pt x="934" y="872"/>
                    <a:pt x="934" y="872"/>
                  </a:cubicBezTo>
                  <a:cubicBezTo>
                    <a:pt x="934" y="872"/>
                    <a:pt x="934" y="872"/>
                    <a:pt x="934" y="872"/>
                  </a:cubicBezTo>
                  <a:cubicBezTo>
                    <a:pt x="934" y="870"/>
                    <a:pt x="934" y="870"/>
                    <a:pt x="934" y="870"/>
                  </a:cubicBezTo>
                  <a:cubicBezTo>
                    <a:pt x="933" y="869"/>
                    <a:pt x="933" y="869"/>
                    <a:pt x="933" y="869"/>
                  </a:cubicBezTo>
                  <a:cubicBezTo>
                    <a:pt x="932" y="867"/>
                    <a:pt x="932" y="867"/>
                    <a:pt x="932" y="867"/>
                  </a:cubicBezTo>
                  <a:cubicBezTo>
                    <a:pt x="931" y="866"/>
                    <a:pt x="931" y="866"/>
                    <a:pt x="931" y="866"/>
                  </a:cubicBezTo>
                  <a:cubicBezTo>
                    <a:pt x="930" y="865"/>
                    <a:pt x="930" y="865"/>
                    <a:pt x="930" y="865"/>
                  </a:cubicBezTo>
                  <a:cubicBezTo>
                    <a:pt x="929" y="865"/>
                    <a:pt x="929" y="865"/>
                    <a:pt x="929" y="865"/>
                  </a:cubicBezTo>
                  <a:cubicBezTo>
                    <a:pt x="929" y="864"/>
                    <a:pt x="929" y="864"/>
                    <a:pt x="929" y="864"/>
                  </a:cubicBezTo>
                  <a:cubicBezTo>
                    <a:pt x="929" y="864"/>
                    <a:pt x="929" y="864"/>
                    <a:pt x="929" y="864"/>
                  </a:cubicBezTo>
                  <a:cubicBezTo>
                    <a:pt x="930" y="865"/>
                    <a:pt x="930" y="865"/>
                    <a:pt x="930" y="865"/>
                  </a:cubicBezTo>
                  <a:cubicBezTo>
                    <a:pt x="931" y="866"/>
                    <a:pt x="931" y="866"/>
                    <a:pt x="931" y="866"/>
                  </a:cubicBezTo>
                  <a:cubicBezTo>
                    <a:pt x="932" y="866"/>
                    <a:pt x="932" y="866"/>
                    <a:pt x="932" y="866"/>
                  </a:cubicBezTo>
                  <a:cubicBezTo>
                    <a:pt x="934" y="867"/>
                    <a:pt x="934" y="867"/>
                    <a:pt x="934" y="867"/>
                  </a:cubicBezTo>
                  <a:cubicBezTo>
                    <a:pt x="935" y="869"/>
                    <a:pt x="935" y="869"/>
                    <a:pt x="935" y="869"/>
                  </a:cubicBezTo>
                  <a:cubicBezTo>
                    <a:pt x="935" y="870"/>
                    <a:pt x="935" y="870"/>
                    <a:pt x="935" y="870"/>
                  </a:cubicBezTo>
                  <a:cubicBezTo>
                    <a:pt x="935" y="872"/>
                    <a:pt x="935" y="872"/>
                    <a:pt x="935" y="872"/>
                  </a:cubicBezTo>
                  <a:cubicBezTo>
                    <a:pt x="936" y="873"/>
                    <a:pt x="936" y="873"/>
                    <a:pt x="936" y="873"/>
                  </a:cubicBezTo>
                  <a:cubicBezTo>
                    <a:pt x="938" y="873"/>
                    <a:pt x="938" y="873"/>
                    <a:pt x="938" y="873"/>
                  </a:cubicBezTo>
                  <a:cubicBezTo>
                    <a:pt x="939" y="873"/>
                    <a:pt x="939" y="873"/>
                    <a:pt x="939" y="873"/>
                  </a:cubicBezTo>
                  <a:cubicBezTo>
                    <a:pt x="939" y="874"/>
                    <a:pt x="939" y="874"/>
                    <a:pt x="939" y="874"/>
                  </a:cubicBezTo>
                  <a:close/>
                  <a:moveTo>
                    <a:pt x="926" y="865"/>
                  </a:moveTo>
                  <a:cubicBezTo>
                    <a:pt x="926" y="865"/>
                    <a:pt x="926" y="865"/>
                    <a:pt x="926" y="865"/>
                  </a:cubicBezTo>
                  <a:cubicBezTo>
                    <a:pt x="926" y="865"/>
                    <a:pt x="926" y="865"/>
                    <a:pt x="926" y="865"/>
                  </a:cubicBezTo>
                  <a:cubicBezTo>
                    <a:pt x="925" y="863"/>
                    <a:pt x="925" y="863"/>
                    <a:pt x="925" y="863"/>
                  </a:cubicBezTo>
                  <a:cubicBezTo>
                    <a:pt x="924" y="863"/>
                    <a:pt x="924" y="863"/>
                    <a:pt x="924" y="863"/>
                  </a:cubicBezTo>
                  <a:cubicBezTo>
                    <a:pt x="925" y="863"/>
                    <a:pt x="925" y="863"/>
                    <a:pt x="925" y="863"/>
                  </a:cubicBezTo>
                  <a:cubicBezTo>
                    <a:pt x="925" y="863"/>
                    <a:pt x="925" y="863"/>
                    <a:pt x="925" y="863"/>
                  </a:cubicBezTo>
                  <a:cubicBezTo>
                    <a:pt x="925" y="863"/>
                    <a:pt x="925" y="863"/>
                    <a:pt x="925" y="863"/>
                  </a:cubicBezTo>
                  <a:cubicBezTo>
                    <a:pt x="925" y="863"/>
                    <a:pt x="925" y="863"/>
                    <a:pt x="925" y="863"/>
                  </a:cubicBezTo>
                  <a:cubicBezTo>
                    <a:pt x="926" y="864"/>
                    <a:pt x="926" y="864"/>
                    <a:pt x="926" y="864"/>
                  </a:cubicBezTo>
                  <a:cubicBezTo>
                    <a:pt x="927" y="865"/>
                    <a:pt x="927" y="865"/>
                    <a:pt x="927" y="865"/>
                  </a:cubicBezTo>
                  <a:lnTo>
                    <a:pt x="926" y="865"/>
                  </a:lnTo>
                  <a:close/>
                  <a:moveTo>
                    <a:pt x="924" y="863"/>
                  </a:moveTo>
                  <a:cubicBezTo>
                    <a:pt x="923" y="863"/>
                    <a:pt x="923" y="863"/>
                    <a:pt x="923" y="863"/>
                  </a:cubicBezTo>
                  <a:cubicBezTo>
                    <a:pt x="923" y="863"/>
                    <a:pt x="923" y="863"/>
                    <a:pt x="923" y="863"/>
                  </a:cubicBezTo>
                  <a:cubicBezTo>
                    <a:pt x="923" y="863"/>
                    <a:pt x="923" y="863"/>
                    <a:pt x="923" y="863"/>
                  </a:cubicBezTo>
                  <a:cubicBezTo>
                    <a:pt x="922" y="862"/>
                    <a:pt x="922" y="862"/>
                    <a:pt x="922" y="862"/>
                  </a:cubicBezTo>
                  <a:cubicBezTo>
                    <a:pt x="922" y="862"/>
                    <a:pt x="922" y="862"/>
                    <a:pt x="922" y="862"/>
                  </a:cubicBezTo>
                  <a:cubicBezTo>
                    <a:pt x="923" y="862"/>
                    <a:pt x="923" y="862"/>
                    <a:pt x="923" y="862"/>
                  </a:cubicBezTo>
                  <a:cubicBezTo>
                    <a:pt x="923" y="862"/>
                    <a:pt x="923" y="862"/>
                    <a:pt x="923" y="862"/>
                  </a:cubicBezTo>
                  <a:cubicBezTo>
                    <a:pt x="924" y="862"/>
                    <a:pt x="924" y="862"/>
                    <a:pt x="924" y="862"/>
                  </a:cubicBezTo>
                  <a:cubicBezTo>
                    <a:pt x="924" y="863"/>
                    <a:pt x="924" y="863"/>
                    <a:pt x="924" y="863"/>
                  </a:cubicBezTo>
                  <a:close/>
                  <a:moveTo>
                    <a:pt x="868" y="921"/>
                  </a:moveTo>
                  <a:cubicBezTo>
                    <a:pt x="868" y="921"/>
                    <a:pt x="868" y="921"/>
                    <a:pt x="868" y="921"/>
                  </a:cubicBezTo>
                  <a:cubicBezTo>
                    <a:pt x="868" y="920"/>
                    <a:pt x="868" y="920"/>
                    <a:pt x="868" y="920"/>
                  </a:cubicBezTo>
                  <a:cubicBezTo>
                    <a:pt x="868" y="920"/>
                    <a:pt x="868" y="920"/>
                    <a:pt x="868" y="920"/>
                  </a:cubicBezTo>
                  <a:cubicBezTo>
                    <a:pt x="869" y="920"/>
                    <a:pt x="869" y="920"/>
                    <a:pt x="869" y="920"/>
                  </a:cubicBezTo>
                  <a:cubicBezTo>
                    <a:pt x="870" y="921"/>
                    <a:pt x="870" y="921"/>
                    <a:pt x="870" y="921"/>
                  </a:cubicBezTo>
                  <a:cubicBezTo>
                    <a:pt x="871" y="921"/>
                    <a:pt x="871" y="921"/>
                    <a:pt x="871" y="921"/>
                  </a:cubicBezTo>
                  <a:cubicBezTo>
                    <a:pt x="872" y="921"/>
                    <a:pt x="872" y="921"/>
                    <a:pt x="872" y="921"/>
                  </a:cubicBezTo>
                  <a:cubicBezTo>
                    <a:pt x="873" y="920"/>
                    <a:pt x="873" y="920"/>
                    <a:pt x="873" y="920"/>
                  </a:cubicBezTo>
                  <a:cubicBezTo>
                    <a:pt x="874" y="920"/>
                    <a:pt x="874" y="920"/>
                    <a:pt x="874" y="920"/>
                  </a:cubicBezTo>
                  <a:cubicBezTo>
                    <a:pt x="875" y="919"/>
                    <a:pt x="875" y="919"/>
                    <a:pt x="875" y="919"/>
                  </a:cubicBezTo>
                  <a:cubicBezTo>
                    <a:pt x="875" y="919"/>
                    <a:pt x="875" y="919"/>
                    <a:pt x="875" y="919"/>
                  </a:cubicBezTo>
                  <a:cubicBezTo>
                    <a:pt x="876" y="918"/>
                    <a:pt x="876" y="918"/>
                    <a:pt x="876" y="918"/>
                  </a:cubicBezTo>
                  <a:cubicBezTo>
                    <a:pt x="877" y="918"/>
                    <a:pt x="877" y="918"/>
                    <a:pt x="877" y="918"/>
                  </a:cubicBezTo>
                  <a:cubicBezTo>
                    <a:pt x="877" y="918"/>
                    <a:pt x="877" y="918"/>
                    <a:pt x="877" y="918"/>
                  </a:cubicBezTo>
                  <a:cubicBezTo>
                    <a:pt x="877" y="917"/>
                    <a:pt x="877" y="917"/>
                    <a:pt x="877" y="917"/>
                  </a:cubicBezTo>
                  <a:cubicBezTo>
                    <a:pt x="877" y="917"/>
                    <a:pt x="877" y="917"/>
                    <a:pt x="877" y="917"/>
                  </a:cubicBezTo>
                  <a:cubicBezTo>
                    <a:pt x="877" y="916"/>
                    <a:pt x="877" y="916"/>
                    <a:pt x="877" y="916"/>
                  </a:cubicBezTo>
                  <a:cubicBezTo>
                    <a:pt x="878" y="916"/>
                    <a:pt x="878" y="916"/>
                    <a:pt x="878" y="916"/>
                  </a:cubicBezTo>
                  <a:cubicBezTo>
                    <a:pt x="878" y="916"/>
                    <a:pt x="878" y="916"/>
                    <a:pt x="878" y="916"/>
                  </a:cubicBezTo>
                  <a:cubicBezTo>
                    <a:pt x="878" y="916"/>
                    <a:pt x="878" y="916"/>
                    <a:pt x="878" y="916"/>
                  </a:cubicBezTo>
                  <a:cubicBezTo>
                    <a:pt x="879" y="916"/>
                    <a:pt x="879" y="916"/>
                    <a:pt x="879" y="916"/>
                  </a:cubicBezTo>
                  <a:cubicBezTo>
                    <a:pt x="879" y="916"/>
                    <a:pt x="879" y="916"/>
                    <a:pt x="879" y="916"/>
                  </a:cubicBezTo>
                  <a:cubicBezTo>
                    <a:pt x="880" y="915"/>
                    <a:pt x="880" y="915"/>
                    <a:pt x="880" y="915"/>
                  </a:cubicBezTo>
                  <a:cubicBezTo>
                    <a:pt x="881" y="915"/>
                    <a:pt x="881" y="915"/>
                    <a:pt x="881" y="915"/>
                  </a:cubicBezTo>
                  <a:cubicBezTo>
                    <a:pt x="881" y="915"/>
                    <a:pt x="881" y="915"/>
                    <a:pt x="881" y="915"/>
                  </a:cubicBezTo>
                  <a:cubicBezTo>
                    <a:pt x="882" y="916"/>
                    <a:pt x="882" y="916"/>
                    <a:pt x="882" y="916"/>
                  </a:cubicBezTo>
                  <a:cubicBezTo>
                    <a:pt x="882" y="916"/>
                    <a:pt x="882" y="916"/>
                    <a:pt x="882" y="916"/>
                  </a:cubicBezTo>
                  <a:cubicBezTo>
                    <a:pt x="883" y="915"/>
                    <a:pt x="883" y="915"/>
                    <a:pt x="883" y="915"/>
                  </a:cubicBezTo>
                  <a:cubicBezTo>
                    <a:pt x="883" y="914"/>
                    <a:pt x="883" y="914"/>
                    <a:pt x="883" y="914"/>
                  </a:cubicBezTo>
                  <a:cubicBezTo>
                    <a:pt x="884" y="913"/>
                    <a:pt x="884" y="913"/>
                    <a:pt x="884" y="913"/>
                  </a:cubicBezTo>
                  <a:cubicBezTo>
                    <a:pt x="885" y="912"/>
                    <a:pt x="885" y="912"/>
                    <a:pt x="885" y="912"/>
                  </a:cubicBezTo>
                  <a:cubicBezTo>
                    <a:pt x="886" y="908"/>
                    <a:pt x="886" y="908"/>
                    <a:pt x="886" y="908"/>
                  </a:cubicBezTo>
                  <a:cubicBezTo>
                    <a:pt x="886" y="908"/>
                    <a:pt x="886" y="908"/>
                    <a:pt x="886" y="908"/>
                  </a:cubicBezTo>
                  <a:cubicBezTo>
                    <a:pt x="887" y="907"/>
                    <a:pt x="887" y="907"/>
                    <a:pt x="887" y="907"/>
                  </a:cubicBezTo>
                  <a:cubicBezTo>
                    <a:pt x="888" y="906"/>
                    <a:pt x="888" y="906"/>
                    <a:pt x="888" y="906"/>
                  </a:cubicBezTo>
                  <a:cubicBezTo>
                    <a:pt x="888" y="906"/>
                    <a:pt x="888" y="906"/>
                    <a:pt x="888" y="906"/>
                  </a:cubicBezTo>
                  <a:cubicBezTo>
                    <a:pt x="888" y="905"/>
                    <a:pt x="888" y="905"/>
                    <a:pt x="888" y="905"/>
                  </a:cubicBezTo>
                  <a:cubicBezTo>
                    <a:pt x="888" y="905"/>
                    <a:pt x="888" y="905"/>
                    <a:pt x="888" y="905"/>
                  </a:cubicBezTo>
                  <a:cubicBezTo>
                    <a:pt x="888" y="905"/>
                    <a:pt x="888" y="905"/>
                    <a:pt x="888" y="905"/>
                  </a:cubicBezTo>
                  <a:cubicBezTo>
                    <a:pt x="888" y="905"/>
                    <a:pt x="888" y="905"/>
                    <a:pt x="888" y="905"/>
                  </a:cubicBezTo>
                  <a:cubicBezTo>
                    <a:pt x="888" y="905"/>
                    <a:pt x="888" y="905"/>
                    <a:pt x="888" y="905"/>
                  </a:cubicBezTo>
                  <a:cubicBezTo>
                    <a:pt x="888" y="904"/>
                    <a:pt x="888" y="904"/>
                    <a:pt x="888" y="904"/>
                  </a:cubicBezTo>
                  <a:cubicBezTo>
                    <a:pt x="888" y="903"/>
                    <a:pt x="888" y="903"/>
                    <a:pt x="888" y="903"/>
                  </a:cubicBezTo>
                  <a:cubicBezTo>
                    <a:pt x="888" y="903"/>
                    <a:pt x="888" y="903"/>
                    <a:pt x="888" y="903"/>
                  </a:cubicBezTo>
                  <a:cubicBezTo>
                    <a:pt x="889" y="903"/>
                    <a:pt x="889" y="903"/>
                    <a:pt x="889" y="903"/>
                  </a:cubicBezTo>
                  <a:cubicBezTo>
                    <a:pt x="891" y="903"/>
                    <a:pt x="891" y="903"/>
                    <a:pt x="891" y="903"/>
                  </a:cubicBezTo>
                  <a:cubicBezTo>
                    <a:pt x="897" y="901"/>
                    <a:pt x="897" y="901"/>
                    <a:pt x="897" y="901"/>
                  </a:cubicBezTo>
                  <a:cubicBezTo>
                    <a:pt x="898" y="901"/>
                    <a:pt x="898" y="901"/>
                    <a:pt x="898" y="901"/>
                  </a:cubicBezTo>
                  <a:cubicBezTo>
                    <a:pt x="898" y="901"/>
                    <a:pt x="898" y="901"/>
                    <a:pt x="898" y="901"/>
                  </a:cubicBezTo>
                  <a:cubicBezTo>
                    <a:pt x="899" y="902"/>
                    <a:pt x="899" y="902"/>
                    <a:pt x="899" y="902"/>
                  </a:cubicBezTo>
                  <a:cubicBezTo>
                    <a:pt x="899" y="902"/>
                    <a:pt x="899" y="902"/>
                    <a:pt x="899" y="902"/>
                  </a:cubicBezTo>
                  <a:cubicBezTo>
                    <a:pt x="900" y="903"/>
                    <a:pt x="900" y="903"/>
                    <a:pt x="900" y="903"/>
                  </a:cubicBezTo>
                  <a:cubicBezTo>
                    <a:pt x="902" y="903"/>
                    <a:pt x="902" y="903"/>
                    <a:pt x="902" y="903"/>
                  </a:cubicBezTo>
                  <a:cubicBezTo>
                    <a:pt x="903" y="904"/>
                    <a:pt x="903" y="904"/>
                    <a:pt x="903" y="904"/>
                  </a:cubicBezTo>
                  <a:cubicBezTo>
                    <a:pt x="904" y="903"/>
                    <a:pt x="904" y="903"/>
                    <a:pt x="904" y="903"/>
                  </a:cubicBezTo>
                  <a:cubicBezTo>
                    <a:pt x="905" y="904"/>
                    <a:pt x="905" y="904"/>
                    <a:pt x="905" y="904"/>
                  </a:cubicBezTo>
                  <a:cubicBezTo>
                    <a:pt x="905" y="904"/>
                    <a:pt x="905" y="904"/>
                    <a:pt x="905" y="904"/>
                  </a:cubicBezTo>
                  <a:cubicBezTo>
                    <a:pt x="906" y="905"/>
                    <a:pt x="906" y="905"/>
                    <a:pt x="906" y="905"/>
                  </a:cubicBezTo>
                  <a:cubicBezTo>
                    <a:pt x="907" y="905"/>
                    <a:pt x="907" y="905"/>
                    <a:pt x="907" y="905"/>
                  </a:cubicBezTo>
                  <a:cubicBezTo>
                    <a:pt x="909" y="904"/>
                    <a:pt x="909" y="904"/>
                    <a:pt x="909" y="904"/>
                  </a:cubicBezTo>
                  <a:cubicBezTo>
                    <a:pt x="910" y="903"/>
                    <a:pt x="910" y="903"/>
                    <a:pt x="910" y="903"/>
                  </a:cubicBezTo>
                  <a:cubicBezTo>
                    <a:pt x="911" y="904"/>
                    <a:pt x="911" y="904"/>
                    <a:pt x="911" y="904"/>
                  </a:cubicBezTo>
                  <a:cubicBezTo>
                    <a:pt x="911" y="904"/>
                    <a:pt x="911" y="904"/>
                    <a:pt x="911" y="904"/>
                  </a:cubicBezTo>
                  <a:cubicBezTo>
                    <a:pt x="911" y="904"/>
                    <a:pt x="911" y="904"/>
                    <a:pt x="911" y="904"/>
                  </a:cubicBezTo>
                  <a:cubicBezTo>
                    <a:pt x="912" y="904"/>
                    <a:pt x="912" y="904"/>
                    <a:pt x="912" y="904"/>
                  </a:cubicBezTo>
                  <a:cubicBezTo>
                    <a:pt x="912" y="903"/>
                    <a:pt x="912" y="903"/>
                    <a:pt x="912" y="903"/>
                  </a:cubicBezTo>
                  <a:cubicBezTo>
                    <a:pt x="912" y="903"/>
                    <a:pt x="912" y="903"/>
                    <a:pt x="912" y="903"/>
                  </a:cubicBezTo>
                  <a:cubicBezTo>
                    <a:pt x="913" y="903"/>
                    <a:pt x="913" y="903"/>
                    <a:pt x="913" y="903"/>
                  </a:cubicBezTo>
                  <a:cubicBezTo>
                    <a:pt x="913" y="902"/>
                    <a:pt x="913" y="902"/>
                    <a:pt x="913" y="902"/>
                  </a:cubicBezTo>
                  <a:cubicBezTo>
                    <a:pt x="914" y="902"/>
                    <a:pt x="914" y="902"/>
                    <a:pt x="914" y="902"/>
                  </a:cubicBezTo>
                  <a:cubicBezTo>
                    <a:pt x="915" y="902"/>
                    <a:pt x="915" y="902"/>
                    <a:pt x="915" y="902"/>
                  </a:cubicBezTo>
                  <a:cubicBezTo>
                    <a:pt x="916" y="902"/>
                    <a:pt x="916" y="902"/>
                    <a:pt x="916" y="902"/>
                  </a:cubicBezTo>
                  <a:cubicBezTo>
                    <a:pt x="917" y="902"/>
                    <a:pt x="917" y="902"/>
                    <a:pt x="917" y="902"/>
                  </a:cubicBezTo>
                  <a:cubicBezTo>
                    <a:pt x="918" y="902"/>
                    <a:pt x="918" y="902"/>
                    <a:pt x="918" y="902"/>
                  </a:cubicBezTo>
                  <a:cubicBezTo>
                    <a:pt x="918" y="903"/>
                    <a:pt x="918" y="903"/>
                    <a:pt x="918" y="903"/>
                  </a:cubicBezTo>
                  <a:cubicBezTo>
                    <a:pt x="918" y="903"/>
                    <a:pt x="918" y="903"/>
                    <a:pt x="918" y="903"/>
                  </a:cubicBezTo>
                  <a:cubicBezTo>
                    <a:pt x="919" y="903"/>
                    <a:pt x="919" y="903"/>
                    <a:pt x="919" y="903"/>
                  </a:cubicBezTo>
                  <a:cubicBezTo>
                    <a:pt x="919" y="904"/>
                    <a:pt x="919" y="904"/>
                    <a:pt x="919" y="904"/>
                  </a:cubicBezTo>
                  <a:cubicBezTo>
                    <a:pt x="919" y="904"/>
                    <a:pt x="919" y="904"/>
                    <a:pt x="919" y="904"/>
                  </a:cubicBezTo>
                  <a:cubicBezTo>
                    <a:pt x="919" y="904"/>
                    <a:pt x="919" y="904"/>
                    <a:pt x="919" y="904"/>
                  </a:cubicBezTo>
                  <a:cubicBezTo>
                    <a:pt x="918" y="904"/>
                    <a:pt x="918" y="904"/>
                    <a:pt x="918" y="904"/>
                  </a:cubicBezTo>
                  <a:cubicBezTo>
                    <a:pt x="917" y="903"/>
                    <a:pt x="917" y="903"/>
                    <a:pt x="917" y="903"/>
                  </a:cubicBezTo>
                  <a:cubicBezTo>
                    <a:pt x="917" y="903"/>
                    <a:pt x="917" y="903"/>
                    <a:pt x="917" y="903"/>
                  </a:cubicBezTo>
                  <a:cubicBezTo>
                    <a:pt x="915" y="904"/>
                    <a:pt x="915" y="904"/>
                    <a:pt x="915" y="904"/>
                  </a:cubicBezTo>
                  <a:cubicBezTo>
                    <a:pt x="914" y="904"/>
                    <a:pt x="914" y="904"/>
                    <a:pt x="914" y="904"/>
                  </a:cubicBezTo>
                  <a:cubicBezTo>
                    <a:pt x="914" y="904"/>
                    <a:pt x="914" y="904"/>
                    <a:pt x="914" y="904"/>
                  </a:cubicBezTo>
                  <a:cubicBezTo>
                    <a:pt x="913" y="904"/>
                    <a:pt x="913" y="904"/>
                    <a:pt x="913" y="904"/>
                  </a:cubicBezTo>
                  <a:cubicBezTo>
                    <a:pt x="913" y="905"/>
                    <a:pt x="913" y="905"/>
                    <a:pt x="913" y="905"/>
                  </a:cubicBezTo>
                  <a:cubicBezTo>
                    <a:pt x="913" y="905"/>
                    <a:pt x="913" y="905"/>
                    <a:pt x="913" y="905"/>
                  </a:cubicBezTo>
                  <a:cubicBezTo>
                    <a:pt x="913" y="906"/>
                    <a:pt x="913" y="906"/>
                    <a:pt x="913" y="906"/>
                  </a:cubicBezTo>
                  <a:cubicBezTo>
                    <a:pt x="912" y="906"/>
                    <a:pt x="912" y="906"/>
                    <a:pt x="912" y="906"/>
                  </a:cubicBezTo>
                  <a:cubicBezTo>
                    <a:pt x="912" y="906"/>
                    <a:pt x="912" y="906"/>
                    <a:pt x="912" y="906"/>
                  </a:cubicBezTo>
                  <a:cubicBezTo>
                    <a:pt x="911" y="905"/>
                    <a:pt x="911" y="905"/>
                    <a:pt x="911" y="905"/>
                  </a:cubicBezTo>
                  <a:cubicBezTo>
                    <a:pt x="911" y="905"/>
                    <a:pt x="911" y="905"/>
                    <a:pt x="911" y="905"/>
                  </a:cubicBezTo>
                  <a:cubicBezTo>
                    <a:pt x="910" y="905"/>
                    <a:pt x="910" y="905"/>
                    <a:pt x="910" y="905"/>
                  </a:cubicBezTo>
                  <a:cubicBezTo>
                    <a:pt x="908" y="906"/>
                    <a:pt x="908" y="906"/>
                    <a:pt x="908" y="906"/>
                  </a:cubicBezTo>
                  <a:cubicBezTo>
                    <a:pt x="907" y="906"/>
                    <a:pt x="907" y="906"/>
                    <a:pt x="907" y="906"/>
                  </a:cubicBezTo>
                  <a:cubicBezTo>
                    <a:pt x="906" y="906"/>
                    <a:pt x="906" y="906"/>
                    <a:pt x="906" y="906"/>
                  </a:cubicBezTo>
                  <a:cubicBezTo>
                    <a:pt x="906" y="905"/>
                    <a:pt x="906" y="905"/>
                    <a:pt x="906" y="905"/>
                  </a:cubicBezTo>
                  <a:cubicBezTo>
                    <a:pt x="905" y="905"/>
                    <a:pt x="905" y="905"/>
                    <a:pt x="905" y="905"/>
                  </a:cubicBezTo>
                  <a:cubicBezTo>
                    <a:pt x="904" y="905"/>
                    <a:pt x="904" y="905"/>
                    <a:pt x="904" y="905"/>
                  </a:cubicBezTo>
                  <a:cubicBezTo>
                    <a:pt x="903" y="905"/>
                    <a:pt x="903" y="905"/>
                    <a:pt x="903" y="905"/>
                  </a:cubicBezTo>
                  <a:cubicBezTo>
                    <a:pt x="901" y="904"/>
                    <a:pt x="901" y="904"/>
                    <a:pt x="901" y="904"/>
                  </a:cubicBezTo>
                  <a:cubicBezTo>
                    <a:pt x="900" y="904"/>
                    <a:pt x="900" y="904"/>
                    <a:pt x="900" y="904"/>
                  </a:cubicBezTo>
                  <a:cubicBezTo>
                    <a:pt x="900" y="904"/>
                    <a:pt x="900" y="904"/>
                    <a:pt x="900" y="904"/>
                  </a:cubicBezTo>
                  <a:cubicBezTo>
                    <a:pt x="899" y="903"/>
                    <a:pt x="899" y="903"/>
                    <a:pt x="899" y="903"/>
                  </a:cubicBezTo>
                  <a:cubicBezTo>
                    <a:pt x="898" y="903"/>
                    <a:pt x="898" y="903"/>
                    <a:pt x="898" y="903"/>
                  </a:cubicBezTo>
                  <a:cubicBezTo>
                    <a:pt x="898" y="903"/>
                    <a:pt x="898" y="903"/>
                    <a:pt x="898" y="903"/>
                  </a:cubicBezTo>
                  <a:cubicBezTo>
                    <a:pt x="892" y="904"/>
                    <a:pt x="892" y="904"/>
                    <a:pt x="892" y="904"/>
                  </a:cubicBezTo>
                  <a:cubicBezTo>
                    <a:pt x="890" y="905"/>
                    <a:pt x="890" y="905"/>
                    <a:pt x="890" y="905"/>
                  </a:cubicBezTo>
                  <a:cubicBezTo>
                    <a:pt x="889" y="905"/>
                    <a:pt x="889" y="905"/>
                    <a:pt x="889" y="905"/>
                  </a:cubicBezTo>
                  <a:cubicBezTo>
                    <a:pt x="889" y="905"/>
                    <a:pt x="889" y="905"/>
                    <a:pt x="889" y="905"/>
                  </a:cubicBezTo>
                  <a:cubicBezTo>
                    <a:pt x="889" y="906"/>
                    <a:pt x="889" y="906"/>
                    <a:pt x="889" y="906"/>
                  </a:cubicBezTo>
                  <a:cubicBezTo>
                    <a:pt x="889" y="906"/>
                    <a:pt x="889" y="906"/>
                    <a:pt x="889" y="906"/>
                  </a:cubicBezTo>
                  <a:cubicBezTo>
                    <a:pt x="889" y="906"/>
                    <a:pt x="889" y="906"/>
                    <a:pt x="889" y="906"/>
                  </a:cubicBezTo>
                  <a:cubicBezTo>
                    <a:pt x="889" y="907"/>
                    <a:pt x="889" y="907"/>
                    <a:pt x="889" y="907"/>
                  </a:cubicBezTo>
                  <a:cubicBezTo>
                    <a:pt x="889" y="907"/>
                    <a:pt x="889" y="907"/>
                    <a:pt x="889" y="907"/>
                  </a:cubicBezTo>
                  <a:cubicBezTo>
                    <a:pt x="889" y="907"/>
                    <a:pt x="889" y="907"/>
                    <a:pt x="889" y="907"/>
                  </a:cubicBezTo>
                  <a:cubicBezTo>
                    <a:pt x="889" y="908"/>
                    <a:pt x="889" y="908"/>
                    <a:pt x="889" y="908"/>
                  </a:cubicBezTo>
                  <a:cubicBezTo>
                    <a:pt x="888" y="908"/>
                    <a:pt x="888" y="908"/>
                    <a:pt x="888" y="908"/>
                  </a:cubicBezTo>
                  <a:cubicBezTo>
                    <a:pt x="888" y="909"/>
                    <a:pt x="888" y="909"/>
                    <a:pt x="888" y="909"/>
                  </a:cubicBezTo>
                  <a:cubicBezTo>
                    <a:pt x="887" y="909"/>
                    <a:pt x="887" y="909"/>
                    <a:pt x="887" y="909"/>
                  </a:cubicBezTo>
                  <a:cubicBezTo>
                    <a:pt x="887" y="910"/>
                    <a:pt x="887" y="910"/>
                    <a:pt x="887" y="910"/>
                  </a:cubicBezTo>
                  <a:cubicBezTo>
                    <a:pt x="886" y="913"/>
                    <a:pt x="886" y="913"/>
                    <a:pt x="886" y="913"/>
                  </a:cubicBezTo>
                  <a:cubicBezTo>
                    <a:pt x="885" y="915"/>
                    <a:pt x="885" y="915"/>
                    <a:pt x="885" y="915"/>
                  </a:cubicBezTo>
                  <a:cubicBezTo>
                    <a:pt x="884" y="916"/>
                    <a:pt x="884" y="916"/>
                    <a:pt x="884" y="916"/>
                  </a:cubicBezTo>
                  <a:cubicBezTo>
                    <a:pt x="883" y="917"/>
                    <a:pt x="883" y="917"/>
                    <a:pt x="883" y="917"/>
                  </a:cubicBezTo>
                  <a:cubicBezTo>
                    <a:pt x="883" y="917"/>
                    <a:pt x="883" y="917"/>
                    <a:pt x="883" y="917"/>
                  </a:cubicBezTo>
                  <a:cubicBezTo>
                    <a:pt x="883" y="917"/>
                    <a:pt x="883" y="917"/>
                    <a:pt x="883" y="917"/>
                  </a:cubicBezTo>
                  <a:cubicBezTo>
                    <a:pt x="882" y="917"/>
                    <a:pt x="882" y="917"/>
                    <a:pt x="882" y="917"/>
                  </a:cubicBezTo>
                  <a:cubicBezTo>
                    <a:pt x="882" y="916"/>
                    <a:pt x="882" y="916"/>
                    <a:pt x="882" y="916"/>
                  </a:cubicBezTo>
                  <a:cubicBezTo>
                    <a:pt x="881" y="916"/>
                    <a:pt x="881" y="916"/>
                    <a:pt x="881" y="916"/>
                  </a:cubicBezTo>
                  <a:cubicBezTo>
                    <a:pt x="880" y="917"/>
                    <a:pt x="880" y="917"/>
                    <a:pt x="880" y="917"/>
                  </a:cubicBezTo>
                  <a:cubicBezTo>
                    <a:pt x="880" y="918"/>
                    <a:pt x="880" y="918"/>
                    <a:pt x="880" y="918"/>
                  </a:cubicBezTo>
                  <a:cubicBezTo>
                    <a:pt x="879" y="917"/>
                    <a:pt x="879" y="917"/>
                    <a:pt x="879" y="917"/>
                  </a:cubicBezTo>
                  <a:cubicBezTo>
                    <a:pt x="879" y="917"/>
                    <a:pt x="879" y="917"/>
                    <a:pt x="879" y="917"/>
                  </a:cubicBezTo>
                  <a:cubicBezTo>
                    <a:pt x="879" y="917"/>
                    <a:pt x="879" y="917"/>
                    <a:pt x="879" y="917"/>
                  </a:cubicBezTo>
                  <a:cubicBezTo>
                    <a:pt x="878" y="918"/>
                    <a:pt x="878" y="918"/>
                    <a:pt x="878" y="918"/>
                  </a:cubicBezTo>
                  <a:cubicBezTo>
                    <a:pt x="878" y="918"/>
                    <a:pt x="878" y="918"/>
                    <a:pt x="878" y="918"/>
                  </a:cubicBezTo>
                  <a:cubicBezTo>
                    <a:pt x="878" y="919"/>
                    <a:pt x="878" y="919"/>
                    <a:pt x="878" y="919"/>
                  </a:cubicBezTo>
                  <a:cubicBezTo>
                    <a:pt x="878" y="919"/>
                    <a:pt x="878" y="919"/>
                    <a:pt x="878" y="919"/>
                  </a:cubicBezTo>
                  <a:cubicBezTo>
                    <a:pt x="878" y="919"/>
                    <a:pt x="878" y="919"/>
                    <a:pt x="878" y="919"/>
                  </a:cubicBezTo>
                  <a:cubicBezTo>
                    <a:pt x="877" y="920"/>
                    <a:pt x="877" y="920"/>
                    <a:pt x="877" y="920"/>
                  </a:cubicBezTo>
                  <a:cubicBezTo>
                    <a:pt x="876" y="920"/>
                    <a:pt x="876" y="920"/>
                    <a:pt x="876" y="920"/>
                  </a:cubicBezTo>
                  <a:cubicBezTo>
                    <a:pt x="876" y="921"/>
                    <a:pt x="876" y="921"/>
                    <a:pt x="876" y="921"/>
                  </a:cubicBezTo>
                  <a:cubicBezTo>
                    <a:pt x="875" y="921"/>
                    <a:pt x="875" y="921"/>
                    <a:pt x="875" y="921"/>
                  </a:cubicBezTo>
                  <a:cubicBezTo>
                    <a:pt x="874" y="921"/>
                    <a:pt x="874" y="921"/>
                    <a:pt x="874" y="921"/>
                  </a:cubicBezTo>
                  <a:cubicBezTo>
                    <a:pt x="873" y="923"/>
                    <a:pt x="873" y="923"/>
                    <a:pt x="873" y="923"/>
                  </a:cubicBezTo>
                  <a:cubicBezTo>
                    <a:pt x="872" y="923"/>
                    <a:pt x="872" y="923"/>
                    <a:pt x="872" y="923"/>
                  </a:cubicBezTo>
                  <a:cubicBezTo>
                    <a:pt x="871" y="923"/>
                    <a:pt x="871" y="923"/>
                    <a:pt x="871" y="923"/>
                  </a:cubicBezTo>
                  <a:cubicBezTo>
                    <a:pt x="870" y="921"/>
                    <a:pt x="870" y="921"/>
                    <a:pt x="870" y="921"/>
                  </a:cubicBezTo>
                  <a:cubicBezTo>
                    <a:pt x="869" y="921"/>
                    <a:pt x="869" y="921"/>
                    <a:pt x="869" y="921"/>
                  </a:cubicBezTo>
                  <a:cubicBezTo>
                    <a:pt x="868" y="922"/>
                    <a:pt x="868" y="922"/>
                    <a:pt x="868" y="922"/>
                  </a:cubicBezTo>
                  <a:cubicBezTo>
                    <a:pt x="868" y="922"/>
                    <a:pt x="868" y="922"/>
                    <a:pt x="868" y="922"/>
                  </a:cubicBezTo>
                  <a:cubicBezTo>
                    <a:pt x="868" y="921"/>
                    <a:pt x="868" y="921"/>
                    <a:pt x="868" y="921"/>
                  </a:cubicBezTo>
                  <a:close/>
                  <a:moveTo>
                    <a:pt x="872" y="871"/>
                  </a:moveTo>
                  <a:cubicBezTo>
                    <a:pt x="873" y="871"/>
                    <a:pt x="873" y="871"/>
                    <a:pt x="873" y="871"/>
                  </a:cubicBezTo>
                  <a:cubicBezTo>
                    <a:pt x="874" y="872"/>
                    <a:pt x="874" y="872"/>
                    <a:pt x="874" y="872"/>
                  </a:cubicBezTo>
                  <a:cubicBezTo>
                    <a:pt x="875" y="873"/>
                    <a:pt x="875" y="873"/>
                    <a:pt x="875" y="873"/>
                  </a:cubicBezTo>
                  <a:cubicBezTo>
                    <a:pt x="876" y="873"/>
                    <a:pt x="876" y="873"/>
                    <a:pt x="876" y="873"/>
                  </a:cubicBezTo>
                  <a:cubicBezTo>
                    <a:pt x="875" y="874"/>
                    <a:pt x="875" y="874"/>
                    <a:pt x="875" y="874"/>
                  </a:cubicBezTo>
                  <a:cubicBezTo>
                    <a:pt x="874" y="873"/>
                    <a:pt x="874" y="873"/>
                    <a:pt x="874" y="873"/>
                  </a:cubicBezTo>
                  <a:cubicBezTo>
                    <a:pt x="873" y="871"/>
                    <a:pt x="873" y="871"/>
                    <a:pt x="873" y="871"/>
                  </a:cubicBezTo>
                  <a:lnTo>
                    <a:pt x="872" y="871"/>
                  </a:lnTo>
                  <a:close/>
                  <a:moveTo>
                    <a:pt x="884" y="864"/>
                  </a:moveTo>
                  <a:cubicBezTo>
                    <a:pt x="885" y="864"/>
                    <a:pt x="885" y="864"/>
                    <a:pt x="885" y="864"/>
                  </a:cubicBezTo>
                  <a:cubicBezTo>
                    <a:pt x="885" y="864"/>
                    <a:pt x="885" y="864"/>
                    <a:pt x="885" y="864"/>
                  </a:cubicBezTo>
                  <a:cubicBezTo>
                    <a:pt x="885" y="864"/>
                    <a:pt x="885" y="864"/>
                    <a:pt x="885" y="864"/>
                  </a:cubicBezTo>
                  <a:lnTo>
                    <a:pt x="884" y="864"/>
                  </a:lnTo>
                  <a:close/>
                  <a:moveTo>
                    <a:pt x="887" y="863"/>
                  </a:moveTo>
                  <a:cubicBezTo>
                    <a:pt x="888" y="863"/>
                    <a:pt x="888" y="863"/>
                    <a:pt x="888" y="863"/>
                  </a:cubicBezTo>
                  <a:cubicBezTo>
                    <a:pt x="890" y="864"/>
                    <a:pt x="890" y="864"/>
                    <a:pt x="890" y="864"/>
                  </a:cubicBezTo>
                  <a:cubicBezTo>
                    <a:pt x="890" y="864"/>
                    <a:pt x="890" y="864"/>
                    <a:pt x="890" y="864"/>
                  </a:cubicBezTo>
                  <a:cubicBezTo>
                    <a:pt x="889" y="864"/>
                    <a:pt x="889" y="864"/>
                    <a:pt x="889" y="864"/>
                  </a:cubicBezTo>
                  <a:lnTo>
                    <a:pt x="887" y="863"/>
                  </a:lnTo>
                  <a:close/>
                  <a:moveTo>
                    <a:pt x="895" y="863"/>
                  </a:moveTo>
                  <a:cubicBezTo>
                    <a:pt x="895" y="863"/>
                    <a:pt x="895" y="863"/>
                    <a:pt x="895" y="863"/>
                  </a:cubicBezTo>
                  <a:cubicBezTo>
                    <a:pt x="895" y="863"/>
                    <a:pt x="895" y="863"/>
                    <a:pt x="895" y="863"/>
                  </a:cubicBezTo>
                  <a:cubicBezTo>
                    <a:pt x="898" y="866"/>
                    <a:pt x="898" y="866"/>
                    <a:pt x="898" y="866"/>
                  </a:cubicBezTo>
                  <a:cubicBezTo>
                    <a:pt x="898" y="867"/>
                    <a:pt x="898" y="867"/>
                    <a:pt x="898" y="867"/>
                  </a:cubicBezTo>
                  <a:cubicBezTo>
                    <a:pt x="898" y="867"/>
                    <a:pt x="898" y="867"/>
                    <a:pt x="898" y="867"/>
                  </a:cubicBezTo>
                  <a:cubicBezTo>
                    <a:pt x="897" y="866"/>
                    <a:pt x="897" y="866"/>
                    <a:pt x="897" y="866"/>
                  </a:cubicBezTo>
                  <a:cubicBezTo>
                    <a:pt x="897" y="866"/>
                    <a:pt x="897" y="866"/>
                    <a:pt x="897" y="866"/>
                  </a:cubicBezTo>
                  <a:lnTo>
                    <a:pt x="895" y="863"/>
                  </a:lnTo>
                  <a:close/>
                  <a:moveTo>
                    <a:pt x="899" y="867"/>
                  </a:moveTo>
                  <a:cubicBezTo>
                    <a:pt x="900" y="867"/>
                    <a:pt x="900" y="867"/>
                    <a:pt x="900" y="867"/>
                  </a:cubicBezTo>
                  <a:cubicBezTo>
                    <a:pt x="900" y="867"/>
                    <a:pt x="900" y="867"/>
                    <a:pt x="900" y="867"/>
                  </a:cubicBezTo>
                  <a:cubicBezTo>
                    <a:pt x="901" y="867"/>
                    <a:pt x="901" y="867"/>
                    <a:pt x="901" y="867"/>
                  </a:cubicBezTo>
                  <a:cubicBezTo>
                    <a:pt x="901" y="868"/>
                    <a:pt x="901" y="868"/>
                    <a:pt x="901" y="868"/>
                  </a:cubicBezTo>
                  <a:cubicBezTo>
                    <a:pt x="901" y="868"/>
                    <a:pt x="901" y="868"/>
                    <a:pt x="901" y="868"/>
                  </a:cubicBezTo>
                  <a:cubicBezTo>
                    <a:pt x="901" y="868"/>
                    <a:pt x="901" y="868"/>
                    <a:pt x="901" y="868"/>
                  </a:cubicBezTo>
                  <a:cubicBezTo>
                    <a:pt x="901" y="868"/>
                    <a:pt x="901" y="868"/>
                    <a:pt x="901" y="868"/>
                  </a:cubicBezTo>
                  <a:cubicBezTo>
                    <a:pt x="900" y="868"/>
                    <a:pt x="900" y="868"/>
                    <a:pt x="900" y="868"/>
                  </a:cubicBezTo>
                  <a:cubicBezTo>
                    <a:pt x="900" y="867"/>
                    <a:pt x="900" y="867"/>
                    <a:pt x="900" y="867"/>
                  </a:cubicBezTo>
                  <a:lnTo>
                    <a:pt x="899" y="867"/>
                  </a:lnTo>
                  <a:close/>
                  <a:moveTo>
                    <a:pt x="908" y="862"/>
                  </a:moveTo>
                  <a:cubicBezTo>
                    <a:pt x="908" y="862"/>
                    <a:pt x="908" y="862"/>
                    <a:pt x="908" y="862"/>
                  </a:cubicBezTo>
                  <a:cubicBezTo>
                    <a:pt x="908" y="862"/>
                    <a:pt x="908" y="862"/>
                    <a:pt x="908" y="862"/>
                  </a:cubicBezTo>
                  <a:cubicBezTo>
                    <a:pt x="909" y="863"/>
                    <a:pt x="909" y="863"/>
                    <a:pt x="909" y="863"/>
                  </a:cubicBezTo>
                  <a:cubicBezTo>
                    <a:pt x="909" y="863"/>
                    <a:pt x="909" y="863"/>
                    <a:pt x="909" y="863"/>
                  </a:cubicBezTo>
                  <a:cubicBezTo>
                    <a:pt x="909" y="863"/>
                    <a:pt x="909" y="863"/>
                    <a:pt x="909" y="863"/>
                  </a:cubicBezTo>
                  <a:cubicBezTo>
                    <a:pt x="908" y="863"/>
                    <a:pt x="908" y="863"/>
                    <a:pt x="908" y="863"/>
                  </a:cubicBezTo>
                  <a:cubicBezTo>
                    <a:pt x="908" y="862"/>
                    <a:pt x="908" y="862"/>
                    <a:pt x="908" y="862"/>
                  </a:cubicBezTo>
                  <a:close/>
                  <a:moveTo>
                    <a:pt x="912" y="861"/>
                  </a:moveTo>
                  <a:cubicBezTo>
                    <a:pt x="912" y="861"/>
                    <a:pt x="912" y="861"/>
                    <a:pt x="912" y="861"/>
                  </a:cubicBezTo>
                  <a:cubicBezTo>
                    <a:pt x="913" y="861"/>
                    <a:pt x="913" y="861"/>
                    <a:pt x="913" y="861"/>
                  </a:cubicBezTo>
                  <a:cubicBezTo>
                    <a:pt x="915" y="862"/>
                    <a:pt x="915" y="862"/>
                    <a:pt x="915" y="862"/>
                  </a:cubicBezTo>
                  <a:cubicBezTo>
                    <a:pt x="916" y="862"/>
                    <a:pt x="916" y="862"/>
                    <a:pt x="916" y="862"/>
                  </a:cubicBezTo>
                  <a:cubicBezTo>
                    <a:pt x="916" y="862"/>
                    <a:pt x="916" y="862"/>
                    <a:pt x="916" y="862"/>
                  </a:cubicBezTo>
                  <a:cubicBezTo>
                    <a:pt x="913" y="862"/>
                    <a:pt x="913" y="862"/>
                    <a:pt x="913" y="862"/>
                  </a:cubicBezTo>
                  <a:lnTo>
                    <a:pt x="912" y="861"/>
                  </a:lnTo>
                  <a:close/>
                  <a:moveTo>
                    <a:pt x="896" y="1008"/>
                  </a:moveTo>
                  <a:cubicBezTo>
                    <a:pt x="896" y="1008"/>
                    <a:pt x="896" y="1008"/>
                    <a:pt x="896" y="1008"/>
                  </a:cubicBezTo>
                  <a:cubicBezTo>
                    <a:pt x="896" y="1007"/>
                    <a:pt x="896" y="1007"/>
                    <a:pt x="896" y="1007"/>
                  </a:cubicBezTo>
                  <a:cubicBezTo>
                    <a:pt x="896" y="1007"/>
                    <a:pt x="896" y="1007"/>
                    <a:pt x="896" y="1007"/>
                  </a:cubicBezTo>
                  <a:cubicBezTo>
                    <a:pt x="896" y="1007"/>
                    <a:pt x="896" y="1007"/>
                    <a:pt x="896" y="1007"/>
                  </a:cubicBezTo>
                  <a:cubicBezTo>
                    <a:pt x="896" y="1007"/>
                    <a:pt x="896" y="1007"/>
                    <a:pt x="896" y="1007"/>
                  </a:cubicBezTo>
                  <a:cubicBezTo>
                    <a:pt x="896" y="1008"/>
                    <a:pt x="896" y="1008"/>
                    <a:pt x="896" y="1008"/>
                  </a:cubicBezTo>
                  <a:cubicBezTo>
                    <a:pt x="896" y="1008"/>
                    <a:pt x="896" y="1008"/>
                    <a:pt x="896" y="1008"/>
                  </a:cubicBezTo>
                  <a:close/>
                  <a:moveTo>
                    <a:pt x="931" y="1071"/>
                  </a:moveTo>
                  <a:cubicBezTo>
                    <a:pt x="931" y="1071"/>
                    <a:pt x="931" y="1071"/>
                    <a:pt x="931" y="1071"/>
                  </a:cubicBezTo>
                  <a:cubicBezTo>
                    <a:pt x="931" y="1071"/>
                    <a:pt x="931" y="1071"/>
                    <a:pt x="931" y="1071"/>
                  </a:cubicBezTo>
                  <a:cubicBezTo>
                    <a:pt x="933" y="1072"/>
                    <a:pt x="933" y="1072"/>
                    <a:pt x="933" y="1072"/>
                  </a:cubicBezTo>
                  <a:cubicBezTo>
                    <a:pt x="933" y="1072"/>
                    <a:pt x="933" y="1072"/>
                    <a:pt x="933" y="1072"/>
                  </a:cubicBezTo>
                  <a:lnTo>
                    <a:pt x="931" y="1071"/>
                  </a:lnTo>
                  <a:close/>
                  <a:moveTo>
                    <a:pt x="935" y="1072"/>
                  </a:moveTo>
                  <a:cubicBezTo>
                    <a:pt x="935" y="1072"/>
                    <a:pt x="935" y="1072"/>
                    <a:pt x="935" y="1072"/>
                  </a:cubicBezTo>
                  <a:cubicBezTo>
                    <a:pt x="936" y="1075"/>
                    <a:pt x="936" y="1075"/>
                    <a:pt x="936" y="1075"/>
                  </a:cubicBezTo>
                  <a:cubicBezTo>
                    <a:pt x="936" y="1075"/>
                    <a:pt x="936" y="1075"/>
                    <a:pt x="936" y="1075"/>
                  </a:cubicBezTo>
                  <a:cubicBezTo>
                    <a:pt x="936" y="1075"/>
                    <a:pt x="936" y="1075"/>
                    <a:pt x="936" y="1075"/>
                  </a:cubicBezTo>
                  <a:cubicBezTo>
                    <a:pt x="936" y="1075"/>
                    <a:pt x="936" y="1075"/>
                    <a:pt x="936" y="1075"/>
                  </a:cubicBezTo>
                  <a:cubicBezTo>
                    <a:pt x="936" y="1076"/>
                    <a:pt x="936" y="1076"/>
                    <a:pt x="936" y="1076"/>
                  </a:cubicBezTo>
                  <a:cubicBezTo>
                    <a:pt x="936" y="1076"/>
                    <a:pt x="936" y="1076"/>
                    <a:pt x="936" y="1076"/>
                  </a:cubicBezTo>
                  <a:cubicBezTo>
                    <a:pt x="937" y="1076"/>
                    <a:pt x="937" y="1076"/>
                    <a:pt x="937" y="1076"/>
                  </a:cubicBezTo>
                  <a:cubicBezTo>
                    <a:pt x="937" y="1077"/>
                    <a:pt x="937" y="1077"/>
                    <a:pt x="937" y="1077"/>
                  </a:cubicBezTo>
                  <a:cubicBezTo>
                    <a:pt x="937" y="1078"/>
                    <a:pt x="937" y="1078"/>
                    <a:pt x="937" y="1078"/>
                  </a:cubicBezTo>
                  <a:cubicBezTo>
                    <a:pt x="938" y="1078"/>
                    <a:pt x="938" y="1078"/>
                    <a:pt x="938" y="1078"/>
                  </a:cubicBezTo>
                  <a:cubicBezTo>
                    <a:pt x="937" y="1078"/>
                    <a:pt x="937" y="1078"/>
                    <a:pt x="937" y="1078"/>
                  </a:cubicBezTo>
                  <a:cubicBezTo>
                    <a:pt x="937" y="1078"/>
                    <a:pt x="937" y="1078"/>
                    <a:pt x="937" y="1078"/>
                  </a:cubicBezTo>
                  <a:cubicBezTo>
                    <a:pt x="937" y="1076"/>
                    <a:pt x="937" y="1076"/>
                    <a:pt x="937" y="1076"/>
                  </a:cubicBezTo>
                  <a:cubicBezTo>
                    <a:pt x="936" y="1076"/>
                    <a:pt x="936" y="1076"/>
                    <a:pt x="936" y="1076"/>
                  </a:cubicBezTo>
                  <a:cubicBezTo>
                    <a:pt x="936" y="1076"/>
                    <a:pt x="936" y="1076"/>
                    <a:pt x="936" y="1076"/>
                  </a:cubicBezTo>
                  <a:cubicBezTo>
                    <a:pt x="936" y="1076"/>
                    <a:pt x="936" y="1076"/>
                    <a:pt x="936" y="1076"/>
                  </a:cubicBezTo>
                  <a:cubicBezTo>
                    <a:pt x="935" y="1075"/>
                    <a:pt x="935" y="1075"/>
                    <a:pt x="935" y="1075"/>
                  </a:cubicBezTo>
                  <a:cubicBezTo>
                    <a:pt x="935" y="1075"/>
                    <a:pt x="935" y="1075"/>
                    <a:pt x="935" y="1075"/>
                  </a:cubicBezTo>
                  <a:cubicBezTo>
                    <a:pt x="935" y="1074"/>
                    <a:pt x="935" y="1074"/>
                    <a:pt x="935" y="1074"/>
                  </a:cubicBezTo>
                  <a:cubicBezTo>
                    <a:pt x="935" y="1074"/>
                    <a:pt x="935" y="1074"/>
                    <a:pt x="935" y="1074"/>
                  </a:cubicBezTo>
                  <a:cubicBezTo>
                    <a:pt x="934" y="1072"/>
                    <a:pt x="934" y="1072"/>
                    <a:pt x="934" y="1072"/>
                  </a:cubicBezTo>
                  <a:cubicBezTo>
                    <a:pt x="934" y="1072"/>
                    <a:pt x="934" y="1072"/>
                    <a:pt x="934" y="1072"/>
                  </a:cubicBezTo>
                  <a:lnTo>
                    <a:pt x="935" y="1072"/>
                  </a:lnTo>
                  <a:close/>
                  <a:moveTo>
                    <a:pt x="943" y="1166"/>
                  </a:moveTo>
                  <a:cubicBezTo>
                    <a:pt x="943" y="1166"/>
                    <a:pt x="943" y="1166"/>
                    <a:pt x="943" y="1166"/>
                  </a:cubicBezTo>
                  <a:cubicBezTo>
                    <a:pt x="942" y="1166"/>
                    <a:pt x="942" y="1166"/>
                    <a:pt x="942" y="1166"/>
                  </a:cubicBezTo>
                  <a:cubicBezTo>
                    <a:pt x="942" y="1166"/>
                    <a:pt x="942" y="1166"/>
                    <a:pt x="942" y="1166"/>
                  </a:cubicBezTo>
                  <a:cubicBezTo>
                    <a:pt x="941" y="1165"/>
                    <a:pt x="941" y="1165"/>
                    <a:pt x="941" y="1165"/>
                  </a:cubicBezTo>
                  <a:cubicBezTo>
                    <a:pt x="941" y="1165"/>
                    <a:pt x="941" y="1165"/>
                    <a:pt x="941" y="1165"/>
                  </a:cubicBezTo>
                  <a:cubicBezTo>
                    <a:pt x="942" y="1164"/>
                    <a:pt x="942" y="1164"/>
                    <a:pt x="942" y="1164"/>
                  </a:cubicBezTo>
                  <a:cubicBezTo>
                    <a:pt x="942" y="1164"/>
                    <a:pt x="942" y="1164"/>
                    <a:pt x="942" y="1164"/>
                  </a:cubicBezTo>
                  <a:cubicBezTo>
                    <a:pt x="942" y="1165"/>
                    <a:pt x="942" y="1165"/>
                    <a:pt x="942" y="1165"/>
                  </a:cubicBezTo>
                  <a:cubicBezTo>
                    <a:pt x="942" y="1165"/>
                    <a:pt x="942" y="1165"/>
                    <a:pt x="942" y="1165"/>
                  </a:cubicBezTo>
                  <a:lnTo>
                    <a:pt x="943" y="1166"/>
                  </a:lnTo>
                  <a:close/>
                  <a:moveTo>
                    <a:pt x="954" y="1122"/>
                  </a:moveTo>
                  <a:cubicBezTo>
                    <a:pt x="954" y="1122"/>
                    <a:pt x="954" y="1122"/>
                    <a:pt x="954" y="1122"/>
                  </a:cubicBezTo>
                  <a:cubicBezTo>
                    <a:pt x="954" y="1123"/>
                    <a:pt x="954" y="1123"/>
                    <a:pt x="954" y="1123"/>
                  </a:cubicBezTo>
                  <a:cubicBezTo>
                    <a:pt x="955" y="1123"/>
                    <a:pt x="955" y="1123"/>
                    <a:pt x="955" y="1123"/>
                  </a:cubicBezTo>
                  <a:cubicBezTo>
                    <a:pt x="955" y="1123"/>
                    <a:pt x="955" y="1123"/>
                    <a:pt x="955" y="1123"/>
                  </a:cubicBezTo>
                  <a:cubicBezTo>
                    <a:pt x="954" y="1123"/>
                    <a:pt x="954" y="1123"/>
                    <a:pt x="954" y="1123"/>
                  </a:cubicBezTo>
                  <a:cubicBezTo>
                    <a:pt x="954" y="1123"/>
                    <a:pt x="954" y="1123"/>
                    <a:pt x="954" y="1123"/>
                  </a:cubicBezTo>
                  <a:cubicBezTo>
                    <a:pt x="954" y="1123"/>
                    <a:pt x="954" y="1123"/>
                    <a:pt x="954" y="1123"/>
                  </a:cubicBezTo>
                  <a:cubicBezTo>
                    <a:pt x="953" y="1122"/>
                    <a:pt x="953" y="1122"/>
                    <a:pt x="953" y="1122"/>
                  </a:cubicBezTo>
                  <a:lnTo>
                    <a:pt x="954" y="1122"/>
                  </a:lnTo>
                  <a:close/>
                  <a:moveTo>
                    <a:pt x="1121" y="918"/>
                  </a:moveTo>
                  <a:cubicBezTo>
                    <a:pt x="1120" y="919"/>
                    <a:pt x="1120" y="919"/>
                    <a:pt x="1120" y="919"/>
                  </a:cubicBezTo>
                  <a:cubicBezTo>
                    <a:pt x="1120" y="919"/>
                    <a:pt x="1120" y="919"/>
                    <a:pt x="1120" y="919"/>
                  </a:cubicBezTo>
                  <a:cubicBezTo>
                    <a:pt x="1119" y="919"/>
                    <a:pt x="1119" y="919"/>
                    <a:pt x="1119" y="919"/>
                  </a:cubicBezTo>
                  <a:cubicBezTo>
                    <a:pt x="1119" y="918"/>
                    <a:pt x="1119" y="918"/>
                    <a:pt x="1119" y="918"/>
                  </a:cubicBezTo>
                  <a:cubicBezTo>
                    <a:pt x="1119" y="917"/>
                    <a:pt x="1119" y="917"/>
                    <a:pt x="1119" y="917"/>
                  </a:cubicBezTo>
                  <a:cubicBezTo>
                    <a:pt x="1119" y="916"/>
                    <a:pt x="1119" y="916"/>
                    <a:pt x="1119" y="916"/>
                  </a:cubicBezTo>
                  <a:cubicBezTo>
                    <a:pt x="1118" y="916"/>
                    <a:pt x="1118" y="916"/>
                    <a:pt x="1118" y="916"/>
                  </a:cubicBezTo>
                  <a:cubicBezTo>
                    <a:pt x="1117" y="917"/>
                    <a:pt x="1117" y="917"/>
                    <a:pt x="1117" y="917"/>
                  </a:cubicBezTo>
                  <a:cubicBezTo>
                    <a:pt x="1117" y="917"/>
                    <a:pt x="1117" y="917"/>
                    <a:pt x="1117" y="917"/>
                  </a:cubicBezTo>
                  <a:cubicBezTo>
                    <a:pt x="1116" y="917"/>
                    <a:pt x="1116" y="917"/>
                    <a:pt x="1116" y="917"/>
                  </a:cubicBezTo>
                  <a:cubicBezTo>
                    <a:pt x="1116" y="917"/>
                    <a:pt x="1116" y="917"/>
                    <a:pt x="1116" y="917"/>
                  </a:cubicBezTo>
                  <a:cubicBezTo>
                    <a:pt x="1116" y="916"/>
                    <a:pt x="1116" y="916"/>
                    <a:pt x="1116" y="916"/>
                  </a:cubicBezTo>
                  <a:cubicBezTo>
                    <a:pt x="1116" y="916"/>
                    <a:pt x="1116" y="916"/>
                    <a:pt x="1116" y="916"/>
                  </a:cubicBezTo>
                  <a:cubicBezTo>
                    <a:pt x="1117" y="916"/>
                    <a:pt x="1117" y="916"/>
                    <a:pt x="1117" y="916"/>
                  </a:cubicBezTo>
                  <a:cubicBezTo>
                    <a:pt x="1118" y="916"/>
                    <a:pt x="1118" y="916"/>
                    <a:pt x="1118" y="916"/>
                  </a:cubicBezTo>
                  <a:cubicBezTo>
                    <a:pt x="1118" y="915"/>
                    <a:pt x="1118" y="915"/>
                    <a:pt x="1118" y="915"/>
                  </a:cubicBezTo>
                  <a:cubicBezTo>
                    <a:pt x="1119" y="915"/>
                    <a:pt x="1119" y="915"/>
                    <a:pt x="1119" y="915"/>
                  </a:cubicBezTo>
                  <a:cubicBezTo>
                    <a:pt x="1119" y="916"/>
                    <a:pt x="1119" y="916"/>
                    <a:pt x="1119" y="916"/>
                  </a:cubicBezTo>
                  <a:cubicBezTo>
                    <a:pt x="1119" y="917"/>
                    <a:pt x="1119" y="917"/>
                    <a:pt x="1119" y="917"/>
                  </a:cubicBezTo>
                  <a:cubicBezTo>
                    <a:pt x="1120" y="917"/>
                    <a:pt x="1120" y="917"/>
                    <a:pt x="1120" y="917"/>
                  </a:cubicBezTo>
                  <a:cubicBezTo>
                    <a:pt x="1120" y="918"/>
                    <a:pt x="1120" y="918"/>
                    <a:pt x="1120" y="918"/>
                  </a:cubicBezTo>
                  <a:cubicBezTo>
                    <a:pt x="1121" y="917"/>
                    <a:pt x="1121" y="917"/>
                    <a:pt x="1121" y="917"/>
                  </a:cubicBezTo>
                  <a:cubicBezTo>
                    <a:pt x="1121" y="917"/>
                    <a:pt x="1121" y="917"/>
                    <a:pt x="1121" y="917"/>
                  </a:cubicBezTo>
                  <a:cubicBezTo>
                    <a:pt x="1122" y="917"/>
                    <a:pt x="1122" y="917"/>
                    <a:pt x="1122" y="917"/>
                  </a:cubicBezTo>
                  <a:cubicBezTo>
                    <a:pt x="1122" y="916"/>
                    <a:pt x="1122" y="916"/>
                    <a:pt x="1122" y="916"/>
                  </a:cubicBezTo>
                  <a:cubicBezTo>
                    <a:pt x="1124" y="916"/>
                    <a:pt x="1124" y="916"/>
                    <a:pt x="1124" y="916"/>
                  </a:cubicBezTo>
                  <a:cubicBezTo>
                    <a:pt x="1124" y="916"/>
                    <a:pt x="1124" y="916"/>
                    <a:pt x="1124" y="916"/>
                  </a:cubicBezTo>
                  <a:cubicBezTo>
                    <a:pt x="1124" y="917"/>
                    <a:pt x="1124" y="917"/>
                    <a:pt x="1124" y="917"/>
                  </a:cubicBezTo>
                  <a:cubicBezTo>
                    <a:pt x="1125" y="917"/>
                    <a:pt x="1125" y="917"/>
                    <a:pt x="1125" y="917"/>
                  </a:cubicBezTo>
                  <a:cubicBezTo>
                    <a:pt x="1124" y="918"/>
                    <a:pt x="1124" y="918"/>
                    <a:pt x="1124" y="918"/>
                  </a:cubicBezTo>
                  <a:cubicBezTo>
                    <a:pt x="1124" y="919"/>
                    <a:pt x="1124" y="919"/>
                    <a:pt x="1124" y="919"/>
                  </a:cubicBezTo>
                  <a:cubicBezTo>
                    <a:pt x="1124" y="918"/>
                    <a:pt x="1124" y="918"/>
                    <a:pt x="1124" y="918"/>
                  </a:cubicBezTo>
                  <a:cubicBezTo>
                    <a:pt x="1124" y="917"/>
                    <a:pt x="1124" y="917"/>
                    <a:pt x="1124" y="917"/>
                  </a:cubicBezTo>
                  <a:cubicBezTo>
                    <a:pt x="1123" y="917"/>
                    <a:pt x="1123" y="917"/>
                    <a:pt x="1123" y="917"/>
                  </a:cubicBezTo>
                  <a:cubicBezTo>
                    <a:pt x="1122" y="917"/>
                    <a:pt x="1122" y="917"/>
                    <a:pt x="1122" y="917"/>
                  </a:cubicBezTo>
                  <a:cubicBezTo>
                    <a:pt x="1121" y="918"/>
                    <a:pt x="1121" y="918"/>
                    <a:pt x="1121" y="918"/>
                  </a:cubicBezTo>
                  <a:close/>
                  <a:moveTo>
                    <a:pt x="1145" y="928"/>
                  </a:moveTo>
                  <a:cubicBezTo>
                    <a:pt x="1146" y="928"/>
                    <a:pt x="1146" y="928"/>
                    <a:pt x="1146" y="928"/>
                  </a:cubicBezTo>
                  <a:cubicBezTo>
                    <a:pt x="1147" y="928"/>
                    <a:pt x="1147" y="928"/>
                    <a:pt x="1147" y="928"/>
                  </a:cubicBezTo>
                  <a:cubicBezTo>
                    <a:pt x="1147" y="928"/>
                    <a:pt x="1147" y="928"/>
                    <a:pt x="1147" y="928"/>
                  </a:cubicBezTo>
                  <a:cubicBezTo>
                    <a:pt x="1147" y="928"/>
                    <a:pt x="1147" y="928"/>
                    <a:pt x="1147" y="928"/>
                  </a:cubicBezTo>
                  <a:cubicBezTo>
                    <a:pt x="1148" y="929"/>
                    <a:pt x="1148" y="929"/>
                    <a:pt x="1148" y="929"/>
                  </a:cubicBezTo>
                  <a:cubicBezTo>
                    <a:pt x="1148" y="930"/>
                    <a:pt x="1148" y="930"/>
                    <a:pt x="1148" y="930"/>
                  </a:cubicBezTo>
                  <a:cubicBezTo>
                    <a:pt x="1148" y="931"/>
                    <a:pt x="1148" y="931"/>
                    <a:pt x="1148" y="931"/>
                  </a:cubicBezTo>
                  <a:cubicBezTo>
                    <a:pt x="1148" y="932"/>
                    <a:pt x="1148" y="932"/>
                    <a:pt x="1148" y="932"/>
                  </a:cubicBezTo>
                  <a:cubicBezTo>
                    <a:pt x="1149" y="932"/>
                    <a:pt x="1149" y="932"/>
                    <a:pt x="1149" y="932"/>
                  </a:cubicBezTo>
                  <a:cubicBezTo>
                    <a:pt x="1150" y="932"/>
                    <a:pt x="1150" y="932"/>
                    <a:pt x="1150" y="932"/>
                  </a:cubicBezTo>
                  <a:cubicBezTo>
                    <a:pt x="1150" y="933"/>
                    <a:pt x="1150" y="933"/>
                    <a:pt x="1150" y="933"/>
                  </a:cubicBezTo>
                  <a:cubicBezTo>
                    <a:pt x="1150" y="933"/>
                    <a:pt x="1150" y="933"/>
                    <a:pt x="1150" y="933"/>
                  </a:cubicBezTo>
                  <a:cubicBezTo>
                    <a:pt x="1150" y="934"/>
                    <a:pt x="1150" y="934"/>
                    <a:pt x="1150" y="934"/>
                  </a:cubicBezTo>
                  <a:cubicBezTo>
                    <a:pt x="1149" y="934"/>
                    <a:pt x="1149" y="934"/>
                    <a:pt x="1149" y="934"/>
                  </a:cubicBezTo>
                  <a:cubicBezTo>
                    <a:pt x="1149" y="934"/>
                    <a:pt x="1149" y="934"/>
                    <a:pt x="1149" y="934"/>
                  </a:cubicBezTo>
                  <a:cubicBezTo>
                    <a:pt x="1149" y="933"/>
                    <a:pt x="1149" y="933"/>
                    <a:pt x="1149" y="933"/>
                  </a:cubicBezTo>
                  <a:cubicBezTo>
                    <a:pt x="1148" y="933"/>
                    <a:pt x="1148" y="933"/>
                    <a:pt x="1148" y="933"/>
                  </a:cubicBezTo>
                  <a:cubicBezTo>
                    <a:pt x="1148" y="933"/>
                    <a:pt x="1148" y="933"/>
                    <a:pt x="1148" y="933"/>
                  </a:cubicBezTo>
                  <a:cubicBezTo>
                    <a:pt x="1147" y="932"/>
                    <a:pt x="1147" y="932"/>
                    <a:pt x="1147" y="932"/>
                  </a:cubicBezTo>
                  <a:cubicBezTo>
                    <a:pt x="1147" y="931"/>
                    <a:pt x="1147" y="931"/>
                    <a:pt x="1147" y="931"/>
                  </a:cubicBezTo>
                  <a:cubicBezTo>
                    <a:pt x="1147" y="930"/>
                    <a:pt x="1147" y="930"/>
                    <a:pt x="1147" y="930"/>
                  </a:cubicBezTo>
                  <a:cubicBezTo>
                    <a:pt x="1146" y="929"/>
                    <a:pt x="1146" y="929"/>
                    <a:pt x="1146" y="929"/>
                  </a:cubicBezTo>
                  <a:cubicBezTo>
                    <a:pt x="1146" y="929"/>
                    <a:pt x="1146" y="929"/>
                    <a:pt x="1146" y="929"/>
                  </a:cubicBezTo>
                  <a:cubicBezTo>
                    <a:pt x="1146" y="929"/>
                    <a:pt x="1146" y="929"/>
                    <a:pt x="1146" y="929"/>
                  </a:cubicBezTo>
                  <a:cubicBezTo>
                    <a:pt x="1145" y="929"/>
                    <a:pt x="1145" y="929"/>
                    <a:pt x="1145" y="929"/>
                  </a:cubicBezTo>
                  <a:cubicBezTo>
                    <a:pt x="1145" y="929"/>
                    <a:pt x="1145" y="929"/>
                    <a:pt x="1145" y="929"/>
                  </a:cubicBezTo>
                  <a:lnTo>
                    <a:pt x="1145" y="928"/>
                  </a:lnTo>
                  <a:close/>
                  <a:moveTo>
                    <a:pt x="1157" y="771"/>
                  </a:moveTo>
                  <a:cubicBezTo>
                    <a:pt x="1157" y="771"/>
                    <a:pt x="1157" y="771"/>
                    <a:pt x="1157" y="771"/>
                  </a:cubicBezTo>
                  <a:cubicBezTo>
                    <a:pt x="1157" y="770"/>
                    <a:pt x="1157" y="770"/>
                    <a:pt x="1157" y="770"/>
                  </a:cubicBezTo>
                  <a:cubicBezTo>
                    <a:pt x="1157" y="770"/>
                    <a:pt x="1157" y="770"/>
                    <a:pt x="1157" y="770"/>
                  </a:cubicBezTo>
                  <a:cubicBezTo>
                    <a:pt x="1157" y="770"/>
                    <a:pt x="1157" y="770"/>
                    <a:pt x="1157" y="770"/>
                  </a:cubicBezTo>
                  <a:cubicBezTo>
                    <a:pt x="1158" y="770"/>
                    <a:pt x="1158" y="770"/>
                    <a:pt x="1158" y="770"/>
                  </a:cubicBezTo>
                  <a:cubicBezTo>
                    <a:pt x="1158" y="770"/>
                    <a:pt x="1158" y="770"/>
                    <a:pt x="1158" y="770"/>
                  </a:cubicBezTo>
                  <a:cubicBezTo>
                    <a:pt x="1157" y="771"/>
                    <a:pt x="1157" y="771"/>
                    <a:pt x="1157" y="771"/>
                  </a:cubicBezTo>
                  <a:close/>
                  <a:moveTo>
                    <a:pt x="1143" y="761"/>
                  </a:moveTo>
                  <a:cubicBezTo>
                    <a:pt x="1143" y="762"/>
                    <a:pt x="1143" y="762"/>
                    <a:pt x="1143" y="762"/>
                  </a:cubicBezTo>
                  <a:cubicBezTo>
                    <a:pt x="1142" y="762"/>
                    <a:pt x="1142" y="762"/>
                    <a:pt x="1142" y="762"/>
                  </a:cubicBezTo>
                  <a:cubicBezTo>
                    <a:pt x="1143" y="761"/>
                    <a:pt x="1143" y="761"/>
                    <a:pt x="1143" y="761"/>
                  </a:cubicBezTo>
                  <a:cubicBezTo>
                    <a:pt x="1143" y="761"/>
                    <a:pt x="1143" y="761"/>
                    <a:pt x="1143" y="761"/>
                  </a:cubicBezTo>
                  <a:cubicBezTo>
                    <a:pt x="1144" y="761"/>
                    <a:pt x="1144" y="761"/>
                    <a:pt x="1144" y="761"/>
                  </a:cubicBezTo>
                  <a:lnTo>
                    <a:pt x="1143" y="761"/>
                  </a:lnTo>
                  <a:close/>
                  <a:moveTo>
                    <a:pt x="1136" y="766"/>
                  </a:moveTo>
                  <a:cubicBezTo>
                    <a:pt x="1136" y="767"/>
                    <a:pt x="1136" y="767"/>
                    <a:pt x="1136" y="767"/>
                  </a:cubicBezTo>
                  <a:cubicBezTo>
                    <a:pt x="1136" y="769"/>
                    <a:pt x="1136" y="769"/>
                    <a:pt x="1136" y="769"/>
                  </a:cubicBezTo>
                  <a:cubicBezTo>
                    <a:pt x="1136" y="769"/>
                    <a:pt x="1136" y="769"/>
                    <a:pt x="1136" y="769"/>
                  </a:cubicBezTo>
                  <a:cubicBezTo>
                    <a:pt x="1135" y="770"/>
                    <a:pt x="1135" y="770"/>
                    <a:pt x="1135" y="770"/>
                  </a:cubicBezTo>
                  <a:cubicBezTo>
                    <a:pt x="1135" y="769"/>
                    <a:pt x="1135" y="769"/>
                    <a:pt x="1135" y="769"/>
                  </a:cubicBezTo>
                  <a:cubicBezTo>
                    <a:pt x="1135" y="768"/>
                    <a:pt x="1135" y="768"/>
                    <a:pt x="1135" y="768"/>
                  </a:cubicBezTo>
                  <a:cubicBezTo>
                    <a:pt x="1135" y="768"/>
                    <a:pt x="1135" y="768"/>
                    <a:pt x="1135" y="768"/>
                  </a:cubicBezTo>
                  <a:cubicBezTo>
                    <a:pt x="1134" y="768"/>
                    <a:pt x="1134" y="768"/>
                    <a:pt x="1134" y="768"/>
                  </a:cubicBezTo>
                  <a:cubicBezTo>
                    <a:pt x="1135" y="768"/>
                    <a:pt x="1135" y="768"/>
                    <a:pt x="1135" y="768"/>
                  </a:cubicBezTo>
                  <a:cubicBezTo>
                    <a:pt x="1135" y="767"/>
                    <a:pt x="1135" y="767"/>
                    <a:pt x="1135" y="767"/>
                  </a:cubicBezTo>
                  <a:cubicBezTo>
                    <a:pt x="1136" y="765"/>
                    <a:pt x="1136" y="765"/>
                    <a:pt x="1136" y="765"/>
                  </a:cubicBezTo>
                  <a:cubicBezTo>
                    <a:pt x="1137" y="765"/>
                    <a:pt x="1137" y="765"/>
                    <a:pt x="1137" y="765"/>
                  </a:cubicBezTo>
                  <a:lnTo>
                    <a:pt x="1136" y="766"/>
                  </a:lnTo>
                  <a:close/>
                  <a:moveTo>
                    <a:pt x="1117" y="761"/>
                  </a:moveTo>
                  <a:cubicBezTo>
                    <a:pt x="1116" y="762"/>
                    <a:pt x="1116" y="762"/>
                    <a:pt x="1116" y="762"/>
                  </a:cubicBezTo>
                  <a:cubicBezTo>
                    <a:pt x="1116" y="762"/>
                    <a:pt x="1116" y="762"/>
                    <a:pt x="1116" y="762"/>
                  </a:cubicBezTo>
                  <a:cubicBezTo>
                    <a:pt x="1116" y="761"/>
                    <a:pt x="1116" y="761"/>
                    <a:pt x="1116" y="761"/>
                  </a:cubicBezTo>
                  <a:cubicBezTo>
                    <a:pt x="1117" y="761"/>
                    <a:pt x="1117" y="761"/>
                    <a:pt x="1117" y="761"/>
                  </a:cubicBezTo>
                  <a:cubicBezTo>
                    <a:pt x="1118" y="760"/>
                    <a:pt x="1118" y="760"/>
                    <a:pt x="1118" y="760"/>
                  </a:cubicBezTo>
                  <a:cubicBezTo>
                    <a:pt x="1118" y="760"/>
                    <a:pt x="1118" y="760"/>
                    <a:pt x="1118" y="760"/>
                  </a:cubicBezTo>
                  <a:lnTo>
                    <a:pt x="1117" y="761"/>
                  </a:lnTo>
                  <a:close/>
                  <a:moveTo>
                    <a:pt x="1109" y="537"/>
                  </a:moveTo>
                  <a:cubicBezTo>
                    <a:pt x="1108" y="538"/>
                    <a:pt x="1108" y="538"/>
                    <a:pt x="1108" y="538"/>
                  </a:cubicBezTo>
                  <a:cubicBezTo>
                    <a:pt x="1106" y="539"/>
                    <a:pt x="1106" y="539"/>
                    <a:pt x="1106" y="539"/>
                  </a:cubicBezTo>
                  <a:cubicBezTo>
                    <a:pt x="1106" y="539"/>
                    <a:pt x="1106" y="539"/>
                    <a:pt x="1106" y="539"/>
                  </a:cubicBezTo>
                  <a:cubicBezTo>
                    <a:pt x="1106" y="539"/>
                    <a:pt x="1106" y="539"/>
                    <a:pt x="1106" y="539"/>
                  </a:cubicBezTo>
                  <a:cubicBezTo>
                    <a:pt x="1107" y="538"/>
                    <a:pt x="1107" y="538"/>
                    <a:pt x="1107" y="538"/>
                  </a:cubicBezTo>
                  <a:cubicBezTo>
                    <a:pt x="1109" y="536"/>
                    <a:pt x="1109" y="536"/>
                    <a:pt x="1109" y="536"/>
                  </a:cubicBezTo>
                  <a:lnTo>
                    <a:pt x="1109" y="537"/>
                  </a:lnTo>
                  <a:close/>
                  <a:moveTo>
                    <a:pt x="1096" y="550"/>
                  </a:moveTo>
                  <a:cubicBezTo>
                    <a:pt x="1100" y="550"/>
                    <a:pt x="1100" y="550"/>
                    <a:pt x="1100" y="550"/>
                  </a:cubicBezTo>
                  <a:cubicBezTo>
                    <a:pt x="1100" y="550"/>
                    <a:pt x="1100" y="550"/>
                    <a:pt x="1100" y="550"/>
                  </a:cubicBezTo>
                  <a:cubicBezTo>
                    <a:pt x="1100" y="551"/>
                    <a:pt x="1100" y="551"/>
                    <a:pt x="1100" y="551"/>
                  </a:cubicBezTo>
                  <a:cubicBezTo>
                    <a:pt x="1100" y="552"/>
                    <a:pt x="1100" y="552"/>
                    <a:pt x="1100" y="552"/>
                  </a:cubicBezTo>
                  <a:cubicBezTo>
                    <a:pt x="1099" y="552"/>
                    <a:pt x="1099" y="552"/>
                    <a:pt x="1099" y="552"/>
                  </a:cubicBezTo>
                  <a:cubicBezTo>
                    <a:pt x="1095" y="552"/>
                    <a:pt x="1095" y="552"/>
                    <a:pt x="1095" y="552"/>
                  </a:cubicBezTo>
                  <a:cubicBezTo>
                    <a:pt x="1094" y="551"/>
                    <a:pt x="1094" y="551"/>
                    <a:pt x="1094" y="551"/>
                  </a:cubicBezTo>
                  <a:cubicBezTo>
                    <a:pt x="1093" y="551"/>
                    <a:pt x="1093" y="551"/>
                    <a:pt x="1093" y="551"/>
                  </a:cubicBezTo>
                  <a:cubicBezTo>
                    <a:pt x="1092" y="550"/>
                    <a:pt x="1092" y="550"/>
                    <a:pt x="1092" y="550"/>
                  </a:cubicBezTo>
                  <a:cubicBezTo>
                    <a:pt x="1092" y="551"/>
                    <a:pt x="1092" y="551"/>
                    <a:pt x="1092" y="551"/>
                  </a:cubicBezTo>
                  <a:cubicBezTo>
                    <a:pt x="1090" y="552"/>
                    <a:pt x="1090" y="552"/>
                    <a:pt x="1090" y="552"/>
                  </a:cubicBezTo>
                  <a:cubicBezTo>
                    <a:pt x="1090" y="552"/>
                    <a:pt x="1090" y="552"/>
                    <a:pt x="1090" y="552"/>
                  </a:cubicBezTo>
                  <a:cubicBezTo>
                    <a:pt x="1089" y="552"/>
                    <a:pt x="1089" y="552"/>
                    <a:pt x="1089" y="552"/>
                  </a:cubicBezTo>
                  <a:cubicBezTo>
                    <a:pt x="1087" y="550"/>
                    <a:pt x="1087" y="550"/>
                    <a:pt x="1087" y="550"/>
                  </a:cubicBezTo>
                  <a:cubicBezTo>
                    <a:pt x="1087" y="550"/>
                    <a:pt x="1087" y="550"/>
                    <a:pt x="1087" y="550"/>
                  </a:cubicBezTo>
                  <a:cubicBezTo>
                    <a:pt x="1085" y="550"/>
                    <a:pt x="1085" y="550"/>
                    <a:pt x="1085" y="550"/>
                  </a:cubicBezTo>
                  <a:cubicBezTo>
                    <a:pt x="1081" y="550"/>
                    <a:pt x="1081" y="550"/>
                    <a:pt x="1081" y="550"/>
                  </a:cubicBezTo>
                  <a:cubicBezTo>
                    <a:pt x="1081" y="551"/>
                    <a:pt x="1081" y="551"/>
                    <a:pt x="1081" y="551"/>
                  </a:cubicBezTo>
                  <a:cubicBezTo>
                    <a:pt x="1079" y="552"/>
                    <a:pt x="1079" y="552"/>
                    <a:pt x="1079" y="552"/>
                  </a:cubicBezTo>
                  <a:cubicBezTo>
                    <a:pt x="1080" y="551"/>
                    <a:pt x="1080" y="551"/>
                    <a:pt x="1080" y="551"/>
                  </a:cubicBezTo>
                  <a:cubicBezTo>
                    <a:pt x="1082" y="549"/>
                    <a:pt x="1082" y="549"/>
                    <a:pt x="1082" y="549"/>
                  </a:cubicBezTo>
                  <a:cubicBezTo>
                    <a:pt x="1082" y="549"/>
                    <a:pt x="1082" y="549"/>
                    <a:pt x="1082" y="549"/>
                  </a:cubicBezTo>
                  <a:cubicBezTo>
                    <a:pt x="1086" y="548"/>
                    <a:pt x="1086" y="548"/>
                    <a:pt x="1086" y="548"/>
                  </a:cubicBezTo>
                  <a:cubicBezTo>
                    <a:pt x="1087" y="548"/>
                    <a:pt x="1087" y="548"/>
                    <a:pt x="1087" y="548"/>
                  </a:cubicBezTo>
                  <a:cubicBezTo>
                    <a:pt x="1088" y="549"/>
                    <a:pt x="1088" y="549"/>
                    <a:pt x="1088" y="549"/>
                  </a:cubicBezTo>
                  <a:cubicBezTo>
                    <a:pt x="1090" y="550"/>
                    <a:pt x="1090" y="550"/>
                    <a:pt x="1090" y="550"/>
                  </a:cubicBezTo>
                  <a:cubicBezTo>
                    <a:pt x="1091" y="551"/>
                    <a:pt x="1091" y="551"/>
                    <a:pt x="1091" y="551"/>
                  </a:cubicBezTo>
                  <a:cubicBezTo>
                    <a:pt x="1091" y="551"/>
                    <a:pt x="1091" y="551"/>
                    <a:pt x="1091" y="551"/>
                  </a:cubicBezTo>
                  <a:cubicBezTo>
                    <a:pt x="1093" y="549"/>
                    <a:pt x="1093" y="549"/>
                    <a:pt x="1093" y="549"/>
                  </a:cubicBezTo>
                  <a:cubicBezTo>
                    <a:pt x="1093" y="548"/>
                    <a:pt x="1093" y="548"/>
                    <a:pt x="1093" y="548"/>
                  </a:cubicBezTo>
                  <a:cubicBezTo>
                    <a:pt x="1094" y="549"/>
                    <a:pt x="1094" y="549"/>
                    <a:pt x="1094" y="549"/>
                  </a:cubicBezTo>
                  <a:cubicBezTo>
                    <a:pt x="1095" y="550"/>
                    <a:pt x="1095" y="550"/>
                    <a:pt x="1095" y="550"/>
                  </a:cubicBezTo>
                  <a:lnTo>
                    <a:pt x="1096" y="550"/>
                  </a:lnTo>
                  <a:close/>
                  <a:moveTo>
                    <a:pt x="1019" y="516"/>
                  </a:moveTo>
                  <a:cubicBezTo>
                    <a:pt x="1019" y="517"/>
                    <a:pt x="1019" y="517"/>
                    <a:pt x="1019" y="517"/>
                  </a:cubicBezTo>
                  <a:cubicBezTo>
                    <a:pt x="1019" y="517"/>
                    <a:pt x="1019" y="517"/>
                    <a:pt x="1019" y="517"/>
                  </a:cubicBezTo>
                  <a:cubicBezTo>
                    <a:pt x="1019" y="516"/>
                    <a:pt x="1019" y="516"/>
                    <a:pt x="1019" y="516"/>
                  </a:cubicBezTo>
                  <a:cubicBezTo>
                    <a:pt x="1019" y="516"/>
                    <a:pt x="1019" y="516"/>
                    <a:pt x="1019" y="516"/>
                  </a:cubicBezTo>
                  <a:close/>
                  <a:moveTo>
                    <a:pt x="958" y="850"/>
                  </a:moveTo>
                  <a:cubicBezTo>
                    <a:pt x="959" y="850"/>
                    <a:pt x="959" y="850"/>
                    <a:pt x="959" y="850"/>
                  </a:cubicBezTo>
                  <a:cubicBezTo>
                    <a:pt x="959" y="850"/>
                    <a:pt x="959" y="850"/>
                    <a:pt x="959" y="850"/>
                  </a:cubicBezTo>
                  <a:cubicBezTo>
                    <a:pt x="959" y="850"/>
                    <a:pt x="959" y="850"/>
                    <a:pt x="959" y="850"/>
                  </a:cubicBezTo>
                  <a:cubicBezTo>
                    <a:pt x="961" y="846"/>
                    <a:pt x="961" y="846"/>
                    <a:pt x="961" y="846"/>
                  </a:cubicBezTo>
                  <a:cubicBezTo>
                    <a:pt x="962" y="846"/>
                    <a:pt x="962" y="846"/>
                    <a:pt x="962" y="846"/>
                  </a:cubicBezTo>
                  <a:cubicBezTo>
                    <a:pt x="962" y="846"/>
                    <a:pt x="962" y="846"/>
                    <a:pt x="962" y="846"/>
                  </a:cubicBezTo>
                  <a:cubicBezTo>
                    <a:pt x="962" y="846"/>
                    <a:pt x="962" y="846"/>
                    <a:pt x="962" y="846"/>
                  </a:cubicBezTo>
                  <a:cubicBezTo>
                    <a:pt x="963" y="845"/>
                    <a:pt x="963" y="845"/>
                    <a:pt x="963" y="845"/>
                  </a:cubicBezTo>
                  <a:cubicBezTo>
                    <a:pt x="963" y="845"/>
                    <a:pt x="963" y="845"/>
                    <a:pt x="963" y="845"/>
                  </a:cubicBezTo>
                  <a:cubicBezTo>
                    <a:pt x="963" y="844"/>
                    <a:pt x="963" y="844"/>
                    <a:pt x="963" y="844"/>
                  </a:cubicBezTo>
                  <a:cubicBezTo>
                    <a:pt x="963" y="844"/>
                    <a:pt x="963" y="844"/>
                    <a:pt x="963" y="844"/>
                  </a:cubicBezTo>
                  <a:cubicBezTo>
                    <a:pt x="964" y="843"/>
                    <a:pt x="964" y="843"/>
                    <a:pt x="964" y="843"/>
                  </a:cubicBezTo>
                  <a:cubicBezTo>
                    <a:pt x="968" y="838"/>
                    <a:pt x="968" y="838"/>
                    <a:pt x="968" y="838"/>
                  </a:cubicBezTo>
                  <a:cubicBezTo>
                    <a:pt x="969" y="836"/>
                    <a:pt x="969" y="836"/>
                    <a:pt x="969" y="836"/>
                  </a:cubicBezTo>
                  <a:cubicBezTo>
                    <a:pt x="970" y="836"/>
                    <a:pt x="970" y="836"/>
                    <a:pt x="970" y="836"/>
                  </a:cubicBezTo>
                  <a:cubicBezTo>
                    <a:pt x="971" y="834"/>
                    <a:pt x="971" y="834"/>
                    <a:pt x="971" y="834"/>
                  </a:cubicBezTo>
                  <a:cubicBezTo>
                    <a:pt x="978" y="827"/>
                    <a:pt x="978" y="827"/>
                    <a:pt x="978" y="827"/>
                  </a:cubicBezTo>
                  <a:cubicBezTo>
                    <a:pt x="979" y="826"/>
                    <a:pt x="979" y="826"/>
                    <a:pt x="979" y="826"/>
                  </a:cubicBezTo>
                  <a:cubicBezTo>
                    <a:pt x="981" y="824"/>
                    <a:pt x="981" y="824"/>
                    <a:pt x="981" y="824"/>
                  </a:cubicBezTo>
                  <a:cubicBezTo>
                    <a:pt x="981" y="824"/>
                    <a:pt x="981" y="824"/>
                    <a:pt x="981" y="824"/>
                  </a:cubicBezTo>
                  <a:cubicBezTo>
                    <a:pt x="982" y="824"/>
                    <a:pt x="982" y="824"/>
                    <a:pt x="982" y="824"/>
                  </a:cubicBezTo>
                  <a:cubicBezTo>
                    <a:pt x="984" y="821"/>
                    <a:pt x="984" y="821"/>
                    <a:pt x="984" y="821"/>
                  </a:cubicBezTo>
                  <a:cubicBezTo>
                    <a:pt x="984" y="821"/>
                    <a:pt x="984" y="821"/>
                    <a:pt x="984" y="821"/>
                  </a:cubicBezTo>
                  <a:cubicBezTo>
                    <a:pt x="981" y="824"/>
                    <a:pt x="981" y="824"/>
                    <a:pt x="981" y="824"/>
                  </a:cubicBezTo>
                  <a:cubicBezTo>
                    <a:pt x="981" y="825"/>
                    <a:pt x="981" y="825"/>
                    <a:pt x="981" y="825"/>
                  </a:cubicBezTo>
                  <a:cubicBezTo>
                    <a:pt x="981" y="825"/>
                    <a:pt x="981" y="825"/>
                    <a:pt x="981" y="825"/>
                  </a:cubicBezTo>
                  <a:cubicBezTo>
                    <a:pt x="979" y="826"/>
                    <a:pt x="979" y="826"/>
                    <a:pt x="979" y="826"/>
                  </a:cubicBezTo>
                  <a:cubicBezTo>
                    <a:pt x="978" y="827"/>
                    <a:pt x="978" y="827"/>
                    <a:pt x="978" y="827"/>
                  </a:cubicBezTo>
                  <a:cubicBezTo>
                    <a:pt x="971" y="834"/>
                    <a:pt x="971" y="834"/>
                    <a:pt x="971" y="834"/>
                  </a:cubicBezTo>
                  <a:cubicBezTo>
                    <a:pt x="970" y="836"/>
                    <a:pt x="970" y="836"/>
                    <a:pt x="970" y="836"/>
                  </a:cubicBezTo>
                  <a:cubicBezTo>
                    <a:pt x="969" y="836"/>
                    <a:pt x="969" y="836"/>
                    <a:pt x="969" y="836"/>
                  </a:cubicBezTo>
                  <a:cubicBezTo>
                    <a:pt x="968" y="838"/>
                    <a:pt x="968" y="838"/>
                    <a:pt x="968" y="838"/>
                  </a:cubicBezTo>
                  <a:cubicBezTo>
                    <a:pt x="964" y="843"/>
                    <a:pt x="964" y="843"/>
                    <a:pt x="964" y="843"/>
                  </a:cubicBezTo>
                  <a:cubicBezTo>
                    <a:pt x="963" y="844"/>
                    <a:pt x="963" y="844"/>
                    <a:pt x="963" y="844"/>
                  </a:cubicBezTo>
                  <a:cubicBezTo>
                    <a:pt x="963" y="844"/>
                    <a:pt x="963" y="844"/>
                    <a:pt x="963" y="844"/>
                  </a:cubicBezTo>
                  <a:cubicBezTo>
                    <a:pt x="963" y="845"/>
                    <a:pt x="963" y="845"/>
                    <a:pt x="963" y="845"/>
                  </a:cubicBezTo>
                  <a:cubicBezTo>
                    <a:pt x="963" y="846"/>
                    <a:pt x="963" y="846"/>
                    <a:pt x="963" y="846"/>
                  </a:cubicBezTo>
                  <a:cubicBezTo>
                    <a:pt x="962" y="846"/>
                    <a:pt x="962" y="846"/>
                    <a:pt x="962" y="846"/>
                  </a:cubicBezTo>
                  <a:cubicBezTo>
                    <a:pt x="962" y="846"/>
                    <a:pt x="962" y="846"/>
                    <a:pt x="962" y="846"/>
                  </a:cubicBezTo>
                  <a:cubicBezTo>
                    <a:pt x="962" y="846"/>
                    <a:pt x="962" y="846"/>
                    <a:pt x="962" y="846"/>
                  </a:cubicBezTo>
                  <a:cubicBezTo>
                    <a:pt x="961" y="846"/>
                    <a:pt x="961" y="846"/>
                    <a:pt x="961" y="846"/>
                  </a:cubicBezTo>
                  <a:cubicBezTo>
                    <a:pt x="960" y="850"/>
                    <a:pt x="960" y="850"/>
                    <a:pt x="960" y="850"/>
                  </a:cubicBezTo>
                  <a:cubicBezTo>
                    <a:pt x="959" y="850"/>
                    <a:pt x="959" y="850"/>
                    <a:pt x="959" y="850"/>
                  </a:cubicBezTo>
                  <a:cubicBezTo>
                    <a:pt x="959" y="851"/>
                    <a:pt x="959" y="851"/>
                    <a:pt x="959" y="851"/>
                  </a:cubicBezTo>
                  <a:cubicBezTo>
                    <a:pt x="958" y="851"/>
                    <a:pt x="958" y="851"/>
                    <a:pt x="958" y="851"/>
                  </a:cubicBezTo>
                  <a:cubicBezTo>
                    <a:pt x="958" y="851"/>
                    <a:pt x="958" y="851"/>
                    <a:pt x="958" y="851"/>
                  </a:cubicBezTo>
                  <a:cubicBezTo>
                    <a:pt x="957" y="851"/>
                    <a:pt x="957" y="851"/>
                    <a:pt x="957" y="851"/>
                  </a:cubicBezTo>
                  <a:cubicBezTo>
                    <a:pt x="957" y="853"/>
                    <a:pt x="957" y="853"/>
                    <a:pt x="957" y="853"/>
                  </a:cubicBezTo>
                  <a:cubicBezTo>
                    <a:pt x="955" y="856"/>
                    <a:pt x="955" y="856"/>
                    <a:pt x="955" y="856"/>
                  </a:cubicBezTo>
                  <a:cubicBezTo>
                    <a:pt x="954" y="858"/>
                    <a:pt x="954" y="858"/>
                    <a:pt x="954" y="858"/>
                  </a:cubicBezTo>
                  <a:cubicBezTo>
                    <a:pt x="954" y="857"/>
                    <a:pt x="954" y="857"/>
                    <a:pt x="954" y="857"/>
                  </a:cubicBezTo>
                  <a:cubicBezTo>
                    <a:pt x="955" y="856"/>
                    <a:pt x="955" y="856"/>
                    <a:pt x="955" y="856"/>
                  </a:cubicBezTo>
                  <a:cubicBezTo>
                    <a:pt x="957" y="853"/>
                    <a:pt x="957" y="853"/>
                    <a:pt x="957" y="853"/>
                  </a:cubicBezTo>
                  <a:cubicBezTo>
                    <a:pt x="957" y="851"/>
                    <a:pt x="957" y="851"/>
                    <a:pt x="957" y="851"/>
                  </a:cubicBezTo>
                  <a:cubicBezTo>
                    <a:pt x="958" y="851"/>
                    <a:pt x="958" y="851"/>
                    <a:pt x="958" y="851"/>
                  </a:cubicBezTo>
                  <a:lnTo>
                    <a:pt x="958" y="850"/>
                  </a:lnTo>
                  <a:close/>
                  <a:moveTo>
                    <a:pt x="854" y="1089"/>
                  </a:moveTo>
                  <a:cubicBezTo>
                    <a:pt x="854" y="1089"/>
                    <a:pt x="854" y="1089"/>
                    <a:pt x="854" y="1089"/>
                  </a:cubicBezTo>
                  <a:cubicBezTo>
                    <a:pt x="853" y="1088"/>
                    <a:pt x="853" y="1088"/>
                    <a:pt x="853" y="1088"/>
                  </a:cubicBezTo>
                  <a:cubicBezTo>
                    <a:pt x="854" y="1088"/>
                    <a:pt x="854" y="1088"/>
                    <a:pt x="854" y="1088"/>
                  </a:cubicBezTo>
                  <a:cubicBezTo>
                    <a:pt x="854" y="1088"/>
                    <a:pt x="854" y="1088"/>
                    <a:pt x="854" y="1088"/>
                  </a:cubicBezTo>
                  <a:cubicBezTo>
                    <a:pt x="854" y="1088"/>
                    <a:pt x="854" y="1088"/>
                    <a:pt x="854" y="1088"/>
                  </a:cubicBezTo>
                  <a:cubicBezTo>
                    <a:pt x="855" y="1089"/>
                    <a:pt x="855" y="1089"/>
                    <a:pt x="855" y="1089"/>
                  </a:cubicBezTo>
                  <a:cubicBezTo>
                    <a:pt x="855" y="1090"/>
                    <a:pt x="855" y="1090"/>
                    <a:pt x="855" y="1090"/>
                  </a:cubicBezTo>
                  <a:cubicBezTo>
                    <a:pt x="855" y="1091"/>
                    <a:pt x="855" y="1091"/>
                    <a:pt x="855" y="1091"/>
                  </a:cubicBezTo>
                  <a:cubicBezTo>
                    <a:pt x="855" y="1091"/>
                    <a:pt x="855" y="1091"/>
                    <a:pt x="855" y="1091"/>
                  </a:cubicBezTo>
                  <a:cubicBezTo>
                    <a:pt x="856" y="1092"/>
                    <a:pt x="856" y="1092"/>
                    <a:pt x="856" y="1092"/>
                  </a:cubicBezTo>
                  <a:cubicBezTo>
                    <a:pt x="856" y="1092"/>
                    <a:pt x="856" y="1092"/>
                    <a:pt x="856" y="1092"/>
                  </a:cubicBezTo>
                  <a:cubicBezTo>
                    <a:pt x="856" y="1092"/>
                    <a:pt x="856" y="1092"/>
                    <a:pt x="856" y="1092"/>
                  </a:cubicBezTo>
                  <a:cubicBezTo>
                    <a:pt x="856" y="1092"/>
                    <a:pt x="856" y="1092"/>
                    <a:pt x="856" y="1092"/>
                  </a:cubicBezTo>
                  <a:cubicBezTo>
                    <a:pt x="856" y="1091"/>
                    <a:pt x="856" y="1091"/>
                    <a:pt x="856" y="1091"/>
                  </a:cubicBezTo>
                  <a:cubicBezTo>
                    <a:pt x="854" y="1090"/>
                    <a:pt x="854" y="1090"/>
                    <a:pt x="854" y="1090"/>
                  </a:cubicBezTo>
                  <a:cubicBezTo>
                    <a:pt x="854" y="1090"/>
                    <a:pt x="854" y="1090"/>
                    <a:pt x="854" y="1090"/>
                  </a:cubicBezTo>
                  <a:lnTo>
                    <a:pt x="854" y="1089"/>
                  </a:lnTo>
                  <a:close/>
                  <a:moveTo>
                    <a:pt x="837" y="1056"/>
                  </a:moveTo>
                  <a:cubicBezTo>
                    <a:pt x="837" y="1056"/>
                    <a:pt x="837" y="1056"/>
                    <a:pt x="837" y="1056"/>
                  </a:cubicBezTo>
                  <a:cubicBezTo>
                    <a:pt x="837" y="1056"/>
                    <a:pt x="837" y="1056"/>
                    <a:pt x="837" y="1056"/>
                  </a:cubicBezTo>
                  <a:close/>
                  <a:moveTo>
                    <a:pt x="716" y="995"/>
                  </a:moveTo>
                  <a:cubicBezTo>
                    <a:pt x="716" y="995"/>
                    <a:pt x="716" y="995"/>
                    <a:pt x="716" y="995"/>
                  </a:cubicBezTo>
                  <a:cubicBezTo>
                    <a:pt x="716" y="995"/>
                    <a:pt x="716" y="995"/>
                    <a:pt x="716" y="995"/>
                  </a:cubicBezTo>
                  <a:cubicBezTo>
                    <a:pt x="715" y="995"/>
                    <a:pt x="715" y="995"/>
                    <a:pt x="715" y="995"/>
                  </a:cubicBezTo>
                  <a:cubicBezTo>
                    <a:pt x="716" y="995"/>
                    <a:pt x="716" y="995"/>
                    <a:pt x="716" y="995"/>
                  </a:cubicBezTo>
                  <a:cubicBezTo>
                    <a:pt x="716" y="995"/>
                    <a:pt x="716" y="995"/>
                    <a:pt x="716" y="995"/>
                  </a:cubicBezTo>
                  <a:cubicBezTo>
                    <a:pt x="716" y="995"/>
                    <a:pt x="716" y="995"/>
                    <a:pt x="716" y="995"/>
                  </a:cubicBezTo>
                  <a:cubicBezTo>
                    <a:pt x="716" y="995"/>
                    <a:pt x="716" y="995"/>
                    <a:pt x="716" y="995"/>
                  </a:cubicBezTo>
                  <a:close/>
                  <a:moveTo>
                    <a:pt x="701" y="701"/>
                  </a:moveTo>
                  <a:cubicBezTo>
                    <a:pt x="701" y="701"/>
                    <a:pt x="701" y="701"/>
                    <a:pt x="701" y="701"/>
                  </a:cubicBezTo>
                  <a:cubicBezTo>
                    <a:pt x="702" y="702"/>
                    <a:pt x="702" y="702"/>
                    <a:pt x="702" y="702"/>
                  </a:cubicBezTo>
                  <a:cubicBezTo>
                    <a:pt x="701" y="702"/>
                    <a:pt x="701" y="702"/>
                    <a:pt x="701" y="702"/>
                  </a:cubicBezTo>
                  <a:cubicBezTo>
                    <a:pt x="701" y="702"/>
                    <a:pt x="701" y="702"/>
                    <a:pt x="701" y="702"/>
                  </a:cubicBezTo>
                  <a:cubicBezTo>
                    <a:pt x="700" y="701"/>
                    <a:pt x="700" y="701"/>
                    <a:pt x="700" y="701"/>
                  </a:cubicBezTo>
                  <a:cubicBezTo>
                    <a:pt x="700" y="701"/>
                    <a:pt x="700" y="701"/>
                    <a:pt x="700" y="701"/>
                  </a:cubicBezTo>
                  <a:lnTo>
                    <a:pt x="701" y="701"/>
                  </a:lnTo>
                  <a:close/>
                  <a:moveTo>
                    <a:pt x="712" y="792"/>
                  </a:moveTo>
                  <a:cubicBezTo>
                    <a:pt x="713" y="791"/>
                    <a:pt x="713" y="791"/>
                    <a:pt x="713" y="791"/>
                  </a:cubicBezTo>
                  <a:cubicBezTo>
                    <a:pt x="713" y="791"/>
                    <a:pt x="713" y="791"/>
                    <a:pt x="713" y="791"/>
                  </a:cubicBezTo>
                  <a:cubicBezTo>
                    <a:pt x="713" y="790"/>
                    <a:pt x="713" y="790"/>
                    <a:pt x="713" y="790"/>
                  </a:cubicBezTo>
                  <a:cubicBezTo>
                    <a:pt x="713" y="791"/>
                    <a:pt x="713" y="791"/>
                    <a:pt x="713" y="791"/>
                  </a:cubicBezTo>
                  <a:cubicBezTo>
                    <a:pt x="714" y="791"/>
                    <a:pt x="714" y="791"/>
                    <a:pt x="714" y="791"/>
                  </a:cubicBezTo>
                  <a:cubicBezTo>
                    <a:pt x="714" y="792"/>
                    <a:pt x="714" y="792"/>
                    <a:pt x="714" y="792"/>
                  </a:cubicBezTo>
                  <a:cubicBezTo>
                    <a:pt x="714" y="792"/>
                    <a:pt x="714" y="792"/>
                    <a:pt x="714" y="792"/>
                  </a:cubicBezTo>
                  <a:cubicBezTo>
                    <a:pt x="713" y="793"/>
                    <a:pt x="713" y="793"/>
                    <a:pt x="713" y="793"/>
                  </a:cubicBezTo>
                  <a:cubicBezTo>
                    <a:pt x="713" y="793"/>
                    <a:pt x="713" y="793"/>
                    <a:pt x="713" y="793"/>
                  </a:cubicBezTo>
                  <a:cubicBezTo>
                    <a:pt x="712" y="793"/>
                    <a:pt x="712" y="793"/>
                    <a:pt x="712" y="793"/>
                  </a:cubicBezTo>
                  <a:lnTo>
                    <a:pt x="712" y="792"/>
                  </a:lnTo>
                  <a:close/>
                  <a:moveTo>
                    <a:pt x="715" y="794"/>
                  </a:moveTo>
                  <a:cubicBezTo>
                    <a:pt x="715" y="794"/>
                    <a:pt x="715" y="794"/>
                    <a:pt x="715" y="794"/>
                  </a:cubicBezTo>
                  <a:cubicBezTo>
                    <a:pt x="715" y="794"/>
                    <a:pt x="715" y="794"/>
                    <a:pt x="715" y="794"/>
                  </a:cubicBezTo>
                  <a:cubicBezTo>
                    <a:pt x="715" y="795"/>
                    <a:pt x="715" y="795"/>
                    <a:pt x="715" y="795"/>
                  </a:cubicBezTo>
                  <a:cubicBezTo>
                    <a:pt x="715" y="796"/>
                    <a:pt x="715" y="796"/>
                    <a:pt x="715" y="796"/>
                  </a:cubicBezTo>
                  <a:cubicBezTo>
                    <a:pt x="715" y="796"/>
                    <a:pt x="715" y="796"/>
                    <a:pt x="715" y="796"/>
                  </a:cubicBezTo>
                  <a:cubicBezTo>
                    <a:pt x="714" y="796"/>
                    <a:pt x="714" y="796"/>
                    <a:pt x="714" y="796"/>
                  </a:cubicBezTo>
                  <a:cubicBezTo>
                    <a:pt x="714" y="795"/>
                    <a:pt x="714" y="795"/>
                    <a:pt x="714" y="795"/>
                  </a:cubicBezTo>
                  <a:cubicBezTo>
                    <a:pt x="714" y="795"/>
                    <a:pt x="714" y="795"/>
                    <a:pt x="714" y="795"/>
                  </a:cubicBezTo>
                  <a:cubicBezTo>
                    <a:pt x="714" y="794"/>
                    <a:pt x="714" y="794"/>
                    <a:pt x="714" y="794"/>
                  </a:cubicBezTo>
                  <a:lnTo>
                    <a:pt x="715" y="794"/>
                  </a:lnTo>
                  <a:close/>
                  <a:moveTo>
                    <a:pt x="717" y="901"/>
                  </a:moveTo>
                  <a:cubicBezTo>
                    <a:pt x="717" y="901"/>
                    <a:pt x="717" y="901"/>
                    <a:pt x="717" y="901"/>
                  </a:cubicBezTo>
                  <a:cubicBezTo>
                    <a:pt x="717" y="901"/>
                    <a:pt x="717" y="901"/>
                    <a:pt x="717" y="901"/>
                  </a:cubicBezTo>
                  <a:close/>
                  <a:moveTo>
                    <a:pt x="717" y="900"/>
                  </a:moveTo>
                  <a:cubicBezTo>
                    <a:pt x="717" y="900"/>
                    <a:pt x="717" y="900"/>
                    <a:pt x="717" y="900"/>
                  </a:cubicBezTo>
                  <a:cubicBezTo>
                    <a:pt x="717" y="899"/>
                    <a:pt x="717" y="899"/>
                    <a:pt x="717" y="899"/>
                  </a:cubicBezTo>
                  <a:cubicBezTo>
                    <a:pt x="717" y="898"/>
                    <a:pt x="717" y="898"/>
                    <a:pt x="717" y="898"/>
                  </a:cubicBezTo>
                  <a:lnTo>
                    <a:pt x="717" y="900"/>
                  </a:lnTo>
                  <a:close/>
                  <a:moveTo>
                    <a:pt x="724" y="893"/>
                  </a:moveTo>
                  <a:cubicBezTo>
                    <a:pt x="724" y="893"/>
                    <a:pt x="724" y="893"/>
                    <a:pt x="724" y="893"/>
                  </a:cubicBezTo>
                  <a:cubicBezTo>
                    <a:pt x="724" y="892"/>
                    <a:pt x="724" y="892"/>
                    <a:pt x="724" y="892"/>
                  </a:cubicBezTo>
                  <a:cubicBezTo>
                    <a:pt x="724" y="892"/>
                    <a:pt x="724" y="892"/>
                    <a:pt x="724" y="892"/>
                  </a:cubicBezTo>
                  <a:cubicBezTo>
                    <a:pt x="724" y="892"/>
                    <a:pt x="724" y="892"/>
                    <a:pt x="724" y="892"/>
                  </a:cubicBezTo>
                  <a:cubicBezTo>
                    <a:pt x="724" y="891"/>
                    <a:pt x="724" y="891"/>
                    <a:pt x="724" y="891"/>
                  </a:cubicBezTo>
                  <a:cubicBezTo>
                    <a:pt x="724" y="891"/>
                    <a:pt x="724" y="891"/>
                    <a:pt x="724" y="891"/>
                  </a:cubicBezTo>
                  <a:cubicBezTo>
                    <a:pt x="724" y="891"/>
                    <a:pt x="724" y="891"/>
                    <a:pt x="724" y="891"/>
                  </a:cubicBezTo>
                  <a:cubicBezTo>
                    <a:pt x="724" y="892"/>
                    <a:pt x="724" y="892"/>
                    <a:pt x="724" y="892"/>
                  </a:cubicBezTo>
                  <a:cubicBezTo>
                    <a:pt x="724" y="892"/>
                    <a:pt x="724" y="892"/>
                    <a:pt x="724" y="892"/>
                  </a:cubicBezTo>
                  <a:cubicBezTo>
                    <a:pt x="724" y="892"/>
                    <a:pt x="724" y="892"/>
                    <a:pt x="724" y="892"/>
                  </a:cubicBezTo>
                  <a:cubicBezTo>
                    <a:pt x="724" y="892"/>
                    <a:pt x="724" y="892"/>
                    <a:pt x="724" y="892"/>
                  </a:cubicBezTo>
                  <a:lnTo>
                    <a:pt x="724" y="893"/>
                  </a:lnTo>
                  <a:close/>
                  <a:moveTo>
                    <a:pt x="724" y="890"/>
                  </a:moveTo>
                  <a:cubicBezTo>
                    <a:pt x="724" y="891"/>
                    <a:pt x="724" y="891"/>
                    <a:pt x="724" y="891"/>
                  </a:cubicBezTo>
                  <a:cubicBezTo>
                    <a:pt x="725" y="888"/>
                    <a:pt x="725" y="888"/>
                    <a:pt x="725" y="888"/>
                  </a:cubicBezTo>
                  <a:cubicBezTo>
                    <a:pt x="725" y="886"/>
                    <a:pt x="725" y="886"/>
                    <a:pt x="725" y="886"/>
                  </a:cubicBezTo>
                  <a:cubicBezTo>
                    <a:pt x="725" y="885"/>
                    <a:pt x="725" y="885"/>
                    <a:pt x="725" y="885"/>
                  </a:cubicBezTo>
                  <a:cubicBezTo>
                    <a:pt x="725" y="884"/>
                    <a:pt x="725" y="884"/>
                    <a:pt x="725" y="884"/>
                  </a:cubicBezTo>
                  <a:cubicBezTo>
                    <a:pt x="725" y="883"/>
                    <a:pt x="725" y="883"/>
                    <a:pt x="725" y="883"/>
                  </a:cubicBezTo>
                  <a:cubicBezTo>
                    <a:pt x="725" y="883"/>
                    <a:pt x="725" y="883"/>
                    <a:pt x="725" y="883"/>
                  </a:cubicBezTo>
                  <a:cubicBezTo>
                    <a:pt x="725" y="882"/>
                    <a:pt x="725" y="882"/>
                    <a:pt x="725" y="882"/>
                  </a:cubicBezTo>
                  <a:cubicBezTo>
                    <a:pt x="725" y="882"/>
                    <a:pt x="725" y="882"/>
                    <a:pt x="725" y="882"/>
                  </a:cubicBezTo>
                  <a:cubicBezTo>
                    <a:pt x="725" y="882"/>
                    <a:pt x="725" y="882"/>
                    <a:pt x="725" y="882"/>
                  </a:cubicBezTo>
                  <a:cubicBezTo>
                    <a:pt x="725" y="882"/>
                    <a:pt x="725" y="882"/>
                    <a:pt x="725" y="882"/>
                  </a:cubicBezTo>
                  <a:cubicBezTo>
                    <a:pt x="725" y="883"/>
                    <a:pt x="725" y="883"/>
                    <a:pt x="725" y="883"/>
                  </a:cubicBezTo>
                  <a:cubicBezTo>
                    <a:pt x="725" y="883"/>
                    <a:pt x="725" y="883"/>
                    <a:pt x="725" y="883"/>
                  </a:cubicBezTo>
                  <a:cubicBezTo>
                    <a:pt x="725" y="885"/>
                    <a:pt x="725" y="885"/>
                    <a:pt x="725" y="885"/>
                  </a:cubicBezTo>
                  <a:cubicBezTo>
                    <a:pt x="725" y="886"/>
                    <a:pt x="725" y="886"/>
                    <a:pt x="725" y="886"/>
                  </a:cubicBezTo>
                  <a:cubicBezTo>
                    <a:pt x="725" y="887"/>
                    <a:pt x="725" y="887"/>
                    <a:pt x="725" y="887"/>
                  </a:cubicBezTo>
                  <a:lnTo>
                    <a:pt x="724" y="890"/>
                  </a:lnTo>
                  <a:close/>
                  <a:moveTo>
                    <a:pt x="725" y="788"/>
                  </a:moveTo>
                  <a:cubicBezTo>
                    <a:pt x="725" y="788"/>
                    <a:pt x="725" y="788"/>
                    <a:pt x="725" y="788"/>
                  </a:cubicBezTo>
                  <a:cubicBezTo>
                    <a:pt x="725" y="788"/>
                    <a:pt x="725" y="788"/>
                    <a:pt x="725" y="788"/>
                  </a:cubicBezTo>
                  <a:cubicBezTo>
                    <a:pt x="725" y="788"/>
                    <a:pt x="725" y="788"/>
                    <a:pt x="725" y="788"/>
                  </a:cubicBezTo>
                  <a:close/>
                  <a:moveTo>
                    <a:pt x="724" y="789"/>
                  </a:moveTo>
                  <a:cubicBezTo>
                    <a:pt x="724" y="789"/>
                    <a:pt x="724" y="789"/>
                    <a:pt x="724" y="789"/>
                  </a:cubicBezTo>
                  <a:cubicBezTo>
                    <a:pt x="724" y="789"/>
                    <a:pt x="724" y="789"/>
                    <a:pt x="724" y="789"/>
                  </a:cubicBezTo>
                  <a:cubicBezTo>
                    <a:pt x="725" y="789"/>
                    <a:pt x="725" y="789"/>
                    <a:pt x="725" y="789"/>
                  </a:cubicBezTo>
                  <a:cubicBezTo>
                    <a:pt x="725" y="789"/>
                    <a:pt x="725" y="789"/>
                    <a:pt x="725" y="789"/>
                  </a:cubicBezTo>
                  <a:cubicBezTo>
                    <a:pt x="725" y="789"/>
                    <a:pt x="725" y="789"/>
                    <a:pt x="725" y="789"/>
                  </a:cubicBezTo>
                  <a:cubicBezTo>
                    <a:pt x="725" y="790"/>
                    <a:pt x="725" y="790"/>
                    <a:pt x="725" y="790"/>
                  </a:cubicBezTo>
                  <a:cubicBezTo>
                    <a:pt x="726" y="790"/>
                    <a:pt x="726" y="790"/>
                    <a:pt x="726" y="790"/>
                  </a:cubicBezTo>
                  <a:cubicBezTo>
                    <a:pt x="726" y="792"/>
                    <a:pt x="726" y="792"/>
                    <a:pt x="726" y="792"/>
                  </a:cubicBezTo>
                  <a:cubicBezTo>
                    <a:pt x="726" y="792"/>
                    <a:pt x="726" y="792"/>
                    <a:pt x="726" y="792"/>
                  </a:cubicBezTo>
                  <a:cubicBezTo>
                    <a:pt x="725" y="792"/>
                    <a:pt x="725" y="792"/>
                    <a:pt x="725" y="792"/>
                  </a:cubicBezTo>
                  <a:cubicBezTo>
                    <a:pt x="725" y="792"/>
                    <a:pt x="725" y="792"/>
                    <a:pt x="725" y="792"/>
                  </a:cubicBezTo>
                  <a:cubicBezTo>
                    <a:pt x="725" y="793"/>
                    <a:pt x="725" y="793"/>
                    <a:pt x="725" y="793"/>
                  </a:cubicBezTo>
                  <a:cubicBezTo>
                    <a:pt x="725" y="793"/>
                    <a:pt x="725" y="793"/>
                    <a:pt x="725" y="793"/>
                  </a:cubicBezTo>
                  <a:cubicBezTo>
                    <a:pt x="725" y="795"/>
                    <a:pt x="725" y="795"/>
                    <a:pt x="725" y="795"/>
                  </a:cubicBezTo>
                  <a:cubicBezTo>
                    <a:pt x="725" y="795"/>
                    <a:pt x="725" y="795"/>
                    <a:pt x="725" y="795"/>
                  </a:cubicBezTo>
                  <a:cubicBezTo>
                    <a:pt x="724" y="795"/>
                    <a:pt x="724" y="795"/>
                    <a:pt x="724" y="795"/>
                  </a:cubicBezTo>
                  <a:cubicBezTo>
                    <a:pt x="724" y="794"/>
                    <a:pt x="724" y="794"/>
                    <a:pt x="724" y="794"/>
                  </a:cubicBezTo>
                  <a:cubicBezTo>
                    <a:pt x="724" y="793"/>
                    <a:pt x="724" y="793"/>
                    <a:pt x="724" y="793"/>
                  </a:cubicBezTo>
                  <a:cubicBezTo>
                    <a:pt x="724" y="793"/>
                    <a:pt x="724" y="793"/>
                    <a:pt x="724" y="793"/>
                  </a:cubicBezTo>
                  <a:cubicBezTo>
                    <a:pt x="724" y="793"/>
                    <a:pt x="724" y="793"/>
                    <a:pt x="724" y="793"/>
                  </a:cubicBezTo>
                  <a:cubicBezTo>
                    <a:pt x="725" y="793"/>
                    <a:pt x="725" y="793"/>
                    <a:pt x="725" y="793"/>
                  </a:cubicBezTo>
                  <a:cubicBezTo>
                    <a:pt x="725" y="792"/>
                    <a:pt x="725" y="792"/>
                    <a:pt x="725" y="792"/>
                  </a:cubicBezTo>
                  <a:cubicBezTo>
                    <a:pt x="725" y="791"/>
                    <a:pt x="725" y="791"/>
                    <a:pt x="725" y="791"/>
                  </a:cubicBezTo>
                  <a:cubicBezTo>
                    <a:pt x="724" y="790"/>
                    <a:pt x="724" y="790"/>
                    <a:pt x="724" y="790"/>
                  </a:cubicBezTo>
                  <a:cubicBezTo>
                    <a:pt x="724" y="790"/>
                    <a:pt x="724" y="790"/>
                    <a:pt x="724" y="790"/>
                  </a:cubicBezTo>
                  <a:cubicBezTo>
                    <a:pt x="724" y="790"/>
                    <a:pt x="724" y="790"/>
                    <a:pt x="724" y="790"/>
                  </a:cubicBezTo>
                  <a:lnTo>
                    <a:pt x="724" y="789"/>
                  </a:lnTo>
                  <a:close/>
                  <a:moveTo>
                    <a:pt x="707" y="793"/>
                  </a:moveTo>
                  <a:cubicBezTo>
                    <a:pt x="706" y="793"/>
                    <a:pt x="706" y="793"/>
                    <a:pt x="706" y="793"/>
                  </a:cubicBezTo>
                  <a:cubicBezTo>
                    <a:pt x="705" y="792"/>
                    <a:pt x="705" y="792"/>
                    <a:pt x="705" y="792"/>
                  </a:cubicBezTo>
                  <a:cubicBezTo>
                    <a:pt x="705" y="792"/>
                    <a:pt x="705" y="792"/>
                    <a:pt x="705" y="792"/>
                  </a:cubicBezTo>
                  <a:cubicBezTo>
                    <a:pt x="705" y="791"/>
                    <a:pt x="705" y="791"/>
                    <a:pt x="705" y="791"/>
                  </a:cubicBezTo>
                  <a:cubicBezTo>
                    <a:pt x="705" y="791"/>
                    <a:pt x="705" y="791"/>
                    <a:pt x="705" y="791"/>
                  </a:cubicBezTo>
                  <a:cubicBezTo>
                    <a:pt x="704" y="791"/>
                    <a:pt x="704" y="791"/>
                    <a:pt x="704" y="791"/>
                  </a:cubicBezTo>
                  <a:cubicBezTo>
                    <a:pt x="704" y="791"/>
                    <a:pt x="704" y="791"/>
                    <a:pt x="704" y="791"/>
                  </a:cubicBezTo>
                  <a:cubicBezTo>
                    <a:pt x="704" y="790"/>
                    <a:pt x="704" y="790"/>
                    <a:pt x="704" y="790"/>
                  </a:cubicBezTo>
                  <a:cubicBezTo>
                    <a:pt x="704" y="790"/>
                    <a:pt x="704" y="790"/>
                    <a:pt x="704" y="790"/>
                  </a:cubicBezTo>
                  <a:cubicBezTo>
                    <a:pt x="704" y="790"/>
                    <a:pt x="704" y="790"/>
                    <a:pt x="704" y="790"/>
                  </a:cubicBezTo>
                  <a:cubicBezTo>
                    <a:pt x="705" y="790"/>
                    <a:pt x="705" y="790"/>
                    <a:pt x="705" y="790"/>
                  </a:cubicBezTo>
                  <a:cubicBezTo>
                    <a:pt x="705" y="790"/>
                    <a:pt x="705" y="790"/>
                    <a:pt x="705" y="790"/>
                  </a:cubicBezTo>
                  <a:cubicBezTo>
                    <a:pt x="705" y="791"/>
                    <a:pt x="705" y="791"/>
                    <a:pt x="705" y="791"/>
                  </a:cubicBezTo>
                  <a:cubicBezTo>
                    <a:pt x="706" y="791"/>
                    <a:pt x="706" y="791"/>
                    <a:pt x="706" y="791"/>
                  </a:cubicBezTo>
                  <a:cubicBezTo>
                    <a:pt x="706" y="792"/>
                    <a:pt x="706" y="792"/>
                    <a:pt x="706" y="792"/>
                  </a:cubicBezTo>
                  <a:cubicBezTo>
                    <a:pt x="707" y="792"/>
                    <a:pt x="707" y="792"/>
                    <a:pt x="707" y="792"/>
                  </a:cubicBezTo>
                  <a:cubicBezTo>
                    <a:pt x="707" y="793"/>
                    <a:pt x="707" y="793"/>
                    <a:pt x="707" y="793"/>
                  </a:cubicBezTo>
                  <a:close/>
                  <a:moveTo>
                    <a:pt x="706" y="705"/>
                  </a:moveTo>
                  <a:cubicBezTo>
                    <a:pt x="707" y="705"/>
                    <a:pt x="707" y="705"/>
                    <a:pt x="707" y="705"/>
                  </a:cubicBezTo>
                  <a:cubicBezTo>
                    <a:pt x="705" y="704"/>
                    <a:pt x="705" y="704"/>
                    <a:pt x="705" y="704"/>
                  </a:cubicBezTo>
                  <a:cubicBezTo>
                    <a:pt x="704" y="704"/>
                    <a:pt x="704" y="704"/>
                    <a:pt x="704" y="704"/>
                  </a:cubicBezTo>
                  <a:cubicBezTo>
                    <a:pt x="703" y="703"/>
                    <a:pt x="703" y="703"/>
                    <a:pt x="703" y="703"/>
                  </a:cubicBezTo>
                  <a:cubicBezTo>
                    <a:pt x="703" y="703"/>
                    <a:pt x="703" y="703"/>
                    <a:pt x="703" y="703"/>
                  </a:cubicBezTo>
                  <a:lnTo>
                    <a:pt x="706" y="705"/>
                  </a:lnTo>
                  <a:close/>
                  <a:moveTo>
                    <a:pt x="714" y="996"/>
                  </a:moveTo>
                  <a:cubicBezTo>
                    <a:pt x="714" y="996"/>
                    <a:pt x="714" y="996"/>
                    <a:pt x="714" y="996"/>
                  </a:cubicBezTo>
                  <a:cubicBezTo>
                    <a:pt x="715" y="996"/>
                    <a:pt x="715" y="996"/>
                    <a:pt x="715" y="996"/>
                  </a:cubicBezTo>
                  <a:cubicBezTo>
                    <a:pt x="715" y="996"/>
                    <a:pt x="715" y="996"/>
                    <a:pt x="715" y="996"/>
                  </a:cubicBezTo>
                  <a:cubicBezTo>
                    <a:pt x="715" y="995"/>
                    <a:pt x="715" y="995"/>
                    <a:pt x="715" y="995"/>
                  </a:cubicBezTo>
                  <a:cubicBezTo>
                    <a:pt x="715" y="996"/>
                    <a:pt x="715" y="996"/>
                    <a:pt x="715" y="996"/>
                  </a:cubicBezTo>
                  <a:cubicBezTo>
                    <a:pt x="714" y="996"/>
                    <a:pt x="714" y="996"/>
                    <a:pt x="714" y="996"/>
                  </a:cubicBezTo>
                  <a:cubicBezTo>
                    <a:pt x="714" y="996"/>
                    <a:pt x="714" y="996"/>
                    <a:pt x="714" y="996"/>
                  </a:cubicBezTo>
                  <a:cubicBezTo>
                    <a:pt x="714" y="996"/>
                    <a:pt x="714" y="996"/>
                    <a:pt x="714" y="996"/>
                  </a:cubicBezTo>
                  <a:cubicBezTo>
                    <a:pt x="713" y="996"/>
                    <a:pt x="713" y="996"/>
                    <a:pt x="713" y="996"/>
                  </a:cubicBezTo>
                  <a:cubicBezTo>
                    <a:pt x="713" y="996"/>
                    <a:pt x="713" y="996"/>
                    <a:pt x="713" y="996"/>
                  </a:cubicBezTo>
                  <a:cubicBezTo>
                    <a:pt x="713" y="996"/>
                    <a:pt x="713" y="996"/>
                    <a:pt x="713" y="996"/>
                  </a:cubicBezTo>
                  <a:lnTo>
                    <a:pt x="714" y="996"/>
                  </a:lnTo>
                  <a:close/>
                  <a:moveTo>
                    <a:pt x="717" y="993"/>
                  </a:moveTo>
                  <a:cubicBezTo>
                    <a:pt x="717" y="993"/>
                    <a:pt x="717" y="993"/>
                    <a:pt x="717" y="993"/>
                  </a:cubicBezTo>
                  <a:cubicBezTo>
                    <a:pt x="718" y="993"/>
                    <a:pt x="718" y="993"/>
                    <a:pt x="718" y="993"/>
                  </a:cubicBezTo>
                  <a:cubicBezTo>
                    <a:pt x="718" y="993"/>
                    <a:pt x="718" y="993"/>
                    <a:pt x="718" y="993"/>
                  </a:cubicBezTo>
                  <a:cubicBezTo>
                    <a:pt x="719" y="993"/>
                    <a:pt x="719" y="993"/>
                    <a:pt x="719" y="993"/>
                  </a:cubicBezTo>
                  <a:cubicBezTo>
                    <a:pt x="719" y="993"/>
                    <a:pt x="719" y="993"/>
                    <a:pt x="719" y="993"/>
                  </a:cubicBezTo>
                  <a:cubicBezTo>
                    <a:pt x="719" y="993"/>
                    <a:pt x="719" y="993"/>
                    <a:pt x="719" y="993"/>
                  </a:cubicBezTo>
                  <a:cubicBezTo>
                    <a:pt x="718" y="993"/>
                    <a:pt x="718" y="993"/>
                    <a:pt x="718" y="993"/>
                  </a:cubicBezTo>
                  <a:cubicBezTo>
                    <a:pt x="718" y="994"/>
                    <a:pt x="718" y="994"/>
                    <a:pt x="718" y="994"/>
                  </a:cubicBezTo>
                  <a:cubicBezTo>
                    <a:pt x="717" y="993"/>
                    <a:pt x="717" y="993"/>
                    <a:pt x="717" y="993"/>
                  </a:cubicBezTo>
                  <a:cubicBezTo>
                    <a:pt x="717" y="994"/>
                    <a:pt x="717" y="994"/>
                    <a:pt x="717" y="994"/>
                  </a:cubicBezTo>
                  <a:lnTo>
                    <a:pt x="717" y="993"/>
                  </a:lnTo>
                  <a:close/>
                  <a:moveTo>
                    <a:pt x="724" y="988"/>
                  </a:moveTo>
                  <a:cubicBezTo>
                    <a:pt x="724" y="988"/>
                    <a:pt x="724" y="988"/>
                    <a:pt x="724" y="988"/>
                  </a:cubicBezTo>
                  <a:cubicBezTo>
                    <a:pt x="725" y="988"/>
                    <a:pt x="725" y="988"/>
                    <a:pt x="725" y="988"/>
                  </a:cubicBezTo>
                  <a:cubicBezTo>
                    <a:pt x="724" y="989"/>
                    <a:pt x="724" y="989"/>
                    <a:pt x="724" y="989"/>
                  </a:cubicBezTo>
                  <a:cubicBezTo>
                    <a:pt x="724" y="988"/>
                    <a:pt x="724" y="988"/>
                    <a:pt x="724" y="988"/>
                  </a:cubicBezTo>
                  <a:cubicBezTo>
                    <a:pt x="724" y="988"/>
                    <a:pt x="724" y="988"/>
                    <a:pt x="724" y="988"/>
                  </a:cubicBezTo>
                  <a:close/>
                  <a:moveTo>
                    <a:pt x="733" y="884"/>
                  </a:moveTo>
                  <a:cubicBezTo>
                    <a:pt x="733" y="884"/>
                    <a:pt x="733" y="884"/>
                    <a:pt x="733" y="884"/>
                  </a:cubicBezTo>
                  <a:cubicBezTo>
                    <a:pt x="733" y="884"/>
                    <a:pt x="733" y="884"/>
                    <a:pt x="733" y="884"/>
                  </a:cubicBezTo>
                  <a:cubicBezTo>
                    <a:pt x="733" y="884"/>
                    <a:pt x="733" y="884"/>
                    <a:pt x="733" y="884"/>
                  </a:cubicBezTo>
                  <a:close/>
                  <a:moveTo>
                    <a:pt x="733" y="883"/>
                  </a:moveTo>
                  <a:cubicBezTo>
                    <a:pt x="734" y="883"/>
                    <a:pt x="734" y="883"/>
                    <a:pt x="734" y="883"/>
                  </a:cubicBezTo>
                  <a:cubicBezTo>
                    <a:pt x="734" y="883"/>
                    <a:pt x="734" y="883"/>
                    <a:pt x="734" y="883"/>
                  </a:cubicBezTo>
                  <a:cubicBezTo>
                    <a:pt x="734" y="884"/>
                    <a:pt x="734" y="884"/>
                    <a:pt x="734" y="884"/>
                  </a:cubicBezTo>
                  <a:cubicBezTo>
                    <a:pt x="734" y="884"/>
                    <a:pt x="734" y="884"/>
                    <a:pt x="734" y="884"/>
                  </a:cubicBezTo>
                  <a:cubicBezTo>
                    <a:pt x="733" y="884"/>
                    <a:pt x="733" y="884"/>
                    <a:pt x="733" y="884"/>
                  </a:cubicBezTo>
                  <a:lnTo>
                    <a:pt x="733" y="883"/>
                  </a:lnTo>
                  <a:close/>
                  <a:moveTo>
                    <a:pt x="838" y="935"/>
                  </a:moveTo>
                  <a:cubicBezTo>
                    <a:pt x="838" y="935"/>
                    <a:pt x="838" y="935"/>
                    <a:pt x="838" y="935"/>
                  </a:cubicBezTo>
                  <a:cubicBezTo>
                    <a:pt x="838" y="935"/>
                    <a:pt x="838" y="935"/>
                    <a:pt x="838" y="935"/>
                  </a:cubicBezTo>
                  <a:cubicBezTo>
                    <a:pt x="840" y="936"/>
                    <a:pt x="840" y="936"/>
                    <a:pt x="840" y="936"/>
                  </a:cubicBezTo>
                  <a:cubicBezTo>
                    <a:pt x="840" y="936"/>
                    <a:pt x="840" y="936"/>
                    <a:pt x="840" y="936"/>
                  </a:cubicBezTo>
                  <a:cubicBezTo>
                    <a:pt x="839" y="936"/>
                    <a:pt x="839" y="936"/>
                    <a:pt x="839" y="936"/>
                  </a:cubicBezTo>
                  <a:cubicBezTo>
                    <a:pt x="838" y="936"/>
                    <a:pt x="838" y="936"/>
                    <a:pt x="838" y="936"/>
                  </a:cubicBezTo>
                  <a:cubicBezTo>
                    <a:pt x="838" y="937"/>
                    <a:pt x="838" y="937"/>
                    <a:pt x="838" y="937"/>
                  </a:cubicBezTo>
                  <a:cubicBezTo>
                    <a:pt x="837" y="938"/>
                    <a:pt x="837" y="938"/>
                    <a:pt x="837" y="938"/>
                  </a:cubicBezTo>
                  <a:cubicBezTo>
                    <a:pt x="836" y="938"/>
                    <a:pt x="836" y="938"/>
                    <a:pt x="836" y="938"/>
                  </a:cubicBezTo>
                  <a:cubicBezTo>
                    <a:pt x="835" y="938"/>
                    <a:pt x="835" y="938"/>
                    <a:pt x="835" y="938"/>
                  </a:cubicBezTo>
                  <a:cubicBezTo>
                    <a:pt x="834" y="938"/>
                    <a:pt x="834" y="938"/>
                    <a:pt x="834" y="938"/>
                  </a:cubicBezTo>
                  <a:cubicBezTo>
                    <a:pt x="833" y="938"/>
                    <a:pt x="833" y="938"/>
                    <a:pt x="833" y="938"/>
                  </a:cubicBezTo>
                  <a:cubicBezTo>
                    <a:pt x="832" y="937"/>
                    <a:pt x="832" y="937"/>
                    <a:pt x="832" y="937"/>
                  </a:cubicBezTo>
                  <a:cubicBezTo>
                    <a:pt x="826" y="938"/>
                    <a:pt x="826" y="938"/>
                    <a:pt x="826" y="938"/>
                  </a:cubicBezTo>
                  <a:cubicBezTo>
                    <a:pt x="823" y="939"/>
                    <a:pt x="823" y="939"/>
                    <a:pt x="823" y="939"/>
                  </a:cubicBezTo>
                  <a:cubicBezTo>
                    <a:pt x="822" y="939"/>
                    <a:pt x="822" y="939"/>
                    <a:pt x="822" y="939"/>
                  </a:cubicBezTo>
                  <a:cubicBezTo>
                    <a:pt x="819" y="939"/>
                    <a:pt x="819" y="939"/>
                    <a:pt x="819" y="939"/>
                  </a:cubicBezTo>
                  <a:cubicBezTo>
                    <a:pt x="812" y="939"/>
                    <a:pt x="812" y="939"/>
                    <a:pt x="812" y="939"/>
                  </a:cubicBezTo>
                  <a:cubicBezTo>
                    <a:pt x="810" y="939"/>
                    <a:pt x="810" y="939"/>
                    <a:pt x="810" y="939"/>
                  </a:cubicBezTo>
                  <a:cubicBezTo>
                    <a:pt x="808" y="939"/>
                    <a:pt x="808" y="939"/>
                    <a:pt x="808" y="939"/>
                  </a:cubicBezTo>
                  <a:cubicBezTo>
                    <a:pt x="807" y="938"/>
                    <a:pt x="807" y="938"/>
                    <a:pt x="807" y="938"/>
                  </a:cubicBezTo>
                  <a:cubicBezTo>
                    <a:pt x="806" y="938"/>
                    <a:pt x="806" y="938"/>
                    <a:pt x="806" y="938"/>
                  </a:cubicBezTo>
                  <a:cubicBezTo>
                    <a:pt x="806" y="937"/>
                    <a:pt x="806" y="937"/>
                    <a:pt x="806" y="937"/>
                  </a:cubicBezTo>
                  <a:cubicBezTo>
                    <a:pt x="805" y="937"/>
                    <a:pt x="805" y="937"/>
                    <a:pt x="805" y="937"/>
                  </a:cubicBezTo>
                  <a:cubicBezTo>
                    <a:pt x="806" y="937"/>
                    <a:pt x="806" y="937"/>
                    <a:pt x="806" y="937"/>
                  </a:cubicBezTo>
                  <a:cubicBezTo>
                    <a:pt x="807" y="938"/>
                    <a:pt x="807" y="938"/>
                    <a:pt x="807" y="938"/>
                  </a:cubicBezTo>
                  <a:cubicBezTo>
                    <a:pt x="809" y="938"/>
                    <a:pt x="809" y="938"/>
                    <a:pt x="809" y="938"/>
                  </a:cubicBezTo>
                  <a:cubicBezTo>
                    <a:pt x="811" y="938"/>
                    <a:pt x="811" y="938"/>
                    <a:pt x="811" y="938"/>
                  </a:cubicBezTo>
                  <a:cubicBezTo>
                    <a:pt x="818" y="938"/>
                    <a:pt x="818" y="938"/>
                    <a:pt x="818" y="938"/>
                  </a:cubicBezTo>
                  <a:cubicBezTo>
                    <a:pt x="821" y="938"/>
                    <a:pt x="821" y="938"/>
                    <a:pt x="821" y="938"/>
                  </a:cubicBezTo>
                  <a:cubicBezTo>
                    <a:pt x="822" y="938"/>
                    <a:pt x="822" y="938"/>
                    <a:pt x="822" y="938"/>
                  </a:cubicBezTo>
                  <a:cubicBezTo>
                    <a:pt x="825" y="937"/>
                    <a:pt x="825" y="937"/>
                    <a:pt x="825" y="937"/>
                  </a:cubicBezTo>
                  <a:cubicBezTo>
                    <a:pt x="831" y="936"/>
                    <a:pt x="831" y="936"/>
                    <a:pt x="831" y="936"/>
                  </a:cubicBezTo>
                  <a:cubicBezTo>
                    <a:pt x="832" y="936"/>
                    <a:pt x="832" y="936"/>
                    <a:pt x="832" y="936"/>
                  </a:cubicBezTo>
                  <a:cubicBezTo>
                    <a:pt x="833" y="937"/>
                    <a:pt x="833" y="937"/>
                    <a:pt x="833" y="937"/>
                  </a:cubicBezTo>
                  <a:cubicBezTo>
                    <a:pt x="834" y="937"/>
                    <a:pt x="834" y="937"/>
                    <a:pt x="834" y="937"/>
                  </a:cubicBezTo>
                  <a:cubicBezTo>
                    <a:pt x="835" y="937"/>
                    <a:pt x="835" y="937"/>
                    <a:pt x="835" y="937"/>
                  </a:cubicBezTo>
                  <a:cubicBezTo>
                    <a:pt x="836" y="936"/>
                    <a:pt x="836" y="936"/>
                    <a:pt x="836" y="936"/>
                  </a:cubicBezTo>
                  <a:cubicBezTo>
                    <a:pt x="837" y="935"/>
                    <a:pt x="837" y="935"/>
                    <a:pt x="837" y="935"/>
                  </a:cubicBezTo>
                  <a:cubicBezTo>
                    <a:pt x="837" y="935"/>
                    <a:pt x="837" y="935"/>
                    <a:pt x="837" y="935"/>
                  </a:cubicBezTo>
                  <a:lnTo>
                    <a:pt x="838" y="935"/>
                  </a:lnTo>
                  <a:close/>
                  <a:moveTo>
                    <a:pt x="844" y="1018"/>
                  </a:moveTo>
                  <a:cubicBezTo>
                    <a:pt x="844" y="1018"/>
                    <a:pt x="844" y="1018"/>
                    <a:pt x="844" y="1018"/>
                  </a:cubicBezTo>
                  <a:cubicBezTo>
                    <a:pt x="844" y="1018"/>
                    <a:pt x="844" y="1018"/>
                    <a:pt x="844" y="1018"/>
                  </a:cubicBezTo>
                  <a:cubicBezTo>
                    <a:pt x="845" y="1018"/>
                    <a:pt x="845" y="1018"/>
                    <a:pt x="845" y="1018"/>
                  </a:cubicBezTo>
                  <a:cubicBezTo>
                    <a:pt x="845" y="1017"/>
                    <a:pt x="845" y="1017"/>
                    <a:pt x="845" y="1017"/>
                  </a:cubicBezTo>
                  <a:cubicBezTo>
                    <a:pt x="846" y="1017"/>
                    <a:pt x="846" y="1017"/>
                    <a:pt x="846" y="1017"/>
                  </a:cubicBezTo>
                  <a:cubicBezTo>
                    <a:pt x="846" y="1018"/>
                    <a:pt x="846" y="1018"/>
                    <a:pt x="846" y="1018"/>
                  </a:cubicBezTo>
                  <a:cubicBezTo>
                    <a:pt x="846" y="1018"/>
                    <a:pt x="846" y="1018"/>
                    <a:pt x="846" y="1018"/>
                  </a:cubicBezTo>
                  <a:cubicBezTo>
                    <a:pt x="845" y="1018"/>
                    <a:pt x="845" y="1018"/>
                    <a:pt x="845" y="1018"/>
                  </a:cubicBezTo>
                  <a:cubicBezTo>
                    <a:pt x="844" y="1018"/>
                    <a:pt x="844" y="1018"/>
                    <a:pt x="844" y="1018"/>
                  </a:cubicBezTo>
                  <a:close/>
                  <a:moveTo>
                    <a:pt x="859" y="1011"/>
                  </a:moveTo>
                  <a:cubicBezTo>
                    <a:pt x="859" y="1011"/>
                    <a:pt x="859" y="1011"/>
                    <a:pt x="859" y="1011"/>
                  </a:cubicBezTo>
                  <a:cubicBezTo>
                    <a:pt x="860" y="1012"/>
                    <a:pt x="860" y="1012"/>
                    <a:pt x="860" y="1012"/>
                  </a:cubicBezTo>
                  <a:cubicBezTo>
                    <a:pt x="859" y="1012"/>
                    <a:pt x="859" y="1012"/>
                    <a:pt x="859" y="1012"/>
                  </a:cubicBezTo>
                  <a:cubicBezTo>
                    <a:pt x="859" y="1012"/>
                    <a:pt x="859" y="1012"/>
                    <a:pt x="859" y="1012"/>
                  </a:cubicBezTo>
                  <a:cubicBezTo>
                    <a:pt x="859" y="1012"/>
                    <a:pt x="859" y="1012"/>
                    <a:pt x="859" y="1012"/>
                  </a:cubicBezTo>
                  <a:cubicBezTo>
                    <a:pt x="859" y="1012"/>
                    <a:pt x="859" y="1012"/>
                    <a:pt x="859" y="1012"/>
                  </a:cubicBezTo>
                  <a:cubicBezTo>
                    <a:pt x="859" y="1011"/>
                    <a:pt x="859" y="1011"/>
                    <a:pt x="859" y="1011"/>
                  </a:cubicBezTo>
                  <a:close/>
                  <a:moveTo>
                    <a:pt x="845" y="1061"/>
                  </a:moveTo>
                  <a:cubicBezTo>
                    <a:pt x="845" y="1061"/>
                    <a:pt x="845" y="1061"/>
                    <a:pt x="845" y="1061"/>
                  </a:cubicBezTo>
                  <a:cubicBezTo>
                    <a:pt x="846" y="1060"/>
                    <a:pt x="846" y="1060"/>
                    <a:pt x="846" y="1060"/>
                  </a:cubicBezTo>
                  <a:cubicBezTo>
                    <a:pt x="846" y="1061"/>
                    <a:pt x="846" y="1061"/>
                    <a:pt x="846" y="1061"/>
                  </a:cubicBezTo>
                  <a:cubicBezTo>
                    <a:pt x="846" y="1061"/>
                    <a:pt x="846" y="1061"/>
                    <a:pt x="846" y="1061"/>
                  </a:cubicBezTo>
                  <a:cubicBezTo>
                    <a:pt x="846" y="1061"/>
                    <a:pt x="846" y="1061"/>
                    <a:pt x="846" y="1061"/>
                  </a:cubicBezTo>
                  <a:lnTo>
                    <a:pt x="845" y="1061"/>
                  </a:lnTo>
                  <a:close/>
                  <a:moveTo>
                    <a:pt x="843" y="1031"/>
                  </a:moveTo>
                  <a:cubicBezTo>
                    <a:pt x="843" y="1031"/>
                    <a:pt x="843" y="1031"/>
                    <a:pt x="843" y="1031"/>
                  </a:cubicBezTo>
                  <a:cubicBezTo>
                    <a:pt x="843" y="1031"/>
                    <a:pt x="843" y="1031"/>
                    <a:pt x="843" y="1031"/>
                  </a:cubicBezTo>
                  <a:close/>
                  <a:moveTo>
                    <a:pt x="841" y="1021"/>
                  </a:moveTo>
                  <a:cubicBezTo>
                    <a:pt x="841" y="1021"/>
                    <a:pt x="841" y="1021"/>
                    <a:pt x="841" y="1021"/>
                  </a:cubicBezTo>
                  <a:cubicBezTo>
                    <a:pt x="842" y="1021"/>
                    <a:pt x="842" y="1021"/>
                    <a:pt x="842" y="1021"/>
                  </a:cubicBezTo>
                  <a:cubicBezTo>
                    <a:pt x="842" y="1021"/>
                    <a:pt x="842" y="1021"/>
                    <a:pt x="842" y="1021"/>
                  </a:cubicBezTo>
                  <a:cubicBezTo>
                    <a:pt x="842" y="1022"/>
                    <a:pt x="842" y="1022"/>
                    <a:pt x="842" y="1022"/>
                  </a:cubicBezTo>
                  <a:cubicBezTo>
                    <a:pt x="842" y="1022"/>
                    <a:pt x="842" y="1022"/>
                    <a:pt x="842" y="1022"/>
                  </a:cubicBezTo>
                  <a:cubicBezTo>
                    <a:pt x="841" y="1022"/>
                    <a:pt x="841" y="1022"/>
                    <a:pt x="841" y="1022"/>
                  </a:cubicBezTo>
                  <a:cubicBezTo>
                    <a:pt x="841" y="1022"/>
                    <a:pt x="841" y="1022"/>
                    <a:pt x="841" y="1022"/>
                  </a:cubicBezTo>
                  <a:lnTo>
                    <a:pt x="841" y="1021"/>
                  </a:lnTo>
                  <a:close/>
                  <a:moveTo>
                    <a:pt x="848" y="1037"/>
                  </a:moveTo>
                  <a:cubicBezTo>
                    <a:pt x="847" y="1037"/>
                    <a:pt x="847" y="1037"/>
                    <a:pt x="847" y="1037"/>
                  </a:cubicBezTo>
                  <a:cubicBezTo>
                    <a:pt x="845" y="1037"/>
                    <a:pt x="845" y="1037"/>
                    <a:pt x="845" y="1037"/>
                  </a:cubicBezTo>
                  <a:cubicBezTo>
                    <a:pt x="846" y="1036"/>
                    <a:pt x="846" y="1036"/>
                    <a:pt x="846" y="1036"/>
                  </a:cubicBezTo>
                  <a:cubicBezTo>
                    <a:pt x="846" y="1036"/>
                    <a:pt x="846" y="1036"/>
                    <a:pt x="846" y="1036"/>
                  </a:cubicBezTo>
                  <a:cubicBezTo>
                    <a:pt x="848" y="1037"/>
                    <a:pt x="848" y="1037"/>
                    <a:pt x="848" y="1037"/>
                  </a:cubicBezTo>
                  <a:close/>
                  <a:moveTo>
                    <a:pt x="845" y="1041"/>
                  </a:moveTo>
                  <a:cubicBezTo>
                    <a:pt x="846" y="1040"/>
                    <a:pt x="846" y="1040"/>
                    <a:pt x="846" y="1040"/>
                  </a:cubicBezTo>
                  <a:cubicBezTo>
                    <a:pt x="845" y="1041"/>
                    <a:pt x="845" y="1041"/>
                    <a:pt x="845" y="1041"/>
                  </a:cubicBezTo>
                  <a:cubicBezTo>
                    <a:pt x="845" y="1041"/>
                    <a:pt x="845" y="1041"/>
                    <a:pt x="845" y="1041"/>
                  </a:cubicBezTo>
                  <a:close/>
                  <a:moveTo>
                    <a:pt x="849" y="1052"/>
                  </a:moveTo>
                  <a:cubicBezTo>
                    <a:pt x="848" y="1052"/>
                    <a:pt x="848" y="1052"/>
                    <a:pt x="848" y="1052"/>
                  </a:cubicBezTo>
                  <a:cubicBezTo>
                    <a:pt x="847" y="1052"/>
                    <a:pt x="847" y="1052"/>
                    <a:pt x="847" y="1052"/>
                  </a:cubicBezTo>
                  <a:cubicBezTo>
                    <a:pt x="847" y="1052"/>
                    <a:pt x="847" y="1052"/>
                    <a:pt x="847" y="1052"/>
                  </a:cubicBezTo>
                  <a:cubicBezTo>
                    <a:pt x="847" y="1051"/>
                    <a:pt x="847" y="1051"/>
                    <a:pt x="847" y="1051"/>
                  </a:cubicBezTo>
                  <a:cubicBezTo>
                    <a:pt x="849" y="1051"/>
                    <a:pt x="849" y="1051"/>
                    <a:pt x="849" y="1051"/>
                  </a:cubicBezTo>
                  <a:lnTo>
                    <a:pt x="849" y="1052"/>
                  </a:lnTo>
                  <a:close/>
                  <a:moveTo>
                    <a:pt x="842" y="1019"/>
                  </a:moveTo>
                  <a:cubicBezTo>
                    <a:pt x="842" y="1019"/>
                    <a:pt x="842" y="1019"/>
                    <a:pt x="842" y="1019"/>
                  </a:cubicBezTo>
                  <a:cubicBezTo>
                    <a:pt x="842" y="1019"/>
                    <a:pt x="842" y="1019"/>
                    <a:pt x="842" y="1019"/>
                  </a:cubicBezTo>
                  <a:close/>
                  <a:moveTo>
                    <a:pt x="858" y="1013"/>
                  </a:moveTo>
                  <a:cubicBezTo>
                    <a:pt x="857" y="1013"/>
                    <a:pt x="857" y="1013"/>
                    <a:pt x="857" y="1013"/>
                  </a:cubicBezTo>
                  <a:cubicBezTo>
                    <a:pt x="857" y="1014"/>
                    <a:pt x="857" y="1014"/>
                    <a:pt x="857" y="1014"/>
                  </a:cubicBezTo>
                  <a:cubicBezTo>
                    <a:pt x="857" y="1014"/>
                    <a:pt x="857" y="1014"/>
                    <a:pt x="857" y="1014"/>
                  </a:cubicBezTo>
                  <a:cubicBezTo>
                    <a:pt x="856" y="1014"/>
                    <a:pt x="856" y="1014"/>
                    <a:pt x="856" y="1014"/>
                  </a:cubicBezTo>
                  <a:cubicBezTo>
                    <a:pt x="856" y="1015"/>
                    <a:pt x="856" y="1015"/>
                    <a:pt x="856" y="1015"/>
                  </a:cubicBezTo>
                  <a:cubicBezTo>
                    <a:pt x="855" y="1015"/>
                    <a:pt x="855" y="1015"/>
                    <a:pt x="855" y="1015"/>
                  </a:cubicBezTo>
                  <a:cubicBezTo>
                    <a:pt x="854" y="1015"/>
                    <a:pt x="854" y="1015"/>
                    <a:pt x="854" y="1015"/>
                  </a:cubicBezTo>
                  <a:cubicBezTo>
                    <a:pt x="854" y="1015"/>
                    <a:pt x="854" y="1015"/>
                    <a:pt x="854" y="1015"/>
                  </a:cubicBezTo>
                  <a:cubicBezTo>
                    <a:pt x="854" y="1015"/>
                    <a:pt x="854" y="1015"/>
                    <a:pt x="854" y="1015"/>
                  </a:cubicBezTo>
                  <a:cubicBezTo>
                    <a:pt x="853" y="1015"/>
                    <a:pt x="853" y="1015"/>
                    <a:pt x="853" y="1015"/>
                  </a:cubicBezTo>
                  <a:cubicBezTo>
                    <a:pt x="853" y="1015"/>
                    <a:pt x="853" y="1015"/>
                    <a:pt x="853" y="1015"/>
                  </a:cubicBezTo>
                  <a:cubicBezTo>
                    <a:pt x="854" y="1015"/>
                    <a:pt x="854" y="1015"/>
                    <a:pt x="854" y="1015"/>
                  </a:cubicBezTo>
                  <a:cubicBezTo>
                    <a:pt x="854" y="1015"/>
                    <a:pt x="854" y="1015"/>
                    <a:pt x="854" y="1015"/>
                  </a:cubicBezTo>
                  <a:cubicBezTo>
                    <a:pt x="854" y="1014"/>
                    <a:pt x="854" y="1014"/>
                    <a:pt x="854" y="1014"/>
                  </a:cubicBezTo>
                  <a:cubicBezTo>
                    <a:pt x="855" y="1014"/>
                    <a:pt x="855" y="1014"/>
                    <a:pt x="855" y="1014"/>
                  </a:cubicBezTo>
                  <a:cubicBezTo>
                    <a:pt x="856" y="1014"/>
                    <a:pt x="856" y="1014"/>
                    <a:pt x="856" y="1014"/>
                  </a:cubicBezTo>
                  <a:cubicBezTo>
                    <a:pt x="856" y="1014"/>
                    <a:pt x="856" y="1014"/>
                    <a:pt x="856" y="1014"/>
                  </a:cubicBezTo>
                  <a:cubicBezTo>
                    <a:pt x="857" y="1014"/>
                    <a:pt x="857" y="1014"/>
                    <a:pt x="857" y="1014"/>
                  </a:cubicBezTo>
                  <a:cubicBezTo>
                    <a:pt x="857" y="1013"/>
                    <a:pt x="857" y="1013"/>
                    <a:pt x="857" y="1013"/>
                  </a:cubicBezTo>
                  <a:cubicBezTo>
                    <a:pt x="857" y="1013"/>
                    <a:pt x="857" y="1013"/>
                    <a:pt x="857" y="1013"/>
                  </a:cubicBezTo>
                  <a:cubicBezTo>
                    <a:pt x="857" y="1013"/>
                    <a:pt x="857" y="1013"/>
                    <a:pt x="857" y="1013"/>
                  </a:cubicBezTo>
                  <a:cubicBezTo>
                    <a:pt x="858" y="1013"/>
                    <a:pt x="858" y="1013"/>
                    <a:pt x="858" y="1013"/>
                  </a:cubicBezTo>
                  <a:cubicBezTo>
                    <a:pt x="858" y="1012"/>
                    <a:pt x="858" y="1012"/>
                    <a:pt x="858" y="1012"/>
                  </a:cubicBezTo>
                  <a:cubicBezTo>
                    <a:pt x="859" y="1012"/>
                    <a:pt x="859" y="1012"/>
                    <a:pt x="859" y="1012"/>
                  </a:cubicBezTo>
                  <a:cubicBezTo>
                    <a:pt x="858" y="1012"/>
                    <a:pt x="858" y="1012"/>
                    <a:pt x="858" y="1012"/>
                  </a:cubicBezTo>
                  <a:cubicBezTo>
                    <a:pt x="858" y="1012"/>
                    <a:pt x="858" y="1012"/>
                    <a:pt x="858" y="1012"/>
                  </a:cubicBezTo>
                  <a:cubicBezTo>
                    <a:pt x="858" y="1013"/>
                    <a:pt x="858" y="1013"/>
                    <a:pt x="858" y="1013"/>
                  </a:cubicBezTo>
                  <a:cubicBezTo>
                    <a:pt x="858" y="1013"/>
                    <a:pt x="858" y="1013"/>
                    <a:pt x="858" y="1013"/>
                  </a:cubicBezTo>
                  <a:close/>
                  <a:moveTo>
                    <a:pt x="853" y="1016"/>
                  </a:moveTo>
                  <a:cubicBezTo>
                    <a:pt x="853" y="1016"/>
                    <a:pt x="853" y="1016"/>
                    <a:pt x="853" y="1016"/>
                  </a:cubicBezTo>
                  <a:cubicBezTo>
                    <a:pt x="852" y="1017"/>
                    <a:pt x="852" y="1017"/>
                    <a:pt x="852" y="1017"/>
                  </a:cubicBezTo>
                  <a:cubicBezTo>
                    <a:pt x="852" y="1017"/>
                    <a:pt x="852" y="1017"/>
                    <a:pt x="852" y="1017"/>
                  </a:cubicBezTo>
                  <a:cubicBezTo>
                    <a:pt x="849" y="1017"/>
                    <a:pt x="849" y="1017"/>
                    <a:pt x="849" y="1017"/>
                  </a:cubicBezTo>
                  <a:cubicBezTo>
                    <a:pt x="848" y="1016"/>
                    <a:pt x="848" y="1016"/>
                    <a:pt x="848" y="1016"/>
                  </a:cubicBezTo>
                  <a:cubicBezTo>
                    <a:pt x="848" y="1015"/>
                    <a:pt x="848" y="1015"/>
                    <a:pt x="848" y="1015"/>
                  </a:cubicBezTo>
                  <a:cubicBezTo>
                    <a:pt x="847" y="1015"/>
                    <a:pt x="847" y="1015"/>
                    <a:pt x="847" y="1015"/>
                  </a:cubicBezTo>
                  <a:cubicBezTo>
                    <a:pt x="847" y="1016"/>
                    <a:pt x="847" y="1016"/>
                    <a:pt x="847" y="1016"/>
                  </a:cubicBezTo>
                  <a:cubicBezTo>
                    <a:pt x="846" y="1016"/>
                    <a:pt x="846" y="1016"/>
                    <a:pt x="846" y="1016"/>
                  </a:cubicBezTo>
                  <a:cubicBezTo>
                    <a:pt x="846" y="1016"/>
                    <a:pt x="846" y="1016"/>
                    <a:pt x="846" y="1016"/>
                  </a:cubicBezTo>
                  <a:cubicBezTo>
                    <a:pt x="847" y="1015"/>
                    <a:pt x="847" y="1015"/>
                    <a:pt x="847" y="1015"/>
                  </a:cubicBezTo>
                  <a:cubicBezTo>
                    <a:pt x="848" y="1015"/>
                    <a:pt x="848" y="1015"/>
                    <a:pt x="848" y="1015"/>
                  </a:cubicBezTo>
                  <a:cubicBezTo>
                    <a:pt x="848" y="1015"/>
                    <a:pt x="848" y="1015"/>
                    <a:pt x="848" y="1015"/>
                  </a:cubicBezTo>
                  <a:cubicBezTo>
                    <a:pt x="849" y="1016"/>
                    <a:pt x="849" y="1016"/>
                    <a:pt x="849" y="1016"/>
                  </a:cubicBezTo>
                  <a:cubicBezTo>
                    <a:pt x="849" y="1016"/>
                    <a:pt x="849" y="1016"/>
                    <a:pt x="849" y="1016"/>
                  </a:cubicBezTo>
                  <a:cubicBezTo>
                    <a:pt x="852" y="1016"/>
                    <a:pt x="852" y="1016"/>
                    <a:pt x="852" y="1016"/>
                  </a:cubicBezTo>
                  <a:cubicBezTo>
                    <a:pt x="853" y="1016"/>
                    <a:pt x="853" y="1016"/>
                    <a:pt x="853" y="1016"/>
                  </a:cubicBezTo>
                  <a:cubicBezTo>
                    <a:pt x="853" y="1016"/>
                    <a:pt x="853" y="1016"/>
                    <a:pt x="853" y="1016"/>
                  </a:cubicBezTo>
                  <a:close/>
                  <a:moveTo>
                    <a:pt x="844" y="1019"/>
                  </a:moveTo>
                  <a:cubicBezTo>
                    <a:pt x="844" y="1019"/>
                    <a:pt x="844" y="1019"/>
                    <a:pt x="844" y="1019"/>
                  </a:cubicBezTo>
                  <a:cubicBezTo>
                    <a:pt x="844" y="1019"/>
                    <a:pt x="844" y="1019"/>
                    <a:pt x="844" y="1019"/>
                  </a:cubicBezTo>
                  <a:cubicBezTo>
                    <a:pt x="844" y="1019"/>
                    <a:pt x="844" y="1019"/>
                    <a:pt x="844" y="1019"/>
                  </a:cubicBezTo>
                  <a:cubicBezTo>
                    <a:pt x="844" y="1019"/>
                    <a:pt x="844" y="1019"/>
                    <a:pt x="844" y="1019"/>
                  </a:cubicBezTo>
                  <a:cubicBezTo>
                    <a:pt x="842" y="1019"/>
                    <a:pt x="842" y="1019"/>
                    <a:pt x="842" y="1019"/>
                  </a:cubicBezTo>
                  <a:cubicBezTo>
                    <a:pt x="842" y="1019"/>
                    <a:pt x="842" y="1019"/>
                    <a:pt x="842" y="1019"/>
                  </a:cubicBezTo>
                  <a:cubicBezTo>
                    <a:pt x="843" y="1018"/>
                    <a:pt x="843" y="1018"/>
                    <a:pt x="843" y="1018"/>
                  </a:cubicBezTo>
                  <a:cubicBezTo>
                    <a:pt x="843" y="1018"/>
                    <a:pt x="843" y="1018"/>
                    <a:pt x="843" y="1018"/>
                  </a:cubicBezTo>
                  <a:cubicBezTo>
                    <a:pt x="844" y="1018"/>
                    <a:pt x="844" y="1018"/>
                    <a:pt x="844" y="1018"/>
                  </a:cubicBezTo>
                  <a:cubicBezTo>
                    <a:pt x="844" y="1019"/>
                    <a:pt x="844" y="1019"/>
                    <a:pt x="844" y="1019"/>
                  </a:cubicBezTo>
                  <a:close/>
                  <a:moveTo>
                    <a:pt x="834" y="1020"/>
                  </a:moveTo>
                  <a:cubicBezTo>
                    <a:pt x="834" y="1020"/>
                    <a:pt x="834" y="1020"/>
                    <a:pt x="834" y="1020"/>
                  </a:cubicBezTo>
                  <a:cubicBezTo>
                    <a:pt x="834" y="1021"/>
                    <a:pt x="834" y="1021"/>
                    <a:pt x="834" y="1021"/>
                  </a:cubicBezTo>
                  <a:cubicBezTo>
                    <a:pt x="834" y="1021"/>
                    <a:pt x="834" y="1021"/>
                    <a:pt x="834" y="1021"/>
                  </a:cubicBezTo>
                  <a:cubicBezTo>
                    <a:pt x="834" y="1021"/>
                    <a:pt x="834" y="1021"/>
                    <a:pt x="834" y="1021"/>
                  </a:cubicBezTo>
                  <a:cubicBezTo>
                    <a:pt x="834" y="1020"/>
                    <a:pt x="834" y="1020"/>
                    <a:pt x="834" y="1020"/>
                  </a:cubicBezTo>
                  <a:cubicBezTo>
                    <a:pt x="834" y="1020"/>
                    <a:pt x="834" y="1020"/>
                    <a:pt x="834" y="1020"/>
                  </a:cubicBezTo>
                  <a:close/>
                  <a:moveTo>
                    <a:pt x="763" y="995"/>
                  </a:moveTo>
                  <a:cubicBezTo>
                    <a:pt x="763" y="996"/>
                    <a:pt x="763" y="996"/>
                    <a:pt x="763" y="996"/>
                  </a:cubicBezTo>
                  <a:cubicBezTo>
                    <a:pt x="763" y="996"/>
                    <a:pt x="763" y="996"/>
                    <a:pt x="763" y="996"/>
                  </a:cubicBezTo>
                  <a:cubicBezTo>
                    <a:pt x="763" y="997"/>
                    <a:pt x="763" y="997"/>
                    <a:pt x="763" y="997"/>
                  </a:cubicBezTo>
                  <a:cubicBezTo>
                    <a:pt x="763" y="997"/>
                    <a:pt x="763" y="997"/>
                    <a:pt x="763" y="997"/>
                  </a:cubicBezTo>
                  <a:cubicBezTo>
                    <a:pt x="763" y="998"/>
                    <a:pt x="763" y="998"/>
                    <a:pt x="763" y="998"/>
                  </a:cubicBezTo>
                  <a:cubicBezTo>
                    <a:pt x="764" y="998"/>
                    <a:pt x="764" y="998"/>
                    <a:pt x="764" y="998"/>
                  </a:cubicBezTo>
                  <a:cubicBezTo>
                    <a:pt x="764" y="998"/>
                    <a:pt x="764" y="998"/>
                    <a:pt x="764" y="998"/>
                  </a:cubicBezTo>
                  <a:cubicBezTo>
                    <a:pt x="764" y="998"/>
                    <a:pt x="764" y="998"/>
                    <a:pt x="764" y="998"/>
                  </a:cubicBezTo>
                  <a:cubicBezTo>
                    <a:pt x="764" y="999"/>
                    <a:pt x="764" y="999"/>
                    <a:pt x="764" y="999"/>
                  </a:cubicBezTo>
                  <a:cubicBezTo>
                    <a:pt x="763" y="999"/>
                    <a:pt x="763" y="999"/>
                    <a:pt x="763" y="999"/>
                  </a:cubicBezTo>
                  <a:cubicBezTo>
                    <a:pt x="762" y="999"/>
                    <a:pt x="762" y="999"/>
                    <a:pt x="762" y="999"/>
                  </a:cubicBezTo>
                  <a:cubicBezTo>
                    <a:pt x="762" y="999"/>
                    <a:pt x="762" y="999"/>
                    <a:pt x="762" y="999"/>
                  </a:cubicBezTo>
                  <a:cubicBezTo>
                    <a:pt x="762" y="999"/>
                    <a:pt x="762" y="999"/>
                    <a:pt x="762" y="999"/>
                  </a:cubicBezTo>
                  <a:cubicBezTo>
                    <a:pt x="762" y="999"/>
                    <a:pt x="762" y="999"/>
                    <a:pt x="762" y="999"/>
                  </a:cubicBezTo>
                  <a:cubicBezTo>
                    <a:pt x="762" y="999"/>
                    <a:pt x="762" y="999"/>
                    <a:pt x="762" y="999"/>
                  </a:cubicBezTo>
                  <a:cubicBezTo>
                    <a:pt x="763" y="999"/>
                    <a:pt x="763" y="999"/>
                    <a:pt x="763" y="999"/>
                  </a:cubicBezTo>
                  <a:cubicBezTo>
                    <a:pt x="763" y="998"/>
                    <a:pt x="763" y="998"/>
                    <a:pt x="763" y="998"/>
                  </a:cubicBezTo>
                  <a:cubicBezTo>
                    <a:pt x="762" y="998"/>
                    <a:pt x="762" y="998"/>
                    <a:pt x="762" y="998"/>
                  </a:cubicBezTo>
                  <a:cubicBezTo>
                    <a:pt x="762" y="998"/>
                    <a:pt x="762" y="998"/>
                    <a:pt x="762" y="998"/>
                  </a:cubicBezTo>
                  <a:cubicBezTo>
                    <a:pt x="762" y="997"/>
                    <a:pt x="762" y="997"/>
                    <a:pt x="762" y="997"/>
                  </a:cubicBezTo>
                  <a:cubicBezTo>
                    <a:pt x="762" y="997"/>
                    <a:pt x="762" y="997"/>
                    <a:pt x="762" y="997"/>
                  </a:cubicBezTo>
                  <a:cubicBezTo>
                    <a:pt x="762" y="996"/>
                    <a:pt x="762" y="996"/>
                    <a:pt x="762" y="996"/>
                  </a:cubicBezTo>
                  <a:cubicBezTo>
                    <a:pt x="762" y="996"/>
                    <a:pt x="762" y="996"/>
                    <a:pt x="762" y="996"/>
                  </a:cubicBezTo>
                  <a:cubicBezTo>
                    <a:pt x="761" y="995"/>
                    <a:pt x="761" y="995"/>
                    <a:pt x="761" y="995"/>
                  </a:cubicBezTo>
                  <a:cubicBezTo>
                    <a:pt x="761" y="994"/>
                    <a:pt x="761" y="994"/>
                    <a:pt x="761" y="994"/>
                  </a:cubicBezTo>
                  <a:cubicBezTo>
                    <a:pt x="761" y="994"/>
                    <a:pt x="761" y="994"/>
                    <a:pt x="761" y="994"/>
                  </a:cubicBezTo>
                  <a:cubicBezTo>
                    <a:pt x="761" y="994"/>
                    <a:pt x="761" y="994"/>
                    <a:pt x="761" y="994"/>
                  </a:cubicBezTo>
                  <a:cubicBezTo>
                    <a:pt x="762" y="993"/>
                    <a:pt x="762" y="993"/>
                    <a:pt x="762" y="993"/>
                  </a:cubicBezTo>
                  <a:cubicBezTo>
                    <a:pt x="762" y="992"/>
                    <a:pt x="762" y="992"/>
                    <a:pt x="762" y="992"/>
                  </a:cubicBezTo>
                  <a:cubicBezTo>
                    <a:pt x="763" y="992"/>
                    <a:pt x="763" y="992"/>
                    <a:pt x="763" y="992"/>
                  </a:cubicBezTo>
                  <a:cubicBezTo>
                    <a:pt x="764" y="992"/>
                    <a:pt x="764" y="992"/>
                    <a:pt x="764" y="992"/>
                  </a:cubicBezTo>
                  <a:cubicBezTo>
                    <a:pt x="764" y="992"/>
                    <a:pt x="764" y="992"/>
                    <a:pt x="764" y="992"/>
                  </a:cubicBezTo>
                  <a:cubicBezTo>
                    <a:pt x="764" y="991"/>
                    <a:pt x="764" y="991"/>
                    <a:pt x="764" y="991"/>
                  </a:cubicBezTo>
                  <a:cubicBezTo>
                    <a:pt x="764" y="991"/>
                    <a:pt x="764" y="991"/>
                    <a:pt x="764" y="991"/>
                  </a:cubicBezTo>
                  <a:cubicBezTo>
                    <a:pt x="765" y="991"/>
                    <a:pt x="765" y="991"/>
                    <a:pt x="765" y="991"/>
                  </a:cubicBezTo>
                  <a:cubicBezTo>
                    <a:pt x="765" y="991"/>
                    <a:pt x="765" y="991"/>
                    <a:pt x="765" y="991"/>
                  </a:cubicBezTo>
                  <a:cubicBezTo>
                    <a:pt x="765" y="991"/>
                    <a:pt x="765" y="991"/>
                    <a:pt x="765" y="991"/>
                  </a:cubicBezTo>
                  <a:cubicBezTo>
                    <a:pt x="766" y="991"/>
                    <a:pt x="766" y="991"/>
                    <a:pt x="766" y="991"/>
                  </a:cubicBezTo>
                  <a:cubicBezTo>
                    <a:pt x="766" y="991"/>
                    <a:pt x="766" y="991"/>
                    <a:pt x="766" y="991"/>
                  </a:cubicBezTo>
                  <a:cubicBezTo>
                    <a:pt x="766" y="992"/>
                    <a:pt x="766" y="992"/>
                    <a:pt x="766" y="992"/>
                  </a:cubicBezTo>
                  <a:cubicBezTo>
                    <a:pt x="765" y="992"/>
                    <a:pt x="765" y="992"/>
                    <a:pt x="765" y="992"/>
                  </a:cubicBezTo>
                  <a:cubicBezTo>
                    <a:pt x="765" y="992"/>
                    <a:pt x="765" y="992"/>
                    <a:pt x="765" y="992"/>
                  </a:cubicBezTo>
                  <a:cubicBezTo>
                    <a:pt x="764" y="992"/>
                    <a:pt x="764" y="992"/>
                    <a:pt x="764" y="992"/>
                  </a:cubicBezTo>
                  <a:cubicBezTo>
                    <a:pt x="764" y="993"/>
                    <a:pt x="764" y="993"/>
                    <a:pt x="764" y="993"/>
                  </a:cubicBezTo>
                  <a:cubicBezTo>
                    <a:pt x="763" y="994"/>
                    <a:pt x="763" y="994"/>
                    <a:pt x="763" y="994"/>
                  </a:cubicBezTo>
                  <a:cubicBezTo>
                    <a:pt x="763" y="994"/>
                    <a:pt x="763" y="994"/>
                    <a:pt x="763" y="994"/>
                  </a:cubicBezTo>
                  <a:cubicBezTo>
                    <a:pt x="763" y="994"/>
                    <a:pt x="763" y="994"/>
                    <a:pt x="763" y="994"/>
                  </a:cubicBezTo>
                  <a:lnTo>
                    <a:pt x="763" y="995"/>
                  </a:lnTo>
                  <a:close/>
                  <a:moveTo>
                    <a:pt x="758" y="1000"/>
                  </a:moveTo>
                  <a:cubicBezTo>
                    <a:pt x="758" y="1000"/>
                    <a:pt x="758" y="1000"/>
                    <a:pt x="758" y="1000"/>
                  </a:cubicBezTo>
                  <a:cubicBezTo>
                    <a:pt x="757" y="1001"/>
                    <a:pt x="757" y="1001"/>
                    <a:pt x="757" y="1001"/>
                  </a:cubicBezTo>
                  <a:cubicBezTo>
                    <a:pt x="757" y="1001"/>
                    <a:pt x="757" y="1001"/>
                    <a:pt x="757" y="1001"/>
                  </a:cubicBezTo>
                  <a:cubicBezTo>
                    <a:pt x="757" y="1001"/>
                    <a:pt x="757" y="1001"/>
                    <a:pt x="757" y="1001"/>
                  </a:cubicBezTo>
                  <a:cubicBezTo>
                    <a:pt x="756" y="1002"/>
                    <a:pt x="756" y="1002"/>
                    <a:pt x="756" y="1002"/>
                  </a:cubicBezTo>
                  <a:cubicBezTo>
                    <a:pt x="756" y="1002"/>
                    <a:pt x="756" y="1002"/>
                    <a:pt x="756" y="1002"/>
                  </a:cubicBezTo>
                  <a:cubicBezTo>
                    <a:pt x="756" y="1002"/>
                    <a:pt x="756" y="1002"/>
                    <a:pt x="756" y="1002"/>
                  </a:cubicBezTo>
                  <a:cubicBezTo>
                    <a:pt x="755" y="1002"/>
                    <a:pt x="755" y="1002"/>
                    <a:pt x="755" y="1002"/>
                  </a:cubicBezTo>
                  <a:cubicBezTo>
                    <a:pt x="754" y="1003"/>
                    <a:pt x="754" y="1003"/>
                    <a:pt x="754" y="1003"/>
                  </a:cubicBezTo>
                  <a:cubicBezTo>
                    <a:pt x="753" y="1003"/>
                    <a:pt x="753" y="1003"/>
                    <a:pt x="753" y="1003"/>
                  </a:cubicBezTo>
                  <a:cubicBezTo>
                    <a:pt x="752" y="1004"/>
                    <a:pt x="752" y="1004"/>
                    <a:pt x="752" y="1004"/>
                  </a:cubicBezTo>
                  <a:cubicBezTo>
                    <a:pt x="752" y="1004"/>
                    <a:pt x="752" y="1004"/>
                    <a:pt x="752" y="1004"/>
                  </a:cubicBezTo>
                  <a:cubicBezTo>
                    <a:pt x="751" y="1004"/>
                    <a:pt x="751" y="1004"/>
                    <a:pt x="751" y="1004"/>
                  </a:cubicBezTo>
                  <a:cubicBezTo>
                    <a:pt x="752" y="1003"/>
                    <a:pt x="752" y="1003"/>
                    <a:pt x="752" y="1003"/>
                  </a:cubicBezTo>
                  <a:cubicBezTo>
                    <a:pt x="753" y="1003"/>
                    <a:pt x="753" y="1003"/>
                    <a:pt x="753" y="1003"/>
                  </a:cubicBezTo>
                  <a:cubicBezTo>
                    <a:pt x="754" y="1003"/>
                    <a:pt x="754" y="1003"/>
                    <a:pt x="754" y="1003"/>
                  </a:cubicBezTo>
                  <a:cubicBezTo>
                    <a:pt x="754" y="1002"/>
                    <a:pt x="754" y="1002"/>
                    <a:pt x="754" y="1002"/>
                  </a:cubicBezTo>
                  <a:cubicBezTo>
                    <a:pt x="754" y="1002"/>
                    <a:pt x="754" y="1002"/>
                    <a:pt x="754" y="1002"/>
                  </a:cubicBezTo>
                  <a:cubicBezTo>
                    <a:pt x="755" y="1002"/>
                    <a:pt x="755" y="1002"/>
                    <a:pt x="755" y="1002"/>
                  </a:cubicBezTo>
                  <a:cubicBezTo>
                    <a:pt x="756" y="1002"/>
                    <a:pt x="756" y="1002"/>
                    <a:pt x="756" y="1002"/>
                  </a:cubicBezTo>
                  <a:cubicBezTo>
                    <a:pt x="756" y="1001"/>
                    <a:pt x="756" y="1001"/>
                    <a:pt x="756" y="1001"/>
                  </a:cubicBezTo>
                  <a:cubicBezTo>
                    <a:pt x="756" y="1001"/>
                    <a:pt x="756" y="1001"/>
                    <a:pt x="756" y="1001"/>
                  </a:cubicBezTo>
                  <a:cubicBezTo>
                    <a:pt x="756" y="1001"/>
                    <a:pt x="756" y="1001"/>
                    <a:pt x="756" y="1001"/>
                  </a:cubicBezTo>
                  <a:cubicBezTo>
                    <a:pt x="756" y="1000"/>
                    <a:pt x="756" y="1000"/>
                    <a:pt x="756" y="1000"/>
                  </a:cubicBezTo>
                  <a:cubicBezTo>
                    <a:pt x="756" y="999"/>
                    <a:pt x="756" y="999"/>
                    <a:pt x="756" y="999"/>
                  </a:cubicBezTo>
                  <a:cubicBezTo>
                    <a:pt x="756" y="999"/>
                    <a:pt x="756" y="999"/>
                    <a:pt x="756" y="999"/>
                  </a:cubicBezTo>
                  <a:cubicBezTo>
                    <a:pt x="757" y="999"/>
                    <a:pt x="757" y="999"/>
                    <a:pt x="757" y="999"/>
                  </a:cubicBezTo>
                  <a:cubicBezTo>
                    <a:pt x="757" y="999"/>
                    <a:pt x="757" y="999"/>
                    <a:pt x="757" y="999"/>
                  </a:cubicBezTo>
                  <a:cubicBezTo>
                    <a:pt x="757" y="999"/>
                    <a:pt x="757" y="999"/>
                    <a:pt x="757" y="999"/>
                  </a:cubicBezTo>
                  <a:cubicBezTo>
                    <a:pt x="758" y="999"/>
                    <a:pt x="758" y="999"/>
                    <a:pt x="758" y="999"/>
                  </a:cubicBezTo>
                  <a:cubicBezTo>
                    <a:pt x="757" y="999"/>
                    <a:pt x="757" y="999"/>
                    <a:pt x="757" y="999"/>
                  </a:cubicBezTo>
                  <a:lnTo>
                    <a:pt x="758" y="1000"/>
                  </a:lnTo>
                  <a:close/>
                  <a:moveTo>
                    <a:pt x="752" y="983"/>
                  </a:moveTo>
                  <a:cubicBezTo>
                    <a:pt x="752" y="983"/>
                    <a:pt x="752" y="983"/>
                    <a:pt x="752" y="983"/>
                  </a:cubicBezTo>
                  <a:cubicBezTo>
                    <a:pt x="754" y="984"/>
                    <a:pt x="754" y="984"/>
                    <a:pt x="754" y="984"/>
                  </a:cubicBezTo>
                  <a:cubicBezTo>
                    <a:pt x="755" y="985"/>
                    <a:pt x="755" y="985"/>
                    <a:pt x="755" y="985"/>
                  </a:cubicBezTo>
                  <a:cubicBezTo>
                    <a:pt x="755" y="985"/>
                    <a:pt x="755" y="985"/>
                    <a:pt x="755" y="985"/>
                  </a:cubicBezTo>
                  <a:cubicBezTo>
                    <a:pt x="755" y="986"/>
                    <a:pt x="755" y="986"/>
                    <a:pt x="755" y="986"/>
                  </a:cubicBezTo>
                  <a:cubicBezTo>
                    <a:pt x="754" y="985"/>
                    <a:pt x="754" y="985"/>
                    <a:pt x="754" y="985"/>
                  </a:cubicBezTo>
                  <a:cubicBezTo>
                    <a:pt x="754" y="985"/>
                    <a:pt x="754" y="985"/>
                    <a:pt x="754" y="985"/>
                  </a:cubicBezTo>
                  <a:cubicBezTo>
                    <a:pt x="753" y="985"/>
                    <a:pt x="753" y="985"/>
                    <a:pt x="753" y="985"/>
                  </a:cubicBezTo>
                  <a:cubicBezTo>
                    <a:pt x="751" y="983"/>
                    <a:pt x="751" y="983"/>
                    <a:pt x="751" y="983"/>
                  </a:cubicBezTo>
                  <a:cubicBezTo>
                    <a:pt x="751" y="983"/>
                    <a:pt x="751" y="983"/>
                    <a:pt x="751" y="983"/>
                  </a:cubicBezTo>
                  <a:lnTo>
                    <a:pt x="752" y="983"/>
                  </a:lnTo>
                  <a:close/>
                  <a:moveTo>
                    <a:pt x="764" y="818"/>
                  </a:moveTo>
                  <a:cubicBezTo>
                    <a:pt x="764" y="818"/>
                    <a:pt x="764" y="818"/>
                    <a:pt x="764" y="818"/>
                  </a:cubicBezTo>
                  <a:cubicBezTo>
                    <a:pt x="763" y="819"/>
                    <a:pt x="763" y="819"/>
                    <a:pt x="763" y="819"/>
                  </a:cubicBezTo>
                  <a:cubicBezTo>
                    <a:pt x="763" y="819"/>
                    <a:pt x="763" y="819"/>
                    <a:pt x="763" y="819"/>
                  </a:cubicBezTo>
                  <a:cubicBezTo>
                    <a:pt x="763" y="819"/>
                    <a:pt x="763" y="819"/>
                    <a:pt x="763" y="819"/>
                  </a:cubicBezTo>
                  <a:cubicBezTo>
                    <a:pt x="763" y="818"/>
                    <a:pt x="763" y="818"/>
                    <a:pt x="763" y="818"/>
                  </a:cubicBezTo>
                  <a:lnTo>
                    <a:pt x="764" y="818"/>
                  </a:lnTo>
                  <a:close/>
                  <a:moveTo>
                    <a:pt x="761" y="975"/>
                  </a:moveTo>
                  <a:cubicBezTo>
                    <a:pt x="762" y="974"/>
                    <a:pt x="762" y="974"/>
                    <a:pt x="762" y="974"/>
                  </a:cubicBezTo>
                  <a:cubicBezTo>
                    <a:pt x="763" y="974"/>
                    <a:pt x="763" y="974"/>
                    <a:pt x="763" y="974"/>
                  </a:cubicBezTo>
                  <a:cubicBezTo>
                    <a:pt x="763" y="974"/>
                    <a:pt x="763" y="974"/>
                    <a:pt x="763" y="974"/>
                  </a:cubicBezTo>
                  <a:cubicBezTo>
                    <a:pt x="763" y="973"/>
                    <a:pt x="763" y="973"/>
                    <a:pt x="763" y="973"/>
                  </a:cubicBezTo>
                  <a:cubicBezTo>
                    <a:pt x="763" y="973"/>
                    <a:pt x="763" y="973"/>
                    <a:pt x="763" y="973"/>
                  </a:cubicBezTo>
                  <a:cubicBezTo>
                    <a:pt x="763" y="973"/>
                    <a:pt x="763" y="973"/>
                    <a:pt x="763" y="973"/>
                  </a:cubicBezTo>
                  <a:cubicBezTo>
                    <a:pt x="763" y="973"/>
                    <a:pt x="763" y="973"/>
                    <a:pt x="763" y="973"/>
                  </a:cubicBezTo>
                  <a:cubicBezTo>
                    <a:pt x="763" y="972"/>
                    <a:pt x="763" y="972"/>
                    <a:pt x="763" y="972"/>
                  </a:cubicBezTo>
                  <a:cubicBezTo>
                    <a:pt x="764" y="972"/>
                    <a:pt x="764" y="972"/>
                    <a:pt x="764" y="972"/>
                  </a:cubicBezTo>
                  <a:cubicBezTo>
                    <a:pt x="764" y="972"/>
                    <a:pt x="764" y="972"/>
                    <a:pt x="764" y="972"/>
                  </a:cubicBezTo>
                  <a:cubicBezTo>
                    <a:pt x="764" y="971"/>
                    <a:pt x="764" y="971"/>
                    <a:pt x="764" y="971"/>
                  </a:cubicBezTo>
                  <a:cubicBezTo>
                    <a:pt x="764" y="971"/>
                    <a:pt x="764" y="971"/>
                    <a:pt x="764" y="971"/>
                  </a:cubicBezTo>
                  <a:cubicBezTo>
                    <a:pt x="765" y="971"/>
                    <a:pt x="765" y="971"/>
                    <a:pt x="765" y="971"/>
                  </a:cubicBezTo>
                  <a:cubicBezTo>
                    <a:pt x="766" y="971"/>
                    <a:pt x="766" y="971"/>
                    <a:pt x="766" y="971"/>
                  </a:cubicBezTo>
                  <a:cubicBezTo>
                    <a:pt x="767" y="971"/>
                    <a:pt x="767" y="971"/>
                    <a:pt x="767" y="971"/>
                  </a:cubicBezTo>
                  <a:cubicBezTo>
                    <a:pt x="768" y="971"/>
                    <a:pt x="768" y="971"/>
                    <a:pt x="768" y="971"/>
                  </a:cubicBezTo>
                  <a:cubicBezTo>
                    <a:pt x="768" y="971"/>
                    <a:pt x="768" y="971"/>
                    <a:pt x="768" y="971"/>
                  </a:cubicBezTo>
                  <a:cubicBezTo>
                    <a:pt x="768" y="972"/>
                    <a:pt x="768" y="972"/>
                    <a:pt x="768" y="972"/>
                  </a:cubicBezTo>
                  <a:cubicBezTo>
                    <a:pt x="769" y="972"/>
                    <a:pt x="769" y="972"/>
                    <a:pt x="769" y="972"/>
                  </a:cubicBezTo>
                  <a:cubicBezTo>
                    <a:pt x="769" y="971"/>
                    <a:pt x="769" y="971"/>
                    <a:pt x="769" y="971"/>
                  </a:cubicBezTo>
                  <a:cubicBezTo>
                    <a:pt x="769" y="971"/>
                    <a:pt x="769" y="971"/>
                    <a:pt x="769" y="971"/>
                  </a:cubicBezTo>
                  <a:cubicBezTo>
                    <a:pt x="770" y="971"/>
                    <a:pt x="770" y="971"/>
                    <a:pt x="770" y="971"/>
                  </a:cubicBezTo>
                  <a:cubicBezTo>
                    <a:pt x="770" y="972"/>
                    <a:pt x="770" y="972"/>
                    <a:pt x="770" y="972"/>
                  </a:cubicBezTo>
                  <a:cubicBezTo>
                    <a:pt x="770" y="972"/>
                    <a:pt x="770" y="972"/>
                    <a:pt x="770" y="972"/>
                  </a:cubicBezTo>
                  <a:cubicBezTo>
                    <a:pt x="770" y="973"/>
                    <a:pt x="770" y="973"/>
                    <a:pt x="770" y="973"/>
                  </a:cubicBezTo>
                  <a:cubicBezTo>
                    <a:pt x="769" y="973"/>
                    <a:pt x="769" y="973"/>
                    <a:pt x="769" y="973"/>
                  </a:cubicBezTo>
                  <a:cubicBezTo>
                    <a:pt x="769" y="973"/>
                    <a:pt x="769" y="973"/>
                    <a:pt x="769" y="973"/>
                  </a:cubicBezTo>
                  <a:cubicBezTo>
                    <a:pt x="769" y="973"/>
                    <a:pt x="769" y="973"/>
                    <a:pt x="769" y="973"/>
                  </a:cubicBezTo>
                  <a:cubicBezTo>
                    <a:pt x="768" y="973"/>
                    <a:pt x="768" y="973"/>
                    <a:pt x="768" y="973"/>
                  </a:cubicBezTo>
                  <a:cubicBezTo>
                    <a:pt x="768" y="973"/>
                    <a:pt x="768" y="973"/>
                    <a:pt x="768" y="973"/>
                  </a:cubicBezTo>
                  <a:cubicBezTo>
                    <a:pt x="768" y="972"/>
                    <a:pt x="768" y="972"/>
                    <a:pt x="768" y="972"/>
                  </a:cubicBezTo>
                  <a:cubicBezTo>
                    <a:pt x="767" y="972"/>
                    <a:pt x="767" y="972"/>
                    <a:pt x="767" y="972"/>
                  </a:cubicBezTo>
                  <a:cubicBezTo>
                    <a:pt x="766" y="972"/>
                    <a:pt x="766" y="972"/>
                    <a:pt x="766" y="972"/>
                  </a:cubicBezTo>
                  <a:cubicBezTo>
                    <a:pt x="765" y="972"/>
                    <a:pt x="765" y="972"/>
                    <a:pt x="765" y="972"/>
                  </a:cubicBezTo>
                  <a:cubicBezTo>
                    <a:pt x="764" y="972"/>
                    <a:pt x="764" y="972"/>
                    <a:pt x="764" y="972"/>
                  </a:cubicBezTo>
                  <a:cubicBezTo>
                    <a:pt x="764" y="973"/>
                    <a:pt x="764" y="973"/>
                    <a:pt x="764" y="973"/>
                  </a:cubicBezTo>
                  <a:cubicBezTo>
                    <a:pt x="764" y="973"/>
                    <a:pt x="764" y="973"/>
                    <a:pt x="764" y="973"/>
                  </a:cubicBezTo>
                  <a:cubicBezTo>
                    <a:pt x="764" y="973"/>
                    <a:pt x="764" y="973"/>
                    <a:pt x="764" y="973"/>
                  </a:cubicBezTo>
                  <a:cubicBezTo>
                    <a:pt x="763" y="973"/>
                    <a:pt x="763" y="973"/>
                    <a:pt x="763" y="973"/>
                  </a:cubicBezTo>
                  <a:cubicBezTo>
                    <a:pt x="763" y="974"/>
                    <a:pt x="763" y="974"/>
                    <a:pt x="763" y="974"/>
                  </a:cubicBezTo>
                  <a:cubicBezTo>
                    <a:pt x="763" y="974"/>
                    <a:pt x="763" y="974"/>
                    <a:pt x="763" y="974"/>
                  </a:cubicBezTo>
                  <a:cubicBezTo>
                    <a:pt x="763" y="974"/>
                    <a:pt x="763" y="974"/>
                    <a:pt x="763" y="974"/>
                  </a:cubicBezTo>
                  <a:cubicBezTo>
                    <a:pt x="763" y="974"/>
                    <a:pt x="763" y="974"/>
                    <a:pt x="763" y="974"/>
                  </a:cubicBezTo>
                  <a:cubicBezTo>
                    <a:pt x="763" y="975"/>
                    <a:pt x="763" y="975"/>
                    <a:pt x="763" y="975"/>
                  </a:cubicBezTo>
                  <a:cubicBezTo>
                    <a:pt x="763" y="975"/>
                    <a:pt x="763" y="975"/>
                    <a:pt x="763" y="975"/>
                  </a:cubicBezTo>
                  <a:cubicBezTo>
                    <a:pt x="762" y="975"/>
                    <a:pt x="762" y="975"/>
                    <a:pt x="762" y="975"/>
                  </a:cubicBezTo>
                  <a:cubicBezTo>
                    <a:pt x="761" y="976"/>
                    <a:pt x="761" y="976"/>
                    <a:pt x="761" y="976"/>
                  </a:cubicBezTo>
                  <a:cubicBezTo>
                    <a:pt x="761" y="976"/>
                    <a:pt x="761" y="976"/>
                    <a:pt x="761" y="976"/>
                  </a:cubicBezTo>
                  <a:cubicBezTo>
                    <a:pt x="760" y="977"/>
                    <a:pt x="760" y="977"/>
                    <a:pt x="760" y="977"/>
                  </a:cubicBezTo>
                  <a:cubicBezTo>
                    <a:pt x="760" y="977"/>
                    <a:pt x="760" y="977"/>
                    <a:pt x="760" y="977"/>
                  </a:cubicBezTo>
                  <a:cubicBezTo>
                    <a:pt x="758" y="977"/>
                    <a:pt x="758" y="977"/>
                    <a:pt x="758" y="977"/>
                  </a:cubicBezTo>
                  <a:cubicBezTo>
                    <a:pt x="758" y="977"/>
                    <a:pt x="758" y="977"/>
                    <a:pt x="758" y="977"/>
                  </a:cubicBezTo>
                  <a:cubicBezTo>
                    <a:pt x="759" y="977"/>
                    <a:pt x="759" y="977"/>
                    <a:pt x="759" y="977"/>
                  </a:cubicBezTo>
                  <a:cubicBezTo>
                    <a:pt x="759" y="977"/>
                    <a:pt x="759" y="977"/>
                    <a:pt x="759" y="977"/>
                  </a:cubicBezTo>
                  <a:cubicBezTo>
                    <a:pt x="760" y="977"/>
                    <a:pt x="760" y="977"/>
                    <a:pt x="760" y="977"/>
                  </a:cubicBezTo>
                  <a:cubicBezTo>
                    <a:pt x="761" y="975"/>
                    <a:pt x="761" y="975"/>
                    <a:pt x="761" y="975"/>
                  </a:cubicBezTo>
                  <a:close/>
                  <a:moveTo>
                    <a:pt x="769" y="941"/>
                  </a:moveTo>
                  <a:cubicBezTo>
                    <a:pt x="770" y="941"/>
                    <a:pt x="770" y="941"/>
                    <a:pt x="770" y="941"/>
                  </a:cubicBezTo>
                  <a:cubicBezTo>
                    <a:pt x="770" y="941"/>
                    <a:pt x="770" y="941"/>
                    <a:pt x="770" y="941"/>
                  </a:cubicBezTo>
                  <a:cubicBezTo>
                    <a:pt x="770" y="941"/>
                    <a:pt x="770" y="941"/>
                    <a:pt x="770" y="941"/>
                  </a:cubicBezTo>
                  <a:cubicBezTo>
                    <a:pt x="771" y="940"/>
                    <a:pt x="771" y="940"/>
                    <a:pt x="771" y="940"/>
                  </a:cubicBezTo>
                  <a:cubicBezTo>
                    <a:pt x="772" y="940"/>
                    <a:pt x="772" y="940"/>
                    <a:pt x="772" y="940"/>
                  </a:cubicBezTo>
                  <a:cubicBezTo>
                    <a:pt x="772" y="939"/>
                    <a:pt x="772" y="939"/>
                    <a:pt x="772" y="939"/>
                  </a:cubicBezTo>
                  <a:cubicBezTo>
                    <a:pt x="772" y="939"/>
                    <a:pt x="772" y="939"/>
                    <a:pt x="772" y="939"/>
                  </a:cubicBezTo>
                  <a:cubicBezTo>
                    <a:pt x="772" y="939"/>
                    <a:pt x="772" y="939"/>
                    <a:pt x="772" y="939"/>
                  </a:cubicBezTo>
                  <a:cubicBezTo>
                    <a:pt x="773" y="938"/>
                    <a:pt x="773" y="938"/>
                    <a:pt x="773" y="938"/>
                  </a:cubicBezTo>
                  <a:cubicBezTo>
                    <a:pt x="774" y="938"/>
                    <a:pt x="774" y="938"/>
                    <a:pt x="774" y="938"/>
                  </a:cubicBezTo>
                  <a:cubicBezTo>
                    <a:pt x="777" y="939"/>
                    <a:pt x="777" y="939"/>
                    <a:pt x="777" y="939"/>
                  </a:cubicBezTo>
                  <a:cubicBezTo>
                    <a:pt x="777" y="939"/>
                    <a:pt x="777" y="939"/>
                    <a:pt x="777" y="939"/>
                  </a:cubicBezTo>
                  <a:cubicBezTo>
                    <a:pt x="777" y="940"/>
                    <a:pt x="777" y="940"/>
                    <a:pt x="777" y="940"/>
                  </a:cubicBezTo>
                  <a:cubicBezTo>
                    <a:pt x="777" y="940"/>
                    <a:pt x="777" y="940"/>
                    <a:pt x="777" y="940"/>
                  </a:cubicBezTo>
                  <a:cubicBezTo>
                    <a:pt x="778" y="941"/>
                    <a:pt x="778" y="941"/>
                    <a:pt x="778" y="941"/>
                  </a:cubicBezTo>
                  <a:cubicBezTo>
                    <a:pt x="778" y="941"/>
                    <a:pt x="778" y="941"/>
                    <a:pt x="778" y="941"/>
                  </a:cubicBezTo>
                  <a:cubicBezTo>
                    <a:pt x="778" y="941"/>
                    <a:pt x="778" y="941"/>
                    <a:pt x="778" y="941"/>
                  </a:cubicBezTo>
                  <a:cubicBezTo>
                    <a:pt x="780" y="942"/>
                    <a:pt x="780" y="942"/>
                    <a:pt x="780" y="942"/>
                  </a:cubicBezTo>
                  <a:cubicBezTo>
                    <a:pt x="780" y="942"/>
                    <a:pt x="780" y="942"/>
                    <a:pt x="780" y="942"/>
                  </a:cubicBezTo>
                  <a:cubicBezTo>
                    <a:pt x="781" y="941"/>
                    <a:pt x="781" y="941"/>
                    <a:pt x="781" y="941"/>
                  </a:cubicBezTo>
                  <a:cubicBezTo>
                    <a:pt x="781" y="940"/>
                    <a:pt x="781" y="940"/>
                    <a:pt x="781" y="940"/>
                  </a:cubicBezTo>
                  <a:cubicBezTo>
                    <a:pt x="781" y="940"/>
                    <a:pt x="781" y="940"/>
                    <a:pt x="781" y="940"/>
                  </a:cubicBezTo>
                  <a:cubicBezTo>
                    <a:pt x="782" y="941"/>
                    <a:pt x="782" y="941"/>
                    <a:pt x="782" y="941"/>
                  </a:cubicBezTo>
                  <a:cubicBezTo>
                    <a:pt x="783" y="941"/>
                    <a:pt x="783" y="941"/>
                    <a:pt x="783" y="941"/>
                  </a:cubicBezTo>
                  <a:cubicBezTo>
                    <a:pt x="785" y="941"/>
                    <a:pt x="785" y="941"/>
                    <a:pt x="785" y="941"/>
                  </a:cubicBezTo>
                  <a:cubicBezTo>
                    <a:pt x="787" y="940"/>
                    <a:pt x="787" y="940"/>
                    <a:pt x="787" y="940"/>
                  </a:cubicBezTo>
                  <a:cubicBezTo>
                    <a:pt x="787" y="941"/>
                    <a:pt x="787" y="941"/>
                    <a:pt x="787" y="941"/>
                  </a:cubicBezTo>
                  <a:cubicBezTo>
                    <a:pt x="788" y="941"/>
                    <a:pt x="788" y="941"/>
                    <a:pt x="788" y="941"/>
                  </a:cubicBezTo>
                  <a:cubicBezTo>
                    <a:pt x="788" y="941"/>
                    <a:pt x="788" y="941"/>
                    <a:pt x="788" y="941"/>
                  </a:cubicBezTo>
                  <a:cubicBezTo>
                    <a:pt x="787" y="942"/>
                    <a:pt x="787" y="942"/>
                    <a:pt x="787" y="942"/>
                  </a:cubicBezTo>
                  <a:cubicBezTo>
                    <a:pt x="785" y="942"/>
                    <a:pt x="785" y="942"/>
                    <a:pt x="785" y="942"/>
                  </a:cubicBezTo>
                  <a:cubicBezTo>
                    <a:pt x="783" y="942"/>
                    <a:pt x="783" y="942"/>
                    <a:pt x="783" y="942"/>
                  </a:cubicBezTo>
                  <a:cubicBezTo>
                    <a:pt x="782" y="942"/>
                    <a:pt x="782" y="942"/>
                    <a:pt x="782" y="942"/>
                  </a:cubicBezTo>
                  <a:cubicBezTo>
                    <a:pt x="781" y="941"/>
                    <a:pt x="781" y="941"/>
                    <a:pt x="781" y="941"/>
                  </a:cubicBezTo>
                  <a:cubicBezTo>
                    <a:pt x="781" y="941"/>
                    <a:pt x="781" y="941"/>
                    <a:pt x="781" y="941"/>
                  </a:cubicBezTo>
                  <a:cubicBezTo>
                    <a:pt x="780" y="942"/>
                    <a:pt x="780" y="942"/>
                    <a:pt x="780" y="942"/>
                  </a:cubicBezTo>
                  <a:cubicBezTo>
                    <a:pt x="780" y="943"/>
                    <a:pt x="780" y="943"/>
                    <a:pt x="780" y="943"/>
                  </a:cubicBezTo>
                  <a:cubicBezTo>
                    <a:pt x="780" y="943"/>
                    <a:pt x="780" y="943"/>
                    <a:pt x="780" y="943"/>
                  </a:cubicBezTo>
                  <a:cubicBezTo>
                    <a:pt x="778" y="942"/>
                    <a:pt x="778" y="942"/>
                    <a:pt x="778" y="942"/>
                  </a:cubicBezTo>
                  <a:cubicBezTo>
                    <a:pt x="778" y="942"/>
                    <a:pt x="778" y="942"/>
                    <a:pt x="778" y="942"/>
                  </a:cubicBezTo>
                  <a:cubicBezTo>
                    <a:pt x="777" y="942"/>
                    <a:pt x="777" y="942"/>
                    <a:pt x="777" y="942"/>
                  </a:cubicBezTo>
                  <a:cubicBezTo>
                    <a:pt x="777" y="941"/>
                    <a:pt x="777" y="941"/>
                    <a:pt x="777" y="941"/>
                  </a:cubicBezTo>
                  <a:cubicBezTo>
                    <a:pt x="777" y="941"/>
                    <a:pt x="777" y="941"/>
                    <a:pt x="777" y="941"/>
                  </a:cubicBezTo>
                  <a:cubicBezTo>
                    <a:pt x="777" y="940"/>
                    <a:pt x="777" y="940"/>
                    <a:pt x="777" y="940"/>
                  </a:cubicBezTo>
                  <a:cubicBezTo>
                    <a:pt x="777" y="940"/>
                    <a:pt x="777" y="940"/>
                    <a:pt x="777" y="940"/>
                  </a:cubicBezTo>
                  <a:cubicBezTo>
                    <a:pt x="774" y="939"/>
                    <a:pt x="774" y="939"/>
                    <a:pt x="774" y="939"/>
                  </a:cubicBezTo>
                  <a:cubicBezTo>
                    <a:pt x="773" y="939"/>
                    <a:pt x="773" y="939"/>
                    <a:pt x="773" y="939"/>
                  </a:cubicBezTo>
                  <a:cubicBezTo>
                    <a:pt x="772" y="940"/>
                    <a:pt x="772" y="940"/>
                    <a:pt x="772" y="940"/>
                  </a:cubicBezTo>
                  <a:cubicBezTo>
                    <a:pt x="772" y="940"/>
                    <a:pt x="772" y="940"/>
                    <a:pt x="772" y="940"/>
                  </a:cubicBezTo>
                  <a:cubicBezTo>
                    <a:pt x="772" y="941"/>
                    <a:pt x="772" y="941"/>
                    <a:pt x="772" y="941"/>
                  </a:cubicBezTo>
                  <a:cubicBezTo>
                    <a:pt x="771" y="941"/>
                    <a:pt x="771" y="941"/>
                    <a:pt x="771" y="941"/>
                  </a:cubicBezTo>
                  <a:cubicBezTo>
                    <a:pt x="771" y="941"/>
                    <a:pt x="771" y="941"/>
                    <a:pt x="771" y="941"/>
                  </a:cubicBezTo>
                  <a:cubicBezTo>
                    <a:pt x="770" y="942"/>
                    <a:pt x="770" y="942"/>
                    <a:pt x="770" y="942"/>
                  </a:cubicBezTo>
                  <a:cubicBezTo>
                    <a:pt x="770" y="942"/>
                    <a:pt x="770" y="942"/>
                    <a:pt x="770" y="942"/>
                  </a:cubicBezTo>
                  <a:cubicBezTo>
                    <a:pt x="769" y="942"/>
                    <a:pt x="769" y="942"/>
                    <a:pt x="769" y="942"/>
                  </a:cubicBezTo>
                  <a:cubicBezTo>
                    <a:pt x="769" y="942"/>
                    <a:pt x="769" y="942"/>
                    <a:pt x="769" y="942"/>
                  </a:cubicBezTo>
                  <a:cubicBezTo>
                    <a:pt x="769" y="942"/>
                    <a:pt x="769" y="942"/>
                    <a:pt x="769" y="942"/>
                  </a:cubicBezTo>
                  <a:cubicBezTo>
                    <a:pt x="769" y="942"/>
                    <a:pt x="769" y="942"/>
                    <a:pt x="769" y="942"/>
                  </a:cubicBezTo>
                  <a:cubicBezTo>
                    <a:pt x="769" y="942"/>
                    <a:pt x="769" y="942"/>
                    <a:pt x="769" y="942"/>
                  </a:cubicBezTo>
                  <a:cubicBezTo>
                    <a:pt x="768" y="942"/>
                    <a:pt x="768" y="942"/>
                    <a:pt x="768" y="942"/>
                  </a:cubicBezTo>
                  <a:cubicBezTo>
                    <a:pt x="768" y="942"/>
                    <a:pt x="768" y="942"/>
                    <a:pt x="768" y="942"/>
                  </a:cubicBezTo>
                  <a:cubicBezTo>
                    <a:pt x="769" y="941"/>
                    <a:pt x="769" y="941"/>
                    <a:pt x="769" y="941"/>
                  </a:cubicBezTo>
                  <a:cubicBezTo>
                    <a:pt x="769" y="941"/>
                    <a:pt x="769" y="941"/>
                    <a:pt x="769" y="941"/>
                  </a:cubicBezTo>
                  <a:close/>
                  <a:moveTo>
                    <a:pt x="796" y="1017"/>
                  </a:moveTo>
                  <a:cubicBezTo>
                    <a:pt x="796" y="1016"/>
                    <a:pt x="796" y="1016"/>
                    <a:pt x="796" y="1016"/>
                  </a:cubicBezTo>
                  <a:cubicBezTo>
                    <a:pt x="796" y="1017"/>
                    <a:pt x="796" y="1017"/>
                    <a:pt x="796" y="1017"/>
                  </a:cubicBezTo>
                  <a:close/>
                  <a:moveTo>
                    <a:pt x="794" y="1015"/>
                  </a:moveTo>
                  <a:cubicBezTo>
                    <a:pt x="794" y="1015"/>
                    <a:pt x="794" y="1015"/>
                    <a:pt x="794" y="1015"/>
                  </a:cubicBezTo>
                  <a:cubicBezTo>
                    <a:pt x="795" y="1015"/>
                    <a:pt x="795" y="1015"/>
                    <a:pt x="795" y="1015"/>
                  </a:cubicBezTo>
                  <a:cubicBezTo>
                    <a:pt x="795" y="1015"/>
                    <a:pt x="795" y="1015"/>
                    <a:pt x="795" y="1015"/>
                  </a:cubicBezTo>
                  <a:cubicBezTo>
                    <a:pt x="795" y="1015"/>
                    <a:pt x="795" y="1015"/>
                    <a:pt x="795" y="1015"/>
                  </a:cubicBezTo>
                  <a:cubicBezTo>
                    <a:pt x="795" y="1016"/>
                    <a:pt x="795" y="1016"/>
                    <a:pt x="795" y="1016"/>
                  </a:cubicBezTo>
                  <a:lnTo>
                    <a:pt x="794" y="1015"/>
                  </a:lnTo>
                  <a:close/>
                  <a:moveTo>
                    <a:pt x="788" y="933"/>
                  </a:moveTo>
                  <a:cubicBezTo>
                    <a:pt x="788" y="934"/>
                    <a:pt x="788" y="934"/>
                    <a:pt x="788" y="934"/>
                  </a:cubicBezTo>
                  <a:cubicBezTo>
                    <a:pt x="787" y="934"/>
                    <a:pt x="787" y="934"/>
                    <a:pt x="787" y="934"/>
                  </a:cubicBezTo>
                  <a:cubicBezTo>
                    <a:pt x="787" y="934"/>
                    <a:pt x="787" y="934"/>
                    <a:pt x="787" y="934"/>
                  </a:cubicBezTo>
                  <a:cubicBezTo>
                    <a:pt x="786" y="934"/>
                    <a:pt x="786" y="934"/>
                    <a:pt x="786" y="934"/>
                  </a:cubicBezTo>
                  <a:cubicBezTo>
                    <a:pt x="786" y="934"/>
                    <a:pt x="786" y="934"/>
                    <a:pt x="786" y="934"/>
                  </a:cubicBezTo>
                  <a:cubicBezTo>
                    <a:pt x="786" y="933"/>
                    <a:pt x="786" y="933"/>
                    <a:pt x="786" y="933"/>
                  </a:cubicBezTo>
                  <a:cubicBezTo>
                    <a:pt x="787" y="933"/>
                    <a:pt x="787" y="933"/>
                    <a:pt x="787" y="933"/>
                  </a:cubicBezTo>
                  <a:cubicBezTo>
                    <a:pt x="788" y="933"/>
                    <a:pt x="788" y="933"/>
                    <a:pt x="788" y="933"/>
                  </a:cubicBezTo>
                  <a:cubicBezTo>
                    <a:pt x="788" y="932"/>
                    <a:pt x="788" y="932"/>
                    <a:pt x="788" y="932"/>
                  </a:cubicBezTo>
                  <a:cubicBezTo>
                    <a:pt x="788" y="932"/>
                    <a:pt x="788" y="932"/>
                    <a:pt x="788" y="932"/>
                  </a:cubicBezTo>
                  <a:cubicBezTo>
                    <a:pt x="788" y="933"/>
                    <a:pt x="788" y="933"/>
                    <a:pt x="788" y="933"/>
                  </a:cubicBezTo>
                  <a:close/>
                  <a:moveTo>
                    <a:pt x="789" y="930"/>
                  </a:moveTo>
                  <a:cubicBezTo>
                    <a:pt x="789" y="930"/>
                    <a:pt x="789" y="930"/>
                    <a:pt x="789" y="930"/>
                  </a:cubicBezTo>
                  <a:cubicBezTo>
                    <a:pt x="788" y="930"/>
                    <a:pt x="788" y="930"/>
                    <a:pt x="788" y="930"/>
                  </a:cubicBezTo>
                  <a:cubicBezTo>
                    <a:pt x="788" y="930"/>
                    <a:pt x="788" y="930"/>
                    <a:pt x="788" y="930"/>
                  </a:cubicBezTo>
                  <a:cubicBezTo>
                    <a:pt x="788" y="930"/>
                    <a:pt x="788" y="930"/>
                    <a:pt x="788" y="930"/>
                  </a:cubicBezTo>
                  <a:cubicBezTo>
                    <a:pt x="789" y="930"/>
                    <a:pt x="789" y="930"/>
                    <a:pt x="789" y="930"/>
                  </a:cubicBezTo>
                  <a:close/>
                  <a:moveTo>
                    <a:pt x="787" y="937"/>
                  </a:moveTo>
                  <a:cubicBezTo>
                    <a:pt x="787" y="937"/>
                    <a:pt x="787" y="937"/>
                    <a:pt x="787" y="937"/>
                  </a:cubicBezTo>
                  <a:cubicBezTo>
                    <a:pt x="787" y="937"/>
                    <a:pt x="787" y="937"/>
                    <a:pt x="787" y="937"/>
                  </a:cubicBezTo>
                  <a:cubicBezTo>
                    <a:pt x="787" y="937"/>
                    <a:pt x="787" y="937"/>
                    <a:pt x="787" y="937"/>
                  </a:cubicBezTo>
                  <a:close/>
                  <a:moveTo>
                    <a:pt x="804" y="936"/>
                  </a:moveTo>
                  <a:cubicBezTo>
                    <a:pt x="804" y="936"/>
                    <a:pt x="804" y="936"/>
                    <a:pt x="804" y="936"/>
                  </a:cubicBezTo>
                  <a:cubicBezTo>
                    <a:pt x="803" y="936"/>
                    <a:pt x="803" y="936"/>
                    <a:pt x="803" y="936"/>
                  </a:cubicBezTo>
                  <a:cubicBezTo>
                    <a:pt x="803" y="936"/>
                    <a:pt x="803" y="936"/>
                    <a:pt x="803" y="936"/>
                  </a:cubicBezTo>
                  <a:cubicBezTo>
                    <a:pt x="803" y="936"/>
                    <a:pt x="803" y="936"/>
                    <a:pt x="803" y="936"/>
                  </a:cubicBezTo>
                  <a:cubicBezTo>
                    <a:pt x="802" y="936"/>
                    <a:pt x="802" y="936"/>
                    <a:pt x="802" y="936"/>
                  </a:cubicBezTo>
                  <a:cubicBezTo>
                    <a:pt x="802" y="935"/>
                    <a:pt x="802" y="935"/>
                    <a:pt x="802" y="935"/>
                  </a:cubicBezTo>
                  <a:cubicBezTo>
                    <a:pt x="802" y="935"/>
                    <a:pt x="802" y="935"/>
                    <a:pt x="802" y="935"/>
                  </a:cubicBezTo>
                  <a:cubicBezTo>
                    <a:pt x="802" y="935"/>
                    <a:pt x="802" y="935"/>
                    <a:pt x="802" y="935"/>
                  </a:cubicBezTo>
                  <a:cubicBezTo>
                    <a:pt x="802" y="935"/>
                    <a:pt x="802" y="935"/>
                    <a:pt x="802" y="935"/>
                  </a:cubicBezTo>
                  <a:cubicBezTo>
                    <a:pt x="803" y="935"/>
                    <a:pt x="803" y="935"/>
                    <a:pt x="803" y="935"/>
                  </a:cubicBezTo>
                  <a:cubicBezTo>
                    <a:pt x="804" y="935"/>
                    <a:pt x="804" y="935"/>
                    <a:pt x="804" y="935"/>
                  </a:cubicBezTo>
                  <a:cubicBezTo>
                    <a:pt x="804" y="936"/>
                    <a:pt x="804" y="936"/>
                    <a:pt x="804" y="936"/>
                  </a:cubicBezTo>
                  <a:cubicBezTo>
                    <a:pt x="804" y="936"/>
                    <a:pt x="804" y="936"/>
                    <a:pt x="804" y="936"/>
                  </a:cubicBezTo>
                  <a:cubicBezTo>
                    <a:pt x="804" y="936"/>
                    <a:pt x="804" y="936"/>
                    <a:pt x="804" y="936"/>
                  </a:cubicBezTo>
                  <a:close/>
                  <a:moveTo>
                    <a:pt x="800" y="934"/>
                  </a:moveTo>
                  <a:cubicBezTo>
                    <a:pt x="800" y="934"/>
                    <a:pt x="800" y="934"/>
                    <a:pt x="800" y="934"/>
                  </a:cubicBezTo>
                  <a:cubicBezTo>
                    <a:pt x="800" y="933"/>
                    <a:pt x="800" y="933"/>
                    <a:pt x="800" y="933"/>
                  </a:cubicBezTo>
                  <a:cubicBezTo>
                    <a:pt x="799" y="932"/>
                    <a:pt x="799" y="932"/>
                    <a:pt x="799" y="932"/>
                  </a:cubicBezTo>
                  <a:cubicBezTo>
                    <a:pt x="800" y="933"/>
                    <a:pt x="800" y="933"/>
                    <a:pt x="800" y="933"/>
                  </a:cubicBezTo>
                  <a:cubicBezTo>
                    <a:pt x="800" y="933"/>
                    <a:pt x="800" y="933"/>
                    <a:pt x="800" y="933"/>
                  </a:cubicBezTo>
                  <a:cubicBezTo>
                    <a:pt x="801" y="934"/>
                    <a:pt x="801" y="934"/>
                    <a:pt x="801" y="934"/>
                  </a:cubicBezTo>
                  <a:lnTo>
                    <a:pt x="800" y="934"/>
                  </a:lnTo>
                  <a:close/>
                  <a:moveTo>
                    <a:pt x="796" y="928"/>
                  </a:moveTo>
                  <a:cubicBezTo>
                    <a:pt x="794" y="928"/>
                    <a:pt x="794" y="928"/>
                    <a:pt x="794" y="928"/>
                  </a:cubicBezTo>
                  <a:cubicBezTo>
                    <a:pt x="794" y="928"/>
                    <a:pt x="794" y="928"/>
                    <a:pt x="794" y="928"/>
                  </a:cubicBezTo>
                  <a:cubicBezTo>
                    <a:pt x="792" y="928"/>
                    <a:pt x="792" y="928"/>
                    <a:pt x="792" y="928"/>
                  </a:cubicBezTo>
                  <a:cubicBezTo>
                    <a:pt x="791" y="927"/>
                    <a:pt x="791" y="927"/>
                    <a:pt x="791" y="927"/>
                  </a:cubicBezTo>
                  <a:cubicBezTo>
                    <a:pt x="790" y="928"/>
                    <a:pt x="790" y="928"/>
                    <a:pt x="790" y="928"/>
                  </a:cubicBezTo>
                  <a:cubicBezTo>
                    <a:pt x="789" y="929"/>
                    <a:pt x="789" y="929"/>
                    <a:pt x="789" y="929"/>
                  </a:cubicBezTo>
                  <a:cubicBezTo>
                    <a:pt x="789" y="929"/>
                    <a:pt x="789" y="929"/>
                    <a:pt x="789" y="929"/>
                  </a:cubicBezTo>
                  <a:cubicBezTo>
                    <a:pt x="789" y="928"/>
                    <a:pt x="789" y="928"/>
                    <a:pt x="789" y="928"/>
                  </a:cubicBezTo>
                  <a:cubicBezTo>
                    <a:pt x="791" y="927"/>
                    <a:pt x="791" y="927"/>
                    <a:pt x="791" y="927"/>
                  </a:cubicBezTo>
                  <a:cubicBezTo>
                    <a:pt x="790" y="926"/>
                    <a:pt x="790" y="926"/>
                    <a:pt x="790" y="926"/>
                  </a:cubicBezTo>
                  <a:cubicBezTo>
                    <a:pt x="790" y="926"/>
                    <a:pt x="790" y="926"/>
                    <a:pt x="790" y="926"/>
                  </a:cubicBezTo>
                  <a:cubicBezTo>
                    <a:pt x="791" y="926"/>
                    <a:pt x="791" y="926"/>
                    <a:pt x="791" y="926"/>
                  </a:cubicBezTo>
                  <a:cubicBezTo>
                    <a:pt x="792" y="927"/>
                    <a:pt x="792" y="927"/>
                    <a:pt x="792" y="927"/>
                  </a:cubicBezTo>
                  <a:cubicBezTo>
                    <a:pt x="793" y="927"/>
                    <a:pt x="793" y="927"/>
                    <a:pt x="793" y="927"/>
                  </a:cubicBezTo>
                  <a:cubicBezTo>
                    <a:pt x="795" y="927"/>
                    <a:pt x="795" y="927"/>
                    <a:pt x="795" y="927"/>
                  </a:cubicBezTo>
                  <a:cubicBezTo>
                    <a:pt x="796" y="928"/>
                    <a:pt x="796" y="928"/>
                    <a:pt x="796" y="928"/>
                  </a:cubicBezTo>
                  <a:cubicBezTo>
                    <a:pt x="796" y="929"/>
                    <a:pt x="796" y="929"/>
                    <a:pt x="796" y="929"/>
                  </a:cubicBezTo>
                  <a:lnTo>
                    <a:pt x="796" y="928"/>
                  </a:lnTo>
                  <a:close/>
                  <a:moveTo>
                    <a:pt x="771" y="966"/>
                  </a:moveTo>
                  <a:cubicBezTo>
                    <a:pt x="771" y="967"/>
                    <a:pt x="771" y="967"/>
                    <a:pt x="771" y="967"/>
                  </a:cubicBezTo>
                  <a:cubicBezTo>
                    <a:pt x="770" y="968"/>
                    <a:pt x="770" y="968"/>
                    <a:pt x="770" y="968"/>
                  </a:cubicBezTo>
                  <a:cubicBezTo>
                    <a:pt x="770" y="968"/>
                    <a:pt x="770" y="968"/>
                    <a:pt x="770" y="968"/>
                  </a:cubicBezTo>
                  <a:cubicBezTo>
                    <a:pt x="770" y="968"/>
                    <a:pt x="770" y="968"/>
                    <a:pt x="770" y="968"/>
                  </a:cubicBezTo>
                  <a:cubicBezTo>
                    <a:pt x="770" y="967"/>
                    <a:pt x="770" y="967"/>
                    <a:pt x="770" y="967"/>
                  </a:cubicBezTo>
                  <a:cubicBezTo>
                    <a:pt x="770" y="967"/>
                    <a:pt x="770" y="967"/>
                    <a:pt x="770" y="967"/>
                  </a:cubicBezTo>
                  <a:cubicBezTo>
                    <a:pt x="771" y="966"/>
                    <a:pt x="771" y="966"/>
                    <a:pt x="771" y="966"/>
                  </a:cubicBezTo>
                  <a:close/>
                  <a:moveTo>
                    <a:pt x="777" y="949"/>
                  </a:moveTo>
                  <a:cubicBezTo>
                    <a:pt x="777" y="949"/>
                    <a:pt x="777" y="949"/>
                    <a:pt x="777" y="949"/>
                  </a:cubicBezTo>
                  <a:cubicBezTo>
                    <a:pt x="776" y="950"/>
                    <a:pt x="776" y="950"/>
                    <a:pt x="776" y="950"/>
                  </a:cubicBezTo>
                  <a:cubicBezTo>
                    <a:pt x="775" y="950"/>
                    <a:pt x="775" y="950"/>
                    <a:pt x="775" y="950"/>
                  </a:cubicBezTo>
                  <a:cubicBezTo>
                    <a:pt x="775" y="950"/>
                    <a:pt x="775" y="950"/>
                    <a:pt x="775" y="950"/>
                  </a:cubicBezTo>
                  <a:cubicBezTo>
                    <a:pt x="775" y="950"/>
                    <a:pt x="775" y="950"/>
                    <a:pt x="775" y="950"/>
                  </a:cubicBezTo>
                  <a:cubicBezTo>
                    <a:pt x="775" y="949"/>
                    <a:pt x="775" y="949"/>
                    <a:pt x="775" y="949"/>
                  </a:cubicBezTo>
                  <a:cubicBezTo>
                    <a:pt x="776" y="949"/>
                    <a:pt x="776" y="949"/>
                    <a:pt x="776" y="949"/>
                  </a:cubicBezTo>
                  <a:cubicBezTo>
                    <a:pt x="777" y="949"/>
                    <a:pt x="777" y="949"/>
                    <a:pt x="777" y="949"/>
                  </a:cubicBezTo>
                  <a:close/>
                  <a:moveTo>
                    <a:pt x="775" y="952"/>
                  </a:moveTo>
                  <a:cubicBezTo>
                    <a:pt x="775" y="953"/>
                    <a:pt x="775" y="953"/>
                    <a:pt x="775" y="953"/>
                  </a:cubicBezTo>
                  <a:cubicBezTo>
                    <a:pt x="774" y="954"/>
                    <a:pt x="774" y="954"/>
                    <a:pt x="774" y="954"/>
                  </a:cubicBezTo>
                  <a:cubicBezTo>
                    <a:pt x="770" y="955"/>
                    <a:pt x="770" y="955"/>
                    <a:pt x="770" y="955"/>
                  </a:cubicBezTo>
                  <a:cubicBezTo>
                    <a:pt x="770" y="955"/>
                    <a:pt x="770" y="955"/>
                    <a:pt x="770" y="955"/>
                  </a:cubicBezTo>
                  <a:cubicBezTo>
                    <a:pt x="770" y="954"/>
                    <a:pt x="770" y="954"/>
                    <a:pt x="770" y="954"/>
                  </a:cubicBezTo>
                  <a:cubicBezTo>
                    <a:pt x="769" y="954"/>
                    <a:pt x="769" y="954"/>
                    <a:pt x="769" y="954"/>
                  </a:cubicBezTo>
                  <a:cubicBezTo>
                    <a:pt x="769" y="955"/>
                    <a:pt x="769" y="955"/>
                    <a:pt x="769" y="955"/>
                  </a:cubicBezTo>
                  <a:cubicBezTo>
                    <a:pt x="769" y="954"/>
                    <a:pt x="769" y="954"/>
                    <a:pt x="769" y="954"/>
                  </a:cubicBezTo>
                  <a:cubicBezTo>
                    <a:pt x="769" y="953"/>
                    <a:pt x="769" y="953"/>
                    <a:pt x="769" y="953"/>
                  </a:cubicBezTo>
                  <a:cubicBezTo>
                    <a:pt x="770" y="953"/>
                    <a:pt x="770" y="953"/>
                    <a:pt x="770" y="953"/>
                  </a:cubicBezTo>
                  <a:cubicBezTo>
                    <a:pt x="770" y="953"/>
                    <a:pt x="770" y="953"/>
                    <a:pt x="770" y="953"/>
                  </a:cubicBezTo>
                  <a:cubicBezTo>
                    <a:pt x="770" y="954"/>
                    <a:pt x="770" y="954"/>
                    <a:pt x="770" y="954"/>
                  </a:cubicBezTo>
                  <a:cubicBezTo>
                    <a:pt x="774" y="952"/>
                    <a:pt x="774" y="952"/>
                    <a:pt x="774" y="952"/>
                  </a:cubicBezTo>
                  <a:cubicBezTo>
                    <a:pt x="775" y="952"/>
                    <a:pt x="775" y="952"/>
                    <a:pt x="775" y="952"/>
                  </a:cubicBezTo>
                  <a:cubicBezTo>
                    <a:pt x="775" y="952"/>
                    <a:pt x="775" y="952"/>
                    <a:pt x="775" y="952"/>
                  </a:cubicBezTo>
                  <a:close/>
                  <a:moveTo>
                    <a:pt x="769" y="956"/>
                  </a:moveTo>
                  <a:cubicBezTo>
                    <a:pt x="769" y="956"/>
                    <a:pt x="769" y="956"/>
                    <a:pt x="769" y="956"/>
                  </a:cubicBezTo>
                  <a:cubicBezTo>
                    <a:pt x="769" y="956"/>
                    <a:pt x="769" y="956"/>
                    <a:pt x="769" y="956"/>
                  </a:cubicBezTo>
                  <a:cubicBezTo>
                    <a:pt x="769" y="956"/>
                    <a:pt x="769" y="956"/>
                    <a:pt x="769" y="956"/>
                  </a:cubicBezTo>
                  <a:cubicBezTo>
                    <a:pt x="769" y="956"/>
                    <a:pt x="769" y="956"/>
                    <a:pt x="769" y="956"/>
                  </a:cubicBezTo>
                  <a:cubicBezTo>
                    <a:pt x="769" y="956"/>
                    <a:pt x="769" y="956"/>
                    <a:pt x="769" y="956"/>
                  </a:cubicBezTo>
                  <a:cubicBezTo>
                    <a:pt x="769" y="956"/>
                    <a:pt x="769" y="956"/>
                    <a:pt x="769" y="956"/>
                  </a:cubicBezTo>
                  <a:cubicBezTo>
                    <a:pt x="769" y="956"/>
                    <a:pt x="769" y="956"/>
                    <a:pt x="769" y="956"/>
                  </a:cubicBezTo>
                  <a:close/>
                  <a:moveTo>
                    <a:pt x="769" y="965"/>
                  </a:moveTo>
                  <a:cubicBezTo>
                    <a:pt x="769" y="964"/>
                    <a:pt x="769" y="964"/>
                    <a:pt x="769" y="964"/>
                  </a:cubicBezTo>
                  <a:cubicBezTo>
                    <a:pt x="769" y="964"/>
                    <a:pt x="769" y="964"/>
                    <a:pt x="769" y="964"/>
                  </a:cubicBezTo>
                  <a:cubicBezTo>
                    <a:pt x="769" y="964"/>
                    <a:pt x="769" y="964"/>
                    <a:pt x="769" y="964"/>
                  </a:cubicBezTo>
                  <a:cubicBezTo>
                    <a:pt x="769" y="965"/>
                    <a:pt x="769" y="965"/>
                    <a:pt x="769" y="965"/>
                  </a:cubicBezTo>
                  <a:close/>
                  <a:moveTo>
                    <a:pt x="769" y="961"/>
                  </a:moveTo>
                  <a:cubicBezTo>
                    <a:pt x="770" y="960"/>
                    <a:pt x="770" y="960"/>
                    <a:pt x="770" y="960"/>
                  </a:cubicBezTo>
                  <a:cubicBezTo>
                    <a:pt x="770" y="960"/>
                    <a:pt x="770" y="960"/>
                    <a:pt x="770" y="960"/>
                  </a:cubicBezTo>
                  <a:cubicBezTo>
                    <a:pt x="770" y="959"/>
                    <a:pt x="770" y="959"/>
                    <a:pt x="770" y="959"/>
                  </a:cubicBezTo>
                  <a:cubicBezTo>
                    <a:pt x="770" y="960"/>
                    <a:pt x="770" y="960"/>
                    <a:pt x="770" y="960"/>
                  </a:cubicBezTo>
                  <a:cubicBezTo>
                    <a:pt x="770" y="961"/>
                    <a:pt x="770" y="961"/>
                    <a:pt x="770" y="961"/>
                  </a:cubicBezTo>
                  <a:cubicBezTo>
                    <a:pt x="769" y="961"/>
                    <a:pt x="769" y="961"/>
                    <a:pt x="769" y="961"/>
                  </a:cubicBezTo>
                  <a:cubicBezTo>
                    <a:pt x="769" y="962"/>
                    <a:pt x="769" y="962"/>
                    <a:pt x="769" y="962"/>
                  </a:cubicBezTo>
                  <a:cubicBezTo>
                    <a:pt x="769" y="961"/>
                    <a:pt x="769" y="961"/>
                    <a:pt x="769" y="961"/>
                  </a:cubicBezTo>
                  <a:close/>
                  <a:moveTo>
                    <a:pt x="770" y="970"/>
                  </a:moveTo>
                  <a:cubicBezTo>
                    <a:pt x="770" y="970"/>
                    <a:pt x="770" y="970"/>
                    <a:pt x="770" y="970"/>
                  </a:cubicBezTo>
                  <a:cubicBezTo>
                    <a:pt x="770" y="970"/>
                    <a:pt x="770" y="970"/>
                    <a:pt x="770" y="970"/>
                  </a:cubicBezTo>
                  <a:cubicBezTo>
                    <a:pt x="770" y="970"/>
                    <a:pt x="770" y="970"/>
                    <a:pt x="770" y="970"/>
                  </a:cubicBezTo>
                  <a:cubicBezTo>
                    <a:pt x="769" y="970"/>
                    <a:pt x="769" y="970"/>
                    <a:pt x="769" y="970"/>
                  </a:cubicBezTo>
                  <a:cubicBezTo>
                    <a:pt x="769" y="970"/>
                    <a:pt x="769" y="970"/>
                    <a:pt x="769" y="970"/>
                  </a:cubicBezTo>
                  <a:cubicBezTo>
                    <a:pt x="770" y="969"/>
                    <a:pt x="770" y="969"/>
                    <a:pt x="770" y="969"/>
                  </a:cubicBezTo>
                  <a:cubicBezTo>
                    <a:pt x="770" y="970"/>
                    <a:pt x="770" y="970"/>
                    <a:pt x="770" y="970"/>
                  </a:cubicBezTo>
                  <a:cubicBezTo>
                    <a:pt x="771" y="970"/>
                    <a:pt x="771" y="970"/>
                    <a:pt x="771" y="970"/>
                  </a:cubicBezTo>
                  <a:cubicBezTo>
                    <a:pt x="771" y="970"/>
                    <a:pt x="771" y="970"/>
                    <a:pt x="771" y="970"/>
                  </a:cubicBezTo>
                  <a:cubicBezTo>
                    <a:pt x="771" y="970"/>
                    <a:pt x="771" y="970"/>
                    <a:pt x="771" y="970"/>
                  </a:cubicBezTo>
                  <a:lnTo>
                    <a:pt x="770" y="970"/>
                  </a:lnTo>
                  <a:close/>
                  <a:moveTo>
                    <a:pt x="768" y="962"/>
                  </a:moveTo>
                  <a:cubicBezTo>
                    <a:pt x="769" y="962"/>
                    <a:pt x="769" y="962"/>
                    <a:pt x="769" y="962"/>
                  </a:cubicBezTo>
                  <a:cubicBezTo>
                    <a:pt x="769" y="962"/>
                    <a:pt x="769" y="962"/>
                    <a:pt x="769" y="962"/>
                  </a:cubicBezTo>
                  <a:cubicBezTo>
                    <a:pt x="768" y="963"/>
                    <a:pt x="768" y="963"/>
                    <a:pt x="768" y="963"/>
                  </a:cubicBezTo>
                  <a:lnTo>
                    <a:pt x="768" y="962"/>
                  </a:lnTo>
                  <a:close/>
                  <a:moveTo>
                    <a:pt x="758" y="998"/>
                  </a:moveTo>
                  <a:cubicBezTo>
                    <a:pt x="758" y="998"/>
                    <a:pt x="758" y="998"/>
                    <a:pt x="758" y="998"/>
                  </a:cubicBezTo>
                  <a:cubicBezTo>
                    <a:pt x="759" y="998"/>
                    <a:pt x="759" y="998"/>
                    <a:pt x="759" y="998"/>
                  </a:cubicBezTo>
                  <a:cubicBezTo>
                    <a:pt x="759" y="998"/>
                    <a:pt x="759" y="998"/>
                    <a:pt x="759" y="998"/>
                  </a:cubicBezTo>
                  <a:cubicBezTo>
                    <a:pt x="759" y="998"/>
                    <a:pt x="759" y="998"/>
                    <a:pt x="759" y="998"/>
                  </a:cubicBezTo>
                  <a:cubicBezTo>
                    <a:pt x="759" y="999"/>
                    <a:pt x="759" y="999"/>
                    <a:pt x="759" y="999"/>
                  </a:cubicBezTo>
                  <a:cubicBezTo>
                    <a:pt x="759" y="999"/>
                    <a:pt x="759" y="999"/>
                    <a:pt x="759" y="999"/>
                  </a:cubicBezTo>
                  <a:cubicBezTo>
                    <a:pt x="758" y="999"/>
                    <a:pt x="758" y="999"/>
                    <a:pt x="758" y="999"/>
                  </a:cubicBezTo>
                  <a:cubicBezTo>
                    <a:pt x="758" y="999"/>
                    <a:pt x="758" y="999"/>
                    <a:pt x="758" y="999"/>
                  </a:cubicBezTo>
                  <a:lnTo>
                    <a:pt x="758" y="998"/>
                  </a:lnTo>
                  <a:close/>
                  <a:moveTo>
                    <a:pt x="769" y="992"/>
                  </a:moveTo>
                  <a:cubicBezTo>
                    <a:pt x="769" y="991"/>
                    <a:pt x="769" y="991"/>
                    <a:pt x="769" y="991"/>
                  </a:cubicBezTo>
                  <a:cubicBezTo>
                    <a:pt x="768" y="990"/>
                    <a:pt x="768" y="990"/>
                    <a:pt x="768" y="990"/>
                  </a:cubicBezTo>
                  <a:cubicBezTo>
                    <a:pt x="767" y="989"/>
                    <a:pt x="767" y="989"/>
                    <a:pt x="767" y="989"/>
                  </a:cubicBezTo>
                  <a:cubicBezTo>
                    <a:pt x="766" y="988"/>
                    <a:pt x="766" y="988"/>
                    <a:pt x="766" y="988"/>
                  </a:cubicBezTo>
                  <a:cubicBezTo>
                    <a:pt x="765" y="987"/>
                    <a:pt x="765" y="987"/>
                    <a:pt x="765" y="987"/>
                  </a:cubicBezTo>
                  <a:cubicBezTo>
                    <a:pt x="765" y="987"/>
                    <a:pt x="765" y="987"/>
                    <a:pt x="765" y="987"/>
                  </a:cubicBezTo>
                  <a:cubicBezTo>
                    <a:pt x="765" y="987"/>
                    <a:pt x="765" y="987"/>
                    <a:pt x="765" y="987"/>
                  </a:cubicBezTo>
                  <a:cubicBezTo>
                    <a:pt x="765" y="986"/>
                    <a:pt x="765" y="986"/>
                    <a:pt x="765" y="986"/>
                  </a:cubicBezTo>
                  <a:cubicBezTo>
                    <a:pt x="766" y="986"/>
                    <a:pt x="766" y="986"/>
                    <a:pt x="766" y="986"/>
                  </a:cubicBezTo>
                  <a:cubicBezTo>
                    <a:pt x="766" y="986"/>
                    <a:pt x="766" y="986"/>
                    <a:pt x="766" y="986"/>
                  </a:cubicBezTo>
                  <a:cubicBezTo>
                    <a:pt x="766" y="986"/>
                    <a:pt x="766" y="986"/>
                    <a:pt x="766" y="986"/>
                  </a:cubicBezTo>
                  <a:cubicBezTo>
                    <a:pt x="766" y="985"/>
                    <a:pt x="766" y="985"/>
                    <a:pt x="766" y="985"/>
                  </a:cubicBezTo>
                  <a:cubicBezTo>
                    <a:pt x="766" y="985"/>
                    <a:pt x="766" y="985"/>
                    <a:pt x="766" y="985"/>
                  </a:cubicBezTo>
                  <a:cubicBezTo>
                    <a:pt x="765" y="985"/>
                    <a:pt x="765" y="985"/>
                    <a:pt x="765" y="985"/>
                  </a:cubicBezTo>
                  <a:cubicBezTo>
                    <a:pt x="765" y="985"/>
                    <a:pt x="765" y="985"/>
                    <a:pt x="765" y="985"/>
                  </a:cubicBezTo>
                  <a:cubicBezTo>
                    <a:pt x="765" y="984"/>
                    <a:pt x="765" y="984"/>
                    <a:pt x="765" y="984"/>
                  </a:cubicBezTo>
                  <a:cubicBezTo>
                    <a:pt x="765" y="984"/>
                    <a:pt x="765" y="984"/>
                    <a:pt x="765" y="984"/>
                  </a:cubicBezTo>
                  <a:cubicBezTo>
                    <a:pt x="764" y="984"/>
                    <a:pt x="764" y="984"/>
                    <a:pt x="764" y="984"/>
                  </a:cubicBezTo>
                  <a:cubicBezTo>
                    <a:pt x="764" y="983"/>
                    <a:pt x="764" y="983"/>
                    <a:pt x="764" y="983"/>
                  </a:cubicBezTo>
                  <a:cubicBezTo>
                    <a:pt x="764" y="983"/>
                    <a:pt x="764" y="983"/>
                    <a:pt x="764" y="983"/>
                  </a:cubicBezTo>
                  <a:cubicBezTo>
                    <a:pt x="764" y="982"/>
                    <a:pt x="764" y="982"/>
                    <a:pt x="764" y="982"/>
                  </a:cubicBezTo>
                  <a:cubicBezTo>
                    <a:pt x="763" y="981"/>
                    <a:pt x="763" y="981"/>
                    <a:pt x="763" y="981"/>
                  </a:cubicBezTo>
                  <a:cubicBezTo>
                    <a:pt x="763" y="981"/>
                    <a:pt x="763" y="981"/>
                    <a:pt x="763" y="981"/>
                  </a:cubicBezTo>
                  <a:cubicBezTo>
                    <a:pt x="763" y="980"/>
                    <a:pt x="763" y="980"/>
                    <a:pt x="763" y="980"/>
                  </a:cubicBezTo>
                  <a:cubicBezTo>
                    <a:pt x="764" y="980"/>
                    <a:pt x="764" y="980"/>
                    <a:pt x="764" y="980"/>
                  </a:cubicBezTo>
                  <a:cubicBezTo>
                    <a:pt x="764" y="980"/>
                    <a:pt x="764" y="980"/>
                    <a:pt x="764" y="980"/>
                  </a:cubicBezTo>
                  <a:cubicBezTo>
                    <a:pt x="764" y="979"/>
                    <a:pt x="764" y="979"/>
                    <a:pt x="764" y="979"/>
                  </a:cubicBezTo>
                  <a:cubicBezTo>
                    <a:pt x="764" y="979"/>
                    <a:pt x="764" y="979"/>
                    <a:pt x="764" y="979"/>
                  </a:cubicBezTo>
                  <a:cubicBezTo>
                    <a:pt x="764" y="978"/>
                    <a:pt x="764" y="978"/>
                    <a:pt x="764" y="978"/>
                  </a:cubicBezTo>
                  <a:cubicBezTo>
                    <a:pt x="764" y="978"/>
                    <a:pt x="764" y="978"/>
                    <a:pt x="764" y="978"/>
                  </a:cubicBezTo>
                  <a:cubicBezTo>
                    <a:pt x="764" y="978"/>
                    <a:pt x="764" y="978"/>
                    <a:pt x="764" y="978"/>
                  </a:cubicBezTo>
                  <a:cubicBezTo>
                    <a:pt x="764" y="978"/>
                    <a:pt x="764" y="978"/>
                    <a:pt x="764" y="978"/>
                  </a:cubicBezTo>
                  <a:cubicBezTo>
                    <a:pt x="765" y="979"/>
                    <a:pt x="765" y="979"/>
                    <a:pt x="765" y="979"/>
                  </a:cubicBezTo>
                  <a:cubicBezTo>
                    <a:pt x="765" y="979"/>
                    <a:pt x="765" y="979"/>
                    <a:pt x="765" y="979"/>
                  </a:cubicBezTo>
                  <a:cubicBezTo>
                    <a:pt x="765" y="979"/>
                    <a:pt x="765" y="979"/>
                    <a:pt x="765" y="979"/>
                  </a:cubicBezTo>
                  <a:cubicBezTo>
                    <a:pt x="766" y="979"/>
                    <a:pt x="766" y="979"/>
                    <a:pt x="766" y="979"/>
                  </a:cubicBezTo>
                  <a:cubicBezTo>
                    <a:pt x="766" y="979"/>
                    <a:pt x="766" y="979"/>
                    <a:pt x="766" y="979"/>
                  </a:cubicBezTo>
                  <a:cubicBezTo>
                    <a:pt x="766" y="980"/>
                    <a:pt x="766" y="980"/>
                    <a:pt x="766" y="980"/>
                  </a:cubicBezTo>
                  <a:cubicBezTo>
                    <a:pt x="766" y="980"/>
                    <a:pt x="766" y="980"/>
                    <a:pt x="766" y="980"/>
                  </a:cubicBezTo>
                  <a:cubicBezTo>
                    <a:pt x="765" y="981"/>
                    <a:pt x="765" y="981"/>
                    <a:pt x="765" y="981"/>
                  </a:cubicBezTo>
                  <a:cubicBezTo>
                    <a:pt x="765" y="981"/>
                    <a:pt x="765" y="981"/>
                    <a:pt x="765" y="981"/>
                  </a:cubicBezTo>
                  <a:cubicBezTo>
                    <a:pt x="765" y="982"/>
                    <a:pt x="765" y="982"/>
                    <a:pt x="765" y="982"/>
                  </a:cubicBezTo>
                  <a:cubicBezTo>
                    <a:pt x="765" y="982"/>
                    <a:pt x="765" y="982"/>
                    <a:pt x="765" y="982"/>
                  </a:cubicBezTo>
                  <a:cubicBezTo>
                    <a:pt x="765" y="982"/>
                    <a:pt x="765" y="982"/>
                    <a:pt x="765" y="982"/>
                  </a:cubicBezTo>
                  <a:cubicBezTo>
                    <a:pt x="765" y="983"/>
                    <a:pt x="765" y="983"/>
                    <a:pt x="765" y="983"/>
                  </a:cubicBezTo>
                  <a:cubicBezTo>
                    <a:pt x="766" y="984"/>
                    <a:pt x="766" y="984"/>
                    <a:pt x="766" y="984"/>
                  </a:cubicBezTo>
                  <a:cubicBezTo>
                    <a:pt x="766" y="984"/>
                    <a:pt x="766" y="984"/>
                    <a:pt x="766" y="984"/>
                  </a:cubicBezTo>
                  <a:cubicBezTo>
                    <a:pt x="766" y="985"/>
                    <a:pt x="766" y="985"/>
                    <a:pt x="766" y="985"/>
                  </a:cubicBezTo>
                  <a:cubicBezTo>
                    <a:pt x="767" y="985"/>
                    <a:pt x="767" y="985"/>
                    <a:pt x="767" y="985"/>
                  </a:cubicBezTo>
                  <a:cubicBezTo>
                    <a:pt x="767" y="985"/>
                    <a:pt x="767" y="985"/>
                    <a:pt x="767" y="985"/>
                  </a:cubicBezTo>
                  <a:cubicBezTo>
                    <a:pt x="767" y="985"/>
                    <a:pt x="767" y="985"/>
                    <a:pt x="767" y="985"/>
                  </a:cubicBezTo>
                  <a:cubicBezTo>
                    <a:pt x="767" y="985"/>
                    <a:pt x="767" y="985"/>
                    <a:pt x="767" y="985"/>
                  </a:cubicBezTo>
                  <a:cubicBezTo>
                    <a:pt x="768" y="985"/>
                    <a:pt x="768" y="985"/>
                    <a:pt x="768" y="985"/>
                  </a:cubicBezTo>
                  <a:cubicBezTo>
                    <a:pt x="768" y="986"/>
                    <a:pt x="768" y="986"/>
                    <a:pt x="768" y="986"/>
                  </a:cubicBezTo>
                  <a:cubicBezTo>
                    <a:pt x="768" y="987"/>
                    <a:pt x="768" y="987"/>
                    <a:pt x="768" y="987"/>
                  </a:cubicBezTo>
                  <a:cubicBezTo>
                    <a:pt x="768" y="987"/>
                    <a:pt x="768" y="987"/>
                    <a:pt x="768" y="987"/>
                  </a:cubicBezTo>
                  <a:cubicBezTo>
                    <a:pt x="768" y="987"/>
                    <a:pt x="768" y="987"/>
                    <a:pt x="768" y="987"/>
                  </a:cubicBezTo>
                  <a:cubicBezTo>
                    <a:pt x="767" y="987"/>
                    <a:pt x="767" y="987"/>
                    <a:pt x="767" y="987"/>
                  </a:cubicBezTo>
                  <a:cubicBezTo>
                    <a:pt x="767" y="988"/>
                    <a:pt x="767" y="988"/>
                    <a:pt x="767" y="988"/>
                  </a:cubicBezTo>
                  <a:cubicBezTo>
                    <a:pt x="767" y="988"/>
                    <a:pt x="767" y="988"/>
                    <a:pt x="767" y="988"/>
                  </a:cubicBezTo>
                  <a:cubicBezTo>
                    <a:pt x="767" y="988"/>
                    <a:pt x="767" y="988"/>
                    <a:pt x="767" y="988"/>
                  </a:cubicBezTo>
                  <a:cubicBezTo>
                    <a:pt x="768" y="989"/>
                    <a:pt x="768" y="989"/>
                    <a:pt x="768" y="989"/>
                  </a:cubicBezTo>
                  <a:cubicBezTo>
                    <a:pt x="769" y="989"/>
                    <a:pt x="769" y="989"/>
                    <a:pt x="769" y="989"/>
                  </a:cubicBezTo>
                  <a:cubicBezTo>
                    <a:pt x="770" y="991"/>
                    <a:pt x="770" y="991"/>
                    <a:pt x="770" y="991"/>
                  </a:cubicBezTo>
                  <a:cubicBezTo>
                    <a:pt x="771" y="992"/>
                    <a:pt x="771" y="992"/>
                    <a:pt x="771" y="992"/>
                  </a:cubicBezTo>
                  <a:cubicBezTo>
                    <a:pt x="771" y="993"/>
                    <a:pt x="771" y="993"/>
                    <a:pt x="771" y="993"/>
                  </a:cubicBezTo>
                  <a:cubicBezTo>
                    <a:pt x="770" y="993"/>
                    <a:pt x="770" y="993"/>
                    <a:pt x="770" y="993"/>
                  </a:cubicBezTo>
                  <a:cubicBezTo>
                    <a:pt x="770" y="992"/>
                    <a:pt x="770" y="992"/>
                    <a:pt x="770" y="992"/>
                  </a:cubicBezTo>
                  <a:cubicBezTo>
                    <a:pt x="770" y="992"/>
                    <a:pt x="770" y="992"/>
                    <a:pt x="770" y="992"/>
                  </a:cubicBezTo>
                  <a:lnTo>
                    <a:pt x="769" y="992"/>
                  </a:lnTo>
                  <a:close/>
                  <a:moveTo>
                    <a:pt x="782" y="1001"/>
                  </a:moveTo>
                  <a:cubicBezTo>
                    <a:pt x="782" y="1001"/>
                    <a:pt x="782" y="1001"/>
                    <a:pt x="782" y="1001"/>
                  </a:cubicBezTo>
                  <a:cubicBezTo>
                    <a:pt x="782" y="1001"/>
                    <a:pt x="782" y="1001"/>
                    <a:pt x="782" y="1001"/>
                  </a:cubicBezTo>
                  <a:cubicBezTo>
                    <a:pt x="782" y="1001"/>
                    <a:pt x="782" y="1001"/>
                    <a:pt x="782" y="1001"/>
                  </a:cubicBezTo>
                  <a:close/>
                  <a:moveTo>
                    <a:pt x="804" y="831"/>
                  </a:moveTo>
                  <a:cubicBezTo>
                    <a:pt x="805" y="831"/>
                    <a:pt x="805" y="831"/>
                    <a:pt x="805" y="831"/>
                  </a:cubicBezTo>
                  <a:cubicBezTo>
                    <a:pt x="805" y="831"/>
                    <a:pt x="805" y="831"/>
                    <a:pt x="805" y="831"/>
                  </a:cubicBezTo>
                  <a:cubicBezTo>
                    <a:pt x="805" y="831"/>
                    <a:pt x="805" y="831"/>
                    <a:pt x="805" y="831"/>
                  </a:cubicBezTo>
                  <a:cubicBezTo>
                    <a:pt x="806" y="831"/>
                    <a:pt x="806" y="831"/>
                    <a:pt x="806" y="831"/>
                  </a:cubicBezTo>
                  <a:cubicBezTo>
                    <a:pt x="806" y="831"/>
                    <a:pt x="806" y="831"/>
                    <a:pt x="806" y="831"/>
                  </a:cubicBezTo>
                  <a:cubicBezTo>
                    <a:pt x="807" y="831"/>
                    <a:pt x="807" y="831"/>
                    <a:pt x="807" y="831"/>
                  </a:cubicBezTo>
                  <a:cubicBezTo>
                    <a:pt x="807" y="831"/>
                    <a:pt x="807" y="831"/>
                    <a:pt x="807" y="831"/>
                  </a:cubicBezTo>
                  <a:cubicBezTo>
                    <a:pt x="807" y="831"/>
                    <a:pt x="807" y="831"/>
                    <a:pt x="807" y="831"/>
                  </a:cubicBezTo>
                  <a:cubicBezTo>
                    <a:pt x="806" y="831"/>
                    <a:pt x="806" y="831"/>
                    <a:pt x="806" y="831"/>
                  </a:cubicBezTo>
                  <a:cubicBezTo>
                    <a:pt x="805" y="831"/>
                    <a:pt x="805" y="831"/>
                    <a:pt x="805" y="831"/>
                  </a:cubicBezTo>
                  <a:cubicBezTo>
                    <a:pt x="805" y="831"/>
                    <a:pt x="805" y="831"/>
                    <a:pt x="805" y="831"/>
                  </a:cubicBezTo>
                  <a:cubicBezTo>
                    <a:pt x="805" y="831"/>
                    <a:pt x="805" y="831"/>
                    <a:pt x="805" y="831"/>
                  </a:cubicBezTo>
                  <a:cubicBezTo>
                    <a:pt x="805" y="831"/>
                    <a:pt x="805" y="831"/>
                    <a:pt x="805" y="831"/>
                  </a:cubicBezTo>
                  <a:cubicBezTo>
                    <a:pt x="804" y="831"/>
                    <a:pt x="804" y="831"/>
                    <a:pt x="804" y="831"/>
                  </a:cubicBezTo>
                  <a:cubicBezTo>
                    <a:pt x="804" y="831"/>
                    <a:pt x="804" y="831"/>
                    <a:pt x="804" y="831"/>
                  </a:cubicBezTo>
                  <a:close/>
                  <a:moveTo>
                    <a:pt x="768" y="894"/>
                  </a:moveTo>
                  <a:cubicBezTo>
                    <a:pt x="767" y="894"/>
                    <a:pt x="767" y="894"/>
                    <a:pt x="767" y="894"/>
                  </a:cubicBezTo>
                  <a:cubicBezTo>
                    <a:pt x="767" y="894"/>
                    <a:pt x="767" y="894"/>
                    <a:pt x="767" y="894"/>
                  </a:cubicBezTo>
                  <a:cubicBezTo>
                    <a:pt x="769" y="892"/>
                    <a:pt x="769" y="892"/>
                    <a:pt x="769" y="892"/>
                  </a:cubicBezTo>
                  <a:cubicBezTo>
                    <a:pt x="769" y="892"/>
                    <a:pt x="769" y="892"/>
                    <a:pt x="769" y="892"/>
                  </a:cubicBezTo>
                  <a:cubicBezTo>
                    <a:pt x="769" y="892"/>
                    <a:pt x="769" y="892"/>
                    <a:pt x="769" y="892"/>
                  </a:cubicBezTo>
                  <a:lnTo>
                    <a:pt x="768" y="894"/>
                  </a:lnTo>
                  <a:close/>
                  <a:moveTo>
                    <a:pt x="765" y="813"/>
                  </a:moveTo>
                  <a:cubicBezTo>
                    <a:pt x="765" y="813"/>
                    <a:pt x="765" y="813"/>
                    <a:pt x="765" y="813"/>
                  </a:cubicBezTo>
                  <a:cubicBezTo>
                    <a:pt x="764" y="813"/>
                    <a:pt x="764" y="813"/>
                    <a:pt x="764" y="813"/>
                  </a:cubicBezTo>
                  <a:cubicBezTo>
                    <a:pt x="764" y="813"/>
                    <a:pt x="764" y="813"/>
                    <a:pt x="764" y="813"/>
                  </a:cubicBezTo>
                  <a:cubicBezTo>
                    <a:pt x="766" y="813"/>
                    <a:pt x="766" y="813"/>
                    <a:pt x="766" y="813"/>
                  </a:cubicBezTo>
                  <a:cubicBezTo>
                    <a:pt x="766" y="813"/>
                    <a:pt x="766" y="813"/>
                    <a:pt x="766" y="813"/>
                  </a:cubicBezTo>
                  <a:lnTo>
                    <a:pt x="765" y="813"/>
                  </a:lnTo>
                  <a:close/>
                  <a:moveTo>
                    <a:pt x="799" y="1051"/>
                  </a:moveTo>
                  <a:cubicBezTo>
                    <a:pt x="799" y="1051"/>
                    <a:pt x="799" y="1051"/>
                    <a:pt x="799" y="1051"/>
                  </a:cubicBezTo>
                  <a:cubicBezTo>
                    <a:pt x="799" y="1051"/>
                    <a:pt x="799" y="1051"/>
                    <a:pt x="799" y="1051"/>
                  </a:cubicBezTo>
                  <a:cubicBezTo>
                    <a:pt x="799" y="1051"/>
                    <a:pt x="799" y="1051"/>
                    <a:pt x="799" y="1051"/>
                  </a:cubicBezTo>
                  <a:close/>
                  <a:moveTo>
                    <a:pt x="828" y="1053"/>
                  </a:moveTo>
                  <a:cubicBezTo>
                    <a:pt x="828" y="1053"/>
                    <a:pt x="828" y="1053"/>
                    <a:pt x="828" y="1053"/>
                  </a:cubicBezTo>
                  <a:cubicBezTo>
                    <a:pt x="829" y="1053"/>
                    <a:pt x="829" y="1053"/>
                    <a:pt x="829" y="1053"/>
                  </a:cubicBezTo>
                  <a:cubicBezTo>
                    <a:pt x="829" y="1053"/>
                    <a:pt x="829" y="1053"/>
                    <a:pt x="829" y="1053"/>
                  </a:cubicBezTo>
                  <a:cubicBezTo>
                    <a:pt x="828" y="1053"/>
                    <a:pt x="828" y="1053"/>
                    <a:pt x="828" y="1053"/>
                  </a:cubicBezTo>
                  <a:cubicBezTo>
                    <a:pt x="828" y="1053"/>
                    <a:pt x="828" y="1053"/>
                    <a:pt x="828" y="1053"/>
                  </a:cubicBezTo>
                  <a:cubicBezTo>
                    <a:pt x="827" y="1052"/>
                    <a:pt x="827" y="1052"/>
                    <a:pt x="827" y="1052"/>
                  </a:cubicBezTo>
                  <a:lnTo>
                    <a:pt x="828" y="1053"/>
                  </a:lnTo>
                  <a:close/>
                  <a:moveTo>
                    <a:pt x="833" y="1022"/>
                  </a:moveTo>
                  <a:cubicBezTo>
                    <a:pt x="833" y="1022"/>
                    <a:pt x="833" y="1022"/>
                    <a:pt x="833" y="1022"/>
                  </a:cubicBezTo>
                  <a:cubicBezTo>
                    <a:pt x="834" y="1021"/>
                    <a:pt x="834" y="1021"/>
                    <a:pt x="834" y="1021"/>
                  </a:cubicBezTo>
                  <a:cubicBezTo>
                    <a:pt x="833" y="1022"/>
                    <a:pt x="833" y="1022"/>
                    <a:pt x="833" y="1022"/>
                  </a:cubicBezTo>
                  <a:close/>
                  <a:moveTo>
                    <a:pt x="839" y="1019"/>
                  </a:moveTo>
                  <a:cubicBezTo>
                    <a:pt x="839" y="1019"/>
                    <a:pt x="839" y="1019"/>
                    <a:pt x="839" y="1019"/>
                  </a:cubicBezTo>
                  <a:cubicBezTo>
                    <a:pt x="839" y="1019"/>
                    <a:pt x="839" y="1019"/>
                    <a:pt x="839" y="1019"/>
                  </a:cubicBezTo>
                  <a:cubicBezTo>
                    <a:pt x="839" y="1020"/>
                    <a:pt x="839" y="1020"/>
                    <a:pt x="839" y="1020"/>
                  </a:cubicBezTo>
                  <a:cubicBezTo>
                    <a:pt x="839" y="1020"/>
                    <a:pt x="839" y="1020"/>
                    <a:pt x="839" y="1020"/>
                  </a:cubicBezTo>
                  <a:lnTo>
                    <a:pt x="839" y="1019"/>
                  </a:lnTo>
                  <a:close/>
                  <a:moveTo>
                    <a:pt x="854" y="1051"/>
                  </a:moveTo>
                  <a:cubicBezTo>
                    <a:pt x="854" y="1051"/>
                    <a:pt x="854" y="1051"/>
                    <a:pt x="854" y="1051"/>
                  </a:cubicBezTo>
                  <a:cubicBezTo>
                    <a:pt x="853" y="1051"/>
                    <a:pt x="853" y="1051"/>
                    <a:pt x="853" y="1051"/>
                  </a:cubicBezTo>
                  <a:cubicBezTo>
                    <a:pt x="853" y="1050"/>
                    <a:pt x="853" y="1050"/>
                    <a:pt x="853" y="1050"/>
                  </a:cubicBezTo>
                  <a:cubicBezTo>
                    <a:pt x="853" y="1051"/>
                    <a:pt x="853" y="1051"/>
                    <a:pt x="853" y="1051"/>
                  </a:cubicBezTo>
                  <a:cubicBezTo>
                    <a:pt x="853" y="1051"/>
                    <a:pt x="853" y="1051"/>
                    <a:pt x="853" y="1051"/>
                  </a:cubicBezTo>
                  <a:cubicBezTo>
                    <a:pt x="853" y="1051"/>
                    <a:pt x="853" y="1051"/>
                    <a:pt x="853" y="1051"/>
                  </a:cubicBezTo>
                  <a:cubicBezTo>
                    <a:pt x="851" y="1051"/>
                    <a:pt x="851" y="1051"/>
                    <a:pt x="851" y="1051"/>
                  </a:cubicBezTo>
                  <a:cubicBezTo>
                    <a:pt x="851" y="1051"/>
                    <a:pt x="851" y="1051"/>
                    <a:pt x="851" y="1051"/>
                  </a:cubicBezTo>
                  <a:cubicBezTo>
                    <a:pt x="850" y="1051"/>
                    <a:pt x="850" y="1051"/>
                    <a:pt x="850" y="1051"/>
                  </a:cubicBezTo>
                  <a:cubicBezTo>
                    <a:pt x="850" y="1051"/>
                    <a:pt x="850" y="1051"/>
                    <a:pt x="850" y="1051"/>
                  </a:cubicBezTo>
                  <a:cubicBezTo>
                    <a:pt x="850" y="1051"/>
                    <a:pt x="850" y="1051"/>
                    <a:pt x="850" y="1051"/>
                  </a:cubicBezTo>
                  <a:cubicBezTo>
                    <a:pt x="850" y="1050"/>
                    <a:pt x="850" y="1050"/>
                    <a:pt x="850" y="1050"/>
                  </a:cubicBezTo>
                  <a:cubicBezTo>
                    <a:pt x="849" y="1050"/>
                    <a:pt x="849" y="1050"/>
                    <a:pt x="849" y="1050"/>
                  </a:cubicBezTo>
                  <a:cubicBezTo>
                    <a:pt x="849" y="1049"/>
                    <a:pt x="849" y="1049"/>
                    <a:pt x="849" y="1049"/>
                  </a:cubicBezTo>
                  <a:cubicBezTo>
                    <a:pt x="850" y="1049"/>
                    <a:pt x="850" y="1049"/>
                    <a:pt x="850" y="1049"/>
                  </a:cubicBezTo>
                  <a:cubicBezTo>
                    <a:pt x="850" y="1049"/>
                    <a:pt x="850" y="1049"/>
                    <a:pt x="850" y="1049"/>
                  </a:cubicBezTo>
                  <a:cubicBezTo>
                    <a:pt x="851" y="1050"/>
                    <a:pt x="851" y="1050"/>
                    <a:pt x="851" y="1050"/>
                  </a:cubicBezTo>
                  <a:cubicBezTo>
                    <a:pt x="851" y="1050"/>
                    <a:pt x="851" y="1050"/>
                    <a:pt x="851" y="1050"/>
                  </a:cubicBezTo>
                  <a:cubicBezTo>
                    <a:pt x="852" y="1050"/>
                    <a:pt x="852" y="1050"/>
                    <a:pt x="852" y="1050"/>
                  </a:cubicBezTo>
                  <a:cubicBezTo>
                    <a:pt x="852" y="1050"/>
                    <a:pt x="852" y="1050"/>
                    <a:pt x="852" y="1050"/>
                  </a:cubicBezTo>
                  <a:cubicBezTo>
                    <a:pt x="854" y="1050"/>
                    <a:pt x="854" y="1050"/>
                    <a:pt x="854" y="1050"/>
                  </a:cubicBezTo>
                  <a:cubicBezTo>
                    <a:pt x="854" y="1050"/>
                    <a:pt x="854" y="1050"/>
                    <a:pt x="854" y="1050"/>
                  </a:cubicBezTo>
                  <a:cubicBezTo>
                    <a:pt x="854" y="1050"/>
                    <a:pt x="854" y="1050"/>
                    <a:pt x="854" y="1050"/>
                  </a:cubicBezTo>
                  <a:cubicBezTo>
                    <a:pt x="854" y="1050"/>
                    <a:pt x="854" y="1050"/>
                    <a:pt x="854" y="1050"/>
                  </a:cubicBezTo>
                  <a:cubicBezTo>
                    <a:pt x="854" y="1050"/>
                    <a:pt x="854" y="1050"/>
                    <a:pt x="854" y="1050"/>
                  </a:cubicBezTo>
                  <a:cubicBezTo>
                    <a:pt x="854" y="1050"/>
                    <a:pt x="854" y="1050"/>
                    <a:pt x="854" y="1050"/>
                  </a:cubicBezTo>
                  <a:cubicBezTo>
                    <a:pt x="855" y="1050"/>
                    <a:pt x="855" y="1050"/>
                    <a:pt x="855" y="1050"/>
                  </a:cubicBezTo>
                  <a:cubicBezTo>
                    <a:pt x="857" y="1050"/>
                    <a:pt x="857" y="1050"/>
                    <a:pt x="857" y="1050"/>
                  </a:cubicBezTo>
                  <a:cubicBezTo>
                    <a:pt x="857" y="1050"/>
                    <a:pt x="857" y="1050"/>
                    <a:pt x="857" y="1050"/>
                  </a:cubicBezTo>
                  <a:cubicBezTo>
                    <a:pt x="856" y="1051"/>
                    <a:pt x="856" y="1051"/>
                    <a:pt x="856" y="1051"/>
                  </a:cubicBezTo>
                  <a:lnTo>
                    <a:pt x="854" y="1051"/>
                  </a:lnTo>
                  <a:close/>
                  <a:moveTo>
                    <a:pt x="857" y="1092"/>
                  </a:moveTo>
                  <a:cubicBezTo>
                    <a:pt x="857" y="1093"/>
                    <a:pt x="857" y="1093"/>
                    <a:pt x="857" y="1093"/>
                  </a:cubicBezTo>
                  <a:cubicBezTo>
                    <a:pt x="858" y="1093"/>
                    <a:pt x="858" y="1093"/>
                    <a:pt x="858" y="1093"/>
                  </a:cubicBezTo>
                  <a:cubicBezTo>
                    <a:pt x="858" y="1093"/>
                    <a:pt x="858" y="1093"/>
                    <a:pt x="858" y="1093"/>
                  </a:cubicBezTo>
                  <a:cubicBezTo>
                    <a:pt x="858" y="1093"/>
                    <a:pt x="858" y="1093"/>
                    <a:pt x="858" y="1093"/>
                  </a:cubicBezTo>
                  <a:cubicBezTo>
                    <a:pt x="858" y="1093"/>
                    <a:pt x="858" y="1093"/>
                    <a:pt x="858" y="1093"/>
                  </a:cubicBezTo>
                  <a:cubicBezTo>
                    <a:pt x="859" y="1093"/>
                    <a:pt x="859" y="1093"/>
                    <a:pt x="859" y="1093"/>
                  </a:cubicBezTo>
                  <a:cubicBezTo>
                    <a:pt x="859" y="1094"/>
                    <a:pt x="859" y="1094"/>
                    <a:pt x="859" y="1094"/>
                  </a:cubicBezTo>
                  <a:cubicBezTo>
                    <a:pt x="859" y="1094"/>
                    <a:pt x="859" y="1094"/>
                    <a:pt x="859" y="1094"/>
                  </a:cubicBezTo>
                  <a:cubicBezTo>
                    <a:pt x="859" y="1094"/>
                    <a:pt x="859" y="1094"/>
                    <a:pt x="859" y="1094"/>
                  </a:cubicBezTo>
                  <a:cubicBezTo>
                    <a:pt x="860" y="1095"/>
                    <a:pt x="860" y="1095"/>
                    <a:pt x="860" y="1095"/>
                  </a:cubicBezTo>
                  <a:cubicBezTo>
                    <a:pt x="860" y="1095"/>
                    <a:pt x="860" y="1095"/>
                    <a:pt x="860" y="1095"/>
                  </a:cubicBezTo>
                  <a:cubicBezTo>
                    <a:pt x="860" y="1095"/>
                    <a:pt x="860" y="1095"/>
                    <a:pt x="860" y="1095"/>
                  </a:cubicBezTo>
                  <a:cubicBezTo>
                    <a:pt x="860" y="1096"/>
                    <a:pt x="860" y="1096"/>
                    <a:pt x="860" y="1096"/>
                  </a:cubicBezTo>
                  <a:cubicBezTo>
                    <a:pt x="860" y="1096"/>
                    <a:pt x="860" y="1096"/>
                    <a:pt x="860" y="1096"/>
                  </a:cubicBezTo>
                  <a:cubicBezTo>
                    <a:pt x="860" y="1096"/>
                    <a:pt x="860" y="1096"/>
                    <a:pt x="860" y="1096"/>
                  </a:cubicBezTo>
                  <a:cubicBezTo>
                    <a:pt x="859" y="1095"/>
                    <a:pt x="859" y="1095"/>
                    <a:pt x="859" y="1095"/>
                  </a:cubicBezTo>
                  <a:cubicBezTo>
                    <a:pt x="858" y="1094"/>
                    <a:pt x="858" y="1094"/>
                    <a:pt x="858" y="1094"/>
                  </a:cubicBezTo>
                  <a:cubicBezTo>
                    <a:pt x="858" y="1094"/>
                    <a:pt x="858" y="1094"/>
                    <a:pt x="858" y="1094"/>
                  </a:cubicBezTo>
                  <a:cubicBezTo>
                    <a:pt x="858" y="1093"/>
                    <a:pt x="858" y="1093"/>
                    <a:pt x="858" y="1093"/>
                  </a:cubicBezTo>
                  <a:cubicBezTo>
                    <a:pt x="857" y="1093"/>
                    <a:pt x="857" y="1093"/>
                    <a:pt x="857" y="1093"/>
                  </a:cubicBezTo>
                  <a:cubicBezTo>
                    <a:pt x="857" y="1093"/>
                    <a:pt x="857" y="1093"/>
                    <a:pt x="857" y="1093"/>
                  </a:cubicBezTo>
                  <a:lnTo>
                    <a:pt x="857" y="1092"/>
                  </a:lnTo>
                  <a:close/>
                  <a:moveTo>
                    <a:pt x="784" y="825"/>
                  </a:moveTo>
                  <a:cubicBezTo>
                    <a:pt x="784" y="826"/>
                    <a:pt x="784" y="826"/>
                    <a:pt x="784" y="826"/>
                  </a:cubicBezTo>
                  <a:cubicBezTo>
                    <a:pt x="784" y="826"/>
                    <a:pt x="784" y="826"/>
                    <a:pt x="784" y="826"/>
                  </a:cubicBezTo>
                  <a:cubicBezTo>
                    <a:pt x="784" y="826"/>
                    <a:pt x="784" y="826"/>
                    <a:pt x="784" y="826"/>
                  </a:cubicBezTo>
                  <a:cubicBezTo>
                    <a:pt x="783" y="826"/>
                    <a:pt x="783" y="826"/>
                    <a:pt x="783" y="826"/>
                  </a:cubicBezTo>
                  <a:cubicBezTo>
                    <a:pt x="784" y="826"/>
                    <a:pt x="784" y="826"/>
                    <a:pt x="784" y="826"/>
                  </a:cubicBezTo>
                  <a:cubicBezTo>
                    <a:pt x="784" y="826"/>
                    <a:pt x="784" y="826"/>
                    <a:pt x="784" y="826"/>
                  </a:cubicBezTo>
                  <a:cubicBezTo>
                    <a:pt x="784" y="825"/>
                    <a:pt x="784" y="825"/>
                    <a:pt x="784" y="825"/>
                  </a:cubicBezTo>
                  <a:cubicBezTo>
                    <a:pt x="784" y="825"/>
                    <a:pt x="784" y="825"/>
                    <a:pt x="784" y="825"/>
                  </a:cubicBezTo>
                  <a:cubicBezTo>
                    <a:pt x="784" y="825"/>
                    <a:pt x="784" y="825"/>
                    <a:pt x="784" y="825"/>
                  </a:cubicBezTo>
                  <a:close/>
                  <a:moveTo>
                    <a:pt x="768" y="809"/>
                  </a:moveTo>
                  <a:cubicBezTo>
                    <a:pt x="767" y="809"/>
                    <a:pt x="767" y="809"/>
                    <a:pt x="767" y="809"/>
                  </a:cubicBezTo>
                  <a:cubicBezTo>
                    <a:pt x="767" y="809"/>
                    <a:pt x="767" y="809"/>
                    <a:pt x="767" y="809"/>
                  </a:cubicBezTo>
                  <a:cubicBezTo>
                    <a:pt x="768" y="809"/>
                    <a:pt x="768" y="809"/>
                    <a:pt x="768" y="809"/>
                  </a:cubicBezTo>
                  <a:close/>
                  <a:moveTo>
                    <a:pt x="761" y="815"/>
                  </a:moveTo>
                  <a:cubicBezTo>
                    <a:pt x="761" y="815"/>
                    <a:pt x="761" y="815"/>
                    <a:pt x="761" y="815"/>
                  </a:cubicBezTo>
                  <a:cubicBezTo>
                    <a:pt x="761" y="815"/>
                    <a:pt x="761" y="815"/>
                    <a:pt x="761" y="815"/>
                  </a:cubicBezTo>
                  <a:cubicBezTo>
                    <a:pt x="761" y="815"/>
                    <a:pt x="761" y="815"/>
                    <a:pt x="761" y="815"/>
                  </a:cubicBezTo>
                  <a:close/>
                  <a:moveTo>
                    <a:pt x="659" y="944"/>
                  </a:moveTo>
                  <a:cubicBezTo>
                    <a:pt x="659" y="943"/>
                    <a:pt x="659" y="943"/>
                    <a:pt x="659" y="943"/>
                  </a:cubicBezTo>
                  <a:cubicBezTo>
                    <a:pt x="658" y="943"/>
                    <a:pt x="658" y="943"/>
                    <a:pt x="658" y="943"/>
                  </a:cubicBezTo>
                  <a:cubicBezTo>
                    <a:pt x="658" y="942"/>
                    <a:pt x="658" y="942"/>
                    <a:pt x="658" y="942"/>
                  </a:cubicBezTo>
                  <a:cubicBezTo>
                    <a:pt x="658" y="942"/>
                    <a:pt x="658" y="942"/>
                    <a:pt x="658" y="942"/>
                  </a:cubicBezTo>
                  <a:cubicBezTo>
                    <a:pt x="656" y="942"/>
                    <a:pt x="656" y="942"/>
                    <a:pt x="656" y="942"/>
                  </a:cubicBezTo>
                  <a:cubicBezTo>
                    <a:pt x="656" y="942"/>
                    <a:pt x="656" y="942"/>
                    <a:pt x="656" y="942"/>
                  </a:cubicBezTo>
                  <a:cubicBezTo>
                    <a:pt x="656" y="942"/>
                    <a:pt x="656" y="942"/>
                    <a:pt x="656" y="942"/>
                  </a:cubicBezTo>
                  <a:cubicBezTo>
                    <a:pt x="657" y="942"/>
                    <a:pt x="657" y="942"/>
                    <a:pt x="657" y="942"/>
                  </a:cubicBezTo>
                  <a:cubicBezTo>
                    <a:pt x="659" y="942"/>
                    <a:pt x="659" y="942"/>
                    <a:pt x="659" y="942"/>
                  </a:cubicBezTo>
                  <a:cubicBezTo>
                    <a:pt x="659" y="942"/>
                    <a:pt x="659" y="942"/>
                    <a:pt x="659" y="942"/>
                  </a:cubicBezTo>
                  <a:cubicBezTo>
                    <a:pt x="659" y="943"/>
                    <a:pt x="659" y="943"/>
                    <a:pt x="659" y="943"/>
                  </a:cubicBezTo>
                  <a:cubicBezTo>
                    <a:pt x="659" y="943"/>
                    <a:pt x="659" y="943"/>
                    <a:pt x="659" y="943"/>
                  </a:cubicBezTo>
                  <a:cubicBezTo>
                    <a:pt x="660" y="944"/>
                    <a:pt x="660" y="944"/>
                    <a:pt x="660" y="944"/>
                  </a:cubicBezTo>
                  <a:cubicBezTo>
                    <a:pt x="661" y="944"/>
                    <a:pt x="661" y="944"/>
                    <a:pt x="661" y="944"/>
                  </a:cubicBezTo>
                  <a:cubicBezTo>
                    <a:pt x="660" y="945"/>
                    <a:pt x="660" y="945"/>
                    <a:pt x="660" y="945"/>
                  </a:cubicBezTo>
                  <a:cubicBezTo>
                    <a:pt x="659" y="946"/>
                    <a:pt x="659" y="946"/>
                    <a:pt x="659" y="946"/>
                  </a:cubicBezTo>
                  <a:cubicBezTo>
                    <a:pt x="660" y="947"/>
                    <a:pt x="660" y="947"/>
                    <a:pt x="660" y="947"/>
                  </a:cubicBezTo>
                  <a:cubicBezTo>
                    <a:pt x="660" y="948"/>
                    <a:pt x="660" y="948"/>
                    <a:pt x="660" y="948"/>
                  </a:cubicBezTo>
                  <a:cubicBezTo>
                    <a:pt x="661" y="948"/>
                    <a:pt x="661" y="948"/>
                    <a:pt x="661" y="948"/>
                  </a:cubicBezTo>
                  <a:cubicBezTo>
                    <a:pt x="661" y="948"/>
                    <a:pt x="661" y="948"/>
                    <a:pt x="661" y="948"/>
                  </a:cubicBezTo>
                  <a:cubicBezTo>
                    <a:pt x="661" y="948"/>
                    <a:pt x="661" y="948"/>
                    <a:pt x="661" y="948"/>
                  </a:cubicBezTo>
                  <a:cubicBezTo>
                    <a:pt x="663" y="949"/>
                    <a:pt x="663" y="949"/>
                    <a:pt x="663" y="949"/>
                  </a:cubicBezTo>
                  <a:cubicBezTo>
                    <a:pt x="664" y="950"/>
                    <a:pt x="664" y="950"/>
                    <a:pt x="664" y="950"/>
                  </a:cubicBezTo>
                  <a:cubicBezTo>
                    <a:pt x="664" y="950"/>
                    <a:pt x="664" y="950"/>
                    <a:pt x="664" y="950"/>
                  </a:cubicBezTo>
                  <a:cubicBezTo>
                    <a:pt x="664" y="950"/>
                    <a:pt x="664" y="950"/>
                    <a:pt x="664" y="950"/>
                  </a:cubicBezTo>
                  <a:cubicBezTo>
                    <a:pt x="664" y="951"/>
                    <a:pt x="664" y="951"/>
                    <a:pt x="664" y="951"/>
                  </a:cubicBezTo>
                  <a:cubicBezTo>
                    <a:pt x="664" y="950"/>
                    <a:pt x="664" y="950"/>
                    <a:pt x="664" y="950"/>
                  </a:cubicBezTo>
                  <a:cubicBezTo>
                    <a:pt x="662" y="949"/>
                    <a:pt x="662" y="949"/>
                    <a:pt x="662" y="949"/>
                  </a:cubicBezTo>
                  <a:cubicBezTo>
                    <a:pt x="661" y="948"/>
                    <a:pt x="661" y="948"/>
                    <a:pt x="661" y="948"/>
                  </a:cubicBezTo>
                  <a:cubicBezTo>
                    <a:pt x="661" y="948"/>
                    <a:pt x="661" y="948"/>
                    <a:pt x="661" y="948"/>
                  </a:cubicBezTo>
                  <a:cubicBezTo>
                    <a:pt x="660" y="948"/>
                    <a:pt x="660" y="948"/>
                    <a:pt x="660" y="948"/>
                  </a:cubicBezTo>
                  <a:cubicBezTo>
                    <a:pt x="660" y="948"/>
                    <a:pt x="660" y="948"/>
                    <a:pt x="660" y="948"/>
                  </a:cubicBezTo>
                  <a:cubicBezTo>
                    <a:pt x="659" y="947"/>
                    <a:pt x="659" y="947"/>
                    <a:pt x="659" y="947"/>
                  </a:cubicBezTo>
                  <a:cubicBezTo>
                    <a:pt x="659" y="946"/>
                    <a:pt x="659" y="946"/>
                    <a:pt x="659" y="946"/>
                  </a:cubicBezTo>
                  <a:cubicBezTo>
                    <a:pt x="659" y="945"/>
                    <a:pt x="659" y="945"/>
                    <a:pt x="659" y="945"/>
                  </a:cubicBezTo>
                  <a:cubicBezTo>
                    <a:pt x="660" y="944"/>
                    <a:pt x="660" y="944"/>
                    <a:pt x="660" y="944"/>
                  </a:cubicBezTo>
                  <a:lnTo>
                    <a:pt x="659" y="944"/>
                  </a:lnTo>
                  <a:close/>
                  <a:moveTo>
                    <a:pt x="648" y="941"/>
                  </a:moveTo>
                  <a:cubicBezTo>
                    <a:pt x="648" y="941"/>
                    <a:pt x="648" y="941"/>
                    <a:pt x="648" y="941"/>
                  </a:cubicBezTo>
                  <a:cubicBezTo>
                    <a:pt x="649" y="941"/>
                    <a:pt x="649" y="941"/>
                    <a:pt x="649" y="941"/>
                  </a:cubicBezTo>
                  <a:cubicBezTo>
                    <a:pt x="649" y="941"/>
                    <a:pt x="649" y="941"/>
                    <a:pt x="649" y="941"/>
                  </a:cubicBezTo>
                  <a:cubicBezTo>
                    <a:pt x="649" y="942"/>
                    <a:pt x="649" y="942"/>
                    <a:pt x="649" y="942"/>
                  </a:cubicBezTo>
                  <a:cubicBezTo>
                    <a:pt x="650" y="942"/>
                    <a:pt x="650" y="942"/>
                    <a:pt x="650" y="942"/>
                  </a:cubicBezTo>
                  <a:cubicBezTo>
                    <a:pt x="650" y="943"/>
                    <a:pt x="650" y="943"/>
                    <a:pt x="650" y="943"/>
                  </a:cubicBezTo>
                  <a:cubicBezTo>
                    <a:pt x="651" y="943"/>
                    <a:pt x="651" y="943"/>
                    <a:pt x="651" y="943"/>
                  </a:cubicBezTo>
                  <a:cubicBezTo>
                    <a:pt x="651" y="944"/>
                    <a:pt x="651" y="944"/>
                    <a:pt x="651" y="944"/>
                  </a:cubicBezTo>
                  <a:cubicBezTo>
                    <a:pt x="651" y="944"/>
                    <a:pt x="651" y="944"/>
                    <a:pt x="651" y="944"/>
                  </a:cubicBezTo>
                  <a:cubicBezTo>
                    <a:pt x="651" y="944"/>
                    <a:pt x="651" y="944"/>
                    <a:pt x="651" y="944"/>
                  </a:cubicBezTo>
                  <a:cubicBezTo>
                    <a:pt x="650" y="944"/>
                    <a:pt x="650" y="944"/>
                    <a:pt x="650" y="944"/>
                  </a:cubicBezTo>
                  <a:cubicBezTo>
                    <a:pt x="650" y="943"/>
                    <a:pt x="650" y="943"/>
                    <a:pt x="650" y="943"/>
                  </a:cubicBezTo>
                  <a:cubicBezTo>
                    <a:pt x="649" y="943"/>
                    <a:pt x="649" y="943"/>
                    <a:pt x="649" y="943"/>
                  </a:cubicBezTo>
                  <a:cubicBezTo>
                    <a:pt x="649" y="942"/>
                    <a:pt x="649" y="942"/>
                    <a:pt x="649" y="942"/>
                  </a:cubicBezTo>
                  <a:cubicBezTo>
                    <a:pt x="649" y="942"/>
                    <a:pt x="649" y="942"/>
                    <a:pt x="649" y="942"/>
                  </a:cubicBezTo>
                  <a:cubicBezTo>
                    <a:pt x="648" y="941"/>
                    <a:pt x="648" y="941"/>
                    <a:pt x="648" y="941"/>
                  </a:cubicBezTo>
                  <a:cubicBezTo>
                    <a:pt x="648" y="941"/>
                    <a:pt x="648" y="941"/>
                    <a:pt x="648" y="941"/>
                  </a:cubicBezTo>
                  <a:close/>
                  <a:moveTo>
                    <a:pt x="640" y="971"/>
                  </a:moveTo>
                  <a:cubicBezTo>
                    <a:pt x="639" y="970"/>
                    <a:pt x="639" y="970"/>
                    <a:pt x="639" y="970"/>
                  </a:cubicBezTo>
                  <a:cubicBezTo>
                    <a:pt x="640" y="970"/>
                    <a:pt x="640" y="970"/>
                    <a:pt x="640" y="970"/>
                  </a:cubicBezTo>
                  <a:cubicBezTo>
                    <a:pt x="642" y="969"/>
                    <a:pt x="642" y="969"/>
                    <a:pt x="642" y="969"/>
                  </a:cubicBezTo>
                  <a:cubicBezTo>
                    <a:pt x="642" y="968"/>
                    <a:pt x="642" y="968"/>
                    <a:pt x="642" y="968"/>
                  </a:cubicBezTo>
                  <a:cubicBezTo>
                    <a:pt x="642" y="969"/>
                    <a:pt x="642" y="969"/>
                    <a:pt x="642" y="969"/>
                  </a:cubicBezTo>
                  <a:cubicBezTo>
                    <a:pt x="641" y="970"/>
                    <a:pt x="641" y="970"/>
                    <a:pt x="641" y="970"/>
                  </a:cubicBezTo>
                  <a:lnTo>
                    <a:pt x="640" y="971"/>
                  </a:lnTo>
                  <a:close/>
                  <a:moveTo>
                    <a:pt x="642" y="941"/>
                  </a:moveTo>
                  <a:cubicBezTo>
                    <a:pt x="643" y="940"/>
                    <a:pt x="643" y="940"/>
                    <a:pt x="643" y="940"/>
                  </a:cubicBezTo>
                  <a:cubicBezTo>
                    <a:pt x="643" y="940"/>
                    <a:pt x="643" y="940"/>
                    <a:pt x="643" y="940"/>
                  </a:cubicBezTo>
                  <a:cubicBezTo>
                    <a:pt x="643" y="940"/>
                    <a:pt x="643" y="940"/>
                    <a:pt x="643" y="940"/>
                  </a:cubicBezTo>
                  <a:cubicBezTo>
                    <a:pt x="643" y="939"/>
                    <a:pt x="643" y="939"/>
                    <a:pt x="643" y="939"/>
                  </a:cubicBezTo>
                  <a:cubicBezTo>
                    <a:pt x="643" y="939"/>
                    <a:pt x="643" y="939"/>
                    <a:pt x="643" y="939"/>
                  </a:cubicBezTo>
                  <a:cubicBezTo>
                    <a:pt x="643" y="939"/>
                    <a:pt x="643" y="939"/>
                    <a:pt x="643" y="939"/>
                  </a:cubicBezTo>
                  <a:cubicBezTo>
                    <a:pt x="643" y="939"/>
                    <a:pt x="643" y="939"/>
                    <a:pt x="643" y="939"/>
                  </a:cubicBezTo>
                  <a:cubicBezTo>
                    <a:pt x="644" y="939"/>
                    <a:pt x="644" y="939"/>
                    <a:pt x="644" y="939"/>
                  </a:cubicBezTo>
                  <a:cubicBezTo>
                    <a:pt x="643" y="939"/>
                    <a:pt x="643" y="939"/>
                    <a:pt x="643" y="939"/>
                  </a:cubicBezTo>
                  <a:cubicBezTo>
                    <a:pt x="643" y="940"/>
                    <a:pt x="643" y="940"/>
                    <a:pt x="643" y="940"/>
                  </a:cubicBezTo>
                  <a:cubicBezTo>
                    <a:pt x="643" y="940"/>
                    <a:pt x="643" y="940"/>
                    <a:pt x="643" y="940"/>
                  </a:cubicBezTo>
                  <a:cubicBezTo>
                    <a:pt x="643" y="940"/>
                    <a:pt x="643" y="940"/>
                    <a:pt x="643" y="940"/>
                  </a:cubicBezTo>
                  <a:cubicBezTo>
                    <a:pt x="643" y="941"/>
                    <a:pt x="643" y="941"/>
                    <a:pt x="643" y="941"/>
                  </a:cubicBezTo>
                  <a:cubicBezTo>
                    <a:pt x="643" y="941"/>
                    <a:pt x="643" y="941"/>
                    <a:pt x="643" y="941"/>
                  </a:cubicBezTo>
                  <a:cubicBezTo>
                    <a:pt x="643" y="941"/>
                    <a:pt x="643" y="941"/>
                    <a:pt x="643" y="941"/>
                  </a:cubicBezTo>
                  <a:cubicBezTo>
                    <a:pt x="643" y="941"/>
                    <a:pt x="643" y="941"/>
                    <a:pt x="643" y="941"/>
                  </a:cubicBezTo>
                  <a:cubicBezTo>
                    <a:pt x="643" y="941"/>
                    <a:pt x="643" y="941"/>
                    <a:pt x="643" y="941"/>
                  </a:cubicBezTo>
                  <a:cubicBezTo>
                    <a:pt x="643" y="941"/>
                    <a:pt x="643" y="941"/>
                    <a:pt x="643" y="941"/>
                  </a:cubicBezTo>
                  <a:lnTo>
                    <a:pt x="642" y="941"/>
                  </a:lnTo>
                  <a:close/>
                  <a:moveTo>
                    <a:pt x="644" y="941"/>
                  </a:moveTo>
                  <a:cubicBezTo>
                    <a:pt x="644" y="941"/>
                    <a:pt x="644" y="941"/>
                    <a:pt x="644" y="941"/>
                  </a:cubicBezTo>
                  <a:cubicBezTo>
                    <a:pt x="645" y="941"/>
                    <a:pt x="645" y="941"/>
                    <a:pt x="645" y="941"/>
                  </a:cubicBezTo>
                  <a:cubicBezTo>
                    <a:pt x="647" y="941"/>
                    <a:pt x="647" y="941"/>
                    <a:pt x="647" y="941"/>
                  </a:cubicBezTo>
                  <a:cubicBezTo>
                    <a:pt x="647" y="941"/>
                    <a:pt x="647" y="941"/>
                    <a:pt x="647" y="941"/>
                  </a:cubicBezTo>
                  <a:cubicBezTo>
                    <a:pt x="647" y="941"/>
                    <a:pt x="647" y="941"/>
                    <a:pt x="647" y="941"/>
                  </a:cubicBezTo>
                  <a:cubicBezTo>
                    <a:pt x="646" y="941"/>
                    <a:pt x="646" y="941"/>
                    <a:pt x="646" y="941"/>
                  </a:cubicBezTo>
                  <a:cubicBezTo>
                    <a:pt x="644" y="941"/>
                    <a:pt x="644" y="941"/>
                    <a:pt x="644" y="941"/>
                  </a:cubicBezTo>
                  <a:close/>
                  <a:moveTo>
                    <a:pt x="662" y="867"/>
                  </a:moveTo>
                  <a:cubicBezTo>
                    <a:pt x="663" y="867"/>
                    <a:pt x="663" y="867"/>
                    <a:pt x="663" y="867"/>
                  </a:cubicBezTo>
                  <a:cubicBezTo>
                    <a:pt x="664" y="867"/>
                    <a:pt x="664" y="867"/>
                    <a:pt x="664" y="867"/>
                  </a:cubicBezTo>
                  <a:cubicBezTo>
                    <a:pt x="664" y="867"/>
                    <a:pt x="664" y="867"/>
                    <a:pt x="664" y="867"/>
                  </a:cubicBezTo>
                  <a:cubicBezTo>
                    <a:pt x="663" y="867"/>
                    <a:pt x="663" y="867"/>
                    <a:pt x="663" y="867"/>
                  </a:cubicBezTo>
                  <a:cubicBezTo>
                    <a:pt x="662" y="867"/>
                    <a:pt x="662" y="867"/>
                    <a:pt x="662" y="867"/>
                  </a:cubicBezTo>
                  <a:cubicBezTo>
                    <a:pt x="663" y="868"/>
                    <a:pt x="663" y="868"/>
                    <a:pt x="663" y="868"/>
                  </a:cubicBezTo>
                  <a:cubicBezTo>
                    <a:pt x="662" y="868"/>
                    <a:pt x="662" y="868"/>
                    <a:pt x="662" y="868"/>
                  </a:cubicBezTo>
                  <a:cubicBezTo>
                    <a:pt x="660" y="867"/>
                    <a:pt x="660" y="867"/>
                    <a:pt x="660" y="867"/>
                  </a:cubicBezTo>
                  <a:cubicBezTo>
                    <a:pt x="660" y="867"/>
                    <a:pt x="660" y="867"/>
                    <a:pt x="660" y="867"/>
                  </a:cubicBezTo>
                  <a:cubicBezTo>
                    <a:pt x="659" y="867"/>
                    <a:pt x="659" y="867"/>
                    <a:pt x="659" y="867"/>
                  </a:cubicBezTo>
                  <a:cubicBezTo>
                    <a:pt x="659" y="867"/>
                    <a:pt x="659" y="867"/>
                    <a:pt x="659" y="867"/>
                  </a:cubicBezTo>
                  <a:cubicBezTo>
                    <a:pt x="660" y="867"/>
                    <a:pt x="660" y="867"/>
                    <a:pt x="660" y="867"/>
                  </a:cubicBezTo>
                  <a:cubicBezTo>
                    <a:pt x="660" y="867"/>
                    <a:pt x="660" y="867"/>
                    <a:pt x="660" y="867"/>
                  </a:cubicBezTo>
                  <a:cubicBezTo>
                    <a:pt x="662" y="868"/>
                    <a:pt x="662" y="868"/>
                    <a:pt x="662" y="868"/>
                  </a:cubicBezTo>
                  <a:cubicBezTo>
                    <a:pt x="663" y="868"/>
                    <a:pt x="663" y="868"/>
                    <a:pt x="663" y="868"/>
                  </a:cubicBezTo>
                  <a:lnTo>
                    <a:pt x="662" y="867"/>
                  </a:lnTo>
                  <a:close/>
                  <a:moveTo>
                    <a:pt x="681" y="884"/>
                  </a:moveTo>
                  <a:cubicBezTo>
                    <a:pt x="681" y="884"/>
                    <a:pt x="681" y="884"/>
                    <a:pt x="681" y="884"/>
                  </a:cubicBezTo>
                  <a:cubicBezTo>
                    <a:pt x="681" y="884"/>
                    <a:pt x="681" y="884"/>
                    <a:pt x="681" y="884"/>
                  </a:cubicBezTo>
                  <a:cubicBezTo>
                    <a:pt x="681" y="885"/>
                    <a:pt x="681" y="885"/>
                    <a:pt x="681" y="885"/>
                  </a:cubicBezTo>
                  <a:cubicBezTo>
                    <a:pt x="681" y="885"/>
                    <a:pt x="681" y="885"/>
                    <a:pt x="681" y="885"/>
                  </a:cubicBezTo>
                  <a:cubicBezTo>
                    <a:pt x="681" y="885"/>
                    <a:pt x="681" y="885"/>
                    <a:pt x="681" y="885"/>
                  </a:cubicBezTo>
                  <a:lnTo>
                    <a:pt x="681" y="884"/>
                  </a:lnTo>
                  <a:close/>
                  <a:moveTo>
                    <a:pt x="666" y="940"/>
                  </a:moveTo>
                  <a:cubicBezTo>
                    <a:pt x="666" y="940"/>
                    <a:pt x="666" y="940"/>
                    <a:pt x="666" y="940"/>
                  </a:cubicBezTo>
                  <a:cubicBezTo>
                    <a:pt x="666" y="940"/>
                    <a:pt x="666" y="940"/>
                    <a:pt x="666" y="940"/>
                  </a:cubicBezTo>
                  <a:cubicBezTo>
                    <a:pt x="666" y="940"/>
                    <a:pt x="666" y="940"/>
                    <a:pt x="666" y="940"/>
                  </a:cubicBezTo>
                  <a:cubicBezTo>
                    <a:pt x="665" y="940"/>
                    <a:pt x="665" y="940"/>
                    <a:pt x="665" y="940"/>
                  </a:cubicBezTo>
                  <a:cubicBezTo>
                    <a:pt x="665" y="940"/>
                    <a:pt x="665" y="940"/>
                    <a:pt x="665" y="940"/>
                  </a:cubicBezTo>
                  <a:lnTo>
                    <a:pt x="666" y="940"/>
                  </a:lnTo>
                  <a:close/>
                  <a:moveTo>
                    <a:pt x="664" y="868"/>
                  </a:moveTo>
                  <a:cubicBezTo>
                    <a:pt x="664" y="868"/>
                    <a:pt x="664" y="868"/>
                    <a:pt x="664" y="868"/>
                  </a:cubicBezTo>
                  <a:cubicBezTo>
                    <a:pt x="665" y="868"/>
                    <a:pt x="665" y="868"/>
                    <a:pt x="665" y="868"/>
                  </a:cubicBezTo>
                  <a:cubicBezTo>
                    <a:pt x="665" y="868"/>
                    <a:pt x="665" y="868"/>
                    <a:pt x="665" y="868"/>
                  </a:cubicBezTo>
                  <a:lnTo>
                    <a:pt x="664" y="868"/>
                  </a:lnTo>
                  <a:close/>
                  <a:moveTo>
                    <a:pt x="658" y="864"/>
                  </a:moveTo>
                  <a:cubicBezTo>
                    <a:pt x="656" y="863"/>
                    <a:pt x="656" y="863"/>
                    <a:pt x="656" y="863"/>
                  </a:cubicBezTo>
                  <a:cubicBezTo>
                    <a:pt x="656" y="863"/>
                    <a:pt x="656" y="863"/>
                    <a:pt x="656" y="863"/>
                  </a:cubicBezTo>
                  <a:cubicBezTo>
                    <a:pt x="655" y="862"/>
                    <a:pt x="655" y="862"/>
                    <a:pt x="655" y="862"/>
                  </a:cubicBezTo>
                  <a:cubicBezTo>
                    <a:pt x="655" y="861"/>
                    <a:pt x="655" y="861"/>
                    <a:pt x="655" y="861"/>
                  </a:cubicBezTo>
                  <a:cubicBezTo>
                    <a:pt x="655" y="861"/>
                    <a:pt x="655" y="861"/>
                    <a:pt x="655" y="861"/>
                  </a:cubicBezTo>
                  <a:cubicBezTo>
                    <a:pt x="655" y="862"/>
                    <a:pt x="655" y="862"/>
                    <a:pt x="655" y="862"/>
                  </a:cubicBezTo>
                  <a:cubicBezTo>
                    <a:pt x="656" y="863"/>
                    <a:pt x="656" y="863"/>
                    <a:pt x="656" y="863"/>
                  </a:cubicBezTo>
                  <a:cubicBezTo>
                    <a:pt x="656" y="863"/>
                    <a:pt x="656" y="863"/>
                    <a:pt x="656" y="863"/>
                  </a:cubicBezTo>
                  <a:cubicBezTo>
                    <a:pt x="657" y="864"/>
                    <a:pt x="657" y="864"/>
                    <a:pt x="657" y="864"/>
                  </a:cubicBezTo>
                  <a:cubicBezTo>
                    <a:pt x="658" y="864"/>
                    <a:pt x="658" y="864"/>
                    <a:pt x="658" y="864"/>
                  </a:cubicBezTo>
                  <a:cubicBezTo>
                    <a:pt x="658" y="865"/>
                    <a:pt x="658" y="865"/>
                    <a:pt x="658" y="865"/>
                  </a:cubicBezTo>
                  <a:lnTo>
                    <a:pt x="658" y="864"/>
                  </a:lnTo>
                  <a:close/>
                  <a:moveTo>
                    <a:pt x="655" y="860"/>
                  </a:moveTo>
                  <a:cubicBezTo>
                    <a:pt x="655" y="859"/>
                    <a:pt x="655" y="859"/>
                    <a:pt x="655" y="859"/>
                  </a:cubicBezTo>
                  <a:cubicBezTo>
                    <a:pt x="655" y="859"/>
                    <a:pt x="655" y="859"/>
                    <a:pt x="655" y="859"/>
                  </a:cubicBezTo>
                  <a:cubicBezTo>
                    <a:pt x="654" y="859"/>
                    <a:pt x="654" y="859"/>
                    <a:pt x="654" y="859"/>
                  </a:cubicBezTo>
                  <a:cubicBezTo>
                    <a:pt x="654" y="859"/>
                    <a:pt x="654" y="859"/>
                    <a:pt x="654" y="859"/>
                  </a:cubicBezTo>
                  <a:cubicBezTo>
                    <a:pt x="654" y="859"/>
                    <a:pt x="654" y="859"/>
                    <a:pt x="654" y="859"/>
                  </a:cubicBezTo>
                  <a:cubicBezTo>
                    <a:pt x="654" y="858"/>
                    <a:pt x="654" y="858"/>
                    <a:pt x="654" y="858"/>
                  </a:cubicBezTo>
                  <a:cubicBezTo>
                    <a:pt x="653" y="858"/>
                    <a:pt x="653" y="858"/>
                    <a:pt x="653" y="858"/>
                  </a:cubicBezTo>
                  <a:cubicBezTo>
                    <a:pt x="653" y="857"/>
                    <a:pt x="653" y="857"/>
                    <a:pt x="653" y="857"/>
                  </a:cubicBezTo>
                  <a:cubicBezTo>
                    <a:pt x="653" y="857"/>
                    <a:pt x="653" y="857"/>
                    <a:pt x="653" y="857"/>
                  </a:cubicBezTo>
                  <a:cubicBezTo>
                    <a:pt x="653" y="856"/>
                    <a:pt x="653" y="856"/>
                    <a:pt x="653" y="856"/>
                  </a:cubicBezTo>
                  <a:cubicBezTo>
                    <a:pt x="653" y="855"/>
                    <a:pt x="653" y="855"/>
                    <a:pt x="653" y="855"/>
                  </a:cubicBezTo>
                  <a:cubicBezTo>
                    <a:pt x="652" y="855"/>
                    <a:pt x="652" y="855"/>
                    <a:pt x="652" y="855"/>
                  </a:cubicBezTo>
                  <a:cubicBezTo>
                    <a:pt x="652" y="854"/>
                    <a:pt x="652" y="854"/>
                    <a:pt x="652" y="854"/>
                  </a:cubicBezTo>
                  <a:cubicBezTo>
                    <a:pt x="651" y="854"/>
                    <a:pt x="651" y="854"/>
                    <a:pt x="651" y="854"/>
                  </a:cubicBezTo>
                  <a:cubicBezTo>
                    <a:pt x="651" y="854"/>
                    <a:pt x="651" y="854"/>
                    <a:pt x="651" y="854"/>
                  </a:cubicBezTo>
                  <a:cubicBezTo>
                    <a:pt x="651" y="854"/>
                    <a:pt x="651" y="854"/>
                    <a:pt x="651" y="854"/>
                  </a:cubicBezTo>
                  <a:cubicBezTo>
                    <a:pt x="652" y="854"/>
                    <a:pt x="652" y="854"/>
                    <a:pt x="652" y="854"/>
                  </a:cubicBezTo>
                  <a:cubicBezTo>
                    <a:pt x="652" y="855"/>
                    <a:pt x="652" y="855"/>
                    <a:pt x="652" y="855"/>
                  </a:cubicBezTo>
                  <a:cubicBezTo>
                    <a:pt x="653" y="855"/>
                    <a:pt x="653" y="855"/>
                    <a:pt x="653" y="855"/>
                  </a:cubicBezTo>
                  <a:cubicBezTo>
                    <a:pt x="653" y="856"/>
                    <a:pt x="653" y="856"/>
                    <a:pt x="653" y="856"/>
                  </a:cubicBezTo>
                  <a:cubicBezTo>
                    <a:pt x="653" y="856"/>
                    <a:pt x="653" y="856"/>
                    <a:pt x="653" y="856"/>
                  </a:cubicBezTo>
                  <a:cubicBezTo>
                    <a:pt x="653" y="857"/>
                    <a:pt x="653" y="857"/>
                    <a:pt x="653" y="857"/>
                  </a:cubicBezTo>
                  <a:cubicBezTo>
                    <a:pt x="653" y="858"/>
                    <a:pt x="653" y="858"/>
                    <a:pt x="653" y="858"/>
                  </a:cubicBezTo>
                  <a:cubicBezTo>
                    <a:pt x="654" y="858"/>
                    <a:pt x="654" y="858"/>
                    <a:pt x="654" y="858"/>
                  </a:cubicBezTo>
                  <a:cubicBezTo>
                    <a:pt x="654" y="858"/>
                    <a:pt x="654" y="858"/>
                    <a:pt x="654" y="858"/>
                  </a:cubicBezTo>
                  <a:cubicBezTo>
                    <a:pt x="654" y="859"/>
                    <a:pt x="654" y="859"/>
                    <a:pt x="654" y="859"/>
                  </a:cubicBezTo>
                  <a:cubicBezTo>
                    <a:pt x="654" y="859"/>
                    <a:pt x="654" y="859"/>
                    <a:pt x="654" y="859"/>
                  </a:cubicBezTo>
                  <a:cubicBezTo>
                    <a:pt x="655" y="859"/>
                    <a:pt x="655" y="859"/>
                    <a:pt x="655" y="859"/>
                  </a:cubicBezTo>
                  <a:cubicBezTo>
                    <a:pt x="655" y="859"/>
                    <a:pt x="655" y="859"/>
                    <a:pt x="655" y="859"/>
                  </a:cubicBezTo>
                  <a:cubicBezTo>
                    <a:pt x="655" y="860"/>
                    <a:pt x="655" y="860"/>
                    <a:pt x="655" y="860"/>
                  </a:cubicBezTo>
                  <a:close/>
                  <a:moveTo>
                    <a:pt x="651" y="853"/>
                  </a:moveTo>
                  <a:cubicBezTo>
                    <a:pt x="651" y="853"/>
                    <a:pt x="651" y="853"/>
                    <a:pt x="651" y="853"/>
                  </a:cubicBezTo>
                  <a:cubicBezTo>
                    <a:pt x="651" y="854"/>
                    <a:pt x="651" y="854"/>
                    <a:pt x="651" y="854"/>
                  </a:cubicBezTo>
                  <a:cubicBezTo>
                    <a:pt x="651" y="854"/>
                    <a:pt x="651" y="854"/>
                    <a:pt x="651" y="854"/>
                  </a:cubicBezTo>
                  <a:cubicBezTo>
                    <a:pt x="651" y="854"/>
                    <a:pt x="651" y="854"/>
                    <a:pt x="651" y="854"/>
                  </a:cubicBezTo>
                  <a:lnTo>
                    <a:pt x="651" y="853"/>
                  </a:lnTo>
                  <a:close/>
                  <a:moveTo>
                    <a:pt x="648" y="848"/>
                  </a:moveTo>
                  <a:cubicBezTo>
                    <a:pt x="648" y="849"/>
                    <a:pt x="648" y="849"/>
                    <a:pt x="648" y="849"/>
                  </a:cubicBezTo>
                  <a:cubicBezTo>
                    <a:pt x="648" y="849"/>
                    <a:pt x="648" y="849"/>
                    <a:pt x="648" y="849"/>
                  </a:cubicBezTo>
                  <a:cubicBezTo>
                    <a:pt x="649" y="850"/>
                    <a:pt x="649" y="850"/>
                    <a:pt x="649" y="850"/>
                  </a:cubicBezTo>
                  <a:cubicBezTo>
                    <a:pt x="649" y="850"/>
                    <a:pt x="649" y="850"/>
                    <a:pt x="649" y="850"/>
                  </a:cubicBezTo>
                  <a:cubicBezTo>
                    <a:pt x="650" y="851"/>
                    <a:pt x="650" y="851"/>
                    <a:pt x="650" y="851"/>
                  </a:cubicBezTo>
                  <a:cubicBezTo>
                    <a:pt x="651" y="851"/>
                    <a:pt x="651" y="851"/>
                    <a:pt x="651" y="851"/>
                  </a:cubicBezTo>
                  <a:cubicBezTo>
                    <a:pt x="651" y="851"/>
                    <a:pt x="651" y="851"/>
                    <a:pt x="651" y="851"/>
                  </a:cubicBezTo>
                  <a:cubicBezTo>
                    <a:pt x="651" y="852"/>
                    <a:pt x="651" y="852"/>
                    <a:pt x="651" y="852"/>
                  </a:cubicBezTo>
                  <a:cubicBezTo>
                    <a:pt x="651" y="853"/>
                    <a:pt x="651" y="853"/>
                    <a:pt x="651" y="853"/>
                  </a:cubicBezTo>
                  <a:cubicBezTo>
                    <a:pt x="651" y="853"/>
                    <a:pt x="651" y="853"/>
                    <a:pt x="651" y="853"/>
                  </a:cubicBezTo>
                  <a:cubicBezTo>
                    <a:pt x="651" y="852"/>
                    <a:pt x="651" y="852"/>
                    <a:pt x="651" y="852"/>
                  </a:cubicBezTo>
                  <a:cubicBezTo>
                    <a:pt x="651" y="852"/>
                    <a:pt x="651" y="852"/>
                    <a:pt x="651" y="852"/>
                  </a:cubicBezTo>
                  <a:cubicBezTo>
                    <a:pt x="651" y="852"/>
                    <a:pt x="651" y="852"/>
                    <a:pt x="651" y="852"/>
                  </a:cubicBezTo>
                  <a:cubicBezTo>
                    <a:pt x="650" y="851"/>
                    <a:pt x="650" y="851"/>
                    <a:pt x="650" y="851"/>
                  </a:cubicBezTo>
                  <a:cubicBezTo>
                    <a:pt x="649" y="851"/>
                    <a:pt x="649" y="851"/>
                    <a:pt x="649" y="851"/>
                  </a:cubicBezTo>
                  <a:cubicBezTo>
                    <a:pt x="649" y="850"/>
                    <a:pt x="649" y="850"/>
                    <a:pt x="649" y="850"/>
                  </a:cubicBezTo>
                  <a:cubicBezTo>
                    <a:pt x="648" y="850"/>
                    <a:pt x="648" y="850"/>
                    <a:pt x="648" y="850"/>
                  </a:cubicBezTo>
                  <a:cubicBezTo>
                    <a:pt x="648" y="849"/>
                    <a:pt x="648" y="849"/>
                    <a:pt x="648" y="849"/>
                  </a:cubicBezTo>
                  <a:cubicBezTo>
                    <a:pt x="648" y="848"/>
                    <a:pt x="648" y="848"/>
                    <a:pt x="648" y="848"/>
                  </a:cubicBezTo>
                  <a:close/>
                  <a:moveTo>
                    <a:pt x="650" y="846"/>
                  </a:moveTo>
                  <a:cubicBezTo>
                    <a:pt x="650" y="845"/>
                    <a:pt x="650" y="845"/>
                    <a:pt x="650" y="845"/>
                  </a:cubicBezTo>
                  <a:cubicBezTo>
                    <a:pt x="650" y="845"/>
                    <a:pt x="650" y="845"/>
                    <a:pt x="650" y="845"/>
                  </a:cubicBezTo>
                  <a:cubicBezTo>
                    <a:pt x="650" y="846"/>
                    <a:pt x="650" y="846"/>
                    <a:pt x="650" y="846"/>
                  </a:cubicBezTo>
                  <a:close/>
                  <a:moveTo>
                    <a:pt x="665" y="950"/>
                  </a:moveTo>
                  <a:cubicBezTo>
                    <a:pt x="665" y="950"/>
                    <a:pt x="665" y="950"/>
                    <a:pt x="665" y="950"/>
                  </a:cubicBezTo>
                  <a:cubicBezTo>
                    <a:pt x="665" y="950"/>
                    <a:pt x="665" y="950"/>
                    <a:pt x="665" y="950"/>
                  </a:cubicBezTo>
                  <a:cubicBezTo>
                    <a:pt x="666" y="950"/>
                    <a:pt x="666" y="950"/>
                    <a:pt x="666" y="950"/>
                  </a:cubicBezTo>
                  <a:cubicBezTo>
                    <a:pt x="666" y="951"/>
                    <a:pt x="666" y="951"/>
                    <a:pt x="666" y="951"/>
                  </a:cubicBezTo>
                  <a:cubicBezTo>
                    <a:pt x="666" y="951"/>
                    <a:pt x="666" y="951"/>
                    <a:pt x="666" y="951"/>
                  </a:cubicBezTo>
                  <a:cubicBezTo>
                    <a:pt x="666" y="951"/>
                    <a:pt x="666" y="951"/>
                    <a:pt x="666" y="951"/>
                  </a:cubicBezTo>
                  <a:cubicBezTo>
                    <a:pt x="666" y="951"/>
                    <a:pt x="666" y="951"/>
                    <a:pt x="666" y="951"/>
                  </a:cubicBezTo>
                  <a:cubicBezTo>
                    <a:pt x="665" y="951"/>
                    <a:pt x="665" y="951"/>
                    <a:pt x="665" y="951"/>
                  </a:cubicBezTo>
                  <a:cubicBezTo>
                    <a:pt x="665" y="951"/>
                    <a:pt x="665" y="951"/>
                    <a:pt x="665" y="951"/>
                  </a:cubicBezTo>
                  <a:cubicBezTo>
                    <a:pt x="665" y="950"/>
                    <a:pt x="665" y="950"/>
                    <a:pt x="665" y="950"/>
                  </a:cubicBezTo>
                  <a:cubicBezTo>
                    <a:pt x="665" y="950"/>
                    <a:pt x="665" y="950"/>
                    <a:pt x="665" y="950"/>
                  </a:cubicBezTo>
                  <a:cubicBezTo>
                    <a:pt x="665" y="950"/>
                    <a:pt x="665" y="950"/>
                    <a:pt x="665" y="950"/>
                  </a:cubicBezTo>
                  <a:close/>
                  <a:moveTo>
                    <a:pt x="651" y="840"/>
                  </a:moveTo>
                  <a:cubicBezTo>
                    <a:pt x="652" y="840"/>
                    <a:pt x="652" y="840"/>
                    <a:pt x="652" y="840"/>
                  </a:cubicBezTo>
                  <a:cubicBezTo>
                    <a:pt x="652" y="840"/>
                    <a:pt x="652" y="840"/>
                    <a:pt x="652" y="840"/>
                  </a:cubicBezTo>
                  <a:cubicBezTo>
                    <a:pt x="652" y="841"/>
                    <a:pt x="652" y="841"/>
                    <a:pt x="652" y="841"/>
                  </a:cubicBezTo>
                  <a:cubicBezTo>
                    <a:pt x="652" y="841"/>
                    <a:pt x="652" y="841"/>
                    <a:pt x="652" y="841"/>
                  </a:cubicBezTo>
                  <a:cubicBezTo>
                    <a:pt x="651" y="840"/>
                    <a:pt x="651" y="840"/>
                    <a:pt x="651" y="840"/>
                  </a:cubicBezTo>
                  <a:cubicBezTo>
                    <a:pt x="650" y="840"/>
                    <a:pt x="650" y="840"/>
                    <a:pt x="650" y="840"/>
                  </a:cubicBezTo>
                  <a:cubicBezTo>
                    <a:pt x="650" y="839"/>
                    <a:pt x="650" y="839"/>
                    <a:pt x="650" y="839"/>
                  </a:cubicBezTo>
                  <a:cubicBezTo>
                    <a:pt x="650" y="839"/>
                    <a:pt x="650" y="839"/>
                    <a:pt x="650" y="839"/>
                  </a:cubicBezTo>
                  <a:cubicBezTo>
                    <a:pt x="650" y="839"/>
                    <a:pt x="650" y="839"/>
                    <a:pt x="650" y="839"/>
                  </a:cubicBezTo>
                  <a:lnTo>
                    <a:pt x="651" y="840"/>
                  </a:lnTo>
                  <a:close/>
                  <a:moveTo>
                    <a:pt x="686" y="903"/>
                  </a:moveTo>
                  <a:cubicBezTo>
                    <a:pt x="686" y="902"/>
                    <a:pt x="686" y="902"/>
                    <a:pt x="686" y="902"/>
                  </a:cubicBezTo>
                  <a:cubicBezTo>
                    <a:pt x="685" y="902"/>
                    <a:pt x="685" y="902"/>
                    <a:pt x="685" y="902"/>
                  </a:cubicBezTo>
                  <a:cubicBezTo>
                    <a:pt x="684" y="902"/>
                    <a:pt x="684" y="902"/>
                    <a:pt x="684" y="902"/>
                  </a:cubicBezTo>
                  <a:cubicBezTo>
                    <a:pt x="682" y="901"/>
                    <a:pt x="682" y="901"/>
                    <a:pt x="682" y="901"/>
                  </a:cubicBezTo>
                  <a:cubicBezTo>
                    <a:pt x="682" y="901"/>
                    <a:pt x="682" y="901"/>
                    <a:pt x="682" y="901"/>
                  </a:cubicBezTo>
                  <a:cubicBezTo>
                    <a:pt x="685" y="902"/>
                    <a:pt x="685" y="902"/>
                    <a:pt x="685" y="902"/>
                  </a:cubicBezTo>
                  <a:cubicBezTo>
                    <a:pt x="686" y="902"/>
                    <a:pt x="686" y="902"/>
                    <a:pt x="686" y="902"/>
                  </a:cubicBezTo>
                  <a:cubicBezTo>
                    <a:pt x="686" y="903"/>
                    <a:pt x="686" y="903"/>
                    <a:pt x="686" y="903"/>
                  </a:cubicBezTo>
                  <a:cubicBezTo>
                    <a:pt x="686" y="903"/>
                    <a:pt x="686" y="903"/>
                    <a:pt x="686" y="903"/>
                  </a:cubicBezTo>
                  <a:cubicBezTo>
                    <a:pt x="687" y="904"/>
                    <a:pt x="687" y="904"/>
                    <a:pt x="687" y="904"/>
                  </a:cubicBezTo>
                  <a:cubicBezTo>
                    <a:pt x="687" y="904"/>
                    <a:pt x="687" y="904"/>
                    <a:pt x="687" y="904"/>
                  </a:cubicBezTo>
                  <a:cubicBezTo>
                    <a:pt x="687" y="904"/>
                    <a:pt x="687" y="904"/>
                    <a:pt x="687" y="904"/>
                  </a:cubicBezTo>
                  <a:lnTo>
                    <a:pt x="686" y="903"/>
                  </a:lnTo>
                  <a:close/>
                  <a:moveTo>
                    <a:pt x="696" y="898"/>
                  </a:moveTo>
                  <a:cubicBezTo>
                    <a:pt x="696" y="898"/>
                    <a:pt x="696" y="898"/>
                    <a:pt x="696" y="898"/>
                  </a:cubicBezTo>
                  <a:cubicBezTo>
                    <a:pt x="696" y="898"/>
                    <a:pt x="696" y="898"/>
                    <a:pt x="696" y="898"/>
                  </a:cubicBezTo>
                  <a:cubicBezTo>
                    <a:pt x="697" y="898"/>
                    <a:pt x="697" y="898"/>
                    <a:pt x="697" y="898"/>
                  </a:cubicBezTo>
                  <a:cubicBezTo>
                    <a:pt x="697" y="898"/>
                    <a:pt x="697" y="898"/>
                    <a:pt x="697" y="898"/>
                  </a:cubicBezTo>
                  <a:cubicBezTo>
                    <a:pt x="697" y="898"/>
                    <a:pt x="697" y="898"/>
                    <a:pt x="697" y="898"/>
                  </a:cubicBezTo>
                  <a:cubicBezTo>
                    <a:pt x="697" y="898"/>
                    <a:pt x="697" y="898"/>
                    <a:pt x="697" y="898"/>
                  </a:cubicBezTo>
                  <a:cubicBezTo>
                    <a:pt x="697" y="898"/>
                    <a:pt x="697" y="898"/>
                    <a:pt x="697" y="898"/>
                  </a:cubicBezTo>
                  <a:cubicBezTo>
                    <a:pt x="697" y="899"/>
                    <a:pt x="697" y="899"/>
                    <a:pt x="697" y="899"/>
                  </a:cubicBezTo>
                  <a:cubicBezTo>
                    <a:pt x="697" y="899"/>
                    <a:pt x="697" y="899"/>
                    <a:pt x="697" y="899"/>
                  </a:cubicBezTo>
                  <a:cubicBezTo>
                    <a:pt x="696" y="899"/>
                    <a:pt x="696" y="899"/>
                    <a:pt x="696" y="899"/>
                  </a:cubicBezTo>
                  <a:cubicBezTo>
                    <a:pt x="696" y="899"/>
                    <a:pt x="696" y="899"/>
                    <a:pt x="696" y="899"/>
                  </a:cubicBezTo>
                  <a:cubicBezTo>
                    <a:pt x="696" y="899"/>
                    <a:pt x="696" y="899"/>
                    <a:pt x="696" y="899"/>
                  </a:cubicBezTo>
                  <a:cubicBezTo>
                    <a:pt x="696" y="898"/>
                    <a:pt x="696" y="898"/>
                    <a:pt x="696" y="898"/>
                  </a:cubicBezTo>
                  <a:close/>
                  <a:moveTo>
                    <a:pt x="696" y="899"/>
                  </a:moveTo>
                  <a:cubicBezTo>
                    <a:pt x="696" y="900"/>
                    <a:pt x="696" y="900"/>
                    <a:pt x="696" y="900"/>
                  </a:cubicBezTo>
                  <a:cubicBezTo>
                    <a:pt x="696" y="899"/>
                    <a:pt x="696" y="899"/>
                    <a:pt x="696" y="899"/>
                  </a:cubicBezTo>
                  <a:close/>
                  <a:moveTo>
                    <a:pt x="722" y="989"/>
                  </a:moveTo>
                  <a:cubicBezTo>
                    <a:pt x="721" y="989"/>
                    <a:pt x="721" y="989"/>
                    <a:pt x="721" y="989"/>
                  </a:cubicBezTo>
                  <a:cubicBezTo>
                    <a:pt x="721" y="989"/>
                    <a:pt x="721" y="989"/>
                    <a:pt x="721" y="989"/>
                  </a:cubicBezTo>
                  <a:cubicBezTo>
                    <a:pt x="722" y="988"/>
                    <a:pt x="722" y="988"/>
                    <a:pt x="722" y="988"/>
                  </a:cubicBezTo>
                  <a:cubicBezTo>
                    <a:pt x="722" y="988"/>
                    <a:pt x="722" y="988"/>
                    <a:pt x="722" y="988"/>
                  </a:cubicBezTo>
                  <a:cubicBezTo>
                    <a:pt x="723" y="988"/>
                    <a:pt x="723" y="988"/>
                    <a:pt x="723" y="988"/>
                  </a:cubicBezTo>
                  <a:cubicBezTo>
                    <a:pt x="722" y="989"/>
                    <a:pt x="722" y="989"/>
                    <a:pt x="722" y="989"/>
                  </a:cubicBezTo>
                  <a:close/>
                  <a:moveTo>
                    <a:pt x="743" y="985"/>
                  </a:moveTo>
                  <a:cubicBezTo>
                    <a:pt x="744" y="985"/>
                    <a:pt x="744" y="985"/>
                    <a:pt x="744" y="985"/>
                  </a:cubicBezTo>
                  <a:cubicBezTo>
                    <a:pt x="743" y="985"/>
                    <a:pt x="743" y="985"/>
                    <a:pt x="743" y="985"/>
                  </a:cubicBezTo>
                  <a:cubicBezTo>
                    <a:pt x="743" y="985"/>
                    <a:pt x="743" y="985"/>
                    <a:pt x="743" y="985"/>
                  </a:cubicBezTo>
                  <a:cubicBezTo>
                    <a:pt x="743" y="985"/>
                    <a:pt x="743" y="985"/>
                    <a:pt x="743" y="985"/>
                  </a:cubicBezTo>
                  <a:cubicBezTo>
                    <a:pt x="743" y="985"/>
                    <a:pt x="743" y="985"/>
                    <a:pt x="743" y="985"/>
                  </a:cubicBezTo>
                  <a:cubicBezTo>
                    <a:pt x="742" y="985"/>
                    <a:pt x="742" y="985"/>
                    <a:pt x="742" y="985"/>
                  </a:cubicBezTo>
                  <a:lnTo>
                    <a:pt x="743" y="985"/>
                  </a:lnTo>
                  <a:close/>
                  <a:moveTo>
                    <a:pt x="745" y="983"/>
                  </a:moveTo>
                  <a:cubicBezTo>
                    <a:pt x="745" y="984"/>
                    <a:pt x="745" y="984"/>
                    <a:pt x="745" y="984"/>
                  </a:cubicBezTo>
                  <a:cubicBezTo>
                    <a:pt x="747" y="984"/>
                    <a:pt x="747" y="984"/>
                    <a:pt x="747" y="984"/>
                  </a:cubicBezTo>
                  <a:cubicBezTo>
                    <a:pt x="747" y="984"/>
                    <a:pt x="747" y="984"/>
                    <a:pt x="747" y="984"/>
                  </a:cubicBezTo>
                  <a:cubicBezTo>
                    <a:pt x="746" y="984"/>
                    <a:pt x="746" y="984"/>
                    <a:pt x="746" y="984"/>
                  </a:cubicBezTo>
                  <a:cubicBezTo>
                    <a:pt x="745" y="984"/>
                    <a:pt x="745" y="984"/>
                    <a:pt x="745" y="984"/>
                  </a:cubicBezTo>
                  <a:lnTo>
                    <a:pt x="745" y="983"/>
                  </a:lnTo>
                  <a:close/>
                  <a:moveTo>
                    <a:pt x="748" y="1006"/>
                  </a:moveTo>
                  <a:cubicBezTo>
                    <a:pt x="748" y="1005"/>
                    <a:pt x="748" y="1005"/>
                    <a:pt x="748" y="1005"/>
                  </a:cubicBezTo>
                  <a:cubicBezTo>
                    <a:pt x="749" y="1004"/>
                    <a:pt x="749" y="1004"/>
                    <a:pt x="749" y="1004"/>
                  </a:cubicBezTo>
                  <a:cubicBezTo>
                    <a:pt x="749" y="1004"/>
                    <a:pt x="749" y="1004"/>
                    <a:pt x="749" y="1004"/>
                  </a:cubicBezTo>
                  <a:cubicBezTo>
                    <a:pt x="749" y="1004"/>
                    <a:pt x="749" y="1004"/>
                    <a:pt x="749" y="1004"/>
                  </a:cubicBezTo>
                  <a:cubicBezTo>
                    <a:pt x="750" y="1004"/>
                    <a:pt x="750" y="1004"/>
                    <a:pt x="750" y="1004"/>
                  </a:cubicBezTo>
                  <a:cubicBezTo>
                    <a:pt x="750" y="1004"/>
                    <a:pt x="750" y="1004"/>
                    <a:pt x="750" y="1004"/>
                  </a:cubicBezTo>
                  <a:cubicBezTo>
                    <a:pt x="750" y="1004"/>
                    <a:pt x="750" y="1004"/>
                    <a:pt x="750" y="1004"/>
                  </a:cubicBezTo>
                  <a:cubicBezTo>
                    <a:pt x="749" y="1004"/>
                    <a:pt x="749" y="1004"/>
                    <a:pt x="749" y="1004"/>
                  </a:cubicBezTo>
                  <a:cubicBezTo>
                    <a:pt x="749" y="1005"/>
                    <a:pt x="749" y="1005"/>
                    <a:pt x="749" y="1005"/>
                  </a:cubicBezTo>
                  <a:cubicBezTo>
                    <a:pt x="748" y="1006"/>
                    <a:pt x="748" y="1006"/>
                    <a:pt x="748" y="1006"/>
                  </a:cubicBezTo>
                  <a:cubicBezTo>
                    <a:pt x="748" y="1006"/>
                    <a:pt x="748" y="1006"/>
                    <a:pt x="748" y="1006"/>
                  </a:cubicBezTo>
                  <a:close/>
                  <a:moveTo>
                    <a:pt x="767" y="1053"/>
                  </a:moveTo>
                  <a:cubicBezTo>
                    <a:pt x="767" y="1053"/>
                    <a:pt x="767" y="1053"/>
                    <a:pt x="767" y="1053"/>
                  </a:cubicBezTo>
                  <a:cubicBezTo>
                    <a:pt x="767" y="1052"/>
                    <a:pt x="767" y="1052"/>
                    <a:pt x="767" y="1052"/>
                  </a:cubicBezTo>
                  <a:cubicBezTo>
                    <a:pt x="768" y="1052"/>
                    <a:pt x="768" y="1052"/>
                    <a:pt x="768" y="1052"/>
                  </a:cubicBezTo>
                  <a:cubicBezTo>
                    <a:pt x="768" y="1052"/>
                    <a:pt x="768" y="1052"/>
                    <a:pt x="768" y="1052"/>
                  </a:cubicBezTo>
                  <a:cubicBezTo>
                    <a:pt x="767" y="1053"/>
                    <a:pt x="767" y="1053"/>
                    <a:pt x="767" y="1053"/>
                  </a:cubicBezTo>
                  <a:cubicBezTo>
                    <a:pt x="767" y="1053"/>
                    <a:pt x="767" y="1053"/>
                    <a:pt x="767" y="1053"/>
                  </a:cubicBezTo>
                  <a:close/>
                  <a:moveTo>
                    <a:pt x="826" y="1157"/>
                  </a:moveTo>
                  <a:cubicBezTo>
                    <a:pt x="827" y="1157"/>
                    <a:pt x="827" y="1157"/>
                    <a:pt x="827" y="1157"/>
                  </a:cubicBezTo>
                  <a:cubicBezTo>
                    <a:pt x="827" y="1157"/>
                    <a:pt x="827" y="1157"/>
                    <a:pt x="827" y="1157"/>
                  </a:cubicBezTo>
                  <a:cubicBezTo>
                    <a:pt x="827" y="1157"/>
                    <a:pt x="827" y="1157"/>
                    <a:pt x="827" y="1157"/>
                  </a:cubicBezTo>
                  <a:cubicBezTo>
                    <a:pt x="828" y="1157"/>
                    <a:pt x="828" y="1157"/>
                    <a:pt x="828" y="1157"/>
                  </a:cubicBezTo>
                  <a:cubicBezTo>
                    <a:pt x="828" y="1157"/>
                    <a:pt x="828" y="1157"/>
                    <a:pt x="828" y="1157"/>
                  </a:cubicBezTo>
                  <a:cubicBezTo>
                    <a:pt x="828" y="1157"/>
                    <a:pt x="828" y="1157"/>
                    <a:pt x="828" y="1157"/>
                  </a:cubicBezTo>
                  <a:cubicBezTo>
                    <a:pt x="828" y="1157"/>
                    <a:pt x="828" y="1157"/>
                    <a:pt x="828" y="1157"/>
                  </a:cubicBezTo>
                  <a:cubicBezTo>
                    <a:pt x="827" y="1157"/>
                    <a:pt x="827" y="1157"/>
                    <a:pt x="827" y="1157"/>
                  </a:cubicBezTo>
                  <a:cubicBezTo>
                    <a:pt x="827" y="1157"/>
                    <a:pt x="827" y="1157"/>
                    <a:pt x="827" y="1157"/>
                  </a:cubicBezTo>
                  <a:cubicBezTo>
                    <a:pt x="827" y="1157"/>
                    <a:pt x="827" y="1157"/>
                    <a:pt x="827" y="1157"/>
                  </a:cubicBezTo>
                  <a:cubicBezTo>
                    <a:pt x="826" y="1157"/>
                    <a:pt x="826" y="1157"/>
                    <a:pt x="826" y="1157"/>
                  </a:cubicBezTo>
                  <a:close/>
                  <a:moveTo>
                    <a:pt x="828" y="1156"/>
                  </a:moveTo>
                  <a:cubicBezTo>
                    <a:pt x="828" y="1156"/>
                    <a:pt x="828" y="1156"/>
                    <a:pt x="828" y="1156"/>
                  </a:cubicBezTo>
                  <a:cubicBezTo>
                    <a:pt x="828" y="1156"/>
                    <a:pt x="828" y="1156"/>
                    <a:pt x="828" y="1156"/>
                  </a:cubicBezTo>
                  <a:close/>
                  <a:moveTo>
                    <a:pt x="833" y="1053"/>
                  </a:moveTo>
                  <a:cubicBezTo>
                    <a:pt x="833" y="1053"/>
                    <a:pt x="833" y="1053"/>
                    <a:pt x="833" y="1053"/>
                  </a:cubicBezTo>
                  <a:cubicBezTo>
                    <a:pt x="833" y="1053"/>
                    <a:pt x="833" y="1053"/>
                    <a:pt x="833" y="1053"/>
                  </a:cubicBezTo>
                  <a:close/>
                  <a:moveTo>
                    <a:pt x="835" y="1054"/>
                  </a:moveTo>
                  <a:cubicBezTo>
                    <a:pt x="835" y="1054"/>
                    <a:pt x="835" y="1054"/>
                    <a:pt x="835" y="1054"/>
                  </a:cubicBezTo>
                  <a:cubicBezTo>
                    <a:pt x="835" y="1054"/>
                    <a:pt x="835" y="1054"/>
                    <a:pt x="835" y="1054"/>
                  </a:cubicBezTo>
                  <a:cubicBezTo>
                    <a:pt x="836" y="1054"/>
                    <a:pt x="836" y="1054"/>
                    <a:pt x="836" y="1054"/>
                  </a:cubicBezTo>
                  <a:cubicBezTo>
                    <a:pt x="836" y="1054"/>
                    <a:pt x="836" y="1054"/>
                    <a:pt x="836" y="1054"/>
                  </a:cubicBezTo>
                  <a:cubicBezTo>
                    <a:pt x="836" y="1054"/>
                    <a:pt x="836" y="1054"/>
                    <a:pt x="836" y="1054"/>
                  </a:cubicBezTo>
                  <a:cubicBezTo>
                    <a:pt x="836" y="1054"/>
                    <a:pt x="836" y="1054"/>
                    <a:pt x="836" y="1054"/>
                  </a:cubicBezTo>
                  <a:cubicBezTo>
                    <a:pt x="837" y="1056"/>
                    <a:pt x="837" y="1056"/>
                    <a:pt x="837" y="1056"/>
                  </a:cubicBezTo>
                  <a:cubicBezTo>
                    <a:pt x="837" y="1056"/>
                    <a:pt x="837" y="1056"/>
                    <a:pt x="837" y="1056"/>
                  </a:cubicBezTo>
                  <a:cubicBezTo>
                    <a:pt x="836" y="1055"/>
                    <a:pt x="836" y="1055"/>
                    <a:pt x="836" y="1055"/>
                  </a:cubicBezTo>
                  <a:cubicBezTo>
                    <a:pt x="836" y="1055"/>
                    <a:pt x="836" y="1055"/>
                    <a:pt x="836" y="1055"/>
                  </a:cubicBezTo>
                  <a:cubicBezTo>
                    <a:pt x="835" y="1055"/>
                    <a:pt x="835" y="1055"/>
                    <a:pt x="835" y="1055"/>
                  </a:cubicBezTo>
                  <a:cubicBezTo>
                    <a:pt x="835" y="1055"/>
                    <a:pt x="835" y="1055"/>
                    <a:pt x="835" y="1055"/>
                  </a:cubicBezTo>
                  <a:lnTo>
                    <a:pt x="835" y="1054"/>
                  </a:lnTo>
                  <a:close/>
                  <a:moveTo>
                    <a:pt x="837" y="1058"/>
                  </a:moveTo>
                  <a:cubicBezTo>
                    <a:pt x="838" y="1057"/>
                    <a:pt x="838" y="1057"/>
                    <a:pt x="838" y="1057"/>
                  </a:cubicBezTo>
                  <a:cubicBezTo>
                    <a:pt x="838" y="1057"/>
                    <a:pt x="838" y="1057"/>
                    <a:pt x="838" y="1057"/>
                  </a:cubicBezTo>
                  <a:cubicBezTo>
                    <a:pt x="838" y="1057"/>
                    <a:pt x="838" y="1057"/>
                    <a:pt x="838" y="1057"/>
                  </a:cubicBezTo>
                  <a:cubicBezTo>
                    <a:pt x="837" y="1057"/>
                    <a:pt x="837" y="1057"/>
                    <a:pt x="837" y="1057"/>
                  </a:cubicBezTo>
                  <a:cubicBezTo>
                    <a:pt x="837" y="1056"/>
                    <a:pt x="837" y="1056"/>
                    <a:pt x="837" y="1056"/>
                  </a:cubicBezTo>
                  <a:cubicBezTo>
                    <a:pt x="837" y="1056"/>
                    <a:pt x="837" y="1056"/>
                    <a:pt x="837" y="1056"/>
                  </a:cubicBezTo>
                  <a:cubicBezTo>
                    <a:pt x="837" y="1056"/>
                    <a:pt x="837" y="1056"/>
                    <a:pt x="837" y="1056"/>
                  </a:cubicBezTo>
                  <a:cubicBezTo>
                    <a:pt x="838" y="1057"/>
                    <a:pt x="838" y="1057"/>
                    <a:pt x="838" y="1057"/>
                  </a:cubicBezTo>
                  <a:cubicBezTo>
                    <a:pt x="838" y="1057"/>
                    <a:pt x="838" y="1057"/>
                    <a:pt x="838" y="1057"/>
                  </a:cubicBezTo>
                  <a:cubicBezTo>
                    <a:pt x="839" y="1057"/>
                    <a:pt x="839" y="1057"/>
                    <a:pt x="839" y="1057"/>
                  </a:cubicBezTo>
                  <a:cubicBezTo>
                    <a:pt x="839" y="1057"/>
                    <a:pt x="839" y="1057"/>
                    <a:pt x="839" y="1057"/>
                  </a:cubicBezTo>
                  <a:cubicBezTo>
                    <a:pt x="839" y="1057"/>
                    <a:pt x="839" y="1057"/>
                    <a:pt x="839" y="1057"/>
                  </a:cubicBezTo>
                  <a:cubicBezTo>
                    <a:pt x="839" y="1057"/>
                    <a:pt x="839" y="1057"/>
                    <a:pt x="839" y="1057"/>
                  </a:cubicBezTo>
                  <a:cubicBezTo>
                    <a:pt x="839" y="1057"/>
                    <a:pt x="839" y="1057"/>
                    <a:pt x="839" y="1057"/>
                  </a:cubicBezTo>
                  <a:cubicBezTo>
                    <a:pt x="839" y="1058"/>
                    <a:pt x="839" y="1058"/>
                    <a:pt x="839" y="1058"/>
                  </a:cubicBezTo>
                  <a:cubicBezTo>
                    <a:pt x="839" y="1058"/>
                    <a:pt x="839" y="1058"/>
                    <a:pt x="839" y="1058"/>
                  </a:cubicBezTo>
                  <a:cubicBezTo>
                    <a:pt x="839" y="1058"/>
                    <a:pt x="839" y="1058"/>
                    <a:pt x="839" y="1058"/>
                  </a:cubicBezTo>
                  <a:cubicBezTo>
                    <a:pt x="840" y="1058"/>
                    <a:pt x="840" y="1058"/>
                    <a:pt x="840" y="1058"/>
                  </a:cubicBezTo>
                  <a:cubicBezTo>
                    <a:pt x="840" y="1058"/>
                    <a:pt x="840" y="1058"/>
                    <a:pt x="840" y="1058"/>
                  </a:cubicBezTo>
                  <a:cubicBezTo>
                    <a:pt x="840" y="1059"/>
                    <a:pt x="840" y="1059"/>
                    <a:pt x="840" y="1059"/>
                  </a:cubicBezTo>
                  <a:cubicBezTo>
                    <a:pt x="839" y="1059"/>
                    <a:pt x="839" y="1059"/>
                    <a:pt x="839" y="1059"/>
                  </a:cubicBezTo>
                  <a:cubicBezTo>
                    <a:pt x="839" y="1060"/>
                    <a:pt x="839" y="1060"/>
                    <a:pt x="839" y="1060"/>
                  </a:cubicBezTo>
                  <a:cubicBezTo>
                    <a:pt x="839" y="1061"/>
                    <a:pt x="839" y="1061"/>
                    <a:pt x="839" y="1061"/>
                  </a:cubicBezTo>
                  <a:cubicBezTo>
                    <a:pt x="840" y="1062"/>
                    <a:pt x="840" y="1062"/>
                    <a:pt x="840" y="1062"/>
                  </a:cubicBezTo>
                  <a:cubicBezTo>
                    <a:pt x="839" y="1062"/>
                    <a:pt x="839" y="1062"/>
                    <a:pt x="839" y="1062"/>
                  </a:cubicBezTo>
                  <a:cubicBezTo>
                    <a:pt x="839" y="1061"/>
                    <a:pt x="839" y="1061"/>
                    <a:pt x="839" y="1061"/>
                  </a:cubicBezTo>
                  <a:cubicBezTo>
                    <a:pt x="838" y="1061"/>
                    <a:pt x="838" y="1061"/>
                    <a:pt x="838" y="1061"/>
                  </a:cubicBezTo>
                  <a:cubicBezTo>
                    <a:pt x="837" y="1060"/>
                    <a:pt x="837" y="1060"/>
                    <a:pt x="837" y="1060"/>
                  </a:cubicBezTo>
                  <a:cubicBezTo>
                    <a:pt x="837" y="1058"/>
                    <a:pt x="837" y="1058"/>
                    <a:pt x="837" y="1058"/>
                  </a:cubicBezTo>
                  <a:close/>
                  <a:moveTo>
                    <a:pt x="846" y="1082"/>
                  </a:moveTo>
                  <a:cubicBezTo>
                    <a:pt x="847" y="1081"/>
                    <a:pt x="847" y="1081"/>
                    <a:pt x="847" y="1081"/>
                  </a:cubicBezTo>
                  <a:cubicBezTo>
                    <a:pt x="847" y="1080"/>
                    <a:pt x="847" y="1080"/>
                    <a:pt x="847" y="1080"/>
                  </a:cubicBezTo>
                  <a:cubicBezTo>
                    <a:pt x="847" y="1080"/>
                    <a:pt x="847" y="1080"/>
                    <a:pt x="847" y="1080"/>
                  </a:cubicBezTo>
                  <a:cubicBezTo>
                    <a:pt x="847" y="1079"/>
                    <a:pt x="847" y="1079"/>
                    <a:pt x="847" y="1079"/>
                  </a:cubicBezTo>
                  <a:cubicBezTo>
                    <a:pt x="847" y="1077"/>
                    <a:pt x="847" y="1077"/>
                    <a:pt x="847" y="1077"/>
                  </a:cubicBezTo>
                  <a:cubicBezTo>
                    <a:pt x="847" y="1076"/>
                    <a:pt x="847" y="1076"/>
                    <a:pt x="847" y="1076"/>
                  </a:cubicBezTo>
                  <a:cubicBezTo>
                    <a:pt x="848" y="1076"/>
                    <a:pt x="848" y="1076"/>
                    <a:pt x="848" y="1076"/>
                  </a:cubicBezTo>
                  <a:cubicBezTo>
                    <a:pt x="848" y="1076"/>
                    <a:pt x="848" y="1076"/>
                    <a:pt x="848" y="1076"/>
                  </a:cubicBezTo>
                  <a:cubicBezTo>
                    <a:pt x="848" y="1075"/>
                    <a:pt x="848" y="1075"/>
                    <a:pt x="848" y="1075"/>
                  </a:cubicBezTo>
                  <a:cubicBezTo>
                    <a:pt x="849" y="1075"/>
                    <a:pt x="849" y="1075"/>
                    <a:pt x="849" y="1075"/>
                  </a:cubicBezTo>
                  <a:cubicBezTo>
                    <a:pt x="849" y="1075"/>
                    <a:pt x="849" y="1075"/>
                    <a:pt x="849" y="1075"/>
                  </a:cubicBezTo>
                  <a:cubicBezTo>
                    <a:pt x="849" y="1074"/>
                    <a:pt x="849" y="1074"/>
                    <a:pt x="849" y="1074"/>
                  </a:cubicBezTo>
                  <a:cubicBezTo>
                    <a:pt x="849" y="1074"/>
                    <a:pt x="849" y="1074"/>
                    <a:pt x="849" y="1074"/>
                  </a:cubicBezTo>
                  <a:cubicBezTo>
                    <a:pt x="849" y="1074"/>
                    <a:pt x="849" y="1074"/>
                    <a:pt x="849" y="1074"/>
                  </a:cubicBezTo>
                  <a:cubicBezTo>
                    <a:pt x="849" y="1073"/>
                    <a:pt x="849" y="1073"/>
                    <a:pt x="849" y="1073"/>
                  </a:cubicBezTo>
                  <a:cubicBezTo>
                    <a:pt x="849" y="1073"/>
                    <a:pt x="849" y="1073"/>
                    <a:pt x="849" y="1073"/>
                  </a:cubicBezTo>
                  <a:cubicBezTo>
                    <a:pt x="851" y="1071"/>
                    <a:pt x="851" y="1071"/>
                    <a:pt x="851" y="1071"/>
                  </a:cubicBezTo>
                  <a:cubicBezTo>
                    <a:pt x="851" y="1070"/>
                    <a:pt x="851" y="1070"/>
                    <a:pt x="851" y="1070"/>
                  </a:cubicBezTo>
                  <a:cubicBezTo>
                    <a:pt x="851" y="1069"/>
                    <a:pt x="851" y="1069"/>
                    <a:pt x="851" y="1069"/>
                  </a:cubicBezTo>
                  <a:cubicBezTo>
                    <a:pt x="852" y="1069"/>
                    <a:pt x="852" y="1069"/>
                    <a:pt x="852" y="1069"/>
                  </a:cubicBezTo>
                  <a:cubicBezTo>
                    <a:pt x="852" y="1068"/>
                    <a:pt x="852" y="1068"/>
                    <a:pt x="852" y="1068"/>
                  </a:cubicBezTo>
                  <a:cubicBezTo>
                    <a:pt x="852" y="1068"/>
                    <a:pt x="852" y="1068"/>
                    <a:pt x="852" y="1068"/>
                  </a:cubicBezTo>
                  <a:cubicBezTo>
                    <a:pt x="853" y="1067"/>
                    <a:pt x="853" y="1067"/>
                    <a:pt x="853" y="1067"/>
                  </a:cubicBezTo>
                  <a:cubicBezTo>
                    <a:pt x="854" y="1062"/>
                    <a:pt x="854" y="1062"/>
                    <a:pt x="854" y="1062"/>
                  </a:cubicBezTo>
                  <a:cubicBezTo>
                    <a:pt x="854" y="1062"/>
                    <a:pt x="854" y="1062"/>
                    <a:pt x="854" y="1062"/>
                  </a:cubicBezTo>
                  <a:cubicBezTo>
                    <a:pt x="854" y="1062"/>
                    <a:pt x="854" y="1062"/>
                    <a:pt x="854" y="1062"/>
                  </a:cubicBezTo>
                  <a:cubicBezTo>
                    <a:pt x="854" y="1062"/>
                    <a:pt x="854" y="1062"/>
                    <a:pt x="854" y="1062"/>
                  </a:cubicBezTo>
                  <a:cubicBezTo>
                    <a:pt x="854" y="1062"/>
                    <a:pt x="854" y="1062"/>
                    <a:pt x="854" y="1062"/>
                  </a:cubicBezTo>
                  <a:cubicBezTo>
                    <a:pt x="855" y="1062"/>
                    <a:pt x="855" y="1062"/>
                    <a:pt x="855" y="1062"/>
                  </a:cubicBezTo>
                  <a:cubicBezTo>
                    <a:pt x="855" y="1062"/>
                    <a:pt x="855" y="1062"/>
                    <a:pt x="855" y="1062"/>
                  </a:cubicBezTo>
                  <a:cubicBezTo>
                    <a:pt x="855" y="1062"/>
                    <a:pt x="855" y="1062"/>
                    <a:pt x="855" y="1062"/>
                  </a:cubicBezTo>
                  <a:cubicBezTo>
                    <a:pt x="855" y="1062"/>
                    <a:pt x="855" y="1062"/>
                    <a:pt x="855" y="1062"/>
                  </a:cubicBezTo>
                  <a:cubicBezTo>
                    <a:pt x="855" y="1062"/>
                    <a:pt x="855" y="1062"/>
                    <a:pt x="855" y="1062"/>
                  </a:cubicBezTo>
                  <a:cubicBezTo>
                    <a:pt x="856" y="1062"/>
                    <a:pt x="856" y="1062"/>
                    <a:pt x="856" y="1062"/>
                  </a:cubicBezTo>
                  <a:cubicBezTo>
                    <a:pt x="856" y="1063"/>
                    <a:pt x="856" y="1063"/>
                    <a:pt x="856" y="1063"/>
                  </a:cubicBezTo>
                  <a:cubicBezTo>
                    <a:pt x="856" y="1063"/>
                    <a:pt x="856" y="1063"/>
                    <a:pt x="856" y="1063"/>
                  </a:cubicBezTo>
                  <a:cubicBezTo>
                    <a:pt x="856" y="1064"/>
                    <a:pt x="856" y="1064"/>
                    <a:pt x="856" y="1064"/>
                  </a:cubicBezTo>
                  <a:cubicBezTo>
                    <a:pt x="856" y="1064"/>
                    <a:pt x="856" y="1064"/>
                    <a:pt x="856" y="1064"/>
                  </a:cubicBezTo>
                  <a:cubicBezTo>
                    <a:pt x="855" y="1064"/>
                    <a:pt x="855" y="1064"/>
                    <a:pt x="855" y="1064"/>
                  </a:cubicBezTo>
                  <a:cubicBezTo>
                    <a:pt x="854" y="1069"/>
                    <a:pt x="854" y="1069"/>
                    <a:pt x="854" y="1069"/>
                  </a:cubicBezTo>
                  <a:cubicBezTo>
                    <a:pt x="854" y="1070"/>
                    <a:pt x="854" y="1070"/>
                    <a:pt x="854" y="1070"/>
                  </a:cubicBezTo>
                  <a:cubicBezTo>
                    <a:pt x="854" y="1070"/>
                    <a:pt x="854" y="1070"/>
                    <a:pt x="854" y="1070"/>
                  </a:cubicBezTo>
                  <a:cubicBezTo>
                    <a:pt x="853" y="1071"/>
                    <a:pt x="853" y="1071"/>
                    <a:pt x="853" y="1071"/>
                  </a:cubicBezTo>
                  <a:cubicBezTo>
                    <a:pt x="853" y="1071"/>
                    <a:pt x="853" y="1071"/>
                    <a:pt x="853" y="1071"/>
                  </a:cubicBezTo>
                  <a:cubicBezTo>
                    <a:pt x="853" y="1071"/>
                    <a:pt x="853" y="1071"/>
                    <a:pt x="853" y="1071"/>
                  </a:cubicBezTo>
                  <a:cubicBezTo>
                    <a:pt x="852" y="1072"/>
                    <a:pt x="852" y="1072"/>
                    <a:pt x="852" y="1072"/>
                  </a:cubicBezTo>
                  <a:cubicBezTo>
                    <a:pt x="851" y="1075"/>
                    <a:pt x="851" y="1075"/>
                    <a:pt x="851" y="1075"/>
                  </a:cubicBezTo>
                  <a:cubicBezTo>
                    <a:pt x="851" y="1075"/>
                    <a:pt x="851" y="1075"/>
                    <a:pt x="851" y="1075"/>
                  </a:cubicBezTo>
                  <a:cubicBezTo>
                    <a:pt x="850" y="1075"/>
                    <a:pt x="850" y="1075"/>
                    <a:pt x="850" y="1075"/>
                  </a:cubicBezTo>
                  <a:cubicBezTo>
                    <a:pt x="850" y="1075"/>
                    <a:pt x="850" y="1075"/>
                    <a:pt x="850" y="1075"/>
                  </a:cubicBezTo>
                  <a:cubicBezTo>
                    <a:pt x="850" y="1076"/>
                    <a:pt x="850" y="1076"/>
                    <a:pt x="850" y="1076"/>
                  </a:cubicBezTo>
                  <a:cubicBezTo>
                    <a:pt x="850" y="1076"/>
                    <a:pt x="850" y="1076"/>
                    <a:pt x="850" y="1076"/>
                  </a:cubicBezTo>
                  <a:cubicBezTo>
                    <a:pt x="850" y="1076"/>
                    <a:pt x="850" y="1076"/>
                    <a:pt x="850" y="1076"/>
                  </a:cubicBezTo>
                  <a:cubicBezTo>
                    <a:pt x="850" y="1077"/>
                    <a:pt x="850" y="1077"/>
                    <a:pt x="850" y="1077"/>
                  </a:cubicBezTo>
                  <a:cubicBezTo>
                    <a:pt x="850" y="1077"/>
                    <a:pt x="850" y="1077"/>
                    <a:pt x="850" y="1077"/>
                  </a:cubicBezTo>
                  <a:cubicBezTo>
                    <a:pt x="850" y="1077"/>
                    <a:pt x="850" y="1077"/>
                    <a:pt x="850" y="1077"/>
                  </a:cubicBezTo>
                  <a:cubicBezTo>
                    <a:pt x="848" y="1078"/>
                    <a:pt x="848" y="1078"/>
                    <a:pt x="848" y="1078"/>
                  </a:cubicBezTo>
                  <a:cubicBezTo>
                    <a:pt x="848" y="1078"/>
                    <a:pt x="848" y="1078"/>
                    <a:pt x="848" y="1078"/>
                  </a:cubicBezTo>
                  <a:cubicBezTo>
                    <a:pt x="849" y="1080"/>
                    <a:pt x="849" y="1080"/>
                    <a:pt x="849" y="1080"/>
                  </a:cubicBezTo>
                  <a:cubicBezTo>
                    <a:pt x="849" y="1081"/>
                    <a:pt x="849" y="1081"/>
                    <a:pt x="849" y="1081"/>
                  </a:cubicBezTo>
                  <a:cubicBezTo>
                    <a:pt x="848" y="1082"/>
                    <a:pt x="848" y="1082"/>
                    <a:pt x="848" y="1082"/>
                  </a:cubicBezTo>
                  <a:cubicBezTo>
                    <a:pt x="848" y="1082"/>
                    <a:pt x="848" y="1082"/>
                    <a:pt x="848" y="1082"/>
                  </a:cubicBezTo>
                  <a:cubicBezTo>
                    <a:pt x="848" y="1083"/>
                    <a:pt x="848" y="1083"/>
                    <a:pt x="848" y="1083"/>
                  </a:cubicBezTo>
                  <a:cubicBezTo>
                    <a:pt x="848" y="1084"/>
                    <a:pt x="848" y="1084"/>
                    <a:pt x="848" y="1084"/>
                  </a:cubicBezTo>
                  <a:cubicBezTo>
                    <a:pt x="848" y="1085"/>
                    <a:pt x="848" y="1085"/>
                    <a:pt x="848" y="1085"/>
                  </a:cubicBezTo>
                  <a:cubicBezTo>
                    <a:pt x="849" y="1086"/>
                    <a:pt x="849" y="1086"/>
                    <a:pt x="849" y="1086"/>
                  </a:cubicBezTo>
                  <a:cubicBezTo>
                    <a:pt x="848" y="1086"/>
                    <a:pt x="848" y="1086"/>
                    <a:pt x="848" y="1086"/>
                  </a:cubicBezTo>
                  <a:cubicBezTo>
                    <a:pt x="848" y="1086"/>
                    <a:pt x="848" y="1086"/>
                    <a:pt x="848" y="1086"/>
                  </a:cubicBezTo>
                  <a:cubicBezTo>
                    <a:pt x="847" y="1085"/>
                    <a:pt x="847" y="1085"/>
                    <a:pt x="847" y="1085"/>
                  </a:cubicBezTo>
                  <a:cubicBezTo>
                    <a:pt x="847" y="1083"/>
                    <a:pt x="847" y="1083"/>
                    <a:pt x="847" y="1083"/>
                  </a:cubicBezTo>
                  <a:cubicBezTo>
                    <a:pt x="846" y="1083"/>
                    <a:pt x="846" y="1083"/>
                    <a:pt x="846" y="1083"/>
                  </a:cubicBezTo>
                  <a:lnTo>
                    <a:pt x="846" y="1082"/>
                  </a:lnTo>
                  <a:close/>
                  <a:moveTo>
                    <a:pt x="860" y="1100"/>
                  </a:moveTo>
                  <a:cubicBezTo>
                    <a:pt x="858" y="1100"/>
                    <a:pt x="858" y="1100"/>
                    <a:pt x="858" y="1100"/>
                  </a:cubicBezTo>
                  <a:cubicBezTo>
                    <a:pt x="856" y="1100"/>
                    <a:pt x="856" y="1100"/>
                    <a:pt x="856" y="1100"/>
                  </a:cubicBezTo>
                  <a:cubicBezTo>
                    <a:pt x="856" y="1100"/>
                    <a:pt x="856" y="1100"/>
                    <a:pt x="856" y="1100"/>
                  </a:cubicBezTo>
                  <a:cubicBezTo>
                    <a:pt x="856" y="1100"/>
                    <a:pt x="856" y="1100"/>
                    <a:pt x="856" y="1100"/>
                  </a:cubicBezTo>
                  <a:cubicBezTo>
                    <a:pt x="855" y="1100"/>
                    <a:pt x="855" y="1100"/>
                    <a:pt x="855" y="1100"/>
                  </a:cubicBezTo>
                  <a:cubicBezTo>
                    <a:pt x="854" y="1099"/>
                    <a:pt x="854" y="1099"/>
                    <a:pt x="854" y="1099"/>
                  </a:cubicBezTo>
                  <a:cubicBezTo>
                    <a:pt x="854" y="1099"/>
                    <a:pt x="854" y="1099"/>
                    <a:pt x="854" y="1099"/>
                  </a:cubicBezTo>
                  <a:cubicBezTo>
                    <a:pt x="854" y="1099"/>
                    <a:pt x="854" y="1099"/>
                    <a:pt x="854" y="1099"/>
                  </a:cubicBezTo>
                  <a:cubicBezTo>
                    <a:pt x="855" y="1099"/>
                    <a:pt x="855" y="1099"/>
                    <a:pt x="855" y="1099"/>
                  </a:cubicBezTo>
                  <a:cubicBezTo>
                    <a:pt x="856" y="1099"/>
                    <a:pt x="856" y="1099"/>
                    <a:pt x="856" y="1099"/>
                  </a:cubicBezTo>
                  <a:cubicBezTo>
                    <a:pt x="858" y="1099"/>
                    <a:pt x="858" y="1099"/>
                    <a:pt x="858" y="1099"/>
                  </a:cubicBezTo>
                  <a:cubicBezTo>
                    <a:pt x="858" y="1099"/>
                    <a:pt x="858" y="1099"/>
                    <a:pt x="858" y="1099"/>
                  </a:cubicBezTo>
                  <a:cubicBezTo>
                    <a:pt x="859" y="1099"/>
                    <a:pt x="859" y="1099"/>
                    <a:pt x="859" y="1099"/>
                  </a:cubicBezTo>
                  <a:cubicBezTo>
                    <a:pt x="860" y="1098"/>
                    <a:pt x="860" y="1098"/>
                    <a:pt x="860" y="1098"/>
                  </a:cubicBezTo>
                  <a:cubicBezTo>
                    <a:pt x="861" y="1097"/>
                    <a:pt x="861" y="1097"/>
                    <a:pt x="861" y="1097"/>
                  </a:cubicBezTo>
                  <a:cubicBezTo>
                    <a:pt x="861" y="1096"/>
                    <a:pt x="861" y="1096"/>
                    <a:pt x="861" y="1096"/>
                  </a:cubicBezTo>
                  <a:cubicBezTo>
                    <a:pt x="861" y="1096"/>
                    <a:pt x="861" y="1096"/>
                    <a:pt x="861" y="1096"/>
                  </a:cubicBezTo>
                  <a:cubicBezTo>
                    <a:pt x="861" y="1096"/>
                    <a:pt x="861" y="1096"/>
                    <a:pt x="861" y="1096"/>
                  </a:cubicBezTo>
                  <a:cubicBezTo>
                    <a:pt x="862" y="1097"/>
                    <a:pt x="862" y="1097"/>
                    <a:pt x="862" y="1097"/>
                  </a:cubicBezTo>
                  <a:cubicBezTo>
                    <a:pt x="862" y="1097"/>
                    <a:pt x="862" y="1097"/>
                    <a:pt x="862" y="1097"/>
                  </a:cubicBezTo>
                  <a:cubicBezTo>
                    <a:pt x="862" y="1097"/>
                    <a:pt x="862" y="1097"/>
                    <a:pt x="862" y="1097"/>
                  </a:cubicBezTo>
                  <a:cubicBezTo>
                    <a:pt x="862" y="1096"/>
                    <a:pt x="862" y="1096"/>
                    <a:pt x="862" y="1096"/>
                  </a:cubicBezTo>
                  <a:cubicBezTo>
                    <a:pt x="863" y="1096"/>
                    <a:pt x="863" y="1096"/>
                    <a:pt x="863" y="1096"/>
                  </a:cubicBezTo>
                  <a:cubicBezTo>
                    <a:pt x="863" y="1097"/>
                    <a:pt x="863" y="1097"/>
                    <a:pt x="863" y="1097"/>
                  </a:cubicBezTo>
                  <a:cubicBezTo>
                    <a:pt x="863" y="1097"/>
                    <a:pt x="863" y="1097"/>
                    <a:pt x="863" y="1097"/>
                  </a:cubicBezTo>
                  <a:cubicBezTo>
                    <a:pt x="863" y="1098"/>
                    <a:pt x="863" y="1098"/>
                    <a:pt x="863" y="1098"/>
                  </a:cubicBezTo>
                  <a:cubicBezTo>
                    <a:pt x="862" y="1099"/>
                    <a:pt x="862" y="1099"/>
                    <a:pt x="862" y="1099"/>
                  </a:cubicBezTo>
                  <a:cubicBezTo>
                    <a:pt x="861" y="1100"/>
                    <a:pt x="861" y="1100"/>
                    <a:pt x="861" y="1100"/>
                  </a:cubicBezTo>
                  <a:cubicBezTo>
                    <a:pt x="860" y="1100"/>
                    <a:pt x="860" y="1100"/>
                    <a:pt x="860" y="1100"/>
                  </a:cubicBezTo>
                  <a:close/>
                  <a:moveTo>
                    <a:pt x="862" y="1009"/>
                  </a:moveTo>
                  <a:cubicBezTo>
                    <a:pt x="862" y="1009"/>
                    <a:pt x="862" y="1009"/>
                    <a:pt x="862" y="1009"/>
                  </a:cubicBezTo>
                  <a:cubicBezTo>
                    <a:pt x="861" y="1009"/>
                    <a:pt x="861" y="1009"/>
                    <a:pt x="861" y="1009"/>
                  </a:cubicBezTo>
                  <a:cubicBezTo>
                    <a:pt x="860" y="1009"/>
                    <a:pt x="860" y="1009"/>
                    <a:pt x="860" y="1009"/>
                  </a:cubicBezTo>
                  <a:cubicBezTo>
                    <a:pt x="860" y="1010"/>
                    <a:pt x="860" y="1010"/>
                    <a:pt x="860" y="1010"/>
                  </a:cubicBezTo>
                  <a:cubicBezTo>
                    <a:pt x="860" y="1010"/>
                    <a:pt x="860" y="1010"/>
                    <a:pt x="860" y="1010"/>
                  </a:cubicBezTo>
                  <a:cubicBezTo>
                    <a:pt x="860" y="1010"/>
                    <a:pt x="860" y="1010"/>
                    <a:pt x="860" y="1010"/>
                  </a:cubicBezTo>
                  <a:cubicBezTo>
                    <a:pt x="860" y="1009"/>
                    <a:pt x="860" y="1009"/>
                    <a:pt x="860" y="1009"/>
                  </a:cubicBezTo>
                  <a:cubicBezTo>
                    <a:pt x="861" y="1009"/>
                    <a:pt x="861" y="1009"/>
                    <a:pt x="861" y="1009"/>
                  </a:cubicBezTo>
                  <a:cubicBezTo>
                    <a:pt x="861" y="1008"/>
                    <a:pt x="861" y="1008"/>
                    <a:pt x="861" y="1008"/>
                  </a:cubicBezTo>
                  <a:cubicBezTo>
                    <a:pt x="862" y="1008"/>
                    <a:pt x="862" y="1008"/>
                    <a:pt x="862" y="1008"/>
                  </a:cubicBezTo>
                  <a:cubicBezTo>
                    <a:pt x="863" y="1008"/>
                    <a:pt x="863" y="1008"/>
                    <a:pt x="863" y="1008"/>
                  </a:cubicBezTo>
                  <a:cubicBezTo>
                    <a:pt x="864" y="1008"/>
                    <a:pt x="864" y="1008"/>
                    <a:pt x="864" y="1008"/>
                  </a:cubicBezTo>
                  <a:cubicBezTo>
                    <a:pt x="865" y="1008"/>
                    <a:pt x="865" y="1008"/>
                    <a:pt x="865" y="1008"/>
                  </a:cubicBezTo>
                  <a:cubicBezTo>
                    <a:pt x="866" y="1008"/>
                    <a:pt x="866" y="1008"/>
                    <a:pt x="866" y="1008"/>
                  </a:cubicBezTo>
                  <a:cubicBezTo>
                    <a:pt x="866" y="1009"/>
                    <a:pt x="866" y="1009"/>
                    <a:pt x="866" y="1009"/>
                  </a:cubicBezTo>
                  <a:cubicBezTo>
                    <a:pt x="868" y="1010"/>
                    <a:pt x="868" y="1010"/>
                    <a:pt x="868" y="1010"/>
                  </a:cubicBezTo>
                  <a:cubicBezTo>
                    <a:pt x="868" y="1010"/>
                    <a:pt x="868" y="1010"/>
                    <a:pt x="868" y="1010"/>
                  </a:cubicBezTo>
                  <a:cubicBezTo>
                    <a:pt x="871" y="1009"/>
                    <a:pt x="871" y="1009"/>
                    <a:pt x="871" y="1009"/>
                  </a:cubicBezTo>
                  <a:cubicBezTo>
                    <a:pt x="871" y="1009"/>
                    <a:pt x="871" y="1009"/>
                    <a:pt x="871" y="1009"/>
                  </a:cubicBezTo>
                  <a:cubicBezTo>
                    <a:pt x="873" y="1008"/>
                    <a:pt x="873" y="1008"/>
                    <a:pt x="873" y="1008"/>
                  </a:cubicBezTo>
                  <a:cubicBezTo>
                    <a:pt x="874" y="1009"/>
                    <a:pt x="874" y="1009"/>
                    <a:pt x="874" y="1009"/>
                  </a:cubicBezTo>
                  <a:cubicBezTo>
                    <a:pt x="876" y="1009"/>
                    <a:pt x="876" y="1009"/>
                    <a:pt x="876" y="1009"/>
                  </a:cubicBezTo>
                  <a:cubicBezTo>
                    <a:pt x="877" y="1009"/>
                    <a:pt x="877" y="1009"/>
                    <a:pt x="877" y="1009"/>
                  </a:cubicBezTo>
                  <a:cubicBezTo>
                    <a:pt x="877" y="1009"/>
                    <a:pt x="877" y="1009"/>
                    <a:pt x="877" y="1009"/>
                  </a:cubicBezTo>
                  <a:cubicBezTo>
                    <a:pt x="878" y="1009"/>
                    <a:pt x="878" y="1009"/>
                    <a:pt x="878" y="1009"/>
                  </a:cubicBezTo>
                  <a:cubicBezTo>
                    <a:pt x="878" y="1009"/>
                    <a:pt x="878" y="1009"/>
                    <a:pt x="878" y="1009"/>
                  </a:cubicBezTo>
                  <a:cubicBezTo>
                    <a:pt x="878" y="1009"/>
                    <a:pt x="878" y="1009"/>
                    <a:pt x="878" y="1009"/>
                  </a:cubicBezTo>
                  <a:cubicBezTo>
                    <a:pt x="879" y="1009"/>
                    <a:pt x="879" y="1009"/>
                    <a:pt x="879" y="1009"/>
                  </a:cubicBezTo>
                  <a:cubicBezTo>
                    <a:pt x="879" y="1009"/>
                    <a:pt x="879" y="1009"/>
                    <a:pt x="879" y="1009"/>
                  </a:cubicBezTo>
                  <a:cubicBezTo>
                    <a:pt x="879" y="1009"/>
                    <a:pt x="879" y="1009"/>
                    <a:pt x="879" y="1009"/>
                  </a:cubicBezTo>
                  <a:cubicBezTo>
                    <a:pt x="880" y="1009"/>
                    <a:pt x="880" y="1009"/>
                    <a:pt x="880" y="1009"/>
                  </a:cubicBezTo>
                  <a:cubicBezTo>
                    <a:pt x="880" y="1009"/>
                    <a:pt x="880" y="1009"/>
                    <a:pt x="880" y="1009"/>
                  </a:cubicBezTo>
                  <a:cubicBezTo>
                    <a:pt x="882" y="1011"/>
                    <a:pt x="882" y="1011"/>
                    <a:pt x="882" y="1011"/>
                  </a:cubicBezTo>
                  <a:cubicBezTo>
                    <a:pt x="883" y="1010"/>
                    <a:pt x="883" y="1010"/>
                    <a:pt x="883" y="1010"/>
                  </a:cubicBezTo>
                  <a:cubicBezTo>
                    <a:pt x="884" y="1012"/>
                    <a:pt x="884" y="1012"/>
                    <a:pt x="884" y="1012"/>
                  </a:cubicBezTo>
                  <a:cubicBezTo>
                    <a:pt x="885" y="1013"/>
                    <a:pt x="885" y="1013"/>
                    <a:pt x="885" y="1013"/>
                  </a:cubicBezTo>
                  <a:cubicBezTo>
                    <a:pt x="885" y="1015"/>
                    <a:pt x="885" y="1015"/>
                    <a:pt x="885" y="1015"/>
                  </a:cubicBezTo>
                  <a:cubicBezTo>
                    <a:pt x="886" y="1016"/>
                    <a:pt x="886" y="1016"/>
                    <a:pt x="886" y="1016"/>
                  </a:cubicBezTo>
                  <a:cubicBezTo>
                    <a:pt x="886" y="1016"/>
                    <a:pt x="886" y="1016"/>
                    <a:pt x="886" y="1016"/>
                  </a:cubicBezTo>
                  <a:cubicBezTo>
                    <a:pt x="887" y="1017"/>
                    <a:pt x="887" y="1017"/>
                    <a:pt x="887" y="1017"/>
                  </a:cubicBezTo>
                  <a:cubicBezTo>
                    <a:pt x="888" y="1017"/>
                    <a:pt x="888" y="1017"/>
                    <a:pt x="888" y="1017"/>
                  </a:cubicBezTo>
                  <a:cubicBezTo>
                    <a:pt x="890" y="1018"/>
                    <a:pt x="890" y="1018"/>
                    <a:pt x="890" y="1018"/>
                  </a:cubicBezTo>
                  <a:cubicBezTo>
                    <a:pt x="890" y="1019"/>
                    <a:pt x="890" y="1019"/>
                    <a:pt x="890" y="1019"/>
                  </a:cubicBezTo>
                  <a:cubicBezTo>
                    <a:pt x="891" y="1019"/>
                    <a:pt x="891" y="1019"/>
                    <a:pt x="891" y="1019"/>
                  </a:cubicBezTo>
                  <a:cubicBezTo>
                    <a:pt x="892" y="1019"/>
                    <a:pt x="892" y="1019"/>
                    <a:pt x="892" y="1019"/>
                  </a:cubicBezTo>
                  <a:cubicBezTo>
                    <a:pt x="892" y="1019"/>
                    <a:pt x="892" y="1019"/>
                    <a:pt x="892" y="1019"/>
                  </a:cubicBezTo>
                  <a:cubicBezTo>
                    <a:pt x="893" y="1021"/>
                    <a:pt x="893" y="1021"/>
                    <a:pt x="893" y="1021"/>
                  </a:cubicBezTo>
                  <a:cubicBezTo>
                    <a:pt x="893" y="1021"/>
                    <a:pt x="893" y="1021"/>
                    <a:pt x="893" y="1021"/>
                  </a:cubicBezTo>
                  <a:cubicBezTo>
                    <a:pt x="894" y="1022"/>
                    <a:pt x="894" y="1022"/>
                    <a:pt x="894" y="1022"/>
                  </a:cubicBezTo>
                  <a:cubicBezTo>
                    <a:pt x="894" y="1022"/>
                    <a:pt x="894" y="1022"/>
                    <a:pt x="894" y="1022"/>
                  </a:cubicBezTo>
                  <a:cubicBezTo>
                    <a:pt x="894" y="1022"/>
                    <a:pt x="894" y="1022"/>
                    <a:pt x="894" y="1022"/>
                  </a:cubicBezTo>
                  <a:cubicBezTo>
                    <a:pt x="894" y="1023"/>
                    <a:pt x="894" y="1023"/>
                    <a:pt x="894" y="1023"/>
                  </a:cubicBezTo>
                  <a:cubicBezTo>
                    <a:pt x="894" y="1023"/>
                    <a:pt x="894" y="1023"/>
                    <a:pt x="894" y="1023"/>
                  </a:cubicBezTo>
                  <a:cubicBezTo>
                    <a:pt x="894" y="1024"/>
                    <a:pt x="894" y="1024"/>
                    <a:pt x="894" y="1024"/>
                  </a:cubicBezTo>
                  <a:cubicBezTo>
                    <a:pt x="895" y="1024"/>
                    <a:pt x="895" y="1024"/>
                    <a:pt x="895" y="1024"/>
                  </a:cubicBezTo>
                  <a:cubicBezTo>
                    <a:pt x="895" y="1025"/>
                    <a:pt x="895" y="1025"/>
                    <a:pt x="895" y="1025"/>
                  </a:cubicBezTo>
                  <a:cubicBezTo>
                    <a:pt x="896" y="1026"/>
                    <a:pt x="896" y="1026"/>
                    <a:pt x="896" y="1026"/>
                  </a:cubicBezTo>
                  <a:cubicBezTo>
                    <a:pt x="896" y="1026"/>
                    <a:pt x="896" y="1026"/>
                    <a:pt x="896" y="1026"/>
                  </a:cubicBezTo>
                  <a:cubicBezTo>
                    <a:pt x="897" y="1026"/>
                    <a:pt x="897" y="1026"/>
                    <a:pt x="897" y="1026"/>
                  </a:cubicBezTo>
                  <a:cubicBezTo>
                    <a:pt x="897" y="1026"/>
                    <a:pt x="897" y="1026"/>
                    <a:pt x="897" y="1026"/>
                  </a:cubicBezTo>
                  <a:cubicBezTo>
                    <a:pt x="897" y="1026"/>
                    <a:pt x="897" y="1026"/>
                    <a:pt x="897" y="1026"/>
                  </a:cubicBezTo>
                  <a:cubicBezTo>
                    <a:pt x="897" y="1025"/>
                    <a:pt x="897" y="1025"/>
                    <a:pt x="897" y="1025"/>
                  </a:cubicBezTo>
                  <a:cubicBezTo>
                    <a:pt x="898" y="1025"/>
                    <a:pt x="898" y="1025"/>
                    <a:pt x="898" y="1025"/>
                  </a:cubicBezTo>
                  <a:cubicBezTo>
                    <a:pt x="898" y="1025"/>
                    <a:pt x="898" y="1025"/>
                    <a:pt x="898" y="1025"/>
                  </a:cubicBezTo>
                  <a:cubicBezTo>
                    <a:pt x="898" y="1025"/>
                    <a:pt x="898" y="1025"/>
                    <a:pt x="898" y="1025"/>
                  </a:cubicBezTo>
                  <a:cubicBezTo>
                    <a:pt x="899" y="1025"/>
                    <a:pt x="899" y="1025"/>
                    <a:pt x="899" y="1025"/>
                  </a:cubicBezTo>
                  <a:cubicBezTo>
                    <a:pt x="899" y="1026"/>
                    <a:pt x="899" y="1026"/>
                    <a:pt x="899" y="1026"/>
                  </a:cubicBezTo>
                  <a:cubicBezTo>
                    <a:pt x="898" y="1026"/>
                    <a:pt x="898" y="1026"/>
                    <a:pt x="898" y="1026"/>
                  </a:cubicBezTo>
                  <a:cubicBezTo>
                    <a:pt x="898" y="1026"/>
                    <a:pt x="898" y="1026"/>
                    <a:pt x="898" y="1026"/>
                  </a:cubicBezTo>
                  <a:cubicBezTo>
                    <a:pt x="898" y="1029"/>
                    <a:pt x="898" y="1029"/>
                    <a:pt x="898" y="1029"/>
                  </a:cubicBezTo>
                  <a:cubicBezTo>
                    <a:pt x="898" y="1029"/>
                    <a:pt x="898" y="1029"/>
                    <a:pt x="898" y="1029"/>
                  </a:cubicBezTo>
                  <a:cubicBezTo>
                    <a:pt x="898" y="1030"/>
                    <a:pt x="898" y="1030"/>
                    <a:pt x="898" y="1030"/>
                  </a:cubicBezTo>
                  <a:cubicBezTo>
                    <a:pt x="898" y="1030"/>
                    <a:pt x="898" y="1030"/>
                    <a:pt x="898" y="1030"/>
                  </a:cubicBezTo>
                  <a:cubicBezTo>
                    <a:pt x="898" y="1032"/>
                    <a:pt x="898" y="1032"/>
                    <a:pt x="898" y="1032"/>
                  </a:cubicBezTo>
                  <a:cubicBezTo>
                    <a:pt x="898" y="1032"/>
                    <a:pt x="898" y="1032"/>
                    <a:pt x="898" y="1032"/>
                  </a:cubicBezTo>
                  <a:cubicBezTo>
                    <a:pt x="899" y="1034"/>
                    <a:pt x="899" y="1034"/>
                    <a:pt x="899" y="1034"/>
                  </a:cubicBezTo>
                  <a:cubicBezTo>
                    <a:pt x="899" y="1035"/>
                    <a:pt x="899" y="1035"/>
                    <a:pt x="899" y="1035"/>
                  </a:cubicBezTo>
                  <a:cubicBezTo>
                    <a:pt x="899" y="1035"/>
                    <a:pt x="899" y="1035"/>
                    <a:pt x="899" y="1035"/>
                  </a:cubicBezTo>
                  <a:cubicBezTo>
                    <a:pt x="899" y="1036"/>
                    <a:pt x="899" y="1036"/>
                    <a:pt x="899" y="1036"/>
                  </a:cubicBezTo>
                  <a:cubicBezTo>
                    <a:pt x="898" y="1036"/>
                    <a:pt x="898" y="1036"/>
                    <a:pt x="898" y="1036"/>
                  </a:cubicBezTo>
                  <a:cubicBezTo>
                    <a:pt x="898" y="1036"/>
                    <a:pt x="898" y="1036"/>
                    <a:pt x="898" y="1036"/>
                  </a:cubicBezTo>
                  <a:cubicBezTo>
                    <a:pt x="898" y="1035"/>
                    <a:pt x="898" y="1035"/>
                    <a:pt x="898" y="1035"/>
                  </a:cubicBezTo>
                  <a:cubicBezTo>
                    <a:pt x="897" y="1033"/>
                    <a:pt x="897" y="1033"/>
                    <a:pt x="897" y="1033"/>
                  </a:cubicBezTo>
                  <a:cubicBezTo>
                    <a:pt x="897" y="1033"/>
                    <a:pt x="897" y="1033"/>
                    <a:pt x="897" y="1033"/>
                  </a:cubicBezTo>
                  <a:cubicBezTo>
                    <a:pt x="897" y="1032"/>
                    <a:pt x="897" y="1032"/>
                    <a:pt x="897" y="1032"/>
                  </a:cubicBezTo>
                  <a:cubicBezTo>
                    <a:pt x="898" y="1031"/>
                    <a:pt x="898" y="1031"/>
                    <a:pt x="898" y="1031"/>
                  </a:cubicBezTo>
                  <a:cubicBezTo>
                    <a:pt x="898" y="1030"/>
                    <a:pt x="898" y="1030"/>
                    <a:pt x="898" y="1030"/>
                  </a:cubicBezTo>
                  <a:cubicBezTo>
                    <a:pt x="898" y="1030"/>
                    <a:pt x="898" y="1030"/>
                    <a:pt x="898" y="1030"/>
                  </a:cubicBezTo>
                  <a:cubicBezTo>
                    <a:pt x="898" y="1028"/>
                    <a:pt x="898" y="1028"/>
                    <a:pt x="898" y="1028"/>
                  </a:cubicBezTo>
                  <a:cubicBezTo>
                    <a:pt x="898" y="1027"/>
                    <a:pt x="898" y="1027"/>
                    <a:pt x="898" y="1027"/>
                  </a:cubicBezTo>
                  <a:cubicBezTo>
                    <a:pt x="898" y="1027"/>
                    <a:pt x="898" y="1027"/>
                    <a:pt x="898" y="1027"/>
                  </a:cubicBezTo>
                  <a:cubicBezTo>
                    <a:pt x="898" y="1027"/>
                    <a:pt x="898" y="1027"/>
                    <a:pt x="898" y="1027"/>
                  </a:cubicBezTo>
                  <a:cubicBezTo>
                    <a:pt x="898" y="1026"/>
                    <a:pt x="898" y="1026"/>
                    <a:pt x="898" y="1026"/>
                  </a:cubicBezTo>
                  <a:cubicBezTo>
                    <a:pt x="897" y="1026"/>
                    <a:pt x="897" y="1026"/>
                    <a:pt x="897" y="1026"/>
                  </a:cubicBezTo>
                  <a:cubicBezTo>
                    <a:pt x="897" y="1026"/>
                    <a:pt x="897" y="1026"/>
                    <a:pt x="897" y="1026"/>
                  </a:cubicBezTo>
                  <a:cubicBezTo>
                    <a:pt x="897" y="1026"/>
                    <a:pt x="897" y="1026"/>
                    <a:pt x="897" y="1026"/>
                  </a:cubicBezTo>
                  <a:cubicBezTo>
                    <a:pt x="897" y="1027"/>
                    <a:pt x="897" y="1027"/>
                    <a:pt x="897" y="1027"/>
                  </a:cubicBezTo>
                  <a:cubicBezTo>
                    <a:pt x="896" y="1027"/>
                    <a:pt x="896" y="1027"/>
                    <a:pt x="896" y="1027"/>
                  </a:cubicBezTo>
                  <a:cubicBezTo>
                    <a:pt x="896" y="1027"/>
                    <a:pt x="896" y="1027"/>
                    <a:pt x="896" y="1027"/>
                  </a:cubicBezTo>
                  <a:cubicBezTo>
                    <a:pt x="895" y="1027"/>
                    <a:pt x="895" y="1027"/>
                    <a:pt x="895" y="1027"/>
                  </a:cubicBezTo>
                  <a:cubicBezTo>
                    <a:pt x="895" y="1027"/>
                    <a:pt x="895" y="1027"/>
                    <a:pt x="895" y="1027"/>
                  </a:cubicBezTo>
                  <a:cubicBezTo>
                    <a:pt x="895" y="1026"/>
                    <a:pt x="895" y="1026"/>
                    <a:pt x="895" y="1026"/>
                  </a:cubicBezTo>
                  <a:cubicBezTo>
                    <a:pt x="894" y="1025"/>
                    <a:pt x="894" y="1025"/>
                    <a:pt x="894" y="1025"/>
                  </a:cubicBezTo>
                  <a:cubicBezTo>
                    <a:pt x="894" y="1025"/>
                    <a:pt x="894" y="1025"/>
                    <a:pt x="894" y="1025"/>
                  </a:cubicBezTo>
                  <a:cubicBezTo>
                    <a:pt x="894" y="1025"/>
                    <a:pt x="894" y="1025"/>
                    <a:pt x="894" y="1025"/>
                  </a:cubicBezTo>
                  <a:cubicBezTo>
                    <a:pt x="894" y="1024"/>
                    <a:pt x="894" y="1024"/>
                    <a:pt x="894" y="1024"/>
                  </a:cubicBezTo>
                  <a:cubicBezTo>
                    <a:pt x="894" y="1024"/>
                    <a:pt x="894" y="1024"/>
                    <a:pt x="894" y="1024"/>
                  </a:cubicBezTo>
                  <a:cubicBezTo>
                    <a:pt x="893" y="1023"/>
                    <a:pt x="893" y="1023"/>
                    <a:pt x="893" y="1023"/>
                  </a:cubicBezTo>
                  <a:cubicBezTo>
                    <a:pt x="893" y="1023"/>
                    <a:pt x="893" y="1023"/>
                    <a:pt x="893" y="1023"/>
                  </a:cubicBezTo>
                  <a:cubicBezTo>
                    <a:pt x="893" y="1023"/>
                    <a:pt x="893" y="1023"/>
                    <a:pt x="893" y="1023"/>
                  </a:cubicBezTo>
                  <a:cubicBezTo>
                    <a:pt x="892" y="1023"/>
                    <a:pt x="892" y="1023"/>
                    <a:pt x="892" y="1023"/>
                  </a:cubicBezTo>
                  <a:cubicBezTo>
                    <a:pt x="892" y="1021"/>
                    <a:pt x="892" y="1021"/>
                    <a:pt x="892" y="1021"/>
                  </a:cubicBezTo>
                  <a:cubicBezTo>
                    <a:pt x="891" y="1020"/>
                    <a:pt x="891" y="1020"/>
                    <a:pt x="891" y="1020"/>
                  </a:cubicBezTo>
                  <a:cubicBezTo>
                    <a:pt x="891" y="1020"/>
                    <a:pt x="891" y="1020"/>
                    <a:pt x="891" y="1020"/>
                  </a:cubicBezTo>
                  <a:cubicBezTo>
                    <a:pt x="889" y="1020"/>
                    <a:pt x="889" y="1020"/>
                    <a:pt x="889" y="1020"/>
                  </a:cubicBezTo>
                  <a:cubicBezTo>
                    <a:pt x="889" y="1020"/>
                    <a:pt x="889" y="1020"/>
                    <a:pt x="889" y="1020"/>
                  </a:cubicBezTo>
                  <a:cubicBezTo>
                    <a:pt x="887" y="1018"/>
                    <a:pt x="887" y="1018"/>
                    <a:pt x="887" y="1018"/>
                  </a:cubicBezTo>
                  <a:cubicBezTo>
                    <a:pt x="887" y="1018"/>
                    <a:pt x="887" y="1018"/>
                    <a:pt x="887" y="1018"/>
                  </a:cubicBezTo>
                  <a:cubicBezTo>
                    <a:pt x="886" y="1017"/>
                    <a:pt x="886" y="1017"/>
                    <a:pt x="886" y="1017"/>
                  </a:cubicBezTo>
                  <a:cubicBezTo>
                    <a:pt x="885" y="1017"/>
                    <a:pt x="885" y="1017"/>
                    <a:pt x="885" y="1017"/>
                  </a:cubicBezTo>
                  <a:cubicBezTo>
                    <a:pt x="885" y="1016"/>
                    <a:pt x="885" y="1016"/>
                    <a:pt x="885" y="1016"/>
                  </a:cubicBezTo>
                  <a:cubicBezTo>
                    <a:pt x="884" y="1014"/>
                    <a:pt x="884" y="1014"/>
                    <a:pt x="884" y="1014"/>
                  </a:cubicBezTo>
                  <a:cubicBezTo>
                    <a:pt x="884" y="1014"/>
                    <a:pt x="884" y="1014"/>
                    <a:pt x="884" y="1014"/>
                  </a:cubicBezTo>
                  <a:cubicBezTo>
                    <a:pt x="882" y="1012"/>
                    <a:pt x="882" y="1012"/>
                    <a:pt x="882" y="1012"/>
                  </a:cubicBezTo>
                  <a:cubicBezTo>
                    <a:pt x="880" y="1010"/>
                    <a:pt x="880" y="1010"/>
                    <a:pt x="880" y="1010"/>
                  </a:cubicBezTo>
                  <a:cubicBezTo>
                    <a:pt x="880" y="1010"/>
                    <a:pt x="880" y="1010"/>
                    <a:pt x="880" y="1010"/>
                  </a:cubicBezTo>
                  <a:cubicBezTo>
                    <a:pt x="879" y="1010"/>
                    <a:pt x="879" y="1010"/>
                    <a:pt x="879" y="1010"/>
                  </a:cubicBezTo>
                  <a:cubicBezTo>
                    <a:pt x="879" y="1010"/>
                    <a:pt x="879" y="1010"/>
                    <a:pt x="879" y="1010"/>
                  </a:cubicBezTo>
                  <a:cubicBezTo>
                    <a:pt x="878" y="1010"/>
                    <a:pt x="878" y="1010"/>
                    <a:pt x="878" y="1010"/>
                  </a:cubicBezTo>
                  <a:cubicBezTo>
                    <a:pt x="878" y="1010"/>
                    <a:pt x="878" y="1010"/>
                    <a:pt x="878" y="1010"/>
                  </a:cubicBezTo>
                  <a:cubicBezTo>
                    <a:pt x="878" y="1010"/>
                    <a:pt x="878" y="1010"/>
                    <a:pt x="878" y="1010"/>
                  </a:cubicBezTo>
                  <a:cubicBezTo>
                    <a:pt x="877" y="1009"/>
                    <a:pt x="877" y="1009"/>
                    <a:pt x="877" y="1009"/>
                  </a:cubicBezTo>
                  <a:cubicBezTo>
                    <a:pt x="877" y="1009"/>
                    <a:pt x="877" y="1009"/>
                    <a:pt x="877" y="1009"/>
                  </a:cubicBezTo>
                  <a:cubicBezTo>
                    <a:pt x="876" y="1010"/>
                    <a:pt x="876" y="1010"/>
                    <a:pt x="876" y="1010"/>
                  </a:cubicBezTo>
                  <a:cubicBezTo>
                    <a:pt x="876" y="1010"/>
                    <a:pt x="876" y="1010"/>
                    <a:pt x="876" y="1010"/>
                  </a:cubicBezTo>
                  <a:cubicBezTo>
                    <a:pt x="874" y="1009"/>
                    <a:pt x="874" y="1009"/>
                    <a:pt x="874" y="1009"/>
                  </a:cubicBezTo>
                  <a:cubicBezTo>
                    <a:pt x="872" y="1009"/>
                    <a:pt x="872" y="1009"/>
                    <a:pt x="872" y="1009"/>
                  </a:cubicBezTo>
                  <a:cubicBezTo>
                    <a:pt x="871" y="1009"/>
                    <a:pt x="871" y="1009"/>
                    <a:pt x="871" y="1009"/>
                  </a:cubicBezTo>
                  <a:cubicBezTo>
                    <a:pt x="871" y="1010"/>
                    <a:pt x="871" y="1010"/>
                    <a:pt x="871" y="1010"/>
                  </a:cubicBezTo>
                  <a:cubicBezTo>
                    <a:pt x="868" y="1011"/>
                    <a:pt x="868" y="1011"/>
                    <a:pt x="868" y="1011"/>
                  </a:cubicBezTo>
                  <a:cubicBezTo>
                    <a:pt x="868" y="1011"/>
                    <a:pt x="868" y="1011"/>
                    <a:pt x="868" y="1011"/>
                  </a:cubicBezTo>
                  <a:cubicBezTo>
                    <a:pt x="866" y="1009"/>
                    <a:pt x="866" y="1009"/>
                    <a:pt x="866" y="1009"/>
                  </a:cubicBezTo>
                  <a:cubicBezTo>
                    <a:pt x="865" y="1009"/>
                    <a:pt x="865" y="1009"/>
                    <a:pt x="865" y="1009"/>
                  </a:cubicBezTo>
                  <a:cubicBezTo>
                    <a:pt x="865" y="1009"/>
                    <a:pt x="865" y="1009"/>
                    <a:pt x="865" y="1009"/>
                  </a:cubicBezTo>
                  <a:cubicBezTo>
                    <a:pt x="864" y="1009"/>
                    <a:pt x="864" y="1009"/>
                    <a:pt x="864" y="1009"/>
                  </a:cubicBezTo>
                  <a:lnTo>
                    <a:pt x="862" y="1009"/>
                  </a:lnTo>
                  <a:close/>
                  <a:moveTo>
                    <a:pt x="888" y="1203"/>
                  </a:moveTo>
                  <a:cubicBezTo>
                    <a:pt x="888" y="1202"/>
                    <a:pt x="888" y="1202"/>
                    <a:pt x="888" y="1202"/>
                  </a:cubicBezTo>
                  <a:cubicBezTo>
                    <a:pt x="888" y="1202"/>
                    <a:pt x="888" y="1202"/>
                    <a:pt x="888" y="1202"/>
                  </a:cubicBezTo>
                  <a:cubicBezTo>
                    <a:pt x="888" y="1202"/>
                    <a:pt x="888" y="1202"/>
                    <a:pt x="888" y="1202"/>
                  </a:cubicBezTo>
                  <a:cubicBezTo>
                    <a:pt x="888" y="1201"/>
                    <a:pt x="888" y="1201"/>
                    <a:pt x="888" y="1201"/>
                  </a:cubicBezTo>
                  <a:cubicBezTo>
                    <a:pt x="888" y="1201"/>
                    <a:pt x="888" y="1201"/>
                    <a:pt x="888" y="1201"/>
                  </a:cubicBezTo>
                  <a:cubicBezTo>
                    <a:pt x="888" y="1201"/>
                    <a:pt x="888" y="1201"/>
                    <a:pt x="888" y="1201"/>
                  </a:cubicBezTo>
                  <a:cubicBezTo>
                    <a:pt x="889" y="1202"/>
                    <a:pt x="889" y="1202"/>
                    <a:pt x="889" y="1202"/>
                  </a:cubicBezTo>
                  <a:cubicBezTo>
                    <a:pt x="889" y="1202"/>
                    <a:pt x="889" y="1202"/>
                    <a:pt x="889" y="1202"/>
                  </a:cubicBezTo>
                  <a:cubicBezTo>
                    <a:pt x="889" y="1202"/>
                    <a:pt x="889" y="1202"/>
                    <a:pt x="889" y="1202"/>
                  </a:cubicBezTo>
                  <a:cubicBezTo>
                    <a:pt x="889" y="1203"/>
                    <a:pt x="889" y="1203"/>
                    <a:pt x="889" y="1203"/>
                  </a:cubicBezTo>
                  <a:lnTo>
                    <a:pt x="888" y="1203"/>
                  </a:lnTo>
                  <a:close/>
                  <a:moveTo>
                    <a:pt x="887" y="1200"/>
                  </a:moveTo>
                  <a:cubicBezTo>
                    <a:pt x="887" y="1200"/>
                    <a:pt x="887" y="1200"/>
                    <a:pt x="887" y="1200"/>
                  </a:cubicBezTo>
                  <a:cubicBezTo>
                    <a:pt x="887" y="1200"/>
                    <a:pt x="887" y="1200"/>
                    <a:pt x="887" y="1200"/>
                  </a:cubicBezTo>
                  <a:cubicBezTo>
                    <a:pt x="887" y="1200"/>
                    <a:pt x="887" y="1200"/>
                    <a:pt x="887" y="1200"/>
                  </a:cubicBezTo>
                  <a:cubicBezTo>
                    <a:pt x="887" y="1200"/>
                    <a:pt x="887" y="1200"/>
                    <a:pt x="887" y="1200"/>
                  </a:cubicBezTo>
                  <a:close/>
                  <a:moveTo>
                    <a:pt x="889" y="1211"/>
                  </a:moveTo>
                  <a:cubicBezTo>
                    <a:pt x="890" y="1212"/>
                    <a:pt x="890" y="1212"/>
                    <a:pt x="890" y="1212"/>
                  </a:cubicBezTo>
                  <a:cubicBezTo>
                    <a:pt x="890" y="1213"/>
                    <a:pt x="890" y="1213"/>
                    <a:pt x="890" y="1213"/>
                  </a:cubicBezTo>
                  <a:cubicBezTo>
                    <a:pt x="889" y="1212"/>
                    <a:pt x="889" y="1212"/>
                    <a:pt x="889" y="1212"/>
                  </a:cubicBezTo>
                  <a:cubicBezTo>
                    <a:pt x="889" y="1211"/>
                    <a:pt x="889" y="1211"/>
                    <a:pt x="889" y="1211"/>
                  </a:cubicBezTo>
                  <a:close/>
                  <a:moveTo>
                    <a:pt x="885" y="1258"/>
                  </a:moveTo>
                  <a:cubicBezTo>
                    <a:pt x="886" y="1257"/>
                    <a:pt x="886" y="1257"/>
                    <a:pt x="886" y="1257"/>
                  </a:cubicBezTo>
                  <a:cubicBezTo>
                    <a:pt x="886" y="1257"/>
                    <a:pt x="886" y="1257"/>
                    <a:pt x="886" y="1257"/>
                  </a:cubicBezTo>
                  <a:cubicBezTo>
                    <a:pt x="887" y="1257"/>
                    <a:pt x="887" y="1257"/>
                    <a:pt x="887" y="1257"/>
                  </a:cubicBezTo>
                  <a:cubicBezTo>
                    <a:pt x="887" y="1257"/>
                    <a:pt x="887" y="1257"/>
                    <a:pt x="887" y="1257"/>
                  </a:cubicBezTo>
                  <a:cubicBezTo>
                    <a:pt x="887" y="1257"/>
                    <a:pt x="887" y="1257"/>
                    <a:pt x="887" y="1257"/>
                  </a:cubicBezTo>
                  <a:cubicBezTo>
                    <a:pt x="887" y="1257"/>
                    <a:pt x="887" y="1257"/>
                    <a:pt x="887" y="1257"/>
                  </a:cubicBezTo>
                  <a:cubicBezTo>
                    <a:pt x="887" y="1258"/>
                    <a:pt x="887" y="1258"/>
                    <a:pt x="887" y="1258"/>
                  </a:cubicBezTo>
                  <a:cubicBezTo>
                    <a:pt x="886" y="1258"/>
                    <a:pt x="886" y="1258"/>
                    <a:pt x="886" y="1258"/>
                  </a:cubicBezTo>
                  <a:cubicBezTo>
                    <a:pt x="885" y="1258"/>
                    <a:pt x="885" y="1258"/>
                    <a:pt x="885" y="1258"/>
                  </a:cubicBezTo>
                  <a:close/>
                  <a:moveTo>
                    <a:pt x="892" y="1216"/>
                  </a:moveTo>
                  <a:cubicBezTo>
                    <a:pt x="892" y="1216"/>
                    <a:pt x="892" y="1216"/>
                    <a:pt x="892" y="1216"/>
                  </a:cubicBezTo>
                  <a:cubicBezTo>
                    <a:pt x="891" y="1216"/>
                    <a:pt x="891" y="1216"/>
                    <a:pt x="891" y="1216"/>
                  </a:cubicBezTo>
                  <a:cubicBezTo>
                    <a:pt x="891" y="1216"/>
                    <a:pt x="891" y="1216"/>
                    <a:pt x="891" y="1216"/>
                  </a:cubicBezTo>
                  <a:cubicBezTo>
                    <a:pt x="891" y="1216"/>
                    <a:pt x="891" y="1216"/>
                    <a:pt x="891" y="1216"/>
                  </a:cubicBezTo>
                  <a:cubicBezTo>
                    <a:pt x="891" y="1216"/>
                    <a:pt x="891" y="1216"/>
                    <a:pt x="891" y="1216"/>
                  </a:cubicBezTo>
                  <a:cubicBezTo>
                    <a:pt x="891" y="1215"/>
                    <a:pt x="891" y="1215"/>
                    <a:pt x="891" y="1215"/>
                  </a:cubicBezTo>
                  <a:cubicBezTo>
                    <a:pt x="890" y="1215"/>
                    <a:pt x="890" y="1215"/>
                    <a:pt x="890" y="1215"/>
                  </a:cubicBezTo>
                  <a:cubicBezTo>
                    <a:pt x="891" y="1215"/>
                    <a:pt x="891" y="1215"/>
                    <a:pt x="891" y="1215"/>
                  </a:cubicBezTo>
                  <a:cubicBezTo>
                    <a:pt x="891" y="1215"/>
                    <a:pt x="891" y="1215"/>
                    <a:pt x="891" y="1215"/>
                  </a:cubicBezTo>
                  <a:cubicBezTo>
                    <a:pt x="891" y="1215"/>
                    <a:pt x="891" y="1215"/>
                    <a:pt x="891" y="1215"/>
                  </a:cubicBezTo>
                  <a:cubicBezTo>
                    <a:pt x="892" y="1215"/>
                    <a:pt x="892" y="1215"/>
                    <a:pt x="892" y="1215"/>
                  </a:cubicBezTo>
                  <a:cubicBezTo>
                    <a:pt x="892" y="1215"/>
                    <a:pt x="892" y="1215"/>
                    <a:pt x="892" y="1215"/>
                  </a:cubicBezTo>
                  <a:cubicBezTo>
                    <a:pt x="892" y="1215"/>
                    <a:pt x="892" y="1215"/>
                    <a:pt x="892" y="1215"/>
                  </a:cubicBezTo>
                  <a:cubicBezTo>
                    <a:pt x="893" y="1216"/>
                    <a:pt x="893" y="1216"/>
                    <a:pt x="893" y="1216"/>
                  </a:cubicBezTo>
                  <a:cubicBezTo>
                    <a:pt x="893" y="1217"/>
                    <a:pt x="893" y="1217"/>
                    <a:pt x="893" y="1217"/>
                  </a:cubicBezTo>
                  <a:cubicBezTo>
                    <a:pt x="893" y="1217"/>
                    <a:pt x="893" y="1217"/>
                    <a:pt x="893" y="1217"/>
                  </a:cubicBezTo>
                  <a:cubicBezTo>
                    <a:pt x="892" y="1217"/>
                    <a:pt x="892" y="1217"/>
                    <a:pt x="892" y="1217"/>
                  </a:cubicBezTo>
                  <a:lnTo>
                    <a:pt x="892" y="1216"/>
                  </a:lnTo>
                  <a:close/>
                  <a:moveTo>
                    <a:pt x="893" y="1185"/>
                  </a:moveTo>
                  <a:cubicBezTo>
                    <a:pt x="893" y="1185"/>
                    <a:pt x="893" y="1185"/>
                    <a:pt x="893" y="1185"/>
                  </a:cubicBezTo>
                  <a:cubicBezTo>
                    <a:pt x="893" y="1185"/>
                    <a:pt x="893" y="1185"/>
                    <a:pt x="893" y="1185"/>
                  </a:cubicBezTo>
                  <a:cubicBezTo>
                    <a:pt x="893" y="1185"/>
                    <a:pt x="893" y="1185"/>
                    <a:pt x="893" y="1185"/>
                  </a:cubicBezTo>
                  <a:cubicBezTo>
                    <a:pt x="893" y="1185"/>
                    <a:pt x="893" y="1185"/>
                    <a:pt x="893" y="1185"/>
                  </a:cubicBezTo>
                  <a:cubicBezTo>
                    <a:pt x="894" y="1185"/>
                    <a:pt x="894" y="1185"/>
                    <a:pt x="894" y="1185"/>
                  </a:cubicBezTo>
                  <a:cubicBezTo>
                    <a:pt x="894" y="1184"/>
                    <a:pt x="894" y="1184"/>
                    <a:pt x="894" y="1184"/>
                  </a:cubicBezTo>
                  <a:cubicBezTo>
                    <a:pt x="894" y="1184"/>
                    <a:pt x="894" y="1184"/>
                    <a:pt x="894" y="1184"/>
                  </a:cubicBezTo>
                  <a:cubicBezTo>
                    <a:pt x="894" y="1184"/>
                    <a:pt x="894" y="1184"/>
                    <a:pt x="894" y="1184"/>
                  </a:cubicBezTo>
                  <a:cubicBezTo>
                    <a:pt x="894" y="1184"/>
                    <a:pt x="894" y="1184"/>
                    <a:pt x="894" y="1184"/>
                  </a:cubicBezTo>
                  <a:cubicBezTo>
                    <a:pt x="894" y="1184"/>
                    <a:pt x="894" y="1184"/>
                    <a:pt x="894" y="1184"/>
                  </a:cubicBezTo>
                  <a:cubicBezTo>
                    <a:pt x="894" y="1185"/>
                    <a:pt x="894" y="1185"/>
                    <a:pt x="894" y="1185"/>
                  </a:cubicBezTo>
                  <a:lnTo>
                    <a:pt x="893" y="1185"/>
                  </a:lnTo>
                  <a:close/>
                  <a:moveTo>
                    <a:pt x="908" y="1171"/>
                  </a:moveTo>
                  <a:cubicBezTo>
                    <a:pt x="908" y="1171"/>
                    <a:pt x="908" y="1171"/>
                    <a:pt x="908" y="1171"/>
                  </a:cubicBezTo>
                  <a:cubicBezTo>
                    <a:pt x="909" y="1172"/>
                    <a:pt x="909" y="1172"/>
                    <a:pt x="909" y="1172"/>
                  </a:cubicBezTo>
                  <a:cubicBezTo>
                    <a:pt x="910" y="1173"/>
                    <a:pt x="910" y="1173"/>
                    <a:pt x="910" y="1173"/>
                  </a:cubicBezTo>
                  <a:cubicBezTo>
                    <a:pt x="911" y="1174"/>
                    <a:pt x="911" y="1174"/>
                    <a:pt x="911" y="1174"/>
                  </a:cubicBezTo>
                  <a:cubicBezTo>
                    <a:pt x="911" y="1175"/>
                    <a:pt x="911" y="1175"/>
                    <a:pt x="911" y="1175"/>
                  </a:cubicBezTo>
                  <a:cubicBezTo>
                    <a:pt x="912" y="1175"/>
                    <a:pt x="912" y="1175"/>
                    <a:pt x="912" y="1175"/>
                  </a:cubicBezTo>
                  <a:cubicBezTo>
                    <a:pt x="912" y="1175"/>
                    <a:pt x="912" y="1175"/>
                    <a:pt x="912" y="1175"/>
                  </a:cubicBezTo>
                  <a:cubicBezTo>
                    <a:pt x="911" y="1175"/>
                    <a:pt x="911" y="1175"/>
                    <a:pt x="911" y="1175"/>
                  </a:cubicBezTo>
                  <a:cubicBezTo>
                    <a:pt x="910" y="1175"/>
                    <a:pt x="910" y="1175"/>
                    <a:pt x="910" y="1175"/>
                  </a:cubicBezTo>
                  <a:cubicBezTo>
                    <a:pt x="910" y="1175"/>
                    <a:pt x="910" y="1175"/>
                    <a:pt x="910" y="1175"/>
                  </a:cubicBezTo>
                  <a:cubicBezTo>
                    <a:pt x="910" y="1174"/>
                    <a:pt x="910" y="1174"/>
                    <a:pt x="910" y="1174"/>
                  </a:cubicBezTo>
                  <a:cubicBezTo>
                    <a:pt x="909" y="1174"/>
                    <a:pt x="909" y="1174"/>
                    <a:pt x="909" y="1174"/>
                  </a:cubicBezTo>
                  <a:cubicBezTo>
                    <a:pt x="909" y="1173"/>
                    <a:pt x="909" y="1173"/>
                    <a:pt x="909" y="1173"/>
                  </a:cubicBezTo>
                  <a:cubicBezTo>
                    <a:pt x="908" y="1172"/>
                    <a:pt x="908" y="1172"/>
                    <a:pt x="908" y="1172"/>
                  </a:cubicBezTo>
                  <a:cubicBezTo>
                    <a:pt x="907" y="1172"/>
                    <a:pt x="907" y="1172"/>
                    <a:pt x="907" y="1172"/>
                  </a:cubicBezTo>
                  <a:lnTo>
                    <a:pt x="908" y="1171"/>
                  </a:lnTo>
                  <a:close/>
                  <a:moveTo>
                    <a:pt x="932" y="1166"/>
                  </a:moveTo>
                  <a:cubicBezTo>
                    <a:pt x="932" y="1166"/>
                    <a:pt x="932" y="1166"/>
                    <a:pt x="932" y="1166"/>
                  </a:cubicBezTo>
                  <a:cubicBezTo>
                    <a:pt x="934" y="1167"/>
                    <a:pt x="934" y="1167"/>
                    <a:pt x="934" y="1167"/>
                  </a:cubicBezTo>
                  <a:cubicBezTo>
                    <a:pt x="934" y="1167"/>
                    <a:pt x="934" y="1167"/>
                    <a:pt x="934" y="1167"/>
                  </a:cubicBezTo>
                  <a:cubicBezTo>
                    <a:pt x="933" y="1166"/>
                    <a:pt x="933" y="1166"/>
                    <a:pt x="933" y="1166"/>
                  </a:cubicBezTo>
                  <a:cubicBezTo>
                    <a:pt x="932" y="1166"/>
                    <a:pt x="932" y="1166"/>
                    <a:pt x="932" y="1166"/>
                  </a:cubicBezTo>
                  <a:close/>
                  <a:moveTo>
                    <a:pt x="1058" y="1201"/>
                  </a:moveTo>
                  <a:cubicBezTo>
                    <a:pt x="1058" y="1201"/>
                    <a:pt x="1058" y="1201"/>
                    <a:pt x="1058" y="1201"/>
                  </a:cubicBezTo>
                  <a:cubicBezTo>
                    <a:pt x="1057" y="1200"/>
                    <a:pt x="1057" y="1200"/>
                    <a:pt x="1057" y="1200"/>
                  </a:cubicBezTo>
                  <a:cubicBezTo>
                    <a:pt x="1057" y="1200"/>
                    <a:pt x="1057" y="1200"/>
                    <a:pt x="1057" y="1200"/>
                  </a:cubicBezTo>
                  <a:cubicBezTo>
                    <a:pt x="1058" y="1200"/>
                    <a:pt x="1058" y="1200"/>
                    <a:pt x="1058" y="1200"/>
                  </a:cubicBezTo>
                  <a:cubicBezTo>
                    <a:pt x="1058" y="1201"/>
                    <a:pt x="1058" y="1201"/>
                    <a:pt x="1058" y="1201"/>
                  </a:cubicBezTo>
                  <a:cubicBezTo>
                    <a:pt x="1058" y="1201"/>
                    <a:pt x="1058" y="1201"/>
                    <a:pt x="1058" y="1201"/>
                  </a:cubicBezTo>
                  <a:cubicBezTo>
                    <a:pt x="1058" y="1201"/>
                    <a:pt x="1058" y="1201"/>
                    <a:pt x="1058" y="1201"/>
                  </a:cubicBezTo>
                  <a:cubicBezTo>
                    <a:pt x="1058" y="1201"/>
                    <a:pt x="1058" y="1201"/>
                    <a:pt x="1058" y="1201"/>
                  </a:cubicBezTo>
                  <a:close/>
                  <a:moveTo>
                    <a:pt x="1085" y="1092"/>
                  </a:moveTo>
                  <a:cubicBezTo>
                    <a:pt x="1087" y="1094"/>
                    <a:pt x="1087" y="1094"/>
                    <a:pt x="1087" y="1094"/>
                  </a:cubicBezTo>
                  <a:cubicBezTo>
                    <a:pt x="1085" y="1093"/>
                    <a:pt x="1085" y="1093"/>
                    <a:pt x="1085" y="1093"/>
                  </a:cubicBezTo>
                  <a:cubicBezTo>
                    <a:pt x="1085" y="1093"/>
                    <a:pt x="1085" y="1093"/>
                    <a:pt x="1085" y="1093"/>
                  </a:cubicBezTo>
                  <a:lnTo>
                    <a:pt x="1085" y="1092"/>
                  </a:lnTo>
                  <a:close/>
                  <a:moveTo>
                    <a:pt x="1089" y="1094"/>
                  </a:moveTo>
                  <a:cubicBezTo>
                    <a:pt x="1089" y="1094"/>
                    <a:pt x="1089" y="1094"/>
                    <a:pt x="1089" y="1094"/>
                  </a:cubicBezTo>
                  <a:cubicBezTo>
                    <a:pt x="1089" y="1094"/>
                    <a:pt x="1089" y="1094"/>
                    <a:pt x="1089" y="1094"/>
                  </a:cubicBezTo>
                  <a:close/>
                  <a:moveTo>
                    <a:pt x="1116" y="1032"/>
                  </a:moveTo>
                  <a:cubicBezTo>
                    <a:pt x="1117" y="1032"/>
                    <a:pt x="1117" y="1032"/>
                    <a:pt x="1117" y="1032"/>
                  </a:cubicBezTo>
                  <a:cubicBezTo>
                    <a:pt x="1118" y="1033"/>
                    <a:pt x="1118" y="1033"/>
                    <a:pt x="1118" y="1033"/>
                  </a:cubicBezTo>
                  <a:cubicBezTo>
                    <a:pt x="1118" y="1033"/>
                    <a:pt x="1118" y="1033"/>
                    <a:pt x="1118" y="1033"/>
                  </a:cubicBezTo>
                  <a:cubicBezTo>
                    <a:pt x="1118" y="1033"/>
                    <a:pt x="1118" y="1033"/>
                    <a:pt x="1118" y="1033"/>
                  </a:cubicBezTo>
                  <a:cubicBezTo>
                    <a:pt x="1116" y="1032"/>
                    <a:pt x="1116" y="1032"/>
                    <a:pt x="1116" y="1032"/>
                  </a:cubicBezTo>
                  <a:close/>
                  <a:moveTo>
                    <a:pt x="1120" y="1038"/>
                  </a:moveTo>
                  <a:cubicBezTo>
                    <a:pt x="1121" y="1038"/>
                    <a:pt x="1121" y="1038"/>
                    <a:pt x="1121" y="1038"/>
                  </a:cubicBezTo>
                  <a:cubicBezTo>
                    <a:pt x="1122" y="1038"/>
                    <a:pt x="1122" y="1038"/>
                    <a:pt x="1122" y="1038"/>
                  </a:cubicBezTo>
                  <a:cubicBezTo>
                    <a:pt x="1122" y="1039"/>
                    <a:pt x="1122" y="1039"/>
                    <a:pt x="1122" y="1039"/>
                  </a:cubicBezTo>
                  <a:cubicBezTo>
                    <a:pt x="1121" y="1038"/>
                    <a:pt x="1121" y="1038"/>
                    <a:pt x="1121" y="1038"/>
                  </a:cubicBezTo>
                  <a:cubicBezTo>
                    <a:pt x="1120" y="1038"/>
                    <a:pt x="1120" y="1038"/>
                    <a:pt x="1120" y="1038"/>
                  </a:cubicBezTo>
                  <a:cubicBezTo>
                    <a:pt x="1120" y="1038"/>
                    <a:pt x="1120" y="1038"/>
                    <a:pt x="1120" y="1038"/>
                  </a:cubicBezTo>
                  <a:close/>
                  <a:moveTo>
                    <a:pt x="1155" y="995"/>
                  </a:moveTo>
                  <a:cubicBezTo>
                    <a:pt x="1155" y="994"/>
                    <a:pt x="1155" y="994"/>
                    <a:pt x="1155" y="994"/>
                  </a:cubicBezTo>
                  <a:cubicBezTo>
                    <a:pt x="1156" y="994"/>
                    <a:pt x="1156" y="994"/>
                    <a:pt x="1156" y="994"/>
                  </a:cubicBezTo>
                  <a:cubicBezTo>
                    <a:pt x="1156" y="993"/>
                    <a:pt x="1156" y="993"/>
                    <a:pt x="1156" y="993"/>
                  </a:cubicBezTo>
                  <a:cubicBezTo>
                    <a:pt x="1156" y="994"/>
                    <a:pt x="1156" y="994"/>
                    <a:pt x="1156" y="994"/>
                  </a:cubicBezTo>
                  <a:cubicBezTo>
                    <a:pt x="1156" y="994"/>
                    <a:pt x="1156" y="994"/>
                    <a:pt x="1156" y="994"/>
                  </a:cubicBezTo>
                  <a:cubicBezTo>
                    <a:pt x="1156" y="994"/>
                    <a:pt x="1156" y="994"/>
                    <a:pt x="1156" y="994"/>
                  </a:cubicBezTo>
                  <a:cubicBezTo>
                    <a:pt x="1154" y="996"/>
                    <a:pt x="1154" y="996"/>
                    <a:pt x="1154" y="996"/>
                  </a:cubicBezTo>
                  <a:cubicBezTo>
                    <a:pt x="1154" y="996"/>
                    <a:pt x="1154" y="996"/>
                    <a:pt x="1154" y="996"/>
                  </a:cubicBezTo>
                  <a:cubicBezTo>
                    <a:pt x="1154" y="996"/>
                    <a:pt x="1154" y="996"/>
                    <a:pt x="1154" y="996"/>
                  </a:cubicBezTo>
                  <a:lnTo>
                    <a:pt x="1155" y="995"/>
                  </a:lnTo>
                  <a:close/>
                  <a:moveTo>
                    <a:pt x="1172" y="548"/>
                  </a:moveTo>
                  <a:cubicBezTo>
                    <a:pt x="1174" y="548"/>
                    <a:pt x="1174" y="548"/>
                    <a:pt x="1174" y="548"/>
                  </a:cubicBezTo>
                  <a:cubicBezTo>
                    <a:pt x="1177" y="549"/>
                    <a:pt x="1177" y="549"/>
                    <a:pt x="1177" y="549"/>
                  </a:cubicBezTo>
                  <a:cubicBezTo>
                    <a:pt x="1176" y="550"/>
                    <a:pt x="1176" y="550"/>
                    <a:pt x="1176" y="550"/>
                  </a:cubicBezTo>
                  <a:cubicBezTo>
                    <a:pt x="1175" y="550"/>
                    <a:pt x="1175" y="550"/>
                    <a:pt x="1175" y="550"/>
                  </a:cubicBezTo>
                  <a:cubicBezTo>
                    <a:pt x="1171" y="549"/>
                    <a:pt x="1171" y="549"/>
                    <a:pt x="1171" y="549"/>
                  </a:cubicBezTo>
                  <a:cubicBezTo>
                    <a:pt x="1170" y="549"/>
                    <a:pt x="1170" y="549"/>
                    <a:pt x="1170" y="549"/>
                  </a:cubicBezTo>
                  <a:cubicBezTo>
                    <a:pt x="1171" y="548"/>
                    <a:pt x="1171" y="548"/>
                    <a:pt x="1171" y="548"/>
                  </a:cubicBezTo>
                  <a:lnTo>
                    <a:pt x="1172" y="548"/>
                  </a:lnTo>
                  <a:close/>
                  <a:moveTo>
                    <a:pt x="1165" y="552"/>
                  </a:moveTo>
                  <a:cubicBezTo>
                    <a:pt x="1166" y="552"/>
                    <a:pt x="1166" y="552"/>
                    <a:pt x="1166" y="552"/>
                  </a:cubicBezTo>
                  <a:cubicBezTo>
                    <a:pt x="1166" y="553"/>
                    <a:pt x="1166" y="553"/>
                    <a:pt x="1166" y="553"/>
                  </a:cubicBezTo>
                  <a:cubicBezTo>
                    <a:pt x="1165" y="553"/>
                    <a:pt x="1165" y="553"/>
                    <a:pt x="1165" y="553"/>
                  </a:cubicBezTo>
                  <a:cubicBezTo>
                    <a:pt x="1164" y="553"/>
                    <a:pt x="1164" y="553"/>
                    <a:pt x="1164" y="553"/>
                  </a:cubicBezTo>
                  <a:cubicBezTo>
                    <a:pt x="1165" y="552"/>
                    <a:pt x="1165" y="552"/>
                    <a:pt x="1165" y="552"/>
                  </a:cubicBezTo>
                  <a:close/>
                  <a:moveTo>
                    <a:pt x="1144" y="539"/>
                  </a:moveTo>
                  <a:cubicBezTo>
                    <a:pt x="1145" y="539"/>
                    <a:pt x="1145" y="539"/>
                    <a:pt x="1145" y="539"/>
                  </a:cubicBezTo>
                  <a:cubicBezTo>
                    <a:pt x="1147" y="539"/>
                    <a:pt x="1147" y="539"/>
                    <a:pt x="1147" y="539"/>
                  </a:cubicBezTo>
                  <a:cubicBezTo>
                    <a:pt x="1148" y="539"/>
                    <a:pt x="1148" y="539"/>
                    <a:pt x="1148" y="539"/>
                  </a:cubicBezTo>
                  <a:cubicBezTo>
                    <a:pt x="1150" y="541"/>
                    <a:pt x="1150" y="541"/>
                    <a:pt x="1150" y="541"/>
                  </a:cubicBezTo>
                  <a:cubicBezTo>
                    <a:pt x="1151" y="541"/>
                    <a:pt x="1151" y="541"/>
                    <a:pt x="1151" y="541"/>
                  </a:cubicBezTo>
                  <a:cubicBezTo>
                    <a:pt x="1155" y="543"/>
                    <a:pt x="1155" y="543"/>
                    <a:pt x="1155" y="543"/>
                  </a:cubicBezTo>
                  <a:cubicBezTo>
                    <a:pt x="1156" y="543"/>
                    <a:pt x="1156" y="543"/>
                    <a:pt x="1156" y="543"/>
                  </a:cubicBezTo>
                  <a:cubicBezTo>
                    <a:pt x="1156" y="543"/>
                    <a:pt x="1156" y="543"/>
                    <a:pt x="1156" y="543"/>
                  </a:cubicBezTo>
                  <a:cubicBezTo>
                    <a:pt x="1157" y="544"/>
                    <a:pt x="1157" y="544"/>
                    <a:pt x="1157" y="544"/>
                  </a:cubicBezTo>
                  <a:cubicBezTo>
                    <a:pt x="1157" y="545"/>
                    <a:pt x="1157" y="545"/>
                    <a:pt x="1157" y="545"/>
                  </a:cubicBezTo>
                  <a:cubicBezTo>
                    <a:pt x="1157" y="545"/>
                    <a:pt x="1157" y="545"/>
                    <a:pt x="1157" y="545"/>
                  </a:cubicBezTo>
                  <a:cubicBezTo>
                    <a:pt x="1157" y="545"/>
                    <a:pt x="1157" y="545"/>
                    <a:pt x="1157" y="545"/>
                  </a:cubicBezTo>
                  <a:cubicBezTo>
                    <a:pt x="1157" y="545"/>
                    <a:pt x="1157" y="545"/>
                    <a:pt x="1157" y="545"/>
                  </a:cubicBezTo>
                  <a:cubicBezTo>
                    <a:pt x="1157" y="545"/>
                    <a:pt x="1157" y="545"/>
                    <a:pt x="1157" y="545"/>
                  </a:cubicBezTo>
                  <a:cubicBezTo>
                    <a:pt x="1157" y="546"/>
                    <a:pt x="1157" y="546"/>
                    <a:pt x="1157" y="546"/>
                  </a:cubicBezTo>
                  <a:cubicBezTo>
                    <a:pt x="1156" y="546"/>
                    <a:pt x="1156" y="546"/>
                    <a:pt x="1156" y="546"/>
                  </a:cubicBezTo>
                  <a:cubicBezTo>
                    <a:pt x="1156" y="546"/>
                    <a:pt x="1156" y="546"/>
                    <a:pt x="1156" y="546"/>
                  </a:cubicBezTo>
                  <a:cubicBezTo>
                    <a:pt x="1156" y="546"/>
                    <a:pt x="1156" y="546"/>
                    <a:pt x="1156" y="546"/>
                  </a:cubicBezTo>
                  <a:cubicBezTo>
                    <a:pt x="1156" y="547"/>
                    <a:pt x="1156" y="547"/>
                    <a:pt x="1156" y="547"/>
                  </a:cubicBezTo>
                  <a:cubicBezTo>
                    <a:pt x="1155" y="547"/>
                    <a:pt x="1155" y="547"/>
                    <a:pt x="1155" y="547"/>
                  </a:cubicBezTo>
                  <a:cubicBezTo>
                    <a:pt x="1155" y="548"/>
                    <a:pt x="1155" y="548"/>
                    <a:pt x="1155" y="548"/>
                  </a:cubicBezTo>
                  <a:cubicBezTo>
                    <a:pt x="1155" y="549"/>
                    <a:pt x="1155" y="549"/>
                    <a:pt x="1155" y="549"/>
                  </a:cubicBezTo>
                  <a:cubicBezTo>
                    <a:pt x="1154" y="551"/>
                    <a:pt x="1154" y="551"/>
                    <a:pt x="1154" y="551"/>
                  </a:cubicBezTo>
                  <a:cubicBezTo>
                    <a:pt x="1154" y="551"/>
                    <a:pt x="1154" y="551"/>
                    <a:pt x="1154" y="551"/>
                  </a:cubicBezTo>
                  <a:cubicBezTo>
                    <a:pt x="1154" y="553"/>
                    <a:pt x="1154" y="553"/>
                    <a:pt x="1154" y="553"/>
                  </a:cubicBezTo>
                  <a:cubicBezTo>
                    <a:pt x="1155" y="553"/>
                    <a:pt x="1155" y="553"/>
                    <a:pt x="1155" y="553"/>
                  </a:cubicBezTo>
                  <a:cubicBezTo>
                    <a:pt x="1156" y="555"/>
                    <a:pt x="1156" y="555"/>
                    <a:pt x="1156" y="555"/>
                  </a:cubicBezTo>
                  <a:cubicBezTo>
                    <a:pt x="1158" y="557"/>
                    <a:pt x="1158" y="557"/>
                    <a:pt x="1158" y="557"/>
                  </a:cubicBezTo>
                  <a:cubicBezTo>
                    <a:pt x="1157" y="558"/>
                    <a:pt x="1157" y="558"/>
                    <a:pt x="1157" y="558"/>
                  </a:cubicBezTo>
                  <a:cubicBezTo>
                    <a:pt x="1156" y="558"/>
                    <a:pt x="1156" y="558"/>
                    <a:pt x="1156" y="558"/>
                  </a:cubicBezTo>
                  <a:cubicBezTo>
                    <a:pt x="1156" y="557"/>
                    <a:pt x="1156" y="557"/>
                    <a:pt x="1156" y="557"/>
                  </a:cubicBezTo>
                  <a:cubicBezTo>
                    <a:pt x="1154" y="555"/>
                    <a:pt x="1154" y="555"/>
                    <a:pt x="1154" y="555"/>
                  </a:cubicBezTo>
                  <a:cubicBezTo>
                    <a:pt x="1153" y="554"/>
                    <a:pt x="1153" y="554"/>
                    <a:pt x="1153" y="554"/>
                  </a:cubicBezTo>
                  <a:cubicBezTo>
                    <a:pt x="1152" y="553"/>
                    <a:pt x="1152" y="553"/>
                    <a:pt x="1152" y="553"/>
                  </a:cubicBezTo>
                  <a:cubicBezTo>
                    <a:pt x="1152" y="552"/>
                    <a:pt x="1152" y="552"/>
                    <a:pt x="1152" y="552"/>
                  </a:cubicBezTo>
                  <a:cubicBezTo>
                    <a:pt x="1152" y="551"/>
                    <a:pt x="1152" y="551"/>
                    <a:pt x="1152" y="551"/>
                  </a:cubicBezTo>
                  <a:cubicBezTo>
                    <a:pt x="1153" y="550"/>
                    <a:pt x="1153" y="550"/>
                    <a:pt x="1153" y="550"/>
                  </a:cubicBezTo>
                  <a:cubicBezTo>
                    <a:pt x="1153" y="549"/>
                    <a:pt x="1153" y="549"/>
                    <a:pt x="1153" y="549"/>
                  </a:cubicBezTo>
                  <a:cubicBezTo>
                    <a:pt x="1153" y="548"/>
                    <a:pt x="1153" y="548"/>
                    <a:pt x="1153" y="548"/>
                  </a:cubicBezTo>
                  <a:cubicBezTo>
                    <a:pt x="1153" y="547"/>
                    <a:pt x="1153" y="547"/>
                    <a:pt x="1153" y="547"/>
                  </a:cubicBezTo>
                  <a:cubicBezTo>
                    <a:pt x="1154" y="547"/>
                    <a:pt x="1154" y="547"/>
                    <a:pt x="1154" y="547"/>
                  </a:cubicBezTo>
                  <a:cubicBezTo>
                    <a:pt x="1154" y="547"/>
                    <a:pt x="1154" y="547"/>
                    <a:pt x="1154" y="547"/>
                  </a:cubicBezTo>
                  <a:cubicBezTo>
                    <a:pt x="1154" y="547"/>
                    <a:pt x="1154" y="547"/>
                    <a:pt x="1154" y="547"/>
                  </a:cubicBezTo>
                  <a:cubicBezTo>
                    <a:pt x="1154" y="546"/>
                    <a:pt x="1154" y="546"/>
                    <a:pt x="1154" y="546"/>
                  </a:cubicBezTo>
                  <a:cubicBezTo>
                    <a:pt x="1155" y="546"/>
                    <a:pt x="1155" y="546"/>
                    <a:pt x="1155" y="546"/>
                  </a:cubicBezTo>
                  <a:cubicBezTo>
                    <a:pt x="1155" y="546"/>
                    <a:pt x="1155" y="546"/>
                    <a:pt x="1155" y="546"/>
                  </a:cubicBezTo>
                  <a:cubicBezTo>
                    <a:pt x="1155" y="546"/>
                    <a:pt x="1155" y="546"/>
                    <a:pt x="1155" y="546"/>
                  </a:cubicBezTo>
                  <a:cubicBezTo>
                    <a:pt x="1155" y="546"/>
                    <a:pt x="1155" y="546"/>
                    <a:pt x="1155" y="546"/>
                  </a:cubicBezTo>
                  <a:cubicBezTo>
                    <a:pt x="1155" y="545"/>
                    <a:pt x="1155" y="545"/>
                    <a:pt x="1155" y="545"/>
                  </a:cubicBezTo>
                  <a:cubicBezTo>
                    <a:pt x="1155" y="545"/>
                    <a:pt x="1155" y="545"/>
                    <a:pt x="1155" y="545"/>
                  </a:cubicBezTo>
                  <a:cubicBezTo>
                    <a:pt x="1154" y="544"/>
                    <a:pt x="1154" y="544"/>
                    <a:pt x="1154" y="544"/>
                  </a:cubicBezTo>
                  <a:cubicBezTo>
                    <a:pt x="1154" y="544"/>
                    <a:pt x="1154" y="544"/>
                    <a:pt x="1154" y="544"/>
                  </a:cubicBezTo>
                  <a:cubicBezTo>
                    <a:pt x="1153" y="543"/>
                    <a:pt x="1153" y="543"/>
                    <a:pt x="1153" y="543"/>
                  </a:cubicBezTo>
                  <a:cubicBezTo>
                    <a:pt x="1148" y="542"/>
                    <a:pt x="1148" y="542"/>
                    <a:pt x="1148" y="542"/>
                  </a:cubicBezTo>
                  <a:cubicBezTo>
                    <a:pt x="1148" y="541"/>
                    <a:pt x="1148" y="541"/>
                    <a:pt x="1148" y="541"/>
                  </a:cubicBezTo>
                  <a:cubicBezTo>
                    <a:pt x="1146" y="540"/>
                    <a:pt x="1146" y="540"/>
                    <a:pt x="1146" y="540"/>
                  </a:cubicBezTo>
                  <a:cubicBezTo>
                    <a:pt x="1145" y="540"/>
                    <a:pt x="1145" y="540"/>
                    <a:pt x="1145" y="540"/>
                  </a:cubicBezTo>
                  <a:cubicBezTo>
                    <a:pt x="1143" y="540"/>
                    <a:pt x="1143" y="540"/>
                    <a:pt x="1143" y="540"/>
                  </a:cubicBezTo>
                  <a:lnTo>
                    <a:pt x="1144" y="539"/>
                  </a:lnTo>
                  <a:close/>
                  <a:moveTo>
                    <a:pt x="1126" y="535"/>
                  </a:moveTo>
                  <a:cubicBezTo>
                    <a:pt x="1130" y="535"/>
                    <a:pt x="1130" y="535"/>
                    <a:pt x="1130" y="535"/>
                  </a:cubicBezTo>
                  <a:cubicBezTo>
                    <a:pt x="1132" y="535"/>
                    <a:pt x="1132" y="535"/>
                    <a:pt x="1132" y="535"/>
                  </a:cubicBezTo>
                  <a:cubicBezTo>
                    <a:pt x="1133" y="535"/>
                    <a:pt x="1133" y="535"/>
                    <a:pt x="1133" y="535"/>
                  </a:cubicBezTo>
                  <a:cubicBezTo>
                    <a:pt x="1133" y="536"/>
                    <a:pt x="1133" y="536"/>
                    <a:pt x="1133" y="536"/>
                  </a:cubicBezTo>
                  <a:cubicBezTo>
                    <a:pt x="1133" y="537"/>
                    <a:pt x="1133" y="537"/>
                    <a:pt x="1133" y="537"/>
                  </a:cubicBezTo>
                  <a:cubicBezTo>
                    <a:pt x="1134" y="538"/>
                    <a:pt x="1134" y="538"/>
                    <a:pt x="1134" y="538"/>
                  </a:cubicBezTo>
                  <a:cubicBezTo>
                    <a:pt x="1135" y="539"/>
                    <a:pt x="1135" y="539"/>
                    <a:pt x="1135" y="539"/>
                  </a:cubicBezTo>
                  <a:cubicBezTo>
                    <a:pt x="1135" y="540"/>
                    <a:pt x="1135" y="540"/>
                    <a:pt x="1135" y="540"/>
                  </a:cubicBezTo>
                  <a:cubicBezTo>
                    <a:pt x="1135" y="541"/>
                    <a:pt x="1135" y="541"/>
                    <a:pt x="1135" y="541"/>
                  </a:cubicBezTo>
                  <a:cubicBezTo>
                    <a:pt x="1135" y="542"/>
                    <a:pt x="1135" y="542"/>
                    <a:pt x="1135" y="542"/>
                  </a:cubicBezTo>
                  <a:cubicBezTo>
                    <a:pt x="1136" y="543"/>
                    <a:pt x="1136" y="543"/>
                    <a:pt x="1136" y="543"/>
                  </a:cubicBezTo>
                  <a:cubicBezTo>
                    <a:pt x="1137" y="543"/>
                    <a:pt x="1137" y="543"/>
                    <a:pt x="1137" y="543"/>
                  </a:cubicBezTo>
                  <a:cubicBezTo>
                    <a:pt x="1137" y="544"/>
                    <a:pt x="1137" y="544"/>
                    <a:pt x="1137" y="544"/>
                  </a:cubicBezTo>
                  <a:cubicBezTo>
                    <a:pt x="1136" y="544"/>
                    <a:pt x="1136" y="544"/>
                    <a:pt x="1136" y="544"/>
                  </a:cubicBezTo>
                  <a:cubicBezTo>
                    <a:pt x="1134" y="544"/>
                    <a:pt x="1134" y="544"/>
                    <a:pt x="1134" y="544"/>
                  </a:cubicBezTo>
                  <a:cubicBezTo>
                    <a:pt x="1133" y="543"/>
                    <a:pt x="1133" y="543"/>
                    <a:pt x="1133" y="543"/>
                  </a:cubicBezTo>
                  <a:cubicBezTo>
                    <a:pt x="1133" y="542"/>
                    <a:pt x="1133" y="542"/>
                    <a:pt x="1133" y="542"/>
                  </a:cubicBezTo>
                  <a:cubicBezTo>
                    <a:pt x="1133" y="541"/>
                    <a:pt x="1133" y="541"/>
                    <a:pt x="1133" y="541"/>
                  </a:cubicBezTo>
                  <a:cubicBezTo>
                    <a:pt x="1132" y="539"/>
                    <a:pt x="1132" y="539"/>
                    <a:pt x="1132" y="539"/>
                  </a:cubicBezTo>
                  <a:cubicBezTo>
                    <a:pt x="1132" y="539"/>
                    <a:pt x="1132" y="539"/>
                    <a:pt x="1132" y="539"/>
                  </a:cubicBezTo>
                  <a:cubicBezTo>
                    <a:pt x="1131" y="537"/>
                    <a:pt x="1131" y="537"/>
                    <a:pt x="1131" y="537"/>
                  </a:cubicBezTo>
                  <a:cubicBezTo>
                    <a:pt x="1131" y="536"/>
                    <a:pt x="1131" y="536"/>
                    <a:pt x="1131" y="536"/>
                  </a:cubicBezTo>
                  <a:cubicBezTo>
                    <a:pt x="1130" y="536"/>
                    <a:pt x="1130" y="536"/>
                    <a:pt x="1130" y="536"/>
                  </a:cubicBezTo>
                  <a:cubicBezTo>
                    <a:pt x="1130" y="536"/>
                    <a:pt x="1130" y="536"/>
                    <a:pt x="1130" y="536"/>
                  </a:cubicBezTo>
                  <a:cubicBezTo>
                    <a:pt x="1128" y="536"/>
                    <a:pt x="1128" y="536"/>
                    <a:pt x="1128" y="536"/>
                  </a:cubicBezTo>
                  <a:cubicBezTo>
                    <a:pt x="1125" y="536"/>
                    <a:pt x="1125" y="536"/>
                    <a:pt x="1125" y="536"/>
                  </a:cubicBezTo>
                  <a:cubicBezTo>
                    <a:pt x="1125" y="536"/>
                    <a:pt x="1125" y="536"/>
                    <a:pt x="1125" y="536"/>
                  </a:cubicBezTo>
                  <a:lnTo>
                    <a:pt x="1126" y="535"/>
                  </a:lnTo>
                  <a:close/>
                  <a:moveTo>
                    <a:pt x="1119" y="517"/>
                  </a:moveTo>
                  <a:cubicBezTo>
                    <a:pt x="1119" y="517"/>
                    <a:pt x="1119" y="517"/>
                    <a:pt x="1119" y="517"/>
                  </a:cubicBezTo>
                  <a:cubicBezTo>
                    <a:pt x="1119" y="519"/>
                    <a:pt x="1119" y="519"/>
                    <a:pt x="1119" y="519"/>
                  </a:cubicBezTo>
                  <a:cubicBezTo>
                    <a:pt x="1119" y="520"/>
                    <a:pt x="1119" y="520"/>
                    <a:pt x="1119" y="520"/>
                  </a:cubicBezTo>
                  <a:cubicBezTo>
                    <a:pt x="1120" y="521"/>
                    <a:pt x="1120" y="521"/>
                    <a:pt x="1120" y="521"/>
                  </a:cubicBezTo>
                  <a:cubicBezTo>
                    <a:pt x="1121" y="525"/>
                    <a:pt x="1121" y="525"/>
                    <a:pt x="1121" y="525"/>
                  </a:cubicBezTo>
                  <a:cubicBezTo>
                    <a:pt x="1121" y="526"/>
                    <a:pt x="1121" y="526"/>
                    <a:pt x="1121" y="526"/>
                  </a:cubicBezTo>
                  <a:cubicBezTo>
                    <a:pt x="1121" y="526"/>
                    <a:pt x="1121" y="526"/>
                    <a:pt x="1121" y="526"/>
                  </a:cubicBezTo>
                  <a:cubicBezTo>
                    <a:pt x="1121" y="527"/>
                    <a:pt x="1121" y="527"/>
                    <a:pt x="1121" y="527"/>
                  </a:cubicBezTo>
                  <a:cubicBezTo>
                    <a:pt x="1120" y="527"/>
                    <a:pt x="1120" y="527"/>
                    <a:pt x="1120" y="527"/>
                  </a:cubicBezTo>
                  <a:cubicBezTo>
                    <a:pt x="1120" y="528"/>
                    <a:pt x="1120" y="528"/>
                    <a:pt x="1120" y="528"/>
                  </a:cubicBezTo>
                  <a:cubicBezTo>
                    <a:pt x="1120" y="529"/>
                    <a:pt x="1120" y="529"/>
                    <a:pt x="1120" y="529"/>
                  </a:cubicBezTo>
                  <a:cubicBezTo>
                    <a:pt x="1120" y="530"/>
                    <a:pt x="1120" y="530"/>
                    <a:pt x="1120" y="530"/>
                  </a:cubicBezTo>
                  <a:cubicBezTo>
                    <a:pt x="1119" y="532"/>
                    <a:pt x="1119" y="532"/>
                    <a:pt x="1119" y="532"/>
                  </a:cubicBezTo>
                  <a:cubicBezTo>
                    <a:pt x="1119" y="532"/>
                    <a:pt x="1119" y="532"/>
                    <a:pt x="1119" y="532"/>
                  </a:cubicBezTo>
                  <a:cubicBezTo>
                    <a:pt x="1119" y="533"/>
                    <a:pt x="1119" y="533"/>
                    <a:pt x="1119" y="533"/>
                  </a:cubicBezTo>
                  <a:cubicBezTo>
                    <a:pt x="1121" y="536"/>
                    <a:pt x="1121" y="536"/>
                    <a:pt x="1121" y="536"/>
                  </a:cubicBezTo>
                  <a:cubicBezTo>
                    <a:pt x="1122" y="537"/>
                    <a:pt x="1122" y="537"/>
                    <a:pt x="1122" y="537"/>
                  </a:cubicBezTo>
                  <a:cubicBezTo>
                    <a:pt x="1123" y="537"/>
                    <a:pt x="1123" y="537"/>
                    <a:pt x="1123" y="537"/>
                  </a:cubicBezTo>
                  <a:cubicBezTo>
                    <a:pt x="1122" y="538"/>
                    <a:pt x="1122" y="538"/>
                    <a:pt x="1122" y="538"/>
                  </a:cubicBezTo>
                  <a:cubicBezTo>
                    <a:pt x="1121" y="539"/>
                    <a:pt x="1121" y="539"/>
                    <a:pt x="1121" y="539"/>
                  </a:cubicBezTo>
                  <a:cubicBezTo>
                    <a:pt x="1121" y="539"/>
                    <a:pt x="1121" y="539"/>
                    <a:pt x="1121" y="539"/>
                  </a:cubicBezTo>
                  <a:cubicBezTo>
                    <a:pt x="1120" y="538"/>
                    <a:pt x="1120" y="538"/>
                    <a:pt x="1120" y="538"/>
                  </a:cubicBezTo>
                  <a:cubicBezTo>
                    <a:pt x="1119" y="536"/>
                    <a:pt x="1119" y="536"/>
                    <a:pt x="1119" y="536"/>
                  </a:cubicBezTo>
                  <a:cubicBezTo>
                    <a:pt x="1117" y="534"/>
                    <a:pt x="1117" y="534"/>
                    <a:pt x="1117" y="534"/>
                  </a:cubicBezTo>
                  <a:cubicBezTo>
                    <a:pt x="1116" y="533"/>
                    <a:pt x="1116" y="533"/>
                    <a:pt x="1116" y="533"/>
                  </a:cubicBezTo>
                  <a:cubicBezTo>
                    <a:pt x="1115" y="533"/>
                    <a:pt x="1115" y="533"/>
                    <a:pt x="1115" y="533"/>
                  </a:cubicBezTo>
                  <a:cubicBezTo>
                    <a:pt x="1114" y="533"/>
                    <a:pt x="1114" y="533"/>
                    <a:pt x="1114" y="533"/>
                  </a:cubicBezTo>
                  <a:cubicBezTo>
                    <a:pt x="1113" y="533"/>
                    <a:pt x="1113" y="533"/>
                    <a:pt x="1113" y="533"/>
                  </a:cubicBezTo>
                  <a:cubicBezTo>
                    <a:pt x="1113" y="534"/>
                    <a:pt x="1113" y="534"/>
                    <a:pt x="1113" y="534"/>
                  </a:cubicBezTo>
                  <a:cubicBezTo>
                    <a:pt x="1111" y="535"/>
                    <a:pt x="1111" y="535"/>
                    <a:pt x="1111" y="535"/>
                  </a:cubicBezTo>
                  <a:cubicBezTo>
                    <a:pt x="1110" y="535"/>
                    <a:pt x="1110" y="535"/>
                    <a:pt x="1110" y="535"/>
                  </a:cubicBezTo>
                  <a:cubicBezTo>
                    <a:pt x="1110" y="535"/>
                    <a:pt x="1110" y="535"/>
                    <a:pt x="1110" y="535"/>
                  </a:cubicBezTo>
                  <a:cubicBezTo>
                    <a:pt x="1109" y="535"/>
                    <a:pt x="1109" y="535"/>
                    <a:pt x="1109" y="535"/>
                  </a:cubicBezTo>
                  <a:cubicBezTo>
                    <a:pt x="1109" y="535"/>
                    <a:pt x="1109" y="535"/>
                    <a:pt x="1109" y="535"/>
                  </a:cubicBezTo>
                  <a:cubicBezTo>
                    <a:pt x="1110" y="534"/>
                    <a:pt x="1110" y="534"/>
                    <a:pt x="1110" y="534"/>
                  </a:cubicBezTo>
                  <a:cubicBezTo>
                    <a:pt x="1110" y="534"/>
                    <a:pt x="1110" y="534"/>
                    <a:pt x="1110" y="534"/>
                  </a:cubicBezTo>
                  <a:cubicBezTo>
                    <a:pt x="1111" y="534"/>
                    <a:pt x="1111" y="534"/>
                    <a:pt x="1111" y="534"/>
                  </a:cubicBezTo>
                  <a:cubicBezTo>
                    <a:pt x="1112" y="533"/>
                    <a:pt x="1112" y="533"/>
                    <a:pt x="1112" y="533"/>
                  </a:cubicBezTo>
                  <a:cubicBezTo>
                    <a:pt x="1113" y="533"/>
                    <a:pt x="1113" y="533"/>
                    <a:pt x="1113" y="533"/>
                  </a:cubicBezTo>
                  <a:cubicBezTo>
                    <a:pt x="1114" y="532"/>
                    <a:pt x="1114" y="532"/>
                    <a:pt x="1114" y="532"/>
                  </a:cubicBezTo>
                  <a:cubicBezTo>
                    <a:pt x="1115" y="532"/>
                    <a:pt x="1115" y="532"/>
                    <a:pt x="1115" y="532"/>
                  </a:cubicBezTo>
                  <a:cubicBezTo>
                    <a:pt x="1116" y="531"/>
                    <a:pt x="1116" y="531"/>
                    <a:pt x="1116" y="531"/>
                  </a:cubicBezTo>
                  <a:cubicBezTo>
                    <a:pt x="1117" y="532"/>
                    <a:pt x="1117" y="532"/>
                    <a:pt x="1117" y="532"/>
                  </a:cubicBezTo>
                  <a:cubicBezTo>
                    <a:pt x="1118" y="531"/>
                    <a:pt x="1118" y="531"/>
                    <a:pt x="1118" y="531"/>
                  </a:cubicBezTo>
                  <a:cubicBezTo>
                    <a:pt x="1118" y="530"/>
                    <a:pt x="1118" y="530"/>
                    <a:pt x="1118" y="530"/>
                  </a:cubicBezTo>
                  <a:cubicBezTo>
                    <a:pt x="1118" y="529"/>
                    <a:pt x="1118" y="529"/>
                    <a:pt x="1118" y="529"/>
                  </a:cubicBezTo>
                  <a:cubicBezTo>
                    <a:pt x="1118" y="527"/>
                    <a:pt x="1118" y="527"/>
                    <a:pt x="1118" y="527"/>
                  </a:cubicBezTo>
                  <a:cubicBezTo>
                    <a:pt x="1118" y="527"/>
                    <a:pt x="1118" y="527"/>
                    <a:pt x="1118" y="527"/>
                  </a:cubicBezTo>
                  <a:cubicBezTo>
                    <a:pt x="1119" y="526"/>
                    <a:pt x="1119" y="526"/>
                    <a:pt x="1119" y="526"/>
                  </a:cubicBezTo>
                  <a:cubicBezTo>
                    <a:pt x="1119" y="526"/>
                    <a:pt x="1119" y="526"/>
                    <a:pt x="1119" y="526"/>
                  </a:cubicBezTo>
                  <a:cubicBezTo>
                    <a:pt x="1119" y="525"/>
                    <a:pt x="1119" y="525"/>
                    <a:pt x="1119" y="525"/>
                  </a:cubicBezTo>
                  <a:cubicBezTo>
                    <a:pt x="1119" y="525"/>
                    <a:pt x="1119" y="525"/>
                    <a:pt x="1119" y="525"/>
                  </a:cubicBezTo>
                  <a:cubicBezTo>
                    <a:pt x="1118" y="521"/>
                    <a:pt x="1118" y="521"/>
                    <a:pt x="1118" y="521"/>
                  </a:cubicBezTo>
                  <a:cubicBezTo>
                    <a:pt x="1118" y="520"/>
                    <a:pt x="1118" y="520"/>
                    <a:pt x="1118" y="520"/>
                  </a:cubicBezTo>
                  <a:cubicBezTo>
                    <a:pt x="1117" y="519"/>
                    <a:pt x="1117" y="519"/>
                    <a:pt x="1117" y="519"/>
                  </a:cubicBezTo>
                  <a:cubicBezTo>
                    <a:pt x="1118" y="517"/>
                    <a:pt x="1118" y="517"/>
                    <a:pt x="1118" y="517"/>
                  </a:cubicBezTo>
                  <a:cubicBezTo>
                    <a:pt x="1117" y="516"/>
                    <a:pt x="1117" y="516"/>
                    <a:pt x="1117" y="516"/>
                  </a:cubicBezTo>
                  <a:cubicBezTo>
                    <a:pt x="1117" y="516"/>
                    <a:pt x="1117" y="516"/>
                    <a:pt x="1117" y="516"/>
                  </a:cubicBezTo>
                  <a:cubicBezTo>
                    <a:pt x="1116" y="514"/>
                    <a:pt x="1116" y="514"/>
                    <a:pt x="1116" y="514"/>
                  </a:cubicBezTo>
                  <a:cubicBezTo>
                    <a:pt x="1115" y="513"/>
                    <a:pt x="1115" y="513"/>
                    <a:pt x="1115" y="513"/>
                  </a:cubicBezTo>
                  <a:cubicBezTo>
                    <a:pt x="1115" y="513"/>
                    <a:pt x="1115" y="513"/>
                    <a:pt x="1115" y="513"/>
                  </a:cubicBezTo>
                  <a:cubicBezTo>
                    <a:pt x="1115" y="512"/>
                    <a:pt x="1115" y="512"/>
                    <a:pt x="1115" y="512"/>
                  </a:cubicBezTo>
                  <a:cubicBezTo>
                    <a:pt x="1116" y="512"/>
                    <a:pt x="1116" y="512"/>
                    <a:pt x="1116" y="512"/>
                  </a:cubicBezTo>
                  <a:cubicBezTo>
                    <a:pt x="1116" y="511"/>
                    <a:pt x="1116" y="511"/>
                    <a:pt x="1116" y="511"/>
                  </a:cubicBezTo>
                  <a:cubicBezTo>
                    <a:pt x="1116" y="510"/>
                    <a:pt x="1116" y="510"/>
                    <a:pt x="1116" y="510"/>
                  </a:cubicBezTo>
                  <a:cubicBezTo>
                    <a:pt x="1116" y="510"/>
                    <a:pt x="1116" y="510"/>
                    <a:pt x="1116" y="510"/>
                  </a:cubicBezTo>
                  <a:cubicBezTo>
                    <a:pt x="1113" y="509"/>
                    <a:pt x="1113" y="509"/>
                    <a:pt x="1113" y="509"/>
                  </a:cubicBezTo>
                  <a:cubicBezTo>
                    <a:pt x="1113" y="508"/>
                    <a:pt x="1113" y="508"/>
                    <a:pt x="1113" y="508"/>
                  </a:cubicBezTo>
                  <a:cubicBezTo>
                    <a:pt x="1112" y="507"/>
                    <a:pt x="1112" y="507"/>
                    <a:pt x="1112" y="507"/>
                  </a:cubicBezTo>
                  <a:cubicBezTo>
                    <a:pt x="1112" y="506"/>
                    <a:pt x="1112" y="506"/>
                    <a:pt x="1112" y="506"/>
                  </a:cubicBezTo>
                  <a:cubicBezTo>
                    <a:pt x="1112" y="504"/>
                    <a:pt x="1112" y="504"/>
                    <a:pt x="1112" y="504"/>
                  </a:cubicBezTo>
                  <a:cubicBezTo>
                    <a:pt x="1112" y="503"/>
                    <a:pt x="1112" y="503"/>
                    <a:pt x="1112" y="503"/>
                  </a:cubicBezTo>
                  <a:cubicBezTo>
                    <a:pt x="1109" y="501"/>
                    <a:pt x="1109" y="501"/>
                    <a:pt x="1109" y="501"/>
                  </a:cubicBezTo>
                  <a:cubicBezTo>
                    <a:pt x="1109" y="500"/>
                    <a:pt x="1109" y="500"/>
                    <a:pt x="1109" y="500"/>
                  </a:cubicBezTo>
                  <a:cubicBezTo>
                    <a:pt x="1109" y="499"/>
                    <a:pt x="1109" y="499"/>
                    <a:pt x="1109" y="499"/>
                  </a:cubicBezTo>
                  <a:cubicBezTo>
                    <a:pt x="1109" y="498"/>
                    <a:pt x="1109" y="498"/>
                    <a:pt x="1109" y="498"/>
                  </a:cubicBezTo>
                  <a:cubicBezTo>
                    <a:pt x="1110" y="496"/>
                    <a:pt x="1110" y="496"/>
                    <a:pt x="1110" y="496"/>
                  </a:cubicBezTo>
                  <a:cubicBezTo>
                    <a:pt x="1110" y="496"/>
                    <a:pt x="1110" y="496"/>
                    <a:pt x="1110" y="496"/>
                  </a:cubicBezTo>
                  <a:cubicBezTo>
                    <a:pt x="1109" y="495"/>
                    <a:pt x="1109" y="495"/>
                    <a:pt x="1109" y="495"/>
                  </a:cubicBezTo>
                  <a:cubicBezTo>
                    <a:pt x="1108" y="494"/>
                    <a:pt x="1108" y="494"/>
                    <a:pt x="1108" y="494"/>
                  </a:cubicBezTo>
                  <a:cubicBezTo>
                    <a:pt x="1108" y="493"/>
                    <a:pt x="1108" y="493"/>
                    <a:pt x="1108" y="493"/>
                  </a:cubicBezTo>
                  <a:cubicBezTo>
                    <a:pt x="1108" y="493"/>
                    <a:pt x="1108" y="493"/>
                    <a:pt x="1108" y="493"/>
                  </a:cubicBezTo>
                  <a:cubicBezTo>
                    <a:pt x="1109" y="494"/>
                    <a:pt x="1109" y="494"/>
                    <a:pt x="1109" y="494"/>
                  </a:cubicBezTo>
                  <a:cubicBezTo>
                    <a:pt x="1110" y="494"/>
                    <a:pt x="1110" y="494"/>
                    <a:pt x="1110" y="494"/>
                  </a:cubicBezTo>
                  <a:cubicBezTo>
                    <a:pt x="1111" y="496"/>
                    <a:pt x="1111" y="496"/>
                    <a:pt x="1111" y="496"/>
                  </a:cubicBezTo>
                  <a:cubicBezTo>
                    <a:pt x="1112" y="496"/>
                    <a:pt x="1112" y="496"/>
                    <a:pt x="1112" y="496"/>
                  </a:cubicBezTo>
                  <a:cubicBezTo>
                    <a:pt x="1112" y="497"/>
                    <a:pt x="1112" y="497"/>
                    <a:pt x="1112" y="497"/>
                  </a:cubicBezTo>
                  <a:cubicBezTo>
                    <a:pt x="1111" y="498"/>
                    <a:pt x="1111" y="498"/>
                    <a:pt x="1111" y="498"/>
                  </a:cubicBezTo>
                  <a:cubicBezTo>
                    <a:pt x="1111" y="499"/>
                    <a:pt x="1111" y="499"/>
                    <a:pt x="1111" y="499"/>
                  </a:cubicBezTo>
                  <a:cubicBezTo>
                    <a:pt x="1110" y="500"/>
                    <a:pt x="1110" y="500"/>
                    <a:pt x="1110" y="500"/>
                  </a:cubicBezTo>
                  <a:cubicBezTo>
                    <a:pt x="1111" y="501"/>
                    <a:pt x="1111" y="501"/>
                    <a:pt x="1111" y="501"/>
                  </a:cubicBezTo>
                  <a:cubicBezTo>
                    <a:pt x="1114" y="503"/>
                    <a:pt x="1114" y="503"/>
                    <a:pt x="1114" y="503"/>
                  </a:cubicBezTo>
                  <a:cubicBezTo>
                    <a:pt x="1114" y="504"/>
                    <a:pt x="1114" y="504"/>
                    <a:pt x="1114" y="504"/>
                  </a:cubicBezTo>
                  <a:cubicBezTo>
                    <a:pt x="1114" y="507"/>
                    <a:pt x="1114" y="507"/>
                    <a:pt x="1114" y="507"/>
                  </a:cubicBezTo>
                  <a:cubicBezTo>
                    <a:pt x="1114" y="508"/>
                    <a:pt x="1114" y="508"/>
                    <a:pt x="1114" y="508"/>
                  </a:cubicBezTo>
                  <a:cubicBezTo>
                    <a:pt x="1115" y="509"/>
                    <a:pt x="1115" y="509"/>
                    <a:pt x="1115" y="509"/>
                  </a:cubicBezTo>
                  <a:cubicBezTo>
                    <a:pt x="1115" y="509"/>
                    <a:pt x="1115" y="509"/>
                    <a:pt x="1115" y="509"/>
                  </a:cubicBezTo>
                  <a:cubicBezTo>
                    <a:pt x="1118" y="510"/>
                    <a:pt x="1118" y="510"/>
                    <a:pt x="1118" y="510"/>
                  </a:cubicBezTo>
                  <a:cubicBezTo>
                    <a:pt x="1118" y="511"/>
                    <a:pt x="1118" y="511"/>
                    <a:pt x="1118" y="511"/>
                  </a:cubicBezTo>
                  <a:cubicBezTo>
                    <a:pt x="1118" y="511"/>
                    <a:pt x="1118" y="511"/>
                    <a:pt x="1118" y="511"/>
                  </a:cubicBezTo>
                  <a:cubicBezTo>
                    <a:pt x="1118" y="512"/>
                    <a:pt x="1118" y="512"/>
                    <a:pt x="1118" y="512"/>
                  </a:cubicBezTo>
                  <a:cubicBezTo>
                    <a:pt x="1117" y="513"/>
                    <a:pt x="1117" y="513"/>
                    <a:pt x="1117" y="513"/>
                  </a:cubicBezTo>
                  <a:cubicBezTo>
                    <a:pt x="1117" y="513"/>
                    <a:pt x="1117" y="513"/>
                    <a:pt x="1117" y="513"/>
                  </a:cubicBezTo>
                  <a:cubicBezTo>
                    <a:pt x="1117" y="514"/>
                    <a:pt x="1117" y="514"/>
                    <a:pt x="1117" y="514"/>
                  </a:cubicBezTo>
                  <a:cubicBezTo>
                    <a:pt x="1118" y="514"/>
                    <a:pt x="1118" y="514"/>
                    <a:pt x="1118" y="514"/>
                  </a:cubicBezTo>
                  <a:cubicBezTo>
                    <a:pt x="1119" y="516"/>
                    <a:pt x="1119" y="516"/>
                    <a:pt x="1119" y="516"/>
                  </a:cubicBezTo>
                  <a:lnTo>
                    <a:pt x="1119" y="517"/>
                  </a:lnTo>
                  <a:close/>
                  <a:moveTo>
                    <a:pt x="1114" y="356"/>
                  </a:moveTo>
                  <a:cubicBezTo>
                    <a:pt x="1116" y="355"/>
                    <a:pt x="1116" y="355"/>
                    <a:pt x="1116" y="355"/>
                  </a:cubicBezTo>
                  <a:cubicBezTo>
                    <a:pt x="1117" y="356"/>
                    <a:pt x="1117" y="356"/>
                    <a:pt x="1117" y="356"/>
                  </a:cubicBezTo>
                  <a:cubicBezTo>
                    <a:pt x="1117" y="356"/>
                    <a:pt x="1117" y="356"/>
                    <a:pt x="1117" y="356"/>
                  </a:cubicBezTo>
                  <a:cubicBezTo>
                    <a:pt x="1117" y="356"/>
                    <a:pt x="1117" y="356"/>
                    <a:pt x="1117" y="356"/>
                  </a:cubicBezTo>
                  <a:cubicBezTo>
                    <a:pt x="1114" y="356"/>
                    <a:pt x="1114" y="356"/>
                    <a:pt x="1114" y="356"/>
                  </a:cubicBezTo>
                  <a:cubicBezTo>
                    <a:pt x="1113" y="356"/>
                    <a:pt x="1113" y="356"/>
                    <a:pt x="1113" y="356"/>
                  </a:cubicBezTo>
                  <a:lnTo>
                    <a:pt x="1114" y="356"/>
                  </a:lnTo>
                  <a:close/>
                  <a:moveTo>
                    <a:pt x="1096" y="385"/>
                  </a:moveTo>
                  <a:cubicBezTo>
                    <a:pt x="1097" y="382"/>
                    <a:pt x="1097" y="382"/>
                    <a:pt x="1097" y="382"/>
                  </a:cubicBezTo>
                  <a:cubicBezTo>
                    <a:pt x="1101" y="379"/>
                    <a:pt x="1101" y="379"/>
                    <a:pt x="1101" y="379"/>
                  </a:cubicBezTo>
                  <a:cubicBezTo>
                    <a:pt x="1104" y="377"/>
                    <a:pt x="1104" y="377"/>
                    <a:pt x="1104" y="377"/>
                  </a:cubicBezTo>
                  <a:cubicBezTo>
                    <a:pt x="1105" y="376"/>
                    <a:pt x="1105" y="376"/>
                    <a:pt x="1105" y="376"/>
                  </a:cubicBezTo>
                  <a:cubicBezTo>
                    <a:pt x="1105" y="374"/>
                    <a:pt x="1105" y="374"/>
                    <a:pt x="1105" y="374"/>
                  </a:cubicBezTo>
                  <a:cubicBezTo>
                    <a:pt x="1106" y="372"/>
                    <a:pt x="1106" y="372"/>
                    <a:pt x="1106" y="372"/>
                  </a:cubicBezTo>
                  <a:cubicBezTo>
                    <a:pt x="1107" y="371"/>
                    <a:pt x="1107" y="371"/>
                    <a:pt x="1107" y="371"/>
                  </a:cubicBezTo>
                  <a:cubicBezTo>
                    <a:pt x="1108" y="366"/>
                    <a:pt x="1108" y="366"/>
                    <a:pt x="1108" y="366"/>
                  </a:cubicBezTo>
                  <a:cubicBezTo>
                    <a:pt x="1110" y="362"/>
                    <a:pt x="1110" y="362"/>
                    <a:pt x="1110" y="362"/>
                  </a:cubicBezTo>
                  <a:cubicBezTo>
                    <a:pt x="1110" y="360"/>
                    <a:pt x="1110" y="360"/>
                    <a:pt x="1110" y="360"/>
                  </a:cubicBezTo>
                  <a:cubicBezTo>
                    <a:pt x="1110" y="359"/>
                    <a:pt x="1110" y="359"/>
                    <a:pt x="1110" y="359"/>
                  </a:cubicBezTo>
                  <a:cubicBezTo>
                    <a:pt x="1111" y="358"/>
                    <a:pt x="1111" y="358"/>
                    <a:pt x="1111" y="358"/>
                  </a:cubicBezTo>
                  <a:cubicBezTo>
                    <a:pt x="1111" y="358"/>
                    <a:pt x="1111" y="358"/>
                    <a:pt x="1111" y="358"/>
                  </a:cubicBezTo>
                  <a:cubicBezTo>
                    <a:pt x="1111" y="359"/>
                    <a:pt x="1111" y="359"/>
                    <a:pt x="1111" y="359"/>
                  </a:cubicBezTo>
                  <a:cubicBezTo>
                    <a:pt x="1111" y="360"/>
                    <a:pt x="1111" y="360"/>
                    <a:pt x="1111" y="360"/>
                  </a:cubicBezTo>
                  <a:cubicBezTo>
                    <a:pt x="1110" y="365"/>
                    <a:pt x="1110" y="365"/>
                    <a:pt x="1110" y="365"/>
                  </a:cubicBezTo>
                  <a:cubicBezTo>
                    <a:pt x="1108" y="370"/>
                    <a:pt x="1108" y="370"/>
                    <a:pt x="1108" y="370"/>
                  </a:cubicBezTo>
                  <a:cubicBezTo>
                    <a:pt x="1107" y="371"/>
                    <a:pt x="1107" y="371"/>
                    <a:pt x="1107" y="371"/>
                  </a:cubicBezTo>
                  <a:cubicBezTo>
                    <a:pt x="1106" y="373"/>
                    <a:pt x="1106" y="373"/>
                    <a:pt x="1106" y="373"/>
                  </a:cubicBezTo>
                  <a:cubicBezTo>
                    <a:pt x="1106" y="374"/>
                    <a:pt x="1106" y="374"/>
                    <a:pt x="1106" y="374"/>
                  </a:cubicBezTo>
                  <a:cubicBezTo>
                    <a:pt x="1105" y="375"/>
                    <a:pt x="1105" y="375"/>
                    <a:pt x="1105" y="375"/>
                  </a:cubicBezTo>
                  <a:cubicBezTo>
                    <a:pt x="1103" y="378"/>
                    <a:pt x="1103" y="378"/>
                    <a:pt x="1103" y="378"/>
                  </a:cubicBezTo>
                  <a:cubicBezTo>
                    <a:pt x="1099" y="381"/>
                    <a:pt x="1099" y="381"/>
                    <a:pt x="1099" y="381"/>
                  </a:cubicBezTo>
                  <a:cubicBezTo>
                    <a:pt x="1098" y="384"/>
                    <a:pt x="1098" y="384"/>
                    <a:pt x="1098" y="384"/>
                  </a:cubicBezTo>
                  <a:cubicBezTo>
                    <a:pt x="1097" y="388"/>
                    <a:pt x="1097" y="388"/>
                    <a:pt x="1097" y="388"/>
                  </a:cubicBezTo>
                  <a:cubicBezTo>
                    <a:pt x="1097" y="391"/>
                    <a:pt x="1097" y="391"/>
                    <a:pt x="1097" y="391"/>
                  </a:cubicBezTo>
                  <a:cubicBezTo>
                    <a:pt x="1098" y="394"/>
                    <a:pt x="1098" y="394"/>
                    <a:pt x="1098" y="394"/>
                  </a:cubicBezTo>
                  <a:cubicBezTo>
                    <a:pt x="1100" y="401"/>
                    <a:pt x="1100" y="401"/>
                    <a:pt x="1100" y="401"/>
                  </a:cubicBezTo>
                  <a:cubicBezTo>
                    <a:pt x="1101" y="409"/>
                    <a:pt x="1101" y="409"/>
                    <a:pt x="1101" y="409"/>
                  </a:cubicBezTo>
                  <a:cubicBezTo>
                    <a:pt x="1099" y="413"/>
                    <a:pt x="1099" y="413"/>
                    <a:pt x="1099" y="413"/>
                  </a:cubicBezTo>
                  <a:cubicBezTo>
                    <a:pt x="1099" y="416"/>
                    <a:pt x="1099" y="416"/>
                    <a:pt x="1099" y="416"/>
                  </a:cubicBezTo>
                  <a:cubicBezTo>
                    <a:pt x="1099" y="419"/>
                    <a:pt x="1099" y="419"/>
                    <a:pt x="1099" y="419"/>
                  </a:cubicBezTo>
                  <a:cubicBezTo>
                    <a:pt x="1100" y="420"/>
                    <a:pt x="1100" y="420"/>
                    <a:pt x="1100" y="420"/>
                  </a:cubicBezTo>
                  <a:cubicBezTo>
                    <a:pt x="1101" y="421"/>
                    <a:pt x="1101" y="421"/>
                    <a:pt x="1101" y="421"/>
                  </a:cubicBezTo>
                  <a:cubicBezTo>
                    <a:pt x="1102" y="424"/>
                    <a:pt x="1102" y="424"/>
                    <a:pt x="1102" y="424"/>
                  </a:cubicBezTo>
                  <a:cubicBezTo>
                    <a:pt x="1103" y="426"/>
                    <a:pt x="1103" y="426"/>
                    <a:pt x="1103" y="426"/>
                  </a:cubicBezTo>
                  <a:cubicBezTo>
                    <a:pt x="1103" y="428"/>
                    <a:pt x="1103" y="428"/>
                    <a:pt x="1103" y="428"/>
                  </a:cubicBezTo>
                  <a:cubicBezTo>
                    <a:pt x="1103" y="429"/>
                    <a:pt x="1103" y="429"/>
                    <a:pt x="1103" y="429"/>
                  </a:cubicBezTo>
                  <a:cubicBezTo>
                    <a:pt x="1103" y="431"/>
                    <a:pt x="1103" y="431"/>
                    <a:pt x="1103" y="431"/>
                  </a:cubicBezTo>
                  <a:cubicBezTo>
                    <a:pt x="1104" y="431"/>
                    <a:pt x="1104" y="431"/>
                    <a:pt x="1104" y="431"/>
                  </a:cubicBezTo>
                  <a:cubicBezTo>
                    <a:pt x="1105" y="431"/>
                    <a:pt x="1105" y="431"/>
                    <a:pt x="1105" y="431"/>
                  </a:cubicBezTo>
                  <a:cubicBezTo>
                    <a:pt x="1105" y="433"/>
                    <a:pt x="1105" y="433"/>
                    <a:pt x="1105" y="433"/>
                  </a:cubicBezTo>
                  <a:cubicBezTo>
                    <a:pt x="1105" y="433"/>
                    <a:pt x="1105" y="433"/>
                    <a:pt x="1105" y="433"/>
                  </a:cubicBezTo>
                  <a:cubicBezTo>
                    <a:pt x="1104" y="434"/>
                    <a:pt x="1104" y="434"/>
                    <a:pt x="1104" y="434"/>
                  </a:cubicBezTo>
                  <a:cubicBezTo>
                    <a:pt x="1104" y="435"/>
                    <a:pt x="1104" y="435"/>
                    <a:pt x="1104" y="435"/>
                  </a:cubicBezTo>
                  <a:cubicBezTo>
                    <a:pt x="1104" y="435"/>
                    <a:pt x="1104" y="435"/>
                    <a:pt x="1104" y="435"/>
                  </a:cubicBezTo>
                  <a:cubicBezTo>
                    <a:pt x="1105" y="436"/>
                    <a:pt x="1105" y="436"/>
                    <a:pt x="1105" y="436"/>
                  </a:cubicBezTo>
                  <a:cubicBezTo>
                    <a:pt x="1108" y="437"/>
                    <a:pt x="1108" y="437"/>
                    <a:pt x="1108" y="437"/>
                  </a:cubicBezTo>
                  <a:cubicBezTo>
                    <a:pt x="1108" y="438"/>
                    <a:pt x="1108" y="438"/>
                    <a:pt x="1108" y="438"/>
                  </a:cubicBezTo>
                  <a:cubicBezTo>
                    <a:pt x="1108" y="439"/>
                    <a:pt x="1108" y="439"/>
                    <a:pt x="1108" y="439"/>
                  </a:cubicBezTo>
                  <a:cubicBezTo>
                    <a:pt x="1108" y="439"/>
                    <a:pt x="1108" y="439"/>
                    <a:pt x="1108" y="439"/>
                  </a:cubicBezTo>
                  <a:cubicBezTo>
                    <a:pt x="1107" y="440"/>
                    <a:pt x="1107" y="440"/>
                    <a:pt x="1107" y="440"/>
                  </a:cubicBezTo>
                  <a:cubicBezTo>
                    <a:pt x="1106" y="441"/>
                    <a:pt x="1106" y="441"/>
                    <a:pt x="1106" y="441"/>
                  </a:cubicBezTo>
                  <a:cubicBezTo>
                    <a:pt x="1105" y="441"/>
                    <a:pt x="1105" y="441"/>
                    <a:pt x="1105" y="441"/>
                  </a:cubicBezTo>
                  <a:cubicBezTo>
                    <a:pt x="1105" y="441"/>
                    <a:pt x="1105" y="441"/>
                    <a:pt x="1105" y="441"/>
                  </a:cubicBezTo>
                  <a:cubicBezTo>
                    <a:pt x="1105" y="440"/>
                    <a:pt x="1105" y="440"/>
                    <a:pt x="1105" y="440"/>
                  </a:cubicBezTo>
                  <a:cubicBezTo>
                    <a:pt x="1106" y="440"/>
                    <a:pt x="1106" y="440"/>
                    <a:pt x="1106" y="440"/>
                  </a:cubicBezTo>
                  <a:cubicBezTo>
                    <a:pt x="1106" y="439"/>
                    <a:pt x="1106" y="439"/>
                    <a:pt x="1106" y="439"/>
                  </a:cubicBezTo>
                  <a:cubicBezTo>
                    <a:pt x="1105" y="438"/>
                    <a:pt x="1105" y="438"/>
                    <a:pt x="1105" y="438"/>
                  </a:cubicBezTo>
                  <a:cubicBezTo>
                    <a:pt x="1102" y="437"/>
                    <a:pt x="1102" y="437"/>
                    <a:pt x="1102" y="437"/>
                  </a:cubicBezTo>
                  <a:cubicBezTo>
                    <a:pt x="1102" y="436"/>
                    <a:pt x="1102" y="436"/>
                    <a:pt x="1102" y="436"/>
                  </a:cubicBezTo>
                  <a:cubicBezTo>
                    <a:pt x="1102" y="436"/>
                    <a:pt x="1102" y="436"/>
                    <a:pt x="1102" y="436"/>
                  </a:cubicBezTo>
                  <a:cubicBezTo>
                    <a:pt x="1102" y="435"/>
                    <a:pt x="1102" y="435"/>
                    <a:pt x="1102" y="435"/>
                  </a:cubicBezTo>
                  <a:cubicBezTo>
                    <a:pt x="1102" y="434"/>
                    <a:pt x="1102" y="434"/>
                    <a:pt x="1102" y="434"/>
                  </a:cubicBezTo>
                  <a:cubicBezTo>
                    <a:pt x="1102" y="434"/>
                    <a:pt x="1102" y="434"/>
                    <a:pt x="1102" y="434"/>
                  </a:cubicBezTo>
                  <a:cubicBezTo>
                    <a:pt x="1102" y="432"/>
                    <a:pt x="1102" y="432"/>
                    <a:pt x="1102" y="432"/>
                  </a:cubicBezTo>
                  <a:cubicBezTo>
                    <a:pt x="1101" y="432"/>
                    <a:pt x="1101" y="432"/>
                    <a:pt x="1101" y="432"/>
                  </a:cubicBezTo>
                  <a:cubicBezTo>
                    <a:pt x="1101" y="432"/>
                    <a:pt x="1101" y="432"/>
                    <a:pt x="1101" y="432"/>
                  </a:cubicBezTo>
                  <a:cubicBezTo>
                    <a:pt x="1101" y="430"/>
                    <a:pt x="1101" y="430"/>
                    <a:pt x="1101" y="430"/>
                  </a:cubicBezTo>
                  <a:cubicBezTo>
                    <a:pt x="1101" y="429"/>
                    <a:pt x="1101" y="429"/>
                    <a:pt x="1101" y="429"/>
                  </a:cubicBezTo>
                  <a:cubicBezTo>
                    <a:pt x="1101" y="427"/>
                    <a:pt x="1101" y="427"/>
                    <a:pt x="1101" y="427"/>
                  </a:cubicBezTo>
                  <a:cubicBezTo>
                    <a:pt x="1099" y="425"/>
                    <a:pt x="1099" y="425"/>
                    <a:pt x="1099" y="425"/>
                  </a:cubicBezTo>
                  <a:cubicBezTo>
                    <a:pt x="1098" y="422"/>
                    <a:pt x="1098" y="422"/>
                    <a:pt x="1098" y="422"/>
                  </a:cubicBezTo>
                  <a:cubicBezTo>
                    <a:pt x="1098" y="421"/>
                    <a:pt x="1098" y="421"/>
                    <a:pt x="1098" y="421"/>
                  </a:cubicBezTo>
                  <a:cubicBezTo>
                    <a:pt x="1097" y="419"/>
                    <a:pt x="1097" y="419"/>
                    <a:pt x="1097" y="419"/>
                  </a:cubicBezTo>
                  <a:cubicBezTo>
                    <a:pt x="1097" y="417"/>
                    <a:pt x="1097" y="417"/>
                    <a:pt x="1097" y="417"/>
                  </a:cubicBezTo>
                  <a:cubicBezTo>
                    <a:pt x="1097" y="414"/>
                    <a:pt x="1097" y="414"/>
                    <a:pt x="1097" y="414"/>
                  </a:cubicBezTo>
                  <a:cubicBezTo>
                    <a:pt x="1099" y="409"/>
                    <a:pt x="1099" y="409"/>
                    <a:pt x="1099" y="409"/>
                  </a:cubicBezTo>
                  <a:cubicBezTo>
                    <a:pt x="1098" y="402"/>
                    <a:pt x="1098" y="402"/>
                    <a:pt x="1098" y="402"/>
                  </a:cubicBezTo>
                  <a:cubicBezTo>
                    <a:pt x="1096" y="394"/>
                    <a:pt x="1096" y="394"/>
                    <a:pt x="1096" y="394"/>
                  </a:cubicBezTo>
                  <a:cubicBezTo>
                    <a:pt x="1096" y="392"/>
                    <a:pt x="1096" y="392"/>
                    <a:pt x="1096" y="392"/>
                  </a:cubicBezTo>
                  <a:cubicBezTo>
                    <a:pt x="1095" y="389"/>
                    <a:pt x="1095" y="389"/>
                    <a:pt x="1095" y="389"/>
                  </a:cubicBezTo>
                  <a:lnTo>
                    <a:pt x="1096" y="385"/>
                  </a:lnTo>
                  <a:close/>
                  <a:moveTo>
                    <a:pt x="1092" y="455"/>
                  </a:moveTo>
                  <a:cubicBezTo>
                    <a:pt x="1092" y="454"/>
                    <a:pt x="1092" y="454"/>
                    <a:pt x="1092" y="454"/>
                  </a:cubicBezTo>
                  <a:cubicBezTo>
                    <a:pt x="1092" y="454"/>
                    <a:pt x="1092" y="454"/>
                    <a:pt x="1092" y="454"/>
                  </a:cubicBezTo>
                  <a:cubicBezTo>
                    <a:pt x="1092" y="454"/>
                    <a:pt x="1092" y="454"/>
                    <a:pt x="1092" y="454"/>
                  </a:cubicBezTo>
                  <a:cubicBezTo>
                    <a:pt x="1093" y="454"/>
                    <a:pt x="1093" y="454"/>
                    <a:pt x="1093" y="454"/>
                  </a:cubicBezTo>
                  <a:cubicBezTo>
                    <a:pt x="1093" y="454"/>
                    <a:pt x="1093" y="454"/>
                    <a:pt x="1093" y="454"/>
                  </a:cubicBezTo>
                  <a:cubicBezTo>
                    <a:pt x="1093" y="453"/>
                    <a:pt x="1093" y="453"/>
                    <a:pt x="1093" y="453"/>
                  </a:cubicBezTo>
                  <a:cubicBezTo>
                    <a:pt x="1093" y="452"/>
                    <a:pt x="1093" y="452"/>
                    <a:pt x="1093" y="452"/>
                  </a:cubicBezTo>
                  <a:cubicBezTo>
                    <a:pt x="1093" y="452"/>
                    <a:pt x="1093" y="452"/>
                    <a:pt x="1093" y="452"/>
                  </a:cubicBezTo>
                  <a:cubicBezTo>
                    <a:pt x="1093" y="452"/>
                    <a:pt x="1093" y="452"/>
                    <a:pt x="1093" y="452"/>
                  </a:cubicBezTo>
                  <a:cubicBezTo>
                    <a:pt x="1093" y="451"/>
                    <a:pt x="1093" y="451"/>
                    <a:pt x="1093" y="451"/>
                  </a:cubicBezTo>
                  <a:cubicBezTo>
                    <a:pt x="1093" y="451"/>
                    <a:pt x="1093" y="451"/>
                    <a:pt x="1093" y="451"/>
                  </a:cubicBezTo>
                  <a:cubicBezTo>
                    <a:pt x="1093" y="451"/>
                    <a:pt x="1093" y="451"/>
                    <a:pt x="1093" y="451"/>
                  </a:cubicBezTo>
                  <a:cubicBezTo>
                    <a:pt x="1093" y="450"/>
                    <a:pt x="1093" y="450"/>
                    <a:pt x="1093" y="450"/>
                  </a:cubicBezTo>
                  <a:cubicBezTo>
                    <a:pt x="1093" y="450"/>
                    <a:pt x="1093" y="450"/>
                    <a:pt x="1093" y="450"/>
                  </a:cubicBezTo>
                  <a:cubicBezTo>
                    <a:pt x="1093" y="449"/>
                    <a:pt x="1093" y="449"/>
                    <a:pt x="1093" y="449"/>
                  </a:cubicBezTo>
                  <a:cubicBezTo>
                    <a:pt x="1094" y="449"/>
                    <a:pt x="1094" y="449"/>
                    <a:pt x="1094" y="449"/>
                  </a:cubicBezTo>
                  <a:cubicBezTo>
                    <a:pt x="1096" y="448"/>
                    <a:pt x="1096" y="448"/>
                    <a:pt x="1096" y="448"/>
                  </a:cubicBezTo>
                  <a:cubicBezTo>
                    <a:pt x="1097" y="448"/>
                    <a:pt x="1097" y="448"/>
                    <a:pt x="1097" y="448"/>
                  </a:cubicBezTo>
                  <a:cubicBezTo>
                    <a:pt x="1097" y="447"/>
                    <a:pt x="1097" y="447"/>
                    <a:pt x="1097" y="447"/>
                  </a:cubicBezTo>
                  <a:cubicBezTo>
                    <a:pt x="1097" y="445"/>
                    <a:pt x="1097" y="445"/>
                    <a:pt x="1097" y="445"/>
                  </a:cubicBezTo>
                  <a:cubicBezTo>
                    <a:pt x="1097" y="444"/>
                    <a:pt x="1097" y="444"/>
                    <a:pt x="1097" y="444"/>
                  </a:cubicBezTo>
                  <a:cubicBezTo>
                    <a:pt x="1097" y="444"/>
                    <a:pt x="1097" y="444"/>
                    <a:pt x="1097" y="444"/>
                  </a:cubicBezTo>
                  <a:cubicBezTo>
                    <a:pt x="1098" y="443"/>
                    <a:pt x="1098" y="443"/>
                    <a:pt x="1098" y="443"/>
                  </a:cubicBezTo>
                  <a:cubicBezTo>
                    <a:pt x="1098" y="443"/>
                    <a:pt x="1098" y="443"/>
                    <a:pt x="1098" y="443"/>
                  </a:cubicBezTo>
                  <a:cubicBezTo>
                    <a:pt x="1098" y="443"/>
                    <a:pt x="1098" y="443"/>
                    <a:pt x="1098" y="443"/>
                  </a:cubicBezTo>
                  <a:cubicBezTo>
                    <a:pt x="1098" y="442"/>
                    <a:pt x="1098" y="442"/>
                    <a:pt x="1098" y="442"/>
                  </a:cubicBezTo>
                  <a:cubicBezTo>
                    <a:pt x="1098" y="442"/>
                    <a:pt x="1098" y="442"/>
                    <a:pt x="1098" y="442"/>
                  </a:cubicBezTo>
                  <a:cubicBezTo>
                    <a:pt x="1098" y="442"/>
                    <a:pt x="1098" y="442"/>
                    <a:pt x="1098" y="442"/>
                  </a:cubicBezTo>
                  <a:cubicBezTo>
                    <a:pt x="1101" y="442"/>
                    <a:pt x="1101" y="442"/>
                    <a:pt x="1101" y="442"/>
                  </a:cubicBezTo>
                  <a:cubicBezTo>
                    <a:pt x="1101" y="442"/>
                    <a:pt x="1101" y="442"/>
                    <a:pt x="1101" y="442"/>
                  </a:cubicBezTo>
                  <a:cubicBezTo>
                    <a:pt x="1100" y="443"/>
                    <a:pt x="1100" y="443"/>
                    <a:pt x="1100" y="443"/>
                  </a:cubicBezTo>
                  <a:cubicBezTo>
                    <a:pt x="1100" y="443"/>
                    <a:pt x="1100" y="443"/>
                    <a:pt x="1100" y="443"/>
                  </a:cubicBezTo>
                  <a:cubicBezTo>
                    <a:pt x="1100" y="444"/>
                    <a:pt x="1100" y="444"/>
                    <a:pt x="1100" y="444"/>
                  </a:cubicBezTo>
                  <a:cubicBezTo>
                    <a:pt x="1100" y="445"/>
                    <a:pt x="1100" y="445"/>
                    <a:pt x="1100" y="445"/>
                  </a:cubicBezTo>
                  <a:cubicBezTo>
                    <a:pt x="1100" y="446"/>
                    <a:pt x="1100" y="446"/>
                    <a:pt x="1100" y="446"/>
                  </a:cubicBezTo>
                  <a:cubicBezTo>
                    <a:pt x="1100" y="447"/>
                    <a:pt x="1100" y="447"/>
                    <a:pt x="1100" y="447"/>
                  </a:cubicBezTo>
                  <a:cubicBezTo>
                    <a:pt x="1099" y="447"/>
                    <a:pt x="1099" y="447"/>
                    <a:pt x="1099" y="447"/>
                  </a:cubicBezTo>
                  <a:cubicBezTo>
                    <a:pt x="1097" y="448"/>
                    <a:pt x="1097" y="448"/>
                    <a:pt x="1097" y="448"/>
                  </a:cubicBezTo>
                  <a:cubicBezTo>
                    <a:pt x="1096" y="449"/>
                    <a:pt x="1096" y="449"/>
                    <a:pt x="1096" y="449"/>
                  </a:cubicBezTo>
                  <a:cubicBezTo>
                    <a:pt x="1096" y="449"/>
                    <a:pt x="1096" y="449"/>
                    <a:pt x="1096" y="449"/>
                  </a:cubicBezTo>
                  <a:cubicBezTo>
                    <a:pt x="1096" y="450"/>
                    <a:pt x="1096" y="450"/>
                    <a:pt x="1096" y="450"/>
                  </a:cubicBezTo>
                  <a:cubicBezTo>
                    <a:pt x="1096" y="450"/>
                    <a:pt x="1096" y="450"/>
                    <a:pt x="1096" y="450"/>
                  </a:cubicBezTo>
                  <a:cubicBezTo>
                    <a:pt x="1096" y="450"/>
                    <a:pt x="1096" y="450"/>
                    <a:pt x="1096" y="450"/>
                  </a:cubicBezTo>
                  <a:cubicBezTo>
                    <a:pt x="1096" y="451"/>
                    <a:pt x="1096" y="451"/>
                    <a:pt x="1096" y="451"/>
                  </a:cubicBezTo>
                  <a:cubicBezTo>
                    <a:pt x="1096" y="451"/>
                    <a:pt x="1096" y="451"/>
                    <a:pt x="1096" y="451"/>
                  </a:cubicBezTo>
                  <a:cubicBezTo>
                    <a:pt x="1096" y="452"/>
                    <a:pt x="1096" y="452"/>
                    <a:pt x="1096" y="452"/>
                  </a:cubicBezTo>
                  <a:cubicBezTo>
                    <a:pt x="1096" y="452"/>
                    <a:pt x="1096" y="452"/>
                    <a:pt x="1096" y="452"/>
                  </a:cubicBezTo>
                  <a:cubicBezTo>
                    <a:pt x="1096" y="453"/>
                    <a:pt x="1096" y="453"/>
                    <a:pt x="1096" y="453"/>
                  </a:cubicBezTo>
                  <a:cubicBezTo>
                    <a:pt x="1096" y="453"/>
                    <a:pt x="1096" y="453"/>
                    <a:pt x="1096" y="453"/>
                  </a:cubicBezTo>
                  <a:cubicBezTo>
                    <a:pt x="1096" y="453"/>
                    <a:pt x="1096" y="453"/>
                    <a:pt x="1096" y="453"/>
                  </a:cubicBezTo>
                  <a:cubicBezTo>
                    <a:pt x="1095" y="453"/>
                    <a:pt x="1095" y="453"/>
                    <a:pt x="1095" y="453"/>
                  </a:cubicBezTo>
                  <a:cubicBezTo>
                    <a:pt x="1095" y="453"/>
                    <a:pt x="1095" y="453"/>
                    <a:pt x="1095" y="453"/>
                  </a:cubicBezTo>
                  <a:cubicBezTo>
                    <a:pt x="1095" y="454"/>
                    <a:pt x="1095" y="454"/>
                    <a:pt x="1095" y="454"/>
                  </a:cubicBezTo>
                  <a:cubicBezTo>
                    <a:pt x="1094" y="454"/>
                    <a:pt x="1094" y="454"/>
                    <a:pt x="1094" y="454"/>
                  </a:cubicBezTo>
                  <a:cubicBezTo>
                    <a:pt x="1094" y="455"/>
                    <a:pt x="1094" y="455"/>
                    <a:pt x="1094" y="455"/>
                  </a:cubicBezTo>
                  <a:cubicBezTo>
                    <a:pt x="1095" y="456"/>
                    <a:pt x="1095" y="456"/>
                    <a:pt x="1095" y="456"/>
                  </a:cubicBezTo>
                  <a:cubicBezTo>
                    <a:pt x="1095" y="457"/>
                    <a:pt x="1095" y="457"/>
                    <a:pt x="1095" y="457"/>
                  </a:cubicBezTo>
                  <a:cubicBezTo>
                    <a:pt x="1095" y="457"/>
                    <a:pt x="1095" y="457"/>
                    <a:pt x="1095" y="457"/>
                  </a:cubicBezTo>
                  <a:cubicBezTo>
                    <a:pt x="1093" y="457"/>
                    <a:pt x="1093" y="457"/>
                    <a:pt x="1093" y="457"/>
                  </a:cubicBezTo>
                  <a:cubicBezTo>
                    <a:pt x="1092" y="458"/>
                    <a:pt x="1092" y="458"/>
                    <a:pt x="1092" y="458"/>
                  </a:cubicBezTo>
                  <a:cubicBezTo>
                    <a:pt x="1092" y="458"/>
                    <a:pt x="1092" y="458"/>
                    <a:pt x="1092" y="458"/>
                  </a:cubicBezTo>
                  <a:cubicBezTo>
                    <a:pt x="1092" y="457"/>
                    <a:pt x="1092" y="457"/>
                    <a:pt x="1092" y="457"/>
                  </a:cubicBezTo>
                  <a:cubicBezTo>
                    <a:pt x="1092" y="456"/>
                    <a:pt x="1092" y="456"/>
                    <a:pt x="1092" y="456"/>
                  </a:cubicBezTo>
                  <a:cubicBezTo>
                    <a:pt x="1092" y="455"/>
                    <a:pt x="1092" y="455"/>
                    <a:pt x="1092" y="455"/>
                  </a:cubicBezTo>
                  <a:close/>
                  <a:moveTo>
                    <a:pt x="1076" y="455"/>
                  </a:moveTo>
                  <a:cubicBezTo>
                    <a:pt x="1076" y="454"/>
                    <a:pt x="1076" y="454"/>
                    <a:pt x="1076" y="454"/>
                  </a:cubicBezTo>
                  <a:cubicBezTo>
                    <a:pt x="1077" y="453"/>
                    <a:pt x="1077" y="453"/>
                    <a:pt x="1077" y="453"/>
                  </a:cubicBezTo>
                  <a:cubicBezTo>
                    <a:pt x="1077" y="452"/>
                    <a:pt x="1077" y="452"/>
                    <a:pt x="1077" y="452"/>
                  </a:cubicBezTo>
                  <a:cubicBezTo>
                    <a:pt x="1078" y="452"/>
                    <a:pt x="1078" y="452"/>
                    <a:pt x="1078" y="452"/>
                  </a:cubicBezTo>
                  <a:cubicBezTo>
                    <a:pt x="1078" y="452"/>
                    <a:pt x="1078" y="452"/>
                    <a:pt x="1078" y="452"/>
                  </a:cubicBezTo>
                  <a:cubicBezTo>
                    <a:pt x="1078" y="453"/>
                    <a:pt x="1078" y="453"/>
                    <a:pt x="1078" y="453"/>
                  </a:cubicBezTo>
                  <a:cubicBezTo>
                    <a:pt x="1078" y="453"/>
                    <a:pt x="1078" y="453"/>
                    <a:pt x="1078" y="453"/>
                  </a:cubicBezTo>
                  <a:cubicBezTo>
                    <a:pt x="1077" y="454"/>
                    <a:pt x="1077" y="454"/>
                    <a:pt x="1077" y="454"/>
                  </a:cubicBezTo>
                  <a:cubicBezTo>
                    <a:pt x="1077" y="455"/>
                    <a:pt x="1077" y="455"/>
                    <a:pt x="1077" y="455"/>
                  </a:cubicBezTo>
                  <a:cubicBezTo>
                    <a:pt x="1076" y="455"/>
                    <a:pt x="1076" y="455"/>
                    <a:pt x="1076" y="455"/>
                  </a:cubicBezTo>
                  <a:cubicBezTo>
                    <a:pt x="1076" y="455"/>
                    <a:pt x="1076" y="455"/>
                    <a:pt x="1076" y="455"/>
                  </a:cubicBezTo>
                  <a:close/>
                  <a:moveTo>
                    <a:pt x="1070" y="457"/>
                  </a:moveTo>
                  <a:cubicBezTo>
                    <a:pt x="1071" y="456"/>
                    <a:pt x="1071" y="456"/>
                    <a:pt x="1071" y="456"/>
                  </a:cubicBezTo>
                  <a:cubicBezTo>
                    <a:pt x="1072" y="455"/>
                    <a:pt x="1072" y="455"/>
                    <a:pt x="1072" y="455"/>
                  </a:cubicBezTo>
                  <a:cubicBezTo>
                    <a:pt x="1073" y="455"/>
                    <a:pt x="1073" y="455"/>
                    <a:pt x="1073" y="455"/>
                  </a:cubicBezTo>
                  <a:cubicBezTo>
                    <a:pt x="1072" y="455"/>
                    <a:pt x="1072" y="455"/>
                    <a:pt x="1072" y="455"/>
                  </a:cubicBezTo>
                  <a:cubicBezTo>
                    <a:pt x="1071" y="456"/>
                    <a:pt x="1071" y="456"/>
                    <a:pt x="1071" y="456"/>
                  </a:cubicBezTo>
                  <a:cubicBezTo>
                    <a:pt x="1071" y="457"/>
                    <a:pt x="1071" y="457"/>
                    <a:pt x="1071" y="457"/>
                  </a:cubicBezTo>
                  <a:cubicBezTo>
                    <a:pt x="1071" y="457"/>
                    <a:pt x="1071" y="457"/>
                    <a:pt x="1071" y="457"/>
                  </a:cubicBezTo>
                  <a:cubicBezTo>
                    <a:pt x="1071" y="457"/>
                    <a:pt x="1071" y="457"/>
                    <a:pt x="1071" y="457"/>
                  </a:cubicBezTo>
                  <a:cubicBezTo>
                    <a:pt x="1070" y="458"/>
                    <a:pt x="1070" y="458"/>
                    <a:pt x="1070" y="458"/>
                  </a:cubicBezTo>
                  <a:cubicBezTo>
                    <a:pt x="1070" y="458"/>
                    <a:pt x="1070" y="458"/>
                    <a:pt x="1070" y="458"/>
                  </a:cubicBezTo>
                  <a:cubicBezTo>
                    <a:pt x="1070" y="457"/>
                    <a:pt x="1070" y="457"/>
                    <a:pt x="1070" y="457"/>
                  </a:cubicBezTo>
                  <a:cubicBezTo>
                    <a:pt x="1070" y="457"/>
                    <a:pt x="1070" y="457"/>
                    <a:pt x="1070" y="457"/>
                  </a:cubicBezTo>
                  <a:close/>
                  <a:moveTo>
                    <a:pt x="1068" y="458"/>
                  </a:moveTo>
                  <a:cubicBezTo>
                    <a:pt x="1068" y="458"/>
                    <a:pt x="1068" y="458"/>
                    <a:pt x="1068" y="458"/>
                  </a:cubicBezTo>
                  <a:cubicBezTo>
                    <a:pt x="1068" y="458"/>
                    <a:pt x="1068" y="458"/>
                    <a:pt x="1068" y="458"/>
                  </a:cubicBezTo>
                  <a:cubicBezTo>
                    <a:pt x="1068" y="457"/>
                    <a:pt x="1068" y="457"/>
                    <a:pt x="1068" y="457"/>
                  </a:cubicBezTo>
                  <a:cubicBezTo>
                    <a:pt x="1068" y="457"/>
                    <a:pt x="1068" y="457"/>
                    <a:pt x="1068" y="457"/>
                  </a:cubicBezTo>
                  <a:lnTo>
                    <a:pt x="1068" y="458"/>
                  </a:lnTo>
                  <a:close/>
                  <a:moveTo>
                    <a:pt x="1042" y="436"/>
                  </a:moveTo>
                  <a:cubicBezTo>
                    <a:pt x="1043" y="435"/>
                    <a:pt x="1043" y="435"/>
                    <a:pt x="1043" y="435"/>
                  </a:cubicBezTo>
                  <a:cubicBezTo>
                    <a:pt x="1044" y="435"/>
                    <a:pt x="1044" y="435"/>
                    <a:pt x="1044" y="435"/>
                  </a:cubicBezTo>
                  <a:cubicBezTo>
                    <a:pt x="1044" y="435"/>
                    <a:pt x="1044" y="435"/>
                    <a:pt x="1044" y="435"/>
                  </a:cubicBezTo>
                  <a:cubicBezTo>
                    <a:pt x="1044" y="435"/>
                    <a:pt x="1044" y="435"/>
                    <a:pt x="1044" y="435"/>
                  </a:cubicBezTo>
                  <a:cubicBezTo>
                    <a:pt x="1043" y="436"/>
                    <a:pt x="1043" y="436"/>
                    <a:pt x="1043" y="436"/>
                  </a:cubicBezTo>
                  <a:cubicBezTo>
                    <a:pt x="1042" y="436"/>
                    <a:pt x="1042" y="436"/>
                    <a:pt x="1042" y="436"/>
                  </a:cubicBezTo>
                  <a:cubicBezTo>
                    <a:pt x="1041" y="436"/>
                    <a:pt x="1041" y="436"/>
                    <a:pt x="1041" y="436"/>
                  </a:cubicBezTo>
                  <a:cubicBezTo>
                    <a:pt x="1041" y="436"/>
                    <a:pt x="1041" y="436"/>
                    <a:pt x="1041" y="436"/>
                  </a:cubicBezTo>
                  <a:lnTo>
                    <a:pt x="1042" y="436"/>
                  </a:lnTo>
                  <a:close/>
                  <a:moveTo>
                    <a:pt x="1038" y="433"/>
                  </a:moveTo>
                  <a:cubicBezTo>
                    <a:pt x="1038" y="432"/>
                    <a:pt x="1038" y="432"/>
                    <a:pt x="1038" y="432"/>
                  </a:cubicBezTo>
                  <a:cubicBezTo>
                    <a:pt x="1038" y="432"/>
                    <a:pt x="1038" y="432"/>
                    <a:pt x="1038" y="432"/>
                  </a:cubicBezTo>
                  <a:cubicBezTo>
                    <a:pt x="1038" y="432"/>
                    <a:pt x="1038" y="432"/>
                    <a:pt x="1038" y="432"/>
                  </a:cubicBezTo>
                  <a:lnTo>
                    <a:pt x="1038" y="433"/>
                  </a:lnTo>
                  <a:close/>
                  <a:moveTo>
                    <a:pt x="1033" y="429"/>
                  </a:moveTo>
                  <a:cubicBezTo>
                    <a:pt x="1034" y="429"/>
                    <a:pt x="1034" y="429"/>
                    <a:pt x="1034" y="429"/>
                  </a:cubicBezTo>
                  <a:cubicBezTo>
                    <a:pt x="1033" y="429"/>
                    <a:pt x="1033" y="429"/>
                    <a:pt x="1033" y="429"/>
                  </a:cubicBezTo>
                  <a:cubicBezTo>
                    <a:pt x="1033" y="429"/>
                    <a:pt x="1033" y="429"/>
                    <a:pt x="1033" y="429"/>
                  </a:cubicBezTo>
                  <a:cubicBezTo>
                    <a:pt x="1033" y="429"/>
                    <a:pt x="1033" y="429"/>
                    <a:pt x="1033" y="429"/>
                  </a:cubicBezTo>
                  <a:cubicBezTo>
                    <a:pt x="1033" y="429"/>
                    <a:pt x="1033" y="429"/>
                    <a:pt x="1033" y="429"/>
                  </a:cubicBezTo>
                  <a:cubicBezTo>
                    <a:pt x="1033" y="429"/>
                    <a:pt x="1033" y="429"/>
                    <a:pt x="1033" y="429"/>
                  </a:cubicBezTo>
                  <a:close/>
                  <a:moveTo>
                    <a:pt x="1030" y="427"/>
                  </a:moveTo>
                  <a:cubicBezTo>
                    <a:pt x="1030" y="426"/>
                    <a:pt x="1030" y="426"/>
                    <a:pt x="1030" y="426"/>
                  </a:cubicBezTo>
                  <a:cubicBezTo>
                    <a:pt x="1031" y="426"/>
                    <a:pt x="1031" y="426"/>
                    <a:pt x="1031" y="426"/>
                  </a:cubicBezTo>
                  <a:cubicBezTo>
                    <a:pt x="1031" y="427"/>
                    <a:pt x="1031" y="427"/>
                    <a:pt x="1031" y="427"/>
                  </a:cubicBezTo>
                  <a:cubicBezTo>
                    <a:pt x="1031" y="427"/>
                    <a:pt x="1031" y="427"/>
                    <a:pt x="1031" y="427"/>
                  </a:cubicBezTo>
                  <a:cubicBezTo>
                    <a:pt x="1031" y="427"/>
                    <a:pt x="1031" y="427"/>
                    <a:pt x="1031" y="427"/>
                  </a:cubicBezTo>
                  <a:cubicBezTo>
                    <a:pt x="1031" y="428"/>
                    <a:pt x="1031" y="428"/>
                    <a:pt x="1031" y="428"/>
                  </a:cubicBezTo>
                  <a:cubicBezTo>
                    <a:pt x="1032" y="430"/>
                    <a:pt x="1032" y="430"/>
                    <a:pt x="1032" y="430"/>
                  </a:cubicBezTo>
                  <a:cubicBezTo>
                    <a:pt x="1032" y="430"/>
                    <a:pt x="1032" y="430"/>
                    <a:pt x="1032" y="430"/>
                  </a:cubicBezTo>
                  <a:cubicBezTo>
                    <a:pt x="1031" y="431"/>
                    <a:pt x="1031" y="431"/>
                    <a:pt x="1031" y="431"/>
                  </a:cubicBezTo>
                  <a:cubicBezTo>
                    <a:pt x="1030" y="432"/>
                    <a:pt x="1030" y="432"/>
                    <a:pt x="1030" y="432"/>
                  </a:cubicBezTo>
                  <a:cubicBezTo>
                    <a:pt x="1030" y="432"/>
                    <a:pt x="1030" y="432"/>
                    <a:pt x="1030" y="432"/>
                  </a:cubicBezTo>
                  <a:cubicBezTo>
                    <a:pt x="1029" y="431"/>
                    <a:pt x="1029" y="431"/>
                    <a:pt x="1029" y="431"/>
                  </a:cubicBezTo>
                  <a:cubicBezTo>
                    <a:pt x="1030" y="431"/>
                    <a:pt x="1030" y="431"/>
                    <a:pt x="1030" y="431"/>
                  </a:cubicBezTo>
                  <a:cubicBezTo>
                    <a:pt x="1031" y="430"/>
                    <a:pt x="1031" y="430"/>
                    <a:pt x="1031" y="430"/>
                  </a:cubicBezTo>
                  <a:cubicBezTo>
                    <a:pt x="1031" y="429"/>
                    <a:pt x="1031" y="429"/>
                    <a:pt x="1031" y="429"/>
                  </a:cubicBezTo>
                  <a:cubicBezTo>
                    <a:pt x="1030" y="428"/>
                    <a:pt x="1030" y="428"/>
                    <a:pt x="1030" y="428"/>
                  </a:cubicBezTo>
                  <a:lnTo>
                    <a:pt x="1030" y="427"/>
                  </a:lnTo>
                  <a:close/>
                  <a:moveTo>
                    <a:pt x="1017" y="431"/>
                  </a:moveTo>
                  <a:cubicBezTo>
                    <a:pt x="1018" y="431"/>
                    <a:pt x="1018" y="431"/>
                    <a:pt x="1018" y="431"/>
                  </a:cubicBezTo>
                  <a:cubicBezTo>
                    <a:pt x="1018" y="430"/>
                    <a:pt x="1018" y="430"/>
                    <a:pt x="1018" y="430"/>
                  </a:cubicBezTo>
                  <a:cubicBezTo>
                    <a:pt x="1021" y="430"/>
                    <a:pt x="1021" y="430"/>
                    <a:pt x="1021" y="430"/>
                  </a:cubicBezTo>
                  <a:cubicBezTo>
                    <a:pt x="1022" y="429"/>
                    <a:pt x="1022" y="429"/>
                    <a:pt x="1022" y="429"/>
                  </a:cubicBezTo>
                  <a:cubicBezTo>
                    <a:pt x="1023" y="428"/>
                    <a:pt x="1023" y="428"/>
                    <a:pt x="1023" y="428"/>
                  </a:cubicBezTo>
                  <a:cubicBezTo>
                    <a:pt x="1024" y="427"/>
                    <a:pt x="1024" y="427"/>
                    <a:pt x="1024" y="427"/>
                  </a:cubicBezTo>
                  <a:cubicBezTo>
                    <a:pt x="1024" y="427"/>
                    <a:pt x="1024" y="427"/>
                    <a:pt x="1024" y="427"/>
                  </a:cubicBezTo>
                  <a:cubicBezTo>
                    <a:pt x="1025" y="427"/>
                    <a:pt x="1025" y="427"/>
                    <a:pt x="1025" y="427"/>
                  </a:cubicBezTo>
                  <a:cubicBezTo>
                    <a:pt x="1027" y="427"/>
                    <a:pt x="1027" y="427"/>
                    <a:pt x="1027" y="427"/>
                  </a:cubicBezTo>
                  <a:cubicBezTo>
                    <a:pt x="1027" y="427"/>
                    <a:pt x="1027" y="427"/>
                    <a:pt x="1027" y="427"/>
                  </a:cubicBezTo>
                  <a:cubicBezTo>
                    <a:pt x="1026" y="427"/>
                    <a:pt x="1026" y="427"/>
                    <a:pt x="1026" y="427"/>
                  </a:cubicBezTo>
                  <a:cubicBezTo>
                    <a:pt x="1025" y="427"/>
                    <a:pt x="1025" y="427"/>
                    <a:pt x="1025" y="427"/>
                  </a:cubicBezTo>
                  <a:cubicBezTo>
                    <a:pt x="1025" y="428"/>
                    <a:pt x="1025" y="428"/>
                    <a:pt x="1025" y="428"/>
                  </a:cubicBezTo>
                  <a:cubicBezTo>
                    <a:pt x="1024" y="428"/>
                    <a:pt x="1024" y="428"/>
                    <a:pt x="1024" y="428"/>
                  </a:cubicBezTo>
                  <a:cubicBezTo>
                    <a:pt x="1023" y="430"/>
                    <a:pt x="1023" y="430"/>
                    <a:pt x="1023" y="430"/>
                  </a:cubicBezTo>
                  <a:cubicBezTo>
                    <a:pt x="1022" y="430"/>
                    <a:pt x="1022" y="430"/>
                    <a:pt x="1022" y="430"/>
                  </a:cubicBezTo>
                  <a:cubicBezTo>
                    <a:pt x="1020" y="431"/>
                    <a:pt x="1020" y="431"/>
                    <a:pt x="1020" y="431"/>
                  </a:cubicBezTo>
                  <a:cubicBezTo>
                    <a:pt x="1019" y="431"/>
                    <a:pt x="1019" y="431"/>
                    <a:pt x="1019" y="431"/>
                  </a:cubicBezTo>
                  <a:cubicBezTo>
                    <a:pt x="1018" y="432"/>
                    <a:pt x="1018" y="432"/>
                    <a:pt x="1018" y="432"/>
                  </a:cubicBezTo>
                  <a:cubicBezTo>
                    <a:pt x="1018" y="432"/>
                    <a:pt x="1018" y="432"/>
                    <a:pt x="1018" y="432"/>
                  </a:cubicBezTo>
                  <a:cubicBezTo>
                    <a:pt x="1017" y="432"/>
                    <a:pt x="1017" y="432"/>
                    <a:pt x="1017" y="432"/>
                  </a:cubicBezTo>
                  <a:cubicBezTo>
                    <a:pt x="1016" y="431"/>
                    <a:pt x="1016" y="431"/>
                    <a:pt x="1016" y="431"/>
                  </a:cubicBezTo>
                  <a:cubicBezTo>
                    <a:pt x="1017" y="432"/>
                    <a:pt x="1017" y="432"/>
                    <a:pt x="1017" y="432"/>
                  </a:cubicBezTo>
                  <a:lnTo>
                    <a:pt x="1017" y="431"/>
                  </a:lnTo>
                  <a:close/>
                  <a:moveTo>
                    <a:pt x="969" y="521"/>
                  </a:moveTo>
                  <a:cubicBezTo>
                    <a:pt x="969" y="521"/>
                    <a:pt x="969" y="521"/>
                    <a:pt x="969" y="521"/>
                  </a:cubicBezTo>
                  <a:cubicBezTo>
                    <a:pt x="969" y="521"/>
                    <a:pt x="969" y="521"/>
                    <a:pt x="969" y="521"/>
                  </a:cubicBezTo>
                  <a:cubicBezTo>
                    <a:pt x="969" y="521"/>
                    <a:pt x="969" y="521"/>
                    <a:pt x="969" y="521"/>
                  </a:cubicBezTo>
                  <a:close/>
                  <a:moveTo>
                    <a:pt x="913" y="529"/>
                  </a:moveTo>
                  <a:cubicBezTo>
                    <a:pt x="912" y="530"/>
                    <a:pt x="912" y="530"/>
                    <a:pt x="912" y="530"/>
                  </a:cubicBezTo>
                  <a:cubicBezTo>
                    <a:pt x="912" y="532"/>
                    <a:pt x="912" y="532"/>
                    <a:pt x="912" y="532"/>
                  </a:cubicBezTo>
                  <a:cubicBezTo>
                    <a:pt x="912" y="533"/>
                    <a:pt x="912" y="533"/>
                    <a:pt x="912" y="533"/>
                  </a:cubicBezTo>
                  <a:cubicBezTo>
                    <a:pt x="911" y="534"/>
                    <a:pt x="911" y="534"/>
                    <a:pt x="911" y="534"/>
                  </a:cubicBezTo>
                  <a:cubicBezTo>
                    <a:pt x="910" y="534"/>
                    <a:pt x="910" y="534"/>
                    <a:pt x="910" y="534"/>
                  </a:cubicBezTo>
                  <a:cubicBezTo>
                    <a:pt x="911" y="534"/>
                    <a:pt x="911" y="534"/>
                    <a:pt x="911" y="534"/>
                  </a:cubicBezTo>
                  <a:cubicBezTo>
                    <a:pt x="911" y="533"/>
                    <a:pt x="911" y="533"/>
                    <a:pt x="911" y="533"/>
                  </a:cubicBezTo>
                  <a:cubicBezTo>
                    <a:pt x="911" y="531"/>
                    <a:pt x="911" y="531"/>
                    <a:pt x="911" y="531"/>
                  </a:cubicBezTo>
                  <a:cubicBezTo>
                    <a:pt x="912" y="530"/>
                    <a:pt x="912" y="530"/>
                    <a:pt x="912" y="530"/>
                  </a:cubicBezTo>
                  <a:cubicBezTo>
                    <a:pt x="913" y="529"/>
                    <a:pt x="913" y="529"/>
                    <a:pt x="913" y="529"/>
                  </a:cubicBezTo>
                  <a:cubicBezTo>
                    <a:pt x="914" y="528"/>
                    <a:pt x="914" y="528"/>
                    <a:pt x="914" y="528"/>
                  </a:cubicBezTo>
                  <a:lnTo>
                    <a:pt x="913" y="529"/>
                  </a:lnTo>
                  <a:close/>
                  <a:moveTo>
                    <a:pt x="955" y="610"/>
                  </a:moveTo>
                  <a:cubicBezTo>
                    <a:pt x="956" y="610"/>
                    <a:pt x="956" y="610"/>
                    <a:pt x="956" y="610"/>
                  </a:cubicBezTo>
                  <a:cubicBezTo>
                    <a:pt x="956" y="609"/>
                    <a:pt x="956" y="609"/>
                    <a:pt x="956" y="609"/>
                  </a:cubicBezTo>
                  <a:cubicBezTo>
                    <a:pt x="956" y="610"/>
                    <a:pt x="956" y="610"/>
                    <a:pt x="956" y="610"/>
                  </a:cubicBezTo>
                  <a:cubicBezTo>
                    <a:pt x="956" y="611"/>
                    <a:pt x="956" y="611"/>
                    <a:pt x="956" y="611"/>
                  </a:cubicBezTo>
                  <a:cubicBezTo>
                    <a:pt x="956" y="611"/>
                    <a:pt x="956" y="611"/>
                    <a:pt x="956" y="611"/>
                  </a:cubicBezTo>
                  <a:cubicBezTo>
                    <a:pt x="956" y="612"/>
                    <a:pt x="956" y="612"/>
                    <a:pt x="956" y="612"/>
                  </a:cubicBezTo>
                  <a:cubicBezTo>
                    <a:pt x="956" y="612"/>
                    <a:pt x="956" y="612"/>
                    <a:pt x="956" y="612"/>
                  </a:cubicBezTo>
                  <a:cubicBezTo>
                    <a:pt x="955" y="611"/>
                    <a:pt x="955" y="611"/>
                    <a:pt x="955" y="611"/>
                  </a:cubicBezTo>
                  <a:lnTo>
                    <a:pt x="955" y="610"/>
                  </a:lnTo>
                  <a:close/>
                  <a:moveTo>
                    <a:pt x="955" y="616"/>
                  </a:moveTo>
                  <a:cubicBezTo>
                    <a:pt x="955" y="614"/>
                    <a:pt x="955" y="614"/>
                    <a:pt x="955" y="614"/>
                  </a:cubicBezTo>
                  <a:cubicBezTo>
                    <a:pt x="955" y="618"/>
                    <a:pt x="955" y="618"/>
                    <a:pt x="955" y="618"/>
                  </a:cubicBezTo>
                  <a:cubicBezTo>
                    <a:pt x="955" y="620"/>
                    <a:pt x="955" y="620"/>
                    <a:pt x="955" y="620"/>
                  </a:cubicBezTo>
                  <a:cubicBezTo>
                    <a:pt x="956" y="622"/>
                    <a:pt x="956" y="622"/>
                    <a:pt x="956" y="622"/>
                  </a:cubicBezTo>
                  <a:cubicBezTo>
                    <a:pt x="957" y="624"/>
                    <a:pt x="957" y="624"/>
                    <a:pt x="957" y="624"/>
                  </a:cubicBezTo>
                  <a:cubicBezTo>
                    <a:pt x="956" y="625"/>
                    <a:pt x="956" y="625"/>
                    <a:pt x="956" y="625"/>
                  </a:cubicBezTo>
                  <a:cubicBezTo>
                    <a:pt x="956" y="624"/>
                    <a:pt x="956" y="624"/>
                    <a:pt x="956" y="624"/>
                  </a:cubicBezTo>
                  <a:cubicBezTo>
                    <a:pt x="955" y="622"/>
                    <a:pt x="955" y="622"/>
                    <a:pt x="955" y="622"/>
                  </a:cubicBezTo>
                  <a:cubicBezTo>
                    <a:pt x="955" y="620"/>
                    <a:pt x="955" y="620"/>
                    <a:pt x="955" y="620"/>
                  </a:cubicBezTo>
                  <a:lnTo>
                    <a:pt x="955" y="616"/>
                  </a:lnTo>
                  <a:close/>
                  <a:moveTo>
                    <a:pt x="858" y="854"/>
                  </a:moveTo>
                  <a:cubicBezTo>
                    <a:pt x="858" y="854"/>
                    <a:pt x="858" y="854"/>
                    <a:pt x="858" y="854"/>
                  </a:cubicBezTo>
                  <a:cubicBezTo>
                    <a:pt x="858" y="854"/>
                    <a:pt x="858" y="854"/>
                    <a:pt x="858" y="854"/>
                  </a:cubicBezTo>
                  <a:cubicBezTo>
                    <a:pt x="859" y="855"/>
                    <a:pt x="859" y="855"/>
                    <a:pt x="859" y="855"/>
                  </a:cubicBezTo>
                  <a:cubicBezTo>
                    <a:pt x="859" y="855"/>
                    <a:pt x="859" y="855"/>
                    <a:pt x="859" y="855"/>
                  </a:cubicBezTo>
                  <a:cubicBezTo>
                    <a:pt x="860" y="856"/>
                    <a:pt x="860" y="856"/>
                    <a:pt x="860" y="856"/>
                  </a:cubicBezTo>
                  <a:cubicBezTo>
                    <a:pt x="860" y="857"/>
                    <a:pt x="860" y="857"/>
                    <a:pt x="860" y="857"/>
                  </a:cubicBezTo>
                  <a:cubicBezTo>
                    <a:pt x="861" y="859"/>
                    <a:pt x="861" y="859"/>
                    <a:pt x="861" y="859"/>
                  </a:cubicBezTo>
                  <a:cubicBezTo>
                    <a:pt x="861" y="861"/>
                    <a:pt x="861" y="861"/>
                    <a:pt x="861" y="861"/>
                  </a:cubicBezTo>
                  <a:cubicBezTo>
                    <a:pt x="861" y="861"/>
                    <a:pt x="861" y="861"/>
                    <a:pt x="861" y="861"/>
                  </a:cubicBezTo>
                  <a:cubicBezTo>
                    <a:pt x="862" y="861"/>
                    <a:pt x="862" y="861"/>
                    <a:pt x="862" y="861"/>
                  </a:cubicBezTo>
                  <a:cubicBezTo>
                    <a:pt x="862" y="861"/>
                    <a:pt x="862" y="861"/>
                    <a:pt x="862" y="861"/>
                  </a:cubicBezTo>
                  <a:cubicBezTo>
                    <a:pt x="861" y="861"/>
                    <a:pt x="861" y="861"/>
                    <a:pt x="861" y="861"/>
                  </a:cubicBezTo>
                  <a:cubicBezTo>
                    <a:pt x="861" y="860"/>
                    <a:pt x="861" y="860"/>
                    <a:pt x="861" y="860"/>
                  </a:cubicBezTo>
                  <a:cubicBezTo>
                    <a:pt x="860" y="860"/>
                    <a:pt x="860" y="860"/>
                    <a:pt x="860" y="860"/>
                  </a:cubicBezTo>
                  <a:cubicBezTo>
                    <a:pt x="860" y="859"/>
                    <a:pt x="860" y="859"/>
                    <a:pt x="860" y="859"/>
                  </a:cubicBezTo>
                  <a:cubicBezTo>
                    <a:pt x="859" y="856"/>
                    <a:pt x="859" y="856"/>
                    <a:pt x="859" y="856"/>
                  </a:cubicBezTo>
                  <a:cubicBezTo>
                    <a:pt x="859" y="855"/>
                    <a:pt x="859" y="855"/>
                    <a:pt x="859" y="855"/>
                  </a:cubicBezTo>
                  <a:cubicBezTo>
                    <a:pt x="858" y="855"/>
                    <a:pt x="858" y="855"/>
                    <a:pt x="858" y="855"/>
                  </a:cubicBezTo>
                  <a:cubicBezTo>
                    <a:pt x="858" y="855"/>
                    <a:pt x="858" y="855"/>
                    <a:pt x="858" y="855"/>
                  </a:cubicBezTo>
                  <a:cubicBezTo>
                    <a:pt x="858" y="854"/>
                    <a:pt x="858" y="854"/>
                    <a:pt x="858" y="854"/>
                  </a:cubicBezTo>
                  <a:cubicBezTo>
                    <a:pt x="858" y="854"/>
                    <a:pt x="858" y="854"/>
                    <a:pt x="858" y="854"/>
                  </a:cubicBezTo>
                  <a:close/>
                  <a:moveTo>
                    <a:pt x="847" y="863"/>
                  </a:moveTo>
                  <a:cubicBezTo>
                    <a:pt x="848" y="863"/>
                    <a:pt x="848" y="863"/>
                    <a:pt x="848" y="863"/>
                  </a:cubicBezTo>
                  <a:cubicBezTo>
                    <a:pt x="847" y="863"/>
                    <a:pt x="847" y="863"/>
                    <a:pt x="847" y="863"/>
                  </a:cubicBezTo>
                  <a:cubicBezTo>
                    <a:pt x="847" y="863"/>
                    <a:pt x="847" y="863"/>
                    <a:pt x="847" y="863"/>
                  </a:cubicBezTo>
                  <a:cubicBezTo>
                    <a:pt x="847" y="863"/>
                    <a:pt x="847" y="863"/>
                    <a:pt x="847" y="863"/>
                  </a:cubicBezTo>
                  <a:cubicBezTo>
                    <a:pt x="847" y="863"/>
                    <a:pt x="847" y="863"/>
                    <a:pt x="847" y="863"/>
                  </a:cubicBezTo>
                  <a:cubicBezTo>
                    <a:pt x="847" y="863"/>
                    <a:pt x="847" y="863"/>
                    <a:pt x="847" y="863"/>
                  </a:cubicBezTo>
                  <a:close/>
                  <a:moveTo>
                    <a:pt x="844" y="859"/>
                  </a:moveTo>
                  <a:cubicBezTo>
                    <a:pt x="843" y="860"/>
                    <a:pt x="843" y="860"/>
                    <a:pt x="843" y="860"/>
                  </a:cubicBezTo>
                  <a:cubicBezTo>
                    <a:pt x="843" y="860"/>
                    <a:pt x="843" y="860"/>
                    <a:pt x="843" y="860"/>
                  </a:cubicBezTo>
                  <a:cubicBezTo>
                    <a:pt x="844" y="861"/>
                    <a:pt x="844" y="861"/>
                    <a:pt x="844" y="861"/>
                  </a:cubicBezTo>
                  <a:cubicBezTo>
                    <a:pt x="844" y="862"/>
                    <a:pt x="844" y="862"/>
                    <a:pt x="844" y="862"/>
                  </a:cubicBezTo>
                  <a:cubicBezTo>
                    <a:pt x="844" y="863"/>
                    <a:pt x="844" y="863"/>
                    <a:pt x="844" y="863"/>
                  </a:cubicBezTo>
                  <a:cubicBezTo>
                    <a:pt x="844" y="864"/>
                    <a:pt x="844" y="864"/>
                    <a:pt x="844" y="864"/>
                  </a:cubicBezTo>
                  <a:cubicBezTo>
                    <a:pt x="844" y="864"/>
                    <a:pt x="844" y="864"/>
                    <a:pt x="844" y="864"/>
                  </a:cubicBezTo>
                  <a:cubicBezTo>
                    <a:pt x="843" y="863"/>
                    <a:pt x="843" y="863"/>
                    <a:pt x="843" y="863"/>
                  </a:cubicBezTo>
                  <a:cubicBezTo>
                    <a:pt x="843" y="863"/>
                    <a:pt x="843" y="863"/>
                    <a:pt x="843" y="863"/>
                  </a:cubicBezTo>
                  <a:cubicBezTo>
                    <a:pt x="843" y="862"/>
                    <a:pt x="843" y="862"/>
                    <a:pt x="843" y="862"/>
                  </a:cubicBezTo>
                  <a:cubicBezTo>
                    <a:pt x="843" y="861"/>
                    <a:pt x="843" y="861"/>
                    <a:pt x="843" y="861"/>
                  </a:cubicBezTo>
                  <a:cubicBezTo>
                    <a:pt x="843" y="860"/>
                    <a:pt x="843" y="860"/>
                    <a:pt x="843" y="860"/>
                  </a:cubicBezTo>
                  <a:cubicBezTo>
                    <a:pt x="843" y="859"/>
                    <a:pt x="843" y="859"/>
                    <a:pt x="843" y="859"/>
                  </a:cubicBezTo>
                  <a:cubicBezTo>
                    <a:pt x="843" y="859"/>
                    <a:pt x="843" y="859"/>
                    <a:pt x="843" y="859"/>
                  </a:cubicBezTo>
                  <a:cubicBezTo>
                    <a:pt x="842" y="858"/>
                    <a:pt x="842" y="858"/>
                    <a:pt x="842" y="858"/>
                  </a:cubicBezTo>
                  <a:cubicBezTo>
                    <a:pt x="843" y="858"/>
                    <a:pt x="843" y="858"/>
                    <a:pt x="843" y="858"/>
                  </a:cubicBezTo>
                  <a:lnTo>
                    <a:pt x="844" y="859"/>
                  </a:lnTo>
                  <a:close/>
                  <a:moveTo>
                    <a:pt x="839" y="855"/>
                  </a:moveTo>
                  <a:cubicBezTo>
                    <a:pt x="840" y="857"/>
                    <a:pt x="840" y="857"/>
                    <a:pt x="840" y="857"/>
                  </a:cubicBezTo>
                  <a:cubicBezTo>
                    <a:pt x="840" y="858"/>
                    <a:pt x="840" y="858"/>
                    <a:pt x="840" y="858"/>
                  </a:cubicBezTo>
                  <a:cubicBezTo>
                    <a:pt x="840" y="858"/>
                    <a:pt x="840" y="858"/>
                    <a:pt x="840" y="858"/>
                  </a:cubicBezTo>
                  <a:cubicBezTo>
                    <a:pt x="840" y="857"/>
                    <a:pt x="840" y="857"/>
                    <a:pt x="840" y="857"/>
                  </a:cubicBezTo>
                  <a:cubicBezTo>
                    <a:pt x="839" y="855"/>
                    <a:pt x="839" y="855"/>
                    <a:pt x="839" y="855"/>
                  </a:cubicBezTo>
                  <a:cubicBezTo>
                    <a:pt x="839" y="855"/>
                    <a:pt x="839" y="855"/>
                    <a:pt x="839" y="855"/>
                  </a:cubicBezTo>
                  <a:cubicBezTo>
                    <a:pt x="839" y="854"/>
                    <a:pt x="839" y="854"/>
                    <a:pt x="839" y="854"/>
                  </a:cubicBezTo>
                  <a:cubicBezTo>
                    <a:pt x="839" y="854"/>
                    <a:pt x="839" y="854"/>
                    <a:pt x="839" y="854"/>
                  </a:cubicBezTo>
                  <a:cubicBezTo>
                    <a:pt x="839" y="853"/>
                    <a:pt x="839" y="853"/>
                    <a:pt x="839" y="853"/>
                  </a:cubicBezTo>
                  <a:cubicBezTo>
                    <a:pt x="839" y="854"/>
                    <a:pt x="839" y="854"/>
                    <a:pt x="839" y="854"/>
                  </a:cubicBezTo>
                  <a:lnTo>
                    <a:pt x="839" y="855"/>
                  </a:lnTo>
                  <a:close/>
                  <a:moveTo>
                    <a:pt x="833" y="849"/>
                  </a:moveTo>
                  <a:cubicBezTo>
                    <a:pt x="834" y="849"/>
                    <a:pt x="834" y="849"/>
                    <a:pt x="834" y="849"/>
                  </a:cubicBezTo>
                  <a:cubicBezTo>
                    <a:pt x="834" y="849"/>
                    <a:pt x="834" y="849"/>
                    <a:pt x="834" y="849"/>
                  </a:cubicBezTo>
                  <a:cubicBezTo>
                    <a:pt x="835" y="850"/>
                    <a:pt x="835" y="850"/>
                    <a:pt x="835" y="850"/>
                  </a:cubicBezTo>
                  <a:cubicBezTo>
                    <a:pt x="835" y="850"/>
                    <a:pt x="835" y="850"/>
                    <a:pt x="835" y="850"/>
                  </a:cubicBezTo>
                  <a:cubicBezTo>
                    <a:pt x="836" y="850"/>
                    <a:pt x="836" y="850"/>
                    <a:pt x="836" y="850"/>
                  </a:cubicBezTo>
                  <a:cubicBezTo>
                    <a:pt x="836" y="851"/>
                    <a:pt x="836" y="851"/>
                    <a:pt x="836" y="851"/>
                  </a:cubicBezTo>
                  <a:cubicBezTo>
                    <a:pt x="837" y="851"/>
                    <a:pt x="837" y="851"/>
                    <a:pt x="837" y="851"/>
                  </a:cubicBezTo>
                  <a:cubicBezTo>
                    <a:pt x="837" y="851"/>
                    <a:pt x="837" y="851"/>
                    <a:pt x="837" y="851"/>
                  </a:cubicBezTo>
                  <a:cubicBezTo>
                    <a:pt x="838" y="851"/>
                    <a:pt x="838" y="851"/>
                    <a:pt x="838" y="851"/>
                  </a:cubicBezTo>
                  <a:cubicBezTo>
                    <a:pt x="838" y="851"/>
                    <a:pt x="838" y="851"/>
                    <a:pt x="838" y="851"/>
                  </a:cubicBezTo>
                  <a:cubicBezTo>
                    <a:pt x="838" y="851"/>
                    <a:pt x="838" y="851"/>
                    <a:pt x="838" y="851"/>
                  </a:cubicBezTo>
                  <a:cubicBezTo>
                    <a:pt x="839" y="851"/>
                    <a:pt x="839" y="851"/>
                    <a:pt x="839" y="851"/>
                  </a:cubicBezTo>
                  <a:cubicBezTo>
                    <a:pt x="839" y="853"/>
                    <a:pt x="839" y="853"/>
                    <a:pt x="839" y="853"/>
                  </a:cubicBezTo>
                  <a:cubicBezTo>
                    <a:pt x="839" y="853"/>
                    <a:pt x="839" y="853"/>
                    <a:pt x="839" y="853"/>
                  </a:cubicBezTo>
                  <a:cubicBezTo>
                    <a:pt x="839" y="852"/>
                    <a:pt x="839" y="852"/>
                    <a:pt x="839" y="852"/>
                  </a:cubicBezTo>
                  <a:cubicBezTo>
                    <a:pt x="839" y="851"/>
                    <a:pt x="839" y="851"/>
                    <a:pt x="839" y="851"/>
                  </a:cubicBezTo>
                  <a:cubicBezTo>
                    <a:pt x="838" y="851"/>
                    <a:pt x="838" y="851"/>
                    <a:pt x="838" y="851"/>
                  </a:cubicBezTo>
                  <a:cubicBezTo>
                    <a:pt x="838" y="851"/>
                    <a:pt x="838" y="851"/>
                    <a:pt x="838" y="851"/>
                  </a:cubicBezTo>
                  <a:cubicBezTo>
                    <a:pt x="837" y="851"/>
                    <a:pt x="837" y="851"/>
                    <a:pt x="837" y="851"/>
                  </a:cubicBezTo>
                  <a:cubicBezTo>
                    <a:pt x="837" y="851"/>
                    <a:pt x="837" y="851"/>
                    <a:pt x="837" y="851"/>
                  </a:cubicBezTo>
                  <a:cubicBezTo>
                    <a:pt x="836" y="851"/>
                    <a:pt x="836" y="851"/>
                    <a:pt x="836" y="851"/>
                  </a:cubicBezTo>
                  <a:cubicBezTo>
                    <a:pt x="836" y="851"/>
                    <a:pt x="836" y="851"/>
                    <a:pt x="836" y="851"/>
                  </a:cubicBezTo>
                  <a:cubicBezTo>
                    <a:pt x="835" y="850"/>
                    <a:pt x="835" y="850"/>
                    <a:pt x="835" y="850"/>
                  </a:cubicBezTo>
                  <a:cubicBezTo>
                    <a:pt x="835" y="850"/>
                    <a:pt x="835" y="850"/>
                    <a:pt x="835" y="850"/>
                  </a:cubicBezTo>
                  <a:cubicBezTo>
                    <a:pt x="834" y="850"/>
                    <a:pt x="834" y="850"/>
                    <a:pt x="834" y="850"/>
                  </a:cubicBezTo>
                  <a:cubicBezTo>
                    <a:pt x="834" y="850"/>
                    <a:pt x="834" y="850"/>
                    <a:pt x="834" y="850"/>
                  </a:cubicBezTo>
                  <a:cubicBezTo>
                    <a:pt x="833" y="849"/>
                    <a:pt x="833" y="849"/>
                    <a:pt x="833" y="849"/>
                  </a:cubicBezTo>
                  <a:cubicBezTo>
                    <a:pt x="833" y="848"/>
                    <a:pt x="833" y="848"/>
                    <a:pt x="833" y="848"/>
                  </a:cubicBezTo>
                  <a:cubicBezTo>
                    <a:pt x="833" y="847"/>
                    <a:pt x="833" y="847"/>
                    <a:pt x="833" y="847"/>
                  </a:cubicBezTo>
                  <a:cubicBezTo>
                    <a:pt x="832" y="845"/>
                    <a:pt x="832" y="845"/>
                    <a:pt x="832" y="845"/>
                  </a:cubicBezTo>
                  <a:cubicBezTo>
                    <a:pt x="832" y="845"/>
                    <a:pt x="832" y="845"/>
                    <a:pt x="832" y="845"/>
                  </a:cubicBezTo>
                  <a:cubicBezTo>
                    <a:pt x="832" y="846"/>
                    <a:pt x="832" y="846"/>
                    <a:pt x="832" y="846"/>
                  </a:cubicBezTo>
                  <a:cubicBezTo>
                    <a:pt x="833" y="848"/>
                    <a:pt x="833" y="848"/>
                    <a:pt x="833" y="848"/>
                  </a:cubicBezTo>
                  <a:lnTo>
                    <a:pt x="833" y="849"/>
                  </a:lnTo>
                  <a:close/>
                  <a:moveTo>
                    <a:pt x="833" y="843"/>
                  </a:moveTo>
                  <a:cubicBezTo>
                    <a:pt x="832" y="843"/>
                    <a:pt x="832" y="843"/>
                    <a:pt x="832" y="843"/>
                  </a:cubicBezTo>
                  <a:cubicBezTo>
                    <a:pt x="832" y="843"/>
                    <a:pt x="832" y="843"/>
                    <a:pt x="832" y="843"/>
                  </a:cubicBezTo>
                  <a:cubicBezTo>
                    <a:pt x="832" y="842"/>
                    <a:pt x="832" y="842"/>
                    <a:pt x="832" y="842"/>
                  </a:cubicBezTo>
                  <a:cubicBezTo>
                    <a:pt x="832" y="842"/>
                    <a:pt x="832" y="842"/>
                    <a:pt x="832" y="842"/>
                  </a:cubicBezTo>
                  <a:cubicBezTo>
                    <a:pt x="832" y="842"/>
                    <a:pt x="832" y="842"/>
                    <a:pt x="832" y="842"/>
                  </a:cubicBezTo>
                  <a:lnTo>
                    <a:pt x="833" y="843"/>
                  </a:lnTo>
                  <a:close/>
                  <a:moveTo>
                    <a:pt x="824" y="840"/>
                  </a:moveTo>
                  <a:cubicBezTo>
                    <a:pt x="824" y="840"/>
                    <a:pt x="824" y="840"/>
                    <a:pt x="824" y="840"/>
                  </a:cubicBezTo>
                  <a:cubicBezTo>
                    <a:pt x="825" y="839"/>
                    <a:pt x="825" y="839"/>
                    <a:pt x="825" y="839"/>
                  </a:cubicBezTo>
                  <a:cubicBezTo>
                    <a:pt x="825" y="839"/>
                    <a:pt x="825" y="839"/>
                    <a:pt x="825" y="839"/>
                  </a:cubicBezTo>
                  <a:cubicBezTo>
                    <a:pt x="826" y="839"/>
                    <a:pt x="826" y="839"/>
                    <a:pt x="826" y="839"/>
                  </a:cubicBezTo>
                  <a:cubicBezTo>
                    <a:pt x="827" y="839"/>
                    <a:pt x="827" y="839"/>
                    <a:pt x="827" y="839"/>
                  </a:cubicBezTo>
                  <a:cubicBezTo>
                    <a:pt x="829" y="840"/>
                    <a:pt x="829" y="840"/>
                    <a:pt x="829" y="840"/>
                  </a:cubicBezTo>
                  <a:cubicBezTo>
                    <a:pt x="830" y="840"/>
                    <a:pt x="830" y="840"/>
                    <a:pt x="830" y="840"/>
                  </a:cubicBezTo>
                  <a:cubicBezTo>
                    <a:pt x="831" y="840"/>
                    <a:pt x="831" y="840"/>
                    <a:pt x="831" y="840"/>
                  </a:cubicBezTo>
                  <a:cubicBezTo>
                    <a:pt x="832" y="840"/>
                    <a:pt x="832" y="840"/>
                    <a:pt x="832" y="840"/>
                  </a:cubicBezTo>
                  <a:cubicBezTo>
                    <a:pt x="832" y="840"/>
                    <a:pt x="832" y="840"/>
                    <a:pt x="832" y="840"/>
                  </a:cubicBezTo>
                  <a:cubicBezTo>
                    <a:pt x="831" y="840"/>
                    <a:pt x="831" y="840"/>
                    <a:pt x="831" y="840"/>
                  </a:cubicBezTo>
                  <a:cubicBezTo>
                    <a:pt x="830" y="841"/>
                    <a:pt x="830" y="841"/>
                    <a:pt x="830" y="841"/>
                  </a:cubicBezTo>
                  <a:cubicBezTo>
                    <a:pt x="829" y="841"/>
                    <a:pt x="829" y="841"/>
                    <a:pt x="829" y="841"/>
                  </a:cubicBezTo>
                  <a:cubicBezTo>
                    <a:pt x="827" y="840"/>
                    <a:pt x="827" y="840"/>
                    <a:pt x="827" y="840"/>
                  </a:cubicBezTo>
                  <a:cubicBezTo>
                    <a:pt x="826" y="839"/>
                    <a:pt x="826" y="839"/>
                    <a:pt x="826" y="839"/>
                  </a:cubicBezTo>
                  <a:cubicBezTo>
                    <a:pt x="825" y="839"/>
                    <a:pt x="825" y="839"/>
                    <a:pt x="825" y="839"/>
                  </a:cubicBezTo>
                  <a:cubicBezTo>
                    <a:pt x="825" y="839"/>
                    <a:pt x="825" y="839"/>
                    <a:pt x="825" y="839"/>
                  </a:cubicBezTo>
                  <a:cubicBezTo>
                    <a:pt x="824" y="840"/>
                    <a:pt x="824" y="840"/>
                    <a:pt x="824" y="840"/>
                  </a:cubicBezTo>
                  <a:cubicBezTo>
                    <a:pt x="824" y="840"/>
                    <a:pt x="824" y="840"/>
                    <a:pt x="824" y="840"/>
                  </a:cubicBezTo>
                  <a:cubicBezTo>
                    <a:pt x="823" y="840"/>
                    <a:pt x="823" y="840"/>
                    <a:pt x="823" y="840"/>
                  </a:cubicBezTo>
                  <a:cubicBezTo>
                    <a:pt x="823" y="839"/>
                    <a:pt x="823" y="839"/>
                    <a:pt x="823" y="839"/>
                  </a:cubicBezTo>
                  <a:cubicBezTo>
                    <a:pt x="823" y="839"/>
                    <a:pt x="823" y="839"/>
                    <a:pt x="823" y="839"/>
                  </a:cubicBezTo>
                  <a:cubicBezTo>
                    <a:pt x="823" y="840"/>
                    <a:pt x="823" y="840"/>
                    <a:pt x="823" y="840"/>
                  </a:cubicBezTo>
                  <a:lnTo>
                    <a:pt x="824" y="840"/>
                  </a:lnTo>
                  <a:close/>
                  <a:moveTo>
                    <a:pt x="820" y="837"/>
                  </a:moveTo>
                  <a:cubicBezTo>
                    <a:pt x="820" y="837"/>
                    <a:pt x="820" y="837"/>
                    <a:pt x="820" y="837"/>
                  </a:cubicBezTo>
                  <a:cubicBezTo>
                    <a:pt x="821" y="838"/>
                    <a:pt x="821" y="838"/>
                    <a:pt x="821" y="838"/>
                  </a:cubicBezTo>
                  <a:cubicBezTo>
                    <a:pt x="821" y="838"/>
                    <a:pt x="821" y="838"/>
                    <a:pt x="821" y="838"/>
                  </a:cubicBezTo>
                  <a:cubicBezTo>
                    <a:pt x="822" y="838"/>
                    <a:pt x="822" y="838"/>
                    <a:pt x="822" y="838"/>
                  </a:cubicBezTo>
                  <a:cubicBezTo>
                    <a:pt x="823" y="838"/>
                    <a:pt x="823" y="838"/>
                    <a:pt x="823" y="838"/>
                  </a:cubicBezTo>
                  <a:cubicBezTo>
                    <a:pt x="823" y="838"/>
                    <a:pt x="823" y="838"/>
                    <a:pt x="823" y="838"/>
                  </a:cubicBezTo>
                  <a:cubicBezTo>
                    <a:pt x="823" y="838"/>
                    <a:pt x="823" y="838"/>
                    <a:pt x="823" y="838"/>
                  </a:cubicBezTo>
                  <a:cubicBezTo>
                    <a:pt x="822" y="838"/>
                    <a:pt x="822" y="838"/>
                    <a:pt x="822" y="838"/>
                  </a:cubicBezTo>
                  <a:cubicBezTo>
                    <a:pt x="822" y="838"/>
                    <a:pt x="822" y="838"/>
                    <a:pt x="822" y="838"/>
                  </a:cubicBezTo>
                  <a:cubicBezTo>
                    <a:pt x="821" y="838"/>
                    <a:pt x="821" y="838"/>
                    <a:pt x="821" y="838"/>
                  </a:cubicBezTo>
                  <a:cubicBezTo>
                    <a:pt x="820" y="837"/>
                    <a:pt x="820" y="837"/>
                    <a:pt x="820" y="837"/>
                  </a:cubicBezTo>
                  <a:cubicBezTo>
                    <a:pt x="820" y="837"/>
                    <a:pt x="820" y="837"/>
                    <a:pt x="820" y="837"/>
                  </a:cubicBezTo>
                  <a:cubicBezTo>
                    <a:pt x="818" y="837"/>
                    <a:pt x="818" y="837"/>
                    <a:pt x="818" y="837"/>
                  </a:cubicBezTo>
                  <a:cubicBezTo>
                    <a:pt x="818" y="836"/>
                    <a:pt x="818" y="836"/>
                    <a:pt x="818" y="836"/>
                  </a:cubicBezTo>
                  <a:lnTo>
                    <a:pt x="820" y="837"/>
                  </a:lnTo>
                  <a:close/>
                  <a:moveTo>
                    <a:pt x="815" y="834"/>
                  </a:moveTo>
                  <a:cubicBezTo>
                    <a:pt x="816" y="834"/>
                    <a:pt x="816" y="834"/>
                    <a:pt x="816" y="834"/>
                  </a:cubicBezTo>
                  <a:cubicBezTo>
                    <a:pt x="817" y="835"/>
                    <a:pt x="817" y="835"/>
                    <a:pt x="817" y="835"/>
                  </a:cubicBezTo>
                  <a:cubicBezTo>
                    <a:pt x="817" y="835"/>
                    <a:pt x="817" y="835"/>
                    <a:pt x="817" y="835"/>
                  </a:cubicBezTo>
                  <a:cubicBezTo>
                    <a:pt x="816" y="834"/>
                    <a:pt x="816" y="834"/>
                    <a:pt x="816" y="834"/>
                  </a:cubicBezTo>
                  <a:cubicBezTo>
                    <a:pt x="816" y="834"/>
                    <a:pt x="816" y="834"/>
                    <a:pt x="816" y="834"/>
                  </a:cubicBezTo>
                  <a:cubicBezTo>
                    <a:pt x="815" y="834"/>
                    <a:pt x="815" y="834"/>
                    <a:pt x="815" y="834"/>
                  </a:cubicBezTo>
                  <a:cubicBezTo>
                    <a:pt x="815" y="835"/>
                    <a:pt x="815" y="835"/>
                    <a:pt x="815" y="835"/>
                  </a:cubicBezTo>
                  <a:cubicBezTo>
                    <a:pt x="815" y="835"/>
                    <a:pt x="815" y="835"/>
                    <a:pt x="815" y="835"/>
                  </a:cubicBezTo>
                  <a:cubicBezTo>
                    <a:pt x="815" y="833"/>
                    <a:pt x="815" y="833"/>
                    <a:pt x="815" y="833"/>
                  </a:cubicBezTo>
                  <a:lnTo>
                    <a:pt x="815" y="834"/>
                  </a:lnTo>
                  <a:close/>
                  <a:moveTo>
                    <a:pt x="810" y="837"/>
                  </a:moveTo>
                  <a:cubicBezTo>
                    <a:pt x="811" y="837"/>
                    <a:pt x="811" y="837"/>
                    <a:pt x="811" y="837"/>
                  </a:cubicBezTo>
                  <a:cubicBezTo>
                    <a:pt x="812" y="837"/>
                    <a:pt x="812" y="837"/>
                    <a:pt x="812" y="837"/>
                  </a:cubicBezTo>
                  <a:cubicBezTo>
                    <a:pt x="813" y="836"/>
                    <a:pt x="813" y="836"/>
                    <a:pt x="813" y="836"/>
                  </a:cubicBezTo>
                  <a:cubicBezTo>
                    <a:pt x="814" y="836"/>
                    <a:pt x="814" y="836"/>
                    <a:pt x="814" y="836"/>
                  </a:cubicBezTo>
                  <a:cubicBezTo>
                    <a:pt x="815" y="836"/>
                    <a:pt x="815" y="836"/>
                    <a:pt x="815" y="836"/>
                  </a:cubicBezTo>
                  <a:cubicBezTo>
                    <a:pt x="816" y="836"/>
                    <a:pt x="816" y="836"/>
                    <a:pt x="816" y="836"/>
                  </a:cubicBezTo>
                  <a:cubicBezTo>
                    <a:pt x="816" y="835"/>
                    <a:pt x="816" y="835"/>
                    <a:pt x="816" y="835"/>
                  </a:cubicBezTo>
                  <a:cubicBezTo>
                    <a:pt x="816" y="835"/>
                    <a:pt x="816" y="835"/>
                    <a:pt x="816" y="835"/>
                  </a:cubicBezTo>
                  <a:cubicBezTo>
                    <a:pt x="816" y="835"/>
                    <a:pt x="816" y="835"/>
                    <a:pt x="816" y="835"/>
                  </a:cubicBezTo>
                  <a:cubicBezTo>
                    <a:pt x="816" y="836"/>
                    <a:pt x="816" y="836"/>
                    <a:pt x="816" y="836"/>
                  </a:cubicBezTo>
                  <a:cubicBezTo>
                    <a:pt x="816" y="836"/>
                    <a:pt x="816" y="836"/>
                    <a:pt x="816" y="836"/>
                  </a:cubicBezTo>
                  <a:cubicBezTo>
                    <a:pt x="815" y="836"/>
                    <a:pt x="815" y="836"/>
                    <a:pt x="815" y="836"/>
                  </a:cubicBezTo>
                  <a:cubicBezTo>
                    <a:pt x="814" y="836"/>
                    <a:pt x="814" y="836"/>
                    <a:pt x="814" y="836"/>
                  </a:cubicBezTo>
                  <a:cubicBezTo>
                    <a:pt x="813" y="836"/>
                    <a:pt x="813" y="836"/>
                    <a:pt x="813" y="836"/>
                  </a:cubicBezTo>
                  <a:cubicBezTo>
                    <a:pt x="812" y="837"/>
                    <a:pt x="812" y="837"/>
                    <a:pt x="812" y="837"/>
                  </a:cubicBezTo>
                  <a:cubicBezTo>
                    <a:pt x="811" y="838"/>
                    <a:pt x="811" y="838"/>
                    <a:pt x="811" y="838"/>
                  </a:cubicBezTo>
                  <a:cubicBezTo>
                    <a:pt x="810" y="837"/>
                    <a:pt x="810" y="837"/>
                    <a:pt x="810" y="837"/>
                  </a:cubicBezTo>
                  <a:cubicBezTo>
                    <a:pt x="808" y="835"/>
                    <a:pt x="808" y="835"/>
                    <a:pt x="808" y="835"/>
                  </a:cubicBezTo>
                  <a:cubicBezTo>
                    <a:pt x="808" y="835"/>
                    <a:pt x="808" y="835"/>
                    <a:pt x="808" y="835"/>
                  </a:cubicBezTo>
                  <a:cubicBezTo>
                    <a:pt x="808" y="835"/>
                    <a:pt x="808" y="835"/>
                    <a:pt x="808" y="835"/>
                  </a:cubicBezTo>
                  <a:lnTo>
                    <a:pt x="810" y="837"/>
                  </a:lnTo>
                  <a:close/>
                  <a:moveTo>
                    <a:pt x="804" y="824"/>
                  </a:moveTo>
                  <a:cubicBezTo>
                    <a:pt x="804" y="823"/>
                    <a:pt x="804" y="823"/>
                    <a:pt x="804" y="823"/>
                  </a:cubicBezTo>
                  <a:cubicBezTo>
                    <a:pt x="805" y="822"/>
                    <a:pt x="805" y="822"/>
                    <a:pt x="805" y="822"/>
                  </a:cubicBezTo>
                  <a:cubicBezTo>
                    <a:pt x="805" y="821"/>
                    <a:pt x="805" y="821"/>
                    <a:pt x="805" y="821"/>
                  </a:cubicBezTo>
                  <a:cubicBezTo>
                    <a:pt x="805" y="821"/>
                    <a:pt x="805" y="821"/>
                    <a:pt x="805" y="821"/>
                  </a:cubicBezTo>
                  <a:cubicBezTo>
                    <a:pt x="806" y="821"/>
                    <a:pt x="806" y="821"/>
                    <a:pt x="806" y="821"/>
                  </a:cubicBezTo>
                  <a:cubicBezTo>
                    <a:pt x="806" y="821"/>
                    <a:pt x="806" y="821"/>
                    <a:pt x="806" y="821"/>
                  </a:cubicBezTo>
                  <a:cubicBezTo>
                    <a:pt x="806" y="821"/>
                    <a:pt x="806" y="821"/>
                    <a:pt x="806" y="821"/>
                  </a:cubicBezTo>
                  <a:cubicBezTo>
                    <a:pt x="805" y="821"/>
                    <a:pt x="805" y="821"/>
                    <a:pt x="805" y="821"/>
                  </a:cubicBezTo>
                  <a:cubicBezTo>
                    <a:pt x="805" y="822"/>
                    <a:pt x="805" y="822"/>
                    <a:pt x="805" y="822"/>
                  </a:cubicBezTo>
                  <a:cubicBezTo>
                    <a:pt x="805" y="823"/>
                    <a:pt x="805" y="823"/>
                    <a:pt x="805" y="823"/>
                  </a:cubicBezTo>
                  <a:cubicBezTo>
                    <a:pt x="804" y="824"/>
                    <a:pt x="804" y="824"/>
                    <a:pt x="804" y="824"/>
                  </a:cubicBezTo>
                  <a:cubicBezTo>
                    <a:pt x="803" y="824"/>
                    <a:pt x="803" y="824"/>
                    <a:pt x="803" y="824"/>
                  </a:cubicBezTo>
                  <a:cubicBezTo>
                    <a:pt x="801" y="823"/>
                    <a:pt x="801" y="823"/>
                    <a:pt x="801" y="823"/>
                  </a:cubicBezTo>
                  <a:cubicBezTo>
                    <a:pt x="803" y="824"/>
                    <a:pt x="803" y="824"/>
                    <a:pt x="803" y="824"/>
                  </a:cubicBezTo>
                  <a:lnTo>
                    <a:pt x="804" y="824"/>
                  </a:lnTo>
                  <a:close/>
                  <a:moveTo>
                    <a:pt x="798" y="824"/>
                  </a:moveTo>
                  <a:cubicBezTo>
                    <a:pt x="799" y="823"/>
                    <a:pt x="799" y="823"/>
                    <a:pt x="799" y="823"/>
                  </a:cubicBezTo>
                  <a:cubicBezTo>
                    <a:pt x="800" y="823"/>
                    <a:pt x="800" y="823"/>
                    <a:pt x="800" y="823"/>
                  </a:cubicBezTo>
                  <a:cubicBezTo>
                    <a:pt x="801" y="823"/>
                    <a:pt x="801" y="823"/>
                    <a:pt x="801" y="823"/>
                  </a:cubicBezTo>
                  <a:cubicBezTo>
                    <a:pt x="799" y="823"/>
                    <a:pt x="799" y="823"/>
                    <a:pt x="799" y="823"/>
                  </a:cubicBezTo>
                  <a:cubicBezTo>
                    <a:pt x="798" y="825"/>
                    <a:pt x="798" y="825"/>
                    <a:pt x="798" y="825"/>
                  </a:cubicBezTo>
                  <a:cubicBezTo>
                    <a:pt x="798" y="825"/>
                    <a:pt x="798" y="825"/>
                    <a:pt x="798" y="825"/>
                  </a:cubicBezTo>
                  <a:cubicBezTo>
                    <a:pt x="798" y="825"/>
                    <a:pt x="798" y="825"/>
                    <a:pt x="798" y="825"/>
                  </a:cubicBezTo>
                  <a:cubicBezTo>
                    <a:pt x="798" y="825"/>
                    <a:pt x="798" y="825"/>
                    <a:pt x="798" y="825"/>
                  </a:cubicBezTo>
                  <a:cubicBezTo>
                    <a:pt x="798" y="825"/>
                    <a:pt x="798" y="825"/>
                    <a:pt x="798" y="825"/>
                  </a:cubicBezTo>
                  <a:cubicBezTo>
                    <a:pt x="798" y="825"/>
                    <a:pt x="798" y="825"/>
                    <a:pt x="798" y="825"/>
                  </a:cubicBezTo>
                  <a:lnTo>
                    <a:pt x="798" y="824"/>
                  </a:lnTo>
                  <a:close/>
                  <a:moveTo>
                    <a:pt x="797" y="823"/>
                  </a:moveTo>
                  <a:cubicBezTo>
                    <a:pt x="797" y="823"/>
                    <a:pt x="797" y="823"/>
                    <a:pt x="797" y="823"/>
                  </a:cubicBezTo>
                  <a:cubicBezTo>
                    <a:pt x="796" y="823"/>
                    <a:pt x="796" y="823"/>
                    <a:pt x="796" y="823"/>
                  </a:cubicBezTo>
                  <a:cubicBezTo>
                    <a:pt x="796" y="824"/>
                    <a:pt x="796" y="824"/>
                    <a:pt x="796" y="824"/>
                  </a:cubicBezTo>
                  <a:cubicBezTo>
                    <a:pt x="795" y="824"/>
                    <a:pt x="795" y="824"/>
                    <a:pt x="795" y="824"/>
                  </a:cubicBezTo>
                  <a:cubicBezTo>
                    <a:pt x="796" y="823"/>
                    <a:pt x="796" y="823"/>
                    <a:pt x="796" y="823"/>
                  </a:cubicBezTo>
                  <a:lnTo>
                    <a:pt x="797" y="823"/>
                  </a:lnTo>
                  <a:close/>
                  <a:moveTo>
                    <a:pt x="790" y="818"/>
                  </a:moveTo>
                  <a:cubicBezTo>
                    <a:pt x="790" y="818"/>
                    <a:pt x="790" y="818"/>
                    <a:pt x="790" y="818"/>
                  </a:cubicBezTo>
                  <a:cubicBezTo>
                    <a:pt x="789" y="818"/>
                    <a:pt x="789" y="818"/>
                    <a:pt x="789" y="818"/>
                  </a:cubicBezTo>
                  <a:cubicBezTo>
                    <a:pt x="790" y="818"/>
                    <a:pt x="790" y="818"/>
                    <a:pt x="790" y="818"/>
                  </a:cubicBezTo>
                  <a:close/>
                  <a:moveTo>
                    <a:pt x="781" y="816"/>
                  </a:moveTo>
                  <a:cubicBezTo>
                    <a:pt x="782" y="816"/>
                    <a:pt x="782" y="816"/>
                    <a:pt x="782" y="816"/>
                  </a:cubicBezTo>
                  <a:cubicBezTo>
                    <a:pt x="782" y="816"/>
                    <a:pt x="782" y="816"/>
                    <a:pt x="782" y="816"/>
                  </a:cubicBezTo>
                  <a:cubicBezTo>
                    <a:pt x="781" y="816"/>
                    <a:pt x="781" y="816"/>
                    <a:pt x="781" y="816"/>
                  </a:cubicBezTo>
                  <a:cubicBezTo>
                    <a:pt x="781" y="817"/>
                    <a:pt x="781" y="817"/>
                    <a:pt x="781" y="817"/>
                  </a:cubicBezTo>
                  <a:cubicBezTo>
                    <a:pt x="782" y="818"/>
                    <a:pt x="782" y="818"/>
                    <a:pt x="782" y="818"/>
                  </a:cubicBezTo>
                  <a:cubicBezTo>
                    <a:pt x="783" y="819"/>
                    <a:pt x="783" y="819"/>
                    <a:pt x="783" y="819"/>
                  </a:cubicBezTo>
                  <a:cubicBezTo>
                    <a:pt x="783" y="820"/>
                    <a:pt x="783" y="820"/>
                    <a:pt x="783" y="820"/>
                  </a:cubicBezTo>
                  <a:cubicBezTo>
                    <a:pt x="783" y="821"/>
                    <a:pt x="783" y="821"/>
                    <a:pt x="783" y="821"/>
                  </a:cubicBezTo>
                  <a:cubicBezTo>
                    <a:pt x="784" y="821"/>
                    <a:pt x="784" y="821"/>
                    <a:pt x="784" y="821"/>
                  </a:cubicBezTo>
                  <a:cubicBezTo>
                    <a:pt x="784" y="822"/>
                    <a:pt x="784" y="822"/>
                    <a:pt x="784" y="822"/>
                  </a:cubicBezTo>
                  <a:cubicBezTo>
                    <a:pt x="785" y="822"/>
                    <a:pt x="785" y="822"/>
                    <a:pt x="785" y="822"/>
                  </a:cubicBezTo>
                  <a:cubicBezTo>
                    <a:pt x="785" y="823"/>
                    <a:pt x="785" y="823"/>
                    <a:pt x="785" y="823"/>
                  </a:cubicBezTo>
                  <a:cubicBezTo>
                    <a:pt x="785" y="825"/>
                    <a:pt x="785" y="825"/>
                    <a:pt x="785" y="825"/>
                  </a:cubicBezTo>
                  <a:cubicBezTo>
                    <a:pt x="786" y="825"/>
                    <a:pt x="786" y="825"/>
                    <a:pt x="786" y="825"/>
                  </a:cubicBezTo>
                  <a:cubicBezTo>
                    <a:pt x="786" y="826"/>
                    <a:pt x="786" y="826"/>
                    <a:pt x="786" y="826"/>
                  </a:cubicBezTo>
                  <a:cubicBezTo>
                    <a:pt x="785" y="826"/>
                    <a:pt x="785" y="826"/>
                    <a:pt x="785" y="826"/>
                  </a:cubicBezTo>
                  <a:cubicBezTo>
                    <a:pt x="785" y="826"/>
                    <a:pt x="785" y="826"/>
                    <a:pt x="785" y="826"/>
                  </a:cubicBezTo>
                  <a:cubicBezTo>
                    <a:pt x="785" y="826"/>
                    <a:pt x="785" y="826"/>
                    <a:pt x="785" y="826"/>
                  </a:cubicBezTo>
                  <a:cubicBezTo>
                    <a:pt x="785" y="826"/>
                    <a:pt x="785" y="826"/>
                    <a:pt x="785" y="826"/>
                  </a:cubicBezTo>
                  <a:cubicBezTo>
                    <a:pt x="785" y="825"/>
                    <a:pt x="785" y="825"/>
                    <a:pt x="785" y="825"/>
                  </a:cubicBezTo>
                  <a:cubicBezTo>
                    <a:pt x="785" y="824"/>
                    <a:pt x="785" y="824"/>
                    <a:pt x="785" y="824"/>
                  </a:cubicBezTo>
                  <a:cubicBezTo>
                    <a:pt x="785" y="823"/>
                    <a:pt x="785" y="823"/>
                    <a:pt x="785" y="823"/>
                  </a:cubicBezTo>
                  <a:cubicBezTo>
                    <a:pt x="784" y="822"/>
                    <a:pt x="784" y="822"/>
                    <a:pt x="784" y="822"/>
                  </a:cubicBezTo>
                  <a:cubicBezTo>
                    <a:pt x="784" y="822"/>
                    <a:pt x="784" y="822"/>
                    <a:pt x="784" y="822"/>
                  </a:cubicBezTo>
                  <a:cubicBezTo>
                    <a:pt x="783" y="821"/>
                    <a:pt x="783" y="821"/>
                    <a:pt x="783" y="821"/>
                  </a:cubicBezTo>
                  <a:cubicBezTo>
                    <a:pt x="783" y="821"/>
                    <a:pt x="783" y="821"/>
                    <a:pt x="783" y="821"/>
                  </a:cubicBezTo>
                  <a:cubicBezTo>
                    <a:pt x="782" y="820"/>
                    <a:pt x="782" y="820"/>
                    <a:pt x="782" y="820"/>
                  </a:cubicBezTo>
                  <a:cubicBezTo>
                    <a:pt x="782" y="819"/>
                    <a:pt x="782" y="819"/>
                    <a:pt x="782" y="819"/>
                  </a:cubicBezTo>
                  <a:cubicBezTo>
                    <a:pt x="782" y="818"/>
                    <a:pt x="782" y="818"/>
                    <a:pt x="782" y="818"/>
                  </a:cubicBezTo>
                  <a:cubicBezTo>
                    <a:pt x="781" y="817"/>
                    <a:pt x="781" y="817"/>
                    <a:pt x="781" y="817"/>
                  </a:cubicBezTo>
                  <a:lnTo>
                    <a:pt x="781" y="816"/>
                  </a:lnTo>
                  <a:close/>
                  <a:moveTo>
                    <a:pt x="777" y="830"/>
                  </a:moveTo>
                  <a:cubicBezTo>
                    <a:pt x="777" y="830"/>
                    <a:pt x="777" y="830"/>
                    <a:pt x="777" y="830"/>
                  </a:cubicBezTo>
                  <a:cubicBezTo>
                    <a:pt x="778" y="829"/>
                    <a:pt x="778" y="829"/>
                    <a:pt x="778" y="829"/>
                  </a:cubicBezTo>
                  <a:cubicBezTo>
                    <a:pt x="778" y="828"/>
                    <a:pt x="778" y="828"/>
                    <a:pt x="778" y="828"/>
                  </a:cubicBezTo>
                  <a:cubicBezTo>
                    <a:pt x="779" y="828"/>
                    <a:pt x="779" y="828"/>
                    <a:pt x="779" y="828"/>
                  </a:cubicBezTo>
                  <a:cubicBezTo>
                    <a:pt x="779" y="827"/>
                    <a:pt x="779" y="827"/>
                    <a:pt x="779" y="827"/>
                  </a:cubicBezTo>
                  <a:cubicBezTo>
                    <a:pt x="780" y="827"/>
                    <a:pt x="780" y="827"/>
                    <a:pt x="780" y="827"/>
                  </a:cubicBezTo>
                  <a:cubicBezTo>
                    <a:pt x="780" y="827"/>
                    <a:pt x="780" y="827"/>
                    <a:pt x="780" y="827"/>
                  </a:cubicBezTo>
                  <a:cubicBezTo>
                    <a:pt x="781" y="827"/>
                    <a:pt x="781" y="827"/>
                    <a:pt x="781" y="827"/>
                  </a:cubicBezTo>
                  <a:cubicBezTo>
                    <a:pt x="781" y="827"/>
                    <a:pt x="781" y="827"/>
                    <a:pt x="781" y="827"/>
                  </a:cubicBezTo>
                  <a:cubicBezTo>
                    <a:pt x="782" y="827"/>
                    <a:pt x="782" y="827"/>
                    <a:pt x="782" y="827"/>
                  </a:cubicBezTo>
                  <a:cubicBezTo>
                    <a:pt x="782" y="826"/>
                    <a:pt x="782" y="826"/>
                    <a:pt x="782" y="826"/>
                  </a:cubicBezTo>
                  <a:cubicBezTo>
                    <a:pt x="782" y="826"/>
                    <a:pt x="782" y="826"/>
                    <a:pt x="782" y="826"/>
                  </a:cubicBezTo>
                  <a:cubicBezTo>
                    <a:pt x="783" y="826"/>
                    <a:pt x="783" y="826"/>
                    <a:pt x="783" y="826"/>
                  </a:cubicBezTo>
                  <a:cubicBezTo>
                    <a:pt x="783" y="826"/>
                    <a:pt x="783" y="826"/>
                    <a:pt x="783" y="826"/>
                  </a:cubicBezTo>
                  <a:cubicBezTo>
                    <a:pt x="783" y="826"/>
                    <a:pt x="783" y="826"/>
                    <a:pt x="783" y="826"/>
                  </a:cubicBezTo>
                  <a:cubicBezTo>
                    <a:pt x="782" y="826"/>
                    <a:pt x="782" y="826"/>
                    <a:pt x="782" y="826"/>
                  </a:cubicBezTo>
                  <a:cubicBezTo>
                    <a:pt x="782" y="827"/>
                    <a:pt x="782" y="827"/>
                    <a:pt x="782" y="827"/>
                  </a:cubicBezTo>
                  <a:cubicBezTo>
                    <a:pt x="782" y="827"/>
                    <a:pt x="782" y="827"/>
                    <a:pt x="782" y="827"/>
                  </a:cubicBezTo>
                  <a:cubicBezTo>
                    <a:pt x="781" y="827"/>
                    <a:pt x="781" y="827"/>
                    <a:pt x="781" y="827"/>
                  </a:cubicBezTo>
                  <a:cubicBezTo>
                    <a:pt x="781" y="827"/>
                    <a:pt x="781" y="827"/>
                    <a:pt x="781" y="827"/>
                  </a:cubicBezTo>
                  <a:cubicBezTo>
                    <a:pt x="780" y="827"/>
                    <a:pt x="780" y="827"/>
                    <a:pt x="780" y="827"/>
                  </a:cubicBezTo>
                  <a:cubicBezTo>
                    <a:pt x="780" y="827"/>
                    <a:pt x="780" y="827"/>
                    <a:pt x="780" y="827"/>
                  </a:cubicBezTo>
                  <a:cubicBezTo>
                    <a:pt x="779" y="828"/>
                    <a:pt x="779" y="828"/>
                    <a:pt x="779" y="828"/>
                  </a:cubicBezTo>
                  <a:cubicBezTo>
                    <a:pt x="779" y="829"/>
                    <a:pt x="779" y="829"/>
                    <a:pt x="779" y="829"/>
                  </a:cubicBezTo>
                  <a:cubicBezTo>
                    <a:pt x="778" y="829"/>
                    <a:pt x="778" y="829"/>
                    <a:pt x="778" y="829"/>
                  </a:cubicBezTo>
                  <a:cubicBezTo>
                    <a:pt x="778" y="830"/>
                    <a:pt x="778" y="830"/>
                    <a:pt x="778" y="830"/>
                  </a:cubicBezTo>
                  <a:cubicBezTo>
                    <a:pt x="777" y="830"/>
                    <a:pt x="777" y="830"/>
                    <a:pt x="777" y="830"/>
                  </a:cubicBezTo>
                  <a:cubicBezTo>
                    <a:pt x="776" y="831"/>
                    <a:pt x="776" y="831"/>
                    <a:pt x="776" y="831"/>
                  </a:cubicBezTo>
                  <a:cubicBezTo>
                    <a:pt x="775" y="832"/>
                    <a:pt x="775" y="832"/>
                    <a:pt x="775" y="832"/>
                  </a:cubicBezTo>
                  <a:cubicBezTo>
                    <a:pt x="775" y="831"/>
                    <a:pt x="775" y="831"/>
                    <a:pt x="775" y="831"/>
                  </a:cubicBezTo>
                  <a:cubicBezTo>
                    <a:pt x="776" y="831"/>
                    <a:pt x="776" y="831"/>
                    <a:pt x="776" y="831"/>
                  </a:cubicBezTo>
                  <a:lnTo>
                    <a:pt x="777" y="830"/>
                  </a:lnTo>
                  <a:close/>
                  <a:moveTo>
                    <a:pt x="761" y="806"/>
                  </a:moveTo>
                  <a:cubicBezTo>
                    <a:pt x="761" y="805"/>
                    <a:pt x="761" y="805"/>
                    <a:pt x="761" y="805"/>
                  </a:cubicBezTo>
                  <a:cubicBezTo>
                    <a:pt x="762" y="805"/>
                    <a:pt x="762" y="805"/>
                    <a:pt x="762" y="805"/>
                  </a:cubicBezTo>
                  <a:cubicBezTo>
                    <a:pt x="762" y="805"/>
                    <a:pt x="762" y="805"/>
                    <a:pt x="762" y="805"/>
                  </a:cubicBezTo>
                  <a:cubicBezTo>
                    <a:pt x="762" y="805"/>
                    <a:pt x="762" y="805"/>
                    <a:pt x="762" y="805"/>
                  </a:cubicBezTo>
                  <a:cubicBezTo>
                    <a:pt x="762" y="806"/>
                    <a:pt x="762" y="806"/>
                    <a:pt x="762" y="806"/>
                  </a:cubicBezTo>
                  <a:cubicBezTo>
                    <a:pt x="761" y="806"/>
                    <a:pt x="761" y="806"/>
                    <a:pt x="761" y="806"/>
                  </a:cubicBezTo>
                  <a:cubicBezTo>
                    <a:pt x="761" y="806"/>
                    <a:pt x="761" y="806"/>
                    <a:pt x="761" y="806"/>
                  </a:cubicBezTo>
                  <a:cubicBezTo>
                    <a:pt x="761" y="806"/>
                    <a:pt x="761" y="806"/>
                    <a:pt x="761" y="806"/>
                  </a:cubicBezTo>
                  <a:close/>
                  <a:moveTo>
                    <a:pt x="757" y="806"/>
                  </a:moveTo>
                  <a:cubicBezTo>
                    <a:pt x="758" y="806"/>
                    <a:pt x="758" y="806"/>
                    <a:pt x="758" y="806"/>
                  </a:cubicBezTo>
                  <a:cubicBezTo>
                    <a:pt x="756" y="807"/>
                    <a:pt x="756" y="807"/>
                    <a:pt x="756" y="807"/>
                  </a:cubicBezTo>
                  <a:cubicBezTo>
                    <a:pt x="756" y="807"/>
                    <a:pt x="756" y="807"/>
                    <a:pt x="756" y="807"/>
                  </a:cubicBezTo>
                  <a:lnTo>
                    <a:pt x="757" y="806"/>
                  </a:lnTo>
                  <a:close/>
                  <a:moveTo>
                    <a:pt x="737" y="799"/>
                  </a:moveTo>
                  <a:cubicBezTo>
                    <a:pt x="737" y="798"/>
                    <a:pt x="737" y="798"/>
                    <a:pt x="737" y="798"/>
                  </a:cubicBezTo>
                  <a:cubicBezTo>
                    <a:pt x="737" y="799"/>
                    <a:pt x="737" y="799"/>
                    <a:pt x="737" y="799"/>
                  </a:cubicBezTo>
                  <a:cubicBezTo>
                    <a:pt x="737" y="799"/>
                    <a:pt x="737" y="799"/>
                    <a:pt x="737" y="799"/>
                  </a:cubicBezTo>
                  <a:cubicBezTo>
                    <a:pt x="737" y="799"/>
                    <a:pt x="737" y="799"/>
                    <a:pt x="737" y="799"/>
                  </a:cubicBezTo>
                  <a:cubicBezTo>
                    <a:pt x="736" y="799"/>
                    <a:pt x="736" y="799"/>
                    <a:pt x="736" y="799"/>
                  </a:cubicBezTo>
                  <a:cubicBezTo>
                    <a:pt x="737" y="799"/>
                    <a:pt x="737" y="799"/>
                    <a:pt x="737" y="799"/>
                  </a:cubicBezTo>
                  <a:close/>
                  <a:moveTo>
                    <a:pt x="729" y="788"/>
                  </a:moveTo>
                  <a:cubicBezTo>
                    <a:pt x="729" y="789"/>
                    <a:pt x="729" y="789"/>
                    <a:pt x="729" y="789"/>
                  </a:cubicBezTo>
                  <a:cubicBezTo>
                    <a:pt x="729" y="789"/>
                    <a:pt x="729" y="789"/>
                    <a:pt x="729" y="789"/>
                  </a:cubicBezTo>
                  <a:cubicBezTo>
                    <a:pt x="729" y="789"/>
                    <a:pt x="729" y="789"/>
                    <a:pt x="729" y="789"/>
                  </a:cubicBezTo>
                  <a:cubicBezTo>
                    <a:pt x="729" y="789"/>
                    <a:pt x="729" y="789"/>
                    <a:pt x="729" y="789"/>
                  </a:cubicBezTo>
                  <a:cubicBezTo>
                    <a:pt x="729" y="789"/>
                    <a:pt x="729" y="789"/>
                    <a:pt x="729" y="789"/>
                  </a:cubicBezTo>
                  <a:cubicBezTo>
                    <a:pt x="729" y="789"/>
                    <a:pt x="729" y="789"/>
                    <a:pt x="729" y="789"/>
                  </a:cubicBezTo>
                  <a:lnTo>
                    <a:pt x="729" y="788"/>
                  </a:lnTo>
                  <a:close/>
                  <a:moveTo>
                    <a:pt x="720" y="766"/>
                  </a:moveTo>
                  <a:cubicBezTo>
                    <a:pt x="722" y="766"/>
                    <a:pt x="722" y="766"/>
                    <a:pt x="722" y="766"/>
                  </a:cubicBezTo>
                  <a:cubicBezTo>
                    <a:pt x="722" y="767"/>
                    <a:pt x="722" y="767"/>
                    <a:pt x="722" y="767"/>
                  </a:cubicBezTo>
                  <a:cubicBezTo>
                    <a:pt x="723" y="767"/>
                    <a:pt x="723" y="767"/>
                    <a:pt x="723" y="767"/>
                  </a:cubicBezTo>
                  <a:cubicBezTo>
                    <a:pt x="723" y="767"/>
                    <a:pt x="723" y="767"/>
                    <a:pt x="723" y="767"/>
                  </a:cubicBezTo>
                  <a:cubicBezTo>
                    <a:pt x="723" y="767"/>
                    <a:pt x="723" y="767"/>
                    <a:pt x="723" y="767"/>
                  </a:cubicBezTo>
                  <a:cubicBezTo>
                    <a:pt x="722" y="767"/>
                    <a:pt x="722" y="767"/>
                    <a:pt x="722" y="767"/>
                  </a:cubicBezTo>
                  <a:cubicBezTo>
                    <a:pt x="721" y="766"/>
                    <a:pt x="721" y="766"/>
                    <a:pt x="721" y="766"/>
                  </a:cubicBezTo>
                  <a:cubicBezTo>
                    <a:pt x="720" y="766"/>
                    <a:pt x="720" y="766"/>
                    <a:pt x="720" y="766"/>
                  </a:cubicBezTo>
                  <a:cubicBezTo>
                    <a:pt x="718" y="765"/>
                    <a:pt x="718" y="765"/>
                    <a:pt x="718" y="765"/>
                  </a:cubicBezTo>
                  <a:cubicBezTo>
                    <a:pt x="718" y="765"/>
                    <a:pt x="718" y="765"/>
                    <a:pt x="718" y="765"/>
                  </a:cubicBezTo>
                  <a:cubicBezTo>
                    <a:pt x="718" y="765"/>
                    <a:pt x="718" y="765"/>
                    <a:pt x="718" y="765"/>
                  </a:cubicBezTo>
                  <a:cubicBezTo>
                    <a:pt x="719" y="765"/>
                    <a:pt x="719" y="765"/>
                    <a:pt x="719" y="765"/>
                  </a:cubicBezTo>
                  <a:cubicBezTo>
                    <a:pt x="720" y="766"/>
                    <a:pt x="720" y="766"/>
                    <a:pt x="720" y="766"/>
                  </a:cubicBezTo>
                  <a:close/>
                  <a:moveTo>
                    <a:pt x="716" y="729"/>
                  </a:moveTo>
                  <a:cubicBezTo>
                    <a:pt x="715" y="729"/>
                    <a:pt x="715" y="729"/>
                    <a:pt x="715" y="729"/>
                  </a:cubicBezTo>
                  <a:cubicBezTo>
                    <a:pt x="715" y="729"/>
                    <a:pt x="715" y="729"/>
                    <a:pt x="715" y="729"/>
                  </a:cubicBezTo>
                  <a:cubicBezTo>
                    <a:pt x="714" y="728"/>
                    <a:pt x="714" y="728"/>
                    <a:pt x="714" y="728"/>
                  </a:cubicBezTo>
                  <a:cubicBezTo>
                    <a:pt x="715" y="729"/>
                    <a:pt x="715" y="729"/>
                    <a:pt x="715" y="729"/>
                  </a:cubicBezTo>
                  <a:cubicBezTo>
                    <a:pt x="716" y="729"/>
                    <a:pt x="716" y="729"/>
                    <a:pt x="716" y="729"/>
                  </a:cubicBezTo>
                  <a:close/>
                  <a:moveTo>
                    <a:pt x="711" y="710"/>
                  </a:moveTo>
                  <a:cubicBezTo>
                    <a:pt x="712" y="711"/>
                    <a:pt x="712" y="711"/>
                    <a:pt x="712" y="711"/>
                  </a:cubicBezTo>
                  <a:cubicBezTo>
                    <a:pt x="711" y="711"/>
                    <a:pt x="711" y="711"/>
                    <a:pt x="711" y="711"/>
                  </a:cubicBezTo>
                  <a:cubicBezTo>
                    <a:pt x="711" y="710"/>
                    <a:pt x="711" y="710"/>
                    <a:pt x="711" y="710"/>
                  </a:cubicBezTo>
                  <a:close/>
                  <a:moveTo>
                    <a:pt x="704" y="656"/>
                  </a:moveTo>
                  <a:cubicBezTo>
                    <a:pt x="704" y="656"/>
                    <a:pt x="704" y="656"/>
                    <a:pt x="704" y="656"/>
                  </a:cubicBezTo>
                  <a:cubicBezTo>
                    <a:pt x="704" y="656"/>
                    <a:pt x="704" y="656"/>
                    <a:pt x="704" y="656"/>
                  </a:cubicBezTo>
                  <a:close/>
                  <a:moveTo>
                    <a:pt x="703" y="658"/>
                  </a:moveTo>
                  <a:cubicBezTo>
                    <a:pt x="703" y="658"/>
                    <a:pt x="703" y="658"/>
                    <a:pt x="703" y="658"/>
                  </a:cubicBezTo>
                  <a:cubicBezTo>
                    <a:pt x="703" y="658"/>
                    <a:pt x="703" y="658"/>
                    <a:pt x="703" y="658"/>
                  </a:cubicBezTo>
                  <a:close/>
                  <a:moveTo>
                    <a:pt x="650" y="820"/>
                  </a:moveTo>
                  <a:cubicBezTo>
                    <a:pt x="650" y="820"/>
                    <a:pt x="650" y="820"/>
                    <a:pt x="650" y="820"/>
                  </a:cubicBezTo>
                  <a:cubicBezTo>
                    <a:pt x="650" y="820"/>
                    <a:pt x="650" y="820"/>
                    <a:pt x="650" y="820"/>
                  </a:cubicBezTo>
                  <a:cubicBezTo>
                    <a:pt x="650" y="820"/>
                    <a:pt x="650" y="820"/>
                    <a:pt x="650" y="820"/>
                  </a:cubicBezTo>
                  <a:close/>
                  <a:moveTo>
                    <a:pt x="645" y="827"/>
                  </a:moveTo>
                  <a:cubicBezTo>
                    <a:pt x="645" y="827"/>
                    <a:pt x="645" y="827"/>
                    <a:pt x="645" y="827"/>
                  </a:cubicBezTo>
                  <a:cubicBezTo>
                    <a:pt x="645" y="826"/>
                    <a:pt x="645" y="826"/>
                    <a:pt x="645" y="826"/>
                  </a:cubicBezTo>
                  <a:cubicBezTo>
                    <a:pt x="645" y="827"/>
                    <a:pt x="645" y="827"/>
                    <a:pt x="645" y="827"/>
                  </a:cubicBezTo>
                  <a:cubicBezTo>
                    <a:pt x="645" y="827"/>
                    <a:pt x="645" y="827"/>
                    <a:pt x="645" y="827"/>
                  </a:cubicBezTo>
                  <a:cubicBezTo>
                    <a:pt x="646" y="828"/>
                    <a:pt x="646" y="828"/>
                    <a:pt x="646" y="828"/>
                  </a:cubicBezTo>
                  <a:cubicBezTo>
                    <a:pt x="646" y="828"/>
                    <a:pt x="646" y="828"/>
                    <a:pt x="646" y="828"/>
                  </a:cubicBezTo>
                  <a:cubicBezTo>
                    <a:pt x="646" y="828"/>
                    <a:pt x="646" y="828"/>
                    <a:pt x="646" y="828"/>
                  </a:cubicBezTo>
                  <a:cubicBezTo>
                    <a:pt x="645" y="828"/>
                    <a:pt x="645" y="828"/>
                    <a:pt x="645" y="828"/>
                  </a:cubicBezTo>
                  <a:lnTo>
                    <a:pt x="645" y="827"/>
                  </a:lnTo>
                  <a:close/>
                  <a:moveTo>
                    <a:pt x="639" y="822"/>
                  </a:moveTo>
                  <a:cubicBezTo>
                    <a:pt x="639" y="822"/>
                    <a:pt x="639" y="822"/>
                    <a:pt x="639" y="822"/>
                  </a:cubicBezTo>
                  <a:cubicBezTo>
                    <a:pt x="640" y="823"/>
                    <a:pt x="640" y="823"/>
                    <a:pt x="640" y="823"/>
                  </a:cubicBezTo>
                  <a:cubicBezTo>
                    <a:pt x="640" y="824"/>
                    <a:pt x="640" y="824"/>
                    <a:pt x="640" y="824"/>
                  </a:cubicBezTo>
                  <a:cubicBezTo>
                    <a:pt x="640" y="824"/>
                    <a:pt x="640" y="824"/>
                    <a:pt x="640" y="824"/>
                  </a:cubicBezTo>
                  <a:cubicBezTo>
                    <a:pt x="640" y="824"/>
                    <a:pt x="640" y="824"/>
                    <a:pt x="640" y="824"/>
                  </a:cubicBezTo>
                  <a:cubicBezTo>
                    <a:pt x="639" y="823"/>
                    <a:pt x="639" y="823"/>
                    <a:pt x="639" y="823"/>
                  </a:cubicBezTo>
                  <a:cubicBezTo>
                    <a:pt x="639" y="823"/>
                    <a:pt x="639" y="823"/>
                    <a:pt x="639" y="823"/>
                  </a:cubicBezTo>
                  <a:cubicBezTo>
                    <a:pt x="639" y="822"/>
                    <a:pt x="639" y="822"/>
                    <a:pt x="639" y="822"/>
                  </a:cubicBezTo>
                  <a:close/>
                  <a:moveTo>
                    <a:pt x="639" y="825"/>
                  </a:moveTo>
                  <a:cubicBezTo>
                    <a:pt x="639" y="825"/>
                    <a:pt x="639" y="825"/>
                    <a:pt x="639" y="825"/>
                  </a:cubicBezTo>
                  <a:cubicBezTo>
                    <a:pt x="640" y="826"/>
                    <a:pt x="640" y="826"/>
                    <a:pt x="640" y="826"/>
                  </a:cubicBezTo>
                  <a:cubicBezTo>
                    <a:pt x="641" y="827"/>
                    <a:pt x="641" y="827"/>
                    <a:pt x="641" y="827"/>
                  </a:cubicBezTo>
                  <a:cubicBezTo>
                    <a:pt x="642" y="827"/>
                    <a:pt x="642" y="827"/>
                    <a:pt x="642" y="827"/>
                  </a:cubicBezTo>
                  <a:cubicBezTo>
                    <a:pt x="642" y="828"/>
                    <a:pt x="642" y="828"/>
                    <a:pt x="642" y="828"/>
                  </a:cubicBezTo>
                  <a:cubicBezTo>
                    <a:pt x="642" y="829"/>
                    <a:pt x="642" y="829"/>
                    <a:pt x="642" y="829"/>
                  </a:cubicBezTo>
                  <a:cubicBezTo>
                    <a:pt x="642" y="829"/>
                    <a:pt x="642" y="829"/>
                    <a:pt x="642" y="829"/>
                  </a:cubicBezTo>
                  <a:cubicBezTo>
                    <a:pt x="642" y="829"/>
                    <a:pt x="642" y="829"/>
                    <a:pt x="642" y="829"/>
                  </a:cubicBezTo>
                  <a:cubicBezTo>
                    <a:pt x="641" y="828"/>
                    <a:pt x="641" y="828"/>
                    <a:pt x="641" y="828"/>
                  </a:cubicBezTo>
                  <a:cubicBezTo>
                    <a:pt x="641" y="828"/>
                    <a:pt x="641" y="828"/>
                    <a:pt x="641" y="828"/>
                  </a:cubicBezTo>
                  <a:cubicBezTo>
                    <a:pt x="640" y="827"/>
                    <a:pt x="640" y="827"/>
                    <a:pt x="640" y="827"/>
                  </a:cubicBezTo>
                  <a:cubicBezTo>
                    <a:pt x="639" y="826"/>
                    <a:pt x="639" y="826"/>
                    <a:pt x="639" y="826"/>
                  </a:cubicBezTo>
                  <a:cubicBezTo>
                    <a:pt x="639" y="825"/>
                    <a:pt x="639" y="825"/>
                    <a:pt x="639" y="825"/>
                  </a:cubicBezTo>
                  <a:close/>
                  <a:moveTo>
                    <a:pt x="641" y="945"/>
                  </a:moveTo>
                  <a:cubicBezTo>
                    <a:pt x="641" y="945"/>
                    <a:pt x="641" y="945"/>
                    <a:pt x="641" y="945"/>
                  </a:cubicBezTo>
                  <a:cubicBezTo>
                    <a:pt x="641" y="945"/>
                    <a:pt x="641" y="945"/>
                    <a:pt x="641" y="945"/>
                  </a:cubicBezTo>
                  <a:cubicBezTo>
                    <a:pt x="634" y="944"/>
                    <a:pt x="634" y="944"/>
                    <a:pt x="634" y="944"/>
                  </a:cubicBezTo>
                  <a:cubicBezTo>
                    <a:pt x="634" y="944"/>
                    <a:pt x="634" y="944"/>
                    <a:pt x="634" y="944"/>
                  </a:cubicBezTo>
                  <a:lnTo>
                    <a:pt x="641" y="945"/>
                  </a:lnTo>
                  <a:close/>
                  <a:moveTo>
                    <a:pt x="625" y="945"/>
                  </a:moveTo>
                  <a:cubicBezTo>
                    <a:pt x="627" y="946"/>
                    <a:pt x="627" y="946"/>
                    <a:pt x="627" y="946"/>
                  </a:cubicBezTo>
                  <a:cubicBezTo>
                    <a:pt x="629" y="946"/>
                    <a:pt x="629" y="946"/>
                    <a:pt x="629" y="946"/>
                  </a:cubicBezTo>
                  <a:cubicBezTo>
                    <a:pt x="630" y="946"/>
                    <a:pt x="630" y="946"/>
                    <a:pt x="630" y="946"/>
                  </a:cubicBezTo>
                  <a:cubicBezTo>
                    <a:pt x="630" y="946"/>
                    <a:pt x="630" y="946"/>
                    <a:pt x="630" y="946"/>
                  </a:cubicBezTo>
                  <a:cubicBezTo>
                    <a:pt x="630" y="946"/>
                    <a:pt x="630" y="946"/>
                    <a:pt x="630" y="946"/>
                  </a:cubicBezTo>
                  <a:cubicBezTo>
                    <a:pt x="629" y="946"/>
                    <a:pt x="629" y="946"/>
                    <a:pt x="629" y="946"/>
                  </a:cubicBezTo>
                  <a:cubicBezTo>
                    <a:pt x="626" y="946"/>
                    <a:pt x="626" y="946"/>
                    <a:pt x="626" y="946"/>
                  </a:cubicBezTo>
                  <a:cubicBezTo>
                    <a:pt x="625" y="945"/>
                    <a:pt x="625" y="945"/>
                    <a:pt x="625" y="945"/>
                  </a:cubicBezTo>
                  <a:cubicBezTo>
                    <a:pt x="625" y="945"/>
                    <a:pt x="625" y="945"/>
                    <a:pt x="625" y="945"/>
                  </a:cubicBezTo>
                  <a:close/>
                  <a:moveTo>
                    <a:pt x="620" y="949"/>
                  </a:moveTo>
                  <a:cubicBezTo>
                    <a:pt x="620" y="949"/>
                    <a:pt x="620" y="949"/>
                    <a:pt x="620" y="949"/>
                  </a:cubicBezTo>
                  <a:cubicBezTo>
                    <a:pt x="620" y="949"/>
                    <a:pt x="620" y="949"/>
                    <a:pt x="620" y="949"/>
                  </a:cubicBezTo>
                  <a:cubicBezTo>
                    <a:pt x="619" y="949"/>
                    <a:pt x="619" y="949"/>
                    <a:pt x="619" y="949"/>
                  </a:cubicBezTo>
                  <a:cubicBezTo>
                    <a:pt x="619" y="949"/>
                    <a:pt x="619" y="949"/>
                    <a:pt x="619" y="949"/>
                  </a:cubicBezTo>
                  <a:cubicBezTo>
                    <a:pt x="619" y="949"/>
                    <a:pt x="619" y="949"/>
                    <a:pt x="619" y="949"/>
                  </a:cubicBezTo>
                  <a:lnTo>
                    <a:pt x="620" y="949"/>
                  </a:lnTo>
                  <a:close/>
                  <a:moveTo>
                    <a:pt x="617" y="952"/>
                  </a:moveTo>
                  <a:cubicBezTo>
                    <a:pt x="617" y="952"/>
                    <a:pt x="617" y="952"/>
                    <a:pt x="617" y="952"/>
                  </a:cubicBezTo>
                  <a:cubicBezTo>
                    <a:pt x="616" y="952"/>
                    <a:pt x="616" y="952"/>
                    <a:pt x="616" y="952"/>
                  </a:cubicBezTo>
                  <a:cubicBezTo>
                    <a:pt x="616" y="952"/>
                    <a:pt x="616" y="952"/>
                    <a:pt x="616" y="952"/>
                  </a:cubicBezTo>
                  <a:lnTo>
                    <a:pt x="617" y="952"/>
                  </a:lnTo>
                  <a:close/>
                  <a:moveTo>
                    <a:pt x="612" y="952"/>
                  </a:moveTo>
                  <a:cubicBezTo>
                    <a:pt x="613" y="953"/>
                    <a:pt x="613" y="953"/>
                    <a:pt x="613" y="953"/>
                  </a:cubicBezTo>
                  <a:cubicBezTo>
                    <a:pt x="613" y="954"/>
                    <a:pt x="613" y="954"/>
                    <a:pt x="613" y="954"/>
                  </a:cubicBezTo>
                  <a:cubicBezTo>
                    <a:pt x="613" y="954"/>
                    <a:pt x="613" y="954"/>
                    <a:pt x="613" y="954"/>
                  </a:cubicBezTo>
                  <a:cubicBezTo>
                    <a:pt x="613" y="954"/>
                    <a:pt x="613" y="954"/>
                    <a:pt x="613" y="954"/>
                  </a:cubicBezTo>
                  <a:cubicBezTo>
                    <a:pt x="612" y="954"/>
                    <a:pt x="612" y="954"/>
                    <a:pt x="612" y="954"/>
                  </a:cubicBezTo>
                  <a:cubicBezTo>
                    <a:pt x="612" y="953"/>
                    <a:pt x="612" y="953"/>
                    <a:pt x="612" y="953"/>
                  </a:cubicBezTo>
                  <a:cubicBezTo>
                    <a:pt x="611" y="953"/>
                    <a:pt x="611" y="953"/>
                    <a:pt x="611" y="953"/>
                  </a:cubicBezTo>
                  <a:lnTo>
                    <a:pt x="612" y="952"/>
                  </a:lnTo>
                  <a:close/>
                  <a:moveTo>
                    <a:pt x="601" y="948"/>
                  </a:moveTo>
                  <a:cubicBezTo>
                    <a:pt x="602" y="948"/>
                    <a:pt x="602" y="948"/>
                    <a:pt x="602" y="948"/>
                  </a:cubicBezTo>
                  <a:cubicBezTo>
                    <a:pt x="602" y="948"/>
                    <a:pt x="602" y="948"/>
                    <a:pt x="602" y="948"/>
                  </a:cubicBezTo>
                  <a:cubicBezTo>
                    <a:pt x="603" y="948"/>
                    <a:pt x="603" y="948"/>
                    <a:pt x="603" y="948"/>
                  </a:cubicBezTo>
                  <a:cubicBezTo>
                    <a:pt x="603" y="949"/>
                    <a:pt x="603" y="949"/>
                    <a:pt x="603" y="949"/>
                  </a:cubicBezTo>
                  <a:cubicBezTo>
                    <a:pt x="602" y="950"/>
                    <a:pt x="602" y="950"/>
                    <a:pt x="602" y="950"/>
                  </a:cubicBezTo>
                  <a:cubicBezTo>
                    <a:pt x="602" y="950"/>
                    <a:pt x="602" y="950"/>
                    <a:pt x="602" y="950"/>
                  </a:cubicBezTo>
                  <a:cubicBezTo>
                    <a:pt x="603" y="951"/>
                    <a:pt x="603" y="951"/>
                    <a:pt x="603" y="951"/>
                  </a:cubicBezTo>
                  <a:cubicBezTo>
                    <a:pt x="605" y="952"/>
                    <a:pt x="605" y="952"/>
                    <a:pt x="605" y="952"/>
                  </a:cubicBezTo>
                  <a:cubicBezTo>
                    <a:pt x="605" y="952"/>
                    <a:pt x="605" y="952"/>
                    <a:pt x="605" y="952"/>
                  </a:cubicBezTo>
                  <a:cubicBezTo>
                    <a:pt x="605" y="953"/>
                    <a:pt x="605" y="953"/>
                    <a:pt x="605" y="953"/>
                  </a:cubicBezTo>
                  <a:cubicBezTo>
                    <a:pt x="605" y="953"/>
                    <a:pt x="605" y="953"/>
                    <a:pt x="605" y="953"/>
                  </a:cubicBezTo>
                  <a:cubicBezTo>
                    <a:pt x="605" y="953"/>
                    <a:pt x="605" y="953"/>
                    <a:pt x="605" y="953"/>
                  </a:cubicBezTo>
                  <a:cubicBezTo>
                    <a:pt x="605" y="954"/>
                    <a:pt x="605" y="954"/>
                    <a:pt x="605" y="954"/>
                  </a:cubicBezTo>
                  <a:cubicBezTo>
                    <a:pt x="605" y="954"/>
                    <a:pt x="605" y="954"/>
                    <a:pt x="605" y="954"/>
                  </a:cubicBezTo>
                  <a:cubicBezTo>
                    <a:pt x="608" y="954"/>
                    <a:pt x="608" y="954"/>
                    <a:pt x="608" y="954"/>
                  </a:cubicBezTo>
                  <a:cubicBezTo>
                    <a:pt x="608" y="954"/>
                    <a:pt x="608" y="954"/>
                    <a:pt x="608" y="954"/>
                  </a:cubicBezTo>
                  <a:cubicBezTo>
                    <a:pt x="605" y="954"/>
                    <a:pt x="605" y="954"/>
                    <a:pt x="605" y="954"/>
                  </a:cubicBezTo>
                  <a:cubicBezTo>
                    <a:pt x="604" y="954"/>
                    <a:pt x="604" y="954"/>
                    <a:pt x="604" y="954"/>
                  </a:cubicBezTo>
                  <a:cubicBezTo>
                    <a:pt x="604" y="953"/>
                    <a:pt x="604" y="953"/>
                    <a:pt x="604" y="953"/>
                  </a:cubicBezTo>
                  <a:cubicBezTo>
                    <a:pt x="604" y="953"/>
                    <a:pt x="604" y="953"/>
                    <a:pt x="604" y="953"/>
                  </a:cubicBezTo>
                  <a:cubicBezTo>
                    <a:pt x="604" y="953"/>
                    <a:pt x="604" y="953"/>
                    <a:pt x="604" y="953"/>
                  </a:cubicBezTo>
                  <a:cubicBezTo>
                    <a:pt x="604" y="952"/>
                    <a:pt x="604" y="952"/>
                    <a:pt x="604" y="952"/>
                  </a:cubicBezTo>
                  <a:cubicBezTo>
                    <a:pt x="604" y="952"/>
                    <a:pt x="604" y="952"/>
                    <a:pt x="604" y="952"/>
                  </a:cubicBezTo>
                  <a:cubicBezTo>
                    <a:pt x="603" y="951"/>
                    <a:pt x="603" y="951"/>
                    <a:pt x="603" y="951"/>
                  </a:cubicBezTo>
                  <a:cubicBezTo>
                    <a:pt x="601" y="950"/>
                    <a:pt x="601" y="950"/>
                    <a:pt x="601" y="950"/>
                  </a:cubicBezTo>
                  <a:cubicBezTo>
                    <a:pt x="601" y="950"/>
                    <a:pt x="601" y="950"/>
                    <a:pt x="601" y="950"/>
                  </a:cubicBezTo>
                  <a:cubicBezTo>
                    <a:pt x="602" y="949"/>
                    <a:pt x="602" y="949"/>
                    <a:pt x="602" y="949"/>
                  </a:cubicBezTo>
                  <a:cubicBezTo>
                    <a:pt x="602" y="949"/>
                    <a:pt x="602" y="949"/>
                    <a:pt x="602" y="949"/>
                  </a:cubicBezTo>
                  <a:cubicBezTo>
                    <a:pt x="602" y="948"/>
                    <a:pt x="602" y="948"/>
                    <a:pt x="602" y="948"/>
                  </a:cubicBezTo>
                  <a:cubicBezTo>
                    <a:pt x="601" y="948"/>
                    <a:pt x="601" y="948"/>
                    <a:pt x="601" y="948"/>
                  </a:cubicBezTo>
                  <a:cubicBezTo>
                    <a:pt x="601" y="948"/>
                    <a:pt x="601" y="948"/>
                    <a:pt x="601" y="948"/>
                  </a:cubicBezTo>
                  <a:cubicBezTo>
                    <a:pt x="601" y="948"/>
                    <a:pt x="601" y="948"/>
                    <a:pt x="601" y="948"/>
                  </a:cubicBezTo>
                  <a:close/>
                  <a:moveTo>
                    <a:pt x="594" y="947"/>
                  </a:moveTo>
                  <a:cubicBezTo>
                    <a:pt x="598" y="948"/>
                    <a:pt x="598" y="948"/>
                    <a:pt x="598" y="948"/>
                  </a:cubicBezTo>
                  <a:cubicBezTo>
                    <a:pt x="598" y="948"/>
                    <a:pt x="598" y="948"/>
                    <a:pt x="598" y="948"/>
                  </a:cubicBezTo>
                  <a:cubicBezTo>
                    <a:pt x="599" y="948"/>
                    <a:pt x="599" y="948"/>
                    <a:pt x="599" y="948"/>
                  </a:cubicBezTo>
                  <a:cubicBezTo>
                    <a:pt x="599" y="948"/>
                    <a:pt x="599" y="948"/>
                    <a:pt x="599" y="948"/>
                  </a:cubicBezTo>
                  <a:cubicBezTo>
                    <a:pt x="599" y="949"/>
                    <a:pt x="599" y="949"/>
                    <a:pt x="599" y="949"/>
                  </a:cubicBezTo>
                  <a:cubicBezTo>
                    <a:pt x="598" y="949"/>
                    <a:pt x="598" y="949"/>
                    <a:pt x="598" y="949"/>
                  </a:cubicBezTo>
                  <a:cubicBezTo>
                    <a:pt x="598" y="949"/>
                    <a:pt x="598" y="949"/>
                    <a:pt x="598" y="949"/>
                  </a:cubicBezTo>
                  <a:cubicBezTo>
                    <a:pt x="598" y="948"/>
                    <a:pt x="598" y="948"/>
                    <a:pt x="598" y="948"/>
                  </a:cubicBezTo>
                  <a:cubicBezTo>
                    <a:pt x="598" y="948"/>
                    <a:pt x="598" y="948"/>
                    <a:pt x="598" y="948"/>
                  </a:cubicBezTo>
                  <a:cubicBezTo>
                    <a:pt x="598" y="948"/>
                    <a:pt x="598" y="948"/>
                    <a:pt x="598" y="948"/>
                  </a:cubicBezTo>
                  <a:cubicBezTo>
                    <a:pt x="594" y="947"/>
                    <a:pt x="594" y="947"/>
                    <a:pt x="594" y="947"/>
                  </a:cubicBezTo>
                  <a:cubicBezTo>
                    <a:pt x="594" y="947"/>
                    <a:pt x="594" y="947"/>
                    <a:pt x="594" y="947"/>
                  </a:cubicBezTo>
                  <a:cubicBezTo>
                    <a:pt x="594" y="947"/>
                    <a:pt x="594" y="947"/>
                    <a:pt x="594" y="947"/>
                  </a:cubicBezTo>
                  <a:close/>
                  <a:moveTo>
                    <a:pt x="590" y="946"/>
                  </a:moveTo>
                  <a:cubicBezTo>
                    <a:pt x="590" y="946"/>
                    <a:pt x="590" y="946"/>
                    <a:pt x="590" y="946"/>
                  </a:cubicBezTo>
                  <a:cubicBezTo>
                    <a:pt x="590" y="946"/>
                    <a:pt x="590" y="946"/>
                    <a:pt x="590" y="946"/>
                  </a:cubicBezTo>
                  <a:cubicBezTo>
                    <a:pt x="590" y="946"/>
                    <a:pt x="590" y="946"/>
                    <a:pt x="590" y="946"/>
                  </a:cubicBezTo>
                  <a:cubicBezTo>
                    <a:pt x="590" y="947"/>
                    <a:pt x="590" y="947"/>
                    <a:pt x="590" y="947"/>
                  </a:cubicBezTo>
                  <a:cubicBezTo>
                    <a:pt x="590" y="947"/>
                    <a:pt x="590" y="947"/>
                    <a:pt x="590" y="947"/>
                  </a:cubicBezTo>
                  <a:cubicBezTo>
                    <a:pt x="590" y="947"/>
                    <a:pt x="590" y="947"/>
                    <a:pt x="590" y="947"/>
                  </a:cubicBezTo>
                  <a:cubicBezTo>
                    <a:pt x="590" y="947"/>
                    <a:pt x="590" y="947"/>
                    <a:pt x="590" y="947"/>
                  </a:cubicBezTo>
                  <a:cubicBezTo>
                    <a:pt x="590" y="948"/>
                    <a:pt x="590" y="948"/>
                    <a:pt x="590" y="948"/>
                  </a:cubicBezTo>
                  <a:cubicBezTo>
                    <a:pt x="591" y="948"/>
                    <a:pt x="591" y="948"/>
                    <a:pt x="591" y="948"/>
                  </a:cubicBezTo>
                  <a:cubicBezTo>
                    <a:pt x="592" y="948"/>
                    <a:pt x="592" y="948"/>
                    <a:pt x="592" y="948"/>
                  </a:cubicBezTo>
                  <a:cubicBezTo>
                    <a:pt x="592" y="948"/>
                    <a:pt x="592" y="948"/>
                    <a:pt x="592" y="948"/>
                  </a:cubicBezTo>
                  <a:cubicBezTo>
                    <a:pt x="591" y="948"/>
                    <a:pt x="591" y="948"/>
                    <a:pt x="591" y="948"/>
                  </a:cubicBezTo>
                  <a:cubicBezTo>
                    <a:pt x="590" y="948"/>
                    <a:pt x="590" y="948"/>
                    <a:pt x="590" y="948"/>
                  </a:cubicBezTo>
                  <a:cubicBezTo>
                    <a:pt x="589" y="948"/>
                    <a:pt x="589" y="948"/>
                    <a:pt x="589" y="948"/>
                  </a:cubicBezTo>
                  <a:cubicBezTo>
                    <a:pt x="589" y="947"/>
                    <a:pt x="589" y="947"/>
                    <a:pt x="589" y="947"/>
                  </a:cubicBezTo>
                  <a:cubicBezTo>
                    <a:pt x="589" y="947"/>
                    <a:pt x="589" y="947"/>
                    <a:pt x="589" y="947"/>
                  </a:cubicBezTo>
                  <a:cubicBezTo>
                    <a:pt x="589" y="947"/>
                    <a:pt x="589" y="947"/>
                    <a:pt x="589" y="947"/>
                  </a:cubicBezTo>
                  <a:cubicBezTo>
                    <a:pt x="589" y="947"/>
                    <a:pt x="589" y="947"/>
                    <a:pt x="589" y="947"/>
                  </a:cubicBezTo>
                  <a:cubicBezTo>
                    <a:pt x="589" y="946"/>
                    <a:pt x="589" y="946"/>
                    <a:pt x="589" y="946"/>
                  </a:cubicBezTo>
                  <a:cubicBezTo>
                    <a:pt x="589" y="946"/>
                    <a:pt x="589" y="946"/>
                    <a:pt x="589" y="946"/>
                  </a:cubicBezTo>
                  <a:cubicBezTo>
                    <a:pt x="589" y="946"/>
                    <a:pt x="589" y="946"/>
                    <a:pt x="589" y="946"/>
                  </a:cubicBezTo>
                  <a:cubicBezTo>
                    <a:pt x="590" y="946"/>
                    <a:pt x="590" y="946"/>
                    <a:pt x="590" y="946"/>
                  </a:cubicBezTo>
                  <a:close/>
                  <a:moveTo>
                    <a:pt x="491" y="1044"/>
                  </a:moveTo>
                  <a:cubicBezTo>
                    <a:pt x="491" y="1045"/>
                    <a:pt x="491" y="1045"/>
                    <a:pt x="491" y="1045"/>
                  </a:cubicBezTo>
                  <a:cubicBezTo>
                    <a:pt x="491" y="1046"/>
                    <a:pt x="491" y="1046"/>
                    <a:pt x="491" y="1046"/>
                  </a:cubicBezTo>
                  <a:cubicBezTo>
                    <a:pt x="491" y="1045"/>
                    <a:pt x="491" y="1045"/>
                    <a:pt x="491" y="1045"/>
                  </a:cubicBezTo>
                  <a:cubicBezTo>
                    <a:pt x="490" y="1044"/>
                    <a:pt x="490" y="1044"/>
                    <a:pt x="490" y="1044"/>
                  </a:cubicBezTo>
                  <a:cubicBezTo>
                    <a:pt x="491" y="1044"/>
                    <a:pt x="491" y="1044"/>
                    <a:pt x="491" y="1044"/>
                  </a:cubicBezTo>
                  <a:cubicBezTo>
                    <a:pt x="491" y="1044"/>
                    <a:pt x="491" y="1044"/>
                    <a:pt x="491" y="1044"/>
                  </a:cubicBezTo>
                  <a:close/>
                  <a:moveTo>
                    <a:pt x="460" y="749"/>
                  </a:moveTo>
                  <a:cubicBezTo>
                    <a:pt x="460" y="749"/>
                    <a:pt x="460" y="749"/>
                    <a:pt x="460" y="749"/>
                  </a:cubicBezTo>
                  <a:cubicBezTo>
                    <a:pt x="461" y="750"/>
                    <a:pt x="461" y="750"/>
                    <a:pt x="461" y="750"/>
                  </a:cubicBezTo>
                  <a:cubicBezTo>
                    <a:pt x="460" y="750"/>
                    <a:pt x="460" y="750"/>
                    <a:pt x="460" y="750"/>
                  </a:cubicBezTo>
                  <a:cubicBezTo>
                    <a:pt x="459" y="749"/>
                    <a:pt x="459" y="749"/>
                    <a:pt x="459" y="749"/>
                  </a:cubicBezTo>
                  <a:cubicBezTo>
                    <a:pt x="459" y="749"/>
                    <a:pt x="459" y="749"/>
                    <a:pt x="459" y="749"/>
                  </a:cubicBezTo>
                  <a:cubicBezTo>
                    <a:pt x="459" y="749"/>
                    <a:pt x="459" y="749"/>
                    <a:pt x="459" y="749"/>
                  </a:cubicBezTo>
                  <a:lnTo>
                    <a:pt x="460" y="749"/>
                  </a:lnTo>
                  <a:close/>
                  <a:moveTo>
                    <a:pt x="487" y="1031"/>
                  </a:moveTo>
                  <a:cubicBezTo>
                    <a:pt x="486" y="1031"/>
                    <a:pt x="486" y="1031"/>
                    <a:pt x="486" y="1031"/>
                  </a:cubicBezTo>
                  <a:cubicBezTo>
                    <a:pt x="485" y="1030"/>
                    <a:pt x="485" y="1030"/>
                    <a:pt x="485" y="1030"/>
                  </a:cubicBezTo>
                  <a:cubicBezTo>
                    <a:pt x="485" y="1030"/>
                    <a:pt x="485" y="1030"/>
                    <a:pt x="485" y="1030"/>
                  </a:cubicBezTo>
                  <a:cubicBezTo>
                    <a:pt x="484" y="1029"/>
                    <a:pt x="484" y="1029"/>
                    <a:pt x="484" y="1029"/>
                  </a:cubicBezTo>
                  <a:cubicBezTo>
                    <a:pt x="484" y="1029"/>
                    <a:pt x="484" y="1029"/>
                    <a:pt x="484" y="1029"/>
                  </a:cubicBezTo>
                  <a:cubicBezTo>
                    <a:pt x="483" y="1029"/>
                    <a:pt x="483" y="1029"/>
                    <a:pt x="483" y="1029"/>
                  </a:cubicBezTo>
                  <a:cubicBezTo>
                    <a:pt x="482" y="1028"/>
                    <a:pt x="482" y="1028"/>
                    <a:pt x="482" y="1028"/>
                  </a:cubicBezTo>
                  <a:cubicBezTo>
                    <a:pt x="481" y="1028"/>
                    <a:pt x="481" y="1028"/>
                    <a:pt x="481" y="1028"/>
                  </a:cubicBezTo>
                  <a:cubicBezTo>
                    <a:pt x="481" y="1026"/>
                    <a:pt x="481" y="1026"/>
                    <a:pt x="481" y="1026"/>
                  </a:cubicBezTo>
                  <a:cubicBezTo>
                    <a:pt x="481" y="1025"/>
                    <a:pt x="481" y="1025"/>
                    <a:pt x="481" y="1025"/>
                  </a:cubicBezTo>
                  <a:cubicBezTo>
                    <a:pt x="481" y="1024"/>
                    <a:pt x="481" y="1024"/>
                    <a:pt x="481" y="1024"/>
                  </a:cubicBezTo>
                  <a:cubicBezTo>
                    <a:pt x="481" y="1023"/>
                    <a:pt x="481" y="1023"/>
                    <a:pt x="481" y="1023"/>
                  </a:cubicBezTo>
                  <a:cubicBezTo>
                    <a:pt x="481" y="1023"/>
                    <a:pt x="481" y="1023"/>
                    <a:pt x="481" y="1023"/>
                  </a:cubicBezTo>
                  <a:cubicBezTo>
                    <a:pt x="481" y="1024"/>
                    <a:pt x="481" y="1024"/>
                    <a:pt x="481" y="1024"/>
                  </a:cubicBezTo>
                  <a:cubicBezTo>
                    <a:pt x="482" y="1026"/>
                    <a:pt x="482" y="1026"/>
                    <a:pt x="482" y="1026"/>
                  </a:cubicBezTo>
                  <a:cubicBezTo>
                    <a:pt x="482" y="1026"/>
                    <a:pt x="482" y="1026"/>
                    <a:pt x="482" y="1026"/>
                  </a:cubicBezTo>
                  <a:cubicBezTo>
                    <a:pt x="483" y="1027"/>
                    <a:pt x="483" y="1027"/>
                    <a:pt x="483" y="1027"/>
                  </a:cubicBezTo>
                  <a:cubicBezTo>
                    <a:pt x="484" y="1027"/>
                    <a:pt x="484" y="1027"/>
                    <a:pt x="484" y="1027"/>
                  </a:cubicBezTo>
                  <a:cubicBezTo>
                    <a:pt x="484" y="1027"/>
                    <a:pt x="484" y="1027"/>
                    <a:pt x="484" y="1027"/>
                  </a:cubicBezTo>
                  <a:cubicBezTo>
                    <a:pt x="485" y="1028"/>
                    <a:pt x="485" y="1028"/>
                    <a:pt x="485" y="1028"/>
                  </a:cubicBezTo>
                  <a:cubicBezTo>
                    <a:pt x="486" y="1028"/>
                    <a:pt x="486" y="1028"/>
                    <a:pt x="486" y="1028"/>
                  </a:cubicBezTo>
                  <a:cubicBezTo>
                    <a:pt x="487" y="1029"/>
                    <a:pt x="487" y="1029"/>
                    <a:pt x="487" y="1029"/>
                  </a:cubicBezTo>
                  <a:cubicBezTo>
                    <a:pt x="487" y="1029"/>
                    <a:pt x="487" y="1029"/>
                    <a:pt x="487" y="1029"/>
                  </a:cubicBezTo>
                  <a:cubicBezTo>
                    <a:pt x="487" y="1029"/>
                    <a:pt x="487" y="1029"/>
                    <a:pt x="487" y="1029"/>
                  </a:cubicBezTo>
                  <a:cubicBezTo>
                    <a:pt x="487" y="1030"/>
                    <a:pt x="487" y="1030"/>
                    <a:pt x="487" y="1030"/>
                  </a:cubicBezTo>
                  <a:cubicBezTo>
                    <a:pt x="487" y="1031"/>
                    <a:pt x="487" y="1031"/>
                    <a:pt x="487" y="1031"/>
                  </a:cubicBezTo>
                  <a:cubicBezTo>
                    <a:pt x="487" y="1031"/>
                    <a:pt x="487" y="1031"/>
                    <a:pt x="487" y="1031"/>
                  </a:cubicBezTo>
                  <a:close/>
                  <a:moveTo>
                    <a:pt x="479" y="875"/>
                  </a:moveTo>
                  <a:cubicBezTo>
                    <a:pt x="479" y="875"/>
                    <a:pt x="479" y="875"/>
                    <a:pt x="479" y="875"/>
                  </a:cubicBezTo>
                  <a:cubicBezTo>
                    <a:pt x="480" y="876"/>
                    <a:pt x="480" y="876"/>
                    <a:pt x="480" y="876"/>
                  </a:cubicBezTo>
                  <a:cubicBezTo>
                    <a:pt x="481" y="876"/>
                    <a:pt x="481" y="876"/>
                    <a:pt x="481" y="876"/>
                  </a:cubicBezTo>
                  <a:cubicBezTo>
                    <a:pt x="481" y="875"/>
                    <a:pt x="481" y="875"/>
                    <a:pt x="481" y="875"/>
                  </a:cubicBezTo>
                  <a:cubicBezTo>
                    <a:pt x="481" y="874"/>
                    <a:pt x="481" y="874"/>
                    <a:pt x="481" y="874"/>
                  </a:cubicBezTo>
                  <a:cubicBezTo>
                    <a:pt x="481" y="873"/>
                    <a:pt x="481" y="873"/>
                    <a:pt x="481" y="873"/>
                  </a:cubicBezTo>
                  <a:cubicBezTo>
                    <a:pt x="481" y="873"/>
                    <a:pt x="481" y="873"/>
                    <a:pt x="481" y="873"/>
                  </a:cubicBezTo>
                  <a:cubicBezTo>
                    <a:pt x="481" y="873"/>
                    <a:pt x="481" y="873"/>
                    <a:pt x="481" y="873"/>
                  </a:cubicBezTo>
                  <a:cubicBezTo>
                    <a:pt x="483" y="873"/>
                    <a:pt x="483" y="873"/>
                    <a:pt x="483" y="873"/>
                  </a:cubicBezTo>
                  <a:cubicBezTo>
                    <a:pt x="483" y="873"/>
                    <a:pt x="483" y="873"/>
                    <a:pt x="483" y="873"/>
                  </a:cubicBezTo>
                  <a:cubicBezTo>
                    <a:pt x="484" y="873"/>
                    <a:pt x="484" y="873"/>
                    <a:pt x="484" y="873"/>
                  </a:cubicBezTo>
                  <a:cubicBezTo>
                    <a:pt x="485" y="874"/>
                    <a:pt x="485" y="874"/>
                    <a:pt x="485" y="874"/>
                  </a:cubicBezTo>
                  <a:cubicBezTo>
                    <a:pt x="485" y="874"/>
                    <a:pt x="485" y="874"/>
                    <a:pt x="485" y="874"/>
                  </a:cubicBezTo>
                  <a:cubicBezTo>
                    <a:pt x="484" y="874"/>
                    <a:pt x="484" y="874"/>
                    <a:pt x="484" y="874"/>
                  </a:cubicBezTo>
                  <a:cubicBezTo>
                    <a:pt x="483" y="874"/>
                    <a:pt x="483" y="874"/>
                    <a:pt x="483" y="874"/>
                  </a:cubicBezTo>
                  <a:cubicBezTo>
                    <a:pt x="483" y="874"/>
                    <a:pt x="483" y="874"/>
                    <a:pt x="483" y="874"/>
                  </a:cubicBezTo>
                  <a:cubicBezTo>
                    <a:pt x="482" y="874"/>
                    <a:pt x="482" y="874"/>
                    <a:pt x="482" y="874"/>
                  </a:cubicBezTo>
                  <a:cubicBezTo>
                    <a:pt x="483" y="875"/>
                    <a:pt x="483" y="875"/>
                    <a:pt x="483" y="875"/>
                  </a:cubicBezTo>
                  <a:cubicBezTo>
                    <a:pt x="483" y="876"/>
                    <a:pt x="483" y="876"/>
                    <a:pt x="483" y="876"/>
                  </a:cubicBezTo>
                  <a:cubicBezTo>
                    <a:pt x="482" y="877"/>
                    <a:pt x="482" y="877"/>
                    <a:pt x="482" y="877"/>
                  </a:cubicBezTo>
                  <a:cubicBezTo>
                    <a:pt x="482" y="877"/>
                    <a:pt x="482" y="877"/>
                    <a:pt x="482" y="877"/>
                  </a:cubicBezTo>
                  <a:cubicBezTo>
                    <a:pt x="481" y="876"/>
                    <a:pt x="481" y="876"/>
                    <a:pt x="481" y="876"/>
                  </a:cubicBezTo>
                  <a:cubicBezTo>
                    <a:pt x="479" y="876"/>
                    <a:pt x="479" y="876"/>
                    <a:pt x="479" y="876"/>
                  </a:cubicBezTo>
                  <a:cubicBezTo>
                    <a:pt x="479" y="876"/>
                    <a:pt x="479" y="876"/>
                    <a:pt x="479" y="876"/>
                  </a:cubicBezTo>
                  <a:cubicBezTo>
                    <a:pt x="479" y="875"/>
                    <a:pt x="479" y="875"/>
                    <a:pt x="479" y="875"/>
                  </a:cubicBezTo>
                  <a:close/>
                  <a:moveTo>
                    <a:pt x="483" y="1013"/>
                  </a:moveTo>
                  <a:cubicBezTo>
                    <a:pt x="483" y="1013"/>
                    <a:pt x="483" y="1013"/>
                    <a:pt x="483" y="1013"/>
                  </a:cubicBezTo>
                  <a:cubicBezTo>
                    <a:pt x="483" y="1013"/>
                    <a:pt x="483" y="1013"/>
                    <a:pt x="483" y="1013"/>
                  </a:cubicBezTo>
                  <a:cubicBezTo>
                    <a:pt x="483" y="1013"/>
                    <a:pt x="483" y="1013"/>
                    <a:pt x="483" y="1013"/>
                  </a:cubicBezTo>
                  <a:cubicBezTo>
                    <a:pt x="484" y="1013"/>
                    <a:pt x="484" y="1013"/>
                    <a:pt x="484" y="1013"/>
                  </a:cubicBezTo>
                  <a:cubicBezTo>
                    <a:pt x="484" y="1013"/>
                    <a:pt x="484" y="1013"/>
                    <a:pt x="484" y="1013"/>
                  </a:cubicBezTo>
                  <a:cubicBezTo>
                    <a:pt x="484" y="1014"/>
                    <a:pt x="484" y="1014"/>
                    <a:pt x="484" y="1014"/>
                  </a:cubicBezTo>
                  <a:cubicBezTo>
                    <a:pt x="484" y="1014"/>
                    <a:pt x="484" y="1014"/>
                    <a:pt x="484" y="1014"/>
                  </a:cubicBezTo>
                  <a:cubicBezTo>
                    <a:pt x="484" y="1014"/>
                    <a:pt x="484" y="1014"/>
                    <a:pt x="484" y="1014"/>
                  </a:cubicBezTo>
                  <a:cubicBezTo>
                    <a:pt x="483" y="1013"/>
                    <a:pt x="483" y="1013"/>
                    <a:pt x="483" y="1013"/>
                  </a:cubicBezTo>
                  <a:close/>
                  <a:moveTo>
                    <a:pt x="484" y="956"/>
                  </a:moveTo>
                  <a:cubicBezTo>
                    <a:pt x="484" y="956"/>
                    <a:pt x="484" y="956"/>
                    <a:pt x="484" y="956"/>
                  </a:cubicBezTo>
                  <a:cubicBezTo>
                    <a:pt x="485" y="955"/>
                    <a:pt x="485" y="955"/>
                    <a:pt x="485" y="955"/>
                  </a:cubicBezTo>
                  <a:cubicBezTo>
                    <a:pt x="485" y="955"/>
                    <a:pt x="485" y="955"/>
                    <a:pt x="485" y="955"/>
                  </a:cubicBezTo>
                  <a:cubicBezTo>
                    <a:pt x="486" y="954"/>
                    <a:pt x="486" y="954"/>
                    <a:pt x="486" y="954"/>
                  </a:cubicBezTo>
                  <a:cubicBezTo>
                    <a:pt x="486" y="954"/>
                    <a:pt x="486" y="954"/>
                    <a:pt x="486" y="954"/>
                  </a:cubicBezTo>
                  <a:cubicBezTo>
                    <a:pt x="487" y="955"/>
                    <a:pt x="487" y="955"/>
                    <a:pt x="487" y="955"/>
                  </a:cubicBezTo>
                  <a:cubicBezTo>
                    <a:pt x="487" y="955"/>
                    <a:pt x="487" y="955"/>
                    <a:pt x="487" y="955"/>
                  </a:cubicBezTo>
                  <a:cubicBezTo>
                    <a:pt x="488" y="955"/>
                    <a:pt x="488" y="955"/>
                    <a:pt x="488" y="955"/>
                  </a:cubicBezTo>
                  <a:cubicBezTo>
                    <a:pt x="487" y="956"/>
                    <a:pt x="487" y="956"/>
                    <a:pt x="487" y="956"/>
                  </a:cubicBezTo>
                  <a:cubicBezTo>
                    <a:pt x="487" y="956"/>
                    <a:pt x="487" y="956"/>
                    <a:pt x="487" y="956"/>
                  </a:cubicBezTo>
                  <a:cubicBezTo>
                    <a:pt x="487" y="956"/>
                    <a:pt x="487" y="956"/>
                    <a:pt x="487" y="956"/>
                  </a:cubicBezTo>
                  <a:cubicBezTo>
                    <a:pt x="486" y="956"/>
                    <a:pt x="486" y="956"/>
                    <a:pt x="486" y="956"/>
                  </a:cubicBezTo>
                  <a:cubicBezTo>
                    <a:pt x="486" y="956"/>
                    <a:pt x="486" y="956"/>
                    <a:pt x="486" y="956"/>
                  </a:cubicBezTo>
                  <a:cubicBezTo>
                    <a:pt x="484" y="957"/>
                    <a:pt x="484" y="957"/>
                    <a:pt x="484" y="957"/>
                  </a:cubicBezTo>
                  <a:lnTo>
                    <a:pt x="484" y="956"/>
                  </a:lnTo>
                  <a:close/>
                  <a:moveTo>
                    <a:pt x="486" y="874"/>
                  </a:moveTo>
                  <a:cubicBezTo>
                    <a:pt x="486" y="874"/>
                    <a:pt x="486" y="874"/>
                    <a:pt x="486" y="874"/>
                  </a:cubicBezTo>
                  <a:cubicBezTo>
                    <a:pt x="486" y="874"/>
                    <a:pt x="486" y="874"/>
                    <a:pt x="486" y="874"/>
                  </a:cubicBezTo>
                  <a:close/>
                  <a:moveTo>
                    <a:pt x="482" y="1010"/>
                  </a:moveTo>
                  <a:cubicBezTo>
                    <a:pt x="482" y="1010"/>
                    <a:pt x="482" y="1010"/>
                    <a:pt x="482" y="1010"/>
                  </a:cubicBezTo>
                  <a:cubicBezTo>
                    <a:pt x="481" y="1010"/>
                    <a:pt x="481" y="1010"/>
                    <a:pt x="481" y="1010"/>
                  </a:cubicBezTo>
                  <a:cubicBezTo>
                    <a:pt x="481" y="1009"/>
                    <a:pt x="481" y="1009"/>
                    <a:pt x="481" y="1009"/>
                  </a:cubicBezTo>
                  <a:lnTo>
                    <a:pt x="482" y="1010"/>
                  </a:lnTo>
                  <a:close/>
                  <a:moveTo>
                    <a:pt x="490" y="878"/>
                  </a:moveTo>
                  <a:cubicBezTo>
                    <a:pt x="490" y="878"/>
                    <a:pt x="490" y="878"/>
                    <a:pt x="490" y="878"/>
                  </a:cubicBezTo>
                  <a:cubicBezTo>
                    <a:pt x="489" y="878"/>
                    <a:pt x="489" y="878"/>
                    <a:pt x="489" y="878"/>
                  </a:cubicBezTo>
                  <a:cubicBezTo>
                    <a:pt x="488" y="878"/>
                    <a:pt x="488" y="878"/>
                    <a:pt x="488" y="878"/>
                  </a:cubicBezTo>
                  <a:cubicBezTo>
                    <a:pt x="488" y="877"/>
                    <a:pt x="488" y="877"/>
                    <a:pt x="488" y="877"/>
                  </a:cubicBezTo>
                  <a:cubicBezTo>
                    <a:pt x="488" y="877"/>
                    <a:pt x="488" y="877"/>
                    <a:pt x="488" y="877"/>
                  </a:cubicBezTo>
                  <a:cubicBezTo>
                    <a:pt x="488" y="877"/>
                    <a:pt x="488" y="877"/>
                    <a:pt x="488" y="877"/>
                  </a:cubicBezTo>
                  <a:cubicBezTo>
                    <a:pt x="488" y="876"/>
                    <a:pt x="488" y="876"/>
                    <a:pt x="488" y="876"/>
                  </a:cubicBezTo>
                  <a:cubicBezTo>
                    <a:pt x="488" y="876"/>
                    <a:pt x="488" y="876"/>
                    <a:pt x="488" y="876"/>
                  </a:cubicBezTo>
                  <a:cubicBezTo>
                    <a:pt x="488" y="876"/>
                    <a:pt x="488" y="876"/>
                    <a:pt x="488" y="876"/>
                  </a:cubicBezTo>
                  <a:cubicBezTo>
                    <a:pt x="490" y="877"/>
                    <a:pt x="490" y="877"/>
                    <a:pt x="490" y="877"/>
                  </a:cubicBezTo>
                  <a:cubicBezTo>
                    <a:pt x="490" y="877"/>
                    <a:pt x="490" y="877"/>
                    <a:pt x="490" y="877"/>
                  </a:cubicBezTo>
                  <a:cubicBezTo>
                    <a:pt x="490" y="877"/>
                    <a:pt x="490" y="877"/>
                    <a:pt x="490" y="877"/>
                  </a:cubicBezTo>
                  <a:cubicBezTo>
                    <a:pt x="490" y="877"/>
                    <a:pt x="490" y="877"/>
                    <a:pt x="490" y="877"/>
                  </a:cubicBezTo>
                  <a:lnTo>
                    <a:pt x="490" y="878"/>
                  </a:lnTo>
                  <a:close/>
                  <a:moveTo>
                    <a:pt x="505" y="946"/>
                  </a:moveTo>
                  <a:cubicBezTo>
                    <a:pt x="505" y="946"/>
                    <a:pt x="505" y="946"/>
                    <a:pt x="505" y="946"/>
                  </a:cubicBezTo>
                  <a:cubicBezTo>
                    <a:pt x="505" y="945"/>
                    <a:pt x="505" y="945"/>
                    <a:pt x="505" y="945"/>
                  </a:cubicBezTo>
                  <a:cubicBezTo>
                    <a:pt x="505" y="945"/>
                    <a:pt x="505" y="945"/>
                    <a:pt x="505" y="945"/>
                  </a:cubicBezTo>
                  <a:cubicBezTo>
                    <a:pt x="505" y="945"/>
                    <a:pt x="505" y="945"/>
                    <a:pt x="505" y="945"/>
                  </a:cubicBezTo>
                  <a:cubicBezTo>
                    <a:pt x="505" y="945"/>
                    <a:pt x="505" y="945"/>
                    <a:pt x="505" y="945"/>
                  </a:cubicBezTo>
                  <a:cubicBezTo>
                    <a:pt x="506" y="945"/>
                    <a:pt x="506" y="945"/>
                    <a:pt x="506" y="945"/>
                  </a:cubicBezTo>
                  <a:lnTo>
                    <a:pt x="505" y="946"/>
                  </a:lnTo>
                  <a:close/>
                  <a:moveTo>
                    <a:pt x="493" y="952"/>
                  </a:moveTo>
                  <a:cubicBezTo>
                    <a:pt x="493" y="952"/>
                    <a:pt x="493" y="952"/>
                    <a:pt x="493" y="952"/>
                  </a:cubicBezTo>
                  <a:cubicBezTo>
                    <a:pt x="492" y="951"/>
                    <a:pt x="492" y="951"/>
                    <a:pt x="492" y="951"/>
                  </a:cubicBezTo>
                  <a:cubicBezTo>
                    <a:pt x="491" y="951"/>
                    <a:pt x="491" y="951"/>
                    <a:pt x="491" y="951"/>
                  </a:cubicBezTo>
                  <a:cubicBezTo>
                    <a:pt x="491" y="951"/>
                    <a:pt x="491" y="951"/>
                    <a:pt x="491" y="951"/>
                  </a:cubicBezTo>
                  <a:cubicBezTo>
                    <a:pt x="491" y="951"/>
                    <a:pt x="491" y="951"/>
                    <a:pt x="491" y="951"/>
                  </a:cubicBezTo>
                  <a:cubicBezTo>
                    <a:pt x="492" y="951"/>
                    <a:pt x="492" y="951"/>
                    <a:pt x="492" y="951"/>
                  </a:cubicBezTo>
                  <a:cubicBezTo>
                    <a:pt x="492" y="951"/>
                    <a:pt x="492" y="951"/>
                    <a:pt x="492" y="951"/>
                  </a:cubicBezTo>
                  <a:cubicBezTo>
                    <a:pt x="493" y="951"/>
                    <a:pt x="493" y="951"/>
                    <a:pt x="493" y="951"/>
                  </a:cubicBezTo>
                  <a:lnTo>
                    <a:pt x="493" y="952"/>
                  </a:lnTo>
                  <a:close/>
                  <a:moveTo>
                    <a:pt x="485" y="720"/>
                  </a:moveTo>
                  <a:cubicBezTo>
                    <a:pt x="485" y="720"/>
                    <a:pt x="485" y="720"/>
                    <a:pt x="485" y="720"/>
                  </a:cubicBezTo>
                  <a:cubicBezTo>
                    <a:pt x="486" y="721"/>
                    <a:pt x="486" y="721"/>
                    <a:pt x="486" y="721"/>
                  </a:cubicBezTo>
                  <a:cubicBezTo>
                    <a:pt x="485" y="721"/>
                    <a:pt x="485" y="721"/>
                    <a:pt x="485" y="721"/>
                  </a:cubicBezTo>
                  <a:cubicBezTo>
                    <a:pt x="484" y="721"/>
                    <a:pt x="484" y="721"/>
                    <a:pt x="484" y="721"/>
                  </a:cubicBezTo>
                  <a:cubicBezTo>
                    <a:pt x="484" y="721"/>
                    <a:pt x="484" y="721"/>
                    <a:pt x="484" y="721"/>
                  </a:cubicBezTo>
                  <a:cubicBezTo>
                    <a:pt x="485" y="721"/>
                    <a:pt x="485" y="721"/>
                    <a:pt x="485" y="721"/>
                  </a:cubicBezTo>
                  <a:lnTo>
                    <a:pt x="485" y="720"/>
                  </a:lnTo>
                  <a:close/>
                  <a:moveTo>
                    <a:pt x="477" y="747"/>
                  </a:moveTo>
                  <a:cubicBezTo>
                    <a:pt x="478" y="747"/>
                    <a:pt x="478" y="747"/>
                    <a:pt x="478" y="747"/>
                  </a:cubicBezTo>
                  <a:cubicBezTo>
                    <a:pt x="477" y="747"/>
                    <a:pt x="477" y="747"/>
                    <a:pt x="477" y="747"/>
                  </a:cubicBezTo>
                  <a:cubicBezTo>
                    <a:pt x="476" y="747"/>
                    <a:pt x="476" y="747"/>
                    <a:pt x="476" y="747"/>
                  </a:cubicBezTo>
                  <a:lnTo>
                    <a:pt x="477" y="747"/>
                  </a:lnTo>
                  <a:close/>
                  <a:moveTo>
                    <a:pt x="450" y="791"/>
                  </a:moveTo>
                  <a:cubicBezTo>
                    <a:pt x="450" y="791"/>
                    <a:pt x="450" y="791"/>
                    <a:pt x="450" y="791"/>
                  </a:cubicBezTo>
                  <a:cubicBezTo>
                    <a:pt x="450" y="791"/>
                    <a:pt x="450" y="791"/>
                    <a:pt x="450" y="791"/>
                  </a:cubicBezTo>
                  <a:cubicBezTo>
                    <a:pt x="451" y="791"/>
                    <a:pt x="451" y="791"/>
                    <a:pt x="451" y="791"/>
                  </a:cubicBezTo>
                  <a:cubicBezTo>
                    <a:pt x="450" y="791"/>
                    <a:pt x="450" y="791"/>
                    <a:pt x="450" y="791"/>
                  </a:cubicBezTo>
                  <a:cubicBezTo>
                    <a:pt x="450" y="791"/>
                    <a:pt x="450" y="791"/>
                    <a:pt x="450" y="791"/>
                  </a:cubicBezTo>
                  <a:cubicBezTo>
                    <a:pt x="450" y="791"/>
                    <a:pt x="450" y="791"/>
                    <a:pt x="450" y="791"/>
                  </a:cubicBezTo>
                  <a:cubicBezTo>
                    <a:pt x="449" y="791"/>
                    <a:pt x="449" y="791"/>
                    <a:pt x="449" y="791"/>
                  </a:cubicBezTo>
                  <a:lnTo>
                    <a:pt x="450" y="791"/>
                  </a:lnTo>
                  <a:close/>
                  <a:moveTo>
                    <a:pt x="449" y="800"/>
                  </a:moveTo>
                  <a:cubicBezTo>
                    <a:pt x="449" y="800"/>
                    <a:pt x="449" y="800"/>
                    <a:pt x="449" y="800"/>
                  </a:cubicBezTo>
                  <a:cubicBezTo>
                    <a:pt x="449" y="800"/>
                    <a:pt x="449" y="800"/>
                    <a:pt x="449" y="800"/>
                  </a:cubicBezTo>
                  <a:cubicBezTo>
                    <a:pt x="450" y="800"/>
                    <a:pt x="450" y="800"/>
                    <a:pt x="450" y="800"/>
                  </a:cubicBezTo>
                  <a:cubicBezTo>
                    <a:pt x="450" y="800"/>
                    <a:pt x="450" y="800"/>
                    <a:pt x="450" y="800"/>
                  </a:cubicBezTo>
                  <a:cubicBezTo>
                    <a:pt x="450" y="800"/>
                    <a:pt x="450" y="800"/>
                    <a:pt x="450" y="800"/>
                  </a:cubicBezTo>
                  <a:cubicBezTo>
                    <a:pt x="450" y="800"/>
                    <a:pt x="450" y="800"/>
                    <a:pt x="450" y="800"/>
                  </a:cubicBezTo>
                  <a:cubicBezTo>
                    <a:pt x="451" y="800"/>
                    <a:pt x="451" y="800"/>
                    <a:pt x="451" y="800"/>
                  </a:cubicBezTo>
                  <a:cubicBezTo>
                    <a:pt x="451" y="800"/>
                    <a:pt x="451" y="800"/>
                    <a:pt x="451" y="800"/>
                  </a:cubicBezTo>
                  <a:cubicBezTo>
                    <a:pt x="454" y="800"/>
                    <a:pt x="454" y="800"/>
                    <a:pt x="454" y="800"/>
                  </a:cubicBezTo>
                  <a:cubicBezTo>
                    <a:pt x="454" y="800"/>
                    <a:pt x="454" y="800"/>
                    <a:pt x="454" y="800"/>
                  </a:cubicBezTo>
                  <a:cubicBezTo>
                    <a:pt x="455" y="801"/>
                    <a:pt x="455" y="801"/>
                    <a:pt x="455" y="801"/>
                  </a:cubicBezTo>
                  <a:cubicBezTo>
                    <a:pt x="455" y="801"/>
                    <a:pt x="455" y="801"/>
                    <a:pt x="455" y="801"/>
                  </a:cubicBezTo>
                  <a:cubicBezTo>
                    <a:pt x="456" y="801"/>
                    <a:pt x="456" y="801"/>
                    <a:pt x="456" y="801"/>
                  </a:cubicBezTo>
                  <a:cubicBezTo>
                    <a:pt x="456" y="801"/>
                    <a:pt x="456" y="801"/>
                    <a:pt x="456" y="801"/>
                  </a:cubicBezTo>
                  <a:cubicBezTo>
                    <a:pt x="456" y="801"/>
                    <a:pt x="456" y="801"/>
                    <a:pt x="456" y="801"/>
                  </a:cubicBezTo>
                  <a:cubicBezTo>
                    <a:pt x="455" y="801"/>
                    <a:pt x="455" y="801"/>
                    <a:pt x="455" y="801"/>
                  </a:cubicBezTo>
                  <a:cubicBezTo>
                    <a:pt x="455" y="801"/>
                    <a:pt x="455" y="801"/>
                    <a:pt x="455" y="801"/>
                  </a:cubicBezTo>
                  <a:cubicBezTo>
                    <a:pt x="454" y="801"/>
                    <a:pt x="454" y="801"/>
                    <a:pt x="454" y="801"/>
                  </a:cubicBezTo>
                  <a:cubicBezTo>
                    <a:pt x="451" y="801"/>
                    <a:pt x="451" y="801"/>
                    <a:pt x="451" y="801"/>
                  </a:cubicBezTo>
                  <a:cubicBezTo>
                    <a:pt x="451" y="801"/>
                    <a:pt x="451" y="801"/>
                    <a:pt x="451" y="801"/>
                  </a:cubicBezTo>
                  <a:cubicBezTo>
                    <a:pt x="451" y="801"/>
                    <a:pt x="451" y="801"/>
                    <a:pt x="451" y="801"/>
                  </a:cubicBezTo>
                  <a:cubicBezTo>
                    <a:pt x="450" y="800"/>
                    <a:pt x="450" y="800"/>
                    <a:pt x="450" y="800"/>
                  </a:cubicBezTo>
                  <a:cubicBezTo>
                    <a:pt x="450" y="801"/>
                    <a:pt x="450" y="801"/>
                    <a:pt x="450" y="801"/>
                  </a:cubicBezTo>
                  <a:cubicBezTo>
                    <a:pt x="450" y="801"/>
                    <a:pt x="450" y="801"/>
                    <a:pt x="450" y="801"/>
                  </a:cubicBezTo>
                  <a:cubicBezTo>
                    <a:pt x="450" y="801"/>
                    <a:pt x="450" y="801"/>
                    <a:pt x="450" y="801"/>
                  </a:cubicBezTo>
                  <a:cubicBezTo>
                    <a:pt x="449" y="801"/>
                    <a:pt x="449" y="801"/>
                    <a:pt x="449" y="801"/>
                  </a:cubicBezTo>
                  <a:cubicBezTo>
                    <a:pt x="449" y="801"/>
                    <a:pt x="449" y="801"/>
                    <a:pt x="449" y="801"/>
                  </a:cubicBezTo>
                  <a:cubicBezTo>
                    <a:pt x="448" y="801"/>
                    <a:pt x="448" y="801"/>
                    <a:pt x="448" y="801"/>
                  </a:cubicBezTo>
                  <a:cubicBezTo>
                    <a:pt x="449" y="800"/>
                    <a:pt x="449" y="800"/>
                    <a:pt x="449" y="800"/>
                  </a:cubicBezTo>
                  <a:close/>
                  <a:moveTo>
                    <a:pt x="464" y="814"/>
                  </a:moveTo>
                  <a:cubicBezTo>
                    <a:pt x="464" y="814"/>
                    <a:pt x="464" y="814"/>
                    <a:pt x="464" y="814"/>
                  </a:cubicBezTo>
                  <a:cubicBezTo>
                    <a:pt x="464" y="814"/>
                    <a:pt x="464" y="814"/>
                    <a:pt x="464" y="814"/>
                  </a:cubicBezTo>
                  <a:close/>
                  <a:moveTo>
                    <a:pt x="460" y="781"/>
                  </a:moveTo>
                  <a:cubicBezTo>
                    <a:pt x="460" y="781"/>
                    <a:pt x="460" y="781"/>
                    <a:pt x="460" y="781"/>
                  </a:cubicBezTo>
                  <a:cubicBezTo>
                    <a:pt x="460" y="781"/>
                    <a:pt x="460" y="781"/>
                    <a:pt x="460" y="781"/>
                  </a:cubicBezTo>
                  <a:close/>
                  <a:moveTo>
                    <a:pt x="452" y="850"/>
                  </a:moveTo>
                  <a:cubicBezTo>
                    <a:pt x="452" y="850"/>
                    <a:pt x="452" y="850"/>
                    <a:pt x="452" y="850"/>
                  </a:cubicBezTo>
                  <a:cubicBezTo>
                    <a:pt x="452" y="849"/>
                    <a:pt x="452" y="849"/>
                    <a:pt x="452" y="849"/>
                  </a:cubicBezTo>
                  <a:cubicBezTo>
                    <a:pt x="452" y="849"/>
                    <a:pt x="452" y="849"/>
                    <a:pt x="452" y="849"/>
                  </a:cubicBezTo>
                  <a:cubicBezTo>
                    <a:pt x="452" y="849"/>
                    <a:pt x="452" y="849"/>
                    <a:pt x="452" y="849"/>
                  </a:cubicBezTo>
                  <a:cubicBezTo>
                    <a:pt x="452" y="849"/>
                    <a:pt x="452" y="849"/>
                    <a:pt x="452" y="849"/>
                  </a:cubicBezTo>
                  <a:cubicBezTo>
                    <a:pt x="452" y="849"/>
                    <a:pt x="452" y="849"/>
                    <a:pt x="452" y="849"/>
                  </a:cubicBezTo>
                  <a:cubicBezTo>
                    <a:pt x="452" y="849"/>
                    <a:pt x="452" y="849"/>
                    <a:pt x="452" y="849"/>
                  </a:cubicBezTo>
                  <a:cubicBezTo>
                    <a:pt x="452" y="849"/>
                    <a:pt x="452" y="849"/>
                    <a:pt x="452" y="849"/>
                  </a:cubicBezTo>
                  <a:cubicBezTo>
                    <a:pt x="452" y="849"/>
                    <a:pt x="452" y="849"/>
                    <a:pt x="452" y="849"/>
                  </a:cubicBezTo>
                  <a:cubicBezTo>
                    <a:pt x="452" y="850"/>
                    <a:pt x="452" y="850"/>
                    <a:pt x="452" y="850"/>
                  </a:cubicBezTo>
                  <a:cubicBezTo>
                    <a:pt x="452" y="850"/>
                    <a:pt x="452" y="850"/>
                    <a:pt x="452" y="850"/>
                  </a:cubicBezTo>
                  <a:cubicBezTo>
                    <a:pt x="452" y="850"/>
                    <a:pt x="452" y="850"/>
                    <a:pt x="452" y="850"/>
                  </a:cubicBezTo>
                  <a:cubicBezTo>
                    <a:pt x="452" y="850"/>
                    <a:pt x="452" y="850"/>
                    <a:pt x="452" y="850"/>
                  </a:cubicBezTo>
                  <a:close/>
                  <a:moveTo>
                    <a:pt x="449" y="843"/>
                  </a:moveTo>
                  <a:cubicBezTo>
                    <a:pt x="449" y="843"/>
                    <a:pt x="449" y="843"/>
                    <a:pt x="449" y="843"/>
                  </a:cubicBezTo>
                  <a:cubicBezTo>
                    <a:pt x="449" y="843"/>
                    <a:pt x="449" y="843"/>
                    <a:pt x="449" y="843"/>
                  </a:cubicBezTo>
                  <a:cubicBezTo>
                    <a:pt x="449" y="843"/>
                    <a:pt x="449" y="843"/>
                    <a:pt x="449" y="843"/>
                  </a:cubicBezTo>
                  <a:close/>
                  <a:moveTo>
                    <a:pt x="453" y="852"/>
                  </a:moveTo>
                  <a:cubicBezTo>
                    <a:pt x="453" y="852"/>
                    <a:pt x="453" y="852"/>
                    <a:pt x="453" y="852"/>
                  </a:cubicBezTo>
                  <a:cubicBezTo>
                    <a:pt x="453" y="852"/>
                    <a:pt x="453" y="852"/>
                    <a:pt x="453" y="852"/>
                  </a:cubicBezTo>
                  <a:cubicBezTo>
                    <a:pt x="453" y="852"/>
                    <a:pt x="453" y="852"/>
                    <a:pt x="453" y="852"/>
                  </a:cubicBezTo>
                  <a:cubicBezTo>
                    <a:pt x="453" y="852"/>
                    <a:pt x="453" y="852"/>
                    <a:pt x="453" y="852"/>
                  </a:cubicBezTo>
                  <a:cubicBezTo>
                    <a:pt x="453" y="852"/>
                    <a:pt x="453" y="852"/>
                    <a:pt x="453" y="852"/>
                  </a:cubicBezTo>
                  <a:cubicBezTo>
                    <a:pt x="453" y="852"/>
                    <a:pt x="453" y="852"/>
                    <a:pt x="453" y="852"/>
                  </a:cubicBezTo>
                  <a:cubicBezTo>
                    <a:pt x="453" y="852"/>
                    <a:pt x="453" y="852"/>
                    <a:pt x="453" y="852"/>
                  </a:cubicBezTo>
                  <a:close/>
                  <a:moveTo>
                    <a:pt x="452" y="785"/>
                  </a:moveTo>
                  <a:cubicBezTo>
                    <a:pt x="452" y="785"/>
                    <a:pt x="452" y="785"/>
                    <a:pt x="452" y="785"/>
                  </a:cubicBezTo>
                  <a:cubicBezTo>
                    <a:pt x="452" y="785"/>
                    <a:pt x="452" y="785"/>
                    <a:pt x="452" y="785"/>
                  </a:cubicBezTo>
                  <a:cubicBezTo>
                    <a:pt x="452" y="785"/>
                    <a:pt x="452" y="785"/>
                    <a:pt x="452" y="785"/>
                  </a:cubicBezTo>
                  <a:cubicBezTo>
                    <a:pt x="452" y="785"/>
                    <a:pt x="452" y="785"/>
                    <a:pt x="452" y="785"/>
                  </a:cubicBezTo>
                  <a:close/>
                  <a:moveTo>
                    <a:pt x="451" y="788"/>
                  </a:moveTo>
                  <a:cubicBezTo>
                    <a:pt x="451" y="787"/>
                    <a:pt x="451" y="787"/>
                    <a:pt x="451" y="787"/>
                  </a:cubicBezTo>
                  <a:cubicBezTo>
                    <a:pt x="451" y="788"/>
                    <a:pt x="451" y="788"/>
                    <a:pt x="451" y="788"/>
                  </a:cubicBezTo>
                  <a:cubicBezTo>
                    <a:pt x="451" y="788"/>
                    <a:pt x="451" y="788"/>
                    <a:pt x="451" y="788"/>
                  </a:cubicBezTo>
                  <a:close/>
                  <a:moveTo>
                    <a:pt x="446" y="797"/>
                  </a:moveTo>
                  <a:cubicBezTo>
                    <a:pt x="447" y="797"/>
                    <a:pt x="447" y="797"/>
                    <a:pt x="447" y="797"/>
                  </a:cubicBezTo>
                  <a:cubicBezTo>
                    <a:pt x="447" y="798"/>
                    <a:pt x="447" y="798"/>
                    <a:pt x="447" y="798"/>
                  </a:cubicBezTo>
                  <a:cubicBezTo>
                    <a:pt x="448" y="798"/>
                    <a:pt x="448" y="798"/>
                    <a:pt x="448" y="798"/>
                  </a:cubicBezTo>
                  <a:cubicBezTo>
                    <a:pt x="448" y="798"/>
                    <a:pt x="448" y="798"/>
                    <a:pt x="448" y="798"/>
                  </a:cubicBezTo>
                  <a:cubicBezTo>
                    <a:pt x="449" y="798"/>
                    <a:pt x="449" y="798"/>
                    <a:pt x="449" y="798"/>
                  </a:cubicBezTo>
                  <a:cubicBezTo>
                    <a:pt x="449" y="799"/>
                    <a:pt x="449" y="799"/>
                    <a:pt x="449" y="799"/>
                  </a:cubicBezTo>
                  <a:cubicBezTo>
                    <a:pt x="449" y="799"/>
                    <a:pt x="449" y="799"/>
                    <a:pt x="449" y="799"/>
                  </a:cubicBezTo>
                  <a:cubicBezTo>
                    <a:pt x="448" y="799"/>
                    <a:pt x="448" y="799"/>
                    <a:pt x="448" y="799"/>
                  </a:cubicBezTo>
                  <a:cubicBezTo>
                    <a:pt x="448" y="799"/>
                    <a:pt x="448" y="799"/>
                    <a:pt x="448" y="799"/>
                  </a:cubicBezTo>
                  <a:cubicBezTo>
                    <a:pt x="447" y="799"/>
                    <a:pt x="447" y="799"/>
                    <a:pt x="447" y="799"/>
                  </a:cubicBezTo>
                  <a:cubicBezTo>
                    <a:pt x="447" y="798"/>
                    <a:pt x="447" y="798"/>
                    <a:pt x="447" y="798"/>
                  </a:cubicBezTo>
                  <a:cubicBezTo>
                    <a:pt x="446" y="798"/>
                    <a:pt x="446" y="798"/>
                    <a:pt x="446" y="798"/>
                  </a:cubicBezTo>
                  <a:lnTo>
                    <a:pt x="446" y="797"/>
                  </a:lnTo>
                  <a:close/>
                  <a:moveTo>
                    <a:pt x="450" y="847"/>
                  </a:moveTo>
                  <a:cubicBezTo>
                    <a:pt x="450" y="846"/>
                    <a:pt x="450" y="846"/>
                    <a:pt x="450" y="846"/>
                  </a:cubicBezTo>
                  <a:cubicBezTo>
                    <a:pt x="449" y="846"/>
                    <a:pt x="449" y="846"/>
                    <a:pt x="449" y="846"/>
                  </a:cubicBezTo>
                  <a:cubicBezTo>
                    <a:pt x="450" y="846"/>
                    <a:pt x="450" y="846"/>
                    <a:pt x="450" y="846"/>
                  </a:cubicBezTo>
                  <a:cubicBezTo>
                    <a:pt x="450" y="846"/>
                    <a:pt x="450" y="846"/>
                    <a:pt x="450" y="846"/>
                  </a:cubicBezTo>
                  <a:cubicBezTo>
                    <a:pt x="451" y="847"/>
                    <a:pt x="451" y="847"/>
                    <a:pt x="451" y="847"/>
                  </a:cubicBezTo>
                  <a:cubicBezTo>
                    <a:pt x="450" y="847"/>
                    <a:pt x="450" y="847"/>
                    <a:pt x="450" y="847"/>
                  </a:cubicBezTo>
                  <a:close/>
                  <a:moveTo>
                    <a:pt x="457" y="829"/>
                  </a:moveTo>
                  <a:cubicBezTo>
                    <a:pt x="457" y="829"/>
                    <a:pt x="457" y="829"/>
                    <a:pt x="457" y="829"/>
                  </a:cubicBezTo>
                  <a:cubicBezTo>
                    <a:pt x="458" y="829"/>
                    <a:pt x="458" y="829"/>
                    <a:pt x="458" y="829"/>
                  </a:cubicBezTo>
                  <a:cubicBezTo>
                    <a:pt x="458" y="829"/>
                    <a:pt x="458" y="829"/>
                    <a:pt x="458" y="829"/>
                  </a:cubicBezTo>
                  <a:cubicBezTo>
                    <a:pt x="458" y="829"/>
                    <a:pt x="458" y="829"/>
                    <a:pt x="458" y="829"/>
                  </a:cubicBezTo>
                  <a:cubicBezTo>
                    <a:pt x="458" y="830"/>
                    <a:pt x="458" y="830"/>
                    <a:pt x="458" y="830"/>
                  </a:cubicBezTo>
                  <a:cubicBezTo>
                    <a:pt x="458" y="830"/>
                    <a:pt x="458" y="830"/>
                    <a:pt x="458" y="830"/>
                  </a:cubicBezTo>
                  <a:cubicBezTo>
                    <a:pt x="458" y="830"/>
                    <a:pt x="458" y="830"/>
                    <a:pt x="458" y="830"/>
                  </a:cubicBezTo>
                  <a:cubicBezTo>
                    <a:pt x="458" y="830"/>
                    <a:pt x="458" y="830"/>
                    <a:pt x="458" y="830"/>
                  </a:cubicBezTo>
                  <a:cubicBezTo>
                    <a:pt x="457" y="830"/>
                    <a:pt x="457" y="830"/>
                    <a:pt x="457" y="830"/>
                  </a:cubicBezTo>
                  <a:cubicBezTo>
                    <a:pt x="457" y="829"/>
                    <a:pt x="457" y="829"/>
                    <a:pt x="457" y="829"/>
                  </a:cubicBezTo>
                  <a:close/>
                  <a:moveTo>
                    <a:pt x="459" y="998"/>
                  </a:moveTo>
                  <a:cubicBezTo>
                    <a:pt x="459" y="997"/>
                    <a:pt x="459" y="997"/>
                    <a:pt x="459" y="997"/>
                  </a:cubicBezTo>
                  <a:cubicBezTo>
                    <a:pt x="460" y="998"/>
                    <a:pt x="460" y="998"/>
                    <a:pt x="460" y="998"/>
                  </a:cubicBezTo>
                  <a:cubicBezTo>
                    <a:pt x="460" y="998"/>
                    <a:pt x="460" y="998"/>
                    <a:pt x="460" y="998"/>
                  </a:cubicBezTo>
                  <a:cubicBezTo>
                    <a:pt x="460" y="998"/>
                    <a:pt x="460" y="998"/>
                    <a:pt x="460" y="998"/>
                  </a:cubicBezTo>
                  <a:lnTo>
                    <a:pt x="459" y="998"/>
                  </a:lnTo>
                  <a:close/>
                  <a:moveTo>
                    <a:pt x="492" y="1040"/>
                  </a:moveTo>
                  <a:cubicBezTo>
                    <a:pt x="491" y="1040"/>
                    <a:pt x="491" y="1040"/>
                    <a:pt x="491" y="1040"/>
                  </a:cubicBezTo>
                  <a:cubicBezTo>
                    <a:pt x="491" y="1040"/>
                    <a:pt x="491" y="1040"/>
                    <a:pt x="491" y="1040"/>
                  </a:cubicBezTo>
                  <a:cubicBezTo>
                    <a:pt x="490" y="1039"/>
                    <a:pt x="490" y="1039"/>
                    <a:pt x="490" y="1039"/>
                  </a:cubicBezTo>
                  <a:cubicBezTo>
                    <a:pt x="490" y="1039"/>
                    <a:pt x="490" y="1039"/>
                    <a:pt x="490" y="1039"/>
                  </a:cubicBezTo>
                  <a:cubicBezTo>
                    <a:pt x="490" y="1038"/>
                    <a:pt x="490" y="1038"/>
                    <a:pt x="490" y="1038"/>
                  </a:cubicBezTo>
                  <a:cubicBezTo>
                    <a:pt x="490" y="1038"/>
                    <a:pt x="490" y="1038"/>
                    <a:pt x="490" y="1038"/>
                  </a:cubicBezTo>
                  <a:cubicBezTo>
                    <a:pt x="488" y="1037"/>
                    <a:pt x="488" y="1037"/>
                    <a:pt x="488" y="1037"/>
                  </a:cubicBezTo>
                  <a:cubicBezTo>
                    <a:pt x="487" y="1036"/>
                    <a:pt x="487" y="1036"/>
                    <a:pt x="487" y="1036"/>
                  </a:cubicBezTo>
                  <a:cubicBezTo>
                    <a:pt x="487" y="1036"/>
                    <a:pt x="487" y="1036"/>
                    <a:pt x="487" y="1036"/>
                  </a:cubicBezTo>
                  <a:cubicBezTo>
                    <a:pt x="487" y="1034"/>
                    <a:pt x="487" y="1034"/>
                    <a:pt x="487" y="1034"/>
                  </a:cubicBezTo>
                  <a:cubicBezTo>
                    <a:pt x="487" y="1034"/>
                    <a:pt x="487" y="1034"/>
                    <a:pt x="487" y="1034"/>
                  </a:cubicBezTo>
                  <a:cubicBezTo>
                    <a:pt x="486" y="1033"/>
                    <a:pt x="486" y="1033"/>
                    <a:pt x="486" y="1033"/>
                  </a:cubicBezTo>
                  <a:cubicBezTo>
                    <a:pt x="486" y="1033"/>
                    <a:pt x="486" y="1033"/>
                    <a:pt x="486" y="1033"/>
                  </a:cubicBezTo>
                  <a:cubicBezTo>
                    <a:pt x="486" y="1033"/>
                    <a:pt x="486" y="1033"/>
                    <a:pt x="486" y="1033"/>
                  </a:cubicBezTo>
                  <a:cubicBezTo>
                    <a:pt x="487" y="1032"/>
                    <a:pt x="487" y="1032"/>
                    <a:pt x="487" y="1032"/>
                  </a:cubicBezTo>
                  <a:cubicBezTo>
                    <a:pt x="487" y="1031"/>
                    <a:pt x="487" y="1031"/>
                    <a:pt x="487" y="1031"/>
                  </a:cubicBezTo>
                  <a:cubicBezTo>
                    <a:pt x="487" y="1031"/>
                    <a:pt x="487" y="1031"/>
                    <a:pt x="487" y="1031"/>
                  </a:cubicBezTo>
                  <a:cubicBezTo>
                    <a:pt x="487" y="1031"/>
                    <a:pt x="487" y="1031"/>
                    <a:pt x="487" y="1031"/>
                  </a:cubicBezTo>
                  <a:cubicBezTo>
                    <a:pt x="487" y="1032"/>
                    <a:pt x="487" y="1032"/>
                    <a:pt x="487" y="1032"/>
                  </a:cubicBezTo>
                  <a:cubicBezTo>
                    <a:pt x="487" y="1032"/>
                    <a:pt x="487" y="1032"/>
                    <a:pt x="487" y="1032"/>
                  </a:cubicBezTo>
                  <a:cubicBezTo>
                    <a:pt x="487" y="1034"/>
                    <a:pt x="487" y="1034"/>
                    <a:pt x="487" y="1034"/>
                  </a:cubicBezTo>
                  <a:cubicBezTo>
                    <a:pt x="487" y="1034"/>
                    <a:pt x="487" y="1034"/>
                    <a:pt x="487" y="1034"/>
                  </a:cubicBezTo>
                  <a:cubicBezTo>
                    <a:pt x="489" y="1035"/>
                    <a:pt x="489" y="1035"/>
                    <a:pt x="489" y="1035"/>
                  </a:cubicBezTo>
                  <a:cubicBezTo>
                    <a:pt x="490" y="1036"/>
                    <a:pt x="490" y="1036"/>
                    <a:pt x="490" y="1036"/>
                  </a:cubicBezTo>
                  <a:cubicBezTo>
                    <a:pt x="490" y="1036"/>
                    <a:pt x="490" y="1036"/>
                    <a:pt x="490" y="1036"/>
                  </a:cubicBezTo>
                  <a:cubicBezTo>
                    <a:pt x="490" y="1037"/>
                    <a:pt x="490" y="1037"/>
                    <a:pt x="490" y="1037"/>
                  </a:cubicBezTo>
                  <a:cubicBezTo>
                    <a:pt x="491" y="1037"/>
                    <a:pt x="491" y="1037"/>
                    <a:pt x="491" y="1037"/>
                  </a:cubicBezTo>
                  <a:cubicBezTo>
                    <a:pt x="491" y="1038"/>
                    <a:pt x="491" y="1038"/>
                    <a:pt x="491" y="1038"/>
                  </a:cubicBezTo>
                  <a:cubicBezTo>
                    <a:pt x="491" y="1038"/>
                    <a:pt x="491" y="1038"/>
                    <a:pt x="491" y="1038"/>
                  </a:cubicBezTo>
                  <a:cubicBezTo>
                    <a:pt x="493" y="1038"/>
                    <a:pt x="493" y="1038"/>
                    <a:pt x="493" y="1038"/>
                  </a:cubicBezTo>
                  <a:cubicBezTo>
                    <a:pt x="493" y="1039"/>
                    <a:pt x="493" y="1039"/>
                    <a:pt x="493" y="1039"/>
                  </a:cubicBezTo>
                  <a:cubicBezTo>
                    <a:pt x="493" y="1039"/>
                    <a:pt x="493" y="1039"/>
                    <a:pt x="493" y="1039"/>
                  </a:cubicBezTo>
                  <a:cubicBezTo>
                    <a:pt x="493" y="1040"/>
                    <a:pt x="493" y="1040"/>
                    <a:pt x="493" y="1040"/>
                  </a:cubicBezTo>
                  <a:lnTo>
                    <a:pt x="492" y="1040"/>
                  </a:lnTo>
                  <a:close/>
                  <a:moveTo>
                    <a:pt x="528" y="941"/>
                  </a:moveTo>
                  <a:cubicBezTo>
                    <a:pt x="528" y="941"/>
                    <a:pt x="528" y="941"/>
                    <a:pt x="528" y="941"/>
                  </a:cubicBezTo>
                  <a:cubicBezTo>
                    <a:pt x="528" y="941"/>
                    <a:pt x="528" y="941"/>
                    <a:pt x="528" y="941"/>
                  </a:cubicBezTo>
                  <a:cubicBezTo>
                    <a:pt x="528" y="941"/>
                    <a:pt x="528" y="941"/>
                    <a:pt x="528" y="941"/>
                  </a:cubicBezTo>
                  <a:cubicBezTo>
                    <a:pt x="529" y="942"/>
                    <a:pt x="529" y="942"/>
                    <a:pt x="529" y="942"/>
                  </a:cubicBezTo>
                  <a:cubicBezTo>
                    <a:pt x="529" y="942"/>
                    <a:pt x="529" y="942"/>
                    <a:pt x="529" y="942"/>
                  </a:cubicBezTo>
                  <a:cubicBezTo>
                    <a:pt x="530" y="942"/>
                    <a:pt x="530" y="942"/>
                    <a:pt x="530" y="942"/>
                  </a:cubicBezTo>
                  <a:cubicBezTo>
                    <a:pt x="530" y="942"/>
                    <a:pt x="530" y="942"/>
                    <a:pt x="530" y="942"/>
                  </a:cubicBezTo>
                  <a:cubicBezTo>
                    <a:pt x="531" y="941"/>
                    <a:pt x="531" y="941"/>
                    <a:pt x="531" y="941"/>
                  </a:cubicBezTo>
                  <a:cubicBezTo>
                    <a:pt x="531" y="941"/>
                    <a:pt x="531" y="941"/>
                    <a:pt x="531" y="941"/>
                  </a:cubicBezTo>
                  <a:cubicBezTo>
                    <a:pt x="533" y="941"/>
                    <a:pt x="533" y="941"/>
                    <a:pt x="533" y="941"/>
                  </a:cubicBezTo>
                  <a:cubicBezTo>
                    <a:pt x="533" y="941"/>
                    <a:pt x="533" y="941"/>
                    <a:pt x="533" y="941"/>
                  </a:cubicBezTo>
                  <a:cubicBezTo>
                    <a:pt x="534" y="941"/>
                    <a:pt x="534" y="941"/>
                    <a:pt x="534" y="941"/>
                  </a:cubicBezTo>
                  <a:cubicBezTo>
                    <a:pt x="534" y="941"/>
                    <a:pt x="534" y="941"/>
                    <a:pt x="534" y="941"/>
                  </a:cubicBezTo>
                  <a:cubicBezTo>
                    <a:pt x="534" y="942"/>
                    <a:pt x="534" y="942"/>
                    <a:pt x="534" y="942"/>
                  </a:cubicBezTo>
                  <a:cubicBezTo>
                    <a:pt x="534" y="942"/>
                    <a:pt x="534" y="942"/>
                    <a:pt x="534" y="942"/>
                  </a:cubicBezTo>
                  <a:cubicBezTo>
                    <a:pt x="534" y="942"/>
                    <a:pt x="534" y="942"/>
                    <a:pt x="534" y="942"/>
                  </a:cubicBezTo>
                  <a:cubicBezTo>
                    <a:pt x="534" y="942"/>
                    <a:pt x="534" y="942"/>
                    <a:pt x="534" y="942"/>
                  </a:cubicBezTo>
                  <a:cubicBezTo>
                    <a:pt x="533" y="942"/>
                    <a:pt x="533" y="942"/>
                    <a:pt x="533" y="942"/>
                  </a:cubicBezTo>
                  <a:cubicBezTo>
                    <a:pt x="533" y="942"/>
                    <a:pt x="533" y="942"/>
                    <a:pt x="533" y="942"/>
                  </a:cubicBezTo>
                  <a:cubicBezTo>
                    <a:pt x="533" y="942"/>
                    <a:pt x="533" y="942"/>
                    <a:pt x="533" y="942"/>
                  </a:cubicBezTo>
                  <a:cubicBezTo>
                    <a:pt x="533" y="942"/>
                    <a:pt x="533" y="942"/>
                    <a:pt x="533" y="942"/>
                  </a:cubicBezTo>
                  <a:cubicBezTo>
                    <a:pt x="532" y="942"/>
                    <a:pt x="532" y="942"/>
                    <a:pt x="532" y="942"/>
                  </a:cubicBezTo>
                  <a:cubicBezTo>
                    <a:pt x="531" y="942"/>
                    <a:pt x="531" y="942"/>
                    <a:pt x="531" y="942"/>
                  </a:cubicBezTo>
                  <a:cubicBezTo>
                    <a:pt x="531" y="943"/>
                    <a:pt x="531" y="943"/>
                    <a:pt x="531" y="943"/>
                  </a:cubicBezTo>
                  <a:cubicBezTo>
                    <a:pt x="530" y="943"/>
                    <a:pt x="530" y="943"/>
                    <a:pt x="530" y="943"/>
                  </a:cubicBezTo>
                  <a:cubicBezTo>
                    <a:pt x="530" y="943"/>
                    <a:pt x="530" y="943"/>
                    <a:pt x="530" y="943"/>
                  </a:cubicBezTo>
                  <a:cubicBezTo>
                    <a:pt x="529" y="943"/>
                    <a:pt x="529" y="943"/>
                    <a:pt x="529" y="943"/>
                  </a:cubicBezTo>
                  <a:cubicBezTo>
                    <a:pt x="528" y="942"/>
                    <a:pt x="528" y="942"/>
                    <a:pt x="528" y="942"/>
                  </a:cubicBezTo>
                  <a:cubicBezTo>
                    <a:pt x="528" y="942"/>
                    <a:pt x="528" y="942"/>
                    <a:pt x="528" y="942"/>
                  </a:cubicBezTo>
                  <a:cubicBezTo>
                    <a:pt x="528" y="942"/>
                    <a:pt x="528" y="942"/>
                    <a:pt x="528" y="942"/>
                  </a:cubicBezTo>
                  <a:cubicBezTo>
                    <a:pt x="528" y="942"/>
                    <a:pt x="528" y="942"/>
                    <a:pt x="528" y="942"/>
                  </a:cubicBezTo>
                  <a:lnTo>
                    <a:pt x="528" y="941"/>
                  </a:lnTo>
                  <a:close/>
                  <a:moveTo>
                    <a:pt x="571" y="972"/>
                  </a:moveTo>
                  <a:cubicBezTo>
                    <a:pt x="571" y="972"/>
                    <a:pt x="571" y="972"/>
                    <a:pt x="571" y="972"/>
                  </a:cubicBezTo>
                  <a:cubicBezTo>
                    <a:pt x="571" y="973"/>
                    <a:pt x="571" y="973"/>
                    <a:pt x="571" y="973"/>
                  </a:cubicBezTo>
                  <a:cubicBezTo>
                    <a:pt x="571" y="973"/>
                    <a:pt x="571" y="973"/>
                    <a:pt x="571" y="973"/>
                  </a:cubicBezTo>
                  <a:lnTo>
                    <a:pt x="571" y="972"/>
                  </a:lnTo>
                  <a:close/>
                  <a:moveTo>
                    <a:pt x="560" y="968"/>
                  </a:moveTo>
                  <a:cubicBezTo>
                    <a:pt x="560" y="968"/>
                    <a:pt x="560" y="968"/>
                    <a:pt x="560" y="968"/>
                  </a:cubicBezTo>
                  <a:cubicBezTo>
                    <a:pt x="560" y="968"/>
                    <a:pt x="560" y="968"/>
                    <a:pt x="560" y="968"/>
                  </a:cubicBezTo>
                  <a:cubicBezTo>
                    <a:pt x="560" y="967"/>
                    <a:pt x="560" y="967"/>
                    <a:pt x="560" y="967"/>
                  </a:cubicBezTo>
                  <a:cubicBezTo>
                    <a:pt x="561" y="967"/>
                    <a:pt x="561" y="967"/>
                    <a:pt x="561" y="967"/>
                  </a:cubicBezTo>
                  <a:cubicBezTo>
                    <a:pt x="561" y="966"/>
                    <a:pt x="561" y="966"/>
                    <a:pt x="561" y="966"/>
                  </a:cubicBezTo>
                  <a:cubicBezTo>
                    <a:pt x="561" y="965"/>
                    <a:pt x="561" y="965"/>
                    <a:pt x="561" y="965"/>
                  </a:cubicBezTo>
                  <a:cubicBezTo>
                    <a:pt x="561" y="964"/>
                    <a:pt x="561" y="964"/>
                    <a:pt x="561" y="964"/>
                  </a:cubicBezTo>
                  <a:cubicBezTo>
                    <a:pt x="560" y="964"/>
                    <a:pt x="560" y="964"/>
                    <a:pt x="560" y="964"/>
                  </a:cubicBezTo>
                  <a:cubicBezTo>
                    <a:pt x="560" y="963"/>
                    <a:pt x="560" y="963"/>
                    <a:pt x="560" y="963"/>
                  </a:cubicBezTo>
                  <a:cubicBezTo>
                    <a:pt x="560" y="961"/>
                    <a:pt x="560" y="961"/>
                    <a:pt x="560" y="961"/>
                  </a:cubicBezTo>
                  <a:cubicBezTo>
                    <a:pt x="561" y="960"/>
                    <a:pt x="561" y="960"/>
                    <a:pt x="561" y="960"/>
                  </a:cubicBezTo>
                  <a:cubicBezTo>
                    <a:pt x="561" y="959"/>
                    <a:pt x="561" y="959"/>
                    <a:pt x="561" y="959"/>
                  </a:cubicBezTo>
                  <a:cubicBezTo>
                    <a:pt x="562" y="957"/>
                    <a:pt x="562" y="957"/>
                    <a:pt x="562" y="957"/>
                  </a:cubicBezTo>
                  <a:cubicBezTo>
                    <a:pt x="563" y="956"/>
                    <a:pt x="563" y="956"/>
                    <a:pt x="563" y="956"/>
                  </a:cubicBezTo>
                  <a:cubicBezTo>
                    <a:pt x="563" y="956"/>
                    <a:pt x="563" y="956"/>
                    <a:pt x="563" y="956"/>
                  </a:cubicBezTo>
                  <a:cubicBezTo>
                    <a:pt x="563" y="955"/>
                    <a:pt x="563" y="955"/>
                    <a:pt x="563" y="955"/>
                  </a:cubicBezTo>
                  <a:cubicBezTo>
                    <a:pt x="564" y="955"/>
                    <a:pt x="564" y="955"/>
                    <a:pt x="564" y="955"/>
                  </a:cubicBezTo>
                  <a:cubicBezTo>
                    <a:pt x="565" y="953"/>
                    <a:pt x="565" y="953"/>
                    <a:pt x="565" y="953"/>
                  </a:cubicBezTo>
                  <a:cubicBezTo>
                    <a:pt x="565" y="953"/>
                    <a:pt x="565" y="953"/>
                    <a:pt x="565" y="953"/>
                  </a:cubicBezTo>
                  <a:cubicBezTo>
                    <a:pt x="565" y="953"/>
                    <a:pt x="565" y="953"/>
                    <a:pt x="565" y="953"/>
                  </a:cubicBezTo>
                  <a:cubicBezTo>
                    <a:pt x="565" y="954"/>
                    <a:pt x="565" y="954"/>
                    <a:pt x="565" y="954"/>
                  </a:cubicBezTo>
                  <a:cubicBezTo>
                    <a:pt x="563" y="955"/>
                    <a:pt x="563" y="955"/>
                    <a:pt x="563" y="955"/>
                  </a:cubicBezTo>
                  <a:cubicBezTo>
                    <a:pt x="563" y="956"/>
                    <a:pt x="563" y="956"/>
                    <a:pt x="563" y="956"/>
                  </a:cubicBezTo>
                  <a:cubicBezTo>
                    <a:pt x="563" y="957"/>
                    <a:pt x="563" y="957"/>
                    <a:pt x="563" y="957"/>
                  </a:cubicBezTo>
                  <a:cubicBezTo>
                    <a:pt x="563" y="957"/>
                    <a:pt x="563" y="957"/>
                    <a:pt x="563" y="957"/>
                  </a:cubicBezTo>
                  <a:cubicBezTo>
                    <a:pt x="562" y="958"/>
                    <a:pt x="562" y="958"/>
                    <a:pt x="562" y="958"/>
                  </a:cubicBezTo>
                  <a:cubicBezTo>
                    <a:pt x="561" y="960"/>
                    <a:pt x="561" y="960"/>
                    <a:pt x="561" y="960"/>
                  </a:cubicBezTo>
                  <a:cubicBezTo>
                    <a:pt x="561" y="960"/>
                    <a:pt x="561" y="960"/>
                    <a:pt x="561" y="960"/>
                  </a:cubicBezTo>
                  <a:cubicBezTo>
                    <a:pt x="562" y="960"/>
                    <a:pt x="562" y="960"/>
                    <a:pt x="562" y="960"/>
                  </a:cubicBezTo>
                  <a:cubicBezTo>
                    <a:pt x="561" y="962"/>
                    <a:pt x="561" y="962"/>
                    <a:pt x="561" y="962"/>
                  </a:cubicBezTo>
                  <a:cubicBezTo>
                    <a:pt x="561" y="964"/>
                    <a:pt x="561" y="964"/>
                    <a:pt x="561" y="964"/>
                  </a:cubicBezTo>
                  <a:cubicBezTo>
                    <a:pt x="561" y="965"/>
                    <a:pt x="561" y="965"/>
                    <a:pt x="561" y="965"/>
                  </a:cubicBezTo>
                  <a:cubicBezTo>
                    <a:pt x="562" y="965"/>
                    <a:pt x="562" y="965"/>
                    <a:pt x="562" y="965"/>
                  </a:cubicBezTo>
                  <a:cubicBezTo>
                    <a:pt x="562" y="966"/>
                    <a:pt x="562" y="966"/>
                    <a:pt x="562" y="966"/>
                  </a:cubicBezTo>
                  <a:cubicBezTo>
                    <a:pt x="562" y="967"/>
                    <a:pt x="562" y="967"/>
                    <a:pt x="562" y="967"/>
                  </a:cubicBezTo>
                  <a:cubicBezTo>
                    <a:pt x="562" y="968"/>
                    <a:pt x="562" y="968"/>
                    <a:pt x="562" y="968"/>
                  </a:cubicBezTo>
                  <a:cubicBezTo>
                    <a:pt x="561" y="968"/>
                    <a:pt x="561" y="968"/>
                    <a:pt x="561" y="968"/>
                  </a:cubicBezTo>
                  <a:lnTo>
                    <a:pt x="560" y="968"/>
                  </a:lnTo>
                  <a:close/>
                  <a:moveTo>
                    <a:pt x="571" y="971"/>
                  </a:moveTo>
                  <a:cubicBezTo>
                    <a:pt x="571" y="971"/>
                    <a:pt x="571" y="971"/>
                    <a:pt x="571" y="971"/>
                  </a:cubicBezTo>
                  <a:cubicBezTo>
                    <a:pt x="571" y="971"/>
                    <a:pt x="571" y="971"/>
                    <a:pt x="571" y="971"/>
                  </a:cubicBezTo>
                  <a:cubicBezTo>
                    <a:pt x="571" y="970"/>
                    <a:pt x="571" y="970"/>
                    <a:pt x="571" y="970"/>
                  </a:cubicBezTo>
                  <a:lnTo>
                    <a:pt x="571" y="971"/>
                  </a:lnTo>
                  <a:close/>
                  <a:moveTo>
                    <a:pt x="582" y="954"/>
                  </a:moveTo>
                  <a:cubicBezTo>
                    <a:pt x="582" y="955"/>
                    <a:pt x="582" y="955"/>
                    <a:pt x="582" y="955"/>
                  </a:cubicBezTo>
                  <a:cubicBezTo>
                    <a:pt x="582" y="956"/>
                    <a:pt x="582" y="956"/>
                    <a:pt x="582" y="956"/>
                  </a:cubicBezTo>
                  <a:cubicBezTo>
                    <a:pt x="582" y="957"/>
                    <a:pt x="582" y="957"/>
                    <a:pt x="582" y="957"/>
                  </a:cubicBezTo>
                  <a:cubicBezTo>
                    <a:pt x="582" y="957"/>
                    <a:pt x="582" y="957"/>
                    <a:pt x="582" y="957"/>
                  </a:cubicBezTo>
                  <a:cubicBezTo>
                    <a:pt x="582" y="958"/>
                    <a:pt x="582" y="958"/>
                    <a:pt x="582" y="958"/>
                  </a:cubicBezTo>
                  <a:cubicBezTo>
                    <a:pt x="582" y="958"/>
                    <a:pt x="582" y="958"/>
                    <a:pt x="582" y="958"/>
                  </a:cubicBezTo>
                  <a:cubicBezTo>
                    <a:pt x="582" y="958"/>
                    <a:pt x="582" y="958"/>
                    <a:pt x="582" y="958"/>
                  </a:cubicBezTo>
                  <a:cubicBezTo>
                    <a:pt x="581" y="958"/>
                    <a:pt x="581" y="958"/>
                    <a:pt x="581" y="958"/>
                  </a:cubicBezTo>
                  <a:cubicBezTo>
                    <a:pt x="581" y="959"/>
                    <a:pt x="581" y="959"/>
                    <a:pt x="581" y="959"/>
                  </a:cubicBezTo>
                  <a:cubicBezTo>
                    <a:pt x="581" y="959"/>
                    <a:pt x="581" y="959"/>
                    <a:pt x="581" y="959"/>
                  </a:cubicBezTo>
                  <a:cubicBezTo>
                    <a:pt x="581" y="959"/>
                    <a:pt x="581" y="959"/>
                    <a:pt x="581" y="959"/>
                  </a:cubicBezTo>
                  <a:cubicBezTo>
                    <a:pt x="581" y="959"/>
                    <a:pt x="581" y="959"/>
                    <a:pt x="581" y="959"/>
                  </a:cubicBezTo>
                  <a:cubicBezTo>
                    <a:pt x="580" y="959"/>
                    <a:pt x="580" y="959"/>
                    <a:pt x="580" y="959"/>
                  </a:cubicBezTo>
                  <a:cubicBezTo>
                    <a:pt x="580" y="959"/>
                    <a:pt x="580" y="959"/>
                    <a:pt x="580" y="959"/>
                  </a:cubicBezTo>
                  <a:cubicBezTo>
                    <a:pt x="580" y="959"/>
                    <a:pt x="580" y="959"/>
                    <a:pt x="580" y="959"/>
                  </a:cubicBezTo>
                  <a:cubicBezTo>
                    <a:pt x="581" y="958"/>
                    <a:pt x="581" y="958"/>
                    <a:pt x="581" y="958"/>
                  </a:cubicBezTo>
                  <a:cubicBezTo>
                    <a:pt x="581" y="958"/>
                    <a:pt x="581" y="958"/>
                    <a:pt x="581" y="958"/>
                  </a:cubicBezTo>
                  <a:cubicBezTo>
                    <a:pt x="581" y="958"/>
                    <a:pt x="581" y="958"/>
                    <a:pt x="581" y="958"/>
                  </a:cubicBezTo>
                  <a:cubicBezTo>
                    <a:pt x="581" y="958"/>
                    <a:pt x="581" y="958"/>
                    <a:pt x="581" y="958"/>
                  </a:cubicBezTo>
                  <a:cubicBezTo>
                    <a:pt x="581" y="958"/>
                    <a:pt x="581" y="958"/>
                    <a:pt x="581" y="958"/>
                  </a:cubicBezTo>
                  <a:cubicBezTo>
                    <a:pt x="581" y="957"/>
                    <a:pt x="581" y="957"/>
                    <a:pt x="581" y="957"/>
                  </a:cubicBezTo>
                  <a:cubicBezTo>
                    <a:pt x="582" y="956"/>
                    <a:pt x="582" y="956"/>
                    <a:pt x="582" y="956"/>
                  </a:cubicBezTo>
                  <a:cubicBezTo>
                    <a:pt x="582" y="955"/>
                    <a:pt x="582" y="955"/>
                    <a:pt x="582" y="955"/>
                  </a:cubicBezTo>
                  <a:cubicBezTo>
                    <a:pt x="581" y="955"/>
                    <a:pt x="581" y="955"/>
                    <a:pt x="581" y="955"/>
                  </a:cubicBezTo>
                  <a:lnTo>
                    <a:pt x="582" y="954"/>
                  </a:lnTo>
                  <a:close/>
                  <a:moveTo>
                    <a:pt x="580" y="955"/>
                  </a:moveTo>
                  <a:cubicBezTo>
                    <a:pt x="580" y="955"/>
                    <a:pt x="580" y="955"/>
                    <a:pt x="580" y="955"/>
                  </a:cubicBezTo>
                  <a:cubicBezTo>
                    <a:pt x="580" y="955"/>
                    <a:pt x="580" y="955"/>
                    <a:pt x="580" y="955"/>
                  </a:cubicBezTo>
                  <a:cubicBezTo>
                    <a:pt x="579" y="955"/>
                    <a:pt x="579" y="955"/>
                    <a:pt x="579" y="955"/>
                  </a:cubicBezTo>
                  <a:cubicBezTo>
                    <a:pt x="579" y="955"/>
                    <a:pt x="579" y="955"/>
                    <a:pt x="579" y="955"/>
                  </a:cubicBezTo>
                  <a:cubicBezTo>
                    <a:pt x="579" y="955"/>
                    <a:pt x="579" y="955"/>
                    <a:pt x="579" y="955"/>
                  </a:cubicBezTo>
                  <a:cubicBezTo>
                    <a:pt x="579" y="955"/>
                    <a:pt x="579" y="955"/>
                    <a:pt x="579" y="955"/>
                  </a:cubicBezTo>
                  <a:lnTo>
                    <a:pt x="580" y="955"/>
                  </a:lnTo>
                  <a:close/>
                  <a:moveTo>
                    <a:pt x="577" y="950"/>
                  </a:moveTo>
                  <a:cubicBezTo>
                    <a:pt x="578" y="952"/>
                    <a:pt x="578" y="952"/>
                    <a:pt x="578" y="952"/>
                  </a:cubicBezTo>
                  <a:cubicBezTo>
                    <a:pt x="579" y="952"/>
                    <a:pt x="579" y="952"/>
                    <a:pt x="579" y="952"/>
                  </a:cubicBezTo>
                  <a:cubicBezTo>
                    <a:pt x="578" y="953"/>
                    <a:pt x="578" y="953"/>
                    <a:pt x="578" y="953"/>
                  </a:cubicBezTo>
                  <a:cubicBezTo>
                    <a:pt x="578" y="953"/>
                    <a:pt x="578" y="953"/>
                    <a:pt x="578" y="953"/>
                  </a:cubicBezTo>
                  <a:cubicBezTo>
                    <a:pt x="578" y="954"/>
                    <a:pt x="578" y="954"/>
                    <a:pt x="578" y="954"/>
                  </a:cubicBezTo>
                  <a:cubicBezTo>
                    <a:pt x="578" y="954"/>
                    <a:pt x="578" y="954"/>
                    <a:pt x="578" y="954"/>
                  </a:cubicBezTo>
                  <a:cubicBezTo>
                    <a:pt x="578" y="955"/>
                    <a:pt x="578" y="955"/>
                    <a:pt x="578" y="955"/>
                  </a:cubicBezTo>
                  <a:cubicBezTo>
                    <a:pt x="578" y="955"/>
                    <a:pt x="578" y="955"/>
                    <a:pt x="578" y="955"/>
                  </a:cubicBezTo>
                  <a:cubicBezTo>
                    <a:pt x="578" y="955"/>
                    <a:pt x="578" y="955"/>
                    <a:pt x="578" y="955"/>
                  </a:cubicBezTo>
                  <a:cubicBezTo>
                    <a:pt x="578" y="955"/>
                    <a:pt x="578" y="955"/>
                    <a:pt x="578" y="955"/>
                  </a:cubicBezTo>
                  <a:cubicBezTo>
                    <a:pt x="578" y="955"/>
                    <a:pt x="578" y="955"/>
                    <a:pt x="578" y="955"/>
                  </a:cubicBezTo>
                  <a:cubicBezTo>
                    <a:pt x="578" y="955"/>
                    <a:pt x="578" y="955"/>
                    <a:pt x="578" y="955"/>
                  </a:cubicBezTo>
                  <a:cubicBezTo>
                    <a:pt x="578" y="955"/>
                    <a:pt x="578" y="955"/>
                    <a:pt x="578" y="955"/>
                  </a:cubicBezTo>
                  <a:cubicBezTo>
                    <a:pt x="578" y="955"/>
                    <a:pt x="578" y="955"/>
                    <a:pt x="578" y="955"/>
                  </a:cubicBezTo>
                  <a:cubicBezTo>
                    <a:pt x="578" y="954"/>
                    <a:pt x="578" y="954"/>
                    <a:pt x="578" y="954"/>
                  </a:cubicBezTo>
                  <a:cubicBezTo>
                    <a:pt x="577" y="954"/>
                    <a:pt x="577" y="954"/>
                    <a:pt x="577" y="954"/>
                  </a:cubicBezTo>
                  <a:cubicBezTo>
                    <a:pt x="577" y="953"/>
                    <a:pt x="577" y="953"/>
                    <a:pt x="577" y="953"/>
                  </a:cubicBezTo>
                  <a:cubicBezTo>
                    <a:pt x="578" y="953"/>
                    <a:pt x="578" y="953"/>
                    <a:pt x="578" y="953"/>
                  </a:cubicBezTo>
                  <a:cubicBezTo>
                    <a:pt x="578" y="952"/>
                    <a:pt x="578" y="952"/>
                    <a:pt x="578" y="952"/>
                  </a:cubicBezTo>
                  <a:cubicBezTo>
                    <a:pt x="578" y="952"/>
                    <a:pt x="578" y="952"/>
                    <a:pt x="578" y="952"/>
                  </a:cubicBezTo>
                  <a:cubicBezTo>
                    <a:pt x="576" y="950"/>
                    <a:pt x="576" y="950"/>
                    <a:pt x="576" y="950"/>
                  </a:cubicBezTo>
                  <a:cubicBezTo>
                    <a:pt x="576" y="950"/>
                    <a:pt x="576" y="950"/>
                    <a:pt x="576" y="950"/>
                  </a:cubicBezTo>
                  <a:lnTo>
                    <a:pt x="577" y="950"/>
                  </a:lnTo>
                  <a:close/>
                  <a:moveTo>
                    <a:pt x="574" y="948"/>
                  </a:moveTo>
                  <a:cubicBezTo>
                    <a:pt x="575" y="948"/>
                    <a:pt x="575" y="948"/>
                    <a:pt x="575" y="948"/>
                  </a:cubicBezTo>
                  <a:cubicBezTo>
                    <a:pt x="575" y="948"/>
                    <a:pt x="575" y="948"/>
                    <a:pt x="575" y="948"/>
                  </a:cubicBezTo>
                  <a:cubicBezTo>
                    <a:pt x="575" y="949"/>
                    <a:pt x="575" y="949"/>
                    <a:pt x="575" y="949"/>
                  </a:cubicBezTo>
                  <a:cubicBezTo>
                    <a:pt x="576" y="950"/>
                    <a:pt x="576" y="950"/>
                    <a:pt x="576" y="950"/>
                  </a:cubicBezTo>
                  <a:cubicBezTo>
                    <a:pt x="576" y="950"/>
                    <a:pt x="576" y="950"/>
                    <a:pt x="576" y="950"/>
                  </a:cubicBezTo>
                  <a:cubicBezTo>
                    <a:pt x="576" y="950"/>
                    <a:pt x="576" y="950"/>
                    <a:pt x="576" y="950"/>
                  </a:cubicBezTo>
                  <a:cubicBezTo>
                    <a:pt x="575" y="950"/>
                    <a:pt x="575" y="950"/>
                    <a:pt x="575" y="950"/>
                  </a:cubicBezTo>
                  <a:cubicBezTo>
                    <a:pt x="575" y="950"/>
                    <a:pt x="575" y="950"/>
                    <a:pt x="575" y="950"/>
                  </a:cubicBezTo>
                  <a:cubicBezTo>
                    <a:pt x="575" y="950"/>
                    <a:pt x="575" y="950"/>
                    <a:pt x="575" y="950"/>
                  </a:cubicBezTo>
                  <a:cubicBezTo>
                    <a:pt x="575" y="950"/>
                    <a:pt x="575" y="950"/>
                    <a:pt x="575" y="950"/>
                  </a:cubicBezTo>
                  <a:cubicBezTo>
                    <a:pt x="575" y="950"/>
                    <a:pt x="575" y="950"/>
                    <a:pt x="575" y="950"/>
                  </a:cubicBezTo>
                  <a:cubicBezTo>
                    <a:pt x="575" y="949"/>
                    <a:pt x="575" y="949"/>
                    <a:pt x="575" y="949"/>
                  </a:cubicBezTo>
                  <a:cubicBezTo>
                    <a:pt x="574" y="949"/>
                    <a:pt x="574" y="949"/>
                    <a:pt x="574" y="949"/>
                  </a:cubicBezTo>
                  <a:cubicBezTo>
                    <a:pt x="574" y="948"/>
                    <a:pt x="574" y="948"/>
                    <a:pt x="574" y="948"/>
                  </a:cubicBezTo>
                  <a:cubicBezTo>
                    <a:pt x="574" y="948"/>
                    <a:pt x="574" y="948"/>
                    <a:pt x="574" y="948"/>
                  </a:cubicBezTo>
                  <a:cubicBezTo>
                    <a:pt x="574" y="948"/>
                    <a:pt x="574" y="948"/>
                    <a:pt x="574" y="948"/>
                  </a:cubicBezTo>
                  <a:close/>
                  <a:moveTo>
                    <a:pt x="572" y="948"/>
                  </a:moveTo>
                  <a:cubicBezTo>
                    <a:pt x="573" y="948"/>
                    <a:pt x="573" y="948"/>
                    <a:pt x="573" y="948"/>
                  </a:cubicBezTo>
                  <a:cubicBezTo>
                    <a:pt x="573" y="948"/>
                    <a:pt x="573" y="948"/>
                    <a:pt x="573" y="948"/>
                  </a:cubicBezTo>
                  <a:cubicBezTo>
                    <a:pt x="573" y="948"/>
                    <a:pt x="573" y="948"/>
                    <a:pt x="573" y="948"/>
                  </a:cubicBezTo>
                  <a:cubicBezTo>
                    <a:pt x="573" y="948"/>
                    <a:pt x="573" y="948"/>
                    <a:pt x="573" y="948"/>
                  </a:cubicBezTo>
                  <a:cubicBezTo>
                    <a:pt x="572" y="948"/>
                    <a:pt x="572" y="948"/>
                    <a:pt x="572" y="948"/>
                  </a:cubicBezTo>
                  <a:cubicBezTo>
                    <a:pt x="572" y="948"/>
                    <a:pt x="572" y="948"/>
                    <a:pt x="572" y="948"/>
                  </a:cubicBezTo>
                  <a:cubicBezTo>
                    <a:pt x="572" y="948"/>
                    <a:pt x="572" y="948"/>
                    <a:pt x="572" y="948"/>
                  </a:cubicBezTo>
                  <a:close/>
                  <a:moveTo>
                    <a:pt x="570" y="945"/>
                  </a:moveTo>
                  <a:cubicBezTo>
                    <a:pt x="570" y="946"/>
                    <a:pt x="570" y="946"/>
                    <a:pt x="570" y="946"/>
                  </a:cubicBezTo>
                  <a:cubicBezTo>
                    <a:pt x="570" y="946"/>
                    <a:pt x="570" y="946"/>
                    <a:pt x="570" y="946"/>
                  </a:cubicBezTo>
                  <a:cubicBezTo>
                    <a:pt x="570" y="947"/>
                    <a:pt x="570" y="947"/>
                    <a:pt x="570" y="947"/>
                  </a:cubicBezTo>
                  <a:cubicBezTo>
                    <a:pt x="570" y="947"/>
                    <a:pt x="570" y="947"/>
                    <a:pt x="570" y="947"/>
                  </a:cubicBezTo>
                  <a:cubicBezTo>
                    <a:pt x="571" y="948"/>
                    <a:pt x="571" y="948"/>
                    <a:pt x="571" y="948"/>
                  </a:cubicBezTo>
                  <a:cubicBezTo>
                    <a:pt x="571" y="948"/>
                    <a:pt x="571" y="948"/>
                    <a:pt x="571" y="948"/>
                  </a:cubicBezTo>
                  <a:cubicBezTo>
                    <a:pt x="570" y="948"/>
                    <a:pt x="570" y="948"/>
                    <a:pt x="570" y="948"/>
                  </a:cubicBezTo>
                  <a:cubicBezTo>
                    <a:pt x="570" y="947"/>
                    <a:pt x="570" y="947"/>
                    <a:pt x="570" y="947"/>
                  </a:cubicBezTo>
                  <a:cubicBezTo>
                    <a:pt x="570" y="947"/>
                    <a:pt x="570" y="947"/>
                    <a:pt x="570" y="947"/>
                  </a:cubicBezTo>
                  <a:cubicBezTo>
                    <a:pt x="570" y="946"/>
                    <a:pt x="570" y="946"/>
                    <a:pt x="570" y="946"/>
                  </a:cubicBezTo>
                  <a:cubicBezTo>
                    <a:pt x="570" y="946"/>
                    <a:pt x="570" y="946"/>
                    <a:pt x="570" y="946"/>
                  </a:cubicBezTo>
                  <a:cubicBezTo>
                    <a:pt x="569" y="946"/>
                    <a:pt x="569" y="946"/>
                    <a:pt x="569" y="946"/>
                  </a:cubicBezTo>
                  <a:cubicBezTo>
                    <a:pt x="569" y="945"/>
                    <a:pt x="569" y="945"/>
                    <a:pt x="569" y="945"/>
                  </a:cubicBezTo>
                  <a:cubicBezTo>
                    <a:pt x="569" y="945"/>
                    <a:pt x="569" y="945"/>
                    <a:pt x="569" y="945"/>
                  </a:cubicBezTo>
                  <a:lnTo>
                    <a:pt x="570" y="945"/>
                  </a:lnTo>
                  <a:close/>
                  <a:moveTo>
                    <a:pt x="563" y="948"/>
                  </a:moveTo>
                  <a:cubicBezTo>
                    <a:pt x="565" y="948"/>
                    <a:pt x="565" y="948"/>
                    <a:pt x="565" y="948"/>
                  </a:cubicBezTo>
                  <a:cubicBezTo>
                    <a:pt x="566" y="948"/>
                    <a:pt x="566" y="948"/>
                    <a:pt x="566" y="948"/>
                  </a:cubicBezTo>
                  <a:cubicBezTo>
                    <a:pt x="566" y="948"/>
                    <a:pt x="566" y="948"/>
                    <a:pt x="566" y="948"/>
                  </a:cubicBezTo>
                  <a:cubicBezTo>
                    <a:pt x="564" y="948"/>
                    <a:pt x="564" y="948"/>
                    <a:pt x="564" y="948"/>
                  </a:cubicBezTo>
                  <a:cubicBezTo>
                    <a:pt x="562" y="948"/>
                    <a:pt x="562" y="948"/>
                    <a:pt x="562" y="948"/>
                  </a:cubicBezTo>
                  <a:cubicBezTo>
                    <a:pt x="562" y="948"/>
                    <a:pt x="562" y="948"/>
                    <a:pt x="562" y="948"/>
                  </a:cubicBezTo>
                  <a:cubicBezTo>
                    <a:pt x="562" y="948"/>
                    <a:pt x="562" y="948"/>
                    <a:pt x="562" y="948"/>
                  </a:cubicBezTo>
                  <a:cubicBezTo>
                    <a:pt x="562" y="947"/>
                    <a:pt x="562" y="947"/>
                    <a:pt x="562" y="947"/>
                  </a:cubicBezTo>
                  <a:cubicBezTo>
                    <a:pt x="562" y="948"/>
                    <a:pt x="562" y="948"/>
                    <a:pt x="562" y="948"/>
                  </a:cubicBezTo>
                  <a:lnTo>
                    <a:pt x="563" y="948"/>
                  </a:lnTo>
                  <a:close/>
                  <a:moveTo>
                    <a:pt x="542" y="941"/>
                  </a:moveTo>
                  <a:cubicBezTo>
                    <a:pt x="541" y="941"/>
                    <a:pt x="541" y="941"/>
                    <a:pt x="541" y="941"/>
                  </a:cubicBezTo>
                  <a:cubicBezTo>
                    <a:pt x="541" y="940"/>
                    <a:pt x="541" y="940"/>
                    <a:pt x="541" y="940"/>
                  </a:cubicBezTo>
                  <a:cubicBezTo>
                    <a:pt x="541" y="940"/>
                    <a:pt x="541" y="940"/>
                    <a:pt x="541" y="940"/>
                  </a:cubicBezTo>
                  <a:cubicBezTo>
                    <a:pt x="542" y="941"/>
                    <a:pt x="542" y="941"/>
                    <a:pt x="542" y="941"/>
                  </a:cubicBezTo>
                  <a:close/>
                  <a:moveTo>
                    <a:pt x="538" y="938"/>
                  </a:moveTo>
                  <a:cubicBezTo>
                    <a:pt x="537" y="939"/>
                    <a:pt x="537" y="939"/>
                    <a:pt x="537" y="939"/>
                  </a:cubicBezTo>
                  <a:cubicBezTo>
                    <a:pt x="537" y="939"/>
                    <a:pt x="537" y="939"/>
                    <a:pt x="537" y="939"/>
                  </a:cubicBezTo>
                  <a:cubicBezTo>
                    <a:pt x="537" y="939"/>
                    <a:pt x="537" y="939"/>
                    <a:pt x="537" y="939"/>
                  </a:cubicBezTo>
                  <a:cubicBezTo>
                    <a:pt x="537" y="939"/>
                    <a:pt x="537" y="939"/>
                    <a:pt x="537" y="939"/>
                  </a:cubicBezTo>
                  <a:cubicBezTo>
                    <a:pt x="537" y="938"/>
                    <a:pt x="537" y="938"/>
                    <a:pt x="537" y="938"/>
                  </a:cubicBezTo>
                  <a:cubicBezTo>
                    <a:pt x="537" y="938"/>
                    <a:pt x="537" y="938"/>
                    <a:pt x="537" y="938"/>
                  </a:cubicBezTo>
                  <a:cubicBezTo>
                    <a:pt x="537" y="938"/>
                    <a:pt x="537" y="938"/>
                    <a:pt x="537" y="938"/>
                  </a:cubicBezTo>
                  <a:cubicBezTo>
                    <a:pt x="537" y="938"/>
                    <a:pt x="537" y="938"/>
                    <a:pt x="537" y="938"/>
                  </a:cubicBezTo>
                  <a:lnTo>
                    <a:pt x="538" y="938"/>
                  </a:lnTo>
                  <a:close/>
                  <a:moveTo>
                    <a:pt x="534" y="936"/>
                  </a:moveTo>
                  <a:cubicBezTo>
                    <a:pt x="534" y="937"/>
                    <a:pt x="534" y="937"/>
                    <a:pt x="534" y="937"/>
                  </a:cubicBezTo>
                  <a:cubicBezTo>
                    <a:pt x="534" y="936"/>
                    <a:pt x="534" y="936"/>
                    <a:pt x="534" y="936"/>
                  </a:cubicBezTo>
                  <a:cubicBezTo>
                    <a:pt x="534" y="936"/>
                    <a:pt x="534" y="936"/>
                    <a:pt x="534" y="936"/>
                  </a:cubicBezTo>
                  <a:cubicBezTo>
                    <a:pt x="534" y="936"/>
                    <a:pt x="534" y="936"/>
                    <a:pt x="534" y="936"/>
                  </a:cubicBezTo>
                  <a:close/>
                  <a:moveTo>
                    <a:pt x="522" y="884"/>
                  </a:moveTo>
                  <a:cubicBezTo>
                    <a:pt x="522" y="884"/>
                    <a:pt x="522" y="884"/>
                    <a:pt x="522" y="884"/>
                  </a:cubicBezTo>
                  <a:cubicBezTo>
                    <a:pt x="522" y="885"/>
                    <a:pt x="522" y="885"/>
                    <a:pt x="522" y="885"/>
                  </a:cubicBezTo>
                  <a:cubicBezTo>
                    <a:pt x="520" y="884"/>
                    <a:pt x="520" y="884"/>
                    <a:pt x="520" y="884"/>
                  </a:cubicBezTo>
                  <a:cubicBezTo>
                    <a:pt x="519" y="883"/>
                    <a:pt x="519" y="883"/>
                    <a:pt x="519" y="883"/>
                  </a:cubicBezTo>
                  <a:lnTo>
                    <a:pt x="522" y="884"/>
                  </a:lnTo>
                  <a:close/>
                  <a:moveTo>
                    <a:pt x="506" y="880"/>
                  </a:moveTo>
                  <a:cubicBezTo>
                    <a:pt x="507" y="881"/>
                    <a:pt x="507" y="881"/>
                    <a:pt x="507" y="881"/>
                  </a:cubicBezTo>
                  <a:cubicBezTo>
                    <a:pt x="508" y="881"/>
                    <a:pt x="508" y="881"/>
                    <a:pt x="508" y="881"/>
                  </a:cubicBezTo>
                  <a:cubicBezTo>
                    <a:pt x="508" y="881"/>
                    <a:pt x="508" y="881"/>
                    <a:pt x="508" y="881"/>
                  </a:cubicBezTo>
                  <a:cubicBezTo>
                    <a:pt x="508" y="881"/>
                    <a:pt x="508" y="881"/>
                    <a:pt x="508" y="881"/>
                  </a:cubicBezTo>
                  <a:cubicBezTo>
                    <a:pt x="509" y="880"/>
                    <a:pt x="509" y="880"/>
                    <a:pt x="509" y="880"/>
                  </a:cubicBezTo>
                  <a:cubicBezTo>
                    <a:pt x="509" y="880"/>
                    <a:pt x="509" y="880"/>
                    <a:pt x="509" y="880"/>
                  </a:cubicBezTo>
                  <a:cubicBezTo>
                    <a:pt x="512" y="881"/>
                    <a:pt x="512" y="881"/>
                    <a:pt x="512" y="881"/>
                  </a:cubicBezTo>
                  <a:cubicBezTo>
                    <a:pt x="513" y="881"/>
                    <a:pt x="513" y="881"/>
                    <a:pt x="513" y="881"/>
                  </a:cubicBezTo>
                  <a:cubicBezTo>
                    <a:pt x="514" y="881"/>
                    <a:pt x="514" y="881"/>
                    <a:pt x="514" y="881"/>
                  </a:cubicBezTo>
                  <a:cubicBezTo>
                    <a:pt x="516" y="882"/>
                    <a:pt x="516" y="882"/>
                    <a:pt x="516" y="882"/>
                  </a:cubicBezTo>
                  <a:cubicBezTo>
                    <a:pt x="515" y="882"/>
                    <a:pt x="515" y="882"/>
                    <a:pt x="515" y="882"/>
                  </a:cubicBezTo>
                  <a:cubicBezTo>
                    <a:pt x="513" y="882"/>
                    <a:pt x="513" y="882"/>
                    <a:pt x="513" y="882"/>
                  </a:cubicBezTo>
                  <a:cubicBezTo>
                    <a:pt x="511" y="881"/>
                    <a:pt x="511" y="881"/>
                    <a:pt x="511" y="881"/>
                  </a:cubicBezTo>
                  <a:cubicBezTo>
                    <a:pt x="511" y="881"/>
                    <a:pt x="511" y="881"/>
                    <a:pt x="511" y="881"/>
                  </a:cubicBezTo>
                  <a:cubicBezTo>
                    <a:pt x="510" y="881"/>
                    <a:pt x="510" y="881"/>
                    <a:pt x="510" y="881"/>
                  </a:cubicBezTo>
                  <a:cubicBezTo>
                    <a:pt x="509" y="882"/>
                    <a:pt x="509" y="882"/>
                    <a:pt x="509" y="882"/>
                  </a:cubicBezTo>
                  <a:cubicBezTo>
                    <a:pt x="509" y="882"/>
                    <a:pt x="509" y="882"/>
                    <a:pt x="509" y="882"/>
                  </a:cubicBezTo>
                  <a:cubicBezTo>
                    <a:pt x="509" y="881"/>
                    <a:pt x="509" y="881"/>
                    <a:pt x="509" y="881"/>
                  </a:cubicBezTo>
                  <a:cubicBezTo>
                    <a:pt x="508" y="881"/>
                    <a:pt x="508" y="881"/>
                    <a:pt x="508" y="881"/>
                  </a:cubicBezTo>
                  <a:cubicBezTo>
                    <a:pt x="508" y="881"/>
                    <a:pt x="508" y="881"/>
                    <a:pt x="508" y="881"/>
                  </a:cubicBezTo>
                  <a:cubicBezTo>
                    <a:pt x="508" y="881"/>
                    <a:pt x="508" y="881"/>
                    <a:pt x="508" y="881"/>
                  </a:cubicBezTo>
                  <a:cubicBezTo>
                    <a:pt x="507" y="882"/>
                    <a:pt x="507" y="882"/>
                    <a:pt x="507" y="882"/>
                  </a:cubicBezTo>
                  <a:cubicBezTo>
                    <a:pt x="507" y="882"/>
                    <a:pt x="507" y="882"/>
                    <a:pt x="507" y="882"/>
                  </a:cubicBezTo>
                  <a:cubicBezTo>
                    <a:pt x="507" y="881"/>
                    <a:pt x="507" y="881"/>
                    <a:pt x="507" y="881"/>
                  </a:cubicBezTo>
                  <a:cubicBezTo>
                    <a:pt x="506" y="881"/>
                    <a:pt x="506" y="881"/>
                    <a:pt x="506" y="881"/>
                  </a:cubicBezTo>
                  <a:cubicBezTo>
                    <a:pt x="506" y="881"/>
                    <a:pt x="506" y="881"/>
                    <a:pt x="506" y="881"/>
                  </a:cubicBezTo>
                  <a:cubicBezTo>
                    <a:pt x="506" y="881"/>
                    <a:pt x="506" y="881"/>
                    <a:pt x="506" y="881"/>
                  </a:cubicBezTo>
                  <a:cubicBezTo>
                    <a:pt x="506" y="881"/>
                    <a:pt x="506" y="881"/>
                    <a:pt x="506" y="881"/>
                  </a:cubicBezTo>
                  <a:lnTo>
                    <a:pt x="506" y="880"/>
                  </a:lnTo>
                  <a:close/>
                  <a:moveTo>
                    <a:pt x="504" y="880"/>
                  </a:moveTo>
                  <a:cubicBezTo>
                    <a:pt x="504" y="880"/>
                    <a:pt x="504" y="880"/>
                    <a:pt x="504" y="880"/>
                  </a:cubicBezTo>
                  <a:cubicBezTo>
                    <a:pt x="504" y="880"/>
                    <a:pt x="504" y="880"/>
                    <a:pt x="504" y="880"/>
                  </a:cubicBezTo>
                  <a:cubicBezTo>
                    <a:pt x="504" y="880"/>
                    <a:pt x="504" y="880"/>
                    <a:pt x="504" y="880"/>
                  </a:cubicBezTo>
                  <a:cubicBezTo>
                    <a:pt x="503" y="879"/>
                    <a:pt x="503" y="879"/>
                    <a:pt x="503" y="879"/>
                  </a:cubicBezTo>
                  <a:cubicBezTo>
                    <a:pt x="503" y="879"/>
                    <a:pt x="503" y="879"/>
                    <a:pt x="503" y="879"/>
                  </a:cubicBezTo>
                  <a:cubicBezTo>
                    <a:pt x="503" y="879"/>
                    <a:pt x="503" y="879"/>
                    <a:pt x="503" y="879"/>
                  </a:cubicBezTo>
                  <a:cubicBezTo>
                    <a:pt x="504" y="879"/>
                    <a:pt x="504" y="879"/>
                    <a:pt x="504" y="879"/>
                  </a:cubicBezTo>
                  <a:lnTo>
                    <a:pt x="504" y="880"/>
                  </a:lnTo>
                  <a:close/>
                  <a:moveTo>
                    <a:pt x="494" y="878"/>
                  </a:moveTo>
                  <a:cubicBezTo>
                    <a:pt x="494" y="877"/>
                    <a:pt x="494" y="877"/>
                    <a:pt x="494" y="877"/>
                  </a:cubicBezTo>
                  <a:cubicBezTo>
                    <a:pt x="495" y="877"/>
                    <a:pt x="495" y="877"/>
                    <a:pt x="495" y="877"/>
                  </a:cubicBezTo>
                  <a:cubicBezTo>
                    <a:pt x="495" y="877"/>
                    <a:pt x="495" y="877"/>
                    <a:pt x="495" y="877"/>
                  </a:cubicBezTo>
                  <a:cubicBezTo>
                    <a:pt x="495" y="876"/>
                    <a:pt x="495" y="876"/>
                    <a:pt x="495" y="876"/>
                  </a:cubicBezTo>
                  <a:cubicBezTo>
                    <a:pt x="496" y="876"/>
                    <a:pt x="496" y="876"/>
                    <a:pt x="496" y="876"/>
                  </a:cubicBezTo>
                  <a:cubicBezTo>
                    <a:pt x="496" y="876"/>
                    <a:pt x="496" y="876"/>
                    <a:pt x="496" y="876"/>
                  </a:cubicBezTo>
                  <a:cubicBezTo>
                    <a:pt x="496" y="876"/>
                    <a:pt x="496" y="876"/>
                    <a:pt x="496" y="876"/>
                  </a:cubicBezTo>
                  <a:cubicBezTo>
                    <a:pt x="496" y="875"/>
                    <a:pt x="496" y="875"/>
                    <a:pt x="496" y="875"/>
                  </a:cubicBezTo>
                  <a:cubicBezTo>
                    <a:pt x="496" y="875"/>
                    <a:pt x="496" y="875"/>
                    <a:pt x="496" y="875"/>
                  </a:cubicBezTo>
                  <a:cubicBezTo>
                    <a:pt x="497" y="875"/>
                    <a:pt x="497" y="875"/>
                    <a:pt x="497" y="875"/>
                  </a:cubicBezTo>
                  <a:cubicBezTo>
                    <a:pt x="497" y="875"/>
                    <a:pt x="497" y="875"/>
                    <a:pt x="497" y="875"/>
                  </a:cubicBezTo>
                  <a:cubicBezTo>
                    <a:pt x="498" y="875"/>
                    <a:pt x="498" y="875"/>
                    <a:pt x="498" y="875"/>
                  </a:cubicBezTo>
                  <a:cubicBezTo>
                    <a:pt x="498" y="875"/>
                    <a:pt x="498" y="875"/>
                    <a:pt x="498" y="875"/>
                  </a:cubicBezTo>
                  <a:cubicBezTo>
                    <a:pt x="498" y="875"/>
                    <a:pt x="498" y="875"/>
                    <a:pt x="498" y="875"/>
                  </a:cubicBezTo>
                  <a:cubicBezTo>
                    <a:pt x="500" y="875"/>
                    <a:pt x="500" y="875"/>
                    <a:pt x="500" y="875"/>
                  </a:cubicBezTo>
                  <a:cubicBezTo>
                    <a:pt x="500" y="875"/>
                    <a:pt x="500" y="875"/>
                    <a:pt x="500" y="875"/>
                  </a:cubicBezTo>
                  <a:cubicBezTo>
                    <a:pt x="501" y="876"/>
                    <a:pt x="501" y="876"/>
                    <a:pt x="501" y="876"/>
                  </a:cubicBezTo>
                  <a:cubicBezTo>
                    <a:pt x="501" y="876"/>
                    <a:pt x="501" y="876"/>
                    <a:pt x="501" y="876"/>
                  </a:cubicBezTo>
                  <a:cubicBezTo>
                    <a:pt x="500" y="876"/>
                    <a:pt x="500" y="876"/>
                    <a:pt x="500" y="876"/>
                  </a:cubicBezTo>
                  <a:cubicBezTo>
                    <a:pt x="500" y="876"/>
                    <a:pt x="500" y="876"/>
                    <a:pt x="500" y="876"/>
                  </a:cubicBezTo>
                  <a:cubicBezTo>
                    <a:pt x="499" y="875"/>
                    <a:pt x="499" y="875"/>
                    <a:pt x="499" y="875"/>
                  </a:cubicBezTo>
                  <a:cubicBezTo>
                    <a:pt x="499" y="876"/>
                    <a:pt x="499" y="876"/>
                    <a:pt x="499" y="876"/>
                  </a:cubicBezTo>
                  <a:cubicBezTo>
                    <a:pt x="499" y="876"/>
                    <a:pt x="499" y="876"/>
                    <a:pt x="499" y="876"/>
                  </a:cubicBezTo>
                  <a:cubicBezTo>
                    <a:pt x="498" y="876"/>
                    <a:pt x="498" y="876"/>
                    <a:pt x="498" y="876"/>
                  </a:cubicBezTo>
                  <a:cubicBezTo>
                    <a:pt x="498" y="876"/>
                    <a:pt x="498" y="876"/>
                    <a:pt x="498" y="876"/>
                  </a:cubicBezTo>
                  <a:cubicBezTo>
                    <a:pt x="498" y="877"/>
                    <a:pt x="498" y="877"/>
                    <a:pt x="498" y="877"/>
                  </a:cubicBezTo>
                  <a:cubicBezTo>
                    <a:pt x="498" y="877"/>
                    <a:pt x="498" y="877"/>
                    <a:pt x="498" y="877"/>
                  </a:cubicBezTo>
                  <a:cubicBezTo>
                    <a:pt x="498" y="877"/>
                    <a:pt x="498" y="877"/>
                    <a:pt x="498" y="877"/>
                  </a:cubicBezTo>
                  <a:cubicBezTo>
                    <a:pt x="497" y="877"/>
                    <a:pt x="497" y="877"/>
                    <a:pt x="497" y="877"/>
                  </a:cubicBezTo>
                  <a:cubicBezTo>
                    <a:pt x="497" y="878"/>
                    <a:pt x="497" y="878"/>
                    <a:pt x="497" y="878"/>
                  </a:cubicBezTo>
                  <a:cubicBezTo>
                    <a:pt x="496" y="878"/>
                    <a:pt x="496" y="878"/>
                    <a:pt x="496" y="878"/>
                  </a:cubicBezTo>
                  <a:cubicBezTo>
                    <a:pt x="496" y="878"/>
                    <a:pt x="496" y="878"/>
                    <a:pt x="496" y="878"/>
                  </a:cubicBezTo>
                  <a:cubicBezTo>
                    <a:pt x="496" y="878"/>
                    <a:pt x="496" y="878"/>
                    <a:pt x="496" y="878"/>
                  </a:cubicBezTo>
                  <a:cubicBezTo>
                    <a:pt x="496" y="878"/>
                    <a:pt x="496" y="878"/>
                    <a:pt x="496" y="878"/>
                  </a:cubicBezTo>
                  <a:cubicBezTo>
                    <a:pt x="495" y="878"/>
                    <a:pt x="495" y="878"/>
                    <a:pt x="495" y="878"/>
                  </a:cubicBezTo>
                  <a:cubicBezTo>
                    <a:pt x="492" y="878"/>
                    <a:pt x="492" y="878"/>
                    <a:pt x="492" y="878"/>
                  </a:cubicBezTo>
                  <a:cubicBezTo>
                    <a:pt x="492" y="878"/>
                    <a:pt x="492" y="878"/>
                    <a:pt x="492" y="878"/>
                  </a:cubicBezTo>
                  <a:cubicBezTo>
                    <a:pt x="491" y="878"/>
                    <a:pt x="491" y="878"/>
                    <a:pt x="491" y="878"/>
                  </a:cubicBezTo>
                  <a:cubicBezTo>
                    <a:pt x="491" y="877"/>
                    <a:pt x="491" y="877"/>
                    <a:pt x="491" y="877"/>
                  </a:cubicBezTo>
                  <a:cubicBezTo>
                    <a:pt x="493" y="877"/>
                    <a:pt x="493" y="877"/>
                    <a:pt x="493" y="877"/>
                  </a:cubicBezTo>
                  <a:cubicBezTo>
                    <a:pt x="494" y="878"/>
                    <a:pt x="494" y="878"/>
                    <a:pt x="494" y="878"/>
                  </a:cubicBezTo>
                  <a:close/>
                  <a:moveTo>
                    <a:pt x="487" y="712"/>
                  </a:moveTo>
                  <a:cubicBezTo>
                    <a:pt x="487" y="712"/>
                    <a:pt x="487" y="712"/>
                    <a:pt x="487" y="712"/>
                  </a:cubicBezTo>
                  <a:cubicBezTo>
                    <a:pt x="486" y="712"/>
                    <a:pt x="486" y="712"/>
                    <a:pt x="486" y="712"/>
                  </a:cubicBezTo>
                  <a:lnTo>
                    <a:pt x="487" y="712"/>
                  </a:lnTo>
                  <a:close/>
                  <a:moveTo>
                    <a:pt x="484" y="711"/>
                  </a:moveTo>
                  <a:cubicBezTo>
                    <a:pt x="485" y="711"/>
                    <a:pt x="485" y="711"/>
                    <a:pt x="485" y="711"/>
                  </a:cubicBezTo>
                  <a:cubicBezTo>
                    <a:pt x="484" y="711"/>
                    <a:pt x="484" y="711"/>
                    <a:pt x="484" y="711"/>
                  </a:cubicBezTo>
                  <a:cubicBezTo>
                    <a:pt x="482" y="711"/>
                    <a:pt x="482" y="711"/>
                    <a:pt x="482" y="711"/>
                  </a:cubicBezTo>
                  <a:lnTo>
                    <a:pt x="484" y="711"/>
                  </a:lnTo>
                  <a:close/>
                  <a:moveTo>
                    <a:pt x="471" y="749"/>
                  </a:moveTo>
                  <a:cubicBezTo>
                    <a:pt x="470" y="749"/>
                    <a:pt x="470" y="749"/>
                    <a:pt x="470" y="749"/>
                  </a:cubicBezTo>
                  <a:cubicBezTo>
                    <a:pt x="470" y="749"/>
                    <a:pt x="470" y="749"/>
                    <a:pt x="470" y="749"/>
                  </a:cubicBezTo>
                  <a:cubicBezTo>
                    <a:pt x="469" y="749"/>
                    <a:pt x="469" y="749"/>
                    <a:pt x="469" y="749"/>
                  </a:cubicBezTo>
                  <a:cubicBezTo>
                    <a:pt x="469" y="748"/>
                    <a:pt x="469" y="748"/>
                    <a:pt x="469" y="748"/>
                  </a:cubicBezTo>
                  <a:lnTo>
                    <a:pt x="471" y="749"/>
                  </a:lnTo>
                  <a:close/>
                  <a:moveTo>
                    <a:pt x="461" y="747"/>
                  </a:moveTo>
                  <a:cubicBezTo>
                    <a:pt x="462" y="747"/>
                    <a:pt x="462" y="747"/>
                    <a:pt x="462" y="747"/>
                  </a:cubicBezTo>
                  <a:cubicBezTo>
                    <a:pt x="464" y="748"/>
                    <a:pt x="464" y="748"/>
                    <a:pt x="464" y="748"/>
                  </a:cubicBezTo>
                  <a:cubicBezTo>
                    <a:pt x="465" y="748"/>
                    <a:pt x="465" y="748"/>
                    <a:pt x="465" y="748"/>
                  </a:cubicBezTo>
                  <a:cubicBezTo>
                    <a:pt x="466" y="748"/>
                    <a:pt x="466" y="748"/>
                    <a:pt x="466" y="748"/>
                  </a:cubicBezTo>
                  <a:cubicBezTo>
                    <a:pt x="466" y="748"/>
                    <a:pt x="466" y="748"/>
                    <a:pt x="466" y="748"/>
                  </a:cubicBezTo>
                  <a:cubicBezTo>
                    <a:pt x="466" y="748"/>
                    <a:pt x="466" y="748"/>
                    <a:pt x="466" y="748"/>
                  </a:cubicBezTo>
                  <a:cubicBezTo>
                    <a:pt x="466" y="749"/>
                    <a:pt x="466" y="749"/>
                    <a:pt x="466" y="749"/>
                  </a:cubicBezTo>
                  <a:cubicBezTo>
                    <a:pt x="466" y="749"/>
                    <a:pt x="466" y="749"/>
                    <a:pt x="466" y="749"/>
                  </a:cubicBezTo>
                  <a:cubicBezTo>
                    <a:pt x="467" y="749"/>
                    <a:pt x="467" y="749"/>
                    <a:pt x="467" y="749"/>
                  </a:cubicBezTo>
                  <a:cubicBezTo>
                    <a:pt x="467" y="750"/>
                    <a:pt x="467" y="750"/>
                    <a:pt x="467" y="750"/>
                  </a:cubicBezTo>
                  <a:cubicBezTo>
                    <a:pt x="467" y="751"/>
                    <a:pt x="467" y="751"/>
                    <a:pt x="467" y="751"/>
                  </a:cubicBezTo>
                  <a:cubicBezTo>
                    <a:pt x="466" y="751"/>
                    <a:pt x="466" y="751"/>
                    <a:pt x="466" y="751"/>
                  </a:cubicBezTo>
                  <a:cubicBezTo>
                    <a:pt x="466" y="750"/>
                    <a:pt x="466" y="750"/>
                    <a:pt x="466" y="750"/>
                  </a:cubicBezTo>
                  <a:cubicBezTo>
                    <a:pt x="466" y="750"/>
                    <a:pt x="466" y="750"/>
                    <a:pt x="466" y="750"/>
                  </a:cubicBezTo>
                  <a:cubicBezTo>
                    <a:pt x="465" y="750"/>
                    <a:pt x="465" y="750"/>
                    <a:pt x="465" y="750"/>
                  </a:cubicBezTo>
                  <a:cubicBezTo>
                    <a:pt x="464" y="749"/>
                    <a:pt x="464" y="749"/>
                    <a:pt x="464" y="749"/>
                  </a:cubicBezTo>
                  <a:cubicBezTo>
                    <a:pt x="464" y="749"/>
                    <a:pt x="464" y="749"/>
                    <a:pt x="464" y="749"/>
                  </a:cubicBezTo>
                  <a:cubicBezTo>
                    <a:pt x="464" y="749"/>
                    <a:pt x="464" y="749"/>
                    <a:pt x="464" y="749"/>
                  </a:cubicBezTo>
                  <a:cubicBezTo>
                    <a:pt x="464" y="749"/>
                    <a:pt x="464" y="749"/>
                    <a:pt x="464" y="749"/>
                  </a:cubicBezTo>
                  <a:cubicBezTo>
                    <a:pt x="463" y="749"/>
                    <a:pt x="463" y="749"/>
                    <a:pt x="463" y="749"/>
                  </a:cubicBezTo>
                  <a:cubicBezTo>
                    <a:pt x="462" y="748"/>
                    <a:pt x="462" y="748"/>
                    <a:pt x="462" y="748"/>
                  </a:cubicBezTo>
                  <a:cubicBezTo>
                    <a:pt x="461" y="748"/>
                    <a:pt x="461" y="748"/>
                    <a:pt x="461" y="748"/>
                  </a:cubicBezTo>
                  <a:cubicBezTo>
                    <a:pt x="461" y="748"/>
                    <a:pt x="461" y="748"/>
                    <a:pt x="461" y="748"/>
                  </a:cubicBezTo>
                  <a:cubicBezTo>
                    <a:pt x="461" y="747"/>
                    <a:pt x="461" y="747"/>
                    <a:pt x="461" y="747"/>
                  </a:cubicBezTo>
                  <a:close/>
                  <a:moveTo>
                    <a:pt x="453" y="787"/>
                  </a:moveTo>
                  <a:cubicBezTo>
                    <a:pt x="454" y="787"/>
                    <a:pt x="454" y="787"/>
                    <a:pt x="454" y="787"/>
                  </a:cubicBezTo>
                  <a:cubicBezTo>
                    <a:pt x="454" y="787"/>
                    <a:pt x="454" y="787"/>
                    <a:pt x="454" y="787"/>
                  </a:cubicBezTo>
                  <a:cubicBezTo>
                    <a:pt x="455" y="787"/>
                    <a:pt x="455" y="787"/>
                    <a:pt x="455" y="787"/>
                  </a:cubicBezTo>
                  <a:cubicBezTo>
                    <a:pt x="455" y="787"/>
                    <a:pt x="455" y="787"/>
                    <a:pt x="455" y="787"/>
                  </a:cubicBezTo>
                  <a:cubicBezTo>
                    <a:pt x="454" y="788"/>
                    <a:pt x="454" y="788"/>
                    <a:pt x="454" y="788"/>
                  </a:cubicBezTo>
                  <a:cubicBezTo>
                    <a:pt x="454" y="788"/>
                    <a:pt x="454" y="788"/>
                    <a:pt x="454" y="788"/>
                  </a:cubicBezTo>
                  <a:cubicBezTo>
                    <a:pt x="453" y="788"/>
                    <a:pt x="453" y="788"/>
                    <a:pt x="453" y="788"/>
                  </a:cubicBezTo>
                  <a:cubicBezTo>
                    <a:pt x="453" y="788"/>
                    <a:pt x="453" y="788"/>
                    <a:pt x="453" y="788"/>
                  </a:cubicBezTo>
                  <a:lnTo>
                    <a:pt x="453" y="787"/>
                  </a:lnTo>
                  <a:close/>
                  <a:moveTo>
                    <a:pt x="453" y="784"/>
                  </a:moveTo>
                  <a:cubicBezTo>
                    <a:pt x="452" y="784"/>
                    <a:pt x="452" y="784"/>
                    <a:pt x="452" y="784"/>
                  </a:cubicBezTo>
                  <a:cubicBezTo>
                    <a:pt x="452" y="784"/>
                    <a:pt x="452" y="784"/>
                    <a:pt x="452" y="784"/>
                  </a:cubicBezTo>
                  <a:cubicBezTo>
                    <a:pt x="453" y="784"/>
                    <a:pt x="453" y="784"/>
                    <a:pt x="453" y="784"/>
                  </a:cubicBezTo>
                  <a:close/>
                  <a:moveTo>
                    <a:pt x="453" y="783"/>
                  </a:moveTo>
                  <a:cubicBezTo>
                    <a:pt x="453" y="783"/>
                    <a:pt x="453" y="783"/>
                    <a:pt x="453" y="783"/>
                  </a:cubicBezTo>
                  <a:cubicBezTo>
                    <a:pt x="453" y="782"/>
                    <a:pt x="453" y="782"/>
                    <a:pt x="453" y="782"/>
                  </a:cubicBezTo>
                  <a:cubicBezTo>
                    <a:pt x="453" y="782"/>
                    <a:pt x="453" y="782"/>
                    <a:pt x="453" y="782"/>
                  </a:cubicBezTo>
                  <a:lnTo>
                    <a:pt x="453" y="783"/>
                  </a:lnTo>
                  <a:close/>
                  <a:moveTo>
                    <a:pt x="448" y="781"/>
                  </a:moveTo>
                  <a:cubicBezTo>
                    <a:pt x="449" y="780"/>
                    <a:pt x="449" y="780"/>
                    <a:pt x="449" y="780"/>
                  </a:cubicBezTo>
                  <a:cubicBezTo>
                    <a:pt x="449" y="780"/>
                    <a:pt x="449" y="780"/>
                    <a:pt x="449" y="780"/>
                  </a:cubicBezTo>
                  <a:cubicBezTo>
                    <a:pt x="450" y="781"/>
                    <a:pt x="450" y="781"/>
                    <a:pt x="450" y="781"/>
                  </a:cubicBezTo>
                  <a:cubicBezTo>
                    <a:pt x="451" y="782"/>
                    <a:pt x="451" y="782"/>
                    <a:pt x="451" y="782"/>
                  </a:cubicBezTo>
                  <a:cubicBezTo>
                    <a:pt x="451" y="782"/>
                    <a:pt x="451" y="782"/>
                    <a:pt x="451" y="782"/>
                  </a:cubicBezTo>
                  <a:cubicBezTo>
                    <a:pt x="452" y="782"/>
                    <a:pt x="452" y="782"/>
                    <a:pt x="452" y="782"/>
                  </a:cubicBezTo>
                  <a:cubicBezTo>
                    <a:pt x="453" y="782"/>
                    <a:pt x="453" y="782"/>
                    <a:pt x="453" y="782"/>
                  </a:cubicBezTo>
                  <a:cubicBezTo>
                    <a:pt x="453" y="782"/>
                    <a:pt x="453" y="782"/>
                    <a:pt x="453" y="782"/>
                  </a:cubicBezTo>
                  <a:cubicBezTo>
                    <a:pt x="452" y="782"/>
                    <a:pt x="452" y="782"/>
                    <a:pt x="452" y="782"/>
                  </a:cubicBezTo>
                  <a:cubicBezTo>
                    <a:pt x="451" y="782"/>
                    <a:pt x="451" y="782"/>
                    <a:pt x="451" y="782"/>
                  </a:cubicBezTo>
                  <a:cubicBezTo>
                    <a:pt x="451" y="782"/>
                    <a:pt x="451" y="782"/>
                    <a:pt x="451" y="782"/>
                  </a:cubicBezTo>
                  <a:cubicBezTo>
                    <a:pt x="450" y="781"/>
                    <a:pt x="450" y="781"/>
                    <a:pt x="450" y="781"/>
                  </a:cubicBezTo>
                  <a:cubicBezTo>
                    <a:pt x="450" y="781"/>
                    <a:pt x="450" y="781"/>
                    <a:pt x="450" y="781"/>
                  </a:cubicBezTo>
                  <a:cubicBezTo>
                    <a:pt x="449" y="780"/>
                    <a:pt x="449" y="780"/>
                    <a:pt x="449" y="780"/>
                  </a:cubicBezTo>
                  <a:cubicBezTo>
                    <a:pt x="448" y="781"/>
                    <a:pt x="448" y="781"/>
                    <a:pt x="448" y="781"/>
                  </a:cubicBezTo>
                  <a:cubicBezTo>
                    <a:pt x="447" y="781"/>
                    <a:pt x="447" y="781"/>
                    <a:pt x="447" y="781"/>
                  </a:cubicBezTo>
                  <a:cubicBezTo>
                    <a:pt x="447" y="781"/>
                    <a:pt x="447" y="781"/>
                    <a:pt x="447" y="781"/>
                  </a:cubicBezTo>
                  <a:cubicBezTo>
                    <a:pt x="447" y="780"/>
                    <a:pt x="447" y="780"/>
                    <a:pt x="447" y="780"/>
                  </a:cubicBezTo>
                  <a:cubicBezTo>
                    <a:pt x="447" y="781"/>
                    <a:pt x="447" y="781"/>
                    <a:pt x="447" y="781"/>
                  </a:cubicBezTo>
                  <a:lnTo>
                    <a:pt x="448" y="781"/>
                  </a:lnTo>
                  <a:close/>
                  <a:moveTo>
                    <a:pt x="445" y="779"/>
                  </a:moveTo>
                  <a:cubicBezTo>
                    <a:pt x="446" y="780"/>
                    <a:pt x="446" y="780"/>
                    <a:pt x="446" y="780"/>
                  </a:cubicBezTo>
                  <a:cubicBezTo>
                    <a:pt x="447" y="780"/>
                    <a:pt x="447" y="780"/>
                    <a:pt x="447" y="780"/>
                  </a:cubicBezTo>
                  <a:cubicBezTo>
                    <a:pt x="447" y="780"/>
                    <a:pt x="447" y="780"/>
                    <a:pt x="447" y="780"/>
                  </a:cubicBezTo>
                  <a:cubicBezTo>
                    <a:pt x="447" y="780"/>
                    <a:pt x="447" y="780"/>
                    <a:pt x="447" y="780"/>
                  </a:cubicBezTo>
                  <a:cubicBezTo>
                    <a:pt x="445" y="779"/>
                    <a:pt x="445" y="779"/>
                    <a:pt x="445" y="779"/>
                  </a:cubicBezTo>
                  <a:cubicBezTo>
                    <a:pt x="444" y="779"/>
                    <a:pt x="444" y="779"/>
                    <a:pt x="444" y="779"/>
                  </a:cubicBezTo>
                  <a:cubicBezTo>
                    <a:pt x="444" y="779"/>
                    <a:pt x="444" y="779"/>
                    <a:pt x="444" y="779"/>
                  </a:cubicBezTo>
                  <a:cubicBezTo>
                    <a:pt x="444" y="779"/>
                    <a:pt x="444" y="779"/>
                    <a:pt x="444" y="779"/>
                  </a:cubicBezTo>
                  <a:cubicBezTo>
                    <a:pt x="444" y="779"/>
                    <a:pt x="444" y="779"/>
                    <a:pt x="444" y="779"/>
                  </a:cubicBezTo>
                  <a:lnTo>
                    <a:pt x="445" y="779"/>
                  </a:lnTo>
                  <a:close/>
                  <a:moveTo>
                    <a:pt x="435" y="777"/>
                  </a:moveTo>
                  <a:cubicBezTo>
                    <a:pt x="436" y="777"/>
                    <a:pt x="436" y="777"/>
                    <a:pt x="436" y="777"/>
                  </a:cubicBezTo>
                  <a:cubicBezTo>
                    <a:pt x="439" y="777"/>
                    <a:pt x="439" y="777"/>
                    <a:pt x="439" y="777"/>
                  </a:cubicBezTo>
                  <a:cubicBezTo>
                    <a:pt x="440" y="777"/>
                    <a:pt x="440" y="777"/>
                    <a:pt x="440" y="777"/>
                  </a:cubicBezTo>
                  <a:cubicBezTo>
                    <a:pt x="441" y="776"/>
                    <a:pt x="441" y="776"/>
                    <a:pt x="441" y="776"/>
                  </a:cubicBezTo>
                  <a:cubicBezTo>
                    <a:pt x="442" y="775"/>
                    <a:pt x="442" y="775"/>
                    <a:pt x="442" y="775"/>
                  </a:cubicBezTo>
                  <a:cubicBezTo>
                    <a:pt x="442" y="775"/>
                    <a:pt x="442" y="775"/>
                    <a:pt x="442" y="775"/>
                  </a:cubicBezTo>
                  <a:cubicBezTo>
                    <a:pt x="441" y="776"/>
                    <a:pt x="441" y="776"/>
                    <a:pt x="441" y="776"/>
                  </a:cubicBezTo>
                  <a:cubicBezTo>
                    <a:pt x="440" y="777"/>
                    <a:pt x="440" y="777"/>
                    <a:pt x="440" y="777"/>
                  </a:cubicBezTo>
                  <a:cubicBezTo>
                    <a:pt x="439" y="777"/>
                    <a:pt x="439" y="777"/>
                    <a:pt x="439" y="777"/>
                  </a:cubicBezTo>
                  <a:cubicBezTo>
                    <a:pt x="436" y="777"/>
                    <a:pt x="436" y="777"/>
                    <a:pt x="436" y="777"/>
                  </a:cubicBezTo>
                  <a:cubicBezTo>
                    <a:pt x="435" y="777"/>
                    <a:pt x="435" y="777"/>
                    <a:pt x="435" y="777"/>
                  </a:cubicBezTo>
                  <a:cubicBezTo>
                    <a:pt x="435" y="777"/>
                    <a:pt x="435" y="777"/>
                    <a:pt x="435" y="777"/>
                  </a:cubicBezTo>
                  <a:cubicBezTo>
                    <a:pt x="434" y="777"/>
                    <a:pt x="434" y="777"/>
                    <a:pt x="434" y="777"/>
                  </a:cubicBezTo>
                  <a:cubicBezTo>
                    <a:pt x="434" y="777"/>
                    <a:pt x="434" y="777"/>
                    <a:pt x="434" y="777"/>
                  </a:cubicBezTo>
                  <a:cubicBezTo>
                    <a:pt x="434" y="777"/>
                    <a:pt x="434" y="777"/>
                    <a:pt x="434" y="777"/>
                  </a:cubicBezTo>
                  <a:lnTo>
                    <a:pt x="435" y="777"/>
                  </a:lnTo>
                  <a:close/>
                  <a:moveTo>
                    <a:pt x="428" y="767"/>
                  </a:moveTo>
                  <a:cubicBezTo>
                    <a:pt x="428" y="767"/>
                    <a:pt x="428" y="767"/>
                    <a:pt x="428" y="767"/>
                  </a:cubicBezTo>
                  <a:cubicBezTo>
                    <a:pt x="428" y="767"/>
                    <a:pt x="428" y="767"/>
                    <a:pt x="428" y="767"/>
                  </a:cubicBezTo>
                  <a:cubicBezTo>
                    <a:pt x="428" y="768"/>
                    <a:pt x="428" y="768"/>
                    <a:pt x="428" y="768"/>
                  </a:cubicBezTo>
                  <a:cubicBezTo>
                    <a:pt x="427" y="768"/>
                    <a:pt x="427" y="768"/>
                    <a:pt x="427" y="768"/>
                  </a:cubicBezTo>
                  <a:cubicBezTo>
                    <a:pt x="428" y="768"/>
                    <a:pt x="428" y="768"/>
                    <a:pt x="428" y="768"/>
                  </a:cubicBezTo>
                  <a:lnTo>
                    <a:pt x="428" y="767"/>
                  </a:lnTo>
                  <a:close/>
                  <a:moveTo>
                    <a:pt x="427" y="769"/>
                  </a:moveTo>
                  <a:cubicBezTo>
                    <a:pt x="426" y="770"/>
                    <a:pt x="426" y="770"/>
                    <a:pt x="426" y="770"/>
                  </a:cubicBezTo>
                  <a:cubicBezTo>
                    <a:pt x="426" y="770"/>
                    <a:pt x="426" y="770"/>
                    <a:pt x="426" y="770"/>
                  </a:cubicBezTo>
                  <a:cubicBezTo>
                    <a:pt x="427" y="769"/>
                    <a:pt x="427" y="769"/>
                    <a:pt x="427" y="769"/>
                  </a:cubicBezTo>
                  <a:close/>
                  <a:moveTo>
                    <a:pt x="422" y="769"/>
                  </a:moveTo>
                  <a:cubicBezTo>
                    <a:pt x="422" y="770"/>
                    <a:pt x="422" y="770"/>
                    <a:pt x="422" y="770"/>
                  </a:cubicBezTo>
                  <a:cubicBezTo>
                    <a:pt x="421" y="769"/>
                    <a:pt x="421" y="769"/>
                    <a:pt x="421" y="769"/>
                  </a:cubicBezTo>
                  <a:cubicBezTo>
                    <a:pt x="420" y="769"/>
                    <a:pt x="420" y="769"/>
                    <a:pt x="420" y="769"/>
                  </a:cubicBezTo>
                  <a:cubicBezTo>
                    <a:pt x="420" y="769"/>
                    <a:pt x="420" y="769"/>
                    <a:pt x="420" y="769"/>
                  </a:cubicBezTo>
                  <a:cubicBezTo>
                    <a:pt x="421" y="769"/>
                    <a:pt x="421" y="769"/>
                    <a:pt x="421" y="769"/>
                  </a:cubicBezTo>
                  <a:lnTo>
                    <a:pt x="422" y="769"/>
                  </a:lnTo>
                  <a:close/>
                  <a:moveTo>
                    <a:pt x="409" y="769"/>
                  </a:moveTo>
                  <a:cubicBezTo>
                    <a:pt x="409" y="769"/>
                    <a:pt x="409" y="769"/>
                    <a:pt x="409" y="769"/>
                  </a:cubicBezTo>
                  <a:cubicBezTo>
                    <a:pt x="409" y="769"/>
                    <a:pt x="409" y="769"/>
                    <a:pt x="409" y="769"/>
                  </a:cubicBezTo>
                  <a:cubicBezTo>
                    <a:pt x="409" y="768"/>
                    <a:pt x="409" y="768"/>
                    <a:pt x="409" y="768"/>
                  </a:cubicBezTo>
                  <a:cubicBezTo>
                    <a:pt x="409" y="768"/>
                    <a:pt x="409" y="768"/>
                    <a:pt x="409" y="768"/>
                  </a:cubicBezTo>
                  <a:cubicBezTo>
                    <a:pt x="409" y="768"/>
                    <a:pt x="409" y="768"/>
                    <a:pt x="409" y="768"/>
                  </a:cubicBezTo>
                  <a:cubicBezTo>
                    <a:pt x="409" y="769"/>
                    <a:pt x="409" y="769"/>
                    <a:pt x="409" y="769"/>
                  </a:cubicBezTo>
                  <a:cubicBezTo>
                    <a:pt x="409" y="769"/>
                    <a:pt x="409" y="769"/>
                    <a:pt x="409" y="769"/>
                  </a:cubicBezTo>
                  <a:cubicBezTo>
                    <a:pt x="409" y="770"/>
                    <a:pt x="409" y="770"/>
                    <a:pt x="409" y="770"/>
                  </a:cubicBezTo>
                  <a:cubicBezTo>
                    <a:pt x="409" y="770"/>
                    <a:pt x="409" y="770"/>
                    <a:pt x="409" y="770"/>
                  </a:cubicBezTo>
                  <a:cubicBezTo>
                    <a:pt x="410" y="771"/>
                    <a:pt x="410" y="771"/>
                    <a:pt x="410" y="771"/>
                  </a:cubicBezTo>
                  <a:cubicBezTo>
                    <a:pt x="410" y="771"/>
                    <a:pt x="410" y="771"/>
                    <a:pt x="410" y="771"/>
                  </a:cubicBezTo>
                  <a:cubicBezTo>
                    <a:pt x="410" y="772"/>
                    <a:pt x="410" y="772"/>
                    <a:pt x="410" y="772"/>
                  </a:cubicBezTo>
                  <a:cubicBezTo>
                    <a:pt x="410" y="772"/>
                    <a:pt x="410" y="772"/>
                    <a:pt x="410" y="772"/>
                  </a:cubicBezTo>
                  <a:cubicBezTo>
                    <a:pt x="410" y="772"/>
                    <a:pt x="410" y="772"/>
                    <a:pt x="410" y="772"/>
                  </a:cubicBezTo>
                  <a:cubicBezTo>
                    <a:pt x="410" y="771"/>
                    <a:pt x="410" y="771"/>
                    <a:pt x="410" y="771"/>
                  </a:cubicBezTo>
                  <a:cubicBezTo>
                    <a:pt x="409" y="770"/>
                    <a:pt x="409" y="770"/>
                    <a:pt x="409" y="770"/>
                  </a:cubicBezTo>
                  <a:cubicBezTo>
                    <a:pt x="409" y="770"/>
                    <a:pt x="409" y="770"/>
                    <a:pt x="409" y="770"/>
                  </a:cubicBezTo>
                  <a:lnTo>
                    <a:pt x="409" y="769"/>
                  </a:lnTo>
                  <a:close/>
                  <a:moveTo>
                    <a:pt x="406" y="775"/>
                  </a:moveTo>
                  <a:cubicBezTo>
                    <a:pt x="407" y="775"/>
                    <a:pt x="407" y="775"/>
                    <a:pt x="407" y="775"/>
                  </a:cubicBezTo>
                  <a:cubicBezTo>
                    <a:pt x="407" y="776"/>
                    <a:pt x="407" y="776"/>
                    <a:pt x="407" y="776"/>
                  </a:cubicBezTo>
                  <a:cubicBezTo>
                    <a:pt x="407" y="776"/>
                    <a:pt x="407" y="776"/>
                    <a:pt x="407" y="776"/>
                  </a:cubicBezTo>
                  <a:cubicBezTo>
                    <a:pt x="406" y="776"/>
                    <a:pt x="406" y="776"/>
                    <a:pt x="406" y="776"/>
                  </a:cubicBezTo>
                  <a:cubicBezTo>
                    <a:pt x="407" y="776"/>
                    <a:pt x="407" y="776"/>
                    <a:pt x="407" y="776"/>
                  </a:cubicBezTo>
                  <a:cubicBezTo>
                    <a:pt x="407" y="776"/>
                    <a:pt x="407" y="776"/>
                    <a:pt x="407" y="776"/>
                  </a:cubicBezTo>
                  <a:cubicBezTo>
                    <a:pt x="407" y="775"/>
                    <a:pt x="407" y="775"/>
                    <a:pt x="407" y="775"/>
                  </a:cubicBezTo>
                  <a:cubicBezTo>
                    <a:pt x="407" y="775"/>
                    <a:pt x="407" y="775"/>
                    <a:pt x="407" y="775"/>
                  </a:cubicBezTo>
                  <a:cubicBezTo>
                    <a:pt x="406" y="775"/>
                    <a:pt x="406" y="775"/>
                    <a:pt x="406" y="775"/>
                  </a:cubicBezTo>
                  <a:cubicBezTo>
                    <a:pt x="406" y="775"/>
                    <a:pt x="406" y="775"/>
                    <a:pt x="406" y="775"/>
                  </a:cubicBezTo>
                  <a:close/>
                  <a:moveTo>
                    <a:pt x="401" y="831"/>
                  </a:moveTo>
                  <a:cubicBezTo>
                    <a:pt x="402" y="831"/>
                    <a:pt x="402" y="831"/>
                    <a:pt x="402" y="831"/>
                  </a:cubicBezTo>
                  <a:cubicBezTo>
                    <a:pt x="402" y="831"/>
                    <a:pt x="402" y="831"/>
                    <a:pt x="402" y="831"/>
                  </a:cubicBezTo>
                  <a:cubicBezTo>
                    <a:pt x="403" y="831"/>
                    <a:pt x="403" y="831"/>
                    <a:pt x="403" y="831"/>
                  </a:cubicBezTo>
                  <a:cubicBezTo>
                    <a:pt x="403" y="831"/>
                    <a:pt x="403" y="831"/>
                    <a:pt x="403" y="831"/>
                  </a:cubicBezTo>
                  <a:cubicBezTo>
                    <a:pt x="403" y="831"/>
                    <a:pt x="403" y="831"/>
                    <a:pt x="403" y="831"/>
                  </a:cubicBezTo>
                  <a:cubicBezTo>
                    <a:pt x="403" y="831"/>
                    <a:pt x="403" y="831"/>
                    <a:pt x="403" y="831"/>
                  </a:cubicBezTo>
                  <a:cubicBezTo>
                    <a:pt x="402" y="831"/>
                    <a:pt x="402" y="831"/>
                    <a:pt x="402" y="831"/>
                  </a:cubicBezTo>
                  <a:cubicBezTo>
                    <a:pt x="402" y="832"/>
                    <a:pt x="402" y="832"/>
                    <a:pt x="402" y="832"/>
                  </a:cubicBezTo>
                  <a:cubicBezTo>
                    <a:pt x="401" y="831"/>
                    <a:pt x="401" y="831"/>
                    <a:pt x="401" y="831"/>
                  </a:cubicBezTo>
                  <a:close/>
                  <a:moveTo>
                    <a:pt x="404" y="834"/>
                  </a:moveTo>
                  <a:cubicBezTo>
                    <a:pt x="404" y="834"/>
                    <a:pt x="404" y="834"/>
                    <a:pt x="404" y="834"/>
                  </a:cubicBezTo>
                  <a:cubicBezTo>
                    <a:pt x="403" y="834"/>
                    <a:pt x="403" y="834"/>
                    <a:pt x="403" y="834"/>
                  </a:cubicBezTo>
                  <a:cubicBezTo>
                    <a:pt x="403" y="833"/>
                    <a:pt x="403" y="833"/>
                    <a:pt x="403" y="833"/>
                  </a:cubicBezTo>
                  <a:cubicBezTo>
                    <a:pt x="404" y="833"/>
                    <a:pt x="404" y="833"/>
                    <a:pt x="404" y="833"/>
                  </a:cubicBezTo>
                  <a:cubicBezTo>
                    <a:pt x="404" y="834"/>
                    <a:pt x="404" y="834"/>
                    <a:pt x="404" y="834"/>
                  </a:cubicBezTo>
                  <a:close/>
                  <a:moveTo>
                    <a:pt x="382" y="778"/>
                  </a:moveTo>
                  <a:cubicBezTo>
                    <a:pt x="382" y="777"/>
                    <a:pt x="382" y="777"/>
                    <a:pt x="382" y="777"/>
                  </a:cubicBezTo>
                  <a:cubicBezTo>
                    <a:pt x="382" y="777"/>
                    <a:pt x="382" y="777"/>
                    <a:pt x="382" y="777"/>
                  </a:cubicBezTo>
                  <a:cubicBezTo>
                    <a:pt x="382" y="776"/>
                    <a:pt x="382" y="776"/>
                    <a:pt x="382" y="776"/>
                  </a:cubicBezTo>
                  <a:cubicBezTo>
                    <a:pt x="383" y="776"/>
                    <a:pt x="383" y="776"/>
                    <a:pt x="383" y="776"/>
                  </a:cubicBezTo>
                  <a:cubicBezTo>
                    <a:pt x="383" y="776"/>
                    <a:pt x="383" y="776"/>
                    <a:pt x="383" y="776"/>
                  </a:cubicBezTo>
                  <a:cubicBezTo>
                    <a:pt x="383" y="776"/>
                    <a:pt x="383" y="776"/>
                    <a:pt x="383" y="776"/>
                  </a:cubicBezTo>
                  <a:cubicBezTo>
                    <a:pt x="385" y="775"/>
                    <a:pt x="385" y="775"/>
                    <a:pt x="385" y="775"/>
                  </a:cubicBezTo>
                  <a:cubicBezTo>
                    <a:pt x="385" y="775"/>
                    <a:pt x="385" y="775"/>
                    <a:pt x="385" y="775"/>
                  </a:cubicBezTo>
                  <a:cubicBezTo>
                    <a:pt x="386" y="775"/>
                    <a:pt x="386" y="775"/>
                    <a:pt x="386" y="775"/>
                  </a:cubicBezTo>
                  <a:cubicBezTo>
                    <a:pt x="386" y="775"/>
                    <a:pt x="386" y="775"/>
                    <a:pt x="386" y="775"/>
                  </a:cubicBezTo>
                  <a:cubicBezTo>
                    <a:pt x="386" y="775"/>
                    <a:pt x="386" y="775"/>
                    <a:pt x="386" y="775"/>
                  </a:cubicBezTo>
                  <a:cubicBezTo>
                    <a:pt x="385" y="775"/>
                    <a:pt x="385" y="775"/>
                    <a:pt x="385" y="775"/>
                  </a:cubicBezTo>
                  <a:cubicBezTo>
                    <a:pt x="384" y="776"/>
                    <a:pt x="384" y="776"/>
                    <a:pt x="384" y="776"/>
                  </a:cubicBezTo>
                  <a:cubicBezTo>
                    <a:pt x="383" y="776"/>
                    <a:pt x="383" y="776"/>
                    <a:pt x="383" y="776"/>
                  </a:cubicBezTo>
                  <a:cubicBezTo>
                    <a:pt x="383" y="776"/>
                    <a:pt x="383" y="776"/>
                    <a:pt x="383" y="776"/>
                  </a:cubicBezTo>
                  <a:cubicBezTo>
                    <a:pt x="382" y="776"/>
                    <a:pt x="382" y="776"/>
                    <a:pt x="382" y="776"/>
                  </a:cubicBezTo>
                  <a:cubicBezTo>
                    <a:pt x="382" y="777"/>
                    <a:pt x="382" y="777"/>
                    <a:pt x="382" y="777"/>
                  </a:cubicBezTo>
                  <a:cubicBezTo>
                    <a:pt x="382" y="777"/>
                    <a:pt x="382" y="777"/>
                    <a:pt x="382" y="777"/>
                  </a:cubicBezTo>
                  <a:cubicBezTo>
                    <a:pt x="382" y="778"/>
                    <a:pt x="382" y="778"/>
                    <a:pt x="382" y="778"/>
                  </a:cubicBezTo>
                  <a:cubicBezTo>
                    <a:pt x="381" y="778"/>
                    <a:pt x="381" y="778"/>
                    <a:pt x="381" y="778"/>
                  </a:cubicBezTo>
                  <a:cubicBezTo>
                    <a:pt x="380" y="778"/>
                    <a:pt x="380" y="778"/>
                    <a:pt x="380" y="778"/>
                  </a:cubicBezTo>
                  <a:cubicBezTo>
                    <a:pt x="380" y="778"/>
                    <a:pt x="380" y="778"/>
                    <a:pt x="380" y="778"/>
                  </a:cubicBezTo>
                  <a:cubicBezTo>
                    <a:pt x="381" y="778"/>
                    <a:pt x="381" y="778"/>
                    <a:pt x="381" y="778"/>
                  </a:cubicBezTo>
                  <a:lnTo>
                    <a:pt x="382" y="778"/>
                  </a:lnTo>
                  <a:close/>
                  <a:moveTo>
                    <a:pt x="379" y="778"/>
                  </a:moveTo>
                  <a:cubicBezTo>
                    <a:pt x="379" y="778"/>
                    <a:pt x="379" y="778"/>
                    <a:pt x="379" y="778"/>
                  </a:cubicBezTo>
                  <a:cubicBezTo>
                    <a:pt x="379" y="778"/>
                    <a:pt x="379" y="778"/>
                    <a:pt x="379" y="778"/>
                  </a:cubicBezTo>
                  <a:cubicBezTo>
                    <a:pt x="379" y="778"/>
                    <a:pt x="379" y="778"/>
                    <a:pt x="379" y="778"/>
                  </a:cubicBezTo>
                  <a:close/>
                  <a:moveTo>
                    <a:pt x="355" y="791"/>
                  </a:moveTo>
                  <a:cubicBezTo>
                    <a:pt x="355" y="791"/>
                    <a:pt x="355" y="791"/>
                    <a:pt x="355" y="791"/>
                  </a:cubicBezTo>
                  <a:cubicBezTo>
                    <a:pt x="355" y="792"/>
                    <a:pt x="355" y="792"/>
                    <a:pt x="355" y="792"/>
                  </a:cubicBezTo>
                  <a:cubicBezTo>
                    <a:pt x="355" y="792"/>
                    <a:pt x="355" y="792"/>
                    <a:pt x="355" y="792"/>
                  </a:cubicBezTo>
                  <a:cubicBezTo>
                    <a:pt x="354" y="790"/>
                    <a:pt x="354" y="790"/>
                    <a:pt x="354" y="790"/>
                  </a:cubicBezTo>
                  <a:cubicBezTo>
                    <a:pt x="354" y="790"/>
                    <a:pt x="354" y="790"/>
                    <a:pt x="354" y="790"/>
                  </a:cubicBezTo>
                  <a:cubicBezTo>
                    <a:pt x="354" y="789"/>
                    <a:pt x="354" y="789"/>
                    <a:pt x="354" y="789"/>
                  </a:cubicBezTo>
                  <a:cubicBezTo>
                    <a:pt x="354" y="789"/>
                    <a:pt x="354" y="789"/>
                    <a:pt x="354" y="789"/>
                  </a:cubicBezTo>
                  <a:lnTo>
                    <a:pt x="355" y="791"/>
                  </a:lnTo>
                  <a:close/>
                  <a:moveTo>
                    <a:pt x="336" y="1162"/>
                  </a:moveTo>
                  <a:cubicBezTo>
                    <a:pt x="337" y="1162"/>
                    <a:pt x="337" y="1162"/>
                    <a:pt x="337" y="1162"/>
                  </a:cubicBezTo>
                  <a:cubicBezTo>
                    <a:pt x="337" y="1163"/>
                    <a:pt x="337" y="1163"/>
                    <a:pt x="337" y="1163"/>
                  </a:cubicBezTo>
                  <a:cubicBezTo>
                    <a:pt x="337" y="1163"/>
                    <a:pt x="337" y="1163"/>
                    <a:pt x="337" y="1163"/>
                  </a:cubicBezTo>
                  <a:cubicBezTo>
                    <a:pt x="337" y="1163"/>
                    <a:pt x="337" y="1163"/>
                    <a:pt x="337" y="1163"/>
                  </a:cubicBezTo>
                  <a:cubicBezTo>
                    <a:pt x="337" y="1163"/>
                    <a:pt x="337" y="1163"/>
                    <a:pt x="337" y="1163"/>
                  </a:cubicBezTo>
                  <a:cubicBezTo>
                    <a:pt x="336" y="1163"/>
                    <a:pt x="336" y="1163"/>
                    <a:pt x="336" y="1163"/>
                  </a:cubicBezTo>
                  <a:cubicBezTo>
                    <a:pt x="336" y="1163"/>
                    <a:pt x="336" y="1163"/>
                    <a:pt x="336" y="1163"/>
                  </a:cubicBezTo>
                  <a:cubicBezTo>
                    <a:pt x="336" y="1162"/>
                    <a:pt x="336" y="1162"/>
                    <a:pt x="336" y="1162"/>
                  </a:cubicBezTo>
                  <a:cubicBezTo>
                    <a:pt x="336" y="1162"/>
                    <a:pt x="336" y="1162"/>
                    <a:pt x="336" y="1162"/>
                  </a:cubicBezTo>
                  <a:cubicBezTo>
                    <a:pt x="336" y="1162"/>
                    <a:pt x="336" y="1162"/>
                    <a:pt x="336" y="1162"/>
                  </a:cubicBezTo>
                  <a:cubicBezTo>
                    <a:pt x="336" y="1162"/>
                    <a:pt x="336" y="1162"/>
                    <a:pt x="336" y="1162"/>
                  </a:cubicBezTo>
                  <a:cubicBezTo>
                    <a:pt x="336" y="1162"/>
                    <a:pt x="336" y="1162"/>
                    <a:pt x="336" y="1162"/>
                  </a:cubicBezTo>
                  <a:close/>
                  <a:moveTo>
                    <a:pt x="330" y="1158"/>
                  </a:moveTo>
                  <a:cubicBezTo>
                    <a:pt x="330" y="1158"/>
                    <a:pt x="330" y="1158"/>
                    <a:pt x="330" y="1158"/>
                  </a:cubicBezTo>
                  <a:cubicBezTo>
                    <a:pt x="330" y="1158"/>
                    <a:pt x="330" y="1158"/>
                    <a:pt x="330" y="1158"/>
                  </a:cubicBezTo>
                  <a:cubicBezTo>
                    <a:pt x="330" y="1158"/>
                    <a:pt x="330" y="1158"/>
                    <a:pt x="330" y="1158"/>
                  </a:cubicBezTo>
                  <a:cubicBezTo>
                    <a:pt x="330" y="1158"/>
                    <a:pt x="330" y="1158"/>
                    <a:pt x="330" y="1158"/>
                  </a:cubicBezTo>
                  <a:close/>
                  <a:moveTo>
                    <a:pt x="224" y="1128"/>
                  </a:moveTo>
                  <a:cubicBezTo>
                    <a:pt x="224" y="1128"/>
                    <a:pt x="224" y="1128"/>
                    <a:pt x="224" y="1128"/>
                  </a:cubicBezTo>
                  <a:cubicBezTo>
                    <a:pt x="224" y="1128"/>
                    <a:pt x="224" y="1128"/>
                    <a:pt x="224" y="1128"/>
                  </a:cubicBezTo>
                  <a:cubicBezTo>
                    <a:pt x="224" y="1127"/>
                    <a:pt x="224" y="1127"/>
                    <a:pt x="224" y="1127"/>
                  </a:cubicBezTo>
                  <a:cubicBezTo>
                    <a:pt x="224" y="1127"/>
                    <a:pt x="224" y="1127"/>
                    <a:pt x="224" y="1127"/>
                  </a:cubicBezTo>
                  <a:cubicBezTo>
                    <a:pt x="225" y="1128"/>
                    <a:pt x="225" y="1128"/>
                    <a:pt x="225" y="1128"/>
                  </a:cubicBezTo>
                  <a:cubicBezTo>
                    <a:pt x="225" y="1128"/>
                    <a:pt x="225" y="1128"/>
                    <a:pt x="225" y="1128"/>
                  </a:cubicBezTo>
                  <a:cubicBezTo>
                    <a:pt x="225" y="1128"/>
                    <a:pt x="225" y="1128"/>
                    <a:pt x="225" y="1128"/>
                  </a:cubicBezTo>
                  <a:lnTo>
                    <a:pt x="224" y="1128"/>
                  </a:lnTo>
                  <a:close/>
                  <a:moveTo>
                    <a:pt x="227" y="1130"/>
                  </a:moveTo>
                  <a:cubicBezTo>
                    <a:pt x="227" y="1129"/>
                    <a:pt x="227" y="1129"/>
                    <a:pt x="227" y="1129"/>
                  </a:cubicBezTo>
                  <a:cubicBezTo>
                    <a:pt x="227" y="1128"/>
                    <a:pt x="227" y="1128"/>
                    <a:pt x="227" y="1128"/>
                  </a:cubicBezTo>
                  <a:cubicBezTo>
                    <a:pt x="227" y="1128"/>
                    <a:pt x="227" y="1128"/>
                    <a:pt x="227" y="1128"/>
                  </a:cubicBezTo>
                  <a:cubicBezTo>
                    <a:pt x="228" y="1129"/>
                    <a:pt x="228" y="1129"/>
                    <a:pt x="228" y="1129"/>
                  </a:cubicBezTo>
                  <a:cubicBezTo>
                    <a:pt x="228" y="1129"/>
                    <a:pt x="228" y="1129"/>
                    <a:pt x="228" y="1129"/>
                  </a:cubicBezTo>
                  <a:cubicBezTo>
                    <a:pt x="228" y="1129"/>
                    <a:pt x="228" y="1129"/>
                    <a:pt x="228" y="1129"/>
                  </a:cubicBezTo>
                  <a:cubicBezTo>
                    <a:pt x="228" y="1129"/>
                    <a:pt x="228" y="1129"/>
                    <a:pt x="228" y="1129"/>
                  </a:cubicBezTo>
                  <a:cubicBezTo>
                    <a:pt x="228" y="1130"/>
                    <a:pt x="228" y="1130"/>
                    <a:pt x="228" y="1130"/>
                  </a:cubicBezTo>
                  <a:cubicBezTo>
                    <a:pt x="228" y="1130"/>
                    <a:pt x="228" y="1130"/>
                    <a:pt x="228" y="1130"/>
                  </a:cubicBezTo>
                  <a:cubicBezTo>
                    <a:pt x="228" y="1130"/>
                    <a:pt x="228" y="1130"/>
                    <a:pt x="228" y="1130"/>
                  </a:cubicBezTo>
                  <a:lnTo>
                    <a:pt x="227" y="1130"/>
                  </a:lnTo>
                  <a:close/>
                  <a:moveTo>
                    <a:pt x="233" y="1137"/>
                  </a:moveTo>
                  <a:cubicBezTo>
                    <a:pt x="232" y="1137"/>
                    <a:pt x="232" y="1137"/>
                    <a:pt x="232" y="1137"/>
                  </a:cubicBezTo>
                  <a:cubicBezTo>
                    <a:pt x="232" y="1136"/>
                    <a:pt x="232" y="1136"/>
                    <a:pt x="232" y="1136"/>
                  </a:cubicBezTo>
                  <a:cubicBezTo>
                    <a:pt x="233" y="1135"/>
                    <a:pt x="233" y="1135"/>
                    <a:pt x="233" y="1135"/>
                  </a:cubicBezTo>
                  <a:cubicBezTo>
                    <a:pt x="234" y="1134"/>
                    <a:pt x="234" y="1134"/>
                    <a:pt x="234" y="1134"/>
                  </a:cubicBezTo>
                  <a:cubicBezTo>
                    <a:pt x="234" y="1133"/>
                    <a:pt x="234" y="1133"/>
                    <a:pt x="234" y="1133"/>
                  </a:cubicBezTo>
                  <a:cubicBezTo>
                    <a:pt x="235" y="1131"/>
                    <a:pt x="235" y="1131"/>
                    <a:pt x="235" y="1131"/>
                  </a:cubicBezTo>
                  <a:cubicBezTo>
                    <a:pt x="235" y="1130"/>
                    <a:pt x="235" y="1130"/>
                    <a:pt x="235" y="1130"/>
                  </a:cubicBezTo>
                  <a:cubicBezTo>
                    <a:pt x="235" y="1131"/>
                    <a:pt x="235" y="1131"/>
                    <a:pt x="235" y="1131"/>
                  </a:cubicBezTo>
                  <a:cubicBezTo>
                    <a:pt x="235" y="1132"/>
                    <a:pt x="235" y="1132"/>
                    <a:pt x="235" y="1132"/>
                  </a:cubicBezTo>
                  <a:cubicBezTo>
                    <a:pt x="235" y="1134"/>
                    <a:pt x="235" y="1134"/>
                    <a:pt x="235" y="1134"/>
                  </a:cubicBezTo>
                  <a:cubicBezTo>
                    <a:pt x="234" y="1135"/>
                    <a:pt x="234" y="1135"/>
                    <a:pt x="234" y="1135"/>
                  </a:cubicBezTo>
                  <a:cubicBezTo>
                    <a:pt x="234" y="1136"/>
                    <a:pt x="234" y="1136"/>
                    <a:pt x="234" y="1136"/>
                  </a:cubicBezTo>
                  <a:cubicBezTo>
                    <a:pt x="233" y="1137"/>
                    <a:pt x="233" y="1137"/>
                    <a:pt x="233" y="1137"/>
                  </a:cubicBezTo>
                  <a:cubicBezTo>
                    <a:pt x="233" y="1137"/>
                    <a:pt x="233" y="1137"/>
                    <a:pt x="233" y="1137"/>
                  </a:cubicBezTo>
                  <a:cubicBezTo>
                    <a:pt x="233" y="1138"/>
                    <a:pt x="233" y="1138"/>
                    <a:pt x="233" y="1138"/>
                  </a:cubicBezTo>
                  <a:cubicBezTo>
                    <a:pt x="233" y="1138"/>
                    <a:pt x="233" y="1138"/>
                    <a:pt x="233" y="1138"/>
                  </a:cubicBezTo>
                  <a:lnTo>
                    <a:pt x="233" y="1137"/>
                  </a:lnTo>
                  <a:close/>
                  <a:moveTo>
                    <a:pt x="238" y="1138"/>
                  </a:moveTo>
                  <a:cubicBezTo>
                    <a:pt x="237" y="1137"/>
                    <a:pt x="237" y="1137"/>
                    <a:pt x="237" y="1137"/>
                  </a:cubicBezTo>
                  <a:cubicBezTo>
                    <a:pt x="237" y="1137"/>
                    <a:pt x="237" y="1137"/>
                    <a:pt x="237" y="1137"/>
                  </a:cubicBezTo>
                  <a:cubicBezTo>
                    <a:pt x="237" y="1136"/>
                    <a:pt x="237" y="1136"/>
                    <a:pt x="237" y="1136"/>
                  </a:cubicBezTo>
                  <a:cubicBezTo>
                    <a:pt x="238" y="1136"/>
                    <a:pt x="238" y="1136"/>
                    <a:pt x="238" y="1136"/>
                  </a:cubicBezTo>
                  <a:cubicBezTo>
                    <a:pt x="239" y="1136"/>
                    <a:pt x="239" y="1136"/>
                    <a:pt x="239" y="1136"/>
                  </a:cubicBezTo>
                  <a:cubicBezTo>
                    <a:pt x="238" y="1137"/>
                    <a:pt x="238" y="1137"/>
                    <a:pt x="238" y="1137"/>
                  </a:cubicBezTo>
                  <a:cubicBezTo>
                    <a:pt x="238" y="1137"/>
                    <a:pt x="238" y="1137"/>
                    <a:pt x="238" y="1137"/>
                  </a:cubicBezTo>
                  <a:cubicBezTo>
                    <a:pt x="238" y="1138"/>
                    <a:pt x="238" y="1138"/>
                    <a:pt x="238" y="1138"/>
                  </a:cubicBezTo>
                  <a:close/>
                  <a:moveTo>
                    <a:pt x="255" y="1145"/>
                  </a:moveTo>
                  <a:cubicBezTo>
                    <a:pt x="254" y="1145"/>
                    <a:pt x="254" y="1145"/>
                    <a:pt x="254" y="1145"/>
                  </a:cubicBezTo>
                  <a:cubicBezTo>
                    <a:pt x="254" y="1144"/>
                    <a:pt x="254" y="1144"/>
                    <a:pt x="254" y="1144"/>
                  </a:cubicBezTo>
                  <a:cubicBezTo>
                    <a:pt x="254" y="1144"/>
                    <a:pt x="254" y="1144"/>
                    <a:pt x="254" y="1144"/>
                  </a:cubicBezTo>
                  <a:cubicBezTo>
                    <a:pt x="254" y="1144"/>
                    <a:pt x="254" y="1144"/>
                    <a:pt x="254" y="1144"/>
                  </a:cubicBezTo>
                  <a:cubicBezTo>
                    <a:pt x="254" y="1143"/>
                    <a:pt x="254" y="1143"/>
                    <a:pt x="254" y="1143"/>
                  </a:cubicBezTo>
                  <a:cubicBezTo>
                    <a:pt x="254" y="1143"/>
                    <a:pt x="254" y="1143"/>
                    <a:pt x="254" y="1143"/>
                  </a:cubicBezTo>
                  <a:cubicBezTo>
                    <a:pt x="254" y="1143"/>
                    <a:pt x="254" y="1143"/>
                    <a:pt x="254" y="1143"/>
                  </a:cubicBezTo>
                  <a:cubicBezTo>
                    <a:pt x="254" y="1143"/>
                    <a:pt x="254" y="1143"/>
                    <a:pt x="254" y="1143"/>
                  </a:cubicBezTo>
                  <a:cubicBezTo>
                    <a:pt x="255" y="1144"/>
                    <a:pt x="255" y="1144"/>
                    <a:pt x="255" y="1144"/>
                  </a:cubicBezTo>
                  <a:cubicBezTo>
                    <a:pt x="255" y="1144"/>
                    <a:pt x="255" y="1144"/>
                    <a:pt x="255" y="1144"/>
                  </a:cubicBezTo>
                  <a:cubicBezTo>
                    <a:pt x="255" y="1145"/>
                    <a:pt x="255" y="1145"/>
                    <a:pt x="255" y="1145"/>
                  </a:cubicBezTo>
                  <a:cubicBezTo>
                    <a:pt x="255" y="1145"/>
                    <a:pt x="255" y="1145"/>
                    <a:pt x="255" y="1145"/>
                  </a:cubicBezTo>
                  <a:cubicBezTo>
                    <a:pt x="255" y="1145"/>
                    <a:pt x="255" y="1145"/>
                    <a:pt x="255" y="1145"/>
                  </a:cubicBezTo>
                  <a:cubicBezTo>
                    <a:pt x="255" y="1145"/>
                    <a:pt x="255" y="1145"/>
                    <a:pt x="255" y="1145"/>
                  </a:cubicBezTo>
                  <a:close/>
                  <a:moveTo>
                    <a:pt x="258" y="1148"/>
                  </a:moveTo>
                  <a:cubicBezTo>
                    <a:pt x="258" y="1148"/>
                    <a:pt x="258" y="1148"/>
                    <a:pt x="258" y="1148"/>
                  </a:cubicBezTo>
                  <a:cubicBezTo>
                    <a:pt x="258" y="1148"/>
                    <a:pt x="258" y="1148"/>
                    <a:pt x="258" y="1148"/>
                  </a:cubicBezTo>
                  <a:cubicBezTo>
                    <a:pt x="258" y="1148"/>
                    <a:pt x="258" y="1148"/>
                    <a:pt x="258" y="1148"/>
                  </a:cubicBezTo>
                  <a:cubicBezTo>
                    <a:pt x="258" y="1148"/>
                    <a:pt x="258" y="1148"/>
                    <a:pt x="258" y="1148"/>
                  </a:cubicBezTo>
                  <a:cubicBezTo>
                    <a:pt x="257" y="1146"/>
                    <a:pt x="257" y="1146"/>
                    <a:pt x="257" y="1146"/>
                  </a:cubicBezTo>
                  <a:cubicBezTo>
                    <a:pt x="257" y="1146"/>
                    <a:pt x="257" y="1146"/>
                    <a:pt x="257" y="1146"/>
                  </a:cubicBezTo>
                  <a:cubicBezTo>
                    <a:pt x="258" y="1147"/>
                    <a:pt x="258" y="1147"/>
                    <a:pt x="258" y="1147"/>
                  </a:cubicBezTo>
                  <a:cubicBezTo>
                    <a:pt x="259" y="1148"/>
                    <a:pt x="259" y="1148"/>
                    <a:pt x="259" y="1148"/>
                  </a:cubicBezTo>
                  <a:cubicBezTo>
                    <a:pt x="259" y="1148"/>
                    <a:pt x="259" y="1148"/>
                    <a:pt x="259" y="1148"/>
                  </a:cubicBezTo>
                  <a:lnTo>
                    <a:pt x="258" y="1148"/>
                  </a:lnTo>
                  <a:close/>
                  <a:moveTo>
                    <a:pt x="259" y="1149"/>
                  </a:moveTo>
                  <a:cubicBezTo>
                    <a:pt x="259" y="1149"/>
                    <a:pt x="259" y="1149"/>
                    <a:pt x="259" y="1149"/>
                  </a:cubicBezTo>
                  <a:cubicBezTo>
                    <a:pt x="259" y="1149"/>
                    <a:pt x="259" y="1149"/>
                    <a:pt x="259" y="1149"/>
                  </a:cubicBezTo>
                  <a:cubicBezTo>
                    <a:pt x="260" y="1149"/>
                    <a:pt x="260" y="1149"/>
                    <a:pt x="260" y="1149"/>
                  </a:cubicBezTo>
                  <a:cubicBezTo>
                    <a:pt x="260" y="1149"/>
                    <a:pt x="260" y="1149"/>
                    <a:pt x="260" y="1149"/>
                  </a:cubicBezTo>
                  <a:cubicBezTo>
                    <a:pt x="260" y="1149"/>
                    <a:pt x="260" y="1149"/>
                    <a:pt x="260" y="1149"/>
                  </a:cubicBezTo>
                  <a:cubicBezTo>
                    <a:pt x="260" y="1149"/>
                    <a:pt x="260" y="1149"/>
                    <a:pt x="260" y="1149"/>
                  </a:cubicBezTo>
                  <a:lnTo>
                    <a:pt x="259" y="1149"/>
                  </a:lnTo>
                  <a:close/>
                  <a:moveTo>
                    <a:pt x="269" y="1149"/>
                  </a:moveTo>
                  <a:cubicBezTo>
                    <a:pt x="269" y="1148"/>
                    <a:pt x="269" y="1148"/>
                    <a:pt x="269" y="1148"/>
                  </a:cubicBezTo>
                  <a:cubicBezTo>
                    <a:pt x="270" y="1149"/>
                    <a:pt x="270" y="1149"/>
                    <a:pt x="270" y="1149"/>
                  </a:cubicBezTo>
                  <a:cubicBezTo>
                    <a:pt x="270" y="1149"/>
                    <a:pt x="270" y="1149"/>
                    <a:pt x="270" y="1149"/>
                  </a:cubicBezTo>
                  <a:lnTo>
                    <a:pt x="269" y="1149"/>
                  </a:lnTo>
                  <a:close/>
                  <a:moveTo>
                    <a:pt x="273" y="1151"/>
                  </a:moveTo>
                  <a:cubicBezTo>
                    <a:pt x="273" y="1151"/>
                    <a:pt x="273" y="1151"/>
                    <a:pt x="273" y="1151"/>
                  </a:cubicBezTo>
                  <a:cubicBezTo>
                    <a:pt x="273" y="1151"/>
                    <a:pt x="273" y="1151"/>
                    <a:pt x="273" y="1151"/>
                  </a:cubicBezTo>
                  <a:cubicBezTo>
                    <a:pt x="273" y="1151"/>
                    <a:pt x="273" y="1151"/>
                    <a:pt x="273" y="1151"/>
                  </a:cubicBezTo>
                  <a:cubicBezTo>
                    <a:pt x="272" y="1150"/>
                    <a:pt x="272" y="1150"/>
                    <a:pt x="272" y="1150"/>
                  </a:cubicBezTo>
                  <a:cubicBezTo>
                    <a:pt x="272" y="1150"/>
                    <a:pt x="272" y="1150"/>
                    <a:pt x="272" y="1150"/>
                  </a:cubicBezTo>
                  <a:cubicBezTo>
                    <a:pt x="272" y="1149"/>
                    <a:pt x="272" y="1149"/>
                    <a:pt x="272" y="1149"/>
                  </a:cubicBezTo>
                  <a:cubicBezTo>
                    <a:pt x="272" y="1149"/>
                    <a:pt x="272" y="1149"/>
                    <a:pt x="272" y="1149"/>
                  </a:cubicBezTo>
                  <a:cubicBezTo>
                    <a:pt x="272" y="1149"/>
                    <a:pt x="272" y="1149"/>
                    <a:pt x="272" y="1149"/>
                  </a:cubicBezTo>
                  <a:cubicBezTo>
                    <a:pt x="272" y="1150"/>
                    <a:pt x="272" y="1150"/>
                    <a:pt x="272" y="1150"/>
                  </a:cubicBezTo>
                  <a:cubicBezTo>
                    <a:pt x="273" y="1150"/>
                    <a:pt x="273" y="1150"/>
                    <a:pt x="273" y="1150"/>
                  </a:cubicBezTo>
                  <a:cubicBezTo>
                    <a:pt x="273" y="1151"/>
                    <a:pt x="273" y="1151"/>
                    <a:pt x="273" y="1151"/>
                  </a:cubicBezTo>
                  <a:cubicBezTo>
                    <a:pt x="273" y="1151"/>
                    <a:pt x="273" y="1151"/>
                    <a:pt x="273" y="1151"/>
                  </a:cubicBezTo>
                  <a:cubicBezTo>
                    <a:pt x="274" y="1152"/>
                    <a:pt x="274" y="1152"/>
                    <a:pt x="274" y="1152"/>
                  </a:cubicBezTo>
                  <a:cubicBezTo>
                    <a:pt x="274" y="1152"/>
                    <a:pt x="274" y="1152"/>
                    <a:pt x="274" y="1152"/>
                  </a:cubicBezTo>
                  <a:cubicBezTo>
                    <a:pt x="273" y="1152"/>
                    <a:pt x="273" y="1152"/>
                    <a:pt x="273" y="1152"/>
                  </a:cubicBezTo>
                  <a:lnTo>
                    <a:pt x="273" y="1151"/>
                  </a:lnTo>
                  <a:close/>
                  <a:moveTo>
                    <a:pt x="284" y="1153"/>
                  </a:moveTo>
                  <a:cubicBezTo>
                    <a:pt x="284" y="1152"/>
                    <a:pt x="284" y="1152"/>
                    <a:pt x="284" y="1152"/>
                  </a:cubicBezTo>
                  <a:cubicBezTo>
                    <a:pt x="284" y="1152"/>
                    <a:pt x="284" y="1152"/>
                    <a:pt x="284" y="1152"/>
                  </a:cubicBezTo>
                  <a:cubicBezTo>
                    <a:pt x="284" y="1152"/>
                    <a:pt x="284" y="1152"/>
                    <a:pt x="284" y="1152"/>
                  </a:cubicBezTo>
                  <a:cubicBezTo>
                    <a:pt x="285" y="1153"/>
                    <a:pt x="285" y="1153"/>
                    <a:pt x="285" y="1153"/>
                  </a:cubicBezTo>
                  <a:cubicBezTo>
                    <a:pt x="285" y="1153"/>
                    <a:pt x="285" y="1153"/>
                    <a:pt x="285" y="1153"/>
                  </a:cubicBezTo>
                  <a:lnTo>
                    <a:pt x="284" y="1153"/>
                  </a:lnTo>
                  <a:close/>
                  <a:moveTo>
                    <a:pt x="288" y="1153"/>
                  </a:moveTo>
                  <a:cubicBezTo>
                    <a:pt x="288" y="1152"/>
                    <a:pt x="288" y="1152"/>
                    <a:pt x="288" y="1152"/>
                  </a:cubicBezTo>
                  <a:cubicBezTo>
                    <a:pt x="288" y="1152"/>
                    <a:pt x="288" y="1152"/>
                    <a:pt x="288" y="1152"/>
                  </a:cubicBezTo>
                  <a:cubicBezTo>
                    <a:pt x="288" y="1152"/>
                    <a:pt x="288" y="1152"/>
                    <a:pt x="288" y="1152"/>
                  </a:cubicBezTo>
                  <a:cubicBezTo>
                    <a:pt x="288" y="1152"/>
                    <a:pt x="288" y="1152"/>
                    <a:pt x="288" y="1152"/>
                  </a:cubicBezTo>
                  <a:cubicBezTo>
                    <a:pt x="289" y="1153"/>
                    <a:pt x="289" y="1153"/>
                    <a:pt x="289" y="1153"/>
                  </a:cubicBezTo>
                  <a:cubicBezTo>
                    <a:pt x="289" y="1153"/>
                    <a:pt x="289" y="1153"/>
                    <a:pt x="289" y="1153"/>
                  </a:cubicBezTo>
                  <a:lnTo>
                    <a:pt x="288" y="1153"/>
                  </a:lnTo>
                  <a:close/>
                  <a:moveTo>
                    <a:pt x="303" y="1149"/>
                  </a:moveTo>
                  <a:cubicBezTo>
                    <a:pt x="303" y="1148"/>
                    <a:pt x="303" y="1148"/>
                    <a:pt x="303" y="1148"/>
                  </a:cubicBezTo>
                  <a:cubicBezTo>
                    <a:pt x="304" y="1149"/>
                    <a:pt x="304" y="1149"/>
                    <a:pt x="304" y="1149"/>
                  </a:cubicBezTo>
                  <a:cubicBezTo>
                    <a:pt x="304" y="1149"/>
                    <a:pt x="304" y="1149"/>
                    <a:pt x="304" y="1149"/>
                  </a:cubicBezTo>
                  <a:cubicBezTo>
                    <a:pt x="304" y="1149"/>
                    <a:pt x="304" y="1149"/>
                    <a:pt x="304" y="1149"/>
                  </a:cubicBezTo>
                  <a:lnTo>
                    <a:pt x="303" y="1149"/>
                  </a:lnTo>
                  <a:close/>
                  <a:moveTo>
                    <a:pt x="311" y="1152"/>
                  </a:moveTo>
                  <a:cubicBezTo>
                    <a:pt x="310" y="1151"/>
                    <a:pt x="310" y="1151"/>
                    <a:pt x="310" y="1151"/>
                  </a:cubicBezTo>
                  <a:cubicBezTo>
                    <a:pt x="310" y="1151"/>
                    <a:pt x="310" y="1151"/>
                    <a:pt x="310" y="1151"/>
                  </a:cubicBezTo>
                  <a:cubicBezTo>
                    <a:pt x="310" y="1150"/>
                    <a:pt x="310" y="1150"/>
                    <a:pt x="310" y="1150"/>
                  </a:cubicBezTo>
                  <a:cubicBezTo>
                    <a:pt x="309" y="1150"/>
                    <a:pt x="309" y="1150"/>
                    <a:pt x="309" y="1150"/>
                  </a:cubicBezTo>
                  <a:cubicBezTo>
                    <a:pt x="310" y="1150"/>
                    <a:pt x="310" y="1150"/>
                    <a:pt x="310" y="1150"/>
                  </a:cubicBezTo>
                  <a:cubicBezTo>
                    <a:pt x="311" y="1150"/>
                    <a:pt x="311" y="1150"/>
                    <a:pt x="311" y="1150"/>
                  </a:cubicBezTo>
                  <a:cubicBezTo>
                    <a:pt x="311" y="1151"/>
                    <a:pt x="311" y="1151"/>
                    <a:pt x="311" y="1151"/>
                  </a:cubicBezTo>
                  <a:cubicBezTo>
                    <a:pt x="311" y="1152"/>
                    <a:pt x="311" y="1152"/>
                    <a:pt x="311" y="1152"/>
                  </a:cubicBezTo>
                  <a:cubicBezTo>
                    <a:pt x="311" y="1152"/>
                    <a:pt x="311" y="1152"/>
                    <a:pt x="311" y="1152"/>
                  </a:cubicBezTo>
                  <a:cubicBezTo>
                    <a:pt x="311" y="1152"/>
                    <a:pt x="311" y="1152"/>
                    <a:pt x="311" y="1152"/>
                  </a:cubicBezTo>
                  <a:close/>
                  <a:moveTo>
                    <a:pt x="321" y="1163"/>
                  </a:moveTo>
                  <a:cubicBezTo>
                    <a:pt x="320" y="1163"/>
                    <a:pt x="320" y="1163"/>
                    <a:pt x="320" y="1163"/>
                  </a:cubicBezTo>
                  <a:cubicBezTo>
                    <a:pt x="319" y="1162"/>
                    <a:pt x="319" y="1162"/>
                    <a:pt x="319" y="1162"/>
                  </a:cubicBezTo>
                  <a:cubicBezTo>
                    <a:pt x="319" y="1162"/>
                    <a:pt x="319" y="1162"/>
                    <a:pt x="319" y="1162"/>
                  </a:cubicBezTo>
                  <a:cubicBezTo>
                    <a:pt x="318" y="1161"/>
                    <a:pt x="318" y="1161"/>
                    <a:pt x="318" y="1161"/>
                  </a:cubicBezTo>
                  <a:cubicBezTo>
                    <a:pt x="319" y="1160"/>
                    <a:pt x="319" y="1160"/>
                    <a:pt x="319" y="1160"/>
                  </a:cubicBezTo>
                  <a:cubicBezTo>
                    <a:pt x="319" y="1160"/>
                    <a:pt x="319" y="1160"/>
                    <a:pt x="319" y="1160"/>
                  </a:cubicBezTo>
                  <a:cubicBezTo>
                    <a:pt x="320" y="1160"/>
                    <a:pt x="320" y="1160"/>
                    <a:pt x="320" y="1160"/>
                  </a:cubicBezTo>
                  <a:cubicBezTo>
                    <a:pt x="319" y="1159"/>
                    <a:pt x="319" y="1159"/>
                    <a:pt x="319" y="1159"/>
                  </a:cubicBezTo>
                  <a:cubicBezTo>
                    <a:pt x="319" y="1159"/>
                    <a:pt x="319" y="1159"/>
                    <a:pt x="319" y="1159"/>
                  </a:cubicBezTo>
                  <a:cubicBezTo>
                    <a:pt x="318" y="1159"/>
                    <a:pt x="318" y="1159"/>
                    <a:pt x="318" y="1159"/>
                  </a:cubicBezTo>
                  <a:cubicBezTo>
                    <a:pt x="318" y="1158"/>
                    <a:pt x="318" y="1158"/>
                    <a:pt x="318" y="1158"/>
                  </a:cubicBezTo>
                  <a:cubicBezTo>
                    <a:pt x="319" y="1158"/>
                    <a:pt x="319" y="1158"/>
                    <a:pt x="319" y="1158"/>
                  </a:cubicBezTo>
                  <a:cubicBezTo>
                    <a:pt x="319" y="1157"/>
                    <a:pt x="319" y="1157"/>
                    <a:pt x="319" y="1157"/>
                  </a:cubicBezTo>
                  <a:cubicBezTo>
                    <a:pt x="319" y="1157"/>
                    <a:pt x="319" y="1157"/>
                    <a:pt x="319" y="1157"/>
                  </a:cubicBezTo>
                  <a:cubicBezTo>
                    <a:pt x="319" y="1157"/>
                    <a:pt x="319" y="1157"/>
                    <a:pt x="319" y="1157"/>
                  </a:cubicBezTo>
                  <a:cubicBezTo>
                    <a:pt x="319" y="1156"/>
                    <a:pt x="319" y="1156"/>
                    <a:pt x="319" y="1156"/>
                  </a:cubicBezTo>
                  <a:cubicBezTo>
                    <a:pt x="319" y="1156"/>
                    <a:pt x="319" y="1156"/>
                    <a:pt x="319" y="1156"/>
                  </a:cubicBezTo>
                  <a:cubicBezTo>
                    <a:pt x="318" y="1154"/>
                    <a:pt x="318" y="1154"/>
                    <a:pt x="318" y="1154"/>
                  </a:cubicBezTo>
                  <a:cubicBezTo>
                    <a:pt x="318" y="1154"/>
                    <a:pt x="318" y="1154"/>
                    <a:pt x="318" y="1154"/>
                  </a:cubicBezTo>
                  <a:cubicBezTo>
                    <a:pt x="317" y="1153"/>
                    <a:pt x="317" y="1153"/>
                    <a:pt x="317" y="1153"/>
                  </a:cubicBezTo>
                  <a:cubicBezTo>
                    <a:pt x="317" y="1152"/>
                    <a:pt x="317" y="1152"/>
                    <a:pt x="317" y="1152"/>
                  </a:cubicBezTo>
                  <a:cubicBezTo>
                    <a:pt x="316" y="1152"/>
                    <a:pt x="316" y="1152"/>
                    <a:pt x="316" y="1152"/>
                  </a:cubicBezTo>
                  <a:cubicBezTo>
                    <a:pt x="316" y="1152"/>
                    <a:pt x="316" y="1152"/>
                    <a:pt x="316" y="1152"/>
                  </a:cubicBezTo>
                  <a:cubicBezTo>
                    <a:pt x="317" y="1152"/>
                    <a:pt x="317" y="1152"/>
                    <a:pt x="317" y="1152"/>
                  </a:cubicBezTo>
                  <a:cubicBezTo>
                    <a:pt x="318" y="1152"/>
                    <a:pt x="318" y="1152"/>
                    <a:pt x="318" y="1152"/>
                  </a:cubicBezTo>
                  <a:cubicBezTo>
                    <a:pt x="318" y="1153"/>
                    <a:pt x="318" y="1153"/>
                    <a:pt x="318" y="1153"/>
                  </a:cubicBezTo>
                  <a:cubicBezTo>
                    <a:pt x="318" y="1153"/>
                    <a:pt x="318" y="1153"/>
                    <a:pt x="318" y="1153"/>
                  </a:cubicBezTo>
                  <a:cubicBezTo>
                    <a:pt x="318" y="1153"/>
                    <a:pt x="318" y="1153"/>
                    <a:pt x="318" y="1153"/>
                  </a:cubicBezTo>
                  <a:cubicBezTo>
                    <a:pt x="318" y="1153"/>
                    <a:pt x="318" y="1153"/>
                    <a:pt x="318" y="1153"/>
                  </a:cubicBezTo>
                  <a:cubicBezTo>
                    <a:pt x="319" y="1154"/>
                    <a:pt x="319" y="1154"/>
                    <a:pt x="319" y="1154"/>
                  </a:cubicBezTo>
                  <a:cubicBezTo>
                    <a:pt x="319" y="1155"/>
                    <a:pt x="319" y="1155"/>
                    <a:pt x="319" y="1155"/>
                  </a:cubicBezTo>
                  <a:cubicBezTo>
                    <a:pt x="320" y="1156"/>
                    <a:pt x="320" y="1156"/>
                    <a:pt x="320" y="1156"/>
                  </a:cubicBezTo>
                  <a:cubicBezTo>
                    <a:pt x="320" y="1157"/>
                    <a:pt x="320" y="1157"/>
                    <a:pt x="320" y="1157"/>
                  </a:cubicBezTo>
                  <a:cubicBezTo>
                    <a:pt x="321" y="1157"/>
                    <a:pt x="321" y="1157"/>
                    <a:pt x="321" y="1157"/>
                  </a:cubicBezTo>
                  <a:cubicBezTo>
                    <a:pt x="321" y="1155"/>
                    <a:pt x="321" y="1155"/>
                    <a:pt x="321" y="1155"/>
                  </a:cubicBezTo>
                  <a:cubicBezTo>
                    <a:pt x="322" y="1155"/>
                    <a:pt x="322" y="1155"/>
                    <a:pt x="322" y="1155"/>
                  </a:cubicBezTo>
                  <a:cubicBezTo>
                    <a:pt x="322" y="1156"/>
                    <a:pt x="322" y="1156"/>
                    <a:pt x="322" y="1156"/>
                  </a:cubicBezTo>
                  <a:cubicBezTo>
                    <a:pt x="321" y="1156"/>
                    <a:pt x="321" y="1156"/>
                    <a:pt x="321" y="1156"/>
                  </a:cubicBezTo>
                  <a:cubicBezTo>
                    <a:pt x="321" y="1156"/>
                    <a:pt x="321" y="1156"/>
                    <a:pt x="321" y="1156"/>
                  </a:cubicBezTo>
                  <a:cubicBezTo>
                    <a:pt x="321" y="1157"/>
                    <a:pt x="321" y="1157"/>
                    <a:pt x="321" y="1157"/>
                  </a:cubicBezTo>
                  <a:cubicBezTo>
                    <a:pt x="321" y="1157"/>
                    <a:pt x="321" y="1157"/>
                    <a:pt x="321" y="1157"/>
                  </a:cubicBezTo>
                  <a:cubicBezTo>
                    <a:pt x="321" y="1157"/>
                    <a:pt x="321" y="1157"/>
                    <a:pt x="321" y="1157"/>
                  </a:cubicBezTo>
                  <a:cubicBezTo>
                    <a:pt x="321" y="1159"/>
                    <a:pt x="321" y="1159"/>
                    <a:pt x="321" y="1159"/>
                  </a:cubicBezTo>
                  <a:cubicBezTo>
                    <a:pt x="321" y="1159"/>
                    <a:pt x="321" y="1159"/>
                    <a:pt x="321" y="1159"/>
                  </a:cubicBezTo>
                  <a:cubicBezTo>
                    <a:pt x="321" y="1159"/>
                    <a:pt x="321" y="1159"/>
                    <a:pt x="321" y="1159"/>
                  </a:cubicBezTo>
                  <a:cubicBezTo>
                    <a:pt x="322" y="1159"/>
                    <a:pt x="322" y="1159"/>
                    <a:pt x="322" y="1159"/>
                  </a:cubicBezTo>
                  <a:cubicBezTo>
                    <a:pt x="322" y="1160"/>
                    <a:pt x="322" y="1160"/>
                    <a:pt x="322" y="1160"/>
                  </a:cubicBezTo>
                  <a:cubicBezTo>
                    <a:pt x="322" y="1161"/>
                    <a:pt x="322" y="1161"/>
                    <a:pt x="322" y="1161"/>
                  </a:cubicBezTo>
                  <a:cubicBezTo>
                    <a:pt x="321" y="1161"/>
                    <a:pt x="321" y="1161"/>
                    <a:pt x="321" y="1161"/>
                  </a:cubicBezTo>
                  <a:cubicBezTo>
                    <a:pt x="321" y="1161"/>
                    <a:pt x="321" y="1161"/>
                    <a:pt x="321" y="1161"/>
                  </a:cubicBezTo>
                  <a:cubicBezTo>
                    <a:pt x="322" y="1163"/>
                    <a:pt x="322" y="1163"/>
                    <a:pt x="322" y="1163"/>
                  </a:cubicBezTo>
                  <a:cubicBezTo>
                    <a:pt x="322" y="1163"/>
                    <a:pt x="322" y="1163"/>
                    <a:pt x="322" y="1163"/>
                  </a:cubicBezTo>
                  <a:lnTo>
                    <a:pt x="321" y="1163"/>
                  </a:lnTo>
                  <a:close/>
                  <a:moveTo>
                    <a:pt x="332" y="1162"/>
                  </a:moveTo>
                  <a:cubicBezTo>
                    <a:pt x="332" y="1162"/>
                    <a:pt x="332" y="1162"/>
                    <a:pt x="332" y="1162"/>
                  </a:cubicBezTo>
                  <a:cubicBezTo>
                    <a:pt x="332" y="1162"/>
                    <a:pt x="332" y="1162"/>
                    <a:pt x="332" y="1162"/>
                  </a:cubicBezTo>
                  <a:cubicBezTo>
                    <a:pt x="332" y="1162"/>
                    <a:pt x="332" y="1162"/>
                    <a:pt x="332" y="1162"/>
                  </a:cubicBezTo>
                  <a:close/>
                  <a:moveTo>
                    <a:pt x="335" y="1166"/>
                  </a:moveTo>
                  <a:cubicBezTo>
                    <a:pt x="335" y="1165"/>
                    <a:pt x="335" y="1165"/>
                    <a:pt x="335" y="1165"/>
                  </a:cubicBezTo>
                  <a:cubicBezTo>
                    <a:pt x="335" y="1165"/>
                    <a:pt x="335" y="1165"/>
                    <a:pt x="335" y="1165"/>
                  </a:cubicBezTo>
                  <a:cubicBezTo>
                    <a:pt x="334" y="1163"/>
                    <a:pt x="334" y="1163"/>
                    <a:pt x="334" y="1163"/>
                  </a:cubicBezTo>
                  <a:cubicBezTo>
                    <a:pt x="334" y="1163"/>
                    <a:pt x="334" y="1163"/>
                    <a:pt x="334" y="1163"/>
                  </a:cubicBezTo>
                  <a:cubicBezTo>
                    <a:pt x="335" y="1163"/>
                    <a:pt x="335" y="1163"/>
                    <a:pt x="335" y="1163"/>
                  </a:cubicBezTo>
                  <a:cubicBezTo>
                    <a:pt x="335" y="1163"/>
                    <a:pt x="335" y="1163"/>
                    <a:pt x="335" y="1163"/>
                  </a:cubicBezTo>
                  <a:cubicBezTo>
                    <a:pt x="336" y="1164"/>
                    <a:pt x="336" y="1164"/>
                    <a:pt x="336" y="1164"/>
                  </a:cubicBezTo>
                  <a:cubicBezTo>
                    <a:pt x="336" y="1166"/>
                    <a:pt x="336" y="1166"/>
                    <a:pt x="336" y="1166"/>
                  </a:cubicBezTo>
                  <a:cubicBezTo>
                    <a:pt x="336" y="1166"/>
                    <a:pt x="336" y="1166"/>
                    <a:pt x="336" y="1166"/>
                  </a:cubicBezTo>
                  <a:cubicBezTo>
                    <a:pt x="336" y="1166"/>
                    <a:pt x="336" y="1166"/>
                    <a:pt x="336" y="1166"/>
                  </a:cubicBezTo>
                  <a:cubicBezTo>
                    <a:pt x="336" y="1166"/>
                    <a:pt x="336" y="1166"/>
                    <a:pt x="336" y="1166"/>
                  </a:cubicBezTo>
                  <a:lnTo>
                    <a:pt x="335" y="1166"/>
                  </a:lnTo>
                  <a:close/>
                  <a:moveTo>
                    <a:pt x="350" y="1167"/>
                  </a:moveTo>
                  <a:cubicBezTo>
                    <a:pt x="350" y="1166"/>
                    <a:pt x="350" y="1166"/>
                    <a:pt x="350" y="1166"/>
                  </a:cubicBezTo>
                  <a:cubicBezTo>
                    <a:pt x="349" y="1166"/>
                    <a:pt x="349" y="1166"/>
                    <a:pt x="349" y="1166"/>
                  </a:cubicBezTo>
                  <a:cubicBezTo>
                    <a:pt x="349" y="1165"/>
                    <a:pt x="349" y="1165"/>
                    <a:pt x="349" y="1165"/>
                  </a:cubicBezTo>
                  <a:cubicBezTo>
                    <a:pt x="350" y="1166"/>
                    <a:pt x="350" y="1166"/>
                    <a:pt x="350" y="1166"/>
                  </a:cubicBezTo>
                  <a:cubicBezTo>
                    <a:pt x="350" y="1166"/>
                    <a:pt x="350" y="1166"/>
                    <a:pt x="350" y="1166"/>
                  </a:cubicBezTo>
                  <a:cubicBezTo>
                    <a:pt x="350" y="1166"/>
                    <a:pt x="350" y="1166"/>
                    <a:pt x="350" y="1166"/>
                  </a:cubicBezTo>
                  <a:cubicBezTo>
                    <a:pt x="351" y="1167"/>
                    <a:pt x="351" y="1167"/>
                    <a:pt x="351" y="1167"/>
                  </a:cubicBezTo>
                  <a:cubicBezTo>
                    <a:pt x="351" y="1167"/>
                    <a:pt x="351" y="1167"/>
                    <a:pt x="351" y="1167"/>
                  </a:cubicBezTo>
                  <a:cubicBezTo>
                    <a:pt x="351" y="1167"/>
                    <a:pt x="351" y="1167"/>
                    <a:pt x="351" y="1167"/>
                  </a:cubicBezTo>
                  <a:lnTo>
                    <a:pt x="350" y="1167"/>
                  </a:lnTo>
                  <a:close/>
                  <a:moveTo>
                    <a:pt x="369" y="1163"/>
                  </a:moveTo>
                  <a:cubicBezTo>
                    <a:pt x="368" y="1163"/>
                    <a:pt x="368" y="1163"/>
                    <a:pt x="368" y="1163"/>
                  </a:cubicBezTo>
                  <a:cubicBezTo>
                    <a:pt x="368" y="1163"/>
                    <a:pt x="368" y="1163"/>
                    <a:pt x="368" y="1163"/>
                  </a:cubicBezTo>
                  <a:cubicBezTo>
                    <a:pt x="368" y="1163"/>
                    <a:pt x="368" y="1163"/>
                    <a:pt x="368" y="1163"/>
                  </a:cubicBezTo>
                  <a:cubicBezTo>
                    <a:pt x="367" y="1162"/>
                    <a:pt x="367" y="1162"/>
                    <a:pt x="367" y="1162"/>
                  </a:cubicBezTo>
                  <a:cubicBezTo>
                    <a:pt x="367" y="1162"/>
                    <a:pt x="367" y="1162"/>
                    <a:pt x="367" y="1162"/>
                  </a:cubicBezTo>
                  <a:cubicBezTo>
                    <a:pt x="368" y="1162"/>
                    <a:pt x="368" y="1162"/>
                    <a:pt x="368" y="1162"/>
                  </a:cubicBezTo>
                  <a:cubicBezTo>
                    <a:pt x="369" y="1163"/>
                    <a:pt x="369" y="1163"/>
                    <a:pt x="369" y="1163"/>
                  </a:cubicBezTo>
                  <a:close/>
                  <a:moveTo>
                    <a:pt x="373" y="804"/>
                  </a:moveTo>
                  <a:cubicBezTo>
                    <a:pt x="373" y="804"/>
                    <a:pt x="373" y="804"/>
                    <a:pt x="373" y="804"/>
                  </a:cubicBezTo>
                  <a:cubicBezTo>
                    <a:pt x="373" y="803"/>
                    <a:pt x="373" y="803"/>
                    <a:pt x="373" y="803"/>
                  </a:cubicBezTo>
                  <a:cubicBezTo>
                    <a:pt x="372" y="802"/>
                    <a:pt x="372" y="802"/>
                    <a:pt x="372" y="802"/>
                  </a:cubicBezTo>
                  <a:cubicBezTo>
                    <a:pt x="372" y="802"/>
                    <a:pt x="372" y="802"/>
                    <a:pt x="372" y="802"/>
                  </a:cubicBezTo>
                  <a:cubicBezTo>
                    <a:pt x="371" y="801"/>
                    <a:pt x="371" y="801"/>
                    <a:pt x="371" y="801"/>
                  </a:cubicBezTo>
                  <a:cubicBezTo>
                    <a:pt x="371" y="801"/>
                    <a:pt x="371" y="801"/>
                    <a:pt x="371" y="801"/>
                  </a:cubicBezTo>
                  <a:cubicBezTo>
                    <a:pt x="368" y="802"/>
                    <a:pt x="368" y="802"/>
                    <a:pt x="368" y="802"/>
                  </a:cubicBezTo>
                  <a:cubicBezTo>
                    <a:pt x="367" y="802"/>
                    <a:pt x="367" y="802"/>
                    <a:pt x="367" y="802"/>
                  </a:cubicBezTo>
                  <a:cubicBezTo>
                    <a:pt x="366" y="802"/>
                    <a:pt x="366" y="802"/>
                    <a:pt x="366" y="802"/>
                  </a:cubicBezTo>
                  <a:cubicBezTo>
                    <a:pt x="365" y="803"/>
                    <a:pt x="365" y="803"/>
                    <a:pt x="365" y="803"/>
                  </a:cubicBezTo>
                  <a:cubicBezTo>
                    <a:pt x="364" y="805"/>
                    <a:pt x="364" y="805"/>
                    <a:pt x="364" y="805"/>
                  </a:cubicBezTo>
                  <a:cubicBezTo>
                    <a:pt x="364" y="805"/>
                    <a:pt x="364" y="805"/>
                    <a:pt x="364" y="805"/>
                  </a:cubicBezTo>
                  <a:cubicBezTo>
                    <a:pt x="364" y="805"/>
                    <a:pt x="364" y="805"/>
                    <a:pt x="364" y="805"/>
                  </a:cubicBezTo>
                  <a:cubicBezTo>
                    <a:pt x="361" y="804"/>
                    <a:pt x="361" y="804"/>
                    <a:pt x="361" y="804"/>
                  </a:cubicBezTo>
                  <a:cubicBezTo>
                    <a:pt x="360" y="803"/>
                    <a:pt x="360" y="803"/>
                    <a:pt x="360" y="803"/>
                  </a:cubicBezTo>
                  <a:cubicBezTo>
                    <a:pt x="360" y="803"/>
                    <a:pt x="360" y="803"/>
                    <a:pt x="360" y="803"/>
                  </a:cubicBezTo>
                  <a:cubicBezTo>
                    <a:pt x="360" y="802"/>
                    <a:pt x="360" y="802"/>
                    <a:pt x="360" y="802"/>
                  </a:cubicBezTo>
                  <a:cubicBezTo>
                    <a:pt x="360" y="802"/>
                    <a:pt x="360" y="802"/>
                    <a:pt x="360" y="802"/>
                  </a:cubicBezTo>
                  <a:cubicBezTo>
                    <a:pt x="359" y="801"/>
                    <a:pt x="359" y="801"/>
                    <a:pt x="359" y="801"/>
                  </a:cubicBezTo>
                  <a:cubicBezTo>
                    <a:pt x="358" y="800"/>
                    <a:pt x="358" y="800"/>
                    <a:pt x="358" y="800"/>
                  </a:cubicBezTo>
                  <a:cubicBezTo>
                    <a:pt x="358" y="800"/>
                    <a:pt x="358" y="800"/>
                    <a:pt x="358" y="800"/>
                  </a:cubicBezTo>
                  <a:cubicBezTo>
                    <a:pt x="358" y="800"/>
                    <a:pt x="358" y="800"/>
                    <a:pt x="358" y="800"/>
                  </a:cubicBezTo>
                  <a:cubicBezTo>
                    <a:pt x="358" y="799"/>
                    <a:pt x="358" y="799"/>
                    <a:pt x="358" y="799"/>
                  </a:cubicBezTo>
                  <a:cubicBezTo>
                    <a:pt x="357" y="799"/>
                    <a:pt x="357" y="799"/>
                    <a:pt x="357" y="799"/>
                  </a:cubicBezTo>
                  <a:cubicBezTo>
                    <a:pt x="357" y="799"/>
                    <a:pt x="357" y="799"/>
                    <a:pt x="357" y="799"/>
                  </a:cubicBezTo>
                  <a:cubicBezTo>
                    <a:pt x="357" y="799"/>
                    <a:pt x="357" y="799"/>
                    <a:pt x="357" y="799"/>
                  </a:cubicBezTo>
                  <a:cubicBezTo>
                    <a:pt x="356" y="799"/>
                    <a:pt x="356" y="799"/>
                    <a:pt x="356" y="799"/>
                  </a:cubicBezTo>
                  <a:cubicBezTo>
                    <a:pt x="356" y="799"/>
                    <a:pt x="356" y="799"/>
                    <a:pt x="356" y="799"/>
                  </a:cubicBezTo>
                  <a:cubicBezTo>
                    <a:pt x="356" y="799"/>
                    <a:pt x="356" y="799"/>
                    <a:pt x="356" y="799"/>
                  </a:cubicBezTo>
                  <a:cubicBezTo>
                    <a:pt x="356" y="798"/>
                    <a:pt x="356" y="798"/>
                    <a:pt x="356" y="798"/>
                  </a:cubicBezTo>
                  <a:cubicBezTo>
                    <a:pt x="355" y="798"/>
                    <a:pt x="355" y="798"/>
                    <a:pt x="355" y="798"/>
                  </a:cubicBezTo>
                  <a:cubicBezTo>
                    <a:pt x="355" y="798"/>
                    <a:pt x="355" y="798"/>
                    <a:pt x="355" y="798"/>
                  </a:cubicBezTo>
                  <a:cubicBezTo>
                    <a:pt x="355" y="798"/>
                    <a:pt x="355" y="798"/>
                    <a:pt x="355" y="798"/>
                  </a:cubicBezTo>
                  <a:cubicBezTo>
                    <a:pt x="355" y="798"/>
                    <a:pt x="355" y="798"/>
                    <a:pt x="355" y="798"/>
                  </a:cubicBezTo>
                  <a:cubicBezTo>
                    <a:pt x="356" y="798"/>
                    <a:pt x="356" y="798"/>
                    <a:pt x="356" y="798"/>
                  </a:cubicBezTo>
                  <a:cubicBezTo>
                    <a:pt x="356" y="798"/>
                    <a:pt x="356" y="798"/>
                    <a:pt x="356" y="798"/>
                  </a:cubicBezTo>
                  <a:cubicBezTo>
                    <a:pt x="356" y="798"/>
                    <a:pt x="356" y="798"/>
                    <a:pt x="356" y="798"/>
                  </a:cubicBezTo>
                  <a:cubicBezTo>
                    <a:pt x="356" y="798"/>
                    <a:pt x="356" y="798"/>
                    <a:pt x="356" y="798"/>
                  </a:cubicBezTo>
                  <a:cubicBezTo>
                    <a:pt x="357" y="798"/>
                    <a:pt x="357" y="798"/>
                    <a:pt x="357" y="798"/>
                  </a:cubicBezTo>
                  <a:cubicBezTo>
                    <a:pt x="357" y="798"/>
                    <a:pt x="357" y="798"/>
                    <a:pt x="357" y="798"/>
                  </a:cubicBezTo>
                  <a:cubicBezTo>
                    <a:pt x="357" y="798"/>
                    <a:pt x="357" y="798"/>
                    <a:pt x="357" y="798"/>
                  </a:cubicBezTo>
                  <a:cubicBezTo>
                    <a:pt x="358" y="799"/>
                    <a:pt x="358" y="799"/>
                    <a:pt x="358" y="799"/>
                  </a:cubicBezTo>
                  <a:cubicBezTo>
                    <a:pt x="358" y="799"/>
                    <a:pt x="358" y="799"/>
                    <a:pt x="358" y="799"/>
                  </a:cubicBezTo>
                  <a:cubicBezTo>
                    <a:pt x="358" y="799"/>
                    <a:pt x="358" y="799"/>
                    <a:pt x="358" y="799"/>
                  </a:cubicBezTo>
                  <a:cubicBezTo>
                    <a:pt x="358" y="800"/>
                    <a:pt x="358" y="800"/>
                    <a:pt x="358" y="800"/>
                  </a:cubicBezTo>
                  <a:cubicBezTo>
                    <a:pt x="359" y="801"/>
                    <a:pt x="359" y="801"/>
                    <a:pt x="359" y="801"/>
                  </a:cubicBezTo>
                  <a:cubicBezTo>
                    <a:pt x="360" y="801"/>
                    <a:pt x="360" y="801"/>
                    <a:pt x="360" y="801"/>
                  </a:cubicBezTo>
                  <a:cubicBezTo>
                    <a:pt x="360" y="802"/>
                    <a:pt x="360" y="802"/>
                    <a:pt x="360" y="802"/>
                  </a:cubicBezTo>
                  <a:cubicBezTo>
                    <a:pt x="360" y="802"/>
                    <a:pt x="360" y="802"/>
                    <a:pt x="360" y="802"/>
                  </a:cubicBezTo>
                  <a:cubicBezTo>
                    <a:pt x="361" y="803"/>
                    <a:pt x="361" y="803"/>
                    <a:pt x="361" y="803"/>
                  </a:cubicBezTo>
                  <a:cubicBezTo>
                    <a:pt x="363" y="804"/>
                    <a:pt x="363" y="804"/>
                    <a:pt x="363" y="804"/>
                  </a:cubicBezTo>
                  <a:cubicBezTo>
                    <a:pt x="364" y="804"/>
                    <a:pt x="364" y="804"/>
                    <a:pt x="364" y="804"/>
                  </a:cubicBezTo>
                  <a:cubicBezTo>
                    <a:pt x="364" y="804"/>
                    <a:pt x="364" y="804"/>
                    <a:pt x="364" y="804"/>
                  </a:cubicBezTo>
                  <a:cubicBezTo>
                    <a:pt x="365" y="802"/>
                    <a:pt x="365" y="802"/>
                    <a:pt x="365" y="802"/>
                  </a:cubicBezTo>
                  <a:cubicBezTo>
                    <a:pt x="366" y="801"/>
                    <a:pt x="366" y="801"/>
                    <a:pt x="366" y="801"/>
                  </a:cubicBezTo>
                  <a:cubicBezTo>
                    <a:pt x="366" y="801"/>
                    <a:pt x="366" y="801"/>
                    <a:pt x="366" y="801"/>
                  </a:cubicBezTo>
                  <a:cubicBezTo>
                    <a:pt x="368" y="801"/>
                    <a:pt x="368" y="801"/>
                    <a:pt x="368" y="801"/>
                  </a:cubicBezTo>
                  <a:cubicBezTo>
                    <a:pt x="370" y="800"/>
                    <a:pt x="370" y="800"/>
                    <a:pt x="370" y="800"/>
                  </a:cubicBezTo>
                  <a:cubicBezTo>
                    <a:pt x="371" y="800"/>
                    <a:pt x="371" y="800"/>
                    <a:pt x="371" y="800"/>
                  </a:cubicBezTo>
                  <a:cubicBezTo>
                    <a:pt x="372" y="801"/>
                    <a:pt x="372" y="801"/>
                    <a:pt x="372" y="801"/>
                  </a:cubicBezTo>
                  <a:cubicBezTo>
                    <a:pt x="372" y="801"/>
                    <a:pt x="372" y="801"/>
                    <a:pt x="372" y="801"/>
                  </a:cubicBezTo>
                  <a:cubicBezTo>
                    <a:pt x="372" y="802"/>
                    <a:pt x="372" y="802"/>
                    <a:pt x="372" y="802"/>
                  </a:cubicBezTo>
                  <a:cubicBezTo>
                    <a:pt x="373" y="803"/>
                    <a:pt x="373" y="803"/>
                    <a:pt x="373" y="803"/>
                  </a:cubicBezTo>
                  <a:cubicBezTo>
                    <a:pt x="373" y="803"/>
                    <a:pt x="373" y="803"/>
                    <a:pt x="373" y="803"/>
                  </a:cubicBezTo>
                  <a:cubicBezTo>
                    <a:pt x="373" y="803"/>
                    <a:pt x="373" y="803"/>
                    <a:pt x="373" y="803"/>
                  </a:cubicBezTo>
                  <a:cubicBezTo>
                    <a:pt x="374" y="804"/>
                    <a:pt x="374" y="804"/>
                    <a:pt x="374" y="804"/>
                  </a:cubicBezTo>
                  <a:cubicBezTo>
                    <a:pt x="374" y="804"/>
                    <a:pt x="374" y="804"/>
                    <a:pt x="374" y="804"/>
                  </a:cubicBezTo>
                  <a:cubicBezTo>
                    <a:pt x="374" y="805"/>
                    <a:pt x="374" y="805"/>
                    <a:pt x="374" y="805"/>
                  </a:cubicBezTo>
                  <a:cubicBezTo>
                    <a:pt x="374" y="805"/>
                    <a:pt x="374" y="805"/>
                    <a:pt x="374" y="805"/>
                  </a:cubicBezTo>
                  <a:cubicBezTo>
                    <a:pt x="374" y="804"/>
                    <a:pt x="374" y="804"/>
                    <a:pt x="374" y="804"/>
                  </a:cubicBezTo>
                  <a:lnTo>
                    <a:pt x="373" y="804"/>
                  </a:lnTo>
                  <a:close/>
                  <a:moveTo>
                    <a:pt x="381" y="813"/>
                  </a:moveTo>
                  <a:cubicBezTo>
                    <a:pt x="381" y="814"/>
                    <a:pt x="381" y="814"/>
                    <a:pt x="381" y="814"/>
                  </a:cubicBezTo>
                  <a:cubicBezTo>
                    <a:pt x="380" y="814"/>
                    <a:pt x="380" y="814"/>
                    <a:pt x="380" y="814"/>
                  </a:cubicBezTo>
                  <a:cubicBezTo>
                    <a:pt x="379" y="815"/>
                    <a:pt x="379" y="815"/>
                    <a:pt x="379" y="815"/>
                  </a:cubicBezTo>
                  <a:cubicBezTo>
                    <a:pt x="378" y="815"/>
                    <a:pt x="378" y="815"/>
                    <a:pt x="378" y="815"/>
                  </a:cubicBezTo>
                  <a:cubicBezTo>
                    <a:pt x="378" y="815"/>
                    <a:pt x="378" y="815"/>
                    <a:pt x="378" y="815"/>
                  </a:cubicBezTo>
                  <a:cubicBezTo>
                    <a:pt x="377" y="814"/>
                    <a:pt x="377" y="814"/>
                    <a:pt x="377" y="814"/>
                  </a:cubicBezTo>
                  <a:cubicBezTo>
                    <a:pt x="376" y="813"/>
                    <a:pt x="376" y="813"/>
                    <a:pt x="376" y="813"/>
                  </a:cubicBezTo>
                  <a:cubicBezTo>
                    <a:pt x="376" y="813"/>
                    <a:pt x="376" y="813"/>
                    <a:pt x="376" y="813"/>
                  </a:cubicBezTo>
                  <a:cubicBezTo>
                    <a:pt x="375" y="812"/>
                    <a:pt x="375" y="812"/>
                    <a:pt x="375" y="812"/>
                  </a:cubicBezTo>
                  <a:cubicBezTo>
                    <a:pt x="375" y="812"/>
                    <a:pt x="375" y="812"/>
                    <a:pt x="375" y="812"/>
                  </a:cubicBezTo>
                  <a:cubicBezTo>
                    <a:pt x="376" y="813"/>
                    <a:pt x="376" y="813"/>
                    <a:pt x="376" y="813"/>
                  </a:cubicBezTo>
                  <a:cubicBezTo>
                    <a:pt x="376" y="813"/>
                    <a:pt x="376" y="813"/>
                    <a:pt x="376" y="813"/>
                  </a:cubicBezTo>
                  <a:cubicBezTo>
                    <a:pt x="377" y="814"/>
                    <a:pt x="377" y="814"/>
                    <a:pt x="377" y="814"/>
                  </a:cubicBezTo>
                  <a:cubicBezTo>
                    <a:pt x="378" y="814"/>
                    <a:pt x="378" y="814"/>
                    <a:pt x="378" y="814"/>
                  </a:cubicBezTo>
                  <a:cubicBezTo>
                    <a:pt x="379" y="814"/>
                    <a:pt x="379" y="814"/>
                    <a:pt x="379" y="814"/>
                  </a:cubicBezTo>
                  <a:cubicBezTo>
                    <a:pt x="380" y="813"/>
                    <a:pt x="380" y="813"/>
                    <a:pt x="380" y="813"/>
                  </a:cubicBezTo>
                  <a:cubicBezTo>
                    <a:pt x="380" y="813"/>
                    <a:pt x="380" y="813"/>
                    <a:pt x="380" y="813"/>
                  </a:cubicBezTo>
                  <a:cubicBezTo>
                    <a:pt x="381" y="813"/>
                    <a:pt x="381" y="813"/>
                    <a:pt x="381" y="813"/>
                  </a:cubicBezTo>
                  <a:cubicBezTo>
                    <a:pt x="381" y="812"/>
                    <a:pt x="381" y="812"/>
                    <a:pt x="381" y="812"/>
                  </a:cubicBezTo>
                  <a:cubicBezTo>
                    <a:pt x="382" y="812"/>
                    <a:pt x="382" y="812"/>
                    <a:pt x="382" y="812"/>
                  </a:cubicBezTo>
                  <a:cubicBezTo>
                    <a:pt x="382" y="813"/>
                    <a:pt x="382" y="813"/>
                    <a:pt x="382" y="813"/>
                  </a:cubicBezTo>
                  <a:cubicBezTo>
                    <a:pt x="382" y="813"/>
                    <a:pt x="382" y="813"/>
                    <a:pt x="382" y="813"/>
                  </a:cubicBezTo>
                  <a:cubicBezTo>
                    <a:pt x="382" y="813"/>
                    <a:pt x="382" y="813"/>
                    <a:pt x="382" y="813"/>
                  </a:cubicBezTo>
                  <a:cubicBezTo>
                    <a:pt x="382" y="813"/>
                    <a:pt x="382" y="813"/>
                    <a:pt x="382" y="813"/>
                  </a:cubicBezTo>
                  <a:cubicBezTo>
                    <a:pt x="382" y="813"/>
                    <a:pt x="382" y="813"/>
                    <a:pt x="382" y="813"/>
                  </a:cubicBezTo>
                  <a:cubicBezTo>
                    <a:pt x="381" y="813"/>
                    <a:pt x="381" y="813"/>
                    <a:pt x="381" y="813"/>
                  </a:cubicBezTo>
                  <a:close/>
                  <a:moveTo>
                    <a:pt x="386" y="815"/>
                  </a:moveTo>
                  <a:cubicBezTo>
                    <a:pt x="385" y="815"/>
                    <a:pt x="385" y="815"/>
                    <a:pt x="385" y="815"/>
                  </a:cubicBezTo>
                  <a:cubicBezTo>
                    <a:pt x="384" y="815"/>
                    <a:pt x="384" y="815"/>
                    <a:pt x="384" y="815"/>
                  </a:cubicBezTo>
                  <a:cubicBezTo>
                    <a:pt x="382" y="815"/>
                    <a:pt x="382" y="815"/>
                    <a:pt x="382" y="815"/>
                  </a:cubicBezTo>
                  <a:cubicBezTo>
                    <a:pt x="382" y="815"/>
                    <a:pt x="382" y="815"/>
                    <a:pt x="382" y="815"/>
                  </a:cubicBezTo>
                  <a:cubicBezTo>
                    <a:pt x="382" y="814"/>
                    <a:pt x="382" y="814"/>
                    <a:pt x="382" y="814"/>
                  </a:cubicBezTo>
                  <a:cubicBezTo>
                    <a:pt x="382" y="814"/>
                    <a:pt x="382" y="814"/>
                    <a:pt x="382" y="814"/>
                  </a:cubicBezTo>
                  <a:cubicBezTo>
                    <a:pt x="384" y="814"/>
                    <a:pt x="384" y="814"/>
                    <a:pt x="384" y="814"/>
                  </a:cubicBezTo>
                  <a:cubicBezTo>
                    <a:pt x="385" y="814"/>
                    <a:pt x="385" y="814"/>
                    <a:pt x="385" y="814"/>
                  </a:cubicBezTo>
                  <a:cubicBezTo>
                    <a:pt x="386" y="814"/>
                    <a:pt x="386" y="814"/>
                    <a:pt x="386" y="814"/>
                  </a:cubicBezTo>
                  <a:cubicBezTo>
                    <a:pt x="386" y="815"/>
                    <a:pt x="386" y="815"/>
                    <a:pt x="386" y="815"/>
                  </a:cubicBezTo>
                  <a:cubicBezTo>
                    <a:pt x="387" y="816"/>
                    <a:pt x="387" y="816"/>
                    <a:pt x="387" y="816"/>
                  </a:cubicBezTo>
                  <a:cubicBezTo>
                    <a:pt x="387" y="816"/>
                    <a:pt x="387" y="816"/>
                    <a:pt x="387" y="816"/>
                  </a:cubicBezTo>
                  <a:cubicBezTo>
                    <a:pt x="386" y="816"/>
                    <a:pt x="386" y="816"/>
                    <a:pt x="386" y="816"/>
                  </a:cubicBezTo>
                  <a:lnTo>
                    <a:pt x="386" y="815"/>
                  </a:lnTo>
                  <a:close/>
                  <a:moveTo>
                    <a:pt x="400" y="824"/>
                  </a:moveTo>
                  <a:cubicBezTo>
                    <a:pt x="400" y="823"/>
                    <a:pt x="400" y="823"/>
                    <a:pt x="400" y="823"/>
                  </a:cubicBezTo>
                  <a:cubicBezTo>
                    <a:pt x="399" y="823"/>
                    <a:pt x="399" y="823"/>
                    <a:pt x="399" y="823"/>
                  </a:cubicBezTo>
                  <a:cubicBezTo>
                    <a:pt x="398" y="822"/>
                    <a:pt x="398" y="822"/>
                    <a:pt x="398" y="822"/>
                  </a:cubicBezTo>
                  <a:cubicBezTo>
                    <a:pt x="398" y="821"/>
                    <a:pt x="398" y="821"/>
                    <a:pt x="398" y="821"/>
                  </a:cubicBezTo>
                  <a:cubicBezTo>
                    <a:pt x="397" y="821"/>
                    <a:pt x="397" y="821"/>
                    <a:pt x="397" y="821"/>
                  </a:cubicBezTo>
                  <a:cubicBezTo>
                    <a:pt x="395" y="822"/>
                    <a:pt x="395" y="822"/>
                    <a:pt x="395" y="822"/>
                  </a:cubicBezTo>
                  <a:cubicBezTo>
                    <a:pt x="394" y="822"/>
                    <a:pt x="394" y="822"/>
                    <a:pt x="394" y="822"/>
                  </a:cubicBezTo>
                  <a:cubicBezTo>
                    <a:pt x="394" y="822"/>
                    <a:pt x="394" y="822"/>
                    <a:pt x="394" y="822"/>
                  </a:cubicBezTo>
                  <a:cubicBezTo>
                    <a:pt x="393" y="822"/>
                    <a:pt x="393" y="822"/>
                    <a:pt x="393" y="822"/>
                  </a:cubicBezTo>
                  <a:cubicBezTo>
                    <a:pt x="393" y="821"/>
                    <a:pt x="393" y="821"/>
                    <a:pt x="393" y="821"/>
                  </a:cubicBezTo>
                  <a:cubicBezTo>
                    <a:pt x="392" y="821"/>
                    <a:pt x="392" y="821"/>
                    <a:pt x="392" y="821"/>
                  </a:cubicBezTo>
                  <a:cubicBezTo>
                    <a:pt x="390" y="821"/>
                    <a:pt x="390" y="821"/>
                    <a:pt x="390" y="821"/>
                  </a:cubicBezTo>
                  <a:cubicBezTo>
                    <a:pt x="390" y="821"/>
                    <a:pt x="390" y="821"/>
                    <a:pt x="390" y="821"/>
                  </a:cubicBezTo>
                  <a:cubicBezTo>
                    <a:pt x="389" y="822"/>
                    <a:pt x="389" y="822"/>
                    <a:pt x="389" y="822"/>
                  </a:cubicBezTo>
                  <a:cubicBezTo>
                    <a:pt x="389" y="823"/>
                    <a:pt x="389" y="823"/>
                    <a:pt x="389" y="823"/>
                  </a:cubicBezTo>
                  <a:cubicBezTo>
                    <a:pt x="389" y="823"/>
                    <a:pt x="389" y="823"/>
                    <a:pt x="389" y="823"/>
                  </a:cubicBezTo>
                  <a:cubicBezTo>
                    <a:pt x="389" y="823"/>
                    <a:pt x="389" y="823"/>
                    <a:pt x="389" y="823"/>
                  </a:cubicBezTo>
                  <a:cubicBezTo>
                    <a:pt x="389" y="823"/>
                    <a:pt x="389" y="823"/>
                    <a:pt x="389" y="823"/>
                  </a:cubicBezTo>
                  <a:cubicBezTo>
                    <a:pt x="389" y="824"/>
                    <a:pt x="389" y="824"/>
                    <a:pt x="389" y="824"/>
                  </a:cubicBezTo>
                  <a:cubicBezTo>
                    <a:pt x="387" y="823"/>
                    <a:pt x="387" y="823"/>
                    <a:pt x="387" y="823"/>
                  </a:cubicBezTo>
                  <a:cubicBezTo>
                    <a:pt x="387" y="822"/>
                    <a:pt x="387" y="822"/>
                    <a:pt x="387" y="822"/>
                  </a:cubicBezTo>
                  <a:cubicBezTo>
                    <a:pt x="388" y="823"/>
                    <a:pt x="388" y="823"/>
                    <a:pt x="388" y="823"/>
                  </a:cubicBezTo>
                  <a:cubicBezTo>
                    <a:pt x="388" y="823"/>
                    <a:pt x="388" y="823"/>
                    <a:pt x="388" y="823"/>
                  </a:cubicBezTo>
                  <a:cubicBezTo>
                    <a:pt x="388" y="823"/>
                    <a:pt x="388" y="823"/>
                    <a:pt x="388" y="823"/>
                  </a:cubicBezTo>
                  <a:cubicBezTo>
                    <a:pt x="389" y="822"/>
                    <a:pt x="389" y="822"/>
                    <a:pt x="389" y="822"/>
                  </a:cubicBezTo>
                  <a:cubicBezTo>
                    <a:pt x="389" y="822"/>
                    <a:pt x="389" y="822"/>
                    <a:pt x="389" y="822"/>
                  </a:cubicBezTo>
                  <a:cubicBezTo>
                    <a:pt x="389" y="821"/>
                    <a:pt x="389" y="821"/>
                    <a:pt x="389" y="821"/>
                  </a:cubicBezTo>
                  <a:cubicBezTo>
                    <a:pt x="389" y="821"/>
                    <a:pt x="389" y="821"/>
                    <a:pt x="389" y="821"/>
                  </a:cubicBezTo>
                  <a:cubicBezTo>
                    <a:pt x="390" y="821"/>
                    <a:pt x="390" y="821"/>
                    <a:pt x="390" y="821"/>
                  </a:cubicBezTo>
                  <a:cubicBezTo>
                    <a:pt x="391" y="821"/>
                    <a:pt x="391" y="821"/>
                    <a:pt x="391" y="821"/>
                  </a:cubicBezTo>
                  <a:cubicBezTo>
                    <a:pt x="392" y="821"/>
                    <a:pt x="392" y="821"/>
                    <a:pt x="392" y="821"/>
                  </a:cubicBezTo>
                  <a:cubicBezTo>
                    <a:pt x="393" y="821"/>
                    <a:pt x="393" y="821"/>
                    <a:pt x="393" y="821"/>
                  </a:cubicBezTo>
                  <a:cubicBezTo>
                    <a:pt x="394" y="821"/>
                    <a:pt x="394" y="821"/>
                    <a:pt x="394" y="821"/>
                  </a:cubicBezTo>
                  <a:cubicBezTo>
                    <a:pt x="394" y="822"/>
                    <a:pt x="394" y="822"/>
                    <a:pt x="394" y="822"/>
                  </a:cubicBezTo>
                  <a:cubicBezTo>
                    <a:pt x="395" y="822"/>
                    <a:pt x="395" y="822"/>
                    <a:pt x="395" y="822"/>
                  </a:cubicBezTo>
                  <a:cubicBezTo>
                    <a:pt x="397" y="821"/>
                    <a:pt x="397" y="821"/>
                    <a:pt x="397" y="821"/>
                  </a:cubicBezTo>
                  <a:cubicBezTo>
                    <a:pt x="397" y="821"/>
                    <a:pt x="397" y="821"/>
                    <a:pt x="397" y="821"/>
                  </a:cubicBezTo>
                  <a:cubicBezTo>
                    <a:pt x="398" y="821"/>
                    <a:pt x="398" y="821"/>
                    <a:pt x="398" y="821"/>
                  </a:cubicBezTo>
                  <a:cubicBezTo>
                    <a:pt x="399" y="822"/>
                    <a:pt x="399" y="822"/>
                    <a:pt x="399" y="822"/>
                  </a:cubicBezTo>
                  <a:cubicBezTo>
                    <a:pt x="400" y="823"/>
                    <a:pt x="400" y="823"/>
                    <a:pt x="400" y="823"/>
                  </a:cubicBezTo>
                  <a:cubicBezTo>
                    <a:pt x="400" y="823"/>
                    <a:pt x="400" y="823"/>
                    <a:pt x="400" y="823"/>
                  </a:cubicBezTo>
                  <a:cubicBezTo>
                    <a:pt x="401" y="825"/>
                    <a:pt x="401" y="825"/>
                    <a:pt x="401" y="825"/>
                  </a:cubicBezTo>
                  <a:cubicBezTo>
                    <a:pt x="402" y="825"/>
                    <a:pt x="402" y="825"/>
                    <a:pt x="402" y="825"/>
                  </a:cubicBezTo>
                  <a:cubicBezTo>
                    <a:pt x="402" y="825"/>
                    <a:pt x="402" y="825"/>
                    <a:pt x="402" y="825"/>
                  </a:cubicBezTo>
                  <a:cubicBezTo>
                    <a:pt x="402" y="825"/>
                    <a:pt x="402" y="825"/>
                    <a:pt x="402" y="825"/>
                  </a:cubicBezTo>
                  <a:cubicBezTo>
                    <a:pt x="402" y="824"/>
                    <a:pt x="402" y="824"/>
                    <a:pt x="402" y="824"/>
                  </a:cubicBezTo>
                  <a:cubicBezTo>
                    <a:pt x="402" y="824"/>
                    <a:pt x="402" y="824"/>
                    <a:pt x="402" y="824"/>
                  </a:cubicBezTo>
                  <a:cubicBezTo>
                    <a:pt x="403" y="824"/>
                    <a:pt x="403" y="824"/>
                    <a:pt x="403" y="824"/>
                  </a:cubicBezTo>
                  <a:cubicBezTo>
                    <a:pt x="403" y="824"/>
                    <a:pt x="403" y="824"/>
                    <a:pt x="403" y="824"/>
                  </a:cubicBezTo>
                  <a:cubicBezTo>
                    <a:pt x="403" y="825"/>
                    <a:pt x="403" y="825"/>
                    <a:pt x="403" y="825"/>
                  </a:cubicBezTo>
                  <a:cubicBezTo>
                    <a:pt x="404" y="825"/>
                    <a:pt x="404" y="825"/>
                    <a:pt x="404" y="825"/>
                  </a:cubicBezTo>
                  <a:cubicBezTo>
                    <a:pt x="403" y="825"/>
                    <a:pt x="403" y="825"/>
                    <a:pt x="403" y="825"/>
                  </a:cubicBezTo>
                  <a:cubicBezTo>
                    <a:pt x="403" y="825"/>
                    <a:pt x="403" y="825"/>
                    <a:pt x="403" y="825"/>
                  </a:cubicBezTo>
                  <a:cubicBezTo>
                    <a:pt x="403" y="825"/>
                    <a:pt x="403" y="825"/>
                    <a:pt x="403" y="825"/>
                  </a:cubicBezTo>
                  <a:cubicBezTo>
                    <a:pt x="403" y="825"/>
                    <a:pt x="403" y="825"/>
                    <a:pt x="403" y="825"/>
                  </a:cubicBezTo>
                  <a:cubicBezTo>
                    <a:pt x="402" y="825"/>
                    <a:pt x="402" y="825"/>
                    <a:pt x="402" y="825"/>
                  </a:cubicBezTo>
                  <a:cubicBezTo>
                    <a:pt x="402" y="825"/>
                    <a:pt x="402" y="825"/>
                    <a:pt x="402" y="825"/>
                  </a:cubicBezTo>
                  <a:cubicBezTo>
                    <a:pt x="402" y="825"/>
                    <a:pt x="402" y="825"/>
                    <a:pt x="402" y="825"/>
                  </a:cubicBezTo>
                  <a:cubicBezTo>
                    <a:pt x="402" y="826"/>
                    <a:pt x="402" y="826"/>
                    <a:pt x="402" y="826"/>
                  </a:cubicBezTo>
                  <a:cubicBezTo>
                    <a:pt x="401" y="825"/>
                    <a:pt x="401" y="825"/>
                    <a:pt x="401" y="825"/>
                  </a:cubicBezTo>
                  <a:lnTo>
                    <a:pt x="400" y="824"/>
                  </a:lnTo>
                  <a:close/>
                  <a:moveTo>
                    <a:pt x="401" y="837"/>
                  </a:moveTo>
                  <a:cubicBezTo>
                    <a:pt x="401" y="837"/>
                    <a:pt x="401" y="837"/>
                    <a:pt x="401" y="837"/>
                  </a:cubicBezTo>
                  <a:cubicBezTo>
                    <a:pt x="401" y="837"/>
                    <a:pt x="401" y="837"/>
                    <a:pt x="401" y="837"/>
                  </a:cubicBezTo>
                  <a:close/>
                  <a:moveTo>
                    <a:pt x="418" y="835"/>
                  </a:moveTo>
                  <a:cubicBezTo>
                    <a:pt x="418" y="837"/>
                    <a:pt x="418" y="837"/>
                    <a:pt x="418" y="837"/>
                  </a:cubicBezTo>
                  <a:cubicBezTo>
                    <a:pt x="417" y="837"/>
                    <a:pt x="417" y="837"/>
                    <a:pt x="417" y="837"/>
                  </a:cubicBezTo>
                  <a:cubicBezTo>
                    <a:pt x="417" y="838"/>
                    <a:pt x="417" y="838"/>
                    <a:pt x="417" y="838"/>
                  </a:cubicBezTo>
                  <a:cubicBezTo>
                    <a:pt x="417" y="838"/>
                    <a:pt x="417" y="838"/>
                    <a:pt x="417" y="838"/>
                  </a:cubicBezTo>
                  <a:cubicBezTo>
                    <a:pt x="416" y="838"/>
                    <a:pt x="416" y="838"/>
                    <a:pt x="416" y="838"/>
                  </a:cubicBezTo>
                  <a:cubicBezTo>
                    <a:pt x="411" y="840"/>
                    <a:pt x="411" y="840"/>
                    <a:pt x="411" y="840"/>
                  </a:cubicBezTo>
                  <a:cubicBezTo>
                    <a:pt x="411" y="840"/>
                    <a:pt x="411" y="840"/>
                    <a:pt x="411" y="840"/>
                  </a:cubicBezTo>
                  <a:cubicBezTo>
                    <a:pt x="410" y="840"/>
                    <a:pt x="410" y="840"/>
                    <a:pt x="410" y="840"/>
                  </a:cubicBezTo>
                  <a:cubicBezTo>
                    <a:pt x="406" y="839"/>
                    <a:pt x="406" y="839"/>
                    <a:pt x="406" y="839"/>
                  </a:cubicBezTo>
                  <a:cubicBezTo>
                    <a:pt x="404" y="840"/>
                    <a:pt x="404" y="840"/>
                    <a:pt x="404" y="840"/>
                  </a:cubicBezTo>
                  <a:cubicBezTo>
                    <a:pt x="403" y="840"/>
                    <a:pt x="403" y="840"/>
                    <a:pt x="403" y="840"/>
                  </a:cubicBezTo>
                  <a:cubicBezTo>
                    <a:pt x="403" y="840"/>
                    <a:pt x="403" y="840"/>
                    <a:pt x="403" y="840"/>
                  </a:cubicBezTo>
                  <a:cubicBezTo>
                    <a:pt x="402" y="839"/>
                    <a:pt x="402" y="839"/>
                    <a:pt x="402" y="839"/>
                  </a:cubicBezTo>
                  <a:cubicBezTo>
                    <a:pt x="402" y="839"/>
                    <a:pt x="402" y="839"/>
                    <a:pt x="402" y="839"/>
                  </a:cubicBezTo>
                  <a:cubicBezTo>
                    <a:pt x="402" y="838"/>
                    <a:pt x="402" y="838"/>
                    <a:pt x="402" y="838"/>
                  </a:cubicBezTo>
                  <a:cubicBezTo>
                    <a:pt x="403" y="839"/>
                    <a:pt x="403" y="839"/>
                    <a:pt x="403" y="839"/>
                  </a:cubicBezTo>
                  <a:cubicBezTo>
                    <a:pt x="403" y="839"/>
                    <a:pt x="403" y="839"/>
                    <a:pt x="403" y="839"/>
                  </a:cubicBezTo>
                  <a:cubicBezTo>
                    <a:pt x="404" y="839"/>
                    <a:pt x="404" y="839"/>
                    <a:pt x="404" y="839"/>
                  </a:cubicBezTo>
                  <a:cubicBezTo>
                    <a:pt x="406" y="839"/>
                    <a:pt x="406" y="839"/>
                    <a:pt x="406" y="839"/>
                  </a:cubicBezTo>
                  <a:cubicBezTo>
                    <a:pt x="410" y="840"/>
                    <a:pt x="410" y="840"/>
                    <a:pt x="410" y="840"/>
                  </a:cubicBezTo>
                  <a:cubicBezTo>
                    <a:pt x="411" y="840"/>
                    <a:pt x="411" y="840"/>
                    <a:pt x="411" y="840"/>
                  </a:cubicBezTo>
                  <a:cubicBezTo>
                    <a:pt x="411" y="840"/>
                    <a:pt x="411" y="840"/>
                    <a:pt x="411" y="840"/>
                  </a:cubicBezTo>
                  <a:cubicBezTo>
                    <a:pt x="416" y="838"/>
                    <a:pt x="416" y="838"/>
                    <a:pt x="416" y="838"/>
                  </a:cubicBezTo>
                  <a:cubicBezTo>
                    <a:pt x="417" y="838"/>
                    <a:pt x="417" y="838"/>
                    <a:pt x="417" y="838"/>
                  </a:cubicBezTo>
                  <a:cubicBezTo>
                    <a:pt x="417" y="838"/>
                    <a:pt x="417" y="838"/>
                    <a:pt x="417" y="838"/>
                  </a:cubicBezTo>
                  <a:cubicBezTo>
                    <a:pt x="417" y="837"/>
                    <a:pt x="417" y="837"/>
                    <a:pt x="417" y="837"/>
                  </a:cubicBezTo>
                  <a:cubicBezTo>
                    <a:pt x="418" y="836"/>
                    <a:pt x="418" y="836"/>
                    <a:pt x="418" y="836"/>
                  </a:cubicBezTo>
                  <a:cubicBezTo>
                    <a:pt x="418" y="835"/>
                    <a:pt x="418" y="835"/>
                    <a:pt x="418" y="835"/>
                  </a:cubicBezTo>
                  <a:cubicBezTo>
                    <a:pt x="418" y="835"/>
                    <a:pt x="418" y="835"/>
                    <a:pt x="418" y="835"/>
                  </a:cubicBezTo>
                  <a:close/>
                  <a:moveTo>
                    <a:pt x="418" y="834"/>
                  </a:moveTo>
                  <a:cubicBezTo>
                    <a:pt x="418" y="834"/>
                    <a:pt x="418" y="834"/>
                    <a:pt x="418" y="834"/>
                  </a:cubicBezTo>
                  <a:cubicBezTo>
                    <a:pt x="418" y="834"/>
                    <a:pt x="418" y="834"/>
                    <a:pt x="418" y="834"/>
                  </a:cubicBezTo>
                  <a:cubicBezTo>
                    <a:pt x="418" y="834"/>
                    <a:pt x="418" y="834"/>
                    <a:pt x="418" y="834"/>
                  </a:cubicBezTo>
                  <a:cubicBezTo>
                    <a:pt x="418" y="833"/>
                    <a:pt x="418" y="833"/>
                    <a:pt x="418" y="833"/>
                  </a:cubicBezTo>
                  <a:cubicBezTo>
                    <a:pt x="418" y="833"/>
                    <a:pt x="418" y="833"/>
                    <a:pt x="418" y="833"/>
                  </a:cubicBezTo>
                  <a:cubicBezTo>
                    <a:pt x="421" y="830"/>
                    <a:pt x="421" y="830"/>
                    <a:pt x="421" y="830"/>
                  </a:cubicBezTo>
                  <a:cubicBezTo>
                    <a:pt x="422" y="829"/>
                    <a:pt x="422" y="829"/>
                    <a:pt x="422" y="829"/>
                  </a:cubicBezTo>
                  <a:cubicBezTo>
                    <a:pt x="422" y="830"/>
                    <a:pt x="422" y="830"/>
                    <a:pt x="422" y="830"/>
                  </a:cubicBezTo>
                  <a:cubicBezTo>
                    <a:pt x="423" y="830"/>
                    <a:pt x="423" y="830"/>
                    <a:pt x="423" y="830"/>
                  </a:cubicBezTo>
                  <a:cubicBezTo>
                    <a:pt x="424" y="830"/>
                    <a:pt x="424" y="830"/>
                    <a:pt x="424" y="830"/>
                  </a:cubicBezTo>
                  <a:cubicBezTo>
                    <a:pt x="424" y="830"/>
                    <a:pt x="424" y="830"/>
                    <a:pt x="424" y="830"/>
                  </a:cubicBezTo>
                  <a:cubicBezTo>
                    <a:pt x="424" y="831"/>
                    <a:pt x="424" y="831"/>
                    <a:pt x="424" y="831"/>
                  </a:cubicBezTo>
                  <a:cubicBezTo>
                    <a:pt x="424" y="831"/>
                    <a:pt x="424" y="831"/>
                    <a:pt x="424" y="831"/>
                  </a:cubicBezTo>
                  <a:cubicBezTo>
                    <a:pt x="423" y="831"/>
                    <a:pt x="423" y="831"/>
                    <a:pt x="423" y="831"/>
                  </a:cubicBezTo>
                  <a:cubicBezTo>
                    <a:pt x="422" y="831"/>
                    <a:pt x="422" y="831"/>
                    <a:pt x="422" y="831"/>
                  </a:cubicBezTo>
                  <a:cubicBezTo>
                    <a:pt x="422" y="830"/>
                    <a:pt x="422" y="830"/>
                    <a:pt x="422" y="830"/>
                  </a:cubicBezTo>
                  <a:cubicBezTo>
                    <a:pt x="421" y="830"/>
                    <a:pt x="421" y="830"/>
                    <a:pt x="421" y="830"/>
                  </a:cubicBezTo>
                  <a:lnTo>
                    <a:pt x="418" y="834"/>
                  </a:lnTo>
                  <a:close/>
                  <a:moveTo>
                    <a:pt x="421" y="839"/>
                  </a:moveTo>
                  <a:cubicBezTo>
                    <a:pt x="421" y="839"/>
                    <a:pt x="421" y="839"/>
                    <a:pt x="421" y="839"/>
                  </a:cubicBezTo>
                  <a:cubicBezTo>
                    <a:pt x="421" y="840"/>
                    <a:pt x="421" y="840"/>
                    <a:pt x="421" y="840"/>
                  </a:cubicBezTo>
                  <a:cubicBezTo>
                    <a:pt x="423" y="840"/>
                    <a:pt x="423" y="840"/>
                    <a:pt x="423" y="840"/>
                  </a:cubicBezTo>
                  <a:cubicBezTo>
                    <a:pt x="423" y="841"/>
                    <a:pt x="423" y="841"/>
                    <a:pt x="423" y="841"/>
                  </a:cubicBezTo>
                  <a:cubicBezTo>
                    <a:pt x="423" y="841"/>
                    <a:pt x="423" y="841"/>
                    <a:pt x="423" y="841"/>
                  </a:cubicBezTo>
                  <a:cubicBezTo>
                    <a:pt x="423" y="841"/>
                    <a:pt x="423" y="841"/>
                    <a:pt x="423" y="841"/>
                  </a:cubicBezTo>
                  <a:cubicBezTo>
                    <a:pt x="421" y="840"/>
                    <a:pt x="421" y="840"/>
                    <a:pt x="421" y="840"/>
                  </a:cubicBezTo>
                  <a:lnTo>
                    <a:pt x="421" y="839"/>
                  </a:lnTo>
                  <a:close/>
                  <a:moveTo>
                    <a:pt x="423" y="844"/>
                  </a:moveTo>
                  <a:cubicBezTo>
                    <a:pt x="423" y="844"/>
                    <a:pt x="423" y="844"/>
                    <a:pt x="423" y="844"/>
                  </a:cubicBezTo>
                  <a:cubicBezTo>
                    <a:pt x="423" y="844"/>
                    <a:pt x="423" y="844"/>
                    <a:pt x="423" y="844"/>
                  </a:cubicBezTo>
                  <a:cubicBezTo>
                    <a:pt x="423" y="845"/>
                    <a:pt x="423" y="845"/>
                    <a:pt x="423" y="845"/>
                  </a:cubicBezTo>
                  <a:cubicBezTo>
                    <a:pt x="423" y="845"/>
                    <a:pt x="423" y="845"/>
                    <a:pt x="423" y="845"/>
                  </a:cubicBezTo>
                  <a:cubicBezTo>
                    <a:pt x="423" y="845"/>
                    <a:pt x="423" y="845"/>
                    <a:pt x="423" y="845"/>
                  </a:cubicBezTo>
                  <a:cubicBezTo>
                    <a:pt x="423" y="844"/>
                    <a:pt x="423" y="844"/>
                    <a:pt x="423" y="844"/>
                  </a:cubicBezTo>
                  <a:close/>
                  <a:moveTo>
                    <a:pt x="435" y="852"/>
                  </a:moveTo>
                  <a:cubicBezTo>
                    <a:pt x="435" y="852"/>
                    <a:pt x="435" y="852"/>
                    <a:pt x="435" y="852"/>
                  </a:cubicBezTo>
                  <a:cubicBezTo>
                    <a:pt x="433" y="852"/>
                    <a:pt x="433" y="852"/>
                    <a:pt x="433" y="852"/>
                  </a:cubicBezTo>
                  <a:cubicBezTo>
                    <a:pt x="433" y="852"/>
                    <a:pt x="433" y="852"/>
                    <a:pt x="433" y="852"/>
                  </a:cubicBezTo>
                  <a:cubicBezTo>
                    <a:pt x="432" y="851"/>
                    <a:pt x="432" y="851"/>
                    <a:pt x="432" y="851"/>
                  </a:cubicBezTo>
                  <a:cubicBezTo>
                    <a:pt x="432" y="851"/>
                    <a:pt x="432" y="851"/>
                    <a:pt x="432" y="851"/>
                  </a:cubicBezTo>
                  <a:cubicBezTo>
                    <a:pt x="430" y="849"/>
                    <a:pt x="430" y="849"/>
                    <a:pt x="430" y="849"/>
                  </a:cubicBezTo>
                  <a:cubicBezTo>
                    <a:pt x="430" y="849"/>
                    <a:pt x="430" y="849"/>
                    <a:pt x="430" y="849"/>
                  </a:cubicBezTo>
                  <a:cubicBezTo>
                    <a:pt x="429" y="849"/>
                    <a:pt x="429" y="849"/>
                    <a:pt x="429" y="849"/>
                  </a:cubicBezTo>
                  <a:cubicBezTo>
                    <a:pt x="428" y="848"/>
                    <a:pt x="428" y="848"/>
                    <a:pt x="428" y="848"/>
                  </a:cubicBezTo>
                  <a:cubicBezTo>
                    <a:pt x="427" y="847"/>
                    <a:pt x="427" y="847"/>
                    <a:pt x="427" y="847"/>
                  </a:cubicBezTo>
                  <a:cubicBezTo>
                    <a:pt x="427" y="847"/>
                    <a:pt x="427" y="847"/>
                    <a:pt x="427" y="847"/>
                  </a:cubicBezTo>
                  <a:cubicBezTo>
                    <a:pt x="427" y="847"/>
                    <a:pt x="427" y="847"/>
                    <a:pt x="427" y="847"/>
                  </a:cubicBezTo>
                  <a:cubicBezTo>
                    <a:pt x="426" y="847"/>
                    <a:pt x="426" y="847"/>
                    <a:pt x="426" y="847"/>
                  </a:cubicBezTo>
                  <a:cubicBezTo>
                    <a:pt x="425" y="847"/>
                    <a:pt x="425" y="847"/>
                    <a:pt x="425" y="847"/>
                  </a:cubicBezTo>
                  <a:cubicBezTo>
                    <a:pt x="424" y="847"/>
                    <a:pt x="424" y="847"/>
                    <a:pt x="424" y="847"/>
                  </a:cubicBezTo>
                  <a:cubicBezTo>
                    <a:pt x="423" y="847"/>
                    <a:pt x="423" y="847"/>
                    <a:pt x="423" y="847"/>
                  </a:cubicBezTo>
                  <a:cubicBezTo>
                    <a:pt x="423" y="847"/>
                    <a:pt x="423" y="847"/>
                    <a:pt x="423" y="847"/>
                  </a:cubicBezTo>
                  <a:cubicBezTo>
                    <a:pt x="423" y="847"/>
                    <a:pt x="423" y="847"/>
                    <a:pt x="423" y="847"/>
                  </a:cubicBezTo>
                  <a:cubicBezTo>
                    <a:pt x="423" y="847"/>
                    <a:pt x="423" y="847"/>
                    <a:pt x="423" y="847"/>
                  </a:cubicBezTo>
                  <a:cubicBezTo>
                    <a:pt x="424" y="847"/>
                    <a:pt x="424" y="847"/>
                    <a:pt x="424" y="847"/>
                  </a:cubicBezTo>
                  <a:cubicBezTo>
                    <a:pt x="425" y="847"/>
                    <a:pt x="425" y="847"/>
                    <a:pt x="425" y="847"/>
                  </a:cubicBezTo>
                  <a:cubicBezTo>
                    <a:pt x="426" y="847"/>
                    <a:pt x="426" y="847"/>
                    <a:pt x="426" y="847"/>
                  </a:cubicBezTo>
                  <a:cubicBezTo>
                    <a:pt x="427" y="847"/>
                    <a:pt x="427" y="847"/>
                    <a:pt x="427" y="847"/>
                  </a:cubicBezTo>
                  <a:cubicBezTo>
                    <a:pt x="427" y="847"/>
                    <a:pt x="427" y="847"/>
                    <a:pt x="427" y="847"/>
                  </a:cubicBezTo>
                  <a:cubicBezTo>
                    <a:pt x="427" y="847"/>
                    <a:pt x="427" y="847"/>
                    <a:pt x="427" y="847"/>
                  </a:cubicBezTo>
                  <a:cubicBezTo>
                    <a:pt x="428" y="848"/>
                    <a:pt x="428" y="848"/>
                    <a:pt x="428" y="848"/>
                  </a:cubicBezTo>
                  <a:cubicBezTo>
                    <a:pt x="429" y="848"/>
                    <a:pt x="429" y="848"/>
                    <a:pt x="429" y="848"/>
                  </a:cubicBezTo>
                  <a:cubicBezTo>
                    <a:pt x="430" y="849"/>
                    <a:pt x="430" y="849"/>
                    <a:pt x="430" y="849"/>
                  </a:cubicBezTo>
                  <a:cubicBezTo>
                    <a:pt x="430" y="849"/>
                    <a:pt x="430" y="849"/>
                    <a:pt x="430" y="849"/>
                  </a:cubicBezTo>
                  <a:cubicBezTo>
                    <a:pt x="432" y="851"/>
                    <a:pt x="432" y="851"/>
                    <a:pt x="432" y="851"/>
                  </a:cubicBezTo>
                  <a:cubicBezTo>
                    <a:pt x="432" y="851"/>
                    <a:pt x="432" y="851"/>
                    <a:pt x="432" y="851"/>
                  </a:cubicBezTo>
                  <a:cubicBezTo>
                    <a:pt x="433" y="852"/>
                    <a:pt x="433" y="852"/>
                    <a:pt x="433" y="852"/>
                  </a:cubicBezTo>
                  <a:cubicBezTo>
                    <a:pt x="433" y="852"/>
                    <a:pt x="433" y="852"/>
                    <a:pt x="433" y="852"/>
                  </a:cubicBezTo>
                  <a:cubicBezTo>
                    <a:pt x="435" y="852"/>
                    <a:pt x="435" y="852"/>
                    <a:pt x="435" y="852"/>
                  </a:cubicBezTo>
                  <a:cubicBezTo>
                    <a:pt x="435" y="852"/>
                    <a:pt x="435" y="852"/>
                    <a:pt x="435" y="852"/>
                  </a:cubicBezTo>
                  <a:cubicBezTo>
                    <a:pt x="436" y="852"/>
                    <a:pt x="436" y="852"/>
                    <a:pt x="436" y="852"/>
                  </a:cubicBezTo>
                  <a:cubicBezTo>
                    <a:pt x="437" y="853"/>
                    <a:pt x="437" y="853"/>
                    <a:pt x="437" y="853"/>
                  </a:cubicBezTo>
                  <a:cubicBezTo>
                    <a:pt x="437" y="854"/>
                    <a:pt x="437" y="854"/>
                    <a:pt x="437" y="854"/>
                  </a:cubicBezTo>
                  <a:cubicBezTo>
                    <a:pt x="437" y="854"/>
                    <a:pt x="437" y="854"/>
                    <a:pt x="437" y="854"/>
                  </a:cubicBezTo>
                  <a:cubicBezTo>
                    <a:pt x="437" y="853"/>
                    <a:pt x="437" y="853"/>
                    <a:pt x="437" y="853"/>
                  </a:cubicBezTo>
                  <a:cubicBezTo>
                    <a:pt x="436" y="852"/>
                    <a:pt x="436" y="852"/>
                    <a:pt x="436" y="852"/>
                  </a:cubicBezTo>
                  <a:lnTo>
                    <a:pt x="435" y="852"/>
                  </a:lnTo>
                  <a:close/>
                  <a:moveTo>
                    <a:pt x="441" y="860"/>
                  </a:moveTo>
                  <a:cubicBezTo>
                    <a:pt x="441" y="860"/>
                    <a:pt x="441" y="860"/>
                    <a:pt x="441" y="860"/>
                  </a:cubicBezTo>
                  <a:cubicBezTo>
                    <a:pt x="441" y="860"/>
                    <a:pt x="441" y="860"/>
                    <a:pt x="441" y="860"/>
                  </a:cubicBezTo>
                  <a:cubicBezTo>
                    <a:pt x="441" y="859"/>
                    <a:pt x="441" y="859"/>
                    <a:pt x="441" y="859"/>
                  </a:cubicBezTo>
                  <a:cubicBezTo>
                    <a:pt x="441" y="859"/>
                    <a:pt x="441" y="859"/>
                    <a:pt x="441" y="859"/>
                  </a:cubicBezTo>
                  <a:cubicBezTo>
                    <a:pt x="441" y="858"/>
                    <a:pt x="441" y="858"/>
                    <a:pt x="441" y="858"/>
                  </a:cubicBezTo>
                  <a:cubicBezTo>
                    <a:pt x="440" y="856"/>
                    <a:pt x="440" y="856"/>
                    <a:pt x="440" y="856"/>
                  </a:cubicBezTo>
                  <a:cubicBezTo>
                    <a:pt x="439" y="856"/>
                    <a:pt x="439" y="856"/>
                    <a:pt x="439" y="856"/>
                  </a:cubicBezTo>
                  <a:cubicBezTo>
                    <a:pt x="439" y="855"/>
                    <a:pt x="439" y="855"/>
                    <a:pt x="439" y="855"/>
                  </a:cubicBezTo>
                  <a:cubicBezTo>
                    <a:pt x="438" y="855"/>
                    <a:pt x="438" y="855"/>
                    <a:pt x="438" y="855"/>
                  </a:cubicBezTo>
                  <a:cubicBezTo>
                    <a:pt x="438" y="855"/>
                    <a:pt x="438" y="855"/>
                    <a:pt x="438" y="855"/>
                  </a:cubicBezTo>
                  <a:cubicBezTo>
                    <a:pt x="438" y="855"/>
                    <a:pt x="438" y="855"/>
                    <a:pt x="438" y="855"/>
                  </a:cubicBezTo>
                  <a:cubicBezTo>
                    <a:pt x="437" y="855"/>
                    <a:pt x="437" y="855"/>
                    <a:pt x="437" y="855"/>
                  </a:cubicBezTo>
                  <a:cubicBezTo>
                    <a:pt x="437" y="855"/>
                    <a:pt x="437" y="855"/>
                    <a:pt x="437" y="855"/>
                  </a:cubicBezTo>
                  <a:cubicBezTo>
                    <a:pt x="437" y="855"/>
                    <a:pt x="437" y="855"/>
                    <a:pt x="437" y="855"/>
                  </a:cubicBezTo>
                  <a:cubicBezTo>
                    <a:pt x="437" y="855"/>
                    <a:pt x="437" y="855"/>
                    <a:pt x="437" y="855"/>
                  </a:cubicBezTo>
                  <a:cubicBezTo>
                    <a:pt x="436" y="855"/>
                    <a:pt x="436" y="855"/>
                    <a:pt x="436" y="855"/>
                  </a:cubicBezTo>
                  <a:cubicBezTo>
                    <a:pt x="436" y="855"/>
                    <a:pt x="436" y="855"/>
                    <a:pt x="436" y="855"/>
                  </a:cubicBezTo>
                  <a:cubicBezTo>
                    <a:pt x="436" y="854"/>
                    <a:pt x="436" y="854"/>
                    <a:pt x="436" y="854"/>
                  </a:cubicBezTo>
                  <a:cubicBezTo>
                    <a:pt x="436" y="854"/>
                    <a:pt x="436" y="854"/>
                    <a:pt x="436" y="854"/>
                  </a:cubicBezTo>
                  <a:cubicBezTo>
                    <a:pt x="436" y="855"/>
                    <a:pt x="436" y="855"/>
                    <a:pt x="436" y="855"/>
                  </a:cubicBezTo>
                  <a:cubicBezTo>
                    <a:pt x="436" y="855"/>
                    <a:pt x="436" y="855"/>
                    <a:pt x="436" y="855"/>
                  </a:cubicBezTo>
                  <a:cubicBezTo>
                    <a:pt x="437" y="855"/>
                    <a:pt x="437" y="855"/>
                    <a:pt x="437" y="855"/>
                  </a:cubicBezTo>
                  <a:cubicBezTo>
                    <a:pt x="437" y="855"/>
                    <a:pt x="437" y="855"/>
                    <a:pt x="437" y="855"/>
                  </a:cubicBezTo>
                  <a:cubicBezTo>
                    <a:pt x="437" y="855"/>
                    <a:pt x="437" y="855"/>
                    <a:pt x="437" y="855"/>
                  </a:cubicBezTo>
                  <a:cubicBezTo>
                    <a:pt x="437" y="855"/>
                    <a:pt x="437" y="855"/>
                    <a:pt x="437" y="855"/>
                  </a:cubicBezTo>
                  <a:cubicBezTo>
                    <a:pt x="438" y="855"/>
                    <a:pt x="438" y="855"/>
                    <a:pt x="438" y="855"/>
                  </a:cubicBezTo>
                  <a:cubicBezTo>
                    <a:pt x="438" y="855"/>
                    <a:pt x="438" y="855"/>
                    <a:pt x="438" y="855"/>
                  </a:cubicBezTo>
                  <a:cubicBezTo>
                    <a:pt x="438" y="855"/>
                    <a:pt x="438" y="855"/>
                    <a:pt x="438" y="855"/>
                  </a:cubicBezTo>
                  <a:cubicBezTo>
                    <a:pt x="439" y="855"/>
                    <a:pt x="439" y="855"/>
                    <a:pt x="439" y="855"/>
                  </a:cubicBezTo>
                  <a:cubicBezTo>
                    <a:pt x="439" y="855"/>
                    <a:pt x="439" y="855"/>
                    <a:pt x="439" y="855"/>
                  </a:cubicBezTo>
                  <a:cubicBezTo>
                    <a:pt x="440" y="856"/>
                    <a:pt x="440" y="856"/>
                    <a:pt x="440" y="856"/>
                  </a:cubicBezTo>
                  <a:cubicBezTo>
                    <a:pt x="441" y="858"/>
                    <a:pt x="441" y="858"/>
                    <a:pt x="441" y="858"/>
                  </a:cubicBezTo>
                  <a:cubicBezTo>
                    <a:pt x="441" y="859"/>
                    <a:pt x="441" y="859"/>
                    <a:pt x="441" y="859"/>
                  </a:cubicBezTo>
                  <a:cubicBezTo>
                    <a:pt x="441" y="859"/>
                    <a:pt x="441" y="859"/>
                    <a:pt x="441" y="859"/>
                  </a:cubicBezTo>
                  <a:cubicBezTo>
                    <a:pt x="441" y="860"/>
                    <a:pt x="441" y="860"/>
                    <a:pt x="441" y="860"/>
                  </a:cubicBezTo>
                  <a:cubicBezTo>
                    <a:pt x="441" y="860"/>
                    <a:pt x="441" y="860"/>
                    <a:pt x="441" y="860"/>
                  </a:cubicBezTo>
                  <a:cubicBezTo>
                    <a:pt x="441" y="860"/>
                    <a:pt x="441" y="860"/>
                    <a:pt x="441" y="860"/>
                  </a:cubicBezTo>
                  <a:cubicBezTo>
                    <a:pt x="442" y="861"/>
                    <a:pt x="442" y="861"/>
                    <a:pt x="442" y="861"/>
                  </a:cubicBezTo>
                  <a:cubicBezTo>
                    <a:pt x="442" y="861"/>
                    <a:pt x="442" y="861"/>
                    <a:pt x="442" y="861"/>
                  </a:cubicBezTo>
                  <a:lnTo>
                    <a:pt x="441" y="860"/>
                  </a:lnTo>
                  <a:close/>
                  <a:moveTo>
                    <a:pt x="445" y="860"/>
                  </a:moveTo>
                  <a:cubicBezTo>
                    <a:pt x="445" y="860"/>
                    <a:pt x="445" y="860"/>
                    <a:pt x="445" y="860"/>
                  </a:cubicBezTo>
                  <a:cubicBezTo>
                    <a:pt x="444" y="859"/>
                    <a:pt x="444" y="859"/>
                    <a:pt x="444" y="859"/>
                  </a:cubicBezTo>
                  <a:cubicBezTo>
                    <a:pt x="443" y="860"/>
                    <a:pt x="443" y="860"/>
                    <a:pt x="443" y="860"/>
                  </a:cubicBezTo>
                  <a:cubicBezTo>
                    <a:pt x="443" y="860"/>
                    <a:pt x="443" y="860"/>
                    <a:pt x="443" y="860"/>
                  </a:cubicBezTo>
                  <a:cubicBezTo>
                    <a:pt x="444" y="859"/>
                    <a:pt x="444" y="859"/>
                    <a:pt x="444" y="859"/>
                  </a:cubicBezTo>
                  <a:cubicBezTo>
                    <a:pt x="445" y="860"/>
                    <a:pt x="445" y="860"/>
                    <a:pt x="445" y="860"/>
                  </a:cubicBezTo>
                  <a:cubicBezTo>
                    <a:pt x="445" y="860"/>
                    <a:pt x="445" y="860"/>
                    <a:pt x="445" y="860"/>
                  </a:cubicBezTo>
                  <a:cubicBezTo>
                    <a:pt x="446" y="860"/>
                    <a:pt x="446" y="860"/>
                    <a:pt x="446" y="860"/>
                  </a:cubicBezTo>
                  <a:cubicBezTo>
                    <a:pt x="446" y="860"/>
                    <a:pt x="446" y="860"/>
                    <a:pt x="446" y="860"/>
                  </a:cubicBezTo>
                  <a:lnTo>
                    <a:pt x="445" y="860"/>
                  </a:lnTo>
                  <a:close/>
                  <a:moveTo>
                    <a:pt x="448" y="859"/>
                  </a:moveTo>
                  <a:cubicBezTo>
                    <a:pt x="448" y="859"/>
                    <a:pt x="448" y="859"/>
                    <a:pt x="448" y="859"/>
                  </a:cubicBezTo>
                  <a:cubicBezTo>
                    <a:pt x="447" y="859"/>
                    <a:pt x="447" y="859"/>
                    <a:pt x="447" y="859"/>
                  </a:cubicBezTo>
                  <a:cubicBezTo>
                    <a:pt x="447" y="859"/>
                    <a:pt x="447" y="859"/>
                    <a:pt x="447" y="859"/>
                  </a:cubicBezTo>
                  <a:cubicBezTo>
                    <a:pt x="447" y="858"/>
                    <a:pt x="447" y="858"/>
                    <a:pt x="447" y="858"/>
                  </a:cubicBezTo>
                  <a:cubicBezTo>
                    <a:pt x="448" y="858"/>
                    <a:pt x="448" y="858"/>
                    <a:pt x="448" y="858"/>
                  </a:cubicBezTo>
                  <a:cubicBezTo>
                    <a:pt x="448" y="859"/>
                    <a:pt x="448" y="859"/>
                    <a:pt x="448" y="859"/>
                  </a:cubicBezTo>
                  <a:cubicBezTo>
                    <a:pt x="449" y="859"/>
                    <a:pt x="449" y="859"/>
                    <a:pt x="449" y="859"/>
                  </a:cubicBezTo>
                  <a:cubicBezTo>
                    <a:pt x="449" y="859"/>
                    <a:pt x="449" y="859"/>
                    <a:pt x="449" y="859"/>
                  </a:cubicBezTo>
                  <a:lnTo>
                    <a:pt x="448" y="859"/>
                  </a:lnTo>
                  <a:close/>
                  <a:moveTo>
                    <a:pt x="453" y="861"/>
                  </a:moveTo>
                  <a:cubicBezTo>
                    <a:pt x="453" y="860"/>
                    <a:pt x="453" y="860"/>
                    <a:pt x="453" y="860"/>
                  </a:cubicBezTo>
                  <a:cubicBezTo>
                    <a:pt x="452" y="860"/>
                    <a:pt x="452" y="860"/>
                    <a:pt x="452" y="860"/>
                  </a:cubicBezTo>
                  <a:cubicBezTo>
                    <a:pt x="451" y="859"/>
                    <a:pt x="451" y="859"/>
                    <a:pt x="451" y="859"/>
                  </a:cubicBezTo>
                  <a:cubicBezTo>
                    <a:pt x="451" y="859"/>
                    <a:pt x="451" y="859"/>
                    <a:pt x="451" y="859"/>
                  </a:cubicBezTo>
                  <a:cubicBezTo>
                    <a:pt x="450" y="858"/>
                    <a:pt x="450" y="858"/>
                    <a:pt x="450" y="858"/>
                  </a:cubicBezTo>
                  <a:cubicBezTo>
                    <a:pt x="450" y="858"/>
                    <a:pt x="450" y="858"/>
                    <a:pt x="450" y="858"/>
                  </a:cubicBezTo>
                  <a:cubicBezTo>
                    <a:pt x="450" y="858"/>
                    <a:pt x="450" y="858"/>
                    <a:pt x="450" y="858"/>
                  </a:cubicBezTo>
                  <a:cubicBezTo>
                    <a:pt x="451" y="858"/>
                    <a:pt x="451" y="858"/>
                    <a:pt x="451" y="858"/>
                  </a:cubicBezTo>
                  <a:cubicBezTo>
                    <a:pt x="451" y="859"/>
                    <a:pt x="451" y="859"/>
                    <a:pt x="451" y="859"/>
                  </a:cubicBezTo>
                  <a:cubicBezTo>
                    <a:pt x="451" y="859"/>
                    <a:pt x="451" y="859"/>
                    <a:pt x="451" y="859"/>
                  </a:cubicBezTo>
                  <a:cubicBezTo>
                    <a:pt x="452" y="858"/>
                    <a:pt x="452" y="858"/>
                    <a:pt x="452" y="858"/>
                  </a:cubicBezTo>
                  <a:cubicBezTo>
                    <a:pt x="452" y="858"/>
                    <a:pt x="452" y="858"/>
                    <a:pt x="452" y="858"/>
                  </a:cubicBezTo>
                  <a:cubicBezTo>
                    <a:pt x="453" y="858"/>
                    <a:pt x="453" y="858"/>
                    <a:pt x="453" y="858"/>
                  </a:cubicBezTo>
                  <a:cubicBezTo>
                    <a:pt x="455" y="859"/>
                    <a:pt x="455" y="859"/>
                    <a:pt x="455" y="859"/>
                  </a:cubicBezTo>
                  <a:cubicBezTo>
                    <a:pt x="455" y="860"/>
                    <a:pt x="455" y="860"/>
                    <a:pt x="455" y="860"/>
                  </a:cubicBezTo>
                  <a:cubicBezTo>
                    <a:pt x="456" y="861"/>
                    <a:pt x="456" y="861"/>
                    <a:pt x="456" y="861"/>
                  </a:cubicBezTo>
                  <a:cubicBezTo>
                    <a:pt x="456" y="861"/>
                    <a:pt x="456" y="861"/>
                    <a:pt x="456" y="861"/>
                  </a:cubicBezTo>
                  <a:cubicBezTo>
                    <a:pt x="459" y="860"/>
                    <a:pt x="459" y="860"/>
                    <a:pt x="459" y="860"/>
                  </a:cubicBezTo>
                  <a:cubicBezTo>
                    <a:pt x="459" y="860"/>
                    <a:pt x="459" y="860"/>
                    <a:pt x="459" y="860"/>
                  </a:cubicBezTo>
                  <a:cubicBezTo>
                    <a:pt x="460" y="860"/>
                    <a:pt x="460" y="860"/>
                    <a:pt x="460" y="860"/>
                  </a:cubicBezTo>
                  <a:cubicBezTo>
                    <a:pt x="460" y="860"/>
                    <a:pt x="460" y="860"/>
                    <a:pt x="460" y="860"/>
                  </a:cubicBezTo>
                  <a:cubicBezTo>
                    <a:pt x="460" y="860"/>
                    <a:pt x="460" y="860"/>
                    <a:pt x="460" y="860"/>
                  </a:cubicBezTo>
                  <a:cubicBezTo>
                    <a:pt x="460" y="859"/>
                    <a:pt x="460" y="859"/>
                    <a:pt x="460" y="859"/>
                  </a:cubicBezTo>
                  <a:cubicBezTo>
                    <a:pt x="460" y="859"/>
                    <a:pt x="460" y="859"/>
                    <a:pt x="460" y="859"/>
                  </a:cubicBezTo>
                  <a:cubicBezTo>
                    <a:pt x="460" y="859"/>
                    <a:pt x="460" y="859"/>
                    <a:pt x="460" y="859"/>
                  </a:cubicBezTo>
                  <a:cubicBezTo>
                    <a:pt x="461" y="859"/>
                    <a:pt x="461" y="859"/>
                    <a:pt x="461" y="859"/>
                  </a:cubicBezTo>
                  <a:cubicBezTo>
                    <a:pt x="461" y="858"/>
                    <a:pt x="461" y="858"/>
                    <a:pt x="461" y="858"/>
                  </a:cubicBezTo>
                  <a:cubicBezTo>
                    <a:pt x="463" y="858"/>
                    <a:pt x="463" y="858"/>
                    <a:pt x="463" y="858"/>
                  </a:cubicBezTo>
                  <a:cubicBezTo>
                    <a:pt x="464" y="858"/>
                    <a:pt x="464" y="858"/>
                    <a:pt x="464" y="858"/>
                  </a:cubicBezTo>
                  <a:cubicBezTo>
                    <a:pt x="465" y="859"/>
                    <a:pt x="465" y="859"/>
                    <a:pt x="465" y="859"/>
                  </a:cubicBezTo>
                  <a:cubicBezTo>
                    <a:pt x="466" y="860"/>
                    <a:pt x="466" y="860"/>
                    <a:pt x="466" y="860"/>
                  </a:cubicBezTo>
                  <a:cubicBezTo>
                    <a:pt x="466" y="860"/>
                    <a:pt x="466" y="860"/>
                    <a:pt x="466" y="860"/>
                  </a:cubicBezTo>
                  <a:cubicBezTo>
                    <a:pt x="466" y="861"/>
                    <a:pt x="466" y="861"/>
                    <a:pt x="466" y="861"/>
                  </a:cubicBezTo>
                  <a:cubicBezTo>
                    <a:pt x="466" y="862"/>
                    <a:pt x="466" y="862"/>
                    <a:pt x="466" y="862"/>
                  </a:cubicBezTo>
                  <a:cubicBezTo>
                    <a:pt x="467" y="862"/>
                    <a:pt x="467" y="862"/>
                    <a:pt x="467" y="862"/>
                  </a:cubicBezTo>
                  <a:cubicBezTo>
                    <a:pt x="467" y="862"/>
                    <a:pt x="467" y="862"/>
                    <a:pt x="467" y="862"/>
                  </a:cubicBezTo>
                  <a:cubicBezTo>
                    <a:pt x="467" y="861"/>
                    <a:pt x="467" y="861"/>
                    <a:pt x="467" y="861"/>
                  </a:cubicBezTo>
                  <a:cubicBezTo>
                    <a:pt x="468" y="861"/>
                    <a:pt x="468" y="861"/>
                    <a:pt x="468" y="861"/>
                  </a:cubicBezTo>
                  <a:cubicBezTo>
                    <a:pt x="468" y="861"/>
                    <a:pt x="468" y="861"/>
                    <a:pt x="468" y="861"/>
                  </a:cubicBezTo>
                  <a:cubicBezTo>
                    <a:pt x="471" y="863"/>
                    <a:pt x="471" y="863"/>
                    <a:pt x="471" y="863"/>
                  </a:cubicBezTo>
                  <a:cubicBezTo>
                    <a:pt x="471" y="863"/>
                    <a:pt x="471" y="863"/>
                    <a:pt x="471" y="863"/>
                  </a:cubicBezTo>
                  <a:cubicBezTo>
                    <a:pt x="470" y="862"/>
                    <a:pt x="470" y="862"/>
                    <a:pt x="470" y="862"/>
                  </a:cubicBezTo>
                  <a:cubicBezTo>
                    <a:pt x="469" y="862"/>
                    <a:pt x="469" y="862"/>
                    <a:pt x="469" y="862"/>
                  </a:cubicBezTo>
                  <a:cubicBezTo>
                    <a:pt x="469" y="862"/>
                    <a:pt x="469" y="862"/>
                    <a:pt x="469" y="862"/>
                  </a:cubicBezTo>
                  <a:cubicBezTo>
                    <a:pt x="469" y="862"/>
                    <a:pt x="469" y="862"/>
                    <a:pt x="469" y="862"/>
                  </a:cubicBezTo>
                  <a:cubicBezTo>
                    <a:pt x="468" y="862"/>
                    <a:pt x="468" y="862"/>
                    <a:pt x="468" y="862"/>
                  </a:cubicBezTo>
                  <a:cubicBezTo>
                    <a:pt x="468" y="862"/>
                    <a:pt x="468" y="862"/>
                    <a:pt x="468" y="862"/>
                  </a:cubicBezTo>
                  <a:cubicBezTo>
                    <a:pt x="467" y="862"/>
                    <a:pt x="467" y="862"/>
                    <a:pt x="467" y="862"/>
                  </a:cubicBezTo>
                  <a:cubicBezTo>
                    <a:pt x="466" y="862"/>
                    <a:pt x="466" y="862"/>
                    <a:pt x="466" y="862"/>
                  </a:cubicBezTo>
                  <a:cubicBezTo>
                    <a:pt x="465" y="861"/>
                    <a:pt x="465" y="861"/>
                    <a:pt x="465" y="861"/>
                  </a:cubicBezTo>
                  <a:cubicBezTo>
                    <a:pt x="464" y="861"/>
                    <a:pt x="464" y="861"/>
                    <a:pt x="464" y="861"/>
                  </a:cubicBezTo>
                  <a:cubicBezTo>
                    <a:pt x="463" y="860"/>
                    <a:pt x="463" y="860"/>
                    <a:pt x="463" y="860"/>
                  </a:cubicBezTo>
                  <a:cubicBezTo>
                    <a:pt x="462" y="861"/>
                    <a:pt x="462" y="861"/>
                    <a:pt x="462" y="861"/>
                  </a:cubicBezTo>
                  <a:cubicBezTo>
                    <a:pt x="462" y="861"/>
                    <a:pt x="462" y="861"/>
                    <a:pt x="462" y="861"/>
                  </a:cubicBezTo>
                  <a:cubicBezTo>
                    <a:pt x="461" y="861"/>
                    <a:pt x="461" y="861"/>
                    <a:pt x="461" y="861"/>
                  </a:cubicBezTo>
                  <a:cubicBezTo>
                    <a:pt x="461" y="861"/>
                    <a:pt x="461" y="861"/>
                    <a:pt x="461" y="861"/>
                  </a:cubicBezTo>
                  <a:cubicBezTo>
                    <a:pt x="461" y="862"/>
                    <a:pt x="461" y="862"/>
                    <a:pt x="461" y="862"/>
                  </a:cubicBezTo>
                  <a:cubicBezTo>
                    <a:pt x="461" y="862"/>
                    <a:pt x="461" y="862"/>
                    <a:pt x="461" y="862"/>
                  </a:cubicBezTo>
                  <a:cubicBezTo>
                    <a:pt x="461" y="862"/>
                    <a:pt x="461" y="862"/>
                    <a:pt x="461" y="862"/>
                  </a:cubicBezTo>
                  <a:cubicBezTo>
                    <a:pt x="460" y="862"/>
                    <a:pt x="460" y="862"/>
                    <a:pt x="460" y="862"/>
                  </a:cubicBezTo>
                  <a:cubicBezTo>
                    <a:pt x="460" y="863"/>
                    <a:pt x="460" y="863"/>
                    <a:pt x="460" y="863"/>
                  </a:cubicBezTo>
                  <a:cubicBezTo>
                    <a:pt x="459" y="863"/>
                    <a:pt x="459" y="863"/>
                    <a:pt x="459" y="863"/>
                  </a:cubicBezTo>
                  <a:cubicBezTo>
                    <a:pt x="457" y="863"/>
                    <a:pt x="457" y="863"/>
                    <a:pt x="457" y="863"/>
                  </a:cubicBezTo>
                  <a:cubicBezTo>
                    <a:pt x="456" y="863"/>
                    <a:pt x="456" y="863"/>
                    <a:pt x="456" y="863"/>
                  </a:cubicBezTo>
                  <a:cubicBezTo>
                    <a:pt x="456" y="862"/>
                    <a:pt x="456" y="862"/>
                    <a:pt x="456" y="862"/>
                  </a:cubicBezTo>
                  <a:cubicBezTo>
                    <a:pt x="456" y="861"/>
                    <a:pt x="456" y="861"/>
                    <a:pt x="456" y="861"/>
                  </a:cubicBezTo>
                  <a:lnTo>
                    <a:pt x="453" y="861"/>
                  </a:lnTo>
                  <a:close/>
                  <a:moveTo>
                    <a:pt x="465" y="1006"/>
                  </a:moveTo>
                  <a:cubicBezTo>
                    <a:pt x="463" y="1007"/>
                    <a:pt x="463" y="1007"/>
                    <a:pt x="463" y="1007"/>
                  </a:cubicBezTo>
                  <a:cubicBezTo>
                    <a:pt x="462" y="1009"/>
                    <a:pt x="462" y="1009"/>
                    <a:pt x="462" y="1009"/>
                  </a:cubicBezTo>
                  <a:cubicBezTo>
                    <a:pt x="461" y="1010"/>
                    <a:pt x="461" y="1010"/>
                    <a:pt x="461" y="1010"/>
                  </a:cubicBezTo>
                  <a:cubicBezTo>
                    <a:pt x="460" y="1009"/>
                    <a:pt x="460" y="1009"/>
                    <a:pt x="460" y="1009"/>
                  </a:cubicBezTo>
                  <a:cubicBezTo>
                    <a:pt x="459" y="1009"/>
                    <a:pt x="459" y="1009"/>
                    <a:pt x="459" y="1009"/>
                  </a:cubicBezTo>
                  <a:cubicBezTo>
                    <a:pt x="457" y="1009"/>
                    <a:pt x="457" y="1009"/>
                    <a:pt x="457" y="1009"/>
                  </a:cubicBezTo>
                  <a:cubicBezTo>
                    <a:pt x="456" y="1010"/>
                    <a:pt x="456" y="1010"/>
                    <a:pt x="456" y="1010"/>
                  </a:cubicBezTo>
                  <a:cubicBezTo>
                    <a:pt x="457" y="1009"/>
                    <a:pt x="457" y="1009"/>
                    <a:pt x="457" y="1009"/>
                  </a:cubicBezTo>
                  <a:cubicBezTo>
                    <a:pt x="457" y="1009"/>
                    <a:pt x="457" y="1009"/>
                    <a:pt x="457" y="1009"/>
                  </a:cubicBezTo>
                  <a:cubicBezTo>
                    <a:pt x="457" y="1009"/>
                    <a:pt x="457" y="1009"/>
                    <a:pt x="457" y="1009"/>
                  </a:cubicBezTo>
                  <a:cubicBezTo>
                    <a:pt x="459" y="1009"/>
                    <a:pt x="459" y="1009"/>
                    <a:pt x="459" y="1009"/>
                  </a:cubicBezTo>
                  <a:cubicBezTo>
                    <a:pt x="460" y="1009"/>
                    <a:pt x="460" y="1009"/>
                    <a:pt x="460" y="1009"/>
                  </a:cubicBezTo>
                  <a:cubicBezTo>
                    <a:pt x="461" y="1008"/>
                    <a:pt x="461" y="1008"/>
                    <a:pt x="461" y="1008"/>
                  </a:cubicBezTo>
                  <a:cubicBezTo>
                    <a:pt x="462" y="1007"/>
                    <a:pt x="462" y="1007"/>
                    <a:pt x="462" y="1007"/>
                  </a:cubicBezTo>
                  <a:cubicBezTo>
                    <a:pt x="464" y="1005"/>
                    <a:pt x="464" y="1005"/>
                    <a:pt x="464" y="1005"/>
                  </a:cubicBezTo>
                  <a:cubicBezTo>
                    <a:pt x="465" y="1005"/>
                    <a:pt x="465" y="1005"/>
                    <a:pt x="465" y="1005"/>
                  </a:cubicBezTo>
                  <a:cubicBezTo>
                    <a:pt x="465" y="1004"/>
                    <a:pt x="465" y="1004"/>
                    <a:pt x="465" y="1004"/>
                  </a:cubicBezTo>
                  <a:cubicBezTo>
                    <a:pt x="465" y="1004"/>
                    <a:pt x="465" y="1004"/>
                    <a:pt x="465" y="1004"/>
                  </a:cubicBezTo>
                  <a:cubicBezTo>
                    <a:pt x="465" y="1004"/>
                    <a:pt x="465" y="1004"/>
                    <a:pt x="465" y="1004"/>
                  </a:cubicBezTo>
                  <a:cubicBezTo>
                    <a:pt x="465" y="1004"/>
                    <a:pt x="465" y="1004"/>
                    <a:pt x="465" y="1004"/>
                  </a:cubicBezTo>
                  <a:cubicBezTo>
                    <a:pt x="466" y="1004"/>
                    <a:pt x="466" y="1004"/>
                    <a:pt x="466" y="1004"/>
                  </a:cubicBezTo>
                  <a:cubicBezTo>
                    <a:pt x="466" y="1004"/>
                    <a:pt x="466" y="1004"/>
                    <a:pt x="466" y="1004"/>
                  </a:cubicBezTo>
                  <a:cubicBezTo>
                    <a:pt x="466" y="1005"/>
                    <a:pt x="466" y="1005"/>
                    <a:pt x="466" y="1005"/>
                  </a:cubicBezTo>
                  <a:lnTo>
                    <a:pt x="465" y="1006"/>
                  </a:lnTo>
                  <a:close/>
                  <a:moveTo>
                    <a:pt x="474" y="996"/>
                  </a:moveTo>
                  <a:cubicBezTo>
                    <a:pt x="472" y="996"/>
                    <a:pt x="472" y="996"/>
                    <a:pt x="472" y="996"/>
                  </a:cubicBezTo>
                  <a:cubicBezTo>
                    <a:pt x="470" y="998"/>
                    <a:pt x="470" y="998"/>
                    <a:pt x="470" y="998"/>
                  </a:cubicBezTo>
                  <a:cubicBezTo>
                    <a:pt x="469" y="998"/>
                    <a:pt x="469" y="998"/>
                    <a:pt x="469" y="998"/>
                  </a:cubicBezTo>
                  <a:cubicBezTo>
                    <a:pt x="468" y="998"/>
                    <a:pt x="468" y="998"/>
                    <a:pt x="468" y="998"/>
                  </a:cubicBezTo>
                  <a:cubicBezTo>
                    <a:pt x="467" y="998"/>
                    <a:pt x="467" y="998"/>
                    <a:pt x="467" y="998"/>
                  </a:cubicBezTo>
                  <a:cubicBezTo>
                    <a:pt x="466" y="999"/>
                    <a:pt x="466" y="999"/>
                    <a:pt x="466" y="999"/>
                  </a:cubicBezTo>
                  <a:cubicBezTo>
                    <a:pt x="465" y="1001"/>
                    <a:pt x="465" y="1001"/>
                    <a:pt x="465" y="1001"/>
                  </a:cubicBezTo>
                  <a:cubicBezTo>
                    <a:pt x="464" y="1001"/>
                    <a:pt x="464" y="1001"/>
                    <a:pt x="464" y="1001"/>
                  </a:cubicBezTo>
                  <a:cubicBezTo>
                    <a:pt x="464" y="1002"/>
                    <a:pt x="464" y="1002"/>
                    <a:pt x="464" y="1002"/>
                  </a:cubicBezTo>
                  <a:cubicBezTo>
                    <a:pt x="464" y="1002"/>
                    <a:pt x="464" y="1002"/>
                    <a:pt x="464" y="1002"/>
                  </a:cubicBezTo>
                  <a:cubicBezTo>
                    <a:pt x="464" y="1003"/>
                    <a:pt x="464" y="1003"/>
                    <a:pt x="464" y="1003"/>
                  </a:cubicBezTo>
                  <a:cubicBezTo>
                    <a:pt x="464" y="1003"/>
                    <a:pt x="464" y="1003"/>
                    <a:pt x="464" y="1003"/>
                  </a:cubicBezTo>
                  <a:cubicBezTo>
                    <a:pt x="464" y="1003"/>
                    <a:pt x="464" y="1003"/>
                    <a:pt x="464" y="1003"/>
                  </a:cubicBezTo>
                  <a:cubicBezTo>
                    <a:pt x="464" y="1003"/>
                    <a:pt x="464" y="1003"/>
                    <a:pt x="464" y="1003"/>
                  </a:cubicBezTo>
                  <a:cubicBezTo>
                    <a:pt x="464" y="1004"/>
                    <a:pt x="464" y="1004"/>
                    <a:pt x="464" y="1004"/>
                  </a:cubicBezTo>
                  <a:cubicBezTo>
                    <a:pt x="464" y="1003"/>
                    <a:pt x="464" y="1003"/>
                    <a:pt x="464" y="1003"/>
                  </a:cubicBezTo>
                  <a:cubicBezTo>
                    <a:pt x="464" y="1003"/>
                    <a:pt x="464" y="1003"/>
                    <a:pt x="464" y="1003"/>
                  </a:cubicBezTo>
                  <a:cubicBezTo>
                    <a:pt x="463" y="1003"/>
                    <a:pt x="463" y="1003"/>
                    <a:pt x="463" y="1003"/>
                  </a:cubicBezTo>
                  <a:cubicBezTo>
                    <a:pt x="463" y="1002"/>
                    <a:pt x="463" y="1002"/>
                    <a:pt x="463" y="1002"/>
                  </a:cubicBezTo>
                  <a:cubicBezTo>
                    <a:pt x="463" y="1002"/>
                    <a:pt x="463" y="1002"/>
                    <a:pt x="463" y="1002"/>
                  </a:cubicBezTo>
                  <a:cubicBezTo>
                    <a:pt x="463" y="1001"/>
                    <a:pt x="463" y="1001"/>
                    <a:pt x="463" y="1001"/>
                  </a:cubicBezTo>
                  <a:cubicBezTo>
                    <a:pt x="463" y="1001"/>
                    <a:pt x="463" y="1001"/>
                    <a:pt x="463" y="1001"/>
                  </a:cubicBezTo>
                  <a:cubicBezTo>
                    <a:pt x="464" y="1000"/>
                    <a:pt x="464" y="1000"/>
                    <a:pt x="464" y="1000"/>
                  </a:cubicBezTo>
                  <a:cubicBezTo>
                    <a:pt x="464" y="999"/>
                    <a:pt x="464" y="999"/>
                    <a:pt x="464" y="999"/>
                  </a:cubicBezTo>
                  <a:cubicBezTo>
                    <a:pt x="465" y="998"/>
                    <a:pt x="465" y="998"/>
                    <a:pt x="465" y="998"/>
                  </a:cubicBezTo>
                  <a:cubicBezTo>
                    <a:pt x="466" y="997"/>
                    <a:pt x="466" y="997"/>
                    <a:pt x="466" y="997"/>
                  </a:cubicBezTo>
                  <a:cubicBezTo>
                    <a:pt x="467" y="997"/>
                    <a:pt x="467" y="997"/>
                    <a:pt x="467" y="997"/>
                  </a:cubicBezTo>
                  <a:cubicBezTo>
                    <a:pt x="468" y="997"/>
                    <a:pt x="468" y="997"/>
                    <a:pt x="468" y="997"/>
                  </a:cubicBezTo>
                  <a:cubicBezTo>
                    <a:pt x="471" y="995"/>
                    <a:pt x="471" y="995"/>
                    <a:pt x="471" y="995"/>
                  </a:cubicBezTo>
                  <a:cubicBezTo>
                    <a:pt x="473" y="995"/>
                    <a:pt x="473" y="995"/>
                    <a:pt x="473" y="995"/>
                  </a:cubicBezTo>
                  <a:cubicBezTo>
                    <a:pt x="475" y="995"/>
                    <a:pt x="475" y="995"/>
                    <a:pt x="475" y="995"/>
                  </a:cubicBezTo>
                  <a:cubicBezTo>
                    <a:pt x="479" y="996"/>
                    <a:pt x="479" y="996"/>
                    <a:pt x="479" y="996"/>
                  </a:cubicBezTo>
                  <a:cubicBezTo>
                    <a:pt x="480" y="996"/>
                    <a:pt x="480" y="996"/>
                    <a:pt x="480" y="996"/>
                  </a:cubicBezTo>
                  <a:cubicBezTo>
                    <a:pt x="480" y="997"/>
                    <a:pt x="480" y="997"/>
                    <a:pt x="480" y="997"/>
                  </a:cubicBezTo>
                  <a:cubicBezTo>
                    <a:pt x="476" y="996"/>
                    <a:pt x="476" y="996"/>
                    <a:pt x="476" y="996"/>
                  </a:cubicBezTo>
                  <a:lnTo>
                    <a:pt x="474" y="996"/>
                  </a:lnTo>
                  <a:close/>
                  <a:moveTo>
                    <a:pt x="481" y="1063"/>
                  </a:moveTo>
                  <a:cubicBezTo>
                    <a:pt x="480" y="1062"/>
                    <a:pt x="480" y="1062"/>
                    <a:pt x="480" y="1062"/>
                  </a:cubicBezTo>
                  <a:cubicBezTo>
                    <a:pt x="480" y="1061"/>
                    <a:pt x="480" y="1061"/>
                    <a:pt x="480" y="1061"/>
                  </a:cubicBezTo>
                  <a:cubicBezTo>
                    <a:pt x="480" y="1059"/>
                    <a:pt x="480" y="1059"/>
                    <a:pt x="480" y="1059"/>
                  </a:cubicBezTo>
                  <a:cubicBezTo>
                    <a:pt x="479" y="1057"/>
                    <a:pt x="479" y="1057"/>
                    <a:pt x="479" y="1057"/>
                  </a:cubicBezTo>
                  <a:cubicBezTo>
                    <a:pt x="479" y="1057"/>
                    <a:pt x="479" y="1057"/>
                    <a:pt x="479" y="1057"/>
                  </a:cubicBezTo>
                  <a:cubicBezTo>
                    <a:pt x="477" y="1057"/>
                    <a:pt x="477" y="1057"/>
                    <a:pt x="477" y="1057"/>
                  </a:cubicBezTo>
                  <a:cubicBezTo>
                    <a:pt x="477" y="1056"/>
                    <a:pt x="477" y="1056"/>
                    <a:pt x="477" y="1056"/>
                  </a:cubicBezTo>
                  <a:cubicBezTo>
                    <a:pt x="477" y="1056"/>
                    <a:pt x="477" y="1056"/>
                    <a:pt x="477" y="1056"/>
                  </a:cubicBezTo>
                  <a:cubicBezTo>
                    <a:pt x="477" y="1055"/>
                    <a:pt x="477" y="1055"/>
                    <a:pt x="477" y="1055"/>
                  </a:cubicBezTo>
                  <a:cubicBezTo>
                    <a:pt x="477" y="1055"/>
                    <a:pt x="477" y="1055"/>
                    <a:pt x="477" y="1055"/>
                  </a:cubicBezTo>
                  <a:cubicBezTo>
                    <a:pt x="477" y="1055"/>
                    <a:pt x="477" y="1055"/>
                    <a:pt x="477" y="1055"/>
                  </a:cubicBezTo>
                  <a:cubicBezTo>
                    <a:pt x="476" y="1054"/>
                    <a:pt x="476" y="1054"/>
                    <a:pt x="476" y="1054"/>
                  </a:cubicBezTo>
                  <a:cubicBezTo>
                    <a:pt x="476" y="1054"/>
                    <a:pt x="476" y="1054"/>
                    <a:pt x="476" y="1054"/>
                  </a:cubicBezTo>
                  <a:cubicBezTo>
                    <a:pt x="476" y="1053"/>
                    <a:pt x="476" y="1053"/>
                    <a:pt x="476" y="1053"/>
                  </a:cubicBezTo>
                  <a:cubicBezTo>
                    <a:pt x="477" y="1053"/>
                    <a:pt x="477" y="1053"/>
                    <a:pt x="477" y="1053"/>
                  </a:cubicBezTo>
                  <a:cubicBezTo>
                    <a:pt x="477" y="1052"/>
                    <a:pt x="477" y="1052"/>
                    <a:pt x="477" y="1052"/>
                  </a:cubicBezTo>
                  <a:cubicBezTo>
                    <a:pt x="477" y="1053"/>
                    <a:pt x="477" y="1053"/>
                    <a:pt x="477" y="1053"/>
                  </a:cubicBezTo>
                  <a:cubicBezTo>
                    <a:pt x="477" y="1053"/>
                    <a:pt x="477" y="1053"/>
                    <a:pt x="477" y="1053"/>
                  </a:cubicBezTo>
                  <a:cubicBezTo>
                    <a:pt x="477" y="1054"/>
                    <a:pt x="477" y="1054"/>
                    <a:pt x="477" y="1054"/>
                  </a:cubicBezTo>
                  <a:cubicBezTo>
                    <a:pt x="477" y="1054"/>
                    <a:pt x="477" y="1054"/>
                    <a:pt x="477" y="1054"/>
                  </a:cubicBezTo>
                  <a:cubicBezTo>
                    <a:pt x="478" y="1054"/>
                    <a:pt x="478" y="1054"/>
                    <a:pt x="478" y="1054"/>
                  </a:cubicBezTo>
                  <a:cubicBezTo>
                    <a:pt x="478" y="1055"/>
                    <a:pt x="478" y="1055"/>
                    <a:pt x="478" y="1055"/>
                  </a:cubicBezTo>
                  <a:cubicBezTo>
                    <a:pt x="479" y="1055"/>
                    <a:pt x="479" y="1055"/>
                    <a:pt x="479" y="1055"/>
                  </a:cubicBezTo>
                  <a:cubicBezTo>
                    <a:pt x="480" y="1055"/>
                    <a:pt x="480" y="1055"/>
                    <a:pt x="480" y="1055"/>
                  </a:cubicBezTo>
                  <a:cubicBezTo>
                    <a:pt x="480" y="1057"/>
                    <a:pt x="480" y="1057"/>
                    <a:pt x="480" y="1057"/>
                  </a:cubicBezTo>
                  <a:cubicBezTo>
                    <a:pt x="480" y="1059"/>
                    <a:pt x="480" y="1059"/>
                    <a:pt x="480" y="1059"/>
                  </a:cubicBezTo>
                  <a:cubicBezTo>
                    <a:pt x="480" y="1060"/>
                    <a:pt x="480" y="1060"/>
                    <a:pt x="480" y="1060"/>
                  </a:cubicBezTo>
                  <a:cubicBezTo>
                    <a:pt x="481" y="1061"/>
                    <a:pt x="481" y="1061"/>
                    <a:pt x="481" y="1061"/>
                  </a:cubicBezTo>
                  <a:cubicBezTo>
                    <a:pt x="483" y="1062"/>
                    <a:pt x="483" y="1062"/>
                    <a:pt x="483" y="1062"/>
                  </a:cubicBezTo>
                  <a:cubicBezTo>
                    <a:pt x="484" y="1062"/>
                    <a:pt x="484" y="1062"/>
                    <a:pt x="484" y="1062"/>
                  </a:cubicBezTo>
                  <a:cubicBezTo>
                    <a:pt x="485" y="1062"/>
                    <a:pt x="485" y="1062"/>
                    <a:pt x="485" y="1062"/>
                  </a:cubicBezTo>
                  <a:cubicBezTo>
                    <a:pt x="486" y="1062"/>
                    <a:pt x="486" y="1062"/>
                    <a:pt x="486" y="1062"/>
                  </a:cubicBezTo>
                  <a:cubicBezTo>
                    <a:pt x="487" y="1063"/>
                    <a:pt x="487" y="1063"/>
                    <a:pt x="487" y="1063"/>
                  </a:cubicBezTo>
                  <a:cubicBezTo>
                    <a:pt x="488" y="1063"/>
                    <a:pt x="488" y="1063"/>
                    <a:pt x="488" y="1063"/>
                  </a:cubicBezTo>
                  <a:cubicBezTo>
                    <a:pt x="488" y="1063"/>
                    <a:pt x="488" y="1063"/>
                    <a:pt x="488" y="1063"/>
                  </a:cubicBezTo>
                  <a:cubicBezTo>
                    <a:pt x="488" y="1064"/>
                    <a:pt x="488" y="1064"/>
                    <a:pt x="488" y="1064"/>
                  </a:cubicBezTo>
                  <a:cubicBezTo>
                    <a:pt x="488" y="1064"/>
                    <a:pt x="488" y="1064"/>
                    <a:pt x="488" y="1064"/>
                  </a:cubicBezTo>
                  <a:cubicBezTo>
                    <a:pt x="488" y="1064"/>
                    <a:pt x="488" y="1064"/>
                    <a:pt x="488" y="1064"/>
                  </a:cubicBezTo>
                  <a:cubicBezTo>
                    <a:pt x="488" y="1064"/>
                    <a:pt x="488" y="1064"/>
                    <a:pt x="488" y="1064"/>
                  </a:cubicBezTo>
                  <a:cubicBezTo>
                    <a:pt x="488" y="1065"/>
                    <a:pt x="488" y="1065"/>
                    <a:pt x="488" y="1065"/>
                  </a:cubicBezTo>
                  <a:cubicBezTo>
                    <a:pt x="488" y="1065"/>
                    <a:pt x="488" y="1065"/>
                    <a:pt x="488" y="1065"/>
                  </a:cubicBezTo>
                  <a:cubicBezTo>
                    <a:pt x="488" y="1066"/>
                    <a:pt x="488" y="1066"/>
                    <a:pt x="488" y="1066"/>
                  </a:cubicBezTo>
                  <a:cubicBezTo>
                    <a:pt x="488" y="1067"/>
                    <a:pt x="488" y="1067"/>
                    <a:pt x="488" y="1067"/>
                  </a:cubicBezTo>
                  <a:cubicBezTo>
                    <a:pt x="489" y="1067"/>
                    <a:pt x="489" y="1067"/>
                    <a:pt x="489" y="1067"/>
                  </a:cubicBezTo>
                  <a:cubicBezTo>
                    <a:pt x="490" y="1069"/>
                    <a:pt x="490" y="1069"/>
                    <a:pt x="490" y="1069"/>
                  </a:cubicBezTo>
                  <a:cubicBezTo>
                    <a:pt x="490" y="1069"/>
                    <a:pt x="490" y="1069"/>
                    <a:pt x="490" y="1069"/>
                  </a:cubicBezTo>
                  <a:cubicBezTo>
                    <a:pt x="489" y="1069"/>
                    <a:pt x="489" y="1069"/>
                    <a:pt x="489" y="1069"/>
                  </a:cubicBezTo>
                  <a:cubicBezTo>
                    <a:pt x="488" y="1069"/>
                    <a:pt x="488" y="1069"/>
                    <a:pt x="488" y="1069"/>
                  </a:cubicBezTo>
                  <a:cubicBezTo>
                    <a:pt x="488" y="1069"/>
                    <a:pt x="488" y="1069"/>
                    <a:pt x="488" y="1069"/>
                  </a:cubicBezTo>
                  <a:cubicBezTo>
                    <a:pt x="488" y="1069"/>
                    <a:pt x="488" y="1069"/>
                    <a:pt x="488" y="1069"/>
                  </a:cubicBezTo>
                  <a:cubicBezTo>
                    <a:pt x="488" y="1067"/>
                    <a:pt x="488" y="1067"/>
                    <a:pt x="488" y="1067"/>
                  </a:cubicBezTo>
                  <a:cubicBezTo>
                    <a:pt x="488" y="1067"/>
                    <a:pt x="488" y="1067"/>
                    <a:pt x="488" y="1067"/>
                  </a:cubicBezTo>
                  <a:cubicBezTo>
                    <a:pt x="488" y="1067"/>
                    <a:pt x="488" y="1067"/>
                    <a:pt x="488" y="1067"/>
                  </a:cubicBezTo>
                  <a:cubicBezTo>
                    <a:pt x="488" y="1066"/>
                    <a:pt x="488" y="1066"/>
                    <a:pt x="488" y="1066"/>
                  </a:cubicBezTo>
                  <a:cubicBezTo>
                    <a:pt x="488" y="1066"/>
                    <a:pt x="488" y="1066"/>
                    <a:pt x="488" y="1066"/>
                  </a:cubicBezTo>
                  <a:cubicBezTo>
                    <a:pt x="488" y="1066"/>
                    <a:pt x="488" y="1066"/>
                    <a:pt x="488" y="1066"/>
                  </a:cubicBezTo>
                  <a:cubicBezTo>
                    <a:pt x="488" y="1065"/>
                    <a:pt x="488" y="1065"/>
                    <a:pt x="488" y="1065"/>
                  </a:cubicBezTo>
                  <a:cubicBezTo>
                    <a:pt x="488" y="1065"/>
                    <a:pt x="488" y="1065"/>
                    <a:pt x="488" y="1065"/>
                  </a:cubicBezTo>
                  <a:cubicBezTo>
                    <a:pt x="488" y="1065"/>
                    <a:pt x="488" y="1065"/>
                    <a:pt x="488" y="1065"/>
                  </a:cubicBezTo>
                  <a:cubicBezTo>
                    <a:pt x="487" y="1064"/>
                    <a:pt x="487" y="1064"/>
                    <a:pt x="487" y="1064"/>
                  </a:cubicBezTo>
                  <a:cubicBezTo>
                    <a:pt x="486" y="1064"/>
                    <a:pt x="486" y="1064"/>
                    <a:pt x="486" y="1064"/>
                  </a:cubicBezTo>
                  <a:cubicBezTo>
                    <a:pt x="485" y="1064"/>
                    <a:pt x="485" y="1064"/>
                    <a:pt x="485" y="1064"/>
                  </a:cubicBezTo>
                  <a:cubicBezTo>
                    <a:pt x="484" y="1064"/>
                    <a:pt x="484" y="1064"/>
                    <a:pt x="484" y="1064"/>
                  </a:cubicBezTo>
                  <a:cubicBezTo>
                    <a:pt x="483" y="1064"/>
                    <a:pt x="483" y="1064"/>
                    <a:pt x="483" y="1064"/>
                  </a:cubicBezTo>
                  <a:lnTo>
                    <a:pt x="481" y="1063"/>
                  </a:lnTo>
                  <a:close/>
                  <a:moveTo>
                    <a:pt x="486" y="1072"/>
                  </a:moveTo>
                  <a:cubicBezTo>
                    <a:pt x="486" y="1072"/>
                    <a:pt x="486" y="1072"/>
                    <a:pt x="486" y="1072"/>
                  </a:cubicBezTo>
                  <a:cubicBezTo>
                    <a:pt x="486" y="1073"/>
                    <a:pt x="486" y="1073"/>
                    <a:pt x="486" y="1073"/>
                  </a:cubicBezTo>
                  <a:cubicBezTo>
                    <a:pt x="486" y="1072"/>
                    <a:pt x="486" y="1072"/>
                    <a:pt x="486" y="1072"/>
                  </a:cubicBezTo>
                  <a:cubicBezTo>
                    <a:pt x="486" y="1071"/>
                    <a:pt x="486" y="1071"/>
                    <a:pt x="486" y="1071"/>
                  </a:cubicBezTo>
                  <a:lnTo>
                    <a:pt x="486" y="1072"/>
                  </a:lnTo>
                  <a:close/>
                  <a:moveTo>
                    <a:pt x="484" y="1080"/>
                  </a:moveTo>
                  <a:cubicBezTo>
                    <a:pt x="483" y="1079"/>
                    <a:pt x="483" y="1079"/>
                    <a:pt x="483" y="1079"/>
                  </a:cubicBezTo>
                  <a:cubicBezTo>
                    <a:pt x="483" y="1077"/>
                    <a:pt x="483" y="1077"/>
                    <a:pt x="483" y="1077"/>
                  </a:cubicBezTo>
                  <a:cubicBezTo>
                    <a:pt x="483" y="1077"/>
                    <a:pt x="483" y="1077"/>
                    <a:pt x="483" y="1077"/>
                  </a:cubicBezTo>
                  <a:cubicBezTo>
                    <a:pt x="483" y="1077"/>
                    <a:pt x="483" y="1077"/>
                    <a:pt x="483" y="1077"/>
                  </a:cubicBezTo>
                  <a:cubicBezTo>
                    <a:pt x="483" y="1077"/>
                    <a:pt x="483" y="1077"/>
                    <a:pt x="483" y="1077"/>
                  </a:cubicBezTo>
                  <a:cubicBezTo>
                    <a:pt x="484" y="1078"/>
                    <a:pt x="484" y="1078"/>
                    <a:pt x="484" y="1078"/>
                  </a:cubicBezTo>
                  <a:cubicBezTo>
                    <a:pt x="485" y="1079"/>
                    <a:pt x="485" y="1079"/>
                    <a:pt x="485" y="1079"/>
                  </a:cubicBezTo>
                  <a:cubicBezTo>
                    <a:pt x="486" y="1080"/>
                    <a:pt x="486" y="1080"/>
                    <a:pt x="486" y="1080"/>
                  </a:cubicBezTo>
                  <a:cubicBezTo>
                    <a:pt x="484" y="1080"/>
                    <a:pt x="484" y="1080"/>
                    <a:pt x="484" y="1080"/>
                  </a:cubicBezTo>
                  <a:cubicBezTo>
                    <a:pt x="484" y="1081"/>
                    <a:pt x="484" y="1081"/>
                    <a:pt x="484" y="1081"/>
                  </a:cubicBezTo>
                  <a:lnTo>
                    <a:pt x="484" y="1080"/>
                  </a:lnTo>
                  <a:close/>
                  <a:moveTo>
                    <a:pt x="499" y="1095"/>
                  </a:moveTo>
                  <a:cubicBezTo>
                    <a:pt x="498" y="1095"/>
                    <a:pt x="498" y="1095"/>
                    <a:pt x="498" y="1095"/>
                  </a:cubicBezTo>
                  <a:cubicBezTo>
                    <a:pt x="498" y="1095"/>
                    <a:pt x="498" y="1095"/>
                    <a:pt x="498" y="1095"/>
                  </a:cubicBezTo>
                  <a:cubicBezTo>
                    <a:pt x="497" y="1094"/>
                    <a:pt x="497" y="1094"/>
                    <a:pt x="497" y="1094"/>
                  </a:cubicBezTo>
                  <a:cubicBezTo>
                    <a:pt x="497" y="1094"/>
                    <a:pt x="497" y="1094"/>
                    <a:pt x="497" y="1094"/>
                  </a:cubicBezTo>
                  <a:cubicBezTo>
                    <a:pt x="497" y="1094"/>
                    <a:pt x="497" y="1094"/>
                    <a:pt x="497" y="1094"/>
                  </a:cubicBezTo>
                  <a:cubicBezTo>
                    <a:pt x="497" y="1093"/>
                    <a:pt x="497" y="1093"/>
                    <a:pt x="497" y="1093"/>
                  </a:cubicBezTo>
                  <a:cubicBezTo>
                    <a:pt x="496" y="1093"/>
                    <a:pt x="496" y="1093"/>
                    <a:pt x="496" y="1093"/>
                  </a:cubicBezTo>
                  <a:cubicBezTo>
                    <a:pt x="495" y="1093"/>
                    <a:pt x="495" y="1093"/>
                    <a:pt x="495" y="1093"/>
                  </a:cubicBezTo>
                  <a:cubicBezTo>
                    <a:pt x="492" y="1091"/>
                    <a:pt x="492" y="1091"/>
                    <a:pt x="492" y="1091"/>
                  </a:cubicBezTo>
                  <a:cubicBezTo>
                    <a:pt x="491" y="1091"/>
                    <a:pt x="491" y="1091"/>
                    <a:pt x="491" y="1091"/>
                  </a:cubicBezTo>
                  <a:cubicBezTo>
                    <a:pt x="489" y="1090"/>
                    <a:pt x="489" y="1090"/>
                    <a:pt x="489" y="1090"/>
                  </a:cubicBezTo>
                  <a:cubicBezTo>
                    <a:pt x="489" y="1089"/>
                    <a:pt x="489" y="1089"/>
                    <a:pt x="489" y="1089"/>
                  </a:cubicBezTo>
                  <a:cubicBezTo>
                    <a:pt x="488" y="1090"/>
                    <a:pt x="488" y="1090"/>
                    <a:pt x="488" y="1090"/>
                  </a:cubicBezTo>
                  <a:cubicBezTo>
                    <a:pt x="488" y="1090"/>
                    <a:pt x="488" y="1090"/>
                    <a:pt x="488" y="1090"/>
                  </a:cubicBezTo>
                  <a:cubicBezTo>
                    <a:pt x="488" y="1090"/>
                    <a:pt x="488" y="1090"/>
                    <a:pt x="488" y="1090"/>
                  </a:cubicBezTo>
                  <a:cubicBezTo>
                    <a:pt x="487" y="1090"/>
                    <a:pt x="487" y="1090"/>
                    <a:pt x="487" y="1090"/>
                  </a:cubicBezTo>
                  <a:cubicBezTo>
                    <a:pt x="487" y="1089"/>
                    <a:pt x="487" y="1089"/>
                    <a:pt x="487" y="1089"/>
                  </a:cubicBezTo>
                  <a:cubicBezTo>
                    <a:pt x="487" y="1089"/>
                    <a:pt x="487" y="1089"/>
                    <a:pt x="487" y="1089"/>
                  </a:cubicBezTo>
                  <a:cubicBezTo>
                    <a:pt x="487" y="1089"/>
                    <a:pt x="487" y="1089"/>
                    <a:pt x="487" y="1089"/>
                  </a:cubicBezTo>
                  <a:cubicBezTo>
                    <a:pt x="486" y="1088"/>
                    <a:pt x="486" y="1088"/>
                    <a:pt x="486" y="1088"/>
                  </a:cubicBezTo>
                  <a:cubicBezTo>
                    <a:pt x="486" y="1088"/>
                    <a:pt x="486" y="1088"/>
                    <a:pt x="486" y="1088"/>
                  </a:cubicBezTo>
                  <a:cubicBezTo>
                    <a:pt x="486" y="1087"/>
                    <a:pt x="486" y="1087"/>
                    <a:pt x="486" y="1087"/>
                  </a:cubicBezTo>
                  <a:cubicBezTo>
                    <a:pt x="485" y="1087"/>
                    <a:pt x="485" y="1087"/>
                    <a:pt x="485" y="1087"/>
                  </a:cubicBezTo>
                  <a:cubicBezTo>
                    <a:pt x="485" y="1087"/>
                    <a:pt x="485" y="1087"/>
                    <a:pt x="485" y="1087"/>
                  </a:cubicBezTo>
                  <a:cubicBezTo>
                    <a:pt x="485" y="1086"/>
                    <a:pt x="485" y="1086"/>
                    <a:pt x="485" y="1086"/>
                  </a:cubicBezTo>
                  <a:cubicBezTo>
                    <a:pt x="484" y="1086"/>
                    <a:pt x="484" y="1086"/>
                    <a:pt x="484" y="1086"/>
                  </a:cubicBezTo>
                  <a:cubicBezTo>
                    <a:pt x="484" y="1085"/>
                    <a:pt x="484" y="1085"/>
                    <a:pt x="484" y="1085"/>
                  </a:cubicBezTo>
                  <a:cubicBezTo>
                    <a:pt x="484" y="1085"/>
                    <a:pt x="484" y="1085"/>
                    <a:pt x="484" y="1085"/>
                  </a:cubicBezTo>
                  <a:cubicBezTo>
                    <a:pt x="484" y="1084"/>
                    <a:pt x="484" y="1084"/>
                    <a:pt x="484" y="1084"/>
                  </a:cubicBezTo>
                  <a:cubicBezTo>
                    <a:pt x="484" y="1084"/>
                    <a:pt x="484" y="1084"/>
                    <a:pt x="484" y="1084"/>
                  </a:cubicBezTo>
                  <a:cubicBezTo>
                    <a:pt x="484" y="1084"/>
                    <a:pt x="484" y="1084"/>
                    <a:pt x="484" y="1084"/>
                  </a:cubicBezTo>
                  <a:cubicBezTo>
                    <a:pt x="484" y="1083"/>
                    <a:pt x="484" y="1083"/>
                    <a:pt x="484" y="1083"/>
                  </a:cubicBezTo>
                  <a:cubicBezTo>
                    <a:pt x="484" y="1082"/>
                    <a:pt x="484" y="1082"/>
                    <a:pt x="484" y="1082"/>
                  </a:cubicBezTo>
                  <a:cubicBezTo>
                    <a:pt x="484" y="1082"/>
                    <a:pt x="484" y="1082"/>
                    <a:pt x="484" y="1082"/>
                  </a:cubicBezTo>
                  <a:cubicBezTo>
                    <a:pt x="484" y="1082"/>
                    <a:pt x="484" y="1082"/>
                    <a:pt x="484" y="1082"/>
                  </a:cubicBezTo>
                  <a:cubicBezTo>
                    <a:pt x="484" y="1082"/>
                    <a:pt x="484" y="1082"/>
                    <a:pt x="484" y="1082"/>
                  </a:cubicBezTo>
                  <a:cubicBezTo>
                    <a:pt x="484" y="1083"/>
                    <a:pt x="484" y="1083"/>
                    <a:pt x="484" y="1083"/>
                  </a:cubicBezTo>
                  <a:cubicBezTo>
                    <a:pt x="484" y="1083"/>
                    <a:pt x="484" y="1083"/>
                    <a:pt x="484" y="1083"/>
                  </a:cubicBezTo>
                  <a:cubicBezTo>
                    <a:pt x="485" y="1084"/>
                    <a:pt x="485" y="1084"/>
                    <a:pt x="485" y="1084"/>
                  </a:cubicBezTo>
                  <a:cubicBezTo>
                    <a:pt x="485" y="1084"/>
                    <a:pt x="485" y="1084"/>
                    <a:pt x="485" y="1084"/>
                  </a:cubicBezTo>
                  <a:cubicBezTo>
                    <a:pt x="485" y="1085"/>
                    <a:pt x="485" y="1085"/>
                    <a:pt x="485" y="1085"/>
                  </a:cubicBezTo>
                  <a:cubicBezTo>
                    <a:pt x="486" y="1085"/>
                    <a:pt x="486" y="1085"/>
                    <a:pt x="486" y="1085"/>
                  </a:cubicBezTo>
                  <a:cubicBezTo>
                    <a:pt x="486" y="1086"/>
                    <a:pt x="486" y="1086"/>
                    <a:pt x="486" y="1086"/>
                  </a:cubicBezTo>
                  <a:cubicBezTo>
                    <a:pt x="487" y="1086"/>
                    <a:pt x="487" y="1086"/>
                    <a:pt x="487" y="1086"/>
                  </a:cubicBezTo>
                  <a:cubicBezTo>
                    <a:pt x="487" y="1086"/>
                    <a:pt x="487" y="1086"/>
                    <a:pt x="487" y="1086"/>
                  </a:cubicBezTo>
                  <a:cubicBezTo>
                    <a:pt x="487" y="1087"/>
                    <a:pt x="487" y="1087"/>
                    <a:pt x="487" y="1087"/>
                  </a:cubicBezTo>
                  <a:cubicBezTo>
                    <a:pt x="487" y="1087"/>
                    <a:pt x="487" y="1087"/>
                    <a:pt x="487" y="1087"/>
                  </a:cubicBezTo>
                  <a:cubicBezTo>
                    <a:pt x="487" y="1087"/>
                    <a:pt x="487" y="1087"/>
                    <a:pt x="487" y="1087"/>
                  </a:cubicBezTo>
                  <a:cubicBezTo>
                    <a:pt x="487" y="1088"/>
                    <a:pt x="487" y="1088"/>
                    <a:pt x="487" y="1088"/>
                  </a:cubicBezTo>
                  <a:cubicBezTo>
                    <a:pt x="488" y="1088"/>
                    <a:pt x="488" y="1088"/>
                    <a:pt x="488" y="1088"/>
                  </a:cubicBezTo>
                  <a:cubicBezTo>
                    <a:pt x="488" y="1088"/>
                    <a:pt x="488" y="1088"/>
                    <a:pt x="488" y="1088"/>
                  </a:cubicBezTo>
                  <a:cubicBezTo>
                    <a:pt x="489" y="1088"/>
                    <a:pt x="489" y="1088"/>
                    <a:pt x="489" y="1088"/>
                  </a:cubicBezTo>
                  <a:cubicBezTo>
                    <a:pt x="489" y="1088"/>
                    <a:pt x="489" y="1088"/>
                    <a:pt x="489" y="1088"/>
                  </a:cubicBezTo>
                  <a:cubicBezTo>
                    <a:pt x="489" y="1088"/>
                    <a:pt x="489" y="1088"/>
                    <a:pt x="489" y="1088"/>
                  </a:cubicBezTo>
                  <a:cubicBezTo>
                    <a:pt x="491" y="1089"/>
                    <a:pt x="491" y="1089"/>
                    <a:pt x="491" y="1089"/>
                  </a:cubicBezTo>
                  <a:cubicBezTo>
                    <a:pt x="492" y="1089"/>
                    <a:pt x="492" y="1089"/>
                    <a:pt x="492" y="1089"/>
                  </a:cubicBezTo>
                  <a:cubicBezTo>
                    <a:pt x="496" y="1091"/>
                    <a:pt x="496" y="1091"/>
                    <a:pt x="496" y="1091"/>
                  </a:cubicBezTo>
                  <a:cubicBezTo>
                    <a:pt x="496" y="1091"/>
                    <a:pt x="496" y="1091"/>
                    <a:pt x="496" y="1091"/>
                  </a:cubicBezTo>
                  <a:cubicBezTo>
                    <a:pt x="497" y="1092"/>
                    <a:pt x="497" y="1092"/>
                    <a:pt x="497" y="1092"/>
                  </a:cubicBezTo>
                  <a:cubicBezTo>
                    <a:pt x="497" y="1092"/>
                    <a:pt x="497" y="1092"/>
                    <a:pt x="497" y="1092"/>
                  </a:cubicBezTo>
                  <a:cubicBezTo>
                    <a:pt x="497" y="1092"/>
                    <a:pt x="497" y="1092"/>
                    <a:pt x="497" y="1092"/>
                  </a:cubicBezTo>
                  <a:cubicBezTo>
                    <a:pt x="498" y="1092"/>
                    <a:pt x="498" y="1092"/>
                    <a:pt x="498" y="1092"/>
                  </a:cubicBezTo>
                  <a:cubicBezTo>
                    <a:pt x="498" y="1093"/>
                    <a:pt x="498" y="1093"/>
                    <a:pt x="498" y="1093"/>
                  </a:cubicBezTo>
                  <a:cubicBezTo>
                    <a:pt x="498" y="1093"/>
                    <a:pt x="498" y="1093"/>
                    <a:pt x="498" y="1093"/>
                  </a:cubicBezTo>
                  <a:cubicBezTo>
                    <a:pt x="499" y="1093"/>
                    <a:pt x="499" y="1093"/>
                    <a:pt x="499" y="1093"/>
                  </a:cubicBezTo>
                  <a:cubicBezTo>
                    <a:pt x="504" y="1091"/>
                    <a:pt x="504" y="1091"/>
                    <a:pt x="504" y="1091"/>
                  </a:cubicBezTo>
                  <a:cubicBezTo>
                    <a:pt x="505" y="1091"/>
                    <a:pt x="505" y="1091"/>
                    <a:pt x="505" y="1091"/>
                  </a:cubicBezTo>
                  <a:cubicBezTo>
                    <a:pt x="507" y="1090"/>
                    <a:pt x="507" y="1090"/>
                    <a:pt x="507" y="1090"/>
                  </a:cubicBezTo>
                  <a:cubicBezTo>
                    <a:pt x="507" y="1090"/>
                    <a:pt x="507" y="1090"/>
                    <a:pt x="507" y="1090"/>
                  </a:cubicBezTo>
                  <a:cubicBezTo>
                    <a:pt x="507" y="1092"/>
                    <a:pt x="507" y="1092"/>
                    <a:pt x="507" y="1092"/>
                  </a:cubicBezTo>
                  <a:cubicBezTo>
                    <a:pt x="507" y="1092"/>
                    <a:pt x="507" y="1092"/>
                    <a:pt x="507" y="1092"/>
                  </a:cubicBezTo>
                  <a:cubicBezTo>
                    <a:pt x="506" y="1092"/>
                    <a:pt x="506" y="1092"/>
                    <a:pt x="506" y="1092"/>
                  </a:cubicBezTo>
                  <a:cubicBezTo>
                    <a:pt x="505" y="1093"/>
                    <a:pt x="505" y="1093"/>
                    <a:pt x="505" y="1093"/>
                  </a:cubicBezTo>
                  <a:cubicBezTo>
                    <a:pt x="504" y="1093"/>
                    <a:pt x="504" y="1093"/>
                    <a:pt x="504" y="1093"/>
                  </a:cubicBezTo>
                  <a:lnTo>
                    <a:pt x="499" y="1095"/>
                  </a:lnTo>
                  <a:close/>
                  <a:moveTo>
                    <a:pt x="508" y="1095"/>
                  </a:moveTo>
                  <a:cubicBezTo>
                    <a:pt x="508" y="1095"/>
                    <a:pt x="508" y="1095"/>
                    <a:pt x="508" y="1095"/>
                  </a:cubicBezTo>
                  <a:cubicBezTo>
                    <a:pt x="508" y="1095"/>
                    <a:pt x="508" y="1095"/>
                    <a:pt x="508" y="1095"/>
                  </a:cubicBezTo>
                  <a:cubicBezTo>
                    <a:pt x="507" y="1095"/>
                    <a:pt x="507" y="1095"/>
                    <a:pt x="507" y="1095"/>
                  </a:cubicBezTo>
                  <a:cubicBezTo>
                    <a:pt x="507" y="1094"/>
                    <a:pt x="507" y="1094"/>
                    <a:pt x="507" y="1094"/>
                  </a:cubicBezTo>
                  <a:cubicBezTo>
                    <a:pt x="507" y="1093"/>
                    <a:pt x="507" y="1093"/>
                    <a:pt x="507" y="1093"/>
                  </a:cubicBezTo>
                  <a:cubicBezTo>
                    <a:pt x="507" y="1093"/>
                    <a:pt x="507" y="1093"/>
                    <a:pt x="507" y="1093"/>
                  </a:cubicBezTo>
                  <a:cubicBezTo>
                    <a:pt x="508" y="1093"/>
                    <a:pt x="508" y="1093"/>
                    <a:pt x="508" y="1093"/>
                  </a:cubicBezTo>
                  <a:cubicBezTo>
                    <a:pt x="508" y="1094"/>
                    <a:pt x="508" y="1094"/>
                    <a:pt x="508" y="1094"/>
                  </a:cubicBezTo>
                  <a:cubicBezTo>
                    <a:pt x="509" y="1094"/>
                    <a:pt x="509" y="1094"/>
                    <a:pt x="509" y="1094"/>
                  </a:cubicBezTo>
                  <a:lnTo>
                    <a:pt x="508" y="1095"/>
                  </a:lnTo>
                  <a:close/>
                  <a:moveTo>
                    <a:pt x="513" y="1016"/>
                  </a:moveTo>
                  <a:cubicBezTo>
                    <a:pt x="513" y="1017"/>
                    <a:pt x="513" y="1017"/>
                    <a:pt x="513" y="1017"/>
                  </a:cubicBezTo>
                  <a:cubicBezTo>
                    <a:pt x="513" y="1017"/>
                    <a:pt x="513" y="1017"/>
                    <a:pt x="513" y="1017"/>
                  </a:cubicBezTo>
                  <a:cubicBezTo>
                    <a:pt x="513" y="1017"/>
                    <a:pt x="513" y="1017"/>
                    <a:pt x="513" y="1017"/>
                  </a:cubicBezTo>
                  <a:cubicBezTo>
                    <a:pt x="513" y="1017"/>
                    <a:pt x="513" y="1017"/>
                    <a:pt x="513" y="1017"/>
                  </a:cubicBezTo>
                  <a:cubicBezTo>
                    <a:pt x="512" y="1017"/>
                    <a:pt x="512" y="1017"/>
                    <a:pt x="512" y="1017"/>
                  </a:cubicBezTo>
                  <a:cubicBezTo>
                    <a:pt x="512" y="1017"/>
                    <a:pt x="512" y="1017"/>
                    <a:pt x="512" y="1017"/>
                  </a:cubicBezTo>
                  <a:cubicBezTo>
                    <a:pt x="512" y="1017"/>
                    <a:pt x="512" y="1017"/>
                    <a:pt x="512" y="1017"/>
                  </a:cubicBezTo>
                  <a:cubicBezTo>
                    <a:pt x="512" y="1016"/>
                    <a:pt x="512" y="1016"/>
                    <a:pt x="512" y="1016"/>
                  </a:cubicBezTo>
                  <a:cubicBezTo>
                    <a:pt x="513" y="1016"/>
                    <a:pt x="513" y="1016"/>
                    <a:pt x="513" y="1016"/>
                  </a:cubicBezTo>
                  <a:cubicBezTo>
                    <a:pt x="513" y="1016"/>
                    <a:pt x="513" y="1016"/>
                    <a:pt x="513" y="1016"/>
                  </a:cubicBezTo>
                  <a:cubicBezTo>
                    <a:pt x="513" y="1016"/>
                    <a:pt x="513" y="1016"/>
                    <a:pt x="513" y="1016"/>
                  </a:cubicBezTo>
                  <a:close/>
                  <a:moveTo>
                    <a:pt x="518" y="1011"/>
                  </a:moveTo>
                  <a:cubicBezTo>
                    <a:pt x="518" y="1012"/>
                    <a:pt x="518" y="1012"/>
                    <a:pt x="518" y="1012"/>
                  </a:cubicBezTo>
                  <a:cubicBezTo>
                    <a:pt x="518" y="1013"/>
                    <a:pt x="518" y="1013"/>
                    <a:pt x="518" y="1013"/>
                  </a:cubicBezTo>
                  <a:cubicBezTo>
                    <a:pt x="518" y="1013"/>
                    <a:pt x="518" y="1013"/>
                    <a:pt x="518" y="1013"/>
                  </a:cubicBezTo>
                  <a:cubicBezTo>
                    <a:pt x="517" y="1014"/>
                    <a:pt x="517" y="1014"/>
                    <a:pt x="517" y="1014"/>
                  </a:cubicBezTo>
                  <a:cubicBezTo>
                    <a:pt x="517" y="1014"/>
                    <a:pt x="517" y="1014"/>
                    <a:pt x="517" y="1014"/>
                  </a:cubicBezTo>
                  <a:cubicBezTo>
                    <a:pt x="517" y="1014"/>
                    <a:pt x="517" y="1014"/>
                    <a:pt x="517" y="1014"/>
                  </a:cubicBezTo>
                  <a:cubicBezTo>
                    <a:pt x="516" y="1014"/>
                    <a:pt x="516" y="1014"/>
                    <a:pt x="516" y="1014"/>
                  </a:cubicBezTo>
                  <a:cubicBezTo>
                    <a:pt x="516" y="1014"/>
                    <a:pt x="516" y="1014"/>
                    <a:pt x="516" y="1014"/>
                  </a:cubicBezTo>
                  <a:cubicBezTo>
                    <a:pt x="516" y="1012"/>
                    <a:pt x="516" y="1012"/>
                    <a:pt x="516" y="1012"/>
                  </a:cubicBezTo>
                  <a:cubicBezTo>
                    <a:pt x="516" y="1012"/>
                    <a:pt x="516" y="1012"/>
                    <a:pt x="516" y="1012"/>
                  </a:cubicBezTo>
                  <a:cubicBezTo>
                    <a:pt x="516" y="1011"/>
                    <a:pt x="516" y="1011"/>
                    <a:pt x="516" y="1011"/>
                  </a:cubicBezTo>
                  <a:cubicBezTo>
                    <a:pt x="517" y="1011"/>
                    <a:pt x="517" y="1011"/>
                    <a:pt x="517" y="1011"/>
                  </a:cubicBezTo>
                  <a:cubicBezTo>
                    <a:pt x="517" y="1011"/>
                    <a:pt x="517" y="1011"/>
                    <a:pt x="517" y="1011"/>
                  </a:cubicBezTo>
                  <a:cubicBezTo>
                    <a:pt x="517" y="1011"/>
                    <a:pt x="517" y="1011"/>
                    <a:pt x="517" y="1011"/>
                  </a:cubicBezTo>
                  <a:cubicBezTo>
                    <a:pt x="518" y="1011"/>
                    <a:pt x="518" y="1011"/>
                    <a:pt x="518" y="1011"/>
                  </a:cubicBezTo>
                  <a:cubicBezTo>
                    <a:pt x="518" y="1010"/>
                    <a:pt x="518" y="1010"/>
                    <a:pt x="518" y="1010"/>
                  </a:cubicBezTo>
                  <a:cubicBezTo>
                    <a:pt x="518" y="1011"/>
                    <a:pt x="518" y="1011"/>
                    <a:pt x="518" y="1011"/>
                  </a:cubicBezTo>
                  <a:close/>
                  <a:moveTo>
                    <a:pt x="521" y="1008"/>
                  </a:moveTo>
                  <a:cubicBezTo>
                    <a:pt x="520" y="1009"/>
                    <a:pt x="520" y="1009"/>
                    <a:pt x="520" y="1009"/>
                  </a:cubicBezTo>
                  <a:cubicBezTo>
                    <a:pt x="519" y="1009"/>
                    <a:pt x="519" y="1009"/>
                    <a:pt x="519" y="1009"/>
                  </a:cubicBezTo>
                  <a:cubicBezTo>
                    <a:pt x="520" y="1008"/>
                    <a:pt x="520" y="1008"/>
                    <a:pt x="520" y="1008"/>
                  </a:cubicBezTo>
                  <a:cubicBezTo>
                    <a:pt x="520" y="1006"/>
                    <a:pt x="520" y="1006"/>
                    <a:pt x="520" y="1006"/>
                  </a:cubicBezTo>
                  <a:cubicBezTo>
                    <a:pt x="519" y="1005"/>
                    <a:pt x="519" y="1005"/>
                    <a:pt x="519" y="1005"/>
                  </a:cubicBezTo>
                  <a:cubicBezTo>
                    <a:pt x="518" y="1004"/>
                    <a:pt x="518" y="1004"/>
                    <a:pt x="518" y="1004"/>
                  </a:cubicBezTo>
                  <a:cubicBezTo>
                    <a:pt x="518" y="1004"/>
                    <a:pt x="518" y="1004"/>
                    <a:pt x="518" y="1004"/>
                  </a:cubicBezTo>
                  <a:cubicBezTo>
                    <a:pt x="518" y="1004"/>
                    <a:pt x="518" y="1004"/>
                    <a:pt x="518" y="1004"/>
                  </a:cubicBezTo>
                  <a:cubicBezTo>
                    <a:pt x="518" y="1003"/>
                    <a:pt x="518" y="1003"/>
                    <a:pt x="518" y="1003"/>
                  </a:cubicBezTo>
                  <a:cubicBezTo>
                    <a:pt x="519" y="1002"/>
                    <a:pt x="519" y="1002"/>
                    <a:pt x="519" y="1002"/>
                  </a:cubicBezTo>
                  <a:cubicBezTo>
                    <a:pt x="520" y="1002"/>
                    <a:pt x="520" y="1002"/>
                    <a:pt x="520" y="1002"/>
                  </a:cubicBezTo>
                  <a:cubicBezTo>
                    <a:pt x="520" y="1002"/>
                    <a:pt x="520" y="1002"/>
                    <a:pt x="520" y="1002"/>
                  </a:cubicBezTo>
                  <a:cubicBezTo>
                    <a:pt x="520" y="1002"/>
                    <a:pt x="520" y="1002"/>
                    <a:pt x="520" y="1002"/>
                  </a:cubicBezTo>
                  <a:cubicBezTo>
                    <a:pt x="520" y="1003"/>
                    <a:pt x="520" y="1003"/>
                    <a:pt x="520" y="1003"/>
                  </a:cubicBezTo>
                  <a:cubicBezTo>
                    <a:pt x="520" y="1003"/>
                    <a:pt x="520" y="1003"/>
                    <a:pt x="520" y="1003"/>
                  </a:cubicBezTo>
                  <a:cubicBezTo>
                    <a:pt x="521" y="1003"/>
                    <a:pt x="521" y="1003"/>
                    <a:pt x="521" y="1003"/>
                  </a:cubicBezTo>
                  <a:cubicBezTo>
                    <a:pt x="521" y="1005"/>
                    <a:pt x="521" y="1005"/>
                    <a:pt x="521" y="1005"/>
                  </a:cubicBezTo>
                  <a:cubicBezTo>
                    <a:pt x="522" y="1007"/>
                    <a:pt x="522" y="1007"/>
                    <a:pt x="522" y="1007"/>
                  </a:cubicBezTo>
                  <a:lnTo>
                    <a:pt x="521" y="1008"/>
                  </a:lnTo>
                  <a:close/>
                  <a:moveTo>
                    <a:pt x="523" y="1000"/>
                  </a:moveTo>
                  <a:cubicBezTo>
                    <a:pt x="523" y="1001"/>
                    <a:pt x="523" y="1001"/>
                    <a:pt x="523" y="1001"/>
                  </a:cubicBezTo>
                  <a:cubicBezTo>
                    <a:pt x="522" y="1001"/>
                    <a:pt x="522" y="1001"/>
                    <a:pt x="522" y="1001"/>
                  </a:cubicBezTo>
                  <a:cubicBezTo>
                    <a:pt x="523" y="999"/>
                    <a:pt x="523" y="999"/>
                    <a:pt x="523" y="999"/>
                  </a:cubicBezTo>
                  <a:cubicBezTo>
                    <a:pt x="524" y="999"/>
                    <a:pt x="524" y="999"/>
                    <a:pt x="524" y="999"/>
                  </a:cubicBezTo>
                  <a:cubicBezTo>
                    <a:pt x="524" y="999"/>
                    <a:pt x="524" y="999"/>
                    <a:pt x="524" y="999"/>
                  </a:cubicBezTo>
                  <a:cubicBezTo>
                    <a:pt x="525" y="998"/>
                    <a:pt x="525" y="998"/>
                    <a:pt x="525" y="998"/>
                  </a:cubicBezTo>
                  <a:lnTo>
                    <a:pt x="523" y="1000"/>
                  </a:lnTo>
                  <a:close/>
                  <a:moveTo>
                    <a:pt x="527" y="997"/>
                  </a:moveTo>
                  <a:cubicBezTo>
                    <a:pt x="526" y="997"/>
                    <a:pt x="526" y="997"/>
                    <a:pt x="526" y="997"/>
                  </a:cubicBezTo>
                  <a:cubicBezTo>
                    <a:pt x="526" y="998"/>
                    <a:pt x="526" y="998"/>
                    <a:pt x="526" y="998"/>
                  </a:cubicBezTo>
                  <a:cubicBezTo>
                    <a:pt x="526" y="998"/>
                    <a:pt x="526" y="998"/>
                    <a:pt x="526" y="998"/>
                  </a:cubicBezTo>
                  <a:cubicBezTo>
                    <a:pt x="525" y="998"/>
                    <a:pt x="525" y="998"/>
                    <a:pt x="525" y="998"/>
                  </a:cubicBezTo>
                  <a:cubicBezTo>
                    <a:pt x="525" y="998"/>
                    <a:pt x="525" y="998"/>
                    <a:pt x="525" y="998"/>
                  </a:cubicBezTo>
                  <a:cubicBezTo>
                    <a:pt x="525" y="998"/>
                    <a:pt x="525" y="998"/>
                    <a:pt x="525" y="998"/>
                  </a:cubicBezTo>
                  <a:cubicBezTo>
                    <a:pt x="525" y="997"/>
                    <a:pt x="525" y="997"/>
                    <a:pt x="525" y="997"/>
                  </a:cubicBezTo>
                  <a:cubicBezTo>
                    <a:pt x="524" y="997"/>
                    <a:pt x="524" y="997"/>
                    <a:pt x="524" y="997"/>
                  </a:cubicBezTo>
                  <a:cubicBezTo>
                    <a:pt x="524" y="997"/>
                    <a:pt x="524" y="997"/>
                    <a:pt x="524" y="997"/>
                  </a:cubicBezTo>
                  <a:cubicBezTo>
                    <a:pt x="525" y="997"/>
                    <a:pt x="525" y="997"/>
                    <a:pt x="525" y="997"/>
                  </a:cubicBezTo>
                  <a:cubicBezTo>
                    <a:pt x="525" y="996"/>
                    <a:pt x="525" y="996"/>
                    <a:pt x="525" y="996"/>
                  </a:cubicBezTo>
                  <a:cubicBezTo>
                    <a:pt x="526" y="996"/>
                    <a:pt x="526" y="996"/>
                    <a:pt x="526" y="996"/>
                  </a:cubicBezTo>
                  <a:cubicBezTo>
                    <a:pt x="526" y="995"/>
                    <a:pt x="526" y="995"/>
                    <a:pt x="526" y="995"/>
                  </a:cubicBezTo>
                  <a:cubicBezTo>
                    <a:pt x="526" y="996"/>
                    <a:pt x="526" y="996"/>
                    <a:pt x="526" y="996"/>
                  </a:cubicBezTo>
                  <a:cubicBezTo>
                    <a:pt x="526" y="996"/>
                    <a:pt x="526" y="996"/>
                    <a:pt x="526" y="996"/>
                  </a:cubicBezTo>
                  <a:cubicBezTo>
                    <a:pt x="527" y="996"/>
                    <a:pt x="527" y="996"/>
                    <a:pt x="527" y="996"/>
                  </a:cubicBezTo>
                  <a:lnTo>
                    <a:pt x="527" y="997"/>
                  </a:lnTo>
                  <a:close/>
                  <a:moveTo>
                    <a:pt x="549" y="1018"/>
                  </a:moveTo>
                  <a:cubicBezTo>
                    <a:pt x="548" y="1020"/>
                    <a:pt x="548" y="1020"/>
                    <a:pt x="548" y="1020"/>
                  </a:cubicBezTo>
                  <a:cubicBezTo>
                    <a:pt x="547" y="1021"/>
                    <a:pt x="547" y="1021"/>
                    <a:pt x="547" y="1021"/>
                  </a:cubicBezTo>
                  <a:cubicBezTo>
                    <a:pt x="547" y="1021"/>
                    <a:pt x="547" y="1021"/>
                    <a:pt x="547" y="1021"/>
                  </a:cubicBezTo>
                  <a:cubicBezTo>
                    <a:pt x="547" y="1020"/>
                    <a:pt x="547" y="1020"/>
                    <a:pt x="547" y="1020"/>
                  </a:cubicBezTo>
                  <a:cubicBezTo>
                    <a:pt x="547" y="1019"/>
                    <a:pt x="547" y="1019"/>
                    <a:pt x="547" y="1019"/>
                  </a:cubicBezTo>
                  <a:cubicBezTo>
                    <a:pt x="547" y="1019"/>
                    <a:pt x="547" y="1019"/>
                    <a:pt x="547" y="1019"/>
                  </a:cubicBezTo>
                  <a:cubicBezTo>
                    <a:pt x="547" y="1019"/>
                    <a:pt x="547" y="1019"/>
                    <a:pt x="547" y="1019"/>
                  </a:cubicBezTo>
                  <a:cubicBezTo>
                    <a:pt x="546" y="1018"/>
                    <a:pt x="546" y="1018"/>
                    <a:pt x="546" y="1018"/>
                  </a:cubicBezTo>
                  <a:cubicBezTo>
                    <a:pt x="546" y="1018"/>
                    <a:pt x="546" y="1018"/>
                    <a:pt x="546" y="1018"/>
                  </a:cubicBezTo>
                  <a:cubicBezTo>
                    <a:pt x="546" y="1018"/>
                    <a:pt x="546" y="1018"/>
                    <a:pt x="546" y="1018"/>
                  </a:cubicBezTo>
                  <a:cubicBezTo>
                    <a:pt x="545" y="1017"/>
                    <a:pt x="545" y="1017"/>
                    <a:pt x="545" y="1017"/>
                  </a:cubicBezTo>
                  <a:cubicBezTo>
                    <a:pt x="545" y="1017"/>
                    <a:pt x="545" y="1017"/>
                    <a:pt x="545" y="1017"/>
                  </a:cubicBezTo>
                  <a:cubicBezTo>
                    <a:pt x="545" y="1017"/>
                    <a:pt x="545" y="1017"/>
                    <a:pt x="545" y="1017"/>
                  </a:cubicBezTo>
                  <a:cubicBezTo>
                    <a:pt x="545" y="1016"/>
                    <a:pt x="545" y="1016"/>
                    <a:pt x="545" y="1016"/>
                  </a:cubicBezTo>
                  <a:cubicBezTo>
                    <a:pt x="545" y="1016"/>
                    <a:pt x="545" y="1016"/>
                    <a:pt x="545" y="1016"/>
                  </a:cubicBezTo>
                  <a:cubicBezTo>
                    <a:pt x="545" y="1016"/>
                    <a:pt x="545" y="1016"/>
                    <a:pt x="545" y="1016"/>
                  </a:cubicBezTo>
                  <a:cubicBezTo>
                    <a:pt x="546" y="1015"/>
                    <a:pt x="546" y="1015"/>
                    <a:pt x="546" y="1015"/>
                  </a:cubicBezTo>
                  <a:cubicBezTo>
                    <a:pt x="546" y="1014"/>
                    <a:pt x="546" y="1014"/>
                    <a:pt x="546" y="1014"/>
                  </a:cubicBezTo>
                  <a:cubicBezTo>
                    <a:pt x="546" y="1013"/>
                    <a:pt x="546" y="1013"/>
                    <a:pt x="546" y="1013"/>
                  </a:cubicBezTo>
                  <a:cubicBezTo>
                    <a:pt x="547" y="1013"/>
                    <a:pt x="547" y="1013"/>
                    <a:pt x="547" y="1013"/>
                  </a:cubicBezTo>
                  <a:cubicBezTo>
                    <a:pt x="547" y="1012"/>
                    <a:pt x="547" y="1012"/>
                    <a:pt x="547" y="1012"/>
                  </a:cubicBezTo>
                  <a:cubicBezTo>
                    <a:pt x="547" y="1012"/>
                    <a:pt x="547" y="1012"/>
                    <a:pt x="547" y="1012"/>
                  </a:cubicBezTo>
                  <a:cubicBezTo>
                    <a:pt x="548" y="1014"/>
                    <a:pt x="548" y="1014"/>
                    <a:pt x="548" y="1014"/>
                  </a:cubicBezTo>
                  <a:cubicBezTo>
                    <a:pt x="547" y="1015"/>
                    <a:pt x="547" y="1015"/>
                    <a:pt x="547" y="1015"/>
                  </a:cubicBezTo>
                  <a:cubicBezTo>
                    <a:pt x="547" y="1015"/>
                    <a:pt x="547" y="1015"/>
                    <a:pt x="547" y="1015"/>
                  </a:cubicBezTo>
                  <a:cubicBezTo>
                    <a:pt x="547" y="1015"/>
                    <a:pt x="547" y="1015"/>
                    <a:pt x="547" y="1015"/>
                  </a:cubicBezTo>
                  <a:cubicBezTo>
                    <a:pt x="547" y="1015"/>
                    <a:pt x="547" y="1015"/>
                    <a:pt x="547" y="1015"/>
                  </a:cubicBezTo>
                  <a:cubicBezTo>
                    <a:pt x="547" y="1015"/>
                    <a:pt x="547" y="1015"/>
                    <a:pt x="547" y="1015"/>
                  </a:cubicBezTo>
                  <a:cubicBezTo>
                    <a:pt x="547" y="1015"/>
                    <a:pt x="547" y="1015"/>
                    <a:pt x="547" y="1015"/>
                  </a:cubicBezTo>
                  <a:cubicBezTo>
                    <a:pt x="547" y="1016"/>
                    <a:pt x="547" y="1016"/>
                    <a:pt x="547" y="1016"/>
                  </a:cubicBezTo>
                  <a:cubicBezTo>
                    <a:pt x="548" y="1017"/>
                    <a:pt x="548" y="1017"/>
                    <a:pt x="548" y="1017"/>
                  </a:cubicBezTo>
                  <a:cubicBezTo>
                    <a:pt x="548" y="1017"/>
                    <a:pt x="548" y="1017"/>
                    <a:pt x="548" y="1017"/>
                  </a:cubicBezTo>
                  <a:cubicBezTo>
                    <a:pt x="549" y="1017"/>
                    <a:pt x="549" y="1017"/>
                    <a:pt x="549" y="1017"/>
                  </a:cubicBezTo>
                  <a:cubicBezTo>
                    <a:pt x="549" y="1017"/>
                    <a:pt x="549" y="1017"/>
                    <a:pt x="549" y="1017"/>
                  </a:cubicBezTo>
                  <a:cubicBezTo>
                    <a:pt x="549" y="1018"/>
                    <a:pt x="549" y="1018"/>
                    <a:pt x="549" y="1018"/>
                  </a:cubicBezTo>
                  <a:close/>
                  <a:moveTo>
                    <a:pt x="549" y="1009"/>
                  </a:moveTo>
                  <a:cubicBezTo>
                    <a:pt x="549" y="1010"/>
                    <a:pt x="549" y="1010"/>
                    <a:pt x="549" y="1010"/>
                  </a:cubicBezTo>
                  <a:cubicBezTo>
                    <a:pt x="549" y="1010"/>
                    <a:pt x="549" y="1010"/>
                    <a:pt x="549" y="1010"/>
                  </a:cubicBezTo>
                  <a:cubicBezTo>
                    <a:pt x="549" y="1011"/>
                    <a:pt x="549" y="1011"/>
                    <a:pt x="549" y="1011"/>
                  </a:cubicBezTo>
                  <a:cubicBezTo>
                    <a:pt x="549" y="1011"/>
                    <a:pt x="549" y="1011"/>
                    <a:pt x="549" y="1011"/>
                  </a:cubicBezTo>
                  <a:cubicBezTo>
                    <a:pt x="548" y="1011"/>
                    <a:pt x="548" y="1011"/>
                    <a:pt x="548" y="1011"/>
                  </a:cubicBezTo>
                  <a:cubicBezTo>
                    <a:pt x="548" y="1012"/>
                    <a:pt x="548" y="1012"/>
                    <a:pt x="548" y="1012"/>
                  </a:cubicBezTo>
                  <a:cubicBezTo>
                    <a:pt x="548" y="1011"/>
                    <a:pt x="548" y="1011"/>
                    <a:pt x="548" y="1011"/>
                  </a:cubicBezTo>
                  <a:cubicBezTo>
                    <a:pt x="548" y="1010"/>
                    <a:pt x="548" y="1010"/>
                    <a:pt x="548" y="1010"/>
                  </a:cubicBezTo>
                  <a:cubicBezTo>
                    <a:pt x="548" y="1010"/>
                    <a:pt x="548" y="1010"/>
                    <a:pt x="548" y="1010"/>
                  </a:cubicBezTo>
                  <a:cubicBezTo>
                    <a:pt x="548" y="1009"/>
                    <a:pt x="548" y="1009"/>
                    <a:pt x="548" y="1009"/>
                  </a:cubicBezTo>
                  <a:cubicBezTo>
                    <a:pt x="550" y="1008"/>
                    <a:pt x="550" y="1008"/>
                    <a:pt x="550" y="1008"/>
                  </a:cubicBezTo>
                  <a:cubicBezTo>
                    <a:pt x="549" y="1008"/>
                    <a:pt x="549" y="1008"/>
                    <a:pt x="549" y="1008"/>
                  </a:cubicBezTo>
                  <a:lnTo>
                    <a:pt x="549" y="1009"/>
                  </a:lnTo>
                  <a:close/>
                  <a:moveTo>
                    <a:pt x="555" y="999"/>
                  </a:moveTo>
                  <a:cubicBezTo>
                    <a:pt x="555" y="1000"/>
                    <a:pt x="555" y="1000"/>
                    <a:pt x="555" y="1000"/>
                  </a:cubicBezTo>
                  <a:cubicBezTo>
                    <a:pt x="554" y="1002"/>
                    <a:pt x="554" y="1002"/>
                    <a:pt x="554" y="1002"/>
                  </a:cubicBezTo>
                  <a:cubicBezTo>
                    <a:pt x="554" y="1004"/>
                    <a:pt x="554" y="1004"/>
                    <a:pt x="554" y="1004"/>
                  </a:cubicBezTo>
                  <a:cubicBezTo>
                    <a:pt x="554" y="1004"/>
                    <a:pt x="554" y="1004"/>
                    <a:pt x="554" y="1004"/>
                  </a:cubicBezTo>
                  <a:cubicBezTo>
                    <a:pt x="553" y="1004"/>
                    <a:pt x="553" y="1004"/>
                    <a:pt x="553" y="1004"/>
                  </a:cubicBezTo>
                  <a:cubicBezTo>
                    <a:pt x="553" y="1004"/>
                    <a:pt x="553" y="1004"/>
                    <a:pt x="553" y="1004"/>
                  </a:cubicBezTo>
                  <a:cubicBezTo>
                    <a:pt x="553" y="1005"/>
                    <a:pt x="553" y="1005"/>
                    <a:pt x="553" y="1005"/>
                  </a:cubicBezTo>
                  <a:cubicBezTo>
                    <a:pt x="552" y="1005"/>
                    <a:pt x="552" y="1005"/>
                    <a:pt x="552" y="1005"/>
                  </a:cubicBezTo>
                  <a:cubicBezTo>
                    <a:pt x="552" y="1006"/>
                    <a:pt x="552" y="1006"/>
                    <a:pt x="552" y="1006"/>
                  </a:cubicBezTo>
                  <a:cubicBezTo>
                    <a:pt x="552" y="1006"/>
                    <a:pt x="552" y="1006"/>
                    <a:pt x="552" y="1006"/>
                  </a:cubicBezTo>
                  <a:cubicBezTo>
                    <a:pt x="551" y="1007"/>
                    <a:pt x="551" y="1007"/>
                    <a:pt x="551" y="1007"/>
                  </a:cubicBezTo>
                  <a:cubicBezTo>
                    <a:pt x="551" y="1006"/>
                    <a:pt x="551" y="1006"/>
                    <a:pt x="551" y="1006"/>
                  </a:cubicBezTo>
                  <a:cubicBezTo>
                    <a:pt x="551" y="1006"/>
                    <a:pt x="551" y="1006"/>
                    <a:pt x="551" y="1006"/>
                  </a:cubicBezTo>
                  <a:cubicBezTo>
                    <a:pt x="551" y="1006"/>
                    <a:pt x="551" y="1006"/>
                    <a:pt x="551" y="1006"/>
                  </a:cubicBezTo>
                  <a:cubicBezTo>
                    <a:pt x="552" y="1006"/>
                    <a:pt x="552" y="1006"/>
                    <a:pt x="552" y="1006"/>
                  </a:cubicBezTo>
                  <a:cubicBezTo>
                    <a:pt x="552" y="1005"/>
                    <a:pt x="552" y="1005"/>
                    <a:pt x="552" y="1005"/>
                  </a:cubicBezTo>
                  <a:cubicBezTo>
                    <a:pt x="552" y="1005"/>
                    <a:pt x="552" y="1005"/>
                    <a:pt x="552" y="1005"/>
                  </a:cubicBezTo>
                  <a:cubicBezTo>
                    <a:pt x="553" y="1003"/>
                    <a:pt x="553" y="1003"/>
                    <a:pt x="553" y="1003"/>
                  </a:cubicBezTo>
                  <a:cubicBezTo>
                    <a:pt x="554" y="1001"/>
                    <a:pt x="554" y="1001"/>
                    <a:pt x="554" y="1001"/>
                  </a:cubicBezTo>
                  <a:cubicBezTo>
                    <a:pt x="554" y="1001"/>
                    <a:pt x="554" y="1001"/>
                    <a:pt x="554" y="1001"/>
                  </a:cubicBezTo>
                  <a:cubicBezTo>
                    <a:pt x="554" y="1000"/>
                    <a:pt x="554" y="1000"/>
                    <a:pt x="554" y="1000"/>
                  </a:cubicBezTo>
                  <a:cubicBezTo>
                    <a:pt x="553" y="998"/>
                    <a:pt x="553" y="998"/>
                    <a:pt x="553" y="998"/>
                  </a:cubicBezTo>
                  <a:cubicBezTo>
                    <a:pt x="553" y="998"/>
                    <a:pt x="553" y="998"/>
                    <a:pt x="553" y="998"/>
                  </a:cubicBezTo>
                  <a:cubicBezTo>
                    <a:pt x="553" y="997"/>
                    <a:pt x="553" y="997"/>
                    <a:pt x="553" y="997"/>
                  </a:cubicBezTo>
                  <a:cubicBezTo>
                    <a:pt x="553" y="997"/>
                    <a:pt x="553" y="997"/>
                    <a:pt x="553" y="997"/>
                  </a:cubicBezTo>
                  <a:cubicBezTo>
                    <a:pt x="553" y="996"/>
                    <a:pt x="553" y="996"/>
                    <a:pt x="553" y="996"/>
                  </a:cubicBezTo>
                  <a:cubicBezTo>
                    <a:pt x="553" y="996"/>
                    <a:pt x="553" y="996"/>
                    <a:pt x="553" y="996"/>
                  </a:cubicBezTo>
                  <a:cubicBezTo>
                    <a:pt x="553" y="995"/>
                    <a:pt x="553" y="995"/>
                    <a:pt x="553" y="995"/>
                  </a:cubicBezTo>
                  <a:cubicBezTo>
                    <a:pt x="553" y="994"/>
                    <a:pt x="553" y="994"/>
                    <a:pt x="553" y="994"/>
                  </a:cubicBezTo>
                  <a:cubicBezTo>
                    <a:pt x="554" y="993"/>
                    <a:pt x="554" y="993"/>
                    <a:pt x="554" y="993"/>
                  </a:cubicBezTo>
                  <a:cubicBezTo>
                    <a:pt x="555" y="993"/>
                    <a:pt x="555" y="993"/>
                    <a:pt x="555" y="993"/>
                  </a:cubicBezTo>
                  <a:cubicBezTo>
                    <a:pt x="555" y="994"/>
                    <a:pt x="555" y="994"/>
                    <a:pt x="555" y="994"/>
                  </a:cubicBezTo>
                  <a:cubicBezTo>
                    <a:pt x="554" y="995"/>
                    <a:pt x="554" y="995"/>
                    <a:pt x="554" y="995"/>
                  </a:cubicBezTo>
                  <a:cubicBezTo>
                    <a:pt x="555" y="995"/>
                    <a:pt x="555" y="995"/>
                    <a:pt x="555" y="995"/>
                  </a:cubicBezTo>
                  <a:cubicBezTo>
                    <a:pt x="555" y="995"/>
                    <a:pt x="555" y="995"/>
                    <a:pt x="555" y="995"/>
                  </a:cubicBezTo>
                  <a:cubicBezTo>
                    <a:pt x="555" y="996"/>
                    <a:pt x="555" y="996"/>
                    <a:pt x="555" y="996"/>
                  </a:cubicBezTo>
                  <a:cubicBezTo>
                    <a:pt x="555" y="996"/>
                    <a:pt x="555" y="996"/>
                    <a:pt x="555" y="996"/>
                  </a:cubicBezTo>
                  <a:cubicBezTo>
                    <a:pt x="555" y="997"/>
                    <a:pt x="555" y="997"/>
                    <a:pt x="555" y="997"/>
                  </a:cubicBezTo>
                  <a:cubicBezTo>
                    <a:pt x="555" y="999"/>
                    <a:pt x="555" y="999"/>
                    <a:pt x="555" y="999"/>
                  </a:cubicBezTo>
                  <a:close/>
                  <a:moveTo>
                    <a:pt x="558" y="993"/>
                  </a:moveTo>
                  <a:cubicBezTo>
                    <a:pt x="558" y="993"/>
                    <a:pt x="558" y="993"/>
                    <a:pt x="558" y="993"/>
                  </a:cubicBezTo>
                  <a:cubicBezTo>
                    <a:pt x="559" y="993"/>
                    <a:pt x="559" y="993"/>
                    <a:pt x="559" y="993"/>
                  </a:cubicBezTo>
                  <a:cubicBezTo>
                    <a:pt x="559" y="993"/>
                    <a:pt x="559" y="993"/>
                    <a:pt x="559" y="993"/>
                  </a:cubicBezTo>
                  <a:cubicBezTo>
                    <a:pt x="559" y="993"/>
                    <a:pt x="559" y="993"/>
                    <a:pt x="559" y="993"/>
                  </a:cubicBezTo>
                  <a:lnTo>
                    <a:pt x="558" y="993"/>
                  </a:lnTo>
                  <a:close/>
                  <a:moveTo>
                    <a:pt x="567" y="1001"/>
                  </a:moveTo>
                  <a:cubicBezTo>
                    <a:pt x="567" y="1001"/>
                    <a:pt x="567" y="1001"/>
                    <a:pt x="567" y="1001"/>
                  </a:cubicBezTo>
                  <a:cubicBezTo>
                    <a:pt x="567" y="1001"/>
                    <a:pt x="567" y="1001"/>
                    <a:pt x="567" y="1001"/>
                  </a:cubicBezTo>
                  <a:cubicBezTo>
                    <a:pt x="567" y="1000"/>
                    <a:pt x="567" y="1000"/>
                    <a:pt x="567" y="1000"/>
                  </a:cubicBezTo>
                  <a:cubicBezTo>
                    <a:pt x="567" y="1000"/>
                    <a:pt x="567" y="1000"/>
                    <a:pt x="567" y="1000"/>
                  </a:cubicBezTo>
                  <a:cubicBezTo>
                    <a:pt x="567" y="1000"/>
                    <a:pt x="567" y="1000"/>
                    <a:pt x="567" y="1000"/>
                  </a:cubicBezTo>
                  <a:cubicBezTo>
                    <a:pt x="568" y="1000"/>
                    <a:pt x="568" y="1000"/>
                    <a:pt x="568" y="1000"/>
                  </a:cubicBezTo>
                  <a:cubicBezTo>
                    <a:pt x="568" y="1000"/>
                    <a:pt x="568" y="1000"/>
                    <a:pt x="568" y="1000"/>
                  </a:cubicBezTo>
                  <a:cubicBezTo>
                    <a:pt x="568" y="1001"/>
                    <a:pt x="568" y="1001"/>
                    <a:pt x="568" y="1001"/>
                  </a:cubicBezTo>
                  <a:lnTo>
                    <a:pt x="567" y="1001"/>
                  </a:lnTo>
                  <a:close/>
                  <a:moveTo>
                    <a:pt x="581" y="1003"/>
                  </a:moveTo>
                  <a:cubicBezTo>
                    <a:pt x="580" y="1004"/>
                    <a:pt x="580" y="1004"/>
                    <a:pt x="580" y="1004"/>
                  </a:cubicBezTo>
                  <a:cubicBezTo>
                    <a:pt x="580" y="1004"/>
                    <a:pt x="580" y="1004"/>
                    <a:pt x="580" y="1004"/>
                  </a:cubicBezTo>
                  <a:cubicBezTo>
                    <a:pt x="580" y="1004"/>
                    <a:pt x="580" y="1004"/>
                    <a:pt x="580" y="1004"/>
                  </a:cubicBezTo>
                  <a:cubicBezTo>
                    <a:pt x="580" y="1003"/>
                    <a:pt x="580" y="1003"/>
                    <a:pt x="580" y="1003"/>
                  </a:cubicBezTo>
                  <a:cubicBezTo>
                    <a:pt x="579" y="1001"/>
                    <a:pt x="579" y="1001"/>
                    <a:pt x="579" y="1001"/>
                  </a:cubicBezTo>
                  <a:cubicBezTo>
                    <a:pt x="578" y="1001"/>
                    <a:pt x="578" y="1001"/>
                    <a:pt x="578" y="1001"/>
                  </a:cubicBezTo>
                  <a:cubicBezTo>
                    <a:pt x="578" y="1001"/>
                    <a:pt x="578" y="1001"/>
                    <a:pt x="578" y="1001"/>
                  </a:cubicBezTo>
                  <a:cubicBezTo>
                    <a:pt x="578" y="1000"/>
                    <a:pt x="578" y="1000"/>
                    <a:pt x="578" y="1000"/>
                  </a:cubicBezTo>
                  <a:cubicBezTo>
                    <a:pt x="578" y="1000"/>
                    <a:pt x="578" y="1000"/>
                    <a:pt x="578" y="1000"/>
                  </a:cubicBezTo>
                  <a:cubicBezTo>
                    <a:pt x="579" y="999"/>
                    <a:pt x="579" y="999"/>
                    <a:pt x="579" y="999"/>
                  </a:cubicBezTo>
                  <a:cubicBezTo>
                    <a:pt x="579" y="999"/>
                    <a:pt x="579" y="999"/>
                    <a:pt x="579" y="999"/>
                  </a:cubicBezTo>
                  <a:cubicBezTo>
                    <a:pt x="579" y="998"/>
                    <a:pt x="579" y="998"/>
                    <a:pt x="579" y="998"/>
                  </a:cubicBezTo>
                  <a:cubicBezTo>
                    <a:pt x="580" y="997"/>
                    <a:pt x="580" y="997"/>
                    <a:pt x="580" y="997"/>
                  </a:cubicBezTo>
                  <a:cubicBezTo>
                    <a:pt x="579" y="997"/>
                    <a:pt x="579" y="997"/>
                    <a:pt x="579" y="997"/>
                  </a:cubicBezTo>
                  <a:cubicBezTo>
                    <a:pt x="579" y="997"/>
                    <a:pt x="579" y="997"/>
                    <a:pt x="579" y="997"/>
                  </a:cubicBezTo>
                  <a:cubicBezTo>
                    <a:pt x="577" y="996"/>
                    <a:pt x="577" y="996"/>
                    <a:pt x="577" y="996"/>
                  </a:cubicBezTo>
                  <a:cubicBezTo>
                    <a:pt x="577" y="996"/>
                    <a:pt x="577" y="996"/>
                    <a:pt x="577" y="996"/>
                  </a:cubicBezTo>
                  <a:cubicBezTo>
                    <a:pt x="576" y="996"/>
                    <a:pt x="576" y="996"/>
                    <a:pt x="576" y="996"/>
                  </a:cubicBezTo>
                  <a:cubicBezTo>
                    <a:pt x="577" y="995"/>
                    <a:pt x="577" y="995"/>
                    <a:pt x="577" y="995"/>
                  </a:cubicBezTo>
                  <a:cubicBezTo>
                    <a:pt x="577" y="994"/>
                    <a:pt x="577" y="994"/>
                    <a:pt x="577" y="994"/>
                  </a:cubicBezTo>
                  <a:cubicBezTo>
                    <a:pt x="576" y="994"/>
                    <a:pt x="576" y="994"/>
                    <a:pt x="576" y="994"/>
                  </a:cubicBezTo>
                  <a:cubicBezTo>
                    <a:pt x="576" y="994"/>
                    <a:pt x="576" y="994"/>
                    <a:pt x="576" y="994"/>
                  </a:cubicBezTo>
                  <a:cubicBezTo>
                    <a:pt x="576" y="993"/>
                    <a:pt x="576" y="993"/>
                    <a:pt x="576" y="993"/>
                  </a:cubicBezTo>
                  <a:cubicBezTo>
                    <a:pt x="576" y="993"/>
                    <a:pt x="576" y="993"/>
                    <a:pt x="576" y="993"/>
                  </a:cubicBezTo>
                  <a:cubicBezTo>
                    <a:pt x="576" y="992"/>
                    <a:pt x="576" y="992"/>
                    <a:pt x="576" y="992"/>
                  </a:cubicBezTo>
                  <a:cubicBezTo>
                    <a:pt x="576" y="992"/>
                    <a:pt x="576" y="992"/>
                    <a:pt x="576" y="992"/>
                  </a:cubicBezTo>
                  <a:cubicBezTo>
                    <a:pt x="577" y="991"/>
                    <a:pt x="577" y="991"/>
                    <a:pt x="577" y="991"/>
                  </a:cubicBezTo>
                  <a:cubicBezTo>
                    <a:pt x="577" y="991"/>
                    <a:pt x="577" y="991"/>
                    <a:pt x="577" y="991"/>
                  </a:cubicBezTo>
                  <a:cubicBezTo>
                    <a:pt x="577" y="990"/>
                    <a:pt x="577" y="990"/>
                    <a:pt x="577" y="990"/>
                  </a:cubicBezTo>
                  <a:cubicBezTo>
                    <a:pt x="578" y="989"/>
                    <a:pt x="578" y="989"/>
                    <a:pt x="578" y="989"/>
                  </a:cubicBezTo>
                  <a:cubicBezTo>
                    <a:pt x="578" y="988"/>
                    <a:pt x="578" y="988"/>
                    <a:pt x="578" y="988"/>
                  </a:cubicBezTo>
                  <a:cubicBezTo>
                    <a:pt x="578" y="988"/>
                    <a:pt x="578" y="988"/>
                    <a:pt x="578" y="988"/>
                  </a:cubicBezTo>
                  <a:cubicBezTo>
                    <a:pt x="579" y="988"/>
                    <a:pt x="579" y="988"/>
                    <a:pt x="579" y="988"/>
                  </a:cubicBezTo>
                  <a:cubicBezTo>
                    <a:pt x="579" y="989"/>
                    <a:pt x="579" y="989"/>
                    <a:pt x="579" y="989"/>
                  </a:cubicBezTo>
                  <a:cubicBezTo>
                    <a:pt x="579" y="989"/>
                    <a:pt x="579" y="989"/>
                    <a:pt x="579" y="989"/>
                  </a:cubicBezTo>
                  <a:cubicBezTo>
                    <a:pt x="578" y="990"/>
                    <a:pt x="578" y="990"/>
                    <a:pt x="578" y="990"/>
                  </a:cubicBezTo>
                  <a:cubicBezTo>
                    <a:pt x="578" y="991"/>
                    <a:pt x="578" y="991"/>
                    <a:pt x="578" y="991"/>
                  </a:cubicBezTo>
                  <a:cubicBezTo>
                    <a:pt x="578" y="991"/>
                    <a:pt x="578" y="991"/>
                    <a:pt x="578" y="991"/>
                  </a:cubicBezTo>
                  <a:cubicBezTo>
                    <a:pt x="578" y="992"/>
                    <a:pt x="578" y="992"/>
                    <a:pt x="578" y="992"/>
                  </a:cubicBezTo>
                  <a:cubicBezTo>
                    <a:pt x="578" y="992"/>
                    <a:pt x="578" y="992"/>
                    <a:pt x="578" y="992"/>
                  </a:cubicBezTo>
                  <a:cubicBezTo>
                    <a:pt x="578" y="993"/>
                    <a:pt x="578" y="993"/>
                    <a:pt x="578" y="993"/>
                  </a:cubicBezTo>
                  <a:cubicBezTo>
                    <a:pt x="578" y="993"/>
                    <a:pt x="578" y="993"/>
                    <a:pt x="578" y="993"/>
                  </a:cubicBezTo>
                  <a:cubicBezTo>
                    <a:pt x="578" y="993"/>
                    <a:pt x="578" y="993"/>
                    <a:pt x="578" y="993"/>
                  </a:cubicBezTo>
                  <a:cubicBezTo>
                    <a:pt x="578" y="993"/>
                    <a:pt x="578" y="993"/>
                    <a:pt x="578" y="993"/>
                  </a:cubicBezTo>
                  <a:cubicBezTo>
                    <a:pt x="578" y="994"/>
                    <a:pt x="578" y="994"/>
                    <a:pt x="578" y="994"/>
                  </a:cubicBezTo>
                  <a:cubicBezTo>
                    <a:pt x="578" y="995"/>
                    <a:pt x="578" y="995"/>
                    <a:pt x="578" y="995"/>
                  </a:cubicBezTo>
                  <a:cubicBezTo>
                    <a:pt x="579" y="995"/>
                    <a:pt x="579" y="995"/>
                    <a:pt x="579" y="995"/>
                  </a:cubicBezTo>
                  <a:cubicBezTo>
                    <a:pt x="580" y="995"/>
                    <a:pt x="580" y="995"/>
                    <a:pt x="580" y="995"/>
                  </a:cubicBezTo>
                  <a:cubicBezTo>
                    <a:pt x="581" y="996"/>
                    <a:pt x="581" y="996"/>
                    <a:pt x="581" y="996"/>
                  </a:cubicBezTo>
                  <a:cubicBezTo>
                    <a:pt x="581" y="996"/>
                    <a:pt x="581" y="996"/>
                    <a:pt x="581" y="996"/>
                  </a:cubicBezTo>
                  <a:cubicBezTo>
                    <a:pt x="581" y="997"/>
                    <a:pt x="581" y="997"/>
                    <a:pt x="581" y="997"/>
                  </a:cubicBezTo>
                  <a:cubicBezTo>
                    <a:pt x="581" y="997"/>
                    <a:pt x="581" y="997"/>
                    <a:pt x="581" y="997"/>
                  </a:cubicBezTo>
                  <a:cubicBezTo>
                    <a:pt x="580" y="998"/>
                    <a:pt x="580" y="998"/>
                    <a:pt x="580" y="998"/>
                  </a:cubicBezTo>
                  <a:cubicBezTo>
                    <a:pt x="580" y="998"/>
                    <a:pt x="580" y="998"/>
                    <a:pt x="580" y="998"/>
                  </a:cubicBezTo>
                  <a:cubicBezTo>
                    <a:pt x="580" y="999"/>
                    <a:pt x="580" y="999"/>
                    <a:pt x="580" y="999"/>
                  </a:cubicBezTo>
                  <a:cubicBezTo>
                    <a:pt x="580" y="999"/>
                    <a:pt x="580" y="999"/>
                    <a:pt x="580" y="999"/>
                  </a:cubicBezTo>
                  <a:cubicBezTo>
                    <a:pt x="580" y="1000"/>
                    <a:pt x="580" y="1000"/>
                    <a:pt x="580" y="1000"/>
                  </a:cubicBezTo>
                  <a:cubicBezTo>
                    <a:pt x="580" y="1000"/>
                    <a:pt x="580" y="1000"/>
                    <a:pt x="580" y="1000"/>
                  </a:cubicBezTo>
                  <a:cubicBezTo>
                    <a:pt x="581" y="1001"/>
                    <a:pt x="581" y="1001"/>
                    <a:pt x="581" y="1001"/>
                  </a:cubicBezTo>
                  <a:cubicBezTo>
                    <a:pt x="582" y="1002"/>
                    <a:pt x="582" y="1002"/>
                    <a:pt x="582" y="1002"/>
                  </a:cubicBezTo>
                  <a:lnTo>
                    <a:pt x="581" y="1003"/>
                  </a:lnTo>
                  <a:close/>
                  <a:moveTo>
                    <a:pt x="591" y="988"/>
                  </a:moveTo>
                  <a:cubicBezTo>
                    <a:pt x="591" y="990"/>
                    <a:pt x="591" y="990"/>
                    <a:pt x="591" y="990"/>
                  </a:cubicBezTo>
                  <a:cubicBezTo>
                    <a:pt x="590" y="990"/>
                    <a:pt x="590" y="990"/>
                    <a:pt x="590" y="990"/>
                  </a:cubicBezTo>
                  <a:cubicBezTo>
                    <a:pt x="590" y="990"/>
                    <a:pt x="590" y="990"/>
                    <a:pt x="590" y="990"/>
                  </a:cubicBezTo>
                  <a:cubicBezTo>
                    <a:pt x="590" y="990"/>
                    <a:pt x="590" y="990"/>
                    <a:pt x="590" y="990"/>
                  </a:cubicBezTo>
                  <a:cubicBezTo>
                    <a:pt x="589" y="990"/>
                    <a:pt x="589" y="990"/>
                    <a:pt x="589" y="990"/>
                  </a:cubicBezTo>
                  <a:cubicBezTo>
                    <a:pt x="589" y="990"/>
                    <a:pt x="589" y="990"/>
                    <a:pt x="589" y="990"/>
                  </a:cubicBezTo>
                  <a:cubicBezTo>
                    <a:pt x="589" y="988"/>
                    <a:pt x="589" y="988"/>
                    <a:pt x="589" y="988"/>
                  </a:cubicBezTo>
                  <a:cubicBezTo>
                    <a:pt x="589" y="988"/>
                    <a:pt x="589" y="988"/>
                    <a:pt x="589" y="988"/>
                  </a:cubicBezTo>
                  <a:cubicBezTo>
                    <a:pt x="589" y="987"/>
                    <a:pt x="589" y="987"/>
                    <a:pt x="589" y="987"/>
                  </a:cubicBezTo>
                  <a:cubicBezTo>
                    <a:pt x="587" y="987"/>
                    <a:pt x="587" y="987"/>
                    <a:pt x="587" y="987"/>
                  </a:cubicBezTo>
                  <a:cubicBezTo>
                    <a:pt x="587" y="986"/>
                    <a:pt x="587" y="986"/>
                    <a:pt x="587" y="986"/>
                  </a:cubicBezTo>
                  <a:cubicBezTo>
                    <a:pt x="586" y="985"/>
                    <a:pt x="586" y="985"/>
                    <a:pt x="586" y="985"/>
                  </a:cubicBezTo>
                  <a:cubicBezTo>
                    <a:pt x="586" y="985"/>
                    <a:pt x="586" y="985"/>
                    <a:pt x="586" y="985"/>
                  </a:cubicBezTo>
                  <a:cubicBezTo>
                    <a:pt x="587" y="985"/>
                    <a:pt x="587" y="985"/>
                    <a:pt x="587" y="985"/>
                  </a:cubicBezTo>
                  <a:cubicBezTo>
                    <a:pt x="587" y="984"/>
                    <a:pt x="587" y="984"/>
                    <a:pt x="587" y="984"/>
                  </a:cubicBezTo>
                  <a:cubicBezTo>
                    <a:pt x="587" y="983"/>
                    <a:pt x="587" y="983"/>
                    <a:pt x="587" y="983"/>
                  </a:cubicBezTo>
                  <a:cubicBezTo>
                    <a:pt x="587" y="983"/>
                    <a:pt x="587" y="983"/>
                    <a:pt x="587" y="983"/>
                  </a:cubicBezTo>
                  <a:cubicBezTo>
                    <a:pt x="587" y="983"/>
                    <a:pt x="587" y="983"/>
                    <a:pt x="587" y="983"/>
                  </a:cubicBezTo>
                  <a:cubicBezTo>
                    <a:pt x="588" y="982"/>
                    <a:pt x="588" y="982"/>
                    <a:pt x="588" y="982"/>
                  </a:cubicBezTo>
                  <a:cubicBezTo>
                    <a:pt x="588" y="982"/>
                    <a:pt x="588" y="982"/>
                    <a:pt x="588" y="982"/>
                  </a:cubicBezTo>
                  <a:cubicBezTo>
                    <a:pt x="588" y="981"/>
                    <a:pt x="588" y="981"/>
                    <a:pt x="588" y="981"/>
                  </a:cubicBezTo>
                  <a:cubicBezTo>
                    <a:pt x="588" y="980"/>
                    <a:pt x="588" y="980"/>
                    <a:pt x="588" y="980"/>
                  </a:cubicBezTo>
                  <a:cubicBezTo>
                    <a:pt x="588" y="980"/>
                    <a:pt x="588" y="980"/>
                    <a:pt x="588" y="980"/>
                  </a:cubicBezTo>
                  <a:cubicBezTo>
                    <a:pt x="589" y="979"/>
                    <a:pt x="589" y="979"/>
                    <a:pt x="589" y="979"/>
                  </a:cubicBezTo>
                  <a:cubicBezTo>
                    <a:pt x="589" y="979"/>
                    <a:pt x="589" y="979"/>
                    <a:pt x="589" y="979"/>
                  </a:cubicBezTo>
                  <a:cubicBezTo>
                    <a:pt x="589" y="978"/>
                    <a:pt x="589" y="978"/>
                    <a:pt x="589" y="978"/>
                  </a:cubicBezTo>
                  <a:cubicBezTo>
                    <a:pt x="589" y="977"/>
                    <a:pt x="589" y="977"/>
                    <a:pt x="589" y="977"/>
                  </a:cubicBezTo>
                  <a:cubicBezTo>
                    <a:pt x="589" y="976"/>
                    <a:pt x="589" y="976"/>
                    <a:pt x="589" y="976"/>
                  </a:cubicBezTo>
                  <a:cubicBezTo>
                    <a:pt x="589" y="974"/>
                    <a:pt x="589" y="974"/>
                    <a:pt x="589" y="974"/>
                  </a:cubicBezTo>
                  <a:cubicBezTo>
                    <a:pt x="589" y="974"/>
                    <a:pt x="589" y="974"/>
                    <a:pt x="589" y="974"/>
                  </a:cubicBezTo>
                  <a:cubicBezTo>
                    <a:pt x="589" y="974"/>
                    <a:pt x="589" y="974"/>
                    <a:pt x="589" y="974"/>
                  </a:cubicBezTo>
                  <a:cubicBezTo>
                    <a:pt x="589" y="975"/>
                    <a:pt x="589" y="975"/>
                    <a:pt x="589" y="975"/>
                  </a:cubicBezTo>
                  <a:cubicBezTo>
                    <a:pt x="589" y="976"/>
                    <a:pt x="589" y="976"/>
                    <a:pt x="589" y="976"/>
                  </a:cubicBezTo>
                  <a:cubicBezTo>
                    <a:pt x="589" y="977"/>
                    <a:pt x="589" y="977"/>
                    <a:pt x="589" y="977"/>
                  </a:cubicBezTo>
                  <a:cubicBezTo>
                    <a:pt x="590" y="978"/>
                    <a:pt x="590" y="978"/>
                    <a:pt x="590" y="978"/>
                  </a:cubicBezTo>
                  <a:cubicBezTo>
                    <a:pt x="590" y="978"/>
                    <a:pt x="590" y="978"/>
                    <a:pt x="590" y="978"/>
                  </a:cubicBezTo>
                  <a:cubicBezTo>
                    <a:pt x="590" y="978"/>
                    <a:pt x="590" y="978"/>
                    <a:pt x="590" y="978"/>
                  </a:cubicBezTo>
                  <a:cubicBezTo>
                    <a:pt x="589" y="979"/>
                    <a:pt x="589" y="979"/>
                    <a:pt x="589" y="979"/>
                  </a:cubicBezTo>
                  <a:cubicBezTo>
                    <a:pt x="589" y="980"/>
                    <a:pt x="589" y="980"/>
                    <a:pt x="589" y="980"/>
                  </a:cubicBezTo>
                  <a:cubicBezTo>
                    <a:pt x="590" y="980"/>
                    <a:pt x="590" y="980"/>
                    <a:pt x="590" y="980"/>
                  </a:cubicBezTo>
                  <a:cubicBezTo>
                    <a:pt x="590" y="981"/>
                    <a:pt x="590" y="981"/>
                    <a:pt x="590" y="981"/>
                  </a:cubicBezTo>
                  <a:cubicBezTo>
                    <a:pt x="589" y="981"/>
                    <a:pt x="589" y="981"/>
                    <a:pt x="589" y="981"/>
                  </a:cubicBezTo>
                  <a:cubicBezTo>
                    <a:pt x="589" y="982"/>
                    <a:pt x="589" y="982"/>
                    <a:pt x="589" y="982"/>
                  </a:cubicBezTo>
                  <a:cubicBezTo>
                    <a:pt x="589" y="982"/>
                    <a:pt x="589" y="982"/>
                    <a:pt x="589" y="982"/>
                  </a:cubicBezTo>
                  <a:cubicBezTo>
                    <a:pt x="589" y="982"/>
                    <a:pt x="589" y="982"/>
                    <a:pt x="589" y="982"/>
                  </a:cubicBezTo>
                  <a:cubicBezTo>
                    <a:pt x="589" y="983"/>
                    <a:pt x="589" y="983"/>
                    <a:pt x="589" y="983"/>
                  </a:cubicBezTo>
                  <a:cubicBezTo>
                    <a:pt x="588" y="984"/>
                    <a:pt x="588" y="984"/>
                    <a:pt x="588" y="984"/>
                  </a:cubicBezTo>
                  <a:cubicBezTo>
                    <a:pt x="588" y="984"/>
                    <a:pt x="588" y="984"/>
                    <a:pt x="588" y="984"/>
                  </a:cubicBezTo>
                  <a:cubicBezTo>
                    <a:pt x="588" y="984"/>
                    <a:pt x="588" y="984"/>
                    <a:pt x="588" y="984"/>
                  </a:cubicBezTo>
                  <a:cubicBezTo>
                    <a:pt x="588" y="985"/>
                    <a:pt x="588" y="985"/>
                    <a:pt x="588" y="985"/>
                  </a:cubicBezTo>
                  <a:cubicBezTo>
                    <a:pt x="589" y="986"/>
                    <a:pt x="589" y="986"/>
                    <a:pt x="589" y="986"/>
                  </a:cubicBezTo>
                  <a:cubicBezTo>
                    <a:pt x="590" y="986"/>
                    <a:pt x="590" y="986"/>
                    <a:pt x="590" y="986"/>
                  </a:cubicBezTo>
                  <a:cubicBezTo>
                    <a:pt x="591" y="987"/>
                    <a:pt x="591" y="987"/>
                    <a:pt x="591" y="987"/>
                  </a:cubicBezTo>
                  <a:cubicBezTo>
                    <a:pt x="591" y="987"/>
                    <a:pt x="591" y="987"/>
                    <a:pt x="591" y="987"/>
                  </a:cubicBezTo>
                  <a:lnTo>
                    <a:pt x="591" y="988"/>
                  </a:lnTo>
                  <a:close/>
                  <a:moveTo>
                    <a:pt x="609" y="976"/>
                  </a:moveTo>
                  <a:cubicBezTo>
                    <a:pt x="608" y="977"/>
                    <a:pt x="608" y="977"/>
                    <a:pt x="608" y="977"/>
                  </a:cubicBezTo>
                  <a:cubicBezTo>
                    <a:pt x="608" y="978"/>
                    <a:pt x="608" y="978"/>
                    <a:pt x="608" y="978"/>
                  </a:cubicBezTo>
                  <a:cubicBezTo>
                    <a:pt x="608" y="978"/>
                    <a:pt x="608" y="978"/>
                    <a:pt x="608" y="978"/>
                  </a:cubicBezTo>
                  <a:cubicBezTo>
                    <a:pt x="608" y="978"/>
                    <a:pt x="608" y="978"/>
                    <a:pt x="608" y="978"/>
                  </a:cubicBezTo>
                  <a:cubicBezTo>
                    <a:pt x="608" y="978"/>
                    <a:pt x="608" y="978"/>
                    <a:pt x="608" y="978"/>
                  </a:cubicBezTo>
                  <a:cubicBezTo>
                    <a:pt x="608" y="978"/>
                    <a:pt x="608" y="978"/>
                    <a:pt x="608" y="978"/>
                  </a:cubicBezTo>
                  <a:cubicBezTo>
                    <a:pt x="608" y="979"/>
                    <a:pt x="608" y="979"/>
                    <a:pt x="608" y="979"/>
                  </a:cubicBezTo>
                  <a:cubicBezTo>
                    <a:pt x="607" y="980"/>
                    <a:pt x="607" y="980"/>
                    <a:pt x="607" y="980"/>
                  </a:cubicBezTo>
                  <a:cubicBezTo>
                    <a:pt x="606" y="980"/>
                    <a:pt x="606" y="980"/>
                    <a:pt x="606" y="980"/>
                  </a:cubicBezTo>
                  <a:cubicBezTo>
                    <a:pt x="606" y="980"/>
                    <a:pt x="606" y="980"/>
                    <a:pt x="606" y="980"/>
                  </a:cubicBezTo>
                  <a:cubicBezTo>
                    <a:pt x="607" y="980"/>
                    <a:pt x="607" y="980"/>
                    <a:pt x="607" y="980"/>
                  </a:cubicBezTo>
                  <a:cubicBezTo>
                    <a:pt x="607" y="980"/>
                    <a:pt x="607" y="980"/>
                    <a:pt x="607" y="980"/>
                  </a:cubicBezTo>
                  <a:cubicBezTo>
                    <a:pt x="607" y="979"/>
                    <a:pt x="607" y="979"/>
                    <a:pt x="607" y="979"/>
                  </a:cubicBezTo>
                  <a:cubicBezTo>
                    <a:pt x="607" y="979"/>
                    <a:pt x="607" y="979"/>
                    <a:pt x="607" y="979"/>
                  </a:cubicBezTo>
                  <a:cubicBezTo>
                    <a:pt x="607" y="979"/>
                    <a:pt x="607" y="979"/>
                    <a:pt x="607" y="979"/>
                  </a:cubicBezTo>
                  <a:cubicBezTo>
                    <a:pt x="607" y="979"/>
                    <a:pt x="607" y="979"/>
                    <a:pt x="607" y="979"/>
                  </a:cubicBezTo>
                  <a:cubicBezTo>
                    <a:pt x="607" y="978"/>
                    <a:pt x="607" y="978"/>
                    <a:pt x="607" y="978"/>
                  </a:cubicBezTo>
                  <a:cubicBezTo>
                    <a:pt x="608" y="977"/>
                    <a:pt x="608" y="977"/>
                    <a:pt x="608" y="977"/>
                  </a:cubicBezTo>
                  <a:cubicBezTo>
                    <a:pt x="608" y="976"/>
                    <a:pt x="608" y="976"/>
                    <a:pt x="608" y="976"/>
                  </a:cubicBezTo>
                  <a:cubicBezTo>
                    <a:pt x="608" y="975"/>
                    <a:pt x="608" y="975"/>
                    <a:pt x="608" y="975"/>
                  </a:cubicBezTo>
                  <a:cubicBezTo>
                    <a:pt x="609" y="974"/>
                    <a:pt x="609" y="974"/>
                    <a:pt x="609" y="974"/>
                  </a:cubicBezTo>
                  <a:cubicBezTo>
                    <a:pt x="609" y="975"/>
                    <a:pt x="609" y="975"/>
                    <a:pt x="609" y="975"/>
                  </a:cubicBezTo>
                  <a:lnTo>
                    <a:pt x="609" y="976"/>
                  </a:lnTo>
                  <a:close/>
                  <a:moveTo>
                    <a:pt x="680" y="1014"/>
                  </a:moveTo>
                  <a:cubicBezTo>
                    <a:pt x="679" y="1013"/>
                    <a:pt x="679" y="1013"/>
                    <a:pt x="679" y="1013"/>
                  </a:cubicBezTo>
                  <a:cubicBezTo>
                    <a:pt x="680" y="1013"/>
                    <a:pt x="680" y="1013"/>
                    <a:pt x="680" y="1013"/>
                  </a:cubicBezTo>
                  <a:cubicBezTo>
                    <a:pt x="680" y="1013"/>
                    <a:pt x="680" y="1013"/>
                    <a:pt x="680" y="1013"/>
                  </a:cubicBezTo>
                  <a:cubicBezTo>
                    <a:pt x="680" y="1012"/>
                    <a:pt x="680" y="1012"/>
                    <a:pt x="680" y="1012"/>
                  </a:cubicBezTo>
                  <a:cubicBezTo>
                    <a:pt x="680" y="1012"/>
                    <a:pt x="680" y="1012"/>
                    <a:pt x="680" y="1012"/>
                  </a:cubicBezTo>
                  <a:cubicBezTo>
                    <a:pt x="680" y="1012"/>
                    <a:pt x="680" y="1012"/>
                    <a:pt x="680" y="1012"/>
                  </a:cubicBezTo>
                  <a:cubicBezTo>
                    <a:pt x="680" y="1011"/>
                    <a:pt x="680" y="1011"/>
                    <a:pt x="680" y="1011"/>
                  </a:cubicBezTo>
                  <a:cubicBezTo>
                    <a:pt x="681" y="1011"/>
                    <a:pt x="681" y="1011"/>
                    <a:pt x="681" y="1011"/>
                  </a:cubicBezTo>
                  <a:cubicBezTo>
                    <a:pt x="681" y="1010"/>
                    <a:pt x="681" y="1010"/>
                    <a:pt x="681" y="1010"/>
                  </a:cubicBezTo>
                  <a:cubicBezTo>
                    <a:pt x="684" y="1008"/>
                    <a:pt x="684" y="1008"/>
                    <a:pt x="684" y="1008"/>
                  </a:cubicBezTo>
                  <a:cubicBezTo>
                    <a:pt x="685" y="1007"/>
                    <a:pt x="685" y="1007"/>
                    <a:pt x="685" y="1007"/>
                  </a:cubicBezTo>
                  <a:cubicBezTo>
                    <a:pt x="685" y="1007"/>
                    <a:pt x="685" y="1007"/>
                    <a:pt x="685" y="1007"/>
                  </a:cubicBezTo>
                  <a:cubicBezTo>
                    <a:pt x="685" y="1007"/>
                    <a:pt x="685" y="1007"/>
                    <a:pt x="685" y="1007"/>
                  </a:cubicBezTo>
                  <a:cubicBezTo>
                    <a:pt x="685" y="1007"/>
                    <a:pt x="685" y="1007"/>
                    <a:pt x="685" y="1007"/>
                  </a:cubicBezTo>
                  <a:cubicBezTo>
                    <a:pt x="686" y="1008"/>
                    <a:pt x="686" y="1008"/>
                    <a:pt x="686" y="1008"/>
                  </a:cubicBezTo>
                  <a:cubicBezTo>
                    <a:pt x="686" y="1008"/>
                    <a:pt x="686" y="1008"/>
                    <a:pt x="686" y="1008"/>
                  </a:cubicBezTo>
                  <a:cubicBezTo>
                    <a:pt x="685" y="1010"/>
                    <a:pt x="685" y="1010"/>
                    <a:pt x="685" y="1010"/>
                  </a:cubicBezTo>
                  <a:cubicBezTo>
                    <a:pt x="682" y="1012"/>
                    <a:pt x="682" y="1012"/>
                    <a:pt x="682" y="1012"/>
                  </a:cubicBezTo>
                  <a:cubicBezTo>
                    <a:pt x="682" y="1013"/>
                    <a:pt x="682" y="1013"/>
                    <a:pt x="682" y="1013"/>
                  </a:cubicBezTo>
                  <a:cubicBezTo>
                    <a:pt x="681" y="1013"/>
                    <a:pt x="681" y="1013"/>
                    <a:pt x="681" y="1013"/>
                  </a:cubicBezTo>
                  <a:cubicBezTo>
                    <a:pt x="681" y="1014"/>
                    <a:pt x="681" y="1014"/>
                    <a:pt x="681" y="1014"/>
                  </a:cubicBezTo>
                  <a:cubicBezTo>
                    <a:pt x="681" y="1014"/>
                    <a:pt x="681" y="1014"/>
                    <a:pt x="681" y="1014"/>
                  </a:cubicBezTo>
                  <a:cubicBezTo>
                    <a:pt x="681" y="1014"/>
                    <a:pt x="681" y="1014"/>
                    <a:pt x="681" y="1014"/>
                  </a:cubicBezTo>
                  <a:cubicBezTo>
                    <a:pt x="681" y="1014"/>
                    <a:pt x="681" y="1014"/>
                    <a:pt x="681" y="1014"/>
                  </a:cubicBezTo>
                  <a:cubicBezTo>
                    <a:pt x="681" y="1015"/>
                    <a:pt x="681" y="1015"/>
                    <a:pt x="681" y="1015"/>
                  </a:cubicBezTo>
                  <a:cubicBezTo>
                    <a:pt x="681" y="1015"/>
                    <a:pt x="681" y="1015"/>
                    <a:pt x="681" y="1015"/>
                  </a:cubicBezTo>
                  <a:cubicBezTo>
                    <a:pt x="680" y="1014"/>
                    <a:pt x="680" y="1014"/>
                    <a:pt x="680" y="1014"/>
                  </a:cubicBezTo>
                  <a:cubicBezTo>
                    <a:pt x="680" y="1014"/>
                    <a:pt x="680" y="1014"/>
                    <a:pt x="680" y="1014"/>
                  </a:cubicBezTo>
                  <a:close/>
                  <a:moveTo>
                    <a:pt x="683" y="1022"/>
                  </a:moveTo>
                  <a:cubicBezTo>
                    <a:pt x="683" y="1021"/>
                    <a:pt x="683" y="1021"/>
                    <a:pt x="683" y="1021"/>
                  </a:cubicBezTo>
                  <a:cubicBezTo>
                    <a:pt x="683" y="1021"/>
                    <a:pt x="683" y="1021"/>
                    <a:pt x="683" y="1021"/>
                  </a:cubicBezTo>
                  <a:cubicBezTo>
                    <a:pt x="683" y="1019"/>
                    <a:pt x="683" y="1019"/>
                    <a:pt x="683" y="1019"/>
                  </a:cubicBezTo>
                  <a:cubicBezTo>
                    <a:pt x="684" y="1017"/>
                    <a:pt x="684" y="1017"/>
                    <a:pt x="684" y="1017"/>
                  </a:cubicBezTo>
                  <a:cubicBezTo>
                    <a:pt x="684" y="1017"/>
                    <a:pt x="684" y="1017"/>
                    <a:pt x="684" y="1017"/>
                  </a:cubicBezTo>
                  <a:cubicBezTo>
                    <a:pt x="684" y="1016"/>
                    <a:pt x="684" y="1016"/>
                    <a:pt x="684" y="1016"/>
                  </a:cubicBezTo>
                  <a:cubicBezTo>
                    <a:pt x="685" y="1016"/>
                    <a:pt x="685" y="1016"/>
                    <a:pt x="685" y="1016"/>
                  </a:cubicBezTo>
                  <a:cubicBezTo>
                    <a:pt x="685" y="1017"/>
                    <a:pt x="685" y="1017"/>
                    <a:pt x="685" y="1017"/>
                  </a:cubicBezTo>
                  <a:cubicBezTo>
                    <a:pt x="685" y="1018"/>
                    <a:pt x="685" y="1018"/>
                    <a:pt x="685" y="1018"/>
                  </a:cubicBezTo>
                  <a:cubicBezTo>
                    <a:pt x="685" y="1018"/>
                    <a:pt x="685" y="1018"/>
                    <a:pt x="685" y="1018"/>
                  </a:cubicBezTo>
                  <a:cubicBezTo>
                    <a:pt x="684" y="1019"/>
                    <a:pt x="684" y="1019"/>
                    <a:pt x="684" y="1019"/>
                  </a:cubicBezTo>
                  <a:cubicBezTo>
                    <a:pt x="684" y="1021"/>
                    <a:pt x="684" y="1021"/>
                    <a:pt x="684" y="1021"/>
                  </a:cubicBezTo>
                  <a:cubicBezTo>
                    <a:pt x="684" y="1022"/>
                    <a:pt x="684" y="1022"/>
                    <a:pt x="684" y="1022"/>
                  </a:cubicBezTo>
                  <a:lnTo>
                    <a:pt x="683" y="1022"/>
                  </a:lnTo>
                  <a:close/>
                  <a:moveTo>
                    <a:pt x="692" y="993"/>
                  </a:moveTo>
                  <a:cubicBezTo>
                    <a:pt x="690" y="993"/>
                    <a:pt x="690" y="993"/>
                    <a:pt x="690" y="993"/>
                  </a:cubicBezTo>
                  <a:cubicBezTo>
                    <a:pt x="690" y="993"/>
                    <a:pt x="690" y="993"/>
                    <a:pt x="690" y="993"/>
                  </a:cubicBezTo>
                  <a:cubicBezTo>
                    <a:pt x="688" y="992"/>
                    <a:pt x="688" y="992"/>
                    <a:pt x="688" y="992"/>
                  </a:cubicBezTo>
                  <a:cubicBezTo>
                    <a:pt x="687" y="992"/>
                    <a:pt x="687" y="992"/>
                    <a:pt x="687" y="992"/>
                  </a:cubicBezTo>
                  <a:cubicBezTo>
                    <a:pt x="687" y="993"/>
                    <a:pt x="687" y="993"/>
                    <a:pt x="687" y="993"/>
                  </a:cubicBezTo>
                  <a:cubicBezTo>
                    <a:pt x="687" y="993"/>
                    <a:pt x="687" y="993"/>
                    <a:pt x="687" y="993"/>
                  </a:cubicBezTo>
                  <a:cubicBezTo>
                    <a:pt x="687" y="993"/>
                    <a:pt x="687" y="993"/>
                    <a:pt x="687" y="993"/>
                  </a:cubicBezTo>
                  <a:cubicBezTo>
                    <a:pt x="687" y="994"/>
                    <a:pt x="687" y="994"/>
                    <a:pt x="687" y="994"/>
                  </a:cubicBezTo>
                  <a:cubicBezTo>
                    <a:pt x="687" y="995"/>
                    <a:pt x="687" y="995"/>
                    <a:pt x="687" y="995"/>
                  </a:cubicBezTo>
                  <a:cubicBezTo>
                    <a:pt x="687" y="995"/>
                    <a:pt x="687" y="995"/>
                    <a:pt x="687" y="995"/>
                  </a:cubicBezTo>
                  <a:cubicBezTo>
                    <a:pt x="686" y="996"/>
                    <a:pt x="686" y="996"/>
                    <a:pt x="686" y="996"/>
                  </a:cubicBezTo>
                  <a:cubicBezTo>
                    <a:pt x="685" y="996"/>
                    <a:pt x="685" y="996"/>
                    <a:pt x="685" y="996"/>
                  </a:cubicBezTo>
                  <a:cubicBezTo>
                    <a:pt x="684" y="996"/>
                    <a:pt x="684" y="996"/>
                    <a:pt x="684" y="996"/>
                  </a:cubicBezTo>
                  <a:cubicBezTo>
                    <a:pt x="684" y="996"/>
                    <a:pt x="684" y="996"/>
                    <a:pt x="684" y="996"/>
                  </a:cubicBezTo>
                  <a:cubicBezTo>
                    <a:pt x="683" y="997"/>
                    <a:pt x="683" y="997"/>
                    <a:pt x="683" y="997"/>
                  </a:cubicBezTo>
                  <a:cubicBezTo>
                    <a:pt x="682" y="998"/>
                    <a:pt x="682" y="998"/>
                    <a:pt x="682" y="998"/>
                  </a:cubicBezTo>
                  <a:cubicBezTo>
                    <a:pt x="681" y="999"/>
                    <a:pt x="681" y="999"/>
                    <a:pt x="681" y="999"/>
                  </a:cubicBezTo>
                  <a:cubicBezTo>
                    <a:pt x="680" y="1000"/>
                    <a:pt x="680" y="1000"/>
                    <a:pt x="680" y="1000"/>
                  </a:cubicBezTo>
                  <a:cubicBezTo>
                    <a:pt x="680" y="1000"/>
                    <a:pt x="680" y="1000"/>
                    <a:pt x="680" y="1000"/>
                  </a:cubicBezTo>
                  <a:cubicBezTo>
                    <a:pt x="680" y="1000"/>
                    <a:pt x="680" y="1000"/>
                    <a:pt x="680" y="1000"/>
                  </a:cubicBezTo>
                  <a:cubicBezTo>
                    <a:pt x="679" y="1000"/>
                    <a:pt x="679" y="1000"/>
                    <a:pt x="679" y="1000"/>
                  </a:cubicBezTo>
                  <a:cubicBezTo>
                    <a:pt x="679" y="1001"/>
                    <a:pt x="679" y="1001"/>
                    <a:pt x="679" y="1001"/>
                  </a:cubicBezTo>
                  <a:cubicBezTo>
                    <a:pt x="678" y="1002"/>
                    <a:pt x="678" y="1002"/>
                    <a:pt x="678" y="1002"/>
                  </a:cubicBezTo>
                  <a:cubicBezTo>
                    <a:pt x="678" y="1002"/>
                    <a:pt x="678" y="1002"/>
                    <a:pt x="678" y="1002"/>
                  </a:cubicBezTo>
                  <a:cubicBezTo>
                    <a:pt x="678" y="1002"/>
                    <a:pt x="678" y="1002"/>
                    <a:pt x="678" y="1002"/>
                  </a:cubicBezTo>
                  <a:cubicBezTo>
                    <a:pt x="678" y="1003"/>
                    <a:pt x="678" y="1003"/>
                    <a:pt x="678" y="1003"/>
                  </a:cubicBezTo>
                  <a:cubicBezTo>
                    <a:pt x="678" y="1003"/>
                    <a:pt x="678" y="1003"/>
                    <a:pt x="678" y="1003"/>
                  </a:cubicBezTo>
                  <a:cubicBezTo>
                    <a:pt x="678" y="1004"/>
                    <a:pt x="678" y="1004"/>
                    <a:pt x="678" y="1004"/>
                  </a:cubicBezTo>
                  <a:cubicBezTo>
                    <a:pt x="678" y="1004"/>
                    <a:pt x="678" y="1004"/>
                    <a:pt x="678" y="1004"/>
                  </a:cubicBezTo>
                  <a:cubicBezTo>
                    <a:pt x="678" y="1004"/>
                    <a:pt x="678" y="1004"/>
                    <a:pt x="678" y="1004"/>
                  </a:cubicBezTo>
                  <a:cubicBezTo>
                    <a:pt x="678" y="1004"/>
                    <a:pt x="678" y="1004"/>
                    <a:pt x="678" y="1004"/>
                  </a:cubicBezTo>
                  <a:cubicBezTo>
                    <a:pt x="677" y="1003"/>
                    <a:pt x="677" y="1003"/>
                    <a:pt x="677" y="1003"/>
                  </a:cubicBezTo>
                  <a:cubicBezTo>
                    <a:pt x="677" y="1002"/>
                    <a:pt x="677" y="1002"/>
                    <a:pt x="677" y="1002"/>
                  </a:cubicBezTo>
                  <a:cubicBezTo>
                    <a:pt x="677" y="1001"/>
                    <a:pt x="677" y="1001"/>
                    <a:pt x="677" y="1001"/>
                  </a:cubicBezTo>
                  <a:cubicBezTo>
                    <a:pt x="677" y="1001"/>
                    <a:pt x="677" y="1001"/>
                    <a:pt x="677" y="1001"/>
                  </a:cubicBezTo>
                  <a:cubicBezTo>
                    <a:pt x="677" y="1001"/>
                    <a:pt x="677" y="1001"/>
                    <a:pt x="677" y="1001"/>
                  </a:cubicBezTo>
                  <a:cubicBezTo>
                    <a:pt x="678" y="1000"/>
                    <a:pt x="678" y="1000"/>
                    <a:pt x="678" y="1000"/>
                  </a:cubicBezTo>
                  <a:cubicBezTo>
                    <a:pt x="678" y="1000"/>
                    <a:pt x="678" y="1000"/>
                    <a:pt x="678" y="1000"/>
                  </a:cubicBezTo>
                  <a:cubicBezTo>
                    <a:pt x="678" y="999"/>
                    <a:pt x="678" y="999"/>
                    <a:pt x="678" y="999"/>
                  </a:cubicBezTo>
                  <a:cubicBezTo>
                    <a:pt x="679" y="998"/>
                    <a:pt x="679" y="998"/>
                    <a:pt x="679" y="998"/>
                  </a:cubicBezTo>
                  <a:cubicBezTo>
                    <a:pt x="679" y="998"/>
                    <a:pt x="679" y="998"/>
                    <a:pt x="679" y="998"/>
                  </a:cubicBezTo>
                  <a:cubicBezTo>
                    <a:pt x="679" y="998"/>
                    <a:pt x="679" y="998"/>
                    <a:pt x="679" y="998"/>
                  </a:cubicBezTo>
                  <a:cubicBezTo>
                    <a:pt x="680" y="998"/>
                    <a:pt x="680" y="998"/>
                    <a:pt x="680" y="998"/>
                  </a:cubicBezTo>
                  <a:cubicBezTo>
                    <a:pt x="682" y="997"/>
                    <a:pt x="682" y="997"/>
                    <a:pt x="682" y="997"/>
                  </a:cubicBezTo>
                  <a:cubicBezTo>
                    <a:pt x="682" y="996"/>
                    <a:pt x="682" y="996"/>
                    <a:pt x="682" y="996"/>
                  </a:cubicBezTo>
                  <a:cubicBezTo>
                    <a:pt x="683" y="995"/>
                    <a:pt x="683" y="995"/>
                    <a:pt x="683" y="995"/>
                  </a:cubicBezTo>
                  <a:cubicBezTo>
                    <a:pt x="684" y="994"/>
                    <a:pt x="684" y="994"/>
                    <a:pt x="684" y="994"/>
                  </a:cubicBezTo>
                  <a:cubicBezTo>
                    <a:pt x="685" y="994"/>
                    <a:pt x="685" y="994"/>
                    <a:pt x="685" y="994"/>
                  </a:cubicBezTo>
                  <a:cubicBezTo>
                    <a:pt x="685" y="994"/>
                    <a:pt x="685" y="994"/>
                    <a:pt x="685" y="994"/>
                  </a:cubicBezTo>
                  <a:cubicBezTo>
                    <a:pt x="686" y="994"/>
                    <a:pt x="686" y="994"/>
                    <a:pt x="686" y="994"/>
                  </a:cubicBezTo>
                  <a:cubicBezTo>
                    <a:pt x="686" y="993"/>
                    <a:pt x="686" y="993"/>
                    <a:pt x="686" y="993"/>
                  </a:cubicBezTo>
                  <a:cubicBezTo>
                    <a:pt x="686" y="992"/>
                    <a:pt x="686" y="992"/>
                    <a:pt x="686" y="992"/>
                  </a:cubicBezTo>
                  <a:cubicBezTo>
                    <a:pt x="686" y="992"/>
                    <a:pt x="686" y="992"/>
                    <a:pt x="686" y="992"/>
                  </a:cubicBezTo>
                  <a:cubicBezTo>
                    <a:pt x="687" y="992"/>
                    <a:pt x="687" y="992"/>
                    <a:pt x="687" y="992"/>
                  </a:cubicBezTo>
                  <a:cubicBezTo>
                    <a:pt x="687" y="992"/>
                    <a:pt x="687" y="992"/>
                    <a:pt x="687" y="992"/>
                  </a:cubicBezTo>
                  <a:cubicBezTo>
                    <a:pt x="689" y="993"/>
                    <a:pt x="689" y="993"/>
                    <a:pt x="689" y="993"/>
                  </a:cubicBezTo>
                  <a:cubicBezTo>
                    <a:pt x="690" y="993"/>
                    <a:pt x="690" y="993"/>
                    <a:pt x="690" y="993"/>
                  </a:cubicBezTo>
                  <a:cubicBezTo>
                    <a:pt x="692" y="992"/>
                    <a:pt x="692" y="992"/>
                    <a:pt x="692" y="992"/>
                  </a:cubicBezTo>
                  <a:cubicBezTo>
                    <a:pt x="693" y="992"/>
                    <a:pt x="693" y="992"/>
                    <a:pt x="693" y="992"/>
                  </a:cubicBezTo>
                  <a:cubicBezTo>
                    <a:pt x="695" y="994"/>
                    <a:pt x="695" y="994"/>
                    <a:pt x="695" y="994"/>
                  </a:cubicBezTo>
                  <a:cubicBezTo>
                    <a:pt x="696" y="994"/>
                    <a:pt x="696" y="994"/>
                    <a:pt x="696" y="994"/>
                  </a:cubicBezTo>
                  <a:cubicBezTo>
                    <a:pt x="696" y="994"/>
                    <a:pt x="696" y="994"/>
                    <a:pt x="696" y="994"/>
                  </a:cubicBezTo>
                  <a:cubicBezTo>
                    <a:pt x="697" y="993"/>
                    <a:pt x="697" y="993"/>
                    <a:pt x="697" y="993"/>
                  </a:cubicBezTo>
                  <a:cubicBezTo>
                    <a:pt x="697" y="994"/>
                    <a:pt x="697" y="994"/>
                    <a:pt x="697" y="994"/>
                  </a:cubicBezTo>
                  <a:cubicBezTo>
                    <a:pt x="698" y="994"/>
                    <a:pt x="698" y="994"/>
                    <a:pt x="698" y="994"/>
                  </a:cubicBezTo>
                  <a:cubicBezTo>
                    <a:pt x="698" y="994"/>
                    <a:pt x="698" y="994"/>
                    <a:pt x="698" y="994"/>
                  </a:cubicBezTo>
                  <a:cubicBezTo>
                    <a:pt x="700" y="995"/>
                    <a:pt x="700" y="995"/>
                    <a:pt x="700" y="995"/>
                  </a:cubicBezTo>
                  <a:cubicBezTo>
                    <a:pt x="700" y="996"/>
                    <a:pt x="700" y="996"/>
                    <a:pt x="700" y="996"/>
                  </a:cubicBezTo>
                  <a:cubicBezTo>
                    <a:pt x="700" y="996"/>
                    <a:pt x="700" y="996"/>
                    <a:pt x="700" y="996"/>
                  </a:cubicBezTo>
                  <a:cubicBezTo>
                    <a:pt x="703" y="996"/>
                    <a:pt x="703" y="996"/>
                    <a:pt x="703" y="996"/>
                  </a:cubicBezTo>
                  <a:cubicBezTo>
                    <a:pt x="707" y="996"/>
                    <a:pt x="707" y="996"/>
                    <a:pt x="707" y="996"/>
                  </a:cubicBezTo>
                  <a:cubicBezTo>
                    <a:pt x="708" y="996"/>
                    <a:pt x="708" y="996"/>
                    <a:pt x="708" y="996"/>
                  </a:cubicBezTo>
                  <a:cubicBezTo>
                    <a:pt x="708" y="996"/>
                    <a:pt x="708" y="996"/>
                    <a:pt x="708" y="996"/>
                  </a:cubicBezTo>
                  <a:cubicBezTo>
                    <a:pt x="708" y="996"/>
                    <a:pt x="708" y="996"/>
                    <a:pt x="708" y="996"/>
                  </a:cubicBezTo>
                  <a:cubicBezTo>
                    <a:pt x="708" y="996"/>
                    <a:pt x="708" y="996"/>
                    <a:pt x="708" y="996"/>
                  </a:cubicBezTo>
                  <a:cubicBezTo>
                    <a:pt x="708" y="996"/>
                    <a:pt x="708" y="996"/>
                    <a:pt x="708" y="996"/>
                  </a:cubicBezTo>
                  <a:cubicBezTo>
                    <a:pt x="709" y="996"/>
                    <a:pt x="709" y="996"/>
                    <a:pt x="709" y="996"/>
                  </a:cubicBezTo>
                  <a:cubicBezTo>
                    <a:pt x="709" y="997"/>
                    <a:pt x="709" y="997"/>
                    <a:pt x="709" y="997"/>
                  </a:cubicBezTo>
                  <a:cubicBezTo>
                    <a:pt x="710" y="997"/>
                    <a:pt x="710" y="997"/>
                    <a:pt x="710" y="997"/>
                  </a:cubicBezTo>
                  <a:cubicBezTo>
                    <a:pt x="711" y="996"/>
                    <a:pt x="711" y="996"/>
                    <a:pt x="711" y="996"/>
                  </a:cubicBezTo>
                  <a:cubicBezTo>
                    <a:pt x="711" y="997"/>
                    <a:pt x="711" y="997"/>
                    <a:pt x="711" y="997"/>
                  </a:cubicBezTo>
                  <a:cubicBezTo>
                    <a:pt x="712" y="998"/>
                    <a:pt x="712" y="998"/>
                    <a:pt x="712" y="998"/>
                  </a:cubicBezTo>
                  <a:cubicBezTo>
                    <a:pt x="712" y="998"/>
                    <a:pt x="712" y="998"/>
                    <a:pt x="712" y="998"/>
                  </a:cubicBezTo>
                  <a:cubicBezTo>
                    <a:pt x="712" y="998"/>
                    <a:pt x="712" y="998"/>
                    <a:pt x="712" y="998"/>
                  </a:cubicBezTo>
                  <a:cubicBezTo>
                    <a:pt x="713" y="998"/>
                    <a:pt x="713" y="998"/>
                    <a:pt x="713" y="998"/>
                  </a:cubicBezTo>
                  <a:cubicBezTo>
                    <a:pt x="712" y="998"/>
                    <a:pt x="712" y="998"/>
                    <a:pt x="712" y="998"/>
                  </a:cubicBezTo>
                  <a:cubicBezTo>
                    <a:pt x="712" y="998"/>
                    <a:pt x="712" y="998"/>
                    <a:pt x="712" y="998"/>
                  </a:cubicBezTo>
                  <a:cubicBezTo>
                    <a:pt x="712" y="999"/>
                    <a:pt x="712" y="999"/>
                    <a:pt x="712" y="999"/>
                  </a:cubicBezTo>
                  <a:cubicBezTo>
                    <a:pt x="712" y="998"/>
                    <a:pt x="712" y="998"/>
                    <a:pt x="712" y="998"/>
                  </a:cubicBezTo>
                  <a:cubicBezTo>
                    <a:pt x="711" y="997"/>
                    <a:pt x="711" y="997"/>
                    <a:pt x="711" y="997"/>
                  </a:cubicBezTo>
                  <a:cubicBezTo>
                    <a:pt x="711" y="997"/>
                    <a:pt x="711" y="997"/>
                    <a:pt x="711" y="997"/>
                  </a:cubicBezTo>
                  <a:cubicBezTo>
                    <a:pt x="710" y="997"/>
                    <a:pt x="710" y="997"/>
                    <a:pt x="710" y="997"/>
                  </a:cubicBezTo>
                  <a:cubicBezTo>
                    <a:pt x="709" y="997"/>
                    <a:pt x="709" y="997"/>
                    <a:pt x="709" y="997"/>
                  </a:cubicBezTo>
                  <a:cubicBezTo>
                    <a:pt x="709" y="997"/>
                    <a:pt x="709" y="997"/>
                    <a:pt x="709" y="997"/>
                  </a:cubicBezTo>
                  <a:cubicBezTo>
                    <a:pt x="708" y="997"/>
                    <a:pt x="708" y="997"/>
                    <a:pt x="708" y="997"/>
                  </a:cubicBezTo>
                  <a:cubicBezTo>
                    <a:pt x="708" y="996"/>
                    <a:pt x="708" y="996"/>
                    <a:pt x="708" y="996"/>
                  </a:cubicBezTo>
                  <a:cubicBezTo>
                    <a:pt x="708" y="996"/>
                    <a:pt x="708" y="996"/>
                    <a:pt x="708" y="996"/>
                  </a:cubicBezTo>
                  <a:cubicBezTo>
                    <a:pt x="708" y="996"/>
                    <a:pt x="708" y="996"/>
                    <a:pt x="708" y="996"/>
                  </a:cubicBezTo>
                  <a:cubicBezTo>
                    <a:pt x="708" y="996"/>
                    <a:pt x="708" y="996"/>
                    <a:pt x="708" y="996"/>
                  </a:cubicBezTo>
                  <a:cubicBezTo>
                    <a:pt x="707" y="996"/>
                    <a:pt x="707" y="996"/>
                    <a:pt x="707" y="996"/>
                  </a:cubicBezTo>
                  <a:cubicBezTo>
                    <a:pt x="703" y="996"/>
                    <a:pt x="703" y="996"/>
                    <a:pt x="703" y="996"/>
                  </a:cubicBezTo>
                  <a:cubicBezTo>
                    <a:pt x="701" y="996"/>
                    <a:pt x="701" y="996"/>
                    <a:pt x="701" y="996"/>
                  </a:cubicBezTo>
                  <a:cubicBezTo>
                    <a:pt x="700" y="996"/>
                    <a:pt x="700" y="996"/>
                    <a:pt x="700" y="996"/>
                  </a:cubicBezTo>
                  <a:cubicBezTo>
                    <a:pt x="700" y="996"/>
                    <a:pt x="700" y="996"/>
                    <a:pt x="700" y="996"/>
                  </a:cubicBezTo>
                  <a:cubicBezTo>
                    <a:pt x="698" y="994"/>
                    <a:pt x="698" y="994"/>
                    <a:pt x="698" y="994"/>
                  </a:cubicBezTo>
                  <a:cubicBezTo>
                    <a:pt x="698" y="994"/>
                    <a:pt x="698" y="994"/>
                    <a:pt x="698" y="994"/>
                  </a:cubicBezTo>
                  <a:cubicBezTo>
                    <a:pt x="698" y="994"/>
                    <a:pt x="698" y="994"/>
                    <a:pt x="698" y="994"/>
                  </a:cubicBezTo>
                  <a:cubicBezTo>
                    <a:pt x="697" y="994"/>
                    <a:pt x="697" y="994"/>
                    <a:pt x="697" y="994"/>
                  </a:cubicBezTo>
                  <a:cubicBezTo>
                    <a:pt x="696" y="994"/>
                    <a:pt x="696" y="994"/>
                    <a:pt x="696" y="994"/>
                  </a:cubicBezTo>
                  <a:cubicBezTo>
                    <a:pt x="696" y="994"/>
                    <a:pt x="696" y="994"/>
                    <a:pt x="696" y="994"/>
                  </a:cubicBezTo>
                  <a:cubicBezTo>
                    <a:pt x="696" y="994"/>
                    <a:pt x="696" y="994"/>
                    <a:pt x="696" y="994"/>
                  </a:cubicBezTo>
                  <a:cubicBezTo>
                    <a:pt x="693" y="993"/>
                    <a:pt x="693" y="993"/>
                    <a:pt x="693" y="993"/>
                  </a:cubicBezTo>
                  <a:lnTo>
                    <a:pt x="692" y="993"/>
                  </a:lnTo>
                  <a:close/>
                  <a:moveTo>
                    <a:pt x="695" y="1038"/>
                  </a:moveTo>
                  <a:cubicBezTo>
                    <a:pt x="695" y="1037"/>
                    <a:pt x="695" y="1037"/>
                    <a:pt x="695" y="1037"/>
                  </a:cubicBezTo>
                  <a:cubicBezTo>
                    <a:pt x="695" y="1037"/>
                    <a:pt x="695" y="1037"/>
                    <a:pt x="695" y="1037"/>
                  </a:cubicBezTo>
                  <a:cubicBezTo>
                    <a:pt x="695" y="1037"/>
                    <a:pt x="695" y="1037"/>
                    <a:pt x="695" y="1037"/>
                  </a:cubicBezTo>
                  <a:cubicBezTo>
                    <a:pt x="695" y="1037"/>
                    <a:pt x="695" y="1037"/>
                    <a:pt x="695" y="1037"/>
                  </a:cubicBezTo>
                  <a:cubicBezTo>
                    <a:pt x="695" y="1037"/>
                    <a:pt x="695" y="1037"/>
                    <a:pt x="695" y="1037"/>
                  </a:cubicBezTo>
                  <a:lnTo>
                    <a:pt x="695" y="1038"/>
                  </a:lnTo>
                  <a:close/>
                  <a:moveTo>
                    <a:pt x="710" y="1034"/>
                  </a:moveTo>
                  <a:cubicBezTo>
                    <a:pt x="710" y="1034"/>
                    <a:pt x="710" y="1034"/>
                    <a:pt x="710" y="1034"/>
                  </a:cubicBezTo>
                  <a:cubicBezTo>
                    <a:pt x="710" y="1034"/>
                    <a:pt x="710" y="1034"/>
                    <a:pt x="710" y="1034"/>
                  </a:cubicBezTo>
                  <a:cubicBezTo>
                    <a:pt x="711" y="1033"/>
                    <a:pt x="711" y="1033"/>
                    <a:pt x="711" y="1033"/>
                  </a:cubicBezTo>
                  <a:cubicBezTo>
                    <a:pt x="711" y="1033"/>
                    <a:pt x="711" y="1033"/>
                    <a:pt x="711" y="1033"/>
                  </a:cubicBezTo>
                  <a:cubicBezTo>
                    <a:pt x="710" y="1034"/>
                    <a:pt x="710" y="1034"/>
                    <a:pt x="710" y="1034"/>
                  </a:cubicBezTo>
                  <a:close/>
                  <a:moveTo>
                    <a:pt x="722" y="1037"/>
                  </a:moveTo>
                  <a:cubicBezTo>
                    <a:pt x="722" y="1037"/>
                    <a:pt x="722" y="1037"/>
                    <a:pt x="722" y="1037"/>
                  </a:cubicBezTo>
                  <a:cubicBezTo>
                    <a:pt x="723" y="1037"/>
                    <a:pt x="723" y="1037"/>
                    <a:pt x="723" y="1037"/>
                  </a:cubicBezTo>
                  <a:cubicBezTo>
                    <a:pt x="723" y="1036"/>
                    <a:pt x="723" y="1036"/>
                    <a:pt x="723" y="1036"/>
                  </a:cubicBezTo>
                  <a:cubicBezTo>
                    <a:pt x="722" y="1037"/>
                    <a:pt x="722" y="1037"/>
                    <a:pt x="722" y="1037"/>
                  </a:cubicBezTo>
                  <a:close/>
                  <a:moveTo>
                    <a:pt x="736" y="1037"/>
                  </a:moveTo>
                  <a:cubicBezTo>
                    <a:pt x="736" y="1038"/>
                    <a:pt x="736" y="1038"/>
                    <a:pt x="736" y="1038"/>
                  </a:cubicBezTo>
                  <a:cubicBezTo>
                    <a:pt x="736" y="1038"/>
                    <a:pt x="736" y="1038"/>
                    <a:pt x="736" y="1038"/>
                  </a:cubicBezTo>
                  <a:cubicBezTo>
                    <a:pt x="734" y="1037"/>
                    <a:pt x="734" y="1037"/>
                    <a:pt x="734" y="1037"/>
                  </a:cubicBezTo>
                  <a:cubicBezTo>
                    <a:pt x="734" y="1036"/>
                    <a:pt x="734" y="1036"/>
                    <a:pt x="734" y="1036"/>
                  </a:cubicBezTo>
                  <a:cubicBezTo>
                    <a:pt x="734" y="1035"/>
                    <a:pt x="734" y="1035"/>
                    <a:pt x="734" y="1035"/>
                  </a:cubicBezTo>
                  <a:cubicBezTo>
                    <a:pt x="733" y="1034"/>
                    <a:pt x="733" y="1034"/>
                    <a:pt x="733" y="1034"/>
                  </a:cubicBezTo>
                  <a:cubicBezTo>
                    <a:pt x="733" y="1034"/>
                    <a:pt x="733" y="1034"/>
                    <a:pt x="733" y="1034"/>
                  </a:cubicBezTo>
                  <a:cubicBezTo>
                    <a:pt x="733" y="1033"/>
                    <a:pt x="733" y="1033"/>
                    <a:pt x="733" y="1033"/>
                  </a:cubicBezTo>
                  <a:cubicBezTo>
                    <a:pt x="733" y="1033"/>
                    <a:pt x="733" y="1033"/>
                    <a:pt x="733" y="1033"/>
                  </a:cubicBezTo>
                  <a:cubicBezTo>
                    <a:pt x="733" y="1033"/>
                    <a:pt x="733" y="1033"/>
                    <a:pt x="733" y="1033"/>
                  </a:cubicBezTo>
                  <a:cubicBezTo>
                    <a:pt x="734" y="1032"/>
                    <a:pt x="734" y="1032"/>
                    <a:pt x="734" y="1032"/>
                  </a:cubicBezTo>
                  <a:cubicBezTo>
                    <a:pt x="734" y="1032"/>
                    <a:pt x="734" y="1032"/>
                    <a:pt x="734" y="1032"/>
                  </a:cubicBezTo>
                  <a:cubicBezTo>
                    <a:pt x="734" y="1032"/>
                    <a:pt x="734" y="1032"/>
                    <a:pt x="734" y="1032"/>
                  </a:cubicBezTo>
                  <a:cubicBezTo>
                    <a:pt x="734" y="1032"/>
                    <a:pt x="734" y="1032"/>
                    <a:pt x="734" y="1032"/>
                  </a:cubicBezTo>
                  <a:cubicBezTo>
                    <a:pt x="734" y="1032"/>
                    <a:pt x="734" y="1032"/>
                    <a:pt x="734" y="1032"/>
                  </a:cubicBezTo>
                  <a:cubicBezTo>
                    <a:pt x="734" y="1032"/>
                    <a:pt x="734" y="1032"/>
                    <a:pt x="734" y="1032"/>
                  </a:cubicBezTo>
                  <a:cubicBezTo>
                    <a:pt x="734" y="1032"/>
                    <a:pt x="734" y="1032"/>
                    <a:pt x="734" y="1032"/>
                  </a:cubicBezTo>
                  <a:cubicBezTo>
                    <a:pt x="734" y="1033"/>
                    <a:pt x="734" y="1033"/>
                    <a:pt x="734" y="1033"/>
                  </a:cubicBezTo>
                  <a:cubicBezTo>
                    <a:pt x="734" y="1033"/>
                    <a:pt x="734" y="1033"/>
                    <a:pt x="734" y="1033"/>
                  </a:cubicBezTo>
                  <a:cubicBezTo>
                    <a:pt x="734" y="1034"/>
                    <a:pt x="734" y="1034"/>
                    <a:pt x="734" y="1034"/>
                  </a:cubicBezTo>
                  <a:cubicBezTo>
                    <a:pt x="735" y="1035"/>
                    <a:pt x="735" y="1035"/>
                    <a:pt x="735" y="1035"/>
                  </a:cubicBezTo>
                  <a:cubicBezTo>
                    <a:pt x="735" y="1036"/>
                    <a:pt x="735" y="1036"/>
                    <a:pt x="735" y="1036"/>
                  </a:cubicBezTo>
                  <a:cubicBezTo>
                    <a:pt x="737" y="1037"/>
                    <a:pt x="737" y="1037"/>
                    <a:pt x="737" y="1037"/>
                  </a:cubicBezTo>
                  <a:lnTo>
                    <a:pt x="736" y="1037"/>
                  </a:lnTo>
                  <a:close/>
                  <a:moveTo>
                    <a:pt x="736" y="1030"/>
                  </a:moveTo>
                  <a:cubicBezTo>
                    <a:pt x="736" y="1030"/>
                    <a:pt x="736" y="1030"/>
                    <a:pt x="736" y="1030"/>
                  </a:cubicBezTo>
                  <a:cubicBezTo>
                    <a:pt x="736" y="1030"/>
                    <a:pt x="736" y="1030"/>
                    <a:pt x="736" y="1030"/>
                  </a:cubicBezTo>
                  <a:cubicBezTo>
                    <a:pt x="735" y="1030"/>
                    <a:pt x="735" y="1030"/>
                    <a:pt x="735" y="1030"/>
                  </a:cubicBezTo>
                  <a:cubicBezTo>
                    <a:pt x="735" y="1030"/>
                    <a:pt x="735" y="1030"/>
                    <a:pt x="735" y="1030"/>
                  </a:cubicBezTo>
                  <a:cubicBezTo>
                    <a:pt x="735" y="1029"/>
                    <a:pt x="735" y="1029"/>
                    <a:pt x="735" y="1029"/>
                  </a:cubicBezTo>
                  <a:cubicBezTo>
                    <a:pt x="735" y="1029"/>
                    <a:pt x="735" y="1029"/>
                    <a:pt x="735" y="1029"/>
                  </a:cubicBezTo>
                  <a:cubicBezTo>
                    <a:pt x="734" y="1029"/>
                    <a:pt x="734" y="1029"/>
                    <a:pt x="734" y="1029"/>
                  </a:cubicBezTo>
                  <a:cubicBezTo>
                    <a:pt x="734" y="1029"/>
                    <a:pt x="734" y="1029"/>
                    <a:pt x="734" y="1029"/>
                  </a:cubicBezTo>
                  <a:cubicBezTo>
                    <a:pt x="734" y="1030"/>
                    <a:pt x="734" y="1030"/>
                    <a:pt x="734" y="1030"/>
                  </a:cubicBezTo>
                  <a:cubicBezTo>
                    <a:pt x="734" y="1030"/>
                    <a:pt x="734" y="1030"/>
                    <a:pt x="734" y="1030"/>
                  </a:cubicBezTo>
                  <a:cubicBezTo>
                    <a:pt x="734" y="1029"/>
                    <a:pt x="734" y="1029"/>
                    <a:pt x="734" y="1029"/>
                  </a:cubicBezTo>
                  <a:cubicBezTo>
                    <a:pt x="733" y="1029"/>
                    <a:pt x="733" y="1029"/>
                    <a:pt x="733" y="1029"/>
                  </a:cubicBezTo>
                  <a:cubicBezTo>
                    <a:pt x="733" y="1029"/>
                    <a:pt x="733" y="1029"/>
                    <a:pt x="733" y="1029"/>
                  </a:cubicBezTo>
                  <a:cubicBezTo>
                    <a:pt x="733" y="1029"/>
                    <a:pt x="733" y="1029"/>
                    <a:pt x="733" y="1029"/>
                  </a:cubicBezTo>
                  <a:cubicBezTo>
                    <a:pt x="733" y="1028"/>
                    <a:pt x="733" y="1028"/>
                    <a:pt x="733" y="1028"/>
                  </a:cubicBezTo>
                  <a:cubicBezTo>
                    <a:pt x="732" y="1028"/>
                    <a:pt x="732" y="1028"/>
                    <a:pt x="732" y="1028"/>
                  </a:cubicBezTo>
                  <a:cubicBezTo>
                    <a:pt x="732" y="1028"/>
                    <a:pt x="732" y="1028"/>
                    <a:pt x="732" y="1028"/>
                  </a:cubicBezTo>
                  <a:cubicBezTo>
                    <a:pt x="732" y="1028"/>
                    <a:pt x="732" y="1028"/>
                    <a:pt x="732" y="1028"/>
                  </a:cubicBezTo>
                  <a:cubicBezTo>
                    <a:pt x="733" y="1027"/>
                    <a:pt x="733" y="1027"/>
                    <a:pt x="733" y="1027"/>
                  </a:cubicBezTo>
                  <a:cubicBezTo>
                    <a:pt x="733" y="1027"/>
                    <a:pt x="733" y="1027"/>
                    <a:pt x="733" y="1027"/>
                  </a:cubicBezTo>
                  <a:cubicBezTo>
                    <a:pt x="733" y="1027"/>
                    <a:pt x="733" y="1027"/>
                    <a:pt x="733" y="1027"/>
                  </a:cubicBezTo>
                  <a:cubicBezTo>
                    <a:pt x="733" y="1027"/>
                    <a:pt x="733" y="1027"/>
                    <a:pt x="733" y="1027"/>
                  </a:cubicBezTo>
                  <a:cubicBezTo>
                    <a:pt x="733" y="1027"/>
                    <a:pt x="733" y="1027"/>
                    <a:pt x="733" y="1027"/>
                  </a:cubicBezTo>
                  <a:cubicBezTo>
                    <a:pt x="733" y="1027"/>
                    <a:pt x="733" y="1027"/>
                    <a:pt x="733" y="1027"/>
                  </a:cubicBezTo>
                  <a:cubicBezTo>
                    <a:pt x="734" y="1027"/>
                    <a:pt x="734" y="1027"/>
                    <a:pt x="734" y="1027"/>
                  </a:cubicBezTo>
                  <a:cubicBezTo>
                    <a:pt x="734" y="1028"/>
                    <a:pt x="734" y="1028"/>
                    <a:pt x="734" y="1028"/>
                  </a:cubicBezTo>
                  <a:cubicBezTo>
                    <a:pt x="734" y="1028"/>
                    <a:pt x="734" y="1028"/>
                    <a:pt x="734" y="1028"/>
                  </a:cubicBezTo>
                  <a:cubicBezTo>
                    <a:pt x="734" y="1028"/>
                    <a:pt x="734" y="1028"/>
                    <a:pt x="734" y="1028"/>
                  </a:cubicBezTo>
                  <a:cubicBezTo>
                    <a:pt x="735" y="1029"/>
                    <a:pt x="735" y="1029"/>
                    <a:pt x="735" y="1029"/>
                  </a:cubicBezTo>
                  <a:cubicBezTo>
                    <a:pt x="735" y="1029"/>
                    <a:pt x="735" y="1029"/>
                    <a:pt x="735" y="1029"/>
                  </a:cubicBezTo>
                  <a:cubicBezTo>
                    <a:pt x="735" y="1029"/>
                    <a:pt x="735" y="1029"/>
                    <a:pt x="735" y="1029"/>
                  </a:cubicBezTo>
                  <a:cubicBezTo>
                    <a:pt x="735" y="1029"/>
                    <a:pt x="735" y="1029"/>
                    <a:pt x="735" y="1029"/>
                  </a:cubicBezTo>
                  <a:cubicBezTo>
                    <a:pt x="735" y="1028"/>
                    <a:pt x="735" y="1028"/>
                    <a:pt x="735" y="1028"/>
                  </a:cubicBezTo>
                  <a:cubicBezTo>
                    <a:pt x="736" y="1028"/>
                    <a:pt x="736" y="1028"/>
                    <a:pt x="736" y="1028"/>
                  </a:cubicBezTo>
                  <a:cubicBezTo>
                    <a:pt x="736" y="1028"/>
                    <a:pt x="736" y="1028"/>
                    <a:pt x="736" y="1028"/>
                  </a:cubicBezTo>
                  <a:cubicBezTo>
                    <a:pt x="736" y="1029"/>
                    <a:pt x="736" y="1029"/>
                    <a:pt x="736" y="1029"/>
                  </a:cubicBezTo>
                  <a:cubicBezTo>
                    <a:pt x="736" y="1029"/>
                    <a:pt x="736" y="1029"/>
                    <a:pt x="736" y="1029"/>
                  </a:cubicBezTo>
                  <a:cubicBezTo>
                    <a:pt x="737" y="1030"/>
                    <a:pt x="737" y="1030"/>
                    <a:pt x="737" y="1030"/>
                  </a:cubicBezTo>
                  <a:cubicBezTo>
                    <a:pt x="737" y="1030"/>
                    <a:pt x="737" y="1030"/>
                    <a:pt x="737" y="1030"/>
                  </a:cubicBezTo>
                  <a:lnTo>
                    <a:pt x="736" y="1030"/>
                  </a:lnTo>
                  <a:close/>
                  <a:moveTo>
                    <a:pt x="739" y="1024"/>
                  </a:moveTo>
                  <a:cubicBezTo>
                    <a:pt x="738" y="1025"/>
                    <a:pt x="738" y="1025"/>
                    <a:pt x="738" y="1025"/>
                  </a:cubicBezTo>
                  <a:cubicBezTo>
                    <a:pt x="738" y="1024"/>
                    <a:pt x="738" y="1024"/>
                    <a:pt x="738" y="1024"/>
                  </a:cubicBezTo>
                  <a:cubicBezTo>
                    <a:pt x="738" y="1024"/>
                    <a:pt x="738" y="1024"/>
                    <a:pt x="738" y="1024"/>
                  </a:cubicBezTo>
                  <a:cubicBezTo>
                    <a:pt x="738" y="1024"/>
                    <a:pt x="738" y="1024"/>
                    <a:pt x="738" y="1024"/>
                  </a:cubicBezTo>
                  <a:cubicBezTo>
                    <a:pt x="738" y="1023"/>
                    <a:pt x="738" y="1023"/>
                    <a:pt x="738" y="1023"/>
                  </a:cubicBezTo>
                  <a:cubicBezTo>
                    <a:pt x="739" y="1024"/>
                    <a:pt x="739" y="1024"/>
                    <a:pt x="739" y="1024"/>
                  </a:cubicBezTo>
                  <a:cubicBezTo>
                    <a:pt x="739" y="1024"/>
                    <a:pt x="739" y="1024"/>
                    <a:pt x="739" y="1024"/>
                  </a:cubicBezTo>
                  <a:cubicBezTo>
                    <a:pt x="739" y="1024"/>
                    <a:pt x="739" y="1024"/>
                    <a:pt x="739" y="1024"/>
                  </a:cubicBezTo>
                  <a:cubicBezTo>
                    <a:pt x="739" y="1024"/>
                    <a:pt x="739" y="1024"/>
                    <a:pt x="739" y="1024"/>
                  </a:cubicBezTo>
                  <a:close/>
                  <a:moveTo>
                    <a:pt x="747" y="1013"/>
                  </a:moveTo>
                  <a:cubicBezTo>
                    <a:pt x="747" y="1014"/>
                    <a:pt x="747" y="1014"/>
                    <a:pt x="747" y="1014"/>
                  </a:cubicBezTo>
                  <a:cubicBezTo>
                    <a:pt x="746" y="1014"/>
                    <a:pt x="746" y="1014"/>
                    <a:pt x="746" y="1014"/>
                  </a:cubicBezTo>
                  <a:cubicBezTo>
                    <a:pt x="746" y="1015"/>
                    <a:pt x="746" y="1015"/>
                    <a:pt x="746" y="1015"/>
                  </a:cubicBezTo>
                  <a:cubicBezTo>
                    <a:pt x="746" y="1016"/>
                    <a:pt x="746" y="1016"/>
                    <a:pt x="746" y="1016"/>
                  </a:cubicBezTo>
                  <a:cubicBezTo>
                    <a:pt x="746" y="1017"/>
                    <a:pt x="746" y="1017"/>
                    <a:pt x="746" y="1017"/>
                  </a:cubicBezTo>
                  <a:cubicBezTo>
                    <a:pt x="746" y="1018"/>
                    <a:pt x="746" y="1018"/>
                    <a:pt x="746" y="1018"/>
                  </a:cubicBezTo>
                  <a:cubicBezTo>
                    <a:pt x="746" y="1018"/>
                    <a:pt x="746" y="1018"/>
                    <a:pt x="746" y="1018"/>
                  </a:cubicBezTo>
                  <a:cubicBezTo>
                    <a:pt x="746" y="1019"/>
                    <a:pt x="746" y="1019"/>
                    <a:pt x="746" y="1019"/>
                  </a:cubicBezTo>
                  <a:cubicBezTo>
                    <a:pt x="746" y="1020"/>
                    <a:pt x="746" y="1020"/>
                    <a:pt x="746" y="1020"/>
                  </a:cubicBezTo>
                  <a:cubicBezTo>
                    <a:pt x="746" y="1020"/>
                    <a:pt x="746" y="1020"/>
                    <a:pt x="746" y="1020"/>
                  </a:cubicBezTo>
                  <a:cubicBezTo>
                    <a:pt x="746" y="1021"/>
                    <a:pt x="746" y="1021"/>
                    <a:pt x="746" y="1021"/>
                  </a:cubicBezTo>
                  <a:cubicBezTo>
                    <a:pt x="746" y="1021"/>
                    <a:pt x="746" y="1021"/>
                    <a:pt x="746" y="1021"/>
                  </a:cubicBezTo>
                  <a:cubicBezTo>
                    <a:pt x="746" y="1022"/>
                    <a:pt x="746" y="1022"/>
                    <a:pt x="746" y="1022"/>
                  </a:cubicBezTo>
                  <a:cubicBezTo>
                    <a:pt x="745" y="1022"/>
                    <a:pt x="745" y="1022"/>
                    <a:pt x="745" y="1022"/>
                  </a:cubicBezTo>
                  <a:cubicBezTo>
                    <a:pt x="745" y="1022"/>
                    <a:pt x="745" y="1022"/>
                    <a:pt x="745" y="1022"/>
                  </a:cubicBezTo>
                  <a:cubicBezTo>
                    <a:pt x="745" y="1022"/>
                    <a:pt x="745" y="1022"/>
                    <a:pt x="745" y="1022"/>
                  </a:cubicBezTo>
                  <a:cubicBezTo>
                    <a:pt x="745" y="1022"/>
                    <a:pt x="745" y="1022"/>
                    <a:pt x="745" y="1022"/>
                  </a:cubicBezTo>
                  <a:cubicBezTo>
                    <a:pt x="745" y="1021"/>
                    <a:pt x="745" y="1021"/>
                    <a:pt x="745" y="1021"/>
                  </a:cubicBezTo>
                  <a:cubicBezTo>
                    <a:pt x="744" y="1020"/>
                    <a:pt x="744" y="1020"/>
                    <a:pt x="744" y="1020"/>
                  </a:cubicBezTo>
                  <a:cubicBezTo>
                    <a:pt x="745" y="1020"/>
                    <a:pt x="745" y="1020"/>
                    <a:pt x="745" y="1020"/>
                  </a:cubicBezTo>
                  <a:cubicBezTo>
                    <a:pt x="745" y="1019"/>
                    <a:pt x="745" y="1019"/>
                    <a:pt x="745" y="1019"/>
                  </a:cubicBezTo>
                  <a:cubicBezTo>
                    <a:pt x="745" y="1018"/>
                    <a:pt x="745" y="1018"/>
                    <a:pt x="745" y="1018"/>
                  </a:cubicBezTo>
                  <a:cubicBezTo>
                    <a:pt x="745" y="1018"/>
                    <a:pt x="745" y="1018"/>
                    <a:pt x="745" y="1018"/>
                  </a:cubicBezTo>
                  <a:cubicBezTo>
                    <a:pt x="745" y="1017"/>
                    <a:pt x="745" y="1017"/>
                    <a:pt x="745" y="1017"/>
                  </a:cubicBezTo>
                  <a:cubicBezTo>
                    <a:pt x="745" y="1016"/>
                    <a:pt x="745" y="1016"/>
                    <a:pt x="745" y="1016"/>
                  </a:cubicBezTo>
                  <a:cubicBezTo>
                    <a:pt x="745" y="1015"/>
                    <a:pt x="745" y="1015"/>
                    <a:pt x="745" y="1015"/>
                  </a:cubicBezTo>
                  <a:cubicBezTo>
                    <a:pt x="746" y="1014"/>
                    <a:pt x="746" y="1014"/>
                    <a:pt x="746" y="1014"/>
                  </a:cubicBezTo>
                  <a:cubicBezTo>
                    <a:pt x="746" y="1014"/>
                    <a:pt x="746" y="1014"/>
                    <a:pt x="746" y="1014"/>
                  </a:cubicBezTo>
                  <a:cubicBezTo>
                    <a:pt x="746" y="1013"/>
                    <a:pt x="746" y="1013"/>
                    <a:pt x="746" y="1013"/>
                  </a:cubicBezTo>
                  <a:cubicBezTo>
                    <a:pt x="745" y="1013"/>
                    <a:pt x="745" y="1013"/>
                    <a:pt x="745" y="1013"/>
                  </a:cubicBezTo>
                  <a:cubicBezTo>
                    <a:pt x="745" y="1013"/>
                    <a:pt x="745" y="1013"/>
                    <a:pt x="745" y="1013"/>
                  </a:cubicBezTo>
                  <a:cubicBezTo>
                    <a:pt x="744" y="1013"/>
                    <a:pt x="744" y="1013"/>
                    <a:pt x="744" y="1013"/>
                  </a:cubicBezTo>
                  <a:cubicBezTo>
                    <a:pt x="744" y="1012"/>
                    <a:pt x="744" y="1012"/>
                    <a:pt x="744" y="1012"/>
                  </a:cubicBezTo>
                  <a:cubicBezTo>
                    <a:pt x="743" y="1012"/>
                    <a:pt x="743" y="1012"/>
                    <a:pt x="743" y="1012"/>
                  </a:cubicBezTo>
                  <a:cubicBezTo>
                    <a:pt x="743" y="1011"/>
                    <a:pt x="743" y="1011"/>
                    <a:pt x="743" y="1011"/>
                  </a:cubicBezTo>
                  <a:cubicBezTo>
                    <a:pt x="742" y="1010"/>
                    <a:pt x="742" y="1010"/>
                    <a:pt x="742" y="1010"/>
                  </a:cubicBezTo>
                  <a:cubicBezTo>
                    <a:pt x="742" y="1009"/>
                    <a:pt x="742" y="1009"/>
                    <a:pt x="742" y="1009"/>
                  </a:cubicBezTo>
                  <a:cubicBezTo>
                    <a:pt x="743" y="1008"/>
                    <a:pt x="743" y="1008"/>
                    <a:pt x="743" y="1008"/>
                  </a:cubicBezTo>
                  <a:cubicBezTo>
                    <a:pt x="743" y="1007"/>
                    <a:pt x="743" y="1007"/>
                    <a:pt x="743" y="1007"/>
                  </a:cubicBezTo>
                  <a:cubicBezTo>
                    <a:pt x="743" y="1007"/>
                    <a:pt x="743" y="1007"/>
                    <a:pt x="743" y="1007"/>
                  </a:cubicBezTo>
                  <a:cubicBezTo>
                    <a:pt x="744" y="1006"/>
                    <a:pt x="744" y="1006"/>
                    <a:pt x="744" y="1006"/>
                  </a:cubicBezTo>
                  <a:cubicBezTo>
                    <a:pt x="745" y="1006"/>
                    <a:pt x="745" y="1006"/>
                    <a:pt x="745" y="1006"/>
                  </a:cubicBezTo>
                  <a:cubicBezTo>
                    <a:pt x="745" y="1006"/>
                    <a:pt x="745" y="1006"/>
                    <a:pt x="745" y="1006"/>
                  </a:cubicBezTo>
                  <a:cubicBezTo>
                    <a:pt x="745" y="1006"/>
                    <a:pt x="745" y="1006"/>
                    <a:pt x="745" y="1006"/>
                  </a:cubicBezTo>
                  <a:cubicBezTo>
                    <a:pt x="744" y="1007"/>
                    <a:pt x="744" y="1007"/>
                    <a:pt x="744" y="1007"/>
                  </a:cubicBezTo>
                  <a:cubicBezTo>
                    <a:pt x="744" y="1008"/>
                    <a:pt x="744" y="1008"/>
                    <a:pt x="744" y="1008"/>
                  </a:cubicBezTo>
                  <a:cubicBezTo>
                    <a:pt x="743" y="1009"/>
                    <a:pt x="743" y="1009"/>
                    <a:pt x="743" y="1009"/>
                  </a:cubicBezTo>
                  <a:cubicBezTo>
                    <a:pt x="743" y="1010"/>
                    <a:pt x="743" y="1010"/>
                    <a:pt x="743" y="1010"/>
                  </a:cubicBezTo>
                  <a:cubicBezTo>
                    <a:pt x="744" y="1011"/>
                    <a:pt x="744" y="1011"/>
                    <a:pt x="744" y="1011"/>
                  </a:cubicBezTo>
                  <a:cubicBezTo>
                    <a:pt x="745" y="1011"/>
                    <a:pt x="745" y="1011"/>
                    <a:pt x="745" y="1011"/>
                  </a:cubicBezTo>
                  <a:cubicBezTo>
                    <a:pt x="745" y="1012"/>
                    <a:pt x="745" y="1012"/>
                    <a:pt x="745" y="1012"/>
                  </a:cubicBezTo>
                  <a:cubicBezTo>
                    <a:pt x="745" y="1012"/>
                    <a:pt x="745" y="1012"/>
                    <a:pt x="745" y="1012"/>
                  </a:cubicBezTo>
                  <a:cubicBezTo>
                    <a:pt x="746" y="1012"/>
                    <a:pt x="746" y="1012"/>
                    <a:pt x="746" y="1012"/>
                  </a:cubicBezTo>
                  <a:cubicBezTo>
                    <a:pt x="746" y="1013"/>
                    <a:pt x="746" y="1013"/>
                    <a:pt x="746" y="1013"/>
                  </a:cubicBezTo>
                  <a:cubicBezTo>
                    <a:pt x="747" y="1013"/>
                    <a:pt x="747" y="1013"/>
                    <a:pt x="747" y="1013"/>
                  </a:cubicBezTo>
                  <a:close/>
                  <a:moveTo>
                    <a:pt x="756" y="1073"/>
                  </a:moveTo>
                  <a:cubicBezTo>
                    <a:pt x="755" y="1073"/>
                    <a:pt x="755" y="1073"/>
                    <a:pt x="755" y="1073"/>
                  </a:cubicBezTo>
                  <a:cubicBezTo>
                    <a:pt x="755" y="1073"/>
                    <a:pt x="755" y="1073"/>
                    <a:pt x="755" y="1073"/>
                  </a:cubicBezTo>
                  <a:cubicBezTo>
                    <a:pt x="754" y="1072"/>
                    <a:pt x="754" y="1072"/>
                    <a:pt x="754" y="1072"/>
                  </a:cubicBezTo>
                  <a:cubicBezTo>
                    <a:pt x="754" y="1071"/>
                    <a:pt x="754" y="1071"/>
                    <a:pt x="754" y="1071"/>
                  </a:cubicBezTo>
                  <a:cubicBezTo>
                    <a:pt x="754" y="1070"/>
                    <a:pt x="754" y="1070"/>
                    <a:pt x="754" y="1070"/>
                  </a:cubicBezTo>
                  <a:cubicBezTo>
                    <a:pt x="754" y="1070"/>
                    <a:pt x="754" y="1070"/>
                    <a:pt x="754" y="1070"/>
                  </a:cubicBezTo>
                  <a:cubicBezTo>
                    <a:pt x="753" y="1070"/>
                    <a:pt x="753" y="1070"/>
                    <a:pt x="753" y="1070"/>
                  </a:cubicBezTo>
                  <a:cubicBezTo>
                    <a:pt x="753" y="1071"/>
                    <a:pt x="753" y="1071"/>
                    <a:pt x="753" y="1071"/>
                  </a:cubicBezTo>
                  <a:cubicBezTo>
                    <a:pt x="753" y="1070"/>
                    <a:pt x="753" y="1070"/>
                    <a:pt x="753" y="1070"/>
                  </a:cubicBezTo>
                  <a:cubicBezTo>
                    <a:pt x="753" y="1070"/>
                    <a:pt x="753" y="1070"/>
                    <a:pt x="753" y="1070"/>
                  </a:cubicBezTo>
                  <a:cubicBezTo>
                    <a:pt x="753" y="1070"/>
                    <a:pt x="753" y="1070"/>
                    <a:pt x="753" y="1070"/>
                  </a:cubicBezTo>
                  <a:cubicBezTo>
                    <a:pt x="753" y="1069"/>
                    <a:pt x="753" y="1069"/>
                    <a:pt x="753" y="1069"/>
                  </a:cubicBezTo>
                  <a:cubicBezTo>
                    <a:pt x="753" y="1069"/>
                    <a:pt x="753" y="1069"/>
                    <a:pt x="753" y="1069"/>
                  </a:cubicBezTo>
                  <a:cubicBezTo>
                    <a:pt x="752" y="1069"/>
                    <a:pt x="752" y="1069"/>
                    <a:pt x="752" y="1069"/>
                  </a:cubicBezTo>
                  <a:cubicBezTo>
                    <a:pt x="752" y="1069"/>
                    <a:pt x="752" y="1069"/>
                    <a:pt x="752" y="1069"/>
                  </a:cubicBezTo>
                  <a:cubicBezTo>
                    <a:pt x="752" y="1070"/>
                    <a:pt x="752" y="1070"/>
                    <a:pt x="752" y="1070"/>
                  </a:cubicBezTo>
                  <a:cubicBezTo>
                    <a:pt x="752" y="1070"/>
                    <a:pt x="752" y="1070"/>
                    <a:pt x="752" y="1070"/>
                  </a:cubicBezTo>
                  <a:cubicBezTo>
                    <a:pt x="751" y="1070"/>
                    <a:pt x="751" y="1070"/>
                    <a:pt x="751" y="1070"/>
                  </a:cubicBezTo>
                  <a:cubicBezTo>
                    <a:pt x="751" y="1070"/>
                    <a:pt x="751" y="1070"/>
                    <a:pt x="751" y="1070"/>
                  </a:cubicBezTo>
                  <a:cubicBezTo>
                    <a:pt x="750" y="1070"/>
                    <a:pt x="750" y="1070"/>
                    <a:pt x="750" y="1070"/>
                  </a:cubicBezTo>
                  <a:cubicBezTo>
                    <a:pt x="750" y="1070"/>
                    <a:pt x="750" y="1070"/>
                    <a:pt x="750" y="1070"/>
                  </a:cubicBezTo>
                  <a:cubicBezTo>
                    <a:pt x="750" y="1070"/>
                    <a:pt x="750" y="1070"/>
                    <a:pt x="750" y="1070"/>
                  </a:cubicBezTo>
                  <a:cubicBezTo>
                    <a:pt x="749" y="1069"/>
                    <a:pt x="749" y="1069"/>
                    <a:pt x="749" y="1069"/>
                  </a:cubicBezTo>
                  <a:cubicBezTo>
                    <a:pt x="749" y="1069"/>
                    <a:pt x="749" y="1069"/>
                    <a:pt x="749" y="1069"/>
                  </a:cubicBezTo>
                  <a:cubicBezTo>
                    <a:pt x="749" y="1068"/>
                    <a:pt x="749" y="1068"/>
                    <a:pt x="749" y="1068"/>
                  </a:cubicBezTo>
                  <a:cubicBezTo>
                    <a:pt x="748" y="1068"/>
                    <a:pt x="748" y="1068"/>
                    <a:pt x="748" y="1068"/>
                  </a:cubicBezTo>
                  <a:cubicBezTo>
                    <a:pt x="748" y="1067"/>
                    <a:pt x="748" y="1067"/>
                    <a:pt x="748" y="1067"/>
                  </a:cubicBezTo>
                  <a:cubicBezTo>
                    <a:pt x="747" y="1066"/>
                    <a:pt x="747" y="1066"/>
                    <a:pt x="747" y="1066"/>
                  </a:cubicBezTo>
                  <a:cubicBezTo>
                    <a:pt x="747" y="1066"/>
                    <a:pt x="747" y="1066"/>
                    <a:pt x="747" y="1066"/>
                  </a:cubicBezTo>
                  <a:cubicBezTo>
                    <a:pt x="748" y="1065"/>
                    <a:pt x="748" y="1065"/>
                    <a:pt x="748" y="1065"/>
                  </a:cubicBezTo>
                  <a:cubicBezTo>
                    <a:pt x="748" y="1065"/>
                    <a:pt x="748" y="1065"/>
                    <a:pt x="748" y="1065"/>
                  </a:cubicBezTo>
                  <a:cubicBezTo>
                    <a:pt x="748" y="1065"/>
                    <a:pt x="748" y="1065"/>
                    <a:pt x="748" y="1065"/>
                  </a:cubicBezTo>
                  <a:cubicBezTo>
                    <a:pt x="749" y="1066"/>
                    <a:pt x="749" y="1066"/>
                    <a:pt x="749" y="1066"/>
                  </a:cubicBezTo>
                  <a:cubicBezTo>
                    <a:pt x="749" y="1067"/>
                    <a:pt x="749" y="1067"/>
                    <a:pt x="749" y="1067"/>
                  </a:cubicBezTo>
                  <a:cubicBezTo>
                    <a:pt x="749" y="1067"/>
                    <a:pt x="749" y="1067"/>
                    <a:pt x="749" y="1067"/>
                  </a:cubicBezTo>
                  <a:cubicBezTo>
                    <a:pt x="750" y="1068"/>
                    <a:pt x="750" y="1068"/>
                    <a:pt x="750" y="1068"/>
                  </a:cubicBezTo>
                  <a:cubicBezTo>
                    <a:pt x="750" y="1068"/>
                    <a:pt x="750" y="1068"/>
                    <a:pt x="750" y="1068"/>
                  </a:cubicBezTo>
                  <a:cubicBezTo>
                    <a:pt x="751" y="1068"/>
                    <a:pt x="751" y="1068"/>
                    <a:pt x="751" y="1068"/>
                  </a:cubicBezTo>
                  <a:cubicBezTo>
                    <a:pt x="751" y="1069"/>
                    <a:pt x="751" y="1069"/>
                    <a:pt x="751" y="1069"/>
                  </a:cubicBezTo>
                  <a:cubicBezTo>
                    <a:pt x="751" y="1069"/>
                    <a:pt x="751" y="1069"/>
                    <a:pt x="751" y="1069"/>
                  </a:cubicBezTo>
                  <a:cubicBezTo>
                    <a:pt x="752" y="1069"/>
                    <a:pt x="752" y="1069"/>
                    <a:pt x="752" y="1069"/>
                  </a:cubicBezTo>
                  <a:cubicBezTo>
                    <a:pt x="752" y="1069"/>
                    <a:pt x="752" y="1069"/>
                    <a:pt x="752" y="1069"/>
                  </a:cubicBezTo>
                  <a:cubicBezTo>
                    <a:pt x="752" y="1068"/>
                    <a:pt x="752" y="1068"/>
                    <a:pt x="752" y="1068"/>
                  </a:cubicBezTo>
                  <a:cubicBezTo>
                    <a:pt x="753" y="1068"/>
                    <a:pt x="753" y="1068"/>
                    <a:pt x="753" y="1068"/>
                  </a:cubicBezTo>
                  <a:cubicBezTo>
                    <a:pt x="753" y="1068"/>
                    <a:pt x="753" y="1068"/>
                    <a:pt x="753" y="1068"/>
                  </a:cubicBezTo>
                  <a:cubicBezTo>
                    <a:pt x="753" y="1068"/>
                    <a:pt x="753" y="1068"/>
                    <a:pt x="753" y="1068"/>
                  </a:cubicBezTo>
                  <a:cubicBezTo>
                    <a:pt x="753" y="1068"/>
                    <a:pt x="753" y="1068"/>
                    <a:pt x="753" y="1068"/>
                  </a:cubicBezTo>
                  <a:cubicBezTo>
                    <a:pt x="753" y="1068"/>
                    <a:pt x="753" y="1068"/>
                    <a:pt x="753" y="1068"/>
                  </a:cubicBezTo>
                  <a:cubicBezTo>
                    <a:pt x="753" y="1068"/>
                    <a:pt x="753" y="1068"/>
                    <a:pt x="753" y="1068"/>
                  </a:cubicBezTo>
                  <a:cubicBezTo>
                    <a:pt x="754" y="1069"/>
                    <a:pt x="754" y="1069"/>
                    <a:pt x="754" y="1069"/>
                  </a:cubicBezTo>
                  <a:cubicBezTo>
                    <a:pt x="754" y="1069"/>
                    <a:pt x="754" y="1069"/>
                    <a:pt x="754" y="1069"/>
                  </a:cubicBezTo>
                  <a:cubicBezTo>
                    <a:pt x="754" y="1069"/>
                    <a:pt x="754" y="1069"/>
                    <a:pt x="754" y="1069"/>
                  </a:cubicBezTo>
                  <a:cubicBezTo>
                    <a:pt x="754" y="1069"/>
                    <a:pt x="754" y="1069"/>
                    <a:pt x="754" y="1069"/>
                  </a:cubicBezTo>
                  <a:cubicBezTo>
                    <a:pt x="754" y="1069"/>
                    <a:pt x="754" y="1069"/>
                    <a:pt x="754" y="1069"/>
                  </a:cubicBezTo>
                  <a:cubicBezTo>
                    <a:pt x="755" y="1069"/>
                    <a:pt x="755" y="1069"/>
                    <a:pt x="755" y="1069"/>
                  </a:cubicBezTo>
                  <a:cubicBezTo>
                    <a:pt x="755" y="1070"/>
                    <a:pt x="755" y="1070"/>
                    <a:pt x="755" y="1070"/>
                  </a:cubicBezTo>
                  <a:cubicBezTo>
                    <a:pt x="755" y="1071"/>
                    <a:pt x="755" y="1071"/>
                    <a:pt x="755" y="1071"/>
                  </a:cubicBezTo>
                  <a:cubicBezTo>
                    <a:pt x="755" y="1071"/>
                    <a:pt x="755" y="1071"/>
                    <a:pt x="755" y="1071"/>
                  </a:cubicBezTo>
                  <a:cubicBezTo>
                    <a:pt x="756" y="1071"/>
                    <a:pt x="756" y="1071"/>
                    <a:pt x="756" y="1071"/>
                  </a:cubicBezTo>
                  <a:cubicBezTo>
                    <a:pt x="756" y="1072"/>
                    <a:pt x="756" y="1072"/>
                    <a:pt x="756" y="1072"/>
                  </a:cubicBezTo>
                  <a:cubicBezTo>
                    <a:pt x="757" y="1072"/>
                    <a:pt x="757" y="1072"/>
                    <a:pt x="757" y="1072"/>
                  </a:cubicBezTo>
                  <a:cubicBezTo>
                    <a:pt x="757" y="1072"/>
                    <a:pt x="757" y="1072"/>
                    <a:pt x="757" y="1072"/>
                  </a:cubicBezTo>
                  <a:cubicBezTo>
                    <a:pt x="757" y="1072"/>
                    <a:pt x="757" y="1072"/>
                    <a:pt x="757" y="1072"/>
                  </a:cubicBezTo>
                  <a:cubicBezTo>
                    <a:pt x="758" y="1073"/>
                    <a:pt x="758" y="1073"/>
                    <a:pt x="758" y="1073"/>
                  </a:cubicBezTo>
                  <a:cubicBezTo>
                    <a:pt x="758" y="1073"/>
                    <a:pt x="758" y="1073"/>
                    <a:pt x="758" y="1073"/>
                  </a:cubicBezTo>
                  <a:cubicBezTo>
                    <a:pt x="758" y="1073"/>
                    <a:pt x="758" y="1073"/>
                    <a:pt x="758" y="1073"/>
                  </a:cubicBezTo>
                  <a:cubicBezTo>
                    <a:pt x="757" y="1073"/>
                    <a:pt x="757" y="1073"/>
                    <a:pt x="757" y="1073"/>
                  </a:cubicBezTo>
                  <a:cubicBezTo>
                    <a:pt x="757" y="1074"/>
                    <a:pt x="757" y="1074"/>
                    <a:pt x="757" y="1074"/>
                  </a:cubicBezTo>
                  <a:cubicBezTo>
                    <a:pt x="757" y="1074"/>
                    <a:pt x="757" y="1074"/>
                    <a:pt x="757" y="1074"/>
                  </a:cubicBezTo>
                  <a:cubicBezTo>
                    <a:pt x="757" y="1074"/>
                    <a:pt x="757" y="1074"/>
                    <a:pt x="757" y="1074"/>
                  </a:cubicBezTo>
                  <a:cubicBezTo>
                    <a:pt x="757" y="1073"/>
                    <a:pt x="757" y="1073"/>
                    <a:pt x="757" y="1073"/>
                  </a:cubicBezTo>
                  <a:cubicBezTo>
                    <a:pt x="757" y="1073"/>
                    <a:pt x="757" y="1073"/>
                    <a:pt x="757" y="1073"/>
                  </a:cubicBezTo>
                  <a:cubicBezTo>
                    <a:pt x="756" y="1073"/>
                    <a:pt x="756" y="1073"/>
                    <a:pt x="756" y="1073"/>
                  </a:cubicBezTo>
                  <a:close/>
                  <a:moveTo>
                    <a:pt x="759" y="1078"/>
                  </a:moveTo>
                  <a:cubicBezTo>
                    <a:pt x="759" y="1077"/>
                    <a:pt x="759" y="1077"/>
                    <a:pt x="759" y="1077"/>
                  </a:cubicBezTo>
                  <a:cubicBezTo>
                    <a:pt x="759" y="1077"/>
                    <a:pt x="759" y="1077"/>
                    <a:pt x="759" y="1077"/>
                  </a:cubicBezTo>
                  <a:cubicBezTo>
                    <a:pt x="758" y="1077"/>
                    <a:pt x="758" y="1077"/>
                    <a:pt x="758" y="1077"/>
                  </a:cubicBezTo>
                  <a:cubicBezTo>
                    <a:pt x="757" y="1077"/>
                    <a:pt x="757" y="1077"/>
                    <a:pt x="757" y="1077"/>
                  </a:cubicBezTo>
                  <a:cubicBezTo>
                    <a:pt x="757" y="1077"/>
                    <a:pt x="757" y="1077"/>
                    <a:pt x="757" y="1077"/>
                  </a:cubicBezTo>
                  <a:cubicBezTo>
                    <a:pt x="756" y="1077"/>
                    <a:pt x="756" y="1077"/>
                    <a:pt x="756" y="1077"/>
                  </a:cubicBezTo>
                  <a:cubicBezTo>
                    <a:pt x="756" y="1076"/>
                    <a:pt x="756" y="1076"/>
                    <a:pt x="756" y="1076"/>
                  </a:cubicBezTo>
                  <a:cubicBezTo>
                    <a:pt x="757" y="1075"/>
                    <a:pt x="757" y="1075"/>
                    <a:pt x="757" y="1075"/>
                  </a:cubicBezTo>
                  <a:cubicBezTo>
                    <a:pt x="757" y="1076"/>
                    <a:pt x="757" y="1076"/>
                    <a:pt x="757" y="1076"/>
                  </a:cubicBezTo>
                  <a:cubicBezTo>
                    <a:pt x="758" y="1076"/>
                    <a:pt x="758" y="1076"/>
                    <a:pt x="758" y="1076"/>
                  </a:cubicBezTo>
                  <a:cubicBezTo>
                    <a:pt x="759" y="1076"/>
                    <a:pt x="759" y="1076"/>
                    <a:pt x="759" y="1076"/>
                  </a:cubicBezTo>
                  <a:cubicBezTo>
                    <a:pt x="759" y="1076"/>
                    <a:pt x="759" y="1076"/>
                    <a:pt x="759" y="1076"/>
                  </a:cubicBezTo>
                  <a:cubicBezTo>
                    <a:pt x="760" y="1076"/>
                    <a:pt x="760" y="1076"/>
                    <a:pt x="760" y="1076"/>
                  </a:cubicBezTo>
                  <a:cubicBezTo>
                    <a:pt x="760" y="1077"/>
                    <a:pt x="760" y="1077"/>
                    <a:pt x="760" y="1077"/>
                  </a:cubicBezTo>
                  <a:cubicBezTo>
                    <a:pt x="760" y="1078"/>
                    <a:pt x="760" y="1078"/>
                    <a:pt x="760" y="1078"/>
                  </a:cubicBezTo>
                  <a:cubicBezTo>
                    <a:pt x="761" y="1080"/>
                    <a:pt x="761" y="1080"/>
                    <a:pt x="761" y="1080"/>
                  </a:cubicBezTo>
                  <a:cubicBezTo>
                    <a:pt x="761" y="1080"/>
                    <a:pt x="761" y="1080"/>
                    <a:pt x="761" y="1080"/>
                  </a:cubicBezTo>
                  <a:cubicBezTo>
                    <a:pt x="761" y="1081"/>
                    <a:pt x="761" y="1081"/>
                    <a:pt x="761" y="1081"/>
                  </a:cubicBezTo>
                  <a:cubicBezTo>
                    <a:pt x="761" y="1081"/>
                    <a:pt x="761" y="1081"/>
                    <a:pt x="761" y="1081"/>
                  </a:cubicBezTo>
                  <a:cubicBezTo>
                    <a:pt x="761" y="1082"/>
                    <a:pt x="761" y="1082"/>
                    <a:pt x="761" y="1082"/>
                  </a:cubicBezTo>
                  <a:cubicBezTo>
                    <a:pt x="761" y="1082"/>
                    <a:pt x="761" y="1082"/>
                    <a:pt x="761" y="1082"/>
                  </a:cubicBezTo>
                  <a:cubicBezTo>
                    <a:pt x="760" y="1081"/>
                    <a:pt x="760" y="1081"/>
                    <a:pt x="760" y="1081"/>
                  </a:cubicBezTo>
                  <a:cubicBezTo>
                    <a:pt x="760" y="1079"/>
                    <a:pt x="760" y="1079"/>
                    <a:pt x="760" y="1079"/>
                  </a:cubicBezTo>
                  <a:lnTo>
                    <a:pt x="759" y="1078"/>
                  </a:lnTo>
                  <a:close/>
                  <a:moveTo>
                    <a:pt x="790" y="1120"/>
                  </a:moveTo>
                  <a:cubicBezTo>
                    <a:pt x="788" y="1119"/>
                    <a:pt x="788" y="1119"/>
                    <a:pt x="788" y="1119"/>
                  </a:cubicBezTo>
                  <a:cubicBezTo>
                    <a:pt x="788" y="1119"/>
                    <a:pt x="788" y="1119"/>
                    <a:pt x="788" y="1119"/>
                  </a:cubicBezTo>
                  <a:cubicBezTo>
                    <a:pt x="787" y="1118"/>
                    <a:pt x="787" y="1118"/>
                    <a:pt x="787" y="1118"/>
                  </a:cubicBezTo>
                  <a:cubicBezTo>
                    <a:pt x="785" y="1116"/>
                    <a:pt x="785" y="1116"/>
                    <a:pt x="785" y="1116"/>
                  </a:cubicBezTo>
                  <a:cubicBezTo>
                    <a:pt x="780" y="1111"/>
                    <a:pt x="780" y="1111"/>
                    <a:pt x="780" y="1111"/>
                  </a:cubicBezTo>
                  <a:cubicBezTo>
                    <a:pt x="777" y="1109"/>
                    <a:pt x="777" y="1109"/>
                    <a:pt x="777" y="1109"/>
                  </a:cubicBezTo>
                  <a:cubicBezTo>
                    <a:pt x="777" y="1108"/>
                    <a:pt x="777" y="1108"/>
                    <a:pt x="777" y="1108"/>
                  </a:cubicBezTo>
                  <a:cubicBezTo>
                    <a:pt x="776" y="1107"/>
                    <a:pt x="776" y="1107"/>
                    <a:pt x="776" y="1107"/>
                  </a:cubicBezTo>
                  <a:cubicBezTo>
                    <a:pt x="776" y="1106"/>
                    <a:pt x="776" y="1106"/>
                    <a:pt x="776" y="1106"/>
                  </a:cubicBezTo>
                  <a:cubicBezTo>
                    <a:pt x="776" y="1106"/>
                    <a:pt x="776" y="1106"/>
                    <a:pt x="776" y="1106"/>
                  </a:cubicBezTo>
                  <a:cubicBezTo>
                    <a:pt x="775" y="1105"/>
                    <a:pt x="775" y="1105"/>
                    <a:pt x="775" y="1105"/>
                  </a:cubicBezTo>
                  <a:cubicBezTo>
                    <a:pt x="774" y="1103"/>
                    <a:pt x="774" y="1103"/>
                    <a:pt x="774" y="1103"/>
                  </a:cubicBezTo>
                  <a:cubicBezTo>
                    <a:pt x="772" y="1102"/>
                    <a:pt x="772" y="1102"/>
                    <a:pt x="772" y="1102"/>
                  </a:cubicBezTo>
                  <a:cubicBezTo>
                    <a:pt x="772" y="1100"/>
                    <a:pt x="772" y="1100"/>
                    <a:pt x="772" y="1100"/>
                  </a:cubicBezTo>
                  <a:cubicBezTo>
                    <a:pt x="771" y="1100"/>
                    <a:pt x="771" y="1100"/>
                    <a:pt x="771" y="1100"/>
                  </a:cubicBezTo>
                  <a:cubicBezTo>
                    <a:pt x="771" y="1099"/>
                    <a:pt x="771" y="1099"/>
                    <a:pt x="771" y="1099"/>
                  </a:cubicBezTo>
                  <a:cubicBezTo>
                    <a:pt x="770" y="1099"/>
                    <a:pt x="770" y="1099"/>
                    <a:pt x="770" y="1099"/>
                  </a:cubicBezTo>
                  <a:cubicBezTo>
                    <a:pt x="769" y="1099"/>
                    <a:pt x="769" y="1099"/>
                    <a:pt x="769" y="1099"/>
                  </a:cubicBezTo>
                  <a:cubicBezTo>
                    <a:pt x="769" y="1098"/>
                    <a:pt x="769" y="1098"/>
                    <a:pt x="769" y="1098"/>
                  </a:cubicBezTo>
                  <a:cubicBezTo>
                    <a:pt x="769" y="1097"/>
                    <a:pt x="769" y="1097"/>
                    <a:pt x="769" y="1097"/>
                  </a:cubicBezTo>
                  <a:cubicBezTo>
                    <a:pt x="768" y="1097"/>
                    <a:pt x="768" y="1097"/>
                    <a:pt x="768" y="1097"/>
                  </a:cubicBezTo>
                  <a:cubicBezTo>
                    <a:pt x="768" y="1097"/>
                    <a:pt x="768" y="1097"/>
                    <a:pt x="768" y="1097"/>
                  </a:cubicBezTo>
                  <a:cubicBezTo>
                    <a:pt x="767" y="1097"/>
                    <a:pt x="767" y="1097"/>
                    <a:pt x="767" y="1097"/>
                  </a:cubicBezTo>
                  <a:cubicBezTo>
                    <a:pt x="767" y="1097"/>
                    <a:pt x="767" y="1097"/>
                    <a:pt x="767" y="1097"/>
                  </a:cubicBezTo>
                  <a:cubicBezTo>
                    <a:pt x="766" y="1096"/>
                    <a:pt x="766" y="1096"/>
                    <a:pt x="766" y="1096"/>
                  </a:cubicBezTo>
                  <a:cubicBezTo>
                    <a:pt x="766" y="1096"/>
                    <a:pt x="766" y="1096"/>
                    <a:pt x="766" y="1096"/>
                  </a:cubicBezTo>
                  <a:cubicBezTo>
                    <a:pt x="766" y="1096"/>
                    <a:pt x="766" y="1096"/>
                    <a:pt x="766" y="1096"/>
                  </a:cubicBezTo>
                  <a:cubicBezTo>
                    <a:pt x="765" y="1095"/>
                    <a:pt x="765" y="1095"/>
                    <a:pt x="765" y="1095"/>
                  </a:cubicBezTo>
                  <a:cubicBezTo>
                    <a:pt x="765" y="1093"/>
                    <a:pt x="765" y="1093"/>
                    <a:pt x="765" y="1093"/>
                  </a:cubicBezTo>
                  <a:cubicBezTo>
                    <a:pt x="764" y="1093"/>
                    <a:pt x="764" y="1093"/>
                    <a:pt x="764" y="1093"/>
                  </a:cubicBezTo>
                  <a:cubicBezTo>
                    <a:pt x="763" y="1091"/>
                    <a:pt x="763" y="1091"/>
                    <a:pt x="763" y="1091"/>
                  </a:cubicBezTo>
                  <a:cubicBezTo>
                    <a:pt x="762" y="1090"/>
                    <a:pt x="762" y="1090"/>
                    <a:pt x="762" y="1090"/>
                  </a:cubicBezTo>
                  <a:cubicBezTo>
                    <a:pt x="762" y="1089"/>
                    <a:pt x="762" y="1089"/>
                    <a:pt x="762" y="1089"/>
                  </a:cubicBezTo>
                  <a:cubicBezTo>
                    <a:pt x="761" y="1087"/>
                    <a:pt x="761" y="1087"/>
                    <a:pt x="761" y="1087"/>
                  </a:cubicBezTo>
                  <a:cubicBezTo>
                    <a:pt x="761" y="1087"/>
                    <a:pt x="761" y="1087"/>
                    <a:pt x="761" y="1087"/>
                  </a:cubicBezTo>
                  <a:cubicBezTo>
                    <a:pt x="761" y="1086"/>
                    <a:pt x="761" y="1086"/>
                    <a:pt x="761" y="1086"/>
                  </a:cubicBezTo>
                  <a:cubicBezTo>
                    <a:pt x="762" y="1086"/>
                    <a:pt x="762" y="1086"/>
                    <a:pt x="762" y="1086"/>
                  </a:cubicBezTo>
                  <a:cubicBezTo>
                    <a:pt x="762" y="1085"/>
                    <a:pt x="762" y="1085"/>
                    <a:pt x="762" y="1085"/>
                  </a:cubicBezTo>
                  <a:cubicBezTo>
                    <a:pt x="762" y="1085"/>
                    <a:pt x="762" y="1085"/>
                    <a:pt x="762" y="1085"/>
                  </a:cubicBezTo>
                  <a:cubicBezTo>
                    <a:pt x="762" y="1084"/>
                    <a:pt x="762" y="1084"/>
                    <a:pt x="762" y="1084"/>
                  </a:cubicBezTo>
                  <a:cubicBezTo>
                    <a:pt x="762" y="1084"/>
                    <a:pt x="762" y="1084"/>
                    <a:pt x="762" y="1084"/>
                  </a:cubicBezTo>
                  <a:cubicBezTo>
                    <a:pt x="761" y="1083"/>
                    <a:pt x="761" y="1083"/>
                    <a:pt x="761" y="1083"/>
                  </a:cubicBezTo>
                  <a:cubicBezTo>
                    <a:pt x="760" y="1083"/>
                    <a:pt x="760" y="1083"/>
                    <a:pt x="760" y="1083"/>
                  </a:cubicBezTo>
                  <a:cubicBezTo>
                    <a:pt x="760" y="1083"/>
                    <a:pt x="760" y="1083"/>
                    <a:pt x="760" y="1083"/>
                  </a:cubicBezTo>
                  <a:cubicBezTo>
                    <a:pt x="760" y="1083"/>
                    <a:pt x="760" y="1083"/>
                    <a:pt x="760" y="1083"/>
                  </a:cubicBezTo>
                  <a:cubicBezTo>
                    <a:pt x="760" y="1083"/>
                    <a:pt x="760" y="1083"/>
                    <a:pt x="760" y="1083"/>
                  </a:cubicBezTo>
                  <a:cubicBezTo>
                    <a:pt x="760" y="1083"/>
                    <a:pt x="760" y="1083"/>
                    <a:pt x="760" y="1083"/>
                  </a:cubicBezTo>
                  <a:cubicBezTo>
                    <a:pt x="760" y="1083"/>
                    <a:pt x="760" y="1083"/>
                    <a:pt x="760" y="1083"/>
                  </a:cubicBezTo>
                  <a:cubicBezTo>
                    <a:pt x="761" y="1083"/>
                    <a:pt x="761" y="1083"/>
                    <a:pt x="761" y="1083"/>
                  </a:cubicBezTo>
                  <a:cubicBezTo>
                    <a:pt x="761" y="1082"/>
                    <a:pt x="761" y="1082"/>
                    <a:pt x="761" y="1082"/>
                  </a:cubicBezTo>
                  <a:cubicBezTo>
                    <a:pt x="761" y="1082"/>
                    <a:pt x="761" y="1082"/>
                    <a:pt x="761" y="1082"/>
                  </a:cubicBezTo>
                  <a:cubicBezTo>
                    <a:pt x="761" y="1082"/>
                    <a:pt x="761" y="1082"/>
                    <a:pt x="761" y="1082"/>
                  </a:cubicBezTo>
                  <a:cubicBezTo>
                    <a:pt x="762" y="1083"/>
                    <a:pt x="762" y="1083"/>
                    <a:pt x="762" y="1083"/>
                  </a:cubicBezTo>
                  <a:cubicBezTo>
                    <a:pt x="762" y="1083"/>
                    <a:pt x="762" y="1083"/>
                    <a:pt x="762" y="1083"/>
                  </a:cubicBezTo>
                  <a:cubicBezTo>
                    <a:pt x="762" y="1083"/>
                    <a:pt x="762" y="1083"/>
                    <a:pt x="762" y="1083"/>
                  </a:cubicBezTo>
                  <a:cubicBezTo>
                    <a:pt x="762" y="1084"/>
                    <a:pt x="762" y="1084"/>
                    <a:pt x="762" y="1084"/>
                  </a:cubicBezTo>
                  <a:cubicBezTo>
                    <a:pt x="762" y="1084"/>
                    <a:pt x="762" y="1084"/>
                    <a:pt x="762" y="1084"/>
                  </a:cubicBezTo>
                  <a:cubicBezTo>
                    <a:pt x="762" y="1085"/>
                    <a:pt x="762" y="1085"/>
                    <a:pt x="762" y="1085"/>
                  </a:cubicBezTo>
                  <a:cubicBezTo>
                    <a:pt x="762" y="1086"/>
                    <a:pt x="762" y="1086"/>
                    <a:pt x="762" y="1086"/>
                  </a:cubicBezTo>
                  <a:cubicBezTo>
                    <a:pt x="762" y="1086"/>
                    <a:pt x="762" y="1086"/>
                    <a:pt x="762" y="1086"/>
                  </a:cubicBezTo>
                  <a:cubicBezTo>
                    <a:pt x="762" y="1087"/>
                    <a:pt x="762" y="1087"/>
                    <a:pt x="762" y="1087"/>
                  </a:cubicBezTo>
                  <a:cubicBezTo>
                    <a:pt x="763" y="1089"/>
                    <a:pt x="763" y="1089"/>
                    <a:pt x="763" y="1089"/>
                  </a:cubicBezTo>
                  <a:cubicBezTo>
                    <a:pt x="763" y="1090"/>
                    <a:pt x="763" y="1090"/>
                    <a:pt x="763" y="1090"/>
                  </a:cubicBezTo>
                  <a:cubicBezTo>
                    <a:pt x="764" y="1091"/>
                    <a:pt x="764" y="1091"/>
                    <a:pt x="764" y="1091"/>
                  </a:cubicBezTo>
                  <a:cubicBezTo>
                    <a:pt x="765" y="1092"/>
                    <a:pt x="765" y="1092"/>
                    <a:pt x="765" y="1092"/>
                  </a:cubicBezTo>
                  <a:cubicBezTo>
                    <a:pt x="766" y="1094"/>
                    <a:pt x="766" y="1094"/>
                    <a:pt x="766" y="1094"/>
                  </a:cubicBezTo>
                  <a:cubicBezTo>
                    <a:pt x="766" y="1094"/>
                    <a:pt x="766" y="1094"/>
                    <a:pt x="766" y="1094"/>
                  </a:cubicBezTo>
                  <a:cubicBezTo>
                    <a:pt x="766" y="1095"/>
                    <a:pt x="766" y="1095"/>
                    <a:pt x="766" y="1095"/>
                  </a:cubicBezTo>
                  <a:cubicBezTo>
                    <a:pt x="767" y="1095"/>
                    <a:pt x="767" y="1095"/>
                    <a:pt x="767" y="1095"/>
                  </a:cubicBezTo>
                  <a:cubicBezTo>
                    <a:pt x="767" y="1095"/>
                    <a:pt x="767" y="1095"/>
                    <a:pt x="767" y="1095"/>
                  </a:cubicBezTo>
                  <a:cubicBezTo>
                    <a:pt x="767" y="1095"/>
                    <a:pt x="767" y="1095"/>
                    <a:pt x="767" y="1095"/>
                  </a:cubicBezTo>
                  <a:cubicBezTo>
                    <a:pt x="768" y="1095"/>
                    <a:pt x="768" y="1095"/>
                    <a:pt x="768" y="1095"/>
                  </a:cubicBezTo>
                  <a:cubicBezTo>
                    <a:pt x="768" y="1096"/>
                    <a:pt x="768" y="1096"/>
                    <a:pt x="768" y="1096"/>
                  </a:cubicBezTo>
                  <a:cubicBezTo>
                    <a:pt x="769" y="1096"/>
                    <a:pt x="769" y="1096"/>
                    <a:pt x="769" y="1096"/>
                  </a:cubicBezTo>
                  <a:cubicBezTo>
                    <a:pt x="769" y="1097"/>
                    <a:pt x="769" y="1097"/>
                    <a:pt x="769" y="1097"/>
                  </a:cubicBezTo>
                  <a:cubicBezTo>
                    <a:pt x="769" y="1097"/>
                    <a:pt x="769" y="1097"/>
                    <a:pt x="769" y="1097"/>
                  </a:cubicBezTo>
                  <a:cubicBezTo>
                    <a:pt x="770" y="1098"/>
                    <a:pt x="770" y="1098"/>
                    <a:pt x="770" y="1098"/>
                  </a:cubicBezTo>
                  <a:cubicBezTo>
                    <a:pt x="771" y="1098"/>
                    <a:pt x="771" y="1098"/>
                    <a:pt x="771" y="1098"/>
                  </a:cubicBezTo>
                  <a:cubicBezTo>
                    <a:pt x="771" y="1099"/>
                    <a:pt x="771" y="1099"/>
                    <a:pt x="771" y="1099"/>
                  </a:cubicBezTo>
                  <a:cubicBezTo>
                    <a:pt x="772" y="1099"/>
                    <a:pt x="772" y="1099"/>
                    <a:pt x="772" y="1099"/>
                  </a:cubicBezTo>
                  <a:cubicBezTo>
                    <a:pt x="773" y="1100"/>
                    <a:pt x="773" y="1100"/>
                    <a:pt x="773" y="1100"/>
                  </a:cubicBezTo>
                  <a:cubicBezTo>
                    <a:pt x="774" y="1102"/>
                    <a:pt x="774" y="1102"/>
                    <a:pt x="774" y="1102"/>
                  </a:cubicBezTo>
                  <a:cubicBezTo>
                    <a:pt x="775" y="1103"/>
                    <a:pt x="775" y="1103"/>
                    <a:pt x="775" y="1103"/>
                  </a:cubicBezTo>
                  <a:cubicBezTo>
                    <a:pt x="776" y="1104"/>
                    <a:pt x="776" y="1104"/>
                    <a:pt x="776" y="1104"/>
                  </a:cubicBezTo>
                  <a:cubicBezTo>
                    <a:pt x="776" y="1105"/>
                    <a:pt x="776" y="1105"/>
                    <a:pt x="776" y="1105"/>
                  </a:cubicBezTo>
                  <a:cubicBezTo>
                    <a:pt x="776" y="1106"/>
                    <a:pt x="776" y="1106"/>
                    <a:pt x="776" y="1106"/>
                  </a:cubicBezTo>
                  <a:cubicBezTo>
                    <a:pt x="777" y="1107"/>
                    <a:pt x="777" y="1107"/>
                    <a:pt x="777" y="1107"/>
                  </a:cubicBezTo>
                  <a:cubicBezTo>
                    <a:pt x="777" y="1107"/>
                    <a:pt x="777" y="1107"/>
                    <a:pt x="777" y="1107"/>
                  </a:cubicBezTo>
                  <a:cubicBezTo>
                    <a:pt x="780" y="1110"/>
                    <a:pt x="780" y="1110"/>
                    <a:pt x="780" y="1110"/>
                  </a:cubicBezTo>
                  <a:cubicBezTo>
                    <a:pt x="785" y="1115"/>
                    <a:pt x="785" y="1115"/>
                    <a:pt x="785" y="1115"/>
                  </a:cubicBezTo>
                  <a:cubicBezTo>
                    <a:pt x="786" y="1117"/>
                    <a:pt x="786" y="1117"/>
                    <a:pt x="786" y="1117"/>
                  </a:cubicBezTo>
                  <a:cubicBezTo>
                    <a:pt x="787" y="1117"/>
                    <a:pt x="787" y="1117"/>
                    <a:pt x="787" y="1117"/>
                  </a:cubicBezTo>
                  <a:cubicBezTo>
                    <a:pt x="788" y="1118"/>
                    <a:pt x="788" y="1118"/>
                    <a:pt x="788" y="1118"/>
                  </a:cubicBezTo>
                  <a:cubicBezTo>
                    <a:pt x="790" y="1119"/>
                    <a:pt x="790" y="1119"/>
                    <a:pt x="790" y="1119"/>
                  </a:cubicBezTo>
                  <a:cubicBezTo>
                    <a:pt x="792" y="1119"/>
                    <a:pt x="792" y="1119"/>
                    <a:pt x="792" y="1119"/>
                  </a:cubicBezTo>
                  <a:cubicBezTo>
                    <a:pt x="793" y="1120"/>
                    <a:pt x="793" y="1120"/>
                    <a:pt x="793" y="1120"/>
                  </a:cubicBezTo>
                  <a:cubicBezTo>
                    <a:pt x="794" y="1121"/>
                    <a:pt x="794" y="1121"/>
                    <a:pt x="794" y="1121"/>
                  </a:cubicBezTo>
                  <a:cubicBezTo>
                    <a:pt x="794" y="1121"/>
                    <a:pt x="794" y="1121"/>
                    <a:pt x="794" y="1121"/>
                  </a:cubicBezTo>
                  <a:cubicBezTo>
                    <a:pt x="793" y="1121"/>
                    <a:pt x="793" y="1121"/>
                    <a:pt x="793" y="1121"/>
                  </a:cubicBezTo>
                  <a:lnTo>
                    <a:pt x="790" y="1120"/>
                  </a:lnTo>
                  <a:close/>
                  <a:moveTo>
                    <a:pt x="795" y="1130"/>
                  </a:moveTo>
                  <a:cubicBezTo>
                    <a:pt x="794" y="1128"/>
                    <a:pt x="794" y="1128"/>
                    <a:pt x="794" y="1128"/>
                  </a:cubicBezTo>
                  <a:cubicBezTo>
                    <a:pt x="794" y="1127"/>
                    <a:pt x="794" y="1127"/>
                    <a:pt x="794" y="1127"/>
                  </a:cubicBezTo>
                  <a:cubicBezTo>
                    <a:pt x="795" y="1128"/>
                    <a:pt x="795" y="1128"/>
                    <a:pt x="795" y="1128"/>
                  </a:cubicBezTo>
                  <a:cubicBezTo>
                    <a:pt x="796" y="1130"/>
                    <a:pt x="796" y="1130"/>
                    <a:pt x="796" y="1130"/>
                  </a:cubicBezTo>
                  <a:cubicBezTo>
                    <a:pt x="797" y="1130"/>
                    <a:pt x="797" y="1130"/>
                    <a:pt x="797" y="1130"/>
                  </a:cubicBezTo>
                  <a:cubicBezTo>
                    <a:pt x="797" y="1130"/>
                    <a:pt x="797" y="1130"/>
                    <a:pt x="797" y="1130"/>
                  </a:cubicBezTo>
                  <a:cubicBezTo>
                    <a:pt x="797" y="1131"/>
                    <a:pt x="797" y="1131"/>
                    <a:pt x="797" y="1131"/>
                  </a:cubicBezTo>
                  <a:cubicBezTo>
                    <a:pt x="797" y="1131"/>
                    <a:pt x="797" y="1131"/>
                    <a:pt x="797" y="1131"/>
                  </a:cubicBezTo>
                  <a:cubicBezTo>
                    <a:pt x="797" y="1131"/>
                    <a:pt x="797" y="1131"/>
                    <a:pt x="797" y="1131"/>
                  </a:cubicBezTo>
                  <a:lnTo>
                    <a:pt x="795" y="1130"/>
                  </a:lnTo>
                  <a:close/>
                  <a:moveTo>
                    <a:pt x="799" y="1134"/>
                  </a:moveTo>
                  <a:cubicBezTo>
                    <a:pt x="799" y="1134"/>
                    <a:pt x="799" y="1134"/>
                    <a:pt x="799" y="1134"/>
                  </a:cubicBezTo>
                  <a:cubicBezTo>
                    <a:pt x="798" y="1133"/>
                    <a:pt x="798" y="1133"/>
                    <a:pt x="798" y="1133"/>
                  </a:cubicBezTo>
                  <a:cubicBezTo>
                    <a:pt x="798" y="1133"/>
                    <a:pt x="798" y="1133"/>
                    <a:pt x="798" y="1133"/>
                  </a:cubicBezTo>
                  <a:cubicBezTo>
                    <a:pt x="798" y="1133"/>
                    <a:pt x="798" y="1133"/>
                    <a:pt x="798" y="1133"/>
                  </a:cubicBezTo>
                  <a:cubicBezTo>
                    <a:pt x="802" y="1136"/>
                    <a:pt x="802" y="1136"/>
                    <a:pt x="802" y="1136"/>
                  </a:cubicBezTo>
                  <a:cubicBezTo>
                    <a:pt x="803" y="1136"/>
                    <a:pt x="803" y="1136"/>
                    <a:pt x="803" y="1136"/>
                  </a:cubicBezTo>
                  <a:cubicBezTo>
                    <a:pt x="804" y="1137"/>
                    <a:pt x="804" y="1137"/>
                    <a:pt x="804" y="1137"/>
                  </a:cubicBezTo>
                  <a:cubicBezTo>
                    <a:pt x="804" y="1137"/>
                    <a:pt x="804" y="1137"/>
                    <a:pt x="804" y="1137"/>
                  </a:cubicBezTo>
                  <a:cubicBezTo>
                    <a:pt x="804" y="1137"/>
                    <a:pt x="804" y="1137"/>
                    <a:pt x="804" y="1137"/>
                  </a:cubicBezTo>
                  <a:cubicBezTo>
                    <a:pt x="803" y="1137"/>
                    <a:pt x="803" y="1137"/>
                    <a:pt x="803" y="1137"/>
                  </a:cubicBezTo>
                  <a:lnTo>
                    <a:pt x="799" y="1134"/>
                  </a:lnTo>
                  <a:close/>
                  <a:moveTo>
                    <a:pt x="808" y="1052"/>
                  </a:moveTo>
                  <a:cubicBezTo>
                    <a:pt x="808" y="1052"/>
                    <a:pt x="808" y="1052"/>
                    <a:pt x="808" y="1052"/>
                  </a:cubicBezTo>
                  <a:cubicBezTo>
                    <a:pt x="809" y="1053"/>
                    <a:pt x="809" y="1053"/>
                    <a:pt x="809" y="1053"/>
                  </a:cubicBezTo>
                  <a:cubicBezTo>
                    <a:pt x="809" y="1053"/>
                    <a:pt x="809" y="1053"/>
                    <a:pt x="809" y="1053"/>
                  </a:cubicBezTo>
                  <a:lnTo>
                    <a:pt x="808" y="1052"/>
                  </a:lnTo>
                  <a:close/>
                  <a:moveTo>
                    <a:pt x="812" y="1148"/>
                  </a:moveTo>
                  <a:cubicBezTo>
                    <a:pt x="811" y="1148"/>
                    <a:pt x="811" y="1148"/>
                    <a:pt x="811" y="1148"/>
                  </a:cubicBezTo>
                  <a:cubicBezTo>
                    <a:pt x="811" y="1147"/>
                    <a:pt x="811" y="1147"/>
                    <a:pt x="811" y="1147"/>
                  </a:cubicBezTo>
                  <a:cubicBezTo>
                    <a:pt x="812" y="1147"/>
                    <a:pt x="812" y="1147"/>
                    <a:pt x="812" y="1147"/>
                  </a:cubicBezTo>
                  <a:cubicBezTo>
                    <a:pt x="812" y="1147"/>
                    <a:pt x="812" y="1147"/>
                    <a:pt x="812" y="1147"/>
                  </a:cubicBezTo>
                  <a:cubicBezTo>
                    <a:pt x="813" y="1148"/>
                    <a:pt x="813" y="1148"/>
                    <a:pt x="813" y="1148"/>
                  </a:cubicBezTo>
                  <a:lnTo>
                    <a:pt x="812" y="1148"/>
                  </a:lnTo>
                  <a:close/>
                  <a:moveTo>
                    <a:pt x="823" y="1156"/>
                  </a:moveTo>
                  <a:cubicBezTo>
                    <a:pt x="822" y="1155"/>
                    <a:pt x="822" y="1155"/>
                    <a:pt x="822" y="1155"/>
                  </a:cubicBezTo>
                  <a:cubicBezTo>
                    <a:pt x="817" y="1152"/>
                    <a:pt x="817" y="1152"/>
                    <a:pt x="817" y="1152"/>
                  </a:cubicBezTo>
                  <a:cubicBezTo>
                    <a:pt x="815" y="1151"/>
                    <a:pt x="815" y="1151"/>
                    <a:pt x="815" y="1151"/>
                  </a:cubicBezTo>
                  <a:cubicBezTo>
                    <a:pt x="815" y="1150"/>
                    <a:pt x="815" y="1150"/>
                    <a:pt x="815" y="1150"/>
                  </a:cubicBezTo>
                  <a:cubicBezTo>
                    <a:pt x="814" y="1149"/>
                    <a:pt x="814" y="1149"/>
                    <a:pt x="814" y="1149"/>
                  </a:cubicBezTo>
                  <a:cubicBezTo>
                    <a:pt x="814" y="1150"/>
                    <a:pt x="814" y="1150"/>
                    <a:pt x="814" y="1150"/>
                  </a:cubicBezTo>
                  <a:cubicBezTo>
                    <a:pt x="816" y="1151"/>
                    <a:pt x="816" y="1151"/>
                    <a:pt x="816" y="1151"/>
                  </a:cubicBezTo>
                  <a:cubicBezTo>
                    <a:pt x="821" y="1154"/>
                    <a:pt x="821" y="1154"/>
                    <a:pt x="821" y="1154"/>
                  </a:cubicBezTo>
                  <a:cubicBezTo>
                    <a:pt x="822" y="1155"/>
                    <a:pt x="822" y="1155"/>
                    <a:pt x="822" y="1155"/>
                  </a:cubicBezTo>
                  <a:cubicBezTo>
                    <a:pt x="823" y="1155"/>
                    <a:pt x="823" y="1155"/>
                    <a:pt x="823" y="1155"/>
                  </a:cubicBezTo>
                  <a:cubicBezTo>
                    <a:pt x="824" y="1155"/>
                    <a:pt x="824" y="1155"/>
                    <a:pt x="824" y="1155"/>
                  </a:cubicBezTo>
                  <a:cubicBezTo>
                    <a:pt x="824" y="1155"/>
                    <a:pt x="824" y="1155"/>
                    <a:pt x="824" y="1155"/>
                  </a:cubicBezTo>
                  <a:cubicBezTo>
                    <a:pt x="825" y="1156"/>
                    <a:pt x="825" y="1156"/>
                    <a:pt x="825" y="1156"/>
                  </a:cubicBezTo>
                  <a:cubicBezTo>
                    <a:pt x="825" y="1156"/>
                    <a:pt x="825" y="1156"/>
                    <a:pt x="825" y="1156"/>
                  </a:cubicBezTo>
                  <a:cubicBezTo>
                    <a:pt x="825" y="1156"/>
                    <a:pt x="825" y="1156"/>
                    <a:pt x="825" y="1156"/>
                  </a:cubicBezTo>
                  <a:lnTo>
                    <a:pt x="823" y="1156"/>
                  </a:lnTo>
                  <a:close/>
                  <a:moveTo>
                    <a:pt x="834" y="1163"/>
                  </a:moveTo>
                  <a:cubicBezTo>
                    <a:pt x="834" y="1164"/>
                    <a:pt x="834" y="1164"/>
                    <a:pt x="834" y="1164"/>
                  </a:cubicBezTo>
                  <a:cubicBezTo>
                    <a:pt x="834" y="1163"/>
                    <a:pt x="834" y="1163"/>
                    <a:pt x="834" y="1163"/>
                  </a:cubicBezTo>
                  <a:cubicBezTo>
                    <a:pt x="833" y="1163"/>
                    <a:pt x="833" y="1163"/>
                    <a:pt x="833" y="1163"/>
                  </a:cubicBezTo>
                  <a:cubicBezTo>
                    <a:pt x="832" y="1163"/>
                    <a:pt x="832" y="1163"/>
                    <a:pt x="832" y="1163"/>
                  </a:cubicBezTo>
                  <a:cubicBezTo>
                    <a:pt x="830" y="1162"/>
                    <a:pt x="830" y="1162"/>
                    <a:pt x="830" y="1162"/>
                  </a:cubicBezTo>
                  <a:cubicBezTo>
                    <a:pt x="830" y="1162"/>
                    <a:pt x="830" y="1162"/>
                    <a:pt x="830" y="1162"/>
                  </a:cubicBezTo>
                  <a:cubicBezTo>
                    <a:pt x="829" y="1162"/>
                    <a:pt x="829" y="1162"/>
                    <a:pt x="829" y="1162"/>
                  </a:cubicBezTo>
                  <a:cubicBezTo>
                    <a:pt x="829" y="1162"/>
                    <a:pt x="829" y="1162"/>
                    <a:pt x="829" y="1162"/>
                  </a:cubicBezTo>
                  <a:cubicBezTo>
                    <a:pt x="831" y="1162"/>
                    <a:pt x="831" y="1162"/>
                    <a:pt x="831" y="1162"/>
                  </a:cubicBezTo>
                  <a:cubicBezTo>
                    <a:pt x="833" y="1162"/>
                    <a:pt x="833" y="1162"/>
                    <a:pt x="833" y="1162"/>
                  </a:cubicBezTo>
                  <a:cubicBezTo>
                    <a:pt x="834" y="1161"/>
                    <a:pt x="834" y="1161"/>
                    <a:pt x="834" y="1161"/>
                  </a:cubicBezTo>
                  <a:cubicBezTo>
                    <a:pt x="834" y="1161"/>
                    <a:pt x="834" y="1161"/>
                    <a:pt x="834" y="1161"/>
                  </a:cubicBezTo>
                  <a:cubicBezTo>
                    <a:pt x="834" y="1161"/>
                    <a:pt x="834" y="1161"/>
                    <a:pt x="834" y="1161"/>
                  </a:cubicBezTo>
                  <a:cubicBezTo>
                    <a:pt x="834" y="1163"/>
                    <a:pt x="834" y="1163"/>
                    <a:pt x="834" y="1163"/>
                  </a:cubicBezTo>
                  <a:close/>
                  <a:moveTo>
                    <a:pt x="846" y="1128"/>
                  </a:moveTo>
                  <a:cubicBezTo>
                    <a:pt x="845" y="1128"/>
                    <a:pt x="845" y="1128"/>
                    <a:pt x="845" y="1128"/>
                  </a:cubicBezTo>
                  <a:cubicBezTo>
                    <a:pt x="844" y="1128"/>
                    <a:pt x="844" y="1128"/>
                    <a:pt x="844" y="1128"/>
                  </a:cubicBezTo>
                  <a:cubicBezTo>
                    <a:pt x="844" y="1128"/>
                    <a:pt x="844" y="1128"/>
                    <a:pt x="844" y="1128"/>
                  </a:cubicBezTo>
                  <a:cubicBezTo>
                    <a:pt x="844" y="1128"/>
                    <a:pt x="844" y="1128"/>
                    <a:pt x="844" y="1128"/>
                  </a:cubicBezTo>
                  <a:cubicBezTo>
                    <a:pt x="844" y="1129"/>
                    <a:pt x="844" y="1129"/>
                    <a:pt x="844" y="1129"/>
                  </a:cubicBezTo>
                  <a:cubicBezTo>
                    <a:pt x="844" y="1129"/>
                    <a:pt x="844" y="1129"/>
                    <a:pt x="844" y="1129"/>
                  </a:cubicBezTo>
                  <a:cubicBezTo>
                    <a:pt x="843" y="1129"/>
                    <a:pt x="843" y="1129"/>
                    <a:pt x="843" y="1129"/>
                  </a:cubicBezTo>
                  <a:cubicBezTo>
                    <a:pt x="843" y="1129"/>
                    <a:pt x="843" y="1129"/>
                    <a:pt x="843" y="1129"/>
                  </a:cubicBezTo>
                  <a:cubicBezTo>
                    <a:pt x="843" y="1128"/>
                    <a:pt x="843" y="1128"/>
                    <a:pt x="843" y="1128"/>
                  </a:cubicBezTo>
                  <a:cubicBezTo>
                    <a:pt x="842" y="1128"/>
                    <a:pt x="842" y="1128"/>
                    <a:pt x="842" y="1128"/>
                  </a:cubicBezTo>
                  <a:cubicBezTo>
                    <a:pt x="842" y="1127"/>
                    <a:pt x="842" y="1127"/>
                    <a:pt x="842" y="1127"/>
                  </a:cubicBezTo>
                  <a:cubicBezTo>
                    <a:pt x="842" y="1127"/>
                    <a:pt x="842" y="1127"/>
                    <a:pt x="842" y="1127"/>
                  </a:cubicBezTo>
                  <a:cubicBezTo>
                    <a:pt x="842" y="1127"/>
                    <a:pt x="842" y="1127"/>
                    <a:pt x="842" y="1127"/>
                  </a:cubicBezTo>
                  <a:cubicBezTo>
                    <a:pt x="842" y="1127"/>
                    <a:pt x="842" y="1127"/>
                    <a:pt x="842" y="1127"/>
                  </a:cubicBezTo>
                  <a:cubicBezTo>
                    <a:pt x="841" y="1126"/>
                    <a:pt x="841" y="1126"/>
                    <a:pt x="841" y="1126"/>
                  </a:cubicBezTo>
                  <a:cubicBezTo>
                    <a:pt x="840" y="1126"/>
                    <a:pt x="840" y="1126"/>
                    <a:pt x="840" y="1126"/>
                  </a:cubicBezTo>
                  <a:cubicBezTo>
                    <a:pt x="838" y="1126"/>
                    <a:pt x="838" y="1126"/>
                    <a:pt x="838" y="1126"/>
                  </a:cubicBezTo>
                  <a:cubicBezTo>
                    <a:pt x="838" y="1126"/>
                    <a:pt x="838" y="1126"/>
                    <a:pt x="838" y="1126"/>
                  </a:cubicBezTo>
                  <a:cubicBezTo>
                    <a:pt x="838" y="1127"/>
                    <a:pt x="838" y="1127"/>
                    <a:pt x="838" y="1127"/>
                  </a:cubicBezTo>
                  <a:cubicBezTo>
                    <a:pt x="838" y="1127"/>
                    <a:pt x="838" y="1127"/>
                    <a:pt x="838" y="1127"/>
                  </a:cubicBezTo>
                  <a:cubicBezTo>
                    <a:pt x="838" y="1127"/>
                    <a:pt x="838" y="1127"/>
                    <a:pt x="838" y="1127"/>
                  </a:cubicBezTo>
                  <a:cubicBezTo>
                    <a:pt x="837" y="1127"/>
                    <a:pt x="837" y="1127"/>
                    <a:pt x="837" y="1127"/>
                  </a:cubicBezTo>
                  <a:cubicBezTo>
                    <a:pt x="834" y="1130"/>
                    <a:pt x="834" y="1130"/>
                    <a:pt x="834" y="1130"/>
                  </a:cubicBezTo>
                  <a:cubicBezTo>
                    <a:pt x="833" y="1130"/>
                    <a:pt x="833" y="1130"/>
                    <a:pt x="833" y="1130"/>
                  </a:cubicBezTo>
                  <a:cubicBezTo>
                    <a:pt x="834" y="1129"/>
                    <a:pt x="834" y="1129"/>
                    <a:pt x="834" y="1129"/>
                  </a:cubicBezTo>
                  <a:cubicBezTo>
                    <a:pt x="838" y="1126"/>
                    <a:pt x="838" y="1126"/>
                    <a:pt x="838" y="1126"/>
                  </a:cubicBezTo>
                  <a:cubicBezTo>
                    <a:pt x="838" y="1126"/>
                    <a:pt x="838" y="1126"/>
                    <a:pt x="838" y="1126"/>
                  </a:cubicBezTo>
                  <a:cubicBezTo>
                    <a:pt x="838" y="1126"/>
                    <a:pt x="838" y="1126"/>
                    <a:pt x="838" y="1126"/>
                  </a:cubicBezTo>
                  <a:cubicBezTo>
                    <a:pt x="838" y="1125"/>
                    <a:pt x="838" y="1125"/>
                    <a:pt x="838" y="1125"/>
                  </a:cubicBezTo>
                  <a:cubicBezTo>
                    <a:pt x="838" y="1125"/>
                    <a:pt x="838" y="1125"/>
                    <a:pt x="838" y="1125"/>
                  </a:cubicBezTo>
                  <a:cubicBezTo>
                    <a:pt x="839" y="1125"/>
                    <a:pt x="839" y="1125"/>
                    <a:pt x="839" y="1125"/>
                  </a:cubicBezTo>
                  <a:cubicBezTo>
                    <a:pt x="840" y="1125"/>
                    <a:pt x="840" y="1125"/>
                    <a:pt x="840" y="1125"/>
                  </a:cubicBezTo>
                  <a:cubicBezTo>
                    <a:pt x="841" y="1125"/>
                    <a:pt x="841" y="1125"/>
                    <a:pt x="841" y="1125"/>
                  </a:cubicBezTo>
                  <a:cubicBezTo>
                    <a:pt x="842" y="1125"/>
                    <a:pt x="842" y="1125"/>
                    <a:pt x="842" y="1125"/>
                  </a:cubicBezTo>
                  <a:cubicBezTo>
                    <a:pt x="842" y="1126"/>
                    <a:pt x="842" y="1126"/>
                    <a:pt x="842" y="1126"/>
                  </a:cubicBezTo>
                  <a:cubicBezTo>
                    <a:pt x="842" y="1126"/>
                    <a:pt x="842" y="1126"/>
                    <a:pt x="842" y="1126"/>
                  </a:cubicBezTo>
                  <a:cubicBezTo>
                    <a:pt x="842" y="1126"/>
                    <a:pt x="842" y="1126"/>
                    <a:pt x="842" y="1126"/>
                  </a:cubicBezTo>
                  <a:cubicBezTo>
                    <a:pt x="842" y="1127"/>
                    <a:pt x="842" y="1127"/>
                    <a:pt x="842" y="1127"/>
                  </a:cubicBezTo>
                  <a:cubicBezTo>
                    <a:pt x="842" y="1127"/>
                    <a:pt x="842" y="1127"/>
                    <a:pt x="842" y="1127"/>
                  </a:cubicBezTo>
                  <a:cubicBezTo>
                    <a:pt x="843" y="1128"/>
                    <a:pt x="843" y="1128"/>
                    <a:pt x="843" y="1128"/>
                  </a:cubicBezTo>
                  <a:cubicBezTo>
                    <a:pt x="843" y="1128"/>
                    <a:pt x="843" y="1128"/>
                    <a:pt x="843" y="1128"/>
                  </a:cubicBezTo>
                  <a:cubicBezTo>
                    <a:pt x="843" y="1128"/>
                    <a:pt x="843" y="1128"/>
                    <a:pt x="843" y="1128"/>
                  </a:cubicBezTo>
                  <a:cubicBezTo>
                    <a:pt x="844" y="1127"/>
                    <a:pt x="844" y="1127"/>
                    <a:pt x="844" y="1127"/>
                  </a:cubicBezTo>
                  <a:cubicBezTo>
                    <a:pt x="844" y="1127"/>
                    <a:pt x="844" y="1127"/>
                    <a:pt x="844" y="1127"/>
                  </a:cubicBezTo>
                  <a:cubicBezTo>
                    <a:pt x="844" y="1127"/>
                    <a:pt x="844" y="1127"/>
                    <a:pt x="844" y="1127"/>
                  </a:cubicBezTo>
                  <a:cubicBezTo>
                    <a:pt x="844" y="1127"/>
                    <a:pt x="844" y="1127"/>
                    <a:pt x="844" y="1127"/>
                  </a:cubicBezTo>
                  <a:cubicBezTo>
                    <a:pt x="844" y="1127"/>
                    <a:pt x="844" y="1127"/>
                    <a:pt x="844" y="1127"/>
                  </a:cubicBezTo>
                  <a:cubicBezTo>
                    <a:pt x="845" y="1127"/>
                    <a:pt x="845" y="1127"/>
                    <a:pt x="845" y="1127"/>
                  </a:cubicBezTo>
                  <a:cubicBezTo>
                    <a:pt x="846" y="1128"/>
                    <a:pt x="846" y="1128"/>
                    <a:pt x="846" y="1128"/>
                  </a:cubicBezTo>
                  <a:close/>
                  <a:moveTo>
                    <a:pt x="865" y="1134"/>
                  </a:moveTo>
                  <a:cubicBezTo>
                    <a:pt x="865" y="1134"/>
                    <a:pt x="865" y="1134"/>
                    <a:pt x="865" y="1134"/>
                  </a:cubicBezTo>
                  <a:cubicBezTo>
                    <a:pt x="864" y="1134"/>
                    <a:pt x="864" y="1134"/>
                    <a:pt x="864" y="1134"/>
                  </a:cubicBezTo>
                  <a:cubicBezTo>
                    <a:pt x="863" y="1133"/>
                    <a:pt x="863" y="1133"/>
                    <a:pt x="863" y="1133"/>
                  </a:cubicBezTo>
                  <a:cubicBezTo>
                    <a:pt x="862" y="1133"/>
                    <a:pt x="862" y="1133"/>
                    <a:pt x="862" y="1133"/>
                  </a:cubicBezTo>
                  <a:cubicBezTo>
                    <a:pt x="862" y="1132"/>
                    <a:pt x="862" y="1132"/>
                    <a:pt x="862" y="1132"/>
                  </a:cubicBezTo>
                  <a:cubicBezTo>
                    <a:pt x="861" y="1131"/>
                    <a:pt x="861" y="1131"/>
                    <a:pt x="861" y="1131"/>
                  </a:cubicBezTo>
                  <a:cubicBezTo>
                    <a:pt x="860" y="1130"/>
                    <a:pt x="860" y="1130"/>
                    <a:pt x="860" y="1130"/>
                  </a:cubicBezTo>
                  <a:cubicBezTo>
                    <a:pt x="859" y="1130"/>
                    <a:pt x="859" y="1130"/>
                    <a:pt x="859" y="1130"/>
                  </a:cubicBezTo>
                  <a:cubicBezTo>
                    <a:pt x="859" y="1129"/>
                    <a:pt x="859" y="1129"/>
                    <a:pt x="859" y="1129"/>
                  </a:cubicBezTo>
                  <a:cubicBezTo>
                    <a:pt x="858" y="1128"/>
                    <a:pt x="858" y="1128"/>
                    <a:pt x="858" y="1128"/>
                  </a:cubicBezTo>
                  <a:cubicBezTo>
                    <a:pt x="856" y="1127"/>
                    <a:pt x="856" y="1127"/>
                    <a:pt x="856" y="1127"/>
                  </a:cubicBezTo>
                  <a:cubicBezTo>
                    <a:pt x="855" y="1125"/>
                    <a:pt x="855" y="1125"/>
                    <a:pt x="855" y="1125"/>
                  </a:cubicBezTo>
                  <a:cubicBezTo>
                    <a:pt x="855" y="1124"/>
                    <a:pt x="855" y="1124"/>
                    <a:pt x="855" y="1124"/>
                  </a:cubicBezTo>
                  <a:cubicBezTo>
                    <a:pt x="850" y="1123"/>
                    <a:pt x="850" y="1123"/>
                    <a:pt x="850" y="1123"/>
                  </a:cubicBezTo>
                  <a:cubicBezTo>
                    <a:pt x="850" y="1122"/>
                    <a:pt x="850" y="1122"/>
                    <a:pt x="850" y="1122"/>
                  </a:cubicBezTo>
                  <a:cubicBezTo>
                    <a:pt x="849" y="1121"/>
                    <a:pt x="849" y="1121"/>
                    <a:pt x="849" y="1121"/>
                  </a:cubicBezTo>
                  <a:cubicBezTo>
                    <a:pt x="849" y="1120"/>
                    <a:pt x="849" y="1120"/>
                    <a:pt x="849" y="1120"/>
                  </a:cubicBezTo>
                  <a:cubicBezTo>
                    <a:pt x="850" y="1119"/>
                    <a:pt x="850" y="1119"/>
                    <a:pt x="850" y="1119"/>
                  </a:cubicBezTo>
                  <a:cubicBezTo>
                    <a:pt x="848" y="1118"/>
                    <a:pt x="848" y="1118"/>
                    <a:pt x="848" y="1118"/>
                  </a:cubicBezTo>
                  <a:cubicBezTo>
                    <a:pt x="847" y="1119"/>
                    <a:pt x="847" y="1119"/>
                    <a:pt x="847" y="1119"/>
                  </a:cubicBezTo>
                  <a:cubicBezTo>
                    <a:pt x="847" y="1120"/>
                    <a:pt x="847" y="1120"/>
                    <a:pt x="847" y="1120"/>
                  </a:cubicBezTo>
                  <a:cubicBezTo>
                    <a:pt x="846" y="1120"/>
                    <a:pt x="846" y="1120"/>
                    <a:pt x="846" y="1120"/>
                  </a:cubicBezTo>
                  <a:cubicBezTo>
                    <a:pt x="845" y="1120"/>
                    <a:pt x="845" y="1120"/>
                    <a:pt x="845" y="1120"/>
                  </a:cubicBezTo>
                  <a:cubicBezTo>
                    <a:pt x="845" y="1120"/>
                    <a:pt x="845" y="1120"/>
                    <a:pt x="845" y="1120"/>
                  </a:cubicBezTo>
                  <a:cubicBezTo>
                    <a:pt x="844" y="1119"/>
                    <a:pt x="844" y="1119"/>
                    <a:pt x="844" y="1119"/>
                  </a:cubicBezTo>
                  <a:cubicBezTo>
                    <a:pt x="844" y="1118"/>
                    <a:pt x="844" y="1118"/>
                    <a:pt x="844" y="1118"/>
                  </a:cubicBezTo>
                  <a:cubicBezTo>
                    <a:pt x="844" y="1118"/>
                    <a:pt x="844" y="1118"/>
                    <a:pt x="844" y="1118"/>
                  </a:cubicBezTo>
                  <a:cubicBezTo>
                    <a:pt x="843" y="1118"/>
                    <a:pt x="843" y="1118"/>
                    <a:pt x="843" y="1118"/>
                  </a:cubicBezTo>
                  <a:cubicBezTo>
                    <a:pt x="842" y="1118"/>
                    <a:pt x="842" y="1118"/>
                    <a:pt x="842" y="1118"/>
                  </a:cubicBezTo>
                  <a:cubicBezTo>
                    <a:pt x="842" y="1119"/>
                    <a:pt x="842" y="1119"/>
                    <a:pt x="842" y="1119"/>
                  </a:cubicBezTo>
                  <a:cubicBezTo>
                    <a:pt x="842" y="1119"/>
                    <a:pt x="842" y="1119"/>
                    <a:pt x="842" y="1119"/>
                  </a:cubicBezTo>
                  <a:cubicBezTo>
                    <a:pt x="842" y="1119"/>
                    <a:pt x="842" y="1119"/>
                    <a:pt x="842" y="1119"/>
                  </a:cubicBezTo>
                  <a:cubicBezTo>
                    <a:pt x="841" y="1119"/>
                    <a:pt x="841" y="1119"/>
                    <a:pt x="841" y="1119"/>
                  </a:cubicBezTo>
                  <a:cubicBezTo>
                    <a:pt x="841" y="1119"/>
                    <a:pt x="841" y="1119"/>
                    <a:pt x="841" y="1119"/>
                  </a:cubicBezTo>
                  <a:cubicBezTo>
                    <a:pt x="841" y="1119"/>
                    <a:pt x="841" y="1119"/>
                    <a:pt x="841" y="1119"/>
                  </a:cubicBezTo>
                  <a:cubicBezTo>
                    <a:pt x="841" y="1119"/>
                    <a:pt x="841" y="1119"/>
                    <a:pt x="841" y="1119"/>
                  </a:cubicBezTo>
                  <a:cubicBezTo>
                    <a:pt x="841" y="1118"/>
                    <a:pt x="841" y="1118"/>
                    <a:pt x="841" y="1118"/>
                  </a:cubicBezTo>
                  <a:cubicBezTo>
                    <a:pt x="841" y="1118"/>
                    <a:pt x="841" y="1118"/>
                    <a:pt x="841" y="1118"/>
                  </a:cubicBezTo>
                  <a:cubicBezTo>
                    <a:pt x="842" y="1118"/>
                    <a:pt x="842" y="1118"/>
                    <a:pt x="842" y="1118"/>
                  </a:cubicBezTo>
                  <a:cubicBezTo>
                    <a:pt x="842" y="1117"/>
                    <a:pt x="842" y="1117"/>
                    <a:pt x="842" y="1117"/>
                  </a:cubicBezTo>
                  <a:cubicBezTo>
                    <a:pt x="843" y="1117"/>
                    <a:pt x="843" y="1117"/>
                    <a:pt x="843" y="1117"/>
                  </a:cubicBezTo>
                  <a:cubicBezTo>
                    <a:pt x="843" y="1117"/>
                    <a:pt x="843" y="1117"/>
                    <a:pt x="843" y="1117"/>
                  </a:cubicBezTo>
                  <a:cubicBezTo>
                    <a:pt x="844" y="1117"/>
                    <a:pt x="844" y="1117"/>
                    <a:pt x="844" y="1117"/>
                  </a:cubicBezTo>
                  <a:cubicBezTo>
                    <a:pt x="844" y="1118"/>
                    <a:pt x="844" y="1118"/>
                    <a:pt x="844" y="1118"/>
                  </a:cubicBezTo>
                  <a:cubicBezTo>
                    <a:pt x="844" y="1118"/>
                    <a:pt x="844" y="1118"/>
                    <a:pt x="844" y="1118"/>
                  </a:cubicBezTo>
                  <a:cubicBezTo>
                    <a:pt x="845" y="1118"/>
                    <a:pt x="845" y="1118"/>
                    <a:pt x="845" y="1118"/>
                  </a:cubicBezTo>
                  <a:cubicBezTo>
                    <a:pt x="846" y="1118"/>
                    <a:pt x="846" y="1118"/>
                    <a:pt x="846" y="1118"/>
                  </a:cubicBezTo>
                  <a:cubicBezTo>
                    <a:pt x="846" y="1118"/>
                    <a:pt x="846" y="1118"/>
                    <a:pt x="846" y="1118"/>
                  </a:cubicBezTo>
                  <a:cubicBezTo>
                    <a:pt x="847" y="1117"/>
                    <a:pt x="847" y="1117"/>
                    <a:pt x="847" y="1117"/>
                  </a:cubicBezTo>
                  <a:cubicBezTo>
                    <a:pt x="848" y="1117"/>
                    <a:pt x="848" y="1117"/>
                    <a:pt x="848" y="1117"/>
                  </a:cubicBezTo>
                  <a:cubicBezTo>
                    <a:pt x="849" y="1117"/>
                    <a:pt x="849" y="1117"/>
                    <a:pt x="849" y="1117"/>
                  </a:cubicBezTo>
                  <a:cubicBezTo>
                    <a:pt x="850" y="1117"/>
                    <a:pt x="850" y="1117"/>
                    <a:pt x="850" y="1117"/>
                  </a:cubicBezTo>
                  <a:cubicBezTo>
                    <a:pt x="850" y="1117"/>
                    <a:pt x="850" y="1117"/>
                    <a:pt x="850" y="1117"/>
                  </a:cubicBezTo>
                  <a:cubicBezTo>
                    <a:pt x="850" y="1116"/>
                    <a:pt x="850" y="1116"/>
                    <a:pt x="850" y="1116"/>
                  </a:cubicBezTo>
                  <a:cubicBezTo>
                    <a:pt x="851" y="1115"/>
                    <a:pt x="851" y="1115"/>
                    <a:pt x="851" y="1115"/>
                  </a:cubicBezTo>
                  <a:cubicBezTo>
                    <a:pt x="851" y="1115"/>
                    <a:pt x="851" y="1115"/>
                    <a:pt x="851" y="1115"/>
                  </a:cubicBezTo>
                  <a:cubicBezTo>
                    <a:pt x="852" y="1115"/>
                    <a:pt x="852" y="1115"/>
                    <a:pt x="852" y="1115"/>
                  </a:cubicBezTo>
                  <a:cubicBezTo>
                    <a:pt x="852" y="1115"/>
                    <a:pt x="852" y="1115"/>
                    <a:pt x="852" y="1115"/>
                  </a:cubicBezTo>
                  <a:cubicBezTo>
                    <a:pt x="852" y="1115"/>
                    <a:pt x="852" y="1115"/>
                    <a:pt x="852" y="1115"/>
                  </a:cubicBezTo>
                  <a:cubicBezTo>
                    <a:pt x="853" y="1114"/>
                    <a:pt x="853" y="1114"/>
                    <a:pt x="853" y="1114"/>
                  </a:cubicBezTo>
                  <a:cubicBezTo>
                    <a:pt x="853" y="1114"/>
                    <a:pt x="853" y="1114"/>
                    <a:pt x="853" y="1114"/>
                  </a:cubicBezTo>
                  <a:cubicBezTo>
                    <a:pt x="854" y="1114"/>
                    <a:pt x="854" y="1114"/>
                    <a:pt x="854" y="1114"/>
                  </a:cubicBezTo>
                  <a:cubicBezTo>
                    <a:pt x="854" y="1115"/>
                    <a:pt x="854" y="1115"/>
                    <a:pt x="854" y="1115"/>
                  </a:cubicBezTo>
                  <a:cubicBezTo>
                    <a:pt x="854" y="1115"/>
                    <a:pt x="854" y="1115"/>
                    <a:pt x="854" y="1115"/>
                  </a:cubicBezTo>
                  <a:cubicBezTo>
                    <a:pt x="854" y="1115"/>
                    <a:pt x="854" y="1115"/>
                    <a:pt x="854" y="1115"/>
                  </a:cubicBezTo>
                  <a:cubicBezTo>
                    <a:pt x="854" y="1116"/>
                    <a:pt x="854" y="1116"/>
                    <a:pt x="854" y="1116"/>
                  </a:cubicBezTo>
                  <a:cubicBezTo>
                    <a:pt x="853" y="1116"/>
                    <a:pt x="853" y="1116"/>
                    <a:pt x="853" y="1116"/>
                  </a:cubicBezTo>
                  <a:cubicBezTo>
                    <a:pt x="852" y="1116"/>
                    <a:pt x="852" y="1116"/>
                    <a:pt x="852" y="1116"/>
                  </a:cubicBezTo>
                  <a:cubicBezTo>
                    <a:pt x="852" y="1116"/>
                    <a:pt x="852" y="1116"/>
                    <a:pt x="852" y="1116"/>
                  </a:cubicBezTo>
                  <a:cubicBezTo>
                    <a:pt x="852" y="1116"/>
                    <a:pt x="852" y="1116"/>
                    <a:pt x="852" y="1116"/>
                  </a:cubicBezTo>
                  <a:cubicBezTo>
                    <a:pt x="851" y="1117"/>
                    <a:pt x="851" y="1117"/>
                    <a:pt x="851" y="1117"/>
                  </a:cubicBezTo>
                  <a:cubicBezTo>
                    <a:pt x="851" y="1118"/>
                    <a:pt x="851" y="1118"/>
                    <a:pt x="851" y="1118"/>
                  </a:cubicBezTo>
                  <a:cubicBezTo>
                    <a:pt x="850" y="1118"/>
                    <a:pt x="850" y="1118"/>
                    <a:pt x="850" y="1118"/>
                  </a:cubicBezTo>
                  <a:cubicBezTo>
                    <a:pt x="850" y="1119"/>
                    <a:pt x="850" y="1119"/>
                    <a:pt x="850" y="1119"/>
                  </a:cubicBezTo>
                  <a:cubicBezTo>
                    <a:pt x="850" y="1120"/>
                    <a:pt x="850" y="1120"/>
                    <a:pt x="850" y="1120"/>
                  </a:cubicBezTo>
                  <a:cubicBezTo>
                    <a:pt x="850" y="1121"/>
                    <a:pt x="850" y="1121"/>
                    <a:pt x="850" y="1121"/>
                  </a:cubicBezTo>
                  <a:cubicBezTo>
                    <a:pt x="851" y="1122"/>
                    <a:pt x="851" y="1122"/>
                    <a:pt x="851" y="1122"/>
                  </a:cubicBezTo>
                  <a:cubicBezTo>
                    <a:pt x="855" y="1123"/>
                    <a:pt x="855" y="1123"/>
                    <a:pt x="855" y="1123"/>
                  </a:cubicBezTo>
                  <a:cubicBezTo>
                    <a:pt x="856" y="1124"/>
                    <a:pt x="856" y="1124"/>
                    <a:pt x="856" y="1124"/>
                  </a:cubicBezTo>
                  <a:cubicBezTo>
                    <a:pt x="857" y="1126"/>
                    <a:pt x="857" y="1126"/>
                    <a:pt x="857" y="1126"/>
                  </a:cubicBezTo>
                  <a:cubicBezTo>
                    <a:pt x="859" y="1128"/>
                    <a:pt x="859" y="1128"/>
                    <a:pt x="859" y="1128"/>
                  </a:cubicBezTo>
                  <a:cubicBezTo>
                    <a:pt x="859" y="1128"/>
                    <a:pt x="859" y="1128"/>
                    <a:pt x="859" y="1128"/>
                  </a:cubicBezTo>
                  <a:cubicBezTo>
                    <a:pt x="860" y="1129"/>
                    <a:pt x="860" y="1129"/>
                    <a:pt x="860" y="1129"/>
                  </a:cubicBezTo>
                  <a:cubicBezTo>
                    <a:pt x="860" y="1130"/>
                    <a:pt x="860" y="1130"/>
                    <a:pt x="860" y="1130"/>
                  </a:cubicBezTo>
                  <a:cubicBezTo>
                    <a:pt x="861" y="1131"/>
                    <a:pt x="861" y="1131"/>
                    <a:pt x="861" y="1131"/>
                  </a:cubicBezTo>
                  <a:cubicBezTo>
                    <a:pt x="862" y="1132"/>
                    <a:pt x="862" y="1132"/>
                    <a:pt x="862" y="1132"/>
                  </a:cubicBezTo>
                  <a:cubicBezTo>
                    <a:pt x="862" y="1132"/>
                    <a:pt x="862" y="1132"/>
                    <a:pt x="862" y="1132"/>
                  </a:cubicBezTo>
                  <a:cubicBezTo>
                    <a:pt x="863" y="1133"/>
                    <a:pt x="863" y="1133"/>
                    <a:pt x="863" y="1133"/>
                  </a:cubicBezTo>
                  <a:cubicBezTo>
                    <a:pt x="864" y="1133"/>
                    <a:pt x="864" y="1133"/>
                    <a:pt x="864" y="1133"/>
                  </a:cubicBezTo>
                  <a:cubicBezTo>
                    <a:pt x="865" y="1133"/>
                    <a:pt x="865" y="1133"/>
                    <a:pt x="865" y="1133"/>
                  </a:cubicBezTo>
                  <a:cubicBezTo>
                    <a:pt x="865" y="1133"/>
                    <a:pt x="865" y="1133"/>
                    <a:pt x="865" y="1133"/>
                  </a:cubicBezTo>
                  <a:cubicBezTo>
                    <a:pt x="866" y="1133"/>
                    <a:pt x="866" y="1133"/>
                    <a:pt x="866" y="1133"/>
                  </a:cubicBezTo>
                  <a:cubicBezTo>
                    <a:pt x="866" y="1133"/>
                    <a:pt x="866" y="1133"/>
                    <a:pt x="866" y="1133"/>
                  </a:cubicBezTo>
                  <a:cubicBezTo>
                    <a:pt x="867" y="1134"/>
                    <a:pt x="867" y="1134"/>
                    <a:pt x="867" y="1134"/>
                  </a:cubicBezTo>
                  <a:cubicBezTo>
                    <a:pt x="867" y="1135"/>
                    <a:pt x="867" y="1135"/>
                    <a:pt x="867" y="1135"/>
                  </a:cubicBezTo>
                  <a:cubicBezTo>
                    <a:pt x="868" y="1135"/>
                    <a:pt x="868" y="1135"/>
                    <a:pt x="868" y="1135"/>
                  </a:cubicBezTo>
                  <a:cubicBezTo>
                    <a:pt x="869" y="1136"/>
                    <a:pt x="869" y="1136"/>
                    <a:pt x="869" y="1136"/>
                  </a:cubicBezTo>
                  <a:cubicBezTo>
                    <a:pt x="870" y="1136"/>
                    <a:pt x="870" y="1136"/>
                    <a:pt x="870" y="1136"/>
                  </a:cubicBezTo>
                  <a:cubicBezTo>
                    <a:pt x="871" y="1136"/>
                    <a:pt x="871" y="1136"/>
                    <a:pt x="871" y="1136"/>
                  </a:cubicBezTo>
                  <a:cubicBezTo>
                    <a:pt x="871" y="1135"/>
                    <a:pt x="871" y="1135"/>
                    <a:pt x="871" y="1135"/>
                  </a:cubicBezTo>
                  <a:cubicBezTo>
                    <a:pt x="872" y="1135"/>
                    <a:pt x="872" y="1135"/>
                    <a:pt x="872" y="1135"/>
                  </a:cubicBezTo>
                  <a:cubicBezTo>
                    <a:pt x="872" y="1135"/>
                    <a:pt x="872" y="1135"/>
                    <a:pt x="872" y="1135"/>
                  </a:cubicBezTo>
                  <a:cubicBezTo>
                    <a:pt x="872" y="1135"/>
                    <a:pt x="872" y="1135"/>
                    <a:pt x="872" y="1135"/>
                  </a:cubicBezTo>
                  <a:cubicBezTo>
                    <a:pt x="873" y="1135"/>
                    <a:pt x="873" y="1135"/>
                    <a:pt x="873" y="1135"/>
                  </a:cubicBezTo>
                  <a:cubicBezTo>
                    <a:pt x="873" y="1135"/>
                    <a:pt x="873" y="1135"/>
                    <a:pt x="873" y="1135"/>
                  </a:cubicBezTo>
                  <a:cubicBezTo>
                    <a:pt x="873" y="1136"/>
                    <a:pt x="873" y="1136"/>
                    <a:pt x="873" y="1136"/>
                  </a:cubicBezTo>
                  <a:cubicBezTo>
                    <a:pt x="873" y="1136"/>
                    <a:pt x="873" y="1136"/>
                    <a:pt x="873" y="1136"/>
                  </a:cubicBezTo>
                  <a:cubicBezTo>
                    <a:pt x="875" y="1137"/>
                    <a:pt x="875" y="1137"/>
                    <a:pt x="875" y="1137"/>
                  </a:cubicBezTo>
                  <a:cubicBezTo>
                    <a:pt x="876" y="1138"/>
                    <a:pt x="876" y="1138"/>
                    <a:pt x="876" y="1138"/>
                  </a:cubicBezTo>
                  <a:cubicBezTo>
                    <a:pt x="876" y="1138"/>
                    <a:pt x="876" y="1138"/>
                    <a:pt x="876" y="1138"/>
                  </a:cubicBezTo>
                  <a:cubicBezTo>
                    <a:pt x="878" y="1140"/>
                    <a:pt x="878" y="1140"/>
                    <a:pt x="878" y="1140"/>
                  </a:cubicBezTo>
                  <a:cubicBezTo>
                    <a:pt x="878" y="1140"/>
                    <a:pt x="878" y="1140"/>
                    <a:pt x="878" y="1140"/>
                  </a:cubicBezTo>
                  <a:cubicBezTo>
                    <a:pt x="879" y="1140"/>
                    <a:pt x="879" y="1140"/>
                    <a:pt x="879" y="1140"/>
                  </a:cubicBezTo>
                  <a:cubicBezTo>
                    <a:pt x="880" y="1141"/>
                    <a:pt x="880" y="1141"/>
                    <a:pt x="880" y="1141"/>
                  </a:cubicBezTo>
                  <a:cubicBezTo>
                    <a:pt x="881" y="1141"/>
                    <a:pt x="881" y="1141"/>
                    <a:pt x="881" y="1141"/>
                  </a:cubicBezTo>
                  <a:cubicBezTo>
                    <a:pt x="883" y="1142"/>
                    <a:pt x="883" y="1142"/>
                    <a:pt x="883" y="1142"/>
                  </a:cubicBezTo>
                  <a:cubicBezTo>
                    <a:pt x="885" y="1143"/>
                    <a:pt x="885" y="1143"/>
                    <a:pt x="885" y="1143"/>
                  </a:cubicBezTo>
                  <a:cubicBezTo>
                    <a:pt x="885" y="1143"/>
                    <a:pt x="885" y="1143"/>
                    <a:pt x="885" y="1143"/>
                  </a:cubicBezTo>
                  <a:cubicBezTo>
                    <a:pt x="883" y="1143"/>
                    <a:pt x="883" y="1143"/>
                    <a:pt x="883" y="1143"/>
                  </a:cubicBezTo>
                  <a:cubicBezTo>
                    <a:pt x="882" y="1142"/>
                    <a:pt x="882" y="1142"/>
                    <a:pt x="882" y="1142"/>
                  </a:cubicBezTo>
                  <a:cubicBezTo>
                    <a:pt x="881" y="1141"/>
                    <a:pt x="881" y="1141"/>
                    <a:pt x="881" y="1141"/>
                  </a:cubicBezTo>
                  <a:cubicBezTo>
                    <a:pt x="879" y="1141"/>
                    <a:pt x="879" y="1141"/>
                    <a:pt x="879" y="1141"/>
                  </a:cubicBezTo>
                  <a:cubicBezTo>
                    <a:pt x="879" y="1141"/>
                    <a:pt x="879" y="1141"/>
                    <a:pt x="879" y="1141"/>
                  </a:cubicBezTo>
                  <a:cubicBezTo>
                    <a:pt x="878" y="1141"/>
                    <a:pt x="878" y="1141"/>
                    <a:pt x="878" y="1141"/>
                  </a:cubicBezTo>
                  <a:cubicBezTo>
                    <a:pt x="876" y="1139"/>
                    <a:pt x="876" y="1139"/>
                    <a:pt x="876" y="1139"/>
                  </a:cubicBezTo>
                  <a:cubicBezTo>
                    <a:pt x="876" y="1139"/>
                    <a:pt x="876" y="1139"/>
                    <a:pt x="876" y="1139"/>
                  </a:cubicBezTo>
                  <a:cubicBezTo>
                    <a:pt x="875" y="1138"/>
                    <a:pt x="875" y="1138"/>
                    <a:pt x="875" y="1138"/>
                  </a:cubicBezTo>
                  <a:cubicBezTo>
                    <a:pt x="874" y="1137"/>
                    <a:pt x="874" y="1137"/>
                    <a:pt x="874" y="1137"/>
                  </a:cubicBezTo>
                  <a:cubicBezTo>
                    <a:pt x="873" y="1136"/>
                    <a:pt x="873" y="1136"/>
                    <a:pt x="873" y="1136"/>
                  </a:cubicBezTo>
                  <a:cubicBezTo>
                    <a:pt x="873" y="1136"/>
                    <a:pt x="873" y="1136"/>
                    <a:pt x="873" y="1136"/>
                  </a:cubicBezTo>
                  <a:cubicBezTo>
                    <a:pt x="873" y="1136"/>
                    <a:pt x="873" y="1136"/>
                    <a:pt x="873" y="1136"/>
                  </a:cubicBezTo>
                  <a:cubicBezTo>
                    <a:pt x="873" y="1136"/>
                    <a:pt x="873" y="1136"/>
                    <a:pt x="873" y="1136"/>
                  </a:cubicBezTo>
                  <a:cubicBezTo>
                    <a:pt x="872" y="1135"/>
                    <a:pt x="872" y="1135"/>
                    <a:pt x="872" y="1135"/>
                  </a:cubicBezTo>
                  <a:cubicBezTo>
                    <a:pt x="872" y="1136"/>
                    <a:pt x="872" y="1136"/>
                    <a:pt x="872" y="1136"/>
                  </a:cubicBezTo>
                  <a:cubicBezTo>
                    <a:pt x="871" y="1136"/>
                    <a:pt x="871" y="1136"/>
                    <a:pt x="871" y="1136"/>
                  </a:cubicBezTo>
                  <a:cubicBezTo>
                    <a:pt x="871" y="1136"/>
                    <a:pt x="871" y="1136"/>
                    <a:pt x="871" y="1136"/>
                  </a:cubicBezTo>
                  <a:cubicBezTo>
                    <a:pt x="870" y="1136"/>
                    <a:pt x="870" y="1136"/>
                    <a:pt x="870" y="1136"/>
                  </a:cubicBezTo>
                  <a:cubicBezTo>
                    <a:pt x="869" y="1136"/>
                    <a:pt x="869" y="1136"/>
                    <a:pt x="869" y="1136"/>
                  </a:cubicBezTo>
                  <a:cubicBezTo>
                    <a:pt x="868" y="1136"/>
                    <a:pt x="868" y="1136"/>
                    <a:pt x="868" y="1136"/>
                  </a:cubicBezTo>
                  <a:cubicBezTo>
                    <a:pt x="867" y="1136"/>
                    <a:pt x="867" y="1136"/>
                    <a:pt x="867" y="1136"/>
                  </a:cubicBezTo>
                  <a:cubicBezTo>
                    <a:pt x="867" y="1135"/>
                    <a:pt x="867" y="1135"/>
                    <a:pt x="867" y="1135"/>
                  </a:cubicBezTo>
                  <a:cubicBezTo>
                    <a:pt x="866" y="1133"/>
                    <a:pt x="866" y="1133"/>
                    <a:pt x="866" y="1133"/>
                  </a:cubicBezTo>
                  <a:cubicBezTo>
                    <a:pt x="866" y="1133"/>
                    <a:pt x="866" y="1133"/>
                    <a:pt x="866" y="1133"/>
                  </a:cubicBezTo>
                  <a:lnTo>
                    <a:pt x="865" y="1134"/>
                  </a:lnTo>
                  <a:close/>
                  <a:moveTo>
                    <a:pt x="872" y="1159"/>
                  </a:moveTo>
                  <a:cubicBezTo>
                    <a:pt x="871" y="1160"/>
                    <a:pt x="871" y="1160"/>
                    <a:pt x="871" y="1160"/>
                  </a:cubicBezTo>
                  <a:cubicBezTo>
                    <a:pt x="871" y="1160"/>
                    <a:pt x="871" y="1160"/>
                    <a:pt x="871" y="1160"/>
                  </a:cubicBezTo>
                  <a:cubicBezTo>
                    <a:pt x="870" y="1161"/>
                    <a:pt x="870" y="1161"/>
                    <a:pt x="870" y="1161"/>
                  </a:cubicBezTo>
                  <a:cubicBezTo>
                    <a:pt x="870" y="1161"/>
                    <a:pt x="870" y="1161"/>
                    <a:pt x="870" y="1161"/>
                  </a:cubicBezTo>
                  <a:cubicBezTo>
                    <a:pt x="869" y="1161"/>
                    <a:pt x="869" y="1161"/>
                    <a:pt x="869" y="1161"/>
                  </a:cubicBezTo>
                  <a:cubicBezTo>
                    <a:pt x="869" y="1161"/>
                    <a:pt x="869" y="1161"/>
                    <a:pt x="869" y="1161"/>
                  </a:cubicBezTo>
                  <a:cubicBezTo>
                    <a:pt x="869" y="1161"/>
                    <a:pt x="869" y="1161"/>
                    <a:pt x="869" y="1161"/>
                  </a:cubicBezTo>
                  <a:cubicBezTo>
                    <a:pt x="869" y="1161"/>
                    <a:pt x="869" y="1161"/>
                    <a:pt x="869" y="1161"/>
                  </a:cubicBezTo>
                  <a:cubicBezTo>
                    <a:pt x="869" y="1161"/>
                    <a:pt x="869" y="1161"/>
                    <a:pt x="869" y="1161"/>
                  </a:cubicBezTo>
                  <a:cubicBezTo>
                    <a:pt x="870" y="1161"/>
                    <a:pt x="870" y="1161"/>
                    <a:pt x="870" y="1161"/>
                  </a:cubicBezTo>
                  <a:cubicBezTo>
                    <a:pt x="871" y="1160"/>
                    <a:pt x="871" y="1160"/>
                    <a:pt x="871" y="1160"/>
                  </a:cubicBezTo>
                  <a:cubicBezTo>
                    <a:pt x="871" y="1160"/>
                    <a:pt x="871" y="1160"/>
                    <a:pt x="871" y="1160"/>
                  </a:cubicBezTo>
                  <a:cubicBezTo>
                    <a:pt x="872" y="1159"/>
                    <a:pt x="872" y="1159"/>
                    <a:pt x="872" y="1159"/>
                  </a:cubicBezTo>
                  <a:cubicBezTo>
                    <a:pt x="873" y="1160"/>
                    <a:pt x="873" y="1160"/>
                    <a:pt x="873" y="1160"/>
                  </a:cubicBezTo>
                  <a:cubicBezTo>
                    <a:pt x="873" y="1160"/>
                    <a:pt x="873" y="1160"/>
                    <a:pt x="873" y="1160"/>
                  </a:cubicBezTo>
                  <a:lnTo>
                    <a:pt x="872" y="1159"/>
                  </a:lnTo>
                  <a:close/>
                  <a:moveTo>
                    <a:pt x="881" y="1272"/>
                  </a:moveTo>
                  <a:cubicBezTo>
                    <a:pt x="881" y="1272"/>
                    <a:pt x="881" y="1272"/>
                    <a:pt x="881" y="1272"/>
                  </a:cubicBezTo>
                  <a:cubicBezTo>
                    <a:pt x="881" y="1272"/>
                    <a:pt x="881" y="1272"/>
                    <a:pt x="881" y="1272"/>
                  </a:cubicBezTo>
                  <a:cubicBezTo>
                    <a:pt x="881" y="1272"/>
                    <a:pt x="881" y="1272"/>
                    <a:pt x="881" y="1272"/>
                  </a:cubicBezTo>
                  <a:cubicBezTo>
                    <a:pt x="881" y="1272"/>
                    <a:pt x="881" y="1272"/>
                    <a:pt x="881" y="1272"/>
                  </a:cubicBezTo>
                  <a:close/>
                  <a:moveTo>
                    <a:pt x="882" y="1271"/>
                  </a:moveTo>
                  <a:cubicBezTo>
                    <a:pt x="882" y="1272"/>
                    <a:pt x="882" y="1272"/>
                    <a:pt x="882" y="1272"/>
                  </a:cubicBezTo>
                  <a:cubicBezTo>
                    <a:pt x="882" y="1272"/>
                    <a:pt x="882" y="1272"/>
                    <a:pt x="882" y="1272"/>
                  </a:cubicBezTo>
                  <a:cubicBezTo>
                    <a:pt x="881" y="1272"/>
                    <a:pt x="881" y="1272"/>
                    <a:pt x="881" y="1272"/>
                  </a:cubicBezTo>
                  <a:cubicBezTo>
                    <a:pt x="882" y="1271"/>
                    <a:pt x="882" y="1271"/>
                    <a:pt x="882" y="1271"/>
                  </a:cubicBezTo>
                  <a:cubicBezTo>
                    <a:pt x="882" y="1271"/>
                    <a:pt x="882" y="1271"/>
                    <a:pt x="882" y="1271"/>
                  </a:cubicBezTo>
                  <a:cubicBezTo>
                    <a:pt x="882" y="1271"/>
                    <a:pt x="882" y="1271"/>
                    <a:pt x="882" y="1271"/>
                  </a:cubicBezTo>
                  <a:cubicBezTo>
                    <a:pt x="882" y="1271"/>
                    <a:pt x="882" y="1271"/>
                    <a:pt x="882" y="1271"/>
                  </a:cubicBezTo>
                  <a:close/>
                  <a:moveTo>
                    <a:pt x="884" y="1269"/>
                  </a:moveTo>
                  <a:cubicBezTo>
                    <a:pt x="884" y="1269"/>
                    <a:pt x="884" y="1269"/>
                    <a:pt x="884" y="1269"/>
                  </a:cubicBezTo>
                  <a:cubicBezTo>
                    <a:pt x="884" y="1270"/>
                    <a:pt x="884" y="1270"/>
                    <a:pt x="884" y="1270"/>
                  </a:cubicBezTo>
                  <a:cubicBezTo>
                    <a:pt x="883" y="1270"/>
                    <a:pt x="883" y="1270"/>
                    <a:pt x="883" y="1270"/>
                  </a:cubicBezTo>
                  <a:cubicBezTo>
                    <a:pt x="883" y="1271"/>
                    <a:pt x="883" y="1271"/>
                    <a:pt x="883" y="1271"/>
                  </a:cubicBezTo>
                  <a:cubicBezTo>
                    <a:pt x="883" y="1271"/>
                    <a:pt x="883" y="1271"/>
                    <a:pt x="883" y="1271"/>
                  </a:cubicBezTo>
                  <a:cubicBezTo>
                    <a:pt x="883" y="1271"/>
                    <a:pt x="883" y="1271"/>
                    <a:pt x="883" y="1271"/>
                  </a:cubicBezTo>
                  <a:cubicBezTo>
                    <a:pt x="882" y="1271"/>
                    <a:pt x="882" y="1271"/>
                    <a:pt x="882" y="1271"/>
                  </a:cubicBezTo>
                  <a:cubicBezTo>
                    <a:pt x="882" y="1271"/>
                    <a:pt x="882" y="1271"/>
                    <a:pt x="882" y="1271"/>
                  </a:cubicBezTo>
                  <a:cubicBezTo>
                    <a:pt x="882" y="1271"/>
                    <a:pt x="882" y="1271"/>
                    <a:pt x="882" y="1271"/>
                  </a:cubicBezTo>
                  <a:cubicBezTo>
                    <a:pt x="883" y="1270"/>
                    <a:pt x="883" y="1270"/>
                    <a:pt x="883" y="1270"/>
                  </a:cubicBezTo>
                  <a:cubicBezTo>
                    <a:pt x="883" y="1270"/>
                    <a:pt x="883" y="1270"/>
                    <a:pt x="883" y="1270"/>
                  </a:cubicBezTo>
                  <a:cubicBezTo>
                    <a:pt x="883" y="1270"/>
                    <a:pt x="883" y="1270"/>
                    <a:pt x="883" y="1270"/>
                  </a:cubicBezTo>
                  <a:cubicBezTo>
                    <a:pt x="883" y="1269"/>
                    <a:pt x="883" y="1269"/>
                    <a:pt x="883" y="1269"/>
                  </a:cubicBezTo>
                  <a:cubicBezTo>
                    <a:pt x="883" y="1269"/>
                    <a:pt x="883" y="1269"/>
                    <a:pt x="883" y="1269"/>
                  </a:cubicBezTo>
                  <a:cubicBezTo>
                    <a:pt x="883" y="1269"/>
                    <a:pt x="883" y="1269"/>
                    <a:pt x="883" y="1269"/>
                  </a:cubicBezTo>
                  <a:cubicBezTo>
                    <a:pt x="882" y="1269"/>
                    <a:pt x="882" y="1269"/>
                    <a:pt x="882" y="1269"/>
                  </a:cubicBezTo>
                  <a:cubicBezTo>
                    <a:pt x="882" y="1268"/>
                    <a:pt x="882" y="1268"/>
                    <a:pt x="882" y="1268"/>
                  </a:cubicBezTo>
                  <a:cubicBezTo>
                    <a:pt x="882" y="1268"/>
                    <a:pt x="882" y="1268"/>
                    <a:pt x="882" y="1268"/>
                  </a:cubicBezTo>
                  <a:cubicBezTo>
                    <a:pt x="883" y="1268"/>
                    <a:pt x="883" y="1268"/>
                    <a:pt x="883" y="1268"/>
                  </a:cubicBezTo>
                  <a:cubicBezTo>
                    <a:pt x="882" y="1267"/>
                    <a:pt x="882" y="1267"/>
                    <a:pt x="882" y="1267"/>
                  </a:cubicBezTo>
                  <a:cubicBezTo>
                    <a:pt x="882" y="1267"/>
                    <a:pt x="882" y="1267"/>
                    <a:pt x="882" y="1267"/>
                  </a:cubicBezTo>
                  <a:cubicBezTo>
                    <a:pt x="882" y="1267"/>
                    <a:pt x="882" y="1267"/>
                    <a:pt x="882" y="1267"/>
                  </a:cubicBezTo>
                  <a:cubicBezTo>
                    <a:pt x="883" y="1267"/>
                    <a:pt x="883" y="1267"/>
                    <a:pt x="883" y="1267"/>
                  </a:cubicBezTo>
                  <a:cubicBezTo>
                    <a:pt x="883" y="1267"/>
                    <a:pt x="883" y="1267"/>
                    <a:pt x="883" y="1267"/>
                  </a:cubicBezTo>
                  <a:cubicBezTo>
                    <a:pt x="884" y="1267"/>
                    <a:pt x="884" y="1267"/>
                    <a:pt x="884" y="1267"/>
                  </a:cubicBezTo>
                  <a:cubicBezTo>
                    <a:pt x="884" y="1267"/>
                    <a:pt x="884" y="1267"/>
                    <a:pt x="884" y="1267"/>
                  </a:cubicBezTo>
                  <a:cubicBezTo>
                    <a:pt x="884" y="1267"/>
                    <a:pt x="884" y="1267"/>
                    <a:pt x="884" y="1267"/>
                  </a:cubicBezTo>
                  <a:cubicBezTo>
                    <a:pt x="884" y="1268"/>
                    <a:pt x="884" y="1268"/>
                    <a:pt x="884" y="1268"/>
                  </a:cubicBezTo>
                  <a:cubicBezTo>
                    <a:pt x="884" y="1268"/>
                    <a:pt x="884" y="1268"/>
                    <a:pt x="884" y="1268"/>
                  </a:cubicBezTo>
                  <a:cubicBezTo>
                    <a:pt x="884" y="1268"/>
                    <a:pt x="884" y="1268"/>
                    <a:pt x="884" y="1268"/>
                  </a:cubicBezTo>
                  <a:cubicBezTo>
                    <a:pt x="884" y="1268"/>
                    <a:pt x="884" y="1268"/>
                    <a:pt x="884" y="1268"/>
                  </a:cubicBezTo>
                  <a:cubicBezTo>
                    <a:pt x="885" y="1269"/>
                    <a:pt x="885" y="1269"/>
                    <a:pt x="885" y="1269"/>
                  </a:cubicBezTo>
                  <a:lnTo>
                    <a:pt x="884" y="1269"/>
                  </a:lnTo>
                  <a:close/>
                  <a:moveTo>
                    <a:pt x="887" y="1265"/>
                  </a:moveTo>
                  <a:cubicBezTo>
                    <a:pt x="887" y="1266"/>
                    <a:pt x="887" y="1266"/>
                    <a:pt x="887" y="1266"/>
                  </a:cubicBezTo>
                  <a:cubicBezTo>
                    <a:pt x="887" y="1266"/>
                    <a:pt x="887" y="1266"/>
                    <a:pt x="887" y="1266"/>
                  </a:cubicBezTo>
                  <a:cubicBezTo>
                    <a:pt x="886" y="1266"/>
                    <a:pt x="886" y="1266"/>
                    <a:pt x="886" y="1266"/>
                  </a:cubicBezTo>
                  <a:cubicBezTo>
                    <a:pt x="886" y="1266"/>
                    <a:pt x="886" y="1266"/>
                    <a:pt x="886" y="1266"/>
                  </a:cubicBezTo>
                  <a:cubicBezTo>
                    <a:pt x="886" y="1266"/>
                    <a:pt x="886" y="1266"/>
                    <a:pt x="886" y="1266"/>
                  </a:cubicBezTo>
                  <a:cubicBezTo>
                    <a:pt x="886" y="1266"/>
                    <a:pt x="886" y="1266"/>
                    <a:pt x="886" y="1266"/>
                  </a:cubicBezTo>
                  <a:cubicBezTo>
                    <a:pt x="884" y="1263"/>
                    <a:pt x="884" y="1263"/>
                    <a:pt x="884" y="1263"/>
                  </a:cubicBezTo>
                  <a:cubicBezTo>
                    <a:pt x="884" y="1263"/>
                    <a:pt x="884" y="1263"/>
                    <a:pt x="884" y="1263"/>
                  </a:cubicBezTo>
                  <a:cubicBezTo>
                    <a:pt x="883" y="1262"/>
                    <a:pt x="883" y="1262"/>
                    <a:pt x="883" y="1262"/>
                  </a:cubicBezTo>
                  <a:cubicBezTo>
                    <a:pt x="883" y="1260"/>
                    <a:pt x="883" y="1260"/>
                    <a:pt x="883" y="1260"/>
                  </a:cubicBezTo>
                  <a:cubicBezTo>
                    <a:pt x="883" y="1260"/>
                    <a:pt x="883" y="1260"/>
                    <a:pt x="883" y="1260"/>
                  </a:cubicBezTo>
                  <a:cubicBezTo>
                    <a:pt x="883" y="1260"/>
                    <a:pt x="883" y="1260"/>
                    <a:pt x="883" y="1260"/>
                  </a:cubicBezTo>
                  <a:cubicBezTo>
                    <a:pt x="885" y="1260"/>
                    <a:pt x="885" y="1260"/>
                    <a:pt x="885" y="1260"/>
                  </a:cubicBezTo>
                  <a:cubicBezTo>
                    <a:pt x="885" y="1259"/>
                    <a:pt x="885" y="1259"/>
                    <a:pt x="885" y="1259"/>
                  </a:cubicBezTo>
                  <a:cubicBezTo>
                    <a:pt x="885" y="1261"/>
                    <a:pt x="885" y="1261"/>
                    <a:pt x="885" y="1261"/>
                  </a:cubicBezTo>
                  <a:cubicBezTo>
                    <a:pt x="885" y="1261"/>
                    <a:pt x="885" y="1261"/>
                    <a:pt x="885" y="1261"/>
                  </a:cubicBezTo>
                  <a:cubicBezTo>
                    <a:pt x="886" y="1262"/>
                    <a:pt x="886" y="1262"/>
                    <a:pt x="886" y="1262"/>
                  </a:cubicBezTo>
                  <a:cubicBezTo>
                    <a:pt x="887" y="1264"/>
                    <a:pt x="887" y="1264"/>
                    <a:pt x="887" y="1264"/>
                  </a:cubicBezTo>
                  <a:lnTo>
                    <a:pt x="887" y="1265"/>
                  </a:lnTo>
                  <a:close/>
                  <a:moveTo>
                    <a:pt x="899" y="1241"/>
                  </a:moveTo>
                  <a:cubicBezTo>
                    <a:pt x="899" y="1241"/>
                    <a:pt x="899" y="1241"/>
                    <a:pt x="899" y="1241"/>
                  </a:cubicBezTo>
                  <a:cubicBezTo>
                    <a:pt x="898" y="1242"/>
                    <a:pt x="898" y="1242"/>
                    <a:pt x="898" y="1242"/>
                  </a:cubicBezTo>
                  <a:cubicBezTo>
                    <a:pt x="899" y="1243"/>
                    <a:pt x="899" y="1243"/>
                    <a:pt x="899" y="1243"/>
                  </a:cubicBezTo>
                  <a:cubicBezTo>
                    <a:pt x="899" y="1243"/>
                    <a:pt x="899" y="1243"/>
                    <a:pt x="899" y="1243"/>
                  </a:cubicBezTo>
                  <a:cubicBezTo>
                    <a:pt x="899" y="1244"/>
                    <a:pt x="899" y="1244"/>
                    <a:pt x="899" y="1244"/>
                  </a:cubicBezTo>
                  <a:cubicBezTo>
                    <a:pt x="898" y="1244"/>
                    <a:pt x="898" y="1244"/>
                    <a:pt x="898" y="1244"/>
                  </a:cubicBezTo>
                  <a:cubicBezTo>
                    <a:pt x="898" y="1245"/>
                    <a:pt x="898" y="1245"/>
                    <a:pt x="898" y="1245"/>
                  </a:cubicBezTo>
                  <a:cubicBezTo>
                    <a:pt x="898" y="1246"/>
                    <a:pt x="898" y="1246"/>
                    <a:pt x="898" y="1246"/>
                  </a:cubicBezTo>
                  <a:cubicBezTo>
                    <a:pt x="897" y="1246"/>
                    <a:pt x="897" y="1246"/>
                    <a:pt x="897" y="1246"/>
                  </a:cubicBezTo>
                  <a:cubicBezTo>
                    <a:pt x="897" y="1246"/>
                    <a:pt x="897" y="1246"/>
                    <a:pt x="897" y="1246"/>
                  </a:cubicBezTo>
                  <a:cubicBezTo>
                    <a:pt x="897" y="1246"/>
                    <a:pt x="897" y="1246"/>
                    <a:pt x="897" y="1246"/>
                  </a:cubicBezTo>
                  <a:cubicBezTo>
                    <a:pt x="897" y="1247"/>
                    <a:pt x="897" y="1247"/>
                    <a:pt x="897" y="1247"/>
                  </a:cubicBezTo>
                  <a:cubicBezTo>
                    <a:pt x="896" y="1247"/>
                    <a:pt x="896" y="1247"/>
                    <a:pt x="896" y="1247"/>
                  </a:cubicBezTo>
                  <a:cubicBezTo>
                    <a:pt x="896" y="1248"/>
                    <a:pt x="896" y="1248"/>
                    <a:pt x="896" y="1248"/>
                  </a:cubicBezTo>
                  <a:cubicBezTo>
                    <a:pt x="896" y="1249"/>
                    <a:pt x="896" y="1249"/>
                    <a:pt x="896" y="1249"/>
                  </a:cubicBezTo>
                  <a:cubicBezTo>
                    <a:pt x="896" y="1249"/>
                    <a:pt x="896" y="1249"/>
                    <a:pt x="896" y="1249"/>
                  </a:cubicBezTo>
                  <a:cubicBezTo>
                    <a:pt x="896" y="1250"/>
                    <a:pt x="896" y="1250"/>
                    <a:pt x="896" y="1250"/>
                  </a:cubicBezTo>
                  <a:cubicBezTo>
                    <a:pt x="896" y="1251"/>
                    <a:pt x="896" y="1251"/>
                    <a:pt x="896" y="1251"/>
                  </a:cubicBezTo>
                  <a:cubicBezTo>
                    <a:pt x="895" y="1251"/>
                    <a:pt x="895" y="1251"/>
                    <a:pt x="895" y="1251"/>
                  </a:cubicBezTo>
                  <a:cubicBezTo>
                    <a:pt x="895" y="1251"/>
                    <a:pt x="895" y="1251"/>
                    <a:pt x="895" y="1251"/>
                  </a:cubicBezTo>
                  <a:cubicBezTo>
                    <a:pt x="895" y="1251"/>
                    <a:pt x="895" y="1251"/>
                    <a:pt x="895" y="1251"/>
                  </a:cubicBezTo>
                  <a:cubicBezTo>
                    <a:pt x="895" y="1251"/>
                    <a:pt x="895" y="1251"/>
                    <a:pt x="895" y="1251"/>
                  </a:cubicBezTo>
                  <a:cubicBezTo>
                    <a:pt x="895" y="1252"/>
                    <a:pt x="895" y="1252"/>
                    <a:pt x="895" y="1252"/>
                  </a:cubicBezTo>
                  <a:cubicBezTo>
                    <a:pt x="895" y="1252"/>
                    <a:pt x="895" y="1252"/>
                    <a:pt x="895" y="1252"/>
                  </a:cubicBezTo>
                  <a:cubicBezTo>
                    <a:pt x="895" y="1253"/>
                    <a:pt x="895" y="1253"/>
                    <a:pt x="895" y="1253"/>
                  </a:cubicBezTo>
                  <a:cubicBezTo>
                    <a:pt x="895" y="1254"/>
                    <a:pt x="895" y="1254"/>
                    <a:pt x="895" y="1254"/>
                  </a:cubicBezTo>
                  <a:cubicBezTo>
                    <a:pt x="895" y="1254"/>
                    <a:pt x="895" y="1254"/>
                    <a:pt x="895" y="1254"/>
                  </a:cubicBezTo>
                  <a:cubicBezTo>
                    <a:pt x="895" y="1254"/>
                    <a:pt x="895" y="1254"/>
                    <a:pt x="895" y="1254"/>
                  </a:cubicBezTo>
                  <a:cubicBezTo>
                    <a:pt x="894" y="1255"/>
                    <a:pt x="894" y="1255"/>
                    <a:pt x="894" y="1255"/>
                  </a:cubicBezTo>
                  <a:cubicBezTo>
                    <a:pt x="893" y="1255"/>
                    <a:pt x="893" y="1255"/>
                    <a:pt x="893" y="1255"/>
                  </a:cubicBezTo>
                  <a:cubicBezTo>
                    <a:pt x="893" y="1255"/>
                    <a:pt x="893" y="1255"/>
                    <a:pt x="893" y="1255"/>
                  </a:cubicBezTo>
                  <a:cubicBezTo>
                    <a:pt x="893" y="1255"/>
                    <a:pt x="893" y="1255"/>
                    <a:pt x="893" y="1255"/>
                  </a:cubicBezTo>
                  <a:cubicBezTo>
                    <a:pt x="893" y="1254"/>
                    <a:pt x="893" y="1254"/>
                    <a:pt x="893" y="1254"/>
                  </a:cubicBezTo>
                  <a:cubicBezTo>
                    <a:pt x="893" y="1254"/>
                    <a:pt x="893" y="1254"/>
                    <a:pt x="893" y="1254"/>
                  </a:cubicBezTo>
                  <a:cubicBezTo>
                    <a:pt x="893" y="1253"/>
                    <a:pt x="893" y="1253"/>
                    <a:pt x="893" y="1253"/>
                  </a:cubicBezTo>
                  <a:cubicBezTo>
                    <a:pt x="893" y="1253"/>
                    <a:pt x="893" y="1253"/>
                    <a:pt x="893" y="1253"/>
                  </a:cubicBezTo>
                  <a:cubicBezTo>
                    <a:pt x="893" y="1252"/>
                    <a:pt x="893" y="1252"/>
                    <a:pt x="893" y="1252"/>
                  </a:cubicBezTo>
                  <a:cubicBezTo>
                    <a:pt x="893" y="1252"/>
                    <a:pt x="893" y="1252"/>
                    <a:pt x="893" y="1252"/>
                  </a:cubicBezTo>
                  <a:cubicBezTo>
                    <a:pt x="893" y="1252"/>
                    <a:pt x="893" y="1252"/>
                    <a:pt x="893" y="1252"/>
                  </a:cubicBezTo>
                  <a:cubicBezTo>
                    <a:pt x="894" y="1252"/>
                    <a:pt x="894" y="1252"/>
                    <a:pt x="894" y="1252"/>
                  </a:cubicBezTo>
                  <a:cubicBezTo>
                    <a:pt x="894" y="1252"/>
                    <a:pt x="894" y="1252"/>
                    <a:pt x="894" y="1252"/>
                  </a:cubicBezTo>
                  <a:cubicBezTo>
                    <a:pt x="894" y="1251"/>
                    <a:pt x="894" y="1251"/>
                    <a:pt x="894" y="1251"/>
                  </a:cubicBezTo>
                  <a:cubicBezTo>
                    <a:pt x="894" y="1250"/>
                    <a:pt x="894" y="1250"/>
                    <a:pt x="894" y="1250"/>
                  </a:cubicBezTo>
                  <a:cubicBezTo>
                    <a:pt x="894" y="1249"/>
                    <a:pt x="894" y="1249"/>
                    <a:pt x="894" y="1249"/>
                  </a:cubicBezTo>
                  <a:cubicBezTo>
                    <a:pt x="894" y="1248"/>
                    <a:pt x="894" y="1248"/>
                    <a:pt x="894" y="1248"/>
                  </a:cubicBezTo>
                  <a:cubicBezTo>
                    <a:pt x="894" y="1248"/>
                    <a:pt x="894" y="1248"/>
                    <a:pt x="894" y="1248"/>
                  </a:cubicBezTo>
                  <a:cubicBezTo>
                    <a:pt x="895" y="1248"/>
                    <a:pt x="895" y="1248"/>
                    <a:pt x="895" y="1248"/>
                  </a:cubicBezTo>
                  <a:cubicBezTo>
                    <a:pt x="895" y="1247"/>
                    <a:pt x="895" y="1247"/>
                    <a:pt x="895" y="1247"/>
                  </a:cubicBezTo>
                  <a:cubicBezTo>
                    <a:pt x="895" y="1247"/>
                    <a:pt x="895" y="1247"/>
                    <a:pt x="895" y="1247"/>
                  </a:cubicBezTo>
                  <a:cubicBezTo>
                    <a:pt x="895" y="1247"/>
                    <a:pt x="895" y="1247"/>
                    <a:pt x="895" y="1247"/>
                  </a:cubicBezTo>
                  <a:cubicBezTo>
                    <a:pt x="896" y="1246"/>
                    <a:pt x="896" y="1246"/>
                    <a:pt x="896" y="1246"/>
                  </a:cubicBezTo>
                  <a:cubicBezTo>
                    <a:pt x="896" y="1245"/>
                    <a:pt x="896" y="1245"/>
                    <a:pt x="896" y="1245"/>
                  </a:cubicBezTo>
                  <a:cubicBezTo>
                    <a:pt x="896" y="1245"/>
                    <a:pt x="896" y="1245"/>
                    <a:pt x="896" y="1245"/>
                  </a:cubicBezTo>
                  <a:cubicBezTo>
                    <a:pt x="896" y="1244"/>
                    <a:pt x="896" y="1244"/>
                    <a:pt x="896" y="1244"/>
                  </a:cubicBezTo>
                  <a:cubicBezTo>
                    <a:pt x="896" y="1244"/>
                    <a:pt x="896" y="1244"/>
                    <a:pt x="896" y="1244"/>
                  </a:cubicBezTo>
                  <a:cubicBezTo>
                    <a:pt x="896" y="1243"/>
                    <a:pt x="896" y="1243"/>
                    <a:pt x="896" y="1243"/>
                  </a:cubicBezTo>
                  <a:cubicBezTo>
                    <a:pt x="896" y="1243"/>
                    <a:pt x="896" y="1243"/>
                    <a:pt x="896" y="1243"/>
                  </a:cubicBezTo>
                  <a:cubicBezTo>
                    <a:pt x="896" y="1242"/>
                    <a:pt x="896" y="1242"/>
                    <a:pt x="896" y="1242"/>
                  </a:cubicBezTo>
                  <a:cubicBezTo>
                    <a:pt x="897" y="1242"/>
                    <a:pt x="897" y="1242"/>
                    <a:pt x="897" y="1242"/>
                  </a:cubicBezTo>
                  <a:cubicBezTo>
                    <a:pt x="897" y="1242"/>
                    <a:pt x="897" y="1242"/>
                    <a:pt x="897" y="1242"/>
                  </a:cubicBezTo>
                  <a:cubicBezTo>
                    <a:pt x="897" y="1242"/>
                    <a:pt x="897" y="1242"/>
                    <a:pt x="897" y="1242"/>
                  </a:cubicBezTo>
                  <a:cubicBezTo>
                    <a:pt x="898" y="1241"/>
                    <a:pt x="898" y="1241"/>
                    <a:pt x="898" y="1241"/>
                  </a:cubicBezTo>
                  <a:cubicBezTo>
                    <a:pt x="898" y="1241"/>
                    <a:pt x="898" y="1241"/>
                    <a:pt x="898" y="1241"/>
                  </a:cubicBezTo>
                  <a:cubicBezTo>
                    <a:pt x="898" y="1241"/>
                    <a:pt x="898" y="1241"/>
                    <a:pt x="898" y="1241"/>
                  </a:cubicBezTo>
                  <a:cubicBezTo>
                    <a:pt x="899" y="1241"/>
                    <a:pt x="899" y="1241"/>
                    <a:pt x="899" y="1241"/>
                  </a:cubicBezTo>
                  <a:cubicBezTo>
                    <a:pt x="899" y="1241"/>
                    <a:pt x="899" y="1241"/>
                    <a:pt x="899" y="1241"/>
                  </a:cubicBezTo>
                  <a:close/>
                  <a:moveTo>
                    <a:pt x="918" y="1222"/>
                  </a:moveTo>
                  <a:cubicBezTo>
                    <a:pt x="917" y="1222"/>
                    <a:pt x="917" y="1222"/>
                    <a:pt x="917" y="1222"/>
                  </a:cubicBezTo>
                  <a:cubicBezTo>
                    <a:pt x="916" y="1223"/>
                    <a:pt x="916" y="1223"/>
                    <a:pt x="916" y="1223"/>
                  </a:cubicBezTo>
                  <a:cubicBezTo>
                    <a:pt x="916" y="1223"/>
                    <a:pt x="916" y="1223"/>
                    <a:pt x="916" y="1223"/>
                  </a:cubicBezTo>
                  <a:cubicBezTo>
                    <a:pt x="915" y="1224"/>
                    <a:pt x="915" y="1224"/>
                    <a:pt x="915" y="1224"/>
                  </a:cubicBezTo>
                  <a:cubicBezTo>
                    <a:pt x="914" y="1224"/>
                    <a:pt x="914" y="1224"/>
                    <a:pt x="914" y="1224"/>
                  </a:cubicBezTo>
                  <a:cubicBezTo>
                    <a:pt x="913" y="1224"/>
                    <a:pt x="913" y="1224"/>
                    <a:pt x="913" y="1224"/>
                  </a:cubicBezTo>
                  <a:cubicBezTo>
                    <a:pt x="913" y="1224"/>
                    <a:pt x="913" y="1224"/>
                    <a:pt x="913" y="1224"/>
                  </a:cubicBezTo>
                  <a:cubicBezTo>
                    <a:pt x="911" y="1224"/>
                    <a:pt x="911" y="1224"/>
                    <a:pt x="911" y="1224"/>
                  </a:cubicBezTo>
                  <a:cubicBezTo>
                    <a:pt x="911" y="1224"/>
                    <a:pt x="911" y="1224"/>
                    <a:pt x="911" y="1224"/>
                  </a:cubicBezTo>
                  <a:cubicBezTo>
                    <a:pt x="909" y="1224"/>
                    <a:pt x="909" y="1224"/>
                    <a:pt x="909" y="1224"/>
                  </a:cubicBezTo>
                  <a:cubicBezTo>
                    <a:pt x="904" y="1224"/>
                    <a:pt x="904" y="1224"/>
                    <a:pt x="904" y="1224"/>
                  </a:cubicBezTo>
                  <a:cubicBezTo>
                    <a:pt x="904" y="1226"/>
                    <a:pt x="904" y="1226"/>
                    <a:pt x="904" y="1226"/>
                  </a:cubicBezTo>
                  <a:cubicBezTo>
                    <a:pt x="904" y="1227"/>
                    <a:pt x="904" y="1227"/>
                    <a:pt x="904" y="1227"/>
                  </a:cubicBezTo>
                  <a:cubicBezTo>
                    <a:pt x="904" y="1228"/>
                    <a:pt x="904" y="1228"/>
                    <a:pt x="904" y="1228"/>
                  </a:cubicBezTo>
                  <a:cubicBezTo>
                    <a:pt x="904" y="1228"/>
                    <a:pt x="904" y="1228"/>
                    <a:pt x="904" y="1228"/>
                  </a:cubicBezTo>
                  <a:cubicBezTo>
                    <a:pt x="904" y="1228"/>
                    <a:pt x="904" y="1228"/>
                    <a:pt x="904" y="1228"/>
                  </a:cubicBezTo>
                  <a:cubicBezTo>
                    <a:pt x="904" y="1229"/>
                    <a:pt x="904" y="1229"/>
                    <a:pt x="904" y="1229"/>
                  </a:cubicBezTo>
                  <a:cubicBezTo>
                    <a:pt x="904" y="1229"/>
                    <a:pt x="904" y="1229"/>
                    <a:pt x="904" y="1229"/>
                  </a:cubicBezTo>
                  <a:cubicBezTo>
                    <a:pt x="905" y="1230"/>
                    <a:pt x="905" y="1230"/>
                    <a:pt x="905" y="1230"/>
                  </a:cubicBezTo>
                  <a:cubicBezTo>
                    <a:pt x="906" y="1231"/>
                    <a:pt x="906" y="1231"/>
                    <a:pt x="906" y="1231"/>
                  </a:cubicBezTo>
                  <a:cubicBezTo>
                    <a:pt x="906" y="1231"/>
                    <a:pt x="906" y="1231"/>
                    <a:pt x="906" y="1231"/>
                  </a:cubicBezTo>
                  <a:cubicBezTo>
                    <a:pt x="906" y="1232"/>
                    <a:pt x="906" y="1232"/>
                    <a:pt x="906" y="1232"/>
                  </a:cubicBezTo>
                  <a:cubicBezTo>
                    <a:pt x="906" y="1233"/>
                    <a:pt x="906" y="1233"/>
                    <a:pt x="906" y="1233"/>
                  </a:cubicBezTo>
                  <a:cubicBezTo>
                    <a:pt x="906" y="1233"/>
                    <a:pt x="906" y="1233"/>
                    <a:pt x="906" y="1233"/>
                  </a:cubicBezTo>
                  <a:cubicBezTo>
                    <a:pt x="906" y="1235"/>
                    <a:pt x="906" y="1235"/>
                    <a:pt x="906" y="1235"/>
                  </a:cubicBezTo>
                  <a:cubicBezTo>
                    <a:pt x="906" y="1235"/>
                    <a:pt x="906" y="1235"/>
                    <a:pt x="906" y="1235"/>
                  </a:cubicBezTo>
                  <a:cubicBezTo>
                    <a:pt x="906" y="1236"/>
                    <a:pt x="906" y="1236"/>
                    <a:pt x="906" y="1236"/>
                  </a:cubicBezTo>
                  <a:cubicBezTo>
                    <a:pt x="906" y="1236"/>
                    <a:pt x="906" y="1236"/>
                    <a:pt x="906" y="1236"/>
                  </a:cubicBezTo>
                  <a:cubicBezTo>
                    <a:pt x="906" y="1236"/>
                    <a:pt x="906" y="1236"/>
                    <a:pt x="906" y="1236"/>
                  </a:cubicBezTo>
                  <a:cubicBezTo>
                    <a:pt x="905" y="1237"/>
                    <a:pt x="905" y="1237"/>
                    <a:pt x="905" y="1237"/>
                  </a:cubicBezTo>
                  <a:cubicBezTo>
                    <a:pt x="905" y="1237"/>
                    <a:pt x="905" y="1237"/>
                    <a:pt x="905" y="1237"/>
                  </a:cubicBezTo>
                  <a:cubicBezTo>
                    <a:pt x="905" y="1237"/>
                    <a:pt x="905" y="1237"/>
                    <a:pt x="905" y="1237"/>
                  </a:cubicBezTo>
                  <a:cubicBezTo>
                    <a:pt x="905" y="1237"/>
                    <a:pt x="905" y="1237"/>
                    <a:pt x="905" y="1237"/>
                  </a:cubicBezTo>
                  <a:cubicBezTo>
                    <a:pt x="904" y="1237"/>
                    <a:pt x="904" y="1237"/>
                    <a:pt x="904" y="1237"/>
                  </a:cubicBezTo>
                  <a:cubicBezTo>
                    <a:pt x="904" y="1238"/>
                    <a:pt x="904" y="1238"/>
                    <a:pt x="904" y="1238"/>
                  </a:cubicBezTo>
                  <a:cubicBezTo>
                    <a:pt x="904" y="1238"/>
                    <a:pt x="904" y="1238"/>
                    <a:pt x="904" y="1238"/>
                  </a:cubicBezTo>
                  <a:cubicBezTo>
                    <a:pt x="904" y="1238"/>
                    <a:pt x="904" y="1238"/>
                    <a:pt x="904" y="1238"/>
                  </a:cubicBezTo>
                  <a:cubicBezTo>
                    <a:pt x="904" y="1239"/>
                    <a:pt x="904" y="1239"/>
                    <a:pt x="904" y="1239"/>
                  </a:cubicBezTo>
                  <a:cubicBezTo>
                    <a:pt x="904" y="1239"/>
                    <a:pt x="904" y="1239"/>
                    <a:pt x="904" y="1239"/>
                  </a:cubicBezTo>
                  <a:cubicBezTo>
                    <a:pt x="903" y="1239"/>
                    <a:pt x="903" y="1239"/>
                    <a:pt x="903" y="1239"/>
                  </a:cubicBezTo>
                  <a:cubicBezTo>
                    <a:pt x="903" y="1240"/>
                    <a:pt x="903" y="1240"/>
                    <a:pt x="903" y="1240"/>
                  </a:cubicBezTo>
                  <a:cubicBezTo>
                    <a:pt x="902" y="1240"/>
                    <a:pt x="902" y="1240"/>
                    <a:pt x="902" y="1240"/>
                  </a:cubicBezTo>
                  <a:cubicBezTo>
                    <a:pt x="901" y="1239"/>
                    <a:pt x="901" y="1239"/>
                    <a:pt x="901" y="1239"/>
                  </a:cubicBezTo>
                  <a:cubicBezTo>
                    <a:pt x="901" y="1239"/>
                    <a:pt x="901" y="1239"/>
                    <a:pt x="901" y="1239"/>
                  </a:cubicBezTo>
                  <a:cubicBezTo>
                    <a:pt x="901" y="1239"/>
                    <a:pt x="901" y="1239"/>
                    <a:pt x="901" y="1239"/>
                  </a:cubicBezTo>
                  <a:cubicBezTo>
                    <a:pt x="901" y="1239"/>
                    <a:pt x="901" y="1239"/>
                    <a:pt x="901" y="1239"/>
                  </a:cubicBezTo>
                  <a:cubicBezTo>
                    <a:pt x="902" y="1239"/>
                    <a:pt x="902" y="1239"/>
                    <a:pt x="902" y="1239"/>
                  </a:cubicBezTo>
                  <a:cubicBezTo>
                    <a:pt x="902" y="1239"/>
                    <a:pt x="902" y="1239"/>
                    <a:pt x="902" y="1239"/>
                  </a:cubicBezTo>
                  <a:cubicBezTo>
                    <a:pt x="902" y="1238"/>
                    <a:pt x="902" y="1238"/>
                    <a:pt x="902" y="1238"/>
                  </a:cubicBezTo>
                  <a:cubicBezTo>
                    <a:pt x="903" y="1238"/>
                    <a:pt x="903" y="1238"/>
                    <a:pt x="903" y="1238"/>
                  </a:cubicBezTo>
                  <a:cubicBezTo>
                    <a:pt x="903" y="1238"/>
                    <a:pt x="903" y="1238"/>
                    <a:pt x="903" y="1238"/>
                  </a:cubicBezTo>
                  <a:cubicBezTo>
                    <a:pt x="903" y="1238"/>
                    <a:pt x="903" y="1238"/>
                    <a:pt x="903" y="1238"/>
                  </a:cubicBezTo>
                  <a:cubicBezTo>
                    <a:pt x="903" y="1237"/>
                    <a:pt x="903" y="1237"/>
                    <a:pt x="903" y="1237"/>
                  </a:cubicBezTo>
                  <a:cubicBezTo>
                    <a:pt x="903" y="1237"/>
                    <a:pt x="903" y="1237"/>
                    <a:pt x="903" y="1237"/>
                  </a:cubicBezTo>
                  <a:cubicBezTo>
                    <a:pt x="903" y="1236"/>
                    <a:pt x="903" y="1236"/>
                    <a:pt x="903" y="1236"/>
                  </a:cubicBezTo>
                  <a:cubicBezTo>
                    <a:pt x="903" y="1236"/>
                    <a:pt x="903" y="1236"/>
                    <a:pt x="903" y="1236"/>
                  </a:cubicBezTo>
                  <a:cubicBezTo>
                    <a:pt x="903" y="1235"/>
                    <a:pt x="903" y="1235"/>
                    <a:pt x="903" y="1235"/>
                  </a:cubicBezTo>
                  <a:cubicBezTo>
                    <a:pt x="904" y="1234"/>
                    <a:pt x="904" y="1234"/>
                    <a:pt x="904" y="1234"/>
                  </a:cubicBezTo>
                  <a:cubicBezTo>
                    <a:pt x="903" y="1233"/>
                    <a:pt x="903" y="1233"/>
                    <a:pt x="903" y="1233"/>
                  </a:cubicBezTo>
                  <a:cubicBezTo>
                    <a:pt x="903" y="1233"/>
                    <a:pt x="903" y="1233"/>
                    <a:pt x="903" y="1233"/>
                  </a:cubicBezTo>
                  <a:cubicBezTo>
                    <a:pt x="903" y="1232"/>
                    <a:pt x="903" y="1232"/>
                    <a:pt x="903" y="1232"/>
                  </a:cubicBezTo>
                  <a:cubicBezTo>
                    <a:pt x="902" y="1231"/>
                    <a:pt x="902" y="1231"/>
                    <a:pt x="902" y="1231"/>
                  </a:cubicBezTo>
                  <a:cubicBezTo>
                    <a:pt x="901" y="1230"/>
                    <a:pt x="901" y="1230"/>
                    <a:pt x="901" y="1230"/>
                  </a:cubicBezTo>
                  <a:cubicBezTo>
                    <a:pt x="901" y="1230"/>
                    <a:pt x="901" y="1230"/>
                    <a:pt x="901" y="1230"/>
                  </a:cubicBezTo>
                  <a:cubicBezTo>
                    <a:pt x="901" y="1230"/>
                    <a:pt x="901" y="1230"/>
                    <a:pt x="901" y="1230"/>
                  </a:cubicBezTo>
                  <a:cubicBezTo>
                    <a:pt x="901" y="1229"/>
                    <a:pt x="901" y="1229"/>
                    <a:pt x="901" y="1229"/>
                  </a:cubicBezTo>
                  <a:cubicBezTo>
                    <a:pt x="901" y="1229"/>
                    <a:pt x="901" y="1229"/>
                    <a:pt x="901" y="1229"/>
                  </a:cubicBezTo>
                  <a:cubicBezTo>
                    <a:pt x="901" y="1229"/>
                    <a:pt x="901" y="1229"/>
                    <a:pt x="901" y="1229"/>
                  </a:cubicBezTo>
                  <a:cubicBezTo>
                    <a:pt x="902" y="1228"/>
                    <a:pt x="902" y="1228"/>
                    <a:pt x="902" y="1228"/>
                  </a:cubicBezTo>
                  <a:cubicBezTo>
                    <a:pt x="902" y="1226"/>
                    <a:pt x="902" y="1226"/>
                    <a:pt x="902" y="1226"/>
                  </a:cubicBezTo>
                  <a:cubicBezTo>
                    <a:pt x="902" y="1225"/>
                    <a:pt x="902" y="1225"/>
                    <a:pt x="902" y="1225"/>
                  </a:cubicBezTo>
                  <a:cubicBezTo>
                    <a:pt x="901" y="1224"/>
                    <a:pt x="901" y="1224"/>
                    <a:pt x="901" y="1224"/>
                  </a:cubicBezTo>
                  <a:cubicBezTo>
                    <a:pt x="901" y="1223"/>
                    <a:pt x="901" y="1223"/>
                    <a:pt x="901" y="1223"/>
                  </a:cubicBezTo>
                  <a:cubicBezTo>
                    <a:pt x="900" y="1223"/>
                    <a:pt x="900" y="1223"/>
                    <a:pt x="900" y="1223"/>
                  </a:cubicBezTo>
                  <a:cubicBezTo>
                    <a:pt x="898" y="1223"/>
                    <a:pt x="898" y="1223"/>
                    <a:pt x="898" y="1223"/>
                  </a:cubicBezTo>
                  <a:cubicBezTo>
                    <a:pt x="897" y="1223"/>
                    <a:pt x="897" y="1223"/>
                    <a:pt x="897" y="1223"/>
                  </a:cubicBezTo>
                  <a:cubicBezTo>
                    <a:pt x="897" y="1224"/>
                    <a:pt x="897" y="1224"/>
                    <a:pt x="897" y="1224"/>
                  </a:cubicBezTo>
                  <a:cubicBezTo>
                    <a:pt x="896" y="1224"/>
                    <a:pt x="896" y="1224"/>
                    <a:pt x="896" y="1224"/>
                  </a:cubicBezTo>
                  <a:cubicBezTo>
                    <a:pt x="895" y="1224"/>
                    <a:pt x="895" y="1224"/>
                    <a:pt x="895" y="1224"/>
                  </a:cubicBezTo>
                  <a:cubicBezTo>
                    <a:pt x="895" y="1224"/>
                    <a:pt x="895" y="1224"/>
                    <a:pt x="895" y="1224"/>
                  </a:cubicBezTo>
                  <a:cubicBezTo>
                    <a:pt x="895" y="1223"/>
                    <a:pt x="895" y="1223"/>
                    <a:pt x="895" y="1223"/>
                  </a:cubicBezTo>
                  <a:cubicBezTo>
                    <a:pt x="894" y="1222"/>
                    <a:pt x="894" y="1222"/>
                    <a:pt x="894" y="1222"/>
                  </a:cubicBezTo>
                  <a:cubicBezTo>
                    <a:pt x="894" y="1221"/>
                    <a:pt x="894" y="1221"/>
                    <a:pt x="894" y="1221"/>
                  </a:cubicBezTo>
                  <a:cubicBezTo>
                    <a:pt x="894" y="1221"/>
                    <a:pt x="894" y="1221"/>
                    <a:pt x="894" y="1221"/>
                  </a:cubicBezTo>
                  <a:cubicBezTo>
                    <a:pt x="895" y="1222"/>
                    <a:pt x="895" y="1222"/>
                    <a:pt x="895" y="1222"/>
                  </a:cubicBezTo>
                  <a:cubicBezTo>
                    <a:pt x="895" y="1222"/>
                    <a:pt x="895" y="1222"/>
                    <a:pt x="895" y="1222"/>
                  </a:cubicBezTo>
                  <a:cubicBezTo>
                    <a:pt x="896" y="1222"/>
                    <a:pt x="896" y="1222"/>
                    <a:pt x="896" y="1222"/>
                  </a:cubicBezTo>
                  <a:cubicBezTo>
                    <a:pt x="896" y="1222"/>
                    <a:pt x="896" y="1222"/>
                    <a:pt x="896" y="1222"/>
                  </a:cubicBezTo>
                  <a:cubicBezTo>
                    <a:pt x="897" y="1221"/>
                    <a:pt x="897" y="1221"/>
                    <a:pt x="897" y="1221"/>
                  </a:cubicBezTo>
                  <a:cubicBezTo>
                    <a:pt x="898" y="1221"/>
                    <a:pt x="898" y="1221"/>
                    <a:pt x="898" y="1221"/>
                  </a:cubicBezTo>
                  <a:cubicBezTo>
                    <a:pt x="899" y="1221"/>
                    <a:pt x="899" y="1221"/>
                    <a:pt x="899" y="1221"/>
                  </a:cubicBezTo>
                  <a:cubicBezTo>
                    <a:pt x="901" y="1222"/>
                    <a:pt x="901" y="1222"/>
                    <a:pt x="901" y="1222"/>
                  </a:cubicBezTo>
                  <a:cubicBezTo>
                    <a:pt x="901" y="1222"/>
                    <a:pt x="901" y="1222"/>
                    <a:pt x="901" y="1222"/>
                  </a:cubicBezTo>
                  <a:cubicBezTo>
                    <a:pt x="902" y="1223"/>
                    <a:pt x="902" y="1223"/>
                    <a:pt x="902" y="1223"/>
                  </a:cubicBezTo>
                  <a:cubicBezTo>
                    <a:pt x="902" y="1224"/>
                    <a:pt x="902" y="1224"/>
                    <a:pt x="902" y="1224"/>
                  </a:cubicBezTo>
                  <a:cubicBezTo>
                    <a:pt x="906" y="1224"/>
                    <a:pt x="906" y="1224"/>
                    <a:pt x="906" y="1224"/>
                  </a:cubicBezTo>
                  <a:cubicBezTo>
                    <a:pt x="908" y="1223"/>
                    <a:pt x="908" y="1223"/>
                    <a:pt x="908" y="1223"/>
                  </a:cubicBezTo>
                  <a:cubicBezTo>
                    <a:pt x="909" y="1223"/>
                    <a:pt x="909" y="1223"/>
                    <a:pt x="909" y="1223"/>
                  </a:cubicBezTo>
                  <a:cubicBezTo>
                    <a:pt x="910" y="1224"/>
                    <a:pt x="910" y="1224"/>
                    <a:pt x="910" y="1224"/>
                  </a:cubicBezTo>
                  <a:cubicBezTo>
                    <a:pt x="911" y="1224"/>
                    <a:pt x="911" y="1224"/>
                    <a:pt x="911" y="1224"/>
                  </a:cubicBezTo>
                  <a:cubicBezTo>
                    <a:pt x="912" y="1224"/>
                    <a:pt x="912" y="1224"/>
                    <a:pt x="912" y="1224"/>
                  </a:cubicBezTo>
                  <a:cubicBezTo>
                    <a:pt x="913" y="1223"/>
                    <a:pt x="913" y="1223"/>
                    <a:pt x="913" y="1223"/>
                  </a:cubicBezTo>
                  <a:cubicBezTo>
                    <a:pt x="913" y="1223"/>
                    <a:pt x="913" y="1223"/>
                    <a:pt x="913" y="1223"/>
                  </a:cubicBezTo>
                  <a:cubicBezTo>
                    <a:pt x="914" y="1222"/>
                    <a:pt x="914" y="1222"/>
                    <a:pt x="914" y="1222"/>
                  </a:cubicBezTo>
                  <a:cubicBezTo>
                    <a:pt x="915" y="1222"/>
                    <a:pt x="915" y="1222"/>
                    <a:pt x="915" y="1222"/>
                  </a:cubicBezTo>
                  <a:cubicBezTo>
                    <a:pt x="916" y="1222"/>
                    <a:pt x="916" y="1222"/>
                    <a:pt x="916" y="1222"/>
                  </a:cubicBezTo>
                  <a:cubicBezTo>
                    <a:pt x="918" y="1222"/>
                    <a:pt x="918" y="1222"/>
                    <a:pt x="918" y="1222"/>
                  </a:cubicBezTo>
                  <a:cubicBezTo>
                    <a:pt x="918" y="1222"/>
                    <a:pt x="918" y="1222"/>
                    <a:pt x="918" y="1222"/>
                  </a:cubicBezTo>
                  <a:cubicBezTo>
                    <a:pt x="918" y="1222"/>
                    <a:pt x="918" y="1222"/>
                    <a:pt x="918" y="1222"/>
                  </a:cubicBezTo>
                  <a:close/>
                  <a:moveTo>
                    <a:pt x="933" y="1214"/>
                  </a:moveTo>
                  <a:cubicBezTo>
                    <a:pt x="933" y="1214"/>
                    <a:pt x="933" y="1214"/>
                    <a:pt x="933" y="1214"/>
                  </a:cubicBezTo>
                  <a:cubicBezTo>
                    <a:pt x="932" y="1215"/>
                    <a:pt x="932" y="1215"/>
                    <a:pt x="932" y="1215"/>
                  </a:cubicBezTo>
                  <a:cubicBezTo>
                    <a:pt x="932" y="1215"/>
                    <a:pt x="932" y="1215"/>
                    <a:pt x="932" y="1215"/>
                  </a:cubicBezTo>
                  <a:cubicBezTo>
                    <a:pt x="932" y="1215"/>
                    <a:pt x="932" y="1215"/>
                    <a:pt x="932" y="1215"/>
                  </a:cubicBezTo>
                  <a:cubicBezTo>
                    <a:pt x="932" y="1216"/>
                    <a:pt x="932" y="1216"/>
                    <a:pt x="932" y="1216"/>
                  </a:cubicBezTo>
                  <a:cubicBezTo>
                    <a:pt x="932" y="1216"/>
                    <a:pt x="932" y="1216"/>
                    <a:pt x="932" y="1216"/>
                  </a:cubicBezTo>
                  <a:cubicBezTo>
                    <a:pt x="932" y="1216"/>
                    <a:pt x="932" y="1216"/>
                    <a:pt x="932" y="1216"/>
                  </a:cubicBezTo>
                  <a:cubicBezTo>
                    <a:pt x="931" y="1217"/>
                    <a:pt x="931" y="1217"/>
                    <a:pt x="931" y="1217"/>
                  </a:cubicBezTo>
                  <a:cubicBezTo>
                    <a:pt x="930" y="1218"/>
                    <a:pt x="930" y="1218"/>
                    <a:pt x="930" y="1218"/>
                  </a:cubicBezTo>
                  <a:cubicBezTo>
                    <a:pt x="930" y="1219"/>
                    <a:pt x="930" y="1219"/>
                    <a:pt x="930" y="1219"/>
                  </a:cubicBezTo>
                  <a:cubicBezTo>
                    <a:pt x="929" y="1219"/>
                    <a:pt x="929" y="1219"/>
                    <a:pt x="929" y="1219"/>
                  </a:cubicBezTo>
                  <a:cubicBezTo>
                    <a:pt x="928" y="1220"/>
                    <a:pt x="928" y="1220"/>
                    <a:pt x="928" y="1220"/>
                  </a:cubicBezTo>
                  <a:cubicBezTo>
                    <a:pt x="928" y="1220"/>
                    <a:pt x="928" y="1220"/>
                    <a:pt x="928" y="1220"/>
                  </a:cubicBezTo>
                  <a:cubicBezTo>
                    <a:pt x="928" y="1221"/>
                    <a:pt x="928" y="1221"/>
                    <a:pt x="928" y="1221"/>
                  </a:cubicBezTo>
                  <a:cubicBezTo>
                    <a:pt x="928" y="1221"/>
                    <a:pt x="928" y="1221"/>
                    <a:pt x="928" y="1221"/>
                  </a:cubicBezTo>
                  <a:cubicBezTo>
                    <a:pt x="928" y="1222"/>
                    <a:pt x="928" y="1222"/>
                    <a:pt x="928" y="1222"/>
                  </a:cubicBezTo>
                  <a:cubicBezTo>
                    <a:pt x="928" y="1222"/>
                    <a:pt x="928" y="1222"/>
                    <a:pt x="928" y="1222"/>
                  </a:cubicBezTo>
                  <a:cubicBezTo>
                    <a:pt x="927" y="1222"/>
                    <a:pt x="927" y="1222"/>
                    <a:pt x="927" y="1222"/>
                  </a:cubicBezTo>
                  <a:cubicBezTo>
                    <a:pt x="926" y="1221"/>
                    <a:pt x="926" y="1221"/>
                    <a:pt x="926" y="1221"/>
                  </a:cubicBezTo>
                  <a:cubicBezTo>
                    <a:pt x="925" y="1222"/>
                    <a:pt x="925" y="1222"/>
                    <a:pt x="925" y="1222"/>
                  </a:cubicBezTo>
                  <a:cubicBezTo>
                    <a:pt x="925" y="1222"/>
                    <a:pt x="925" y="1222"/>
                    <a:pt x="925" y="1222"/>
                  </a:cubicBezTo>
                  <a:cubicBezTo>
                    <a:pt x="924" y="1222"/>
                    <a:pt x="924" y="1222"/>
                    <a:pt x="924" y="1222"/>
                  </a:cubicBezTo>
                  <a:cubicBezTo>
                    <a:pt x="924" y="1223"/>
                    <a:pt x="924" y="1223"/>
                    <a:pt x="924" y="1223"/>
                  </a:cubicBezTo>
                  <a:cubicBezTo>
                    <a:pt x="924" y="1223"/>
                    <a:pt x="924" y="1223"/>
                    <a:pt x="924" y="1223"/>
                  </a:cubicBezTo>
                  <a:cubicBezTo>
                    <a:pt x="924" y="1223"/>
                    <a:pt x="924" y="1223"/>
                    <a:pt x="924" y="1223"/>
                  </a:cubicBezTo>
                  <a:cubicBezTo>
                    <a:pt x="924" y="1223"/>
                    <a:pt x="924" y="1223"/>
                    <a:pt x="924" y="1223"/>
                  </a:cubicBezTo>
                  <a:cubicBezTo>
                    <a:pt x="924" y="1223"/>
                    <a:pt x="924" y="1223"/>
                    <a:pt x="924" y="1223"/>
                  </a:cubicBezTo>
                  <a:cubicBezTo>
                    <a:pt x="923" y="1224"/>
                    <a:pt x="923" y="1224"/>
                    <a:pt x="923" y="1224"/>
                  </a:cubicBezTo>
                  <a:cubicBezTo>
                    <a:pt x="922" y="1224"/>
                    <a:pt x="922" y="1224"/>
                    <a:pt x="922" y="1224"/>
                  </a:cubicBezTo>
                  <a:cubicBezTo>
                    <a:pt x="922" y="1224"/>
                    <a:pt x="922" y="1224"/>
                    <a:pt x="922" y="1224"/>
                  </a:cubicBezTo>
                  <a:cubicBezTo>
                    <a:pt x="921" y="1223"/>
                    <a:pt x="921" y="1223"/>
                    <a:pt x="921" y="1223"/>
                  </a:cubicBezTo>
                  <a:cubicBezTo>
                    <a:pt x="921" y="1222"/>
                    <a:pt x="921" y="1222"/>
                    <a:pt x="921" y="1222"/>
                  </a:cubicBezTo>
                  <a:cubicBezTo>
                    <a:pt x="922" y="1222"/>
                    <a:pt x="922" y="1222"/>
                    <a:pt x="922" y="1222"/>
                  </a:cubicBezTo>
                  <a:cubicBezTo>
                    <a:pt x="922" y="1222"/>
                    <a:pt x="922" y="1222"/>
                    <a:pt x="922" y="1222"/>
                  </a:cubicBezTo>
                  <a:cubicBezTo>
                    <a:pt x="922" y="1222"/>
                    <a:pt x="922" y="1222"/>
                    <a:pt x="922" y="1222"/>
                  </a:cubicBezTo>
                  <a:cubicBezTo>
                    <a:pt x="922" y="1222"/>
                    <a:pt x="922" y="1222"/>
                    <a:pt x="922" y="1222"/>
                  </a:cubicBezTo>
                  <a:cubicBezTo>
                    <a:pt x="922" y="1222"/>
                    <a:pt x="922" y="1222"/>
                    <a:pt x="922" y="1222"/>
                  </a:cubicBezTo>
                  <a:cubicBezTo>
                    <a:pt x="923" y="1221"/>
                    <a:pt x="923" y="1221"/>
                    <a:pt x="923" y="1221"/>
                  </a:cubicBezTo>
                  <a:cubicBezTo>
                    <a:pt x="923" y="1221"/>
                    <a:pt x="923" y="1221"/>
                    <a:pt x="923" y="1221"/>
                  </a:cubicBezTo>
                  <a:cubicBezTo>
                    <a:pt x="924" y="1221"/>
                    <a:pt x="924" y="1221"/>
                    <a:pt x="924" y="1221"/>
                  </a:cubicBezTo>
                  <a:cubicBezTo>
                    <a:pt x="925" y="1221"/>
                    <a:pt x="925" y="1221"/>
                    <a:pt x="925" y="1221"/>
                  </a:cubicBezTo>
                  <a:cubicBezTo>
                    <a:pt x="926" y="1221"/>
                    <a:pt x="926" y="1221"/>
                    <a:pt x="926" y="1221"/>
                  </a:cubicBezTo>
                  <a:cubicBezTo>
                    <a:pt x="926" y="1221"/>
                    <a:pt x="926" y="1221"/>
                    <a:pt x="926" y="1221"/>
                  </a:cubicBezTo>
                  <a:cubicBezTo>
                    <a:pt x="926" y="1221"/>
                    <a:pt x="926" y="1221"/>
                    <a:pt x="926" y="1221"/>
                  </a:cubicBezTo>
                  <a:cubicBezTo>
                    <a:pt x="926" y="1220"/>
                    <a:pt x="926" y="1220"/>
                    <a:pt x="926" y="1220"/>
                  </a:cubicBezTo>
                  <a:cubicBezTo>
                    <a:pt x="926" y="1220"/>
                    <a:pt x="926" y="1220"/>
                    <a:pt x="926" y="1220"/>
                  </a:cubicBezTo>
                  <a:cubicBezTo>
                    <a:pt x="926" y="1219"/>
                    <a:pt x="926" y="1219"/>
                    <a:pt x="926" y="1219"/>
                  </a:cubicBezTo>
                  <a:cubicBezTo>
                    <a:pt x="927" y="1219"/>
                    <a:pt x="927" y="1219"/>
                    <a:pt x="927" y="1219"/>
                  </a:cubicBezTo>
                  <a:cubicBezTo>
                    <a:pt x="928" y="1218"/>
                    <a:pt x="928" y="1218"/>
                    <a:pt x="928" y="1218"/>
                  </a:cubicBezTo>
                  <a:cubicBezTo>
                    <a:pt x="928" y="1218"/>
                    <a:pt x="928" y="1218"/>
                    <a:pt x="928" y="1218"/>
                  </a:cubicBezTo>
                  <a:cubicBezTo>
                    <a:pt x="929" y="1217"/>
                    <a:pt x="929" y="1217"/>
                    <a:pt x="929" y="1217"/>
                  </a:cubicBezTo>
                  <a:cubicBezTo>
                    <a:pt x="930" y="1216"/>
                    <a:pt x="930" y="1216"/>
                    <a:pt x="930" y="1216"/>
                  </a:cubicBezTo>
                  <a:cubicBezTo>
                    <a:pt x="930" y="1216"/>
                    <a:pt x="930" y="1216"/>
                    <a:pt x="930" y="1216"/>
                  </a:cubicBezTo>
                  <a:cubicBezTo>
                    <a:pt x="930" y="1216"/>
                    <a:pt x="930" y="1216"/>
                    <a:pt x="930" y="1216"/>
                  </a:cubicBezTo>
                  <a:cubicBezTo>
                    <a:pt x="930" y="1215"/>
                    <a:pt x="930" y="1215"/>
                    <a:pt x="930" y="1215"/>
                  </a:cubicBezTo>
                  <a:cubicBezTo>
                    <a:pt x="930" y="1215"/>
                    <a:pt x="930" y="1215"/>
                    <a:pt x="930" y="1215"/>
                  </a:cubicBezTo>
                  <a:cubicBezTo>
                    <a:pt x="930" y="1214"/>
                    <a:pt x="930" y="1214"/>
                    <a:pt x="930" y="1214"/>
                  </a:cubicBezTo>
                  <a:cubicBezTo>
                    <a:pt x="931" y="1214"/>
                    <a:pt x="931" y="1214"/>
                    <a:pt x="931" y="1214"/>
                  </a:cubicBezTo>
                  <a:cubicBezTo>
                    <a:pt x="931" y="1214"/>
                    <a:pt x="931" y="1214"/>
                    <a:pt x="931" y="1214"/>
                  </a:cubicBezTo>
                  <a:cubicBezTo>
                    <a:pt x="932" y="1213"/>
                    <a:pt x="932" y="1213"/>
                    <a:pt x="932" y="1213"/>
                  </a:cubicBezTo>
                  <a:cubicBezTo>
                    <a:pt x="934" y="1213"/>
                    <a:pt x="934" y="1213"/>
                    <a:pt x="934" y="1213"/>
                  </a:cubicBezTo>
                  <a:cubicBezTo>
                    <a:pt x="934" y="1213"/>
                    <a:pt x="934" y="1213"/>
                    <a:pt x="934" y="1213"/>
                  </a:cubicBezTo>
                  <a:cubicBezTo>
                    <a:pt x="934" y="1212"/>
                    <a:pt x="934" y="1212"/>
                    <a:pt x="934" y="1212"/>
                  </a:cubicBezTo>
                  <a:cubicBezTo>
                    <a:pt x="935" y="1212"/>
                    <a:pt x="935" y="1212"/>
                    <a:pt x="935" y="1212"/>
                  </a:cubicBezTo>
                  <a:cubicBezTo>
                    <a:pt x="935" y="1212"/>
                    <a:pt x="935" y="1212"/>
                    <a:pt x="935" y="1212"/>
                  </a:cubicBezTo>
                  <a:cubicBezTo>
                    <a:pt x="935" y="1213"/>
                    <a:pt x="935" y="1213"/>
                    <a:pt x="935" y="1213"/>
                  </a:cubicBezTo>
                  <a:cubicBezTo>
                    <a:pt x="935" y="1213"/>
                    <a:pt x="935" y="1213"/>
                    <a:pt x="935" y="1213"/>
                  </a:cubicBezTo>
                  <a:cubicBezTo>
                    <a:pt x="936" y="1213"/>
                    <a:pt x="936" y="1213"/>
                    <a:pt x="936" y="1213"/>
                  </a:cubicBezTo>
                  <a:cubicBezTo>
                    <a:pt x="934" y="1214"/>
                    <a:pt x="934" y="1214"/>
                    <a:pt x="934" y="1214"/>
                  </a:cubicBezTo>
                  <a:lnTo>
                    <a:pt x="933" y="1214"/>
                  </a:lnTo>
                  <a:close/>
                  <a:moveTo>
                    <a:pt x="940" y="1212"/>
                  </a:moveTo>
                  <a:cubicBezTo>
                    <a:pt x="940" y="1212"/>
                    <a:pt x="940" y="1212"/>
                    <a:pt x="940" y="1212"/>
                  </a:cubicBezTo>
                  <a:cubicBezTo>
                    <a:pt x="938" y="1213"/>
                    <a:pt x="938" y="1213"/>
                    <a:pt x="938" y="1213"/>
                  </a:cubicBezTo>
                  <a:cubicBezTo>
                    <a:pt x="938" y="1214"/>
                    <a:pt x="938" y="1214"/>
                    <a:pt x="938" y="1214"/>
                  </a:cubicBezTo>
                  <a:cubicBezTo>
                    <a:pt x="938" y="1214"/>
                    <a:pt x="938" y="1214"/>
                    <a:pt x="938" y="1214"/>
                  </a:cubicBezTo>
                  <a:cubicBezTo>
                    <a:pt x="937" y="1213"/>
                    <a:pt x="937" y="1213"/>
                    <a:pt x="937" y="1213"/>
                  </a:cubicBezTo>
                  <a:cubicBezTo>
                    <a:pt x="938" y="1212"/>
                    <a:pt x="938" y="1212"/>
                    <a:pt x="938" y="1212"/>
                  </a:cubicBezTo>
                  <a:cubicBezTo>
                    <a:pt x="939" y="1212"/>
                    <a:pt x="939" y="1212"/>
                    <a:pt x="939" y="1212"/>
                  </a:cubicBezTo>
                  <a:cubicBezTo>
                    <a:pt x="939" y="1212"/>
                    <a:pt x="939" y="1212"/>
                    <a:pt x="939" y="1212"/>
                  </a:cubicBezTo>
                  <a:cubicBezTo>
                    <a:pt x="940" y="1212"/>
                    <a:pt x="940" y="1212"/>
                    <a:pt x="940" y="1212"/>
                  </a:cubicBezTo>
                  <a:cubicBezTo>
                    <a:pt x="940" y="1212"/>
                    <a:pt x="940" y="1212"/>
                    <a:pt x="940" y="1212"/>
                  </a:cubicBezTo>
                  <a:cubicBezTo>
                    <a:pt x="941" y="1212"/>
                    <a:pt x="941" y="1212"/>
                    <a:pt x="941" y="1212"/>
                  </a:cubicBezTo>
                  <a:cubicBezTo>
                    <a:pt x="941" y="1212"/>
                    <a:pt x="941" y="1212"/>
                    <a:pt x="941" y="1212"/>
                  </a:cubicBezTo>
                  <a:lnTo>
                    <a:pt x="940" y="1212"/>
                  </a:lnTo>
                  <a:close/>
                  <a:moveTo>
                    <a:pt x="944" y="1213"/>
                  </a:moveTo>
                  <a:cubicBezTo>
                    <a:pt x="944" y="1214"/>
                    <a:pt x="944" y="1214"/>
                    <a:pt x="944" y="1214"/>
                  </a:cubicBezTo>
                  <a:cubicBezTo>
                    <a:pt x="944" y="1214"/>
                    <a:pt x="944" y="1214"/>
                    <a:pt x="944" y="1214"/>
                  </a:cubicBezTo>
                  <a:cubicBezTo>
                    <a:pt x="944" y="1213"/>
                    <a:pt x="944" y="1213"/>
                    <a:pt x="944" y="1213"/>
                  </a:cubicBezTo>
                  <a:cubicBezTo>
                    <a:pt x="944" y="1213"/>
                    <a:pt x="944" y="1213"/>
                    <a:pt x="944" y="1213"/>
                  </a:cubicBezTo>
                  <a:cubicBezTo>
                    <a:pt x="944" y="1213"/>
                    <a:pt x="944" y="1213"/>
                    <a:pt x="944" y="1213"/>
                  </a:cubicBezTo>
                  <a:cubicBezTo>
                    <a:pt x="945" y="1213"/>
                    <a:pt x="945" y="1213"/>
                    <a:pt x="945" y="1213"/>
                  </a:cubicBezTo>
                  <a:cubicBezTo>
                    <a:pt x="945" y="1213"/>
                    <a:pt x="945" y="1213"/>
                    <a:pt x="945" y="1213"/>
                  </a:cubicBezTo>
                  <a:cubicBezTo>
                    <a:pt x="945" y="1213"/>
                    <a:pt x="945" y="1213"/>
                    <a:pt x="945" y="1213"/>
                  </a:cubicBezTo>
                  <a:cubicBezTo>
                    <a:pt x="945" y="1213"/>
                    <a:pt x="945" y="1213"/>
                    <a:pt x="945" y="1213"/>
                  </a:cubicBezTo>
                  <a:lnTo>
                    <a:pt x="944" y="1213"/>
                  </a:lnTo>
                  <a:close/>
                  <a:moveTo>
                    <a:pt x="953" y="1212"/>
                  </a:moveTo>
                  <a:cubicBezTo>
                    <a:pt x="953" y="1213"/>
                    <a:pt x="953" y="1213"/>
                    <a:pt x="953" y="1213"/>
                  </a:cubicBezTo>
                  <a:cubicBezTo>
                    <a:pt x="952" y="1214"/>
                    <a:pt x="952" y="1214"/>
                    <a:pt x="952" y="1214"/>
                  </a:cubicBezTo>
                  <a:cubicBezTo>
                    <a:pt x="952" y="1214"/>
                    <a:pt x="952" y="1214"/>
                    <a:pt x="952" y="1214"/>
                  </a:cubicBezTo>
                  <a:cubicBezTo>
                    <a:pt x="951" y="1214"/>
                    <a:pt x="951" y="1214"/>
                    <a:pt x="951" y="1214"/>
                  </a:cubicBezTo>
                  <a:cubicBezTo>
                    <a:pt x="950" y="1214"/>
                    <a:pt x="950" y="1214"/>
                    <a:pt x="950" y="1214"/>
                  </a:cubicBezTo>
                  <a:cubicBezTo>
                    <a:pt x="950" y="1214"/>
                    <a:pt x="950" y="1214"/>
                    <a:pt x="950" y="1214"/>
                  </a:cubicBezTo>
                  <a:cubicBezTo>
                    <a:pt x="949" y="1214"/>
                    <a:pt x="949" y="1214"/>
                    <a:pt x="949" y="1214"/>
                  </a:cubicBezTo>
                  <a:cubicBezTo>
                    <a:pt x="949" y="1214"/>
                    <a:pt x="949" y="1214"/>
                    <a:pt x="949" y="1214"/>
                  </a:cubicBezTo>
                  <a:cubicBezTo>
                    <a:pt x="948" y="1214"/>
                    <a:pt x="948" y="1214"/>
                    <a:pt x="948" y="1214"/>
                  </a:cubicBezTo>
                  <a:cubicBezTo>
                    <a:pt x="947" y="1214"/>
                    <a:pt x="947" y="1214"/>
                    <a:pt x="947" y="1214"/>
                  </a:cubicBezTo>
                  <a:cubicBezTo>
                    <a:pt x="947" y="1214"/>
                    <a:pt x="947" y="1214"/>
                    <a:pt x="947" y="1214"/>
                  </a:cubicBezTo>
                  <a:cubicBezTo>
                    <a:pt x="947" y="1214"/>
                    <a:pt x="947" y="1214"/>
                    <a:pt x="947" y="1214"/>
                  </a:cubicBezTo>
                  <a:cubicBezTo>
                    <a:pt x="947" y="1214"/>
                    <a:pt x="947" y="1214"/>
                    <a:pt x="947" y="1214"/>
                  </a:cubicBezTo>
                  <a:cubicBezTo>
                    <a:pt x="947" y="1214"/>
                    <a:pt x="947" y="1214"/>
                    <a:pt x="947" y="1214"/>
                  </a:cubicBezTo>
                  <a:cubicBezTo>
                    <a:pt x="948" y="1213"/>
                    <a:pt x="948" y="1213"/>
                    <a:pt x="948" y="1213"/>
                  </a:cubicBezTo>
                  <a:cubicBezTo>
                    <a:pt x="948" y="1213"/>
                    <a:pt x="948" y="1213"/>
                    <a:pt x="948" y="1213"/>
                  </a:cubicBezTo>
                  <a:cubicBezTo>
                    <a:pt x="949" y="1213"/>
                    <a:pt x="949" y="1213"/>
                    <a:pt x="949" y="1213"/>
                  </a:cubicBezTo>
                  <a:cubicBezTo>
                    <a:pt x="950" y="1213"/>
                    <a:pt x="950" y="1213"/>
                    <a:pt x="950" y="1213"/>
                  </a:cubicBezTo>
                  <a:cubicBezTo>
                    <a:pt x="950" y="1213"/>
                    <a:pt x="950" y="1213"/>
                    <a:pt x="950" y="1213"/>
                  </a:cubicBezTo>
                  <a:cubicBezTo>
                    <a:pt x="951" y="1213"/>
                    <a:pt x="951" y="1213"/>
                    <a:pt x="951" y="1213"/>
                  </a:cubicBezTo>
                  <a:cubicBezTo>
                    <a:pt x="951" y="1213"/>
                    <a:pt x="951" y="1213"/>
                    <a:pt x="951" y="1213"/>
                  </a:cubicBezTo>
                  <a:cubicBezTo>
                    <a:pt x="952" y="1212"/>
                    <a:pt x="952" y="1212"/>
                    <a:pt x="952" y="1212"/>
                  </a:cubicBezTo>
                  <a:cubicBezTo>
                    <a:pt x="952" y="1212"/>
                    <a:pt x="952" y="1212"/>
                    <a:pt x="952" y="1212"/>
                  </a:cubicBezTo>
                  <a:cubicBezTo>
                    <a:pt x="952" y="1211"/>
                    <a:pt x="952" y="1211"/>
                    <a:pt x="952" y="1211"/>
                  </a:cubicBezTo>
                  <a:cubicBezTo>
                    <a:pt x="952" y="1211"/>
                    <a:pt x="952" y="1211"/>
                    <a:pt x="952" y="1211"/>
                  </a:cubicBezTo>
                  <a:cubicBezTo>
                    <a:pt x="953" y="1211"/>
                    <a:pt x="953" y="1211"/>
                    <a:pt x="953" y="1211"/>
                  </a:cubicBezTo>
                  <a:cubicBezTo>
                    <a:pt x="953" y="1211"/>
                    <a:pt x="953" y="1211"/>
                    <a:pt x="953" y="1211"/>
                  </a:cubicBezTo>
                  <a:cubicBezTo>
                    <a:pt x="953" y="1211"/>
                    <a:pt x="953" y="1211"/>
                    <a:pt x="953" y="1211"/>
                  </a:cubicBezTo>
                  <a:cubicBezTo>
                    <a:pt x="953" y="1211"/>
                    <a:pt x="953" y="1211"/>
                    <a:pt x="953" y="1211"/>
                  </a:cubicBezTo>
                  <a:cubicBezTo>
                    <a:pt x="953" y="1212"/>
                    <a:pt x="953" y="1212"/>
                    <a:pt x="953" y="1212"/>
                  </a:cubicBezTo>
                  <a:cubicBezTo>
                    <a:pt x="953" y="1212"/>
                    <a:pt x="953" y="1212"/>
                    <a:pt x="953" y="1212"/>
                  </a:cubicBezTo>
                  <a:cubicBezTo>
                    <a:pt x="953" y="1212"/>
                    <a:pt x="953" y="1212"/>
                    <a:pt x="953" y="1212"/>
                  </a:cubicBezTo>
                  <a:close/>
                  <a:moveTo>
                    <a:pt x="962" y="1205"/>
                  </a:moveTo>
                  <a:cubicBezTo>
                    <a:pt x="959" y="1205"/>
                    <a:pt x="959" y="1205"/>
                    <a:pt x="959" y="1205"/>
                  </a:cubicBezTo>
                  <a:cubicBezTo>
                    <a:pt x="958" y="1205"/>
                    <a:pt x="958" y="1205"/>
                    <a:pt x="958" y="1205"/>
                  </a:cubicBezTo>
                  <a:cubicBezTo>
                    <a:pt x="958" y="1205"/>
                    <a:pt x="958" y="1205"/>
                    <a:pt x="958" y="1205"/>
                  </a:cubicBezTo>
                  <a:cubicBezTo>
                    <a:pt x="957" y="1206"/>
                    <a:pt x="957" y="1206"/>
                    <a:pt x="957" y="1206"/>
                  </a:cubicBezTo>
                  <a:cubicBezTo>
                    <a:pt x="957" y="1206"/>
                    <a:pt x="957" y="1206"/>
                    <a:pt x="957" y="1206"/>
                  </a:cubicBezTo>
                  <a:cubicBezTo>
                    <a:pt x="957" y="1207"/>
                    <a:pt x="957" y="1207"/>
                    <a:pt x="957" y="1207"/>
                  </a:cubicBezTo>
                  <a:cubicBezTo>
                    <a:pt x="957" y="1207"/>
                    <a:pt x="957" y="1207"/>
                    <a:pt x="957" y="1207"/>
                  </a:cubicBezTo>
                  <a:cubicBezTo>
                    <a:pt x="957" y="1210"/>
                    <a:pt x="957" y="1210"/>
                    <a:pt x="957" y="1210"/>
                  </a:cubicBezTo>
                  <a:cubicBezTo>
                    <a:pt x="956" y="1212"/>
                    <a:pt x="956" y="1212"/>
                    <a:pt x="956" y="1212"/>
                  </a:cubicBezTo>
                  <a:cubicBezTo>
                    <a:pt x="956" y="1213"/>
                    <a:pt x="956" y="1213"/>
                    <a:pt x="956" y="1213"/>
                  </a:cubicBezTo>
                  <a:cubicBezTo>
                    <a:pt x="956" y="1213"/>
                    <a:pt x="956" y="1213"/>
                    <a:pt x="956" y="1213"/>
                  </a:cubicBezTo>
                  <a:cubicBezTo>
                    <a:pt x="955" y="1213"/>
                    <a:pt x="955" y="1213"/>
                    <a:pt x="955" y="1213"/>
                  </a:cubicBezTo>
                  <a:cubicBezTo>
                    <a:pt x="955" y="1212"/>
                    <a:pt x="955" y="1212"/>
                    <a:pt x="955" y="1212"/>
                  </a:cubicBezTo>
                  <a:cubicBezTo>
                    <a:pt x="955" y="1212"/>
                    <a:pt x="955" y="1212"/>
                    <a:pt x="955" y="1212"/>
                  </a:cubicBezTo>
                  <a:cubicBezTo>
                    <a:pt x="955" y="1212"/>
                    <a:pt x="955" y="1212"/>
                    <a:pt x="955" y="1212"/>
                  </a:cubicBezTo>
                  <a:cubicBezTo>
                    <a:pt x="955" y="1210"/>
                    <a:pt x="955" y="1210"/>
                    <a:pt x="955" y="1210"/>
                  </a:cubicBezTo>
                  <a:cubicBezTo>
                    <a:pt x="955" y="1207"/>
                    <a:pt x="955" y="1207"/>
                    <a:pt x="955" y="1207"/>
                  </a:cubicBezTo>
                  <a:cubicBezTo>
                    <a:pt x="956" y="1207"/>
                    <a:pt x="956" y="1207"/>
                    <a:pt x="956" y="1207"/>
                  </a:cubicBezTo>
                  <a:cubicBezTo>
                    <a:pt x="956" y="1206"/>
                    <a:pt x="956" y="1206"/>
                    <a:pt x="956" y="1206"/>
                  </a:cubicBezTo>
                  <a:cubicBezTo>
                    <a:pt x="956" y="1205"/>
                    <a:pt x="956" y="1205"/>
                    <a:pt x="956" y="1205"/>
                  </a:cubicBezTo>
                  <a:cubicBezTo>
                    <a:pt x="957" y="1205"/>
                    <a:pt x="957" y="1205"/>
                    <a:pt x="957" y="1205"/>
                  </a:cubicBezTo>
                  <a:cubicBezTo>
                    <a:pt x="957" y="1205"/>
                    <a:pt x="957" y="1205"/>
                    <a:pt x="957" y="1205"/>
                  </a:cubicBezTo>
                  <a:cubicBezTo>
                    <a:pt x="958" y="1205"/>
                    <a:pt x="958" y="1205"/>
                    <a:pt x="958" y="1205"/>
                  </a:cubicBezTo>
                  <a:cubicBezTo>
                    <a:pt x="961" y="1205"/>
                    <a:pt x="961" y="1205"/>
                    <a:pt x="961" y="1205"/>
                  </a:cubicBezTo>
                  <a:cubicBezTo>
                    <a:pt x="962" y="1204"/>
                    <a:pt x="962" y="1204"/>
                    <a:pt x="962" y="1204"/>
                  </a:cubicBezTo>
                  <a:cubicBezTo>
                    <a:pt x="962" y="1204"/>
                    <a:pt x="962" y="1204"/>
                    <a:pt x="962" y="1204"/>
                  </a:cubicBezTo>
                  <a:cubicBezTo>
                    <a:pt x="962" y="1203"/>
                    <a:pt x="962" y="1203"/>
                    <a:pt x="962" y="1203"/>
                  </a:cubicBezTo>
                  <a:cubicBezTo>
                    <a:pt x="962" y="1202"/>
                    <a:pt x="962" y="1202"/>
                    <a:pt x="962" y="1202"/>
                  </a:cubicBezTo>
                  <a:cubicBezTo>
                    <a:pt x="962" y="1202"/>
                    <a:pt x="962" y="1202"/>
                    <a:pt x="962" y="1202"/>
                  </a:cubicBezTo>
                  <a:cubicBezTo>
                    <a:pt x="962" y="1201"/>
                    <a:pt x="962" y="1201"/>
                    <a:pt x="962" y="1201"/>
                  </a:cubicBezTo>
                  <a:cubicBezTo>
                    <a:pt x="962" y="1201"/>
                    <a:pt x="962" y="1201"/>
                    <a:pt x="962" y="1201"/>
                  </a:cubicBezTo>
                  <a:cubicBezTo>
                    <a:pt x="962" y="1201"/>
                    <a:pt x="962" y="1201"/>
                    <a:pt x="962" y="1201"/>
                  </a:cubicBezTo>
                  <a:cubicBezTo>
                    <a:pt x="962" y="1201"/>
                    <a:pt x="962" y="1201"/>
                    <a:pt x="962" y="1201"/>
                  </a:cubicBezTo>
                  <a:cubicBezTo>
                    <a:pt x="962" y="1200"/>
                    <a:pt x="962" y="1200"/>
                    <a:pt x="962" y="1200"/>
                  </a:cubicBezTo>
                  <a:cubicBezTo>
                    <a:pt x="962" y="1198"/>
                    <a:pt x="962" y="1198"/>
                    <a:pt x="962" y="1198"/>
                  </a:cubicBezTo>
                  <a:cubicBezTo>
                    <a:pt x="962" y="1197"/>
                    <a:pt x="962" y="1197"/>
                    <a:pt x="962" y="1197"/>
                  </a:cubicBezTo>
                  <a:cubicBezTo>
                    <a:pt x="962" y="1196"/>
                    <a:pt x="962" y="1196"/>
                    <a:pt x="962" y="1196"/>
                  </a:cubicBezTo>
                  <a:cubicBezTo>
                    <a:pt x="962" y="1196"/>
                    <a:pt x="962" y="1196"/>
                    <a:pt x="962" y="1196"/>
                  </a:cubicBezTo>
                  <a:cubicBezTo>
                    <a:pt x="962" y="1196"/>
                    <a:pt x="962" y="1196"/>
                    <a:pt x="962" y="1196"/>
                  </a:cubicBezTo>
                  <a:cubicBezTo>
                    <a:pt x="962" y="1195"/>
                    <a:pt x="962" y="1195"/>
                    <a:pt x="962" y="1195"/>
                  </a:cubicBezTo>
                  <a:cubicBezTo>
                    <a:pt x="961" y="1195"/>
                    <a:pt x="961" y="1195"/>
                    <a:pt x="961" y="1195"/>
                  </a:cubicBezTo>
                  <a:cubicBezTo>
                    <a:pt x="961" y="1195"/>
                    <a:pt x="961" y="1195"/>
                    <a:pt x="961" y="1195"/>
                  </a:cubicBezTo>
                  <a:cubicBezTo>
                    <a:pt x="961" y="1194"/>
                    <a:pt x="961" y="1194"/>
                    <a:pt x="961" y="1194"/>
                  </a:cubicBezTo>
                  <a:cubicBezTo>
                    <a:pt x="961" y="1193"/>
                    <a:pt x="961" y="1193"/>
                    <a:pt x="961" y="1193"/>
                  </a:cubicBezTo>
                  <a:cubicBezTo>
                    <a:pt x="962" y="1193"/>
                    <a:pt x="962" y="1193"/>
                    <a:pt x="962" y="1193"/>
                  </a:cubicBezTo>
                  <a:cubicBezTo>
                    <a:pt x="962" y="1193"/>
                    <a:pt x="962" y="1193"/>
                    <a:pt x="962" y="1193"/>
                  </a:cubicBezTo>
                  <a:cubicBezTo>
                    <a:pt x="962" y="1193"/>
                    <a:pt x="962" y="1193"/>
                    <a:pt x="962" y="1193"/>
                  </a:cubicBezTo>
                  <a:cubicBezTo>
                    <a:pt x="962" y="1193"/>
                    <a:pt x="962" y="1193"/>
                    <a:pt x="962" y="1193"/>
                  </a:cubicBezTo>
                  <a:cubicBezTo>
                    <a:pt x="962" y="1193"/>
                    <a:pt x="962" y="1193"/>
                    <a:pt x="962" y="1193"/>
                  </a:cubicBezTo>
                  <a:cubicBezTo>
                    <a:pt x="963" y="1192"/>
                    <a:pt x="963" y="1192"/>
                    <a:pt x="963" y="1192"/>
                  </a:cubicBezTo>
                  <a:cubicBezTo>
                    <a:pt x="963" y="1191"/>
                    <a:pt x="963" y="1191"/>
                    <a:pt x="963" y="1191"/>
                  </a:cubicBezTo>
                  <a:cubicBezTo>
                    <a:pt x="963" y="1191"/>
                    <a:pt x="963" y="1191"/>
                    <a:pt x="963" y="1191"/>
                  </a:cubicBezTo>
                  <a:cubicBezTo>
                    <a:pt x="964" y="1190"/>
                    <a:pt x="964" y="1190"/>
                    <a:pt x="964" y="1190"/>
                  </a:cubicBezTo>
                  <a:cubicBezTo>
                    <a:pt x="964" y="1189"/>
                    <a:pt x="964" y="1189"/>
                    <a:pt x="964" y="1189"/>
                  </a:cubicBezTo>
                  <a:cubicBezTo>
                    <a:pt x="964" y="1189"/>
                    <a:pt x="964" y="1189"/>
                    <a:pt x="964" y="1189"/>
                  </a:cubicBezTo>
                  <a:cubicBezTo>
                    <a:pt x="964" y="1189"/>
                    <a:pt x="964" y="1189"/>
                    <a:pt x="964" y="1189"/>
                  </a:cubicBezTo>
                  <a:cubicBezTo>
                    <a:pt x="965" y="1189"/>
                    <a:pt x="965" y="1189"/>
                    <a:pt x="965" y="1189"/>
                  </a:cubicBezTo>
                  <a:cubicBezTo>
                    <a:pt x="965" y="1190"/>
                    <a:pt x="965" y="1190"/>
                    <a:pt x="965" y="1190"/>
                  </a:cubicBezTo>
                  <a:cubicBezTo>
                    <a:pt x="965" y="1191"/>
                    <a:pt x="965" y="1191"/>
                    <a:pt x="965" y="1191"/>
                  </a:cubicBezTo>
                  <a:cubicBezTo>
                    <a:pt x="965" y="1192"/>
                    <a:pt x="965" y="1192"/>
                    <a:pt x="965" y="1192"/>
                  </a:cubicBezTo>
                  <a:cubicBezTo>
                    <a:pt x="965" y="1192"/>
                    <a:pt x="965" y="1192"/>
                    <a:pt x="965" y="1192"/>
                  </a:cubicBezTo>
                  <a:cubicBezTo>
                    <a:pt x="964" y="1193"/>
                    <a:pt x="964" y="1193"/>
                    <a:pt x="964" y="1193"/>
                  </a:cubicBezTo>
                  <a:cubicBezTo>
                    <a:pt x="964" y="1194"/>
                    <a:pt x="964" y="1194"/>
                    <a:pt x="964" y="1194"/>
                  </a:cubicBezTo>
                  <a:cubicBezTo>
                    <a:pt x="964" y="1194"/>
                    <a:pt x="964" y="1194"/>
                    <a:pt x="964" y="1194"/>
                  </a:cubicBezTo>
                  <a:cubicBezTo>
                    <a:pt x="964" y="1194"/>
                    <a:pt x="964" y="1194"/>
                    <a:pt x="964" y="1194"/>
                  </a:cubicBezTo>
                  <a:cubicBezTo>
                    <a:pt x="964" y="1194"/>
                    <a:pt x="964" y="1194"/>
                    <a:pt x="964" y="1194"/>
                  </a:cubicBezTo>
                  <a:cubicBezTo>
                    <a:pt x="963" y="1194"/>
                    <a:pt x="963" y="1194"/>
                    <a:pt x="963" y="1194"/>
                  </a:cubicBezTo>
                  <a:cubicBezTo>
                    <a:pt x="963" y="1195"/>
                    <a:pt x="963" y="1195"/>
                    <a:pt x="963" y="1195"/>
                  </a:cubicBezTo>
                  <a:cubicBezTo>
                    <a:pt x="963" y="1195"/>
                    <a:pt x="963" y="1195"/>
                    <a:pt x="963" y="1195"/>
                  </a:cubicBezTo>
                  <a:cubicBezTo>
                    <a:pt x="963" y="1196"/>
                    <a:pt x="963" y="1196"/>
                    <a:pt x="963" y="1196"/>
                  </a:cubicBezTo>
                  <a:cubicBezTo>
                    <a:pt x="963" y="1196"/>
                    <a:pt x="963" y="1196"/>
                    <a:pt x="963" y="1196"/>
                  </a:cubicBezTo>
                  <a:cubicBezTo>
                    <a:pt x="963" y="1196"/>
                    <a:pt x="963" y="1196"/>
                    <a:pt x="963" y="1196"/>
                  </a:cubicBezTo>
                  <a:cubicBezTo>
                    <a:pt x="964" y="1197"/>
                    <a:pt x="964" y="1197"/>
                    <a:pt x="964" y="1197"/>
                  </a:cubicBezTo>
                  <a:cubicBezTo>
                    <a:pt x="964" y="1197"/>
                    <a:pt x="964" y="1197"/>
                    <a:pt x="964" y="1197"/>
                  </a:cubicBezTo>
                  <a:cubicBezTo>
                    <a:pt x="964" y="1197"/>
                    <a:pt x="964" y="1197"/>
                    <a:pt x="964" y="1197"/>
                  </a:cubicBezTo>
                  <a:cubicBezTo>
                    <a:pt x="963" y="1198"/>
                    <a:pt x="963" y="1198"/>
                    <a:pt x="963" y="1198"/>
                  </a:cubicBezTo>
                  <a:cubicBezTo>
                    <a:pt x="963" y="1199"/>
                    <a:pt x="963" y="1199"/>
                    <a:pt x="963" y="1199"/>
                  </a:cubicBezTo>
                  <a:cubicBezTo>
                    <a:pt x="964" y="1201"/>
                    <a:pt x="964" y="1201"/>
                    <a:pt x="964" y="1201"/>
                  </a:cubicBezTo>
                  <a:cubicBezTo>
                    <a:pt x="964" y="1202"/>
                    <a:pt x="964" y="1202"/>
                    <a:pt x="964" y="1202"/>
                  </a:cubicBezTo>
                  <a:cubicBezTo>
                    <a:pt x="964" y="1202"/>
                    <a:pt x="964" y="1202"/>
                    <a:pt x="964" y="1202"/>
                  </a:cubicBezTo>
                  <a:cubicBezTo>
                    <a:pt x="964" y="1202"/>
                    <a:pt x="964" y="1202"/>
                    <a:pt x="964" y="1202"/>
                  </a:cubicBezTo>
                  <a:cubicBezTo>
                    <a:pt x="964" y="1202"/>
                    <a:pt x="964" y="1202"/>
                    <a:pt x="964" y="1202"/>
                  </a:cubicBezTo>
                  <a:cubicBezTo>
                    <a:pt x="963" y="1203"/>
                    <a:pt x="963" y="1203"/>
                    <a:pt x="963" y="1203"/>
                  </a:cubicBezTo>
                  <a:cubicBezTo>
                    <a:pt x="963" y="1203"/>
                    <a:pt x="963" y="1203"/>
                    <a:pt x="963" y="1203"/>
                  </a:cubicBezTo>
                  <a:cubicBezTo>
                    <a:pt x="963" y="1204"/>
                    <a:pt x="963" y="1204"/>
                    <a:pt x="963" y="1204"/>
                  </a:cubicBezTo>
                  <a:cubicBezTo>
                    <a:pt x="964" y="1205"/>
                    <a:pt x="964" y="1205"/>
                    <a:pt x="964" y="1205"/>
                  </a:cubicBezTo>
                  <a:cubicBezTo>
                    <a:pt x="963" y="1205"/>
                    <a:pt x="963" y="1205"/>
                    <a:pt x="963" y="1205"/>
                  </a:cubicBezTo>
                  <a:cubicBezTo>
                    <a:pt x="963" y="1205"/>
                    <a:pt x="963" y="1205"/>
                    <a:pt x="963" y="1205"/>
                  </a:cubicBezTo>
                  <a:lnTo>
                    <a:pt x="962" y="1205"/>
                  </a:lnTo>
                  <a:close/>
                  <a:moveTo>
                    <a:pt x="974" y="1204"/>
                  </a:moveTo>
                  <a:cubicBezTo>
                    <a:pt x="974" y="1203"/>
                    <a:pt x="974" y="1203"/>
                    <a:pt x="974" y="1203"/>
                  </a:cubicBezTo>
                  <a:cubicBezTo>
                    <a:pt x="974" y="1203"/>
                    <a:pt x="974" y="1203"/>
                    <a:pt x="974" y="1203"/>
                  </a:cubicBezTo>
                  <a:cubicBezTo>
                    <a:pt x="974" y="1204"/>
                    <a:pt x="974" y="1204"/>
                    <a:pt x="974" y="1204"/>
                  </a:cubicBezTo>
                  <a:cubicBezTo>
                    <a:pt x="974" y="1204"/>
                    <a:pt x="974" y="1204"/>
                    <a:pt x="974" y="1204"/>
                  </a:cubicBezTo>
                  <a:close/>
                  <a:moveTo>
                    <a:pt x="1002" y="1198"/>
                  </a:moveTo>
                  <a:cubicBezTo>
                    <a:pt x="1002" y="1198"/>
                    <a:pt x="1002" y="1198"/>
                    <a:pt x="1002" y="1198"/>
                  </a:cubicBezTo>
                  <a:cubicBezTo>
                    <a:pt x="1002" y="1197"/>
                    <a:pt x="1002" y="1197"/>
                    <a:pt x="1002" y="1197"/>
                  </a:cubicBezTo>
                  <a:cubicBezTo>
                    <a:pt x="1002" y="1198"/>
                    <a:pt x="1002" y="1198"/>
                    <a:pt x="1002" y="1198"/>
                  </a:cubicBezTo>
                  <a:cubicBezTo>
                    <a:pt x="1003" y="1198"/>
                    <a:pt x="1003" y="1198"/>
                    <a:pt x="1003" y="1198"/>
                  </a:cubicBezTo>
                  <a:cubicBezTo>
                    <a:pt x="1003" y="1198"/>
                    <a:pt x="1003" y="1198"/>
                    <a:pt x="1003" y="1198"/>
                  </a:cubicBezTo>
                  <a:cubicBezTo>
                    <a:pt x="1003" y="1198"/>
                    <a:pt x="1003" y="1198"/>
                    <a:pt x="1003" y="1198"/>
                  </a:cubicBezTo>
                  <a:lnTo>
                    <a:pt x="1002" y="1198"/>
                  </a:lnTo>
                  <a:close/>
                  <a:moveTo>
                    <a:pt x="1010" y="1199"/>
                  </a:moveTo>
                  <a:cubicBezTo>
                    <a:pt x="1010" y="1199"/>
                    <a:pt x="1010" y="1199"/>
                    <a:pt x="1010" y="1199"/>
                  </a:cubicBezTo>
                  <a:cubicBezTo>
                    <a:pt x="1010" y="1199"/>
                    <a:pt x="1010" y="1199"/>
                    <a:pt x="1010" y="1199"/>
                  </a:cubicBezTo>
                  <a:cubicBezTo>
                    <a:pt x="1010" y="1198"/>
                    <a:pt x="1010" y="1198"/>
                    <a:pt x="1010" y="1198"/>
                  </a:cubicBezTo>
                  <a:cubicBezTo>
                    <a:pt x="1010" y="1197"/>
                    <a:pt x="1010" y="1197"/>
                    <a:pt x="1010" y="1197"/>
                  </a:cubicBezTo>
                  <a:cubicBezTo>
                    <a:pt x="1010" y="1198"/>
                    <a:pt x="1010" y="1198"/>
                    <a:pt x="1010" y="1198"/>
                  </a:cubicBezTo>
                  <a:cubicBezTo>
                    <a:pt x="1010" y="1199"/>
                    <a:pt x="1010" y="1199"/>
                    <a:pt x="1010" y="1199"/>
                  </a:cubicBezTo>
                  <a:cubicBezTo>
                    <a:pt x="1010" y="1200"/>
                    <a:pt x="1010" y="1200"/>
                    <a:pt x="1010" y="1200"/>
                  </a:cubicBezTo>
                  <a:cubicBezTo>
                    <a:pt x="1010" y="1199"/>
                    <a:pt x="1010" y="1199"/>
                    <a:pt x="1010" y="1199"/>
                  </a:cubicBezTo>
                  <a:close/>
                  <a:moveTo>
                    <a:pt x="1011" y="1201"/>
                  </a:moveTo>
                  <a:cubicBezTo>
                    <a:pt x="1011" y="1201"/>
                    <a:pt x="1011" y="1201"/>
                    <a:pt x="1011" y="1201"/>
                  </a:cubicBezTo>
                  <a:cubicBezTo>
                    <a:pt x="1011" y="1201"/>
                    <a:pt x="1011" y="1201"/>
                    <a:pt x="1011" y="1201"/>
                  </a:cubicBezTo>
                  <a:cubicBezTo>
                    <a:pt x="1011" y="1201"/>
                    <a:pt x="1011" y="1201"/>
                    <a:pt x="1011" y="1201"/>
                  </a:cubicBezTo>
                  <a:cubicBezTo>
                    <a:pt x="1011" y="1201"/>
                    <a:pt x="1011" y="1201"/>
                    <a:pt x="1011" y="1201"/>
                  </a:cubicBezTo>
                  <a:cubicBezTo>
                    <a:pt x="1012" y="1201"/>
                    <a:pt x="1012" y="1201"/>
                    <a:pt x="1012" y="1201"/>
                  </a:cubicBezTo>
                  <a:cubicBezTo>
                    <a:pt x="1012" y="1201"/>
                    <a:pt x="1012" y="1201"/>
                    <a:pt x="1012" y="1201"/>
                  </a:cubicBezTo>
                  <a:cubicBezTo>
                    <a:pt x="1011" y="1201"/>
                    <a:pt x="1011" y="1201"/>
                    <a:pt x="1011" y="1201"/>
                  </a:cubicBezTo>
                  <a:close/>
                  <a:moveTo>
                    <a:pt x="1069" y="1206"/>
                  </a:moveTo>
                  <a:cubicBezTo>
                    <a:pt x="1069" y="1206"/>
                    <a:pt x="1069" y="1206"/>
                    <a:pt x="1069" y="1206"/>
                  </a:cubicBezTo>
                  <a:cubicBezTo>
                    <a:pt x="1068" y="1206"/>
                    <a:pt x="1068" y="1206"/>
                    <a:pt x="1068" y="1206"/>
                  </a:cubicBezTo>
                  <a:cubicBezTo>
                    <a:pt x="1067" y="1207"/>
                    <a:pt x="1067" y="1207"/>
                    <a:pt x="1067" y="1207"/>
                  </a:cubicBezTo>
                  <a:cubicBezTo>
                    <a:pt x="1067" y="1208"/>
                    <a:pt x="1067" y="1208"/>
                    <a:pt x="1067" y="1208"/>
                  </a:cubicBezTo>
                  <a:cubicBezTo>
                    <a:pt x="1066" y="1208"/>
                    <a:pt x="1066" y="1208"/>
                    <a:pt x="1066" y="1208"/>
                  </a:cubicBezTo>
                  <a:cubicBezTo>
                    <a:pt x="1065" y="1208"/>
                    <a:pt x="1065" y="1208"/>
                    <a:pt x="1065" y="1208"/>
                  </a:cubicBezTo>
                  <a:cubicBezTo>
                    <a:pt x="1065" y="1208"/>
                    <a:pt x="1065" y="1208"/>
                    <a:pt x="1065" y="1208"/>
                  </a:cubicBezTo>
                  <a:cubicBezTo>
                    <a:pt x="1066" y="1207"/>
                    <a:pt x="1066" y="1207"/>
                    <a:pt x="1066" y="1207"/>
                  </a:cubicBezTo>
                  <a:cubicBezTo>
                    <a:pt x="1067" y="1207"/>
                    <a:pt x="1067" y="1207"/>
                    <a:pt x="1067" y="1207"/>
                  </a:cubicBezTo>
                  <a:cubicBezTo>
                    <a:pt x="1067" y="1206"/>
                    <a:pt x="1067" y="1206"/>
                    <a:pt x="1067" y="1206"/>
                  </a:cubicBezTo>
                  <a:cubicBezTo>
                    <a:pt x="1067" y="1206"/>
                    <a:pt x="1067" y="1206"/>
                    <a:pt x="1067" y="1206"/>
                  </a:cubicBezTo>
                  <a:cubicBezTo>
                    <a:pt x="1067" y="1206"/>
                    <a:pt x="1067" y="1206"/>
                    <a:pt x="1067" y="1206"/>
                  </a:cubicBezTo>
                  <a:cubicBezTo>
                    <a:pt x="1069" y="1205"/>
                    <a:pt x="1069" y="1205"/>
                    <a:pt x="1069" y="1205"/>
                  </a:cubicBezTo>
                  <a:cubicBezTo>
                    <a:pt x="1069" y="1205"/>
                    <a:pt x="1069" y="1205"/>
                    <a:pt x="1069" y="1205"/>
                  </a:cubicBezTo>
                  <a:cubicBezTo>
                    <a:pt x="1070" y="1205"/>
                    <a:pt x="1070" y="1205"/>
                    <a:pt x="1070" y="1205"/>
                  </a:cubicBezTo>
                  <a:cubicBezTo>
                    <a:pt x="1070" y="1205"/>
                    <a:pt x="1070" y="1205"/>
                    <a:pt x="1070" y="1205"/>
                  </a:cubicBezTo>
                  <a:cubicBezTo>
                    <a:pt x="1069" y="1206"/>
                    <a:pt x="1069" y="1206"/>
                    <a:pt x="1069" y="1206"/>
                  </a:cubicBezTo>
                  <a:close/>
                  <a:moveTo>
                    <a:pt x="1073" y="1203"/>
                  </a:moveTo>
                  <a:cubicBezTo>
                    <a:pt x="1073" y="1204"/>
                    <a:pt x="1073" y="1204"/>
                    <a:pt x="1073" y="1204"/>
                  </a:cubicBezTo>
                  <a:cubicBezTo>
                    <a:pt x="1073" y="1205"/>
                    <a:pt x="1073" y="1205"/>
                    <a:pt x="1073" y="1205"/>
                  </a:cubicBezTo>
                  <a:cubicBezTo>
                    <a:pt x="1073" y="1205"/>
                    <a:pt x="1073" y="1205"/>
                    <a:pt x="1073" y="1205"/>
                  </a:cubicBezTo>
                  <a:cubicBezTo>
                    <a:pt x="1072" y="1205"/>
                    <a:pt x="1072" y="1205"/>
                    <a:pt x="1072" y="1205"/>
                  </a:cubicBezTo>
                  <a:cubicBezTo>
                    <a:pt x="1071" y="1205"/>
                    <a:pt x="1071" y="1205"/>
                    <a:pt x="1071" y="1205"/>
                  </a:cubicBezTo>
                  <a:cubicBezTo>
                    <a:pt x="1071" y="1205"/>
                    <a:pt x="1071" y="1205"/>
                    <a:pt x="1071" y="1205"/>
                  </a:cubicBezTo>
                  <a:cubicBezTo>
                    <a:pt x="1071" y="1205"/>
                    <a:pt x="1071" y="1205"/>
                    <a:pt x="1071" y="1205"/>
                  </a:cubicBezTo>
                  <a:cubicBezTo>
                    <a:pt x="1072" y="1204"/>
                    <a:pt x="1072" y="1204"/>
                    <a:pt x="1072" y="1204"/>
                  </a:cubicBezTo>
                  <a:cubicBezTo>
                    <a:pt x="1072" y="1203"/>
                    <a:pt x="1072" y="1203"/>
                    <a:pt x="1072" y="1203"/>
                  </a:cubicBezTo>
                  <a:cubicBezTo>
                    <a:pt x="1072" y="1203"/>
                    <a:pt x="1072" y="1203"/>
                    <a:pt x="1072" y="1203"/>
                  </a:cubicBezTo>
                  <a:cubicBezTo>
                    <a:pt x="1072" y="1202"/>
                    <a:pt x="1072" y="1202"/>
                    <a:pt x="1072" y="1202"/>
                  </a:cubicBezTo>
                  <a:cubicBezTo>
                    <a:pt x="1071" y="1200"/>
                    <a:pt x="1071" y="1200"/>
                    <a:pt x="1071" y="1200"/>
                  </a:cubicBezTo>
                  <a:cubicBezTo>
                    <a:pt x="1071" y="1198"/>
                    <a:pt x="1071" y="1198"/>
                    <a:pt x="1071" y="1198"/>
                  </a:cubicBezTo>
                  <a:cubicBezTo>
                    <a:pt x="1071" y="1198"/>
                    <a:pt x="1071" y="1198"/>
                    <a:pt x="1071" y="1198"/>
                  </a:cubicBezTo>
                  <a:cubicBezTo>
                    <a:pt x="1070" y="1197"/>
                    <a:pt x="1070" y="1197"/>
                    <a:pt x="1070" y="1197"/>
                  </a:cubicBezTo>
                  <a:cubicBezTo>
                    <a:pt x="1071" y="1197"/>
                    <a:pt x="1071" y="1197"/>
                    <a:pt x="1071" y="1197"/>
                  </a:cubicBezTo>
                  <a:cubicBezTo>
                    <a:pt x="1071" y="1196"/>
                    <a:pt x="1071" y="1196"/>
                    <a:pt x="1071" y="1196"/>
                  </a:cubicBezTo>
                  <a:cubicBezTo>
                    <a:pt x="1071" y="1195"/>
                    <a:pt x="1071" y="1195"/>
                    <a:pt x="1071" y="1195"/>
                  </a:cubicBezTo>
                  <a:cubicBezTo>
                    <a:pt x="1071" y="1195"/>
                    <a:pt x="1071" y="1195"/>
                    <a:pt x="1071" y="1195"/>
                  </a:cubicBezTo>
                  <a:cubicBezTo>
                    <a:pt x="1070" y="1195"/>
                    <a:pt x="1070" y="1195"/>
                    <a:pt x="1070" y="1195"/>
                  </a:cubicBezTo>
                  <a:cubicBezTo>
                    <a:pt x="1070" y="1195"/>
                    <a:pt x="1070" y="1195"/>
                    <a:pt x="1070" y="1195"/>
                  </a:cubicBezTo>
                  <a:cubicBezTo>
                    <a:pt x="1070" y="1194"/>
                    <a:pt x="1070" y="1194"/>
                    <a:pt x="1070" y="1194"/>
                  </a:cubicBezTo>
                  <a:cubicBezTo>
                    <a:pt x="1070" y="1195"/>
                    <a:pt x="1070" y="1195"/>
                    <a:pt x="1070" y="1195"/>
                  </a:cubicBezTo>
                  <a:cubicBezTo>
                    <a:pt x="1070" y="1195"/>
                    <a:pt x="1070" y="1195"/>
                    <a:pt x="1070" y="1195"/>
                  </a:cubicBezTo>
                  <a:cubicBezTo>
                    <a:pt x="1068" y="1194"/>
                    <a:pt x="1068" y="1194"/>
                    <a:pt x="1068" y="1194"/>
                  </a:cubicBezTo>
                  <a:cubicBezTo>
                    <a:pt x="1067" y="1193"/>
                    <a:pt x="1067" y="1193"/>
                    <a:pt x="1067" y="1193"/>
                  </a:cubicBezTo>
                  <a:cubicBezTo>
                    <a:pt x="1067" y="1192"/>
                    <a:pt x="1067" y="1192"/>
                    <a:pt x="1067" y="1192"/>
                  </a:cubicBezTo>
                  <a:cubicBezTo>
                    <a:pt x="1067" y="1192"/>
                    <a:pt x="1067" y="1192"/>
                    <a:pt x="1067" y="1192"/>
                  </a:cubicBezTo>
                  <a:cubicBezTo>
                    <a:pt x="1067" y="1191"/>
                    <a:pt x="1067" y="1191"/>
                    <a:pt x="1067" y="1191"/>
                  </a:cubicBezTo>
                  <a:cubicBezTo>
                    <a:pt x="1066" y="1191"/>
                    <a:pt x="1066" y="1191"/>
                    <a:pt x="1066" y="1191"/>
                  </a:cubicBezTo>
                  <a:cubicBezTo>
                    <a:pt x="1065" y="1191"/>
                    <a:pt x="1065" y="1191"/>
                    <a:pt x="1065" y="1191"/>
                  </a:cubicBezTo>
                  <a:cubicBezTo>
                    <a:pt x="1064" y="1190"/>
                    <a:pt x="1064" y="1190"/>
                    <a:pt x="1064" y="1190"/>
                  </a:cubicBezTo>
                  <a:cubicBezTo>
                    <a:pt x="1064" y="1190"/>
                    <a:pt x="1064" y="1190"/>
                    <a:pt x="1064" y="1190"/>
                  </a:cubicBezTo>
                  <a:cubicBezTo>
                    <a:pt x="1063" y="1190"/>
                    <a:pt x="1063" y="1190"/>
                    <a:pt x="1063" y="1190"/>
                  </a:cubicBezTo>
                  <a:cubicBezTo>
                    <a:pt x="1062" y="1190"/>
                    <a:pt x="1062" y="1190"/>
                    <a:pt x="1062" y="1190"/>
                  </a:cubicBezTo>
                  <a:cubicBezTo>
                    <a:pt x="1062" y="1190"/>
                    <a:pt x="1062" y="1190"/>
                    <a:pt x="1062" y="1190"/>
                  </a:cubicBezTo>
                  <a:cubicBezTo>
                    <a:pt x="1063" y="1189"/>
                    <a:pt x="1063" y="1189"/>
                    <a:pt x="1063" y="1189"/>
                  </a:cubicBezTo>
                  <a:cubicBezTo>
                    <a:pt x="1063" y="1188"/>
                    <a:pt x="1063" y="1188"/>
                    <a:pt x="1063" y="1188"/>
                  </a:cubicBezTo>
                  <a:cubicBezTo>
                    <a:pt x="1064" y="1187"/>
                    <a:pt x="1064" y="1187"/>
                    <a:pt x="1064" y="1187"/>
                  </a:cubicBezTo>
                  <a:cubicBezTo>
                    <a:pt x="1064" y="1187"/>
                    <a:pt x="1064" y="1187"/>
                    <a:pt x="1064" y="1187"/>
                  </a:cubicBezTo>
                  <a:cubicBezTo>
                    <a:pt x="1064" y="1188"/>
                    <a:pt x="1064" y="1188"/>
                    <a:pt x="1064" y="1188"/>
                  </a:cubicBezTo>
                  <a:cubicBezTo>
                    <a:pt x="1064" y="1189"/>
                    <a:pt x="1064" y="1189"/>
                    <a:pt x="1064" y="1189"/>
                  </a:cubicBezTo>
                  <a:cubicBezTo>
                    <a:pt x="1064" y="1189"/>
                    <a:pt x="1064" y="1189"/>
                    <a:pt x="1064" y="1189"/>
                  </a:cubicBezTo>
                  <a:cubicBezTo>
                    <a:pt x="1064" y="1190"/>
                    <a:pt x="1064" y="1190"/>
                    <a:pt x="1064" y="1190"/>
                  </a:cubicBezTo>
                  <a:cubicBezTo>
                    <a:pt x="1065" y="1190"/>
                    <a:pt x="1065" y="1190"/>
                    <a:pt x="1065" y="1190"/>
                  </a:cubicBezTo>
                  <a:cubicBezTo>
                    <a:pt x="1066" y="1190"/>
                    <a:pt x="1066" y="1190"/>
                    <a:pt x="1066" y="1190"/>
                  </a:cubicBezTo>
                  <a:cubicBezTo>
                    <a:pt x="1067" y="1191"/>
                    <a:pt x="1067" y="1191"/>
                    <a:pt x="1067" y="1191"/>
                  </a:cubicBezTo>
                  <a:cubicBezTo>
                    <a:pt x="1068" y="1191"/>
                    <a:pt x="1068" y="1191"/>
                    <a:pt x="1068" y="1191"/>
                  </a:cubicBezTo>
                  <a:cubicBezTo>
                    <a:pt x="1068" y="1191"/>
                    <a:pt x="1068" y="1191"/>
                    <a:pt x="1068" y="1191"/>
                  </a:cubicBezTo>
                  <a:cubicBezTo>
                    <a:pt x="1069" y="1192"/>
                    <a:pt x="1069" y="1192"/>
                    <a:pt x="1069" y="1192"/>
                  </a:cubicBezTo>
                  <a:cubicBezTo>
                    <a:pt x="1069" y="1192"/>
                    <a:pt x="1069" y="1192"/>
                    <a:pt x="1069" y="1192"/>
                  </a:cubicBezTo>
                  <a:cubicBezTo>
                    <a:pt x="1068" y="1193"/>
                    <a:pt x="1068" y="1193"/>
                    <a:pt x="1068" y="1193"/>
                  </a:cubicBezTo>
                  <a:cubicBezTo>
                    <a:pt x="1070" y="1194"/>
                    <a:pt x="1070" y="1194"/>
                    <a:pt x="1070" y="1194"/>
                  </a:cubicBezTo>
                  <a:cubicBezTo>
                    <a:pt x="1071" y="1195"/>
                    <a:pt x="1071" y="1195"/>
                    <a:pt x="1071" y="1195"/>
                  </a:cubicBezTo>
                  <a:cubicBezTo>
                    <a:pt x="1072" y="1195"/>
                    <a:pt x="1072" y="1195"/>
                    <a:pt x="1072" y="1195"/>
                  </a:cubicBezTo>
                  <a:cubicBezTo>
                    <a:pt x="1072" y="1194"/>
                    <a:pt x="1072" y="1194"/>
                    <a:pt x="1072" y="1194"/>
                  </a:cubicBezTo>
                  <a:cubicBezTo>
                    <a:pt x="1072" y="1194"/>
                    <a:pt x="1072" y="1194"/>
                    <a:pt x="1072" y="1194"/>
                  </a:cubicBezTo>
                  <a:cubicBezTo>
                    <a:pt x="1072" y="1195"/>
                    <a:pt x="1072" y="1195"/>
                    <a:pt x="1072" y="1195"/>
                  </a:cubicBezTo>
                  <a:cubicBezTo>
                    <a:pt x="1072" y="1195"/>
                    <a:pt x="1072" y="1195"/>
                    <a:pt x="1072" y="1195"/>
                  </a:cubicBezTo>
                  <a:cubicBezTo>
                    <a:pt x="1072" y="1195"/>
                    <a:pt x="1072" y="1195"/>
                    <a:pt x="1072" y="1195"/>
                  </a:cubicBezTo>
                  <a:cubicBezTo>
                    <a:pt x="1072" y="1196"/>
                    <a:pt x="1072" y="1196"/>
                    <a:pt x="1072" y="1196"/>
                  </a:cubicBezTo>
                  <a:cubicBezTo>
                    <a:pt x="1072" y="1197"/>
                    <a:pt x="1072" y="1197"/>
                    <a:pt x="1072" y="1197"/>
                  </a:cubicBezTo>
                  <a:cubicBezTo>
                    <a:pt x="1072" y="1197"/>
                    <a:pt x="1072" y="1197"/>
                    <a:pt x="1072" y="1197"/>
                  </a:cubicBezTo>
                  <a:cubicBezTo>
                    <a:pt x="1073" y="1198"/>
                    <a:pt x="1073" y="1198"/>
                    <a:pt x="1073" y="1198"/>
                  </a:cubicBezTo>
                  <a:cubicBezTo>
                    <a:pt x="1073" y="1198"/>
                    <a:pt x="1073" y="1198"/>
                    <a:pt x="1073" y="1198"/>
                  </a:cubicBezTo>
                  <a:cubicBezTo>
                    <a:pt x="1073" y="1200"/>
                    <a:pt x="1073" y="1200"/>
                    <a:pt x="1073" y="1200"/>
                  </a:cubicBezTo>
                  <a:cubicBezTo>
                    <a:pt x="1073" y="1202"/>
                    <a:pt x="1073" y="1202"/>
                    <a:pt x="1073" y="1202"/>
                  </a:cubicBezTo>
                  <a:cubicBezTo>
                    <a:pt x="1073" y="1203"/>
                    <a:pt x="1073" y="1203"/>
                    <a:pt x="1073" y="1203"/>
                  </a:cubicBezTo>
                  <a:close/>
                  <a:moveTo>
                    <a:pt x="1084" y="1177"/>
                  </a:moveTo>
                  <a:cubicBezTo>
                    <a:pt x="1083" y="1177"/>
                    <a:pt x="1083" y="1177"/>
                    <a:pt x="1083" y="1177"/>
                  </a:cubicBezTo>
                  <a:cubicBezTo>
                    <a:pt x="1083" y="1178"/>
                    <a:pt x="1083" y="1178"/>
                    <a:pt x="1083" y="1178"/>
                  </a:cubicBezTo>
                  <a:cubicBezTo>
                    <a:pt x="1083" y="1178"/>
                    <a:pt x="1083" y="1178"/>
                    <a:pt x="1083" y="1178"/>
                  </a:cubicBezTo>
                  <a:cubicBezTo>
                    <a:pt x="1083" y="1179"/>
                    <a:pt x="1083" y="1179"/>
                    <a:pt x="1083" y="1179"/>
                  </a:cubicBezTo>
                  <a:cubicBezTo>
                    <a:pt x="1082" y="1179"/>
                    <a:pt x="1082" y="1179"/>
                    <a:pt x="1082" y="1179"/>
                  </a:cubicBezTo>
                  <a:cubicBezTo>
                    <a:pt x="1082" y="1179"/>
                    <a:pt x="1082" y="1179"/>
                    <a:pt x="1082" y="1179"/>
                  </a:cubicBezTo>
                  <a:cubicBezTo>
                    <a:pt x="1082" y="1179"/>
                    <a:pt x="1082" y="1179"/>
                    <a:pt x="1082" y="1179"/>
                  </a:cubicBezTo>
                  <a:cubicBezTo>
                    <a:pt x="1083" y="1178"/>
                    <a:pt x="1083" y="1178"/>
                    <a:pt x="1083" y="1178"/>
                  </a:cubicBezTo>
                  <a:cubicBezTo>
                    <a:pt x="1083" y="1177"/>
                    <a:pt x="1083" y="1177"/>
                    <a:pt x="1083" y="1177"/>
                  </a:cubicBezTo>
                  <a:cubicBezTo>
                    <a:pt x="1084" y="1176"/>
                    <a:pt x="1084" y="1176"/>
                    <a:pt x="1084" y="1176"/>
                  </a:cubicBezTo>
                  <a:cubicBezTo>
                    <a:pt x="1084" y="1176"/>
                    <a:pt x="1084" y="1176"/>
                    <a:pt x="1084" y="1176"/>
                  </a:cubicBezTo>
                  <a:cubicBezTo>
                    <a:pt x="1085" y="1177"/>
                    <a:pt x="1085" y="1177"/>
                    <a:pt x="1085" y="1177"/>
                  </a:cubicBezTo>
                  <a:cubicBezTo>
                    <a:pt x="1084" y="1177"/>
                    <a:pt x="1084" y="1177"/>
                    <a:pt x="1084" y="1177"/>
                  </a:cubicBezTo>
                  <a:close/>
                  <a:moveTo>
                    <a:pt x="1089" y="1176"/>
                  </a:moveTo>
                  <a:cubicBezTo>
                    <a:pt x="1089" y="1176"/>
                    <a:pt x="1089" y="1176"/>
                    <a:pt x="1089" y="1176"/>
                  </a:cubicBezTo>
                  <a:cubicBezTo>
                    <a:pt x="1089" y="1176"/>
                    <a:pt x="1089" y="1176"/>
                    <a:pt x="1089" y="1176"/>
                  </a:cubicBezTo>
                  <a:cubicBezTo>
                    <a:pt x="1090" y="1176"/>
                    <a:pt x="1090" y="1176"/>
                    <a:pt x="1090" y="1176"/>
                  </a:cubicBezTo>
                  <a:cubicBezTo>
                    <a:pt x="1090" y="1176"/>
                    <a:pt x="1090" y="1176"/>
                    <a:pt x="1090" y="1176"/>
                  </a:cubicBezTo>
                  <a:lnTo>
                    <a:pt x="1089" y="1176"/>
                  </a:lnTo>
                  <a:close/>
                  <a:moveTo>
                    <a:pt x="1100" y="1182"/>
                  </a:moveTo>
                  <a:cubicBezTo>
                    <a:pt x="1101" y="1182"/>
                    <a:pt x="1101" y="1182"/>
                    <a:pt x="1101" y="1182"/>
                  </a:cubicBezTo>
                  <a:cubicBezTo>
                    <a:pt x="1101" y="1182"/>
                    <a:pt x="1101" y="1182"/>
                    <a:pt x="1101" y="1182"/>
                  </a:cubicBezTo>
                  <a:cubicBezTo>
                    <a:pt x="1101" y="1182"/>
                    <a:pt x="1101" y="1182"/>
                    <a:pt x="1101" y="1182"/>
                  </a:cubicBezTo>
                  <a:cubicBezTo>
                    <a:pt x="1101" y="1182"/>
                    <a:pt x="1101" y="1182"/>
                    <a:pt x="1101" y="1182"/>
                  </a:cubicBezTo>
                  <a:cubicBezTo>
                    <a:pt x="1101" y="1182"/>
                    <a:pt x="1101" y="1182"/>
                    <a:pt x="1101" y="1182"/>
                  </a:cubicBezTo>
                  <a:cubicBezTo>
                    <a:pt x="1101" y="1182"/>
                    <a:pt x="1101" y="1182"/>
                    <a:pt x="1101" y="1182"/>
                  </a:cubicBezTo>
                  <a:cubicBezTo>
                    <a:pt x="1101" y="1182"/>
                    <a:pt x="1101" y="1182"/>
                    <a:pt x="1101" y="1182"/>
                  </a:cubicBezTo>
                  <a:cubicBezTo>
                    <a:pt x="1101" y="1182"/>
                    <a:pt x="1101" y="1182"/>
                    <a:pt x="1101" y="1182"/>
                  </a:cubicBezTo>
                  <a:cubicBezTo>
                    <a:pt x="1100" y="1182"/>
                    <a:pt x="1100" y="1182"/>
                    <a:pt x="1100" y="1182"/>
                  </a:cubicBezTo>
                  <a:cubicBezTo>
                    <a:pt x="1100" y="1182"/>
                    <a:pt x="1100" y="1182"/>
                    <a:pt x="1100" y="1182"/>
                  </a:cubicBezTo>
                  <a:close/>
                  <a:moveTo>
                    <a:pt x="1104" y="1101"/>
                  </a:moveTo>
                  <a:cubicBezTo>
                    <a:pt x="1103" y="1100"/>
                    <a:pt x="1103" y="1100"/>
                    <a:pt x="1103" y="1100"/>
                  </a:cubicBezTo>
                  <a:cubicBezTo>
                    <a:pt x="1102" y="1099"/>
                    <a:pt x="1102" y="1099"/>
                    <a:pt x="1102" y="1099"/>
                  </a:cubicBezTo>
                  <a:cubicBezTo>
                    <a:pt x="1102" y="1099"/>
                    <a:pt x="1102" y="1099"/>
                    <a:pt x="1102" y="1099"/>
                  </a:cubicBezTo>
                  <a:cubicBezTo>
                    <a:pt x="1103" y="1099"/>
                    <a:pt x="1103" y="1099"/>
                    <a:pt x="1103" y="1099"/>
                  </a:cubicBezTo>
                  <a:cubicBezTo>
                    <a:pt x="1104" y="1099"/>
                    <a:pt x="1104" y="1099"/>
                    <a:pt x="1104" y="1099"/>
                  </a:cubicBezTo>
                  <a:cubicBezTo>
                    <a:pt x="1104" y="1100"/>
                    <a:pt x="1104" y="1100"/>
                    <a:pt x="1104" y="1100"/>
                  </a:cubicBezTo>
                  <a:cubicBezTo>
                    <a:pt x="1105" y="1100"/>
                    <a:pt x="1105" y="1100"/>
                    <a:pt x="1105" y="1100"/>
                  </a:cubicBezTo>
                  <a:cubicBezTo>
                    <a:pt x="1105" y="1101"/>
                    <a:pt x="1105" y="1101"/>
                    <a:pt x="1105" y="1101"/>
                  </a:cubicBezTo>
                  <a:lnTo>
                    <a:pt x="1104" y="1101"/>
                  </a:lnTo>
                  <a:close/>
                  <a:moveTo>
                    <a:pt x="1112" y="1106"/>
                  </a:moveTo>
                  <a:cubicBezTo>
                    <a:pt x="1111" y="1105"/>
                    <a:pt x="1111" y="1105"/>
                    <a:pt x="1111" y="1105"/>
                  </a:cubicBezTo>
                  <a:cubicBezTo>
                    <a:pt x="1110" y="1101"/>
                    <a:pt x="1110" y="1101"/>
                    <a:pt x="1110" y="1101"/>
                  </a:cubicBezTo>
                  <a:cubicBezTo>
                    <a:pt x="1110" y="1100"/>
                    <a:pt x="1110" y="1100"/>
                    <a:pt x="1110" y="1100"/>
                  </a:cubicBezTo>
                  <a:cubicBezTo>
                    <a:pt x="1111" y="1100"/>
                    <a:pt x="1111" y="1100"/>
                    <a:pt x="1111" y="1100"/>
                  </a:cubicBezTo>
                  <a:cubicBezTo>
                    <a:pt x="1112" y="1101"/>
                    <a:pt x="1112" y="1101"/>
                    <a:pt x="1112" y="1101"/>
                  </a:cubicBezTo>
                  <a:cubicBezTo>
                    <a:pt x="1114" y="1106"/>
                    <a:pt x="1114" y="1106"/>
                    <a:pt x="1114" y="1106"/>
                  </a:cubicBezTo>
                  <a:cubicBezTo>
                    <a:pt x="1115" y="1107"/>
                    <a:pt x="1115" y="1107"/>
                    <a:pt x="1115" y="1107"/>
                  </a:cubicBezTo>
                  <a:cubicBezTo>
                    <a:pt x="1119" y="1109"/>
                    <a:pt x="1119" y="1109"/>
                    <a:pt x="1119" y="1109"/>
                  </a:cubicBezTo>
                  <a:cubicBezTo>
                    <a:pt x="1118" y="1109"/>
                    <a:pt x="1118" y="1109"/>
                    <a:pt x="1118" y="1109"/>
                  </a:cubicBezTo>
                  <a:lnTo>
                    <a:pt x="1112" y="1106"/>
                  </a:lnTo>
                  <a:close/>
                  <a:moveTo>
                    <a:pt x="1138" y="1047"/>
                  </a:moveTo>
                  <a:cubicBezTo>
                    <a:pt x="1137" y="1048"/>
                    <a:pt x="1137" y="1048"/>
                    <a:pt x="1137" y="1048"/>
                  </a:cubicBezTo>
                  <a:cubicBezTo>
                    <a:pt x="1136" y="1048"/>
                    <a:pt x="1136" y="1048"/>
                    <a:pt x="1136" y="1048"/>
                  </a:cubicBezTo>
                  <a:cubicBezTo>
                    <a:pt x="1135" y="1048"/>
                    <a:pt x="1135" y="1048"/>
                    <a:pt x="1135" y="1048"/>
                  </a:cubicBezTo>
                  <a:cubicBezTo>
                    <a:pt x="1131" y="1047"/>
                    <a:pt x="1131" y="1047"/>
                    <a:pt x="1131" y="1047"/>
                  </a:cubicBezTo>
                  <a:cubicBezTo>
                    <a:pt x="1129" y="1046"/>
                    <a:pt x="1129" y="1046"/>
                    <a:pt x="1129" y="1046"/>
                  </a:cubicBezTo>
                  <a:cubicBezTo>
                    <a:pt x="1126" y="1045"/>
                    <a:pt x="1126" y="1045"/>
                    <a:pt x="1126" y="1045"/>
                  </a:cubicBezTo>
                  <a:cubicBezTo>
                    <a:pt x="1125" y="1044"/>
                    <a:pt x="1125" y="1044"/>
                    <a:pt x="1125" y="1044"/>
                  </a:cubicBezTo>
                  <a:cubicBezTo>
                    <a:pt x="1125" y="1044"/>
                    <a:pt x="1125" y="1044"/>
                    <a:pt x="1125" y="1044"/>
                  </a:cubicBezTo>
                  <a:cubicBezTo>
                    <a:pt x="1124" y="1044"/>
                    <a:pt x="1124" y="1044"/>
                    <a:pt x="1124" y="1044"/>
                  </a:cubicBezTo>
                  <a:cubicBezTo>
                    <a:pt x="1124" y="1043"/>
                    <a:pt x="1124" y="1043"/>
                    <a:pt x="1124" y="1043"/>
                  </a:cubicBezTo>
                  <a:cubicBezTo>
                    <a:pt x="1124" y="1044"/>
                    <a:pt x="1124" y="1044"/>
                    <a:pt x="1124" y="1044"/>
                  </a:cubicBezTo>
                  <a:cubicBezTo>
                    <a:pt x="1125" y="1044"/>
                    <a:pt x="1125" y="1044"/>
                    <a:pt x="1125" y="1044"/>
                  </a:cubicBezTo>
                  <a:cubicBezTo>
                    <a:pt x="1126" y="1044"/>
                    <a:pt x="1126" y="1044"/>
                    <a:pt x="1126" y="1044"/>
                  </a:cubicBezTo>
                  <a:cubicBezTo>
                    <a:pt x="1128" y="1045"/>
                    <a:pt x="1128" y="1045"/>
                    <a:pt x="1128" y="1045"/>
                  </a:cubicBezTo>
                  <a:cubicBezTo>
                    <a:pt x="1131" y="1046"/>
                    <a:pt x="1131" y="1046"/>
                    <a:pt x="1131" y="1046"/>
                  </a:cubicBezTo>
                  <a:cubicBezTo>
                    <a:pt x="1135" y="1047"/>
                    <a:pt x="1135" y="1047"/>
                    <a:pt x="1135" y="1047"/>
                  </a:cubicBezTo>
                  <a:cubicBezTo>
                    <a:pt x="1136" y="1047"/>
                    <a:pt x="1136" y="1047"/>
                    <a:pt x="1136" y="1047"/>
                  </a:cubicBezTo>
                  <a:cubicBezTo>
                    <a:pt x="1137" y="1047"/>
                    <a:pt x="1137" y="1047"/>
                    <a:pt x="1137" y="1047"/>
                  </a:cubicBezTo>
                  <a:cubicBezTo>
                    <a:pt x="1137" y="1047"/>
                    <a:pt x="1137" y="1047"/>
                    <a:pt x="1137" y="1047"/>
                  </a:cubicBezTo>
                  <a:cubicBezTo>
                    <a:pt x="1137" y="1047"/>
                    <a:pt x="1137" y="1047"/>
                    <a:pt x="1137" y="1047"/>
                  </a:cubicBezTo>
                  <a:cubicBezTo>
                    <a:pt x="1138" y="1047"/>
                    <a:pt x="1138" y="1047"/>
                    <a:pt x="1138" y="1047"/>
                  </a:cubicBezTo>
                  <a:close/>
                  <a:moveTo>
                    <a:pt x="1140" y="1044"/>
                  </a:moveTo>
                  <a:cubicBezTo>
                    <a:pt x="1139" y="1044"/>
                    <a:pt x="1139" y="1044"/>
                    <a:pt x="1139" y="1044"/>
                  </a:cubicBezTo>
                  <a:cubicBezTo>
                    <a:pt x="1139" y="1044"/>
                    <a:pt x="1139" y="1044"/>
                    <a:pt x="1139" y="1044"/>
                  </a:cubicBezTo>
                  <a:cubicBezTo>
                    <a:pt x="1138" y="1044"/>
                    <a:pt x="1138" y="1044"/>
                    <a:pt x="1138" y="1044"/>
                  </a:cubicBezTo>
                  <a:cubicBezTo>
                    <a:pt x="1138" y="1044"/>
                    <a:pt x="1138" y="1044"/>
                    <a:pt x="1138" y="1044"/>
                  </a:cubicBezTo>
                  <a:cubicBezTo>
                    <a:pt x="1138" y="1045"/>
                    <a:pt x="1138" y="1045"/>
                    <a:pt x="1138" y="1045"/>
                  </a:cubicBezTo>
                  <a:cubicBezTo>
                    <a:pt x="1137" y="1046"/>
                    <a:pt x="1137" y="1046"/>
                    <a:pt x="1137" y="1046"/>
                  </a:cubicBezTo>
                  <a:cubicBezTo>
                    <a:pt x="1137" y="1046"/>
                    <a:pt x="1137" y="1046"/>
                    <a:pt x="1137" y="1046"/>
                  </a:cubicBezTo>
                  <a:cubicBezTo>
                    <a:pt x="1137" y="1046"/>
                    <a:pt x="1137" y="1046"/>
                    <a:pt x="1137" y="1046"/>
                  </a:cubicBezTo>
                  <a:cubicBezTo>
                    <a:pt x="1137" y="1046"/>
                    <a:pt x="1137" y="1046"/>
                    <a:pt x="1137" y="1046"/>
                  </a:cubicBezTo>
                  <a:cubicBezTo>
                    <a:pt x="1136" y="1046"/>
                    <a:pt x="1136" y="1046"/>
                    <a:pt x="1136" y="1046"/>
                  </a:cubicBezTo>
                  <a:cubicBezTo>
                    <a:pt x="1136" y="1046"/>
                    <a:pt x="1136" y="1046"/>
                    <a:pt x="1136" y="1046"/>
                  </a:cubicBezTo>
                  <a:cubicBezTo>
                    <a:pt x="1136" y="1045"/>
                    <a:pt x="1136" y="1045"/>
                    <a:pt x="1136" y="1045"/>
                  </a:cubicBezTo>
                  <a:cubicBezTo>
                    <a:pt x="1136" y="1045"/>
                    <a:pt x="1136" y="1045"/>
                    <a:pt x="1136" y="1045"/>
                  </a:cubicBezTo>
                  <a:cubicBezTo>
                    <a:pt x="1137" y="1045"/>
                    <a:pt x="1137" y="1045"/>
                    <a:pt x="1137" y="1045"/>
                  </a:cubicBezTo>
                  <a:cubicBezTo>
                    <a:pt x="1137" y="1044"/>
                    <a:pt x="1137" y="1044"/>
                    <a:pt x="1137" y="1044"/>
                  </a:cubicBezTo>
                  <a:cubicBezTo>
                    <a:pt x="1137" y="1043"/>
                    <a:pt x="1137" y="1043"/>
                    <a:pt x="1137" y="1043"/>
                  </a:cubicBezTo>
                  <a:cubicBezTo>
                    <a:pt x="1138" y="1043"/>
                    <a:pt x="1138" y="1043"/>
                    <a:pt x="1138" y="1043"/>
                  </a:cubicBezTo>
                  <a:cubicBezTo>
                    <a:pt x="1138" y="1043"/>
                    <a:pt x="1138" y="1043"/>
                    <a:pt x="1138" y="1043"/>
                  </a:cubicBezTo>
                  <a:cubicBezTo>
                    <a:pt x="1139" y="1044"/>
                    <a:pt x="1139" y="1044"/>
                    <a:pt x="1139" y="1044"/>
                  </a:cubicBezTo>
                  <a:cubicBezTo>
                    <a:pt x="1140" y="1044"/>
                    <a:pt x="1140" y="1044"/>
                    <a:pt x="1140" y="1044"/>
                  </a:cubicBezTo>
                  <a:cubicBezTo>
                    <a:pt x="1140" y="1044"/>
                    <a:pt x="1140" y="1044"/>
                    <a:pt x="1140" y="1044"/>
                  </a:cubicBezTo>
                  <a:cubicBezTo>
                    <a:pt x="1141" y="1045"/>
                    <a:pt x="1141" y="1045"/>
                    <a:pt x="1141" y="1045"/>
                  </a:cubicBezTo>
                  <a:cubicBezTo>
                    <a:pt x="1140" y="1045"/>
                    <a:pt x="1140" y="1045"/>
                    <a:pt x="1140" y="1045"/>
                  </a:cubicBezTo>
                  <a:lnTo>
                    <a:pt x="1140" y="1044"/>
                  </a:lnTo>
                  <a:close/>
                  <a:moveTo>
                    <a:pt x="1163" y="1042"/>
                  </a:moveTo>
                  <a:cubicBezTo>
                    <a:pt x="1163" y="1042"/>
                    <a:pt x="1163" y="1042"/>
                    <a:pt x="1163" y="1042"/>
                  </a:cubicBezTo>
                  <a:cubicBezTo>
                    <a:pt x="1163" y="1042"/>
                    <a:pt x="1163" y="1042"/>
                    <a:pt x="1163" y="1042"/>
                  </a:cubicBezTo>
                  <a:cubicBezTo>
                    <a:pt x="1163" y="1042"/>
                    <a:pt x="1163" y="1042"/>
                    <a:pt x="1163" y="1042"/>
                  </a:cubicBezTo>
                  <a:close/>
                  <a:moveTo>
                    <a:pt x="1162" y="1041"/>
                  </a:moveTo>
                  <a:cubicBezTo>
                    <a:pt x="1162" y="1041"/>
                    <a:pt x="1162" y="1041"/>
                    <a:pt x="1162" y="1041"/>
                  </a:cubicBezTo>
                  <a:cubicBezTo>
                    <a:pt x="1161" y="1041"/>
                    <a:pt x="1161" y="1041"/>
                    <a:pt x="1161" y="1041"/>
                  </a:cubicBezTo>
                  <a:cubicBezTo>
                    <a:pt x="1157" y="1039"/>
                    <a:pt x="1157" y="1039"/>
                    <a:pt x="1157" y="1039"/>
                  </a:cubicBezTo>
                  <a:cubicBezTo>
                    <a:pt x="1155" y="1039"/>
                    <a:pt x="1155" y="1039"/>
                    <a:pt x="1155" y="1039"/>
                  </a:cubicBezTo>
                  <a:cubicBezTo>
                    <a:pt x="1154" y="1039"/>
                    <a:pt x="1154" y="1039"/>
                    <a:pt x="1154" y="1039"/>
                  </a:cubicBezTo>
                  <a:cubicBezTo>
                    <a:pt x="1154" y="1039"/>
                    <a:pt x="1154" y="1039"/>
                    <a:pt x="1154" y="1039"/>
                  </a:cubicBezTo>
                  <a:cubicBezTo>
                    <a:pt x="1154" y="1039"/>
                    <a:pt x="1154" y="1039"/>
                    <a:pt x="1154" y="1039"/>
                  </a:cubicBezTo>
                  <a:cubicBezTo>
                    <a:pt x="1153" y="1039"/>
                    <a:pt x="1153" y="1039"/>
                    <a:pt x="1153" y="1039"/>
                  </a:cubicBezTo>
                  <a:cubicBezTo>
                    <a:pt x="1153" y="1039"/>
                    <a:pt x="1153" y="1039"/>
                    <a:pt x="1153" y="1039"/>
                  </a:cubicBezTo>
                  <a:cubicBezTo>
                    <a:pt x="1153" y="1039"/>
                    <a:pt x="1153" y="1039"/>
                    <a:pt x="1153" y="1039"/>
                  </a:cubicBezTo>
                  <a:cubicBezTo>
                    <a:pt x="1153" y="1039"/>
                    <a:pt x="1153" y="1039"/>
                    <a:pt x="1153" y="1039"/>
                  </a:cubicBezTo>
                  <a:cubicBezTo>
                    <a:pt x="1152" y="1039"/>
                    <a:pt x="1152" y="1039"/>
                    <a:pt x="1152" y="1039"/>
                  </a:cubicBezTo>
                  <a:cubicBezTo>
                    <a:pt x="1152" y="1039"/>
                    <a:pt x="1152" y="1039"/>
                    <a:pt x="1152" y="1039"/>
                  </a:cubicBezTo>
                  <a:cubicBezTo>
                    <a:pt x="1151" y="1039"/>
                    <a:pt x="1151" y="1039"/>
                    <a:pt x="1151" y="1039"/>
                  </a:cubicBezTo>
                  <a:cubicBezTo>
                    <a:pt x="1151" y="1039"/>
                    <a:pt x="1151" y="1039"/>
                    <a:pt x="1151" y="1039"/>
                  </a:cubicBezTo>
                  <a:cubicBezTo>
                    <a:pt x="1150" y="1040"/>
                    <a:pt x="1150" y="1040"/>
                    <a:pt x="1150" y="1040"/>
                  </a:cubicBezTo>
                  <a:cubicBezTo>
                    <a:pt x="1150" y="1040"/>
                    <a:pt x="1150" y="1040"/>
                    <a:pt x="1150" y="1040"/>
                  </a:cubicBezTo>
                  <a:cubicBezTo>
                    <a:pt x="1149" y="1041"/>
                    <a:pt x="1149" y="1041"/>
                    <a:pt x="1149" y="1041"/>
                  </a:cubicBezTo>
                  <a:cubicBezTo>
                    <a:pt x="1149" y="1041"/>
                    <a:pt x="1149" y="1041"/>
                    <a:pt x="1149" y="1041"/>
                  </a:cubicBezTo>
                  <a:cubicBezTo>
                    <a:pt x="1149" y="1041"/>
                    <a:pt x="1149" y="1041"/>
                    <a:pt x="1149" y="1041"/>
                  </a:cubicBezTo>
                  <a:cubicBezTo>
                    <a:pt x="1149" y="1041"/>
                    <a:pt x="1149" y="1041"/>
                    <a:pt x="1149" y="1041"/>
                  </a:cubicBezTo>
                  <a:cubicBezTo>
                    <a:pt x="1148" y="1041"/>
                    <a:pt x="1148" y="1041"/>
                    <a:pt x="1148" y="1041"/>
                  </a:cubicBezTo>
                  <a:cubicBezTo>
                    <a:pt x="1148" y="1042"/>
                    <a:pt x="1148" y="1042"/>
                    <a:pt x="1148" y="1042"/>
                  </a:cubicBezTo>
                  <a:cubicBezTo>
                    <a:pt x="1147" y="1042"/>
                    <a:pt x="1147" y="1042"/>
                    <a:pt x="1147" y="1042"/>
                  </a:cubicBezTo>
                  <a:cubicBezTo>
                    <a:pt x="1146" y="1042"/>
                    <a:pt x="1146" y="1042"/>
                    <a:pt x="1146" y="1042"/>
                  </a:cubicBezTo>
                  <a:cubicBezTo>
                    <a:pt x="1145" y="1043"/>
                    <a:pt x="1145" y="1043"/>
                    <a:pt x="1145" y="1043"/>
                  </a:cubicBezTo>
                  <a:cubicBezTo>
                    <a:pt x="1144" y="1044"/>
                    <a:pt x="1144" y="1044"/>
                    <a:pt x="1144" y="1044"/>
                  </a:cubicBezTo>
                  <a:cubicBezTo>
                    <a:pt x="1143" y="1044"/>
                    <a:pt x="1143" y="1044"/>
                    <a:pt x="1143" y="1044"/>
                  </a:cubicBezTo>
                  <a:cubicBezTo>
                    <a:pt x="1143" y="1044"/>
                    <a:pt x="1143" y="1044"/>
                    <a:pt x="1143" y="1044"/>
                  </a:cubicBezTo>
                  <a:cubicBezTo>
                    <a:pt x="1143" y="1044"/>
                    <a:pt x="1143" y="1044"/>
                    <a:pt x="1143" y="1044"/>
                  </a:cubicBezTo>
                  <a:cubicBezTo>
                    <a:pt x="1143" y="1044"/>
                    <a:pt x="1143" y="1044"/>
                    <a:pt x="1143" y="1044"/>
                  </a:cubicBezTo>
                  <a:cubicBezTo>
                    <a:pt x="1143" y="1045"/>
                    <a:pt x="1143" y="1045"/>
                    <a:pt x="1143" y="1045"/>
                  </a:cubicBezTo>
                  <a:cubicBezTo>
                    <a:pt x="1143" y="1045"/>
                    <a:pt x="1143" y="1045"/>
                    <a:pt x="1143" y="1045"/>
                  </a:cubicBezTo>
                  <a:cubicBezTo>
                    <a:pt x="1142" y="1046"/>
                    <a:pt x="1142" y="1046"/>
                    <a:pt x="1142" y="1046"/>
                  </a:cubicBezTo>
                  <a:cubicBezTo>
                    <a:pt x="1141" y="1045"/>
                    <a:pt x="1141" y="1045"/>
                    <a:pt x="1141" y="1045"/>
                  </a:cubicBezTo>
                  <a:cubicBezTo>
                    <a:pt x="1141" y="1045"/>
                    <a:pt x="1141" y="1045"/>
                    <a:pt x="1141" y="1045"/>
                  </a:cubicBezTo>
                  <a:cubicBezTo>
                    <a:pt x="1141" y="1045"/>
                    <a:pt x="1141" y="1045"/>
                    <a:pt x="1141" y="1045"/>
                  </a:cubicBezTo>
                  <a:cubicBezTo>
                    <a:pt x="1142" y="1045"/>
                    <a:pt x="1142" y="1045"/>
                    <a:pt x="1142" y="1045"/>
                  </a:cubicBezTo>
                  <a:cubicBezTo>
                    <a:pt x="1142" y="1045"/>
                    <a:pt x="1142" y="1045"/>
                    <a:pt x="1142" y="1045"/>
                  </a:cubicBezTo>
                  <a:cubicBezTo>
                    <a:pt x="1142" y="1044"/>
                    <a:pt x="1142" y="1044"/>
                    <a:pt x="1142" y="1044"/>
                  </a:cubicBezTo>
                  <a:cubicBezTo>
                    <a:pt x="1142" y="1043"/>
                    <a:pt x="1142" y="1043"/>
                    <a:pt x="1142" y="1043"/>
                  </a:cubicBezTo>
                  <a:cubicBezTo>
                    <a:pt x="1143" y="1043"/>
                    <a:pt x="1143" y="1043"/>
                    <a:pt x="1143" y="1043"/>
                  </a:cubicBezTo>
                  <a:cubicBezTo>
                    <a:pt x="1143" y="1043"/>
                    <a:pt x="1143" y="1043"/>
                    <a:pt x="1143" y="1043"/>
                  </a:cubicBezTo>
                  <a:cubicBezTo>
                    <a:pt x="1144" y="1043"/>
                    <a:pt x="1144" y="1043"/>
                    <a:pt x="1144" y="1043"/>
                  </a:cubicBezTo>
                  <a:cubicBezTo>
                    <a:pt x="1144" y="1043"/>
                    <a:pt x="1144" y="1043"/>
                    <a:pt x="1144" y="1043"/>
                  </a:cubicBezTo>
                  <a:cubicBezTo>
                    <a:pt x="1145" y="1042"/>
                    <a:pt x="1145" y="1042"/>
                    <a:pt x="1145" y="1042"/>
                  </a:cubicBezTo>
                  <a:cubicBezTo>
                    <a:pt x="1147" y="1041"/>
                    <a:pt x="1147" y="1041"/>
                    <a:pt x="1147" y="1041"/>
                  </a:cubicBezTo>
                  <a:cubicBezTo>
                    <a:pt x="1147" y="1041"/>
                    <a:pt x="1147" y="1041"/>
                    <a:pt x="1147" y="1041"/>
                  </a:cubicBezTo>
                  <a:cubicBezTo>
                    <a:pt x="1148" y="1041"/>
                    <a:pt x="1148" y="1041"/>
                    <a:pt x="1148" y="1041"/>
                  </a:cubicBezTo>
                  <a:cubicBezTo>
                    <a:pt x="1148" y="1040"/>
                    <a:pt x="1148" y="1040"/>
                    <a:pt x="1148" y="1040"/>
                  </a:cubicBezTo>
                  <a:cubicBezTo>
                    <a:pt x="1149" y="1040"/>
                    <a:pt x="1149" y="1040"/>
                    <a:pt x="1149" y="1040"/>
                  </a:cubicBezTo>
                  <a:cubicBezTo>
                    <a:pt x="1149" y="1040"/>
                    <a:pt x="1149" y="1040"/>
                    <a:pt x="1149" y="1040"/>
                  </a:cubicBezTo>
                  <a:cubicBezTo>
                    <a:pt x="1149" y="1040"/>
                    <a:pt x="1149" y="1040"/>
                    <a:pt x="1149" y="1040"/>
                  </a:cubicBezTo>
                  <a:cubicBezTo>
                    <a:pt x="1149" y="1040"/>
                    <a:pt x="1149" y="1040"/>
                    <a:pt x="1149" y="1040"/>
                  </a:cubicBezTo>
                  <a:cubicBezTo>
                    <a:pt x="1150" y="1039"/>
                    <a:pt x="1150" y="1039"/>
                    <a:pt x="1150" y="1039"/>
                  </a:cubicBezTo>
                  <a:cubicBezTo>
                    <a:pt x="1150" y="1039"/>
                    <a:pt x="1150" y="1039"/>
                    <a:pt x="1150" y="1039"/>
                  </a:cubicBezTo>
                  <a:cubicBezTo>
                    <a:pt x="1151" y="1039"/>
                    <a:pt x="1151" y="1039"/>
                    <a:pt x="1151" y="1039"/>
                  </a:cubicBezTo>
                  <a:cubicBezTo>
                    <a:pt x="1151" y="1039"/>
                    <a:pt x="1151" y="1039"/>
                    <a:pt x="1151" y="1039"/>
                  </a:cubicBezTo>
                  <a:cubicBezTo>
                    <a:pt x="1152" y="1039"/>
                    <a:pt x="1152" y="1039"/>
                    <a:pt x="1152" y="1039"/>
                  </a:cubicBezTo>
                  <a:cubicBezTo>
                    <a:pt x="1152" y="1039"/>
                    <a:pt x="1152" y="1039"/>
                    <a:pt x="1152" y="1039"/>
                  </a:cubicBezTo>
                  <a:cubicBezTo>
                    <a:pt x="1152" y="1039"/>
                    <a:pt x="1152" y="1039"/>
                    <a:pt x="1152" y="1039"/>
                  </a:cubicBezTo>
                  <a:cubicBezTo>
                    <a:pt x="1153" y="1039"/>
                    <a:pt x="1153" y="1039"/>
                    <a:pt x="1153" y="1039"/>
                  </a:cubicBezTo>
                  <a:cubicBezTo>
                    <a:pt x="1153" y="1038"/>
                    <a:pt x="1153" y="1038"/>
                    <a:pt x="1153" y="1038"/>
                  </a:cubicBezTo>
                  <a:cubicBezTo>
                    <a:pt x="1153" y="1038"/>
                    <a:pt x="1153" y="1038"/>
                    <a:pt x="1153" y="1038"/>
                  </a:cubicBezTo>
                  <a:cubicBezTo>
                    <a:pt x="1153" y="1038"/>
                    <a:pt x="1153" y="1038"/>
                    <a:pt x="1153" y="1038"/>
                  </a:cubicBezTo>
                  <a:cubicBezTo>
                    <a:pt x="1154" y="1038"/>
                    <a:pt x="1154" y="1038"/>
                    <a:pt x="1154" y="1038"/>
                  </a:cubicBezTo>
                  <a:cubicBezTo>
                    <a:pt x="1154" y="1038"/>
                    <a:pt x="1154" y="1038"/>
                    <a:pt x="1154" y="1038"/>
                  </a:cubicBezTo>
                  <a:cubicBezTo>
                    <a:pt x="1156" y="1039"/>
                    <a:pt x="1156" y="1039"/>
                    <a:pt x="1156" y="1039"/>
                  </a:cubicBezTo>
                  <a:cubicBezTo>
                    <a:pt x="1160" y="1040"/>
                    <a:pt x="1160" y="1040"/>
                    <a:pt x="1160" y="1040"/>
                  </a:cubicBezTo>
                  <a:lnTo>
                    <a:pt x="1162" y="1041"/>
                  </a:lnTo>
                  <a:close/>
                  <a:moveTo>
                    <a:pt x="1164" y="996"/>
                  </a:moveTo>
                  <a:cubicBezTo>
                    <a:pt x="1164" y="996"/>
                    <a:pt x="1164" y="996"/>
                    <a:pt x="1164" y="996"/>
                  </a:cubicBezTo>
                  <a:cubicBezTo>
                    <a:pt x="1163" y="996"/>
                    <a:pt x="1163" y="996"/>
                    <a:pt x="1163" y="996"/>
                  </a:cubicBezTo>
                  <a:cubicBezTo>
                    <a:pt x="1163" y="996"/>
                    <a:pt x="1163" y="996"/>
                    <a:pt x="1163" y="996"/>
                  </a:cubicBezTo>
                  <a:cubicBezTo>
                    <a:pt x="1163" y="997"/>
                    <a:pt x="1163" y="997"/>
                    <a:pt x="1163" y="997"/>
                  </a:cubicBezTo>
                  <a:cubicBezTo>
                    <a:pt x="1163" y="998"/>
                    <a:pt x="1163" y="998"/>
                    <a:pt x="1163" y="998"/>
                  </a:cubicBezTo>
                  <a:cubicBezTo>
                    <a:pt x="1162" y="999"/>
                    <a:pt x="1162" y="999"/>
                    <a:pt x="1162" y="999"/>
                  </a:cubicBezTo>
                  <a:cubicBezTo>
                    <a:pt x="1162" y="999"/>
                    <a:pt x="1162" y="999"/>
                    <a:pt x="1162" y="999"/>
                  </a:cubicBezTo>
                  <a:cubicBezTo>
                    <a:pt x="1161" y="999"/>
                    <a:pt x="1161" y="999"/>
                    <a:pt x="1161" y="999"/>
                  </a:cubicBezTo>
                  <a:cubicBezTo>
                    <a:pt x="1161" y="999"/>
                    <a:pt x="1161" y="999"/>
                    <a:pt x="1161" y="999"/>
                  </a:cubicBezTo>
                  <a:cubicBezTo>
                    <a:pt x="1161" y="998"/>
                    <a:pt x="1161" y="998"/>
                    <a:pt x="1161" y="998"/>
                  </a:cubicBezTo>
                  <a:cubicBezTo>
                    <a:pt x="1162" y="998"/>
                    <a:pt x="1162" y="998"/>
                    <a:pt x="1162" y="998"/>
                  </a:cubicBezTo>
                  <a:cubicBezTo>
                    <a:pt x="1162" y="996"/>
                    <a:pt x="1162" y="996"/>
                    <a:pt x="1162" y="996"/>
                  </a:cubicBezTo>
                  <a:cubicBezTo>
                    <a:pt x="1162" y="996"/>
                    <a:pt x="1162" y="996"/>
                    <a:pt x="1162" y="996"/>
                  </a:cubicBezTo>
                  <a:cubicBezTo>
                    <a:pt x="1162" y="996"/>
                    <a:pt x="1162" y="996"/>
                    <a:pt x="1162" y="996"/>
                  </a:cubicBezTo>
                  <a:cubicBezTo>
                    <a:pt x="1163" y="996"/>
                    <a:pt x="1163" y="996"/>
                    <a:pt x="1163" y="996"/>
                  </a:cubicBezTo>
                  <a:cubicBezTo>
                    <a:pt x="1163" y="995"/>
                    <a:pt x="1163" y="995"/>
                    <a:pt x="1163" y="995"/>
                  </a:cubicBezTo>
                  <a:cubicBezTo>
                    <a:pt x="1163" y="994"/>
                    <a:pt x="1163" y="994"/>
                    <a:pt x="1163" y="994"/>
                  </a:cubicBezTo>
                  <a:cubicBezTo>
                    <a:pt x="1164" y="995"/>
                    <a:pt x="1164" y="995"/>
                    <a:pt x="1164" y="995"/>
                  </a:cubicBezTo>
                  <a:cubicBezTo>
                    <a:pt x="1164" y="995"/>
                    <a:pt x="1164" y="995"/>
                    <a:pt x="1164" y="995"/>
                  </a:cubicBezTo>
                  <a:lnTo>
                    <a:pt x="1164" y="996"/>
                  </a:lnTo>
                  <a:close/>
                  <a:moveTo>
                    <a:pt x="1170" y="999"/>
                  </a:moveTo>
                  <a:cubicBezTo>
                    <a:pt x="1169" y="1000"/>
                    <a:pt x="1169" y="1000"/>
                    <a:pt x="1169" y="1000"/>
                  </a:cubicBezTo>
                  <a:cubicBezTo>
                    <a:pt x="1168" y="1000"/>
                    <a:pt x="1168" y="1000"/>
                    <a:pt x="1168" y="1000"/>
                  </a:cubicBezTo>
                  <a:cubicBezTo>
                    <a:pt x="1168" y="999"/>
                    <a:pt x="1168" y="999"/>
                    <a:pt x="1168" y="999"/>
                  </a:cubicBezTo>
                  <a:cubicBezTo>
                    <a:pt x="1168" y="999"/>
                    <a:pt x="1168" y="999"/>
                    <a:pt x="1168" y="999"/>
                  </a:cubicBezTo>
                  <a:cubicBezTo>
                    <a:pt x="1169" y="998"/>
                    <a:pt x="1169" y="998"/>
                    <a:pt x="1169" y="998"/>
                  </a:cubicBezTo>
                  <a:cubicBezTo>
                    <a:pt x="1169" y="998"/>
                    <a:pt x="1169" y="998"/>
                    <a:pt x="1169" y="998"/>
                  </a:cubicBezTo>
                  <a:cubicBezTo>
                    <a:pt x="1170" y="998"/>
                    <a:pt x="1170" y="998"/>
                    <a:pt x="1170" y="998"/>
                  </a:cubicBezTo>
                  <a:cubicBezTo>
                    <a:pt x="1170" y="998"/>
                    <a:pt x="1170" y="998"/>
                    <a:pt x="1170" y="998"/>
                  </a:cubicBezTo>
                  <a:lnTo>
                    <a:pt x="1170" y="999"/>
                  </a:lnTo>
                  <a:close/>
                  <a:moveTo>
                    <a:pt x="1176" y="997"/>
                  </a:moveTo>
                  <a:cubicBezTo>
                    <a:pt x="1176" y="998"/>
                    <a:pt x="1176" y="998"/>
                    <a:pt x="1176" y="998"/>
                  </a:cubicBezTo>
                  <a:cubicBezTo>
                    <a:pt x="1174" y="998"/>
                    <a:pt x="1174" y="998"/>
                    <a:pt x="1174" y="998"/>
                  </a:cubicBezTo>
                  <a:cubicBezTo>
                    <a:pt x="1174" y="998"/>
                    <a:pt x="1174" y="998"/>
                    <a:pt x="1174" y="998"/>
                  </a:cubicBezTo>
                  <a:cubicBezTo>
                    <a:pt x="1174" y="998"/>
                    <a:pt x="1174" y="998"/>
                    <a:pt x="1174" y="998"/>
                  </a:cubicBezTo>
                  <a:cubicBezTo>
                    <a:pt x="1175" y="998"/>
                    <a:pt x="1175" y="998"/>
                    <a:pt x="1175" y="998"/>
                  </a:cubicBezTo>
                  <a:cubicBezTo>
                    <a:pt x="1176" y="996"/>
                    <a:pt x="1176" y="996"/>
                    <a:pt x="1176" y="996"/>
                  </a:cubicBezTo>
                  <a:cubicBezTo>
                    <a:pt x="1175" y="996"/>
                    <a:pt x="1175" y="996"/>
                    <a:pt x="1175" y="996"/>
                  </a:cubicBezTo>
                  <a:cubicBezTo>
                    <a:pt x="1175" y="996"/>
                    <a:pt x="1175" y="996"/>
                    <a:pt x="1175" y="996"/>
                  </a:cubicBezTo>
                  <a:cubicBezTo>
                    <a:pt x="1174" y="996"/>
                    <a:pt x="1174" y="996"/>
                    <a:pt x="1174" y="996"/>
                  </a:cubicBezTo>
                  <a:cubicBezTo>
                    <a:pt x="1174" y="996"/>
                    <a:pt x="1174" y="996"/>
                    <a:pt x="1174" y="996"/>
                  </a:cubicBezTo>
                  <a:cubicBezTo>
                    <a:pt x="1173" y="996"/>
                    <a:pt x="1173" y="996"/>
                    <a:pt x="1173" y="996"/>
                  </a:cubicBezTo>
                  <a:cubicBezTo>
                    <a:pt x="1172" y="995"/>
                    <a:pt x="1172" y="995"/>
                    <a:pt x="1172" y="995"/>
                  </a:cubicBezTo>
                  <a:cubicBezTo>
                    <a:pt x="1172" y="994"/>
                    <a:pt x="1172" y="994"/>
                    <a:pt x="1172" y="994"/>
                  </a:cubicBezTo>
                  <a:cubicBezTo>
                    <a:pt x="1172" y="993"/>
                    <a:pt x="1172" y="993"/>
                    <a:pt x="1172" y="993"/>
                  </a:cubicBezTo>
                  <a:cubicBezTo>
                    <a:pt x="1172" y="993"/>
                    <a:pt x="1172" y="993"/>
                    <a:pt x="1172" y="993"/>
                  </a:cubicBezTo>
                  <a:cubicBezTo>
                    <a:pt x="1172" y="993"/>
                    <a:pt x="1172" y="993"/>
                    <a:pt x="1172" y="993"/>
                  </a:cubicBezTo>
                  <a:cubicBezTo>
                    <a:pt x="1171" y="993"/>
                    <a:pt x="1171" y="993"/>
                    <a:pt x="1171" y="993"/>
                  </a:cubicBezTo>
                  <a:cubicBezTo>
                    <a:pt x="1171" y="993"/>
                    <a:pt x="1171" y="993"/>
                    <a:pt x="1171" y="993"/>
                  </a:cubicBezTo>
                  <a:cubicBezTo>
                    <a:pt x="1171" y="993"/>
                    <a:pt x="1171" y="993"/>
                    <a:pt x="1171" y="993"/>
                  </a:cubicBezTo>
                  <a:cubicBezTo>
                    <a:pt x="1171" y="993"/>
                    <a:pt x="1171" y="993"/>
                    <a:pt x="1171" y="993"/>
                  </a:cubicBezTo>
                  <a:cubicBezTo>
                    <a:pt x="1171" y="993"/>
                    <a:pt x="1171" y="993"/>
                    <a:pt x="1171" y="993"/>
                  </a:cubicBezTo>
                  <a:cubicBezTo>
                    <a:pt x="1169" y="992"/>
                    <a:pt x="1169" y="992"/>
                    <a:pt x="1169" y="992"/>
                  </a:cubicBezTo>
                  <a:cubicBezTo>
                    <a:pt x="1169" y="992"/>
                    <a:pt x="1169" y="992"/>
                    <a:pt x="1169" y="992"/>
                  </a:cubicBezTo>
                  <a:cubicBezTo>
                    <a:pt x="1169" y="991"/>
                    <a:pt x="1169" y="991"/>
                    <a:pt x="1169" y="991"/>
                  </a:cubicBezTo>
                  <a:cubicBezTo>
                    <a:pt x="1169" y="991"/>
                    <a:pt x="1169" y="991"/>
                    <a:pt x="1169" y="991"/>
                  </a:cubicBezTo>
                  <a:cubicBezTo>
                    <a:pt x="1170" y="990"/>
                    <a:pt x="1170" y="990"/>
                    <a:pt x="1170" y="990"/>
                  </a:cubicBezTo>
                  <a:cubicBezTo>
                    <a:pt x="1170" y="990"/>
                    <a:pt x="1170" y="990"/>
                    <a:pt x="1170" y="990"/>
                  </a:cubicBezTo>
                  <a:cubicBezTo>
                    <a:pt x="1170" y="989"/>
                    <a:pt x="1170" y="989"/>
                    <a:pt x="1170" y="989"/>
                  </a:cubicBezTo>
                  <a:cubicBezTo>
                    <a:pt x="1170" y="988"/>
                    <a:pt x="1170" y="988"/>
                    <a:pt x="1170" y="988"/>
                  </a:cubicBezTo>
                  <a:cubicBezTo>
                    <a:pt x="1170" y="988"/>
                    <a:pt x="1170" y="988"/>
                    <a:pt x="1170" y="988"/>
                  </a:cubicBezTo>
                  <a:cubicBezTo>
                    <a:pt x="1170" y="987"/>
                    <a:pt x="1170" y="987"/>
                    <a:pt x="1170" y="987"/>
                  </a:cubicBezTo>
                  <a:cubicBezTo>
                    <a:pt x="1170" y="987"/>
                    <a:pt x="1170" y="987"/>
                    <a:pt x="1170" y="987"/>
                  </a:cubicBezTo>
                  <a:cubicBezTo>
                    <a:pt x="1170" y="986"/>
                    <a:pt x="1170" y="986"/>
                    <a:pt x="1170" y="986"/>
                  </a:cubicBezTo>
                  <a:cubicBezTo>
                    <a:pt x="1170" y="986"/>
                    <a:pt x="1170" y="986"/>
                    <a:pt x="1170" y="986"/>
                  </a:cubicBezTo>
                  <a:cubicBezTo>
                    <a:pt x="1170" y="983"/>
                    <a:pt x="1170" y="983"/>
                    <a:pt x="1170" y="983"/>
                  </a:cubicBezTo>
                  <a:cubicBezTo>
                    <a:pt x="1170" y="982"/>
                    <a:pt x="1170" y="982"/>
                    <a:pt x="1170" y="982"/>
                  </a:cubicBezTo>
                  <a:cubicBezTo>
                    <a:pt x="1170" y="982"/>
                    <a:pt x="1170" y="982"/>
                    <a:pt x="1170" y="982"/>
                  </a:cubicBezTo>
                  <a:cubicBezTo>
                    <a:pt x="1170" y="982"/>
                    <a:pt x="1170" y="982"/>
                    <a:pt x="1170" y="982"/>
                  </a:cubicBezTo>
                  <a:cubicBezTo>
                    <a:pt x="1170" y="981"/>
                    <a:pt x="1170" y="981"/>
                    <a:pt x="1170" y="981"/>
                  </a:cubicBezTo>
                  <a:cubicBezTo>
                    <a:pt x="1170" y="981"/>
                    <a:pt x="1170" y="981"/>
                    <a:pt x="1170" y="981"/>
                  </a:cubicBezTo>
                  <a:cubicBezTo>
                    <a:pt x="1170" y="980"/>
                    <a:pt x="1170" y="980"/>
                    <a:pt x="1170" y="980"/>
                  </a:cubicBezTo>
                  <a:cubicBezTo>
                    <a:pt x="1170" y="980"/>
                    <a:pt x="1170" y="980"/>
                    <a:pt x="1170" y="980"/>
                  </a:cubicBezTo>
                  <a:cubicBezTo>
                    <a:pt x="1169" y="980"/>
                    <a:pt x="1169" y="980"/>
                    <a:pt x="1169" y="980"/>
                  </a:cubicBezTo>
                  <a:cubicBezTo>
                    <a:pt x="1169" y="980"/>
                    <a:pt x="1169" y="980"/>
                    <a:pt x="1169" y="980"/>
                  </a:cubicBezTo>
                  <a:cubicBezTo>
                    <a:pt x="1169" y="980"/>
                    <a:pt x="1169" y="980"/>
                    <a:pt x="1169" y="980"/>
                  </a:cubicBezTo>
                  <a:cubicBezTo>
                    <a:pt x="1169" y="980"/>
                    <a:pt x="1169" y="980"/>
                    <a:pt x="1169" y="980"/>
                  </a:cubicBezTo>
                  <a:cubicBezTo>
                    <a:pt x="1168" y="980"/>
                    <a:pt x="1168" y="980"/>
                    <a:pt x="1168" y="980"/>
                  </a:cubicBezTo>
                  <a:cubicBezTo>
                    <a:pt x="1168" y="979"/>
                    <a:pt x="1168" y="979"/>
                    <a:pt x="1168" y="979"/>
                  </a:cubicBezTo>
                  <a:cubicBezTo>
                    <a:pt x="1168" y="978"/>
                    <a:pt x="1168" y="978"/>
                    <a:pt x="1168" y="978"/>
                  </a:cubicBezTo>
                  <a:cubicBezTo>
                    <a:pt x="1167" y="978"/>
                    <a:pt x="1167" y="978"/>
                    <a:pt x="1167" y="978"/>
                  </a:cubicBezTo>
                  <a:cubicBezTo>
                    <a:pt x="1166" y="978"/>
                    <a:pt x="1166" y="978"/>
                    <a:pt x="1166" y="978"/>
                  </a:cubicBezTo>
                  <a:cubicBezTo>
                    <a:pt x="1166" y="978"/>
                    <a:pt x="1166" y="978"/>
                    <a:pt x="1166" y="978"/>
                  </a:cubicBezTo>
                  <a:cubicBezTo>
                    <a:pt x="1164" y="978"/>
                    <a:pt x="1164" y="978"/>
                    <a:pt x="1164" y="978"/>
                  </a:cubicBezTo>
                  <a:cubicBezTo>
                    <a:pt x="1164" y="977"/>
                    <a:pt x="1164" y="977"/>
                    <a:pt x="1164" y="977"/>
                  </a:cubicBezTo>
                  <a:cubicBezTo>
                    <a:pt x="1163" y="976"/>
                    <a:pt x="1163" y="976"/>
                    <a:pt x="1163" y="976"/>
                  </a:cubicBezTo>
                  <a:cubicBezTo>
                    <a:pt x="1163" y="976"/>
                    <a:pt x="1163" y="976"/>
                    <a:pt x="1163" y="976"/>
                  </a:cubicBezTo>
                  <a:cubicBezTo>
                    <a:pt x="1162" y="975"/>
                    <a:pt x="1162" y="975"/>
                    <a:pt x="1162" y="975"/>
                  </a:cubicBezTo>
                  <a:cubicBezTo>
                    <a:pt x="1162" y="975"/>
                    <a:pt x="1162" y="975"/>
                    <a:pt x="1162" y="975"/>
                  </a:cubicBezTo>
                  <a:cubicBezTo>
                    <a:pt x="1161" y="975"/>
                    <a:pt x="1161" y="975"/>
                    <a:pt x="1161" y="975"/>
                  </a:cubicBezTo>
                  <a:cubicBezTo>
                    <a:pt x="1161" y="975"/>
                    <a:pt x="1161" y="975"/>
                    <a:pt x="1161" y="975"/>
                  </a:cubicBezTo>
                  <a:cubicBezTo>
                    <a:pt x="1160" y="974"/>
                    <a:pt x="1160" y="974"/>
                    <a:pt x="1160" y="974"/>
                  </a:cubicBezTo>
                  <a:cubicBezTo>
                    <a:pt x="1160" y="974"/>
                    <a:pt x="1160" y="974"/>
                    <a:pt x="1160" y="974"/>
                  </a:cubicBezTo>
                  <a:cubicBezTo>
                    <a:pt x="1159" y="974"/>
                    <a:pt x="1159" y="974"/>
                    <a:pt x="1159" y="974"/>
                  </a:cubicBezTo>
                  <a:cubicBezTo>
                    <a:pt x="1159" y="974"/>
                    <a:pt x="1159" y="974"/>
                    <a:pt x="1159" y="974"/>
                  </a:cubicBezTo>
                  <a:cubicBezTo>
                    <a:pt x="1159" y="974"/>
                    <a:pt x="1159" y="974"/>
                    <a:pt x="1159" y="974"/>
                  </a:cubicBezTo>
                  <a:cubicBezTo>
                    <a:pt x="1159" y="973"/>
                    <a:pt x="1159" y="973"/>
                    <a:pt x="1159" y="973"/>
                  </a:cubicBezTo>
                  <a:cubicBezTo>
                    <a:pt x="1159" y="973"/>
                    <a:pt x="1159" y="973"/>
                    <a:pt x="1159" y="973"/>
                  </a:cubicBezTo>
                  <a:cubicBezTo>
                    <a:pt x="1159" y="971"/>
                    <a:pt x="1159" y="971"/>
                    <a:pt x="1159" y="971"/>
                  </a:cubicBezTo>
                  <a:cubicBezTo>
                    <a:pt x="1160" y="970"/>
                    <a:pt x="1160" y="970"/>
                    <a:pt x="1160" y="970"/>
                  </a:cubicBezTo>
                  <a:cubicBezTo>
                    <a:pt x="1160" y="970"/>
                    <a:pt x="1160" y="970"/>
                    <a:pt x="1160" y="970"/>
                  </a:cubicBezTo>
                  <a:cubicBezTo>
                    <a:pt x="1160" y="969"/>
                    <a:pt x="1160" y="969"/>
                    <a:pt x="1160" y="969"/>
                  </a:cubicBezTo>
                  <a:cubicBezTo>
                    <a:pt x="1160" y="969"/>
                    <a:pt x="1160" y="969"/>
                    <a:pt x="1160" y="969"/>
                  </a:cubicBezTo>
                  <a:cubicBezTo>
                    <a:pt x="1160" y="968"/>
                    <a:pt x="1160" y="968"/>
                    <a:pt x="1160" y="968"/>
                  </a:cubicBezTo>
                  <a:cubicBezTo>
                    <a:pt x="1160" y="968"/>
                    <a:pt x="1160" y="968"/>
                    <a:pt x="1160" y="968"/>
                  </a:cubicBezTo>
                  <a:cubicBezTo>
                    <a:pt x="1159" y="968"/>
                    <a:pt x="1159" y="968"/>
                    <a:pt x="1159" y="968"/>
                  </a:cubicBezTo>
                  <a:cubicBezTo>
                    <a:pt x="1159" y="967"/>
                    <a:pt x="1159" y="967"/>
                    <a:pt x="1159" y="967"/>
                  </a:cubicBezTo>
                  <a:cubicBezTo>
                    <a:pt x="1160" y="967"/>
                    <a:pt x="1160" y="967"/>
                    <a:pt x="1160" y="967"/>
                  </a:cubicBezTo>
                  <a:cubicBezTo>
                    <a:pt x="1160" y="967"/>
                    <a:pt x="1160" y="967"/>
                    <a:pt x="1160" y="967"/>
                  </a:cubicBezTo>
                  <a:cubicBezTo>
                    <a:pt x="1161" y="967"/>
                    <a:pt x="1161" y="967"/>
                    <a:pt x="1161" y="967"/>
                  </a:cubicBezTo>
                  <a:cubicBezTo>
                    <a:pt x="1161" y="968"/>
                    <a:pt x="1161" y="968"/>
                    <a:pt x="1161" y="968"/>
                  </a:cubicBezTo>
                  <a:cubicBezTo>
                    <a:pt x="1161" y="968"/>
                    <a:pt x="1161" y="968"/>
                    <a:pt x="1161" y="968"/>
                  </a:cubicBezTo>
                  <a:cubicBezTo>
                    <a:pt x="1161" y="969"/>
                    <a:pt x="1161" y="969"/>
                    <a:pt x="1161" y="969"/>
                  </a:cubicBezTo>
                  <a:cubicBezTo>
                    <a:pt x="1161" y="970"/>
                    <a:pt x="1161" y="970"/>
                    <a:pt x="1161" y="970"/>
                  </a:cubicBezTo>
                  <a:cubicBezTo>
                    <a:pt x="1161" y="970"/>
                    <a:pt x="1161" y="970"/>
                    <a:pt x="1161" y="970"/>
                  </a:cubicBezTo>
                  <a:cubicBezTo>
                    <a:pt x="1160" y="970"/>
                    <a:pt x="1160" y="970"/>
                    <a:pt x="1160" y="970"/>
                  </a:cubicBezTo>
                  <a:cubicBezTo>
                    <a:pt x="1160" y="972"/>
                    <a:pt x="1160" y="972"/>
                    <a:pt x="1160" y="972"/>
                  </a:cubicBezTo>
                  <a:cubicBezTo>
                    <a:pt x="1160" y="973"/>
                    <a:pt x="1160" y="973"/>
                    <a:pt x="1160" y="973"/>
                  </a:cubicBezTo>
                  <a:cubicBezTo>
                    <a:pt x="1160" y="973"/>
                    <a:pt x="1160" y="973"/>
                    <a:pt x="1160" y="973"/>
                  </a:cubicBezTo>
                  <a:cubicBezTo>
                    <a:pt x="1160" y="974"/>
                    <a:pt x="1160" y="974"/>
                    <a:pt x="1160" y="974"/>
                  </a:cubicBezTo>
                  <a:cubicBezTo>
                    <a:pt x="1160" y="974"/>
                    <a:pt x="1160" y="974"/>
                    <a:pt x="1160" y="974"/>
                  </a:cubicBezTo>
                  <a:cubicBezTo>
                    <a:pt x="1161" y="974"/>
                    <a:pt x="1161" y="974"/>
                    <a:pt x="1161" y="974"/>
                  </a:cubicBezTo>
                  <a:cubicBezTo>
                    <a:pt x="1161" y="974"/>
                    <a:pt x="1161" y="974"/>
                    <a:pt x="1161" y="974"/>
                  </a:cubicBezTo>
                  <a:cubicBezTo>
                    <a:pt x="1162" y="974"/>
                    <a:pt x="1162" y="974"/>
                    <a:pt x="1162" y="974"/>
                  </a:cubicBezTo>
                  <a:cubicBezTo>
                    <a:pt x="1162" y="975"/>
                    <a:pt x="1162" y="975"/>
                    <a:pt x="1162" y="975"/>
                  </a:cubicBezTo>
                  <a:cubicBezTo>
                    <a:pt x="1163" y="975"/>
                    <a:pt x="1163" y="975"/>
                    <a:pt x="1163" y="975"/>
                  </a:cubicBezTo>
                  <a:cubicBezTo>
                    <a:pt x="1164" y="975"/>
                    <a:pt x="1164" y="975"/>
                    <a:pt x="1164" y="975"/>
                  </a:cubicBezTo>
                  <a:cubicBezTo>
                    <a:pt x="1164" y="975"/>
                    <a:pt x="1164" y="975"/>
                    <a:pt x="1164" y="975"/>
                  </a:cubicBezTo>
                  <a:cubicBezTo>
                    <a:pt x="1165" y="976"/>
                    <a:pt x="1165" y="976"/>
                    <a:pt x="1165" y="976"/>
                  </a:cubicBezTo>
                  <a:cubicBezTo>
                    <a:pt x="1165" y="977"/>
                    <a:pt x="1165" y="977"/>
                    <a:pt x="1165" y="977"/>
                  </a:cubicBezTo>
                  <a:cubicBezTo>
                    <a:pt x="1166" y="977"/>
                    <a:pt x="1166" y="977"/>
                    <a:pt x="1166" y="977"/>
                  </a:cubicBezTo>
                  <a:cubicBezTo>
                    <a:pt x="1167" y="977"/>
                    <a:pt x="1167" y="977"/>
                    <a:pt x="1167" y="977"/>
                  </a:cubicBezTo>
                  <a:cubicBezTo>
                    <a:pt x="1168" y="977"/>
                    <a:pt x="1168" y="977"/>
                    <a:pt x="1168" y="977"/>
                  </a:cubicBezTo>
                  <a:cubicBezTo>
                    <a:pt x="1169" y="977"/>
                    <a:pt x="1169" y="977"/>
                    <a:pt x="1169" y="977"/>
                  </a:cubicBezTo>
                  <a:cubicBezTo>
                    <a:pt x="1169" y="978"/>
                    <a:pt x="1169" y="978"/>
                    <a:pt x="1169" y="978"/>
                  </a:cubicBezTo>
                  <a:cubicBezTo>
                    <a:pt x="1169" y="978"/>
                    <a:pt x="1169" y="978"/>
                    <a:pt x="1169" y="978"/>
                  </a:cubicBezTo>
                  <a:cubicBezTo>
                    <a:pt x="1170" y="979"/>
                    <a:pt x="1170" y="979"/>
                    <a:pt x="1170" y="979"/>
                  </a:cubicBezTo>
                  <a:cubicBezTo>
                    <a:pt x="1170" y="979"/>
                    <a:pt x="1170" y="979"/>
                    <a:pt x="1170" y="979"/>
                  </a:cubicBezTo>
                  <a:cubicBezTo>
                    <a:pt x="1170" y="980"/>
                    <a:pt x="1170" y="980"/>
                    <a:pt x="1170" y="980"/>
                  </a:cubicBezTo>
                  <a:cubicBezTo>
                    <a:pt x="1170" y="979"/>
                    <a:pt x="1170" y="979"/>
                    <a:pt x="1170" y="979"/>
                  </a:cubicBezTo>
                  <a:cubicBezTo>
                    <a:pt x="1171" y="979"/>
                    <a:pt x="1171" y="979"/>
                    <a:pt x="1171" y="979"/>
                  </a:cubicBezTo>
                  <a:cubicBezTo>
                    <a:pt x="1171" y="979"/>
                    <a:pt x="1171" y="979"/>
                    <a:pt x="1171" y="979"/>
                  </a:cubicBezTo>
                  <a:cubicBezTo>
                    <a:pt x="1171" y="980"/>
                    <a:pt x="1171" y="980"/>
                    <a:pt x="1171" y="980"/>
                  </a:cubicBezTo>
                  <a:cubicBezTo>
                    <a:pt x="1171" y="980"/>
                    <a:pt x="1171" y="980"/>
                    <a:pt x="1171" y="980"/>
                  </a:cubicBezTo>
                  <a:cubicBezTo>
                    <a:pt x="1171" y="981"/>
                    <a:pt x="1171" y="981"/>
                    <a:pt x="1171" y="981"/>
                  </a:cubicBezTo>
                  <a:cubicBezTo>
                    <a:pt x="1171" y="981"/>
                    <a:pt x="1171" y="981"/>
                    <a:pt x="1171" y="981"/>
                  </a:cubicBezTo>
                  <a:cubicBezTo>
                    <a:pt x="1172" y="982"/>
                    <a:pt x="1172" y="982"/>
                    <a:pt x="1172" y="982"/>
                  </a:cubicBezTo>
                  <a:cubicBezTo>
                    <a:pt x="1172" y="982"/>
                    <a:pt x="1172" y="982"/>
                    <a:pt x="1172" y="982"/>
                  </a:cubicBezTo>
                  <a:cubicBezTo>
                    <a:pt x="1172" y="983"/>
                    <a:pt x="1172" y="983"/>
                    <a:pt x="1172" y="983"/>
                  </a:cubicBezTo>
                  <a:cubicBezTo>
                    <a:pt x="1172" y="986"/>
                    <a:pt x="1172" y="986"/>
                    <a:pt x="1172" y="986"/>
                  </a:cubicBezTo>
                  <a:cubicBezTo>
                    <a:pt x="1171" y="986"/>
                    <a:pt x="1171" y="986"/>
                    <a:pt x="1171" y="986"/>
                  </a:cubicBezTo>
                  <a:cubicBezTo>
                    <a:pt x="1171" y="987"/>
                    <a:pt x="1171" y="987"/>
                    <a:pt x="1171" y="987"/>
                  </a:cubicBezTo>
                  <a:cubicBezTo>
                    <a:pt x="1171" y="987"/>
                    <a:pt x="1171" y="987"/>
                    <a:pt x="1171" y="987"/>
                  </a:cubicBezTo>
                  <a:cubicBezTo>
                    <a:pt x="1171" y="988"/>
                    <a:pt x="1171" y="988"/>
                    <a:pt x="1171" y="988"/>
                  </a:cubicBezTo>
                  <a:cubicBezTo>
                    <a:pt x="1171" y="988"/>
                    <a:pt x="1171" y="988"/>
                    <a:pt x="1171" y="988"/>
                  </a:cubicBezTo>
                  <a:cubicBezTo>
                    <a:pt x="1172" y="989"/>
                    <a:pt x="1172" y="989"/>
                    <a:pt x="1172" y="989"/>
                  </a:cubicBezTo>
                  <a:cubicBezTo>
                    <a:pt x="1172" y="989"/>
                    <a:pt x="1172" y="989"/>
                    <a:pt x="1172" y="989"/>
                  </a:cubicBezTo>
                  <a:cubicBezTo>
                    <a:pt x="1171" y="990"/>
                    <a:pt x="1171" y="990"/>
                    <a:pt x="1171" y="990"/>
                  </a:cubicBezTo>
                  <a:cubicBezTo>
                    <a:pt x="1171" y="990"/>
                    <a:pt x="1171" y="990"/>
                    <a:pt x="1171" y="990"/>
                  </a:cubicBezTo>
                  <a:cubicBezTo>
                    <a:pt x="1170" y="990"/>
                    <a:pt x="1170" y="990"/>
                    <a:pt x="1170" y="990"/>
                  </a:cubicBezTo>
                  <a:cubicBezTo>
                    <a:pt x="1170" y="991"/>
                    <a:pt x="1170" y="991"/>
                    <a:pt x="1170" y="991"/>
                  </a:cubicBezTo>
                  <a:cubicBezTo>
                    <a:pt x="1171" y="992"/>
                    <a:pt x="1171" y="992"/>
                    <a:pt x="1171" y="992"/>
                  </a:cubicBezTo>
                  <a:cubicBezTo>
                    <a:pt x="1172" y="993"/>
                    <a:pt x="1172" y="993"/>
                    <a:pt x="1172" y="993"/>
                  </a:cubicBezTo>
                  <a:cubicBezTo>
                    <a:pt x="1172" y="993"/>
                    <a:pt x="1172" y="993"/>
                    <a:pt x="1172" y="993"/>
                  </a:cubicBezTo>
                  <a:cubicBezTo>
                    <a:pt x="1172" y="993"/>
                    <a:pt x="1172" y="993"/>
                    <a:pt x="1172" y="993"/>
                  </a:cubicBezTo>
                  <a:cubicBezTo>
                    <a:pt x="1172" y="993"/>
                    <a:pt x="1172" y="993"/>
                    <a:pt x="1172" y="993"/>
                  </a:cubicBezTo>
                  <a:cubicBezTo>
                    <a:pt x="1173" y="993"/>
                    <a:pt x="1173" y="993"/>
                    <a:pt x="1173" y="993"/>
                  </a:cubicBezTo>
                  <a:cubicBezTo>
                    <a:pt x="1173" y="993"/>
                    <a:pt x="1173" y="993"/>
                    <a:pt x="1173" y="993"/>
                  </a:cubicBezTo>
                  <a:cubicBezTo>
                    <a:pt x="1173" y="993"/>
                    <a:pt x="1173" y="993"/>
                    <a:pt x="1173" y="993"/>
                  </a:cubicBezTo>
                  <a:cubicBezTo>
                    <a:pt x="1173" y="993"/>
                    <a:pt x="1173" y="993"/>
                    <a:pt x="1173" y="993"/>
                  </a:cubicBezTo>
                  <a:cubicBezTo>
                    <a:pt x="1174" y="994"/>
                    <a:pt x="1174" y="994"/>
                    <a:pt x="1174" y="994"/>
                  </a:cubicBezTo>
                  <a:cubicBezTo>
                    <a:pt x="1174" y="994"/>
                    <a:pt x="1174" y="994"/>
                    <a:pt x="1174" y="994"/>
                  </a:cubicBezTo>
                  <a:cubicBezTo>
                    <a:pt x="1175" y="996"/>
                    <a:pt x="1175" y="996"/>
                    <a:pt x="1175" y="996"/>
                  </a:cubicBezTo>
                  <a:cubicBezTo>
                    <a:pt x="1175" y="996"/>
                    <a:pt x="1175" y="996"/>
                    <a:pt x="1175" y="996"/>
                  </a:cubicBezTo>
                  <a:cubicBezTo>
                    <a:pt x="1176" y="996"/>
                    <a:pt x="1176" y="996"/>
                    <a:pt x="1176" y="996"/>
                  </a:cubicBezTo>
                  <a:cubicBezTo>
                    <a:pt x="1176" y="996"/>
                    <a:pt x="1176" y="996"/>
                    <a:pt x="1176" y="996"/>
                  </a:cubicBezTo>
                  <a:cubicBezTo>
                    <a:pt x="1177" y="996"/>
                    <a:pt x="1177" y="996"/>
                    <a:pt x="1177" y="996"/>
                  </a:cubicBezTo>
                  <a:cubicBezTo>
                    <a:pt x="1177" y="996"/>
                    <a:pt x="1177" y="996"/>
                    <a:pt x="1177" y="996"/>
                  </a:cubicBezTo>
                  <a:lnTo>
                    <a:pt x="1176" y="997"/>
                  </a:lnTo>
                  <a:close/>
                  <a:moveTo>
                    <a:pt x="1190" y="776"/>
                  </a:moveTo>
                  <a:cubicBezTo>
                    <a:pt x="1190" y="777"/>
                    <a:pt x="1190" y="777"/>
                    <a:pt x="1190" y="777"/>
                  </a:cubicBezTo>
                  <a:cubicBezTo>
                    <a:pt x="1190" y="778"/>
                    <a:pt x="1190" y="778"/>
                    <a:pt x="1190" y="778"/>
                  </a:cubicBezTo>
                  <a:cubicBezTo>
                    <a:pt x="1189" y="778"/>
                    <a:pt x="1189" y="778"/>
                    <a:pt x="1189" y="778"/>
                  </a:cubicBezTo>
                  <a:cubicBezTo>
                    <a:pt x="1189" y="777"/>
                    <a:pt x="1189" y="777"/>
                    <a:pt x="1189" y="777"/>
                  </a:cubicBezTo>
                  <a:cubicBezTo>
                    <a:pt x="1189" y="777"/>
                    <a:pt x="1189" y="777"/>
                    <a:pt x="1189" y="777"/>
                  </a:cubicBezTo>
                  <a:cubicBezTo>
                    <a:pt x="1189" y="777"/>
                    <a:pt x="1189" y="777"/>
                    <a:pt x="1189" y="777"/>
                  </a:cubicBezTo>
                  <a:cubicBezTo>
                    <a:pt x="1189" y="776"/>
                    <a:pt x="1189" y="776"/>
                    <a:pt x="1189" y="776"/>
                  </a:cubicBezTo>
                  <a:cubicBezTo>
                    <a:pt x="1190" y="776"/>
                    <a:pt x="1190" y="776"/>
                    <a:pt x="1190" y="776"/>
                  </a:cubicBezTo>
                  <a:cubicBezTo>
                    <a:pt x="1190" y="776"/>
                    <a:pt x="1190" y="776"/>
                    <a:pt x="1190" y="776"/>
                  </a:cubicBezTo>
                  <a:close/>
                  <a:moveTo>
                    <a:pt x="1192" y="771"/>
                  </a:moveTo>
                  <a:cubicBezTo>
                    <a:pt x="1192" y="772"/>
                    <a:pt x="1192" y="772"/>
                    <a:pt x="1192" y="772"/>
                  </a:cubicBezTo>
                  <a:cubicBezTo>
                    <a:pt x="1192" y="773"/>
                    <a:pt x="1192" y="773"/>
                    <a:pt x="1192" y="773"/>
                  </a:cubicBezTo>
                  <a:cubicBezTo>
                    <a:pt x="1191" y="774"/>
                    <a:pt x="1191" y="774"/>
                    <a:pt x="1191" y="774"/>
                  </a:cubicBezTo>
                  <a:cubicBezTo>
                    <a:pt x="1191" y="774"/>
                    <a:pt x="1191" y="774"/>
                    <a:pt x="1191" y="774"/>
                  </a:cubicBezTo>
                  <a:cubicBezTo>
                    <a:pt x="1191" y="773"/>
                    <a:pt x="1191" y="773"/>
                    <a:pt x="1191" y="773"/>
                  </a:cubicBezTo>
                  <a:cubicBezTo>
                    <a:pt x="1191" y="773"/>
                    <a:pt x="1191" y="773"/>
                    <a:pt x="1191" y="773"/>
                  </a:cubicBezTo>
                  <a:cubicBezTo>
                    <a:pt x="1191" y="773"/>
                    <a:pt x="1191" y="773"/>
                    <a:pt x="1191" y="773"/>
                  </a:cubicBezTo>
                  <a:cubicBezTo>
                    <a:pt x="1191" y="773"/>
                    <a:pt x="1191" y="773"/>
                    <a:pt x="1191" y="773"/>
                  </a:cubicBezTo>
                  <a:cubicBezTo>
                    <a:pt x="1191" y="773"/>
                    <a:pt x="1191" y="773"/>
                    <a:pt x="1191" y="773"/>
                  </a:cubicBezTo>
                  <a:cubicBezTo>
                    <a:pt x="1190" y="771"/>
                    <a:pt x="1190" y="771"/>
                    <a:pt x="1190" y="771"/>
                  </a:cubicBezTo>
                  <a:cubicBezTo>
                    <a:pt x="1190" y="771"/>
                    <a:pt x="1190" y="771"/>
                    <a:pt x="1190" y="771"/>
                  </a:cubicBezTo>
                  <a:cubicBezTo>
                    <a:pt x="1190" y="771"/>
                    <a:pt x="1190" y="771"/>
                    <a:pt x="1190" y="771"/>
                  </a:cubicBezTo>
                  <a:cubicBezTo>
                    <a:pt x="1190" y="770"/>
                    <a:pt x="1190" y="770"/>
                    <a:pt x="1190" y="770"/>
                  </a:cubicBezTo>
                  <a:cubicBezTo>
                    <a:pt x="1189" y="770"/>
                    <a:pt x="1189" y="770"/>
                    <a:pt x="1189" y="770"/>
                  </a:cubicBezTo>
                  <a:cubicBezTo>
                    <a:pt x="1189" y="770"/>
                    <a:pt x="1189" y="770"/>
                    <a:pt x="1189" y="770"/>
                  </a:cubicBezTo>
                  <a:cubicBezTo>
                    <a:pt x="1189" y="769"/>
                    <a:pt x="1189" y="769"/>
                    <a:pt x="1189" y="769"/>
                  </a:cubicBezTo>
                  <a:cubicBezTo>
                    <a:pt x="1190" y="769"/>
                    <a:pt x="1190" y="769"/>
                    <a:pt x="1190" y="769"/>
                  </a:cubicBezTo>
                  <a:cubicBezTo>
                    <a:pt x="1190" y="769"/>
                    <a:pt x="1190" y="769"/>
                    <a:pt x="1190" y="769"/>
                  </a:cubicBezTo>
                  <a:cubicBezTo>
                    <a:pt x="1190" y="769"/>
                    <a:pt x="1190" y="769"/>
                    <a:pt x="1190" y="769"/>
                  </a:cubicBezTo>
                  <a:cubicBezTo>
                    <a:pt x="1190" y="769"/>
                    <a:pt x="1190" y="769"/>
                    <a:pt x="1190" y="769"/>
                  </a:cubicBezTo>
                  <a:cubicBezTo>
                    <a:pt x="1190" y="768"/>
                    <a:pt x="1190" y="768"/>
                    <a:pt x="1190" y="768"/>
                  </a:cubicBezTo>
                  <a:cubicBezTo>
                    <a:pt x="1190" y="768"/>
                    <a:pt x="1190" y="768"/>
                    <a:pt x="1190" y="768"/>
                  </a:cubicBezTo>
                  <a:cubicBezTo>
                    <a:pt x="1189" y="768"/>
                    <a:pt x="1189" y="768"/>
                    <a:pt x="1189" y="768"/>
                  </a:cubicBezTo>
                  <a:cubicBezTo>
                    <a:pt x="1189" y="767"/>
                    <a:pt x="1189" y="767"/>
                    <a:pt x="1189" y="767"/>
                  </a:cubicBezTo>
                  <a:cubicBezTo>
                    <a:pt x="1189" y="767"/>
                    <a:pt x="1189" y="767"/>
                    <a:pt x="1189" y="767"/>
                  </a:cubicBezTo>
                  <a:cubicBezTo>
                    <a:pt x="1189" y="767"/>
                    <a:pt x="1189" y="767"/>
                    <a:pt x="1189" y="767"/>
                  </a:cubicBezTo>
                  <a:cubicBezTo>
                    <a:pt x="1189" y="766"/>
                    <a:pt x="1189" y="766"/>
                    <a:pt x="1189" y="766"/>
                  </a:cubicBezTo>
                  <a:cubicBezTo>
                    <a:pt x="1189" y="766"/>
                    <a:pt x="1189" y="766"/>
                    <a:pt x="1189" y="766"/>
                  </a:cubicBezTo>
                  <a:cubicBezTo>
                    <a:pt x="1189" y="766"/>
                    <a:pt x="1189" y="766"/>
                    <a:pt x="1189" y="766"/>
                  </a:cubicBezTo>
                  <a:cubicBezTo>
                    <a:pt x="1189" y="766"/>
                    <a:pt x="1189" y="766"/>
                    <a:pt x="1189" y="766"/>
                  </a:cubicBezTo>
                  <a:cubicBezTo>
                    <a:pt x="1189" y="765"/>
                    <a:pt x="1189" y="765"/>
                    <a:pt x="1189" y="765"/>
                  </a:cubicBezTo>
                  <a:cubicBezTo>
                    <a:pt x="1189" y="765"/>
                    <a:pt x="1189" y="765"/>
                    <a:pt x="1189" y="765"/>
                  </a:cubicBezTo>
                  <a:cubicBezTo>
                    <a:pt x="1188" y="764"/>
                    <a:pt x="1188" y="764"/>
                    <a:pt x="1188" y="764"/>
                  </a:cubicBezTo>
                  <a:cubicBezTo>
                    <a:pt x="1187" y="764"/>
                    <a:pt x="1187" y="764"/>
                    <a:pt x="1187" y="764"/>
                  </a:cubicBezTo>
                  <a:cubicBezTo>
                    <a:pt x="1187" y="764"/>
                    <a:pt x="1187" y="764"/>
                    <a:pt x="1187" y="764"/>
                  </a:cubicBezTo>
                  <a:cubicBezTo>
                    <a:pt x="1188" y="764"/>
                    <a:pt x="1188" y="764"/>
                    <a:pt x="1188" y="764"/>
                  </a:cubicBezTo>
                  <a:cubicBezTo>
                    <a:pt x="1188" y="764"/>
                    <a:pt x="1188" y="764"/>
                    <a:pt x="1188" y="764"/>
                  </a:cubicBezTo>
                  <a:cubicBezTo>
                    <a:pt x="1188" y="763"/>
                    <a:pt x="1188" y="763"/>
                    <a:pt x="1188" y="763"/>
                  </a:cubicBezTo>
                  <a:cubicBezTo>
                    <a:pt x="1188" y="763"/>
                    <a:pt x="1188" y="763"/>
                    <a:pt x="1188" y="763"/>
                  </a:cubicBezTo>
                  <a:cubicBezTo>
                    <a:pt x="1188" y="763"/>
                    <a:pt x="1188" y="763"/>
                    <a:pt x="1188" y="763"/>
                  </a:cubicBezTo>
                  <a:cubicBezTo>
                    <a:pt x="1188" y="763"/>
                    <a:pt x="1188" y="763"/>
                    <a:pt x="1188" y="763"/>
                  </a:cubicBezTo>
                  <a:cubicBezTo>
                    <a:pt x="1187" y="762"/>
                    <a:pt x="1187" y="762"/>
                    <a:pt x="1187" y="762"/>
                  </a:cubicBezTo>
                  <a:cubicBezTo>
                    <a:pt x="1187" y="762"/>
                    <a:pt x="1187" y="762"/>
                    <a:pt x="1187" y="762"/>
                  </a:cubicBezTo>
                  <a:cubicBezTo>
                    <a:pt x="1188" y="761"/>
                    <a:pt x="1188" y="761"/>
                    <a:pt x="1188" y="761"/>
                  </a:cubicBezTo>
                  <a:cubicBezTo>
                    <a:pt x="1188" y="761"/>
                    <a:pt x="1188" y="761"/>
                    <a:pt x="1188" y="761"/>
                  </a:cubicBezTo>
                  <a:cubicBezTo>
                    <a:pt x="1188" y="761"/>
                    <a:pt x="1188" y="761"/>
                    <a:pt x="1188" y="761"/>
                  </a:cubicBezTo>
                  <a:cubicBezTo>
                    <a:pt x="1188" y="760"/>
                    <a:pt x="1188" y="760"/>
                    <a:pt x="1188" y="760"/>
                  </a:cubicBezTo>
                  <a:cubicBezTo>
                    <a:pt x="1188" y="760"/>
                    <a:pt x="1188" y="760"/>
                    <a:pt x="1188" y="760"/>
                  </a:cubicBezTo>
                  <a:cubicBezTo>
                    <a:pt x="1188" y="761"/>
                    <a:pt x="1188" y="761"/>
                    <a:pt x="1188" y="761"/>
                  </a:cubicBezTo>
                  <a:cubicBezTo>
                    <a:pt x="1189" y="761"/>
                    <a:pt x="1189" y="761"/>
                    <a:pt x="1189" y="761"/>
                  </a:cubicBezTo>
                  <a:cubicBezTo>
                    <a:pt x="1189" y="761"/>
                    <a:pt x="1189" y="761"/>
                    <a:pt x="1189" y="761"/>
                  </a:cubicBezTo>
                  <a:cubicBezTo>
                    <a:pt x="1189" y="761"/>
                    <a:pt x="1189" y="761"/>
                    <a:pt x="1189" y="761"/>
                  </a:cubicBezTo>
                  <a:cubicBezTo>
                    <a:pt x="1189" y="761"/>
                    <a:pt x="1189" y="761"/>
                    <a:pt x="1189" y="761"/>
                  </a:cubicBezTo>
                  <a:cubicBezTo>
                    <a:pt x="1189" y="762"/>
                    <a:pt x="1189" y="762"/>
                    <a:pt x="1189" y="762"/>
                  </a:cubicBezTo>
                  <a:cubicBezTo>
                    <a:pt x="1189" y="762"/>
                    <a:pt x="1189" y="762"/>
                    <a:pt x="1189" y="762"/>
                  </a:cubicBezTo>
                  <a:cubicBezTo>
                    <a:pt x="1189" y="762"/>
                    <a:pt x="1189" y="762"/>
                    <a:pt x="1189" y="762"/>
                  </a:cubicBezTo>
                  <a:cubicBezTo>
                    <a:pt x="1189" y="762"/>
                    <a:pt x="1189" y="762"/>
                    <a:pt x="1189" y="762"/>
                  </a:cubicBezTo>
                  <a:cubicBezTo>
                    <a:pt x="1189" y="763"/>
                    <a:pt x="1189" y="763"/>
                    <a:pt x="1189" y="763"/>
                  </a:cubicBezTo>
                  <a:cubicBezTo>
                    <a:pt x="1190" y="763"/>
                    <a:pt x="1190" y="763"/>
                    <a:pt x="1190" y="763"/>
                  </a:cubicBezTo>
                  <a:cubicBezTo>
                    <a:pt x="1190" y="763"/>
                    <a:pt x="1190" y="763"/>
                    <a:pt x="1190" y="763"/>
                  </a:cubicBezTo>
                  <a:cubicBezTo>
                    <a:pt x="1190" y="764"/>
                    <a:pt x="1190" y="764"/>
                    <a:pt x="1190" y="764"/>
                  </a:cubicBezTo>
                  <a:cubicBezTo>
                    <a:pt x="1190" y="764"/>
                    <a:pt x="1190" y="764"/>
                    <a:pt x="1190" y="764"/>
                  </a:cubicBezTo>
                  <a:cubicBezTo>
                    <a:pt x="1190" y="764"/>
                    <a:pt x="1190" y="764"/>
                    <a:pt x="1190" y="764"/>
                  </a:cubicBezTo>
                  <a:cubicBezTo>
                    <a:pt x="1190" y="764"/>
                    <a:pt x="1190" y="764"/>
                    <a:pt x="1190" y="764"/>
                  </a:cubicBezTo>
                  <a:cubicBezTo>
                    <a:pt x="1190" y="765"/>
                    <a:pt x="1190" y="765"/>
                    <a:pt x="1190" y="765"/>
                  </a:cubicBezTo>
                  <a:cubicBezTo>
                    <a:pt x="1191" y="765"/>
                    <a:pt x="1191" y="765"/>
                    <a:pt x="1191" y="765"/>
                  </a:cubicBezTo>
                  <a:cubicBezTo>
                    <a:pt x="1190" y="765"/>
                    <a:pt x="1190" y="765"/>
                    <a:pt x="1190" y="765"/>
                  </a:cubicBezTo>
                  <a:cubicBezTo>
                    <a:pt x="1191" y="766"/>
                    <a:pt x="1191" y="766"/>
                    <a:pt x="1191" y="766"/>
                  </a:cubicBezTo>
                  <a:cubicBezTo>
                    <a:pt x="1191" y="766"/>
                    <a:pt x="1191" y="766"/>
                    <a:pt x="1191" y="766"/>
                  </a:cubicBezTo>
                  <a:cubicBezTo>
                    <a:pt x="1191" y="767"/>
                    <a:pt x="1191" y="767"/>
                    <a:pt x="1191" y="767"/>
                  </a:cubicBezTo>
                  <a:cubicBezTo>
                    <a:pt x="1192" y="767"/>
                    <a:pt x="1192" y="767"/>
                    <a:pt x="1192" y="767"/>
                  </a:cubicBezTo>
                  <a:cubicBezTo>
                    <a:pt x="1192" y="767"/>
                    <a:pt x="1192" y="767"/>
                    <a:pt x="1192" y="767"/>
                  </a:cubicBezTo>
                  <a:cubicBezTo>
                    <a:pt x="1191" y="767"/>
                    <a:pt x="1191" y="767"/>
                    <a:pt x="1191" y="767"/>
                  </a:cubicBezTo>
                  <a:cubicBezTo>
                    <a:pt x="1191" y="767"/>
                    <a:pt x="1191" y="767"/>
                    <a:pt x="1191" y="767"/>
                  </a:cubicBezTo>
                  <a:cubicBezTo>
                    <a:pt x="1191" y="767"/>
                    <a:pt x="1191" y="767"/>
                    <a:pt x="1191" y="767"/>
                  </a:cubicBezTo>
                  <a:cubicBezTo>
                    <a:pt x="1190" y="768"/>
                    <a:pt x="1190" y="768"/>
                    <a:pt x="1190" y="768"/>
                  </a:cubicBezTo>
                  <a:cubicBezTo>
                    <a:pt x="1191" y="769"/>
                    <a:pt x="1191" y="769"/>
                    <a:pt x="1191" y="769"/>
                  </a:cubicBezTo>
                  <a:cubicBezTo>
                    <a:pt x="1191" y="769"/>
                    <a:pt x="1191" y="769"/>
                    <a:pt x="1191" y="769"/>
                  </a:cubicBezTo>
                  <a:cubicBezTo>
                    <a:pt x="1191" y="769"/>
                    <a:pt x="1191" y="769"/>
                    <a:pt x="1191" y="769"/>
                  </a:cubicBezTo>
                  <a:cubicBezTo>
                    <a:pt x="1192" y="769"/>
                    <a:pt x="1192" y="769"/>
                    <a:pt x="1192" y="769"/>
                  </a:cubicBezTo>
                  <a:cubicBezTo>
                    <a:pt x="1192" y="769"/>
                    <a:pt x="1192" y="769"/>
                    <a:pt x="1192" y="769"/>
                  </a:cubicBezTo>
                  <a:cubicBezTo>
                    <a:pt x="1192" y="771"/>
                    <a:pt x="1192" y="771"/>
                    <a:pt x="1192" y="771"/>
                  </a:cubicBezTo>
                  <a:cubicBezTo>
                    <a:pt x="1192" y="771"/>
                    <a:pt x="1192" y="771"/>
                    <a:pt x="1192" y="771"/>
                  </a:cubicBezTo>
                  <a:cubicBezTo>
                    <a:pt x="1192" y="771"/>
                    <a:pt x="1192" y="771"/>
                    <a:pt x="1192" y="771"/>
                  </a:cubicBezTo>
                  <a:close/>
                  <a:moveTo>
                    <a:pt x="1192" y="753"/>
                  </a:moveTo>
                  <a:cubicBezTo>
                    <a:pt x="1192" y="754"/>
                    <a:pt x="1192" y="754"/>
                    <a:pt x="1192" y="754"/>
                  </a:cubicBezTo>
                  <a:cubicBezTo>
                    <a:pt x="1192" y="754"/>
                    <a:pt x="1192" y="754"/>
                    <a:pt x="1192" y="754"/>
                  </a:cubicBezTo>
                  <a:cubicBezTo>
                    <a:pt x="1192" y="755"/>
                    <a:pt x="1192" y="755"/>
                    <a:pt x="1192" y="755"/>
                  </a:cubicBezTo>
                  <a:cubicBezTo>
                    <a:pt x="1192" y="755"/>
                    <a:pt x="1192" y="755"/>
                    <a:pt x="1192" y="755"/>
                  </a:cubicBezTo>
                  <a:cubicBezTo>
                    <a:pt x="1191" y="755"/>
                    <a:pt x="1191" y="755"/>
                    <a:pt x="1191" y="755"/>
                  </a:cubicBezTo>
                  <a:cubicBezTo>
                    <a:pt x="1191" y="755"/>
                    <a:pt x="1191" y="755"/>
                    <a:pt x="1191" y="755"/>
                  </a:cubicBezTo>
                  <a:cubicBezTo>
                    <a:pt x="1191" y="755"/>
                    <a:pt x="1191" y="755"/>
                    <a:pt x="1191" y="755"/>
                  </a:cubicBezTo>
                  <a:cubicBezTo>
                    <a:pt x="1191" y="755"/>
                    <a:pt x="1191" y="755"/>
                    <a:pt x="1191" y="755"/>
                  </a:cubicBezTo>
                  <a:cubicBezTo>
                    <a:pt x="1191" y="755"/>
                    <a:pt x="1191" y="755"/>
                    <a:pt x="1191" y="755"/>
                  </a:cubicBezTo>
                  <a:cubicBezTo>
                    <a:pt x="1190" y="755"/>
                    <a:pt x="1190" y="755"/>
                    <a:pt x="1190" y="755"/>
                  </a:cubicBezTo>
                  <a:cubicBezTo>
                    <a:pt x="1191" y="754"/>
                    <a:pt x="1191" y="754"/>
                    <a:pt x="1191" y="754"/>
                  </a:cubicBezTo>
                  <a:cubicBezTo>
                    <a:pt x="1191" y="754"/>
                    <a:pt x="1191" y="754"/>
                    <a:pt x="1191" y="754"/>
                  </a:cubicBezTo>
                  <a:cubicBezTo>
                    <a:pt x="1192" y="753"/>
                    <a:pt x="1192" y="753"/>
                    <a:pt x="1192" y="753"/>
                  </a:cubicBezTo>
                  <a:cubicBezTo>
                    <a:pt x="1192" y="753"/>
                    <a:pt x="1192" y="753"/>
                    <a:pt x="1192" y="753"/>
                  </a:cubicBezTo>
                  <a:cubicBezTo>
                    <a:pt x="1192" y="753"/>
                    <a:pt x="1192" y="753"/>
                    <a:pt x="1192" y="753"/>
                  </a:cubicBezTo>
                  <a:cubicBezTo>
                    <a:pt x="1192" y="753"/>
                    <a:pt x="1192" y="753"/>
                    <a:pt x="1192" y="753"/>
                  </a:cubicBezTo>
                  <a:close/>
                  <a:moveTo>
                    <a:pt x="1193" y="751"/>
                  </a:moveTo>
                  <a:cubicBezTo>
                    <a:pt x="1193" y="752"/>
                    <a:pt x="1193" y="752"/>
                    <a:pt x="1193" y="752"/>
                  </a:cubicBezTo>
                  <a:cubicBezTo>
                    <a:pt x="1192" y="752"/>
                    <a:pt x="1192" y="752"/>
                    <a:pt x="1192" y="752"/>
                  </a:cubicBezTo>
                  <a:cubicBezTo>
                    <a:pt x="1192" y="752"/>
                    <a:pt x="1192" y="752"/>
                    <a:pt x="1192" y="752"/>
                  </a:cubicBezTo>
                  <a:cubicBezTo>
                    <a:pt x="1192" y="752"/>
                    <a:pt x="1192" y="752"/>
                    <a:pt x="1192" y="752"/>
                  </a:cubicBezTo>
                  <a:cubicBezTo>
                    <a:pt x="1192" y="752"/>
                    <a:pt x="1192" y="752"/>
                    <a:pt x="1192" y="752"/>
                  </a:cubicBezTo>
                  <a:cubicBezTo>
                    <a:pt x="1192" y="752"/>
                    <a:pt x="1192" y="752"/>
                    <a:pt x="1192" y="752"/>
                  </a:cubicBezTo>
                  <a:cubicBezTo>
                    <a:pt x="1192" y="751"/>
                    <a:pt x="1192" y="751"/>
                    <a:pt x="1192" y="751"/>
                  </a:cubicBezTo>
                  <a:cubicBezTo>
                    <a:pt x="1193" y="750"/>
                    <a:pt x="1193" y="750"/>
                    <a:pt x="1193" y="750"/>
                  </a:cubicBezTo>
                  <a:cubicBezTo>
                    <a:pt x="1193" y="750"/>
                    <a:pt x="1193" y="750"/>
                    <a:pt x="1193" y="750"/>
                  </a:cubicBezTo>
                  <a:cubicBezTo>
                    <a:pt x="1193" y="750"/>
                    <a:pt x="1193" y="750"/>
                    <a:pt x="1193" y="750"/>
                  </a:cubicBezTo>
                  <a:cubicBezTo>
                    <a:pt x="1193" y="750"/>
                    <a:pt x="1193" y="750"/>
                    <a:pt x="1193" y="750"/>
                  </a:cubicBezTo>
                  <a:cubicBezTo>
                    <a:pt x="1193" y="750"/>
                    <a:pt x="1193" y="750"/>
                    <a:pt x="1193" y="750"/>
                  </a:cubicBezTo>
                  <a:cubicBezTo>
                    <a:pt x="1193" y="750"/>
                    <a:pt x="1193" y="750"/>
                    <a:pt x="1193" y="750"/>
                  </a:cubicBezTo>
                  <a:lnTo>
                    <a:pt x="1193" y="751"/>
                  </a:lnTo>
                  <a:close/>
                  <a:moveTo>
                    <a:pt x="1194" y="748"/>
                  </a:moveTo>
                  <a:cubicBezTo>
                    <a:pt x="1194" y="748"/>
                    <a:pt x="1194" y="748"/>
                    <a:pt x="1194" y="748"/>
                  </a:cubicBezTo>
                  <a:cubicBezTo>
                    <a:pt x="1194" y="748"/>
                    <a:pt x="1194" y="748"/>
                    <a:pt x="1194" y="748"/>
                  </a:cubicBezTo>
                  <a:cubicBezTo>
                    <a:pt x="1194" y="748"/>
                    <a:pt x="1194" y="748"/>
                    <a:pt x="1194" y="748"/>
                  </a:cubicBezTo>
                  <a:close/>
                  <a:moveTo>
                    <a:pt x="1196" y="746"/>
                  </a:moveTo>
                  <a:cubicBezTo>
                    <a:pt x="1196" y="746"/>
                    <a:pt x="1196" y="746"/>
                    <a:pt x="1196" y="746"/>
                  </a:cubicBezTo>
                  <a:cubicBezTo>
                    <a:pt x="1197" y="746"/>
                    <a:pt x="1197" y="746"/>
                    <a:pt x="1197" y="746"/>
                  </a:cubicBezTo>
                  <a:cubicBezTo>
                    <a:pt x="1197" y="746"/>
                    <a:pt x="1197" y="746"/>
                    <a:pt x="1197" y="746"/>
                  </a:cubicBezTo>
                  <a:cubicBezTo>
                    <a:pt x="1197" y="746"/>
                    <a:pt x="1197" y="746"/>
                    <a:pt x="1197" y="746"/>
                  </a:cubicBezTo>
                  <a:lnTo>
                    <a:pt x="1196" y="746"/>
                  </a:lnTo>
                  <a:close/>
                  <a:moveTo>
                    <a:pt x="1201" y="741"/>
                  </a:moveTo>
                  <a:cubicBezTo>
                    <a:pt x="1200" y="741"/>
                    <a:pt x="1200" y="741"/>
                    <a:pt x="1200" y="741"/>
                  </a:cubicBezTo>
                  <a:cubicBezTo>
                    <a:pt x="1200" y="741"/>
                    <a:pt x="1200" y="741"/>
                    <a:pt x="1200" y="741"/>
                  </a:cubicBezTo>
                  <a:cubicBezTo>
                    <a:pt x="1200" y="741"/>
                    <a:pt x="1200" y="741"/>
                    <a:pt x="1200" y="741"/>
                  </a:cubicBezTo>
                  <a:cubicBezTo>
                    <a:pt x="1200" y="741"/>
                    <a:pt x="1200" y="741"/>
                    <a:pt x="1200" y="741"/>
                  </a:cubicBezTo>
                  <a:cubicBezTo>
                    <a:pt x="1200" y="741"/>
                    <a:pt x="1200" y="741"/>
                    <a:pt x="1200" y="741"/>
                  </a:cubicBezTo>
                  <a:cubicBezTo>
                    <a:pt x="1199" y="742"/>
                    <a:pt x="1199" y="742"/>
                    <a:pt x="1199" y="742"/>
                  </a:cubicBezTo>
                  <a:cubicBezTo>
                    <a:pt x="1199" y="742"/>
                    <a:pt x="1199" y="742"/>
                    <a:pt x="1199" y="742"/>
                  </a:cubicBezTo>
                  <a:cubicBezTo>
                    <a:pt x="1199" y="742"/>
                    <a:pt x="1199" y="742"/>
                    <a:pt x="1199" y="742"/>
                  </a:cubicBezTo>
                  <a:cubicBezTo>
                    <a:pt x="1199" y="742"/>
                    <a:pt x="1199" y="742"/>
                    <a:pt x="1199" y="742"/>
                  </a:cubicBezTo>
                  <a:cubicBezTo>
                    <a:pt x="1199" y="742"/>
                    <a:pt x="1199" y="742"/>
                    <a:pt x="1199" y="742"/>
                  </a:cubicBezTo>
                  <a:cubicBezTo>
                    <a:pt x="1199" y="741"/>
                    <a:pt x="1199" y="741"/>
                    <a:pt x="1199" y="741"/>
                  </a:cubicBezTo>
                  <a:cubicBezTo>
                    <a:pt x="1199" y="741"/>
                    <a:pt x="1199" y="741"/>
                    <a:pt x="1199" y="741"/>
                  </a:cubicBezTo>
                  <a:cubicBezTo>
                    <a:pt x="1199" y="741"/>
                    <a:pt x="1199" y="741"/>
                    <a:pt x="1199" y="741"/>
                  </a:cubicBezTo>
                  <a:cubicBezTo>
                    <a:pt x="1199" y="740"/>
                    <a:pt x="1199" y="740"/>
                    <a:pt x="1199" y="740"/>
                  </a:cubicBezTo>
                  <a:cubicBezTo>
                    <a:pt x="1200" y="740"/>
                    <a:pt x="1200" y="740"/>
                    <a:pt x="1200" y="740"/>
                  </a:cubicBezTo>
                  <a:cubicBezTo>
                    <a:pt x="1200" y="739"/>
                    <a:pt x="1200" y="739"/>
                    <a:pt x="1200" y="739"/>
                  </a:cubicBezTo>
                  <a:cubicBezTo>
                    <a:pt x="1200" y="740"/>
                    <a:pt x="1200" y="740"/>
                    <a:pt x="1200" y="740"/>
                  </a:cubicBezTo>
                  <a:cubicBezTo>
                    <a:pt x="1200" y="740"/>
                    <a:pt x="1200" y="740"/>
                    <a:pt x="1200" y="740"/>
                  </a:cubicBezTo>
                  <a:cubicBezTo>
                    <a:pt x="1201" y="740"/>
                    <a:pt x="1201" y="740"/>
                    <a:pt x="1201" y="740"/>
                  </a:cubicBezTo>
                  <a:cubicBezTo>
                    <a:pt x="1201" y="741"/>
                    <a:pt x="1201" y="741"/>
                    <a:pt x="1201" y="741"/>
                  </a:cubicBezTo>
                  <a:close/>
                  <a:moveTo>
                    <a:pt x="1211" y="739"/>
                  </a:moveTo>
                  <a:cubicBezTo>
                    <a:pt x="1211" y="739"/>
                    <a:pt x="1211" y="739"/>
                    <a:pt x="1211" y="739"/>
                  </a:cubicBezTo>
                  <a:cubicBezTo>
                    <a:pt x="1211" y="739"/>
                    <a:pt x="1211" y="739"/>
                    <a:pt x="1211" y="739"/>
                  </a:cubicBezTo>
                  <a:close/>
                  <a:moveTo>
                    <a:pt x="1225" y="736"/>
                  </a:moveTo>
                  <a:cubicBezTo>
                    <a:pt x="1225" y="736"/>
                    <a:pt x="1225" y="736"/>
                    <a:pt x="1225" y="736"/>
                  </a:cubicBezTo>
                  <a:cubicBezTo>
                    <a:pt x="1224" y="735"/>
                    <a:pt x="1224" y="735"/>
                    <a:pt x="1224" y="735"/>
                  </a:cubicBezTo>
                  <a:cubicBezTo>
                    <a:pt x="1223" y="734"/>
                    <a:pt x="1223" y="734"/>
                    <a:pt x="1223" y="734"/>
                  </a:cubicBezTo>
                  <a:cubicBezTo>
                    <a:pt x="1222" y="734"/>
                    <a:pt x="1222" y="734"/>
                    <a:pt x="1222" y="734"/>
                  </a:cubicBezTo>
                  <a:cubicBezTo>
                    <a:pt x="1222" y="733"/>
                    <a:pt x="1222" y="733"/>
                    <a:pt x="1222" y="733"/>
                  </a:cubicBezTo>
                  <a:cubicBezTo>
                    <a:pt x="1222" y="733"/>
                    <a:pt x="1222" y="733"/>
                    <a:pt x="1222" y="733"/>
                  </a:cubicBezTo>
                  <a:cubicBezTo>
                    <a:pt x="1222" y="732"/>
                    <a:pt x="1222" y="732"/>
                    <a:pt x="1222" y="732"/>
                  </a:cubicBezTo>
                  <a:cubicBezTo>
                    <a:pt x="1222" y="731"/>
                    <a:pt x="1222" y="731"/>
                    <a:pt x="1222" y="731"/>
                  </a:cubicBezTo>
                  <a:cubicBezTo>
                    <a:pt x="1223" y="731"/>
                    <a:pt x="1223" y="731"/>
                    <a:pt x="1223" y="731"/>
                  </a:cubicBezTo>
                  <a:cubicBezTo>
                    <a:pt x="1222" y="731"/>
                    <a:pt x="1222" y="731"/>
                    <a:pt x="1222" y="731"/>
                  </a:cubicBezTo>
                  <a:cubicBezTo>
                    <a:pt x="1221" y="730"/>
                    <a:pt x="1221" y="730"/>
                    <a:pt x="1221" y="730"/>
                  </a:cubicBezTo>
                  <a:cubicBezTo>
                    <a:pt x="1221" y="730"/>
                    <a:pt x="1221" y="730"/>
                    <a:pt x="1221" y="730"/>
                  </a:cubicBezTo>
                  <a:cubicBezTo>
                    <a:pt x="1220" y="730"/>
                    <a:pt x="1220" y="730"/>
                    <a:pt x="1220" y="730"/>
                  </a:cubicBezTo>
                  <a:cubicBezTo>
                    <a:pt x="1220" y="729"/>
                    <a:pt x="1220" y="729"/>
                    <a:pt x="1220" y="729"/>
                  </a:cubicBezTo>
                  <a:cubicBezTo>
                    <a:pt x="1219" y="728"/>
                    <a:pt x="1219" y="728"/>
                    <a:pt x="1219" y="728"/>
                  </a:cubicBezTo>
                  <a:cubicBezTo>
                    <a:pt x="1219" y="728"/>
                    <a:pt x="1219" y="728"/>
                    <a:pt x="1219" y="728"/>
                  </a:cubicBezTo>
                  <a:cubicBezTo>
                    <a:pt x="1219" y="727"/>
                    <a:pt x="1219" y="727"/>
                    <a:pt x="1219" y="727"/>
                  </a:cubicBezTo>
                  <a:cubicBezTo>
                    <a:pt x="1220" y="726"/>
                    <a:pt x="1220" y="726"/>
                    <a:pt x="1220" y="726"/>
                  </a:cubicBezTo>
                  <a:cubicBezTo>
                    <a:pt x="1220" y="726"/>
                    <a:pt x="1220" y="726"/>
                    <a:pt x="1220" y="726"/>
                  </a:cubicBezTo>
                  <a:cubicBezTo>
                    <a:pt x="1220" y="725"/>
                    <a:pt x="1220" y="725"/>
                    <a:pt x="1220" y="725"/>
                  </a:cubicBezTo>
                  <a:cubicBezTo>
                    <a:pt x="1220" y="725"/>
                    <a:pt x="1220" y="725"/>
                    <a:pt x="1220" y="725"/>
                  </a:cubicBezTo>
                  <a:cubicBezTo>
                    <a:pt x="1219" y="724"/>
                    <a:pt x="1219" y="724"/>
                    <a:pt x="1219" y="724"/>
                  </a:cubicBezTo>
                  <a:cubicBezTo>
                    <a:pt x="1219" y="724"/>
                    <a:pt x="1219" y="724"/>
                    <a:pt x="1219" y="724"/>
                  </a:cubicBezTo>
                  <a:cubicBezTo>
                    <a:pt x="1219" y="722"/>
                    <a:pt x="1219" y="722"/>
                    <a:pt x="1219" y="722"/>
                  </a:cubicBezTo>
                  <a:cubicBezTo>
                    <a:pt x="1219" y="721"/>
                    <a:pt x="1219" y="721"/>
                    <a:pt x="1219" y="721"/>
                  </a:cubicBezTo>
                  <a:cubicBezTo>
                    <a:pt x="1219" y="720"/>
                    <a:pt x="1219" y="720"/>
                    <a:pt x="1219" y="720"/>
                  </a:cubicBezTo>
                  <a:cubicBezTo>
                    <a:pt x="1219" y="719"/>
                    <a:pt x="1219" y="719"/>
                    <a:pt x="1219" y="719"/>
                  </a:cubicBezTo>
                  <a:cubicBezTo>
                    <a:pt x="1218" y="719"/>
                    <a:pt x="1218" y="719"/>
                    <a:pt x="1218" y="719"/>
                  </a:cubicBezTo>
                  <a:cubicBezTo>
                    <a:pt x="1218" y="718"/>
                    <a:pt x="1218" y="718"/>
                    <a:pt x="1218" y="718"/>
                  </a:cubicBezTo>
                  <a:cubicBezTo>
                    <a:pt x="1218" y="718"/>
                    <a:pt x="1218" y="718"/>
                    <a:pt x="1218" y="718"/>
                  </a:cubicBezTo>
                  <a:cubicBezTo>
                    <a:pt x="1219" y="718"/>
                    <a:pt x="1219" y="718"/>
                    <a:pt x="1219" y="718"/>
                  </a:cubicBezTo>
                  <a:cubicBezTo>
                    <a:pt x="1219" y="717"/>
                    <a:pt x="1219" y="717"/>
                    <a:pt x="1219" y="717"/>
                  </a:cubicBezTo>
                  <a:cubicBezTo>
                    <a:pt x="1218" y="717"/>
                    <a:pt x="1218" y="717"/>
                    <a:pt x="1218" y="717"/>
                  </a:cubicBezTo>
                  <a:cubicBezTo>
                    <a:pt x="1219" y="717"/>
                    <a:pt x="1219" y="717"/>
                    <a:pt x="1219" y="717"/>
                  </a:cubicBezTo>
                  <a:cubicBezTo>
                    <a:pt x="1220" y="717"/>
                    <a:pt x="1220" y="717"/>
                    <a:pt x="1220" y="717"/>
                  </a:cubicBezTo>
                  <a:cubicBezTo>
                    <a:pt x="1220" y="717"/>
                    <a:pt x="1220" y="717"/>
                    <a:pt x="1220" y="717"/>
                  </a:cubicBezTo>
                  <a:cubicBezTo>
                    <a:pt x="1221" y="717"/>
                    <a:pt x="1221" y="717"/>
                    <a:pt x="1221" y="717"/>
                  </a:cubicBezTo>
                  <a:cubicBezTo>
                    <a:pt x="1221" y="717"/>
                    <a:pt x="1221" y="717"/>
                    <a:pt x="1221" y="717"/>
                  </a:cubicBezTo>
                  <a:cubicBezTo>
                    <a:pt x="1220" y="717"/>
                    <a:pt x="1220" y="717"/>
                    <a:pt x="1220" y="717"/>
                  </a:cubicBezTo>
                  <a:cubicBezTo>
                    <a:pt x="1220" y="718"/>
                    <a:pt x="1220" y="718"/>
                    <a:pt x="1220" y="718"/>
                  </a:cubicBezTo>
                  <a:cubicBezTo>
                    <a:pt x="1220" y="718"/>
                    <a:pt x="1220" y="718"/>
                    <a:pt x="1220" y="718"/>
                  </a:cubicBezTo>
                  <a:cubicBezTo>
                    <a:pt x="1220" y="719"/>
                    <a:pt x="1220" y="719"/>
                    <a:pt x="1220" y="719"/>
                  </a:cubicBezTo>
                  <a:cubicBezTo>
                    <a:pt x="1221" y="719"/>
                    <a:pt x="1221" y="719"/>
                    <a:pt x="1221" y="719"/>
                  </a:cubicBezTo>
                  <a:cubicBezTo>
                    <a:pt x="1221" y="720"/>
                    <a:pt x="1221" y="720"/>
                    <a:pt x="1221" y="720"/>
                  </a:cubicBezTo>
                  <a:cubicBezTo>
                    <a:pt x="1221" y="722"/>
                    <a:pt x="1221" y="722"/>
                    <a:pt x="1221" y="722"/>
                  </a:cubicBezTo>
                  <a:cubicBezTo>
                    <a:pt x="1221" y="723"/>
                    <a:pt x="1221" y="723"/>
                    <a:pt x="1221" y="723"/>
                  </a:cubicBezTo>
                  <a:cubicBezTo>
                    <a:pt x="1221" y="724"/>
                    <a:pt x="1221" y="724"/>
                    <a:pt x="1221" y="724"/>
                  </a:cubicBezTo>
                  <a:cubicBezTo>
                    <a:pt x="1222" y="724"/>
                    <a:pt x="1222" y="724"/>
                    <a:pt x="1222" y="724"/>
                  </a:cubicBezTo>
                  <a:cubicBezTo>
                    <a:pt x="1222" y="724"/>
                    <a:pt x="1222" y="724"/>
                    <a:pt x="1222" y="724"/>
                  </a:cubicBezTo>
                  <a:cubicBezTo>
                    <a:pt x="1222" y="725"/>
                    <a:pt x="1222" y="725"/>
                    <a:pt x="1222" y="725"/>
                  </a:cubicBezTo>
                  <a:cubicBezTo>
                    <a:pt x="1222" y="726"/>
                    <a:pt x="1222" y="726"/>
                    <a:pt x="1222" y="726"/>
                  </a:cubicBezTo>
                  <a:cubicBezTo>
                    <a:pt x="1221" y="727"/>
                    <a:pt x="1221" y="727"/>
                    <a:pt x="1221" y="727"/>
                  </a:cubicBezTo>
                  <a:cubicBezTo>
                    <a:pt x="1221" y="727"/>
                    <a:pt x="1221" y="727"/>
                    <a:pt x="1221" y="727"/>
                  </a:cubicBezTo>
                  <a:cubicBezTo>
                    <a:pt x="1220" y="727"/>
                    <a:pt x="1220" y="727"/>
                    <a:pt x="1220" y="727"/>
                  </a:cubicBezTo>
                  <a:cubicBezTo>
                    <a:pt x="1221" y="729"/>
                    <a:pt x="1221" y="729"/>
                    <a:pt x="1221" y="729"/>
                  </a:cubicBezTo>
                  <a:cubicBezTo>
                    <a:pt x="1222" y="729"/>
                    <a:pt x="1222" y="729"/>
                    <a:pt x="1222" y="729"/>
                  </a:cubicBezTo>
                  <a:cubicBezTo>
                    <a:pt x="1222" y="730"/>
                    <a:pt x="1222" y="730"/>
                    <a:pt x="1222" y="730"/>
                  </a:cubicBezTo>
                  <a:cubicBezTo>
                    <a:pt x="1223" y="730"/>
                    <a:pt x="1223" y="730"/>
                    <a:pt x="1223" y="730"/>
                  </a:cubicBezTo>
                  <a:cubicBezTo>
                    <a:pt x="1224" y="730"/>
                    <a:pt x="1224" y="730"/>
                    <a:pt x="1224" y="730"/>
                  </a:cubicBezTo>
                  <a:cubicBezTo>
                    <a:pt x="1224" y="730"/>
                    <a:pt x="1224" y="730"/>
                    <a:pt x="1224" y="730"/>
                  </a:cubicBezTo>
                  <a:cubicBezTo>
                    <a:pt x="1224" y="731"/>
                    <a:pt x="1224" y="731"/>
                    <a:pt x="1224" y="731"/>
                  </a:cubicBezTo>
                  <a:cubicBezTo>
                    <a:pt x="1224" y="731"/>
                    <a:pt x="1224" y="731"/>
                    <a:pt x="1224" y="731"/>
                  </a:cubicBezTo>
                  <a:cubicBezTo>
                    <a:pt x="1224" y="732"/>
                    <a:pt x="1224" y="732"/>
                    <a:pt x="1224" y="732"/>
                  </a:cubicBezTo>
                  <a:cubicBezTo>
                    <a:pt x="1224" y="733"/>
                    <a:pt x="1224" y="733"/>
                    <a:pt x="1224" y="733"/>
                  </a:cubicBezTo>
                  <a:cubicBezTo>
                    <a:pt x="1224" y="733"/>
                    <a:pt x="1224" y="733"/>
                    <a:pt x="1224" y="733"/>
                  </a:cubicBezTo>
                  <a:cubicBezTo>
                    <a:pt x="1224" y="734"/>
                    <a:pt x="1224" y="734"/>
                    <a:pt x="1224" y="734"/>
                  </a:cubicBezTo>
                  <a:cubicBezTo>
                    <a:pt x="1226" y="735"/>
                    <a:pt x="1226" y="735"/>
                    <a:pt x="1226" y="735"/>
                  </a:cubicBezTo>
                  <a:cubicBezTo>
                    <a:pt x="1226" y="735"/>
                    <a:pt x="1226" y="735"/>
                    <a:pt x="1226" y="735"/>
                  </a:cubicBezTo>
                  <a:cubicBezTo>
                    <a:pt x="1226" y="736"/>
                    <a:pt x="1226" y="736"/>
                    <a:pt x="1226" y="736"/>
                  </a:cubicBezTo>
                  <a:cubicBezTo>
                    <a:pt x="1226" y="736"/>
                    <a:pt x="1226" y="736"/>
                    <a:pt x="1226" y="736"/>
                  </a:cubicBezTo>
                  <a:lnTo>
                    <a:pt x="1225" y="736"/>
                  </a:lnTo>
                  <a:close/>
                  <a:moveTo>
                    <a:pt x="1230" y="739"/>
                  </a:moveTo>
                  <a:cubicBezTo>
                    <a:pt x="1229" y="738"/>
                    <a:pt x="1229" y="738"/>
                    <a:pt x="1229" y="738"/>
                  </a:cubicBezTo>
                  <a:cubicBezTo>
                    <a:pt x="1229" y="738"/>
                    <a:pt x="1229" y="738"/>
                    <a:pt x="1229" y="738"/>
                  </a:cubicBezTo>
                  <a:cubicBezTo>
                    <a:pt x="1230" y="738"/>
                    <a:pt x="1230" y="738"/>
                    <a:pt x="1230" y="738"/>
                  </a:cubicBezTo>
                  <a:cubicBezTo>
                    <a:pt x="1230" y="739"/>
                    <a:pt x="1230" y="739"/>
                    <a:pt x="1230" y="739"/>
                  </a:cubicBezTo>
                  <a:cubicBezTo>
                    <a:pt x="1230" y="740"/>
                    <a:pt x="1230" y="740"/>
                    <a:pt x="1230" y="740"/>
                  </a:cubicBezTo>
                  <a:lnTo>
                    <a:pt x="1230" y="739"/>
                  </a:lnTo>
                  <a:close/>
                  <a:moveTo>
                    <a:pt x="1277" y="726"/>
                  </a:moveTo>
                  <a:cubicBezTo>
                    <a:pt x="1277" y="725"/>
                    <a:pt x="1277" y="725"/>
                    <a:pt x="1277" y="725"/>
                  </a:cubicBezTo>
                  <a:cubicBezTo>
                    <a:pt x="1278" y="725"/>
                    <a:pt x="1278" y="725"/>
                    <a:pt x="1278" y="725"/>
                  </a:cubicBezTo>
                  <a:cubicBezTo>
                    <a:pt x="1278" y="726"/>
                    <a:pt x="1278" y="726"/>
                    <a:pt x="1278" y="726"/>
                  </a:cubicBezTo>
                  <a:cubicBezTo>
                    <a:pt x="1278" y="727"/>
                    <a:pt x="1278" y="727"/>
                    <a:pt x="1278" y="727"/>
                  </a:cubicBezTo>
                  <a:cubicBezTo>
                    <a:pt x="1278" y="727"/>
                    <a:pt x="1278" y="727"/>
                    <a:pt x="1278" y="727"/>
                  </a:cubicBezTo>
                  <a:lnTo>
                    <a:pt x="1277" y="726"/>
                  </a:lnTo>
                  <a:close/>
                  <a:moveTo>
                    <a:pt x="1294" y="739"/>
                  </a:moveTo>
                  <a:cubicBezTo>
                    <a:pt x="1294" y="737"/>
                    <a:pt x="1294" y="737"/>
                    <a:pt x="1294" y="737"/>
                  </a:cubicBezTo>
                  <a:cubicBezTo>
                    <a:pt x="1294" y="736"/>
                    <a:pt x="1294" y="736"/>
                    <a:pt x="1294" y="736"/>
                  </a:cubicBezTo>
                  <a:cubicBezTo>
                    <a:pt x="1294" y="736"/>
                    <a:pt x="1294" y="736"/>
                    <a:pt x="1294" y="736"/>
                  </a:cubicBezTo>
                  <a:cubicBezTo>
                    <a:pt x="1294" y="735"/>
                    <a:pt x="1294" y="735"/>
                    <a:pt x="1294" y="735"/>
                  </a:cubicBezTo>
                  <a:cubicBezTo>
                    <a:pt x="1294" y="734"/>
                    <a:pt x="1294" y="734"/>
                    <a:pt x="1294" y="734"/>
                  </a:cubicBezTo>
                  <a:cubicBezTo>
                    <a:pt x="1294" y="734"/>
                    <a:pt x="1294" y="734"/>
                    <a:pt x="1294" y="734"/>
                  </a:cubicBezTo>
                  <a:cubicBezTo>
                    <a:pt x="1295" y="734"/>
                    <a:pt x="1295" y="734"/>
                    <a:pt x="1295" y="734"/>
                  </a:cubicBezTo>
                  <a:cubicBezTo>
                    <a:pt x="1295" y="735"/>
                    <a:pt x="1295" y="735"/>
                    <a:pt x="1295" y="735"/>
                  </a:cubicBezTo>
                  <a:cubicBezTo>
                    <a:pt x="1295" y="735"/>
                    <a:pt x="1295" y="735"/>
                    <a:pt x="1295" y="735"/>
                  </a:cubicBezTo>
                  <a:cubicBezTo>
                    <a:pt x="1295" y="736"/>
                    <a:pt x="1295" y="736"/>
                    <a:pt x="1295" y="736"/>
                  </a:cubicBezTo>
                  <a:cubicBezTo>
                    <a:pt x="1295" y="736"/>
                    <a:pt x="1295" y="736"/>
                    <a:pt x="1295" y="736"/>
                  </a:cubicBezTo>
                  <a:cubicBezTo>
                    <a:pt x="1295" y="737"/>
                    <a:pt x="1295" y="737"/>
                    <a:pt x="1295" y="737"/>
                  </a:cubicBezTo>
                  <a:cubicBezTo>
                    <a:pt x="1295" y="738"/>
                    <a:pt x="1295" y="738"/>
                    <a:pt x="1295" y="738"/>
                  </a:cubicBezTo>
                  <a:cubicBezTo>
                    <a:pt x="1295" y="739"/>
                    <a:pt x="1295" y="739"/>
                    <a:pt x="1295" y="739"/>
                  </a:cubicBezTo>
                  <a:cubicBezTo>
                    <a:pt x="1295" y="740"/>
                    <a:pt x="1295" y="740"/>
                    <a:pt x="1295" y="740"/>
                  </a:cubicBezTo>
                  <a:cubicBezTo>
                    <a:pt x="1295" y="741"/>
                    <a:pt x="1295" y="741"/>
                    <a:pt x="1295" y="741"/>
                  </a:cubicBezTo>
                  <a:cubicBezTo>
                    <a:pt x="1295" y="740"/>
                    <a:pt x="1295" y="740"/>
                    <a:pt x="1295" y="740"/>
                  </a:cubicBezTo>
                  <a:cubicBezTo>
                    <a:pt x="1294" y="740"/>
                    <a:pt x="1294" y="740"/>
                    <a:pt x="1294" y="740"/>
                  </a:cubicBezTo>
                  <a:lnTo>
                    <a:pt x="1294" y="739"/>
                  </a:lnTo>
                  <a:close/>
                  <a:moveTo>
                    <a:pt x="1295" y="758"/>
                  </a:moveTo>
                  <a:cubicBezTo>
                    <a:pt x="1295" y="757"/>
                    <a:pt x="1295" y="757"/>
                    <a:pt x="1295" y="757"/>
                  </a:cubicBezTo>
                  <a:cubicBezTo>
                    <a:pt x="1296" y="756"/>
                    <a:pt x="1296" y="756"/>
                    <a:pt x="1296" y="756"/>
                  </a:cubicBezTo>
                  <a:cubicBezTo>
                    <a:pt x="1301" y="755"/>
                    <a:pt x="1301" y="755"/>
                    <a:pt x="1301" y="755"/>
                  </a:cubicBezTo>
                  <a:cubicBezTo>
                    <a:pt x="1303" y="755"/>
                    <a:pt x="1303" y="755"/>
                    <a:pt x="1303" y="755"/>
                  </a:cubicBezTo>
                  <a:cubicBezTo>
                    <a:pt x="1303" y="755"/>
                    <a:pt x="1303" y="755"/>
                    <a:pt x="1303" y="755"/>
                  </a:cubicBezTo>
                  <a:cubicBezTo>
                    <a:pt x="1305" y="754"/>
                    <a:pt x="1305" y="754"/>
                    <a:pt x="1305" y="754"/>
                  </a:cubicBezTo>
                  <a:cubicBezTo>
                    <a:pt x="1305" y="752"/>
                    <a:pt x="1305" y="752"/>
                    <a:pt x="1305" y="752"/>
                  </a:cubicBezTo>
                  <a:cubicBezTo>
                    <a:pt x="1304" y="751"/>
                    <a:pt x="1304" y="751"/>
                    <a:pt x="1304" y="751"/>
                  </a:cubicBezTo>
                  <a:cubicBezTo>
                    <a:pt x="1305" y="751"/>
                    <a:pt x="1305" y="751"/>
                    <a:pt x="1305" y="751"/>
                  </a:cubicBezTo>
                  <a:cubicBezTo>
                    <a:pt x="1305" y="753"/>
                    <a:pt x="1305" y="753"/>
                    <a:pt x="1305" y="753"/>
                  </a:cubicBezTo>
                  <a:cubicBezTo>
                    <a:pt x="1305" y="755"/>
                    <a:pt x="1305" y="755"/>
                    <a:pt x="1305" y="755"/>
                  </a:cubicBezTo>
                  <a:cubicBezTo>
                    <a:pt x="1304" y="757"/>
                    <a:pt x="1304" y="757"/>
                    <a:pt x="1304" y="757"/>
                  </a:cubicBezTo>
                  <a:cubicBezTo>
                    <a:pt x="1304" y="757"/>
                    <a:pt x="1304" y="757"/>
                    <a:pt x="1304" y="757"/>
                  </a:cubicBezTo>
                  <a:cubicBezTo>
                    <a:pt x="1302" y="757"/>
                    <a:pt x="1302" y="757"/>
                    <a:pt x="1302" y="757"/>
                  </a:cubicBezTo>
                  <a:cubicBezTo>
                    <a:pt x="1297" y="758"/>
                    <a:pt x="1297" y="758"/>
                    <a:pt x="1297" y="758"/>
                  </a:cubicBezTo>
                  <a:cubicBezTo>
                    <a:pt x="1296" y="759"/>
                    <a:pt x="1296" y="759"/>
                    <a:pt x="1296" y="759"/>
                  </a:cubicBezTo>
                  <a:cubicBezTo>
                    <a:pt x="1296" y="759"/>
                    <a:pt x="1296" y="759"/>
                    <a:pt x="1296" y="759"/>
                  </a:cubicBezTo>
                  <a:cubicBezTo>
                    <a:pt x="1295" y="759"/>
                    <a:pt x="1295" y="759"/>
                    <a:pt x="1295" y="759"/>
                  </a:cubicBezTo>
                  <a:lnTo>
                    <a:pt x="1295" y="758"/>
                  </a:lnTo>
                  <a:close/>
                  <a:moveTo>
                    <a:pt x="1297" y="761"/>
                  </a:moveTo>
                  <a:cubicBezTo>
                    <a:pt x="1297" y="761"/>
                    <a:pt x="1297" y="761"/>
                    <a:pt x="1297" y="761"/>
                  </a:cubicBezTo>
                  <a:cubicBezTo>
                    <a:pt x="1297" y="761"/>
                    <a:pt x="1297" y="761"/>
                    <a:pt x="1297" y="761"/>
                  </a:cubicBezTo>
                  <a:cubicBezTo>
                    <a:pt x="1297" y="761"/>
                    <a:pt x="1297" y="761"/>
                    <a:pt x="1297" y="761"/>
                  </a:cubicBezTo>
                  <a:cubicBezTo>
                    <a:pt x="1297" y="761"/>
                    <a:pt x="1297" y="761"/>
                    <a:pt x="1297" y="761"/>
                  </a:cubicBezTo>
                  <a:cubicBezTo>
                    <a:pt x="1297" y="762"/>
                    <a:pt x="1297" y="762"/>
                    <a:pt x="1297" y="762"/>
                  </a:cubicBezTo>
                  <a:cubicBezTo>
                    <a:pt x="1297" y="761"/>
                    <a:pt x="1297" y="761"/>
                    <a:pt x="1297" y="761"/>
                  </a:cubicBezTo>
                  <a:close/>
                  <a:moveTo>
                    <a:pt x="1298" y="770"/>
                  </a:moveTo>
                  <a:cubicBezTo>
                    <a:pt x="1299" y="769"/>
                    <a:pt x="1299" y="769"/>
                    <a:pt x="1299" y="769"/>
                  </a:cubicBezTo>
                  <a:cubicBezTo>
                    <a:pt x="1299" y="769"/>
                    <a:pt x="1299" y="769"/>
                    <a:pt x="1299" y="769"/>
                  </a:cubicBezTo>
                  <a:cubicBezTo>
                    <a:pt x="1299" y="769"/>
                    <a:pt x="1299" y="769"/>
                    <a:pt x="1299" y="769"/>
                  </a:cubicBezTo>
                  <a:cubicBezTo>
                    <a:pt x="1299" y="768"/>
                    <a:pt x="1299" y="768"/>
                    <a:pt x="1299" y="768"/>
                  </a:cubicBezTo>
                  <a:cubicBezTo>
                    <a:pt x="1299" y="768"/>
                    <a:pt x="1299" y="768"/>
                    <a:pt x="1299" y="768"/>
                  </a:cubicBezTo>
                  <a:cubicBezTo>
                    <a:pt x="1299" y="767"/>
                    <a:pt x="1299" y="767"/>
                    <a:pt x="1299" y="767"/>
                  </a:cubicBezTo>
                  <a:cubicBezTo>
                    <a:pt x="1299" y="767"/>
                    <a:pt x="1299" y="767"/>
                    <a:pt x="1299" y="767"/>
                  </a:cubicBezTo>
                  <a:cubicBezTo>
                    <a:pt x="1299" y="766"/>
                    <a:pt x="1299" y="766"/>
                    <a:pt x="1299" y="766"/>
                  </a:cubicBezTo>
                  <a:cubicBezTo>
                    <a:pt x="1299" y="765"/>
                    <a:pt x="1299" y="765"/>
                    <a:pt x="1299" y="765"/>
                  </a:cubicBezTo>
                  <a:cubicBezTo>
                    <a:pt x="1299" y="764"/>
                    <a:pt x="1299" y="764"/>
                    <a:pt x="1299" y="764"/>
                  </a:cubicBezTo>
                  <a:cubicBezTo>
                    <a:pt x="1299" y="764"/>
                    <a:pt x="1299" y="764"/>
                    <a:pt x="1299" y="764"/>
                  </a:cubicBezTo>
                  <a:cubicBezTo>
                    <a:pt x="1299" y="764"/>
                    <a:pt x="1299" y="764"/>
                    <a:pt x="1299" y="764"/>
                  </a:cubicBezTo>
                  <a:cubicBezTo>
                    <a:pt x="1299" y="765"/>
                    <a:pt x="1299" y="765"/>
                    <a:pt x="1299" y="765"/>
                  </a:cubicBezTo>
                  <a:cubicBezTo>
                    <a:pt x="1300" y="766"/>
                    <a:pt x="1300" y="766"/>
                    <a:pt x="1300" y="766"/>
                  </a:cubicBezTo>
                  <a:cubicBezTo>
                    <a:pt x="1300" y="767"/>
                    <a:pt x="1300" y="767"/>
                    <a:pt x="1300" y="767"/>
                  </a:cubicBezTo>
                  <a:cubicBezTo>
                    <a:pt x="1300" y="767"/>
                    <a:pt x="1300" y="767"/>
                    <a:pt x="1300" y="767"/>
                  </a:cubicBezTo>
                  <a:cubicBezTo>
                    <a:pt x="1299" y="768"/>
                    <a:pt x="1299" y="768"/>
                    <a:pt x="1299" y="768"/>
                  </a:cubicBezTo>
                  <a:cubicBezTo>
                    <a:pt x="1299" y="769"/>
                    <a:pt x="1299" y="769"/>
                    <a:pt x="1299" y="769"/>
                  </a:cubicBezTo>
                  <a:cubicBezTo>
                    <a:pt x="1299" y="769"/>
                    <a:pt x="1299" y="769"/>
                    <a:pt x="1299" y="769"/>
                  </a:cubicBezTo>
                  <a:cubicBezTo>
                    <a:pt x="1299" y="770"/>
                    <a:pt x="1299" y="770"/>
                    <a:pt x="1299" y="770"/>
                  </a:cubicBezTo>
                  <a:cubicBezTo>
                    <a:pt x="1299" y="770"/>
                    <a:pt x="1299" y="770"/>
                    <a:pt x="1299" y="770"/>
                  </a:cubicBezTo>
                  <a:cubicBezTo>
                    <a:pt x="1299" y="771"/>
                    <a:pt x="1299" y="771"/>
                    <a:pt x="1299" y="771"/>
                  </a:cubicBezTo>
                  <a:cubicBezTo>
                    <a:pt x="1299" y="771"/>
                    <a:pt x="1299" y="771"/>
                    <a:pt x="1299" y="771"/>
                  </a:cubicBezTo>
                  <a:cubicBezTo>
                    <a:pt x="1299" y="771"/>
                    <a:pt x="1299" y="771"/>
                    <a:pt x="1299" y="771"/>
                  </a:cubicBezTo>
                  <a:cubicBezTo>
                    <a:pt x="1298" y="771"/>
                    <a:pt x="1298" y="771"/>
                    <a:pt x="1298" y="771"/>
                  </a:cubicBezTo>
                  <a:cubicBezTo>
                    <a:pt x="1298" y="770"/>
                    <a:pt x="1298" y="770"/>
                    <a:pt x="1298" y="770"/>
                  </a:cubicBezTo>
                  <a:cubicBezTo>
                    <a:pt x="1298" y="770"/>
                    <a:pt x="1298" y="770"/>
                    <a:pt x="1298" y="770"/>
                  </a:cubicBezTo>
                  <a:close/>
                  <a:moveTo>
                    <a:pt x="1300" y="776"/>
                  </a:moveTo>
                  <a:cubicBezTo>
                    <a:pt x="1301" y="775"/>
                    <a:pt x="1301" y="775"/>
                    <a:pt x="1301" y="775"/>
                  </a:cubicBezTo>
                  <a:cubicBezTo>
                    <a:pt x="1301" y="773"/>
                    <a:pt x="1301" y="773"/>
                    <a:pt x="1301" y="773"/>
                  </a:cubicBezTo>
                  <a:cubicBezTo>
                    <a:pt x="1302" y="773"/>
                    <a:pt x="1302" y="773"/>
                    <a:pt x="1302" y="773"/>
                  </a:cubicBezTo>
                  <a:cubicBezTo>
                    <a:pt x="1302" y="775"/>
                    <a:pt x="1302" y="775"/>
                    <a:pt x="1302" y="775"/>
                  </a:cubicBezTo>
                  <a:cubicBezTo>
                    <a:pt x="1301" y="776"/>
                    <a:pt x="1301" y="776"/>
                    <a:pt x="1301" y="776"/>
                  </a:cubicBezTo>
                  <a:cubicBezTo>
                    <a:pt x="1300" y="777"/>
                    <a:pt x="1300" y="777"/>
                    <a:pt x="1300" y="777"/>
                  </a:cubicBezTo>
                  <a:cubicBezTo>
                    <a:pt x="1299" y="778"/>
                    <a:pt x="1299" y="778"/>
                    <a:pt x="1299" y="778"/>
                  </a:cubicBezTo>
                  <a:cubicBezTo>
                    <a:pt x="1298" y="777"/>
                    <a:pt x="1298" y="777"/>
                    <a:pt x="1298" y="777"/>
                  </a:cubicBezTo>
                  <a:lnTo>
                    <a:pt x="1300" y="776"/>
                  </a:lnTo>
                  <a:close/>
                  <a:moveTo>
                    <a:pt x="1311" y="780"/>
                  </a:moveTo>
                  <a:cubicBezTo>
                    <a:pt x="1311" y="779"/>
                    <a:pt x="1311" y="779"/>
                    <a:pt x="1311" y="779"/>
                  </a:cubicBezTo>
                  <a:cubicBezTo>
                    <a:pt x="1311" y="779"/>
                    <a:pt x="1311" y="779"/>
                    <a:pt x="1311" y="779"/>
                  </a:cubicBezTo>
                  <a:cubicBezTo>
                    <a:pt x="1311" y="780"/>
                    <a:pt x="1311" y="780"/>
                    <a:pt x="1311" y="780"/>
                  </a:cubicBezTo>
                  <a:cubicBezTo>
                    <a:pt x="1312" y="780"/>
                    <a:pt x="1312" y="780"/>
                    <a:pt x="1312" y="780"/>
                  </a:cubicBezTo>
                  <a:cubicBezTo>
                    <a:pt x="1312" y="781"/>
                    <a:pt x="1312" y="781"/>
                    <a:pt x="1312" y="781"/>
                  </a:cubicBezTo>
                  <a:cubicBezTo>
                    <a:pt x="1311" y="780"/>
                    <a:pt x="1311" y="780"/>
                    <a:pt x="1311" y="7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44" name="Oval 362">
              <a:extLst>
                <a:ext uri="{FF2B5EF4-FFF2-40B4-BE49-F238E27FC236}">
                  <a16:creationId xmlns:a16="http://schemas.microsoft.com/office/drawing/2014/main" id="{4D282ED8-CB0E-46BD-B73B-E4334C07BD28}"/>
                </a:ext>
              </a:extLst>
            </p:cNvPr>
            <p:cNvSpPr>
              <a:spLocks noChangeArrowheads="1"/>
            </p:cNvSpPr>
            <p:nvPr/>
          </p:nvSpPr>
          <p:spPr bwMode="gray">
            <a:xfrm>
              <a:off x="-875" y="2539"/>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45" name="Freeform 363">
              <a:extLst>
                <a:ext uri="{FF2B5EF4-FFF2-40B4-BE49-F238E27FC236}">
                  <a16:creationId xmlns:a16="http://schemas.microsoft.com/office/drawing/2014/main" id="{1472B610-3618-4AA8-AA08-B6944E588E21}"/>
                </a:ext>
              </a:extLst>
            </p:cNvPr>
            <p:cNvSpPr>
              <a:spLocks/>
            </p:cNvSpPr>
            <p:nvPr/>
          </p:nvSpPr>
          <p:spPr bwMode="gray">
            <a:xfrm>
              <a:off x="-873" y="2534"/>
              <a:ext cx="0" cy="3"/>
            </a:xfrm>
            <a:custGeom>
              <a:avLst/>
              <a:gdLst>
                <a:gd name="T0" fmla="*/ 0 h 1"/>
                <a:gd name="T1" fmla="*/ 0 h 1"/>
                <a:gd name="T2" fmla="*/ 1 h 1"/>
                <a:gd name="T3" fmla="*/ 1 h 1"/>
                <a:gd name="T4" fmla="*/ 1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cubicBezTo>
                    <a:pt x="0" y="0"/>
                    <a:pt x="0" y="0"/>
                    <a:pt x="0" y="0"/>
                  </a:cubicBezTo>
                  <a:cubicBezTo>
                    <a:pt x="0" y="1"/>
                    <a:pt x="0" y="1"/>
                    <a:pt x="0" y="1"/>
                  </a:cubicBezTo>
                  <a:cubicBezTo>
                    <a:pt x="0" y="1"/>
                    <a:pt x="0" y="1"/>
                    <a:pt x="0" y="1"/>
                  </a:cubicBezTo>
                  <a:cubicBezTo>
                    <a:pt x="0" y="1"/>
                    <a:pt x="0" y="1"/>
                    <a:pt x="0" y="1"/>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46" name="Freeform 364">
              <a:extLst>
                <a:ext uri="{FF2B5EF4-FFF2-40B4-BE49-F238E27FC236}">
                  <a16:creationId xmlns:a16="http://schemas.microsoft.com/office/drawing/2014/main" id="{5C71CDFD-BBDF-429A-B78A-ABE1BF201964}"/>
                </a:ext>
              </a:extLst>
            </p:cNvPr>
            <p:cNvSpPr>
              <a:spLocks/>
            </p:cNvSpPr>
            <p:nvPr/>
          </p:nvSpPr>
          <p:spPr bwMode="gray">
            <a:xfrm>
              <a:off x="-1288" y="2760"/>
              <a:ext cx="33" cy="36"/>
            </a:xfrm>
            <a:custGeom>
              <a:avLst/>
              <a:gdLst>
                <a:gd name="T0" fmla="*/ 28 w 33"/>
                <a:gd name="T1" fmla="*/ 26 h 36"/>
                <a:gd name="T2" fmla="*/ 26 w 33"/>
                <a:gd name="T3" fmla="*/ 22 h 36"/>
                <a:gd name="T4" fmla="*/ 24 w 33"/>
                <a:gd name="T5" fmla="*/ 19 h 36"/>
                <a:gd name="T6" fmla="*/ 24 w 33"/>
                <a:gd name="T7" fmla="*/ 19 h 36"/>
                <a:gd name="T8" fmla="*/ 24 w 33"/>
                <a:gd name="T9" fmla="*/ 17 h 36"/>
                <a:gd name="T10" fmla="*/ 24 w 33"/>
                <a:gd name="T11" fmla="*/ 17 h 36"/>
                <a:gd name="T12" fmla="*/ 21 w 33"/>
                <a:gd name="T13" fmla="*/ 19 h 36"/>
                <a:gd name="T14" fmla="*/ 19 w 33"/>
                <a:gd name="T15" fmla="*/ 17 h 36"/>
                <a:gd name="T16" fmla="*/ 19 w 33"/>
                <a:gd name="T17" fmla="*/ 15 h 36"/>
                <a:gd name="T18" fmla="*/ 19 w 33"/>
                <a:gd name="T19" fmla="*/ 12 h 36"/>
                <a:gd name="T20" fmla="*/ 19 w 33"/>
                <a:gd name="T21" fmla="*/ 10 h 36"/>
                <a:gd name="T22" fmla="*/ 14 w 33"/>
                <a:gd name="T23" fmla="*/ 0 h 36"/>
                <a:gd name="T24" fmla="*/ 14 w 33"/>
                <a:gd name="T25" fmla="*/ 0 h 36"/>
                <a:gd name="T26" fmla="*/ 14 w 33"/>
                <a:gd name="T27" fmla="*/ 3 h 36"/>
                <a:gd name="T28" fmla="*/ 14 w 33"/>
                <a:gd name="T29" fmla="*/ 5 h 36"/>
                <a:gd name="T30" fmla="*/ 14 w 33"/>
                <a:gd name="T31" fmla="*/ 8 h 36"/>
                <a:gd name="T32" fmla="*/ 14 w 33"/>
                <a:gd name="T33" fmla="*/ 10 h 36"/>
                <a:gd name="T34" fmla="*/ 12 w 33"/>
                <a:gd name="T35" fmla="*/ 12 h 36"/>
                <a:gd name="T36" fmla="*/ 10 w 33"/>
                <a:gd name="T37" fmla="*/ 15 h 36"/>
                <a:gd name="T38" fmla="*/ 7 w 33"/>
                <a:gd name="T39" fmla="*/ 12 h 36"/>
                <a:gd name="T40" fmla="*/ 7 w 33"/>
                <a:gd name="T41" fmla="*/ 15 h 36"/>
                <a:gd name="T42" fmla="*/ 7 w 33"/>
                <a:gd name="T43" fmla="*/ 10 h 36"/>
                <a:gd name="T44" fmla="*/ 5 w 33"/>
                <a:gd name="T45" fmla="*/ 12 h 36"/>
                <a:gd name="T46" fmla="*/ 5 w 33"/>
                <a:gd name="T47" fmla="*/ 10 h 36"/>
                <a:gd name="T48" fmla="*/ 2 w 33"/>
                <a:gd name="T49" fmla="*/ 12 h 36"/>
                <a:gd name="T50" fmla="*/ 2 w 33"/>
                <a:gd name="T51" fmla="*/ 19 h 36"/>
                <a:gd name="T52" fmla="*/ 0 w 33"/>
                <a:gd name="T53" fmla="*/ 19 h 36"/>
                <a:gd name="T54" fmla="*/ 0 w 33"/>
                <a:gd name="T55" fmla="*/ 19 h 36"/>
                <a:gd name="T56" fmla="*/ 0 w 33"/>
                <a:gd name="T57" fmla="*/ 22 h 36"/>
                <a:gd name="T58" fmla="*/ 0 w 33"/>
                <a:gd name="T59" fmla="*/ 24 h 36"/>
                <a:gd name="T60" fmla="*/ 0 w 33"/>
                <a:gd name="T61" fmla="*/ 26 h 36"/>
                <a:gd name="T62" fmla="*/ 2 w 33"/>
                <a:gd name="T63" fmla="*/ 29 h 36"/>
                <a:gd name="T64" fmla="*/ 2 w 33"/>
                <a:gd name="T65" fmla="*/ 29 h 36"/>
                <a:gd name="T66" fmla="*/ 5 w 33"/>
                <a:gd name="T67" fmla="*/ 26 h 36"/>
                <a:gd name="T68" fmla="*/ 7 w 33"/>
                <a:gd name="T69" fmla="*/ 24 h 36"/>
                <a:gd name="T70" fmla="*/ 5 w 33"/>
                <a:gd name="T71" fmla="*/ 19 h 36"/>
                <a:gd name="T72" fmla="*/ 7 w 33"/>
                <a:gd name="T73" fmla="*/ 17 h 36"/>
                <a:gd name="T74" fmla="*/ 10 w 33"/>
                <a:gd name="T75" fmla="*/ 24 h 36"/>
                <a:gd name="T76" fmla="*/ 12 w 33"/>
                <a:gd name="T77" fmla="*/ 26 h 36"/>
                <a:gd name="T78" fmla="*/ 10 w 33"/>
                <a:gd name="T79" fmla="*/ 26 h 36"/>
                <a:gd name="T80" fmla="*/ 10 w 33"/>
                <a:gd name="T81" fmla="*/ 26 h 36"/>
                <a:gd name="T82" fmla="*/ 10 w 33"/>
                <a:gd name="T83" fmla="*/ 29 h 36"/>
                <a:gd name="T84" fmla="*/ 10 w 33"/>
                <a:gd name="T85" fmla="*/ 31 h 36"/>
                <a:gd name="T86" fmla="*/ 12 w 33"/>
                <a:gd name="T87" fmla="*/ 33 h 36"/>
                <a:gd name="T88" fmla="*/ 14 w 33"/>
                <a:gd name="T89" fmla="*/ 33 h 36"/>
                <a:gd name="T90" fmla="*/ 19 w 33"/>
                <a:gd name="T91" fmla="*/ 31 h 36"/>
                <a:gd name="T92" fmla="*/ 24 w 33"/>
                <a:gd name="T93" fmla="*/ 33 h 36"/>
                <a:gd name="T94" fmla="*/ 26 w 33"/>
                <a:gd name="T95" fmla="*/ 36 h 36"/>
                <a:gd name="T96" fmla="*/ 28 w 33"/>
                <a:gd name="T97" fmla="*/ 36 h 36"/>
                <a:gd name="T98" fmla="*/ 28 w 33"/>
                <a:gd name="T99" fmla="*/ 36 h 36"/>
                <a:gd name="T100" fmla="*/ 31 w 33"/>
                <a:gd name="T101" fmla="*/ 36 h 36"/>
                <a:gd name="T102" fmla="*/ 33 w 33"/>
                <a:gd name="T103" fmla="*/ 33 h 36"/>
                <a:gd name="T104" fmla="*/ 31 w 33"/>
                <a:gd name="T105"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 h="36">
                  <a:moveTo>
                    <a:pt x="31" y="31"/>
                  </a:moveTo>
                  <a:lnTo>
                    <a:pt x="28" y="26"/>
                  </a:lnTo>
                  <a:lnTo>
                    <a:pt x="28" y="24"/>
                  </a:lnTo>
                  <a:lnTo>
                    <a:pt x="26" y="22"/>
                  </a:lnTo>
                  <a:lnTo>
                    <a:pt x="26" y="22"/>
                  </a:lnTo>
                  <a:lnTo>
                    <a:pt x="24" y="19"/>
                  </a:lnTo>
                  <a:lnTo>
                    <a:pt x="24" y="19"/>
                  </a:lnTo>
                  <a:lnTo>
                    <a:pt x="24" y="19"/>
                  </a:lnTo>
                  <a:lnTo>
                    <a:pt x="24" y="19"/>
                  </a:lnTo>
                  <a:lnTo>
                    <a:pt x="24" y="17"/>
                  </a:lnTo>
                  <a:lnTo>
                    <a:pt x="24" y="17"/>
                  </a:lnTo>
                  <a:lnTo>
                    <a:pt x="24" y="17"/>
                  </a:lnTo>
                  <a:lnTo>
                    <a:pt x="21" y="19"/>
                  </a:lnTo>
                  <a:lnTo>
                    <a:pt x="21" y="19"/>
                  </a:lnTo>
                  <a:lnTo>
                    <a:pt x="19" y="19"/>
                  </a:lnTo>
                  <a:lnTo>
                    <a:pt x="19" y="17"/>
                  </a:lnTo>
                  <a:lnTo>
                    <a:pt x="19" y="15"/>
                  </a:lnTo>
                  <a:lnTo>
                    <a:pt x="19" y="15"/>
                  </a:lnTo>
                  <a:lnTo>
                    <a:pt x="19" y="15"/>
                  </a:lnTo>
                  <a:lnTo>
                    <a:pt x="19" y="12"/>
                  </a:lnTo>
                  <a:lnTo>
                    <a:pt x="19" y="12"/>
                  </a:lnTo>
                  <a:lnTo>
                    <a:pt x="19" y="10"/>
                  </a:lnTo>
                  <a:lnTo>
                    <a:pt x="17" y="0"/>
                  </a:lnTo>
                  <a:lnTo>
                    <a:pt x="14" y="0"/>
                  </a:lnTo>
                  <a:lnTo>
                    <a:pt x="14" y="0"/>
                  </a:lnTo>
                  <a:lnTo>
                    <a:pt x="14" y="0"/>
                  </a:lnTo>
                  <a:lnTo>
                    <a:pt x="14" y="3"/>
                  </a:lnTo>
                  <a:lnTo>
                    <a:pt x="14" y="3"/>
                  </a:lnTo>
                  <a:lnTo>
                    <a:pt x="14" y="5"/>
                  </a:lnTo>
                  <a:lnTo>
                    <a:pt x="14" y="5"/>
                  </a:lnTo>
                  <a:lnTo>
                    <a:pt x="14" y="8"/>
                  </a:lnTo>
                  <a:lnTo>
                    <a:pt x="14" y="8"/>
                  </a:lnTo>
                  <a:lnTo>
                    <a:pt x="14" y="10"/>
                  </a:lnTo>
                  <a:lnTo>
                    <a:pt x="14" y="10"/>
                  </a:lnTo>
                  <a:lnTo>
                    <a:pt x="12" y="12"/>
                  </a:lnTo>
                  <a:lnTo>
                    <a:pt x="12" y="12"/>
                  </a:lnTo>
                  <a:lnTo>
                    <a:pt x="10" y="15"/>
                  </a:lnTo>
                  <a:lnTo>
                    <a:pt x="10" y="15"/>
                  </a:lnTo>
                  <a:lnTo>
                    <a:pt x="10" y="15"/>
                  </a:lnTo>
                  <a:lnTo>
                    <a:pt x="7" y="12"/>
                  </a:lnTo>
                  <a:lnTo>
                    <a:pt x="7" y="12"/>
                  </a:lnTo>
                  <a:lnTo>
                    <a:pt x="7" y="15"/>
                  </a:lnTo>
                  <a:lnTo>
                    <a:pt x="7" y="12"/>
                  </a:lnTo>
                  <a:lnTo>
                    <a:pt x="7" y="10"/>
                  </a:lnTo>
                  <a:lnTo>
                    <a:pt x="5" y="10"/>
                  </a:lnTo>
                  <a:lnTo>
                    <a:pt x="5" y="12"/>
                  </a:lnTo>
                  <a:lnTo>
                    <a:pt x="5" y="12"/>
                  </a:lnTo>
                  <a:lnTo>
                    <a:pt x="5" y="10"/>
                  </a:lnTo>
                  <a:lnTo>
                    <a:pt x="5" y="10"/>
                  </a:lnTo>
                  <a:lnTo>
                    <a:pt x="2" y="12"/>
                  </a:lnTo>
                  <a:lnTo>
                    <a:pt x="2" y="15"/>
                  </a:lnTo>
                  <a:lnTo>
                    <a:pt x="2" y="19"/>
                  </a:lnTo>
                  <a:lnTo>
                    <a:pt x="0" y="19"/>
                  </a:lnTo>
                  <a:lnTo>
                    <a:pt x="0" y="19"/>
                  </a:lnTo>
                  <a:lnTo>
                    <a:pt x="0" y="19"/>
                  </a:lnTo>
                  <a:lnTo>
                    <a:pt x="0" y="19"/>
                  </a:lnTo>
                  <a:lnTo>
                    <a:pt x="0" y="22"/>
                  </a:lnTo>
                  <a:lnTo>
                    <a:pt x="0" y="22"/>
                  </a:lnTo>
                  <a:lnTo>
                    <a:pt x="0" y="24"/>
                  </a:lnTo>
                  <a:lnTo>
                    <a:pt x="0" y="24"/>
                  </a:lnTo>
                  <a:lnTo>
                    <a:pt x="0" y="24"/>
                  </a:lnTo>
                  <a:lnTo>
                    <a:pt x="0" y="26"/>
                  </a:lnTo>
                  <a:lnTo>
                    <a:pt x="2" y="29"/>
                  </a:lnTo>
                  <a:lnTo>
                    <a:pt x="2" y="29"/>
                  </a:lnTo>
                  <a:lnTo>
                    <a:pt x="2" y="29"/>
                  </a:lnTo>
                  <a:lnTo>
                    <a:pt x="2" y="29"/>
                  </a:lnTo>
                  <a:lnTo>
                    <a:pt x="5" y="29"/>
                  </a:lnTo>
                  <a:lnTo>
                    <a:pt x="5" y="26"/>
                  </a:lnTo>
                  <a:lnTo>
                    <a:pt x="7" y="26"/>
                  </a:lnTo>
                  <a:lnTo>
                    <a:pt x="7" y="24"/>
                  </a:lnTo>
                  <a:lnTo>
                    <a:pt x="5" y="19"/>
                  </a:lnTo>
                  <a:lnTo>
                    <a:pt x="5" y="19"/>
                  </a:lnTo>
                  <a:lnTo>
                    <a:pt x="7" y="17"/>
                  </a:lnTo>
                  <a:lnTo>
                    <a:pt x="7" y="17"/>
                  </a:lnTo>
                  <a:lnTo>
                    <a:pt x="7" y="19"/>
                  </a:lnTo>
                  <a:lnTo>
                    <a:pt x="10" y="24"/>
                  </a:lnTo>
                  <a:lnTo>
                    <a:pt x="10" y="26"/>
                  </a:lnTo>
                  <a:lnTo>
                    <a:pt x="12" y="26"/>
                  </a:lnTo>
                  <a:lnTo>
                    <a:pt x="12" y="26"/>
                  </a:lnTo>
                  <a:lnTo>
                    <a:pt x="10" y="26"/>
                  </a:lnTo>
                  <a:lnTo>
                    <a:pt x="10" y="26"/>
                  </a:lnTo>
                  <a:lnTo>
                    <a:pt x="10" y="26"/>
                  </a:lnTo>
                  <a:lnTo>
                    <a:pt x="10" y="26"/>
                  </a:lnTo>
                  <a:lnTo>
                    <a:pt x="10" y="29"/>
                  </a:lnTo>
                  <a:lnTo>
                    <a:pt x="10" y="29"/>
                  </a:lnTo>
                  <a:lnTo>
                    <a:pt x="10" y="31"/>
                  </a:lnTo>
                  <a:lnTo>
                    <a:pt x="10" y="31"/>
                  </a:lnTo>
                  <a:lnTo>
                    <a:pt x="12" y="33"/>
                  </a:lnTo>
                  <a:lnTo>
                    <a:pt x="14" y="33"/>
                  </a:lnTo>
                  <a:lnTo>
                    <a:pt x="14" y="33"/>
                  </a:lnTo>
                  <a:lnTo>
                    <a:pt x="17" y="31"/>
                  </a:lnTo>
                  <a:lnTo>
                    <a:pt x="19" y="31"/>
                  </a:lnTo>
                  <a:lnTo>
                    <a:pt x="21" y="33"/>
                  </a:lnTo>
                  <a:lnTo>
                    <a:pt x="24" y="33"/>
                  </a:lnTo>
                  <a:lnTo>
                    <a:pt x="26" y="36"/>
                  </a:lnTo>
                  <a:lnTo>
                    <a:pt x="26" y="36"/>
                  </a:lnTo>
                  <a:lnTo>
                    <a:pt x="26" y="36"/>
                  </a:lnTo>
                  <a:lnTo>
                    <a:pt x="28" y="36"/>
                  </a:lnTo>
                  <a:lnTo>
                    <a:pt x="28" y="36"/>
                  </a:lnTo>
                  <a:lnTo>
                    <a:pt x="28" y="36"/>
                  </a:lnTo>
                  <a:lnTo>
                    <a:pt x="31" y="36"/>
                  </a:lnTo>
                  <a:lnTo>
                    <a:pt x="31" y="36"/>
                  </a:lnTo>
                  <a:lnTo>
                    <a:pt x="33" y="36"/>
                  </a:lnTo>
                  <a:lnTo>
                    <a:pt x="33" y="33"/>
                  </a:lnTo>
                  <a:lnTo>
                    <a:pt x="33" y="31"/>
                  </a:lnTo>
                  <a:lnTo>
                    <a:pt x="3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47" name="Freeform 365">
              <a:extLst>
                <a:ext uri="{FF2B5EF4-FFF2-40B4-BE49-F238E27FC236}">
                  <a16:creationId xmlns:a16="http://schemas.microsoft.com/office/drawing/2014/main" id="{D0DFEE5C-5B38-441A-A1F2-A97844C7D286}"/>
                </a:ext>
              </a:extLst>
            </p:cNvPr>
            <p:cNvSpPr>
              <a:spLocks/>
            </p:cNvSpPr>
            <p:nvPr/>
          </p:nvSpPr>
          <p:spPr bwMode="gray">
            <a:xfrm>
              <a:off x="-1269" y="2758"/>
              <a:ext cx="9" cy="17"/>
            </a:xfrm>
            <a:custGeom>
              <a:avLst/>
              <a:gdLst>
                <a:gd name="T0" fmla="*/ 7 w 9"/>
                <a:gd name="T1" fmla="*/ 10 h 17"/>
                <a:gd name="T2" fmla="*/ 7 w 9"/>
                <a:gd name="T3" fmla="*/ 10 h 17"/>
                <a:gd name="T4" fmla="*/ 7 w 9"/>
                <a:gd name="T5" fmla="*/ 10 h 17"/>
                <a:gd name="T6" fmla="*/ 7 w 9"/>
                <a:gd name="T7" fmla="*/ 12 h 17"/>
                <a:gd name="T8" fmla="*/ 7 w 9"/>
                <a:gd name="T9" fmla="*/ 12 h 17"/>
                <a:gd name="T10" fmla="*/ 7 w 9"/>
                <a:gd name="T11" fmla="*/ 12 h 17"/>
                <a:gd name="T12" fmla="*/ 5 w 9"/>
                <a:gd name="T13" fmla="*/ 12 h 17"/>
                <a:gd name="T14" fmla="*/ 5 w 9"/>
                <a:gd name="T15" fmla="*/ 12 h 17"/>
                <a:gd name="T16" fmla="*/ 5 w 9"/>
                <a:gd name="T17" fmla="*/ 12 h 17"/>
                <a:gd name="T18" fmla="*/ 5 w 9"/>
                <a:gd name="T19" fmla="*/ 7 h 17"/>
                <a:gd name="T20" fmla="*/ 7 w 9"/>
                <a:gd name="T21" fmla="*/ 7 h 17"/>
                <a:gd name="T22" fmla="*/ 7 w 9"/>
                <a:gd name="T23" fmla="*/ 5 h 17"/>
                <a:gd name="T24" fmla="*/ 5 w 9"/>
                <a:gd name="T25" fmla="*/ 5 h 17"/>
                <a:gd name="T26" fmla="*/ 5 w 9"/>
                <a:gd name="T27" fmla="*/ 5 h 17"/>
                <a:gd name="T28" fmla="*/ 5 w 9"/>
                <a:gd name="T29" fmla="*/ 2 h 17"/>
                <a:gd name="T30" fmla="*/ 2 w 9"/>
                <a:gd name="T31" fmla="*/ 2 h 17"/>
                <a:gd name="T32" fmla="*/ 2 w 9"/>
                <a:gd name="T33" fmla="*/ 2 h 17"/>
                <a:gd name="T34" fmla="*/ 5 w 9"/>
                <a:gd name="T35" fmla="*/ 0 h 17"/>
                <a:gd name="T36" fmla="*/ 5 w 9"/>
                <a:gd name="T37" fmla="*/ 0 h 17"/>
                <a:gd name="T38" fmla="*/ 2 w 9"/>
                <a:gd name="T39" fmla="*/ 0 h 17"/>
                <a:gd name="T40" fmla="*/ 2 w 9"/>
                <a:gd name="T41" fmla="*/ 2 h 17"/>
                <a:gd name="T42" fmla="*/ 0 w 9"/>
                <a:gd name="T43" fmla="*/ 2 h 17"/>
                <a:gd name="T44" fmla="*/ 0 w 9"/>
                <a:gd name="T45" fmla="*/ 2 h 17"/>
                <a:gd name="T46" fmla="*/ 0 w 9"/>
                <a:gd name="T47" fmla="*/ 2 h 17"/>
                <a:gd name="T48" fmla="*/ 0 w 9"/>
                <a:gd name="T49" fmla="*/ 5 h 17"/>
                <a:gd name="T50" fmla="*/ 0 w 9"/>
                <a:gd name="T51" fmla="*/ 5 h 17"/>
                <a:gd name="T52" fmla="*/ 2 w 9"/>
                <a:gd name="T53" fmla="*/ 5 h 17"/>
                <a:gd name="T54" fmla="*/ 2 w 9"/>
                <a:gd name="T55" fmla="*/ 5 h 17"/>
                <a:gd name="T56" fmla="*/ 2 w 9"/>
                <a:gd name="T57" fmla="*/ 7 h 17"/>
                <a:gd name="T58" fmla="*/ 2 w 9"/>
                <a:gd name="T59" fmla="*/ 7 h 17"/>
                <a:gd name="T60" fmla="*/ 2 w 9"/>
                <a:gd name="T61" fmla="*/ 12 h 17"/>
                <a:gd name="T62" fmla="*/ 5 w 9"/>
                <a:gd name="T63" fmla="*/ 12 h 17"/>
                <a:gd name="T64" fmla="*/ 5 w 9"/>
                <a:gd name="T65" fmla="*/ 14 h 17"/>
                <a:gd name="T66" fmla="*/ 5 w 9"/>
                <a:gd name="T67" fmla="*/ 14 h 17"/>
                <a:gd name="T68" fmla="*/ 7 w 9"/>
                <a:gd name="T69" fmla="*/ 17 h 17"/>
                <a:gd name="T70" fmla="*/ 7 w 9"/>
                <a:gd name="T71" fmla="*/ 17 h 17"/>
                <a:gd name="T72" fmla="*/ 7 w 9"/>
                <a:gd name="T73" fmla="*/ 17 h 17"/>
                <a:gd name="T74" fmla="*/ 9 w 9"/>
                <a:gd name="T75" fmla="*/ 17 h 17"/>
                <a:gd name="T76" fmla="*/ 9 w 9"/>
                <a:gd name="T77" fmla="*/ 14 h 17"/>
                <a:gd name="T78" fmla="*/ 9 w 9"/>
                <a:gd name="T79" fmla="*/ 14 h 17"/>
                <a:gd name="T80" fmla="*/ 9 w 9"/>
                <a:gd name="T81" fmla="*/ 14 h 17"/>
                <a:gd name="T82" fmla="*/ 7 w 9"/>
                <a:gd name="T83" fmla="*/ 12 h 17"/>
                <a:gd name="T84" fmla="*/ 9 w 9"/>
                <a:gd name="T85" fmla="*/ 12 h 17"/>
                <a:gd name="T86" fmla="*/ 9 w 9"/>
                <a:gd name="T87" fmla="*/ 10 h 17"/>
                <a:gd name="T88" fmla="*/ 7 w 9"/>
                <a:gd name="T89" fmla="*/ 10 h 17"/>
                <a:gd name="T90" fmla="*/ 7 w 9"/>
                <a:gd name="T91"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 h="17">
                  <a:moveTo>
                    <a:pt x="7" y="10"/>
                  </a:moveTo>
                  <a:lnTo>
                    <a:pt x="7" y="10"/>
                  </a:lnTo>
                  <a:lnTo>
                    <a:pt x="7" y="10"/>
                  </a:lnTo>
                  <a:lnTo>
                    <a:pt x="7" y="12"/>
                  </a:lnTo>
                  <a:lnTo>
                    <a:pt x="7" y="12"/>
                  </a:lnTo>
                  <a:lnTo>
                    <a:pt x="7" y="12"/>
                  </a:lnTo>
                  <a:lnTo>
                    <a:pt x="5" y="12"/>
                  </a:lnTo>
                  <a:lnTo>
                    <a:pt x="5" y="12"/>
                  </a:lnTo>
                  <a:lnTo>
                    <a:pt x="5" y="12"/>
                  </a:lnTo>
                  <a:lnTo>
                    <a:pt x="5" y="7"/>
                  </a:lnTo>
                  <a:lnTo>
                    <a:pt x="7" y="7"/>
                  </a:lnTo>
                  <a:lnTo>
                    <a:pt x="7" y="5"/>
                  </a:lnTo>
                  <a:lnTo>
                    <a:pt x="5" y="5"/>
                  </a:lnTo>
                  <a:lnTo>
                    <a:pt x="5" y="5"/>
                  </a:lnTo>
                  <a:lnTo>
                    <a:pt x="5" y="2"/>
                  </a:lnTo>
                  <a:lnTo>
                    <a:pt x="2" y="2"/>
                  </a:lnTo>
                  <a:lnTo>
                    <a:pt x="2" y="2"/>
                  </a:lnTo>
                  <a:lnTo>
                    <a:pt x="5" y="0"/>
                  </a:lnTo>
                  <a:lnTo>
                    <a:pt x="5" y="0"/>
                  </a:lnTo>
                  <a:lnTo>
                    <a:pt x="2" y="0"/>
                  </a:lnTo>
                  <a:lnTo>
                    <a:pt x="2" y="2"/>
                  </a:lnTo>
                  <a:lnTo>
                    <a:pt x="0" y="2"/>
                  </a:lnTo>
                  <a:lnTo>
                    <a:pt x="0" y="2"/>
                  </a:lnTo>
                  <a:lnTo>
                    <a:pt x="0" y="2"/>
                  </a:lnTo>
                  <a:lnTo>
                    <a:pt x="0" y="5"/>
                  </a:lnTo>
                  <a:lnTo>
                    <a:pt x="0" y="5"/>
                  </a:lnTo>
                  <a:lnTo>
                    <a:pt x="2" y="5"/>
                  </a:lnTo>
                  <a:lnTo>
                    <a:pt x="2" y="5"/>
                  </a:lnTo>
                  <a:lnTo>
                    <a:pt x="2" y="7"/>
                  </a:lnTo>
                  <a:lnTo>
                    <a:pt x="2" y="7"/>
                  </a:lnTo>
                  <a:lnTo>
                    <a:pt x="2" y="12"/>
                  </a:lnTo>
                  <a:lnTo>
                    <a:pt x="5" y="12"/>
                  </a:lnTo>
                  <a:lnTo>
                    <a:pt x="5" y="14"/>
                  </a:lnTo>
                  <a:lnTo>
                    <a:pt x="5" y="14"/>
                  </a:lnTo>
                  <a:lnTo>
                    <a:pt x="7" y="17"/>
                  </a:lnTo>
                  <a:lnTo>
                    <a:pt x="7" y="17"/>
                  </a:lnTo>
                  <a:lnTo>
                    <a:pt x="7" y="17"/>
                  </a:lnTo>
                  <a:lnTo>
                    <a:pt x="9" y="17"/>
                  </a:lnTo>
                  <a:lnTo>
                    <a:pt x="9" y="14"/>
                  </a:lnTo>
                  <a:lnTo>
                    <a:pt x="9" y="14"/>
                  </a:lnTo>
                  <a:lnTo>
                    <a:pt x="9" y="14"/>
                  </a:lnTo>
                  <a:lnTo>
                    <a:pt x="7" y="12"/>
                  </a:lnTo>
                  <a:lnTo>
                    <a:pt x="9" y="12"/>
                  </a:lnTo>
                  <a:lnTo>
                    <a:pt x="9" y="10"/>
                  </a:lnTo>
                  <a:lnTo>
                    <a:pt x="7" y="10"/>
                  </a:lnTo>
                  <a:lnTo>
                    <a:pt x="7"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48" name="Freeform 366">
              <a:extLst>
                <a:ext uri="{FF2B5EF4-FFF2-40B4-BE49-F238E27FC236}">
                  <a16:creationId xmlns:a16="http://schemas.microsoft.com/office/drawing/2014/main" id="{92CB81D7-A719-4E29-89EF-3332FEB4884D}"/>
                </a:ext>
              </a:extLst>
            </p:cNvPr>
            <p:cNvSpPr>
              <a:spLocks/>
            </p:cNvSpPr>
            <p:nvPr/>
          </p:nvSpPr>
          <p:spPr bwMode="gray">
            <a:xfrm>
              <a:off x="-1262" y="2742"/>
              <a:ext cx="7" cy="7"/>
            </a:xfrm>
            <a:custGeom>
              <a:avLst/>
              <a:gdLst>
                <a:gd name="T0" fmla="*/ 5 w 7"/>
                <a:gd name="T1" fmla="*/ 0 h 7"/>
                <a:gd name="T2" fmla="*/ 5 w 7"/>
                <a:gd name="T3" fmla="*/ 0 h 7"/>
                <a:gd name="T4" fmla="*/ 2 w 7"/>
                <a:gd name="T5" fmla="*/ 0 h 7"/>
                <a:gd name="T6" fmla="*/ 2 w 7"/>
                <a:gd name="T7" fmla="*/ 2 h 7"/>
                <a:gd name="T8" fmla="*/ 0 w 7"/>
                <a:gd name="T9" fmla="*/ 2 h 7"/>
                <a:gd name="T10" fmla="*/ 2 w 7"/>
                <a:gd name="T11" fmla="*/ 4 h 7"/>
                <a:gd name="T12" fmla="*/ 5 w 7"/>
                <a:gd name="T13" fmla="*/ 7 h 7"/>
                <a:gd name="T14" fmla="*/ 5 w 7"/>
                <a:gd name="T15" fmla="*/ 7 h 7"/>
                <a:gd name="T16" fmla="*/ 5 w 7"/>
                <a:gd name="T17" fmla="*/ 7 h 7"/>
                <a:gd name="T18" fmla="*/ 5 w 7"/>
                <a:gd name="T19" fmla="*/ 7 h 7"/>
                <a:gd name="T20" fmla="*/ 5 w 7"/>
                <a:gd name="T21" fmla="*/ 4 h 7"/>
                <a:gd name="T22" fmla="*/ 5 w 7"/>
                <a:gd name="T23" fmla="*/ 4 h 7"/>
                <a:gd name="T24" fmla="*/ 2 w 7"/>
                <a:gd name="T25" fmla="*/ 4 h 7"/>
                <a:gd name="T26" fmla="*/ 2 w 7"/>
                <a:gd name="T27" fmla="*/ 4 h 7"/>
                <a:gd name="T28" fmla="*/ 5 w 7"/>
                <a:gd name="T29" fmla="*/ 2 h 7"/>
                <a:gd name="T30" fmla="*/ 5 w 7"/>
                <a:gd name="T31" fmla="*/ 2 h 7"/>
                <a:gd name="T32" fmla="*/ 7 w 7"/>
                <a:gd name="T33" fmla="*/ 2 h 7"/>
                <a:gd name="T34" fmla="*/ 7 w 7"/>
                <a:gd name="T35" fmla="*/ 2 h 7"/>
                <a:gd name="T36" fmla="*/ 7 w 7"/>
                <a:gd name="T37" fmla="*/ 0 h 7"/>
                <a:gd name="T38" fmla="*/ 5 w 7"/>
                <a:gd name="T39" fmla="*/ 0 h 7"/>
                <a:gd name="T40" fmla="*/ 5 w 7"/>
                <a:gd name="T41" fmla="*/ 0 h 7"/>
                <a:gd name="T42" fmla="*/ 5 w 7"/>
                <a:gd name="T4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 h="7">
                  <a:moveTo>
                    <a:pt x="5" y="0"/>
                  </a:moveTo>
                  <a:lnTo>
                    <a:pt x="5" y="0"/>
                  </a:lnTo>
                  <a:lnTo>
                    <a:pt x="2" y="0"/>
                  </a:lnTo>
                  <a:lnTo>
                    <a:pt x="2" y="2"/>
                  </a:lnTo>
                  <a:lnTo>
                    <a:pt x="0" y="2"/>
                  </a:lnTo>
                  <a:lnTo>
                    <a:pt x="2" y="4"/>
                  </a:lnTo>
                  <a:lnTo>
                    <a:pt x="5" y="7"/>
                  </a:lnTo>
                  <a:lnTo>
                    <a:pt x="5" y="7"/>
                  </a:lnTo>
                  <a:lnTo>
                    <a:pt x="5" y="7"/>
                  </a:lnTo>
                  <a:lnTo>
                    <a:pt x="5" y="7"/>
                  </a:lnTo>
                  <a:lnTo>
                    <a:pt x="5" y="4"/>
                  </a:lnTo>
                  <a:lnTo>
                    <a:pt x="5" y="4"/>
                  </a:lnTo>
                  <a:lnTo>
                    <a:pt x="2" y="4"/>
                  </a:lnTo>
                  <a:lnTo>
                    <a:pt x="2" y="4"/>
                  </a:lnTo>
                  <a:lnTo>
                    <a:pt x="5" y="2"/>
                  </a:lnTo>
                  <a:lnTo>
                    <a:pt x="5" y="2"/>
                  </a:lnTo>
                  <a:lnTo>
                    <a:pt x="7" y="2"/>
                  </a:lnTo>
                  <a:lnTo>
                    <a:pt x="7" y="2"/>
                  </a:lnTo>
                  <a:lnTo>
                    <a:pt x="7" y="0"/>
                  </a:lnTo>
                  <a:lnTo>
                    <a:pt x="5"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49" name="Freeform 367">
              <a:extLst>
                <a:ext uri="{FF2B5EF4-FFF2-40B4-BE49-F238E27FC236}">
                  <a16:creationId xmlns:a16="http://schemas.microsoft.com/office/drawing/2014/main" id="{A6708F4B-E157-40B4-9CE7-72C29DBE0FE8}"/>
                </a:ext>
              </a:extLst>
            </p:cNvPr>
            <p:cNvSpPr>
              <a:spLocks/>
            </p:cNvSpPr>
            <p:nvPr/>
          </p:nvSpPr>
          <p:spPr bwMode="gray">
            <a:xfrm>
              <a:off x="-1274" y="2725"/>
              <a:ext cx="12" cy="26"/>
            </a:xfrm>
            <a:custGeom>
              <a:avLst/>
              <a:gdLst>
                <a:gd name="T0" fmla="*/ 10 w 12"/>
                <a:gd name="T1" fmla="*/ 0 h 26"/>
                <a:gd name="T2" fmla="*/ 7 w 12"/>
                <a:gd name="T3" fmla="*/ 2 h 26"/>
                <a:gd name="T4" fmla="*/ 7 w 12"/>
                <a:gd name="T5" fmla="*/ 2 h 26"/>
                <a:gd name="T6" fmla="*/ 5 w 12"/>
                <a:gd name="T7" fmla="*/ 5 h 26"/>
                <a:gd name="T8" fmla="*/ 5 w 12"/>
                <a:gd name="T9" fmla="*/ 5 h 26"/>
                <a:gd name="T10" fmla="*/ 5 w 12"/>
                <a:gd name="T11" fmla="*/ 7 h 26"/>
                <a:gd name="T12" fmla="*/ 5 w 12"/>
                <a:gd name="T13" fmla="*/ 7 h 26"/>
                <a:gd name="T14" fmla="*/ 3 w 12"/>
                <a:gd name="T15" fmla="*/ 10 h 26"/>
                <a:gd name="T16" fmla="*/ 3 w 12"/>
                <a:gd name="T17" fmla="*/ 12 h 26"/>
                <a:gd name="T18" fmla="*/ 0 w 12"/>
                <a:gd name="T19" fmla="*/ 14 h 26"/>
                <a:gd name="T20" fmla="*/ 0 w 12"/>
                <a:gd name="T21" fmla="*/ 24 h 26"/>
                <a:gd name="T22" fmla="*/ 0 w 12"/>
                <a:gd name="T23" fmla="*/ 26 h 26"/>
                <a:gd name="T24" fmla="*/ 0 w 12"/>
                <a:gd name="T25" fmla="*/ 26 h 26"/>
                <a:gd name="T26" fmla="*/ 0 w 12"/>
                <a:gd name="T27" fmla="*/ 24 h 26"/>
                <a:gd name="T28" fmla="*/ 3 w 12"/>
                <a:gd name="T29" fmla="*/ 24 h 26"/>
                <a:gd name="T30" fmla="*/ 3 w 12"/>
                <a:gd name="T31" fmla="*/ 21 h 26"/>
                <a:gd name="T32" fmla="*/ 5 w 12"/>
                <a:gd name="T33" fmla="*/ 21 h 26"/>
                <a:gd name="T34" fmla="*/ 5 w 12"/>
                <a:gd name="T35" fmla="*/ 24 h 26"/>
                <a:gd name="T36" fmla="*/ 5 w 12"/>
                <a:gd name="T37" fmla="*/ 24 h 26"/>
                <a:gd name="T38" fmla="*/ 5 w 12"/>
                <a:gd name="T39" fmla="*/ 24 h 26"/>
                <a:gd name="T40" fmla="*/ 5 w 12"/>
                <a:gd name="T41" fmla="*/ 24 h 26"/>
                <a:gd name="T42" fmla="*/ 5 w 12"/>
                <a:gd name="T43" fmla="*/ 26 h 26"/>
                <a:gd name="T44" fmla="*/ 7 w 12"/>
                <a:gd name="T45" fmla="*/ 26 h 26"/>
                <a:gd name="T46" fmla="*/ 7 w 12"/>
                <a:gd name="T47" fmla="*/ 24 h 26"/>
                <a:gd name="T48" fmla="*/ 7 w 12"/>
                <a:gd name="T49" fmla="*/ 24 h 26"/>
                <a:gd name="T50" fmla="*/ 7 w 12"/>
                <a:gd name="T51" fmla="*/ 24 h 26"/>
                <a:gd name="T52" fmla="*/ 7 w 12"/>
                <a:gd name="T53" fmla="*/ 24 h 26"/>
                <a:gd name="T54" fmla="*/ 10 w 12"/>
                <a:gd name="T55" fmla="*/ 24 h 26"/>
                <a:gd name="T56" fmla="*/ 10 w 12"/>
                <a:gd name="T57" fmla="*/ 24 h 26"/>
                <a:gd name="T58" fmla="*/ 10 w 12"/>
                <a:gd name="T59" fmla="*/ 21 h 26"/>
                <a:gd name="T60" fmla="*/ 10 w 12"/>
                <a:gd name="T61" fmla="*/ 21 h 26"/>
                <a:gd name="T62" fmla="*/ 10 w 12"/>
                <a:gd name="T63" fmla="*/ 21 h 26"/>
                <a:gd name="T64" fmla="*/ 10 w 12"/>
                <a:gd name="T65" fmla="*/ 21 h 26"/>
                <a:gd name="T66" fmla="*/ 12 w 12"/>
                <a:gd name="T67" fmla="*/ 21 h 26"/>
                <a:gd name="T68" fmla="*/ 10 w 12"/>
                <a:gd name="T69" fmla="*/ 21 h 26"/>
                <a:gd name="T70" fmla="*/ 10 w 12"/>
                <a:gd name="T71" fmla="*/ 21 h 26"/>
                <a:gd name="T72" fmla="*/ 12 w 12"/>
                <a:gd name="T73" fmla="*/ 21 h 26"/>
                <a:gd name="T74" fmla="*/ 12 w 12"/>
                <a:gd name="T75" fmla="*/ 21 h 26"/>
                <a:gd name="T76" fmla="*/ 12 w 12"/>
                <a:gd name="T77" fmla="*/ 21 h 26"/>
                <a:gd name="T78" fmla="*/ 12 w 12"/>
                <a:gd name="T79" fmla="*/ 21 h 26"/>
                <a:gd name="T80" fmla="*/ 12 w 12"/>
                <a:gd name="T81" fmla="*/ 14 h 26"/>
                <a:gd name="T82" fmla="*/ 12 w 12"/>
                <a:gd name="T83" fmla="*/ 14 h 26"/>
                <a:gd name="T84" fmla="*/ 12 w 12"/>
                <a:gd name="T85" fmla="*/ 14 h 26"/>
                <a:gd name="T86" fmla="*/ 12 w 12"/>
                <a:gd name="T87" fmla="*/ 17 h 26"/>
                <a:gd name="T88" fmla="*/ 12 w 12"/>
                <a:gd name="T89" fmla="*/ 17 h 26"/>
                <a:gd name="T90" fmla="*/ 10 w 12"/>
                <a:gd name="T91" fmla="*/ 17 h 26"/>
                <a:gd name="T92" fmla="*/ 10 w 12"/>
                <a:gd name="T93" fmla="*/ 17 h 26"/>
                <a:gd name="T94" fmla="*/ 12 w 12"/>
                <a:gd name="T95" fmla="*/ 14 h 26"/>
                <a:gd name="T96" fmla="*/ 12 w 12"/>
                <a:gd name="T97" fmla="*/ 12 h 26"/>
                <a:gd name="T98" fmla="*/ 12 w 12"/>
                <a:gd name="T99" fmla="*/ 12 h 26"/>
                <a:gd name="T100" fmla="*/ 12 w 12"/>
                <a:gd name="T101" fmla="*/ 12 h 26"/>
                <a:gd name="T102" fmla="*/ 12 w 12"/>
                <a:gd name="T103" fmla="*/ 10 h 26"/>
                <a:gd name="T104" fmla="*/ 12 w 12"/>
                <a:gd name="T105" fmla="*/ 10 h 26"/>
                <a:gd name="T106" fmla="*/ 12 w 12"/>
                <a:gd name="T107" fmla="*/ 10 h 26"/>
                <a:gd name="T108" fmla="*/ 12 w 12"/>
                <a:gd name="T109" fmla="*/ 7 h 26"/>
                <a:gd name="T110" fmla="*/ 12 w 12"/>
                <a:gd name="T111" fmla="*/ 7 h 26"/>
                <a:gd name="T112" fmla="*/ 12 w 12"/>
                <a:gd name="T113" fmla="*/ 5 h 26"/>
                <a:gd name="T114" fmla="*/ 12 w 12"/>
                <a:gd name="T115" fmla="*/ 5 h 26"/>
                <a:gd name="T116" fmla="*/ 12 w 12"/>
                <a:gd name="T117" fmla="*/ 5 h 26"/>
                <a:gd name="T118" fmla="*/ 12 w 12"/>
                <a:gd name="T119" fmla="*/ 2 h 26"/>
                <a:gd name="T120" fmla="*/ 10 w 12"/>
                <a:gd name="T121" fmla="*/ 2 h 26"/>
                <a:gd name="T122" fmla="*/ 10 w 12"/>
                <a:gd name="T123" fmla="*/ 2 h 26"/>
                <a:gd name="T124" fmla="*/ 10 w 12"/>
                <a:gd name="T1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 h="26">
                  <a:moveTo>
                    <a:pt x="10" y="0"/>
                  </a:moveTo>
                  <a:lnTo>
                    <a:pt x="7" y="2"/>
                  </a:lnTo>
                  <a:lnTo>
                    <a:pt x="7" y="2"/>
                  </a:lnTo>
                  <a:lnTo>
                    <a:pt x="5" y="5"/>
                  </a:lnTo>
                  <a:lnTo>
                    <a:pt x="5" y="5"/>
                  </a:lnTo>
                  <a:lnTo>
                    <a:pt x="5" y="7"/>
                  </a:lnTo>
                  <a:lnTo>
                    <a:pt x="5" y="7"/>
                  </a:lnTo>
                  <a:lnTo>
                    <a:pt x="3" y="10"/>
                  </a:lnTo>
                  <a:lnTo>
                    <a:pt x="3" y="12"/>
                  </a:lnTo>
                  <a:lnTo>
                    <a:pt x="0" y="14"/>
                  </a:lnTo>
                  <a:lnTo>
                    <a:pt x="0" y="24"/>
                  </a:lnTo>
                  <a:lnTo>
                    <a:pt x="0" y="26"/>
                  </a:lnTo>
                  <a:lnTo>
                    <a:pt x="0" y="26"/>
                  </a:lnTo>
                  <a:lnTo>
                    <a:pt x="0" y="24"/>
                  </a:lnTo>
                  <a:lnTo>
                    <a:pt x="3" y="24"/>
                  </a:lnTo>
                  <a:lnTo>
                    <a:pt x="3" y="21"/>
                  </a:lnTo>
                  <a:lnTo>
                    <a:pt x="5" y="21"/>
                  </a:lnTo>
                  <a:lnTo>
                    <a:pt x="5" y="24"/>
                  </a:lnTo>
                  <a:lnTo>
                    <a:pt x="5" y="24"/>
                  </a:lnTo>
                  <a:lnTo>
                    <a:pt x="5" y="24"/>
                  </a:lnTo>
                  <a:lnTo>
                    <a:pt x="5" y="24"/>
                  </a:lnTo>
                  <a:lnTo>
                    <a:pt x="5" y="26"/>
                  </a:lnTo>
                  <a:lnTo>
                    <a:pt x="7" y="26"/>
                  </a:lnTo>
                  <a:lnTo>
                    <a:pt x="7" y="24"/>
                  </a:lnTo>
                  <a:lnTo>
                    <a:pt x="7" y="24"/>
                  </a:lnTo>
                  <a:lnTo>
                    <a:pt x="7" y="24"/>
                  </a:lnTo>
                  <a:lnTo>
                    <a:pt x="7" y="24"/>
                  </a:lnTo>
                  <a:lnTo>
                    <a:pt x="10" y="24"/>
                  </a:lnTo>
                  <a:lnTo>
                    <a:pt x="10" y="24"/>
                  </a:lnTo>
                  <a:lnTo>
                    <a:pt x="10" y="21"/>
                  </a:lnTo>
                  <a:lnTo>
                    <a:pt x="10" y="21"/>
                  </a:lnTo>
                  <a:lnTo>
                    <a:pt x="10" y="21"/>
                  </a:lnTo>
                  <a:lnTo>
                    <a:pt x="10" y="21"/>
                  </a:lnTo>
                  <a:lnTo>
                    <a:pt x="12" y="21"/>
                  </a:lnTo>
                  <a:lnTo>
                    <a:pt x="10" y="21"/>
                  </a:lnTo>
                  <a:lnTo>
                    <a:pt x="10" y="21"/>
                  </a:lnTo>
                  <a:lnTo>
                    <a:pt x="12" y="21"/>
                  </a:lnTo>
                  <a:lnTo>
                    <a:pt x="12" y="21"/>
                  </a:lnTo>
                  <a:lnTo>
                    <a:pt x="12" y="21"/>
                  </a:lnTo>
                  <a:lnTo>
                    <a:pt x="12" y="21"/>
                  </a:lnTo>
                  <a:lnTo>
                    <a:pt x="12" y="14"/>
                  </a:lnTo>
                  <a:lnTo>
                    <a:pt x="12" y="14"/>
                  </a:lnTo>
                  <a:lnTo>
                    <a:pt x="12" y="14"/>
                  </a:lnTo>
                  <a:lnTo>
                    <a:pt x="12" y="17"/>
                  </a:lnTo>
                  <a:lnTo>
                    <a:pt x="12" y="17"/>
                  </a:lnTo>
                  <a:lnTo>
                    <a:pt x="10" y="17"/>
                  </a:lnTo>
                  <a:lnTo>
                    <a:pt x="10" y="17"/>
                  </a:lnTo>
                  <a:lnTo>
                    <a:pt x="12" y="14"/>
                  </a:lnTo>
                  <a:lnTo>
                    <a:pt x="12" y="12"/>
                  </a:lnTo>
                  <a:lnTo>
                    <a:pt x="12" y="12"/>
                  </a:lnTo>
                  <a:lnTo>
                    <a:pt x="12" y="12"/>
                  </a:lnTo>
                  <a:lnTo>
                    <a:pt x="12" y="10"/>
                  </a:lnTo>
                  <a:lnTo>
                    <a:pt x="12" y="10"/>
                  </a:lnTo>
                  <a:lnTo>
                    <a:pt x="12" y="10"/>
                  </a:lnTo>
                  <a:lnTo>
                    <a:pt x="12" y="7"/>
                  </a:lnTo>
                  <a:lnTo>
                    <a:pt x="12" y="7"/>
                  </a:lnTo>
                  <a:lnTo>
                    <a:pt x="12" y="5"/>
                  </a:lnTo>
                  <a:lnTo>
                    <a:pt x="12" y="5"/>
                  </a:lnTo>
                  <a:lnTo>
                    <a:pt x="12" y="5"/>
                  </a:lnTo>
                  <a:lnTo>
                    <a:pt x="12" y="2"/>
                  </a:lnTo>
                  <a:lnTo>
                    <a:pt x="10" y="2"/>
                  </a:lnTo>
                  <a:lnTo>
                    <a:pt x="10" y="2"/>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50" name="Freeform 368">
              <a:extLst>
                <a:ext uri="{FF2B5EF4-FFF2-40B4-BE49-F238E27FC236}">
                  <a16:creationId xmlns:a16="http://schemas.microsoft.com/office/drawing/2014/main" id="{06470626-DE38-4294-A263-ECAD9404DCF3}"/>
                </a:ext>
              </a:extLst>
            </p:cNvPr>
            <p:cNvSpPr>
              <a:spLocks/>
            </p:cNvSpPr>
            <p:nvPr/>
          </p:nvSpPr>
          <p:spPr bwMode="gray">
            <a:xfrm>
              <a:off x="-1337" y="2638"/>
              <a:ext cx="33" cy="42"/>
            </a:xfrm>
            <a:custGeom>
              <a:avLst/>
              <a:gdLst>
                <a:gd name="T0" fmla="*/ 30 w 33"/>
                <a:gd name="T1" fmla="*/ 35 h 42"/>
                <a:gd name="T2" fmla="*/ 30 w 33"/>
                <a:gd name="T3" fmla="*/ 33 h 42"/>
                <a:gd name="T4" fmla="*/ 28 w 33"/>
                <a:gd name="T5" fmla="*/ 35 h 42"/>
                <a:gd name="T6" fmla="*/ 26 w 33"/>
                <a:gd name="T7" fmla="*/ 33 h 42"/>
                <a:gd name="T8" fmla="*/ 23 w 33"/>
                <a:gd name="T9" fmla="*/ 33 h 42"/>
                <a:gd name="T10" fmla="*/ 21 w 33"/>
                <a:gd name="T11" fmla="*/ 33 h 42"/>
                <a:gd name="T12" fmla="*/ 21 w 33"/>
                <a:gd name="T13" fmla="*/ 31 h 42"/>
                <a:gd name="T14" fmla="*/ 18 w 33"/>
                <a:gd name="T15" fmla="*/ 19 h 42"/>
                <a:gd name="T16" fmla="*/ 18 w 33"/>
                <a:gd name="T17" fmla="*/ 19 h 42"/>
                <a:gd name="T18" fmla="*/ 18 w 33"/>
                <a:gd name="T19" fmla="*/ 16 h 42"/>
                <a:gd name="T20" fmla="*/ 14 w 33"/>
                <a:gd name="T21" fmla="*/ 14 h 42"/>
                <a:gd name="T22" fmla="*/ 16 w 33"/>
                <a:gd name="T23" fmla="*/ 14 h 42"/>
                <a:gd name="T24" fmla="*/ 14 w 33"/>
                <a:gd name="T25" fmla="*/ 12 h 42"/>
                <a:gd name="T26" fmla="*/ 14 w 33"/>
                <a:gd name="T27" fmla="*/ 9 h 42"/>
                <a:gd name="T28" fmla="*/ 18 w 33"/>
                <a:gd name="T29" fmla="*/ 7 h 42"/>
                <a:gd name="T30" fmla="*/ 21 w 33"/>
                <a:gd name="T31" fmla="*/ 5 h 42"/>
                <a:gd name="T32" fmla="*/ 21 w 33"/>
                <a:gd name="T33" fmla="*/ 2 h 42"/>
                <a:gd name="T34" fmla="*/ 21 w 33"/>
                <a:gd name="T35" fmla="*/ 2 h 42"/>
                <a:gd name="T36" fmla="*/ 18 w 33"/>
                <a:gd name="T37" fmla="*/ 2 h 42"/>
                <a:gd name="T38" fmla="*/ 16 w 33"/>
                <a:gd name="T39" fmla="*/ 0 h 42"/>
                <a:gd name="T40" fmla="*/ 16 w 33"/>
                <a:gd name="T41" fmla="*/ 0 h 42"/>
                <a:gd name="T42" fmla="*/ 14 w 33"/>
                <a:gd name="T43" fmla="*/ 0 h 42"/>
                <a:gd name="T44" fmla="*/ 9 w 33"/>
                <a:gd name="T45" fmla="*/ 2 h 42"/>
                <a:gd name="T46" fmla="*/ 2 w 33"/>
                <a:gd name="T47" fmla="*/ 2 h 42"/>
                <a:gd name="T48" fmla="*/ 0 w 33"/>
                <a:gd name="T49" fmla="*/ 5 h 42"/>
                <a:gd name="T50" fmla="*/ 0 w 33"/>
                <a:gd name="T51" fmla="*/ 7 h 42"/>
                <a:gd name="T52" fmla="*/ 0 w 33"/>
                <a:gd name="T53" fmla="*/ 7 h 42"/>
                <a:gd name="T54" fmla="*/ 2 w 33"/>
                <a:gd name="T55" fmla="*/ 9 h 42"/>
                <a:gd name="T56" fmla="*/ 2 w 33"/>
                <a:gd name="T57" fmla="*/ 12 h 42"/>
                <a:gd name="T58" fmla="*/ 4 w 33"/>
                <a:gd name="T59" fmla="*/ 14 h 42"/>
                <a:gd name="T60" fmla="*/ 7 w 33"/>
                <a:gd name="T61" fmla="*/ 14 h 42"/>
                <a:gd name="T62" fmla="*/ 7 w 33"/>
                <a:gd name="T63" fmla="*/ 19 h 42"/>
                <a:gd name="T64" fmla="*/ 9 w 33"/>
                <a:gd name="T65" fmla="*/ 19 h 42"/>
                <a:gd name="T66" fmla="*/ 14 w 33"/>
                <a:gd name="T67" fmla="*/ 24 h 42"/>
                <a:gd name="T68" fmla="*/ 14 w 33"/>
                <a:gd name="T69" fmla="*/ 28 h 42"/>
                <a:gd name="T70" fmla="*/ 16 w 33"/>
                <a:gd name="T71" fmla="*/ 33 h 42"/>
                <a:gd name="T72" fmla="*/ 16 w 33"/>
                <a:gd name="T73" fmla="*/ 33 h 42"/>
                <a:gd name="T74" fmla="*/ 18 w 33"/>
                <a:gd name="T75" fmla="*/ 33 h 42"/>
                <a:gd name="T76" fmla="*/ 18 w 33"/>
                <a:gd name="T77" fmla="*/ 35 h 42"/>
                <a:gd name="T78" fmla="*/ 18 w 33"/>
                <a:gd name="T79" fmla="*/ 35 h 42"/>
                <a:gd name="T80" fmla="*/ 18 w 33"/>
                <a:gd name="T81" fmla="*/ 35 h 42"/>
                <a:gd name="T82" fmla="*/ 21 w 33"/>
                <a:gd name="T83" fmla="*/ 35 h 42"/>
                <a:gd name="T84" fmla="*/ 26 w 33"/>
                <a:gd name="T85" fmla="*/ 38 h 42"/>
                <a:gd name="T86" fmla="*/ 26 w 33"/>
                <a:gd name="T87" fmla="*/ 38 h 42"/>
                <a:gd name="T88" fmla="*/ 28 w 33"/>
                <a:gd name="T89" fmla="*/ 40 h 42"/>
                <a:gd name="T90" fmla="*/ 33 w 33"/>
                <a:gd name="T91" fmla="*/ 40 h 42"/>
                <a:gd name="T92" fmla="*/ 33 w 33"/>
                <a:gd name="T93" fmla="*/ 40 h 42"/>
                <a:gd name="T94" fmla="*/ 33 w 33"/>
                <a:gd name="T95" fmla="*/ 3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 h="42">
                  <a:moveTo>
                    <a:pt x="33" y="35"/>
                  </a:moveTo>
                  <a:lnTo>
                    <a:pt x="30" y="35"/>
                  </a:lnTo>
                  <a:lnTo>
                    <a:pt x="30" y="33"/>
                  </a:lnTo>
                  <a:lnTo>
                    <a:pt x="30" y="33"/>
                  </a:lnTo>
                  <a:lnTo>
                    <a:pt x="30" y="33"/>
                  </a:lnTo>
                  <a:lnTo>
                    <a:pt x="28" y="35"/>
                  </a:lnTo>
                  <a:lnTo>
                    <a:pt x="28" y="35"/>
                  </a:lnTo>
                  <a:lnTo>
                    <a:pt x="26" y="33"/>
                  </a:lnTo>
                  <a:lnTo>
                    <a:pt x="26" y="33"/>
                  </a:lnTo>
                  <a:lnTo>
                    <a:pt x="23" y="33"/>
                  </a:lnTo>
                  <a:lnTo>
                    <a:pt x="23" y="33"/>
                  </a:lnTo>
                  <a:lnTo>
                    <a:pt x="21" y="33"/>
                  </a:lnTo>
                  <a:lnTo>
                    <a:pt x="21" y="31"/>
                  </a:lnTo>
                  <a:lnTo>
                    <a:pt x="21" y="31"/>
                  </a:lnTo>
                  <a:lnTo>
                    <a:pt x="18" y="21"/>
                  </a:lnTo>
                  <a:lnTo>
                    <a:pt x="18" y="19"/>
                  </a:lnTo>
                  <a:lnTo>
                    <a:pt x="18" y="19"/>
                  </a:lnTo>
                  <a:lnTo>
                    <a:pt x="18" y="19"/>
                  </a:lnTo>
                  <a:lnTo>
                    <a:pt x="21" y="16"/>
                  </a:lnTo>
                  <a:lnTo>
                    <a:pt x="18" y="16"/>
                  </a:lnTo>
                  <a:lnTo>
                    <a:pt x="14" y="14"/>
                  </a:lnTo>
                  <a:lnTo>
                    <a:pt x="14" y="14"/>
                  </a:lnTo>
                  <a:lnTo>
                    <a:pt x="16" y="14"/>
                  </a:lnTo>
                  <a:lnTo>
                    <a:pt x="16" y="14"/>
                  </a:lnTo>
                  <a:lnTo>
                    <a:pt x="14" y="14"/>
                  </a:lnTo>
                  <a:lnTo>
                    <a:pt x="14" y="12"/>
                  </a:lnTo>
                  <a:lnTo>
                    <a:pt x="14" y="12"/>
                  </a:lnTo>
                  <a:lnTo>
                    <a:pt x="14" y="9"/>
                  </a:lnTo>
                  <a:lnTo>
                    <a:pt x="14" y="9"/>
                  </a:lnTo>
                  <a:lnTo>
                    <a:pt x="18" y="7"/>
                  </a:lnTo>
                  <a:lnTo>
                    <a:pt x="21" y="7"/>
                  </a:lnTo>
                  <a:lnTo>
                    <a:pt x="21" y="5"/>
                  </a:lnTo>
                  <a:lnTo>
                    <a:pt x="21" y="2"/>
                  </a:lnTo>
                  <a:lnTo>
                    <a:pt x="21" y="2"/>
                  </a:lnTo>
                  <a:lnTo>
                    <a:pt x="21" y="2"/>
                  </a:lnTo>
                  <a:lnTo>
                    <a:pt x="21" y="2"/>
                  </a:lnTo>
                  <a:lnTo>
                    <a:pt x="21" y="2"/>
                  </a:lnTo>
                  <a:lnTo>
                    <a:pt x="18" y="2"/>
                  </a:lnTo>
                  <a:lnTo>
                    <a:pt x="18" y="0"/>
                  </a:lnTo>
                  <a:lnTo>
                    <a:pt x="16" y="0"/>
                  </a:lnTo>
                  <a:lnTo>
                    <a:pt x="16" y="0"/>
                  </a:lnTo>
                  <a:lnTo>
                    <a:pt x="16" y="0"/>
                  </a:lnTo>
                  <a:lnTo>
                    <a:pt x="14" y="0"/>
                  </a:lnTo>
                  <a:lnTo>
                    <a:pt x="14" y="0"/>
                  </a:lnTo>
                  <a:lnTo>
                    <a:pt x="11" y="0"/>
                  </a:lnTo>
                  <a:lnTo>
                    <a:pt x="9" y="2"/>
                  </a:lnTo>
                  <a:lnTo>
                    <a:pt x="2" y="2"/>
                  </a:lnTo>
                  <a:lnTo>
                    <a:pt x="2" y="2"/>
                  </a:lnTo>
                  <a:lnTo>
                    <a:pt x="2" y="2"/>
                  </a:lnTo>
                  <a:lnTo>
                    <a:pt x="0" y="5"/>
                  </a:lnTo>
                  <a:lnTo>
                    <a:pt x="0" y="7"/>
                  </a:lnTo>
                  <a:lnTo>
                    <a:pt x="0" y="7"/>
                  </a:lnTo>
                  <a:lnTo>
                    <a:pt x="0" y="7"/>
                  </a:lnTo>
                  <a:lnTo>
                    <a:pt x="0" y="7"/>
                  </a:lnTo>
                  <a:lnTo>
                    <a:pt x="0" y="9"/>
                  </a:lnTo>
                  <a:lnTo>
                    <a:pt x="2" y="9"/>
                  </a:lnTo>
                  <a:lnTo>
                    <a:pt x="2" y="9"/>
                  </a:lnTo>
                  <a:lnTo>
                    <a:pt x="2" y="12"/>
                  </a:lnTo>
                  <a:lnTo>
                    <a:pt x="2" y="12"/>
                  </a:lnTo>
                  <a:lnTo>
                    <a:pt x="4" y="14"/>
                  </a:lnTo>
                  <a:lnTo>
                    <a:pt x="4" y="14"/>
                  </a:lnTo>
                  <a:lnTo>
                    <a:pt x="7" y="14"/>
                  </a:lnTo>
                  <a:lnTo>
                    <a:pt x="7" y="14"/>
                  </a:lnTo>
                  <a:lnTo>
                    <a:pt x="7" y="19"/>
                  </a:lnTo>
                  <a:lnTo>
                    <a:pt x="9" y="19"/>
                  </a:lnTo>
                  <a:lnTo>
                    <a:pt x="9" y="19"/>
                  </a:lnTo>
                  <a:lnTo>
                    <a:pt x="11" y="21"/>
                  </a:lnTo>
                  <a:lnTo>
                    <a:pt x="14" y="24"/>
                  </a:lnTo>
                  <a:lnTo>
                    <a:pt x="14" y="24"/>
                  </a:lnTo>
                  <a:lnTo>
                    <a:pt x="14" y="28"/>
                  </a:lnTo>
                  <a:lnTo>
                    <a:pt x="14" y="31"/>
                  </a:lnTo>
                  <a:lnTo>
                    <a:pt x="16" y="33"/>
                  </a:lnTo>
                  <a:lnTo>
                    <a:pt x="16" y="33"/>
                  </a:lnTo>
                  <a:lnTo>
                    <a:pt x="16" y="33"/>
                  </a:lnTo>
                  <a:lnTo>
                    <a:pt x="16" y="33"/>
                  </a:lnTo>
                  <a:lnTo>
                    <a:pt x="18" y="33"/>
                  </a:lnTo>
                  <a:lnTo>
                    <a:pt x="21" y="33"/>
                  </a:lnTo>
                  <a:lnTo>
                    <a:pt x="18" y="35"/>
                  </a:lnTo>
                  <a:lnTo>
                    <a:pt x="18" y="35"/>
                  </a:lnTo>
                  <a:lnTo>
                    <a:pt x="18" y="35"/>
                  </a:lnTo>
                  <a:lnTo>
                    <a:pt x="18" y="35"/>
                  </a:lnTo>
                  <a:lnTo>
                    <a:pt x="18" y="35"/>
                  </a:lnTo>
                  <a:lnTo>
                    <a:pt x="21" y="35"/>
                  </a:lnTo>
                  <a:lnTo>
                    <a:pt x="21" y="35"/>
                  </a:lnTo>
                  <a:lnTo>
                    <a:pt x="23" y="35"/>
                  </a:lnTo>
                  <a:lnTo>
                    <a:pt x="26" y="38"/>
                  </a:lnTo>
                  <a:lnTo>
                    <a:pt x="26" y="38"/>
                  </a:lnTo>
                  <a:lnTo>
                    <a:pt x="26" y="38"/>
                  </a:lnTo>
                  <a:lnTo>
                    <a:pt x="28" y="38"/>
                  </a:lnTo>
                  <a:lnTo>
                    <a:pt x="28" y="40"/>
                  </a:lnTo>
                  <a:lnTo>
                    <a:pt x="30" y="40"/>
                  </a:lnTo>
                  <a:lnTo>
                    <a:pt x="33" y="40"/>
                  </a:lnTo>
                  <a:lnTo>
                    <a:pt x="33" y="42"/>
                  </a:lnTo>
                  <a:lnTo>
                    <a:pt x="33" y="40"/>
                  </a:lnTo>
                  <a:lnTo>
                    <a:pt x="33" y="40"/>
                  </a:lnTo>
                  <a:lnTo>
                    <a:pt x="33" y="38"/>
                  </a:lnTo>
                  <a:lnTo>
                    <a:pt x="33"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52" name="Freeform 369">
              <a:extLst>
                <a:ext uri="{FF2B5EF4-FFF2-40B4-BE49-F238E27FC236}">
                  <a16:creationId xmlns:a16="http://schemas.microsoft.com/office/drawing/2014/main" id="{A5EB21DB-B1CE-4418-8B3C-CAC52999FB39}"/>
                </a:ext>
              </a:extLst>
            </p:cNvPr>
            <p:cNvSpPr>
              <a:spLocks/>
            </p:cNvSpPr>
            <p:nvPr/>
          </p:nvSpPr>
          <p:spPr bwMode="gray">
            <a:xfrm>
              <a:off x="-1304" y="2690"/>
              <a:ext cx="7" cy="7"/>
            </a:xfrm>
            <a:custGeom>
              <a:avLst/>
              <a:gdLst>
                <a:gd name="T0" fmla="*/ 4 w 7"/>
                <a:gd name="T1" fmla="*/ 2 h 7"/>
                <a:gd name="T2" fmla="*/ 2 w 7"/>
                <a:gd name="T3" fmla="*/ 2 h 7"/>
                <a:gd name="T4" fmla="*/ 2 w 7"/>
                <a:gd name="T5" fmla="*/ 0 h 7"/>
                <a:gd name="T6" fmla="*/ 0 w 7"/>
                <a:gd name="T7" fmla="*/ 2 h 7"/>
                <a:gd name="T8" fmla="*/ 2 w 7"/>
                <a:gd name="T9" fmla="*/ 2 h 7"/>
                <a:gd name="T10" fmla="*/ 2 w 7"/>
                <a:gd name="T11" fmla="*/ 4 h 7"/>
                <a:gd name="T12" fmla="*/ 2 w 7"/>
                <a:gd name="T13" fmla="*/ 4 h 7"/>
                <a:gd name="T14" fmla="*/ 4 w 7"/>
                <a:gd name="T15" fmla="*/ 7 h 7"/>
                <a:gd name="T16" fmla="*/ 4 w 7"/>
                <a:gd name="T17" fmla="*/ 7 h 7"/>
                <a:gd name="T18" fmla="*/ 7 w 7"/>
                <a:gd name="T19" fmla="*/ 7 h 7"/>
                <a:gd name="T20" fmla="*/ 4 w 7"/>
                <a:gd name="T21" fmla="*/ 4 h 7"/>
                <a:gd name="T22" fmla="*/ 4 w 7"/>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4" y="2"/>
                  </a:moveTo>
                  <a:lnTo>
                    <a:pt x="2" y="2"/>
                  </a:lnTo>
                  <a:lnTo>
                    <a:pt x="2" y="0"/>
                  </a:lnTo>
                  <a:lnTo>
                    <a:pt x="0" y="2"/>
                  </a:lnTo>
                  <a:lnTo>
                    <a:pt x="2" y="2"/>
                  </a:lnTo>
                  <a:lnTo>
                    <a:pt x="2" y="4"/>
                  </a:lnTo>
                  <a:lnTo>
                    <a:pt x="2" y="4"/>
                  </a:lnTo>
                  <a:lnTo>
                    <a:pt x="4" y="7"/>
                  </a:lnTo>
                  <a:lnTo>
                    <a:pt x="4" y="7"/>
                  </a:lnTo>
                  <a:lnTo>
                    <a:pt x="7" y="7"/>
                  </a:lnTo>
                  <a:lnTo>
                    <a:pt x="4" y="4"/>
                  </a:lnTo>
                  <a:lnTo>
                    <a:pt x="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53" name="Freeform 370">
              <a:extLst>
                <a:ext uri="{FF2B5EF4-FFF2-40B4-BE49-F238E27FC236}">
                  <a16:creationId xmlns:a16="http://schemas.microsoft.com/office/drawing/2014/main" id="{C494482D-855B-450F-9F43-612954D86339}"/>
                </a:ext>
              </a:extLst>
            </p:cNvPr>
            <p:cNvSpPr>
              <a:spLocks/>
            </p:cNvSpPr>
            <p:nvPr/>
          </p:nvSpPr>
          <p:spPr bwMode="gray">
            <a:xfrm>
              <a:off x="-934" y="2574"/>
              <a:ext cx="17" cy="10"/>
            </a:xfrm>
            <a:custGeom>
              <a:avLst/>
              <a:gdLst>
                <a:gd name="T0" fmla="*/ 4 w 7"/>
                <a:gd name="T1" fmla="*/ 0 h 4"/>
                <a:gd name="T2" fmla="*/ 4 w 7"/>
                <a:gd name="T3" fmla="*/ 0 h 4"/>
                <a:gd name="T4" fmla="*/ 3 w 7"/>
                <a:gd name="T5" fmla="*/ 0 h 4"/>
                <a:gd name="T6" fmla="*/ 1 w 7"/>
                <a:gd name="T7" fmla="*/ 1 h 4"/>
                <a:gd name="T8" fmla="*/ 0 w 7"/>
                <a:gd name="T9" fmla="*/ 1 h 4"/>
                <a:gd name="T10" fmla="*/ 1 w 7"/>
                <a:gd name="T11" fmla="*/ 2 h 4"/>
                <a:gd name="T12" fmla="*/ 1 w 7"/>
                <a:gd name="T13" fmla="*/ 2 h 4"/>
                <a:gd name="T14" fmla="*/ 3 w 7"/>
                <a:gd name="T15" fmla="*/ 4 h 4"/>
                <a:gd name="T16" fmla="*/ 7 w 7"/>
                <a:gd name="T17" fmla="*/ 0 h 4"/>
                <a:gd name="T18" fmla="*/ 7 w 7"/>
                <a:gd name="T19" fmla="*/ 0 h 4"/>
                <a:gd name="T20" fmla="*/ 4 w 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4" y="0"/>
                  </a:moveTo>
                  <a:cubicBezTo>
                    <a:pt x="4" y="0"/>
                    <a:pt x="4" y="0"/>
                    <a:pt x="4" y="0"/>
                  </a:cubicBezTo>
                  <a:cubicBezTo>
                    <a:pt x="3" y="0"/>
                    <a:pt x="3" y="0"/>
                    <a:pt x="3" y="0"/>
                  </a:cubicBezTo>
                  <a:cubicBezTo>
                    <a:pt x="1" y="1"/>
                    <a:pt x="1" y="1"/>
                    <a:pt x="1" y="1"/>
                  </a:cubicBezTo>
                  <a:cubicBezTo>
                    <a:pt x="0" y="1"/>
                    <a:pt x="0" y="1"/>
                    <a:pt x="0" y="1"/>
                  </a:cubicBezTo>
                  <a:cubicBezTo>
                    <a:pt x="1" y="2"/>
                    <a:pt x="1" y="2"/>
                    <a:pt x="1" y="2"/>
                  </a:cubicBezTo>
                  <a:cubicBezTo>
                    <a:pt x="1" y="2"/>
                    <a:pt x="1" y="2"/>
                    <a:pt x="1" y="2"/>
                  </a:cubicBezTo>
                  <a:cubicBezTo>
                    <a:pt x="3" y="4"/>
                    <a:pt x="3" y="4"/>
                    <a:pt x="3" y="4"/>
                  </a:cubicBezTo>
                  <a:cubicBezTo>
                    <a:pt x="4" y="3"/>
                    <a:pt x="6" y="2"/>
                    <a:pt x="7" y="0"/>
                  </a:cubicBezTo>
                  <a:cubicBezTo>
                    <a:pt x="7" y="0"/>
                    <a:pt x="7" y="0"/>
                    <a:pt x="7" y="0"/>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54" name="Freeform 371">
              <a:extLst>
                <a:ext uri="{FF2B5EF4-FFF2-40B4-BE49-F238E27FC236}">
                  <a16:creationId xmlns:a16="http://schemas.microsoft.com/office/drawing/2014/main" id="{CD13014C-EA6C-4FE9-9EE4-7974C223D503}"/>
                </a:ext>
              </a:extLst>
            </p:cNvPr>
            <p:cNvSpPr>
              <a:spLocks/>
            </p:cNvSpPr>
            <p:nvPr/>
          </p:nvSpPr>
          <p:spPr bwMode="gray">
            <a:xfrm>
              <a:off x="-1252" y="2744"/>
              <a:ext cx="7" cy="7"/>
            </a:xfrm>
            <a:custGeom>
              <a:avLst/>
              <a:gdLst>
                <a:gd name="T0" fmla="*/ 4 w 7"/>
                <a:gd name="T1" fmla="*/ 0 h 7"/>
                <a:gd name="T2" fmla="*/ 2 w 7"/>
                <a:gd name="T3" fmla="*/ 0 h 7"/>
                <a:gd name="T4" fmla="*/ 2 w 7"/>
                <a:gd name="T5" fmla="*/ 2 h 7"/>
                <a:gd name="T6" fmla="*/ 0 w 7"/>
                <a:gd name="T7" fmla="*/ 5 h 7"/>
                <a:gd name="T8" fmla="*/ 0 w 7"/>
                <a:gd name="T9" fmla="*/ 5 h 7"/>
                <a:gd name="T10" fmla="*/ 2 w 7"/>
                <a:gd name="T11" fmla="*/ 7 h 7"/>
                <a:gd name="T12" fmla="*/ 2 w 7"/>
                <a:gd name="T13" fmla="*/ 7 h 7"/>
                <a:gd name="T14" fmla="*/ 2 w 7"/>
                <a:gd name="T15" fmla="*/ 5 h 7"/>
                <a:gd name="T16" fmla="*/ 2 w 7"/>
                <a:gd name="T17" fmla="*/ 5 h 7"/>
                <a:gd name="T18" fmla="*/ 2 w 7"/>
                <a:gd name="T19" fmla="*/ 5 h 7"/>
                <a:gd name="T20" fmla="*/ 4 w 7"/>
                <a:gd name="T21" fmla="*/ 2 h 7"/>
                <a:gd name="T22" fmla="*/ 4 w 7"/>
                <a:gd name="T23" fmla="*/ 2 h 7"/>
                <a:gd name="T24" fmla="*/ 7 w 7"/>
                <a:gd name="T25" fmla="*/ 2 h 7"/>
                <a:gd name="T26" fmla="*/ 7 w 7"/>
                <a:gd name="T27" fmla="*/ 2 h 7"/>
                <a:gd name="T28" fmla="*/ 7 w 7"/>
                <a:gd name="T29" fmla="*/ 0 h 7"/>
                <a:gd name="T30" fmla="*/ 7 w 7"/>
                <a:gd name="T31" fmla="*/ 0 h 7"/>
                <a:gd name="T32" fmla="*/ 4 w 7"/>
                <a:gd name="T3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7">
                  <a:moveTo>
                    <a:pt x="4" y="0"/>
                  </a:moveTo>
                  <a:lnTo>
                    <a:pt x="2" y="0"/>
                  </a:lnTo>
                  <a:lnTo>
                    <a:pt x="2" y="2"/>
                  </a:lnTo>
                  <a:lnTo>
                    <a:pt x="0" y="5"/>
                  </a:lnTo>
                  <a:lnTo>
                    <a:pt x="0" y="5"/>
                  </a:lnTo>
                  <a:lnTo>
                    <a:pt x="2" y="7"/>
                  </a:lnTo>
                  <a:lnTo>
                    <a:pt x="2" y="7"/>
                  </a:lnTo>
                  <a:lnTo>
                    <a:pt x="2" y="5"/>
                  </a:lnTo>
                  <a:lnTo>
                    <a:pt x="2" y="5"/>
                  </a:lnTo>
                  <a:lnTo>
                    <a:pt x="2" y="5"/>
                  </a:lnTo>
                  <a:lnTo>
                    <a:pt x="4" y="2"/>
                  </a:lnTo>
                  <a:lnTo>
                    <a:pt x="4" y="2"/>
                  </a:lnTo>
                  <a:lnTo>
                    <a:pt x="7" y="2"/>
                  </a:lnTo>
                  <a:lnTo>
                    <a:pt x="7" y="2"/>
                  </a:lnTo>
                  <a:lnTo>
                    <a:pt x="7" y="0"/>
                  </a:lnTo>
                  <a:lnTo>
                    <a:pt x="7"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55" name="Freeform 372">
              <a:extLst>
                <a:ext uri="{FF2B5EF4-FFF2-40B4-BE49-F238E27FC236}">
                  <a16:creationId xmlns:a16="http://schemas.microsoft.com/office/drawing/2014/main" id="{46A23EF4-79CF-4026-9222-3AF05C1A7C53}"/>
                </a:ext>
              </a:extLst>
            </p:cNvPr>
            <p:cNvSpPr>
              <a:spLocks/>
            </p:cNvSpPr>
            <p:nvPr/>
          </p:nvSpPr>
          <p:spPr bwMode="gray">
            <a:xfrm>
              <a:off x="-998" y="2546"/>
              <a:ext cx="19" cy="21"/>
            </a:xfrm>
            <a:custGeom>
              <a:avLst/>
              <a:gdLst>
                <a:gd name="T0" fmla="*/ 19 w 19"/>
                <a:gd name="T1" fmla="*/ 5 h 21"/>
                <a:gd name="T2" fmla="*/ 17 w 19"/>
                <a:gd name="T3" fmla="*/ 5 h 21"/>
                <a:gd name="T4" fmla="*/ 17 w 19"/>
                <a:gd name="T5" fmla="*/ 5 h 21"/>
                <a:gd name="T6" fmla="*/ 17 w 19"/>
                <a:gd name="T7" fmla="*/ 5 h 21"/>
                <a:gd name="T8" fmla="*/ 17 w 19"/>
                <a:gd name="T9" fmla="*/ 2 h 21"/>
                <a:gd name="T10" fmla="*/ 15 w 19"/>
                <a:gd name="T11" fmla="*/ 2 h 21"/>
                <a:gd name="T12" fmla="*/ 15 w 19"/>
                <a:gd name="T13" fmla="*/ 2 h 21"/>
                <a:gd name="T14" fmla="*/ 12 w 19"/>
                <a:gd name="T15" fmla="*/ 2 h 21"/>
                <a:gd name="T16" fmla="*/ 10 w 19"/>
                <a:gd name="T17" fmla="*/ 0 h 21"/>
                <a:gd name="T18" fmla="*/ 5 w 19"/>
                <a:gd name="T19" fmla="*/ 5 h 21"/>
                <a:gd name="T20" fmla="*/ 3 w 19"/>
                <a:gd name="T21" fmla="*/ 9 h 21"/>
                <a:gd name="T22" fmla="*/ 0 w 19"/>
                <a:gd name="T23" fmla="*/ 12 h 21"/>
                <a:gd name="T24" fmla="*/ 0 w 19"/>
                <a:gd name="T25" fmla="*/ 14 h 21"/>
                <a:gd name="T26" fmla="*/ 0 w 19"/>
                <a:gd name="T27" fmla="*/ 17 h 21"/>
                <a:gd name="T28" fmla="*/ 0 w 19"/>
                <a:gd name="T29" fmla="*/ 17 h 21"/>
                <a:gd name="T30" fmla="*/ 3 w 19"/>
                <a:gd name="T31" fmla="*/ 17 h 21"/>
                <a:gd name="T32" fmla="*/ 5 w 19"/>
                <a:gd name="T33" fmla="*/ 17 h 21"/>
                <a:gd name="T34" fmla="*/ 5 w 19"/>
                <a:gd name="T35" fmla="*/ 17 h 21"/>
                <a:gd name="T36" fmla="*/ 7 w 19"/>
                <a:gd name="T37" fmla="*/ 19 h 21"/>
                <a:gd name="T38" fmla="*/ 7 w 19"/>
                <a:gd name="T39" fmla="*/ 19 h 21"/>
                <a:gd name="T40" fmla="*/ 7 w 19"/>
                <a:gd name="T41" fmla="*/ 19 h 21"/>
                <a:gd name="T42" fmla="*/ 7 w 19"/>
                <a:gd name="T43" fmla="*/ 19 h 21"/>
                <a:gd name="T44" fmla="*/ 7 w 19"/>
                <a:gd name="T45" fmla="*/ 19 h 21"/>
                <a:gd name="T46" fmla="*/ 7 w 19"/>
                <a:gd name="T47" fmla="*/ 21 h 21"/>
                <a:gd name="T48" fmla="*/ 10 w 19"/>
                <a:gd name="T49" fmla="*/ 21 h 21"/>
                <a:gd name="T50" fmla="*/ 10 w 19"/>
                <a:gd name="T51" fmla="*/ 21 h 21"/>
                <a:gd name="T52" fmla="*/ 10 w 19"/>
                <a:gd name="T53" fmla="*/ 21 h 21"/>
                <a:gd name="T54" fmla="*/ 12 w 19"/>
                <a:gd name="T55" fmla="*/ 19 h 21"/>
                <a:gd name="T56" fmla="*/ 12 w 19"/>
                <a:gd name="T57" fmla="*/ 19 h 21"/>
                <a:gd name="T58" fmla="*/ 15 w 19"/>
                <a:gd name="T59" fmla="*/ 19 h 21"/>
                <a:gd name="T60" fmla="*/ 17 w 19"/>
                <a:gd name="T61" fmla="*/ 19 h 21"/>
                <a:gd name="T62" fmla="*/ 17 w 19"/>
                <a:gd name="T63" fmla="*/ 19 h 21"/>
                <a:gd name="T64" fmla="*/ 17 w 19"/>
                <a:gd name="T65" fmla="*/ 17 h 21"/>
                <a:gd name="T66" fmla="*/ 19 w 19"/>
                <a:gd name="T67" fmla="*/ 19 h 21"/>
                <a:gd name="T68" fmla="*/ 19 w 19"/>
                <a:gd name="T69" fmla="*/ 19 h 21"/>
                <a:gd name="T70" fmla="*/ 19 w 19"/>
                <a:gd name="T71" fmla="*/ 17 h 21"/>
                <a:gd name="T72" fmla="*/ 19 w 19"/>
                <a:gd name="T73" fmla="*/ 17 h 21"/>
                <a:gd name="T74" fmla="*/ 19 w 19"/>
                <a:gd name="T75" fmla="*/ 17 h 21"/>
                <a:gd name="T76" fmla="*/ 19 w 19"/>
                <a:gd name="T77" fmla="*/ 14 h 21"/>
                <a:gd name="T78" fmla="*/ 19 w 19"/>
                <a:gd name="T79" fmla="*/ 12 h 21"/>
                <a:gd name="T80" fmla="*/ 19 w 19"/>
                <a:gd name="T81" fmla="*/ 12 h 21"/>
                <a:gd name="T82" fmla="*/ 19 w 19"/>
                <a:gd name="T83" fmla="*/ 9 h 21"/>
                <a:gd name="T84" fmla="*/ 19 w 19"/>
                <a:gd name="T85" fmla="*/ 9 h 21"/>
                <a:gd name="T86" fmla="*/ 17 w 19"/>
                <a:gd name="T87" fmla="*/ 9 h 21"/>
                <a:gd name="T88" fmla="*/ 19 w 19"/>
                <a:gd name="T89" fmla="*/ 7 h 21"/>
                <a:gd name="T90" fmla="*/ 19 w 19"/>
                <a:gd name="T91" fmla="*/ 7 h 21"/>
                <a:gd name="T92" fmla="*/ 19 w 19"/>
                <a:gd name="T93" fmla="*/ 7 h 21"/>
                <a:gd name="T94" fmla="*/ 19 w 19"/>
                <a:gd name="T95" fmla="*/ 5 h 21"/>
                <a:gd name="T96" fmla="*/ 19 w 19"/>
                <a:gd name="T97"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 h="21">
                  <a:moveTo>
                    <a:pt x="19" y="5"/>
                  </a:moveTo>
                  <a:lnTo>
                    <a:pt x="17" y="5"/>
                  </a:lnTo>
                  <a:lnTo>
                    <a:pt x="17" y="5"/>
                  </a:lnTo>
                  <a:lnTo>
                    <a:pt x="17" y="5"/>
                  </a:lnTo>
                  <a:lnTo>
                    <a:pt x="17" y="2"/>
                  </a:lnTo>
                  <a:lnTo>
                    <a:pt x="15" y="2"/>
                  </a:lnTo>
                  <a:lnTo>
                    <a:pt x="15" y="2"/>
                  </a:lnTo>
                  <a:lnTo>
                    <a:pt x="12" y="2"/>
                  </a:lnTo>
                  <a:lnTo>
                    <a:pt x="10" y="0"/>
                  </a:lnTo>
                  <a:lnTo>
                    <a:pt x="5" y="5"/>
                  </a:lnTo>
                  <a:lnTo>
                    <a:pt x="3" y="9"/>
                  </a:lnTo>
                  <a:lnTo>
                    <a:pt x="0" y="12"/>
                  </a:lnTo>
                  <a:lnTo>
                    <a:pt x="0" y="14"/>
                  </a:lnTo>
                  <a:lnTo>
                    <a:pt x="0" y="17"/>
                  </a:lnTo>
                  <a:lnTo>
                    <a:pt x="0" y="17"/>
                  </a:lnTo>
                  <a:lnTo>
                    <a:pt x="3" y="17"/>
                  </a:lnTo>
                  <a:lnTo>
                    <a:pt x="5" y="17"/>
                  </a:lnTo>
                  <a:lnTo>
                    <a:pt x="5" y="17"/>
                  </a:lnTo>
                  <a:lnTo>
                    <a:pt x="7" y="19"/>
                  </a:lnTo>
                  <a:lnTo>
                    <a:pt x="7" y="19"/>
                  </a:lnTo>
                  <a:lnTo>
                    <a:pt x="7" y="19"/>
                  </a:lnTo>
                  <a:lnTo>
                    <a:pt x="7" y="19"/>
                  </a:lnTo>
                  <a:lnTo>
                    <a:pt x="7" y="19"/>
                  </a:lnTo>
                  <a:lnTo>
                    <a:pt x="7" y="21"/>
                  </a:lnTo>
                  <a:lnTo>
                    <a:pt x="10" y="21"/>
                  </a:lnTo>
                  <a:lnTo>
                    <a:pt x="10" y="21"/>
                  </a:lnTo>
                  <a:lnTo>
                    <a:pt x="10" y="21"/>
                  </a:lnTo>
                  <a:lnTo>
                    <a:pt x="12" y="19"/>
                  </a:lnTo>
                  <a:lnTo>
                    <a:pt x="12" y="19"/>
                  </a:lnTo>
                  <a:lnTo>
                    <a:pt x="15" y="19"/>
                  </a:lnTo>
                  <a:lnTo>
                    <a:pt x="17" y="19"/>
                  </a:lnTo>
                  <a:lnTo>
                    <a:pt x="17" y="19"/>
                  </a:lnTo>
                  <a:lnTo>
                    <a:pt x="17" y="17"/>
                  </a:lnTo>
                  <a:lnTo>
                    <a:pt x="19" y="19"/>
                  </a:lnTo>
                  <a:lnTo>
                    <a:pt x="19" y="19"/>
                  </a:lnTo>
                  <a:lnTo>
                    <a:pt x="19" y="17"/>
                  </a:lnTo>
                  <a:lnTo>
                    <a:pt x="19" y="17"/>
                  </a:lnTo>
                  <a:lnTo>
                    <a:pt x="19" y="17"/>
                  </a:lnTo>
                  <a:lnTo>
                    <a:pt x="19" y="14"/>
                  </a:lnTo>
                  <a:lnTo>
                    <a:pt x="19" y="12"/>
                  </a:lnTo>
                  <a:lnTo>
                    <a:pt x="19" y="12"/>
                  </a:lnTo>
                  <a:lnTo>
                    <a:pt x="19" y="9"/>
                  </a:lnTo>
                  <a:lnTo>
                    <a:pt x="19" y="9"/>
                  </a:lnTo>
                  <a:lnTo>
                    <a:pt x="17" y="9"/>
                  </a:lnTo>
                  <a:lnTo>
                    <a:pt x="19" y="7"/>
                  </a:lnTo>
                  <a:lnTo>
                    <a:pt x="19" y="7"/>
                  </a:lnTo>
                  <a:lnTo>
                    <a:pt x="19" y="7"/>
                  </a:lnTo>
                  <a:lnTo>
                    <a:pt x="19" y="5"/>
                  </a:lnTo>
                  <a:lnTo>
                    <a:pt x="1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56" name="Freeform 373">
              <a:extLst>
                <a:ext uri="{FF2B5EF4-FFF2-40B4-BE49-F238E27FC236}">
                  <a16:creationId xmlns:a16="http://schemas.microsoft.com/office/drawing/2014/main" id="{01473F2F-4399-48A0-A9DB-20C2BC5AF736}"/>
                </a:ext>
              </a:extLst>
            </p:cNvPr>
            <p:cNvSpPr>
              <a:spLocks/>
            </p:cNvSpPr>
            <p:nvPr/>
          </p:nvSpPr>
          <p:spPr bwMode="gray">
            <a:xfrm>
              <a:off x="-1132" y="2727"/>
              <a:ext cx="2"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0" y="0"/>
                  </a:cubicBez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57" name="Freeform 374">
              <a:extLst>
                <a:ext uri="{FF2B5EF4-FFF2-40B4-BE49-F238E27FC236}">
                  <a16:creationId xmlns:a16="http://schemas.microsoft.com/office/drawing/2014/main" id="{EF9DD5C4-7F7A-412E-B893-7A18BCAF2064}"/>
                </a:ext>
              </a:extLst>
            </p:cNvPr>
            <p:cNvSpPr>
              <a:spLocks/>
            </p:cNvSpPr>
            <p:nvPr/>
          </p:nvSpPr>
          <p:spPr bwMode="gray">
            <a:xfrm>
              <a:off x="-1212" y="2772"/>
              <a:ext cx="2"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0" y="0"/>
                  </a:cubicBezTo>
                  <a:cubicBezTo>
                    <a:pt x="0"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58" name="Freeform 375">
              <a:extLst>
                <a:ext uri="{FF2B5EF4-FFF2-40B4-BE49-F238E27FC236}">
                  <a16:creationId xmlns:a16="http://schemas.microsoft.com/office/drawing/2014/main" id="{EA66C55C-6435-4A74-8299-836B3CCE4C81}"/>
                </a:ext>
              </a:extLst>
            </p:cNvPr>
            <p:cNvSpPr>
              <a:spLocks/>
            </p:cNvSpPr>
            <p:nvPr/>
          </p:nvSpPr>
          <p:spPr bwMode="gray">
            <a:xfrm>
              <a:off x="-1250" y="2749"/>
              <a:ext cx="5" cy="4"/>
            </a:xfrm>
            <a:custGeom>
              <a:avLst/>
              <a:gdLst>
                <a:gd name="T0" fmla="*/ 0 w 5"/>
                <a:gd name="T1" fmla="*/ 4 h 4"/>
                <a:gd name="T2" fmla="*/ 0 w 5"/>
                <a:gd name="T3" fmla="*/ 4 h 4"/>
                <a:gd name="T4" fmla="*/ 0 w 5"/>
                <a:gd name="T5" fmla="*/ 4 h 4"/>
                <a:gd name="T6" fmla="*/ 2 w 5"/>
                <a:gd name="T7" fmla="*/ 2 h 4"/>
                <a:gd name="T8" fmla="*/ 2 w 5"/>
                <a:gd name="T9" fmla="*/ 2 h 4"/>
                <a:gd name="T10" fmla="*/ 5 w 5"/>
                <a:gd name="T11" fmla="*/ 0 h 4"/>
                <a:gd name="T12" fmla="*/ 2 w 5"/>
                <a:gd name="T13" fmla="*/ 0 h 4"/>
                <a:gd name="T14" fmla="*/ 0 w 5"/>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0" y="4"/>
                  </a:moveTo>
                  <a:lnTo>
                    <a:pt x="0" y="4"/>
                  </a:lnTo>
                  <a:lnTo>
                    <a:pt x="0" y="4"/>
                  </a:lnTo>
                  <a:lnTo>
                    <a:pt x="2" y="2"/>
                  </a:lnTo>
                  <a:lnTo>
                    <a:pt x="2" y="2"/>
                  </a:lnTo>
                  <a:lnTo>
                    <a:pt x="5" y="0"/>
                  </a:lnTo>
                  <a:lnTo>
                    <a:pt x="2"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60" name="Freeform 376">
              <a:extLst>
                <a:ext uri="{FF2B5EF4-FFF2-40B4-BE49-F238E27FC236}">
                  <a16:creationId xmlns:a16="http://schemas.microsoft.com/office/drawing/2014/main" id="{FAE9C206-99A6-4EE0-8939-47141D0C94E8}"/>
                </a:ext>
              </a:extLst>
            </p:cNvPr>
            <p:cNvSpPr>
              <a:spLocks/>
            </p:cNvSpPr>
            <p:nvPr/>
          </p:nvSpPr>
          <p:spPr bwMode="gray">
            <a:xfrm>
              <a:off x="-2562" y="2626"/>
              <a:ext cx="80" cy="64"/>
            </a:xfrm>
            <a:custGeom>
              <a:avLst/>
              <a:gdLst>
                <a:gd name="T0" fmla="*/ 73 w 80"/>
                <a:gd name="T1" fmla="*/ 17 h 64"/>
                <a:gd name="T2" fmla="*/ 68 w 80"/>
                <a:gd name="T3" fmla="*/ 19 h 64"/>
                <a:gd name="T4" fmla="*/ 61 w 80"/>
                <a:gd name="T5" fmla="*/ 19 h 64"/>
                <a:gd name="T6" fmla="*/ 57 w 80"/>
                <a:gd name="T7" fmla="*/ 14 h 64"/>
                <a:gd name="T8" fmla="*/ 59 w 80"/>
                <a:gd name="T9" fmla="*/ 10 h 64"/>
                <a:gd name="T10" fmla="*/ 61 w 80"/>
                <a:gd name="T11" fmla="*/ 10 h 64"/>
                <a:gd name="T12" fmla="*/ 61 w 80"/>
                <a:gd name="T13" fmla="*/ 7 h 64"/>
                <a:gd name="T14" fmla="*/ 54 w 80"/>
                <a:gd name="T15" fmla="*/ 7 h 64"/>
                <a:gd name="T16" fmla="*/ 54 w 80"/>
                <a:gd name="T17" fmla="*/ 5 h 64"/>
                <a:gd name="T18" fmla="*/ 57 w 80"/>
                <a:gd name="T19" fmla="*/ 3 h 64"/>
                <a:gd name="T20" fmla="*/ 61 w 80"/>
                <a:gd name="T21" fmla="*/ 0 h 64"/>
                <a:gd name="T22" fmla="*/ 59 w 80"/>
                <a:gd name="T23" fmla="*/ 0 h 64"/>
                <a:gd name="T24" fmla="*/ 47 w 80"/>
                <a:gd name="T25" fmla="*/ 3 h 64"/>
                <a:gd name="T26" fmla="*/ 38 w 80"/>
                <a:gd name="T27" fmla="*/ 7 h 64"/>
                <a:gd name="T28" fmla="*/ 33 w 80"/>
                <a:gd name="T29" fmla="*/ 7 h 64"/>
                <a:gd name="T30" fmla="*/ 31 w 80"/>
                <a:gd name="T31" fmla="*/ 10 h 64"/>
                <a:gd name="T32" fmla="*/ 28 w 80"/>
                <a:gd name="T33" fmla="*/ 12 h 64"/>
                <a:gd name="T34" fmla="*/ 26 w 80"/>
                <a:gd name="T35" fmla="*/ 14 h 64"/>
                <a:gd name="T36" fmla="*/ 24 w 80"/>
                <a:gd name="T37" fmla="*/ 17 h 64"/>
                <a:gd name="T38" fmla="*/ 21 w 80"/>
                <a:gd name="T39" fmla="*/ 17 h 64"/>
                <a:gd name="T40" fmla="*/ 21 w 80"/>
                <a:gd name="T41" fmla="*/ 19 h 64"/>
                <a:gd name="T42" fmla="*/ 16 w 80"/>
                <a:gd name="T43" fmla="*/ 24 h 64"/>
                <a:gd name="T44" fmla="*/ 12 w 80"/>
                <a:gd name="T45" fmla="*/ 24 h 64"/>
                <a:gd name="T46" fmla="*/ 7 w 80"/>
                <a:gd name="T47" fmla="*/ 28 h 64"/>
                <a:gd name="T48" fmla="*/ 0 w 80"/>
                <a:gd name="T49" fmla="*/ 36 h 64"/>
                <a:gd name="T50" fmla="*/ 2 w 80"/>
                <a:gd name="T51" fmla="*/ 40 h 64"/>
                <a:gd name="T52" fmla="*/ 7 w 80"/>
                <a:gd name="T53" fmla="*/ 38 h 64"/>
                <a:gd name="T54" fmla="*/ 7 w 80"/>
                <a:gd name="T55" fmla="*/ 40 h 64"/>
                <a:gd name="T56" fmla="*/ 9 w 80"/>
                <a:gd name="T57" fmla="*/ 40 h 64"/>
                <a:gd name="T58" fmla="*/ 12 w 80"/>
                <a:gd name="T59" fmla="*/ 45 h 64"/>
                <a:gd name="T60" fmla="*/ 16 w 80"/>
                <a:gd name="T61" fmla="*/ 40 h 64"/>
                <a:gd name="T62" fmla="*/ 24 w 80"/>
                <a:gd name="T63" fmla="*/ 36 h 64"/>
                <a:gd name="T64" fmla="*/ 28 w 80"/>
                <a:gd name="T65" fmla="*/ 40 h 64"/>
                <a:gd name="T66" fmla="*/ 28 w 80"/>
                <a:gd name="T67" fmla="*/ 45 h 64"/>
                <a:gd name="T68" fmla="*/ 31 w 80"/>
                <a:gd name="T69" fmla="*/ 54 h 64"/>
                <a:gd name="T70" fmla="*/ 42 w 80"/>
                <a:gd name="T71" fmla="*/ 54 h 64"/>
                <a:gd name="T72" fmla="*/ 45 w 80"/>
                <a:gd name="T73" fmla="*/ 54 h 64"/>
                <a:gd name="T74" fmla="*/ 47 w 80"/>
                <a:gd name="T75" fmla="*/ 57 h 64"/>
                <a:gd name="T76" fmla="*/ 47 w 80"/>
                <a:gd name="T77" fmla="*/ 59 h 64"/>
                <a:gd name="T78" fmla="*/ 49 w 80"/>
                <a:gd name="T79" fmla="*/ 59 h 64"/>
                <a:gd name="T80" fmla="*/ 52 w 80"/>
                <a:gd name="T81" fmla="*/ 64 h 64"/>
                <a:gd name="T82" fmla="*/ 52 w 80"/>
                <a:gd name="T83" fmla="*/ 61 h 64"/>
                <a:gd name="T84" fmla="*/ 64 w 80"/>
                <a:gd name="T85" fmla="*/ 52 h 64"/>
                <a:gd name="T86" fmla="*/ 66 w 80"/>
                <a:gd name="T87" fmla="*/ 50 h 64"/>
                <a:gd name="T88" fmla="*/ 73 w 80"/>
                <a:gd name="T89" fmla="*/ 36 h 64"/>
                <a:gd name="T90" fmla="*/ 75 w 80"/>
                <a:gd name="T91" fmla="*/ 31 h 64"/>
                <a:gd name="T92" fmla="*/ 78 w 80"/>
                <a:gd name="T93" fmla="*/ 28 h 64"/>
                <a:gd name="T94" fmla="*/ 80 w 80"/>
                <a:gd name="T95" fmla="*/ 24 h 64"/>
                <a:gd name="T96" fmla="*/ 80 w 80"/>
                <a:gd name="T97" fmla="*/ 21 h 64"/>
                <a:gd name="T98" fmla="*/ 80 w 80"/>
                <a:gd name="T9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0" h="64">
                  <a:moveTo>
                    <a:pt x="80" y="19"/>
                  </a:moveTo>
                  <a:lnTo>
                    <a:pt x="78" y="19"/>
                  </a:lnTo>
                  <a:lnTo>
                    <a:pt x="73" y="17"/>
                  </a:lnTo>
                  <a:lnTo>
                    <a:pt x="71" y="17"/>
                  </a:lnTo>
                  <a:lnTo>
                    <a:pt x="71" y="17"/>
                  </a:lnTo>
                  <a:lnTo>
                    <a:pt x="68" y="19"/>
                  </a:lnTo>
                  <a:lnTo>
                    <a:pt x="66" y="19"/>
                  </a:lnTo>
                  <a:lnTo>
                    <a:pt x="61" y="19"/>
                  </a:lnTo>
                  <a:lnTo>
                    <a:pt x="61" y="19"/>
                  </a:lnTo>
                  <a:lnTo>
                    <a:pt x="59" y="17"/>
                  </a:lnTo>
                  <a:lnTo>
                    <a:pt x="57" y="17"/>
                  </a:lnTo>
                  <a:lnTo>
                    <a:pt x="57" y="14"/>
                  </a:lnTo>
                  <a:lnTo>
                    <a:pt x="57" y="12"/>
                  </a:lnTo>
                  <a:lnTo>
                    <a:pt x="57" y="12"/>
                  </a:lnTo>
                  <a:lnTo>
                    <a:pt x="59" y="10"/>
                  </a:lnTo>
                  <a:lnTo>
                    <a:pt x="59" y="10"/>
                  </a:lnTo>
                  <a:lnTo>
                    <a:pt x="59" y="10"/>
                  </a:lnTo>
                  <a:lnTo>
                    <a:pt x="61" y="10"/>
                  </a:lnTo>
                  <a:lnTo>
                    <a:pt x="61" y="7"/>
                  </a:lnTo>
                  <a:lnTo>
                    <a:pt x="61" y="7"/>
                  </a:lnTo>
                  <a:lnTo>
                    <a:pt x="61" y="7"/>
                  </a:lnTo>
                  <a:lnTo>
                    <a:pt x="61" y="7"/>
                  </a:lnTo>
                  <a:lnTo>
                    <a:pt x="57" y="7"/>
                  </a:lnTo>
                  <a:lnTo>
                    <a:pt x="54" y="7"/>
                  </a:lnTo>
                  <a:lnTo>
                    <a:pt x="54" y="5"/>
                  </a:lnTo>
                  <a:lnTo>
                    <a:pt x="54" y="5"/>
                  </a:lnTo>
                  <a:lnTo>
                    <a:pt x="54" y="5"/>
                  </a:lnTo>
                  <a:lnTo>
                    <a:pt x="57" y="5"/>
                  </a:lnTo>
                  <a:lnTo>
                    <a:pt x="57" y="3"/>
                  </a:lnTo>
                  <a:lnTo>
                    <a:pt x="57" y="3"/>
                  </a:lnTo>
                  <a:lnTo>
                    <a:pt x="59" y="3"/>
                  </a:lnTo>
                  <a:lnTo>
                    <a:pt x="61" y="0"/>
                  </a:lnTo>
                  <a:lnTo>
                    <a:pt x="61" y="0"/>
                  </a:lnTo>
                  <a:lnTo>
                    <a:pt x="61" y="0"/>
                  </a:lnTo>
                  <a:lnTo>
                    <a:pt x="61" y="0"/>
                  </a:lnTo>
                  <a:lnTo>
                    <a:pt x="59" y="0"/>
                  </a:lnTo>
                  <a:lnTo>
                    <a:pt x="59" y="0"/>
                  </a:lnTo>
                  <a:lnTo>
                    <a:pt x="52" y="3"/>
                  </a:lnTo>
                  <a:lnTo>
                    <a:pt x="47" y="3"/>
                  </a:lnTo>
                  <a:lnTo>
                    <a:pt x="45" y="5"/>
                  </a:lnTo>
                  <a:lnTo>
                    <a:pt x="42" y="5"/>
                  </a:lnTo>
                  <a:lnTo>
                    <a:pt x="38" y="7"/>
                  </a:lnTo>
                  <a:lnTo>
                    <a:pt x="35" y="7"/>
                  </a:lnTo>
                  <a:lnTo>
                    <a:pt x="35" y="7"/>
                  </a:lnTo>
                  <a:lnTo>
                    <a:pt x="33" y="7"/>
                  </a:lnTo>
                  <a:lnTo>
                    <a:pt x="33" y="10"/>
                  </a:lnTo>
                  <a:lnTo>
                    <a:pt x="33" y="10"/>
                  </a:lnTo>
                  <a:lnTo>
                    <a:pt x="31" y="10"/>
                  </a:lnTo>
                  <a:lnTo>
                    <a:pt x="31" y="10"/>
                  </a:lnTo>
                  <a:lnTo>
                    <a:pt x="31" y="12"/>
                  </a:lnTo>
                  <a:lnTo>
                    <a:pt x="28" y="12"/>
                  </a:lnTo>
                  <a:lnTo>
                    <a:pt x="26" y="14"/>
                  </a:lnTo>
                  <a:lnTo>
                    <a:pt x="26" y="14"/>
                  </a:lnTo>
                  <a:lnTo>
                    <a:pt x="26" y="14"/>
                  </a:lnTo>
                  <a:lnTo>
                    <a:pt x="24" y="14"/>
                  </a:lnTo>
                  <a:lnTo>
                    <a:pt x="24" y="14"/>
                  </a:lnTo>
                  <a:lnTo>
                    <a:pt x="24" y="17"/>
                  </a:lnTo>
                  <a:lnTo>
                    <a:pt x="24" y="17"/>
                  </a:lnTo>
                  <a:lnTo>
                    <a:pt x="21" y="17"/>
                  </a:lnTo>
                  <a:lnTo>
                    <a:pt x="21" y="17"/>
                  </a:lnTo>
                  <a:lnTo>
                    <a:pt x="21" y="17"/>
                  </a:lnTo>
                  <a:lnTo>
                    <a:pt x="21" y="19"/>
                  </a:lnTo>
                  <a:lnTo>
                    <a:pt x="21" y="19"/>
                  </a:lnTo>
                  <a:lnTo>
                    <a:pt x="19" y="19"/>
                  </a:lnTo>
                  <a:lnTo>
                    <a:pt x="16" y="21"/>
                  </a:lnTo>
                  <a:lnTo>
                    <a:pt x="16" y="24"/>
                  </a:lnTo>
                  <a:lnTo>
                    <a:pt x="16" y="24"/>
                  </a:lnTo>
                  <a:lnTo>
                    <a:pt x="14" y="24"/>
                  </a:lnTo>
                  <a:lnTo>
                    <a:pt x="12" y="24"/>
                  </a:lnTo>
                  <a:lnTo>
                    <a:pt x="9" y="28"/>
                  </a:lnTo>
                  <a:lnTo>
                    <a:pt x="7" y="28"/>
                  </a:lnTo>
                  <a:lnTo>
                    <a:pt x="7" y="28"/>
                  </a:lnTo>
                  <a:lnTo>
                    <a:pt x="2" y="33"/>
                  </a:lnTo>
                  <a:lnTo>
                    <a:pt x="0" y="33"/>
                  </a:lnTo>
                  <a:lnTo>
                    <a:pt x="0" y="36"/>
                  </a:lnTo>
                  <a:lnTo>
                    <a:pt x="0" y="36"/>
                  </a:lnTo>
                  <a:lnTo>
                    <a:pt x="2" y="38"/>
                  </a:lnTo>
                  <a:lnTo>
                    <a:pt x="2" y="40"/>
                  </a:lnTo>
                  <a:lnTo>
                    <a:pt x="5" y="40"/>
                  </a:lnTo>
                  <a:lnTo>
                    <a:pt x="5" y="40"/>
                  </a:lnTo>
                  <a:lnTo>
                    <a:pt x="7" y="38"/>
                  </a:lnTo>
                  <a:lnTo>
                    <a:pt x="7" y="40"/>
                  </a:lnTo>
                  <a:lnTo>
                    <a:pt x="7" y="40"/>
                  </a:lnTo>
                  <a:lnTo>
                    <a:pt x="7" y="40"/>
                  </a:lnTo>
                  <a:lnTo>
                    <a:pt x="7" y="38"/>
                  </a:lnTo>
                  <a:lnTo>
                    <a:pt x="9" y="40"/>
                  </a:lnTo>
                  <a:lnTo>
                    <a:pt x="9" y="40"/>
                  </a:lnTo>
                  <a:lnTo>
                    <a:pt x="9" y="43"/>
                  </a:lnTo>
                  <a:lnTo>
                    <a:pt x="9" y="43"/>
                  </a:lnTo>
                  <a:lnTo>
                    <a:pt x="12" y="45"/>
                  </a:lnTo>
                  <a:lnTo>
                    <a:pt x="14" y="45"/>
                  </a:lnTo>
                  <a:lnTo>
                    <a:pt x="14" y="43"/>
                  </a:lnTo>
                  <a:lnTo>
                    <a:pt x="16" y="40"/>
                  </a:lnTo>
                  <a:lnTo>
                    <a:pt x="16" y="40"/>
                  </a:lnTo>
                  <a:lnTo>
                    <a:pt x="21" y="36"/>
                  </a:lnTo>
                  <a:lnTo>
                    <a:pt x="24" y="36"/>
                  </a:lnTo>
                  <a:lnTo>
                    <a:pt x="24" y="36"/>
                  </a:lnTo>
                  <a:lnTo>
                    <a:pt x="26" y="38"/>
                  </a:lnTo>
                  <a:lnTo>
                    <a:pt x="28" y="40"/>
                  </a:lnTo>
                  <a:lnTo>
                    <a:pt x="31" y="43"/>
                  </a:lnTo>
                  <a:lnTo>
                    <a:pt x="28" y="45"/>
                  </a:lnTo>
                  <a:lnTo>
                    <a:pt x="28" y="45"/>
                  </a:lnTo>
                  <a:lnTo>
                    <a:pt x="28" y="47"/>
                  </a:lnTo>
                  <a:lnTo>
                    <a:pt x="31" y="52"/>
                  </a:lnTo>
                  <a:lnTo>
                    <a:pt x="31" y="54"/>
                  </a:lnTo>
                  <a:lnTo>
                    <a:pt x="35" y="54"/>
                  </a:lnTo>
                  <a:lnTo>
                    <a:pt x="40" y="54"/>
                  </a:lnTo>
                  <a:lnTo>
                    <a:pt x="42" y="54"/>
                  </a:lnTo>
                  <a:lnTo>
                    <a:pt x="42" y="54"/>
                  </a:lnTo>
                  <a:lnTo>
                    <a:pt x="42" y="54"/>
                  </a:lnTo>
                  <a:lnTo>
                    <a:pt x="45" y="54"/>
                  </a:lnTo>
                  <a:lnTo>
                    <a:pt x="45" y="57"/>
                  </a:lnTo>
                  <a:lnTo>
                    <a:pt x="45" y="57"/>
                  </a:lnTo>
                  <a:lnTo>
                    <a:pt x="47" y="57"/>
                  </a:lnTo>
                  <a:lnTo>
                    <a:pt x="47" y="57"/>
                  </a:lnTo>
                  <a:lnTo>
                    <a:pt x="47" y="57"/>
                  </a:lnTo>
                  <a:lnTo>
                    <a:pt x="47" y="59"/>
                  </a:lnTo>
                  <a:lnTo>
                    <a:pt x="47" y="59"/>
                  </a:lnTo>
                  <a:lnTo>
                    <a:pt x="49" y="59"/>
                  </a:lnTo>
                  <a:lnTo>
                    <a:pt x="49" y="59"/>
                  </a:lnTo>
                  <a:lnTo>
                    <a:pt x="52" y="64"/>
                  </a:lnTo>
                  <a:lnTo>
                    <a:pt x="52" y="64"/>
                  </a:lnTo>
                  <a:lnTo>
                    <a:pt x="52" y="64"/>
                  </a:lnTo>
                  <a:lnTo>
                    <a:pt x="52" y="61"/>
                  </a:lnTo>
                  <a:lnTo>
                    <a:pt x="52" y="61"/>
                  </a:lnTo>
                  <a:lnTo>
                    <a:pt x="52" y="61"/>
                  </a:lnTo>
                  <a:lnTo>
                    <a:pt x="57" y="59"/>
                  </a:lnTo>
                  <a:lnTo>
                    <a:pt x="61" y="54"/>
                  </a:lnTo>
                  <a:lnTo>
                    <a:pt x="64" y="52"/>
                  </a:lnTo>
                  <a:lnTo>
                    <a:pt x="66" y="50"/>
                  </a:lnTo>
                  <a:lnTo>
                    <a:pt x="66" y="50"/>
                  </a:lnTo>
                  <a:lnTo>
                    <a:pt x="66" y="50"/>
                  </a:lnTo>
                  <a:lnTo>
                    <a:pt x="66" y="45"/>
                  </a:lnTo>
                  <a:lnTo>
                    <a:pt x="68" y="40"/>
                  </a:lnTo>
                  <a:lnTo>
                    <a:pt x="73" y="36"/>
                  </a:lnTo>
                  <a:lnTo>
                    <a:pt x="75" y="33"/>
                  </a:lnTo>
                  <a:lnTo>
                    <a:pt x="75" y="33"/>
                  </a:lnTo>
                  <a:lnTo>
                    <a:pt x="75" y="31"/>
                  </a:lnTo>
                  <a:lnTo>
                    <a:pt x="75" y="31"/>
                  </a:lnTo>
                  <a:lnTo>
                    <a:pt x="78" y="28"/>
                  </a:lnTo>
                  <a:lnTo>
                    <a:pt x="78" y="28"/>
                  </a:lnTo>
                  <a:lnTo>
                    <a:pt x="78" y="28"/>
                  </a:lnTo>
                  <a:lnTo>
                    <a:pt x="80" y="26"/>
                  </a:lnTo>
                  <a:lnTo>
                    <a:pt x="80" y="24"/>
                  </a:lnTo>
                  <a:lnTo>
                    <a:pt x="80" y="24"/>
                  </a:lnTo>
                  <a:lnTo>
                    <a:pt x="80" y="24"/>
                  </a:lnTo>
                  <a:lnTo>
                    <a:pt x="80" y="21"/>
                  </a:lnTo>
                  <a:lnTo>
                    <a:pt x="80" y="21"/>
                  </a:lnTo>
                  <a:lnTo>
                    <a:pt x="80" y="21"/>
                  </a:lnTo>
                  <a:lnTo>
                    <a:pt x="80" y="21"/>
                  </a:lnTo>
                  <a:lnTo>
                    <a:pt x="8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61" name="Rectangle 377">
              <a:extLst>
                <a:ext uri="{FF2B5EF4-FFF2-40B4-BE49-F238E27FC236}">
                  <a16:creationId xmlns:a16="http://schemas.microsoft.com/office/drawing/2014/main" id="{6B8D267E-7904-487E-AC42-7210309CE8A9}"/>
                </a:ext>
              </a:extLst>
            </p:cNvPr>
            <p:cNvSpPr>
              <a:spLocks noChangeArrowheads="1"/>
            </p:cNvSpPr>
            <p:nvPr/>
          </p:nvSpPr>
          <p:spPr bwMode="gray">
            <a:xfrm>
              <a:off x="-3308" y="2296"/>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62" name="Freeform 378">
              <a:extLst>
                <a:ext uri="{FF2B5EF4-FFF2-40B4-BE49-F238E27FC236}">
                  <a16:creationId xmlns:a16="http://schemas.microsoft.com/office/drawing/2014/main" id="{84B5B276-0E40-403F-81FC-E27846FF425A}"/>
                </a:ext>
              </a:extLst>
            </p:cNvPr>
            <p:cNvSpPr>
              <a:spLocks/>
            </p:cNvSpPr>
            <p:nvPr/>
          </p:nvSpPr>
          <p:spPr bwMode="gray">
            <a:xfrm>
              <a:off x="-2640" y="2702"/>
              <a:ext cx="28" cy="25"/>
            </a:xfrm>
            <a:custGeom>
              <a:avLst/>
              <a:gdLst>
                <a:gd name="T0" fmla="*/ 26 w 28"/>
                <a:gd name="T1" fmla="*/ 2 h 25"/>
                <a:gd name="T2" fmla="*/ 26 w 28"/>
                <a:gd name="T3" fmla="*/ 2 h 25"/>
                <a:gd name="T4" fmla="*/ 24 w 28"/>
                <a:gd name="T5" fmla="*/ 2 h 25"/>
                <a:gd name="T6" fmla="*/ 21 w 28"/>
                <a:gd name="T7" fmla="*/ 2 h 25"/>
                <a:gd name="T8" fmla="*/ 19 w 28"/>
                <a:gd name="T9" fmla="*/ 2 h 25"/>
                <a:gd name="T10" fmla="*/ 17 w 28"/>
                <a:gd name="T11" fmla="*/ 2 h 25"/>
                <a:gd name="T12" fmla="*/ 14 w 28"/>
                <a:gd name="T13" fmla="*/ 2 h 25"/>
                <a:gd name="T14" fmla="*/ 12 w 28"/>
                <a:gd name="T15" fmla="*/ 4 h 25"/>
                <a:gd name="T16" fmla="*/ 9 w 28"/>
                <a:gd name="T17" fmla="*/ 4 h 25"/>
                <a:gd name="T18" fmla="*/ 7 w 28"/>
                <a:gd name="T19" fmla="*/ 7 h 25"/>
                <a:gd name="T20" fmla="*/ 5 w 28"/>
                <a:gd name="T21" fmla="*/ 7 h 25"/>
                <a:gd name="T22" fmla="*/ 5 w 28"/>
                <a:gd name="T23" fmla="*/ 9 h 25"/>
                <a:gd name="T24" fmla="*/ 2 w 28"/>
                <a:gd name="T25" fmla="*/ 14 h 25"/>
                <a:gd name="T26" fmla="*/ 2 w 28"/>
                <a:gd name="T27" fmla="*/ 14 h 25"/>
                <a:gd name="T28" fmla="*/ 0 w 28"/>
                <a:gd name="T29" fmla="*/ 14 h 25"/>
                <a:gd name="T30" fmla="*/ 0 w 28"/>
                <a:gd name="T31" fmla="*/ 16 h 25"/>
                <a:gd name="T32" fmla="*/ 0 w 28"/>
                <a:gd name="T33" fmla="*/ 18 h 25"/>
                <a:gd name="T34" fmla="*/ 0 w 28"/>
                <a:gd name="T35" fmla="*/ 21 h 25"/>
                <a:gd name="T36" fmla="*/ 2 w 28"/>
                <a:gd name="T37" fmla="*/ 23 h 25"/>
                <a:gd name="T38" fmla="*/ 5 w 28"/>
                <a:gd name="T39" fmla="*/ 23 h 25"/>
                <a:gd name="T40" fmla="*/ 5 w 28"/>
                <a:gd name="T41" fmla="*/ 23 h 25"/>
                <a:gd name="T42" fmla="*/ 7 w 28"/>
                <a:gd name="T43" fmla="*/ 23 h 25"/>
                <a:gd name="T44" fmla="*/ 7 w 28"/>
                <a:gd name="T45" fmla="*/ 23 h 25"/>
                <a:gd name="T46" fmla="*/ 9 w 28"/>
                <a:gd name="T47" fmla="*/ 25 h 25"/>
                <a:gd name="T48" fmla="*/ 12 w 28"/>
                <a:gd name="T49" fmla="*/ 23 h 25"/>
                <a:gd name="T50" fmla="*/ 14 w 28"/>
                <a:gd name="T51" fmla="*/ 21 h 25"/>
                <a:gd name="T52" fmla="*/ 17 w 28"/>
                <a:gd name="T53" fmla="*/ 18 h 25"/>
                <a:gd name="T54" fmla="*/ 17 w 28"/>
                <a:gd name="T55" fmla="*/ 21 h 25"/>
                <a:gd name="T56" fmla="*/ 19 w 28"/>
                <a:gd name="T57" fmla="*/ 18 h 25"/>
                <a:gd name="T58" fmla="*/ 21 w 28"/>
                <a:gd name="T59" fmla="*/ 14 h 25"/>
                <a:gd name="T60" fmla="*/ 26 w 28"/>
                <a:gd name="T61" fmla="*/ 11 h 25"/>
                <a:gd name="T62" fmla="*/ 26 w 28"/>
                <a:gd name="T63" fmla="*/ 9 h 25"/>
                <a:gd name="T64" fmla="*/ 28 w 28"/>
                <a:gd name="T65" fmla="*/ 9 h 25"/>
                <a:gd name="T66" fmla="*/ 26 w 28"/>
                <a:gd name="T67"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 h="25">
                  <a:moveTo>
                    <a:pt x="26" y="4"/>
                  </a:moveTo>
                  <a:lnTo>
                    <a:pt x="26" y="2"/>
                  </a:lnTo>
                  <a:lnTo>
                    <a:pt x="26" y="2"/>
                  </a:lnTo>
                  <a:lnTo>
                    <a:pt x="26" y="2"/>
                  </a:lnTo>
                  <a:lnTo>
                    <a:pt x="24" y="2"/>
                  </a:lnTo>
                  <a:lnTo>
                    <a:pt x="24" y="2"/>
                  </a:lnTo>
                  <a:lnTo>
                    <a:pt x="24" y="2"/>
                  </a:lnTo>
                  <a:lnTo>
                    <a:pt x="21" y="2"/>
                  </a:lnTo>
                  <a:lnTo>
                    <a:pt x="21" y="0"/>
                  </a:lnTo>
                  <a:lnTo>
                    <a:pt x="19" y="2"/>
                  </a:lnTo>
                  <a:lnTo>
                    <a:pt x="19" y="2"/>
                  </a:lnTo>
                  <a:lnTo>
                    <a:pt x="17" y="2"/>
                  </a:lnTo>
                  <a:lnTo>
                    <a:pt x="17" y="2"/>
                  </a:lnTo>
                  <a:lnTo>
                    <a:pt x="14" y="2"/>
                  </a:lnTo>
                  <a:lnTo>
                    <a:pt x="12" y="4"/>
                  </a:lnTo>
                  <a:lnTo>
                    <a:pt x="12" y="4"/>
                  </a:lnTo>
                  <a:lnTo>
                    <a:pt x="9" y="4"/>
                  </a:lnTo>
                  <a:lnTo>
                    <a:pt x="9" y="4"/>
                  </a:lnTo>
                  <a:lnTo>
                    <a:pt x="9" y="4"/>
                  </a:lnTo>
                  <a:lnTo>
                    <a:pt x="7" y="7"/>
                  </a:lnTo>
                  <a:lnTo>
                    <a:pt x="7" y="7"/>
                  </a:lnTo>
                  <a:lnTo>
                    <a:pt x="5" y="7"/>
                  </a:lnTo>
                  <a:lnTo>
                    <a:pt x="5" y="9"/>
                  </a:lnTo>
                  <a:lnTo>
                    <a:pt x="5" y="9"/>
                  </a:lnTo>
                  <a:lnTo>
                    <a:pt x="5" y="14"/>
                  </a:lnTo>
                  <a:lnTo>
                    <a:pt x="2" y="14"/>
                  </a:lnTo>
                  <a:lnTo>
                    <a:pt x="2" y="14"/>
                  </a:lnTo>
                  <a:lnTo>
                    <a:pt x="2" y="14"/>
                  </a:lnTo>
                  <a:lnTo>
                    <a:pt x="2" y="14"/>
                  </a:lnTo>
                  <a:lnTo>
                    <a:pt x="0" y="14"/>
                  </a:lnTo>
                  <a:lnTo>
                    <a:pt x="0" y="14"/>
                  </a:lnTo>
                  <a:lnTo>
                    <a:pt x="0" y="16"/>
                  </a:lnTo>
                  <a:lnTo>
                    <a:pt x="0" y="16"/>
                  </a:lnTo>
                  <a:lnTo>
                    <a:pt x="0" y="18"/>
                  </a:lnTo>
                  <a:lnTo>
                    <a:pt x="0" y="21"/>
                  </a:lnTo>
                  <a:lnTo>
                    <a:pt x="0" y="21"/>
                  </a:lnTo>
                  <a:lnTo>
                    <a:pt x="0" y="23"/>
                  </a:lnTo>
                  <a:lnTo>
                    <a:pt x="2" y="23"/>
                  </a:lnTo>
                  <a:lnTo>
                    <a:pt x="2" y="23"/>
                  </a:lnTo>
                  <a:lnTo>
                    <a:pt x="5" y="23"/>
                  </a:lnTo>
                  <a:lnTo>
                    <a:pt x="5" y="23"/>
                  </a:lnTo>
                  <a:lnTo>
                    <a:pt x="5" y="23"/>
                  </a:lnTo>
                  <a:lnTo>
                    <a:pt x="7" y="23"/>
                  </a:lnTo>
                  <a:lnTo>
                    <a:pt x="7" y="23"/>
                  </a:lnTo>
                  <a:lnTo>
                    <a:pt x="7" y="23"/>
                  </a:lnTo>
                  <a:lnTo>
                    <a:pt x="7" y="23"/>
                  </a:lnTo>
                  <a:lnTo>
                    <a:pt x="9" y="25"/>
                  </a:lnTo>
                  <a:lnTo>
                    <a:pt x="9" y="25"/>
                  </a:lnTo>
                  <a:lnTo>
                    <a:pt x="12" y="25"/>
                  </a:lnTo>
                  <a:lnTo>
                    <a:pt x="12" y="23"/>
                  </a:lnTo>
                  <a:lnTo>
                    <a:pt x="14" y="21"/>
                  </a:lnTo>
                  <a:lnTo>
                    <a:pt x="14" y="21"/>
                  </a:lnTo>
                  <a:lnTo>
                    <a:pt x="14" y="18"/>
                  </a:lnTo>
                  <a:lnTo>
                    <a:pt x="17" y="18"/>
                  </a:lnTo>
                  <a:lnTo>
                    <a:pt x="17" y="21"/>
                  </a:lnTo>
                  <a:lnTo>
                    <a:pt x="17" y="21"/>
                  </a:lnTo>
                  <a:lnTo>
                    <a:pt x="17" y="18"/>
                  </a:lnTo>
                  <a:lnTo>
                    <a:pt x="19" y="18"/>
                  </a:lnTo>
                  <a:lnTo>
                    <a:pt x="19" y="18"/>
                  </a:lnTo>
                  <a:lnTo>
                    <a:pt x="21" y="14"/>
                  </a:lnTo>
                  <a:lnTo>
                    <a:pt x="24" y="11"/>
                  </a:lnTo>
                  <a:lnTo>
                    <a:pt x="26" y="11"/>
                  </a:lnTo>
                  <a:lnTo>
                    <a:pt x="26" y="11"/>
                  </a:lnTo>
                  <a:lnTo>
                    <a:pt x="26" y="9"/>
                  </a:lnTo>
                  <a:lnTo>
                    <a:pt x="26" y="9"/>
                  </a:lnTo>
                  <a:lnTo>
                    <a:pt x="28" y="9"/>
                  </a:lnTo>
                  <a:lnTo>
                    <a:pt x="26" y="7"/>
                  </a:lnTo>
                  <a:lnTo>
                    <a:pt x="2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65" name="Freeform 379">
              <a:extLst>
                <a:ext uri="{FF2B5EF4-FFF2-40B4-BE49-F238E27FC236}">
                  <a16:creationId xmlns:a16="http://schemas.microsoft.com/office/drawing/2014/main" id="{71186311-C8DE-4EB8-A7C6-F1AAA7FF6B6D}"/>
                </a:ext>
              </a:extLst>
            </p:cNvPr>
            <p:cNvSpPr>
              <a:spLocks/>
            </p:cNvSpPr>
            <p:nvPr/>
          </p:nvSpPr>
          <p:spPr bwMode="gray">
            <a:xfrm>
              <a:off x="-2458" y="2614"/>
              <a:ext cx="38" cy="26"/>
            </a:xfrm>
            <a:custGeom>
              <a:avLst/>
              <a:gdLst>
                <a:gd name="T0" fmla="*/ 35 w 38"/>
                <a:gd name="T1" fmla="*/ 15 h 26"/>
                <a:gd name="T2" fmla="*/ 33 w 38"/>
                <a:gd name="T3" fmla="*/ 15 h 26"/>
                <a:gd name="T4" fmla="*/ 30 w 38"/>
                <a:gd name="T5" fmla="*/ 12 h 26"/>
                <a:gd name="T6" fmla="*/ 33 w 38"/>
                <a:gd name="T7" fmla="*/ 12 h 26"/>
                <a:gd name="T8" fmla="*/ 30 w 38"/>
                <a:gd name="T9" fmla="*/ 10 h 26"/>
                <a:gd name="T10" fmla="*/ 28 w 38"/>
                <a:gd name="T11" fmla="*/ 7 h 26"/>
                <a:gd name="T12" fmla="*/ 28 w 38"/>
                <a:gd name="T13" fmla="*/ 7 h 26"/>
                <a:gd name="T14" fmla="*/ 26 w 38"/>
                <a:gd name="T15" fmla="*/ 5 h 26"/>
                <a:gd name="T16" fmla="*/ 26 w 38"/>
                <a:gd name="T17" fmla="*/ 3 h 26"/>
                <a:gd name="T18" fmla="*/ 26 w 38"/>
                <a:gd name="T19" fmla="*/ 3 h 26"/>
                <a:gd name="T20" fmla="*/ 23 w 38"/>
                <a:gd name="T21" fmla="*/ 5 h 26"/>
                <a:gd name="T22" fmla="*/ 23 w 38"/>
                <a:gd name="T23" fmla="*/ 7 h 26"/>
                <a:gd name="T24" fmla="*/ 23 w 38"/>
                <a:gd name="T25" fmla="*/ 5 h 26"/>
                <a:gd name="T26" fmla="*/ 23 w 38"/>
                <a:gd name="T27" fmla="*/ 5 h 26"/>
                <a:gd name="T28" fmla="*/ 21 w 38"/>
                <a:gd name="T29" fmla="*/ 3 h 26"/>
                <a:gd name="T30" fmla="*/ 21 w 38"/>
                <a:gd name="T31" fmla="*/ 3 h 26"/>
                <a:gd name="T32" fmla="*/ 19 w 38"/>
                <a:gd name="T33" fmla="*/ 3 h 26"/>
                <a:gd name="T34" fmla="*/ 14 w 38"/>
                <a:gd name="T35" fmla="*/ 3 h 26"/>
                <a:gd name="T36" fmla="*/ 4 w 38"/>
                <a:gd name="T37" fmla="*/ 3 h 26"/>
                <a:gd name="T38" fmla="*/ 0 w 38"/>
                <a:gd name="T39" fmla="*/ 5 h 26"/>
                <a:gd name="T40" fmla="*/ 0 w 38"/>
                <a:gd name="T41" fmla="*/ 7 h 26"/>
                <a:gd name="T42" fmla="*/ 0 w 38"/>
                <a:gd name="T43" fmla="*/ 7 h 26"/>
                <a:gd name="T44" fmla="*/ 2 w 38"/>
                <a:gd name="T45" fmla="*/ 10 h 26"/>
                <a:gd name="T46" fmla="*/ 2 w 38"/>
                <a:gd name="T47" fmla="*/ 12 h 26"/>
                <a:gd name="T48" fmla="*/ 2 w 38"/>
                <a:gd name="T49" fmla="*/ 15 h 26"/>
                <a:gd name="T50" fmla="*/ 4 w 38"/>
                <a:gd name="T51" fmla="*/ 15 h 26"/>
                <a:gd name="T52" fmla="*/ 12 w 38"/>
                <a:gd name="T53" fmla="*/ 15 h 26"/>
                <a:gd name="T54" fmla="*/ 26 w 38"/>
                <a:gd name="T55" fmla="*/ 24 h 26"/>
                <a:gd name="T56" fmla="*/ 35 w 38"/>
                <a:gd name="T57" fmla="*/ 24 h 26"/>
                <a:gd name="T58" fmla="*/ 35 w 38"/>
                <a:gd name="T59" fmla="*/ 19 h 26"/>
                <a:gd name="T60" fmla="*/ 35 w 38"/>
                <a:gd name="T61" fmla="*/ 19 h 26"/>
                <a:gd name="T62" fmla="*/ 38 w 38"/>
                <a:gd name="T63" fmla="*/ 22 h 26"/>
                <a:gd name="T64" fmla="*/ 35 w 38"/>
                <a:gd name="T65"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 h="26">
                  <a:moveTo>
                    <a:pt x="35" y="17"/>
                  </a:moveTo>
                  <a:lnTo>
                    <a:pt x="35" y="15"/>
                  </a:lnTo>
                  <a:lnTo>
                    <a:pt x="35" y="15"/>
                  </a:lnTo>
                  <a:lnTo>
                    <a:pt x="33" y="15"/>
                  </a:lnTo>
                  <a:lnTo>
                    <a:pt x="33" y="15"/>
                  </a:lnTo>
                  <a:lnTo>
                    <a:pt x="30" y="12"/>
                  </a:lnTo>
                  <a:lnTo>
                    <a:pt x="33" y="12"/>
                  </a:lnTo>
                  <a:lnTo>
                    <a:pt x="33" y="12"/>
                  </a:lnTo>
                  <a:lnTo>
                    <a:pt x="33" y="10"/>
                  </a:lnTo>
                  <a:lnTo>
                    <a:pt x="30" y="10"/>
                  </a:lnTo>
                  <a:lnTo>
                    <a:pt x="30" y="10"/>
                  </a:lnTo>
                  <a:lnTo>
                    <a:pt x="28" y="7"/>
                  </a:lnTo>
                  <a:lnTo>
                    <a:pt x="28" y="7"/>
                  </a:lnTo>
                  <a:lnTo>
                    <a:pt x="28" y="7"/>
                  </a:lnTo>
                  <a:lnTo>
                    <a:pt x="28" y="7"/>
                  </a:lnTo>
                  <a:lnTo>
                    <a:pt x="26" y="5"/>
                  </a:lnTo>
                  <a:lnTo>
                    <a:pt x="26" y="5"/>
                  </a:lnTo>
                  <a:lnTo>
                    <a:pt x="26" y="3"/>
                  </a:lnTo>
                  <a:lnTo>
                    <a:pt x="26" y="3"/>
                  </a:lnTo>
                  <a:lnTo>
                    <a:pt x="26" y="3"/>
                  </a:lnTo>
                  <a:lnTo>
                    <a:pt x="26" y="5"/>
                  </a:lnTo>
                  <a:lnTo>
                    <a:pt x="23" y="5"/>
                  </a:lnTo>
                  <a:lnTo>
                    <a:pt x="23" y="5"/>
                  </a:lnTo>
                  <a:lnTo>
                    <a:pt x="23" y="7"/>
                  </a:lnTo>
                  <a:lnTo>
                    <a:pt x="23" y="5"/>
                  </a:lnTo>
                  <a:lnTo>
                    <a:pt x="23" y="5"/>
                  </a:lnTo>
                  <a:lnTo>
                    <a:pt x="23" y="5"/>
                  </a:lnTo>
                  <a:lnTo>
                    <a:pt x="23" y="5"/>
                  </a:lnTo>
                  <a:lnTo>
                    <a:pt x="21" y="3"/>
                  </a:lnTo>
                  <a:lnTo>
                    <a:pt x="21" y="3"/>
                  </a:lnTo>
                  <a:lnTo>
                    <a:pt x="21" y="0"/>
                  </a:lnTo>
                  <a:lnTo>
                    <a:pt x="21" y="3"/>
                  </a:lnTo>
                  <a:lnTo>
                    <a:pt x="19" y="3"/>
                  </a:lnTo>
                  <a:lnTo>
                    <a:pt x="19" y="3"/>
                  </a:lnTo>
                  <a:lnTo>
                    <a:pt x="16" y="3"/>
                  </a:lnTo>
                  <a:lnTo>
                    <a:pt x="14" y="3"/>
                  </a:lnTo>
                  <a:lnTo>
                    <a:pt x="7" y="5"/>
                  </a:lnTo>
                  <a:lnTo>
                    <a:pt x="4" y="3"/>
                  </a:lnTo>
                  <a:lnTo>
                    <a:pt x="0" y="5"/>
                  </a:lnTo>
                  <a:lnTo>
                    <a:pt x="0" y="5"/>
                  </a:lnTo>
                  <a:lnTo>
                    <a:pt x="0" y="7"/>
                  </a:lnTo>
                  <a:lnTo>
                    <a:pt x="0" y="7"/>
                  </a:lnTo>
                  <a:lnTo>
                    <a:pt x="0" y="7"/>
                  </a:lnTo>
                  <a:lnTo>
                    <a:pt x="0" y="7"/>
                  </a:lnTo>
                  <a:lnTo>
                    <a:pt x="0" y="10"/>
                  </a:lnTo>
                  <a:lnTo>
                    <a:pt x="2" y="10"/>
                  </a:lnTo>
                  <a:lnTo>
                    <a:pt x="2" y="10"/>
                  </a:lnTo>
                  <a:lnTo>
                    <a:pt x="2" y="12"/>
                  </a:lnTo>
                  <a:lnTo>
                    <a:pt x="2" y="12"/>
                  </a:lnTo>
                  <a:lnTo>
                    <a:pt x="2" y="15"/>
                  </a:lnTo>
                  <a:lnTo>
                    <a:pt x="2" y="15"/>
                  </a:lnTo>
                  <a:lnTo>
                    <a:pt x="4" y="15"/>
                  </a:lnTo>
                  <a:lnTo>
                    <a:pt x="9" y="15"/>
                  </a:lnTo>
                  <a:lnTo>
                    <a:pt x="12" y="15"/>
                  </a:lnTo>
                  <a:lnTo>
                    <a:pt x="14" y="15"/>
                  </a:lnTo>
                  <a:lnTo>
                    <a:pt x="26" y="24"/>
                  </a:lnTo>
                  <a:lnTo>
                    <a:pt x="30" y="26"/>
                  </a:lnTo>
                  <a:lnTo>
                    <a:pt x="35" y="24"/>
                  </a:lnTo>
                  <a:lnTo>
                    <a:pt x="35" y="19"/>
                  </a:lnTo>
                  <a:lnTo>
                    <a:pt x="35" y="19"/>
                  </a:lnTo>
                  <a:lnTo>
                    <a:pt x="35" y="19"/>
                  </a:lnTo>
                  <a:lnTo>
                    <a:pt x="35" y="19"/>
                  </a:lnTo>
                  <a:lnTo>
                    <a:pt x="35" y="22"/>
                  </a:lnTo>
                  <a:lnTo>
                    <a:pt x="38" y="22"/>
                  </a:lnTo>
                  <a:lnTo>
                    <a:pt x="35" y="19"/>
                  </a:lnTo>
                  <a:lnTo>
                    <a:pt x="35"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66" name="Freeform 380">
              <a:extLst>
                <a:ext uri="{FF2B5EF4-FFF2-40B4-BE49-F238E27FC236}">
                  <a16:creationId xmlns:a16="http://schemas.microsoft.com/office/drawing/2014/main" id="{961DB76E-2EEC-4CB6-95F3-B4B371550FAE}"/>
                </a:ext>
              </a:extLst>
            </p:cNvPr>
            <p:cNvSpPr>
              <a:spLocks/>
            </p:cNvSpPr>
            <p:nvPr/>
          </p:nvSpPr>
          <p:spPr bwMode="gray">
            <a:xfrm>
              <a:off x="-2522" y="2697"/>
              <a:ext cx="5" cy="7"/>
            </a:xfrm>
            <a:custGeom>
              <a:avLst/>
              <a:gdLst>
                <a:gd name="T0" fmla="*/ 2 w 5"/>
                <a:gd name="T1" fmla="*/ 0 h 7"/>
                <a:gd name="T2" fmla="*/ 0 w 5"/>
                <a:gd name="T3" fmla="*/ 2 h 7"/>
                <a:gd name="T4" fmla="*/ 2 w 5"/>
                <a:gd name="T5" fmla="*/ 7 h 7"/>
                <a:gd name="T6" fmla="*/ 5 w 5"/>
                <a:gd name="T7" fmla="*/ 7 h 7"/>
                <a:gd name="T8" fmla="*/ 5 w 5"/>
                <a:gd name="T9" fmla="*/ 5 h 7"/>
                <a:gd name="T10" fmla="*/ 5 w 5"/>
                <a:gd name="T11" fmla="*/ 2 h 7"/>
                <a:gd name="T12" fmla="*/ 5 w 5"/>
                <a:gd name="T13" fmla="*/ 0 h 7"/>
                <a:gd name="T14" fmla="*/ 2 w 5"/>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2" y="0"/>
                  </a:moveTo>
                  <a:lnTo>
                    <a:pt x="0" y="2"/>
                  </a:lnTo>
                  <a:lnTo>
                    <a:pt x="2" y="7"/>
                  </a:lnTo>
                  <a:lnTo>
                    <a:pt x="5" y="7"/>
                  </a:lnTo>
                  <a:lnTo>
                    <a:pt x="5" y="5"/>
                  </a:lnTo>
                  <a:lnTo>
                    <a:pt x="5" y="2"/>
                  </a:lnTo>
                  <a:lnTo>
                    <a:pt x="5"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67" name="Freeform 381">
              <a:extLst>
                <a:ext uri="{FF2B5EF4-FFF2-40B4-BE49-F238E27FC236}">
                  <a16:creationId xmlns:a16="http://schemas.microsoft.com/office/drawing/2014/main" id="{1671C7F1-CFD4-4009-9F6C-90E8088E610F}"/>
                </a:ext>
              </a:extLst>
            </p:cNvPr>
            <p:cNvSpPr>
              <a:spLocks/>
            </p:cNvSpPr>
            <p:nvPr/>
          </p:nvSpPr>
          <p:spPr bwMode="gray">
            <a:xfrm>
              <a:off x="-2779" y="2822"/>
              <a:ext cx="2" cy="9"/>
            </a:xfrm>
            <a:custGeom>
              <a:avLst/>
              <a:gdLst>
                <a:gd name="T0" fmla="*/ 2 w 2"/>
                <a:gd name="T1" fmla="*/ 2 h 9"/>
                <a:gd name="T2" fmla="*/ 0 w 2"/>
                <a:gd name="T3" fmla="*/ 2 h 9"/>
                <a:gd name="T4" fmla="*/ 0 w 2"/>
                <a:gd name="T5" fmla="*/ 2 h 9"/>
                <a:gd name="T6" fmla="*/ 0 w 2"/>
                <a:gd name="T7" fmla="*/ 0 h 9"/>
                <a:gd name="T8" fmla="*/ 0 w 2"/>
                <a:gd name="T9" fmla="*/ 0 h 9"/>
                <a:gd name="T10" fmla="*/ 0 w 2"/>
                <a:gd name="T11" fmla="*/ 0 h 9"/>
                <a:gd name="T12" fmla="*/ 0 w 2"/>
                <a:gd name="T13" fmla="*/ 2 h 9"/>
                <a:gd name="T14" fmla="*/ 0 w 2"/>
                <a:gd name="T15" fmla="*/ 4 h 9"/>
                <a:gd name="T16" fmla="*/ 0 w 2"/>
                <a:gd name="T17" fmla="*/ 9 h 9"/>
                <a:gd name="T18" fmla="*/ 2 w 2"/>
                <a:gd name="T19" fmla="*/ 9 h 9"/>
                <a:gd name="T20" fmla="*/ 0 w 2"/>
                <a:gd name="T21" fmla="*/ 7 h 9"/>
                <a:gd name="T22" fmla="*/ 0 w 2"/>
                <a:gd name="T23" fmla="*/ 4 h 9"/>
                <a:gd name="T24" fmla="*/ 2 w 2"/>
                <a:gd name="T25"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9">
                  <a:moveTo>
                    <a:pt x="2" y="2"/>
                  </a:moveTo>
                  <a:lnTo>
                    <a:pt x="0" y="2"/>
                  </a:lnTo>
                  <a:lnTo>
                    <a:pt x="0" y="2"/>
                  </a:lnTo>
                  <a:lnTo>
                    <a:pt x="0" y="0"/>
                  </a:lnTo>
                  <a:lnTo>
                    <a:pt x="0" y="0"/>
                  </a:lnTo>
                  <a:lnTo>
                    <a:pt x="0" y="0"/>
                  </a:lnTo>
                  <a:lnTo>
                    <a:pt x="0" y="2"/>
                  </a:lnTo>
                  <a:lnTo>
                    <a:pt x="0" y="4"/>
                  </a:lnTo>
                  <a:lnTo>
                    <a:pt x="0" y="9"/>
                  </a:lnTo>
                  <a:lnTo>
                    <a:pt x="2" y="9"/>
                  </a:lnTo>
                  <a:lnTo>
                    <a:pt x="0" y="7"/>
                  </a:lnTo>
                  <a:lnTo>
                    <a:pt x="0" y="4"/>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68" name="Freeform 382">
              <a:extLst>
                <a:ext uri="{FF2B5EF4-FFF2-40B4-BE49-F238E27FC236}">
                  <a16:creationId xmlns:a16="http://schemas.microsoft.com/office/drawing/2014/main" id="{83C3677A-3321-4DBF-859D-CF3C6D3D9903}"/>
                </a:ext>
              </a:extLst>
            </p:cNvPr>
            <p:cNvSpPr>
              <a:spLocks/>
            </p:cNvSpPr>
            <p:nvPr/>
          </p:nvSpPr>
          <p:spPr bwMode="gray">
            <a:xfrm>
              <a:off x="-2628" y="2735"/>
              <a:ext cx="14" cy="11"/>
            </a:xfrm>
            <a:custGeom>
              <a:avLst/>
              <a:gdLst>
                <a:gd name="T0" fmla="*/ 9 w 14"/>
                <a:gd name="T1" fmla="*/ 7 h 11"/>
                <a:gd name="T2" fmla="*/ 7 w 14"/>
                <a:gd name="T3" fmla="*/ 4 h 11"/>
                <a:gd name="T4" fmla="*/ 2 w 14"/>
                <a:gd name="T5" fmla="*/ 2 h 11"/>
                <a:gd name="T6" fmla="*/ 2 w 14"/>
                <a:gd name="T7" fmla="*/ 0 h 11"/>
                <a:gd name="T8" fmla="*/ 2 w 14"/>
                <a:gd name="T9" fmla="*/ 0 h 11"/>
                <a:gd name="T10" fmla="*/ 2 w 14"/>
                <a:gd name="T11" fmla="*/ 2 h 11"/>
                <a:gd name="T12" fmla="*/ 2 w 14"/>
                <a:gd name="T13" fmla="*/ 2 h 11"/>
                <a:gd name="T14" fmla="*/ 0 w 14"/>
                <a:gd name="T15" fmla="*/ 2 h 11"/>
                <a:gd name="T16" fmla="*/ 0 w 14"/>
                <a:gd name="T17" fmla="*/ 2 h 11"/>
                <a:gd name="T18" fmla="*/ 0 w 14"/>
                <a:gd name="T19" fmla="*/ 4 h 11"/>
                <a:gd name="T20" fmla="*/ 0 w 14"/>
                <a:gd name="T21" fmla="*/ 4 h 11"/>
                <a:gd name="T22" fmla="*/ 0 w 14"/>
                <a:gd name="T23" fmla="*/ 4 h 11"/>
                <a:gd name="T24" fmla="*/ 0 w 14"/>
                <a:gd name="T25" fmla="*/ 4 h 11"/>
                <a:gd name="T26" fmla="*/ 0 w 14"/>
                <a:gd name="T27" fmla="*/ 4 h 11"/>
                <a:gd name="T28" fmla="*/ 0 w 14"/>
                <a:gd name="T29" fmla="*/ 7 h 11"/>
                <a:gd name="T30" fmla="*/ 0 w 14"/>
                <a:gd name="T31" fmla="*/ 7 h 11"/>
                <a:gd name="T32" fmla="*/ 0 w 14"/>
                <a:gd name="T33" fmla="*/ 7 h 11"/>
                <a:gd name="T34" fmla="*/ 0 w 14"/>
                <a:gd name="T35" fmla="*/ 9 h 11"/>
                <a:gd name="T36" fmla="*/ 0 w 14"/>
                <a:gd name="T37" fmla="*/ 9 h 11"/>
                <a:gd name="T38" fmla="*/ 0 w 14"/>
                <a:gd name="T39" fmla="*/ 11 h 11"/>
                <a:gd name="T40" fmla="*/ 2 w 14"/>
                <a:gd name="T41" fmla="*/ 9 h 11"/>
                <a:gd name="T42" fmla="*/ 2 w 14"/>
                <a:gd name="T43" fmla="*/ 9 h 11"/>
                <a:gd name="T44" fmla="*/ 2 w 14"/>
                <a:gd name="T45" fmla="*/ 7 h 11"/>
                <a:gd name="T46" fmla="*/ 5 w 14"/>
                <a:gd name="T47" fmla="*/ 7 h 11"/>
                <a:gd name="T48" fmla="*/ 5 w 14"/>
                <a:gd name="T49" fmla="*/ 7 h 11"/>
                <a:gd name="T50" fmla="*/ 9 w 14"/>
                <a:gd name="T51" fmla="*/ 9 h 11"/>
                <a:gd name="T52" fmla="*/ 12 w 14"/>
                <a:gd name="T53" fmla="*/ 9 h 11"/>
                <a:gd name="T54" fmla="*/ 14 w 14"/>
                <a:gd name="T55" fmla="*/ 9 h 11"/>
                <a:gd name="T56" fmla="*/ 14 w 14"/>
                <a:gd name="T57" fmla="*/ 7 h 11"/>
                <a:gd name="T58" fmla="*/ 12 w 14"/>
                <a:gd name="T59" fmla="*/ 7 h 11"/>
                <a:gd name="T60" fmla="*/ 9 w 14"/>
                <a:gd name="T61"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11">
                  <a:moveTo>
                    <a:pt x="9" y="7"/>
                  </a:moveTo>
                  <a:lnTo>
                    <a:pt x="7" y="4"/>
                  </a:lnTo>
                  <a:lnTo>
                    <a:pt x="2" y="2"/>
                  </a:lnTo>
                  <a:lnTo>
                    <a:pt x="2" y="0"/>
                  </a:lnTo>
                  <a:lnTo>
                    <a:pt x="2" y="0"/>
                  </a:lnTo>
                  <a:lnTo>
                    <a:pt x="2" y="2"/>
                  </a:lnTo>
                  <a:lnTo>
                    <a:pt x="2" y="2"/>
                  </a:lnTo>
                  <a:lnTo>
                    <a:pt x="0" y="2"/>
                  </a:lnTo>
                  <a:lnTo>
                    <a:pt x="0" y="2"/>
                  </a:lnTo>
                  <a:lnTo>
                    <a:pt x="0" y="4"/>
                  </a:lnTo>
                  <a:lnTo>
                    <a:pt x="0" y="4"/>
                  </a:lnTo>
                  <a:lnTo>
                    <a:pt x="0" y="4"/>
                  </a:lnTo>
                  <a:lnTo>
                    <a:pt x="0" y="4"/>
                  </a:lnTo>
                  <a:lnTo>
                    <a:pt x="0" y="4"/>
                  </a:lnTo>
                  <a:lnTo>
                    <a:pt x="0" y="7"/>
                  </a:lnTo>
                  <a:lnTo>
                    <a:pt x="0" y="7"/>
                  </a:lnTo>
                  <a:lnTo>
                    <a:pt x="0" y="7"/>
                  </a:lnTo>
                  <a:lnTo>
                    <a:pt x="0" y="9"/>
                  </a:lnTo>
                  <a:lnTo>
                    <a:pt x="0" y="9"/>
                  </a:lnTo>
                  <a:lnTo>
                    <a:pt x="0" y="11"/>
                  </a:lnTo>
                  <a:lnTo>
                    <a:pt x="2" y="9"/>
                  </a:lnTo>
                  <a:lnTo>
                    <a:pt x="2" y="9"/>
                  </a:lnTo>
                  <a:lnTo>
                    <a:pt x="2" y="7"/>
                  </a:lnTo>
                  <a:lnTo>
                    <a:pt x="5" y="7"/>
                  </a:lnTo>
                  <a:lnTo>
                    <a:pt x="5" y="7"/>
                  </a:lnTo>
                  <a:lnTo>
                    <a:pt x="9" y="9"/>
                  </a:lnTo>
                  <a:lnTo>
                    <a:pt x="12" y="9"/>
                  </a:lnTo>
                  <a:lnTo>
                    <a:pt x="14" y="9"/>
                  </a:lnTo>
                  <a:lnTo>
                    <a:pt x="14" y="7"/>
                  </a:lnTo>
                  <a:lnTo>
                    <a:pt x="12" y="7"/>
                  </a:lnTo>
                  <a:lnTo>
                    <a:pt x="9"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304" name="Ellipse 19303">
            <a:extLst>
              <a:ext uri="{FF2B5EF4-FFF2-40B4-BE49-F238E27FC236}">
                <a16:creationId xmlns:a16="http://schemas.microsoft.com/office/drawing/2014/main" id="{413D7DA9-3EFE-48E1-B532-3E39E3451829}"/>
              </a:ext>
            </a:extLst>
          </p:cNvPr>
          <p:cNvSpPr/>
          <p:nvPr/>
        </p:nvSpPr>
        <p:spPr bwMode="gray">
          <a:xfrm>
            <a:off x="6222459" y="862045"/>
            <a:ext cx="96641" cy="96641"/>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19305" name="Ellipse 19304">
            <a:extLst>
              <a:ext uri="{FF2B5EF4-FFF2-40B4-BE49-F238E27FC236}">
                <a16:creationId xmlns:a16="http://schemas.microsoft.com/office/drawing/2014/main" id="{B04BE477-CDC1-4F22-98BB-0CF2295FC840}"/>
              </a:ext>
            </a:extLst>
          </p:cNvPr>
          <p:cNvSpPr/>
          <p:nvPr/>
        </p:nvSpPr>
        <p:spPr bwMode="gray">
          <a:xfrm>
            <a:off x="6318880" y="1344561"/>
            <a:ext cx="96641" cy="96641"/>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19306" name="Ellipse 19305">
            <a:extLst>
              <a:ext uri="{FF2B5EF4-FFF2-40B4-BE49-F238E27FC236}">
                <a16:creationId xmlns:a16="http://schemas.microsoft.com/office/drawing/2014/main" id="{85D8C270-7CCE-4B8F-AD43-9161742BF7A2}"/>
              </a:ext>
            </a:extLst>
          </p:cNvPr>
          <p:cNvSpPr/>
          <p:nvPr/>
        </p:nvSpPr>
        <p:spPr bwMode="gray">
          <a:xfrm>
            <a:off x="7341439" y="762176"/>
            <a:ext cx="96641" cy="96641"/>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19307" name="Ellipse 19306">
            <a:extLst>
              <a:ext uri="{FF2B5EF4-FFF2-40B4-BE49-F238E27FC236}">
                <a16:creationId xmlns:a16="http://schemas.microsoft.com/office/drawing/2014/main" id="{FF2ACB81-5CE6-41CD-8476-FC3DC72414B6}"/>
              </a:ext>
            </a:extLst>
          </p:cNvPr>
          <p:cNvSpPr/>
          <p:nvPr/>
        </p:nvSpPr>
        <p:spPr bwMode="gray">
          <a:xfrm>
            <a:off x="7344986" y="1467514"/>
            <a:ext cx="96641" cy="96641"/>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19308" name="Ellipse 19307">
            <a:extLst>
              <a:ext uri="{FF2B5EF4-FFF2-40B4-BE49-F238E27FC236}">
                <a16:creationId xmlns:a16="http://schemas.microsoft.com/office/drawing/2014/main" id="{337FE04F-CA07-4B22-BE7B-16408EA30DE1}"/>
              </a:ext>
            </a:extLst>
          </p:cNvPr>
          <p:cNvSpPr/>
          <p:nvPr/>
        </p:nvSpPr>
        <p:spPr bwMode="gray">
          <a:xfrm>
            <a:off x="7395080" y="1691520"/>
            <a:ext cx="96641" cy="96641"/>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19309" name="Ellipse 19308">
            <a:extLst>
              <a:ext uri="{FF2B5EF4-FFF2-40B4-BE49-F238E27FC236}">
                <a16:creationId xmlns:a16="http://schemas.microsoft.com/office/drawing/2014/main" id="{E306A36A-3A59-42AA-A233-24B69A23806A}"/>
              </a:ext>
            </a:extLst>
          </p:cNvPr>
          <p:cNvSpPr/>
          <p:nvPr/>
        </p:nvSpPr>
        <p:spPr bwMode="gray">
          <a:xfrm>
            <a:off x="7233458" y="1033240"/>
            <a:ext cx="96641" cy="96641"/>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19313" name="Ellipse 19312">
            <a:extLst>
              <a:ext uri="{FF2B5EF4-FFF2-40B4-BE49-F238E27FC236}">
                <a16:creationId xmlns:a16="http://schemas.microsoft.com/office/drawing/2014/main" id="{BAC3C77C-AD8C-4F48-A7DC-69E05C2DE9D2}"/>
              </a:ext>
            </a:extLst>
          </p:cNvPr>
          <p:cNvSpPr/>
          <p:nvPr/>
        </p:nvSpPr>
        <p:spPr bwMode="gray">
          <a:xfrm>
            <a:off x="5924568" y="1030995"/>
            <a:ext cx="96641" cy="9664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19314" name="Ellipse 19313">
            <a:extLst>
              <a:ext uri="{FF2B5EF4-FFF2-40B4-BE49-F238E27FC236}">
                <a16:creationId xmlns:a16="http://schemas.microsoft.com/office/drawing/2014/main" id="{EA8FE5D1-19C5-4115-8F76-DF179985F902}"/>
              </a:ext>
            </a:extLst>
          </p:cNvPr>
          <p:cNvSpPr/>
          <p:nvPr/>
        </p:nvSpPr>
        <p:spPr bwMode="gray">
          <a:xfrm>
            <a:off x="6996032" y="391138"/>
            <a:ext cx="96641" cy="9664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19315" name="Ellipse 19314">
            <a:extLst>
              <a:ext uri="{FF2B5EF4-FFF2-40B4-BE49-F238E27FC236}">
                <a16:creationId xmlns:a16="http://schemas.microsoft.com/office/drawing/2014/main" id="{D56CB8DF-727A-470B-8190-C3846AA7A7AB}"/>
              </a:ext>
            </a:extLst>
          </p:cNvPr>
          <p:cNvSpPr/>
          <p:nvPr/>
        </p:nvSpPr>
        <p:spPr bwMode="gray">
          <a:xfrm>
            <a:off x="7081342" y="220847"/>
            <a:ext cx="96641" cy="9664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19316" name="Ellipse 19315">
            <a:extLst>
              <a:ext uri="{FF2B5EF4-FFF2-40B4-BE49-F238E27FC236}">
                <a16:creationId xmlns:a16="http://schemas.microsoft.com/office/drawing/2014/main" id="{A7C5AEA3-C585-4060-82C2-FE4598EE2559}"/>
              </a:ext>
            </a:extLst>
          </p:cNvPr>
          <p:cNvSpPr/>
          <p:nvPr/>
        </p:nvSpPr>
        <p:spPr bwMode="gray">
          <a:xfrm>
            <a:off x="7179363" y="712017"/>
            <a:ext cx="96641" cy="9664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19318" name="Ellipse 19317">
            <a:extLst>
              <a:ext uri="{FF2B5EF4-FFF2-40B4-BE49-F238E27FC236}">
                <a16:creationId xmlns:a16="http://schemas.microsoft.com/office/drawing/2014/main" id="{7B5888EC-EDCB-4BD8-B74D-E345C95C43AC}"/>
              </a:ext>
            </a:extLst>
          </p:cNvPr>
          <p:cNvSpPr/>
          <p:nvPr/>
        </p:nvSpPr>
        <p:spPr bwMode="gray">
          <a:xfrm>
            <a:off x="7384419" y="496448"/>
            <a:ext cx="96641" cy="9664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19319" name="Ellipse 19318">
            <a:extLst>
              <a:ext uri="{FF2B5EF4-FFF2-40B4-BE49-F238E27FC236}">
                <a16:creationId xmlns:a16="http://schemas.microsoft.com/office/drawing/2014/main" id="{B8030AF4-F4B4-4129-A049-9F94AB2E5894}"/>
              </a:ext>
            </a:extLst>
          </p:cNvPr>
          <p:cNvSpPr/>
          <p:nvPr/>
        </p:nvSpPr>
        <p:spPr bwMode="gray">
          <a:xfrm>
            <a:off x="7949440" y="261301"/>
            <a:ext cx="96641" cy="9664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19320" name="Ellipse 19319">
            <a:extLst>
              <a:ext uri="{FF2B5EF4-FFF2-40B4-BE49-F238E27FC236}">
                <a16:creationId xmlns:a16="http://schemas.microsoft.com/office/drawing/2014/main" id="{C1A6A7D5-ACB1-4632-BC8E-4FF8FF316BD7}"/>
              </a:ext>
            </a:extLst>
          </p:cNvPr>
          <p:cNvSpPr/>
          <p:nvPr/>
        </p:nvSpPr>
        <p:spPr bwMode="gray">
          <a:xfrm>
            <a:off x="6976962" y="1939640"/>
            <a:ext cx="96641" cy="9664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19325" name="Ellipse 19324">
            <a:extLst>
              <a:ext uri="{FF2B5EF4-FFF2-40B4-BE49-F238E27FC236}">
                <a16:creationId xmlns:a16="http://schemas.microsoft.com/office/drawing/2014/main" id="{6A5E9F28-5BC4-445B-8DFC-224670C0B302}"/>
              </a:ext>
            </a:extLst>
          </p:cNvPr>
          <p:cNvSpPr/>
          <p:nvPr/>
        </p:nvSpPr>
        <p:spPr bwMode="gray">
          <a:xfrm>
            <a:off x="6940901" y="1038571"/>
            <a:ext cx="96641" cy="96641"/>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19328" name="Ellipse 19327">
            <a:extLst>
              <a:ext uri="{FF2B5EF4-FFF2-40B4-BE49-F238E27FC236}">
                <a16:creationId xmlns:a16="http://schemas.microsoft.com/office/drawing/2014/main" id="{9D9C6B28-C148-403E-80C2-AA4D1D7F7497}"/>
              </a:ext>
            </a:extLst>
          </p:cNvPr>
          <p:cNvSpPr/>
          <p:nvPr/>
        </p:nvSpPr>
        <p:spPr bwMode="gray">
          <a:xfrm>
            <a:off x="6382316" y="1156511"/>
            <a:ext cx="96641" cy="9664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19331" name="Ellipse 19330">
            <a:extLst>
              <a:ext uri="{FF2B5EF4-FFF2-40B4-BE49-F238E27FC236}">
                <a16:creationId xmlns:a16="http://schemas.microsoft.com/office/drawing/2014/main" id="{AEE6B9C0-5062-468C-A15B-7F3439BBF11C}"/>
              </a:ext>
            </a:extLst>
          </p:cNvPr>
          <p:cNvSpPr/>
          <p:nvPr/>
        </p:nvSpPr>
        <p:spPr bwMode="gray">
          <a:xfrm>
            <a:off x="7066855" y="883372"/>
            <a:ext cx="96641" cy="9664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19335" name="Ellipse 19334">
            <a:extLst>
              <a:ext uri="{FF2B5EF4-FFF2-40B4-BE49-F238E27FC236}">
                <a16:creationId xmlns:a16="http://schemas.microsoft.com/office/drawing/2014/main" id="{C80FE3F7-5AC9-4F8F-A997-4A4C84CAA18B}"/>
              </a:ext>
            </a:extLst>
          </p:cNvPr>
          <p:cNvSpPr/>
          <p:nvPr/>
        </p:nvSpPr>
        <p:spPr bwMode="gray">
          <a:xfrm>
            <a:off x="7060625" y="1590382"/>
            <a:ext cx="96641" cy="96641"/>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19343" name="Ellipse 19342">
            <a:extLst>
              <a:ext uri="{FF2B5EF4-FFF2-40B4-BE49-F238E27FC236}">
                <a16:creationId xmlns:a16="http://schemas.microsoft.com/office/drawing/2014/main" id="{3130C6AD-8CFC-4A28-B8B8-BE8E83A063C7}"/>
              </a:ext>
            </a:extLst>
          </p:cNvPr>
          <p:cNvSpPr/>
          <p:nvPr/>
        </p:nvSpPr>
        <p:spPr bwMode="gray">
          <a:xfrm>
            <a:off x="8459612" y="459546"/>
            <a:ext cx="96641" cy="9664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19344" name="Ellipse 19343">
            <a:extLst>
              <a:ext uri="{FF2B5EF4-FFF2-40B4-BE49-F238E27FC236}">
                <a16:creationId xmlns:a16="http://schemas.microsoft.com/office/drawing/2014/main" id="{417B454A-A5AC-4A04-A092-932E5AE3AFDC}"/>
              </a:ext>
            </a:extLst>
          </p:cNvPr>
          <p:cNvSpPr/>
          <p:nvPr/>
        </p:nvSpPr>
        <p:spPr bwMode="gray">
          <a:xfrm>
            <a:off x="6891585" y="1955036"/>
            <a:ext cx="96641" cy="9664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19303" name="Ellipse 19302">
            <a:extLst>
              <a:ext uri="{FF2B5EF4-FFF2-40B4-BE49-F238E27FC236}">
                <a16:creationId xmlns:a16="http://schemas.microsoft.com/office/drawing/2014/main" id="{5895E789-ABBA-4238-A2C5-22DF8E0FBC24}"/>
              </a:ext>
            </a:extLst>
          </p:cNvPr>
          <p:cNvSpPr/>
          <p:nvPr/>
        </p:nvSpPr>
        <p:spPr bwMode="gray">
          <a:xfrm>
            <a:off x="7107045" y="1670211"/>
            <a:ext cx="96641" cy="96641"/>
          </a:xfrm>
          <a:prstGeom prst="ellips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919" name="Ellipse 8918">
            <a:extLst>
              <a:ext uri="{FF2B5EF4-FFF2-40B4-BE49-F238E27FC236}">
                <a16:creationId xmlns:a16="http://schemas.microsoft.com/office/drawing/2014/main" id="{1206F504-8141-4957-B80E-8FE82E93A754}"/>
              </a:ext>
            </a:extLst>
          </p:cNvPr>
          <p:cNvSpPr/>
          <p:nvPr/>
        </p:nvSpPr>
        <p:spPr bwMode="gray">
          <a:xfrm>
            <a:off x="7297884" y="2991072"/>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920" name="Ellipse 8919">
            <a:extLst>
              <a:ext uri="{FF2B5EF4-FFF2-40B4-BE49-F238E27FC236}">
                <a16:creationId xmlns:a16="http://schemas.microsoft.com/office/drawing/2014/main" id="{1E09911B-2970-4EAA-8B10-0CA896DB3FE0}"/>
              </a:ext>
            </a:extLst>
          </p:cNvPr>
          <p:cNvSpPr/>
          <p:nvPr/>
        </p:nvSpPr>
        <p:spPr bwMode="gray">
          <a:xfrm>
            <a:off x="7369517" y="3024908"/>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921" name="Ellipse 8920">
            <a:extLst>
              <a:ext uri="{FF2B5EF4-FFF2-40B4-BE49-F238E27FC236}">
                <a16:creationId xmlns:a16="http://schemas.microsoft.com/office/drawing/2014/main" id="{CE87D2D1-911E-4302-98C1-781FDC8D56E5}"/>
              </a:ext>
            </a:extLst>
          </p:cNvPr>
          <p:cNvSpPr/>
          <p:nvPr/>
        </p:nvSpPr>
        <p:spPr bwMode="gray">
          <a:xfrm>
            <a:off x="7043472" y="3094174"/>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922" name="Ellipse 8921">
            <a:extLst>
              <a:ext uri="{FF2B5EF4-FFF2-40B4-BE49-F238E27FC236}">
                <a16:creationId xmlns:a16="http://schemas.microsoft.com/office/drawing/2014/main" id="{48E08F4C-99A4-42E6-AA51-BE2DE62E66A9}"/>
              </a:ext>
            </a:extLst>
          </p:cNvPr>
          <p:cNvSpPr/>
          <p:nvPr/>
        </p:nvSpPr>
        <p:spPr bwMode="gray">
          <a:xfrm>
            <a:off x="7142485" y="2979750"/>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923" name="Ellipse 8922">
            <a:extLst>
              <a:ext uri="{FF2B5EF4-FFF2-40B4-BE49-F238E27FC236}">
                <a16:creationId xmlns:a16="http://schemas.microsoft.com/office/drawing/2014/main" id="{72CB231B-D748-4E14-842F-D6178D8BC8DE}"/>
              </a:ext>
            </a:extLst>
          </p:cNvPr>
          <p:cNvSpPr/>
          <p:nvPr/>
        </p:nvSpPr>
        <p:spPr bwMode="gray">
          <a:xfrm>
            <a:off x="7210902" y="2853404"/>
            <a:ext cx="108000" cy="108000"/>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924" name="Ellipse 8923">
            <a:extLst>
              <a:ext uri="{FF2B5EF4-FFF2-40B4-BE49-F238E27FC236}">
                <a16:creationId xmlns:a16="http://schemas.microsoft.com/office/drawing/2014/main" id="{6EB7F3A7-5FAA-4A48-B43B-D564F41578E8}"/>
              </a:ext>
            </a:extLst>
          </p:cNvPr>
          <p:cNvSpPr/>
          <p:nvPr/>
        </p:nvSpPr>
        <p:spPr bwMode="gray">
          <a:xfrm>
            <a:off x="7370980" y="1098710"/>
            <a:ext cx="96641" cy="9664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925" name="Ellipse 8924">
            <a:extLst>
              <a:ext uri="{FF2B5EF4-FFF2-40B4-BE49-F238E27FC236}">
                <a16:creationId xmlns:a16="http://schemas.microsoft.com/office/drawing/2014/main" id="{804505E1-CA14-4F86-BB66-2E5789B0E9E5}"/>
              </a:ext>
            </a:extLst>
          </p:cNvPr>
          <p:cNvSpPr/>
          <p:nvPr/>
        </p:nvSpPr>
        <p:spPr bwMode="gray">
          <a:xfrm>
            <a:off x="7449523" y="1089386"/>
            <a:ext cx="96641" cy="9664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926" name="Ellipse 8925">
            <a:extLst>
              <a:ext uri="{FF2B5EF4-FFF2-40B4-BE49-F238E27FC236}">
                <a16:creationId xmlns:a16="http://schemas.microsoft.com/office/drawing/2014/main" id="{2AE2B893-BEC8-483F-BC78-0DB937E105BE}"/>
              </a:ext>
            </a:extLst>
          </p:cNvPr>
          <p:cNvSpPr/>
          <p:nvPr/>
        </p:nvSpPr>
        <p:spPr bwMode="gray">
          <a:xfrm>
            <a:off x="7429272" y="1392899"/>
            <a:ext cx="96641" cy="9664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927" name="Ellipse 8926">
            <a:extLst>
              <a:ext uri="{FF2B5EF4-FFF2-40B4-BE49-F238E27FC236}">
                <a16:creationId xmlns:a16="http://schemas.microsoft.com/office/drawing/2014/main" id="{BEBB18E9-FF58-49DE-84E9-5E89239FDA18}"/>
              </a:ext>
            </a:extLst>
          </p:cNvPr>
          <p:cNvSpPr/>
          <p:nvPr/>
        </p:nvSpPr>
        <p:spPr bwMode="gray">
          <a:xfrm>
            <a:off x="7435826" y="1513015"/>
            <a:ext cx="96641" cy="9664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928" name="Ellipse 8927">
            <a:extLst>
              <a:ext uri="{FF2B5EF4-FFF2-40B4-BE49-F238E27FC236}">
                <a16:creationId xmlns:a16="http://schemas.microsoft.com/office/drawing/2014/main" id="{59867BF4-6888-4D06-8373-A3C4D350F21E}"/>
              </a:ext>
            </a:extLst>
          </p:cNvPr>
          <p:cNvSpPr/>
          <p:nvPr/>
        </p:nvSpPr>
        <p:spPr bwMode="gray">
          <a:xfrm>
            <a:off x="7548284" y="1511047"/>
            <a:ext cx="96641" cy="9664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930" name="Ellipse 8929">
            <a:extLst>
              <a:ext uri="{FF2B5EF4-FFF2-40B4-BE49-F238E27FC236}">
                <a16:creationId xmlns:a16="http://schemas.microsoft.com/office/drawing/2014/main" id="{6748AF06-933F-4630-898B-E005D536D598}"/>
              </a:ext>
            </a:extLst>
          </p:cNvPr>
          <p:cNvSpPr/>
          <p:nvPr/>
        </p:nvSpPr>
        <p:spPr bwMode="gray">
          <a:xfrm>
            <a:off x="7216702" y="1507573"/>
            <a:ext cx="96641" cy="9664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931" name="Ellipse 8930">
            <a:extLst>
              <a:ext uri="{FF2B5EF4-FFF2-40B4-BE49-F238E27FC236}">
                <a16:creationId xmlns:a16="http://schemas.microsoft.com/office/drawing/2014/main" id="{7D83A346-C286-4FF7-ABD2-95A3A808F72B}"/>
              </a:ext>
            </a:extLst>
          </p:cNvPr>
          <p:cNvSpPr/>
          <p:nvPr/>
        </p:nvSpPr>
        <p:spPr bwMode="gray">
          <a:xfrm>
            <a:off x="7341235" y="1583705"/>
            <a:ext cx="96641" cy="9664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932" name="Ellipse 8931">
            <a:extLst>
              <a:ext uri="{FF2B5EF4-FFF2-40B4-BE49-F238E27FC236}">
                <a16:creationId xmlns:a16="http://schemas.microsoft.com/office/drawing/2014/main" id="{814F73E0-00FB-45AB-BF29-AAD017A83C4B}"/>
              </a:ext>
            </a:extLst>
          </p:cNvPr>
          <p:cNvSpPr/>
          <p:nvPr/>
        </p:nvSpPr>
        <p:spPr bwMode="gray">
          <a:xfrm>
            <a:off x="7186527" y="1799778"/>
            <a:ext cx="96641" cy="9664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933" name="Ellipse 8932">
            <a:extLst>
              <a:ext uri="{FF2B5EF4-FFF2-40B4-BE49-F238E27FC236}">
                <a16:creationId xmlns:a16="http://schemas.microsoft.com/office/drawing/2014/main" id="{F5CC9B12-FA4F-4D59-B418-7D3C1803034D}"/>
              </a:ext>
            </a:extLst>
          </p:cNvPr>
          <p:cNvSpPr/>
          <p:nvPr/>
        </p:nvSpPr>
        <p:spPr bwMode="gray">
          <a:xfrm>
            <a:off x="6986565" y="1743126"/>
            <a:ext cx="96641" cy="9664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934" name="Ellipse 8933">
            <a:extLst>
              <a:ext uri="{FF2B5EF4-FFF2-40B4-BE49-F238E27FC236}">
                <a16:creationId xmlns:a16="http://schemas.microsoft.com/office/drawing/2014/main" id="{EC2D1C85-0306-4FE7-B378-B27623E5F493}"/>
              </a:ext>
            </a:extLst>
          </p:cNvPr>
          <p:cNvSpPr/>
          <p:nvPr/>
        </p:nvSpPr>
        <p:spPr bwMode="gray">
          <a:xfrm>
            <a:off x="6577243" y="1467032"/>
            <a:ext cx="96641" cy="9664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935" name="Ellipse 8934">
            <a:extLst>
              <a:ext uri="{FF2B5EF4-FFF2-40B4-BE49-F238E27FC236}">
                <a16:creationId xmlns:a16="http://schemas.microsoft.com/office/drawing/2014/main" id="{B72EBAFE-E4A1-41D3-BF2D-2D6B6538454B}"/>
              </a:ext>
            </a:extLst>
          </p:cNvPr>
          <p:cNvSpPr/>
          <p:nvPr/>
        </p:nvSpPr>
        <p:spPr bwMode="gray">
          <a:xfrm>
            <a:off x="6653646" y="1309096"/>
            <a:ext cx="96641" cy="9664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936" name="Ellipse 8935">
            <a:extLst>
              <a:ext uri="{FF2B5EF4-FFF2-40B4-BE49-F238E27FC236}">
                <a16:creationId xmlns:a16="http://schemas.microsoft.com/office/drawing/2014/main" id="{89AE57D5-FCC8-4538-866B-FA8BBD1E7C28}"/>
              </a:ext>
            </a:extLst>
          </p:cNvPr>
          <p:cNvSpPr/>
          <p:nvPr/>
        </p:nvSpPr>
        <p:spPr bwMode="gray">
          <a:xfrm>
            <a:off x="6731045" y="1166231"/>
            <a:ext cx="96641" cy="9664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937" name="Ellipse 8936">
            <a:extLst>
              <a:ext uri="{FF2B5EF4-FFF2-40B4-BE49-F238E27FC236}">
                <a16:creationId xmlns:a16="http://schemas.microsoft.com/office/drawing/2014/main" id="{18D18A5E-DE7F-4BFA-920B-A44AE6DF5377}"/>
              </a:ext>
            </a:extLst>
          </p:cNvPr>
          <p:cNvSpPr/>
          <p:nvPr/>
        </p:nvSpPr>
        <p:spPr bwMode="gray">
          <a:xfrm>
            <a:off x="6845576" y="1112968"/>
            <a:ext cx="96641" cy="9664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938" name="Ellipse 8937">
            <a:extLst>
              <a:ext uri="{FF2B5EF4-FFF2-40B4-BE49-F238E27FC236}">
                <a16:creationId xmlns:a16="http://schemas.microsoft.com/office/drawing/2014/main" id="{3B58BC42-A380-4993-80A5-838C673A5375}"/>
              </a:ext>
            </a:extLst>
          </p:cNvPr>
          <p:cNvSpPr/>
          <p:nvPr/>
        </p:nvSpPr>
        <p:spPr bwMode="gray">
          <a:xfrm>
            <a:off x="7338927" y="1952178"/>
            <a:ext cx="96641" cy="9664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939" name="Ellipse 8938">
            <a:extLst>
              <a:ext uri="{FF2B5EF4-FFF2-40B4-BE49-F238E27FC236}">
                <a16:creationId xmlns:a16="http://schemas.microsoft.com/office/drawing/2014/main" id="{B2E1563F-BC2F-4F4C-AF2D-AED8C82EFD50}"/>
              </a:ext>
            </a:extLst>
          </p:cNvPr>
          <p:cNvSpPr/>
          <p:nvPr/>
        </p:nvSpPr>
        <p:spPr bwMode="gray">
          <a:xfrm>
            <a:off x="7273351" y="1694176"/>
            <a:ext cx="96641" cy="9664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8940" name="Ellipse 8939">
            <a:extLst>
              <a:ext uri="{FF2B5EF4-FFF2-40B4-BE49-F238E27FC236}">
                <a16:creationId xmlns:a16="http://schemas.microsoft.com/office/drawing/2014/main" id="{5DC2E32E-F101-4701-8B9A-FB8308CA5982}"/>
              </a:ext>
            </a:extLst>
          </p:cNvPr>
          <p:cNvSpPr/>
          <p:nvPr/>
        </p:nvSpPr>
        <p:spPr bwMode="gray">
          <a:xfrm>
            <a:off x="7550075" y="1798984"/>
            <a:ext cx="96641" cy="96641"/>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681" name="Ellipse 7994">
            <a:extLst>
              <a:ext uri="{FF2B5EF4-FFF2-40B4-BE49-F238E27FC236}">
                <a16:creationId xmlns:a16="http://schemas.microsoft.com/office/drawing/2014/main" id="{0595E892-9B3D-4C20-9B7E-2F77A0CE03D7}"/>
              </a:ext>
            </a:extLst>
          </p:cNvPr>
          <p:cNvSpPr/>
          <p:nvPr/>
        </p:nvSpPr>
        <p:spPr bwMode="gray">
          <a:xfrm>
            <a:off x="4280074" y="5578729"/>
            <a:ext cx="108000" cy="108000"/>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88000" rIns="0" rtlCol="0" anchor="ctr"/>
          <a:lstStyle/>
          <a:p>
            <a:pPr>
              <a:defRPr/>
            </a:pPr>
            <a:endParaRPr lang="en-US" sz="1600" dirty="0">
              <a:solidFill>
                <a:schemeClr val="tx1"/>
              </a:solidFill>
              <a:ea typeface="MS PGothic" pitchFamily="34" charset="-128"/>
            </a:endParaRPr>
          </a:p>
        </p:txBody>
      </p:sp>
      <p:sp>
        <p:nvSpPr>
          <p:cNvPr id="682" name="Fußzeilenplatzhalter 1">
            <a:extLst>
              <a:ext uri="{FF2B5EF4-FFF2-40B4-BE49-F238E27FC236}">
                <a16:creationId xmlns:a16="http://schemas.microsoft.com/office/drawing/2014/main" id="{69DB8E06-42B3-4671-BDB8-0C20CA1F9147}"/>
              </a:ext>
            </a:extLst>
          </p:cNvPr>
          <p:cNvSpPr>
            <a:spLocks noGrp="1"/>
          </p:cNvSpPr>
          <p:nvPr>
            <p:ph type="ftr" sz="quarter" idx="16"/>
          </p:nvPr>
        </p:nvSpPr>
        <p:spPr bwMode="gray">
          <a:xfrm>
            <a:off x="263352" y="6489352"/>
            <a:ext cx="4680000" cy="108000"/>
          </a:xfrm>
        </p:spPr>
        <p:txBody>
          <a:bodyPr/>
          <a:lstStyle/>
          <a:p>
            <a:r>
              <a:rPr lang="en-US" dirty="0"/>
              <a:t>Footnote: Please insert appropriate company</a:t>
            </a:r>
            <a:endParaRPr lang="de-DE" dirty="0"/>
          </a:p>
        </p:txBody>
      </p:sp>
      <p:sp>
        <p:nvSpPr>
          <p:cNvPr id="2" name="Foliennummernplatzhalter 1">
            <a:extLst>
              <a:ext uri="{FF2B5EF4-FFF2-40B4-BE49-F238E27FC236}">
                <a16:creationId xmlns:a16="http://schemas.microsoft.com/office/drawing/2014/main" id="{92D4339D-6C78-43CA-A648-51C531B02759}"/>
              </a:ext>
            </a:extLst>
          </p:cNvPr>
          <p:cNvSpPr>
            <a:spLocks noGrp="1"/>
          </p:cNvSpPr>
          <p:nvPr>
            <p:ph type="sldNum" sz="quarter" idx="12"/>
          </p:nvPr>
        </p:nvSpPr>
        <p:spPr/>
        <p:txBody>
          <a:bodyPr/>
          <a:lstStyle/>
          <a:p>
            <a:fld id="{CE82B8A1-0CCE-4815-9668-383D7DE7D8B4}" type="slidenum">
              <a:rPr lang="en-US" noProof="0" smtClean="0"/>
              <a:pPr/>
              <a:t>76</a:t>
            </a:fld>
            <a:endParaRPr lang="en-US" noProof="0" dirty="0"/>
          </a:p>
        </p:txBody>
      </p:sp>
    </p:spTree>
    <p:extLst>
      <p:ext uri="{BB962C8B-B14F-4D97-AF65-F5344CB8AC3E}">
        <p14:creationId xmlns:p14="http://schemas.microsoft.com/office/powerpoint/2010/main" val="162908284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uppieren 9">
            <a:extLst>
              <a:ext uri="{FF2B5EF4-FFF2-40B4-BE49-F238E27FC236}">
                <a16:creationId xmlns:a16="http://schemas.microsoft.com/office/drawing/2014/main" id="{B0565BA5-921B-4561-8238-38DB2D4BF818}"/>
              </a:ext>
            </a:extLst>
          </p:cNvPr>
          <p:cNvGrpSpPr/>
          <p:nvPr/>
        </p:nvGrpSpPr>
        <p:grpSpPr>
          <a:xfrm>
            <a:off x="1436669" y="980728"/>
            <a:ext cx="10478239" cy="2531642"/>
            <a:chOff x="1436669" y="980728"/>
            <a:chExt cx="10478239" cy="2531642"/>
          </a:xfrm>
          <a:pattFill prst="wdDnDiag">
            <a:fgClr>
              <a:schemeClr val="accent2"/>
            </a:fgClr>
            <a:bgClr>
              <a:schemeClr val="bg1"/>
            </a:bgClr>
          </a:pattFill>
        </p:grpSpPr>
        <p:grpSp>
          <p:nvGrpSpPr>
            <p:cNvPr id="6" name="Gruppieren 5">
              <a:extLst>
                <a:ext uri="{FF2B5EF4-FFF2-40B4-BE49-F238E27FC236}">
                  <a16:creationId xmlns:a16="http://schemas.microsoft.com/office/drawing/2014/main" id="{9C3E3497-F2FE-47ED-9640-456A2EDDFA18}"/>
                </a:ext>
              </a:extLst>
            </p:cNvPr>
            <p:cNvGrpSpPr/>
            <p:nvPr/>
          </p:nvGrpSpPr>
          <p:grpSpPr bwMode="gray">
            <a:xfrm>
              <a:off x="6591601" y="2532075"/>
              <a:ext cx="327690" cy="359015"/>
              <a:chOff x="6893373" y="2244043"/>
              <a:chExt cx="327690" cy="359015"/>
            </a:xfrm>
            <a:grpFill/>
          </p:grpSpPr>
          <p:sp>
            <p:nvSpPr>
              <p:cNvPr id="8009" name="Freeform 389">
                <a:extLst>
                  <a:ext uri="{FF2B5EF4-FFF2-40B4-BE49-F238E27FC236}">
                    <a16:creationId xmlns:a16="http://schemas.microsoft.com/office/drawing/2014/main" id="{8A9D008A-6AB9-4AF8-87DA-B5EA0EC3DD94}"/>
                  </a:ext>
                </a:extLst>
              </p:cNvPr>
              <p:cNvSpPr>
                <a:spLocks/>
              </p:cNvSpPr>
              <p:nvPr/>
            </p:nvSpPr>
            <p:spPr bwMode="gray">
              <a:xfrm>
                <a:off x="7002467" y="2481191"/>
                <a:ext cx="218596" cy="100458"/>
              </a:xfrm>
              <a:custGeom>
                <a:avLst/>
                <a:gdLst>
                  <a:gd name="T0" fmla="*/ 54 w 531"/>
                  <a:gd name="T1" fmla="*/ 189 h 244"/>
                  <a:gd name="T2" fmla="*/ 21 w 531"/>
                  <a:gd name="T3" fmla="*/ 199 h 244"/>
                  <a:gd name="T4" fmla="*/ 0 w 531"/>
                  <a:gd name="T5" fmla="*/ 182 h 244"/>
                  <a:gd name="T6" fmla="*/ 4 w 531"/>
                  <a:gd name="T7" fmla="*/ 149 h 244"/>
                  <a:gd name="T8" fmla="*/ 16 w 531"/>
                  <a:gd name="T9" fmla="*/ 133 h 244"/>
                  <a:gd name="T10" fmla="*/ 49 w 531"/>
                  <a:gd name="T11" fmla="*/ 154 h 244"/>
                  <a:gd name="T12" fmla="*/ 59 w 531"/>
                  <a:gd name="T13" fmla="*/ 149 h 244"/>
                  <a:gd name="T14" fmla="*/ 92 w 531"/>
                  <a:gd name="T15" fmla="*/ 144 h 244"/>
                  <a:gd name="T16" fmla="*/ 108 w 531"/>
                  <a:gd name="T17" fmla="*/ 149 h 244"/>
                  <a:gd name="T18" fmla="*/ 222 w 531"/>
                  <a:gd name="T19" fmla="*/ 128 h 244"/>
                  <a:gd name="T20" fmla="*/ 236 w 531"/>
                  <a:gd name="T21" fmla="*/ 144 h 244"/>
                  <a:gd name="T22" fmla="*/ 231 w 531"/>
                  <a:gd name="T23" fmla="*/ 128 h 244"/>
                  <a:gd name="T24" fmla="*/ 222 w 531"/>
                  <a:gd name="T25" fmla="*/ 88 h 244"/>
                  <a:gd name="T26" fmla="*/ 269 w 531"/>
                  <a:gd name="T27" fmla="*/ 43 h 244"/>
                  <a:gd name="T28" fmla="*/ 302 w 531"/>
                  <a:gd name="T29" fmla="*/ 22 h 244"/>
                  <a:gd name="T30" fmla="*/ 361 w 531"/>
                  <a:gd name="T31" fmla="*/ 43 h 244"/>
                  <a:gd name="T32" fmla="*/ 375 w 531"/>
                  <a:gd name="T33" fmla="*/ 22 h 244"/>
                  <a:gd name="T34" fmla="*/ 451 w 531"/>
                  <a:gd name="T35" fmla="*/ 33 h 244"/>
                  <a:gd name="T36" fmla="*/ 517 w 531"/>
                  <a:gd name="T37" fmla="*/ 33 h 244"/>
                  <a:gd name="T38" fmla="*/ 505 w 531"/>
                  <a:gd name="T39" fmla="*/ 59 h 244"/>
                  <a:gd name="T40" fmla="*/ 522 w 531"/>
                  <a:gd name="T41" fmla="*/ 128 h 244"/>
                  <a:gd name="T42" fmla="*/ 489 w 531"/>
                  <a:gd name="T43" fmla="*/ 116 h 244"/>
                  <a:gd name="T44" fmla="*/ 500 w 531"/>
                  <a:gd name="T45" fmla="*/ 144 h 244"/>
                  <a:gd name="T46" fmla="*/ 484 w 531"/>
                  <a:gd name="T47" fmla="*/ 166 h 244"/>
                  <a:gd name="T48" fmla="*/ 484 w 531"/>
                  <a:gd name="T49" fmla="*/ 189 h 244"/>
                  <a:gd name="T50" fmla="*/ 451 w 531"/>
                  <a:gd name="T51" fmla="*/ 199 h 244"/>
                  <a:gd name="T52" fmla="*/ 371 w 531"/>
                  <a:gd name="T53" fmla="*/ 222 h 244"/>
                  <a:gd name="T54" fmla="*/ 345 w 531"/>
                  <a:gd name="T55" fmla="*/ 244 h 244"/>
                  <a:gd name="T56" fmla="*/ 198 w 531"/>
                  <a:gd name="T57" fmla="*/ 211 h 244"/>
                  <a:gd name="T58" fmla="*/ 184 w 531"/>
                  <a:gd name="T59" fmla="*/ 182 h 244"/>
                  <a:gd name="T60" fmla="*/ 113 w 531"/>
                  <a:gd name="T61" fmla="*/ 189 h 244"/>
                  <a:gd name="T62" fmla="*/ 59 w 531"/>
                  <a:gd name="T63" fmla="*/ 199 h 244"/>
                  <a:gd name="T64" fmla="*/ 59 w 531"/>
                  <a:gd name="T65" fmla="*/ 19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1" h="244">
                    <a:moveTo>
                      <a:pt x="59" y="199"/>
                    </a:moveTo>
                    <a:lnTo>
                      <a:pt x="54" y="189"/>
                    </a:lnTo>
                    <a:lnTo>
                      <a:pt x="37" y="206"/>
                    </a:lnTo>
                    <a:lnTo>
                      <a:pt x="21" y="199"/>
                    </a:lnTo>
                    <a:lnTo>
                      <a:pt x="21" y="189"/>
                    </a:lnTo>
                    <a:lnTo>
                      <a:pt x="0" y="182"/>
                    </a:lnTo>
                    <a:lnTo>
                      <a:pt x="0" y="166"/>
                    </a:lnTo>
                    <a:lnTo>
                      <a:pt x="4" y="149"/>
                    </a:lnTo>
                    <a:lnTo>
                      <a:pt x="0" y="144"/>
                    </a:lnTo>
                    <a:lnTo>
                      <a:pt x="16" y="133"/>
                    </a:lnTo>
                    <a:lnTo>
                      <a:pt x="21" y="144"/>
                    </a:lnTo>
                    <a:lnTo>
                      <a:pt x="49" y="154"/>
                    </a:lnTo>
                    <a:lnTo>
                      <a:pt x="37" y="166"/>
                    </a:lnTo>
                    <a:lnTo>
                      <a:pt x="59" y="149"/>
                    </a:lnTo>
                    <a:lnTo>
                      <a:pt x="59" y="133"/>
                    </a:lnTo>
                    <a:lnTo>
                      <a:pt x="92" y="144"/>
                    </a:lnTo>
                    <a:lnTo>
                      <a:pt x="101" y="149"/>
                    </a:lnTo>
                    <a:lnTo>
                      <a:pt x="108" y="149"/>
                    </a:lnTo>
                    <a:lnTo>
                      <a:pt x="146" y="133"/>
                    </a:lnTo>
                    <a:lnTo>
                      <a:pt x="222" y="128"/>
                    </a:lnTo>
                    <a:lnTo>
                      <a:pt x="222" y="144"/>
                    </a:lnTo>
                    <a:lnTo>
                      <a:pt x="236" y="144"/>
                    </a:lnTo>
                    <a:lnTo>
                      <a:pt x="248" y="128"/>
                    </a:lnTo>
                    <a:lnTo>
                      <a:pt x="231" y="128"/>
                    </a:lnTo>
                    <a:lnTo>
                      <a:pt x="236" y="111"/>
                    </a:lnTo>
                    <a:lnTo>
                      <a:pt x="222" y="88"/>
                    </a:lnTo>
                    <a:lnTo>
                      <a:pt x="269" y="59"/>
                    </a:lnTo>
                    <a:lnTo>
                      <a:pt x="269" y="43"/>
                    </a:lnTo>
                    <a:lnTo>
                      <a:pt x="290" y="43"/>
                    </a:lnTo>
                    <a:lnTo>
                      <a:pt x="302" y="22"/>
                    </a:lnTo>
                    <a:lnTo>
                      <a:pt x="323" y="38"/>
                    </a:lnTo>
                    <a:lnTo>
                      <a:pt x="361" y="43"/>
                    </a:lnTo>
                    <a:lnTo>
                      <a:pt x="371" y="22"/>
                    </a:lnTo>
                    <a:lnTo>
                      <a:pt x="375" y="22"/>
                    </a:lnTo>
                    <a:lnTo>
                      <a:pt x="382" y="0"/>
                    </a:lnTo>
                    <a:lnTo>
                      <a:pt x="451" y="33"/>
                    </a:lnTo>
                    <a:lnTo>
                      <a:pt x="484" y="22"/>
                    </a:lnTo>
                    <a:lnTo>
                      <a:pt x="517" y="33"/>
                    </a:lnTo>
                    <a:lnTo>
                      <a:pt x="517" y="38"/>
                    </a:lnTo>
                    <a:lnTo>
                      <a:pt x="505" y="59"/>
                    </a:lnTo>
                    <a:lnTo>
                      <a:pt x="531" y="95"/>
                    </a:lnTo>
                    <a:lnTo>
                      <a:pt x="522" y="128"/>
                    </a:lnTo>
                    <a:lnTo>
                      <a:pt x="500" y="128"/>
                    </a:lnTo>
                    <a:lnTo>
                      <a:pt x="489" y="116"/>
                    </a:lnTo>
                    <a:lnTo>
                      <a:pt x="484" y="128"/>
                    </a:lnTo>
                    <a:lnTo>
                      <a:pt x="500" y="144"/>
                    </a:lnTo>
                    <a:lnTo>
                      <a:pt x="484" y="149"/>
                    </a:lnTo>
                    <a:lnTo>
                      <a:pt x="484" y="166"/>
                    </a:lnTo>
                    <a:lnTo>
                      <a:pt x="479" y="166"/>
                    </a:lnTo>
                    <a:lnTo>
                      <a:pt x="484" y="189"/>
                    </a:lnTo>
                    <a:lnTo>
                      <a:pt x="467" y="189"/>
                    </a:lnTo>
                    <a:lnTo>
                      <a:pt x="451" y="199"/>
                    </a:lnTo>
                    <a:lnTo>
                      <a:pt x="437" y="211"/>
                    </a:lnTo>
                    <a:lnTo>
                      <a:pt x="371" y="222"/>
                    </a:lnTo>
                    <a:lnTo>
                      <a:pt x="371" y="239"/>
                    </a:lnTo>
                    <a:lnTo>
                      <a:pt x="345" y="244"/>
                    </a:lnTo>
                    <a:lnTo>
                      <a:pt x="290" y="227"/>
                    </a:lnTo>
                    <a:lnTo>
                      <a:pt x="198" y="211"/>
                    </a:lnTo>
                    <a:lnTo>
                      <a:pt x="184" y="199"/>
                    </a:lnTo>
                    <a:lnTo>
                      <a:pt x="184" y="182"/>
                    </a:lnTo>
                    <a:lnTo>
                      <a:pt x="156" y="189"/>
                    </a:lnTo>
                    <a:lnTo>
                      <a:pt x="113" y="189"/>
                    </a:lnTo>
                    <a:lnTo>
                      <a:pt x="101" y="211"/>
                    </a:lnTo>
                    <a:lnTo>
                      <a:pt x="59" y="199"/>
                    </a:lnTo>
                    <a:lnTo>
                      <a:pt x="59" y="199"/>
                    </a:lnTo>
                    <a:lnTo>
                      <a:pt x="59" y="19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4" name="Freeform 453">
                <a:extLst>
                  <a:ext uri="{FF2B5EF4-FFF2-40B4-BE49-F238E27FC236}">
                    <a16:creationId xmlns:a16="http://schemas.microsoft.com/office/drawing/2014/main" id="{83EFE331-DF95-40F4-A0FA-C6B84FFA48D4}"/>
                  </a:ext>
                </a:extLst>
              </p:cNvPr>
              <p:cNvSpPr>
                <a:spLocks noEditPoints="1"/>
              </p:cNvSpPr>
              <p:nvPr/>
            </p:nvSpPr>
            <p:spPr bwMode="gray">
              <a:xfrm>
                <a:off x="6893373" y="2244043"/>
                <a:ext cx="266350" cy="305494"/>
              </a:xfrm>
              <a:custGeom>
                <a:avLst/>
                <a:gdLst>
                  <a:gd name="T0" fmla="*/ 442 w 647"/>
                  <a:gd name="T1" fmla="*/ 454 h 742"/>
                  <a:gd name="T2" fmla="*/ 480 w 647"/>
                  <a:gd name="T3" fmla="*/ 543 h 742"/>
                  <a:gd name="T4" fmla="*/ 534 w 647"/>
                  <a:gd name="T5" fmla="*/ 621 h 742"/>
                  <a:gd name="T6" fmla="*/ 496 w 647"/>
                  <a:gd name="T7" fmla="*/ 704 h 742"/>
                  <a:gd name="T8" fmla="*/ 484 w 647"/>
                  <a:gd name="T9" fmla="*/ 704 h 742"/>
                  <a:gd name="T10" fmla="*/ 354 w 647"/>
                  <a:gd name="T11" fmla="*/ 720 h 742"/>
                  <a:gd name="T12" fmla="*/ 312 w 647"/>
                  <a:gd name="T13" fmla="*/ 732 h 742"/>
                  <a:gd name="T14" fmla="*/ 241 w 647"/>
                  <a:gd name="T15" fmla="*/ 704 h 742"/>
                  <a:gd name="T16" fmla="*/ 177 w 647"/>
                  <a:gd name="T17" fmla="*/ 704 h 742"/>
                  <a:gd name="T18" fmla="*/ 118 w 647"/>
                  <a:gd name="T19" fmla="*/ 704 h 742"/>
                  <a:gd name="T20" fmla="*/ 140 w 647"/>
                  <a:gd name="T21" fmla="*/ 621 h 742"/>
                  <a:gd name="T22" fmla="*/ 102 w 647"/>
                  <a:gd name="T23" fmla="*/ 565 h 742"/>
                  <a:gd name="T24" fmla="*/ 43 w 647"/>
                  <a:gd name="T25" fmla="*/ 539 h 742"/>
                  <a:gd name="T26" fmla="*/ 26 w 647"/>
                  <a:gd name="T27" fmla="*/ 472 h 742"/>
                  <a:gd name="T28" fmla="*/ 14 w 647"/>
                  <a:gd name="T29" fmla="*/ 416 h 742"/>
                  <a:gd name="T30" fmla="*/ 14 w 647"/>
                  <a:gd name="T31" fmla="*/ 371 h 742"/>
                  <a:gd name="T32" fmla="*/ 69 w 647"/>
                  <a:gd name="T33" fmla="*/ 300 h 742"/>
                  <a:gd name="T34" fmla="*/ 64 w 647"/>
                  <a:gd name="T35" fmla="*/ 243 h 742"/>
                  <a:gd name="T36" fmla="*/ 102 w 647"/>
                  <a:gd name="T37" fmla="*/ 177 h 742"/>
                  <a:gd name="T38" fmla="*/ 85 w 647"/>
                  <a:gd name="T39" fmla="*/ 168 h 742"/>
                  <a:gd name="T40" fmla="*/ 161 w 647"/>
                  <a:gd name="T41" fmla="*/ 149 h 742"/>
                  <a:gd name="T42" fmla="*/ 177 w 647"/>
                  <a:gd name="T43" fmla="*/ 149 h 742"/>
                  <a:gd name="T44" fmla="*/ 189 w 647"/>
                  <a:gd name="T45" fmla="*/ 149 h 742"/>
                  <a:gd name="T46" fmla="*/ 203 w 647"/>
                  <a:gd name="T47" fmla="*/ 116 h 742"/>
                  <a:gd name="T48" fmla="*/ 265 w 647"/>
                  <a:gd name="T49" fmla="*/ 139 h 742"/>
                  <a:gd name="T50" fmla="*/ 227 w 647"/>
                  <a:gd name="T51" fmla="*/ 94 h 742"/>
                  <a:gd name="T52" fmla="*/ 194 w 647"/>
                  <a:gd name="T53" fmla="*/ 66 h 742"/>
                  <a:gd name="T54" fmla="*/ 173 w 647"/>
                  <a:gd name="T55" fmla="*/ 28 h 742"/>
                  <a:gd name="T56" fmla="*/ 189 w 647"/>
                  <a:gd name="T57" fmla="*/ 12 h 742"/>
                  <a:gd name="T58" fmla="*/ 295 w 647"/>
                  <a:gd name="T59" fmla="*/ 45 h 742"/>
                  <a:gd name="T60" fmla="*/ 371 w 647"/>
                  <a:gd name="T61" fmla="*/ 66 h 742"/>
                  <a:gd name="T62" fmla="*/ 350 w 647"/>
                  <a:gd name="T63" fmla="*/ 116 h 742"/>
                  <a:gd name="T64" fmla="*/ 442 w 647"/>
                  <a:gd name="T65" fmla="*/ 83 h 742"/>
                  <a:gd name="T66" fmla="*/ 458 w 647"/>
                  <a:gd name="T67" fmla="*/ 78 h 742"/>
                  <a:gd name="T68" fmla="*/ 555 w 647"/>
                  <a:gd name="T69" fmla="*/ 83 h 742"/>
                  <a:gd name="T70" fmla="*/ 605 w 647"/>
                  <a:gd name="T71" fmla="*/ 168 h 742"/>
                  <a:gd name="T72" fmla="*/ 619 w 647"/>
                  <a:gd name="T73" fmla="*/ 243 h 742"/>
                  <a:gd name="T74" fmla="*/ 619 w 647"/>
                  <a:gd name="T75" fmla="*/ 317 h 742"/>
                  <a:gd name="T76" fmla="*/ 647 w 647"/>
                  <a:gd name="T77" fmla="*/ 371 h 742"/>
                  <a:gd name="T78" fmla="*/ 593 w 647"/>
                  <a:gd name="T79" fmla="*/ 387 h 742"/>
                  <a:gd name="T80" fmla="*/ 539 w 647"/>
                  <a:gd name="T81" fmla="*/ 416 h 742"/>
                  <a:gd name="T82" fmla="*/ 194 w 647"/>
                  <a:gd name="T83" fmla="*/ 40 h 742"/>
                  <a:gd name="T84" fmla="*/ 194 w 647"/>
                  <a:gd name="T85" fmla="*/ 40 h 742"/>
                  <a:gd name="T86" fmla="*/ 177 w 647"/>
                  <a:gd name="T87" fmla="*/ 28 h 742"/>
                  <a:gd name="T88" fmla="*/ 529 w 647"/>
                  <a:gd name="T89" fmla="*/ 78 h 742"/>
                  <a:gd name="T90" fmla="*/ 517 w 647"/>
                  <a:gd name="T91" fmla="*/ 45 h 742"/>
                  <a:gd name="T92" fmla="*/ 517 w 647"/>
                  <a:gd name="T93" fmla="*/ 40 h 742"/>
                  <a:gd name="T94" fmla="*/ 539 w 647"/>
                  <a:gd name="T95" fmla="*/ 61 h 742"/>
                  <a:gd name="T96" fmla="*/ 529 w 647"/>
                  <a:gd name="T97" fmla="*/ 78 h 742"/>
                  <a:gd name="T98" fmla="*/ 194 w 647"/>
                  <a:gd name="T99" fmla="*/ 57 h 742"/>
                  <a:gd name="T100" fmla="*/ 203 w 647"/>
                  <a:gd name="T101" fmla="*/ 57 h 742"/>
                  <a:gd name="T102" fmla="*/ 371 w 647"/>
                  <a:gd name="T103" fmla="*/ 57 h 742"/>
                  <a:gd name="T104" fmla="*/ 588 w 647"/>
                  <a:gd name="T105" fmla="*/ 111 h 742"/>
                  <a:gd name="T106" fmla="*/ 572 w 647"/>
                  <a:gd name="T107" fmla="*/ 94 h 742"/>
                  <a:gd name="T108" fmla="*/ 588 w 647"/>
                  <a:gd name="T109" fmla="*/ 111 h 742"/>
                  <a:gd name="T110" fmla="*/ 392 w 647"/>
                  <a:gd name="T111" fmla="*/ 99 h 742"/>
                  <a:gd name="T112" fmla="*/ 64 w 647"/>
                  <a:gd name="T113" fmla="*/ 149 h 742"/>
                  <a:gd name="T114" fmla="*/ 64 w 647"/>
                  <a:gd name="T115" fmla="*/ 149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7" h="742">
                    <a:moveTo>
                      <a:pt x="501" y="449"/>
                    </a:moveTo>
                    <a:lnTo>
                      <a:pt x="475" y="449"/>
                    </a:lnTo>
                    <a:lnTo>
                      <a:pt x="458" y="465"/>
                    </a:lnTo>
                    <a:lnTo>
                      <a:pt x="442" y="454"/>
                    </a:lnTo>
                    <a:lnTo>
                      <a:pt x="447" y="482"/>
                    </a:lnTo>
                    <a:lnTo>
                      <a:pt x="475" y="498"/>
                    </a:lnTo>
                    <a:lnTo>
                      <a:pt x="463" y="522"/>
                    </a:lnTo>
                    <a:lnTo>
                      <a:pt x="480" y="543"/>
                    </a:lnTo>
                    <a:lnTo>
                      <a:pt x="501" y="555"/>
                    </a:lnTo>
                    <a:lnTo>
                      <a:pt x="567" y="598"/>
                    </a:lnTo>
                    <a:lnTo>
                      <a:pt x="555" y="621"/>
                    </a:lnTo>
                    <a:lnTo>
                      <a:pt x="534" y="621"/>
                    </a:lnTo>
                    <a:lnTo>
                      <a:pt x="534" y="638"/>
                    </a:lnTo>
                    <a:lnTo>
                      <a:pt x="484" y="666"/>
                    </a:lnTo>
                    <a:lnTo>
                      <a:pt x="501" y="687"/>
                    </a:lnTo>
                    <a:lnTo>
                      <a:pt x="496" y="704"/>
                    </a:lnTo>
                    <a:lnTo>
                      <a:pt x="513" y="704"/>
                    </a:lnTo>
                    <a:lnTo>
                      <a:pt x="501" y="720"/>
                    </a:lnTo>
                    <a:lnTo>
                      <a:pt x="484" y="720"/>
                    </a:lnTo>
                    <a:lnTo>
                      <a:pt x="484" y="704"/>
                    </a:lnTo>
                    <a:lnTo>
                      <a:pt x="409" y="709"/>
                    </a:lnTo>
                    <a:lnTo>
                      <a:pt x="371" y="725"/>
                    </a:lnTo>
                    <a:lnTo>
                      <a:pt x="366" y="725"/>
                    </a:lnTo>
                    <a:lnTo>
                      <a:pt x="354" y="720"/>
                    </a:lnTo>
                    <a:lnTo>
                      <a:pt x="324" y="709"/>
                    </a:lnTo>
                    <a:lnTo>
                      <a:pt x="324" y="725"/>
                    </a:lnTo>
                    <a:lnTo>
                      <a:pt x="302" y="742"/>
                    </a:lnTo>
                    <a:lnTo>
                      <a:pt x="312" y="732"/>
                    </a:lnTo>
                    <a:lnTo>
                      <a:pt x="286" y="720"/>
                    </a:lnTo>
                    <a:lnTo>
                      <a:pt x="279" y="709"/>
                    </a:lnTo>
                    <a:lnTo>
                      <a:pt x="265" y="720"/>
                    </a:lnTo>
                    <a:lnTo>
                      <a:pt x="241" y="704"/>
                    </a:lnTo>
                    <a:lnTo>
                      <a:pt x="203" y="704"/>
                    </a:lnTo>
                    <a:lnTo>
                      <a:pt x="203" y="692"/>
                    </a:lnTo>
                    <a:lnTo>
                      <a:pt x="194" y="692"/>
                    </a:lnTo>
                    <a:lnTo>
                      <a:pt x="177" y="704"/>
                    </a:lnTo>
                    <a:lnTo>
                      <a:pt x="194" y="704"/>
                    </a:lnTo>
                    <a:lnTo>
                      <a:pt x="194" y="709"/>
                    </a:lnTo>
                    <a:lnTo>
                      <a:pt x="123" y="709"/>
                    </a:lnTo>
                    <a:lnTo>
                      <a:pt x="118" y="704"/>
                    </a:lnTo>
                    <a:lnTo>
                      <a:pt x="123" y="676"/>
                    </a:lnTo>
                    <a:lnTo>
                      <a:pt x="123" y="666"/>
                    </a:lnTo>
                    <a:lnTo>
                      <a:pt x="135" y="638"/>
                    </a:lnTo>
                    <a:lnTo>
                      <a:pt x="140" y="621"/>
                    </a:lnTo>
                    <a:lnTo>
                      <a:pt x="173" y="581"/>
                    </a:lnTo>
                    <a:lnTo>
                      <a:pt x="135" y="576"/>
                    </a:lnTo>
                    <a:lnTo>
                      <a:pt x="106" y="565"/>
                    </a:lnTo>
                    <a:lnTo>
                      <a:pt x="102" y="565"/>
                    </a:lnTo>
                    <a:lnTo>
                      <a:pt x="80" y="560"/>
                    </a:lnTo>
                    <a:lnTo>
                      <a:pt x="64" y="565"/>
                    </a:lnTo>
                    <a:lnTo>
                      <a:pt x="47" y="543"/>
                    </a:lnTo>
                    <a:lnTo>
                      <a:pt x="43" y="539"/>
                    </a:lnTo>
                    <a:lnTo>
                      <a:pt x="43" y="539"/>
                    </a:lnTo>
                    <a:lnTo>
                      <a:pt x="47" y="505"/>
                    </a:lnTo>
                    <a:lnTo>
                      <a:pt x="31" y="498"/>
                    </a:lnTo>
                    <a:lnTo>
                      <a:pt x="26" y="472"/>
                    </a:lnTo>
                    <a:lnTo>
                      <a:pt x="26" y="465"/>
                    </a:lnTo>
                    <a:lnTo>
                      <a:pt x="43" y="454"/>
                    </a:lnTo>
                    <a:lnTo>
                      <a:pt x="31" y="428"/>
                    </a:lnTo>
                    <a:lnTo>
                      <a:pt x="14" y="416"/>
                    </a:lnTo>
                    <a:lnTo>
                      <a:pt x="14" y="399"/>
                    </a:lnTo>
                    <a:lnTo>
                      <a:pt x="0" y="387"/>
                    </a:lnTo>
                    <a:lnTo>
                      <a:pt x="14" y="378"/>
                    </a:lnTo>
                    <a:lnTo>
                      <a:pt x="14" y="371"/>
                    </a:lnTo>
                    <a:lnTo>
                      <a:pt x="31" y="361"/>
                    </a:lnTo>
                    <a:lnTo>
                      <a:pt x="31" y="345"/>
                    </a:lnTo>
                    <a:lnTo>
                      <a:pt x="10" y="317"/>
                    </a:lnTo>
                    <a:lnTo>
                      <a:pt x="69" y="300"/>
                    </a:lnTo>
                    <a:lnTo>
                      <a:pt x="64" y="288"/>
                    </a:lnTo>
                    <a:lnTo>
                      <a:pt x="85" y="276"/>
                    </a:lnTo>
                    <a:lnTo>
                      <a:pt x="85" y="260"/>
                    </a:lnTo>
                    <a:lnTo>
                      <a:pt x="64" y="243"/>
                    </a:lnTo>
                    <a:lnTo>
                      <a:pt x="69" y="234"/>
                    </a:lnTo>
                    <a:lnTo>
                      <a:pt x="85" y="234"/>
                    </a:lnTo>
                    <a:lnTo>
                      <a:pt x="102" y="205"/>
                    </a:lnTo>
                    <a:lnTo>
                      <a:pt x="102" y="177"/>
                    </a:lnTo>
                    <a:lnTo>
                      <a:pt x="102" y="172"/>
                    </a:lnTo>
                    <a:lnTo>
                      <a:pt x="106" y="172"/>
                    </a:lnTo>
                    <a:lnTo>
                      <a:pt x="85" y="168"/>
                    </a:lnTo>
                    <a:lnTo>
                      <a:pt x="85" y="168"/>
                    </a:lnTo>
                    <a:lnTo>
                      <a:pt x="97" y="139"/>
                    </a:lnTo>
                    <a:lnTo>
                      <a:pt x="102" y="132"/>
                    </a:lnTo>
                    <a:lnTo>
                      <a:pt x="156" y="132"/>
                    </a:lnTo>
                    <a:lnTo>
                      <a:pt x="161" y="149"/>
                    </a:lnTo>
                    <a:lnTo>
                      <a:pt x="156" y="149"/>
                    </a:lnTo>
                    <a:lnTo>
                      <a:pt x="161" y="156"/>
                    </a:lnTo>
                    <a:lnTo>
                      <a:pt x="173" y="156"/>
                    </a:lnTo>
                    <a:lnTo>
                      <a:pt x="177" y="149"/>
                    </a:lnTo>
                    <a:lnTo>
                      <a:pt x="173" y="149"/>
                    </a:lnTo>
                    <a:lnTo>
                      <a:pt x="173" y="139"/>
                    </a:lnTo>
                    <a:lnTo>
                      <a:pt x="177" y="139"/>
                    </a:lnTo>
                    <a:lnTo>
                      <a:pt x="189" y="149"/>
                    </a:lnTo>
                    <a:lnTo>
                      <a:pt x="189" y="168"/>
                    </a:lnTo>
                    <a:lnTo>
                      <a:pt x="194" y="149"/>
                    </a:lnTo>
                    <a:lnTo>
                      <a:pt x="189" y="132"/>
                    </a:lnTo>
                    <a:lnTo>
                      <a:pt x="203" y="116"/>
                    </a:lnTo>
                    <a:lnTo>
                      <a:pt x="241" y="116"/>
                    </a:lnTo>
                    <a:lnTo>
                      <a:pt x="265" y="139"/>
                    </a:lnTo>
                    <a:lnTo>
                      <a:pt x="279" y="149"/>
                    </a:lnTo>
                    <a:lnTo>
                      <a:pt x="265" y="139"/>
                    </a:lnTo>
                    <a:lnTo>
                      <a:pt x="248" y="116"/>
                    </a:lnTo>
                    <a:lnTo>
                      <a:pt x="215" y="111"/>
                    </a:lnTo>
                    <a:lnTo>
                      <a:pt x="210" y="99"/>
                    </a:lnTo>
                    <a:lnTo>
                      <a:pt x="227" y="94"/>
                    </a:lnTo>
                    <a:lnTo>
                      <a:pt x="210" y="83"/>
                    </a:lnTo>
                    <a:lnTo>
                      <a:pt x="215" y="78"/>
                    </a:lnTo>
                    <a:lnTo>
                      <a:pt x="203" y="78"/>
                    </a:lnTo>
                    <a:lnTo>
                      <a:pt x="194" y="66"/>
                    </a:lnTo>
                    <a:lnTo>
                      <a:pt x="227" y="57"/>
                    </a:lnTo>
                    <a:lnTo>
                      <a:pt x="194" y="12"/>
                    </a:lnTo>
                    <a:lnTo>
                      <a:pt x="173" y="12"/>
                    </a:lnTo>
                    <a:lnTo>
                      <a:pt x="173" y="28"/>
                    </a:lnTo>
                    <a:lnTo>
                      <a:pt x="177" y="0"/>
                    </a:lnTo>
                    <a:lnTo>
                      <a:pt x="189" y="0"/>
                    </a:lnTo>
                    <a:lnTo>
                      <a:pt x="177" y="5"/>
                    </a:lnTo>
                    <a:lnTo>
                      <a:pt x="189" y="12"/>
                    </a:lnTo>
                    <a:lnTo>
                      <a:pt x="203" y="12"/>
                    </a:lnTo>
                    <a:lnTo>
                      <a:pt x="258" y="24"/>
                    </a:lnTo>
                    <a:lnTo>
                      <a:pt x="295" y="28"/>
                    </a:lnTo>
                    <a:lnTo>
                      <a:pt x="295" y="45"/>
                    </a:lnTo>
                    <a:lnTo>
                      <a:pt x="286" y="61"/>
                    </a:lnTo>
                    <a:lnTo>
                      <a:pt x="302" y="57"/>
                    </a:lnTo>
                    <a:lnTo>
                      <a:pt x="340" y="66"/>
                    </a:lnTo>
                    <a:lnTo>
                      <a:pt x="371" y="66"/>
                    </a:lnTo>
                    <a:lnTo>
                      <a:pt x="371" y="83"/>
                    </a:lnTo>
                    <a:lnTo>
                      <a:pt x="350" y="99"/>
                    </a:lnTo>
                    <a:lnTo>
                      <a:pt x="354" y="99"/>
                    </a:lnTo>
                    <a:lnTo>
                      <a:pt x="350" y="116"/>
                    </a:lnTo>
                    <a:lnTo>
                      <a:pt x="371" y="99"/>
                    </a:lnTo>
                    <a:lnTo>
                      <a:pt x="392" y="111"/>
                    </a:lnTo>
                    <a:lnTo>
                      <a:pt x="409" y="83"/>
                    </a:lnTo>
                    <a:lnTo>
                      <a:pt x="442" y="83"/>
                    </a:lnTo>
                    <a:lnTo>
                      <a:pt x="475" y="57"/>
                    </a:lnTo>
                    <a:lnTo>
                      <a:pt x="501" y="61"/>
                    </a:lnTo>
                    <a:lnTo>
                      <a:pt x="463" y="61"/>
                    </a:lnTo>
                    <a:lnTo>
                      <a:pt x="458" y="78"/>
                    </a:lnTo>
                    <a:lnTo>
                      <a:pt x="475" y="66"/>
                    </a:lnTo>
                    <a:lnTo>
                      <a:pt x="501" y="61"/>
                    </a:lnTo>
                    <a:lnTo>
                      <a:pt x="534" y="94"/>
                    </a:lnTo>
                    <a:lnTo>
                      <a:pt x="555" y="83"/>
                    </a:lnTo>
                    <a:lnTo>
                      <a:pt x="567" y="111"/>
                    </a:lnTo>
                    <a:lnTo>
                      <a:pt x="567" y="116"/>
                    </a:lnTo>
                    <a:lnTo>
                      <a:pt x="593" y="132"/>
                    </a:lnTo>
                    <a:lnTo>
                      <a:pt x="605" y="168"/>
                    </a:lnTo>
                    <a:lnTo>
                      <a:pt x="605" y="189"/>
                    </a:lnTo>
                    <a:lnTo>
                      <a:pt x="588" y="205"/>
                    </a:lnTo>
                    <a:lnTo>
                      <a:pt x="588" y="210"/>
                    </a:lnTo>
                    <a:lnTo>
                      <a:pt x="619" y="243"/>
                    </a:lnTo>
                    <a:lnTo>
                      <a:pt x="610" y="260"/>
                    </a:lnTo>
                    <a:lnTo>
                      <a:pt x="626" y="276"/>
                    </a:lnTo>
                    <a:lnTo>
                      <a:pt x="626" y="288"/>
                    </a:lnTo>
                    <a:lnTo>
                      <a:pt x="619" y="317"/>
                    </a:lnTo>
                    <a:lnTo>
                      <a:pt x="626" y="333"/>
                    </a:lnTo>
                    <a:lnTo>
                      <a:pt x="626" y="345"/>
                    </a:lnTo>
                    <a:lnTo>
                      <a:pt x="643" y="345"/>
                    </a:lnTo>
                    <a:lnTo>
                      <a:pt x="647" y="371"/>
                    </a:lnTo>
                    <a:lnTo>
                      <a:pt x="636" y="411"/>
                    </a:lnTo>
                    <a:lnTo>
                      <a:pt x="619" y="411"/>
                    </a:lnTo>
                    <a:lnTo>
                      <a:pt x="610" y="394"/>
                    </a:lnTo>
                    <a:lnTo>
                      <a:pt x="593" y="387"/>
                    </a:lnTo>
                    <a:lnTo>
                      <a:pt x="593" y="394"/>
                    </a:lnTo>
                    <a:lnTo>
                      <a:pt x="605" y="399"/>
                    </a:lnTo>
                    <a:lnTo>
                      <a:pt x="593" y="399"/>
                    </a:lnTo>
                    <a:lnTo>
                      <a:pt x="539" y="416"/>
                    </a:lnTo>
                    <a:lnTo>
                      <a:pt x="501" y="449"/>
                    </a:lnTo>
                    <a:lnTo>
                      <a:pt x="501" y="449"/>
                    </a:lnTo>
                    <a:lnTo>
                      <a:pt x="501" y="449"/>
                    </a:lnTo>
                    <a:close/>
                    <a:moveTo>
                      <a:pt x="194" y="40"/>
                    </a:moveTo>
                    <a:lnTo>
                      <a:pt x="177" y="28"/>
                    </a:lnTo>
                    <a:lnTo>
                      <a:pt x="194" y="28"/>
                    </a:lnTo>
                    <a:lnTo>
                      <a:pt x="194" y="40"/>
                    </a:lnTo>
                    <a:lnTo>
                      <a:pt x="194" y="40"/>
                    </a:lnTo>
                    <a:lnTo>
                      <a:pt x="194" y="40"/>
                    </a:lnTo>
                    <a:close/>
                    <a:moveTo>
                      <a:pt x="177" y="45"/>
                    </a:moveTo>
                    <a:lnTo>
                      <a:pt x="173" y="40"/>
                    </a:lnTo>
                    <a:lnTo>
                      <a:pt x="177" y="28"/>
                    </a:lnTo>
                    <a:lnTo>
                      <a:pt x="177" y="45"/>
                    </a:lnTo>
                    <a:lnTo>
                      <a:pt x="177" y="45"/>
                    </a:lnTo>
                    <a:lnTo>
                      <a:pt x="177" y="45"/>
                    </a:lnTo>
                    <a:close/>
                    <a:moveTo>
                      <a:pt x="529" y="78"/>
                    </a:moveTo>
                    <a:lnTo>
                      <a:pt x="534" y="78"/>
                    </a:lnTo>
                    <a:lnTo>
                      <a:pt x="513" y="66"/>
                    </a:lnTo>
                    <a:lnTo>
                      <a:pt x="529" y="61"/>
                    </a:lnTo>
                    <a:lnTo>
                      <a:pt x="517" y="45"/>
                    </a:lnTo>
                    <a:lnTo>
                      <a:pt x="539" y="57"/>
                    </a:lnTo>
                    <a:lnTo>
                      <a:pt x="534" y="45"/>
                    </a:lnTo>
                    <a:lnTo>
                      <a:pt x="517" y="45"/>
                    </a:lnTo>
                    <a:lnTo>
                      <a:pt x="517" y="40"/>
                    </a:lnTo>
                    <a:lnTo>
                      <a:pt x="534" y="40"/>
                    </a:lnTo>
                    <a:lnTo>
                      <a:pt x="534" y="45"/>
                    </a:lnTo>
                    <a:lnTo>
                      <a:pt x="551" y="45"/>
                    </a:lnTo>
                    <a:lnTo>
                      <a:pt x="539" y="61"/>
                    </a:lnTo>
                    <a:lnTo>
                      <a:pt x="555" y="78"/>
                    </a:lnTo>
                    <a:lnTo>
                      <a:pt x="551" y="66"/>
                    </a:lnTo>
                    <a:lnTo>
                      <a:pt x="539" y="66"/>
                    </a:lnTo>
                    <a:lnTo>
                      <a:pt x="529" y="78"/>
                    </a:lnTo>
                    <a:lnTo>
                      <a:pt x="529" y="78"/>
                    </a:lnTo>
                    <a:lnTo>
                      <a:pt x="529" y="78"/>
                    </a:lnTo>
                    <a:close/>
                    <a:moveTo>
                      <a:pt x="203" y="57"/>
                    </a:moveTo>
                    <a:lnTo>
                      <a:pt x="194" y="57"/>
                    </a:lnTo>
                    <a:lnTo>
                      <a:pt x="203" y="45"/>
                    </a:lnTo>
                    <a:lnTo>
                      <a:pt x="203" y="57"/>
                    </a:lnTo>
                    <a:lnTo>
                      <a:pt x="203" y="57"/>
                    </a:lnTo>
                    <a:lnTo>
                      <a:pt x="203" y="57"/>
                    </a:lnTo>
                    <a:close/>
                    <a:moveTo>
                      <a:pt x="378" y="61"/>
                    </a:moveTo>
                    <a:lnTo>
                      <a:pt x="388" y="61"/>
                    </a:lnTo>
                    <a:lnTo>
                      <a:pt x="366" y="61"/>
                    </a:lnTo>
                    <a:lnTo>
                      <a:pt x="371" y="57"/>
                    </a:lnTo>
                    <a:lnTo>
                      <a:pt x="378" y="61"/>
                    </a:lnTo>
                    <a:lnTo>
                      <a:pt x="378" y="61"/>
                    </a:lnTo>
                    <a:lnTo>
                      <a:pt x="378" y="61"/>
                    </a:lnTo>
                    <a:close/>
                    <a:moveTo>
                      <a:pt x="588" y="111"/>
                    </a:moveTo>
                    <a:lnTo>
                      <a:pt x="588" y="116"/>
                    </a:lnTo>
                    <a:lnTo>
                      <a:pt x="567" y="116"/>
                    </a:lnTo>
                    <a:lnTo>
                      <a:pt x="581" y="99"/>
                    </a:lnTo>
                    <a:lnTo>
                      <a:pt x="572" y="94"/>
                    </a:lnTo>
                    <a:lnTo>
                      <a:pt x="567" y="99"/>
                    </a:lnTo>
                    <a:lnTo>
                      <a:pt x="555" y="83"/>
                    </a:lnTo>
                    <a:lnTo>
                      <a:pt x="588" y="111"/>
                    </a:lnTo>
                    <a:lnTo>
                      <a:pt x="588" y="111"/>
                    </a:lnTo>
                    <a:lnTo>
                      <a:pt x="588" y="111"/>
                    </a:lnTo>
                    <a:close/>
                    <a:moveTo>
                      <a:pt x="392" y="111"/>
                    </a:moveTo>
                    <a:lnTo>
                      <a:pt x="388" y="99"/>
                    </a:lnTo>
                    <a:lnTo>
                      <a:pt x="392" y="99"/>
                    </a:lnTo>
                    <a:lnTo>
                      <a:pt x="392" y="111"/>
                    </a:lnTo>
                    <a:lnTo>
                      <a:pt x="392" y="111"/>
                    </a:lnTo>
                    <a:lnTo>
                      <a:pt x="392" y="111"/>
                    </a:lnTo>
                    <a:close/>
                    <a:moveTo>
                      <a:pt x="64" y="149"/>
                    </a:moveTo>
                    <a:lnTo>
                      <a:pt x="64" y="139"/>
                    </a:lnTo>
                    <a:lnTo>
                      <a:pt x="69" y="139"/>
                    </a:lnTo>
                    <a:lnTo>
                      <a:pt x="64" y="149"/>
                    </a:lnTo>
                    <a:lnTo>
                      <a:pt x="64" y="149"/>
                    </a:lnTo>
                    <a:lnTo>
                      <a:pt x="64" y="14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1" name="Freeform 564">
                <a:extLst>
                  <a:ext uri="{FF2B5EF4-FFF2-40B4-BE49-F238E27FC236}">
                    <a16:creationId xmlns:a16="http://schemas.microsoft.com/office/drawing/2014/main" id="{E200408D-19E0-4EAD-BBB8-95DC294FD7B1}"/>
                  </a:ext>
                </a:extLst>
              </p:cNvPr>
              <p:cNvSpPr>
                <a:spLocks/>
              </p:cNvSpPr>
              <p:nvPr/>
            </p:nvSpPr>
            <p:spPr bwMode="gray">
              <a:xfrm>
                <a:off x="6898314" y="2528950"/>
                <a:ext cx="129264" cy="74108"/>
              </a:xfrm>
              <a:custGeom>
                <a:avLst/>
                <a:gdLst>
                  <a:gd name="T0" fmla="*/ 38 w 314"/>
                  <a:gd name="T1" fmla="*/ 90 h 180"/>
                  <a:gd name="T2" fmla="*/ 71 w 314"/>
                  <a:gd name="T3" fmla="*/ 50 h 180"/>
                  <a:gd name="T4" fmla="*/ 76 w 314"/>
                  <a:gd name="T5" fmla="*/ 38 h 180"/>
                  <a:gd name="T6" fmla="*/ 71 w 314"/>
                  <a:gd name="T7" fmla="*/ 38 h 180"/>
                  <a:gd name="T8" fmla="*/ 76 w 314"/>
                  <a:gd name="T9" fmla="*/ 28 h 180"/>
                  <a:gd name="T10" fmla="*/ 97 w 314"/>
                  <a:gd name="T11" fmla="*/ 33 h 180"/>
                  <a:gd name="T12" fmla="*/ 113 w 314"/>
                  <a:gd name="T13" fmla="*/ 17 h 180"/>
                  <a:gd name="T14" fmla="*/ 184 w 314"/>
                  <a:gd name="T15" fmla="*/ 17 h 180"/>
                  <a:gd name="T16" fmla="*/ 184 w 314"/>
                  <a:gd name="T17" fmla="*/ 10 h 180"/>
                  <a:gd name="T18" fmla="*/ 168 w 314"/>
                  <a:gd name="T19" fmla="*/ 10 h 180"/>
                  <a:gd name="T20" fmla="*/ 184 w 314"/>
                  <a:gd name="T21" fmla="*/ 0 h 180"/>
                  <a:gd name="T22" fmla="*/ 194 w 314"/>
                  <a:gd name="T23" fmla="*/ 0 h 180"/>
                  <a:gd name="T24" fmla="*/ 194 w 314"/>
                  <a:gd name="T25" fmla="*/ 10 h 180"/>
                  <a:gd name="T26" fmla="*/ 231 w 314"/>
                  <a:gd name="T27" fmla="*/ 10 h 180"/>
                  <a:gd name="T28" fmla="*/ 253 w 314"/>
                  <a:gd name="T29" fmla="*/ 28 h 180"/>
                  <a:gd name="T30" fmla="*/ 260 w 314"/>
                  <a:gd name="T31" fmla="*/ 33 h 180"/>
                  <a:gd name="T32" fmla="*/ 253 w 314"/>
                  <a:gd name="T33" fmla="*/ 50 h 180"/>
                  <a:gd name="T34" fmla="*/ 248 w 314"/>
                  <a:gd name="T35" fmla="*/ 66 h 180"/>
                  <a:gd name="T36" fmla="*/ 253 w 314"/>
                  <a:gd name="T37" fmla="*/ 66 h 180"/>
                  <a:gd name="T38" fmla="*/ 276 w 314"/>
                  <a:gd name="T39" fmla="*/ 73 h 180"/>
                  <a:gd name="T40" fmla="*/ 276 w 314"/>
                  <a:gd name="T41" fmla="*/ 83 h 180"/>
                  <a:gd name="T42" fmla="*/ 293 w 314"/>
                  <a:gd name="T43" fmla="*/ 90 h 180"/>
                  <a:gd name="T44" fmla="*/ 307 w 314"/>
                  <a:gd name="T45" fmla="*/ 73 h 180"/>
                  <a:gd name="T46" fmla="*/ 314 w 314"/>
                  <a:gd name="T47" fmla="*/ 83 h 180"/>
                  <a:gd name="T48" fmla="*/ 314 w 314"/>
                  <a:gd name="T49" fmla="*/ 111 h 180"/>
                  <a:gd name="T50" fmla="*/ 302 w 314"/>
                  <a:gd name="T51" fmla="*/ 106 h 180"/>
                  <a:gd name="T52" fmla="*/ 286 w 314"/>
                  <a:gd name="T53" fmla="*/ 111 h 180"/>
                  <a:gd name="T54" fmla="*/ 286 w 314"/>
                  <a:gd name="T55" fmla="*/ 123 h 180"/>
                  <a:gd name="T56" fmla="*/ 293 w 314"/>
                  <a:gd name="T57" fmla="*/ 128 h 180"/>
                  <a:gd name="T58" fmla="*/ 293 w 314"/>
                  <a:gd name="T59" fmla="*/ 147 h 180"/>
                  <a:gd name="T60" fmla="*/ 276 w 314"/>
                  <a:gd name="T61" fmla="*/ 128 h 180"/>
                  <a:gd name="T62" fmla="*/ 253 w 314"/>
                  <a:gd name="T63" fmla="*/ 139 h 180"/>
                  <a:gd name="T64" fmla="*/ 248 w 314"/>
                  <a:gd name="T65" fmla="*/ 123 h 180"/>
                  <a:gd name="T66" fmla="*/ 231 w 314"/>
                  <a:gd name="T67" fmla="*/ 123 h 180"/>
                  <a:gd name="T68" fmla="*/ 231 w 314"/>
                  <a:gd name="T69" fmla="*/ 139 h 180"/>
                  <a:gd name="T70" fmla="*/ 215 w 314"/>
                  <a:gd name="T71" fmla="*/ 168 h 180"/>
                  <a:gd name="T72" fmla="*/ 222 w 314"/>
                  <a:gd name="T73" fmla="*/ 168 h 180"/>
                  <a:gd name="T74" fmla="*/ 215 w 314"/>
                  <a:gd name="T75" fmla="*/ 180 h 180"/>
                  <a:gd name="T76" fmla="*/ 201 w 314"/>
                  <a:gd name="T77" fmla="*/ 163 h 180"/>
                  <a:gd name="T78" fmla="*/ 201 w 314"/>
                  <a:gd name="T79" fmla="*/ 151 h 180"/>
                  <a:gd name="T80" fmla="*/ 177 w 314"/>
                  <a:gd name="T81" fmla="*/ 147 h 180"/>
                  <a:gd name="T82" fmla="*/ 177 w 314"/>
                  <a:gd name="T83" fmla="*/ 123 h 180"/>
                  <a:gd name="T84" fmla="*/ 163 w 314"/>
                  <a:gd name="T85" fmla="*/ 123 h 180"/>
                  <a:gd name="T86" fmla="*/ 151 w 314"/>
                  <a:gd name="T87" fmla="*/ 151 h 180"/>
                  <a:gd name="T88" fmla="*/ 130 w 314"/>
                  <a:gd name="T89" fmla="*/ 168 h 180"/>
                  <a:gd name="T90" fmla="*/ 125 w 314"/>
                  <a:gd name="T91" fmla="*/ 168 h 180"/>
                  <a:gd name="T92" fmla="*/ 87 w 314"/>
                  <a:gd name="T93" fmla="*/ 180 h 180"/>
                  <a:gd name="T94" fmla="*/ 76 w 314"/>
                  <a:gd name="T95" fmla="*/ 168 h 180"/>
                  <a:gd name="T96" fmla="*/ 59 w 314"/>
                  <a:gd name="T97" fmla="*/ 151 h 180"/>
                  <a:gd name="T98" fmla="*/ 59 w 314"/>
                  <a:gd name="T99" fmla="*/ 128 h 180"/>
                  <a:gd name="T100" fmla="*/ 54 w 314"/>
                  <a:gd name="T101" fmla="*/ 123 h 180"/>
                  <a:gd name="T102" fmla="*/ 21 w 314"/>
                  <a:gd name="T103" fmla="*/ 128 h 180"/>
                  <a:gd name="T104" fmla="*/ 21 w 314"/>
                  <a:gd name="T105" fmla="*/ 147 h 180"/>
                  <a:gd name="T106" fmla="*/ 5 w 314"/>
                  <a:gd name="T107" fmla="*/ 151 h 180"/>
                  <a:gd name="T108" fmla="*/ 0 w 314"/>
                  <a:gd name="T109" fmla="*/ 147 h 180"/>
                  <a:gd name="T110" fmla="*/ 16 w 314"/>
                  <a:gd name="T111" fmla="*/ 139 h 180"/>
                  <a:gd name="T112" fmla="*/ 16 w 314"/>
                  <a:gd name="T113" fmla="*/ 128 h 180"/>
                  <a:gd name="T114" fmla="*/ 5 w 314"/>
                  <a:gd name="T115" fmla="*/ 123 h 180"/>
                  <a:gd name="T116" fmla="*/ 16 w 314"/>
                  <a:gd name="T117" fmla="*/ 111 h 180"/>
                  <a:gd name="T118" fmla="*/ 33 w 314"/>
                  <a:gd name="T119" fmla="*/ 95 h 180"/>
                  <a:gd name="T120" fmla="*/ 38 w 314"/>
                  <a:gd name="T121" fmla="*/ 90 h 180"/>
                  <a:gd name="T122" fmla="*/ 38 w 314"/>
                  <a:gd name="T123" fmla="*/ 90 h 180"/>
                  <a:gd name="T124" fmla="*/ 38 w 314"/>
                  <a:gd name="T125"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4" h="180">
                    <a:moveTo>
                      <a:pt x="38" y="90"/>
                    </a:moveTo>
                    <a:lnTo>
                      <a:pt x="71" y="50"/>
                    </a:lnTo>
                    <a:lnTo>
                      <a:pt x="76" y="38"/>
                    </a:lnTo>
                    <a:lnTo>
                      <a:pt x="71" y="38"/>
                    </a:lnTo>
                    <a:lnTo>
                      <a:pt x="76" y="28"/>
                    </a:lnTo>
                    <a:lnTo>
                      <a:pt x="97" y="33"/>
                    </a:lnTo>
                    <a:lnTo>
                      <a:pt x="113" y="17"/>
                    </a:lnTo>
                    <a:lnTo>
                      <a:pt x="184" y="17"/>
                    </a:lnTo>
                    <a:lnTo>
                      <a:pt x="184" y="10"/>
                    </a:lnTo>
                    <a:lnTo>
                      <a:pt x="168" y="10"/>
                    </a:lnTo>
                    <a:lnTo>
                      <a:pt x="184" y="0"/>
                    </a:lnTo>
                    <a:lnTo>
                      <a:pt x="194" y="0"/>
                    </a:lnTo>
                    <a:lnTo>
                      <a:pt x="194" y="10"/>
                    </a:lnTo>
                    <a:lnTo>
                      <a:pt x="231" y="10"/>
                    </a:lnTo>
                    <a:lnTo>
                      <a:pt x="253" y="28"/>
                    </a:lnTo>
                    <a:lnTo>
                      <a:pt x="260" y="33"/>
                    </a:lnTo>
                    <a:lnTo>
                      <a:pt x="253" y="50"/>
                    </a:lnTo>
                    <a:lnTo>
                      <a:pt x="248" y="66"/>
                    </a:lnTo>
                    <a:lnTo>
                      <a:pt x="253" y="66"/>
                    </a:lnTo>
                    <a:lnTo>
                      <a:pt x="276" y="73"/>
                    </a:lnTo>
                    <a:lnTo>
                      <a:pt x="276" y="83"/>
                    </a:lnTo>
                    <a:lnTo>
                      <a:pt x="293" y="90"/>
                    </a:lnTo>
                    <a:lnTo>
                      <a:pt x="307" y="73"/>
                    </a:lnTo>
                    <a:lnTo>
                      <a:pt x="314" y="83"/>
                    </a:lnTo>
                    <a:lnTo>
                      <a:pt x="314" y="111"/>
                    </a:lnTo>
                    <a:lnTo>
                      <a:pt x="302" y="106"/>
                    </a:lnTo>
                    <a:lnTo>
                      <a:pt x="286" y="111"/>
                    </a:lnTo>
                    <a:lnTo>
                      <a:pt x="286" y="123"/>
                    </a:lnTo>
                    <a:lnTo>
                      <a:pt x="293" y="128"/>
                    </a:lnTo>
                    <a:lnTo>
                      <a:pt x="293" y="147"/>
                    </a:lnTo>
                    <a:lnTo>
                      <a:pt x="276" y="128"/>
                    </a:lnTo>
                    <a:lnTo>
                      <a:pt x="253" y="139"/>
                    </a:lnTo>
                    <a:lnTo>
                      <a:pt x="248" y="123"/>
                    </a:lnTo>
                    <a:lnTo>
                      <a:pt x="231" y="123"/>
                    </a:lnTo>
                    <a:lnTo>
                      <a:pt x="231" y="139"/>
                    </a:lnTo>
                    <a:lnTo>
                      <a:pt x="215" y="168"/>
                    </a:lnTo>
                    <a:lnTo>
                      <a:pt x="222" y="168"/>
                    </a:lnTo>
                    <a:lnTo>
                      <a:pt x="215" y="180"/>
                    </a:lnTo>
                    <a:lnTo>
                      <a:pt x="201" y="163"/>
                    </a:lnTo>
                    <a:lnTo>
                      <a:pt x="201" y="151"/>
                    </a:lnTo>
                    <a:lnTo>
                      <a:pt x="177" y="147"/>
                    </a:lnTo>
                    <a:lnTo>
                      <a:pt x="177" y="123"/>
                    </a:lnTo>
                    <a:lnTo>
                      <a:pt x="163" y="123"/>
                    </a:lnTo>
                    <a:lnTo>
                      <a:pt x="151" y="151"/>
                    </a:lnTo>
                    <a:lnTo>
                      <a:pt x="130" y="168"/>
                    </a:lnTo>
                    <a:lnTo>
                      <a:pt x="125" y="168"/>
                    </a:lnTo>
                    <a:lnTo>
                      <a:pt x="87" y="180"/>
                    </a:lnTo>
                    <a:lnTo>
                      <a:pt x="76" y="168"/>
                    </a:lnTo>
                    <a:lnTo>
                      <a:pt x="59" y="151"/>
                    </a:lnTo>
                    <a:lnTo>
                      <a:pt x="59" y="128"/>
                    </a:lnTo>
                    <a:lnTo>
                      <a:pt x="54" y="123"/>
                    </a:lnTo>
                    <a:lnTo>
                      <a:pt x="21" y="128"/>
                    </a:lnTo>
                    <a:lnTo>
                      <a:pt x="21" y="147"/>
                    </a:lnTo>
                    <a:lnTo>
                      <a:pt x="5" y="151"/>
                    </a:lnTo>
                    <a:lnTo>
                      <a:pt x="0" y="147"/>
                    </a:lnTo>
                    <a:lnTo>
                      <a:pt x="16" y="139"/>
                    </a:lnTo>
                    <a:lnTo>
                      <a:pt x="16" y="128"/>
                    </a:lnTo>
                    <a:lnTo>
                      <a:pt x="5" y="123"/>
                    </a:lnTo>
                    <a:lnTo>
                      <a:pt x="16" y="111"/>
                    </a:lnTo>
                    <a:lnTo>
                      <a:pt x="33" y="95"/>
                    </a:lnTo>
                    <a:lnTo>
                      <a:pt x="38" y="90"/>
                    </a:lnTo>
                    <a:lnTo>
                      <a:pt x="38" y="90"/>
                    </a:lnTo>
                    <a:lnTo>
                      <a:pt x="38" y="9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5" name="Gruppieren 24">
              <a:extLst>
                <a:ext uri="{FF2B5EF4-FFF2-40B4-BE49-F238E27FC236}">
                  <a16:creationId xmlns:a16="http://schemas.microsoft.com/office/drawing/2014/main" id="{71CCE88D-5BBA-449A-84EF-0B29E7C2F2E8}"/>
                </a:ext>
              </a:extLst>
            </p:cNvPr>
            <p:cNvGrpSpPr/>
            <p:nvPr/>
          </p:nvGrpSpPr>
          <p:grpSpPr bwMode="gray">
            <a:xfrm>
              <a:off x="1436669" y="980728"/>
              <a:ext cx="10478239" cy="2531642"/>
              <a:chOff x="1738441" y="692696"/>
              <a:chExt cx="10478239" cy="2531642"/>
            </a:xfrm>
            <a:grpFill/>
          </p:grpSpPr>
          <p:sp>
            <p:nvSpPr>
              <p:cNvPr id="8217" name="Freeform 534">
                <a:extLst>
                  <a:ext uri="{FF2B5EF4-FFF2-40B4-BE49-F238E27FC236}">
                    <a16:creationId xmlns:a16="http://schemas.microsoft.com/office/drawing/2014/main" id="{9FD33B0D-6F30-4F3B-A9FB-F24747AA1728}"/>
                  </a:ext>
                </a:extLst>
              </p:cNvPr>
              <p:cNvSpPr>
                <a:spLocks noEditPoints="1"/>
              </p:cNvSpPr>
              <p:nvPr/>
            </p:nvSpPr>
            <p:spPr bwMode="gray">
              <a:xfrm>
                <a:off x="5824678" y="2735219"/>
                <a:ext cx="723716" cy="324844"/>
              </a:xfrm>
              <a:custGeom>
                <a:avLst/>
                <a:gdLst>
                  <a:gd name="T0" fmla="*/ 1613 w 1758"/>
                  <a:gd name="T1" fmla="*/ 0 h 789"/>
                  <a:gd name="T2" fmla="*/ 1613 w 1758"/>
                  <a:gd name="T3" fmla="*/ 28 h 789"/>
                  <a:gd name="T4" fmla="*/ 1651 w 1758"/>
                  <a:gd name="T5" fmla="*/ 28 h 789"/>
                  <a:gd name="T6" fmla="*/ 1689 w 1758"/>
                  <a:gd name="T7" fmla="*/ 28 h 789"/>
                  <a:gd name="T8" fmla="*/ 1727 w 1758"/>
                  <a:gd name="T9" fmla="*/ 16 h 789"/>
                  <a:gd name="T10" fmla="*/ 1758 w 1758"/>
                  <a:gd name="T11" fmla="*/ 49 h 789"/>
                  <a:gd name="T12" fmla="*/ 1703 w 1758"/>
                  <a:gd name="T13" fmla="*/ 99 h 789"/>
                  <a:gd name="T14" fmla="*/ 1710 w 1758"/>
                  <a:gd name="T15" fmla="*/ 144 h 789"/>
                  <a:gd name="T16" fmla="*/ 1703 w 1758"/>
                  <a:gd name="T17" fmla="*/ 165 h 789"/>
                  <a:gd name="T18" fmla="*/ 1710 w 1758"/>
                  <a:gd name="T19" fmla="*/ 182 h 789"/>
                  <a:gd name="T20" fmla="*/ 1665 w 1758"/>
                  <a:gd name="T21" fmla="*/ 215 h 789"/>
                  <a:gd name="T22" fmla="*/ 1703 w 1758"/>
                  <a:gd name="T23" fmla="*/ 272 h 789"/>
                  <a:gd name="T24" fmla="*/ 1673 w 1758"/>
                  <a:gd name="T25" fmla="*/ 321 h 789"/>
                  <a:gd name="T26" fmla="*/ 1703 w 1758"/>
                  <a:gd name="T27" fmla="*/ 342 h 789"/>
                  <a:gd name="T28" fmla="*/ 1677 w 1758"/>
                  <a:gd name="T29" fmla="*/ 359 h 789"/>
                  <a:gd name="T30" fmla="*/ 1665 w 1758"/>
                  <a:gd name="T31" fmla="*/ 387 h 789"/>
                  <a:gd name="T32" fmla="*/ 1673 w 1758"/>
                  <a:gd name="T33" fmla="*/ 420 h 789"/>
                  <a:gd name="T34" fmla="*/ 1580 w 1758"/>
                  <a:gd name="T35" fmla="*/ 432 h 789"/>
                  <a:gd name="T36" fmla="*/ 1569 w 1758"/>
                  <a:gd name="T37" fmla="*/ 404 h 789"/>
                  <a:gd name="T38" fmla="*/ 1580 w 1758"/>
                  <a:gd name="T39" fmla="*/ 321 h 789"/>
                  <a:gd name="T40" fmla="*/ 1547 w 1758"/>
                  <a:gd name="T41" fmla="*/ 321 h 789"/>
                  <a:gd name="T42" fmla="*/ 1547 w 1758"/>
                  <a:gd name="T43" fmla="*/ 305 h 789"/>
                  <a:gd name="T44" fmla="*/ 1559 w 1758"/>
                  <a:gd name="T45" fmla="*/ 276 h 789"/>
                  <a:gd name="T46" fmla="*/ 1526 w 1758"/>
                  <a:gd name="T47" fmla="*/ 293 h 789"/>
                  <a:gd name="T48" fmla="*/ 1547 w 1758"/>
                  <a:gd name="T49" fmla="*/ 222 h 789"/>
                  <a:gd name="T50" fmla="*/ 1580 w 1758"/>
                  <a:gd name="T51" fmla="*/ 127 h 789"/>
                  <a:gd name="T52" fmla="*/ 1580 w 1758"/>
                  <a:gd name="T53" fmla="*/ 127 h 789"/>
                  <a:gd name="T54" fmla="*/ 1564 w 1758"/>
                  <a:gd name="T55" fmla="*/ 33 h 789"/>
                  <a:gd name="T56" fmla="*/ 1569 w 1758"/>
                  <a:gd name="T57" fmla="*/ 16 h 789"/>
                  <a:gd name="T58" fmla="*/ 0 w 1758"/>
                  <a:gd name="T59" fmla="*/ 238 h 789"/>
                  <a:gd name="T60" fmla="*/ 0 w 1758"/>
                  <a:gd name="T61" fmla="*/ 231 h 789"/>
                  <a:gd name="T62" fmla="*/ 0 w 1758"/>
                  <a:gd name="T63" fmla="*/ 238 h 789"/>
                  <a:gd name="T64" fmla="*/ 0 w 1758"/>
                  <a:gd name="T65" fmla="*/ 238 h 789"/>
                  <a:gd name="T66" fmla="*/ 269 w 1758"/>
                  <a:gd name="T67" fmla="*/ 305 h 789"/>
                  <a:gd name="T68" fmla="*/ 291 w 1758"/>
                  <a:gd name="T69" fmla="*/ 293 h 789"/>
                  <a:gd name="T70" fmla="*/ 286 w 1758"/>
                  <a:gd name="T71" fmla="*/ 305 h 789"/>
                  <a:gd name="T72" fmla="*/ 286 w 1758"/>
                  <a:gd name="T73" fmla="*/ 305 h 789"/>
                  <a:gd name="T74" fmla="*/ 194 w 1758"/>
                  <a:gd name="T75" fmla="*/ 321 h 789"/>
                  <a:gd name="T76" fmla="*/ 199 w 1758"/>
                  <a:gd name="T77" fmla="*/ 309 h 789"/>
                  <a:gd name="T78" fmla="*/ 203 w 1758"/>
                  <a:gd name="T79" fmla="*/ 326 h 789"/>
                  <a:gd name="T80" fmla="*/ 203 w 1758"/>
                  <a:gd name="T81" fmla="*/ 326 h 789"/>
                  <a:gd name="T82" fmla="*/ 383 w 1758"/>
                  <a:gd name="T83" fmla="*/ 375 h 789"/>
                  <a:gd name="T84" fmla="*/ 421 w 1758"/>
                  <a:gd name="T85" fmla="*/ 364 h 789"/>
                  <a:gd name="T86" fmla="*/ 409 w 1758"/>
                  <a:gd name="T87" fmla="*/ 380 h 789"/>
                  <a:gd name="T88" fmla="*/ 409 w 1758"/>
                  <a:gd name="T89" fmla="*/ 380 h 789"/>
                  <a:gd name="T90" fmla="*/ 421 w 1758"/>
                  <a:gd name="T91" fmla="*/ 437 h 789"/>
                  <a:gd name="T92" fmla="*/ 437 w 1758"/>
                  <a:gd name="T93" fmla="*/ 442 h 789"/>
                  <a:gd name="T94" fmla="*/ 437 w 1758"/>
                  <a:gd name="T95" fmla="*/ 442 h 789"/>
                  <a:gd name="T96" fmla="*/ 976 w 1758"/>
                  <a:gd name="T97" fmla="*/ 772 h 789"/>
                  <a:gd name="T98" fmla="*/ 1018 w 1758"/>
                  <a:gd name="T99" fmla="*/ 784 h 789"/>
                  <a:gd name="T100" fmla="*/ 1002 w 1758"/>
                  <a:gd name="T101" fmla="*/ 789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58" h="789">
                    <a:moveTo>
                      <a:pt x="1569" y="16"/>
                    </a:moveTo>
                    <a:lnTo>
                      <a:pt x="1613" y="0"/>
                    </a:lnTo>
                    <a:lnTo>
                      <a:pt x="1623" y="12"/>
                    </a:lnTo>
                    <a:lnTo>
                      <a:pt x="1613" y="28"/>
                    </a:lnTo>
                    <a:lnTo>
                      <a:pt x="1618" y="33"/>
                    </a:lnTo>
                    <a:lnTo>
                      <a:pt x="1651" y="28"/>
                    </a:lnTo>
                    <a:lnTo>
                      <a:pt x="1673" y="33"/>
                    </a:lnTo>
                    <a:lnTo>
                      <a:pt x="1689" y="28"/>
                    </a:lnTo>
                    <a:lnTo>
                      <a:pt x="1689" y="16"/>
                    </a:lnTo>
                    <a:lnTo>
                      <a:pt x="1727" y="16"/>
                    </a:lnTo>
                    <a:lnTo>
                      <a:pt x="1732" y="45"/>
                    </a:lnTo>
                    <a:lnTo>
                      <a:pt x="1758" y="49"/>
                    </a:lnTo>
                    <a:lnTo>
                      <a:pt x="1741" y="73"/>
                    </a:lnTo>
                    <a:lnTo>
                      <a:pt x="1703" y="99"/>
                    </a:lnTo>
                    <a:lnTo>
                      <a:pt x="1710" y="111"/>
                    </a:lnTo>
                    <a:lnTo>
                      <a:pt x="1710" y="144"/>
                    </a:lnTo>
                    <a:lnTo>
                      <a:pt x="1710" y="160"/>
                    </a:lnTo>
                    <a:lnTo>
                      <a:pt x="1703" y="165"/>
                    </a:lnTo>
                    <a:lnTo>
                      <a:pt x="1694" y="177"/>
                    </a:lnTo>
                    <a:lnTo>
                      <a:pt x="1710" y="182"/>
                    </a:lnTo>
                    <a:lnTo>
                      <a:pt x="1694" y="215"/>
                    </a:lnTo>
                    <a:lnTo>
                      <a:pt x="1665" y="215"/>
                    </a:lnTo>
                    <a:lnTo>
                      <a:pt x="1677" y="255"/>
                    </a:lnTo>
                    <a:lnTo>
                      <a:pt x="1703" y="272"/>
                    </a:lnTo>
                    <a:lnTo>
                      <a:pt x="1677" y="293"/>
                    </a:lnTo>
                    <a:lnTo>
                      <a:pt x="1673" y="321"/>
                    </a:lnTo>
                    <a:lnTo>
                      <a:pt x="1694" y="342"/>
                    </a:lnTo>
                    <a:lnTo>
                      <a:pt x="1703" y="342"/>
                    </a:lnTo>
                    <a:lnTo>
                      <a:pt x="1694" y="347"/>
                    </a:lnTo>
                    <a:lnTo>
                      <a:pt x="1677" y="359"/>
                    </a:lnTo>
                    <a:lnTo>
                      <a:pt x="1665" y="380"/>
                    </a:lnTo>
                    <a:lnTo>
                      <a:pt x="1665" y="387"/>
                    </a:lnTo>
                    <a:lnTo>
                      <a:pt x="1665" y="420"/>
                    </a:lnTo>
                    <a:lnTo>
                      <a:pt x="1673" y="420"/>
                    </a:lnTo>
                    <a:lnTo>
                      <a:pt x="1635" y="437"/>
                    </a:lnTo>
                    <a:lnTo>
                      <a:pt x="1580" y="432"/>
                    </a:lnTo>
                    <a:lnTo>
                      <a:pt x="1559" y="437"/>
                    </a:lnTo>
                    <a:lnTo>
                      <a:pt x="1569" y="404"/>
                    </a:lnTo>
                    <a:lnTo>
                      <a:pt x="1569" y="326"/>
                    </a:lnTo>
                    <a:lnTo>
                      <a:pt x="1580" y="321"/>
                    </a:lnTo>
                    <a:lnTo>
                      <a:pt x="1569" y="309"/>
                    </a:lnTo>
                    <a:lnTo>
                      <a:pt x="1547" y="321"/>
                    </a:lnTo>
                    <a:lnTo>
                      <a:pt x="1543" y="305"/>
                    </a:lnTo>
                    <a:lnTo>
                      <a:pt x="1547" y="305"/>
                    </a:lnTo>
                    <a:lnTo>
                      <a:pt x="1564" y="293"/>
                    </a:lnTo>
                    <a:lnTo>
                      <a:pt x="1559" y="276"/>
                    </a:lnTo>
                    <a:lnTo>
                      <a:pt x="1547" y="293"/>
                    </a:lnTo>
                    <a:lnTo>
                      <a:pt x="1526" y="293"/>
                    </a:lnTo>
                    <a:lnTo>
                      <a:pt x="1531" y="238"/>
                    </a:lnTo>
                    <a:lnTo>
                      <a:pt x="1547" y="222"/>
                    </a:lnTo>
                    <a:lnTo>
                      <a:pt x="1569" y="139"/>
                    </a:lnTo>
                    <a:lnTo>
                      <a:pt x="1580" y="127"/>
                    </a:lnTo>
                    <a:lnTo>
                      <a:pt x="1580" y="123"/>
                    </a:lnTo>
                    <a:lnTo>
                      <a:pt x="1580" y="127"/>
                    </a:lnTo>
                    <a:lnTo>
                      <a:pt x="1580" y="99"/>
                    </a:lnTo>
                    <a:lnTo>
                      <a:pt x="1564" y="33"/>
                    </a:lnTo>
                    <a:lnTo>
                      <a:pt x="1569" y="16"/>
                    </a:lnTo>
                    <a:lnTo>
                      <a:pt x="1569" y="16"/>
                    </a:lnTo>
                    <a:lnTo>
                      <a:pt x="1569" y="16"/>
                    </a:lnTo>
                    <a:close/>
                    <a:moveTo>
                      <a:pt x="0" y="238"/>
                    </a:moveTo>
                    <a:lnTo>
                      <a:pt x="0" y="238"/>
                    </a:lnTo>
                    <a:lnTo>
                      <a:pt x="0" y="231"/>
                    </a:lnTo>
                    <a:lnTo>
                      <a:pt x="5" y="231"/>
                    </a:lnTo>
                    <a:lnTo>
                      <a:pt x="0" y="238"/>
                    </a:lnTo>
                    <a:lnTo>
                      <a:pt x="0" y="238"/>
                    </a:lnTo>
                    <a:lnTo>
                      <a:pt x="0" y="238"/>
                    </a:lnTo>
                    <a:close/>
                    <a:moveTo>
                      <a:pt x="286" y="305"/>
                    </a:moveTo>
                    <a:lnTo>
                      <a:pt x="269" y="305"/>
                    </a:lnTo>
                    <a:lnTo>
                      <a:pt x="269" y="293"/>
                    </a:lnTo>
                    <a:lnTo>
                      <a:pt x="291" y="293"/>
                    </a:lnTo>
                    <a:lnTo>
                      <a:pt x="291" y="293"/>
                    </a:lnTo>
                    <a:lnTo>
                      <a:pt x="286" y="305"/>
                    </a:lnTo>
                    <a:lnTo>
                      <a:pt x="286" y="305"/>
                    </a:lnTo>
                    <a:lnTo>
                      <a:pt x="286" y="305"/>
                    </a:lnTo>
                    <a:close/>
                    <a:moveTo>
                      <a:pt x="203" y="326"/>
                    </a:moveTo>
                    <a:lnTo>
                      <a:pt x="194" y="321"/>
                    </a:lnTo>
                    <a:lnTo>
                      <a:pt x="182" y="309"/>
                    </a:lnTo>
                    <a:lnTo>
                      <a:pt x="199" y="309"/>
                    </a:lnTo>
                    <a:lnTo>
                      <a:pt x="220" y="321"/>
                    </a:lnTo>
                    <a:lnTo>
                      <a:pt x="203" y="326"/>
                    </a:lnTo>
                    <a:lnTo>
                      <a:pt x="203" y="326"/>
                    </a:lnTo>
                    <a:lnTo>
                      <a:pt x="203" y="326"/>
                    </a:lnTo>
                    <a:close/>
                    <a:moveTo>
                      <a:pt x="409" y="380"/>
                    </a:moveTo>
                    <a:lnTo>
                      <a:pt x="383" y="375"/>
                    </a:lnTo>
                    <a:lnTo>
                      <a:pt x="376" y="364"/>
                    </a:lnTo>
                    <a:lnTo>
                      <a:pt x="421" y="364"/>
                    </a:lnTo>
                    <a:lnTo>
                      <a:pt x="421" y="375"/>
                    </a:lnTo>
                    <a:lnTo>
                      <a:pt x="409" y="380"/>
                    </a:lnTo>
                    <a:lnTo>
                      <a:pt x="409" y="380"/>
                    </a:lnTo>
                    <a:lnTo>
                      <a:pt x="409" y="380"/>
                    </a:lnTo>
                    <a:close/>
                    <a:moveTo>
                      <a:pt x="437" y="442"/>
                    </a:moveTo>
                    <a:lnTo>
                      <a:pt x="421" y="437"/>
                    </a:lnTo>
                    <a:lnTo>
                      <a:pt x="430" y="437"/>
                    </a:lnTo>
                    <a:lnTo>
                      <a:pt x="437" y="442"/>
                    </a:lnTo>
                    <a:lnTo>
                      <a:pt x="437" y="442"/>
                    </a:lnTo>
                    <a:lnTo>
                      <a:pt x="437" y="442"/>
                    </a:lnTo>
                    <a:close/>
                    <a:moveTo>
                      <a:pt x="1002" y="789"/>
                    </a:moveTo>
                    <a:lnTo>
                      <a:pt x="976" y="772"/>
                    </a:lnTo>
                    <a:lnTo>
                      <a:pt x="987" y="772"/>
                    </a:lnTo>
                    <a:lnTo>
                      <a:pt x="1018" y="784"/>
                    </a:lnTo>
                    <a:lnTo>
                      <a:pt x="1002" y="789"/>
                    </a:lnTo>
                    <a:lnTo>
                      <a:pt x="1002" y="789"/>
                    </a:lnTo>
                    <a:lnTo>
                      <a:pt x="1002" y="78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24" name="Gruppieren 23">
                <a:extLst>
                  <a:ext uri="{FF2B5EF4-FFF2-40B4-BE49-F238E27FC236}">
                    <a16:creationId xmlns:a16="http://schemas.microsoft.com/office/drawing/2014/main" id="{18F0595C-1991-47F7-93F4-9799B1FA9655}"/>
                  </a:ext>
                </a:extLst>
              </p:cNvPr>
              <p:cNvGrpSpPr/>
              <p:nvPr/>
            </p:nvGrpSpPr>
            <p:grpSpPr bwMode="gray">
              <a:xfrm>
                <a:off x="1738441" y="692696"/>
                <a:ext cx="10478239" cy="2531642"/>
                <a:chOff x="1738441" y="692696"/>
                <a:chExt cx="10478239" cy="2531642"/>
              </a:xfrm>
              <a:grpFill/>
            </p:grpSpPr>
            <p:sp>
              <p:nvSpPr>
                <p:cNvPr id="8264" name="Freeform 557">
                  <a:extLst>
                    <a:ext uri="{FF2B5EF4-FFF2-40B4-BE49-F238E27FC236}">
                      <a16:creationId xmlns:a16="http://schemas.microsoft.com/office/drawing/2014/main" id="{14827878-A6DC-427B-827C-D9F867EEBC3D}"/>
                    </a:ext>
                  </a:extLst>
                </p:cNvPr>
                <p:cNvSpPr>
                  <a:spLocks noEditPoints="1"/>
                </p:cNvSpPr>
                <p:nvPr/>
              </p:nvSpPr>
              <p:spPr bwMode="gray">
                <a:xfrm>
                  <a:off x="6202180" y="2676755"/>
                  <a:ext cx="646322" cy="547583"/>
                </a:xfrm>
                <a:custGeom>
                  <a:avLst/>
                  <a:gdLst>
                    <a:gd name="T0" fmla="*/ 793 w 1570"/>
                    <a:gd name="T1" fmla="*/ 251 h 1330"/>
                    <a:gd name="T2" fmla="*/ 815 w 1570"/>
                    <a:gd name="T3" fmla="*/ 184 h 1330"/>
                    <a:gd name="T4" fmla="*/ 756 w 1570"/>
                    <a:gd name="T5" fmla="*/ 173 h 1330"/>
                    <a:gd name="T6" fmla="*/ 708 w 1570"/>
                    <a:gd name="T7" fmla="*/ 151 h 1330"/>
                    <a:gd name="T8" fmla="*/ 647 w 1570"/>
                    <a:gd name="T9" fmla="*/ 151 h 1330"/>
                    <a:gd name="T10" fmla="*/ 654 w 1570"/>
                    <a:gd name="T11" fmla="*/ 123 h 1330"/>
                    <a:gd name="T12" fmla="*/ 642 w 1570"/>
                    <a:gd name="T13" fmla="*/ 111 h 1330"/>
                    <a:gd name="T14" fmla="*/ 633 w 1570"/>
                    <a:gd name="T15" fmla="*/ 66 h 1330"/>
                    <a:gd name="T16" fmla="*/ 663 w 1570"/>
                    <a:gd name="T17" fmla="*/ 45 h 1330"/>
                    <a:gd name="T18" fmla="*/ 722 w 1570"/>
                    <a:gd name="T19" fmla="*/ 7 h 1330"/>
                    <a:gd name="T20" fmla="*/ 777 w 1570"/>
                    <a:gd name="T21" fmla="*/ 24 h 1330"/>
                    <a:gd name="T22" fmla="*/ 869 w 1570"/>
                    <a:gd name="T23" fmla="*/ 24 h 1330"/>
                    <a:gd name="T24" fmla="*/ 1063 w 1570"/>
                    <a:gd name="T25" fmla="*/ 28 h 1330"/>
                    <a:gd name="T26" fmla="*/ 1171 w 1570"/>
                    <a:gd name="T27" fmla="*/ 62 h 1330"/>
                    <a:gd name="T28" fmla="*/ 1273 w 1570"/>
                    <a:gd name="T29" fmla="*/ 95 h 1330"/>
                    <a:gd name="T30" fmla="*/ 1372 w 1570"/>
                    <a:gd name="T31" fmla="*/ 99 h 1330"/>
                    <a:gd name="T32" fmla="*/ 1436 w 1570"/>
                    <a:gd name="T33" fmla="*/ 118 h 1330"/>
                    <a:gd name="T34" fmla="*/ 1495 w 1570"/>
                    <a:gd name="T35" fmla="*/ 123 h 1330"/>
                    <a:gd name="T36" fmla="*/ 1495 w 1570"/>
                    <a:gd name="T37" fmla="*/ 168 h 1330"/>
                    <a:gd name="T38" fmla="*/ 1318 w 1570"/>
                    <a:gd name="T39" fmla="*/ 262 h 1330"/>
                    <a:gd name="T40" fmla="*/ 1327 w 1570"/>
                    <a:gd name="T41" fmla="*/ 279 h 1330"/>
                    <a:gd name="T42" fmla="*/ 1263 w 1570"/>
                    <a:gd name="T43" fmla="*/ 411 h 1330"/>
                    <a:gd name="T44" fmla="*/ 1226 w 1570"/>
                    <a:gd name="T45" fmla="*/ 527 h 1330"/>
                    <a:gd name="T46" fmla="*/ 1112 w 1570"/>
                    <a:gd name="T47" fmla="*/ 593 h 1330"/>
                    <a:gd name="T48" fmla="*/ 949 w 1570"/>
                    <a:gd name="T49" fmla="*/ 617 h 1330"/>
                    <a:gd name="T50" fmla="*/ 881 w 1570"/>
                    <a:gd name="T51" fmla="*/ 666 h 1330"/>
                    <a:gd name="T52" fmla="*/ 826 w 1570"/>
                    <a:gd name="T53" fmla="*/ 600 h 1330"/>
                    <a:gd name="T54" fmla="*/ 751 w 1570"/>
                    <a:gd name="T55" fmla="*/ 560 h 1330"/>
                    <a:gd name="T56" fmla="*/ 777 w 1570"/>
                    <a:gd name="T57" fmla="*/ 489 h 1330"/>
                    <a:gd name="T58" fmla="*/ 760 w 1570"/>
                    <a:gd name="T59" fmla="*/ 432 h 1330"/>
                    <a:gd name="T60" fmla="*/ 777 w 1570"/>
                    <a:gd name="T61" fmla="*/ 354 h 1330"/>
                    <a:gd name="T62" fmla="*/ 789 w 1570"/>
                    <a:gd name="T63" fmla="*/ 305 h 1330"/>
                    <a:gd name="T64" fmla="*/ 1544 w 1570"/>
                    <a:gd name="T65" fmla="*/ 321 h 1330"/>
                    <a:gd name="T66" fmla="*/ 1570 w 1570"/>
                    <a:gd name="T67" fmla="*/ 350 h 1330"/>
                    <a:gd name="T68" fmla="*/ 1478 w 1570"/>
                    <a:gd name="T69" fmla="*/ 333 h 1330"/>
                    <a:gd name="T70" fmla="*/ 1495 w 1570"/>
                    <a:gd name="T71" fmla="*/ 378 h 1330"/>
                    <a:gd name="T72" fmla="*/ 1441 w 1570"/>
                    <a:gd name="T73" fmla="*/ 371 h 1330"/>
                    <a:gd name="T74" fmla="*/ 1356 w 1570"/>
                    <a:gd name="T75" fmla="*/ 416 h 1330"/>
                    <a:gd name="T76" fmla="*/ 1365 w 1570"/>
                    <a:gd name="T77" fmla="*/ 428 h 1330"/>
                    <a:gd name="T78" fmla="*/ 1372 w 1570"/>
                    <a:gd name="T79" fmla="*/ 432 h 1330"/>
                    <a:gd name="T80" fmla="*/ 1372 w 1570"/>
                    <a:gd name="T81" fmla="*/ 444 h 1330"/>
                    <a:gd name="T82" fmla="*/ 330 w 1570"/>
                    <a:gd name="T83" fmla="*/ 1202 h 1330"/>
                    <a:gd name="T84" fmla="*/ 309 w 1570"/>
                    <a:gd name="T85" fmla="*/ 1238 h 1330"/>
                    <a:gd name="T86" fmla="*/ 16 w 1570"/>
                    <a:gd name="T87" fmla="*/ 1238 h 1330"/>
                    <a:gd name="T88" fmla="*/ 21 w 1570"/>
                    <a:gd name="T89" fmla="*/ 1259 h 1330"/>
                    <a:gd name="T90" fmla="*/ 293 w 1570"/>
                    <a:gd name="T91" fmla="*/ 1243 h 1330"/>
                    <a:gd name="T92" fmla="*/ 271 w 1570"/>
                    <a:gd name="T93" fmla="*/ 1297 h 1330"/>
                    <a:gd name="T94" fmla="*/ 87 w 1570"/>
                    <a:gd name="T95" fmla="*/ 1276 h 1330"/>
                    <a:gd name="T96" fmla="*/ 125 w 1570"/>
                    <a:gd name="T97" fmla="*/ 1292 h 1330"/>
                    <a:gd name="T98" fmla="*/ 59 w 1570"/>
                    <a:gd name="T99" fmla="*/ 1297 h 1330"/>
                    <a:gd name="T100" fmla="*/ 59 w 1570"/>
                    <a:gd name="T101" fmla="*/ 1297 h 1330"/>
                    <a:gd name="T102" fmla="*/ 163 w 1570"/>
                    <a:gd name="T103" fmla="*/ 1304 h 1330"/>
                    <a:gd name="T104" fmla="*/ 196 w 1570"/>
                    <a:gd name="T105" fmla="*/ 1313 h 1330"/>
                    <a:gd name="T106" fmla="*/ 7 w 1570"/>
                    <a:gd name="T107" fmla="*/ 1330 h 1330"/>
                    <a:gd name="T108" fmla="*/ 7 w 1570"/>
                    <a:gd name="T109" fmla="*/ 133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70" h="1330">
                      <a:moveTo>
                        <a:pt x="789" y="305"/>
                      </a:moveTo>
                      <a:lnTo>
                        <a:pt x="793" y="300"/>
                      </a:lnTo>
                      <a:lnTo>
                        <a:pt x="793" y="284"/>
                      </a:lnTo>
                      <a:lnTo>
                        <a:pt x="793" y="251"/>
                      </a:lnTo>
                      <a:lnTo>
                        <a:pt x="789" y="239"/>
                      </a:lnTo>
                      <a:lnTo>
                        <a:pt x="826" y="210"/>
                      </a:lnTo>
                      <a:lnTo>
                        <a:pt x="843" y="189"/>
                      </a:lnTo>
                      <a:lnTo>
                        <a:pt x="815" y="184"/>
                      </a:lnTo>
                      <a:lnTo>
                        <a:pt x="810" y="156"/>
                      </a:lnTo>
                      <a:lnTo>
                        <a:pt x="772" y="156"/>
                      </a:lnTo>
                      <a:lnTo>
                        <a:pt x="772" y="168"/>
                      </a:lnTo>
                      <a:lnTo>
                        <a:pt x="756" y="173"/>
                      </a:lnTo>
                      <a:lnTo>
                        <a:pt x="734" y="168"/>
                      </a:lnTo>
                      <a:lnTo>
                        <a:pt x="701" y="173"/>
                      </a:lnTo>
                      <a:lnTo>
                        <a:pt x="696" y="168"/>
                      </a:lnTo>
                      <a:lnTo>
                        <a:pt x="708" y="151"/>
                      </a:lnTo>
                      <a:lnTo>
                        <a:pt x="696" y="139"/>
                      </a:lnTo>
                      <a:lnTo>
                        <a:pt x="654" y="156"/>
                      </a:lnTo>
                      <a:lnTo>
                        <a:pt x="647" y="168"/>
                      </a:lnTo>
                      <a:lnTo>
                        <a:pt x="647" y="151"/>
                      </a:lnTo>
                      <a:lnTo>
                        <a:pt x="670" y="123"/>
                      </a:lnTo>
                      <a:lnTo>
                        <a:pt x="647" y="135"/>
                      </a:lnTo>
                      <a:lnTo>
                        <a:pt x="663" y="118"/>
                      </a:lnTo>
                      <a:lnTo>
                        <a:pt x="654" y="123"/>
                      </a:lnTo>
                      <a:lnTo>
                        <a:pt x="647" y="118"/>
                      </a:lnTo>
                      <a:lnTo>
                        <a:pt x="654" y="118"/>
                      </a:lnTo>
                      <a:lnTo>
                        <a:pt x="663" y="95"/>
                      </a:lnTo>
                      <a:lnTo>
                        <a:pt x="642" y="111"/>
                      </a:lnTo>
                      <a:lnTo>
                        <a:pt x="642" y="95"/>
                      </a:lnTo>
                      <a:lnTo>
                        <a:pt x="647" y="83"/>
                      </a:lnTo>
                      <a:lnTo>
                        <a:pt x="633" y="95"/>
                      </a:lnTo>
                      <a:lnTo>
                        <a:pt x="633" y="66"/>
                      </a:lnTo>
                      <a:lnTo>
                        <a:pt x="626" y="78"/>
                      </a:lnTo>
                      <a:lnTo>
                        <a:pt x="626" y="57"/>
                      </a:lnTo>
                      <a:lnTo>
                        <a:pt x="647" y="40"/>
                      </a:lnTo>
                      <a:lnTo>
                        <a:pt x="663" y="45"/>
                      </a:lnTo>
                      <a:lnTo>
                        <a:pt x="685" y="28"/>
                      </a:lnTo>
                      <a:lnTo>
                        <a:pt x="696" y="24"/>
                      </a:lnTo>
                      <a:lnTo>
                        <a:pt x="718" y="0"/>
                      </a:lnTo>
                      <a:lnTo>
                        <a:pt x="722" y="7"/>
                      </a:lnTo>
                      <a:lnTo>
                        <a:pt x="751" y="7"/>
                      </a:lnTo>
                      <a:lnTo>
                        <a:pt x="760" y="24"/>
                      </a:lnTo>
                      <a:lnTo>
                        <a:pt x="777" y="24"/>
                      </a:lnTo>
                      <a:lnTo>
                        <a:pt x="777" y="24"/>
                      </a:lnTo>
                      <a:lnTo>
                        <a:pt x="789" y="12"/>
                      </a:lnTo>
                      <a:lnTo>
                        <a:pt x="848" y="24"/>
                      </a:lnTo>
                      <a:lnTo>
                        <a:pt x="864" y="12"/>
                      </a:lnTo>
                      <a:lnTo>
                        <a:pt x="869" y="24"/>
                      </a:lnTo>
                      <a:lnTo>
                        <a:pt x="956" y="28"/>
                      </a:lnTo>
                      <a:lnTo>
                        <a:pt x="1020" y="24"/>
                      </a:lnTo>
                      <a:lnTo>
                        <a:pt x="1048" y="40"/>
                      </a:lnTo>
                      <a:lnTo>
                        <a:pt x="1063" y="28"/>
                      </a:lnTo>
                      <a:lnTo>
                        <a:pt x="1112" y="45"/>
                      </a:lnTo>
                      <a:lnTo>
                        <a:pt x="1150" y="40"/>
                      </a:lnTo>
                      <a:lnTo>
                        <a:pt x="1171" y="45"/>
                      </a:lnTo>
                      <a:lnTo>
                        <a:pt x="1171" y="62"/>
                      </a:lnTo>
                      <a:lnTo>
                        <a:pt x="1221" y="66"/>
                      </a:lnTo>
                      <a:lnTo>
                        <a:pt x="1237" y="83"/>
                      </a:lnTo>
                      <a:lnTo>
                        <a:pt x="1247" y="83"/>
                      </a:lnTo>
                      <a:lnTo>
                        <a:pt x="1273" y="95"/>
                      </a:lnTo>
                      <a:lnTo>
                        <a:pt x="1318" y="95"/>
                      </a:lnTo>
                      <a:lnTo>
                        <a:pt x="1327" y="78"/>
                      </a:lnTo>
                      <a:lnTo>
                        <a:pt x="1365" y="95"/>
                      </a:lnTo>
                      <a:lnTo>
                        <a:pt x="1372" y="99"/>
                      </a:lnTo>
                      <a:lnTo>
                        <a:pt x="1372" y="118"/>
                      </a:lnTo>
                      <a:lnTo>
                        <a:pt x="1398" y="111"/>
                      </a:lnTo>
                      <a:lnTo>
                        <a:pt x="1410" y="123"/>
                      </a:lnTo>
                      <a:lnTo>
                        <a:pt x="1436" y="118"/>
                      </a:lnTo>
                      <a:lnTo>
                        <a:pt x="1452" y="123"/>
                      </a:lnTo>
                      <a:lnTo>
                        <a:pt x="1478" y="118"/>
                      </a:lnTo>
                      <a:lnTo>
                        <a:pt x="1495" y="118"/>
                      </a:lnTo>
                      <a:lnTo>
                        <a:pt x="1495" y="123"/>
                      </a:lnTo>
                      <a:lnTo>
                        <a:pt x="1507" y="123"/>
                      </a:lnTo>
                      <a:lnTo>
                        <a:pt x="1490" y="135"/>
                      </a:lnTo>
                      <a:lnTo>
                        <a:pt x="1495" y="151"/>
                      </a:lnTo>
                      <a:lnTo>
                        <a:pt x="1495" y="168"/>
                      </a:lnTo>
                      <a:lnTo>
                        <a:pt x="1436" y="206"/>
                      </a:lnTo>
                      <a:lnTo>
                        <a:pt x="1419" y="222"/>
                      </a:lnTo>
                      <a:lnTo>
                        <a:pt x="1344" y="239"/>
                      </a:lnTo>
                      <a:lnTo>
                        <a:pt x="1318" y="262"/>
                      </a:lnTo>
                      <a:lnTo>
                        <a:pt x="1334" y="267"/>
                      </a:lnTo>
                      <a:lnTo>
                        <a:pt x="1318" y="279"/>
                      </a:lnTo>
                      <a:lnTo>
                        <a:pt x="1318" y="279"/>
                      </a:lnTo>
                      <a:lnTo>
                        <a:pt x="1327" y="279"/>
                      </a:lnTo>
                      <a:lnTo>
                        <a:pt x="1311" y="279"/>
                      </a:lnTo>
                      <a:lnTo>
                        <a:pt x="1273" y="321"/>
                      </a:lnTo>
                      <a:lnTo>
                        <a:pt x="1247" y="371"/>
                      </a:lnTo>
                      <a:lnTo>
                        <a:pt x="1263" y="411"/>
                      </a:lnTo>
                      <a:lnTo>
                        <a:pt x="1289" y="432"/>
                      </a:lnTo>
                      <a:lnTo>
                        <a:pt x="1237" y="465"/>
                      </a:lnTo>
                      <a:lnTo>
                        <a:pt x="1209" y="522"/>
                      </a:lnTo>
                      <a:lnTo>
                        <a:pt x="1226" y="527"/>
                      </a:lnTo>
                      <a:lnTo>
                        <a:pt x="1183" y="527"/>
                      </a:lnTo>
                      <a:lnTo>
                        <a:pt x="1155" y="543"/>
                      </a:lnTo>
                      <a:lnTo>
                        <a:pt x="1129" y="600"/>
                      </a:lnTo>
                      <a:lnTo>
                        <a:pt x="1112" y="593"/>
                      </a:lnTo>
                      <a:lnTo>
                        <a:pt x="1079" y="610"/>
                      </a:lnTo>
                      <a:lnTo>
                        <a:pt x="1063" y="600"/>
                      </a:lnTo>
                      <a:lnTo>
                        <a:pt x="966" y="600"/>
                      </a:lnTo>
                      <a:lnTo>
                        <a:pt x="949" y="617"/>
                      </a:lnTo>
                      <a:lnTo>
                        <a:pt x="911" y="626"/>
                      </a:lnTo>
                      <a:lnTo>
                        <a:pt x="902" y="650"/>
                      </a:lnTo>
                      <a:lnTo>
                        <a:pt x="897" y="650"/>
                      </a:lnTo>
                      <a:lnTo>
                        <a:pt x="881" y="666"/>
                      </a:lnTo>
                      <a:lnTo>
                        <a:pt x="848" y="650"/>
                      </a:lnTo>
                      <a:lnTo>
                        <a:pt x="831" y="626"/>
                      </a:lnTo>
                      <a:lnTo>
                        <a:pt x="843" y="617"/>
                      </a:lnTo>
                      <a:lnTo>
                        <a:pt x="826" y="600"/>
                      </a:lnTo>
                      <a:lnTo>
                        <a:pt x="826" y="593"/>
                      </a:lnTo>
                      <a:lnTo>
                        <a:pt x="789" y="560"/>
                      </a:lnTo>
                      <a:lnTo>
                        <a:pt x="756" y="560"/>
                      </a:lnTo>
                      <a:lnTo>
                        <a:pt x="751" y="560"/>
                      </a:lnTo>
                      <a:lnTo>
                        <a:pt x="751" y="527"/>
                      </a:lnTo>
                      <a:lnTo>
                        <a:pt x="751" y="522"/>
                      </a:lnTo>
                      <a:lnTo>
                        <a:pt x="760" y="499"/>
                      </a:lnTo>
                      <a:lnTo>
                        <a:pt x="777" y="489"/>
                      </a:lnTo>
                      <a:lnTo>
                        <a:pt x="789" y="482"/>
                      </a:lnTo>
                      <a:lnTo>
                        <a:pt x="777" y="482"/>
                      </a:lnTo>
                      <a:lnTo>
                        <a:pt x="756" y="461"/>
                      </a:lnTo>
                      <a:lnTo>
                        <a:pt x="760" y="432"/>
                      </a:lnTo>
                      <a:lnTo>
                        <a:pt x="789" y="411"/>
                      </a:lnTo>
                      <a:lnTo>
                        <a:pt x="760" y="395"/>
                      </a:lnTo>
                      <a:lnTo>
                        <a:pt x="751" y="354"/>
                      </a:lnTo>
                      <a:lnTo>
                        <a:pt x="777" y="354"/>
                      </a:lnTo>
                      <a:lnTo>
                        <a:pt x="793" y="321"/>
                      </a:lnTo>
                      <a:lnTo>
                        <a:pt x="777" y="317"/>
                      </a:lnTo>
                      <a:lnTo>
                        <a:pt x="789" y="305"/>
                      </a:lnTo>
                      <a:lnTo>
                        <a:pt x="789" y="305"/>
                      </a:lnTo>
                      <a:lnTo>
                        <a:pt x="789" y="305"/>
                      </a:lnTo>
                      <a:close/>
                      <a:moveTo>
                        <a:pt x="1570" y="350"/>
                      </a:moveTo>
                      <a:lnTo>
                        <a:pt x="1544" y="333"/>
                      </a:lnTo>
                      <a:lnTo>
                        <a:pt x="1544" y="321"/>
                      </a:lnTo>
                      <a:lnTo>
                        <a:pt x="1566" y="321"/>
                      </a:lnTo>
                      <a:lnTo>
                        <a:pt x="1570" y="338"/>
                      </a:lnTo>
                      <a:lnTo>
                        <a:pt x="1570" y="350"/>
                      </a:lnTo>
                      <a:lnTo>
                        <a:pt x="1570" y="350"/>
                      </a:lnTo>
                      <a:lnTo>
                        <a:pt x="1570" y="350"/>
                      </a:lnTo>
                      <a:close/>
                      <a:moveTo>
                        <a:pt x="1441" y="371"/>
                      </a:moveTo>
                      <a:lnTo>
                        <a:pt x="1441" y="362"/>
                      </a:lnTo>
                      <a:lnTo>
                        <a:pt x="1478" y="333"/>
                      </a:lnTo>
                      <a:lnTo>
                        <a:pt x="1490" y="333"/>
                      </a:lnTo>
                      <a:lnTo>
                        <a:pt x="1495" y="350"/>
                      </a:lnTo>
                      <a:lnTo>
                        <a:pt x="1516" y="350"/>
                      </a:lnTo>
                      <a:lnTo>
                        <a:pt x="1495" y="378"/>
                      </a:lnTo>
                      <a:lnTo>
                        <a:pt x="1490" y="388"/>
                      </a:lnTo>
                      <a:lnTo>
                        <a:pt x="1462" y="378"/>
                      </a:lnTo>
                      <a:lnTo>
                        <a:pt x="1457" y="362"/>
                      </a:lnTo>
                      <a:lnTo>
                        <a:pt x="1441" y="371"/>
                      </a:lnTo>
                      <a:lnTo>
                        <a:pt x="1441" y="371"/>
                      </a:lnTo>
                      <a:lnTo>
                        <a:pt x="1441" y="371"/>
                      </a:lnTo>
                      <a:close/>
                      <a:moveTo>
                        <a:pt x="1365" y="428"/>
                      </a:moveTo>
                      <a:lnTo>
                        <a:pt x="1356" y="416"/>
                      </a:lnTo>
                      <a:lnTo>
                        <a:pt x="1365" y="411"/>
                      </a:lnTo>
                      <a:lnTo>
                        <a:pt x="1386" y="406"/>
                      </a:lnTo>
                      <a:lnTo>
                        <a:pt x="1386" y="411"/>
                      </a:lnTo>
                      <a:lnTo>
                        <a:pt x="1365" y="428"/>
                      </a:lnTo>
                      <a:lnTo>
                        <a:pt x="1365" y="428"/>
                      </a:lnTo>
                      <a:lnTo>
                        <a:pt x="1365" y="428"/>
                      </a:lnTo>
                      <a:close/>
                      <a:moveTo>
                        <a:pt x="1372" y="444"/>
                      </a:moveTo>
                      <a:lnTo>
                        <a:pt x="1372" y="432"/>
                      </a:lnTo>
                      <a:lnTo>
                        <a:pt x="1382" y="444"/>
                      </a:lnTo>
                      <a:lnTo>
                        <a:pt x="1372" y="444"/>
                      </a:lnTo>
                      <a:lnTo>
                        <a:pt x="1372" y="444"/>
                      </a:lnTo>
                      <a:lnTo>
                        <a:pt x="1372" y="444"/>
                      </a:lnTo>
                      <a:close/>
                      <a:moveTo>
                        <a:pt x="309" y="1238"/>
                      </a:moveTo>
                      <a:lnTo>
                        <a:pt x="302" y="1226"/>
                      </a:lnTo>
                      <a:lnTo>
                        <a:pt x="309" y="1219"/>
                      </a:lnTo>
                      <a:lnTo>
                        <a:pt x="330" y="1202"/>
                      </a:lnTo>
                      <a:lnTo>
                        <a:pt x="323" y="1226"/>
                      </a:lnTo>
                      <a:lnTo>
                        <a:pt x="309" y="1238"/>
                      </a:lnTo>
                      <a:lnTo>
                        <a:pt x="309" y="1238"/>
                      </a:lnTo>
                      <a:lnTo>
                        <a:pt x="309" y="1238"/>
                      </a:lnTo>
                      <a:close/>
                      <a:moveTo>
                        <a:pt x="21" y="1259"/>
                      </a:moveTo>
                      <a:lnTo>
                        <a:pt x="21" y="1264"/>
                      </a:lnTo>
                      <a:lnTo>
                        <a:pt x="7" y="1243"/>
                      </a:lnTo>
                      <a:lnTo>
                        <a:pt x="16" y="1238"/>
                      </a:lnTo>
                      <a:lnTo>
                        <a:pt x="33" y="1243"/>
                      </a:lnTo>
                      <a:lnTo>
                        <a:pt x="21" y="1259"/>
                      </a:lnTo>
                      <a:lnTo>
                        <a:pt x="21" y="1259"/>
                      </a:lnTo>
                      <a:lnTo>
                        <a:pt x="21" y="1259"/>
                      </a:lnTo>
                      <a:close/>
                      <a:moveTo>
                        <a:pt x="271" y="1297"/>
                      </a:moveTo>
                      <a:lnTo>
                        <a:pt x="264" y="1297"/>
                      </a:lnTo>
                      <a:lnTo>
                        <a:pt x="276" y="1280"/>
                      </a:lnTo>
                      <a:lnTo>
                        <a:pt x="293" y="1243"/>
                      </a:lnTo>
                      <a:lnTo>
                        <a:pt x="302" y="1243"/>
                      </a:lnTo>
                      <a:lnTo>
                        <a:pt x="302" y="1259"/>
                      </a:lnTo>
                      <a:lnTo>
                        <a:pt x="293" y="1280"/>
                      </a:lnTo>
                      <a:lnTo>
                        <a:pt x="271" y="1297"/>
                      </a:lnTo>
                      <a:lnTo>
                        <a:pt x="271" y="1297"/>
                      </a:lnTo>
                      <a:lnTo>
                        <a:pt x="271" y="1297"/>
                      </a:lnTo>
                      <a:close/>
                      <a:moveTo>
                        <a:pt x="104" y="1297"/>
                      </a:moveTo>
                      <a:lnTo>
                        <a:pt x="87" y="1276"/>
                      </a:lnTo>
                      <a:lnTo>
                        <a:pt x="108" y="1264"/>
                      </a:lnTo>
                      <a:lnTo>
                        <a:pt x="125" y="1259"/>
                      </a:lnTo>
                      <a:lnTo>
                        <a:pt x="141" y="1259"/>
                      </a:lnTo>
                      <a:lnTo>
                        <a:pt x="125" y="1292"/>
                      </a:lnTo>
                      <a:lnTo>
                        <a:pt x="104" y="1297"/>
                      </a:lnTo>
                      <a:lnTo>
                        <a:pt x="104" y="1297"/>
                      </a:lnTo>
                      <a:lnTo>
                        <a:pt x="104" y="1297"/>
                      </a:lnTo>
                      <a:close/>
                      <a:moveTo>
                        <a:pt x="59" y="1297"/>
                      </a:moveTo>
                      <a:lnTo>
                        <a:pt x="54" y="1292"/>
                      </a:lnTo>
                      <a:lnTo>
                        <a:pt x="59" y="1280"/>
                      </a:lnTo>
                      <a:lnTo>
                        <a:pt x="75" y="1292"/>
                      </a:lnTo>
                      <a:lnTo>
                        <a:pt x="59" y="1297"/>
                      </a:lnTo>
                      <a:lnTo>
                        <a:pt x="59" y="1297"/>
                      </a:lnTo>
                      <a:lnTo>
                        <a:pt x="59" y="1297"/>
                      </a:lnTo>
                      <a:close/>
                      <a:moveTo>
                        <a:pt x="179" y="1321"/>
                      </a:moveTo>
                      <a:lnTo>
                        <a:pt x="163" y="1304"/>
                      </a:lnTo>
                      <a:lnTo>
                        <a:pt x="167" y="1292"/>
                      </a:lnTo>
                      <a:lnTo>
                        <a:pt x="196" y="1292"/>
                      </a:lnTo>
                      <a:lnTo>
                        <a:pt x="196" y="1297"/>
                      </a:lnTo>
                      <a:lnTo>
                        <a:pt x="196" y="1313"/>
                      </a:lnTo>
                      <a:lnTo>
                        <a:pt x="179" y="1321"/>
                      </a:lnTo>
                      <a:lnTo>
                        <a:pt x="179" y="1321"/>
                      </a:lnTo>
                      <a:lnTo>
                        <a:pt x="179" y="1321"/>
                      </a:lnTo>
                      <a:close/>
                      <a:moveTo>
                        <a:pt x="7" y="1330"/>
                      </a:moveTo>
                      <a:lnTo>
                        <a:pt x="0" y="1321"/>
                      </a:lnTo>
                      <a:lnTo>
                        <a:pt x="16" y="1313"/>
                      </a:lnTo>
                      <a:lnTo>
                        <a:pt x="7" y="1330"/>
                      </a:lnTo>
                      <a:lnTo>
                        <a:pt x="7" y="1330"/>
                      </a:lnTo>
                      <a:lnTo>
                        <a:pt x="7" y="133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7" name="Gruppieren 6">
                  <a:extLst>
                    <a:ext uri="{FF2B5EF4-FFF2-40B4-BE49-F238E27FC236}">
                      <a16:creationId xmlns:a16="http://schemas.microsoft.com/office/drawing/2014/main" id="{6D4B2DE7-0E98-4C07-9E45-5943B56D21F4}"/>
                    </a:ext>
                  </a:extLst>
                </p:cNvPr>
                <p:cNvGrpSpPr/>
                <p:nvPr/>
              </p:nvGrpSpPr>
              <p:grpSpPr bwMode="gray">
                <a:xfrm>
                  <a:off x="1738441" y="692696"/>
                  <a:ext cx="10478239" cy="2293259"/>
                  <a:chOff x="1738441" y="692696"/>
                  <a:chExt cx="10478239" cy="2293259"/>
                </a:xfrm>
                <a:grpFill/>
              </p:grpSpPr>
              <p:sp>
                <p:nvSpPr>
                  <p:cNvPr id="7997" name="Freeform 473">
                    <a:extLst>
                      <a:ext uri="{FF2B5EF4-FFF2-40B4-BE49-F238E27FC236}">
                        <a16:creationId xmlns:a16="http://schemas.microsoft.com/office/drawing/2014/main" id="{487D9FAC-78BA-423E-B510-68E77AC90B4D}"/>
                      </a:ext>
                    </a:extLst>
                  </p:cNvPr>
                  <p:cNvSpPr>
                    <a:spLocks noEditPoints="1"/>
                  </p:cNvSpPr>
                  <p:nvPr/>
                </p:nvSpPr>
                <p:spPr bwMode="gray">
                  <a:xfrm>
                    <a:off x="6915603" y="2557357"/>
                    <a:ext cx="344568" cy="370544"/>
                  </a:xfrm>
                  <a:custGeom>
                    <a:avLst/>
                    <a:gdLst>
                      <a:gd name="T0" fmla="*/ 81 w 837"/>
                      <a:gd name="T1" fmla="*/ 259 h 900"/>
                      <a:gd name="T2" fmla="*/ 34 w 837"/>
                      <a:gd name="T3" fmla="*/ 193 h 900"/>
                      <a:gd name="T4" fmla="*/ 43 w 837"/>
                      <a:gd name="T5" fmla="*/ 148 h 900"/>
                      <a:gd name="T6" fmla="*/ 81 w 837"/>
                      <a:gd name="T7" fmla="*/ 99 h 900"/>
                      <a:gd name="T8" fmla="*/ 135 w 837"/>
                      <a:gd name="T9" fmla="*/ 54 h 900"/>
                      <a:gd name="T10" fmla="*/ 173 w 837"/>
                      <a:gd name="T11" fmla="*/ 111 h 900"/>
                      <a:gd name="T12" fmla="*/ 189 w 837"/>
                      <a:gd name="T13" fmla="*/ 54 h 900"/>
                      <a:gd name="T14" fmla="*/ 248 w 837"/>
                      <a:gd name="T15" fmla="*/ 75 h 900"/>
                      <a:gd name="T16" fmla="*/ 260 w 837"/>
                      <a:gd name="T17" fmla="*/ 37 h 900"/>
                      <a:gd name="T18" fmla="*/ 324 w 837"/>
                      <a:gd name="T19" fmla="*/ 4 h 900"/>
                      <a:gd name="T20" fmla="*/ 411 w 837"/>
                      <a:gd name="T21" fmla="*/ 26 h 900"/>
                      <a:gd name="T22" fmla="*/ 497 w 837"/>
                      <a:gd name="T23" fmla="*/ 75 h 900"/>
                      <a:gd name="T24" fmla="*/ 520 w 837"/>
                      <a:gd name="T25" fmla="*/ 127 h 900"/>
                      <a:gd name="T26" fmla="*/ 482 w 837"/>
                      <a:gd name="T27" fmla="*/ 127 h 900"/>
                      <a:gd name="T28" fmla="*/ 459 w 837"/>
                      <a:gd name="T29" fmla="*/ 127 h 900"/>
                      <a:gd name="T30" fmla="*/ 395 w 837"/>
                      <a:gd name="T31" fmla="*/ 165 h 900"/>
                      <a:gd name="T32" fmla="*/ 411 w 837"/>
                      <a:gd name="T33" fmla="*/ 203 h 900"/>
                      <a:gd name="T34" fmla="*/ 428 w 837"/>
                      <a:gd name="T35" fmla="*/ 276 h 900"/>
                      <a:gd name="T36" fmla="*/ 605 w 837"/>
                      <a:gd name="T37" fmla="*/ 458 h 900"/>
                      <a:gd name="T38" fmla="*/ 660 w 837"/>
                      <a:gd name="T39" fmla="*/ 496 h 900"/>
                      <a:gd name="T40" fmla="*/ 806 w 837"/>
                      <a:gd name="T41" fmla="*/ 623 h 900"/>
                      <a:gd name="T42" fmla="*/ 730 w 837"/>
                      <a:gd name="T43" fmla="*/ 585 h 900"/>
                      <a:gd name="T44" fmla="*/ 747 w 837"/>
                      <a:gd name="T45" fmla="*/ 668 h 900"/>
                      <a:gd name="T46" fmla="*/ 702 w 837"/>
                      <a:gd name="T47" fmla="*/ 751 h 900"/>
                      <a:gd name="T48" fmla="*/ 638 w 837"/>
                      <a:gd name="T49" fmla="*/ 789 h 900"/>
                      <a:gd name="T50" fmla="*/ 648 w 837"/>
                      <a:gd name="T51" fmla="*/ 734 h 900"/>
                      <a:gd name="T52" fmla="*/ 664 w 837"/>
                      <a:gd name="T53" fmla="*/ 668 h 900"/>
                      <a:gd name="T54" fmla="*/ 589 w 837"/>
                      <a:gd name="T55" fmla="*/ 595 h 900"/>
                      <a:gd name="T56" fmla="*/ 551 w 837"/>
                      <a:gd name="T57" fmla="*/ 552 h 900"/>
                      <a:gd name="T58" fmla="*/ 449 w 837"/>
                      <a:gd name="T59" fmla="*/ 512 h 900"/>
                      <a:gd name="T60" fmla="*/ 374 w 837"/>
                      <a:gd name="T61" fmla="*/ 441 h 900"/>
                      <a:gd name="T62" fmla="*/ 319 w 837"/>
                      <a:gd name="T63" fmla="*/ 404 h 900"/>
                      <a:gd name="T64" fmla="*/ 260 w 837"/>
                      <a:gd name="T65" fmla="*/ 292 h 900"/>
                      <a:gd name="T66" fmla="*/ 135 w 837"/>
                      <a:gd name="T67" fmla="*/ 248 h 900"/>
                      <a:gd name="T68" fmla="*/ 67 w 837"/>
                      <a:gd name="T69" fmla="*/ 292 h 900"/>
                      <a:gd name="T70" fmla="*/ 411 w 837"/>
                      <a:gd name="T71" fmla="*/ 276 h 900"/>
                      <a:gd name="T72" fmla="*/ 248 w 837"/>
                      <a:gd name="T73" fmla="*/ 375 h 900"/>
                      <a:gd name="T74" fmla="*/ 270 w 837"/>
                      <a:gd name="T75" fmla="*/ 387 h 900"/>
                      <a:gd name="T76" fmla="*/ 142 w 837"/>
                      <a:gd name="T77" fmla="*/ 541 h 900"/>
                      <a:gd name="T78" fmla="*/ 206 w 837"/>
                      <a:gd name="T79" fmla="*/ 541 h 900"/>
                      <a:gd name="T80" fmla="*/ 218 w 837"/>
                      <a:gd name="T81" fmla="*/ 611 h 900"/>
                      <a:gd name="T82" fmla="*/ 163 w 837"/>
                      <a:gd name="T83" fmla="*/ 706 h 900"/>
                      <a:gd name="T84" fmla="*/ 126 w 837"/>
                      <a:gd name="T85" fmla="*/ 696 h 900"/>
                      <a:gd name="T86" fmla="*/ 135 w 837"/>
                      <a:gd name="T87" fmla="*/ 640 h 900"/>
                      <a:gd name="T88" fmla="*/ 119 w 837"/>
                      <a:gd name="T89" fmla="*/ 569 h 900"/>
                      <a:gd name="T90" fmla="*/ 109 w 837"/>
                      <a:gd name="T91" fmla="*/ 569 h 900"/>
                      <a:gd name="T92" fmla="*/ 513 w 837"/>
                      <a:gd name="T93" fmla="*/ 557 h 900"/>
                      <a:gd name="T94" fmla="*/ 119 w 837"/>
                      <a:gd name="T95" fmla="*/ 685 h 900"/>
                      <a:gd name="T96" fmla="*/ 119 w 837"/>
                      <a:gd name="T97" fmla="*/ 696 h 900"/>
                      <a:gd name="T98" fmla="*/ 445 w 837"/>
                      <a:gd name="T99" fmla="*/ 779 h 900"/>
                      <a:gd name="T100" fmla="*/ 482 w 837"/>
                      <a:gd name="T101" fmla="*/ 779 h 900"/>
                      <a:gd name="T102" fmla="*/ 596 w 837"/>
                      <a:gd name="T103" fmla="*/ 772 h 900"/>
                      <a:gd name="T104" fmla="*/ 596 w 837"/>
                      <a:gd name="T105" fmla="*/ 829 h 900"/>
                      <a:gd name="T106" fmla="*/ 558 w 837"/>
                      <a:gd name="T107" fmla="*/ 890 h 900"/>
                      <a:gd name="T108" fmla="*/ 428 w 837"/>
                      <a:gd name="T109" fmla="*/ 817 h 900"/>
                      <a:gd name="T110" fmla="*/ 378 w 837"/>
                      <a:gd name="T111" fmla="*/ 890 h 900"/>
                      <a:gd name="T112" fmla="*/ 378 w 837"/>
                      <a:gd name="T113" fmla="*/ 89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7" h="900">
                        <a:moveTo>
                          <a:pt x="67" y="292"/>
                        </a:moveTo>
                        <a:lnTo>
                          <a:pt x="67" y="281"/>
                        </a:lnTo>
                        <a:lnTo>
                          <a:pt x="81" y="264"/>
                        </a:lnTo>
                        <a:lnTo>
                          <a:pt x="81" y="259"/>
                        </a:lnTo>
                        <a:lnTo>
                          <a:pt x="55" y="259"/>
                        </a:lnTo>
                        <a:lnTo>
                          <a:pt x="29" y="248"/>
                        </a:lnTo>
                        <a:lnTo>
                          <a:pt x="17" y="226"/>
                        </a:lnTo>
                        <a:lnTo>
                          <a:pt x="34" y="193"/>
                        </a:lnTo>
                        <a:lnTo>
                          <a:pt x="12" y="193"/>
                        </a:lnTo>
                        <a:lnTo>
                          <a:pt x="0" y="170"/>
                        </a:lnTo>
                        <a:lnTo>
                          <a:pt x="43" y="165"/>
                        </a:lnTo>
                        <a:lnTo>
                          <a:pt x="43" y="148"/>
                        </a:lnTo>
                        <a:lnTo>
                          <a:pt x="17" y="115"/>
                        </a:lnTo>
                        <a:lnTo>
                          <a:pt x="34" y="99"/>
                        </a:lnTo>
                        <a:lnTo>
                          <a:pt x="43" y="111"/>
                        </a:lnTo>
                        <a:lnTo>
                          <a:pt x="81" y="99"/>
                        </a:lnTo>
                        <a:lnTo>
                          <a:pt x="88" y="99"/>
                        </a:lnTo>
                        <a:lnTo>
                          <a:pt x="109" y="82"/>
                        </a:lnTo>
                        <a:lnTo>
                          <a:pt x="119" y="54"/>
                        </a:lnTo>
                        <a:lnTo>
                          <a:pt x="135" y="54"/>
                        </a:lnTo>
                        <a:lnTo>
                          <a:pt x="135" y="75"/>
                        </a:lnTo>
                        <a:lnTo>
                          <a:pt x="156" y="82"/>
                        </a:lnTo>
                        <a:lnTo>
                          <a:pt x="156" y="92"/>
                        </a:lnTo>
                        <a:lnTo>
                          <a:pt x="173" y="111"/>
                        </a:lnTo>
                        <a:lnTo>
                          <a:pt x="180" y="99"/>
                        </a:lnTo>
                        <a:lnTo>
                          <a:pt x="173" y="99"/>
                        </a:lnTo>
                        <a:lnTo>
                          <a:pt x="189" y="70"/>
                        </a:lnTo>
                        <a:lnTo>
                          <a:pt x="189" y="54"/>
                        </a:lnTo>
                        <a:lnTo>
                          <a:pt x="206" y="54"/>
                        </a:lnTo>
                        <a:lnTo>
                          <a:pt x="211" y="70"/>
                        </a:lnTo>
                        <a:lnTo>
                          <a:pt x="232" y="59"/>
                        </a:lnTo>
                        <a:lnTo>
                          <a:pt x="248" y="75"/>
                        </a:lnTo>
                        <a:lnTo>
                          <a:pt x="248" y="59"/>
                        </a:lnTo>
                        <a:lnTo>
                          <a:pt x="244" y="54"/>
                        </a:lnTo>
                        <a:lnTo>
                          <a:pt x="244" y="42"/>
                        </a:lnTo>
                        <a:lnTo>
                          <a:pt x="260" y="37"/>
                        </a:lnTo>
                        <a:lnTo>
                          <a:pt x="270" y="42"/>
                        </a:lnTo>
                        <a:lnTo>
                          <a:pt x="270" y="16"/>
                        </a:lnTo>
                        <a:lnTo>
                          <a:pt x="315" y="26"/>
                        </a:lnTo>
                        <a:lnTo>
                          <a:pt x="324" y="4"/>
                        </a:lnTo>
                        <a:lnTo>
                          <a:pt x="369" y="4"/>
                        </a:lnTo>
                        <a:lnTo>
                          <a:pt x="395" y="0"/>
                        </a:lnTo>
                        <a:lnTo>
                          <a:pt x="395" y="16"/>
                        </a:lnTo>
                        <a:lnTo>
                          <a:pt x="411" y="26"/>
                        </a:lnTo>
                        <a:lnTo>
                          <a:pt x="504" y="42"/>
                        </a:lnTo>
                        <a:lnTo>
                          <a:pt x="482" y="70"/>
                        </a:lnTo>
                        <a:lnTo>
                          <a:pt x="482" y="75"/>
                        </a:lnTo>
                        <a:lnTo>
                          <a:pt x="497" y="75"/>
                        </a:lnTo>
                        <a:lnTo>
                          <a:pt x="487" y="92"/>
                        </a:lnTo>
                        <a:lnTo>
                          <a:pt x="497" y="92"/>
                        </a:lnTo>
                        <a:lnTo>
                          <a:pt x="497" y="111"/>
                        </a:lnTo>
                        <a:lnTo>
                          <a:pt x="520" y="127"/>
                        </a:lnTo>
                        <a:lnTo>
                          <a:pt x="504" y="132"/>
                        </a:lnTo>
                        <a:lnTo>
                          <a:pt x="504" y="132"/>
                        </a:lnTo>
                        <a:lnTo>
                          <a:pt x="497" y="115"/>
                        </a:lnTo>
                        <a:lnTo>
                          <a:pt x="482" y="127"/>
                        </a:lnTo>
                        <a:lnTo>
                          <a:pt x="482" y="115"/>
                        </a:lnTo>
                        <a:lnTo>
                          <a:pt x="466" y="115"/>
                        </a:lnTo>
                        <a:lnTo>
                          <a:pt x="459" y="127"/>
                        </a:lnTo>
                        <a:lnTo>
                          <a:pt x="459" y="127"/>
                        </a:lnTo>
                        <a:lnTo>
                          <a:pt x="411" y="148"/>
                        </a:lnTo>
                        <a:lnTo>
                          <a:pt x="421" y="132"/>
                        </a:lnTo>
                        <a:lnTo>
                          <a:pt x="407" y="137"/>
                        </a:lnTo>
                        <a:lnTo>
                          <a:pt x="395" y="165"/>
                        </a:lnTo>
                        <a:lnTo>
                          <a:pt x="421" y="186"/>
                        </a:lnTo>
                        <a:lnTo>
                          <a:pt x="411" y="203"/>
                        </a:lnTo>
                        <a:lnTo>
                          <a:pt x="411" y="193"/>
                        </a:lnTo>
                        <a:lnTo>
                          <a:pt x="411" y="203"/>
                        </a:lnTo>
                        <a:lnTo>
                          <a:pt x="407" y="193"/>
                        </a:lnTo>
                        <a:lnTo>
                          <a:pt x="395" y="210"/>
                        </a:lnTo>
                        <a:lnTo>
                          <a:pt x="407" y="248"/>
                        </a:lnTo>
                        <a:lnTo>
                          <a:pt x="428" y="276"/>
                        </a:lnTo>
                        <a:lnTo>
                          <a:pt x="497" y="314"/>
                        </a:lnTo>
                        <a:lnTo>
                          <a:pt x="520" y="392"/>
                        </a:lnTo>
                        <a:lnTo>
                          <a:pt x="572" y="441"/>
                        </a:lnTo>
                        <a:lnTo>
                          <a:pt x="605" y="458"/>
                        </a:lnTo>
                        <a:lnTo>
                          <a:pt x="676" y="458"/>
                        </a:lnTo>
                        <a:lnTo>
                          <a:pt x="676" y="463"/>
                        </a:lnTo>
                        <a:lnTo>
                          <a:pt x="660" y="479"/>
                        </a:lnTo>
                        <a:lnTo>
                          <a:pt x="660" y="496"/>
                        </a:lnTo>
                        <a:lnTo>
                          <a:pt x="806" y="569"/>
                        </a:lnTo>
                        <a:lnTo>
                          <a:pt x="837" y="607"/>
                        </a:lnTo>
                        <a:lnTo>
                          <a:pt x="827" y="640"/>
                        </a:lnTo>
                        <a:lnTo>
                          <a:pt x="806" y="623"/>
                        </a:lnTo>
                        <a:lnTo>
                          <a:pt x="789" y="590"/>
                        </a:lnTo>
                        <a:lnTo>
                          <a:pt x="747" y="585"/>
                        </a:lnTo>
                        <a:lnTo>
                          <a:pt x="752" y="574"/>
                        </a:lnTo>
                        <a:lnTo>
                          <a:pt x="730" y="585"/>
                        </a:lnTo>
                        <a:lnTo>
                          <a:pt x="702" y="611"/>
                        </a:lnTo>
                        <a:lnTo>
                          <a:pt x="697" y="640"/>
                        </a:lnTo>
                        <a:lnTo>
                          <a:pt x="697" y="647"/>
                        </a:lnTo>
                        <a:lnTo>
                          <a:pt x="747" y="668"/>
                        </a:lnTo>
                        <a:lnTo>
                          <a:pt x="747" y="701"/>
                        </a:lnTo>
                        <a:lnTo>
                          <a:pt x="702" y="718"/>
                        </a:lnTo>
                        <a:lnTo>
                          <a:pt x="697" y="722"/>
                        </a:lnTo>
                        <a:lnTo>
                          <a:pt x="702" y="751"/>
                        </a:lnTo>
                        <a:lnTo>
                          <a:pt x="676" y="772"/>
                        </a:lnTo>
                        <a:lnTo>
                          <a:pt x="664" y="789"/>
                        </a:lnTo>
                        <a:lnTo>
                          <a:pt x="643" y="796"/>
                        </a:lnTo>
                        <a:lnTo>
                          <a:pt x="638" y="789"/>
                        </a:lnTo>
                        <a:lnTo>
                          <a:pt x="638" y="763"/>
                        </a:lnTo>
                        <a:lnTo>
                          <a:pt x="648" y="763"/>
                        </a:lnTo>
                        <a:lnTo>
                          <a:pt x="660" y="739"/>
                        </a:lnTo>
                        <a:lnTo>
                          <a:pt x="648" y="734"/>
                        </a:lnTo>
                        <a:lnTo>
                          <a:pt x="676" y="722"/>
                        </a:lnTo>
                        <a:lnTo>
                          <a:pt x="676" y="706"/>
                        </a:lnTo>
                        <a:lnTo>
                          <a:pt x="664" y="701"/>
                        </a:lnTo>
                        <a:lnTo>
                          <a:pt x="664" y="668"/>
                        </a:lnTo>
                        <a:lnTo>
                          <a:pt x="638" y="611"/>
                        </a:lnTo>
                        <a:lnTo>
                          <a:pt x="626" y="611"/>
                        </a:lnTo>
                        <a:lnTo>
                          <a:pt x="622" y="611"/>
                        </a:lnTo>
                        <a:lnTo>
                          <a:pt x="589" y="595"/>
                        </a:lnTo>
                        <a:lnTo>
                          <a:pt x="589" y="585"/>
                        </a:lnTo>
                        <a:lnTo>
                          <a:pt x="572" y="557"/>
                        </a:lnTo>
                        <a:lnTo>
                          <a:pt x="541" y="569"/>
                        </a:lnTo>
                        <a:lnTo>
                          <a:pt x="551" y="552"/>
                        </a:lnTo>
                        <a:lnTo>
                          <a:pt x="541" y="541"/>
                        </a:lnTo>
                        <a:lnTo>
                          <a:pt x="530" y="552"/>
                        </a:lnTo>
                        <a:lnTo>
                          <a:pt x="504" y="512"/>
                        </a:lnTo>
                        <a:lnTo>
                          <a:pt x="449" y="512"/>
                        </a:lnTo>
                        <a:lnTo>
                          <a:pt x="445" y="496"/>
                        </a:lnTo>
                        <a:lnTo>
                          <a:pt x="421" y="486"/>
                        </a:lnTo>
                        <a:lnTo>
                          <a:pt x="390" y="458"/>
                        </a:lnTo>
                        <a:lnTo>
                          <a:pt x="374" y="441"/>
                        </a:lnTo>
                        <a:lnTo>
                          <a:pt x="357" y="425"/>
                        </a:lnTo>
                        <a:lnTo>
                          <a:pt x="336" y="408"/>
                        </a:lnTo>
                        <a:lnTo>
                          <a:pt x="319" y="413"/>
                        </a:lnTo>
                        <a:lnTo>
                          <a:pt x="319" y="404"/>
                        </a:lnTo>
                        <a:lnTo>
                          <a:pt x="282" y="352"/>
                        </a:lnTo>
                        <a:lnTo>
                          <a:pt x="282" y="335"/>
                        </a:lnTo>
                        <a:lnTo>
                          <a:pt x="265" y="318"/>
                        </a:lnTo>
                        <a:lnTo>
                          <a:pt x="260" y="292"/>
                        </a:lnTo>
                        <a:lnTo>
                          <a:pt x="248" y="276"/>
                        </a:lnTo>
                        <a:lnTo>
                          <a:pt x="189" y="243"/>
                        </a:lnTo>
                        <a:lnTo>
                          <a:pt x="156" y="236"/>
                        </a:lnTo>
                        <a:lnTo>
                          <a:pt x="135" y="248"/>
                        </a:lnTo>
                        <a:lnTo>
                          <a:pt x="104" y="281"/>
                        </a:lnTo>
                        <a:lnTo>
                          <a:pt x="67" y="292"/>
                        </a:lnTo>
                        <a:lnTo>
                          <a:pt x="67" y="292"/>
                        </a:lnTo>
                        <a:lnTo>
                          <a:pt x="67" y="292"/>
                        </a:lnTo>
                        <a:close/>
                        <a:moveTo>
                          <a:pt x="411" y="276"/>
                        </a:moveTo>
                        <a:lnTo>
                          <a:pt x="411" y="281"/>
                        </a:lnTo>
                        <a:lnTo>
                          <a:pt x="421" y="276"/>
                        </a:lnTo>
                        <a:lnTo>
                          <a:pt x="411" y="276"/>
                        </a:lnTo>
                        <a:lnTo>
                          <a:pt x="411" y="276"/>
                        </a:lnTo>
                        <a:lnTo>
                          <a:pt x="411" y="276"/>
                        </a:lnTo>
                        <a:close/>
                        <a:moveTo>
                          <a:pt x="270" y="387"/>
                        </a:moveTo>
                        <a:lnTo>
                          <a:pt x="248" y="375"/>
                        </a:lnTo>
                        <a:lnTo>
                          <a:pt x="270" y="370"/>
                        </a:lnTo>
                        <a:lnTo>
                          <a:pt x="270" y="387"/>
                        </a:lnTo>
                        <a:lnTo>
                          <a:pt x="270" y="387"/>
                        </a:lnTo>
                        <a:lnTo>
                          <a:pt x="270" y="387"/>
                        </a:lnTo>
                        <a:close/>
                        <a:moveTo>
                          <a:pt x="109" y="569"/>
                        </a:moveTo>
                        <a:lnTo>
                          <a:pt x="119" y="536"/>
                        </a:lnTo>
                        <a:lnTo>
                          <a:pt x="126" y="541"/>
                        </a:lnTo>
                        <a:lnTo>
                          <a:pt x="142" y="541"/>
                        </a:lnTo>
                        <a:lnTo>
                          <a:pt x="189" y="512"/>
                        </a:lnTo>
                        <a:lnTo>
                          <a:pt x="211" y="519"/>
                        </a:lnTo>
                        <a:lnTo>
                          <a:pt x="218" y="536"/>
                        </a:lnTo>
                        <a:lnTo>
                          <a:pt x="206" y="541"/>
                        </a:lnTo>
                        <a:lnTo>
                          <a:pt x="211" y="541"/>
                        </a:lnTo>
                        <a:lnTo>
                          <a:pt x="227" y="574"/>
                        </a:lnTo>
                        <a:lnTo>
                          <a:pt x="211" y="595"/>
                        </a:lnTo>
                        <a:lnTo>
                          <a:pt x="218" y="611"/>
                        </a:lnTo>
                        <a:lnTo>
                          <a:pt x="211" y="696"/>
                        </a:lnTo>
                        <a:lnTo>
                          <a:pt x="173" y="680"/>
                        </a:lnTo>
                        <a:lnTo>
                          <a:pt x="173" y="701"/>
                        </a:lnTo>
                        <a:lnTo>
                          <a:pt x="163" y="706"/>
                        </a:lnTo>
                        <a:lnTo>
                          <a:pt x="152" y="706"/>
                        </a:lnTo>
                        <a:lnTo>
                          <a:pt x="135" y="696"/>
                        </a:lnTo>
                        <a:lnTo>
                          <a:pt x="126" y="706"/>
                        </a:lnTo>
                        <a:lnTo>
                          <a:pt x="126" y="696"/>
                        </a:lnTo>
                        <a:lnTo>
                          <a:pt x="135" y="696"/>
                        </a:lnTo>
                        <a:lnTo>
                          <a:pt x="126" y="668"/>
                        </a:lnTo>
                        <a:lnTo>
                          <a:pt x="135" y="640"/>
                        </a:lnTo>
                        <a:lnTo>
                          <a:pt x="135" y="640"/>
                        </a:lnTo>
                        <a:lnTo>
                          <a:pt x="142" y="630"/>
                        </a:lnTo>
                        <a:lnTo>
                          <a:pt x="126" y="630"/>
                        </a:lnTo>
                        <a:lnTo>
                          <a:pt x="135" y="590"/>
                        </a:lnTo>
                        <a:lnTo>
                          <a:pt x="119" y="569"/>
                        </a:lnTo>
                        <a:lnTo>
                          <a:pt x="109" y="569"/>
                        </a:lnTo>
                        <a:lnTo>
                          <a:pt x="109" y="569"/>
                        </a:lnTo>
                        <a:lnTo>
                          <a:pt x="109" y="569"/>
                        </a:lnTo>
                        <a:lnTo>
                          <a:pt x="109" y="569"/>
                        </a:lnTo>
                        <a:close/>
                        <a:moveTo>
                          <a:pt x="513" y="557"/>
                        </a:moveTo>
                        <a:lnTo>
                          <a:pt x="513" y="552"/>
                        </a:lnTo>
                        <a:lnTo>
                          <a:pt x="520" y="557"/>
                        </a:lnTo>
                        <a:lnTo>
                          <a:pt x="513" y="557"/>
                        </a:lnTo>
                        <a:lnTo>
                          <a:pt x="513" y="557"/>
                        </a:lnTo>
                        <a:lnTo>
                          <a:pt x="513" y="557"/>
                        </a:lnTo>
                        <a:close/>
                        <a:moveTo>
                          <a:pt x="119" y="696"/>
                        </a:moveTo>
                        <a:lnTo>
                          <a:pt x="119" y="685"/>
                        </a:lnTo>
                        <a:lnTo>
                          <a:pt x="119" y="685"/>
                        </a:lnTo>
                        <a:lnTo>
                          <a:pt x="119" y="696"/>
                        </a:lnTo>
                        <a:lnTo>
                          <a:pt x="119" y="696"/>
                        </a:lnTo>
                        <a:lnTo>
                          <a:pt x="119" y="696"/>
                        </a:lnTo>
                        <a:close/>
                        <a:moveTo>
                          <a:pt x="411" y="805"/>
                        </a:moveTo>
                        <a:lnTo>
                          <a:pt x="421" y="789"/>
                        </a:lnTo>
                        <a:lnTo>
                          <a:pt x="433" y="772"/>
                        </a:lnTo>
                        <a:lnTo>
                          <a:pt x="445" y="779"/>
                        </a:lnTo>
                        <a:lnTo>
                          <a:pt x="459" y="779"/>
                        </a:lnTo>
                        <a:lnTo>
                          <a:pt x="459" y="772"/>
                        </a:lnTo>
                        <a:lnTo>
                          <a:pt x="475" y="763"/>
                        </a:lnTo>
                        <a:lnTo>
                          <a:pt x="482" y="779"/>
                        </a:lnTo>
                        <a:lnTo>
                          <a:pt x="504" y="789"/>
                        </a:lnTo>
                        <a:lnTo>
                          <a:pt x="558" y="779"/>
                        </a:lnTo>
                        <a:lnTo>
                          <a:pt x="584" y="772"/>
                        </a:lnTo>
                        <a:lnTo>
                          <a:pt x="596" y="772"/>
                        </a:lnTo>
                        <a:lnTo>
                          <a:pt x="626" y="763"/>
                        </a:lnTo>
                        <a:lnTo>
                          <a:pt x="638" y="763"/>
                        </a:lnTo>
                        <a:lnTo>
                          <a:pt x="605" y="805"/>
                        </a:lnTo>
                        <a:lnTo>
                          <a:pt x="596" y="829"/>
                        </a:lnTo>
                        <a:lnTo>
                          <a:pt x="610" y="866"/>
                        </a:lnTo>
                        <a:lnTo>
                          <a:pt x="605" y="871"/>
                        </a:lnTo>
                        <a:lnTo>
                          <a:pt x="596" y="900"/>
                        </a:lnTo>
                        <a:lnTo>
                          <a:pt x="558" y="890"/>
                        </a:lnTo>
                        <a:lnTo>
                          <a:pt x="534" y="866"/>
                        </a:lnTo>
                        <a:lnTo>
                          <a:pt x="513" y="862"/>
                        </a:lnTo>
                        <a:lnTo>
                          <a:pt x="466" y="829"/>
                        </a:lnTo>
                        <a:lnTo>
                          <a:pt x="428" y="817"/>
                        </a:lnTo>
                        <a:lnTo>
                          <a:pt x="411" y="805"/>
                        </a:lnTo>
                        <a:lnTo>
                          <a:pt x="411" y="805"/>
                        </a:lnTo>
                        <a:lnTo>
                          <a:pt x="411" y="805"/>
                        </a:lnTo>
                        <a:close/>
                        <a:moveTo>
                          <a:pt x="378" y="890"/>
                        </a:moveTo>
                        <a:lnTo>
                          <a:pt x="378" y="883"/>
                        </a:lnTo>
                        <a:lnTo>
                          <a:pt x="390" y="883"/>
                        </a:lnTo>
                        <a:lnTo>
                          <a:pt x="378" y="890"/>
                        </a:lnTo>
                        <a:lnTo>
                          <a:pt x="378" y="890"/>
                        </a:lnTo>
                        <a:lnTo>
                          <a:pt x="378" y="89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02" name="Freeform 381">
                    <a:extLst>
                      <a:ext uri="{FF2B5EF4-FFF2-40B4-BE49-F238E27FC236}">
                        <a16:creationId xmlns:a16="http://schemas.microsoft.com/office/drawing/2014/main" id="{82427A35-F7E0-4290-AE23-9897CAB77C85}"/>
                      </a:ext>
                    </a:extLst>
                  </p:cNvPr>
                  <p:cNvSpPr>
                    <a:spLocks noEditPoints="1"/>
                  </p:cNvSpPr>
                  <p:nvPr/>
                </p:nvSpPr>
                <p:spPr bwMode="gray">
                  <a:xfrm>
                    <a:off x="8018468" y="2745923"/>
                    <a:ext cx="162609" cy="123515"/>
                  </a:xfrm>
                  <a:custGeom>
                    <a:avLst/>
                    <a:gdLst>
                      <a:gd name="T0" fmla="*/ 118 w 395"/>
                      <a:gd name="T1" fmla="*/ 229 h 300"/>
                      <a:gd name="T2" fmla="*/ 118 w 395"/>
                      <a:gd name="T3" fmla="*/ 212 h 300"/>
                      <a:gd name="T4" fmla="*/ 102 w 395"/>
                      <a:gd name="T5" fmla="*/ 196 h 300"/>
                      <a:gd name="T6" fmla="*/ 64 w 395"/>
                      <a:gd name="T7" fmla="*/ 168 h 300"/>
                      <a:gd name="T8" fmla="*/ 85 w 395"/>
                      <a:gd name="T9" fmla="*/ 139 h 300"/>
                      <a:gd name="T10" fmla="*/ 47 w 395"/>
                      <a:gd name="T11" fmla="*/ 99 h 300"/>
                      <a:gd name="T12" fmla="*/ 26 w 395"/>
                      <a:gd name="T13" fmla="*/ 73 h 300"/>
                      <a:gd name="T14" fmla="*/ 17 w 395"/>
                      <a:gd name="T15" fmla="*/ 45 h 300"/>
                      <a:gd name="T16" fmla="*/ 71 w 395"/>
                      <a:gd name="T17" fmla="*/ 45 h 300"/>
                      <a:gd name="T18" fmla="*/ 102 w 395"/>
                      <a:gd name="T19" fmla="*/ 57 h 300"/>
                      <a:gd name="T20" fmla="*/ 135 w 395"/>
                      <a:gd name="T21" fmla="*/ 61 h 300"/>
                      <a:gd name="T22" fmla="*/ 109 w 395"/>
                      <a:gd name="T23" fmla="*/ 28 h 300"/>
                      <a:gd name="T24" fmla="*/ 118 w 395"/>
                      <a:gd name="T25" fmla="*/ 0 h 300"/>
                      <a:gd name="T26" fmla="*/ 140 w 395"/>
                      <a:gd name="T27" fmla="*/ 0 h 300"/>
                      <a:gd name="T28" fmla="*/ 177 w 395"/>
                      <a:gd name="T29" fmla="*/ 45 h 300"/>
                      <a:gd name="T30" fmla="*/ 227 w 395"/>
                      <a:gd name="T31" fmla="*/ 57 h 300"/>
                      <a:gd name="T32" fmla="*/ 253 w 395"/>
                      <a:gd name="T33" fmla="*/ 23 h 300"/>
                      <a:gd name="T34" fmla="*/ 303 w 395"/>
                      <a:gd name="T35" fmla="*/ 40 h 300"/>
                      <a:gd name="T36" fmla="*/ 336 w 395"/>
                      <a:gd name="T37" fmla="*/ 94 h 300"/>
                      <a:gd name="T38" fmla="*/ 390 w 395"/>
                      <a:gd name="T39" fmla="*/ 118 h 300"/>
                      <a:gd name="T40" fmla="*/ 362 w 395"/>
                      <a:gd name="T41" fmla="*/ 134 h 300"/>
                      <a:gd name="T42" fmla="*/ 319 w 395"/>
                      <a:gd name="T43" fmla="*/ 205 h 300"/>
                      <a:gd name="T44" fmla="*/ 319 w 395"/>
                      <a:gd name="T45" fmla="*/ 222 h 300"/>
                      <a:gd name="T46" fmla="*/ 303 w 395"/>
                      <a:gd name="T47" fmla="*/ 246 h 300"/>
                      <a:gd name="T48" fmla="*/ 298 w 395"/>
                      <a:gd name="T49" fmla="*/ 229 h 300"/>
                      <a:gd name="T50" fmla="*/ 269 w 395"/>
                      <a:gd name="T51" fmla="*/ 300 h 300"/>
                      <a:gd name="T52" fmla="*/ 248 w 395"/>
                      <a:gd name="T53" fmla="*/ 279 h 300"/>
                      <a:gd name="T54" fmla="*/ 232 w 395"/>
                      <a:gd name="T55" fmla="*/ 250 h 300"/>
                      <a:gd name="T56" fmla="*/ 232 w 395"/>
                      <a:gd name="T57" fmla="*/ 222 h 300"/>
                      <a:gd name="T58" fmla="*/ 227 w 395"/>
                      <a:gd name="T59" fmla="*/ 184 h 300"/>
                      <a:gd name="T60" fmla="*/ 123 w 395"/>
                      <a:gd name="T61" fmla="*/ 250 h 300"/>
                      <a:gd name="T62" fmla="*/ 123 w 395"/>
                      <a:gd name="T63" fmla="*/ 250 h 300"/>
                      <a:gd name="T64" fmla="*/ 55 w 395"/>
                      <a:gd name="T65" fmla="*/ 99 h 300"/>
                      <a:gd name="T66" fmla="*/ 55 w 395"/>
                      <a:gd name="T67" fmla="*/ 111 h 300"/>
                      <a:gd name="T68" fmla="*/ 55 w 395"/>
                      <a:gd name="T69" fmla="*/ 111 h 300"/>
                      <a:gd name="T70" fmla="*/ 0 w 395"/>
                      <a:gd name="T71" fmla="*/ 189 h 300"/>
                      <a:gd name="T72" fmla="*/ 47 w 395"/>
                      <a:gd name="T73" fmla="*/ 205 h 300"/>
                      <a:gd name="T74" fmla="*/ 80 w 395"/>
                      <a:gd name="T75" fmla="*/ 212 h 300"/>
                      <a:gd name="T76" fmla="*/ 85 w 395"/>
                      <a:gd name="T77" fmla="*/ 229 h 300"/>
                      <a:gd name="T78" fmla="*/ 47 w 395"/>
                      <a:gd name="T79" fmla="*/ 246 h 300"/>
                      <a:gd name="T80" fmla="*/ 26 w 395"/>
                      <a:gd name="T81" fmla="*/ 229 h 300"/>
                      <a:gd name="T82" fmla="*/ 0 w 395"/>
                      <a:gd name="T83" fmla="*/ 18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5" h="300">
                        <a:moveTo>
                          <a:pt x="123" y="250"/>
                        </a:moveTo>
                        <a:lnTo>
                          <a:pt x="118" y="229"/>
                        </a:lnTo>
                        <a:lnTo>
                          <a:pt x="135" y="229"/>
                        </a:lnTo>
                        <a:lnTo>
                          <a:pt x="118" y="212"/>
                        </a:lnTo>
                        <a:lnTo>
                          <a:pt x="123" y="196"/>
                        </a:lnTo>
                        <a:lnTo>
                          <a:pt x="102" y="196"/>
                        </a:lnTo>
                        <a:lnTo>
                          <a:pt x="71" y="168"/>
                        </a:lnTo>
                        <a:lnTo>
                          <a:pt x="64" y="168"/>
                        </a:lnTo>
                        <a:lnTo>
                          <a:pt x="80" y="156"/>
                        </a:lnTo>
                        <a:lnTo>
                          <a:pt x="85" y="139"/>
                        </a:lnTo>
                        <a:lnTo>
                          <a:pt x="55" y="127"/>
                        </a:lnTo>
                        <a:lnTo>
                          <a:pt x="47" y="99"/>
                        </a:lnTo>
                        <a:lnTo>
                          <a:pt x="64" y="83"/>
                        </a:lnTo>
                        <a:lnTo>
                          <a:pt x="26" y="73"/>
                        </a:lnTo>
                        <a:lnTo>
                          <a:pt x="33" y="61"/>
                        </a:lnTo>
                        <a:lnTo>
                          <a:pt x="17" y="45"/>
                        </a:lnTo>
                        <a:lnTo>
                          <a:pt x="38" y="40"/>
                        </a:lnTo>
                        <a:lnTo>
                          <a:pt x="71" y="45"/>
                        </a:lnTo>
                        <a:lnTo>
                          <a:pt x="80" y="57"/>
                        </a:lnTo>
                        <a:lnTo>
                          <a:pt x="102" y="57"/>
                        </a:lnTo>
                        <a:lnTo>
                          <a:pt x="123" y="73"/>
                        </a:lnTo>
                        <a:lnTo>
                          <a:pt x="135" y="61"/>
                        </a:lnTo>
                        <a:lnTo>
                          <a:pt x="135" y="45"/>
                        </a:lnTo>
                        <a:lnTo>
                          <a:pt x="109" y="28"/>
                        </a:lnTo>
                        <a:lnTo>
                          <a:pt x="102" y="16"/>
                        </a:lnTo>
                        <a:lnTo>
                          <a:pt x="118" y="0"/>
                        </a:lnTo>
                        <a:lnTo>
                          <a:pt x="135" y="5"/>
                        </a:lnTo>
                        <a:lnTo>
                          <a:pt x="140" y="0"/>
                        </a:lnTo>
                        <a:lnTo>
                          <a:pt x="173" y="28"/>
                        </a:lnTo>
                        <a:lnTo>
                          <a:pt x="177" y="45"/>
                        </a:lnTo>
                        <a:lnTo>
                          <a:pt x="210" y="61"/>
                        </a:lnTo>
                        <a:lnTo>
                          <a:pt x="227" y="57"/>
                        </a:lnTo>
                        <a:lnTo>
                          <a:pt x="232" y="40"/>
                        </a:lnTo>
                        <a:lnTo>
                          <a:pt x="253" y="23"/>
                        </a:lnTo>
                        <a:lnTo>
                          <a:pt x="269" y="5"/>
                        </a:lnTo>
                        <a:lnTo>
                          <a:pt x="303" y="40"/>
                        </a:lnTo>
                        <a:lnTo>
                          <a:pt x="307" y="73"/>
                        </a:lnTo>
                        <a:lnTo>
                          <a:pt x="336" y="94"/>
                        </a:lnTo>
                        <a:lnTo>
                          <a:pt x="336" y="99"/>
                        </a:lnTo>
                        <a:lnTo>
                          <a:pt x="390" y="118"/>
                        </a:lnTo>
                        <a:lnTo>
                          <a:pt x="395" y="139"/>
                        </a:lnTo>
                        <a:lnTo>
                          <a:pt x="362" y="134"/>
                        </a:lnTo>
                        <a:lnTo>
                          <a:pt x="336" y="151"/>
                        </a:lnTo>
                        <a:lnTo>
                          <a:pt x="319" y="205"/>
                        </a:lnTo>
                        <a:lnTo>
                          <a:pt x="324" y="212"/>
                        </a:lnTo>
                        <a:lnTo>
                          <a:pt x="319" y="222"/>
                        </a:lnTo>
                        <a:lnTo>
                          <a:pt x="307" y="246"/>
                        </a:lnTo>
                        <a:lnTo>
                          <a:pt x="303" y="246"/>
                        </a:lnTo>
                        <a:lnTo>
                          <a:pt x="307" y="238"/>
                        </a:lnTo>
                        <a:lnTo>
                          <a:pt x="298" y="229"/>
                        </a:lnTo>
                        <a:lnTo>
                          <a:pt x="286" y="295"/>
                        </a:lnTo>
                        <a:lnTo>
                          <a:pt x="269" y="300"/>
                        </a:lnTo>
                        <a:lnTo>
                          <a:pt x="253" y="279"/>
                        </a:lnTo>
                        <a:lnTo>
                          <a:pt x="248" y="279"/>
                        </a:lnTo>
                        <a:lnTo>
                          <a:pt x="232" y="262"/>
                        </a:lnTo>
                        <a:lnTo>
                          <a:pt x="232" y="250"/>
                        </a:lnTo>
                        <a:lnTo>
                          <a:pt x="248" y="246"/>
                        </a:lnTo>
                        <a:lnTo>
                          <a:pt x="232" y="222"/>
                        </a:lnTo>
                        <a:lnTo>
                          <a:pt x="253" y="212"/>
                        </a:lnTo>
                        <a:lnTo>
                          <a:pt x="227" y="184"/>
                        </a:lnTo>
                        <a:lnTo>
                          <a:pt x="147" y="229"/>
                        </a:lnTo>
                        <a:lnTo>
                          <a:pt x="123" y="250"/>
                        </a:lnTo>
                        <a:lnTo>
                          <a:pt x="123" y="250"/>
                        </a:lnTo>
                        <a:lnTo>
                          <a:pt x="123" y="250"/>
                        </a:lnTo>
                        <a:close/>
                        <a:moveTo>
                          <a:pt x="55" y="111"/>
                        </a:moveTo>
                        <a:lnTo>
                          <a:pt x="55" y="99"/>
                        </a:lnTo>
                        <a:lnTo>
                          <a:pt x="55" y="99"/>
                        </a:lnTo>
                        <a:lnTo>
                          <a:pt x="55" y="111"/>
                        </a:lnTo>
                        <a:lnTo>
                          <a:pt x="55" y="111"/>
                        </a:lnTo>
                        <a:lnTo>
                          <a:pt x="55" y="111"/>
                        </a:lnTo>
                        <a:close/>
                        <a:moveTo>
                          <a:pt x="0" y="189"/>
                        </a:moveTo>
                        <a:lnTo>
                          <a:pt x="0" y="189"/>
                        </a:lnTo>
                        <a:lnTo>
                          <a:pt x="26" y="184"/>
                        </a:lnTo>
                        <a:lnTo>
                          <a:pt x="47" y="205"/>
                        </a:lnTo>
                        <a:lnTo>
                          <a:pt x="71" y="196"/>
                        </a:lnTo>
                        <a:lnTo>
                          <a:pt x="80" y="212"/>
                        </a:lnTo>
                        <a:lnTo>
                          <a:pt x="85" y="222"/>
                        </a:lnTo>
                        <a:lnTo>
                          <a:pt x="85" y="229"/>
                        </a:lnTo>
                        <a:lnTo>
                          <a:pt x="102" y="262"/>
                        </a:lnTo>
                        <a:lnTo>
                          <a:pt x="47" y="246"/>
                        </a:lnTo>
                        <a:lnTo>
                          <a:pt x="38" y="229"/>
                        </a:lnTo>
                        <a:lnTo>
                          <a:pt x="26" y="229"/>
                        </a:lnTo>
                        <a:lnTo>
                          <a:pt x="0" y="189"/>
                        </a:lnTo>
                        <a:lnTo>
                          <a:pt x="0" y="189"/>
                        </a:lnTo>
                        <a:lnTo>
                          <a:pt x="0" y="18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03" name="Freeform 382">
                    <a:extLst>
                      <a:ext uri="{FF2B5EF4-FFF2-40B4-BE49-F238E27FC236}">
                        <a16:creationId xmlns:a16="http://schemas.microsoft.com/office/drawing/2014/main" id="{97362FCE-1D95-4929-97E5-5B40274A3245}"/>
                      </a:ext>
                    </a:extLst>
                  </p:cNvPr>
                  <p:cNvSpPr>
                    <a:spLocks/>
                  </p:cNvSpPr>
                  <p:nvPr/>
                </p:nvSpPr>
                <p:spPr bwMode="gray">
                  <a:xfrm>
                    <a:off x="7281578" y="2717516"/>
                    <a:ext cx="51458" cy="106223"/>
                  </a:xfrm>
                  <a:custGeom>
                    <a:avLst/>
                    <a:gdLst>
                      <a:gd name="T0" fmla="*/ 7 w 125"/>
                      <a:gd name="T1" fmla="*/ 66 h 258"/>
                      <a:gd name="T2" fmla="*/ 7 w 125"/>
                      <a:gd name="T3" fmla="*/ 50 h 258"/>
                      <a:gd name="T4" fmla="*/ 0 w 125"/>
                      <a:gd name="T5" fmla="*/ 40 h 258"/>
                      <a:gd name="T6" fmla="*/ 33 w 125"/>
                      <a:gd name="T7" fmla="*/ 0 h 258"/>
                      <a:gd name="T8" fmla="*/ 37 w 125"/>
                      <a:gd name="T9" fmla="*/ 0 h 258"/>
                      <a:gd name="T10" fmla="*/ 37 w 125"/>
                      <a:gd name="T11" fmla="*/ 17 h 258"/>
                      <a:gd name="T12" fmla="*/ 54 w 125"/>
                      <a:gd name="T13" fmla="*/ 12 h 258"/>
                      <a:gd name="T14" fmla="*/ 71 w 125"/>
                      <a:gd name="T15" fmla="*/ 22 h 258"/>
                      <a:gd name="T16" fmla="*/ 92 w 125"/>
                      <a:gd name="T17" fmla="*/ 33 h 258"/>
                      <a:gd name="T18" fmla="*/ 92 w 125"/>
                      <a:gd name="T19" fmla="*/ 66 h 258"/>
                      <a:gd name="T20" fmla="*/ 87 w 125"/>
                      <a:gd name="T21" fmla="*/ 95 h 258"/>
                      <a:gd name="T22" fmla="*/ 92 w 125"/>
                      <a:gd name="T23" fmla="*/ 107 h 258"/>
                      <a:gd name="T24" fmla="*/ 87 w 125"/>
                      <a:gd name="T25" fmla="*/ 111 h 258"/>
                      <a:gd name="T26" fmla="*/ 96 w 125"/>
                      <a:gd name="T27" fmla="*/ 152 h 258"/>
                      <a:gd name="T28" fmla="*/ 108 w 125"/>
                      <a:gd name="T29" fmla="*/ 152 h 258"/>
                      <a:gd name="T30" fmla="*/ 125 w 125"/>
                      <a:gd name="T31" fmla="*/ 152 h 258"/>
                      <a:gd name="T32" fmla="*/ 125 w 125"/>
                      <a:gd name="T33" fmla="*/ 180 h 258"/>
                      <a:gd name="T34" fmla="*/ 108 w 125"/>
                      <a:gd name="T35" fmla="*/ 196 h 258"/>
                      <a:gd name="T36" fmla="*/ 96 w 125"/>
                      <a:gd name="T37" fmla="*/ 218 h 258"/>
                      <a:gd name="T38" fmla="*/ 75 w 125"/>
                      <a:gd name="T39" fmla="*/ 237 h 258"/>
                      <a:gd name="T40" fmla="*/ 87 w 125"/>
                      <a:gd name="T41" fmla="*/ 241 h 258"/>
                      <a:gd name="T42" fmla="*/ 71 w 125"/>
                      <a:gd name="T43" fmla="*/ 253 h 258"/>
                      <a:gd name="T44" fmla="*/ 75 w 125"/>
                      <a:gd name="T45" fmla="*/ 253 h 258"/>
                      <a:gd name="T46" fmla="*/ 71 w 125"/>
                      <a:gd name="T47" fmla="*/ 258 h 258"/>
                      <a:gd name="T48" fmla="*/ 54 w 125"/>
                      <a:gd name="T49" fmla="*/ 258 h 258"/>
                      <a:gd name="T50" fmla="*/ 45 w 125"/>
                      <a:gd name="T51" fmla="*/ 225 h 258"/>
                      <a:gd name="T52" fmla="*/ 16 w 125"/>
                      <a:gd name="T53" fmla="*/ 208 h 258"/>
                      <a:gd name="T54" fmla="*/ 0 w 125"/>
                      <a:gd name="T55" fmla="*/ 196 h 258"/>
                      <a:gd name="T56" fmla="*/ 16 w 125"/>
                      <a:gd name="T57" fmla="*/ 201 h 258"/>
                      <a:gd name="T58" fmla="*/ 16 w 125"/>
                      <a:gd name="T59" fmla="*/ 180 h 258"/>
                      <a:gd name="T60" fmla="*/ 7 w 125"/>
                      <a:gd name="T61" fmla="*/ 180 h 258"/>
                      <a:gd name="T62" fmla="*/ 7 w 125"/>
                      <a:gd name="T63" fmla="*/ 152 h 258"/>
                      <a:gd name="T64" fmla="*/ 16 w 125"/>
                      <a:gd name="T65" fmla="*/ 152 h 258"/>
                      <a:gd name="T66" fmla="*/ 16 w 125"/>
                      <a:gd name="T67" fmla="*/ 140 h 258"/>
                      <a:gd name="T68" fmla="*/ 16 w 125"/>
                      <a:gd name="T69" fmla="*/ 123 h 258"/>
                      <a:gd name="T70" fmla="*/ 16 w 125"/>
                      <a:gd name="T71" fmla="*/ 107 h 258"/>
                      <a:gd name="T72" fmla="*/ 21 w 125"/>
                      <a:gd name="T73" fmla="*/ 90 h 258"/>
                      <a:gd name="T74" fmla="*/ 21 w 125"/>
                      <a:gd name="T75" fmla="*/ 74 h 258"/>
                      <a:gd name="T76" fmla="*/ 7 w 125"/>
                      <a:gd name="T77" fmla="*/ 66 h 258"/>
                      <a:gd name="T78" fmla="*/ 7 w 125"/>
                      <a:gd name="T79" fmla="*/ 66 h 258"/>
                      <a:gd name="T80" fmla="*/ 7 w 125"/>
                      <a:gd name="T81" fmla="*/ 6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5" h="258">
                        <a:moveTo>
                          <a:pt x="7" y="66"/>
                        </a:moveTo>
                        <a:lnTo>
                          <a:pt x="7" y="50"/>
                        </a:lnTo>
                        <a:lnTo>
                          <a:pt x="0" y="40"/>
                        </a:lnTo>
                        <a:lnTo>
                          <a:pt x="33" y="0"/>
                        </a:lnTo>
                        <a:lnTo>
                          <a:pt x="37" y="0"/>
                        </a:lnTo>
                        <a:lnTo>
                          <a:pt x="37" y="17"/>
                        </a:lnTo>
                        <a:lnTo>
                          <a:pt x="54" y="12"/>
                        </a:lnTo>
                        <a:lnTo>
                          <a:pt x="71" y="22"/>
                        </a:lnTo>
                        <a:lnTo>
                          <a:pt x="92" y="33"/>
                        </a:lnTo>
                        <a:lnTo>
                          <a:pt x="92" y="66"/>
                        </a:lnTo>
                        <a:lnTo>
                          <a:pt x="87" y="95"/>
                        </a:lnTo>
                        <a:lnTo>
                          <a:pt x="92" y="107"/>
                        </a:lnTo>
                        <a:lnTo>
                          <a:pt x="87" y="111"/>
                        </a:lnTo>
                        <a:lnTo>
                          <a:pt x="96" y="152"/>
                        </a:lnTo>
                        <a:lnTo>
                          <a:pt x="108" y="152"/>
                        </a:lnTo>
                        <a:lnTo>
                          <a:pt x="125" y="152"/>
                        </a:lnTo>
                        <a:lnTo>
                          <a:pt x="125" y="180"/>
                        </a:lnTo>
                        <a:lnTo>
                          <a:pt x="108" y="196"/>
                        </a:lnTo>
                        <a:lnTo>
                          <a:pt x="96" y="218"/>
                        </a:lnTo>
                        <a:lnTo>
                          <a:pt x="75" y="237"/>
                        </a:lnTo>
                        <a:lnTo>
                          <a:pt x="87" y="241"/>
                        </a:lnTo>
                        <a:lnTo>
                          <a:pt x="71" y="253"/>
                        </a:lnTo>
                        <a:lnTo>
                          <a:pt x="75" y="253"/>
                        </a:lnTo>
                        <a:lnTo>
                          <a:pt x="71" y="258"/>
                        </a:lnTo>
                        <a:lnTo>
                          <a:pt x="54" y="258"/>
                        </a:lnTo>
                        <a:lnTo>
                          <a:pt x="45" y="225"/>
                        </a:lnTo>
                        <a:lnTo>
                          <a:pt x="16" y="208"/>
                        </a:lnTo>
                        <a:lnTo>
                          <a:pt x="0" y="196"/>
                        </a:lnTo>
                        <a:lnTo>
                          <a:pt x="16" y="201"/>
                        </a:lnTo>
                        <a:lnTo>
                          <a:pt x="16" y="180"/>
                        </a:lnTo>
                        <a:lnTo>
                          <a:pt x="7" y="180"/>
                        </a:lnTo>
                        <a:lnTo>
                          <a:pt x="7" y="152"/>
                        </a:lnTo>
                        <a:lnTo>
                          <a:pt x="16" y="152"/>
                        </a:lnTo>
                        <a:lnTo>
                          <a:pt x="16" y="140"/>
                        </a:lnTo>
                        <a:lnTo>
                          <a:pt x="16" y="123"/>
                        </a:lnTo>
                        <a:lnTo>
                          <a:pt x="16" y="107"/>
                        </a:lnTo>
                        <a:lnTo>
                          <a:pt x="21" y="90"/>
                        </a:lnTo>
                        <a:lnTo>
                          <a:pt x="21" y="74"/>
                        </a:lnTo>
                        <a:lnTo>
                          <a:pt x="7" y="66"/>
                        </a:lnTo>
                        <a:lnTo>
                          <a:pt x="7" y="66"/>
                        </a:lnTo>
                        <a:lnTo>
                          <a:pt x="7" y="6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04" name="Freeform 383">
                    <a:extLst>
                      <a:ext uri="{FF2B5EF4-FFF2-40B4-BE49-F238E27FC236}">
                        <a16:creationId xmlns:a16="http://schemas.microsoft.com/office/drawing/2014/main" id="{D7119484-56A5-466B-8440-47E7C02009FB}"/>
                      </a:ext>
                    </a:extLst>
                  </p:cNvPr>
                  <p:cNvSpPr>
                    <a:spLocks noEditPoints="1"/>
                  </p:cNvSpPr>
                  <p:nvPr/>
                </p:nvSpPr>
                <p:spPr bwMode="gray">
                  <a:xfrm>
                    <a:off x="7979772" y="2763216"/>
                    <a:ext cx="93037" cy="90577"/>
                  </a:xfrm>
                  <a:custGeom>
                    <a:avLst/>
                    <a:gdLst>
                      <a:gd name="T0" fmla="*/ 217 w 226"/>
                      <a:gd name="T1" fmla="*/ 208 h 220"/>
                      <a:gd name="T2" fmla="*/ 193 w 226"/>
                      <a:gd name="T3" fmla="*/ 220 h 220"/>
                      <a:gd name="T4" fmla="*/ 177 w 226"/>
                      <a:gd name="T5" fmla="*/ 187 h 220"/>
                      <a:gd name="T6" fmla="*/ 177 w 226"/>
                      <a:gd name="T7" fmla="*/ 180 h 220"/>
                      <a:gd name="T8" fmla="*/ 172 w 226"/>
                      <a:gd name="T9" fmla="*/ 170 h 220"/>
                      <a:gd name="T10" fmla="*/ 163 w 226"/>
                      <a:gd name="T11" fmla="*/ 152 h 220"/>
                      <a:gd name="T12" fmla="*/ 139 w 226"/>
                      <a:gd name="T13" fmla="*/ 163 h 220"/>
                      <a:gd name="T14" fmla="*/ 118 w 226"/>
                      <a:gd name="T15" fmla="*/ 142 h 220"/>
                      <a:gd name="T16" fmla="*/ 92 w 226"/>
                      <a:gd name="T17" fmla="*/ 147 h 220"/>
                      <a:gd name="T18" fmla="*/ 63 w 226"/>
                      <a:gd name="T19" fmla="*/ 114 h 220"/>
                      <a:gd name="T20" fmla="*/ 33 w 226"/>
                      <a:gd name="T21" fmla="*/ 114 h 220"/>
                      <a:gd name="T22" fmla="*/ 16 w 226"/>
                      <a:gd name="T23" fmla="*/ 107 h 220"/>
                      <a:gd name="T24" fmla="*/ 16 w 226"/>
                      <a:gd name="T25" fmla="*/ 107 h 220"/>
                      <a:gd name="T26" fmla="*/ 9 w 226"/>
                      <a:gd name="T27" fmla="*/ 85 h 220"/>
                      <a:gd name="T28" fmla="*/ 21 w 226"/>
                      <a:gd name="T29" fmla="*/ 52 h 220"/>
                      <a:gd name="T30" fmla="*/ 0 w 226"/>
                      <a:gd name="T31" fmla="*/ 17 h 220"/>
                      <a:gd name="T32" fmla="*/ 101 w 226"/>
                      <a:gd name="T33" fmla="*/ 12 h 220"/>
                      <a:gd name="T34" fmla="*/ 108 w 226"/>
                      <a:gd name="T35" fmla="*/ 0 h 220"/>
                      <a:gd name="T36" fmla="*/ 125 w 226"/>
                      <a:gd name="T37" fmla="*/ 17 h 220"/>
                      <a:gd name="T38" fmla="*/ 118 w 226"/>
                      <a:gd name="T39" fmla="*/ 29 h 220"/>
                      <a:gd name="T40" fmla="*/ 156 w 226"/>
                      <a:gd name="T41" fmla="*/ 41 h 220"/>
                      <a:gd name="T42" fmla="*/ 139 w 226"/>
                      <a:gd name="T43" fmla="*/ 57 h 220"/>
                      <a:gd name="T44" fmla="*/ 146 w 226"/>
                      <a:gd name="T45" fmla="*/ 85 h 220"/>
                      <a:gd name="T46" fmla="*/ 177 w 226"/>
                      <a:gd name="T47" fmla="*/ 97 h 220"/>
                      <a:gd name="T48" fmla="*/ 172 w 226"/>
                      <a:gd name="T49" fmla="*/ 114 h 220"/>
                      <a:gd name="T50" fmla="*/ 156 w 226"/>
                      <a:gd name="T51" fmla="*/ 126 h 220"/>
                      <a:gd name="T52" fmla="*/ 163 w 226"/>
                      <a:gd name="T53" fmla="*/ 126 h 220"/>
                      <a:gd name="T54" fmla="*/ 193 w 226"/>
                      <a:gd name="T55" fmla="*/ 152 h 220"/>
                      <a:gd name="T56" fmla="*/ 217 w 226"/>
                      <a:gd name="T57" fmla="*/ 152 h 220"/>
                      <a:gd name="T58" fmla="*/ 210 w 226"/>
                      <a:gd name="T59" fmla="*/ 170 h 220"/>
                      <a:gd name="T60" fmla="*/ 226 w 226"/>
                      <a:gd name="T61" fmla="*/ 187 h 220"/>
                      <a:gd name="T62" fmla="*/ 210 w 226"/>
                      <a:gd name="T63" fmla="*/ 187 h 220"/>
                      <a:gd name="T64" fmla="*/ 217 w 226"/>
                      <a:gd name="T65" fmla="*/ 208 h 220"/>
                      <a:gd name="T66" fmla="*/ 217 w 226"/>
                      <a:gd name="T67" fmla="*/ 208 h 220"/>
                      <a:gd name="T68" fmla="*/ 217 w 226"/>
                      <a:gd name="T69" fmla="*/ 208 h 220"/>
                      <a:gd name="T70" fmla="*/ 146 w 226"/>
                      <a:gd name="T71" fmla="*/ 69 h 220"/>
                      <a:gd name="T72" fmla="*/ 146 w 226"/>
                      <a:gd name="T73" fmla="*/ 57 h 220"/>
                      <a:gd name="T74" fmla="*/ 146 w 226"/>
                      <a:gd name="T75" fmla="*/ 57 h 220"/>
                      <a:gd name="T76" fmla="*/ 146 w 226"/>
                      <a:gd name="T77" fmla="*/ 69 h 220"/>
                      <a:gd name="T78" fmla="*/ 146 w 226"/>
                      <a:gd name="T79" fmla="*/ 69 h 220"/>
                      <a:gd name="T80" fmla="*/ 146 w 226"/>
                      <a:gd name="T81" fmla="*/ 6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6" h="220">
                        <a:moveTo>
                          <a:pt x="217" y="208"/>
                        </a:moveTo>
                        <a:lnTo>
                          <a:pt x="193" y="220"/>
                        </a:lnTo>
                        <a:lnTo>
                          <a:pt x="177" y="187"/>
                        </a:lnTo>
                        <a:lnTo>
                          <a:pt x="177" y="180"/>
                        </a:lnTo>
                        <a:lnTo>
                          <a:pt x="172" y="170"/>
                        </a:lnTo>
                        <a:lnTo>
                          <a:pt x="163" y="152"/>
                        </a:lnTo>
                        <a:lnTo>
                          <a:pt x="139" y="163"/>
                        </a:lnTo>
                        <a:lnTo>
                          <a:pt x="118" y="142"/>
                        </a:lnTo>
                        <a:lnTo>
                          <a:pt x="92" y="147"/>
                        </a:lnTo>
                        <a:lnTo>
                          <a:pt x="63" y="114"/>
                        </a:lnTo>
                        <a:lnTo>
                          <a:pt x="33" y="114"/>
                        </a:lnTo>
                        <a:lnTo>
                          <a:pt x="16" y="107"/>
                        </a:lnTo>
                        <a:lnTo>
                          <a:pt x="16" y="107"/>
                        </a:lnTo>
                        <a:lnTo>
                          <a:pt x="9" y="85"/>
                        </a:lnTo>
                        <a:lnTo>
                          <a:pt x="21" y="52"/>
                        </a:lnTo>
                        <a:lnTo>
                          <a:pt x="0" y="17"/>
                        </a:lnTo>
                        <a:lnTo>
                          <a:pt x="101" y="12"/>
                        </a:lnTo>
                        <a:lnTo>
                          <a:pt x="108" y="0"/>
                        </a:lnTo>
                        <a:lnTo>
                          <a:pt x="125" y="17"/>
                        </a:lnTo>
                        <a:lnTo>
                          <a:pt x="118" y="29"/>
                        </a:lnTo>
                        <a:lnTo>
                          <a:pt x="156" y="41"/>
                        </a:lnTo>
                        <a:lnTo>
                          <a:pt x="139" y="57"/>
                        </a:lnTo>
                        <a:lnTo>
                          <a:pt x="146" y="85"/>
                        </a:lnTo>
                        <a:lnTo>
                          <a:pt x="177" y="97"/>
                        </a:lnTo>
                        <a:lnTo>
                          <a:pt x="172" y="114"/>
                        </a:lnTo>
                        <a:lnTo>
                          <a:pt x="156" y="126"/>
                        </a:lnTo>
                        <a:lnTo>
                          <a:pt x="163" y="126"/>
                        </a:lnTo>
                        <a:lnTo>
                          <a:pt x="193" y="152"/>
                        </a:lnTo>
                        <a:lnTo>
                          <a:pt x="217" y="152"/>
                        </a:lnTo>
                        <a:lnTo>
                          <a:pt x="210" y="170"/>
                        </a:lnTo>
                        <a:lnTo>
                          <a:pt x="226" y="187"/>
                        </a:lnTo>
                        <a:lnTo>
                          <a:pt x="210" y="187"/>
                        </a:lnTo>
                        <a:lnTo>
                          <a:pt x="217" y="208"/>
                        </a:lnTo>
                        <a:lnTo>
                          <a:pt x="217" y="208"/>
                        </a:lnTo>
                        <a:lnTo>
                          <a:pt x="217" y="208"/>
                        </a:lnTo>
                        <a:close/>
                        <a:moveTo>
                          <a:pt x="146" y="69"/>
                        </a:moveTo>
                        <a:lnTo>
                          <a:pt x="146" y="57"/>
                        </a:lnTo>
                        <a:lnTo>
                          <a:pt x="146" y="57"/>
                        </a:lnTo>
                        <a:lnTo>
                          <a:pt x="146" y="69"/>
                        </a:lnTo>
                        <a:lnTo>
                          <a:pt x="146" y="69"/>
                        </a:lnTo>
                        <a:lnTo>
                          <a:pt x="146" y="6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05" name="Freeform 384">
                    <a:extLst>
                      <a:ext uri="{FF2B5EF4-FFF2-40B4-BE49-F238E27FC236}">
                        <a16:creationId xmlns:a16="http://schemas.microsoft.com/office/drawing/2014/main" id="{DDFE6910-08AE-4FA1-BE92-3D902F61916B}"/>
                      </a:ext>
                    </a:extLst>
                  </p:cNvPr>
                  <p:cNvSpPr>
                    <a:spLocks/>
                  </p:cNvSpPr>
                  <p:nvPr/>
                </p:nvSpPr>
                <p:spPr bwMode="gray">
                  <a:xfrm>
                    <a:off x="6766167" y="2717516"/>
                    <a:ext cx="12350" cy="6999"/>
                  </a:xfrm>
                  <a:custGeom>
                    <a:avLst/>
                    <a:gdLst>
                      <a:gd name="T0" fmla="*/ 0 w 30"/>
                      <a:gd name="T1" fmla="*/ 0 h 17"/>
                      <a:gd name="T2" fmla="*/ 30 w 30"/>
                      <a:gd name="T3" fmla="*/ 0 h 17"/>
                      <a:gd name="T4" fmla="*/ 30 w 30"/>
                      <a:gd name="T5" fmla="*/ 12 h 17"/>
                      <a:gd name="T6" fmla="*/ 0 w 30"/>
                      <a:gd name="T7" fmla="*/ 17 h 17"/>
                      <a:gd name="T8" fmla="*/ 0 w 30"/>
                      <a:gd name="T9" fmla="*/ 0 h 17"/>
                      <a:gd name="T10" fmla="*/ 0 w 30"/>
                      <a:gd name="T11" fmla="*/ 0 h 17"/>
                      <a:gd name="T12" fmla="*/ 0 w 30"/>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30" h="17">
                        <a:moveTo>
                          <a:pt x="0" y="0"/>
                        </a:moveTo>
                        <a:lnTo>
                          <a:pt x="30" y="0"/>
                        </a:lnTo>
                        <a:lnTo>
                          <a:pt x="30" y="12"/>
                        </a:lnTo>
                        <a:lnTo>
                          <a:pt x="0" y="17"/>
                        </a:lnTo>
                        <a:lnTo>
                          <a:pt x="0" y="0"/>
                        </a:lnTo>
                        <a:lnTo>
                          <a:pt x="0" y="0"/>
                        </a:lnTo>
                        <a:lnTo>
                          <a:pt x="0"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15" name="Freeform 393">
                    <a:extLst>
                      <a:ext uri="{FF2B5EF4-FFF2-40B4-BE49-F238E27FC236}">
                        <a16:creationId xmlns:a16="http://schemas.microsoft.com/office/drawing/2014/main" id="{14A7943B-8244-4F06-9406-C2CC9B8ACBD1}"/>
                      </a:ext>
                    </a:extLst>
                  </p:cNvPr>
                  <p:cNvSpPr>
                    <a:spLocks/>
                  </p:cNvSpPr>
                  <p:nvPr/>
                </p:nvSpPr>
                <p:spPr bwMode="gray">
                  <a:xfrm>
                    <a:off x="6799101" y="2384849"/>
                    <a:ext cx="111975" cy="79874"/>
                  </a:xfrm>
                  <a:custGeom>
                    <a:avLst/>
                    <a:gdLst>
                      <a:gd name="T0" fmla="*/ 255 w 272"/>
                      <a:gd name="T1" fmla="*/ 128 h 194"/>
                      <a:gd name="T2" fmla="*/ 239 w 272"/>
                      <a:gd name="T3" fmla="*/ 128 h 194"/>
                      <a:gd name="T4" fmla="*/ 222 w 272"/>
                      <a:gd name="T5" fmla="*/ 145 h 194"/>
                      <a:gd name="T6" fmla="*/ 222 w 272"/>
                      <a:gd name="T7" fmla="*/ 161 h 194"/>
                      <a:gd name="T8" fmla="*/ 239 w 272"/>
                      <a:gd name="T9" fmla="*/ 178 h 194"/>
                      <a:gd name="T10" fmla="*/ 227 w 272"/>
                      <a:gd name="T11" fmla="*/ 185 h 194"/>
                      <a:gd name="T12" fmla="*/ 206 w 272"/>
                      <a:gd name="T13" fmla="*/ 194 h 194"/>
                      <a:gd name="T14" fmla="*/ 189 w 272"/>
                      <a:gd name="T15" fmla="*/ 178 h 194"/>
                      <a:gd name="T16" fmla="*/ 163 w 272"/>
                      <a:gd name="T17" fmla="*/ 161 h 194"/>
                      <a:gd name="T18" fmla="*/ 163 w 272"/>
                      <a:gd name="T19" fmla="*/ 145 h 194"/>
                      <a:gd name="T20" fmla="*/ 163 w 272"/>
                      <a:gd name="T21" fmla="*/ 128 h 194"/>
                      <a:gd name="T22" fmla="*/ 163 w 272"/>
                      <a:gd name="T23" fmla="*/ 128 h 194"/>
                      <a:gd name="T24" fmla="*/ 137 w 272"/>
                      <a:gd name="T25" fmla="*/ 156 h 194"/>
                      <a:gd name="T26" fmla="*/ 113 w 272"/>
                      <a:gd name="T27" fmla="*/ 145 h 194"/>
                      <a:gd name="T28" fmla="*/ 113 w 272"/>
                      <a:gd name="T29" fmla="*/ 123 h 194"/>
                      <a:gd name="T30" fmla="*/ 83 w 272"/>
                      <a:gd name="T31" fmla="*/ 112 h 194"/>
                      <a:gd name="T32" fmla="*/ 76 w 272"/>
                      <a:gd name="T33" fmla="*/ 102 h 194"/>
                      <a:gd name="T34" fmla="*/ 54 w 272"/>
                      <a:gd name="T35" fmla="*/ 102 h 194"/>
                      <a:gd name="T36" fmla="*/ 45 w 272"/>
                      <a:gd name="T37" fmla="*/ 69 h 194"/>
                      <a:gd name="T38" fmla="*/ 21 w 272"/>
                      <a:gd name="T39" fmla="*/ 74 h 194"/>
                      <a:gd name="T40" fmla="*/ 7 w 272"/>
                      <a:gd name="T41" fmla="*/ 69 h 194"/>
                      <a:gd name="T42" fmla="*/ 0 w 272"/>
                      <a:gd name="T43" fmla="*/ 45 h 194"/>
                      <a:gd name="T44" fmla="*/ 59 w 272"/>
                      <a:gd name="T45" fmla="*/ 12 h 194"/>
                      <a:gd name="T46" fmla="*/ 59 w 272"/>
                      <a:gd name="T47" fmla="*/ 29 h 194"/>
                      <a:gd name="T48" fmla="*/ 76 w 272"/>
                      <a:gd name="T49" fmla="*/ 17 h 194"/>
                      <a:gd name="T50" fmla="*/ 92 w 272"/>
                      <a:gd name="T51" fmla="*/ 29 h 194"/>
                      <a:gd name="T52" fmla="*/ 120 w 272"/>
                      <a:gd name="T53" fmla="*/ 17 h 194"/>
                      <a:gd name="T54" fmla="*/ 120 w 272"/>
                      <a:gd name="T55" fmla="*/ 29 h 194"/>
                      <a:gd name="T56" fmla="*/ 120 w 272"/>
                      <a:gd name="T57" fmla="*/ 12 h 194"/>
                      <a:gd name="T58" fmla="*/ 130 w 272"/>
                      <a:gd name="T59" fmla="*/ 17 h 194"/>
                      <a:gd name="T60" fmla="*/ 130 w 272"/>
                      <a:gd name="T61" fmla="*/ 12 h 194"/>
                      <a:gd name="T62" fmla="*/ 137 w 272"/>
                      <a:gd name="T63" fmla="*/ 0 h 194"/>
                      <a:gd name="T64" fmla="*/ 146 w 272"/>
                      <a:gd name="T65" fmla="*/ 12 h 194"/>
                      <a:gd name="T66" fmla="*/ 163 w 272"/>
                      <a:gd name="T67" fmla="*/ 0 h 194"/>
                      <a:gd name="T68" fmla="*/ 168 w 272"/>
                      <a:gd name="T69" fmla="*/ 12 h 194"/>
                      <a:gd name="T70" fmla="*/ 175 w 272"/>
                      <a:gd name="T71" fmla="*/ 0 h 194"/>
                      <a:gd name="T72" fmla="*/ 189 w 272"/>
                      <a:gd name="T73" fmla="*/ 29 h 194"/>
                      <a:gd name="T74" fmla="*/ 206 w 272"/>
                      <a:gd name="T75" fmla="*/ 17 h 194"/>
                      <a:gd name="T76" fmla="*/ 227 w 272"/>
                      <a:gd name="T77" fmla="*/ 34 h 194"/>
                      <a:gd name="T78" fmla="*/ 217 w 272"/>
                      <a:gd name="T79" fmla="*/ 69 h 194"/>
                      <a:gd name="T80" fmla="*/ 222 w 272"/>
                      <a:gd name="T81" fmla="*/ 74 h 194"/>
                      <a:gd name="T82" fmla="*/ 243 w 272"/>
                      <a:gd name="T83" fmla="*/ 74 h 194"/>
                      <a:gd name="T84" fmla="*/ 260 w 272"/>
                      <a:gd name="T85" fmla="*/ 86 h 194"/>
                      <a:gd name="T86" fmla="*/ 272 w 272"/>
                      <a:gd name="T87" fmla="*/ 112 h 194"/>
                      <a:gd name="T88" fmla="*/ 255 w 272"/>
                      <a:gd name="T89" fmla="*/ 123 h 194"/>
                      <a:gd name="T90" fmla="*/ 255 w 272"/>
                      <a:gd name="T91" fmla="*/ 128 h 194"/>
                      <a:gd name="T92" fmla="*/ 255 w 272"/>
                      <a:gd name="T93" fmla="*/ 128 h 194"/>
                      <a:gd name="T94" fmla="*/ 255 w 272"/>
                      <a:gd name="T95" fmla="*/ 12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194">
                        <a:moveTo>
                          <a:pt x="255" y="128"/>
                        </a:moveTo>
                        <a:lnTo>
                          <a:pt x="239" y="128"/>
                        </a:lnTo>
                        <a:lnTo>
                          <a:pt x="222" y="145"/>
                        </a:lnTo>
                        <a:lnTo>
                          <a:pt x="222" y="161"/>
                        </a:lnTo>
                        <a:lnTo>
                          <a:pt x="239" y="178"/>
                        </a:lnTo>
                        <a:lnTo>
                          <a:pt x="227" y="185"/>
                        </a:lnTo>
                        <a:lnTo>
                          <a:pt x="206" y="194"/>
                        </a:lnTo>
                        <a:lnTo>
                          <a:pt x="189" y="178"/>
                        </a:lnTo>
                        <a:lnTo>
                          <a:pt x="163" y="161"/>
                        </a:lnTo>
                        <a:lnTo>
                          <a:pt x="163" y="145"/>
                        </a:lnTo>
                        <a:lnTo>
                          <a:pt x="163" y="128"/>
                        </a:lnTo>
                        <a:lnTo>
                          <a:pt x="163" y="128"/>
                        </a:lnTo>
                        <a:lnTo>
                          <a:pt x="137" y="156"/>
                        </a:lnTo>
                        <a:lnTo>
                          <a:pt x="113" y="145"/>
                        </a:lnTo>
                        <a:lnTo>
                          <a:pt x="113" y="123"/>
                        </a:lnTo>
                        <a:lnTo>
                          <a:pt x="83" y="112"/>
                        </a:lnTo>
                        <a:lnTo>
                          <a:pt x="76" y="102"/>
                        </a:lnTo>
                        <a:lnTo>
                          <a:pt x="54" y="102"/>
                        </a:lnTo>
                        <a:lnTo>
                          <a:pt x="45" y="69"/>
                        </a:lnTo>
                        <a:lnTo>
                          <a:pt x="21" y="74"/>
                        </a:lnTo>
                        <a:lnTo>
                          <a:pt x="7" y="69"/>
                        </a:lnTo>
                        <a:lnTo>
                          <a:pt x="0" y="45"/>
                        </a:lnTo>
                        <a:lnTo>
                          <a:pt x="59" y="12"/>
                        </a:lnTo>
                        <a:lnTo>
                          <a:pt x="59" y="29"/>
                        </a:lnTo>
                        <a:lnTo>
                          <a:pt x="76" y="17"/>
                        </a:lnTo>
                        <a:lnTo>
                          <a:pt x="92" y="29"/>
                        </a:lnTo>
                        <a:lnTo>
                          <a:pt x="120" y="17"/>
                        </a:lnTo>
                        <a:lnTo>
                          <a:pt x="120" y="29"/>
                        </a:lnTo>
                        <a:lnTo>
                          <a:pt x="120" y="12"/>
                        </a:lnTo>
                        <a:lnTo>
                          <a:pt x="130" y="17"/>
                        </a:lnTo>
                        <a:lnTo>
                          <a:pt x="130" y="12"/>
                        </a:lnTo>
                        <a:lnTo>
                          <a:pt x="137" y="0"/>
                        </a:lnTo>
                        <a:lnTo>
                          <a:pt x="146" y="12"/>
                        </a:lnTo>
                        <a:lnTo>
                          <a:pt x="163" y="0"/>
                        </a:lnTo>
                        <a:lnTo>
                          <a:pt x="168" y="12"/>
                        </a:lnTo>
                        <a:lnTo>
                          <a:pt x="175" y="0"/>
                        </a:lnTo>
                        <a:lnTo>
                          <a:pt x="189" y="29"/>
                        </a:lnTo>
                        <a:lnTo>
                          <a:pt x="206" y="17"/>
                        </a:lnTo>
                        <a:lnTo>
                          <a:pt x="227" y="34"/>
                        </a:lnTo>
                        <a:lnTo>
                          <a:pt x="217" y="69"/>
                        </a:lnTo>
                        <a:lnTo>
                          <a:pt x="222" y="74"/>
                        </a:lnTo>
                        <a:lnTo>
                          <a:pt x="243" y="74"/>
                        </a:lnTo>
                        <a:lnTo>
                          <a:pt x="260" y="86"/>
                        </a:lnTo>
                        <a:lnTo>
                          <a:pt x="272" y="112"/>
                        </a:lnTo>
                        <a:lnTo>
                          <a:pt x="255" y="123"/>
                        </a:lnTo>
                        <a:lnTo>
                          <a:pt x="255" y="128"/>
                        </a:lnTo>
                        <a:lnTo>
                          <a:pt x="255" y="128"/>
                        </a:lnTo>
                        <a:lnTo>
                          <a:pt x="255" y="12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30" name="Freeform 397">
                    <a:extLst>
                      <a:ext uri="{FF2B5EF4-FFF2-40B4-BE49-F238E27FC236}">
                        <a16:creationId xmlns:a16="http://schemas.microsoft.com/office/drawing/2014/main" id="{7C3BA6A2-788E-413B-AFC3-775FBA795E2D}"/>
                      </a:ext>
                    </a:extLst>
                  </p:cNvPr>
                  <p:cNvSpPr>
                    <a:spLocks/>
                  </p:cNvSpPr>
                  <p:nvPr/>
                </p:nvSpPr>
                <p:spPr bwMode="gray">
                  <a:xfrm>
                    <a:off x="7179484" y="2626114"/>
                    <a:ext cx="110739" cy="96341"/>
                  </a:xfrm>
                  <a:custGeom>
                    <a:avLst/>
                    <a:gdLst>
                      <a:gd name="T0" fmla="*/ 130 w 269"/>
                      <a:gd name="T1" fmla="*/ 192 h 234"/>
                      <a:gd name="T2" fmla="*/ 139 w 269"/>
                      <a:gd name="T3" fmla="*/ 192 h 234"/>
                      <a:gd name="T4" fmla="*/ 130 w 269"/>
                      <a:gd name="T5" fmla="*/ 187 h 234"/>
                      <a:gd name="T6" fmla="*/ 108 w 269"/>
                      <a:gd name="T7" fmla="*/ 170 h 234"/>
                      <a:gd name="T8" fmla="*/ 108 w 269"/>
                      <a:gd name="T9" fmla="*/ 154 h 234"/>
                      <a:gd name="T10" fmla="*/ 87 w 269"/>
                      <a:gd name="T11" fmla="*/ 137 h 234"/>
                      <a:gd name="T12" fmla="*/ 54 w 269"/>
                      <a:gd name="T13" fmla="*/ 109 h 234"/>
                      <a:gd name="T14" fmla="*/ 33 w 269"/>
                      <a:gd name="T15" fmla="*/ 92 h 234"/>
                      <a:gd name="T16" fmla="*/ 33 w 269"/>
                      <a:gd name="T17" fmla="*/ 76 h 234"/>
                      <a:gd name="T18" fmla="*/ 33 w 269"/>
                      <a:gd name="T19" fmla="*/ 59 h 234"/>
                      <a:gd name="T20" fmla="*/ 0 w 269"/>
                      <a:gd name="T21" fmla="*/ 38 h 234"/>
                      <a:gd name="T22" fmla="*/ 4 w 269"/>
                      <a:gd name="T23" fmla="*/ 5 h 234"/>
                      <a:gd name="T24" fmla="*/ 21 w 269"/>
                      <a:gd name="T25" fmla="*/ 0 h 234"/>
                      <a:gd name="T26" fmla="*/ 37 w 269"/>
                      <a:gd name="T27" fmla="*/ 22 h 234"/>
                      <a:gd name="T28" fmla="*/ 54 w 269"/>
                      <a:gd name="T29" fmla="*/ 0 h 234"/>
                      <a:gd name="T30" fmla="*/ 75 w 269"/>
                      <a:gd name="T31" fmla="*/ 0 h 234"/>
                      <a:gd name="T32" fmla="*/ 87 w 269"/>
                      <a:gd name="T33" fmla="*/ 0 h 234"/>
                      <a:gd name="T34" fmla="*/ 101 w 269"/>
                      <a:gd name="T35" fmla="*/ 5 h 234"/>
                      <a:gd name="T36" fmla="*/ 146 w 269"/>
                      <a:gd name="T37" fmla="*/ 17 h 234"/>
                      <a:gd name="T38" fmla="*/ 177 w 269"/>
                      <a:gd name="T39" fmla="*/ 5 h 234"/>
                      <a:gd name="T40" fmla="*/ 200 w 269"/>
                      <a:gd name="T41" fmla="*/ 17 h 234"/>
                      <a:gd name="T42" fmla="*/ 215 w 269"/>
                      <a:gd name="T43" fmla="*/ 22 h 234"/>
                      <a:gd name="T44" fmla="*/ 215 w 269"/>
                      <a:gd name="T45" fmla="*/ 26 h 234"/>
                      <a:gd name="T46" fmla="*/ 231 w 269"/>
                      <a:gd name="T47" fmla="*/ 26 h 234"/>
                      <a:gd name="T48" fmla="*/ 252 w 269"/>
                      <a:gd name="T49" fmla="*/ 26 h 234"/>
                      <a:gd name="T50" fmla="*/ 238 w 269"/>
                      <a:gd name="T51" fmla="*/ 76 h 234"/>
                      <a:gd name="T52" fmla="*/ 269 w 269"/>
                      <a:gd name="T53" fmla="*/ 97 h 234"/>
                      <a:gd name="T54" fmla="*/ 264 w 269"/>
                      <a:gd name="T55" fmla="*/ 109 h 234"/>
                      <a:gd name="T56" fmla="*/ 248 w 269"/>
                      <a:gd name="T57" fmla="*/ 109 h 234"/>
                      <a:gd name="T58" fmla="*/ 264 w 269"/>
                      <a:gd name="T59" fmla="*/ 130 h 234"/>
                      <a:gd name="T60" fmla="*/ 264 w 269"/>
                      <a:gd name="T61" fmla="*/ 147 h 234"/>
                      <a:gd name="T62" fmla="*/ 248 w 269"/>
                      <a:gd name="T63" fmla="*/ 147 h 234"/>
                      <a:gd name="T64" fmla="*/ 222 w 269"/>
                      <a:gd name="T65" fmla="*/ 147 h 234"/>
                      <a:gd name="T66" fmla="*/ 238 w 269"/>
                      <a:gd name="T67" fmla="*/ 163 h 234"/>
                      <a:gd name="T68" fmla="*/ 231 w 269"/>
                      <a:gd name="T69" fmla="*/ 170 h 234"/>
                      <a:gd name="T70" fmla="*/ 222 w 269"/>
                      <a:gd name="T71" fmla="*/ 163 h 234"/>
                      <a:gd name="T72" fmla="*/ 210 w 269"/>
                      <a:gd name="T73" fmla="*/ 170 h 234"/>
                      <a:gd name="T74" fmla="*/ 210 w 269"/>
                      <a:gd name="T75" fmla="*/ 187 h 234"/>
                      <a:gd name="T76" fmla="*/ 193 w 269"/>
                      <a:gd name="T77" fmla="*/ 192 h 234"/>
                      <a:gd name="T78" fmla="*/ 193 w 269"/>
                      <a:gd name="T79" fmla="*/ 208 h 234"/>
                      <a:gd name="T80" fmla="*/ 200 w 269"/>
                      <a:gd name="T81" fmla="*/ 225 h 234"/>
                      <a:gd name="T82" fmla="*/ 193 w 269"/>
                      <a:gd name="T83" fmla="*/ 234 h 234"/>
                      <a:gd name="T84" fmla="*/ 146 w 269"/>
                      <a:gd name="T85" fmla="*/ 203 h 234"/>
                      <a:gd name="T86" fmla="*/ 130 w 269"/>
                      <a:gd name="T87" fmla="*/ 203 h 234"/>
                      <a:gd name="T88" fmla="*/ 130 w 269"/>
                      <a:gd name="T89" fmla="*/ 192 h 234"/>
                      <a:gd name="T90" fmla="*/ 130 w 269"/>
                      <a:gd name="T91" fmla="*/ 192 h 234"/>
                      <a:gd name="T92" fmla="*/ 130 w 269"/>
                      <a:gd name="T93" fmla="*/ 19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9" h="234">
                        <a:moveTo>
                          <a:pt x="130" y="192"/>
                        </a:moveTo>
                        <a:lnTo>
                          <a:pt x="139" y="192"/>
                        </a:lnTo>
                        <a:lnTo>
                          <a:pt x="130" y="187"/>
                        </a:lnTo>
                        <a:lnTo>
                          <a:pt x="108" y="170"/>
                        </a:lnTo>
                        <a:lnTo>
                          <a:pt x="108" y="154"/>
                        </a:lnTo>
                        <a:lnTo>
                          <a:pt x="87" y="137"/>
                        </a:lnTo>
                        <a:lnTo>
                          <a:pt x="54" y="109"/>
                        </a:lnTo>
                        <a:lnTo>
                          <a:pt x="33" y="92"/>
                        </a:lnTo>
                        <a:lnTo>
                          <a:pt x="33" y="76"/>
                        </a:lnTo>
                        <a:lnTo>
                          <a:pt x="33" y="59"/>
                        </a:lnTo>
                        <a:lnTo>
                          <a:pt x="0" y="38"/>
                        </a:lnTo>
                        <a:lnTo>
                          <a:pt x="4" y="5"/>
                        </a:lnTo>
                        <a:lnTo>
                          <a:pt x="21" y="0"/>
                        </a:lnTo>
                        <a:lnTo>
                          <a:pt x="37" y="22"/>
                        </a:lnTo>
                        <a:lnTo>
                          <a:pt x="54" y="0"/>
                        </a:lnTo>
                        <a:lnTo>
                          <a:pt x="75" y="0"/>
                        </a:lnTo>
                        <a:lnTo>
                          <a:pt x="87" y="0"/>
                        </a:lnTo>
                        <a:lnTo>
                          <a:pt x="101" y="5"/>
                        </a:lnTo>
                        <a:lnTo>
                          <a:pt x="146" y="17"/>
                        </a:lnTo>
                        <a:lnTo>
                          <a:pt x="177" y="5"/>
                        </a:lnTo>
                        <a:lnTo>
                          <a:pt x="200" y="17"/>
                        </a:lnTo>
                        <a:lnTo>
                          <a:pt x="215" y="22"/>
                        </a:lnTo>
                        <a:lnTo>
                          <a:pt x="215" y="26"/>
                        </a:lnTo>
                        <a:lnTo>
                          <a:pt x="231" y="26"/>
                        </a:lnTo>
                        <a:lnTo>
                          <a:pt x="252" y="26"/>
                        </a:lnTo>
                        <a:lnTo>
                          <a:pt x="238" y="76"/>
                        </a:lnTo>
                        <a:lnTo>
                          <a:pt x="269" y="97"/>
                        </a:lnTo>
                        <a:lnTo>
                          <a:pt x="264" y="109"/>
                        </a:lnTo>
                        <a:lnTo>
                          <a:pt x="248" y="109"/>
                        </a:lnTo>
                        <a:lnTo>
                          <a:pt x="264" y="130"/>
                        </a:lnTo>
                        <a:lnTo>
                          <a:pt x="264" y="147"/>
                        </a:lnTo>
                        <a:lnTo>
                          <a:pt x="248" y="147"/>
                        </a:lnTo>
                        <a:lnTo>
                          <a:pt x="222" y="147"/>
                        </a:lnTo>
                        <a:lnTo>
                          <a:pt x="238" y="163"/>
                        </a:lnTo>
                        <a:lnTo>
                          <a:pt x="231" y="170"/>
                        </a:lnTo>
                        <a:lnTo>
                          <a:pt x="222" y="163"/>
                        </a:lnTo>
                        <a:lnTo>
                          <a:pt x="210" y="170"/>
                        </a:lnTo>
                        <a:lnTo>
                          <a:pt x="210" y="187"/>
                        </a:lnTo>
                        <a:lnTo>
                          <a:pt x="193" y="192"/>
                        </a:lnTo>
                        <a:lnTo>
                          <a:pt x="193" y="208"/>
                        </a:lnTo>
                        <a:lnTo>
                          <a:pt x="200" y="225"/>
                        </a:lnTo>
                        <a:lnTo>
                          <a:pt x="193" y="234"/>
                        </a:lnTo>
                        <a:lnTo>
                          <a:pt x="146" y="203"/>
                        </a:lnTo>
                        <a:lnTo>
                          <a:pt x="130" y="203"/>
                        </a:lnTo>
                        <a:lnTo>
                          <a:pt x="130" y="192"/>
                        </a:lnTo>
                        <a:lnTo>
                          <a:pt x="130" y="192"/>
                        </a:lnTo>
                        <a:lnTo>
                          <a:pt x="130" y="19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37" name="Freeform 401">
                    <a:extLst>
                      <a:ext uri="{FF2B5EF4-FFF2-40B4-BE49-F238E27FC236}">
                        <a16:creationId xmlns:a16="http://schemas.microsoft.com/office/drawing/2014/main" id="{E2459C36-FCAB-4236-9AFF-CC20D1BCC227}"/>
                      </a:ext>
                    </a:extLst>
                  </p:cNvPr>
                  <p:cNvSpPr>
                    <a:spLocks/>
                  </p:cNvSpPr>
                  <p:nvPr/>
                </p:nvSpPr>
                <p:spPr bwMode="gray">
                  <a:xfrm>
                    <a:off x="7395200" y="2198342"/>
                    <a:ext cx="279112" cy="197212"/>
                  </a:xfrm>
                  <a:custGeom>
                    <a:avLst/>
                    <a:gdLst>
                      <a:gd name="T0" fmla="*/ 26 w 678"/>
                      <a:gd name="T1" fmla="*/ 442 h 479"/>
                      <a:gd name="T2" fmla="*/ 0 w 678"/>
                      <a:gd name="T3" fmla="*/ 376 h 479"/>
                      <a:gd name="T4" fmla="*/ 52 w 678"/>
                      <a:gd name="T5" fmla="*/ 338 h 479"/>
                      <a:gd name="T6" fmla="*/ 26 w 678"/>
                      <a:gd name="T7" fmla="*/ 220 h 479"/>
                      <a:gd name="T8" fmla="*/ 85 w 678"/>
                      <a:gd name="T9" fmla="*/ 227 h 479"/>
                      <a:gd name="T10" fmla="*/ 118 w 678"/>
                      <a:gd name="T11" fmla="*/ 220 h 479"/>
                      <a:gd name="T12" fmla="*/ 135 w 678"/>
                      <a:gd name="T13" fmla="*/ 203 h 479"/>
                      <a:gd name="T14" fmla="*/ 172 w 678"/>
                      <a:gd name="T15" fmla="*/ 187 h 479"/>
                      <a:gd name="T16" fmla="*/ 177 w 678"/>
                      <a:gd name="T17" fmla="*/ 194 h 479"/>
                      <a:gd name="T18" fmla="*/ 161 w 678"/>
                      <a:gd name="T19" fmla="*/ 177 h 479"/>
                      <a:gd name="T20" fmla="*/ 177 w 678"/>
                      <a:gd name="T21" fmla="*/ 120 h 479"/>
                      <a:gd name="T22" fmla="*/ 215 w 678"/>
                      <a:gd name="T23" fmla="*/ 99 h 479"/>
                      <a:gd name="T24" fmla="*/ 253 w 678"/>
                      <a:gd name="T25" fmla="*/ 83 h 479"/>
                      <a:gd name="T26" fmla="*/ 243 w 678"/>
                      <a:gd name="T27" fmla="*/ 45 h 479"/>
                      <a:gd name="T28" fmla="*/ 265 w 678"/>
                      <a:gd name="T29" fmla="*/ 28 h 479"/>
                      <a:gd name="T30" fmla="*/ 307 w 678"/>
                      <a:gd name="T31" fmla="*/ 21 h 479"/>
                      <a:gd name="T32" fmla="*/ 352 w 678"/>
                      <a:gd name="T33" fmla="*/ 0 h 479"/>
                      <a:gd name="T34" fmla="*/ 378 w 678"/>
                      <a:gd name="T35" fmla="*/ 5 h 479"/>
                      <a:gd name="T36" fmla="*/ 411 w 678"/>
                      <a:gd name="T37" fmla="*/ 12 h 479"/>
                      <a:gd name="T38" fmla="*/ 444 w 678"/>
                      <a:gd name="T39" fmla="*/ 21 h 479"/>
                      <a:gd name="T40" fmla="*/ 444 w 678"/>
                      <a:gd name="T41" fmla="*/ 45 h 479"/>
                      <a:gd name="T42" fmla="*/ 498 w 678"/>
                      <a:gd name="T43" fmla="*/ 28 h 479"/>
                      <a:gd name="T44" fmla="*/ 536 w 678"/>
                      <a:gd name="T45" fmla="*/ 54 h 479"/>
                      <a:gd name="T46" fmla="*/ 541 w 678"/>
                      <a:gd name="T47" fmla="*/ 78 h 479"/>
                      <a:gd name="T48" fmla="*/ 553 w 678"/>
                      <a:gd name="T49" fmla="*/ 111 h 479"/>
                      <a:gd name="T50" fmla="*/ 557 w 678"/>
                      <a:gd name="T51" fmla="*/ 149 h 479"/>
                      <a:gd name="T52" fmla="*/ 569 w 678"/>
                      <a:gd name="T53" fmla="*/ 170 h 479"/>
                      <a:gd name="T54" fmla="*/ 612 w 678"/>
                      <a:gd name="T55" fmla="*/ 203 h 479"/>
                      <a:gd name="T56" fmla="*/ 628 w 678"/>
                      <a:gd name="T57" fmla="*/ 231 h 479"/>
                      <a:gd name="T58" fmla="*/ 661 w 678"/>
                      <a:gd name="T59" fmla="*/ 243 h 479"/>
                      <a:gd name="T60" fmla="*/ 650 w 678"/>
                      <a:gd name="T61" fmla="*/ 260 h 479"/>
                      <a:gd name="T62" fmla="*/ 666 w 678"/>
                      <a:gd name="T63" fmla="*/ 276 h 479"/>
                      <a:gd name="T64" fmla="*/ 579 w 678"/>
                      <a:gd name="T65" fmla="*/ 288 h 479"/>
                      <a:gd name="T66" fmla="*/ 591 w 678"/>
                      <a:gd name="T67" fmla="*/ 331 h 479"/>
                      <a:gd name="T68" fmla="*/ 591 w 678"/>
                      <a:gd name="T69" fmla="*/ 354 h 479"/>
                      <a:gd name="T70" fmla="*/ 607 w 678"/>
                      <a:gd name="T71" fmla="*/ 397 h 479"/>
                      <a:gd name="T72" fmla="*/ 541 w 678"/>
                      <a:gd name="T73" fmla="*/ 409 h 479"/>
                      <a:gd name="T74" fmla="*/ 520 w 678"/>
                      <a:gd name="T75" fmla="*/ 442 h 479"/>
                      <a:gd name="T76" fmla="*/ 520 w 678"/>
                      <a:gd name="T77" fmla="*/ 479 h 479"/>
                      <a:gd name="T78" fmla="*/ 465 w 678"/>
                      <a:gd name="T79" fmla="*/ 463 h 479"/>
                      <a:gd name="T80" fmla="*/ 432 w 678"/>
                      <a:gd name="T81" fmla="*/ 463 h 479"/>
                      <a:gd name="T82" fmla="*/ 395 w 678"/>
                      <a:gd name="T83" fmla="*/ 446 h 479"/>
                      <a:gd name="T84" fmla="*/ 378 w 678"/>
                      <a:gd name="T85" fmla="*/ 446 h 479"/>
                      <a:gd name="T86" fmla="*/ 357 w 678"/>
                      <a:gd name="T87" fmla="*/ 442 h 479"/>
                      <a:gd name="T88" fmla="*/ 324 w 678"/>
                      <a:gd name="T89" fmla="*/ 442 h 479"/>
                      <a:gd name="T90" fmla="*/ 319 w 678"/>
                      <a:gd name="T91" fmla="*/ 453 h 479"/>
                      <a:gd name="T92" fmla="*/ 286 w 678"/>
                      <a:gd name="T93" fmla="*/ 446 h 479"/>
                      <a:gd name="T94" fmla="*/ 177 w 678"/>
                      <a:gd name="T95" fmla="*/ 413 h 479"/>
                      <a:gd name="T96" fmla="*/ 64 w 678"/>
                      <a:gd name="T97" fmla="*/ 446 h 479"/>
                      <a:gd name="T98" fmla="*/ 31 w 678"/>
                      <a:gd name="T99" fmla="*/ 453 h 479"/>
                      <a:gd name="T100" fmla="*/ 31 w 678"/>
                      <a:gd name="T101" fmla="*/ 45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8" h="479">
                        <a:moveTo>
                          <a:pt x="31" y="453"/>
                        </a:moveTo>
                        <a:lnTo>
                          <a:pt x="26" y="442"/>
                        </a:lnTo>
                        <a:lnTo>
                          <a:pt x="31" y="397"/>
                        </a:lnTo>
                        <a:lnTo>
                          <a:pt x="0" y="376"/>
                        </a:lnTo>
                        <a:lnTo>
                          <a:pt x="14" y="359"/>
                        </a:lnTo>
                        <a:lnTo>
                          <a:pt x="52" y="338"/>
                        </a:lnTo>
                        <a:lnTo>
                          <a:pt x="52" y="305"/>
                        </a:lnTo>
                        <a:lnTo>
                          <a:pt x="26" y="220"/>
                        </a:lnTo>
                        <a:lnTo>
                          <a:pt x="69" y="220"/>
                        </a:lnTo>
                        <a:lnTo>
                          <a:pt x="85" y="227"/>
                        </a:lnTo>
                        <a:lnTo>
                          <a:pt x="102" y="210"/>
                        </a:lnTo>
                        <a:lnTo>
                          <a:pt x="118" y="220"/>
                        </a:lnTo>
                        <a:lnTo>
                          <a:pt x="118" y="194"/>
                        </a:lnTo>
                        <a:lnTo>
                          <a:pt x="135" y="203"/>
                        </a:lnTo>
                        <a:lnTo>
                          <a:pt x="161" y="177"/>
                        </a:lnTo>
                        <a:lnTo>
                          <a:pt x="172" y="187"/>
                        </a:lnTo>
                        <a:lnTo>
                          <a:pt x="161" y="194"/>
                        </a:lnTo>
                        <a:lnTo>
                          <a:pt x="177" y="194"/>
                        </a:lnTo>
                        <a:lnTo>
                          <a:pt x="177" y="177"/>
                        </a:lnTo>
                        <a:lnTo>
                          <a:pt x="161" y="177"/>
                        </a:lnTo>
                        <a:lnTo>
                          <a:pt x="177" y="153"/>
                        </a:lnTo>
                        <a:lnTo>
                          <a:pt x="177" y="120"/>
                        </a:lnTo>
                        <a:lnTo>
                          <a:pt x="210" y="116"/>
                        </a:lnTo>
                        <a:lnTo>
                          <a:pt x="215" y="99"/>
                        </a:lnTo>
                        <a:lnTo>
                          <a:pt x="232" y="99"/>
                        </a:lnTo>
                        <a:lnTo>
                          <a:pt x="253" y="83"/>
                        </a:lnTo>
                        <a:lnTo>
                          <a:pt x="232" y="78"/>
                        </a:lnTo>
                        <a:lnTo>
                          <a:pt x="243" y="45"/>
                        </a:lnTo>
                        <a:lnTo>
                          <a:pt x="253" y="45"/>
                        </a:lnTo>
                        <a:lnTo>
                          <a:pt x="265" y="28"/>
                        </a:lnTo>
                        <a:lnTo>
                          <a:pt x="307" y="38"/>
                        </a:lnTo>
                        <a:lnTo>
                          <a:pt x="307" y="21"/>
                        </a:lnTo>
                        <a:lnTo>
                          <a:pt x="335" y="0"/>
                        </a:lnTo>
                        <a:lnTo>
                          <a:pt x="352" y="0"/>
                        </a:lnTo>
                        <a:lnTo>
                          <a:pt x="357" y="5"/>
                        </a:lnTo>
                        <a:lnTo>
                          <a:pt x="378" y="5"/>
                        </a:lnTo>
                        <a:lnTo>
                          <a:pt x="390" y="21"/>
                        </a:lnTo>
                        <a:lnTo>
                          <a:pt x="411" y="12"/>
                        </a:lnTo>
                        <a:lnTo>
                          <a:pt x="432" y="21"/>
                        </a:lnTo>
                        <a:lnTo>
                          <a:pt x="444" y="21"/>
                        </a:lnTo>
                        <a:lnTo>
                          <a:pt x="432" y="38"/>
                        </a:lnTo>
                        <a:lnTo>
                          <a:pt x="444" y="45"/>
                        </a:lnTo>
                        <a:lnTo>
                          <a:pt x="470" y="28"/>
                        </a:lnTo>
                        <a:lnTo>
                          <a:pt x="498" y="28"/>
                        </a:lnTo>
                        <a:lnTo>
                          <a:pt x="515" y="28"/>
                        </a:lnTo>
                        <a:lnTo>
                          <a:pt x="536" y="54"/>
                        </a:lnTo>
                        <a:lnTo>
                          <a:pt x="541" y="54"/>
                        </a:lnTo>
                        <a:lnTo>
                          <a:pt x="541" y="78"/>
                        </a:lnTo>
                        <a:lnTo>
                          <a:pt x="536" y="83"/>
                        </a:lnTo>
                        <a:lnTo>
                          <a:pt x="553" y="111"/>
                        </a:lnTo>
                        <a:lnTo>
                          <a:pt x="536" y="132"/>
                        </a:lnTo>
                        <a:lnTo>
                          <a:pt x="557" y="149"/>
                        </a:lnTo>
                        <a:lnTo>
                          <a:pt x="557" y="165"/>
                        </a:lnTo>
                        <a:lnTo>
                          <a:pt x="569" y="170"/>
                        </a:lnTo>
                        <a:lnTo>
                          <a:pt x="574" y="187"/>
                        </a:lnTo>
                        <a:lnTo>
                          <a:pt x="612" y="203"/>
                        </a:lnTo>
                        <a:lnTo>
                          <a:pt x="607" y="231"/>
                        </a:lnTo>
                        <a:lnTo>
                          <a:pt x="628" y="231"/>
                        </a:lnTo>
                        <a:lnTo>
                          <a:pt x="650" y="243"/>
                        </a:lnTo>
                        <a:lnTo>
                          <a:pt x="661" y="243"/>
                        </a:lnTo>
                        <a:lnTo>
                          <a:pt x="650" y="248"/>
                        </a:lnTo>
                        <a:lnTo>
                          <a:pt x="650" y="260"/>
                        </a:lnTo>
                        <a:lnTo>
                          <a:pt x="678" y="265"/>
                        </a:lnTo>
                        <a:lnTo>
                          <a:pt x="666" y="276"/>
                        </a:lnTo>
                        <a:lnTo>
                          <a:pt x="633" y="298"/>
                        </a:lnTo>
                        <a:lnTo>
                          <a:pt x="579" y="288"/>
                        </a:lnTo>
                        <a:lnTo>
                          <a:pt x="569" y="305"/>
                        </a:lnTo>
                        <a:lnTo>
                          <a:pt x="591" y="331"/>
                        </a:lnTo>
                        <a:lnTo>
                          <a:pt x="579" y="338"/>
                        </a:lnTo>
                        <a:lnTo>
                          <a:pt x="591" y="354"/>
                        </a:lnTo>
                        <a:lnTo>
                          <a:pt x="591" y="376"/>
                        </a:lnTo>
                        <a:lnTo>
                          <a:pt x="607" y="397"/>
                        </a:lnTo>
                        <a:lnTo>
                          <a:pt x="541" y="397"/>
                        </a:lnTo>
                        <a:lnTo>
                          <a:pt x="541" y="409"/>
                        </a:lnTo>
                        <a:lnTo>
                          <a:pt x="524" y="425"/>
                        </a:lnTo>
                        <a:lnTo>
                          <a:pt x="520" y="442"/>
                        </a:lnTo>
                        <a:lnTo>
                          <a:pt x="524" y="470"/>
                        </a:lnTo>
                        <a:lnTo>
                          <a:pt x="520" y="479"/>
                        </a:lnTo>
                        <a:lnTo>
                          <a:pt x="487" y="453"/>
                        </a:lnTo>
                        <a:lnTo>
                          <a:pt x="465" y="463"/>
                        </a:lnTo>
                        <a:lnTo>
                          <a:pt x="461" y="453"/>
                        </a:lnTo>
                        <a:lnTo>
                          <a:pt x="432" y="463"/>
                        </a:lnTo>
                        <a:lnTo>
                          <a:pt x="416" y="442"/>
                        </a:lnTo>
                        <a:lnTo>
                          <a:pt x="395" y="446"/>
                        </a:lnTo>
                        <a:lnTo>
                          <a:pt x="390" y="463"/>
                        </a:lnTo>
                        <a:lnTo>
                          <a:pt x="378" y="446"/>
                        </a:lnTo>
                        <a:lnTo>
                          <a:pt x="357" y="446"/>
                        </a:lnTo>
                        <a:lnTo>
                          <a:pt x="357" y="442"/>
                        </a:lnTo>
                        <a:lnTo>
                          <a:pt x="340" y="446"/>
                        </a:lnTo>
                        <a:lnTo>
                          <a:pt x="324" y="442"/>
                        </a:lnTo>
                        <a:lnTo>
                          <a:pt x="319" y="453"/>
                        </a:lnTo>
                        <a:lnTo>
                          <a:pt x="319" y="453"/>
                        </a:lnTo>
                        <a:lnTo>
                          <a:pt x="319" y="446"/>
                        </a:lnTo>
                        <a:lnTo>
                          <a:pt x="286" y="446"/>
                        </a:lnTo>
                        <a:lnTo>
                          <a:pt x="281" y="430"/>
                        </a:lnTo>
                        <a:lnTo>
                          <a:pt x="177" y="413"/>
                        </a:lnTo>
                        <a:lnTo>
                          <a:pt x="85" y="413"/>
                        </a:lnTo>
                        <a:lnTo>
                          <a:pt x="64" y="446"/>
                        </a:lnTo>
                        <a:lnTo>
                          <a:pt x="31" y="442"/>
                        </a:lnTo>
                        <a:lnTo>
                          <a:pt x="31" y="453"/>
                        </a:lnTo>
                        <a:lnTo>
                          <a:pt x="31" y="453"/>
                        </a:lnTo>
                        <a:lnTo>
                          <a:pt x="31" y="45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0" name="Freeform 405">
                    <a:extLst>
                      <a:ext uri="{FF2B5EF4-FFF2-40B4-BE49-F238E27FC236}">
                        <a16:creationId xmlns:a16="http://schemas.microsoft.com/office/drawing/2014/main" id="{DB6C9280-22B9-46CA-81A8-CA3BACEDE105}"/>
                      </a:ext>
                    </a:extLst>
                  </p:cNvPr>
                  <p:cNvSpPr>
                    <a:spLocks/>
                  </p:cNvSpPr>
                  <p:nvPr/>
                </p:nvSpPr>
                <p:spPr bwMode="gray">
                  <a:xfrm>
                    <a:off x="7371735" y="2659464"/>
                    <a:ext cx="179900" cy="109928"/>
                  </a:xfrm>
                  <a:custGeom>
                    <a:avLst/>
                    <a:gdLst>
                      <a:gd name="T0" fmla="*/ 400 w 437"/>
                      <a:gd name="T1" fmla="*/ 200 h 267"/>
                      <a:gd name="T2" fmla="*/ 366 w 437"/>
                      <a:gd name="T3" fmla="*/ 210 h 267"/>
                      <a:gd name="T4" fmla="*/ 345 w 437"/>
                      <a:gd name="T5" fmla="*/ 193 h 267"/>
                      <a:gd name="T6" fmla="*/ 329 w 437"/>
                      <a:gd name="T7" fmla="*/ 193 h 267"/>
                      <a:gd name="T8" fmla="*/ 324 w 437"/>
                      <a:gd name="T9" fmla="*/ 200 h 267"/>
                      <a:gd name="T10" fmla="*/ 303 w 437"/>
                      <a:gd name="T11" fmla="*/ 200 h 267"/>
                      <a:gd name="T12" fmla="*/ 291 w 437"/>
                      <a:gd name="T13" fmla="*/ 217 h 267"/>
                      <a:gd name="T14" fmla="*/ 286 w 437"/>
                      <a:gd name="T15" fmla="*/ 217 h 267"/>
                      <a:gd name="T16" fmla="*/ 286 w 437"/>
                      <a:gd name="T17" fmla="*/ 226 h 267"/>
                      <a:gd name="T18" fmla="*/ 260 w 437"/>
                      <a:gd name="T19" fmla="*/ 226 h 267"/>
                      <a:gd name="T20" fmla="*/ 270 w 437"/>
                      <a:gd name="T21" fmla="*/ 238 h 267"/>
                      <a:gd name="T22" fmla="*/ 270 w 437"/>
                      <a:gd name="T23" fmla="*/ 255 h 267"/>
                      <a:gd name="T24" fmla="*/ 206 w 437"/>
                      <a:gd name="T25" fmla="*/ 267 h 267"/>
                      <a:gd name="T26" fmla="*/ 140 w 437"/>
                      <a:gd name="T27" fmla="*/ 238 h 267"/>
                      <a:gd name="T28" fmla="*/ 92 w 437"/>
                      <a:gd name="T29" fmla="*/ 255 h 267"/>
                      <a:gd name="T30" fmla="*/ 43 w 437"/>
                      <a:gd name="T31" fmla="*/ 255 h 267"/>
                      <a:gd name="T32" fmla="*/ 43 w 437"/>
                      <a:gd name="T33" fmla="*/ 217 h 267"/>
                      <a:gd name="T34" fmla="*/ 38 w 437"/>
                      <a:gd name="T35" fmla="*/ 200 h 267"/>
                      <a:gd name="T36" fmla="*/ 17 w 437"/>
                      <a:gd name="T37" fmla="*/ 184 h 267"/>
                      <a:gd name="T38" fmla="*/ 0 w 437"/>
                      <a:gd name="T39" fmla="*/ 165 h 267"/>
                      <a:gd name="T40" fmla="*/ 17 w 437"/>
                      <a:gd name="T41" fmla="*/ 160 h 267"/>
                      <a:gd name="T42" fmla="*/ 5 w 437"/>
                      <a:gd name="T43" fmla="*/ 144 h 267"/>
                      <a:gd name="T44" fmla="*/ 5 w 437"/>
                      <a:gd name="T45" fmla="*/ 127 h 267"/>
                      <a:gd name="T46" fmla="*/ 33 w 437"/>
                      <a:gd name="T47" fmla="*/ 122 h 267"/>
                      <a:gd name="T48" fmla="*/ 43 w 437"/>
                      <a:gd name="T49" fmla="*/ 99 h 267"/>
                      <a:gd name="T50" fmla="*/ 17 w 437"/>
                      <a:gd name="T51" fmla="*/ 73 h 267"/>
                      <a:gd name="T52" fmla="*/ 0 w 437"/>
                      <a:gd name="T53" fmla="*/ 44 h 267"/>
                      <a:gd name="T54" fmla="*/ 5 w 437"/>
                      <a:gd name="T55" fmla="*/ 28 h 267"/>
                      <a:gd name="T56" fmla="*/ 22 w 437"/>
                      <a:gd name="T57" fmla="*/ 0 h 267"/>
                      <a:gd name="T58" fmla="*/ 43 w 437"/>
                      <a:gd name="T59" fmla="*/ 16 h 267"/>
                      <a:gd name="T60" fmla="*/ 38 w 437"/>
                      <a:gd name="T61" fmla="*/ 28 h 267"/>
                      <a:gd name="T62" fmla="*/ 38 w 437"/>
                      <a:gd name="T63" fmla="*/ 44 h 267"/>
                      <a:gd name="T64" fmla="*/ 76 w 437"/>
                      <a:gd name="T65" fmla="*/ 33 h 267"/>
                      <a:gd name="T66" fmla="*/ 130 w 437"/>
                      <a:gd name="T67" fmla="*/ 49 h 267"/>
                      <a:gd name="T68" fmla="*/ 152 w 437"/>
                      <a:gd name="T69" fmla="*/ 44 h 267"/>
                      <a:gd name="T70" fmla="*/ 215 w 437"/>
                      <a:gd name="T71" fmla="*/ 56 h 267"/>
                      <a:gd name="T72" fmla="*/ 239 w 437"/>
                      <a:gd name="T73" fmla="*/ 49 h 267"/>
                      <a:gd name="T74" fmla="*/ 270 w 437"/>
                      <a:gd name="T75" fmla="*/ 28 h 267"/>
                      <a:gd name="T76" fmla="*/ 329 w 437"/>
                      <a:gd name="T77" fmla="*/ 11 h 267"/>
                      <a:gd name="T78" fmla="*/ 345 w 437"/>
                      <a:gd name="T79" fmla="*/ 11 h 267"/>
                      <a:gd name="T80" fmla="*/ 357 w 437"/>
                      <a:gd name="T81" fmla="*/ 28 h 267"/>
                      <a:gd name="T82" fmla="*/ 366 w 437"/>
                      <a:gd name="T83" fmla="*/ 16 h 267"/>
                      <a:gd name="T84" fmla="*/ 378 w 437"/>
                      <a:gd name="T85" fmla="*/ 28 h 267"/>
                      <a:gd name="T86" fmla="*/ 395 w 437"/>
                      <a:gd name="T87" fmla="*/ 28 h 267"/>
                      <a:gd name="T88" fmla="*/ 400 w 437"/>
                      <a:gd name="T89" fmla="*/ 44 h 267"/>
                      <a:gd name="T90" fmla="*/ 437 w 437"/>
                      <a:gd name="T91" fmla="*/ 49 h 267"/>
                      <a:gd name="T92" fmla="*/ 437 w 437"/>
                      <a:gd name="T93" fmla="*/ 73 h 267"/>
                      <a:gd name="T94" fmla="*/ 411 w 437"/>
                      <a:gd name="T95" fmla="*/ 73 h 267"/>
                      <a:gd name="T96" fmla="*/ 395 w 437"/>
                      <a:gd name="T97" fmla="*/ 99 h 267"/>
                      <a:gd name="T98" fmla="*/ 395 w 437"/>
                      <a:gd name="T99" fmla="*/ 139 h 267"/>
                      <a:gd name="T100" fmla="*/ 378 w 437"/>
                      <a:gd name="T101" fmla="*/ 139 h 267"/>
                      <a:gd name="T102" fmla="*/ 362 w 437"/>
                      <a:gd name="T103" fmla="*/ 160 h 267"/>
                      <a:gd name="T104" fmla="*/ 378 w 437"/>
                      <a:gd name="T105" fmla="*/ 160 h 267"/>
                      <a:gd name="T106" fmla="*/ 400 w 437"/>
                      <a:gd name="T107" fmla="*/ 200 h 267"/>
                      <a:gd name="T108" fmla="*/ 400 w 437"/>
                      <a:gd name="T109" fmla="*/ 200 h 267"/>
                      <a:gd name="T110" fmla="*/ 400 w 437"/>
                      <a:gd name="T111" fmla="*/ 20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7" h="267">
                        <a:moveTo>
                          <a:pt x="400" y="200"/>
                        </a:moveTo>
                        <a:lnTo>
                          <a:pt x="366" y="210"/>
                        </a:lnTo>
                        <a:lnTo>
                          <a:pt x="345" y="193"/>
                        </a:lnTo>
                        <a:lnTo>
                          <a:pt x="329" y="193"/>
                        </a:lnTo>
                        <a:lnTo>
                          <a:pt x="324" y="200"/>
                        </a:lnTo>
                        <a:lnTo>
                          <a:pt x="303" y="200"/>
                        </a:lnTo>
                        <a:lnTo>
                          <a:pt x="291" y="217"/>
                        </a:lnTo>
                        <a:lnTo>
                          <a:pt x="286" y="217"/>
                        </a:lnTo>
                        <a:lnTo>
                          <a:pt x="286" y="226"/>
                        </a:lnTo>
                        <a:lnTo>
                          <a:pt x="260" y="226"/>
                        </a:lnTo>
                        <a:lnTo>
                          <a:pt x="270" y="238"/>
                        </a:lnTo>
                        <a:lnTo>
                          <a:pt x="270" y="255"/>
                        </a:lnTo>
                        <a:lnTo>
                          <a:pt x="206" y="267"/>
                        </a:lnTo>
                        <a:lnTo>
                          <a:pt x="140" y="238"/>
                        </a:lnTo>
                        <a:lnTo>
                          <a:pt x="92" y="255"/>
                        </a:lnTo>
                        <a:lnTo>
                          <a:pt x="43" y="255"/>
                        </a:lnTo>
                        <a:lnTo>
                          <a:pt x="43" y="217"/>
                        </a:lnTo>
                        <a:lnTo>
                          <a:pt x="38" y="200"/>
                        </a:lnTo>
                        <a:lnTo>
                          <a:pt x="17" y="184"/>
                        </a:lnTo>
                        <a:lnTo>
                          <a:pt x="0" y="165"/>
                        </a:lnTo>
                        <a:lnTo>
                          <a:pt x="17" y="160"/>
                        </a:lnTo>
                        <a:lnTo>
                          <a:pt x="5" y="144"/>
                        </a:lnTo>
                        <a:lnTo>
                          <a:pt x="5" y="127"/>
                        </a:lnTo>
                        <a:lnTo>
                          <a:pt x="33" y="122"/>
                        </a:lnTo>
                        <a:lnTo>
                          <a:pt x="43" y="99"/>
                        </a:lnTo>
                        <a:lnTo>
                          <a:pt x="17" y="73"/>
                        </a:lnTo>
                        <a:lnTo>
                          <a:pt x="0" y="44"/>
                        </a:lnTo>
                        <a:lnTo>
                          <a:pt x="5" y="28"/>
                        </a:lnTo>
                        <a:lnTo>
                          <a:pt x="22" y="0"/>
                        </a:lnTo>
                        <a:lnTo>
                          <a:pt x="43" y="16"/>
                        </a:lnTo>
                        <a:lnTo>
                          <a:pt x="38" y="28"/>
                        </a:lnTo>
                        <a:lnTo>
                          <a:pt x="38" y="44"/>
                        </a:lnTo>
                        <a:lnTo>
                          <a:pt x="76" y="33"/>
                        </a:lnTo>
                        <a:lnTo>
                          <a:pt x="130" y="49"/>
                        </a:lnTo>
                        <a:lnTo>
                          <a:pt x="152" y="44"/>
                        </a:lnTo>
                        <a:lnTo>
                          <a:pt x="215" y="56"/>
                        </a:lnTo>
                        <a:lnTo>
                          <a:pt x="239" y="49"/>
                        </a:lnTo>
                        <a:lnTo>
                          <a:pt x="270" y="28"/>
                        </a:lnTo>
                        <a:lnTo>
                          <a:pt x="329" y="11"/>
                        </a:lnTo>
                        <a:lnTo>
                          <a:pt x="345" y="11"/>
                        </a:lnTo>
                        <a:lnTo>
                          <a:pt x="357" y="28"/>
                        </a:lnTo>
                        <a:lnTo>
                          <a:pt x="366" y="16"/>
                        </a:lnTo>
                        <a:lnTo>
                          <a:pt x="378" y="28"/>
                        </a:lnTo>
                        <a:lnTo>
                          <a:pt x="395" y="28"/>
                        </a:lnTo>
                        <a:lnTo>
                          <a:pt x="400" y="44"/>
                        </a:lnTo>
                        <a:lnTo>
                          <a:pt x="437" y="49"/>
                        </a:lnTo>
                        <a:lnTo>
                          <a:pt x="437" y="73"/>
                        </a:lnTo>
                        <a:lnTo>
                          <a:pt x="411" y="73"/>
                        </a:lnTo>
                        <a:lnTo>
                          <a:pt x="395" y="99"/>
                        </a:lnTo>
                        <a:lnTo>
                          <a:pt x="395" y="139"/>
                        </a:lnTo>
                        <a:lnTo>
                          <a:pt x="378" y="139"/>
                        </a:lnTo>
                        <a:lnTo>
                          <a:pt x="362" y="160"/>
                        </a:lnTo>
                        <a:lnTo>
                          <a:pt x="378" y="160"/>
                        </a:lnTo>
                        <a:lnTo>
                          <a:pt x="400" y="200"/>
                        </a:lnTo>
                        <a:lnTo>
                          <a:pt x="400" y="200"/>
                        </a:lnTo>
                        <a:lnTo>
                          <a:pt x="400" y="20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9" name="Freeform 425">
                    <a:extLst>
                      <a:ext uri="{FF2B5EF4-FFF2-40B4-BE49-F238E27FC236}">
                        <a16:creationId xmlns:a16="http://schemas.microsoft.com/office/drawing/2014/main" id="{C00C1339-668D-4540-B982-E70E0A09CDC2}"/>
                      </a:ext>
                    </a:extLst>
                  </p:cNvPr>
                  <p:cNvSpPr>
                    <a:spLocks noEditPoints="1"/>
                  </p:cNvSpPr>
                  <p:nvPr/>
                </p:nvSpPr>
                <p:spPr bwMode="gray">
                  <a:xfrm>
                    <a:off x="6960476" y="2129173"/>
                    <a:ext cx="204188" cy="132161"/>
                  </a:xfrm>
                  <a:custGeom>
                    <a:avLst/>
                    <a:gdLst>
                      <a:gd name="T0" fmla="*/ 10 w 496"/>
                      <a:gd name="T1" fmla="*/ 111 h 321"/>
                      <a:gd name="T2" fmla="*/ 123 w 496"/>
                      <a:gd name="T3" fmla="*/ 12 h 321"/>
                      <a:gd name="T4" fmla="*/ 156 w 496"/>
                      <a:gd name="T5" fmla="*/ 78 h 321"/>
                      <a:gd name="T6" fmla="*/ 43 w 496"/>
                      <a:gd name="T7" fmla="*/ 83 h 321"/>
                      <a:gd name="T8" fmla="*/ 206 w 496"/>
                      <a:gd name="T9" fmla="*/ 57 h 321"/>
                      <a:gd name="T10" fmla="*/ 206 w 496"/>
                      <a:gd name="T11" fmla="*/ 57 h 321"/>
                      <a:gd name="T12" fmla="*/ 43 w 496"/>
                      <a:gd name="T13" fmla="*/ 267 h 321"/>
                      <a:gd name="T14" fmla="*/ 43 w 496"/>
                      <a:gd name="T15" fmla="*/ 267 h 321"/>
                      <a:gd name="T16" fmla="*/ 0 w 496"/>
                      <a:gd name="T17" fmla="*/ 177 h 321"/>
                      <a:gd name="T18" fmla="*/ 0 w 496"/>
                      <a:gd name="T19" fmla="*/ 173 h 321"/>
                      <a:gd name="T20" fmla="*/ 47 w 496"/>
                      <a:gd name="T21" fmla="*/ 123 h 321"/>
                      <a:gd name="T22" fmla="*/ 64 w 496"/>
                      <a:gd name="T23" fmla="*/ 123 h 321"/>
                      <a:gd name="T24" fmla="*/ 85 w 496"/>
                      <a:gd name="T25" fmla="*/ 111 h 321"/>
                      <a:gd name="T26" fmla="*/ 135 w 496"/>
                      <a:gd name="T27" fmla="*/ 66 h 321"/>
                      <a:gd name="T28" fmla="*/ 156 w 496"/>
                      <a:gd name="T29" fmla="*/ 111 h 321"/>
                      <a:gd name="T30" fmla="*/ 206 w 496"/>
                      <a:gd name="T31" fmla="*/ 133 h 321"/>
                      <a:gd name="T32" fmla="*/ 156 w 496"/>
                      <a:gd name="T33" fmla="*/ 156 h 321"/>
                      <a:gd name="T34" fmla="*/ 151 w 496"/>
                      <a:gd name="T35" fmla="*/ 177 h 321"/>
                      <a:gd name="T36" fmla="*/ 135 w 496"/>
                      <a:gd name="T37" fmla="*/ 210 h 321"/>
                      <a:gd name="T38" fmla="*/ 106 w 496"/>
                      <a:gd name="T39" fmla="*/ 260 h 321"/>
                      <a:gd name="T40" fmla="*/ 102 w 496"/>
                      <a:gd name="T41" fmla="*/ 288 h 321"/>
                      <a:gd name="T42" fmla="*/ 43 w 496"/>
                      <a:gd name="T43" fmla="*/ 111 h 321"/>
                      <a:gd name="T44" fmla="*/ 47 w 496"/>
                      <a:gd name="T45" fmla="*/ 99 h 321"/>
                      <a:gd name="T46" fmla="*/ 243 w 496"/>
                      <a:gd name="T47" fmla="*/ 111 h 321"/>
                      <a:gd name="T48" fmla="*/ 243 w 496"/>
                      <a:gd name="T49" fmla="*/ 111 h 321"/>
                      <a:gd name="T50" fmla="*/ 210 w 496"/>
                      <a:gd name="T51" fmla="*/ 210 h 321"/>
                      <a:gd name="T52" fmla="*/ 215 w 496"/>
                      <a:gd name="T53" fmla="*/ 177 h 321"/>
                      <a:gd name="T54" fmla="*/ 265 w 496"/>
                      <a:gd name="T55" fmla="*/ 189 h 321"/>
                      <a:gd name="T56" fmla="*/ 269 w 496"/>
                      <a:gd name="T57" fmla="*/ 189 h 321"/>
                      <a:gd name="T58" fmla="*/ 312 w 496"/>
                      <a:gd name="T59" fmla="*/ 189 h 321"/>
                      <a:gd name="T60" fmla="*/ 269 w 496"/>
                      <a:gd name="T61" fmla="*/ 267 h 321"/>
                      <a:gd name="T62" fmla="*/ 260 w 496"/>
                      <a:gd name="T63" fmla="*/ 279 h 321"/>
                      <a:gd name="T64" fmla="*/ 243 w 496"/>
                      <a:gd name="T65" fmla="*/ 260 h 321"/>
                      <a:gd name="T66" fmla="*/ 173 w 496"/>
                      <a:gd name="T67" fmla="*/ 206 h 321"/>
                      <a:gd name="T68" fmla="*/ 177 w 496"/>
                      <a:gd name="T69" fmla="*/ 189 h 321"/>
                      <a:gd name="T70" fmla="*/ 319 w 496"/>
                      <a:gd name="T71" fmla="*/ 210 h 321"/>
                      <a:gd name="T72" fmla="*/ 173 w 496"/>
                      <a:gd name="T73" fmla="*/ 279 h 321"/>
                      <a:gd name="T74" fmla="*/ 161 w 496"/>
                      <a:gd name="T75" fmla="*/ 227 h 321"/>
                      <a:gd name="T76" fmla="*/ 177 w 496"/>
                      <a:gd name="T77" fmla="*/ 222 h 321"/>
                      <a:gd name="T78" fmla="*/ 173 w 496"/>
                      <a:gd name="T79" fmla="*/ 279 h 321"/>
                      <a:gd name="T80" fmla="*/ 26 w 496"/>
                      <a:gd name="T81" fmla="*/ 234 h 321"/>
                      <a:gd name="T82" fmla="*/ 487 w 496"/>
                      <a:gd name="T83" fmla="*/ 284 h 321"/>
                      <a:gd name="T84" fmla="*/ 487 w 496"/>
                      <a:gd name="T85" fmla="*/ 284 h 321"/>
                      <a:gd name="T86" fmla="*/ 177 w 496"/>
                      <a:gd name="T87" fmla="*/ 288 h 321"/>
                      <a:gd name="T88" fmla="*/ 177 w 496"/>
                      <a:gd name="T89" fmla="*/ 305 h 321"/>
                      <a:gd name="T90" fmla="*/ 118 w 496"/>
                      <a:gd name="T91" fmla="*/ 288 h 321"/>
                      <a:gd name="T92" fmla="*/ 106 w 496"/>
                      <a:gd name="T93" fmla="*/ 279 h 321"/>
                      <a:gd name="T94" fmla="*/ 173 w 496"/>
                      <a:gd name="T95" fmla="*/ 284 h 321"/>
                      <a:gd name="T96" fmla="*/ 173 w 496"/>
                      <a:gd name="T97" fmla="*/ 284 h 321"/>
                      <a:gd name="T98" fmla="*/ 298 w 496"/>
                      <a:gd name="T99" fmla="*/ 279 h 321"/>
                      <a:gd name="T100" fmla="*/ 286 w 496"/>
                      <a:gd name="T101" fmla="*/ 288 h 321"/>
                      <a:gd name="T102" fmla="*/ 269 w 496"/>
                      <a:gd name="T103" fmla="*/ 321 h 321"/>
                      <a:gd name="T104" fmla="*/ 265 w 496"/>
                      <a:gd name="T105" fmla="*/ 284 h 321"/>
                      <a:gd name="T106" fmla="*/ 243 w 496"/>
                      <a:gd name="T107" fmla="*/ 300 h 321"/>
                      <a:gd name="T108" fmla="*/ 206 w 496"/>
                      <a:gd name="T109" fmla="*/ 30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6" h="321">
                        <a:moveTo>
                          <a:pt x="26" y="111"/>
                        </a:moveTo>
                        <a:lnTo>
                          <a:pt x="31" y="116"/>
                        </a:lnTo>
                        <a:lnTo>
                          <a:pt x="31" y="116"/>
                        </a:lnTo>
                        <a:lnTo>
                          <a:pt x="10" y="111"/>
                        </a:lnTo>
                        <a:lnTo>
                          <a:pt x="10" y="99"/>
                        </a:lnTo>
                        <a:lnTo>
                          <a:pt x="31" y="62"/>
                        </a:lnTo>
                        <a:lnTo>
                          <a:pt x="85" y="62"/>
                        </a:lnTo>
                        <a:lnTo>
                          <a:pt x="123" y="12"/>
                        </a:lnTo>
                        <a:lnTo>
                          <a:pt x="177" y="0"/>
                        </a:lnTo>
                        <a:lnTo>
                          <a:pt x="161" y="12"/>
                        </a:lnTo>
                        <a:lnTo>
                          <a:pt x="173" y="57"/>
                        </a:lnTo>
                        <a:lnTo>
                          <a:pt x="156" y="78"/>
                        </a:lnTo>
                        <a:lnTo>
                          <a:pt x="135" y="66"/>
                        </a:lnTo>
                        <a:lnTo>
                          <a:pt x="80" y="78"/>
                        </a:lnTo>
                        <a:lnTo>
                          <a:pt x="69" y="66"/>
                        </a:lnTo>
                        <a:lnTo>
                          <a:pt x="43" y="83"/>
                        </a:lnTo>
                        <a:lnTo>
                          <a:pt x="26" y="111"/>
                        </a:lnTo>
                        <a:lnTo>
                          <a:pt x="26" y="111"/>
                        </a:lnTo>
                        <a:lnTo>
                          <a:pt x="26" y="111"/>
                        </a:lnTo>
                        <a:close/>
                        <a:moveTo>
                          <a:pt x="206" y="57"/>
                        </a:moveTo>
                        <a:lnTo>
                          <a:pt x="194" y="57"/>
                        </a:lnTo>
                        <a:lnTo>
                          <a:pt x="215" y="45"/>
                        </a:lnTo>
                        <a:lnTo>
                          <a:pt x="206" y="57"/>
                        </a:lnTo>
                        <a:lnTo>
                          <a:pt x="206" y="57"/>
                        </a:lnTo>
                        <a:lnTo>
                          <a:pt x="206" y="57"/>
                        </a:lnTo>
                        <a:close/>
                        <a:moveTo>
                          <a:pt x="97" y="300"/>
                        </a:moveTo>
                        <a:lnTo>
                          <a:pt x="43" y="288"/>
                        </a:lnTo>
                        <a:lnTo>
                          <a:pt x="43" y="267"/>
                        </a:lnTo>
                        <a:lnTo>
                          <a:pt x="26" y="279"/>
                        </a:lnTo>
                        <a:lnTo>
                          <a:pt x="26" y="267"/>
                        </a:lnTo>
                        <a:lnTo>
                          <a:pt x="26" y="260"/>
                        </a:lnTo>
                        <a:lnTo>
                          <a:pt x="43" y="267"/>
                        </a:lnTo>
                        <a:lnTo>
                          <a:pt x="31" y="234"/>
                        </a:lnTo>
                        <a:lnTo>
                          <a:pt x="0" y="227"/>
                        </a:lnTo>
                        <a:lnTo>
                          <a:pt x="0" y="206"/>
                        </a:lnTo>
                        <a:lnTo>
                          <a:pt x="0" y="177"/>
                        </a:lnTo>
                        <a:lnTo>
                          <a:pt x="0" y="194"/>
                        </a:lnTo>
                        <a:lnTo>
                          <a:pt x="14" y="189"/>
                        </a:lnTo>
                        <a:lnTo>
                          <a:pt x="10" y="173"/>
                        </a:lnTo>
                        <a:lnTo>
                          <a:pt x="0" y="173"/>
                        </a:lnTo>
                        <a:lnTo>
                          <a:pt x="0" y="177"/>
                        </a:lnTo>
                        <a:lnTo>
                          <a:pt x="0" y="111"/>
                        </a:lnTo>
                        <a:lnTo>
                          <a:pt x="43" y="133"/>
                        </a:lnTo>
                        <a:lnTo>
                          <a:pt x="47" y="123"/>
                        </a:lnTo>
                        <a:lnTo>
                          <a:pt x="43" y="116"/>
                        </a:lnTo>
                        <a:lnTo>
                          <a:pt x="69" y="99"/>
                        </a:lnTo>
                        <a:lnTo>
                          <a:pt x="69" y="111"/>
                        </a:lnTo>
                        <a:lnTo>
                          <a:pt x="64" y="123"/>
                        </a:lnTo>
                        <a:lnTo>
                          <a:pt x="80" y="116"/>
                        </a:lnTo>
                        <a:lnTo>
                          <a:pt x="85" y="123"/>
                        </a:lnTo>
                        <a:lnTo>
                          <a:pt x="85" y="123"/>
                        </a:lnTo>
                        <a:lnTo>
                          <a:pt x="85" y="111"/>
                        </a:lnTo>
                        <a:lnTo>
                          <a:pt x="69" y="111"/>
                        </a:lnTo>
                        <a:lnTo>
                          <a:pt x="69" y="83"/>
                        </a:lnTo>
                        <a:lnTo>
                          <a:pt x="80" y="78"/>
                        </a:lnTo>
                        <a:lnTo>
                          <a:pt x="135" y="66"/>
                        </a:lnTo>
                        <a:lnTo>
                          <a:pt x="156" y="78"/>
                        </a:lnTo>
                        <a:lnTo>
                          <a:pt x="156" y="99"/>
                        </a:lnTo>
                        <a:lnTo>
                          <a:pt x="123" y="116"/>
                        </a:lnTo>
                        <a:lnTo>
                          <a:pt x="156" y="111"/>
                        </a:lnTo>
                        <a:lnTo>
                          <a:pt x="151" y="133"/>
                        </a:lnTo>
                        <a:lnTo>
                          <a:pt x="156" y="123"/>
                        </a:lnTo>
                        <a:lnTo>
                          <a:pt x="194" y="123"/>
                        </a:lnTo>
                        <a:lnTo>
                          <a:pt x="206" y="133"/>
                        </a:lnTo>
                        <a:lnTo>
                          <a:pt x="189" y="168"/>
                        </a:lnTo>
                        <a:lnTo>
                          <a:pt x="177" y="156"/>
                        </a:lnTo>
                        <a:lnTo>
                          <a:pt x="173" y="173"/>
                        </a:lnTo>
                        <a:lnTo>
                          <a:pt x="156" y="156"/>
                        </a:lnTo>
                        <a:lnTo>
                          <a:pt x="161" y="156"/>
                        </a:lnTo>
                        <a:lnTo>
                          <a:pt x="161" y="149"/>
                        </a:lnTo>
                        <a:lnTo>
                          <a:pt x="151" y="168"/>
                        </a:lnTo>
                        <a:lnTo>
                          <a:pt x="151" y="177"/>
                        </a:lnTo>
                        <a:lnTo>
                          <a:pt x="151" y="194"/>
                        </a:lnTo>
                        <a:lnTo>
                          <a:pt x="123" y="194"/>
                        </a:lnTo>
                        <a:lnTo>
                          <a:pt x="135" y="194"/>
                        </a:lnTo>
                        <a:lnTo>
                          <a:pt x="135" y="210"/>
                        </a:lnTo>
                        <a:lnTo>
                          <a:pt x="102" y="210"/>
                        </a:lnTo>
                        <a:lnTo>
                          <a:pt x="118" y="222"/>
                        </a:lnTo>
                        <a:lnTo>
                          <a:pt x="102" y="234"/>
                        </a:lnTo>
                        <a:lnTo>
                          <a:pt x="106" y="260"/>
                        </a:lnTo>
                        <a:lnTo>
                          <a:pt x="97" y="267"/>
                        </a:lnTo>
                        <a:lnTo>
                          <a:pt x="118" y="288"/>
                        </a:lnTo>
                        <a:lnTo>
                          <a:pt x="106" y="300"/>
                        </a:lnTo>
                        <a:lnTo>
                          <a:pt x="102" y="288"/>
                        </a:lnTo>
                        <a:lnTo>
                          <a:pt x="97" y="300"/>
                        </a:lnTo>
                        <a:lnTo>
                          <a:pt x="97" y="300"/>
                        </a:lnTo>
                        <a:lnTo>
                          <a:pt x="97" y="300"/>
                        </a:lnTo>
                        <a:close/>
                        <a:moveTo>
                          <a:pt x="43" y="111"/>
                        </a:moveTo>
                        <a:lnTo>
                          <a:pt x="26" y="99"/>
                        </a:lnTo>
                        <a:lnTo>
                          <a:pt x="31" y="99"/>
                        </a:lnTo>
                        <a:lnTo>
                          <a:pt x="54" y="83"/>
                        </a:lnTo>
                        <a:lnTo>
                          <a:pt x="47" y="99"/>
                        </a:lnTo>
                        <a:lnTo>
                          <a:pt x="43" y="111"/>
                        </a:lnTo>
                        <a:lnTo>
                          <a:pt x="43" y="111"/>
                        </a:lnTo>
                        <a:lnTo>
                          <a:pt x="43" y="111"/>
                        </a:lnTo>
                        <a:close/>
                        <a:moveTo>
                          <a:pt x="243" y="111"/>
                        </a:moveTo>
                        <a:lnTo>
                          <a:pt x="243" y="111"/>
                        </a:lnTo>
                        <a:lnTo>
                          <a:pt x="248" y="111"/>
                        </a:lnTo>
                        <a:lnTo>
                          <a:pt x="243" y="111"/>
                        </a:lnTo>
                        <a:lnTo>
                          <a:pt x="243" y="111"/>
                        </a:lnTo>
                        <a:lnTo>
                          <a:pt x="243" y="111"/>
                        </a:lnTo>
                        <a:close/>
                        <a:moveTo>
                          <a:pt x="243" y="260"/>
                        </a:moveTo>
                        <a:lnTo>
                          <a:pt x="215" y="260"/>
                        </a:lnTo>
                        <a:lnTo>
                          <a:pt x="210" y="210"/>
                        </a:lnTo>
                        <a:lnTo>
                          <a:pt x="194" y="206"/>
                        </a:lnTo>
                        <a:lnTo>
                          <a:pt x="215" y="210"/>
                        </a:lnTo>
                        <a:lnTo>
                          <a:pt x="243" y="194"/>
                        </a:lnTo>
                        <a:lnTo>
                          <a:pt x="215" y="177"/>
                        </a:lnTo>
                        <a:lnTo>
                          <a:pt x="260" y="177"/>
                        </a:lnTo>
                        <a:lnTo>
                          <a:pt x="248" y="194"/>
                        </a:lnTo>
                        <a:lnTo>
                          <a:pt x="260" y="210"/>
                        </a:lnTo>
                        <a:lnTo>
                          <a:pt x="265" y="189"/>
                        </a:lnTo>
                        <a:lnTo>
                          <a:pt x="281" y="206"/>
                        </a:lnTo>
                        <a:lnTo>
                          <a:pt x="269" y="210"/>
                        </a:lnTo>
                        <a:lnTo>
                          <a:pt x="281" y="210"/>
                        </a:lnTo>
                        <a:lnTo>
                          <a:pt x="269" y="189"/>
                        </a:lnTo>
                        <a:lnTo>
                          <a:pt x="265" y="177"/>
                        </a:lnTo>
                        <a:lnTo>
                          <a:pt x="298" y="168"/>
                        </a:lnTo>
                        <a:lnTo>
                          <a:pt x="319" y="173"/>
                        </a:lnTo>
                        <a:lnTo>
                          <a:pt x="312" y="189"/>
                        </a:lnTo>
                        <a:lnTo>
                          <a:pt x="319" y="210"/>
                        </a:lnTo>
                        <a:lnTo>
                          <a:pt x="286" y="234"/>
                        </a:lnTo>
                        <a:lnTo>
                          <a:pt x="302" y="251"/>
                        </a:lnTo>
                        <a:lnTo>
                          <a:pt x="269" y="267"/>
                        </a:lnTo>
                        <a:lnTo>
                          <a:pt x="286" y="267"/>
                        </a:lnTo>
                        <a:lnTo>
                          <a:pt x="286" y="284"/>
                        </a:lnTo>
                        <a:lnTo>
                          <a:pt x="265" y="284"/>
                        </a:lnTo>
                        <a:lnTo>
                          <a:pt x="260" y="279"/>
                        </a:lnTo>
                        <a:lnTo>
                          <a:pt x="260" y="267"/>
                        </a:lnTo>
                        <a:lnTo>
                          <a:pt x="260" y="260"/>
                        </a:lnTo>
                        <a:lnTo>
                          <a:pt x="243" y="260"/>
                        </a:lnTo>
                        <a:lnTo>
                          <a:pt x="243" y="260"/>
                        </a:lnTo>
                        <a:lnTo>
                          <a:pt x="243" y="260"/>
                        </a:lnTo>
                        <a:close/>
                        <a:moveTo>
                          <a:pt x="177" y="189"/>
                        </a:moveTo>
                        <a:lnTo>
                          <a:pt x="173" y="206"/>
                        </a:lnTo>
                        <a:lnTo>
                          <a:pt x="173" y="206"/>
                        </a:lnTo>
                        <a:lnTo>
                          <a:pt x="173" y="177"/>
                        </a:lnTo>
                        <a:lnTo>
                          <a:pt x="177" y="189"/>
                        </a:lnTo>
                        <a:lnTo>
                          <a:pt x="177" y="189"/>
                        </a:lnTo>
                        <a:lnTo>
                          <a:pt x="177" y="189"/>
                        </a:lnTo>
                        <a:close/>
                        <a:moveTo>
                          <a:pt x="319" y="222"/>
                        </a:moveTo>
                        <a:lnTo>
                          <a:pt x="319" y="222"/>
                        </a:lnTo>
                        <a:lnTo>
                          <a:pt x="312" y="222"/>
                        </a:lnTo>
                        <a:lnTo>
                          <a:pt x="319" y="210"/>
                        </a:lnTo>
                        <a:lnTo>
                          <a:pt x="319" y="222"/>
                        </a:lnTo>
                        <a:lnTo>
                          <a:pt x="319" y="222"/>
                        </a:lnTo>
                        <a:lnTo>
                          <a:pt x="319" y="222"/>
                        </a:lnTo>
                        <a:close/>
                        <a:moveTo>
                          <a:pt x="173" y="279"/>
                        </a:moveTo>
                        <a:lnTo>
                          <a:pt x="139" y="279"/>
                        </a:lnTo>
                        <a:lnTo>
                          <a:pt x="106" y="227"/>
                        </a:lnTo>
                        <a:lnTo>
                          <a:pt x="156" y="222"/>
                        </a:lnTo>
                        <a:lnTo>
                          <a:pt x="161" y="227"/>
                        </a:lnTo>
                        <a:lnTo>
                          <a:pt x="161" y="234"/>
                        </a:lnTo>
                        <a:lnTo>
                          <a:pt x="161" y="234"/>
                        </a:lnTo>
                        <a:lnTo>
                          <a:pt x="173" y="227"/>
                        </a:lnTo>
                        <a:lnTo>
                          <a:pt x="177" y="222"/>
                        </a:lnTo>
                        <a:lnTo>
                          <a:pt x="189" y="251"/>
                        </a:lnTo>
                        <a:lnTo>
                          <a:pt x="189" y="279"/>
                        </a:lnTo>
                        <a:lnTo>
                          <a:pt x="173" y="279"/>
                        </a:lnTo>
                        <a:lnTo>
                          <a:pt x="173" y="279"/>
                        </a:lnTo>
                        <a:lnTo>
                          <a:pt x="173" y="279"/>
                        </a:lnTo>
                        <a:close/>
                        <a:moveTo>
                          <a:pt x="26" y="244"/>
                        </a:moveTo>
                        <a:lnTo>
                          <a:pt x="14" y="234"/>
                        </a:lnTo>
                        <a:lnTo>
                          <a:pt x="26" y="234"/>
                        </a:lnTo>
                        <a:lnTo>
                          <a:pt x="26" y="244"/>
                        </a:lnTo>
                        <a:lnTo>
                          <a:pt x="26" y="244"/>
                        </a:lnTo>
                        <a:lnTo>
                          <a:pt x="26" y="244"/>
                        </a:lnTo>
                        <a:close/>
                        <a:moveTo>
                          <a:pt x="487" y="284"/>
                        </a:moveTo>
                        <a:lnTo>
                          <a:pt x="458" y="267"/>
                        </a:lnTo>
                        <a:lnTo>
                          <a:pt x="465" y="251"/>
                        </a:lnTo>
                        <a:lnTo>
                          <a:pt x="496" y="267"/>
                        </a:lnTo>
                        <a:lnTo>
                          <a:pt x="487" y="284"/>
                        </a:lnTo>
                        <a:lnTo>
                          <a:pt x="487" y="284"/>
                        </a:lnTo>
                        <a:lnTo>
                          <a:pt x="487" y="284"/>
                        </a:lnTo>
                        <a:close/>
                        <a:moveTo>
                          <a:pt x="177" y="305"/>
                        </a:moveTo>
                        <a:lnTo>
                          <a:pt x="177" y="288"/>
                        </a:lnTo>
                        <a:lnTo>
                          <a:pt x="206" y="267"/>
                        </a:lnTo>
                        <a:lnTo>
                          <a:pt x="177" y="305"/>
                        </a:lnTo>
                        <a:lnTo>
                          <a:pt x="177" y="305"/>
                        </a:lnTo>
                        <a:lnTo>
                          <a:pt x="177" y="305"/>
                        </a:lnTo>
                        <a:close/>
                        <a:moveTo>
                          <a:pt x="135" y="284"/>
                        </a:moveTo>
                        <a:lnTo>
                          <a:pt x="139" y="288"/>
                        </a:lnTo>
                        <a:lnTo>
                          <a:pt x="123" y="288"/>
                        </a:lnTo>
                        <a:lnTo>
                          <a:pt x="118" y="288"/>
                        </a:lnTo>
                        <a:lnTo>
                          <a:pt x="118" y="284"/>
                        </a:lnTo>
                        <a:lnTo>
                          <a:pt x="118" y="284"/>
                        </a:lnTo>
                        <a:lnTo>
                          <a:pt x="118" y="279"/>
                        </a:lnTo>
                        <a:lnTo>
                          <a:pt x="106" y="279"/>
                        </a:lnTo>
                        <a:lnTo>
                          <a:pt x="135" y="284"/>
                        </a:lnTo>
                        <a:lnTo>
                          <a:pt x="135" y="284"/>
                        </a:lnTo>
                        <a:lnTo>
                          <a:pt x="135" y="284"/>
                        </a:lnTo>
                        <a:close/>
                        <a:moveTo>
                          <a:pt x="173" y="284"/>
                        </a:moveTo>
                        <a:lnTo>
                          <a:pt x="161" y="284"/>
                        </a:lnTo>
                        <a:lnTo>
                          <a:pt x="177" y="284"/>
                        </a:lnTo>
                        <a:lnTo>
                          <a:pt x="173" y="284"/>
                        </a:lnTo>
                        <a:lnTo>
                          <a:pt x="173" y="284"/>
                        </a:lnTo>
                        <a:lnTo>
                          <a:pt x="173" y="284"/>
                        </a:lnTo>
                        <a:close/>
                        <a:moveTo>
                          <a:pt x="286" y="288"/>
                        </a:moveTo>
                        <a:lnTo>
                          <a:pt x="281" y="284"/>
                        </a:lnTo>
                        <a:lnTo>
                          <a:pt x="298" y="279"/>
                        </a:lnTo>
                        <a:lnTo>
                          <a:pt x="312" y="284"/>
                        </a:lnTo>
                        <a:lnTo>
                          <a:pt x="286" y="288"/>
                        </a:lnTo>
                        <a:lnTo>
                          <a:pt x="286" y="288"/>
                        </a:lnTo>
                        <a:lnTo>
                          <a:pt x="286" y="288"/>
                        </a:lnTo>
                        <a:close/>
                        <a:moveTo>
                          <a:pt x="265" y="284"/>
                        </a:moveTo>
                        <a:lnTo>
                          <a:pt x="286" y="300"/>
                        </a:lnTo>
                        <a:lnTo>
                          <a:pt x="269" y="317"/>
                        </a:lnTo>
                        <a:lnTo>
                          <a:pt x="269" y="321"/>
                        </a:lnTo>
                        <a:lnTo>
                          <a:pt x="248" y="288"/>
                        </a:lnTo>
                        <a:lnTo>
                          <a:pt x="265" y="284"/>
                        </a:lnTo>
                        <a:lnTo>
                          <a:pt x="265" y="284"/>
                        </a:lnTo>
                        <a:lnTo>
                          <a:pt x="265" y="284"/>
                        </a:lnTo>
                        <a:close/>
                        <a:moveTo>
                          <a:pt x="206" y="300"/>
                        </a:moveTo>
                        <a:lnTo>
                          <a:pt x="210" y="288"/>
                        </a:lnTo>
                        <a:lnTo>
                          <a:pt x="215" y="284"/>
                        </a:lnTo>
                        <a:lnTo>
                          <a:pt x="243" y="300"/>
                        </a:lnTo>
                        <a:lnTo>
                          <a:pt x="248" y="288"/>
                        </a:lnTo>
                        <a:lnTo>
                          <a:pt x="265" y="317"/>
                        </a:lnTo>
                        <a:lnTo>
                          <a:pt x="232" y="317"/>
                        </a:lnTo>
                        <a:lnTo>
                          <a:pt x="206" y="300"/>
                        </a:lnTo>
                        <a:lnTo>
                          <a:pt x="206" y="300"/>
                        </a:lnTo>
                        <a:lnTo>
                          <a:pt x="206" y="30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5" name="Freeform 431">
                    <a:extLst>
                      <a:ext uri="{FF2B5EF4-FFF2-40B4-BE49-F238E27FC236}">
                        <a16:creationId xmlns:a16="http://schemas.microsoft.com/office/drawing/2014/main" id="{AB51FFF9-4086-4BE0-B85C-84BFC02BE186}"/>
                      </a:ext>
                    </a:extLst>
                  </p:cNvPr>
                  <p:cNvSpPr>
                    <a:spLocks noEditPoints="1"/>
                  </p:cNvSpPr>
                  <p:nvPr/>
                </p:nvSpPr>
                <p:spPr bwMode="gray">
                  <a:xfrm>
                    <a:off x="6424894" y="2230456"/>
                    <a:ext cx="125147" cy="158511"/>
                  </a:xfrm>
                  <a:custGeom>
                    <a:avLst/>
                    <a:gdLst>
                      <a:gd name="T0" fmla="*/ 198 w 304"/>
                      <a:gd name="T1" fmla="*/ 59 h 385"/>
                      <a:gd name="T2" fmla="*/ 193 w 304"/>
                      <a:gd name="T3" fmla="*/ 75 h 385"/>
                      <a:gd name="T4" fmla="*/ 181 w 304"/>
                      <a:gd name="T5" fmla="*/ 116 h 385"/>
                      <a:gd name="T6" fmla="*/ 236 w 304"/>
                      <a:gd name="T7" fmla="*/ 92 h 385"/>
                      <a:gd name="T8" fmla="*/ 288 w 304"/>
                      <a:gd name="T9" fmla="*/ 125 h 385"/>
                      <a:gd name="T10" fmla="*/ 283 w 304"/>
                      <a:gd name="T11" fmla="*/ 132 h 385"/>
                      <a:gd name="T12" fmla="*/ 304 w 304"/>
                      <a:gd name="T13" fmla="*/ 182 h 385"/>
                      <a:gd name="T14" fmla="*/ 304 w 304"/>
                      <a:gd name="T15" fmla="*/ 220 h 385"/>
                      <a:gd name="T16" fmla="*/ 288 w 304"/>
                      <a:gd name="T17" fmla="*/ 264 h 385"/>
                      <a:gd name="T18" fmla="*/ 274 w 304"/>
                      <a:gd name="T19" fmla="*/ 298 h 385"/>
                      <a:gd name="T20" fmla="*/ 283 w 304"/>
                      <a:gd name="T21" fmla="*/ 314 h 385"/>
                      <a:gd name="T22" fmla="*/ 236 w 304"/>
                      <a:gd name="T23" fmla="*/ 298 h 385"/>
                      <a:gd name="T24" fmla="*/ 198 w 304"/>
                      <a:gd name="T25" fmla="*/ 319 h 385"/>
                      <a:gd name="T26" fmla="*/ 181 w 304"/>
                      <a:gd name="T27" fmla="*/ 331 h 385"/>
                      <a:gd name="T28" fmla="*/ 160 w 304"/>
                      <a:gd name="T29" fmla="*/ 347 h 385"/>
                      <a:gd name="T30" fmla="*/ 155 w 304"/>
                      <a:gd name="T31" fmla="*/ 335 h 385"/>
                      <a:gd name="T32" fmla="*/ 144 w 304"/>
                      <a:gd name="T33" fmla="*/ 335 h 385"/>
                      <a:gd name="T34" fmla="*/ 122 w 304"/>
                      <a:gd name="T35" fmla="*/ 368 h 385"/>
                      <a:gd name="T36" fmla="*/ 70 w 304"/>
                      <a:gd name="T37" fmla="*/ 373 h 385"/>
                      <a:gd name="T38" fmla="*/ 59 w 304"/>
                      <a:gd name="T39" fmla="*/ 368 h 385"/>
                      <a:gd name="T40" fmla="*/ 70 w 304"/>
                      <a:gd name="T41" fmla="*/ 364 h 385"/>
                      <a:gd name="T42" fmla="*/ 21 w 304"/>
                      <a:gd name="T43" fmla="*/ 368 h 385"/>
                      <a:gd name="T44" fmla="*/ 21 w 304"/>
                      <a:gd name="T45" fmla="*/ 352 h 385"/>
                      <a:gd name="T46" fmla="*/ 4 w 304"/>
                      <a:gd name="T47" fmla="*/ 352 h 385"/>
                      <a:gd name="T48" fmla="*/ 16 w 304"/>
                      <a:gd name="T49" fmla="*/ 331 h 385"/>
                      <a:gd name="T50" fmla="*/ 0 w 304"/>
                      <a:gd name="T51" fmla="*/ 319 h 385"/>
                      <a:gd name="T52" fmla="*/ 21 w 304"/>
                      <a:gd name="T53" fmla="*/ 298 h 385"/>
                      <a:gd name="T54" fmla="*/ 49 w 304"/>
                      <a:gd name="T55" fmla="*/ 290 h 385"/>
                      <a:gd name="T56" fmla="*/ 113 w 304"/>
                      <a:gd name="T57" fmla="*/ 264 h 385"/>
                      <a:gd name="T58" fmla="*/ 92 w 304"/>
                      <a:gd name="T59" fmla="*/ 264 h 385"/>
                      <a:gd name="T60" fmla="*/ 70 w 304"/>
                      <a:gd name="T61" fmla="*/ 253 h 385"/>
                      <a:gd name="T62" fmla="*/ 70 w 304"/>
                      <a:gd name="T63" fmla="*/ 236 h 385"/>
                      <a:gd name="T64" fmla="*/ 106 w 304"/>
                      <a:gd name="T65" fmla="*/ 220 h 385"/>
                      <a:gd name="T66" fmla="*/ 59 w 304"/>
                      <a:gd name="T67" fmla="*/ 208 h 385"/>
                      <a:gd name="T68" fmla="*/ 49 w 304"/>
                      <a:gd name="T69" fmla="*/ 203 h 385"/>
                      <a:gd name="T70" fmla="*/ 49 w 304"/>
                      <a:gd name="T71" fmla="*/ 187 h 385"/>
                      <a:gd name="T72" fmla="*/ 16 w 304"/>
                      <a:gd name="T73" fmla="*/ 182 h 385"/>
                      <a:gd name="T74" fmla="*/ 37 w 304"/>
                      <a:gd name="T75" fmla="*/ 170 h 385"/>
                      <a:gd name="T76" fmla="*/ 59 w 304"/>
                      <a:gd name="T77" fmla="*/ 153 h 385"/>
                      <a:gd name="T78" fmla="*/ 37 w 304"/>
                      <a:gd name="T79" fmla="*/ 149 h 385"/>
                      <a:gd name="T80" fmla="*/ 49 w 304"/>
                      <a:gd name="T81" fmla="*/ 142 h 385"/>
                      <a:gd name="T82" fmla="*/ 21 w 304"/>
                      <a:gd name="T83" fmla="*/ 125 h 385"/>
                      <a:gd name="T84" fmla="*/ 33 w 304"/>
                      <a:gd name="T85" fmla="*/ 99 h 385"/>
                      <a:gd name="T86" fmla="*/ 49 w 304"/>
                      <a:gd name="T87" fmla="*/ 99 h 385"/>
                      <a:gd name="T88" fmla="*/ 92 w 304"/>
                      <a:gd name="T89" fmla="*/ 116 h 385"/>
                      <a:gd name="T90" fmla="*/ 139 w 304"/>
                      <a:gd name="T91" fmla="*/ 109 h 385"/>
                      <a:gd name="T92" fmla="*/ 155 w 304"/>
                      <a:gd name="T93" fmla="*/ 87 h 385"/>
                      <a:gd name="T94" fmla="*/ 127 w 304"/>
                      <a:gd name="T95" fmla="*/ 75 h 385"/>
                      <a:gd name="T96" fmla="*/ 144 w 304"/>
                      <a:gd name="T97" fmla="*/ 42 h 385"/>
                      <a:gd name="T98" fmla="*/ 144 w 304"/>
                      <a:gd name="T99" fmla="*/ 38 h 385"/>
                      <a:gd name="T100" fmla="*/ 144 w 304"/>
                      <a:gd name="T101" fmla="*/ 21 h 385"/>
                      <a:gd name="T102" fmla="*/ 193 w 304"/>
                      <a:gd name="T103" fmla="*/ 33 h 385"/>
                      <a:gd name="T104" fmla="*/ 181 w 304"/>
                      <a:gd name="T105" fmla="*/ 16 h 385"/>
                      <a:gd name="T106" fmla="*/ 207 w 304"/>
                      <a:gd name="T107" fmla="*/ 21 h 385"/>
                      <a:gd name="T108" fmla="*/ 207 w 304"/>
                      <a:gd name="T109" fmla="*/ 33 h 385"/>
                      <a:gd name="T110" fmla="*/ 215 w 304"/>
                      <a:gd name="T111" fmla="*/ 5 h 385"/>
                      <a:gd name="T112" fmla="*/ 245 w 304"/>
                      <a:gd name="T113" fmla="*/ 16 h 385"/>
                      <a:gd name="T114" fmla="*/ 219 w 304"/>
                      <a:gd name="T115" fmla="*/ 33 h 385"/>
                      <a:gd name="T116" fmla="*/ 21 w 304"/>
                      <a:gd name="T117" fmla="*/ 132 h 385"/>
                      <a:gd name="T118" fmla="*/ 37 w 304"/>
                      <a:gd name="T119" fmla="*/ 149 h 385"/>
                      <a:gd name="T120" fmla="*/ 21 w 304"/>
                      <a:gd name="T121" fmla="*/ 132 h 385"/>
                      <a:gd name="T122" fmla="*/ 21 w 304"/>
                      <a:gd name="T123" fmla="*/ 132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4" h="385">
                        <a:moveTo>
                          <a:pt x="219" y="33"/>
                        </a:moveTo>
                        <a:lnTo>
                          <a:pt x="198" y="59"/>
                        </a:lnTo>
                        <a:lnTo>
                          <a:pt x="177" y="71"/>
                        </a:lnTo>
                        <a:lnTo>
                          <a:pt x="193" y="75"/>
                        </a:lnTo>
                        <a:lnTo>
                          <a:pt x="160" y="92"/>
                        </a:lnTo>
                        <a:lnTo>
                          <a:pt x="181" y="116"/>
                        </a:lnTo>
                        <a:lnTo>
                          <a:pt x="219" y="125"/>
                        </a:lnTo>
                        <a:lnTo>
                          <a:pt x="236" y="92"/>
                        </a:lnTo>
                        <a:lnTo>
                          <a:pt x="266" y="132"/>
                        </a:lnTo>
                        <a:lnTo>
                          <a:pt x="288" y="125"/>
                        </a:lnTo>
                        <a:lnTo>
                          <a:pt x="304" y="132"/>
                        </a:lnTo>
                        <a:lnTo>
                          <a:pt x="283" y="132"/>
                        </a:lnTo>
                        <a:lnTo>
                          <a:pt x="283" y="142"/>
                        </a:lnTo>
                        <a:lnTo>
                          <a:pt x="304" y="182"/>
                        </a:lnTo>
                        <a:lnTo>
                          <a:pt x="288" y="198"/>
                        </a:lnTo>
                        <a:lnTo>
                          <a:pt x="304" y="220"/>
                        </a:lnTo>
                        <a:lnTo>
                          <a:pt x="304" y="236"/>
                        </a:lnTo>
                        <a:lnTo>
                          <a:pt x="288" y="264"/>
                        </a:lnTo>
                        <a:lnTo>
                          <a:pt x="300" y="274"/>
                        </a:lnTo>
                        <a:lnTo>
                          <a:pt x="274" y="298"/>
                        </a:lnTo>
                        <a:lnTo>
                          <a:pt x="288" y="307"/>
                        </a:lnTo>
                        <a:lnTo>
                          <a:pt x="283" y="314"/>
                        </a:lnTo>
                        <a:lnTo>
                          <a:pt x="245" y="314"/>
                        </a:lnTo>
                        <a:lnTo>
                          <a:pt x="236" y="298"/>
                        </a:lnTo>
                        <a:lnTo>
                          <a:pt x="236" y="314"/>
                        </a:lnTo>
                        <a:lnTo>
                          <a:pt x="198" y="319"/>
                        </a:lnTo>
                        <a:lnTo>
                          <a:pt x="198" y="331"/>
                        </a:lnTo>
                        <a:lnTo>
                          <a:pt x="181" y="331"/>
                        </a:lnTo>
                        <a:lnTo>
                          <a:pt x="177" y="335"/>
                        </a:lnTo>
                        <a:lnTo>
                          <a:pt x="160" y="347"/>
                        </a:lnTo>
                        <a:lnTo>
                          <a:pt x="155" y="347"/>
                        </a:lnTo>
                        <a:lnTo>
                          <a:pt x="155" y="335"/>
                        </a:lnTo>
                        <a:lnTo>
                          <a:pt x="139" y="335"/>
                        </a:lnTo>
                        <a:lnTo>
                          <a:pt x="144" y="335"/>
                        </a:lnTo>
                        <a:lnTo>
                          <a:pt x="144" y="352"/>
                        </a:lnTo>
                        <a:lnTo>
                          <a:pt x="122" y="368"/>
                        </a:lnTo>
                        <a:lnTo>
                          <a:pt x="85" y="373"/>
                        </a:lnTo>
                        <a:lnTo>
                          <a:pt x="70" y="373"/>
                        </a:lnTo>
                        <a:lnTo>
                          <a:pt x="49" y="385"/>
                        </a:lnTo>
                        <a:lnTo>
                          <a:pt x="59" y="368"/>
                        </a:lnTo>
                        <a:lnTo>
                          <a:pt x="49" y="368"/>
                        </a:lnTo>
                        <a:lnTo>
                          <a:pt x="70" y="364"/>
                        </a:lnTo>
                        <a:lnTo>
                          <a:pt x="59" y="352"/>
                        </a:lnTo>
                        <a:lnTo>
                          <a:pt x="21" y="368"/>
                        </a:lnTo>
                        <a:lnTo>
                          <a:pt x="59" y="335"/>
                        </a:lnTo>
                        <a:lnTo>
                          <a:pt x="21" y="352"/>
                        </a:lnTo>
                        <a:lnTo>
                          <a:pt x="16" y="347"/>
                        </a:lnTo>
                        <a:lnTo>
                          <a:pt x="4" y="352"/>
                        </a:lnTo>
                        <a:lnTo>
                          <a:pt x="4" y="335"/>
                        </a:lnTo>
                        <a:lnTo>
                          <a:pt x="16" y="331"/>
                        </a:lnTo>
                        <a:lnTo>
                          <a:pt x="49" y="314"/>
                        </a:lnTo>
                        <a:lnTo>
                          <a:pt x="0" y="319"/>
                        </a:lnTo>
                        <a:lnTo>
                          <a:pt x="0" y="314"/>
                        </a:lnTo>
                        <a:lnTo>
                          <a:pt x="21" y="298"/>
                        </a:lnTo>
                        <a:lnTo>
                          <a:pt x="49" y="307"/>
                        </a:lnTo>
                        <a:lnTo>
                          <a:pt x="49" y="290"/>
                        </a:lnTo>
                        <a:lnTo>
                          <a:pt x="54" y="274"/>
                        </a:lnTo>
                        <a:lnTo>
                          <a:pt x="113" y="264"/>
                        </a:lnTo>
                        <a:lnTo>
                          <a:pt x="101" y="257"/>
                        </a:lnTo>
                        <a:lnTo>
                          <a:pt x="92" y="264"/>
                        </a:lnTo>
                        <a:lnTo>
                          <a:pt x="37" y="274"/>
                        </a:lnTo>
                        <a:lnTo>
                          <a:pt x="70" y="253"/>
                        </a:lnTo>
                        <a:lnTo>
                          <a:pt x="75" y="241"/>
                        </a:lnTo>
                        <a:lnTo>
                          <a:pt x="70" y="236"/>
                        </a:lnTo>
                        <a:lnTo>
                          <a:pt x="85" y="220"/>
                        </a:lnTo>
                        <a:lnTo>
                          <a:pt x="106" y="220"/>
                        </a:lnTo>
                        <a:lnTo>
                          <a:pt x="106" y="203"/>
                        </a:lnTo>
                        <a:lnTo>
                          <a:pt x="59" y="208"/>
                        </a:lnTo>
                        <a:lnTo>
                          <a:pt x="59" y="198"/>
                        </a:lnTo>
                        <a:lnTo>
                          <a:pt x="49" y="203"/>
                        </a:lnTo>
                        <a:lnTo>
                          <a:pt x="37" y="203"/>
                        </a:lnTo>
                        <a:lnTo>
                          <a:pt x="49" y="187"/>
                        </a:lnTo>
                        <a:lnTo>
                          <a:pt x="21" y="198"/>
                        </a:lnTo>
                        <a:lnTo>
                          <a:pt x="16" y="182"/>
                        </a:lnTo>
                        <a:lnTo>
                          <a:pt x="54" y="170"/>
                        </a:lnTo>
                        <a:lnTo>
                          <a:pt x="37" y="170"/>
                        </a:lnTo>
                        <a:lnTo>
                          <a:pt x="37" y="153"/>
                        </a:lnTo>
                        <a:lnTo>
                          <a:pt x="59" y="153"/>
                        </a:lnTo>
                        <a:lnTo>
                          <a:pt x="59" y="149"/>
                        </a:lnTo>
                        <a:lnTo>
                          <a:pt x="37" y="149"/>
                        </a:lnTo>
                        <a:lnTo>
                          <a:pt x="37" y="142"/>
                        </a:lnTo>
                        <a:lnTo>
                          <a:pt x="49" y="142"/>
                        </a:lnTo>
                        <a:lnTo>
                          <a:pt x="33" y="109"/>
                        </a:lnTo>
                        <a:lnTo>
                          <a:pt x="21" y="125"/>
                        </a:lnTo>
                        <a:lnTo>
                          <a:pt x="21" y="109"/>
                        </a:lnTo>
                        <a:lnTo>
                          <a:pt x="33" y="99"/>
                        </a:lnTo>
                        <a:lnTo>
                          <a:pt x="37" y="116"/>
                        </a:lnTo>
                        <a:lnTo>
                          <a:pt x="49" y="99"/>
                        </a:lnTo>
                        <a:lnTo>
                          <a:pt x="75" y="99"/>
                        </a:lnTo>
                        <a:lnTo>
                          <a:pt x="92" y="116"/>
                        </a:lnTo>
                        <a:lnTo>
                          <a:pt x="101" y="109"/>
                        </a:lnTo>
                        <a:lnTo>
                          <a:pt x="139" y="109"/>
                        </a:lnTo>
                        <a:lnTo>
                          <a:pt x="122" y="99"/>
                        </a:lnTo>
                        <a:lnTo>
                          <a:pt x="155" y="87"/>
                        </a:lnTo>
                        <a:lnTo>
                          <a:pt x="160" y="71"/>
                        </a:lnTo>
                        <a:lnTo>
                          <a:pt x="127" y="75"/>
                        </a:lnTo>
                        <a:lnTo>
                          <a:pt x="113" y="71"/>
                        </a:lnTo>
                        <a:lnTo>
                          <a:pt x="144" y="42"/>
                        </a:lnTo>
                        <a:lnTo>
                          <a:pt x="139" y="38"/>
                        </a:lnTo>
                        <a:lnTo>
                          <a:pt x="144" y="38"/>
                        </a:lnTo>
                        <a:lnTo>
                          <a:pt x="139" y="38"/>
                        </a:lnTo>
                        <a:lnTo>
                          <a:pt x="144" y="21"/>
                        </a:lnTo>
                        <a:lnTo>
                          <a:pt x="181" y="16"/>
                        </a:lnTo>
                        <a:lnTo>
                          <a:pt x="193" y="33"/>
                        </a:lnTo>
                        <a:lnTo>
                          <a:pt x="193" y="16"/>
                        </a:lnTo>
                        <a:lnTo>
                          <a:pt x="181" y="16"/>
                        </a:lnTo>
                        <a:lnTo>
                          <a:pt x="193" y="5"/>
                        </a:lnTo>
                        <a:lnTo>
                          <a:pt x="207" y="21"/>
                        </a:lnTo>
                        <a:lnTo>
                          <a:pt x="193" y="38"/>
                        </a:lnTo>
                        <a:lnTo>
                          <a:pt x="207" y="33"/>
                        </a:lnTo>
                        <a:lnTo>
                          <a:pt x="198" y="16"/>
                        </a:lnTo>
                        <a:lnTo>
                          <a:pt x="215" y="5"/>
                        </a:lnTo>
                        <a:lnTo>
                          <a:pt x="215" y="0"/>
                        </a:lnTo>
                        <a:lnTo>
                          <a:pt x="245" y="16"/>
                        </a:lnTo>
                        <a:lnTo>
                          <a:pt x="219" y="33"/>
                        </a:lnTo>
                        <a:lnTo>
                          <a:pt x="219" y="33"/>
                        </a:lnTo>
                        <a:lnTo>
                          <a:pt x="219" y="33"/>
                        </a:lnTo>
                        <a:close/>
                        <a:moveTo>
                          <a:pt x="21" y="132"/>
                        </a:moveTo>
                        <a:lnTo>
                          <a:pt x="33" y="132"/>
                        </a:lnTo>
                        <a:lnTo>
                          <a:pt x="37" y="149"/>
                        </a:lnTo>
                        <a:lnTo>
                          <a:pt x="16" y="142"/>
                        </a:lnTo>
                        <a:lnTo>
                          <a:pt x="21" y="132"/>
                        </a:lnTo>
                        <a:lnTo>
                          <a:pt x="21" y="132"/>
                        </a:lnTo>
                        <a:lnTo>
                          <a:pt x="21" y="13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7" name="Freeform 433">
                    <a:extLst>
                      <a:ext uri="{FF2B5EF4-FFF2-40B4-BE49-F238E27FC236}">
                        <a16:creationId xmlns:a16="http://schemas.microsoft.com/office/drawing/2014/main" id="{1F8AA62D-99B6-44C0-8009-3A1774EF6BD6}"/>
                      </a:ext>
                    </a:extLst>
                  </p:cNvPr>
                  <p:cNvSpPr>
                    <a:spLocks noEditPoints="1"/>
                  </p:cNvSpPr>
                  <p:nvPr/>
                </p:nvSpPr>
                <p:spPr bwMode="gray">
                  <a:xfrm>
                    <a:off x="7356503" y="2048477"/>
                    <a:ext cx="182782" cy="89755"/>
                  </a:xfrm>
                  <a:custGeom>
                    <a:avLst/>
                    <a:gdLst>
                      <a:gd name="T0" fmla="*/ 359 w 444"/>
                      <a:gd name="T1" fmla="*/ 208 h 218"/>
                      <a:gd name="T2" fmla="*/ 295 w 444"/>
                      <a:gd name="T3" fmla="*/ 184 h 218"/>
                      <a:gd name="T4" fmla="*/ 240 w 444"/>
                      <a:gd name="T5" fmla="*/ 168 h 218"/>
                      <a:gd name="T6" fmla="*/ 177 w 444"/>
                      <a:gd name="T7" fmla="*/ 184 h 218"/>
                      <a:gd name="T8" fmla="*/ 177 w 444"/>
                      <a:gd name="T9" fmla="*/ 130 h 218"/>
                      <a:gd name="T10" fmla="*/ 132 w 444"/>
                      <a:gd name="T11" fmla="*/ 130 h 218"/>
                      <a:gd name="T12" fmla="*/ 122 w 444"/>
                      <a:gd name="T13" fmla="*/ 97 h 218"/>
                      <a:gd name="T14" fmla="*/ 111 w 444"/>
                      <a:gd name="T15" fmla="*/ 88 h 218"/>
                      <a:gd name="T16" fmla="*/ 127 w 444"/>
                      <a:gd name="T17" fmla="*/ 71 h 218"/>
                      <a:gd name="T18" fmla="*/ 127 w 444"/>
                      <a:gd name="T19" fmla="*/ 71 h 218"/>
                      <a:gd name="T20" fmla="*/ 111 w 444"/>
                      <a:gd name="T21" fmla="*/ 43 h 218"/>
                      <a:gd name="T22" fmla="*/ 160 w 444"/>
                      <a:gd name="T23" fmla="*/ 21 h 218"/>
                      <a:gd name="T24" fmla="*/ 177 w 444"/>
                      <a:gd name="T25" fmla="*/ 14 h 218"/>
                      <a:gd name="T26" fmla="*/ 203 w 444"/>
                      <a:gd name="T27" fmla="*/ 5 h 218"/>
                      <a:gd name="T28" fmla="*/ 257 w 444"/>
                      <a:gd name="T29" fmla="*/ 0 h 218"/>
                      <a:gd name="T30" fmla="*/ 274 w 444"/>
                      <a:gd name="T31" fmla="*/ 0 h 218"/>
                      <a:gd name="T32" fmla="*/ 418 w 444"/>
                      <a:gd name="T33" fmla="*/ 21 h 218"/>
                      <a:gd name="T34" fmla="*/ 444 w 444"/>
                      <a:gd name="T35" fmla="*/ 26 h 218"/>
                      <a:gd name="T36" fmla="*/ 429 w 444"/>
                      <a:gd name="T37" fmla="*/ 38 h 218"/>
                      <a:gd name="T38" fmla="*/ 392 w 444"/>
                      <a:gd name="T39" fmla="*/ 88 h 218"/>
                      <a:gd name="T40" fmla="*/ 396 w 444"/>
                      <a:gd name="T41" fmla="*/ 147 h 218"/>
                      <a:gd name="T42" fmla="*/ 396 w 444"/>
                      <a:gd name="T43" fmla="*/ 184 h 218"/>
                      <a:gd name="T44" fmla="*/ 392 w 444"/>
                      <a:gd name="T45" fmla="*/ 218 h 218"/>
                      <a:gd name="T46" fmla="*/ 52 w 444"/>
                      <a:gd name="T47" fmla="*/ 97 h 218"/>
                      <a:gd name="T48" fmla="*/ 35 w 444"/>
                      <a:gd name="T49" fmla="*/ 76 h 218"/>
                      <a:gd name="T50" fmla="*/ 35 w 444"/>
                      <a:gd name="T51" fmla="*/ 71 h 218"/>
                      <a:gd name="T52" fmla="*/ 73 w 444"/>
                      <a:gd name="T53" fmla="*/ 71 h 218"/>
                      <a:gd name="T54" fmla="*/ 68 w 444"/>
                      <a:gd name="T55" fmla="*/ 88 h 218"/>
                      <a:gd name="T56" fmla="*/ 52 w 444"/>
                      <a:gd name="T57" fmla="*/ 97 h 218"/>
                      <a:gd name="T58" fmla="*/ 96 w 444"/>
                      <a:gd name="T59" fmla="*/ 59 h 218"/>
                      <a:gd name="T60" fmla="*/ 89 w 444"/>
                      <a:gd name="T61" fmla="*/ 71 h 218"/>
                      <a:gd name="T62" fmla="*/ 96 w 444"/>
                      <a:gd name="T63" fmla="*/ 59 h 218"/>
                      <a:gd name="T64" fmla="*/ 96 w 444"/>
                      <a:gd name="T65" fmla="*/ 59 h 218"/>
                      <a:gd name="T66" fmla="*/ 111 w 444"/>
                      <a:gd name="T67" fmla="*/ 114 h 218"/>
                      <a:gd name="T68" fmla="*/ 96 w 444"/>
                      <a:gd name="T69" fmla="*/ 97 h 218"/>
                      <a:gd name="T70" fmla="*/ 96 w 444"/>
                      <a:gd name="T71" fmla="*/ 97 h 218"/>
                      <a:gd name="T72" fmla="*/ 14 w 444"/>
                      <a:gd name="T73" fmla="*/ 168 h 218"/>
                      <a:gd name="T74" fmla="*/ 4 w 444"/>
                      <a:gd name="T75" fmla="*/ 142 h 218"/>
                      <a:gd name="T76" fmla="*/ 0 w 444"/>
                      <a:gd name="T77" fmla="*/ 114 h 218"/>
                      <a:gd name="T78" fmla="*/ 106 w 444"/>
                      <a:gd name="T79" fmla="*/ 125 h 218"/>
                      <a:gd name="T80" fmla="*/ 68 w 444"/>
                      <a:gd name="T81" fmla="*/ 147 h 218"/>
                      <a:gd name="T82" fmla="*/ 26 w 444"/>
                      <a:gd name="T83" fmla="*/ 168 h 218"/>
                      <a:gd name="T84" fmla="*/ 14 w 444"/>
                      <a:gd name="T85" fmla="*/ 18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4" h="218">
                        <a:moveTo>
                          <a:pt x="392" y="218"/>
                        </a:moveTo>
                        <a:lnTo>
                          <a:pt x="359" y="208"/>
                        </a:lnTo>
                        <a:lnTo>
                          <a:pt x="326" y="218"/>
                        </a:lnTo>
                        <a:lnTo>
                          <a:pt x="295" y="184"/>
                        </a:lnTo>
                        <a:lnTo>
                          <a:pt x="240" y="163"/>
                        </a:lnTo>
                        <a:lnTo>
                          <a:pt x="240" y="168"/>
                        </a:lnTo>
                        <a:lnTo>
                          <a:pt x="229" y="163"/>
                        </a:lnTo>
                        <a:lnTo>
                          <a:pt x="177" y="184"/>
                        </a:lnTo>
                        <a:lnTo>
                          <a:pt x="186" y="142"/>
                        </a:lnTo>
                        <a:lnTo>
                          <a:pt x="177" y="130"/>
                        </a:lnTo>
                        <a:lnTo>
                          <a:pt x="160" y="147"/>
                        </a:lnTo>
                        <a:lnTo>
                          <a:pt x="132" y="130"/>
                        </a:lnTo>
                        <a:lnTo>
                          <a:pt x="122" y="109"/>
                        </a:lnTo>
                        <a:lnTo>
                          <a:pt x="122" y="97"/>
                        </a:lnTo>
                        <a:lnTo>
                          <a:pt x="144" y="92"/>
                        </a:lnTo>
                        <a:lnTo>
                          <a:pt x="111" y="88"/>
                        </a:lnTo>
                        <a:lnTo>
                          <a:pt x="111" y="76"/>
                        </a:lnTo>
                        <a:lnTo>
                          <a:pt x="127" y="71"/>
                        </a:lnTo>
                        <a:lnTo>
                          <a:pt x="122" y="59"/>
                        </a:lnTo>
                        <a:lnTo>
                          <a:pt x="127" y="71"/>
                        </a:lnTo>
                        <a:lnTo>
                          <a:pt x="111" y="59"/>
                        </a:lnTo>
                        <a:lnTo>
                          <a:pt x="111" y="43"/>
                        </a:lnTo>
                        <a:lnTo>
                          <a:pt x="148" y="38"/>
                        </a:lnTo>
                        <a:lnTo>
                          <a:pt x="160" y="21"/>
                        </a:lnTo>
                        <a:lnTo>
                          <a:pt x="165" y="26"/>
                        </a:lnTo>
                        <a:lnTo>
                          <a:pt x="177" y="14"/>
                        </a:lnTo>
                        <a:lnTo>
                          <a:pt x="203" y="21"/>
                        </a:lnTo>
                        <a:lnTo>
                          <a:pt x="203" y="5"/>
                        </a:lnTo>
                        <a:lnTo>
                          <a:pt x="252" y="14"/>
                        </a:lnTo>
                        <a:lnTo>
                          <a:pt x="257" y="0"/>
                        </a:lnTo>
                        <a:lnTo>
                          <a:pt x="266" y="5"/>
                        </a:lnTo>
                        <a:lnTo>
                          <a:pt x="274" y="0"/>
                        </a:lnTo>
                        <a:lnTo>
                          <a:pt x="359" y="21"/>
                        </a:lnTo>
                        <a:lnTo>
                          <a:pt x="418" y="21"/>
                        </a:lnTo>
                        <a:lnTo>
                          <a:pt x="434" y="14"/>
                        </a:lnTo>
                        <a:lnTo>
                          <a:pt x="444" y="26"/>
                        </a:lnTo>
                        <a:lnTo>
                          <a:pt x="444" y="38"/>
                        </a:lnTo>
                        <a:lnTo>
                          <a:pt x="429" y="38"/>
                        </a:lnTo>
                        <a:lnTo>
                          <a:pt x="418" y="59"/>
                        </a:lnTo>
                        <a:lnTo>
                          <a:pt x="392" y="88"/>
                        </a:lnTo>
                        <a:lnTo>
                          <a:pt x="396" y="130"/>
                        </a:lnTo>
                        <a:lnTo>
                          <a:pt x="396" y="147"/>
                        </a:lnTo>
                        <a:lnTo>
                          <a:pt x="418" y="184"/>
                        </a:lnTo>
                        <a:lnTo>
                          <a:pt x="396" y="184"/>
                        </a:lnTo>
                        <a:lnTo>
                          <a:pt x="392" y="218"/>
                        </a:lnTo>
                        <a:lnTo>
                          <a:pt x="392" y="218"/>
                        </a:lnTo>
                        <a:lnTo>
                          <a:pt x="392" y="218"/>
                        </a:lnTo>
                        <a:close/>
                        <a:moveTo>
                          <a:pt x="52" y="97"/>
                        </a:moveTo>
                        <a:lnTo>
                          <a:pt x="42" y="97"/>
                        </a:lnTo>
                        <a:lnTo>
                          <a:pt x="35" y="76"/>
                        </a:lnTo>
                        <a:lnTo>
                          <a:pt x="14" y="76"/>
                        </a:lnTo>
                        <a:lnTo>
                          <a:pt x="35" y="71"/>
                        </a:lnTo>
                        <a:lnTo>
                          <a:pt x="52" y="59"/>
                        </a:lnTo>
                        <a:lnTo>
                          <a:pt x="73" y="71"/>
                        </a:lnTo>
                        <a:lnTo>
                          <a:pt x="89" y="88"/>
                        </a:lnTo>
                        <a:lnTo>
                          <a:pt x="68" y="88"/>
                        </a:lnTo>
                        <a:lnTo>
                          <a:pt x="52" y="97"/>
                        </a:lnTo>
                        <a:lnTo>
                          <a:pt x="52" y="97"/>
                        </a:lnTo>
                        <a:lnTo>
                          <a:pt x="52" y="97"/>
                        </a:lnTo>
                        <a:close/>
                        <a:moveTo>
                          <a:pt x="96" y="59"/>
                        </a:moveTo>
                        <a:lnTo>
                          <a:pt x="111" y="71"/>
                        </a:lnTo>
                        <a:lnTo>
                          <a:pt x="89" y="71"/>
                        </a:lnTo>
                        <a:lnTo>
                          <a:pt x="89" y="59"/>
                        </a:lnTo>
                        <a:lnTo>
                          <a:pt x="96" y="59"/>
                        </a:lnTo>
                        <a:lnTo>
                          <a:pt x="96" y="59"/>
                        </a:lnTo>
                        <a:lnTo>
                          <a:pt x="96" y="59"/>
                        </a:lnTo>
                        <a:close/>
                        <a:moveTo>
                          <a:pt x="96" y="97"/>
                        </a:moveTo>
                        <a:lnTo>
                          <a:pt x="111" y="114"/>
                        </a:lnTo>
                        <a:lnTo>
                          <a:pt x="89" y="109"/>
                        </a:lnTo>
                        <a:lnTo>
                          <a:pt x="96" y="97"/>
                        </a:lnTo>
                        <a:lnTo>
                          <a:pt x="96" y="97"/>
                        </a:lnTo>
                        <a:lnTo>
                          <a:pt x="96" y="97"/>
                        </a:lnTo>
                        <a:close/>
                        <a:moveTo>
                          <a:pt x="14" y="180"/>
                        </a:moveTo>
                        <a:lnTo>
                          <a:pt x="14" y="168"/>
                        </a:lnTo>
                        <a:lnTo>
                          <a:pt x="26" y="151"/>
                        </a:lnTo>
                        <a:lnTo>
                          <a:pt x="4" y="142"/>
                        </a:lnTo>
                        <a:lnTo>
                          <a:pt x="14" y="130"/>
                        </a:lnTo>
                        <a:lnTo>
                          <a:pt x="0" y="114"/>
                        </a:lnTo>
                        <a:lnTo>
                          <a:pt x="73" y="109"/>
                        </a:lnTo>
                        <a:lnTo>
                          <a:pt x="106" y="125"/>
                        </a:lnTo>
                        <a:lnTo>
                          <a:pt x="89" y="125"/>
                        </a:lnTo>
                        <a:lnTo>
                          <a:pt x="68" y="147"/>
                        </a:lnTo>
                        <a:lnTo>
                          <a:pt x="35" y="151"/>
                        </a:lnTo>
                        <a:lnTo>
                          <a:pt x="26" y="168"/>
                        </a:lnTo>
                        <a:lnTo>
                          <a:pt x="14" y="180"/>
                        </a:lnTo>
                        <a:lnTo>
                          <a:pt x="14" y="180"/>
                        </a:lnTo>
                        <a:lnTo>
                          <a:pt x="14" y="18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1" name="Freeform 437">
                    <a:extLst>
                      <a:ext uri="{FF2B5EF4-FFF2-40B4-BE49-F238E27FC236}">
                        <a16:creationId xmlns:a16="http://schemas.microsoft.com/office/drawing/2014/main" id="{E1EF95E4-B0F2-4655-BEF3-C16405E45103}"/>
                      </a:ext>
                    </a:extLst>
                  </p:cNvPr>
                  <p:cNvSpPr>
                    <a:spLocks/>
                  </p:cNvSpPr>
                  <p:nvPr/>
                </p:nvSpPr>
                <p:spPr bwMode="gray">
                  <a:xfrm>
                    <a:off x="7075332" y="2403375"/>
                    <a:ext cx="194308" cy="95519"/>
                  </a:xfrm>
                  <a:custGeom>
                    <a:avLst/>
                    <a:gdLst>
                      <a:gd name="T0" fmla="*/ 340 w 472"/>
                      <a:gd name="T1" fmla="*/ 225 h 232"/>
                      <a:gd name="T2" fmla="*/ 340 w 472"/>
                      <a:gd name="T3" fmla="*/ 220 h 232"/>
                      <a:gd name="T4" fmla="*/ 309 w 472"/>
                      <a:gd name="T5" fmla="*/ 208 h 232"/>
                      <a:gd name="T6" fmla="*/ 276 w 472"/>
                      <a:gd name="T7" fmla="*/ 220 h 232"/>
                      <a:gd name="T8" fmla="*/ 205 w 472"/>
                      <a:gd name="T9" fmla="*/ 187 h 232"/>
                      <a:gd name="T10" fmla="*/ 201 w 472"/>
                      <a:gd name="T11" fmla="*/ 208 h 232"/>
                      <a:gd name="T12" fmla="*/ 194 w 472"/>
                      <a:gd name="T13" fmla="*/ 208 h 232"/>
                      <a:gd name="T14" fmla="*/ 184 w 472"/>
                      <a:gd name="T15" fmla="*/ 232 h 232"/>
                      <a:gd name="T16" fmla="*/ 146 w 472"/>
                      <a:gd name="T17" fmla="*/ 225 h 232"/>
                      <a:gd name="T18" fmla="*/ 125 w 472"/>
                      <a:gd name="T19" fmla="*/ 208 h 232"/>
                      <a:gd name="T20" fmla="*/ 59 w 472"/>
                      <a:gd name="T21" fmla="*/ 166 h 232"/>
                      <a:gd name="T22" fmla="*/ 38 w 472"/>
                      <a:gd name="T23" fmla="*/ 154 h 232"/>
                      <a:gd name="T24" fmla="*/ 21 w 472"/>
                      <a:gd name="T25" fmla="*/ 133 h 232"/>
                      <a:gd name="T26" fmla="*/ 31 w 472"/>
                      <a:gd name="T27" fmla="*/ 109 h 232"/>
                      <a:gd name="T28" fmla="*/ 5 w 472"/>
                      <a:gd name="T29" fmla="*/ 92 h 232"/>
                      <a:gd name="T30" fmla="*/ 0 w 472"/>
                      <a:gd name="T31" fmla="*/ 67 h 232"/>
                      <a:gd name="T32" fmla="*/ 16 w 472"/>
                      <a:gd name="T33" fmla="*/ 76 h 232"/>
                      <a:gd name="T34" fmla="*/ 31 w 472"/>
                      <a:gd name="T35" fmla="*/ 59 h 232"/>
                      <a:gd name="T36" fmla="*/ 59 w 472"/>
                      <a:gd name="T37" fmla="*/ 59 h 232"/>
                      <a:gd name="T38" fmla="*/ 97 w 472"/>
                      <a:gd name="T39" fmla="*/ 26 h 232"/>
                      <a:gd name="T40" fmla="*/ 151 w 472"/>
                      <a:gd name="T41" fmla="*/ 10 h 232"/>
                      <a:gd name="T42" fmla="*/ 163 w 472"/>
                      <a:gd name="T43" fmla="*/ 10 h 232"/>
                      <a:gd name="T44" fmla="*/ 151 w 472"/>
                      <a:gd name="T45" fmla="*/ 5 h 232"/>
                      <a:gd name="T46" fmla="*/ 151 w 472"/>
                      <a:gd name="T47" fmla="*/ 0 h 232"/>
                      <a:gd name="T48" fmla="*/ 168 w 472"/>
                      <a:gd name="T49" fmla="*/ 5 h 232"/>
                      <a:gd name="T50" fmla="*/ 177 w 472"/>
                      <a:gd name="T51" fmla="*/ 22 h 232"/>
                      <a:gd name="T52" fmla="*/ 194 w 472"/>
                      <a:gd name="T53" fmla="*/ 22 h 232"/>
                      <a:gd name="T54" fmla="*/ 201 w 472"/>
                      <a:gd name="T55" fmla="*/ 22 h 232"/>
                      <a:gd name="T56" fmla="*/ 201 w 472"/>
                      <a:gd name="T57" fmla="*/ 5 h 232"/>
                      <a:gd name="T58" fmla="*/ 217 w 472"/>
                      <a:gd name="T59" fmla="*/ 5 h 232"/>
                      <a:gd name="T60" fmla="*/ 231 w 472"/>
                      <a:gd name="T61" fmla="*/ 26 h 232"/>
                      <a:gd name="T62" fmla="*/ 286 w 472"/>
                      <a:gd name="T63" fmla="*/ 38 h 232"/>
                      <a:gd name="T64" fmla="*/ 302 w 472"/>
                      <a:gd name="T65" fmla="*/ 43 h 232"/>
                      <a:gd name="T66" fmla="*/ 286 w 472"/>
                      <a:gd name="T67" fmla="*/ 59 h 232"/>
                      <a:gd name="T68" fmla="*/ 314 w 472"/>
                      <a:gd name="T69" fmla="*/ 92 h 232"/>
                      <a:gd name="T70" fmla="*/ 347 w 472"/>
                      <a:gd name="T71" fmla="*/ 76 h 232"/>
                      <a:gd name="T72" fmla="*/ 340 w 472"/>
                      <a:gd name="T73" fmla="*/ 59 h 232"/>
                      <a:gd name="T74" fmla="*/ 368 w 472"/>
                      <a:gd name="T75" fmla="*/ 76 h 232"/>
                      <a:gd name="T76" fmla="*/ 394 w 472"/>
                      <a:gd name="T77" fmla="*/ 67 h 232"/>
                      <a:gd name="T78" fmla="*/ 394 w 472"/>
                      <a:gd name="T79" fmla="*/ 76 h 232"/>
                      <a:gd name="T80" fmla="*/ 385 w 472"/>
                      <a:gd name="T81" fmla="*/ 83 h 232"/>
                      <a:gd name="T82" fmla="*/ 394 w 472"/>
                      <a:gd name="T83" fmla="*/ 92 h 232"/>
                      <a:gd name="T84" fmla="*/ 411 w 472"/>
                      <a:gd name="T85" fmla="*/ 100 h 232"/>
                      <a:gd name="T86" fmla="*/ 418 w 472"/>
                      <a:gd name="T87" fmla="*/ 92 h 232"/>
                      <a:gd name="T88" fmla="*/ 456 w 472"/>
                      <a:gd name="T89" fmla="*/ 109 h 232"/>
                      <a:gd name="T90" fmla="*/ 456 w 472"/>
                      <a:gd name="T91" fmla="*/ 121 h 232"/>
                      <a:gd name="T92" fmla="*/ 472 w 472"/>
                      <a:gd name="T93" fmla="*/ 133 h 232"/>
                      <a:gd name="T94" fmla="*/ 472 w 472"/>
                      <a:gd name="T95" fmla="*/ 149 h 232"/>
                      <a:gd name="T96" fmla="*/ 456 w 472"/>
                      <a:gd name="T97" fmla="*/ 149 h 232"/>
                      <a:gd name="T98" fmla="*/ 432 w 472"/>
                      <a:gd name="T99" fmla="*/ 166 h 232"/>
                      <a:gd name="T100" fmla="*/ 418 w 472"/>
                      <a:gd name="T101" fmla="*/ 187 h 232"/>
                      <a:gd name="T102" fmla="*/ 394 w 472"/>
                      <a:gd name="T103" fmla="*/ 204 h 232"/>
                      <a:gd name="T104" fmla="*/ 357 w 472"/>
                      <a:gd name="T105" fmla="*/ 204 h 232"/>
                      <a:gd name="T106" fmla="*/ 340 w 472"/>
                      <a:gd name="T107" fmla="*/ 225 h 232"/>
                      <a:gd name="T108" fmla="*/ 340 w 472"/>
                      <a:gd name="T109" fmla="*/ 225 h 232"/>
                      <a:gd name="T110" fmla="*/ 340 w 472"/>
                      <a:gd name="T111" fmla="*/ 22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2" h="232">
                        <a:moveTo>
                          <a:pt x="340" y="225"/>
                        </a:moveTo>
                        <a:lnTo>
                          <a:pt x="340" y="220"/>
                        </a:lnTo>
                        <a:lnTo>
                          <a:pt x="309" y="208"/>
                        </a:lnTo>
                        <a:lnTo>
                          <a:pt x="276" y="220"/>
                        </a:lnTo>
                        <a:lnTo>
                          <a:pt x="205" y="187"/>
                        </a:lnTo>
                        <a:lnTo>
                          <a:pt x="201" y="208"/>
                        </a:lnTo>
                        <a:lnTo>
                          <a:pt x="194" y="208"/>
                        </a:lnTo>
                        <a:lnTo>
                          <a:pt x="184" y="232"/>
                        </a:lnTo>
                        <a:lnTo>
                          <a:pt x="146" y="225"/>
                        </a:lnTo>
                        <a:lnTo>
                          <a:pt x="125" y="208"/>
                        </a:lnTo>
                        <a:lnTo>
                          <a:pt x="59" y="166"/>
                        </a:lnTo>
                        <a:lnTo>
                          <a:pt x="38" y="154"/>
                        </a:lnTo>
                        <a:lnTo>
                          <a:pt x="21" y="133"/>
                        </a:lnTo>
                        <a:lnTo>
                          <a:pt x="31" y="109"/>
                        </a:lnTo>
                        <a:lnTo>
                          <a:pt x="5" y="92"/>
                        </a:lnTo>
                        <a:lnTo>
                          <a:pt x="0" y="67"/>
                        </a:lnTo>
                        <a:lnTo>
                          <a:pt x="16" y="76"/>
                        </a:lnTo>
                        <a:lnTo>
                          <a:pt x="31" y="59"/>
                        </a:lnTo>
                        <a:lnTo>
                          <a:pt x="59" y="59"/>
                        </a:lnTo>
                        <a:lnTo>
                          <a:pt x="97" y="26"/>
                        </a:lnTo>
                        <a:lnTo>
                          <a:pt x="151" y="10"/>
                        </a:lnTo>
                        <a:lnTo>
                          <a:pt x="163" y="10"/>
                        </a:lnTo>
                        <a:lnTo>
                          <a:pt x="151" y="5"/>
                        </a:lnTo>
                        <a:lnTo>
                          <a:pt x="151" y="0"/>
                        </a:lnTo>
                        <a:lnTo>
                          <a:pt x="168" y="5"/>
                        </a:lnTo>
                        <a:lnTo>
                          <a:pt x="177" y="22"/>
                        </a:lnTo>
                        <a:lnTo>
                          <a:pt x="194" y="22"/>
                        </a:lnTo>
                        <a:lnTo>
                          <a:pt x="201" y="22"/>
                        </a:lnTo>
                        <a:lnTo>
                          <a:pt x="201" y="5"/>
                        </a:lnTo>
                        <a:lnTo>
                          <a:pt x="217" y="5"/>
                        </a:lnTo>
                        <a:lnTo>
                          <a:pt x="231" y="26"/>
                        </a:lnTo>
                        <a:lnTo>
                          <a:pt x="286" y="38"/>
                        </a:lnTo>
                        <a:lnTo>
                          <a:pt x="302" y="43"/>
                        </a:lnTo>
                        <a:lnTo>
                          <a:pt x="286" y="59"/>
                        </a:lnTo>
                        <a:lnTo>
                          <a:pt x="314" y="92"/>
                        </a:lnTo>
                        <a:lnTo>
                          <a:pt x="347" y="76"/>
                        </a:lnTo>
                        <a:lnTo>
                          <a:pt x="340" y="59"/>
                        </a:lnTo>
                        <a:lnTo>
                          <a:pt x="368" y="76"/>
                        </a:lnTo>
                        <a:lnTo>
                          <a:pt x="394" y="67"/>
                        </a:lnTo>
                        <a:lnTo>
                          <a:pt x="394" y="76"/>
                        </a:lnTo>
                        <a:lnTo>
                          <a:pt x="385" y="83"/>
                        </a:lnTo>
                        <a:lnTo>
                          <a:pt x="394" y="92"/>
                        </a:lnTo>
                        <a:lnTo>
                          <a:pt x="411" y="100"/>
                        </a:lnTo>
                        <a:lnTo>
                          <a:pt x="418" y="92"/>
                        </a:lnTo>
                        <a:lnTo>
                          <a:pt x="456" y="109"/>
                        </a:lnTo>
                        <a:lnTo>
                          <a:pt x="456" y="121"/>
                        </a:lnTo>
                        <a:lnTo>
                          <a:pt x="472" y="133"/>
                        </a:lnTo>
                        <a:lnTo>
                          <a:pt x="472" y="149"/>
                        </a:lnTo>
                        <a:lnTo>
                          <a:pt x="456" y="149"/>
                        </a:lnTo>
                        <a:lnTo>
                          <a:pt x="432" y="166"/>
                        </a:lnTo>
                        <a:lnTo>
                          <a:pt x="418" y="187"/>
                        </a:lnTo>
                        <a:lnTo>
                          <a:pt x="394" y="204"/>
                        </a:lnTo>
                        <a:lnTo>
                          <a:pt x="357" y="204"/>
                        </a:lnTo>
                        <a:lnTo>
                          <a:pt x="340" y="225"/>
                        </a:lnTo>
                        <a:lnTo>
                          <a:pt x="340" y="225"/>
                        </a:lnTo>
                        <a:lnTo>
                          <a:pt x="340" y="22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3" name="Freeform 439">
                    <a:extLst>
                      <a:ext uri="{FF2B5EF4-FFF2-40B4-BE49-F238E27FC236}">
                        <a16:creationId xmlns:a16="http://schemas.microsoft.com/office/drawing/2014/main" id="{7B88273C-551C-4B8F-AB45-E267BF9114EA}"/>
                      </a:ext>
                    </a:extLst>
                  </p:cNvPr>
                  <p:cNvSpPr>
                    <a:spLocks noEditPoints="1"/>
                  </p:cNvSpPr>
                  <p:nvPr/>
                </p:nvSpPr>
                <p:spPr bwMode="gray">
                  <a:xfrm>
                    <a:off x="7289401" y="1544949"/>
                    <a:ext cx="349097" cy="495706"/>
                  </a:xfrm>
                  <a:custGeom>
                    <a:avLst/>
                    <a:gdLst>
                      <a:gd name="T0" fmla="*/ 290 w 848"/>
                      <a:gd name="T1" fmla="*/ 448 h 1204"/>
                      <a:gd name="T2" fmla="*/ 290 w 848"/>
                      <a:gd name="T3" fmla="*/ 349 h 1204"/>
                      <a:gd name="T4" fmla="*/ 290 w 848"/>
                      <a:gd name="T5" fmla="*/ 267 h 1204"/>
                      <a:gd name="T6" fmla="*/ 113 w 848"/>
                      <a:gd name="T7" fmla="*/ 115 h 1204"/>
                      <a:gd name="T8" fmla="*/ 205 w 848"/>
                      <a:gd name="T9" fmla="*/ 172 h 1204"/>
                      <a:gd name="T10" fmla="*/ 399 w 848"/>
                      <a:gd name="T11" fmla="*/ 155 h 1204"/>
                      <a:gd name="T12" fmla="*/ 491 w 848"/>
                      <a:gd name="T13" fmla="*/ 16 h 1204"/>
                      <a:gd name="T14" fmla="*/ 685 w 848"/>
                      <a:gd name="T15" fmla="*/ 70 h 1204"/>
                      <a:gd name="T16" fmla="*/ 654 w 848"/>
                      <a:gd name="T17" fmla="*/ 155 h 1204"/>
                      <a:gd name="T18" fmla="*/ 739 w 848"/>
                      <a:gd name="T19" fmla="*/ 300 h 1204"/>
                      <a:gd name="T20" fmla="*/ 746 w 848"/>
                      <a:gd name="T21" fmla="*/ 538 h 1204"/>
                      <a:gd name="T22" fmla="*/ 729 w 848"/>
                      <a:gd name="T23" fmla="*/ 611 h 1204"/>
                      <a:gd name="T24" fmla="*/ 755 w 848"/>
                      <a:gd name="T25" fmla="*/ 666 h 1204"/>
                      <a:gd name="T26" fmla="*/ 777 w 848"/>
                      <a:gd name="T27" fmla="*/ 727 h 1204"/>
                      <a:gd name="T28" fmla="*/ 685 w 848"/>
                      <a:gd name="T29" fmla="*/ 1044 h 1204"/>
                      <a:gd name="T30" fmla="*/ 491 w 848"/>
                      <a:gd name="T31" fmla="*/ 1133 h 1204"/>
                      <a:gd name="T32" fmla="*/ 458 w 848"/>
                      <a:gd name="T33" fmla="*/ 1133 h 1204"/>
                      <a:gd name="T34" fmla="*/ 437 w 848"/>
                      <a:gd name="T35" fmla="*/ 1150 h 1204"/>
                      <a:gd name="T36" fmla="*/ 361 w 848"/>
                      <a:gd name="T37" fmla="*/ 1171 h 1204"/>
                      <a:gd name="T38" fmla="*/ 257 w 848"/>
                      <a:gd name="T39" fmla="*/ 1195 h 1204"/>
                      <a:gd name="T40" fmla="*/ 252 w 848"/>
                      <a:gd name="T41" fmla="*/ 1183 h 1204"/>
                      <a:gd name="T42" fmla="*/ 215 w 848"/>
                      <a:gd name="T43" fmla="*/ 1155 h 1204"/>
                      <a:gd name="T44" fmla="*/ 144 w 848"/>
                      <a:gd name="T45" fmla="*/ 1126 h 1204"/>
                      <a:gd name="T46" fmla="*/ 151 w 848"/>
                      <a:gd name="T47" fmla="*/ 1015 h 1204"/>
                      <a:gd name="T48" fmla="*/ 113 w 848"/>
                      <a:gd name="T49" fmla="*/ 892 h 1204"/>
                      <a:gd name="T50" fmla="*/ 134 w 848"/>
                      <a:gd name="T51" fmla="*/ 822 h 1204"/>
                      <a:gd name="T52" fmla="*/ 189 w 848"/>
                      <a:gd name="T53" fmla="*/ 800 h 1204"/>
                      <a:gd name="T54" fmla="*/ 236 w 848"/>
                      <a:gd name="T55" fmla="*/ 760 h 1204"/>
                      <a:gd name="T56" fmla="*/ 340 w 848"/>
                      <a:gd name="T57" fmla="*/ 670 h 1204"/>
                      <a:gd name="T58" fmla="*/ 399 w 848"/>
                      <a:gd name="T59" fmla="*/ 628 h 1204"/>
                      <a:gd name="T60" fmla="*/ 361 w 848"/>
                      <a:gd name="T61" fmla="*/ 543 h 1204"/>
                      <a:gd name="T62" fmla="*/ 328 w 848"/>
                      <a:gd name="T63" fmla="*/ 522 h 1204"/>
                      <a:gd name="T64" fmla="*/ 382 w 848"/>
                      <a:gd name="T65" fmla="*/ 616 h 1204"/>
                      <a:gd name="T66" fmla="*/ 236 w 848"/>
                      <a:gd name="T67" fmla="*/ 748 h 1204"/>
                      <a:gd name="T68" fmla="*/ 122 w 848"/>
                      <a:gd name="T69" fmla="*/ 817 h 1204"/>
                      <a:gd name="T70" fmla="*/ 189 w 848"/>
                      <a:gd name="T71" fmla="*/ 822 h 1204"/>
                      <a:gd name="T72" fmla="*/ 189 w 848"/>
                      <a:gd name="T73" fmla="*/ 822 h 1204"/>
                      <a:gd name="T74" fmla="*/ 122 w 848"/>
                      <a:gd name="T75" fmla="*/ 833 h 1204"/>
                      <a:gd name="T76" fmla="*/ 129 w 848"/>
                      <a:gd name="T77" fmla="*/ 1081 h 1204"/>
                      <a:gd name="T78" fmla="*/ 134 w 848"/>
                      <a:gd name="T79" fmla="*/ 1126 h 1204"/>
                      <a:gd name="T80" fmla="*/ 160 w 848"/>
                      <a:gd name="T81" fmla="*/ 1138 h 1204"/>
                      <a:gd name="T82" fmla="*/ 26 w 848"/>
                      <a:gd name="T83" fmla="*/ 1183 h 1204"/>
                      <a:gd name="T84" fmla="*/ 26 w 848"/>
                      <a:gd name="T85" fmla="*/ 1150 h 1204"/>
                      <a:gd name="T86" fmla="*/ 42 w 848"/>
                      <a:gd name="T87" fmla="*/ 1155 h 1204"/>
                      <a:gd name="T88" fmla="*/ 26 w 848"/>
                      <a:gd name="T89" fmla="*/ 1183 h 1204"/>
                      <a:gd name="T90" fmla="*/ 198 w 848"/>
                      <a:gd name="T91" fmla="*/ 1150 h 1204"/>
                      <a:gd name="T92" fmla="*/ 198 w 848"/>
                      <a:gd name="T93" fmla="*/ 1150 h 1204"/>
                      <a:gd name="T94" fmla="*/ 432 w 848"/>
                      <a:gd name="T95" fmla="*/ 1150 h 1204"/>
                      <a:gd name="T96" fmla="*/ 59 w 848"/>
                      <a:gd name="T97" fmla="*/ 1166 h 1204"/>
                      <a:gd name="T98" fmla="*/ 59 w 848"/>
                      <a:gd name="T99" fmla="*/ 1166 h 1204"/>
                      <a:gd name="T100" fmla="*/ 4 w 848"/>
                      <a:gd name="T101" fmla="*/ 1171 h 1204"/>
                      <a:gd name="T102" fmla="*/ 205 w 848"/>
                      <a:gd name="T103" fmla="*/ 1155 h 1204"/>
                      <a:gd name="T104" fmla="*/ 215 w 848"/>
                      <a:gd name="T105" fmla="*/ 1183 h 1204"/>
                      <a:gd name="T106" fmla="*/ 177 w 848"/>
                      <a:gd name="T107" fmla="*/ 1166 h 1204"/>
                      <a:gd name="T108" fmla="*/ 160 w 848"/>
                      <a:gd name="T109" fmla="*/ 1171 h 1204"/>
                      <a:gd name="T110" fmla="*/ 59 w 848"/>
                      <a:gd name="T111" fmla="*/ 1171 h 1204"/>
                      <a:gd name="T112" fmla="*/ 52 w 848"/>
                      <a:gd name="T113" fmla="*/ 1171 h 1204"/>
                      <a:gd name="T114" fmla="*/ 42 w 848"/>
                      <a:gd name="T115" fmla="*/ 1171 h 1204"/>
                      <a:gd name="T116" fmla="*/ 205 w 848"/>
                      <a:gd name="T117" fmla="*/ 1171 h 1204"/>
                      <a:gd name="T118" fmla="*/ 243 w 848"/>
                      <a:gd name="T119" fmla="*/ 1195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8" h="1204">
                        <a:moveTo>
                          <a:pt x="328" y="522"/>
                        </a:moveTo>
                        <a:lnTo>
                          <a:pt x="311" y="489"/>
                        </a:lnTo>
                        <a:lnTo>
                          <a:pt x="297" y="481"/>
                        </a:lnTo>
                        <a:lnTo>
                          <a:pt x="290" y="465"/>
                        </a:lnTo>
                        <a:lnTo>
                          <a:pt x="290" y="448"/>
                        </a:lnTo>
                        <a:lnTo>
                          <a:pt x="307" y="432"/>
                        </a:lnTo>
                        <a:lnTo>
                          <a:pt x="307" y="411"/>
                        </a:lnTo>
                        <a:lnTo>
                          <a:pt x="311" y="404"/>
                        </a:lnTo>
                        <a:lnTo>
                          <a:pt x="285" y="361"/>
                        </a:lnTo>
                        <a:lnTo>
                          <a:pt x="290" y="349"/>
                        </a:lnTo>
                        <a:lnTo>
                          <a:pt x="297" y="349"/>
                        </a:lnTo>
                        <a:lnTo>
                          <a:pt x="297" y="333"/>
                        </a:lnTo>
                        <a:lnTo>
                          <a:pt x="274" y="321"/>
                        </a:lnTo>
                        <a:lnTo>
                          <a:pt x="274" y="276"/>
                        </a:lnTo>
                        <a:lnTo>
                          <a:pt x="290" y="267"/>
                        </a:lnTo>
                        <a:lnTo>
                          <a:pt x="236" y="210"/>
                        </a:lnTo>
                        <a:lnTo>
                          <a:pt x="177" y="193"/>
                        </a:lnTo>
                        <a:lnTo>
                          <a:pt x="75" y="127"/>
                        </a:lnTo>
                        <a:lnTo>
                          <a:pt x="106" y="132"/>
                        </a:lnTo>
                        <a:lnTo>
                          <a:pt x="113" y="115"/>
                        </a:lnTo>
                        <a:lnTo>
                          <a:pt x="106" y="111"/>
                        </a:lnTo>
                        <a:lnTo>
                          <a:pt x="129" y="94"/>
                        </a:lnTo>
                        <a:lnTo>
                          <a:pt x="151" y="99"/>
                        </a:lnTo>
                        <a:lnTo>
                          <a:pt x="198" y="155"/>
                        </a:lnTo>
                        <a:lnTo>
                          <a:pt x="205" y="172"/>
                        </a:lnTo>
                        <a:lnTo>
                          <a:pt x="257" y="181"/>
                        </a:lnTo>
                        <a:lnTo>
                          <a:pt x="311" y="155"/>
                        </a:lnTo>
                        <a:lnTo>
                          <a:pt x="382" y="189"/>
                        </a:lnTo>
                        <a:lnTo>
                          <a:pt x="394" y="181"/>
                        </a:lnTo>
                        <a:lnTo>
                          <a:pt x="399" y="155"/>
                        </a:lnTo>
                        <a:lnTo>
                          <a:pt x="432" y="148"/>
                        </a:lnTo>
                        <a:lnTo>
                          <a:pt x="437" y="132"/>
                        </a:lnTo>
                        <a:lnTo>
                          <a:pt x="437" y="99"/>
                        </a:lnTo>
                        <a:lnTo>
                          <a:pt x="453" y="44"/>
                        </a:lnTo>
                        <a:lnTo>
                          <a:pt x="491" y="16"/>
                        </a:lnTo>
                        <a:lnTo>
                          <a:pt x="529" y="21"/>
                        </a:lnTo>
                        <a:lnTo>
                          <a:pt x="595" y="0"/>
                        </a:lnTo>
                        <a:lnTo>
                          <a:pt x="621" y="28"/>
                        </a:lnTo>
                        <a:lnTo>
                          <a:pt x="675" y="44"/>
                        </a:lnTo>
                        <a:lnTo>
                          <a:pt x="685" y="70"/>
                        </a:lnTo>
                        <a:lnTo>
                          <a:pt x="654" y="99"/>
                        </a:lnTo>
                        <a:lnTo>
                          <a:pt x="654" y="115"/>
                        </a:lnTo>
                        <a:lnTo>
                          <a:pt x="663" y="127"/>
                        </a:lnTo>
                        <a:lnTo>
                          <a:pt x="621" y="148"/>
                        </a:lnTo>
                        <a:lnTo>
                          <a:pt x="654" y="155"/>
                        </a:lnTo>
                        <a:lnTo>
                          <a:pt x="633" y="193"/>
                        </a:lnTo>
                        <a:lnTo>
                          <a:pt x="647" y="238"/>
                        </a:lnTo>
                        <a:lnTo>
                          <a:pt x="692" y="250"/>
                        </a:lnTo>
                        <a:lnTo>
                          <a:pt x="718" y="283"/>
                        </a:lnTo>
                        <a:lnTo>
                          <a:pt x="739" y="300"/>
                        </a:lnTo>
                        <a:lnTo>
                          <a:pt x="729" y="316"/>
                        </a:lnTo>
                        <a:lnTo>
                          <a:pt x="675" y="378"/>
                        </a:lnTo>
                        <a:lnTo>
                          <a:pt x="670" y="394"/>
                        </a:lnTo>
                        <a:lnTo>
                          <a:pt x="729" y="489"/>
                        </a:lnTo>
                        <a:lnTo>
                          <a:pt x="746" y="538"/>
                        </a:lnTo>
                        <a:lnTo>
                          <a:pt x="725" y="543"/>
                        </a:lnTo>
                        <a:lnTo>
                          <a:pt x="718" y="576"/>
                        </a:lnTo>
                        <a:lnTo>
                          <a:pt x="708" y="592"/>
                        </a:lnTo>
                        <a:lnTo>
                          <a:pt x="725" y="592"/>
                        </a:lnTo>
                        <a:lnTo>
                          <a:pt x="729" y="611"/>
                        </a:lnTo>
                        <a:lnTo>
                          <a:pt x="708" y="611"/>
                        </a:lnTo>
                        <a:lnTo>
                          <a:pt x="708" y="633"/>
                        </a:lnTo>
                        <a:lnTo>
                          <a:pt x="725" y="637"/>
                        </a:lnTo>
                        <a:lnTo>
                          <a:pt x="746" y="649"/>
                        </a:lnTo>
                        <a:lnTo>
                          <a:pt x="755" y="666"/>
                        </a:lnTo>
                        <a:lnTo>
                          <a:pt x="739" y="670"/>
                        </a:lnTo>
                        <a:lnTo>
                          <a:pt x="746" y="682"/>
                        </a:lnTo>
                        <a:lnTo>
                          <a:pt x="739" y="687"/>
                        </a:lnTo>
                        <a:lnTo>
                          <a:pt x="777" y="711"/>
                        </a:lnTo>
                        <a:lnTo>
                          <a:pt x="777" y="727"/>
                        </a:lnTo>
                        <a:lnTo>
                          <a:pt x="739" y="765"/>
                        </a:lnTo>
                        <a:lnTo>
                          <a:pt x="826" y="822"/>
                        </a:lnTo>
                        <a:lnTo>
                          <a:pt x="848" y="859"/>
                        </a:lnTo>
                        <a:lnTo>
                          <a:pt x="826" y="904"/>
                        </a:lnTo>
                        <a:lnTo>
                          <a:pt x="685" y="1044"/>
                        </a:lnTo>
                        <a:lnTo>
                          <a:pt x="583" y="1126"/>
                        </a:lnTo>
                        <a:lnTo>
                          <a:pt x="562" y="1133"/>
                        </a:lnTo>
                        <a:lnTo>
                          <a:pt x="540" y="1117"/>
                        </a:lnTo>
                        <a:lnTo>
                          <a:pt x="524" y="1133"/>
                        </a:lnTo>
                        <a:lnTo>
                          <a:pt x="491" y="1133"/>
                        </a:lnTo>
                        <a:lnTo>
                          <a:pt x="503" y="1117"/>
                        </a:lnTo>
                        <a:lnTo>
                          <a:pt x="507" y="1117"/>
                        </a:lnTo>
                        <a:lnTo>
                          <a:pt x="503" y="1110"/>
                        </a:lnTo>
                        <a:lnTo>
                          <a:pt x="486" y="1138"/>
                        </a:lnTo>
                        <a:lnTo>
                          <a:pt x="458" y="1133"/>
                        </a:lnTo>
                        <a:lnTo>
                          <a:pt x="458" y="1150"/>
                        </a:lnTo>
                        <a:lnTo>
                          <a:pt x="458" y="1150"/>
                        </a:lnTo>
                        <a:lnTo>
                          <a:pt x="448" y="1138"/>
                        </a:lnTo>
                        <a:lnTo>
                          <a:pt x="453" y="1155"/>
                        </a:lnTo>
                        <a:lnTo>
                          <a:pt x="437" y="1150"/>
                        </a:lnTo>
                        <a:lnTo>
                          <a:pt x="448" y="1155"/>
                        </a:lnTo>
                        <a:lnTo>
                          <a:pt x="437" y="1155"/>
                        </a:lnTo>
                        <a:lnTo>
                          <a:pt x="432" y="1138"/>
                        </a:lnTo>
                        <a:lnTo>
                          <a:pt x="420" y="1155"/>
                        </a:lnTo>
                        <a:lnTo>
                          <a:pt x="361" y="1171"/>
                        </a:lnTo>
                        <a:lnTo>
                          <a:pt x="349" y="1183"/>
                        </a:lnTo>
                        <a:lnTo>
                          <a:pt x="340" y="1171"/>
                        </a:lnTo>
                        <a:lnTo>
                          <a:pt x="274" y="1188"/>
                        </a:lnTo>
                        <a:lnTo>
                          <a:pt x="285" y="1171"/>
                        </a:lnTo>
                        <a:lnTo>
                          <a:pt x="257" y="1195"/>
                        </a:lnTo>
                        <a:lnTo>
                          <a:pt x="236" y="1204"/>
                        </a:lnTo>
                        <a:lnTo>
                          <a:pt x="269" y="1183"/>
                        </a:lnTo>
                        <a:lnTo>
                          <a:pt x="252" y="1188"/>
                        </a:lnTo>
                        <a:lnTo>
                          <a:pt x="257" y="1183"/>
                        </a:lnTo>
                        <a:lnTo>
                          <a:pt x="252" y="1183"/>
                        </a:lnTo>
                        <a:lnTo>
                          <a:pt x="243" y="1171"/>
                        </a:lnTo>
                        <a:lnTo>
                          <a:pt x="243" y="1171"/>
                        </a:lnTo>
                        <a:lnTo>
                          <a:pt x="236" y="1166"/>
                        </a:lnTo>
                        <a:lnTo>
                          <a:pt x="252" y="1150"/>
                        </a:lnTo>
                        <a:lnTo>
                          <a:pt x="215" y="1155"/>
                        </a:lnTo>
                        <a:lnTo>
                          <a:pt x="205" y="1155"/>
                        </a:lnTo>
                        <a:lnTo>
                          <a:pt x="219" y="1138"/>
                        </a:lnTo>
                        <a:lnTo>
                          <a:pt x="160" y="1133"/>
                        </a:lnTo>
                        <a:lnTo>
                          <a:pt x="160" y="1117"/>
                        </a:lnTo>
                        <a:lnTo>
                          <a:pt x="144" y="1126"/>
                        </a:lnTo>
                        <a:lnTo>
                          <a:pt x="129" y="1110"/>
                        </a:lnTo>
                        <a:lnTo>
                          <a:pt x="129" y="1081"/>
                        </a:lnTo>
                        <a:lnTo>
                          <a:pt x="144" y="1039"/>
                        </a:lnTo>
                        <a:lnTo>
                          <a:pt x="134" y="1015"/>
                        </a:lnTo>
                        <a:lnTo>
                          <a:pt x="151" y="1015"/>
                        </a:lnTo>
                        <a:lnTo>
                          <a:pt x="122" y="966"/>
                        </a:lnTo>
                        <a:lnTo>
                          <a:pt x="129" y="944"/>
                        </a:lnTo>
                        <a:lnTo>
                          <a:pt x="129" y="928"/>
                        </a:lnTo>
                        <a:lnTo>
                          <a:pt x="113" y="911"/>
                        </a:lnTo>
                        <a:lnTo>
                          <a:pt x="113" y="892"/>
                        </a:lnTo>
                        <a:lnTo>
                          <a:pt x="113" y="876"/>
                        </a:lnTo>
                        <a:lnTo>
                          <a:pt x="129" y="859"/>
                        </a:lnTo>
                        <a:lnTo>
                          <a:pt x="134" y="850"/>
                        </a:lnTo>
                        <a:lnTo>
                          <a:pt x="151" y="850"/>
                        </a:lnTo>
                        <a:lnTo>
                          <a:pt x="134" y="822"/>
                        </a:lnTo>
                        <a:lnTo>
                          <a:pt x="167" y="822"/>
                        </a:lnTo>
                        <a:lnTo>
                          <a:pt x="177" y="833"/>
                        </a:lnTo>
                        <a:lnTo>
                          <a:pt x="198" y="822"/>
                        </a:lnTo>
                        <a:lnTo>
                          <a:pt x="198" y="817"/>
                        </a:lnTo>
                        <a:lnTo>
                          <a:pt x="189" y="800"/>
                        </a:lnTo>
                        <a:lnTo>
                          <a:pt x="198" y="793"/>
                        </a:lnTo>
                        <a:lnTo>
                          <a:pt x="205" y="800"/>
                        </a:lnTo>
                        <a:lnTo>
                          <a:pt x="215" y="765"/>
                        </a:lnTo>
                        <a:lnTo>
                          <a:pt x="231" y="781"/>
                        </a:lnTo>
                        <a:lnTo>
                          <a:pt x="236" y="760"/>
                        </a:lnTo>
                        <a:lnTo>
                          <a:pt x="269" y="748"/>
                        </a:lnTo>
                        <a:lnTo>
                          <a:pt x="274" y="727"/>
                        </a:lnTo>
                        <a:lnTo>
                          <a:pt x="290" y="727"/>
                        </a:lnTo>
                        <a:lnTo>
                          <a:pt x="311" y="687"/>
                        </a:lnTo>
                        <a:lnTo>
                          <a:pt x="340" y="670"/>
                        </a:lnTo>
                        <a:lnTo>
                          <a:pt x="349" y="637"/>
                        </a:lnTo>
                        <a:lnTo>
                          <a:pt x="394" y="633"/>
                        </a:lnTo>
                        <a:lnTo>
                          <a:pt x="403" y="637"/>
                        </a:lnTo>
                        <a:lnTo>
                          <a:pt x="415" y="633"/>
                        </a:lnTo>
                        <a:lnTo>
                          <a:pt x="399" y="628"/>
                        </a:lnTo>
                        <a:lnTo>
                          <a:pt x="415" y="628"/>
                        </a:lnTo>
                        <a:lnTo>
                          <a:pt x="403" y="600"/>
                        </a:lnTo>
                        <a:lnTo>
                          <a:pt x="415" y="571"/>
                        </a:lnTo>
                        <a:lnTo>
                          <a:pt x="403" y="559"/>
                        </a:lnTo>
                        <a:lnTo>
                          <a:pt x="361" y="543"/>
                        </a:lnTo>
                        <a:lnTo>
                          <a:pt x="349" y="526"/>
                        </a:lnTo>
                        <a:lnTo>
                          <a:pt x="361" y="517"/>
                        </a:lnTo>
                        <a:lnTo>
                          <a:pt x="344" y="526"/>
                        </a:lnTo>
                        <a:lnTo>
                          <a:pt x="328" y="522"/>
                        </a:lnTo>
                        <a:lnTo>
                          <a:pt x="328" y="522"/>
                        </a:lnTo>
                        <a:lnTo>
                          <a:pt x="328" y="522"/>
                        </a:lnTo>
                        <a:close/>
                        <a:moveTo>
                          <a:pt x="382" y="616"/>
                        </a:moveTo>
                        <a:lnTo>
                          <a:pt x="366" y="628"/>
                        </a:lnTo>
                        <a:lnTo>
                          <a:pt x="349" y="616"/>
                        </a:lnTo>
                        <a:lnTo>
                          <a:pt x="382" y="616"/>
                        </a:lnTo>
                        <a:lnTo>
                          <a:pt x="382" y="616"/>
                        </a:lnTo>
                        <a:lnTo>
                          <a:pt x="382" y="616"/>
                        </a:lnTo>
                        <a:close/>
                        <a:moveTo>
                          <a:pt x="236" y="760"/>
                        </a:moveTo>
                        <a:lnTo>
                          <a:pt x="219" y="760"/>
                        </a:lnTo>
                        <a:lnTo>
                          <a:pt x="236" y="748"/>
                        </a:lnTo>
                        <a:lnTo>
                          <a:pt x="236" y="760"/>
                        </a:lnTo>
                        <a:lnTo>
                          <a:pt x="236" y="760"/>
                        </a:lnTo>
                        <a:lnTo>
                          <a:pt x="236" y="760"/>
                        </a:lnTo>
                        <a:close/>
                        <a:moveTo>
                          <a:pt x="129" y="817"/>
                        </a:moveTo>
                        <a:lnTo>
                          <a:pt x="122" y="817"/>
                        </a:lnTo>
                        <a:lnTo>
                          <a:pt x="129" y="817"/>
                        </a:lnTo>
                        <a:lnTo>
                          <a:pt x="129" y="817"/>
                        </a:lnTo>
                        <a:lnTo>
                          <a:pt x="129" y="817"/>
                        </a:lnTo>
                        <a:lnTo>
                          <a:pt x="129" y="817"/>
                        </a:lnTo>
                        <a:close/>
                        <a:moveTo>
                          <a:pt x="189" y="822"/>
                        </a:moveTo>
                        <a:lnTo>
                          <a:pt x="177" y="817"/>
                        </a:lnTo>
                        <a:lnTo>
                          <a:pt x="189" y="817"/>
                        </a:lnTo>
                        <a:lnTo>
                          <a:pt x="189" y="822"/>
                        </a:lnTo>
                        <a:lnTo>
                          <a:pt x="189" y="822"/>
                        </a:lnTo>
                        <a:lnTo>
                          <a:pt x="189" y="822"/>
                        </a:lnTo>
                        <a:close/>
                        <a:moveTo>
                          <a:pt x="122" y="833"/>
                        </a:moveTo>
                        <a:lnTo>
                          <a:pt x="113" y="817"/>
                        </a:lnTo>
                        <a:lnTo>
                          <a:pt x="134" y="822"/>
                        </a:lnTo>
                        <a:lnTo>
                          <a:pt x="122" y="833"/>
                        </a:lnTo>
                        <a:lnTo>
                          <a:pt x="122" y="833"/>
                        </a:lnTo>
                        <a:lnTo>
                          <a:pt x="122" y="833"/>
                        </a:lnTo>
                        <a:close/>
                        <a:moveTo>
                          <a:pt x="129" y="1081"/>
                        </a:moveTo>
                        <a:lnTo>
                          <a:pt x="122" y="1077"/>
                        </a:lnTo>
                        <a:lnTo>
                          <a:pt x="129" y="1081"/>
                        </a:lnTo>
                        <a:lnTo>
                          <a:pt x="129" y="1081"/>
                        </a:lnTo>
                        <a:lnTo>
                          <a:pt x="129" y="1081"/>
                        </a:lnTo>
                        <a:lnTo>
                          <a:pt x="129" y="1081"/>
                        </a:lnTo>
                        <a:close/>
                        <a:moveTo>
                          <a:pt x="134" y="1133"/>
                        </a:moveTo>
                        <a:lnTo>
                          <a:pt x="129" y="1126"/>
                        </a:lnTo>
                        <a:lnTo>
                          <a:pt x="134" y="1126"/>
                        </a:lnTo>
                        <a:lnTo>
                          <a:pt x="134" y="1133"/>
                        </a:lnTo>
                        <a:lnTo>
                          <a:pt x="134" y="1133"/>
                        </a:lnTo>
                        <a:lnTo>
                          <a:pt x="134" y="1133"/>
                        </a:lnTo>
                        <a:close/>
                        <a:moveTo>
                          <a:pt x="177" y="1150"/>
                        </a:moveTo>
                        <a:lnTo>
                          <a:pt x="160" y="1138"/>
                        </a:lnTo>
                        <a:lnTo>
                          <a:pt x="160" y="1133"/>
                        </a:lnTo>
                        <a:lnTo>
                          <a:pt x="177" y="1150"/>
                        </a:lnTo>
                        <a:lnTo>
                          <a:pt x="177" y="1150"/>
                        </a:lnTo>
                        <a:lnTo>
                          <a:pt x="177" y="1150"/>
                        </a:lnTo>
                        <a:close/>
                        <a:moveTo>
                          <a:pt x="26" y="1183"/>
                        </a:moveTo>
                        <a:lnTo>
                          <a:pt x="21" y="1171"/>
                        </a:lnTo>
                        <a:lnTo>
                          <a:pt x="14" y="1155"/>
                        </a:lnTo>
                        <a:lnTo>
                          <a:pt x="21" y="1150"/>
                        </a:lnTo>
                        <a:lnTo>
                          <a:pt x="21" y="1166"/>
                        </a:lnTo>
                        <a:lnTo>
                          <a:pt x="26" y="1150"/>
                        </a:lnTo>
                        <a:lnTo>
                          <a:pt x="21" y="1138"/>
                        </a:lnTo>
                        <a:lnTo>
                          <a:pt x="26" y="1138"/>
                        </a:lnTo>
                        <a:lnTo>
                          <a:pt x="52" y="1150"/>
                        </a:lnTo>
                        <a:lnTo>
                          <a:pt x="42" y="1166"/>
                        </a:lnTo>
                        <a:lnTo>
                          <a:pt x="42" y="1155"/>
                        </a:lnTo>
                        <a:lnTo>
                          <a:pt x="37" y="1150"/>
                        </a:lnTo>
                        <a:lnTo>
                          <a:pt x="26" y="1155"/>
                        </a:lnTo>
                        <a:lnTo>
                          <a:pt x="37" y="1171"/>
                        </a:lnTo>
                        <a:lnTo>
                          <a:pt x="26" y="1183"/>
                        </a:lnTo>
                        <a:lnTo>
                          <a:pt x="26" y="1183"/>
                        </a:lnTo>
                        <a:lnTo>
                          <a:pt x="26" y="1183"/>
                        </a:lnTo>
                        <a:close/>
                        <a:moveTo>
                          <a:pt x="198" y="1150"/>
                        </a:moveTo>
                        <a:lnTo>
                          <a:pt x="198" y="1150"/>
                        </a:lnTo>
                        <a:lnTo>
                          <a:pt x="205" y="1150"/>
                        </a:lnTo>
                        <a:lnTo>
                          <a:pt x="198" y="1150"/>
                        </a:lnTo>
                        <a:lnTo>
                          <a:pt x="198" y="1150"/>
                        </a:lnTo>
                        <a:lnTo>
                          <a:pt x="198" y="1150"/>
                        </a:lnTo>
                        <a:close/>
                        <a:moveTo>
                          <a:pt x="189" y="1155"/>
                        </a:moveTo>
                        <a:lnTo>
                          <a:pt x="181" y="1150"/>
                        </a:lnTo>
                        <a:lnTo>
                          <a:pt x="198" y="1150"/>
                        </a:lnTo>
                        <a:lnTo>
                          <a:pt x="189" y="1155"/>
                        </a:lnTo>
                        <a:lnTo>
                          <a:pt x="189" y="1155"/>
                        </a:lnTo>
                        <a:lnTo>
                          <a:pt x="189" y="1155"/>
                        </a:lnTo>
                        <a:close/>
                        <a:moveTo>
                          <a:pt x="432" y="1166"/>
                        </a:moveTo>
                        <a:lnTo>
                          <a:pt x="432" y="1150"/>
                        </a:lnTo>
                        <a:lnTo>
                          <a:pt x="432" y="1155"/>
                        </a:lnTo>
                        <a:lnTo>
                          <a:pt x="432" y="1166"/>
                        </a:lnTo>
                        <a:lnTo>
                          <a:pt x="432" y="1166"/>
                        </a:lnTo>
                        <a:lnTo>
                          <a:pt x="432" y="1166"/>
                        </a:lnTo>
                        <a:close/>
                        <a:moveTo>
                          <a:pt x="59" y="1166"/>
                        </a:moveTo>
                        <a:lnTo>
                          <a:pt x="59" y="1155"/>
                        </a:lnTo>
                        <a:lnTo>
                          <a:pt x="68" y="1155"/>
                        </a:lnTo>
                        <a:lnTo>
                          <a:pt x="59" y="1166"/>
                        </a:lnTo>
                        <a:lnTo>
                          <a:pt x="59" y="1166"/>
                        </a:lnTo>
                        <a:lnTo>
                          <a:pt x="59" y="1166"/>
                        </a:lnTo>
                        <a:close/>
                        <a:moveTo>
                          <a:pt x="4" y="1171"/>
                        </a:moveTo>
                        <a:lnTo>
                          <a:pt x="0" y="1166"/>
                        </a:lnTo>
                        <a:lnTo>
                          <a:pt x="4" y="1155"/>
                        </a:lnTo>
                        <a:lnTo>
                          <a:pt x="14" y="1166"/>
                        </a:lnTo>
                        <a:lnTo>
                          <a:pt x="4" y="1171"/>
                        </a:lnTo>
                        <a:lnTo>
                          <a:pt x="4" y="1171"/>
                        </a:lnTo>
                        <a:lnTo>
                          <a:pt x="4" y="1171"/>
                        </a:lnTo>
                        <a:close/>
                        <a:moveTo>
                          <a:pt x="215" y="1183"/>
                        </a:moveTo>
                        <a:lnTo>
                          <a:pt x="205" y="1183"/>
                        </a:lnTo>
                        <a:lnTo>
                          <a:pt x="205" y="1155"/>
                        </a:lnTo>
                        <a:lnTo>
                          <a:pt x="236" y="1155"/>
                        </a:lnTo>
                        <a:lnTo>
                          <a:pt x="236" y="1171"/>
                        </a:lnTo>
                        <a:lnTo>
                          <a:pt x="215" y="1183"/>
                        </a:lnTo>
                        <a:lnTo>
                          <a:pt x="215" y="1183"/>
                        </a:lnTo>
                        <a:lnTo>
                          <a:pt x="215" y="1183"/>
                        </a:lnTo>
                        <a:close/>
                        <a:moveTo>
                          <a:pt x="177" y="1166"/>
                        </a:moveTo>
                        <a:lnTo>
                          <a:pt x="167" y="1166"/>
                        </a:lnTo>
                        <a:lnTo>
                          <a:pt x="181" y="1166"/>
                        </a:lnTo>
                        <a:lnTo>
                          <a:pt x="177" y="1166"/>
                        </a:lnTo>
                        <a:lnTo>
                          <a:pt x="177" y="1166"/>
                        </a:lnTo>
                        <a:lnTo>
                          <a:pt x="177" y="1166"/>
                        </a:lnTo>
                        <a:close/>
                        <a:moveTo>
                          <a:pt x="160" y="1171"/>
                        </a:moveTo>
                        <a:lnTo>
                          <a:pt x="151" y="1166"/>
                        </a:lnTo>
                        <a:lnTo>
                          <a:pt x="167" y="1166"/>
                        </a:lnTo>
                        <a:lnTo>
                          <a:pt x="160" y="1171"/>
                        </a:lnTo>
                        <a:lnTo>
                          <a:pt x="160" y="1171"/>
                        </a:lnTo>
                        <a:lnTo>
                          <a:pt x="160" y="1171"/>
                        </a:lnTo>
                        <a:close/>
                        <a:moveTo>
                          <a:pt x="52" y="1171"/>
                        </a:moveTo>
                        <a:lnTo>
                          <a:pt x="52" y="1166"/>
                        </a:lnTo>
                        <a:lnTo>
                          <a:pt x="59" y="1171"/>
                        </a:lnTo>
                        <a:lnTo>
                          <a:pt x="52" y="1171"/>
                        </a:lnTo>
                        <a:lnTo>
                          <a:pt x="52" y="1171"/>
                        </a:lnTo>
                        <a:lnTo>
                          <a:pt x="52" y="1171"/>
                        </a:lnTo>
                        <a:close/>
                        <a:moveTo>
                          <a:pt x="42" y="1171"/>
                        </a:moveTo>
                        <a:lnTo>
                          <a:pt x="52" y="1171"/>
                        </a:lnTo>
                        <a:lnTo>
                          <a:pt x="52" y="1183"/>
                        </a:lnTo>
                        <a:lnTo>
                          <a:pt x="37" y="1171"/>
                        </a:lnTo>
                        <a:lnTo>
                          <a:pt x="42" y="1171"/>
                        </a:lnTo>
                        <a:lnTo>
                          <a:pt x="42" y="1171"/>
                        </a:lnTo>
                        <a:lnTo>
                          <a:pt x="42" y="1171"/>
                        </a:lnTo>
                        <a:close/>
                        <a:moveTo>
                          <a:pt x="205" y="1171"/>
                        </a:moveTo>
                        <a:lnTo>
                          <a:pt x="198" y="1183"/>
                        </a:lnTo>
                        <a:lnTo>
                          <a:pt x="198" y="1171"/>
                        </a:lnTo>
                        <a:lnTo>
                          <a:pt x="205" y="1171"/>
                        </a:lnTo>
                        <a:lnTo>
                          <a:pt x="205" y="1171"/>
                        </a:lnTo>
                        <a:lnTo>
                          <a:pt x="205" y="1171"/>
                        </a:lnTo>
                        <a:close/>
                        <a:moveTo>
                          <a:pt x="243" y="1195"/>
                        </a:moveTo>
                        <a:lnTo>
                          <a:pt x="231" y="1188"/>
                        </a:lnTo>
                        <a:lnTo>
                          <a:pt x="252" y="1188"/>
                        </a:lnTo>
                        <a:lnTo>
                          <a:pt x="243" y="1195"/>
                        </a:lnTo>
                        <a:lnTo>
                          <a:pt x="243" y="1195"/>
                        </a:lnTo>
                        <a:lnTo>
                          <a:pt x="243" y="119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4" name="Freeform 443">
                    <a:extLst>
                      <a:ext uri="{FF2B5EF4-FFF2-40B4-BE49-F238E27FC236}">
                        <a16:creationId xmlns:a16="http://schemas.microsoft.com/office/drawing/2014/main" id="{DB13EE8B-DD56-43F8-939E-B429F0B4AAE9}"/>
                      </a:ext>
                    </a:extLst>
                  </p:cNvPr>
                  <p:cNvSpPr>
                    <a:spLocks noEditPoints="1"/>
                  </p:cNvSpPr>
                  <p:nvPr/>
                </p:nvSpPr>
                <p:spPr bwMode="gray">
                  <a:xfrm>
                    <a:off x="6511344" y="1926197"/>
                    <a:ext cx="30053" cy="40760"/>
                  </a:xfrm>
                  <a:custGeom>
                    <a:avLst/>
                    <a:gdLst>
                      <a:gd name="T0" fmla="*/ 64 w 73"/>
                      <a:gd name="T1" fmla="*/ 16 h 99"/>
                      <a:gd name="T2" fmla="*/ 56 w 73"/>
                      <a:gd name="T3" fmla="*/ 4 h 99"/>
                      <a:gd name="T4" fmla="*/ 64 w 73"/>
                      <a:gd name="T5" fmla="*/ 0 h 99"/>
                      <a:gd name="T6" fmla="*/ 73 w 73"/>
                      <a:gd name="T7" fmla="*/ 4 h 99"/>
                      <a:gd name="T8" fmla="*/ 64 w 73"/>
                      <a:gd name="T9" fmla="*/ 16 h 99"/>
                      <a:gd name="T10" fmla="*/ 64 w 73"/>
                      <a:gd name="T11" fmla="*/ 16 h 99"/>
                      <a:gd name="T12" fmla="*/ 64 w 73"/>
                      <a:gd name="T13" fmla="*/ 16 h 99"/>
                      <a:gd name="T14" fmla="*/ 52 w 73"/>
                      <a:gd name="T15" fmla="*/ 33 h 99"/>
                      <a:gd name="T16" fmla="*/ 26 w 73"/>
                      <a:gd name="T17" fmla="*/ 0 h 99"/>
                      <a:gd name="T18" fmla="*/ 56 w 73"/>
                      <a:gd name="T19" fmla="*/ 16 h 99"/>
                      <a:gd name="T20" fmla="*/ 52 w 73"/>
                      <a:gd name="T21" fmla="*/ 33 h 99"/>
                      <a:gd name="T22" fmla="*/ 52 w 73"/>
                      <a:gd name="T23" fmla="*/ 33 h 99"/>
                      <a:gd name="T24" fmla="*/ 52 w 73"/>
                      <a:gd name="T25" fmla="*/ 33 h 99"/>
                      <a:gd name="T26" fmla="*/ 52 w 73"/>
                      <a:gd name="T27" fmla="*/ 44 h 99"/>
                      <a:gd name="T28" fmla="*/ 12 w 73"/>
                      <a:gd name="T29" fmla="*/ 16 h 99"/>
                      <a:gd name="T30" fmla="*/ 12 w 73"/>
                      <a:gd name="T31" fmla="*/ 4 h 99"/>
                      <a:gd name="T32" fmla="*/ 26 w 73"/>
                      <a:gd name="T33" fmla="*/ 4 h 99"/>
                      <a:gd name="T34" fmla="*/ 42 w 73"/>
                      <a:gd name="T35" fmla="*/ 21 h 99"/>
                      <a:gd name="T36" fmla="*/ 52 w 73"/>
                      <a:gd name="T37" fmla="*/ 44 h 99"/>
                      <a:gd name="T38" fmla="*/ 52 w 73"/>
                      <a:gd name="T39" fmla="*/ 44 h 99"/>
                      <a:gd name="T40" fmla="*/ 52 w 73"/>
                      <a:gd name="T41" fmla="*/ 44 h 99"/>
                      <a:gd name="T42" fmla="*/ 21 w 73"/>
                      <a:gd name="T43" fmla="*/ 33 h 99"/>
                      <a:gd name="T44" fmla="*/ 0 w 73"/>
                      <a:gd name="T45" fmla="*/ 21 h 99"/>
                      <a:gd name="T46" fmla="*/ 26 w 73"/>
                      <a:gd name="T47" fmla="*/ 21 h 99"/>
                      <a:gd name="T48" fmla="*/ 21 w 73"/>
                      <a:gd name="T49" fmla="*/ 33 h 99"/>
                      <a:gd name="T50" fmla="*/ 21 w 73"/>
                      <a:gd name="T51" fmla="*/ 33 h 99"/>
                      <a:gd name="T52" fmla="*/ 21 w 73"/>
                      <a:gd name="T53" fmla="*/ 33 h 99"/>
                      <a:gd name="T54" fmla="*/ 56 w 73"/>
                      <a:gd name="T55" fmla="*/ 61 h 99"/>
                      <a:gd name="T56" fmla="*/ 38 w 73"/>
                      <a:gd name="T57" fmla="*/ 44 h 99"/>
                      <a:gd name="T58" fmla="*/ 56 w 73"/>
                      <a:gd name="T59" fmla="*/ 54 h 99"/>
                      <a:gd name="T60" fmla="*/ 56 w 73"/>
                      <a:gd name="T61" fmla="*/ 61 h 99"/>
                      <a:gd name="T62" fmla="*/ 56 w 73"/>
                      <a:gd name="T63" fmla="*/ 61 h 99"/>
                      <a:gd name="T64" fmla="*/ 56 w 73"/>
                      <a:gd name="T65" fmla="*/ 61 h 99"/>
                      <a:gd name="T66" fmla="*/ 52 w 73"/>
                      <a:gd name="T67" fmla="*/ 99 h 99"/>
                      <a:gd name="T68" fmla="*/ 38 w 73"/>
                      <a:gd name="T69" fmla="*/ 78 h 99"/>
                      <a:gd name="T70" fmla="*/ 52 w 73"/>
                      <a:gd name="T71" fmla="*/ 87 h 99"/>
                      <a:gd name="T72" fmla="*/ 52 w 73"/>
                      <a:gd name="T73" fmla="*/ 99 h 99"/>
                      <a:gd name="T74" fmla="*/ 52 w 73"/>
                      <a:gd name="T75" fmla="*/ 99 h 99"/>
                      <a:gd name="T76" fmla="*/ 52 w 73"/>
                      <a:gd name="T77"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99">
                        <a:moveTo>
                          <a:pt x="64" y="16"/>
                        </a:moveTo>
                        <a:lnTo>
                          <a:pt x="56" y="4"/>
                        </a:lnTo>
                        <a:lnTo>
                          <a:pt x="64" y="0"/>
                        </a:lnTo>
                        <a:lnTo>
                          <a:pt x="73" y="4"/>
                        </a:lnTo>
                        <a:lnTo>
                          <a:pt x="64" y="16"/>
                        </a:lnTo>
                        <a:lnTo>
                          <a:pt x="64" y="16"/>
                        </a:lnTo>
                        <a:lnTo>
                          <a:pt x="64" y="16"/>
                        </a:lnTo>
                        <a:close/>
                        <a:moveTo>
                          <a:pt x="52" y="33"/>
                        </a:moveTo>
                        <a:lnTo>
                          <a:pt x="26" y="0"/>
                        </a:lnTo>
                        <a:lnTo>
                          <a:pt x="56" y="16"/>
                        </a:lnTo>
                        <a:lnTo>
                          <a:pt x="52" y="33"/>
                        </a:lnTo>
                        <a:lnTo>
                          <a:pt x="52" y="33"/>
                        </a:lnTo>
                        <a:lnTo>
                          <a:pt x="52" y="33"/>
                        </a:lnTo>
                        <a:close/>
                        <a:moveTo>
                          <a:pt x="52" y="44"/>
                        </a:moveTo>
                        <a:lnTo>
                          <a:pt x="12" y="16"/>
                        </a:lnTo>
                        <a:lnTo>
                          <a:pt x="12" y="4"/>
                        </a:lnTo>
                        <a:lnTo>
                          <a:pt x="26" y="4"/>
                        </a:lnTo>
                        <a:lnTo>
                          <a:pt x="42" y="21"/>
                        </a:lnTo>
                        <a:lnTo>
                          <a:pt x="52" y="44"/>
                        </a:lnTo>
                        <a:lnTo>
                          <a:pt x="52" y="44"/>
                        </a:lnTo>
                        <a:lnTo>
                          <a:pt x="52" y="44"/>
                        </a:lnTo>
                        <a:close/>
                        <a:moveTo>
                          <a:pt x="21" y="33"/>
                        </a:moveTo>
                        <a:lnTo>
                          <a:pt x="0" y="21"/>
                        </a:lnTo>
                        <a:lnTo>
                          <a:pt x="26" y="21"/>
                        </a:lnTo>
                        <a:lnTo>
                          <a:pt x="21" y="33"/>
                        </a:lnTo>
                        <a:lnTo>
                          <a:pt x="21" y="33"/>
                        </a:lnTo>
                        <a:lnTo>
                          <a:pt x="21" y="33"/>
                        </a:lnTo>
                        <a:close/>
                        <a:moveTo>
                          <a:pt x="56" y="61"/>
                        </a:moveTo>
                        <a:lnTo>
                          <a:pt x="38" y="44"/>
                        </a:lnTo>
                        <a:lnTo>
                          <a:pt x="56" y="54"/>
                        </a:lnTo>
                        <a:lnTo>
                          <a:pt x="56" y="61"/>
                        </a:lnTo>
                        <a:lnTo>
                          <a:pt x="56" y="61"/>
                        </a:lnTo>
                        <a:lnTo>
                          <a:pt x="56" y="61"/>
                        </a:lnTo>
                        <a:close/>
                        <a:moveTo>
                          <a:pt x="52" y="99"/>
                        </a:moveTo>
                        <a:lnTo>
                          <a:pt x="38" y="78"/>
                        </a:lnTo>
                        <a:lnTo>
                          <a:pt x="52" y="87"/>
                        </a:lnTo>
                        <a:lnTo>
                          <a:pt x="52" y="99"/>
                        </a:lnTo>
                        <a:lnTo>
                          <a:pt x="52" y="99"/>
                        </a:lnTo>
                        <a:lnTo>
                          <a:pt x="52" y="9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6" name="Freeform 445">
                    <a:extLst>
                      <a:ext uri="{FF2B5EF4-FFF2-40B4-BE49-F238E27FC236}">
                        <a16:creationId xmlns:a16="http://schemas.microsoft.com/office/drawing/2014/main" id="{C7C7F289-CA64-47EB-B41D-C49FBDCAEDBA}"/>
                      </a:ext>
                    </a:extLst>
                  </p:cNvPr>
                  <p:cNvSpPr>
                    <a:spLocks noEditPoints="1"/>
                  </p:cNvSpPr>
                  <p:nvPr/>
                </p:nvSpPr>
                <p:spPr bwMode="gray">
                  <a:xfrm>
                    <a:off x="6589149" y="2403375"/>
                    <a:ext cx="413317" cy="359839"/>
                  </a:xfrm>
                  <a:custGeom>
                    <a:avLst/>
                    <a:gdLst>
                      <a:gd name="T0" fmla="*/ 557 w 1004"/>
                      <a:gd name="T1" fmla="*/ 22 h 874"/>
                      <a:gd name="T2" fmla="*/ 626 w 1004"/>
                      <a:gd name="T3" fmla="*/ 76 h 874"/>
                      <a:gd name="T4" fmla="*/ 675 w 1004"/>
                      <a:gd name="T5" fmla="*/ 83 h 874"/>
                      <a:gd name="T6" fmla="*/ 718 w 1004"/>
                      <a:gd name="T7" fmla="*/ 149 h 874"/>
                      <a:gd name="T8" fmla="*/ 789 w 1004"/>
                      <a:gd name="T9" fmla="*/ 154 h 874"/>
                      <a:gd name="T10" fmla="*/ 848 w 1004"/>
                      <a:gd name="T11" fmla="*/ 178 h 874"/>
                      <a:gd name="T12" fmla="*/ 874 w 1004"/>
                      <a:gd name="T13" fmla="*/ 248 h 874"/>
                      <a:gd name="T14" fmla="*/ 864 w 1004"/>
                      <a:gd name="T15" fmla="*/ 322 h 874"/>
                      <a:gd name="T16" fmla="*/ 827 w 1004"/>
                      <a:gd name="T17" fmla="*/ 343 h 874"/>
                      <a:gd name="T18" fmla="*/ 767 w 1004"/>
                      <a:gd name="T19" fmla="*/ 416 h 874"/>
                      <a:gd name="T20" fmla="*/ 751 w 1004"/>
                      <a:gd name="T21" fmla="*/ 449 h 874"/>
                      <a:gd name="T22" fmla="*/ 805 w 1004"/>
                      <a:gd name="T23" fmla="*/ 426 h 874"/>
                      <a:gd name="T24" fmla="*/ 810 w 1004"/>
                      <a:gd name="T25" fmla="*/ 487 h 874"/>
                      <a:gd name="T26" fmla="*/ 805 w 1004"/>
                      <a:gd name="T27" fmla="*/ 565 h 874"/>
                      <a:gd name="T28" fmla="*/ 848 w 1004"/>
                      <a:gd name="T29" fmla="*/ 631 h 874"/>
                      <a:gd name="T30" fmla="*/ 860 w 1004"/>
                      <a:gd name="T31" fmla="*/ 664 h 874"/>
                      <a:gd name="T32" fmla="*/ 793 w 1004"/>
                      <a:gd name="T33" fmla="*/ 704 h 874"/>
                      <a:gd name="T34" fmla="*/ 767 w 1004"/>
                      <a:gd name="T35" fmla="*/ 726 h 874"/>
                      <a:gd name="T36" fmla="*/ 713 w 1004"/>
                      <a:gd name="T37" fmla="*/ 709 h 874"/>
                      <a:gd name="T38" fmla="*/ 685 w 1004"/>
                      <a:gd name="T39" fmla="*/ 685 h 874"/>
                      <a:gd name="T40" fmla="*/ 664 w 1004"/>
                      <a:gd name="T41" fmla="*/ 704 h 874"/>
                      <a:gd name="T42" fmla="*/ 567 w 1004"/>
                      <a:gd name="T43" fmla="*/ 709 h 874"/>
                      <a:gd name="T44" fmla="*/ 557 w 1004"/>
                      <a:gd name="T45" fmla="*/ 780 h 874"/>
                      <a:gd name="T46" fmla="*/ 470 w 1004"/>
                      <a:gd name="T47" fmla="*/ 787 h 874"/>
                      <a:gd name="T48" fmla="*/ 427 w 1004"/>
                      <a:gd name="T49" fmla="*/ 759 h 874"/>
                      <a:gd name="T50" fmla="*/ 307 w 1004"/>
                      <a:gd name="T51" fmla="*/ 747 h 874"/>
                      <a:gd name="T52" fmla="*/ 231 w 1004"/>
                      <a:gd name="T53" fmla="*/ 709 h 874"/>
                      <a:gd name="T54" fmla="*/ 248 w 1004"/>
                      <a:gd name="T55" fmla="*/ 593 h 874"/>
                      <a:gd name="T56" fmla="*/ 255 w 1004"/>
                      <a:gd name="T57" fmla="*/ 504 h 874"/>
                      <a:gd name="T58" fmla="*/ 248 w 1004"/>
                      <a:gd name="T59" fmla="*/ 499 h 874"/>
                      <a:gd name="T60" fmla="*/ 189 w 1004"/>
                      <a:gd name="T61" fmla="*/ 392 h 874"/>
                      <a:gd name="T62" fmla="*/ 210 w 1004"/>
                      <a:gd name="T63" fmla="*/ 355 h 874"/>
                      <a:gd name="T64" fmla="*/ 156 w 1004"/>
                      <a:gd name="T65" fmla="*/ 338 h 874"/>
                      <a:gd name="T66" fmla="*/ 134 w 1004"/>
                      <a:gd name="T67" fmla="*/ 331 h 874"/>
                      <a:gd name="T68" fmla="*/ 118 w 1004"/>
                      <a:gd name="T69" fmla="*/ 331 h 874"/>
                      <a:gd name="T70" fmla="*/ 28 w 1004"/>
                      <a:gd name="T71" fmla="*/ 289 h 874"/>
                      <a:gd name="T72" fmla="*/ 16 w 1004"/>
                      <a:gd name="T73" fmla="*/ 265 h 874"/>
                      <a:gd name="T74" fmla="*/ 0 w 1004"/>
                      <a:gd name="T75" fmla="*/ 248 h 874"/>
                      <a:gd name="T76" fmla="*/ 87 w 1004"/>
                      <a:gd name="T77" fmla="*/ 211 h 874"/>
                      <a:gd name="T78" fmla="*/ 193 w 1004"/>
                      <a:gd name="T79" fmla="*/ 232 h 874"/>
                      <a:gd name="T80" fmla="*/ 243 w 1004"/>
                      <a:gd name="T81" fmla="*/ 227 h 874"/>
                      <a:gd name="T82" fmla="*/ 201 w 1004"/>
                      <a:gd name="T83" fmla="*/ 133 h 874"/>
                      <a:gd name="T84" fmla="*/ 255 w 1004"/>
                      <a:gd name="T85" fmla="*/ 154 h 874"/>
                      <a:gd name="T86" fmla="*/ 340 w 1004"/>
                      <a:gd name="T87" fmla="*/ 137 h 874"/>
                      <a:gd name="T88" fmla="*/ 449 w 1004"/>
                      <a:gd name="T89" fmla="*/ 59 h 874"/>
                      <a:gd name="T90" fmla="*/ 512 w 1004"/>
                      <a:gd name="T91" fmla="*/ 0 h 874"/>
                      <a:gd name="T92" fmla="*/ 118 w 1004"/>
                      <a:gd name="T93" fmla="*/ 355 h 874"/>
                      <a:gd name="T94" fmla="*/ 231 w 1004"/>
                      <a:gd name="T95" fmla="*/ 466 h 874"/>
                      <a:gd name="T96" fmla="*/ 248 w 1004"/>
                      <a:gd name="T97" fmla="*/ 487 h 874"/>
                      <a:gd name="T98" fmla="*/ 945 w 1004"/>
                      <a:gd name="T99" fmla="*/ 796 h 874"/>
                      <a:gd name="T100" fmla="*/ 982 w 1004"/>
                      <a:gd name="T101" fmla="*/ 759 h 874"/>
                      <a:gd name="T102" fmla="*/ 999 w 1004"/>
                      <a:gd name="T103" fmla="*/ 820 h 874"/>
                      <a:gd name="T104" fmla="*/ 956 w 1004"/>
                      <a:gd name="T105" fmla="*/ 848 h 874"/>
                      <a:gd name="T106" fmla="*/ 945 w 1004"/>
                      <a:gd name="T107" fmla="*/ 820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4" h="874">
                        <a:moveTo>
                          <a:pt x="512" y="0"/>
                        </a:moveTo>
                        <a:lnTo>
                          <a:pt x="519" y="22"/>
                        </a:lnTo>
                        <a:lnTo>
                          <a:pt x="534" y="26"/>
                        </a:lnTo>
                        <a:lnTo>
                          <a:pt x="557" y="22"/>
                        </a:lnTo>
                        <a:lnTo>
                          <a:pt x="567" y="55"/>
                        </a:lnTo>
                        <a:lnTo>
                          <a:pt x="588" y="55"/>
                        </a:lnTo>
                        <a:lnTo>
                          <a:pt x="595" y="67"/>
                        </a:lnTo>
                        <a:lnTo>
                          <a:pt x="626" y="76"/>
                        </a:lnTo>
                        <a:lnTo>
                          <a:pt x="626" y="100"/>
                        </a:lnTo>
                        <a:lnTo>
                          <a:pt x="647" y="111"/>
                        </a:lnTo>
                        <a:lnTo>
                          <a:pt x="675" y="83"/>
                        </a:lnTo>
                        <a:lnTo>
                          <a:pt x="675" y="83"/>
                        </a:lnTo>
                        <a:lnTo>
                          <a:pt x="675" y="100"/>
                        </a:lnTo>
                        <a:lnTo>
                          <a:pt x="675" y="116"/>
                        </a:lnTo>
                        <a:lnTo>
                          <a:pt x="701" y="133"/>
                        </a:lnTo>
                        <a:lnTo>
                          <a:pt x="718" y="149"/>
                        </a:lnTo>
                        <a:lnTo>
                          <a:pt x="739" y="137"/>
                        </a:lnTo>
                        <a:lnTo>
                          <a:pt x="751" y="149"/>
                        </a:lnTo>
                        <a:lnTo>
                          <a:pt x="784" y="149"/>
                        </a:lnTo>
                        <a:lnTo>
                          <a:pt x="789" y="154"/>
                        </a:lnTo>
                        <a:lnTo>
                          <a:pt x="805" y="178"/>
                        </a:lnTo>
                        <a:lnTo>
                          <a:pt x="822" y="170"/>
                        </a:lnTo>
                        <a:lnTo>
                          <a:pt x="843" y="178"/>
                        </a:lnTo>
                        <a:lnTo>
                          <a:pt x="848" y="178"/>
                        </a:lnTo>
                        <a:lnTo>
                          <a:pt x="874" y="187"/>
                        </a:lnTo>
                        <a:lnTo>
                          <a:pt x="912" y="194"/>
                        </a:lnTo>
                        <a:lnTo>
                          <a:pt x="881" y="232"/>
                        </a:lnTo>
                        <a:lnTo>
                          <a:pt x="874" y="248"/>
                        </a:lnTo>
                        <a:lnTo>
                          <a:pt x="864" y="277"/>
                        </a:lnTo>
                        <a:lnTo>
                          <a:pt x="864" y="289"/>
                        </a:lnTo>
                        <a:lnTo>
                          <a:pt x="860" y="315"/>
                        </a:lnTo>
                        <a:lnTo>
                          <a:pt x="864" y="322"/>
                        </a:lnTo>
                        <a:lnTo>
                          <a:pt x="848" y="338"/>
                        </a:lnTo>
                        <a:lnTo>
                          <a:pt x="827" y="331"/>
                        </a:lnTo>
                        <a:lnTo>
                          <a:pt x="822" y="343"/>
                        </a:lnTo>
                        <a:lnTo>
                          <a:pt x="827" y="343"/>
                        </a:lnTo>
                        <a:lnTo>
                          <a:pt x="822" y="355"/>
                        </a:lnTo>
                        <a:lnTo>
                          <a:pt x="789" y="392"/>
                        </a:lnTo>
                        <a:lnTo>
                          <a:pt x="784" y="400"/>
                        </a:lnTo>
                        <a:lnTo>
                          <a:pt x="767" y="416"/>
                        </a:lnTo>
                        <a:lnTo>
                          <a:pt x="756" y="426"/>
                        </a:lnTo>
                        <a:lnTo>
                          <a:pt x="767" y="433"/>
                        </a:lnTo>
                        <a:lnTo>
                          <a:pt x="767" y="442"/>
                        </a:lnTo>
                        <a:lnTo>
                          <a:pt x="751" y="449"/>
                        </a:lnTo>
                        <a:lnTo>
                          <a:pt x="756" y="454"/>
                        </a:lnTo>
                        <a:lnTo>
                          <a:pt x="772" y="449"/>
                        </a:lnTo>
                        <a:lnTo>
                          <a:pt x="772" y="433"/>
                        </a:lnTo>
                        <a:lnTo>
                          <a:pt x="805" y="426"/>
                        </a:lnTo>
                        <a:lnTo>
                          <a:pt x="810" y="433"/>
                        </a:lnTo>
                        <a:lnTo>
                          <a:pt x="810" y="454"/>
                        </a:lnTo>
                        <a:lnTo>
                          <a:pt x="827" y="470"/>
                        </a:lnTo>
                        <a:lnTo>
                          <a:pt x="810" y="487"/>
                        </a:lnTo>
                        <a:lnTo>
                          <a:pt x="836" y="520"/>
                        </a:lnTo>
                        <a:lnTo>
                          <a:pt x="836" y="537"/>
                        </a:lnTo>
                        <a:lnTo>
                          <a:pt x="793" y="544"/>
                        </a:lnTo>
                        <a:lnTo>
                          <a:pt x="805" y="565"/>
                        </a:lnTo>
                        <a:lnTo>
                          <a:pt x="827" y="565"/>
                        </a:lnTo>
                        <a:lnTo>
                          <a:pt x="810" y="598"/>
                        </a:lnTo>
                        <a:lnTo>
                          <a:pt x="822" y="619"/>
                        </a:lnTo>
                        <a:lnTo>
                          <a:pt x="848" y="631"/>
                        </a:lnTo>
                        <a:lnTo>
                          <a:pt x="874" y="631"/>
                        </a:lnTo>
                        <a:lnTo>
                          <a:pt x="874" y="636"/>
                        </a:lnTo>
                        <a:lnTo>
                          <a:pt x="860" y="652"/>
                        </a:lnTo>
                        <a:lnTo>
                          <a:pt x="860" y="664"/>
                        </a:lnTo>
                        <a:lnTo>
                          <a:pt x="860" y="669"/>
                        </a:lnTo>
                        <a:lnTo>
                          <a:pt x="848" y="669"/>
                        </a:lnTo>
                        <a:lnTo>
                          <a:pt x="836" y="676"/>
                        </a:lnTo>
                        <a:lnTo>
                          <a:pt x="793" y="704"/>
                        </a:lnTo>
                        <a:lnTo>
                          <a:pt x="805" y="709"/>
                        </a:lnTo>
                        <a:lnTo>
                          <a:pt x="793" y="721"/>
                        </a:lnTo>
                        <a:lnTo>
                          <a:pt x="767" y="721"/>
                        </a:lnTo>
                        <a:lnTo>
                          <a:pt x="767" y="726"/>
                        </a:lnTo>
                        <a:lnTo>
                          <a:pt x="751" y="726"/>
                        </a:lnTo>
                        <a:lnTo>
                          <a:pt x="739" y="726"/>
                        </a:lnTo>
                        <a:lnTo>
                          <a:pt x="734" y="721"/>
                        </a:lnTo>
                        <a:lnTo>
                          <a:pt x="713" y="709"/>
                        </a:lnTo>
                        <a:lnTo>
                          <a:pt x="701" y="704"/>
                        </a:lnTo>
                        <a:lnTo>
                          <a:pt x="685" y="704"/>
                        </a:lnTo>
                        <a:lnTo>
                          <a:pt x="701" y="692"/>
                        </a:lnTo>
                        <a:lnTo>
                          <a:pt x="685" y="685"/>
                        </a:lnTo>
                        <a:lnTo>
                          <a:pt x="685" y="692"/>
                        </a:lnTo>
                        <a:lnTo>
                          <a:pt x="675" y="704"/>
                        </a:lnTo>
                        <a:lnTo>
                          <a:pt x="664" y="676"/>
                        </a:lnTo>
                        <a:lnTo>
                          <a:pt x="664" y="704"/>
                        </a:lnTo>
                        <a:lnTo>
                          <a:pt x="659" y="704"/>
                        </a:lnTo>
                        <a:lnTo>
                          <a:pt x="647" y="692"/>
                        </a:lnTo>
                        <a:lnTo>
                          <a:pt x="609" y="685"/>
                        </a:lnTo>
                        <a:lnTo>
                          <a:pt x="567" y="709"/>
                        </a:lnTo>
                        <a:lnTo>
                          <a:pt x="550" y="726"/>
                        </a:lnTo>
                        <a:lnTo>
                          <a:pt x="541" y="747"/>
                        </a:lnTo>
                        <a:lnTo>
                          <a:pt x="550" y="775"/>
                        </a:lnTo>
                        <a:lnTo>
                          <a:pt x="557" y="780"/>
                        </a:lnTo>
                        <a:lnTo>
                          <a:pt x="541" y="780"/>
                        </a:lnTo>
                        <a:lnTo>
                          <a:pt x="512" y="787"/>
                        </a:lnTo>
                        <a:lnTo>
                          <a:pt x="496" y="780"/>
                        </a:lnTo>
                        <a:lnTo>
                          <a:pt x="470" y="787"/>
                        </a:lnTo>
                        <a:lnTo>
                          <a:pt x="458" y="775"/>
                        </a:lnTo>
                        <a:lnTo>
                          <a:pt x="458" y="763"/>
                        </a:lnTo>
                        <a:lnTo>
                          <a:pt x="432" y="763"/>
                        </a:lnTo>
                        <a:lnTo>
                          <a:pt x="427" y="759"/>
                        </a:lnTo>
                        <a:lnTo>
                          <a:pt x="390" y="742"/>
                        </a:lnTo>
                        <a:lnTo>
                          <a:pt x="378" y="759"/>
                        </a:lnTo>
                        <a:lnTo>
                          <a:pt x="335" y="759"/>
                        </a:lnTo>
                        <a:lnTo>
                          <a:pt x="307" y="747"/>
                        </a:lnTo>
                        <a:lnTo>
                          <a:pt x="297" y="747"/>
                        </a:lnTo>
                        <a:lnTo>
                          <a:pt x="281" y="730"/>
                        </a:lnTo>
                        <a:lnTo>
                          <a:pt x="231" y="726"/>
                        </a:lnTo>
                        <a:lnTo>
                          <a:pt x="231" y="709"/>
                        </a:lnTo>
                        <a:lnTo>
                          <a:pt x="210" y="704"/>
                        </a:lnTo>
                        <a:lnTo>
                          <a:pt x="227" y="692"/>
                        </a:lnTo>
                        <a:lnTo>
                          <a:pt x="231" y="676"/>
                        </a:lnTo>
                        <a:lnTo>
                          <a:pt x="248" y="593"/>
                        </a:lnTo>
                        <a:lnTo>
                          <a:pt x="264" y="581"/>
                        </a:lnTo>
                        <a:lnTo>
                          <a:pt x="248" y="577"/>
                        </a:lnTo>
                        <a:lnTo>
                          <a:pt x="248" y="581"/>
                        </a:lnTo>
                        <a:lnTo>
                          <a:pt x="255" y="504"/>
                        </a:lnTo>
                        <a:lnTo>
                          <a:pt x="281" y="525"/>
                        </a:lnTo>
                        <a:lnTo>
                          <a:pt x="297" y="565"/>
                        </a:lnTo>
                        <a:lnTo>
                          <a:pt x="281" y="508"/>
                        </a:lnTo>
                        <a:lnTo>
                          <a:pt x="248" y="499"/>
                        </a:lnTo>
                        <a:lnTo>
                          <a:pt x="255" y="470"/>
                        </a:lnTo>
                        <a:lnTo>
                          <a:pt x="255" y="442"/>
                        </a:lnTo>
                        <a:lnTo>
                          <a:pt x="210" y="426"/>
                        </a:lnTo>
                        <a:lnTo>
                          <a:pt x="189" y="392"/>
                        </a:lnTo>
                        <a:lnTo>
                          <a:pt x="193" y="371"/>
                        </a:lnTo>
                        <a:lnTo>
                          <a:pt x="179" y="359"/>
                        </a:lnTo>
                        <a:lnTo>
                          <a:pt x="189" y="355"/>
                        </a:lnTo>
                        <a:lnTo>
                          <a:pt x="210" y="355"/>
                        </a:lnTo>
                        <a:lnTo>
                          <a:pt x="193" y="343"/>
                        </a:lnTo>
                        <a:lnTo>
                          <a:pt x="172" y="355"/>
                        </a:lnTo>
                        <a:lnTo>
                          <a:pt x="156" y="343"/>
                        </a:lnTo>
                        <a:lnTo>
                          <a:pt x="156" y="338"/>
                        </a:lnTo>
                        <a:lnTo>
                          <a:pt x="163" y="338"/>
                        </a:lnTo>
                        <a:lnTo>
                          <a:pt x="156" y="331"/>
                        </a:lnTo>
                        <a:lnTo>
                          <a:pt x="172" y="331"/>
                        </a:lnTo>
                        <a:lnTo>
                          <a:pt x="134" y="331"/>
                        </a:lnTo>
                        <a:lnTo>
                          <a:pt x="142" y="331"/>
                        </a:lnTo>
                        <a:lnTo>
                          <a:pt x="142" y="322"/>
                        </a:lnTo>
                        <a:lnTo>
                          <a:pt x="118" y="322"/>
                        </a:lnTo>
                        <a:lnTo>
                          <a:pt x="118" y="331"/>
                        </a:lnTo>
                        <a:lnTo>
                          <a:pt x="108" y="315"/>
                        </a:lnTo>
                        <a:lnTo>
                          <a:pt x="54" y="298"/>
                        </a:lnTo>
                        <a:lnTo>
                          <a:pt x="28" y="305"/>
                        </a:lnTo>
                        <a:lnTo>
                          <a:pt x="28" y="289"/>
                        </a:lnTo>
                        <a:lnTo>
                          <a:pt x="0" y="281"/>
                        </a:lnTo>
                        <a:lnTo>
                          <a:pt x="33" y="277"/>
                        </a:lnTo>
                        <a:lnTo>
                          <a:pt x="28" y="265"/>
                        </a:lnTo>
                        <a:lnTo>
                          <a:pt x="16" y="265"/>
                        </a:lnTo>
                        <a:lnTo>
                          <a:pt x="12" y="260"/>
                        </a:lnTo>
                        <a:lnTo>
                          <a:pt x="16" y="248"/>
                        </a:lnTo>
                        <a:lnTo>
                          <a:pt x="38" y="260"/>
                        </a:lnTo>
                        <a:lnTo>
                          <a:pt x="0" y="248"/>
                        </a:lnTo>
                        <a:lnTo>
                          <a:pt x="0" y="232"/>
                        </a:lnTo>
                        <a:lnTo>
                          <a:pt x="28" y="227"/>
                        </a:lnTo>
                        <a:lnTo>
                          <a:pt x="80" y="220"/>
                        </a:lnTo>
                        <a:lnTo>
                          <a:pt x="87" y="211"/>
                        </a:lnTo>
                        <a:lnTo>
                          <a:pt x="108" y="204"/>
                        </a:lnTo>
                        <a:lnTo>
                          <a:pt x="146" y="244"/>
                        </a:lnTo>
                        <a:lnTo>
                          <a:pt x="172" y="220"/>
                        </a:lnTo>
                        <a:lnTo>
                          <a:pt x="193" y="232"/>
                        </a:lnTo>
                        <a:lnTo>
                          <a:pt x="193" y="220"/>
                        </a:lnTo>
                        <a:lnTo>
                          <a:pt x="201" y="220"/>
                        </a:lnTo>
                        <a:lnTo>
                          <a:pt x="201" y="227"/>
                        </a:lnTo>
                        <a:lnTo>
                          <a:pt x="243" y="227"/>
                        </a:lnTo>
                        <a:lnTo>
                          <a:pt x="227" y="220"/>
                        </a:lnTo>
                        <a:lnTo>
                          <a:pt x="217" y="170"/>
                        </a:lnTo>
                        <a:lnTo>
                          <a:pt x="210" y="154"/>
                        </a:lnTo>
                        <a:lnTo>
                          <a:pt x="201" y="133"/>
                        </a:lnTo>
                        <a:lnTo>
                          <a:pt x="193" y="121"/>
                        </a:lnTo>
                        <a:lnTo>
                          <a:pt x="248" y="133"/>
                        </a:lnTo>
                        <a:lnTo>
                          <a:pt x="243" y="137"/>
                        </a:lnTo>
                        <a:lnTo>
                          <a:pt x="255" y="154"/>
                        </a:lnTo>
                        <a:lnTo>
                          <a:pt x="319" y="166"/>
                        </a:lnTo>
                        <a:lnTo>
                          <a:pt x="361" y="149"/>
                        </a:lnTo>
                        <a:lnTo>
                          <a:pt x="361" y="149"/>
                        </a:lnTo>
                        <a:lnTo>
                          <a:pt x="340" y="137"/>
                        </a:lnTo>
                        <a:lnTo>
                          <a:pt x="352" y="121"/>
                        </a:lnTo>
                        <a:lnTo>
                          <a:pt x="411" y="111"/>
                        </a:lnTo>
                        <a:lnTo>
                          <a:pt x="432" y="83"/>
                        </a:lnTo>
                        <a:lnTo>
                          <a:pt x="449" y="59"/>
                        </a:lnTo>
                        <a:lnTo>
                          <a:pt x="449" y="10"/>
                        </a:lnTo>
                        <a:lnTo>
                          <a:pt x="512" y="0"/>
                        </a:lnTo>
                        <a:lnTo>
                          <a:pt x="512" y="0"/>
                        </a:lnTo>
                        <a:lnTo>
                          <a:pt x="512" y="0"/>
                        </a:lnTo>
                        <a:close/>
                        <a:moveTo>
                          <a:pt x="118" y="355"/>
                        </a:moveTo>
                        <a:lnTo>
                          <a:pt x="108" y="343"/>
                        </a:lnTo>
                        <a:lnTo>
                          <a:pt x="104" y="338"/>
                        </a:lnTo>
                        <a:lnTo>
                          <a:pt x="118" y="355"/>
                        </a:lnTo>
                        <a:lnTo>
                          <a:pt x="118" y="355"/>
                        </a:lnTo>
                        <a:lnTo>
                          <a:pt x="118" y="355"/>
                        </a:lnTo>
                        <a:close/>
                        <a:moveTo>
                          <a:pt x="248" y="487"/>
                        </a:moveTo>
                        <a:lnTo>
                          <a:pt x="231" y="466"/>
                        </a:lnTo>
                        <a:lnTo>
                          <a:pt x="248" y="470"/>
                        </a:lnTo>
                        <a:lnTo>
                          <a:pt x="248" y="487"/>
                        </a:lnTo>
                        <a:lnTo>
                          <a:pt x="248" y="487"/>
                        </a:lnTo>
                        <a:lnTo>
                          <a:pt x="248" y="487"/>
                        </a:lnTo>
                        <a:close/>
                        <a:moveTo>
                          <a:pt x="945" y="820"/>
                        </a:moveTo>
                        <a:lnTo>
                          <a:pt x="945" y="813"/>
                        </a:lnTo>
                        <a:lnTo>
                          <a:pt x="935" y="796"/>
                        </a:lnTo>
                        <a:lnTo>
                          <a:pt x="945" y="796"/>
                        </a:lnTo>
                        <a:lnTo>
                          <a:pt x="935" y="787"/>
                        </a:lnTo>
                        <a:lnTo>
                          <a:pt x="945" y="775"/>
                        </a:lnTo>
                        <a:lnTo>
                          <a:pt x="973" y="759"/>
                        </a:lnTo>
                        <a:lnTo>
                          <a:pt x="982" y="759"/>
                        </a:lnTo>
                        <a:lnTo>
                          <a:pt x="987" y="730"/>
                        </a:lnTo>
                        <a:lnTo>
                          <a:pt x="999" y="730"/>
                        </a:lnTo>
                        <a:lnTo>
                          <a:pt x="1004" y="803"/>
                        </a:lnTo>
                        <a:lnTo>
                          <a:pt x="999" y="820"/>
                        </a:lnTo>
                        <a:lnTo>
                          <a:pt x="987" y="848"/>
                        </a:lnTo>
                        <a:lnTo>
                          <a:pt x="982" y="874"/>
                        </a:lnTo>
                        <a:lnTo>
                          <a:pt x="949" y="858"/>
                        </a:lnTo>
                        <a:lnTo>
                          <a:pt x="956" y="848"/>
                        </a:lnTo>
                        <a:lnTo>
                          <a:pt x="945" y="848"/>
                        </a:lnTo>
                        <a:lnTo>
                          <a:pt x="949" y="829"/>
                        </a:lnTo>
                        <a:lnTo>
                          <a:pt x="935" y="829"/>
                        </a:lnTo>
                        <a:lnTo>
                          <a:pt x="945" y="820"/>
                        </a:lnTo>
                        <a:lnTo>
                          <a:pt x="945" y="820"/>
                        </a:lnTo>
                        <a:lnTo>
                          <a:pt x="945" y="82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0" name="Freeform 449">
                    <a:extLst>
                      <a:ext uri="{FF2B5EF4-FFF2-40B4-BE49-F238E27FC236}">
                        <a16:creationId xmlns:a16="http://schemas.microsoft.com/office/drawing/2014/main" id="{3AA90447-4C01-4F67-977A-67ABBD646834}"/>
                      </a:ext>
                    </a:extLst>
                  </p:cNvPr>
                  <p:cNvSpPr>
                    <a:spLocks/>
                  </p:cNvSpPr>
                  <p:nvPr/>
                </p:nvSpPr>
                <p:spPr bwMode="gray">
                  <a:xfrm>
                    <a:off x="7882206" y="2682519"/>
                    <a:ext cx="190603" cy="93459"/>
                  </a:xfrm>
                  <a:custGeom>
                    <a:avLst/>
                    <a:gdLst>
                      <a:gd name="T0" fmla="*/ 0 w 463"/>
                      <a:gd name="T1" fmla="*/ 26 h 227"/>
                      <a:gd name="T2" fmla="*/ 0 w 463"/>
                      <a:gd name="T3" fmla="*/ 10 h 227"/>
                      <a:gd name="T4" fmla="*/ 17 w 463"/>
                      <a:gd name="T5" fmla="*/ 0 h 227"/>
                      <a:gd name="T6" fmla="*/ 43 w 463"/>
                      <a:gd name="T7" fmla="*/ 10 h 227"/>
                      <a:gd name="T8" fmla="*/ 109 w 463"/>
                      <a:gd name="T9" fmla="*/ 33 h 227"/>
                      <a:gd name="T10" fmla="*/ 199 w 463"/>
                      <a:gd name="T11" fmla="*/ 43 h 227"/>
                      <a:gd name="T12" fmla="*/ 220 w 463"/>
                      <a:gd name="T13" fmla="*/ 66 h 227"/>
                      <a:gd name="T14" fmla="*/ 258 w 463"/>
                      <a:gd name="T15" fmla="*/ 83 h 227"/>
                      <a:gd name="T16" fmla="*/ 258 w 463"/>
                      <a:gd name="T17" fmla="*/ 88 h 227"/>
                      <a:gd name="T18" fmla="*/ 270 w 463"/>
                      <a:gd name="T19" fmla="*/ 88 h 227"/>
                      <a:gd name="T20" fmla="*/ 312 w 463"/>
                      <a:gd name="T21" fmla="*/ 71 h 227"/>
                      <a:gd name="T22" fmla="*/ 329 w 463"/>
                      <a:gd name="T23" fmla="*/ 88 h 227"/>
                      <a:gd name="T24" fmla="*/ 345 w 463"/>
                      <a:gd name="T25" fmla="*/ 71 h 227"/>
                      <a:gd name="T26" fmla="*/ 362 w 463"/>
                      <a:gd name="T27" fmla="*/ 83 h 227"/>
                      <a:gd name="T28" fmla="*/ 367 w 463"/>
                      <a:gd name="T29" fmla="*/ 100 h 227"/>
                      <a:gd name="T30" fmla="*/ 400 w 463"/>
                      <a:gd name="T31" fmla="*/ 100 h 227"/>
                      <a:gd name="T32" fmla="*/ 393 w 463"/>
                      <a:gd name="T33" fmla="*/ 128 h 227"/>
                      <a:gd name="T34" fmla="*/ 447 w 463"/>
                      <a:gd name="T35" fmla="*/ 154 h 227"/>
                      <a:gd name="T36" fmla="*/ 430 w 463"/>
                      <a:gd name="T37" fmla="*/ 170 h 227"/>
                      <a:gd name="T38" fmla="*/ 437 w 463"/>
                      <a:gd name="T39" fmla="*/ 182 h 227"/>
                      <a:gd name="T40" fmla="*/ 463 w 463"/>
                      <a:gd name="T41" fmla="*/ 199 h 227"/>
                      <a:gd name="T42" fmla="*/ 463 w 463"/>
                      <a:gd name="T43" fmla="*/ 215 h 227"/>
                      <a:gd name="T44" fmla="*/ 454 w 463"/>
                      <a:gd name="T45" fmla="*/ 227 h 227"/>
                      <a:gd name="T46" fmla="*/ 430 w 463"/>
                      <a:gd name="T47" fmla="*/ 211 h 227"/>
                      <a:gd name="T48" fmla="*/ 409 w 463"/>
                      <a:gd name="T49" fmla="*/ 211 h 227"/>
                      <a:gd name="T50" fmla="*/ 400 w 463"/>
                      <a:gd name="T51" fmla="*/ 199 h 227"/>
                      <a:gd name="T52" fmla="*/ 367 w 463"/>
                      <a:gd name="T53" fmla="*/ 194 h 227"/>
                      <a:gd name="T54" fmla="*/ 345 w 463"/>
                      <a:gd name="T55" fmla="*/ 199 h 227"/>
                      <a:gd name="T56" fmla="*/ 341 w 463"/>
                      <a:gd name="T57" fmla="*/ 211 h 227"/>
                      <a:gd name="T58" fmla="*/ 237 w 463"/>
                      <a:gd name="T59" fmla="*/ 215 h 227"/>
                      <a:gd name="T60" fmla="*/ 232 w 463"/>
                      <a:gd name="T61" fmla="*/ 215 h 227"/>
                      <a:gd name="T62" fmla="*/ 220 w 463"/>
                      <a:gd name="T63" fmla="*/ 215 h 227"/>
                      <a:gd name="T64" fmla="*/ 194 w 463"/>
                      <a:gd name="T65" fmla="*/ 177 h 227"/>
                      <a:gd name="T66" fmla="*/ 178 w 463"/>
                      <a:gd name="T67" fmla="*/ 177 h 227"/>
                      <a:gd name="T68" fmla="*/ 168 w 463"/>
                      <a:gd name="T69" fmla="*/ 194 h 227"/>
                      <a:gd name="T70" fmla="*/ 140 w 463"/>
                      <a:gd name="T71" fmla="*/ 182 h 227"/>
                      <a:gd name="T72" fmla="*/ 123 w 463"/>
                      <a:gd name="T73" fmla="*/ 194 h 227"/>
                      <a:gd name="T74" fmla="*/ 109 w 463"/>
                      <a:gd name="T75" fmla="*/ 182 h 227"/>
                      <a:gd name="T76" fmla="*/ 123 w 463"/>
                      <a:gd name="T77" fmla="*/ 154 h 227"/>
                      <a:gd name="T78" fmla="*/ 97 w 463"/>
                      <a:gd name="T79" fmla="*/ 83 h 227"/>
                      <a:gd name="T80" fmla="*/ 76 w 463"/>
                      <a:gd name="T81" fmla="*/ 71 h 227"/>
                      <a:gd name="T82" fmla="*/ 71 w 463"/>
                      <a:gd name="T83" fmla="*/ 55 h 227"/>
                      <a:gd name="T84" fmla="*/ 55 w 463"/>
                      <a:gd name="T85" fmla="*/ 50 h 227"/>
                      <a:gd name="T86" fmla="*/ 22 w 463"/>
                      <a:gd name="T87" fmla="*/ 43 h 227"/>
                      <a:gd name="T88" fmla="*/ 17 w 463"/>
                      <a:gd name="T89" fmla="*/ 26 h 227"/>
                      <a:gd name="T90" fmla="*/ 0 w 463"/>
                      <a:gd name="T91" fmla="*/ 26 h 227"/>
                      <a:gd name="T92" fmla="*/ 0 w 463"/>
                      <a:gd name="T93" fmla="*/ 26 h 227"/>
                      <a:gd name="T94" fmla="*/ 0 w 463"/>
                      <a:gd name="T95" fmla="*/ 2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63" h="227">
                        <a:moveTo>
                          <a:pt x="0" y="26"/>
                        </a:moveTo>
                        <a:lnTo>
                          <a:pt x="0" y="10"/>
                        </a:lnTo>
                        <a:lnTo>
                          <a:pt x="17" y="0"/>
                        </a:lnTo>
                        <a:lnTo>
                          <a:pt x="43" y="10"/>
                        </a:lnTo>
                        <a:lnTo>
                          <a:pt x="109" y="33"/>
                        </a:lnTo>
                        <a:lnTo>
                          <a:pt x="199" y="43"/>
                        </a:lnTo>
                        <a:lnTo>
                          <a:pt x="220" y="66"/>
                        </a:lnTo>
                        <a:lnTo>
                          <a:pt x="258" y="83"/>
                        </a:lnTo>
                        <a:lnTo>
                          <a:pt x="258" y="88"/>
                        </a:lnTo>
                        <a:lnTo>
                          <a:pt x="270" y="88"/>
                        </a:lnTo>
                        <a:lnTo>
                          <a:pt x="312" y="71"/>
                        </a:lnTo>
                        <a:lnTo>
                          <a:pt x="329" y="88"/>
                        </a:lnTo>
                        <a:lnTo>
                          <a:pt x="345" y="71"/>
                        </a:lnTo>
                        <a:lnTo>
                          <a:pt x="362" y="83"/>
                        </a:lnTo>
                        <a:lnTo>
                          <a:pt x="367" y="100"/>
                        </a:lnTo>
                        <a:lnTo>
                          <a:pt x="400" y="100"/>
                        </a:lnTo>
                        <a:lnTo>
                          <a:pt x="393" y="128"/>
                        </a:lnTo>
                        <a:lnTo>
                          <a:pt x="447" y="154"/>
                        </a:lnTo>
                        <a:lnTo>
                          <a:pt x="430" y="170"/>
                        </a:lnTo>
                        <a:lnTo>
                          <a:pt x="437" y="182"/>
                        </a:lnTo>
                        <a:lnTo>
                          <a:pt x="463" y="199"/>
                        </a:lnTo>
                        <a:lnTo>
                          <a:pt x="463" y="215"/>
                        </a:lnTo>
                        <a:lnTo>
                          <a:pt x="454" y="227"/>
                        </a:lnTo>
                        <a:lnTo>
                          <a:pt x="430" y="211"/>
                        </a:lnTo>
                        <a:lnTo>
                          <a:pt x="409" y="211"/>
                        </a:lnTo>
                        <a:lnTo>
                          <a:pt x="400" y="199"/>
                        </a:lnTo>
                        <a:lnTo>
                          <a:pt x="367" y="194"/>
                        </a:lnTo>
                        <a:lnTo>
                          <a:pt x="345" y="199"/>
                        </a:lnTo>
                        <a:lnTo>
                          <a:pt x="341" y="211"/>
                        </a:lnTo>
                        <a:lnTo>
                          <a:pt x="237" y="215"/>
                        </a:lnTo>
                        <a:lnTo>
                          <a:pt x="232" y="215"/>
                        </a:lnTo>
                        <a:lnTo>
                          <a:pt x="220" y="215"/>
                        </a:lnTo>
                        <a:lnTo>
                          <a:pt x="194" y="177"/>
                        </a:lnTo>
                        <a:lnTo>
                          <a:pt x="178" y="177"/>
                        </a:lnTo>
                        <a:lnTo>
                          <a:pt x="168" y="194"/>
                        </a:lnTo>
                        <a:lnTo>
                          <a:pt x="140" y="182"/>
                        </a:lnTo>
                        <a:lnTo>
                          <a:pt x="123" y="194"/>
                        </a:lnTo>
                        <a:lnTo>
                          <a:pt x="109" y="182"/>
                        </a:lnTo>
                        <a:lnTo>
                          <a:pt x="123" y="154"/>
                        </a:lnTo>
                        <a:lnTo>
                          <a:pt x="97" y="83"/>
                        </a:lnTo>
                        <a:lnTo>
                          <a:pt x="76" y="71"/>
                        </a:lnTo>
                        <a:lnTo>
                          <a:pt x="71" y="55"/>
                        </a:lnTo>
                        <a:lnTo>
                          <a:pt x="55" y="50"/>
                        </a:lnTo>
                        <a:lnTo>
                          <a:pt x="22" y="43"/>
                        </a:lnTo>
                        <a:lnTo>
                          <a:pt x="17" y="26"/>
                        </a:lnTo>
                        <a:lnTo>
                          <a:pt x="0" y="26"/>
                        </a:lnTo>
                        <a:lnTo>
                          <a:pt x="0" y="26"/>
                        </a:lnTo>
                        <a:lnTo>
                          <a:pt x="0" y="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3" name="Freeform 452">
                    <a:extLst>
                      <a:ext uri="{FF2B5EF4-FFF2-40B4-BE49-F238E27FC236}">
                        <a16:creationId xmlns:a16="http://schemas.microsoft.com/office/drawing/2014/main" id="{D8C45654-0A00-4A11-B684-233B114DCA54}"/>
                      </a:ext>
                    </a:extLst>
                  </p:cNvPr>
                  <p:cNvSpPr>
                    <a:spLocks noEditPoints="1"/>
                  </p:cNvSpPr>
                  <p:nvPr/>
                </p:nvSpPr>
                <p:spPr bwMode="gray">
                  <a:xfrm>
                    <a:off x="4618073" y="692696"/>
                    <a:ext cx="1754949" cy="1347958"/>
                  </a:xfrm>
                  <a:custGeom>
                    <a:avLst/>
                    <a:gdLst>
                      <a:gd name="T0" fmla="*/ 1604 w 4263"/>
                      <a:gd name="T1" fmla="*/ 2143 h 3274"/>
                      <a:gd name="T2" fmla="*/ 1549 w 4263"/>
                      <a:gd name="T3" fmla="*/ 1949 h 3274"/>
                      <a:gd name="T4" fmla="*/ 1240 w 4263"/>
                      <a:gd name="T5" fmla="*/ 1892 h 3274"/>
                      <a:gd name="T6" fmla="*/ 1219 w 4263"/>
                      <a:gd name="T7" fmla="*/ 1555 h 3274"/>
                      <a:gd name="T8" fmla="*/ 756 w 4263"/>
                      <a:gd name="T9" fmla="*/ 1205 h 3274"/>
                      <a:gd name="T10" fmla="*/ 236 w 4263"/>
                      <a:gd name="T11" fmla="*/ 1099 h 3274"/>
                      <a:gd name="T12" fmla="*/ 16 w 4263"/>
                      <a:gd name="T13" fmla="*/ 893 h 3274"/>
                      <a:gd name="T14" fmla="*/ 718 w 4263"/>
                      <a:gd name="T15" fmla="*/ 501 h 3274"/>
                      <a:gd name="T16" fmla="*/ 1516 w 4263"/>
                      <a:gd name="T17" fmla="*/ 305 h 3274"/>
                      <a:gd name="T18" fmla="*/ 2315 w 4263"/>
                      <a:gd name="T19" fmla="*/ 189 h 3274"/>
                      <a:gd name="T20" fmla="*/ 2482 w 4263"/>
                      <a:gd name="T21" fmla="*/ 24 h 3274"/>
                      <a:gd name="T22" fmla="*/ 3439 w 4263"/>
                      <a:gd name="T23" fmla="*/ 123 h 3274"/>
                      <a:gd name="T24" fmla="*/ 3439 w 4263"/>
                      <a:gd name="T25" fmla="*/ 506 h 3274"/>
                      <a:gd name="T26" fmla="*/ 3633 w 4263"/>
                      <a:gd name="T27" fmla="*/ 527 h 3274"/>
                      <a:gd name="T28" fmla="*/ 3746 w 4263"/>
                      <a:gd name="T29" fmla="*/ 749 h 3274"/>
                      <a:gd name="T30" fmla="*/ 3789 w 4263"/>
                      <a:gd name="T31" fmla="*/ 1054 h 3274"/>
                      <a:gd name="T32" fmla="*/ 3734 w 4263"/>
                      <a:gd name="T33" fmla="*/ 1259 h 3274"/>
                      <a:gd name="T34" fmla="*/ 3578 w 4263"/>
                      <a:gd name="T35" fmla="*/ 1489 h 3274"/>
                      <a:gd name="T36" fmla="*/ 3297 w 4263"/>
                      <a:gd name="T37" fmla="*/ 1637 h 3274"/>
                      <a:gd name="T38" fmla="*/ 3493 w 4263"/>
                      <a:gd name="T39" fmla="*/ 1814 h 3274"/>
                      <a:gd name="T40" fmla="*/ 3531 w 4263"/>
                      <a:gd name="T41" fmla="*/ 1982 h 3274"/>
                      <a:gd name="T42" fmla="*/ 3137 w 4263"/>
                      <a:gd name="T43" fmla="*/ 2015 h 3274"/>
                      <a:gd name="T44" fmla="*/ 3326 w 4263"/>
                      <a:gd name="T45" fmla="*/ 2197 h 3274"/>
                      <a:gd name="T46" fmla="*/ 2839 w 4263"/>
                      <a:gd name="T47" fmla="*/ 2275 h 3274"/>
                      <a:gd name="T48" fmla="*/ 2532 w 4263"/>
                      <a:gd name="T49" fmla="*/ 2592 h 3274"/>
                      <a:gd name="T50" fmla="*/ 2272 w 4263"/>
                      <a:gd name="T51" fmla="*/ 2670 h 3274"/>
                      <a:gd name="T52" fmla="*/ 2154 w 4263"/>
                      <a:gd name="T53" fmla="*/ 2941 h 3274"/>
                      <a:gd name="T54" fmla="*/ 2067 w 4263"/>
                      <a:gd name="T55" fmla="*/ 3163 h 3274"/>
                      <a:gd name="T56" fmla="*/ 1927 w 4263"/>
                      <a:gd name="T57" fmla="*/ 3203 h 3274"/>
                      <a:gd name="T58" fmla="*/ 1743 w 4263"/>
                      <a:gd name="T59" fmla="*/ 3163 h 3274"/>
                      <a:gd name="T60" fmla="*/ 1672 w 4263"/>
                      <a:gd name="T61" fmla="*/ 3031 h 3274"/>
                      <a:gd name="T62" fmla="*/ 1511 w 4263"/>
                      <a:gd name="T63" fmla="*/ 2821 h 3274"/>
                      <a:gd name="T64" fmla="*/ 1533 w 4263"/>
                      <a:gd name="T65" fmla="*/ 2736 h 3274"/>
                      <a:gd name="T66" fmla="*/ 1424 w 4263"/>
                      <a:gd name="T67" fmla="*/ 2632 h 3274"/>
                      <a:gd name="T68" fmla="*/ 1353 w 4263"/>
                      <a:gd name="T69" fmla="*/ 2514 h 3274"/>
                      <a:gd name="T70" fmla="*/ 1566 w 4263"/>
                      <a:gd name="T71" fmla="*/ 2393 h 3274"/>
                      <a:gd name="T72" fmla="*/ 1386 w 4263"/>
                      <a:gd name="T73" fmla="*/ 2320 h 3274"/>
                      <a:gd name="T74" fmla="*/ 2272 w 4263"/>
                      <a:gd name="T75" fmla="*/ 67 h 3274"/>
                      <a:gd name="T76" fmla="*/ 2298 w 4263"/>
                      <a:gd name="T77" fmla="*/ 173 h 3274"/>
                      <a:gd name="T78" fmla="*/ 3666 w 4263"/>
                      <a:gd name="T79" fmla="*/ 267 h 3274"/>
                      <a:gd name="T80" fmla="*/ 3881 w 4263"/>
                      <a:gd name="T81" fmla="*/ 749 h 3274"/>
                      <a:gd name="T82" fmla="*/ 3649 w 4263"/>
                      <a:gd name="T83" fmla="*/ 917 h 3274"/>
                      <a:gd name="T84" fmla="*/ 3881 w 4263"/>
                      <a:gd name="T85" fmla="*/ 962 h 3274"/>
                      <a:gd name="T86" fmla="*/ 3741 w 4263"/>
                      <a:gd name="T87" fmla="*/ 1127 h 3274"/>
                      <a:gd name="T88" fmla="*/ 215 w 4263"/>
                      <a:gd name="T89" fmla="*/ 1184 h 3274"/>
                      <a:gd name="T90" fmla="*/ 3864 w 4263"/>
                      <a:gd name="T91" fmla="*/ 1337 h 3274"/>
                      <a:gd name="T92" fmla="*/ 1133 w 4263"/>
                      <a:gd name="T93" fmla="*/ 1460 h 3274"/>
                      <a:gd name="T94" fmla="*/ 1164 w 4263"/>
                      <a:gd name="T95" fmla="*/ 1600 h 3274"/>
                      <a:gd name="T96" fmla="*/ 1202 w 4263"/>
                      <a:gd name="T97" fmla="*/ 1633 h 3274"/>
                      <a:gd name="T98" fmla="*/ 1240 w 4263"/>
                      <a:gd name="T99" fmla="*/ 1687 h 3274"/>
                      <a:gd name="T100" fmla="*/ 1209 w 4263"/>
                      <a:gd name="T101" fmla="*/ 1703 h 3274"/>
                      <a:gd name="T102" fmla="*/ 1226 w 4263"/>
                      <a:gd name="T103" fmla="*/ 1838 h 3274"/>
                      <a:gd name="T104" fmla="*/ 3342 w 4263"/>
                      <a:gd name="T105" fmla="*/ 1933 h 3274"/>
                      <a:gd name="T106" fmla="*/ 1353 w 4263"/>
                      <a:gd name="T107" fmla="*/ 2143 h 3274"/>
                      <a:gd name="T108" fmla="*/ 3486 w 4263"/>
                      <a:gd name="T109" fmla="*/ 2126 h 3274"/>
                      <a:gd name="T110" fmla="*/ 1457 w 4263"/>
                      <a:gd name="T111" fmla="*/ 2308 h 3274"/>
                      <a:gd name="T112" fmla="*/ 1370 w 4263"/>
                      <a:gd name="T113" fmla="*/ 2476 h 3274"/>
                      <a:gd name="T114" fmla="*/ 2504 w 4263"/>
                      <a:gd name="T115" fmla="*/ 2599 h 3274"/>
                      <a:gd name="T116" fmla="*/ 1408 w 4263"/>
                      <a:gd name="T117" fmla="*/ 2641 h 3274"/>
                      <a:gd name="T118" fmla="*/ 1511 w 4263"/>
                      <a:gd name="T119" fmla="*/ 2764 h 3274"/>
                      <a:gd name="T120" fmla="*/ 1566 w 4263"/>
                      <a:gd name="T121" fmla="*/ 2903 h 3274"/>
                      <a:gd name="T122" fmla="*/ 1776 w 4263"/>
                      <a:gd name="T123" fmla="*/ 3163 h 3274"/>
                      <a:gd name="T124" fmla="*/ 2071 w 4263"/>
                      <a:gd name="T125" fmla="*/ 3258 h 3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63" h="3274">
                        <a:moveTo>
                          <a:pt x="1441" y="2308"/>
                        </a:moveTo>
                        <a:lnTo>
                          <a:pt x="1436" y="2299"/>
                        </a:lnTo>
                        <a:lnTo>
                          <a:pt x="1408" y="2299"/>
                        </a:lnTo>
                        <a:lnTo>
                          <a:pt x="1424" y="2292"/>
                        </a:lnTo>
                        <a:lnTo>
                          <a:pt x="1382" y="2299"/>
                        </a:lnTo>
                        <a:lnTo>
                          <a:pt x="1382" y="2292"/>
                        </a:lnTo>
                        <a:lnTo>
                          <a:pt x="1398" y="2292"/>
                        </a:lnTo>
                        <a:lnTo>
                          <a:pt x="1441" y="2259"/>
                        </a:lnTo>
                        <a:lnTo>
                          <a:pt x="1478" y="2259"/>
                        </a:lnTo>
                        <a:lnTo>
                          <a:pt x="1490" y="2259"/>
                        </a:lnTo>
                        <a:lnTo>
                          <a:pt x="1478" y="2259"/>
                        </a:lnTo>
                        <a:lnTo>
                          <a:pt x="1504" y="2266"/>
                        </a:lnTo>
                        <a:lnTo>
                          <a:pt x="1559" y="2254"/>
                        </a:lnTo>
                        <a:lnTo>
                          <a:pt x="1559" y="2242"/>
                        </a:lnTo>
                        <a:lnTo>
                          <a:pt x="1542" y="2237"/>
                        </a:lnTo>
                        <a:lnTo>
                          <a:pt x="1570" y="2225"/>
                        </a:lnTo>
                        <a:lnTo>
                          <a:pt x="1528" y="2237"/>
                        </a:lnTo>
                        <a:lnTo>
                          <a:pt x="1549" y="2209"/>
                        </a:lnTo>
                        <a:lnTo>
                          <a:pt x="1533" y="2209"/>
                        </a:lnTo>
                        <a:lnTo>
                          <a:pt x="1542" y="2188"/>
                        </a:lnTo>
                        <a:lnTo>
                          <a:pt x="1559" y="2188"/>
                        </a:lnTo>
                        <a:lnTo>
                          <a:pt x="1542" y="2204"/>
                        </a:lnTo>
                        <a:lnTo>
                          <a:pt x="1566" y="2197"/>
                        </a:lnTo>
                        <a:lnTo>
                          <a:pt x="1587" y="2221"/>
                        </a:lnTo>
                        <a:lnTo>
                          <a:pt x="1596" y="2209"/>
                        </a:lnTo>
                        <a:lnTo>
                          <a:pt x="1580" y="2204"/>
                        </a:lnTo>
                        <a:lnTo>
                          <a:pt x="1596" y="2197"/>
                        </a:lnTo>
                        <a:lnTo>
                          <a:pt x="1596" y="2204"/>
                        </a:lnTo>
                        <a:lnTo>
                          <a:pt x="1604" y="2209"/>
                        </a:lnTo>
                        <a:lnTo>
                          <a:pt x="1596" y="2197"/>
                        </a:lnTo>
                        <a:lnTo>
                          <a:pt x="1566" y="2188"/>
                        </a:lnTo>
                        <a:lnTo>
                          <a:pt x="1604" y="2181"/>
                        </a:lnTo>
                        <a:lnTo>
                          <a:pt x="1580" y="2181"/>
                        </a:lnTo>
                        <a:lnTo>
                          <a:pt x="1580" y="2164"/>
                        </a:lnTo>
                        <a:lnTo>
                          <a:pt x="1587" y="2164"/>
                        </a:lnTo>
                        <a:lnTo>
                          <a:pt x="1549" y="2181"/>
                        </a:lnTo>
                        <a:lnTo>
                          <a:pt x="1533" y="2181"/>
                        </a:lnTo>
                        <a:lnTo>
                          <a:pt x="1559" y="2148"/>
                        </a:lnTo>
                        <a:lnTo>
                          <a:pt x="1604" y="2143"/>
                        </a:lnTo>
                        <a:lnTo>
                          <a:pt x="1549" y="2143"/>
                        </a:lnTo>
                        <a:lnTo>
                          <a:pt x="1559" y="2126"/>
                        </a:lnTo>
                        <a:lnTo>
                          <a:pt x="1587" y="2131"/>
                        </a:lnTo>
                        <a:lnTo>
                          <a:pt x="1559" y="2114"/>
                        </a:lnTo>
                        <a:lnTo>
                          <a:pt x="1570" y="2110"/>
                        </a:lnTo>
                        <a:lnTo>
                          <a:pt x="1604" y="2110"/>
                        </a:lnTo>
                        <a:lnTo>
                          <a:pt x="1596" y="2093"/>
                        </a:lnTo>
                        <a:lnTo>
                          <a:pt x="1570" y="2086"/>
                        </a:lnTo>
                        <a:lnTo>
                          <a:pt x="1596" y="2077"/>
                        </a:lnTo>
                        <a:lnTo>
                          <a:pt x="1528" y="2086"/>
                        </a:lnTo>
                        <a:lnTo>
                          <a:pt x="1559" y="2077"/>
                        </a:lnTo>
                        <a:lnTo>
                          <a:pt x="1528" y="2070"/>
                        </a:lnTo>
                        <a:lnTo>
                          <a:pt x="1511" y="2086"/>
                        </a:lnTo>
                        <a:lnTo>
                          <a:pt x="1452" y="2070"/>
                        </a:lnTo>
                        <a:lnTo>
                          <a:pt x="1424" y="2044"/>
                        </a:lnTo>
                        <a:lnTo>
                          <a:pt x="1344" y="2032"/>
                        </a:lnTo>
                        <a:lnTo>
                          <a:pt x="1289" y="1987"/>
                        </a:lnTo>
                        <a:lnTo>
                          <a:pt x="1327" y="1966"/>
                        </a:lnTo>
                        <a:lnTo>
                          <a:pt x="1424" y="1982"/>
                        </a:lnTo>
                        <a:lnTo>
                          <a:pt x="1504" y="2020"/>
                        </a:lnTo>
                        <a:lnTo>
                          <a:pt x="1570" y="2037"/>
                        </a:lnTo>
                        <a:lnTo>
                          <a:pt x="1580" y="2032"/>
                        </a:lnTo>
                        <a:lnTo>
                          <a:pt x="1566" y="2020"/>
                        </a:lnTo>
                        <a:lnTo>
                          <a:pt x="1580" y="2015"/>
                        </a:lnTo>
                        <a:lnTo>
                          <a:pt x="1549" y="2020"/>
                        </a:lnTo>
                        <a:lnTo>
                          <a:pt x="1516" y="2003"/>
                        </a:lnTo>
                        <a:lnTo>
                          <a:pt x="1528" y="1999"/>
                        </a:lnTo>
                        <a:lnTo>
                          <a:pt x="1549" y="2015"/>
                        </a:lnTo>
                        <a:lnTo>
                          <a:pt x="1566" y="2003"/>
                        </a:lnTo>
                        <a:lnTo>
                          <a:pt x="1542" y="1999"/>
                        </a:lnTo>
                        <a:lnTo>
                          <a:pt x="1570" y="1999"/>
                        </a:lnTo>
                        <a:lnTo>
                          <a:pt x="1511" y="1982"/>
                        </a:lnTo>
                        <a:lnTo>
                          <a:pt x="1528" y="1975"/>
                        </a:lnTo>
                        <a:lnTo>
                          <a:pt x="1570" y="1982"/>
                        </a:lnTo>
                        <a:lnTo>
                          <a:pt x="1549" y="1975"/>
                        </a:lnTo>
                        <a:lnTo>
                          <a:pt x="1559" y="1966"/>
                        </a:lnTo>
                        <a:lnTo>
                          <a:pt x="1533" y="1966"/>
                        </a:lnTo>
                        <a:lnTo>
                          <a:pt x="1478" y="1942"/>
                        </a:lnTo>
                        <a:lnTo>
                          <a:pt x="1549" y="1949"/>
                        </a:lnTo>
                        <a:lnTo>
                          <a:pt x="1511" y="1942"/>
                        </a:lnTo>
                        <a:lnTo>
                          <a:pt x="1528" y="1926"/>
                        </a:lnTo>
                        <a:lnTo>
                          <a:pt x="1457" y="1933"/>
                        </a:lnTo>
                        <a:lnTo>
                          <a:pt x="1511" y="1909"/>
                        </a:lnTo>
                        <a:lnTo>
                          <a:pt x="1504" y="1904"/>
                        </a:lnTo>
                        <a:lnTo>
                          <a:pt x="1436" y="1926"/>
                        </a:lnTo>
                        <a:lnTo>
                          <a:pt x="1457" y="1909"/>
                        </a:lnTo>
                        <a:lnTo>
                          <a:pt x="1457" y="1904"/>
                        </a:lnTo>
                        <a:lnTo>
                          <a:pt x="1516" y="1888"/>
                        </a:lnTo>
                        <a:lnTo>
                          <a:pt x="1495" y="1876"/>
                        </a:lnTo>
                        <a:lnTo>
                          <a:pt x="1441" y="1892"/>
                        </a:lnTo>
                        <a:lnTo>
                          <a:pt x="1403" y="1892"/>
                        </a:lnTo>
                        <a:lnTo>
                          <a:pt x="1441" y="1871"/>
                        </a:lnTo>
                        <a:lnTo>
                          <a:pt x="1490" y="1871"/>
                        </a:lnTo>
                        <a:lnTo>
                          <a:pt x="1504" y="1855"/>
                        </a:lnTo>
                        <a:lnTo>
                          <a:pt x="1462" y="1864"/>
                        </a:lnTo>
                        <a:lnTo>
                          <a:pt x="1386" y="1855"/>
                        </a:lnTo>
                        <a:lnTo>
                          <a:pt x="1424" y="1814"/>
                        </a:lnTo>
                        <a:lnTo>
                          <a:pt x="1408" y="1822"/>
                        </a:lnTo>
                        <a:lnTo>
                          <a:pt x="1403" y="1831"/>
                        </a:lnTo>
                        <a:lnTo>
                          <a:pt x="1382" y="1838"/>
                        </a:lnTo>
                        <a:lnTo>
                          <a:pt x="1382" y="1810"/>
                        </a:lnTo>
                        <a:lnTo>
                          <a:pt x="1353" y="1798"/>
                        </a:lnTo>
                        <a:lnTo>
                          <a:pt x="1344" y="1765"/>
                        </a:lnTo>
                        <a:lnTo>
                          <a:pt x="1365" y="1765"/>
                        </a:lnTo>
                        <a:lnTo>
                          <a:pt x="1332" y="1765"/>
                        </a:lnTo>
                        <a:lnTo>
                          <a:pt x="1382" y="1831"/>
                        </a:lnTo>
                        <a:lnTo>
                          <a:pt x="1353" y="1848"/>
                        </a:lnTo>
                        <a:lnTo>
                          <a:pt x="1344" y="1848"/>
                        </a:lnTo>
                        <a:lnTo>
                          <a:pt x="1348" y="1855"/>
                        </a:lnTo>
                        <a:lnTo>
                          <a:pt x="1348" y="1864"/>
                        </a:lnTo>
                        <a:lnTo>
                          <a:pt x="1327" y="1855"/>
                        </a:lnTo>
                        <a:lnTo>
                          <a:pt x="1327" y="1864"/>
                        </a:lnTo>
                        <a:lnTo>
                          <a:pt x="1344" y="1871"/>
                        </a:lnTo>
                        <a:lnTo>
                          <a:pt x="1344" y="1888"/>
                        </a:lnTo>
                        <a:lnTo>
                          <a:pt x="1278" y="1904"/>
                        </a:lnTo>
                        <a:lnTo>
                          <a:pt x="1247" y="1876"/>
                        </a:lnTo>
                        <a:lnTo>
                          <a:pt x="1256" y="1892"/>
                        </a:lnTo>
                        <a:lnTo>
                          <a:pt x="1240" y="1892"/>
                        </a:lnTo>
                        <a:lnTo>
                          <a:pt x="1219" y="1864"/>
                        </a:lnTo>
                        <a:lnTo>
                          <a:pt x="1226" y="1864"/>
                        </a:lnTo>
                        <a:lnTo>
                          <a:pt x="1202" y="1855"/>
                        </a:lnTo>
                        <a:lnTo>
                          <a:pt x="1240" y="1831"/>
                        </a:lnTo>
                        <a:lnTo>
                          <a:pt x="1278" y="1822"/>
                        </a:lnTo>
                        <a:lnTo>
                          <a:pt x="1294" y="1810"/>
                        </a:lnTo>
                        <a:lnTo>
                          <a:pt x="1311" y="1781"/>
                        </a:lnTo>
                        <a:lnTo>
                          <a:pt x="1273" y="1822"/>
                        </a:lnTo>
                        <a:lnTo>
                          <a:pt x="1240" y="1822"/>
                        </a:lnTo>
                        <a:lnTo>
                          <a:pt x="1226" y="1814"/>
                        </a:lnTo>
                        <a:lnTo>
                          <a:pt x="1273" y="1781"/>
                        </a:lnTo>
                        <a:lnTo>
                          <a:pt x="1263" y="1765"/>
                        </a:lnTo>
                        <a:lnTo>
                          <a:pt x="1289" y="1765"/>
                        </a:lnTo>
                        <a:lnTo>
                          <a:pt x="1263" y="1760"/>
                        </a:lnTo>
                        <a:lnTo>
                          <a:pt x="1273" y="1760"/>
                        </a:lnTo>
                        <a:lnTo>
                          <a:pt x="1247" y="1765"/>
                        </a:lnTo>
                        <a:lnTo>
                          <a:pt x="1219" y="1748"/>
                        </a:lnTo>
                        <a:lnTo>
                          <a:pt x="1235" y="1744"/>
                        </a:lnTo>
                        <a:lnTo>
                          <a:pt x="1311" y="1748"/>
                        </a:lnTo>
                        <a:lnTo>
                          <a:pt x="1263" y="1744"/>
                        </a:lnTo>
                        <a:lnTo>
                          <a:pt x="1273" y="1727"/>
                        </a:lnTo>
                        <a:lnTo>
                          <a:pt x="1289" y="1727"/>
                        </a:lnTo>
                        <a:lnTo>
                          <a:pt x="1273" y="1727"/>
                        </a:lnTo>
                        <a:lnTo>
                          <a:pt x="1289" y="1711"/>
                        </a:lnTo>
                        <a:lnTo>
                          <a:pt x="1273" y="1711"/>
                        </a:lnTo>
                        <a:lnTo>
                          <a:pt x="1294" y="1703"/>
                        </a:lnTo>
                        <a:lnTo>
                          <a:pt x="1273" y="1670"/>
                        </a:lnTo>
                        <a:lnTo>
                          <a:pt x="1219" y="1666"/>
                        </a:lnTo>
                        <a:lnTo>
                          <a:pt x="1256" y="1649"/>
                        </a:lnTo>
                        <a:lnTo>
                          <a:pt x="1235" y="1637"/>
                        </a:lnTo>
                        <a:lnTo>
                          <a:pt x="1247" y="1626"/>
                        </a:lnTo>
                        <a:lnTo>
                          <a:pt x="1256" y="1626"/>
                        </a:lnTo>
                        <a:lnTo>
                          <a:pt x="1188" y="1583"/>
                        </a:lnTo>
                        <a:lnTo>
                          <a:pt x="1202" y="1583"/>
                        </a:lnTo>
                        <a:lnTo>
                          <a:pt x="1193" y="1583"/>
                        </a:lnTo>
                        <a:lnTo>
                          <a:pt x="1193" y="1571"/>
                        </a:lnTo>
                        <a:lnTo>
                          <a:pt x="1219" y="1576"/>
                        </a:lnTo>
                        <a:lnTo>
                          <a:pt x="1193" y="1559"/>
                        </a:lnTo>
                        <a:lnTo>
                          <a:pt x="1219" y="1555"/>
                        </a:lnTo>
                        <a:lnTo>
                          <a:pt x="1188" y="1538"/>
                        </a:lnTo>
                        <a:lnTo>
                          <a:pt x="1193" y="1538"/>
                        </a:lnTo>
                        <a:lnTo>
                          <a:pt x="1164" y="1526"/>
                        </a:lnTo>
                        <a:lnTo>
                          <a:pt x="1188" y="1498"/>
                        </a:lnTo>
                        <a:lnTo>
                          <a:pt x="1100" y="1522"/>
                        </a:lnTo>
                        <a:lnTo>
                          <a:pt x="1171" y="1498"/>
                        </a:lnTo>
                        <a:lnTo>
                          <a:pt x="1138" y="1489"/>
                        </a:lnTo>
                        <a:lnTo>
                          <a:pt x="1188" y="1481"/>
                        </a:lnTo>
                        <a:lnTo>
                          <a:pt x="1138" y="1472"/>
                        </a:lnTo>
                        <a:lnTo>
                          <a:pt x="1181" y="1472"/>
                        </a:lnTo>
                        <a:lnTo>
                          <a:pt x="1181" y="1460"/>
                        </a:lnTo>
                        <a:lnTo>
                          <a:pt x="1155" y="1460"/>
                        </a:lnTo>
                        <a:lnTo>
                          <a:pt x="1133" y="1444"/>
                        </a:lnTo>
                        <a:lnTo>
                          <a:pt x="1126" y="1444"/>
                        </a:lnTo>
                        <a:lnTo>
                          <a:pt x="1112" y="1427"/>
                        </a:lnTo>
                        <a:lnTo>
                          <a:pt x="1133" y="1427"/>
                        </a:lnTo>
                        <a:lnTo>
                          <a:pt x="1126" y="1411"/>
                        </a:lnTo>
                        <a:lnTo>
                          <a:pt x="1041" y="1387"/>
                        </a:lnTo>
                        <a:lnTo>
                          <a:pt x="1058" y="1370"/>
                        </a:lnTo>
                        <a:lnTo>
                          <a:pt x="1030" y="1354"/>
                        </a:lnTo>
                        <a:lnTo>
                          <a:pt x="1030" y="1337"/>
                        </a:lnTo>
                        <a:lnTo>
                          <a:pt x="1004" y="1349"/>
                        </a:lnTo>
                        <a:lnTo>
                          <a:pt x="1041" y="1333"/>
                        </a:lnTo>
                        <a:lnTo>
                          <a:pt x="1041" y="1321"/>
                        </a:lnTo>
                        <a:lnTo>
                          <a:pt x="1025" y="1316"/>
                        </a:lnTo>
                        <a:lnTo>
                          <a:pt x="1030" y="1300"/>
                        </a:lnTo>
                        <a:lnTo>
                          <a:pt x="1008" y="1300"/>
                        </a:lnTo>
                        <a:lnTo>
                          <a:pt x="1025" y="1295"/>
                        </a:lnTo>
                        <a:lnTo>
                          <a:pt x="975" y="1295"/>
                        </a:lnTo>
                        <a:lnTo>
                          <a:pt x="971" y="1283"/>
                        </a:lnTo>
                        <a:lnTo>
                          <a:pt x="971" y="1276"/>
                        </a:lnTo>
                        <a:lnTo>
                          <a:pt x="971" y="1266"/>
                        </a:lnTo>
                        <a:lnTo>
                          <a:pt x="933" y="1283"/>
                        </a:lnTo>
                        <a:lnTo>
                          <a:pt x="937" y="1259"/>
                        </a:lnTo>
                        <a:lnTo>
                          <a:pt x="878" y="1238"/>
                        </a:lnTo>
                        <a:lnTo>
                          <a:pt x="862" y="1250"/>
                        </a:lnTo>
                        <a:lnTo>
                          <a:pt x="857" y="1226"/>
                        </a:lnTo>
                        <a:lnTo>
                          <a:pt x="760" y="1222"/>
                        </a:lnTo>
                        <a:lnTo>
                          <a:pt x="756" y="1205"/>
                        </a:lnTo>
                        <a:lnTo>
                          <a:pt x="722" y="1210"/>
                        </a:lnTo>
                        <a:lnTo>
                          <a:pt x="718" y="1222"/>
                        </a:lnTo>
                        <a:lnTo>
                          <a:pt x="706" y="1205"/>
                        </a:lnTo>
                        <a:lnTo>
                          <a:pt x="680" y="1193"/>
                        </a:lnTo>
                        <a:lnTo>
                          <a:pt x="652" y="1222"/>
                        </a:lnTo>
                        <a:lnTo>
                          <a:pt x="630" y="1226"/>
                        </a:lnTo>
                        <a:lnTo>
                          <a:pt x="614" y="1222"/>
                        </a:lnTo>
                        <a:lnTo>
                          <a:pt x="626" y="1205"/>
                        </a:lnTo>
                        <a:lnTo>
                          <a:pt x="597" y="1193"/>
                        </a:lnTo>
                        <a:lnTo>
                          <a:pt x="609" y="1205"/>
                        </a:lnTo>
                        <a:lnTo>
                          <a:pt x="597" y="1222"/>
                        </a:lnTo>
                        <a:lnTo>
                          <a:pt x="588" y="1210"/>
                        </a:lnTo>
                        <a:lnTo>
                          <a:pt x="588" y="1226"/>
                        </a:lnTo>
                        <a:lnTo>
                          <a:pt x="593" y="1226"/>
                        </a:lnTo>
                        <a:lnTo>
                          <a:pt x="538" y="1226"/>
                        </a:lnTo>
                        <a:lnTo>
                          <a:pt x="538" y="1238"/>
                        </a:lnTo>
                        <a:lnTo>
                          <a:pt x="534" y="1243"/>
                        </a:lnTo>
                        <a:lnTo>
                          <a:pt x="500" y="1238"/>
                        </a:lnTo>
                        <a:lnTo>
                          <a:pt x="517" y="1222"/>
                        </a:lnTo>
                        <a:lnTo>
                          <a:pt x="508" y="1222"/>
                        </a:lnTo>
                        <a:lnTo>
                          <a:pt x="522" y="1210"/>
                        </a:lnTo>
                        <a:lnTo>
                          <a:pt x="508" y="1210"/>
                        </a:lnTo>
                        <a:lnTo>
                          <a:pt x="479" y="1205"/>
                        </a:lnTo>
                        <a:lnTo>
                          <a:pt x="463" y="1238"/>
                        </a:lnTo>
                        <a:lnTo>
                          <a:pt x="425" y="1210"/>
                        </a:lnTo>
                        <a:lnTo>
                          <a:pt x="399" y="1226"/>
                        </a:lnTo>
                        <a:lnTo>
                          <a:pt x="463" y="1259"/>
                        </a:lnTo>
                        <a:lnTo>
                          <a:pt x="311" y="1238"/>
                        </a:lnTo>
                        <a:lnTo>
                          <a:pt x="323" y="1226"/>
                        </a:lnTo>
                        <a:lnTo>
                          <a:pt x="290" y="1226"/>
                        </a:lnTo>
                        <a:lnTo>
                          <a:pt x="302" y="1222"/>
                        </a:lnTo>
                        <a:lnTo>
                          <a:pt x="236" y="1193"/>
                        </a:lnTo>
                        <a:lnTo>
                          <a:pt x="302" y="1165"/>
                        </a:lnTo>
                        <a:lnTo>
                          <a:pt x="356" y="1165"/>
                        </a:lnTo>
                        <a:lnTo>
                          <a:pt x="356" y="1148"/>
                        </a:lnTo>
                        <a:lnTo>
                          <a:pt x="269" y="1148"/>
                        </a:lnTo>
                        <a:lnTo>
                          <a:pt x="205" y="1132"/>
                        </a:lnTo>
                        <a:lnTo>
                          <a:pt x="248" y="1099"/>
                        </a:lnTo>
                        <a:lnTo>
                          <a:pt x="236" y="1099"/>
                        </a:lnTo>
                        <a:lnTo>
                          <a:pt x="177" y="1132"/>
                        </a:lnTo>
                        <a:lnTo>
                          <a:pt x="144" y="1115"/>
                        </a:lnTo>
                        <a:lnTo>
                          <a:pt x="160" y="1111"/>
                        </a:lnTo>
                        <a:lnTo>
                          <a:pt x="130" y="1111"/>
                        </a:lnTo>
                        <a:lnTo>
                          <a:pt x="113" y="1094"/>
                        </a:lnTo>
                        <a:lnTo>
                          <a:pt x="151" y="1077"/>
                        </a:lnTo>
                        <a:lnTo>
                          <a:pt x="144" y="1073"/>
                        </a:lnTo>
                        <a:lnTo>
                          <a:pt x="198" y="1061"/>
                        </a:lnTo>
                        <a:lnTo>
                          <a:pt x="463" y="1077"/>
                        </a:lnTo>
                        <a:lnTo>
                          <a:pt x="479" y="1073"/>
                        </a:lnTo>
                        <a:lnTo>
                          <a:pt x="432" y="1077"/>
                        </a:lnTo>
                        <a:lnTo>
                          <a:pt x="274" y="1061"/>
                        </a:lnTo>
                        <a:lnTo>
                          <a:pt x="378" y="1037"/>
                        </a:lnTo>
                        <a:lnTo>
                          <a:pt x="479" y="1061"/>
                        </a:lnTo>
                        <a:lnTo>
                          <a:pt x="446" y="1037"/>
                        </a:lnTo>
                        <a:lnTo>
                          <a:pt x="484" y="1021"/>
                        </a:lnTo>
                        <a:lnTo>
                          <a:pt x="470" y="1004"/>
                        </a:lnTo>
                        <a:lnTo>
                          <a:pt x="437" y="1000"/>
                        </a:lnTo>
                        <a:lnTo>
                          <a:pt x="415" y="1000"/>
                        </a:lnTo>
                        <a:lnTo>
                          <a:pt x="382" y="1021"/>
                        </a:lnTo>
                        <a:lnTo>
                          <a:pt x="328" y="1021"/>
                        </a:lnTo>
                        <a:lnTo>
                          <a:pt x="302" y="1000"/>
                        </a:lnTo>
                        <a:lnTo>
                          <a:pt x="290" y="1000"/>
                        </a:lnTo>
                        <a:lnTo>
                          <a:pt x="307" y="1021"/>
                        </a:lnTo>
                        <a:lnTo>
                          <a:pt x="257" y="1028"/>
                        </a:lnTo>
                        <a:lnTo>
                          <a:pt x="193" y="1016"/>
                        </a:lnTo>
                        <a:lnTo>
                          <a:pt x="248" y="1000"/>
                        </a:lnTo>
                        <a:lnTo>
                          <a:pt x="248" y="983"/>
                        </a:lnTo>
                        <a:lnTo>
                          <a:pt x="167" y="1000"/>
                        </a:lnTo>
                        <a:lnTo>
                          <a:pt x="215" y="971"/>
                        </a:lnTo>
                        <a:lnTo>
                          <a:pt x="122" y="983"/>
                        </a:lnTo>
                        <a:lnTo>
                          <a:pt x="113" y="983"/>
                        </a:lnTo>
                        <a:lnTo>
                          <a:pt x="130" y="966"/>
                        </a:lnTo>
                        <a:lnTo>
                          <a:pt x="75" y="966"/>
                        </a:lnTo>
                        <a:lnTo>
                          <a:pt x="42" y="945"/>
                        </a:lnTo>
                        <a:lnTo>
                          <a:pt x="54" y="945"/>
                        </a:lnTo>
                        <a:lnTo>
                          <a:pt x="0" y="917"/>
                        </a:lnTo>
                        <a:lnTo>
                          <a:pt x="37" y="905"/>
                        </a:lnTo>
                        <a:lnTo>
                          <a:pt x="16" y="893"/>
                        </a:lnTo>
                        <a:lnTo>
                          <a:pt x="30" y="877"/>
                        </a:lnTo>
                        <a:lnTo>
                          <a:pt x="30" y="872"/>
                        </a:lnTo>
                        <a:lnTo>
                          <a:pt x="30" y="860"/>
                        </a:lnTo>
                        <a:lnTo>
                          <a:pt x="97" y="851"/>
                        </a:lnTo>
                        <a:lnTo>
                          <a:pt x="151" y="851"/>
                        </a:lnTo>
                        <a:lnTo>
                          <a:pt x="160" y="839"/>
                        </a:lnTo>
                        <a:lnTo>
                          <a:pt x="269" y="806"/>
                        </a:lnTo>
                        <a:lnTo>
                          <a:pt x="302" y="815"/>
                        </a:lnTo>
                        <a:lnTo>
                          <a:pt x="269" y="799"/>
                        </a:lnTo>
                        <a:lnTo>
                          <a:pt x="328" y="778"/>
                        </a:lnTo>
                        <a:lnTo>
                          <a:pt x="371" y="782"/>
                        </a:lnTo>
                        <a:lnTo>
                          <a:pt x="382" y="766"/>
                        </a:lnTo>
                        <a:lnTo>
                          <a:pt x="491" y="778"/>
                        </a:lnTo>
                        <a:lnTo>
                          <a:pt x="576" y="704"/>
                        </a:lnTo>
                        <a:lnTo>
                          <a:pt x="555" y="655"/>
                        </a:lnTo>
                        <a:lnTo>
                          <a:pt x="559" y="638"/>
                        </a:lnTo>
                        <a:lnTo>
                          <a:pt x="555" y="629"/>
                        </a:lnTo>
                        <a:lnTo>
                          <a:pt x="647" y="600"/>
                        </a:lnTo>
                        <a:lnTo>
                          <a:pt x="626" y="600"/>
                        </a:lnTo>
                        <a:lnTo>
                          <a:pt x="614" y="584"/>
                        </a:lnTo>
                        <a:lnTo>
                          <a:pt x="609" y="600"/>
                        </a:lnTo>
                        <a:lnTo>
                          <a:pt x="571" y="617"/>
                        </a:lnTo>
                        <a:lnTo>
                          <a:pt x="415" y="617"/>
                        </a:lnTo>
                        <a:lnTo>
                          <a:pt x="408" y="600"/>
                        </a:lnTo>
                        <a:lnTo>
                          <a:pt x="382" y="596"/>
                        </a:lnTo>
                        <a:lnTo>
                          <a:pt x="394" y="572"/>
                        </a:lnTo>
                        <a:lnTo>
                          <a:pt x="437" y="555"/>
                        </a:lnTo>
                        <a:lnTo>
                          <a:pt x="437" y="539"/>
                        </a:lnTo>
                        <a:lnTo>
                          <a:pt x="522" y="518"/>
                        </a:lnTo>
                        <a:lnTo>
                          <a:pt x="517" y="506"/>
                        </a:lnTo>
                        <a:lnTo>
                          <a:pt x="555" y="501"/>
                        </a:lnTo>
                        <a:lnTo>
                          <a:pt x="559" y="489"/>
                        </a:lnTo>
                        <a:lnTo>
                          <a:pt x="559" y="485"/>
                        </a:lnTo>
                        <a:lnTo>
                          <a:pt x="588" y="473"/>
                        </a:lnTo>
                        <a:lnTo>
                          <a:pt x="576" y="461"/>
                        </a:lnTo>
                        <a:lnTo>
                          <a:pt x="652" y="433"/>
                        </a:lnTo>
                        <a:lnTo>
                          <a:pt x="668" y="444"/>
                        </a:lnTo>
                        <a:lnTo>
                          <a:pt x="680" y="466"/>
                        </a:lnTo>
                        <a:lnTo>
                          <a:pt x="718" y="501"/>
                        </a:lnTo>
                        <a:lnTo>
                          <a:pt x="722" y="501"/>
                        </a:lnTo>
                        <a:lnTo>
                          <a:pt x="685" y="466"/>
                        </a:lnTo>
                        <a:lnTo>
                          <a:pt x="680" y="433"/>
                        </a:lnTo>
                        <a:lnTo>
                          <a:pt x="718" y="416"/>
                        </a:lnTo>
                        <a:lnTo>
                          <a:pt x="803" y="449"/>
                        </a:lnTo>
                        <a:lnTo>
                          <a:pt x="841" y="444"/>
                        </a:lnTo>
                        <a:lnTo>
                          <a:pt x="848" y="433"/>
                        </a:lnTo>
                        <a:lnTo>
                          <a:pt x="824" y="395"/>
                        </a:lnTo>
                        <a:lnTo>
                          <a:pt x="862" y="374"/>
                        </a:lnTo>
                        <a:lnTo>
                          <a:pt x="810" y="333"/>
                        </a:lnTo>
                        <a:lnTo>
                          <a:pt x="857" y="305"/>
                        </a:lnTo>
                        <a:lnTo>
                          <a:pt x="911" y="300"/>
                        </a:lnTo>
                        <a:lnTo>
                          <a:pt x="992" y="305"/>
                        </a:lnTo>
                        <a:lnTo>
                          <a:pt x="1008" y="350"/>
                        </a:lnTo>
                        <a:lnTo>
                          <a:pt x="1079" y="355"/>
                        </a:lnTo>
                        <a:lnTo>
                          <a:pt x="1112" y="390"/>
                        </a:lnTo>
                        <a:lnTo>
                          <a:pt x="1155" y="407"/>
                        </a:lnTo>
                        <a:lnTo>
                          <a:pt x="1164" y="407"/>
                        </a:lnTo>
                        <a:lnTo>
                          <a:pt x="1046" y="350"/>
                        </a:lnTo>
                        <a:lnTo>
                          <a:pt x="1020" y="305"/>
                        </a:lnTo>
                        <a:lnTo>
                          <a:pt x="949" y="296"/>
                        </a:lnTo>
                        <a:lnTo>
                          <a:pt x="1155" y="244"/>
                        </a:lnTo>
                        <a:lnTo>
                          <a:pt x="1171" y="263"/>
                        </a:lnTo>
                        <a:lnTo>
                          <a:pt x="1202" y="244"/>
                        </a:lnTo>
                        <a:lnTo>
                          <a:pt x="1247" y="244"/>
                        </a:lnTo>
                        <a:lnTo>
                          <a:pt x="1240" y="251"/>
                        </a:lnTo>
                        <a:lnTo>
                          <a:pt x="1256" y="263"/>
                        </a:lnTo>
                        <a:lnTo>
                          <a:pt x="1247" y="239"/>
                        </a:lnTo>
                        <a:lnTo>
                          <a:pt x="1226" y="239"/>
                        </a:lnTo>
                        <a:lnTo>
                          <a:pt x="1301" y="222"/>
                        </a:lnTo>
                        <a:lnTo>
                          <a:pt x="1365" y="267"/>
                        </a:lnTo>
                        <a:lnTo>
                          <a:pt x="1370" y="305"/>
                        </a:lnTo>
                        <a:lnTo>
                          <a:pt x="1348" y="338"/>
                        </a:lnTo>
                        <a:lnTo>
                          <a:pt x="1348" y="362"/>
                        </a:lnTo>
                        <a:lnTo>
                          <a:pt x="1370" y="374"/>
                        </a:lnTo>
                        <a:lnTo>
                          <a:pt x="1365" y="350"/>
                        </a:lnTo>
                        <a:lnTo>
                          <a:pt x="1408" y="317"/>
                        </a:lnTo>
                        <a:lnTo>
                          <a:pt x="1403" y="284"/>
                        </a:lnTo>
                        <a:lnTo>
                          <a:pt x="1516" y="305"/>
                        </a:lnTo>
                        <a:lnTo>
                          <a:pt x="1618" y="355"/>
                        </a:lnTo>
                        <a:lnTo>
                          <a:pt x="1641" y="350"/>
                        </a:lnTo>
                        <a:lnTo>
                          <a:pt x="1542" y="300"/>
                        </a:lnTo>
                        <a:lnTo>
                          <a:pt x="1625" y="305"/>
                        </a:lnTo>
                        <a:lnTo>
                          <a:pt x="1656" y="300"/>
                        </a:lnTo>
                        <a:lnTo>
                          <a:pt x="1566" y="251"/>
                        </a:lnTo>
                        <a:lnTo>
                          <a:pt x="1533" y="194"/>
                        </a:lnTo>
                        <a:lnTo>
                          <a:pt x="1672" y="206"/>
                        </a:lnTo>
                        <a:lnTo>
                          <a:pt x="1785" y="263"/>
                        </a:lnTo>
                        <a:lnTo>
                          <a:pt x="1873" y="279"/>
                        </a:lnTo>
                        <a:lnTo>
                          <a:pt x="1894" y="284"/>
                        </a:lnTo>
                        <a:lnTo>
                          <a:pt x="1889" y="300"/>
                        </a:lnTo>
                        <a:lnTo>
                          <a:pt x="1991" y="333"/>
                        </a:lnTo>
                        <a:lnTo>
                          <a:pt x="2019" y="317"/>
                        </a:lnTo>
                        <a:lnTo>
                          <a:pt x="1982" y="300"/>
                        </a:lnTo>
                        <a:lnTo>
                          <a:pt x="2003" y="296"/>
                        </a:lnTo>
                        <a:lnTo>
                          <a:pt x="1974" y="296"/>
                        </a:lnTo>
                        <a:lnTo>
                          <a:pt x="1996" y="279"/>
                        </a:lnTo>
                        <a:lnTo>
                          <a:pt x="1982" y="251"/>
                        </a:lnTo>
                        <a:lnTo>
                          <a:pt x="1991" y="239"/>
                        </a:lnTo>
                        <a:lnTo>
                          <a:pt x="2154" y="251"/>
                        </a:lnTo>
                        <a:lnTo>
                          <a:pt x="2050" y="227"/>
                        </a:lnTo>
                        <a:lnTo>
                          <a:pt x="2045" y="222"/>
                        </a:lnTo>
                        <a:lnTo>
                          <a:pt x="2050" y="222"/>
                        </a:lnTo>
                        <a:lnTo>
                          <a:pt x="1911" y="152"/>
                        </a:lnTo>
                        <a:lnTo>
                          <a:pt x="2163" y="152"/>
                        </a:lnTo>
                        <a:lnTo>
                          <a:pt x="2175" y="156"/>
                        </a:lnTo>
                        <a:lnTo>
                          <a:pt x="2163" y="168"/>
                        </a:lnTo>
                        <a:lnTo>
                          <a:pt x="2192" y="173"/>
                        </a:lnTo>
                        <a:lnTo>
                          <a:pt x="2192" y="194"/>
                        </a:lnTo>
                        <a:lnTo>
                          <a:pt x="2196" y="206"/>
                        </a:lnTo>
                        <a:lnTo>
                          <a:pt x="2208" y="194"/>
                        </a:lnTo>
                        <a:lnTo>
                          <a:pt x="2208" y="173"/>
                        </a:lnTo>
                        <a:lnTo>
                          <a:pt x="2180" y="156"/>
                        </a:lnTo>
                        <a:lnTo>
                          <a:pt x="2208" y="156"/>
                        </a:lnTo>
                        <a:lnTo>
                          <a:pt x="2298" y="189"/>
                        </a:lnTo>
                        <a:lnTo>
                          <a:pt x="2322" y="222"/>
                        </a:lnTo>
                        <a:lnTo>
                          <a:pt x="2336" y="222"/>
                        </a:lnTo>
                        <a:lnTo>
                          <a:pt x="2315" y="189"/>
                        </a:lnTo>
                        <a:lnTo>
                          <a:pt x="2326" y="178"/>
                        </a:lnTo>
                        <a:lnTo>
                          <a:pt x="2322" y="173"/>
                        </a:lnTo>
                        <a:lnTo>
                          <a:pt x="2305" y="168"/>
                        </a:lnTo>
                        <a:lnTo>
                          <a:pt x="2159" y="135"/>
                        </a:lnTo>
                        <a:lnTo>
                          <a:pt x="1958" y="123"/>
                        </a:lnTo>
                        <a:lnTo>
                          <a:pt x="1974" y="135"/>
                        </a:lnTo>
                        <a:lnTo>
                          <a:pt x="1894" y="140"/>
                        </a:lnTo>
                        <a:lnTo>
                          <a:pt x="1835" y="116"/>
                        </a:lnTo>
                        <a:lnTo>
                          <a:pt x="1894" y="123"/>
                        </a:lnTo>
                        <a:lnTo>
                          <a:pt x="1840" y="111"/>
                        </a:lnTo>
                        <a:lnTo>
                          <a:pt x="1894" y="95"/>
                        </a:lnTo>
                        <a:lnTo>
                          <a:pt x="1958" y="123"/>
                        </a:lnTo>
                        <a:lnTo>
                          <a:pt x="2083" y="123"/>
                        </a:lnTo>
                        <a:lnTo>
                          <a:pt x="1974" y="111"/>
                        </a:lnTo>
                        <a:lnTo>
                          <a:pt x="1927" y="83"/>
                        </a:lnTo>
                        <a:lnTo>
                          <a:pt x="1937" y="83"/>
                        </a:lnTo>
                        <a:lnTo>
                          <a:pt x="2109" y="95"/>
                        </a:lnTo>
                        <a:lnTo>
                          <a:pt x="2033" y="67"/>
                        </a:lnTo>
                        <a:lnTo>
                          <a:pt x="2109" y="67"/>
                        </a:lnTo>
                        <a:lnTo>
                          <a:pt x="2083" y="67"/>
                        </a:lnTo>
                        <a:lnTo>
                          <a:pt x="2126" y="62"/>
                        </a:lnTo>
                        <a:lnTo>
                          <a:pt x="2196" y="78"/>
                        </a:lnTo>
                        <a:lnTo>
                          <a:pt x="2180" y="95"/>
                        </a:lnTo>
                        <a:lnTo>
                          <a:pt x="2208" y="83"/>
                        </a:lnTo>
                        <a:lnTo>
                          <a:pt x="2272" y="116"/>
                        </a:lnTo>
                        <a:lnTo>
                          <a:pt x="2352" y="116"/>
                        </a:lnTo>
                        <a:lnTo>
                          <a:pt x="2411" y="156"/>
                        </a:lnTo>
                        <a:lnTo>
                          <a:pt x="2423" y="140"/>
                        </a:lnTo>
                        <a:lnTo>
                          <a:pt x="2374" y="116"/>
                        </a:lnTo>
                        <a:lnTo>
                          <a:pt x="2504" y="111"/>
                        </a:lnTo>
                        <a:lnTo>
                          <a:pt x="2397" y="100"/>
                        </a:lnTo>
                        <a:lnTo>
                          <a:pt x="2537" y="83"/>
                        </a:lnTo>
                        <a:lnTo>
                          <a:pt x="2407" y="67"/>
                        </a:lnTo>
                        <a:lnTo>
                          <a:pt x="2397" y="62"/>
                        </a:lnTo>
                        <a:lnTo>
                          <a:pt x="2397" y="29"/>
                        </a:lnTo>
                        <a:lnTo>
                          <a:pt x="2466" y="45"/>
                        </a:lnTo>
                        <a:lnTo>
                          <a:pt x="2478" y="45"/>
                        </a:lnTo>
                        <a:lnTo>
                          <a:pt x="2449" y="29"/>
                        </a:lnTo>
                        <a:lnTo>
                          <a:pt x="2482" y="24"/>
                        </a:lnTo>
                        <a:lnTo>
                          <a:pt x="2570" y="45"/>
                        </a:lnTo>
                        <a:lnTo>
                          <a:pt x="2537" y="24"/>
                        </a:lnTo>
                        <a:lnTo>
                          <a:pt x="2714" y="0"/>
                        </a:lnTo>
                        <a:lnTo>
                          <a:pt x="2747" y="29"/>
                        </a:lnTo>
                        <a:lnTo>
                          <a:pt x="2752" y="24"/>
                        </a:lnTo>
                        <a:lnTo>
                          <a:pt x="2730" y="5"/>
                        </a:lnTo>
                        <a:lnTo>
                          <a:pt x="2990" y="0"/>
                        </a:lnTo>
                        <a:lnTo>
                          <a:pt x="3125" y="24"/>
                        </a:lnTo>
                        <a:lnTo>
                          <a:pt x="3092" y="24"/>
                        </a:lnTo>
                        <a:lnTo>
                          <a:pt x="3115" y="41"/>
                        </a:lnTo>
                        <a:lnTo>
                          <a:pt x="3200" y="24"/>
                        </a:lnTo>
                        <a:lnTo>
                          <a:pt x="3326" y="57"/>
                        </a:lnTo>
                        <a:lnTo>
                          <a:pt x="3233" y="83"/>
                        </a:lnTo>
                        <a:lnTo>
                          <a:pt x="3016" y="78"/>
                        </a:lnTo>
                        <a:lnTo>
                          <a:pt x="2882" y="100"/>
                        </a:lnTo>
                        <a:lnTo>
                          <a:pt x="2775" y="83"/>
                        </a:lnTo>
                        <a:lnTo>
                          <a:pt x="2844" y="100"/>
                        </a:lnTo>
                        <a:lnTo>
                          <a:pt x="2624" y="123"/>
                        </a:lnTo>
                        <a:lnTo>
                          <a:pt x="2645" y="135"/>
                        </a:lnTo>
                        <a:lnTo>
                          <a:pt x="2629" y="152"/>
                        </a:lnTo>
                        <a:lnTo>
                          <a:pt x="2638" y="156"/>
                        </a:lnTo>
                        <a:lnTo>
                          <a:pt x="2645" y="140"/>
                        </a:lnTo>
                        <a:lnTo>
                          <a:pt x="2676" y="123"/>
                        </a:lnTo>
                        <a:lnTo>
                          <a:pt x="2747" y="123"/>
                        </a:lnTo>
                        <a:lnTo>
                          <a:pt x="2752" y="140"/>
                        </a:lnTo>
                        <a:lnTo>
                          <a:pt x="2737" y="152"/>
                        </a:lnTo>
                        <a:lnTo>
                          <a:pt x="2747" y="152"/>
                        </a:lnTo>
                        <a:lnTo>
                          <a:pt x="2768" y="116"/>
                        </a:lnTo>
                        <a:lnTo>
                          <a:pt x="2877" y="111"/>
                        </a:lnTo>
                        <a:lnTo>
                          <a:pt x="2898" y="123"/>
                        </a:lnTo>
                        <a:lnTo>
                          <a:pt x="3016" y="83"/>
                        </a:lnTo>
                        <a:lnTo>
                          <a:pt x="3146" y="100"/>
                        </a:lnTo>
                        <a:lnTo>
                          <a:pt x="3352" y="78"/>
                        </a:lnTo>
                        <a:lnTo>
                          <a:pt x="3380" y="95"/>
                        </a:lnTo>
                        <a:lnTo>
                          <a:pt x="3368" y="95"/>
                        </a:lnTo>
                        <a:lnTo>
                          <a:pt x="3385" y="111"/>
                        </a:lnTo>
                        <a:lnTo>
                          <a:pt x="3352" y="140"/>
                        </a:lnTo>
                        <a:lnTo>
                          <a:pt x="3309" y="152"/>
                        </a:lnTo>
                        <a:lnTo>
                          <a:pt x="3439" y="123"/>
                        </a:lnTo>
                        <a:lnTo>
                          <a:pt x="3448" y="135"/>
                        </a:lnTo>
                        <a:lnTo>
                          <a:pt x="3439" y="135"/>
                        </a:lnTo>
                        <a:lnTo>
                          <a:pt x="3439" y="156"/>
                        </a:lnTo>
                        <a:lnTo>
                          <a:pt x="3477" y="135"/>
                        </a:lnTo>
                        <a:lnTo>
                          <a:pt x="3628" y="178"/>
                        </a:lnTo>
                        <a:lnTo>
                          <a:pt x="3545" y="227"/>
                        </a:lnTo>
                        <a:lnTo>
                          <a:pt x="3363" y="263"/>
                        </a:lnTo>
                        <a:lnTo>
                          <a:pt x="3028" y="267"/>
                        </a:lnTo>
                        <a:lnTo>
                          <a:pt x="2910" y="251"/>
                        </a:lnTo>
                        <a:lnTo>
                          <a:pt x="3023" y="267"/>
                        </a:lnTo>
                        <a:lnTo>
                          <a:pt x="2801" y="322"/>
                        </a:lnTo>
                        <a:lnTo>
                          <a:pt x="2806" y="350"/>
                        </a:lnTo>
                        <a:lnTo>
                          <a:pt x="2898" y="317"/>
                        </a:lnTo>
                        <a:lnTo>
                          <a:pt x="3040" y="300"/>
                        </a:lnTo>
                        <a:lnTo>
                          <a:pt x="3028" y="305"/>
                        </a:lnTo>
                        <a:lnTo>
                          <a:pt x="3044" y="305"/>
                        </a:lnTo>
                        <a:lnTo>
                          <a:pt x="3082" y="296"/>
                        </a:lnTo>
                        <a:lnTo>
                          <a:pt x="3352" y="296"/>
                        </a:lnTo>
                        <a:lnTo>
                          <a:pt x="3347" y="317"/>
                        </a:lnTo>
                        <a:lnTo>
                          <a:pt x="3342" y="333"/>
                        </a:lnTo>
                        <a:lnTo>
                          <a:pt x="3184" y="378"/>
                        </a:lnTo>
                        <a:lnTo>
                          <a:pt x="3217" y="390"/>
                        </a:lnTo>
                        <a:lnTo>
                          <a:pt x="3184" y="395"/>
                        </a:lnTo>
                        <a:lnTo>
                          <a:pt x="3205" y="395"/>
                        </a:lnTo>
                        <a:lnTo>
                          <a:pt x="3368" y="338"/>
                        </a:lnTo>
                        <a:lnTo>
                          <a:pt x="3422" y="338"/>
                        </a:lnTo>
                        <a:lnTo>
                          <a:pt x="3432" y="333"/>
                        </a:lnTo>
                        <a:lnTo>
                          <a:pt x="3432" y="300"/>
                        </a:lnTo>
                        <a:lnTo>
                          <a:pt x="3439" y="284"/>
                        </a:lnTo>
                        <a:lnTo>
                          <a:pt x="3557" y="279"/>
                        </a:lnTo>
                        <a:lnTo>
                          <a:pt x="3578" y="300"/>
                        </a:lnTo>
                        <a:lnTo>
                          <a:pt x="3578" y="333"/>
                        </a:lnTo>
                        <a:lnTo>
                          <a:pt x="3562" y="378"/>
                        </a:lnTo>
                        <a:lnTo>
                          <a:pt x="3541" y="407"/>
                        </a:lnTo>
                        <a:lnTo>
                          <a:pt x="3507" y="411"/>
                        </a:lnTo>
                        <a:lnTo>
                          <a:pt x="3524" y="411"/>
                        </a:lnTo>
                        <a:lnTo>
                          <a:pt x="3448" y="473"/>
                        </a:lnTo>
                        <a:lnTo>
                          <a:pt x="3456" y="489"/>
                        </a:lnTo>
                        <a:lnTo>
                          <a:pt x="3439" y="506"/>
                        </a:lnTo>
                        <a:lnTo>
                          <a:pt x="3406" y="518"/>
                        </a:lnTo>
                        <a:lnTo>
                          <a:pt x="3432" y="518"/>
                        </a:lnTo>
                        <a:lnTo>
                          <a:pt x="3401" y="539"/>
                        </a:lnTo>
                        <a:lnTo>
                          <a:pt x="3465" y="506"/>
                        </a:lnTo>
                        <a:lnTo>
                          <a:pt x="3470" y="489"/>
                        </a:lnTo>
                        <a:lnTo>
                          <a:pt x="3470" y="473"/>
                        </a:lnTo>
                        <a:lnTo>
                          <a:pt x="3524" y="461"/>
                        </a:lnTo>
                        <a:lnTo>
                          <a:pt x="3666" y="362"/>
                        </a:lnTo>
                        <a:lnTo>
                          <a:pt x="3725" y="338"/>
                        </a:lnTo>
                        <a:lnTo>
                          <a:pt x="3704" y="355"/>
                        </a:lnTo>
                        <a:lnTo>
                          <a:pt x="3692" y="378"/>
                        </a:lnTo>
                        <a:lnTo>
                          <a:pt x="3772" y="362"/>
                        </a:lnTo>
                        <a:lnTo>
                          <a:pt x="3796" y="378"/>
                        </a:lnTo>
                        <a:lnTo>
                          <a:pt x="3810" y="374"/>
                        </a:lnTo>
                        <a:lnTo>
                          <a:pt x="3855" y="378"/>
                        </a:lnTo>
                        <a:lnTo>
                          <a:pt x="3855" y="362"/>
                        </a:lnTo>
                        <a:lnTo>
                          <a:pt x="3885" y="355"/>
                        </a:lnTo>
                        <a:lnTo>
                          <a:pt x="3864" y="350"/>
                        </a:lnTo>
                        <a:lnTo>
                          <a:pt x="3871" y="333"/>
                        </a:lnTo>
                        <a:lnTo>
                          <a:pt x="3902" y="338"/>
                        </a:lnTo>
                        <a:lnTo>
                          <a:pt x="3897" y="333"/>
                        </a:lnTo>
                        <a:lnTo>
                          <a:pt x="3897" y="317"/>
                        </a:lnTo>
                        <a:lnTo>
                          <a:pt x="3935" y="317"/>
                        </a:lnTo>
                        <a:lnTo>
                          <a:pt x="3952" y="300"/>
                        </a:lnTo>
                        <a:lnTo>
                          <a:pt x="4086" y="300"/>
                        </a:lnTo>
                        <a:lnTo>
                          <a:pt x="4195" y="322"/>
                        </a:lnTo>
                        <a:lnTo>
                          <a:pt x="4263" y="355"/>
                        </a:lnTo>
                        <a:lnTo>
                          <a:pt x="4136" y="433"/>
                        </a:lnTo>
                        <a:lnTo>
                          <a:pt x="4070" y="433"/>
                        </a:lnTo>
                        <a:lnTo>
                          <a:pt x="4060" y="444"/>
                        </a:lnTo>
                        <a:lnTo>
                          <a:pt x="4098" y="466"/>
                        </a:lnTo>
                        <a:lnTo>
                          <a:pt x="4011" y="489"/>
                        </a:lnTo>
                        <a:lnTo>
                          <a:pt x="3994" y="506"/>
                        </a:lnTo>
                        <a:lnTo>
                          <a:pt x="3864" y="489"/>
                        </a:lnTo>
                        <a:lnTo>
                          <a:pt x="3855" y="506"/>
                        </a:lnTo>
                        <a:lnTo>
                          <a:pt x="3817" y="522"/>
                        </a:lnTo>
                        <a:lnTo>
                          <a:pt x="3708" y="518"/>
                        </a:lnTo>
                        <a:lnTo>
                          <a:pt x="3682" y="527"/>
                        </a:lnTo>
                        <a:lnTo>
                          <a:pt x="3633" y="527"/>
                        </a:lnTo>
                        <a:lnTo>
                          <a:pt x="3666" y="544"/>
                        </a:lnTo>
                        <a:lnTo>
                          <a:pt x="3720" y="522"/>
                        </a:lnTo>
                        <a:lnTo>
                          <a:pt x="3826" y="539"/>
                        </a:lnTo>
                        <a:lnTo>
                          <a:pt x="3897" y="522"/>
                        </a:lnTo>
                        <a:lnTo>
                          <a:pt x="3994" y="544"/>
                        </a:lnTo>
                        <a:lnTo>
                          <a:pt x="3961" y="560"/>
                        </a:lnTo>
                        <a:lnTo>
                          <a:pt x="3952" y="560"/>
                        </a:lnTo>
                        <a:lnTo>
                          <a:pt x="3956" y="572"/>
                        </a:lnTo>
                        <a:lnTo>
                          <a:pt x="3918" y="584"/>
                        </a:lnTo>
                        <a:lnTo>
                          <a:pt x="3741" y="577"/>
                        </a:lnTo>
                        <a:lnTo>
                          <a:pt x="3682" y="612"/>
                        </a:lnTo>
                        <a:lnTo>
                          <a:pt x="3692" y="612"/>
                        </a:lnTo>
                        <a:lnTo>
                          <a:pt x="3682" y="629"/>
                        </a:lnTo>
                        <a:lnTo>
                          <a:pt x="3687" y="629"/>
                        </a:lnTo>
                        <a:lnTo>
                          <a:pt x="3666" y="650"/>
                        </a:lnTo>
                        <a:lnTo>
                          <a:pt x="3687" y="650"/>
                        </a:lnTo>
                        <a:lnTo>
                          <a:pt x="3692" y="666"/>
                        </a:lnTo>
                        <a:lnTo>
                          <a:pt x="3725" y="650"/>
                        </a:lnTo>
                        <a:lnTo>
                          <a:pt x="3704" y="655"/>
                        </a:lnTo>
                        <a:lnTo>
                          <a:pt x="3704" y="650"/>
                        </a:lnTo>
                        <a:lnTo>
                          <a:pt x="3720" y="633"/>
                        </a:lnTo>
                        <a:lnTo>
                          <a:pt x="3772" y="612"/>
                        </a:lnTo>
                        <a:lnTo>
                          <a:pt x="3864" y="600"/>
                        </a:lnTo>
                        <a:lnTo>
                          <a:pt x="3897" y="617"/>
                        </a:lnTo>
                        <a:lnTo>
                          <a:pt x="3843" y="666"/>
                        </a:lnTo>
                        <a:lnTo>
                          <a:pt x="3772" y="655"/>
                        </a:lnTo>
                        <a:lnTo>
                          <a:pt x="3746" y="683"/>
                        </a:lnTo>
                        <a:lnTo>
                          <a:pt x="3746" y="695"/>
                        </a:lnTo>
                        <a:lnTo>
                          <a:pt x="3734" y="711"/>
                        </a:lnTo>
                        <a:lnTo>
                          <a:pt x="3741" y="728"/>
                        </a:lnTo>
                        <a:lnTo>
                          <a:pt x="3725" y="761"/>
                        </a:lnTo>
                        <a:lnTo>
                          <a:pt x="3746" y="740"/>
                        </a:lnTo>
                        <a:lnTo>
                          <a:pt x="3779" y="740"/>
                        </a:lnTo>
                        <a:lnTo>
                          <a:pt x="3772" y="749"/>
                        </a:lnTo>
                        <a:lnTo>
                          <a:pt x="3789" y="761"/>
                        </a:lnTo>
                        <a:lnTo>
                          <a:pt x="3763" y="761"/>
                        </a:lnTo>
                        <a:lnTo>
                          <a:pt x="3772" y="744"/>
                        </a:lnTo>
                        <a:lnTo>
                          <a:pt x="3763" y="744"/>
                        </a:lnTo>
                        <a:lnTo>
                          <a:pt x="3746" y="749"/>
                        </a:lnTo>
                        <a:lnTo>
                          <a:pt x="3746" y="766"/>
                        </a:lnTo>
                        <a:lnTo>
                          <a:pt x="3708" y="778"/>
                        </a:lnTo>
                        <a:lnTo>
                          <a:pt x="3725" y="794"/>
                        </a:lnTo>
                        <a:lnTo>
                          <a:pt x="3720" y="806"/>
                        </a:lnTo>
                        <a:lnTo>
                          <a:pt x="3633" y="815"/>
                        </a:lnTo>
                        <a:lnTo>
                          <a:pt x="3654" y="839"/>
                        </a:lnTo>
                        <a:lnTo>
                          <a:pt x="3616" y="851"/>
                        </a:lnTo>
                        <a:lnTo>
                          <a:pt x="3654" y="851"/>
                        </a:lnTo>
                        <a:lnTo>
                          <a:pt x="3628" y="905"/>
                        </a:lnTo>
                        <a:lnTo>
                          <a:pt x="3628" y="910"/>
                        </a:lnTo>
                        <a:lnTo>
                          <a:pt x="3595" y="926"/>
                        </a:lnTo>
                        <a:lnTo>
                          <a:pt x="3616" y="926"/>
                        </a:lnTo>
                        <a:lnTo>
                          <a:pt x="3595" y="945"/>
                        </a:lnTo>
                        <a:lnTo>
                          <a:pt x="3583" y="962"/>
                        </a:lnTo>
                        <a:lnTo>
                          <a:pt x="3611" y="950"/>
                        </a:lnTo>
                        <a:lnTo>
                          <a:pt x="3578" y="1000"/>
                        </a:lnTo>
                        <a:lnTo>
                          <a:pt x="3616" y="1000"/>
                        </a:lnTo>
                        <a:lnTo>
                          <a:pt x="3595" y="1016"/>
                        </a:lnTo>
                        <a:lnTo>
                          <a:pt x="3611" y="1016"/>
                        </a:lnTo>
                        <a:lnTo>
                          <a:pt x="3616" y="1004"/>
                        </a:lnTo>
                        <a:lnTo>
                          <a:pt x="3628" y="971"/>
                        </a:lnTo>
                        <a:lnTo>
                          <a:pt x="3654" y="945"/>
                        </a:lnTo>
                        <a:lnTo>
                          <a:pt x="3692" y="966"/>
                        </a:lnTo>
                        <a:lnTo>
                          <a:pt x="3772" y="983"/>
                        </a:lnTo>
                        <a:lnTo>
                          <a:pt x="3796" y="1004"/>
                        </a:lnTo>
                        <a:lnTo>
                          <a:pt x="3763" y="1016"/>
                        </a:lnTo>
                        <a:lnTo>
                          <a:pt x="3704" y="988"/>
                        </a:lnTo>
                        <a:lnTo>
                          <a:pt x="3654" y="1000"/>
                        </a:lnTo>
                        <a:lnTo>
                          <a:pt x="3704" y="1016"/>
                        </a:lnTo>
                        <a:lnTo>
                          <a:pt x="3670" y="1016"/>
                        </a:lnTo>
                        <a:lnTo>
                          <a:pt x="3692" y="1021"/>
                        </a:lnTo>
                        <a:lnTo>
                          <a:pt x="3649" y="1016"/>
                        </a:lnTo>
                        <a:lnTo>
                          <a:pt x="3720" y="1028"/>
                        </a:lnTo>
                        <a:lnTo>
                          <a:pt x="3666" y="1037"/>
                        </a:lnTo>
                        <a:lnTo>
                          <a:pt x="3741" y="1037"/>
                        </a:lnTo>
                        <a:lnTo>
                          <a:pt x="3763" y="1054"/>
                        </a:lnTo>
                        <a:lnTo>
                          <a:pt x="3758" y="1061"/>
                        </a:lnTo>
                        <a:lnTo>
                          <a:pt x="3789" y="1073"/>
                        </a:lnTo>
                        <a:lnTo>
                          <a:pt x="3789" y="1054"/>
                        </a:lnTo>
                        <a:lnTo>
                          <a:pt x="3796" y="1044"/>
                        </a:lnTo>
                        <a:lnTo>
                          <a:pt x="3833" y="1044"/>
                        </a:lnTo>
                        <a:lnTo>
                          <a:pt x="3843" y="1061"/>
                        </a:lnTo>
                        <a:lnTo>
                          <a:pt x="3848" y="1111"/>
                        </a:lnTo>
                        <a:lnTo>
                          <a:pt x="3843" y="1132"/>
                        </a:lnTo>
                        <a:lnTo>
                          <a:pt x="3826" y="1132"/>
                        </a:lnTo>
                        <a:lnTo>
                          <a:pt x="3826" y="1139"/>
                        </a:lnTo>
                        <a:lnTo>
                          <a:pt x="3796" y="1127"/>
                        </a:lnTo>
                        <a:lnTo>
                          <a:pt x="3670" y="1099"/>
                        </a:lnTo>
                        <a:lnTo>
                          <a:pt x="3649" y="1111"/>
                        </a:lnTo>
                        <a:lnTo>
                          <a:pt x="3682" y="1111"/>
                        </a:lnTo>
                        <a:lnTo>
                          <a:pt x="3595" y="1115"/>
                        </a:lnTo>
                        <a:lnTo>
                          <a:pt x="3654" y="1127"/>
                        </a:lnTo>
                        <a:lnTo>
                          <a:pt x="3628" y="1132"/>
                        </a:lnTo>
                        <a:lnTo>
                          <a:pt x="3611" y="1155"/>
                        </a:lnTo>
                        <a:lnTo>
                          <a:pt x="3562" y="1127"/>
                        </a:lnTo>
                        <a:lnTo>
                          <a:pt x="3545" y="1127"/>
                        </a:lnTo>
                        <a:lnTo>
                          <a:pt x="3545" y="1139"/>
                        </a:lnTo>
                        <a:lnTo>
                          <a:pt x="3524" y="1148"/>
                        </a:lnTo>
                        <a:lnTo>
                          <a:pt x="3557" y="1172"/>
                        </a:lnTo>
                        <a:lnTo>
                          <a:pt x="3557" y="1165"/>
                        </a:lnTo>
                        <a:lnTo>
                          <a:pt x="3562" y="1155"/>
                        </a:lnTo>
                        <a:lnTo>
                          <a:pt x="3595" y="1165"/>
                        </a:lnTo>
                        <a:lnTo>
                          <a:pt x="3600" y="1172"/>
                        </a:lnTo>
                        <a:lnTo>
                          <a:pt x="3578" y="1184"/>
                        </a:lnTo>
                        <a:lnTo>
                          <a:pt x="3600" y="1184"/>
                        </a:lnTo>
                        <a:lnTo>
                          <a:pt x="3541" y="1184"/>
                        </a:lnTo>
                        <a:lnTo>
                          <a:pt x="3611" y="1189"/>
                        </a:lnTo>
                        <a:lnTo>
                          <a:pt x="3600" y="1210"/>
                        </a:lnTo>
                        <a:lnTo>
                          <a:pt x="3637" y="1205"/>
                        </a:lnTo>
                        <a:lnTo>
                          <a:pt x="3682" y="1226"/>
                        </a:lnTo>
                        <a:lnTo>
                          <a:pt x="3687" y="1226"/>
                        </a:lnTo>
                        <a:lnTo>
                          <a:pt x="3637" y="1205"/>
                        </a:lnTo>
                        <a:lnTo>
                          <a:pt x="3734" y="1222"/>
                        </a:lnTo>
                        <a:lnTo>
                          <a:pt x="3741" y="1226"/>
                        </a:lnTo>
                        <a:lnTo>
                          <a:pt x="3741" y="1243"/>
                        </a:lnTo>
                        <a:lnTo>
                          <a:pt x="3692" y="1250"/>
                        </a:lnTo>
                        <a:lnTo>
                          <a:pt x="3578" y="1250"/>
                        </a:lnTo>
                        <a:lnTo>
                          <a:pt x="3734" y="1259"/>
                        </a:lnTo>
                        <a:lnTo>
                          <a:pt x="3746" y="1283"/>
                        </a:lnTo>
                        <a:lnTo>
                          <a:pt x="3746" y="1300"/>
                        </a:lnTo>
                        <a:lnTo>
                          <a:pt x="3763" y="1316"/>
                        </a:lnTo>
                        <a:lnTo>
                          <a:pt x="3763" y="1337"/>
                        </a:lnTo>
                        <a:lnTo>
                          <a:pt x="3758" y="1370"/>
                        </a:lnTo>
                        <a:lnTo>
                          <a:pt x="3725" y="1377"/>
                        </a:lnTo>
                        <a:lnTo>
                          <a:pt x="3720" y="1370"/>
                        </a:lnTo>
                        <a:lnTo>
                          <a:pt x="3725" y="1354"/>
                        </a:lnTo>
                        <a:lnTo>
                          <a:pt x="3708" y="1349"/>
                        </a:lnTo>
                        <a:lnTo>
                          <a:pt x="3670" y="1354"/>
                        </a:lnTo>
                        <a:lnTo>
                          <a:pt x="3616" y="1316"/>
                        </a:lnTo>
                        <a:lnTo>
                          <a:pt x="3562" y="1300"/>
                        </a:lnTo>
                        <a:lnTo>
                          <a:pt x="3616" y="1333"/>
                        </a:lnTo>
                        <a:lnTo>
                          <a:pt x="3541" y="1316"/>
                        </a:lnTo>
                        <a:lnTo>
                          <a:pt x="3616" y="1333"/>
                        </a:lnTo>
                        <a:lnTo>
                          <a:pt x="3682" y="1377"/>
                        </a:lnTo>
                        <a:lnTo>
                          <a:pt x="3633" y="1377"/>
                        </a:lnTo>
                        <a:lnTo>
                          <a:pt x="3595" y="1406"/>
                        </a:lnTo>
                        <a:lnTo>
                          <a:pt x="3545" y="1370"/>
                        </a:lnTo>
                        <a:lnTo>
                          <a:pt x="3595" y="1406"/>
                        </a:lnTo>
                        <a:lnTo>
                          <a:pt x="3637" y="1387"/>
                        </a:lnTo>
                        <a:lnTo>
                          <a:pt x="3670" y="1387"/>
                        </a:lnTo>
                        <a:lnTo>
                          <a:pt x="3666" y="1415"/>
                        </a:lnTo>
                        <a:lnTo>
                          <a:pt x="3682" y="1432"/>
                        </a:lnTo>
                        <a:lnTo>
                          <a:pt x="3637" y="1444"/>
                        </a:lnTo>
                        <a:lnTo>
                          <a:pt x="3704" y="1444"/>
                        </a:lnTo>
                        <a:lnTo>
                          <a:pt x="3734" y="1460"/>
                        </a:lnTo>
                        <a:lnTo>
                          <a:pt x="3763" y="1444"/>
                        </a:lnTo>
                        <a:lnTo>
                          <a:pt x="3772" y="1448"/>
                        </a:lnTo>
                        <a:lnTo>
                          <a:pt x="3772" y="1465"/>
                        </a:lnTo>
                        <a:lnTo>
                          <a:pt x="3789" y="1472"/>
                        </a:lnTo>
                        <a:lnTo>
                          <a:pt x="3763" y="1498"/>
                        </a:lnTo>
                        <a:lnTo>
                          <a:pt x="3741" y="1505"/>
                        </a:lnTo>
                        <a:lnTo>
                          <a:pt x="3708" y="1498"/>
                        </a:lnTo>
                        <a:lnTo>
                          <a:pt x="3692" y="1472"/>
                        </a:lnTo>
                        <a:lnTo>
                          <a:pt x="3600" y="1472"/>
                        </a:lnTo>
                        <a:lnTo>
                          <a:pt x="3574" y="1448"/>
                        </a:lnTo>
                        <a:lnTo>
                          <a:pt x="3595" y="1481"/>
                        </a:lnTo>
                        <a:lnTo>
                          <a:pt x="3578" y="1489"/>
                        </a:lnTo>
                        <a:lnTo>
                          <a:pt x="3545" y="1498"/>
                        </a:lnTo>
                        <a:lnTo>
                          <a:pt x="3574" y="1498"/>
                        </a:lnTo>
                        <a:lnTo>
                          <a:pt x="3562" y="1514"/>
                        </a:lnTo>
                        <a:lnTo>
                          <a:pt x="3562" y="1522"/>
                        </a:lnTo>
                        <a:lnTo>
                          <a:pt x="3541" y="1526"/>
                        </a:lnTo>
                        <a:lnTo>
                          <a:pt x="3578" y="1538"/>
                        </a:lnTo>
                        <a:lnTo>
                          <a:pt x="3595" y="1559"/>
                        </a:lnTo>
                        <a:lnTo>
                          <a:pt x="3595" y="1583"/>
                        </a:lnTo>
                        <a:lnTo>
                          <a:pt x="3600" y="1576"/>
                        </a:lnTo>
                        <a:lnTo>
                          <a:pt x="3583" y="1538"/>
                        </a:lnTo>
                        <a:lnTo>
                          <a:pt x="3595" y="1526"/>
                        </a:lnTo>
                        <a:lnTo>
                          <a:pt x="3704" y="1555"/>
                        </a:lnTo>
                        <a:lnTo>
                          <a:pt x="3704" y="1571"/>
                        </a:lnTo>
                        <a:lnTo>
                          <a:pt x="3682" y="1576"/>
                        </a:lnTo>
                        <a:lnTo>
                          <a:pt x="3687" y="1583"/>
                        </a:lnTo>
                        <a:lnTo>
                          <a:pt x="3682" y="1600"/>
                        </a:lnTo>
                        <a:lnTo>
                          <a:pt x="3692" y="1600"/>
                        </a:lnTo>
                        <a:lnTo>
                          <a:pt x="3687" y="1616"/>
                        </a:lnTo>
                        <a:lnTo>
                          <a:pt x="3611" y="1609"/>
                        </a:lnTo>
                        <a:lnTo>
                          <a:pt x="3600" y="1626"/>
                        </a:lnTo>
                        <a:lnTo>
                          <a:pt x="3557" y="1637"/>
                        </a:lnTo>
                        <a:lnTo>
                          <a:pt x="3470" y="1616"/>
                        </a:lnTo>
                        <a:lnTo>
                          <a:pt x="3439" y="1592"/>
                        </a:lnTo>
                        <a:lnTo>
                          <a:pt x="3439" y="1576"/>
                        </a:lnTo>
                        <a:lnTo>
                          <a:pt x="3470" y="1576"/>
                        </a:lnTo>
                        <a:lnTo>
                          <a:pt x="3531" y="1600"/>
                        </a:lnTo>
                        <a:lnTo>
                          <a:pt x="3562" y="1592"/>
                        </a:lnTo>
                        <a:lnTo>
                          <a:pt x="3524" y="1600"/>
                        </a:lnTo>
                        <a:lnTo>
                          <a:pt x="3432" y="1559"/>
                        </a:lnTo>
                        <a:lnTo>
                          <a:pt x="3406" y="1576"/>
                        </a:lnTo>
                        <a:lnTo>
                          <a:pt x="3406" y="1600"/>
                        </a:lnTo>
                        <a:lnTo>
                          <a:pt x="3368" y="1592"/>
                        </a:lnTo>
                        <a:lnTo>
                          <a:pt x="3368" y="1576"/>
                        </a:lnTo>
                        <a:lnTo>
                          <a:pt x="3314" y="1543"/>
                        </a:lnTo>
                        <a:lnTo>
                          <a:pt x="3330" y="1571"/>
                        </a:lnTo>
                        <a:lnTo>
                          <a:pt x="3394" y="1609"/>
                        </a:lnTo>
                        <a:lnTo>
                          <a:pt x="3347" y="1616"/>
                        </a:lnTo>
                        <a:lnTo>
                          <a:pt x="3314" y="1637"/>
                        </a:lnTo>
                        <a:lnTo>
                          <a:pt x="3297" y="1637"/>
                        </a:lnTo>
                        <a:lnTo>
                          <a:pt x="3238" y="1633"/>
                        </a:lnTo>
                        <a:lnTo>
                          <a:pt x="3200" y="1609"/>
                        </a:lnTo>
                        <a:lnTo>
                          <a:pt x="3191" y="1616"/>
                        </a:lnTo>
                        <a:lnTo>
                          <a:pt x="3271" y="1637"/>
                        </a:lnTo>
                        <a:lnTo>
                          <a:pt x="3243" y="1654"/>
                        </a:lnTo>
                        <a:lnTo>
                          <a:pt x="3222" y="1649"/>
                        </a:lnTo>
                        <a:lnTo>
                          <a:pt x="3179" y="1654"/>
                        </a:lnTo>
                        <a:lnTo>
                          <a:pt x="3200" y="1666"/>
                        </a:lnTo>
                        <a:lnTo>
                          <a:pt x="3200" y="1682"/>
                        </a:lnTo>
                        <a:lnTo>
                          <a:pt x="3191" y="1687"/>
                        </a:lnTo>
                        <a:lnTo>
                          <a:pt x="3205" y="1682"/>
                        </a:lnTo>
                        <a:lnTo>
                          <a:pt x="3205" y="1666"/>
                        </a:lnTo>
                        <a:lnTo>
                          <a:pt x="3255" y="1666"/>
                        </a:lnTo>
                        <a:lnTo>
                          <a:pt x="3271" y="1649"/>
                        </a:lnTo>
                        <a:lnTo>
                          <a:pt x="3363" y="1666"/>
                        </a:lnTo>
                        <a:lnTo>
                          <a:pt x="3368" y="1682"/>
                        </a:lnTo>
                        <a:lnTo>
                          <a:pt x="3352" y="1687"/>
                        </a:lnTo>
                        <a:lnTo>
                          <a:pt x="3314" y="1687"/>
                        </a:lnTo>
                        <a:lnTo>
                          <a:pt x="3293" y="1703"/>
                        </a:lnTo>
                        <a:lnTo>
                          <a:pt x="3243" y="1694"/>
                        </a:lnTo>
                        <a:lnTo>
                          <a:pt x="3200" y="1694"/>
                        </a:lnTo>
                        <a:lnTo>
                          <a:pt x="3271" y="1711"/>
                        </a:lnTo>
                        <a:lnTo>
                          <a:pt x="3243" y="1720"/>
                        </a:lnTo>
                        <a:lnTo>
                          <a:pt x="3276" y="1711"/>
                        </a:lnTo>
                        <a:lnTo>
                          <a:pt x="3259" y="1737"/>
                        </a:lnTo>
                        <a:lnTo>
                          <a:pt x="3330" y="1703"/>
                        </a:lnTo>
                        <a:lnTo>
                          <a:pt x="3380" y="1711"/>
                        </a:lnTo>
                        <a:lnTo>
                          <a:pt x="3385" y="1720"/>
                        </a:lnTo>
                        <a:lnTo>
                          <a:pt x="3385" y="1737"/>
                        </a:lnTo>
                        <a:lnTo>
                          <a:pt x="3394" y="1744"/>
                        </a:lnTo>
                        <a:lnTo>
                          <a:pt x="3297" y="1760"/>
                        </a:lnTo>
                        <a:lnTo>
                          <a:pt x="3347" y="1760"/>
                        </a:lnTo>
                        <a:lnTo>
                          <a:pt x="3330" y="1798"/>
                        </a:lnTo>
                        <a:lnTo>
                          <a:pt x="3342" y="1793"/>
                        </a:lnTo>
                        <a:lnTo>
                          <a:pt x="3342" y="1777"/>
                        </a:lnTo>
                        <a:lnTo>
                          <a:pt x="3352" y="1765"/>
                        </a:lnTo>
                        <a:lnTo>
                          <a:pt x="3394" y="1760"/>
                        </a:lnTo>
                        <a:lnTo>
                          <a:pt x="3503" y="1810"/>
                        </a:lnTo>
                        <a:lnTo>
                          <a:pt x="3493" y="1814"/>
                        </a:lnTo>
                        <a:lnTo>
                          <a:pt x="3541" y="1831"/>
                        </a:lnTo>
                        <a:lnTo>
                          <a:pt x="3503" y="1864"/>
                        </a:lnTo>
                        <a:lnTo>
                          <a:pt x="3545" y="1838"/>
                        </a:lnTo>
                        <a:lnTo>
                          <a:pt x="3531" y="1864"/>
                        </a:lnTo>
                        <a:lnTo>
                          <a:pt x="3531" y="1871"/>
                        </a:lnTo>
                        <a:lnTo>
                          <a:pt x="3562" y="1848"/>
                        </a:lnTo>
                        <a:lnTo>
                          <a:pt x="3583" y="1848"/>
                        </a:lnTo>
                        <a:lnTo>
                          <a:pt x="3562" y="1864"/>
                        </a:lnTo>
                        <a:lnTo>
                          <a:pt x="3574" y="1871"/>
                        </a:lnTo>
                        <a:lnTo>
                          <a:pt x="3541" y="1871"/>
                        </a:lnTo>
                        <a:lnTo>
                          <a:pt x="3545" y="1909"/>
                        </a:lnTo>
                        <a:lnTo>
                          <a:pt x="3557" y="1909"/>
                        </a:lnTo>
                        <a:lnTo>
                          <a:pt x="3557" y="1888"/>
                        </a:lnTo>
                        <a:lnTo>
                          <a:pt x="3595" y="1876"/>
                        </a:lnTo>
                        <a:lnTo>
                          <a:pt x="3600" y="1892"/>
                        </a:lnTo>
                        <a:lnTo>
                          <a:pt x="3595" y="1904"/>
                        </a:lnTo>
                        <a:lnTo>
                          <a:pt x="3611" y="1904"/>
                        </a:lnTo>
                        <a:lnTo>
                          <a:pt x="3578" y="1909"/>
                        </a:lnTo>
                        <a:lnTo>
                          <a:pt x="3595" y="1909"/>
                        </a:lnTo>
                        <a:lnTo>
                          <a:pt x="3600" y="1926"/>
                        </a:lnTo>
                        <a:lnTo>
                          <a:pt x="3557" y="1942"/>
                        </a:lnTo>
                        <a:lnTo>
                          <a:pt x="3600" y="1933"/>
                        </a:lnTo>
                        <a:lnTo>
                          <a:pt x="3611" y="1949"/>
                        </a:lnTo>
                        <a:lnTo>
                          <a:pt x="3600" y="1975"/>
                        </a:lnTo>
                        <a:lnTo>
                          <a:pt x="3583" y="1975"/>
                        </a:lnTo>
                        <a:lnTo>
                          <a:pt x="3600" y="1975"/>
                        </a:lnTo>
                        <a:lnTo>
                          <a:pt x="3611" y="1982"/>
                        </a:lnTo>
                        <a:lnTo>
                          <a:pt x="3595" y="1982"/>
                        </a:lnTo>
                        <a:lnTo>
                          <a:pt x="3600" y="1987"/>
                        </a:lnTo>
                        <a:lnTo>
                          <a:pt x="3595" y="2003"/>
                        </a:lnTo>
                        <a:lnTo>
                          <a:pt x="3616" y="2003"/>
                        </a:lnTo>
                        <a:lnTo>
                          <a:pt x="3578" y="2032"/>
                        </a:lnTo>
                        <a:lnTo>
                          <a:pt x="3583" y="2015"/>
                        </a:lnTo>
                        <a:lnTo>
                          <a:pt x="3578" y="2015"/>
                        </a:lnTo>
                        <a:lnTo>
                          <a:pt x="3557" y="2020"/>
                        </a:lnTo>
                        <a:lnTo>
                          <a:pt x="3545" y="1987"/>
                        </a:lnTo>
                        <a:lnTo>
                          <a:pt x="3545" y="1966"/>
                        </a:lnTo>
                        <a:lnTo>
                          <a:pt x="3541" y="1966"/>
                        </a:lnTo>
                        <a:lnTo>
                          <a:pt x="3531" y="1982"/>
                        </a:lnTo>
                        <a:lnTo>
                          <a:pt x="3541" y="2003"/>
                        </a:lnTo>
                        <a:lnTo>
                          <a:pt x="3531" y="2020"/>
                        </a:lnTo>
                        <a:lnTo>
                          <a:pt x="3486" y="2020"/>
                        </a:lnTo>
                        <a:lnTo>
                          <a:pt x="3439" y="1987"/>
                        </a:lnTo>
                        <a:lnTo>
                          <a:pt x="3422" y="1975"/>
                        </a:lnTo>
                        <a:lnTo>
                          <a:pt x="3422" y="1942"/>
                        </a:lnTo>
                        <a:lnTo>
                          <a:pt x="3385" y="1904"/>
                        </a:lnTo>
                        <a:lnTo>
                          <a:pt x="3363" y="1909"/>
                        </a:lnTo>
                        <a:lnTo>
                          <a:pt x="3326" y="1876"/>
                        </a:lnTo>
                        <a:lnTo>
                          <a:pt x="3233" y="1871"/>
                        </a:lnTo>
                        <a:lnTo>
                          <a:pt x="3179" y="1822"/>
                        </a:lnTo>
                        <a:lnTo>
                          <a:pt x="3115" y="1798"/>
                        </a:lnTo>
                        <a:lnTo>
                          <a:pt x="3108" y="1798"/>
                        </a:lnTo>
                        <a:lnTo>
                          <a:pt x="3130" y="1814"/>
                        </a:lnTo>
                        <a:lnTo>
                          <a:pt x="3125" y="1822"/>
                        </a:lnTo>
                        <a:lnTo>
                          <a:pt x="3167" y="1831"/>
                        </a:lnTo>
                        <a:lnTo>
                          <a:pt x="3205" y="1855"/>
                        </a:lnTo>
                        <a:lnTo>
                          <a:pt x="3200" y="1864"/>
                        </a:lnTo>
                        <a:lnTo>
                          <a:pt x="3125" y="1871"/>
                        </a:lnTo>
                        <a:lnTo>
                          <a:pt x="3200" y="1871"/>
                        </a:lnTo>
                        <a:lnTo>
                          <a:pt x="3217" y="1871"/>
                        </a:lnTo>
                        <a:lnTo>
                          <a:pt x="3205" y="1876"/>
                        </a:lnTo>
                        <a:lnTo>
                          <a:pt x="3205" y="1888"/>
                        </a:lnTo>
                        <a:lnTo>
                          <a:pt x="3309" y="1876"/>
                        </a:lnTo>
                        <a:lnTo>
                          <a:pt x="3342" y="1904"/>
                        </a:lnTo>
                        <a:lnTo>
                          <a:pt x="3330" y="1921"/>
                        </a:lnTo>
                        <a:lnTo>
                          <a:pt x="3314" y="1909"/>
                        </a:lnTo>
                        <a:lnTo>
                          <a:pt x="3326" y="1926"/>
                        </a:lnTo>
                        <a:lnTo>
                          <a:pt x="3259" y="1949"/>
                        </a:lnTo>
                        <a:lnTo>
                          <a:pt x="3191" y="1959"/>
                        </a:lnTo>
                        <a:lnTo>
                          <a:pt x="3167" y="1926"/>
                        </a:lnTo>
                        <a:lnTo>
                          <a:pt x="3163" y="1926"/>
                        </a:lnTo>
                        <a:lnTo>
                          <a:pt x="3184" y="1949"/>
                        </a:lnTo>
                        <a:lnTo>
                          <a:pt x="3130" y="1949"/>
                        </a:lnTo>
                        <a:lnTo>
                          <a:pt x="3163" y="1966"/>
                        </a:lnTo>
                        <a:lnTo>
                          <a:pt x="3137" y="2003"/>
                        </a:lnTo>
                        <a:lnTo>
                          <a:pt x="3070" y="2015"/>
                        </a:lnTo>
                        <a:lnTo>
                          <a:pt x="3070" y="2032"/>
                        </a:lnTo>
                        <a:lnTo>
                          <a:pt x="3137" y="2015"/>
                        </a:lnTo>
                        <a:lnTo>
                          <a:pt x="3130" y="2020"/>
                        </a:lnTo>
                        <a:lnTo>
                          <a:pt x="3137" y="2032"/>
                        </a:lnTo>
                        <a:lnTo>
                          <a:pt x="3243" y="2015"/>
                        </a:lnTo>
                        <a:lnTo>
                          <a:pt x="3276" y="2032"/>
                        </a:lnTo>
                        <a:lnTo>
                          <a:pt x="3243" y="2037"/>
                        </a:lnTo>
                        <a:lnTo>
                          <a:pt x="3233" y="2037"/>
                        </a:lnTo>
                        <a:lnTo>
                          <a:pt x="3167" y="2070"/>
                        </a:lnTo>
                        <a:lnTo>
                          <a:pt x="3115" y="2060"/>
                        </a:lnTo>
                        <a:lnTo>
                          <a:pt x="3125" y="2070"/>
                        </a:lnTo>
                        <a:lnTo>
                          <a:pt x="3191" y="2070"/>
                        </a:lnTo>
                        <a:lnTo>
                          <a:pt x="3191" y="2086"/>
                        </a:lnTo>
                        <a:lnTo>
                          <a:pt x="3200" y="2086"/>
                        </a:lnTo>
                        <a:lnTo>
                          <a:pt x="3217" y="2053"/>
                        </a:lnTo>
                        <a:lnTo>
                          <a:pt x="3233" y="2044"/>
                        </a:lnTo>
                        <a:lnTo>
                          <a:pt x="3276" y="2053"/>
                        </a:lnTo>
                        <a:lnTo>
                          <a:pt x="3352" y="2020"/>
                        </a:lnTo>
                        <a:lnTo>
                          <a:pt x="3347" y="2037"/>
                        </a:lnTo>
                        <a:lnTo>
                          <a:pt x="3363" y="2032"/>
                        </a:lnTo>
                        <a:lnTo>
                          <a:pt x="3470" y="2060"/>
                        </a:lnTo>
                        <a:lnTo>
                          <a:pt x="3574" y="2060"/>
                        </a:lnTo>
                        <a:lnTo>
                          <a:pt x="3557" y="2077"/>
                        </a:lnTo>
                        <a:lnTo>
                          <a:pt x="3486" y="2093"/>
                        </a:lnTo>
                        <a:lnTo>
                          <a:pt x="3519" y="2098"/>
                        </a:lnTo>
                        <a:lnTo>
                          <a:pt x="3507" y="2110"/>
                        </a:lnTo>
                        <a:lnTo>
                          <a:pt x="3486" y="2093"/>
                        </a:lnTo>
                        <a:lnTo>
                          <a:pt x="3493" y="2110"/>
                        </a:lnTo>
                        <a:lnTo>
                          <a:pt x="3439" y="2110"/>
                        </a:lnTo>
                        <a:lnTo>
                          <a:pt x="3470" y="2126"/>
                        </a:lnTo>
                        <a:lnTo>
                          <a:pt x="3448" y="2143"/>
                        </a:lnTo>
                        <a:lnTo>
                          <a:pt x="3418" y="2126"/>
                        </a:lnTo>
                        <a:lnTo>
                          <a:pt x="3432" y="2143"/>
                        </a:lnTo>
                        <a:lnTo>
                          <a:pt x="3406" y="2155"/>
                        </a:lnTo>
                        <a:lnTo>
                          <a:pt x="3394" y="2155"/>
                        </a:lnTo>
                        <a:lnTo>
                          <a:pt x="3394" y="2171"/>
                        </a:lnTo>
                        <a:lnTo>
                          <a:pt x="3352" y="2171"/>
                        </a:lnTo>
                        <a:lnTo>
                          <a:pt x="3347" y="2171"/>
                        </a:lnTo>
                        <a:lnTo>
                          <a:pt x="3368" y="2188"/>
                        </a:lnTo>
                        <a:lnTo>
                          <a:pt x="3347" y="2204"/>
                        </a:lnTo>
                        <a:lnTo>
                          <a:pt x="3326" y="2197"/>
                        </a:lnTo>
                        <a:lnTo>
                          <a:pt x="3342" y="2209"/>
                        </a:lnTo>
                        <a:lnTo>
                          <a:pt x="3314" y="2209"/>
                        </a:lnTo>
                        <a:lnTo>
                          <a:pt x="3326" y="2221"/>
                        </a:lnTo>
                        <a:lnTo>
                          <a:pt x="3271" y="2242"/>
                        </a:lnTo>
                        <a:lnTo>
                          <a:pt x="3200" y="2259"/>
                        </a:lnTo>
                        <a:lnTo>
                          <a:pt x="3205" y="2259"/>
                        </a:lnTo>
                        <a:lnTo>
                          <a:pt x="3184" y="2259"/>
                        </a:lnTo>
                        <a:lnTo>
                          <a:pt x="3179" y="2266"/>
                        </a:lnTo>
                        <a:lnTo>
                          <a:pt x="3184" y="2266"/>
                        </a:lnTo>
                        <a:lnTo>
                          <a:pt x="3153" y="2259"/>
                        </a:lnTo>
                        <a:lnTo>
                          <a:pt x="3153" y="2275"/>
                        </a:lnTo>
                        <a:lnTo>
                          <a:pt x="3125" y="2275"/>
                        </a:lnTo>
                        <a:lnTo>
                          <a:pt x="3099" y="2292"/>
                        </a:lnTo>
                        <a:lnTo>
                          <a:pt x="3078" y="2282"/>
                        </a:lnTo>
                        <a:lnTo>
                          <a:pt x="3078" y="2292"/>
                        </a:lnTo>
                        <a:lnTo>
                          <a:pt x="3061" y="2292"/>
                        </a:lnTo>
                        <a:lnTo>
                          <a:pt x="3061" y="2308"/>
                        </a:lnTo>
                        <a:lnTo>
                          <a:pt x="3028" y="2292"/>
                        </a:lnTo>
                        <a:lnTo>
                          <a:pt x="3028" y="2275"/>
                        </a:lnTo>
                        <a:lnTo>
                          <a:pt x="3002" y="2299"/>
                        </a:lnTo>
                        <a:lnTo>
                          <a:pt x="3016" y="2315"/>
                        </a:lnTo>
                        <a:lnTo>
                          <a:pt x="2990" y="2315"/>
                        </a:lnTo>
                        <a:lnTo>
                          <a:pt x="2990" y="2308"/>
                        </a:lnTo>
                        <a:lnTo>
                          <a:pt x="2969" y="2299"/>
                        </a:lnTo>
                        <a:lnTo>
                          <a:pt x="2964" y="2299"/>
                        </a:lnTo>
                        <a:lnTo>
                          <a:pt x="2985" y="2308"/>
                        </a:lnTo>
                        <a:lnTo>
                          <a:pt x="2985" y="2320"/>
                        </a:lnTo>
                        <a:lnTo>
                          <a:pt x="2948" y="2320"/>
                        </a:lnTo>
                        <a:lnTo>
                          <a:pt x="2915" y="2315"/>
                        </a:lnTo>
                        <a:lnTo>
                          <a:pt x="2919" y="2308"/>
                        </a:lnTo>
                        <a:lnTo>
                          <a:pt x="2910" y="2320"/>
                        </a:lnTo>
                        <a:lnTo>
                          <a:pt x="2898" y="2315"/>
                        </a:lnTo>
                        <a:lnTo>
                          <a:pt x="2893" y="2308"/>
                        </a:lnTo>
                        <a:lnTo>
                          <a:pt x="2910" y="2299"/>
                        </a:lnTo>
                        <a:lnTo>
                          <a:pt x="2877" y="2299"/>
                        </a:lnTo>
                        <a:lnTo>
                          <a:pt x="2844" y="2254"/>
                        </a:lnTo>
                        <a:lnTo>
                          <a:pt x="2844" y="2266"/>
                        </a:lnTo>
                        <a:lnTo>
                          <a:pt x="2839" y="2266"/>
                        </a:lnTo>
                        <a:lnTo>
                          <a:pt x="2839" y="2275"/>
                        </a:lnTo>
                        <a:lnTo>
                          <a:pt x="2860" y="2292"/>
                        </a:lnTo>
                        <a:lnTo>
                          <a:pt x="2865" y="2308"/>
                        </a:lnTo>
                        <a:lnTo>
                          <a:pt x="2844" y="2308"/>
                        </a:lnTo>
                        <a:lnTo>
                          <a:pt x="2877" y="2315"/>
                        </a:lnTo>
                        <a:lnTo>
                          <a:pt x="2865" y="2348"/>
                        </a:lnTo>
                        <a:lnTo>
                          <a:pt x="2839" y="2348"/>
                        </a:lnTo>
                        <a:lnTo>
                          <a:pt x="2822" y="2365"/>
                        </a:lnTo>
                        <a:lnTo>
                          <a:pt x="2789" y="2370"/>
                        </a:lnTo>
                        <a:lnTo>
                          <a:pt x="2806" y="2377"/>
                        </a:lnTo>
                        <a:lnTo>
                          <a:pt x="2789" y="2386"/>
                        </a:lnTo>
                        <a:lnTo>
                          <a:pt x="2789" y="2403"/>
                        </a:lnTo>
                        <a:lnTo>
                          <a:pt x="2768" y="2410"/>
                        </a:lnTo>
                        <a:lnTo>
                          <a:pt x="2785" y="2426"/>
                        </a:lnTo>
                        <a:lnTo>
                          <a:pt x="2752" y="2459"/>
                        </a:lnTo>
                        <a:lnTo>
                          <a:pt x="2737" y="2448"/>
                        </a:lnTo>
                        <a:lnTo>
                          <a:pt x="2730" y="2481"/>
                        </a:lnTo>
                        <a:lnTo>
                          <a:pt x="2714" y="2504"/>
                        </a:lnTo>
                        <a:lnTo>
                          <a:pt x="2704" y="2497"/>
                        </a:lnTo>
                        <a:lnTo>
                          <a:pt x="2704" y="2481"/>
                        </a:lnTo>
                        <a:lnTo>
                          <a:pt x="2704" y="2497"/>
                        </a:lnTo>
                        <a:lnTo>
                          <a:pt x="2704" y="2504"/>
                        </a:lnTo>
                        <a:lnTo>
                          <a:pt x="2683" y="2530"/>
                        </a:lnTo>
                        <a:lnTo>
                          <a:pt x="2667" y="2537"/>
                        </a:lnTo>
                        <a:lnTo>
                          <a:pt x="2662" y="2530"/>
                        </a:lnTo>
                        <a:lnTo>
                          <a:pt x="2662" y="2521"/>
                        </a:lnTo>
                        <a:lnTo>
                          <a:pt x="2650" y="2537"/>
                        </a:lnTo>
                        <a:lnTo>
                          <a:pt x="2662" y="2542"/>
                        </a:lnTo>
                        <a:lnTo>
                          <a:pt x="2650" y="2542"/>
                        </a:lnTo>
                        <a:lnTo>
                          <a:pt x="2607" y="2521"/>
                        </a:lnTo>
                        <a:lnTo>
                          <a:pt x="2629" y="2542"/>
                        </a:lnTo>
                        <a:lnTo>
                          <a:pt x="2624" y="2542"/>
                        </a:lnTo>
                        <a:lnTo>
                          <a:pt x="2624" y="2559"/>
                        </a:lnTo>
                        <a:lnTo>
                          <a:pt x="2574" y="2587"/>
                        </a:lnTo>
                        <a:lnTo>
                          <a:pt x="2570" y="2575"/>
                        </a:lnTo>
                        <a:lnTo>
                          <a:pt x="2574" y="2559"/>
                        </a:lnTo>
                        <a:lnTo>
                          <a:pt x="2558" y="2559"/>
                        </a:lnTo>
                        <a:lnTo>
                          <a:pt x="2558" y="2570"/>
                        </a:lnTo>
                        <a:lnTo>
                          <a:pt x="2558" y="2575"/>
                        </a:lnTo>
                        <a:lnTo>
                          <a:pt x="2532" y="2592"/>
                        </a:lnTo>
                        <a:lnTo>
                          <a:pt x="2520" y="2575"/>
                        </a:lnTo>
                        <a:lnTo>
                          <a:pt x="2520" y="2570"/>
                        </a:lnTo>
                        <a:lnTo>
                          <a:pt x="2515" y="2570"/>
                        </a:lnTo>
                        <a:lnTo>
                          <a:pt x="2520" y="2592"/>
                        </a:lnTo>
                        <a:lnTo>
                          <a:pt x="2515" y="2599"/>
                        </a:lnTo>
                        <a:lnTo>
                          <a:pt x="2478" y="2587"/>
                        </a:lnTo>
                        <a:lnTo>
                          <a:pt x="2466" y="2570"/>
                        </a:lnTo>
                        <a:lnTo>
                          <a:pt x="2515" y="2530"/>
                        </a:lnTo>
                        <a:lnTo>
                          <a:pt x="2449" y="2530"/>
                        </a:lnTo>
                        <a:lnTo>
                          <a:pt x="2445" y="2530"/>
                        </a:lnTo>
                        <a:lnTo>
                          <a:pt x="2478" y="2542"/>
                        </a:lnTo>
                        <a:lnTo>
                          <a:pt x="2461" y="2542"/>
                        </a:lnTo>
                        <a:lnTo>
                          <a:pt x="2466" y="2554"/>
                        </a:lnTo>
                        <a:lnTo>
                          <a:pt x="2449" y="2559"/>
                        </a:lnTo>
                        <a:lnTo>
                          <a:pt x="2461" y="2575"/>
                        </a:lnTo>
                        <a:lnTo>
                          <a:pt x="2449" y="2587"/>
                        </a:lnTo>
                        <a:lnTo>
                          <a:pt x="2445" y="2575"/>
                        </a:lnTo>
                        <a:lnTo>
                          <a:pt x="2445" y="2587"/>
                        </a:lnTo>
                        <a:lnTo>
                          <a:pt x="2435" y="2587"/>
                        </a:lnTo>
                        <a:lnTo>
                          <a:pt x="2423" y="2570"/>
                        </a:lnTo>
                        <a:lnTo>
                          <a:pt x="2423" y="2587"/>
                        </a:lnTo>
                        <a:lnTo>
                          <a:pt x="2449" y="2592"/>
                        </a:lnTo>
                        <a:lnTo>
                          <a:pt x="2435" y="2615"/>
                        </a:lnTo>
                        <a:lnTo>
                          <a:pt x="2407" y="2608"/>
                        </a:lnTo>
                        <a:lnTo>
                          <a:pt x="2411" y="2625"/>
                        </a:lnTo>
                        <a:lnTo>
                          <a:pt x="2381" y="2625"/>
                        </a:lnTo>
                        <a:lnTo>
                          <a:pt x="2359" y="2608"/>
                        </a:lnTo>
                        <a:lnTo>
                          <a:pt x="2374" y="2625"/>
                        </a:lnTo>
                        <a:lnTo>
                          <a:pt x="2359" y="2632"/>
                        </a:lnTo>
                        <a:lnTo>
                          <a:pt x="2336" y="2608"/>
                        </a:lnTo>
                        <a:lnTo>
                          <a:pt x="2326" y="2625"/>
                        </a:lnTo>
                        <a:lnTo>
                          <a:pt x="2326" y="2632"/>
                        </a:lnTo>
                        <a:lnTo>
                          <a:pt x="2305" y="2625"/>
                        </a:lnTo>
                        <a:lnTo>
                          <a:pt x="2298" y="2632"/>
                        </a:lnTo>
                        <a:lnTo>
                          <a:pt x="2326" y="2641"/>
                        </a:lnTo>
                        <a:lnTo>
                          <a:pt x="2322" y="2648"/>
                        </a:lnTo>
                        <a:lnTo>
                          <a:pt x="2336" y="2665"/>
                        </a:lnTo>
                        <a:lnTo>
                          <a:pt x="2298" y="2686"/>
                        </a:lnTo>
                        <a:lnTo>
                          <a:pt x="2272" y="2670"/>
                        </a:lnTo>
                        <a:lnTo>
                          <a:pt x="2267" y="2686"/>
                        </a:lnTo>
                        <a:lnTo>
                          <a:pt x="2246" y="2681"/>
                        </a:lnTo>
                        <a:lnTo>
                          <a:pt x="2234" y="2698"/>
                        </a:lnTo>
                        <a:lnTo>
                          <a:pt x="2272" y="2726"/>
                        </a:lnTo>
                        <a:lnTo>
                          <a:pt x="2272" y="2752"/>
                        </a:lnTo>
                        <a:lnTo>
                          <a:pt x="2289" y="2764"/>
                        </a:lnTo>
                        <a:lnTo>
                          <a:pt x="2260" y="2764"/>
                        </a:lnTo>
                        <a:lnTo>
                          <a:pt x="2208" y="2776"/>
                        </a:lnTo>
                        <a:lnTo>
                          <a:pt x="2218" y="2792"/>
                        </a:lnTo>
                        <a:lnTo>
                          <a:pt x="2272" y="2797"/>
                        </a:lnTo>
                        <a:lnTo>
                          <a:pt x="2260" y="2814"/>
                        </a:lnTo>
                        <a:lnTo>
                          <a:pt x="2272" y="2814"/>
                        </a:lnTo>
                        <a:lnTo>
                          <a:pt x="2284" y="2837"/>
                        </a:lnTo>
                        <a:lnTo>
                          <a:pt x="2251" y="2837"/>
                        </a:lnTo>
                        <a:lnTo>
                          <a:pt x="2213" y="2821"/>
                        </a:lnTo>
                        <a:lnTo>
                          <a:pt x="2208" y="2830"/>
                        </a:lnTo>
                        <a:lnTo>
                          <a:pt x="2251" y="2847"/>
                        </a:lnTo>
                        <a:lnTo>
                          <a:pt x="2267" y="2863"/>
                        </a:lnTo>
                        <a:lnTo>
                          <a:pt x="2246" y="2863"/>
                        </a:lnTo>
                        <a:lnTo>
                          <a:pt x="2246" y="2870"/>
                        </a:lnTo>
                        <a:lnTo>
                          <a:pt x="2234" y="2863"/>
                        </a:lnTo>
                        <a:lnTo>
                          <a:pt x="2246" y="2875"/>
                        </a:lnTo>
                        <a:lnTo>
                          <a:pt x="2234" y="2875"/>
                        </a:lnTo>
                        <a:lnTo>
                          <a:pt x="2218" y="2863"/>
                        </a:lnTo>
                        <a:lnTo>
                          <a:pt x="2230" y="2875"/>
                        </a:lnTo>
                        <a:lnTo>
                          <a:pt x="2208" y="2863"/>
                        </a:lnTo>
                        <a:lnTo>
                          <a:pt x="2234" y="2887"/>
                        </a:lnTo>
                        <a:lnTo>
                          <a:pt x="2196" y="2863"/>
                        </a:lnTo>
                        <a:lnTo>
                          <a:pt x="2180" y="2870"/>
                        </a:lnTo>
                        <a:lnTo>
                          <a:pt x="2213" y="2908"/>
                        </a:lnTo>
                        <a:lnTo>
                          <a:pt x="2208" y="2908"/>
                        </a:lnTo>
                        <a:lnTo>
                          <a:pt x="2175" y="2892"/>
                        </a:lnTo>
                        <a:lnTo>
                          <a:pt x="2208" y="2920"/>
                        </a:lnTo>
                        <a:lnTo>
                          <a:pt x="2196" y="2920"/>
                        </a:lnTo>
                        <a:lnTo>
                          <a:pt x="2163" y="2903"/>
                        </a:lnTo>
                        <a:lnTo>
                          <a:pt x="2175" y="2920"/>
                        </a:lnTo>
                        <a:lnTo>
                          <a:pt x="2208" y="2925"/>
                        </a:lnTo>
                        <a:lnTo>
                          <a:pt x="2192" y="2941"/>
                        </a:lnTo>
                        <a:lnTo>
                          <a:pt x="2154" y="2941"/>
                        </a:lnTo>
                        <a:lnTo>
                          <a:pt x="2154" y="2925"/>
                        </a:lnTo>
                        <a:lnTo>
                          <a:pt x="2142" y="2932"/>
                        </a:lnTo>
                        <a:lnTo>
                          <a:pt x="2142" y="2941"/>
                        </a:lnTo>
                        <a:lnTo>
                          <a:pt x="2137" y="2948"/>
                        </a:lnTo>
                        <a:lnTo>
                          <a:pt x="2100" y="2948"/>
                        </a:lnTo>
                        <a:lnTo>
                          <a:pt x="2100" y="2958"/>
                        </a:lnTo>
                        <a:lnTo>
                          <a:pt x="2154" y="2974"/>
                        </a:lnTo>
                        <a:lnTo>
                          <a:pt x="2154" y="2981"/>
                        </a:lnTo>
                        <a:lnTo>
                          <a:pt x="2137" y="2981"/>
                        </a:lnTo>
                        <a:lnTo>
                          <a:pt x="2163" y="2986"/>
                        </a:lnTo>
                        <a:lnTo>
                          <a:pt x="2104" y="2974"/>
                        </a:lnTo>
                        <a:lnTo>
                          <a:pt x="2159" y="3003"/>
                        </a:lnTo>
                        <a:lnTo>
                          <a:pt x="2154" y="3019"/>
                        </a:lnTo>
                        <a:lnTo>
                          <a:pt x="2137" y="3036"/>
                        </a:lnTo>
                        <a:lnTo>
                          <a:pt x="2163" y="3036"/>
                        </a:lnTo>
                        <a:lnTo>
                          <a:pt x="2159" y="3043"/>
                        </a:lnTo>
                        <a:lnTo>
                          <a:pt x="2142" y="3043"/>
                        </a:lnTo>
                        <a:lnTo>
                          <a:pt x="2159" y="3052"/>
                        </a:lnTo>
                        <a:lnTo>
                          <a:pt x="2154" y="3059"/>
                        </a:lnTo>
                        <a:lnTo>
                          <a:pt x="2109" y="3059"/>
                        </a:lnTo>
                        <a:lnTo>
                          <a:pt x="2154" y="3076"/>
                        </a:lnTo>
                        <a:lnTo>
                          <a:pt x="2142" y="3085"/>
                        </a:lnTo>
                        <a:lnTo>
                          <a:pt x="2100" y="3076"/>
                        </a:lnTo>
                        <a:lnTo>
                          <a:pt x="2137" y="3085"/>
                        </a:lnTo>
                        <a:lnTo>
                          <a:pt x="2142" y="3097"/>
                        </a:lnTo>
                        <a:lnTo>
                          <a:pt x="2142" y="3109"/>
                        </a:lnTo>
                        <a:lnTo>
                          <a:pt x="2126" y="3114"/>
                        </a:lnTo>
                        <a:lnTo>
                          <a:pt x="2088" y="3109"/>
                        </a:lnTo>
                        <a:lnTo>
                          <a:pt x="2126" y="3114"/>
                        </a:lnTo>
                        <a:lnTo>
                          <a:pt x="2137" y="3125"/>
                        </a:lnTo>
                        <a:lnTo>
                          <a:pt x="2100" y="3125"/>
                        </a:lnTo>
                        <a:lnTo>
                          <a:pt x="2126" y="3130"/>
                        </a:lnTo>
                        <a:lnTo>
                          <a:pt x="2067" y="3130"/>
                        </a:lnTo>
                        <a:lnTo>
                          <a:pt x="2126" y="3142"/>
                        </a:lnTo>
                        <a:lnTo>
                          <a:pt x="2126" y="3147"/>
                        </a:lnTo>
                        <a:lnTo>
                          <a:pt x="2104" y="3154"/>
                        </a:lnTo>
                        <a:lnTo>
                          <a:pt x="2071" y="3147"/>
                        </a:lnTo>
                        <a:lnTo>
                          <a:pt x="2121" y="3163"/>
                        </a:lnTo>
                        <a:lnTo>
                          <a:pt x="2067" y="3163"/>
                        </a:lnTo>
                        <a:lnTo>
                          <a:pt x="2121" y="3170"/>
                        </a:lnTo>
                        <a:lnTo>
                          <a:pt x="2100" y="3180"/>
                        </a:lnTo>
                        <a:lnTo>
                          <a:pt x="2121" y="3180"/>
                        </a:lnTo>
                        <a:lnTo>
                          <a:pt x="2109" y="3187"/>
                        </a:lnTo>
                        <a:lnTo>
                          <a:pt x="2121" y="3187"/>
                        </a:lnTo>
                        <a:lnTo>
                          <a:pt x="2100" y="3196"/>
                        </a:lnTo>
                        <a:lnTo>
                          <a:pt x="2083" y="3196"/>
                        </a:lnTo>
                        <a:lnTo>
                          <a:pt x="2100" y="3203"/>
                        </a:lnTo>
                        <a:lnTo>
                          <a:pt x="2088" y="3203"/>
                        </a:lnTo>
                        <a:lnTo>
                          <a:pt x="2067" y="3196"/>
                        </a:lnTo>
                        <a:lnTo>
                          <a:pt x="2057" y="3170"/>
                        </a:lnTo>
                        <a:lnTo>
                          <a:pt x="2057" y="3196"/>
                        </a:lnTo>
                        <a:lnTo>
                          <a:pt x="2019" y="3187"/>
                        </a:lnTo>
                        <a:lnTo>
                          <a:pt x="2083" y="3203"/>
                        </a:lnTo>
                        <a:lnTo>
                          <a:pt x="2067" y="3220"/>
                        </a:lnTo>
                        <a:lnTo>
                          <a:pt x="2100" y="3208"/>
                        </a:lnTo>
                        <a:lnTo>
                          <a:pt x="2100" y="3225"/>
                        </a:lnTo>
                        <a:lnTo>
                          <a:pt x="2083" y="3225"/>
                        </a:lnTo>
                        <a:lnTo>
                          <a:pt x="2100" y="3225"/>
                        </a:lnTo>
                        <a:lnTo>
                          <a:pt x="2100" y="3241"/>
                        </a:lnTo>
                        <a:lnTo>
                          <a:pt x="2029" y="3236"/>
                        </a:lnTo>
                        <a:lnTo>
                          <a:pt x="2033" y="3220"/>
                        </a:lnTo>
                        <a:lnTo>
                          <a:pt x="2029" y="3208"/>
                        </a:lnTo>
                        <a:lnTo>
                          <a:pt x="2029" y="3220"/>
                        </a:lnTo>
                        <a:lnTo>
                          <a:pt x="2003" y="3236"/>
                        </a:lnTo>
                        <a:lnTo>
                          <a:pt x="1991" y="3253"/>
                        </a:lnTo>
                        <a:lnTo>
                          <a:pt x="1948" y="3241"/>
                        </a:lnTo>
                        <a:lnTo>
                          <a:pt x="1958" y="3236"/>
                        </a:lnTo>
                        <a:lnTo>
                          <a:pt x="1974" y="3236"/>
                        </a:lnTo>
                        <a:lnTo>
                          <a:pt x="2003" y="3196"/>
                        </a:lnTo>
                        <a:lnTo>
                          <a:pt x="1974" y="3225"/>
                        </a:lnTo>
                        <a:lnTo>
                          <a:pt x="1948" y="3236"/>
                        </a:lnTo>
                        <a:lnTo>
                          <a:pt x="1991" y="3170"/>
                        </a:lnTo>
                        <a:lnTo>
                          <a:pt x="1948" y="3203"/>
                        </a:lnTo>
                        <a:lnTo>
                          <a:pt x="1944" y="3196"/>
                        </a:lnTo>
                        <a:lnTo>
                          <a:pt x="1958" y="3180"/>
                        </a:lnTo>
                        <a:lnTo>
                          <a:pt x="1927" y="3203"/>
                        </a:lnTo>
                        <a:lnTo>
                          <a:pt x="1944" y="3180"/>
                        </a:lnTo>
                        <a:lnTo>
                          <a:pt x="1927" y="3203"/>
                        </a:lnTo>
                        <a:lnTo>
                          <a:pt x="1911" y="3187"/>
                        </a:lnTo>
                        <a:lnTo>
                          <a:pt x="1920" y="3187"/>
                        </a:lnTo>
                        <a:lnTo>
                          <a:pt x="1894" y="3187"/>
                        </a:lnTo>
                        <a:lnTo>
                          <a:pt x="1920" y="3180"/>
                        </a:lnTo>
                        <a:lnTo>
                          <a:pt x="1906" y="3180"/>
                        </a:lnTo>
                        <a:lnTo>
                          <a:pt x="1948" y="3154"/>
                        </a:lnTo>
                        <a:lnTo>
                          <a:pt x="1937" y="3142"/>
                        </a:lnTo>
                        <a:lnTo>
                          <a:pt x="1920" y="3170"/>
                        </a:lnTo>
                        <a:lnTo>
                          <a:pt x="1906" y="3170"/>
                        </a:lnTo>
                        <a:lnTo>
                          <a:pt x="1911" y="3163"/>
                        </a:lnTo>
                        <a:lnTo>
                          <a:pt x="1906" y="3163"/>
                        </a:lnTo>
                        <a:lnTo>
                          <a:pt x="1889" y="3170"/>
                        </a:lnTo>
                        <a:lnTo>
                          <a:pt x="1882" y="3170"/>
                        </a:lnTo>
                        <a:lnTo>
                          <a:pt x="1894" y="3154"/>
                        </a:lnTo>
                        <a:lnTo>
                          <a:pt x="1927" y="3147"/>
                        </a:lnTo>
                        <a:lnTo>
                          <a:pt x="1948" y="3125"/>
                        </a:lnTo>
                        <a:lnTo>
                          <a:pt x="1937" y="3130"/>
                        </a:lnTo>
                        <a:lnTo>
                          <a:pt x="1927" y="3114"/>
                        </a:lnTo>
                        <a:lnTo>
                          <a:pt x="1927" y="3130"/>
                        </a:lnTo>
                        <a:lnTo>
                          <a:pt x="1920" y="3142"/>
                        </a:lnTo>
                        <a:lnTo>
                          <a:pt x="1889" y="3154"/>
                        </a:lnTo>
                        <a:lnTo>
                          <a:pt x="1889" y="3147"/>
                        </a:lnTo>
                        <a:lnTo>
                          <a:pt x="1920" y="3130"/>
                        </a:lnTo>
                        <a:lnTo>
                          <a:pt x="1906" y="3114"/>
                        </a:lnTo>
                        <a:lnTo>
                          <a:pt x="1911" y="3109"/>
                        </a:lnTo>
                        <a:lnTo>
                          <a:pt x="1894" y="3114"/>
                        </a:lnTo>
                        <a:lnTo>
                          <a:pt x="1906" y="3125"/>
                        </a:lnTo>
                        <a:lnTo>
                          <a:pt x="1906" y="3130"/>
                        </a:lnTo>
                        <a:lnTo>
                          <a:pt x="1882" y="3147"/>
                        </a:lnTo>
                        <a:lnTo>
                          <a:pt x="1868" y="3130"/>
                        </a:lnTo>
                        <a:lnTo>
                          <a:pt x="1856" y="3154"/>
                        </a:lnTo>
                        <a:lnTo>
                          <a:pt x="1835" y="3147"/>
                        </a:lnTo>
                        <a:lnTo>
                          <a:pt x="1840" y="3154"/>
                        </a:lnTo>
                        <a:lnTo>
                          <a:pt x="1835" y="3163"/>
                        </a:lnTo>
                        <a:lnTo>
                          <a:pt x="1830" y="3147"/>
                        </a:lnTo>
                        <a:lnTo>
                          <a:pt x="1764" y="3154"/>
                        </a:lnTo>
                        <a:lnTo>
                          <a:pt x="1802" y="3154"/>
                        </a:lnTo>
                        <a:lnTo>
                          <a:pt x="1797" y="3163"/>
                        </a:lnTo>
                        <a:lnTo>
                          <a:pt x="1743" y="3163"/>
                        </a:lnTo>
                        <a:lnTo>
                          <a:pt x="1731" y="3163"/>
                        </a:lnTo>
                        <a:lnTo>
                          <a:pt x="1776" y="3142"/>
                        </a:lnTo>
                        <a:lnTo>
                          <a:pt x="1726" y="3147"/>
                        </a:lnTo>
                        <a:lnTo>
                          <a:pt x="1764" y="3142"/>
                        </a:lnTo>
                        <a:lnTo>
                          <a:pt x="1764" y="3130"/>
                        </a:lnTo>
                        <a:lnTo>
                          <a:pt x="1748" y="3130"/>
                        </a:lnTo>
                        <a:lnTo>
                          <a:pt x="1743" y="3125"/>
                        </a:lnTo>
                        <a:lnTo>
                          <a:pt x="1759" y="3109"/>
                        </a:lnTo>
                        <a:lnTo>
                          <a:pt x="1748" y="3109"/>
                        </a:lnTo>
                        <a:lnTo>
                          <a:pt x="1731" y="3114"/>
                        </a:lnTo>
                        <a:lnTo>
                          <a:pt x="1743" y="3130"/>
                        </a:lnTo>
                        <a:lnTo>
                          <a:pt x="1726" y="3130"/>
                        </a:lnTo>
                        <a:lnTo>
                          <a:pt x="1726" y="3125"/>
                        </a:lnTo>
                        <a:lnTo>
                          <a:pt x="1731" y="3125"/>
                        </a:lnTo>
                        <a:lnTo>
                          <a:pt x="1710" y="3125"/>
                        </a:lnTo>
                        <a:lnTo>
                          <a:pt x="1726" y="3109"/>
                        </a:lnTo>
                        <a:lnTo>
                          <a:pt x="1679" y="3097"/>
                        </a:lnTo>
                        <a:lnTo>
                          <a:pt x="1743" y="3085"/>
                        </a:lnTo>
                        <a:lnTo>
                          <a:pt x="1726" y="3076"/>
                        </a:lnTo>
                        <a:lnTo>
                          <a:pt x="1689" y="3092"/>
                        </a:lnTo>
                        <a:lnTo>
                          <a:pt x="1667" y="3085"/>
                        </a:lnTo>
                        <a:lnTo>
                          <a:pt x="1710" y="3076"/>
                        </a:lnTo>
                        <a:lnTo>
                          <a:pt x="1689" y="3076"/>
                        </a:lnTo>
                        <a:lnTo>
                          <a:pt x="1679" y="3076"/>
                        </a:lnTo>
                        <a:lnTo>
                          <a:pt x="1679" y="3059"/>
                        </a:lnTo>
                        <a:lnTo>
                          <a:pt x="1672" y="3069"/>
                        </a:lnTo>
                        <a:lnTo>
                          <a:pt x="1679" y="3052"/>
                        </a:lnTo>
                        <a:lnTo>
                          <a:pt x="1705" y="3036"/>
                        </a:lnTo>
                        <a:lnTo>
                          <a:pt x="1689" y="3036"/>
                        </a:lnTo>
                        <a:lnTo>
                          <a:pt x="1672" y="3052"/>
                        </a:lnTo>
                        <a:lnTo>
                          <a:pt x="1667" y="3069"/>
                        </a:lnTo>
                        <a:lnTo>
                          <a:pt x="1656" y="3059"/>
                        </a:lnTo>
                        <a:lnTo>
                          <a:pt x="1672" y="3043"/>
                        </a:lnTo>
                        <a:lnTo>
                          <a:pt x="1656" y="3052"/>
                        </a:lnTo>
                        <a:lnTo>
                          <a:pt x="1656" y="3036"/>
                        </a:lnTo>
                        <a:lnTo>
                          <a:pt x="1693" y="3031"/>
                        </a:lnTo>
                        <a:lnTo>
                          <a:pt x="1679" y="3019"/>
                        </a:lnTo>
                        <a:lnTo>
                          <a:pt x="1679" y="3014"/>
                        </a:lnTo>
                        <a:lnTo>
                          <a:pt x="1672" y="3031"/>
                        </a:lnTo>
                        <a:lnTo>
                          <a:pt x="1634" y="3036"/>
                        </a:lnTo>
                        <a:lnTo>
                          <a:pt x="1634" y="3019"/>
                        </a:lnTo>
                        <a:lnTo>
                          <a:pt x="1656" y="3019"/>
                        </a:lnTo>
                        <a:lnTo>
                          <a:pt x="1667" y="3014"/>
                        </a:lnTo>
                        <a:lnTo>
                          <a:pt x="1641" y="3014"/>
                        </a:lnTo>
                        <a:lnTo>
                          <a:pt x="1656" y="3003"/>
                        </a:lnTo>
                        <a:lnTo>
                          <a:pt x="1625" y="3003"/>
                        </a:lnTo>
                        <a:lnTo>
                          <a:pt x="1596" y="2981"/>
                        </a:lnTo>
                        <a:lnTo>
                          <a:pt x="1596" y="2958"/>
                        </a:lnTo>
                        <a:lnTo>
                          <a:pt x="1618" y="2941"/>
                        </a:lnTo>
                        <a:lnTo>
                          <a:pt x="1596" y="2958"/>
                        </a:lnTo>
                        <a:lnTo>
                          <a:pt x="1604" y="2925"/>
                        </a:lnTo>
                        <a:lnTo>
                          <a:pt x="1634" y="2920"/>
                        </a:lnTo>
                        <a:lnTo>
                          <a:pt x="1604" y="2925"/>
                        </a:lnTo>
                        <a:lnTo>
                          <a:pt x="1587" y="2948"/>
                        </a:lnTo>
                        <a:lnTo>
                          <a:pt x="1587" y="2925"/>
                        </a:lnTo>
                        <a:lnTo>
                          <a:pt x="1604" y="2920"/>
                        </a:lnTo>
                        <a:lnTo>
                          <a:pt x="1570" y="2925"/>
                        </a:lnTo>
                        <a:lnTo>
                          <a:pt x="1570" y="2908"/>
                        </a:lnTo>
                        <a:lnTo>
                          <a:pt x="1613" y="2892"/>
                        </a:lnTo>
                        <a:lnTo>
                          <a:pt x="1549" y="2908"/>
                        </a:lnTo>
                        <a:lnTo>
                          <a:pt x="1559" y="2892"/>
                        </a:lnTo>
                        <a:lnTo>
                          <a:pt x="1542" y="2903"/>
                        </a:lnTo>
                        <a:lnTo>
                          <a:pt x="1533" y="2887"/>
                        </a:lnTo>
                        <a:lnTo>
                          <a:pt x="1596" y="2875"/>
                        </a:lnTo>
                        <a:lnTo>
                          <a:pt x="1542" y="2875"/>
                        </a:lnTo>
                        <a:lnTo>
                          <a:pt x="1528" y="2870"/>
                        </a:lnTo>
                        <a:lnTo>
                          <a:pt x="1566" y="2863"/>
                        </a:lnTo>
                        <a:lnTo>
                          <a:pt x="1542" y="2863"/>
                        </a:lnTo>
                        <a:lnTo>
                          <a:pt x="1533" y="2854"/>
                        </a:lnTo>
                        <a:lnTo>
                          <a:pt x="1570" y="2854"/>
                        </a:lnTo>
                        <a:lnTo>
                          <a:pt x="1580" y="2847"/>
                        </a:lnTo>
                        <a:lnTo>
                          <a:pt x="1542" y="2847"/>
                        </a:lnTo>
                        <a:lnTo>
                          <a:pt x="1533" y="2854"/>
                        </a:lnTo>
                        <a:lnTo>
                          <a:pt x="1533" y="2863"/>
                        </a:lnTo>
                        <a:lnTo>
                          <a:pt x="1504" y="2837"/>
                        </a:lnTo>
                        <a:lnTo>
                          <a:pt x="1549" y="2814"/>
                        </a:lnTo>
                        <a:lnTo>
                          <a:pt x="1511" y="2830"/>
                        </a:lnTo>
                        <a:lnTo>
                          <a:pt x="1511" y="2821"/>
                        </a:lnTo>
                        <a:lnTo>
                          <a:pt x="1516" y="2821"/>
                        </a:lnTo>
                        <a:lnTo>
                          <a:pt x="1516" y="2814"/>
                        </a:lnTo>
                        <a:lnTo>
                          <a:pt x="1495" y="2809"/>
                        </a:lnTo>
                        <a:lnTo>
                          <a:pt x="1613" y="2781"/>
                        </a:lnTo>
                        <a:lnTo>
                          <a:pt x="1570" y="2781"/>
                        </a:lnTo>
                        <a:lnTo>
                          <a:pt x="1580" y="2776"/>
                        </a:lnTo>
                        <a:lnTo>
                          <a:pt x="1511" y="2797"/>
                        </a:lnTo>
                        <a:lnTo>
                          <a:pt x="1495" y="2792"/>
                        </a:lnTo>
                        <a:lnTo>
                          <a:pt x="1516" y="2792"/>
                        </a:lnTo>
                        <a:lnTo>
                          <a:pt x="1490" y="2781"/>
                        </a:lnTo>
                        <a:lnTo>
                          <a:pt x="1549" y="2781"/>
                        </a:lnTo>
                        <a:lnTo>
                          <a:pt x="1559" y="2776"/>
                        </a:lnTo>
                        <a:lnTo>
                          <a:pt x="1542" y="2776"/>
                        </a:lnTo>
                        <a:lnTo>
                          <a:pt x="1559" y="2759"/>
                        </a:lnTo>
                        <a:lnTo>
                          <a:pt x="1587" y="2764"/>
                        </a:lnTo>
                        <a:lnTo>
                          <a:pt x="1604" y="2759"/>
                        </a:lnTo>
                        <a:lnTo>
                          <a:pt x="1570" y="2759"/>
                        </a:lnTo>
                        <a:lnTo>
                          <a:pt x="1570" y="2752"/>
                        </a:lnTo>
                        <a:lnTo>
                          <a:pt x="1580" y="2743"/>
                        </a:lnTo>
                        <a:lnTo>
                          <a:pt x="1549" y="2736"/>
                        </a:lnTo>
                        <a:lnTo>
                          <a:pt x="1580" y="2726"/>
                        </a:lnTo>
                        <a:lnTo>
                          <a:pt x="1566" y="2726"/>
                        </a:lnTo>
                        <a:lnTo>
                          <a:pt x="1580" y="2726"/>
                        </a:lnTo>
                        <a:lnTo>
                          <a:pt x="1596" y="2726"/>
                        </a:lnTo>
                        <a:lnTo>
                          <a:pt x="1604" y="2752"/>
                        </a:lnTo>
                        <a:lnTo>
                          <a:pt x="1641" y="2764"/>
                        </a:lnTo>
                        <a:lnTo>
                          <a:pt x="1613" y="2743"/>
                        </a:lnTo>
                        <a:lnTo>
                          <a:pt x="1604" y="2736"/>
                        </a:lnTo>
                        <a:lnTo>
                          <a:pt x="1618" y="2726"/>
                        </a:lnTo>
                        <a:lnTo>
                          <a:pt x="1596" y="2726"/>
                        </a:lnTo>
                        <a:lnTo>
                          <a:pt x="1613" y="2703"/>
                        </a:lnTo>
                        <a:lnTo>
                          <a:pt x="1596" y="2719"/>
                        </a:lnTo>
                        <a:lnTo>
                          <a:pt x="1570" y="2719"/>
                        </a:lnTo>
                        <a:lnTo>
                          <a:pt x="1566" y="2698"/>
                        </a:lnTo>
                        <a:lnTo>
                          <a:pt x="1549" y="2665"/>
                        </a:lnTo>
                        <a:lnTo>
                          <a:pt x="1549" y="2698"/>
                        </a:lnTo>
                        <a:lnTo>
                          <a:pt x="1566" y="2698"/>
                        </a:lnTo>
                        <a:lnTo>
                          <a:pt x="1570" y="2719"/>
                        </a:lnTo>
                        <a:lnTo>
                          <a:pt x="1533" y="2736"/>
                        </a:lnTo>
                        <a:lnTo>
                          <a:pt x="1528" y="2736"/>
                        </a:lnTo>
                        <a:lnTo>
                          <a:pt x="1542" y="2719"/>
                        </a:lnTo>
                        <a:lnTo>
                          <a:pt x="1528" y="2719"/>
                        </a:lnTo>
                        <a:lnTo>
                          <a:pt x="1495" y="2776"/>
                        </a:lnTo>
                        <a:lnTo>
                          <a:pt x="1474" y="2781"/>
                        </a:lnTo>
                        <a:lnTo>
                          <a:pt x="1474" y="2759"/>
                        </a:lnTo>
                        <a:lnTo>
                          <a:pt x="1462" y="2759"/>
                        </a:lnTo>
                        <a:lnTo>
                          <a:pt x="1474" y="2736"/>
                        </a:lnTo>
                        <a:lnTo>
                          <a:pt x="1462" y="2726"/>
                        </a:lnTo>
                        <a:lnTo>
                          <a:pt x="1504" y="2710"/>
                        </a:lnTo>
                        <a:lnTo>
                          <a:pt x="1528" y="2686"/>
                        </a:lnTo>
                        <a:lnTo>
                          <a:pt x="1495" y="2703"/>
                        </a:lnTo>
                        <a:lnTo>
                          <a:pt x="1504" y="2698"/>
                        </a:lnTo>
                        <a:lnTo>
                          <a:pt x="1495" y="2686"/>
                        </a:lnTo>
                        <a:lnTo>
                          <a:pt x="1478" y="2710"/>
                        </a:lnTo>
                        <a:lnTo>
                          <a:pt x="1462" y="2710"/>
                        </a:lnTo>
                        <a:lnTo>
                          <a:pt x="1478" y="2703"/>
                        </a:lnTo>
                        <a:lnTo>
                          <a:pt x="1474" y="2703"/>
                        </a:lnTo>
                        <a:lnTo>
                          <a:pt x="1457" y="2710"/>
                        </a:lnTo>
                        <a:lnTo>
                          <a:pt x="1457" y="2703"/>
                        </a:lnTo>
                        <a:lnTo>
                          <a:pt x="1474" y="2698"/>
                        </a:lnTo>
                        <a:lnTo>
                          <a:pt x="1457" y="2681"/>
                        </a:lnTo>
                        <a:lnTo>
                          <a:pt x="1462" y="2665"/>
                        </a:lnTo>
                        <a:lnTo>
                          <a:pt x="1452" y="2665"/>
                        </a:lnTo>
                        <a:lnTo>
                          <a:pt x="1457" y="2653"/>
                        </a:lnTo>
                        <a:lnTo>
                          <a:pt x="1441" y="2670"/>
                        </a:lnTo>
                        <a:lnTo>
                          <a:pt x="1436" y="2653"/>
                        </a:lnTo>
                        <a:lnTo>
                          <a:pt x="1495" y="2625"/>
                        </a:lnTo>
                        <a:lnTo>
                          <a:pt x="1478" y="2615"/>
                        </a:lnTo>
                        <a:lnTo>
                          <a:pt x="1495" y="2608"/>
                        </a:lnTo>
                        <a:lnTo>
                          <a:pt x="1528" y="2599"/>
                        </a:lnTo>
                        <a:lnTo>
                          <a:pt x="1580" y="2608"/>
                        </a:lnTo>
                        <a:lnTo>
                          <a:pt x="1511" y="2599"/>
                        </a:lnTo>
                        <a:lnTo>
                          <a:pt x="1478" y="2615"/>
                        </a:lnTo>
                        <a:lnTo>
                          <a:pt x="1478" y="2625"/>
                        </a:lnTo>
                        <a:lnTo>
                          <a:pt x="1441" y="2648"/>
                        </a:lnTo>
                        <a:lnTo>
                          <a:pt x="1436" y="2632"/>
                        </a:lnTo>
                        <a:lnTo>
                          <a:pt x="1441" y="2615"/>
                        </a:lnTo>
                        <a:lnTo>
                          <a:pt x="1424" y="2632"/>
                        </a:lnTo>
                        <a:lnTo>
                          <a:pt x="1419" y="2625"/>
                        </a:lnTo>
                        <a:lnTo>
                          <a:pt x="1436" y="2615"/>
                        </a:lnTo>
                        <a:lnTo>
                          <a:pt x="1419" y="2615"/>
                        </a:lnTo>
                        <a:lnTo>
                          <a:pt x="1424" y="2592"/>
                        </a:lnTo>
                        <a:lnTo>
                          <a:pt x="1419" y="2608"/>
                        </a:lnTo>
                        <a:lnTo>
                          <a:pt x="1386" y="2608"/>
                        </a:lnTo>
                        <a:lnTo>
                          <a:pt x="1408" y="2592"/>
                        </a:lnTo>
                        <a:lnTo>
                          <a:pt x="1386" y="2599"/>
                        </a:lnTo>
                        <a:lnTo>
                          <a:pt x="1424" y="2575"/>
                        </a:lnTo>
                        <a:lnTo>
                          <a:pt x="1452" y="2587"/>
                        </a:lnTo>
                        <a:lnTo>
                          <a:pt x="1478" y="2570"/>
                        </a:lnTo>
                        <a:lnTo>
                          <a:pt x="1490" y="2575"/>
                        </a:lnTo>
                        <a:lnTo>
                          <a:pt x="1490" y="2570"/>
                        </a:lnTo>
                        <a:lnTo>
                          <a:pt x="1452" y="2587"/>
                        </a:lnTo>
                        <a:lnTo>
                          <a:pt x="1436" y="2575"/>
                        </a:lnTo>
                        <a:lnTo>
                          <a:pt x="1398" y="2592"/>
                        </a:lnTo>
                        <a:lnTo>
                          <a:pt x="1386" y="2587"/>
                        </a:lnTo>
                        <a:lnTo>
                          <a:pt x="1408" y="2570"/>
                        </a:lnTo>
                        <a:lnTo>
                          <a:pt x="1386" y="2575"/>
                        </a:lnTo>
                        <a:lnTo>
                          <a:pt x="1370" y="2575"/>
                        </a:lnTo>
                        <a:lnTo>
                          <a:pt x="1398" y="2570"/>
                        </a:lnTo>
                        <a:lnTo>
                          <a:pt x="1370" y="2570"/>
                        </a:lnTo>
                        <a:lnTo>
                          <a:pt x="1474" y="2514"/>
                        </a:lnTo>
                        <a:lnTo>
                          <a:pt x="1478" y="2497"/>
                        </a:lnTo>
                        <a:lnTo>
                          <a:pt x="1528" y="2476"/>
                        </a:lnTo>
                        <a:lnTo>
                          <a:pt x="1587" y="2476"/>
                        </a:lnTo>
                        <a:lnTo>
                          <a:pt x="1542" y="2464"/>
                        </a:lnTo>
                        <a:lnTo>
                          <a:pt x="1566" y="2448"/>
                        </a:lnTo>
                        <a:lnTo>
                          <a:pt x="1613" y="2459"/>
                        </a:lnTo>
                        <a:lnTo>
                          <a:pt x="1570" y="2448"/>
                        </a:lnTo>
                        <a:lnTo>
                          <a:pt x="1587" y="2443"/>
                        </a:lnTo>
                        <a:lnTo>
                          <a:pt x="1533" y="2464"/>
                        </a:lnTo>
                        <a:lnTo>
                          <a:pt x="1403" y="2554"/>
                        </a:lnTo>
                        <a:lnTo>
                          <a:pt x="1370" y="2559"/>
                        </a:lnTo>
                        <a:lnTo>
                          <a:pt x="1353" y="2554"/>
                        </a:lnTo>
                        <a:lnTo>
                          <a:pt x="1398" y="2537"/>
                        </a:lnTo>
                        <a:lnTo>
                          <a:pt x="1365" y="2542"/>
                        </a:lnTo>
                        <a:lnTo>
                          <a:pt x="1353" y="2537"/>
                        </a:lnTo>
                        <a:lnTo>
                          <a:pt x="1353" y="2514"/>
                        </a:lnTo>
                        <a:lnTo>
                          <a:pt x="1441" y="2504"/>
                        </a:lnTo>
                        <a:lnTo>
                          <a:pt x="1386" y="2504"/>
                        </a:lnTo>
                        <a:lnTo>
                          <a:pt x="1370" y="2497"/>
                        </a:lnTo>
                        <a:lnTo>
                          <a:pt x="1436" y="2488"/>
                        </a:lnTo>
                        <a:lnTo>
                          <a:pt x="1386" y="2481"/>
                        </a:lnTo>
                        <a:lnTo>
                          <a:pt x="1419" y="2481"/>
                        </a:lnTo>
                        <a:lnTo>
                          <a:pt x="1398" y="2481"/>
                        </a:lnTo>
                        <a:lnTo>
                          <a:pt x="1403" y="2476"/>
                        </a:lnTo>
                        <a:lnTo>
                          <a:pt x="1457" y="2476"/>
                        </a:lnTo>
                        <a:lnTo>
                          <a:pt x="1441" y="2464"/>
                        </a:lnTo>
                        <a:lnTo>
                          <a:pt x="1353" y="2464"/>
                        </a:lnTo>
                        <a:lnTo>
                          <a:pt x="1348" y="2459"/>
                        </a:lnTo>
                        <a:lnTo>
                          <a:pt x="1386" y="2448"/>
                        </a:lnTo>
                        <a:lnTo>
                          <a:pt x="1348" y="2443"/>
                        </a:lnTo>
                        <a:lnTo>
                          <a:pt x="1382" y="2443"/>
                        </a:lnTo>
                        <a:lnTo>
                          <a:pt x="1332" y="2443"/>
                        </a:lnTo>
                        <a:lnTo>
                          <a:pt x="1348" y="2431"/>
                        </a:lnTo>
                        <a:lnTo>
                          <a:pt x="1382" y="2426"/>
                        </a:lnTo>
                        <a:lnTo>
                          <a:pt x="1365" y="2426"/>
                        </a:lnTo>
                        <a:lnTo>
                          <a:pt x="1462" y="2410"/>
                        </a:lnTo>
                        <a:lnTo>
                          <a:pt x="1511" y="2410"/>
                        </a:lnTo>
                        <a:lnTo>
                          <a:pt x="1533" y="2431"/>
                        </a:lnTo>
                        <a:lnTo>
                          <a:pt x="1587" y="2431"/>
                        </a:lnTo>
                        <a:lnTo>
                          <a:pt x="1533" y="2431"/>
                        </a:lnTo>
                        <a:lnTo>
                          <a:pt x="1511" y="2410"/>
                        </a:lnTo>
                        <a:lnTo>
                          <a:pt x="1533" y="2403"/>
                        </a:lnTo>
                        <a:lnTo>
                          <a:pt x="1386" y="2410"/>
                        </a:lnTo>
                        <a:lnTo>
                          <a:pt x="1348" y="2426"/>
                        </a:lnTo>
                        <a:lnTo>
                          <a:pt x="1344" y="2419"/>
                        </a:lnTo>
                        <a:lnTo>
                          <a:pt x="1353" y="2393"/>
                        </a:lnTo>
                        <a:lnTo>
                          <a:pt x="1408" y="2370"/>
                        </a:lnTo>
                        <a:lnTo>
                          <a:pt x="1398" y="2370"/>
                        </a:lnTo>
                        <a:lnTo>
                          <a:pt x="1403" y="2370"/>
                        </a:lnTo>
                        <a:lnTo>
                          <a:pt x="1436" y="2365"/>
                        </a:lnTo>
                        <a:lnTo>
                          <a:pt x="1419" y="2365"/>
                        </a:lnTo>
                        <a:lnTo>
                          <a:pt x="1441" y="2365"/>
                        </a:lnTo>
                        <a:lnTo>
                          <a:pt x="1490" y="2377"/>
                        </a:lnTo>
                        <a:lnTo>
                          <a:pt x="1516" y="2370"/>
                        </a:lnTo>
                        <a:lnTo>
                          <a:pt x="1566" y="2393"/>
                        </a:lnTo>
                        <a:lnTo>
                          <a:pt x="1604" y="2393"/>
                        </a:lnTo>
                        <a:lnTo>
                          <a:pt x="1613" y="2386"/>
                        </a:lnTo>
                        <a:lnTo>
                          <a:pt x="1570" y="2393"/>
                        </a:lnTo>
                        <a:lnTo>
                          <a:pt x="1559" y="2377"/>
                        </a:lnTo>
                        <a:lnTo>
                          <a:pt x="1596" y="2365"/>
                        </a:lnTo>
                        <a:lnTo>
                          <a:pt x="1618" y="2370"/>
                        </a:lnTo>
                        <a:lnTo>
                          <a:pt x="1596" y="2365"/>
                        </a:lnTo>
                        <a:lnTo>
                          <a:pt x="1542" y="2377"/>
                        </a:lnTo>
                        <a:lnTo>
                          <a:pt x="1528" y="2365"/>
                        </a:lnTo>
                        <a:lnTo>
                          <a:pt x="1587" y="2348"/>
                        </a:lnTo>
                        <a:lnTo>
                          <a:pt x="1559" y="2337"/>
                        </a:lnTo>
                        <a:lnTo>
                          <a:pt x="1559" y="2348"/>
                        </a:lnTo>
                        <a:lnTo>
                          <a:pt x="1566" y="2348"/>
                        </a:lnTo>
                        <a:lnTo>
                          <a:pt x="1533" y="2365"/>
                        </a:lnTo>
                        <a:lnTo>
                          <a:pt x="1516" y="2348"/>
                        </a:lnTo>
                        <a:lnTo>
                          <a:pt x="1549" y="2348"/>
                        </a:lnTo>
                        <a:lnTo>
                          <a:pt x="1542" y="2332"/>
                        </a:lnTo>
                        <a:lnTo>
                          <a:pt x="1504" y="2337"/>
                        </a:lnTo>
                        <a:lnTo>
                          <a:pt x="1516" y="2353"/>
                        </a:lnTo>
                        <a:lnTo>
                          <a:pt x="1495" y="2370"/>
                        </a:lnTo>
                        <a:lnTo>
                          <a:pt x="1490" y="2365"/>
                        </a:lnTo>
                        <a:lnTo>
                          <a:pt x="1504" y="2353"/>
                        </a:lnTo>
                        <a:lnTo>
                          <a:pt x="1452" y="2353"/>
                        </a:lnTo>
                        <a:lnTo>
                          <a:pt x="1504" y="2332"/>
                        </a:lnTo>
                        <a:lnTo>
                          <a:pt x="1403" y="2365"/>
                        </a:lnTo>
                        <a:lnTo>
                          <a:pt x="1365" y="2386"/>
                        </a:lnTo>
                        <a:lnTo>
                          <a:pt x="1353" y="2386"/>
                        </a:lnTo>
                        <a:lnTo>
                          <a:pt x="1348" y="2377"/>
                        </a:lnTo>
                        <a:lnTo>
                          <a:pt x="1365" y="2370"/>
                        </a:lnTo>
                        <a:lnTo>
                          <a:pt x="1353" y="2353"/>
                        </a:lnTo>
                        <a:lnTo>
                          <a:pt x="1382" y="2353"/>
                        </a:lnTo>
                        <a:lnTo>
                          <a:pt x="1370" y="2348"/>
                        </a:lnTo>
                        <a:lnTo>
                          <a:pt x="1386" y="2353"/>
                        </a:lnTo>
                        <a:lnTo>
                          <a:pt x="1403" y="2348"/>
                        </a:lnTo>
                        <a:lnTo>
                          <a:pt x="1386" y="2348"/>
                        </a:lnTo>
                        <a:lnTo>
                          <a:pt x="1386" y="2337"/>
                        </a:lnTo>
                        <a:lnTo>
                          <a:pt x="1408" y="2332"/>
                        </a:lnTo>
                        <a:lnTo>
                          <a:pt x="1386" y="2332"/>
                        </a:lnTo>
                        <a:lnTo>
                          <a:pt x="1386" y="2320"/>
                        </a:lnTo>
                        <a:lnTo>
                          <a:pt x="1457" y="2337"/>
                        </a:lnTo>
                        <a:lnTo>
                          <a:pt x="1474" y="2332"/>
                        </a:lnTo>
                        <a:lnTo>
                          <a:pt x="1424" y="2332"/>
                        </a:lnTo>
                        <a:lnTo>
                          <a:pt x="1398" y="2315"/>
                        </a:lnTo>
                        <a:lnTo>
                          <a:pt x="1370" y="2315"/>
                        </a:lnTo>
                        <a:lnTo>
                          <a:pt x="1382" y="2308"/>
                        </a:lnTo>
                        <a:lnTo>
                          <a:pt x="1452" y="2320"/>
                        </a:lnTo>
                        <a:lnTo>
                          <a:pt x="1419" y="2308"/>
                        </a:lnTo>
                        <a:lnTo>
                          <a:pt x="1490" y="2320"/>
                        </a:lnTo>
                        <a:lnTo>
                          <a:pt x="1533" y="2320"/>
                        </a:lnTo>
                        <a:lnTo>
                          <a:pt x="1570" y="2337"/>
                        </a:lnTo>
                        <a:lnTo>
                          <a:pt x="1604" y="2337"/>
                        </a:lnTo>
                        <a:lnTo>
                          <a:pt x="1511" y="2308"/>
                        </a:lnTo>
                        <a:lnTo>
                          <a:pt x="1549" y="2308"/>
                        </a:lnTo>
                        <a:lnTo>
                          <a:pt x="1528" y="2299"/>
                        </a:lnTo>
                        <a:lnTo>
                          <a:pt x="1533" y="2292"/>
                        </a:lnTo>
                        <a:lnTo>
                          <a:pt x="1533" y="2282"/>
                        </a:lnTo>
                        <a:lnTo>
                          <a:pt x="1559" y="2266"/>
                        </a:lnTo>
                        <a:lnTo>
                          <a:pt x="1504" y="2275"/>
                        </a:lnTo>
                        <a:lnTo>
                          <a:pt x="1528" y="2292"/>
                        </a:lnTo>
                        <a:lnTo>
                          <a:pt x="1441" y="2308"/>
                        </a:lnTo>
                        <a:lnTo>
                          <a:pt x="1441" y="2308"/>
                        </a:lnTo>
                        <a:lnTo>
                          <a:pt x="1441" y="2308"/>
                        </a:lnTo>
                        <a:close/>
                        <a:moveTo>
                          <a:pt x="2343" y="45"/>
                        </a:moveTo>
                        <a:lnTo>
                          <a:pt x="2374" y="41"/>
                        </a:lnTo>
                        <a:lnTo>
                          <a:pt x="2390" y="57"/>
                        </a:lnTo>
                        <a:lnTo>
                          <a:pt x="2343" y="45"/>
                        </a:lnTo>
                        <a:lnTo>
                          <a:pt x="2343" y="45"/>
                        </a:lnTo>
                        <a:lnTo>
                          <a:pt x="2343" y="45"/>
                        </a:lnTo>
                        <a:close/>
                        <a:moveTo>
                          <a:pt x="2390" y="83"/>
                        </a:moveTo>
                        <a:lnTo>
                          <a:pt x="2267" y="62"/>
                        </a:lnTo>
                        <a:lnTo>
                          <a:pt x="2298" y="45"/>
                        </a:lnTo>
                        <a:lnTo>
                          <a:pt x="2411" y="83"/>
                        </a:lnTo>
                        <a:lnTo>
                          <a:pt x="2390" y="83"/>
                        </a:lnTo>
                        <a:lnTo>
                          <a:pt x="2390" y="83"/>
                        </a:lnTo>
                        <a:lnTo>
                          <a:pt x="2390" y="83"/>
                        </a:lnTo>
                        <a:close/>
                        <a:moveTo>
                          <a:pt x="2284" y="67"/>
                        </a:moveTo>
                        <a:lnTo>
                          <a:pt x="2315" y="67"/>
                        </a:lnTo>
                        <a:lnTo>
                          <a:pt x="2272" y="67"/>
                        </a:lnTo>
                        <a:lnTo>
                          <a:pt x="2284" y="67"/>
                        </a:lnTo>
                        <a:lnTo>
                          <a:pt x="2284" y="67"/>
                        </a:lnTo>
                        <a:lnTo>
                          <a:pt x="2284" y="67"/>
                        </a:lnTo>
                        <a:close/>
                        <a:moveTo>
                          <a:pt x="2411" y="83"/>
                        </a:moveTo>
                        <a:lnTo>
                          <a:pt x="2411" y="78"/>
                        </a:lnTo>
                        <a:lnTo>
                          <a:pt x="2449" y="83"/>
                        </a:lnTo>
                        <a:lnTo>
                          <a:pt x="2411" y="83"/>
                        </a:lnTo>
                        <a:lnTo>
                          <a:pt x="2411" y="83"/>
                        </a:lnTo>
                        <a:lnTo>
                          <a:pt x="2411" y="83"/>
                        </a:lnTo>
                        <a:close/>
                        <a:moveTo>
                          <a:pt x="2322" y="116"/>
                        </a:moveTo>
                        <a:lnTo>
                          <a:pt x="2213" y="78"/>
                        </a:lnTo>
                        <a:lnTo>
                          <a:pt x="2260" y="78"/>
                        </a:lnTo>
                        <a:lnTo>
                          <a:pt x="2322" y="116"/>
                        </a:lnTo>
                        <a:lnTo>
                          <a:pt x="2322" y="116"/>
                        </a:lnTo>
                        <a:lnTo>
                          <a:pt x="2322" y="116"/>
                        </a:lnTo>
                        <a:close/>
                        <a:moveTo>
                          <a:pt x="2343" y="111"/>
                        </a:moveTo>
                        <a:lnTo>
                          <a:pt x="2272" y="83"/>
                        </a:lnTo>
                        <a:lnTo>
                          <a:pt x="2369" y="95"/>
                        </a:lnTo>
                        <a:lnTo>
                          <a:pt x="2343" y="111"/>
                        </a:lnTo>
                        <a:lnTo>
                          <a:pt x="2343" y="111"/>
                        </a:lnTo>
                        <a:lnTo>
                          <a:pt x="2343" y="111"/>
                        </a:lnTo>
                        <a:close/>
                        <a:moveTo>
                          <a:pt x="1840" y="140"/>
                        </a:moveTo>
                        <a:lnTo>
                          <a:pt x="1802" y="123"/>
                        </a:lnTo>
                        <a:lnTo>
                          <a:pt x="1868" y="140"/>
                        </a:lnTo>
                        <a:lnTo>
                          <a:pt x="1840" y="140"/>
                        </a:lnTo>
                        <a:lnTo>
                          <a:pt x="1840" y="140"/>
                        </a:lnTo>
                        <a:lnTo>
                          <a:pt x="1840" y="140"/>
                        </a:lnTo>
                        <a:close/>
                        <a:moveTo>
                          <a:pt x="1731" y="152"/>
                        </a:moveTo>
                        <a:lnTo>
                          <a:pt x="1726" y="135"/>
                        </a:lnTo>
                        <a:lnTo>
                          <a:pt x="1797" y="152"/>
                        </a:lnTo>
                        <a:lnTo>
                          <a:pt x="1731" y="152"/>
                        </a:lnTo>
                        <a:lnTo>
                          <a:pt x="1731" y="152"/>
                        </a:lnTo>
                        <a:lnTo>
                          <a:pt x="1731" y="152"/>
                        </a:lnTo>
                        <a:close/>
                        <a:moveTo>
                          <a:pt x="2298" y="173"/>
                        </a:moveTo>
                        <a:lnTo>
                          <a:pt x="2284" y="168"/>
                        </a:lnTo>
                        <a:lnTo>
                          <a:pt x="2305" y="173"/>
                        </a:lnTo>
                        <a:lnTo>
                          <a:pt x="2298" y="173"/>
                        </a:lnTo>
                        <a:lnTo>
                          <a:pt x="2298" y="173"/>
                        </a:lnTo>
                        <a:lnTo>
                          <a:pt x="2298" y="173"/>
                        </a:lnTo>
                        <a:close/>
                        <a:moveTo>
                          <a:pt x="1965" y="279"/>
                        </a:moveTo>
                        <a:lnTo>
                          <a:pt x="1937" y="251"/>
                        </a:lnTo>
                        <a:lnTo>
                          <a:pt x="1830" y="222"/>
                        </a:lnTo>
                        <a:lnTo>
                          <a:pt x="1776" y="178"/>
                        </a:lnTo>
                        <a:lnTo>
                          <a:pt x="1882" y="173"/>
                        </a:lnTo>
                        <a:lnTo>
                          <a:pt x="2003" y="222"/>
                        </a:lnTo>
                        <a:lnTo>
                          <a:pt x="1958" y="251"/>
                        </a:lnTo>
                        <a:lnTo>
                          <a:pt x="1982" y="267"/>
                        </a:lnTo>
                        <a:lnTo>
                          <a:pt x="1965" y="279"/>
                        </a:lnTo>
                        <a:lnTo>
                          <a:pt x="1965" y="279"/>
                        </a:lnTo>
                        <a:lnTo>
                          <a:pt x="1965" y="279"/>
                        </a:lnTo>
                        <a:close/>
                        <a:moveTo>
                          <a:pt x="1731" y="211"/>
                        </a:moveTo>
                        <a:lnTo>
                          <a:pt x="1693" y="194"/>
                        </a:lnTo>
                        <a:lnTo>
                          <a:pt x="1748" y="206"/>
                        </a:lnTo>
                        <a:lnTo>
                          <a:pt x="1731" y="211"/>
                        </a:lnTo>
                        <a:lnTo>
                          <a:pt x="1731" y="211"/>
                        </a:lnTo>
                        <a:lnTo>
                          <a:pt x="1731" y="211"/>
                        </a:lnTo>
                        <a:close/>
                        <a:moveTo>
                          <a:pt x="1528" y="296"/>
                        </a:moveTo>
                        <a:lnTo>
                          <a:pt x="1403" y="267"/>
                        </a:lnTo>
                        <a:lnTo>
                          <a:pt x="1382" y="244"/>
                        </a:lnTo>
                        <a:lnTo>
                          <a:pt x="1398" y="227"/>
                        </a:lnTo>
                        <a:lnTo>
                          <a:pt x="1419" y="239"/>
                        </a:lnTo>
                        <a:lnTo>
                          <a:pt x="1528" y="296"/>
                        </a:lnTo>
                        <a:lnTo>
                          <a:pt x="1528" y="296"/>
                        </a:lnTo>
                        <a:lnTo>
                          <a:pt x="1528" y="296"/>
                        </a:lnTo>
                        <a:close/>
                        <a:moveTo>
                          <a:pt x="1462" y="251"/>
                        </a:moveTo>
                        <a:lnTo>
                          <a:pt x="1457" y="239"/>
                        </a:lnTo>
                        <a:lnTo>
                          <a:pt x="1490" y="251"/>
                        </a:lnTo>
                        <a:lnTo>
                          <a:pt x="1462" y="251"/>
                        </a:lnTo>
                        <a:lnTo>
                          <a:pt x="1462" y="251"/>
                        </a:lnTo>
                        <a:lnTo>
                          <a:pt x="1462" y="251"/>
                        </a:lnTo>
                        <a:close/>
                        <a:moveTo>
                          <a:pt x="3789" y="284"/>
                        </a:moveTo>
                        <a:lnTo>
                          <a:pt x="3763" y="251"/>
                        </a:lnTo>
                        <a:lnTo>
                          <a:pt x="3800" y="296"/>
                        </a:lnTo>
                        <a:lnTo>
                          <a:pt x="3789" y="284"/>
                        </a:lnTo>
                        <a:lnTo>
                          <a:pt x="3789" y="284"/>
                        </a:lnTo>
                        <a:lnTo>
                          <a:pt x="3789" y="284"/>
                        </a:lnTo>
                        <a:close/>
                        <a:moveTo>
                          <a:pt x="3704" y="305"/>
                        </a:moveTo>
                        <a:lnTo>
                          <a:pt x="3666" y="267"/>
                        </a:lnTo>
                        <a:lnTo>
                          <a:pt x="3692" y="267"/>
                        </a:lnTo>
                        <a:lnTo>
                          <a:pt x="3741" y="305"/>
                        </a:lnTo>
                        <a:lnTo>
                          <a:pt x="3704" y="305"/>
                        </a:lnTo>
                        <a:lnTo>
                          <a:pt x="3704" y="305"/>
                        </a:lnTo>
                        <a:lnTo>
                          <a:pt x="3704" y="305"/>
                        </a:lnTo>
                        <a:close/>
                        <a:moveTo>
                          <a:pt x="3817" y="350"/>
                        </a:moveTo>
                        <a:lnTo>
                          <a:pt x="3772" y="322"/>
                        </a:lnTo>
                        <a:lnTo>
                          <a:pt x="3810" y="322"/>
                        </a:lnTo>
                        <a:lnTo>
                          <a:pt x="3843" y="350"/>
                        </a:lnTo>
                        <a:lnTo>
                          <a:pt x="3817" y="350"/>
                        </a:lnTo>
                        <a:lnTo>
                          <a:pt x="3817" y="350"/>
                        </a:lnTo>
                        <a:lnTo>
                          <a:pt x="3817" y="350"/>
                        </a:lnTo>
                        <a:close/>
                        <a:moveTo>
                          <a:pt x="3654" y="355"/>
                        </a:moveTo>
                        <a:lnTo>
                          <a:pt x="3666" y="350"/>
                        </a:lnTo>
                        <a:lnTo>
                          <a:pt x="3649" y="338"/>
                        </a:lnTo>
                        <a:lnTo>
                          <a:pt x="3654" y="333"/>
                        </a:lnTo>
                        <a:lnTo>
                          <a:pt x="3708" y="338"/>
                        </a:lnTo>
                        <a:lnTo>
                          <a:pt x="3654" y="355"/>
                        </a:lnTo>
                        <a:lnTo>
                          <a:pt x="3654" y="355"/>
                        </a:lnTo>
                        <a:lnTo>
                          <a:pt x="3654" y="355"/>
                        </a:lnTo>
                        <a:close/>
                        <a:moveTo>
                          <a:pt x="3789" y="600"/>
                        </a:moveTo>
                        <a:lnTo>
                          <a:pt x="3720" y="612"/>
                        </a:lnTo>
                        <a:lnTo>
                          <a:pt x="3741" y="584"/>
                        </a:lnTo>
                        <a:lnTo>
                          <a:pt x="3789" y="600"/>
                        </a:lnTo>
                        <a:lnTo>
                          <a:pt x="3789" y="600"/>
                        </a:lnTo>
                        <a:lnTo>
                          <a:pt x="3789" y="600"/>
                        </a:lnTo>
                        <a:close/>
                        <a:moveTo>
                          <a:pt x="3763" y="749"/>
                        </a:moveTo>
                        <a:lnTo>
                          <a:pt x="3763" y="766"/>
                        </a:lnTo>
                        <a:lnTo>
                          <a:pt x="3758" y="761"/>
                        </a:lnTo>
                        <a:lnTo>
                          <a:pt x="3763" y="749"/>
                        </a:lnTo>
                        <a:lnTo>
                          <a:pt x="3763" y="749"/>
                        </a:lnTo>
                        <a:lnTo>
                          <a:pt x="3763" y="749"/>
                        </a:lnTo>
                        <a:close/>
                        <a:moveTo>
                          <a:pt x="3881" y="749"/>
                        </a:moveTo>
                        <a:lnTo>
                          <a:pt x="3885" y="761"/>
                        </a:lnTo>
                        <a:lnTo>
                          <a:pt x="3848" y="794"/>
                        </a:lnTo>
                        <a:lnTo>
                          <a:pt x="3855" y="778"/>
                        </a:lnTo>
                        <a:lnTo>
                          <a:pt x="3881" y="749"/>
                        </a:lnTo>
                        <a:lnTo>
                          <a:pt x="3881" y="749"/>
                        </a:lnTo>
                        <a:lnTo>
                          <a:pt x="3881" y="749"/>
                        </a:lnTo>
                        <a:close/>
                        <a:moveTo>
                          <a:pt x="3763" y="834"/>
                        </a:moveTo>
                        <a:lnTo>
                          <a:pt x="3734" y="822"/>
                        </a:lnTo>
                        <a:lnTo>
                          <a:pt x="3779" y="799"/>
                        </a:lnTo>
                        <a:lnTo>
                          <a:pt x="3763" y="815"/>
                        </a:lnTo>
                        <a:lnTo>
                          <a:pt x="3779" y="822"/>
                        </a:lnTo>
                        <a:lnTo>
                          <a:pt x="3758" y="822"/>
                        </a:lnTo>
                        <a:lnTo>
                          <a:pt x="3779" y="822"/>
                        </a:lnTo>
                        <a:lnTo>
                          <a:pt x="3763" y="834"/>
                        </a:lnTo>
                        <a:lnTo>
                          <a:pt x="3763" y="834"/>
                        </a:lnTo>
                        <a:lnTo>
                          <a:pt x="3763" y="834"/>
                        </a:lnTo>
                        <a:close/>
                        <a:moveTo>
                          <a:pt x="3843" y="834"/>
                        </a:moveTo>
                        <a:lnTo>
                          <a:pt x="3843" y="806"/>
                        </a:lnTo>
                        <a:lnTo>
                          <a:pt x="3855" y="815"/>
                        </a:lnTo>
                        <a:lnTo>
                          <a:pt x="3843" y="834"/>
                        </a:lnTo>
                        <a:lnTo>
                          <a:pt x="3843" y="834"/>
                        </a:lnTo>
                        <a:lnTo>
                          <a:pt x="3843" y="834"/>
                        </a:lnTo>
                        <a:close/>
                        <a:moveTo>
                          <a:pt x="3772" y="877"/>
                        </a:moveTo>
                        <a:lnTo>
                          <a:pt x="3789" y="889"/>
                        </a:lnTo>
                        <a:lnTo>
                          <a:pt x="3763" y="893"/>
                        </a:lnTo>
                        <a:lnTo>
                          <a:pt x="3763" y="889"/>
                        </a:lnTo>
                        <a:lnTo>
                          <a:pt x="3772" y="877"/>
                        </a:lnTo>
                        <a:lnTo>
                          <a:pt x="3772" y="877"/>
                        </a:lnTo>
                        <a:lnTo>
                          <a:pt x="3772" y="877"/>
                        </a:lnTo>
                        <a:close/>
                        <a:moveTo>
                          <a:pt x="3746" y="889"/>
                        </a:moveTo>
                        <a:lnTo>
                          <a:pt x="3758" y="893"/>
                        </a:lnTo>
                        <a:lnTo>
                          <a:pt x="3741" y="905"/>
                        </a:lnTo>
                        <a:lnTo>
                          <a:pt x="3741" y="889"/>
                        </a:lnTo>
                        <a:lnTo>
                          <a:pt x="3746" y="889"/>
                        </a:lnTo>
                        <a:lnTo>
                          <a:pt x="3746" y="889"/>
                        </a:lnTo>
                        <a:lnTo>
                          <a:pt x="3746" y="889"/>
                        </a:lnTo>
                        <a:close/>
                        <a:moveTo>
                          <a:pt x="3772" y="910"/>
                        </a:moveTo>
                        <a:lnTo>
                          <a:pt x="3763" y="905"/>
                        </a:lnTo>
                        <a:lnTo>
                          <a:pt x="3796" y="905"/>
                        </a:lnTo>
                        <a:lnTo>
                          <a:pt x="3772" y="910"/>
                        </a:lnTo>
                        <a:lnTo>
                          <a:pt x="3772" y="910"/>
                        </a:lnTo>
                        <a:lnTo>
                          <a:pt x="3772" y="910"/>
                        </a:lnTo>
                        <a:close/>
                        <a:moveTo>
                          <a:pt x="3649" y="917"/>
                        </a:moveTo>
                        <a:lnTo>
                          <a:pt x="3654" y="917"/>
                        </a:lnTo>
                        <a:lnTo>
                          <a:pt x="3649" y="917"/>
                        </a:lnTo>
                        <a:lnTo>
                          <a:pt x="3649" y="917"/>
                        </a:lnTo>
                        <a:lnTo>
                          <a:pt x="3649" y="917"/>
                        </a:lnTo>
                        <a:close/>
                        <a:moveTo>
                          <a:pt x="3796" y="917"/>
                        </a:moveTo>
                        <a:lnTo>
                          <a:pt x="3789" y="933"/>
                        </a:lnTo>
                        <a:lnTo>
                          <a:pt x="3779" y="926"/>
                        </a:lnTo>
                        <a:lnTo>
                          <a:pt x="3796" y="917"/>
                        </a:lnTo>
                        <a:lnTo>
                          <a:pt x="3796" y="917"/>
                        </a:lnTo>
                        <a:lnTo>
                          <a:pt x="3796" y="917"/>
                        </a:lnTo>
                        <a:close/>
                        <a:moveTo>
                          <a:pt x="3772" y="926"/>
                        </a:moveTo>
                        <a:lnTo>
                          <a:pt x="3763" y="926"/>
                        </a:lnTo>
                        <a:lnTo>
                          <a:pt x="3772" y="917"/>
                        </a:lnTo>
                        <a:lnTo>
                          <a:pt x="3772" y="926"/>
                        </a:lnTo>
                        <a:lnTo>
                          <a:pt x="3772" y="926"/>
                        </a:lnTo>
                        <a:lnTo>
                          <a:pt x="3772" y="926"/>
                        </a:lnTo>
                        <a:close/>
                        <a:moveTo>
                          <a:pt x="3637" y="945"/>
                        </a:moveTo>
                        <a:lnTo>
                          <a:pt x="3628" y="966"/>
                        </a:lnTo>
                        <a:lnTo>
                          <a:pt x="3616" y="962"/>
                        </a:lnTo>
                        <a:lnTo>
                          <a:pt x="3637" y="945"/>
                        </a:lnTo>
                        <a:lnTo>
                          <a:pt x="3637" y="945"/>
                        </a:lnTo>
                        <a:lnTo>
                          <a:pt x="3637" y="945"/>
                        </a:lnTo>
                        <a:close/>
                        <a:moveTo>
                          <a:pt x="3734" y="966"/>
                        </a:moveTo>
                        <a:lnTo>
                          <a:pt x="3772" y="971"/>
                        </a:lnTo>
                        <a:lnTo>
                          <a:pt x="3687" y="950"/>
                        </a:lnTo>
                        <a:lnTo>
                          <a:pt x="3725" y="950"/>
                        </a:lnTo>
                        <a:lnTo>
                          <a:pt x="3720" y="950"/>
                        </a:lnTo>
                        <a:lnTo>
                          <a:pt x="3734" y="966"/>
                        </a:lnTo>
                        <a:lnTo>
                          <a:pt x="3734" y="966"/>
                        </a:lnTo>
                        <a:lnTo>
                          <a:pt x="3734" y="966"/>
                        </a:lnTo>
                        <a:close/>
                        <a:moveTo>
                          <a:pt x="3746" y="962"/>
                        </a:moveTo>
                        <a:lnTo>
                          <a:pt x="3741" y="950"/>
                        </a:lnTo>
                        <a:lnTo>
                          <a:pt x="3746" y="962"/>
                        </a:lnTo>
                        <a:lnTo>
                          <a:pt x="3746" y="962"/>
                        </a:lnTo>
                        <a:lnTo>
                          <a:pt x="3746" y="962"/>
                        </a:lnTo>
                        <a:close/>
                        <a:moveTo>
                          <a:pt x="3881" y="962"/>
                        </a:moveTo>
                        <a:lnTo>
                          <a:pt x="3885" y="971"/>
                        </a:lnTo>
                        <a:lnTo>
                          <a:pt x="3881" y="988"/>
                        </a:lnTo>
                        <a:lnTo>
                          <a:pt x="3843" y="1000"/>
                        </a:lnTo>
                        <a:lnTo>
                          <a:pt x="3864" y="966"/>
                        </a:lnTo>
                        <a:lnTo>
                          <a:pt x="3881" y="962"/>
                        </a:lnTo>
                        <a:lnTo>
                          <a:pt x="3881" y="962"/>
                        </a:lnTo>
                        <a:lnTo>
                          <a:pt x="3881" y="962"/>
                        </a:lnTo>
                        <a:close/>
                        <a:moveTo>
                          <a:pt x="3708" y="1000"/>
                        </a:moveTo>
                        <a:lnTo>
                          <a:pt x="3720" y="1004"/>
                        </a:lnTo>
                        <a:lnTo>
                          <a:pt x="3687" y="1004"/>
                        </a:lnTo>
                        <a:lnTo>
                          <a:pt x="3708" y="1000"/>
                        </a:lnTo>
                        <a:lnTo>
                          <a:pt x="3708" y="1000"/>
                        </a:lnTo>
                        <a:lnTo>
                          <a:pt x="3708" y="1000"/>
                        </a:lnTo>
                        <a:close/>
                        <a:moveTo>
                          <a:pt x="432" y="1004"/>
                        </a:moveTo>
                        <a:lnTo>
                          <a:pt x="425" y="1004"/>
                        </a:lnTo>
                        <a:lnTo>
                          <a:pt x="446" y="1004"/>
                        </a:lnTo>
                        <a:lnTo>
                          <a:pt x="432" y="1004"/>
                        </a:lnTo>
                        <a:lnTo>
                          <a:pt x="432" y="1004"/>
                        </a:lnTo>
                        <a:lnTo>
                          <a:pt x="432" y="1004"/>
                        </a:lnTo>
                        <a:close/>
                        <a:moveTo>
                          <a:pt x="479" y="1028"/>
                        </a:moveTo>
                        <a:lnTo>
                          <a:pt x="437" y="1021"/>
                        </a:lnTo>
                        <a:lnTo>
                          <a:pt x="479" y="1021"/>
                        </a:lnTo>
                        <a:lnTo>
                          <a:pt x="479" y="1028"/>
                        </a:lnTo>
                        <a:lnTo>
                          <a:pt x="479" y="1028"/>
                        </a:lnTo>
                        <a:lnTo>
                          <a:pt x="479" y="1028"/>
                        </a:lnTo>
                        <a:close/>
                        <a:moveTo>
                          <a:pt x="122" y="1028"/>
                        </a:moveTo>
                        <a:lnTo>
                          <a:pt x="205" y="1037"/>
                        </a:lnTo>
                        <a:lnTo>
                          <a:pt x="139" y="1044"/>
                        </a:lnTo>
                        <a:lnTo>
                          <a:pt x="122" y="1028"/>
                        </a:lnTo>
                        <a:lnTo>
                          <a:pt x="122" y="1028"/>
                        </a:lnTo>
                        <a:lnTo>
                          <a:pt x="122" y="1028"/>
                        </a:lnTo>
                        <a:close/>
                        <a:moveTo>
                          <a:pt x="54" y="1028"/>
                        </a:moveTo>
                        <a:lnTo>
                          <a:pt x="113" y="1044"/>
                        </a:lnTo>
                        <a:lnTo>
                          <a:pt x="68" y="1054"/>
                        </a:lnTo>
                        <a:lnTo>
                          <a:pt x="30" y="1037"/>
                        </a:lnTo>
                        <a:lnTo>
                          <a:pt x="54" y="1028"/>
                        </a:lnTo>
                        <a:lnTo>
                          <a:pt x="54" y="1028"/>
                        </a:lnTo>
                        <a:lnTo>
                          <a:pt x="54" y="1028"/>
                        </a:lnTo>
                        <a:close/>
                        <a:moveTo>
                          <a:pt x="3741" y="1127"/>
                        </a:moveTo>
                        <a:lnTo>
                          <a:pt x="3746" y="1127"/>
                        </a:lnTo>
                        <a:lnTo>
                          <a:pt x="3734" y="1132"/>
                        </a:lnTo>
                        <a:lnTo>
                          <a:pt x="3741" y="1127"/>
                        </a:lnTo>
                        <a:lnTo>
                          <a:pt x="3741" y="1127"/>
                        </a:lnTo>
                        <a:lnTo>
                          <a:pt x="3741" y="1127"/>
                        </a:lnTo>
                        <a:close/>
                        <a:moveTo>
                          <a:pt x="3810" y="1226"/>
                        </a:moveTo>
                        <a:lnTo>
                          <a:pt x="3817" y="1243"/>
                        </a:lnTo>
                        <a:lnTo>
                          <a:pt x="3817" y="1266"/>
                        </a:lnTo>
                        <a:lnTo>
                          <a:pt x="3817" y="1250"/>
                        </a:lnTo>
                        <a:lnTo>
                          <a:pt x="3779" y="1172"/>
                        </a:lnTo>
                        <a:lnTo>
                          <a:pt x="3800" y="1165"/>
                        </a:lnTo>
                        <a:lnTo>
                          <a:pt x="3789" y="1155"/>
                        </a:lnTo>
                        <a:lnTo>
                          <a:pt x="3789" y="1139"/>
                        </a:lnTo>
                        <a:lnTo>
                          <a:pt x="3810" y="1155"/>
                        </a:lnTo>
                        <a:lnTo>
                          <a:pt x="3810" y="1172"/>
                        </a:lnTo>
                        <a:lnTo>
                          <a:pt x="3817" y="1222"/>
                        </a:lnTo>
                        <a:lnTo>
                          <a:pt x="3810" y="1226"/>
                        </a:lnTo>
                        <a:lnTo>
                          <a:pt x="3810" y="1226"/>
                        </a:lnTo>
                        <a:lnTo>
                          <a:pt x="3810" y="1226"/>
                        </a:lnTo>
                        <a:close/>
                        <a:moveTo>
                          <a:pt x="3741" y="1139"/>
                        </a:moveTo>
                        <a:lnTo>
                          <a:pt x="3746" y="1139"/>
                        </a:lnTo>
                        <a:lnTo>
                          <a:pt x="3725" y="1139"/>
                        </a:lnTo>
                        <a:lnTo>
                          <a:pt x="3741" y="1139"/>
                        </a:lnTo>
                        <a:lnTo>
                          <a:pt x="3741" y="1139"/>
                        </a:lnTo>
                        <a:lnTo>
                          <a:pt x="3741" y="1139"/>
                        </a:lnTo>
                        <a:close/>
                        <a:moveTo>
                          <a:pt x="3633" y="1165"/>
                        </a:moveTo>
                        <a:lnTo>
                          <a:pt x="3611" y="1155"/>
                        </a:lnTo>
                        <a:lnTo>
                          <a:pt x="3649" y="1155"/>
                        </a:lnTo>
                        <a:lnTo>
                          <a:pt x="3633" y="1165"/>
                        </a:lnTo>
                        <a:lnTo>
                          <a:pt x="3633" y="1165"/>
                        </a:lnTo>
                        <a:lnTo>
                          <a:pt x="3633" y="1165"/>
                        </a:lnTo>
                        <a:close/>
                        <a:moveTo>
                          <a:pt x="236" y="1155"/>
                        </a:moveTo>
                        <a:lnTo>
                          <a:pt x="252" y="1165"/>
                        </a:lnTo>
                        <a:lnTo>
                          <a:pt x="205" y="1165"/>
                        </a:lnTo>
                        <a:lnTo>
                          <a:pt x="236" y="1155"/>
                        </a:lnTo>
                        <a:lnTo>
                          <a:pt x="236" y="1155"/>
                        </a:lnTo>
                        <a:lnTo>
                          <a:pt x="236" y="1155"/>
                        </a:lnTo>
                        <a:close/>
                        <a:moveTo>
                          <a:pt x="3670" y="1172"/>
                        </a:moveTo>
                        <a:lnTo>
                          <a:pt x="3666" y="1189"/>
                        </a:lnTo>
                        <a:lnTo>
                          <a:pt x="3637" y="1184"/>
                        </a:lnTo>
                        <a:lnTo>
                          <a:pt x="3670" y="1172"/>
                        </a:lnTo>
                        <a:lnTo>
                          <a:pt x="3670" y="1172"/>
                        </a:lnTo>
                        <a:lnTo>
                          <a:pt x="3670" y="1172"/>
                        </a:lnTo>
                        <a:close/>
                        <a:moveTo>
                          <a:pt x="215" y="1184"/>
                        </a:moveTo>
                        <a:lnTo>
                          <a:pt x="219" y="1189"/>
                        </a:lnTo>
                        <a:lnTo>
                          <a:pt x="198" y="1184"/>
                        </a:lnTo>
                        <a:lnTo>
                          <a:pt x="215" y="1184"/>
                        </a:lnTo>
                        <a:lnTo>
                          <a:pt x="215" y="1184"/>
                        </a:lnTo>
                        <a:lnTo>
                          <a:pt x="215" y="1184"/>
                        </a:lnTo>
                        <a:close/>
                        <a:moveTo>
                          <a:pt x="3708" y="1193"/>
                        </a:moveTo>
                        <a:lnTo>
                          <a:pt x="3692" y="1210"/>
                        </a:lnTo>
                        <a:lnTo>
                          <a:pt x="3670" y="1193"/>
                        </a:lnTo>
                        <a:lnTo>
                          <a:pt x="3708" y="1193"/>
                        </a:lnTo>
                        <a:lnTo>
                          <a:pt x="3708" y="1193"/>
                        </a:lnTo>
                        <a:lnTo>
                          <a:pt x="3708" y="1193"/>
                        </a:lnTo>
                        <a:close/>
                        <a:moveTo>
                          <a:pt x="630" y="1226"/>
                        </a:moveTo>
                        <a:lnTo>
                          <a:pt x="630" y="1243"/>
                        </a:lnTo>
                        <a:lnTo>
                          <a:pt x="626" y="1238"/>
                        </a:lnTo>
                        <a:lnTo>
                          <a:pt x="630" y="1226"/>
                        </a:lnTo>
                        <a:lnTo>
                          <a:pt x="630" y="1226"/>
                        </a:lnTo>
                        <a:lnTo>
                          <a:pt x="630" y="1226"/>
                        </a:lnTo>
                        <a:close/>
                        <a:moveTo>
                          <a:pt x="559" y="1238"/>
                        </a:moveTo>
                        <a:lnTo>
                          <a:pt x="559" y="1243"/>
                        </a:lnTo>
                        <a:lnTo>
                          <a:pt x="545" y="1243"/>
                        </a:lnTo>
                        <a:lnTo>
                          <a:pt x="559" y="1238"/>
                        </a:lnTo>
                        <a:lnTo>
                          <a:pt x="559" y="1238"/>
                        </a:lnTo>
                        <a:lnTo>
                          <a:pt x="559" y="1238"/>
                        </a:lnTo>
                        <a:close/>
                        <a:moveTo>
                          <a:pt x="3864" y="1337"/>
                        </a:moveTo>
                        <a:lnTo>
                          <a:pt x="3871" y="1354"/>
                        </a:lnTo>
                        <a:lnTo>
                          <a:pt x="3843" y="1361"/>
                        </a:lnTo>
                        <a:lnTo>
                          <a:pt x="3881" y="1387"/>
                        </a:lnTo>
                        <a:lnTo>
                          <a:pt x="3909" y="1377"/>
                        </a:lnTo>
                        <a:lnTo>
                          <a:pt x="3902" y="1394"/>
                        </a:lnTo>
                        <a:lnTo>
                          <a:pt x="3885" y="1406"/>
                        </a:lnTo>
                        <a:lnTo>
                          <a:pt x="3885" y="1394"/>
                        </a:lnTo>
                        <a:lnTo>
                          <a:pt x="3871" y="1394"/>
                        </a:lnTo>
                        <a:lnTo>
                          <a:pt x="3796" y="1394"/>
                        </a:lnTo>
                        <a:lnTo>
                          <a:pt x="3800" y="1349"/>
                        </a:lnTo>
                        <a:lnTo>
                          <a:pt x="3817" y="1337"/>
                        </a:lnTo>
                        <a:lnTo>
                          <a:pt x="3843" y="1354"/>
                        </a:lnTo>
                        <a:lnTo>
                          <a:pt x="3848" y="1333"/>
                        </a:lnTo>
                        <a:lnTo>
                          <a:pt x="3864" y="1337"/>
                        </a:lnTo>
                        <a:lnTo>
                          <a:pt x="3864" y="1337"/>
                        </a:lnTo>
                        <a:lnTo>
                          <a:pt x="3864" y="1337"/>
                        </a:lnTo>
                        <a:close/>
                        <a:moveTo>
                          <a:pt x="3704" y="1387"/>
                        </a:moveTo>
                        <a:lnTo>
                          <a:pt x="3725" y="1394"/>
                        </a:lnTo>
                        <a:lnTo>
                          <a:pt x="3708" y="1411"/>
                        </a:lnTo>
                        <a:lnTo>
                          <a:pt x="3741" y="1415"/>
                        </a:lnTo>
                        <a:lnTo>
                          <a:pt x="3708" y="1444"/>
                        </a:lnTo>
                        <a:lnTo>
                          <a:pt x="3670" y="1427"/>
                        </a:lnTo>
                        <a:lnTo>
                          <a:pt x="3682" y="1411"/>
                        </a:lnTo>
                        <a:lnTo>
                          <a:pt x="3682" y="1394"/>
                        </a:lnTo>
                        <a:lnTo>
                          <a:pt x="3704" y="1387"/>
                        </a:lnTo>
                        <a:lnTo>
                          <a:pt x="3704" y="1387"/>
                        </a:lnTo>
                        <a:lnTo>
                          <a:pt x="3704" y="1387"/>
                        </a:lnTo>
                        <a:close/>
                        <a:moveTo>
                          <a:pt x="1084" y="1432"/>
                        </a:moveTo>
                        <a:lnTo>
                          <a:pt x="1096" y="1432"/>
                        </a:lnTo>
                        <a:lnTo>
                          <a:pt x="1074" y="1432"/>
                        </a:lnTo>
                        <a:lnTo>
                          <a:pt x="1084" y="1432"/>
                        </a:lnTo>
                        <a:lnTo>
                          <a:pt x="1084" y="1432"/>
                        </a:lnTo>
                        <a:lnTo>
                          <a:pt x="1084" y="1432"/>
                        </a:lnTo>
                        <a:close/>
                        <a:moveTo>
                          <a:pt x="3833" y="1444"/>
                        </a:moveTo>
                        <a:lnTo>
                          <a:pt x="3833" y="1448"/>
                        </a:lnTo>
                        <a:lnTo>
                          <a:pt x="3826" y="1448"/>
                        </a:lnTo>
                        <a:lnTo>
                          <a:pt x="3817" y="1432"/>
                        </a:lnTo>
                        <a:lnTo>
                          <a:pt x="3833" y="1444"/>
                        </a:lnTo>
                        <a:lnTo>
                          <a:pt x="3833" y="1444"/>
                        </a:lnTo>
                        <a:lnTo>
                          <a:pt x="3833" y="1444"/>
                        </a:lnTo>
                        <a:close/>
                        <a:moveTo>
                          <a:pt x="3810" y="1448"/>
                        </a:moveTo>
                        <a:lnTo>
                          <a:pt x="3800" y="1460"/>
                        </a:lnTo>
                        <a:lnTo>
                          <a:pt x="3772" y="1460"/>
                        </a:lnTo>
                        <a:lnTo>
                          <a:pt x="3800" y="1444"/>
                        </a:lnTo>
                        <a:lnTo>
                          <a:pt x="3810" y="1448"/>
                        </a:lnTo>
                        <a:lnTo>
                          <a:pt x="3810" y="1448"/>
                        </a:lnTo>
                        <a:lnTo>
                          <a:pt x="3810" y="1448"/>
                        </a:lnTo>
                        <a:close/>
                        <a:moveTo>
                          <a:pt x="1117" y="1448"/>
                        </a:moveTo>
                        <a:lnTo>
                          <a:pt x="1100" y="1460"/>
                        </a:lnTo>
                        <a:lnTo>
                          <a:pt x="1117" y="1448"/>
                        </a:lnTo>
                        <a:lnTo>
                          <a:pt x="1117" y="1448"/>
                        </a:lnTo>
                        <a:lnTo>
                          <a:pt x="1117" y="1448"/>
                        </a:lnTo>
                        <a:close/>
                        <a:moveTo>
                          <a:pt x="1126" y="1448"/>
                        </a:moveTo>
                        <a:lnTo>
                          <a:pt x="1133" y="1460"/>
                        </a:lnTo>
                        <a:lnTo>
                          <a:pt x="1117" y="1460"/>
                        </a:lnTo>
                        <a:lnTo>
                          <a:pt x="1126" y="1448"/>
                        </a:lnTo>
                        <a:lnTo>
                          <a:pt x="1126" y="1448"/>
                        </a:lnTo>
                        <a:lnTo>
                          <a:pt x="1126" y="1448"/>
                        </a:lnTo>
                        <a:close/>
                        <a:moveTo>
                          <a:pt x="1100" y="1465"/>
                        </a:moveTo>
                        <a:lnTo>
                          <a:pt x="1164" y="1465"/>
                        </a:lnTo>
                        <a:lnTo>
                          <a:pt x="1084" y="1465"/>
                        </a:lnTo>
                        <a:lnTo>
                          <a:pt x="1100" y="1465"/>
                        </a:lnTo>
                        <a:lnTo>
                          <a:pt x="1100" y="1465"/>
                        </a:lnTo>
                        <a:lnTo>
                          <a:pt x="1100" y="1465"/>
                        </a:lnTo>
                        <a:close/>
                        <a:moveTo>
                          <a:pt x="3649" y="1472"/>
                        </a:moveTo>
                        <a:lnTo>
                          <a:pt x="3682" y="1481"/>
                        </a:lnTo>
                        <a:lnTo>
                          <a:pt x="3687" y="1498"/>
                        </a:lnTo>
                        <a:lnTo>
                          <a:pt x="3708" y="1514"/>
                        </a:lnTo>
                        <a:lnTo>
                          <a:pt x="3633" y="1526"/>
                        </a:lnTo>
                        <a:lnTo>
                          <a:pt x="3578" y="1505"/>
                        </a:lnTo>
                        <a:lnTo>
                          <a:pt x="3611" y="1481"/>
                        </a:lnTo>
                        <a:lnTo>
                          <a:pt x="3649" y="1472"/>
                        </a:lnTo>
                        <a:lnTo>
                          <a:pt x="3649" y="1472"/>
                        </a:lnTo>
                        <a:lnTo>
                          <a:pt x="3649" y="1472"/>
                        </a:lnTo>
                        <a:close/>
                        <a:moveTo>
                          <a:pt x="3708" y="1543"/>
                        </a:moveTo>
                        <a:lnTo>
                          <a:pt x="3720" y="1555"/>
                        </a:lnTo>
                        <a:lnTo>
                          <a:pt x="3704" y="1555"/>
                        </a:lnTo>
                        <a:lnTo>
                          <a:pt x="3708" y="1543"/>
                        </a:lnTo>
                        <a:lnTo>
                          <a:pt x="3708" y="1543"/>
                        </a:lnTo>
                        <a:lnTo>
                          <a:pt x="3708" y="1543"/>
                        </a:lnTo>
                        <a:close/>
                        <a:moveTo>
                          <a:pt x="1171" y="1571"/>
                        </a:moveTo>
                        <a:lnTo>
                          <a:pt x="1138" y="1555"/>
                        </a:lnTo>
                        <a:lnTo>
                          <a:pt x="1193" y="1559"/>
                        </a:lnTo>
                        <a:lnTo>
                          <a:pt x="1171" y="1571"/>
                        </a:lnTo>
                        <a:lnTo>
                          <a:pt x="1171" y="1571"/>
                        </a:lnTo>
                        <a:lnTo>
                          <a:pt x="1171" y="1571"/>
                        </a:lnTo>
                        <a:close/>
                        <a:moveTo>
                          <a:pt x="1155" y="1583"/>
                        </a:moveTo>
                        <a:lnTo>
                          <a:pt x="1171" y="1583"/>
                        </a:lnTo>
                        <a:lnTo>
                          <a:pt x="1126" y="1583"/>
                        </a:lnTo>
                        <a:lnTo>
                          <a:pt x="1155" y="1583"/>
                        </a:lnTo>
                        <a:lnTo>
                          <a:pt x="1155" y="1583"/>
                        </a:lnTo>
                        <a:lnTo>
                          <a:pt x="1155" y="1583"/>
                        </a:lnTo>
                        <a:close/>
                        <a:moveTo>
                          <a:pt x="1164" y="1600"/>
                        </a:moveTo>
                        <a:lnTo>
                          <a:pt x="1155" y="1600"/>
                        </a:lnTo>
                        <a:lnTo>
                          <a:pt x="1171" y="1583"/>
                        </a:lnTo>
                        <a:lnTo>
                          <a:pt x="1181" y="1592"/>
                        </a:lnTo>
                        <a:lnTo>
                          <a:pt x="1164" y="1600"/>
                        </a:lnTo>
                        <a:lnTo>
                          <a:pt x="1164" y="1600"/>
                        </a:lnTo>
                        <a:lnTo>
                          <a:pt x="1164" y="1600"/>
                        </a:lnTo>
                        <a:close/>
                        <a:moveTo>
                          <a:pt x="1193" y="1600"/>
                        </a:moveTo>
                        <a:lnTo>
                          <a:pt x="1235" y="1616"/>
                        </a:lnTo>
                        <a:lnTo>
                          <a:pt x="1209" y="1626"/>
                        </a:lnTo>
                        <a:lnTo>
                          <a:pt x="1219" y="1609"/>
                        </a:lnTo>
                        <a:lnTo>
                          <a:pt x="1188" y="1600"/>
                        </a:lnTo>
                        <a:lnTo>
                          <a:pt x="1193" y="1600"/>
                        </a:lnTo>
                        <a:lnTo>
                          <a:pt x="1193" y="1600"/>
                        </a:lnTo>
                        <a:lnTo>
                          <a:pt x="1193" y="1600"/>
                        </a:lnTo>
                        <a:close/>
                        <a:moveTo>
                          <a:pt x="1193" y="1609"/>
                        </a:moveTo>
                        <a:lnTo>
                          <a:pt x="1209" y="1616"/>
                        </a:lnTo>
                        <a:lnTo>
                          <a:pt x="1188" y="1616"/>
                        </a:lnTo>
                        <a:lnTo>
                          <a:pt x="1193" y="1609"/>
                        </a:lnTo>
                        <a:lnTo>
                          <a:pt x="1193" y="1609"/>
                        </a:lnTo>
                        <a:lnTo>
                          <a:pt x="1193" y="1609"/>
                        </a:lnTo>
                        <a:close/>
                        <a:moveTo>
                          <a:pt x="3406" y="1616"/>
                        </a:moveTo>
                        <a:lnTo>
                          <a:pt x="3493" y="1649"/>
                        </a:lnTo>
                        <a:lnTo>
                          <a:pt x="3368" y="1633"/>
                        </a:lnTo>
                        <a:lnTo>
                          <a:pt x="3507" y="1654"/>
                        </a:lnTo>
                        <a:lnTo>
                          <a:pt x="3406" y="1670"/>
                        </a:lnTo>
                        <a:lnTo>
                          <a:pt x="3314" y="1649"/>
                        </a:lnTo>
                        <a:lnTo>
                          <a:pt x="3352" y="1626"/>
                        </a:lnTo>
                        <a:lnTo>
                          <a:pt x="3406" y="1616"/>
                        </a:lnTo>
                        <a:lnTo>
                          <a:pt x="3406" y="1616"/>
                        </a:lnTo>
                        <a:lnTo>
                          <a:pt x="3406" y="1616"/>
                        </a:lnTo>
                        <a:close/>
                        <a:moveTo>
                          <a:pt x="1193" y="1626"/>
                        </a:moveTo>
                        <a:lnTo>
                          <a:pt x="1202" y="1626"/>
                        </a:lnTo>
                        <a:lnTo>
                          <a:pt x="1188" y="1633"/>
                        </a:lnTo>
                        <a:lnTo>
                          <a:pt x="1193" y="1626"/>
                        </a:lnTo>
                        <a:lnTo>
                          <a:pt x="1193" y="1626"/>
                        </a:lnTo>
                        <a:lnTo>
                          <a:pt x="1193" y="1626"/>
                        </a:lnTo>
                        <a:close/>
                        <a:moveTo>
                          <a:pt x="1209" y="1626"/>
                        </a:moveTo>
                        <a:lnTo>
                          <a:pt x="1219" y="1633"/>
                        </a:lnTo>
                        <a:lnTo>
                          <a:pt x="1202" y="1633"/>
                        </a:lnTo>
                        <a:lnTo>
                          <a:pt x="1209" y="1626"/>
                        </a:lnTo>
                        <a:lnTo>
                          <a:pt x="1209" y="1626"/>
                        </a:lnTo>
                        <a:lnTo>
                          <a:pt x="1209" y="1626"/>
                        </a:lnTo>
                        <a:close/>
                        <a:moveTo>
                          <a:pt x="1202" y="1637"/>
                        </a:moveTo>
                        <a:lnTo>
                          <a:pt x="1188" y="1666"/>
                        </a:lnTo>
                        <a:lnTo>
                          <a:pt x="1193" y="1649"/>
                        </a:lnTo>
                        <a:lnTo>
                          <a:pt x="1202" y="1637"/>
                        </a:lnTo>
                        <a:lnTo>
                          <a:pt x="1202" y="1637"/>
                        </a:lnTo>
                        <a:lnTo>
                          <a:pt x="1202" y="1637"/>
                        </a:lnTo>
                        <a:close/>
                        <a:moveTo>
                          <a:pt x="1181" y="1649"/>
                        </a:moveTo>
                        <a:lnTo>
                          <a:pt x="1181" y="1654"/>
                        </a:lnTo>
                        <a:lnTo>
                          <a:pt x="1171" y="1654"/>
                        </a:lnTo>
                        <a:lnTo>
                          <a:pt x="1181" y="1649"/>
                        </a:lnTo>
                        <a:lnTo>
                          <a:pt x="1181" y="1649"/>
                        </a:lnTo>
                        <a:lnTo>
                          <a:pt x="1181" y="1649"/>
                        </a:lnTo>
                        <a:close/>
                        <a:moveTo>
                          <a:pt x="3583" y="1720"/>
                        </a:moveTo>
                        <a:lnTo>
                          <a:pt x="3541" y="1720"/>
                        </a:lnTo>
                        <a:lnTo>
                          <a:pt x="3503" y="1694"/>
                        </a:lnTo>
                        <a:lnTo>
                          <a:pt x="3401" y="1687"/>
                        </a:lnTo>
                        <a:lnTo>
                          <a:pt x="3394" y="1682"/>
                        </a:lnTo>
                        <a:lnTo>
                          <a:pt x="3493" y="1670"/>
                        </a:lnTo>
                        <a:lnTo>
                          <a:pt x="3545" y="1682"/>
                        </a:lnTo>
                        <a:lnTo>
                          <a:pt x="3583" y="1687"/>
                        </a:lnTo>
                        <a:lnTo>
                          <a:pt x="3562" y="1703"/>
                        </a:lnTo>
                        <a:lnTo>
                          <a:pt x="3578" y="1711"/>
                        </a:lnTo>
                        <a:lnTo>
                          <a:pt x="3583" y="1720"/>
                        </a:lnTo>
                        <a:lnTo>
                          <a:pt x="3583" y="1720"/>
                        </a:lnTo>
                        <a:lnTo>
                          <a:pt x="3583" y="1720"/>
                        </a:lnTo>
                        <a:close/>
                        <a:moveTo>
                          <a:pt x="1209" y="1670"/>
                        </a:moveTo>
                        <a:lnTo>
                          <a:pt x="1219" y="1670"/>
                        </a:lnTo>
                        <a:lnTo>
                          <a:pt x="1202" y="1670"/>
                        </a:lnTo>
                        <a:lnTo>
                          <a:pt x="1209" y="1670"/>
                        </a:lnTo>
                        <a:lnTo>
                          <a:pt x="1209" y="1670"/>
                        </a:lnTo>
                        <a:lnTo>
                          <a:pt x="1209" y="1670"/>
                        </a:lnTo>
                        <a:close/>
                        <a:moveTo>
                          <a:pt x="1240" y="1687"/>
                        </a:moveTo>
                        <a:lnTo>
                          <a:pt x="1219" y="1682"/>
                        </a:lnTo>
                        <a:lnTo>
                          <a:pt x="1226" y="1670"/>
                        </a:lnTo>
                        <a:lnTo>
                          <a:pt x="1256" y="1682"/>
                        </a:lnTo>
                        <a:lnTo>
                          <a:pt x="1240" y="1687"/>
                        </a:lnTo>
                        <a:lnTo>
                          <a:pt x="1240" y="1687"/>
                        </a:lnTo>
                        <a:lnTo>
                          <a:pt x="1240" y="1687"/>
                        </a:lnTo>
                        <a:close/>
                        <a:moveTo>
                          <a:pt x="3385" y="1687"/>
                        </a:moveTo>
                        <a:lnTo>
                          <a:pt x="3380" y="1711"/>
                        </a:lnTo>
                        <a:lnTo>
                          <a:pt x="3352" y="1703"/>
                        </a:lnTo>
                        <a:lnTo>
                          <a:pt x="3385" y="1687"/>
                        </a:lnTo>
                        <a:lnTo>
                          <a:pt x="3385" y="1687"/>
                        </a:lnTo>
                        <a:lnTo>
                          <a:pt x="3385" y="1687"/>
                        </a:lnTo>
                        <a:close/>
                        <a:moveTo>
                          <a:pt x="1226" y="1694"/>
                        </a:moveTo>
                        <a:lnTo>
                          <a:pt x="1240" y="1694"/>
                        </a:lnTo>
                        <a:lnTo>
                          <a:pt x="1226" y="1703"/>
                        </a:lnTo>
                        <a:lnTo>
                          <a:pt x="1226" y="1694"/>
                        </a:lnTo>
                        <a:lnTo>
                          <a:pt x="1226" y="1694"/>
                        </a:lnTo>
                        <a:lnTo>
                          <a:pt x="1226" y="1694"/>
                        </a:lnTo>
                        <a:close/>
                        <a:moveTo>
                          <a:pt x="3557" y="1798"/>
                        </a:moveTo>
                        <a:lnTo>
                          <a:pt x="3439" y="1748"/>
                        </a:lnTo>
                        <a:lnTo>
                          <a:pt x="3406" y="1737"/>
                        </a:lnTo>
                        <a:lnTo>
                          <a:pt x="3401" y="1703"/>
                        </a:lnTo>
                        <a:lnTo>
                          <a:pt x="3503" y="1694"/>
                        </a:lnTo>
                        <a:lnTo>
                          <a:pt x="3531" y="1727"/>
                        </a:lnTo>
                        <a:lnTo>
                          <a:pt x="3583" y="1748"/>
                        </a:lnTo>
                        <a:lnTo>
                          <a:pt x="3578" y="1760"/>
                        </a:lnTo>
                        <a:lnTo>
                          <a:pt x="3524" y="1748"/>
                        </a:lnTo>
                        <a:lnTo>
                          <a:pt x="3574" y="1777"/>
                        </a:lnTo>
                        <a:lnTo>
                          <a:pt x="3574" y="1793"/>
                        </a:lnTo>
                        <a:lnTo>
                          <a:pt x="3557" y="1798"/>
                        </a:lnTo>
                        <a:lnTo>
                          <a:pt x="3557" y="1798"/>
                        </a:lnTo>
                        <a:lnTo>
                          <a:pt x="3557" y="1798"/>
                        </a:lnTo>
                        <a:close/>
                        <a:moveTo>
                          <a:pt x="1247" y="1694"/>
                        </a:moveTo>
                        <a:lnTo>
                          <a:pt x="1263" y="1703"/>
                        </a:lnTo>
                        <a:lnTo>
                          <a:pt x="1226" y="1737"/>
                        </a:lnTo>
                        <a:lnTo>
                          <a:pt x="1235" y="1727"/>
                        </a:lnTo>
                        <a:lnTo>
                          <a:pt x="1202" y="1727"/>
                        </a:lnTo>
                        <a:lnTo>
                          <a:pt x="1219" y="1711"/>
                        </a:lnTo>
                        <a:lnTo>
                          <a:pt x="1247" y="1694"/>
                        </a:lnTo>
                        <a:lnTo>
                          <a:pt x="1247" y="1694"/>
                        </a:lnTo>
                        <a:lnTo>
                          <a:pt x="1247" y="1694"/>
                        </a:lnTo>
                        <a:close/>
                        <a:moveTo>
                          <a:pt x="1202" y="1703"/>
                        </a:moveTo>
                        <a:lnTo>
                          <a:pt x="1209" y="1703"/>
                        </a:lnTo>
                        <a:lnTo>
                          <a:pt x="1193" y="1703"/>
                        </a:lnTo>
                        <a:lnTo>
                          <a:pt x="1202" y="1703"/>
                        </a:lnTo>
                        <a:lnTo>
                          <a:pt x="1202" y="1703"/>
                        </a:lnTo>
                        <a:lnTo>
                          <a:pt x="1202" y="1703"/>
                        </a:lnTo>
                        <a:close/>
                        <a:moveTo>
                          <a:pt x="1219" y="1711"/>
                        </a:moveTo>
                        <a:lnTo>
                          <a:pt x="1193" y="1727"/>
                        </a:lnTo>
                        <a:lnTo>
                          <a:pt x="1181" y="1720"/>
                        </a:lnTo>
                        <a:lnTo>
                          <a:pt x="1219" y="1711"/>
                        </a:lnTo>
                        <a:lnTo>
                          <a:pt x="1219" y="1711"/>
                        </a:lnTo>
                        <a:lnTo>
                          <a:pt x="1219" y="1711"/>
                        </a:lnTo>
                        <a:close/>
                        <a:moveTo>
                          <a:pt x="1263" y="1711"/>
                        </a:moveTo>
                        <a:lnTo>
                          <a:pt x="1278" y="1720"/>
                        </a:lnTo>
                        <a:lnTo>
                          <a:pt x="1256" y="1720"/>
                        </a:lnTo>
                        <a:lnTo>
                          <a:pt x="1263" y="1711"/>
                        </a:lnTo>
                        <a:lnTo>
                          <a:pt x="1263" y="1711"/>
                        </a:lnTo>
                        <a:lnTo>
                          <a:pt x="1263" y="1711"/>
                        </a:lnTo>
                        <a:close/>
                        <a:moveTo>
                          <a:pt x="1263" y="1720"/>
                        </a:moveTo>
                        <a:lnTo>
                          <a:pt x="1263" y="1727"/>
                        </a:lnTo>
                        <a:lnTo>
                          <a:pt x="1247" y="1737"/>
                        </a:lnTo>
                        <a:lnTo>
                          <a:pt x="1247" y="1720"/>
                        </a:lnTo>
                        <a:lnTo>
                          <a:pt x="1263" y="1720"/>
                        </a:lnTo>
                        <a:lnTo>
                          <a:pt x="1263" y="1720"/>
                        </a:lnTo>
                        <a:lnTo>
                          <a:pt x="1263" y="1720"/>
                        </a:lnTo>
                        <a:close/>
                        <a:moveTo>
                          <a:pt x="1202" y="1737"/>
                        </a:moveTo>
                        <a:lnTo>
                          <a:pt x="1193" y="1737"/>
                        </a:lnTo>
                        <a:lnTo>
                          <a:pt x="1219" y="1737"/>
                        </a:lnTo>
                        <a:lnTo>
                          <a:pt x="1202" y="1737"/>
                        </a:lnTo>
                        <a:lnTo>
                          <a:pt x="1202" y="1737"/>
                        </a:lnTo>
                        <a:lnTo>
                          <a:pt x="1202" y="1737"/>
                        </a:lnTo>
                        <a:close/>
                        <a:moveTo>
                          <a:pt x="1263" y="1760"/>
                        </a:moveTo>
                        <a:lnTo>
                          <a:pt x="1263" y="1777"/>
                        </a:lnTo>
                        <a:lnTo>
                          <a:pt x="1240" y="1793"/>
                        </a:lnTo>
                        <a:lnTo>
                          <a:pt x="1219" y="1793"/>
                        </a:lnTo>
                        <a:lnTo>
                          <a:pt x="1263" y="1760"/>
                        </a:lnTo>
                        <a:lnTo>
                          <a:pt x="1263" y="1760"/>
                        </a:lnTo>
                        <a:lnTo>
                          <a:pt x="1263" y="1760"/>
                        </a:lnTo>
                        <a:close/>
                        <a:moveTo>
                          <a:pt x="1226" y="1822"/>
                        </a:moveTo>
                        <a:lnTo>
                          <a:pt x="1235" y="1831"/>
                        </a:lnTo>
                        <a:lnTo>
                          <a:pt x="1226" y="1838"/>
                        </a:lnTo>
                        <a:lnTo>
                          <a:pt x="1209" y="1831"/>
                        </a:lnTo>
                        <a:lnTo>
                          <a:pt x="1226" y="1822"/>
                        </a:lnTo>
                        <a:lnTo>
                          <a:pt x="1226" y="1822"/>
                        </a:lnTo>
                        <a:lnTo>
                          <a:pt x="1226" y="1822"/>
                        </a:lnTo>
                        <a:close/>
                        <a:moveTo>
                          <a:pt x="1386" y="1876"/>
                        </a:moveTo>
                        <a:lnTo>
                          <a:pt x="1370" y="1871"/>
                        </a:lnTo>
                        <a:lnTo>
                          <a:pt x="1370" y="1864"/>
                        </a:lnTo>
                        <a:lnTo>
                          <a:pt x="1419" y="1864"/>
                        </a:lnTo>
                        <a:lnTo>
                          <a:pt x="1386" y="1876"/>
                        </a:lnTo>
                        <a:lnTo>
                          <a:pt x="1386" y="1876"/>
                        </a:lnTo>
                        <a:lnTo>
                          <a:pt x="1386" y="1876"/>
                        </a:lnTo>
                        <a:close/>
                        <a:moveTo>
                          <a:pt x="1398" y="1904"/>
                        </a:moveTo>
                        <a:lnTo>
                          <a:pt x="1441" y="1904"/>
                        </a:lnTo>
                        <a:lnTo>
                          <a:pt x="1452" y="1909"/>
                        </a:lnTo>
                        <a:lnTo>
                          <a:pt x="1408" y="1926"/>
                        </a:lnTo>
                        <a:lnTo>
                          <a:pt x="1398" y="1921"/>
                        </a:lnTo>
                        <a:lnTo>
                          <a:pt x="1398" y="1904"/>
                        </a:lnTo>
                        <a:lnTo>
                          <a:pt x="1398" y="1904"/>
                        </a:lnTo>
                        <a:lnTo>
                          <a:pt x="1398" y="1904"/>
                        </a:lnTo>
                        <a:close/>
                        <a:moveTo>
                          <a:pt x="1365" y="1909"/>
                        </a:moveTo>
                        <a:lnTo>
                          <a:pt x="1382" y="1926"/>
                        </a:lnTo>
                        <a:lnTo>
                          <a:pt x="1370" y="1942"/>
                        </a:lnTo>
                        <a:lnTo>
                          <a:pt x="1353" y="1942"/>
                        </a:lnTo>
                        <a:lnTo>
                          <a:pt x="1332" y="1933"/>
                        </a:lnTo>
                        <a:lnTo>
                          <a:pt x="1365" y="1909"/>
                        </a:lnTo>
                        <a:lnTo>
                          <a:pt x="1365" y="1909"/>
                        </a:lnTo>
                        <a:lnTo>
                          <a:pt x="1365" y="1909"/>
                        </a:lnTo>
                        <a:close/>
                        <a:moveTo>
                          <a:pt x="3347" y="1921"/>
                        </a:moveTo>
                        <a:lnTo>
                          <a:pt x="3347" y="1926"/>
                        </a:lnTo>
                        <a:lnTo>
                          <a:pt x="3330" y="1926"/>
                        </a:lnTo>
                        <a:lnTo>
                          <a:pt x="3347" y="1921"/>
                        </a:lnTo>
                        <a:lnTo>
                          <a:pt x="3347" y="1921"/>
                        </a:lnTo>
                        <a:lnTo>
                          <a:pt x="3347" y="1921"/>
                        </a:lnTo>
                        <a:close/>
                        <a:moveTo>
                          <a:pt x="3342" y="1933"/>
                        </a:moveTo>
                        <a:lnTo>
                          <a:pt x="3347" y="1942"/>
                        </a:lnTo>
                        <a:lnTo>
                          <a:pt x="3326" y="1933"/>
                        </a:lnTo>
                        <a:lnTo>
                          <a:pt x="3342" y="1933"/>
                        </a:lnTo>
                        <a:lnTo>
                          <a:pt x="3342" y="1933"/>
                        </a:lnTo>
                        <a:lnTo>
                          <a:pt x="3342" y="1933"/>
                        </a:lnTo>
                        <a:close/>
                        <a:moveTo>
                          <a:pt x="3288" y="2003"/>
                        </a:moveTo>
                        <a:lnTo>
                          <a:pt x="3146" y="2020"/>
                        </a:lnTo>
                        <a:lnTo>
                          <a:pt x="3153" y="1999"/>
                        </a:lnTo>
                        <a:lnTo>
                          <a:pt x="3179" y="1987"/>
                        </a:lnTo>
                        <a:lnTo>
                          <a:pt x="3217" y="1966"/>
                        </a:lnTo>
                        <a:lnTo>
                          <a:pt x="3276" y="1959"/>
                        </a:lnTo>
                        <a:lnTo>
                          <a:pt x="3314" y="1933"/>
                        </a:lnTo>
                        <a:lnTo>
                          <a:pt x="3314" y="1949"/>
                        </a:lnTo>
                        <a:lnTo>
                          <a:pt x="3342" y="1959"/>
                        </a:lnTo>
                        <a:lnTo>
                          <a:pt x="3347" y="1987"/>
                        </a:lnTo>
                        <a:lnTo>
                          <a:pt x="3288" y="2003"/>
                        </a:lnTo>
                        <a:lnTo>
                          <a:pt x="3288" y="2003"/>
                        </a:lnTo>
                        <a:lnTo>
                          <a:pt x="3288" y="2003"/>
                        </a:lnTo>
                        <a:close/>
                        <a:moveTo>
                          <a:pt x="1478" y="1949"/>
                        </a:moveTo>
                        <a:lnTo>
                          <a:pt x="1504" y="1966"/>
                        </a:lnTo>
                        <a:lnTo>
                          <a:pt x="1462" y="1959"/>
                        </a:lnTo>
                        <a:lnTo>
                          <a:pt x="1478" y="1949"/>
                        </a:lnTo>
                        <a:lnTo>
                          <a:pt x="1478" y="1949"/>
                        </a:lnTo>
                        <a:lnTo>
                          <a:pt x="1478" y="1949"/>
                        </a:lnTo>
                        <a:close/>
                        <a:moveTo>
                          <a:pt x="3205" y="1966"/>
                        </a:moveTo>
                        <a:lnTo>
                          <a:pt x="3179" y="1982"/>
                        </a:lnTo>
                        <a:lnTo>
                          <a:pt x="3179" y="1966"/>
                        </a:lnTo>
                        <a:lnTo>
                          <a:pt x="3205" y="1966"/>
                        </a:lnTo>
                        <a:lnTo>
                          <a:pt x="3205" y="1966"/>
                        </a:lnTo>
                        <a:lnTo>
                          <a:pt x="3205" y="1966"/>
                        </a:lnTo>
                        <a:close/>
                        <a:moveTo>
                          <a:pt x="1263" y="2015"/>
                        </a:moveTo>
                        <a:lnTo>
                          <a:pt x="1289" y="2032"/>
                        </a:lnTo>
                        <a:lnTo>
                          <a:pt x="1273" y="2032"/>
                        </a:lnTo>
                        <a:lnTo>
                          <a:pt x="1263" y="2020"/>
                        </a:lnTo>
                        <a:lnTo>
                          <a:pt x="1263" y="2015"/>
                        </a:lnTo>
                        <a:lnTo>
                          <a:pt x="1263" y="2015"/>
                        </a:lnTo>
                        <a:lnTo>
                          <a:pt x="1263" y="2015"/>
                        </a:lnTo>
                        <a:close/>
                        <a:moveTo>
                          <a:pt x="1315" y="2155"/>
                        </a:moveTo>
                        <a:lnTo>
                          <a:pt x="1382" y="2148"/>
                        </a:lnTo>
                        <a:lnTo>
                          <a:pt x="1365" y="2148"/>
                        </a:lnTo>
                        <a:lnTo>
                          <a:pt x="1382" y="2131"/>
                        </a:lnTo>
                        <a:lnTo>
                          <a:pt x="1348" y="2148"/>
                        </a:lnTo>
                        <a:lnTo>
                          <a:pt x="1344" y="2148"/>
                        </a:lnTo>
                        <a:lnTo>
                          <a:pt x="1353" y="2143"/>
                        </a:lnTo>
                        <a:lnTo>
                          <a:pt x="1332" y="2143"/>
                        </a:lnTo>
                        <a:lnTo>
                          <a:pt x="1344" y="2131"/>
                        </a:lnTo>
                        <a:lnTo>
                          <a:pt x="1344" y="2126"/>
                        </a:lnTo>
                        <a:lnTo>
                          <a:pt x="1327" y="2131"/>
                        </a:lnTo>
                        <a:lnTo>
                          <a:pt x="1278" y="2126"/>
                        </a:lnTo>
                        <a:lnTo>
                          <a:pt x="1263" y="2114"/>
                        </a:lnTo>
                        <a:lnTo>
                          <a:pt x="1289" y="2110"/>
                        </a:lnTo>
                        <a:lnTo>
                          <a:pt x="1311" y="2114"/>
                        </a:lnTo>
                        <a:lnTo>
                          <a:pt x="1273" y="2098"/>
                        </a:lnTo>
                        <a:lnTo>
                          <a:pt x="1273" y="2086"/>
                        </a:lnTo>
                        <a:lnTo>
                          <a:pt x="1315" y="2086"/>
                        </a:lnTo>
                        <a:lnTo>
                          <a:pt x="1278" y="2070"/>
                        </a:lnTo>
                        <a:lnTo>
                          <a:pt x="1278" y="2053"/>
                        </a:lnTo>
                        <a:lnTo>
                          <a:pt x="1311" y="2037"/>
                        </a:lnTo>
                        <a:lnTo>
                          <a:pt x="1370" y="2044"/>
                        </a:lnTo>
                        <a:lnTo>
                          <a:pt x="1424" y="2086"/>
                        </a:lnTo>
                        <a:lnTo>
                          <a:pt x="1478" y="2098"/>
                        </a:lnTo>
                        <a:lnTo>
                          <a:pt x="1478" y="2110"/>
                        </a:lnTo>
                        <a:lnTo>
                          <a:pt x="1474" y="2114"/>
                        </a:lnTo>
                        <a:lnTo>
                          <a:pt x="1490" y="2126"/>
                        </a:lnTo>
                        <a:lnTo>
                          <a:pt x="1457" y="2148"/>
                        </a:lnTo>
                        <a:lnTo>
                          <a:pt x="1365" y="2171"/>
                        </a:lnTo>
                        <a:lnTo>
                          <a:pt x="1315" y="2155"/>
                        </a:lnTo>
                        <a:lnTo>
                          <a:pt x="1315" y="2155"/>
                        </a:lnTo>
                        <a:lnTo>
                          <a:pt x="1315" y="2155"/>
                        </a:lnTo>
                        <a:close/>
                        <a:moveTo>
                          <a:pt x="1542" y="2086"/>
                        </a:moveTo>
                        <a:lnTo>
                          <a:pt x="1570" y="2098"/>
                        </a:lnTo>
                        <a:lnTo>
                          <a:pt x="1549" y="2114"/>
                        </a:lnTo>
                        <a:lnTo>
                          <a:pt x="1549" y="2131"/>
                        </a:lnTo>
                        <a:lnTo>
                          <a:pt x="1528" y="2143"/>
                        </a:lnTo>
                        <a:lnTo>
                          <a:pt x="1516" y="2114"/>
                        </a:lnTo>
                        <a:lnTo>
                          <a:pt x="1542" y="2093"/>
                        </a:lnTo>
                        <a:lnTo>
                          <a:pt x="1516" y="2093"/>
                        </a:lnTo>
                        <a:lnTo>
                          <a:pt x="1542" y="2086"/>
                        </a:lnTo>
                        <a:lnTo>
                          <a:pt x="1542" y="2086"/>
                        </a:lnTo>
                        <a:lnTo>
                          <a:pt x="1542" y="2086"/>
                        </a:lnTo>
                        <a:close/>
                        <a:moveTo>
                          <a:pt x="3493" y="2110"/>
                        </a:moveTo>
                        <a:lnTo>
                          <a:pt x="3493" y="2114"/>
                        </a:lnTo>
                        <a:lnTo>
                          <a:pt x="3486" y="2126"/>
                        </a:lnTo>
                        <a:lnTo>
                          <a:pt x="3470" y="2114"/>
                        </a:lnTo>
                        <a:lnTo>
                          <a:pt x="3493" y="2110"/>
                        </a:lnTo>
                        <a:lnTo>
                          <a:pt x="3493" y="2110"/>
                        </a:lnTo>
                        <a:lnTo>
                          <a:pt x="3493" y="2110"/>
                        </a:lnTo>
                        <a:close/>
                        <a:moveTo>
                          <a:pt x="1462" y="2242"/>
                        </a:moveTo>
                        <a:lnTo>
                          <a:pt x="1398" y="2259"/>
                        </a:lnTo>
                        <a:lnTo>
                          <a:pt x="1436" y="2242"/>
                        </a:lnTo>
                        <a:lnTo>
                          <a:pt x="1462" y="2242"/>
                        </a:lnTo>
                        <a:lnTo>
                          <a:pt x="1462" y="2242"/>
                        </a:lnTo>
                        <a:lnTo>
                          <a:pt x="1462" y="2242"/>
                        </a:lnTo>
                        <a:close/>
                        <a:moveTo>
                          <a:pt x="1533" y="2242"/>
                        </a:moveTo>
                        <a:lnTo>
                          <a:pt x="1542" y="2254"/>
                        </a:lnTo>
                        <a:lnTo>
                          <a:pt x="1528" y="2254"/>
                        </a:lnTo>
                        <a:lnTo>
                          <a:pt x="1533" y="2242"/>
                        </a:lnTo>
                        <a:lnTo>
                          <a:pt x="1533" y="2242"/>
                        </a:lnTo>
                        <a:lnTo>
                          <a:pt x="1533" y="2242"/>
                        </a:lnTo>
                        <a:close/>
                        <a:moveTo>
                          <a:pt x="1436" y="2259"/>
                        </a:moveTo>
                        <a:lnTo>
                          <a:pt x="1441" y="2259"/>
                        </a:lnTo>
                        <a:lnTo>
                          <a:pt x="1424" y="2259"/>
                        </a:lnTo>
                        <a:lnTo>
                          <a:pt x="1436" y="2259"/>
                        </a:lnTo>
                        <a:lnTo>
                          <a:pt x="1436" y="2259"/>
                        </a:lnTo>
                        <a:lnTo>
                          <a:pt x="1436" y="2259"/>
                        </a:lnTo>
                        <a:close/>
                        <a:moveTo>
                          <a:pt x="1419" y="2259"/>
                        </a:moveTo>
                        <a:lnTo>
                          <a:pt x="1419" y="2266"/>
                        </a:lnTo>
                        <a:lnTo>
                          <a:pt x="1408" y="2259"/>
                        </a:lnTo>
                        <a:lnTo>
                          <a:pt x="1419" y="2259"/>
                        </a:lnTo>
                        <a:lnTo>
                          <a:pt x="1419" y="2259"/>
                        </a:lnTo>
                        <a:lnTo>
                          <a:pt x="1419" y="2259"/>
                        </a:lnTo>
                        <a:close/>
                        <a:moveTo>
                          <a:pt x="1403" y="2266"/>
                        </a:moveTo>
                        <a:lnTo>
                          <a:pt x="1408" y="2275"/>
                        </a:lnTo>
                        <a:lnTo>
                          <a:pt x="1386" y="2282"/>
                        </a:lnTo>
                        <a:lnTo>
                          <a:pt x="1403" y="2266"/>
                        </a:lnTo>
                        <a:lnTo>
                          <a:pt x="1403" y="2266"/>
                        </a:lnTo>
                        <a:lnTo>
                          <a:pt x="1403" y="2266"/>
                        </a:lnTo>
                        <a:close/>
                        <a:moveTo>
                          <a:pt x="1457" y="2308"/>
                        </a:moveTo>
                        <a:lnTo>
                          <a:pt x="1511" y="2299"/>
                        </a:lnTo>
                        <a:lnTo>
                          <a:pt x="1474" y="2315"/>
                        </a:lnTo>
                        <a:lnTo>
                          <a:pt x="1457" y="2308"/>
                        </a:lnTo>
                        <a:lnTo>
                          <a:pt x="1457" y="2308"/>
                        </a:lnTo>
                        <a:lnTo>
                          <a:pt x="1457" y="2308"/>
                        </a:lnTo>
                        <a:close/>
                        <a:moveTo>
                          <a:pt x="3040" y="2299"/>
                        </a:moveTo>
                        <a:lnTo>
                          <a:pt x="3028" y="2315"/>
                        </a:lnTo>
                        <a:lnTo>
                          <a:pt x="3016" y="2308"/>
                        </a:lnTo>
                        <a:lnTo>
                          <a:pt x="3040" y="2299"/>
                        </a:lnTo>
                        <a:lnTo>
                          <a:pt x="3040" y="2299"/>
                        </a:lnTo>
                        <a:lnTo>
                          <a:pt x="3040" y="2299"/>
                        </a:lnTo>
                        <a:close/>
                        <a:moveTo>
                          <a:pt x="2893" y="2308"/>
                        </a:moveTo>
                        <a:lnTo>
                          <a:pt x="2898" y="2308"/>
                        </a:lnTo>
                        <a:lnTo>
                          <a:pt x="2877" y="2308"/>
                        </a:lnTo>
                        <a:lnTo>
                          <a:pt x="2893" y="2308"/>
                        </a:lnTo>
                        <a:lnTo>
                          <a:pt x="2893" y="2308"/>
                        </a:lnTo>
                        <a:lnTo>
                          <a:pt x="2893" y="2308"/>
                        </a:lnTo>
                        <a:close/>
                        <a:moveTo>
                          <a:pt x="1478" y="2315"/>
                        </a:moveTo>
                        <a:lnTo>
                          <a:pt x="1533" y="2315"/>
                        </a:lnTo>
                        <a:lnTo>
                          <a:pt x="1474" y="2320"/>
                        </a:lnTo>
                        <a:lnTo>
                          <a:pt x="1478" y="2315"/>
                        </a:lnTo>
                        <a:lnTo>
                          <a:pt x="1478" y="2315"/>
                        </a:lnTo>
                        <a:lnTo>
                          <a:pt x="1478" y="2315"/>
                        </a:lnTo>
                        <a:close/>
                        <a:moveTo>
                          <a:pt x="1370" y="2320"/>
                        </a:moveTo>
                        <a:lnTo>
                          <a:pt x="1386" y="2320"/>
                        </a:lnTo>
                        <a:lnTo>
                          <a:pt x="1382" y="2332"/>
                        </a:lnTo>
                        <a:lnTo>
                          <a:pt x="1370" y="2320"/>
                        </a:lnTo>
                        <a:lnTo>
                          <a:pt x="1370" y="2320"/>
                        </a:lnTo>
                        <a:lnTo>
                          <a:pt x="1370" y="2320"/>
                        </a:lnTo>
                        <a:close/>
                        <a:moveTo>
                          <a:pt x="1353" y="2370"/>
                        </a:moveTo>
                        <a:lnTo>
                          <a:pt x="1348" y="2353"/>
                        </a:lnTo>
                        <a:lnTo>
                          <a:pt x="1365" y="2365"/>
                        </a:lnTo>
                        <a:lnTo>
                          <a:pt x="1353" y="2370"/>
                        </a:lnTo>
                        <a:lnTo>
                          <a:pt x="1353" y="2370"/>
                        </a:lnTo>
                        <a:lnTo>
                          <a:pt x="1353" y="2370"/>
                        </a:lnTo>
                        <a:close/>
                        <a:moveTo>
                          <a:pt x="2789" y="2410"/>
                        </a:moveTo>
                        <a:lnTo>
                          <a:pt x="2789" y="2419"/>
                        </a:lnTo>
                        <a:lnTo>
                          <a:pt x="2785" y="2410"/>
                        </a:lnTo>
                        <a:lnTo>
                          <a:pt x="2789" y="2410"/>
                        </a:lnTo>
                        <a:lnTo>
                          <a:pt x="2789" y="2410"/>
                        </a:lnTo>
                        <a:lnTo>
                          <a:pt x="2789" y="2410"/>
                        </a:lnTo>
                        <a:close/>
                        <a:moveTo>
                          <a:pt x="1408" y="2464"/>
                        </a:moveTo>
                        <a:lnTo>
                          <a:pt x="1370" y="2476"/>
                        </a:lnTo>
                        <a:lnTo>
                          <a:pt x="1382" y="2464"/>
                        </a:lnTo>
                        <a:lnTo>
                          <a:pt x="1408" y="2464"/>
                        </a:lnTo>
                        <a:lnTo>
                          <a:pt x="1408" y="2464"/>
                        </a:lnTo>
                        <a:lnTo>
                          <a:pt x="1408" y="2464"/>
                        </a:lnTo>
                        <a:close/>
                        <a:moveTo>
                          <a:pt x="2747" y="2464"/>
                        </a:moveTo>
                        <a:lnTo>
                          <a:pt x="2747" y="2476"/>
                        </a:lnTo>
                        <a:lnTo>
                          <a:pt x="2737" y="2481"/>
                        </a:lnTo>
                        <a:lnTo>
                          <a:pt x="2747" y="2464"/>
                        </a:lnTo>
                        <a:lnTo>
                          <a:pt x="2747" y="2464"/>
                        </a:lnTo>
                        <a:lnTo>
                          <a:pt x="2747" y="2464"/>
                        </a:lnTo>
                        <a:close/>
                        <a:moveTo>
                          <a:pt x="2629" y="2554"/>
                        </a:moveTo>
                        <a:lnTo>
                          <a:pt x="2629" y="2542"/>
                        </a:lnTo>
                        <a:lnTo>
                          <a:pt x="2638" y="2542"/>
                        </a:lnTo>
                        <a:lnTo>
                          <a:pt x="2629" y="2554"/>
                        </a:lnTo>
                        <a:lnTo>
                          <a:pt x="2629" y="2554"/>
                        </a:lnTo>
                        <a:lnTo>
                          <a:pt x="2629" y="2554"/>
                        </a:lnTo>
                        <a:close/>
                        <a:moveTo>
                          <a:pt x="1353" y="2570"/>
                        </a:moveTo>
                        <a:lnTo>
                          <a:pt x="1353" y="2559"/>
                        </a:lnTo>
                        <a:lnTo>
                          <a:pt x="1370" y="2559"/>
                        </a:lnTo>
                        <a:lnTo>
                          <a:pt x="1353" y="2570"/>
                        </a:lnTo>
                        <a:lnTo>
                          <a:pt x="1353" y="2570"/>
                        </a:lnTo>
                        <a:lnTo>
                          <a:pt x="1353" y="2570"/>
                        </a:lnTo>
                        <a:close/>
                        <a:moveTo>
                          <a:pt x="2541" y="2599"/>
                        </a:moveTo>
                        <a:lnTo>
                          <a:pt x="2541" y="2587"/>
                        </a:lnTo>
                        <a:lnTo>
                          <a:pt x="2558" y="2575"/>
                        </a:lnTo>
                        <a:lnTo>
                          <a:pt x="2541" y="2599"/>
                        </a:lnTo>
                        <a:lnTo>
                          <a:pt x="2541" y="2599"/>
                        </a:lnTo>
                        <a:lnTo>
                          <a:pt x="2541" y="2599"/>
                        </a:lnTo>
                        <a:close/>
                        <a:moveTo>
                          <a:pt x="2570" y="2592"/>
                        </a:moveTo>
                        <a:lnTo>
                          <a:pt x="2574" y="2587"/>
                        </a:lnTo>
                        <a:lnTo>
                          <a:pt x="2586" y="2587"/>
                        </a:lnTo>
                        <a:lnTo>
                          <a:pt x="2570" y="2592"/>
                        </a:lnTo>
                        <a:lnTo>
                          <a:pt x="2570" y="2592"/>
                        </a:lnTo>
                        <a:lnTo>
                          <a:pt x="2570" y="2592"/>
                        </a:lnTo>
                        <a:close/>
                        <a:moveTo>
                          <a:pt x="2478" y="2625"/>
                        </a:moveTo>
                        <a:lnTo>
                          <a:pt x="2461" y="2625"/>
                        </a:lnTo>
                        <a:lnTo>
                          <a:pt x="2461" y="2599"/>
                        </a:lnTo>
                        <a:lnTo>
                          <a:pt x="2482" y="2587"/>
                        </a:lnTo>
                        <a:lnTo>
                          <a:pt x="2504" y="2599"/>
                        </a:lnTo>
                        <a:lnTo>
                          <a:pt x="2487" y="2592"/>
                        </a:lnTo>
                        <a:lnTo>
                          <a:pt x="2504" y="2608"/>
                        </a:lnTo>
                        <a:lnTo>
                          <a:pt x="2482" y="2625"/>
                        </a:lnTo>
                        <a:lnTo>
                          <a:pt x="2478" y="2615"/>
                        </a:lnTo>
                        <a:lnTo>
                          <a:pt x="2482" y="2625"/>
                        </a:lnTo>
                        <a:lnTo>
                          <a:pt x="2478" y="2625"/>
                        </a:lnTo>
                        <a:lnTo>
                          <a:pt x="2478" y="2625"/>
                        </a:lnTo>
                        <a:lnTo>
                          <a:pt x="2478" y="2625"/>
                        </a:lnTo>
                        <a:close/>
                        <a:moveTo>
                          <a:pt x="2537" y="2608"/>
                        </a:moveTo>
                        <a:lnTo>
                          <a:pt x="2532" y="2592"/>
                        </a:lnTo>
                        <a:lnTo>
                          <a:pt x="2541" y="2592"/>
                        </a:lnTo>
                        <a:lnTo>
                          <a:pt x="2537" y="2608"/>
                        </a:lnTo>
                        <a:lnTo>
                          <a:pt x="2537" y="2608"/>
                        </a:lnTo>
                        <a:lnTo>
                          <a:pt x="2537" y="2608"/>
                        </a:lnTo>
                        <a:close/>
                        <a:moveTo>
                          <a:pt x="2520" y="2625"/>
                        </a:moveTo>
                        <a:lnTo>
                          <a:pt x="2515" y="2608"/>
                        </a:lnTo>
                        <a:lnTo>
                          <a:pt x="2520" y="2608"/>
                        </a:lnTo>
                        <a:lnTo>
                          <a:pt x="2532" y="2615"/>
                        </a:lnTo>
                        <a:lnTo>
                          <a:pt x="2520" y="2625"/>
                        </a:lnTo>
                        <a:lnTo>
                          <a:pt x="2520" y="2625"/>
                        </a:lnTo>
                        <a:lnTo>
                          <a:pt x="2520" y="2625"/>
                        </a:lnTo>
                        <a:close/>
                        <a:moveTo>
                          <a:pt x="1386" y="2625"/>
                        </a:moveTo>
                        <a:lnTo>
                          <a:pt x="1419" y="2615"/>
                        </a:lnTo>
                        <a:lnTo>
                          <a:pt x="1403" y="2625"/>
                        </a:lnTo>
                        <a:lnTo>
                          <a:pt x="1386" y="2625"/>
                        </a:lnTo>
                        <a:lnTo>
                          <a:pt x="1386" y="2625"/>
                        </a:lnTo>
                        <a:lnTo>
                          <a:pt x="1386" y="2625"/>
                        </a:lnTo>
                        <a:close/>
                        <a:moveTo>
                          <a:pt x="2390" y="2632"/>
                        </a:moveTo>
                        <a:lnTo>
                          <a:pt x="2397" y="2625"/>
                        </a:lnTo>
                        <a:lnTo>
                          <a:pt x="2407" y="2625"/>
                        </a:lnTo>
                        <a:lnTo>
                          <a:pt x="2390" y="2632"/>
                        </a:lnTo>
                        <a:lnTo>
                          <a:pt x="2390" y="2632"/>
                        </a:lnTo>
                        <a:lnTo>
                          <a:pt x="2390" y="2632"/>
                        </a:lnTo>
                        <a:close/>
                        <a:moveTo>
                          <a:pt x="1408" y="2641"/>
                        </a:moveTo>
                        <a:lnTo>
                          <a:pt x="1398" y="2632"/>
                        </a:lnTo>
                        <a:lnTo>
                          <a:pt x="1408" y="2632"/>
                        </a:lnTo>
                        <a:lnTo>
                          <a:pt x="1408" y="2641"/>
                        </a:lnTo>
                        <a:lnTo>
                          <a:pt x="1408" y="2641"/>
                        </a:lnTo>
                        <a:lnTo>
                          <a:pt x="1408" y="2641"/>
                        </a:lnTo>
                        <a:close/>
                        <a:moveTo>
                          <a:pt x="2369" y="2641"/>
                        </a:moveTo>
                        <a:lnTo>
                          <a:pt x="2359" y="2632"/>
                        </a:lnTo>
                        <a:lnTo>
                          <a:pt x="2369" y="2632"/>
                        </a:lnTo>
                        <a:lnTo>
                          <a:pt x="2369" y="2641"/>
                        </a:lnTo>
                        <a:lnTo>
                          <a:pt x="2369" y="2641"/>
                        </a:lnTo>
                        <a:lnTo>
                          <a:pt x="2369" y="2641"/>
                        </a:lnTo>
                        <a:close/>
                        <a:moveTo>
                          <a:pt x="2343" y="2653"/>
                        </a:moveTo>
                        <a:lnTo>
                          <a:pt x="2326" y="2648"/>
                        </a:lnTo>
                        <a:lnTo>
                          <a:pt x="2352" y="2653"/>
                        </a:lnTo>
                        <a:lnTo>
                          <a:pt x="2343" y="2653"/>
                        </a:lnTo>
                        <a:lnTo>
                          <a:pt x="2343" y="2653"/>
                        </a:lnTo>
                        <a:lnTo>
                          <a:pt x="2343" y="2653"/>
                        </a:lnTo>
                        <a:close/>
                        <a:moveTo>
                          <a:pt x="2305" y="2759"/>
                        </a:moveTo>
                        <a:lnTo>
                          <a:pt x="2284" y="2752"/>
                        </a:lnTo>
                        <a:lnTo>
                          <a:pt x="2272" y="2726"/>
                        </a:lnTo>
                        <a:lnTo>
                          <a:pt x="2251" y="2703"/>
                        </a:lnTo>
                        <a:lnTo>
                          <a:pt x="2272" y="2710"/>
                        </a:lnTo>
                        <a:lnTo>
                          <a:pt x="2289" y="2743"/>
                        </a:lnTo>
                        <a:lnTo>
                          <a:pt x="2305" y="2752"/>
                        </a:lnTo>
                        <a:lnTo>
                          <a:pt x="2305" y="2759"/>
                        </a:lnTo>
                        <a:lnTo>
                          <a:pt x="2305" y="2759"/>
                        </a:lnTo>
                        <a:lnTo>
                          <a:pt x="2305" y="2759"/>
                        </a:lnTo>
                        <a:close/>
                        <a:moveTo>
                          <a:pt x="1533" y="2743"/>
                        </a:moveTo>
                        <a:lnTo>
                          <a:pt x="1528" y="2759"/>
                        </a:lnTo>
                        <a:lnTo>
                          <a:pt x="1516" y="2759"/>
                        </a:lnTo>
                        <a:lnTo>
                          <a:pt x="1528" y="2743"/>
                        </a:lnTo>
                        <a:lnTo>
                          <a:pt x="1533" y="2743"/>
                        </a:lnTo>
                        <a:lnTo>
                          <a:pt x="1533" y="2743"/>
                        </a:lnTo>
                        <a:lnTo>
                          <a:pt x="1533" y="2743"/>
                        </a:lnTo>
                        <a:close/>
                        <a:moveTo>
                          <a:pt x="1559" y="2752"/>
                        </a:moveTo>
                        <a:lnTo>
                          <a:pt x="1533" y="2776"/>
                        </a:lnTo>
                        <a:lnTo>
                          <a:pt x="1516" y="2781"/>
                        </a:lnTo>
                        <a:lnTo>
                          <a:pt x="1542" y="2743"/>
                        </a:lnTo>
                        <a:lnTo>
                          <a:pt x="1559" y="2752"/>
                        </a:lnTo>
                        <a:lnTo>
                          <a:pt x="1559" y="2752"/>
                        </a:lnTo>
                        <a:lnTo>
                          <a:pt x="1559" y="2752"/>
                        </a:lnTo>
                        <a:close/>
                        <a:moveTo>
                          <a:pt x="1516" y="2764"/>
                        </a:moveTo>
                        <a:lnTo>
                          <a:pt x="1504" y="2776"/>
                        </a:lnTo>
                        <a:lnTo>
                          <a:pt x="1511" y="2764"/>
                        </a:lnTo>
                        <a:lnTo>
                          <a:pt x="1516" y="2764"/>
                        </a:lnTo>
                        <a:lnTo>
                          <a:pt x="1516" y="2764"/>
                        </a:lnTo>
                        <a:lnTo>
                          <a:pt x="1516" y="2764"/>
                        </a:lnTo>
                        <a:close/>
                        <a:moveTo>
                          <a:pt x="2234" y="2776"/>
                        </a:moveTo>
                        <a:lnTo>
                          <a:pt x="2218" y="2776"/>
                        </a:lnTo>
                        <a:lnTo>
                          <a:pt x="2234" y="2776"/>
                        </a:lnTo>
                        <a:lnTo>
                          <a:pt x="2234" y="2776"/>
                        </a:lnTo>
                        <a:lnTo>
                          <a:pt x="2234" y="2776"/>
                        </a:lnTo>
                        <a:close/>
                        <a:moveTo>
                          <a:pt x="2246" y="2781"/>
                        </a:moveTo>
                        <a:lnTo>
                          <a:pt x="2251" y="2776"/>
                        </a:lnTo>
                        <a:lnTo>
                          <a:pt x="2267" y="2776"/>
                        </a:lnTo>
                        <a:lnTo>
                          <a:pt x="2267" y="2781"/>
                        </a:lnTo>
                        <a:lnTo>
                          <a:pt x="2246" y="2781"/>
                        </a:lnTo>
                        <a:lnTo>
                          <a:pt x="2246" y="2781"/>
                        </a:lnTo>
                        <a:lnTo>
                          <a:pt x="2246" y="2781"/>
                        </a:lnTo>
                        <a:close/>
                        <a:moveTo>
                          <a:pt x="2234" y="2903"/>
                        </a:moveTo>
                        <a:lnTo>
                          <a:pt x="2213" y="2892"/>
                        </a:lnTo>
                        <a:lnTo>
                          <a:pt x="2180" y="2870"/>
                        </a:lnTo>
                        <a:lnTo>
                          <a:pt x="2196" y="2863"/>
                        </a:lnTo>
                        <a:lnTo>
                          <a:pt x="2230" y="2887"/>
                        </a:lnTo>
                        <a:lnTo>
                          <a:pt x="2234" y="2903"/>
                        </a:lnTo>
                        <a:lnTo>
                          <a:pt x="2234" y="2903"/>
                        </a:lnTo>
                        <a:lnTo>
                          <a:pt x="2234" y="2903"/>
                        </a:lnTo>
                        <a:close/>
                        <a:moveTo>
                          <a:pt x="2230" y="2908"/>
                        </a:moveTo>
                        <a:lnTo>
                          <a:pt x="2213" y="2903"/>
                        </a:lnTo>
                        <a:lnTo>
                          <a:pt x="2230" y="2903"/>
                        </a:lnTo>
                        <a:lnTo>
                          <a:pt x="2230" y="2908"/>
                        </a:lnTo>
                        <a:lnTo>
                          <a:pt x="2230" y="2908"/>
                        </a:lnTo>
                        <a:lnTo>
                          <a:pt x="2230" y="2908"/>
                        </a:lnTo>
                        <a:close/>
                        <a:moveTo>
                          <a:pt x="1580" y="2903"/>
                        </a:moveTo>
                        <a:lnTo>
                          <a:pt x="1566" y="2908"/>
                        </a:lnTo>
                        <a:lnTo>
                          <a:pt x="1580" y="2903"/>
                        </a:lnTo>
                        <a:lnTo>
                          <a:pt x="1580" y="2903"/>
                        </a:lnTo>
                        <a:lnTo>
                          <a:pt x="1580" y="2903"/>
                        </a:lnTo>
                        <a:close/>
                        <a:moveTo>
                          <a:pt x="1566" y="2903"/>
                        </a:moveTo>
                        <a:lnTo>
                          <a:pt x="1566" y="2908"/>
                        </a:lnTo>
                        <a:lnTo>
                          <a:pt x="1549" y="2908"/>
                        </a:lnTo>
                        <a:lnTo>
                          <a:pt x="1566" y="2903"/>
                        </a:lnTo>
                        <a:lnTo>
                          <a:pt x="1566" y="2903"/>
                        </a:lnTo>
                        <a:lnTo>
                          <a:pt x="1566" y="2903"/>
                        </a:lnTo>
                        <a:close/>
                        <a:moveTo>
                          <a:pt x="2208" y="2932"/>
                        </a:moveTo>
                        <a:lnTo>
                          <a:pt x="2208" y="2920"/>
                        </a:lnTo>
                        <a:lnTo>
                          <a:pt x="2213" y="2920"/>
                        </a:lnTo>
                        <a:lnTo>
                          <a:pt x="2208" y="2932"/>
                        </a:lnTo>
                        <a:lnTo>
                          <a:pt x="2208" y="2932"/>
                        </a:lnTo>
                        <a:lnTo>
                          <a:pt x="2208" y="2932"/>
                        </a:lnTo>
                        <a:close/>
                        <a:moveTo>
                          <a:pt x="2154" y="2958"/>
                        </a:moveTo>
                        <a:lnTo>
                          <a:pt x="2142" y="2948"/>
                        </a:lnTo>
                        <a:lnTo>
                          <a:pt x="2154" y="2941"/>
                        </a:lnTo>
                        <a:lnTo>
                          <a:pt x="2180" y="2948"/>
                        </a:lnTo>
                        <a:lnTo>
                          <a:pt x="2154" y="2958"/>
                        </a:lnTo>
                        <a:lnTo>
                          <a:pt x="2154" y="2958"/>
                        </a:lnTo>
                        <a:lnTo>
                          <a:pt x="2154" y="2958"/>
                        </a:lnTo>
                        <a:close/>
                        <a:moveTo>
                          <a:pt x="2163" y="2981"/>
                        </a:moveTo>
                        <a:lnTo>
                          <a:pt x="2154" y="2965"/>
                        </a:lnTo>
                        <a:lnTo>
                          <a:pt x="2163" y="2974"/>
                        </a:lnTo>
                        <a:lnTo>
                          <a:pt x="2163" y="2981"/>
                        </a:lnTo>
                        <a:lnTo>
                          <a:pt x="2163" y="2981"/>
                        </a:lnTo>
                        <a:lnTo>
                          <a:pt x="2163" y="2981"/>
                        </a:lnTo>
                        <a:close/>
                        <a:moveTo>
                          <a:pt x="2159" y="3059"/>
                        </a:moveTo>
                        <a:lnTo>
                          <a:pt x="2163" y="3043"/>
                        </a:lnTo>
                        <a:lnTo>
                          <a:pt x="2163" y="3059"/>
                        </a:lnTo>
                        <a:lnTo>
                          <a:pt x="2159" y="3059"/>
                        </a:lnTo>
                        <a:lnTo>
                          <a:pt x="2159" y="3059"/>
                        </a:lnTo>
                        <a:lnTo>
                          <a:pt x="2159" y="3059"/>
                        </a:lnTo>
                        <a:close/>
                        <a:moveTo>
                          <a:pt x="1743" y="3130"/>
                        </a:moveTo>
                        <a:lnTo>
                          <a:pt x="1748" y="3142"/>
                        </a:lnTo>
                        <a:lnTo>
                          <a:pt x="1726" y="3130"/>
                        </a:lnTo>
                        <a:lnTo>
                          <a:pt x="1743" y="3130"/>
                        </a:lnTo>
                        <a:lnTo>
                          <a:pt x="1743" y="3130"/>
                        </a:lnTo>
                        <a:lnTo>
                          <a:pt x="1743" y="3130"/>
                        </a:lnTo>
                        <a:close/>
                        <a:moveTo>
                          <a:pt x="1882" y="3154"/>
                        </a:moveTo>
                        <a:lnTo>
                          <a:pt x="1835" y="3170"/>
                        </a:lnTo>
                        <a:lnTo>
                          <a:pt x="1882" y="3147"/>
                        </a:lnTo>
                        <a:lnTo>
                          <a:pt x="1882" y="3154"/>
                        </a:lnTo>
                        <a:lnTo>
                          <a:pt x="1882" y="3154"/>
                        </a:lnTo>
                        <a:lnTo>
                          <a:pt x="1882" y="3154"/>
                        </a:lnTo>
                        <a:close/>
                        <a:moveTo>
                          <a:pt x="1776" y="3163"/>
                        </a:moveTo>
                        <a:lnTo>
                          <a:pt x="1764" y="3170"/>
                        </a:lnTo>
                        <a:lnTo>
                          <a:pt x="1781" y="3170"/>
                        </a:lnTo>
                        <a:lnTo>
                          <a:pt x="1764" y="3180"/>
                        </a:lnTo>
                        <a:lnTo>
                          <a:pt x="1731" y="3163"/>
                        </a:lnTo>
                        <a:lnTo>
                          <a:pt x="1776" y="3163"/>
                        </a:lnTo>
                        <a:lnTo>
                          <a:pt x="1776" y="3163"/>
                        </a:lnTo>
                        <a:lnTo>
                          <a:pt x="1776" y="3163"/>
                        </a:lnTo>
                        <a:close/>
                        <a:moveTo>
                          <a:pt x="1873" y="3170"/>
                        </a:moveTo>
                        <a:lnTo>
                          <a:pt x="1873" y="3180"/>
                        </a:lnTo>
                        <a:lnTo>
                          <a:pt x="1856" y="3180"/>
                        </a:lnTo>
                        <a:lnTo>
                          <a:pt x="1873" y="3170"/>
                        </a:lnTo>
                        <a:lnTo>
                          <a:pt x="1873" y="3170"/>
                        </a:lnTo>
                        <a:lnTo>
                          <a:pt x="1873" y="3170"/>
                        </a:lnTo>
                        <a:close/>
                        <a:moveTo>
                          <a:pt x="1958" y="3208"/>
                        </a:moveTo>
                        <a:lnTo>
                          <a:pt x="1948" y="3225"/>
                        </a:lnTo>
                        <a:lnTo>
                          <a:pt x="1937" y="3236"/>
                        </a:lnTo>
                        <a:lnTo>
                          <a:pt x="1944" y="3208"/>
                        </a:lnTo>
                        <a:lnTo>
                          <a:pt x="1958" y="3208"/>
                        </a:lnTo>
                        <a:lnTo>
                          <a:pt x="1958" y="3208"/>
                        </a:lnTo>
                        <a:lnTo>
                          <a:pt x="1958" y="3208"/>
                        </a:lnTo>
                        <a:close/>
                        <a:moveTo>
                          <a:pt x="2067" y="3258"/>
                        </a:moveTo>
                        <a:lnTo>
                          <a:pt x="2045" y="3253"/>
                        </a:lnTo>
                        <a:lnTo>
                          <a:pt x="2029" y="3236"/>
                        </a:lnTo>
                        <a:lnTo>
                          <a:pt x="2100" y="3241"/>
                        </a:lnTo>
                        <a:lnTo>
                          <a:pt x="2088" y="3253"/>
                        </a:lnTo>
                        <a:lnTo>
                          <a:pt x="2067" y="3241"/>
                        </a:lnTo>
                        <a:lnTo>
                          <a:pt x="2071" y="3253"/>
                        </a:lnTo>
                        <a:lnTo>
                          <a:pt x="2067" y="3258"/>
                        </a:lnTo>
                        <a:lnTo>
                          <a:pt x="2067" y="3258"/>
                        </a:lnTo>
                        <a:lnTo>
                          <a:pt x="2067" y="3258"/>
                        </a:lnTo>
                        <a:close/>
                        <a:moveTo>
                          <a:pt x="2019" y="3241"/>
                        </a:moveTo>
                        <a:lnTo>
                          <a:pt x="2019" y="3253"/>
                        </a:lnTo>
                        <a:lnTo>
                          <a:pt x="2012" y="3258"/>
                        </a:lnTo>
                        <a:lnTo>
                          <a:pt x="1996" y="3253"/>
                        </a:lnTo>
                        <a:lnTo>
                          <a:pt x="2003" y="3236"/>
                        </a:lnTo>
                        <a:lnTo>
                          <a:pt x="2019" y="3241"/>
                        </a:lnTo>
                        <a:lnTo>
                          <a:pt x="2019" y="3241"/>
                        </a:lnTo>
                        <a:lnTo>
                          <a:pt x="2019" y="3241"/>
                        </a:lnTo>
                        <a:close/>
                        <a:moveTo>
                          <a:pt x="2071" y="3258"/>
                        </a:moveTo>
                        <a:lnTo>
                          <a:pt x="2071" y="3253"/>
                        </a:lnTo>
                        <a:lnTo>
                          <a:pt x="2083" y="3253"/>
                        </a:lnTo>
                        <a:lnTo>
                          <a:pt x="2071" y="3258"/>
                        </a:lnTo>
                        <a:lnTo>
                          <a:pt x="2071" y="3258"/>
                        </a:lnTo>
                        <a:lnTo>
                          <a:pt x="2071" y="3258"/>
                        </a:lnTo>
                        <a:close/>
                        <a:moveTo>
                          <a:pt x="2029" y="3265"/>
                        </a:moveTo>
                        <a:lnTo>
                          <a:pt x="2012" y="3258"/>
                        </a:lnTo>
                        <a:lnTo>
                          <a:pt x="2019" y="3253"/>
                        </a:lnTo>
                        <a:lnTo>
                          <a:pt x="2033" y="3253"/>
                        </a:lnTo>
                        <a:lnTo>
                          <a:pt x="2029" y="3265"/>
                        </a:lnTo>
                        <a:lnTo>
                          <a:pt x="2029" y="3265"/>
                        </a:lnTo>
                        <a:lnTo>
                          <a:pt x="2029" y="3265"/>
                        </a:lnTo>
                        <a:close/>
                        <a:moveTo>
                          <a:pt x="2083" y="3258"/>
                        </a:moveTo>
                        <a:lnTo>
                          <a:pt x="2083" y="3253"/>
                        </a:lnTo>
                        <a:lnTo>
                          <a:pt x="2088" y="3258"/>
                        </a:lnTo>
                        <a:lnTo>
                          <a:pt x="2083" y="3258"/>
                        </a:lnTo>
                        <a:lnTo>
                          <a:pt x="2083" y="3258"/>
                        </a:lnTo>
                        <a:lnTo>
                          <a:pt x="2083" y="3258"/>
                        </a:lnTo>
                        <a:close/>
                        <a:moveTo>
                          <a:pt x="2045" y="3274"/>
                        </a:moveTo>
                        <a:lnTo>
                          <a:pt x="2029" y="3265"/>
                        </a:lnTo>
                        <a:lnTo>
                          <a:pt x="2033" y="3258"/>
                        </a:lnTo>
                        <a:lnTo>
                          <a:pt x="2057" y="3265"/>
                        </a:lnTo>
                        <a:lnTo>
                          <a:pt x="2045" y="3274"/>
                        </a:lnTo>
                        <a:lnTo>
                          <a:pt x="2045" y="3274"/>
                        </a:lnTo>
                        <a:lnTo>
                          <a:pt x="2045" y="327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6" name="Freeform 456">
                    <a:extLst>
                      <a:ext uri="{FF2B5EF4-FFF2-40B4-BE49-F238E27FC236}">
                        <a16:creationId xmlns:a16="http://schemas.microsoft.com/office/drawing/2014/main" id="{E5D7F3FB-24D0-4D0F-B270-CDB214FF871E}"/>
                      </a:ext>
                    </a:extLst>
                  </p:cNvPr>
                  <p:cNvSpPr>
                    <a:spLocks noEditPoints="1"/>
                  </p:cNvSpPr>
                  <p:nvPr/>
                </p:nvSpPr>
                <p:spPr bwMode="gray">
                  <a:xfrm>
                    <a:off x="7295987" y="2752512"/>
                    <a:ext cx="243297" cy="233443"/>
                  </a:xfrm>
                  <a:custGeom>
                    <a:avLst/>
                    <a:gdLst>
                      <a:gd name="T0" fmla="*/ 76 w 591"/>
                      <a:gd name="T1" fmla="*/ 111 h 567"/>
                      <a:gd name="T2" fmla="*/ 227 w 591"/>
                      <a:gd name="T3" fmla="*/ 29 h 567"/>
                      <a:gd name="T4" fmla="*/ 484 w 591"/>
                      <a:gd name="T5" fmla="*/ 7 h 567"/>
                      <a:gd name="T6" fmla="*/ 350 w 591"/>
                      <a:gd name="T7" fmla="*/ 69 h 567"/>
                      <a:gd name="T8" fmla="*/ 324 w 591"/>
                      <a:gd name="T9" fmla="*/ 135 h 567"/>
                      <a:gd name="T10" fmla="*/ 274 w 591"/>
                      <a:gd name="T11" fmla="*/ 123 h 567"/>
                      <a:gd name="T12" fmla="*/ 227 w 591"/>
                      <a:gd name="T13" fmla="*/ 102 h 567"/>
                      <a:gd name="T14" fmla="*/ 220 w 591"/>
                      <a:gd name="T15" fmla="*/ 213 h 567"/>
                      <a:gd name="T16" fmla="*/ 307 w 591"/>
                      <a:gd name="T17" fmla="*/ 300 h 567"/>
                      <a:gd name="T18" fmla="*/ 253 w 591"/>
                      <a:gd name="T19" fmla="*/ 357 h 567"/>
                      <a:gd name="T20" fmla="*/ 215 w 591"/>
                      <a:gd name="T21" fmla="*/ 345 h 567"/>
                      <a:gd name="T22" fmla="*/ 189 w 591"/>
                      <a:gd name="T23" fmla="*/ 452 h 567"/>
                      <a:gd name="T24" fmla="*/ 135 w 591"/>
                      <a:gd name="T25" fmla="*/ 374 h 567"/>
                      <a:gd name="T26" fmla="*/ 227 w 591"/>
                      <a:gd name="T27" fmla="*/ 317 h 567"/>
                      <a:gd name="T28" fmla="*/ 128 w 591"/>
                      <a:gd name="T29" fmla="*/ 284 h 567"/>
                      <a:gd name="T30" fmla="*/ 76 w 591"/>
                      <a:gd name="T31" fmla="*/ 222 h 567"/>
                      <a:gd name="T32" fmla="*/ 21 w 591"/>
                      <a:gd name="T33" fmla="*/ 173 h 567"/>
                      <a:gd name="T34" fmla="*/ 345 w 591"/>
                      <a:gd name="T35" fmla="*/ 95 h 567"/>
                      <a:gd name="T36" fmla="*/ 413 w 591"/>
                      <a:gd name="T37" fmla="*/ 102 h 567"/>
                      <a:gd name="T38" fmla="*/ 397 w 591"/>
                      <a:gd name="T39" fmla="*/ 140 h 567"/>
                      <a:gd name="T40" fmla="*/ 26 w 591"/>
                      <a:gd name="T41" fmla="*/ 196 h 567"/>
                      <a:gd name="T42" fmla="*/ 468 w 591"/>
                      <a:gd name="T43" fmla="*/ 206 h 567"/>
                      <a:gd name="T44" fmla="*/ 468 w 591"/>
                      <a:gd name="T45" fmla="*/ 206 h 567"/>
                      <a:gd name="T46" fmla="*/ 258 w 591"/>
                      <a:gd name="T47" fmla="*/ 222 h 567"/>
                      <a:gd name="T48" fmla="*/ 274 w 591"/>
                      <a:gd name="T49" fmla="*/ 279 h 567"/>
                      <a:gd name="T50" fmla="*/ 333 w 591"/>
                      <a:gd name="T51" fmla="*/ 300 h 567"/>
                      <a:gd name="T52" fmla="*/ 333 w 591"/>
                      <a:gd name="T53" fmla="*/ 230 h 567"/>
                      <a:gd name="T54" fmla="*/ 59 w 591"/>
                      <a:gd name="T55" fmla="*/ 246 h 567"/>
                      <a:gd name="T56" fmla="*/ 404 w 591"/>
                      <a:gd name="T57" fmla="*/ 267 h 567"/>
                      <a:gd name="T58" fmla="*/ 442 w 591"/>
                      <a:gd name="T59" fmla="*/ 300 h 567"/>
                      <a:gd name="T60" fmla="*/ 59 w 591"/>
                      <a:gd name="T61" fmla="*/ 279 h 567"/>
                      <a:gd name="T62" fmla="*/ 350 w 591"/>
                      <a:gd name="T63" fmla="*/ 317 h 567"/>
                      <a:gd name="T64" fmla="*/ 64 w 591"/>
                      <a:gd name="T65" fmla="*/ 324 h 567"/>
                      <a:gd name="T66" fmla="*/ 489 w 591"/>
                      <a:gd name="T67" fmla="*/ 333 h 567"/>
                      <a:gd name="T68" fmla="*/ 258 w 591"/>
                      <a:gd name="T69" fmla="*/ 341 h 567"/>
                      <a:gd name="T70" fmla="*/ 435 w 591"/>
                      <a:gd name="T71" fmla="*/ 357 h 567"/>
                      <a:gd name="T72" fmla="*/ 383 w 591"/>
                      <a:gd name="T73" fmla="*/ 345 h 567"/>
                      <a:gd name="T74" fmla="*/ 366 w 591"/>
                      <a:gd name="T75" fmla="*/ 362 h 567"/>
                      <a:gd name="T76" fmla="*/ 397 w 591"/>
                      <a:gd name="T77" fmla="*/ 362 h 567"/>
                      <a:gd name="T78" fmla="*/ 333 w 591"/>
                      <a:gd name="T79" fmla="*/ 390 h 567"/>
                      <a:gd name="T80" fmla="*/ 387 w 591"/>
                      <a:gd name="T81" fmla="*/ 390 h 567"/>
                      <a:gd name="T82" fmla="*/ 387 w 591"/>
                      <a:gd name="T83" fmla="*/ 390 h 567"/>
                      <a:gd name="T84" fmla="*/ 506 w 591"/>
                      <a:gd name="T85" fmla="*/ 402 h 567"/>
                      <a:gd name="T86" fmla="*/ 376 w 591"/>
                      <a:gd name="T87" fmla="*/ 402 h 567"/>
                      <a:gd name="T88" fmla="*/ 510 w 591"/>
                      <a:gd name="T89" fmla="*/ 411 h 567"/>
                      <a:gd name="T90" fmla="*/ 435 w 591"/>
                      <a:gd name="T91" fmla="*/ 411 h 567"/>
                      <a:gd name="T92" fmla="*/ 397 w 591"/>
                      <a:gd name="T93" fmla="*/ 428 h 567"/>
                      <a:gd name="T94" fmla="*/ 324 w 591"/>
                      <a:gd name="T95" fmla="*/ 428 h 567"/>
                      <a:gd name="T96" fmla="*/ 458 w 591"/>
                      <a:gd name="T97" fmla="*/ 435 h 567"/>
                      <a:gd name="T98" fmla="*/ 404 w 591"/>
                      <a:gd name="T99" fmla="*/ 444 h 567"/>
                      <a:gd name="T100" fmla="*/ 539 w 591"/>
                      <a:gd name="T101" fmla="*/ 452 h 567"/>
                      <a:gd name="T102" fmla="*/ 591 w 591"/>
                      <a:gd name="T103" fmla="*/ 444 h 567"/>
                      <a:gd name="T104" fmla="*/ 421 w 591"/>
                      <a:gd name="T105" fmla="*/ 452 h 567"/>
                      <a:gd name="T106" fmla="*/ 522 w 591"/>
                      <a:gd name="T107" fmla="*/ 529 h 567"/>
                      <a:gd name="T108" fmla="*/ 269 w 591"/>
                      <a:gd name="T109" fmla="*/ 513 h 567"/>
                      <a:gd name="T110" fmla="*/ 397 w 591"/>
                      <a:gd name="T111" fmla="*/ 539 h 567"/>
                      <a:gd name="T112" fmla="*/ 350 w 591"/>
                      <a:gd name="T113" fmla="*/ 567 h 567"/>
                      <a:gd name="T114" fmla="*/ 510 w 591"/>
                      <a:gd name="T115" fmla="*/ 522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91" h="567">
                        <a:moveTo>
                          <a:pt x="21" y="173"/>
                        </a:moveTo>
                        <a:lnTo>
                          <a:pt x="38" y="173"/>
                        </a:lnTo>
                        <a:lnTo>
                          <a:pt x="43" y="168"/>
                        </a:lnTo>
                        <a:lnTo>
                          <a:pt x="38" y="168"/>
                        </a:lnTo>
                        <a:lnTo>
                          <a:pt x="54" y="156"/>
                        </a:lnTo>
                        <a:lnTo>
                          <a:pt x="43" y="152"/>
                        </a:lnTo>
                        <a:lnTo>
                          <a:pt x="64" y="135"/>
                        </a:lnTo>
                        <a:lnTo>
                          <a:pt x="76" y="111"/>
                        </a:lnTo>
                        <a:lnTo>
                          <a:pt x="92" y="95"/>
                        </a:lnTo>
                        <a:lnTo>
                          <a:pt x="92" y="69"/>
                        </a:lnTo>
                        <a:lnTo>
                          <a:pt x="128" y="69"/>
                        </a:lnTo>
                        <a:lnTo>
                          <a:pt x="144" y="62"/>
                        </a:lnTo>
                        <a:lnTo>
                          <a:pt x="161" y="45"/>
                        </a:lnTo>
                        <a:lnTo>
                          <a:pt x="215" y="45"/>
                        </a:lnTo>
                        <a:lnTo>
                          <a:pt x="215" y="29"/>
                        </a:lnTo>
                        <a:lnTo>
                          <a:pt x="227" y="29"/>
                        </a:lnTo>
                        <a:lnTo>
                          <a:pt x="274" y="29"/>
                        </a:lnTo>
                        <a:lnTo>
                          <a:pt x="324" y="12"/>
                        </a:lnTo>
                        <a:lnTo>
                          <a:pt x="387" y="41"/>
                        </a:lnTo>
                        <a:lnTo>
                          <a:pt x="451" y="29"/>
                        </a:lnTo>
                        <a:lnTo>
                          <a:pt x="451" y="12"/>
                        </a:lnTo>
                        <a:lnTo>
                          <a:pt x="442" y="0"/>
                        </a:lnTo>
                        <a:lnTo>
                          <a:pt x="468" y="0"/>
                        </a:lnTo>
                        <a:lnTo>
                          <a:pt x="484" y="7"/>
                        </a:lnTo>
                        <a:lnTo>
                          <a:pt x="484" y="29"/>
                        </a:lnTo>
                        <a:lnTo>
                          <a:pt x="458" y="41"/>
                        </a:lnTo>
                        <a:lnTo>
                          <a:pt x="468" y="62"/>
                        </a:lnTo>
                        <a:lnTo>
                          <a:pt x="442" y="85"/>
                        </a:lnTo>
                        <a:lnTo>
                          <a:pt x="442" y="78"/>
                        </a:lnTo>
                        <a:lnTo>
                          <a:pt x="383" y="62"/>
                        </a:lnTo>
                        <a:lnTo>
                          <a:pt x="383" y="62"/>
                        </a:lnTo>
                        <a:lnTo>
                          <a:pt x="350" y="69"/>
                        </a:lnTo>
                        <a:lnTo>
                          <a:pt x="328" y="62"/>
                        </a:lnTo>
                        <a:lnTo>
                          <a:pt x="307" y="85"/>
                        </a:lnTo>
                        <a:lnTo>
                          <a:pt x="279" y="78"/>
                        </a:lnTo>
                        <a:lnTo>
                          <a:pt x="274" y="85"/>
                        </a:lnTo>
                        <a:lnTo>
                          <a:pt x="291" y="111"/>
                        </a:lnTo>
                        <a:lnTo>
                          <a:pt x="312" y="118"/>
                        </a:lnTo>
                        <a:lnTo>
                          <a:pt x="328" y="135"/>
                        </a:lnTo>
                        <a:lnTo>
                          <a:pt x="324" y="135"/>
                        </a:lnTo>
                        <a:lnTo>
                          <a:pt x="312" y="118"/>
                        </a:lnTo>
                        <a:lnTo>
                          <a:pt x="291" y="118"/>
                        </a:lnTo>
                        <a:lnTo>
                          <a:pt x="279" y="118"/>
                        </a:lnTo>
                        <a:lnTo>
                          <a:pt x="279" y="123"/>
                        </a:lnTo>
                        <a:lnTo>
                          <a:pt x="295" y="135"/>
                        </a:lnTo>
                        <a:lnTo>
                          <a:pt x="295" y="140"/>
                        </a:lnTo>
                        <a:lnTo>
                          <a:pt x="295" y="152"/>
                        </a:lnTo>
                        <a:lnTo>
                          <a:pt x="274" y="123"/>
                        </a:lnTo>
                        <a:lnTo>
                          <a:pt x="253" y="123"/>
                        </a:lnTo>
                        <a:lnTo>
                          <a:pt x="253" y="135"/>
                        </a:lnTo>
                        <a:lnTo>
                          <a:pt x="279" y="152"/>
                        </a:lnTo>
                        <a:lnTo>
                          <a:pt x="258" y="152"/>
                        </a:lnTo>
                        <a:lnTo>
                          <a:pt x="253" y="123"/>
                        </a:lnTo>
                        <a:lnTo>
                          <a:pt x="220" y="111"/>
                        </a:lnTo>
                        <a:lnTo>
                          <a:pt x="220" y="102"/>
                        </a:lnTo>
                        <a:lnTo>
                          <a:pt x="227" y="102"/>
                        </a:lnTo>
                        <a:lnTo>
                          <a:pt x="227" y="95"/>
                        </a:lnTo>
                        <a:lnTo>
                          <a:pt x="199" y="102"/>
                        </a:lnTo>
                        <a:lnTo>
                          <a:pt x="199" y="140"/>
                        </a:lnTo>
                        <a:lnTo>
                          <a:pt x="253" y="213"/>
                        </a:lnTo>
                        <a:lnTo>
                          <a:pt x="236" y="222"/>
                        </a:lnTo>
                        <a:lnTo>
                          <a:pt x="241" y="213"/>
                        </a:lnTo>
                        <a:lnTo>
                          <a:pt x="227" y="196"/>
                        </a:lnTo>
                        <a:lnTo>
                          <a:pt x="220" y="213"/>
                        </a:lnTo>
                        <a:lnTo>
                          <a:pt x="236" y="230"/>
                        </a:lnTo>
                        <a:lnTo>
                          <a:pt x="220" y="234"/>
                        </a:lnTo>
                        <a:lnTo>
                          <a:pt x="199" y="246"/>
                        </a:lnTo>
                        <a:lnTo>
                          <a:pt x="227" y="251"/>
                        </a:lnTo>
                        <a:lnTo>
                          <a:pt x="236" y="263"/>
                        </a:lnTo>
                        <a:lnTo>
                          <a:pt x="253" y="263"/>
                        </a:lnTo>
                        <a:lnTo>
                          <a:pt x="253" y="267"/>
                        </a:lnTo>
                        <a:lnTo>
                          <a:pt x="307" y="300"/>
                        </a:lnTo>
                        <a:lnTo>
                          <a:pt x="295" y="307"/>
                        </a:lnTo>
                        <a:lnTo>
                          <a:pt x="307" y="333"/>
                        </a:lnTo>
                        <a:lnTo>
                          <a:pt x="295" y="341"/>
                        </a:lnTo>
                        <a:lnTo>
                          <a:pt x="269" y="307"/>
                        </a:lnTo>
                        <a:lnTo>
                          <a:pt x="227" y="324"/>
                        </a:lnTo>
                        <a:lnTo>
                          <a:pt x="236" y="324"/>
                        </a:lnTo>
                        <a:lnTo>
                          <a:pt x="241" y="345"/>
                        </a:lnTo>
                        <a:lnTo>
                          <a:pt x="253" y="357"/>
                        </a:lnTo>
                        <a:lnTo>
                          <a:pt x="253" y="345"/>
                        </a:lnTo>
                        <a:lnTo>
                          <a:pt x="258" y="345"/>
                        </a:lnTo>
                        <a:lnTo>
                          <a:pt x="269" y="362"/>
                        </a:lnTo>
                        <a:lnTo>
                          <a:pt x="253" y="362"/>
                        </a:lnTo>
                        <a:lnTo>
                          <a:pt x="241" y="374"/>
                        </a:lnTo>
                        <a:lnTo>
                          <a:pt x="236" y="362"/>
                        </a:lnTo>
                        <a:lnTo>
                          <a:pt x="236" y="362"/>
                        </a:lnTo>
                        <a:lnTo>
                          <a:pt x="215" y="345"/>
                        </a:lnTo>
                        <a:lnTo>
                          <a:pt x="236" y="418"/>
                        </a:lnTo>
                        <a:lnTo>
                          <a:pt x="227" y="428"/>
                        </a:lnTo>
                        <a:lnTo>
                          <a:pt x="241" y="444"/>
                        </a:lnTo>
                        <a:lnTo>
                          <a:pt x="227" y="435"/>
                        </a:lnTo>
                        <a:lnTo>
                          <a:pt x="215" y="411"/>
                        </a:lnTo>
                        <a:lnTo>
                          <a:pt x="203" y="411"/>
                        </a:lnTo>
                        <a:lnTo>
                          <a:pt x="189" y="428"/>
                        </a:lnTo>
                        <a:lnTo>
                          <a:pt x="189" y="452"/>
                        </a:lnTo>
                        <a:lnTo>
                          <a:pt x="165" y="395"/>
                        </a:lnTo>
                        <a:lnTo>
                          <a:pt x="151" y="395"/>
                        </a:lnTo>
                        <a:lnTo>
                          <a:pt x="161" y="411"/>
                        </a:lnTo>
                        <a:lnTo>
                          <a:pt x="151" y="418"/>
                        </a:lnTo>
                        <a:lnTo>
                          <a:pt x="135" y="411"/>
                        </a:lnTo>
                        <a:lnTo>
                          <a:pt x="135" y="402"/>
                        </a:lnTo>
                        <a:lnTo>
                          <a:pt x="128" y="390"/>
                        </a:lnTo>
                        <a:lnTo>
                          <a:pt x="135" y="374"/>
                        </a:lnTo>
                        <a:lnTo>
                          <a:pt x="135" y="362"/>
                        </a:lnTo>
                        <a:lnTo>
                          <a:pt x="97" y="324"/>
                        </a:lnTo>
                        <a:lnTo>
                          <a:pt x="113" y="307"/>
                        </a:lnTo>
                        <a:lnTo>
                          <a:pt x="113" y="291"/>
                        </a:lnTo>
                        <a:lnTo>
                          <a:pt x="135" y="300"/>
                        </a:lnTo>
                        <a:lnTo>
                          <a:pt x="151" y="284"/>
                        </a:lnTo>
                        <a:lnTo>
                          <a:pt x="220" y="317"/>
                        </a:lnTo>
                        <a:lnTo>
                          <a:pt x="227" y="317"/>
                        </a:lnTo>
                        <a:lnTo>
                          <a:pt x="220" y="307"/>
                        </a:lnTo>
                        <a:lnTo>
                          <a:pt x="241" y="307"/>
                        </a:lnTo>
                        <a:lnTo>
                          <a:pt x="241" y="300"/>
                        </a:lnTo>
                        <a:lnTo>
                          <a:pt x="215" y="291"/>
                        </a:lnTo>
                        <a:lnTo>
                          <a:pt x="189" y="279"/>
                        </a:lnTo>
                        <a:lnTo>
                          <a:pt x="182" y="284"/>
                        </a:lnTo>
                        <a:lnTo>
                          <a:pt x="161" y="279"/>
                        </a:lnTo>
                        <a:lnTo>
                          <a:pt x="128" y="284"/>
                        </a:lnTo>
                        <a:lnTo>
                          <a:pt x="113" y="279"/>
                        </a:lnTo>
                        <a:lnTo>
                          <a:pt x="97" y="284"/>
                        </a:lnTo>
                        <a:lnTo>
                          <a:pt x="92" y="263"/>
                        </a:lnTo>
                        <a:lnTo>
                          <a:pt x="64" y="246"/>
                        </a:lnTo>
                        <a:lnTo>
                          <a:pt x="76" y="234"/>
                        </a:lnTo>
                        <a:lnTo>
                          <a:pt x="97" y="246"/>
                        </a:lnTo>
                        <a:lnTo>
                          <a:pt x="97" y="230"/>
                        </a:lnTo>
                        <a:lnTo>
                          <a:pt x="76" y="222"/>
                        </a:lnTo>
                        <a:lnTo>
                          <a:pt x="76" y="230"/>
                        </a:lnTo>
                        <a:lnTo>
                          <a:pt x="76" y="234"/>
                        </a:lnTo>
                        <a:lnTo>
                          <a:pt x="64" y="234"/>
                        </a:lnTo>
                        <a:lnTo>
                          <a:pt x="54" y="206"/>
                        </a:lnTo>
                        <a:lnTo>
                          <a:pt x="38" y="206"/>
                        </a:lnTo>
                        <a:lnTo>
                          <a:pt x="38" y="180"/>
                        </a:lnTo>
                        <a:lnTo>
                          <a:pt x="21" y="173"/>
                        </a:lnTo>
                        <a:lnTo>
                          <a:pt x="21" y="173"/>
                        </a:lnTo>
                        <a:lnTo>
                          <a:pt x="21" y="173"/>
                        </a:lnTo>
                        <a:close/>
                        <a:moveTo>
                          <a:pt x="345" y="95"/>
                        </a:moveTo>
                        <a:lnTo>
                          <a:pt x="333" y="85"/>
                        </a:lnTo>
                        <a:lnTo>
                          <a:pt x="345" y="78"/>
                        </a:lnTo>
                        <a:lnTo>
                          <a:pt x="350" y="78"/>
                        </a:lnTo>
                        <a:lnTo>
                          <a:pt x="350" y="95"/>
                        </a:lnTo>
                        <a:lnTo>
                          <a:pt x="345" y="95"/>
                        </a:lnTo>
                        <a:lnTo>
                          <a:pt x="345" y="95"/>
                        </a:lnTo>
                        <a:lnTo>
                          <a:pt x="345" y="95"/>
                        </a:lnTo>
                        <a:close/>
                        <a:moveTo>
                          <a:pt x="413" y="102"/>
                        </a:moveTo>
                        <a:lnTo>
                          <a:pt x="421" y="111"/>
                        </a:lnTo>
                        <a:lnTo>
                          <a:pt x="413" y="111"/>
                        </a:lnTo>
                        <a:lnTo>
                          <a:pt x="397" y="102"/>
                        </a:lnTo>
                        <a:lnTo>
                          <a:pt x="413" y="102"/>
                        </a:lnTo>
                        <a:lnTo>
                          <a:pt x="413" y="102"/>
                        </a:lnTo>
                        <a:lnTo>
                          <a:pt x="413" y="102"/>
                        </a:lnTo>
                        <a:close/>
                        <a:moveTo>
                          <a:pt x="397" y="140"/>
                        </a:moveTo>
                        <a:lnTo>
                          <a:pt x="397" y="168"/>
                        </a:lnTo>
                        <a:lnTo>
                          <a:pt x="387" y="152"/>
                        </a:lnTo>
                        <a:lnTo>
                          <a:pt x="383" y="156"/>
                        </a:lnTo>
                        <a:lnTo>
                          <a:pt x="383" y="168"/>
                        </a:lnTo>
                        <a:lnTo>
                          <a:pt x="376" y="156"/>
                        </a:lnTo>
                        <a:lnTo>
                          <a:pt x="376" y="152"/>
                        </a:lnTo>
                        <a:lnTo>
                          <a:pt x="397" y="140"/>
                        </a:lnTo>
                        <a:lnTo>
                          <a:pt x="397" y="140"/>
                        </a:lnTo>
                        <a:lnTo>
                          <a:pt x="397" y="140"/>
                        </a:lnTo>
                        <a:close/>
                        <a:moveTo>
                          <a:pt x="5" y="156"/>
                        </a:moveTo>
                        <a:lnTo>
                          <a:pt x="10" y="168"/>
                        </a:lnTo>
                        <a:lnTo>
                          <a:pt x="5" y="173"/>
                        </a:lnTo>
                        <a:lnTo>
                          <a:pt x="10" y="189"/>
                        </a:lnTo>
                        <a:lnTo>
                          <a:pt x="21" y="189"/>
                        </a:lnTo>
                        <a:lnTo>
                          <a:pt x="26" y="196"/>
                        </a:lnTo>
                        <a:lnTo>
                          <a:pt x="10" y="189"/>
                        </a:lnTo>
                        <a:lnTo>
                          <a:pt x="0" y="173"/>
                        </a:lnTo>
                        <a:lnTo>
                          <a:pt x="0" y="168"/>
                        </a:lnTo>
                        <a:lnTo>
                          <a:pt x="5" y="156"/>
                        </a:lnTo>
                        <a:lnTo>
                          <a:pt x="5" y="156"/>
                        </a:lnTo>
                        <a:lnTo>
                          <a:pt x="5" y="156"/>
                        </a:lnTo>
                        <a:close/>
                        <a:moveTo>
                          <a:pt x="468" y="206"/>
                        </a:moveTo>
                        <a:lnTo>
                          <a:pt x="468" y="206"/>
                        </a:lnTo>
                        <a:lnTo>
                          <a:pt x="484" y="230"/>
                        </a:lnTo>
                        <a:lnTo>
                          <a:pt x="458" y="230"/>
                        </a:lnTo>
                        <a:lnTo>
                          <a:pt x="442" y="222"/>
                        </a:lnTo>
                        <a:lnTo>
                          <a:pt x="458" y="213"/>
                        </a:lnTo>
                        <a:lnTo>
                          <a:pt x="442" y="222"/>
                        </a:lnTo>
                        <a:lnTo>
                          <a:pt x="430" y="213"/>
                        </a:lnTo>
                        <a:lnTo>
                          <a:pt x="451" y="196"/>
                        </a:lnTo>
                        <a:lnTo>
                          <a:pt x="468" y="206"/>
                        </a:lnTo>
                        <a:lnTo>
                          <a:pt x="468" y="206"/>
                        </a:lnTo>
                        <a:lnTo>
                          <a:pt x="468" y="206"/>
                        </a:lnTo>
                        <a:close/>
                        <a:moveTo>
                          <a:pt x="258" y="222"/>
                        </a:moveTo>
                        <a:lnTo>
                          <a:pt x="258" y="213"/>
                        </a:lnTo>
                        <a:lnTo>
                          <a:pt x="269" y="213"/>
                        </a:lnTo>
                        <a:lnTo>
                          <a:pt x="258" y="222"/>
                        </a:lnTo>
                        <a:lnTo>
                          <a:pt x="258" y="222"/>
                        </a:lnTo>
                        <a:lnTo>
                          <a:pt x="258" y="222"/>
                        </a:lnTo>
                        <a:close/>
                        <a:moveTo>
                          <a:pt x="279" y="222"/>
                        </a:moveTo>
                        <a:lnTo>
                          <a:pt x="269" y="213"/>
                        </a:lnTo>
                        <a:lnTo>
                          <a:pt x="279" y="222"/>
                        </a:lnTo>
                        <a:lnTo>
                          <a:pt x="279" y="222"/>
                        </a:lnTo>
                        <a:lnTo>
                          <a:pt x="279" y="222"/>
                        </a:lnTo>
                        <a:lnTo>
                          <a:pt x="279" y="222"/>
                        </a:lnTo>
                        <a:close/>
                        <a:moveTo>
                          <a:pt x="307" y="284"/>
                        </a:moveTo>
                        <a:lnTo>
                          <a:pt x="274" y="279"/>
                        </a:lnTo>
                        <a:lnTo>
                          <a:pt x="274" y="267"/>
                        </a:lnTo>
                        <a:lnTo>
                          <a:pt x="241" y="246"/>
                        </a:lnTo>
                        <a:lnTo>
                          <a:pt x="220" y="246"/>
                        </a:lnTo>
                        <a:lnTo>
                          <a:pt x="253" y="230"/>
                        </a:lnTo>
                        <a:lnTo>
                          <a:pt x="269" y="251"/>
                        </a:lnTo>
                        <a:lnTo>
                          <a:pt x="312" y="263"/>
                        </a:lnTo>
                        <a:lnTo>
                          <a:pt x="312" y="291"/>
                        </a:lnTo>
                        <a:lnTo>
                          <a:pt x="333" y="300"/>
                        </a:lnTo>
                        <a:lnTo>
                          <a:pt x="333" y="317"/>
                        </a:lnTo>
                        <a:lnTo>
                          <a:pt x="328" y="317"/>
                        </a:lnTo>
                        <a:lnTo>
                          <a:pt x="307" y="284"/>
                        </a:lnTo>
                        <a:lnTo>
                          <a:pt x="307" y="284"/>
                        </a:lnTo>
                        <a:lnTo>
                          <a:pt x="307" y="284"/>
                        </a:lnTo>
                        <a:close/>
                        <a:moveTo>
                          <a:pt x="333" y="251"/>
                        </a:moveTo>
                        <a:lnTo>
                          <a:pt x="328" y="234"/>
                        </a:lnTo>
                        <a:lnTo>
                          <a:pt x="333" y="230"/>
                        </a:lnTo>
                        <a:lnTo>
                          <a:pt x="345" y="246"/>
                        </a:lnTo>
                        <a:lnTo>
                          <a:pt x="333" y="251"/>
                        </a:lnTo>
                        <a:lnTo>
                          <a:pt x="333" y="251"/>
                        </a:lnTo>
                        <a:lnTo>
                          <a:pt x="333" y="251"/>
                        </a:lnTo>
                        <a:close/>
                        <a:moveTo>
                          <a:pt x="64" y="246"/>
                        </a:moveTo>
                        <a:lnTo>
                          <a:pt x="64" y="263"/>
                        </a:lnTo>
                        <a:lnTo>
                          <a:pt x="59" y="267"/>
                        </a:lnTo>
                        <a:lnTo>
                          <a:pt x="59" y="246"/>
                        </a:lnTo>
                        <a:lnTo>
                          <a:pt x="64" y="246"/>
                        </a:lnTo>
                        <a:lnTo>
                          <a:pt x="64" y="246"/>
                        </a:lnTo>
                        <a:lnTo>
                          <a:pt x="64" y="246"/>
                        </a:lnTo>
                        <a:close/>
                        <a:moveTo>
                          <a:pt x="404" y="267"/>
                        </a:moveTo>
                        <a:lnTo>
                          <a:pt x="404" y="263"/>
                        </a:lnTo>
                        <a:lnTo>
                          <a:pt x="413" y="263"/>
                        </a:lnTo>
                        <a:lnTo>
                          <a:pt x="404" y="267"/>
                        </a:lnTo>
                        <a:lnTo>
                          <a:pt x="404" y="267"/>
                        </a:lnTo>
                        <a:lnTo>
                          <a:pt x="404" y="267"/>
                        </a:lnTo>
                        <a:close/>
                        <a:moveTo>
                          <a:pt x="442" y="300"/>
                        </a:moveTo>
                        <a:lnTo>
                          <a:pt x="430" y="291"/>
                        </a:lnTo>
                        <a:lnTo>
                          <a:pt x="435" y="284"/>
                        </a:lnTo>
                        <a:lnTo>
                          <a:pt x="430" y="267"/>
                        </a:lnTo>
                        <a:lnTo>
                          <a:pt x="451" y="267"/>
                        </a:lnTo>
                        <a:lnTo>
                          <a:pt x="451" y="291"/>
                        </a:lnTo>
                        <a:lnTo>
                          <a:pt x="442" y="300"/>
                        </a:lnTo>
                        <a:lnTo>
                          <a:pt x="442" y="300"/>
                        </a:lnTo>
                        <a:lnTo>
                          <a:pt x="442" y="300"/>
                        </a:lnTo>
                        <a:close/>
                        <a:moveTo>
                          <a:pt x="59" y="279"/>
                        </a:moveTo>
                        <a:lnTo>
                          <a:pt x="76" y="307"/>
                        </a:lnTo>
                        <a:lnTo>
                          <a:pt x="43" y="300"/>
                        </a:lnTo>
                        <a:lnTo>
                          <a:pt x="59" y="279"/>
                        </a:lnTo>
                        <a:lnTo>
                          <a:pt x="59" y="279"/>
                        </a:lnTo>
                        <a:lnTo>
                          <a:pt x="59" y="279"/>
                        </a:lnTo>
                        <a:close/>
                        <a:moveTo>
                          <a:pt x="269" y="317"/>
                        </a:moveTo>
                        <a:lnTo>
                          <a:pt x="269" y="324"/>
                        </a:lnTo>
                        <a:lnTo>
                          <a:pt x="258" y="324"/>
                        </a:lnTo>
                        <a:lnTo>
                          <a:pt x="269" y="317"/>
                        </a:lnTo>
                        <a:lnTo>
                          <a:pt x="269" y="317"/>
                        </a:lnTo>
                        <a:lnTo>
                          <a:pt x="269" y="317"/>
                        </a:lnTo>
                        <a:close/>
                        <a:moveTo>
                          <a:pt x="366" y="341"/>
                        </a:moveTo>
                        <a:lnTo>
                          <a:pt x="350" y="317"/>
                        </a:lnTo>
                        <a:lnTo>
                          <a:pt x="350" y="317"/>
                        </a:lnTo>
                        <a:lnTo>
                          <a:pt x="366" y="324"/>
                        </a:lnTo>
                        <a:lnTo>
                          <a:pt x="366" y="341"/>
                        </a:lnTo>
                        <a:lnTo>
                          <a:pt x="366" y="341"/>
                        </a:lnTo>
                        <a:lnTo>
                          <a:pt x="366" y="341"/>
                        </a:lnTo>
                        <a:close/>
                        <a:moveTo>
                          <a:pt x="76" y="341"/>
                        </a:moveTo>
                        <a:lnTo>
                          <a:pt x="64" y="333"/>
                        </a:lnTo>
                        <a:lnTo>
                          <a:pt x="64" y="324"/>
                        </a:lnTo>
                        <a:lnTo>
                          <a:pt x="92" y="341"/>
                        </a:lnTo>
                        <a:lnTo>
                          <a:pt x="80" y="341"/>
                        </a:lnTo>
                        <a:lnTo>
                          <a:pt x="76" y="341"/>
                        </a:lnTo>
                        <a:lnTo>
                          <a:pt x="76" y="341"/>
                        </a:lnTo>
                        <a:lnTo>
                          <a:pt x="76" y="341"/>
                        </a:lnTo>
                        <a:close/>
                        <a:moveTo>
                          <a:pt x="494" y="345"/>
                        </a:moveTo>
                        <a:lnTo>
                          <a:pt x="484" y="341"/>
                        </a:lnTo>
                        <a:lnTo>
                          <a:pt x="489" y="333"/>
                        </a:lnTo>
                        <a:lnTo>
                          <a:pt x="510" y="341"/>
                        </a:lnTo>
                        <a:lnTo>
                          <a:pt x="494" y="345"/>
                        </a:lnTo>
                        <a:lnTo>
                          <a:pt x="494" y="345"/>
                        </a:lnTo>
                        <a:lnTo>
                          <a:pt x="494" y="345"/>
                        </a:lnTo>
                        <a:close/>
                        <a:moveTo>
                          <a:pt x="258" y="341"/>
                        </a:moveTo>
                        <a:lnTo>
                          <a:pt x="258" y="333"/>
                        </a:lnTo>
                        <a:lnTo>
                          <a:pt x="269" y="333"/>
                        </a:lnTo>
                        <a:lnTo>
                          <a:pt x="258" y="341"/>
                        </a:lnTo>
                        <a:lnTo>
                          <a:pt x="258" y="341"/>
                        </a:lnTo>
                        <a:lnTo>
                          <a:pt x="258" y="341"/>
                        </a:lnTo>
                        <a:close/>
                        <a:moveTo>
                          <a:pt x="435" y="357"/>
                        </a:moveTo>
                        <a:lnTo>
                          <a:pt x="442" y="345"/>
                        </a:lnTo>
                        <a:lnTo>
                          <a:pt x="468" y="341"/>
                        </a:lnTo>
                        <a:lnTo>
                          <a:pt x="435" y="357"/>
                        </a:lnTo>
                        <a:lnTo>
                          <a:pt x="435" y="357"/>
                        </a:lnTo>
                        <a:lnTo>
                          <a:pt x="435" y="357"/>
                        </a:lnTo>
                        <a:close/>
                        <a:moveTo>
                          <a:pt x="324" y="357"/>
                        </a:moveTo>
                        <a:lnTo>
                          <a:pt x="324" y="341"/>
                        </a:lnTo>
                        <a:lnTo>
                          <a:pt x="328" y="341"/>
                        </a:lnTo>
                        <a:lnTo>
                          <a:pt x="324" y="357"/>
                        </a:lnTo>
                        <a:lnTo>
                          <a:pt x="324" y="357"/>
                        </a:lnTo>
                        <a:lnTo>
                          <a:pt x="324" y="357"/>
                        </a:lnTo>
                        <a:close/>
                        <a:moveTo>
                          <a:pt x="376" y="341"/>
                        </a:moveTo>
                        <a:lnTo>
                          <a:pt x="383" y="345"/>
                        </a:lnTo>
                        <a:lnTo>
                          <a:pt x="383" y="357"/>
                        </a:lnTo>
                        <a:lnTo>
                          <a:pt x="366" y="341"/>
                        </a:lnTo>
                        <a:lnTo>
                          <a:pt x="376" y="341"/>
                        </a:lnTo>
                        <a:lnTo>
                          <a:pt x="376" y="341"/>
                        </a:lnTo>
                        <a:lnTo>
                          <a:pt x="376" y="341"/>
                        </a:lnTo>
                        <a:close/>
                        <a:moveTo>
                          <a:pt x="359" y="362"/>
                        </a:moveTo>
                        <a:lnTo>
                          <a:pt x="359" y="357"/>
                        </a:lnTo>
                        <a:lnTo>
                          <a:pt x="366" y="362"/>
                        </a:lnTo>
                        <a:lnTo>
                          <a:pt x="359" y="362"/>
                        </a:lnTo>
                        <a:lnTo>
                          <a:pt x="359" y="362"/>
                        </a:lnTo>
                        <a:lnTo>
                          <a:pt x="359" y="362"/>
                        </a:lnTo>
                        <a:close/>
                        <a:moveTo>
                          <a:pt x="397" y="362"/>
                        </a:moveTo>
                        <a:lnTo>
                          <a:pt x="387" y="357"/>
                        </a:lnTo>
                        <a:lnTo>
                          <a:pt x="397" y="357"/>
                        </a:lnTo>
                        <a:lnTo>
                          <a:pt x="397" y="362"/>
                        </a:lnTo>
                        <a:lnTo>
                          <a:pt x="397" y="362"/>
                        </a:lnTo>
                        <a:lnTo>
                          <a:pt x="397" y="362"/>
                        </a:lnTo>
                        <a:close/>
                        <a:moveTo>
                          <a:pt x="328" y="357"/>
                        </a:moveTo>
                        <a:lnTo>
                          <a:pt x="333" y="362"/>
                        </a:lnTo>
                        <a:lnTo>
                          <a:pt x="328" y="374"/>
                        </a:lnTo>
                        <a:lnTo>
                          <a:pt x="328" y="357"/>
                        </a:lnTo>
                        <a:lnTo>
                          <a:pt x="328" y="357"/>
                        </a:lnTo>
                        <a:lnTo>
                          <a:pt x="328" y="357"/>
                        </a:lnTo>
                        <a:close/>
                        <a:moveTo>
                          <a:pt x="333" y="390"/>
                        </a:moveTo>
                        <a:lnTo>
                          <a:pt x="328" y="390"/>
                        </a:lnTo>
                        <a:lnTo>
                          <a:pt x="328" y="378"/>
                        </a:lnTo>
                        <a:lnTo>
                          <a:pt x="333" y="378"/>
                        </a:lnTo>
                        <a:lnTo>
                          <a:pt x="333" y="390"/>
                        </a:lnTo>
                        <a:lnTo>
                          <a:pt x="333" y="390"/>
                        </a:lnTo>
                        <a:lnTo>
                          <a:pt x="333" y="390"/>
                        </a:lnTo>
                        <a:close/>
                        <a:moveTo>
                          <a:pt x="397" y="402"/>
                        </a:moveTo>
                        <a:lnTo>
                          <a:pt x="387" y="390"/>
                        </a:lnTo>
                        <a:lnTo>
                          <a:pt x="404" y="378"/>
                        </a:lnTo>
                        <a:lnTo>
                          <a:pt x="413" y="395"/>
                        </a:lnTo>
                        <a:lnTo>
                          <a:pt x="397" y="402"/>
                        </a:lnTo>
                        <a:lnTo>
                          <a:pt x="397" y="402"/>
                        </a:lnTo>
                        <a:lnTo>
                          <a:pt x="397" y="402"/>
                        </a:lnTo>
                        <a:close/>
                        <a:moveTo>
                          <a:pt x="383" y="395"/>
                        </a:moveTo>
                        <a:lnTo>
                          <a:pt x="376" y="395"/>
                        </a:lnTo>
                        <a:lnTo>
                          <a:pt x="387" y="390"/>
                        </a:lnTo>
                        <a:lnTo>
                          <a:pt x="383" y="395"/>
                        </a:lnTo>
                        <a:lnTo>
                          <a:pt x="383" y="395"/>
                        </a:lnTo>
                        <a:lnTo>
                          <a:pt x="383" y="395"/>
                        </a:lnTo>
                        <a:close/>
                        <a:moveTo>
                          <a:pt x="506" y="402"/>
                        </a:moveTo>
                        <a:lnTo>
                          <a:pt x="494" y="390"/>
                        </a:lnTo>
                        <a:lnTo>
                          <a:pt x="510" y="395"/>
                        </a:lnTo>
                        <a:lnTo>
                          <a:pt x="506" y="402"/>
                        </a:lnTo>
                        <a:lnTo>
                          <a:pt x="506" y="402"/>
                        </a:lnTo>
                        <a:lnTo>
                          <a:pt x="506" y="402"/>
                        </a:lnTo>
                        <a:close/>
                        <a:moveTo>
                          <a:pt x="350" y="402"/>
                        </a:moveTo>
                        <a:lnTo>
                          <a:pt x="345" y="395"/>
                        </a:lnTo>
                        <a:lnTo>
                          <a:pt x="350" y="402"/>
                        </a:lnTo>
                        <a:lnTo>
                          <a:pt x="350" y="402"/>
                        </a:lnTo>
                        <a:lnTo>
                          <a:pt x="350" y="402"/>
                        </a:lnTo>
                        <a:lnTo>
                          <a:pt x="350" y="402"/>
                        </a:lnTo>
                        <a:close/>
                        <a:moveTo>
                          <a:pt x="376" y="402"/>
                        </a:moveTo>
                        <a:lnTo>
                          <a:pt x="366" y="395"/>
                        </a:lnTo>
                        <a:lnTo>
                          <a:pt x="376" y="395"/>
                        </a:lnTo>
                        <a:lnTo>
                          <a:pt x="376" y="402"/>
                        </a:lnTo>
                        <a:lnTo>
                          <a:pt x="376" y="402"/>
                        </a:lnTo>
                        <a:lnTo>
                          <a:pt x="376" y="402"/>
                        </a:lnTo>
                        <a:close/>
                        <a:moveTo>
                          <a:pt x="506" y="428"/>
                        </a:moveTo>
                        <a:lnTo>
                          <a:pt x="506" y="418"/>
                        </a:lnTo>
                        <a:lnTo>
                          <a:pt x="510" y="411"/>
                        </a:lnTo>
                        <a:lnTo>
                          <a:pt x="539" y="411"/>
                        </a:lnTo>
                        <a:lnTo>
                          <a:pt x="506" y="418"/>
                        </a:lnTo>
                        <a:lnTo>
                          <a:pt x="506" y="428"/>
                        </a:lnTo>
                        <a:lnTo>
                          <a:pt x="506" y="428"/>
                        </a:lnTo>
                        <a:lnTo>
                          <a:pt x="506" y="428"/>
                        </a:lnTo>
                        <a:close/>
                        <a:moveTo>
                          <a:pt x="430" y="418"/>
                        </a:moveTo>
                        <a:lnTo>
                          <a:pt x="421" y="411"/>
                        </a:lnTo>
                        <a:lnTo>
                          <a:pt x="435" y="411"/>
                        </a:lnTo>
                        <a:lnTo>
                          <a:pt x="430" y="418"/>
                        </a:lnTo>
                        <a:lnTo>
                          <a:pt x="430" y="418"/>
                        </a:lnTo>
                        <a:lnTo>
                          <a:pt x="430" y="418"/>
                        </a:lnTo>
                        <a:close/>
                        <a:moveTo>
                          <a:pt x="397" y="428"/>
                        </a:moveTo>
                        <a:lnTo>
                          <a:pt x="387" y="411"/>
                        </a:lnTo>
                        <a:lnTo>
                          <a:pt x="397" y="418"/>
                        </a:lnTo>
                        <a:lnTo>
                          <a:pt x="397" y="428"/>
                        </a:lnTo>
                        <a:lnTo>
                          <a:pt x="397" y="428"/>
                        </a:lnTo>
                        <a:lnTo>
                          <a:pt x="397" y="428"/>
                        </a:lnTo>
                        <a:close/>
                        <a:moveTo>
                          <a:pt x="324" y="428"/>
                        </a:moveTo>
                        <a:lnTo>
                          <a:pt x="324" y="418"/>
                        </a:lnTo>
                        <a:lnTo>
                          <a:pt x="333" y="418"/>
                        </a:lnTo>
                        <a:lnTo>
                          <a:pt x="333" y="428"/>
                        </a:lnTo>
                        <a:lnTo>
                          <a:pt x="324" y="428"/>
                        </a:lnTo>
                        <a:lnTo>
                          <a:pt x="324" y="428"/>
                        </a:lnTo>
                        <a:lnTo>
                          <a:pt x="324" y="428"/>
                        </a:lnTo>
                        <a:close/>
                        <a:moveTo>
                          <a:pt x="565" y="435"/>
                        </a:moveTo>
                        <a:lnTo>
                          <a:pt x="560" y="435"/>
                        </a:lnTo>
                        <a:lnTo>
                          <a:pt x="565" y="428"/>
                        </a:lnTo>
                        <a:lnTo>
                          <a:pt x="565" y="435"/>
                        </a:lnTo>
                        <a:lnTo>
                          <a:pt x="565" y="435"/>
                        </a:lnTo>
                        <a:lnTo>
                          <a:pt x="565" y="435"/>
                        </a:lnTo>
                        <a:close/>
                        <a:moveTo>
                          <a:pt x="473" y="435"/>
                        </a:moveTo>
                        <a:lnTo>
                          <a:pt x="458" y="435"/>
                        </a:lnTo>
                        <a:lnTo>
                          <a:pt x="458" y="435"/>
                        </a:lnTo>
                        <a:lnTo>
                          <a:pt x="468" y="428"/>
                        </a:lnTo>
                        <a:lnTo>
                          <a:pt x="473" y="435"/>
                        </a:lnTo>
                        <a:lnTo>
                          <a:pt x="473" y="435"/>
                        </a:lnTo>
                        <a:lnTo>
                          <a:pt x="473" y="435"/>
                        </a:lnTo>
                        <a:close/>
                        <a:moveTo>
                          <a:pt x="397" y="452"/>
                        </a:moveTo>
                        <a:lnTo>
                          <a:pt x="397" y="444"/>
                        </a:lnTo>
                        <a:lnTo>
                          <a:pt x="404" y="444"/>
                        </a:lnTo>
                        <a:lnTo>
                          <a:pt x="397" y="452"/>
                        </a:lnTo>
                        <a:lnTo>
                          <a:pt x="397" y="452"/>
                        </a:lnTo>
                        <a:lnTo>
                          <a:pt x="397" y="452"/>
                        </a:lnTo>
                        <a:close/>
                        <a:moveTo>
                          <a:pt x="539" y="452"/>
                        </a:moveTo>
                        <a:lnTo>
                          <a:pt x="527" y="444"/>
                        </a:lnTo>
                        <a:lnTo>
                          <a:pt x="543" y="444"/>
                        </a:lnTo>
                        <a:lnTo>
                          <a:pt x="539" y="452"/>
                        </a:lnTo>
                        <a:lnTo>
                          <a:pt x="539" y="452"/>
                        </a:lnTo>
                        <a:lnTo>
                          <a:pt x="539" y="452"/>
                        </a:lnTo>
                        <a:close/>
                        <a:moveTo>
                          <a:pt x="591" y="444"/>
                        </a:moveTo>
                        <a:lnTo>
                          <a:pt x="581" y="468"/>
                        </a:lnTo>
                        <a:lnTo>
                          <a:pt x="565" y="485"/>
                        </a:lnTo>
                        <a:lnTo>
                          <a:pt x="560" y="489"/>
                        </a:lnTo>
                        <a:lnTo>
                          <a:pt x="560" y="468"/>
                        </a:lnTo>
                        <a:lnTo>
                          <a:pt x="565" y="456"/>
                        </a:lnTo>
                        <a:lnTo>
                          <a:pt x="591" y="444"/>
                        </a:lnTo>
                        <a:lnTo>
                          <a:pt x="591" y="444"/>
                        </a:lnTo>
                        <a:lnTo>
                          <a:pt x="591" y="444"/>
                        </a:lnTo>
                        <a:close/>
                        <a:moveTo>
                          <a:pt x="421" y="452"/>
                        </a:moveTo>
                        <a:lnTo>
                          <a:pt x="421" y="444"/>
                        </a:lnTo>
                        <a:lnTo>
                          <a:pt x="430" y="452"/>
                        </a:lnTo>
                        <a:lnTo>
                          <a:pt x="421" y="452"/>
                        </a:lnTo>
                        <a:lnTo>
                          <a:pt x="421" y="452"/>
                        </a:lnTo>
                        <a:lnTo>
                          <a:pt x="421" y="452"/>
                        </a:lnTo>
                        <a:close/>
                        <a:moveTo>
                          <a:pt x="227" y="452"/>
                        </a:moveTo>
                        <a:lnTo>
                          <a:pt x="236" y="456"/>
                        </a:lnTo>
                        <a:lnTo>
                          <a:pt x="236" y="468"/>
                        </a:lnTo>
                        <a:lnTo>
                          <a:pt x="220" y="468"/>
                        </a:lnTo>
                        <a:lnTo>
                          <a:pt x="227" y="452"/>
                        </a:lnTo>
                        <a:lnTo>
                          <a:pt x="227" y="452"/>
                        </a:lnTo>
                        <a:lnTo>
                          <a:pt x="227" y="452"/>
                        </a:lnTo>
                        <a:close/>
                        <a:moveTo>
                          <a:pt x="522" y="529"/>
                        </a:moveTo>
                        <a:lnTo>
                          <a:pt x="510" y="513"/>
                        </a:lnTo>
                        <a:lnTo>
                          <a:pt x="527" y="489"/>
                        </a:lnTo>
                        <a:lnTo>
                          <a:pt x="522" y="529"/>
                        </a:lnTo>
                        <a:lnTo>
                          <a:pt x="522" y="529"/>
                        </a:lnTo>
                        <a:lnTo>
                          <a:pt x="522" y="529"/>
                        </a:lnTo>
                        <a:close/>
                        <a:moveTo>
                          <a:pt x="274" y="546"/>
                        </a:moveTo>
                        <a:lnTo>
                          <a:pt x="269" y="539"/>
                        </a:lnTo>
                        <a:lnTo>
                          <a:pt x="269" y="513"/>
                        </a:lnTo>
                        <a:lnTo>
                          <a:pt x="279" y="522"/>
                        </a:lnTo>
                        <a:lnTo>
                          <a:pt x="279" y="506"/>
                        </a:lnTo>
                        <a:lnTo>
                          <a:pt x="291" y="522"/>
                        </a:lnTo>
                        <a:lnTo>
                          <a:pt x="312" y="513"/>
                        </a:lnTo>
                        <a:lnTo>
                          <a:pt x="307" y="522"/>
                        </a:lnTo>
                        <a:lnTo>
                          <a:pt x="324" y="529"/>
                        </a:lnTo>
                        <a:lnTo>
                          <a:pt x="350" y="529"/>
                        </a:lnTo>
                        <a:lnTo>
                          <a:pt x="397" y="539"/>
                        </a:lnTo>
                        <a:lnTo>
                          <a:pt x="421" y="539"/>
                        </a:lnTo>
                        <a:lnTo>
                          <a:pt x="421" y="546"/>
                        </a:lnTo>
                        <a:lnTo>
                          <a:pt x="430" y="555"/>
                        </a:lnTo>
                        <a:lnTo>
                          <a:pt x="458" y="539"/>
                        </a:lnTo>
                        <a:lnTo>
                          <a:pt x="458" y="555"/>
                        </a:lnTo>
                        <a:lnTo>
                          <a:pt x="442" y="563"/>
                        </a:lnTo>
                        <a:lnTo>
                          <a:pt x="366" y="567"/>
                        </a:lnTo>
                        <a:lnTo>
                          <a:pt x="350" y="567"/>
                        </a:lnTo>
                        <a:lnTo>
                          <a:pt x="350" y="555"/>
                        </a:lnTo>
                        <a:lnTo>
                          <a:pt x="328" y="546"/>
                        </a:lnTo>
                        <a:lnTo>
                          <a:pt x="274" y="546"/>
                        </a:lnTo>
                        <a:lnTo>
                          <a:pt x="274" y="546"/>
                        </a:lnTo>
                        <a:lnTo>
                          <a:pt x="274" y="546"/>
                        </a:lnTo>
                        <a:close/>
                        <a:moveTo>
                          <a:pt x="494" y="529"/>
                        </a:moveTo>
                        <a:lnTo>
                          <a:pt x="506" y="529"/>
                        </a:lnTo>
                        <a:lnTo>
                          <a:pt x="510" y="522"/>
                        </a:lnTo>
                        <a:lnTo>
                          <a:pt x="494" y="529"/>
                        </a:lnTo>
                        <a:lnTo>
                          <a:pt x="494" y="529"/>
                        </a:lnTo>
                        <a:lnTo>
                          <a:pt x="494" y="52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4" name="Freeform 464">
                    <a:extLst>
                      <a:ext uri="{FF2B5EF4-FFF2-40B4-BE49-F238E27FC236}">
                        <a16:creationId xmlns:a16="http://schemas.microsoft.com/office/drawing/2014/main" id="{032C486A-1584-48CA-BED2-90207D49F1E4}"/>
                      </a:ext>
                    </a:extLst>
                  </p:cNvPr>
                  <p:cNvSpPr>
                    <a:spLocks noEditPoints="1"/>
                  </p:cNvSpPr>
                  <p:nvPr/>
                </p:nvSpPr>
                <p:spPr bwMode="gray">
                  <a:xfrm>
                    <a:off x="7115264" y="2574650"/>
                    <a:ext cx="174136" cy="149864"/>
                  </a:xfrm>
                  <a:custGeom>
                    <a:avLst/>
                    <a:gdLst>
                      <a:gd name="T0" fmla="*/ 82 w 423"/>
                      <a:gd name="T1" fmla="*/ 83 h 364"/>
                      <a:gd name="T2" fmla="*/ 125 w 423"/>
                      <a:gd name="T3" fmla="*/ 95 h 364"/>
                      <a:gd name="T4" fmla="*/ 125 w 423"/>
                      <a:gd name="T5" fmla="*/ 71 h 364"/>
                      <a:gd name="T6" fmla="*/ 151 w 423"/>
                      <a:gd name="T7" fmla="*/ 38 h 364"/>
                      <a:gd name="T8" fmla="*/ 196 w 423"/>
                      <a:gd name="T9" fmla="*/ 0 h 364"/>
                      <a:gd name="T10" fmla="*/ 264 w 423"/>
                      <a:gd name="T11" fmla="*/ 54 h 364"/>
                      <a:gd name="T12" fmla="*/ 340 w 423"/>
                      <a:gd name="T13" fmla="*/ 71 h 364"/>
                      <a:gd name="T14" fmla="*/ 378 w 423"/>
                      <a:gd name="T15" fmla="*/ 88 h 364"/>
                      <a:gd name="T16" fmla="*/ 389 w 423"/>
                      <a:gd name="T17" fmla="*/ 104 h 364"/>
                      <a:gd name="T18" fmla="*/ 389 w 423"/>
                      <a:gd name="T19" fmla="*/ 149 h 364"/>
                      <a:gd name="T20" fmla="*/ 356 w 423"/>
                      <a:gd name="T21" fmla="*/ 137 h 364"/>
                      <a:gd name="T22" fmla="*/ 260 w 423"/>
                      <a:gd name="T23" fmla="*/ 128 h 364"/>
                      <a:gd name="T24" fmla="*/ 212 w 423"/>
                      <a:gd name="T25" fmla="*/ 121 h 364"/>
                      <a:gd name="T26" fmla="*/ 163 w 423"/>
                      <a:gd name="T27" fmla="*/ 128 h 364"/>
                      <a:gd name="T28" fmla="*/ 189 w 423"/>
                      <a:gd name="T29" fmla="*/ 199 h 364"/>
                      <a:gd name="T30" fmla="*/ 243 w 423"/>
                      <a:gd name="T31" fmla="*/ 260 h 364"/>
                      <a:gd name="T32" fmla="*/ 286 w 423"/>
                      <a:gd name="T33" fmla="*/ 310 h 364"/>
                      <a:gd name="T34" fmla="*/ 243 w 423"/>
                      <a:gd name="T35" fmla="*/ 276 h 364"/>
                      <a:gd name="T36" fmla="*/ 175 w 423"/>
                      <a:gd name="T37" fmla="*/ 253 h 364"/>
                      <a:gd name="T38" fmla="*/ 108 w 423"/>
                      <a:gd name="T39" fmla="*/ 203 h 364"/>
                      <a:gd name="T40" fmla="*/ 141 w 423"/>
                      <a:gd name="T41" fmla="*/ 203 h 364"/>
                      <a:gd name="T42" fmla="*/ 104 w 423"/>
                      <a:gd name="T43" fmla="*/ 144 h 364"/>
                      <a:gd name="T44" fmla="*/ 54 w 423"/>
                      <a:gd name="T45" fmla="*/ 111 h 364"/>
                      <a:gd name="T46" fmla="*/ 12 w 423"/>
                      <a:gd name="T47" fmla="*/ 128 h 364"/>
                      <a:gd name="T48" fmla="*/ 12 w 423"/>
                      <a:gd name="T49" fmla="*/ 95 h 364"/>
                      <a:gd name="T50" fmla="*/ 66 w 423"/>
                      <a:gd name="T51" fmla="*/ 137 h 364"/>
                      <a:gd name="T52" fmla="*/ 87 w 423"/>
                      <a:gd name="T53" fmla="*/ 144 h 364"/>
                      <a:gd name="T54" fmla="*/ 71 w 423"/>
                      <a:gd name="T55" fmla="*/ 177 h 364"/>
                      <a:gd name="T56" fmla="*/ 54 w 423"/>
                      <a:gd name="T57" fmla="*/ 128 h 364"/>
                      <a:gd name="T58" fmla="*/ 71 w 423"/>
                      <a:gd name="T59" fmla="*/ 177 h 364"/>
                      <a:gd name="T60" fmla="*/ 87 w 423"/>
                      <a:gd name="T61" fmla="*/ 165 h 364"/>
                      <a:gd name="T62" fmla="*/ 87 w 423"/>
                      <a:gd name="T63" fmla="*/ 165 h 364"/>
                      <a:gd name="T64" fmla="*/ 120 w 423"/>
                      <a:gd name="T65" fmla="*/ 236 h 364"/>
                      <a:gd name="T66" fmla="*/ 120 w 423"/>
                      <a:gd name="T67" fmla="*/ 236 h 364"/>
                      <a:gd name="T68" fmla="*/ 226 w 423"/>
                      <a:gd name="T69" fmla="*/ 293 h 364"/>
                      <a:gd name="T70" fmla="*/ 243 w 423"/>
                      <a:gd name="T71" fmla="*/ 288 h 364"/>
                      <a:gd name="T72" fmla="*/ 226 w 423"/>
                      <a:gd name="T73" fmla="*/ 293 h 364"/>
                      <a:gd name="T74" fmla="*/ 260 w 423"/>
                      <a:gd name="T75" fmla="*/ 305 h 364"/>
                      <a:gd name="T76" fmla="*/ 248 w 423"/>
                      <a:gd name="T77" fmla="*/ 310 h 364"/>
                      <a:gd name="T78" fmla="*/ 196 w 423"/>
                      <a:gd name="T79" fmla="*/ 310 h 364"/>
                      <a:gd name="T80" fmla="*/ 179 w 423"/>
                      <a:gd name="T81" fmla="*/ 314 h 364"/>
                      <a:gd name="T82" fmla="*/ 352 w 423"/>
                      <a:gd name="T83" fmla="*/ 359 h 364"/>
                      <a:gd name="T84" fmla="*/ 314 w 423"/>
                      <a:gd name="T85" fmla="*/ 331 h 364"/>
                      <a:gd name="T86" fmla="*/ 286 w 423"/>
                      <a:gd name="T87" fmla="*/ 326 h 364"/>
                      <a:gd name="T88" fmla="*/ 217 w 423"/>
                      <a:gd name="T89" fmla="*/ 314 h 364"/>
                      <a:gd name="T90" fmla="*/ 234 w 423"/>
                      <a:gd name="T91" fmla="*/ 326 h 364"/>
                      <a:gd name="T92" fmla="*/ 234 w 423"/>
                      <a:gd name="T93" fmla="*/ 331 h 364"/>
                      <a:gd name="T94" fmla="*/ 243 w 423"/>
                      <a:gd name="T95" fmla="*/ 343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3" h="364">
                        <a:moveTo>
                          <a:pt x="12" y="95"/>
                        </a:moveTo>
                        <a:lnTo>
                          <a:pt x="66" y="95"/>
                        </a:lnTo>
                        <a:lnTo>
                          <a:pt x="82" y="83"/>
                        </a:lnTo>
                        <a:lnTo>
                          <a:pt x="99" y="95"/>
                        </a:lnTo>
                        <a:lnTo>
                          <a:pt x="120" y="104"/>
                        </a:lnTo>
                        <a:lnTo>
                          <a:pt x="125" y="95"/>
                        </a:lnTo>
                        <a:lnTo>
                          <a:pt x="137" y="83"/>
                        </a:lnTo>
                        <a:lnTo>
                          <a:pt x="125" y="83"/>
                        </a:lnTo>
                        <a:lnTo>
                          <a:pt x="125" y="71"/>
                        </a:lnTo>
                        <a:lnTo>
                          <a:pt x="158" y="66"/>
                        </a:lnTo>
                        <a:lnTo>
                          <a:pt x="158" y="50"/>
                        </a:lnTo>
                        <a:lnTo>
                          <a:pt x="151" y="38"/>
                        </a:lnTo>
                        <a:lnTo>
                          <a:pt x="151" y="33"/>
                        </a:lnTo>
                        <a:lnTo>
                          <a:pt x="196" y="17"/>
                        </a:lnTo>
                        <a:lnTo>
                          <a:pt x="196" y="0"/>
                        </a:lnTo>
                        <a:lnTo>
                          <a:pt x="217" y="12"/>
                        </a:lnTo>
                        <a:lnTo>
                          <a:pt x="260" y="33"/>
                        </a:lnTo>
                        <a:lnTo>
                          <a:pt x="264" y="54"/>
                        </a:lnTo>
                        <a:lnTo>
                          <a:pt x="286" y="54"/>
                        </a:lnTo>
                        <a:lnTo>
                          <a:pt x="297" y="66"/>
                        </a:lnTo>
                        <a:lnTo>
                          <a:pt x="340" y="71"/>
                        </a:lnTo>
                        <a:lnTo>
                          <a:pt x="373" y="54"/>
                        </a:lnTo>
                        <a:lnTo>
                          <a:pt x="378" y="71"/>
                        </a:lnTo>
                        <a:lnTo>
                          <a:pt x="378" y="88"/>
                        </a:lnTo>
                        <a:lnTo>
                          <a:pt x="394" y="95"/>
                        </a:lnTo>
                        <a:lnTo>
                          <a:pt x="389" y="95"/>
                        </a:lnTo>
                        <a:lnTo>
                          <a:pt x="389" y="104"/>
                        </a:lnTo>
                        <a:lnTo>
                          <a:pt x="423" y="121"/>
                        </a:lnTo>
                        <a:lnTo>
                          <a:pt x="394" y="121"/>
                        </a:lnTo>
                        <a:lnTo>
                          <a:pt x="389" y="149"/>
                        </a:lnTo>
                        <a:lnTo>
                          <a:pt x="373" y="149"/>
                        </a:lnTo>
                        <a:lnTo>
                          <a:pt x="373" y="144"/>
                        </a:lnTo>
                        <a:lnTo>
                          <a:pt x="356" y="137"/>
                        </a:lnTo>
                        <a:lnTo>
                          <a:pt x="335" y="128"/>
                        </a:lnTo>
                        <a:lnTo>
                          <a:pt x="302" y="137"/>
                        </a:lnTo>
                        <a:lnTo>
                          <a:pt x="260" y="128"/>
                        </a:lnTo>
                        <a:lnTo>
                          <a:pt x="243" y="121"/>
                        </a:lnTo>
                        <a:lnTo>
                          <a:pt x="234" y="121"/>
                        </a:lnTo>
                        <a:lnTo>
                          <a:pt x="212" y="121"/>
                        </a:lnTo>
                        <a:lnTo>
                          <a:pt x="196" y="144"/>
                        </a:lnTo>
                        <a:lnTo>
                          <a:pt x="179" y="121"/>
                        </a:lnTo>
                        <a:lnTo>
                          <a:pt x="163" y="128"/>
                        </a:lnTo>
                        <a:lnTo>
                          <a:pt x="158" y="161"/>
                        </a:lnTo>
                        <a:lnTo>
                          <a:pt x="189" y="182"/>
                        </a:lnTo>
                        <a:lnTo>
                          <a:pt x="189" y="199"/>
                        </a:lnTo>
                        <a:lnTo>
                          <a:pt x="189" y="215"/>
                        </a:lnTo>
                        <a:lnTo>
                          <a:pt x="212" y="232"/>
                        </a:lnTo>
                        <a:lnTo>
                          <a:pt x="243" y="260"/>
                        </a:lnTo>
                        <a:lnTo>
                          <a:pt x="264" y="276"/>
                        </a:lnTo>
                        <a:lnTo>
                          <a:pt x="264" y="293"/>
                        </a:lnTo>
                        <a:lnTo>
                          <a:pt x="286" y="310"/>
                        </a:lnTo>
                        <a:lnTo>
                          <a:pt x="297" y="314"/>
                        </a:lnTo>
                        <a:lnTo>
                          <a:pt x="286" y="314"/>
                        </a:lnTo>
                        <a:lnTo>
                          <a:pt x="243" y="276"/>
                        </a:lnTo>
                        <a:lnTo>
                          <a:pt x="205" y="272"/>
                        </a:lnTo>
                        <a:lnTo>
                          <a:pt x="175" y="272"/>
                        </a:lnTo>
                        <a:lnTo>
                          <a:pt x="175" y="253"/>
                        </a:lnTo>
                        <a:lnTo>
                          <a:pt x="137" y="236"/>
                        </a:lnTo>
                        <a:lnTo>
                          <a:pt x="120" y="215"/>
                        </a:lnTo>
                        <a:lnTo>
                          <a:pt x="108" y="203"/>
                        </a:lnTo>
                        <a:lnTo>
                          <a:pt x="125" y="203"/>
                        </a:lnTo>
                        <a:lnTo>
                          <a:pt x="125" y="199"/>
                        </a:lnTo>
                        <a:lnTo>
                          <a:pt x="141" y="203"/>
                        </a:lnTo>
                        <a:lnTo>
                          <a:pt x="104" y="177"/>
                        </a:lnTo>
                        <a:lnTo>
                          <a:pt x="99" y="165"/>
                        </a:lnTo>
                        <a:lnTo>
                          <a:pt x="104" y="144"/>
                        </a:lnTo>
                        <a:lnTo>
                          <a:pt x="99" y="128"/>
                        </a:lnTo>
                        <a:lnTo>
                          <a:pt x="71" y="111"/>
                        </a:lnTo>
                        <a:lnTo>
                          <a:pt x="54" y="111"/>
                        </a:lnTo>
                        <a:lnTo>
                          <a:pt x="49" y="144"/>
                        </a:lnTo>
                        <a:lnTo>
                          <a:pt x="28" y="161"/>
                        </a:lnTo>
                        <a:lnTo>
                          <a:pt x="12" y="128"/>
                        </a:lnTo>
                        <a:lnTo>
                          <a:pt x="0" y="95"/>
                        </a:lnTo>
                        <a:lnTo>
                          <a:pt x="12" y="95"/>
                        </a:lnTo>
                        <a:lnTo>
                          <a:pt x="12" y="95"/>
                        </a:lnTo>
                        <a:lnTo>
                          <a:pt x="12" y="95"/>
                        </a:lnTo>
                        <a:close/>
                        <a:moveTo>
                          <a:pt x="87" y="144"/>
                        </a:moveTo>
                        <a:lnTo>
                          <a:pt x="66" y="137"/>
                        </a:lnTo>
                        <a:lnTo>
                          <a:pt x="71" y="121"/>
                        </a:lnTo>
                        <a:lnTo>
                          <a:pt x="99" y="144"/>
                        </a:lnTo>
                        <a:lnTo>
                          <a:pt x="87" y="144"/>
                        </a:lnTo>
                        <a:lnTo>
                          <a:pt x="87" y="144"/>
                        </a:lnTo>
                        <a:lnTo>
                          <a:pt x="87" y="144"/>
                        </a:lnTo>
                        <a:close/>
                        <a:moveTo>
                          <a:pt x="71" y="177"/>
                        </a:moveTo>
                        <a:lnTo>
                          <a:pt x="54" y="149"/>
                        </a:lnTo>
                        <a:lnTo>
                          <a:pt x="66" y="149"/>
                        </a:lnTo>
                        <a:lnTo>
                          <a:pt x="54" y="128"/>
                        </a:lnTo>
                        <a:lnTo>
                          <a:pt x="54" y="128"/>
                        </a:lnTo>
                        <a:lnTo>
                          <a:pt x="71" y="144"/>
                        </a:lnTo>
                        <a:lnTo>
                          <a:pt x="71" y="177"/>
                        </a:lnTo>
                        <a:lnTo>
                          <a:pt x="71" y="177"/>
                        </a:lnTo>
                        <a:lnTo>
                          <a:pt x="71" y="177"/>
                        </a:lnTo>
                        <a:close/>
                        <a:moveTo>
                          <a:pt x="87" y="165"/>
                        </a:moveTo>
                        <a:lnTo>
                          <a:pt x="125" y="199"/>
                        </a:lnTo>
                        <a:lnTo>
                          <a:pt x="108" y="199"/>
                        </a:lnTo>
                        <a:lnTo>
                          <a:pt x="87" y="165"/>
                        </a:lnTo>
                        <a:lnTo>
                          <a:pt x="87" y="165"/>
                        </a:lnTo>
                        <a:lnTo>
                          <a:pt x="87" y="165"/>
                        </a:lnTo>
                        <a:close/>
                        <a:moveTo>
                          <a:pt x="120" y="236"/>
                        </a:moveTo>
                        <a:lnTo>
                          <a:pt x="99" y="215"/>
                        </a:lnTo>
                        <a:lnTo>
                          <a:pt x="108" y="220"/>
                        </a:lnTo>
                        <a:lnTo>
                          <a:pt x="120" y="236"/>
                        </a:lnTo>
                        <a:lnTo>
                          <a:pt x="120" y="236"/>
                        </a:lnTo>
                        <a:lnTo>
                          <a:pt x="120" y="236"/>
                        </a:lnTo>
                        <a:close/>
                        <a:moveTo>
                          <a:pt x="226" y="293"/>
                        </a:moveTo>
                        <a:lnTo>
                          <a:pt x="205" y="288"/>
                        </a:lnTo>
                        <a:lnTo>
                          <a:pt x="205" y="288"/>
                        </a:lnTo>
                        <a:lnTo>
                          <a:pt x="243" y="288"/>
                        </a:lnTo>
                        <a:lnTo>
                          <a:pt x="226" y="293"/>
                        </a:lnTo>
                        <a:lnTo>
                          <a:pt x="226" y="293"/>
                        </a:lnTo>
                        <a:lnTo>
                          <a:pt x="226" y="293"/>
                        </a:lnTo>
                        <a:close/>
                        <a:moveTo>
                          <a:pt x="248" y="310"/>
                        </a:moveTo>
                        <a:lnTo>
                          <a:pt x="205" y="305"/>
                        </a:lnTo>
                        <a:lnTo>
                          <a:pt x="260" y="305"/>
                        </a:lnTo>
                        <a:lnTo>
                          <a:pt x="248" y="310"/>
                        </a:lnTo>
                        <a:lnTo>
                          <a:pt x="248" y="310"/>
                        </a:lnTo>
                        <a:lnTo>
                          <a:pt x="248" y="310"/>
                        </a:lnTo>
                        <a:close/>
                        <a:moveTo>
                          <a:pt x="179" y="314"/>
                        </a:moveTo>
                        <a:lnTo>
                          <a:pt x="179" y="310"/>
                        </a:lnTo>
                        <a:lnTo>
                          <a:pt x="196" y="310"/>
                        </a:lnTo>
                        <a:lnTo>
                          <a:pt x="179" y="314"/>
                        </a:lnTo>
                        <a:lnTo>
                          <a:pt x="179" y="314"/>
                        </a:lnTo>
                        <a:lnTo>
                          <a:pt x="179" y="314"/>
                        </a:lnTo>
                        <a:close/>
                        <a:moveTo>
                          <a:pt x="286" y="326"/>
                        </a:moveTo>
                        <a:lnTo>
                          <a:pt x="302" y="326"/>
                        </a:lnTo>
                        <a:lnTo>
                          <a:pt x="352" y="359"/>
                        </a:lnTo>
                        <a:lnTo>
                          <a:pt x="352" y="364"/>
                        </a:lnTo>
                        <a:lnTo>
                          <a:pt x="352" y="364"/>
                        </a:lnTo>
                        <a:lnTo>
                          <a:pt x="314" y="331"/>
                        </a:lnTo>
                        <a:lnTo>
                          <a:pt x="248" y="310"/>
                        </a:lnTo>
                        <a:lnTo>
                          <a:pt x="286" y="326"/>
                        </a:lnTo>
                        <a:lnTo>
                          <a:pt x="286" y="326"/>
                        </a:lnTo>
                        <a:lnTo>
                          <a:pt x="286" y="326"/>
                        </a:lnTo>
                        <a:close/>
                        <a:moveTo>
                          <a:pt x="234" y="326"/>
                        </a:moveTo>
                        <a:lnTo>
                          <a:pt x="217" y="314"/>
                        </a:lnTo>
                        <a:lnTo>
                          <a:pt x="260" y="326"/>
                        </a:lnTo>
                        <a:lnTo>
                          <a:pt x="234" y="326"/>
                        </a:lnTo>
                        <a:lnTo>
                          <a:pt x="234" y="326"/>
                        </a:lnTo>
                        <a:lnTo>
                          <a:pt x="234" y="326"/>
                        </a:lnTo>
                        <a:close/>
                        <a:moveTo>
                          <a:pt x="243" y="343"/>
                        </a:moveTo>
                        <a:lnTo>
                          <a:pt x="234" y="331"/>
                        </a:lnTo>
                        <a:lnTo>
                          <a:pt x="243" y="331"/>
                        </a:lnTo>
                        <a:lnTo>
                          <a:pt x="243" y="343"/>
                        </a:lnTo>
                        <a:lnTo>
                          <a:pt x="243" y="343"/>
                        </a:lnTo>
                        <a:lnTo>
                          <a:pt x="243" y="34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5" name="Freeform 465">
                    <a:extLst>
                      <a:ext uri="{FF2B5EF4-FFF2-40B4-BE49-F238E27FC236}">
                        <a16:creationId xmlns:a16="http://schemas.microsoft.com/office/drawing/2014/main" id="{B274844B-288A-405E-856E-A7642D05B4BC}"/>
                      </a:ext>
                    </a:extLst>
                  </p:cNvPr>
                  <p:cNvSpPr>
                    <a:spLocks/>
                  </p:cNvSpPr>
                  <p:nvPr/>
                </p:nvSpPr>
                <p:spPr bwMode="gray">
                  <a:xfrm>
                    <a:off x="7188130" y="2498894"/>
                    <a:ext cx="197190" cy="105811"/>
                  </a:xfrm>
                  <a:custGeom>
                    <a:avLst/>
                    <a:gdLst>
                      <a:gd name="T0" fmla="*/ 298 w 479"/>
                      <a:gd name="T1" fmla="*/ 224 h 257"/>
                      <a:gd name="T2" fmla="*/ 248 w 479"/>
                      <a:gd name="T3" fmla="*/ 217 h 257"/>
                      <a:gd name="T4" fmla="*/ 227 w 479"/>
                      <a:gd name="T5" fmla="*/ 234 h 257"/>
                      <a:gd name="T6" fmla="*/ 215 w 479"/>
                      <a:gd name="T7" fmla="*/ 234 h 257"/>
                      <a:gd name="T8" fmla="*/ 194 w 479"/>
                      <a:gd name="T9" fmla="*/ 241 h 257"/>
                      <a:gd name="T10" fmla="*/ 163 w 479"/>
                      <a:gd name="T11" fmla="*/ 257 h 257"/>
                      <a:gd name="T12" fmla="*/ 118 w 479"/>
                      <a:gd name="T13" fmla="*/ 250 h 257"/>
                      <a:gd name="T14" fmla="*/ 109 w 479"/>
                      <a:gd name="T15" fmla="*/ 241 h 257"/>
                      <a:gd name="T16" fmla="*/ 87 w 479"/>
                      <a:gd name="T17" fmla="*/ 241 h 257"/>
                      <a:gd name="T18" fmla="*/ 80 w 479"/>
                      <a:gd name="T19" fmla="*/ 217 h 257"/>
                      <a:gd name="T20" fmla="*/ 38 w 479"/>
                      <a:gd name="T21" fmla="*/ 196 h 257"/>
                      <a:gd name="T22" fmla="*/ 16 w 479"/>
                      <a:gd name="T23" fmla="*/ 168 h 257"/>
                      <a:gd name="T24" fmla="*/ 26 w 479"/>
                      <a:gd name="T25" fmla="*/ 160 h 257"/>
                      <a:gd name="T26" fmla="*/ 0 w 479"/>
                      <a:gd name="T27" fmla="*/ 156 h 257"/>
                      <a:gd name="T28" fmla="*/ 16 w 479"/>
                      <a:gd name="T29" fmla="*/ 144 h 257"/>
                      <a:gd name="T30" fmla="*/ 33 w 479"/>
                      <a:gd name="T31" fmla="*/ 144 h 257"/>
                      <a:gd name="T32" fmla="*/ 26 w 479"/>
                      <a:gd name="T33" fmla="*/ 123 h 257"/>
                      <a:gd name="T34" fmla="*/ 33 w 479"/>
                      <a:gd name="T35" fmla="*/ 123 h 257"/>
                      <a:gd name="T36" fmla="*/ 33 w 479"/>
                      <a:gd name="T37" fmla="*/ 106 h 257"/>
                      <a:gd name="T38" fmla="*/ 49 w 479"/>
                      <a:gd name="T39" fmla="*/ 99 h 257"/>
                      <a:gd name="T40" fmla="*/ 33 w 479"/>
                      <a:gd name="T41" fmla="*/ 83 h 257"/>
                      <a:gd name="T42" fmla="*/ 38 w 479"/>
                      <a:gd name="T43" fmla="*/ 73 h 257"/>
                      <a:gd name="T44" fmla="*/ 49 w 479"/>
                      <a:gd name="T45" fmla="*/ 83 h 257"/>
                      <a:gd name="T46" fmla="*/ 71 w 479"/>
                      <a:gd name="T47" fmla="*/ 83 h 257"/>
                      <a:gd name="T48" fmla="*/ 80 w 479"/>
                      <a:gd name="T49" fmla="*/ 49 h 257"/>
                      <a:gd name="T50" fmla="*/ 92 w 479"/>
                      <a:gd name="T51" fmla="*/ 49 h 257"/>
                      <a:gd name="T52" fmla="*/ 125 w 479"/>
                      <a:gd name="T53" fmla="*/ 73 h 257"/>
                      <a:gd name="T54" fmla="*/ 156 w 479"/>
                      <a:gd name="T55" fmla="*/ 73 h 257"/>
                      <a:gd name="T56" fmla="*/ 194 w 479"/>
                      <a:gd name="T57" fmla="*/ 66 h 257"/>
                      <a:gd name="T58" fmla="*/ 194 w 479"/>
                      <a:gd name="T59" fmla="*/ 54 h 257"/>
                      <a:gd name="T60" fmla="*/ 210 w 479"/>
                      <a:gd name="T61" fmla="*/ 49 h 257"/>
                      <a:gd name="T62" fmla="*/ 243 w 479"/>
                      <a:gd name="T63" fmla="*/ 45 h 257"/>
                      <a:gd name="T64" fmla="*/ 248 w 479"/>
                      <a:gd name="T65" fmla="*/ 33 h 257"/>
                      <a:gd name="T66" fmla="*/ 269 w 479"/>
                      <a:gd name="T67" fmla="*/ 45 h 257"/>
                      <a:gd name="T68" fmla="*/ 302 w 479"/>
                      <a:gd name="T69" fmla="*/ 28 h 257"/>
                      <a:gd name="T70" fmla="*/ 319 w 479"/>
                      <a:gd name="T71" fmla="*/ 0 h 257"/>
                      <a:gd name="T72" fmla="*/ 323 w 479"/>
                      <a:gd name="T73" fmla="*/ 0 h 257"/>
                      <a:gd name="T74" fmla="*/ 357 w 479"/>
                      <a:gd name="T75" fmla="*/ 0 h 257"/>
                      <a:gd name="T76" fmla="*/ 378 w 479"/>
                      <a:gd name="T77" fmla="*/ 0 h 257"/>
                      <a:gd name="T78" fmla="*/ 404 w 479"/>
                      <a:gd name="T79" fmla="*/ 16 h 257"/>
                      <a:gd name="T80" fmla="*/ 427 w 479"/>
                      <a:gd name="T81" fmla="*/ 16 h 257"/>
                      <a:gd name="T82" fmla="*/ 432 w 479"/>
                      <a:gd name="T83" fmla="*/ 16 h 257"/>
                      <a:gd name="T84" fmla="*/ 465 w 479"/>
                      <a:gd name="T85" fmla="*/ 45 h 257"/>
                      <a:gd name="T86" fmla="*/ 475 w 479"/>
                      <a:gd name="T87" fmla="*/ 45 h 257"/>
                      <a:gd name="T88" fmla="*/ 479 w 479"/>
                      <a:gd name="T89" fmla="*/ 54 h 257"/>
                      <a:gd name="T90" fmla="*/ 465 w 479"/>
                      <a:gd name="T91" fmla="*/ 73 h 257"/>
                      <a:gd name="T92" fmla="*/ 442 w 479"/>
                      <a:gd name="T93" fmla="*/ 83 h 257"/>
                      <a:gd name="T94" fmla="*/ 420 w 479"/>
                      <a:gd name="T95" fmla="*/ 99 h 257"/>
                      <a:gd name="T96" fmla="*/ 420 w 479"/>
                      <a:gd name="T97" fmla="*/ 111 h 257"/>
                      <a:gd name="T98" fmla="*/ 394 w 479"/>
                      <a:gd name="T99" fmla="*/ 144 h 257"/>
                      <a:gd name="T100" fmla="*/ 390 w 479"/>
                      <a:gd name="T101" fmla="*/ 168 h 257"/>
                      <a:gd name="T102" fmla="*/ 373 w 479"/>
                      <a:gd name="T103" fmla="*/ 179 h 257"/>
                      <a:gd name="T104" fmla="*/ 366 w 479"/>
                      <a:gd name="T105" fmla="*/ 212 h 257"/>
                      <a:gd name="T106" fmla="*/ 335 w 479"/>
                      <a:gd name="T107" fmla="*/ 212 h 257"/>
                      <a:gd name="T108" fmla="*/ 323 w 479"/>
                      <a:gd name="T109" fmla="*/ 224 h 257"/>
                      <a:gd name="T110" fmla="*/ 314 w 479"/>
                      <a:gd name="T111" fmla="*/ 217 h 257"/>
                      <a:gd name="T112" fmla="*/ 298 w 479"/>
                      <a:gd name="T113" fmla="*/ 224 h 257"/>
                      <a:gd name="T114" fmla="*/ 298 w 479"/>
                      <a:gd name="T115" fmla="*/ 224 h 257"/>
                      <a:gd name="T116" fmla="*/ 298 w 479"/>
                      <a:gd name="T117" fmla="*/ 224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9" h="257">
                        <a:moveTo>
                          <a:pt x="298" y="224"/>
                        </a:moveTo>
                        <a:lnTo>
                          <a:pt x="248" y="217"/>
                        </a:lnTo>
                        <a:lnTo>
                          <a:pt x="227" y="234"/>
                        </a:lnTo>
                        <a:lnTo>
                          <a:pt x="215" y="234"/>
                        </a:lnTo>
                        <a:lnTo>
                          <a:pt x="194" y="241"/>
                        </a:lnTo>
                        <a:lnTo>
                          <a:pt x="163" y="257"/>
                        </a:lnTo>
                        <a:lnTo>
                          <a:pt x="118" y="250"/>
                        </a:lnTo>
                        <a:lnTo>
                          <a:pt x="109" y="241"/>
                        </a:lnTo>
                        <a:lnTo>
                          <a:pt x="87" y="241"/>
                        </a:lnTo>
                        <a:lnTo>
                          <a:pt x="80" y="217"/>
                        </a:lnTo>
                        <a:lnTo>
                          <a:pt x="38" y="196"/>
                        </a:lnTo>
                        <a:lnTo>
                          <a:pt x="16" y="168"/>
                        </a:lnTo>
                        <a:lnTo>
                          <a:pt x="26" y="160"/>
                        </a:lnTo>
                        <a:lnTo>
                          <a:pt x="0" y="156"/>
                        </a:lnTo>
                        <a:lnTo>
                          <a:pt x="16" y="144"/>
                        </a:lnTo>
                        <a:lnTo>
                          <a:pt x="33" y="144"/>
                        </a:lnTo>
                        <a:lnTo>
                          <a:pt x="26" y="123"/>
                        </a:lnTo>
                        <a:lnTo>
                          <a:pt x="33" y="123"/>
                        </a:lnTo>
                        <a:lnTo>
                          <a:pt x="33" y="106"/>
                        </a:lnTo>
                        <a:lnTo>
                          <a:pt x="49" y="99"/>
                        </a:lnTo>
                        <a:lnTo>
                          <a:pt x="33" y="83"/>
                        </a:lnTo>
                        <a:lnTo>
                          <a:pt x="38" y="73"/>
                        </a:lnTo>
                        <a:lnTo>
                          <a:pt x="49" y="83"/>
                        </a:lnTo>
                        <a:lnTo>
                          <a:pt x="71" y="83"/>
                        </a:lnTo>
                        <a:lnTo>
                          <a:pt x="80" y="49"/>
                        </a:lnTo>
                        <a:lnTo>
                          <a:pt x="92" y="49"/>
                        </a:lnTo>
                        <a:lnTo>
                          <a:pt x="125" y="73"/>
                        </a:lnTo>
                        <a:lnTo>
                          <a:pt x="156" y="73"/>
                        </a:lnTo>
                        <a:lnTo>
                          <a:pt x="194" y="66"/>
                        </a:lnTo>
                        <a:lnTo>
                          <a:pt x="194" y="54"/>
                        </a:lnTo>
                        <a:lnTo>
                          <a:pt x="210" y="49"/>
                        </a:lnTo>
                        <a:lnTo>
                          <a:pt x="243" y="45"/>
                        </a:lnTo>
                        <a:lnTo>
                          <a:pt x="248" y="33"/>
                        </a:lnTo>
                        <a:lnTo>
                          <a:pt x="269" y="45"/>
                        </a:lnTo>
                        <a:lnTo>
                          <a:pt x="302" y="28"/>
                        </a:lnTo>
                        <a:lnTo>
                          <a:pt x="319" y="0"/>
                        </a:lnTo>
                        <a:lnTo>
                          <a:pt x="323" y="0"/>
                        </a:lnTo>
                        <a:lnTo>
                          <a:pt x="357" y="0"/>
                        </a:lnTo>
                        <a:lnTo>
                          <a:pt x="378" y="0"/>
                        </a:lnTo>
                        <a:lnTo>
                          <a:pt x="404" y="16"/>
                        </a:lnTo>
                        <a:lnTo>
                          <a:pt x="427" y="16"/>
                        </a:lnTo>
                        <a:lnTo>
                          <a:pt x="432" y="16"/>
                        </a:lnTo>
                        <a:lnTo>
                          <a:pt x="465" y="45"/>
                        </a:lnTo>
                        <a:lnTo>
                          <a:pt x="475" y="45"/>
                        </a:lnTo>
                        <a:lnTo>
                          <a:pt x="479" y="54"/>
                        </a:lnTo>
                        <a:lnTo>
                          <a:pt x="465" y="73"/>
                        </a:lnTo>
                        <a:lnTo>
                          <a:pt x="442" y="83"/>
                        </a:lnTo>
                        <a:lnTo>
                          <a:pt x="420" y="99"/>
                        </a:lnTo>
                        <a:lnTo>
                          <a:pt x="420" y="111"/>
                        </a:lnTo>
                        <a:lnTo>
                          <a:pt x="394" y="144"/>
                        </a:lnTo>
                        <a:lnTo>
                          <a:pt x="390" y="168"/>
                        </a:lnTo>
                        <a:lnTo>
                          <a:pt x="373" y="179"/>
                        </a:lnTo>
                        <a:lnTo>
                          <a:pt x="366" y="212"/>
                        </a:lnTo>
                        <a:lnTo>
                          <a:pt x="335" y="212"/>
                        </a:lnTo>
                        <a:lnTo>
                          <a:pt x="323" y="224"/>
                        </a:lnTo>
                        <a:lnTo>
                          <a:pt x="314" y="217"/>
                        </a:lnTo>
                        <a:lnTo>
                          <a:pt x="298" y="224"/>
                        </a:lnTo>
                        <a:lnTo>
                          <a:pt x="298" y="224"/>
                        </a:lnTo>
                        <a:lnTo>
                          <a:pt x="298" y="22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6" name="Freeform 466">
                    <a:extLst>
                      <a:ext uri="{FF2B5EF4-FFF2-40B4-BE49-F238E27FC236}">
                        <a16:creationId xmlns:a16="http://schemas.microsoft.com/office/drawing/2014/main" id="{9551875E-A625-45B2-8B4D-00A7DB0FCF24}"/>
                      </a:ext>
                    </a:extLst>
                  </p:cNvPr>
                  <p:cNvSpPr>
                    <a:spLocks/>
                  </p:cNvSpPr>
                  <p:nvPr/>
                </p:nvSpPr>
                <p:spPr bwMode="gray">
                  <a:xfrm>
                    <a:off x="6017340" y="1722809"/>
                    <a:ext cx="317809" cy="153570"/>
                  </a:xfrm>
                  <a:custGeom>
                    <a:avLst/>
                    <a:gdLst>
                      <a:gd name="T0" fmla="*/ 215 w 772"/>
                      <a:gd name="T1" fmla="*/ 241 h 373"/>
                      <a:gd name="T2" fmla="*/ 160 w 772"/>
                      <a:gd name="T3" fmla="*/ 250 h 373"/>
                      <a:gd name="T4" fmla="*/ 156 w 772"/>
                      <a:gd name="T5" fmla="*/ 224 h 373"/>
                      <a:gd name="T6" fmla="*/ 47 w 772"/>
                      <a:gd name="T7" fmla="*/ 224 h 373"/>
                      <a:gd name="T8" fmla="*/ 90 w 772"/>
                      <a:gd name="T9" fmla="*/ 184 h 373"/>
                      <a:gd name="T10" fmla="*/ 172 w 772"/>
                      <a:gd name="T11" fmla="*/ 179 h 373"/>
                      <a:gd name="T12" fmla="*/ 156 w 772"/>
                      <a:gd name="T13" fmla="*/ 127 h 373"/>
                      <a:gd name="T14" fmla="*/ 101 w 772"/>
                      <a:gd name="T15" fmla="*/ 123 h 373"/>
                      <a:gd name="T16" fmla="*/ 14 w 772"/>
                      <a:gd name="T17" fmla="*/ 111 h 373"/>
                      <a:gd name="T18" fmla="*/ 52 w 772"/>
                      <a:gd name="T19" fmla="*/ 111 h 373"/>
                      <a:gd name="T20" fmla="*/ 68 w 772"/>
                      <a:gd name="T21" fmla="*/ 111 h 373"/>
                      <a:gd name="T22" fmla="*/ 90 w 772"/>
                      <a:gd name="T23" fmla="*/ 94 h 373"/>
                      <a:gd name="T24" fmla="*/ 52 w 772"/>
                      <a:gd name="T25" fmla="*/ 85 h 373"/>
                      <a:gd name="T26" fmla="*/ 52 w 772"/>
                      <a:gd name="T27" fmla="*/ 68 h 373"/>
                      <a:gd name="T28" fmla="*/ 75 w 772"/>
                      <a:gd name="T29" fmla="*/ 49 h 373"/>
                      <a:gd name="T30" fmla="*/ 139 w 772"/>
                      <a:gd name="T31" fmla="*/ 73 h 373"/>
                      <a:gd name="T32" fmla="*/ 144 w 772"/>
                      <a:gd name="T33" fmla="*/ 90 h 373"/>
                      <a:gd name="T34" fmla="*/ 106 w 772"/>
                      <a:gd name="T35" fmla="*/ 40 h 373"/>
                      <a:gd name="T36" fmla="*/ 106 w 772"/>
                      <a:gd name="T37" fmla="*/ 16 h 373"/>
                      <a:gd name="T38" fmla="*/ 194 w 772"/>
                      <a:gd name="T39" fmla="*/ 49 h 373"/>
                      <a:gd name="T40" fmla="*/ 210 w 772"/>
                      <a:gd name="T41" fmla="*/ 73 h 373"/>
                      <a:gd name="T42" fmla="*/ 210 w 772"/>
                      <a:gd name="T43" fmla="*/ 106 h 373"/>
                      <a:gd name="T44" fmla="*/ 227 w 772"/>
                      <a:gd name="T45" fmla="*/ 123 h 373"/>
                      <a:gd name="T46" fmla="*/ 248 w 772"/>
                      <a:gd name="T47" fmla="*/ 139 h 373"/>
                      <a:gd name="T48" fmla="*/ 269 w 772"/>
                      <a:gd name="T49" fmla="*/ 123 h 373"/>
                      <a:gd name="T50" fmla="*/ 302 w 772"/>
                      <a:gd name="T51" fmla="*/ 94 h 373"/>
                      <a:gd name="T52" fmla="*/ 345 w 772"/>
                      <a:gd name="T53" fmla="*/ 94 h 373"/>
                      <a:gd name="T54" fmla="*/ 354 w 772"/>
                      <a:gd name="T55" fmla="*/ 73 h 373"/>
                      <a:gd name="T56" fmla="*/ 387 w 772"/>
                      <a:gd name="T57" fmla="*/ 49 h 373"/>
                      <a:gd name="T58" fmla="*/ 425 w 772"/>
                      <a:gd name="T59" fmla="*/ 73 h 373"/>
                      <a:gd name="T60" fmla="*/ 453 w 772"/>
                      <a:gd name="T61" fmla="*/ 90 h 373"/>
                      <a:gd name="T62" fmla="*/ 463 w 772"/>
                      <a:gd name="T63" fmla="*/ 49 h 373"/>
                      <a:gd name="T64" fmla="*/ 517 w 772"/>
                      <a:gd name="T65" fmla="*/ 40 h 373"/>
                      <a:gd name="T66" fmla="*/ 571 w 772"/>
                      <a:gd name="T67" fmla="*/ 33 h 373"/>
                      <a:gd name="T68" fmla="*/ 614 w 772"/>
                      <a:gd name="T69" fmla="*/ 28 h 373"/>
                      <a:gd name="T70" fmla="*/ 668 w 772"/>
                      <a:gd name="T71" fmla="*/ 28 h 373"/>
                      <a:gd name="T72" fmla="*/ 668 w 772"/>
                      <a:gd name="T73" fmla="*/ 49 h 373"/>
                      <a:gd name="T74" fmla="*/ 680 w 772"/>
                      <a:gd name="T75" fmla="*/ 106 h 373"/>
                      <a:gd name="T76" fmla="*/ 701 w 772"/>
                      <a:gd name="T77" fmla="*/ 127 h 373"/>
                      <a:gd name="T78" fmla="*/ 765 w 772"/>
                      <a:gd name="T79" fmla="*/ 127 h 373"/>
                      <a:gd name="T80" fmla="*/ 734 w 772"/>
                      <a:gd name="T81" fmla="*/ 168 h 373"/>
                      <a:gd name="T82" fmla="*/ 765 w 772"/>
                      <a:gd name="T83" fmla="*/ 196 h 373"/>
                      <a:gd name="T84" fmla="*/ 734 w 772"/>
                      <a:gd name="T85" fmla="*/ 196 h 373"/>
                      <a:gd name="T86" fmla="*/ 739 w 772"/>
                      <a:gd name="T87" fmla="*/ 224 h 373"/>
                      <a:gd name="T88" fmla="*/ 711 w 772"/>
                      <a:gd name="T89" fmla="*/ 224 h 373"/>
                      <a:gd name="T90" fmla="*/ 701 w 772"/>
                      <a:gd name="T91" fmla="*/ 257 h 373"/>
                      <a:gd name="T92" fmla="*/ 642 w 772"/>
                      <a:gd name="T93" fmla="*/ 262 h 373"/>
                      <a:gd name="T94" fmla="*/ 560 w 772"/>
                      <a:gd name="T95" fmla="*/ 319 h 373"/>
                      <a:gd name="T96" fmla="*/ 522 w 772"/>
                      <a:gd name="T97" fmla="*/ 328 h 373"/>
                      <a:gd name="T98" fmla="*/ 468 w 772"/>
                      <a:gd name="T99" fmla="*/ 352 h 373"/>
                      <a:gd name="T100" fmla="*/ 302 w 772"/>
                      <a:gd name="T101" fmla="*/ 364 h 373"/>
                      <a:gd name="T102" fmla="*/ 290 w 772"/>
                      <a:gd name="T103" fmla="*/ 335 h 373"/>
                      <a:gd name="T104" fmla="*/ 279 w 772"/>
                      <a:gd name="T105" fmla="*/ 328 h 373"/>
                      <a:gd name="T106" fmla="*/ 231 w 772"/>
                      <a:gd name="T107" fmla="*/ 319 h 373"/>
                      <a:gd name="T108" fmla="*/ 123 w 772"/>
                      <a:gd name="T109" fmla="*/ 328 h 373"/>
                      <a:gd name="T110" fmla="*/ 177 w 772"/>
                      <a:gd name="T111" fmla="*/ 295 h 373"/>
                      <a:gd name="T112" fmla="*/ 198 w 772"/>
                      <a:gd name="T113" fmla="*/ 279 h 373"/>
                      <a:gd name="T114" fmla="*/ 227 w 772"/>
                      <a:gd name="T115" fmla="*/ 262 h 373"/>
                      <a:gd name="T116" fmla="*/ 177 w 772"/>
                      <a:gd name="T117" fmla="*/ 257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72" h="373">
                        <a:moveTo>
                          <a:pt x="177" y="257"/>
                        </a:moveTo>
                        <a:lnTo>
                          <a:pt x="198" y="234"/>
                        </a:lnTo>
                        <a:lnTo>
                          <a:pt x="215" y="241"/>
                        </a:lnTo>
                        <a:lnTo>
                          <a:pt x="198" y="234"/>
                        </a:lnTo>
                        <a:lnTo>
                          <a:pt x="210" y="234"/>
                        </a:lnTo>
                        <a:lnTo>
                          <a:pt x="160" y="250"/>
                        </a:lnTo>
                        <a:lnTo>
                          <a:pt x="156" y="241"/>
                        </a:lnTo>
                        <a:lnTo>
                          <a:pt x="144" y="234"/>
                        </a:lnTo>
                        <a:lnTo>
                          <a:pt x="156" y="224"/>
                        </a:lnTo>
                        <a:lnTo>
                          <a:pt x="144" y="208"/>
                        </a:lnTo>
                        <a:lnTo>
                          <a:pt x="75" y="208"/>
                        </a:lnTo>
                        <a:lnTo>
                          <a:pt x="47" y="224"/>
                        </a:lnTo>
                        <a:lnTo>
                          <a:pt x="31" y="201"/>
                        </a:lnTo>
                        <a:lnTo>
                          <a:pt x="64" y="201"/>
                        </a:lnTo>
                        <a:lnTo>
                          <a:pt x="90" y="184"/>
                        </a:lnTo>
                        <a:lnTo>
                          <a:pt x="182" y="184"/>
                        </a:lnTo>
                        <a:lnTo>
                          <a:pt x="194" y="163"/>
                        </a:lnTo>
                        <a:lnTo>
                          <a:pt x="172" y="179"/>
                        </a:lnTo>
                        <a:lnTo>
                          <a:pt x="139" y="168"/>
                        </a:lnTo>
                        <a:lnTo>
                          <a:pt x="198" y="139"/>
                        </a:lnTo>
                        <a:lnTo>
                          <a:pt x="156" y="127"/>
                        </a:lnTo>
                        <a:lnTo>
                          <a:pt x="172" y="123"/>
                        </a:lnTo>
                        <a:lnTo>
                          <a:pt x="144" y="127"/>
                        </a:lnTo>
                        <a:lnTo>
                          <a:pt x="101" y="123"/>
                        </a:lnTo>
                        <a:lnTo>
                          <a:pt x="47" y="139"/>
                        </a:lnTo>
                        <a:lnTo>
                          <a:pt x="0" y="127"/>
                        </a:lnTo>
                        <a:lnTo>
                          <a:pt x="14" y="111"/>
                        </a:lnTo>
                        <a:lnTo>
                          <a:pt x="52" y="127"/>
                        </a:lnTo>
                        <a:lnTo>
                          <a:pt x="31" y="111"/>
                        </a:lnTo>
                        <a:lnTo>
                          <a:pt x="52" y="111"/>
                        </a:lnTo>
                        <a:lnTo>
                          <a:pt x="31" y="106"/>
                        </a:lnTo>
                        <a:lnTo>
                          <a:pt x="31" y="90"/>
                        </a:lnTo>
                        <a:lnTo>
                          <a:pt x="68" y="111"/>
                        </a:lnTo>
                        <a:lnTo>
                          <a:pt x="85" y="111"/>
                        </a:lnTo>
                        <a:lnTo>
                          <a:pt x="68" y="106"/>
                        </a:lnTo>
                        <a:lnTo>
                          <a:pt x="90" y="94"/>
                        </a:lnTo>
                        <a:lnTo>
                          <a:pt x="52" y="94"/>
                        </a:lnTo>
                        <a:lnTo>
                          <a:pt x="47" y="90"/>
                        </a:lnTo>
                        <a:lnTo>
                          <a:pt x="52" y="85"/>
                        </a:lnTo>
                        <a:lnTo>
                          <a:pt x="90" y="90"/>
                        </a:lnTo>
                        <a:lnTo>
                          <a:pt x="47" y="68"/>
                        </a:lnTo>
                        <a:lnTo>
                          <a:pt x="52" y="68"/>
                        </a:lnTo>
                        <a:lnTo>
                          <a:pt x="85" y="73"/>
                        </a:lnTo>
                        <a:lnTo>
                          <a:pt x="64" y="57"/>
                        </a:lnTo>
                        <a:lnTo>
                          <a:pt x="75" y="49"/>
                        </a:lnTo>
                        <a:lnTo>
                          <a:pt x="123" y="73"/>
                        </a:lnTo>
                        <a:lnTo>
                          <a:pt x="127" y="68"/>
                        </a:lnTo>
                        <a:lnTo>
                          <a:pt x="139" y="73"/>
                        </a:lnTo>
                        <a:lnTo>
                          <a:pt x="127" y="90"/>
                        </a:lnTo>
                        <a:lnTo>
                          <a:pt x="139" y="73"/>
                        </a:lnTo>
                        <a:lnTo>
                          <a:pt x="144" y="90"/>
                        </a:lnTo>
                        <a:lnTo>
                          <a:pt x="144" y="73"/>
                        </a:lnTo>
                        <a:lnTo>
                          <a:pt x="139" y="57"/>
                        </a:lnTo>
                        <a:lnTo>
                          <a:pt x="106" y="40"/>
                        </a:lnTo>
                        <a:lnTo>
                          <a:pt x="144" y="40"/>
                        </a:lnTo>
                        <a:lnTo>
                          <a:pt x="90" y="28"/>
                        </a:lnTo>
                        <a:lnTo>
                          <a:pt x="106" y="16"/>
                        </a:lnTo>
                        <a:lnTo>
                          <a:pt x="144" y="16"/>
                        </a:lnTo>
                        <a:lnTo>
                          <a:pt x="160" y="33"/>
                        </a:lnTo>
                        <a:lnTo>
                          <a:pt x="194" y="49"/>
                        </a:lnTo>
                        <a:lnTo>
                          <a:pt x="198" y="68"/>
                        </a:lnTo>
                        <a:lnTo>
                          <a:pt x="215" y="68"/>
                        </a:lnTo>
                        <a:lnTo>
                          <a:pt x="210" y="73"/>
                        </a:lnTo>
                        <a:lnTo>
                          <a:pt x="227" y="85"/>
                        </a:lnTo>
                        <a:lnTo>
                          <a:pt x="227" y="106"/>
                        </a:lnTo>
                        <a:lnTo>
                          <a:pt x="210" y="106"/>
                        </a:lnTo>
                        <a:lnTo>
                          <a:pt x="194" y="94"/>
                        </a:lnTo>
                        <a:lnTo>
                          <a:pt x="198" y="111"/>
                        </a:lnTo>
                        <a:lnTo>
                          <a:pt x="227" y="123"/>
                        </a:lnTo>
                        <a:lnTo>
                          <a:pt x="236" y="168"/>
                        </a:lnTo>
                        <a:lnTo>
                          <a:pt x="236" y="139"/>
                        </a:lnTo>
                        <a:lnTo>
                          <a:pt x="248" y="139"/>
                        </a:lnTo>
                        <a:lnTo>
                          <a:pt x="253" y="123"/>
                        </a:lnTo>
                        <a:lnTo>
                          <a:pt x="269" y="106"/>
                        </a:lnTo>
                        <a:lnTo>
                          <a:pt x="269" y="123"/>
                        </a:lnTo>
                        <a:lnTo>
                          <a:pt x="286" y="127"/>
                        </a:lnTo>
                        <a:lnTo>
                          <a:pt x="290" y="111"/>
                        </a:lnTo>
                        <a:lnTo>
                          <a:pt x="302" y="94"/>
                        </a:lnTo>
                        <a:lnTo>
                          <a:pt x="286" y="57"/>
                        </a:lnTo>
                        <a:lnTo>
                          <a:pt x="307" y="57"/>
                        </a:lnTo>
                        <a:lnTo>
                          <a:pt x="345" y="94"/>
                        </a:lnTo>
                        <a:lnTo>
                          <a:pt x="354" y="106"/>
                        </a:lnTo>
                        <a:lnTo>
                          <a:pt x="361" y="90"/>
                        </a:lnTo>
                        <a:lnTo>
                          <a:pt x="354" y="73"/>
                        </a:lnTo>
                        <a:lnTo>
                          <a:pt x="354" y="68"/>
                        </a:lnTo>
                        <a:lnTo>
                          <a:pt x="387" y="57"/>
                        </a:lnTo>
                        <a:lnTo>
                          <a:pt x="387" y="49"/>
                        </a:lnTo>
                        <a:lnTo>
                          <a:pt x="399" y="49"/>
                        </a:lnTo>
                        <a:lnTo>
                          <a:pt x="416" y="57"/>
                        </a:lnTo>
                        <a:lnTo>
                          <a:pt x="425" y="73"/>
                        </a:lnTo>
                        <a:lnTo>
                          <a:pt x="442" y="85"/>
                        </a:lnTo>
                        <a:lnTo>
                          <a:pt x="453" y="111"/>
                        </a:lnTo>
                        <a:lnTo>
                          <a:pt x="453" y="90"/>
                        </a:lnTo>
                        <a:lnTo>
                          <a:pt x="442" y="68"/>
                        </a:lnTo>
                        <a:lnTo>
                          <a:pt x="442" y="49"/>
                        </a:lnTo>
                        <a:lnTo>
                          <a:pt x="463" y="49"/>
                        </a:lnTo>
                        <a:lnTo>
                          <a:pt x="484" y="73"/>
                        </a:lnTo>
                        <a:lnTo>
                          <a:pt x="501" y="73"/>
                        </a:lnTo>
                        <a:lnTo>
                          <a:pt x="517" y="40"/>
                        </a:lnTo>
                        <a:lnTo>
                          <a:pt x="555" y="57"/>
                        </a:lnTo>
                        <a:lnTo>
                          <a:pt x="550" y="49"/>
                        </a:lnTo>
                        <a:lnTo>
                          <a:pt x="571" y="33"/>
                        </a:lnTo>
                        <a:lnTo>
                          <a:pt x="555" y="12"/>
                        </a:lnTo>
                        <a:lnTo>
                          <a:pt x="593" y="0"/>
                        </a:lnTo>
                        <a:lnTo>
                          <a:pt x="614" y="28"/>
                        </a:lnTo>
                        <a:lnTo>
                          <a:pt x="614" y="40"/>
                        </a:lnTo>
                        <a:lnTo>
                          <a:pt x="642" y="49"/>
                        </a:lnTo>
                        <a:lnTo>
                          <a:pt x="668" y="28"/>
                        </a:lnTo>
                        <a:lnTo>
                          <a:pt x="685" y="28"/>
                        </a:lnTo>
                        <a:lnTo>
                          <a:pt x="668" y="33"/>
                        </a:lnTo>
                        <a:lnTo>
                          <a:pt x="668" y="49"/>
                        </a:lnTo>
                        <a:lnTo>
                          <a:pt x="657" y="57"/>
                        </a:lnTo>
                        <a:lnTo>
                          <a:pt x="697" y="73"/>
                        </a:lnTo>
                        <a:lnTo>
                          <a:pt x="680" y="106"/>
                        </a:lnTo>
                        <a:lnTo>
                          <a:pt x="718" y="94"/>
                        </a:lnTo>
                        <a:lnTo>
                          <a:pt x="718" y="111"/>
                        </a:lnTo>
                        <a:lnTo>
                          <a:pt x="701" y="127"/>
                        </a:lnTo>
                        <a:lnTo>
                          <a:pt x="718" y="111"/>
                        </a:lnTo>
                        <a:lnTo>
                          <a:pt x="765" y="123"/>
                        </a:lnTo>
                        <a:lnTo>
                          <a:pt x="765" y="127"/>
                        </a:lnTo>
                        <a:lnTo>
                          <a:pt x="756" y="151"/>
                        </a:lnTo>
                        <a:lnTo>
                          <a:pt x="772" y="163"/>
                        </a:lnTo>
                        <a:lnTo>
                          <a:pt x="734" y="168"/>
                        </a:lnTo>
                        <a:lnTo>
                          <a:pt x="765" y="168"/>
                        </a:lnTo>
                        <a:lnTo>
                          <a:pt x="772" y="179"/>
                        </a:lnTo>
                        <a:lnTo>
                          <a:pt x="765" y="196"/>
                        </a:lnTo>
                        <a:lnTo>
                          <a:pt x="739" y="179"/>
                        </a:lnTo>
                        <a:lnTo>
                          <a:pt x="756" y="201"/>
                        </a:lnTo>
                        <a:lnTo>
                          <a:pt x="734" y="196"/>
                        </a:lnTo>
                        <a:lnTo>
                          <a:pt x="756" y="201"/>
                        </a:lnTo>
                        <a:lnTo>
                          <a:pt x="734" y="217"/>
                        </a:lnTo>
                        <a:lnTo>
                          <a:pt x="739" y="224"/>
                        </a:lnTo>
                        <a:lnTo>
                          <a:pt x="718" y="224"/>
                        </a:lnTo>
                        <a:lnTo>
                          <a:pt x="701" y="208"/>
                        </a:lnTo>
                        <a:lnTo>
                          <a:pt x="711" y="224"/>
                        </a:lnTo>
                        <a:lnTo>
                          <a:pt x="697" y="241"/>
                        </a:lnTo>
                        <a:lnTo>
                          <a:pt x="711" y="241"/>
                        </a:lnTo>
                        <a:lnTo>
                          <a:pt x="701" y="257"/>
                        </a:lnTo>
                        <a:lnTo>
                          <a:pt x="685" y="257"/>
                        </a:lnTo>
                        <a:lnTo>
                          <a:pt x="668" y="274"/>
                        </a:lnTo>
                        <a:lnTo>
                          <a:pt x="642" y="262"/>
                        </a:lnTo>
                        <a:lnTo>
                          <a:pt x="642" y="274"/>
                        </a:lnTo>
                        <a:lnTo>
                          <a:pt x="593" y="290"/>
                        </a:lnTo>
                        <a:lnTo>
                          <a:pt x="560" y="319"/>
                        </a:lnTo>
                        <a:lnTo>
                          <a:pt x="538" y="328"/>
                        </a:lnTo>
                        <a:lnTo>
                          <a:pt x="534" y="312"/>
                        </a:lnTo>
                        <a:lnTo>
                          <a:pt x="522" y="328"/>
                        </a:lnTo>
                        <a:lnTo>
                          <a:pt x="468" y="335"/>
                        </a:lnTo>
                        <a:lnTo>
                          <a:pt x="463" y="345"/>
                        </a:lnTo>
                        <a:lnTo>
                          <a:pt x="468" y="352"/>
                        </a:lnTo>
                        <a:lnTo>
                          <a:pt x="463" y="364"/>
                        </a:lnTo>
                        <a:lnTo>
                          <a:pt x="408" y="373"/>
                        </a:lnTo>
                        <a:lnTo>
                          <a:pt x="302" y="364"/>
                        </a:lnTo>
                        <a:lnTo>
                          <a:pt x="279" y="335"/>
                        </a:lnTo>
                        <a:lnTo>
                          <a:pt x="290" y="335"/>
                        </a:lnTo>
                        <a:lnTo>
                          <a:pt x="290" y="335"/>
                        </a:lnTo>
                        <a:lnTo>
                          <a:pt x="279" y="335"/>
                        </a:lnTo>
                        <a:lnTo>
                          <a:pt x="269" y="335"/>
                        </a:lnTo>
                        <a:lnTo>
                          <a:pt x="279" y="328"/>
                        </a:lnTo>
                        <a:lnTo>
                          <a:pt x="269" y="319"/>
                        </a:lnTo>
                        <a:lnTo>
                          <a:pt x="253" y="328"/>
                        </a:lnTo>
                        <a:lnTo>
                          <a:pt x="231" y="319"/>
                        </a:lnTo>
                        <a:lnTo>
                          <a:pt x="248" y="312"/>
                        </a:lnTo>
                        <a:lnTo>
                          <a:pt x="198" y="328"/>
                        </a:lnTo>
                        <a:lnTo>
                          <a:pt x="123" y="328"/>
                        </a:lnTo>
                        <a:lnTo>
                          <a:pt x="127" y="295"/>
                        </a:lnTo>
                        <a:lnTo>
                          <a:pt x="139" y="307"/>
                        </a:lnTo>
                        <a:lnTo>
                          <a:pt x="177" y="295"/>
                        </a:lnTo>
                        <a:lnTo>
                          <a:pt x="182" y="295"/>
                        </a:lnTo>
                        <a:lnTo>
                          <a:pt x="177" y="290"/>
                        </a:lnTo>
                        <a:lnTo>
                          <a:pt x="198" y="279"/>
                        </a:lnTo>
                        <a:lnTo>
                          <a:pt x="182" y="279"/>
                        </a:lnTo>
                        <a:lnTo>
                          <a:pt x="194" y="262"/>
                        </a:lnTo>
                        <a:lnTo>
                          <a:pt x="227" y="262"/>
                        </a:lnTo>
                        <a:lnTo>
                          <a:pt x="172" y="274"/>
                        </a:lnTo>
                        <a:lnTo>
                          <a:pt x="177" y="257"/>
                        </a:lnTo>
                        <a:lnTo>
                          <a:pt x="177" y="257"/>
                        </a:lnTo>
                        <a:lnTo>
                          <a:pt x="177" y="25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8" name="Freeform 468">
                    <a:extLst>
                      <a:ext uri="{FF2B5EF4-FFF2-40B4-BE49-F238E27FC236}">
                        <a16:creationId xmlns:a16="http://schemas.microsoft.com/office/drawing/2014/main" id="{B4CD5A26-08B1-422C-909A-F345079DC5D9}"/>
                      </a:ext>
                    </a:extLst>
                  </p:cNvPr>
                  <p:cNvSpPr>
                    <a:spLocks/>
                  </p:cNvSpPr>
                  <p:nvPr/>
                </p:nvSpPr>
                <p:spPr bwMode="gray">
                  <a:xfrm>
                    <a:off x="6589149" y="2269157"/>
                    <a:ext cx="12350" cy="15645"/>
                  </a:xfrm>
                  <a:custGeom>
                    <a:avLst/>
                    <a:gdLst>
                      <a:gd name="T0" fmla="*/ 0 w 30"/>
                      <a:gd name="T1" fmla="*/ 38 h 38"/>
                      <a:gd name="T2" fmla="*/ 0 w 30"/>
                      <a:gd name="T3" fmla="*/ 22 h 38"/>
                      <a:gd name="T4" fmla="*/ 26 w 30"/>
                      <a:gd name="T5" fmla="*/ 0 h 38"/>
                      <a:gd name="T6" fmla="*/ 30 w 30"/>
                      <a:gd name="T7" fmla="*/ 17 h 38"/>
                      <a:gd name="T8" fmla="*/ 26 w 30"/>
                      <a:gd name="T9" fmla="*/ 22 h 38"/>
                      <a:gd name="T10" fmla="*/ 0 w 30"/>
                      <a:gd name="T11" fmla="*/ 38 h 38"/>
                      <a:gd name="T12" fmla="*/ 0 w 30"/>
                      <a:gd name="T13" fmla="*/ 38 h 38"/>
                      <a:gd name="T14" fmla="*/ 0 w 30"/>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8">
                        <a:moveTo>
                          <a:pt x="0" y="38"/>
                        </a:moveTo>
                        <a:lnTo>
                          <a:pt x="0" y="22"/>
                        </a:lnTo>
                        <a:lnTo>
                          <a:pt x="26" y="0"/>
                        </a:lnTo>
                        <a:lnTo>
                          <a:pt x="30" y="17"/>
                        </a:lnTo>
                        <a:lnTo>
                          <a:pt x="26" y="22"/>
                        </a:lnTo>
                        <a:lnTo>
                          <a:pt x="0" y="38"/>
                        </a:lnTo>
                        <a:lnTo>
                          <a:pt x="0" y="38"/>
                        </a:lnTo>
                        <a:lnTo>
                          <a:pt x="0" y="3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6" name="Freeform 477">
                    <a:extLst>
                      <a:ext uri="{FF2B5EF4-FFF2-40B4-BE49-F238E27FC236}">
                        <a16:creationId xmlns:a16="http://schemas.microsoft.com/office/drawing/2014/main" id="{040AE830-3B17-4360-82B6-4CED455E0A3F}"/>
                      </a:ext>
                    </a:extLst>
                  </p:cNvPr>
                  <p:cNvSpPr>
                    <a:spLocks/>
                  </p:cNvSpPr>
                  <p:nvPr/>
                </p:nvSpPr>
                <p:spPr bwMode="gray">
                  <a:xfrm>
                    <a:off x="6662016" y="2473368"/>
                    <a:ext cx="6587" cy="4117"/>
                  </a:xfrm>
                  <a:custGeom>
                    <a:avLst/>
                    <a:gdLst>
                      <a:gd name="T0" fmla="*/ 9 w 16"/>
                      <a:gd name="T1" fmla="*/ 10 h 10"/>
                      <a:gd name="T2" fmla="*/ 0 w 16"/>
                      <a:gd name="T3" fmla="*/ 0 h 10"/>
                      <a:gd name="T4" fmla="*/ 16 w 16"/>
                      <a:gd name="T5" fmla="*/ 0 h 10"/>
                      <a:gd name="T6" fmla="*/ 9 w 16"/>
                      <a:gd name="T7" fmla="*/ 10 h 10"/>
                      <a:gd name="T8" fmla="*/ 9 w 16"/>
                      <a:gd name="T9" fmla="*/ 10 h 10"/>
                      <a:gd name="T10" fmla="*/ 9 w 16"/>
                      <a:gd name="T11" fmla="*/ 10 h 10"/>
                    </a:gdLst>
                    <a:ahLst/>
                    <a:cxnLst>
                      <a:cxn ang="0">
                        <a:pos x="T0" y="T1"/>
                      </a:cxn>
                      <a:cxn ang="0">
                        <a:pos x="T2" y="T3"/>
                      </a:cxn>
                      <a:cxn ang="0">
                        <a:pos x="T4" y="T5"/>
                      </a:cxn>
                      <a:cxn ang="0">
                        <a:pos x="T6" y="T7"/>
                      </a:cxn>
                      <a:cxn ang="0">
                        <a:pos x="T8" y="T9"/>
                      </a:cxn>
                      <a:cxn ang="0">
                        <a:pos x="T10" y="T11"/>
                      </a:cxn>
                    </a:cxnLst>
                    <a:rect l="0" t="0" r="r" b="b"/>
                    <a:pathLst>
                      <a:path w="16" h="10">
                        <a:moveTo>
                          <a:pt x="9" y="10"/>
                        </a:moveTo>
                        <a:lnTo>
                          <a:pt x="0" y="0"/>
                        </a:lnTo>
                        <a:lnTo>
                          <a:pt x="16" y="0"/>
                        </a:lnTo>
                        <a:lnTo>
                          <a:pt x="9" y="10"/>
                        </a:lnTo>
                        <a:lnTo>
                          <a:pt x="9" y="10"/>
                        </a:lnTo>
                        <a:lnTo>
                          <a:pt x="9" y="1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7" name="Freeform 479">
                    <a:extLst>
                      <a:ext uri="{FF2B5EF4-FFF2-40B4-BE49-F238E27FC236}">
                        <a16:creationId xmlns:a16="http://schemas.microsoft.com/office/drawing/2014/main" id="{D0929939-8885-412A-831B-1B2809AAF6A2}"/>
                      </a:ext>
                    </a:extLst>
                  </p:cNvPr>
                  <p:cNvSpPr>
                    <a:spLocks/>
                  </p:cNvSpPr>
                  <p:nvPr/>
                </p:nvSpPr>
                <p:spPr bwMode="gray">
                  <a:xfrm>
                    <a:off x="6461531" y="1486484"/>
                    <a:ext cx="36227" cy="19351"/>
                  </a:xfrm>
                  <a:custGeom>
                    <a:avLst/>
                    <a:gdLst>
                      <a:gd name="T0" fmla="*/ 12 w 88"/>
                      <a:gd name="T1" fmla="*/ 47 h 47"/>
                      <a:gd name="T2" fmla="*/ 0 w 88"/>
                      <a:gd name="T3" fmla="*/ 35 h 47"/>
                      <a:gd name="T4" fmla="*/ 50 w 88"/>
                      <a:gd name="T5" fmla="*/ 14 h 47"/>
                      <a:gd name="T6" fmla="*/ 55 w 88"/>
                      <a:gd name="T7" fmla="*/ 0 h 47"/>
                      <a:gd name="T8" fmla="*/ 88 w 88"/>
                      <a:gd name="T9" fmla="*/ 0 h 47"/>
                      <a:gd name="T10" fmla="*/ 76 w 88"/>
                      <a:gd name="T11" fmla="*/ 14 h 47"/>
                      <a:gd name="T12" fmla="*/ 38 w 88"/>
                      <a:gd name="T13" fmla="*/ 21 h 47"/>
                      <a:gd name="T14" fmla="*/ 12 w 88"/>
                      <a:gd name="T15" fmla="*/ 47 h 47"/>
                      <a:gd name="T16" fmla="*/ 12 w 88"/>
                      <a:gd name="T17" fmla="*/ 47 h 47"/>
                      <a:gd name="T18" fmla="*/ 12 w 88"/>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47">
                        <a:moveTo>
                          <a:pt x="12" y="47"/>
                        </a:moveTo>
                        <a:lnTo>
                          <a:pt x="0" y="35"/>
                        </a:lnTo>
                        <a:lnTo>
                          <a:pt x="50" y="14"/>
                        </a:lnTo>
                        <a:lnTo>
                          <a:pt x="55" y="0"/>
                        </a:lnTo>
                        <a:lnTo>
                          <a:pt x="88" y="0"/>
                        </a:lnTo>
                        <a:lnTo>
                          <a:pt x="76" y="14"/>
                        </a:lnTo>
                        <a:lnTo>
                          <a:pt x="38" y="21"/>
                        </a:lnTo>
                        <a:lnTo>
                          <a:pt x="12" y="47"/>
                        </a:lnTo>
                        <a:lnTo>
                          <a:pt x="12" y="47"/>
                        </a:lnTo>
                        <a:lnTo>
                          <a:pt x="12" y="4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0" name="Freeform 482">
                    <a:extLst>
                      <a:ext uri="{FF2B5EF4-FFF2-40B4-BE49-F238E27FC236}">
                        <a16:creationId xmlns:a16="http://schemas.microsoft.com/office/drawing/2014/main" id="{AA6D965F-3EE3-4D7C-97F9-7CA8867DFFF5}"/>
                      </a:ext>
                    </a:extLst>
                  </p:cNvPr>
                  <p:cNvSpPr>
                    <a:spLocks/>
                  </p:cNvSpPr>
                  <p:nvPr/>
                </p:nvSpPr>
                <p:spPr bwMode="gray">
                  <a:xfrm>
                    <a:off x="8726540" y="2696106"/>
                    <a:ext cx="314928" cy="143277"/>
                  </a:xfrm>
                  <a:custGeom>
                    <a:avLst/>
                    <a:gdLst>
                      <a:gd name="T0" fmla="*/ 397 w 765"/>
                      <a:gd name="T1" fmla="*/ 255 h 348"/>
                      <a:gd name="T2" fmla="*/ 359 w 765"/>
                      <a:gd name="T3" fmla="*/ 272 h 348"/>
                      <a:gd name="T4" fmla="*/ 321 w 765"/>
                      <a:gd name="T5" fmla="*/ 305 h 348"/>
                      <a:gd name="T6" fmla="*/ 321 w 765"/>
                      <a:gd name="T7" fmla="*/ 326 h 348"/>
                      <a:gd name="T8" fmla="*/ 271 w 765"/>
                      <a:gd name="T9" fmla="*/ 331 h 348"/>
                      <a:gd name="T10" fmla="*/ 212 w 765"/>
                      <a:gd name="T11" fmla="*/ 348 h 348"/>
                      <a:gd name="T12" fmla="*/ 168 w 765"/>
                      <a:gd name="T13" fmla="*/ 343 h 348"/>
                      <a:gd name="T14" fmla="*/ 158 w 765"/>
                      <a:gd name="T15" fmla="*/ 326 h 348"/>
                      <a:gd name="T16" fmla="*/ 125 w 765"/>
                      <a:gd name="T17" fmla="*/ 326 h 348"/>
                      <a:gd name="T18" fmla="*/ 104 w 765"/>
                      <a:gd name="T19" fmla="*/ 331 h 348"/>
                      <a:gd name="T20" fmla="*/ 87 w 765"/>
                      <a:gd name="T21" fmla="*/ 315 h 348"/>
                      <a:gd name="T22" fmla="*/ 0 w 765"/>
                      <a:gd name="T23" fmla="*/ 293 h 348"/>
                      <a:gd name="T24" fmla="*/ 7 w 765"/>
                      <a:gd name="T25" fmla="*/ 289 h 348"/>
                      <a:gd name="T26" fmla="*/ 16 w 765"/>
                      <a:gd name="T27" fmla="*/ 272 h 348"/>
                      <a:gd name="T28" fmla="*/ 87 w 765"/>
                      <a:gd name="T29" fmla="*/ 277 h 348"/>
                      <a:gd name="T30" fmla="*/ 92 w 765"/>
                      <a:gd name="T31" fmla="*/ 289 h 348"/>
                      <a:gd name="T32" fmla="*/ 113 w 765"/>
                      <a:gd name="T33" fmla="*/ 272 h 348"/>
                      <a:gd name="T34" fmla="*/ 146 w 765"/>
                      <a:gd name="T35" fmla="*/ 255 h 348"/>
                      <a:gd name="T36" fmla="*/ 196 w 765"/>
                      <a:gd name="T37" fmla="*/ 260 h 348"/>
                      <a:gd name="T38" fmla="*/ 201 w 765"/>
                      <a:gd name="T39" fmla="*/ 248 h 348"/>
                      <a:gd name="T40" fmla="*/ 217 w 765"/>
                      <a:gd name="T41" fmla="*/ 232 h 348"/>
                      <a:gd name="T42" fmla="*/ 250 w 765"/>
                      <a:gd name="T43" fmla="*/ 222 h 348"/>
                      <a:gd name="T44" fmla="*/ 234 w 765"/>
                      <a:gd name="T45" fmla="*/ 206 h 348"/>
                      <a:gd name="T46" fmla="*/ 201 w 765"/>
                      <a:gd name="T47" fmla="*/ 199 h 348"/>
                      <a:gd name="T48" fmla="*/ 184 w 765"/>
                      <a:gd name="T49" fmla="*/ 182 h 348"/>
                      <a:gd name="T50" fmla="*/ 168 w 765"/>
                      <a:gd name="T51" fmla="*/ 149 h 348"/>
                      <a:gd name="T52" fmla="*/ 146 w 765"/>
                      <a:gd name="T53" fmla="*/ 166 h 348"/>
                      <a:gd name="T54" fmla="*/ 108 w 765"/>
                      <a:gd name="T55" fmla="*/ 178 h 348"/>
                      <a:gd name="T56" fmla="*/ 87 w 765"/>
                      <a:gd name="T57" fmla="*/ 161 h 348"/>
                      <a:gd name="T58" fmla="*/ 104 w 765"/>
                      <a:gd name="T59" fmla="*/ 123 h 348"/>
                      <a:gd name="T60" fmla="*/ 108 w 765"/>
                      <a:gd name="T61" fmla="*/ 107 h 348"/>
                      <a:gd name="T62" fmla="*/ 125 w 765"/>
                      <a:gd name="T63" fmla="*/ 78 h 348"/>
                      <a:gd name="T64" fmla="*/ 108 w 765"/>
                      <a:gd name="T65" fmla="*/ 78 h 348"/>
                      <a:gd name="T66" fmla="*/ 168 w 765"/>
                      <a:gd name="T67" fmla="*/ 41 h 348"/>
                      <a:gd name="T68" fmla="*/ 293 w 765"/>
                      <a:gd name="T69" fmla="*/ 74 h 348"/>
                      <a:gd name="T70" fmla="*/ 305 w 765"/>
                      <a:gd name="T71" fmla="*/ 17 h 348"/>
                      <a:gd name="T72" fmla="*/ 385 w 765"/>
                      <a:gd name="T73" fmla="*/ 24 h 348"/>
                      <a:gd name="T74" fmla="*/ 456 w 765"/>
                      <a:gd name="T75" fmla="*/ 24 h 348"/>
                      <a:gd name="T76" fmla="*/ 543 w 765"/>
                      <a:gd name="T77" fmla="*/ 24 h 348"/>
                      <a:gd name="T78" fmla="*/ 699 w 765"/>
                      <a:gd name="T79" fmla="*/ 41 h 348"/>
                      <a:gd name="T80" fmla="*/ 711 w 765"/>
                      <a:gd name="T81" fmla="*/ 74 h 348"/>
                      <a:gd name="T82" fmla="*/ 765 w 765"/>
                      <a:gd name="T83" fmla="*/ 95 h 348"/>
                      <a:gd name="T84" fmla="*/ 742 w 765"/>
                      <a:gd name="T85" fmla="*/ 111 h 348"/>
                      <a:gd name="T86" fmla="*/ 704 w 765"/>
                      <a:gd name="T87" fmla="*/ 128 h 348"/>
                      <a:gd name="T88" fmla="*/ 635 w 765"/>
                      <a:gd name="T89" fmla="*/ 178 h 348"/>
                      <a:gd name="T90" fmla="*/ 536 w 765"/>
                      <a:gd name="T91" fmla="*/ 199 h 348"/>
                      <a:gd name="T92" fmla="*/ 520 w 765"/>
                      <a:gd name="T93" fmla="*/ 232 h 348"/>
                      <a:gd name="T94" fmla="*/ 482 w 765"/>
                      <a:gd name="T95" fmla="*/ 248 h 348"/>
                      <a:gd name="T96" fmla="*/ 439 w 765"/>
                      <a:gd name="T97" fmla="*/ 232 h 348"/>
                      <a:gd name="T98" fmla="*/ 385 w 765"/>
                      <a:gd name="T99" fmla="*/ 239 h 348"/>
                      <a:gd name="T100" fmla="*/ 385 w 765"/>
                      <a:gd name="T101" fmla="*/ 23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5" h="348">
                        <a:moveTo>
                          <a:pt x="385" y="239"/>
                        </a:moveTo>
                        <a:lnTo>
                          <a:pt x="397" y="255"/>
                        </a:lnTo>
                        <a:lnTo>
                          <a:pt x="380" y="255"/>
                        </a:lnTo>
                        <a:lnTo>
                          <a:pt x="359" y="272"/>
                        </a:lnTo>
                        <a:lnTo>
                          <a:pt x="331" y="277"/>
                        </a:lnTo>
                        <a:lnTo>
                          <a:pt x="321" y="305"/>
                        </a:lnTo>
                        <a:lnTo>
                          <a:pt x="326" y="315"/>
                        </a:lnTo>
                        <a:lnTo>
                          <a:pt x="321" y="326"/>
                        </a:lnTo>
                        <a:lnTo>
                          <a:pt x="309" y="326"/>
                        </a:lnTo>
                        <a:lnTo>
                          <a:pt x="271" y="331"/>
                        </a:lnTo>
                        <a:lnTo>
                          <a:pt x="217" y="331"/>
                        </a:lnTo>
                        <a:lnTo>
                          <a:pt x="212" y="348"/>
                        </a:lnTo>
                        <a:lnTo>
                          <a:pt x="196" y="331"/>
                        </a:lnTo>
                        <a:lnTo>
                          <a:pt x="168" y="343"/>
                        </a:lnTo>
                        <a:lnTo>
                          <a:pt x="168" y="326"/>
                        </a:lnTo>
                        <a:lnTo>
                          <a:pt x="158" y="326"/>
                        </a:lnTo>
                        <a:lnTo>
                          <a:pt x="158" y="315"/>
                        </a:lnTo>
                        <a:lnTo>
                          <a:pt x="125" y="326"/>
                        </a:lnTo>
                        <a:lnTo>
                          <a:pt x="113" y="331"/>
                        </a:lnTo>
                        <a:lnTo>
                          <a:pt x="104" y="331"/>
                        </a:lnTo>
                        <a:lnTo>
                          <a:pt x="92" y="315"/>
                        </a:lnTo>
                        <a:lnTo>
                          <a:pt x="87" y="315"/>
                        </a:lnTo>
                        <a:lnTo>
                          <a:pt x="0" y="315"/>
                        </a:lnTo>
                        <a:lnTo>
                          <a:pt x="0" y="293"/>
                        </a:lnTo>
                        <a:lnTo>
                          <a:pt x="0" y="277"/>
                        </a:lnTo>
                        <a:lnTo>
                          <a:pt x="7" y="289"/>
                        </a:lnTo>
                        <a:lnTo>
                          <a:pt x="16" y="289"/>
                        </a:lnTo>
                        <a:lnTo>
                          <a:pt x="16" y="272"/>
                        </a:lnTo>
                        <a:lnTo>
                          <a:pt x="54" y="260"/>
                        </a:lnTo>
                        <a:lnTo>
                          <a:pt x="87" y="277"/>
                        </a:lnTo>
                        <a:lnTo>
                          <a:pt x="87" y="289"/>
                        </a:lnTo>
                        <a:lnTo>
                          <a:pt x="92" y="289"/>
                        </a:lnTo>
                        <a:lnTo>
                          <a:pt x="92" y="272"/>
                        </a:lnTo>
                        <a:lnTo>
                          <a:pt x="113" y="272"/>
                        </a:lnTo>
                        <a:lnTo>
                          <a:pt x="113" y="260"/>
                        </a:lnTo>
                        <a:lnTo>
                          <a:pt x="146" y="255"/>
                        </a:lnTo>
                        <a:lnTo>
                          <a:pt x="168" y="272"/>
                        </a:lnTo>
                        <a:lnTo>
                          <a:pt x="196" y="260"/>
                        </a:lnTo>
                        <a:lnTo>
                          <a:pt x="196" y="255"/>
                        </a:lnTo>
                        <a:lnTo>
                          <a:pt x="201" y="248"/>
                        </a:lnTo>
                        <a:lnTo>
                          <a:pt x="217" y="248"/>
                        </a:lnTo>
                        <a:lnTo>
                          <a:pt x="217" y="232"/>
                        </a:lnTo>
                        <a:lnTo>
                          <a:pt x="234" y="239"/>
                        </a:lnTo>
                        <a:lnTo>
                          <a:pt x="250" y="222"/>
                        </a:lnTo>
                        <a:lnTo>
                          <a:pt x="271" y="215"/>
                        </a:lnTo>
                        <a:lnTo>
                          <a:pt x="234" y="206"/>
                        </a:lnTo>
                        <a:lnTo>
                          <a:pt x="217" y="194"/>
                        </a:lnTo>
                        <a:lnTo>
                          <a:pt x="201" y="199"/>
                        </a:lnTo>
                        <a:lnTo>
                          <a:pt x="201" y="182"/>
                        </a:lnTo>
                        <a:lnTo>
                          <a:pt x="184" y="182"/>
                        </a:lnTo>
                        <a:lnTo>
                          <a:pt x="184" y="166"/>
                        </a:lnTo>
                        <a:lnTo>
                          <a:pt x="168" y="149"/>
                        </a:lnTo>
                        <a:lnTo>
                          <a:pt x="163" y="166"/>
                        </a:lnTo>
                        <a:lnTo>
                          <a:pt x="146" y="166"/>
                        </a:lnTo>
                        <a:lnTo>
                          <a:pt x="146" y="182"/>
                        </a:lnTo>
                        <a:lnTo>
                          <a:pt x="108" y="178"/>
                        </a:lnTo>
                        <a:lnTo>
                          <a:pt x="104" y="161"/>
                        </a:lnTo>
                        <a:lnTo>
                          <a:pt x="87" y="161"/>
                        </a:lnTo>
                        <a:lnTo>
                          <a:pt x="61" y="149"/>
                        </a:lnTo>
                        <a:lnTo>
                          <a:pt x="104" y="123"/>
                        </a:lnTo>
                        <a:lnTo>
                          <a:pt x="108" y="123"/>
                        </a:lnTo>
                        <a:lnTo>
                          <a:pt x="108" y="107"/>
                        </a:lnTo>
                        <a:lnTo>
                          <a:pt x="142" y="95"/>
                        </a:lnTo>
                        <a:lnTo>
                          <a:pt x="125" y="78"/>
                        </a:lnTo>
                        <a:lnTo>
                          <a:pt x="113" y="90"/>
                        </a:lnTo>
                        <a:lnTo>
                          <a:pt x="108" y="78"/>
                        </a:lnTo>
                        <a:lnTo>
                          <a:pt x="130" y="50"/>
                        </a:lnTo>
                        <a:lnTo>
                          <a:pt x="168" y="41"/>
                        </a:lnTo>
                        <a:lnTo>
                          <a:pt x="212" y="41"/>
                        </a:lnTo>
                        <a:lnTo>
                          <a:pt x="293" y="74"/>
                        </a:lnTo>
                        <a:lnTo>
                          <a:pt x="293" y="57"/>
                        </a:lnTo>
                        <a:lnTo>
                          <a:pt x="305" y="17"/>
                        </a:lnTo>
                        <a:lnTo>
                          <a:pt x="347" y="0"/>
                        </a:lnTo>
                        <a:lnTo>
                          <a:pt x="385" y="24"/>
                        </a:lnTo>
                        <a:lnTo>
                          <a:pt x="451" y="41"/>
                        </a:lnTo>
                        <a:lnTo>
                          <a:pt x="456" y="24"/>
                        </a:lnTo>
                        <a:lnTo>
                          <a:pt x="520" y="33"/>
                        </a:lnTo>
                        <a:lnTo>
                          <a:pt x="543" y="24"/>
                        </a:lnTo>
                        <a:lnTo>
                          <a:pt x="557" y="33"/>
                        </a:lnTo>
                        <a:lnTo>
                          <a:pt x="699" y="41"/>
                        </a:lnTo>
                        <a:lnTo>
                          <a:pt x="699" y="50"/>
                        </a:lnTo>
                        <a:lnTo>
                          <a:pt x="711" y="74"/>
                        </a:lnTo>
                        <a:lnTo>
                          <a:pt x="753" y="74"/>
                        </a:lnTo>
                        <a:lnTo>
                          <a:pt x="765" y="95"/>
                        </a:lnTo>
                        <a:lnTo>
                          <a:pt x="765" y="107"/>
                        </a:lnTo>
                        <a:lnTo>
                          <a:pt x="742" y="111"/>
                        </a:lnTo>
                        <a:lnTo>
                          <a:pt x="737" y="123"/>
                        </a:lnTo>
                        <a:lnTo>
                          <a:pt x="704" y="128"/>
                        </a:lnTo>
                        <a:lnTo>
                          <a:pt x="645" y="161"/>
                        </a:lnTo>
                        <a:lnTo>
                          <a:pt x="635" y="178"/>
                        </a:lnTo>
                        <a:lnTo>
                          <a:pt x="619" y="194"/>
                        </a:lnTo>
                        <a:lnTo>
                          <a:pt x="536" y="199"/>
                        </a:lnTo>
                        <a:lnTo>
                          <a:pt x="520" y="215"/>
                        </a:lnTo>
                        <a:lnTo>
                          <a:pt x="520" y="232"/>
                        </a:lnTo>
                        <a:lnTo>
                          <a:pt x="494" y="255"/>
                        </a:lnTo>
                        <a:lnTo>
                          <a:pt x="482" y="248"/>
                        </a:lnTo>
                        <a:lnTo>
                          <a:pt x="451" y="255"/>
                        </a:lnTo>
                        <a:lnTo>
                          <a:pt x="439" y="232"/>
                        </a:lnTo>
                        <a:lnTo>
                          <a:pt x="418" y="248"/>
                        </a:lnTo>
                        <a:lnTo>
                          <a:pt x="385" y="239"/>
                        </a:lnTo>
                        <a:lnTo>
                          <a:pt x="385" y="239"/>
                        </a:lnTo>
                        <a:lnTo>
                          <a:pt x="385" y="23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1" name="Freeform 483">
                    <a:extLst>
                      <a:ext uri="{FF2B5EF4-FFF2-40B4-BE49-F238E27FC236}">
                        <a16:creationId xmlns:a16="http://schemas.microsoft.com/office/drawing/2014/main" id="{BFE30613-D3B6-49A1-9C11-658CD7F3E976}"/>
                      </a:ext>
                    </a:extLst>
                  </p:cNvPr>
                  <p:cNvSpPr>
                    <a:spLocks/>
                  </p:cNvSpPr>
                  <p:nvPr/>
                </p:nvSpPr>
                <p:spPr bwMode="gray">
                  <a:xfrm>
                    <a:off x="10314352" y="2705165"/>
                    <a:ext cx="184016" cy="187742"/>
                  </a:xfrm>
                  <a:custGeom>
                    <a:avLst/>
                    <a:gdLst>
                      <a:gd name="T0" fmla="*/ 45 w 447"/>
                      <a:gd name="T1" fmla="*/ 217 h 456"/>
                      <a:gd name="T2" fmla="*/ 55 w 447"/>
                      <a:gd name="T3" fmla="*/ 217 h 456"/>
                      <a:gd name="T4" fmla="*/ 104 w 447"/>
                      <a:gd name="T5" fmla="*/ 184 h 456"/>
                      <a:gd name="T6" fmla="*/ 156 w 447"/>
                      <a:gd name="T7" fmla="*/ 144 h 456"/>
                      <a:gd name="T8" fmla="*/ 189 w 447"/>
                      <a:gd name="T9" fmla="*/ 106 h 456"/>
                      <a:gd name="T10" fmla="*/ 270 w 447"/>
                      <a:gd name="T11" fmla="*/ 144 h 456"/>
                      <a:gd name="T12" fmla="*/ 270 w 447"/>
                      <a:gd name="T13" fmla="*/ 106 h 456"/>
                      <a:gd name="T14" fmla="*/ 324 w 447"/>
                      <a:gd name="T15" fmla="*/ 89 h 456"/>
                      <a:gd name="T16" fmla="*/ 357 w 447"/>
                      <a:gd name="T17" fmla="*/ 49 h 456"/>
                      <a:gd name="T18" fmla="*/ 378 w 447"/>
                      <a:gd name="T19" fmla="*/ 49 h 456"/>
                      <a:gd name="T20" fmla="*/ 421 w 447"/>
                      <a:gd name="T21" fmla="*/ 11 h 456"/>
                      <a:gd name="T22" fmla="*/ 442 w 447"/>
                      <a:gd name="T23" fmla="*/ 45 h 456"/>
                      <a:gd name="T24" fmla="*/ 447 w 447"/>
                      <a:gd name="T25" fmla="*/ 66 h 456"/>
                      <a:gd name="T26" fmla="*/ 378 w 447"/>
                      <a:gd name="T27" fmla="*/ 122 h 456"/>
                      <a:gd name="T28" fmla="*/ 388 w 447"/>
                      <a:gd name="T29" fmla="*/ 144 h 456"/>
                      <a:gd name="T30" fmla="*/ 350 w 447"/>
                      <a:gd name="T31" fmla="*/ 200 h 456"/>
                      <a:gd name="T32" fmla="*/ 303 w 447"/>
                      <a:gd name="T33" fmla="*/ 238 h 456"/>
                      <a:gd name="T34" fmla="*/ 286 w 447"/>
                      <a:gd name="T35" fmla="*/ 255 h 456"/>
                      <a:gd name="T36" fmla="*/ 260 w 447"/>
                      <a:gd name="T37" fmla="*/ 271 h 456"/>
                      <a:gd name="T38" fmla="*/ 232 w 447"/>
                      <a:gd name="T39" fmla="*/ 323 h 456"/>
                      <a:gd name="T40" fmla="*/ 218 w 447"/>
                      <a:gd name="T41" fmla="*/ 311 h 456"/>
                      <a:gd name="T42" fmla="*/ 248 w 447"/>
                      <a:gd name="T43" fmla="*/ 340 h 456"/>
                      <a:gd name="T44" fmla="*/ 281 w 447"/>
                      <a:gd name="T45" fmla="*/ 394 h 456"/>
                      <a:gd name="T46" fmla="*/ 206 w 447"/>
                      <a:gd name="T47" fmla="*/ 406 h 456"/>
                      <a:gd name="T48" fmla="*/ 163 w 447"/>
                      <a:gd name="T49" fmla="*/ 451 h 456"/>
                      <a:gd name="T50" fmla="*/ 135 w 447"/>
                      <a:gd name="T51" fmla="*/ 451 h 456"/>
                      <a:gd name="T52" fmla="*/ 121 w 447"/>
                      <a:gd name="T53" fmla="*/ 439 h 456"/>
                      <a:gd name="T54" fmla="*/ 109 w 447"/>
                      <a:gd name="T55" fmla="*/ 432 h 456"/>
                      <a:gd name="T56" fmla="*/ 104 w 447"/>
                      <a:gd name="T57" fmla="*/ 439 h 456"/>
                      <a:gd name="T58" fmla="*/ 88 w 447"/>
                      <a:gd name="T59" fmla="*/ 439 h 456"/>
                      <a:gd name="T60" fmla="*/ 71 w 447"/>
                      <a:gd name="T61" fmla="*/ 422 h 456"/>
                      <a:gd name="T62" fmla="*/ 45 w 447"/>
                      <a:gd name="T63" fmla="*/ 406 h 456"/>
                      <a:gd name="T64" fmla="*/ 83 w 447"/>
                      <a:gd name="T65" fmla="*/ 366 h 456"/>
                      <a:gd name="T66" fmla="*/ 66 w 447"/>
                      <a:gd name="T67" fmla="*/ 361 h 456"/>
                      <a:gd name="T68" fmla="*/ 71 w 447"/>
                      <a:gd name="T69" fmla="*/ 304 h 456"/>
                      <a:gd name="T70" fmla="*/ 55 w 447"/>
                      <a:gd name="T71" fmla="*/ 295 h 456"/>
                      <a:gd name="T72" fmla="*/ 33 w 447"/>
                      <a:gd name="T73" fmla="*/ 288 h 456"/>
                      <a:gd name="T74" fmla="*/ 17 w 447"/>
                      <a:gd name="T75" fmla="*/ 283 h 456"/>
                      <a:gd name="T76" fmla="*/ 12 w 447"/>
                      <a:gd name="T77" fmla="*/ 250 h 456"/>
                      <a:gd name="T78" fmla="*/ 12 w 447"/>
                      <a:gd name="T79" fmla="*/ 25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47" h="456">
                        <a:moveTo>
                          <a:pt x="12" y="250"/>
                        </a:moveTo>
                        <a:lnTo>
                          <a:pt x="45" y="217"/>
                        </a:lnTo>
                        <a:lnTo>
                          <a:pt x="55" y="229"/>
                        </a:lnTo>
                        <a:lnTo>
                          <a:pt x="55" y="217"/>
                        </a:lnTo>
                        <a:lnTo>
                          <a:pt x="83" y="200"/>
                        </a:lnTo>
                        <a:lnTo>
                          <a:pt x="104" y="184"/>
                        </a:lnTo>
                        <a:lnTo>
                          <a:pt x="125" y="184"/>
                        </a:lnTo>
                        <a:lnTo>
                          <a:pt x="156" y="144"/>
                        </a:lnTo>
                        <a:lnTo>
                          <a:pt x="163" y="122"/>
                        </a:lnTo>
                        <a:lnTo>
                          <a:pt x="189" y="106"/>
                        </a:lnTo>
                        <a:lnTo>
                          <a:pt x="210" y="139"/>
                        </a:lnTo>
                        <a:lnTo>
                          <a:pt x="270" y="144"/>
                        </a:lnTo>
                        <a:lnTo>
                          <a:pt x="281" y="122"/>
                        </a:lnTo>
                        <a:lnTo>
                          <a:pt x="270" y="106"/>
                        </a:lnTo>
                        <a:lnTo>
                          <a:pt x="265" y="89"/>
                        </a:lnTo>
                        <a:lnTo>
                          <a:pt x="324" y="89"/>
                        </a:lnTo>
                        <a:lnTo>
                          <a:pt x="350" y="66"/>
                        </a:lnTo>
                        <a:lnTo>
                          <a:pt x="357" y="49"/>
                        </a:lnTo>
                        <a:lnTo>
                          <a:pt x="366" y="56"/>
                        </a:lnTo>
                        <a:lnTo>
                          <a:pt x="378" y="49"/>
                        </a:lnTo>
                        <a:lnTo>
                          <a:pt x="395" y="0"/>
                        </a:lnTo>
                        <a:lnTo>
                          <a:pt x="421" y="11"/>
                        </a:lnTo>
                        <a:lnTo>
                          <a:pt x="421" y="28"/>
                        </a:lnTo>
                        <a:lnTo>
                          <a:pt x="442" y="45"/>
                        </a:lnTo>
                        <a:lnTo>
                          <a:pt x="442" y="49"/>
                        </a:lnTo>
                        <a:lnTo>
                          <a:pt x="447" y="66"/>
                        </a:lnTo>
                        <a:lnTo>
                          <a:pt x="433" y="56"/>
                        </a:lnTo>
                        <a:lnTo>
                          <a:pt x="378" y="122"/>
                        </a:lnTo>
                        <a:lnTo>
                          <a:pt x="378" y="139"/>
                        </a:lnTo>
                        <a:lnTo>
                          <a:pt x="388" y="144"/>
                        </a:lnTo>
                        <a:lnTo>
                          <a:pt x="378" y="193"/>
                        </a:lnTo>
                        <a:lnTo>
                          <a:pt x="350" y="200"/>
                        </a:lnTo>
                        <a:lnTo>
                          <a:pt x="340" y="217"/>
                        </a:lnTo>
                        <a:lnTo>
                          <a:pt x="303" y="238"/>
                        </a:lnTo>
                        <a:lnTo>
                          <a:pt x="303" y="250"/>
                        </a:lnTo>
                        <a:lnTo>
                          <a:pt x="286" y="255"/>
                        </a:lnTo>
                        <a:lnTo>
                          <a:pt x="265" y="255"/>
                        </a:lnTo>
                        <a:lnTo>
                          <a:pt x="260" y="271"/>
                        </a:lnTo>
                        <a:lnTo>
                          <a:pt x="227" y="283"/>
                        </a:lnTo>
                        <a:lnTo>
                          <a:pt x="232" y="323"/>
                        </a:lnTo>
                        <a:lnTo>
                          <a:pt x="227" y="311"/>
                        </a:lnTo>
                        <a:lnTo>
                          <a:pt x="218" y="311"/>
                        </a:lnTo>
                        <a:lnTo>
                          <a:pt x="218" y="328"/>
                        </a:lnTo>
                        <a:lnTo>
                          <a:pt x="248" y="340"/>
                        </a:lnTo>
                        <a:lnTo>
                          <a:pt x="286" y="378"/>
                        </a:lnTo>
                        <a:lnTo>
                          <a:pt x="281" y="394"/>
                        </a:lnTo>
                        <a:lnTo>
                          <a:pt x="265" y="399"/>
                        </a:lnTo>
                        <a:lnTo>
                          <a:pt x="206" y="406"/>
                        </a:lnTo>
                        <a:lnTo>
                          <a:pt x="173" y="439"/>
                        </a:lnTo>
                        <a:lnTo>
                          <a:pt x="163" y="451"/>
                        </a:lnTo>
                        <a:lnTo>
                          <a:pt x="151" y="439"/>
                        </a:lnTo>
                        <a:lnTo>
                          <a:pt x="135" y="451"/>
                        </a:lnTo>
                        <a:lnTo>
                          <a:pt x="135" y="456"/>
                        </a:lnTo>
                        <a:lnTo>
                          <a:pt x="121" y="439"/>
                        </a:lnTo>
                        <a:lnTo>
                          <a:pt x="121" y="451"/>
                        </a:lnTo>
                        <a:lnTo>
                          <a:pt x="109" y="432"/>
                        </a:lnTo>
                        <a:lnTo>
                          <a:pt x="97" y="422"/>
                        </a:lnTo>
                        <a:lnTo>
                          <a:pt x="104" y="439"/>
                        </a:lnTo>
                        <a:lnTo>
                          <a:pt x="71" y="456"/>
                        </a:lnTo>
                        <a:lnTo>
                          <a:pt x="88" y="439"/>
                        </a:lnTo>
                        <a:lnTo>
                          <a:pt x="50" y="432"/>
                        </a:lnTo>
                        <a:lnTo>
                          <a:pt x="71" y="422"/>
                        </a:lnTo>
                        <a:lnTo>
                          <a:pt x="29" y="415"/>
                        </a:lnTo>
                        <a:lnTo>
                          <a:pt x="45" y="406"/>
                        </a:lnTo>
                        <a:lnTo>
                          <a:pt x="50" y="382"/>
                        </a:lnTo>
                        <a:lnTo>
                          <a:pt x="83" y="366"/>
                        </a:lnTo>
                        <a:lnTo>
                          <a:pt x="97" y="378"/>
                        </a:lnTo>
                        <a:lnTo>
                          <a:pt x="66" y="361"/>
                        </a:lnTo>
                        <a:lnTo>
                          <a:pt x="83" y="323"/>
                        </a:lnTo>
                        <a:lnTo>
                          <a:pt x="71" y="304"/>
                        </a:lnTo>
                        <a:lnTo>
                          <a:pt x="83" y="295"/>
                        </a:lnTo>
                        <a:lnTo>
                          <a:pt x="55" y="295"/>
                        </a:lnTo>
                        <a:lnTo>
                          <a:pt x="33" y="283"/>
                        </a:lnTo>
                        <a:lnTo>
                          <a:pt x="33" y="288"/>
                        </a:lnTo>
                        <a:lnTo>
                          <a:pt x="29" y="295"/>
                        </a:lnTo>
                        <a:lnTo>
                          <a:pt x="17" y="283"/>
                        </a:lnTo>
                        <a:lnTo>
                          <a:pt x="0" y="267"/>
                        </a:lnTo>
                        <a:lnTo>
                          <a:pt x="12" y="250"/>
                        </a:lnTo>
                        <a:lnTo>
                          <a:pt x="12" y="250"/>
                        </a:lnTo>
                        <a:lnTo>
                          <a:pt x="12" y="25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5" name="Freeform 488">
                    <a:extLst>
                      <a:ext uri="{FF2B5EF4-FFF2-40B4-BE49-F238E27FC236}">
                        <a16:creationId xmlns:a16="http://schemas.microsoft.com/office/drawing/2014/main" id="{67E2DAB0-74C5-4080-B606-3CF4D33E2D99}"/>
                      </a:ext>
                    </a:extLst>
                  </p:cNvPr>
                  <p:cNvSpPr>
                    <a:spLocks noEditPoints="1"/>
                  </p:cNvSpPr>
                  <p:nvPr/>
                </p:nvSpPr>
                <p:spPr bwMode="gray">
                  <a:xfrm>
                    <a:off x="8069103" y="2224692"/>
                    <a:ext cx="1178611" cy="566933"/>
                  </a:xfrm>
                  <a:custGeom>
                    <a:avLst/>
                    <a:gdLst>
                      <a:gd name="T0" fmla="*/ 456 w 2863"/>
                      <a:gd name="T1" fmla="*/ 1240 h 1377"/>
                      <a:gd name="T2" fmla="*/ 364 w 2863"/>
                      <a:gd name="T3" fmla="*/ 1155 h 1377"/>
                      <a:gd name="T4" fmla="*/ 267 w 2863"/>
                      <a:gd name="T5" fmla="*/ 1015 h 1377"/>
                      <a:gd name="T6" fmla="*/ 309 w 2863"/>
                      <a:gd name="T7" fmla="*/ 994 h 1377"/>
                      <a:gd name="T8" fmla="*/ 465 w 2863"/>
                      <a:gd name="T9" fmla="*/ 878 h 1377"/>
                      <a:gd name="T10" fmla="*/ 394 w 2863"/>
                      <a:gd name="T11" fmla="*/ 829 h 1377"/>
                      <a:gd name="T12" fmla="*/ 196 w 2863"/>
                      <a:gd name="T13" fmla="*/ 850 h 1377"/>
                      <a:gd name="T14" fmla="*/ 158 w 2863"/>
                      <a:gd name="T15" fmla="*/ 834 h 1377"/>
                      <a:gd name="T16" fmla="*/ 0 w 2863"/>
                      <a:gd name="T17" fmla="*/ 678 h 1377"/>
                      <a:gd name="T18" fmla="*/ 71 w 2863"/>
                      <a:gd name="T19" fmla="*/ 493 h 1377"/>
                      <a:gd name="T20" fmla="*/ 158 w 2863"/>
                      <a:gd name="T21" fmla="*/ 510 h 1377"/>
                      <a:gd name="T22" fmla="*/ 272 w 2863"/>
                      <a:gd name="T23" fmla="*/ 399 h 1377"/>
                      <a:gd name="T24" fmla="*/ 335 w 2863"/>
                      <a:gd name="T25" fmla="*/ 382 h 1377"/>
                      <a:gd name="T26" fmla="*/ 411 w 2863"/>
                      <a:gd name="T27" fmla="*/ 366 h 1377"/>
                      <a:gd name="T28" fmla="*/ 562 w 2863"/>
                      <a:gd name="T29" fmla="*/ 456 h 1377"/>
                      <a:gd name="T30" fmla="*/ 574 w 2863"/>
                      <a:gd name="T31" fmla="*/ 434 h 1377"/>
                      <a:gd name="T32" fmla="*/ 713 w 2863"/>
                      <a:gd name="T33" fmla="*/ 434 h 1377"/>
                      <a:gd name="T34" fmla="*/ 827 w 2863"/>
                      <a:gd name="T35" fmla="*/ 423 h 1377"/>
                      <a:gd name="T36" fmla="*/ 914 w 2863"/>
                      <a:gd name="T37" fmla="*/ 489 h 1377"/>
                      <a:gd name="T38" fmla="*/ 1061 w 2863"/>
                      <a:gd name="T39" fmla="*/ 418 h 1377"/>
                      <a:gd name="T40" fmla="*/ 952 w 2863"/>
                      <a:gd name="T41" fmla="*/ 349 h 1377"/>
                      <a:gd name="T42" fmla="*/ 1006 w 2863"/>
                      <a:gd name="T43" fmla="*/ 278 h 1377"/>
                      <a:gd name="T44" fmla="*/ 1028 w 2863"/>
                      <a:gd name="T45" fmla="*/ 217 h 1377"/>
                      <a:gd name="T46" fmla="*/ 1037 w 2863"/>
                      <a:gd name="T47" fmla="*/ 167 h 1377"/>
                      <a:gd name="T48" fmla="*/ 1129 w 2863"/>
                      <a:gd name="T49" fmla="*/ 160 h 1377"/>
                      <a:gd name="T50" fmla="*/ 1226 w 2863"/>
                      <a:gd name="T51" fmla="*/ 111 h 1377"/>
                      <a:gd name="T52" fmla="*/ 1368 w 2863"/>
                      <a:gd name="T53" fmla="*/ 89 h 1377"/>
                      <a:gd name="T54" fmla="*/ 1561 w 2863"/>
                      <a:gd name="T55" fmla="*/ 12 h 1377"/>
                      <a:gd name="T56" fmla="*/ 1687 w 2863"/>
                      <a:gd name="T57" fmla="*/ 16 h 1377"/>
                      <a:gd name="T58" fmla="*/ 1729 w 2863"/>
                      <a:gd name="T59" fmla="*/ 111 h 1377"/>
                      <a:gd name="T60" fmla="*/ 1795 w 2863"/>
                      <a:gd name="T61" fmla="*/ 106 h 1377"/>
                      <a:gd name="T62" fmla="*/ 1838 w 2863"/>
                      <a:gd name="T63" fmla="*/ 156 h 1377"/>
                      <a:gd name="T64" fmla="*/ 1918 w 2863"/>
                      <a:gd name="T65" fmla="*/ 139 h 1377"/>
                      <a:gd name="T66" fmla="*/ 1946 w 2863"/>
                      <a:gd name="T67" fmla="*/ 184 h 1377"/>
                      <a:gd name="T68" fmla="*/ 2027 w 2863"/>
                      <a:gd name="T69" fmla="*/ 139 h 1377"/>
                      <a:gd name="T70" fmla="*/ 2119 w 2863"/>
                      <a:gd name="T71" fmla="*/ 127 h 1377"/>
                      <a:gd name="T72" fmla="*/ 2376 w 2863"/>
                      <a:gd name="T73" fmla="*/ 423 h 1377"/>
                      <a:gd name="T74" fmla="*/ 2523 w 2863"/>
                      <a:gd name="T75" fmla="*/ 460 h 1377"/>
                      <a:gd name="T76" fmla="*/ 2702 w 2863"/>
                      <a:gd name="T77" fmla="*/ 534 h 1377"/>
                      <a:gd name="T78" fmla="*/ 2825 w 2863"/>
                      <a:gd name="T79" fmla="*/ 550 h 1377"/>
                      <a:gd name="T80" fmla="*/ 2837 w 2863"/>
                      <a:gd name="T81" fmla="*/ 612 h 1377"/>
                      <a:gd name="T82" fmla="*/ 2750 w 2863"/>
                      <a:gd name="T83" fmla="*/ 777 h 1377"/>
                      <a:gd name="T84" fmla="*/ 2627 w 2863"/>
                      <a:gd name="T85" fmla="*/ 810 h 1377"/>
                      <a:gd name="T86" fmla="*/ 2485 w 2863"/>
                      <a:gd name="T87" fmla="*/ 978 h 1377"/>
                      <a:gd name="T88" fmla="*/ 2376 w 2863"/>
                      <a:gd name="T89" fmla="*/ 1027 h 1377"/>
                      <a:gd name="T90" fmla="*/ 2362 w 2863"/>
                      <a:gd name="T91" fmla="*/ 1200 h 1377"/>
                      <a:gd name="T92" fmla="*/ 2157 w 2863"/>
                      <a:gd name="T93" fmla="*/ 1178 h 1377"/>
                      <a:gd name="T94" fmla="*/ 1902 w 2863"/>
                      <a:gd name="T95" fmla="*/ 1162 h 1377"/>
                      <a:gd name="T96" fmla="*/ 1713 w 2863"/>
                      <a:gd name="T97" fmla="*/ 1233 h 1377"/>
                      <a:gd name="T98" fmla="*/ 1583 w 2863"/>
                      <a:gd name="T99" fmla="*/ 1323 h 1377"/>
                      <a:gd name="T100" fmla="*/ 1422 w 2863"/>
                      <a:gd name="T101" fmla="*/ 1327 h 1377"/>
                      <a:gd name="T102" fmla="*/ 1292 w 2863"/>
                      <a:gd name="T103" fmla="*/ 1105 h 1377"/>
                      <a:gd name="T104" fmla="*/ 666 w 2863"/>
                      <a:gd name="T105" fmla="*/ 1311 h 1377"/>
                      <a:gd name="T106" fmla="*/ 456 w 2863"/>
                      <a:gd name="T107" fmla="*/ 883 h 1377"/>
                      <a:gd name="T108" fmla="*/ 267 w 2863"/>
                      <a:gd name="T109" fmla="*/ 994 h 1377"/>
                      <a:gd name="T110" fmla="*/ 255 w 2863"/>
                      <a:gd name="T111" fmla="*/ 999 h 1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63" h="1377">
                        <a:moveTo>
                          <a:pt x="666" y="1311"/>
                        </a:moveTo>
                        <a:lnTo>
                          <a:pt x="628" y="1323"/>
                        </a:lnTo>
                        <a:lnTo>
                          <a:pt x="595" y="1273"/>
                        </a:lnTo>
                        <a:lnTo>
                          <a:pt x="595" y="1266"/>
                        </a:lnTo>
                        <a:lnTo>
                          <a:pt x="541" y="1221"/>
                        </a:lnTo>
                        <a:lnTo>
                          <a:pt x="487" y="1233"/>
                        </a:lnTo>
                        <a:lnTo>
                          <a:pt x="456" y="1240"/>
                        </a:lnTo>
                        <a:lnTo>
                          <a:pt x="418" y="1282"/>
                        </a:lnTo>
                        <a:lnTo>
                          <a:pt x="418" y="1266"/>
                        </a:lnTo>
                        <a:lnTo>
                          <a:pt x="411" y="1249"/>
                        </a:lnTo>
                        <a:lnTo>
                          <a:pt x="432" y="1195"/>
                        </a:lnTo>
                        <a:lnTo>
                          <a:pt x="394" y="1178"/>
                        </a:lnTo>
                        <a:lnTo>
                          <a:pt x="380" y="1183"/>
                        </a:lnTo>
                        <a:lnTo>
                          <a:pt x="364" y="1155"/>
                        </a:lnTo>
                        <a:lnTo>
                          <a:pt x="335" y="1155"/>
                        </a:lnTo>
                        <a:lnTo>
                          <a:pt x="335" y="1129"/>
                        </a:lnTo>
                        <a:lnTo>
                          <a:pt x="319" y="1100"/>
                        </a:lnTo>
                        <a:lnTo>
                          <a:pt x="305" y="1067"/>
                        </a:lnTo>
                        <a:lnTo>
                          <a:pt x="267" y="1051"/>
                        </a:lnTo>
                        <a:lnTo>
                          <a:pt x="267" y="1027"/>
                        </a:lnTo>
                        <a:lnTo>
                          <a:pt x="267" y="1015"/>
                        </a:lnTo>
                        <a:lnTo>
                          <a:pt x="305" y="1027"/>
                        </a:lnTo>
                        <a:lnTo>
                          <a:pt x="326" y="1034"/>
                        </a:lnTo>
                        <a:lnTo>
                          <a:pt x="357" y="1034"/>
                        </a:lnTo>
                        <a:lnTo>
                          <a:pt x="335" y="1027"/>
                        </a:lnTo>
                        <a:lnTo>
                          <a:pt x="335" y="1015"/>
                        </a:lnTo>
                        <a:lnTo>
                          <a:pt x="309" y="999"/>
                        </a:lnTo>
                        <a:lnTo>
                          <a:pt x="309" y="994"/>
                        </a:lnTo>
                        <a:lnTo>
                          <a:pt x="335" y="978"/>
                        </a:lnTo>
                        <a:lnTo>
                          <a:pt x="343" y="956"/>
                        </a:lnTo>
                        <a:lnTo>
                          <a:pt x="418" y="956"/>
                        </a:lnTo>
                        <a:lnTo>
                          <a:pt x="470" y="961"/>
                        </a:lnTo>
                        <a:lnTo>
                          <a:pt x="432" y="940"/>
                        </a:lnTo>
                        <a:lnTo>
                          <a:pt x="465" y="900"/>
                        </a:lnTo>
                        <a:lnTo>
                          <a:pt x="465" y="878"/>
                        </a:lnTo>
                        <a:lnTo>
                          <a:pt x="456" y="862"/>
                        </a:lnTo>
                        <a:lnTo>
                          <a:pt x="470" y="845"/>
                        </a:lnTo>
                        <a:lnTo>
                          <a:pt x="470" y="834"/>
                        </a:lnTo>
                        <a:lnTo>
                          <a:pt x="456" y="822"/>
                        </a:lnTo>
                        <a:lnTo>
                          <a:pt x="449" y="810"/>
                        </a:lnTo>
                        <a:lnTo>
                          <a:pt x="418" y="810"/>
                        </a:lnTo>
                        <a:lnTo>
                          <a:pt x="394" y="829"/>
                        </a:lnTo>
                        <a:lnTo>
                          <a:pt x="373" y="822"/>
                        </a:lnTo>
                        <a:lnTo>
                          <a:pt x="357" y="805"/>
                        </a:lnTo>
                        <a:lnTo>
                          <a:pt x="326" y="805"/>
                        </a:lnTo>
                        <a:lnTo>
                          <a:pt x="305" y="822"/>
                        </a:lnTo>
                        <a:lnTo>
                          <a:pt x="272" y="822"/>
                        </a:lnTo>
                        <a:lnTo>
                          <a:pt x="234" y="850"/>
                        </a:lnTo>
                        <a:lnTo>
                          <a:pt x="196" y="850"/>
                        </a:lnTo>
                        <a:lnTo>
                          <a:pt x="201" y="867"/>
                        </a:lnTo>
                        <a:lnTo>
                          <a:pt x="196" y="862"/>
                        </a:lnTo>
                        <a:lnTo>
                          <a:pt x="184" y="867"/>
                        </a:lnTo>
                        <a:lnTo>
                          <a:pt x="142" y="850"/>
                        </a:lnTo>
                        <a:lnTo>
                          <a:pt x="142" y="834"/>
                        </a:lnTo>
                        <a:lnTo>
                          <a:pt x="158" y="834"/>
                        </a:lnTo>
                        <a:lnTo>
                          <a:pt x="158" y="834"/>
                        </a:lnTo>
                        <a:lnTo>
                          <a:pt x="180" y="829"/>
                        </a:lnTo>
                        <a:lnTo>
                          <a:pt x="120" y="751"/>
                        </a:lnTo>
                        <a:lnTo>
                          <a:pt x="66" y="734"/>
                        </a:lnTo>
                        <a:lnTo>
                          <a:pt x="66" y="751"/>
                        </a:lnTo>
                        <a:lnTo>
                          <a:pt x="50" y="734"/>
                        </a:lnTo>
                        <a:lnTo>
                          <a:pt x="38" y="694"/>
                        </a:lnTo>
                        <a:lnTo>
                          <a:pt x="0" y="678"/>
                        </a:lnTo>
                        <a:lnTo>
                          <a:pt x="17" y="628"/>
                        </a:lnTo>
                        <a:lnTo>
                          <a:pt x="38" y="612"/>
                        </a:lnTo>
                        <a:lnTo>
                          <a:pt x="17" y="600"/>
                        </a:lnTo>
                        <a:lnTo>
                          <a:pt x="33" y="550"/>
                        </a:lnTo>
                        <a:lnTo>
                          <a:pt x="54" y="529"/>
                        </a:lnTo>
                        <a:lnTo>
                          <a:pt x="54" y="501"/>
                        </a:lnTo>
                        <a:lnTo>
                          <a:pt x="71" y="493"/>
                        </a:lnTo>
                        <a:lnTo>
                          <a:pt x="76" y="489"/>
                        </a:lnTo>
                        <a:lnTo>
                          <a:pt x="104" y="510"/>
                        </a:lnTo>
                        <a:lnTo>
                          <a:pt x="125" y="545"/>
                        </a:lnTo>
                        <a:lnTo>
                          <a:pt x="130" y="550"/>
                        </a:lnTo>
                        <a:lnTo>
                          <a:pt x="163" y="545"/>
                        </a:lnTo>
                        <a:lnTo>
                          <a:pt x="175" y="529"/>
                        </a:lnTo>
                        <a:lnTo>
                          <a:pt x="158" y="510"/>
                        </a:lnTo>
                        <a:lnTo>
                          <a:pt x="158" y="477"/>
                        </a:lnTo>
                        <a:lnTo>
                          <a:pt x="201" y="456"/>
                        </a:lnTo>
                        <a:lnTo>
                          <a:pt x="201" y="439"/>
                        </a:lnTo>
                        <a:lnTo>
                          <a:pt x="213" y="423"/>
                        </a:lnTo>
                        <a:lnTo>
                          <a:pt x="234" y="434"/>
                        </a:lnTo>
                        <a:lnTo>
                          <a:pt x="272" y="406"/>
                        </a:lnTo>
                        <a:lnTo>
                          <a:pt x="272" y="399"/>
                        </a:lnTo>
                        <a:lnTo>
                          <a:pt x="288" y="389"/>
                        </a:lnTo>
                        <a:lnTo>
                          <a:pt x="288" y="378"/>
                        </a:lnTo>
                        <a:lnTo>
                          <a:pt x="305" y="382"/>
                        </a:lnTo>
                        <a:lnTo>
                          <a:pt x="305" y="366"/>
                        </a:lnTo>
                        <a:lnTo>
                          <a:pt x="343" y="378"/>
                        </a:lnTo>
                        <a:lnTo>
                          <a:pt x="343" y="382"/>
                        </a:lnTo>
                        <a:lnTo>
                          <a:pt x="335" y="382"/>
                        </a:lnTo>
                        <a:lnTo>
                          <a:pt x="335" y="389"/>
                        </a:lnTo>
                        <a:lnTo>
                          <a:pt x="364" y="389"/>
                        </a:lnTo>
                        <a:lnTo>
                          <a:pt x="373" y="389"/>
                        </a:lnTo>
                        <a:lnTo>
                          <a:pt x="373" y="382"/>
                        </a:lnTo>
                        <a:lnTo>
                          <a:pt x="380" y="378"/>
                        </a:lnTo>
                        <a:lnTo>
                          <a:pt x="394" y="378"/>
                        </a:lnTo>
                        <a:lnTo>
                          <a:pt x="411" y="366"/>
                        </a:lnTo>
                        <a:lnTo>
                          <a:pt x="428" y="389"/>
                        </a:lnTo>
                        <a:lnTo>
                          <a:pt x="487" y="389"/>
                        </a:lnTo>
                        <a:lnTo>
                          <a:pt x="503" y="399"/>
                        </a:lnTo>
                        <a:lnTo>
                          <a:pt x="503" y="418"/>
                        </a:lnTo>
                        <a:lnTo>
                          <a:pt x="524" y="423"/>
                        </a:lnTo>
                        <a:lnTo>
                          <a:pt x="553" y="444"/>
                        </a:lnTo>
                        <a:lnTo>
                          <a:pt x="562" y="456"/>
                        </a:lnTo>
                        <a:lnTo>
                          <a:pt x="557" y="472"/>
                        </a:lnTo>
                        <a:lnTo>
                          <a:pt x="562" y="489"/>
                        </a:lnTo>
                        <a:lnTo>
                          <a:pt x="574" y="477"/>
                        </a:lnTo>
                        <a:lnTo>
                          <a:pt x="574" y="444"/>
                        </a:lnTo>
                        <a:lnTo>
                          <a:pt x="562" y="444"/>
                        </a:lnTo>
                        <a:lnTo>
                          <a:pt x="562" y="439"/>
                        </a:lnTo>
                        <a:lnTo>
                          <a:pt x="574" y="434"/>
                        </a:lnTo>
                        <a:lnTo>
                          <a:pt x="645" y="489"/>
                        </a:lnTo>
                        <a:lnTo>
                          <a:pt x="671" y="460"/>
                        </a:lnTo>
                        <a:lnTo>
                          <a:pt x="683" y="444"/>
                        </a:lnTo>
                        <a:lnTo>
                          <a:pt x="687" y="444"/>
                        </a:lnTo>
                        <a:lnTo>
                          <a:pt x="704" y="434"/>
                        </a:lnTo>
                        <a:lnTo>
                          <a:pt x="720" y="439"/>
                        </a:lnTo>
                        <a:lnTo>
                          <a:pt x="713" y="434"/>
                        </a:lnTo>
                        <a:lnTo>
                          <a:pt x="720" y="434"/>
                        </a:lnTo>
                        <a:lnTo>
                          <a:pt x="742" y="434"/>
                        </a:lnTo>
                        <a:lnTo>
                          <a:pt x="772" y="456"/>
                        </a:lnTo>
                        <a:lnTo>
                          <a:pt x="789" y="444"/>
                        </a:lnTo>
                        <a:lnTo>
                          <a:pt x="789" y="434"/>
                        </a:lnTo>
                        <a:lnTo>
                          <a:pt x="822" y="434"/>
                        </a:lnTo>
                        <a:lnTo>
                          <a:pt x="827" y="423"/>
                        </a:lnTo>
                        <a:lnTo>
                          <a:pt x="848" y="434"/>
                        </a:lnTo>
                        <a:lnTo>
                          <a:pt x="843" y="444"/>
                        </a:lnTo>
                        <a:lnTo>
                          <a:pt x="848" y="456"/>
                        </a:lnTo>
                        <a:lnTo>
                          <a:pt x="876" y="472"/>
                        </a:lnTo>
                        <a:lnTo>
                          <a:pt x="914" y="472"/>
                        </a:lnTo>
                        <a:lnTo>
                          <a:pt x="919" y="477"/>
                        </a:lnTo>
                        <a:lnTo>
                          <a:pt x="914" y="489"/>
                        </a:lnTo>
                        <a:lnTo>
                          <a:pt x="914" y="489"/>
                        </a:lnTo>
                        <a:lnTo>
                          <a:pt x="935" y="477"/>
                        </a:lnTo>
                        <a:lnTo>
                          <a:pt x="952" y="456"/>
                        </a:lnTo>
                        <a:lnTo>
                          <a:pt x="968" y="472"/>
                        </a:lnTo>
                        <a:lnTo>
                          <a:pt x="994" y="472"/>
                        </a:lnTo>
                        <a:lnTo>
                          <a:pt x="1044" y="460"/>
                        </a:lnTo>
                        <a:lnTo>
                          <a:pt x="1061" y="418"/>
                        </a:lnTo>
                        <a:lnTo>
                          <a:pt x="1065" y="418"/>
                        </a:lnTo>
                        <a:lnTo>
                          <a:pt x="1049" y="399"/>
                        </a:lnTo>
                        <a:lnTo>
                          <a:pt x="1011" y="389"/>
                        </a:lnTo>
                        <a:lnTo>
                          <a:pt x="1011" y="382"/>
                        </a:lnTo>
                        <a:lnTo>
                          <a:pt x="973" y="378"/>
                        </a:lnTo>
                        <a:lnTo>
                          <a:pt x="985" y="361"/>
                        </a:lnTo>
                        <a:lnTo>
                          <a:pt x="952" y="349"/>
                        </a:lnTo>
                        <a:lnTo>
                          <a:pt x="940" y="345"/>
                        </a:lnTo>
                        <a:lnTo>
                          <a:pt x="985" y="328"/>
                        </a:lnTo>
                        <a:lnTo>
                          <a:pt x="994" y="328"/>
                        </a:lnTo>
                        <a:lnTo>
                          <a:pt x="1023" y="312"/>
                        </a:lnTo>
                        <a:lnTo>
                          <a:pt x="1011" y="295"/>
                        </a:lnTo>
                        <a:lnTo>
                          <a:pt x="1006" y="288"/>
                        </a:lnTo>
                        <a:lnTo>
                          <a:pt x="1006" y="278"/>
                        </a:lnTo>
                        <a:lnTo>
                          <a:pt x="994" y="278"/>
                        </a:lnTo>
                        <a:lnTo>
                          <a:pt x="1023" y="250"/>
                        </a:lnTo>
                        <a:lnTo>
                          <a:pt x="1049" y="238"/>
                        </a:lnTo>
                        <a:lnTo>
                          <a:pt x="1082" y="250"/>
                        </a:lnTo>
                        <a:lnTo>
                          <a:pt x="1098" y="250"/>
                        </a:lnTo>
                        <a:lnTo>
                          <a:pt x="1098" y="234"/>
                        </a:lnTo>
                        <a:lnTo>
                          <a:pt x="1028" y="217"/>
                        </a:lnTo>
                        <a:lnTo>
                          <a:pt x="1037" y="193"/>
                        </a:lnTo>
                        <a:lnTo>
                          <a:pt x="1044" y="201"/>
                        </a:lnTo>
                        <a:lnTo>
                          <a:pt x="1061" y="193"/>
                        </a:lnTo>
                        <a:lnTo>
                          <a:pt x="1049" y="184"/>
                        </a:lnTo>
                        <a:lnTo>
                          <a:pt x="1011" y="184"/>
                        </a:lnTo>
                        <a:lnTo>
                          <a:pt x="1023" y="184"/>
                        </a:lnTo>
                        <a:lnTo>
                          <a:pt x="1037" y="167"/>
                        </a:lnTo>
                        <a:lnTo>
                          <a:pt x="1023" y="160"/>
                        </a:lnTo>
                        <a:lnTo>
                          <a:pt x="1023" y="156"/>
                        </a:lnTo>
                        <a:lnTo>
                          <a:pt x="1044" y="139"/>
                        </a:lnTo>
                        <a:lnTo>
                          <a:pt x="1091" y="156"/>
                        </a:lnTo>
                        <a:lnTo>
                          <a:pt x="1091" y="144"/>
                        </a:lnTo>
                        <a:lnTo>
                          <a:pt x="1113" y="144"/>
                        </a:lnTo>
                        <a:lnTo>
                          <a:pt x="1129" y="160"/>
                        </a:lnTo>
                        <a:lnTo>
                          <a:pt x="1129" y="144"/>
                        </a:lnTo>
                        <a:lnTo>
                          <a:pt x="1167" y="139"/>
                        </a:lnTo>
                        <a:lnTo>
                          <a:pt x="1167" y="127"/>
                        </a:lnTo>
                        <a:lnTo>
                          <a:pt x="1205" y="123"/>
                        </a:lnTo>
                        <a:lnTo>
                          <a:pt x="1221" y="127"/>
                        </a:lnTo>
                        <a:lnTo>
                          <a:pt x="1226" y="123"/>
                        </a:lnTo>
                        <a:lnTo>
                          <a:pt x="1226" y="111"/>
                        </a:lnTo>
                        <a:lnTo>
                          <a:pt x="1292" y="106"/>
                        </a:lnTo>
                        <a:lnTo>
                          <a:pt x="1313" y="111"/>
                        </a:lnTo>
                        <a:lnTo>
                          <a:pt x="1313" y="99"/>
                        </a:lnTo>
                        <a:lnTo>
                          <a:pt x="1330" y="82"/>
                        </a:lnTo>
                        <a:lnTo>
                          <a:pt x="1351" y="89"/>
                        </a:lnTo>
                        <a:lnTo>
                          <a:pt x="1368" y="73"/>
                        </a:lnTo>
                        <a:lnTo>
                          <a:pt x="1368" y="89"/>
                        </a:lnTo>
                        <a:lnTo>
                          <a:pt x="1476" y="66"/>
                        </a:lnTo>
                        <a:lnTo>
                          <a:pt x="1507" y="49"/>
                        </a:lnTo>
                        <a:lnTo>
                          <a:pt x="1524" y="49"/>
                        </a:lnTo>
                        <a:lnTo>
                          <a:pt x="1528" y="45"/>
                        </a:lnTo>
                        <a:lnTo>
                          <a:pt x="1524" y="28"/>
                        </a:lnTo>
                        <a:lnTo>
                          <a:pt x="1552" y="28"/>
                        </a:lnTo>
                        <a:lnTo>
                          <a:pt x="1561" y="12"/>
                        </a:lnTo>
                        <a:lnTo>
                          <a:pt x="1578" y="16"/>
                        </a:lnTo>
                        <a:lnTo>
                          <a:pt x="1578" y="0"/>
                        </a:lnTo>
                        <a:lnTo>
                          <a:pt x="1594" y="16"/>
                        </a:lnTo>
                        <a:lnTo>
                          <a:pt x="1599" y="12"/>
                        </a:lnTo>
                        <a:lnTo>
                          <a:pt x="1620" y="12"/>
                        </a:lnTo>
                        <a:lnTo>
                          <a:pt x="1670" y="33"/>
                        </a:lnTo>
                        <a:lnTo>
                          <a:pt x="1687" y="16"/>
                        </a:lnTo>
                        <a:lnTo>
                          <a:pt x="1708" y="16"/>
                        </a:lnTo>
                        <a:lnTo>
                          <a:pt x="1708" y="16"/>
                        </a:lnTo>
                        <a:lnTo>
                          <a:pt x="1713" y="45"/>
                        </a:lnTo>
                        <a:lnTo>
                          <a:pt x="1724" y="66"/>
                        </a:lnTo>
                        <a:lnTo>
                          <a:pt x="1741" y="82"/>
                        </a:lnTo>
                        <a:lnTo>
                          <a:pt x="1729" y="89"/>
                        </a:lnTo>
                        <a:lnTo>
                          <a:pt x="1729" y="111"/>
                        </a:lnTo>
                        <a:lnTo>
                          <a:pt x="1713" y="111"/>
                        </a:lnTo>
                        <a:lnTo>
                          <a:pt x="1729" y="139"/>
                        </a:lnTo>
                        <a:lnTo>
                          <a:pt x="1746" y="127"/>
                        </a:lnTo>
                        <a:lnTo>
                          <a:pt x="1762" y="139"/>
                        </a:lnTo>
                        <a:lnTo>
                          <a:pt x="1767" y="123"/>
                        </a:lnTo>
                        <a:lnTo>
                          <a:pt x="1800" y="139"/>
                        </a:lnTo>
                        <a:lnTo>
                          <a:pt x="1795" y="106"/>
                        </a:lnTo>
                        <a:lnTo>
                          <a:pt x="1800" y="111"/>
                        </a:lnTo>
                        <a:lnTo>
                          <a:pt x="1817" y="123"/>
                        </a:lnTo>
                        <a:lnTo>
                          <a:pt x="1809" y="127"/>
                        </a:lnTo>
                        <a:lnTo>
                          <a:pt x="1821" y="127"/>
                        </a:lnTo>
                        <a:lnTo>
                          <a:pt x="1817" y="156"/>
                        </a:lnTo>
                        <a:lnTo>
                          <a:pt x="1821" y="156"/>
                        </a:lnTo>
                        <a:lnTo>
                          <a:pt x="1838" y="156"/>
                        </a:lnTo>
                        <a:lnTo>
                          <a:pt x="1838" y="139"/>
                        </a:lnTo>
                        <a:lnTo>
                          <a:pt x="1821" y="144"/>
                        </a:lnTo>
                        <a:lnTo>
                          <a:pt x="1833" y="127"/>
                        </a:lnTo>
                        <a:lnTo>
                          <a:pt x="1854" y="139"/>
                        </a:lnTo>
                        <a:lnTo>
                          <a:pt x="1864" y="144"/>
                        </a:lnTo>
                        <a:lnTo>
                          <a:pt x="1876" y="156"/>
                        </a:lnTo>
                        <a:lnTo>
                          <a:pt x="1918" y="139"/>
                        </a:lnTo>
                        <a:lnTo>
                          <a:pt x="1909" y="160"/>
                        </a:lnTo>
                        <a:lnTo>
                          <a:pt x="1892" y="160"/>
                        </a:lnTo>
                        <a:lnTo>
                          <a:pt x="1876" y="184"/>
                        </a:lnTo>
                        <a:lnTo>
                          <a:pt x="1892" y="201"/>
                        </a:lnTo>
                        <a:lnTo>
                          <a:pt x="1909" y="184"/>
                        </a:lnTo>
                        <a:lnTo>
                          <a:pt x="1923" y="184"/>
                        </a:lnTo>
                        <a:lnTo>
                          <a:pt x="1946" y="184"/>
                        </a:lnTo>
                        <a:lnTo>
                          <a:pt x="1961" y="201"/>
                        </a:lnTo>
                        <a:lnTo>
                          <a:pt x="1961" y="177"/>
                        </a:lnTo>
                        <a:lnTo>
                          <a:pt x="1977" y="177"/>
                        </a:lnTo>
                        <a:lnTo>
                          <a:pt x="1984" y="160"/>
                        </a:lnTo>
                        <a:lnTo>
                          <a:pt x="1998" y="167"/>
                        </a:lnTo>
                        <a:lnTo>
                          <a:pt x="2031" y="144"/>
                        </a:lnTo>
                        <a:lnTo>
                          <a:pt x="2027" y="139"/>
                        </a:lnTo>
                        <a:lnTo>
                          <a:pt x="2031" y="139"/>
                        </a:lnTo>
                        <a:lnTo>
                          <a:pt x="2086" y="123"/>
                        </a:lnTo>
                        <a:lnTo>
                          <a:pt x="2086" y="111"/>
                        </a:lnTo>
                        <a:lnTo>
                          <a:pt x="2102" y="111"/>
                        </a:lnTo>
                        <a:lnTo>
                          <a:pt x="2124" y="106"/>
                        </a:lnTo>
                        <a:lnTo>
                          <a:pt x="2135" y="123"/>
                        </a:lnTo>
                        <a:lnTo>
                          <a:pt x="2119" y="127"/>
                        </a:lnTo>
                        <a:lnTo>
                          <a:pt x="2102" y="127"/>
                        </a:lnTo>
                        <a:lnTo>
                          <a:pt x="2107" y="144"/>
                        </a:lnTo>
                        <a:lnTo>
                          <a:pt x="2199" y="217"/>
                        </a:lnTo>
                        <a:lnTo>
                          <a:pt x="2355" y="460"/>
                        </a:lnTo>
                        <a:lnTo>
                          <a:pt x="2355" y="456"/>
                        </a:lnTo>
                        <a:lnTo>
                          <a:pt x="2388" y="439"/>
                        </a:lnTo>
                        <a:lnTo>
                          <a:pt x="2376" y="423"/>
                        </a:lnTo>
                        <a:lnTo>
                          <a:pt x="2393" y="418"/>
                        </a:lnTo>
                        <a:lnTo>
                          <a:pt x="2405" y="406"/>
                        </a:lnTo>
                        <a:lnTo>
                          <a:pt x="2431" y="423"/>
                        </a:lnTo>
                        <a:lnTo>
                          <a:pt x="2426" y="444"/>
                        </a:lnTo>
                        <a:lnTo>
                          <a:pt x="2447" y="439"/>
                        </a:lnTo>
                        <a:lnTo>
                          <a:pt x="2459" y="460"/>
                        </a:lnTo>
                        <a:lnTo>
                          <a:pt x="2523" y="460"/>
                        </a:lnTo>
                        <a:lnTo>
                          <a:pt x="2539" y="456"/>
                        </a:lnTo>
                        <a:lnTo>
                          <a:pt x="2539" y="444"/>
                        </a:lnTo>
                        <a:lnTo>
                          <a:pt x="2594" y="439"/>
                        </a:lnTo>
                        <a:lnTo>
                          <a:pt x="2627" y="456"/>
                        </a:lnTo>
                        <a:lnTo>
                          <a:pt x="2657" y="510"/>
                        </a:lnTo>
                        <a:lnTo>
                          <a:pt x="2702" y="529"/>
                        </a:lnTo>
                        <a:lnTo>
                          <a:pt x="2702" y="534"/>
                        </a:lnTo>
                        <a:lnTo>
                          <a:pt x="2702" y="545"/>
                        </a:lnTo>
                        <a:lnTo>
                          <a:pt x="2712" y="545"/>
                        </a:lnTo>
                        <a:lnTo>
                          <a:pt x="2717" y="571"/>
                        </a:lnTo>
                        <a:lnTo>
                          <a:pt x="2750" y="571"/>
                        </a:lnTo>
                        <a:lnTo>
                          <a:pt x="2787" y="583"/>
                        </a:lnTo>
                        <a:lnTo>
                          <a:pt x="2809" y="550"/>
                        </a:lnTo>
                        <a:lnTo>
                          <a:pt x="2825" y="550"/>
                        </a:lnTo>
                        <a:lnTo>
                          <a:pt x="2825" y="555"/>
                        </a:lnTo>
                        <a:lnTo>
                          <a:pt x="2809" y="571"/>
                        </a:lnTo>
                        <a:lnTo>
                          <a:pt x="2837" y="583"/>
                        </a:lnTo>
                        <a:lnTo>
                          <a:pt x="2837" y="600"/>
                        </a:lnTo>
                        <a:lnTo>
                          <a:pt x="2863" y="604"/>
                        </a:lnTo>
                        <a:lnTo>
                          <a:pt x="2863" y="623"/>
                        </a:lnTo>
                        <a:lnTo>
                          <a:pt x="2837" y="612"/>
                        </a:lnTo>
                        <a:lnTo>
                          <a:pt x="2820" y="628"/>
                        </a:lnTo>
                        <a:lnTo>
                          <a:pt x="2825" y="656"/>
                        </a:lnTo>
                        <a:lnTo>
                          <a:pt x="2809" y="666"/>
                        </a:lnTo>
                        <a:lnTo>
                          <a:pt x="2754" y="682"/>
                        </a:lnTo>
                        <a:lnTo>
                          <a:pt x="2740" y="723"/>
                        </a:lnTo>
                        <a:lnTo>
                          <a:pt x="2740" y="767"/>
                        </a:lnTo>
                        <a:lnTo>
                          <a:pt x="2750" y="777"/>
                        </a:lnTo>
                        <a:lnTo>
                          <a:pt x="2750" y="789"/>
                        </a:lnTo>
                        <a:lnTo>
                          <a:pt x="2740" y="805"/>
                        </a:lnTo>
                        <a:lnTo>
                          <a:pt x="2717" y="805"/>
                        </a:lnTo>
                        <a:lnTo>
                          <a:pt x="2686" y="829"/>
                        </a:lnTo>
                        <a:lnTo>
                          <a:pt x="2686" y="822"/>
                        </a:lnTo>
                        <a:lnTo>
                          <a:pt x="2679" y="810"/>
                        </a:lnTo>
                        <a:lnTo>
                          <a:pt x="2627" y="810"/>
                        </a:lnTo>
                        <a:lnTo>
                          <a:pt x="2565" y="789"/>
                        </a:lnTo>
                        <a:lnTo>
                          <a:pt x="2565" y="810"/>
                        </a:lnTo>
                        <a:lnTo>
                          <a:pt x="2513" y="940"/>
                        </a:lnTo>
                        <a:lnTo>
                          <a:pt x="2535" y="956"/>
                        </a:lnTo>
                        <a:lnTo>
                          <a:pt x="2535" y="978"/>
                        </a:lnTo>
                        <a:lnTo>
                          <a:pt x="2513" y="973"/>
                        </a:lnTo>
                        <a:lnTo>
                          <a:pt x="2485" y="978"/>
                        </a:lnTo>
                        <a:lnTo>
                          <a:pt x="2468" y="961"/>
                        </a:lnTo>
                        <a:lnTo>
                          <a:pt x="2355" y="989"/>
                        </a:lnTo>
                        <a:lnTo>
                          <a:pt x="2339" y="999"/>
                        </a:lnTo>
                        <a:lnTo>
                          <a:pt x="2350" y="1011"/>
                        </a:lnTo>
                        <a:lnTo>
                          <a:pt x="2372" y="1011"/>
                        </a:lnTo>
                        <a:lnTo>
                          <a:pt x="2388" y="1015"/>
                        </a:lnTo>
                        <a:lnTo>
                          <a:pt x="2376" y="1027"/>
                        </a:lnTo>
                        <a:lnTo>
                          <a:pt x="2376" y="1067"/>
                        </a:lnTo>
                        <a:lnTo>
                          <a:pt x="2405" y="1129"/>
                        </a:lnTo>
                        <a:lnTo>
                          <a:pt x="2409" y="1155"/>
                        </a:lnTo>
                        <a:lnTo>
                          <a:pt x="2376" y="1167"/>
                        </a:lnTo>
                        <a:lnTo>
                          <a:pt x="2393" y="1178"/>
                        </a:lnTo>
                        <a:lnTo>
                          <a:pt x="2372" y="1183"/>
                        </a:lnTo>
                        <a:lnTo>
                          <a:pt x="2362" y="1200"/>
                        </a:lnTo>
                        <a:lnTo>
                          <a:pt x="2372" y="1233"/>
                        </a:lnTo>
                        <a:lnTo>
                          <a:pt x="2362" y="1240"/>
                        </a:lnTo>
                        <a:lnTo>
                          <a:pt x="2350" y="1216"/>
                        </a:lnTo>
                        <a:lnTo>
                          <a:pt x="2308" y="1216"/>
                        </a:lnTo>
                        <a:lnTo>
                          <a:pt x="2296" y="1195"/>
                        </a:lnTo>
                        <a:lnTo>
                          <a:pt x="2296" y="1183"/>
                        </a:lnTo>
                        <a:lnTo>
                          <a:pt x="2157" y="1178"/>
                        </a:lnTo>
                        <a:lnTo>
                          <a:pt x="2140" y="1167"/>
                        </a:lnTo>
                        <a:lnTo>
                          <a:pt x="2119" y="1178"/>
                        </a:lnTo>
                        <a:lnTo>
                          <a:pt x="2053" y="1167"/>
                        </a:lnTo>
                        <a:lnTo>
                          <a:pt x="2048" y="1183"/>
                        </a:lnTo>
                        <a:lnTo>
                          <a:pt x="1984" y="1167"/>
                        </a:lnTo>
                        <a:lnTo>
                          <a:pt x="1946" y="1145"/>
                        </a:lnTo>
                        <a:lnTo>
                          <a:pt x="1902" y="1162"/>
                        </a:lnTo>
                        <a:lnTo>
                          <a:pt x="1892" y="1200"/>
                        </a:lnTo>
                        <a:lnTo>
                          <a:pt x="1892" y="1216"/>
                        </a:lnTo>
                        <a:lnTo>
                          <a:pt x="1809" y="1183"/>
                        </a:lnTo>
                        <a:lnTo>
                          <a:pt x="1767" y="1183"/>
                        </a:lnTo>
                        <a:lnTo>
                          <a:pt x="1729" y="1195"/>
                        </a:lnTo>
                        <a:lnTo>
                          <a:pt x="1708" y="1221"/>
                        </a:lnTo>
                        <a:lnTo>
                          <a:pt x="1713" y="1233"/>
                        </a:lnTo>
                        <a:lnTo>
                          <a:pt x="1703" y="1240"/>
                        </a:lnTo>
                        <a:lnTo>
                          <a:pt x="1691" y="1256"/>
                        </a:lnTo>
                        <a:lnTo>
                          <a:pt x="1675" y="1249"/>
                        </a:lnTo>
                        <a:lnTo>
                          <a:pt x="1649" y="1282"/>
                        </a:lnTo>
                        <a:lnTo>
                          <a:pt x="1620" y="1282"/>
                        </a:lnTo>
                        <a:lnTo>
                          <a:pt x="1583" y="1311"/>
                        </a:lnTo>
                        <a:lnTo>
                          <a:pt x="1583" y="1323"/>
                        </a:lnTo>
                        <a:lnTo>
                          <a:pt x="1552" y="1351"/>
                        </a:lnTo>
                        <a:lnTo>
                          <a:pt x="1552" y="1377"/>
                        </a:lnTo>
                        <a:lnTo>
                          <a:pt x="1540" y="1377"/>
                        </a:lnTo>
                        <a:lnTo>
                          <a:pt x="1514" y="1360"/>
                        </a:lnTo>
                        <a:lnTo>
                          <a:pt x="1524" y="1339"/>
                        </a:lnTo>
                        <a:lnTo>
                          <a:pt x="1507" y="1327"/>
                        </a:lnTo>
                        <a:lnTo>
                          <a:pt x="1422" y="1327"/>
                        </a:lnTo>
                        <a:lnTo>
                          <a:pt x="1405" y="1256"/>
                        </a:lnTo>
                        <a:lnTo>
                          <a:pt x="1368" y="1256"/>
                        </a:lnTo>
                        <a:lnTo>
                          <a:pt x="1377" y="1167"/>
                        </a:lnTo>
                        <a:lnTo>
                          <a:pt x="1351" y="1178"/>
                        </a:lnTo>
                        <a:lnTo>
                          <a:pt x="1335" y="1138"/>
                        </a:lnTo>
                        <a:lnTo>
                          <a:pt x="1313" y="1129"/>
                        </a:lnTo>
                        <a:lnTo>
                          <a:pt x="1292" y="1105"/>
                        </a:lnTo>
                        <a:lnTo>
                          <a:pt x="1259" y="1122"/>
                        </a:lnTo>
                        <a:lnTo>
                          <a:pt x="1174" y="1110"/>
                        </a:lnTo>
                        <a:lnTo>
                          <a:pt x="1091" y="1122"/>
                        </a:lnTo>
                        <a:lnTo>
                          <a:pt x="1028" y="1056"/>
                        </a:lnTo>
                        <a:lnTo>
                          <a:pt x="843" y="940"/>
                        </a:lnTo>
                        <a:lnTo>
                          <a:pt x="666" y="994"/>
                        </a:lnTo>
                        <a:lnTo>
                          <a:pt x="666" y="1311"/>
                        </a:lnTo>
                        <a:lnTo>
                          <a:pt x="666" y="1311"/>
                        </a:lnTo>
                        <a:lnTo>
                          <a:pt x="666" y="1311"/>
                        </a:lnTo>
                        <a:close/>
                        <a:moveTo>
                          <a:pt x="456" y="883"/>
                        </a:moveTo>
                        <a:lnTo>
                          <a:pt x="449" y="878"/>
                        </a:lnTo>
                        <a:lnTo>
                          <a:pt x="456" y="867"/>
                        </a:lnTo>
                        <a:lnTo>
                          <a:pt x="465" y="878"/>
                        </a:lnTo>
                        <a:lnTo>
                          <a:pt x="456" y="883"/>
                        </a:lnTo>
                        <a:lnTo>
                          <a:pt x="456" y="883"/>
                        </a:lnTo>
                        <a:lnTo>
                          <a:pt x="456" y="883"/>
                        </a:lnTo>
                        <a:close/>
                        <a:moveTo>
                          <a:pt x="267" y="994"/>
                        </a:moveTo>
                        <a:lnTo>
                          <a:pt x="267" y="989"/>
                        </a:lnTo>
                        <a:lnTo>
                          <a:pt x="272" y="989"/>
                        </a:lnTo>
                        <a:lnTo>
                          <a:pt x="267" y="994"/>
                        </a:lnTo>
                        <a:lnTo>
                          <a:pt x="267" y="994"/>
                        </a:lnTo>
                        <a:lnTo>
                          <a:pt x="267" y="994"/>
                        </a:lnTo>
                        <a:close/>
                        <a:moveTo>
                          <a:pt x="255" y="1011"/>
                        </a:moveTo>
                        <a:lnTo>
                          <a:pt x="239" y="994"/>
                        </a:lnTo>
                        <a:lnTo>
                          <a:pt x="250" y="989"/>
                        </a:lnTo>
                        <a:lnTo>
                          <a:pt x="255" y="989"/>
                        </a:lnTo>
                        <a:lnTo>
                          <a:pt x="250" y="994"/>
                        </a:lnTo>
                        <a:lnTo>
                          <a:pt x="255" y="999"/>
                        </a:lnTo>
                        <a:lnTo>
                          <a:pt x="255" y="1011"/>
                        </a:lnTo>
                        <a:lnTo>
                          <a:pt x="255" y="1011"/>
                        </a:lnTo>
                        <a:lnTo>
                          <a:pt x="255" y="101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8" name="Freeform 491">
                    <a:extLst>
                      <a:ext uri="{FF2B5EF4-FFF2-40B4-BE49-F238E27FC236}">
                        <a16:creationId xmlns:a16="http://schemas.microsoft.com/office/drawing/2014/main" id="{8618E003-9335-457D-963D-F0B590CF0886}"/>
                      </a:ext>
                    </a:extLst>
                  </p:cNvPr>
                  <p:cNvSpPr>
                    <a:spLocks/>
                  </p:cNvSpPr>
                  <p:nvPr/>
                </p:nvSpPr>
                <p:spPr bwMode="gray">
                  <a:xfrm>
                    <a:off x="7333037" y="2115586"/>
                    <a:ext cx="209952" cy="100047"/>
                  </a:xfrm>
                  <a:custGeom>
                    <a:avLst/>
                    <a:gdLst>
                      <a:gd name="T0" fmla="*/ 234 w 510"/>
                      <a:gd name="T1" fmla="*/ 21 h 243"/>
                      <a:gd name="T2" fmla="*/ 288 w 510"/>
                      <a:gd name="T3" fmla="*/ 0 h 243"/>
                      <a:gd name="T4" fmla="*/ 297 w 510"/>
                      <a:gd name="T5" fmla="*/ 5 h 243"/>
                      <a:gd name="T6" fmla="*/ 297 w 510"/>
                      <a:gd name="T7" fmla="*/ 0 h 243"/>
                      <a:gd name="T8" fmla="*/ 352 w 510"/>
                      <a:gd name="T9" fmla="*/ 21 h 243"/>
                      <a:gd name="T10" fmla="*/ 385 w 510"/>
                      <a:gd name="T11" fmla="*/ 55 h 243"/>
                      <a:gd name="T12" fmla="*/ 418 w 510"/>
                      <a:gd name="T13" fmla="*/ 43 h 243"/>
                      <a:gd name="T14" fmla="*/ 451 w 510"/>
                      <a:gd name="T15" fmla="*/ 55 h 243"/>
                      <a:gd name="T16" fmla="*/ 456 w 510"/>
                      <a:gd name="T17" fmla="*/ 55 h 243"/>
                      <a:gd name="T18" fmla="*/ 456 w 510"/>
                      <a:gd name="T19" fmla="*/ 59 h 243"/>
                      <a:gd name="T20" fmla="*/ 477 w 510"/>
                      <a:gd name="T21" fmla="*/ 76 h 243"/>
                      <a:gd name="T22" fmla="*/ 472 w 510"/>
                      <a:gd name="T23" fmla="*/ 116 h 243"/>
                      <a:gd name="T24" fmla="*/ 489 w 510"/>
                      <a:gd name="T25" fmla="*/ 128 h 243"/>
                      <a:gd name="T26" fmla="*/ 510 w 510"/>
                      <a:gd name="T27" fmla="*/ 182 h 243"/>
                      <a:gd name="T28" fmla="*/ 505 w 510"/>
                      <a:gd name="T29" fmla="*/ 199 h 243"/>
                      <a:gd name="T30" fmla="*/ 489 w 510"/>
                      <a:gd name="T31" fmla="*/ 199 h 243"/>
                      <a:gd name="T32" fmla="*/ 460 w 510"/>
                      <a:gd name="T33" fmla="*/ 222 h 243"/>
                      <a:gd name="T34" fmla="*/ 460 w 510"/>
                      <a:gd name="T35" fmla="*/ 239 h 243"/>
                      <a:gd name="T36" fmla="*/ 418 w 510"/>
                      <a:gd name="T37" fmla="*/ 227 h 243"/>
                      <a:gd name="T38" fmla="*/ 406 w 510"/>
                      <a:gd name="T39" fmla="*/ 243 h 243"/>
                      <a:gd name="T40" fmla="*/ 397 w 510"/>
                      <a:gd name="T41" fmla="*/ 243 h 243"/>
                      <a:gd name="T42" fmla="*/ 368 w 510"/>
                      <a:gd name="T43" fmla="*/ 239 h 243"/>
                      <a:gd name="T44" fmla="*/ 331 w 510"/>
                      <a:gd name="T45" fmla="*/ 199 h 243"/>
                      <a:gd name="T46" fmla="*/ 288 w 510"/>
                      <a:gd name="T47" fmla="*/ 189 h 243"/>
                      <a:gd name="T48" fmla="*/ 271 w 510"/>
                      <a:gd name="T49" fmla="*/ 166 h 243"/>
                      <a:gd name="T50" fmla="*/ 243 w 510"/>
                      <a:gd name="T51" fmla="*/ 182 h 243"/>
                      <a:gd name="T52" fmla="*/ 222 w 510"/>
                      <a:gd name="T53" fmla="*/ 189 h 243"/>
                      <a:gd name="T54" fmla="*/ 163 w 510"/>
                      <a:gd name="T55" fmla="*/ 170 h 243"/>
                      <a:gd name="T56" fmla="*/ 146 w 510"/>
                      <a:gd name="T57" fmla="*/ 182 h 243"/>
                      <a:gd name="T58" fmla="*/ 134 w 510"/>
                      <a:gd name="T59" fmla="*/ 170 h 243"/>
                      <a:gd name="T60" fmla="*/ 113 w 510"/>
                      <a:gd name="T61" fmla="*/ 170 h 243"/>
                      <a:gd name="T62" fmla="*/ 75 w 510"/>
                      <a:gd name="T63" fmla="*/ 170 h 243"/>
                      <a:gd name="T64" fmla="*/ 21 w 510"/>
                      <a:gd name="T65" fmla="*/ 189 h 243"/>
                      <a:gd name="T66" fmla="*/ 16 w 510"/>
                      <a:gd name="T67" fmla="*/ 206 h 243"/>
                      <a:gd name="T68" fmla="*/ 0 w 510"/>
                      <a:gd name="T69" fmla="*/ 206 h 243"/>
                      <a:gd name="T70" fmla="*/ 0 w 510"/>
                      <a:gd name="T71" fmla="*/ 170 h 243"/>
                      <a:gd name="T72" fmla="*/ 0 w 510"/>
                      <a:gd name="T73" fmla="*/ 154 h 243"/>
                      <a:gd name="T74" fmla="*/ 5 w 510"/>
                      <a:gd name="T75" fmla="*/ 166 h 243"/>
                      <a:gd name="T76" fmla="*/ 0 w 510"/>
                      <a:gd name="T77" fmla="*/ 128 h 243"/>
                      <a:gd name="T78" fmla="*/ 21 w 510"/>
                      <a:gd name="T79" fmla="*/ 111 h 243"/>
                      <a:gd name="T80" fmla="*/ 26 w 510"/>
                      <a:gd name="T81" fmla="*/ 76 h 243"/>
                      <a:gd name="T82" fmla="*/ 54 w 510"/>
                      <a:gd name="T83" fmla="*/ 55 h 243"/>
                      <a:gd name="T84" fmla="*/ 113 w 510"/>
                      <a:gd name="T85" fmla="*/ 33 h 243"/>
                      <a:gd name="T86" fmla="*/ 113 w 510"/>
                      <a:gd name="T87" fmla="*/ 43 h 243"/>
                      <a:gd name="T88" fmla="*/ 146 w 510"/>
                      <a:gd name="T89" fmla="*/ 71 h 243"/>
                      <a:gd name="T90" fmla="*/ 151 w 510"/>
                      <a:gd name="T91" fmla="*/ 99 h 243"/>
                      <a:gd name="T92" fmla="*/ 189 w 510"/>
                      <a:gd name="T93" fmla="*/ 111 h 243"/>
                      <a:gd name="T94" fmla="*/ 238 w 510"/>
                      <a:gd name="T95" fmla="*/ 88 h 243"/>
                      <a:gd name="T96" fmla="*/ 234 w 510"/>
                      <a:gd name="T97" fmla="*/ 21 h 243"/>
                      <a:gd name="T98" fmla="*/ 234 w 510"/>
                      <a:gd name="T99" fmla="*/ 21 h 243"/>
                      <a:gd name="T100" fmla="*/ 234 w 510"/>
                      <a:gd name="T101" fmla="*/ 21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0" h="243">
                        <a:moveTo>
                          <a:pt x="234" y="21"/>
                        </a:moveTo>
                        <a:lnTo>
                          <a:pt x="288" y="0"/>
                        </a:lnTo>
                        <a:lnTo>
                          <a:pt x="297" y="5"/>
                        </a:lnTo>
                        <a:lnTo>
                          <a:pt x="297" y="0"/>
                        </a:lnTo>
                        <a:lnTo>
                          <a:pt x="352" y="21"/>
                        </a:lnTo>
                        <a:lnTo>
                          <a:pt x="385" y="55"/>
                        </a:lnTo>
                        <a:lnTo>
                          <a:pt x="418" y="43"/>
                        </a:lnTo>
                        <a:lnTo>
                          <a:pt x="451" y="55"/>
                        </a:lnTo>
                        <a:lnTo>
                          <a:pt x="456" y="55"/>
                        </a:lnTo>
                        <a:lnTo>
                          <a:pt x="456" y="59"/>
                        </a:lnTo>
                        <a:lnTo>
                          <a:pt x="477" y="76"/>
                        </a:lnTo>
                        <a:lnTo>
                          <a:pt x="472" y="116"/>
                        </a:lnTo>
                        <a:lnTo>
                          <a:pt x="489" y="128"/>
                        </a:lnTo>
                        <a:lnTo>
                          <a:pt x="510" y="182"/>
                        </a:lnTo>
                        <a:lnTo>
                          <a:pt x="505" y="199"/>
                        </a:lnTo>
                        <a:lnTo>
                          <a:pt x="489" y="199"/>
                        </a:lnTo>
                        <a:lnTo>
                          <a:pt x="460" y="222"/>
                        </a:lnTo>
                        <a:lnTo>
                          <a:pt x="460" y="239"/>
                        </a:lnTo>
                        <a:lnTo>
                          <a:pt x="418" y="227"/>
                        </a:lnTo>
                        <a:lnTo>
                          <a:pt x="406" y="243"/>
                        </a:lnTo>
                        <a:lnTo>
                          <a:pt x="397" y="243"/>
                        </a:lnTo>
                        <a:lnTo>
                          <a:pt x="368" y="239"/>
                        </a:lnTo>
                        <a:lnTo>
                          <a:pt x="331" y="199"/>
                        </a:lnTo>
                        <a:lnTo>
                          <a:pt x="288" y="189"/>
                        </a:lnTo>
                        <a:lnTo>
                          <a:pt x="271" y="166"/>
                        </a:lnTo>
                        <a:lnTo>
                          <a:pt x="243" y="182"/>
                        </a:lnTo>
                        <a:lnTo>
                          <a:pt x="222" y="189"/>
                        </a:lnTo>
                        <a:lnTo>
                          <a:pt x="163" y="170"/>
                        </a:lnTo>
                        <a:lnTo>
                          <a:pt x="146" y="182"/>
                        </a:lnTo>
                        <a:lnTo>
                          <a:pt x="134" y="170"/>
                        </a:lnTo>
                        <a:lnTo>
                          <a:pt x="113" y="170"/>
                        </a:lnTo>
                        <a:lnTo>
                          <a:pt x="75" y="170"/>
                        </a:lnTo>
                        <a:lnTo>
                          <a:pt x="21" y="189"/>
                        </a:lnTo>
                        <a:lnTo>
                          <a:pt x="16" y="206"/>
                        </a:lnTo>
                        <a:lnTo>
                          <a:pt x="0" y="206"/>
                        </a:lnTo>
                        <a:lnTo>
                          <a:pt x="0" y="170"/>
                        </a:lnTo>
                        <a:lnTo>
                          <a:pt x="0" y="154"/>
                        </a:lnTo>
                        <a:lnTo>
                          <a:pt x="5" y="166"/>
                        </a:lnTo>
                        <a:lnTo>
                          <a:pt x="0" y="128"/>
                        </a:lnTo>
                        <a:lnTo>
                          <a:pt x="21" y="111"/>
                        </a:lnTo>
                        <a:lnTo>
                          <a:pt x="26" y="76"/>
                        </a:lnTo>
                        <a:lnTo>
                          <a:pt x="54" y="55"/>
                        </a:lnTo>
                        <a:lnTo>
                          <a:pt x="113" y="33"/>
                        </a:lnTo>
                        <a:lnTo>
                          <a:pt x="113" y="43"/>
                        </a:lnTo>
                        <a:lnTo>
                          <a:pt x="146" y="71"/>
                        </a:lnTo>
                        <a:lnTo>
                          <a:pt x="151" y="99"/>
                        </a:lnTo>
                        <a:lnTo>
                          <a:pt x="189" y="111"/>
                        </a:lnTo>
                        <a:lnTo>
                          <a:pt x="238" y="88"/>
                        </a:lnTo>
                        <a:lnTo>
                          <a:pt x="234" y="21"/>
                        </a:lnTo>
                        <a:lnTo>
                          <a:pt x="234" y="21"/>
                        </a:lnTo>
                        <a:lnTo>
                          <a:pt x="234" y="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23" name="Freeform 492">
                    <a:extLst>
                      <a:ext uri="{FF2B5EF4-FFF2-40B4-BE49-F238E27FC236}">
                        <a16:creationId xmlns:a16="http://schemas.microsoft.com/office/drawing/2014/main" id="{9892F4E1-EF27-4F00-B985-3607DEAB1BC9}"/>
                      </a:ext>
                    </a:extLst>
                  </p:cNvPr>
                  <p:cNvSpPr>
                    <a:spLocks noEditPoints="1"/>
                  </p:cNvSpPr>
                  <p:nvPr/>
                </p:nvSpPr>
                <p:spPr bwMode="gray">
                  <a:xfrm>
                    <a:off x="7328921" y="2183931"/>
                    <a:ext cx="172078" cy="107870"/>
                  </a:xfrm>
                  <a:custGeom>
                    <a:avLst/>
                    <a:gdLst>
                      <a:gd name="T0" fmla="*/ 137 w 418"/>
                      <a:gd name="T1" fmla="*/ 212 h 262"/>
                      <a:gd name="T2" fmla="*/ 126 w 418"/>
                      <a:gd name="T3" fmla="*/ 200 h 262"/>
                      <a:gd name="T4" fmla="*/ 137 w 418"/>
                      <a:gd name="T5" fmla="*/ 184 h 262"/>
                      <a:gd name="T6" fmla="*/ 142 w 418"/>
                      <a:gd name="T7" fmla="*/ 167 h 262"/>
                      <a:gd name="T8" fmla="*/ 121 w 418"/>
                      <a:gd name="T9" fmla="*/ 146 h 262"/>
                      <a:gd name="T10" fmla="*/ 88 w 418"/>
                      <a:gd name="T11" fmla="*/ 146 h 262"/>
                      <a:gd name="T12" fmla="*/ 33 w 418"/>
                      <a:gd name="T13" fmla="*/ 118 h 262"/>
                      <a:gd name="T14" fmla="*/ 29 w 418"/>
                      <a:gd name="T15" fmla="*/ 129 h 262"/>
                      <a:gd name="T16" fmla="*/ 29 w 418"/>
                      <a:gd name="T17" fmla="*/ 113 h 262"/>
                      <a:gd name="T18" fmla="*/ 29 w 418"/>
                      <a:gd name="T19" fmla="*/ 113 h 262"/>
                      <a:gd name="T20" fmla="*/ 29 w 418"/>
                      <a:gd name="T21" fmla="*/ 101 h 262"/>
                      <a:gd name="T22" fmla="*/ 12 w 418"/>
                      <a:gd name="T23" fmla="*/ 73 h 262"/>
                      <a:gd name="T24" fmla="*/ 12 w 418"/>
                      <a:gd name="T25" fmla="*/ 40 h 262"/>
                      <a:gd name="T26" fmla="*/ 29 w 418"/>
                      <a:gd name="T27" fmla="*/ 40 h 262"/>
                      <a:gd name="T28" fmla="*/ 33 w 418"/>
                      <a:gd name="T29" fmla="*/ 23 h 262"/>
                      <a:gd name="T30" fmla="*/ 88 w 418"/>
                      <a:gd name="T31" fmla="*/ 7 h 262"/>
                      <a:gd name="T32" fmla="*/ 126 w 418"/>
                      <a:gd name="T33" fmla="*/ 7 h 262"/>
                      <a:gd name="T34" fmla="*/ 147 w 418"/>
                      <a:gd name="T35" fmla="*/ 7 h 262"/>
                      <a:gd name="T36" fmla="*/ 159 w 418"/>
                      <a:gd name="T37" fmla="*/ 16 h 262"/>
                      <a:gd name="T38" fmla="*/ 175 w 418"/>
                      <a:gd name="T39" fmla="*/ 7 h 262"/>
                      <a:gd name="T40" fmla="*/ 234 w 418"/>
                      <a:gd name="T41" fmla="*/ 23 h 262"/>
                      <a:gd name="T42" fmla="*/ 256 w 418"/>
                      <a:gd name="T43" fmla="*/ 16 h 262"/>
                      <a:gd name="T44" fmla="*/ 281 w 418"/>
                      <a:gd name="T45" fmla="*/ 0 h 262"/>
                      <a:gd name="T46" fmla="*/ 298 w 418"/>
                      <a:gd name="T47" fmla="*/ 23 h 262"/>
                      <a:gd name="T48" fmla="*/ 341 w 418"/>
                      <a:gd name="T49" fmla="*/ 35 h 262"/>
                      <a:gd name="T50" fmla="*/ 378 w 418"/>
                      <a:gd name="T51" fmla="*/ 73 h 262"/>
                      <a:gd name="T52" fmla="*/ 407 w 418"/>
                      <a:gd name="T53" fmla="*/ 77 h 262"/>
                      <a:gd name="T54" fmla="*/ 395 w 418"/>
                      <a:gd name="T55" fmla="*/ 113 h 262"/>
                      <a:gd name="T56" fmla="*/ 418 w 418"/>
                      <a:gd name="T57" fmla="*/ 118 h 262"/>
                      <a:gd name="T58" fmla="*/ 395 w 418"/>
                      <a:gd name="T59" fmla="*/ 134 h 262"/>
                      <a:gd name="T60" fmla="*/ 378 w 418"/>
                      <a:gd name="T61" fmla="*/ 134 h 262"/>
                      <a:gd name="T62" fmla="*/ 374 w 418"/>
                      <a:gd name="T63" fmla="*/ 151 h 262"/>
                      <a:gd name="T64" fmla="*/ 341 w 418"/>
                      <a:gd name="T65" fmla="*/ 155 h 262"/>
                      <a:gd name="T66" fmla="*/ 341 w 418"/>
                      <a:gd name="T67" fmla="*/ 191 h 262"/>
                      <a:gd name="T68" fmla="*/ 326 w 418"/>
                      <a:gd name="T69" fmla="*/ 212 h 262"/>
                      <a:gd name="T70" fmla="*/ 341 w 418"/>
                      <a:gd name="T71" fmla="*/ 212 h 262"/>
                      <a:gd name="T72" fmla="*/ 341 w 418"/>
                      <a:gd name="T73" fmla="*/ 229 h 262"/>
                      <a:gd name="T74" fmla="*/ 326 w 418"/>
                      <a:gd name="T75" fmla="*/ 229 h 262"/>
                      <a:gd name="T76" fmla="*/ 336 w 418"/>
                      <a:gd name="T77" fmla="*/ 224 h 262"/>
                      <a:gd name="T78" fmla="*/ 326 w 418"/>
                      <a:gd name="T79" fmla="*/ 212 h 262"/>
                      <a:gd name="T80" fmla="*/ 298 w 418"/>
                      <a:gd name="T81" fmla="*/ 240 h 262"/>
                      <a:gd name="T82" fmla="*/ 281 w 418"/>
                      <a:gd name="T83" fmla="*/ 229 h 262"/>
                      <a:gd name="T84" fmla="*/ 281 w 418"/>
                      <a:gd name="T85" fmla="*/ 257 h 262"/>
                      <a:gd name="T86" fmla="*/ 265 w 418"/>
                      <a:gd name="T87" fmla="*/ 245 h 262"/>
                      <a:gd name="T88" fmla="*/ 251 w 418"/>
                      <a:gd name="T89" fmla="*/ 262 h 262"/>
                      <a:gd name="T90" fmla="*/ 234 w 418"/>
                      <a:gd name="T91" fmla="*/ 257 h 262"/>
                      <a:gd name="T92" fmla="*/ 189 w 418"/>
                      <a:gd name="T93" fmla="*/ 257 h 262"/>
                      <a:gd name="T94" fmla="*/ 180 w 418"/>
                      <a:gd name="T95" fmla="*/ 240 h 262"/>
                      <a:gd name="T96" fmla="*/ 175 w 418"/>
                      <a:gd name="T97" fmla="*/ 224 h 262"/>
                      <a:gd name="T98" fmla="*/ 147 w 418"/>
                      <a:gd name="T99" fmla="*/ 207 h 262"/>
                      <a:gd name="T100" fmla="*/ 137 w 418"/>
                      <a:gd name="T101" fmla="*/ 212 h 262"/>
                      <a:gd name="T102" fmla="*/ 137 w 418"/>
                      <a:gd name="T103" fmla="*/ 212 h 262"/>
                      <a:gd name="T104" fmla="*/ 137 w 418"/>
                      <a:gd name="T105" fmla="*/ 212 h 262"/>
                      <a:gd name="T106" fmla="*/ 12 w 418"/>
                      <a:gd name="T107" fmla="*/ 118 h 262"/>
                      <a:gd name="T108" fmla="*/ 0 w 418"/>
                      <a:gd name="T109" fmla="*/ 118 h 262"/>
                      <a:gd name="T110" fmla="*/ 17 w 418"/>
                      <a:gd name="T111" fmla="*/ 94 h 262"/>
                      <a:gd name="T112" fmla="*/ 17 w 418"/>
                      <a:gd name="T113" fmla="*/ 77 h 262"/>
                      <a:gd name="T114" fmla="*/ 17 w 418"/>
                      <a:gd name="T115" fmla="*/ 101 h 262"/>
                      <a:gd name="T116" fmla="*/ 12 w 418"/>
                      <a:gd name="T117" fmla="*/ 118 h 262"/>
                      <a:gd name="T118" fmla="*/ 12 w 418"/>
                      <a:gd name="T119" fmla="*/ 118 h 262"/>
                      <a:gd name="T120" fmla="*/ 12 w 418"/>
                      <a:gd name="T121" fmla="*/ 11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8" h="262">
                        <a:moveTo>
                          <a:pt x="137" y="212"/>
                        </a:moveTo>
                        <a:lnTo>
                          <a:pt x="126" y="200"/>
                        </a:lnTo>
                        <a:lnTo>
                          <a:pt x="137" y="184"/>
                        </a:lnTo>
                        <a:lnTo>
                          <a:pt x="142" y="167"/>
                        </a:lnTo>
                        <a:lnTo>
                          <a:pt x="121" y="146"/>
                        </a:lnTo>
                        <a:lnTo>
                          <a:pt x="88" y="146"/>
                        </a:lnTo>
                        <a:lnTo>
                          <a:pt x="33" y="118"/>
                        </a:lnTo>
                        <a:lnTo>
                          <a:pt x="29" y="129"/>
                        </a:lnTo>
                        <a:lnTo>
                          <a:pt x="29" y="113"/>
                        </a:lnTo>
                        <a:lnTo>
                          <a:pt x="29" y="113"/>
                        </a:lnTo>
                        <a:lnTo>
                          <a:pt x="29" y="101"/>
                        </a:lnTo>
                        <a:lnTo>
                          <a:pt x="12" y="73"/>
                        </a:lnTo>
                        <a:lnTo>
                          <a:pt x="12" y="40"/>
                        </a:lnTo>
                        <a:lnTo>
                          <a:pt x="29" y="40"/>
                        </a:lnTo>
                        <a:lnTo>
                          <a:pt x="33" y="23"/>
                        </a:lnTo>
                        <a:lnTo>
                          <a:pt x="88" y="7"/>
                        </a:lnTo>
                        <a:lnTo>
                          <a:pt x="126" y="7"/>
                        </a:lnTo>
                        <a:lnTo>
                          <a:pt x="147" y="7"/>
                        </a:lnTo>
                        <a:lnTo>
                          <a:pt x="159" y="16"/>
                        </a:lnTo>
                        <a:lnTo>
                          <a:pt x="175" y="7"/>
                        </a:lnTo>
                        <a:lnTo>
                          <a:pt x="234" y="23"/>
                        </a:lnTo>
                        <a:lnTo>
                          <a:pt x="256" y="16"/>
                        </a:lnTo>
                        <a:lnTo>
                          <a:pt x="281" y="0"/>
                        </a:lnTo>
                        <a:lnTo>
                          <a:pt x="298" y="23"/>
                        </a:lnTo>
                        <a:lnTo>
                          <a:pt x="341" y="35"/>
                        </a:lnTo>
                        <a:lnTo>
                          <a:pt x="378" y="73"/>
                        </a:lnTo>
                        <a:lnTo>
                          <a:pt x="407" y="77"/>
                        </a:lnTo>
                        <a:lnTo>
                          <a:pt x="395" y="113"/>
                        </a:lnTo>
                        <a:lnTo>
                          <a:pt x="418" y="118"/>
                        </a:lnTo>
                        <a:lnTo>
                          <a:pt x="395" y="134"/>
                        </a:lnTo>
                        <a:lnTo>
                          <a:pt x="378" y="134"/>
                        </a:lnTo>
                        <a:lnTo>
                          <a:pt x="374" y="151"/>
                        </a:lnTo>
                        <a:lnTo>
                          <a:pt x="341" y="155"/>
                        </a:lnTo>
                        <a:lnTo>
                          <a:pt x="341" y="191"/>
                        </a:lnTo>
                        <a:lnTo>
                          <a:pt x="326" y="212"/>
                        </a:lnTo>
                        <a:lnTo>
                          <a:pt x="341" y="212"/>
                        </a:lnTo>
                        <a:lnTo>
                          <a:pt x="341" y="229"/>
                        </a:lnTo>
                        <a:lnTo>
                          <a:pt x="326" y="229"/>
                        </a:lnTo>
                        <a:lnTo>
                          <a:pt x="336" y="224"/>
                        </a:lnTo>
                        <a:lnTo>
                          <a:pt x="326" y="212"/>
                        </a:lnTo>
                        <a:lnTo>
                          <a:pt x="298" y="240"/>
                        </a:lnTo>
                        <a:lnTo>
                          <a:pt x="281" y="229"/>
                        </a:lnTo>
                        <a:lnTo>
                          <a:pt x="281" y="257"/>
                        </a:lnTo>
                        <a:lnTo>
                          <a:pt x="265" y="245"/>
                        </a:lnTo>
                        <a:lnTo>
                          <a:pt x="251" y="262"/>
                        </a:lnTo>
                        <a:lnTo>
                          <a:pt x="234" y="257"/>
                        </a:lnTo>
                        <a:lnTo>
                          <a:pt x="189" y="257"/>
                        </a:lnTo>
                        <a:lnTo>
                          <a:pt x="180" y="240"/>
                        </a:lnTo>
                        <a:lnTo>
                          <a:pt x="175" y="224"/>
                        </a:lnTo>
                        <a:lnTo>
                          <a:pt x="147" y="207"/>
                        </a:lnTo>
                        <a:lnTo>
                          <a:pt x="137" y="212"/>
                        </a:lnTo>
                        <a:lnTo>
                          <a:pt x="137" y="212"/>
                        </a:lnTo>
                        <a:lnTo>
                          <a:pt x="137" y="212"/>
                        </a:lnTo>
                        <a:close/>
                        <a:moveTo>
                          <a:pt x="12" y="118"/>
                        </a:moveTo>
                        <a:lnTo>
                          <a:pt x="0" y="118"/>
                        </a:lnTo>
                        <a:lnTo>
                          <a:pt x="17" y="94"/>
                        </a:lnTo>
                        <a:lnTo>
                          <a:pt x="17" y="77"/>
                        </a:lnTo>
                        <a:lnTo>
                          <a:pt x="17" y="101"/>
                        </a:lnTo>
                        <a:lnTo>
                          <a:pt x="12" y="118"/>
                        </a:lnTo>
                        <a:lnTo>
                          <a:pt x="12" y="118"/>
                        </a:lnTo>
                        <a:lnTo>
                          <a:pt x="12" y="11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0" name="Freeform 494">
                    <a:extLst>
                      <a:ext uri="{FF2B5EF4-FFF2-40B4-BE49-F238E27FC236}">
                        <a16:creationId xmlns:a16="http://schemas.microsoft.com/office/drawing/2014/main" id="{8C6BC12A-01DA-4FCB-A663-39550DAEECEE}"/>
                      </a:ext>
                    </a:extLst>
                  </p:cNvPr>
                  <p:cNvSpPr>
                    <a:spLocks/>
                  </p:cNvSpPr>
                  <p:nvPr/>
                </p:nvSpPr>
                <p:spPr bwMode="gray">
                  <a:xfrm>
                    <a:off x="7211595" y="2459781"/>
                    <a:ext cx="165080" cy="69169"/>
                  </a:xfrm>
                  <a:custGeom>
                    <a:avLst/>
                    <a:gdLst>
                      <a:gd name="T0" fmla="*/ 155 w 401"/>
                      <a:gd name="T1" fmla="*/ 144 h 168"/>
                      <a:gd name="T2" fmla="*/ 139 w 401"/>
                      <a:gd name="T3" fmla="*/ 152 h 168"/>
                      <a:gd name="T4" fmla="*/ 139 w 401"/>
                      <a:gd name="T5" fmla="*/ 161 h 168"/>
                      <a:gd name="T6" fmla="*/ 101 w 401"/>
                      <a:gd name="T7" fmla="*/ 168 h 168"/>
                      <a:gd name="T8" fmla="*/ 68 w 401"/>
                      <a:gd name="T9" fmla="*/ 168 h 168"/>
                      <a:gd name="T10" fmla="*/ 37 w 401"/>
                      <a:gd name="T11" fmla="*/ 144 h 168"/>
                      <a:gd name="T12" fmla="*/ 26 w 401"/>
                      <a:gd name="T13" fmla="*/ 144 h 168"/>
                      <a:gd name="T14" fmla="*/ 0 w 401"/>
                      <a:gd name="T15" fmla="*/ 111 h 168"/>
                      <a:gd name="T16" fmla="*/ 9 w 401"/>
                      <a:gd name="T17" fmla="*/ 90 h 168"/>
                      <a:gd name="T18" fmla="*/ 26 w 401"/>
                      <a:gd name="T19" fmla="*/ 67 h 168"/>
                      <a:gd name="T20" fmla="*/ 63 w 401"/>
                      <a:gd name="T21" fmla="*/ 67 h 168"/>
                      <a:gd name="T22" fmla="*/ 85 w 401"/>
                      <a:gd name="T23" fmla="*/ 50 h 168"/>
                      <a:gd name="T24" fmla="*/ 101 w 401"/>
                      <a:gd name="T25" fmla="*/ 29 h 168"/>
                      <a:gd name="T26" fmla="*/ 122 w 401"/>
                      <a:gd name="T27" fmla="*/ 12 h 168"/>
                      <a:gd name="T28" fmla="*/ 139 w 401"/>
                      <a:gd name="T29" fmla="*/ 12 h 168"/>
                      <a:gd name="T30" fmla="*/ 144 w 401"/>
                      <a:gd name="T31" fmla="*/ 12 h 168"/>
                      <a:gd name="T32" fmla="*/ 155 w 401"/>
                      <a:gd name="T33" fmla="*/ 17 h 168"/>
                      <a:gd name="T34" fmla="*/ 160 w 401"/>
                      <a:gd name="T35" fmla="*/ 17 h 168"/>
                      <a:gd name="T36" fmla="*/ 186 w 401"/>
                      <a:gd name="T37" fmla="*/ 0 h 168"/>
                      <a:gd name="T38" fmla="*/ 203 w 401"/>
                      <a:gd name="T39" fmla="*/ 17 h 168"/>
                      <a:gd name="T40" fmla="*/ 207 w 401"/>
                      <a:gd name="T41" fmla="*/ 17 h 168"/>
                      <a:gd name="T42" fmla="*/ 207 w 401"/>
                      <a:gd name="T43" fmla="*/ 33 h 168"/>
                      <a:gd name="T44" fmla="*/ 224 w 401"/>
                      <a:gd name="T45" fmla="*/ 38 h 168"/>
                      <a:gd name="T46" fmla="*/ 229 w 401"/>
                      <a:gd name="T47" fmla="*/ 29 h 168"/>
                      <a:gd name="T48" fmla="*/ 245 w 401"/>
                      <a:gd name="T49" fmla="*/ 17 h 168"/>
                      <a:gd name="T50" fmla="*/ 278 w 401"/>
                      <a:gd name="T51" fmla="*/ 17 h 168"/>
                      <a:gd name="T52" fmla="*/ 283 w 401"/>
                      <a:gd name="T53" fmla="*/ 29 h 168"/>
                      <a:gd name="T54" fmla="*/ 300 w 401"/>
                      <a:gd name="T55" fmla="*/ 17 h 168"/>
                      <a:gd name="T56" fmla="*/ 337 w 401"/>
                      <a:gd name="T57" fmla="*/ 17 h 168"/>
                      <a:gd name="T58" fmla="*/ 363 w 401"/>
                      <a:gd name="T59" fmla="*/ 29 h 168"/>
                      <a:gd name="T60" fmla="*/ 363 w 401"/>
                      <a:gd name="T61" fmla="*/ 33 h 168"/>
                      <a:gd name="T62" fmla="*/ 401 w 401"/>
                      <a:gd name="T63" fmla="*/ 50 h 168"/>
                      <a:gd name="T64" fmla="*/ 387 w 401"/>
                      <a:gd name="T65" fmla="*/ 83 h 168"/>
                      <a:gd name="T66" fmla="*/ 370 w 401"/>
                      <a:gd name="T67" fmla="*/ 95 h 168"/>
                      <a:gd name="T68" fmla="*/ 370 w 401"/>
                      <a:gd name="T69" fmla="*/ 111 h 168"/>
                      <a:gd name="T70" fmla="*/ 349 w 401"/>
                      <a:gd name="T71" fmla="*/ 111 h 168"/>
                      <a:gd name="T72" fmla="*/ 321 w 401"/>
                      <a:gd name="T73" fmla="*/ 95 h 168"/>
                      <a:gd name="T74" fmla="*/ 300 w 401"/>
                      <a:gd name="T75" fmla="*/ 95 h 168"/>
                      <a:gd name="T76" fmla="*/ 266 w 401"/>
                      <a:gd name="T77" fmla="*/ 95 h 168"/>
                      <a:gd name="T78" fmla="*/ 262 w 401"/>
                      <a:gd name="T79" fmla="*/ 95 h 168"/>
                      <a:gd name="T80" fmla="*/ 245 w 401"/>
                      <a:gd name="T81" fmla="*/ 123 h 168"/>
                      <a:gd name="T82" fmla="*/ 215 w 401"/>
                      <a:gd name="T83" fmla="*/ 140 h 168"/>
                      <a:gd name="T84" fmla="*/ 193 w 401"/>
                      <a:gd name="T85" fmla="*/ 128 h 168"/>
                      <a:gd name="T86" fmla="*/ 186 w 401"/>
                      <a:gd name="T87" fmla="*/ 140 h 168"/>
                      <a:gd name="T88" fmla="*/ 155 w 401"/>
                      <a:gd name="T89" fmla="*/ 144 h 168"/>
                      <a:gd name="T90" fmla="*/ 155 w 401"/>
                      <a:gd name="T91" fmla="*/ 144 h 168"/>
                      <a:gd name="T92" fmla="*/ 155 w 401"/>
                      <a:gd name="T93" fmla="*/ 14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1" h="168">
                        <a:moveTo>
                          <a:pt x="155" y="144"/>
                        </a:moveTo>
                        <a:lnTo>
                          <a:pt x="139" y="152"/>
                        </a:lnTo>
                        <a:lnTo>
                          <a:pt x="139" y="161"/>
                        </a:lnTo>
                        <a:lnTo>
                          <a:pt x="101" y="168"/>
                        </a:lnTo>
                        <a:lnTo>
                          <a:pt x="68" y="168"/>
                        </a:lnTo>
                        <a:lnTo>
                          <a:pt x="37" y="144"/>
                        </a:lnTo>
                        <a:lnTo>
                          <a:pt x="26" y="144"/>
                        </a:lnTo>
                        <a:lnTo>
                          <a:pt x="0" y="111"/>
                        </a:lnTo>
                        <a:lnTo>
                          <a:pt x="9" y="90"/>
                        </a:lnTo>
                        <a:lnTo>
                          <a:pt x="26" y="67"/>
                        </a:lnTo>
                        <a:lnTo>
                          <a:pt x="63" y="67"/>
                        </a:lnTo>
                        <a:lnTo>
                          <a:pt x="85" y="50"/>
                        </a:lnTo>
                        <a:lnTo>
                          <a:pt x="101" y="29"/>
                        </a:lnTo>
                        <a:lnTo>
                          <a:pt x="122" y="12"/>
                        </a:lnTo>
                        <a:lnTo>
                          <a:pt x="139" y="12"/>
                        </a:lnTo>
                        <a:lnTo>
                          <a:pt x="144" y="12"/>
                        </a:lnTo>
                        <a:lnTo>
                          <a:pt x="155" y="17"/>
                        </a:lnTo>
                        <a:lnTo>
                          <a:pt x="160" y="17"/>
                        </a:lnTo>
                        <a:lnTo>
                          <a:pt x="186" y="0"/>
                        </a:lnTo>
                        <a:lnTo>
                          <a:pt x="203" y="17"/>
                        </a:lnTo>
                        <a:lnTo>
                          <a:pt x="207" y="17"/>
                        </a:lnTo>
                        <a:lnTo>
                          <a:pt x="207" y="33"/>
                        </a:lnTo>
                        <a:lnTo>
                          <a:pt x="224" y="38"/>
                        </a:lnTo>
                        <a:lnTo>
                          <a:pt x="229" y="29"/>
                        </a:lnTo>
                        <a:lnTo>
                          <a:pt x="245" y="17"/>
                        </a:lnTo>
                        <a:lnTo>
                          <a:pt x="278" y="17"/>
                        </a:lnTo>
                        <a:lnTo>
                          <a:pt x="283" y="29"/>
                        </a:lnTo>
                        <a:lnTo>
                          <a:pt x="300" y="17"/>
                        </a:lnTo>
                        <a:lnTo>
                          <a:pt x="337" y="17"/>
                        </a:lnTo>
                        <a:lnTo>
                          <a:pt x="363" y="29"/>
                        </a:lnTo>
                        <a:lnTo>
                          <a:pt x="363" y="33"/>
                        </a:lnTo>
                        <a:lnTo>
                          <a:pt x="401" y="50"/>
                        </a:lnTo>
                        <a:lnTo>
                          <a:pt x="387" y="83"/>
                        </a:lnTo>
                        <a:lnTo>
                          <a:pt x="370" y="95"/>
                        </a:lnTo>
                        <a:lnTo>
                          <a:pt x="370" y="111"/>
                        </a:lnTo>
                        <a:lnTo>
                          <a:pt x="349" y="111"/>
                        </a:lnTo>
                        <a:lnTo>
                          <a:pt x="321" y="95"/>
                        </a:lnTo>
                        <a:lnTo>
                          <a:pt x="300" y="95"/>
                        </a:lnTo>
                        <a:lnTo>
                          <a:pt x="266" y="95"/>
                        </a:lnTo>
                        <a:lnTo>
                          <a:pt x="262" y="95"/>
                        </a:lnTo>
                        <a:lnTo>
                          <a:pt x="245" y="123"/>
                        </a:lnTo>
                        <a:lnTo>
                          <a:pt x="215" y="140"/>
                        </a:lnTo>
                        <a:lnTo>
                          <a:pt x="193" y="128"/>
                        </a:lnTo>
                        <a:lnTo>
                          <a:pt x="186" y="140"/>
                        </a:lnTo>
                        <a:lnTo>
                          <a:pt x="155" y="144"/>
                        </a:lnTo>
                        <a:lnTo>
                          <a:pt x="155" y="144"/>
                        </a:lnTo>
                        <a:lnTo>
                          <a:pt x="155" y="14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1" name="Freeform 495">
                    <a:extLst>
                      <a:ext uri="{FF2B5EF4-FFF2-40B4-BE49-F238E27FC236}">
                        <a16:creationId xmlns:a16="http://schemas.microsoft.com/office/drawing/2014/main" id="{57699484-B24A-42E0-987F-C9FEA71AC8EA}"/>
                      </a:ext>
                    </a:extLst>
                  </p:cNvPr>
                  <p:cNvSpPr>
                    <a:spLocks/>
                  </p:cNvSpPr>
                  <p:nvPr/>
                </p:nvSpPr>
                <p:spPr bwMode="gray">
                  <a:xfrm>
                    <a:off x="6999585" y="2549535"/>
                    <a:ext cx="2882" cy="7823"/>
                  </a:xfrm>
                  <a:custGeom>
                    <a:avLst/>
                    <a:gdLst>
                      <a:gd name="T0" fmla="*/ 7 w 7"/>
                      <a:gd name="T1" fmla="*/ 0 h 19"/>
                      <a:gd name="T2" fmla="*/ 7 w 7"/>
                      <a:gd name="T3" fmla="*/ 19 h 19"/>
                      <a:gd name="T4" fmla="*/ 0 w 7"/>
                      <a:gd name="T5" fmla="*/ 19 h 19"/>
                      <a:gd name="T6" fmla="*/ 7 w 7"/>
                      <a:gd name="T7" fmla="*/ 0 h 19"/>
                      <a:gd name="T8" fmla="*/ 7 w 7"/>
                      <a:gd name="T9" fmla="*/ 0 h 19"/>
                      <a:gd name="T10" fmla="*/ 7 w 7"/>
                      <a:gd name="T11" fmla="*/ 0 h 19"/>
                    </a:gdLst>
                    <a:ahLst/>
                    <a:cxnLst>
                      <a:cxn ang="0">
                        <a:pos x="T0" y="T1"/>
                      </a:cxn>
                      <a:cxn ang="0">
                        <a:pos x="T2" y="T3"/>
                      </a:cxn>
                      <a:cxn ang="0">
                        <a:pos x="T4" y="T5"/>
                      </a:cxn>
                      <a:cxn ang="0">
                        <a:pos x="T6" y="T7"/>
                      </a:cxn>
                      <a:cxn ang="0">
                        <a:pos x="T8" y="T9"/>
                      </a:cxn>
                      <a:cxn ang="0">
                        <a:pos x="T10" y="T11"/>
                      </a:cxn>
                    </a:cxnLst>
                    <a:rect l="0" t="0" r="r" b="b"/>
                    <a:pathLst>
                      <a:path w="7" h="19">
                        <a:moveTo>
                          <a:pt x="7" y="0"/>
                        </a:moveTo>
                        <a:lnTo>
                          <a:pt x="7" y="19"/>
                        </a:lnTo>
                        <a:lnTo>
                          <a:pt x="0" y="19"/>
                        </a:lnTo>
                        <a:lnTo>
                          <a:pt x="7" y="0"/>
                        </a:lnTo>
                        <a:lnTo>
                          <a:pt x="7" y="0"/>
                        </a:lnTo>
                        <a:lnTo>
                          <a:pt x="7"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3" name="Freeform 497">
                    <a:extLst>
                      <a:ext uri="{FF2B5EF4-FFF2-40B4-BE49-F238E27FC236}">
                        <a16:creationId xmlns:a16="http://schemas.microsoft.com/office/drawing/2014/main" id="{030AFB01-C404-4AA0-BA02-10F2D0E5BB44}"/>
                      </a:ext>
                    </a:extLst>
                  </p:cNvPr>
                  <p:cNvSpPr>
                    <a:spLocks/>
                  </p:cNvSpPr>
                  <p:nvPr/>
                </p:nvSpPr>
                <p:spPr bwMode="gray">
                  <a:xfrm>
                    <a:off x="6891315" y="2438373"/>
                    <a:ext cx="21406" cy="26350"/>
                  </a:xfrm>
                  <a:custGeom>
                    <a:avLst/>
                    <a:gdLst>
                      <a:gd name="T0" fmla="*/ 45 w 52"/>
                      <a:gd name="T1" fmla="*/ 64 h 64"/>
                      <a:gd name="T2" fmla="*/ 45 w 52"/>
                      <a:gd name="T3" fmla="*/ 64 h 64"/>
                      <a:gd name="T4" fmla="*/ 15 w 52"/>
                      <a:gd name="T5" fmla="*/ 64 h 64"/>
                      <a:gd name="T6" fmla="*/ 5 w 52"/>
                      <a:gd name="T7" fmla="*/ 55 h 64"/>
                      <a:gd name="T8" fmla="*/ 15 w 52"/>
                      <a:gd name="T9" fmla="*/ 48 h 64"/>
                      <a:gd name="T10" fmla="*/ 0 w 52"/>
                      <a:gd name="T11" fmla="*/ 33 h 64"/>
                      <a:gd name="T12" fmla="*/ 0 w 52"/>
                      <a:gd name="T13" fmla="*/ 17 h 64"/>
                      <a:gd name="T14" fmla="*/ 15 w 52"/>
                      <a:gd name="T15" fmla="*/ 0 h 64"/>
                      <a:gd name="T16" fmla="*/ 31 w 52"/>
                      <a:gd name="T17" fmla="*/ 0 h 64"/>
                      <a:gd name="T18" fmla="*/ 36 w 52"/>
                      <a:gd name="T19" fmla="*/ 26 h 64"/>
                      <a:gd name="T20" fmla="*/ 52 w 52"/>
                      <a:gd name="T21" fmla="*/ 33 h 64"/>
                      <a:gd name="T22" fmla="*/ 45 w 52"/>
                      <a:gd name="T23" fmla="*/ 64 h 64"/>
                      <a:gd name="T24" fmla="*/ 45 w 52"/>
                      <a:gd name="T25" fmla="*/ 64 h 64"/>
                      <a:gd name="T26" fmla="*/ 45 w 52"/>
                      <a:gd name="T2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64">
                        <a:moveTo>
                          <a:pt x="45" y="64"/>
                        </a:moveTo>
                        <a:lnTo>
                          <a:pt x="45" y="64"/>
                        </a:lnTo>
                        <a:lnTo>
                          <a:pt x="15" y="64"/>
                        </a:lnTo>
                        <a:lnTo>
                          <a:pt x="5" y="55"/>
                        </a:lnTo>
                        <a:lnTo>
                          <a:pt x="15" y="48"/>
                        </a:lnTo>
                        <a:lnTo>
                          <a:pt x="0" y="33"/>
                        </a:lnTo>
                        <a:lnTo>
                          <a:pt x="0" y="17"/>
                        </a:lnTo>
                        <a:lnTo>
                          <a:pt x="15" y="0"/>
                        </a:lnTo>
                        <a:lnTo>
                          <a:pt x="31" y="0"/>
                        </a:lnTo>
                        <a:lnTo>
                          <a:pt x="36" y="26"/>
                        </a:lnTo>
                        <a:lnTo>
                          <a:pt x="52" y="33"/>
                        </a:lnTo>
                        <a:lnTo>
                          <a:pt x="45" y="64"/>
                        </a:lnTo>
                        <a:lnTo>
                          <a:pt x="45" y="64"/>
                        </a:lnTo>
                        <a:lnTo>
                          <a:pt x="45" y="6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8" name="Freeform 501">
                    <a:extLst>
                      <a:ext uri="{FF2B5EF4-FFF2-40B4-BE49-F238E27FC236}">
                        <a16:creationId xmlns:a16="http://schemas.microsoft.com/office/drawing/2014/main" id="{39B96B49-AF7E-4CD5-B920-597355D03EE3}"/>
                      </a:ext>
                    </a:extLst>
                  </p:cNvPr>
                  <p:cNvSpPr>
                    <a:spLocks/>
                  </p:cNvSpPr>
                  <p:nvPr/>
                </p:nvSpPr>
                <p:spPr bwMode="gray">
                  <a:xfrm>
                    <a:off x="7495236" y="2503835"/>
                    <a:ext cx="101271" cy="114456"/>
                  </a:xfrm>
                  <a:custGeom>
                    <a:avLst/>
                    <a:gdLst>
                      <a:gd name="T0" fmla="*/ 0 w 246"/>
                      <a:gd name="T1" fmla="*/ 16 h 278"/>
                      <a:gd name="T2" fmla="*/ 5 w 246"/>
                      <a:gd name="T3" fmla="*/ 7 h 278"/>
                      <a:gd name="T4" fmla="*/ 76 w 246"/>
                      <a:gd name="T5" fmla="*/ 0 h 278"/>
                      <a:gd name="T6" fmla="*/ 97 w 246"/>
                      <a:gd name="T7" fmla="*/ 16 h 278"/>
                      <a:gd name="T8" fmla="*/ 97 w 246"/>
                      <a:gd name="T9" fmla="*/ 23 h 278"/>
                      <a:gd name="T10" fmla="*/ 152 w 246"/>
                      <a:gd name="T11" fmla="*/ 33 h 278"/>
                      <a:gd name="T12" fmla="*/ 168 w 246"/>
                      <a:gd name="T13" fmla="*/ 45 h 278"/>
                      <a:gd name="T14" fmla="*/ 175 w 246"/>
                      <a:gd name="T15" fmla="*/ 45 h 278"/>
                      <a:gd name="T16" fmla="*/ 185 w 246"/>
                      <a:gd name="T17" fmla="*/ 61 h 278"/>
                      <a:gd name="T18" fmla="*/ 175 w 246"/>
                      <a:gd name="T19" fmla="*/ 89 h 278"/>
                      <a:gd name="T20" fmla="*/ 175 w 246"/>
                      <a:gd name="T21" fmla="*/ 94 h 278"/>
                      <a:gd name="T22" fmla="*/ 192 w 246"/>
                      <a:gd name="T23" fmla="*/ 111 h 278"/>
                      <a:gd name="T24" fmla="*/ 208 w 246"/>
                      <a:gd name="T25" fmla="*/ 101 h 278"/>
                      <a:gd name="T26" fmla="*/ 208 w 246"/>
                      <a:gd name="T27" fmla="*/ 146 h 278"/>
                      <a:gd name="T28" fmla="*/ 229 w 246"/>
                      <a:gd name="T29" fmla="*/ 151 h 278"/>
                      <a:gd name="T30" fmla="*/ 229 w 246"/>
                      <a:gd name="T31" fmla="*/ 172 h 278"/>
                      <a:gd name="T32" fmla="*/ 229 w 246"/>
                      <a:gd name="T33" fmla="*/ 172 h 278"/>
                      <a:gd name="T34" fmla="*/ 246 w 246"/>
                      <a:gd name="T35" fmla="*/ 189 h 278"/>
                      <a:gd name="T36" fmla="*/ 229 w 246"/>
                      <a:gd name="T37" fmla="*/ 189 h 278"/>
                      <a:gd name="T38" fmla="*/ 218 w 246"/>
                      <a:gd name="T39" fmla="*/ 184 h 278"/>
                      <a:gd name="T40" fmla="*/ 208 w 246"/>
                      <a:gd name="T41" fmla="*/ 189 h 278"/>
                      <a:gd name="T42" fmla="*/ 201 w 246"/>
                      <a:gd name="T43" fmla="*/ 184 h 278"/>
                      <a:gd name="T44" fmla="*/ 185 w 246"/>
                      <a:gd name="T45" fmla="*/ 189 h 278"/>
                      <a:gd name="T46" fmla="*/ 175 w 246"/>
                      <a:gd name="T47" fmla="*/ 172 h 278"/>
                      <a:gd name="T48" fmla="*/ 168 w 246"/>
                      <a:gd name="T49" fmla="*/ 184 h 278"/>
                      <a:gd name="T50" fmla="*/ 163 w 246"/>
                      <a:gd name="T51" fmla="*/ 200 h 278"/>
                      <a:gd name="T52" fmla="*/ 168 w 246"/>
                      <a:gd name="T53" fmla="*/ 208 h 278"/>
                      <a:gd name="T54" fmla="*/ 163 w 246"/>
                      <a:gd name="T55" fmla="*/ 224 h 278"/>
                      <a:gd name="T56" fmla="*/ 147 w 246"/>
                      <a:gd name="T57" fmla="*/ 229 h 278"/>
                      <a:gd name="T58" fmla="*/ 147 w 246"/>
                      <a:gd name="T59" fmla="*/ 241 h 278"/>
                      <a:gd name="T60" fmla="*/ 130 w 246"/>
                      <a:gd name="T61" fmla="*/ 257 h 278"/>
                      <a:gd name="T62" fmla="*/ 130 w 246"/>
                      <a:gd name="T63" fmla="*/ 269 h 278"/>
                      <a:gd name="T64" fmla="*/ 114 w 246"/>
                      <a:gd name="T65" fmla="*/ 269 h 278"/>
                      <a:gd name="T66" fmla="*/ 109 w 246"/>
                      <a:gd name="T67" fmla="*/ 278 h 278"/>
                      <a:gd name="T68" fmla="*/ 97 w 246"/>
                      <a:gd name="T69" fmla="*/ 262 h 278"/>
                      <a:gd name="T70" fmla="*/ 109 w 246"/>
                      <a:gd name="T71" fmla="*/ 257 h 278"/>
                      <a:gd name="T72" fmla="*/ 97 w 246"/>
                      <a:gd name="T73" fmla="*/ 212 h 278"/>
                      <a:gd name="T74" fmla="*/ 114 w 246"/>
                      <a:gd name="T75" fmla="*/ 184 h 278"/>
                      <a:gd name="T76" fmla="*/ 97 w 246"/>
                      <a:gd name="T77" fmla="*/ 134 h 278"/>
                      <a:gd name="T78" fmla="*/ 83 w 246"/>
                      <a:gd name="T79" fmla="*/ 118 h 278"/>
                      <a:gd name="T80" fmla="*/ 43 w 246"/>
                      <a:gd name="T81" fmla="*/ 73 h 278"/>
                      <a:gd name="T82" fmla="*/ 22 w 246"/>
                      <a:gd name="T83" fmla="*/ 33 h 278"/>
                      <a:gd name="T84" fmla="*/ 0 w 246"/>
                      <a:gd name="T85" fmla="*/ 16 h 278"/>
                      <a:gd name="T86" fmla="*/ 0 w 246"/>
                      <a:gd name="T87" fmla="*/ 16 h 278"/>
                      <a:gd name="T88" fmla="*/ 0 w 246"/>
                      <a:gd name="T89" fmla="*/ 1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6" h="278">
                        <a:moveTo>
                          <a:pt x="0" y="16"/>
                        </a:moveTo>
                        <a:lnTo>
                          <a:pt x="5" y="7"/>
                        </a:lnTo>
                        <a:lnTo>
                          <a:pt x="76" y="0"/>
                        </a:lnTo>
                        <a:lnTo>
                          <a:pt x="97" y="16"/>
                        </a:lnTo>
                        <a:lnTo>
                          <a:pt x="97" y="23"/>
                        </a:lnTo>
                        <a:lnTo>
                          <a:pt x="152" y="33"/>
                        </a:lnTo>
                        <a:lnTo>
                          <a:pt x="168" y="45"/>
                        </a:lnTo>
                        <a:lnTo>
                          <a:pt x="175" y="45"/>
                        </a:lnTo>
                        <a:lnTo>
                          <a:pt x="185" y="61"/>
                        </a:lnTo>
                        <a:lnTo>
                          <a:pt x="175" y="89"/>
                        </a:lnTo>
                        <a:lnTo>
                          <a:pt x="175" y="94"/>
                        </a:lnTo>
                        <a:lnTo>
                          <a:pt x="192" y="111"/>
                        </a:lnTo>
                        <a:lnTo>
                          <a:pt x="208" y="101"/>
                        </a:lnTo>
                        <a:lnTo>
                          <a:pt x="208" y="146"/>
                        </a:lnTo>
                        <a:lnTo>
                          <a:pt x="229" y="151"/>
                        </a:lnTo>
                        <a:lnTo>
                          <a:pt x="229" y="172"/>
                        </a:lnTo>
                        <a:lnTo>
                          <a:pt x="229" y="172"/>
                        </a:lnTo>
                        <a:lnTo>
                          <a:pt x="246" y="189"/>
                        </a:lnTo>
                        <a:lnTo>
                          <a:pt x="229" y="189"/>
                        </a:lnTo>
                        <a:lnTo>
                          <a:pt x="218" y="184"/>
                        </a:lnTo>
                        <a:lnTo>
                          <a:pt x="208" y="189"/>
                        </a:lnTo>
                        <a:lnTo>
                          <a:pt x="201" y="184"/>
                        </a:lnTo>
                        <a:lnTo>
                          <a:pt x="185" y="189"/>
                        </a:lnTo>
                        <a:lnTo>
                          <a:pt x="175" y="172"/>
                        </a:lnTo>
                        <a:lnTo>
                          <a:pt x="168" y="184"/>
                        </a:lnTo>
                        <a:lnTo>
                          <a:pt x="163" y="200"/>
                        </a:lnTo>
                        <a:lnTo>
                          <a:pt x="168" y="208"/>
                        </a:lnTo>
                        <a:lnTo>
                          <a:pt x="163" y="224"/>
                        </a:lnTo>
                        <a:lnTo>
                          <a:pt x="147" y="229"/>
                        </a:lnTo>
                        <a:lnTo>
                          <a:pt x="147" y="241"/>
                        </a:lnTo>
                        <a:lnTo>
                          <a:pt x="130" y="257"/>
                        </a:lnTo>
                        <a:lnTo>
                          <a:pt x="130" y="269"/>
                        </a:lnTo>
                        <a:lnTo>
                          <a:pt x="114" y="269"/>
                        </a:lnTo>
                        <a:lnTo>
                          <a:pt x="109" y="278"/>
                        </a:lnTo>
                        <a:lnTo>
                          <a:pt x="97" y="262"/>
                        </a:lnTo>
                        <a:lnTo>
                          <a:pt x="109" y="257"/>
                        </a:lnTo>
                        <a:lnTo>
                          <a:pt x="97" y="212"/>
                        </a:lnTo>
                        <a:lnTo>
                          <a:pt x="114" y="184"/>
                        </a:lnTo>
                        <a:lnTo>
                          <a:pt x="97" y="134"/>
                        </a:lnTo>
                        <a:lnTo>
                          <a:pt x="83" y="118"/>
                        </a:lnTo>
                        <a:lnTo>
                          <a:pt x="43" y="73"/>
                        </a:lnTo>
                        <a:lnTo>
                          <a:pt x="22" y="33"/>
                        </a:lnTo>
                        <a:lnTo>
                          <a:pt x="0" y="16"/>
                        </a:lnTo>
                        <a:lnTo>
                          <a:pt x="0" y="16"/>
                        </a:lnTo>
                        <a:lnTo>
                          <a:pt x="0" y="1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69" name="Freeform 503">
                    <a:extLst>
                      <a:ext uri="{FF2B5EF4-FFF2-40B4-BE49-F238E27FC236}">
                        <a16:creationId xmlns:a16="http://schemas.microsoft.com/office/drawing/2014/main" id="{010C1A4E-E111-4A29-B506-B7CB12574521}"/>
                      </a:ext>
                    </a:extLst>
                  </p:cNvPr>
                  <p:cNvSpPr>
                    <a:spLocks/>
                  </p:cNvSpPr>
                  <p:nvPr/>
                </p:nvSpPr>
                <p:spPr bwMode="gray">
                  <a:xfrm>
                    <a:off x="9260477" y="2360558"/>
                    <a:ext cx="927492" cy="394012"/>
                  </a:xfrm>
                  <a:custGeom>
                    <a:avLst/>
                    <a:gdLst>
                      <a:gd name="T0" fmla="*/ 1993 w 2253"/>
                      <a:gd name="T1" fmla="*/ 603 h 957"/>
                      <a:gd name="T2" fmla="*/ 1875 w 2253"/>
                      <a:gd name="T3" fmla="*/ 643 h 957"/>
                      <a:gd name="T4" fmla="*/ 1729 w 2253"/>
                      <a:gd name="T5" fmla="*/ 659 h 957"/>
                      <a:gd name="T6" fmla="*/ 1658 w 2253"/>
                      <a:gd name="T7" fmla="*/ 719 h 957"/>
                      <a:gd name="T8" fmla="*/ 1632 w 2253"/>
                      <a:gd name="T9" fmla="*/ 808 h 957"/>
                      <a:gd name="T10" fmla="*/ 1382 w 2253"/>
                      <a:gd name="T11" fmla="*/ 886 h 957"/>
                      <a:gd name="T12" fmla="*/ 1209 w 2253"/>
                      <a:gd name="T13" fmla="*/ 957 h 957"/>
                      <a:gd name="T14" fmla="*/ 1171 w 2253"/>
                      <a:gd name="T15" fmla="*/ 936 h 957"/>
                      <a:gd name="T16" fmla="*/ 1048 w 2253"/>
                      <a:gd name="T17" fmla="*/ 907 h 957"/>
                      <a:gd name="T18" fmla="*/ 919 w 2253"/>
                      <a:gd name="T19" fmla="*/ 863 h 957"/>
                      <a:gd name="T20" fmla="*/ 654 w 2253"/>
                      <a:gd name="T21" fmla="*/ 853 h 957"/>
                      <a:gd name="T22" fmla="*/ 571 w 2253"/>
                      <a:gd name="T23" fmla="*/ 813 h 957"/>
                      <a:gd name="T24" fmla="*/ 534 w 2253"/>
                      <a:gd name="T25" fmla="*/ 726 h 957"/>
                      <a:gd name="T26" fmla="*/ 411 w 2253"/>
                      <a:gd name="T27" fmla="*/ 664 h 957"/>
                      <a:gd name="T28" fmla="*/ 200 w 2253"/>
                      <a:gd name="T29" fmla="*/ 615 h 957"/>
                      <a:gd name="T30" fmla="*/ 222 w 2253"/>
                      <a:gd name="T31" fmla="*/ 548 h 957"/>
                      <a:gd name="T32" fmla="*/ 210 w 2253"/>
                      <a:gd name="T33" fmla="*/ 475 h 957"/>
                      <a:gd name="T34" fmla="*/ 163 w 2253"/>
                      <a:gd name="T35" fmla="*/ 409 h 957"/>
                      <a:gd name="T36" fmla="*/ 125 w 2253"/>
                      <a:gd name="T37" fmla="*/ 388 h 957"/>
                      <a:gd name="T38" fmla="*/ 54 w 2253"/>
                      <a:gd name="T39" fmla="*/ 355 h 957"/>
                      <a:gd name="T40" fmla="*/ 0 w 2253"/>
                      <a:gd name="T41" fmla="*/ 310 h 957"/>
                      <a:gd name="T42" fmla="*/ 21 w 2253"/>
                      <a:gd name="T43" fmla="*/ 277 h 957"/>
                      <a:gd name="T44" fmla="*/ 75 w 2253"/>
                      <a:gd name="T45" fmla="*/ 260 h 957"/>
                      <a:gd name="T46" fmla="*/ 101 w 2253"/>
                      <a:gd name="T47" fmla="*/ 256 h 957"/>
                      <a:gd name="T48" fmla="*/ 139 w 2253"/>
                      <a:gd name="T49" fmla="*/ 227 h 957"/>
                      <a:gd name="T50" fmla="*/ 163 w 2253"/>
                      <a:gd name="T51" fmla="*/ 199 h 957"/>
                      <a:gd name="T52" fmla="*/ 252 w 2253"/>
                      <a:gd name="T53" fmla="*/ 161 h 957"/>
                      <a:gd name="T54" fmla="*/ 319 w 2253"/>
                      <a:gd name="T55" fmla="*/ 128 h 957"/>
                      <a:gd name="T56" fmla="*/ 361 w 2253"/>
                      <a:gd name="T57" fmla="*/ 128 h 957"/>
                      <a:gd name="T58" fmla="*/ 453 w 2253"/>
                      <a:gd name="T59" fmla="*/ 149 h 957"/>
                      <a:gd name="T60" fmla="*/ 503 w 2253"/>
                      <a:gd name="T61" fmla="*/ 199 h 957"/>
                      <a:gd name="T62" fmla="*/ 562 w 2253"/>
                      <a:gd name="T63" fmla="*/ 206 h 957"/>
                      <a:gd name="T64" fmla="*/ 616 w 2253"/>
                      <a:gd name="T65" fmla="*/ 222 h 957"/>
                      <a:gd name="T66" fmla="*/ 697 w 2253"/>
                      <a:gd name="T67" fmla="*/ 206 h 957"/>
                      <a:gd name="T68" fmla="*/ 739 w 2253"/>
                      <a:gd name="T69" fmla="*/ 161 h 957"/>
                      <a:gd name="T70" fmla="*/ 718 w 2253"/>
                      <a:gd name="T71" fmla="*/ 128 h 957"/>
                      <a:gd name="T72" fmla="*/ 734 w 2253"/>
                      <a:gd name="T73" fmla="*/ 62 h 957"/>
                      <a:gd name="T74" fmla="*/ 777 w 2253"/>
                      <a:gd name="T75" fmla="*/ 0 h 957"/>
                      <a:gd name="T76" fmla="*/ 956 w 2253"/>
                      <a:gd name="T77" fmla="*/ 71 h 957"/>
                      <a:gd name="T78" fmla="*/ 1011 w 2253"/>
                      <a:gd name="T79" fmla="*/ 95 h 957"/>
                      <a:gd name="T80" fmla="*/ 1025 w 2253"/>
                      <a:gd name="T81" fmla="*/ 133 h 957"/>
                      <a:gd name="T82" fmla="*/ 1079 w 2253"/>
                      <a:gd name="T83" fmla="*/ 173 h 957"/>
                      <a:gd name="T84" fmla="*/ 1129 w 2253"/>
                      <a:gd name="T85" fmla="*/ 189 h 957"/>
                      <a:gd name="T86" fmla="*/ 1237 w 2253"/>
                      <a:gd name="T87" fmla="*/ 161 h 957"/>
                      <a:gd name="T88" fmla="*/ 1330 w 2253"/>
                      <a:gd name="T89" fmla="*/ 173 h 957"/>
                      <a:gd name="T90" fmla="*/ 1419 w 2253"/>
                      <a:gd name="T91" fmla="*/ 215 h 957"/>
                      <a:gd name="T92" fmla="*/ 1507 w 2253"/>
                      <a:gd name="T93" fmla="*/ 260 h 957"/>
                      <a:gd name="T94" fmla="*/ 1653 w 2253"/>
                      <a:gd name="T95" fmla="*/ 272 h 957"/>
                      <a:gd name="T96" fmla="*/ 1859 w 2253"/>
                      <a:gd name="T97" fmla="*/ 173 h 957"/>
                      <a:gd name="T98" fmla="*/ 1960 w 2253"/>
                      <a:gd name="T99" fmla="*/ 215 h 957"/>
                      <a:gd name="T100" fmla="*/ 2031 w 2253"/>
                      <a:gd name="T101" fmla="*/ 222 h 957"/>
                      <a:gd name="T102" fmla="*/ 1965 w 2253"/>
                      <a:gd name="T103" fmla="*/ 367 h 957"/>
                      <a:gd name="T104" fmla="*/ 1977 w 2253"/>
                      <a:gd name="T105" fmla="*/ 421 h 957"/>
                      <a:gd name="T106" fmla="*/ 2074 w 2253"/>
                      <a:gd name="T107" fmla="*/ 421 h 957"/>
                      <a:gd name="T108" fmla="*/ 2178 w 2253"/>
                      <a:gd name="T109" fmla="*/ 409 h 957"/>
                      <a:gd name="T110" fmla="*/ 2237 w 2253"/>
                      <a:gd name="T111" fmla="*/ 466 h 957"/>
                      <a:gd name="T112" fmla="*/ 2237 w 2253"/>
                      <a:gd name="T113" fmla="*/ 520 h 957"/>
                      <a:gd name="T114" fmla="*/ 2178 w 2253"/>
                      <a:gd name="T115" fmla="*/ 515 h 957"/>
                      <a:gd name="T116" fmla="*/ 2074 w 2253"/>
                      <a:gd name="T117" fmla="*/ 520 h 957"/>
                      <a:gd name="T118" fmla="*/ 2031 w 2253"/>
                      <a:gd name="T119" fmla="*/ 548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3" h="957">
                        <a:moveTo>
                          <a:pt x="2031" y="548"/>
                        </a:moveTo>
                        <a:lnTo>
                          <a:pt x="2010" y="560"/>
                        </a:lnTo>
                        <a:lnTo>
                          <a:pt x="1993" y="603"/>
                        </a:lnTo>
                        <a:lnTo>
                          <a:pt x="1944" y="626"/>
                        </a:lnTo>
                        <a:lnTo>
                          <a:pt x="1875" y="626"/>
                        </a:lnTo>
                        <a:lnTo>
                          <a:pt x="1875" y="643"/>
                        </a:lnTo>
                        <a:lnTo>
                          <a:pt x="1814" y="681"/>
                        </a:lnTo>
                        <a:lnTo>
                          <a:pt x="1762" y="669"/>
                        </a:lnTo>
                        <a:lnTo>
                          <a:pt x="1729" y="659"/>
                        </a:lnTo>
                        <a:lnTo>
                          <a:pt x="1708" y="648"/>
                        </a:lnTo>
                        <a:lnTo>
                          <a:pt x="1686" y="664"/>
                        </a:lnTo>
                        <a:lnTo>
                          <a:pt x="1658" y="719"/>
                        </a:lnTo>
                        <a:lnTo>
                          <a:pt x="1691" y="754"/>
                        </a:lnTo>
                        <a:lnTo>
                          <a:pt x="1696" y="775"/>
                        </a:lnTo>
                        <a:lnTo>
                          <a:pt x="1632" y="808"/>
                        </a:lnTo>
                        <a:lnTo>
                          <a:pt x="1587" y="853"/>
                        </a:lnTo>
                        <a:lnTo>
                          <a:pt x="1511" y="886"/>
                        </a:lnTo>
                        <a:lnTo>
                          <a:pt x="1382" y="886"/>
                        </a:lnTo>
                        <a:lnTo>
                          <a:pt x="1263" y="924"/>
                        </a:lnTo>
                        <a:lnTo>
                          <a:pt x="1226" y="952"/>
                        </a:lnTo>
                        <a:lnTo>
                          <a:pt x="1209" y="957"/>
                        </a:lnTo>
                        <a:lnTo>
                          <a:pt x="1204" y="957"/>
                        </a:lnTo>
                        <a:lnTo>
                          <a:pt x="1171" y="952"/>
                        </a:lnTo>
                        <a:lnTo>
                          <a:pt x="1171" y="936"/>
                        </a:lnTo>
                        <a:lnTo>
                          <a:pt x="1129" y="941"/>
                        </a:lnTo>
                        <a:lnTo>
                          <a:pt x="1096" y="936"/>
                        </a:lnTo>
                        <a:lnTo>
                          <a:pt x="1048" y="907"/>
                        </a:lnTo>
                        <a:lnTo>
                          <a:pt x="1004" y="903"/>
                        </a:lnTo>
                        <a:lnTo>
                          <a:pt x="987" y="879"/>
                        </a:lnTo>
                        <a:lnTo>
                          <a:pt x="919" y="863"/>
                        </a:lnTo>
                        <a:lnTo>
                          <a:pt x="881" y="863"/>
                        </a:lnTo>
                        <a:lnTo>
                          <a:pt x="826" y="879"/>
                        </a:lnTo>
                        <a:lnTo>
                          <a:pt x="654" y="853"/>
                        </a:lnTo>
                        <a:lnTo>
                          <a:pt x="600" y="863"/>
                        </a:lnTo>
                        <a:lnTo>
                          <a:pt x="600" y="846"/>
                        </a:lnTo>
                        <a:lnTo>
                          <a:pt x="571" y="813"/>
                        </a:lnTo>
                        <a:lnTo>
                          <a:pt x="545" y="754"/>
                        </a:lnTo>
                        <a:lnTo>
                          <a:pt x="534" y="754"/>
                        </a:lnTo>
                        <a:lnTo>
                          <a:pt x="534" y="726"/>
                        </a:lnTo>
                        <a:lnTo>
                          <a:pt x="508" y="726"/>
                        </a:lnTo>
                        <a:lnTo>
                          <a:pt x="486" y="719"/>
                        </a:lnTo>
                        <a:lnTo>
                          <a:pt x="411" y="664"/>
                        </a:lnTo>
                        <a:lnTo>
                          <a:pt x="264" y="659"/>
                        </a:lnTo>
                        <a:lnTo>
                          <a:pt x="215" y="643"/>
                        </a:lnTo>
                        <a:lnTo>
                          <a:pt x="200" y="615"/>
                        </a:lnTo>
                        <a:lnTo>
                          <a:pt x="210" y="593"/>
                        </a:lnTo>
                        <a:lnTo>
                          <a:pt x="231" y="570"/>
                        </a:lnTo>
                        <a:lnTo>
                          <a:pt x="222" y="548"/>
                        </a:lnTo>
                        <a:lnTo>
                          <a:pt x="231" y="520"/>
                        </a:lnTo>
                        <a:lnTo>
                          <a:pt x="222" y="492"/>
                        </a:lnTo>
                        <a:lnTo>
                          <a:pt x="210" y="475"/>
                        </a:lnTo>
                        <a:lnTo>
                          <a:pt x="193" y="449"/>
                        </a:lnTo>
                        <a:lnTo>
                          <a:pt x="184" y="437"/>
                        </a:lnTo>
                        <a:lnTo>
                          <a:pt x="163" y="409"/>
                        </a:lnTo>
                        <a:lnTo>
                          <a:pt x="163" y="404"/>
                        </a:lnTo>
                        <a:lnTo>
                          <a:pt x="139" y="404"/>
                        </a:lnTo>
                        <a:lnTo>
                          <a:pt x="125" y="388"/>
                        </a:lnTo>
                        <a:lnTo>
                          <a:pt x="92" y="388"/>
                        </a:lnTo>
                        <a:lnTo>
                          <a:pt x="59" y="371"/>
                        </a:lnTo>
                        <a:lnTo>
                          <a:pt x="54" y="355"/>
                        </a:lnTo>
                        <a:lnTo>
                          <a:pt x="16" y="338"/>
                        </a:lnTo>
                        <a:lnTo>
                          <a:pt x="21" y="326"/>
                        </a:lnTo>
                        <a:lnTo>
                          <a:pt x="0" y="310"/>
                        </a:lnTo>
                        <a:lnTo>
                          <a:pt x="4" y="300"/>
                        </a:lnTo>
                        <a:lnTo>
                          <a:pt x="4" y="282"/>
                        </a:lnTo>
                        <a:lnTo>
                          <a:pt x="21" y="277"/>
                        </a:lnTo>
                        <a:lnTo>
                          <a:pt x="21" y="260"/>
                        </a:lnTo>
                        <a:lnTo>
                          <a:pt x="33" y="256"/>
                        </a:lnTo>
                        <a:lnTo>
                          <a:pt x="75" y="260"/>
                        </a:lnTo>
                        <a:lnTo>
                          <a:pt x="75" y="244"/>
                        </a:lnTo>
                        <a:lnTo>
                          <a:pt x="87" y="256"/>
                        </a:lnTo>
                        <a:lnTo>
                          <a:pt x="101" y="256"/>
                        </a:lnTo>
                        <a:lnTo>
                          <a:pt x="101" y="239"/>
                        </a:lnTo>
                        <a:lnTo>
                          <a:pt x="108" y="244"/>
                        </a:lnTo>
                        <a:lnTo>
                          <a:pt x="139" y="227"/>
                        </a:lnTo>
                        <a:lnTo>
                          <a:pt x="130" y="215"/>
                        </a:lnTo>
                        <a:lnTo>
                          <a:pt x="156" y="206"/>
                        </a:lnTo>
                        <a:lnTo>
                          <a:pt x="163" y="199"/>
                        </a:lnTo>
                        <a:lnTo>
                          <a:pt x="210" y="182"/>
                        </a:lnTo>
                        <a:lnTo>
                          <a:pt x="222" y="166"/>
                        </a:lnTo>
                        <a:lnTo>
                          <a:pt x="252" y="161"/>
                        </a:lnTo>
                        <a:lnTo>
                          <a:pt x="276" y="145"/>
                        </a:lnTo>
                        <a:lnTo>
                          <a:pt x="307" y="133"/>
                        </a:lnTo>
                        <a:lnTo>
                          <a:pt x="319" y="128"/>
                        </a:lnTo>
                        <a:lnTo>
                          <a:pt x="340" y="145"/>
                        </a:lnTo>
                        <a:lnTo>
                          <a:pt x="356" y="128"/>
                        </a:lnTo>
                        <a:lnTo>
                          <a:pt x="361" y="128"/>
                        </a:lnTo>
                        <a:lnTo>
                          <a:pt x="361" y="145"/>
                        </a:lnTo>
                        <a:lnTo>
                          <a:pt x="373" y="149"/>
                        </a:lnTo>
                        <a:lnTo>
                          <a:pt x="453" y="149"/>
                        </a:lnTo>
                        <a:lnTo>
                          <a:pt x="465" y="182"/>
                        </a:lnTo>
                        <a:lnTo>
                          <a:pt x="479" y="206"/>
                        </a:lnTo>
                        <a:lnTo>
                          <a:pt x="503" y="199"/>
                        </a:lnTo>
                        <a:lnTo>
                          <a:pt x="508" y="206"/>
                        </a:lnTo>
                        <a:lnTo>
                          <a:pt x="541" y="215"/>
                        </a:lnTo>
                        <a:lnTo>
                          <a:pt x="562" y="206"/>
                        </a:lnTo>
                        <a:lnTo>
                          <a:pt x="571" y="215"/>
                        </a:lnTo>
                        <a:lnTo>
                          <a:pt x="578" y="206"/>
                        </a:lnTo>
                        <a:lnTo>
                          <a:pt x="616" y="222"/>
                        </a:lnTo>
                        <a:lnTo>
                          <a:pt x="647" y="215"/>
                        </a:lnTo>
                        <a:lnTo>
                          <a:pt x="671" y="227"/>
                        </a:lnTo>
                        <a:lnTo>
                          <a:pt x="697" y="206"/>
                        </a:lnTo>
                        <a:lnTo>
                          <a:pt x="722" y="199"/>
                        </a:lnTo>
                        <a:lnTo>
                          <a:pt x="739" y="173"/>
                        </a:lnTo>
                        <a:lnTo>
                          <a:pt x="739" y="161"/>
                        </a:lnTo>
                        <a:lnTo>
                          <a:pt x="718" y="145"/>
                        </a:lnTo>
                        <a:lnTo>
                          <a:pt x="718" y="133"/>
                        </a:lnTo>
                        <a:lnTo>
                          <a:pt x="718" y="128"/>
                        </a:lnTo>
                        <a:lnTo>
                          <a:pt x="701" y="111"/>
                        </a:lnTo>
                        <a:lnTo>
                          <a:pt x="718" y="62"/>
                        </a:lnTo>
                        <a:lnTo>
                          <a:pt x="734" y="62"/>
                        </a:lnTo>
                        <a:lnTo>
                          <a:pt x="739" y="38"/>
                        </a:lnTo>
                        <a:lnTo>
                          <a:pt x="760" y="34"/>
                        </a:lnTo>
                        <a:lnTo>
                          <a:pt x="777" y="0"/>
                        </a:lnTo>
                        <a:lnTo>
                          <a:pt x="859" y="38"/>
                        </a:lnTo>
                        <a:lnTo>
                          <a:pt x="897" y="38"/>
                        </a:lnTo>
                        <a:lnTo>
                          <a:pt x="956" y="71"/>
                        </a:lnTo>
                        <a:lnTo>
                          <a:pt x="973" y="62"/>
                        </a:lnTo>
                        <a:lnTo>
                          <a:pt x="1011" y="78"/>
                        </a:lnTo>
                        <a:lnTo>
                          <a:pt x="1011" y="95"/>
                        </a:lnTo>
                        <a:lnTo>
                          <a:pt x="1020" y="111"/>
                        </a:lnTo>
                        <a:lnTo>
                          <a:pt x="1011" y="128"/>
                        </a:lnTo>
                        <a:lnTo>
                          <a:pt x="1025" y="133"/>
                        </a:lnTo>
                        <a:lnTo>
                          <a:pt x="1020" y="149"/>
                        </a:lnTo>
                        <a:lnTo>
                          <a:pt x="1063" y="173"/>
                        </a:lnTo>
                        <a:lnTo>
                          <a:pt x="1079" y="173"/>
                        </a:lnTo>
                        <a:lnTo>
                          <a:pt x="1086" y="189"/>
                        </a:lnTo>
                        <a:lnTo>
                          <a:pt x="1117" y="189"/>
                        </a:lnTo>
                        <a:lnTo>
                          <a:pt x="1129" y="189"/>
                        </a:lnTo>
                        <a:lnTo>
                          <a:pt x="1141" y="189"/>
                        </a:lnTo>
                        <a:lnTo>
                          <a:pt x="1167" y="173"/>
                        </a:lnTo>
                        <a:lnTo>
                          <a:pt x="1237" y="161"/>
                        </a:lnTo>
                        <a:lnTo>
                          <a:pt x="1280" y="166"/>
                        </a:lnTo>
                        <a:lnTo>
                          <a:pt x="1297" y="173"/>
                        </a:lnTo>
                        <a:lnTo>
                          <a:pt x="1330" y="173"/>
                        </a:lnTo>
                        <a:lnTo>
                          <a:pt x="1351" y="189"/>
                        </a:lnTo>
                        <a:lnTo>
                          <a:pt x="1356" y="206"/>
                        </a:lnTo>
                        <a:lnTo>
                          <a:pt x="1419" y="215"/>
                        </a:lnTo>
                        <a:lnTo>
                          <a:pt x="1415" y="239"/>
                        </a:lnTo>
                        <a:lnTo>
                          <a:pt x="1457" y="272"/>
                        </a:lnTo>
                        <a:lnTo>
                          <a:pt x="1507" y="260"/>
                        </a:lnTo>
                        <a:lnTo>
                          <a:pt x="1528" y="277"/>
                        </a:lnTo>
                        <a:lnTo>
                          <a:pt x="1615" y="282"/>
                        </a:lnTo>
                        <a:lnTo>
                          <a:pt x="1653" y="272"/>
                        </a:lnTo>
                        <a:lnTo>
                          <a:pt x="1776" y="244"/>
                        </a:lnTo>
                        <a:lnTo>
                          <a:pt x="1783" y="222"/>
                        </a:lnTo>
                        <a:lnTo>
                          <a:pt x="1859" y="173"/>
                        </a:lnTo>
                        <a:lnTo>
                          <a:pt x="1901" y="182"/>
                        </a:lnTo>
                        <a:lnTo>
                          <a:pt x="1939" y="215"/>
                        </a:lnTo>
                        <a:lnTo>
                          <a:pt x="1960" y="215"/>
                        </a:lnTo>
                        <a:lnTo>
                          <a:pt x="1998" y="206"/>
                        </a:lnTo>
                        <a:lnTo>
                          <a:pt x="2019" y="215"/>
                        </a:lnTo>
                        <a:lnTo>
                          <a:pt x="2031" y="222"/>
                        </a:lnTo>
                        <a:lnTo>
                          <a:pt x="1982" y="317"/>
                        </a:lnTo>
                        <a:lnTo>
                          <a:pt x="1965" y="338"/>
                        </a:lnTo>
                        <a:lnTo>
                          <a:pt x="1965" y="367"/>
                        </a:lnTo>
                        <a:lnTo>
                          <a:pt x="1944" y="383"/>
                        </a:lnTo>
                        <a:lnTo>
                          <a:pt x="1956" y="393"/>
                        </a:lnTo>
                        <a:lnTo>
                          <a:pt x="1977" y="421"/>
                        </a:lnTo>
                        <a:lnTo>
                          <a:pt x="1998" y="404"/>
                        </a:lnTo>
                        <a:lnTo>
                          <a:pt x="2048" y="404"/>
                        </a:lnTo>
                        <a:lnTo>
                          <a:pt x="2074" y="421"/>
                        </a:lnTo>
                        <a:lnTo>
                          <a:pt x="2107" y="388"/>
                        </a:lnTo>
                        <a:lnTo>
                          <a:pt x="2161" y="388"/>
                        </a:lnTo>
                        <a:lnTo>
                          <a:pt x="2178" y="409"/>
                        </a:lnTo>
                        <a:lnTo>
                          <a:pt x="2199" y="421"/>
                        </a:lnTo>
                        <a:lnTo>
                          <a:pt x="2199" y="437"/>
                        </a:lnTo>
                        <a:lnTo>
                          <a:pt x="2237" y="466"/>
                        </a:lnTo>
                        <a:lnTo>
                          <a:pt x="2253" y="492"/>
                        </a:lnTo>
                        <a:lnTo>
                          <a:pt x="2253" y="504"/>
                        </a:lnTo>
                        <a:lnTo>
                          <a:pt x="2237" y="520"/>
                        </a:lnTo>
                        <a:lnTo>
                          <a:pt x="2215" y="515"/>
                        </a:lnTo>
                        <a:lnTo>
                          <a:pt x="2182" y="504"/>
                        </a:lnTo>
                        <a:lnTo>
                          <a:pt x="2178" y="515"/>
                        </a:lnTo>
                        <a:lnTo>
                          <a:pt x="2145" y="504"/>
                        </a:lnTo>
                        <a:lnTo>
                          <a:pt x="2107" y="520"/>
                        </a:lnTo>
                        <a:lnTo>
                          <a:pt x="2074" y="520"/>
                        </a:lnTo>
                        <a:lnTo>
                          <a:pt x="2074" y="537"/>
                        </a:lnTo>
                        <a:lnTo>
                          <a:pt x="2036" y="537"/>
                        </a:lnTo>
                        <a:lnTo>
                          <a:pt x="2031" y="548"/>
                        </a:lnTo>
                        <a:lnTo>
                          <a:pt x="2031" y="548"/>
                        </a:lnTo>
                        <a:lnTo>
                          <a:pt x="2031" y="54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2" name="Freeform 506">
                    <a:extLst>
                      <a:ext uri="{FF2B5EF4-FFF2-40B4-BE49-F238E27FC236}">
                        <a16:creationId xmlns:a16="http://schemas.microsoft.com/office/drawing/2014/main" id="{ECFBD971-788B-4920-8793-607981FB3B4A}"/>
                      </a:ext>
                    </a:extLst>
                  </p:cNvPr>
                  <p:cNvSpPr>
                    <a:spLocks/>
                  </p:cNvSpPr>
                  <p:nvPr/>
                </p:nvSpPr>
                <p:spPr bwMode="gray">
                  <a:xfrm>
                    <a:off x="7317394" y="2728220"/>
                    <a:ext cx="72043" cy="51876"/>
                  </a:xfrm>
                  <a:custGeom>
                    <a:avLst/>
                    <a:gdLst>
                      <a:gd name="T0" fmla="*/ 21 w 175"/>
                      <a:gd name="T1" fmla="*/ 126 h 126"/>
                      <a:gd name="T2" fmla="*/ 9 w 175"/>
                      <a:gd name="T3" fmla="*/ 126 h 126"/>
                      <a:gd name="T4" fmla="*/ 0 w 175"/>
                      <a:gd name="T5" fmla="*/ 88 h 126"/>
                      <a:gd name="T6" fmla="*/ 5 w 175"/>
                      <a:gd name="T7" fmla="*/ 81 h 126"/>
                      <a:gd name="T8" fmla="*/ 0 w 175"/>
                      <a:gd name="T9" fmla="*/ 71 h 126"/>
                      <a:gd name="T10" fmla="*/ 5 w 175"/>
                      <a:gd name="T11" fmla="*/ 43 h 126"/>
                      <a:gd name="T12" fmla="*/ 9 w 175"/>
                      <a:gd name="T13" fmla="*/ 43 h 126"/>
                      <a:gd name="T14" fmla="*/ 21 w 175"/>
                      <a:gd name="T15" fmla="*/ 26 h 126"/>
                      <a:gd name="T16" fmla="*/ 43 w 175"/>
                      <a:gd name="T17" fmla="*/ 17 h 126"/>
                      <a:gd name="T18" fmla="*/ 59 w 175"/>
                      <a:gd name="T19" fmla="*/ 17 h 126"/>
                      <a:gd name="T20" fmla="*/ 66 w 175"/>
                      <a:gd name="T21" fmla="*/ 10 h 126"/>
                      <a:gd name="T22" fmla="*/ 80 w 175"/>
                      <a:gd name="T23" fmla="*/ 10 h 126"/>
                      <a:gd name="T24" fmla="*/ 97 w 175"/>
                      <a:gd name="T25" fmla="*/ 0 h 126"/>
                      <a:gd name="T26" fmla="*/ 130 w 175"/>
                      <a:gd name="T27" fmla="*/ 0 h 126"/>
                      <a:gd name="T28" fmla="*/ 147 w 175"/>
                      <a:gd name="T29" fmla="*/ 17 h 126"/>
                      <a:gd name="T30" fmla="*/ 170 w 175"/>
                      <a:gd name="T31" fmla="*/ 33 h 126"/>
                      <a:gd name="T32" fmla="*/ 175 w 175"/>
                      <a:gd name="T33" fmla="*/ 50 h 126"/>
                      <a:gd name="T34" fmla="*/ 175 w 175"/>
                      <a:gd name="T35" fmla="*/ 88 h 126"/>
                      <a:gd name="T36" fmla="*/ 163 w 175"/>
                      <a:gd name="T37" fmla="*/ 88 h 126"/>
                      <a:gd name="T38" fmla="*/ 163 w 175"/>
                      <a:gd name="T39" fmla="*/ 102 h 126"/>
                      <a:gd name="T40" fmla="*/ 109 w 175"/>
                      <a:gd name="T41" fmla="*/ 102 h 126"/>
                      <a:gd name="T42" fmla="*/ 92 w 175"/>
                      <a:gd name="T43" fmla="*/ 118 h 126"/>
                      <a:gd name="T44" fmla="*/ 76 w 175"/>
                      <a:gd name="T45" fmla="*/ 126 h 126"/>
                      <a:gd name="T46" fmla="*/ 38 w 175"/>
                      <a:gd name="T47" fmla="*/ 126 h 126"/>
                      <a:gd name="T48" fmla="*/ 21 w 175"/>
                      <a:gd name="T49" fmla="*/ 126 h 126"/>
                      <a:gd name="T50" fmla="*/ 21 w 175"/>
                      <a:gd name="T51" fmla="*/ 126 h 126"/>
                      <a:gd name="T52" fmla="*/ 21 w 175"/>
                      <a:gd name="T53"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26">
                        <a:moveTo>
                          <a:pt x="21" y="126"/>
                        </a:moveTo>
                        <a:lnTo>
                          <a:pt x="9" y="126"/>
                        </a:lnTo>
                        <a:lnTo>
                          <a:pt x="0" y="88"/>
                        </a:lnTo>
                        <a:lnTo>
                          <a:pt x="5" y="81"/>
                        </a:lnTo>
                        <a:lnTo>
                          <a:pt x="0" y="71"/>
                        </a:lnTo>
                        <a:lnTo>
                          <a:pt x="5" y="43"/>
                        </a:lnTo>
                        <a:lnTo>
                          <a:pt x="9" y="43"/>
                        </a:lnTo>
                        <a:lnTo>
                          <a:pt x="21" y="26"/>
                        </a:lnTo>
                        <a:lnTo>
                          <a:pt x="43" y="17"/>
                        </a:lnTo>
                        <a:lnTo>
                          <a:pt x="59" y="17"/>
                        </a:lnTo>
                        <a:lnTo>
                          <a:pt x="66" y="10"/>
                        </a:lnTo>
                        <a:lnTo>
                          <a:pt x="80" y="10"/>
                        </a:lnTo>
                        <a:lnTo>
                          <a:pt x="97" y="0"/>
                        </a:lnTo>
                        <a:lnTo>
                          <a:pt x="130" y="0"/>
                        </a:lnTo>
                        <a:lnTo>
                          <a:pt x="147" y="17"/>
                        </a:lnTo>
                        <a:lnTo>
                          <a:pt x="170" y="33"/>
                        </a:lnTo>
                        <a:lnTo>
                          <a:pt x="175" y="50"/>
                        </a:lnTo>
                        <a:lnTo>
                          <a:pt x="175" y="88"/>
                        </a:lnTo>
                        <a:lnTo>
                          <a:pt x="163" y="88"/>
                        </a:lnTo>
                        <a:lnTo>
                          <a:pt x="163" y="102"/>
                        </a:lnTo>
                        <a:lnTo>
                          <a:pt x="109" y="102"/>
                        </a:lnTo>
                        <a:lnTo>
                          <a:pt x="92" y="118"/>
                        </a:lnTo>
                        <a:lnTo>
                          <a:pt x="76" y="126"/>
                        </a:lnTo>
                        <a:lnTo>
                          <a:pt x="38" y="126"/>
                        </a:lnTo>
                        <a:lnTo>
                          <a:pt x="21" y="126"/>
                        </a:lnTo>
                        <a:lnTo>
                          <a:pt x="21" y="126"/>
                        </a:lnTo>
                        <a:lnTo>
                          <a:pt x="21" y="1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7" name="Freeform 511">
                    <a:extLst>
                      <a:ext uri="{FF2B5EF4-FFF2-40B4-BE49-F238E27FC236}">
                        <a16:creationId xmlns:a16="http://schemas.microsoft.com/office/drawing/2014/main" id="{76456601-3D93-4A29-A87D-B2DC40919971}"/>
                      </a:ext>
                    </a:extLst>
                  </p:cNvPr>
                  <p:cNvSpPr>
                    <a:spLocks noEditPoints="1"/>
                  </p:cNvSpPr>
                  <p:nvPr/>
                </p:nvSpPr>
                <p:spPr bwMode="gray">
                  <a:xfrm>
                    <a:off x="7134612" y="2947253"/>
                    <a:ext cx="9880" cy="10705"/>
                  </a:xfrm>
                  <a:custGeom>
                    <a:avLst/>
                    <a:gdLst>
                      <a:gd name="T0" fmla="*/ 7 w 24"/>
                      <a:gd name="T1" fmla="*/ 12 h 26"/>
                      <a:gd name="T2" fmla="*/ 0 w 24"/>
                      <a:gd name="T3" fmla="*/ 0 h 26"/>
                      <a:gd name="T4" fmla="*/ 7 w 24"/>
                      <a:gd name="T5" fmla="*/ 0 h 26"/>
                      <a:gd name="T6" fmla="*/ 7 w 24"/>
                      <a:gd name="T7" fmla="*/ 12 h 26"/>
                      <a:gd name="T8" fmla="*/ 7 w 24"/>
                      <a:gd name="T9" fmla="*/ 12 h 26"/>
                      <a:gd name="T10" fmla="*/ 7 w 24"/>
                      <a:gd name="T11" fmla="*/ 12 h 26"/>
                      <a:gd name="T12" fmla="*/ 24 w 24"/>
                      <a:gd name="T13" fmla="*/ 26 h 26"/>
                      <a:gd name="T14" fmla="*/ 7 w 24"/>
                      <a:gd name="T15" fmla="*/ 16 h 26"/>
                      <a:gd name="T16" fmla="*/ 7 w 24"/>
                      <a:gd name="T17" fmla="*/ 12 h 26"/>
                      <a:gd name="T18" fmla="*/ 24 w 24"/>
                      <a:gd name="T19" fmla="*/ 16 h 26"/>
                      <a:gd name="T20" fmla="*/ 24 w 24"/>
                      <a:gd name="T21" fmla="*/ 26 h 26"/>
                      <a:gd name="T22" fmla="*/ 24 w 24"/>
                      <a:gd name="T23" fmla="*/ 26 h 26"/>
                      <a:gd name="T24" fmla="*/ 24 w 24"/>
                      <a:gd name="T2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6">
                        <a:moveTo>
                          <a:pt x="7" y="12"/>
                        </a:moveTo>
                        <a:lnTo>
                          <a:pt x="0" y="0"/>
                        </a:lnTo>
                        <a:lnTo>
                          <a:pt x="7" y="0"/>
                        </a:lnTo>
                        <a:lnTo>
                          <a:pt x="7" y="12"/>
                        </a:lnTo>
                        <a:lnTo>
                          <a:pt x="7" y="12"/>
                        </a:lnTo>
                        <a:lnTo>
                          <a:pt x="7" y="12"/>
                        </a:lnTo>
                        <a:close/>
                        <a:moveTo>
                          <a:pt x="24" y="26"/>
                        </a:moveTo>
                        <a:lnTo>
                          <a:pt x="7" y="16"/>
                        </a:lnTo>
                        <a:lnTo>
                          <a:pt x="7" y="12"/>
                        </a:lnTo>
                        <a:lnTo>
                          <a:pt x="24" y="16"/>
                        </a:lnTo>
                        <a:lnTo>
                          <a:pt x="24" y="26"/>
                        </a:lnTo>
                        <a:lnTo>
                          <a:pt x="24" y="26"/>
                        </a:lnTo>
                        <a:lnTo>
                          <a:pt x="24" y="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9" name="Freeform 513">
                    <a:extLst>
                      <a:ext uri="{FF2B5EF4-FFF2-40B4-BE49-F238E27FC236}">
                        <a16:creationId xmlns:a16="http://schemas.microsoft.com/office/drawing/2014/main" id="{E20907F6-E55F-4870-911A-E9AD3BFA850B}"/>
                      </a:ext>
                    </a:extLst>
                  </p:cNvPr>
                  <p:cNvSpPr>
                    <a:spLocks/>
                  </p:cNvSpPr>
                  <p:nvPr/>
                </p:nvSpPr>
                <p:spPr bwMode="gray">
                  <a:xfrm>
                    <a:off x="7260171" y="2685402"/>
                    <a:ext cx="53518" cy="60523"/>
                  </a:xfrm>
                  <a:custGeom>
                    <a:avLst/>
                    <a:gdLst>
                      <a:gd name="T0" fmla="*/ 0 w 130"/>
                      <a:gd name="T1" fmla="*/ 90 h 147"/>
                      <a:gd name="T2" fmla="*/ 7 w 130"/>
                      <a:gd name="T3" fmla="*/ 81 h 147"/>
                      <a:gd name="T4" fmla="*/ 0 w 130"/>
                      <a:gd name="T5" fmla="*/ 62 h 147"/>
                      <a:gd name="T6" fmla="*/ 0 w 130"/>
                      <a:gd name="T7" fmla="*/ 45 h 147"/>
                      <a:gd name="T8" fmla="*/ 16 w 130"/>
                      <a:gd name="T9" fmla="*/ 41 h 147"/>
                      <a:gd name="T10" fmla="*/ 16 w 130"/>
                      <a:gd name="T11" fmla="*/ 24 h 147"/>
                      <a:gd name="T12" fmla="*/ 28 w 130"/>
                      <a:gd name="T13" fmla="*/ 17 h 147"/>
                      <a:gd name="T14" fmla="*/ 37 w 130"/>
                      <a:gd name="T15" fmla="*/ 24 h 147"/>
                      <a:gd name="T16" fmla="*/ 45 w 130"/>
                      <a:gd name="T17" fmla="*/ 17 h 147"/>
                      <a:gd name="T18" fmla="*/ 28 w 130"/>
                      <a:gd name="T19" fmla="*/ 0 h 147"/>
                      <a:gd name="T20" fmla="*/ 54 w 130"/>
                      <a:gd name="T21" fmla="*/ 0 h 147"/>
                      <a:gd name="T22" fmla="*/ 87 w 130"/>
                      <a:gd name="T23" fmla="*/ 36 h 147"/>
                      <a:gd name="T24" fmla="*/ 130 w 130"/>
                      <a:gd name="T25" fmla="*/ 57 h 147"/>
                      <a:gd name="T26" fmla="*/ 130 w 130"/>
                      <a:gd name="T27" fmla="*/ 62 h 147"/>
                      <a:gd name="T28" fmla="*/ 125 w 130"/>
                      <a:gd name="T29" fmla="*/ 62 h 147"/>
                      <a:gd name="T30" fmla="*/ 108 w 130"/>
                      <a:gd name="T31" fmla="*/ 74 h 147"/>
                      <a:gd name="T32" fmla="*/ 113 w 130"/>
                      <a:gd name="T33" fmla="*/ 81 h 147"/>
                      <a:gd name="T34" fmla="*/ 108 w 130"/>
                      <a:gd name="T35" fmla="*/ 90 h 147"/>
                      <a:gd name="T36" fmla="*/ 92 w 130"/>
                      <a:gd name="T37" fmla="*/ 97 h 147"/>
                      <a:gd name="T38" fmla="*/ 92 w 130"/>
                      <a:gd name="T39" fmla="*/ 81 h 147"/>
                      <a:gd name="T40" fmla="*/ 87 w 130"/>
                      <a:gd name="T41" fmla="*/ 81 h 147"/>
                      <a:gd name="T42" fmla="*/ 54 w 130"/>
                      <a:gd name="T43" fmla="*/ 118 h 147"/>
                      <a:gd name="T44" fmla="*/ 59 w 130"/>
                      <a:gd name="T45" fmla="*/ 130 h 147"/>
                      <a:gd name="T46" fmla="*/ 59 w 130"/>
                      <a:gd name="T47" fmla="*/ 147 h 147"/>
                      <a:gd name="T48" fmla="*/ 45 w 130"/>
                      <a:gd name="T49" fmla="*/ 135 h 147"/>
                      <a:gd name="T50" fmla="*/ 28 w 130"/>
                      <a:gd name="T51" fmla="*/ 114 h 147"/>
                      <a:gd name="T52" fmla="*/ 7 w 130"/>
                      <a:gd name="T53" fmla="*/ 97 h 147"/>
                      <a:gd name="T54" fmla="*/ 16 w 130"/>
                      <a:gd name="T55" fmla="*/ 102 h 147"/>
                      <a:gd name="T56" fmla="*/ 16 w 130"/>
                      <a:gd name="T57" fmla="*/ 97 h 147"/>
                      <a:gd name="T58" fmla="*/ 0 w 130"/>
                      <a:gd name="T59" fmla="*/ 97 h 147"/>
                      <a:gd name="T60" fmla="*/ 0 w 130"/>
                      <a:gd name="T61" fmla="*/ 90 h 147"/>
                      <a:gd name="T62" fmla="*/ 0 w 130"/>
                      <a:gd name="T63" fmla="*/ 90 h 147"/>
                      <a:gd name="T64" fmla="*/ 0 w 130"/>
                      <a:gd name="T65" fmla="*/ 9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0" h="147">
                        <a:moveTo>
                          <a:pt x="0" y="90"/>
                        </a:moveTo>
                        <a:lnTo>
                          <a:pt x="7" y="81"/>
                        </a:lnTo>
                        <a:lnTo>
                          <a:pt x="0" y="62"/>
                        </a:lnTo>
                        <a:lnTo>
                          <a:pt x="0" y="45"/>
                        </a:lnTo>
                        <a:lnTo>
                          <a:pt x="16" y="41"/>
                        </a:lnTo>
                        <a:lnTo>
                          <a:pt x="16" y="24"/>
                        </a:lnTo>
                        <a:lnTo>
                          <a:pt x="28" y="17"/>
                        </a:lnTo>
                        <a:lnTo>
                          <a:pt x="37" y="24"/>
                        </a:lnTo>
                        <a:lnTo>
                          <a:pt x="45" y="17"/>
                        </a:lnTo>
                        <a:lnTo>
                          <a:pt x="28" y="0"/>
                        </a:lnTo>
                        <a:lnTo>
                          <a:pt x="54" y="0"/>
                        </a:lnTo>
                        <a:lnTo>
                          <a:pt x="87" y="36"/>
                        </a:lnTo>
                        <a:lnTo>
                          <a:pt x="130" y="57"/>
                        </a:lnTo>
                        <a:lnTo>
                          <a:pt x="130" y="62"/>
                        </a:lnTo>
                        <a:lnTo>
                          <a:pt x="125" y="62"/>
                        </a:lnTo>
                        <a:lnTo>
                          <a:pt x="108" y="74"/>
                        </a:lnTo>
                        <a:lnTo>
                          <a:pt x="113" y="81"/>
                        </a:lnTo>
                        <a:lnTo>
                          <a:pt x="108" y="90"/>
                        </a:lnTo>
                        <a:lnTo>
                          <a:pt x="92" y="97"/>
                        </a:lnTo>
                        <a:lnTo>
                          <a:pt x="92" y="81"/>
                        </a:lnTo>
                        <a:lnTo>
                          <a:pt x="87" y="81"/>
                        </a:lnTo>
                        <a:lnTo>
                          <a:pt x="54" y="118"/>
                        </a:lnTo>
                        <a:lnTo>
                          <a:pt x="59" y="130"/>
                        </a:lnTo>
                        <a:lnTo>
                          <a:pt x="59" y="147"/>
                        </a:lnTo>
                        <a:lnTo>
                          <a:pt x="45" y="135"/>
                        </a:lnTo>
                        <a:lnTo>
                          <a:pt x="28" y="114"/>
                        </a:lnTo>
                        <a:lnTo>
                          <a:pt x="7" y="97"/>
                        </a:lnTo>
                        <a:lnTo>
                          <a:pt x="16" y="102"/>
                        </a:lnTo>
                        <a:lnTo>
                          <a:pt x="16" y="97"/>
                        </a:lnTo>
                        <a:lnTo>
                          <a:pt x="0" y="97"/>
                        </a:lnTo>
                        <a:lnTo>
                          <a:pt x="0" y="90"/>
                        </a:lnTo>
                        <a:lnTo>
                          <a:pt x="0" y="90"/>
                        </a:lnTo>
                        <a:lnTo>
                          <a:pt x="0" y="9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5" name="Freeform 522">
                    <a:extLst>
                      <a:ext uri="{FF2B5EF4-FFF2-40B4-BE49-F238E27FC236}">
                        <a16:creationId xmlns:a16="http://schemas.microsoft.com/office/drawing/2014/main" id="{9FE0FC34-957A-43B0-911D-F334EB4DA4CE}"/>
                      </a:ext>
                    </a:extLst>
                  </p:cNvPr>
                  <p:cNvSpPr>
                    <a:spLocks noEditPoints="1"/>
                  </p:cNvSpPr>
                  <p:nvPr/>
                </p:nvSpPr>
                <p:spPr bwMode="gray">
                  <a:xfrm>
                    <a:off x="6824213" y="2308270"/>
                    <a:ext cx="111151" cy="107046"/>
                  </a:xfrm>
                  <a:custGeom>
                    <a:avLst/>
                    <a:gdLst>
                      <a:gd name="T0" fmla="*/ 156 w 270"/>
                      <a:gd name="T1" fmla="*/ 0 h 260"/>
                      <a:gd name="T2" fmla="*/ 161 w 270"/>
                      <a:gd name="T3" fmla="*/ 0 h 260"/>
                      <a:gd name="T4" fmla="*/ 161 w 270"/>
                      <a:gd name="T5" fmla="*/ 0 h 260"/>
                      <a:gd name="T6" fmla="*/ 270 w 270"/>
                      <a:gd name="T7" fmla="*/ 49 h 260"/>
                      <a:gd name="T8" fmla="*/ 237 w 270"/>
                      <a:gd name="T9" fmla="*/ 78 h 260"/>
                      <a:gd name="T10" fmla="*/ 253 w 270"/>
                      <a:gd name="T11" fmla="*/ 104 h 260"/>
                      <a:gd name="T12" fmla="*/ 232 w 270"/>
                      <a:gd name="T13" fmla="*/ 132 h 260"/>
                      <a:gd name="T14" fmla="*/ 178 w 270"/>
                      <a:gd name="T15" fmla="*/ 161 h 260"/>
                      <a:gd name="T16" fmla="*/ 199 w 270"/>
                      <a:gd name="T17" fmla="*/ 205 h 260"/>
                      <a:gd name="T18" fmla="*/ 185 w 270"/>
                      <a:gd name="T19" fmla="*/ 222 h 260"/>
                      <a:gd name="T20" fmla="*/ 185 w 270"/>
                      <a:gd name="T21" fmla="*/ 243 h 260"/>
                      <a:gd name="T22" fmla="*/ 161 w 270"/>
                      <a:gd name="T23" fmla="*/ 260 h 260"/>
                      <a:gd name="T24" fmla="*/ 168 w 270"/>
                      <a:gd name="T25" fmla="*/ 222 h 260"/>
                      <a:gd name="T26" fmla="*/ 130 w 270"/>
                      <a:gd name="T27" fmla="*/ 217 h 260"/>
                      <a:gd name="T28" fmla="*/ 109 w 270"/>
                      <a:gd name="T29" fmla="*/ 198 h 260"/>
                      <a:gd name="T30" fmla="*/ 85 w 270"/>
                      <a:gd name="T31" fmla="*/ 198 h 260"/>
                      <a:gd name="T32" fmla="*/ 69 w 270"/>
                      <a:gd name="T33" fmla="*/ 198 h 260"/>
                      <a:gd name="T34" fmla="*/ 59 w 270"/>
                      <a:gd name="T35" fmla="*/ 198 h 260"/>
                      <a:gd name="T36" fmla="*/ 0 w 270"/>
                      <a:gd name="T37" fmla="*/ 189 h 260"/>
                      <a:gd name="T38" fmla="*/ 31 w 270"/>
                      <a:gd name="T39" fmla="*/ 182 h 260"/>
                      <a:gd name="T40" fmla="*/ 55 w 270"/>
                      <a:gd name="T41" fmla="*/ 198 h 260"/>
                      <a:gd name="T42" fmla="*/ 38 w 270"/>
                      <a:gd name="T43" fmla="*/ 182 h 260"/>
                      <a:gd name="T44" fmla="*/ 22 w 270"/>
                      <a:gd name="T45" fmla="*/ 165 h 260"/>
                      <a:gd name="T46" fmla="*/ 31 w 270"/>
                      <a:gd name="T47" fmla="*/ 161 h 260"/>
                      <a:gd name="T48" fmla="*/ 38 w 270"/>
                      <a:gd name="T49" fmla="*/ 144 h 260"/>
                      <a:gd name="T50" fmla="*/ 85 w 270"/>
                      <a:gd name="T51" fmla="*/ 94 h 260"/>
                      <a:gd name="T52" fmla="*/ 168 w 270"/>
                      <a:gd name="T53" fmla="*/ 94 h 260"/>
                      <a:gd name="T54" fmla="*/ 156 w 270"/>
                      <a:gd name="T55" fmla="*/ 78 h 260"/>
                      <a:gd name="T56" fmla="*/ 161 w 270"/>
                      <a:gd name="T57" fmla="*/ 66 h 260"/>
                      <a:gd name="T58" fmla="*/ 140 w 270"/>
                      <a:gd name="T59" fmla="*/ 38 h 260"/>
                      <a:gd name="T60" fmla="*/ 123 w 270"/>
                      <a:gd name="T61" fmla="*/ 66 h 260"/>
                      <a:gd name="T62" fmla="*/ 114 w 270"/>
                      <a:gd name="T63" fmla="*/ 78 h 260"/>
                      <a:gd name="T64" fmla="*/ 114 w 270"/>
                      <a:gd name="T65" fmla="*/ 104 h 260"/>
                      <a:gd name="T66" fmla="*/ 93 w 270"/>
                      <a:gd name="T67" fmla="*/ 49 h 260"/>
                      <a:gd name="T68" fmla="*/ 114 w 270"/>
                      <a:gd name="T69" fmla="*/ 49 h 260"/>
                      <a:gd name="T70" fmla="*/ 178 w 270"/>
                      <a:gd name="T71" fmla="*/ 9 h 260"/>
                      <a:gd name="T72" fmla="*/ 270 w 270"/>
                      <a:gd name="T73" fmla="*/ 21 h 260"/>
                      <a:gd name="T74" fmla="*/ 270 w 270"/>
                      <a:gd name="T75" fmla="*/ 21 h 260"/>
                      <a:gd name="T76" fmla="*/ 93 w 270"/>
                      <a:gd name="T77" fmla="*/ 38 h 260"/>
                      <a:gd name="T78" fmla="*/ 109 w 270"/>
                      <a:gd name="T79" fmla="*/ 38 h 260"/>
                      <a:gd name="T80" fmla="*/ 93 w 270"/>
                      <a:gd name="T81" fmla="*/ 49 h 260"/>
                      <a:gd name="T82" fmla="*/ 114 w 270"/>
                      <a:gd name="T83" fmla="*/ 104 h 260"/>
                      <a:gd name="T84" fmla="*/ 130 w 270"/>
                      <a:gd name="T85" fmla="*/ 71 h 260"/>
                      <a:gd name="T86" fmla="*/ 123 w 270"/>
                      <a:gd name="T87" fmla="*/ 104 h 260"/>
                      <a:gd name="T88" fmla="*/ 114 w 270"/>
                      <a:gd name="T89" fmla="*/ 104 h 260"/>
                      <a:gd name="T90" fmla="*/ 114 w 270"/>
                      <a:gd name="T91" fmla="*/ 104 h 260"/>
                      <a:gd name="T92" fmla="*/ 140 w 270"/>
                      <a:gd name="T93" fmla="*/ 120 h 260"/>
                      <a:gd name="T94" fmla="*/ 156 w 270"/>
                      <a:gd name="T95" fmla="*/ 87 h 260"/>
                      <a:gd name="T96" fmla="*/ 168 w 270"/>
                      <a:gd name="T97" fmla="*/ 104 h 260"/>
                      <a:gd name="T98" fmla="*/ 156 w 270"/>
                      <a:gd name="T99" fmla="*/ 104 h 260"/>
                      <a:gd name="T100" fmla="*/ 59 w 270"/>
                      <a:gd name="T101" fmla="*/ 205 h 260"/>
                      <a:gd name="T102" fmla="*/ 17 w 270"/>
                      <a:gd name="T103" fmla="*/ 205 h 260"/>
                      <a:gd name="T104" fmla="*/ 0 w 270"/>
                      <a:gd name="T105" fmla="*/ 198 h 260"/>
                      <a:gd name="T106" fmla="*/ 59 w 270"/>
                      <a:gd name="T107" fmla="*/ 20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0" h="260">
                        <a:moveTo>
                          <a:pt x="161" y="0"/>
                        </a:moveTo>
                        <a:lnTo>
                          <a:pt x="156" y="0"/>
                        </a:lnTo>
                        <a:lnTo>
                          <a:pt x="178" y="0"/>
                        </a:lnTo>
                        <a:lnTo>
                          <a:pt x="161" y="0"/>
                        </a:lnTo>
                        <a:lnTo>
                          <a:pt x="161" y="0"/>
                        </a:lnTo>
                        <a:lnTo>
                          <a:pt x="161" y="0"/>
                        </a:lnTo>
                        <a:close/>
                        <a:moveTo>
                          <a:pt x="270" y="21"/>
                        </a:moveTo>
                        <a:lnTo>
                          <a:pt x="270" y="49"/>
                        </a:lnTo>
                        <a:lnTo>
                          <a:pt x="253" y="78"/>
                        </a:lnTo>
                        <a:lnTo>
                          <a:pt x="237" y="78"/>
                        </a:lnTo>
                        <a:lnTo>
                          <a:pt x="232" y="87"/>
                        </a:lnTo>
                        <a:lnTo>
                          <a:pt x="253" y="104"/>
                        </a:lnTo>
                        <a:lnTo>
                          <a:pt x="253" y="120"/>
                        </a:lnTo>
                        <a:lnTo>
                          <a:pt x="232" y="132"/>
                        </a:lnTo>
                        <a:lnTo>
                          <a:pt x="237" y="144"/>
                        </a:lnTo>
                        <a:lnTo>
                          <a:pt x="178" y="161"/>
                        </a:lnTo>
                        <a:lnTo>
                          <a:pt x="199" y="189"/>
                        </a:lnTo>
                        <a:lnTo>
                          <a:pt x="199" y="205"/>
                        </a:lnTo>
                        <a:lnTo>
                          <a:pt x="185" y="217"/>
                        </a:lnTo>
                        <a:lnTo>
                          <a:pt x="185" y="222"/>
                        </a:lnTo>
                        <a:lnTo>
                          <a:pt x="168" y="234"/>
                        </a:lnTo>
                        <a:lnTo>
                          <a:pt x="185" y="243"/>
                        </a:lnTo>
                        <a:lnTo>
                          <a:pt x="185" y="260"/>
                        </a:lnTo>
                        <a:lnTo>
                          <a:pt x="161" y="260"/>
                        </a:lnTo>
                        <a:lnTo>
                          <a:pt x="156" y="255"/>
                        </a:lnTo>
                        <a:lnTo>
                          <a:pt x="168" y="222"/>
                        </a:lnTo>
                        <a:lnTo>
                          <a:pt x="147" y="205"/>
                        </a:lnTo>
                        <a:lnTo>
                          <a:pt x="130" y="217"/>
                        </a:lnTo>
                        <a:lnTo>
                          <a:pt x="114" y="189"/>
                        </a:lnTo>
                        <a:lnTo>
                          <a:pt x="109" y="198"/>
                        </a:lnTo>
                        <a:lnTo>
                          <a:pt x="102" y="189"/>
                        </a:lnTo>
                        <a:lnTo>
                          <a:pt x="85" y="198"/>
                        </a:lnTo>
                        <a:lnTo>
                          <a:pt x="76" y="189"/>
                        </a:lnTo>
                        <a:lnTo>
                          <a:pt x="69" y="198"/>
                        </a:lnTo>
                        <a:lnTo>
                          <a:pt x="69" y="205"/>
                        </a:lnTo>
                        <a:lnTo>
                          <a:pt x="59" y="198"/>
                        </a:lnTo>
                        <a:lnTo>
                          <a:pt x="31" y="198"/>
                        </a:lnTo>
                        <a:lnTo>
                          <a:pt x="0" y="189"/>
                        </a:lnTo>
                        <a:lnTo>
                          <a:pt x="31" y="182"/>
                        </a:lnTo>
                        <a:lnTo>
                          <a:pt x="31" y="182"/>
                        </a:lnTo>
                        <a:lnTo>
                          <a:pt x="31" y="182"/>
                        </a:lnTo>
                        <a:lnTo>
                          <a:pt x="55" y="198"/>
                        </a:lnTo>
                        <a:lnTo>
                          <a:pt x="59" y="198"/>
                        </a:lnTo>
                        <a:lnTo>
                          <a:pt x="38" y="182"/>
                        </a:lnTo>
                        <a:lnTo>
                          <a:pt x="55" y="182"/>
                        </a:lnTo>
                        <a:lnTo>
                          <a:pt x="22" y="165"/>
                        </a:lnTo>
                        <a:lnTo>
                          <a:pt x="55" y="177"/>
                        </a:lnTo>
                        <a:lnTo>
                          <a:pt x="31" y="161"/>
                        </a:lnTo>
                        <a:lnTo>
                          <a:pt x="48" y="161"/>
                        </a:lnTo>
                        <a:lnTo>
                          <a:pt x="38" y="144"/>
                        </a:lnTo>
                        <a:lnTo>
                          <a:pt x="69" y="127"/>
                        </a:lnTo>
                        <a:lnTo>
                          <a:pt x="85" y="94"/>
                        </a:lnTo>
                        <a:lnTo>
                          <a:pt x="140" y="120"/>
                        </a:lnTo>
                        <a:lnTo>
                          <a:pt x="168" y="94"/>
                        </a:lnTo>
                        <a:lnTo>
                          <a:pt x="168" y="78"/>
                        </a:lnTo>
                        <a:lnTo>
                          <a:pt x="156" y="78"/>
                        </a:lnTo>
                        <a:lnTo>
                          <a:pt x="156" y="71"/>
                        </a:lnTo>
                        <a:lnTo>
                          <a:pt x="161" y="66"/>
                        </a:lnTo>
                        <a:lnTo>
                          <a:pt x="140" y="54"/>
                        </a:lnTo>
                        <a:lnTo>
                          <a:pt x="140" y="38"/>
                        </a:lnTo>
                        <a:lnTo>
                          <a:pt x="114" y="49"/>
                        </a:lnTo>
                        <a:lnTo>
                          <a:pt x="123" y="66"/>
                        </a:lnTo>
                        <a:lnTo>
                          <a:pt x="130" y="71"/>
                        </a:lnTo>
                        <a:lnTo>
                          <a:pt x="114" y="78"/>
                        </a:lnTo>
                        <a:lnTo>
                          <a:pt x="114" y="94"/>
                        </a:lnTo>
                        <a:lnTo>
                          <a:pt x="114" y="104"/>
                        </a:lnTo>
                        <a:lnTo>
                          <a:pt x="85" y="94"/>
                        </a:lnTo>
                        <a:lnTo>
                          <a:pt x="93" y="49"/>
                        </a:lnTo>
                        <a:lnTo>
                          <a:pt x="102" y="54"/>
                        </a:lnTo>
                        <a:lnTo>
                          <a:pt x="114" y="49"/>
                        </a:lnTo>
                        <a:lnTo>
                          <a:pt x="156" y="16"/>
                        </a:lnTo>
                        <a:lnTo>
                          <a:pt x="178" y="9"/>
                        </a:lnTo>
                        <a:lnTo>
                          <a:pt x="232" y="0"/>
                        </a:lnTo>
                        <a:lnTo>
                          <a:pt x="270" y="21"/>
                        </a:lnTo>
                        <a:lnTo>
                          <a:pt x="270" y="21"/>
                        </a:lnTo>
                        <a:lnTo>
                          <a:pt x="270" y="21"/>
                        </a:lnTo>
                        <a:close/>
                        <a:moveTo>
                          <a:pt x="93" y="49"/>
                        </a:moveTo>
                        <a:lnTo>
                          <a:pt x="93" y="38"/>
                        </a:lnTo>
                        <a:lnTo>
                          <a:pt x="102" y="21"/>
                        </a:lnTo>
                        <a:lnTo>
                          <a:pt x="109" y="38"/>
                        </a:lnTo>
                        <a:lnTo>
                          <a:pt x="93" y="49"/>
                        </a:lnTo>
                        <a:lnTo>
                          <a:pt x="93" y="49"/>
                        </a:lnTo>
                        <a:lnTo>
                          <a:pt x="93" y="49"/>
                        </a:lnTo>
                        <a:close/>
                        <a:moveTo>
                          <a:pt x="114" y="104"/>
                        </a:moveTo>
                        <a:lnTo>
                          <a:pt x="114" y="78"/>
                        </a:lnTo>
                        <a:lnTo>
                          <a:pt x="130" y="71"/>
                        </a:lnTo>
                        <a:lnTo>
                          <a:pt x="147" y="87"/>
                        </a:lnTo>
                        <a:lnTo>
                          <a:pt x="123" y="104"/>
                        </a:lnTo>
                        <a:lnTo>
                          <a:pt x="114" y="104"/>
                        </a:lnTo>
                        <a:lnTo>
                          <a:pt x="114" y="104"/>
                        </a:lnTo>
                        <a:lnTo>
                          <a:pt x="114" y="104"/>
                        </a:lnTo>
                        <a:lnTo>
                          <a:pt x="114" y="104"/>
                        </a:lnTo>
                        <a:close/>
                        <a:moveTo>
                          <a:pt x="156" y="104"/>
                        </a:moveTo>
                        <a:lnTo>
                          <a:pt x="140" y="120"/>
                        </a:lnTo>
                        <a:lnTo>
                          <a:pt x="123" y="104"/>
                        </a:lnTo>
                        <a:lnTo>
                          <a:pt x="156" y="87"/>
                        </a:lnTo>
                        <a:lnTo>
                          <a:pt x="168" y="87"/>
                        </a:lnTo>
                        <a:lnTo>
                          <a:pt x="168" y="104"/>
                        </a:lnTo>
                        <a:lnTo>
                          <a:pt x="156" y="104"/>
                        </a:lnTo>
                        <a:lnTo>
                          <a:pt x="156" y="104"/>
                        </a:lnTo>
                        <a:lnTo>
                          <a:pt x="156" y="104"/>
                        </a:lnTo>
                        <a:close/>
                        <a:moveTo>
                          <a:pt x="59" y="205"/>
                        </a:moveTo>
                        <a:lnTo>
                          <a:pt x="31" y="217"/>
                        </a:lnTo>
                        <a:lnTo>
                          <a:pt x="17" y="205"/>
                        </a:lnTo>
                        <a:lnTo>
                          <a:pt x="0" y="217"/>
                        </a:lnTo>
                        <a:lnTo>
                          <a:pt x="0" y="198"/>
                        </a:lnTo>
                        <a:lnTo>
                          <a:pt x="59" y="205"/>
                        </a:lnTo>
                        <a:lnTo>
                          <a:pt x="59" y="205"/>
                        </a:lnTo>
                        <a:lnTo>
                          <a:pt x="59" y="20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6" name="Freeform 523">
                    <a:extLst>
                      <a:ext uri="{FF2B5EF4-FFF2-40B4-BE49-F238E27FC236}">
                        <a16:creationId xmlns:a16="http://schemas.microsoft.com/office/drawing/2014/main" id="{F0C11B18-080E-403B-AE93-02347CB8007B}"/>
                      </a:ext>
                    </a:extLst>
                  </p:cNvPr>
                  <p:cNvSpPr>
                    <a:spLocks noEditPoints="1"/>
                  </p:cNvSpPr>
                  <p:nvPr/>
                </p:nvSpPr>
                <p:spPr bwMode="gray">
                  <a:xfrm>
                    <a:off x="6866204" y="1486484"/>
                    <a:ext cx="758296" cy="631983"/>
                  </a:xfrm>
                  <a:custGeom>
                    <a:avLst/>
                    <a:gdLst>
                      <a:gd name="T0" fmla="*/ 1713 w 1842"/>
                      <a:gd name="T1" fmla="*/ 238 h 1535"/>
                      <a:gd name="T2" fmla="*/ 1285 w 1842"/>
                      <a:gd name="T3" fmla="*/ 326 h 1535"/>
                      <a:gd name="T4" fmla="*/ 919 w 1842"/>
                      <a:gd name="T5" fmla="*/ 411 h 1535"/>
                      <a:gd name="T6" fmla="*/ 546 w 1842"/>
                      <a:gd name="T7" fmla="*/ 886 h 1535"/>
                      <a:gd name="T8" fmla="*/ 470 w 1842"/>
                      <a:gd name="T9" fmla="*/ 1441 h 1535"/>
                      <a:gd name="T10" fmla="*/ 399 w 1842"/>
                      <a:gd name="T11" fmla="*/ 1403 h 1535"/>
                      <a:gd name="T12" fmla="*/ 92 w 1842"/>
                      <a:gd name="T13" fmla="*/ 1453 h 1535"/>
                      <a:gd name="T14" fmla="*/ 54 w 1842"/>
                      <a:gd name="T15" fmla="*/ 1386 h 1535"/>
                      <a:gd name="T16" fmla="*/ 163 w 1842"/>
                      <a:gd name="T17" fmla="*/ 1268 h 1535"/>
                      <a:gd name="T18" fmla="*/ 54 w 1842"/>
                      <a:gd name="T19" fmla="*/ 1242 h 1535"/>
                      <a:gd name="T20" fmla="*/ 189 w 1842"/>
                      <a:gd name="T21" fmla="*/ 1164 h 1535"/>
                      <a:gd name="T22" fmla="*/ 21 w 1842"/>
                      <a:gd name="T23" fmla="*/ 1148 h 1535"/>
                      <a:gd name="T24" fmla="*/ 97 w 1842"/>
                      <a:gd name="T25" fmla="*/ 1058 h 1535"/>
                      <a:gd name="T26" fmla="*/ 206 w 1842"/>
                      <a:gd name="T27" fmla="*/ 1049 h 1535"/>
                      <a:gd name="T28" fmla="*/ 227 w 1842"/>
                      <a:gd name="T29" fmla="*/ 980 h 1535"/>
                      <a:gd name="T30" fmla="*/ 361 w 1842"/>
                      <a:gd name="T31" fmla="*/ 947 h 1535"/>
                      <a:gd name="T32" fmla="*/ 352 w 1842"/>
                      <a:gd name="T33" fmla="*/ 938 h 1535"/>
                      <a:gd name="T34" fmla="*/ 470 w 1842"/>
                      <a:gd name="T35" fmla="*/ 815 h 1535"/>
                      <a:gd name="T36" fmla="*/ 541 w 1842"/>
                      <a:gd name="T37" fmla="*/ 720 h 1535"/>
                      <a:gd name="T38" fmla="*/ 567 w 1842"/>
                      <a:gd name="T39" fmla="*/ 626 h 1535"/>
                      <a:gd name="T40" fmla="*/ 659 w 1842"/>
                      <a:gd name="T41" fmla="*/ 503 h 1535"/>
                      <a:gd name="T42" fmla="*/ 692 w 1842"/>
                      <a:gd name="T43" fmla="*/ 465 h 1535"/>
                      <a:gd name="T44" fmla="*/ 702 w 1842"/>
                      <a:gd name="T45" fmla="*/ 420 h 1535"/>
                      <a:gd name="T46" fmla="*/ 801 w 1842"/>
                      <a:gd name="T47" fmla="*/ 387 h 1535"/>
                      <a:gd name="T48" fmla="*/ 848 w 1842"/>
                      <a:gd name="T49" fmla="*/ 338 h 1535"/>
                      <a:gd name="T50" fmla="*/ 994 w 1842"/>
                      <a:gd name="T51" fmla="*/ 243 h 1535"/>
                      <a:gd name="T52" fmla="*/ 1049 w 1842"/>
                      <a:gd name="T53" fmla="*/ 189 h 1535"/>
                      <a:gd name="T54" fmla="*/ 1172 w 1842"/>
                      <a:gd name="T55" fmla="*/ 111 h 1535"/>
                      <a:gd name="T56" fmla="*/ 1318 w 1842"/>
                      <a:gd name="T57" fmla="*/ 94 h 1535"/>
                      <a:gd name="T58" fmla="*/ 1431 w 1842"/>
                      <a:gd name="T59" fmla="*/ 104 h 1535"/>
                      <a:gd name="T60" fmla="*/ 1557 w 1842"/>
                      <a:gd name="T61" fmla="*/ 71 h 1535"/>
                      <a:gd name="T62" fmla="*/ 1625 w 1842"/>
                      <a:gd name="T63" fmla="*/ 94 h 1535"/>
                      <a:gd name="T64" fmla="*/ 1826 w 1842"/>
                      <a:gd name="T65" fmla="*/ 94 h 1535"/>
                      <a:gd name="T66" fmla="*/ 1798 w 1842"/>
                      <a:gd name="T67" fmla="*/ 189 h 1535"/>
                      <a:gd name="T68" fmla="*/ 1205 w 1842"/>
                      <a:gd name="T69" fmla="*/ 61 h 1535"/>
                      <a:gd name="T70" fmla="*/ 1351 w 1842"/>
                      <a:gd name="T71" fmla="*/ 71 h 1535"/>
                      <a:gd name="T72" fmla="*/ 1188 w 1842"/>
                      <a:gd name="T73" fmla="*/ 116 h 1535"/>
                      <a:gd name="T74" fmla="*/ 999 w 1842"/>
                      <a:gd name="T75" fmla="*/ 132 h 1535"/>
                      <a:gd name="T76" fmla="*/ 1124 w 1842"/>
                      <a:gd name="T77" fmla="*/ 132 h 1535"/>
                      <a:gd name="T78" fmla="*/ 1124 w 1842"/>
                      <a:gd name="T79" fmla="*/ 160 h 1535"/>
                      <a:gd name="T80" fmla="*/ 1750 w 1842"/>
                      <a:gd name="T81" fmla="*/ 182 h 1535"/>
                      <a:gd name="T82" fmla="*/ 940 w 1842"/>
                      <a:gd name="T83" fmla="*/ 198 h 1535"/>
                      <a:gd name="T84" fmla="*/ 919 w 1842"/>
                      <a:gd name="T85" fmla="*/ 238 h 1535"/>
                      <a:gd name="T86" fmla="*/ 876 w 1842"/>
                      <a:gd name="T87" fmla="*/ 276 h 1535"/>
                      <a:gd name="T88" fmla="*/ 676 w 1842"/>
                      <a:gd name="T89" fmla="*/ 326 h 1535"/>
                      <a:gd name="T90" fmla="*/ 768 w 1842"/>
                      <a:gd name="T91" fmla="*/ 349 h 1535"/>
                      <a:gd name="T92" fmla="*/ 709 w 1842"/>
                      <a:gd name="T93" fmla="*/ 293 h 1535"/>
                      <a:gd name="T94" fmla="*/ 794 w 1842"/>
                      <a:gd name="T95" fmla="*/ 354 h 1535"/>
                      <a:gd name="T96" fmla="*/ 654 w 1842"/>
                      <a:gd name="T97" fmla="*/ 371 h 1535"/>
                      <a:gd name="T98" fmla="*/ 583 w 1842"/>
                      <a:gd name="T99" fmla="*/ 404 h 1535"/>
                      <a:gd name="T100" fmla="*/ 725 w 1842"/>
                      <a:gd name="T101" fmla="*/ 411 h 1535"/>
                      <a:gd name="T102" fmla="*/ 529 w 1842"/>
                      <a:gd name="T103" fmla="*/ 666 h 1535"/>
                      <a:gd name="T104" fmla="*/ 498 w 1842"/>
                      <a:gd name="T105" fmla="*/ 753 h 1535"/>
                      <a:gd name="T106" fmla="*/ 454 w 1842"/>
                      <a:gd name="T107" fmla="*/ 810 h 1535"/>
                      <a:gd name="T108" fmla="*/ 255 w 1842"/>
                      <a:gd name="T109" fmla="*/ 942 h 1535"/>
                      <a:gd name="T110" fmla="*/ 260 w 1842"/>
                      <a:gd name="T111" fmla="*/ 959 h 1535"/>
                      <a:gd name="T112" fmla="*/ 239 w 1842"/>
                      <a:gd name="T113" fmla="*/ 975 h 1535"/>
                      <a:gd name="T114" fmla="*/ 135 w 1842"/>
                      <a:gd name="T115" fmla="*/ 1020 h 1535"/>
                      <a:gd name="T116" fmla="*/ 66 w 1842"/>
                      <a:gd name="T117" fmla="*/ 1075 h 1535"/>
                      <a:gd name="T118" fmla="*/ 7 w 1842"/>
                      <a:gd name="T119" fmla="*/ 1131 h 1535"/>
                      <a:gd name="T120" fmla="*/ 21 w 1842"/>
                      <a:gd name="T121" fmla="*/ 1280 h 1535"/>
                      <a:gd name="T122" fmla="*/ 28 w 1842"/>
                      <a:gd name="T123" fmla="*/ 1325 h 1535"/>
                      <a:gd name="T124" fmla="*/ 38 w 1842"/>
                      <a:gd name="T125" fmla="*/ 1353 h 1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42" h="1535">
                        <a:moveTo>
                          <a:pt x="1457" y="33"/>
                        </a:moveTo>
                        <a:lnTo>
                          <a:pt x="1443" y="21"/>
                        </a:lnTo>
                        <a:lnTo>
                          <a:pt x="1448" y="16"/>
                        </a:lnTo>
                        <a:lnTo>
                          <a:pt x="1431" y="16"/>
                        </a:lnTo>
                        <a:lnTo>
                          <a:pt x="1465" y="0"/>
                        </a:lnTo>
                        <a:lnTo>
                          <a:pt x="1486" y="5"/>
                        </a:lnTo>
                        <a:lnTo>
                          <a:pt x="1481" y="21"/>
                        </a:lnTo>
                        <a:lnTo>
                          <a:pt x="1495" y="16"/>
                        </a:lnTo>
                        <a:lnTo>
                          <a:pt x="1457" y="33"/>
                        </a:lnTo>
                        <a:lnTo>
                          <a:pt x="1457" y="33"/>
                        </a:lnTo>
                        <a:lnTo>
                          <a:pt x="1457" y="33"/>
                        </a:lnTo>
                        <a:close/>
                        <a:moveTo>
                          <a:pt x="1826" y="172"/>
                        </a:moveTo>
                        <a:lnTo>
                          <a:pt x="1826" y="189"/>
                        </a:lnTo>
                        <a:lnTo>
                          <a:pt x="1826" y="205"/>
                        </a:lnTo>
                        <a:lnTo>
                          <a:pt x="1805" y="205"/>
                        </a:lnTo>
                        <a:lnTo>
                          <a:pt x="1772" y="198"/>
                        </a:lnTo>
                        <a:lnTo>
                          <a:pt x="1772" y="205"/>
                        </a:lnTo>
                        <a:lnTo>
                          <a:pt x="1772" y="215"/>
                        </a:lnTo>
                        <a:lnTo>
                          <a:pt x="1713" y="238"/>
                        </a:lnTo>
                        <a:lnTo>
                          <a:pt x="1713" y="260"/>
                        </a:lnTo>
                        <a:lnTo>
                          <a:pt x="1691" y="272"/>
                        </a:lnTo>
                        <a:lnTo>
                          <a:pt x="1680" y="260"/>
                        </a:lnTo>
                        <a:lnTo>
                          <a:pt x="1680" y="243"/>
                        </a:lnTo>
                        <a:lnTo>
                          <a:pt x="1713" y="215"/>
                        </a:lnTo>
                        <a:lnTo>
                          <a:pt x="1701" y="189"/>
                        </a:lnTo>
                        <a:lnTo>
                          <a:pt x="1646" y="172"/>
                        </a:lnTo>
                        <a:lnTo>
                          <a:pt x="1620" y="144"/>
                        </a:lnTo>
                        <a:lnTo>
                          <a:pt x="1557" y="165"/>
                        </a:lnTo>
                        <a:lnTo>
                          <a:pt x="1519" y="160"/>
                        </a:lnTo>
                        <a:lnTo>
                          <a:pt x="1481" y="189"/>
                        </a:lnTo>
                        <a:lnTo>
                          <a:pt x="1465" y="243"/>
                        </a:lnTo>
                        <a:lnTo>
                          <a:pt x="1465" y="276"/>
                        </a:lnTo>
                        <a:lnTo>
                          <a:pt x="1457" y="293"/>
                        </a:lnTo>
                        <a:lnTo>
                          <a:pt x="1427" y="300"/>
                        </a:lnTo>
                        <a:lnTo>
                          <a:pt x="1420" y="326"/>
                        </a:lnTo>
                        <a:lnTo>
                          <a:pt x="1410" y="333"/>
                        </a:lnTo>
                        <a:lnTo>
                          <a:pt x="1339" y="300"/>
                        </a:lnTo>
                        <a:lnTo>
                          <a:pt x="1285" y="326"/>
                        </a:lnTo>
                        <a:lnTo>
                          <a:pt x="1231" y="316"/>
                        </a:lnTo>
                        <a:lnTo>
                          <a:pt x="1226" y="300"/>
                        </a:lnTo>
                        <a:lnTo>
                          <a:pt x="1179" y="243"/>
                        </a:lnTo>
                        <a:lnTo>
                          <a:pt x="1155" y="238"/>
                        </a:lnTo>
                        <a:lnTo>
                          <a:pt x="1134" y="255"/>
                        </a:lnTo>
                        <a:lnTo>
                          <a:pt x="1141" y="260"/>
                        </a:lnTo>
                        <a:lnTo>
                          <a:pt x="1134" y="276"/>
                        </a:lnTo>
                        <a:lnTo>
                          <a:pt x="1103" y="272"/>
                        </a:lnTo>
                        <a:lnTo>
                          <a:pt x="1070" y="272"/>
                        </a:lnTo>
                        <a:lnTo>
                          <a:pt x="1087" y="283"/>
                        </a:lnTo>
                        <a:lnTo>
                          <a:pt x="1087" y="300"/>
                        </a:lnTo>
                        <a:lnTo>
                          <a:pt x="1054" y="333"/>
                        </a:lnTo>
                        <a:lnTo>
                          <a:pt x="1080" y="338"/>
                        </a:lnTo>
                        <a:lnTo>
                          <a:pt x="1054" y="366"/>
                        </a:lnTo>
                        <a:lnTo>
                          <a:pt x="983" y="338"/>
                        </a:lnTo>
                        <a:lnTo>
                          <a:pt x="924" y="338"/>
                        </a:lnTo>
                        <a:lnTo>
                          <a:pt x="924" y="349"/>
                        </a:lnTo>
                        <a:lnTo>
                          <a:pt x="928" y="383"/>
                        </a:lnTo>
                        <a:lnTo>
                          <a:pt x="919" y="411"/>
                        </a:lnTo>
                        <a:lnTo>
                          <a:pt x="869" y="387"/>
                        </a:lnTo>
                        <a:lnTo>
                          <a:pt x="831" y="411"/>
                        </a:lnTo>
                        <a:lnTo>
                          <a:pt x="815" y="449"/>
                        </a:lnTo>
                        <a:lnTo>
                          <a:pt x="784" y="477"/>
                        </a:lnTo>
                        <a:lnTo>
                          <a:pt x="810" y="498"/>
                        </a:lnTo>
                        <a:lnTo>
                          <a:pt x="810" y="522"/>
                        </a:lnTo>
                        <a:lnTo>
                          <a:pt x="739" y="588"/>
                        </a:lnTo>
                        <a:lnTo>
                          <a:pt x="746" y="609"/>
                        </a:lnTo>
                        <a:lnTo>
                          <a:pt x="713" y="626"/>
                        </a:lnTo>
                        <a:lnTo>
                          <a:pt x="676" y="631"/>
                        </a:lnTo>
                        <a:lnTo>
                          <a:pt x="687" y="666"/>
                        </a:lnTo>
                        <a:lnTo>
                          <a:pt x="676" y="699"/>
                        </a:lnTo>
                        <a:lnTo>
                          <a:pt x="676" y="725"/>
                        </a:lnTo>
                        <a:lnTo>
                          <a:pt x="617" y="815"/>
                        </a:lnTo>
                        <a:lnTo>
                          <a:pt x="650" y="827"/>
                        </a:lnTo>
                        <a:lnTo>
                          <a:pt x="654" y="853"/>
                        </a:lnTo>
                        <a:lnTo>
                          <a:pt x="638" y="881"/>
                        </a:lnTo>
                        <a:lnTo>
                          <a:pt x="567" y="869"/>
                        </a:lnTo>
                        <a:lnTo>
                          <a:pt x="546" y="886"/>
                        </a:lnTo>
                        <a:lnTo>
                          <a:pt x="508" y="926"/>
                        </a:lnTo>
                        <a:lnTo>
                          <a:pt x="513" y="938"/>
                        </a:lnTo>
                        <a:lnTo>
                          <a:pt x="498" y="964"/>
                        </a:lnTo>
                        <a:lnTo>
                          <a:pt x="513" y="992"/>
                        </a:lnTo>
                        <a:lnTo>
                          <a:pt x="498" y="1004"/>
                        </a:lnTo>
                        <a:lnTo>
                          <a:pt x="508" y="1037"/>
                        </a:lnTo>
                        <a:lnTo>
                          <a:pt x="524" y="1075"/>
                        </a:lnTo>
                        <a:lnTo>
                          <a:pt x="508" y="1131"/>
                        </a:lnTo>
                        <a:lnTo>
                          <a:pt x="562" y="1181"/>
                        </a:lnTo>
                        <a:lnTo>
                          <a:pt x="546" y="1214"/>
                        </a:lnTo>
                        <a:lnTo>
                          <a:pt x="513" y="1214"/>
                        </a:lnTo>
                        <a:lnTo>
                          <a:pt x="546" y="1275"/>
                        </a:lnTo>
                        <a:lnTo>
                          <a:pt x="529" y="1313"/>
                        </a:lnTo>
                        <a:lnTo>
                          <a:pt x="508" y="1337"/>
                        </a:lnTo>
                        <a:lnTo>
                          <a:pt x="487" y="1337"/>
                        </a:lnTo>
                        <a:lnTo>
                          <a:pt x="491" y="1353"/>
                        </a:lnTo>
                        <a:lnTo>
                          <a:pt x="475" y="1370"/>
                        </a:lnTo>
                        <a:lnTo>
                          <a:pt x="487" y="1403"/>
                        </a:lnTo>
                        <a:lnTo>
                          <a:pt x="470" y="1441"/>
                        </a:lnTo>
                        <a:lnTo>
                          <a:pt x="461" y="1441"/>
                        </a:lnTo>
                        <a:lnTo>
                          <a:pt x="461" y="1436"/>
                        </a:lnTo>
                        <a:lnTo>
                          <a:pt x="454" y="1420"/>
                        </a:lnTo>
                        <a:lnTo>
                          <a:pt x="416" y="1408"/>
                        </a:lnTo>
                        <a:lnTo>
                          <a:pt x="399" y="1353"/>
                        </a:lnTo>
                        <a:lnTo>
                          <a:pt x="406" y="1337"/>
                        </a:lnTo>
                        <a:lnTo>
                          <a:pt x="416" y="1346"/>
                        </a:lnTo>
                        <a:lnTo>
                          <a:pt x="406" y="1330"/>
                        </a:lnTo>
                        <a:lnTo>
                          <a:pt x="390" y="1337"/>
                        </a:lnTo>
                        <a:lnTo>
                          <a:pt x="399" y="1370"/>
                        </a:lnTo>
                        <a:lnTo>
                          <a:pt x="399" y="1379"/>
                        </a:lnTo>
                        <a:lnTo>
                          <a:pt x="390" y="1379"/>
                        </a:lnTo>
                        <a:lnTo>
                          <a:pt x="385" y="1353"/>
                        </a:lnTo>
                        <a:lnTo>
                          <a:pt x="378" y="1353"/>
                        </a:lnTo>
                        <a:lnTo>
                          <a:pt x="390" y="1370"/>
                        </a:lnTo>
                        <a:lnTo>
                          <a:pt x="385" y="1379"/>
                        </a:lnTo>
                        <a:lnTo>
                          <a:pt x="378" y="1370"/>
                        </a:lnTo>
                        <a:lnTo>
                          <a:pt x="390" y="1386"/>
                        </a:lnTo>
                        <a:lnTo>
                          <a:pt x="399" y="1403"/>
                        </a:lnTo>
                        <a:lnTo>
                          <a:pt x="385" y="1403"/>
                        </a:lnTo>
                        <a:lnTo>
                          <a:pt x="378" y="1424"/>
                        </a:lnTo>
                        <a:lnTo>
                          <a:pt x="352" y="1436"/>
                        </a:lnTo>
                        <a:lnTo>
                          <a:pt x="331" y="1420"/>
                        </a:lnTo>
                        <a:lnTo>
                          <a:pt x="335" y="1436"/>
                        </a:lnTo>
                        <a:lnTo>
                          <a:pt x="255" y="1507"/>
                        </a:lnTo>
                        <a:lnTo>
                          <a:pt x="239" y="1514"/>
                        </a:lnTo>
                        <a:lnTo>
                          <a:pt x="239" y="1519"/>
                        </a:lnTo>
                        <a:lnTo>
                          <a:pt x="151" y="1535"/>
                        </a:lnTo>
                        <a:lnTo>
                          <a:pt x="135" y="1531"/>
                        </a:lnTo>
                        <a:lnTo>
                          <a:pt x="120" y="1531"/>
                        </a:lnTo>
                        <a:lnTo>
                          <a:pt x="130" y="1514"/>
                        </a:lnTo>
                        <a:lnTo>
                          <a:pt x="109" y="1507"/>
                        </a:lnTo>
                        <a:lnTo>
                          <a:pt x="83" y="1497"/>
                        </a:lnTo>
                        <a:lnTo>
                          <a:pt x="76" y="1490"/>
                        </a:lnTo>
                        <a:lnTo>
                          <a:pt x="59" y="1490"/>
                        </a:lnTo>
                        <a:lnTo>
                          <a:pt x="45" y="1457"/>
                        </a:lnTo>
                        <a:lnTo>
                          <a:pt x="45" y="1424"/>
                        </a:lnTo>
                        <a:lnTo>
                          <a:pt x="92" y="1453"/>
                        </a:lnTo>
                        <a:lnTo>
                          <a:pt x="97" y="1453"/>
                        </a:lnTo>
                        <a:lnTo>
                          <a:pt x="83" y="1441"/>
                        </a:lnTo>
                        <a:lnTo>
                          <a:pt x="92" y="1436"/>
                        </a:lnTo>
                        <a:lnTo>
                          <a:pt x="120" y="1424"/>
                        </a:lnTo>
                        <a:lnTo>
                          <a:pt x="92" y="1436"/>
                        </a:lnTo>
                        <a:lnTo>
                          <a:pt x="83" y="1441"/>
                        </a:lnTo>
                        <a:lnTo>
                          <a:pt x="66" y="1424"/>
                        </a:lnTo>
                        <a:lnTo>
                          <a:pt x="92" y="1403"/>
                        </a:lnTo>
                        <a:lnTo>
                          <a:pt x="113" y="1391"/>
                        </a:lnTo>
                        <a:lnTo>
                          <a:pt x="92" y="1403"/>
                        </a:lnTo>
                        <a:lnTo>
                          <a:pt x="76" y="1391"/>
                        </a:lnTo>
                        <a:lnTo>
                          <a:pt x="97" y="1379"/>
                        </a:lnTo>
                        <a:lnTo>
                          <a:pt x="113" y="1370"/>
                        </a:lnTo>
                        <a:lnTo>
                          <a:pt x="97" y="1370"/>
                        </a:lnTo>
                        <a:lnTo>
                          <a:pt x="76" y="1391"/>
                        </a:lnTo>
                        <a:lnTo>
                          <a:pt x="76" y="1386"/>
                        </a:lnTo>
                        <a:lnTo>
                          <a:pt x="92" y="1379"/>
                        </a:lnTo>
                        <a:lnTo>
                          <a:pt x="66" y="1379"/>
                        </a:lnTo>
                        <a:lnTo>
                          <a:pt x="54" y="1386"/>
                        </a:lnTo>
                        <a:lnTo>
                          <a:pt x="66" y="1386"/>
                        </a:lnTo>
                        <a:lnTo>
                          <a:pt x="66" y="1391"/>
                        </a:lnTo>
                        <a:lnTo>
                          <a:pt x="59" y="1403"/>
                        </a:lnTo>
                        <a:lnTo>
                          <a:pt x="54" y="1391"/>
                        </a:lnTo>
                        <a:lnTo>
                          <a:pt x="45" y="1403"/>
                        </a:lnTo>
                        <a:lnTo>
                          <a:pt x="28" y="1391"/>
                        </a:lnTo>
                        <a:lnTo>
                          <a:pt x="21" y="1379"/>
                        </a:lnTo>
                        <a:lnTo>
                          <a:pt x="45" y="1353"/>
                        </a:lnTo>
                        <a:lnTo>
                          <a:pt x="45" y="1379"/>
                        </a:lnTo>
                        <a:lnTo>
                          <a:pt x="54" y="1363"/>
                        </a:lnTo>
                        <a:lnTo>
                          <a:pt x="97" y="1337"/>
                        </a:lnTo>
                        <a:lnTo>
                          <a:pt x="76" y="1353"/>
                        </a:lnTo>
                        <a:lnTo>
                          <a:pt x="59" y="1337"/>
                        </a:lnTo>
                        <a:lnTo>
                          <a:pt x="76" y="1330"/>
                        </a:lnTo>
                        <a:lnTo>
                          <a:pt x="92" y="1292"/>
                        </a:lnTo>
                        <a:lnTo>
                          <a:pt x="120" y="1280"/>
                        </a:lnTo>
                        <a:lnTo>
                          <a:pt x="113" y="1313"/>
                        </a:lnTo>
                        <a:lnTo>
                          <a:pt x="120" y="1280"/>
                        </a:lnTo>
                        <a:lnTo>
                          <a:pt x="163" y="1268"/>
                        </a:lnTo>
                        <a:lnTo>
                          <a:pt x="146" y="1268"/>
                        </a:lnTo>
                        <a:lnTo>
                          <a:pt x="151" y="1259"/>
                        </a:lnTo>
                        <a:lnTo>
                          <a:pt x="130" y="1275"/>
                        </a:lnTo>
                        <a:lnTo>
                          <a:pt x="97" y="1280"/>
                        </a:lnTo>
                        <a:lnTo>
                          <a:pt x="92" y="1297"/>
                        </a:lnTo>
                        <a:lnTo>
                          <a:pt x="76" y="1297"/>
                        </a:lnTo>
                        <a:lnTo>
                          <a:pt x="66" y="1325"/>
                        </a:lnTo>
                        <a:lnTo>
                          <a:pt x="59" y="1325"/>
                        </a:lnTo>
                        <a:lnTo>
                          <a:pt x="54" y="1308"/>
                        </a:lnTo>
                        <a:lnTo>
                          <a:pt x="45" y="1308"/>
                        </a:lnTo>
                        <a:lnTo>
                          <a:pt x="59" y="1280"/>
                        </a:lnTo>
                        <a:lnTo>
                          <a:pt x="38" y="1308"/>
                        </a:lnTo>
                        <a:lnTo>
                          <a:pt x="21" y="1297"/>
                        </a:lnTo>
                        <a:lnTo>
                          <a:pt x="28" y="1297"/>
                        </a:lnTo>
                        <a:lnTo>
                          <a:pt x="21" y="1292"/>
                        </a:lnTo>
                        <a:lnTo>
                          <a:pt x="28" y="1268"/>
                        </a:lnTo>
                        <a:lnTo>
                          <a:pt x="54" y="1280"/>
                        </a:lnTo>
                        <a:lnTo>
                          <a:pt x="59" y="1252"/>
                        </a:lnTo>
                        <a:lnTo>
                          <a:pt x="54" y="1242"/>
                        </a:lnTo>
                        <a:lnTo>
                          <a:pt x="28" y="1268"/>
                        </a:lnTo>
                        <a:lnTo>
                          <a:pt x="12" y="1252"/>
                        </a:lnTo>
                        <a:lnTo>
                          <a:pt x="28" y="1259"/>
                        </a:lnTo>
                        <a:lnTo>
                          <a:pt x="21" y="1242"/>
                        </a:lnTo>
                        <a:lnTo>
                          <a:pt x="7" y="1235"/>
                        </a:lnTo>
                        <a:lnTo>
                          <a:pt x="38" y="1259"/>
                        </a:lnTo>
                        <a:lnTo>
                          <a:pt x="28" y="1242"/>
                        </a:lnTo>
                        <a:lnTo>
                          <a:pt x="45" y="1226"/>
                        </a:lnTo>
                        <a:lnTo>
                          <a:pt x="12" y="1235"/>
                        </a:lnTo>
                        <a:lnTo>
                          <a:pt x="12" y="1214"/>
                        </a:lnTo>
                        <a:lnTo>
                          <a:pt x="76" y="1202"/>
                        </a:lnTo>
                        <a:lnTo>
                          <a:pt x="109" y="1214"/>
                        </a:lnTo>
                        <a:lnTo>
                          <a:pt x="135" y="1202"/>
                        </a:lnTo>
                        <a:lnTo>
                          <a:pt x="163" y="1226"/>
                        </a:lnTo>
                        <a:lnTo>
                          <a:pt x="163" y="1219"/>
                        </a:lnTo>
                        <a:lnTo>
                          <a:pt x="151" y="1202"/>
                        </a:lnTo>
                        <a:lnTo>
                          <a:pt x="184" y="1197"/>
                        </a:lnTo>
                        <a:lnTo>
                          <a:pt x="168" y="1181"/>
                        </a:lnTo>
                        <a:lnTo>
                          <a:pt x="189" y="1164"/>
                        </a:lnTo>
                        <a:lnTo>
                          <a:pt x="168" y="1181"/>
                        </a:lnTo>
                        <a:lnTo>
                          <a:pt x="172" y="1197"/>
                        </a:lnTo>
                        <a:lnTo>
                          <a:pt x="146" y="1202"/>
                        </a:lnTo>
                        <a:lnTo>
                          <a:pt x="120" y="1186"/>
                        </a:lnTo>
                        <a:lnTo>
                          <a:pt x="130" y="1169"/>
                        </a:lnTo>
                        <a:lnTo>
                          <a:pt x="109" y="1202"/>
                        </a:lnTo>
                        <a:lnTo>
                          <a:pt x="59" y="1197"/>
                        </a:lnTo>
                        <a:lnTo>
                          <a:pt x="38" y="1214"/>
                        </a:lnTo>
                        <a:lnTo>
                          <a:pt x="12" y="1197"/>
                        </a:lnTo>
                        <a:lnTo>
                          <a:pt x="28" y="1197"/>
                        </a:lnTo>
                        <a:lnTo>
                          <a:pt x="7" y="1186"/>
                        </a:lnTo>
                        <a:lnTo>
                          <a:pt x="54" y="1181"/>
                        </a:lnTo>
                        <a:lnTo>
                          <a:pt x="12" y="1181"/>
                        </a:lnTo>
                        <a:lnTo>
                          <a:pt x="7" y="1169"/>
                        </a:lnTo>
                        <a:lnTo>
                          <a:pt x="66" y="1164"/>
                        </a:lnTo>
                        <a:lnTo>
                          <a:pt x="21" y="1164"/>
                        </a:lnTo>
                        <a:lnTo>
                          <a:pt x="21" y="1160"/>
                        </a:lnTo>
                        <a:lnTo>
                          <a:pt x="28" y="1160"/>
                        </a:lnTo>
                        <a:lnTo>
                          <a:pt x="21" y="1148"/>
                        </a:lnTo>
                        <a:lnTo>
                          <a:pt x="38" y="1148"/>
                        </a:lnTo>
                        <a:lnTo>
                          <a:pt x="7" y="1141"/>
                        </a:lnTo>
                        <a:lnTo>
                          <a:pt x="38" y="1115"/>
                        </a:lnTo>
                        <a:lnTo>
                          <a:pt x="113" y="1124"/>
                        </a:lnTo>
                        <a:lnTo>
                          <a:pt x="130" y="1115"/>
                        </a:lnTo>
                        <a:lnTo>
                          <a:pt x="21" y="1115"/>
                        </a:lnTo>
                        <a:lnTo>
                          <a:pt x="21" y="1108"/>
                        </a:lnTo>
                        <a:lnTo>
                          <a:pt x="38" y="1103"/>
                        </a:lnTo>
                        <a:lnTo>
                          <a:pt x="12" y="1086"/>
                        </a:lnTo>
                        <a:lnTo>
                          <a:pt x="21" y="1086"/>
                        </a:lnTo>
                        <a:lnTo>
                          <a:pt x="45" y="1108"/>
                        </a:lnTo>
                        <a:lnTo>
                          <a:pt x="45" y="1091"/>
                        </a:lnTo>
                        <a:lnTo>
                          <a:pt x="38" y="1091"/>
                        </a:lnTo>
                        <a:lnTo>
                          <a:pt x="38" y="1086"/>
                        </a:lnTo>
                        <a:lnTo>
                          <a:pt x="66" y="1086"/>
                        </a:lnTo>
                        <a:lnTo>
                          <a:pt x="76" y="1091"/>
                        </a:lnTo>
                        <a:lnTo>
                          <a:pt x="109" y="1103"/>
                        </a:lnTo>
                        <a:lnTo>
                          <a:pt x="76" y="1086"/>
                        </a:lnTo>
                        <a:lnTo>
                          <a:pt x="97" y="1058"/>
                        </a:lnTo>
                        <a:lnTo>
                          <a:pt x="113" y="1091"/>
                        </a:lnTo>
                        <a:lnTo>
                          <a:pt x="120" y="1091"/>
                        </a:lnTo>
                        <a:lnTo>
                          <a:pt x="109" y="1058"/>
                        </a:lnTo>
                        <a:lnTo>
                          <a:pt x="130" y="1053"/>
                        </a:lnTo>
                        <a:lnTo>
                          <a:pt x="146" y="1058"/>
                        </a:lnTo>
                        <a:lnTo>
                          <a:pt x="151" y="1075"/>
                        </a:lnTo>
                        <a:lnTo>
                          <a:pt x="146" y="1091"/>
                        </a:lnTo>
                        <a:lnTo>
                          <a:pt x="151" y="1091"/>
                        </a:lnTo>
                        <a:lnTo>
                          <a:pt x="146" y="1091"/>
                        </a:lnTo>
                        <a:lnTo>
                          <a:pt x="151" y="1075"/>
                        </a:lnTo>
                        <a:lnTo>
                          <a:pt x="172" y="1075"/>
                        </a:lnTo>
                        <a:lnTo>
                          <a:pt x="146" y="1070"/>
                        </a:lnTo>
                        <a:lnTo>
                          <a:pt x="135" y="1053"/>
                        </a:lnTo>
                        <a:lnTo>
                          <a:pt x="97" y="1053"/>
                        </a:lnTo>
                        <a:lnTo>
                          <a:pt x="120" y="1053"/>
                        </a:lnTo>
                        <a:lnTo>
                          <a:pt x="97" y="1037"/>
                        </a:lnTo>
                        <a:lnTo>
                          <a:pt x="151" y="1032"/>
                        </a:lnTo>
                        <a:lnTo>
                          <a:pt x="189" y="1053"/>
                        </a:lnTo>
                        <a:lnTo>
                          <a:pt x="206" y="1049"/>
                        </a:lnTo>
                        <a:lnTo>
                          <a:pt x="172" y="1037"/>
                        </a:lnTo>
                        <a:lnTo>
                          <a:pt x="206" y="1020"/>
                        </a:lnTo>
                        <a:lnTo>
                          <a:pt x="227" y="1032"/>
                        </a:lnTo>
                        <a:lnTo>
                          <a:pt x="222" y="1020"/>
                        </a:lnTo>
                        <a:lnTo>
                          <a:pt x="172" y="1020"/>
                        </a:lnTo>
                        <a:lnTo>
                          <a:pt x="201" y="1013"/>
                        </a:lnTo>
                        <a:lnTo>
                          <a:pt x="189" y="1013"/>
                        </a:lnTo>
                        <a:lnTo>
                          <a:pt x="146" y="1020"/>
                        </a:lnTo>
                        <a:lnTo>
                          <a:pt x="146" y="997"/>
                        </a:lnTo>
                        <a:lnTo>
                          <a:pt x="168" y="992"/>
                        </a:lnTo>
                        <a:lnTo>
                          <a:pt x="184" y="1004"/>
                        </a:lnTo>
                        <a:lnTo>
                          <a:pt x="222" y="997"/>
                        </a:lnTo>
                        <a:lnTo>
                          <a:pt x="227" y="1013"/>
                        </a:lnTo>
                        <a:lnTo>
                          <a:pt x="260" y="1032"/>
                        </a:lnTo>
                        <a:lnTo>
                          <a:pt x="260" y="1020"/>
                        </a:lnTo>
                        <a:lnTo>
                          <a:pt x="227" y="1013"/>
                        </a:lnTo>
                        <a:lnTo>
                          <a:pt x="227" y="997"/>
                        </a:lnTo>
                        <a:lnTo>
                          <a:pt x="217" y="992"/>
                        </a:lnTo>
                        <a:lnTo>
                          <a:pt x="227" y="980"/>
                        </a:lnTo>
                        <a:lnTo>
                          <a:pt x="243" y="1004"/>
                        </a:lnTo>
                        <a:lnTo>
                          <a:pt x="260" y="1013"/>
                        </a:lnTo>
                        <a:lnTo>
                          <a:pt x="255" y="997"/>
                        </a:lnTo>
                        <a:lnTo>
                          <a:pt x="272" y="997"/>
                        </a:lnTo>
                        <a:lnTo>
                          <a:pt x="243" y="997"/>
                        </a:lnTo>
                        <a:lnTo>
                          <a:pt x="227" y="980"/>
                        </a:lnTo>
                        <a:lnTo>
                          <a:pt x="281" y="975"/>
                        </a:lnTo>
                        <a:lnTo>
                          <a:pt x="260" y="975"/>
                        </a:lnTo>
                        <a:lnTo>
                          <a:pt x="255" y="959"/>
                        </a:lnTo>
                        <a:lnTo>
                          <a:pt x="276" y="959"/>
                        </a:lnTo>
                        <a:lnTo>
                          <a:pt x="272" y="947"/>
                        </a:lnTo>
                        <a:lnTo>
                          <a:pt x="293" y="942"/>
                        </a:lnTo>
                        <a:lnTo>
                          <a:pt x="309" y="947"/>
                        </a:lnTo>
                        <a:lnTo>
                          <a:pt x="324" y="947"/>
                        </a:lnTo>
                        <a:lnTo>
                          <a:pt x="309" y="947"/>
                        </a:lnTo>
                        <a:lnTo>
                          <a:pt x="298" y="942"/>
                        </a:lnTo>
                        <a:lnTo>
                          <a:pt x="331" y="926"/>
                        </a:lnTo>
                        <a:lnTo>
                          <a:pt x="335" y="921"/>
                        </a:lnTo>
                        <a:lnTo>
                          <a:pt x="361" y="947"/>
                        </a:lnTo>
                        <a:lnTo>
                          <a:pt x="378" y="964"/>
                        </a:lnTo>
                        <a:lnTo>
                          <a:pt x="378" y="959"/>
                        </a:lnTo>
                        <a:lnTo>
                          <a:pt x="361" y="947"/>
                        </a:lnTo>
                        <a:lnTo>
                          <a:pt x="423" y="942"/>
                        </a:lnTo>
                        <a:lnTo>
                          <a:pt x="416" y="938"/>
                        </a:lnTo>
                        <a:lnTo>
                          <a:pt x="423" y="926"/>
                        </a:lnTo>
                        <a:lnTo>
                          <a:pt x="406" y="938"/>
                        </a:lnTo>
                        <a:lnTo>
                          <a:pt x="432" y="909"/>
                        </a:lnTo>
                        <a:lnTo>
                          <a:pt x="461" y="905"/>
                        </a:lnTo>
                        <a:lnTo>
                          <a:pt x="437" y="893"/>
                        </a:lnTo>
                        <a:lnTo>
                          <a:pt x="461" y="881"/>
                        </a:lnTo>
                        <a:lnTo>
                          <a:pt x="454" y="881"/>
                        </a:lnTo>
                        <a:lnTo>
                          <a:pt x="454" y="864"/>
                        </a:lnTo>
                        <a:lnTo>
                          <a:pt x="399" y="905"/>
                        </a:lnTo>
                        <a:lnTo>
                          <a:pt x="423" y="893"/>
                        </a:lnTo>
                        <a:lnTo>
                          <a:pt x="437" y="893"/>
                        </a:lnTo>
                        <a:lnTo>
                          <a:pt x="423" y="909"/>
                        </a:lnTo>
                        <a:lnTo>
                          <a:pt x="361" y="938"/>
                        </a:lnTo>
                        <a:lnTo>
                          <a:pt x="352" y="938"/>
                        </a:lnTo>
                        <a:lnTo>
                          <a:pt x="347" y="921"/>
                        </a:lnTo>
                        <a:lnTo>
                          <a:pt x="368" y="909"/>
                        </a:lnTo>
                        <a:lnTo>
                          <a:pt x="331" y="921"/>
                        </a:lnTo>
                        <a:lnTo>
                          <a:pt x="331" y="909"/>
                        </a:lnTo>
                        <a:lnTo>
                          <a:pt x="378" y="886"/>
                        </a:lnTo>
                        <a:lnTo>
                          <a:pt x="361" y="881"/>
                        </a:lnTo>
                        <a:lnTo>
                          <a:pt x="368" y="853"/>
                        </a:lnTo>
                        <a:lnTo>
                          <a:pt x="390" y="836"/>
                        </a:lnTo>
                        <a:lnTo>
                          <a:pt x="406" y="836"/>
                        </a:lnTo>
                        <a:lnTo>
                          <a:pt x="390" y="831"/>
                        </a:lnTo>
                        <a:lnTo>
                          <a:pt x="423" y="836"/>
                        </a:lnTo>
                        <a:lnTo>
                          <a:pt x="406" y="831"/>
                        </a:lnTo>
                        <a:lnTo>
                          <a:pt x="423" y="827"/>
                        </a:lnTo>
                        <a:lnTo>
                          <a:pt x="432" y="810"/>
                        </a:lnTo>
                        <a:lnTo>
                          <a:pt x="444" y="827"/>
                        </a:lnTo>
                        <a:lnTo>
                          <a:pt x="444" y="836"/>
                        </a:lnTo>
                        <a:lnTo>
                          <a:pt x="470" y="815"/>
                        </a:lnTo>
                        <a:lnTo>
                          <a:pt x="487" y="815"/>
                        </a:lnTo>
                        <a:lnTo>
                          <a:pt x="470" y="815"/>
                        </a:lnTo>
                        <a:lnTo>
                          <a:pt x="461" y="798"/>
                        </a:lnTo>
                        <a:lnTo>
                          <a:pt x="491" y="782"/>
                        </a:lnTo>
                        <a:lnTo>
                          <a:pt x="475" y="782"/>
                        </a:lnTo>
                        <a:lnTo>
                          <a:pt x="487" y="777"/>
                        </a:lnTo>
                        <a:lnTo>
                          <a:pt x="513" y="770"/>
                        </a:lnTo>
                        <a:lnTo>
                          <a:pt x="498" y="770"/>
                        </a:lnTo>
                        <a:lnTo>
                          <a:pt x="444" y="794"/>
                        </a:lnTo>
                        <a:lnTo>
                          <a:pt x="454" y="782"/>
                        </a:lnTo>
                        <a:lnTo>
                          <a:pt x="444" y="782"/>
                        </a:lnTo>
                        <a:lnTo>
                          <a:pt x="475" y="777"/>
                        </a:lnTo>
                        <a:lnTo>
                          <a:pt x="444" y="782"/>
                        </a:lnTo>
                        <a:lnTo>
                          <a:pt x="454" y="777"/>
                        </a:lnTo>
                        <a:lnTo>
                          <a:pt x="546" y="742"/>
                        </a:lnTo>
                        <a:lnTo>
                          <a:pt x="567" y="725"/>
                        </a:lnTo>
                        <a:lnTo>
                          <a:pt x="529" y="742"/>
                        </a:lnTo>
                        <a:lnTo>
                          <a:pt x="524" y="742"/>
                        </a:lnTo>
                        <a:lnTo>
                          <a:pt x="546" y="737"/>
                        </a:lnTo>
                        <a:lnTo>
                          <a:pt x="513" y="737"/>
                        </a:lnTo>
                        <a:lnTo>
                          <a:pt x="541" y="720"/>
                        </a:lnTo>
                        <a:lnTo>
                          <a:pt x="529" y="716"/>
                        </a:lnTo>
                        <a:lnTo>
                          <a:pt x="546" y="716"/>
                        </a:lnTo>
                        <a:lnTo>
                          <a:pt x="529" y="699"/>
                        </a:lnTo>
                        <a:lnTo>
                          <a:pt x="524" y="687"/>
                        </a:lnTo>
                        <a:lnTo>
                          <a:pt x="541" y="683"/>
                        </a:lnTo>
                        <a:lnTo>
                          <a:pt x="550" y="687"/>
                        </a:lnTo>
                        <a:lnTo>
                          <a:pt x="541" y="671"/>
                        </a:lnTo>
                        <a:lnTo>
                          <a:pt x="546" y="659"/>
                        </a:lnTo>
                        <a:lnTo>
                          <a:pt x="562" y="649"/>
                        </a:lnTo>
                        <a:lnTo>
                          <a:pt x="583" y="666"/>
                        </a:lnTo>
                        <a:lnTo>
                          <a:pt x="579" y="649"/>
                        </a:lnTo>
                        <a:lnTo>
                          <a:pt x="567" y="649"/>
                        </a:lnTo>
                        <a:lnTo>
                          <a:pt x="567" y="642"/>
                        </a:lnTo>
                        <a:lnTo>
                          <a:pt x="546" y="642"/>
                        </a:lnTo>
                        <a:lnTo>
                          <a:pt x="605" y="614"/>
                        </a:lnTo>
                        <a:lnTo>
                          <a:pt x="605" y="631"/>
                        </a:lnTo>
                        <a:lnTo>
                          <a:pt x="617" y="614"/>
                        </a:lnTo>
                        <a:lnTo>
                          <a:pt x="654" y="609"/>
                        </a:lnTo>
                        <a:lnTo>
                          <a:pt x="567" y="626"/>
                        </a:lnTo>
                        <a:lnTo>
                          <a:pt x="605" y="609"/>
                        </a:lnTo>
                        <a:lnTo>
                          <a:pt x="567" y="609"/>
                        </a:lnTo>
                        <a:lnTo>
                          <a:pt x="583" y="593"/>
                        </a:lnTo>
                        <a:lnTo>
                          <a:pt x="567" y="588"/>
                        </a:lnTo>
                        <a:lnTo>
                          <a:pt x="621" y="572"/>
                        </a:lnTo>
                        <a:lnTo>
                          <a:pt x="583" y="576"/>
                        </a:lnTo>
                        <a:lnTo>
                          <a:pt x="583" y="572"/>
                        </a:lnTo>
                        <a:lnTo>
                          <a:pt x="605" y="572"/>
                        </a:lnTo>
                        <a:lnTo>
                          <a:pt x="583" y="560"/>
                        </a:lnTo>
                        <a:lnTo>
                          <a:pt x="621" y="560"/>
                        </a:lnTo>
                        <a:lnTo>
                          <a:pt x="633" y="560"/>
                        </a:lnTo>
                        <a:lnTo>
                          <a:pt x="605" y="560"/>
                        </a:lnTo>
                        <a:lnTo>
                          <a:pt x="621" y="555"/>
                        </a:lnTo>
                        <a:lnTo>
                          <a:pt x="605" y="555"/>
                        </a:lnTo>
                        <a:lnTo>
                          <a:pt x="638" y="555"/>
                        </a:lnTo>
                        <a:lnTo>
                          <a:pt x="605" y="531"/>
                        </a:lnTo>
                        <a:lnTo>
                          <a:pt x="687" y="522"/>
                        </a:lnTo>
                        <a:lnTo>
                          <a:pt x="659" y="515"/>
                        </a:lnTo>
                        <a:lnTo>
                          <a:pt x="659" y="503"/>
                        </a:lnTo>
                        <a:lnTo>
                          <a:pt x="692" y="503"/>
                        </a:lnTo>
                        <a:lnTo>
                          <a:pt x="676" y="503"/>
                        </a:lnTo>
                        <a:lnTo>
                          <a:pt x="676" y="498"/>
                        </a:lnTo>
                        <a:lnTo>
                          <a:pt x="709" y="498"/>
                        </a:lnTo>
                        <a:lnTo>
                          <a:pt x="702" y="503"/>
                        </a:lnTo>
                        <a:lnTo>
                          <a:pt x="709" y="515"/>
                        </a:lnTo>
                        <a:lnTo>
                          <a:pt x="709" y="503"/>
                        </a:lnTo>
                        <a:lnTo>
                          <a:pt x="709" y="498"/>
                        </a:lnTo>
                        <a:lnTo>
                          <a:pt x="730" y="503"/>
                        </a:lnTo>
                        <a:lnTo>
                          <a:pt x="746" y="515"/>
                        </a:lnTo>
                        <a:lnTo>
                          <a:pt x="739" y="498"/>
                        </a:lnTo>
                        <a:lnTo>
                          <a:pt x="763" y="503"/>
                        </a:lnTo>
                        <a:lnTo>
                          <a:pt x="713" y="498"/>
                        </a:lnTo>
                        <a:lnTo>
                          <a:pt x="725" y="494"/>
                        </a:lnTo>
                        <a:lnTo>
                          <a:pt x="687" y="498"/>
                        </a:lnTo>
                        <a:lnTo>
                          <a:pt x="671" y="498"/>
                        </a:lnTo>
                        <a:lnTo>
                          <a:pt x="687" y="477"/>
                        </a:lnTo>
                        <a:lnTo>
                          <a:pt x="709" y="477"/>
                        </a:lnTo>
                        <a:lnTo>
                          <a:pt x="692" y="465"/>
                        </a:lnTo>
                        <a:lnTo>
                          <a:pt x="713" y="460"/>
                        </a:lnTo>
                        <a:lnTo>
                          <a:pt x="725" y="460"/>
                        </a:lnTo>
                        <a:lnTo>
                          <a:pt x="709" y="465"/>
                        </a:lnTo>
                        <a:lnTo>
                          <a:pt x="739" y="465"/>
                        </a:lnTo>
                        <a:lnTo>
                          <a:pt x="756" y="494"/>
                        </a:lnTo>
                        <a:lnTo>
                          <a:pt x="763" y="494"/>
                        </a:lnTo>
                        <a:lnTo>
                          <a:pt x="746" y="465"/>
                        </a:lnTo>
                        <a:lnTo>
                          <a:pt x="777" y="460"/>
                        </a:lnTo>
                        <a:lnTo>
                          <a:pt x="730" y="460"/>
                        </a:lnTo>
                        <a:lnTo>
                          <a:pt x="725" y="449"/>
                        </a:lnTo>
                        <a:lnTo>
                          <a:pt x="730" y="437"/>
                        </a:lnTo>
                        <a:lnTo>
                          <a:pt x="768" y="444"/>
                        </a:lnTo>
                        <a:lnTo>
                          <a:pt x="739" y="427"/>
                        </a:lnTo>
                        <a:lnTo>
                          <a:pt x="692" y="444"/>
                        </a:lnTo>
                        <a:lnTo>
                          <a:pt x="692" y="437"/>
                        </a:lnTo>
                        <a:lnTo>
                          <a:pt x="713" y="437"/>
                        </a:lnTo>
                        <a:lnTo>
                          <a:pt x="692" y="427"/>
                        </a:lnTo>
                        <a:lnTo>
                          <a:pt x="713" y="420"/>
                        </a:lnTo>
                        <a:lnTo>
                          <a:pt x="702" y="420"/>
                        </a:lnTo>
                        <a:lnTo>
                          <a:pt x="709" y="420"/>
                        </a:lnTo>
                        <a:lnTo>
                          <a:pt x="768" y="411"/>
                        </a:lnTo>
                        <a:lnTo>
                          <a:pt x="777" y="404"/>
                        </a:lnTo>
                        <a:lnTo>
                          <a:pt x="730" y="394"/>
                        </a:lnTo>
                        <a:lnTo>
                          <a:pt x="746" y="387"/>
                        </a:lnTo>
                        <a:lnTo>
                          <a:pt x="763" y="387"/>
                        </a:lnTo>
                        <a:lnTo>
                          <a:pt x="756" y="394"/>
                        </a:lnTo>
                        <a:lnTo>
                          <a:pt x="768" y="387"/>
                        </a:lnTo>
                        <a:lnTo>
                          <a:pt x="777" y="371"/>
                        </a:lnTo>
                        <a:lnTo>
                          <a:pt x="784" y="383"/>
                        </a:lnTo>
                        <a:lnTo>
                          <a:pt x="794" y="420"/>
                        </a:lnTo>
                        <a:lnTo>
                          <a:pt x="815" y="427"/>
                        </a:lnTo>
                        <a:lnTo>
                          <a:pt x="801" y="420"/>
                        </a:lnTo>
                        <a:lnTo>
                          <a:pt x="794" y="404"/>
                        </a:lnTo>
                        <a:lnTo>
                          <a:pt x="815" y="411"/>
                        </a:lnTo>
                        <a:lnTo>
                          <a:pt x="810" y="394"/>
                        </a:lnTo>
                        <a:lnTo>
                          <a:pt x="831" y="394"/>
                        </a:lnTo>
                        <a:lnTo>
                          <a:pt x="810" y="394"/>
                        </a:lnTo>
                        <a:lnTo>
                          <a:pt x="801" y="387"/>
                        </a:lnTo>
                        <a:lnTo>
                          <a:pt x="815" y="383"/>
                        </a:lnTo>
                        <a:lnTo>
                          <a:pt x="794" y="383"/>
                        </a:lnTo>
                        <a:lnTo>
                          <a:pt x="801" y="371"/>
                        </a:lnTo>
                        <a:lnTo>
                          <a:pt x="784" y="371"/>
                        </a:lnTo>
                        <a:lnTo>
                          <a:pt x="815" y="371"/>
                        </a:lnTo>
                        <a:lnTo>
                          <a:pt x="839" y="387"/>
                        </a:lnTo>
                        <a:lnTo>
                          <a:pt x="794" y="366"/>
                        </a:lnTo>
                        <a:lnTo>
                          <a:pt x="801" y="354"/>
                        </a:lnTo>
                        <a:lnTo>
                          <a:pt x="865" y="354"/>
                        </a:lnTo>
                        <a:lnTo>
                          <a:pt x="876" y="383"/>
                        </a:lnTo>
                        <a:lnTo>
                          <a:pt x="876" y="371"/>
                        </a:lnTo>
                        <a:lnTo>
                          <a:pt x="865" y="354"/>
                        </a:lnTo>
                        <a:lnTo>
                          <a:pt x="891" y="354"/>
                        </a:lnTo>
                        <a:lnTo>
                          <a:pt x="876" y="349"/>
                        </a:lnTo>
                        <a:lnTo>
                          <a:pt x="891" y="349"/>
                        </a:lnTo>
                        <a:lnTo>
                          <a:pt x="891" y="338"/>
                        </a:lnTo>
                        <a:lnTo>
                          <a:pt x="853" y="349"/>
                        </a:lnTo>
                        <a:lnTo>
                          <a:pt x="853" y="338"/>
                        </a:lnTo>
                        <a:lnTo>
                          <a:pt x="848" y="338"/>
                        </a:lnTo>
                        <a:lnTo>
                          <a:pt x="815" y="349"/>
                        </a:lnTo>
                        <a:lnTo>
                          <a:pt x="815" y="338"/>
                        </a:lnTo>
                        <a:lnTo>
                          <a:pt x="822" y="333"/>
                        </a:lnTo>
                        <a:lnTo>
                          <a:pt x="822" y="326"/>
                        </a:lnTo>
                        <a:lnTo>
                          <a:pt x="848" y="316"/>
                        </a:lnTo>
                        <a:lnTo>
                          <a:pt x="902" y="326"/>
                        </a:lnTo>
                        <a:lnTo>
                          <a:pt x="869" y="309"/>
                        </a:lnTo>
                        <a:lnTo>
                          <a:pt x="886" y="300"/>
                        </a:lnTo>
                        <a:lnTo>
                          <a:pt x="907" y="309"/>
                        </a:lnTo>
                        <a:lnTo>
                          <a:pt x="886" y="300"/>
                        </a:lnTo>
                        <a:lnTo>
                          <a:pt x="907" y="293"/>
                        </a:lnTo>
                        <a:lnTo>
                          <a:pt x="876" y="293"/>
                        </a:lnTo>
                        <a:lnTo>
                          <a:pt x="891" y="260"/>
                        </a:lnTo>
                        <a:lnTo>
                          <a:pt x="928" y="260"/>
                        </a:lnTo>
                        <a:lnTo>
                          <a:pt x="924" y="243"/>
                        </a:lnTo>
                        <a:lnTo>
                          <a:pt x="940" y="215"/>
                        </a:lnTo>
                        <a:lnTo>
                          <a:pt x="973" y="243"/>
                        </a:lnTo>
                        <a:lnTo>
                          <a:pt x="978" y="238"/>
                        </a:lnTo>
                        <a:lnTo>
                          <a:pt x="994" y="243"/>
                        </a:lnTo>
                        <a:lnTo>
                          <a:pt x="957" y="222"/>
                        </a:lnTo>
                        <a:lnTo>
                          <a:pt x="957" y="215"/>
                        </a:lnTo>
                        <a:lnTo>
                          <a:pt x="978" y="205"/>
                        </a:lnTo>
                        <a:lnTo>
                          <a:pt x="994" y="227"/>
                        </a:lnTo>
                        <a:lnTo>
                          <a:pt x="1016" y="238"/>
                        </a:lnTo>
                        <a:lnTo>
                          <a:pt x="999" y="243"/>
                        </a:lnTo>
                        <a:lnTo>
                          <a:pt x="1028" y="243"/>
                        </a:lnTo>
                        <a:lnTo>
                          <a:pt x="1028" y="238"/>
                        </a:lnTo>
                        <a:lnTo>
                          <a:pt x="994" y="222"/>
                        </a:lnTo>
                        <a:lnTo>
                          <a:pt x="1011" y="215"/>
                        </a:lnTo>
                        <a:lnTo>
                          <a:pt x="1011" y="205"/>
                        </a:lnTo>
                        <a:lnTo>
                          <a:pt x="994" y="215"/>
                        </a:lnTo>
                        <a:lnTo>
                          <a:pt x="983" y="198"/>
                        </a:lnTo>
                        <a:lnTo>
                          <a:pt x="1011" y="182"/>
                        </a:lnTo>
                        <a:lnTo>
                          <a:pt x="1049" y="172"/>
                        </a:lnTo>
                        <a:lnTo>
                          <a:pt x="1042" y="198"/>
                        </a:lnTo>
                        <a:lnTo>
                          <a:pt x="1032" y="227"/>
                        </a:lnTo>
                        <a:lnTo>
                          <a:pt x="1042" y="222"/>
                        </a:lnTo>
                        <a:lnTo>
                          <a:pt x="1049" y="189"/>
                        </a:lnTo>
                        <a:lnTo>
                          <a:pt x="1087" y="160"/>
                        </a:lnTo>
                        <a:lnTo>
                          <a:pt x="1096" y="165"/>
                        </a:lnTo>
                        <a:lnTo>
                          <a:pt x="1080" y="222"/>
                        </a:lnTo>
                        <a:lnTo>
                          <a:pt x="1054" y="243"/>
                        </a:lnTo>
                        <a:lnTo>
                          <a:pt x="1096" y="205"/>
                        </a:lnTo>
                        <a:lnTo>
                          <a:pt x="1124" y="215"/>
                        </a:lnTo>
                        <a:lnTo>
                          <a:pt x="1096" y="198"/>
                        </a:lnTo>
                        <a:lnTo>
                          <a:pt x="1103" y="182"/>
                        </a:lnTo>
                        <a:lnTo>
                          <a:pt x="1141" y="160"/>
                        </a:lnTo>
                        <a:lnTo>
                          <a:pt x="1124" y="165"/>
                        </a:lnTo>
                        <a:lnTo>
                          <a:pt x="1134" y="172"/>
                        </a:lnTo>
                        <a:lnTo>
                          <a:pt x="1155" y="149"/>
                        </a:lnTo>
                        <a:lnTo>
                          <a:pt x="1209" y="182"/>
                        </a:lnTo>
                        <a:lnTo>
                          <a:pt x="1188" y="144"/>
                        </a:lnTo>
                        <a:lnTo>
                          <a:pt x="1209" y="132"/>
                        </a:lnTo>
                        <a:lnTo>
                          <a:pt x="1162" y="132"/>
                        </a:lnTo>
                        <a:lnTo>
                          <a:pt x="1150" y="127"/>
                        </a:lnTo>
                        <a:lnTo>
                          <a:pt x="1155" y="116"/>
                        </a:lnTo>
                        <a:lnTo>
                          <a:pt x="1172" y="111"/>
                        </a:lnTo>
                        <a:lnTo>
                          <a:pt x="1188" y="116"/>
                        </a:lnTo>
                        <a:lnTo>
                          <a:pt x="1205" y="111"/>
                        </a:lnTo>
                        <a:lnTo>
                          <a:pt x="1226" y="111"/>
                        </a:lnTo>
                        <a:lnTo>
                          <a:pt x="1226" y="127"/>
                        </a:lnTo>
                        <a:lnTo>
                          <a:pt x="1243" y="132"/>
                        </a:lnTo>
                        <a:lnTo>
                          <a:pt x="1226" y="127"/>
                        </a:lnTo>
                        <a:lnTo>
                          <a:pt x="1231" y="116"/>
                        </a:lnTo>
                        <a:lnTo>
                          <a:pt x="1268" y="127"/>
                        </a:lnTo>
                        <a:lnTo>
                          <a:pt x="1259" y="132"/>
                        </a:lnTo>
                        <a:lnTo>
                          <a:pt x="1226" y="144"/>
                        </a:lnTo>
                        <a:lnTo>
                          <a:pt x="1264" y="132"/>
                        </a:lnTo>
                        <a:lnTo>
                          <a:pt x="1297" y="160"/>
                        </a:lnTo>
                        <a:lnTo>
                          <a:pt x="1313" y="149"/>
                        </a:lnTo>
                        <a:lnTo>
                          <a:pt x="1285" y="144"/>
                        </a:lnTo>
                        <a:lnTo>
                          <a:pt x="1297" y="132"/>
                        </a:lnTo>
                        <a:lnTo>
                          <a:pt x="1297" y="116"/>
                        </a:lnTo>
                        <a:lnTo>
                          <a:pt x="1313" y="116"/>
                        </a:lnTo>
                        <a:lnTo>
                          <a:pt x="1302" y="116"/>
                        </a:lnTo>
                        <a:lnTo>
                          <a:pt x="1318" y="94"/>
                        </a:lnTo>
                        <a:lnTo>
                          <a:pt x="1339" y="87"/>
                        </a:lnTo>
                        <a:lnTo>
                          <a:pt x="1368" y="94"/>
                        </a:lnTo>
                        <a:lnTo>
                          <a:pt x="1356" y="78"/>
                        </a:lnTo>
                        <a:lnTo>
                          <a:pt x="1368" y="61"/>
                        </a:lnTo>
                        <a:lnTo>
                          <a:pt x="1394" y="71"/>
                        </a:lnTo>
                        <a:lnTo>
                          <a:pt x="1377" y="54"/>
                        </a:lnTo>
                        <a:lnTo>
                          <a:pt x="1356" y="49"/>
                        </a:lnTo>
                        <a:lnTo>
                          <a:pt x="1372" y="38"/>
                        </a:lnTo>
                        <a:lnTo>
                          <a:pt x="1389" y="49"/>
                        </a:lnTo>
                        <a:lnTo>
                          <a:pt x="1389" y="21"/>
                        </a:lnTo>
                        <a:lnTo>
                          <a:pt x="1405" y="33"/>
                        </a:lnTo>
                        <a:lnTo>
                          <a:pt x="1410" y="21"/>
                        </a:lnTo>
                        <a:lnTo>
                          <a:pt x="1431" y="49"/>
                        </a:lnTo>
                        <a:lnTo>
                          <a:pt x="1443" y="38"/>
                        </a:lnTo>
                        <a:lnTo>
                          <a:pt x="1443" y="21"/>
                        </a:lnTo>
                        <a:lnTo>
                          <a:pt x="1481" y="33"/>
                        </a:lnTo>
                        <a:lnTo>
                          <a:pt x="1420" y="87"/>
                        </a:lnTo>
                        <a:lnTo>
                          <a:pt x="1431" y="87"/>
                        </a:lnTo>
                        <a:lnTo>
                          <a:pt x="1431" y="104"/>
                        </a:lnTo>
                        <a:lnTo>
                          <a:pt x="1420" y="104"/>
                        </a:lnTo>
                        <a:lnTo>
                          <a:pt x="1420" y="116"/>
                        </a:lnTo>
                        <a:lnTo>
                          <a:pt x="1410" y="116"/>
                        </a:lnTo>
                        <a:lnTo>
                          <a:pt x="1410" y="144"/>
                        </a:lnTo>
                        <a:lnTo>
                          <a:pt x="1420" y="144"/>
                        </a:lnTo>
                        <a:lnTo>
                          <a:pt x="1420" y="132"/>
                        </a:lnTo>
                        <a:lnTo>
                          <a:pt x="1420" y="144"/>
                        </a:lnTo>
                        <a:lnTo>
                          <a:pt x="1427" y="144"/>
                        </a:lnTo>
                        <a:lnTo>
                          <a:pt x="1448" y="116"/>
                        </a:lnTo>
                        <a:lnTo>
                          <a:pt x="1443" y="104"/>
                        </a:lnTo>
                        <a:lnTo>
                          <a:pt x="1528" y="33"/>
                        </a:lnTo>
                        <a:lnTo>
                          <a:pt x="1533" y="33"/>
                        </a:lnTo>
                        <a:lnTo>
                          <a:pt x="1533" y="54"/>
                        </a:lnTo>
                        <a:lnTo>
                          <a:pt x="1502" y="71"/>
                        </a:lnTo>
                        <a:lnTo>
                          <a:pt x="1528" y="71"/>
                        </a:lnTo>
                        <a:lnTo>
                          <a:pt x="1519" y="104"/>
                        </a:lnTo>
                        <a:lnTo>
                          <a:pt x="1557" y="87"/>
                        </a:lnTo>
                        <a:lnTo>
                          <a:pt x="1550" y="78"/>
                        </a:lnTo>
                        <a:lnTo>
                          <a:pt x="1557" y="71"/>
                        </a:lnTo>
                        <a:lnTo>
                          <a:pt x="1571" y="78"/>
                        </a:lnTo>
                        <a:lnTo>
                          <a:pt x="1566" y="71"/>
                        </a:lnTo>
                        <a:lnTo>
                          <a:pt x="1566" y="54"/>
                        </a:lnTo>
                        <a:lnTo>
                          <a:pt x="1571" y="38"/>
                        </a:lnTo>
                        <a:lnTo>
                          <a:pt x="1594" y="49"/>
                        </a:lnTo>
                        <a:lnTo>
                          <a:pt x="1566" y="21"/>
                        </a:lnTo>
                        <a:lnTo>
                          <a:pt x="1594" y="5"/>
                        </a:lnTo>
                        <a:lnTo>
                          <a:pt x="1609" y="16"/>
                        </a:lnTo>
                        <a:lnTo>
                          <a:pt x="1637" y="5"/>
                        </a:lnTo>
                        <a:lnTo>
                          <a:pt x="1663" y="21"/>
                        </a:lnTo>
                        <a:lnTo>
                          <a:pt x="1642" y="49"/>
                        </a:lnTo>
                        <a:lnTo>
                          <a:pt x="1604" y="49"/>
                        </a:lnTo>
                        <a:lnTo>
                          <a:pt x="1637" y="54"/>
                        </a:lnTo>
                        <a:lnTo>
                          <a:pt x="1594" y="71"/>
                        </a:lnTo>
                        <a:lnTo>
                          <a:pt x="1642" y="54"/>
                        </a:lnTo>
                        <a:lnTo>
                          <a:pt x="1642" y="71"/>
                        </a:lnTo>
                        <a:lnTo>
                          <a:pt x="1609" y="87"/>
                        </a:lnTo>
                        <a:lnTo>
                          <a:pt x="1637" y="87"/>
                        </a:lnTo>
                        <a:lnTo>
                          <a:pt x="1625" y="94"/>
                        </a:lnTo>
                        <a:lnTo>
                          <a:pt x="1637" y="94"/>
                        </a:lnTo>
                        <a:lnTo>
                          <a:pt x="1646" y="87"/>
                        </a:lnTo>
                        <a:lnTo>
                          <a:pt x="1637" y="104"/>
                        </a:lnTo>
                        <a:lnTo>
                          <a:pt x="1637" y="127"/>
                        </a:lnTo>
                        <a:lnTo>
                          <a:pt x="1625" y="144"/>
                        </a:lnTo>
                        <a:lnTo>
                          <a:pt x="1642" y="127"/>
                        </a:lnTo>
                        <a:lnTo>
                          <a:pt x="1642" y="104"/>
                        </a:lnTo>
                        <a:lnTo>
                          <a:pt x="1658" y="54"/>
                        </a:lnTo>
                        <a:lnTo>
                          <a:pt x="1675" y="38"/>
                        </a:lnTo>
                        <a:lnTo>
                          <a:pt x="1696" y="38"/>
                        </a:lnTo>
                        <a:lnTo>
                          <a:pt x="1713" y="38"/>
                        </a:lnTo>
                        <a:lnTo>
                          <a:pt x="1717" y="61"/>
                        </a:lnTo>
                        <a:lnTo>
                          <a:pt x="1750" y="54"/>
                        </a:lnTo>
                        <a:lnTo>
                          <a:pt x="1746" y="71"/>
                        </a:lnTo>
                        <a:lnTo>
                          <a:pt x="1772" y="54"/>
                        </a:lnTo>
                        <a:lnTo>
                          <a:pt x="1788" y="71"/>
                        </a:lnTo>
                        <a:lnTo>
                          <a:pt x="1767" y="78"/>
                        </a:lnTo>
                        <a:lnTo>
                          <a:pt x="1805" y="78"/>
                        </a:lnTo>
                        <a:lnTo>
                          <a:pt x="1826" y="94"/>
                        </a:lnTo>
                        <a:lnTo>
                          <a:pt x="1842" y="111"/>
                        </a:lnTo>
                        <a:lnTo>
                          <a:pt x="1798" y="116"/>
                        </a:lnTo>
                        <a:lnTo>
                          <a:pt x="1772" y="144"/>
                        </a:lnTo>
                        <a:lnTo>
                          <a:pt x="1675" y="127"/>
                        </a:lnTo>
                        <a:lnTo>
                          <a:pt x="1663" y="127"/>
                        </a:lnTo>
                        <a:lnTo>
                          <a:pt x="1675" y="127"/>
                        </a:lnTo>
                        <a:lnTo>
                          <a:pt x="1663" y="132"/>
                        </a:lnTo>
                        <a:lnTo>
                          <a:pt x="1746" y="160"/>
                        </a:lnTo>
                        <a:lnTo>
                          <a:pt x="1717" y="165"/>
                        </a:lnTo>
                        <a:lnTo>
                          <a:pt x="1746" y="165"/>
                        </a:lnTo>
                        <a:lnTo>
                          <a:pt x="1750" y="172"/>
                        </a:lnTo>
                        <a:lnTo>
                          <a:pt x="1729" y="198"/>
                        </a:lnTo>
                        <a:lnTo>
                          <a:pt x="1755" y="182"/>
                        </a:lnTo>
                        <a:lnTo>
                          <a:pt x="1772" y="189"/>
                        </a:lnTo>
                        <a:lnTo>
                          <a:pt x="1772" y="182"/>
                        </a:lnTo>
                        <a:lnTo>
                          <a:pt x="1772" y="165"/>
                        </a:lnTo>
                        <a:lnTo>
                          <a:pt x="1788" y="172"/>
                        </a:lnTo>
                        <a:lnTo>
                          <a:pt x="1788" y="189"/>
                        </a:lnTo>
                        <a:lnTo>
                          <a:pt x="1798" y="189"/>
                        </a:lnTo>
                        <a:lnTo>
                          <a:pt x="1798" y="172"/>
                        </a:lnTo>
                        <a:lnTo>
                          <a:pt x="1826" y="172"/>
                        </a:lnTo>
                        <a:lnTo>
                          <a:pt x="1826" y="172"/>
                        </a:lnTo>
                        <a:lnTo>
                          <a:pt x="1826" y="172"/>
                        </a:lnTo>
                        <a:close/>
                        <a:moveTo>
                          <a:pt x="1394" y="16"/>
                        </a:moveTo>
                        <a:lnTo>
                          <a:pt x="1389" y="5"/>
                        </a:lnTo>
                        <a:lnTo>
                          <a:pt x="1405" y="5"/>
                        </a:lnTo>
                        <a:lnTo>
                          <a:pt x="1394" y="16"/>
                        </a:lnTo>
                        <a:lnTo>
                          <a:pt x="1394" y="16"/>
                        </a:lnTo>
                        <a:lnTo>
                          <a:pt x="1394" y="16"/>
                        </a:lnTo>
                        <a:close/>
                        <a:moveTo>
                          <a:pt x="1351" y="33"/>
                        </a:moveTo>
                        <a:lnTo>
                          <a:pt x="1335" y="21"/>
                        </a:lnTo>
                        <a:lnTo>
                          <a:pt x="1356" y="21"/>
                        </a:lnTo>
                        <a:lnTo>
                          <a:pt x="1351" y="33"/>
                        </a:lnTo>
                        <a:lnTo>
                          <a:pt x="1351" y="33"/>
                        </a:lnTo>
                        <a:lnTo>
                          <a:pt x="1351" y="33"/>
                        </a:lnTo>
                        <a:close/>
                        <a:moveTo>
                          <a:pt x="1217" y="87"/>
                        </a:moveTo>
                        <a:lnTo>
                          <a:pt x="1217" y="71"/>
                        </a:lnTo>
                        <a:lnTo>
                          <a:pt x="1205" y="61"/>
                        </a:lnTo>
                        <a:lnTo>
                          <a:pt x="1243" y="54"/>
                        </a:lnTo>
                        <a:lnTo>
                          <a:pt x="1247" y="61"/>
                        </a:lnTo>
                        <a:lnTo>
                          <a:pt x="1247" y="71"/>
                        </a:lnTo>
                        <a:lnTo>
                          <a:pt x="1259" y="71"/>
                        </a:lnTo>
                        <a:lnTo>
                          <a:pt x="1259" y="54"/>
                        </a:lnTo>
                        <a:lnTo>
                          <a:pt x="1268" y="61"/>
                        </a:lnTo>
                        <a:lnTo>
                          <a:pt x="1285" y="49"/>
                        </a:lnTo>
                        <a:lnTo>
                          <a:pt x="1297" y="49"/>
                        </a:lnTo>
                        <a:lnTo>
                          <a:pt x="1297" y="38"/>
                        </a:lnTo>
                        <a:lnTo>
                          <a:pt x="1302" y="49"/>
                        </a:lnTo>
                        <a:lnTo>
                          <a:pt x="1280" y="78"/>
                        </a:lnTo>
                        <a:lnTo>
                          <a:pt x="1217" y="87"/>
                        </a:lnTo>
                        <a:lnTo>
                          <a:pt x="1217" y="87"/>
                        </a:lnTo>
                        <a:lnTo>
                          <a:pt x="1217" y="87"/>
                        </a:lnTo>
                        <a:close/>
                        <a:moveTo>
                          <a:pt x="1335" y="87"/>
                        </a:moveTo>
                        <a:lnTo>
                          <a:pt x="1323" y="78"/>
                        </a:lnTo>
                        <a:lnTo>
                          <a:pt x="1318" y="61"/>
                        </a:lnTo>
                        <a:lnTo>
                          <a:pt x="1335" y="54"/>
                        </a:lnTo>
                        <a:lnTo>
                          <a:pt x="1351" y="71"/>
                        </a:lnTo>
                        <a:lnTo>
                          <a:pt x="1335" y="87"/>
                        </a:lnTo>
                        <a:lnTo>
                          <a:pt x="1335" y="87"/>
                        </a:lnTo>
                        <a:lnTo>
                          <a:pt x="1335" y="87"/>
                        </a:lnTo>
                        <a:close/>
                        <a:moveTo>
                          <a:pt x="1280" y="116"/>
                        </a:moveTo>
                        <a:lnTo>
                          <a:pt x="1264" y="94"/>
                        </a:lnTo>
                        <a:lnTo>
                          <a:pt x="1302" y="78"/>
                        </a:lnTo>
                        <a:lnTo>
                          <a:pt x="1302" y="71"/>
                        </a:lnTo>
                        <a:lnTo>
                          <a:pt x="1318" y="87"/>
                        </a:lnTo>
                        <a:lnTo>
                          <a:pt x="1313" y="104"/>
                        </a:lnTo>
                        <a:lnTo>
                          <a:pt x="1280" y="116"/>
                        </a:lnTo>
                        <a:lnTo>
                          <a:pt x="1280" y="116"/>
                        </a:lnTo>
                        <a:lnTo>
                          <a:pt x="1280" y="116"/>
                        </a:lnTo>
                        <a:close/>
                        <a:moveTo>
                          <a:pt x="1268" y="116"/>
                        </a:moveTo>
                        <a:lnTo>
                          <a:pt x="1226" y="111"/>
                        </a:lnTo>
                        <a:lnTo>
                          <a:pt x="1247" y="104"/>
                        </a:lnTo>
                        <a:lnTo>
                          <a:pt x="1268" y="116"/>
                        </a:lnTo>
                        <a:lnTo>
                          <a:pt x="1268" y="116"/>
                        </a:lnTo>
                        <a:lnTo>
                          <a:pt x="1268" y="116"/>
                        </a:lnTo>
                        <a:close/>
                        <a:moveTo>
                          <a:pt x="1188" y="116"/>
                        </a:moveTo>
                        <a:lnTo>
                          <a:pt x="1179" y="104"/>
                        </a:lnTo>
                        <a:lnTo>
                          <a:pt x="1193" y="104"/>
                        </a:lnTo>
                        <a:lnTo>
                          <a:pt x="1188" y="116"/>
                        </a:lnTo>
                        <a:lnTo>
                          <a:pt x="1188" y="116"/>
                        </a:lnTo>
                        <a:lnTo>
                          <a:pt x="1188" y="116"/>
                        </a:lnTo>
                        <a:close/>
                        <a:moveTo>
                          <a:pt x="1054" y="144"/>
                        </a:moveTo>
                        <a:lnTo>
                          <a:pt x="1049" y="144"/>
                        </a:lnTo>
                        <a:lnTo>
                          <a:pt x="1032" y="116"/>
                        </a:lnTo>
                        <a:lnTo>
                          <a:pt x="1042" y="111"/>
                        </a:lnTo>
                        <a:lnTo>
                          <a:pt x="1070" y="132"/>
                        </a:lnTo>
                        <a:lnTo>
                          <a:pt x="1054" y="144"/>
                        </a:lnTo>
                        <a:lnTo>
                          <a:pt x="1054" y="144"/>
                        </a:lnTo>
                        <a:lnTo>
                          <a:pt x="1054" y="144"/>
                        </a:lnTo>
                        <a:close/>
                        <a:moveTo>
                          <a:pt x="999" y="132"/>
                        </a:moveTo>
                        <a:lnTo>
                          <a:pt x="994" y="127"/>
                        </a:lnTo>
                        <a:lnTo>
                          <a:pt x="1011" y="116"/>
                        </a:lnTo>
                        <a:lnTo>
                          <a:pt x="1011" y="132"/>
                        </a:lnTo>
                        <a:lnTo>
                          <a:pt x="999" y="132"/>
                        </a:lnTo>
                        <a:lnTo>
                          <a:pt x="999" y="132"/>
                        </a:lnTo>
                        <a:lnTo>
                          <a:pt x="999" y="132"/>
                        </a:lnTo>
                        <a:close/>
                        <a:moveTo>
                          <a:pt x="1103" y="144"/>
                        </a:moveTo>
                        <a:lnTo>
                          <a:pt x="1087" y="144"/>
                        </a:lnTo>
                        <a:lnTo>
                          <a:pt x="1096" y="127"/>
                        </a:lnTo>
                        <a:lnTo>
                          <a:pt x="1103" y="116"/>
                        </a:lnTo>
                        <a:lnTo>
                          <a:pt x="1117" y="127"/>
                        </a:lnTo>
                        <a:lnTo>
                          <a:pt x="1117" y="144"/>
                        </a:lnTo>
                        <a:lnTo>
                          <a:pt x="1103" y="144"/>
                        </a:lnTo>
                        <a:lnTo>
                          <a:pt x="1103" y="144"/>
                        </a:lnTo>
                        <a:lnTo>
                          <a:pt x="1103" y="144"/>
                        </a:lnTo>
                        <a:close/>
                        <a:moveTo>
                          <a:pt x="1032" y="132"/>
                        </a:moveTo>
                        <a:lnTo>
                          <a:pt x="1016" y="132"/>
                        </a:lnTo>
                        <a:lnTo>
                          <a:pt x="1028" y="127"/>
                        </a:lnTo>
                        <a:lnTo>
                          <a:pt x="1032" y="132"/>
                        </a:lnTo>
                        <a:lnTo>
                          <a:pt x="1032" y="132"/>
                        </a:lnTo>
                        <a:lnTo>
                          <a:pt x="1032" y="132"/>
                        </a:lnTo>
                        <a:close/>
                        <a:moveTo>
                          <a:pt x="1124" y="144"/>
                        </a:moveTo>
                        <a:lnTo>
                          <a:pt x="1117" y="132"/>
                        </a:lnTo>
                        <a:lnTo>
                          <a:pt x="1124" y="132"/>
                        </a:lnTo>
                        <a:lnTo>
                          <a:pt x="1124" y="144"/>
                        </a:lnTo>
                        <a:lnTo>
                          <a:pt x="1124" y="144"/>
                        </a:lnTo>
                        <a:lnTo>
                          <a:pt x="1124" y="144"/>
                        </a:lnTo>
                        <a:close/>
                        <a:moveTo>
                          <a:pt x="973" y="149"/>
                        </a:moveTo>
                        <a:lnTo>
                          <a:pt x="973" y="132"/>
                        </a:lnTo>
                        <a:lnTo>
                          <a:pt x="994" y="144"/>
                        </a:lnTo>
                        <a:lnTo>
                          <a:pt x="973" y="149"/>
                        </a:lnTo>
                        <a:lnTo>
                          <a:pt x="973" y="149"/>
                        </a:lnTo>
                        <a:lnTo>
                          <a:pt x="973" y="149"/>
                        </a:lnTo>
                        <a:close/>
                        <a:moveTo>
                          <a:pt x="999" y="172"/>
                        </a:moveTo>
                        <a:lnTo>
                          <a:pt x="973" y="160"/>
                        </a:lnTo>
                        <a:lnTo>
                          <a:pt x="1011" y="132"/>
                        </a:lnTo>
                        <a:lnTo>
                          <a:pt x="1016" y="149"/>
                        </a:lnTo>
                        <a:lnTo>
                          <a:pt x="1032" y="144"/>
                        </a:lnTo>
                        <a:lnTo>
                          <a:pt x="1042" y="149"/>
                        </a:lnTo>
                        <a:lnTo>
                          <a:pt x="999" y="172"/>
                        </a:lnTo>
                        <a:lnTo>
                          <a:pt x="999" y="172"/>
                        </a:lnTo>
                        <a:lnTo>
                          <a:pt x="999" y="172"/>
                        </a:lnTo>
                        <a:close/>
                        <a:moveTo>
                          <a:pt x="1124" y="160"/>
                        </a:moveTo>
                        <a:lnTo>
                          <a:pt x="1117" y="149"/>
                        </a:lnTo>
                        <a:lnTo>
                          <a:pt x="1141" y="149"/>
                        </a:lnTo>
                        <a:lnTo>
                          <a:pt x="1124" y="160"/>
                        </a:lnTo>
                        <a:lnTo>
                          <a:pt x="1124" y="160"/>
                        </a:lnTo>
                        <a:lnTo>
                          <a:pt x="1124" y="160"/>
                        </a:lnTo>
                        <a:close/>
                        <a:moveTo>
                          <a:pt x="1028" y="172"/>
                        </a:moveTo>
                        <a:lnTo>
                          <a:pt x="1049" y="149"/>
                        </a:lnTo>
                        <a:lnTo>
                          <a:pt x="1054" y="160"/>
                        </a:lnTo>
                        <a:lnTo>
                          <a:pt x="1049" y="165"/>
                        </a:lnTo>
                        <a:lnTo>
                          <a:pt x="1028" y="172"/>
                        </a:lnTo>
                        <a:lnTo>
                          <a:pt x="1028" y="172"/>
                        </a:lnTo>
                        <a:lnTo>
                          <a:pt x="1028" y="172"/>
                        </a:lnTo>
                        <a:close/>
                        <a:moveTo>
                          <a:pt x="1750" y="182"/>
                        </a:moveTo>
                        <a:lnTo>
                          <a:pt x="1746" y="182"/>
                        </a:lnTo>
                        <a:lnTo>
                          <a:pt x="1750" y="165"/>
                        </a:lnTo>
                        <a:lnTo>
                          <a:pt x="1767" y="172"/>
                        </a:lnTo>
                        <a:lnTo>
                          <a:pt x="1750" y="182"/>
                        </a:lnTo>
                        <a:lnTo>
                          <a:pt x="1750" y="182"/>
                        </a:lnTo>
                        <a:lnTo>
                          <a:pt x="1750" y="182"/>
                        </a:lnTo>
                        <a:close/>
                        <a:moveTo>
                          <a:pt x="1103" y="172"/>
                        </a:moveTo>
                        <a:lnTo>
                          <a:pt x="1103" y="165"/>
                        </a:lnTo>
                        <a:lnTo>
                          <a:pt x="1117" y="165"/>
                        </a:lnTo>
                        <a:lnTo>
                          <a:pt x="1117" y="172"/>
                        </a:lnTo>
                        <a:lnTo>
                          <a:pt x="1103" y="172"/>
                        </a:lnTo>
                        <a:lnTo>
                          <a:pt x="1103" y="172"/>
                        </a:lnTo>
                        <a:lnTo>
                          <a:pt x="1103" y="172"/>
                        </a:lnTo>
                        <a:close/>
                        <a:moveTo>
                          <a:pt x="945" y="189"/>
                        </a:moveTo>
                        <a:lnTo>
                          <a:pt x="961" y="189"/>
                        </a:lnTo>
                        <a:lnTo>
                          <a:pt x="945" y="189"/>
                        </a:lnTo>
                        <a:lnTo>
                          <a:pt x="945" y="172"/>
                        </a:lnTo>
                        <a:lnTo>
                          <a:pt x="978" y="189"/>
                        </a:lnTo>
                        <a:lnTo>
                          <a:pt x="973" y="165"/>
                        </a:lnTo>
                        <a:lnTo>
                          <a:pt x="994" y="182"/>
                        </a:lnTo>
                        <a:lnTo>
                          <a:pt x="978" y="189"/>
                        </a:lnTo>
                        <a:lnTo>
                          <a:pt x="978" y="205"/>
                        </a:lnTo>
                        <a:lnTo>
                          <a:pt x="973" y="205"/>
                        </a:lnTo>
                        <a:lnTo>
                          <a:pt x="924" y="205"/>
                        </a:lnTo>
                        <a:lnTo>
                          <a:pt x="940" y="198"/>
                        </a:lnTo>
                        <a:lnTo>
                          <a:pt x="928" y="189"/>
                        </a:lnTo>
                        <a:lnTo>
                          <a:pt x="945" y="189"/>
                        </a:lnTo>
                        <a:lnTo>
                          <a:pt x="945" y="189"/>
                        </a:lnTo>
                        <a:lnTo>
                          <a:pt x="945" y="189"/>
                        </a:lnTo>
                        <a:close/>
                        <a:moveTo>
                          <a:pt x="839" y="255"/>
                        </a:moveTo>
                        <a:lnTo>
                          <a:pt x="865" y="243"/>
                        </a:lnTo>
                        <a:lnTo>
                          <a:pt x="848" y="238"/>
                        </a:lnTo>
                        <a:lnTo>
                          <a:pt x="853" y="238"/>
                        </a:lnTo>
                        <a:lnTo>
                          <a:pt x="839" y="227"/>
                        </a:lnTo>
                        <a:lnTo>
                          <a:pt x="848" y="227"/>
                        </a:lnTo>
                        <a:lnTo>
                          <a:pt x="886" y="222"/>
                        </a:lnTo>
                        <a:lnTo>
                          <a:pt x="865" y="215"/>
                        </a:lnTo>
                        <a:lnTo>
                          <a:pt x="891" y="222"/>
                        </a:lnTo>
                        <a:lnTo>
                          <a:pt x="886" y="205"/>
                        </a:lnTo>
                        <a:lnTo>
                          <a:pt x="902" y="215"/>
                        </a:lnTo>
                        <a:lnTo>
                          <a:pt x="891" y="205"/>
                        </a:lnTo>
                        <a:lnTo>
                          <a:pt x="907" y="205"/>
                        </a:lnTo>
                        <a:lnTo>
                          <a:pt x="928" y="227"/>
                        </a:lnTo>
                        <a:lnTo>
                          <a:pt x="919" y="238"/>
                        </a:lnTo>
                        <a:lnTo>
                          <a:pt x="919" y="243"/>
                        </a:lnTo>
                        <a:lnTo>
                          <a:pt x="924" y="255"/>
                        </a:lnTo>
                        <a:lnTo>
                          <a:pt x="886" y="255"/>
                        </a:lnTo>
                        <a:lnTo>
                          <a:pt x="853" y="276"/>
                        </a:lnTo>
                        <a:lnTo>
                          <a:pt x="865" y="272"/>
                        </a:lnTo>
                        <a:lnTo>
                          <a:pt x="831" y="272"/>
                        </a:lnTo>
                        <a:lnTo>
                          <a:pt x="865" y="255"/>
                        </a:lnTo>
                        <a:lnTo>
                          <a:pt x="839" y="255"/>
                        </a:lnTo>
                        <a:lnTo>
                          <a:pt x="839" y="255"/>
                        </a:lnTo>
                        <a:lnTo>
                          <a:pt x="839" y="255"/>
                        </a:lnTo>
                        <a:close/>
                        <a:moveTo>
                          <a:pt x="746" y="293"/>
                        </a:moveTo>
                        <a:lnTo>
                          <a:pt x="739" y="276"/>
                        </a:lnTo>
                        <a:lnTo>
                          <a:pt x="746" y="272"/>
                        </a:lnTo>
                        <a:lnTo>
                          <a:pt x="794" y="243"/>
                        </a:lnTo>
                        <a:lnTo>
                          <a:pt x="784" y="260"/>
                        </a:lnTo>
                        <a:lnTo>
                          <a:pt x="746" y="293"/>
                        </a:lnTo>
                        <a:lnTo>
                          <a:pt x="746" y="293"/>
                        </a:lnTo>
                        <a:lnTo>
                          <a:pt x="746" y="293"/>
                        </a:lnTo>
                        <a:close/>
                        <a:moveTo>
                          <a:pt x="876" y="276"/>
                        </a:moveTo>
                        <a:lnTo>
                          <a:pt x="876" y="272"/>
                        </a:lnTo>
                        <a:lnTo>
                          <a:pt x="891" y="272"/>
                        </a:lnTo>
                        <a:lnTo>
                          <a:pt x="876" y="276"/>
                        </a:lnTo>
                        <a:lnTo>
                          <a:pt x="876" y="276"/>
                        </a:lnTo>
                        <a:lnTo>
                          <a:pt x="876" y="276"/>
                        </a:lnTo>
                        <a:close/>
                        <a:moveTo>
                          <a:pt x="676" y="326"/>
                        </a:moveTo>
                        <a:lnTo>
                          <a:pt x="671" y="316"/>
                        </a:lnTo>
                        <a:lnTo>
                          <a:pt x="676" y="300"/>
                        </a:lnTo>
                        <a:lnTo>
                          <a:pt x="702" y="309"/>
                        </a:lnTo>
                        <a:lnTo>
                          <a:pt x="709" y="293"/>
                        </a:lnTo>
                        <a:lnTo>
                          <a:pt x="725" y="300"/>
                        </a:lnTo>
                        <a:lnTo>
                          <a:pt x="709" y="283"/>
                        </a:lnTo>
                        <a:lnTo>
                          <a:pt x="713" y="276"/>
                        </a:lnTo>
                        <a:lnTo>
                          <a:pt x="739" y="300"/>
                        </a:lnTo>
                        <a:lnTo>
                          <a:pt x="739" y="316"/>
                        </a:lnTo>
                        <a:lnTo>
                          <a:pt x="713" y="333"/>
                        </a:lnTo>
                        <a:lnTo>
                          <a:pt x="702" y="326"/>
                        </a:lnTo>
                        <a:lnTo>
                          <a:pt x="725" y="309"/>
                        </a:lnTo>
                        <a:lnTo>
                          <a:pt x="676" y="326"/>
                        </a:lnTo>
                        <a:lnTo>
                          <a:pt x="676" y="326"/>
                        </a:lnTo>
                        <a:lnTo>
                          <a:pt x="676" y="326"/>
                        </a:lnTo>
                        <a:close/>
                        <a:moveTo>
                          <a:pt x="815" y="293"/>
                        </a:moveTo>
                        <a:lnTo>
                          <a:pt x="801" y="283"/>
                        </a:lnTo>
                        <a:lnTo>
                          <a:pt x="822" y="283"/>
                        </a:lnTo>
                        <a:lnTo>
                          <a:pt x="815" y="293"/>
                        </a:lnTo>
                        <a:lnTo>
                          <a:pt x="815" y="293"/>
                        </a:lnTo>
                        <a:lnTo>
                          <a:pt x="815" y="293"/>
                        </a:lnTo>
                        <a:close/>
                        <a:moveTo>
                          <a:pt x="777" y="283"/>
                        </a:moveTo>
                        <a:lnTo>
                          <a:pt x="768" y="300"/>
                        </a:lnTo>
                        <a:lnTo>
                          <a:pt x="777" y="309"/>
                        </a:lnTo>
                        <a:lnTo>
                          <a:pt x="763" y="338"/>
                        </a:lnTo>
                        <a:lnTo>
                          <a:pt x="794" y="293"/>
                        </a:lnTo>
                        <a:lnTo>
                          <a:pt x="815" y="300"/>
                        </a:lnTo>
                        <a:lnTo>
                          <a:pt x="822" y="326"/>
                        </a:lnTo>
                        <a:lnTo>
                          <a:pt x="815" y="333"/>
                        </a:lnTo>
                        <a:lnTo>
                          <a:pt x="794" y="333"/>
                        </a:lnTo>
                        <a:lnTo>
                          <a:pt x="777" y="354"/>
                        </a:lnTo>
                        <a:lnTo>
                          <a:pt x="768" y="349"/>
                        </a:lnTo>
                        <a:lnTo>
                          <a:pt x="756" y="366"/>
                        </a:lnTo>
                        <a:lnTo>
                          <a:pt x="730" y="366"/>
                        </a:lnTo>
                        <a:lnTo>
                          <a:pt x="756" y="338"/>
                        </a:lnTo>
                        <a:lnTo>
                          <a:pt x="746" y="338"/>
                        </a:lnTo>
                        <a:lnTo>
                          <a:pt x="709" y="371"/>
                        </a:lnTo>
                        <a:lnTo>
                          <a:pt x="730" y="338"/>
                        </a:lnTo>
                        <a:lnTo>
                          <a:pt x="725" y="338"/>
                        </a:lnTo>
                        <a:lnTo>
                          <a:pt x="746" y="326"/>
                        </a:lnTo>
                        <a:lnTo>
                          <a:pt x="739" y="309"/>
                        </a:lnTo>
                        <a:lnTo>
                          <a:pt x="763" y="316"/>
                        </a:lnTo>
                        <a:lnTo>
                          <a:pt x="739" y="309"/>
                        </a:lnTo>
                        <a:lnTo>
                          <a:pt x="756" y="283"/>
                        </a:lnTo>
                        <a:lnTo>
                          <a:pt x="777" y="283"/>
                        </a:lnTo>
                        <a:lnTo>
                          <a:pt x="777" y="283"/>
                        </a:lnTo>
                        <a:lnTo>
                          <a:pt x="777" y="283"/>
                        </a:lnTo>
                        <a:close/>
                        <a:moveTo>
                          <a:pt x="709" y="293"/>
                        </a:moveTo>
                        <a:lnTo>
                          <a:pt x="702" y="283"/>
                        </a:lnTo>
                        <a:lnTo>
                          <a:pt x="709" y="283"/>
                        </a:lnTo>
                        <a:lnTo>
                          <a:pt x="709" y="293"/>
                        </a:lnTo>
                        <a:lnTo>
                          <a:pt x="709" y="293"/>
                        </a:lnTo>
                        <a:lnTo>
                          <a:pt x="709" y="293"/>
                        </a:lnTo>
                        <a:close/>
                        <a:moveTo>
                          <a:pt x="869" y="300"/>
                        </a:moveTo>
                        <a:lnTo>
                          <a:pt x="853" y="293"/>
                        </a:lnTo>
                        <a:lnTo>
                          <a:pt x="886" y="293"/>
                        </a:lnTo>
                        <a:lnTo>
                          <a:pt x="869" y="300"/>
                        </a:lnTo>
                        <a:lnTo>
                          <a:pt x="869" y="300"/>
                        </a:lnTo>
                        <a:lnTo>
                          <a:pt x="869" y="300"/>
                        </a:lnTo>
                        <a:close/>
                        <a:moveTo>
                          <a:pt x="839" y="316"/>
                        </a:moveTo>
                        <a:lnTo>
                          <a:pt x="848" y="293"/>
                        </a:lnTo>
                        <a:lnTo>
                          <a:pt x="865" y="309"/>
                        </a:lnTo>
                        <a:lnTo>
                          <a:pt x="839" y="316"/>
                        </a:lnTo>
                        <a:lnTo>
                          <a:pt x="839" y="316"/>
                        </a:lnTo>
                        <a:lnTo>
                          <a:pt x="839" y="316"/>
                        </a:lnTo>
                        <a:close/>
                        <a:moveTo>
                          <a:pt x="794" y="354"/>
                        </a:moveTo>
                        <a:lnTo>
                          <a:pt x="801" y="338"/>
                        </a:lnTo>
                        <a:lnTo>
                          <a:pt x="815" y="349"/>
                        </a:lnTo>
                        <a:lnTo>
                          <a:pt x="794" y="354"/>
                        </a:lnTo>
                        <a:lnTo>
                          <a:pt x="794" y="354"/>
                        </a:lnTo>
                        <a:lnTo>
                          <a:pt x="794" y="354"/>
                        </a:lnTo>
                        <a:close/>
                        <a:moveTo>
                          <a:pt x="654" y="387"/>
                        </a:moveTo>
                        <a:lnTo>
                          <a:pt x="659" y="366"/>
                        </a:lnTo>
                        <a:lnTo>
                          <a:pt x="676" y="366"/>
                        </a:lnTo>
                        <a:lnTo>
                          <a:pt x="671" y="354"/>
                        </a:lnTo>
                        <a:lnTo>
                          <a:pt x="676" y="354"/>
                        </a:lnTo>
                        <a:lnTo>
                          <a:pt x="702" y="349"/>
                        </a:lnTo>
                        <a:lnTo>
                          <a:pt x="692" y="366"/>
                        </a:lnTo>
                        <a:lnTo>
                          <a:pt x="725" y="349"/>
                        </a:lnTo>
                        <a:lnTo>
                          <a:pt x="702" y="371"/>
                        </a:lnTo>
                        <a:lnTo>
                          <a:pt x="654" y="387"/>
                        </a:lnTo>
                        <a:lnTo>
                          <a:pt x="654" y="387"/>
                        </a:lnTo>
                        <a:lnTo>
                          <a:pt x="654" y="387"/>
                        </a:lnTo>
                        <a:close/>
                        <a:moveTo>
                          <a:pt x="654" y="371"/>
                        </a:moveTo>
                        <a:lnTo>
                          <a:pt x="650" y="366"/>
                        </a:lnTo>
                        <a:lnTo>
                          <a:pt x="654" y="366"/>
                        </a:lnTo>
                        <a:lnTo>
                          <a:pt x="654" y="371"/>
                        </a:lnTo>
                        <a:lnTo>
                          <a:pt x="654" y="371"/>
                        </a:lnTo>
                        <a:lnTo>
                          <a:pt x="654" y="371"/>
                        </a:lnTo>
                        <a:close/>
                        <a:moveTo>
                          <a:pt x="638" y="371"/>
                        </a:moveTo>
                        <a:lnTo>
                          <a:pt x="633" y="366"/>
                        </a:lnTo>
                        <a:lnTo>
                          <a:pt x="638" y="366"/>
                        </a:lnTo>
                        <a:lnTo>
                          <a:pt x="638" y="371"/>
                        </a:lnTo>
                        <a:lnTo>
                          <a:pt x="638" y="371"/>
                        </a:lnTo>
                        <a:lnTo>
                          <a:pt x="638" y="371"/>
                        </a:lnTo>
                        <a:close/>
                        <a:moveTo>
                          <a:pt x="605" y="394"/>
                        </a:moveTo>
                        <a:lnTo>
                          <a:pt x="600" y="394"/>
                        </a:lnTo>
                        <a:lnTo>
                          <a:pt x="605" y="371"/>
                        </a:lnTo>
                        <a:lnTo>
                          <a:pt x="650" y="371"/>
                        </a:lnTo>
                        <a:lnTo>
                          <a:pt x="605" y="394"/>
                        </a:lnTo>
                        <a:lnTo>
                          <a:pt x="605" y="394"/>
                        </a:lnTo>
                        <a:lnTo>
                          <a:pt x="605" y="394"/>
                        </a:lnTo>
                        <a:close/>
                        <a:moveTo>
                          <a:pt x="583" y="404"/>
                        </a:moveTo>
                        <a:lnTo>
                          <a:pt x="583" y="394"/>
                        </a:lnTo>
                        <a:lnTo>
                          <a:pt x="595" y="387"/>
                        </a:lnTo>
                        <a:lnTo>
                          <a:pt x="600" y="387"/>
                        </a:lnTo>
                        <a:lnTo>
                          <a:pt x="583" y="404"/>
                        </a:lnTo>
                        <a:lnTo>
                          <a:pt x="583" y="404"/>
                        </a:lnTo>
                        <a:lnTo>
                          <a:pt x="583" y="404"/>
                        </a:lnTo>
                        <a:close/>
                        <a:moveTo>
                          <a:pt x="550" y="427"/>
                        </a:moveTo>
                        <a:lnTo>
                          <a:pt x="579" y="387"/>
                        </a:lnTo>
                        <a:lnTo>
                          <a:pt x="583" y="394"/>
                        </a:lnTo>
                        <a:lnTo>
                          <a:pt x="579" y="411"/>
                        </a:lnTo>
                        <a:lnTo>
                          <a:pt x="550" y="427"/>
                        </a:lnTo>
                        <a:lnTo>
                          <a:pt x="550" y="427"/>
                        </a:lnTo>
                        <a:lnTo>
                          <a:pt x="550" y="427"/>
                        </a:lnTo>
                        <a:close/>
                        <a:moveTo>
                          <a:pt x="756" y="404"/>
                        </a:moveTo>
                        <a:lnTo>
                          <a:pt x="746" y="404"/>
                        </a:lnTo>
                        <a:lnTo>
                          <a:pt x="777" y="404"/>
                        </a:lnTo>
                        <a:lnTo>
                          <a:pt x="756" y="404"/>
                        </a:lnTo>
                        <a:lnTo>
                          <a:pt x="756" y="404"/>
                        </a:lnTo>
                        <a:lnTo>
                          <a:pt x="756" y="404"/>
                        </a:lnTo>
                        <a:close/>
                        <a:moveTo>
                          <a:pt x="725" y="411"/>
                        </a:moveTo>
                        <a:lnTo>
                          <a:pt x="709" y="411"/>
                        </a:lnTo>
                        <a:lnTo>
                          <a:pt x="730" y="411"/>
                        </a:lnTo>
                        <a:lnTo>
                          <a:pt x="725" y="411"/>
                        </a:lnTo>
                        <a:lnTo>
                          <a:pt x="725" y="411"/>
                        </a:lnTo>
                        <a:lnTo>
                          <a:pt x="725" y="411"/>
                        </a:lnTo>
                        <a:close/>
                        <a:moveTo>
                          <a:pt x="654" y="522"/>
                        </a:moveTo>
                        <a:lnTo>
                          <a:pt x="638" y="515"/>
                        </a:lnTo>
                        <a:lnTo>
                          <a:pt x="659" y="503"/>
                        </a:lnTo>
                        <a:lnTo>
                          <a:pt x="654" y="522"/>
                        </a:lnTo>
                        <a:lnTo>
                          <a:pt x="654" y="522"/>
                        </a:lnTo>
                        <a:lnTo>
                          <a:pt x="654" y="522"/>
                        </a:lnTo>
                        <a:close/>
                        <a:moveTo>
                          <a:pt x="550" y="614"/>
                        </a:moveTo>
                        <a:lnTo>
                          <a:pt x="562" y="609"/>
                        </a:lnTo>
                        <a:lnTo>
                          <a:pt x="550" y="614"/>
                        </a:lnTo>
                        <a:lnTo>
                          <a:pt x="550" y="614"/>
                        </a:lnTo>
                        <a:lnTo>
                          <a:pt x="550" y="614"/>
                        </a:lnTo>
                        <a:close/>
                        <a:moveTo>
                          <a:pt x="524" y="642"/>
                        </a:moveTo>
                        <a:lnTo>
                          <a:pt x="541" y="614"/>
                        </a:lnTo>
                        <a:lnTo>
                          <a:pt x="546" y="631"/>
                        </a:lnTo>
                        <a:lnTo>
                          <a:pt x="524" y="642"/>
                        </a:lnTo>
                        <a:lnTo>
                          <a:pt x="524" y="642"/>
                        </a:lnTo>
                        <a:lnTo>
                          <a:pt x="524" y="642"/>
                        </a:lnTo>
                        <a:close/>
                        <a:moveTo>
                          <a:pt x="529" y="666"/>
                        </a:moveTo>
                        <a:lnTo>
                          <a:pt x="541" y="649"/>
                        </a:lnTo>
                        <a:lnTo>
                          <a:pt x="562" y="642"/>
                        </a:lnTo>
                        <a:lnTo>
                          <a:pt x="529" y="666"/>
                        </a:lnTo>
                        <a:lnTo>
                          <a:pt x="529" y="666"/>
                        </a:lnTo>
                        <a:lnTo>
                          <a:pt x="529" y="666"/>
                        </a:lnTo>
                        <a:close/>
                        <a:moveTo>
                          <a:pt x="491" y="699"/>
                        </a:moveTo>
                        <a:lnTo>
                          <a:pt x="487" y="687"/>
                        </a:lnTo>
                        <a:lnTo>
                          <a:pt x="498" y="683"/>
                        </a:lnTo>
                        <a:lnTo>
                          <a:pt x="491" y="699"/>
                        </a:lnTo>
                        <a:lnTo>
                          <a:pt x="491" y="699"/>
                        </a:lnTo>
                        <a:lnTo>
                          <a:pt x="491" y="699"/>
                        </a:lnTo>
                        <a:close/>
                        <a:moveTo>
                          <a:pt x="508" y="737"/>
                        </a:moveTo>
                        <a:lnTo>
                          <a:pt x="513" y="699"/>
                        </a:lnTo>
                        <a:lnTo>
                          <a:pt x="541" y="720"/>
                        </a:lnTo>
                        <a:lnTo>
                          <a:pt x="508" y="737"/>
                        </a:lnTo>
                        <a:lnTo>
                          <a:pt x="508" y="737"/>
                        </a:lnTo>
                        <a:lnTo>
                          <a:pt x="508" y="737"/>
                        </a:lnTo>
                        <a:close/>
                        <a:moveTo>
                          <a:pt x="508" y="758"/>
                        </a:moveTo>
                        <a:lnTo>
                          <a:pt x="498" y="753"/>
                        </a:lnTo>
                        <a:lnTo>
                          <a:pt x="513" y="737"/>
                        </a:lnTo>
                        <a:lnTo>
                          <a:pt x="524" y="753"/>
                        </a:lnTo>
                        <a:lnTo>
                          <a:pt x="508" y="758"/>
                        </a:lnTo>
                        <a:lnTo>
                          <a:pt x="508" y="758"/>
                        </a:lnTo>
                        <a:lnTo>
                          <a:pt x="508" y="758"/>
                        </a:lnTo>
                        <a:close/>
                        <a:moveTo>
                          <a:pt x="470" y="758"/>
                        </a:moveTo>
                        <a:lnTo>
                          <a:pt x="470" y="753"/>
                        </a:lnTo>
                        <a:lnTo>
                          <a:pt x="487" y="753"/>
                        </a:lnTo>
                        <a:lnTo>
                          <a:pt x="470" y="758"/>
                        </a:lnTo>
                        <a:lnTo>
                          <a:pt x="470" y="758"/>
                        </a:lnTo>
                        <a:lnTo>
                          <a:pt x="470" y="758"/>
                        </a:lnTo>
                        <a:close/>
                        <a:moveTo>
                          <a:pt x="437" y="782"/>
                        </a:moveTo>
                        <a:lnTo>
                          <a:pt x="416" y="782"/>
                        </a:lnTo>
                        <a:lnTo>
                          <a:pt x="437" y="770"/>
                        </a:lnTo>
                        <a:lnTo>
                          <a:pt x="444" y="777"/>
                        </a:lnTo>
                        <a:lnTo>
                          <a:pt x="437" y="782"/>
                        </a:lnTo>
                        <a:lnTo>
                          <a:pt x="437" y="782"/>
                        </a:lnTo>
                        <a:lnTo>
                          <a:pt x="437" y="782"/>
                        </a:lnTo>
                        <a:close/>
                        <a:moveTo>
                          <a:pt x="454" y="810"/>
                        </a:moveTo>
                        <a:lnTo>
                          <a:pt x="444" y="810"/>
                        </a:lnTo>
                        <a:lnTo>
                          <a:pt x="454" y="798"/>
                        </a:lnTo>
                        <a:lnTo>
                          <a:pt x="454" y="810"/>
                        </a:lnTo>
                        <a:lnTo>
                          <a:pt x="454" y="810"/>
                        </a:lnTo>
                        <a:lnTo>
                          <a:pt x="454" y="810"/>
                        </a:lnTo>
                        <a:close/>
                        <a:moveTo>
                          <a:pt x="461" y="827"/>
                        </a:moveTo>
                        <a:lnTo>
                          <a:pt x="444" y="827"/>
                        </a:lnTo>
                        <a:lnTo>
                          <a:pt x="432" y="810"/>
                        </a:lnTo>
                        <a:lnTo>
                          <a:pt x="461" y="815"/>
                        </a:lnTo>
                        <a:lnTo>
                          <a:pt x="461" y="827"/>
                        </a:lnTo>
                        <a:lnTo>
                          <a:pt x="461" y="827"/>
                        </a:lnTo>
                        <a:lnTo>
                          <a:pt x="461" y="827"/>
                        </a:lnTo>
                        <a:close/>
                        <a:moveTo>
                          <a:pt x="243" y="921"/>
                        </a:moveTo>
                        <a:lnTo>
                          <a:pt x="276" y="905"/>
                        </a:lnTo>
                        <a:lnTo>
                          <a:pt x="276" y="909"/>
                        </a:lnTo>
                        <a:lnTo>
                          <a:pt x="243" y="921"/>
                        </a:lnTo>
                        <a:lnTo>
                          <a:pt x="243" y="921"/>
                        </a:lnTo>
                        <a:lnTo>
                          <a:pt x="243" y="921"/>
                        </a:lnTo>
                        <a:close/>
                        <a:moveTo>
                          <a:pt x="255" y="942"/>
                        </a:moveTo>
                        <a:lnTo>
                          <a:pt x="239" y="942"/>
                        </a:lnTo>
                        <a:lnTo>
                          <a:pt x="281" y="921"/>
                        </a:lnTo>
                        <a:lnTo>
                          <a:pt x="298" y="926"/>
                        </a:lnTo>
                        <a:lnTo>
                          <a:pt x="255" y="942"/>
                        </a:lnTo>
                        <a:lnTo>
                          <a:pt x="255" y="942"/>
                        </a:lnTo>
                        <a:lnTo>
                          <a:pt x="255" y="942"/>
                        </a:lnTo>
                        <a:close/>
                        <a:moveTo>
                          <a:pt x="222" y="959"/>
                        </a:moveTo>
                        <a:lnTo>
                          <a:pt x="206" y="947"/>
                        </a:lnTo>
                        <a:lnTo>
                          <a:pt x="222" y="942"/>
                        </a:lnTo>
                        <a:lnTo>
                          <a:pt x="227" y="947"/>
                        </a:lnTo>
                        <a:lnTo>
                          <a:pt x="222" y="959"/>
                        </a:lnTo>
                        <a:lnTo>
                          <a:pt x="222" y="959"/>
                        </a:lnTo>
                        <a:lnTo>
                          <a:pt x="222" y="959"/>
                        </a:lnTo>
                        <a:close/>
                        <a:moveTo>
                          <a:pt x="260" y="959"/>
                        </a:moveTo>
                        <a:lnTo>
                          <a:pt x="255" y="959"/>
                        </a:lnTo>
                        <a:lnTo>
                          <a:pt x="272" y="959"/>
                        </a:lnTo>
                        <a:lnTo>
                          <a:pt x="260" y="959"/>
                        </a:lnTo>
                        <a:lnTo>
                          <a:pt x="260" y="959"/>
                        </a:lnTo>
                        <a:lnTo>
                          <a:pt x="260" y="959"/>
                        </a:lnTo>
                        <a:close/>
                        <a:moveTo>
                          <a:pt x="243" y="975"/>
                        </a:moveTo>
                        <a:lnTo>
                          <a:pt x="239" y="964"/>
                        </a:lnTo>
                        <a:lnTo>
                          <a:pt x="255" y="959"/>
                        </a:lnTo>
                        <a:lnTo>
                          <a:pt x="260" y="975"/>
                        </a:lnTo>
                        <a:lnTo>
                          <a:pt x="243" y="975"/>
                        </a:lnTo>
                        <a:lnTo>
                          <a:pt x="243" y="975"/>
                        </a:lnTo>
                        <a:lnTo>
                          <a:pt x="243" y="975"/>
                        </a:lnTo>
                        <a:close/>
                        <a:moveTo>
                          <a:pt x="222" y="975"/>
                        </a:moveTo>
                        <a:lnTo>
                          <a:pt x="217" y="975"/>
                        </a:lnTo>
                        <a:lnTo>
                          <a:pt x="222" y="964"/>
                        </a:lnTo>
                        <a:lnTo>
                          <a:pt x="227" y="975"/>
                        </a:lnTo>
                        <a:lnTo>
                          <a:pt x="222" y="975"/>
                        </a:lnTo>
                        <a:lnTo>
                          <a:pt x="222" y="975"/>
                        </a:lnTo>
                        <a:lnTo>
                          <a:pt x="222" y="975"/>
                        </a:lnTo>
                        <a:close/>
                        <a:moveTo>
                          <a:pt x="239" y="975"/>
                        </a:moveTo>
                        <a:lnTo>
                          <a:pt x="227" y="964"/>
                        </a:lnTo>
                        <a:lnTo>
                          <a:pt x="243" y="975"/>
                        </a:lnTo>
                        <a:lnTo>
                          <a:pt x="239" y="975"/>
                        </a:lnTo>
                        <a:lnTo>
                          <a:pt x="239" y="975"/>
                        </a:lnTo>
                        <a:lnTo>
                          <a:pt x="239" y="975"/>
                        </a:lnTo>
                        <a:close/>
                        <a:moveTo>
                          <a:pt x="206" y="992"/>
                        </a:moveTo>
                        <a:lnTo>
                          <a:pt x="201" y="992"/>
                        </a:lnTo>
                        <a:lnTo>
                          <a:pt x="217" y="980"/>
                        </a:lnTo>
                        <a:lnTo>
                          <a:pt x="206" y="992"/>
                        </a:lnTo>
                        <a:lnTo>
                          <a:pt x="206" y="992"/>
                        </a:lnTo>
                        <a:lnTo>
                          <a:pt x="206" y="992"/>
                        </a:lnTo>
                        <a:close/>
                        <a:moveTo>
                          <a:pt x="184" y="997"/>
                        </a:moveTo>
                        <a:lnTo>
                          <a:pt x="172" y="997"/>
                        </a:lnTo>
                        <a:lnTo>
                          <a:pt x="172" y="992"/>
                        </a:lnTo>
                        <a:lnTo>
                          <a:pt x="189" y="980"/>
                        </a:lnTo>
                        <a:lnTo>
                          <a:pt x="201" y="992"/>
                        </a:lnTo>
                        <a:lnTo>
                          <a:pt x="184" y="997"/>
                        </a:lnTo>
                        <a:lnTo>
                          <a:pt x="184" y="997"/>
                        </a:lnTo>
                        <a:lnTo>
                          <a:pt x="184" y="997"/>
                        </a:lnTo>
                        <a:close/>
                        <a:moveTo>
                          <a:pt x="135" y="1020"/>
                        </a:moveTo>
                        <a:lnTo>
                          <a:pt x="135" y="1013"/>
                        </a:lnTo>
                        <a:lnTo>
                          <a:pt x="146" y="1013"/>
                        </a:lnTo>
                        <a:lnTo>
                          <a:pt x="135" y="1020"/>
                        </a:lnTo>
                        <a:lnTo>
                          <a:pt x="135" y="1020"/>
                        </a:lnTo>
                        <a:lnTo>
                          <a:pt x="135" y="1020"/>
                        </a:lnTo>
                        <a:close/>
                        <a:moveTo>
                          <a:pt x="130" y="1032"/>
                        </a:moveTo>
                        <a:lnTo>
                          <a:pt x="130" y="1020"/>
                        </a:lnTo>
                        <a:lnTo>
                          <a:pt x="146" y="1032"/>
                        </a:lnTo>
                        <a:lnTo>
                          <a:pt x="130" y="1032"/>
                        </a:lnTo>
                        <a:lnTo>
                          <a:pt x="130" y="1032"/>
                        </a:lnTo>
                        <a:lnTo>
                          <a:pt x="130" y="1032"/>
                        </a:lnTo>
                        <a:close/>
                        <a:moveTo>
                          <a:pt x="97" y="1058"/>
                        </a:moveTo>
                        <a:lnTo>
                          <a:pt x="83" y="1053"/>
                        </a:lnTo>
                        <a:lnTo>
                          <a:pt x="109" y="1058"/>
                        </a:lnTo>
                        <a:lnTo>
                          <a:pt x="97" y="1058"/>
                        </a:lnTo>
                        <a:lnTo>
                          <a:pt x="97" y="1058"/>
                        </a:lnTo>
                        <a:lnTo>
                          <a:pt x="97" y="1058"/>
                        </a:lnTo>
                        <a:close/>
                        <a:moveTo>
                          <a:pt x="66" y="1075"/>
                        </a:moveTo>
                        <a:lnTo>
                          <a:pt x="66" y="1058"/>
                        </a:lnTo>
                        <a:lnTo>
                          <a:pt x="83" y="1070"/>
                        </a:lnTo>
                        <a:lnTo>
                          <a:pt x="66" y="1075"/>
                        </a:lnTo>
                        <a:lnTo>
                          <a:pt x="66" y="1075"/>
                        </a:lnTo>
                        <a:lnTo>
                          <a:pt x="66" y="1075"/>
                        </a:lnTo>
                        <a:close/>
                        <a:moveTo>
                          <a:pt x="54" y="1086"/>
                        </a:moveTo>
                        <a:lnTo>
                          <a:pt x="45" y="1086"/>
                        </a:lnTo>
                        <a:lnTo>
                          <a:pt x="45" y="1075"/>
                        </a:lnTo>
                        <a:lnTo>
                          <a:pt x="66" y="1075"/>
                        </a:lnTo>
                        <a:lnTo>
                          <a:pt x="54" y="1086"/>
                        </a:lnTo>
                        <a:lnTo>
                          <a:pt x="54" y="1086"/>
                        </a:lnTo>
                        <a:lnTo>
                          <a:pt x="54" y="1086"/>
                        </a:lnTo>
                        <a:close/>
                        <a:moveTo>
                          <a:pt x="12" y="1115"/>
                        </a:moveTo>
                        <a:lnTo>
                          <a:pt x="12" y="1103"/>
                        </a:lnTo>
                        <a:lnTo>
                          <a:pt x="12" y="1115"/>
                        </a:lnTo>
                        <a:lnTo>
                          <a:pt x="12" y="1115"/>
                        </a:lnTo>
                        <a:lnTo>
                          <a:pt x="12" y="1115"/>
                        </a:lnTo>
                        <a:close/>
                        <a:moveTo>
                          <a:pt x="7" y="1131"/>
                        </a:moveTo>
                        <a:lnTo>
                          <a:pt x="0" y="1124"/>
                        </a:lnTo>
                        <a:lnTo>
                          <a:pt x="7" y="1115"/>
                        </a:lnTo>
                        <a:lnTo>
                          <a:pt x="21" y="1124"/>
                        </a:lnTo>
                        <a:lnTo>
                          <a:pt x="7" y="1131"/>
                        </a:lnTo>
                        <a:lnTo>
                          <a:pt x="7" y="1131"/>
                        </a:lnTo>
                        <a:lnTo>
                          <a:pt x="7" y="1131"/>
                        </a:lnTo>
                        <a:close/>
                        <a:moveTo>
                          <a:pt x="0" y="1214"/>
                        </a:moveTo>
                        <a:lnTo>
                          <a:pt x="0" y="1197"/>
                        </a:lnTo>
                        <a:lnTo>
                          <a:pt x="7" y="1197"/>
                        </a:lnTo>
                        <a:lnTo>
                          <a:pt x="7" y="1202"/>
                        </a:lnTo>
                        <a:lnTo>
                          <a:pt x="0" y="1214"/>
                        </a:lnTo>
                        <a:lnTo>
                          <a:pt x="0" y="1214"/>
                        </a:lnTo>
                        <a:lnTo>
                          <a:pt x="0" y="1214"/>
                        </a:lnTo>
                        <a:close/>
                        <a:moveTo>
                          <a:pt x="45" y="1275"/>
                        </a:moveTo>
                        <a:lnTo>
                          <a:pt x="38" y="1268"/>
                        </a:lnTo>
                        <a:lnTo>
                          <a:pt x="59" y="1252"/>
                        </a:lnTo>
                        <a:lnTo>
                          <a:pt x="59" y="1275"/>
                        </a:lnTo>
                        <a:lnTo>
                          <a:pt x="45" y="1275"/>
                        </a:lnTo>
                        <a:lnTo>
                          <a:pt x="45" y="1275"/>
                        </a:lnTo>
                        <a:lnTo>
                          <a:pt x="45" y="1275"/>
                        </a:lnTo>
                        <a:close/>
                        <a:moveTo>
                          <a:pt x="21" y="1280"/>
                        </a:moveTo>
                        <a:lnTo>
                          <a:pt x="7" y="1268"/>
                        </a:lnTo>
                        <a:lnTo>
                          <a:pt x="21" y="1275"/>
                        </a:lnTo>
                        <a:lnTo>
                          <a:pt x="21" y="1280"/>
                        </a:lnTo>
                        <a:lnTo>
                          <a:pt x="21" y="1280"/>
                        </a:lnTo>
                        <a:lnTo>
                          <a:pt x="21" y="1280"/>
                        </a:lnTo>
                        <a:close/>
                        <a:moveTo>
                          <a:pt x="12" y="1308"/>
                        </a:moveTo>
                        <a:lnTo>
                          <a:pt x="7" y="1297"/>
                        </a:lnTo>
                        <a:lnTo>
                          <a:pt x="7" y="1275"/>
                        </a:lnTo>
                        <a:lnTo>
                          <a:pt x="12" y="1292"/>
                        </a:lnTo>
                        <a:lnTo>
                          <a:pt x="12" y="1308"/>
                        </a:lnTo>
                        <a:lnTo>
                          <a:pt x="12" y="1308"/>
                        </a:lnTo>
                        <a:lnTo>
                          <a:pt x="12" y="1308"/>
                        </a:lnTo>
                        <a:close/>
                        <a:moveTo>
                          <a:pt x="76" y="1313"/>
                        </a:moveTo>
                        <a:lnTo>
                          <a:pt x="76" y="1308"/>
                        </a:lnTo>
                        <a:lnTo>
                          <a:pt x="83" y="1308"/>
                        </a:lnTo>
                        <a:lnTo>
                          <a:pt x="76" y="1313"/>
                        </a:lnTo>
                        <a:lnTo>
                          <a:pt x="76" y="1313"/>
                        </a:lnTo>
                        <a:lnTo>
                          <a:pt x="76" y="1313"/>
                        </a:lnTo>
                        <a:close/>
                        <a:moveTo>
                          <a:pt x="28" y="1325"/>
                        </a:moveTo>
                        <a:lnTo>
                          <a:pt x="21" y="1325"/>
                        </a:lnTo>
                        <a:lnTo>
                          <a:pt x="21" y="1313"/>
                        </a:lnTo>
                        <a:lnTo>
                          <a:pt x="28" y="1325"/>
                        </a:lnTo>
                        <a:lnTo>
                          <a:pt x="28" y="1325"/>
                        </a:lnTo>
                        <a:lnTo>
                          <a:pt x="28" y="1325"/>
                        </a:lnTo>
                        <a:close/>
                        <a:moveTo>
                          <a:pt x="45" y="1337"/>
                        </a:moveTo>
                        <a:lnTo>
                          <a:pt x="38" y="1325"/>
                        </a:lnTo>
                        <a:lnTo>
                          <a:pt x="54" y="1313"/>
                        </a:lnTo>
                        <a:lnTo>
                          <a:pt x="45" y="1337"/>
                        </a:lnTo>
                        <a:lnTo>
                          <a:pt x="45" y="1337"/>
                        </a:lnTo>
                        <a:lnTo>
                          <a:pt x="45" y="1337"/>
                        </a:lnTo>
                        <a:close/>
                        <a:moveTo>
                          <a:pt x="38" y="1353"/>
                        </a:moveTo>
                        <a:lnTo>
                          <a:pt x="28" y="1346"/>
                        </a:lnTo>
                        <a:lnTo>
                          <a:pt x="28" y="1330"/>
                        </a:lnTo>
                        <a:lnTo>
                          <a:pt x="45" y="1337"/>
                        </a:lnTo>
                        <a:lnTo>
                          <a:pt x="38" y="1353"/>
                        </a:lnTo>
                        <a:lnTo>
                          <a:pt x="38" y="1353"/>
                        </a:lnTo>
                        <a:lnTo>
                          <a:pt x="38" y="1353"/>
                        </a:lnTo>
                        <a:close/>
                        <a:moveTo>
                          <a:pt x="21" y="1370"/>
                        </a:moveTo>
                        <a:lnTo>
                          <a:pt x="12" y="1346"/>
                        </a:lnTo>
                        <a:lnTo>
                          <a:pt x="21" y="1337"/>
                        </a:lnTo>
                        <a:lnTo>
                          <a:pt x="38" y="1353"/>
                        </a:lnTo>
                        <a:lnTo>
                          <a:pt x="21" y="1353"/>
                        </a:lnTo>
                        <a:lnTo>
                          <a:pt x="21" y="1370"/>
                        </a:lnTo>
                        <a:lnTo>
                          <a:pt x="21" y="1370"/>
                        </a:lnTo>
                        <a:lnTo>
                          <a:pt x="21" y="1370"/>
                        </a:lnTo>
                        <a:close/>
                        <a:moveTo>
                          <a:pt x="21" y="1420"/>
                        </a:moveTo>
                        <a:lnTo>
                          <a:pt x="21" y="1386"/>
                        </a:lnTo>
                        <a:lnTo>
                          <a:pt x="28" y="1408"/>
                        </a:lnTo>
                        <a:lnTo>
                          <a:pt x="21" y="1420"/>
                        </a:lnTo>
                        <a:lnTo>
                          <a:pt x="21" y="1420"/>
                        </a:lnTo>
                        <a:lnTo>
                          <a:pt x="21" y="142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5" name="Freeform 532">
                    <a:extLst>
                      <a:ext uri="{FF2B5EF4-FFF2-40B4-BE49-F238E27FC236}">
                        <a16:creationId xmlns:a16="http://schemas.microsoft.com/office/drawing/2014/main" id="{7789EBF0-C67F-4C6F-818C-B1856C2E9CF3}"/>
                      </a:ext>
                    </a:extLst>
                  </p:cNvPr>
                  <p:cNvSpPr>
                    <a:spLocks/>
                  </p:cNvSpPr>
                  <p:nvPr/>
                </p:nvSpPr>
                <p:spPr bwMode="gray">
                  <a:xfrm>
                    <a:off x="7134612" y="2252688"/>
                    <a:ext cx="288992" cy="229738"/>
                  </a:xfrm>
                  <a:custGeom>
                    <a:avLst/>
                    <a:gdLst>
                      <a:gd name="T0" fmla="*/ 87 w 702"/>
                      <a:gd name="T1" fmla="*/ 392 h 558"/>
                      <a:gd name="T2" fmla="*/ 54 w 702"/>
                      <a:gd name="T3" fmla="*/ 371 h 558"/>
                      <a:gd name="T4" fmla="*/ 50 w 702"/>
                      <a:gd name="T5" fmla="*/ 388 h 558"/>
                      <a:gd name="T6" fmla="*/ 54 w 702"/>
                      <a:gd name="T7" fmla="*/ 321 h 558"/>
                      <a:gd name="T8" fmla="*/ 40 w 702"/>
                      <a:gd name="T9" fmla="*/ 310 h 558"/>
                      <a:gd name="T10" fmla="*/ 40 w 702"/>
                      <a:gd name="T11" fmla="*/ 265 h 558"/>
                      <a:gd name="T12" fmla="*/ 24 w 702"/>
                      <a:gd name="T13" fmla="*/ 239 h 558"/>
                      <a:gd name="T14" fmla="*/ 0 w 702"/>
                      <a:gd name="T15" fmla="*/ 189 h 558"/>
                      <a:gd name="T16" fmla="*/ 16 w 702"/>
                      <a:gd name="T17" fmla="*/ 166 h 558"/>
                      <a:gd name="T18" fmla="*/ 7 w 702"/>
                      <a:gd name="T19" fmla="*/ 111 h 558"/>
                      <a:gd name="T20" fmla="*/ 33 w 702"/>
                      <a:gd name="T21" fmla="*/ 99 h 558"/>
                      <a:gd name="T22" fmla="*/ 0 w 702"/>
                      <a:gd name="T23" fmla="*/ 90 h 558"/>
                      <a:gd name="T24" fmla="*/ 163 w 702"/>
                      <a:gd name="T25" fmla="*/ 24 h 558"/>
                      <a:gd name="T26" fmla="*/ 293 w 702"/>
                      <a:gd name="T27" fmla="*/ 0 h 558"/>
                      <a:gd name="T28" fmla="*/ 326 w 702"/>
                      <a:gd name="T29" fmla="*/ 24 h 558"/>
                      <a:gd name="T30" fmla="*/ 309 w 702"/>
                      <a:gd name="T31" fmla="*/ 40 h 558"/>
                      <a:gd name="T32" fmla="*/ 380 w 702"/>
                      <a:gd name="T33" fmla="*/ 33 h 558"/>
                      <a:gd name="T34" fmla="*/ 359 w 702"/>
                      <a:gd name="T35" fmla="*/ 45 h 558"/>
                      <a:gd name="T36" fmla="*/ 397 w 702"/>
                      <a:gd name="T37" fmla="*/ 40 h 558"/>
                      <a:gd name="T38" fmla="*/ 609 w 702"/>
                      <a:gd name="T39" fmla="*/ 45 h 558"/>
                      <a:gd name="T40" fmla="*/ 647 w 702"/>
                      <a:gd name="T41" fmla="*/ 57 h 558"/>
                      <a:gd name="T42" fmla="*/ 664 w 702"/>
                      <a:gd name="T43" fmla="*/ 90 h 558"/>
                      <a:gd name="T44" fmla="*/ 690 w 702"/>
                      <a:gd name="T45" fmla="*/ 206 h 558"/>
                      <a:gd name="T46" fmla="*/ 635 w 702"/>
                      <a:gd name="T47" fmla="*/ 244 h 558"/>
                      <a:gd name="T48" fmla="*/ 664 w 702"/>
                      <a:gd name="T49" fmla="*/ 310 h 558"/>
                      <a:gd name="T50" fmla="*/ 673 w 702"/>
                      <a:gd name="T51" fmla="*/ 350 h 558"/>
                      <a:gd name="T52" fmla="*/ 690 w 702"/>
                      <a:gd name="T53" fmla="*/ 388 h 558"/>
                      <a:gd name="T54" fmla="*/ 690 w 702"/>
                      <a:gd name="T55" fmla="*/ 425 h 558"/>
                      <a:gd name="T56" fmla="*/ 647 w 702"/>
                      <a:gd name="T57" fmla="*/ 458 h 558"/>
                      <a:gd name="T58" fmla="*/ 609 w 702"/>
                      <a:gd name="T59" fmla="*/ 532 h 558"/>
                      <a:gd name="T60" fmla="*/ 614 w 702"/>
                      <a:gd name="T61" fmla="*/ 553 h 558"/>
                      <a:gd name="T62" fmla="*/ 593 w 702"/>
                      <a:gd name="T63" fmla="*/ 553 h 558"/>
                      <a:gd name="T64" fmla="*/ 555 w 702"/>
                      <a:gd name="T65" fmla="*/ 532 h 558"/>
                      <a:gd name="T66" fmla="*/ 489 w 702"/>
                      <a:gd name="T67" fmla="*/ 520 h 558"/>
                      <a:gd name="T68" fmla="*/ 468 w 702"/>
                      <a:gd name="T69" fmla="*/ 520 h 558"/>
                      <a:gd name="T70" fmla="*/ 418 w 702"/>
                      <a:gd name="T71" fmla="*/ 532 h 558"/>
                      <a:gd name="T72" fmla="*/ 397 w 702"/>
                      <a:gd name="T73" fmla="*/ 536 h 558"/>
                      <a:gd name="T74" fmla="*/ 392 w 702"/>
                      <a:gd name="T75" fmla="*/ 520 h 558"/>
                      <a:gd name="T76" fmla="*/ 347 w 702"/>
                      <a:gd name="T77" fmla="*/ 520 h 558"/>
                      <a:gd name="T78" fmla="*/ 331 w 702"/>
                      <a:gd name="T79" fmla="*/ 515 h 558"/>
                      <a:gd name="T80" fmla="*/ 326 w 702"/>
                      <a:gd name="T81" fmla="*/ 499 h 558"/>
                      <a:gd name="T82" fmla="*/ 309 w 702"/>
                      <a:gd name="T83" fmla="*/ 475 h 558"/>
                      <a:gd name="T84" fmla="*/ 267 w 702"/>
                      <a:gd name="T85" fmla="*/ 466 h 558"/>
                      <a:gd name="T86" fmla="*/ 239 w 702"/>
                      <a:gd name="T87" fmla="*/ 449 h 558"/>
                      <a:gd name="T88" fmla="*/ 250 w 702"/>
                      <a:gd name="T89" fmla="*/ 433 h 558"/>
                      <a:gd name="T90" fmla="*/ 196 w 702"/>
                      <a:gd name="T91" fmla="*/ 425 h 558"/>
                      <a:gd name="T92" fmla="*/ 170 w 702"/>
                      <a:gd name="T93" fmla="*/ 458 h 558"/>
                      <a:gd name="T94" fmla="*/ 158 w 702"/>
                      <a:gd name="T95" fmla="*/ 409 h 558"/>
                      <a:gd name="T96" fmla="*/ 142 w 702"/>
                      <a:gd name="T97" fmla="*/ 40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2" h="558">
                        <a:moveTo>
                          <a:pt x="142" y="404"/>
                        </a:moveTo>
                        <a:lnTo>
                          <a:pt x="87" y="392"/>
                        </a:lnTo>
                        <a:lnTo>
                          <a:pt x="71" y="371"/>
                        </a:lnTo>
                        <a:lnTo>
                          <a:pt x="54" y="371"/>
                        </a:lnTo>
                        <a:lnTo>
                          <a:pt x="54" y="388"/>
                        </a:lnTo>
                        <a:lnTo>
                          <a:pt x="50" y="388"/>
                        </a:lnTo>
                        <a:lnTo>
                          <a:pt x="61" y="350"/>
                        </a:lnTo>
                        <a:lnTo>
                          <a:pt x="54" y="321"/>
                        </a:lnTo>
                        <a:lnTo>
                          <a:pt x="40" y="321"/>
                        </a:lnTo>
                        <a:lnTo>
                          <a:pt x="40" y="310"/>
                        </a:lnTo>
                        <a:lnTo>
                          <a:pt x="33" y="293"/>
                        </a:lnTo>
                        <a:lnTo>
                          <a:pt x="40" y="265"/>
                        </a:lnTo>
                        <a:lnTo>
                          <a:pt x="40" y="255"/>
                        </a:lnTo>
                        <a:lnTo>
                          <a:pt x="24" y="239"/>
                        </a:lnTo>
                        <a:lnTo>
                          <a:pt x="33" y="222"/>
                        </a:lnTo>
                        <a:lnTo>
                          <a:pt x="0" y="189"/>
                        </a:lnTo>
                        <a:lnTo>
                          <a:pt x="0" y="182"/>
                        </a:lnTo>
                        <a:lnTo>
                          <a:pt x="16" y="166"/>
                        </a:lnTo>
                        <a:lnTo>
                          <a:pt x="16" y="144"/>
                        </a:lnTo>
                        <a:lnTo>
                          <a:pt x="7" y="111"/>
                        </a:lnTo>
                        <a:lnTo>
                          <a:pt x="24" y="111"/>
                        </a:lnTo>
                        <a:lnTo>
                          <a:pt x="33" y="99"/>
                        </a:lnTo>
                        <a:lnTo>
                          <a:pt x="0" y="95"/>
                        </a:lnTo>
                        <a:lnTo>
                          <a:pt x="0" y="90"/>
                        </a:lnTo>
                        <a:lnTo>
                          <a:pt x="142" y="57"/>
                        </a:lnTo>
                        <a:lnTo>
                          <a:pt x="163" y="24"/>
                        </a:lnTo>
                        <a:lnTo>
                          <a:pt x="267" y="0"/>
                        </a:lnTo>
                        <a:lnTo>
                          <a:pt x="293" y="0"/>
                        </a:lnTo>
                        <a:lnTo>
                          <a:pt x="321" y="17"/>
                        </a:lnTo>
                        <a:lnTo>
                          <a:pt x="326" y="24"/>
                        </a:lnTo>
                        <a:lnTo>
                          <a:pt x="293" y="7"/>
                        </a:lnTo>
                        <a:lnTo>
                          <a:pt x="309" y="40"/>
                        </a:lnTo>
                        <a:lnTo>
                          <a:pt x="326" y="45"/>
                        </a:lnTo>
                        <a:lnTo>
                          <a:pt x="380" y="33"/>
                        </a:lnTo>
                        <a:lnTo>
                          <a:pt x="392" y="40"/>
                        </a:lnTo>
                        <a:lnTo>
                          <a:pt x="359" y="45"/>
                        </a:lnTo>
                        <a:lnTo>
                          <a:pt x="364" y="57"/>
                        </a:lnTo>
                        <a:lnTo>
                          <a:pt x="397" y="40"/>
                        </a:lnTo>
                        <a:lnTo>
                          <a:pt x="510" y="45"/>
                        </a:lnTo>
                        <a:lnTo>
                          <a:pt x="609" y="45"/>
                        </a:lnTo>
                        <a:lnTo>
                          <a:pt x="619" y="40"/>
                        </a:lnTo>
                        <a:lnTo>
                          <a:pt x="647" y="57"/>
                        </a:lnTo>
                        <a:lnTo>
                          <a:pt x="652" y="73"/>
                        </a:lnTo>
                        <a:lnTo>
                          <a:pt x="664" y="90"/>
                        </a:lnTo>
                        <a:lnTo>
                          <a:pt x="690" y="173"/>
                        </a:lnTo>
                        <a:lnTo>
                          <a:pt x="690" y="206"/>
                        </a:lnTo>
                        <a:lnTo>
                          <a:pt x="652" y="227"/>
                        </a:lnTo>
                        <a:lnTo>
                          <a:pt x="635" y="244"/>
                        </a:lnTo>
                        <a:lnTo>
                          <a:pt x="668" y="265"/>
                        </a:lnTo>
                        <a:lnTo>
                          <a:pt x="664" y="310"/>
                        </a:lnTo>
                        <a:lnTo>
                          <a:pt x="668" y="321"/>
                        </a:lnTo>
                        <a:lnTo>
                          <a:pt x="673" y="350"/>
                        </a:lnTo>
                        <a:lnTo>
                          <a:pt x="702" y="388"/>
                        </a:lnTo>
                        <a:lnTo>
                          <a:pt x="690" y="388"/>
                        </a:lnTo>
                        <a:lnTo>
                          <a:pt x="702" y="409"/>
                        </a:lnTo>
                        <a:lnTo>
                          <a:pt x="690" y="425"/>
                        </a:lnTo>
                        <a:lnTo>
                          <a:pt x="673" y="425"/>
                        </a:lnTo>
                        <a:lnTo>
                          <a:pt x="647" y="458"/>
                        </a:lnTo>
                        <a:lnTo>
                          <a:pt x="598" y="503"/>
                        </a:lnTo>
                        <a:lnTo>
                          <a:pt x="609" y="532"/>
                        </a:lnTo>
                        <a:lnTo>
                          <a:pt x="598" y="541"/>
                        </a:lnTo>
                        <a:lnTo>
                          <a:pt x="614" y="553"/>
                        </a:lnTo>
                        <a:lnTo>
                          <a:pt x="614" y="558"/>
                        </a:lnTo>
                        <a:lnTo>
                          <a:pt x="593" y="553"/>
                        </a:lnTo>
                        <a:lnTo>
                          <a:pt x="555" y="536"/>
                        </a:lnTo>
                        <a:lnTo>
                          <a:pt x="555" y="532"/>
                        </a:lnTo>
                        <a:lnTo>
                          <a:pt x="527" y="520"/>
                        </a:lnTo>
                        <a:lnTo>
                          <a:pt x="489" y="520"/>
                        </a:lnTo>
                        <a:lnTo>
                          <a:pt x="472" y="532"/>
                        </a:lnTo>
                        <a:lnTo>
                          <a:pt x="468" y="520"/>
                        </a:lnTo>
                        <a:lnTo>
                          <a:pt x="435" y="520"/>
                        </a:lnTo>
                        <a:lnTo>
                          <a:pt x="418" y="532"/>
                        </a:lnTo>
                        <a:lnTo>
                          <a:pt x="413" y="541"/>
                        </a:lnTo>
                        <a:lnTo>
                          <a:pt x="397" y="536"/>
                        </a:lnTo>
                        <a:lnTo>
                          <a:pt x="397" y="520"/>
                        </a:lnTo>
                        <a:lnTo>
                          <a:pt x="392" y="520"/>
                        </a:lnTo>
                        <a:lnTo>
                          <a:pt x="376" y="503"/>
                        </a:lnTo>
                        <a:lnTo>
                          <a:pt x="347" y="520"/>
                        </a:lnTo>
                        <a:lnTo>
                          <a:pt x="342" y="520"/>
                        </a:lnTo>
                        <a:lnTo>
                          <a:pt x="331" y="515"/>
                        </a:lnTo>
                        <a:lnTo>
                          <a:pt x="326" y="515"/>
                        </a:lnTo>
                        <a:lnTo>
                          <a:pt x="326" y="499"/>
                        </a:lnTo>
                        <a:lnTo>
                          <a:pt x="309" y="487"/>
                        </a:lnTo>
                        <a:lnTo>
                          <a:pt x="309" y="475"/>
                        </a:lnTo>
                        <a:lnTo>
                          <a:pt x="272" y="458"/>
                        </a:lnTo>
                        <a:lnTo>
                          <a:pt x="267" y="466"/>
                        </a:lnTo>
                        <a:lnTo>
                          <a:pt x="250" y="458"/>
                        </a:lnTo>
                        <a:lnTo>
                          <a:pt x="239" y="449"/>
                        </a:lnTo>
                        <a:lnTo>
                          <a:pt x="250" y="442"/>
                        </a:lnTo>
                        <a:lnTo>
                          <a:pt x="250" y="433"/>
                        </a:lnTo>
                        <a:lnTo>
                          <a:pt x="224" y="442"/>
                        </a:lnTo>
                        <a:lnTo>
                          <a:pt x="196" y="425"/>
                        </a:lnTo>
                        <a:lnTo>
                          <a:pt x="201" y="442"/>
                        </a:lnTo>
                        <a:lnTo>
                          <a:pt x="170" y="458"/>
                        </a:lnTo>
                        <a:lnTo>
                          <a:pt x="142" y="425"/>
                        </a:lnTo>
                        <a:lnTo>
                          <a:pt x="158" y="409"/>
                        </a:lnTo>
                        <a:lnTo>
                          <a:pt x="142" y="404"/>
                        </a:lnTo>
                        <a:lnTo>
                          <a:pt x="142" y="404"/>
                        </a:lnTo>
                        <a:lnTo>
                          <a:pt x="142" y="40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22" name="Freeform 540">
                    <a:extLst>
                      <a:ext uri="{FF2B5EF4-FFF2-40B4-BE49-F238E27FC236}">
                        <a16:creationId xmlns:a16="http://schemas.microsoft.com/office/drawing/2014/main" id="{D192327B-05AC-4A86-8C5E-D70747517471}"/>
                      </a:ext>
                    </a:extLst>
                  </p:cNvPr>
                  <p:cNvSpPr>
                    <a:spLocks/>
                  </p:cNvSpPr>
                  <p:nvPr/>
                </p:nvSpPr>
                <p:spPr bwMode="gray">
                  <a:xfrm>
                    <a:off x="7311631" y="2510422"/>
                    <a:ext cx="272114" cy="172098"/>
                  </a:xfrm>
                  <a:custGeom>
                    <a:avLst/>
                    <a:gdLst>
                      <a:gd name="T0" fmla="*/ 151 w 661"/>
                      <a:gd name="T1" fmla="*/ 340 h 418"/>
                      <a:gd name="T2" fmla="*/ 151 w 661"/>
                      <a:gd name="T3" fmla="*/ 324 h 418"/>
                      <a:gd name="T4" fmla="*/ 130 w 661"/>
                      <a:gd name="T5" fmla="*/ 340 h 418"/>
                      <a:gd name="T6" fmla="*/ 97 w 661"/>
                      <a:gd name="T7" fmla="*/ 324 h 418"/>
                      <a:gd name="T8" fmla="*/ 80 w 661"/>
                      <a:gd name="T9" fmla="*/ 317 h 418"/>
                      <a:gd name="T10" fmla="*/ 92 w 661"/>
                      <a:gd name="T11" fmla="*/ 307 h 418"/>
                      <a:gd name="T12" fmla="*/ 92 w 661"/>
                      <a:gd name="T13" fmla="*/ 284 h 418"/>
                      <a:gd name="T14" fmla="*/ 38 w 661"/>
                      <a:gd name="T15" fmla="*/ 229 h 418"/>
                      <a:gd name="T16" fmla="*/ 0 w 661"/>
                      <a:gd name="T17" fmla="*/ 196 h 418"/>
                      <a:gd name="T18" fmla="*/ 28 w 661"/>
                      <a:gd name="T19" fmla="*/ 196 h 418"/>
                      <a:gd name="T20" fmla="*/ 71 w 661"/>
                      <a:gd name="T21" fmla="*/ 184 h 418"/>
                      <a:gd name="T22" fmla="*/ 92 w 661"/>
                      <a:gd name="T23" fmla="*/ 140 h 418"/>
                      <a:gd name="T24" fmla="*/ 123 w 661"/>
                      <a:gd name="T25" fmla="*/ 85 h 418"/>
                      <a:gd name="T26" fmla="*/ 146 w 661"/>
                      <a:gd name="T27" fmla="*/ 57 h 418"/>
                      <a:gd name="T28" fmla="*/ 182 w 661"/>
                      <a:gd name="T29" fmla="*/ 29 h 418"/>
                      <a:gd name="T30" fmla="*/ 220 w 661"/>
                      <a:gd name="T31" fmla="*/ 29 h 418"/>
                      <a:gd name="T32" fmla="*/ 295 w 661"/>
                      <a:gd name="T33" fmla="*/ 29 h 418"/>
                      <a:gd name="T34" fmla="*/ 349 w 661"/>
                      <a:gd name="T35" fmla="*/ 29 h 418"/>
                      <a:gd name="T36" fmla="*/ 420 w 661"/>
                      <a:gd name="T37" fmla="*/ 7 h 418"/>
                      <a:gd name="T38" fmla="*/ 468 w 661"/>
                      <a:gd name="T39" fmla="*/ 19 h 418"/>
                      <a:gd name="T40" fmla="*/ 527 w 661"/>
                      <a:gd name="T41" fmla="*/ 102 h 418"/>
                      <a:gd name="T42" fmla="*/ 560 w 661"/>
                      <a:gd name="T43" fmla="*/ 168 h 418"/>
                      <a:gd name="T44" fmla="*/ 553 w 661"/>
                      <a:gd name="T45" fmla="*/ 239 h 418"/>
                      <a:gd name="T46" fmla="*/ 553 w 661"/>
                      <a:gd name="T47" fmla="*/ 262 h 418"/>
                      <a:gd name="T48" fmla="*/ 590 w 661"/>
                      <a:gd name="T49" fmla="*/ 279 h 418"/>
                      <a:gd name="T50" fmla="*/ 649 w 661"/>
                      <a:gd name="T51" fmla="*/ 267 h 418"/>
                      <a:gd name="T52" fmla="*/ 649 w 661"/>
                      <a:gd name="T53" fmla="*/ 317 h 418"/>
                      <a:gd name="T54" fmla="*/ 612 w 661"/>
                      <a:gd name="T55" fmla="*/ 307 h 418"/>
                      <a:gd name="T56" fmla="*/ 612 w 661"/>
                      <a:gd name="T57" fmla="*/ 300 h 418"/>
                      <a:gd name="T58" fmla="*/ 607 w 661"/>
                      <a:gd name="T59" fmla="*/ 317 h 418"/>
                      <a:gd name="T60" fmla="*/ 612 w 661"/>
                      <a:gd name="T61" fmla="*/ 324 h 418"/>
                      <a:gd name="T62" fmla="*/ 590 w 661"/>
                      <a:gd name="T63" fmla="*/ 340 h 418"/>
                      <a:gd name="T64" fmla="*/ 581 w 661"/>
                      <a:gd name="T65" fmla="*/ 357 h 418"/>
                      <a:gd name="T66" fmla="*/ 581 w 661"/>
                      <a:gd name="T67" fmla="*/ 411 h 418"/>
                      <a:gd name="T68" fmla="*/ 538 w 661"/>
                      <a:gd name="T69" fmla="*/ 390 h 418"/>
                      <a:gd name="T70" fmla="*/ 510 w 661"/>
                      <a:gd name="T71" fmla="*/ 378 h 418"/>
                      <a:gd name="T72" fmla="*/ 489 w 661"/>
                      <a:gd name="T73" fmla="*/ 373 h 418"/>
                      <a:gd name="T74" fmla="*/ 413 w 661"/>
                      <a:gd name="T75" fmla="*/ 390 h 418"/>
                      <a:gd name="T76" fmla="*/ 361 w 661"/>
                      <a:gd name="T77" fmla="*/ 418 h 418"/>
                      <a:gd name="T78" fmla="*/ 274 w 661"/>
                      <a:gd name="T79" fmla="*/ 411 h 418"/>
                      <a:gd name="T80" fmla="*/ 182 w 661"/>
                      <a:gd name="T81" fmla="*/ 406 h 418"/>
                      <a:gd name="T82" fmla="*/ 189 w 661"/>
                      <a:gd name="T83" fmla="*/ 378 h 418"/>
                      <a:gd name="T84" fmla="*/ 168 w 661"/>
                      <a:gd name="T85" fmla="*/ 36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1" h="418">
                        <a:moveTo>
                          <a:pt x="168" y="362"/>
                        </a:moveTo>
                        <a:lnTo>
                          <a:pt x="151" y="340"/>
                        </a:lnTo>
                        <a:lnTo>
                          <a:pt x="177" y="340"/>
                        </a:lnTo>
                        <a:lnTo>
                          <a:pt x="151" y="324"/>
                        </a:lnTo>
                        <a:lnTo>
                          <a:pt x="146" y="324"/>
                        </a:lnTo>
                        <a:lnTo>
                          <a:pt x="130" y="340"/>
                        </a:lnTo>
                        <a:lnTo>
                          <a:pt x="123" y="333"/>
                        </a:lnTo>
                        <a:lnTo>
                          <a:pt x="97" y="324"/>
                        </a:lnTo>
                        <a:lnTo>
                          <a:pt x="92" y="317"/>
                        </a:lnTo>
                        <a:lnTo>
                          <a:pt x="80" y="317"/>
                        </a:lnTo>
                        <a:lnTo>
                          <a:pt x="75" y="307"/>
                        </a:lnTo>
                        <a:lnTo>
                          <a:pt x="92" y="307"/>
                        </a:lnTo>
                        <a:lnTo>
                          <a:pt x="75" y="300"/>
                        </a:lnTo>
                        <a:lnTo>
                          <a:pt x="92" y="284"/>
                        </a:lnTo>
                        <a:lnTo>
                          <a:pt x="38" y="251"/>
                        </a:lnTo>
                        <a:lnTo>
                          <a:pt x="38" y="229"/>
                        </a:lnTo>
                        <a:lnTo>
                          <a:pt x="28" y="229"/>
                        </a:lnTo>
                        <a:lnTo>
                          <a:pt x="0" y="196"/>
                        </a:lnTo>
                        <a:lnTo>
                          <a:pt x="16" y="189"/>
                        </a:lnTo>
                        <a:lnTo>
                          <a:pt x="28" y="196"/>
                        </a:lnTo>
                        <a:lnTo>
                          <a:pt x="38" y="184"/>
                        </a:lnTo>
                        <a:lnTo>
                          <a:pt x="71" y="184"/>
                        </a:lnTo>
                        <a:lnTo>
                          <a:pt x="75" y="151"/>
                        </a:lnTo>
                        <a:lnTo>
                          <a:pt x="92" y="140"/>
                        </a:lnTo>
                        <a:lnTo>
                          <a:pt x="97" y="118"/>
                        </a:lnTo>
                        <a:lnTo>
                          <a:pt x="123" y="85"/>
                        </a:lnTo>
                        <a:lnTo>
                          <a:pt x="123" y="73"/>
                        </a:lnTo>
                        <a:lnTo>
                          <a:pt x="146" y="57"/>
                        </a:lnTo>
                        <a:lnTo>
                          <a:pt x="168" y="45"/>
                        </a:lnTo>
                        <a:lnTo>
                          <a:pt x="182" y="29"/>
                        </a:lnTo>
                        <a:lnTo>
                          <a:pt x="205" y="19"/>
                        </a:lnTo>
                        <a:lnTo>
                          <a:pt x="220" y="29"/>
                        </a:lnTo>
                        <a:lnTo>
                          <a:pt x="274" y="29"/>
                        </a:lnTo>
                        <a:lnTo>
                          <a:pt x="295" y="29"/>
                        </a:lnTo>
                        <a:lnTo>
                          <a:pt x="328" y="57"/>
                        </a:lnTo>
                        <a:lnTo>
                          <a:pt x="349" y="29"/>
                        </a:lnTo>
                        <a:lnTo>
                          <a:pt x="413" y="29"/>
                        </a:lnTo>
                        <a:lnTo>
                          <a:pt x="420" y="7"/>
                        </a:lnTo>
                        <a:lnTo>
                          <a:pt x="446" y="0"/>
                        </a:lnTo>
                        <a:lnTo>
                          <a:pt x="468" y="19"/>
                        </a:lnTo>
                        <a:lnTo>
                          <a:pt x="489" y="57"/>
                        </a:lnTo>
                        <a:lnTo>
                          <a:pt x="527" y="102"/>
                        </a:lnTo>
                        <a:lnTo>
                          <a:pt x="543" y="118"/>
                        </a:lnTo>
                        <a:lnTo>
                          <a:pt x="560" y="168"/>
                        </a:lnTo>
                        <a:lnTo>
                          <a:pt x="543" y="196"/>
                        </a:lnTo>
                        <a:lnTo>
                          <a:pt x="553" y="239"/>
                        </a:lnTo>
                        <a:lnTo>
                          <a:pt x="543" y="246"/>
                        </a:lnTo>
                        <a:lnTo>
                          <a:pt x="553" y="262"/>
                        </a:lnTo>
                        <a:lnTo>
                          <a:pt x="564" y="267"/>
                        </a:lnTo>
                        <a:lnTo>
                          <a:pt x="590" y="279"/>
                        </a:lnTo>
                        <a:lnTo>
                          <a:pt x="635" y="262"/>
                        </a:lnTo>
                        <a:lnTo>
                          <a:pt x="649" y="267"/>
                        </a:lnTo>
                        <a:lnTo>
                          <a:pt x="661" y="279"/>
                        </a:lnTo>
                        <a:lnTo>
                          <a:pt x="649" y="317"/>
                        </a:lnTo>
                        <a:lnTo>
                          <a:pt x="612" y="317"/>
                        </a:lnTo>
                        <a:lnTo>
                          <a:pt x="612" y="307"/>
                        </a:lnTo>
                        <a:lnTo>
                          <a:pt x="619" y="300"/>
                        </a:lnTo>
                        <a:lnTo>
                          <a:pt x="612" y="300"/>
                        </a:lnTo>
                        <a:lnTo>
                          <a:pt x="598" y="300"/>
                        </a:lnTo>
                        <a:lnTo>
                          <a:pt x="607" y="317"/>
                        </a:lnTo>
                        <a:lnTo>
                          <a:pt x="598" y="333"/>
                        </a:lnTo>
                        <a:lnTo>
                          <a:pt x="612" y="324"/>
                        </a:lnTo>
                        <a:lnTo>
                          <a:pt x="590" y="333"/>
                        </a:lnTo>
                        <a:lnTo>
                          <a:pt x="590" y="340"/>
                        </a:lnTo>
                        <a:lnTo>
                          <a:pt x="607" y="333"/>
                        </a:lnTo>
                        <a:lnTo>
                          <a:pt x="581" y="357"/>
                        </a:lnTo>
                        <a:lnTo>
                          <a:pt x="590" y="390"/>
                        </a:lnTo>
                        <a:lnTo>
                          <a:pt x="581" y="411"/>
                        </a:lnTo>
                        <a:lnTo>
                          <a:pt x="543" y="406"/>
                        </a:lnTo>
                        <a:lnTo>
                          <a:pt x="538" y="390"/>
                        </a:lnTo>
                        <a:lnTo>
                          <a:pt x="522" y="390"/>
                        </a:lnTo>
                        <a:lnTo>
                          <a:pt x="510" y="378"/>
                        </a:lnTo>
                        <a:lnTo>
                          <a:pt x="501" y="390"/>
                        </a:lnTo>
                        <a:lnTo>
                          <a:pt x="489" y="373"/>
                        </a:lnTo>
                        <a:lnTo>
                          <a:pt x="472" y="373"/>
                        </a:lnTo>
                        <a:lnTo>
                          <a:pt x="413" y="390"/>
                        </a:lnTo>
                        <a:lnTo>
                          <a:pt x="383" y="411"/>
                        </a:lnTo>
                        <a:lnTo>
                          <a:pt x="361" y="418"/>
                        </a:lnTo>
                        <a:lnTo>
                          <a:pt x="295" y="406"/>
                        </a:lnTo>
                        <a:lnTo>
                          <a:pt x="274" y="411"/>
                        </a:lnTo>
                        <a:lnTo>
                          <a:pt x="220" y="395"/>
                        </a:lnTo>
                        <a:lnTo>
                          <a:pt x="182" y="406"/>
                        </a:lnTo>
                        <a:lnTo>
                          <a:pt x="182" y="390"/>
                        </a:lnTo>
                        <a:lnTo>
                          <a:pt x="189" y="378"/>
                        </a:lnTo>
                        <a:lnTo>
                          <a:pt x="168" y="362"/>
                        </a:lnTo>
                        <a:lnTo>
                          <a:pt x="168" y="362"/>
                        </a:lnTo>
                        <a:lnTo>
                          <a:pt x="168" y="36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48" name="Freeform 543">
                    <a:extLst>
                      <a:ext uri="{FF2B5EF4-FFF2-40B4-BE49-F238E27FC236}">
                        <a16:creationId xmlns:a16="http://schemas.microsoft.com/office/drawing/2014/main" id="{D2F0B821-D9D2-4DB6-9EE9-9F43D9603F61}"/>
                      </a:ext>
                    </a:extLst>
                  </p:cNvPr>
                  <p:cNvSpPr>
                    <a:spLocks noEditPoints="1"/>
                  </p:cNvSpPr>
                  <p:nvPr/>
                </p:nvSpPr>
                <p:spPr bwMode="gray">
                  <a:xfrm>
                    <a:off x="1738441" y="824034"/>
                    <a:ext cx="10478239" cy="1947006"/>
                  </a:xfrm>
                  <a:custGeom>
                    <a:avLst/>
                    <a:gdLst>
                      <a:gd name="T0" fmla="*/ 24366 w 25453"/>
                      <a:gd name="T1" fmla="*/ 2721 h 4729"/>
                      <a:gd name="T2" fmla="*/ 23563 w 25453"/>
                      <a:gd name="T3" fmla="*/ 3031 h 4729"/>
                      <a:gd name="T4" fmla="*/ 23076 w 25453"/>
                      <a:gd name="T5" fmla="*/ 3692 h 4729"/>
                      <a:gd name="T6" fmla="*/ 23331 w 25453"/>
                      <a:gd name="T7" fmla="*/ 2809 h 4729"/>
                      <a:gd name="T8" fmla="*/ 22391 w 25453"/>
                      <a:gd name="T9" fmla="*/ 2993 h 4729"/>
                      <a:gd name="T10" fmla="*/ 22018 w 25453"/>
                      <a:gd name="T11" fmla="*/ 3643 h 4729"/>
                      <a:gd name="T12" fmla="*/ 21312 w 25453"/>
                      <a:gd name="T13" fmla="*/ 4578 h 4729"/>
                      <a:gd name="T14" fmla="*/ 20955 w 25453"/>
                      <a:gd name="T15" fmla="*/ 3676 h 4729"/>
                      <a:gd name="T16" fmla="*/ 19167 w 25453"/>
                      <a:gd name="T17" fmla="*/ 3768 h 4729"/>
                      <a:gd name="T18" fmla="*/ 18078 w 25453"/>
                      <a:gd name="T19" fmla="*/ 3936 h 4729"/>
                      <a:gd name="T20" fmla="*/ 17117 w 25453"/>
                      <a:gd name="T21" fmla="*/ 3487 h 4729"/>
                      <a:gd name="T22" fmla="*/ 16424 w 25453"/>
                      <a:gd name="T23" fmla="*/ 3803 h 4729"/>
                      <a:gd name="T24" fmla="*/ 15550 w 25453"/>
                      <a:gd name="T25" fmla="*/ 3931 h 4729"/>
                      <a:gd name="T26" fmla="*/ 15425 w 25453"/>
                      <a:gd name="T27" fmla="*/ 4694 h 4729"/>
                      <a:gd name="T28" fmla="*/ 14821 w 25453"/>
                      <a:gd name="T29" fmla="*/ 4191 h 4729"/>
                      <a:gd name="T30" fmla="*/ 14388 w 25453"/>
                      <a:gd name="T31" fmla="*/ 3581 h 4729"/>
                      <a:gd name="T32" fmla="*/ 14169 w 25453"/>
                      <a:gd name="T33" fmla="*/ 2792 h 4729"/>
                      <a:gd name="T34" fmla="*/ 14471 w 25453"/>
                      <a:gd name="T35" fmla="*/ 1862 h 4729"/>
                      <a:gd name="T36" fmla="*/ 14660 w 25453"/>
                      <a:gd name="T37" fmla="*/ 2488 h 4729"/>
                      <a:gd name="T38" fmla="*/ 15395 w 25453"/>
                      <a:gd name="T39" fmla="*/ 2018 h 4729"/>
                      <a:gd name="T40" fmla="*/ 16278 w 25453"/>
                      <a:gd name="T41" fmla="*/ 1918 h 4729"/>
                      <a:gd name="T42" fmla="*/ 16991 w 25453"/>
                      <a:gd name="T43" fmla="*/ 1368 h 4729"/>
                      <a:gd name="T44" fmla="*/ 17298 w 25453"/>
                      <a:gd name="T45" fmla="*/ 2105 h 4729"/>
                      <a:gd name="T46" fmla="*/ 17407 w 25453"/>
                      <a:gd name="T47" fmla="*/ 1545 h 4729"/>
                      <a:gd name="T48" fmla="*/ 17969 w 25453"/>
                      <a:gd name="T49" fmla="*/ 1718 h 4729"/>
                      <a:gd name="T50" fmla="*/ 18272 w 25453"/>
                      <a:gd name="T51" fmla="*/ 1075 h 4729"/>
                      <a:gd name="T52" fmla="*/ 19103 w 25453"/>
                      <a:gd name="T53" fmla="*/ 891 h 4729"/>
                      <a:gd name="T54" fmla="*/ 20065 w 25453"/>
                      <a:gd name="T55" fmla="*/ 981 h 4729"/>
                      <a:gd name="T56" fmla="*/ 20074 w 25453"/>
                      <a:gd name="T57" fmla="*/ 1290 h 4729"/>
                      <a:gd name="T58" fmla="*/ 21782 w 25453"/>
                      <a:gd name="T59" fmla="*/ 1573 h 4729"/>
                      <a:gd name="T60" fmla="*/ 22644 w 25453"/>
                      <a:gd name="T61" fmla="*/ 1552 h 4729"/>
                      <a:gd name="T62" fmla="*/ 24227 w 25453"/>
                      <a:gd name="T63" fmla="*/ 1767 h 4729"/>
                      <a:gd name="T64" fmla="*/ 25053 w 25453"/>
                      <a:gd name="T65" fmla="*/ 2046 h 4729"/>
                      <a:gd name="T66" fmla="*/ 25205 w 25453"/>
                      <a:gd name="T67" fmla="*/ 2400 h 4729"/>
                      <a:gd name="T68" fmla="*/ 16188 w 25453"/>
                      <a:gd name="T69" fmla="*/ 5 h 4729"/>
                      <a:gd name="T70" fmla="*/ 18557 w 25453"/>
                      <a:gd name="T71" fmla="*/ 236 h 4729"/>
                      <a:gd name="T72" fmla="*/ 16198 w 25453"/>
                      <a:gd name="T73" fmla="*/ 116 h 4729"/>
                      <a:gd name="T74" fmla="*/ 15593 w 25453"/>
                      <a:gd name="T75" fmla="*/ 203 h 4729"/>
                      <a:gd name="T76" fmla="*/ 15345 w 25453"/>
                      <a:gd name="T77" fmla="*/ 236 h 4729"/>
                      <a:gd name="T78" fmla="*/ 15933 w 25453"/>
                      <a:gd name="T79" fmla="*/ 236 h 4729"/>
                      <a:gd name="T80" fmla="*/ 18650 w 25453"/>
                      <a:gd name="T81" fmla="*/ 404 h 4729"/>
                      <a:gd name="T82" fmla="*/ 16252 w 25453"/>
                      <a:gd name="T83" fmla="*/ 322 h 4729"/>
                      <a:gd name="T84" fmla="*/ 19221 w 25453"/>
                      <a:gd name="T85" fmla="*/ 598 h 4729"/>
                      <a:gd name="T86" fmla="*/ 23093 w 25453"/>
                      <a:gd name="T87" fmla="*/ 758 h 4729"/>
                      <a:gd name="T88" fmla="*/ 16727 w 25453"/>
                      <a:gd name="T89" fmla="*/ 832 h 4729"/>
                      <a:gd name="T90" fmla="*/ 18978 w 25453"/>
                      <a:gd name="T91" fmla="*/ 815 h 4729"/>
                      <a:gd name="T92" fmla="*/ 18898 w 25453"/>
                      <a:gd name="T93" fmla="*/ 886 h 4729"/>
                      <a:gd name="T94" fmla="*/ 22046 w 25453"/>
                      <a:gd name="T95" fmla="*/ 931 h 4729"/>
                      <a:gd name="T96" fmla="*/ 16257 w 25453"/>
                      <a:gd name="T97" fmla="*/ 947 h 4729"/>
                      <a:gd name="T98" fmla="*/ 17700 w 25453"/>
                      <a:gd name="T99" fmla="*/ 1129 h 4729"/>
                      <a:gd name="T100" fmla="*/ 18125 w 25453"/>
                      <a:gd name="T101" fmla="*/ 1195 h 4729"/>
                      <a:gd name="T102" fmla="*/ 20700 w 25453"/>
                      <a:gd name="T103" fmla="*/ 1363 h 4729"/>
                      <a:gd name="T104" fmla="*/ 17133 w 25453"/>
                      <a:gd name="T105" fmla="*/ 1314 h 4729"/>
                      <a:gd name="T106" fmla="*/ 15858 w 25453"/>
                      <a:gd name="T107" fmla="*/ 1363 h 4729"/>
                      <a:gd name="T108" fmla="*/ 17693 w 25453"/>
                      <a:gd name="T109" fmla="*/ 1392 h 4729"/>
                      <a:gd name="T110" fmla="*/ 21775 w 25453"/>
                      <a:gd name="T111" fmla="*/ 1552 h 4729"/>
                      <a:gd name="T112" fmla="*/ 16257 w 25453"/>
                      <a:gd name="T113" fmla="*/ 1696 h 4729"/>
                      <a:gd name="T114" fmla="*/ 15534 w 25453"/>
                      <a:gd name="T115" fmla="*/ 1923 h 4729"/>
                      <a:gd name="T116" fmla="*/ 0 w 25453"/>
                      <a:gd name="T117" fmla="*/ 2400 h 4729"/>
                      <a:gd name="T118" fmla="*/ 13590 w 25453"/>
                      <a:gd name="T119" fmla="*/ 3421 h 4729"/>
                      <a:gd name="T120" fmla="*/ 22169 w 25453"/>
                      <a:gd name="T121" fmla="*/ 3659 h 4729"/>
                      <a:gd name="T122" fmla="*/ 23001 w 25453"/>
                      <a:gd name="T123" fmla="*/ 3903 h 4729"/>
                      <a:gd name="T124" fmla="*/ 22483 w 25453"/>
                      <a:gd name="T125" fmla="*/ 4373 h 4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453" h="4729">
                        <a:moveTo>
                          <a:pt x="24735" y="2360"/>
                        </a:moveTo>
                        <a:lnTo>
                          <a:pt x="24706" y="2388"/>
                        </a:lnTo>
                        <a:lnTo>
                          <a:pt x="24638" y="2421"/>
                        </a:lnTo>
                        <a:lnTo>
                          <a:pt x="24654" y="2405"/>
                        </a:lnTo>
                        <a:lnTo>
                          <a:pt x="24572" y="2405"/>
                        </a:lnTo>
                        <a:lnTo>
                          <a:pt x="24562" y="2384"/>
                        </a:lnTo>
                        <a:lnTo>
                          <a:pt x="24517" y="2360"/>
                        </a:lnTo>
                        <a:lnTo>
                          <a:pt x="24479" y="2367"/>
                        </a:lnTo>
                        <a:lnTo>
                          <a:pt x="24529" y="2367"/>
                        </a:lnTo>
                        <a:lnTo>
                          <a:pt x="24550" y="2388"/>
                        </a:lnTo>
                        <a:lnTo>
                          <a:pt x="24529" y="2400"/>
                        </a:lnTo>
                        <a:lnTo>
                          <a:pt x="24508" y="2384"/>
                        </a:lnTo>
                        <a:lnTo>
                          <a:pt x="24491" y="2388"/>
                        </a:lnTo>
                        <a:lnTo>
                          <a:pt x="24465" y="2377"/>
                        </a:lnTo>
                        <a:lnTo>
                          <a:pt x="24442" y="2400"/>
                        </a:lnTo>
                        <a:lnTo>
                          <a:pt x="24352" y="2405"/>
                        </a:lnTo>
                        <a:lnTo>
                          <a:pt x="24437" y="2400"/>
                        </a:lnTo>
                        <a:lnTo>
                          <a:pt x="24465" y="2384"/>
                        </a:lnTo>
                        <a:lnTo>
                          <a:pt x="24491" y="2405"/>
                        </a:lnTo>
                        <a:lnTo>
                          <a:pt x="24465" y="2417"/>
                        </a:lnTo>
                        <a:lnTo>
                          <a:pt x="24465" y="2421"/>
                        </a:lnTo>
                        <a:lnTo>
                          <a:pt x="24491" y="2405"/>
                        </a:lnTo>
                        <a:lnTo>
                          <a:pt x="24513" y="2421"/>
                        </a:lnTo>
                        <a:lnTo>
                          <a:pt x="24529" y="2405"/>
                        </a:lnTo>
                        <a:lnTo>
                          <a:pt x="24567" y="2400"/>
                        </a:lnTo>
                        <a:lnTo>
                          <a:pt x="24550" y="2421"/>
                        </a:lnTo>
                        <a:lnTo>
                          <a:pt x="24572" y="2445"/>
                        </a:lnTo>
                        <a:lnTo>
                          <a:pt x="24605" y="2462"/>
                        </a:lnTo>
                        <a:lnTo>
                          <a:pt x="24621" y="2445"/>
                        </a:lnTo>
                        <a:lnTo>
                          <a:pt x="24626" y="2455"/>
                        </a:lnTo>
                        <a:lnTo>
                          <a:pt x="24638" y="2478"/>
                        </a:lnTo>
                        <a:lnTo>
                          <a:pt x="24626" y="2495"/>
                        </a:lnTo>
                        <a:lnTo>
                          <a:pt x="24642" y="2495"/>
                        </a:lnTo>
                        <a:lnTo>
                          <a:pt x="24654" y="2528"/>
                        </a:lnTo>
                        <a:lnTo>
                          <a:pt x="24642" y="2528"/>
                        </a:lnTo>
                        <a:lnTo>
                          <a:pt x="24621" y="2532"/>
                        </a:lnTo>
                        <a:lnTo>
                          <a:pt x="24654" y="2532"/>
                        </a:lnTo>
                        <a:lnTo>
                          <a:pt x="24654" y="2549"/>
                        </a:lnTo>
                        <a:lnTo>
                          <a:pt x="24642" y="2556"/>
                        </a:lnTo>
                        <a:lnTo>
                          <a:pt x="24659" y="2549"/>
                        </a:lnTo>
                        <a:lnTo>
                          <a:pt x="24654" y="2532"/>
                        </a:lnTo>
                        <a:lnTo>
                          <a:pt x="24668" y="2566"/>
                        </a:lnTo>
                        <a:lnTo>
                          <a:pt x="24659" y="2556"/>
                        </a:lnTo>
                        <a:lnTo>
                          <a:pt x="24659" y="2566"/>
                        </a:lnTo>
                        <a:lnTo>
                          <a:pt x="24697" y="2582"/>
                        </a:lnTo>
                        <a:lnTo>
                          <a:pt x="24697" y="2599"/>
                        </a:lnTo>
                        <a:lnTo>
                          <a:pt x="24680" y="2606"/>
                        </a:lnTo>
                        <a:lnTo>
                          <a:pt x="24706" y="2622"/>
                        </a:lnTo>
                        <a:lnTo>
                          <a:pt x="24706" y="2643"/>
                        </a:lnTo>
                        <a:lnTo>
                          <a:pt x="24676" y="2660"/>
                        </a:lnTo>
                        <a:lnTo>
                          <a:pt x="24680" y="2677"/>
                        </a:lnTo>
                        <a:lnTo>
                          <a:pt x="24676" y="2681"/>
                        </a:lnTo>
                        <a:lnTo>
                          <a:pt x="24600" y="2655"/>
                        </a:lnTo>
                        <a:lnTo>
                          <a:pt x="24550" y="2643"/>
                        </a:lnTo>
                        <a:lnTo>
                          <a:pt x="24550" y="2627"/>
                        </a:lnTo>
                        <a:lnTo>
                          <a:pt x="24562" y="2622"/>
                        </a:lnTo>
                        <a:lnTo>
                          <a:pt x="24546" y="2639"/>
                        </a:lnTo>
                        <a:lnTo>
                          <a:pt x="24529" y="2610"/>
                        </a:lnTo>
                        <a:lnTo>
                          <a:pt x="24529" y="2639"/>
                        </a:lnTo>
                        <a:lnTo>
                          <a:pt x="24550" y="2643"/>
                        </a:lnTo>
                        <a:lnTo>
                          <a:pt x="24508" y="2655"/>
                        </a:lnTo>
                        <a:lnTo>
                          <a:pt x="24479" y="2677"/>
                        </a:lnTo>
                        <a:lnTo>
                          <a:pt x="24373" y="2721"/>
                        </a:lnTo>
                        <a:lnTo>
                          <a:pt x="24357" y="2717"/>
                        </a:lnTo>
                        <a:lnTo>
                          <a:pt x="24366" y="2721"/>
                        </a:lnTo>
                        <a:lnTo>
                          <a:pt x="24357" y="2733"/>
                        </a:lnTo>
                        <a:lnTo>
                          <a:pt x="24328" y="2733"/>
                        </a:lnTo>
                        <a:lnTo>
                          <a:pt x="24319" y="2738"/>
                        </a:lnTo>
                        <a:lnTo>
                          <a:pt x="24302" y="2750"/>
                        </a:lnTo>
                        <a:lnTo>
                          <a:pt x="24290" y="2738"/>
                        </a:lnTo>
                        <a:lnTo>
                          <a:pt x="24281" y="2766"/>
                        </a:lnTo>
                        <a:lnTo>
                          <a:pt x="24276" y="2766"/>
                        </a:lnTo>
                        <a:lnTo>
                          <a:pt x="24260" y="2776"/>
                        </a:lnTo>
                        <a:lnTo>
                          <a:pt x="24243" y="2771"/>
                        </a:lnTo>
                        <a:lnTo>
                          <a:pt x="24227" y="2776"/>
                        </a:lnTo>
                        <a:lnTo>
                          <a:pt x="24243" y="2788"/>
                        </a:lnTo>
                        <a:lnTo>
                          <a:pt x="24227" y="2788"/>
                        </a:lnTo>
                        <a:lnTo>
                          <a:pt x="24239" y="2792"/>
                        </a:lnTo>
                        <a:lnTo>
                          <a:pt x="24222" y="2804"/>
                        </a:lnTo>
                        <a:lnTo>
                          <a:pt x="24205" y="2792"/>
                        </a:lnTo>
                        <a:lnTo>
                          <a:pt x="24205" y="2809"/>
                        </a:lnTo>
                        <a:lnTo>
                          <a:pt x="24210" y="2821"/>
                        </a:lnTo>
                        <a:lnTo>
                          <a:pt x="24194" y="2821"/>
                        </a:lnTo>
                        <a:lnTo>
                          <a:pt x="24184" y="2809"/>
                        </a:lnTo>
                        <a:lnTo>
                          <a:pt x="24189" y="2828"/>
                        </a:lnTo>
                        <a:lnTo>
                          <a:pt x="24184" y="2844"/>
                        </a:lnTo>
                        <a:lnTo>
                          <a:pt x="24172" y="2828"/>
                        </a:lnTo>
                        <a:lnTo>
                          <a:pt x="24172" y="2844"/>
                        </a:lnTo>
                        <a:lnTo>
                          <a:pt x="24151" y="2844"/>
                        </a:lnTo>
                        <a:lnTo>
                          <a:pt x="24151" y="2849"/>
                        </a:lnTo>
                        <a:lnTo>
                          <a:pt x="24135" y="2849"/>
                        </a:lnTo>
                        <a:lnTo>
                          <a:pt x="24135" y="2866"/>
                        </a:lnTo>
                        <a:lnTo>
                          <a:pt x="24080" y="2887"/>
                        </a:lnTo>
                        <a:lnTo>
                          <a:pt x="24080" y="2899"/>
                        </a:lnTo>
                        <a:lnTo>
                          <a:pt x="24076" y="2903"/>
                        </a:lnTo>
                        <a:lnTo>
                          <a:pt x="24064" y="2936"/>
                        </a:lnTo>
                        <a:lnTo>
                          <a:pt x="24059" y="2936"/>
                        </a:lnTo>
                        <a:lnTo>
                          <a:pt x="24033" y="2920"/>
                        </a:lnTo>
                        <a:lnTo>
                          <a:pt x="24021" y="2887"/>
                        </a:lnTo>
                        <a:lnTo>
                          <a:pt x="23979" y="2866"/>
                        </a:lnTo>
                        <a:lnTo>
                          <a:pt x="23979" y="2877"/>
                        </a:lnTo>
                        <a:lnTo>
                          <a:pt x="23913" y="2866"/>
                        </a:lnTo>
                        <a:lnTo>
                          <a:pt x="23832" y="2899"/>
                        </a:lnTo>
                        <a:lnTo>
                          <a:pt x="23761" y="2953"/>
                        </a:lnTo>
                        <a:lnTo>
                          <a:pt x="23773" y="2887"/>
                        </a:lnTo>
                        <a:lnTo>
                          <a:pt x="23778" y="2882"/>
                        </a:lnTo>
                        <a:lnTo>
                          <a:pt x="23757" y="2882"/>
                        </a:lnTo>
                        <a:lnTo>
                          <a:pt x="23702" y="2920"/>
                        </a:lnTo>
                        <a:lnTo>
                          <a:pt x="23686" y="2915"/>
                        </a:lnTo>
                        <a:lnTo>
                          <a:pt x="23702" y="2932"/>
                        </a:lnTo>
                        <a:lnTo>
                          <a:pt x="23681" y="2953"/>
                        </a:lnTo>
                        <a:lnTo>
                          <a:pt x="23665" y="2936"/>
                        </a:lnTo>
                        <a:lnTo>
                          <a:pt x="23648" y="2920"/>
                        </a:lnTo>
                        <a:lnTo>
                          <a:pt x="23643" y="2920"/>
                        </a:lnTo>
                        <a:lnTo>
                          <a:pt x="23643" y="2932"/>
                        </a:lnTo>
                        <a:lnTo>
                          <a:pt x="23627" y="2936"/>
                        </a:lnTo>
                        <a:lnTo>
                          <a:pt x="23627" y="2943"/>
                        </a:lnTo>
                        <a:lnTo>
                          <a:pt x="23617" y="2943"/>
                        </a:lnTo>
                        <a:lnTo>
                          <a:pt x="23627" y="2936"/>
                        </a:lnTo>
                        <a:lnTo>
                          <a:pt x="23617" y="2932"/>
                        </a:lnTo>
                        <a:lnTo>
                          <a:pt x="23596" y="2932"/>
                        </a:lnTo>
                        <a:lnTo>
                          <a:pt x="23601" y="2936"/>
                        </a:lnTo>
                        <a:lnTo>
                          <a:pt x="23596" y="2943"/>
                        </a:lnTo>
                        <a:lnTo>
                          <a:pt x="23572" y="2953"/>
                        </a:lnTo>
                        <a:lnTo>
                          <a:pt x="23572" y="2972"/>
                        </a:lnTo>
                        <a:lnTo>
                          <a:pt x="23558" y="2977"/>
                        </a:lnTo>
                        <a:lnTo>
                          <a:pt x="23572" y="2998"/>
                        </a:lnTo>
                        <a:lnTo>
                          <a:pt x="23563" y="3010"/>
                        </a:lnTo>
                        <a:lnTo>
                          <a:pt x="23546" y="3010"/>
                        </a:lnTo>
                        <a:lnTo>
                          <a:pt x="23563" y="3031"/>
                        </a:lnTo>
                        <a:lnTo>
                          <a:pt x="23546" y="3026"/>
                        </a:lnTo>
                        <a:lnTo>
                          <a:pt x="23542" y="3026"/>
                        </a:lnTo>
                        <a:lnTo>
                          <a:pt x="23546" y="3043"/>
                        </a:lnTo>
                        <a:lnTo>
                          <a:pt x="23504" y="3071"/>
                        </a:lnTo>
                        <a:lnTo>
                          <a:pt x="23487" y="3099"/>
                        </a:lnTo>
                        <a:lnTo>
                          <a:pt x="23471" y="3137"/>
                        </a:lnTo>
                        <a:lnTo>
                          <a:pt x="23487" y="3158"/>
                        </a:lnTo>
                        <a:lnTo>
                          <a:pt x="23504" y="3170"/>
                        </a:lnTo>
                        <a:lnTo>
                          <a:pt x="23504" y="3175"/>
                        </a:lnTo>
                        <a:lnTo>
                          <a:pt x="23520" y="3154"/>
                        </a:lnTo>
                        <a:lnTo>
                          <a:pt x="23563" y="3158"/>
                        </a:lnTo>
                        <a:lnTo>
                          <a:pt x="23563" y="3170"/>
                        </a:lnTo>
                        <a:lnTo>
                          <a:pt x="23558" y="3192"/>
                        </a:lnTo>
                        <a:lnTo>
                          <a:pt x="23525" y="3208"/>
                        </a:lnTo>
                        <a:lnTo>
                          <a:pt x="23535" y="3236"/>
                        </a:lnTo>
                        <a:lnTo>
                          <a:pt x="23535" y="3269"/>
                        </a:lnTo>
                        <a:lnTo>
                          <a:pt x="23542" y="3281"/>
                        </a:lnTo>
                        <a:lnTo>
                          <a:pt x="23563" y="3269"/>
                        </a:lnTo>
                        <a:lnTo>
                          <a:pt x="23572" y="3326"/>
                        </a:lnTo>
                        <a:lnTo>
                          <a:pt x="23546" y="3347"/>
                        </a:lnTo>
                        <a:lnTo>
                          <a:pt x="23525" y="3336"/>
                        </a:lnTo>
                        <a:lnTo>
                          <a:pt x="23525" y="3319"/>
                        </a:lnTo>
                        <a:lnTo>
                          <a:pt x="23558" y="3293"/>
                        </a:lnTo>
                        <a:lnTo>
                          <a:pt x="23546" y="3293"/>
                        </a:lnTo>
                        <a:lnTo>
                          <a:pt x="23542" y="3303"/>
                        </a:lnTo>
                        <a:lnTo>
                          <a:pt x="23525" y="3303"/>
                        </a:lnTo>
                        <a:lnTo>
                          <a:pt x="23504" y="3310"/>
                        </a:lnTo>
                        <a:lnTo>
                          <a:pt x="23520" y="3326"/>
                        </a:lnTo>
                        <a:lnTo>
                          <a:pt x="23483" y="3343"/>
                        </a:lnTo>
                        <a:lnTo>
                          <a:pt x="23454" y="3397"/>
                        </a:lnTo>
                        <a:lnTo>
                          <a:pt x="23466" y="3437"/>
                        </a:lnTo>
                        <a:lnTo>
                          <a:pt x="23487" y="3458"/>
                        </a:lnTo>
                        <a:lnTo>
                          <a:pt x="23487" y="3475"/>
                        </a:lnTo>
                        <a:lnTo>
                          <a:pt x="23454" y="3503"/>
                        </a:lnTo>
                        <a:lnTo>
                          <a:pt x="23428" y="3503"/>
                        </a:lnTo>
                        <a:lnTo>
                          <a:pt x="23416" y="3491"/>
                        </a:lnTo>
                        <a:lnTo>
                          <a:pt x="23383" y="3503"/>
                        </a:lnTo>
                        <a:lnTo>
                          <a:pt x="23341" y="3541"/>
                        </a:lnTo>
                        <a:lnTo>
                          <a:pt x="23324" y="3581"/>
                        </a:lnTo>
                        <a:lnTo>
                          <a:pt x="23331" y="3586"/>
                        </a:lnTo>
                        <a:lnTo>
                          <a:pt x="23331" y="3603"/>
                        </a:lnTo>
                        <a:lnTo>
                          <a:pt x="23324" y="3598"/>
                        </a:lnTo>
                        <a:lnTo>
                          <a:pt x="23341" y="3619"/>
                        </a:lnTo>
                        <a:lnTo>
                          <a:pt x="23341" y="3636"/>
                        </a:lnTo>
                        <a:lnTo>
                          <a:pt x="23308" y="3619"/>
                        </a:lnTo>
                        <a:lnTo>
                          <a:pt x="23270" y="3643"/>
                        </a:lnTo>
                        <a:lnTo>
                          <a:pt x="23249" y="3659"/>
                        </a:lnTo>
                        <a:lnTo>
                          <a:pt x="23239" y="3643"/>
                        </a:lnTo>
                        <a:lnTo>
                          <a:pt x="23223" y="3643"/>
                        </a:lnTo>
                        <a:lnTo>
                          <a:pt x="23223" y="3659"/>
                        </a:lnTo>
                        <a:lnTo>
                          <a:pt x="23239" y="3659"/>
                        </a:lnTo>
                        <a:lnTo>
                          <a:pt x="23232" y="3680"/>
                        </a:lnTo>
                        <a:lnTo>
                          <a:pt x="23223" y="3680"/>
                        </a:lnTo>
                        <a:lnTo>
                          <a:pt x="23232" y="3692"/>
                        </a:lnTo>
                        <a:lnTo>
                          <a:pt x="23232" y="3714"/>
                        </a:lnTo>
                        <a:lnTo>
                          <a:pt x="23218" y="3730"/>
                        </a:lnTo>
                        <a:lnTo>
                          <a:pt x="23218" y="3751"/>
                        </a:lnTo>
                        <a:lnTo>
                          <a:pt x="23105" y="3846"/>
                        </a:lnTo>
                        <a:lnTo>
                          <a:pt x="23109" y="3836"/>
                        </a:lnTo>
                        <a:lnTo>
                          <a:pt x="23093" y="3808"/>
                        </a:lnTo>
                        <a:lnTo>
                          <a:pt x="23093" y="3751"/>
                        </a:lnTo>
                        <a:lnTo>
                          <a:pt x="23076" y="3692"/>
                        </a:lnTo>
                        <a:lnTo>
                          <a:pt x="23088" y="3697"/>
                        </a:lnTo>
                        <a:lnTo>
                          <a:pt x="23088" y="3692"/>
                        </a:lnTo>
                        <a:lnTo>
                          <a:pt x="23076" y="3692"/>
                        </a:lnTo>
                        <a:lnTo>
                          <a:pt x="23060" y="3669"/>
                        </a:lnTo>
                        <a:lnTo>
                          <a:pt x="23022" y="3421"/>
                        </a:lnTo>
                        <a:lnTo>
                          <a:pt x="23034" y="3359"/>
                        </a:lnTo>
                        <a:lnTo>
                          <a:pt x="23055" y="3281"/>
                        </a:lnTo>
                        <a:lnTo>
                          <a:pt x="23088" y="3253"/>
                        </a:lnTo>
                        <a:lnTo>
                          <a:pt x="23093" y="3236"/>
                        </a:lnTo>
                        <a:lnTo>
                          <a:pt x="23105" y="3236"/>
                        </a:lnTo>
                        <a:lnTo>
                          <a:pt x="23126" y="3208"/>
                        </a:lnTo>
                        <a:lnTo>
                          <a:pt x="23126" y="3182"/>
                        </a:lnTo>
                        <a:lnTo>
                          <a:pt x="23109" y="3175"/>
                        </a:lnTo>
                        <a:lnTo>
                          <a:pt x="23126" y="3158"/>
                        </a:lnTo>
                        <a:lnTo>
                          <a:pt x="23142" y="3170"/>
                        </a:lnTo>
                        <a:lnTo>
                          <a:pt x="23157" y="3170"/>
                        </a:lnTo>
                        <a:lnTo>
                          <a:pt x="23168" y="3142"/>
                        </a:lnTo>
                        <a:lnTo>
                          <a:pt x="23218" y="3142"/>
                        </a:lnTo>
                        <a:lnTo>
                          <a:pt x="23320" y="3059"/>
                        </a:lnTo>
                        <a:lnTo>
                          <a:pt x="23324" y="3031"/>
                        </a:lnTo>
                        <a:lnTo>
                          <a:pt x="23362" y="2998"/>
                        </a:lnTo>
                        <a:lnTo>
                          <a:pt x="23374" y="2977"/>
                        </a:lnTo>
                        <a:lnTo>
                          <a:pt x="23395" y="2972"/>
                        </a:lnTo>
                        <a:lnTo>
                          <a:pt x="23438" y="2920"/>
                        </a:lnTo>
                        <a:lnTo>
                          <a:pt x="23466" y="2915"/>
                        </a:lnTo>
                        <a:lnTo>
                          <a:pt x="23471" y="2903"/>
                        </a:lnTo>
                        <a:lnTo>
                          <a:pt x="23471" y="2882"/>
                        </a:lnTo>
                        <a:lnTo>
                          <a:pt x="23535" y="2861"/>
                        </a:lnTo>
                        <a:lnTo>
                          <a:pt x="23542" y="2849"/>
                        </a:lnTo>
                        <a:lnTo>
                          <a:pt x="23596" y="2832"/>
                        </a:lnTo>
                        <a:lnTo>
                          <a:pt x="23596" y="2828"/>
                        </a:lnTo>
                        <a:lnTo>
                          <a:pt x="23579" y="2821"/>
                        </a:lnTo>
                        <a:lnTo>
                          <a:pt x="23617" y="2788"/>
                        </a:lnTo>
                        <a:lnTo>
                          <a:pt x="23617" y="2776"/>
                        </a:lnTo>
                        <a:lnTo>
                          <a:pt x="23601" y="2771"/>
                        </a:lnTo>
                        <a:lnTo>
                          <a:pt x="23610" y="2755"/>
                        </a:lnTo>
                        <a:lnTo>
                          <a:pt x="23617" y="2750"/>
                        </a:lnTo>
                        <a:lnTo>
                          <a:pt x="23627" y="2681"/>
                        </a:lnTo>
                        <a:lnTo>
                          <a:pt x="23655" y="2660"/>
                        </a:lnTo>
                        <a:lnTo>
                          <a:pt x="23698" y="2665"/>
                        </a:lnTo>
                        <a:lnTo>
                          <a:pt x="23709" y="2677"/>
                        </a:lnTo>
                        <a:lnTo>
                          <a:pt x="23698" y="2660"/>
                        </a:lnTo>
                        <a:lnTo>
                          <a:pt x="23735" y="2660"/>
                        </a:lnTo>
                        <a:lnTo>
                          <a:pt x="23686" y="2655"/>
                        </a:lnTo>
                        <a:lnTo>
                          <a:pt x="23643" y="2639"/>
                        </a:lnTo>
                        <a:lnTo>
                          <a:pt x="23563" y="2655"/>
                        </a:lnTo>
                        <a:lnTo>
                          <a:pt x="23558" y="2660"/>
                        </a:lnTo>
                        <a:lnTo>
                          <a:pt x="23572" y="2677"/>
                        </a:lnTo>
                        <a:lnTo>
                          <a:pt x="23558" y="2681"/>
                        </a:lnTo>
                        <a:lnTo>
                          <a:pt x="23558" y="2710"/>
                        </a:lnTo>
                        <a:lnTo>
                          <a:pt x="23542" y="2733"/>
                        </a:lnTo>
                        <a:lnTo>
                          <a:pt x="23572" y="2738"/>
                        </a:lnTo>
                        <a:lnTo>
                          <a:pt x="23563" y="2750"/>
                        </a:lnTo>
                        <a:lnTo>
                          <a:pt x="23546" y="2766"/>
                        </a:lnTo>
                        <a:lnTo>
                          <a:pt x="23535" y="2750"/>
                        </a:lnTo>
                        <a:lnTo>
                          <a:pt x="23525" y="2750"/>
                        </a:lnTo>
                        <a:lnTo>
                          <a:pt x="23535" y="2755"/>
                        </a:lnTo>
                        <a:lnTo>
                          <a:pt x="23504" y="2750"/>
                        </a:lnTo>
                        <a:lnTo>
                          <a:pt x="23400" y="2832"/>
                        </a:lnTo>
                        <a:lnTo>
                          <a:pt x="23395" y="2849"/>
                        </a:lnTo>
                        <a:lnTo>
                          <a:pt x="23362" y="2849"/>
                        </a:lnTo>
                        <a:lnTo>
                          <a:pt x="23346" y="2866"/>
                        </a:lnTo>
                        <a:lnTo>
                          <a:pt x="23357" y="2849"/>
                        </a:lnTo>
                        <a:lnTo>
                          <a:pt x="23346" y="2844"/>
                        </a:lnTo>
                        <a:lnTo>
                          <a:pt x="23362" y="2821"/>
                        </a:lnTo>
                        <a:lnTo>
                          <a:pt x="23346" y="2821"/>
                        </a:lnTo>
                        <a:lnTo>
                          <a:pt x="23324" y="2828"/>
                        </a:lnTo>
                        <a:lnTo>
                          <a:pt x="23331" y="2809"/>
                        </a:lnTo>
                        <a:lnTo>
                          <a:pt x="23331" y="2792"/>
                        </a:lnTo>
                        <a:lnTo>
                          <a:pt x="23324" y="2792"/>
                        </a:lnTo>
                        <a:lnTo>
                          <a:pt x="23362" y="2738"/>
                        </a:lnTo>
                        <a:lnTo>
                          <a:pt x="23362" y="2717"/>
                        </a:lnTo>
                        <a:lnTo>
                          <a:pt x="23303" y="2750"/>
                        </a:lnTo>
                        <a:lnTo>
                          <a:pt x="23294" y="2721"/>
                        </a:lnTo>
                        <a:lnTo>
                          <a:pt x="23287" y="2721"/>
                        </a:lnTo>
                        <a:lnTo>
                          <a:pt x="23202" y="2738"/>
                        </a:lnTo>
                        <a:lnTo>
                          <a:pt x="23164" y="2733"/>
                        </a:lnTo>
                        <a:lnTo>
                          <a:pt x="23109" y="2766"/>
                        </a:lnTo>
                        <a:lnTo>
                          <a:pt x="23105" y="2804"/>
                        </a:lnTo>
                        <a:lnTo>
                          <a:pt x="23060" y="2821"/>
                        </a:lnTo>
                        <a:lnTo>
                          <a:pt x="23055" y="2832"/>
                        </a:lnTo>
                        <a:lnTo>
                          <a:pt x="23050" y="2849"/>
                        </a:lnTo>
                        <a:lnTo>
                          <a:pt x="22984" y="2887"/>
                        </a:lnTo>
                        <a:lnTo>
                          <a:pt x="22963" y="2915"/>
                        </a:lnTo>
                        <a:lnTo>
                          <a:pt x="22946" y="2936"/>
                        </a:lnTo>
                        <a:lnTo>
                          <a:pt x="22930" y="2943"/>
                        </a:lnTo>
                        <a:lnTo>
                          <a:pt x="22942" y="2972"/>
                        </a:lnTo>
                        <a:lnTo>
                          <a:pt x="22925" y="2988"/>
                        </a:lnTo>
                        <a:lnTo>
                          <a:pt x="22925" y="2993"/>
                        </a:lnTo>
                        <a:lnTo>
                          <a:pt x="22953" y="2993"/>
                        </a:lnTo>
                        <a:lnTo>
                          <a:pt x="22946" y="2977"/>
                        </a:lnTo>
                        <a:lnTo>
                          <a:pt x="22984" y="2988"/>
                        </a:lnTo>
                        <a:lnTo>
                          <a:pt x="23001" y="2998"/>
                        </a:lnTo>
                        <a:lnTo>
                          <a:pt x="22996" y="3014"/>
                        </a:lnTo>
                        <a:lnTo>
                          <a:pt x="22968" y="3026"/>
                        </a:lnTo>
                        <a:lnTo>
                          <a:pt x="22946" y="3014"/>
                        </a:lnTo>
                        <a:lnTo>
                          <a:pt x="22942" y="3014"/>
                        </a:lnTo>
                        <a:lnTo>
                          <a:pt x="22930" y="3031"/>
                        </a:lnTo>
                        <a:lnTo>
                          <a:pt x="22916" y="3031"/>
                        </a:lnTo>
                        <a:lnTo>
                          <a:pt x="22899" y="3014"/>
                        </a:lnTo>
                        <a:lnTo>
                          <a:pt x="22871" y="3010"/>
                        </a:lnTo>
                        <a:lnTo>
                          <a:pt x="22861" y="3026"/>
                        </a:lnTo>
                        <a:lnTo>
                          <a:pt x="22845" y="3031"/>
                        </a:lnTo>
                        <a:lnTo>
                          <a:pt x="22840" y="3047"/>
                        </a:lnTo>
                        <a:lnTo>
                          <a:pt x="22802" y="3031"/>
                        </a:lnTo>
                        <a:lnTo>
                          <a:pt x="22786" y="3043"/>
                        </a:lnTo>
                        <a:lnTo>
                          <a:pt x="22779" y="3047"/>
                        </a:lnTo>
                        <a:lnTo>
                          <a:pt x="22731" y="3059"/>
                        </a:lnTo>
                        <a:lnTo>
                          <a:pt x="22710" y="3026"/>
                        </a:lnTo>
                        <a:lnTo>
                          <a:pt x="22791" y="3014"/>
                        </a:lnTo>
                        <a:lnTo>
                          <a:pt x="22765" y="3010"/>
                        </a:lnTo>
                        <a:lnTo>
                          <a:pt x="22748" y="2988"/>
                        </a:lnTo>
                        <a:lnTo>
                          <a:pt x="22731" y="2977"/>
                        </a:lnTo>
                        <a:lnTo>
                          <a:pt x="22698" y="2977"/>
                        </a:lnTo>
                        <a:lnTo>
                          <a:pt x="22698" y="2988"/>
                        </a:lnTo>
                        <a:lnTo>
                          <a:pt x="22682" y="2993"/>
                        </a:lnTo>
                        <a:lnTo>
                          <a:pt x="22682" y="2988"/>
                        </a:lnTo>
                        <a:lnTo>
                          <a:pt x="22665" y="2988"/>
                        </a:lnTo>
                        <a:lnTo>
                          <a:pt x="22682" y="2977"/>
                        </a:lnTo>
                        <a:lnTo>
                          <a:pt x="22606" y="2953"/>
                        </a:lnTo>
                        <a:lnTo>
                          <a:pt x="22568" y="2972"/>
                        </a:lnTo>
                        <a:lnTo>
                          <a:pt x="22576" y="2993"/>
                        </a:lnTo>
                        <a:lnTo>
                          <a:pt x="22559" y="2993"/>
                        </a:lnTo>
                        <a:lnTo>
                          <a:pt x="22552" y="2977"/>
                        </a:lnTo>
                        <a:lnTo>
                          <a:pt x="22547" y="2988"/>
                        </a:lnTo>
                        <a:lnTo>
                          <a:pt x="22547" y="2998"/>
                        </a:lnTo>
                        <a:lnTo>
                          <a:pt x="22559" y="2998"/>
                        </a:lnTo>
                        <a:lnTo>
                          <a:pt x="22559" y="3010"/>
                        </a:lnTo>
                        <a:lnTo>
                          <a:pt x="22521" y="3010"/>
                        </a:lnTo>
                        <a:lnTo>
                          <a:pt x="22521" y="2993"/>
                        </a:lnTo>
                        <a:lnTo>
                          <a:pt x="22505" y="2993"/>
                        </a:lnTo>
                        <a:lnTo>
                          <a:pt x="22462" y="3010"/>
                        </a:lnTo>
                        <a:lnTo>
                          <a:pt x="22391" y="2993"/>
                        </a:lnTo>
                        <a:lnTo>
                          <a:pt x="22375" y="2993"/>
                        </a:lnTo>
                        <a:lnTo>
                          <a:pt x="22375" y="3014"/>
                        </a:lnTo>
                        <a:lnTo>
                          <a:pt x="22354" y="3026"/>
                        </a:lnTo>
                        <a:lnTo>
                          <a:pt x="22337" y="3010"/>
                        </a:lnTo>
                        <a:lnTo>
                          <a:pt x="22342" y="2993"/>
                        </a:lnTo>
                        <a:lnTo>
                          <a:pt x="22207" y="2993"/>
                        </a:lnTo>
                        <a:lnTo>
                          <a:pt x="22160" y="2998"/>
                        </a:lnTo>
                        <a:lnTo>
                          <a:pt x="22084" y="3031"/>
                        </a:lnTo>
                        <a:lnTo>
                          <a:pt x="22051" y="3071"/>
                        </a:lnTo>
                        <a:lnTo>
                          <a:pt x="21980" y="3121"/>
                        </a:lnTo>
                        <a:lnTo>
                          <a:pt x="21964" y="3158"/>
                        </a:lnTo>
                        <a:lnTo>
                          <a:pt x="21938" y="3175"/>
                        </a:lnTo>
                        <a:lnTo>
                          <a:pt x="21900" y="3215"/>
                        </a:lnTo>
                        <a:lnTo>
                          <a:pt x="21872" y="3225"/>
                        </a:lnTo>
                        <a:lnTo>
                          <a:pt x="21857" y="3248"/>
                        </a:lnTo>
                        <a:lnTo>
                          <a:pt x="21834" y="3248"/>
                        </a:lnTo>
                        <a:lnTo>
                          <a:pt x="21803" y="3293"/>
                        </a:lnTo>
                        <a:lnTo>
                          <a:pt x="21803" y="3303"/>
                        </a:lnTo>
                        <a:lnTo>
                          <a:pt x="21775" y="3336"/>
                        </a:lnTo>
                        <a:lnTo>
                          <a:pt x="21683" y="3397"/>
                        </a:lnTo>
                        <a:lnTo>
                          <a:pt x="21668" y="3421"/>
                        </a:lnTo>
                        <a:lnTo>
                          <a:pt x="21619" y="3437"/>
                        </a:lnTo>
                        <a:lnTo>
                          <a:pt x="21598" y="3458"/>
                        </a:lnTo>
                        <a:lnTo>
                          <a:pt x="21602" y="3475"/>
                        </a:lnTo>
                        <a:lnTo>
                          <a:pt x="21635" y="3491"/>
                        </a:lnTo>
                        <a:lnTo>
                          <a:pt x="21711" y="3487"/>
                        </a:lnTo>
                        <a:lnTo>
                          <a:pt x="21711" y="3491"/>
                        </a:lnTo>
                        <a:lnTo>
                          <a:pt x="21706" y="3508"/>
                        </a:lnTo>
                        <a:lnTo>
                          <a:pt x="21711" y="3532"/>
                        </a:lnTo>
                        <a:lnTo>
                          <a:pt x="21694" y="3558"/>
                        </a:lnTo>
                        <a:lnTo>
                          <a:pt x="21706" y="3569"/>
                        </a:lnTo>
                        <a:lnTo>
                          <a:pt x="21737" y="3565"/>
                        </a:lnTo>
                        <a:lnTo>
                          <a:pt x="21744" y="3548"/>
                        </a:lnTo>
                        <a:lnTo>
                          <a:pt x="21728" y="3532"/>
                        </a:lnTo>
                        <a:lnTo>
                          <a:pt x="21737" y="3532"/>
                        </a:lnTo>
                        <a:lnTo>
                          <a:pt x="21775" y="3515"/>
                        </a:lnTo>
                        <a:lnTo>
                          <a:pt x="21744" y="3541"/>
                        </a:lnTo>
                        <a:lnTo>
                          <a:pt x="21744" y="3548"/>
                        </a:lnTo>
                        <a:lnTo>
                          <a:pt x="21765" y="3558"/>
                        </a:lnTo>
                        <a:lnTo>
                          <a:pt x="21782" y="3558"/>
                        </a:lnTo>
                        <a:lnTo>
                          <a:pt x="21765" y="3565"/>
                        </a:lnTo>
                        <a:lnTo>
                          <a:pt x="21758" y="3581"/>
                        </a:lnTo>
                        <a:lnTo>
                          <a:pt x="21737" y="3586"/>
                        </a:lnTo>
                        <a:lnTo>
                          <a:pt x="21744" y="3598"/>
                        </a:lnTo>
                        <a:lnTo>
                          <a:pt x="21791" y="3598"/>
                        </a:lnTo>
                        <a:lnTo>
                          <a:pt x="21813" y="3581"/>
                        </a:lnTo>
                        <a:lnTo>
                          <a:pt x="21820" y="3565"/>
                        </a:lnTo>
                        <a:lnTo>
                          <a:pt x="21834" y="3548"/>
                        </a:lnTo>
                        <a:lnTo>
                          <a:pt x="21834" y="3569"/>
                        </a:lnTo>
                        <a:lnTo>
                          <a:pt x="21813" y="3598"/>
                        </a:lnTo>
                        <a:lnTo>
                          <a:pt x="21829" y="3598"/>
                        </a:lnTo>
                        <a:lnTo>
                          <a:pt x="21834" y="3581"/>
                        </a:lnTo>
                        <a:lnTo>
                          <a:pt x="21850" y="3548"/>
                        </a:lnTo>
                        <a:lnTo>
                          <a:pt x="21846" y="3525"/>
                        </a:lnTo>
                        <a:lnTo>
                          <a:pt x="21834" y="3525"/>
                        </a:lnTo>
                        <a:lnTo>
                          <a:pt x="21888" y="3532"/>
                        </a:lnTo>
                        <a:lnTo>
                          <a:pt x="21909" y="3515"/>
                        </a:lnTo>
                        <a:lnTo>
                          <a:pt x="21954" y="3548"/>
                        </a:lnTo>
                        <a:lnTo>
                          <a:pt x="21954" y="3565"/>
                        </a:lnTo>
                        <a:lnTo>
                          <a:pt x="21976" y="3586"/>
                        </a:lnTo>
                        <a:lnTo>
                          <a:pt x="22009" y="3598"/>
                        </a:lnTo>
                        <a:lnTo>
                          <a:pt x="21997" y="3603"/>
                        </a:lnTo>
                        <a:lnTo>
                          <a:pt x="22035" y="3619"/>
                        </a:lnTo>
                        <a:lnTo>
                          <a:pt x="22035" y="3636"/>
                        </a:lnTo>
                        <a:lnTo>
                          <a:pt x="22018" y="3643"/>
                        </a:lnTo>
                        <a:lnTo>
                          <a:pt x="22018" y="3652"/>
                        </a:lnTo>
                        <a:lnTo>
                          <a:pt x="21980" y="3636"/>
                        </a:lnTo>
                        <a:lnTo>
                          <a:pt x="22018" y="3669"/>
                        </a:lnTo>
                        <a:lnTo>
                          <a:pt x="22030" y="3680"/>
                        </a:lnTo>
                        <a:lnTo>
                          <a:pt x="22013" y="3709"/>
                        </a:lnTo>
                        <a:lnTo>
                          <a:pt x="22046" y="3725"/>
                        </a:lnTo>
                        <a:lnTo>
                          <a:pt x="22030" y="3747"/>
                        </a:lnTo>
                        <a:lnTo>
                          <a:pt x="22035" y="3751"/>
                        </a:lnTo>
                        <a:lnTo>
                          <a:pt x="21997" y="3780"/>
                        </a:lnTo>
                        <a:lnTo>
                          <a:pt x="21997" y="3791"/>
                        </a:lnTo>
                        <a:lnTo>
                          <a:pt x="21992" y="3803"/>
                        </a:lnTo>
                        <a:lnTo>
                          <a:pt x="21997" y="3803"/>
                        </a:lnTo>
                        <a:lnTo>
                          <a:pt x="21997" y="3808"/>
                        </a:lnTo>
                        <a:lnTo>
                          <a:pt x="21980" y="3808"/>
                        </a:lnTo>
                        <a:lnTo>
                          <a:pt x="21980" y="3846"/>
                        </a:lnTo>
                        <a:lnTo>
                          <a:pt x="21976" y="3858"/>
                        </a:lnTo>
                        <a:lnTo>
                          <a:pt x="21964" y="3862"/>
                        </a:lnTo>
                        <a:lnTo>
                          <a:pt x="21964" y="3919"/>
                        </a:lnTo>
                        <a:lnTo>
                          <a:pt x="21976" y="3931"/>
                        </a:lnTo>
                        <a:lnTo>
                          <a:pt x="21980" y="3931"/>
                        </a:lnTo>
                        <a:lnTo>
                          <a:pt x="21959" y="3947"/>
                        </a:lnTo>
                        <a:lnTo>
                          <a:pt x="21976" y="3973"/>
                        </a:lnTo>
                        <a:lnTo>
                          <a:pt x="21959" y="4006"/>
                        </a:lnTo>
                        <a:lnTo>
                          <a:pt x="21959" y="4030"/>
                        </a:lnTo>
                        <a:lnTo>
                          <a:pt x="21954" y="4047"/>
                        </a:lnTo>
                        <a:lnTo>
                          <a:pt x="21942" y="4080"/>
                        </a:lnTo>
                        <a:lnTo>
                          <a:pt x="21883" y="4141"/>
                        </a:lnTo>
                        <a:lnTo>
                          <a:pt x="21867" y="4174"/>
                        </a:lnTo>
                        <a:lnTo>
                          <a:pt x="21834" y="4207"/>
                        </a:lnTo>
                        <a:lnTo>
                          <a:pt x="21820" y="4252"/>
                        </a:lnTo>
                        <a:lnTo>
                          <a:pt x="21796" y="4285"/>
                        </a:lnTo>
                        <a:lnTo>
                          <a:pt x="21683" y="4413"/>
                        </a:lnTo>
                        <a:lnTo>
                          <a:pt x="21668" y="4434"/>
                        </a:lnTo>
                        <a:lnTo>
                          <a:pt x="21640" y="4451"/>
                        </a:lnTo>
                        <a:lnTo>
                          <a:pt x="21631" y="4474"/>
                        </a:lnTo>
                        <a:lnTo>
                          <a:pt x="21614" y="4484"/>
                        </a:lnTo>
                        <a:lnTo>
                          <a:pt x="21619" y="4491"/>
                        </a:lnTo>
                        <a:lnTo>
                          <a:pt x="21619" y="4500"/>
                        </a:lnTo>
                        <a:lnTo>
                          <a:pt x="21586" y="4524"/>
                        </a:lnTo>
                        <a:lnTo>
                          <a:pt x="21527" y="4562"/>
                        </a:lnTo>
                        <a:lnTo>
                          <a:pt x="21505" y="4578"/>
                        </a:lnTo>
                        <a:lnTo>
                          <a:pt x="21456" y="4595"/>
                        </a:lnTo>
                        <a:lnTo>
                          <a:pt x="21442" y="4595"/>
                        </a:lnTo>
                        <a:lnTo>
                          <a:pt x="21442" y="4583"/>
                        </a:lnTo>
                        <a:lnTo>
                          <a:pt x="21435" y="4595"/>
                        </a:lnTo>
                        <a:lnTo>
                          <a:pt x="21425" y="4578"/>
                        </a:lnTo>
                        <a:lnTo>
                          <a:pt x="21413" y="4583"/>
                        </a:lnTo>
                        <a:lnTo>
                          <a:pt x="21404" y="4578"/>
                        </a:lnTo>
                        <a:lnTo>
                          <a:pt x="21397" y="4583"/>
                        </a:lnTo>
                        <a:lnTo>
                          <a:pt x="21397" y="4545"/>
                        </a:lnTo>
                        <a:lnTo>
                          <a:pt x="21371" y="4562"/>
                        </a:lnTo>
                        <a:lnTo>
                          <a:pt x="21366" y="4562"/>
                        </a:lnTo>
                        <a:lnTo>
                          <a:pt x="21380" y="4540"/>
                        </a:lnTo>
                        <a:lnTo>
                          <a:pt x="21359" y="4540"/>
                        </a:lnTo>
                        <a:lnTo>
                          <a:pt x="21333" y="4578"/>
                        </a:lnTo>
                        <a:lnTo>
                          <a:pt x="21317" y="4583"/>
                        </a:lnTo>
                        <a:lnTo>
                          <a:pt x="21317" y="4611"/>
                        </a:lnTo>
                        <a:lnTo>
                          <a:pt x="21312" y="4602"/>
                        </a:lnTo>
                        <a:lnTo>
                          <a:pt x="21279" y="4595"/>
                        </a:lnTo>
                        <a:lnTo>
                          <a:pt x="21295" y="4611"/>
                        </a:lnTo>
                        <a:lnTo>
                          <a:pt x="21279" y="4635"/>
                        </a:lnTo>
                        <a:lnTo>
                          <a:pt x="21274" y="4618"/>
                        </a:lnTo>
                        <a:lnTo>
                          <a:pt x="21274" y="4602"/>
                        </a:lnTo>
                        <a:lnTo>
                          <a:pt x="21262" y="4595"/>
                        </a:lnTo>
                        <a:lnTo>
                          <a:pt x="21312" y="4578"/>
                        </a:lnTo>
                        <a:lnTo>
                          <a:pt x="21312" y="4562"/>
                        </a:lnTo>
                        <a:lnTo>
                          <a:pt x="21328" y="4540"/>
                        </a:lnTo>
                        <a:lnTo>
                          <a:pt x="21317" y="4524"/>
                        </a:lnTo>
                        <a:lnTo>
                          <a:pt x="21328" y="4474"/>
                        </a:lnTo>
                        <a:lnTo>
                          <a:pt x="21312" y="4417"/>
                        </a:lnTo>
                        <a:lnTo>
                          <a:pt x="21295" y="4401"/>
                        </a:lnTo>
                        <a:lnTo>
                          <a:pt x="21333" y="4396"/>
                        </a:lnTo>
                        <a:lnTo>
                          <a:pt x="21366" y="4363"/>
                        </a:lnTo>
                        <a:lnTo>
                          <a:pt x="21371" y="4373"/>
                        </a:lnTo>
                        <a:lnTo>
                          <a:pt x="21435" y="4389"/>
                        </a:lnTo>
                        <a:lnTo>
                          <a:pt x="21451" y="4380"/>
                        </a:lnTo>
                        <a:lnTo>
                          <a:pt x="21451" y="4356"/>
                        </a:lnTo>
                        <a:lnTo>
                          <a:pt x="21472" y="4340"/>
                        </a:lnTo>
                        <a:lnTo>
                          <a:pt x="21472" y="4318"/>
                        </a:lnTo>
                        <a:lnTo>
                          <a:pt x="21505" y="4278"/>
                        </a:lnTo>
                        <a:lnTo>
                          <a:pt x="21510" y="4269"/>
                        </a:lnTo>
                        <a:lnTo>
                          <a:pt x="21505" y="4262"/>
                        </a:lnTo>
                        <a:lnTo>
                          <a:pt x="21510" y="4245"/>
                        </a:lnTo>
                        <a:lnTo>
                          <a:pt x="21522" y="4207"/>
                        </a:lnTo>
                        <a:lnTo>
                          <a:pt x="21527" y="4207"/>
                        </a:lnTo>
                        <a:lnTo>
                          <a:pt x="21527" y="4179"/>
                        </a:lnTo>
                        <a:lnTo>
                          <a:pt x="21548" y="4167"/>
                        </a:lnTo>
                        <a:lnTo>
                          <a:pt x="21565" y="4151"/>
                        </a:lnTo>
                        <a:lnTo>
                          <a:pt x="21548" y="4117"/>
                        </a:lnTo>
                        <a:lnTo>
                          <a:pt x="21565" y="4096"/>
                        </a:lnTo>
                        <a:lnTo>
                          <a:pt x="21543" y="4084"/>
                        </a:lnTo>
                        <a:lnTo>
                          <a:pt x="21494" y="4096"/>
                        </a:lnTo>
                        <a:lnTo>
                          <a:pt x="21479" y="4117"/>
                        </a:lnTo>
                        <a:lnTo>
                          <a:pt x="21451" y="4113"/>
                        </a:lnTo>
                        <a:lnTo>
                          <a:pt x="21418" y="4134"/>
                        </a:lnTo>
                        <a:lnTo>
                          <a:pt x="21413" y="4151"/>
                        </a:lnTo>
                        <a:lnTo>
                          <a:pt x="21305" y="4151"/>
                        </a:lnTo>
                        <a:lnTo>
                          <a:pt x="21295" y="4125"/>
                        </a:lnTo>
                        <a:lnTo>
                          <a:pt x="21279" y="4113"/>
                        </a:lnTo>
                        <a:lnTo>
                          <a:pt x="21291" y="4096"/>
                        </a:lnTo>
                        <a:lnTo>
                          <a:pt x="21274" y="4063"/>
                        </a:lnTo>
                        <a:lnTo>
                          <a:pt x="21279" y="4040"/>
                        </a:lnTo>
                        <a:lnTo>
                          <a:pt x="21253" y="4040"/>
                        </a:lnTo>
                        <a:lnTo>
                          <a:pt x="21224" y="4023"/>
                        </a:lnTo>
                        <a:lnTo>
                          <a:pt x="21208" y="4006"/>
                        </a:lnTo>
                        <a:lnTo>
                          <a:pt x="21203" y="4002"/>
                        </a:lnTo>
                        <a:lnTo>
                          <a:pt x="21198" y="3990"/>
                        </a:lnTo>
                        <a:lnTo>
                          <a:pt x="21170" y="4002"/>
                        </a:lnTo>
                        <a:lnTo>
                          <a:pt x="21149" y="3973"/>
                        </a:lnTo>
                        <a:lnTo>
                          <a:pt x="21078" y="3973"/>
                        </a:lnTo>
                        <a:lnTo>
                          <a:pt x="21057" y="3952"/>
                        </a:lnTo>
                        <a:lnTo>
                          <a:pt x="21057" y="3931"/>
                        </a:lnTo>
                        <a:lnTo>
                          <a:pt x="21064" y="3914"/>
                        </a:lnTo>
                        <a:lnTo>
                          <a:pt x="21047" y="3903"/>
                        </a:lnTo>
                        <a:lnTo>
                          <a:pt x="21040" y="3891"/>
                        </a:lnTo>
                        <a:lnTo>
                          <a:pt x="21047" y="3879"/>
                        </a:lnTo>
                        <a:lnTo>
                          <a:pt x="21040" y="3862"/>
                        </a:lnTo>
                        <a:lnTo>
                          <a:pt x="21019" y="3836"/>
                        </a:lnTo>
                        <a:lnTo>
                          <a:pt x="21019" y="3808"/>
                        </a:lnTo>
                        <a:lnTo>
                          <a:pt x="21009" y="3820"/>
                        </a:lnTo>
                        <a:lnTo>
                          <a:pt x="21019" y="3803"/>
                        </a:lnTo>
                        <a:lnTo>
                          <a:pt x="21009" y="3803"/>
                        </a:lnTo>
                        <a:lnTo>
                          <a:pt x="21002" y="3768"/>
                        </a:lnTo>
                        <a:lnTo>
                          <a:pt x="20981" y="3747"/>
                        </a:lnTo>
                        <a:lnTo>
                          <a:pt x="20993" y="3730"/>
                        </a:lnTo>
                        <a:lnTo>
                          <a:pt x="20972" y="3730"/>
                        </a:lnTo>
                        <a:lnTo>
                          <a:pt x="20981" y="3709"/>
                        </a:lnTo>
                        <a:lnTo>
                          <a:pt x="20965" y="3692"/>
                        </a:lnTo>
                        <a:lnTo>
                          <a:pt x="20950" y="3692"/>
                        </a:lnTo>
                        <a:lnTo>
                          <a:pt x="20955" y="3676"/>
                        </a:lnTo>
                        <a:lnTo>
                          <a:pt x="20927" y="3659"/>
                        </a:lnTo>
                        <a:lnTo>
                          <a:pt x="20934" y="3652"/>
                        </a:lnTo>
                        <a:lnTo>
                          <a:pt x="20927" y="3643"/>
                        </a:lnTo>
                        <a:lnTo>
                          <a:pt x="20896" y="3624"/>
                        </a:lnTo>
                        <a:lnTo>
                          <a:pt x="20875" y="3636"/>
                        </a:lnTo>
                        <a:lnTo>
                          <a:pt x="20846" y="3624"/>
                        </a:lnTo>
                        <a:lnTo>
                          <a:pt x="20830" y="3614"/>
                        </a:lnTo>
                        <a:lnTo>
                          <a:pt x="20820" y="3614"/>
                        </a:lnTo>
                        <a:lnTo>
                          <a:pt x="20787" y="3598"/>
                        </a:lnTo>
                        <a:lnTo>
                          <a:pt x="20587" y="3619"/>
                        </a:lnTo>
                        <a:lnTo>
                          <a:pt x="20535" y="3669"/>
                        </a:lnTo>
                        <a:lnTo>
                          <a:pt x="20539" y="3692"/>
                        </a:lnTo>
                        <a:lnTo>
                          <a:pt x="20561" y="3680"/>
                        </a:lnTo>
                        <a:lnTo>
                          <a:pt x="20577" y="3692"/>
                        </a:lnTo>
                        <a:lnTo>
                          <a:pt x="20577" y="3714"/>
                        </a:lnTo>
                        <a:lnTo>
                          <a:pt x="20587" y="3730"/>
                        </a:lnTo>
                        <a:lnTo>
                          <a:pt x="20577" y="3751"/>
                        </a:lnTo>
                        <a:lnTo>
                          <a:pt x="20539" y="3780"/>
                        </a:lnTo>
                        <a:lnTo>
                          <a:pt x="20518" y="3836"/>
                        </a:lnTo>
                        <a:lnTo>
                          <a:pt x="20502" y="3846"/>
                        </a:lnTo>
                        <a:lnTo>
                          <a:pt x="20497" y="3862"/>
                        </a:lnTo>
                        <a:lnTo>
                          <a:pt x="20468" y="3895"/>
                        </a:lnTo>
                        <a:lnTo>
                          <a:pt x="20485" y="3903"/>
                        </a:lnTo>
                        <a:lnTo>
                          <a:pt x="20485" y="3931"/>
                        </a:lnTo>
                        <a:lnTo>
                          <a:pt x="20468" y="3936"/>
                        </a:lnTo>
                        <a:lnTo>
                          <a:pt x="20431" y="3947"/>
                        </a:lnTo>
                        <a:lnTo>
                          <a:pt x="20388" y="3985"/>
                        </a:lnTo>
                        <a:lnTo>
                          <a:pt x="20301" y="3952"/>
                        </a:lnTo>
                        <a:lnTo>
                          <a:pt x="20291" y="3947"/>
                        </a:lnTo>
                        <a:lnTo>
                          <a:pt x="20270" y="3936"/>
                        </a:lnTo>
                        <a:lnTo>
                          <a:pt x="20232" y="3947"/>
                        </a:lnTo>
                        <a:lnTo>
                          <a:pt x="20209" y="3947"/>
                        </a:lnTo>
                        <a:lnTo>
                          <a:pt x="20171" y="3914"/>
                        </a:lnTo>
                        <a:lnTo>
                          <a:pt x="20128" y="3903"/>
                        </a:lnTo>
                        <a:lnTo>
                          <a:pt x="20053" y="3952"/>
                        </a:lnTo>
                        <a:lnTo>
                          <a:pt x="20048" y="3973"/>
                        </a:lnTo>
                        <a:lnTo>
                          <a:pt x="19923" y="4002"/>
                        </a:lnTo>
                        <a:lnTo>
                          <a:pt x="19885" y="4014"/>
                        </a:lnTo>
                        <a:lnTo>
                          <a:pt x="19800" y="4006"/>
                        </a:lnTo>
                        <a:lnTo>
                          <a:pt x="19779" y="3990"/>
                        </a:lnTo>
                        <a:lnTo>
                          <a:pt x="19729" y="4002"/>
                        </a:lnTo>
                        <a:lnTo>
                          <a:pt x="19687" y="3969"/>
                        </a:lnTo>
                        <a:lnTo>
                          <a:pt x="19691" y="3947"/>
                        </a:lnTo>
                        <a:lnTo>
                          <a:pt x="19628" y="3936"/>
                        </a:lnTo>
                        <a:lnTo>
                          <a:pt x="19620" y="3919"/>
                        </a:lnTo>
                        <a:lnTo>
                          <a:pt x="19599" y="3903"/>
                        </a:lnTo>
                        <a:lnTo>
                          <a:pt x="19566" y="3903"/>
                        </a:lnTo>
                        <a:lnTo>
                          <a:pt x="19552" y="3895"/>
                        </a:lnTo>
                        <a:lnTo>
                          <a:pt x="19507" y="3891"/>
                        </a:lnTo>
                        <a:lnTo>
                          <a:pt x="19439" y="3903"/>
                        </a:lnTo>
                        <a:lnTo>
                          <a:pt x="19410" y="3919"/>
                        </a:lnTo>
                        <a:lnTo>
                          <a:pt x="19401" y="3919"/>
                        </a:lnTo>
                        <a:lnTo>
                          <a:pt x="19389" y="3919"/>
                        </a:lnTo>
                        <a:lnTo>
                          <a:pt x="19356" y="3919"/>
                        </a:lnTo>
                        <a:lnTo>
                          <a:pt x="19351" y="3903"/>
                        </a:lnTo>
                        <a:lnTo>
                          <a:pt x="19335" y="3903"/>
                        </a:lnTo>
                        <a:lnTo>
                          <a:pt x="19292" y="3879"/>
                        </a:lnTo>
                        <a:lnTo>
                          <a:pt x="19297" y="3862"/>
                        </a:lnTo>
                        <a:lnTo>
                          <a:pt x="19280" y="3858"/>
                        </a:lnTo>
                        <a:lnTo>
                          <a:pt x="19292" y="3841"/>
                        </a:lnTo>
                        <a:lnTo>
                          <a:pt x="19280" y="3825"/>
                        </a:lnTo>
                        <a:lnTo>
                          <a:pt x="19280" y="3808"/>
                        </a:lnTo>
                        <a:lnTo>
                          <a:pt x="19243" y="3791"/>
                        </a:lnTo>
                        <a:lnTo>
                          <a:pt x="19226" y="3803"/>
                        </a:lnTo>
                        <a:lnTo>
                          <a:pt x="19167" y="3768"/>
                        </a:lnTo>
                        <a:lnTo>
                          <a:pt x="19129" y="3768"/>
                        </a:lnTo>
                        <a:lnTo>
                          <a:pt x="19049" y="3730"/>
                        </a:lnTo>
                        <a:lnTo>
                          <a:pt x="19032" y="3763"/>
                        </a:lnTo>
                        <a:lnTo>
                          <a:pt x="19011" y="3768"/>
                        </a:lnTo>
                        <a:lnTo>
                          <a:pt x="19006" y="3791"/>
                        </a:lnTo>
                        <a:lnTo>
                          <a:pt x="18990" y="3791"/>
                        </a:lnTo>
                        <a:lnTo>
                          <a:pt x="18973" y="3841"/>
                        </a:lnTo>
                        <a:lnTo>
                          <a:pt x="18990" y="3858"/>
                        </a:lnTo>
                        <a:lnTo>
                          <a:pt x="18990" y="3862"/>
                        </a:lnTo>
                        <a:lnTo>
                          <a:pt x="18990" y="3874"/>
                        </a:lnTo>
                        <a:lnTo>
                          <a:pt x="19011" y="3891"/>
                        </a:lnTo>
                        <a:lnTo>
                          <a:pt x="19011" y="3903"/>
                        </a:lnTo>
                        <a:lnTo>
                          <a:pt x="18994" y="3931"/>
                        </a:lnTo>
                        <a:lnTo>
                          <a:pt x="18969" y="3936"/>
                        </a:lnTo>
                        <a:lnTo>
                          <a:pt x="18940" y="3957"/>
                        </a:lnTo>
                        <a:lnTo>
                          <a:pt x="18919" y="3947"/>
                        </a:lnTo>
                        <a:lnTo>
                          <a:pt x="18886" y="3952"/>
                        </a:lnTo>
                        <a:lnTo>
                          <a:pt x="18848" y="3936"/>
                        </a:lnTo>
                        <a:lnTo>
                          <a:pt x="18843" y="3947"/>
                        </a:lnTo>
                        <a:lnTo>
                          <a:pt x="18834" y="3936"/>
                        </a:lnTo>
                        <a:lnTo>
                          <a:pt x="18810" y="3947"/>
                        </a:lnTo>
                        <a:lnTo>
                          <a:pt x="18780" y="3936"/>
                        </a:lnTo>
                        <a:lnTo>
                          <a:pt x="18772" y="3931"/>
                        </a:lnTo>
                        <a:lnTo>
                          <a:pt x="18751" y="3936"/>
                        </a:lnTo>
                        <a:lnTo>
                          <a:pt x="18735" y="3914"/>
                        </a:lnTo>
                        <a:lnTo>
                          <a:pt x="18725" y="3879"/>
                        </a:lnTo>
                        <a:lnTo>
                          <a:pt x="18645" y="3879"/>
                        </a:lnTo>
                        <a:lnTo>
                          <a:pt x="18633" y="3874"/>
                        </a:lnTo>
                        <a:lnTo>
                          <a:pt x="18633" y="3858"/>
                        </a:lnTo>
                        <a:lnTo>
                          <a:pt x="18628" y="3858"/>
                        </a:lnTo>
                        <a:lnTo>
                          <a:pt x="18612" y="3874"/>
                        </a:lnTo>
                        <a:lnTo>
                          <a:pt x="18591" y="3858"/>
                        </a:lnTo>
                        <a:lnTo>
                          <a:pt x="18579" y="3862"/>
                        </a:lnTo>
                        <a:lnTo>
                          <a:pt x="18546" y="3874"/>
                        </a:lnTo>
                        <a:lnTo>
                          <a:pt x="18524" y="3891"/>
                        </a:lnTo>
                        <a:lnTo>
                          <a:pt x="18494" y="3895"/>
                        </a:lnTo>
                        <a:lnTo>
                          <a:pt x="18482" y="3914"/>
                        </a:lnTo>
                        <a:lnTo>
                          <a:pt x="18432" y="3931"/>
                        </a:lnTo>
                        <a:lnTo>
                          <a:pt x="18428" y="3936"/>
                        </a:lnTo>
                        <a:lnTo>
                          <a:pt x="18402" y="3947"/>
                        </a:lnTo>
                        <a:lnTo>
                          <a:pt x="18411" y="3957"/>
                        </a:lnTo>
                        <a:lnTo>
                          <a:pt x="18380" y="3973"/>
                        </a:lnTo>
                        <a:lnTo>
                          <a:pt x="18373" y="3969"/>
                        </a:lnTo>
                        <a:lnTo>
                          <a:pt x="18373" y="3985"/>
                        </a:lnTo>
                        <a:lnTo>
                          <a:pt x="18357" y="3985"/>
                        </a:lnTo>
                        <a:lnTo>
                          <a:pt x="18347" y="3973"/>
                        </a:lnTo>
                        <a:lnTo>
                          <a:pt x="18347" y="3990"/>
                        </a:lnTo>
                        <a:lnTo>
                          <a:pt x="18305" y="3985"/>
                        </a:lnTo>
                        <a:lnTo>
                          <a:pt x="18293" y="3990"/>
                        </a:lnTo>
                        <a:lnTo>
                          <a:pt x="18293" y="4006"/>
                        </a:lnTo>
                        <a:lnTo>
                          <a:pt x="18276" y="4014"/>
                        </a:lnTo>
                        <a:lnTo>
                          <a:pt x="18239" y="4023"/>
                        </a:lnTo>
                        <a:lnTo>
                          <a:pt x="18239" y="4006"/>
                        </a:lnTo>
                        <a:lnTo>
                          <a:pt x="18213" y="4002"/>
                        </a:lnTo>
                        <a:lnTo>
                          <a:pt x="18213" y="3985"/>
                        </a:lnTo>
                        <a:lnTo>
                          <a:pt x="18184" y="3973"/>
                        </a:lnTo>
                        <a:lnTo>
                          <a:pt x="18201" y="3957"/>
                        </a:lnTo>
                        <a:lnTo>
                          <a:pt x="18201" y="3952"/>
                        </a:lnTo>
                        <a:lnTo>
                          <a:pt x="18184" y="3952"/>
                        </a:lnTo>
                        <a:lnTo>
                          <a:pt x="18163" y="3985"/>
                        </a:lnTo>
                        <a:lnTo>
                          <a:pt x="18125" y="3973"/>
                        </a:lnTo>
                        <a:lnTo>
                          <a:pt x="18092" y="3973"/>
                        </a:lnTo>
                        <a:lnTo>
                          <a:pt x="18087" y="3947"/>
                        </a:lnTo>
                        <a:lnTo>
                          <a:pt x="18078" y="3947"/>
                        </a:lnTo>
                        <a:lnTo>
                          <a:pt x="18078" y="3936"/>
                        </a:lnTo>
                        <a:lnTo>
                          <a:pt x="18078" y="3931"/>
                        </a:lnTo>
                        <a:lnTo>
                          <a:pt x="18033" y="3914"/>
                        </a:lnTo>
                        <a:lnTo>
                          <a:pt x="18002" y="3858"/>
                        </a:lnTo>
                        <a:lnTo>
                          <a:pt x="17969" y="3841"/>
                        </a:lnTo>
                        <a:lnTo>
                          <a:pt x="17915" y="3846"/>
                        </a:lnTo>
                        <a:lnTo>
                          <a:pt x="17915" y="3858"/>
                        </a:lnTo>
                        <a:lnTo>
                          <a:pt x="17898" y="3862"/>
                        </a:lnTo>
                        <a:lnTo>
                          <a:pt x="17835" y="3862"/>
                        </a:lnTo>
                        <a:lnTo>
                          <a:pt x="17823" y="3841"/>
                        </a:lnTo>
                        <a:lnTo>
                          <a:pt x="17802" y="3846"/>
                        </a:lnTo>
                        <a:lnTo>
                          <a:pt x="17806" y="3825"/>
                        </a:lnTo>
                        <a:lnTo>
                          <a:pt x="17780" y="3808"/>
                        </a:lnTo>
                        <a:lnTo>
                          <a:pt x="17769" y="3820"/>
                        </a:lnTo>
                        <a:lnTo>
                          <a:pt x="17752" y="3825"/>
                        </a:lnTo>
                        <a:lnTo>
                          <a:pt x="17764" y="3841"/>
                        </a:lnTo>
                        <a:lnTo>
                          <a:pt x="17731" y="3858"/>
                        </a:lnTo>
                        <a:lnTo>
                          <a:pt x="17731" y="3862"/>
                        </a:lnTo>
                        <a:lnTo>
                          <a:pt x="17575" y="3619"/>
                        </a:lnTo>
                        <a:lnTo>
                          <a:pt x="17483" y="3548"/>
                        </a:lnTo>
                        <a:lnTo>
                          <a:pt x="17478" y="3532"/>
                        </a:lnTo>
                        <a:lnTo>
                          <a:pt x="17495" y="3532"/>
                        </a:lnTo>
                        <a:lnTo>
                          <a:pt x="17511" y="3525"/>
                        </a:lnTo>
                        <a:lnTo>
                          <a:pt x="17499" y="3508"/>
                        </a:lnTo>
                        <a:lnTo>
                          <a:pt x="17478" y="3515"/>
                        </a:lnTo>
                        <a:lnTo>
                          <a:pt x="17461" y="3515"/>
                        </a:lnTo>
                        <a:lnTo>
                          <a:pt x="17461" y="3525"/>
                        </a:lnTo>
                        <a:lnTo>
                          <a:pt x="17407" y="3541"/>
                        </a:lnTo>
                        <a:lnTo>
                          <a:pt x="17402" y="3541"/>
                        </a:lnTo>
                        <a:lnTo>
                          <a:pt x="17407" y="3548"/>
                        </a:lnTo>
                        <a:lnTo>
                          <a:pt x="17374" y="3569"/>
                        </a:lnTo>
                        <a:lnTo>
                          <a:pt x="17360" y="3565"/>
                        </a:lnTo>
                        <a:lnTo>
                          <a:pt x="17353" y="3581"/>
                        </a:lnTo>
                        <a:lnTo>
                          <a:pt x="17336" y="3581"/>
                        </a:lnTo>
                        <a:lnTo>
                          <a:pt x="17336" y="3603"/>
                        </a:lnTo>
                        <a:lnTo>
                          <a:pt x="17322" y="3586"/>
                        </a:lnTo>
                        <a:lnTo>
                          <a:pt x="17298" y="3586"/>
                        </a:lnTo>
                        <a:lnTo>
                          <a:pt x="17284" y="3586"/>
                        </a:lnTo>
                        <a:lnTo>
                          <a:pt x="17268" y="3603"/>
                        </a:lnTo>
                        <a:lnTo>
                          <a:pt x="17251" y="3586"/>
                        </a:lnTo>
                        <a:lnTo>
                          <a:pt x="17268" y="3565"/>
                        </a:lnTo>
                        <a:lnTo>
                          <a:pt x="17284" y="3565"/>
                        </a:lnTo>
                        <a:lnTo>
                          <a:pt x="17294" y="3541"/>
                        </a:lnTo>
                        <a:lnTo>
                          <a:pt x="17251" y="3558"/>
                        </a:lnTo>
                        <a:lnTo>
                          <a:pt x="17239" y="3548"/>
                        </a:lnTo>
                        <a:lnTo>
                          <a:pt x="17230" y="3541"/>
                        </a:lnTo>
                        <a:lnTo>
                          <a:pt x="17209" y="3532"/>
                        </a:lnTo>
                        <a:lnTo>
                          <a:pt x="17197" y="3548"/>
                        </a:lnTo>
                        <a:lnTo>
                          <a:pt x="17213" y="3541"/>
                        </a:lnTo>
                        <a:lnTo>
                          <a:pt x="17213" y="3558"/>
                        </a:lnTo>
                        <a:lnTo>
                          <a:pt x="17197" y="3558"/>
                        </a:lnTo>
                        <a:lnTo>
                          <a:pt x="17192" y="3558"/>
                        </a:lnTo>
                        <a:lnTo>
                          <a:pt x="17197" y="3532"/>
                        </a:lnTo>
                        <a:lnTo>
                          <a:pt x="17185" y="3532"/>
                        </a:lnTo>
                        <a:lnTo>
                          <a:pt x="17192" y="3525"/>
                        </a:lnTo>
                        <a:lnTo>
                          <a:pt x="17176" y="3515"/>
                        </a:lnTo>
                        <a:lnTo>
                          <a:pt x="17171" y="3508"/>
                        </a:lnTo>
                        <a:lnTo>
                          <a:pt x="17176" y="3541"/>
                        </a:lnTo>
                        <a:lnTo>
                          <a:pt x="17143" y="3525"/>
                        </a:lnTo>
                        <a:lnTo>
                          <a:pt x="17138" y="3541"/>
                        </a:lnTo>
                        <a:lnTo>
                          <a:pt x="17121" y="3532"/>
                        </a:lnTo>
                        <a:lnTo>
                          <a:pt x="17105" y="3541"/>
                        </a:lnTo>
                        <a:lnTo>
                          <a:pt x="17088" y="3515"/>
                        </a:lnTo>
                        <a:lnTo>
                          <a:pt x="17105" y="3515"/>
                        </a:lnTo>
                        <a:lnTo>
                          <a:pt x="17105" y="3491"/>
                        </a:lnTo>
                        <a:lnTo>
                          <a:pt x="17117" y="3487"/>
                        </a:lnTo>
                        <a:lnTo>
                          <a:pt x="17100" y="3470"/>
                        </a:lnTo>
                        <a:lnTo>
                          <a:pt x="17088" y="3447"/>
                        </a:lnTo>
                        <a:lnTo>
                          <a:pt x="17083" y="3421"/>
                        </a:lnTo>
                        <a:lnTo>
                          <a:pt x="17062" y="3421"/>
                        </a:lnTo>
                        <a:lnTo>
                          <a:pt x="17046" y="3437"/>
                        </a:lnTo>
                        <a:lnTo>
                          <a:pt x="16996" y="3414"/>
                        </a:lnTo>
                        <a:lnTo>
                          <a:pt x="16975" y="3414"/>
                        </a:lnTo>
                        <a:lnTo>
                          <a:pt x="16970" y="3421"/>
                        </a:lnTo>
                        <a:lnTo>
                          <a:pt x="16954" y="3404"/>
                        </a:lnTo>
                        <a:lnTo>
                          <a:pt x="16954" y="3421"/>
                        </a:lnTo>
                        <a:lnTo>
                          <a:pt x="16937" y="3414"/>
                        </a:lnTo>
                        <a:lnTo>
                          <a:pt x="16928" y="3430"/>
                        </a:lnTo>
                        <a:lnTo>
                          <a:pt x="16899" y="3430"/>
                        </a:lnTo>
                        <a:lnTo>
                          <a:pt x="16906" y="3447"/>
                        </a:lnTo>
                        <a:lnTo>
                          <a:pt x="16899" y="3454"/>
                        </a:lnTo>
                        <a:lnTo>
                          <a:pt x="16883" y="3454"/>
                        </a:lnTo>
                        <a:lnTo>
                          <a:pt x="16852" y="3470"/>
                        </a:lnTo>
                        <a:lnTo>
                          <a:pt x="16743" y="3491"/>
                        </a:lnTo>
                        <a:lnTo>
                          <a:pt x="16743" y="3475"/>
                        </a:lnTo>
                        <a:lnTo>
                          <a:pt x="16727" y="3491"/>
                        </a:lnTo>
                        <a:lnTo>
                          <a:pt x="16706" y="3487"/>
                        </a:lnTo>
                        <a:lnTo>
                          <a:pt x="16689" y="3503"/>
                        </a:lnTo>
                        <a:lnTo>
                          <a:pt x="16689" y="3515"/>
                        </a:lnTo>
                        <a:lnTo>
                          <a:pt x="16668" y="3508"/>
                        </a:lnTo>
                        <a:lnTo>
                          <a:pt x="16604" y="3515"/>
                        </a:lnTo>
                        <a:lnTo>
                          <a:pt x="16604" y="3525"/>
                        </a:lnTo>
                        <a:lnTo>
                          <a:pt x="16597" y="3532"/>
                        </a:lnTo>
                        <a:lnTo>
                          <a:pt x="16580" y="3525"/>
                        </a:lnTo>
                        <a:lnTo>
                          <a:pt x="16543" y="3532"/>
                        </a:lnTo>
                        <a:lnTo>
                          <a:pt x="16543" y="3541"/>
                        </a:lnTo>
                        <a:lnTo>
                          <a:pt x="16505" y="3548"/>
                        </a:lnTo>
                        <a:lnTo>
                          <a:pt x="16505" y="3565"/>
                        </a:lnTo>
                        <a:lnTo>
                          <a:pt x="16491" y="3548"/>
                        </a:lnTo>
                        <a:lnTo>
                          <a:pt x="16467" y="3548"/>
                        </a:lnTo>
                        <a:lnTo>
                          <a:pt x="16467" y="3558"/>
                        </a:lnTo>
                        <a:lnTo>
                          <a:pt x="16420" y="3541"/>
                        </a:lnTo>
                        <a:lnTo>
                          <a:pt x="16398" y="3558"/>
                        </a:lnTo>
                        <a:lnTo>
                          <a:pt x="16398" y="3565"/>
                        </a:lnTo>
                        <a:lnTo>
                          <a:pt x="16415" y="3569"/>
                        </a:lnTo>
                        <a:lnTo>
                          <a:pt x="16398" y="3586"/>
                        </a:lnTo>
                        <a:lnTo>
                          <a:pt x="16387" y="3586"/>
                        </a:lnTo>
                        <a:lnTo>
                          <a:pt x="16424" y="3586"/>
                        </a:lnTo>
                        <a:lnTo>
                          <a:pt x="16436" y="3598"/>
                        </a:lnTo>
                        <a:lnTo>
                          <a:pt x="16420" y="3603"/>
                        </a:lnTo>
                        <a:lnTo>
                          <a:pt x="16415" y="3598"/>
                        </a:lnTo>
                        <a:lnTo>
                          <a:pt x="16403" y="3619"/>
                        </a:lnTo>
                        <a:lnTo>
                          <a:pt x="16474" y="3636"/>
                        </a:lnTo>
                        <a:lnTo>
                          <a:pt x="16474" y="3652"/>
                        </a:lnTo>
                        <a:lnTo>
                          <a:pt x="16458" y="3652"/>
                        </a:lnTo>
                        <a:lnTo>
                          <a:pt x="16424" y="3643"/>
                        </a:lnTo>
                        <a:lnTo>
                          <a:pt x="16398" y="3652"/>
                        </a:lnTo>
                        <a:lnTo>
                          <a:pt x="16370" y="3680"/>
                        </a:lnTo>
                        <a:lnTo>
                          <a:pt x="16382" y="3680"/>
                        </a:lnTo>
                        <a:lnTo>
                          <a:pt x="16382" y="3692"/>
                        </a:lnTo>
                        <a:lnTo>
                          <a:pt x="16387" y="3697"/>
                        </a:lnTo>
                        <a:lnTo>
                          <a:pt x="16398" y="3714"/>
                        </a:lnTo>
                        <a:lnTo>
                          <a:pt x="16370" y="3730"/>
                        </a:lnTo>
                        <a:lnTo>
                          <a:pt x="16361" y="3730"/>
                        </a:lnTo>
                        <a:lnTo>
                          <a:pt x="16316" y="3747"/>
                        </a:lnTo>
                        <a:lnTo>
                          <a:pt x="16328" y="3751"/>
                        </a:lnTo>
                        <a:lnTo>
                          <a:pt x="16361" y="3763"/>
                        </a:lnTo>
                        <a:lnTo>
                          <a:pt x="16349" y="3780"/>
                        </a:lnTo>
                        <a:lnTo>
                          <a:pt x="16387" y="3787"/>
                        </a:lnTo>
                        <a:lnTo>
                          <a:pt x="16387" y="3791"/>
                        </a:lnTo>
                        <a:lnTo>
                          <a:pt x="16424" y="3803"/>
                        </a:lnTo>
                        <a:lnTo>
                          <a:pt x="16441" y="3820"/>
                        </a:lnTo>
                        <a:lnTo>
                          <a:pt x="16436" y="3820"/>
                        </a:lnTo>
                        <a:lnTo>
                          <a:pt x="16420" y="3862"/>
                        </a:lnTo>
                        <a:lnTo>
                          <a:pt x="16370" y="3874"/>
                        </a:lnTo>
                        <a:lnTo>
                          <a:pt x="16344" y="3874"/>
                        </a:lnTo>
                        <a:lnTo>
                          <a:pt x="16328" y="3858"/>
                        </a:lnTo>
                        <a:lnTo>
                          <a:pt x="16311" y="3879"/>
                        </a:lnTo>
                        <a:lnTo>
                          <a:pt x="16290" y="3891"/>
                        </a:lnTo>
                        <a:lnTo>
                          <a:pt x="16295" y="3879"/>
                        </a:lnTo>
                        <a:lnTo>
                          <a:pt x="16290" y="3874"/>
                        </a:lnTo>
                        <a:lnTo>
                          <a:pt x="16252" y="3874"/>
                        </a:lnTo>
                        <a:lnTo>
                          <a:pt x="16226" y="3858"/>
                        </a:lnTo>
                        <a:lnTo>
                          <a:pt x="16219" y="3846"/>
                        </a:lnTo>
                        <a:lnTo>
                          <a:pt x="16226" y="3836"/>
                        </a:lnTo>
                        <a:lnTo>
                          <a:pt x="16202" y="3825"/>
                        </a:lnTo>
                        <a:lnTo>
                          <a:pt x="16198" y="3836"/>
                        </a:lnTo>
                        <a:lnTo>
                          <a:pt x="16165" y="3836"/>
                        </a:lnTo>
                        <a:lnTo>
                          <a:pt x="16165" y="3846"/>
                        </a:lnTo>
                        <a:lnTo>
                          <a:pt x="16150" y="3858"/>
                        </a:lnTo>
                        <a:lnTo>
                          <a:pt x="16117" y="3836"/>
                        </a:lnTo>
                        <a:lnTo>
                          <a:pt x="16096" y="3836"/>
                        </a:lnTo>
                        <a:lnTo>
                          <a:pt x="16089" y="3836"/>
                        </a:lnTo>
                        <a:lnTo>
                          <a:pt x="16096" y="3841"/>
                        </a:lnTo>
                        <a:lnTo>
                          <a:pt x="16080" y="3836"/>
                        </a:lnTo>
                        <a:lnTo>
                          <a:pt x="16063" y="3846"/>
                        </a:lnTo>
                        <a:lnTo>
                          <a:pt x="16058" y="3846"/>
                        </a:lnTo>
                        <a:lnTo>
                          <a:pt x="16047" y="3862"/>
                        </a:lnTo>
                        <a:lnTo>
                          <a:pt x="16021" y="3891"/>
                        </a:lnTo>
                        <a:lnTo>
                          <a:pt x="15950" y="3836"/>
                        </a:lnTo>
                        <a:lnTo>
                          <a:pt x="15938" y="3841"/>
                        </a:lnTo>
                        <a:lnTo>
                          <a:pt x="15938" y="3846"/>
                        </a:lnTo>
                        <a:lnTo>
                          <a:pt x="15950" y="3846"/>
                        </a:lnTo>
                        <a:lnTo>
                          <a:pt x="15950" y="3879"/>
                        </a:lnTo>
                        <a:lnTo>
                          <a:pt x="15938" y="3891"/>
                        </a:lnTo>
                        <a:lnTo>
                          <a:pt x="15933" y="3874"/>
                        </a:lnTo>
                        <a:lnTo>
                          <a:pt x="15938" y="3858"/>
                        </a:lnTo>
                        <a:lnTo>
                          <a:pt x="15928" y="3846"/>
                        </a:lnTo>
                        <a:lnTo>
                          <a:pt x="15900" y="3825"/>
                        </a:lnTo>
                        <a:lnTo>
                          <a:pt x="15879" y="3820"/>
                        </a:lnTo>
                        <a:lnTo>
                          <a:pt x="15879" y="3803"/>
                        </a:lnTo>
                        <a:lnTo>
                          <a:pt x="15862" y="3791"/>
                        </a:lnTo>
                        <a:lnTo>
                          <a:pt x="15803" y="3791"/>
                        </a:lnTo>
                        <a:lnTo>
                          <a:pt x="15787" y="3768"/>
                        </a:lnTo>
                        <a:lnTo>
                          <a:pt x="15772" y="3780"/>
                        </a:lnTo>
                        <a:lnTo>
                          <a:pt x="15756" y="3780"/>
                        </a:lnTo>
                        <a:lnTo>
                          <a:pt x="15749" y="3787"/>
                        </a:lnTo>
                        <a:lnTo>
                          <a:pt x="15749" y="3791"/>
                        </a:lnTo>
                        <a:lnTo>
                          <a:pt x="15739" y="3791"/>
                        </a:lnTo>
                        <a:lnTo>
                          <a:pt x="15711" y="3791"/>
                        </a:lnTo>
                        <a:lnTo>
                          <a:pt x="15711" y="3787"/>
                        </a:lnTo>
                        <a:lnTo>
                          <a:pt x="15718" y="3787"/>
                        </a:lnTo>
                        <a:lnTo>
                          <a:pt x="15718" y="3780"/>
                        </a:lnTo>
                        <a:lnTo>
                          <a:pt x="15680" y="3768"/>
                        </a:lnTo>
                        <a:lnTo>
                          <a:pt x="15680" y="3787"/>
                        </a:lnTo>
                        <a:lnTo>
                          <a:pt x="15664" y="3780"/>
                        </a:lnTo>
                        <a:lnTo>
                          <a:pt x="15664" y="3791"/>
                        </a:lnTo>
                        <a:lnTo>
                          <a:pt x="15647" y="3803"/>
                        </a:lnTo>
                        <a:lnTo>
                          <a:pt x="15647" y="3808"/>
                        </a:lnTo>
                        <a:lnTo>
                          <a:pt x="15609" y="3836"/>
                        </a:lnTo>
                        <a:lnTo>
                          <a:pt x="15588" y="3825"/>
                        </a:lnTo>
                        <a:lnTo>
                          <a:pt x="15576" y="3841"/>
                        </a:lnTo>
                        <a:lnTo>
                          <a:pt x="15576" y="3858"/>
                        </a:lnTo>
                        <a:lnTo>
                          <a:pt x="15534" y="3879"/>
                        </a:lnTo>
                        <a:lnTo>
                          <a:pt x="15534" y="3914"/>
                        </a:lnTo>
                        <a:lnTo>
                          <a:pt x="15550" y="3931"/>
                        </a:lnTo>
                        <a:lnTo>
                          <a:pt x="15539" y="3947"/>
                        </a:lnTo>
                        <a:lnTo>
                          <a:pt x="15508" y="3952"/>
                        </a:lnTo>
                        <a:lnTo>
                          <a:pt x="15501" y="3947"/>
                        </a:lnTo>
                        <a:lnTo>
                          <a:pt x="15480" y="3914"/>
                        </a:lnTo>
                        <a:lnTo>
                          <a:pt x="15454" y="3891"/>
                        </a:lnTo>
                        <a:lnTo>
                          <a:pt x="15447" y="3895"/>
                        </a:lnTo>
                        <a:lnTo>
                          <a:pt x="15432" y="3903"/>
                        </a:lnTo>
                        <a:lnTo>
                          <a:pt x="15432" y="3931"/>
                        </a:lnTo>
                        <a:lnTo>
                          <a:pt x="15409" y="3952"/>
                        </a:lnTo>
                        <a:lnTo>
                          <a:pt x="15395" y="4002"/>
                        </a:lnTo>
                        <a:lnTo>
                          <a:pt x="15416" y="4014"/>
                        </a:lnTo>
                        <a:lnTo>
                          <a:pt x="15395" y="4030"/>
                        </a:lnTo>
                        <a:lnTo>
                          <a:pt x="15378" y="4080"/>
                        </a:lnTo>
                        <a:lnTo>
                          <a:pt x="15416" y="4096"/>
                        </a:lnTo>
                        <a:lnTo>
                          <a:pt x="15425" y="4134"/>
                        </a:lnTo>
                        <a:lnTo>
                          <a:pt x="15442" y="4151"/>
                        </a:lnTo>
                        <a:lnTo>
                          <a:pt x="15442" y="4134"/>
                        </a:lnTo>
                        <a:lnTo>
                          <a:pt x="15496" y="4151"/>
                        </a:lnTo>
                        <a:lnTo>
                          <a:pt x="15555" y="4228"/>
                        </a:lnTo>
                        <a:lnTo>
                          <a:pt x="15534" y="4236"/>
                        </a:lnTo>
                        <a:lnTo>
                          <a:pt x="15517" y="4236"/>
                        </a:lnTo>
                        <a:lnTo>
                          <a:pt x="15517" y="4252"/>
                        </a:lnTo>
                        <a:lnTo>
                          <a:pt x="15560" y="4269"/>
                        </a:lnTo>
                        <a:lnTo>
                          <a:pt x="15572" y="4278"/>
                        </a:lnTo>
                        <a:lnTo>
                          <a:pt x="15560" y="4278"/>
                        </a:lnTo>
                        <a:lnTo>
                          <a:pt x="15550" y="4290"/>
                        </a:lnTo>
                        <a:lnTo>
                          <a:pt x="15522" y="4290"/>
                        </a:lnTo>
                        <a:lnTo>
                          <a:pt x="15534" y="4302"/>
                        </a:lnTo>
                        <a:lnTo>
                          <a:pt x="15534" y="4318"/>
                        </a:lnTo>
                        <a:lnTo>
                          <a:pt x="15522" y="4306"/>
                        </a:lnTo>
                        <a:lnTo>
                          <a:pt x="15496" y="4323"/>
                        </a:lnTo>
                        <a:lnTo>
                          <a:pt x="15470" y="4335"/>
                        </a:lnTo>
                        <a:lnTo>
                          <a:pt x="15447" y="4323"/>
                        </a:lnTo>
                        <a:lnTo>
                          <a:pt x="15454" y="4340"/>
                        </a:lnTo>
                        <a:lnTo>
                          <a:pt x="15442" y="4323"/>
                        </a:lnTo>
                        <a:lnTo>
                          <a:pt x="15447" y="4340"/>
                        </a:lnTo>
                        <a:lnTo>
                          <a:pt x="15447" y="4356"/>
                        </a:lnTo>
                        <a:lnTo>
                          <a:pt x="15416" y="4413"/>
                        </a:lnTo>
                        <a:lnTo>
                          <a:pt x="15416" y="4401"/>
                        </a:lnTo>
                        <a:lnTo>
                          <a:pt x="15395" y="4417"/>
                        </a:lnTo>
                        <a:lnTo>
                          <a:pt x="15387" y="4434"/>
                        </a:lnTo>
                        <a:lnTo>
                          <a:pt x="15395" y="4446"/>
                        </a:lnTo>
                        <a:lnTo>
                          <a:pt x="15416" y="4451"/>
                        </a:lnTo>
                        <a:lnTo>
                          <a:pt x="15432" y="4484"/>
                        </a:lnTo>
                        <a:lnTo>
                          <a:pt x="15447" y="4500"/>
                        </a:lnTo>
                        <a:lnTo>
                          <a:pt x="15442" y="4512"/>
                        </a:lnTo>
                        <a:lnTo>
                          <a:pt x="15442" y="4524"/>
                        </a:lnTo>
                        <a:lnTo>
                          <a:pt x="15447" y="4491"/>
                        </a:lnTo>
                        <a:lnTo>
                          <a:pt x="15463" y="4491"/>
                        </a:lnTo>
                        <a:lnTo>
                          <a:pt x="15447" y="4528"/>
                        </a:lnTo>
                        <a:lnTo>
                          <a:pt x="15447" y="4540"/>
                        </a:lnTo>
                        <a:lnTo>
                          <a:pt x="15454" y="4545"/>
                        </a:lnTo>
                        <a:lnTo>
                          <a:pt x="15447" y="4557"/>
                        </a:lnTo>
                        <a:lnTo>
                          <a:pt x="15442" y="4566"/>
                        </a:lnTo>
                        <a:lnTo>
                          <a:pt x="15463" y="4578"/>
                        </a:lnTo>
                        <a:lnTo>
                          <a:pt x="15463" y="4602"/>
                        </a:lnTo>
                        <a:lnTo>
                          <a:pt x="15484" y="4623"/>
                        </a:lnTo>
                        <a:lnTo>
                          <a:pt x="15508" y="4668"/>
                        </a:lnTo>
                        <a:lnTo>
                          <a:pt x="15522" y="4673"/>
                        </a:lnTo>
                        <a:lnTo>
                          <a:pt x="15508" y="4689"/>
                        </a:lnTo>
                        <a:lnTo>
                          <a:pt x="15484" y="4706"/>
                        </a:lnTo>
                        <a:lnTo>
                          <a:pt x="15480" y="4722"/>
                        </a:lnTo>
                        <a:lnTo>
                          <a:pt x="15463" y="4729"/>
                        </a:lnTo>
                        <a:lnTo>
                          <a:pt x="15432" y="4710"/>
                        </a:lnTo>
                        <a:lnTo>
                          <a:pt x="15425" y="4694"/>
                        </a:lnTo>
                        <a:lnTo>
                          <a:pt x="15395" y="4668"/>
                        </a:lnTo>
                        <a:lnTo>
                          <a:pt x="15387" y="4673"/>
                        </a:lnTo>
                        <a:lnTo>
                          <a:pt x="15371" y="4668"/>
                        </a:lnTo>
                        <a:lnTo>
                          <a:pt x="15319" y="4639"/>
                        </a:lnTo>
                        <a:lnTo>
                          <a:pt x="15324" y="4611"/>
                        </a:lnTo>
                        <a:lnTo>
                          <a:pt x="15291" y="4611"/>
                        </a:lnTo>
                        <a:lnTo>
                          <a:pt x="15286" y="4595"/>
                        </a:lnTo>
                        <a:lnTo>
                          <a:pt x="15269" y="4583"/>
                        </a:lnTo>
                        <a:lnTo>
                          <a:pt x="15253" y="4602"/>
                        </a:lnTo>
                        <a:lnTo>
                          <a:pt x="15236" y="4583"/>
                        </a:lnTo>
                        <a:lnTo>
                          <a:pt x="15194" y="4602"/>
                        </a:lnTo>
                        <a:lnTo>
                          <a:pt x="15182" y="4602"/>
                        </a:lnTo>
                        <a:lnTo>
                          <a:pt x="15182" y="4595"/>
                        </a:lnTo>
                        <a:lnTo>
                          <a:pt x="15144" y="4578"/>
                        </a:lnTo>
                        <a:lnTo>
                          <a:pt x="15123" y="4557"/>
                        </a:lnTo>
                        <a:lnTo>
                          <a:pt x="15031" y="4545"/>
                        </a:lnTo>
                        <a:lnTo>
                          <a:pt x="14967" y="4524"/>
                        </a:lnTo>
                        <a:lnTo>
                          <a:pt x="14941" y="4512"/>
                        </a:lnTo>
                        <a:lnTo>
                          <a:pt x="14924" y="4524"/>
                        </a:lnTo>
                        <a:lnTo>
                          <a:pt x="14924" y="4540"/>
                        </a:lnTo>
                        <a:lnTo>
                          <a:pt x="14832" y="4458"/>
                        </a:lnTo>
                        <a:lnTo>
                          <a:pt x="14795" y="4446"/>
                        </a:lnTo>
                        <a:lnTo>
                          <a:pt x="14766" y="4417"/>
                        </a:lnTo>
                        <a:lnTo>
                          <a:pt x="14766" y="4429"/>
                        </a:lnTo>
                        <a:lnTo>
                          <a:pt x="14745" y="4417"/>
                        </a:lnTo>
                        <a:lnTo>
                          <a:pt x="14724" y="4396"/>
                        </a:lnTo>
                        <a:lnTo>
                          <a:pt x="14686" y="4380"/>
                        </a:lnTo>
                        <a:lnTo>
                          <a:pt x="14707" y="4363"/>
                        </a:lnTo>
                        <a:lnTo>
                          <a:pt x="14691" y="4356"/>
                        </a:lnTo>
                        <a:lnTo>
                          <a:pt x="14686" y="4363"/>
                        </a:lnTo>
                        <a:lnTo>
                          <a:pt x="14698" y="4356"/>
                        </a:lnTo>
                        <a:lnTo>
                          <a:pt x="14714" y="4363"/>
                        </a:lnTo>
                        <a:lnTo>
                          <a:pt x="14714" y="4373"/>
                        </a:lnTo>
                        <a:lnTo>
                          <a:pt x="14745" y="4356"/>
                        </a:lnTo>
                        <a:lnTo>
                          <a:pt x="14761" y="4363"/>
                        </a:lnTo>
                        <a:lnTo>
                          <a:pt x="14761" y="4340"/>
                        </a:lnTo>
                        <a:lnTo>
                          <a:pt x="14752" y="4340"/>
                        </a:lnTo>
                        <a:lnTo>
                          <a:pt x="14752" y="4356"/>
                        </a:lnTo>
                        <a:lnTo>
                          <a:pt x="14752" y="4340"/>
                        </a:lnTo>
                        <a:lnTo>
                          <a:pt x="14761" y="4340"/>
                        </a:lnTo>
                        <a:lnTo>
                          <a:pt x="14752" y="4335"/>
                        </a:lnTo>
                        <a:lnTo>
                          <a:pt x="14766" y="4323"/>
                        </a:lnTo>
                        <a:lnTo>
                          <a:pt x="14778" y="4302"/>
                        </a:lnTo>
                        <a:lnTo>
                          <a:pt x="14783" y="4302"/>
                        </a:lnTo>
                        <a:lnTo>
                          <a:pt x="14783" y="4306"/>
                        </a:lnTo>
                        <a:lnTo>
                          <a:pt x="14795" y="4290"/>
                        </a:lnTo>
                        <a:lnTo>
                          <a:pt x="14816" y="4302"/>
                        </a:lnTo>
                        <a:lnTo>
                          <a:pt x="14821" y="4290"/>
                        </a:lnTo>
                        <a:lnTo>
                          <a:pt x="14783" y="4269"/>
                        </a:lnTo>
                        <a:lnTo>
                          <a:pt x="14778" y="4269"/>
                        </a:lnTo>
                        <a:lnTo>
                          <a:pt x="14761" y="4245"/>
                        </a:lnTo>
                        <a:lnTo>
                          <a:pt x="14783" y="4245"/>
                        </a:lnTo>
                        <a:lnTo>
                          <a:pt x="14799" y="4236"/>
                        </a:lnTo>
                        <a:lnTo>
                          <a:pt x="14821" y="4245"/>
                        </a:lnTo>
                        <a:lnTo>
                          <a:pt x="14816" y="4236"/>
                        </a:lnTo>
                        <a:lnTo>
                          <a:pt x="14804" y="4236"/>
                        </a:lnTo>
                        <a:lnTo>
                          <a:pt x="14804" y="4228"/>
                        </a:lnTo>
                        <a:lnTo>
                          <a:pt x="14854" y="4212"/>
                        </a:lnTo>
                        <a:lnTo>
                          <a:pt x="14870" y="4212"/>
                        </a:lnTo>
                        <a:lnTo>
                          <a:pt x="14870" y="4207"/>
                        </a:lnTo>
                        <a:lnTo>
                          <a:pt x="14870" y="4191"/>
                        </a:lnTo>
                        <a:lnTo>
                          <a:pt x="14854" y="4191"/>
                        </a:lnTo>
                        <a:lnTo>
                          <a:pt x="14821" y="4207"/>
                        </a:lnTo>
                        <a:lnTo>
                          <a:pt x="14816" y="4195"/>
                        </a:lnTo>
                        <a:lnTo>
                          <a:pt x="14821" y="4191"/>
                        </a:lnTo>
                        <a:lnTo>
                          <a:pt x="14832" y="4191"/>
                        </a:lnTo>
                        <a:lnTo>
                          <a:pt x="14799" y="4207"/>
                        </a:lnTo>
                        <a:lnTo>
                          <a:pt x="14799" y="4158"/>
                        </a:lnTo>
                        <a:lnTo>
                          <a:pt x="14832" y="4151"/>
                        </a:lnTo>
                        <a:lnTo>
                          <a:pt x="14837" y="4134"/>
                        </a:lnTo>
                        <a:lnTo>
                          <a:pt x="14908" y="4134"/>
                        </a:lnTo>
                        <a:lnTo>
                          <a:pt x="14908" y="4117"/>
                        </a:lnTo>
                        <a:lnTo>
                          <a:pt x="14924" y="4096"/>
                        </a:lnTo>
                        <a:lnTo>
                          <a:pt x="14908" y="4068"/>
                        </a:lnTo>
                        <a:lnTo>
                          <a:pt x="14903" y="4063"/>
                        </a:lnTo>
                        <a:lnTo>
                          <a:pt x="14908" y="4047"/>
                        </a:lnTo>
                        <a:lnTo>
                          <a:pt x="14924" y="4047"/>
                        </a:lnTo>
                        <a:lnTo>
                          <a:pt x="14924" y="4040"/>
                        </a:lnTo>
                        <a:lnTo>
                          <a:pt x="14908" y="4040"/>
                        </a:lnTo>
                        <a:lnTo>
                          <a:pt x="14903" y="4030"/>
                        </a:lnTo>
                        <a:lnTo>
                          <a:pt x="14913" y="4023"/>
                        </a:lnTo>
                        <a:lnTo>
                          <a:pt x="14929" y="4006"/>
                        </a:lnTo>
                        <a:lnTo>
                          <a:pt x="14924" y="3985"/>
                        </a:lnTo>
                        <a:lnTo>
                          <a:pt x="14929" y="3973"/>
                        </a:lnTo>
                        <a:lnTo>
                          <a:pt x="14908" y="3973"/>
                        </a:lnTo>
                        <a:lnTo>
                          <a:pt x="14891" y="3957"/>
                        </a:lnTo>
                        <a:lnTo>
                          <a:pt x="14870" y="3957"/>
                        </a:lnTo>
                        <a:lnTo>
                          <a:pt x="14858" y="3947"/>
                        </a:lnTo>
                        <a:lnTo>
                          <a:pt x="14849" y="3952"/>
                        </a:lnTo>
                        <a:lnTo>
                          <a:pt x="14799" y="3931"/>
                        </a:lnTo>
                        <a:lnTo>
                          <a:pt x="14795" y="3931"/>
                        </a:lnTo>
                        <a:lnTo>
                          <a:pt x="14783" y="3947"/>
                        </a:lnTo>
                        <a:lnTo>
                          <a:pt x="14761" y="3931"/>
                        </a:lnTo>
                        <a:lnTo>
                          <a:pt x="14745" y="3895"/>
                        </a:lnTo>
                        <a:lnTo>
                          <a:pt x="14686" y="3914"/>
                        </a:lnTo>
                        <a:lnTo>
                          <a:pt x="14660" y="3903"/>
                        </a:lnTo>
                        <a:lnTo>
                          <a:pt x="14653" y="3895"/>
                        </a:lnTo>
                        <a:lnTo>
                          <a:pt x="14615" y="3895"/>
                        </a:lnTo>
                        <a:lnTo>
                          <a:pt x="14601" y="3874"/>
                        </a:lnTo>
                        <a:lnTo>
                          <a:pt x="14606" y="3874"/>
                        </a:lnTo>
                        <a:lnTo>
                          <a:pt x="14589" y="3841"/>
                        </a:lnTo>
                        <a:lnTo>
                          <a:pt x="14601" y="3836"/>
                        </a:lnTo>
                        <a:lnTo>
                          <a:pt x="14584" y="3836"/>
                        </a:lnTo>
                        <a:lnTo>
                          <a:pt x="14577" y="3820"/>
                        </a:lnTo>
                        <a:lnTo>
                          <a:pt x="14551" y="3825"/>
                        </a:lnTo>
                        <a:lnTo>
                          <a:pt x="14530" y="3820"/>
                        </a:lnTo>
                        <a:lnTo>
                          <a:pt x="14509" y="3780"/>
                        </a:lnTo>
                        <a:lnTo>
                          <a:pt x="14530" y="3768"/>
                        </a:lnTo>
                        <a:lnTo>
                          <a:pt x="14530" y="3763"/>
                        </a:lnTo>
                        <a:lnTo>
                          <a:pt x="14509" y="3747"/>
                        </a:lnTo>
                        <a:lnTo>
                          <a:pt x="14509" y="3730"/>
                        </a:lnTo>
                        <a:lnTo>
                          <a:pt x="14492" y="3709"/>
                        </a:lnTo>
                        <a:lnTo>
                          <a:pt x="14443" y="3709"/>
                        </a:lnTo>
                        <a:lnTo>
                          <a:pt x="14421" y="3725"/>
                        </a:lnTo>
                        <a:lnTo>
                          <a:pt x="14384" y="3714"/>
                        </a:lnTo>
                        <a:lnTo>
                          <a:pt x="14374" y="3735"/>
                        </a:lnTo>
                        <a:lnTo>
                          <a:pt x="14346" y="3735"/>
                        </a:lnTo>
                        <a:lnTo>
                          <a:pt x="14329" y="3714"/>
                        </a:lnTo>
                        <a:lnTo>
                          <a:pt x="14329" y="3692"/>
                        </a:lnTo>
                        <a:lnTo>
                          <a:pt x="14320" y="3676"/>
                        </a:lnTo>
                        <a:lnTo>
                          <a:pt x="14329" y="3669"/>
                        </a:lnTo>
                        <a:lnTo>
                          <a:pt x="14308" y="3643"/>
                        </a:lnTo>
                        <a:lnTo>
                          <a:pt x="14320" y="3624"/>
                        </a:lnTo>
                        <a:lnTo>
                          <a:pt x="14374" y="3636"/>
                        </a:lnTo>
                        <a:lnTo>
                          <a:pt x="14405" y="3614"/>
                        </a:lnTo>
                        <a:lnTo>
                          <a:pt x="14417" y="3603"/>
                        </a:lnTo>
                        <a:lnTo>
                          <a:pt x="14388" y="3598"/>
                        </a:lnTo>
                        <a:lnTo>
                          <a:pt x="14388" y="3586"/>
                        </a:lnTo>
                        <a:lnTo>
                          <a:pt x="14400" y="3581"/>
                        </a:lnTo>
                        <a:lnTo>
                          <a:pt x="14388" y="3581"/>
                        </a:lnTo>
                        <a:lnTo>
                          <a:pt x="14367" y="3569"/>
                        </a:lnTo>
                        <a:lnTo>
                          <a:pt x="14346" y="3569"/>
                        </a:lnTo>
                        <a:lnTo>
                          <a:pt x="14350" y="3541"/>
                        </a:lnTo>
                        <a:lnTo>
                          <a:pt x="14313" y="3525"/>
                        </a:lnTo>
                        <a:lnTo>
                          <a:pt x="14308" y="3508"/>
                        </a:lnTo>
                        <a:lnTo>
                          <a:pt x="14298" y="3503"/>
                        </a:lnTo>
                        <a:lnTo>
                          <a:pt x="14298" y="3487"/>
                        </a:lnTo>
                        <a:lnTo>
                          <a:pt x="14275" y="3470"/>
                        </a:lnTo>
                        <a:lnTo>
                          <a:pt x="14291" y="3447"/>
                        </a:lnTo>
                        <a:lnTo>
                          <a:pt x="14275" y="3421"/>
                        </a:lnTo>
                        <a:lnTo>
                          <a:pt x="14282" y="3414"/>
                        </a:lnTo>
                        <a:lnTo>
                          <a:pt x="14282" y="3392"/>
                        </a:lnTo>
                        <a:lnTo>
                          <a:pt x="14275" y="3392"/>
                        </a:lnTo>
                        <a:lnTo>
                          <a:pt x="14254" y="3364"/>
                        </a:lnTo>
                        <a:lnTo>
                          <a:pt x="14237" y="3364"/>
                        </a:lnTo>
                        <a:lnTo>
                          <a:pt x="14211" y="3364"/>
                        </a:lnTo>
                        <a:lnTo>
                          <a:pt x="14185" y="3380"/>
                        </a:lnTo>
                        <a:lnTo>
                          <a:pt x="14173" y="3376"/>
                        </a:lnTo>
                        <a:lnTo>
                          <a:pt x="14185" y="3359"/>
                        </a:lnTo>
                        <a:lnTo>
                          <a:pt x="14173" y="3359"/>
                        </a:lnTo>
                        <a:lnTo>
                          <a:pt x="14152" y="3347"/>
                        </a:lnTo>
                        <a:lnTo>
                          <a:pt x="14131" y="3359"/>
                        </a:lnTo>
                        <a:lnTo>
                          <a:pt x="14119" y="3343"/>
                        </a:lnTo>
                        <a:lnTo>
                          <a:pt x="14098" y="3343"/>
                        </a:lnTo>
                        <a:lnTo>
                          <a:pt x="14093" y="3336"/>
                        </a:lnTo>
                        <a:lnTo>
                          <a:pt x="14098" y="3319"/>
                        </a:lnTo>
                        <a:lnTo>
                          <a:pt x="14076" y="3265"/>
                        </a:lnTo>
                        <a:lnTo>
                          <a:pt x="14060" y="3253"/>
                        </a:lnTo>
                        <a:lnTo>
                          <a:pt x="14065" y="3215"/>
                        </a:lnTo>
                        <a:lnTo>
                          <a:pt x="14043" y="3199"/>
                        </a:lnTo>
                        <a:lnTo>
                          <a:pt x="14043" y="3192"/>
                        </a:lnTo>
                        <a:lnTo>
                          <a:pt x="14039" y="3192"/>
                        </a:lnTo>
                        <a:lnTo>
                          <a:pt x="14043" y="3158"/>
                        </a:lnTo>
                        <a:lnTo>
                          <a:pt x="14065" y="3158"/>
                        </a:lnTo>
                        <a:lnTo>
                          <a:pt x="14043" y="3121"/>
                        </a:lnTo>
                        <a:lnTo>
                          <a:pt x="14043" y="3104"/>
                        </a:lnTo>
                        <a:lnTo>
                          <a:pt x="14039" y="3059"/>
                        </a:lnTo>
                        <a:lnTo>
                          <a:pt x="14065" y="3031"/>
                        </a:lnTo>
                        <a:lnTo>
                          <a:pt x="14076" y="3010"/>
                        </a:lnTo>
                        <a:lnTo>
                          <a:pt x="14093" y="3010"/>
                        </a:lnTo>
                        <a:lnTo>
                          <a:pt x="14093" y="2998"/>
                        </a:lnTo>
                        <a:lnTo>
                          <a:pt x="14081" y="2988"/>
                        </a:lnTo>
                        <a:lnTo>
                          <a:pt x="14081" y="2977"/>
                        </a:lnTo>
                        <a:lnTo>
                          <a:pt x="14076" y="2960"/>
                        </a:lnTo>
                        <a:lnTo>
                          <a:pt x="14081" y="2953"/>
                        </a:lnTo>
                        <a:lnTo>
                          <a:pt x="14102" y="2972"/>
                        </a:lnTo>
                        <a:lnTo>
                          <a:pt x="14114" y="2943"/>
                        </a:lnTo>
                        <a:lnTo>
                          <a:pt x="14136" y="2953"/>
                        </a:lnTo>
                        <a:lnTo>
                          <a:pt x="14157" y="2932"/>
                        </a:lnTo>
                        <a:lnTo>
                          <a:pt x="14228" y="2943"/>
                        </a:lnTo>
                        <a:lnTo>
                          <a:pt x="14237" y="2936"/>
                        </a:lnTo>
                        <a:lnTo>
                          <a:pt x="14211" y="2932"/>
                        </a:lnTo>
                        <a:lnTo>
                          <a:pt x="14211" y="2915"/>
                        </a:lnTo>
                        <a:lnTo>
                          <a:pt x="14199" y="2915"/>
                        </a:lnTo>
                        <a:lnTo>
                          <a:pt x="14152" y="2915"/>
                        </a:lnTo>
                        <a:lnTo>
                          <a:pt x="14119" y="2887"/>
                        </a:lnTo>
                        <a:lnTo>
                          <a:pt x="14114" y="2877"/>
                        </a:lnTo>
                        <a:lnTo>
                          <a:pt x="14131" y="2882"/>
                        </a:lnTo>
                        <a:lnTo>
                          <a:pt x="14131" y="2866"/>
                        </a:lnTo>
                        <a:lnTo>
                          <a:pt x="14119" y="2866"/>
                        </a:lnTo>
                        <a:lnTo>
                          <a:pt x="14131" y="2866"/>
                        </a:lnTo>
                        <a:lnTo>
                          <a:pt x="14131" y="2849"/>
                        </a:lnTo>
                        <a:lnTo>
                          <a:pt x="14093" y="2877"/>
                        </a:lnTo>
                        <a:lnTo>
                          <a:pt x="14065" y="2877"/>
                        </a:lnTo>
                        <a:lnTo>
                          <a:pt x="14169" y="2792"/>
                        </a:lnTo>
                        <a:lnTo>
                          <a:pt x="14308" y="2655"/>
                        </a:lnTo>
                        <a:lnTo>
                          <a:pt x="14329" y="2610"/>
                        </a:lnTo>
                        <a:lnTo>
                          <a:pt x="14308" y="2573"/>
                        </a:lnTo>
                        <a:lnTo>
                          <a:pt x="14223" y="2516"/>
                        </a:lnTo>
                        <a:lnTo>
                          <a:pt x="14261" y="2478"/>
                        </a:lnTo>
                        <a:lnTo>
                          <a:pt x="14261" y="2462"/>
                        </a:lnTo>
                        <a:lnTo>
                          <a:pt x="14223" y="2438"/>
                        </a:lnTo>
                        <a:lnTo>
                          <a:pt x="14228" y="2433"/>
                        </a:lnTo>
                        <a:lnTo>
                          <a:pt x="14223" y="2421"/>
                        </a:lnTo>
                        <a:lnTo>
                          <a:pt x="14237" y="2417"/>
                        </a:lnTo>
                        <a:lnTo>
                          <a:pt x="14228" y="2400"/>
                        </a:lnTo>
                        <a:lnTo>
                          <a:pt x="14206" y="2388"/>
                        </a:lnTo>
                        <a:lnTo>
                          <a:pt x="14190" y="2384"/>
                        </a:lnTo>
                        <a:lnTo>
                          <a:pt x="14190" y="2360"/>
                        </a:lnTo>
                        <a:lnTo>
                          <a:pt x="14211" y="2360"/>
                        </a:lnTo>
                        <a:lnTo>
                          <a:pt x="14206" y="2343"/>
                        </a:lnTo>
                        <a:lnTo>
                          <a:pt x="14190" y="2343"/>
                        </a:lnTo>
                        <a:lnTo>
                          <a:pt x="14199" y="2327"/>
                        </a:lnTo>
                        <a:lnTo>
                          <a:pt x="14206" y="2294"/>
                        </a:lnTo>
                        <a:lnTo>
                          <a:pt x="14228" y="2289"/>
                        </a:lnTo>
                        <a:lnTo>
                          <a:pt x="14211" y="2240"/>
                        </a:lnTo>
                        <a:lnTo>
                          <a:pt x="14152" y="2145"/>
                        </a:lnTo>
                        <a:lnTo>
                          <a:pt x="14157" y="2129"/>
                        </a:lnTo>
                        <a:lnTo>
                          <a:pt x="14211" y="2067"/>
                        </a:lnTo>
                        <a:lnTo>
                          <a:pt x="14223" y="2051"/>
                        </a:lnTo>
                        <a:lnTo>
                          <a:pt x="14199" y="2034"/>
                        </a:lnTo>
                        <a:lnTo>
                          <a:pt x="14173" y="2001"/>
                        </a:lnTo>
                        <a:lnTo>
                          <a:pt x="14131" y="1989"/>
                        </a:lnTo>
                        <a:lnTo>
                          <a:pt x="14114" y="1944"/>
                        </a:lnTo>
                        <a:lnTo>
                          <a:pt x="14136" y="1906"/>
                        </a:lnTo>
                        <a:lnTo>
                          <a:pt x="14102" y="1902"/>
                        </a:lnTo>
                        <a:lnTo>
                          <a:pt x="14147" y="1878"/>
                        </a:lnTo>
                        <a:lnTo>
                          <a:pt x="14169" y="1866"/>
                        </a:lnTo>
                        <a:lnTo>
                          <a:pt x="14169" y="1845"/>
                        </a:lnTo>
                        <a:lnTo>
                          <a:pt x="14228" y="1824"/>
                        </a:lnTo>
                        <a:lnTo>
                          <a:pt x="14228" y="1812"/>
                        </a:lnTo>
                        <a:lnTo>
                          <a:pt x="14228" y="1807"/>
                        </a:lnTo>
                        <a:lnTo>
                          <a:pt x="14261" y="1812"/>
                        </a:lnTo>
                        <a:lnTo>
                          <a:pt x="14282" y="1812"/>
                        </a:lnTo>
                        <a:lnTo>
                          <a:pt x="14282" y="1795"/>
                        </a:lnTo>
                        <a:lnTo>
                          <a:pt x="14282" y="1779"/>
                        </a:lnTo>
                        <a:lnTo>
                          <a:pt x="14346" y="1795"/>
                        </a:lnTo>
                        <a:lnTo>
                          <a:pt x="14336" y="1791"/>
                        </a:lnTo>
                        <a:lnTo>
                          <a:pt x="14336" y="1779"/>
                        </a:lnTo>
                        <a:lnTo>
                          <a:pt x="14367" y="1779"/>
                        </a:lnTo>
                        <a:lnTo>
                          <a:pt x="14350" y="1767"/>
                        </a:lnTo>
                        <a:lnTo>
                          <a:pt x="14400" y="1791"/>
                        </a:lnTo>
                        <a:lnTo>
                          <a:pt x="14438" y="1791"/>
                        </a:lnTo>
                        <a:lnTo>
                          <a:pt x="14438" y="1807"/>
                        </a:lnTo>
                        <a:lnTo>
                          <a:pt x="14421" y="1812"/>
                        </a:lnTo>
                        <a:lnTo>
                          <a:pt x="14362" y="1807"/>
                        </a:lnTo>
                        <a:lnTo>
                          <a:pt x="14388" y="1824"/>
                        </a:lnTo>
                        <a:lnTo>
                          <a:pt x="14374" y="1829"/>
                        </a:lnTo>
                        <a:lnTo>
                          <a:pt x="14426" y="1829"/>
                        </a:lnTo>
                        <a:lnTo>
                          <a:pt x="14417" y="1845"/>
                        </a:lnTo>
                        <a:lnTo>
                          <a:pt x="14426" y="1833"/>
                        </a:lnTo>
                        <a:lnTo>
                          <a:pt x="14471" y="1829"/>
                        </a:lnTo>
                        <a:lnTo>
                          <a:pt x="14443" y="1850"/>
                        </a:lnTo>
                        <a:lnTo>
                          <a:pt x="14459" y="1850"/>
                        </a:lnTo>
                        <a:lnTo>
                          <a:pt x="14471" y="1862"/>
                        </a:lnTo>
                        <a:lnTo>
                          <a:pt x="14426" y="1878"/>
                        </a:lnTo>
                        <a:lnTo>
                          <a:pt x="14426" y="1890"/>
                        </a:lnTo>
                        <a:lnTo>
                          <a:pt x="14426" y="1878"/>
                        </a:lnTo>
                        <a:lnTo>
                          <a:pt x="14459" y="1878"/>
                        </a:lnTo>
                        <a:lnTo>
                          <a:pt x="14471" y="1862"/>
                        </a:lnTo>
                        <a:lnTo>
                          <a:pt x="14471" y="1845"/>
                        </a:lnTo>
                        <a:lnTo>
                          <a:pt x="14480" y="1845"/>
                        </a:lnTo>
                        <a:lnTo>
                          <a:pt x="14639" y="1862"/>
                        </a:lnTo>
                        <a:lnTo>
                          <a:pt x="14761" y="1923"/>
                        </a:lnTo>
                        <a:lnTo>
                          <a:pt x="14804" y="1973"/>
                        </a:lnTo>
                        <a:lnTo>
                          <a:pt x="14821" y="1961"/>
                        </a:lnTo>
                        <a:lnTo>
                          <a:pt x="14887" y="2001"/>
                        </a:lnTo>
                        <a:lnTo>
                          <a:pt x="14908" y="2001"/>
                        </a:lnTo>
                        <a:lnTo>
                          <a:pt x="14903" y="1989"/>
                        </a:lnTo>
                        <a:lnTo>
                          <a:pt x="14908" y="1989"/>
                        </a:lnTo>
                        <a:lnTo>
                          <a:pt x="14946" y="2018"/>
                        </a:lnTo>
                        <a:lnTo>
                          <a:pt x="14946" y="2029"/>
                        </a:lnTo>
                        <a:lnTo>
                          <a:pt x="14955" y="2046"/>
                        </a:lnTo>
                        <a:lnTo>
                          <a:pt x="14993" y="2046"/>
                        </a:lnTo>
                        <a:lnTo>
                          <a:pt x="14993" y="2072"/>
                        </a:lnTo>
                        <a:lnTo>
                          <a:pt x="15000" y="2084"/>
                        </a:lnTo>
                        <a:lnTo>
                          <a:pt x="15000" y="2105"/>
                        </a:lnTo>
                        <a:lnTo>
                          <a:pt x="15017" y="2105"/>
                        </a:lnTo>
                        <a:lnTo>
                          <a:pt x="15017" y="2112"/>
                        </a:lnTo>
                        <a:lnTo>
                          <a:pt x="15010" y="2157"/>
                        </a:lnTo>
                        <a:lnTo>
                          <a:pt x="14962" y="2199"/>
                        </a:lnTo>
                        <a:lnTo>
                          <a:pt x="14924" y="2216"/>
                        </a:lnTo>
                        <a:lnTo>
                          <a:pt x="14821" y="2249"/>
                        </a:lnTo>
                        <a:lnTo>
                          <a:pt x="14606" y="2211"/>
                        </a:lnTo>
                        <a:lnTo>
                          <a:pt x="14563" y="2178"/>
                        </a:lnTo>
                        <a:lnTo>
                          <a:pt x="14530" y="2183"/>
                        </a:lnTo>
                        <a:lnTo>
                          <a:pt x="14525" y="2178"/>
                        </a:lnTo>
                        <a:lnTo>
                          <a:pt x="14530" y="2178"/>
                        </a:lnTo>
                        <a:lnTo>
                          <a:pt x="14492" y="2166"/>
                        </a:lnTo>
                        <a:lnTo>
                          <a:pt x="14471" y="2157"/>
                        </a:lnTo>
                        <a:lnTo>
                          <a:pt x="14476" y="2162"/>
                        </a:lnTo>
                        <a:lnTo>
                          <a:pt x="14471" y="2166"/>
                        </a:lnTo>
                        <a:lnTo>
                          <a:pt x="14443" y="2157"/>
                        </a:lnTo>
                        <a:lnTo>
                          <a:pt x="14405" y="2121"/>
                        </a:lnTo>
                        <a:lnTo>
                          <a:pt x="14350" y="2112"/>
                        </a:lnTo>
                        <a:lnTo>
                          <a:pt x="14374" y="2112"/>
                        </a:lnTo>
                        <a:lnTo>
                          <a:pt x="14400" y="2129"/>
                        </a:lnTo>
                        <a:lnTo>
                          <a:pt x="14400" y="2145"/>
                        </a:lnTo>
                        <a:lnTo>
                          <a:pt x="14421" y="2162"/>
                        </a:lnTo>
                        <a:lnTo>
                          <a:pt x="14417" y="2166"/>
                        </a:lnTo>
                        <a:lnTo>
                          <a:pt x="14454" y="2178"/>
                        </a:lnTo>
                        <a:lnTo>
                          <a:pt x="14421" y="2183"/>
                        </a:lnTo>
                        <a:lnTo>
                          <a:pt x="14443" y="2178"/>
                        </a:lnTo>
                        <a:lnTo>
                          <a:pt x="14471" y="2195"/>
                        </a:lnTo>
                        <a:lnTo>
                          <a:pt x="14421" y="2195"/>
                        </a:lnTo>
                        <a:lnTo>
                          <a:pt x="14480" y="2199"/>
                        </a:lnTo>
                        <a:lnTo>
                          <a:pt x="14454" y="2216"/>
                        </a:lnTo>
                        <a:lnTo>
                          <a:pt x="14509" y="2223"/>
                        </a:lnTo>
                        <a:lnTo>
                          <a:pt x="14563" y="2266"/>
                        </a:lnTo>
                        <a:lnTo>
                          <a:pt x="14568" y="2289"/>
                        </a:lnTo>
                        <a:lnTo>
                          <a:pt x="14547" y="2273"/>
                        </a:lnTo>
                        <a:lnTo>
                          <a:pt x="14551" y="2306"/>
                        </a:lnTo>
                        <a:lnTo>
                          <a:pt x="14547" y="2322"/>
                        </a:lnTo>
                        <a:lnTo>
                          <a:pt x="14530" y="2327"/>
                        </a:lnTo>
                        <a:lnTo>
                          <a:pt x="14547" y="2343"/>
                        </a:lnTo>
                        <a:lnTo>
                          <a:pt x="14568" y="2388"/>
                        </a:lnTo>
                        <a:lnTo>
                          <a:pt x="14568" y="2417"/>
                        </a:lnTo>
                        <a:lnTo>
                          <a:pt x="14551" y="2421"/>
                        </a:lnTo>
                        <a:lnTo>
                          <a:pt x="14589" y="2445"/>
                        </a:lnTo>
                        <a:lnTo>
                          <a:pt x="14606" y="2438"/>
                        </a:lnTo>
                        <a:lnTo>
                          <a:pt x="14622" y="2445"/>
                        </a:lnTo>
                        <a:lnTo>
                          <a:pt x="14639" y="2462"/>
                        </a:lnTo>
                        <a:lnTo>
                          <a:pt x="14643" y="2462"/>
                        </a:lnTo>
                        <a:lnTo>
                          <a:pt x="14660" y="2471"/>
                        </a:lnTo>
                        <a:lnTo>
                          <a:pt x="14660" y="2488"/>
                        </a:lnTo>
                        <a:lnTo>
                          <a:pt x="14740" y="2511"/>
                        </a:lnTo>
                        <a:lnTo>
                          <a:pt x="14783" y="2488"/>
                        </a:lnTo>
                        <a:lnTo>
                          <a:pt x="14783" y="2471"/>
                        </a:lnTo>
                        <a:lnTo>
                          <a:pt x="14778" y="2462"/>
                        </a:lnTo>
                        <a:lnTo>
                          <a:pt x="14778" y="2445"/>
                        </a:lnTo>
                        <a:lnTo>
                          <a:pt x="14766" y="2438"/>
                        </a:lnTo>
                        <a:lnTo>
                          <a:pt x="14728" y="2445"/>
                        </a:lnTo>
                        <a:lnTo>
                          <a:pt x="14724" y="2438"/>
                        </a:lnTo>
                        <a:lnTo>
                          <a:pt x="14691" y="2405"/>
                        </a:lnTo>
                        <a:lnTo>
                          <a:pt x="14676" y="2400"/>
                        </a:lnTo>
                        <a:lnTo>
                          <a:pt x="14669" y="2377"/>
                        </a:lnTo>
                        <a:lnTo>
                          <a:pt x="14698" y="2377"/>
                        </a:lnTo>
                        <a:lnTo>
                          <a:pt x="14698" y="2351"/>
                        </a:lnTo>
                        <a:lnTo>
                          <a:pt x="14714" y="2343"/>
                        </a:lnTo>
                        <a:lnTo>
                          <a:pt x="14761" y="2367"/>
                        </a:lnTo>
                        <a:lnTo>
                          <a:pt x="14778" y="2384"/>
                        </a:lnTo>
                        <a:lnTo>
                          <a:pt x="14804" y="2384"/>
                        </a:lnTo>
                        <a:lnTo>
                          <a:pt x="14783" y="2400"/>
                        </a:lnTo>
                        <a:lnTo>
                          <a:pt x="14783" y="2417"/>
                        </a:lnTo>
                        <a:lnTo>
                          <a:pt x="14816" y="2388"/>
                        </a:lnTo>
                        <a:lnTo>
                          <a:pt x="14891" y="2421"/>
                        </a:lnTo>
                        <a:lnTo>
                          <a:pt x="14913" y="2417"/>
                        </a:lnTo>
                        <a:lnTo>
                          <a:pt x="14908" y="2417"/>
                        </a:lnTo>
                        <a:lnTo>
                          <a:pt x="14908" y="2405"/>
                        </a:lnTo>
                        <a:lnTo>
                          <a:pt x="14955" y="2421"/>
                        </a:lnTo>
                        <a:lnTo>
                          <a:pt x="14946" y="2377"/>
                        </a:lnTo>
                        <a:lnTo>
                          <a:pt x="14903" y="2327"/>
                        </a:lnTo>
                        <a:lnTo>
                          <a:pt x="14903" y="2306"/>
                        </a:lnTo>
                        <a:lnTo>
                          <a:pt x="14946" y="2277"/>
                        </a:lnTo>
                        <a:lnTo>
                          <a:pt x="14967" y="2256"/>
                        </a:lnTo>
                        <a:lnTo>
                          <a:pt x="15021" y="2240"/>
                        </a:lnTo>
                        <a:lnTo>
                          <a:pt x="15069" y="2195"/>
                        </a:lnTo>
                        <a:lnTo>
                          <a:pt x="15106" y="2211"/>
                        </a:lnTo>
                        <a:lnTo>
                          <a:pt x="15156" y="2199"/>
                        </a:lnTo>
                        <a:lnTo>
                          <a:pt x="15177" y="2223"/>
                        </a:lnTo>
                        <a:lnTo>
                          <a:pt x="15156" y="2240"/>
                        </a:lnTo>
                        <a:lnTo>
                          <a:pt x="15156" y="2249"/>
                        </a:lnTo>
                        <a:lnTo>
                          <a:pt x="15172" y="2256"/>
                        </a:lnTo>
                        <a:lnTo>
                          <a:pt x="15172" y="2249"/>
                        </a:lnTo>
                        <a:lnTo>
                          <a:pt x="15156" y="2240"/>
                        </a:lnTo>
                        <a:lnTo>
                          <a:pt x="15194" y="2232"/>
                        </a:lnTo>
                        <a:lnTo>
                          <a:pt x="15198" y="2240"/>
                        </a:lnTo>
                        <a:lnTo>
                          <a:pt x="15198" y="2249"/>
                        </a:lnTo>
                        <a:lnTo>
                          <a:pt x="15215" y="2266"/>
                        </a:lnTo>
                        <a:lnTo>
                          <a:pt x="15210" y="2232"/>
                        </a:lnTo>
                        <a:lnTo>
                          <a:pt x="15232" y="2166"/>
                        </a:lnTo>
                        <a:lnTo>
                          <a:pt x="15227" y="2162"/>
                        </a:lnTo>
                        <a:lnTo>
                          <a:pt x="15236" y="2145"/>
                        </a:lnTo>
                        <a:lnTo>
                          <a:pt x="15210" y="2112"/>
                        </a:lnTo>
                        <a:lnTo>
                          <a:pt x="15182" y="2105"/>
                        </a:lnTo>
                        <a:lnTo>
                          <a:pt x="15182" y="2100"/>
                        </a:lnTo>
                        <a:lnTo>
                          <a:pt x="15210" y="2051"/>
                        </a:lnTo>
                        <a:lnTo>
                          <a:pt x="15210" y="2029"/>
                        </a:lnTo>
                        <a:lnTo>
                          <a:pt x="15215" y="2018"/>
                        </a:lnTo>
                        <a:lnTo>
                          <a:pt x="15210" y="2018"/>
                        </a:lnTo>
                        <a:lnTo>
                          <a:pt x="15215" y="1977"/>
                        </a:lnTo>
                        <a:lnTo>
                          <a:pt x="15156" y="1940"/>
                        </a:lnTo>
                        <a:lnTo>
                          <a:pt x="15156" y="1923"/>
                        </a:lnTo>
                        <a:lnTo>
                          <a:pt x="15210" y="1940"/>
                        </a:lnTo>
                        <a:lnTo>
                          <a:pt x="15291" y="1940"/>
                        </a:lnTo>
                        <a:lnTo>
                          <a:pt x="15333" y="1944"/>
                        </a:lnTo>
                        <a:lnTo>
                          <a:pt x="15340" y="1973"/>
                        </a:lnTo>
                        <a:lnTo>
                          <a:pt x="15378" y="1994"/>
                        </a:lnTo>
                        <a:lnTo>
                          <a:pt x="15378" y="2013"/>
                        </a:lnTo>
                        <a:lnTo>
                          <a:pt x="15395" y="2018"/>
                        </a:lnTo>
                        <a:lnTo>
                          <a:pt x="15395" y="2034"/>
                        </a:lnTo>
                        <a:lnTo>
                          <a:pt x="15302" y="2046"/>
                        </a:lnTo>
                        <a:lnTo>
                          <a:pt x="15291" y="2051"/>
                        </a:lnTo>
                        <a:lnTo>
                          <a:pt x="15291" y="2055"/>
                        </a:lnTo>
                        <a:lnTo>
                          <a:pt x="15269" y="2067"/>
                        </a:lnTo>
                        <a:lnTo>
                          <a:pt x="15265" y="2088"/>
                        </a:lnTo>
                        <a:lnTo>
                          <a:pt x="15319" y="2112"/>
                        </a:lnTo>
                        <a:lnTo>
                          <a:pt x="15324" y="2145"/>
                        </a:lnTo>
                        <a:lnTo>
                          <a:pt x="15340" y="2157"/>
                        </a:lnTo>
                        <a:lnTo>
                          <a:pt x="15387" y="2157"/>
                        </a:lnTo>
                        <a:lnTo>
                          <a:pt x="15371" y="2162"/>
                        </a:lnTo>
                        <a:lnTo>
                          <a:pt x="15463" y="2138"/>
                        </a:lnTo>
                        <a:lnTo>
                          <a:pt x="15463" y="2121"/>
                        </a:lnTo>
                        <a:lnTo>
                          <a:pt x="15454" y="2105"/>
                        </a:lnTo>
                        <a:lnTo>
                          <a:pt x="15480" y="2072"/>
                        </a:lnTo>
                        <a:lnTo>
                          <a:pt x="15470" y="2055"/>
                        </a:lnTo>
                        <a:lnTo>
                          <a:pt x="15480" y="2051"/>
                        </a:lnTo>
                        <a:lnTo>
                          <a:pt x="15534" y="2046"/>
                        </a:lnTo>
                        <a:lnTo>
                          <a:pt x="15555" y="2055"/>
                        </a:lnTo>
                        <a:lnTo>
                          <a:pt x="15522" y="2018"/>
                        </a:lnTo>
                        <a:lnTo>
                          <a:pt x="15572" y="2029"/>
                        </a:lnTo>
                        <a:lnTo>
                          <a:pt x="15626" y="1994"/>
                        </a:lnTo>
                        <a:lnTo>
                          <a:pt x="15609" y="2013"/>
                        </a:lnTo>
                        <a:lnTo>
                          <a:pt x="15614" y="2001"/>
                        </a:lnTo>
                        <a:lnTo>
                          <a:pt x="15680" y="1961"/>
                        </a:lnTo>
                        <a:lnTo>
                          <a:pt x="15697" y="1961"/>
                        </a:lnTo>
                        <a:lnTo>
                          <a:pt x="15765" y="1940"/>
                        </a:lnTo>
                        <a:lnTo>
                          <a:pt x="15787" y="1944"/>
                        </a:lnTo>
                        <a:lnTo>
                          <a:pt x="15772" y="1961"/>
                        </a:lnTo>
                        <a:lnTo>
                          <a:pt x="15777" y="1973"/>
                        </a:lnTo>
                        <a:lnTo>
                          <a:pt x="15810" y="1956"/>
                        </a:lnTo>
                        <a:lnTo>
                          <a:pt x="15794" y="1940"/>
                        </a:lnTo>
                        <a:lnTo>
                          <a:pt x="15810" y="1935"/>
                        </a:lnTo>
                        <a:lnTo>
                          <a:pt x="15777" y="1935"/>
                        </a:lnTo>
                        <a:lnTo>
                          <a:pt x="15886" y="1890"/>
                        </a:lnTo>
                        <a:lnTo>
                          <a:pt x="15938" y="1885"/>
                        </a:lnTo>
                        <a:lnTo>
                          <a:pt x="15874" y="1902"/>
                        </a:lnTo>
                        <a:lnTo>
                          <a:pt x="15900" y="1902"/>
                        </a:lnTo>
                        <a:lnTo>
                          <a:pt x="15879" y="1935"/>
                        </a:lnTo>
                        <a:lnTo>
                          <a:pt x="15895" y="1961"/>
                        </a:lnTo>
                        <a:lnTo>
                          <a:pt x="15886" y="1973"/>
                        </a:lnTo>
                        <a:lnTo>
                          <a:pt x="15874" y="1956"/>
                        </a:lnTo>
                        <a:lnTo>
                          <a:pt x="15879" y="1973"/>
                        </a:lnTo>
                        <a:lnTo>
                          <a:pt x="15862" y="1961"/>
                        </a:lnTo>
                        <a:lnTo>
                          <a:pt x="15848" y="1977"/>
                        </a:lnTo>
                        <a:lnTo>
                          <a:pt x="15917" y="1989"/>
                        </a:lnTo>
                        <a:lnTo>
                          <a:pt x="15933" y="1973"/>
                        </a:lnTo>
                        <a:lnTo>
                          <a:pt x="15954" y="1989"/>
                        </a:lnTo>
                        <a:lnTo>
                          <a:pt x="15966" y="1977"/>
                        </a:lnTo>
                        <a:lnTo>
                          <a:pt x="15966" y="1973"/>
                        </a:lnTo>
                        <a:lnTo>
                          <a:pt x="15966" y="1961"/>
                        </a:lnTo>
                        <a:lnTo>
                          <a:pt x="15992" y="1940"/>
                        </a:lnTo>
                        <a:lnTo>
                          <a:pt x="16042" y="1923"/>
                        </a:lnTo>
                        <a:lnTo>
                          <a:pt x="16134" y="1940"/>
                        </a:lnTo>
                        <a:lnTo>
                          <a:pt x="16155" y="1918"/>
                        </a:lnTo>
                        <a:lnTo>
                          <a:pt x="16181" y="1918"/>
                        </a:lnTo>
                        <a:lnTo>
                          <a:pt x="16181" y="1906"/>
                        </a:lnTo>
                        <a:lnTo>
                          <a:pt x="16198" y="1902"/>
                        </a:lnTo>
                        <a:lnTo>
                          <a:pt x="16209" y="1918"/>
                        </a:lnTo>
                        <a:lnTo>
                          <a:pt x="16202" y="1906"/>
                        </a:lnTo>
                        <a:lnTo>
                          <a:pt x="16202" y="1902"/>
                        </a:lnTo>
                        <a:lnTo>
                          <a:pt x="16240" y="1885"/>
                        </a:lnTo>
                        <a:lnTo>
                          <a:pt x="16273" y="1885"/>
                        </a:lnTo>
                        <a:lnTo>
                          <a:pt x="16240" y="1890"/>
                        </a:lnTo>
                        <a:lnTo>
                          <a:pt x="16278" y="1918"/>
                        </a:lnTo>
                        <a:lnTo>
                          <a:pt x="16257" y="1935"/>
                        </a:lnTo>
                        <a:lnTo>
                          <a:pt x="16257" y="1956"/>
                        </a:lnTo>
                        <a:lnTo>
                          <a:pt x="16311" y="1961"/>
                        </a:lnTo>
                        <a:lnTo>
                          <a:pt x="16316" y="1956"/>
                        </a:lnTo>
                        <a:lnTo>
                          <a:pt x="16306" y="1935"/>
                        </a:lnTo>
                        <a:lnTo>
                          <a:pt x="16311" y="1923"/>
                        </a:lnTo>
                        <a:lnTo>
                          <a:pt x="16361" y="1923"/>
                        </a:lnTo>
                        <a:lnTo>
                          <a:pt x="16387" y="1902"/>
                        </a:lnTo>
                        <a:lnTo>
                          <a:pt x="16387" y="1866"/>
                        </a:lnTo>
                        <a:lnTo>
                          <a:pt x="16365" y="1866"/>
                        </a:lnTo>
                        <a:lnTo>
                          <a:pt x="16361" y="1845"/>
                        </a:lnTo>
                        <a:lnTo>
                          <a:pt x="16332" y="1812"/>
                        </a:lnTo>
                        <a:lnTo>
                          <a:pt x="16344" y="1795"/>
                        </a:lnTo>
                        <a:lnTo>
                          <a:pt x="16365" y="1795"/>
                        </a:lnTo>
                        <a:lnTo>
                          <a:pt x="16370" y="1779"/>
                        </a:lnTo>
                        <a:lnTo>
                          <a:pt x="16382" y="1774"/>
                        </a:lnTo>
                        <a:lnTo>
                          <a:pt x="16543" y="1795"/>
                        </a:lnTo>
                        <a:lnTo>
                          <a:pt x="16613" y="1812"/>
                        </a:lnTo>
                        <a:lnTo>
                          <a:pt x="16672" y="1845"/>
                        </a:lnTo>
                        <a:lnTo>
                          <a:pt x="16656" y="1850"/>
                        </a:lnTo>
                        <a:lnTo>
                          <a:pt x="16656" y="1866"/>
                        </a:lnTo>
                        <a:lnTo>
                          <a:pt x="16684" y="1850"/>
                        </a:lnTo>
                        <a:lnTo>
                          <a:pt x="16739" y="1866"/>
                        </a:lnTo>
                        <a:lnTo>
                          <a:pt x="16722" y="1878"/>
                        </a:lnTo>
                        <a:lnTo>
                          <a:pt x="16819" y="1906"/>
                        </a:lnTo>
                        <a:lnTo>
                          <a:pt x="16814" y="1906"/>
                        </a:lnTo>
                        <a:lnTo>
                          <a:pt x="16831" y="1923"/>
                        </a:lnTo>
                        <a:lnTo>
                          <a:pt x="16899" y="1956"/>
                        </a:lnTo>
                        <a:lnTo>
                          <a:pt x="16906" y="1973"/>
                        </a:lnTo>
                        <a:lnTo>
                          <a:pt x="16899" y="1977"/>
                        </a:lnTo>
                        <a:lnTo>
                          <a:pt x="16906" y="1989"/>
                        </a:lnTo>
                        <a:lnTo>
                          <a:pt x="16916" y="1977"/>
                        </a:lnTo>
                        <a:lnTo>
                          <a:pt x="16958" y="1902"/>
                        </a:lnTo>
                        <a:lnTo>
                          <a:pt x="16954" y="1902"/>
                        </a:lnTo>
                        <a:lnTo>
                          <a:pt x="16970" y="1890"/>
                        </a:lnTo>
                        <a:lnTo>
                          <a:pt x="16937" y="1902"/>
                        </a:lnTo>
                        <a:lnTo>
                          <a:pt x="16916" y="1885"/>
                        </a:lnTo>
                        <a:lnTo>
                          <a:pt x="16890" y="1850"/>
                        </a:lnTo>
                        <a:lnTo>
                          <a:pt x="16890" y="1812"/>
                        </a:lnTo>
                        <a:lnTo>
                          <a:pt x="16883" y="1824"/>
                        </a:lnTo>
                        <a:lnTo>
                          <a:pt x="16814" y="1795"/>
                        </a:lnTo>
                        <a:lnTo>
                          <a:pt x="16814" y="1824"/>
                        </a:lnTo>
                        <a:lnTo>
                          <a:pt x="16798" y="1812"/>
                        </a:lnTo>
                        <a:lnTo>
                          <a:pt x="16798" y="1791"/>
                        </a:lnTo>
                        <a:lnTo>
                          <a:pt x="16807" y="1758"/>
                        </a:lnTo>
                        <a:lnTo>
                          <a:pt x="16814" y="1751"/>
                        </a:lnTo>
                        <a:lnTo>
                          <a:pt x="16814" y="1767"/>
                        </a:lnTo>
                        <a:lnTo>
                          <a:pt x="16831" y="1758"/>
                        </a:lnTo>
                        <a:lnTo>
                          <a:pt x="16835" y="1739"/>
                        </a:lnTo>
                        <a:lnTo>
                          <a:pt x="16819" y="1734"/>
                        </a:lnTo>
                        <a:lnTo>
                          <a:pt x="16835" y="1663"/>
                        </a:lnTo>
                        <a:lnTo>
                          <a:pt x="16819" y="1647"/>
                        </a:lnTo>
                        <a:lnTo>
                          <a:pt x="16793" y="1663"/>
                        </a:lnTo>
                        <a:lnTo>
                          <a:pt x="16793" y="1640"/>
                        </a:lnTo>
                        <a:lnTo>
                          <a:pt x="16807" y="1614"/>
                        </a:lnTo>
                        <a:lnTo>
                          <a:pt x="16798" y="1630"/>
                        </a:lnTo>
                        <a:lnTo>
                          <a:pt x="16793" y="1623"/>
                        </a:lnTo>
                        <a:lnTo>
                          <a:pt x="16807" y="1590"/>
                        </a:lnTo>
                        <a:lnTo>
                          <a:pt x="16883" y="1557"/>
                        </a:lnTo>
                        <a:lnTo>
                          <a:pt x="16916" y="1519"/>
                        </a:lnTo>
                        <a:lnTo>
                          <a:pt x="16954" y="1401"/>
                        </a:lnTo>
                        <a:lnTo>
                          <a:pt x="16970" y="1384"/>
                        </a:lnTo>
                        <a:lnTo>
                          <a:pt x="16975" y="1368"/>
                        </a:lnTo>
                        <a:lnTo>
                          <a:pt x="17013" y="1363"/>
                        </a:lnTo>
                        <a:lnTo>
                          <a:pt x="16991" y="1368"/>
                        </a:lnTo>
                        <a:lnTo>
                          <a:pt x="16996" y="1375"/>
                        </a:lnTo>
                        <a:lnTo>
                          <a:pt x="17138" y="1368"/>
                        </a:lnTo>
                        <a:lnTo>
                          <a:pt x="17171" y="1384"/>
                        </a:lnTo>
                        <a:lnTo>
                          <a:pt x="17154" y="1384"/>
                        </a:lnTo>
                        <a:lnTo>
                          <a:pt x="17223" y="1401"/>
                        </a:lnTo>
                        <a:lnTo>
                          <a:pt x="17213" y="1418"/>
                        </a:lnTo>
                        <a:lnTo>
                          <a:pt x="17230" y="1458"/>
                        </a:lnTo>
                        <a:lnTo>
                          <a:pt x="17197" y="1503"/>
                        </a:lnTo>
                        <a:lnTo>
                          <a:pt x="17192" y="1512"/>
                        </a:lnTo>
                        <a:lnTo>
                          <a:pt x="17192" y="1536"/>
                        </a:lnTo>
                        <a:lnTo>
                          <a:pt x="17154" y="1569"/>
                        </a:lnTo>
                        <a:lnTo>
                          <a:pt x="17171" y="1590"/>
                        </a:lnTo>
                        <a:lnTo>
                          <a:pt x="17209" y="1614"/>
                        </a:lnTo>
                        <a:lnTo>
                          <a:pt x="17209" y="1623"/>
                        </a:lnTo>
                        <a:lnTo>
                          <a:pt x="17223" y="1647"/>
                        </a:lnTo>
                        <a:lnTo>
                          <a:pt x="17213" y="1680"/>
                        </a:lnTo>
                        <a:lnTo>
                          <a:pt x="17223" y="1701"/>
                        </a:lnTo>
                        <a:lnTo>
                          <a:pt x="17192" y="1722"/>
                        </a:lnTo>
                        <a:lnTo>
                          <a:pt x="17209" y="1734"/>
                        </a:lnTo>
                        <a:lnTo>
                          <a:pt x="17197" y="1751"/>
                        </a:lnTo>
                        <a:lnTo>
                          <a:pt x="17213" y="1774"/>
                        </a:lnTo>
                        <a:lnTo>
                          <a:pt x="17197" y="1807"/>
                        </a:lnTo>
                        <a:lnTo>
                          <a:pt x="17209" y="1829"/>
                        </a:lnTo>
                        <a:lnTo>
                          <a:pt x="17197" y="1866"/>
                        </a:lnTo>
                        <a:lnTo>
                          <a:pt x="17209" y="1890"/>
                        </a:lnTo>
                        <a:lnTo>
                          <a:pt x="17213" y="1906"/>
                        </a:lnTo>
                        <a:lnTo>
                          <a:pt x="17268" y="1940"/>
                        </a:lnTo>
                        <a:lnTo>
                          <a:pt x="17284" y="1956"/>
                        </a:lnTo>
                        <a:lnTo>
                          <a:pt x="17268" y="1944"/>
                        </a:lnTo>
                        <a:lnTo>
                          <a:pt x="17246" y="1989"/>
                        </a:lnTo>
                        <a:lnTo>
                          <a:pt x="17239" y="1994"/>
                        </a:lnTo>
                        <a:lnTo>
                          <a:pt x="17251" y="2029"/>
                        </a:lnTo>
                        <a:lnTo>
                          <a:pt x="17239" y="2046"/>
                        </a:lnTo>
                        <a:lnTo>
                          <a:pt x="17209" y="2055"/>
                        </a:lnTo>
                        <a:lnTo>
                          <a:pt x="17209" y="2067"/>
                        </a:lnTo>
                        <a:lnTo>
                          <a:pt x="17192" y="2072"/>
                        </a:lnTo>
                        <a:lnTo>
                          <a:pt x="17197" y="2084"/>
                        </a:lnTo>
                        <a:lnTo>
                          <a:pt x="17192" y="2088"/>
                        </a:lnTo>
                        <a:lnTo>
                          <a:pt x="17171" y="2100"/>
                        </a:lnTo>
                        <a:lnTo>
                          <a:pt x="17185" y="2112"/>
                        </a:lnTo>
                        <a:lnTo>
                          <a:pt x="17176" y="2105"/>
                        </a:lnTo>
                        <a:lnTo>
                          <a:pt x="17154" y="2138"/>
                        </a:lnTo>
                        <a:lnTo>
                          <a:pt x="17121" y="2138"/>
                        </a:lnTo>
                        <a:lnTo>
                          <a:pt x="17138" y="2166"/>
                        </a:lnTo>
                        <a:lnTo>
                          <a:pt x="17138" y="2178"/>
                        </a:lnTo>
                        <a:lnTo>
                          <a:pt x="17100" y="2178"/>
                        </a:lnTo>
                        <a:lnTo>
                          <a:pt x="17088" y="2183"/>
                        </a:lnTo>
                        <a:lnTo>
                          <a:pt x="17079" y="2195"/>
                        </a:lnTo>
                        <a:lnTo>
                          <a:pt x="17046" y="2178"/>
                        </a:lnTo>
                        <a:lnTo>
                          <a:pt x="17079" y="2162"/>
                        </a:lnTo>
                        <a:lnTo>
                          <a:pt x="17046" y="2166"/>
                        </a:lnTo>
                        <a:lnTo>
                          <a:pt x="17013" y="2157"/>
                        </a:lnTo>
                        <a:lnTo>
                          <a:pt x="16954" y="2157"/>
                        </a:lnTo>
                        <a:lnTo>
                          <a:pt x="16958" y="2162"/>
                        </a:lnTo>
                        <a:lnTo>
                          <a:pt x="16958" y="2178"/>
                        </a:lnTo>
                        <a:lnTo>
                          <a:pt x="16982" y="2195"/>
                        </a:lnTo>
                        <a:lnTo>
                          <a:pt x="17050" y="2216"/>
                        </a:lnTo>
                        <a:lnTo>
                          <a:pt x="17133" y="2211"/>
                        </a:lnTo>
                        <a:lnTo>
                          <a:pt x="17171" y="2223"/>
                        </a:lnTo>
                        <a:lnTo>
                          <a:pt x="17192" y="2216"/>
                        </a:lnTo>
                        <a:lnTo>
                          <a:pt x="17192" y="2195"/>
                        </a:lnTo>
                        <a:lnTo>
                          <a:pt x="17197" y="2178"/>
                        </a:lnTo>
                        <a:lnTo>
                          <a:pt x="17230" y="2178"/>
                        </a:lnTo>
                        <a:lnTo>
                          <a:pt x="17294" y="2138"/>
                        </a:lnTo>
                        <a:lnTo>
                          <a:pt x="17298" y="2105"/>
                        </a:lnTo>
                        <a:lnTo>
                          <a:pt x="17298" y="2100"/>
                        </a:lnTo>
                        <a:lnTo>
                          <a:pt x="17353" y="2051"/>
                        </a:lnTo>
                        <a:lnTo>
                          <a:pt x="17360" y="2018"/>
                        </a:lnTo>
                        <a:lnTo>
                          <a:pt x="17353" y="1994"/>
                        </a:lnTo>
                        <a:lnTo>
                          <a:pt x="17332" y="1961"/>
                        </a:lnTo>
                        <a:lnTo>
                          <a:pt x="17336" y="1944"/>
                        </a:lnTo>
                        <a:lnTo>
                          <a:pt x="17336" y="1923"/>
                        </a:lnTo>
                        <a:lnTo>
                          <a:pt x="17353" y="1918"/>
                        </a:lnTo>
                        <a:lnTo>
                          <a:pt x="17483" y="1890"/>
                        </a:lnTo>
                        <a:lnTo>
                          <a:pt x="17495" y="1902"/>
                        </a:lnTo>
                        <a:lnTo>
                          <a:pt x="17495" y="1918"/>
                        </a:lnTo>
                        <a:lnTo>
                          <a:pt x="17537" y="1944"/>
                        </a:lnTo>
                        <a:lnTo>
                          <a:pt x="17537" y="1961"/>
                        </a:lnTo>
                        <a:lnTo>
                          <a:pt x="17532" y="1973"/>
                        </a:lnTo>
                        <a:lnTo>
                          <a:pt x="17537" y="1977"/>
                        </a:lnTo>
                        <a:lnTo>
                          <a:pt x="17532" y="2013"/>
                        </a:lnTo>
                        <a:lnTo>
                          <a:pt x="17537" y="2018"/>
                        </a:lnTo>
                        <a:lnTo>
                          <a:pt x="17520" y="2034"/>
                        </a:lnTo>
                        <a:lnTo>
                          <a:pt x="17570" y="2067"/>
                        </a:lnTo>
                        <a:lnTo>
                          <a:pt x="17662" y="2067"/>
                        </a:lnTo>
                        <a:lnTo>
                          <a:pt x="17646" y="2051"/>
                        </a:lnTo>
                        <a:lnTo>
                          <a:pt x="17624" y="2055"/>
                        </a:lnTo>
                        <a:lnTo>
                          <a:pt x="17617" y="2055"/>
                        </a:lnTo>
                        <a:lnTo>
                          <a:pt x="17629" y="2051"/>
                        </a:lnTo>
                        <a:lnTo>
                          <a:pt x="17549" y="2046"/>
                        </a:lnTo>
                        <a:lnTo>
                          <a:pt x="17554" y="1994"/>
                        </a:lnTo>
                        <a:lnTo>
                          <a:pt x="17601" y="1977"/>
                        </a:lnTo>
                        <a:lnTo>
                          <a:pt x="17587" y="1961"/>
                        </a:lnTo>
                        <a:lnTo>
                          <a:pt x="17587" y="1944"/>
                        </a:lnTo>
                        <a:lnTo>
                          <a:pt x="17570" y="1944"/>
                        </a:lnTo>
                        <a:lnTo>
                          <a:pt x="17563" y="1902"/>
                        </a:lnTo>
                        <a:lnTo>
                          <a:pt x="17445" y="1850"/>
                        </a:lnTo>
                        <a:lnTo>
                          <a:pt x="17407" y="1850"/>
                        </a:lnTo>
                        <a:lnTo>
                          <a:pt x="17360" y="1878"/>
                        </a:lnTo>
                        <a:lnTo>
                          <a:pt x="17332" y="1866"/>
                        </a:lnTo>
                        <a:lnTo>
                          <a:pt x="17298" y="1878"/>
                        </a:lnTo>
                        <a:lnTo>
                          <a:pt x="17284" y="1862"/>
                        </a:lnTo>
                        <a:lnTo>
                          <a:pt x="17298" y="1829"/>
                        </a:lnTo>
                        <a:lnTo>
                          <a:pt x="17268" y="1791"/>
                        </a:lnTo>
                        <a:lnTo>
                          <a:pt x="17294" y="1751"/>
                        </a:lnTo>
                        <a:lnTo>
                          <a:pt x="17284" y="1739"/>
                        </a:lnTo>
                        <a:lnTo>
                          <a:pt x="17332" y="1696"/>
                        </a:lnTo>
                        <a:lnTo>
                          <a:pt x="17332" y="1668"/>
                        </a:lnTo>
                        <a:lnTo>
                          <a:pt x="17298" y="1647"/>
                        </a:lnTo>
                        <a:lnTo>
                          <a:pt x="17298" y="1630"/>
                        </a:lnTo>
                        <a:lnTo>
                          <a:pt x="17268" y="1590"/>
                        </a:lnTo>
                        <a:lnTo>
                          <a:pt x="17239" y="1573"/>
                        </a:lnTo>
                        <a:lnTo>
                          <a:pt x="17268" y="1545"/>
                        </a:lnTo>
                        <a:lnTo>
                          <a:pt x="17268" y="1529"/>
                        </a:lnTo>
                        <a:lnTo>
                          <a:pt x="17268" y="1519"/>
                        </a:lnTo>
                        <a:lnTo>
                          <a:pt x="17369" y="1479"/>
                        </a:lnTo>
                        <a:lnTo>
                          <a:pt x="17386" y="1462"/>
                        </a:lnTo>
                        <a:lnTo>
                          <a:pt x="17386" y="1441"/>
                        </a:lnTo>
                        <a:lnTo>
                          <a:pt x="17374" y="1408"/>
                        </a:lnTo>
                        <a:lnTo>
                          <a:pt x="17360" y="1384"/>
                        </a:lnTo>
                        <a:lnTo>
                          <a:pt x="17374" y="1375"/>
                        </a:lnTo>
                        <a:lnTo>
                          <a:pt x="17402" y="1384"/>
                        </a:lnTo>
                        <a:lnTo>
                          <a:pt x="17412" y="1392"/>
                        </a:lnTo>
                        <a:lnTo>
                          <a:pt x="17402" y="1401"/>
                        </a:lnTo>
                        <a:lnTo>
                          <a:pt x="17424" y="1418"/>
                        </a:lnTo>
                        <a:lnTo>
                          <a:pt x="17412" y="1425"/>
                        </a:lnTo>
                        <a:lnTo>
                          <a:pt x="17428" y="1458"/>
                        </a:lnTo>
                        <a:lnTo>
                          <a:pt x="17391" y="1512"/>
                        </a:lnTo>
                        <a:lnTo>
                          <a:pt x="17391" y="1529"/>
                        </a:lnTo>
                        <a:lnTo>
                          <a:pt x="17407" y="1545"/>
                        </a:lnTo>
                        <a:lnTo>
                          <a:pt x="17407" y="1557"/>
                        </a:lnTo>
                        <a:lnTo>
                          <a:pt x="17391" y="1569"/>
                        </a:lnTo>
                        <a:lnTo>
                          <a:pt x="17391" y="1573"/>
                        </a:lnTo>
                        <a:lnTo>
                          <a:pt x="17428" y="1590"/>
                        </a:lnTo>
                        <a:lnTo>
                          <a:pt x="17511" y="1602"/>
                        </a:lnTo>
                        <a:lnTo>
                          <a:pt x="17511" y="1614"/>
                        </a:lnTo>
                        <a:lnTo>
                          <a:pt x="17516" y="1607"/>
                        </a:lnTo>
                        <a:lnTo>
                          <a:pt x="17563" y="1607"/>
                        </a:lnTo>
                        <a:lnTo>
                          <a:pt x="17575" y="1614"/>
                        </a:lnTo>
                        <a:lnTo>
                          <a:pt x="17587" y="1630"/>
                        </a:lnTo>
                        <a:lnTo>
                          <a:pt x="17617" y="1640"/>
                        </a:lnTo>
                        <a:lnTo>
                          <a:pt x="17662" y="1630"/>
                        </a:lnTo>
                        <a:lnTo>
                          <a:pt x="17624" y="1630"/>
                        </a:lnTo>
                        <a:lnTo>
                          <a:pt x="17617" y="1630"/>
                        </a:lnTo>
                        <a:lnTo>
                          <a:pt x="17624" y="1614"/>
                        </a:lnTo>
                        <a:lnTo>
                          <a:pt x="17608" y="1614"/>
                        </a:lnTo>
                        <a:lnTo>
                          <a:pt x="17624" y="1623"/>
                        </a:lnTo>
                        <a:lnTo>
                          <a:pt x="17617" y="1623"/>
                        </a:lnTo>
                        <a:lnTo>
                          <a:pt x="17601" y="1614"/>
                        </a:lnTo>
                        <a:lnTo>
                          <a:pt x="17608" y="1590"/>
                        </a:lnTo>
                        <a:lnTo>
                          <a:pt x="17575" y="1590"/>
                        </a:lnTo>
                        <a:lnTo>
                          <a:pt x="17587" y="1573"/>
                        </a:lnTo>
                        <a:lnTo>
                          <a:pt x="17570" y="1590"/>
                        </a:lnTo>
                        <a:lnTo>
                          <a:pt x="17549" y="1585"/>
                        </a:lnTo>
                        <a:lnTo>
                          <a:pt x="17554" y="1590"/>
                        </a:lnTo>
                        <a:lnTo>
                          <a:pt x="17461" y="1552"/>
                        </a:lnTo>
                        <a:lnTo>
                          <a:pt x="17445" y="1512"/>
                        </a:lnTo>
                        <a:lnTo>
                          <a:pt x="17457" y="1503"/>
                        </a:lnTo>
                        <a:lnTo>
                          <a:pt x="17511" y="1491"/>
                        </a:lnTo>
                        <a:lnTo>
                          <a:pt x="17554" y="1519"/>
                        </a:lnTo>
                        <a:lnTo>
                          <a:pt x="17591" y="1512"/>
                        </a:lnTo>
                        <a:lnTo>
                          <a:pt x="17601" y="1495"/>
                        </a:lnTo>
                        <a:lnTo>
                          <a:pt x="17587" y="1479"/>
                        </a:lnTo>
                        <a:lnTo>
                          <a:pt x="17537" y="1479"/>
                        </a:lnTo>
                        <a:lnTo>
                          <a:pt x="17549" y="1462"/>
                        </a:lnTo>
                        <a:lnTo>
                          <a:pt x="17563" y="1474"/>
                        </a:lnTo>
                        <a:lnTo>
                          <a:pt x="17575" y="1446"/>
                        </a:lnTo>
                        <a:lnTo>
                          <a:pt x="17624" y="1441"/>
                        </a:lnTo>
                        <a:lnTo>
                          <a:pt x="17693" y="1446"/>
                        </a:lnTo>
                        <a:lnTo>
                          <a:pt x="17785" y="1479"/>
                        </a:lnTo>
                        <a:lnTo>
                          <a:pt x="17785" y="1491"/>
                        </a:lnTo>
                        <a:lnTo>
                          <a:pt x="17769" y="1491"/>
                        </a:lnTo>
                        <a:lnTo>
                          <a:pt x="17839" y="1536"/>
                        </a:lnTo>
                        <a:lnTo>
                          <a:pt x="17927" y="1529"/>
                        </a:lnTo>
                        <a:lnTo>
                          <a:pt x="17953" y="1536"/>
                        </a:lnTo>
                        <a:lnTo>
                          <a:pt x="17941" y="1552"/>
                        </a:lnTo>
                        <a:lnTo>
                          <a:pt x="17932" y="1569"/>
                        </a:lnTo>
                        <a:lnTo>
                          <a:pt x="17889" y="1590"/>
                        </a:lnTo>
                        <a:lnTo>
                          <a:pt x="17894" y="1614"/>
                        </a:lnTo>
                        <a:lnTo>
                          <a:pt x="17877" y="1630"/>
                        </a:lnTo>
                        <a:lnTo>
                          <a:pt x="17894" y="1656"/>
                        </a:lnTo>
                        <a:lnTo>
                          <a:pt x="17872" y="1684"/>
                        </a:lnTo>
                        <a:lnTo>
                          <a:pt x="17894" y="1734"/>
                        </a:lnTo>
                        <a:lnTo>
                          <a:pt x="17877" y="1684"/>
                        </a:lnTo>
                        <a:lnTo>
                          <a:pt x="17898" y="1680"/>
                        </a:lnTo>
                        <a:lnTo>
                          <a:pt x="17898" y="1656"/>
                        </a:lnTo>
                        <a:lnTo>
                          <a:pt x="17910" y="1630"/>
                        </a:lnTo>
                        <a:lnTo>
                          <a:pt x="17948" y="1640"/>
                        </a:lnTo>
                        <a:lnTo>
                          <a:pt x="17941" y="1701"/>
                        </a:lnTo>
                        <a:lnTo>
                          <a:pt x="17910" y="1722"/>
                        </a:lnTo>
                        <a:lnTo>
                          <a:pt x="17910" y="1734"/>
                        </a:lnTo>
                        <a:lnTo>
                          <a:pt x="17948" y="1751"/>
                        </a:lnTo>
                        <a:lnTo>
                          <a:pt x="17948" y="1739"/>
                        </a:lnTo>
                        <a:lnTo>
                          <a:pt x="17932" y="1718"/>
                        </a:lnTo>
                        <a:lnTo>
                          <a:pt x="17969" y="1718"/>
                        </a:lnTo>
                        <a:lnTo>
                          <a:pt x="17986" y="1701"/>
                        </a:lnTo>
                        <a:lnTo>
                          <a:pt x="17969" y="1640"/>
                        </a:lnTo>
                        <a:lnTo>
                          <a:pt x="17948" y="1602"/>
                        </a:lnTo>
                        <a:lnTo>
                          <a:pt x="17979" y="1545"/>
                        </a:lnTo>
                        <a:lnTo>
                          <a:pt x="17965" y="1519"/>
                        </a:lnTo>
                        <a:lnTo>
                          <a:pt x="17915" y="1512"/>
                        </a:lnTo>
                        <a:lnTo>
                          <a:pt x="17877" y="1479"/>
                        </a:lnTo>
                        <a:lnTo>
                          <a:pt x="17889" y="1474"/>
                        </a:lnTo>
                        <a:lnTo>
                          <a:pt x="17877" y="1458"/>
                        </a:lnTo>
                        <a:lnTo>
                          <a:pt x="17806" y="1446"/>
                        </a:lnTo>
                        <a:lnTo>
                          <a:pt x="17780" y="1425"/>
                        </a:lnTo>
                        <a:lnTo>
                          <a:pt x="17785" y="1408"/>
                        </a:lnTo>
                        <a:lnTo>
                          <a:pt x="17769" y="1392"/>
                        </a:lnTo>
                        <a:lnTo>
                          <a:pt x="17785" y="1375"/>
                        </a:lnTo>
                        <a:lnTo>
                          <a:pt x="17785" y="1363"/>
                        </a:lnTo>
                        <a:lnTo>
                          <a:pt x="17752" y="1347"/>
                        </a:lnTo>
                        <a:lnTo>
                          <a:pt x="17764" y="1335"/>
                        </a:lnTo>
                        <a:lnTo>
                          <a:pt x="17738" y="1335"/>
                        </a:lnTo>
                        <a:lnTo>
                          <a:pt x="17764" y="1330"/>
                        </a:lnTo>
                        <a:lnTo>
                          <a:pt x="17747" y="1314"/>
                        </a:lnTo>
                        <a:lnTo>
                          <a:pt x="17769" y="1290"/>
                        </a:lnTo>
                        <a:lnTo>
                          <a:pt x="17764" y="1290"/>
                        </a:lnTo>
                        <a:lnTo>
                          <a:pt x="17764" y="1281"/>
                        </a:lnTo>
                        <a:lnTo>
                          <a:pt x="18054" y="1252"/>
                        </a:lnTo>
                        <a:lnTo>
                          <a:pt x="18092" y="1257"/>
                        </a:lnTo>
                        <a:lnTo>
                          <a:pt x="18146" y="1240"/>
                        </a:lnTo>
                        <a:lnTo>
                          <a:pt x="18222" y="1240"/>
                        </a:lnTo>
                        <a:lnTo>
                          <a:pt x="18217" y="1252"/>
                        </a:lnTo>
                        <a:lnTo>
                          <a:pt x="18130" y="1297"/>
                        </a:lnTo>
                        <a:lnTo>
                          <a:pt x="18130" y="1314"/>
                        </a:lnTo>
                        <a:lnTo>
                          <a:pt x="18196" y="1347"/>
                        </a:lnTo>
                        <a:lnTo>
                          <a:pt x="18201" y="1363"/>
                        </a:lnTo>
                        <a:lnTo>
                          <a:pt x="18196" y="1335"/>
                        </a:lnTo>
                        <a:lnTo>
                          <a:pt x="18142" y="1314"/>
                        </a:lnTo>
                        <a:lnTo>
                          <a:pt x="18130" y="1290"/>
                        </a:lnTo>
                        <a:lnTo>
                          <a:pt x="18234" y="1273"/>
                        </a:lnTo>
                        <a:lnTo>
                          <a:pt x="18267" y="1236"/>
                        </a:lnTo>
                        <a:lnTo>
                          <a:pt x="18239" y="1240"/>
                        </a:lnTo>
                        <a:lnTo>
                          <a:pt x="18217" y="1219"/>
                        </a:lnTo>
                        <a:lnTo>
                          <a:pt x="18250" y="1219"/>
                        </a:lnTo>
                        <a:lnTo>
                          <a:pt x="18239" y="1207"/>
                        </a:lnTo>
                        <a:lnTo>
                          <a:pt x="18213" y="1207"/>
                        </a:lnTo>
                        <a:lnTo>
                          <a:pt x="18201" y="1186"/>
                        </a:lnTo>
                        <a:lnTo>
                          <a:pt x="18184" y="1186"/>
                        </a:lnTo>
                        <a:lnTo>
                          <a:pt x="18142" y="1179"/>
                        </a:lnTo>
                        <a:lnTo>
                          <a:pt x="18142" y="1170"/>
                        </a:lnTo>
                        <a:lnTo>
                          <a:pt x="18168" y="1179"/>
                        </a:lnTo>
                        <a:lnTo>
                          <a:pt x="18146" y="1162"/>
                        </a:lnTo>
                        <a:lnTo>
                          <a:pt x="18180" y="1153"/>
                        </a:lnTo>
                        <a:lnTo>
                          <a:pt x="18213" y="1162"/>
                        </a:lnTo>
                        <a:lnTo>
                          <a:pt x="18196" y="1179"/>
                        </a:lnTo>
                        <a:lnTo>
                          <a:pt x="18222" y="1170"/>
                        </a:lnTo>
                        <a:lnTo>
                          <a:pt x="18184" y="1146"/>
                        </a:lnTo>
                        <a:lnTo>
                          <a:pt x="18196" y="1141"/>
                        </a:lnTo>
                        <a:lnTo>
                          <a:pt x="18184" y="1141"/>
                        </a:lnTo>
                        <a:lnTo>
                          <a:pt x="18130" y="1129"/>
                        </a:lnTo>
                        <a:lnTo>
                          <a:pt x="18158" y="1113"/>
                        </a:lnTo>
                        <a:lnTo>
                          <a:pt x="18146" y="1108"/>
                        </a:lnTo>
                        <a:lnTo>
                          <a:pt x="18213" y="1129"/>
                        </a:lnTo>
                        <a:lnTo>
                          <a:pt x="18213" y="1125"/>
                        </a:lnTo>
                        <a:lnTo>
                          <a:pt x="18201" y="1125"/>
                        </a:lnTo>
                        <a:lnTo>
                          <a:pt x="18239" y="1087"/>
                        </a:lnTo>
                        <a:lnTo>
                          <a:pt x="18234" y="1075"/>
                        </a:lnTo>
                        <a:lnTo>
                          <a:pt x="18255" y="1087"/>
                        </a:lnTo>
                        <a:lnTo>
                          <a:pt x="18272" y="1075"/>
                        </a:lnTo>
                        <a:lnTo>
                          <a:pt x="18213" y="1070"/>
                        </a:lnTo>
                        <a:lnTo>
                          <a:pt x="18217" y="1051"/>
                        </a:lnTo>
                        <a:lnTo>
                          <a:pt x="18288" y="1058"/>
                        </a:lnTo>
                        <a:lnTo>
                          <a:pt x="18373" y="1002"/>
                        </a:lnTo>
                        <a:lnTo>
                          <a:pt x="18395" y="1014"/>
                        </a:lnTo>
                        <a:lnTo>
                          <a:pt x="18428" y="997"/>
                        </a:lnTo>
                        <a:lnTo>
                          <a:pt x="18487" y="981"/>
                        </a:lnTo>
                        <a:lnTo>
                          <a:pt x="18541" y="981"/>
                        </a:lnTo>
                        <a:lnTo>
                          <a:pt x="18546" y="976"/>
                        </a:lnTo>
                        <a:lnTo>
                          <a:pt x="18720" y="943"/>
                        </a:lnTo>
                        <a:lnTo>
                          <a:pt x="18671" y="943"/>
                        </a:lnTo>
                        <a:lnTo>
                          <a:pt x="18666" y="947"/>
                        </a:lnTo>
                        <a:lnTo>
                          <a:pt x="18654" y="931"/>
                        </a:lnTo>
                        <a:lnTo>
                          <a:pt x="18645" y="943"/>
                        </a:lnTo>
                        <a:lnTo>
                          <a:pt x="18645" y="947"/>
                        </a:lnTo>
                        <a:lnTo>
                          <a:pt x="18628" y="943"/>
                        </a:lnTo>
                        <a:lnTo>
                          <a:pt x="18633" y="924"/>
                        </a:lnTo>
                        <a:lnTo>
                          <a:pt x="18654" y="924"/>
                        </a:lnTo>
                        <a:lnTo>
                          <a:pt x="18650" y="919"/>
                        </a:lnTo>
                        <a:lnTo>
                          <a:pt x="18666" y="919"/>
                        </a:lnTo>
                        <a:lnTo>
                          <a:pt x="18654" y="924"/>
                        </a:lnTo>
                        <a:lnTo>
                          <a:pt x="18666" y="931"/>
                        </a:lnTo>
                        <a:lnTo>
                          <a:pt x="18709" y="924"/>
                        </a:lnTo>
                        <a:lnTo>
                          <a:pt x="18683" y="907"/>
                        </a:lnTo>
                        <a:lnTo>
                          <a:pt x="18735" y="907"/>
                        </a:lnTo>
                        <a:lnTo>
                          <a:pt x="18742" y="924"/>
                        </a:lnTo>
                        <a:lnTo>
                          <a:pt x="18758" y="919"/>
                        </a:lnTo>
                        <a:lnTo>
                          <a:pt x="18742" y="907"/>
                        </a:lnTo>
                        <a:lnTo>
                          <a:pt x="18751" y="907"/>
                        </a:lnTo>
                        <a:lnTo>
                          <a:pt x="18865" y="919"/>
                        </a:lnTo>
                        <a:lnTo>
                          <a:pt x="18817" y="947"/>
                        </a:lnTo>
                        <a:lnTo>
                          <a:pt x="18827" y="947"/>
                        </a:lnTo>
                        <a:lnTo>
                          <a:pt x="18843" y="943"/>
                        </a:lnTo>
                        <a:lnTo>
                          <a:pt x="18881" y="931"/>
                        </a:lnTo>
                        <a:lnTo>
                          <a:pt x="18886" y="943"/>
                        </a:lnTo>
                        <a:lnTo>
                          <a:pt x="18881" y="947"/>
                        </a:lnTo>
                        <a:lnTo>
                          <a:pt x="18935" y="924"/>
                        </a:lnTo>
                        <a:lnTo>
                          <a:pt x="18940" y="924"/>
                        </a:lnTo>
                        <a:lnTo>
                          <a:pt x="18924" y="943"/>
                        </a:lnTo>
                        <a:lnTo>
                          <a:pt x="18973" y="931"/>
                        </a:lnTo>
                        <a:lnTo>
                          <a:pt x="18957" y="924"/>
                        </a:lnTo>
                        <a:lnTo>
                          <a:pt x="18994" y="919"/>
                        </a:lnTo>
                        <a:lnTo>
                          <a:pt x="19006" y="919"/>
                        </a:lnTo>
                        <a:lnTo>
                          <a:pt x="18978" y="907"/>
                        </a:lnTo>
                        <a:lnTo>
                          <a:pt x="19044" y="891"/>
                        </a:lnTo>
                        <a:lnTo>
                          <a:pt x="19032" y="903"/>
                        </a:lnTo>
                        <a:lnTo>
                          <a:pt x="19082" y="903"/>
                        </a:lnTo>
                        <a:lnTo>
                          <a:pt x="19065" y="907"/>
                        </a:lnTo>
                        <a:lnTo>
                          <a:pt x="19098" y="907"/>
                        </a:lnTo>
                        <a:lnTo>
                          <a:pt x="19087" y="919"/>
                        </a:lnTo>
                        <a:lnTo>
                          <a:pt x="19113" y="924"/>
                        </a:lnTo>
                        <a:lnTo>
                          <a:pt x="19103" y="959"/>
                        </a:lnTo>
                        <a:lnTo>
                          <a:pt x="19075" y="964"/>
                        </a:lnTo>
                        <a:lnTo>
                          <a:pt x="19065" y="997"/>
                        </a:lnTo>
                        <a:lnTo>
                          <a:pt x="19103" y="1014"/>
                        </a:lnTo>
                        <a:lnTo>
                          <a:pt x="19141" y="1051"/>
                        </a:lnTo>
                        <a:lnTo>
                          <a:pt x="19136" y="1035"/>
                        </a:lnTo>
                        <a:lnTo>
                          <a:pt x="19113" y="1018"/>
                        </a:lnTo>
                        <a:lnTo>
                          <a:pt x="19120" y="1014"/>
                        </a:lnTo>
                        <a:lnTo>
                          <a:pt x="19075" y="997"/>
                        </a:lnTo>
                        <a:lnTo>
                          <a:pt x="19082" y="964"/>
                        </a:lnTo>
                        <a:lnTo>
                          <a:pt x="19103" y="964"/>
                        </a:lnTo>
                        <a:lnTo>
                          <a:pt x="19120" y="947"/>
                        </a:lnTo>
                        <a:lnTo>
                          <a:pt x="19120" y="919"/>
                        </a:lnTo>
                        <a:lnTo>
                          <a:pt x="19103" y="891"/>
                        </a:lnTo>
                        <a:lnTo>
                          <a:pt x="19061" y="874"/>
                        </a:lnTo>
                        <a:lnTo>
                          <a:pt x="19044" y="865"/>
                        </a:lnTo>
                        <a:lnTo>
                          <a:pt x="19188" y="853"/>
                        </a:lnTo>
                        <a:lnTo>
                          <a:pt x="19280" y="874"/>
                        </a:lnTo>
                        <a:lnTo>
                          <a:pt x="19188" y="848"/>
                        </a:lnTo>
                        <a:lnTo>
                          <a:pt x="19205" y="848"/>
                        </a:lnTo>
                        <a:lnTo>
                          <a:pt x="19212" y="820"/>
                        </a:lnTo>
                        <a:lnTo>
                          <a:pt x="19188" y="799"/>
                        </a:lnTo>
                        <a:lnTo>
                          <a:pt x="19195" y="780"/>
                        </a:lnTo>
                        <a:lnTo>
                          <a:pt x="19212" y="780"/>
                        </a:lnTo>
                        <a:lnTo>
                          <a:pt x="19212" y="763"/>
                        </a:lnTo>
                        <a:lnTo>
                          <a:pt x="19276" y="721"/>
                        </a:lnTo>
                        <a:lnTo>
                          <a:pt x="19292" y="725"/>
                        </a:lnTo>
                        <a:lnTo>
                          <a:pt x="19351" y="681"/>
                        </a:lnTo>
                        <a:lnTo>
                          <a:pt x="19427" y="671"/>
                        </a:lnTo>
                        <a:lnTo>
                          <a:pt x="19439" y="671"/>
                        </a:lnTo>
                        <a:lnTo>
                          <a:pt x="19427" y="681"/>
                        </a:lnTo>
                        <a:lnTo>
                          <a:pt x="19460" y="671"/>
                        </a:lnTo>
                        <a:lnTo>
                          <a:pt x="19476" y="697"/>
                        </a:lnTo>
                        <a:lnTo>
                          <a:pt x="19507" y="697"/>
                        </a:lnTo>
                        <a:lnTo>
                          <a:pt x="19535" y="697"/>
                        </a:lnTo>
                        <a:lnTo>
                          <a:pt x="19552" y="721"/>
                        </a:lnTo>
                        <a:lnTo>
                          <a:pt x="19566" y="725"/>
                        </a:lnTo>
                        <a:lnTo>
                          <a:pt x="19528" y="725"/>
                        </a:lnTo>
                        <a:lnTo>
                          <a:pt x="19514" y="742"/>
                        </a:lnTo>
                        <a:lnTo>
                          <a:pt x="19422" y="763"/>
                        </a:lnTo>
                        <a:lnTo>
                          <a:pt x="19545" y="758"/>
                        </a:lnTo>
                        <a:lnTo>
                          <a:pt x="19535" y="775"/>
                        </a:lnTo>
                        <a:lnTo>
                          <a:pt x="19514" y="780"/>
                        </a:lnTo>
                        <a:lnTo>
                          <a:pt x="19604" y="775"/>
                        </a:lnTo>
                        <a:lnTo>
                          <a:pt x="19654" y="792"/>
                        </a:lnTo>
                        <a:lnTo>
                          <a:pt x="19637" y="799"/>
                        </a:lnTo>
                        <a:lnTo>
                          <a:pt x="19642" y="799"/>
                        </a:lnTo>
                        <a:lnTo>
                          <a:pt x="19590" y="848"/>
                        </a:lnTo>
                        <a:lnTo>
                          <a:pt x="19573" y="848"/>
                        </a:lnTo>
                        <a:lnTo>
                          <a:pt x="19573" y="853"/>
                        </a:lnTo>
                        <a:lnTo>
                          <a:pt x="19687" y="853"/>
                        </a:lnTo>
                        <a:lnTo>
                          <a:pt x="19691" y="836"/>
                        </a:lnTo>
                        <a:lnTo>
                          <a:pt x="19687" y="832"/>
                        </a:lnTo>
                        <a:lnTo>
                          <a:pt x="19687" y="820"/>
                        </a:lnTo>
                        <a:lnTo>
                          <a:pt x="19831" y="832"/>
                        </a:lnTo>
                        <a:lnTo>
                          <a:pt x="19906" y="820"/>
                        </a:lnTo>
                        <a:lnTo>
                          <a:pt x="19982" y="865"/>
                        </a:lnTo>
                        <a:lnTo>
                          <a:pt x="19961" y="874"/>
                        </a:lnTo>
                        <a:lnTo>
                          <a:pt x="19994" y="865"/>
                        </a:lnTo>
                        <a:lnTo>
                          <a:pt x="20020" y="886"/>
                        </a:lnTo>
                        <a:lnTo>
                          <a:pt x="20015" y="903"/>
                        </a:lnTo>
                        <a:lnTo>
                          <a:pt x="20010" y="891"/>
                        </a:lnTo>
                        <a:lnTo>
                          <a:pt x="20031" y="907"/>
                        </a:lnTo>
                        <a:lnTo>
                          <a:pt x="20010" y="924"/>
                        </a:lnTo>
                        <a:lnTo>
                          <a:pt x="20065" y="907"/>
                        </a:lnTo>
                        <a:lnTo>
                          <a:pt x="20036" y="891"/>
                        </a:lnTo>
                        <a:lnTo>
                          <a:pt x="20065" y="891"/>
                        </a:lnTo>
                        <a:lnTo>
                          <a:pt x="20074" y="907"/>
                        </a:lnTo>
                        <a:lnTo>
                          <a:pt x="20074" y="947"/>
                        </a:lnTo>
                        <a:lnTo>
                          <a:pt x="20091" y="943"/>
                        </a:lnTo>
                        <a:lnTo>
                          <a:pt x="20102" y="959"/>
                        </a:lnTo>
                        <a:lnTo>
                          <a:pt x="20091" y="985"/>
                        </a:lnTo>
                        <a:lnTo>
                          <a:pt x="20074" y="997"/>
                        </a:lnTo>
                        <a:lnTo>
                          <a:pt x="20069" y="997"/>
                        </a:lnTo>
                        <a:lnTo>
                          <a:pt x="20086" y="981"/>
                        </a:lnTo>
                        <a:lnTo>
                          <a:pt x="19994" y="959"/>
                        </a:lnTo>
                        <a:lnTo>
                          <a:pt x="20031" y="976"/>
                        </a:lnTo>
                        <a:lnTo>
                          <a:pt x="20031" y="997"/>
                        </a:lnTo>
                        <a:lnTo>
                          <a:pt x="20065" y="981"/>
                        </a:lnTo>
                        <a:lnTo>
                          <a:pt x="20065" y="997"/>
                        </a:lnTo>
                        <a:lnTo>
                          <a:pt x="20086" y="1002"/>
                        </a:lnTo>
                        <a:lnTo>
                          <a:pt x="20091" y="1018"/>
                        </a:lnTo>
                        <a:lnTo>
                          <a:pt x="20074" y="1018"/>
                        </a:lnTo>
                        <a:lnTo>
                          <a:pt x="20086" y="1030"/>
                        </a:lnTo>
                        <a:lnTo>
                          <a:pt x="20031" y="1075"/>
                        </a:lnTo>
                        <a:lnTo>
                          <a:pt x="19977" y="1092"/>
                        </a:lnTo>
                        <a:lnTo>
                          <a:pt x="19956" y="1125"/>
                        </a:lnTo>
                        <a:lnTo>
                          <a:pt x="19930" y="1125"/>
                        </a:lnTo>
                        <a:lnTo>
                          <a:pt x="19902" y="1141"/>
                        </a:lnTo>
                        <a:lnTo>
                          <a:pt x="19854" y="1153"/>
                        </a:lnTo>
                        <a:lnTo>
                          <a:pt x="19859" y="1153"/>
                        </a:lnTo>
                        <a:lnTo>
                          <a:pt x="19847" y="1170"/>
                        </a:lnTo>
                        <a:lnTo>
                          <a:pt x="19800" y="1170"/>
                        </a:lnTo>
                        <a:lnTo>
                          <a:pt x="19831" y="1179"/>
                        </a:lnTo>
                        <a:lnTo>
                          <a:pt x="19821" y="1195"/>
                        </a:lnTo>
                        <a:lnTo>
                          <a:pt x="19767" y="1219"/>
                        </a:lnTo>
                        <a:lnTo>
                          <a:pt x="19708" y="1264"/>
                        </a:lnTo>
                        <a:lnTo>
                          <a:pt x="19628" y="1273"/>
                        </a:lnTo>
                        <a:lnTo>
                          <a:pt x="19628" y="1281"/>
                        </a:lnTo>
                        <a:lnTo>
                          <a:pt x="19604" y="1314"/>
                        </a:lnTo>
                        <a:lnTo>
                          <a:pt x="19552" y="1318"/>
                        </a:lnTo>
                        <a:lnTo>
                          <a:pt x="19535" y="1363"/>
                        </a:lnTo>
                        <a:lnTo>
                          <a:pt x="19498" y="1392"/>
                        </a:lnTo>
                        <a:lnTo>
                          <a:pt x="19566" y="1363"/>
                        </a:lnTo>
                        <a:lnTo>
                          <a:pt x="19561" y="1347"/>
                        </a:lnTo>
                        <a:lnTo>
                          <a:pt x="19573" y="1330"/>
                        </a:lnTo>
                        <a:lnTo>
                          <a:pt x="19604" y="1335"/>
                        </a:lnTo>
                        <a:lnTo>
                          <a:pt x="19713" y="1330"/>
                        </a:lnTo>
                        <a:lnTo>
                          <a:pt x="19708" y="1318"/>
                        </a:lnTo>
                        <a:lnTo>
                          <a:pt x="19779" y="1307"/>
                        </a:lnTo>
                        <a:lnTo>
                          <a:pt x="19779" y="1290"/>
                        </a:lnTo>
                        <a:lnTo>
                          <a:pt x="19793" y="1297"/>
                        </a:lnTo>
                        <a:lnTo>
                          <a:pt x="19779" y="1281"/>
                        </a:lnTo>
                        <a:lnTo>
                          <a:pt x="19817" y="1297"/>
                        </a:lnTo>
                        <a:lnTo>
                          <a:pt x="19892" y="1264"/>
                        </a:lnTo>
                        <a:lnTo>
                          <a:pt x="19892" y="1252"/>
                        </a:lnTo>
                        <a:lnTo>
                          <a:pt x="19876" y="1252"/>
                        </a:lnTo>
                        <a:lnTo>
                          <a:pt x="19817" y="1264"/>
                        </a:lnTo>
                        <a:lnTo>
                          <a:pt x="19800" y="1252"/>
                        </a:lnTo>
                        <a:lnTo>
                          <a:pt x="19821" y="1224"/>
                        </a:lnTo>
                        <a:lnTo>
                          <a:pt x="19847" y="1219"/>
                        </a:lnTo>
                        <a:lnTo>
                          <a:pt x="19902" y="1236"/>
                        </a:lnTo>
                        <a:lnTo>
                          <a:pt x="19906" y="1219"/>
                        </a:lnTo>
                        <a:lnTo>
                          <a:pt x="19939" y="1207"/>
                        </a:lnTo>
                        <a:lnTo>
                          <a:pt x="19913" y="1224"/>
                        </a:lnTo>
                        <a:lnTo>
                          <a:pt x="19930" y="1240"/>
                        </a:lnTo>
                        <a:lnTo>
                          <a:pt x="19982" y="1257"/>
                        </a:lnTo>
                        <a:lnTo>
                          <a:pt x="20031" y="1252"/>
                        </a:lnTo>
                        <a:lnTo>
                          <a:pt x="20036" y="1240"/>
                        </a:lnTo>
                        <a:lnTo>
                          <a:pt x="20031" y="1224"/>
                        </a:lnTo>
                        <a:lnTo>
                          <a:pt x="20069" y="1264"/>
                        </a:lnTo>
                        <a:lnTo>
                          <a:pt x="20053" y="1297"/>
                        </a:lnTo>
                        <a:lnTo>
                          <a:pt x="20074" y="1314"/>
                        </a:lnTo>
                        <a:lnTo>
                          <a:pt x="20074" y="1363"/>
                        </a:lnTo>
                        <a:lnTo>
                          <a:pt x="20048" y="1375"/>
                        </a:lnTo>
                        <a:lnTo>
                          <a:pt x="20053" y="1392"/>
                        </a:lnTo>
                        <a:lnTo>
                          <a:pt x="20119" y="1418"/>
                        </a:lnTo>
                        <a:lnTo>
                          <a:pt x="20069" y="1401"/>
                        </a:lnTo>
                        <a:lnTo>
                          <a:pt x="20053" y="1384"/>
                        </a:lnTo>
                        <a:lnTo>
                          <a:pt x="20074" y="1363"/>
                        </a:lnTo>
                        <a:lnTo>
                          <a:pt x="20074" y="1318"/>
                        </a:lnTo>
                        <a:lnTo>
                          <a:pt x="20119" y="1314"/>
                        </a:lnTo>
                        <a:lnTo>
                          <a:pt x="20091" y="1314"/>
                        </a:lnTo>
                        <a:lnTo>
                          <a:pt x="20074" y="1290"/>
                        </a:lnTo>
                        <a:lnTo>
                          <a:pt x="20216" y="1257"/>
                        </a:lnTo>
                        <a:lnTo>
                          <a:pt x="20443" y="1281"/>
                        </a:lnTo>
                        <a:lnTo>
                          <a:pt x="20464" y="1290"/>
                        </a:lnTo>
                        <a:lnTo>
                          <a:pt x="20426" y="1290"/>
                        </a:lnTo>
                        <a:lnTo>
                          <a:pt x="20414" y="1297"/>
                        </a:lnTo>
                        <a:lnTo>
                          <a:pt x="20414" y="1330"/>
                        </a:lnTo>
                        <a:lnTo>
                          <a:pt x="20502" y="1351"/>
                        </a:lnTo>
                        <a:lnTo>
                          <a:pt x="20518" y="1368"/>
                        </a:lnTo>
                        <a:lnTo>
                          <a:pt x="20572" y="1375"/>
                        </a:lnTo>
                        <a:lnTo>
                          <a:pt x="20518" y="1363"/>
                        </a:lnTo>
                        <a:lnTo>
                          <a:pt x="20662" y="1363"/>
                        </a:lnTo>
                        <a:lnTo>
                          <a:pt x="20766" y="1392"/>
                        </a:lnTo>
                        <a:lnTo>
                          <a:pt x="20792" y="1392"/>
                        </a:lnTo>
                        <a:lnTo>
                          <a:pt x="20863" y="1408"/>
                        </a:lnTo>
                        <a:lnTo>
                          <a:pt x="20965" y="1458"/>
                        </a:lnTo>
                        <a:lnTo>
                          <a:pt x="20981" y="1446"/>
                        </a:lnTo>
                        <a:lnTo>
                          <a:pt x="21035" y="1512"/>
                        </a:lnTo>
                        <a:lnTo>
                          <a:pt x="21026" y="1529"/>
                        </a:lnTo>
                        <a:lnTo>
                          <a:pt x="21040" y="1573"/>
                        </a:lnTo>
                        <a:lnTo>
                          <a:pt x="21040" y="1569"/>
                        </a:lnTo>
                        <a:lnTo>
                          <a:pt x="21035" y="1529"/>
                        </a:lnTo>
                        <a:lnTo>
                          <a:pt x="21047" y="1512"/>
                        </a:lnTo>
                        <a:lnTo>
                          <a:pt x="21019" y="1491"/>
                        </a:lnTo>
                        <a:lnTo>
                          <a:pt x="21019" y="1458"/>
                        </a:lnTo>
                        <a:lnTo>
                          <a:pt x="21002" y="1441"/>
                        </a:lnTo>
                        <a:lnTo>
                          <a:pt x="21073" y="1446"/>
                        </a:lnTo>
                        <a:lnTo>
                          <a:pt x="21111" y="1479"/>
                        </a:lnTo>
                        <a:lnTo>
                          <a:pt x="21144" y="1529"/>
                        </a:lnTo>
                        <a:lnTo>
                          <a:pt x="21170" y="1519"/>
                        </a:lnTo>
                        <a:lnTo>
                          <a:pt x="21165" y="1495"/>
                        </a:lnTo>
                        <a:lnTo>
                          <a:pt x="21203" y="1536"/>
                        </a:lnTo>
                        <a:lnTo>
                          <a:pt x="21154" y="1536"/>
                        </a:lnTo>
                        <a:lnTo>
                          <a:pt x="21149" y="1545"/>
                        </a:lnTo>
                        <a:lnTo>
                          <a:pt x="21149" y="1552"/>
                        </a:lnTo>
                        <a:lnTo>
                          <a:pt x="21170" y="1552"/>
                        </a:lnTo>
                        <a:lnTo>
                          <a:pt x="21187" y="1585"/>
                        </a:lnTo>
                        <a:lnTo>
                          <a:pt x="21208" y="1590"/>
                        </a:lnTo>
                        <a:lnTo>
                          <a:pt x="21208" y="1614"/>
                        </a:lnTo>
                        <a:lnTo>
                          <a:pt x="21236" y="1614"/>
                        </a:lnTo>
                        <a:lnTo>
                          <a:pt x="21253" y="1630"/>
                        </a:lnTo>
                        <a:lnTo>
                          <a:pt x="21241" y="1630"/>
                        </a:lnTo>
                        <a:lnTo>
                          <a:pt x="21274" y="1647"/>
                        </a:lnTo>
                        <a:lnTo>
                          <a:pt x="21291" y="1630"/>
                        </a:lnTo>
                        <a:lnTo>
                          <a:pt x="21295" y="1663"/>
                        </a:lnTo>
                        <a:lnTo>
                          <a:pt x="21312" y="1663"/>
                        </a:lnTo>
                        <a:lnTo>
                          <a:pt x="21342" y="1647"/>
                        </a:lnTo>
                        <a:lnTo>
                          <a:pt x="21366" y="1602"/>
                        </a:lnTo>
                        <a:lnTo>
                          <a:pt x="21387" y="1602"/>
                        </a:lnTo>
                        <a:lnTo>
                          <a:pt x="21371" y="1590"/>
                        </a:lnTo>
                        <a:lnTo>
                          <a:pt x="21387" y="1536"/>
                        </a:lnTo>
                        <a:lnTo>
                          <a:pt x="21425" y="1503"/>
                        </a:lnTo>
                        <a:lnTo>
                          <a:pt x="21425" y="1529"/>
                        </a:lnTo>
                        <a:lnTo>
                          <a:pt x="21489" y="1569"/>
                        </a:lnTo>
                        <a:lnTo>
                          <a:pt x="21543" y="1585"/>
                        </a:lnTo>
                        <a:lnTo>
                          <a:pt x="21640" y="1545"/>
                        </a:lnTo>
                        <a:lnTo>
                          <a:pt x="21758" y="1585"/>
                        </a:lnTo>
                        <a:lnTo>
                          <a:pt x="21749" y="1590"/>
                        </a:lnTo>
                        <a:lnTo>
                          <a:pt x="21765" y="1590"/>
                        </a:lnTo>
                        <a:lnTo>
                          <a:pt x="21782" y="1614"/>
                        </a:lnTo>
                        <a:lnTo>
                          <a:pt x="21796" y="1607"/>
                        </a:lnTo>
                        <a:lnTo>
                          <a:pt x="21775" y="1602"/>
                        </a:lnTo>
                        <a:lnTo>
                          <a:pt x="21813" y="1590"/>
                        </a:lnTo>
                        <a:lnTo>
                          <a:pt x="21791" y="1590"/>
                        </a:lnTo>
                        <a:lnTo>
                          <a:pt x="21813" y="1585"/>
                        </a:lnTo>
                        <a:lnTo>
                          <a:pt x="21782" y="1573"/>
                        </a:lnTo>
                        <a:lnTo>
                          <a:pt x="21796" y="1552"/>
                        </a:lnTo>
                        <a:lnTo>
                          <a:pt x="21829" y="1545"/>
                        </a:lnTo>
                        <a:lnTo>
                          <a:pt x="21820" y="1552"/>
                        </a:lnTo>
                        <a:lnTo>
                          <a:pt x="21829" y="1557"/>
                        </a:lnTo>
                        <a:lnTo>
                          <a:pt x="21846" y="1545"/>
                        </a:lnTo>
                        <a:lnTo>
                          <a:pt x="21867" y="1552"/>
                        </a:lnTo>
                        <a:lnTo>
                          <a:pt x="21872" y="1573"/>
                        </a:lnTo>
                        <a:lnTo>
                          <a:pt x="21883" y="1573"/>
                        </a:lnTo>
                        <a:lnTo>
                          <a:pt x="21900" y="1557"/>
                        </a:lnTo>
                        <a:lnTo>
                          <a:pt x="21926" y="1569"/>
                        </a:lnTo>
                        <a:lnTo>
                          <a:pt x="21909" y="1536"/>
                        </a:lnTo>
                        <a:lnTo>
                          <a:pt x="21909" y="1512"/>
                        </a:lnTo>
                        <a:lnTo>
                          <a:pt x="21888" y="1503"/>
                        </a:lnTo>
                        <a:lnTo>
                          <a:pt x="21905" y="1503"/>
                        </a:lnTo>
                        <a:lnTo>
                          <a:pt x="21926" y="1474"/>
                        </a:lnTo>
                        <a:lnTo>
                          <a:pt x="21938" y="1479"/>
                        </a:lnTo>
                        <a:lnTo>
                          <a:pt x="21954" y="1462"/>
                        </a:lnTo>
                        <a:lnTo>
                          <a:pt x="21905" y="1462"/>
                        </a:lnTo>
                        <a:lnTo>
                          <a:pt x="21888" y="1479"/>
                        </a:lnTo>
                        <a:lnTo>
                          <a:pt x="21867" y="1462"/>
                        </a:lnTo>
                        <a:lnTo>
                          <a:pt x="21905" y="1425"/>
                        </a:lnTo>
                        <a:lnTo>
                          <a:pt x="21976" y="1425"/>
                        </a:lnTo>
                        <a:lnTo>
                          <a:pt x="22009" y="1418"/>
                        </a:lnTo>
                        <a:lnTo>
                          <a:pt x="22009" y="1401"/>
                        </a:lnTo>
                        <a:lnTo>
                          <a:pt x="21976" y="1375"/>
                        </a:lnTo>
                        <a:lnTo>
                          <a:pt x="21992" y="1375"/>
                        </a:lnTo>
                        <a:lnTo>
                          <a:pt x="22072" y="1392"/>
                        </a:lnTo>
                        <a:lnTo>
                          <a:pt x="22316" y="1425"/>
                        </a:lnTo>
                        <a:lnTo>
                          <a:pt x="22413" y="1446"/>
                        </a:lnTo>
                        <a:lnTo>
                          <a:pt x="22316" y="1446"/>
                        </a:lnTo>
                        <a:lnTo>
                          <a:pt x="22283" y="1429"/>
                        </a:lnTo>
                        <a:lnTo>
                          <a:pt x="22266" y="1441"/>
                        </a:lnTo>
                        <a:lnTo>
                          <a:pt x="22250" y="1462"/>
                        </a:lnTo>
                        <a:lnTo>
                          <a:pt x="22224" y="1458"/>
                        </a:lnTo>
                        <a:lnTo>
                          <a:pt x="22245" y="1474"/>
                        </a:lnTo>
                        <a:lnTo>
                          <a:pt x="22424" y="1458"/>
                        </a:lnTo>
                        <a:lnTo>
                          <a:pt x="22354" y="1512"/>
                        </a:lnTo>
                        <a:lnTo>
                          <a:pt x="22354" y="1491"/>
                        </a:lnTo>
                        <a:lnTo>
                          <a:pt x="22375" y="1479"/>
                        </a:lnTo>
                        <a:lnTo>
                          <a:pt x="22358" y="1474"/>
                        </a:lnTo>
                        <a:lnTo>
                          <a:pt x="22354" y="1491"/>
                        </a:lnTo>
                        <a:lnTo>
                          <a:pt x="22342" y="1462"/>
                        </a:lnTo>
                        <a:lnTo>
                          <a:pt x="22332" y="1462"/>
                        </a:lnTo>
                        <a:lnTo>
                          <a:pt x="22337" y="1462"/>
                        </a:lnTo>
                        <a:lnTo>
                          <a:pt x="22332" y="1491"/>
                        </a:lnTo>
                        <a:lnTo>
                          <a:pt x="22337" y="1491"/>
                        </a:lnTo>
                        <a:lnTo>
                          <a:pt x="22342" y="1503"/>
                        </a:lnTo>
                        <a:lnTo>
                          <a:pt x="22304" y="1512"/>
                        </a:lnTo>
                        <a:lnTo>
                          <a:pt x="22283" y="1503"/>
                        </a:lnTo>
                        <a:lnTo>
                          <a:pt x="22299" y="1519"/>
                        </a:lnTo>
                        <a:lnTo>
                          <a:pt x="22278" y="1529"/>
                        </a:lnTo>
                        <a:lnTo>
                          <a:pt x="22278" y="1536"/>
                        </a:lnTo>
                        <a:lnTo>
                          <a:pt x="22304" y="1545"/>
                        </a:lnTo>
                        <a:lnTo>
                          <a:pt x="22358" y="1519"/>
                        </a:lnTo>
                        <a:lnTo>
                          <a:pt x="22439" y="1446"/>
                        </a:lnTo>
                        <a:lnTo>
                          <a:pt x="22576" y="1462"/>
                        </a:lnTo>
                        <a:lnTo>
                          <a:pt x="22613" y="1479"/>
                        </a:lnTo>
                        <a:lnTo>
                          <a:pt x="22639" y="1512"/>
                        </a:lnTo>
                        <a:lnTo>
                          <a:pt x="22613" y="1529"/>
                        </a:lnTo>
                        <a:lnTo>
                          <a:pt x="22590" y="1503"/>
                        </a:lnTo>
                        <a:lnTo>
                          <a:pt x="22576" y="1529"/>
                        </a:lnTo>
                        <a:lnTo>
                          <a:pt x="22552" y="1519"/>
                        </a:lnTo>
                        <a:lnTo>
                          <a:pt x="22568" y="1529"/>
                        </a:lnTo>
                        <a:lnTo>
                          <a:pt x="22552" y="1536"/>
                        </a:lnTo>
                        <a:lnTo>
                          <a:pt x="22644" y="1552"/>
                        </a:lnTo>
                        <a:lnTo>
                          <a:pt x="22628" y="1552"/>
                        </a:lnTo>
                        <a:lnTo>
                          <a:pt x="22623" y="1569"/>
                        </a:lnTo>
                        <a:lnTo>
                          <a:pt x="22682" y="1557"/>
                        </a:lnTo>
                        <a:lnTo>
                          <a:pt x="22665" y="1585"/>
                        </a:lnTo>
                        <a:lnTo>
                          <a:pt x="22639" y="1602"/>
                        </a:lnTo>
                        <a:lnTo>
                          <a:pt x="22682" y="1573"/>
                        </a:lnTo>
                        <a:lnTo>
                          <a:pt x="22677" y="1590"/>
                        </a:lnTo>
                        <a:lnTo>
                          <a:pt x="22710" y="1573"/>
                        </a:lnTo>
                        <a:lnTo>
                          <a:pt x="22736" y="1585"/>
                        </a:lnTo>
                        <a:lnTo>
                          <a:pt x="22786" y="1630"/>
                        </a:lnTo>
                        <a:lnTo>
                          <a:pt x="22753" y="1630"/>
                        </a:lnTo>
                        <a:lnTo>
                          <a:pt x="22816" y="1647"/>
                        </a:lnTo>
                        <a:lnTo>
                          <a:pt x="22892" y="1647"/>
                        </a:lnTo>
                        <a:lnTo>
                          <a:pt x="23055" y="1614"/>
                        </a:lnTo>
                        <a:lnTo>
                          <a:pt x="23194" y="1623"/>
                        </a:lnTo>
                        <a:lnTo>
                          <a:pt x="23270" y="1647"/>
                        </a:lnTo>
                        <a:lnTo>
                          <a:pt x="23320" y="1668"/>
                        </a:lnTo>
                        <a:lnTo>
                          <a:pt x="23341" y="1701"/>
                        </a:lnTo>
                        <a:lnTo>
                          <a:pt x="23341" y="1722"/>
                        </a:lnTo>
                        <a:lnTo>
                          <a:pt x="23331" y="1739"/>
                        </a:lnTo>
                        <a:lnTo>
                          <a:pt x="23324" y="1739"/>
                        </a:lnTo>
                        <a:lnTo>
                          <a:pt x="23324" y="1751"/>
                        </a:lnTo>
                        <a:lnTo>
                          <a:pt x="23320" y="1774"/>
                        </a:lnTo>
                        <a:lnTo>
                          <a:pt x="23320" y="1779"/>
                        </a:lnTo>
                        <a:lnTo>
                          <a:pt x="23412" y="1812"/>
                        </a:lnTo>
                        <a:lnTo>
                          <a:pt x="23400" y="1829"/>
                        </a:lnTo>
                        <a:lnTo>
                          <a:pt x="23412" y="1862"/>
                        </a:lnTo>
                        <a:lnTo>
                          <a:pt x="23400" y="1878"/>
                        </a:lnTo>
                        <a:lnTo>
                          <a:pt x="23433" y="1885"/>
                        </a:lnTo>
                        <a:lnTo>
                          <a:pt x="23412" y="1940"/>
                        </a:lnTo>
                        <a:lnTo>
                          <a:pt x="23383" y="1940"/>
                        </a:lnTo>
                        <a:lnTo>
                          <a:pt x="23395" y="1944"/>
                        </a:lnTo>
                        <a:lnTo>
                          <a:pt x="23416" y="1940"/>
                        </a:lnTo>
                        <a:lnTo>
                          <a:pt x="23433" y="1906"/>
                        </a:lnTo>
                        <a:lnTo>
                          <a:pt x="23450" y="1890"/>
                        </a:lnTo>
                        <a:lnTo>
                          <a:pt x="23438" y="1862"/>
                        </a:lnTo>
                        <a:lnTo>
                          <a:pt x="23438" y="1833"/>
                        </a:lnTo>
                        <a:lnTo>
                          <a:pt x="23504" y="1807"/>
                        </a:lnTo>
                        <a:lnTo>
                          <a:pt x="23589" y="1795"/>
                        </a:lnTo>
                        <a:lnTo>
                          <a:pt x="23617" y="1791"/>
                        </a:lnTo>
                        <a:lnTo>
                          <a:pt x="23655" y="1807"/>
                        </a:lnTo>
                        <a:lnTo>
                          <a:pt x="23816" y="1824"/>
                        </a:lnTo>
                        <a:lnTo>
                          <a:pt x="23882" y="1791"/>
                        </a:lnTo>
                        <a:lnTo>
                          <a:pt x="23920" y="1812"/>
                        </a:lnTo>
                        <a:lnTo>
                          <a:pt x="23913" y="1833"/>
                        </a:lnTo>
                        <a:lnTo>
                          <a:pt x="23920" y="1850"/>
                        </a:lnTo>
                        <a:lnTo>
                          <a:pt x="23995" y="1878"/>
                        </a:lnTo>
                        <a:lnTo>
                          <a:pt x="24005" y="1906"/>
                        </a:lnTo>
                        <a:lnTo>
                          <a:pt x="24012" y="1918"/>
                        </a:lnTo>
                        <a:lnTo>
                          <a:pt x="24064" y="1906"/>
                        </a:lnTo>
                        <a:lnTo>
                          <a:pt x="24080" y="1918"/>
                        </a:lnTo>
                        <a:lnTo>
                          <a:pt x="24064" y="1906"/>
                        </a:lnTo>
                        <a:lnTo>
                          <a:pt x="24080" y="1902"/>
                        </a:lnTo>
                        <a:lnTo>
                          <a:pt x="24087" y="1906"/>
                        </a:lnTo>
                        <a:lnTo>
                          <a:pt x="24087" y="1890"/>
                        </a:lnTo>
                        <a:lnTo>
                          <a:pt x="24113" y="1878"/>
                        </a:lnTo>
                        <a:lnTo>
                          <a:pt x="24102" y="1845"/>
                        </a:lnTo>
                        <a:lnTo>
                          <a:pt x="24080" y="1812"/>
                        </a:lnTo>
                        <a:lnTo>
                          <a:pt x="24050" y="1807"/>
                        </a:lnTo>
                        <a:lnTo>
                          <a:pt x="24059" y="1791"/>
                        </a:lnTo>
                        <a:lnTo>
                          <a:pt x="24080" y="1791"/>
                        </a:lnTo>
                        <a:lnTo>
                          <a:pt x="24080" y="1751"/>
                        </a:lnTo>
                        <a:lnTo>
                          <a:pt x="24064" y="1739"/>
                        </a:lnTo>
                        <a:lnTo>
                          <a:pt x="24076" y="1739"/>
                        </a:lnTo>
                        <a:lnTo>
                          <a:pt x="24227" y="1767"/>
                        </a:lnTo>
                        <a:lnTo>
                          <a:pt x="24260" y="1774"/>
                        </a:lnTo>
                        <a:lnTo>
                          <a:pt x="24264" y="1791"/>
                        </a:lnTo>
                        <a:lnTo>
                          <a:pt x="24281" y="1779"/>
                        </a:lnTo>
                        <a:lnTo>
                          <a:pt x="24260" y="1767"/>
                        </a:lnTo>
                        <a:lnTo>
                          <a:pt x="24281" y="1767"/>
                        </a:lnTo>
                        <a:lnTo>
                          <a:pt x="24314" y="1779"/>
                        </a:lnTo>
                        <a:lnTo>
                          <a:pt x="24465" y="1774"/>
                        </a:lnTo>
                        <a:lnTo>
                          <a:pt x="24513" y="1795"/>
                        </a:lnTo>
                        <a:lnTo>
                          <a:pt x="24654" y="1833"/>
                        </a:lnTo>
                        <a:lnTo>
                          <a:pt x="24676" y="1845"/>
                        </a:lnTo>
                        <a:lnTo>
                          <a:pt x="24654" y="1833"/>
                        </a:lnTo>
                        <a:lnTo>
                          <a:pt x="24642" y="1845"/>
                        </a:lnTo>
                        <a:lnTo>
                          <a:pt x="24692" y="1850"/>
                        </a:lnTo>
                        <a:lnTo>
                          <a:pt x="24735" y="1885"/>
                        </a:lnTo>
                        <a:lnTo>
                          <a:pt x="24706" y="1866"/>
                        </a:lnTo>
                        <a:lnTo>
                          <a:pt x="24723" y="1885"/>
                        </a:lnTo>
                        <a:lnTo>
                          <a:pt x="24735" y="1885"/>
                        </a:lnTo>
                        <a:lnTo>
                          <a:pt x="24735" y="1944"/>
                        </a:lnTo>
                        <a:lnTo>
                          <a:pt x="24735" y="2013"/>
                        </a:lnTo>
                        <a:lnTo>
                          <a:pt x="24735" y="2067"/>
                        </a:lnTo>
                        <a:lnTo>
                          <a:pt x="24735" y="2129"/>
                        </a:lnTo>
                        <a:lnTo>
                          <a:pt x="24735" y="2183"/>
                        </a:lnTo>
                        <a:lnTo>
                          <a:pt x="24735" y="2249"/>
                        </a:lnTo>
                        <a:lnTo>
                          <a:pt x="24735" y="2306"/>
                        </a:lnTo>
                        <a:lnTo>
                          <a:pt x="24735" y="2360"/>
                        </a:lnTo>
                        <a:lnTo>
                          <a:pt x="24735" y="2360"/>
                        </a:lnTo>
                        <a:lnTo>
                          <a:pt x="24735" y="2360"/>
                        </a:lnTo>
                        <a:close/>
                        <a:moveTo>
                          <a:pt x="24735" y="1557"/>
                        </a:moveTo>
                        <a:lnTo>
                          <a:pt x="24739" y="1552"/>
                        </a:lnTo>
                        <a:lnTo>
                          <a:pt x="24836" y="1552"/>
                        </a:lnTo>
                        <a:lnTo>
                          <a:pt x="24912" y="1602"/>
                        </a:lnTo>
                        <a:lnTo>
                          <a:pt x="24874" y="1623"/>
                        </a:lnTo>
                        <a:lnTo>
                          <a:pt x="24782" y="1640"/>
                        </a:lnTo>
                        <a:lnTo>
                          <a:pt x="24735" y="1630"/>
                        </a:lnTo>
                        <a:lnTo>
                          <a:pt x="24735" y="1590"/>
                        </a:lnTo>
                        <a:lnTo>
                          <a:pt x="24735" y="1557"/>
                        </a:lnTo>
                        <a:lnTo>
                          <a:pt x="24735" y="1557"/>
                        </a:lnTo>
                        <a:lnTo>
                          <a:pt x="24735" y="1557"/>
                        </a:lnTo>
                        <a:close/>
                        <a:moveTo>
                          <a:pt x="24735" y="1630"/>
                        </a:moveTo>
                        <a:lnTo>
                          <a:pt x="24654" y="1656"/>
                        </a:lnTo>
                        <a:lnTo>
                          <a:pt x="24642" y="1623"/>
                        </a:lnTo>
                        <a:lnTo>
                          <a:pt x="24659" y="1602"/>
                        </a:lnTo>
                        <a:lnTo>
                          <a:pt x="24735" y="1557"/>
                        </a:lnTo>
                        <a:lnTo>
                          <a:pt x="24735" y="1590"/>
                        </a:lnTo>
                        <a:lnTo>
                          <a:pt x="24735" y="1630"/>
                        </a:lnTo>
                        <a:lnTo>
                          <a:pt x="24735" y="1630"/>
                        </a:lnTo>
                        <a:lnTo>
                          <a:pt x="24735" y="1630"/>
                        </a:lnTo>
                        <a:close/>
                        <a:moveTo>
                          <a:pt x="24735" y="1885"/>
                        </a:moveTo>
                        <a:lnTo>
                          <a:pt x="24756" y="1902"/>
                        </a:lnTo>
                        <a:lnTo>
                          <a:pt x="24768" y="1890"/>
                        </a:lnTo>
                        <a:lnTo>
                          <a:pt x="24772" y="1906"/>
                        </a:lnTo>
                        <a:lnTo>
                          <a:pt x="24805" y="1918"/>
                        </a:lnTo>
                        <a:lnTo>
                          <a:pt x="24836" y="1940"/>
                        </a:lnTo>
                        <a:lnTo>
                          <a:pt x="24820" y="1935"/>
                        </a:lnTo>
                        <a:lnTo>
                          <a:pt x="24820" y="1940"/>
                        </a:lnTo>
                        <a:lnTo>
                          <a:pt x="24864" y="1956"/>
                        </a:lnTo>
                        <a:lnTo>
                          <a:pt x="24874" y="1973"/>
                        </a:lnTo>
                        <a:lnTo>
                          <a:pt x="24890" y="1973"/>
                        </a:lnTo>
                        <a:lnTo>
                          <a:pt x="24843" y="1940"/>
                        </a:lnTo>
                        <a:lnTo>
                          <a:pt x="24895" y="1973"/>
                        </a:lnTo>
                        <a:lnTo>
                          <a:pt x="24890" y="1977"/>
                        </a:lnTo>
                        <a:lnTo>
                          <a:pt x="24895" y="1977"/>
                        </a:lnTo>
                        <a:lnTo>
                          <a:pt x="24919" y="1977"/>
                        </a:lnTo>
                        <a:lnTo>
                          <a:pt x="24928" y="1994"/>
                        </a:lnTo>
                        <a:lnTo>
                          <a:pt x="25053" y="2046"/>
                        </a:lnTo>
                        <a:lnTo>
                          <a:pt x="25063" y="2072"/>
                        </a:lnTo>
                        <a:lnTo>
                          <a:pt x="25058" y="2088"/>
                        </a:lnTo>
                        <a:lnTo>
                          <a:pt x="25075" y="2088"/>
                        </a:lnTo>
                        <a:lnTo>
                          <a:pt x="25079" y="2084"/>
                        </a:lnTo>
                        <a:lnTo>
                          <a:pt x="25096" y="2084"/>
                        </a:lnTo>
                        <a:lnTo>
                          <a:pt x="25096" y="2100"/>
                        </a:lnTo>
                        <a:lnTo>
                          <a:pt x="25091" y="2100"/>
                        </a:lnTo>
                        <a:lnTo>
                          <a:pt x="25079" y="2121"/>
                        </a:lnTo>
                        <a:lnTo>
                          <a:pt x="25096" y="2162"/>
                        </a:lnTo>
                        <a:lnTo>
                          <a:pt x="25079" y="2166"/>
                        </a:lnTo>
                        <a:lnTo>
                          <a:pt x="25117" y="2183"/>
                        </a:lnTo>
                        <a:lnTo>
                          <a:pt x="25117" y="2216"/>
                        </a:lnTo>
                        <a:lnTo>
                          <a:pt x="25150" y="2195"/>
                        </a:lnTo>
                        <a:lnTo>
                          <a:pt x="25146" y="2223"/>
                        </a:lnTo>
                        <a:lnTo>
                          <a:pt x="25150" y="2223"/>
                        </a:lnTo>
                        <a:lnTo>
                          <a:pt x="25167" y="2199"/>
                        </a:lnTo>
                        <a:lnTo>
                          <a:pt x="25129" y="2183"/>
                        </a:lnTo>
                        <a:lnTo>
                          <a:pt x="25150" y="2166"/>
                        </a:lnTo>
                        <a:lnTo>
                          <a:pt x="25146" y="2138"/>
                        </a:lnTo>
                        <a:lnTo>
                          <a:pt x="25108" y="2121"/>
                        </a:lnTo>
                        <a:lnTo>
                          <a:pt x="25172" y="2112"/>
                        </a:lnTo>
                        <a:lnTo>
                          <a:pt x="25214" y="2121"/>
                        </a:lnTo>
                        <a:lnTo>
                          <a:pt x="25198" y="2138"/>
                        </a:lnTo>
                        <a:lnTo>
                          <a:pt x="25198" y="2157"/>
                        </a:lnTo>
                        <a:lnTo>
                          <a:pt x="25214" y="2157"/>
                        </a:lnTo>
                        <a:lnTo>
                          <a:pt x="25205" y="2138"/>
                        </a:lnTo>
                        <a:lnTo>
                          <a:pt x="25214" y="2129"/>
                        </a:lnTo>
                        <a:lnTo>
                          <a:pt x="25235" y="2145"/>
                        </a:lnTo>
                        <a:lnTo>
                          <a:pt x="25259" y="2138"/>
                        </a:lnTo>
                        <a:lnTo>
                          <a:pt x="25221" y="2121"/>
                        </a:lnTo>
                        <a:lnTo>
                          <a:pt x="25311" y="2138"/>
                        </a:lnTo>
                        <a:lnTo>
                          <a:pt x="25311" y="2157"/>
                        </a:lnTo>
                        <a:lnTo>
                          <a:pt x="25335" y="2162"/>
                        </a:lnTo>
                        <a:lnTo>
                          <a:pt x="25335" y="2178"/>
                        </a:lnTo>
                        <a:lnTo>
                          <a:pt x="25398" y="2216"/>
                        </a:lnTo>
                        <a:lnTo>
                          <a:pt x="25387" y="2223"/>
                        </a:lnTo>
                        <a:lnTo>
                          <a:pt x="25403" y="2216"/>
                        </a:lnTo>
                        <a:lnTo>
                          <a:pt x="25420" y="2223"/>
                        </a:lnTo>
                        <a:lnTo>
                          <a:pt x="25415" y="2232"/>
                        </a:lnTo>
                        <a:lnTo>
                          <a:pt x="25441" y="2232"/>
                        </a:lnTo>
                        <a:lnTo>
                          <a:pt x="25453" y="2249"/>
                        </a:lnTo>
                        <a:lnTo>
                          <a:pt x="25453" y="2256"/>
                        </a:lnTo>
                        <a:lnTo>
                          <a:pt x="25420" y="2249"/>
                        </a:lnTo>
                        <a:lnTo>
                          <a:pt x="25387" y="2273"/>
                        </a:lnTo>
                        <a:lnTo>
                          <a:pt x="25398" y="2273"/>
                        </a:lnTo>
                        <a:lnTo>
                          <a:pt x="25398" y="2289"/>
                        </a:lnTo>
                        <a:lnTo>
                          <a:pt x="25387" y="2294"/>
                        </a:lnTo>
                        <a:lnTo>
                          <a:pt x="25323" y="2273"/>
                        </a:lnTo>
                        <a:lnTo>
                          <a:pt x="25361" y="2306"/>
                        </a:lnTo>
                        <a:lnTo>
                          <a:pt x="25349" y="2310"/>
                        </a:lnTo>
                        <a:lnTo>
                          <a:pt x="25335" y="2306"/>
                        </a:lnTo>
                        <a:lnTo>
                          <a:pt x="25290" y="2310"/>
                        </a:lnTo>
                        <a:lnTo>
                          <a:pt x="25306" y="2310"/>
                        </a:lnTo>
                        <a:lnTo>
                          <a:pt x="25273" y="2306"/>
                        </a:lnTo>
                        <a:lnTo>
                          <a:pt x="25268" y="2294"/>
                        </a:lnTo>
                        <a:lnTo>
                          <a:pt x="25235" y="2289"/>
                        </a:lnTo>
                        <a:lnTo>
                          <a:pt x="25259" y="2306"/>
                        </a:lnTo>
                        <a:lnTo>
                          <a:pt x="25268" y="2322"/>
                        </a:lnTo>
                        <a:lnTo>
                          <a:pt x="25280" y="2322"/>
                        </a:lnTo>
                        <a:lnTo>
                          <a:pt x="25273" y="2343"/>
                        </a:lnTo>
                        <a:lnTo>
                          <a:pt x="25242" y="2343"/>
                        </a:lnTo>
                        <a:lnTo>
                          <a:pt x="25273" y="2343"/>
                        </a:lnTo>
                        <a:lnTo>
                          <a:pt x="25280" y="2360"/>
                        </a:lnTo>
                        <a:lnTo>
                          <a:pt x="25259" y="2384"/>
                        </a:lnTo>
                        <a:lnTo>
                          <a:pt x="25205" y="2400"/>
                        </a:lnTo>
                        <a:lnTo>
                          <a:pt x="25226" y="2388"/>
                        </a:lnTo>
                        <a:lnTo>
                          <a:pt x="25235" y="2400"/>
                        </a:lnTo>
                        <a:lnTo>
                          <a:pt x="25214" y="2405"/>
                        </a:lnTo>
                        <a:lnTo>
                          <a:pt x="25259" y="2421"/>
                        </a:lnTo>
                        <a:lnTo>
                          <a:pt x="25268" y="2433"/>
                        </a:lnTo>
                        <a:lnTo>
                          <a:pt x="25252" y="2438"/>
                        </a:lnTo>
                        <a:lnTo>
                          <a:pt x="25235" y="2421"/>
                        </a:lnTo>
                        <a:lnTo>
                          <a:pt x="25221" y="2433"/>
                        </a:lnTo>
                        <a:lnTo>
                          <a:pt x="25226" y="2438"/>
                        </a:lnTo>
                        <a:lnTo>
                          <a:pt x="25226" y="2445"/>
                        </a:lnTo>
                        <a:lnTo>
                          <a:pt x="25205" y="2455"/>
                        </a:lnTo>
                        <a:lnTo>
                          <a:pt x="25188" y="2445"/>
                        </a:lnTo>
                        <a:lnTo>
                          <a:pt x="25205" y="2433"/>
                        </a:lnTo>
                        <a:lnTo>
                          <a:pt x="25188" y="2417"/>
                        </a:lnTo>
                        <a:lnTo>
                          <a:pt x="25198" y="2433"/>
                        </a:lnTo>
                        <a:lnTo>
                          <a:pt x="25172" y="2445"/>
                        </a:lnTo>
                        <a:lnTo>
                          <a:pt x="25150" y="2438"/>
                        </a:lnTo>
                        <a:lnTo>
                          <a:pt x="25146" y="2421"/>
                        </a:lnTo>
                        <a:lnTo>
                          <a:pt x="25091" y="2400"/>
                        </a:lnTo>
                        <a:lnTo>
                          <a:pt x="25053" y="2400"/>
                        </a:lnTo>
                        <a:lnTo>
                          <a:pt x="25053" y="2388"/>
                        </a:lnTo>
                        <a:lnTo>
                          <a:pt x="25020" y="2367"/>
                        </a:lnTo>
                        <a:lnTo>
                          <a:pt x="25025" y="2351"/>
                        </a:lnTo>
                        <a:lnTo>
                          <a:pt x="25020" y="2327"/>
                        </a:lnTo>
                        <a:lnTo>
                          <a:pt x="25004" y="2310"/>
                        </a:lnTo>
                        <a:lnTo>
                          <a:pt x="24933" y="2294"/>
                        </a:lnTo>
                        <a:lnTo>
                          <a:pt x="24902" y="2310"/>
                        </a:lnTo>
                        <a:lnTo>
                          <a:pt x="24836" y="2310"/>
                        </a:lnTo>
                        <a:lnTo>
                          <a:pt x="24843" y="2289"/>
                        </a:lnTo>
                        <a:lnTo>
                          <a:pt x="24827" y="2277"/>
                        </a:lnTo>
                        <a:lnTo>
                          <a:pt x="24810" y="2256"/>
                        </a:lnTo>
                        <a:lnTo>
                          <a:pt x="24820" y="2249"/>
                        </a:lnTo>
                        <a:lnTo>
                          <a:pt x="24836" y="2232"/>
                        </a:lnTo>
                        <a:lnTo>
                          <a:pt x="24836" y="2199"/>
                        </a:lnTo>
                        <a:lnTo>
                          <a:pt x="24810" y="2232"/>
                        </a:lnTo>
                        <a:lnTo>
                          <a:pt x="24794" y="2232"/>
                        </a:lnTo>
                        <a:lnTo>
                          <a:pt x="24789" y="2199"/>
                        </a:lnTo>
                        <a:lnTo>
                          <a:pt x="24789" y="2216"/>
                        </a:lnTo>
                        <a:lnTo>
                          <a:pt x="24772" y="2211"/>
                        </a:lnTo>
                        <a:lnTo>
                          <a:pt x="24789" y="2232"/>
                        </a:lnTo>
                        <a:lnTo>
                          <a:pt x="24782" y="2232"/>
                        </a:lnTo>
                        <a:lnTo>
                          <a:pt x="24756" y="2240"/>
                        </a:lnTo>
                        <a:lnTo>
                          <a:pt x="24751" y="2232"/>
                        </a:lnTo>
                        <a:lnTo>
                          <a:pt x="24756" y="2232"/>
                        </a:lnTo>
                        <a:lnTo>
                          <a:pt x="24751" y="2232"/>
                        </a:lnTo>
                        <a:lnTo>
                          <a:pt x="24739" y="2266"/>
                        </a:lnTo>
                        <a:lnTo>
                          <a:pt x="24782" y="2294"/>
                        </a:lnTo>
                        <a:lnTo>
                          <a:pt x="24782" y="2306"/>
                        </a:lnTo>
                        <a:lnTo>
                          <a:pt x="24768" y="2322"/>
                        </a:lnTo>
                        <a:lnTo>
                          <a:pt x="24768" y="2343"/>
                        </a:lnTo>
                        <a:lnTo>
                          <a:pt x="24751" y="2351"/>
                        </a:lnTo>
                        <a:lnTo>
                          <a:pt x="24735" y="2360"/>
                        </a:lnTo>
                        <a:lnTo>
                          <a:pt x="24735" y="2306"/>
                        </a:lnTo>
                        <a:lnTo>
                          <a:pt x="24735" y="2249"/>
                        </a:lnTo>
                        <a:lnTo>
                          <a:pt x="24735" y="2183"/>
                        </a:lnTo>
                        <a:lnTo>
                          <a:pt x="24735" y="2129"/>
                        </a:lnTo>
                        <a:lnTo>
                          <a:pt x="24735" y="2067"/>
                        </a:lnTo>
                        <a:lnTo>
                          <a:pt x="24735" y="2013"/>
                        </a:lnTo>
                        <a:lnTo>
                          <a:pt x="24735" y="1944"/>
                        </a:lnTo>
                        <a:lnTo>
                          <a:pt x="24735" y="1885"/>
                        </a:lnTo>
                        <a:lnTo>
                          <a:pt x="24735" y="1885"/>
                        </a:lnTo>
                        <a:lnTo>
                          <a:pt x="24735" y="1885"/>
                        </a:lnTo>
                        <a:close/>
                        <a:moveTo>
                          <a:pt x="16188" y="22"/>
                        </a:moveTo>
                        <a:lnTo>
                          <a:pt x="16172" y="22"/>
                        </a:lnTo>
                        <a:lnTo>
                          <a:pt x="16188" y="5"/>
                        </a:lnTo>
                        <a:lnTo>
                          <a:pt x="16278" y="0"/>
                        </a:lnTo>
                        <a:lnTo>
                          <a:pt x="16264" y="17"/>
                        </a:lnTo>
                        <a:lnTo>
                          <a:pt x="16188" y="22"/>
                        </a:lnTo>
                        <a:lnTo>
                          <a:pt x="16188" y="22"/>
                        </a:lnTo>
                        <a:lnTo>
                          <a:pt x="16188" y="22"/>
                        </a:lnTo>
                        <a:close/>
                        <a:moveTo>
                          <a:pt x="16474" y="22"/>
                        </a:moveTo>
                        <a:lnTo>
                          <a:pt x="16550" y="22"/>
                        </a:lnTo>
                        <a:lnTo>
                          <a:pt x="16592" y="33"/>
                        </a:lnTo>
                        <a:lnTo>
                          <a:pt x="16566" y="43"/>
                        </a:lnTo>
                        <a:lnTo>
                          <a:pt x="16474" y="33"/>
                        </a:lnTo>
                        <a:lnTo>
                          <a:pt x="16474" y="22"/>
                        </a:lnTo>
                        <a:lnTo>
                          <a:pt x="16474" y="22"/>
                        </a:lnTo>
                        <a:lnTo>
                          <a:pt x="16474" y="22"/>
                        </a:lnTo>
                        <a:close/>
                        <a:moveTo>
                          <a:pt x="16202" y="38"/>
                        </a:moveTo>
                        <a:lnTo>
                          <a:pt x="16235" y="38"/>
                        </a:lnTo>
                        <a:lnTo>
                          <a:pt x="16198" y="43"/>
                        </a:lnTo>
                        <a:lnTo>
                          <a:pt x="16202" y="38"/>
                        </a:lnTo>
                        <a:lnTo>
                          <a:pt x="16202" y="38"/>
                        </a:lnTo>
                        <a:lnTo>
                          <a:pt x="16202" y="38"/>
                        </a:lnTo>
                        <a:close/>
                        <a:moveTo>
                          <a:pt x="16453" y="38"/>
                        </a:moveTo>
                        <a:lnTo>
                          <a:pt x="16474" y="43"/>
                        </a:lnTo>
                        <a:lnTo>
                          <a:pt x="16441" y="38"/>
                        </a:lnTo>
                        <a:lnTo>
                          <a:pt x="16453" y="38"/>
                        </a:lnTo>
                        <a:lnTo>
                          <a:pt x="16453" y="38"/>
                        </a:lnTo>
                        <a:lnTo>
                          <a:pt x="16453" y="38"/>
                        </a:lnTo>
                        <a:close/>
                        <a:moveTo>
                          <a:pt x="16188" y="76"/>
                        </a:moveTo>
                        <a:lnTo>
                          <a:pt x="16096" y="59"/>
                        </a:lnTo>
                        <a:lnTo>
                          <a:pt x="16165" y="43"/>
                        </a:lnTo>
                        <a:lnTo>
                          <a:pt x="16219" y="71"/>
                        </a:lnTo>
                        <a:lnTo>
                          <a:pt x="16188" y="76"/>
                        </a:lnTo>
                        <a:lnTo>
                          <a:pt x="16188" y="76"/>
                        </a:lnTo>
                        <a:lnTo>
                          <a:pt x="16188" y="76"/>
                        </a:lnTo>
                        <a:close/>
                        <a:moveTo>
                          <a:pt x="16209" y="88"/>
                        </a:moveTo>
                        <a:lnTo>
                          <a:pt x="16252" y="71"/>
                        </a:lnTo>
                        <a:lnTo>
                          <a:pt x="16278" y="88"/>
                        </a:lnTo>
                        <a:lnTo>
                          <a:pt x="16209" y="88"/>
                        </a:lnTo>
                        <a:lnTo>
                          <a:pt x="16209" y="88"/>
                        </a:lnTo>
                        <a:lnTo>
                          <a:pt x="16209" y="88"/>
                        </a:lnTo>
                        <a:close/>
                        <a:moveTo>
                          <a:pt x="16009" y="99"/>
                        </a:moveTo>
                        <a:lnTo>
                          <a:pt x="16021" y="92"/>
                        </a:lnTo>
                        <a:lnTo>
                          <a:pt x="16004" y="92"/>
                        </a:lnTo>
                        <a:lnTo>
                          <a:pt x="16089" y="99"/>
                        </a:lnTo>
                        <a:lnTo>
                          <a:pt x="16063" y="76"/>
                        </a:lnTo>
                        <a:lnTo>
                          <a:pt x="16172" y="92"/>
                        </a:lnTo>
                        <a:lnTo>
                          <a:pt x="16075" y="116"/>
                        </a:lnTo>
                        <a:lnTo>
                          <a:pt x="16009" y="99"/>
                        </a:lnTo>
                        <a:lnTo>
                          <a:pt x="16009" y="99"/>
                        </a:lnTo>
                        <a:lnTo>
                          <a:pt x="16009" y="99"/>
                        </a:lnTo>
                        <a:close/>
                        <a:moveTo>
                          <a:pt x="15917" y="92"/>
                        </a:moveTo>
                        <a:lnTo>
                          <a:pt x="15912" y="88"/>
                        </a:lnTo>
                        <a:lnTo>
                          <a:pt x="15933" y="92"/>
                        </a:lnTo>
                        <a:lnTo>
                          <a:pt x="15917" y="92"/>
                        </a:lnTo>
                        <a:lnTo>
                          <a:pt x="15917" y="92"/>
                        </a:lnTo>
                        <a:lnTo>
                          <a:pt x="15917" y="92"/>
                        </a:lnTo>
                        <a:close/>
                        <a:moveTo>
                          <a:pt x="16311" y="92"/>
                        </a:moveTo>
                        <a:lnTo>
                          <a:pt x="16365" y="92"/>
                        </a:lnTo>
                        <a:lnTo>
                          <a:pt x="16306" y="92"/>
                        </a:lnTo>
                        <a:lnTo>
                          <a:pt x="16311" y="92"/>
                        </a:lnTo>
                        <a:lnTo>
                          <a:pt x="16311" y="92"/>
                        </a:lnTo>
                        <a:lnTo>
                          <a:pt x="16311" y="92"/>
                        </a:lnTo>
                        <a:close/>
                        <a:moveTo>
                          <a:pt x="18654" y="265"/>
                        </a:moveTo>
                        <a:lnTo>
                          <a:pt x="18524" y="260"/>
                        </a:lnTo>
                        <a:lnTo>
                          <a:pt x="18546" y="244"/>
                        </a:lnTo>
                        <a:lnTo>
                          <a:pt x="18612" y="244"/>
                        </a:lnTo>
                        <a:lnTo>
                          <a:pt x="18557" y="236"/>
                        </a:lnTo>
                        <a:lnTo>
                          <a:pt x="18617" y="220"/>
                        </a:lnTo>
                        <a:lnTo>
                          <a:pt x="18628" y="203"/>
                        </a:lnTo>
                        <a:lnTo>
                          <a:pt x="18654" y="170"/>
                        </a:lnTo>
                        <a:lnTo>
                          <a:pt x="18600" y="182"/>
                        </a:lnTo>
                        <a:lnTo>
                          <a:pt x="18617" y="166"/>
                        </a:lnTo>
                        <a:lnTo>
                          <a:pt x="18650" y="154"/>
                        </a:lnTo>
                        <a:lnTo>
                          <a:pt x="18645" y="144"/>
                        </a:lnTo>
                        <a:lnTo>
                          <a:pt x="18817" y="99"/>
                        </a:lnTo>
                        <a:lnTo>
                          <a:pt x="18780" y="99"/>
                        </a:lnTo>
                        <a:lnTo>
                          <a:pt x="18789" y="92"/>
                        </a:lnTo>
                        <a:lnTo>
                          <a:pt x="18834" y="92"/>
                        </a:lnTo>
                        <a:lnTo>
                          <a:pt x="18898" y="149"/>
                        </a:lnTo>
                        <a:lnTo>
                          <a:pt x="18990" y="187"/>
                        </a:lnTo>
                        <a:lnTo>
                          <a:pt x="18924" y="199"/>
                        </a:lnTo>
                        <a:lnTo>
                          <a:pt x="18919" y="220"/>
                        </a:lnTo>
                        <a:lnTo>
                          <a:pt x="18924" y="227"/>
                        </a:lnTo>
                        <a:lnTo>
                          <a:pt x="18935" y="255"/>
                        </a:lnTo>
                        <a:lnTo>
                          <a:pt x="18952" y="260"/>
                        </a:lnTo>
                        <a:lnTo>
                          <a:pt x="18924" y="265"/>
                        </a:lnTo>
                        <a:lnTo>
                          <a:pt x="18763" y="281"/>
                        </a:lnTo>
                        <a:lnTo>
                          <a:pt x="18687" y="310"/>
                        </a:lnTo>
                        <a:lnTo>
                          <a:pt x="18574" y="281"/>
                        </a:lnTo>
                        <a:lnTo>
                          <a:pt x="18628" y="281"/>
                        </a:lnTo>
                        <a:lnTo>
                          <a:pt x="18579" y="260"/>
                        </a:lnTo>
                        <a:lnTo>
                          <a:pt x="18654" y="265"/>
                        </a:lnTo>
                        <a:lnTo>
                          <a:pt x="18654" y="265"/>
                        </a:lnTo>
                        <a:lnTo>
                          <a:pt x="18654" y="265"/>
                        </a:lnTo>
                        <a:close/>
                        <a:moveTo>
                          <a:pt x="16117" y="109"/>
                        </a:moveTo>
                        <a:lnTo>
                          <a:pt x="16188" y="109"/>
                        </a:lnTo>
                        <a:lnTo>
                          <a:pt x="16150" y="128"/>
                        </a:lnTo>
                        <a:lnTo>
                          <a:pt x="16113" y="116"/>
                        </a:lnTo>
                        <a:lnTo>
                          <a:pt x="16117" y="109"/>
                        </a:lnTo>
                        <a:lnTo>
                          <a:pt x="16117" y="109"/>
                        </a:lnTo>
                        <a:lnTo>
                          <a:pt x="16117" y="109"/>
                        </a:lnTo>
                        <a:close/>
                        <a:moveTo>
                          <a:pt x="18503" y="133"/>
                        </a:moveTo>
                        <a:lnTo>
                          <a:pt x="18428" y="128"/>
                        </a:lnTo>
                        <a:lnTo>
                          <a:pt x="18418" y="109"/>
                        </a:lnTo>
                        <a:lnTo>
                          <a:pt x="18503" y="99"/>
                        </a:lnTo>
                        <a:lnTo>
                          <a:pt x="18541" y="116"/>
                        </a:lnTo>
                        <a:lnTo>
                          <a:pt x="18503" y="133"/>
                        </a:lnTo>
                        <a:lnTo>
                          <a:pt x="18503" y="133"/>
                        </a:lnTo>
                        <a:lnTo>
                          <a:pt x="18503" y="133"/>
                        </a:lnTo>
                        <a:close/>
                        <a:moveTo>
                          <a:pt x="16505" y="166"/>
                        </a:moveTo>
                        <a:lnTo>
                          <a:pt x="16543" y="149"/>
                        </a:lnTo>
                        <a:lnTo>
                          <a:pt x="16613" y="144"/>
                        </a:lnTo>
                        <a:lnTo>
                          <a:pt x="16618" y="116"/>
                        </a:lnTo>
                        <a:lnTo>
                          <a:pt x="16646" y="109"/>
                        </a:lnTo>
                        <a:lnTo>
                          <a:pt x="16689" y="116"/>
                        </a:lnTo>
                        <a:lnTo>
                          <a:pt x="16706" y="144"/>
                        </a:lnTo>
                        <a:lnTo>
                          <a:pt x="16706" y="154"/>
                        </a:lnTo>
                        <a:lnTo>
                          <a:pt x="16646" y="182"/>
                        </a:lnTo>
                        <a:lnTo>
                          <a:pt x="16550" y="199"/>
                        </a:lnTo>
                        <a:lnTo>
                          <a:pt x="16495" y="170"/>
                        </a:lnTo>
                        <a:lnTo>
                          <a:pt x="16505" y="166"/>
                        </a:lnTo>
                        <a:lnTo>
                          <a:pt x="16505" y="166"/>
                        </a:lnTo>
                        <a:lnTo>
                          <a:pt x="16505" y="166"/>
                        </a:lnTo>
                        <a:close/>
                        <a:moveTo>
                          <a:pt x="15647" y="133"/>
                        </a:moveTo>
                        <a:lnTo>
                          <a:pt x="15659" y="133"/>
                        </a:lnTo>
                        <a:lnTo>
                          <a:pt x="15647" y="128"/>
                        </a:lnTo>
                        <a:lnTo>
                          <a:pt x="15659" y="116"/>
                        </a:lnTo>
                        <a:lnTo>
                          <a:pt x="15685" y="128"/>
                        </a:lnTo>
                        <a:lnTo>
                          <a:pt x="15647" y="133"/>
                        </a:lnTo>
                        <a:lnTo>
                          <a:pt x="15647" y="133"/>
                        </a:lnTo>
                        <a:lnTo>
                          <a:pt x="15647" y="133"/>
                        </a:lnTo>
                        <a:close/>
                        <a:moveTo>
                          <a:pt x="16198" y="116"/>
                        </a:moveTo>
                        <a:lnTo>
                          <a:pt x="16226" y="116"/>
                        </a:lnTo>
                        <a:lnTo>
                          <a:pt x="16198" y="116"/>
                        </a:lnTo>
                        <a:lnTo>
                          <a:pt x="16198" y="116"/>
                        </a:lnTo>
                        <a:lnTo>
                          <a:pt x="16198" y="116"/>
                        </a:lnTo>
                        <a:close/>
                        <a:moveTo>
                          <a:pt x="16328" y="144"/>
                        </a:moveTo>
                        <a:lnTo>
                          <a:pt x="16370" y="128"/>
                        </a:lnTo>
                        <a:lnTo>
                          <a:pt x="16441" y="128"/>
                        </a:lnTo>
                        <a:lnTo>
                          <a:pt x="16398" y="154"/>
                        </a:lnTo>
                        <a:lnTo>
                          <a:pt x="16328" y="144"/>
                        </a:lnTo>
                        <a:lnTo>
                          <a:pt x="16328" y="144"/>
                        </a:lnTo>
                        <a:lnTo>
                          <a:pt x="16328" y="144"/>
                        </a:lnTo>
                        <a:close/>
                        <a:moveTo>
                          <a:pt x="15933" y="144"/>
                        </a:moveTo>
                        <a:lnTo>
                          <a:pt x="15950" y="128"/>
                        </a:lnTo>
                        <a:lnTo>
                          <a:pt x="16009" y="144"/>
                        </a:lnTo>
                        <a:lnTo>
                          <a:pt x="16047" y="133"/>
                        </a:lnTo>
                        <a:lnTo>
                          <a:pt x="16165" y="182"/>
                        </a:lnTo>
                        <a:lnTo>
                          <a:pt x="16113" y="199"/>
                        </a:lnTo>
                        <a:lnTo>
                          <a:pt x="16089" y="170"/>
                        </a:lnTo>
                        <a:lnTo>
                          <a:pt x="15933" y="144"/>
                        </a:lnTo>
                        <a:lnTo>
                          <a:pt x="15933" y="144"/>
                        </a:lnTo>
                        <a:lnTo>
                          <a:pt x="15933" y="144"/>
                        </a:lnTo>
                        <a:close/>
                        <a:moveTo>
                          <a:pt x="16047" y="128"/>
                        </a:moveTo>
                        <a:lnTo>
                          <a:pt x="16150" y="133"/>
                        </a:lnTo>
                        <a:lnTo>
                          <a:pt x="16202" y="154"/>
                        </a:lnTo>
                        <a:lnTo>
                          <a:pt x="16155" y="166"/>
                        </a:lnTo>
                        <a:lnTo>
                          <a:pt x="16047" y="128"/>
                        </a:lnTo>
                        <a:lnTo>
                          <a:pt x="16047" y="128"/>
                        </a:lnTo>
                        <a:lnTo>
                          <a:pt x="16047" y="128"/>
                        </a:lnTo>
                        <a:close/>
                        <a:moveTo>
                          <a:pt x="16172" y="133"/>
                        </a:moveTo>
                        <a:lnTo>
                          <a:pt x="16188" y="128"/>
                        </a:lnTo>
                        <a:lnTo>
                          <a:pt x="16235" y="144"/>
                        </a:lnTo>
                        <a:lnTo>
                          <a:pt x="16209" y="149"/>
                        </a:lnTo>
                        <a:lnTo>
                          <a:pt x="16172" y="133"/>
                        </a:lnTo>
                        <a:lnTo>
                          <a:pt x="16172" y="133"/>
                        </a:lnTo>
                        <a:lnTo>
                          <a:pt x="16172" y="133"/>
                        </a:lnTo>
                        <a:close/>
                        <a:moveTo>
                          <a:pt x="17672" y="149"/>
                        </a:moveTo>
                        <a:lnTo>
                          <a:pt x="17752" y="154"/>
                        </a:lnTo>
                        <a:lnTo>
                          <a:pt x="17714" y="170"/>
                        </a:lnTo>
                        <a:lnTo>
                          <a:pt x="17655" y="170"/>
                        </a:lnTo>
                        <a:lnTo>
                          <a:pt x="17672" y="149"/>
                        </a:lnTo>
                        <a:lnTo>
                          <a:pt x="17672" y="149"/>
                        </a:lnTo>
                        <a:lnTo>
                          <a:pt x="17672" y="149"/>
                        </a:lnTo>
                        <a:close/>
                        <a:moveTo>
                          <a:pt x="15534" y="260"/>
                        </a:moveTo>
                        <a:lnTo>
                          <a:pt x="15555" y="277"/>
                        </a:lnTo>
                        <a:lnTo>
                          <a:pt x="15517" y="277"/>
                        </a:lnTo>
                        <a:lnTo>
                          <a:pt x="15517" y="281"/>
                        </a:lnTo>
                        <a:lnTo>
                          <a:pt x="15508" y="293"/>
                        </a:lnTo>
                        <a:lnTo>
                          <a:pt x="15454" y="298"/>
                        </a:lnTo>
                        <a:lnTo>
                          <a:pt x="15454" y="293"/>
                        </a:lnTo>
                        <a:lnTo>
                          <a:pt x="15463" y="281"/>
                        </a:lnTo>
                        <a:lnTo>
                          <a:pt x="15484" y="277"/>
                        </a:lnTo>
                        <a:lnTo>
                          <a:pt x="15447" y="265"/>
                        </a:lnTo>
                        <a:lnTo>
                          <a:pt x="15416" y="281"/>
                        </a:lnTo>
                        <a:lnTo>
                          <a:pt x="15387" y="260"/>
                        </a:lnTo>
                        <a:lnTo>
                          <a:pt x="15416" y="244"/>
                        </a:lnTo>
                        <a:lnTo>
                          <a:pt x="15496" y="255"/>
                        </a:lnTo>
                        <a:lnTo>
                          <a:pt x="15454" y="244"/>
                        </a:lnTo>
                        <a:lnTo>
                          <a:pt x="15501" y="236"/>
                        </a:lnTo>
                        <a:lnTo>
                          <a:pt x="15484" y="227"/>
                        </a:lnTo>
                        <a:lnTo>
                          <a:pt x="15442" y="236"/>
                        </a:lnTo>
                        <a:lnTo>
                          <a:pt x="15508" y="210"/>
                        </a:lnTo>
                        <a:lnTo>
                          <a:pt x="15560" y="220"/>
                        </a:lnTo>
                        <a:lnTo>
                          <a:pt x="15576" y="210"/>
                        </a:lnTo>
                        <a:lnTo>
                          <a:pt x="15572" y="203"/>
                        </a:lnTo>
                        <a:lnTo>
                          <a:pt x="15593" y="203"/>
                        </a:lnTo>
                        <a:lnTo>
                          <a:pt x="15605" y="187"/>
                        </a:lnTo>
                        <a:lnTo>
                          <a:pt x="15550" y="187"/>
                        </a:lnTo>
                        <a:lnTo>
                          <a:pt x="15631" y="154"/>
                        </a:lnTo>
                        <a:lnTo>
                          <a:pt x="15659" y="154"/>
                        </a:lnTo>
                        <a:lnTo>
                          <a:pt x="15626" y="166"/>
                        </a:lnTo>
                        <a:lnTo>
                          <a:pt x="15680" y="154"/>
                        </a:lnTo>
                        <a:lnTo>
                          <a:pt x="15697" y="166"/>
                        </a:lnTo>
                        <a:lnTo>
                          <a:pt x="15643" y="187"/>
                        </a:lnTo>
                        <a:lnTo>
                          <a:pt x="15711" y="182"/>
                        </a:lnTo>
                        <a:lnTo>
                          <a:pt x="15739" y="187"/>
                        </a:lnTo>
                        <a:lnTo>
                          <a:pt x="15685" y="220"/>
                        </a:lnTo>
                        <a:lnTo>
                          <a:pt x="15605" y="227"/>
                        </a:lnTo>
                        <a:lnTo>
                          <a:pt x="15609" y="244"/>
                        </a:lnTo>
                        <a:lnTo>
                          <a:pt x="15539" y="244"/>
                        </a:lnTo>
                        <a:lnTo>
                          <a:pt x="15522" y="260"/>
                        </a:lnTo>
                        <a:lnTo>
                          <a:pt x="15534" y="260"/>
                        </a:lnTo>
                        <a:lnTo>
                          <a:pt x="15534" y="260"/>
                        </a:lnTo>
                        <a:lnTo>
                          <a:pt x="15534" y="260"/>
                        </a:lnTo>
                        <a:close/>
                        <a:moveTo>
                          <a:pt x="16181" y="170"/>
                        </a:moveTo>
                        <a:lnTo>
                          <a:pt x="16235" y="154"/>
                        </a:lnTo>
                        <a:lnTo>
                          <a:pt x="16257" y="170"/>
                        </a:lnTo>
                        <a:lnTo>
                          <a:pt x="16219" y="187"/>
                        </a:lnTo>
                        <a:lnTo>
                          <a:pt x="16172" y="170"/>
                        </a:lnTo>
                        <a:lnTo>
                          <a:pt x="16181" y="170"/>
                        </a:lnTo>
                        <a:lnTo>
                          <a:pt x="16181" y="170"/>
                        </a:lnTo>
                        <a:lnTo>
                          <a:pt x="16181" y="170"/>
                        </a:lnTo>
                        <a:close/>
                        <a:moveTo>
                          <a:pt x="15900" y="170"/>
                        </a:moveTo>
                        <a:lnTo>
                          <a:pt x="15983" y="154"/>
                        </a:lnTo>
                        <a:lnTo>
                          <a:pt x="16042" y="170"/>
                        </a:lnTo>
                        <a:lnTo>
                          <a:pt x="15966" y="187"/>
                        </a:lnTo>
                        <a:lnTo>
                          <a:pt x="15900" y="170"/>
                        </a:lnTo>
                        <a:lnTo>
                          <a:pt x="15900" y="170"/>
                        </a:lnTo>
                        <a:lnTo>
                          <a:pt x="15900" y="170"/>
                        </a:lnTo>
                        <a:close/>
                        <a:moveTo>
                          <a:pt x="16273" y="220"/>
                        </a:moveTo>
                        <a:lnTo>
                          <a:pt x="16278" y="210"/>
                        </a:lnTo>
                        <a:lnTo>
                          <a:pt x="16264" y="203"/>
                        </a:lnTo>
                        <a:lnTo>
                          <a:pt x="16273" y="199"/>
                        </a:lnTo>
                        <a:lnTo>
                          <a:pt x="16306" y="170"/>
                        </a:lnTo>
                        <a:lnTo>
                          <a:pt x="16453" y="166"/>
                        </a:lnTo>
                        <a:lnTo>
                          <a:pt x="16479" y="182"/>
                        </a:lnTo>
                        <a:lnTo>
                          <a:pt x="16467" y="199"/>
                        </a:lnTo>
                        <a:lnTo>
                          <a:pt x="16474" y="203"/>
                        </a:lnTo>
                        <a:lnTo>
                          <a:pt x="16441" y="210"/>
                        </a:lnTo>
                        <a:lnTo>
                          <a:pt x="16398" y="244"/>
                        </a:lnTo>
                        <a:lnTo>
                          <a:pt x="16344" y="227"/>
                        </a:lnTo>
                        <a:lnTo>
                          <a:pt x="16295" y="236"/>
                        </a:lnTo>
                        <a:lnTo>
                          <a:pt x="16273" y="220"/>
                        </a:lnTo>
                        <a:lnTo>
                          <a:pt x="16273" y="220"/>
                        </a:lnTo>
                        <a:lnTo>
                          <a:pt x="16273" y="220"/>
                        </a:lnTo>
                        <a:close/>
                        <a:moveTo>
                          <a:pt x="15345" y="236"/>
                        </a:moveTo>
                        <a:lnTo>
                          <a:pt x="15340" y="210"/>
                        </a:lnTo>
                        <a:lnTo>
                          <a:pt x="15307" y="220"/>
                        </a:lnTo>
                        <a:lnTo>
                          <a:pt x="15265" y="203"/>
                        </a:lnTo>
                        <a:lnTo>
                          <a:pt x="15409" y="182"/>
                        </a:lnTo>
                        <a:lnTo>
                          <a:pt x="15447" y="166"/>
                        </a:lnTo>
                        <a:lnTo>
                          <a:pt x="15517" y="182"/>
                        </a:lnTo>
                        <a:lnTo>
                          <a:pt x="15522" y="182"/>
                        </a:lnTo>
                        <a:lnTo>
                          <a:pt x="15508" y="187"/>
                        </a:lnTo>
                        <a:lnTo>
                          <a:pt x="15534" y="203"/>
                        </a:lnTo>
                        <a:lnTo>
                          <a:pt x="15484" y="199"/>
                        </a:lnTo>
                        <a:lnTo>
                          <a:pt x="15463" y="182"/>
                        </a:lnTo>
                        <a:lnTo>
                          <a:pt x="15432" y="199"/>
                        </a:lnTo>
                        <a:lnTo>
                          <a:pt x="15442" y="210"/>
                        </a:lnTo>
                        <a:lnTo>
                          <a:pt x="15425" y="203"/>
                        </a:lnTo>
                        <a:lnTo>
                          <a:pt x="15345" y="236"/>
                        </a:lnTo>
                        <a:lnTo>
                          <a:pt x="15345" y="236"/>
                        </a:lnTo>
                        <a:lnTo>
                          <a:pt x="15345" y="236"/>
                        </a:lnTo>
                        <a:close/>
                        <a:moveTo>
                          <a:pt x="16009" y="187"/>
                        </a:moveTo>
                        <a:lnTo>
                          <a:pt x="16080" y="182"/>
                        </a:lnTo>
                        <a:lnTo>
                          <a:pt x="16113" y="199"/>
                        </a:lnTo>
                        <a:lnTo>
                          <a:pt x="16037" y="203"/>
                        </a:lnTo>
                        <a:lnTo>
                          <a:pt x="16004" y="187"/>
                        </a:lnTo>
                        <a:lnTo>
                          <a:pt x="16009" y="187"/>
                        </a:lnTo>
                        <a:lnTo>
                          <a:pt x="16009" y="187"/>
                        </a:lnTo>
                        <a:lnTo>
                          <a:pt x="16009" y="187"/>
                        </a:lnTo>
                        <a:close/>
                        <a:moveTo>
                          <a:pt x="15848" y="220"/>
                        </a:moveTo>
                        <a:lnTo>
                          <a:pt x="15858" y="210"/>
                        </a:lnTo>
                        <a:lnTo>
                          <a:pt x="15841" y="203"/>
                        </a:lnTo>
                        <a:lnTo>
                          <a:pt x="15858" y="203"/>
                        </a:lnTo>
                        <a:lnTo>
                          <a:pt x="15874" y="220"/>
                        </a:lnTo>
                        <a:lnTo>
                          <a:pt x="15848" y="220"/>
                        </a:lnTo>
                        <a:lnTo>
                          <a:pt x="15848" y="220"/>
                        </a:lnTo>
                        <a:lnTo>
                          <a:pt x="15848" y="220"/>
                        </a:lnTo>
                        <a:close/>
                        <a:moveTo>
                          <a:pt x="16134" y="203"/>
                        </a:moveTo>
                        <a:lnTo>
                          <a:pt x="16188" y="203"/>
                        </a:lnTo>
                        <a:lnTo>
                          <a:pt x="16165" y="220"/>
                        </a:lnTo>
                        <a:lnTo>
                          <a:pt x="16127" y="210"/>
                        </a:lnTo>
                        <a:lnTo>
                          <a:pt x="16134" y="203"/>
                        </a:lnTo>
                        <a:lnTo>
                          <a:pt x="16134" y="203"/>
                        </a:lnTo>
                        <a:lnTo>
                          <a:pt x="16134" y="203"/>
                        </a:lnTo>
                        <a:close/>
                        <a:moveTo>
                          <a:pt x="15886" y="227"/>
                        </a:moveTo>
                        <a:lnTo>
                          <a:pt x="15900" y="220"/>
                        </a:lnTo>
                        <a:lnTo>
                          <a:pt x="15895" y="210"/>
                        </a:lnTo>
                        <a:lnTo>
                          <a:pt x="15900" y="203"/>
                        </a:lnTo>
                        <a:lnTo>
                          <a:pt x="15928" y="210"/>
                        </a:lnTo>
                        <a:lnTo>
                          <a:pt x="15912" y="220"/>
                        </a:lnTo>
                        <a:lnTo>
                          <a:pt x="15933" y="227"/>
                        </a:lnTo>
                        <a:lnTo>
                          <a:pt x="15917" y="236"/>
                        </a:lnTo>
                        <a:lnTo>
                          <a:pt x="15886" y="227"/>
                        </a:lnTo>
                        <a:lnTo>
                          <a:pt x="15886" y="227"/>
                        </a:lnTo>
                        <a:lnTo>
                          <a:pt x="15886" y="227"/>
                        </a:lnTo>
                        <a:close/>
                        <a:moveTo>
                          <a:pt x="15950" y="220"/>
                        </a:moveTo>
                        <a:lnTo>
                          <a:pt x="15971" y="210"/>
                        </a:lnTo>
                        <a:lnTo>
                          <a:pt x="15983" y="227"/>
                        </a:lnTo>
                        <a:lnTo>
                          <a:pt x="15950" y="220"/>
                        </a:lnTo>
                        <a:lnTo>
                          <a:pt x="15950" y="220"/>
                        </a:lnTo>
                        <a:lnTo>
                          <a:pt x="15950" y="220"/>
                        </a:lnTo>
                        <a:close/>
                        <a:moveTo>
                          <a:pt x="16155" y="293"/>
                        </a:moveTo>
                        <a:lnTo>
                          <a:pt x="16134" y="281"/>
                        </a:lnTo>
                        <a:lnTo>
                          <a:pt x="16134" y="244"/>
                        </a:lnTo>
                        <a:lnTo>
                          <a:pt x="16113" y="227"/>
                        </a:lnTo>
                        <a:lnTo>
                          <a:pt x="16209" y="227"/>
                        </a:lnTo>
                        <a:lnTo>
                          <a:pt x="16273" y="255"/>
                        </a:lnTo>
                        <a:lnTo>
                          <a:pt x="16209" y="260"/>
                        </a:lnTo>
                        <a:lnTo>
                          <a:pt x="16188" y="265"/>
                        </a:lnTo>
                        <a:lnTo>
                          <a:pt x="16219" y="265"/>
                        </a:lnTo>
                        <a:lnTo>
                          <a:pt x="16209" y="281"/>
                        </a:lnTo>
                        <a:lnTo>
                          <a:pt x="16181" y="277"/>
                        </a:lnTo>
                        <a:lnTo>
                          <a:pt x="16172" y="281"/>
                        </a:lnTo>
                        <a:lnTo>
                          <a:pt x="16181" y="293"/>
                        </a:lnTo>
                        <a:lnTo>
                          <a:pt x="16155" y="293"/>
                        </a:lnTo>
                        <a:lnTo>
                          <a:pt x="16155" y="293"/>
                        </a:lnTo>
                        <a:lnTo>
                          <a:pt x="16155" y="293"/>
                        </a:lnTo>
                        <a:close/>
                        <a:moveTo>
                          <a:pt x="15933" y="236"/>
                        </a:moveTo>
                        <a:lnTo>
                          <a:pt x="15950" y="227"/>
                        </a:lnTo>
                        <a:lnTo>
                          <a:pt x="15966" y="236"/>
                        </a:lnTo>
                        <a:lnTo>
                          <a:pt x="15928" y="244"/>
                        </a:lnTo>
                        <a:lnTo>
                          <a:pt x="15933" y="236"/>
                        </a:lnTo>
                        <a:lnTo>
                          <a:pt x="15933" y="236"/>
                        </a:lnTo>
                        <a:lnTo>
                          <a:pt x="15933" y="236"/>
                        </a:lnTo>
                        <a:close/>
                        <a:moveTo>
                          <a:pt x="15983" y="236"/>
                        </a:moveTo>
                        <a:lnTo>
                          <a:pt x="15992" y="236"/>
                        </a:lnTo>
                        <a:lnTo>
                          <a:pt x="15971" y="236"/>
                        </a:lnTo>
                        <a:lnTo>
                          <a:pt x="15983" y="236"/>
                        </a:lnTo>
                        <a:lnTo>
                          <a:pt x="15983" y="236"/>
                        </a:lnTo>
                        <a:lnTo>
                          <a:pt x="15983" y="236"/>
                        </a:lnTo>
                        <a:close/>
                        <a:moveTo>
                          <a:pt x="15787" y="277"/>
                        </a:moveTo>
                        <a:lnTo>
                          <a:pt x="15772" y="265"/>
                        </a:lnTo>
                        <a:lnTo>
                          <a:pt x="15824" y="244"/>
                        </a:lnTo>
                        <a:lnTo>
                          <a:pt x="15858" y="244"/>
                        </a:lnTo>
                        <a:lnTo>
                          <a:pt x="15895" y="265"/>
                        </a:lnTo>
                        <a:lnTo>
                          <a:pt x="15862" y="281"/>
                        </a:lnTo>
                        <a:lnTo>
                          <a:pt x="15787" y="277"/>
                        </a:lnTo>
                        <a:lnTo>
                          <a:pt x="15787" y="277"/>
                        </a:lnTo>
                        <a:lnTo>
                          <a:pt x="15787" y="277"/>
                        </a:lnTo>
                        <a:close/>
                        <a:moveTo>
                          <a:pt x="16025" y="293"/>
                        </a:moveTo>
                        <a:lnTo>
                          <a:pt x="16042" y="277"/>
                        </a:lnTo>
                        <a:lnTo>
                          <a:pt x="16042" y="265"/>
                        </a:lnTo>
                        <a:lnTo>
                          <a:pt x="16042" y="255"/>
                        </a:lnTo>
                        <a:lnTo>
                          <a:pt x="16117" y="260"/>
                        </a:lnTo>
                        <a:lnTo>
                          <a:pt x="16117" y="293"/>
                        </a:lnTo>
                        <a:lnTo>
                          <a:pt x="16113" y="298"/>
                        </a:lnTo>
                        <a:lnTo>
                          <a:pt x="16021" y="293"/>
                        </a:lnTo>
                        <a:lnTo>
                          <a:pt x="16025" y="293"/>
                        </a:lnTo>
                        <a:lnTo>
                          <a:pt x="16025" y="293"/>
                        </a:lnTo>
                        <a:lnTo>
                          <a:pt x="16025" y="293"/>
                        </a:lnTo>
                        <a:close/>
                        <a:moveTo>
                          <a:pt x="15966" y="265"/>
                        </a:moveTo>
                        <a:lnTo>
                          <a:pt x="15992" y="255"/>
                        </a:lnTo>
                        <a:lnTo>
                          <a:pt x="16009" y="260"/>
                        </a:lnTo>
                        <a:lnTo>
                          <a:pt x="15983" y="277"/>
                        </a:lnTo>
                        <a:lnTo>
                          <a:pt x="15966" y="265"/>
                        </a:lnTo>
                        <a:lnTo>
                          <a:pt x="15966" y="265"/>
                        </a:lnTo>
                        <a:lnTo>
                          <a:pt x="15966" y="265"/>
                        </a:lnTo>
                        <a:close/>
                        <a:moveTo>
                          <a:pt x="15917" y="277"/>
                        </a:moveTo>
                        <a:lnTo>
                          <a:pt x="15912" y="260"/>
                        </a:lnTo>
                        <a:lnTo>
                          <a:pt x="15917" y="255"/>
                        </a:lnTo>
                        <a:lnTo>
                          <a:pt x="15933" y="260"/>
                        </a:lnTo>
                        <a:lnTo>
                          <a:pt x="15917" y="277"/>
                        </a:lnTo>
                        <a:lnTo>
                          <a:pt x="15917" y="277"/>
                        </a:lnTo>
                        <a:lnTo>
                          <a:pt x="15917" y="277"/>
                        </a:lnTo>
                        <a:close/>
                        <a:moveTo>
                          <a:pt x="15609" y="298"/>
                        </a:moveTo>
                        <a:lnTo>
                          <a:pt x="15588" y="281"/>
                        </a:lnTo>
                        <a:lnTo>
                          <a:pt x="15614" y="265"/>
                        </a:lnTo>
                        <a:lnTo>
                          <a:pt x="15647" y="281"/>
                        </a:lnTo>
                        <a:lnTo>
                          <a:pt x="15609" y="298"/>
                        </a:lnTo>
                        <a:lnTo>
                          <a:pt x="15609" y="298"/>
                        </a:lnTo>
                        <a:lnTo>
                          <a:pt x="15609" y="298"/>
                        </a:lnTo>
                        <a:close/>
                        <a:moveTo>
                          <a:pt x="19098" y="425"/>
                        </a:moveTo>
                        <a:lnTo>
                          <a:pt x="19061" y="425"/>
                        </a:lnTo>
                        <a:lnTo>
                          <a:pt x="19120" y="459"/>
                        </a:lnTo>
                        <a:lnTo>
                          <a:pt x="19129" y="482"/>
                        </a:lnTo>
                        <a:lnTo>
                          <a:pt x="19087" y="499"/>
                        </a:lnTo>
                        <a:lnTo>
                          <a:pt x="19011" y="503"/>
                        </a:lnTo>
                        <a:lnTo>
                          <a:pt x="18935" y="499"/>
                        </a:lnTo>
                        <a:lnTo>
                          <a:pt x="18898" y="475"/>
                        </a:lnTo>
                        <a:lnTo>
                          <a:pt x="18827" y="475"/>
                        </a:lnTo>
                        <a:lnTo>
                          <a:pt x="18817" y="449"/>
                        </a:lnTo>
                        <a:lnTo>
                          <a:pt x="18780" y="466"/>
                        </a:lnTo>
                        <a:lnTo>
                          <a:pt x="18735" y="433"/>
                        </a:lnTo>
                        <a:lnTo>
                          <a:pt x="18735" y="392"/>
                        </a:lnTo>
                        <a:lnTo>
                          <a:pt x="18687" y="392"/>
                        </a:lnTo>
                        <a:lnTo>
                          <a:pt x="18704" y="392"/>
                        </a:lnTo>
                        <a:lnTo>
                          <a:pt x="18687" y="388"/>
                        </a:lnTo>
                        <a:lnTo>
                          <a:pt x="18697" y="371"/>
                        </a:lnTo>
                        <a:lnTo>
                          <a:pt x="18650" y="404"/>
                        </a:lnTo>
                        <a:lnTo>
                          <a:pt x="18650" y="392"/>
                        </a:lnTo>
                        <a:lnTo>
                          <a:pt x="18654" y="388"/>
                        </a:lnTo>
                        <a:lnTo>
                          <a:pt x="18628" y="376"/>
                        </a:lnTo>
                        <a:lnTo>
                          <a:pt x="18654" y="388"/>
                        </a:lnTo>
                        <a:lnTo>
                          <a:pt x="18709" y="347"/>
                        </a:lnTo>
                        <a:lnTo>
                          <a:pt x="18751" y="338"/>
                        </a:lnTo>
                        <a:lnTo>
                          <a:pt x="18725" y="322"/>
                        </a:lnTo>
                        <a:lnTo>
                          <a:pt x="18772" y="293"/>
                        </a:lnTo>
                        <a:lnTo>
                          <a:pt x="18796" y="310"/>
                        </a:lnTo>
                        <a:lnTo>
                          <a:pt x="18817" y="293"/>
                        </a:lnTo>
                        <a:lnTo>
                          <a:pt x="18957" y="281"/>
                        </a:lnTo>
                        <a:lnTo>
                          <a:pt x="18990" y="298"/>
                        </a:lnTo>
                        <a:lnTo>
                          <a:pt x="18957" y="347"/>
                        </a:lnTo>
                        <a:lnTo>
                          <a:pt x="18935" y="355"/>
                        </a:lnTo>
                        <a:lnTo>
                          <a:pt x="18969" y="347"/>
                        </a:lnTo>
                        <a:lnTo>
                          <a:pt x="18978" y="322"/>
                        </a:lnTo>
                        <a:lnTo>
                          <a:pt x="19011" y="331"/>
                        </a:lnTo>
                        <a:lnTo>
                          <a:pt x="19028" y="314"/>
                        </a:lnTo>
                        <a:lnTo>
                          <a:pt x="19023" y="310"/>
                        </a:lnTo>
                        <a:lnTo>
                          <a:pt x="19028" y="298"/>
                        </a:lnTo>
                        <a:lnTo>
                          <a:pt x="19075" y="298"/>
                        </a:lnTo>
                        <a:lnTo>
                          <a:pt x="19136" y="347"/>
                        </a:lnTo>
                        <a:lnTo>
                          <a:pt x="19113" y="371"/>
                        </a:lnTo>
                        <a:lnTo>
                          <a:pt x="19103" y="392"/>
                        </a:lnTo>
                        <a:lnTo>
                          <a:pt x="19113" y="409"/>
                        </a:lnTo>
                        <a:lnTo>
                          <a:pt x="19098" y="425"/>
                        </a:lnTo>
                        <a:lnTo>
                          <a:pt x="19098" y="425"/>
                        </a:lnTo>
                        <a:lnTo>
                          <a:pt x="19098" y="425"/>
                        </a:lnTo>
                        <a:close/>
                        <a:moveTo>
                          <a:pt x="16240" y="310"/>
                        </a:moveTo>
                        <a:lnTo>
                          <a:pt x="16278" y="293"/>
                        </a:lnTo>
                        <a:lnTo>
                          <a:pt x="16311" y="293"/>
                        </a:lnTo>
                        <a:lnTo>
                          <a:pt x="16311" y="310"/>
                        </a:lnTo>
                        <a:lnTo>
                          <a:pt x="16278" y="322"/>
                        </a:lnTo>
                        <a:lnTo>
                          <a:pt x="16240" y="310"/>
                        </a:lnTo>
                        <a:lnTo>
                          <a:pt x="16240" y="310"/>
                        </a:lnTo>
                        <a:lnTo>
                          <a:pt x="16240" y="310"/>
                        </a:lnTo>
                        <a:close/>
                        <a:moveTo>
                          <a:pt x="15626" y="314"/>
                        </a:moveTo>
                        <a:lnTo>
                          <a:pt x="15659" y="314"/>
                        </a:lnTo>
                        <a:lnTo>
                          <a:pt x="15697" y="293"/>
                        </a:lnTo>
                        <a:lnTo>
                          <a:pt x="15723" y="322"/>
                        </a:lnTo>
                        <a:lnTo>
                          <a:pt x="15626" y="314"/>
                        </a:lnTo>
                        <a:lnTo>
                          <a:pt x="15626" y="314"/>
                        </a:lnTo>
                        <a:lnTo>
                          <a:pt x="15626" y="314"/>
                        </a:lnTo>
                        <a:close/>
                        <a:moveTo>
                          <a:pt x="18503" y="298"/>
                        </a:moveTo>
                        <a:lnTo>
                          <a:pt x="18487" y="298"/>
                        </a:lnTo>
                        <a:lnTo>
                          <a:pt x="18633" y="310"/>
                        </a:lnTo>
                        <a:lnTo>
                          <a:pt x="18697" y="322"/>
                        </a:lnTo>
                        <a:lnTo>
                          <a:pt x="18645" y="355"/>
                        </a:lnTo>
                        <a:lnTo>
                          <a:pt x="18562" y="364"/>
                        </a:lnTo>
                        <a:lnTo>
                          <a:pt x="18595" y="355"/>
                        </a:lnTo>
                        <a:lnTo>
                          <a:pt x="18574" y="338"/>
                        </a:lnTo>
                        <a:lnTo>
                          <a:pt x="18503" y="331"/>
                        </a:lnTo>
                        <a:lnTo>
                          <a:pt x="18508" y="322"/>
                        </a:lnTo>
                        <a:lnTo>
                          <a:pt x="18503" y="298"/>
                        </a:lnTo>
                        <a:lnTo>
                          <a:pt x="18503" y="298"/>
                        </a:lnTo>
                        <a:lnTo>
                          <a:pt x="18503" y="298"/>
                        </a:lnTo>
                        <a:close/>
                        <a:moveTo>
                          <a:pt x="18704" y="310"/>
                        </a:moveTo>
                        <a:lnTo>
                          <a:pt x="18735" y="310"/>
                        </a:lnTo>
                        <a:lnTo>
                          <a:pt x="18704" y="314"/>
                        </a:lnTo>
                        <a:lnTo>
                          <a:pt x="18704" y="310"/>
                        </a:lnTo>
                        <a:lnTo>
                          <a:pt x="18704" y="310"/>
                        </a:lnTo>
                        <a:lnTo>
                          <a:pt x="18704" y="310"/>
                        </a:lnTo>
                        <a:close/>
                        <a:moveTo>
                          <a:pt x="16209" y="314"/>
                        </a:moveTo>
                        <a:lnTo>
                          <a:pt x="16226" y="314"/>
                        </a:lnTo>
                        <a:lnTo>
                          <a:pt x="16252" y="322"/>
                        </a:lnTo>
                        <a:lnTo>
                          <a:pt x="16202" y="322"/>
                        </a:lnTo>
                        <a:lnTo>
                          <a:pt x="16209" y="314"/>
                        </a:lnTo>
                        <a:lnTo>
                          <a:pt x="16209" y="314"/>
                        </a:lnTo>
                        <a:lnTo>
                          <a:pt x="16209" y="314"/>
                        </a:lnTo>
                        <a:close/>
                        <a:moveTo>
                          <a:pt x="18541" y="364"/>
                        </a:moveTo>
                        <a:lnTo>
                          <a:pt x="18503" y="355"/>
                        </a:lnTo>
                        <a:lnTo>
                          <a:pt x="18557" y="364"/>
                        </a:lnTo>
                        <a:lnTo>
                          <a:pt x="18541" y="364"/>
                        </a:lnTo>
                        <a:lnTo>
                          <a:pt x="18541" y="364"/>
                        </a:lnTo>
                        <a:lnTo>
                          <a:pt x="18541" y="364"/>
                        </a:lnTo>
                        <a:close/>
                        <a:moveTo>
                          <a:pt x="19129" y="376"/>
                        </a:moveTo>
                        <a:lnTo>
                          <a:pt x="19129" y="364"/>
                        </a:lnTo>
                        <a:lnTo>
                          <a:pt x="19150" y="364"/>
                        </a:lnTo>
                        <a:lnTo>
                          <a:pt x="19129" y="376"/>
                        </a:lnTo>
                        <a:lnTo>
                          <a:pt x="19129" y="376"/>
                        </a:lnTo>
                        <a:lnTo>
                          <a:pt x="19129" y="376"/>
                        </a:lnTo>
                        <a:close/>
                        <a:moveTo>
                          <a:pt x="17495" y="388"/>
                        </a:moveTo>
                        <a:lnTo>
                          <a:pt x="17445" y="371"/>
                        </a:lnTo>
                        <a:lnTo>
                          <a:pt x="17563" y="388"/>
                        </a:lnTo>
                        <a:lnTo>
                          <a:pt x="17499" y="392"/>
                        </a:lnTo>
                        <a:lnTo>
                          <a:pt x="17495" y="388"/>
                        </a:lnTo>
                        <a:lnTo>
                          <a:pt x="17495" y="388"/>
                        </a:lnTo>
                        <a:lnTo>
                          <a:pt x="17495" y="388"/>
                        </a:lnTo>
                        <a:close/>
                        <a:moveTo>
                          <a:pt x="18494" y="388"/>
                        </a:moveTo>
                        <a:lnTo>
                          <a:pt x="18536" y="392"/>
                        </a:lnTo>
                        <a:lnTo>
                          <a:pt x="18482" y="376"/>
                        </a:lnTo>
                        <a:lnTo>
                          <a:pt x="18494" y="388"/>
                        </a:lnTo>
                        <a:lnTo>
                          <a:pt x="18494" y="388"/>
                        </a:lnTo>
                        <a:lnTo>
                          <a:pt x="18494" y="388"/>
                        </a:lnTo>
                        <a:close/>
                        <a:moveTo>
                          <a:pt x="19129" y="392"/>
                        </a:moveTo>
                        <a:lnTo>
                          <a:pt x="19129" y="404"/>
                        </a:lnTo>
                        <a:lnTo>
                          <a:pt x="19120" y="404"/>
                        </a:lnTo>
                        <a:lnTo>
                          <a:pt x="19129" y="392"/>
                        </a:lnTo>
                        <a:lnTo>
                          <a:pt x="19129" y="392"/>
                        </a:lnTo>
                        <a:lnTo>
                          <a:pt x="19129" y="392"/>
                        </a:lnTo>
                        <a:close/>
                        <a:moveTo>
                          <a:pt x="19136" y="553"/>
                        </a:moveTo>
                        <a:lnTo>
                          <a:pt x="19157" y="503"/>
                        </a:lnTo>
                        <a:lnTo>
                          <a:pt x="19212" y="515"/>
                        </a:lnTo>
                        <a:lnTo>
                          <a:pt x="19183" y="487"/>
                        </a:lnTo>
                        <a:lnTo>
                          <a:pt x="19195" y="466"/>
                        </a:lnTo>
                        <a:lnTo>
                          <a:pt x="19243" y="475"/>
                        </a:lnTo>
                        <a:lnTo>
                          <a:pt x="19195" y="459"/>
                        </a:lnTo>
                        <a:lnTo>
                          <a:pt x="19212" y="433"/>
                        </a:lnTo>
                        <a:lnTo>
                          <a:pt x="19250" y="409"/>
                        </a:lnTo>
                        <a:lnTo>
                          <a:pt x="19264" y="425"/>
                        </a:lnTo>
                        <a:lnTo>
                          <a:pt x="19280" y="433"/>
                        </a:lnTo>
                        <a:lnTo>
                          <a:pt x="19280" y="409"/>
                        </a:lnTo>
                        <a:lnTo>
                          <a:pt x="19297" y="404"/>
                        </a:lnTo>
                        <a:lnTo>
                          <a:pt x="19351" y="421"/>
                        </a:lnTo>
                        <a:lnTo>
                          <a:pt x="19330" y="433"/>
                        </a:lnTo>
                        <a:lnTo>
                          <a:pt x="19297" y="499"/>
                        </a:lnTo>
                        <a:lnTo>
                          <a:pt x="19335" y="466"/>
                        </a:lnTo>
                        <a:lnTo>
                          <a:pt x="19406" y="449"/>
                        </a:lnTo>
                        <a:lnTo>
                          <a:pt x="19410" y="475"/>
                        </a:lnTo>
                        <a:lnTo>
                          <a:pt x="19439" y="475"/>
                        </a:lnTo>
                        <a:lnTo>
                          <a:pt x="19453" y="499"/>
                        </a:lnTo>
                        <a:lnTo>
                          <a:pt x="19453" y="503"/>
                        </a:lnTo>
                        <a:lnTo>
                          <a:pt x="19460" y="499"/>
                        </a:lnTo>
                        <a:lnTo>
                          <a:pt x="19491" y="499"/>
                        </a:lnTo>
                        <a:lnTo>
                          <a:pt x="19507" y="536"/>
                        </a:lnTo>
                        <a:lnTo>
                          <a:pt x="19460" y="577"/>
                        </a:lnTo>
                        <a:lnTo>
                          <a:pt x="19335" y="593"/>
                        </a:lnTo>
                        <a:lnTo>
                          <a:pt x="19318" y="598"/>
                        </a:lnTo>
                        <a:lnTo>
                          <a:pt x="19302" y="593"/>
                        </a:lnTo>
                        <a:lnTo>
                          <a:pt x="19221" y="598"/>
                        </a:lnTo>
                        <a:lnTo>
                          <a:pt x="19129" y="631"/>
                        </a:lnTo>
                        <a:lnTo>
                          <a:pt x="19087" y="643"/>
                        </a:lnTo>
                        <a:lnTo>
                          <a:pt x="19082" y="626"/>
                        </a:lnTo>
                        <a:lnTo>
                          <a:pt x="19136" y="553"/>
                        </a:lnTo>
                        <a:lnTo>
                          <a:pt x="19136" y="553"/>
                        </a:lnTo>
                        <a:lnTo>
                          <a:pt x="19136" y="553"/>
                        </a:lnTo>
                        <a:close/>
                        <a:moveTo>
                          <a:pt x="19561" y="598"/>
                        </a:moveTo>
                        <a:lnTo>
                          <a:pt x="19552" y="593"/>
                        </a:lnTo>
                        <a:lnTo>
                          <a:pt x="19583" y="577"/>
                        </a:lnTo>
                        <a:lnTo>
                          <a:pt x="19604" y="586"/>
                        </a:lnTo>
                        <a:lnTo>
                          <a:pt x="19561" y="598"/>
                        </a:lnTo>
                        <a:lnTo>
                          <a:pt x="19561" y="598"/>
                        </a:lnTo>
                        <a:lnTo>
                          <a:pt x="19561" y="598"/>
                        </a:lnTo>
                        <a:close/>
                        <a:moveTo>
                          <a:pt x="19654" y="626"/>
                        </a:moveTo>
                        <a:lnTo>
                          <a:pt x="19583" y="598"/>
                        </a:lnTo>
                        <a:lnTo>
                          <a:pt x="19670" y="610"/>
                        </a:lnTo>
                        <a:lnTo>
                          <a:pt x="19654" y="626"/>
                        </a:lnTo>
                        <a:lnTo>
                          <a:pt x="19654" y="626"/>
                        </a:lnTo>
                        <a:lnTo>
                          <a:pt x="19654" y="626"/>
                        </a:lnTo>
                        <a:close/>
                        <a:moveTo>
                          <a:pt x="18562" y="688"/>
                        </a:moveTo>
                        <a:lnTo>
                          <a:pt x="18546" y="681"/>
                        </a:lnTo>
                        <a:lnTo>
                          <a:pt x="18574" y="688"/>
                        </a:lnTo>
                        <a:lnTo>
                          <a:pt x="18562" y="688"/>
                        </a:lnTo>
                        <a:lnTo>
                          <a:pt x="18562" y="688"/>
                        </a:lnTo>
                        <a:lnTo>
                          <a:pt x="18562" y="688"/>
                        </a:lnTo>
                        <a:close/>
                        <a:moveTo>
                          <a:pt x="19642" y="754"/>
                        </a:moveTo>
                        <a:lnTo>
                          <a:pt x="19637" y="742"/>
                        </a:lnTo>
                        <a:lnTo>
                          <a:pt x="19654" y="725"/>
                        </a:lnTo>
                        <a:lnTo>
                          <a:pt x="19670" y="737"/>
                        </a:lnTo>
                        <a:lnTo>
                          <a:pt x="19670" y="742"/>
                        </a:lnTo>
                        <a:lnTo>
                          <a:pt x="19642" y="754"/>
                        </a:lnTo>
                        <a:lnTo>
                          <a:pt x="19642" y="754"/>
                        </a:lnTo>
                        <a:lnTo>
                          <a:pt x="19642" y="754"/>
                        </a:lnTo>
                        <a:close/>
                        <a:moveTo>
                          <a:pt x="18373" y="758"/>
                        </a:moveTo>
                        <a:lnTo>
                          <a:pt x="18364" y="742"/>
                        </a:lnTo>
                        <a:lnTo>
                          <a:pt x="18373" y="737"/>
                        </a:lnTo>
                        <a:lnTo>
                          <a:pt x="18402" y="742"/>
                        </a:lnTo>
                        <a:lnTo>
                          <a:pt x="18373" y="758"/>
                        </a:lnTo>
                        <a:lnTo>
                          <a:pt x="18373" y="758"/>
                        </a:lnTo>
                        <a:lnTo>
                          <a:pt x="18373" y="758"/>
                        </a:lnTo>
                        <a:close/>
                        <a:moveTo>
                          <a:pt x="19535" y="742"/>
                        </a:moveTo>
                        <a:lnTo>
                          <a:pt x="19552" y="737"/>
                        </a:lnTo>
                        <a:lnTo>
                          <a:pt x="19535" y="742"/>
                        </a:lnTo>
                        <a:lnTo>
                          <a:pt x="19535" y="742"/>
                        </a:lnTo>
                        <a:lnTo>
                          <a:pt x="19535" y="742"/>
                        </a:lnTo>
                        <a:close/>
                        <a:moveTo>
                          <a:pt x="18881" y="754"/>
                        </a:moveTo>
                        <a:lnTo>
                          <a:pt x="18886" y="758"/>
                        </a:lnTo>
                        <a:lnTo>
                          <a:pt x="18860" y="780"/>
                        </a:lnTo>
                        <a:lnTo>
                          <a:pt x="18796" y="780"/>
                        </a:lnTo>
                        <a:lnTo>
                          <a:pt x="18881" y="754"/>
                        </a:lnTo>
                        <a:lnTo>
                          <a:pt x="18881" y="754"/>
                        </a:lnTo>
                        <a:lnTo>
                          <a:pt x="18881" y="754"/>
                        </a:lnTo>
                        <a:close/>
                        <a:moveTo>
                          <a:pt x="18357" y="758"/>
                        </a:moveTo>
                        <a:lnTo>
                          <a:pt x="18331" y="763"/>
                        </a:lnTo>
                        <a:lnTo>
                          <a:pt x="18347" y="763"/>
                        </a:lnTo>
                        <a:lnTo>
                          <a:pt x="18343" y="780"/>
                        </a:lnTo>
                        <a:lnTo>
                          <a:pt x="18331" y="763"/>
                        </a:lnTo>
                        <a:lnTo>
                          <a:pt x="18357" y="758"/>
                        </a:lnTo>
                        <a:lnTo>
                          <a:pt x="18357" y="758"/>
                        </a:lnTo>
                        <a:lnTo>
                          <a:pt x="18357" y="758"/>
                        </a:lnTo>
                        <a:close/>
                        <a:moveTo>
                          <a:pt x="23093" y="758"/>
                        </a:moveTo>
                        <a:lnTo>
                          <a:pt x="23109" y="758"/>
                        </a:lnTo>
                        <a:lnTo>
                          <a:pt x="23088" y="758"/>
                        </a:lnTo>
                        <a:lnTo>
                          <a:pt x="23093" y="758"/>
                        </a:lnTo>
                        <a:lnTo>
                          <a:pt x="23093" y="758"/>
                        </a:lnTo>
                        <a:lnTo>
                          <a:pt x="23093" y="758"/>
                        </a:lnTo>
                        <a:close/>
                        <a:moveTo>
                          <a:pt x="16101" y="1314"/>
                        </a:moveTo>
                        <a:lnTo>
                          <a:pt x="16096" y="1307"/>
                        </a:lnTo>
                        <a:lnTo>
                          <a:pt x="16096" y="1318"/>
                        </a:lnTo>
                        <a:lnTo>
                          <a:pt x="16047" y="1318"/>
                        </a:lnTo>
                        <a:lnTo>
                          <a:pt x="16037" y="1297"/>
                        </a:lnTo>
                        <a:lnTo>
                          <a:pt x="16042" y="1314"/>
                        </a:lnTo>
                        <a:lnTo>
                          <a:pt x="15971" y="1297"/>
                        </a:lnTo>
                        <a:lnTo>
                          <a:pt x="15917" y="1314"/>
                        </a:lnTo>
                        <a:lnTo>
                          <a:pt x="15900" y="1307"/>
                        </a:lnTo>
                        <a:lnTo>
                          <a:pt x="15928" y="1297"/>
                        </a:lnTo>
                        <a:lnTo>
                          <a:pt x="15928" y="1290"/>
                        </a:lnTo>
                        <a:lnTo>
                          <a:pt x="15917" y="1290"/>
                        </a:lnTo>
                        <a:lnTo>
                          <a:pt x="15928" y="1281"/>
                        </a:lnTo>
                        <a:lnTo>
                          <a:pt x="15987" y="1257"/>
                        </a:lnTo>
                        <a:lnTo>
                          <a:pt x="15900" y="1273"/>
                        </a:lnTo>
                        <a:lnTo>
                          <a:pt x="15879" y="1252"/>
                        </a:lnTo>
                        <a:lnTo>
                          <a:pt x="15954" y="1224"/>
                        </a:lnTo>
                        <a:lnTo>
                          <a:pt x="15938" y="1219"/>
                        </a:lnTo>
                        <a:lnTo>
                          <a:pt x="15971" y="1195"/>
                        </a:lnTo>
                        <a:lnTo>
                          <a:pt x="16037" y="1203"/>
                        </a:lnTo>
                        <a:lnTo>
                          <a:pt x="15983" y="1179"/>
                        </a:lnTo>
                        <a:lnTo>
                          <a:pt x="16025" y="1179"/>
                        </a:lnTo>
                        <a:lnTo>
                          <a:pt x="15987" y="1170"/>
                        </a:lnTo>
                        <a:lnTo>
                          <a:pt x="15992" y="1153"/>
                        </a:lnTo>
                        <a:lnTo>
                          <a:pt x="16063" y="1146"/>
                        </a:lnTo>
                        <a:lnTo>
                          <a:pt x="16009" y="1141"/>
                        </a:lnTo>
                        <a:lnTo>
                          <a:pt x="16009" y="1125"/>
                        </a:lnTo>
                        <a:lnTo>
                          <a:pt x="16113" y="1125"/>
                        </a:lnTo>
                        <a:lnTo>
                          <a:pt x="16089" y="1125"/>
                        </a:lnTo>
                        <a:lnTo>
                          <a:pt x="16075" y="1108"/>
                        </a:lnTo>
                        <a:lnTo>
                          <a:pt x="16037" y="1108"/>
                        </a:lnTo>
                        <a:lnTo>
                          <a:pt x="16089" y="1087"/>
                        </a:lnTo>
                        <a:lnTo>
                          <a:pt x="16063" y="1087"/>
                        </a:lnTo>
                        <a:lnTo>
                          <a:pt x="16075" y="1075"/>
                        </a:lnTo>
                        <a:lnTo>
                          <a:pt x="16037" y="1075"/>
                        </a:lnTo>
                        <a:lnTo>
                          <a:pt x="16042" y="1070"/>
                        </a:lnTo>
                        <a:lnTo>
                          <a:pt x="16025" y="1070"/>
                        </a:lnTo>
                        <a:lnTo>
                          <a:pt x="16025" y="1058"/>
                        </a:lnTo>
                        <a:lnTo>
                          <a:pt x="16063" y="1051"/>
                        </a:lnTo>
                        <a:lnTo>
                          <a:pt x="16075" y="1070"/>
                        </a:lnTo>
                        <a:lnTo>
                          <a:pt x="16101" y="1042"/>
                        </a:lnTo>
                        <a:lnTo>
                          <a:pt x="16096" y="1035"/>
                        </a:lnTo>
                        <a:lnTo>
                          <a:pt x="16101" y="1030"/>
                        </a:lnTo>
                        <a:lnTo>
                          <a:pt x="16165" y="1030"/>
                        </a:lnTo>
                        <a:lnTo>
                          <a:pt x="16150" y="1002"/>
                        </a:lnTo>
                        <a:lnTo>
                          <a:pt x="16198" y="997"/>
                        </a:lnTo>
                        <a:lnTo>
                          <a:pt x="16181" y="985"/>
                        </a:lnTo>
                        <a:lnTo>
                          <a:pt x="16235" y="959"/>
                        </a:lnTo>
                        <a:lnTo>
                          <a:pt x="16349" y="931"/>
                        </a:lnTo>
                        <a:lnTo>
                          <a:pt x="16328" y="924"/>
                        </a:lnTo>
                        <a:lnTo>
                          <a:pt x="16344" y="919"/>
                        </a:lnTo>
                        <a:lnTo>
                          <a:pt x="16382" y="919"/>
                        </a:lnTo>
                        <a:lnTo>
                          <a:pt x="16361" y="931"/>
                        </a:lnTo>
                        <a:lnTo>
                          <a:pt x="16370" y="931"/>
                        </a:lnTo>
                        <a:lnTo>
                          <a:pt x="16403" y="907"/>
                        </a:lnTo>
                        <a:lnTo>
                          <a:pt x="16387" y="907"/>
                        </a:lnTo>
                        <a:lnTo>
                          <a:pt x="16398" y="891"/>
                        </a:lnTo>
                        <a:lnTo>
                          <a:pt x="16441" y="886"/>
                        </a:lnTo>
                        <a:lnTo>
                          <a:pt x="16495" y="903"/>
                        </a:lnTo>
                        <a:lnTo>
                          <a:pt x="16580" y="874"/>
                        </a:lnTo>
                        <a:lnTo>
                          <a:pt x="16613" y="886"/>
                        </a:lnTo>
                        <a:lnTo>
                          <a:pt x="16710" y="848"/>
                        </a:lnTo>
                        <a:lnTo>
                          <a:pt x="16743" y="853"/>
                        </a:lnTo>
                        <a:lnTo>
                          <a:pt x="16727" y="832"/>
                        </a:lnTo>
                        <a:lnTo>
                          <a:pt x="16852" y="780"/>
                        </a:lnTo>
                        <a:lnTo>
                          <a:pt x="16921" y="792"/>
                        </a:lnTo>
                        <a:lnTo>
                          <a:pt x="16954" y="815"/>
                        </a:lnTo>
                        <a:lnTo>
                          <a:pt x="16937" y="848"/>
                        </a:lnTo>
                        <a:lnTo>
                          <a:pt x="16944" y="853"/>
                        </a:lnTo>
                        <a:lnTo>
                          <a:pt x="16899" y="886"/>
                        </a:lnTo>
                        <a:lnTo>
                          <a:pt x="16906" y="886"/>
                        </a:lnTo>
                        <a:lnTo>
                          <a:pt x="16684" y="959"/>
                        </a:lnTo>
                        <a:lnTo>
                          <a:pt x="16592" y="981"/>
                        </a:lnTo>
                        <a:lnTo>
                          <a:pt x="16576" y="976"/>
                        </a:lnTo>
                        <a:lnTo>
                          <a:pt x="16559" y="985"/>
                        </a:lnTo>
                        <a:lnTo>
                          <a:pt x="16441" y="1018"/>
                        </a:lnTo>
                        <a:lnTo>
                          <a:pt x="16424" y="1042"/>
                        </a:lnTo>
                        <a:lnTo>
                          <a:pt x="16415" y="1030"/>
                        </a:lnTo>
                        <a:lnTo>
                          <a:pt x="16403" y="1042"/>
                        </a:lnTo>
                        <a:lnTo>
                          <a:pt x="16370" y="1058"/>
                        </a:lnTo>
                        <a:lnTo>
                          <a:pt x="16382" y="1070"/>
                        </a:lnTo>
                        <a:lnTo>
                          <a:pt x="16370" y="1075"/>
                        </a:lnTo>
                        <a:lnTo>
                          <a:pt x="16361" y="1058"/>
                        </a:lnTo>
                        <a:lnTo>
                          <a:pt x="16361" y="1075"/>
                        </a:lnTo>
                        <a:lnTo>
                          <a:pt x="16316" y="1075"/>
                        </a:lnTo>
                        <a:lnTo>
                          <a:pt x="16370" y="1087"/>
                        </a:lnTo>
                        <a:lnTo>
                          <a:pt x="16332" y="1096"/>
                        </a:lnTo>
                        <a:lnTo>
                          <a:pt x="16349" y="1108"/>
                        </a:lnTo>
                        <a:lnTo>
                          <a:pt x="16344" y="1113"/>
                        </a:lnTo>
                        <a:lnTo>
                          <a:pt x="16316" y="1113"/>
                        </a:lnTo>
                        <a:lnTo>
                          <a:pt x="16290" y="1108"/>
                        </a:lnTo>
                        <a:lnTo>
                          <a:pt x="16311" y="1125"/>
                        </a:lnTo>
                        <a:lnTo>
                          <a:pt x="16306" y="1141"/>
                        </a:lnTo>
                        <a:lnTo>
                          <a:pt x="16264" y="1113"/>
                        </a:lnTo>
                        <a:lnTo>
                          <a:pt x="16273" y="1129"/>
                        </a:lnTo>
                        <a:lnTo>
                          <a:pt x="16257" y="1141"/>
                        </a:lnTo>
                        <a:lnTo>
                          <a:pt x="16264" y="1153"/>
                        </a:lnTo>
                        <a:lnTo>
                          <a:pt x="16198" y="1141"/>
                        </a:lnTo>
                        <a:lnTo>
                          <a:pt x="16226" y="1153"/>
                        </a:lnTo>
                        <a:lnTo>
                          <a:pt x="16235" y="1179"/>
                        </a:lnTo>
                        <a:lnTo>
                          <a:pt x="16219" y="1195"/>
                        </a:lnTo>
                        <a:lnTo>
                          <a:pt x="16202" y="1186"/>
                        </a:lnTo>
                        <a:lnTo>
                          <a:pt x="16209" y="1203"/>
                        </a:lnTo>
                        <a:lnTo>
                          <a:pt x="16198" y="1203"/>
                        </a:lnTo>
                        <a:lnTo>
                          <a:pt x="16198" y="1219"/>
                        </a:lnTo>
                        <a:lnTo>
                          <a:pt x="16165" y="1207"/>
                        </a:lnTo>
                        <a:lnTo>
                          <a:pt x="16150" y="1195"/>
                        </a:lnTo>
                        <a:lnTo>
                          <a:pt x="16143" y="1195"/>
                        </a:lnTo>
                        <a:lnTo>
                          <a:pt x="16150" y="1207"/>
                        </a:lnTo>
                        <a:lnTo>
                          <a:pt x="16134" y="1207"/>
                        </a:lnTo>
                        <a:lnTo>
                          <a:pt x="16172" y="1236"/>
                        </a:lnTo>
                        <a:lnTo>
                          <a:pt x="16181" y="1252"/>
                        </a:lnTo>
                        <a:lnTo>
                          <a:pt x="16165" y="1257"/>
                        </a:lnTo>
                        <a:lnTo>
                          <a:pt x="16143" y="1240"/>
                        </a:lnTo>
                        <a:lnTo>
                          <a:pt x="16080" y="1236"/>
                        </a:lnTo>
                        <a:lnTo>
                          <a:pt x="16134" y="1240"/>
                        </a:lnTo>
                        <a:lnTo>
                          <a:pt x="16155" y="1264"/>
                        </a:lnTo>
                        <a:lnTo>
                          <a:pt x="16134" y="1281"/>
                        </a:lnTo>
                        <a:lnTo>
                          <a:pt x="16096" y="1264"/>
                        </a:lnTo>
                        <a:lnTo>
                          <a:pt x="16096" y="1273"/>
                        </a:lnTo>
                        <a:lnTo>
                          <a:pt x="16127" y="1290"/>
                        </a:lnTo>
                        <a:lnTo>
                          <a:pt x="16101" y="1314"/>
                        </a:lnTo>
                        <a:lnTo>
                          <a:pt x="16101" y="1314"/>
                        </a:lnTo>
                        <a:lnTo>
                          <a:pt x="16101" y="1314"/>
                        </a:lnTo>
                        <a:close/>
                        <a:moveTo>
                          <a:pt x="18978" y="815"/>
                        </a:moveTo>
                        <a:lnTo>
                          <a:pt x="18969" y="808"/>
                        </a:lnTo>
                        <a:lnTo>
                          <a:pt x="18978" y="808"/>
                        </a:lnTo>
                        <a:lnTo>
                          <a:pt x="18978" y="815"/>
                        </a:lnTo>
                        <a:lnTo>
                          <a:pt x="18978" y="815"/>
                        </a:lnTo>
                        <a:lnTo>
                          <a:pt x="18978" y="815"/>
                        </a:lnTo>
                        <a:close/>
                        <a:moveTo>
                          <a:pt x="22521" y="836"/>
                        </a:moveTo>
                        <a:lnTo>
                          <a:pt x="22547" y="820"/>
                        </a:lnTo>
                        <a:lnTo>
                          <a:pt x="22585" y="820"/>
                        </a:lnTo>
                        <a:lnTo>
                          <a:pt x="22576" y="836"/>
                        </a:lnTo>
                        <a:lnTo>
                          <a:pt x="22521" y="836"/>
                        </a:lnTo>
                        <a:lnTo>
                          <a:pt x="22521" y="836"/>
                        </a:lnTo>
                        <a:lnTo>
                          <a:pt x="22521" y="836"/>
                        </a:lnTo>
                        <a:close/>
                        <a:moveTo>
                          <a:pt x="18957" y="848"/>
                        </a:moveTo>
                        <a:lnTo>
                          <a:pt x="18940" y="836"/>
                        </a:lnTo>
                        <a:lnTo>
                          <a:pt x="18952" y="820"/>
                        </a:lnTo>
                        <a:lnTo>
                          <a:pt x="18957" y="836"/>
                        </a:lnTo>
                        <a:lnTo>
                          <a:pt x="18957" y="848"/>
                        </a:lnTo>
                        <a:lnTo>
                          <a:pt x="18957" y="848"/>
                        </a:lnTo>
                        <a:lnTo>
                          <a:pt x="18957" y="848"/>
                        </a:lnTo>
                        <a:close/>
                        <a:moveTo>
                          <a:pt x="18827" y="832"/>
                        </a:moveTo>
                        <a:lnTo>
                          <a:pt x="18834" y="832"/>
                        </a:lnTo>
                        <a:lnTo>
                          <a:pt x="18806" y="832"/>
                        </a:lnTo>
                        <a:lnTo>
                          <a:pt x="18827" y="832"/>
                        </a:lnTo>
                        <a:lnTo>
                          <a:pt x="18827" y="832"/>
                        </a:lnTo>
                        <a:lnTo>
                          <a:pt x="18827" y="832"/>
                        </a:lnTo>
                        <a:close/>
                        <a:moveTo>
                          <a:pt x="18789" y="820"/>
                        </a:moveTo>
                        <a:lnTo>
                          <a:pt x="18806" y="832"/>
                        </a:lnTo>
                        <a:lnTo>
                          <a:pt x="18763" y="836"/>
                        </a:lnTo>
                        <a:lnTo>
                          <a:pt x="18789" y="820"/>
                        </a:lnTo>
                        <a:lnTo>
                          <a:pt x="18789" y="820"/>
                        </a:lnTo>
                        <a:lnTo>
                          <a:pt x="18789" y="820"/>
                        </a:lnTo>
                        <a:close/>
                        <a:moveTo>
                          <a:pt x="18881" y="832"/>
                        </a:moveTo>
                        <a:lnTo>
                          <a:pt x="18865" y="836"/>
                        </a:lnTo>
                        <a:lnTo>
                          <a:pt x="18843" y="836"/>
                        </a:lnTo>
                        <a:lnTo>
                          <a:pt x="18881" y="832"/>
                        </a:lnTo>
                        <a:lnTo>
                          <a:pt x="18881" y="832"/>
                        </a:lnTo>
                        <a:lnTo>
                          <a:pt x="18881" y="832"/>
                        </a:lnTo>
                        <a:close/>
                        <a:moveTo>
                          <a:pt x="20010" y="865"/>
                        </a:moveTo>
                        <a:lnTo>
                          <a:pt x="19968" y="836"/>
                        </a:lnTo>
                        <a:lnTo>
                          <a:pt x="20010" y="836"/>
                        </a:lnTo>
                        <a:lnTo>
                          <a:pt x="20020" y="853"/>
                        </a:lnTo>
                        <a:lnTo>
                          <a:pt x="20010" y="865"/>
                        </a:lnTo>
                        <a:lnTo>
                          <a:pt x="20010" y="865"/>
                        </a:lnTo>
                        <a:lnTo>
                          <a:pt x="20010" y="865"/>
                        </a:lnTo>
                        <a:close/>
                        <a:moveTo>
                          <a:pt x="18704" y="836"/>
                        </a:moveTo>
                        <a:lnTo>
                          <a:pt x="18735" y="848"/>
                        </a:lnTo>
                        <a:lnTo>
                          <a:pt x="18697" y="848"/>
                        </a:lnTo>
                        <a:lnTo>
                          <a:pt x="18704" y="836"/>
                        </a:lnTo>
                        <a:lnTo>
                          <a:pt x="18704" y="836"/>
                        </a:lnTo>
                        <a:lnTo>
                          <a:pt x="18704" y="836"/>
                        </a:lnTo>
                        <a:close/>
                        <a:moveTo>
                          <a:pt x="20048" y="874"/>
                        </a:moveTo>
                        <a:lnTo>
                          <a:pt x="20065" y="870"/>
                        </a:lnTo>
                        <a:lnTo>
                          <a:pt x="20069" y="874"/>
                        </a:lnTo>
                        <a:lnTo>
                          <a:pt x="20048" y="874"/>
                        </a:lnTo>
                        <a:lnTo>
                          <a:pt x="20048" y="874"/>
                        </a:lnTo>
                        <a:lnTo>
                          <a:pt x="20048" y="874"/>
                        </a:lnTo>
                        <a:close/>
                        <a:moveTo>
                          <a:pt x="18902" y="907"/>
                        </a:moveTo>
                        <a:lnTo>
                          <a:pt x="18898" y="903"/>
                        </a:lnTo>
                        <a:lnTo>
                          <a:pt x="18902" y="874"/>
                        </a:lnTo>
                        <a:lnTo>
                          <a:pt x="18919" y="886"/>
                        </a:lnTo>
                        <a:lnTo>
                          <a:pt x="18902" y="907"/>
                        </a:lnTo>
                        <a:lnTo>
                          <a:pt x="18902" y="907"/>
                        </a:lnTo>
                        <a:lnTo>
                          <a:pt x="18902" y="907"/>
                        </a:lnTo>
                        <a:close/>
                        <a:moveTo>
                          <a:pt x="18898" y="886"/>
                        </a:moveTo>
                        <a:lnTo>
                          <a:pt x="18872" y="886"/>
                        </a:lnTo>
                        <a:lnTo>
                          <a:pt x="18902" y="886"/>
                        </a:lnTo>
                        <a:lnTo>
                          <a:pt x="18898" y="886"/>
                        </a:lnTo>
                        <a:lnTo>
                          <a:pt x="18898" y="886"/>
                        </a:lnTo>
                        <a:lnTo>
                          <a:pt x="18898" y="886"/>
                        </a:lnTo>
                        <a:close/>
                        <a:moveTo>
                          <a:pt x="18872" y="919"/>
                        </a:moveTo>
                        <a:lnTo>
                          <a:pt x="18796" y="903"/>
                        </a:lnTo>
                        <a:lnTo>
                          <a:pt x="18806" y="886"/>
                        </a:lnTo>
                        <a:lnTo>
                          <a:pt x="18898" y="891"/>
                        </a:lnTo>
                        <a:lnTo>
                          <a:pt x="18886" y="907"/>
                        </a:lnTo>
                        <a:lnTo>
                          <a:pt x="18886" y="891"/>
                        </a:lnTo>
                        <a:lnTo>
                          <a:pt x="18872" y="891"/>
                        </a:lnTo>
                        <a:lnTo>
                          <a:pt x="18872" y="903"/>
                        </a:lnTo>
                        <a:lnTo>
                          <a:pt x="18872" y="907"/>
                        </a:lnTo>
                        <a:lnTo>
                          <a:pt x="18872" y="919"/>
                        </a:lnTo>
                        <a:lnTo>
                          <a:pt x="18872" y="919"/>
                        </a:lnTo>
                        <a:lnTo>
                          <a:pt x="18872" y="919"/>
                        </a:lnTo>
                        <a:close/>
                        <a:moveTo>
                          <a:pt x="18758" y="891"/>
                        </a:moveTo>
                        <a:lnTo>
                          <a:pt x="18780" y="891"/>
                        </a:lnTo>
                        <a:lnTo>
                          <a:pt x="18763" y="903"/>
                        </a:lnTo>
                        <a:lnTo>
                          <a:pt x="18735" y="903"/>
                        </a:lnTo>
                        <a:lnTo>
                          <a:pt x="18763" y="903"/>
                        </a:lnTo>
                        <a:lnTo>
                          <a:pt x="18758" y="891"/>
                        </a:lnTo>
                        <a:lnTo>
                          <a:pt x="18758" y="891"/>
                        </a:lnTo>
                        <a:lnTo>
                          <a:pt x="18758" y="891"/>
                        </a:lnTo>
                        <a:close/>
                        <a:moveTo>
                          <a:pt x="18780" y="903"/>
                        </a:moveTo>
                        <a:lnTo>
                          <a:pt x="18789" y="907"/>
                        </a:lnTo>
                        <a:lnTo>
                          <a:pt x="18780" y="907"/>
                        </a:lnTo>
                        <a:lnTo>
                          <a:pt x="18780" y="903"/>
                        </a:lnTo>
                        <a:lnTo>
                          <a:pt x="18780" y="903"/>
                        </a:lnTo>
                        <a:lnTo>
                          <a:pt x="18780" y="903"/>
                        </a:lnTo>
                        <a:close/>
                        <a:moveTo>
                          <a:pt x="22105" y="1108"/>
                        </a:moveTo>
                        <a:lnTo>
                          <a:pt x="22072" y="1087"/>
                        </a:lnTo>
                        <a:lnTo>
                          <a:pt x="22098" y="1087"/>
                        </a:lnTo>
                        <a:lnTo>
                          <a:pt x="22089" y="1075"/>
                        </a:lnTo>
                        <a:lnTo>
                          <a:pt x="21938" y="1096"/>
                        </a:lnTo>
                        <a:lnTo>
                          <a:pt x="21909" y="1087"/>
                        </a:lnTo>
                        <a:lnTo>
                          <a:pt x="21900" y="1087"/>
                        </a:lnTo>
                        <a:lnTo>
                          <a:pt x="21905" y="1096"/>
                        </a:lnTo>
                        <a:lnTo>
                          <a:pt x="21900" y="1113"/>
                        </a:lnTo>
                        <a:lnTo>
                          <a:pt x="21867" y="1125"/>
                        </a:lnTo>
                        <a:lnTo>
                          <a:pt x="21791" y="1096"/>
                        </a:lnTo>
                        <a:lnTo>
                          <a:pt x="21782" y="1087"/>
                        </a:lnTo>
                        <a:lnTo>
                          <a:pt x="21737" y="1058"/>
                        </a:lnTo>
                        <a:lnTo>
                          <a:pt x="21711" y="1030"/>
                        </a:lnTo>
                        <a:lnTo>
                          <a:pt x="21749" y="1030"/>
                        </a:lnTo>
                        <a:lnTo>
                          <a:pt x="21749" y="1018"/>
                        </a:lnTo>
                        <a:lnTo>
                          <a:pt x="21737" y="1018"/>
                        </a:lnTo>
                        <a:lnTo>
                          <a:pt x="21744" y="985"/>
                        </a:lnTo>
                        <a:lnTo>
                          <a:pt x="21720" y="985"/>
                        </a:lnTo>
                        <a:lnTo>
                          <a:pt x="21737" y="981"/>
                        </a:lnTo>
                        <a:lnTo>
                          <a:pt x="21728" y="976"/>
                        </a:lnTo>
                        <a:lnTo>
                          <a:pt x="21737" y="964"/>
                        </a:lnTo>
                        <a:lnTo>
                          <a:pt x="21775" y="964"/>
                        </a:lnTo>
                        <a:lnTo>
                          <a:pt x="21749" y="943"/>
                        </a:lnTo>
                        <a:lnTo>
                          <a:pt x="21820" y="907"/>
                        </a:lnTo>
                        <a:lnTo>
                          <a:pt x="21829" y="924"/>
                        </a:lnTo>
                        <a:lnTo>
                          <a:pt x="21829" y="903"/>
                        </a:lnTo>
                        <a:lnTo>
                          <a:pt x="21850" y="903"/>
                        </a:lnTo>
                        <a:lnTo>
                          <a:pt x="21872" y="919"/>
                        </a:lnTo>
                        <a:lnTo>
                          <a:pt x="21921" y="931"/>
                        </a:lnTo>
                        <a:lnTo>
                          <a:pt x="21926" y="943"/>
                        </a:lnTo>
                        <a:lnTo>
                          <a:pt x="21921" y="947"/>
                        </a:lnTo>
                        <a:lnTo>
                          <a:pt x="21926" y="959"/>
                        </a:lnTo>
                        <a:lnTo>
                          <a:pt x="21964" y="964"/>
                        </a:lnTo>
                        <a:lnTo>
                          <a:pt x="21964" y="981"/>
                        </a:lnTo>
                        <a:lnTo>
                          <a:pt x="22009" y="981"/>
                        </a:lnTo>
                        <a:lnTo>
                          <a:pt x="21997" y="976"/>
                        </a:lnTo>
                        <a:lnTo>
                          <a:pt x="22009" y="924"/>
                        </a:lnTo>
                        <a:lnTo>
                          <a:pt x="22046" y="931"/>
                        </a:lnTo>
                        <a:lnTo>
                          <a:pt x="22030" y="903"/>
                        </a:lnTo>
                        <a:lnTo>
                          <a:pt x="22115" y="947"/>
                        </a:lnTo>
                        <a:lnTo>
                          <a:pt x="22207" y="959"/>
                        </a:lnTo>
                        <a:lnTo>
                          <a:pt x="22316" y="1002"/>
                        </a:lnTo>
                        <a:lnTo>
                          <a:pt x="22266" y="1014"/>
                        </a:lnTo>
                        <a:lnTo>
                          <a:pt x="22261" y="1030"/>
                        </a:lnTo>
                        <a:lnTo>
                          <a:pt x="22283" y="1035"/>
                        </a:lnTo>
                        <a:lnTo>
                          <a:pt x="22245" y="1070"/>
                        </a:lnTo>
                        <a:lnTo>
                          <a:pt x="22212" y="1075"/>
                        </a:lnTo>
                        <a:lnTo>
                          <a:pt x="22136" y="1058"/>
                        </a:lnTo>
                        <a:lnTo>
                          <a:pt x="22105" y="1030"/>
                        </a:lnTo>
                        <a:lnTo>
                          <a:pt x="22115" y="1014"/>
                        </a:lnTo>
                        <a:lnTo>
                          <a:pt x="22143" y="985"/>
                        </a:lnTo>
                        <a:lnTo>
                          <a:pt x="22143" y="981"/>
                        </a:lnTo>
                        <a:lnTo>
                          <a:pt x="22105" y="976"/>
                        </a:lnTo>
                        <a:lnTo>
                          <a:pt x="22084" y="985"/>
                        </a:lnTo>
                        <a:lnTo>
                          <a:pt x="22084" y="1018"/>
                        </a:lnTo>
                        <a:lnTo>
                          <a:pt x="22115" y="1058"/>
                        </a:lnTo>
                        <a:lnTo>
                          <a:pt x="22191" y="1087"/>
                        </a:lnTo>
                        <a:lnTo>
                          <a:pt x="22122" y="1092"/>
                        </a:lnTo>
                        <a:lnTo>
                          <a:pt x="22105" y="1108"/>
                        </a:lnTo>
                        <a:lnTo>
                          <a:pt x="22105" y="1108"/>
                        </a:lnTo>
                        <a:lnTo>
                          <a:pt x="22105" y="1108"/>
                        </a:lnTo>
                        <a:close/>
                        <a:moveTo>
                          <a:pt x="22816" y="907"/>
                        </a:moveTo>
                        <a:lnTo>
                          <a:pt x="22807" y="907"/>
                        </a:lnTo>
                        <a:lnTo>
                          <a:pt x="22833" y="907"/>
                        </a:lnTo>
                        <a:lnTo>
                          <a:pt x="22816" y="907"/>
                        </a:lnTo>
                        <a:lnTo>
                          <a:pt x="22816" y="907"/>
                        </a:lnTo>
                        <a:lnTo>
                          <a:pt x="22816" y="907"/>
                        </a:lnTo>
                        <a:close/>
                        <a:moveTo>
                          <a:pt x="16316" y="907"/>
                        </a:moveTo>
                        <a:lnTo>
                          <a:pt x="16361" y="903"/>
                        </a:lnTo>
                        <a:lnTo>
                          <a:pt x="16311" y="919"/>
                        </a:lnTo>
                        <a:lnTo>
                          <a:pt x="16316" y="907"/>
                        </a:lnTo>
                        <a:lnTo>
                          <a:pt x="16316" y="907"/>
                        </a:lnTo>
                        <a:lnTo>
                          <a:pt x="16316" y="907"/>
                        </a:lnTo>
                        <a:close/>
                        <a:moveTo>
                          <a:pt x="21997" y="924"/>
                        </a:moveTo>
                        <a:lnTo>
                          <a:pt x="21992" y="919"/>
                        </a:lnTo>
                        <a:lnTo>
                          <a:pt x="21997" y="907"/>
                        </a:lnTo>
                        <a:lnTo>
                          <a:pt x="22013" y="919"/>
                        </a:lnTo>
                        <a:lnTo>
                          <a:pt x="21997" y="924"/>
                        </a:lnTo>
                        <a:lnTo>
                          <a:pt x="21997" y="924"/>
                        </a:lnTo>
                        <a:lnTo>
                          <a:pt x="21997" y="924"/>
                        </a:lnTo>
                        <a:close/>
                        <a:moveTo>
                          <a:pt x="17932" y="943"/>
                        </a:moveTo>
                        <a:lnTo>
                          <a:pt x="17889" y="943"/>
                        </a:lnTo>
                        <a:lnTo>
                          <a:pt x="17953" y="943"/>
                        </a:lnTo>
                        <a:lnTo>
                          <a:pt x="17932" y="943"/>
                        </a:lnTo>
                        <a:lnTo>
                          <a:pt x="17932" y="943"/>
                        </a:lnTo>
                        <a:lnTo>
                          <a:pt x="17932" y="943"/>
                        </a:lnTo>
                        <a:close/>
                        <a:moveTo>
                          <a:pt x="16240" y="943"/>
                        </a:moveTo>
                        <a:lnTo>
                          <a:pt x="16273" y="931"/>
                        </a:lnTo>
                        <a:lnTo>
                          <a:pt x="16235" y="947"/>
                        </a:lnTo>
                        <a:lnTo>
                          <a:pt x="16240" y="943"/>
                        </a:lnTo>
                        <a:lnTo>
                          <a:pt x="16240" y="943"/>
                        </a:lnTo>
                        <a:lnTo>
                          <a:pt x="16240" y="943"/>
                        </a:lnTo>
                        <a:close/>
                        <a:moveTo>
                          <a:pt x="17839" y="943"/>
                        </a:moveTo>
                        <a:lnTo>
                          <a:pt x="17889" y="947"/>
                        </a:lnTo>
                        <a:lnTo>
                          <a:pt x="17835" y="943"/>
                        </a:lnTo>
                        <a:lnTo>
                          <a:pt x="17839" y="943"/>
                        </a:lnTo>
                        <a:lnTo>
                          <a:pt x="17839" y="943"/>
                        </a:lnTo>
                        <a:lnTo>
                          <a:pt x="17839" y="943"/>
                        </a:lnTo>
                        <a:close/>
                        <a:moveTo>
                          <a:pt x="16257" y="947"/>
                        </a:moveTo>
                        <a:lnTo>
                          <a:pt x="16273" y="943"/>
                        </a:lnTo>
                        <a:lnTo>
                          <a:pt x="16252" y="947"/>
                        </a:lnTo>
                        <a:lnTo>
                          <a:pt x="16257" y="947"/>
                        </a:lnTo>
                        <a:lnTo>
                          <a:pt x="16257" y="947"/>
                        </a:lnTo>
                        <a:lnTo>
                          <a:pt x="16257" y="947"/>
                        </a:lnTo>
                        <a:close/>
                        <a:moveTo>
                          <a:pt x="21614" y="1018"/>
                        </a:moveTo>
                        <a:lnTo>
                          <a:pt x="21631" y="997"/>
                        </a:lnTo>
                        <a:lnTo>
                          <a:pt x="21619" y="981"/>
                        </a:lnTo>
                        <a:lnTo>
                          <a:pt x="21635" y="959"/>
                        </a:lnTo>
                        <a:lnTo>
                          <a:pt x="21640" y="981"/>
                        </a:lnTo>
                        <a:lnTo>
                          <a:pt x="21668" y="985"/>
                        </a:lnTo>
                        <a:lnTo>
                          <a:pt x="21652" y="1002"/>
                        </a:lnTo>
                        <a:lnTo>
                          <a:pt x="21657" y="1014"/>
                        </a:lnTo>
                        <a:lnTo>
                          <a:pt x="21652" y="1018"/>
                        </a:lnTo>
                        <a:lnTo>
                          <a:pt x="21614" y="1018"/>
                        </a:lnTo>
                        <a:lnTo>
                          <a:pt x="21614" y="1018"/>
                        </a:lnTo>
                        <a:lnTo>
                          <a:pt x="21614" y="1018"/>
                        </a:lnTo>
                        <a:close/>
                        <a:moveTo>
                          <a:pt x="22391" y="985"/>
                        </a:moveTo>
                        <a:lnTo>
                          <a:pt x="22408" y="1002"/>
                        </a:lnTo>
                        <a:lnTo>
                          <a:pt x="22396" y="1014"/>
                        </a:lnTo>
                        <a:lnTo>
                          <a:pt x="22424" y="1030"/>
                        </a:lnTo>
                        <a:lnTo>
                          <a:pt x="22450" y="1030"/>
                        </a:lnTo>
                        <a:lnTo>
                          <a:pt x="22439" y="1030"/>
                        </a:lnTo>
                        <a:lnTo>
                          <a:pt x="22450" y="1014"/>
                        </a:lnTo>
                        <a:lnTo>
                          <a:pt x="22521" y="1018"/>
                        </a:lnTo>
                        <a:lnTo>
                          <a:pt x="22538" y="1018"/>
                        </a:lnTo>
                        <a:lnTo>
                          <a:pt x="22531" y="1035"/>
                        </a:lnTo>
                        <a:lnTo>
                          <a:pt x="22538" y="1042"/>
                        </a:lnTo>
                        <a:lnTo>
                          <a:pt x="22590" y="1035"/>
                        </a:lnTo>
                        <a:lnTo>
                          <a:pt x="22644" y="1042"/>
                        </a:lnTo>
                        <a:lnTo>
                          <a:pt x="22665" y="1070"/>
                        </a:lnTo>
                        <a:lnTo>
                          <a:pt x="22698" y="1058"/>
                        </a:lnTo>
                        <a:lnTo>
                          <a:pt x="22682" y="1075"/>
                        </a:lnTo>
                        <a:lnTo>
                          <a:pt x="22677" y="1092"/>
                        </a:lnTo>
                        <a:lnTo>
                          <a:pt x="22613" y="1113"/>
                        </a:lnTo>
                        <a:lnTo>
                          <a:pt x="22514" y="1108"/>
                        </a:lnTo>
                        <a:lnTo>
                          <a:pt x="22358" y="1042"/>
                        </a:lnTo>
                        <a:lnTo>
                          <a:pt x="22387" y="997"/>
                        </a:lnTo>
                        <a:lnTo>
                          <a:pt x="22391" y="985"/>
                        </a:lnTo>
                        <a:lnTo>
                          <a:pt x="22391" y="985"/>
                        </a:lnTo>
                        <a:lnTo>
                          <a:pt x="22391" y="985"/>
                        </a:lnTo>
                        <a:close/>
                        <a:moveTo>
                          <a:pt x="17877" y="1002"/>
                        </a:moveTo>
                        <a:lnTo>
                          <a:pt x="17872" y="1014"/>
                        </a:lnTo>
                        <a:lnTo>
                          <a:pt x="17889" y="1030"/>
                        </a:lnTo>
                        <a:lnTo>
                          <a:pt x="17872" y="1030"/>
                        </a:lnTo>
                        <a:lnTo>
                          <a:pt x="17872" y="1051"/>
                        </a:lnTo>
                        <a:lnTo>
                          <a:pt x="17856" y="1042"/>
                        </a:lnTo>
                        <a:lnTo>
                          <a:pt x="17856" y="1035"/>
                        </a:lnTo>
                        <a:lnTo>
                          <a:pt x="17844" y="1035"/>
                        </a:lnTo>
                        <a:lnTo>
                          <a:pt x="17835" y="1030"/>
                        </a:lnTo>
                        <a:lnTo>
                          <a:pt x="17877" y="1002"/>
                        </a:lnTo>
                        <a:lnTo>
                          <a:pt x="17877" y="1002"/>
                        </a:lnTo>
                        <a:lnTo>
                          <a:pt x="17877" y="1002"/>
                        </a:lnTo>
                        <a:close/>
                        <a:moveTo>
                          <a:pt x="18217" y="1075"/>
                        </a:moveTo>
                        <a:lnTo>
                          <a:pt x="18222" y="1087"/>
                        </a:lnTo>
                        <a:lnTo>
                          <a:pt x="18196" y="1092"/>
                        </a:lnTo>
                        <a:lnTo>
                          <a:pt x="18201" y="1096"/>
                        </a:lnTo>
                        <a:lnTo>
                          <a:pt x="18163" y="1092"/>
                        </a:lnTo>
                        <a:lnTo>
                          <a:pt x="18217" y="1075"/>
                        </a:lnTo>
                        <a:lnTo>
                          <a:pt x="18217" y="1075"/>
                        </a:lnTo>
                        <a:lnTo>
                          <a:pt x="18217" y="1075"/>
                        </a:lnTo>
                        <a:close/>
                        <a:moveTo>
                          <a:pt x="18109" y="1108"/>
                        </a:moveTo>
                        <a:lnTo>
                          <a:pt x="18125" y="1113"/>
                        </a:lnTo>
                        <a:lnTo>
                          <a:pt x="18087" y="1113"/>
                        </a:lnTo>
                        <a:lnTo>
                          <a:pt x="18109" y="1108"/>
                        </a:lnTo>
                        <a:lnTo>
                          <a:pt x="18109" y="1108"/>
                        </a:lnTo>
                        <a:lnTo>
                          <a:pt x="18109" y="1108"/>
                        </a:lnTo>
                        <a:close/>
                        <a:moveTo>
                          <a:pt x="17672" y="1129"/>
                        </a:moveTo>
                        <a:lnTo>
                          <a:pt x="17700" y="1129"/>
                        </a:lnTo>
                        <a:lnTo>
                          <a:pt x="17693" y="1146"/>
                        </a:lnTo>
                        <a:lnTo>
                          <a:pt x="17672" y="1129"/>
                        </a:lnTo>
                        <a:lnTo>
                          <a:pt x="17672" y="1129"/>
                        </a:lnTo>
                        <a:lnTo>
                          <a:pt x="17672" y="1129"/>
                        </a:lnTo>
                        <a:close/>
                        <a:moveTo>
                          <a:pt x="18125" y="1141"/>
                        </a:moveTo>
                        <a:lnTo>
                          <a:pt x="18104" y="1153"/>
                        </a:lnTo>
                        <a:lnTo>
                          <a:pt x="18087" y="1146"/>
                        </a:lnTo>
                        <a:lnTo>
                          <a:pt x="18125" y="1141"/>
                        </a:lnTo>
                        <a:lnTo>
                          <a:pt x="18125" y="1141"/>
                        </a:lnTo>
                        <a:lnTo>
                          <a:pt x="18125" y="1141"/>
                        </a:lnTo>
                        <a:close/>
                        <a:moveTo>
                          <a:pt x="18142" y="1153"/>
                        </a:moveTo>
                        <a:lnTo>
                          <a:pt x="18125" y="1153"/>
                        </a:lnTo>
                        <a:lnTo>
                          <a:pt x="18130" y="1141"/>
                        </a:lnTo>
                        <a:lnTo>
                          <a:pt x="18163" y="1146"/>
                        </a:lnTo>
                        <a:lnTo>
                          <a:pt x="18142" y="1153"/>
                        </a:lnTo>
                        <a:lnTo>
                          <a:pt x="18142" y="1153"/>
                        </a:lnTo>
                        <a:lnTo>
                          <a:pt x="18142" y="1153"/>
                        </a:lnTo>
                        <a:close/>
                        <a:moveTo>
                          <a:pt x="20020" y="1207"/>
                        </a:moveTo>
                        <a:lnTo>
                          <a:pt x="19982" y="1203"/>
                        </a:lnTo>
                        <a:lnTo>
                          <a:pt x="19930" y="1170"/>
                        </a:lnTo>
                        <a:lnTo>
                          <a:pt x="19961" y="1170"/>
                        </a:lnTo>
                        <a:lnTo>
                          <a:pt x="19977" y="1141"/>
                        </a:lnTo>
                        <a:lnTo>
                          <a:pt x="20069" y="1162"/>
                        </a:lnTo>
                        <a:lnTo>
                          <a:pt x="20053" y="1186"/>
                        </a:lnTo>
                        <a:lnTo>
                          <a:pt x="20020" y="1207"/>
                        </a:lnTo>
                        <a:lnTo>
                          <a:pt x="20020" y="1207"/>
                        </a:lnTo>
                        <a:lnTo>
                          <a:pt x="20020" y="1207"/>
                        </a:lnTo>
                        <a:close/>
                        <a:moveTo>
                          <a:pt x="18054" y="1146"/>
                        </a:moveTo>
                        <a:lnTo>
                          <a:pt x="18071" y="1153"/>
                        </a:lnTo>
                        <a:lnTo>
                          <a:pt x="18050" y="1153"/>
                        </a:lnTo>
                        <a:lnTo>
                          <a:pt x="18054" y="1162"/>
                        </a:lnTo>
                        <a:lnTo>
                          <a:pt x="18033" y="1153"/>
                        </a:lnTo>
                        <a:lnTo>
                          <a:pt x="18054" y="1146"/>
                        </a:lnTo>
                        <a:lnTo>
                          <a:pt x="18054" y="1146"/>
                        </a:lnTo>
                        <a:lnTo>
                          <a:pt x="18054" y="1146"/>
                        </a:lnTo>
                        <a:close/>
                        <a:moveTo>
                          <a:pt x="20246" y="1179"/>
                        </a:moveTo>
                        <a:lnTo>
                          <a:pt x="20246" y="1162"/>
                        </a:lnTo>
                        <a:lnTo>
                          <a:pt x="20263" y="1179"/>
                        </a:lnTo>
                        <a:lnTo>
                          <a:pt x="20246" y="1179"/>
                        </a:lnTo>
                        <a:lnTo>
                          <a:pt x="20246" y="1179"/>
                        </a:lnTo>
                        <a:lnTo>
                          <a:pt x="20246" y="1179"/>
                        </a:lnTo>
                        <a:close/>
                        <a:moveTo>
                          <a:pt x="21964" y="1236"/>
                        </a:moveTo>
                        <a:lnTo>
                          <a:pt x="21942" y="1219"/>
                        </a:lnTo>
                        <a:lnTo>
                          <a:pt x="21942" y="1195"/>
                        </a:lnTo>
                        <a:lnTo>
                          <a:pt x="21980" y="1179"/>
                        </a:lnTo>
                        <a:lnTo>
                          <a:pt x="22013" y="1195"/>
                        </a:lnTo>
                        <a:lnTo>
                          <a:pt x="22009" y="1219"/>
                        </a:lnTo>
                        <a:lnTo>
                          <a:pt x="21964" y="1236"/>
                        </a:lnTo>
                        <a:lnTo>
                          <a:pt x="21964" y="1236"/>
                        </a:lnTo>
                        <a:lnTo>
                          <a:pt x="21964" y="1236"/>
                        </a:lnTo>
                        <a:close/>
                        <a:moveTo>
                          <a:pt x="21614" y="1186"/>
                        </a:moveTo>
                        <a:lnTo>
                          <a:pt x="21657" y="1207"/>
                        </a:lnTo>
                        <a:lnTo>
                          <a:pt x="21673" y="1224"/>
                        </a:lnTo>
                        <a:lnTo>
                          <a:pt x="21657" y="1236"/>
                        </a:lnTo>
                        <a:lnTo>
                          <a:pt x="21614" y="1195"/>
                        </a:lnTo>
                        <a:lnTo>
                          <a:pt x="21614" y="1186"/>
                        </a:lnTo>
                        <a:lnTo>
                          <a:pt x="21614" y="1186"/>
                        </a:lnTo>
                        <a:lnTo>
                          <a:pt x="21614" y="1186"/>
                        </a:lnTo>
                        <a:close/>
                        <a:moveTo>
                          <a:pt x="18125" y="1195"/>
                        </a:moveTo>
                        <a:lnTo>
                          <a:pt x="18109" y="1203"/>
                        </a:lnTo>
                        <a:lnTo>
                          <a:pt x="18116" y="1195"/>
                        </a:lnTo>
                        <a:lnTo>
                          <a:pt x="18104" y="1195"/>
                        </a:lnTo>
                        <a:lnTo>
                          <a:pt x="18125" y="1195"/>
                        </a:lnTo>
                        <a:lnTo>
                          <a:pt x="18125" y="1195"/>
                        </a:lnTo>
                        <a:lnTo>
                          <a:pt x="18125" y="1195"/>
                        </a:lnTo>
                        <a:close/>
                        <a:moveTo>
                          <a:pt x="17910" y="1195"/>
                        </a:moveTo>
                        <a:lnTo>
                          <a:pt x="17915" y="1203"/>
                        </a:lnTo>
                        <a:lnTo>
                          <a:pt x="17889" y="1203"/>
                        </a:lnTo>
                        <a:lnTo>
                          <a:pt x="17910" y="1195"/>
                        </a:lnTo>
                        <a:lnTo>
                          <a:pt x="17910" y="1195"/>
                        </a:lnTo>
                        <a:lnTo>
                          <a:pt x="17910" y="1195"/>
                        </a:lnTo>
                        <a:close/>
                        <a:moveTo>
                          <a:pt x="17927" y="1207"/>
                        </a:moveTo>
                        <a:lnTo>
                          <a:pt x="17948" y="1195"/>
                        </a:lnTo>
                        <a:lnTo>
                          <a:pt x="17979" y="1207"/>
                        </a:lnTo>
                        <a:lnTo>
                          <a:pt x="17927" y="1207"/>
                        </a:lnTo>
                        <a:lnTo>
                          <a:pt x="17927" y="1207"/>
                        </a:lnTo>
                        <a:lnTo>
                          <a:pt x="17927" y="1207"/>
                        </a:lnTo>
                        <a:close/>
                        <a:moveTo>
                          <a:pt x="18002" y="1219"/>
                        </a:moveTo>
                        <a:lnTo>
                          <a:pt x="18033" y="1207"/>
                        </a:lnTo>
                        <a:lnTo>
                          <a:pt x="18033" y="1224"/>
                        </a:lnTo>
                        <a:lnTo>
                          <a:pt x="18002" y="1219"/>
                        </a:lnTo>
                        <a:lnTo>
                          <a:pt x="18002" y="1219"/>
                        </a:lnTo>
                        <a:lnTo>
                          <a:pt x="18002" y="1219"/>
                        </a:lnTo>
                        <a:close/>
                        <a:moveTo>
                          <a:pt x="20846" y="1240"/>
                        </a:moveTo>
                        <a:lnTo>
                          <a:pt x="20830" y="1236"/>
                        </a:lnTo>
                        <a:lnTo>
                          <a:pt x="20858" y="1236"/>
                        </a:lnTo>
                        <a:lnTo>
                          <a:pt x="20846" y="1240"/>
                        </a:lnTo>
                        <a:lnTo>
                          <a:pt x="20846" y="1240"/>
                        </a:lnTo>
                        <a:lnTo>
                          <a:pt x="20846" y="1240"/>
                        </a:lnTo>
                        <a:close/>
                        <a:moveTo>
                          <a:pt x="22013" y="1236"/>
                        </a:moveTo>
                        <a:lnTo>
                          <a:pt x="22072" y="1236"/>
                        </a:lnTo>
                        <a:lnTo>
                          <a:pt x="22115" y="1240"/>
                        </a:lnTo>
                        <a:lnTo>
                          <a:pt x="22174" y="1290"/>
                        </a:lnTo>
                        <a:lnTo>
                          <a:pt x="22181" y="1297"/>
                        </a:lnTo>
                        <a:lnTo>
                          <a:pt x="22174" y="1307"/>
                        </a:lnTo>
                        <a:lnTo>
                          <a:pt x="22181" y="1330"/>
                        </a:lnTo>
                        <a:lnTo>
                          <a:pt x="22098" y="1318"/>
                        </a:lnTo>
                        <a:lnTo>
                          <a:pt x="21992" y="1297"/>
                        </a:lnTo>
                        <a:lnTo>
                          <a:pt x="21926" y="1314"/>
                        </a:lnTo>
                        <a:lnTo>
                          <a:pt x="21909" y="1307"/>
                        </a:lnTo>
                        <a:lnTo>
                          <a:pt x="21964" y="1290"/>
                        </a:lnTo>
                        <a:lnTo>
                          <a:pt x="22013" y="1236"/>
                        </a:lnTo>
                        <a:lnTo>
                          <a:pt x="22013" y="1236"/>
                        </a:lnTo>
                        <a:lnTo>
                          <a:pt x="22013" y="1236"/>
                        </a:lnTo>
                        <a:close/>
                        <a:moveTo>
                          <a:pt x="20776" y="1330"/>
                        </a:moveTo>
                        <a:lnTo>
                          <a:pt x="20754" y="1307"/>
                        </a:lnTo>
                        <a:lnTo>
                          <a:pt x="20754" y="1281"/>
                        </a:lnTo>
                        <a:lnTo>
                          <a:pt x="20771" y="1264"/>
                        </a:lnTo>
                        <a:lnTo>
                          <a:pt x="20809" y="1273"/>
                        </a:lnTo>
                        <a:lnTo>
                          <a:pt x="20804" y="1252"/>
                        </a:lnTo>
                        <a:lnTo>
                          <a:pt x="20820" y="1264"/>
                        </a:lnTo>
                        <a:lnTo>
                          <a:pt x="20842" y="1252"/>
                        </a:lnTo>
                        <a:lnTo>
                          <a:pt x="20880" y="1273"/>
                        </a:lnTo>
                        <a:lnTo>
                          <a:pt x="20896" y="1264"/>
                        </a:lnTo>
                        <a:lnTo>
                          <a:pt x="20901" y="1281"/>
                        </a:lnTo>
                        <a:lnTo>
                          <a:pt x="20927" y="1281"/>
                        </a:lnTo>
                        <a:lnTo>
                          <a:pt x="20917" y="1297"/>
                        </a:lnTo>
                        <a:lnTo>
                          <a:pt x="20917" y="1307"/>
                        </a:lnTo>
                        <a:lnTo>
                          <a:pt x="20972" y="1281"/>
                        </a:lnTo>
                        <a:lnTo>
                          <a:pt x="20981" y="1290"/>
                        </a:lnTo>
                        <a:lnTo>
                          <a:pt x="20965" y="1307"/>
                        </a:lnTo>
                        <a:lnTo>
                          <a:pt x="20988" y="1307"/>
                        </a:lnTo>
                        <a:lnTo>
                          <a:pt x="21002" y="1347"/>
                        </a:lnTo>
                        <a:lnTo>
                          <a:pt x="20972" y="1375"/>
                        </a:lnTo>
                        <a:lnTo>
                          <a:pt x="20981" y="1384"/>
                        </a:lnTo>
                        <a:lnTo>
                          <a:pt x="20972" y="1425"/>
                        </a:lnTo>
                        <a:lnTo>
                          <a:pt x="20981" y="1441"/>
                        </a:lnTo>
                        <a:lnTo>
                          <a:pt x="20965" y="1458"/>
                        </a:lnTo>
                        <a:lnTo>
                          <a:pt x="20863" y="1401"/>
                        </a:lnTo>
                        <a:lnTo>
                          <a:pt x="20700" y="1363"/>
                        </a:lnTo>
                        <a:lnTo>
                          <a:pt x="20717" y="1351"/>
                        </a:lnTo>
                        <a:lnTo>
                          <a:pt x="20754" y="1368"/>
                        </a:lnTo>
                        <a:lnTo>
                          <a:pt x="20766" y="1363"/>
                        </a:lnTo>
                        <a:lnTo>
                          <a:pt x="20771" y="1335"/>
                        </a:lnTo>
                        <a:lnTo>
                          <a:pt x="20787" y="1330"/>
                        </a:lnTo>
                        <a:lnTo>
                          <a:pt x="20776" y="1330"/>
                        </a:lnTo>
                        <a:lnTo>
                          <a:pt x="20776" y="1330"/>
                        </a:lnTo>
                        <a:lnTo>
                          <a:pt x="20776" y="1330"/>
                        </a:lnTo>
                        <a:close/>
                        <a:moveTo>
                          <a:pt x="18213" y="1264"/>
                        </a:moveTo>
                        <a:lnTo>
                          <a:pt x="18201" y="1273"/>
                        </a:lnTo>
                        <a:lnTo>
                          <a:pt x="18168" y="1273"/>
                        </a:lnTo>
                        <a:lnTo>
                          <a:pt x="18213" y="1264"/>
                        </a:lnTo>
                        <a:lnTo>
                          <a:pt x="18213" y="1264"/>
                        </a:lnTo>
                        <a:lnTo>
                          <a:pt x="18213" y="1264"/>
                        </a:lnTo>
                        <a:close/>
                        <a:moveTo>
                          <a:pt x="17747" y="1290"/>
                        </a:moveTo>
                        <a:lnTo>
                          <a:pt x="17731" y="1281"/>
                        </a:lnTo>
                        <a:lnTo>
                          <a:pt x="17752" y="1281"/>
                        </a:lnTo>
                        <a:lnTo>
                          <a:pt x="17747" y="1290"/>
                        </a:lnTo>
                        <a:lnTo>
                          <a:pt x="17747" y="1290"/>
                        </a:lnTo>
                        <a:lnTo>
                          <a:pt x="17747" y="1290"/>
                        </a:lnTo>
                        <a:close/>
                        <a:moveTo>
                          <a:pt x="17402" y="1297"/>
                        </a:moveTo>
                        <a:lnTo>
                          <a:pt x="17412" y="1281"/>
                        </a:lnTo>
                        <a:lnTo>
                          <a:pt x="17457" y="1281"/>
                        </a:lnTo>
                        <a:lnTo>
                          <a:pt x="17440" y="1297"/>
                        </a:lnTo>
                        <a:lnTo>
                          <a:pt x="17407" y="1297"/>
                        </a:lnTo>
                        <a:lnTo>
                          <a:pt x="17412" y="1290"/>
                        </a:lnTo>
                        <a:lnTo>
                          <a:pt x="17402" y="1297"/>
                        </a:lnTo>
                        <a:lnTo>
                          <a:pt x="17402" y="1297"/>
                        </a:lnTo>
                        <a:lnTo>
                          <a:pt x="17402" y="1297"/>
                        </a:lnTo>
                        <a:close/>
                        <a:moveTo>
                          <a:pt x="21002" y="1347"/>
                        </a:moveTo>
                        <a:lnTo>
                          <a:pt x="21002" y="1335"/>
                        </a:lnTo>
                        <a:lnTo>
                          <a:pt x="20993" y="1318"/>
                        </a:lnTo>
                        <a:lnTo>
                          <a:pt x="20993" y="1307"/>
                        </a:lnTo>
                        <a:lnTo>
                          <a:pt x="21002" y="1297"/>
                        </a:lnTo>
                        <a:lnTo>
                          <a:pt x="21009" y="1307"/>
                        </a:lnTo>
                        <a:lnTo>
                          <a:pt x="21019" y="1290"/>
                        </a:lnTo>
                        <a:lnTo>
                          <a:pt x="21009" y="1290"/>
                        </a:lnTo>
                        <a:lnTo>
                          <a:pt x="21026" y="1281"/>
                        </a:lnTo>
                        <a:lnTo>
                          <a:pt x="21090" y="1290"/>
                        </a:lnTo>
                        <a:lnTo>
                          <a:pt x="21094" y="1307"/>
                        </a:lnTo>
                        <a:lnTo>
                          <a:pt x="21116" y="1314"/>
                        </a:lnTo>
                        <a:lnTo>
                          <a:pt x="21111" y="1318"/>
                        </a:lnTo>
                        <a:lnTo>
                          <a:pt x="21154" y="1335"/>
                        </a:lnTo>
                        <a:lnTo>
                          <a:pt x="21149" y="1351"/>
                        </a:lnTo>
                        <a:lnTo>
                          <a:pt x="21170" y="1347"/>
                        </a:lnTo>
                        <a:lnTo>
                          <a:pt x="21154" y="1363"/>
                        </a:lnTo>
                        <a:lnTo>
                          <a:pt x="21111" y="1368"/>
                        </a:lnTo>
                        <a:lnTo>
                          <a:pt x="21111" y="1384"/>
                        </a:lnTo>
                        <a:lnTo>
                          <a:pt x="20993" y="1425"/>
                        </a:lnTo>
                        <a:lnTo>
                          <a:pt x="20988" y="1429"/>
                        </a:lnTo>
                        <a:lnTo>
                          <a:pt x="20993" y="1441"/>
                        </a:lnTo>
                        <a:lnTo>
                          <a:pt x="20972" y="1425"/>
                        </a:lnTo>
                        <a:lnTo>
                          <a:pt x="20981" y="1401"/>
                        </a:lnTo>
                        <a:lnTo>
                          <a:pt x="20988" y="1384"/>
                        </a:lnTo>
                        <a:lnTo>
                          <a:pt x="20981" y="1368"/>
                        </a:lnTo>
                        <a:lnTo>
                          <a:pt x="21002" y="1347"/>
                        </a:lnTo>
                        <a:lnTo>
                          <a:pt x="21002" y="1347"/>
                        </a:lnTo>
                        <a:lnTo>
                          <a:pt x="21002" y="1347"/>
                        </a:lnTo>
                        <a:close/>
                        <a:moveTo>
                          <a:pt x="17013" y="1351"/>
                        </a:moveTo>
                        <a:lnTo>
                          <a:pt x="17029" y="1330"/>
                        </a:lnTo>
                        <a:lnTo>
                          <a:pt x="17024" y="1307"/>
                        </a:lnTo>
                        <a:lnTo>
                          <a:pt x="17062" y="1290"/>
                        </a:lnTo>
                        <a:lnTo>
                          <a:pt x="17117" y="1297"/>
                        </a:lnTo>
                        <a:lnTo>
                          <a:pt x="17088" y="1318"/>
                        </a:lnTo>
                        <a:lnTo>
                          <a:pt x="17133" y="1314"/>
                        </a:lnTo>
                        <a:lnTo>
                          <a:pt x="17143" y="1330"/>
                        </a:lnTo>
                        <a:lnTo>
                          <a:pt x="17050" y="1351"/>
                        </a:lnTo>
                        <a:lnTo>
                          <a:pt x="17013" y="1351"/>
                        </a:lnTo>
                        <a:lnTo>
                          <a:pt x="17013" y="1351"/>
                        </a:lnTo>
                        <a:lnTo>
                          <a:pt x="17013" y="1351"/>
                        </a:lnTo>
                        <a:close/>
                        <a:moveTo>
                          <a:pt x="16134" y="1684"/>
                        </a:moveTo>
                        <a:lnTo>
                          <a:pt x="16089" y="1680"/>
                        </a:lnTo>
                        <a:lnTo>
                          <a:pt x="16080" y="1668"/>
                        </a:lnTo>
                        <a:lnTo>
                          <a:pt x="16080" y="1663"/>
                        </a:lnTo>
                        <a:lnTo>
                          <a:pt x="16058" y="1668"/>
                        </a:lnTo>
                        <a:lnTo>
                          <a:pt x="16075" y="1668"/>
                        </a:lnTo>
                        <a:lnTo>
                          <a:pt x="16089" y="1684"/>
                        </a:lnTo>
                        <a:lnTo>
                          <a:pt x="16075" y="1684"/>
                        </a:lnTo>
                        <a:lnTo>
                          <a:pt x="16063" y="1684"/>
                        </a:lnTo>
                        <a:lnTo>
                          <a:pt x="16080" y="1684"/>
                        </a:lnTo>
                        <a:lnTo>
                          <a:pt x="16037" y="1668"/>
                        </a:lnTo>
                        <a:lnTo>
                          <a:pt x="16047" y="1684"/>
                        </a:lnTo>
                        <a:lnTo>
                          <a:pt x="16037" y="1684"/>
                        </a:lnTo>
                        <a:lnTo>
                          <a:pt x="16021" y="1680"/>
                        </a:lnTo>
                        <a:lnTo>
                          <a:pt x="16025" y="1668"/>
                        </a:lnTo>
                        <a:lnTo>
                          <a:pt x="16004" y="1663"/>
                        </a:lnTo>
                        <a:lnTo>
                          <a:pt x="15983" y="1684"/>
                        </a:lnTo>
                        <a:lnTo>
                          <a:pt x="15938" y="1656"/>
                        </a:lnTo>
                        <a:lnTo>
                          <a:pt x="15933" y="1663"/>
                        </a:lnTo>
                        <a:lnTo>
                          <a:pt x="15954" y="1668"/>
                        </a:lnTo>
                        <a:lnTo>
                          <a:pt x="15928" y="1656"/>
                        </a:lnTo>
                        <a:lnTo>
                          <a:pt x="15862" y="1656"/>
                        </a:lnTo>
                        <a:lnTo>
                          <a:pt x="15858" y="1647"/>
                        </a:lnTo>
                        <a:lnTo>
                          <a:pt x="15879" y="1647"/>
                        </a:lnTo>
                        <a:lnTo>
                          <a:pt x="15886" y="1640"/>
                        </a:lnTo>
                        <a:lnTo>
                          <a:pt x="15862" y="1614"/>
                        </a:lnTo>
                        <a:lnTo>
                          <a:pt x="15917" y="1607"/>
                        </a:lnTo>
                        <a:lnTo>
                          <a:pt x="15862" y="1602"/>
                        </a:lnTo>
                        <a:lnTo>
                          <a:pt x="15862" y="1590"/>
                        </a:lnTo>
                        <a:lnTo>
                          <a:pt x="15879" y="1573"/>
                        </a:lnTo>
                        <a:lnTo>
                          <a:pt x="15895" y="1569"/>
                        </a:lnTo>
                        <a:lnTo>
                          <a:pt x="15862" y="1590"/>
                        </a:lnTo>
                        <a:lnTo>
                          <a:pt x="15848" y="1569"/>
                        </a:lnTo>
                        <a:lnTo>
                          <a:pt x="15862" y="1557"/>
                        </a:lnTo>
                        <a:lnTo>
                          <a:pt x="15858" y="1552"/>
                        </a:lnTo>
                        <a:lnTo>
                          <a:pt x="15824" y="1573"/>
                        </a:lnTo>
                        <a:lnTo>
                          <a:pt x="15803" y="1557"/>
                        </a:lnTo>
                        <a:lnTo>
                          <a:pt x="15803" y="1552"/>
                        </a:lnTo>
                        <a:lnTo>
                          <a:pt x="15787" y="1569"/>
                        </a:lnTo>
                        <a:lnTo>
                          <a:pt x="15777" y="1552"/>
                        </a:lnTo>
                        <a:lnTo>
                          <a:pt x="15772" y="1557"/>
                        </a:lnTo>
                        <a:lnTo>
                          <a:pt x="15777" y="1557"/>
                        </a:lnTo>
                        <a:lnTo>
                          <a:pt x="15749" y="1569"/>
                        </a:lnTo>
                        <a:lnTo>
                          <a:pt x="15735" y="1552"/>
                        </a:lnTo>
                        <a:lnTo>
                          <a:pt x="15718" y="1512"/>
                        </a:lnTo>
                        <a:lnTo>
                          <a:pt x="15735" y="1491"/>
                        </a:lnTo>
                        <a:lnTo>
                          <a:pt x="15749" y="1474"/>
                        </a:lnTo>
                        <a:lnTo>
                          <a:pt x="15787" y="1491"/>
                        </a:lnTo>
                        <a:lnTo>
                          <a:pt x="15787" y="1462"/>
                        </a:lnTo>
                        <a:lnTo>
                          <a:pt x="15820" y="1446"/>
                        </a:lnTo>
                        <a:lnTo>
                          <a:pt x="15810" y="1429"/>
                        </a:lnTo>
                        <a:lnTo>
                          <a:pt x="15841" y="1418"/>
                        </a:lnTo>
                        <a:lnTo>
                          <a:pt x="15810" y="1418"/>
                        </a:lnTo>
                        <a:lnTo>
                          <a:pt x="15820" y="1408"/>
                        </a:lnTo>
                        <a:lnTo>
                          <a:pt x="15848" y="1408"/>
                        </a:lnTo>
                        <a:lnTo>
                          <a:pt x="15787" y="1392"/>
                        </a:lnTo>
                        <a:lnTo>
                          <a:pt x="15832" y="1368"/>
                        </a:lnTo>
                        <a:lnTo>
                          <a:pt x="15858" y="1375"/>
                        </a:lnTo>
                        <a:lnTo>
                          <a:pt x="15841" y="1363"/>
                        </a:lnTo>
                        <a:lnTo>
                          <a:pt x="15858" y="1363"/>
                        </a:lnTo>
                        <a:lnTo>
                          <a:pt x="15841" y="1347"/>
                        </a:lnTo>
                        <a:lnTo>
                          <a:pt x="15858" y="1330"/>
                        </a:lnTo>
                        <a:lnTo>
                          <a:pt x="15886" y="1314"/>
                        </a:lnTo>
                        <a:lnTo>
                          <a:pt x="15917" y="1318"/>
                        </a:lnTo>
                        <a:lnTo>
                          <a:pt x="15966" y="1297"/>
                        </a:lnTo>
                        <a:lnTo>
                          <a:pt x="16075" y="1330"/>
                        </a:lnTo>
                        <a:lnTo>
                          <a:pt x="16080" y="1335"/>
                        </a:lnTo>
                        <a:lnTo>
                          <a:pt x="16025" y="1351"/>
                        </a:lnTo>
                        <a:lnTo>
                          <a:pt x="16075" y="1351"/>
                        </a:lnTo>
                        <a:lnTo>
                          <a:pt x="16063" y="1363"/>
                        </a:lnTo>
                        <a:lnTo>
                          <a:pt x="16021" y="1363"/>
                        </a:lnTo>
                        <a:lnTo>
                          <a:pt x="16058" y="1363"/>
                        </a:lnTo>
                        <a:lnTo>
                          <a:pt x="16047" y="1384"/>
                        </a:lnTo>
                        <a:lnTo>
                          <a:pt x="16004" y="1384"/>
                        </a:lnTo>
                        <a:lnTo>
                          <a:pt x="16042" y="1401"/>
                        </a:lnTo>
                        <a:lnTo>
                          <a:pt x="16025" y="1408"/>
                        </a:lnTo>
                        <a:lnTo>
                          <a:pt x="16021" y="1425"/>
                        </a:lnTo>
                        <a:lnTo>
                          <a:pt x="15987" y="1418"/>
                        </a:lnTo>
                        <a:lnTo>
                          <a:pt x="16009" y="1425"/>
                        </a:lnTo>
                        <a:lnTo>
                          <a:pt x="15983" y="1429"/>
                        </a:lnTo>
                        <a:lnTo>
                          <a:pt x="16004" y="1429"/>
                        </a:lnTo>
                        <a:lnTo>
                          <a:pt x="16004" y="1458"/>
                        </a:lnTo>
                        <a:lnTo>
                          <a:pt x="16009" y="1474"/>
                        </a:lnTo>
                        <a:lnTo>
                          <a:pt x="15987" y="1503"/>
                        </a:lnTo>
                        <a:lnTo>
                          <a:pt x="16009" y="1512"/>
                        </a:lnTo>
                        <a:lnTo>
                          <a:pt x="16021" y="1545"/>
                        </a:lnTo>
                        <a:lnTo>
                          <a:pt x="16058" y="1602"/>
                        </a:lnTo>
                        <a:lnTo>
                          <a:pt x="16117" y="1647"/>
                        </a:lnTo>
                        <a:lnTo>
                          <a:pt x="16155" y="1663"/>
                        </a:lnTo>
                        <a:lnTo>
                          <a:pt x="16143" y="1680"/>
                        </a:lnTo>
                        <a:lnTo>
                          <a:pt x="16096" y="1668"/>
                        </a:lnTo>
                        <a:lnTo>
                          <a:pt x="16134" y="1684"/>
                        </a:lnTo>
                        <a:lnTo>
                          <a:pt x="16134" y="1684"/>
                        </a:lnTo>
                        <a:lnTo>
                          <a:pt x="16134" y="1684"/>
                        </a:lnTo>
                        <a:close/>
                        <a:moveTo>
                          <a:pt x="17105" y="1314"/>
                        </a:moveTo>
                        <a:lnTo>
                          <a:pt x="17121" y="1307"/>
                        </a:lnTo>
                        <a:lnTo>
                          <a:pt x="17105" y="1318"/>
                        </a:lnTo>
                        <a:lnTo>
                          <a:pt x="17105" y="1314"/>
                        </a:lnTo>
                        <a:lnTo>
                          <a:pt x="17105" y="1314"/>
                        </a:lnTo>
                        <a:lnTo>
                          <a:pt x="17105" y="1314"/>
                        </a:lnTo>
                        <a:close/>
                        <a:moveTo>
                          <a:pt x="17461" y="1335"/>
                        </a:moveTo>
                        <a:lnTo>
                          <a:pt x="17457" y="1330"/>
                        </a:lnTo>
                        <a:lnTo>
                          <a:pt x="17499" y="1335"/>
                        </a:lnTo>
                        <a:lnTo>
                          <a:pt x="17461" y="1335"/>
                        </a:lnTo>
                        <a:lnTo>
                          <a:pt x="17461" y="1335"/>
                        </a:lnTo>
                        <a:lnTo>
                          <a:pt x="17461" y="1335"/>
                        </a:lnTo>
                        <a:close/>
                        <a:moveTo>
                          <a:pt x="20535" y="1351"/>
                        </a:moveTo>
                        <a:lnTo>
                          <a:pt x="20506" y="1347"/>
                        </a:lnTo>
                        <a:lnTo>
                          <a:pt x="20523" y="1335"/>
                        </a:lnTo>
                        <a:lnTo>
                          <a:pt x="20549" y="1347"/>
                        </a:lnTo>
                        <a:lnTo>
                          <a:pt x="20535" y="1351"/>
                        </a:lnTo>
                        <a:lnTo>
                          <a:pt x="20535" y="1351"/>
                        </a:lnTo>
                        <a:lnTo>
                          <a:pt x="20535" y="1351"/>
                        </a:lnTo>
                        <a:close/>
                        <a:moveTo>
                          <a:pt x="17315" y="1351"/>
                        </a:moveTo>
                        <a:lnTo>
                          <a:pt x="17336" y="1335"/>
                        </a:lnTo>
                        <a:lnTo>
                          <a:pt x="17369" y="1351"/>
                        </a:lnTo>
                        <a:lnTo>
                          <a:pt x="17353" y="1347"/>
                        </a:lnTo>
                        <a:lnTo>
                          <a:pt x="17353" y="1375"/>
                        </a:lnTo>
                        <a:lnTo>
                          <a:pt x="17315" y="1351"/>
                        </a:lnTo>
                        <a:lnTo>
                          <a:pt x="17315" y="1351"/>
                        </a:lnTo>
                        <a:lnTo>
                          <a:pt x="17315" y="1351"/>
                        </a:lnTo>
                        <a:close/>
                        <a:moveTo>
                          <a:pt x="17629" y="1368"/>
                        </a:moveTo>
                        <a:lnTo>
                          <a:pt x="17672" y="1347"/>
                        </a:lnTo>
                        <a:lnTo>
                          <a:pt x="17693" y="1368"/>
                        </a:lnTo>
                        <a:lnTo>
                          <a:pt x="17693" y="1392"/>
                        </a:lnTo>
                        <a:lnTo>
                          <a:pt x="17683" y="1401"/>
                        </a:lnTo>
                        <a:lnTo>
                          <a:pt x="17629" y="1384"/>
                        </a:lnTo>
                        <a:lnTo>
                          <a:pt x="17629" y="1368"/>
                        </a:lnTo>
                        <a:lnTo>
                          <a:pt x="17629" y="1368"/>
                        </a:lnTo>
                        <a:lnTo>
                          <a:pt x="17629" y="1368"/>
                        </a:lnTo>
                        <a:close/>
                        <a:moveTo>
                          <a:pt x="20695" y="1368"/>
                        </a:moveTo>
                        <a:lnTo>
                          <a:pt x="20787" y="1392"/>
                        </a:lnTo>
                        <a:lnTo>
                          <a:pt x="20724" y="1384"/>
                        </a:lnTo>
                        <a:lnTo>
                          <a:pt x="20695" y="1368"/>
                        </a:lnTo>
                        <a:lnTo>
                          <a:pt x="20695" y="1368"/>
                        </a:lnTo>
                        <a:lnTo>
                          <a:pt x="20695" y="1368"/>
                        </a:lnTo>
                        <a:close/>
                        <a:moveTo>
                          <a:pt x="21170" y="1384"/>
                        </a:moveTo>
                        <a:lnTo>
                          <a:pt x="21111" y="1375"/>
                        </a:lnTo>
                        <a:lnTo>
                          <a:pt x="21149" y="1375"/>
                        </a:lnTo>
                        <a:lnTo>
                          <a:pt x="21182" y="1384"/>
                        </a:lnTo>
                        <a:lnTo>
                          <a:pt x="21170" y="1384"/>
                        </a:lnTo>
                        <a:lnTo>
                          <a:pt x="21170" y="1384"/>
                        </a:lnTo>
                        <a:lnTo>
                          <a:pt x="21170" y="1384"/>
                        </a:lnTo>
                        <a:close/>
                        <a:moveTo>
                          <a:pt x="21040" y="1408"/>
                        </a:moveTo>
                        <a:lnTo>
                          <a:pt x="21111" y="1384"/>
                        </a:lnTo>
                        <a:lnTo>
                          <a:pt x="21187" y="1401"/>
                        </a:lnTo>
                        <a:lnTo>
                          <a:pt x="21040" y="1408"/>
                        </a:lnTo>
                        <a:lnTo>
                          <a:pt x="21040" y="1408"/>
                        </a:lnTo>
                        <a:lnTo>
                          <a:pt x="21040" y="1408"/>
                        </a:lnTo>
                        <a:close/>
                        <a:moveTo>
                          <a:pt x="17223" y="1401"/>
                        </a:moveTo>
                        <a:lnTo>
                          <a:pt x="17239" y="1401"/>
                        </a:lnTo>
                        <a:lnTo>
                          <a:pt x="17239" y="1408"/>
                        </a:lnTo>
                        <a:lnTo>
                          <a:pt x="17223" y="1401"/>
                        </a:lnTo>
                        <a:lnTo>
                          <a:pt x="17223" y="1401"/>
                        </a:lnTo>
                        <a:lnTo>
                          <a:pt x="17223" y="1401"/>
                        </a:lnTo>
                        <a:close/>
                        <a:moveTo>
                          <a:pt x="21102" y="1408"/>
                        </a:moveTo>
                        <a:lnTo>
                          <a:pt x="21144" y="1401"/>
                        </a:lnTo>
                        <a:lnTo>
                          <a:pt x="21154" y="1418"/>
                        </a:lnTo>
                        <a:lnTo>
                          <a:pt x="21144" y="1425"/>
                        </a:lnTo>
                        <a:lnTo>
                          <a:pt x="21102" y="1408"/>
                        </a:lnTo>
                        <a:lnTo>
                          <a:pt x="21102" y="1408"/>
                        </a:lnTo>
                        <a:lnTo>
                          <a:pt x="21102" y="1408"/>
                        </a:lnTo>
                        <a:close/>
                        <a:moveTo>
                          <a:pt x="21002" y="1429"/>
                        </a:moveTo>
                        <a:lnTo>
                          <a:pt x="21002" y="1425"/>
                        </a:lnTo>
                        <a:lnTo>
                          <a:pt x="21078" y="1408"/>
                        </a:lnTo>
                        <a:lnTo>
                          <a:pt x="21144" y="1429"/>
                        </a:lnTo>
                        <a:lnTo>
                          <a:pt x="21182" y="1429"/>
                        </a:lnTo>
                        <a:lnTo>
                          <a:pt x="21198" y="1446"/>
                        </a:lnTo>
                        <a:lnTo>
                          <a:pt x="21187" y="1458"/>
                        </a:lnTo>
                        <a:lnTo>
                          <a:pt x="21203" y="1462"/>
                        </a:lnTo>
                        <a:lnTo>
                          <a:pt x="21182" y="1474"/>
                        </a:lnTo>
                        <a:lnTo>
                          <a:pt x="21198" y="1479"/>
                        </a:lnTo>
                        <a:lnTo>
                          <a:pt x="21187" y="1479"/>
                        </a:lnTo>
                        <a:lnTo>
                          <a:pt x="21149" y="1491"/>
                        </a:lnTo>
                        <a:lnTo>
                          <a:pt x="21064" y="1429"/>
                        </a:lnTo>
                        <a:lnTo>
                          <a:pt x="21002" y="1429"/>
                        </a:lnTo>
                        <a:lnTo>
                          <a:pt x="21002" y="1429"/>
                        </a:lnTo>
                        <a:lnTo>
                          <a:pt x="21002" y="1429"/>
                        </a:lnTo>
                        <a:close/>
                        <a:moveTo>
                          <a:pt x="17511" y="1446"/>
                        </a:moveTo>
                        <a:lnTo>
                          <a:pt x="17563" y="1408"/>
                        </a:lnTo>
                        <a:lnTo>
                          <a:pt x="17617" y="1425"/>
                        </a:lnTo>
                        <a:lnTo>
                          <a:pt x="17570" y="1458"/>
                        </a:lnTo>
                        <a:lnTo>
                          <a:pt x="17520" y="1458"/>
                        </a:lnTo>
                        <a:lnTo>
                          <a:pt x="17511" y="1446"/>
                        </a:lnTo>
                        <a:lnTo>
                          <a:pt x="17511" y="1446"/>
                        </a:lnTo>
                        <a:lnTo>
                          <a:pt x="17511" y="1446"/>
                        </a:lnTo>
                        <a:close/>
                        <a:moveTo>
                          <a:pt x="21791" y="1557"/>
                        </a:moveTo>
                        <a:lnTo>
                          <a:pt x="21775" y="1573"/>
                        </a:lnTo>
                        <a:lnTo>
                          <a:pt x="21720" y="1557"/>
                        </a:lnTo>
                        <a:lnTo>
                          <a:pt x="21775" y="1552"/>
                        </a:lnTo>
                        <a:lnTo>
                          <a:pt x="21791" y="1557"/>
                        </a:lnTo>
                        <a:lnTo>
                          <a:pt x="21791" y="1557"/>
                        </a:lnTo>
                        <a:lnTo>
                          <a:pt x="21791" y="1557"/>
                        </a:lnTo>
                        <a:close/>
                        <a:moveTo>
                          <a:pt x="15832" y="1630"/>
                        </a:moveTo>
                        <a:lnTo>
                          <a:pt x="15810" y="1602"/>
                        </a:lnTo>
                        <a:lnTo>
                          <a:pt x="15777" y="1585"/>
                        </a:lnTo>
                        <a:lnTo>
                          <a:pt x="15810" y="1573"/>
                        </a:lnTo>
                        <a:lnTo>
                          <a:pt x="15832" y="1590"/>
                        </a:lnTo>
                        <a:lnTo>
                          <a:pt x="15810" y="1573"/>
                        </a:lnTo>
                        <a:lnTo>
                          <a:pt x="15820" y="1590"/>
                        </a:lnTo>
                        <a:lnTo>
                          <a:pt x="15848" y="1590"/>
                        </a:lnTo>
                        <a:lnTo>
                          <a:pt x="15848" y="1607"/>
                        </a:lnTo>
                        <a:lnTo>
                          <a:pt x="15832" y="1614"/>
                        </a:lnTo>
                        <a:lnTo>
                          <a:pt x="15841" y="1630"/>
                        </a:lnTo>
                        <a:lnTo>
                          <a:pt x="15832" y="1630"/>
                        </a:lnTo>
                        <a:lnTo>
                          <a:pt x="15832" y="1630"/>
                        </a:lnTo>
                        <a:lnTo>
                          <a:pt x="15832" y="1630"/>
                        </a:lnTo>
                        <a:close/>
                        <a:moveTo>
                          <a:pt x="15848" y="1585"/>
                        </a:moveTo>
                        <a:lnTo>
                          <a:pt x="15841" y="1585"/>
                        </a:lnTo>
                        <a:lnTo>
                          <a:pt x="15858" y="1590"/>
                        </a:lnTo>
                        <a:lnTo>
                          <a:pt x="15848" y="1585"/>
                        </a:lnTo>
                        <a:lnTo>
                          <a:pt x="15848" y="1585"/>
                        </a:lnTo>
                        <a:lnTo>
                          <a:pt x="15848" y="1585"/>
                        </a:lnTo>
                        <a:close/>
                        <a:moveTo>
                          <a:pt x="23383" y="1656"/>
                        </a:moveTo>
                        <a:lnTo>
                          <a:pt x="23374" y="1647"/>
                        </a:lnTo>
                        <a:lnTo>
                          <a:pt x="23362" y="1640"/>
                        </a:lnTo>
                        <a:lnTo>
                          <a:pt x="23383" y="1656"/>
                        </a:lnTo>
                        <a:lnTo>
                          <a:pt x="23383" y="1656"/>
                        </a:lnTo>
                        <a:lnTo>
                          <a:pt x="23383" y="1656"/>
                        </a:lnTo>
                        <a:close/>
                        <a:moveTo>
                          <a:pt x="17941" y="1701"/>
                        </a:moveTo>
                        <a:lnTo>
                          <a:pt x="17948" y="1656"/>
                        </a:lnTo>
                        <a:lnTo>
                          <a:pt x="17953" y="1647"/>
                        </a:lnTo>
                        <a:lnTo>
                          <a:pt x="17969" y="1663"/>
                        </a:lnTo>
                        <a:lnTo>
                          <a:pt x="17953" y="1668"/>
                        </a:lnTo>
                        <a:lnTo>
                          <a:pt x="17953" y="1696"/>
                        </a:lnTo>
                        <a:lnTo>
                          <a:pt x="17941" y="1701"/>
                        </a:lnTo>
                        <a:lnTo>
                          <a:pt x="17941" y="1701"/>
                        </a:lnTo>
                        <a:lnTo>
                          <a:pt x="17941" y="1701"/>
                        </a:lnTo>
                        <a:close/>
                        <a:moveTo>
                          <a:pt x="16117" y="1696"/>
                        </a:moveTo>
                        <a:lnTo>
                          <a:pt x="16101" y="1680"/>
                        </a:lnTo>
                        <a:lnTo>
                          <a:pt x="16127" y="1684"/>
                        </a:lnTo>
                        <a:lnTo>
                          <a:pt x="16117" y="1696"/>
                        </a:lnTo>
                        <a:lnTo>
                          <a:pt x="16117" y="1696"/>
                        </a:lnTo>
                        <a:lnTo>
                          <a:pt x="16117" y="1696"/>
                        </a:lnTo>
                        <a:close/>
                        <a:moveTo>
                          <a:pt x="17979" y="1701"/>
                        </a:moveTo>
                        <a:lnTo>
                          <a:pt x="17965" y="1713"/>
                        </a:lnTo>
                        <a:lnTo>
                          <a:pt x="17979" y="1684"/>
                        </a:lnTo>
                        <a:lnTo>
                          <a:pt x="17979" y="1696"/>
                        </a:lnTo>
                        <a:lnTo>
                          <a:pt x="17979" y="1701"/>
                        </a:lnTo>
                        <a:lnTo>
                          <a:pt x="17979" y="1701"/>
                        </a:lnTo>
                        <a:lnTo>
                          <a:pt x="17979" y="1701"/>
                        </a:lnTo>
                        <a:close/>
                        <a:moveTo>
                          <a:pt x="16316" y="1795"/>
                        </a:moveTo>
                        <a:lnTo>
                          <a:pt x="16295" y="1795"/>
                        </a:lnTo>
                        <a:lnTo>
                          <a:pt x="16290" y="1791"/>
                        </a:lnTo>
                        <a:lnTo>
                          <a:pt x="16295" y="1779"/>
                        </a:lnTo>
                        <a:lnTo>
                          <a:pt x="16278" y="1774"/>
                        </a:lnTo>
                        <a:lnTo>
                          <a:pt x="16252" y="1767"/>
                        </a:lnTo>
                        <a:lnTo>
                          <a:pt x="16264" y="1774"/>
                        </a:lnTo>
                        <a:lnTo>
                          <a:pt x="16257" y="1774"/>
                        </a:lnTo>
                        <a:lnTo>
                          <a:pt x="16226" y="1751"/>
                        </a:lnTo>
                        <a:lnTo>
                          <a:pt x="16226" y="1734"/>
                        </a:lnTo>
                        <a:lnTo>
                          <a:pt x="16209" y="1722"/>
                        </a:lnTo>
                        <a:lnTo>
                          <a:pt x="16240" y="1734"/>
                        </a:lnTo>
                        <a:lnTo>
                          <a:pt x="16226" y="1718"/>
                        </a:lnTo>
                        <a:lnTo>
                          <a:pt x="16257" y="1696"/>
                        </a:lnTo>
                        <a:lnTo>
                          <a:pt x="16349" y="1767"/>
                        </a:lnTo>
                        <a:lnTo>
                          <a:pt x="16361" y="1779"/>
                        </a:lnTo>
                        <a:lnTo>
                          <a:pt x="16316" y="1795"/>
                        </a:lnTo>
                        <a:lnTo>
                          <a:pt x="16316" y="1795"/>
                        </a:lnTo>
                        <a:lnTo>
                          <a:pt x="16316" y="1795"/>
                        </a:lnTo>
                        <a:close/>
                        <a:moveTo>
                          <a:pt x="17927" y="1734"/>
                        </a:moveTo>
                        <a:lnTo>
                          <a:pt x="17932" y="1722"/>
                        </a:lnTo>
                        <a:lnTo>
                          <a:pt x="17948" y="1739"/>
                        </a:lnTo>
                        <a:lnTo>
                          <a:pt x="17927" y="1734"/>
                        </a:lnTo>
                        <a:lnTo>
                          <a:pt x="17927" y="1734"/>
                        </a:lnTo>
                        <a:lnTo>
                          <a:pt x="17927" y="1734"/>
                        </a:lnTo>
                        <a:close/>
                        <a:moveTo>
                          <a:pt x="23995" y="1791"/>
                        </a:moveTo>
                        <a:lnTo>
                          <a:pt x="23988" y="1791"/>
                        </a:lnTo>
                        <a:lnTo>
                          <a:pt x="23988" y="1807"/>
                        </a:lnTo>
                        <a:lnTo>
                          <a:pt x="23979" y="1812"/>
                        </a:lnTo>
                        <a:lnTo>
                          <a:pt x="23957" y="1812"/>
                        </a:lnTo>
                        <a:lnTo>
                          <a:pt x="23882" y="1779"/>
                        </a:lnTo>
                        <a:lnTo>
                          <a:pt x="23920" y="1758"/>
                        </a:lnTo>
                        <a:lnTo>
                          <a:pt x="23995" y="1774"/>
                        </a:lnTo>
                        <a:lnTo>
                          <a:pt x="23995" y="1791"/>
                        </a:lnTo>
                        <a:lnTo>
                          <a:pt x="23995" y="1791"/>
                        </a:lnTo>
                        <a:lnTo>
                          <a:pt x="23995" y="1791"/>
                        </a:lnTo>
                        <a:close/>
                        <a:moveTo>
                          <a:pt x="24050" y="1795"/>
                        </a:moveTo>
                        <a:lnTo>
                          <a:pt x="24033" y="1791"/>
                        </a:lnTo>
                        <a:lnTo>
                          <a:pt x="24050" y="1779"/>
                        </a:lnTo>
                        <a:lnTo>
                          <a:pt x="24050" y="1795"/>
                        </a:lnTo>
                        <a:lnTo>
                          <a:pt x="24050" y="1795"/>
                        </a:lnTo>
                        <a:lnTo>
                          <a:pt x="24050" y="1795"/>
                        </a:lnTo>
                        <a:close/>
                        <a:moveTo>
                          <a:pt x="23433" y="1833"/>
                        </a:moveTo>
                        <a:lnTo>
                          <a:pt x="23433" y="1812"/>
                        </a:lnTo>
                        <a:lnTo>
                          <a:pt x="23450" y="1812"/>
                        </a:lnTo>
                        <a:lnTo>
                          <a:pt x="23450" y="1829"/>
                        </a:lnTo>
                        <a:lnTo>
                          <a:pt x="23433" y="1833"/>
                        </a:lnTo>
                        <a:lnTo>
                          <a:pt x="23433" y="1833"/>
                        </a:lnTo>
                        <a:lnTo>
                          <a:pt x="23433" y="1833"/>
                        </a:lnTo>
                        <a:close/>
                        <a:moveTo>
                          <a:pt x="16814" y="1824"/>
                        </a:moveTo>
                        <a:lnTo>
                          <a:pt x="16835" y="1812"/>
                        </a:lnTo>
                        <a:lnTo>
                          <a:pt x="16831" y="1829"/>
                        </a:lnTo>
                        <a:lnTo>
                          <a:pt x="16814" y="1824"/>
                        </a:lnTo>
                        <a:lnTo>
                          <a:pt x="16814" y="1824"/>
                        </a:lnTo>
                        <a:lnTo>
                          <a:pt x="16814" y="1824"/>
                        </a:lnTo>
                        <a:close/>
                        <a:moveTo>
                          <a:pt x="23433" y="1902"/>
                        </a:moveTo>
                        <a:lnTo>
                          <a:pt x="23438" y="1885"/>
                        </a:lnTo>
                        <a:lnTo>
                          <a:pt x="23416" y="1878"/>
                        </a:lnTo>
                        <a:lnTo>
                          <a:pt x="23416" y="1845"/>
                        </a:lnTo>
                        <a:lnTo>
                          <a:pt x="23412" y="1833"/>
                        </a:lnTo>
                        <a:lnTo>
                          <a:pt x="23416" y="1829"/>
                        </a:lnTo>
                        <a:lnTo>
                          <a:pt x="23433" y="1824"/>
                        </a:lnTo>
                        <a:lnTo>
                          <a:pt x="23428" y="1829"/>
                        </a:lnTo>
                        <a:lnTo>
                          <a:pt x="23433" y="1833"/>
                        </a:lnTo>
                        <a:lnTo>
                          <a:pt x="23433" y="1850"/>
                        </a:lnTo>
                        <a:lnTo>
                          <a:pt x="23438" y="1890"/>
                        </a:lnTo>
                        <a:lnTo>
                          <a:pt x="23433" y="1902"/>
                        </a:lnTo>
                        <a:lnTo>
                          <a:pt x="23433" y="1902"/>
                        </a:lnTo>
                        <a:lnTo>
                          <a:pt x="23433" y="1902"/>
                        </a:lnTo>
                        <a:close/>
                        <a:moveTo>
                          <a:pt x="15496" y="1878"/>
                        </a:moveTo>
                        <a:lnTo>
                          <a:pt x="15508" y="1845"/>
                        </a:lnTo>
                        <a:lnTo>
                          <a:pt x="15555" y="1824"/>
                        </a:lnTo>
                        <a:lnTo>
                          <a:pt x="15631" y="1850"/>
                        </a:lnTo>
                        <a:lnTo>
                          <a:pt x="15647" y="1866"/>
                        </a:lnTo>
                        <a:lnTo>
                          <a:pt x="15631" y="1885"/>
                        </a:lnTo>
                        <a:lnTo>
                          <a:pt x="15643" y="1866"/>
                        </a:lnTo>
                        <a:lnTo>
                          <a:pt x="15631" y="1866"/>
                        </a:lnTo>
                        <a:lnTo>
                          <a:pt x="15588" y="1906"/>
                        </a:lnTo>
                        <a:lnTo>
                          <a:pt x="15534" y="1923"/>
                        </a:lnTo>
                        <a:lnTo>
                          <a:pt x="15496" y="1902"/>
                        </a:lnTo>
                        <a:lnTo>
                          <a:pt x="15496" y="1878"/>
                        </a:lnTo>
                        <a:lnTo>
                          <a:pt x="15496" y="1878"/>
                        </a:lnTo>
                        <a:lnTo>
                          <a:pt x="15496" y="1878"/>
                        </a:lnTo>
                        <a:close/>
                        <a:moveTo>
                          <a:pt x="16814" y="1833"/>
                        </a:moveTo>
                        <a:lnTo>
                          <a:pt x="16814" y="1829"/>
                        </a:lnTo>
                        <a:lnTo>
                          <a:pt x="16831" y="1833"/>
                        </a:lnTo>
                        <a:lnTo>
                          <a:pt x="16814" y="1833"/>
                        </a:lnTo>
                        <a:lnTo>
                          <a:pt x="16814" y="1833"/>
                        </a:lnTo>
                        <a:lnTo>
                          <a:pt x="16814" y="1833"/>
                        </a:lnTo>
                        <a:close/>
                        <a:moveTo>
                          <a:pt x="14513" y="1833"/>
                        </a:moveTo>
                        <a:lnTo>
                          <a:pt x="14530" y="1845"/>
                        </a:lnTo>
                        <a:lnTo>
                          <a:pt x="14497" y="1833"/>
                        </a:lnTo>
                        <a:lnTo>
                          <a:pt x="14513" y="1833"/>
                        </a:lnTo>
                        <a:lnTo>
                          <a:pt x="14513" y="1833"/>
                        </a:lnTo>
                        <a:lnTo>
                          <a:pt x="14513" y="1833"/>
                        </a:lnTo>
                        <a:close/>
                        <a:moveTo>
                          <a:pt x="16273" y="1866"/>
                        </a:moveTo>
                        <a:lnTo>
                          <a:pt x="16235" y="1845"/>
                        </a:lnTo>
                        <a:lnTo>
                          <a:pt x="16264" y="1850"/>
                        </a:lnTo>
                        <a:lnTo>
                          <a:pt x="16273" y="1866"/>
                        </a:lnTo>
                        <a:lnTo>
                          <a:pt x="16273" y="1866"/>
                        </a:lnTo>
                        <a:lnTo>
                          <a:pt x="16273" y="1866"/>
                        </a:lnTo>
                        <a:close/>
                        <a:moveTo>
                          <a:pt x="16134" y="1918"/>
                        </a:moveTo>
                        <a:lnTo>
                          <a:pt x="16181" y="1906"/>
                        </a:lnTo>
                        <a:lnTo>
                          <a:pt x="16127" y="1923"/>
                        </a:lnTo>
                        <a:lnTo>
                          <a:pt x="16134" y="1918"/>
                        </a:lnTo>
                        <a:lnTo>
                          <a:pt x="16134" y="1918"/>
                        </a:lnTo>
                        <a:lnTo>
                          <a:pt x="16134" y="1918"/>
                        </a:lnTo>
                        <a:close/>
                        <a:moveTo>
                          <a:pt x="17013" y="2195"/>
                        </a:moveTo>
                        <a:lnTo>
                          <a:pt x="16982" y="2162"/>
                        </a:lnTo>
                        <a:lnTo>
                          <a:pt x="16958" y="2162"/>
                        </a:lnTo>
                        <a:lnTo>
                          <a:pt x="17029" y="2166"/>
                        </a:lnTo>
                        <a:lnTo>
                          <a:pt x="17029" y="2195"/>
                        </a:lnTo>
                        <a:lnTo>
                          <a:pt x="17013" y="2195"/>
                        </a:lnTo>
                        <a:lnTo>
                          <a:pt x="17013" y="2195"/>
                        </a:lnTo>
                        <a:lnTo>
                          <a:pt x="17013" y="2195"/>
                        </a:lnTo>
                        <a:close/>
                        <a:moveTo>
                          <a:pt x="15102" y="2162"/>
                        </a:moveTo>
                        <a:lnTo>
                          <a:pt x="15106" y="2166"/>
                        </a:lnTo>
                        <a:lnTo>
                          <a:pt x="15092" y="2162"/>
                        </a:lnTo>
                        <a:lnTo>
                          <a:pt x="15102" y="2162"/>
                        </a:lnTo>
                        <a:lnTo>
                          <a:pt x="15102" y="2162"/>
                        </a:lnTo>
                        <a:lnTo>
                          <a:pt x="15102" y="2162"/>
                        </a:lnTo>
                        <a:close/>
                        <a:moveTo>
                          <a:pt x="16975" y="2166"/>
                        </a:moveTo>
                        <a:lnTo>
                          <a:pt x="16975" y="2178"/>
                        </a:lnTo>
                        <a:lnTo>
                          <a:pt x="16975" y="2166"/>
                        </a:lnTo>
                        <a:lnTo>
                          <a:pt x="16975" y="2166"/>
                        </a:lnTo>
                        <a:lnTo>
                          <a:pt x="16975" y="2166"/>
                        </a:lnTo>
                        <a:close/>
                        <a:moveTo>
                          <a:pt x="253" y="2277"/>
                        </a:moveTo>
                        <a:lnTo>
                          <a:pt x="253" y="2273"/>
                        </a:lnTo>
                        <a:lnTo>
                          <a:pt x="265" y="2273"/>
                        </a:lnTo>
                        <a:lnTo>
                          <a:pt x="253" y="2277"/>
                        </a:lnTo>
                        <a:lnTo>
                          <a:pt x="253" y="2277"/>
                        </a:lnTo>
                        <a:lnTo>
                          <a:pt x="253" y="2277"/>
                        </a:lnTo>
                        <a:close/>
                        <a:moveTo>
                          <a:pt x="14632" y="2351"/>
                        </a:moveTo>
                        <a:lnTo>
                          <a:pt x="14632" y="2367"/>
                        </a:lnTo>
                        <a:lnTo>
                          <a:pt x="14622" y="2377"/>
                        </a:lnTo>
                        <a:lnTo>
                          <a:pt x="14606" y="2351"/>
                        </a:lnTo>
                        <a:lnTo>
                          <a:pt x="14632" y="2351"/>
                        </a:lnTo>
                        <a:lnTo>
                          <a:pt x="14632" y="2351"/>
                        </a:lnTo>
                        <a:lnTo>
                          <a:pt x="14632" y="2351"/>
                        </a:lnTo>
                        <a:close/>
                        <a:moveTo>
                          <a:pt x="0" y="2400"/>
                        </a:moveTo>
                        <a:lnTo>
                          <a:pt x="17" y="2384"/>
                        </a:lnTo>
                        <a:lnTo>
                          <a:pt x="38" y="2400"/>
                        </a:lnTo>
                        <a:lnTo>
                          <a:pt x="0" y="2400"/>
                        </a:lnTo>
                        <a:lnTo>
                          <a:pt x="0" y="2400"/>
                        </a:lnTo>
                        <a:lnTo>
                          <a:pt x="0" y="2400"/>
                        </a:lnTo>
                        <a:close/>
                        <a:moveTo>
                          <a:pt x="14946" y="2400"/>
                        </a:moveTo>
                        <a:lnTo>
                          <a:pt x="14955" y="2421"/>
                        </a:lnTo>
                        <a:lnTo>
                          <a:pt x="14913" y="2405"/>
                        </a:lnTo>
                        <a:lnTo>
                          <a:pt x="14941" y="2417"/>
                        </a:lnTo>
                        <a:lnTo>
                          <a:pt x="14929" y="2400"/>
                        </a:lnTo>
                        <a:lnTo>
                          <a:pt x="14946" y="2400"/>
                        </a:lnTo>
                        <a:lnTo>
                          <a:pt x="14946" y="2400"/>
                        </a:lnTo>
                        <a:lnTo>
                          <a:pt x="14946" y="2400"/>
                        </a:lnTo>
                        <a:close/>
                        <a:moveTo>
                          <a:pt x="14639" y="2438"/>
                        </a:moveTo>
                        <a:lnTo>
                          <a:pt x="14643" y="2445"/>
                        </a:lnTo>
                        <a:lnTo>
                          <a:pt x="14632" y="2438"/>
                        </a:lnTo>
                        <a:lnTo>
                          <a:pt x="14639" y="2438"/>
                        </a:lnTo>
                        <a:lnTo>
                          <a:pt x="14639" y="2438"/>
                        </a:lnTo>
                        <a:lnTo>
                          <a:pt x="14639" y="2438"/>
                        </a:lnTo>
                        <a:close/>
                        <a:moveTo>
                          <a:pt x="14119" y="2899"/>
                        </a:moveTo>
                        <a:lnTo>
                          <a:pt x="14131" y="2899"/>
                        </a:lnTo>
                        <a:lnTo>
                          <a:pt x="14119" y="2887"/>
                        </a:lnTo>
                        <a:lnTo>
                          <a:pt x="14119" y="2899"/>
                        </a:lnTo>
                        <a:lnTo>
                          <a:pt x="14119" y="2899"/>
                        </a:lnTo>
                        <a:lnTo>
                          <a:pt x="14119" y="2899"/>
                        </a:lnTo>
                        <a:close/>
                        <a:moveTo>
                          <a:pt x="23572" y="3088"/>
                        </a:moveTo>
                        <a:lnTo>
                          <a:pt x="23596" y="3064"/>
                        </a:lnTo>
                        <a:lnTo>
                          <a:pt x="23610" y="3043"/>
                        </a:lnTo>
                        <a:lnTo>
                          <a:pt x="23596" y="3031"/>
                        </a:lnTo>
                        <a:lnTo>
                          <a:pt x="23655" y="3014"/>
                        </a:lnTo>
                        <a:lnTo>
                          <a:pt x="23665" y="3031"/>
                        </a:lnTo>
                        <a:lnTo>
                          <a:pt x="23665" y="3047"/>
                        </a:lnTo>
                        <a:lnTo>
                          <a:pt x="23627" y="3059"/>
                        </a:lnTo>
                        <a:lnTo>
                          <a:pt x="23579" y="3099"/>
                        </a:lnTo>
                        <a:lnTo>
                          <a:pt x="23572" y="3088"/>
                        </a:lnTo>
                        <a:lnTo>
                          <a:pt x="23572" y="3088"/>
                        </a:lnTo>
                        <a:lnTo>
                          <a:pt x="23572" y="3088"/>
                        </a:lnTo>
                        <a:close/>
                        <a:moveTo>
                          <a:pt x="22665" y="3031"/>
                        </a:moveTo>
                        <a:lnTo>
                          <a:pt x="22682" y="3026"/>
                        </a:lnTo>
                        <a:lnTo>
                          <a:pt x="22665" y="3031"/>
                        </a:lnTo>
                        <a:lnTo>
                          <a:pt x="22665" y="3031"/>
                        </a:lnTo>
                        <a:lnTo>
                          <a:pt x="22665" y="3031"/>
                        </a:lnTo>
                        <a:close/>
                        <a:moveTo>
                          <a:pt x="23773" y="3421"/>
                        </a:moveTo>
                        <a:lnTo>
                          <a:pt x="23773" y="3437"/>
                        </a:lnTo>
                        <a:lnTo>
                          <a:pt x="23806" y="3470"/>
                        </a:lnTo>
                        <a:lnTo>
                          <a:pt x="23806" y="3487"/>
                        </a:lnTo>
                        <a:lnTo>
                          <a:pt x="23778" y="3470"/>
                        </a:lnTo>
                        <a:lnTo>
                          <a:pt x="23752" y="3421"/>
                        </a:lnTo>
                        <a:lnTo>
                          <a:pt x="23773" y="3421"/>
                        </a:lnTo>
                        <a:lnTo>
                          <a:pt x="23773" y="3421"/>
                        </a:lnTo>
                        <a:lnTo>
                          <a:pt x="23773" y="3421"/>
                        </a:lnTo>
                        <a:close/>
                        <a:moveTo>
                          <a:pt x="13606" y="3430"/>
                        </a:moveTo>
                        <a:lnTo>
                          <a:pt x="13611" y="3421"/>
                        </a:lnTo>
                        <a:lnTo>
                          <a:pt x="13665" y="3447"/>
                        </a:lnTo>
                        <a:lnTo>
                          <a:pt x="13699" y="3447"/>
                        </a:lnTo>
                        <a:lnTo>
                          <a:pt x="13720" y="3470"/>
                        </a:lnTo>
                        <a:lnTo>
                          <a:pt x="13715" y="3487"/>
                        </a:lnTo>
                        <a:lnTo>
                          <a:pt x="13703" y="3503"/>
                        </a:lnTo>
                        <a:lnTo>
                          <a:pt x="13715" y="3515"/>
                        </a:lnTo>
                        <a:lnTo>
                          <a:pt x="13618" y="3515"/>
                        </a:lnTo>
                        <a:lnTo>
                          <a:pt x="13505" y="3508"/>
                        </a:lnTo>
                        <a:lnTo>
                          <a:pt x="13552" y="3487"/>
                        </a:lnTo>
                        <a:lnTo>
                          <a:pt x="13526" y="3487"/>
                        </a:lnTo>
                        <a:lnTo>
                          <a:pt x="13519" y="3475"/>
                        </a:lnTo>
                        <a:lnTo>
                          <a:pt x="13510" y="3487"/>
                        </a:lnTo>
                        <a:lnTo>
                          <a:pt x="13519" y="3454"/>
                        </a:lnTo>
                        <a:lnTo>
                          <a:pt x="13552" y="3454"/>
                        </a:lnTo>
                        <a:lnTo>
                          <a:pt x="13580" y="3421"/>
                        </a:lnTo>
                        <a:lnTo>
                          <a:pt x="13590" y="3421"/>
                        </a:lnTo>
                        <a:lnTo>
                          <a:pt x="13557" y="3454"/>
                        </a:lnTo>
                        <a:lnTo>
                          <a:pt x="13606" y="3458"/>
                        </a:lnTo>
                        <a:lnTo>
                          <a:pt x="13606" y="3437"/>
                        </a:lnTo>
                        <a:lnTo>
                          <a:pt x="13606" y="3430"/>
                        </a:lnTo>
                        <a:lnTo>
                          <a:pt x="13606" y="3430"/>
                        </a:lnTo>
                        <a:lnTo>
                          <a:pt x="13606" y="3430"/>
                        </a:lnTo>
                        <a:close/>
                        <a:moveTo>
                          <a:pt x="21744" y="3475"/>
                        </a:moveTo>
                        <a:lnTo>
                          <a:pt x="21765" y="3430"/>
                        </a:lnTo>
                        <a:lnTo>
                          <a:pt x="21803" y="3447"/>
                        </a:lnTo>
                        <a:lnTo>
                          <a:pt x="21775" y="3491"/>
                        </a:lnTo>
                        <a:lnTo>
                          <a:pt x="21758" y="3458"/>
                        </a:lnTo>
                        <a:lnTo>
                          <a:pt x="21744" y="3475"/>
                        </a:lnTo>
                        <a:lnTo>
                          <a:pt x="21744" y="3475"/>
                        </a:lnTo>
                        <a:lnTo>
                          <a:pt x="21744" y="3475"/>
                        </a:lnTo>
                        <a:close/>
                        <a:moveTo>
                          <a:pt x="21694" y="3458"/>
                        </a:moveTo>
                        <a:lnTo>
                          <a:pt x="21737" y="3437"/>
                        </a:lnTo>
                        <a:lnTo>
                          <a:pt x="21728" y="3458"/>
                        </a:lnTo>
                        <a:lnTo>
                          <a:pt x="21694" y="3458"/>
                        </a:lnTo>
                        <a:lnTo>
                          <a:pt x="21694" y="3458"/>
                        </a:lnTo>
                        <a:lnTo>
                          <a:pt x="21694" y="3458"/>
                        </a:lnTo>
                        <a:close/>
                        <a:moveTo>
                          <a:pt x="13498" y="3508"/>
                        </a:moveTo>
                        <a:lnTo>
                          <a:pt x="13488" y="3503"/>
                        </a:lnTo>
                        <a:lnTo>
                          <a:pt x="13510" y="3487"/>
                        </a:lnTo>
                        <a:lnTo>
                          <a:pt x="13498" y="3508"/>
                        </a:lnTo>
                        <a:lnTo>
                          <a:pt x="13498" y="3508"/>
                        </a:lnTo>
                        <a:lnTo>
                          <a:pt x="13498" y="3508"/>
                        </a:lnTo>
                        <a:close/>
                        <a:moveTo>
                          <a:pt x="21765" y="3508"/>
                        </a:moveTo>
                        <a:lnTo>
                          <a:pt x="21758" y="3503"/>
                        </a:lnTo>
                        <a:lnTo>
                          <a:pt x="21765" y="3491"/>
                        </a:lnTo>
                        <a:lnTo>
                          <a:pt x="21765" y="3508"/>
                        </a:lnTo>
                        <a:lnTo>
                          <a:pt x="21765" y="3508"/>
                        </a:lnTo>
                        <a:lnTo>
                          <a:pt x="21765" y="3508"/>
                        </a:lnTo>
                        <a:close/>
                        <a:moveTo>
                          <a:pt x="22072" y="4080"/>
                        </a:moveTo>
                        <a:lnTo>
                          <a:pt x="22068" y="4058"/>
                        </a:lnTo>
                        <a:lnTo>
                          <a:pt x="22072" y="4030"/>
                        </a:lnTo>
                        <a:lnTo>
                          <a:pt x="22084" y="3973"/>
                        </a:lnTo>
                        <a:lnTo>
                          <a:pt x="22084" y="3903"/>
                        </a:lnTo>
                        <a:lnTo>
                          <a:pt x="22072" y="3891"/>
                        </a:lnTo>
                        <a:lnTo>
                          <a:pt x="22089" y="3825"/>
                        </a:lnTo>
                        <a:lnTo>
                          <a:pt x="22084" y="3791"/>
                        </a:lnTo>
                        <a:lnTo>
                          <a:pt x="22051" y="3751"/>
                        </a:lnTo>
                        <a:lnTo>
                          <a:pt x="22051" y="3714"/>
                        </a:lnTo>
                        <a:lnTo>
                          <a:pt x="22061" y="3692"/>
                        </a:lnTo>
                        <a:lnTo>
                          <a:pt x="22068" y="3643"/>
                        </a:lnTo>
                        <a:lnTo>
                          <a:pt x="22061" y="3614"/>
                        </a:lnTo>
                        <a:lnTo>
                          <a:pt x="22089" y="3598"/>
                        </a:lnTo>
                        <a:lnTo>
                          <a:pt x="22089" y="3614"/>
                        </a:lnTo>
                        <a:lnTo>
                          <a:pt x="22105" y="3614"/>
                        </a:lnTo>
                        <a:lnTo>
                          <a:pt x="22122" y="3598"/>
                        </a:lnTo>
                        <a:lnTo>
                          <a:pt x="22115" y="3598"/>
                        </a:lnTo>
                        <a:lnTo>
                          <a:pt x="22105" y="3581"/>
                        </a:lnTo>
                        <a:lnTo>
                          <a:pt x="22122" y="3586"/>
                        </a:lnTo>
                        <a:lnTo>
                          <a:pt x="22127" y="3581"/>
                        </a:lnTo>
                        <a:lnTo>
                          <a:pt x="22127" y="3565"/>
                        </a:lnTo>
                        <a:lnTo>
                          <a:pt x="22115" y="3581"/>
                        </a:lnTo>
                        <a:lnTo>
                          <a:pt x="22122" y="3558"/>
                        </a:lnTo>
                        <a:lnTo>
                          <a:pt x="22098" y="3525"/>
                        </a:lnTo>
                        <a:lnTo>
                          <a:pt x="22122" y="3525"/>
                        </a:lnTo>
                        <a:lnTo>
                          <a:pt x="22122" y="3508"/>
                        </a:lnTo>
                        <a:lnTo>
                          <a:pt x="22143" y="3541"/>
                        </a:lnTo>
                        <a:lnTo>
                          <a:pt x="22136" y="3569"/>
                        </a:lnTo>
                        <a:lnTo>
                          <a:pt x="22153" y="3598"/>
                        </a:lnTo>
                        <a:lnTo>
                          <a:pt x="22153" y="3614"/>
                        </a:lnTo>
                        <a:lnTo>
                          <a:pt x="22160" y="3619"/>
                        </a:lnTo>
                        <a:lnTo>
                          <a:pt x="22169" y="3659"/>
                        </a:lnTo>
                        <a:lnTo>
                          <a:pt x="22169" y="3697"/>
                        </a:lnTo>
                        <a:lnTo>
                          <a:pt x="22160" y="3714"/>
                        </a:lnTo>
                        <a:lnTo>
                          <a:pt x="22160" y="3692"/>
                        </a:lnTo>
                        <a:lnTo>
                          <a:pt x="22153" y="3709"/>
                        </a:lnTo>
                        <a:lnTo>
                          <a:pt x="22153" y="3747"/>
                        </a:lnTo>
                        <a:lnTo>
                          <a:pt x="22169" y="3768"/>
                        </a:lnTo>
                        <a:lnTo>
                          <a:pt x="22160" y="3791"/>
                        </a:lnTo>
                        <a:lnTo>
                          <a:pt x="22169" y="3791"/>
                        </a:lnTo>
                        <a:lnTo>
                          <a:pt x="22169" y="3780"/>
                        </a:lnTo>
                        <a:lnTo>
                          <a:pt x="22174" y="3808"/>
                        </a:lnTo>
                        <a:lnTo>
                          <a:pt x="22169" y="3808"/>
                        </a:lnTo>
                        <a:lnTo>
                          <a:pt x="22181" y="3820"/>
                        </a:lnTo>
                        <a:lnTo>
                          <a:pt x="22198" y="3903"/>
                        </a:lnTo>
                        <a:lnTo>
                          <a:pt x="22212" y="3936"/>
                        </a:lnTo>
                        <a:lnTo>
                          <a:pt x="22245" y="4023"/>
                        </a:lnTo>
                        <a:lnTo>
                          <a:pt x="22261" y="4040"/>
                        </a:lnTo>
                        <a:lnTo>
                          <a:pt x="22266" y="4063"/>
                        </a:lnTo>
                        <a:lnTo>
                          <a:pt x="22245" y="4030"/>
                        </a:lnTo>
                        <a:lnTo>
                          <a:pt x="22212" y="4006"/>
                        </a:lnTo>
                        <a:lnTo>
                          <a:pt x="22169" y="3990"/>
                        </a:lnTo>
                        <a:lnTo>
                          <a:pt x="22169" y="4002"/>
                        </a:lnTo>
                        <a:lnTo>
                          <a:pt x="22191" y="4002"/>
                        </a:lnTo>
                        <a:lnTo>
                          <a:pt x="22160" y="4006"/>
                        </a:lnTo>
                        <a:lnTo>
                          <a:pt x="22143" y="4023"/>
                        </a:lnTo>
                        <a:lnTo>
                          <a:pt x="22143" y="4040"/>
                        </a:lnTo>
                        <a:lnTo>
                          <a:pt x="22115" y="4117"/>
                        </a:lnTo>
                        <a:lnTo>
                          <a:pt x="22115" y="4141"/>
                        </a:lnTo>
                        <a:lnTo>
                          <a:pt x="22122" y="4158"/>
                        </a:lnTo>
                        <a:lnTo>
                          <a:pt x="22143" y="4191"/>
                        </a:lnTo>
                        <a:lnTo>
                          <a:pt x="22160" y="4236"/>
                        </a:lnTo>
                        <a:lnTo>
                          <a:pt x="22169" y="4245"/>
                        </a:lnTo>
                        <a:lnTo>
                          <a:pt x="22169" y="4228"/>
                        </a:lnTo>
                        <a:lnTo>
                          <a:pt x="22174" y="4228"/>
                        </a:lnTo>
                        <a:lnTo>
                          <a:pt x="22181" y="4269"/>
                        </a:lnTo>
                        <a:lnTo>
                          <a:pt x="22174" y="4302"/>
                        </a:lnTo>
                        <a:lnTo>
                          <a:pt x="22169" y="4252"/>
                        </a:lnTo>
                        <a:lnTo>
                          <a:pt x="22127" y="4252"/>
                        </a:lnTo>
                        <a:lnTo>
                          <a:pt x="22122" y="4236"/>
                        </a:lnTo>
                        <a:lnTo>
                          <a:pt x="22105" y="4252"/>
                        </a:lnTo>
                        <a:lnTo>
                          <a:pt x="22084" y="4306"/>
                        </a:lnTo>
                        <a:lnTo>
                          <a:pt x="22068" y="4302"/>
                        </a:lnTo>
                        <a:lnTo>
                          <a:pt x="22061" y="4252"/>
                        </a:lnTo>
                        <a:lnTo>
                          <a:pt x="22072" y="4207"/>
                        </a:lnTo>
                        <a:lnTo>
                          <a:pt x="22072" y="4158"/>
                        </a:lnTo>
                        <a:lnTo>
                          <a:pt x="22089" y="4125"/>
                        </a:lnTo>
                        <a:lnTo>
                          <a:pt x="22084" y="4096"/>
                        </a:lnTo>
                        <a:lnTo>
                          <a:pt x="22072" y="4080"/>
                        </a:lnTo>
                        <a:lnTo>
                          <a:pt x="22072" y="4080"/>
                        </a:lnTo>
                        <a:lnTo>
                          <a:pt x="22072" y="4080"/>
                        </a:lnTo>
                        <a:close/>
                        <a:moveTo>
                          <a:pt x="23017" y="3846"/>
                        </a:moveTo>
                        <a:lnTo>
                          <a:pt x="23022" y="3846"/>
                        </a:lnTo>
                        <a:lnTo>
                          <a:pt x="23034" y="3858"/>
                        </a:lnTo>
                        <a:lnTo>
                          <a:pt x="23022" y="3858"/>
                        </a:lnTo>
                        <a:lnTo>
                          <a:pt x="23017" y="3846"/>
                        </a:lnTo>
                        <a:lnTo>
                          <a:pt x="23017" y="3846"/>
                        </a:lnTo>
                        <a:lnTo>
                          <a:pt x="23017" y="3846"/>
                        </a:lnTo>
                        <a:close/>
                        <a:moveTo>
                          <a:pt x="23088" y="3874"/>
                        </a:moveTo>
                        <a:lnTo>
                          <a:pt x="23072" y="3874"/>
                        </a:lnTo>
                        <a:lnTo>
                          <a:pt x="23072" y="3862"/>
                        </a:lnTo>
                        <a:lnTo>
                          <a:pt x="23088" y="3858"/>
                        </a:lnTo>
                        <a:lnTo>
                          <a:pt x="23088" y="3874"/>
                        </a:lnTo>
                        <a:lnTo>
                          <a:pt x="23088" y="3874"/>
                        </a:lnTo>
                        <a:lnTo>
                          <a:pt x="23088" y="3874"/>
                        </a:lnTo>
                        <a:close/>
                        <a:moveTo>
                          <a:pt x="23001" y="3931"/>
                        </a:moveTo>
                        <a:lnTo>
                          <a:pt x="23001" y="3903"/>
                        </a:lnTo>
                        <a:lnTo>
                          <a:pt x="23034" y="3895"/>
                        </a:lnTo>
                        <a:lnTo>
                          <a:pt x="23050" y="3874"/>
                        </a:lnTo>
                        <a:lnTo>
                          <a:pt x="23060" y="3862"/>
                        </a:lnTo>
                        <a:lnTo>
                          <a:pt x="23072" y="3891"/>
                        </a:lnTo>
                        <a:lnTo>
                          <a:pt x="23050" y="3914"/>
                        </a:lnTo>
                        <a:lnTo>
                          <a:pt x="23001" y="3931"/>
                        </a:lnTo>
                        <a:lnTo>
                          <a:pt x="23001" y="3931"/>
                        </a:lnTo>
                        <a:lnTo>
                          <a:pt x="23001" y="3931"/>
                        </a:lnTo>
                        <a:close/>
                        <a:moveTo>
                          <a:pt x="22946" y="3957"/>
                        </a:moveTo>
                        <a:lnTo>
                          <a:pt x="22946" y="3952"/>
                        </a:lnTo>
                        <a:lnTo>
                          <a:pt x="22946" y="3957"/>
                        </a:lnTo>
                        <a:lnTo>
                          <a:pt x="22946" y="3957"/>
                        </a:lnTo>
                        <a:lnTo>
                          <a:pt x="22946" y="3957"/>
                        </a:lnTo>
                        <a:close/>
                        <a:moveTo>
                          <a:pt x="22953" y="4002"/>
                        </a:moveTo>
                        <a:lnTo>
                          <a:pt x="22968" y="3973"/>
                        </a:lnTo>
                        <a:lnTo>
                          <a:pt x="22979" y="3969"/>
                        </a:lnTo>
                        <a:lnTo>
                          <a:pt x="22968" y="3990"/>
                        </a:lnTo>
                        <a:lnTo>
                          <a:pt x="22968" y="4002"/>
                        </a:lnTo>
                        <a:lnTo>
                          <a:pt x="22953" y="4002"/>
                        </a:lnTo>
                        <a:lnTo>
                          <a:pt x="22953" y="4002"/>
                        </a:lnTo>
                        <a:lnTo>
                          <a:pt x="22953" y="4002"/>
                        </a:lnTo>
                        <a:close/>
                        <a:moveTo>
                          <a:pt x="22946" y="4014"/>
                        </a:moveTo>
                        <a:lnTo>
                          <a:pt x="22953" y="4014"/>
                        </a:lnTo>
                        <a:lnTo>
                          <a:pt x="22953" y="4023"/>
                        </a:lnTo>
                        <a:lnTo>
                          <a:pt x="22946" y="4014"/>
                        </a:lnTo>
                        <a:lnTo>
                          <a:pt x="22946" y="4014"/>
                        </a:lnTo>
                        <a:lnTo>
                          <a:pt x="22946" y="4014"/>
                        </a:lnTo>
                        <a:close/>
                        <a:moveTo>
                          <a:pt x="22916" y="4058"/>
                        </a:moveTo>
                        <a:lnTo>
                          <a:pt x="22925" y="4040"/>
                        </a:lnTo>
                        <a:lnTo>
                          <a:pt x="22930" y="4040"/>
                        </a:lnTo>
                        <a:lnTo>
                          <a:pt x="22916" y="4058"/>
                        </a:lnTo>
                        <a:lnTo>
                          <a:pt x="22916" y="4058"/>
                        </a:lnTo>
                        <a:lnTo>
                          <a:pt x="22916" y="4058"/>
                        </a:lnTo>
                        <a:close/>
                        <a:moveTo>
                          <a:pt x="22861" y="4117"/>
                        </a:moveTo>
                        <a:lnTo>
                          <a:pt x="22854" y="4113"/>
                        </a:lnTo>
                        <a:lnTo>
                          <a:pt x="22861" y="4113"/>
                        </a:lnTo>
                        <a:lnTo>
                          <a:pt x="22861" y="4117"/>
                        </a:lnTo>
                        <a:lnTo>
                          <a:pt x="22861" y="4117"/>
                        </a:lnTo>
                        <a:lnTo>
                          <a:pt x="22861" y="4117"/>
                        </a:lnTo>
                        <a:close/>
                        <a:moveTo>
                          <a:pt x="22807" y="4179"/>
                        </a:moveTo>
                        <a:lnTo>
                          <a:pt x="22816" y="4179"/>
                        </a:lnTo>
                        <a:lnTo>
                          <a:pt x="22807" y="4179"/>
                        </a:lnTo>
                        <a:lnTo>
                          <a:pt x="22807" y="4179"/>
                        </a:lnTo>
                        <a:lnTo>
                          <a:pt x="22807" y="4179"/>
                        </a:lnTo>
                        <a:close/>
                        <a:moveTo>
                          <a:pt x="22791" y="4195"/>
                        </a:moveTo>
                        <a:lnTo>
                          <a:pt x="22779" y="4224"/>
                        </a:lnTo>
                        <a:lnTo>
                          <a:pt x="22753" y="4228"/>
                        </a:lnTo>
                        <a:lnTo>
                          <a:pt x="22791" y="4195"/>
                        </a:lnTo>
                        <a:lnTo>
                          <a:pt x="22791" y="4195"/>
                        </a:lnTo>
                        <a:lnTo>
                          <a:pt x="22791" y="4195"/>
                        </a:lnTo>
                        <a:close/>
                        <a:moveTo>
                          <a:pt x="22602" y="4340"/>
                        </a:moveTo>
                        <a:lnTo>
                          <a:pt x="22613" y="4318"/>
                        </a:lnTo>
                        <a:lnTo>
                          <a:pt x="22628" y="4302"/>
                        </a:lnTo>
                        <a:lnTo>
                          <a:pt x="22661" y="4285"/>
                        </a:lnTo>
                        <a:lnTo>
                          <a:pt x="22665" y="4285"/>
                        </a:lnTo>
                        <a:lnTo>
                          <a:pt x="22644" y="4306"/>
                        </a:lnTo>
                        <a:lnTo>
                          <a:pt x="22613" y="4335"/>
                        </a:lnTo>
                        <a:lnTo>
                          <a:pt x="22602" y="4340"/>
                        </a:lnTo>
                        <a:lnTo>
                          <a:pt x="22602" y="4340"/>
                        </a:lnTo>
                        <a:lnTo>
                          <a:pt x="22602" y="4340"/>
                        </a:lnTo>
                        <a:close/>
                        <a:moveTo>
                          <a:pt x="22413" y="4446"/>
                        </a:moveTo>
                        <a:lnTo>
                          <a:pt x="22413" y="4434"/>
                        </a:lnTo>
                        <a:lnTo>
                          <a:pt x="22439" y="4417"/>
                        </a:lnTo>
                        <a:lnTo>
                          <a:pt x="22429" y="4413"/>
                        </a:lnTo>
                        <a:lnTo>
                          <a:pt x="22483" y="4373"/>
                        </a:lnTo>
                        <a:lnTo>
                          <a:pt x="22483" y="4363"/>
                        </a:lnTo>
                        <a:lnTo>
                          <a:pt x="22493" y="4356"/>
                        </a:lnTo>
                        <a:lnTo>
                          <a:pt x="22500" y="4373"/>
                        </a:lnTo>
                        <a:lnTo>
                          <a:pt x="22514" y="4373"/>
                        </a:lnTo>
                        <a:lnTo>
                          <a:pt x="22547" y="4347"/>
                        </a:lnTo>
                        <a:lnTo>
                          <a:pt x="22552" y="4347"/>
                        </a:lnTo>
                        <a:lnTo>
                          <a:pt x="22552" y="4363"/>
                        </a:lnTo>
                        <a:lnTo>
                          <a:pt x="22514" y="4373"/>
                        </a:lnTo>
                        <a:lnTo>
                          <a:pt x="22476" y="4396"/>
                        </a:lnTo>
                        <a:lnTo>
                          <a:pt x="22467" y="4396"/>
                        </a:lnTo>
                        <a:lnTo>
                          <a:pt x="22462" y="4413"/>
                        </a:lnTo>
                        <a:lnTo>
                          <a:pt x="22413" y="4446"/>
                        </a:lnTo>
                        <a:lnTo>
                          <a:pt x="22413" y="4446"/>
                        </a:lnTo>
                        <a:lnTo>
                          <a:pt x="22413" y="4446"/>
                        </a:lnTo>
                        <a:close/>
                        <a:moveTo>
                          <a:pt x="22370" y="4434"/>
                        </a:moveTo>
                        <a:lnTo>
                          <a:pt x="22391" y="4446"/>
                        </a:lnTo>
                        <a:lnTo>
                          <a:pt x="22354" y="4467"/>
                        </a:lnTo>
                        <a:lnTo>
                          <a:pt x="22337" y="4491"/>
                        </a:lnTo>
                        <a:lnTo>
                          <a:pt x="22332" y="4491"/>
                        </a:lnTo>
                        <a:lnTo>
                          <a:pt x="22320" y="4512"/>
                        </a:lnTo>
                        <a:lnTo>
                          <a:pt x="22316" y="4507"/>
                        </a:lnTo>
                        <a:lnTo>
                          <a:pt x="22316" y="4500"/>
                        </a:lnTo>
                        <a:lnTo>
                          <a:pt x="22337" y="4474"/>
                        </a:lnTo>
                        <a:lnTo>
                          <a:pt x="22370" y="4434"/>
                        </a:lnTo>
                        <a:lnTo>
                          <a:pt x="22370" y="4434"/>
                        </a:lnTo>
                        <a:lnTo>
                          <a:pt x="22370" y="4434"/>
                        </a:lnTo>
                        <a:close/>
                        <a:moveTo>
                          <a:pt x="15463" y="4484"/>
                        </a:moveTo>
                        <a:lnTo>
                          <a:pt x="15454" y="4484"/>
                        </a:lnTo>
                        <a:lnTo>
                          <a:pt x="15463" y="4484"/>
                        </a:lnTo>
                        <a:lnTo>
                          <a:pt x="15463" y="4484"/>
                        </a:lnTo>
                        <a:lnTo>
                          <a:pt x="15463" y="4484"/>
                        </a:lnTo>
                        <a:close/>
                        <a:moveTo>
                          <a:pt x="22413" y="4491"/>
                        </a:moveTo>
                        <a:lnTo>
                          <a:pt x="22408" y="4507"/>
                        </a:lnTo>
                        <a:lnTo>
                          <a:pt x="22396" y="4507"/>
                        </a:lnTo>
                        <a:lnTo>
                          <a:pt x="22396" y="4500"/>
                        </a:lnTo>
                        <a:lnTo>
                          <a:pt x="22413" y="4491"/>
                        </a:lnTo>
                        <a:lnTo>
                          <a:pt x="22413" y="4491"/>
                        </a:lnTo>
                        <a:lnTo>
                          <a:pt x="22413" y="4491"/>
                        </a:lnTo>
                        <a:close/>
                        <a:moveTo>
                          <a:pt x="22370" y="4524"/>
                        </a:moveTo>
                        <a:lnTo>
                          <a:pt x="22370" y="4528"/>
                        </a:lnTo>
                        <a:lnTo>
                          <a:pt x="22358" y="4524"/>
                        </a:lnTo>
                        <a:lnTo>
                          <a:pt x="22370" y="4524"/>
                        </a:lnTo>
                        <a:lnTo>
                          <a:pt x="22370" y="4524"/>
                        </a:lnTo>
                        <a:lnTo>
                          <a:pt x="22370" y="4524"/>
                        </a:lnTo>
                        <a:close/>
                        <a:moveTo>
                          <a:pt x="21366" y="4566"/>
                        </a:moveTo>
                        <a:lnTo>
                          <a:pt x="21359" y="4566"/>
                        </a:lnTo>
                        <a:lnTo>
                          <a:pt x="21366" y="4562"/>
                        </a:lnTo>
                        <a:lnTo>
                          <a:pt x="21366" y="4566"/>
                        </a:lnTo>
                        <a:lnTo>
                          <a:pt x="21366" y="4566"/>
                        </a:lnTo>
                        <a:lnTo>
                          <a:pt x="21366" y="456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1" name="Freeform 546">
                    <a:extLst>
                      <a:ext uri="{FF2B5EF4-FFF2-40B4-BE49-F238E27FC236}">
                        <a16:creationId xmlns:a16="http://schemas.microsoft.com/office/drawing/2014/main" id="{3AD7D55A-7380-4030-8991-B345692F6B86}"/>
                      </a:ext>
                    </a:extLst>
                  </p:cNvPr>
                  <p:cNvSpPr>
                    <a:spLocks/>
                  </p:cNvSpPr>
                  <p:nvPr/>
                </p:nvSpPr>
                <p:spPr bwMode="gray">
                  <a:xfrm>
                    <a:off x="5096433" y="2557357"/>
                    <a:ext cx="6587" cy="8646"/>
                  </a:xfrm>
                  <a:custGeom>
                    <a:avLst/>
                    <a:gdLst>
                      <a:gd name="T0" fmla="*/ 5 w 16"/>
                      <a:gd name="T1" fmla="*/ 0 h 21"/>
                      <a:gd name="T2" fmla="*/ 5 w 16"/>
                      <a:gd name="T3" fmla="*/ 4 h 21"/>
                      <a:gd name="T4" fmla="*/ 5 w 16"/>
                      <a:gd name="T5" fmla="*/ 4 h 21"/>
                      <a:gd name="T6" fmla="*/ 16 w 16"/>
                      <a:gd name="T7" fmla="*/ 21 h 21"/>
                      <a:gd name="T8" fmla="*/ 5 w 16"/>
                      <a:gd name="T9" fmla="*/ 21 h 21"/>
                      <a:gd name="T10" fmla="*/ 0 w 16"/>
                      <a:gd name="T11" fmla="*/ 0 h 21"/>
                      <a:gd name="T12" fmla="*/ 5 w 16"/>
                      <a:gd name="T13" fmla="*/ 0 h 21"/>
                      <a:gd name="T14" fmla="*/ 5 w 16"/>
                      <a:gd name="T15" fmla="*/ 0 h 21"/>
                      <a:gd name="T16" fmla="*/ 5 w 16"/>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1">
                        <a:moveTo>
                          <a:pt x="5" y="0"/>
                        </a:moveTo>
                        <a:lnTo>
                          <a:pt x="5" y="4"/>
                        </a:lnTo>
                        <a:lnTo>
                          <a:pt x="5" y="4"/>
                        </a:lnTo>
                        <a:lnTo>
                          <a:pt x="16" y="21"/>
                        </a:lnTo>
                        <a:lnTo>
                          <a:pt x="5" y="21"/>
                        </a:lnTo>
                        <a:lnTo>
                          <a:pt x="0" y="0"/>
                        </a:lnTo>
                        <a:lnTo>
                          <a:pt x="5" y="0"/>
                        </a:lnTo>
                        <a:lnTo>
                          <a:pt x="5" y="0"/>
                        </a:lnTo>
                        <a:lnTo>
                          <a:pt x="5"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9" name="Freeform 552">
                    <a:extLst>
                      <a:ext uri="{FF2B5EF4-FFF2-40B4-BE49-F238E27FC236}">
                        <a16:creationId xmlns:a16="http://schemas.microsoft.com/office/drawing/2014/main" id="{0439A3F6-7D55-4429-B910-409B7E9618FA}"/>
                      </a:ext>
                    </a:extLst>
                  </p:cNvPr>
                  <p:cNvSpPr>
                    <a:spLocks/>
                  </p:cNvSpPr>
                  <p:nvPr/>
                </p:nvSpPr>
                <p:spPr bwMode="gray">
                  <a:xfrm>
                    <a:off x="7114029" y="2563945"/>
                    <a:ext cx="89745" cy="54346"/>
                  </a:xfrm>
                  <a:custGeom>
                    <a:avLst/>
                    <a:gdLst>
                      <a:gd name="T0" fmla="*/ 22 w 218"/>
                      <a:gd name="T1" fmla="*/ 28 h 132"/>
                      <a:gd name="T2" fmla="*/ 74 w 218"/>
                      <a:gd name="T3" fmla="*/ 45 h 132"/>
                      <a:gd name="T4" fmla="*/ 102 w 218"/>
                      <a:gd name="T5" fmla="*/ 38 h 132"/>
                      <a:gd name="T6" fmla="*/ 102 w 218"/>
                      <a:gd name="T7" fmla="*/ 21 h 132"/>
                      <a:gd name="T8" fmla="*/ 166 w 218"/>
                      <a:gd name="T9" fmla="*/ 12 h 132"/>
                      <a:gd name="T10" fmla="*/ 180 w 218"/>
                      <a:gd name="T11" fmla="*/ 0 h 132"/>
                      <a:gd name="T12" fmla="*/ 208 w 218"/>
                      <a:gd name="T13" fmla="*/ 5 h 132"/>
                      <a:gd name="T14" fmla="*/ 196 w 218"/>
                      <a:gd name="T15" fmla="*/ 12 h 132"/>
                      <a:gd name="T16" fmla="*/ 218 w 218"/>
                      <a:gd name="T17" fmla="*/ 38 h 132"/>
                      <a:gd name="T18" fmla="*/ 196 w 218"/>
                      <a:gd name="T19" fmla="*/ 28 h 132"/>
                      <a:gd name="T20" fmla="*/ 196 w 218"/>
                      <a:gd name="T21" fmla="*/ 45 h 132"/>
                      <a:gd name="T22" fmla="*/ 154 w 218"/>
                      <a:gd name="T23" fmla="*/ 62 h 132"/>
                      <a:gd name="T24" fmla="*/ 154 w 218"/>
                      <a:gd name="T25" fmla="*/ 66 h 132"/>
                      <a:gd name="T26" fmla="*/ 159 w 218"/>
                      <a:gd name="T27" fmla="*/ 78 h 132"/>
                      <a:gd name="T28" fmla="*/ 159 w 218"/>
                      <a:gd name="T29" fmla="*/ 95 h 132"/>
                      <a:gd name="T30" fmla="*/ 128 w 218"/>
                      <a:gd name="T31" fmla="*/ 99 h 132"/>
                      <a:gd name="T32" fmla="*/ 128 w 218"/>
                      <a:gd name="T33" fmla="*/ 111 h 132"/>
                      <a:gd name="T34" fmla="*/ 137 w 218"/>
                      <a:gd name="T35" fmla="*/ 111 h 132"/>
                      <a:gd name="T36" fmla="*/ 128 w 218"/>
                      <a:gd name="T37" fmla="*/ 123 h 132"/>
                      <a:gd name="T38" fmla="*/ 123 w 218"/>
                      <a:gd name="T39" fmla="*/ 132 h 132"/>
                      <a:gd name="T40" fmla="*/ 102 w 218"/>
                      <a:gd name="T41" fmla="*/ 123 h 132"/>
                      <a:gd name="T42" fmla="*/ 85 w 218"/>
                      <a:gd name="T43" fmla="*/ 111 h 132"/>
                      <a:gd name="T44" fmla="*/ 69 w 218"/>
                      <a:gd name="T45" fmla="*/ 123 h 132"/>
                      <a:gd name="T46" fmla="*/ 15 w 218"/>
                      <a:gd name="T47" fmla="*/ 123 h 132"/>
                      <a:gd name="T48" fmla="*/ 22 w 218"/>
                      <a:gd name="T49" fmla="*/ 116 h 132"/>
                      <a:gd name="T50" fmla="*/ 22 w 218"/>
                      <a:gd name="T51" fmla="*/ 116 h 132"/>
                      <a:gd name="T52" fmla="*/ 36 w 218"/>
                      <a:gd name="T53" fmla="*/ 111 h 132"/>
                      <a:gd name="T54" fmla="*/ 15 w 218"/>
                      <a:gd name="T55" fmla="*/ 95 h 132"/>
                      <a:gd name="T56" fmla="*/ 15 w 218"/>
                      <a:gd name="T57" fmla="*/ 78 h 132"/>
                      <a:gd name="T58" fmla="*/ 5 w 218"/>
                      <a:gd name="T59" fmla="*/ 78 h 132"/>
                      <a:gd name="T60" fmla="*/ 15 w 218"/>
                      <a:gd name="T61" fmla="*/ 62 h 132"/>
                      <a:gd name="T62" fmla="*/ 0 w 218"/>
                      <a:gd name="T63" fmla="*/ 62 h 132"/>
                      <a:gd name="T64" fmla="*/ 0 w 218"/>
                      <a:gd name="T65" fmla="*/ 54 h 132"/>
                      <a:gd name="T66" fmla="*/ 22 w 218"/>
                      <a:gd name="T67" fmla="*/ 28 h 132"/>
                      <a:gd name="T68" fmla="*/ 22 w 218"/>
                      <a:gd name="T69" fmla="*/ 28 h 132"/>
                      <a:gd name="T70" fmla="*/ 22 w 218"/>
                      <a:gd name="T71" fmla="*/ 2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8" h="132">
                        <a:moveTo>
                          <a:pt x="22" y="28"/>
                        </a:moveTo>
                        <a:lnTo>
                          <a:pt x="74" y="45"/>
                        </a:lnTo>
                        <a:lnTo>
                          <a:pt x="102" y="38"/>
                        </a:lnTo>
                        <a:lnTo>
                          <a:pt x="102" y="21"/>
                        </a:lnTo>
                        <a:lnTo>
                          <a:pt x="166" y="12"/>
                        </a:lnTo>
                        <a:lnTo>
                          <a:pt x="180" y="0"/>
                        </a:lnTo>
                        <a:lnTo>
                          <a:pt x="208" y="5"/>
                        </a:lnTo>
                        <a:lnTo>
                          <a:pt x="196" y="12"/>
                        </a:lnTo>
                        <a:lnTo>
                          <a:pt x="218" y="38"/>
                        </a:lnTo>
                        <a:lnTo>
                          <a:pt x="196" y="28"/>
                        </a:lnTo>
                        <a:lnTo>
                          <a:pt x="196" y="45"/>
                        </a:lnTo>
                        <a:lnTo>
                          <a:pt x="154" y="62"/>
                        </a:lnTo>
                        <a:lnTo>
                          <a:pt x="154" y="66"/>
                        </a:lnTo>
                        <a:lnTo>
                          <a:pt x="159" y="78"/>
                        </a:lnTo>
                        <a:lnTo>
                          <a:pt x="159" y="95"/>
                        </a:lnTo>
                        <a:lnTo>
                          <a:pt x="128" y="99"/>
                        </a:lnTo>
                        <a:lnTo>
                          <a:pt x="128" y="111"/>
                        </a:lnTo>
                        <a:lnTo>
                          <a:pt x="137" y="111"/>
                        </a:lnTo>
                        <a:lnTo>
                          <a:pt x="128" y="123"/>
                        </a:lnTo>
                        <a:lnTo>
                          <a:pt x="123" y="132"/>
                        </a:lnTo>
                        <a:lnTo>
                          <a:pt x="102" y="123"/>
                        </a:lnTo>
                        <a:lnTo>
                          <a:pt x="85" y="111"/>
                        </a:lnTo>
                        <a:lnTo>
                          <a:pt x="69" y="123"/>
                        </a:lnTo>
                        <a:lnTo>
                          <a:pt x="15" y="123"/>
                        </a:lnTo>
                        <a:lnTo>
                          <a:pt x="22" y="116"/>
                        </a:lnTo>
                        <a:lnTo>
                          <a:pt x="22" y="116"/>
                        </a:lnTo>
                        <a:lnTo>
                          <a:pt x="36" y="111"/>
                        </a:lnTo>
                        <a:lnTo>
                          <a:pt x="15" y="95"/>
                        </a:lnTo>
                        <a:lnTo>
                          <a:pt x="15" y="78"/>
                        </a:lnTo>
                        <a:lnTo>
                          <a:pt x="5" y="78"/>
                        </a:lnTo>
                        <a:lnTo>
                          <a:pt x="15" y="62"/>
                        </a:lnTo>
                        <a:lnTo>
                          <a:pt x="0" y="62"/>
                        </a:lnTo>
                        <a:lnTo>
                          <a:pt x="0" y="54"/>
                        </a:lnTo>
                        <a:lnTo>
                          <a:pt x="22" y="28"/>
                        </a:lnTo>
                        <a:lnTo>
                          <a:pt x="22" y="28"/>
                        </a:lnTo>
                        <a:lnTo>
                          <a:pt x="22" y="2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1" name="Freeform 554">
                    <a:extLst>
                      <a:ext uri="{FF2B5EF4-FFF2-40B4-BE49-F238E27FC236}">
                        <a16:creationId xmlns:a16="http://schemas.microsoft.com/office/drawing/2014/main" id="{535E55FF-E885-4F3F-9ACB-C876D2377ECA}"/>
                      </a:ext>
                    </a:extLst>
                  </p:cNvPr>
                  <p:cNvSpPr>
                    <a:spLocks/>
                  </p:cNvSpPr>
                  <p:nvPr/>
                </p:nvSpPr>
                <p:spPr bwMode="gray">
                  <a:xfrm>
                    <a:off x="7083977" y="2670169"/>
                    <a:ext cx="4940" cy="3706"/>
                  </a:xfrm>
                  <a:custGeom>
                    <a:avLst/>
                    <a:gdLst>
                      <a:gd name="T0" fmla="*/ 0 w 12"/>
                      <a:gd name="T1" fmla="*/ 0 h 9"/>
                      <a:gd name="T2" fmla="*/ 12 w 12"/>
                      <a:gd name="T3" fmla="*/ 0 h 9"/>
                      <a:gd name="T4" fmla="*/ 0 w 12"/>
                      <a:gd name="T5" fmla="*/ 9 h 9"/>
                      <a:gd name="T6" fmla="*/ 0 w 12"/>
                      <a:gd name="T7" fmla="*/ 0 h 9"/>
                      <a:gd name="T8" fmla="*/ 0 w 12"/>
                      <a:gd name="T9" fmla="*/ 0 h 9"/>
                      <a:gd name="T10" fmla="*/ 0 w 12"/>
                      <a:gd name="T11" fmla="*/ 0 h 9"/>
                    </a:gdLst>
                    <a:ahLst/>
                    <a:cxnLst>
                      <a:cxn ang="0">
                        <a:pos x="T0" y="T1"/>
                      </a:cxn>
                      <a:cxn ang="0">
                        <a:pos x="T2" y="T3"/>
                      </a:cxn>
                      <a:cxn ang="0">
                        <a:pos x="T4" y="T5"/>
                      </a:cxn>
                      <a:cxn ang="0">
                        <a:pos x="T6" y="T7"/>
                      </a:cxn>
                      <a:cxn ang="0">
                        <a:pos x="T8" y="T9"/>
                      </a:cxn>
                      <a:cxn ang="0">
                        <a:pos x="T10" y="T11"/>
                      </a:cxn>
                    </a:cxnLst>
                    <a:rect l="0" t="0" r="r" b="b"/>
                    <a:pathLst>
                      <a:path w="12" h="9">
                        <a:moveTo>
                          <a:pt x="0" y="0"/>
                        </a:moveTo>
                        <a:lnTo>
                          <a:pt x="12" y="0"/>
                        </a:lnTo>
                        <a:lnTo>
                          <a:pt x="0" y="9"/>
                        </a:lnTo>
                        <a:lnTo>
                          <a:pt x="0" y="0"/>
                        </a:lnTo>
                        <a:lnTo>
                          <a:pt x="0" y="0"/>
                        </a:lnTo>
                        <a:lnTo>
                          <a:pt x="0"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5" name="Freeform 558">
                    <a:extLst>
                      <a:ext uri="{FF2B5EF4-FFF2-40B4-BE49-F238E27FC236}">
                        <a16:creationId xmlns:a16="http://schemas.microsoft.com/office/drawing/2014/main" id="{15C0A377-D1B6-4A24-92A0-8446EC4C42C3}"/>
                      </a:ext>
                    </a:extLst>
                  </p:cNvPr>
                  <p:cNvSpPr>
                    <a:spLocks/>
                  </p:cNvSpPr>
                  <p:nvPr/>
                </p:nvSpPr>
                <p:spPr bwMode="gray">
                  <a:xfrm>
                    <a:off x="7269639" y="2588237"/>
                    <a:ext cx="119796" cy="157688"/>
                  </a:xfrm>
                  <a:custGeom>
                    <a:avLst/>
                    <a:gdLst>
                      <a:gd name="T0" fmla="*/ 90 w 291"/>
                      <a:gd name="T1" fmla="*/ 317 h 383"/>
                      <a:gd name="T2" fmla="*/ 102 w 291"/>
                      <a:gd name="T3" fmla="*/ 300 h 383"/>
                      <a:gd name="T4" fmla="*/ 107 w 291"/>
                      <a:gd name="T5" fmla="*/ 295 h 383"/>
                      <a:gd name="T6" fmla="*/ 31 w 291"/>
                      <a:gd name="T7" fmla="*/ 239 h 383"/>
                      <a:gd name="T8" fmla="*/ 48 w 291"/>
                      <a:gd name="T9" fmla="*/ 222 h 383"/>
                      <a:gd name="T10" fmla="*/ 48 w 291"/>
                      <a:gd name="T11" fmla="*/ 201 h 383"/>
                      <a:gd name="T12" fmla="*/ 22 w 291"/>
                      <a:gd name="T13" fmla="*/ 168 h 383"/>
                      <a:gd name="T14" fmla="*/ 14 w 291"/>
                      <a:gd name="T15" fmla="*/ 118 h 383"/>
                      <a:gd name="T16" fmla="*/ 48 w 291"/>
                      <a:gd name="T17" fmla="*/ 90 h 383"/>
                      <a:gd name="T18" fmla="*/ 14 w 291"/>
                      <a:gd name="T19" fmla="*/ 62 h 383"/>
                      <a:gd name="T20" fmla="*/ 5 w 291"/>
                      <a:gd name="T21" fmla="*/ 57 h 383"/>
                      <a:gd name="T22" fmla="*/ 0 w 291"/>
                      <a:gd name="T23" fmla="*/ 24 h 383"/>
                      <a:gd name="T24" fmla="*/ 31 w 291"/>
                      <a:gd name="T25" fmla="*/ 17 h 383"/>
                      <a:gd name="T26" fmla="*/ 102 w 291"/>
                      <a:gd name="T27" fmla="*/ 7 h 383"/>
                      <a:gd name="T28" fmla="*/ 140 w 291"/>
                      <a:gd name="T29" fmla="*/ 40 h 383"/>
                      <a:gd name="T30" fmla="*/ 194 w 291"/>
                      <a:gd name="T31" fmla="*/ 95 h 383"/>
                      <a:gd name="T32" fmla="*/ 194 w 291"/>
                      <a:gd name="T33" fmla="*/ 118 h 383"/>
                      <a:gd name="T34" fmla="*/ 182 w 291"/>
                      <a:gd name="T35" fmla="*/ 128 h 383"/>
                      <a:gd name="T36" fmla="*/ 199 w 291"/>
                      <a:gd name="T37" fmla="*/ 135 h 383"/>
                      <a:gd name="T38" fmla="*/ 232 w 291"/>
                      <a:gd name="T39" fmla="*/ 151 h 383"/>
                      <a:gd name="T40" fmla="*/ 253 w 291"/>
                      <a:gd name="T41" fmla="*/ 135 h 383"/>
                      <a:gd name="T42" fmla="*/ 253 w 291"/>
                      <a:gd name="T43" fmla="*/ 151 h 383"/>
                      <a:gd name="T44" fmla="*/ 253 w 291"/>
                      <a:gd name="T45" fmla="*/ 201 h 383"/>
                      <a:gd name="T46" fmla="*/ 265 w 291"/>
                      <a:gd name="T47" fmla="*/ 246 h 383"/>
                      <a:gd name="T48" fmla="*/ 279 w 291"/>
                      <a:gd name="T49" fmla="*/ 295 h 383"/>
                      <a:gd name="T50" fmla="*/ 253 w 291"/>
                      <a:gd name="T51" fmla="*/ 317 h 383"/>
                      <a:gd name="T52" fmla="*/ 248 w 291"/>
                      <a:gd name="T53" fmla="*/ 338 h 383"/>
                      <a:gd name="T54" fmla="*/ 199 w 291"/>
                      <a:gd name="T55" fmla="*/ 350 h 383"/>
                      <a:gd name="T56" fmla="*/ 177 w 291"/>
                      <a:gd name="T57" fmla="*/ 354 h 383"/>
                      <a:gd name="T58" fmla="*/ 140 w 291"/>
                      <a:gd name="T59" fmla="*/ 366 h 383"/>
                      <a:gd name="T60" fmla="*/ 123 w 291"/>
                      <a:gd name="T61" fmla="*/ 383 h 383"/>
                      <a:gd name="T62" fmla="*/ 102 w 291"/>
                      <a:gd name="T63" fmla="*/ 338 h 383"/>
                      <a:gd name="T64" fmla="*/ 85 w 291"/>
                      <a:gd name="T65" fmla="*/ 32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1" h="383">
                        <a:moveTo>
                          <a:pt x="85" y="329"/>
                        </a:moveTo>
                        <a:lnTo>
                          <a:pt x="90" y="317"/>
                        </a:lnTo>
                        <a:lnTo>
                          <a:pt x="85" y="312"/>
                        </a:lnTo>
                        <a:lnTo>
                          <a:pt x="102" y="300"/>
                        </a:lnTo>
                        <a:lnTo>
                          <a:pt x="107" y="300"/>
                        </a:lnTo>
                        <a:lnTo>
                          <a:pt x="107" y="295"/>
                        </a:lnTo>
                        <a:lnTo>
                          <a:pt x="64" y="272"/>
                        </a:lnTo>
                        <a:lnTo>
                          <a:pt x="31" y="239"/>
                        </a:lnTo>
                        <a:lnTo>
                          <a:pt x="48" y="239"/>
                        </a:lnTo>
                        <a:lnTo>
                          <a:pt x="48" y="222"/>
                        </a:lnTo>
                        <a:lnTo>
                          <a:pt x="31" y="201"/>
                        </a:lnTo>
                        <a:lnTo>
                          <a:pt x="48" y="201"/>
                        </a:lnTo>
                        <a:lnTo>
                          <a:pt x="52" y="189"/>
                        </a:lnTo>
                        <a:lnTo>
                          <a:pt x="22" y="168"/>
                        </a:lnTo>
                        <a:lnTo>
                          <a:pt x="38" y="118"/>
                        </a:lnTo>
                        <a:lnTo>
                          <a:pt x="14" y="118"/>
                        </a:lnTo>
                        <a:lnTo>
                          <a:pt x="22" y="90"/>
                        </a:lnTo>
                        <a:lnTo>
                          <a:pt x="48" y="90"/>
                        </a:lnTo>
                        <a:lnTo>
                          <a:pt x="14" y="73"/>
                        </a:lnTo>
                        <a:lnTo>
                          <a:pt x="14" y="62"/>
                        </a:lnTo>
                        <a:lnTo>
                          <a:pt x="22" y="62"/>
                        </a:lnTo>
                        <a:lnTo>
                          <a:pt x="5" y="57"/>
                        </a:lnTo>
                        <a:lnTo>
                          <a:pt x="5" y="40"/>
                        </a:lnTo>
                        <a:lnTo>
                          <a:pt x="0" y="24"/>
                        </a:lnTo>
                        <a:lnTo>
                          <a:pt x="22" y="17"/>
                        </a:lnTo>
                        <a:lnTo>
                          <a:pt x="31" y="17"/>
                        </a:lnTo>
                        <a:lnTo>
                          <a:pt x="52" y="0"/>
                        </a:lnTo>
                        <a:lnTo>
                          <a:pt x="102" y="7"/>
                        </a:lnTo>
                        <a:lnTo>
                          <a:pt x="128" y="40"/>
                        </a:lnTo>
                        <a:lnTo>
                          <a:pt x="140" y="40"/>
                        </a:lnTo>
                        <a:lnTo>
                          <a:pt x="140" y="62"/>
                        </a:lnTo>
                        <a:lnTo>
                          <a:pt x="194" y="95"/>
                        </a:lnTo>
                        <a:lnTo>
                          <a:pt x="177" y="111"/>
                        </a:lnTo>
                        <a:lnTo>
                          <a:pt x="194" y="118"/>
                        </a:lnTo>
                        <a:lnTo>
                          <a:pt x="177" y="118"/>
                        </a:lnTo>
                        <a:lnTo>
                          <a:pt x="182" y="128"/>
                        </a:lnTo>
                        <a:lnTo>
                          <a:pt x="194" y="128"/>
                        </a:lnTo>
                        <a:lnTo>
                          <a:pt x="199" y="135"/>
                        </a:lnTo>
                        <a:lnTo>
                          <a:pt x="227" y="144"/>
                        </a:lnTo>
                        <a:lnTo>
                          <a:pt x="232" y="151"/>
                        </a:lnTo>
                        <a:lnTo>
                          <a:pt x="248" y="135"/>
                        </a:lnTo>
                        <a:lnTo>
                          <a:pt x="253" y="135"/>
                        </a:lnTo>
                        <a:lnTo>
                          <a:pt x="279" y="151"/>
                        </a:lnTo>
                        <a:lnTo>
                          <a:pt x="253" y="151"/>
                        </a:lnTo>
                        <a:lnTo>
                          <a:pt x="270" y="173"/>
                        </a:lnTo>
                        <a:lnTo>
                          <a:pt x="253" y="201"/>
                        </a:lnTo>
                        <a:lnTo>
                          <a:pt x="248" y="217"/>
                        </a:lnTo>
                        <a:lnTo>
                          <a:pt x="265" y="246"/>
                        </a:lnTo>
                        <a:lnTo>
                          <a:pt x="291" y="272"/>
                        </a:lnTo>
                        <a:lnTo>
                          <a:pt x="279" y="295"/>
                        </a:lnTo>
                        <a:lnTo>
                          <a:pt x="253" y="300"/>
                        </a:lnTo>
                        <a:lnTo>
                          <a:pt x="253" y="317"/>
                        </a:lnTo>
                        <a:lnTo>
                          <a:pt x="265" y="333"/>
                        </a:lnTo>
                        <a:lnTo>
                          <a:pt x="248" y="338"/>
                        </a:lnTo>
                        <a:lnTo>
                          <a:pt x="215" y="338"/>
                        </a:lnTo>
                        <a:lnTo>
                          <a:pt x="199" y="350"/>
                        </a:lnTo>
                        <a:lnTo>
                          <a:pt x="182" y="350"/>
                        </a:lnTo>
                        <a:lnTo>
                          <a:pt x="177" y="354"/>
                        </a:lnTo>
                        <a:lnTo>
                          <a:pt x="161" y="354"/>
                        </a:lnTo>
                        <a:lnTo>
                          <a:pt x="140" y="366"/>
                        </a:lnTo>
                        <a:lnTo>
                          <a:pt x="128" y="383"/>
                        </a:lnTo>
                        <a:lnTo>
                          <a:pt x="123" y="383"/>
                        </a:lnTo>
                        <a:lnTo>
                          <a:pt x="123" y="350"/>
                        </a:lnTo>
                        <a:lnTo>
                          <a:pt x="102" y="338"/>
                        </a:lnTo>
                        <a:lnTo>
                          <a:pt x="85" y="329"/>
                        </a:lnTo>
                        <a:lnTo>
                          <a:pt x="85" y="329"/>
                        </a:lnTo>
                        <a:lnTo>
                          <a:pt x="85" y="32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7" name="Freeform 560">
                    <a:extLst>
                      <a:ext uri="{FF2B5EF4-FFF2-40B4-BE49-F238E27FC236}">
                        <a16:creationId xmlns:a16="http://schemas.microsoft.com/office/drawing/2014/main" id="{8CDA54BF-053F-495B-BB79-138EC8E93DA7}"/>
                      </a:ext>
                    </a:extLst>
                  </p:cNvPr>
                  <p:cNvSpPr>
                    <a:spLocks noEditPoints="1"/>
                  </p:cNvSpPr>
                  <p:nvPr/>
                </p:nvSpPr>
                <p:spPr bwMode="gray">
                  <a:xfrm>
                    <a:off x="7027578" y="899789"/>
                    <a:ext cx="761590" cy="406775"/>
                  </a:xfrm>
                  <a:custGeom>
                    <a:avLst/>
                    <a:gdLst>
                      <a:gd name="T0" fmla="*/ 749 w 1850"/>
                      <a:gd name="T1" fmla="*/ 22 h 988"/>
                      <a:gd name="T2" fmla="*/ 706 w 1850"/>
                      <a:gd name="T3" fmla="*/ 17 h 988"/>
                      <a:gd name="T4" fmla="*/ 678 w 1850"/>
                      <a:gd name="T5" fmla="*/ 38 h 988"/>
                      <a:gd name="T6" fmla="*/ 959 w 1850"/>
                      <a:gd name="T7" fmla="*/ 43 h 988"/>
                      <a:gd name="T8" fmla="*/ 834 w 1850"/>
                      <a:gd name="T9" fmla="*/ 60 h 988"/>
                      <a:gd name="T10" fmla="*/ 905 w 1850"/>
                      <a:gd name="T11" fmla="*/ 71 h 988"/>
                      <a:gd name="T12" fmla="*/ 933 w 1850"/>
                      <a:gd name="T13" fmla="*/ 78 h 988"/>
                      <a:gd name="T14" fmla="*/ 1013 w 1850"/>
                      <a:gd name="T15" fmla="*/ 78 h 988"/>
                      <a:gd name="T16" fmla="*/ 1082 w 1850"/>
                      <a:gd name="T17" fmla="*/ 187 h 988"/>
                      <a:gd name="T18" fmla="*/ 921 w 1850"/>
                      <a:gd name="T19" fmla="*/ 260 h 988"/>
                      <a:gd name="T20" fmla="*/ 690 w 1850"/>
                      <a:gd name="T21" fmla="*/ 187 h 988"/>
                      <a:gd name="T22" fmla="*/ 586 w 1850"/>
                      <a:gd name="T23" fmla="*/ 128 h 988"/>
                      <a:gd name="T24" fmla="*/ 657 w 1850"/>
                      <a:gd name="T25" fmla="*/ 95 h 988"/>
                      <a:gd name="T26" fmla="*/ 728 w 1850"/>
                      <a:gd name="T27" fmla="*/ 78 h 988"/>
                      <a:gd name="T28" fmla="*/ 825 w 1850"/>
                      <a:gd name="T29" fmla="*/ 133 h 988"/>
                      <a:gd name="T30" fmla="*/ 980 w 1850"/>
                      <a:gd name="T31" fmla="*/ 60 h 988"/>
                      <a:gd name="T32" fmla="*/ 586 w 1850"/>
                      <a:gd name="T33" fmla="*/ 78 h 988"/>
                      <a:gd name="T34" fmla="*/ 1481 w 1850"/>
                      <a:gd name="T35" fmla="*/ 116 h 988"/>
                      <a:gd name="T36" fmla="*/ 1219 w 1850"/>
                      <a:gd name="T37" fmla="*/ 100 h 988"/>
                      <a:gd name="T38" fmla="*/ 1843 w 1850"/>
                      <a:gd name="T39" fmla="*/ 100 h 988"/>
                      <a:gd name="T40" fmla="*/ 85 w 1850"/>
                      <a:gd name="T41" fmla="*/ 334 h 988"/>
                      <a:gd name="T42" fmla="*/ 118 w 1850"/>
                      <a:gd name="T43" fmla="*/ 244 h 988"/>
                      <a:gd name="T44" fmla="*/ 31 w 1850"/>
                      <a:gd name="T45" fmla="*/ 227 h 988"/>
                      <a:gd name="T46" fmla="*/ 85 w 1850"/>
                      <a:gd name="T47" fmla="*/ 154 h 988"/>
                      <a:gd name="T48" fmla="*/ 139 w 1850"/>
                      <a:gd name="T49" fmla="*/ 194 h 988"/>
                      <a:gd name="T50" fmla="*/ 295 w 1850"/>
                      <a:gd name="T51" fmla="*/ 154 h 988"/>
                      <a:gd name="T52" fmla="*/ 388 w 1850"/>
                      <a:gd name="T53" fmla="*/ 239 h 988"/>
                      <a:gd name="T54" fmla="*/ 458 w 1850"/>
                      <a:gd name="T55" fmla="*/ 133 h 988"/>
                      <a:gd name="T56" fmla="*/ 555 w 1850"/>
                      <a:gd name="T57" fmla="*/ 187 h 988"/>
                      <a:gd name="T58" fmla="*/ 652 w 1850"/>
                      <a:gd name="T59" fmla="*/ 350 h 988"/>
                      <a:gd name="T60" fmla="*/ 555 w 1850"/>
                      <a:gd name="T61" fmla="*/ 442 h 988"/>
                      <a:gd name="T62" fmla="*/ 480 w 1850"/>
                      <a:gd name="T63" fmla="*/ 598 h 988"/>
                      <a:gd name="T64" fmla="*/ 350 w 1850"/>
                      <a:gd name="T65" fmla="*/ 598 h 988"/>
                      <a:gd name="T66" fmla="*/ 286 w 1850"/>
                      <a:gd name="T67" fmla="*/ 520 h 988"/>
                      <a:gd name="T68" fmla="*/ 248 w 1850"/>
                      <a:gd name="T69" fmla="*/ 487 h 988"/>
                      <a:gd name="T70" fmla="*/ 265 w 1850"/>
                      <a:gd name="T71" fmla="*/ 433 h 988"/>
                      <a:gd name="T72" fmla="*/ 480 w 1850"/>
                      <a:gd name="T73" fmla="*/ 376 h 988"/>
                      <a:gd name="T74" fmla="*/ 350 w 1850"/>
                      <a:gd name="T75" fmla="*/ 350 h 988"/>
                      <a:gd name="T76" fmla="*/ 286 w 1850"/>
                      <a:gd name="T77" fmla="*/ 355 h 988"/>
                      <a:gd name="T78" fmla="*/ 227 w 1850"/>
                      <a:gd name="T79" fmla="*/ 416 h 988"/>
                      <a:gd name="T80" fmla="*/ 662 w 1850"/>
                      <a:gd name="T81" fmla="*/ 249 h 988"/>
                      <a:gd name="T82" fmla="*/ 673 w 1850"/>
                      <a:gd name="T83" fmla="*/ 282 h 988"/>
                      <a:gd name="T84" fmla="*/ 732 w 1850"/>
                      <a:gd name="T85" fmla="*/ 282 h 988"/>
                      <a:gd name="T86" fmla="*/ 1396 w 1850"/>
                      <a:gd name="T87" fmla="*/ 293 h 988"/>
                      <a:gd name="T88" fmla="*/ 1354 w 1850"/>
                      <a:gd name="T89" fmla="*/ 305 h 988"/>
                      <a:gd name="T90" fmla="*/ 47 w 1850"/>
                      <a:gd name="T91" fmla="*/ 371 h 988"/>
                      <a:gd name="T92" fmla="*/ 97 w 1850"/>
                      <a:gd name="T93" fmla="*/ 376 h 988"/>
                      <a:gd name="T94" fmla="*/ 1136 w 1850"/>
                      <a:gd name="T95" fmla="*/ 315 h 988"/>
                      <a:gd name="T96" fmla="*/ 813 w 1850"/>
                      <a:gd name="T97" fmla="*/ 355 h 988"/>
                      <a:gd name="T98" fmla="*/ 678 w 1850"/>
                      <a:gd name="T99" fmla="*/ 371 h 988"/>
                      <a:gd name="T100" fmla="*/ 841 w 1850"/>
                      <a:gd name="T101" fmla="*/ 537 h 988"/>
                      <a:gd name="T102" fmla="*/ 732 w 1850"/>
                      <a:gd name="T103" fmla="*/ 433 h 988"/>
                      <a:gd name="T104" fmla="*/ 1013 w 1850"/>
                      <a:gd name="T105" fmla="*/ 482 h 988"/>
                      <a:gd name="T106" fmla="*/ 879 w 1850"/>
                      <a:gd name="T107" fmla="*/ 560 h 988"/>
                      <a:gd name="T108" fmla="*/ 1068 w 1850"/>
                      <a:gd name="T109" fmla="*/ 648 h 988"/>
                      <a:gd name="T110" fmla="*/ 602 w 1850"/>
                      <a:gd name="T111" fmla="*/ 988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50" h="988">
                        <a:moveTo>
                          <a:pt x="728" y="17"/>
                        </a:moveTo>
                        <a:lnTo>
                          <a:pt x="711" y="0"/>
                        </a:lnTo>
                        <a:lnTo>
                          <a:pt x="744" y="5"/>
                        </a:lnTo>
                        <a:lnTo>
                          <a:pt x="728" y="17"/>
                        </a:lnTo>
                        <a:lnTo>
                          <a:pt x="728" y="17"/>
                        </a:lnTo>
                        <a:lnTo>
                          <a:pt x="728" y="17"/>
                        </a:lnTo>
                        <a:close/>
                        <a:moveTo>
                          <a:pt x="749" y="22"/>
                        </a:moveTo>
                        <a:lnTo>
                          <a:pt x="744" y="17"/>
                        </a:lnTo>
                        <a:lnTo>
                          <a:pt x="765" y="17"/>
                        </a:lnTo>
                        <a:lnTo>
                          <a:pt x="749" y="22"/>
                        </a:lnTo>
                        <a:lnTo>
                          <a:pt x="749" y="22"/>
                        </a:lnTo>
                        <a:lnTo>
                          <a:pt x="749" y="22"/>
                        </a:lnTo>
                        <a:close/>
                        <a:moveTo>
                          <a:pt x="716" y="22"/>
                        </a:moveTo>
                        <a:lnTo>
                          <a:pt x="706" y="17"/>
                        </a:lnTo>
                        <a:lnTo>
                          <a:pt x="728" y="22"/>
                        </a:lnTo>
                        <a:lnTo>
                          <a:pt x="716" y="22"/>
                        </a:lnTo>
                        <a:lnTo>
                          <a:pt x="716" y="22"/>
                        </a:lnTo>
                        <a:lnTo>
                          <a:pt x="716" y="22"/>
                        </a:lnTo>
                        <a:close/>
                        <a:moveTo>
                          <a:pt x="673" y="43"/>
                        </a:moveTo>
                        <a:lnTo>
                          <a:pt x="657" y="43"/>
                        </a:lnTo>
                        <a:lnTo>
                          <a:pt x="678" y="38"/>
                        </a:lnTo>
                        <a:lnTo>
                          <a:pt x="673" y="43"/>
                        </a:lnTo>
                        <a:lnTo>
                          <a:pt x="673" y="43"/>
                        </a:lnTo>
                        <a:lnTo>
                          <a:pt x="673" y="43"/>
                        </a:lnTo>
                        <a:close/>
                        <a:moveTo>
                          <a:pt x="959" y="43"/>
                        </a:moveTo>
                        <a:lnTo>
                          <a:pt x="976" y="43"/>
                        </a:lnTo>
                        <a:lnTo>
                          <a:pt x="947" y="43"/>
                        </a:lnTo>
                        <a:lnTo>
                          <a:pt x="959" y="43"/>
                        </a:lnTo>
                        <a:lnTo>
                          <a:pt x="959" y="43"/>
                        </a:lnTo>
                        <a:lnTo>
                          <a:pt x="959" y="43"/>
                        </a:lnTo>
                        <a:close/>
                        <a:moveTo>
                          <a:pt x="834" y="128"/>
                        </a:moveTo>
                        <a:lnTo>
                          <a:pt x="841" y="83"/>
                        </a:lnTo>
                        <a:lnTo>
                          <a:pt x="851" y="78"/>
                        </a:lnTo>
                        <a:lnTo>
                          <a:pt x="834" y="71"/>
                        </a:lnTo>
                        <a:lnTo>
                          <a:pt x="834" y="60"/>
                        </a:lnTo>
                        <a:lnTo>
                          <a:pt x="858" y="55"/>
                        </a:lnTo>
                        <a:lnTo>
                          <a:pt x="858" y="71"/>
                        </a:lnTo>
                        <a:lnTo>
                          <a:pt x="867" y="71"/>
                        </a:lnTo>
                        <a:lnTo>
                          <a:pt x="872" y="43"/>
                        </a:lnTo>
                        <a:lnTo>
                          <a:pt x="905" y="55"/>
                        </a:lnTo>
                        <a:lnTo>
                          <a:pt x="888" y="60"/>
                        </a:lnTo>
                        <a:lnTo>
                          <a:pt x="905" y="71"/>
                        </a:lnTo>
                        <a:lnTo>
                          <a:pt x="888" y="83"/>
                        </a:lnTo>
                        <a:lnTo>
                          <a:pt x="879" y="100"/>
                        </a:lnTo>
                        <a:lnTo>
                          <a:pt x="888" y="112"/>
                        </a:lnTo>
                        <a:lnTo>
                          <a:pt x="910" y="95"/>
                        </a:lnTo>
                        <a:lnTo>
                          <a:pt x="926" y="100"/>
                        </a:lnTo>
                        <a:lnTo>
                          <a:pt x="933" y="95"/>
                        </a:lnTo>
                        <a:lnTo>
                          <a:pt x="933" y="78"/>
                        </a:lnTo>
                        <a:lnTo>
                          <a:pt x="980" y="78"/>
                        </a:lnTo>
                        <a:lnTo>
                          <a:pt x="964" y="71"/>
                        </a:lnTo>
                        <a:lnTo>
                          <a:pt x="997" y="78"/>
                        </a:lnTo>
                        <a:lnTo>
                          <a:pt x="980" y="83"/>
                        </a:lnTo>
                        <a:lnTo>
                          <a:pt x="985" y="83"/>
                        </a:lnTo>
                        <a:lnTo>
                          <a:pt x="1013" y="71"/>
                        </a:lnTo>
                        <a:lnTo>
                          <a:pt x="1013" y="78"/>
                        </a:lnTo>
                        <a:lnTo>
                          <a:pt x="1002" y="83"/>
                        </a:lnTo>
                        <a:lnTo>
                          <a:pt x="1039" y="78"/>
                        </a:lnTo>
                        <a:lnTo>
                          <a:pt x="1035" y="83"/>
                        </a:lnTo>
                        <a:lnTo>
                          <a:pt x="1174" y="112"/>
                        </a:lnTo>
                        <a:lnTo>
                          <a:pt x="1165" y="133"/>
                        </a:lnTo>
                        <a:lnTo>
                          <a:pt x="1181" y="138"/>
                        </a:lnTo>
                        <a:lnTo>
                          <a:pt x="1082" y="187"/>
                        </a:lnTo>
                        <a:lnTo>
                          <a:pt x="1089" y="206"/>
                        </a:lnTo>
                        <a:lnTo>
                          <a:pt x="1073" y="223"/>
                        </a:lnTo>
                        <a:lnTo>
                          <a:pt x="1035" y="239"/>
                        </a:lnTo>
                        <a:lnTo>
                          <a:pt x="1002" y="227"/>
                        </a:lnTo>
                        <a:lnTo>
                          <a:pt x="976" y="239"/>
                        </a:lnTo>
                        <a:lnTo>
                          <a:pt x="959" y="260"/>
                        </a:lnTo>
                        <a:lnTo>
                          <a:pt x="921" y="260"/>
                        </a:lnTo>
                        <a:lnTo>
                          <a:pt x="858" y="239"/>
                        </a:lnTo>
                        <a:lnTo>
                          <a:pt x="872" y="223"/>
                        </a:lnTo>
                        <a:lnTo>
                          <a:pt x="728" y="227"/>
                        </a:lnTo>
                        <a:lnTo>
                          <a:pt x="728" y="211"/>
                        </a:lnTo>
                        <a:lnTo>
                          <a:pt x="690" y="211"/>
                        </a:lnTo>
                        <a:lnTo>
                          <a:pt x="640" y="187"/>
                        </a:lnTo>
                        <a:lnTo>
                          <a:pt x="690" y="187"/>
                        </a:lnTo>
                        <a:lnTo>
                          <a:pt x="749" y="194"/>
                        </a:lnTo>
                        <a:lnTo>
                          <a:pt x="706" y="182"/>
                        </a:lnTo>
                        <a:lnTo>
                          <a:pt x="803" y="171"/>
                        </a:lnTo>
                        <a:lnTo>
                          <a:pt x="834" y="154"/>
                        </a:lnTo>
                        <a:lnTo>
                          <a:pt x="586" y="171"/>
                        </a:lnTo>
                        <a:lnTo>
                          <a:pt x="539" y="138"/>
                        </a:lnTo>
                        <a:lnTo>
                          <a:pt x="586" y="128"/>
                        </a:lnTo>
                        <a:lnTo>
                          <a:pt x="517" y="112"/>
                        </a:lnTo>
                        <a:lnTo>
                          <a:pt x="581" y="95"/>
                        </a:lnTo>
                        <a:lnTo>
                          <a:pt x="624" y="112"/>
                        </a:lnTo>
                        <a:lnTo>
                          <a:pt x="640" y="100"/>
                        </a:lnTo>
                        <a:lnTo>
                          <a:pt x="619" y="95"/>
                        </a:lnTo>
                        <a:lnTo>
                          <a:pt x="602" y="71"/>
                        </a:lnTo>
                        <a:lnTo>
                          <a:pt x="657" y="95"/>
                        </a:lnTo>
                        <a:lnTo>
                          <a:pt x="657" y="78"/>
                        </a:lnTo>
                        <a:lnTo>
                          <a:pt x="662" y="60"/>
                        </a:lnTo>
                        <a:lnTo>
                          <a:pt x="636" y="55"/>
                        </a:lnTo>
                        <a:lnTo>
                          <a:pt x="652" y="43"/>
                        </a:lnTo>
                        <a:lnTo>
                          <a:pt x="706" y="60"/>
                        </a:lnTo>
                        <a:lnTo>
                          <a:pt x="711" y="78"/>
                        </a:lnTo>
                        <a:lnTo>
                          <a:pt x="728" y="78"/>
                        </a:lnTo>
                        <a:lnTo>
                          <a:pt x="728" y="83"/>
                        </a:lnTo>
                        <a:lnTo>
                          <a:pt x="728" y="95"/>
                        </a:lnTo>
                        <a:lnTo>
                          <a:pt x="803" y="83"/>
                        </a:lnTo>
                        <a:lnTo>
                          <a:pt x="803" y="95"/>
                        </a:lnTo>
                        <a:lnTo>
                          <a:pt x="782" y="112"/>
                        </a:lnTo>
                        <a:lnTo>
                          <a:pt x="803" y="100"/>
                        </a:lnTo>
                        <a:lnTo>
                          <a:pt x="825" y="133"/>
                        </a:lnTo>
                        <a:lnTo>
                          <a:pt x="834" y="128"/>
                        </a:lnTo>
                        <a:lnTo>
                          <a:pt x="834" y="128"/>
                        </a:lnTo>
                        <a:lnTo>
                          <a:pt x="834" y="128"/>
                        </a:lnTo>
                        <a:close/>
                        <a:moveTo>
                          <a:pt x="976" y="60"/>
                        </a:moveTo>
                        <a:lnTo>
                          <a:pt x="959" y="60"/>
                        </a:lnTo>
                        <a:lnTo>
                          <a:pt x="964" y="55"/>
                        </a:lnTo>
                        <a:lnTo>
                          <a:pt x="980" y="60"/>
                        </a:lnTo>
                        <a:lnTo>
                          <a:pt x="976" y="60"/>
                        </a:lnTo>
                        <a:lnTo>
                          <a:pt x="976" y="60"/>
                        </a:lnTo>
                        <a:lnTo>
                          <a:pt x="976" y="60"/>
                        </a:lnTo>
                        <a:close/>
                        <a:moveTo>
                          <a:pt x="565" y="83"/>
                        </a:moveTo>
                        <a:lnTo>
                          <a:pt x="539" y="78"/>
                        </a:lnTo>
                        <a:lnTo>
                          <a:pt x="555" y="71"/>
                        </a:lnTo>
                        <a:lnTo>
                          <a:pt x="586" y="78"/>
                        </a:lnTo>
                        <a:lnTo>
                          <a:pt x="565" y="83"/>
                        </a:lnTo>
                        <a:lnTo>
                          <a:pt x="565" y="83"/>
                        </a:lnTo>
                        <a:lnTo>
                          <a:pt x="565" y="83"/>
                        </a:lnTo>
                        <a:close/>
                        <a:moveTo>
                          <a:pt x="1481" y="116"/>
                        </a:moveTo>
                        <a:lnTo>
                          <a:pt x="1472" y="112"/>
                        </a:lnTo>
                        <a:lnTo>
                          <a:pt x="1628" y="95"/>
                        </a:lnTo>
                        <a:lnTo>
                          <a:pt x="1481" y="116"/>
                        </a:lnTo>
                        <a:lnTo>
                          <a:pt x="1481" y="116"/>
                        </a:lnTo>
                        <a:lnTo>
                          <a:pt x="1481" y="116"/>
                        </a:lnTo>
                        <a:close/>
                        <a:moveTo>
                          <a:pt x="1219" y="100"/>
                        </a:moveTo>
                        <a:lnTo>
                          <a:pt x="1233" y="100"/>
                        </a:lnTo>
                        <a:lnTo>
                          <a:pt x="1212" y="112"/>
                        </a:lnTo>
                        <a:lnTo>
                          <a:pt x="1219" y="100"/>
                        </a:lnTo>
                        <a:lnTo>
                          <a:pt x="1219" y="100"/>
                        </a:lnTo>
                        <a:lnTo>
                          <a:pt x="1219" y="100"/>
                        </a:lnTo>
                        <a:close/>
                        <a:moveTo>
                          <a:pt x="1843" y="100"/>
                        </a:moveTo>
                        <a:lnTo>
                          <a:pt x="1838" y="100"/>
                        </a:lnTo>
                        <a:lnTo>
                          <a:pt x="1850" y="100"/>
                        </a:lnTo>
                        <a:lnTo>
                          <a:pt x="1843" y="100"/>
                        </a:lnTo>
                        <a:lnTo>
                          <a:pt x="1843" y="100"/>
                        </a:lnTo>
                        <a:lnTo>
                          <a:pt x="1843" y="100"/>
                        </a:lnTo>
                        <a:close/>
                        <a:moveTo>
                          <a:pt x="227" y="416"/>
                        </a:moveTo>
                        <a:lnTo>
                          <a:pt x="177" y="409"/>
                        </a:lnTo>
                        <a:lnTo>
                          <a:pt x="173" y="393"/>
                        </a:lnTo>
                        <a:lnTo>
                          <a:pt x="135" y="371"/>
                        </a:lnTo>
                        <a:lnTo>
                          <a:pt x="194" y="360"/>
                        </a:lnTo>
                        <a:lnTo>
                          <a:pt x="102" y="350"/>
                        </a:lnTo>
                        <a:lnTo>
                          <a:pt x="85" y="334"/>
                        </a:lnTo>
                        <a:lnTo>
                          <a:pt x="102" y="315"/>
                        </a:lnTo>
                        <a:lnTo>
                          <a:pt x="64" y="293"/>
                        </a:lnTo>
                        <a:lnTo>
                          <a:pt x="151" y="298"/>
                        </a:lnTo>
                        <a:lnTo>
                          <a:pt x="139" y="293"/>
                        </a:lnTo>
                        <a:lnTo>
                          <a:pt x="106" y="293"/>
                        </a:lnTo>
                        <a:lnTo>
                          <a:pt x="97" y="277"/>
                        </a:lnTo>
                        <a:lnTo>
                          <a:pt x="118" y="244"/>
                        </a:lnTo>
                        <a:lnTo>
                          <a:pt x="102" y="249"/>
                        </a:lnTo>
                        <a:lnTo>
                          <a:pt x="85" y="239"/>
                        </a:lnTo>
                        <a:lnTo>
                          <a:pt x="80" y="244"/>
                        </a:lnTo>
                        <a:lnTo>
                          <a:pt x="97" y="260"/>
                        </a:lnTo>
                        <a:lnTo>
                          <a:pt x="52" y="277"/>
                        </a:lnTo>
                        <a:lnTo>
                          <a:pt x="47" y="249"/>
                        </a:lnTo>
                        <a:lnTo>
                          <a:pt x="31" y="227"/>
                        </a:lnTo>
                        <a:lnTo>
                          <a:pt x="31" y="211"/>
                        </a:lnTo>
                        <a:lnTo>
                          <a:pt x="14" y="194"/>
                        </a:lnTo>
                        <a:lnTo>
                          <a:pt x="52" y="194"/>
                        </a:lnTo>
                        <a:lnTo>
                          <a:pt x="31" y="194"/>
                        </a:lnTo>
                        <a:lnTo>
                          <a:pt x="64" y="187"/>
                        </a:lnTo>
                        <a:lnTo>
                          <a:pt x="52" y="166"/>
                        </a:lnTo>
                        <a:lnTo>
                          <a:pt x="85" y="154"/>
                        </a:lnTo>
                        <a:lnTo>
                          <a:pt x="135" y="182"/>
                        </a:lnTo>
                        <a:lnTo>
                          <a:pt x="135" y="171"/>
                        </a:lnTo>
                        <a:lnTo>
                          <a:pt x="123" y="154"/>
                        </a:lnTo>
                        <a:lnTo>
                          <a:pt x="156" y="166"/>
                        </a:lnTo>
                        <a:lnTo>
                          <a:pt x="241" y="149"/>
                        </a:lnTo>
                        <a:lnTo>
                          <a:pt x="248" y="166"/>
                        </a:lnTo>
                        <a:lnTo>
                          <a:pt x="139" y="194"/>
                        </a:lnTo>
                        <a:lnTo>
                          <a:pt x="215" y="194"/>
                        </a:lnTo>
                        <a:lnTo>
                          <a:pt x="203" y="211"/>
                        </a:lnTo>
                        <a:lnTo>
                          <a:pt x="227" y="211"/>
                        </a:lnTo>
                        <a:lnTo>
                          <a:pt x="258" y="244"/>
                        </a:lnTo>
                        <a:lnTo>
                          <a:pt x="265" y="239"/>
                        </a:lnTo>
                        <a:lnTo>
                          <a:pt x="241" y="206"/>
                        </a:lnTo>
                        <a:lnTo>
                          <a:pt x="295" y="154"/>
                        </a:lnTo>
                        <a:lnTo>
                          <a:pt x="338" y="187"/>
                        </a:lnTo>
                        <a:lnTo>
                          <a:pt x="354" y="239"/>
                        </a:lnTo>
                        <a:lnTo>
                          <a:pt x="376" y="249"/>
                        </a:lnTo>
                        <a:lnTo>
                          <a:pt x="371" y="265"/>
                        </a:lnTo>
                        <a:lnTo>
                          <a:pt x="376" y="260"/>
                        </a:lnTo>
                        <a:lnTo>
                          <a:pt x="425" y="305"/>
                        </a:lnTo>
                        <a:lnTo>
                          <a:pt x="388" y="239"/>
                        </a:lnTo>
                        <a:lnTo>
                          <a:pt x="366" y="154"/>
                        </a:lnTo>
                        <a:lnTo>
                          <a:pt x="404" y="149"/>
                        </a:lnTo>
                        <a:lnTo>
                          <a:pt x="388" y="133"/>
                        </a:lnTo>
                        <a:lnTo>
                          <a:pt x="409" y="116"/>
                        </a:lnTo>
                        <a:lnTo>
                          <a:pt x="430" y="116"/>
                        </a:lnTo>
                        <a:lnTo>
                          <a:pt x="447" y="149"/>
                        </a:lnTo>
                        <a:lnTo>
                          <a:pt x="458" y="133"/>
                        </a:lnTo>
                        <a:lnTo>
                          <a:pt x="480" y="138"/>
                        </a:lnTo>
                        <a:lnTo>
                          <a:pt x="539" y="171"/>
                        </a:lnTo>
                        <a:lnTo>
                          <a:pt x="517" y="187"/>
                        </a:lnTo>
                        <a:lnTo>
                          <a:pt x="513" y="206"/>
                        </a:lnTo>
                        <a:lnTo>
                          <a:pt x="517" y="223"/>
                        </a:lnTo>
                        <a:lnTo>
                          <a:pt x="501" y="227"/>
                        </a:lnTo>
                        <a:lnTo>
                          <a:pt x="555" y="187"/>
                        </a:lnTo>
                        <a:lnTo>
                          <a:pt x="586" y="211"/>
                        </a:lnTo>
                        <a:lnTo>
                          <a:pt x="593" y="260"/>
                        </a:lnTo>
                        <a:lnTo>
                          <a:pt x="652" y="265"/>
                        </a:lnTo>
                        <a:lnTo>
                          <a:pt x="662" y="282"/>
                        </a:lnTo>
                        <a:lnTo>
                          <a:pt x="782" y="315"/>
                        </a:lnTo>
                        <a:lnTo>
                          <a:pt x="765" y="350"/>
                        </a:lnTo>
                        <a:lnTo>
                          <a:pt x="652" y="350"/>
                        </a:lnTo>
                        <a:lnTo>
                          <a:pt x="640" y="355"/>
                        </a:lnTo>
                        <a:lnTo>
                          <a:pt x="652" y="371"/>
                        </a:lnTo>
                        <a:lnTo>
                          <a:pt x="593" y="371"/>
                        </a:lnTo>
                        <a:lnTo>
                          <a:pt x="602" y="388"/>
                        </a:lnTo>
                        <a:lnTo>
                          <a:pt x="602" y="404"/>
                        </a:lnTo>
                        <a:lnTo>
                          <a:pt x="610" y="433"/>
                        </a:lnTo>
                        <a:lnTo>
                          <a:pt x="555" y="442"/>
                        </a:lnTo>
                        <a:lnTo>
                          <a:pt x="555" y="466"/>
                        </a:lnTo>
                        <a:lnTo>
                          <a:pt x="565" y="482"/>
                        </a:lnTo>
                        <a:lnTo>
                          <a:pt x="548" y="520"/>
                        </a:lnTo>
                        <a:lnTo>
                          <a:pt x="513" y="537"/>
                        </a:lnTo>
                        <a:lnTo>
                          <a:pt x="484" y="593"/>
                        </a:lnTo>
                        <a:lnTo>
                          <a:pt x="463" y="593"/>
                        </a:lnTo>
                        <a:lnTo>
                          <a:pt x="480" y="598"/>
                        </a:lnTo>
                        <a:lnTo>
                          <a:pt x="458" y="631"/>
                        </a:lnTo>
                        <a:lnTo>
                          <a:pt x="475" y="648"/>
                        </a:lnTo>
                        <a:lnTo>
                          <a:pt x="447" y="664"/>
                        </a:lnTo>
                        <a:lnTo>
                          <a:pt x="354" y="615"/>
                        </a:lnTo>
                        <a:lnTo>
                          <a:pt x="425" y="598"/>
                        </a:lnTo>
                        <a:lnTo>
                          <a:pt x="392" y="582"/>
                        </a:lnTo>
                        <a:lnTo>
                          <a:pt x="350" y="598"/>
                        </a:lnTo>
                        <a:lnTo>
                          <a:pt x="324" y="577"/>
                        </a:lnTo>
                        <a:lnTo>
                          <a:pt x="286" y="577"/>
                        </a:lnTo>
                        <a:lnTo>
                          <a:pt x="265" y="553"/>
                        </a:lnTo>
                        <a:lnTo>
                          <a:pt x="241" y="520"/>
                        </a:lnTo>
                        <a:lnTo>
                          <a:pt x="269" y="515"/>
                        </a:lnTo>
                        <a:lnTo>
                          <a:pt x="286" y="515"/>
                        </a:lnTo>
                        <a:lnTo>
                          <a:pt x="286" y="520"/>
                        </a:lnTo>
                        <a:lnTo>
                          <a:pt x="371" y="520"/>
                        </a:lnTo>
                        <a:lnTo>
                          <a:pt x="404" y="537"/>
                        </a:lnTo>
                        <a:lnTo>
                          <a:pt x="409" y="527"/>
                        </a:lnTo>
                        <a:lnTo>
                          <a:pt x="300" y="499"/>
                        </a:lnTo>
                        <a:lnTo>
                          <a:pt x="447" y="471"/>
                        </a:lnTo>
                        <a:lnTo>
                          <a:pt x="463" y="461"/>
                        </a:lnTo>
                        <a:lnTo>
                          <a:pt x="248" y="487"/>
                        </a:lnTo>
                        <a:lnTo>
                          <a:pt x="232" y="482"/>
                        </a:lnTo>
                        <a:lnTo>
                          <a:pt x="241" y="471"/>
                        </a:lnTo>
                        <a:lnTo>
                          <a:pt x="227" y="466"/>
                        </a:lnTo>
                        <a:lnTo>
                          <a:pt x="227" y="442"/>
                        </a:lnTo>
                        <a:lnTo>
                          <a:pt x="248" y="433"/>
                        </a:lnTo>
                        <a:lnTo>
                          <a:pt x="269" y="449"/>
                        </a:lnTo>
                        <a:lnTo>
                          <a:pt x="265" y="433"/>
                        </a:lnTo>
                        <a:lnTo>
                          <a:pt x="317" y="426"/>
                        </a:lnTo>
                        <a:lnTo>
                          <a:pt x="338" y="409"/>
                        </a:lnTo>
                        <a:lnTo>
                          <a:pt x="371" y="409"/>
                        </a:lnTo>
                        <a:lnTo>
                          <a:pt x="366" y="404"/>
                        </a:lnTo>
                        <a:lnTo>
                          <a:pt x="371" y="393"/>
                        </a:lnTo>
                        <a:lnTo>
                          <a:pt x="442" y="393"/>
                        </a:lnTo>
                        <a:lnTo>
                          <a:pt x="480" y="376"/>
                        </a:lnTo>
                        <a:lnTo>
                          <a:pt x="409" y="376"/>
                        </a:lnTo>
                        <a:lnTo>
                          <a:pt x="447" y="338"/>
                        </a:lnTo>
                        <a:lnTo>
                          <a:pt x="425" y="334"/>
                        </a:lnTo>
                        <a:lnTo>
                          <a:pt x="392" y="371"/>
                        </a:lnTo>
                        <a:lnTo>
                          <a:pt x="354" y="376"/>
                        </a:lnTo>
                        <a:lnTo>
                          <a:pt x="333" y="355"/>
                        </a:lnTo>
                        <a:lnTo>
                          <a:pt x="350" y="350"/>
                        </a:lnTo>
                        <a:lnTo>
                          <a:pt x="354" y="322"/>
                        </a:lnTo>
                        <a:lnTo>
                          <a:pt x="350" y="315"/>
                        </a:lnTo>
                        <a:lnTo>
                          <a:pt x="324" y="355"/>
                        </a:lnTo>
                        <a:lnTo>
                          <a:pt x="312" y="350"/>
                        </a:lnTo>
                        <a:lnTo>
                          <a:pt x="312" y="334"/>
                        </a:lnTo>
                        <a:lnTo>
                          <a:pt x="286" y="338"/>
                        </a:lnTo>
                        <a:lnTo>
                          <a:pt x="286" y="355"/>
                        </a:lnTo>
                        <a:lnTo>
                          <a:pt x="279" y="371"/>
                        </a:lnTo>
                        <a:lnTo>
                          <a:pt x="300" y="388"/>
                        </a:lnTo>
                        <a:lnTo>
                          <a:pt x="279" y="388"/>
                        </a:lnTo>
                        <a:lnTo>
                          <a:pt x="269" y="393"/>
                        </a:lnTo>
                        <a:lnTo>
                          <a:pt x="227" y="416"/>
                        </a:lnTo>
                        <a:lnTo>
                          <a:pt x="227" y="416"/>
                        </a:lnTo>
                        <a:lnTo>
                          <a:pt x="227" y="416"/>
                        </a:lnTo>
                        <a:close/>
                        <a:moveTo>
                          <a:pt x="26" y="182"/>
                        </a:moveTo>
                        <a:lnTo>
                          <a:pt x="14" y="171"/>
                        </a:lnTo>
                        <a:lnTo>
                          <a:pt x="47" y="182"/>
                        </a:lnTo>
                        <a:lnTo>
                          <a:pt x="26" y="182"/>
                        </a:lnTo>
                        <a:lnTo>
                          <a:pt x="26" y="182"/>
                        </a:lnTo>
                        <a:lnTo>
                          <a:pt x="26" y="182"/>
                        </a:lnTo>
                        <a:close/>
                        <a:moveTo>
                          <a:pt x="662" y="249"/>
                        </a:moveTo>
                        <a:lnTo>
                          <a:pt x="673" y="239"/>
                        </a:lnTo>
                        <a:lnTo>
                          <a:pt x="678" y="239"/>
                        </a:lnTo>
                        <a:lnTo>
                          <a:pt x="662" y="249"/>
                        </a:lnTo>
                        <a:lnTo>
                          <a:pt x="662" y="249"/>
                        </a:lnTo>
                        <a:lnTo>
                          <a:pt x="662" y="249"/>
                        </a:lnTo>
                        <a:close/>
                        <a:moveTo>
                          <a:pt x="695" y="293"/>
                        </a:moveTo>
                        <a:lnTo>
                          <a:pt x="673" y="282"/>
                        </a:lnTo>
                        <a:lnTo>
                          <a:pt x="690" y="265"/>
                        </a:lnTo>
                        <a:lnTo>
                          <a:pt x="728" y="277"/>
                        </a:lnTo>
                        <a:lnTo>
                          <a:pt x="695" y="293"/>
                        </a:lnTo>
                        <a:lnTo>
                          <a:pt x="695" y="293"/>
                        </a:lnTo>
                        <a:lnTo>
                          <a:pt x="695" y="293"/>
                        </a:lnTo>
                        <a:close/>
                        <a:moveTo>
                          <a:pt x="744" y="282"/>
                        </a:moveTo>
                        <a:lnTo>
                          <a:pt x="732" y="282"/>
                        </a:lnTo>
                        <a:lnTo>
                          <a:pt x="761" y="282"/>
                        </a:lnTo>
                        <a:lnTo>
                          <a:pt x="744" y="282"/>
                        </a:lnTo>
                        <a:lnTo>
                          <a:pt x="744" y="282"/>
                        </a:lnTo>
                        <a:lnTo>
                          <a:pt x="744" y="282"/>
                        </a:lnTo>
                        <a:close/>
                        <a:moveTo>
                          <a:pt x="1391" y="293"/>
                        </a:moveTo>
                        <a:lnTo>
                          <a:pt x="1375" y="293"/>
                        </a:lnTo>
                        <a:lnTo>
                          <a:pt x="1396" y="293"/>
                        </a:lnTo>
                        <a:lnTo>
                          <a:pt x="1391" y="293"/>
                        </a:lnTo>
                        <a:lnTo>
                          <a:pt x="1391" y="293"/>
                        </a:lnTo>
                        <a:lnTo>
                          <a:pt x="1391" y="293"/>
                        </a:lnTo>
                        <a:close/>
                        <a:moveTo>
                          <a:pt x="1233" y="315"/>
                        </a:moveTo>
                        <a:lnTo>
                          <a:pt x="1233" y="305"/>
                        </a:lnTo>
                        <a:lnTo>
                          <a:pt x="1257" y="298"/>
                        </a:lnTo>
                        <a:lnTo>
                          <a:pt x="1354" y="305"/>
                        </a:lnTo>
                        <a:lnTo>
                          <a:pt x="1321" y="315"/>
                        </a:lnTo>
                        <a:lnTo>
                          <a:pt x="1288" y="298"/>
                        </a:lnTo>
                        <a:lnTo>
                          <a:pt x="1233" y="315"/>
                        </a:lnTo>
                        <a:lnTo>
                          <a:pt x="1233" y="315"/>
                        </a:lnTo>
                        <a:lnTo>
                          <a:pt x="1233" y="315"/>
                        </a:lnTo>
                        <a:close/>
                        <a:moveTo>
                          <a:pt x="118" y="416"/>
                        </a:moveTo>
                        <a:lnTo>
                          <a:pt x="47" y="371"/>
                        </a:lnTo>
                        <a:lnTo>
                          <a:pt x="10" y="322"/>
                        </a:lnTo>
                        <a:lnTo>
                          <a:pt x="0" y="305"/>
                        </a:lnTo>
                        <a:lnTo>
                          <a:pt x="43" y="315"/>
                        </a:lnTo>
                        <a:lnTo>
                          <a:pt x="52" y="334"/>
                        </a:lnTo>
                        <a:lnTo>
                          <a:pt x="47" y="334"/>
                        </a:lnTo>
                        <a:lnTo>
                          <a:pt x="52" y="360"/>
                        </a:lnTo>
                        <a:lnTo>
                          <a:pt x="97" y="376"/>
                        </a:lnTo>
                        <a:lnTo>
                          <a:pt x="118" y="404"/>
                        </a:lnTo>
                        <a:lnTo>
                          <a:pt x="118" y="416"/>
                        </a:lnTo>
                        <a:lnTo>
                          <a:pt x="118" y="416"/>
                        </a:lnTo>
                        <a:lnTo>
                          <a:pt x="118" y="416"/>
                        </a:lnTo>
                        <a:close/>
                        <a:moveTo>
                          <a:pt x="1143" y="350"/>
                        </a:moveTo>
                        <a:lnTo>
                          <a:pt x="1120" y="322"/>
                        </a:lnTo>
                        <a:lnTo>
                          <a:pt x="1136" y="315"/>
                        </a:lnTo>
                        <a:lnTo>
                          <a:pt x="1165" y="338"/>
                        </a:lnTo>
                        <a:lnTo>
                          <a:pt x="1143" y="350"/>
                        </a:lnTo>
                        <a:lnTo>
                          <a:pt x="1143" y="350"/>
                        </a:lnTo>
                        <a:lnTo>
                          <a:pt x="1143" y="350"/>
                        </a:lnTo>
                        <a:close/>
                        <a:moveTo>
                          <a:pt x="678" y="371"/>
                        </a:moveTo>
                        <a:lnTo>
                          <a:pt x="761" y="350"/>
                        </a:lnTo>
                        <a:lnTo>
                          <a:pt x="813" y="355"/>
                        </a:lnTo>
                        <a:lnTo>
                          <a:pt x="825" y="371"/>
                        </a:lnTo>
                        <a:lnTo>
                          <a:pt x="825" y="404"/>
                        </a:lnTo>
                        <a:lnTo>
                          <a:pt x="716" y="416"/>
                        </a:lnTo>
                        <a:lnTo>
                          <a:pt x="728" y="404"/>
                        </a:lnTo>
                        <a:lnTo>
                          <a:pt x="706" y="393"/>
                        </a:lnTo>
                        <a:lnTo>
                          <a:pt x="716" y="388"/>
                        </a:lnTo>
                        <a:lnTo>
                          <a:pt x="678" y="371"/>
                        </a:lnTo>
                        <a:lnTo>
                          <a:pt x="678" y="371"/>
                        </a:lnTo>
                        <a:lnTo>
                          <a:pt x="678" y="371"/>
                        </a:lnTo>
                        <a:close/>
                        <a:moveTo>
                          <a:pt x="858" y="560"/>
                        </a:moveTo>
                        <a:lnTo>
                          <a:pt x="841" y="560"/>
                        </a:lnTo>
                        <a:lnTo>
                          <a:pt x="841" y="553"/>
                        </a:lnTo>
                        <a:lnTo>
                          <a:pt x="851" y="544"/>
                        </a:lnTo>
                        <a:lnTo>
                          <a:pt x="841" y="537"/>
                        </a:lnTo>
                        <a:lnTo>
                          <a:pt x="867" y="515"/>
                        </a:lnTo>
                        <a:lnTo>
                          <a:pt x="732" y="527"/>
                        </a:lnTo>
                        <a:lnTo>
                          <a:pt x="732" y="515"/>
                        </a:lnTo>
                        <a:lnTo>
                          <a:pt x="761" y="504"/>
                        </a:lnTo>
                        <a:lnTo>
                          <a:pt x="761" y="487"/>
                        </a:lnTo>
                        <a:lnTo>
                          <a:pt x="787" y="461"/>
                        </a:lnTo>
                        <a:lnTo>
                          <a:pt x="732" y="433"/>
                        </a:lnTo>
                        <a:lnTo>
                          <a:pt x="879" y="409"/>
                        </a:lnTo>
                        <a:lnTo>
                          <a:pt x="910" y="416"/>
                        </a:lnTo>
                        <a:lnTo>
                          <a:pt x="888" y="433"/>
                        </a:lnTo>
                        <a:lnTo>
                          <a:pt x="888" y="449"/>
                        </a:lnTo>
                        <a:lnTo>
                          <a:pt x="926" y="466"/>
                        </a:lnTo>
                        <a:lnTo>
                          <a:pt x="976" y="466"/>
                        </a:lnTo>
                        <a:lnTo>
                          <a:pt x="1013" y="482"/>
                        </a:lnTo>
                        <a:lnTo>
                          <a:pt x="964" y="499"/>
                        </a:lnTo>
                        <a:lnTo>
                          <a:pt x="933" y="527"/>
                        </a:lnTo>
                        <a:lnTo>
                          <a:pt x="858" y="560"/>
                        </a:lnTo>
                        <a:lnTo>
                          <a:pt x="858" y="560"/>
                        </a:lnTo>
                        <a:lnTo>
                          <a:pt x="858" y="560"/>
                        </a:lnTo>
                        <a:close/>
                        <a:moveTo>
                          <a:pt x="888" y="560"/>
                        </a:moveTo>
                        <a:lnTo>
                          <a:pt x="879" y="560"/>
                        </a:lnTo>
                        <a:lnTo>
                          <a:pt x="905" y="560"/>
                        </a:lnTo>
                        <a:lnTo>
                          <a:pt x="888" y="560"/>
                        </a:lnTo>
                        <a:lnTo>
                          <a:pt x="888" y="560"/>
                        </a:lnTo>
                        <a:lnTo>
                          <a:pt x="888" y="560"/>
                        </a:lnTo>
                        <a:close/>
                        <a:moveTo>
                          <a:pt x="1018" y="688"/>
                        </a:moveTo>
                        <a:lnTo>
                          <a:pt x="1018" y="681"/>
                        </a:lnTo>
                        <a:lnTo>
                          <a:pt x="1068" y="648"/>
                        </a:lnTo>
                        <a:lnTo>
                          <a:pt x="1018" y="688"/>
                        </a:lnTo>
                        <a:lnTo>
                          <a:pt x="1018" y="688"/>
                        </a:lnTo>
                        <a:lnTo>
                          <a:pt x="1018" y="688"/>
                        </a:lnTo>
                        <a:close/>
                        <a:moveTo>
                          <a:pt x="602" y="988"/>
                        </a:moveTo>
                        <a:lnTo>
                          <a:pt x="586" y="969"/>
                        </a:lnTo>
                        <a:lnTo>
                          <a:pt x="619" y="969"/>
                        </a:lnTo>
                        <a:lnTo>
                          <a:pt x="602" y="988"/>
                        </a:lnTo>
                        <a:lnTo>
                          <a:pt x="602" y="988"/>
                        </a:lnTo>
                        <a:lnTo>
                          <a:pt x="602" y="98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8" name="Freeform 561">
                    <a:extLst>
                      <a:ext uri="{FF2B5EF4-FFF2-40B4-BE49-F238E27FC236}">
                        <a16:creationId xmlns:a16="http://schemas.microsoft.com/office/drawing/2014/main" id="{EC982035-13B7-4140-8CA4-E7C1B818FBCA}"/>
                      </a:ext>
                    </a:extLst>
                  </p:cNvPr>
                  <p:cNvSpPr>
                    <a:spLocks noEditPoints="1"/>
                  </p:cNvSpPr>
                  <p:nvPr/>
                </p:nvSpPr>
                <p:spPr bwMode="gray">
                  <a:xfrm>
                    <a:off x="7046927" y="1597236"/>
                    <a:ext cx="377501" cy="633219"/>
                  </a:xfrm>
                  <a:custGeom>
                    <a:avLst/>
                    <a:gdLst>
                      <a:gd name="T0" fmla="*/ 69 w 917"/>
                      <a:gd name="T1" fmla="*/ 1065 h 1538"/>
                      <a:gd name="T2" fmla="*/ 69 w 917"/>
                      <a:gd name="T3" fmla="*/ 860 h 1538"/>
                      <a:gd name="T4" fmla="*/ 76 w 917"/>
                      <a:gd name="T5" fmla="*/ 666 h 1538"/>
                      <a:gd name="T6" fmla="*/ 211 w 917"/>
                      <a:gd name="T7" fmla="*/ 555 h 1538"/>
                      <a:gd name="T8" fmla="*/ 274 w 917"/>
                      <a:gd name="T9" fmla="*/ 357 h 1538"/>
                      <a:gd name="T10" fmla="*/ 378 w 917"/>
                      <a:gd name="T11" fmla="*/ 177 h 1538"/>
                      <a:gd name="T12" fmla="*/ 485 w 917"/>
                      <a:gd name="T13" fmla="*/ 66 h 1538"/>
                      <a:gd name="T14" fmla="*/ 648 w 917"/>
                      <a:gd name="T15" fmla="*/ 12 h 1538"/>
                      <a:gd name="T16" fmla="*/ 865 w 917"/>
                      <a:gd name="T17" fmla="*/ 151 h 1538"/>
                      <a:gd name="T18" fmla="*/ 903 w 917"/>
                      <a:gd name="T19" fmla="*/ 279 h 1538"/>
                      <a:gd name="T20" fmla="*/ 903 w 917"/>
                      <a:gd name="T21" fmla="*/ 362 h 1538"/>
                      <a:gd name="T22" fmla="*/ 794 w 917"/>
                      <a:gd name="T23" fmla="*/ 395 h 1538"/>
                      <a:gd name="T24" fmla="*/ 778 w 917"/>
                      <a:gd name="T25" fmla="*/ 428 h 1538"/>
                      <a:gd name="T26" fmla="*/ 740 w 917"/>
                      <a:gd name="T27" fmla="*/ 465 h 1538"/>
                      <a:gd name="T28" fmla="*/ 697 w 917"/>
                      <a:gd name="T29" fmla="*/ 510 h 1538"/>
                      <a:gd name="T30" fmla="*/ 697 w 917"/>
                      <a:gd name="T31" fmla="*/ 593 h 1538"/>
                      <a:gd name="T32" fmla="*/ 589 w 917"/>
                      <a:gd name="T33" fmla="*/ 666 h 1538"/>
                      <a:gd name="T34" fmla="*/ 546 w 917"/>
                      <a:gd name="T35" fmla="*/ 695 h 1538"/>
                      <a:gd name="T36" fmla="*/ 501 w 917"/>
                      <a:gd name="T37" fmla="*/ 749 h 1538"/>
                      <a:gd name="T38" fmla="*/ 480 w 917"/>
                      <a:gd name="T39" fmla="*/ 761 h 1538"/>
                      <a:gd name="T40" fmla="*/ 463 w 917"/>
                      <a:gd name="T41" fmla="*/ 806 h 1538"/>
                      <a:gd name="T42" fmla="*/ 447 w 917"/>
                      <a:gd name="T43" fmla="*/ 877 h 1538"/>
                      <a:gd name="T44" fmla="*/ 433 w 917"/>
                      <a:gd name="T45" fmla="*/ 910 h 1538"/>
                      <a:gd name="T46" fmla="*/ 480 w 917"/>
                      <a:gd name="T47" fmla="*/ 988 h 1538"/>
                      <a:gd name="T48" fmla="*/ 539 w 917"/>
                      <a:gd name="T49" fmla="*/ 1044 h 1538"/>
                      <a:gd name="T50" fmla="*/ 555 w 917"/>
                      <a:gd name="T51" fmla="*/ 1082 h 1538"/>
                      <a:gd name="T52" fmla="*/ 470 w 917"/>
                      <a:gd name="T53" fmla="*/ 1110 h 1538"/>
                      <a:gd name="T54" fmla="*/ 454 w 917"/>
                      <a:gd name="T55" fmla="*/ 1099 h 1538"/>
                      <a:gd name="T56" fmla="*/ 454 w 917"/>
                      <a:gd name="T57" fmla="*/ 1110 h 1538"/>
                      <a:gd name="T58" fmla="*/ 395 w 917"/>
                      <a:gd name="T59" fmla="*/ 1110 h 1538"/>
                      <a:gd name="T60" fmla="*/ 437 w 917"/>
                      <a:gd name="T61" fmla="*/ 1132 h 1538"/>
                      <a:gd name="T62" fmla="*/ 534 w 917"/>
                      <a:gd name="T63" fmla="*/ 1122 h 1538"/>
                      <a:gd name="T64" fmla="*/ 454 w 917"/>
                      <a:gd name="T65" fmla="*/ 1172 h 1538"/>
                      <a:gd name="T66" fmla="*/ 383 w 917"/>
                      <a:gd name="T67" fmla="*/ 1205 h 1538"/>
                      <a:gd name="T68" fmla="*/ 383 w 917"/>
                      <a:gd name="T69" fmla="*/ 1266 h 1538"/>
                      <a:gd name="T70" fmla="*/ 383 w 917"/>
                      <a:gd name="T71" fmla="*/ 1304 h 1538"/>
                      <a:gd name="T72" fmla="*/ 371 w 917"/>
                      <a:gd name="T73" fmla="*/ 1403 h 1538"/>
                      <a:gd name="T74" fmla="*/ 215 w 917"/>
                      <a:gd name="T75" fmla="*/ 1486 h 1538"/>
                      <a:gd name="T76" fmla="*/ 130 w 917"/>
                      <a:gd name="T77" fmla="*/ 1538 h 1538"/>
                      <a:gd name="T78" fmla="*/ 123 w 917"/>
                      <a:gd name="T79" fmla="*/ 1427 h 1538"/>
                      <a:gd name="T80" fmla="*/ 69 w 917"/>
                      <a:gd name="T81" fmla="*/ 1321 h 1538"/>
                      <a:gd name="T82" fmla="*/ 55 w 917"/>
                      <a:gd name="T83" fmla="*/ 1299 h 1538"/>
                      <a:gd name="T84" fmla="*/ 5 w 917"/>
                      <a:gd name="T85" fmla="*/ 1226 h 1538"/>
                      <a:gd name="T86" fmla="*/ 31 w 917"/>
                      <a:gd name="T87" fmla="*/ 1172 h 1538"/>
                      <a:gd name="T88" fmla="*/ 485 w 917"/>
                      <a:gd name="T89" fmla="*/ 761 h 1538"/>
                      <a:gd name="T90" fmla="*/ 447 w 917"/>
                      <a:gd name="T91" fmla="*/ 789 h 1538"/>
                      <a:gd name="T92" fmla="*/ 508 w 917"/>
                      <a:gd name="T93" fmla="*/ 999 h 1538"/>
                      <a:gd name="T94" fmla="*/ 534 w 917"/>
                      <a:gd name="T95" fmla="*/ 1099 h 1538"/>
                      <a:gd name="T96" fmla="*/ 433 w 917"/>
                      <a:gd name="T97" fmla="*/ 1115 h 1538"/>
                      <a:gd name="T98" fmla="*/ 447 w 917"/>
                      <a:gd name="T99" fmla="*/ 1115 h 1538"/>
                      <a:gd name="T100" fmla="*/ 522 w 917"/>
                      <a:gd name="T101" fmla="*/ 1132 h 1538"/>
                      <a:gd name="T102" fmla="*/ 577 w 917"/>
                      <a:gd name="T103" fmla="*/ 1226 h 1538"/>
                      <a:gd name="T104" fmla="*/ 38 w 917"/>
                      <a:gd name="T105" fmla="*/ 1238 h 1538"/>
                      <a:gd name="T106" fmla="*/ 48 w 917"/>
                      <a:gd name="T107" fmla="*/ 1259 h 1538"/>
                      <a:gd name="T108" fmla="*/ 560 w 917"/>
                      <a:gd name="T109" fmla="*/ 1283 h 1538"/>
                      <a:gd name="T110" fmla="*/ 560 w 917"/>
                      <a:gd name="T111" fmla="*/ 1283 h 1538"/>
                      <a:gd name="T112" fmla="*/ 508 w 917"/>
                      <a:gd name="T113" fmla="*/ 1354 h 1538"/>
                      <a:gd name="T114" fmla="*/ 555 w 917"/>
                      <a:gd name="T115" fmla="*/ 1276 h 1538"/>
                      <a:gd name="T116" fmla="*/ 426 w 917"/>
                      <a:gd name="T117" fmla="*/ 1337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7" h="1538">
                        <a:moveTo>
                          <a:pt x="31" y="1172"/>
                        </a:moveTo>
                        <a:lnTo>
                          <a:pt x="48" y="1132"/>
                        </a:lnTo>
                        <a:lnTo>
                          <a:pt x="38" y="1099"/>
                        </a:lnTo>
                        <a:lnTo>
                          <a:pt x="55" y="1082"/>
                        </a:lnTo>
                        <a:lnTo>
                          <a:pt x="48" y="1065"/>
                        </a:lnTo>
                        <a:lnTo>
                          <a:pt x="69" y="1065"/>
                        </a:lnTo>
                        <a:lnTo>
                          <a:pt x="92" y="1044"/>
                        </a:lnTo>
                        <a:lnTo>
                          <a:pt x="107" y="1004"/>
                        </a:lnTo>
                        <a:lnTo>
                          <a:pt x="76" y="943"/>
                        </a:lnTo>
                        <a:lnTo>
                          <a:pt x="107" y="943"/>
                        </a:lnTo>
                        <a:lnTo>
                          <a:pt x="123" y="910"/>
                        </a:lnTo>
                        <a:lnTo>
                          <a:pt x="69" y="860"/>
                        </a:lnTo>
                        <a:lnTo>
                          <a:pt x="85" y="806"/>
                        </a:lnTo>
                        <a:lnTo>
                          <a:pt x="69" y="765"/>
                        </a:lnTo>
                        <a:lnTo>
                          <a:pt x="59" y="732"/>
                        </a:lnTo>
                        <a:lnTo>
                          <a:pt x="76" y="721"/>
                        </a:lnTo>
                        <a:lnTo>
                          <a:pt x="59" y="695"/>
                        </a:lnTo>
                        <a:lnTo>
                          <a:pt x="76" y="666"/>
                        </a:lnTo>
                        <a:lnTo>
                          <a:pt x="69" y="654"/>
                        </a:lnTo>
                        <a:lnTo>
                          <a:pt x="107" y="617"/>
                        </a:lnTo>
                        <a:lnTo>
                          <a:pt x="130" y="600"/>
                        </a:lnTo>
                        <a:lnTo>
                          <a:pt x="199" y="612"/>
                        </a:lnTo>
                        <a:lnTo>
                          <a:pt x="215" y="584"/>
                        </a:lnTo>
                        <a:lnTo>
                          <a:pt x="211" y="555"/>
                        </a:lnTo>
                        <a:lnTo>
                          <a:pt x="178" y="543"/>
                        </a:lnTo>
                        <a:lnTo>
                          <a:pt x="237" y="456"/>
                        </a:lnTo>
                        <a:lnTo>
                          <a:pt x="237" y="428"/>
                        </a:lnTo>
                        <a:lnTo>
                          <a:pt x="248" y="395"/>
                        </a:lnTo>
                        <a:lnTo>
                          <a:pt x="237" y="362"/>
                        </a:lnTo>
                        <a:lnTo>
                          <a:pt x="274" y="357"/>
                        </a:lnTo>
                        <a:lnTo>
                          <a:pt x="307" y="338"/>
                        </a:lnTo>
                        <a:lnTo>
                          <a:pt x="303" y="317"/>
                        </a:lnTo>
                        <a:lnTo>
                          <a:pt x="371" y="251"/>
                        </a:lnTo>
                        <a:lnTo>
                          <a:pt x="371" y="229"/>
                        </a:lnTo>
                        <a:lnTo>
                          <a:pt x="345" y="206"/>
                        </a:lnTo>
                        <a:lnTo>
                          <a:pt x="378" y="177"/>
                        </a:lnTo>
                        <a:lnTo>
                          <a:pt x="395" y="140"/>
                        </a:lnTo>
                        <a:lnTo>
                          <a:pt x="433" y="118"/>
                        </a:lnTo>
                        <a:lnTo>
                          <a:pt x="480" y="140"/>
                        </a:lnTo>
                        <a:lnTo>
                          <a:pt x="492" y="111"/>
                        </a:lnTo>
                        <a:lnTo>
                          <a:pt x="485" y="78"/>
                        </a:lnTo>
                        <a:lnTo>
                          <a:pt x="485" y="66"/>
                        </a:lnTo>
                        <a:lnTo>
                          <a:pt x="546" y="66"/>
                        </a:lnTo>
                        <a:lnTo>
                          <a:pt x="615" y="95"/>
                        </a:lnTo>
                        <a:lnTo>
                          <a:pt x="643" y="66"/>
                        </a:lnTo>
                        <a:lnTo>
                          <a:pt x="615" y="62"/>
                        </a:lnTo>
                        <a:lnTo>
                          <a:pt x="648" y="28"/>
                        </a:lnTo>
                        <a:lnTo>
                          <a:pt x="648" y="12"/>
                        </a:lnTo>
                        <a:lnTo>
                          <a:pt x="631" y="0"/>
                        </a:lnTo>
                        <a:lnTo>
                          <a:pt x="664" y="0"/>
                        </a:lnTo>
                        <a:lnTo>
                          <a:pt x="766" y="66"/>
                        </a:lnTo>
                        <a:lnTo>
                          <a:pt x="827" y="83"/>
                        </a:lnTo>
                        <a:lnTo>
                          <a:pt x="879" y="140"/>
                        </a:lnTo>
                        <a:lnTo>
                          <a:pt x="865" y="151"/>
                        </a:lnTo>
                        <a:lnTo>
                          <a:pt x="865" y="194"/>
                        </a:lnTo>
                        <a:lnTo>
                          <a:pt x="886" y="206"/>
                        </a:lnTo>
                        <a:lnTo>
                          <a:pt x="886" y="222"/>
                        </a:lnTo>
                        <a:lnTo>
                          <a:pt x="879" y="222"/>
                        </a:lnTo>
                        <a:lnTo>
                          <a:pt x="874" y="234"/>
                        </a:lnTo>
                        <a:lnTo>
                          <a:pt x="903" y="279"/>
                        </a:lnTo>
                        <a:lnTo>
                          <a:pt x="896" y="284"/>
                        </a:lnTo>
                        <a:lnTo>
                          <a:pt x="896" y="305"/>
                        </a:lnTo>
                        <a:lnTo>
                          <a:pt x="879" y="321"/>
                        </a:lnTo>
                        <a:lnTo>
                          <a:pt x="879" y="338"/>
                        </a:lnTo>
                        <a:lnTo>
                          <a:pt x="886" y="357"/>
                        </a:lnTo>
                        <a:lnTo>
                          <a:pt x="903" y="362"/>
                        </a:lnTo>
                        <a:lnTo>
                          <a:pt x="917" y="395"/>
                        </a:lnTo>
                        <a:lnTo>
                          <a:pt x="848" y="399"/>
                        </a:lnTo>
                        <a:lnTo>
                          <a:pt x="841" y="411"/>
                        </a:lnTo>
                        <a:lnTo>
                          <a:pt x="811" y="390"/>
                        </a:lnTo>
                        <a:lnTo>
                          <a:pt x="811" y="399"/>
                        </a:lnTo>
                        <a:lnTo>
                          <a:pt x="794" y="395"/>
                        </a:lnTo>
                        <a:lnTo>
                          <a:pt x="789" y="395"/>
                        </a:lnTo>
                        <a:lnTo>
                          <a:pt x="778" y="416"/>
                        </a:lnTo>
                        <a:lnTo>
                          <a:pt x="794" y="416"/>
                        </a:lnTo>
                        <a:lnTo>
                          <a:pt x="794" y="428"/>
                        </a:lnTo>
                        <a:lnTo>
                          <a:pt x="752" y="411"/>
                        </a:lnTo>
                        <a:lnTo>
                          <a:pt x="778" y="428"/>
                        </a:lnTo>
                        <a:lnTo>
                          <a:pt x="756" y="432"/>
                        </a:lnTo>
                        <a:lnTo>
                          <a:pt x="766" y="444"/>
                        </a:lnTo>
                        <a:lnTo>
                          <a:pt x="756" y="449"/>
                        </a:lnTo>
                        <a:lnTo>
                          <a:pt x="723" y="449"/>
                        </a:lnTo>
                        <a:lnTo>
                          <a:pt x="740" y="456"/>
                        </a:lnTo>
                        <a:lnTo>
                          <a:pt x="740" y="465"/>
                        </a:lnTo>
                        <a:lnTo>
                          <a:pt x="711" y="449"/>
                        </a:lnTo>
                        <a:lnTo>
                          <a:pt x="740" y="473"/>
                        </a:lnTo>
                        <a:lnTo>
                          <a:pt x="735" y="489"/>
                        </a:lnTo>
                        <a:lnTo>
                          <a:pt x="711" y="501"/>
                        </a:lnTo>
                        <a:lnTo>
                          <a:pt x="711" y="510"/>
                        </a:lnTo>
                        <a:lnTo>
                          <a:pt x="697" y="510"/>
                        </a:lnTo>
                        <a:lnTo>
                          <a:pt x="718" y="522"/>
                        </a:lnTo>
                        <a:lnTo>
                          <a:pt x="718" y="527"/>
                        </a:lnTo>
                        <a:lnTo>
                          <a:pt x="702" y="527"/>
                        </a:lnTo>
                        <a:lnTo>
                          <a:pt x="735" y="543"/>
                        </a:lnTo>
                        <a:lnTo>
                          <a:pt x="735" y="560"/>
                        </a:lnTo>
                        <a:lnTo>
                          <a:pt x="697" y="593"/>
                        </a:lnTo>
                        <a:lnTo>
                          <a:pt x="681" y="621"/>
                        </a:lnTo>
                        <a:lnTo>
                          <a:pt x="659" y="633"/>
                        </a:lnTo>
                        <a:lnTo>
                          <a:pt x="648" y="650"/>
                        </a:lnTo>
                        <a:lnTo>
                          <a:pt x="615" y="654"/>
                        </a:lnTo>
                        <a:lnTo>
                          <a:pt x="605" y="671"/>
                        </a:lnTo>
                        <a:lnTo>
                          <a:pt x="589" y="666"/>
                        </a:lnTo>
                        <a:lnTo>
                          <a:pt x="589" y="671"/>
                        </a:lnTo>
                        <a:lnTo>
                          <a:pt x="572" y="671"/>
                        </a:lnTo>
                        <a:lnTo>
                          <a:pt x="572" y="688"/>
                        </a:lnTo>
                        <a:lnTo>
                          <a:pt x="555" y="695"/>
                        </a:lnTo>
                        <a:lnTo>
                          <a:pt x="555" y="704"/>
                        </a:lnTo>
                        <a:lnTo>
                          <a:pt x="546" y="695"/>
                        </a:lnTo>
                        <a:lnTo>
                          <a:pt x="539" y="695"/>
                        </a:lnTo>
                        <a:lnTo>
                          <a:pt x="546" y="704"/>
                        </a:lnTo>
                        <a:lnTo>
                          <a:pt x="534" y="704"/>
                        </a:lnTo>
                        <a:lnTo>
                          <a:pt x="501" y="721"/>
                        </a:lnTo>
                        <a:lnTo>
                          <a:pt x="522" y="728"/>
                        </a:lnTo>
                        <a:lnTo>
                          <a:pt x="501" y="749"/>
                        </a:lnTo>
                        <a:lnTo>
                          <a:pt x="480" y="744"/>
                        </a:lnTo>
                        <a:lnTo>
                          <a:pt x="470" y="728"/>
                        </a:lnTo>
                        <a:lnTo>
                          <a:pt x="463" y="728"/>
                        </a:lnTo>
                        <a:lnTo>
                          <a:pt x="485" y="749"/>
                        </a:lnTo>
                        <a:lnTo>
                          <a:pt x="485" y="761"/>
                        </a:lnTo>
                        <a:lnTo>
                          <a:pt x="480" y="761"/>
                        </a:lnTo>
                        <a:lnTo>
                          <a:pt x="485" y="765"/>
                        </a:lnTo>
                        <a:lnTo>
                          <a:pt x="463" y="782"/>
                        </a:lnTo>
                        <a:lnTo>
                          <a:pt x="437" y="777"/>
                        </a:lnTo>
                        <a:lnTo>
                          <a:pt x="437" y="782"/>
                        </a:lnTo>
                        <a:lnTo>
                          <a:pt x="437" y="799"/>
                        </a:lnTo>
                        <a:lnTo>
                          <a:pt x="463" y="806"/>
                        </a:lnTo>
                        <a:lnTo>
                          <a:pt x="447" y="806"/>
                        </a:lnTo>
                        <a:lnTo>
                          <a:pt x="447" y="839"/>
                        </a:lnTo>
                        <a:lnTo>
                          <a:pt x="437" y="839"/>
                        </a:lnTo>
                        <a:lnTo>
                          <a:pt x="437" y="855"/>
                        </a:lnTo>
                        <a:lnTo>
                          <a:pt x="447" y="872"/>
                        </a:lnTo>
                        <a:lnTo>
                          <a:pt x="447" y="877"/>
                        </a:lnTo>
                        <a:lnTo>
                          <a:pt x="426" y="872"/>
                        </a:lnTo>
                        <a:lnTo>
                          <a:pt x="433" y="872"/>
                        </a:lnTo>
                        <a:lnTo>
                          <a:pt x="416" y="877"/>
                        </a:lnTo>
                        <a:lnTo>
                          <a:pt x="433" y="893"/>
                        </a:lnTo>
                        <a:lnTo>
                          <a:pt x="416" y="900"/>
                        </a:lnTo>
                        <a:lnTo>
                          <a:pt x="433" y="910"/>
                        </a:lnTo>
                        <a:lnTo>
                          <a:pt x="426" y="950"/>
                        </a:lnTo>
                        <a:lnTo>
                          <a:pt x="433" y="966"/>
                        </a:lnTo>
                        <a:lnTo>
                          <a:pt x="433" y="983"/>
                        </a:lnTo>
                        <a:lnTo>
                          <a:pt x="454" y="988"/>
                        </a:lnTo>
                        <a:lnTo>
                          <a:pt x="463" y="999"/>
                        </a:lnTo>
                        <a:lnTo>
                          <a:pt x="480" y="988"/>
                        </a:lnTo>
                        <a:lnTo>
                          <a:pt x="501" y="1021"/>
                        </a:lnTo>
                        <a:lnTo>
                          <a:pt x="518" y="1021"/>
                        </a:lnTo>
                        <a:lnTo>
                          <a:pt x="522" y="1028"/>
                        </a:lnTo>
                        <a:lnTo>
                          <a:pt x="508" y="1021"/>
                        </a:lnTo>
                        <a:lnTo>
                          <a:pt x="508" y="1037"/>
                        </a:lnTo>
                        <a:lnTo>
                          <a:pt x="539" y="1044"/>
                        </a:lnTo>
                        <a:lnTo>
                          <a:pt x="546" y="1061"/>
                        </a:lnTo>
                        <a:lnTo>
                          <a:pt x="555" y="1065"/>
                        </a:lnTo>
                        <a:lnTo>
                          <a:pt x="555" y="1077"/>
                        </a:lnTo>
                        <a:lnTo>
                          <a:pt x="546" y="1065"/>
                        </a:lnTo>
                        <a:lnTo>
                          <a:pt x="539" y="1077"/>
                        </a:lnTo>
                        <a:lnTo>
                          <a:pt x="555" y="1082"/>
                        </a:lnTo>
                        <a:lnTo>
                          <a:pt x="501" y="1110"/>
                        </a:lnTo>
                        <a:lnTo>
                          <a:pt x="508" y="1115"/>
                        </a:lnTo>
                        <a:lnTo>
                          <a:pt x="492" y="1115"/>
                        </a:lnTo>
                        <a:lnTo>
                          <a:pt x="485" y="1122"/>
                        </a:lnTo>
                        <a:lnTo>
                          <a:pt x="470" y="1115"/>
                        </a:lnTo>
                        <a:lnTo>
                          <a:pt x="470" y="1110"/>
                        </a:lnTo>
                        <a:lnTo>
                          <a:pt x="463" y="1094"/>
                        </a:lnTo>
                        <a:lnTo>
                          <a:pt x="454" y="1094"/>
                        </a:lnTo>
                        <a:lnTo>
                          <a:pt x="463" y="1082"/>
                        </a:lnTo>
                        <a:lnTo>
                          <a:pt x="454" y="1077"/>
                        </a:lnTo>
                        <a:lnTo>
                          <a:pt x="447" y="1094"/>
                        </a:lnTo>
                        <a:lnTo>
                          <a:pt x="454" y="1099"/>
                        </a:lnTo>
                        <a:lnTo>
                          <a:pt x="447" y="1082"/>
                        </a:lnTo>
                        <a:lnTo>
                          <a:pt x="454" y="1082"/>
                        </a:lnTo>
                        <a:lnTo>
                          <a:pt x="454" y="1094"/>
                        </a:lnTo>
                        <a:lnTo>
                          <a:pt x="470" y="1099"/>
                        </a:lnTo>
                        <a:lnTo>
                          <a:pt x="463" y="1115"/>
                        </a:lnTo>
                        <a:lnTo>
                          <a:pt x="454" y="1110"/>
                        </a:lnTo>
                        <a:lnTo>
                          <a:pt x="437" y="1094"/>
                        </a:lnTo>
                        <a:lnTo>
                          <a:pt x="437" y="1110"/>
                        </a:lnTo>
                        <a:lnTo>
                          <a:pt x="378" y="1099"/>
                        </a:lnTo>
                        <a:lnTo>
                          <a:pt x="378" y="1110"/>
                        </a:lnTo>
                        <a:lnTo>
                          <a:pt x="345" y="1110"/>
                        </a:lnTo>
                        <a:lnTo>
                          <a:pt x="395" y="1110"/>
                        </a:lnTo>
                        <a:lnTo>
                          <a:pt x="409" y="1122"/>
                        </a:lnTo>
                        <a:lnTo>
                          <a:pt x="395" y="1110"/>
                        </a:lnTo>
                        <a:lnTo>
                          <a:pt x="400" y="1110"/>
                        </a:lnTo>
                        <a:lnTo>
                          <a:pt x="433" y="1122"/>
                        </a:lnTo>
                        <a:lnTo>
                          <a:pt x="433" y="1132"/>
                        </a:lnTo>
                        <a:lnTo>
                          <a:pt x="437" y="1132"/>
                        </a:lnTo>
                        <a:lnTo>
                          <a:pt x="437" y="1122"/>
                        </a:lnTo>
                        <a:lnTo>
                          <a:pt x="470" y="1132"/>
                        </a:lnTo>
                        <a:lnTo>
                          <a:pt x="501" y="1122"/>
                        </a:lnTo>
                        <a:lnTo>
                          <a:pt x="518" y="1122"/>
                        </a:lnTo>
                        <a:lnTo>
                          <a:pt x="518" y="1115"/>
                        </a:lnTo>
                        <a:lnTo>
                          <a:pt x="534" y="1122"/>
                        </a:lnTo>
                        <a:lnTo>
                          <a:pt x="501" y="1132"/>
                        </a:lnTo>
                        <a:lnTo>
                          <a:pt x="501" y="1148"/>
                        </a:lnTo>
                        <a:lnTo>
                          <a:pt x="485" y="1155"/>
                        </a:lnTo>
                        <a:lnTo>
                          <a:pt x="480" y="1181"/>
                        </a:lnTo>
                        <a:lnTo>
                          <a:pt x="463" y="1139"/>
                        </a:lnTo>
                        <a:lnTo>
                          <a:pt x="454" y="1172"/>
                        </a:lnTo>
                        <a:lnTo>
                          <a:pt x="437" y="1188"/>
                        </a:lnTo>
                        <a:lnTo>
                          <a:pt x="416" y="1188"/>
                        </a:lnTo>
                        <a:lnTo>
                          <a:pt x="426" y="1193"/>
                        </a:lnTo>
                        <a:lnTo>
                          <a:pt x="409" y="1205"/>
                        </a:lnTo>
                        <a:lnTo>
                          <a:pt x="357" y="1205"/>
                        </a:lnTo>
                        <a:lnTo>
                          <a:pt x="383" y="1205"/>
                        </a:lnTo>
                        <a:lnTo>
                          <a:pt x="409" y="1221"/>
                        </a:lnTo>
                        <a:lnTo>
                          <a:pt x="371" y="1221"/>
                        </a:lnTo>
                        <a:lnTo>
                          <a:pt x="395" y="1226"/>
                        </a:lnTo>
                        <a:lnTo>
                          <a:pt x="400" y="1243"/>
                        </a:lnTo>
                        <a:lnTo>
                          <a:pt x="395" y="1266"/>
                        </a:lnTo>
                        <a:lnTo>
                          <a:pt x="383" y="1266"/>
                        </a:lnTo>
                        <a:lnTo>
                          <a:pt x="395" y="1283"/>
                        </a:lnTo>
                        <a:lnTo>
                          <a:pt x="378" y="1266"/>
                        </a:lnTo>
                        <a:lnTo>
                          <a:pt x="395" y="1292"/>
                        </a:lnTo>
                        <a:lnTo>
                          <a:pt x="371" y="1276"/>
                        </a:lnTo>
                        <a:lnTo>
                          <a:pt x="395" y="1299"/>
                        </a:lnTo>
                        <a:lnTo>
                          <a:pt x="383" y="1304"/>
                        </a:lnTo>
                        <a:lnTo>
                          <a:pt x="395" y="1321"/>
                        </a:lnTo>
                        <a:lnTo>
                          <a:pt x="378" y="1337"/>
                        </a:lnTo>
                        <a:lnTo>
                          <a:pt x="378" y="1354"/>
                        </a:lnTo>
                        <a:lnTo>
                          <a:pt x="383" y="1358"/>
                        </a:lnTo>
                        <a:lnTo>
                          <a:pt x="378" y="1370"/>
                        </a:lnTo>
                        <a:lnTo>
                          <a:pt x="371" y="1403"/>
                        </a:lnTo>
                        <a:lnTo>
                          <a:pt x="329" y="1465"/>
                        </a:lnTo>
                        <a:lnTo>
                          <a:pt x="319" y="1460"/>
                        </a:lnTo>
                        <a:lnTo>
                          <a:pt x="253" y="1460"/>
                        </a:lnTo>
                        <a:lnTo>
                          <a:pt x="253" y="1469"/>
                        </a:lnTo>
                        <a:lnTo>
                          <a:pt x="237" y="1465"/>
                        </a:lnTo>
                        <a:lnTo>
                          <a:pt x="215" y="1486"/>
                        </a:lnTo>
                        <a:lnTo>
                          <a:pt x="215" y="1505"/>
                        </a:lnTo>
                        <a:lnTo>
                          <a:pt x="232" y="1521"/>
                        </a:lnTo>
                        <a:lnTo>
                          <a:pt x="215" y="1538"/>
                        </a:lnTo>
                        <a:lnTo>
                          <a:pt x="182" y="1526"/>
                        </a:lnTo>
                        <a:lnTo>
                          <a:pt x="156" y="1538"/>
                        </a:lnTo>
                        <a:lnTo>
                          <a:pt x="130" y="1538"/>
                        </a:lnTo>
                        <a:lnTo>
                          <a:pt x="123" y="1521"/>
                        </a:lnTo>
                        <a:lnTo>
                          <a:pt x="140" y="1505"/>
                        </a:lnTo>
                        <a:lnTo>
                          <a:pt x="92" y="1443"/>
                        </a:lnTo>
                        <a:lnTo>
                          <a:pt x="123" y="1448"/>
                        </a:lnTo>
                        <a:lnTo>
                          <a:pt x="107" y="1432"/>
                        </a:lnTo>
                        <a:lnTo>
                          <a:pt x="123" y="1427"/>
                        </a:lnTo>
                        <a:lnTo>
                          <a:pt x="123" y="1410"/>
                        </a:lnTo>
                        <a:lnTo>
                          <a:pt x="114" y="1410"/>
                        </a:lnTo>
                        <a:lnTo>
                          <a:pt x="102" y="1387"/>
                        </a:lnTo>
                        <a:lnTo>
                          <a:pt x="85" y="1377"/>
                        </a:lnTo>
                        <a:lnTo>
                          <a:pt x="69" y="1349"/>
                        </a:lnTo>
                        <a:lnTo>
                          <a:pt x="69" y="1321"/>
                        </a:lnTo>
                        <a:lnTo>
                          <a:pt x="59" y="1321"/>
                        </a:lnTo>
                        <a:lnTo>
                          <a:pt x="59" y="1337"/>
                        </a:lnTo>
                        <a:lnTo>
                          <a:pt x="55" y="1332"/>
                        </a:lnTo>
                        <a:lnTo>
                          <a:pt x="55" y="1304"/>
                        </a:lnTo>
                        <a:lnTo>
                          <a:pt x="55" y="1299"/>
                        </a:lnTo>
                        <a:lnTo>
                          <a:pt x="55" y="1299"/>
                        </a:lnTo>
                        <a:lnTo>
                          <a:pt x="38" y="1299"/>
                        </a:lnTo>
                        <a:lnTo>
                          <a:pt x="38" y="1283"/>
                        </a:lnTo>
                        <a:lnTo>
                          <a:pt x="55" y="1243"/>
                        </a:lnTo>
                        <a:lnTo>
                          <a:pt x="48" y="1238"/>
                        </a:lnTo>
                        <a:lnTo>
                          <a:pt x="31" y="1243"/>
                        </a:lnTo>
                        <a:lnTo>
                          <a:pt x="5" y="1226"/>
                        </a:lnTo>
                        <a:lnTo>
                          <a:pt x="5" y="1181"/>
                        </a:lnTo>
                        <a:lnTo>
                          <a:pt x="0" y="1165"/>
                        </a:lnTo>
                        <a:lnTo>
                          <a:pt x="15" y="1148"/>
                        </a:lnTo>
                        <a:lnTo>
                          <a:pt x="22" y="1165"/>
                        </a:lnTo>
                        <a:lnTo>
                          <a:pt x="22" y="1172"/>
                        </a:lnTo>
                        <a:lnTo>
                          <a:pt x="31" y="1172"/>
                        </a:lnTo>
                        <a:lnTo>
                          <a:pt x="31" y="1172"/>
                        </a:lnTo>
                        <a:lnTo>
                          <a:pt x="31" y="1172"/>
                        </a:lnTo>
                        <a:close/>
                        <a:moveTo>
                          <a:pt x="485" y="761"/>
                        </a:moveTo>
                        <a:lnTo>
                          <a:pt x="485" y="749"/>
                        </a:lnTo>
                        <a:lnTo>
                          <a:pt x="492" y="749"/>
                        </a:lnTo>
                        <a:lnTo>
                          <a:pt x="485" y="761"/>
                        </a:lnTo>
                        <a:lnTo>
                          <a:pt x="485" y="761"/>
                        </a:lnTo>
                        <a:lnTo>
                          <a:pt x="485" y="761"/>
                        </a:lnTo>
                        <a:close/>
                        <a:moveTo>
                          <a:pt x="447" y="799"/>
                        </a:moveTo>
                        <a:lnTo>
                          <a:pt x="437" y="782"/>
                        </a:lnTo>
                        <a:lnTo>
                          <a:pt x="447" y="782"/>
                        </a:lnTo>
                        <a:lnTo>
                          <a:pt x="447" y="789"/>
                        </a:lnTo>
                        <a:lnTo>
                          <a:pt x="447" y="799"/>
                        </a:lnTo>
                        <a:lnTo>
                          <a:pt x="447" y="799"/>
                        </a:lnTo>
                        <a:lnTo>
                          <a:pt x="447" y="799"/>
                        </a:lnTo>
                        <a:close/>
                        <a:moveTo>
                          <a:pt x="522" y="1021"/>
                        </a:moveTo>
                        <a:lnTo>
                          <a:pt x="508" y="1011"/>
                        </a:lnTo>
                        <a:lnTo>
                          <a:pt x="508" y="999"/>
                        </a:lnTo>
                        <a:lnTo>
                          <a:pt x="522" y="1021"/>
                        </a:lnTo>
                        <a:lnTo>
                          <a:pt x="522" y="1021"/>
                        </a:lnTo>
                        <a:lnTo>
                          <a:pt x="522" y="1021"/>
                        </a:lnTo>
                        <a:close/>
                        <a:moveTo>
                          <a:pt x="522" y="1115"/>
                        </a:moveTo>
                        <a:lnTo>
                          <a:pt x="522" y="1110"/>
                        </a:lnTo>
                        <a:lnTo>
                          <a:pt x="534" y="1099"/>
                        </a:lnTo>
                        <a:lnTo>
                          <a:pt x="522" y="1115"/>
                        </a:lnTo>
                        <a:lnTo>
                          <a:pt x="522" y="1115"/>
                        </a:lnTo>
                        <a:lnTo>
                          <a:pt x="522" y="1115"/>
                        </a:lnTo>
                        <a:close/>
                        <a:moveTo>
                          <a:pt x="433" y="1122"/>
                        </a:moveTo>
                        <a:lnTo>
                          <a:pt x="416" y="1115"/>
                        </a:lnTo>
                        <a:lnTo>
                          <a:pt x="433" y="1115"/>
                        </a:lnTo>
                        <a:lnTo>
                          <a:pt x="433" y="1122"/>
                        </a:lnTo>
                        <a:lnTo>
                          <a:pt x="433" y="1122"/>
                        </a:lnTo>
                        <a:lnTo>
                          <a:pt x="433" y="1122"/>
                        </a:lnTo>
                        <a:close/>
                        <a:moveTo>
                          <a:pt x="470" y="1132"/>
                        </a:moveTo>
                        <a:lnTo>
                          <a:pt x="454" y="1132"/>
                        </a:lnTo>
                        <a:lnTo>
                          <a:pt x="447" y="1115"/>
                        </a:lnTo>
                        <a:lnTo>
                          <a:pt x="470" y="1132"/>
                        </a:lnTo>
                        <a:lnTo>
                          <a:pt x="470" y="1132"/>
                        </a:lnTo>
                        <a:lnTo>
                          <a:pt x="470" y="1132"/>
                        </a:lnTo>
                        <a:close/>
                        <a:moveTo>
                          <a:pt x="518" y="1139"/>
                        </a:moveTo>
                        <a:lnTo>
                          <a:pt x="508" y="1132"/>
                        </a:lnTo>
                        <a:lnTo>
                          <a:pt x="522" y="1132"/>
                        </a:lnTo>
                        <a:lnTo>
                          <a:pt x="518" y="1139"/>
                        </a:lnTo>
                        <a:lnTo>
                          <a:pt x="518" y="1139"/>
                        </a:lnTo>
                        <a:lnTo>
                          <a:pt x="518" y="1139"/>
                        </a:lnTo>
                        <a:close/>
                        <a:moveTo>
                          <a:pt x="572" y="1238"/>
                        </a:moveTo>
                        <a:lnTo>
                          <a:pt x="560" y="1226"/>
                        </a:lnTo>
                        <a:lnTo>
                          <a:pt x="577" y="1226"/>
                        </a:lnTo>
                        <a:lnTo>
                          <a:pt x="572" y="1238"/>
                        </a:lnTo>
                        <a:lnTo>
                          <a:pt x="572" y="1238"/>
                        </a:lnTo>
                        <a:lnTo>
                          <a:pt x="572" y="1238"/>
                        </a:lnTo>
                        <a:close/>
                        <a:moveTo>
                          <a:pt x="22" y="1259"/>
                        </a:moveTo>
                        <a:lnTo>
                          <a:pt x="22" y="1250"/>
                        </a:lnTo>
                        <a:lnTo>
                          <a:pt x="38" y="1238"/>
                        </a:lnTo>
                        <a:lnTo>
                          <a:pt x="48" y="1243"/>
                        </a:lnTo>
                        <a:lnTo>
                          <a:pt x="48" y="1250"/>
                        </a:lnTo>
                        <a:lnTo>
                          <a:pt x="22" y="1259"/>
                        </a:lnTo>
                        <a:lnTo>
                          <a:pt x="22" y="1259"/>
                        </a:lnTo>
                        <a:lnTo>
                          <a:pt x="22" y="1259"/>
                        </a:lnTo>
                        <a:close/>
                        <a:moveTo>
                          <a:pt x="48" y="1259"/>
                        </a:moveTo>
                        <a:lnTo>
                          <a:pt x="31" y="1276"/>
                        </a:lnTo>
                        <a:lnTo>
                          <a:pt x="31" y="1266"/>
                        </a:lnTo>
                        <a:lnTo>
                          <a:pt x="48" y="1259"/>
                        </a:lnTo>
                        <a:lnTo>
                          <a:pt x="48" y="1259"/>
                        </a:lnTo>
                        <a:lnTo>
                          <a:pt x="48" y="1259"/>
                        </a:lnTo>
                        <a:close/>
                        <a:moveTo>
                          <a:pt x="560" y="1283"/>
                        </a:moveTo>
                        <a:lnTo>
                          <a:pt x="555" y="1276"/>
                        </a:lnTo>
                        <a:lnTo>
                          <a:pt x="560" y="1266"/>
                        </a:lnTo>
                        <a:lnTo>
                          <a:pt x="577" y="1266"/>
                        </a:lnTo>
                        <a:lnTo>
                          <a:pt x="560" y="1276"/>
                        </a:lnTo>
                        <a:lnTo>
                          <a:pt x="560" y="1283"/>
                        </a:lnTo>
                        <a:lnTo>
                          <a:pt x="560" y="1283"/>
                        </a:lnTo>
                        <a:lnTo>
                          <a:pt x="560" y="1283"/>
                        </a:lnTo>
                        <a:close/>
                        <a:moveTo>
                          <a:pt x="555" y="1276"/>
                        </a:moveTo>
                        <a:lnTo>
                          <a:pt x="555" y="1283"/>
                        </a:lnTo>
                        <a:lnTo>
                          <a:pt x="539" y="1299"/>
                        </a:lnTo>
                        <a:lnTo>
                          <a:pt x="534" y="1349"/>
                        </a:lnTo>
                        <a:lnTo>
                          <a:pt x="508" y="1354"/>
                        </a:lnTo>
                        <a:lnTo>
                          <a:pt x="501" y="1377"/>
                        </a:lnTo>
                        <a:lnTo>
                          <a:pt x="492" y="1377"/>
                        </a:lnTo>
                        <a:lnTo>
                          <a:pt x="501" y="1370"/>
                        </a:lnTo>
                        <a:lnTo>
                          <a:pt x="492" y="1316"/>
                        </a:lnTo>
                        <a:lnTo>
                          <a:pt x="534" y="1276"/>
                        </a:lnTo>
                        <a:lnTo>
                          <a:pt x="555" y="1276"/>
                        </a:lnTo>
                        <a:lnTo>
                          <a:pt x="555" y="1276"/>
                        </a:lnTo>
                        <a:lnTo>
                          <a:pt x="555" y="1276"/>
                        </a:lnTo>
                        <a:close/>
                        <a:moveTo>
                          <a:pt x="371" y="1448"/>
                        </a:moveTo>
                        <a:lnTo>
                          <a:pt x="371" y="1410"/>
                        </a:lnTo>
                        <a:lnTo>
                          <a:pt x="409" y="1337"/>
                        </a:lnTo>
                        <a:lnTo>
                          <a:pt x="426" y="1337"/>
                        </a:lnTo>
                        <a:lnTo>
                          <a:pt x="371" y="1448"/>
                        </a:lnTo>
                        <a:lnTo>
                          <a:pt x="371" y="1448"/>
                        </a:lnTo>
                        <a:lnTo>
                          <a:pt x="371" y="144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4" name="Freeform 568">
                    <a:extLst>
                      <a:ext uri="{FF2B5EF4-FFF2-40B4-BE49-F238E27FC236}">
                        <a16:creationId xmlns:a16="http://schemas.microsoft.com/office/drawing/2014/main" id="{9921EB4B-5518-4CD9-B11A-4EE8B7900F6D}"/>
                      </a:ext>
                    </a:extLst>
                  </p:cNvPr>
                  <p:cNvSpPr>
                    <a:spLocks/>
                  </p:cNvSpPr>
                  <p:nvPr/>
                </p:nvSpPr>
                <p:spPr bwMode="gray">
                  <a:xfrm>
                    <a:off x="8668084" y="2775979"/>
                    <a:ext cx="229712" cy="151924"/>
                  </a:xfrm>
                  <a:custGeom>
                    <a:avLst/>
                    <a:gdLst>
                      <a:gd name="T0" fmla="*/ 520 w 558"/>
                      <a:gd name="T1" fmla="*/ 302 h 369"/>
                      <a:gd name="T2" fmla="*/ 451 w 558"/>
                      <a:gd name="T3" fmla="*/ 319 h 369"/>
                      <a:gd name="T4" fmla="*/ 461 w 558"/>
                      <a:gd name="T5" fmla="*/ 314 h 369"/>
                      <a:gd name="T6" fmla="*/ 418 w 558"/>
                      <a:gd name="T7" fmla="*/ 298 h 369"/>
                      <a:gd name="T8" fmla="*/ 380 w 558"/>
                      <a:gd name="T9" fmla="*/ 335 h 369"/>
                      <a:gd name="T10" fmla="*/ 321 w 558"/>
                      <a:gd name="T11" fmla="*/ 359 h 369"/>
                      <a:gd name="T12" fmla="*/ 305 w 558"/>
                      <a:gd name="T13" fmla="*/ 359 h 369"/>
                      <a:gd name="T14" fmla="*/ 305 w 558"/>
                      <a:gd name="T15" fmla="*/ 265 h 369"/>
                      <a:gd name="T16" fmla="*/ 288 w 558"/>
                      <a:gd name="T17" fmla="*/ 232 h 369"/>
                      <a:gd name="T18" fmla="*/ 246 w 558"/>
                      <a:gd name="T19" fmla="*/ 220 h 369"/>
                      <a:gd name="T20" fmla="*/ 213 w 558"/>
                      <a:gd name="T21" fmla="*/ 281 h 369"/>
                      <a:gd name="T22" fmla="*/ 180 w 558"/>
                      <a:gd name="T23" fmla="*/ 286 h 369"/>
                      <a:gd name="T24" fmla="*/ 147 w 558"/>
                      <a:gd name="T25" fmla="*/ 302 h 369"/>
                      <a:gd name="T26" fmla="*/ 142 w 558"/>
                      <a:gd name="T27" fmla="*/ 331 h 369"/>
                      <a:gd name="T28" fmla="*/ 54 w 558"/>
                      <a:gd name="T29" fmla="*/ 343 h 369"/>
                      <a:gd name="T30" fmla="*/ 33 w 558"/>
                      <a:gd name="T31" fmla="*/ 319 h 369"/>
                      <a:gd name="T32" fmla="*/ 66 w 558"/>
                      <a:gd name="T33" fmla="*/ 260 h 369"/>
                      <a:gd name="T34" fmla="*/ 83 w 558"/>
                      <a:gd name="T35" fmla="*/ 243 h 369"/>
                      <a:gd name="T36" fmla="*/ 54 w 558"/>
                      <a:gd name="T37" fmla="*/ 187 h 369"/>
                      <a:gd name="T38" fmla="*/ 54 w 558"/>
                      <a:gd name="T39" fmla="*/ 170 h 369"/>
                      <a:gd name="T40" fmla="*/ 28 w 558"/>
                      <a:gd name="T41" fmla="*/ 165 h 369"/>
                      <a:gd name="T42" fmla="*/ 0 w 558"/>
                      <a:gd name="T43" fmla="*/ 149 h 369"/>
                      <a:gd name="T44" fmla="*/ 33 w 558"/>
                      <a:gd name="T45" fmla="*/ 116 h 369"/>
                      <a:gd name="T46" fmla="*/ 92 w 558"/>
                      <a:gd name="T47" fmla="*/ 99 h 369"/>
                      <a:gd name="T48" fmla="*/ 104 w 558"/>
                      <a:gd name="T49" fmla="*/ 83 h 369"/>
                      <a:gd name="T50" fmla="*/ 92 w 558"/>
                      <a:gd name="T51" fmla="*/ 78 h 369"/>
                      <a:gd name="T52" fmla="*/ 142 w 558"/>
                      <a:gd name="T53" fmla="*/ 45 h 369"/>
                      <a:gd name="T54" fmla="*/ 147 w 558"/>
                      <a:gd name="T55" fmla="*/ 21 h 369"/>
                      <a:gd name="T56" fmla="*/ 213 w 558"/>
                      <a:gd name="T57" fmla="*/ 12 h 369"/>
                      <a:gd name="T58" fmla="*/ 250 w 558"/>
                      <a:gd name="T59" fmla="*/ 28 h 369"/>
                      <a:gd name="T60" fmla="*/ 217 w 558"/>
                      <a:gd name="T61" fmla="*/ 54 h 369"/>
                      <a:gd name="T62" fmla="*/ 255 w 558"/>
                      <a:gd name="T63" fmla="*/ 66 h 369"/>
                      <a:gd name="T64" fmla="*/ 234 w 558"/>
                      <a:gd name="T65" fmla="*/ 78 h 369"/>
                      <a:gd name="T66" fmla="*/ 229 w 558"/>
                      <a:gd name="T67" fmla="*/ 95 h 369"/>
                      <a:gd name="T68" fmla="*/ 196 w 558"/>
                      <a:gd name="T69" fmla="*/ 66 h 369"/>
                      <a:gd name="T70" fmla="*/ 158 w 558"/>
                      <a:gd name="T71" fmla="*/ 95 h 369"/>
                      <a:gd name="T72" fmla="*/ 142 w 558"/>
                      <a:gd name="T73" fmla="*/ 83 h 369"/>
                      <a:gd name="T74" fmla="*/ 142 w 558"/>
                      <a:gd name="T75" fmla="*/ 121 h 369"/>
                      <a:gd name="T76" fmla="*/ 234 w 558"/>
                      <a:gd name="T77" fmla="*/ 121 h 369"/>
                      <a:gd name="T78" fmla="*/ 255 w 558"/>
                      <a:gd name="T79" fmla="*/ 137 h 369"/>
                      <a:gd name="T80" fmla="*/ 298 w 558"/>
                      <a:gd name="T81" fmla="*/ 121 h 369"/>
                      <a:gd name="T82" fmla="*/ 310 w 558"/>
                      <a:gd name="T83" fmla="*/ 132 h 369"/>
                      <a:gd name="T84" fmla="*/ 336 w 558"/>
                      <a:gd name="T85" fmla="*/ 137 h 369"/>
                      <a:gd name="T86" fmla="*/ 359 w 558"/>
                      <a:gd name="T87" fmla="*/ 137 h 369"/>
                      <a:gd name="T88" fmla="*/ 451 w 558"/>
                      <a:gd name="T89" fmla="*/ 132 h 369"/>
                      <a:gd name="T90" fmla="*/ 461 w 558"/>
                      <a:gd name="T91" fmla="*/ 170 h 369"/>
                      <a:gd name="T92" fmla="*/ 461 w 558"/>
                      <a:gd name="T93" fmla="*/ 203 h 369"/>
                      <a:gd name="T94" fmla="*/ 482 w 558"/>
                      <a:gd name="T95" fmla="*/ 203 h 369"/>
                      <a:gd name="T96" fmla="*/ 536 w 558"/>
                      <a:gd name="T97" fmla="*/ 220 h 369"/>
                      <a:gd name="T98" fmla="*/ 543 w 558"/>
                      <a:gd name="T99" fmla="*/ 276 h 369"/>
                      <a:gd name="T100" fmla="*/ 558 w 558"/>
                      <a:gd name="T101" fmla="*/ 302 h 369"/>
                      <a:gd name="T102" fmla="*/ 536 w 558"/>
                      <a:gd name="T103" fmla="*/ 31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58" h="369">
                        <a:moveTo>
                          <a:pt x="536" y="319"/>
                        </a:moveTo>
                        <a:lnTo>
                          <a:pt x="520" y="302"/>
                        </a:lnTo>
                        <a:lnTo>
                          <a:pt x="489" y="302"/>
                        </a:lnTo>
                        <a:lnTo>
                          <a:pt x="451" y="319"/>
                        </a:lnTo>
                        <a:lnTo>
                          <a:pt x="444" y="314"/>
                        </a:lnTo>
                        <a:lnTo>
                          <a:pt x="461" y="314"/>
                        </a:lnTo>
                        <a:lnTo>
                          <a:pt x="461" y="302"/>
                        </a:lnTo>
                        <a:lnTo>
                          <a:pt x="418" y="298"/>
                        </a:lnTo>
                        <a:lnTo>
                          <a:pt x="390" y="319"/>
                        </a:lnTo>
                        <a:lnTo>
                          <a:pt x="380" y="335"/>
                        </a:lnTo>
                        <a:lnTo>
                          <a:pt x="352" y="335"/>
                        </a:lnTo>
                        <a:lnTo>
                          <a:pt x="321" y="359"/>
                        </a:lnTo>
                        <a:lnTo>
                          <a:pt x="310" y="369"/>
                        </a:lnTo>
                        <a:lnTo>
                          <a:pt x="305" y="359"/>
                        </a:lnTo>
                        <a:lnTo>
                          <a:pt x="288" y="331"/>
                        </a:lnTo>
                        <a:lnTo>
                          <a:pt x="305" y="265"/>
                        </a:lnTo>
                        <a:lnTo>
                          <a:pt x="284" y="265"/>
                        </a:lnTo>
                        <a:lnTo>
                          <a:pt x="288" y="232"/>
                        </a:lnTo>
                        <a:lnTo>
                          <a:pt x="255" y="220"/>
                        </a:lnTo>
                        <a:lnTo>
                          <a:pt x="246" y="220"/>
                        </a:lnTo>
                        <a:lnTo>
                          <a:pt x="201" y="260"/>
                        </a:lnTo>
                        <a:lnTo>
                          <a:pt x="213" y="281"/>
                        </a:lnTo>
                        <a:lnTo>
                          <a:pt x="201" y="298"/>
                        </a:lnTo>
                        <a:lnTo>
                          <a:pt x="180" y="286"/>
                        </a:lnTo>
                        <a:lnTo>
                          <a:pt x="158" y="286"/>
                        </a:lnTo>
                        <a:lnTo>
                          <a:pt x="147" y="302"/>
                        </a:lnTo>
                        <a:lnTo>
                          <a:pt x="147" y="319"/>
                        </a:lnTo>
                        <a:lnTo>
                          <a:pt x="142" y="331"/>
                        </a:lnTo>
                        <a:lnTo>
                          <a:pt x="109" y="314"/>
                        </a:lnTo>
                        <a:lnTo>
                          <a:pt x="54" y="343"/>
                        </a:lnTo>
                        <a:lnTo>
                          <a:pt x="33" y="331"/>
                        </a:lnTo>
                        <a:lnTo>
                          <a:pt x="33" y="319"/>
                        </a:lnTo>
                        <a:lnTo>
                          <a:pt x="38" y="298"/>
                        </a:lnTo>
                        <a:lnTo>
                          <a:pt x="66" y="260"/>
                        </a:lnTo>
                        <a:lnTo>
                          <a:pt x="71" y="260"/>
                        </a:lnTo>
                        <a:lnTo>
                          <a:pt x="83" y="243"/>
                        </a:lnTo>
                        <a:lnTo>
                          <a:pt x="54" y="210"/>
                        </a:lnTo>
                        <a:lnTo>
                          <a:pt x="54" y="187"/>
                        </a:lnTo>
                        <a:lnTo>
                          <a:pt x="66" y="187"/>
                        </a:lnTo>
                        <a:lnTo>
                          <a:pt x="54" y="170"/>
                        </a:lnTo>
                        <a:lnTo>
                          <a:pt x="33" y="170"/>
                        </a:lnTo>
                        <a:lnTo>
                          <a:pt x="28" y="165"/>
                        </a:lnTo>
                        <a:lnTo>
                          <a:pt x="12" y="154"/>
                        </a:lnTo>
                        <a:lnTo>
                          <a:pt x="0" y="149"/>
                        </a:lnTo>
                        <a:lnTo>
                          <a:pt x="12" y="132"/>
                        </a:lnTo>
                        <a:lnTo>
                          <a:pt x="33" y="116"/>
                        </a:lnTo>
                        <a:lnTo>
                          <a:pt x="88" y="121"/>
                        </a:lnTo>
                        <a:lnTo>
                          <a:pt x="92" y="99"/>
                        </a:lnTo>
                        <a:lnTo>
                          <a:pt x="109" y="99"/>
                        </a:lnTo>
                        <a:lnTo>
                          <a:pt x="104" y="83"/>
                        </a:lnTo>
                        <a:lnTo>
                          <a:pt x="121" y="78"/>
                        </a:lnTo>
                        <a:lnTo>
                          <a:pt x="92" y="78"/>
                        </a:lnTo>
                        <a:lnTo>
                          <a:pt x="142" y="66"/>
                        </a:lnTo>
                        <a:lnTo>
                          <a:pt x="142" y="45"/>
                        </a:lnTo>
                        <a:lnTo>
                          <a:pt x="147" y="21"/>
                        </a:lnTo>
                        <a:lnTo>
                          <a:pt x="147" y="21"/>
                        </a:lnTo>
                        <a:lnTo>
                          <a:pt x="175" y="38"/>
                        </a:lnTo>
                        <a:lnTo>
                          <a:pt x="213" y="12"/>
                        </a:lnTo>
                        <a:lnTo>
                          <a:pt x="217" y="0"/>
                        </a:lnTo>
                        <a:lnTo>
                          <a:pt x="250" y="28"/>
                        </a:lnTo>
                        <a:lnTo>
                          <a:pt x="217" y="54"/>
                        </a:lnTo>
                        <a:lnTo>
                          <a:pt x="217" y="54"/>
                        </a:lnTo>
                        <a:lnTo>
                          <a:pt x="234" y="66"/>
                        </a:lnTo>
                        <a:lnTo>
                          <a:pt x="255" y="66"/>
                        </a:lnTo>
                        <a:lnTo>
                          <a:pt x="255" y="78"/>
                        </a:lnTo>
                        <a:lnTo>
                          <a:pt x="234" y="78"/>
                        </a:lnTo>
                        <a:lnTo>
                          <a:pt x="234" y="95"/>
                        </a:lnTo>
                        <a:lnTo>
                          <a:pt x="229" y="95"/>
                        </a:lnTo>
                        <a:lnTo>
                          <a:pt x="229" y="83"/>
                        </a:lnTo>
                        <a:lnTo>
                          <a:pt x="196" y="66"/>
                        </a:lnTo>
                        <a:lnTo>
                          <a:pt x="158" y="78"/>
                        </a:lnTo>
                        <a:lnTo>
                          <a:pt x="158" y="95"/>
                        </a:lnTo>
                        <a:lnTo>
                          <a:pt x="147" y="95"/>
                        </a:lnTo>
                        <a:lnTo>
                          <a:pt x="142" y="83"/>
                        </a:lnTo>
                        <a:lnTo>
                          <a:pt x="142" y="99"/>
                        </a:lnTo>
                        <a:lnTo>
                          <a:pt x="142" y="121"/>
                        </a:lnTo>
                        <a:lnTo>
                          <a:pt x="229" y="121"/>
                        </a:lnTo>
                        <a:lnTo>
                          <a:pt x="234" y="121"/>
                        </a:lnTo>
                        <a:lnTo>
                          <a:pt x="246" y="137"/>
                        </a:lnTo>
                        <a:lnTo>
                          <a:pt x="255" y="137"/>
                        </a:lnTo>
                        <a:lnTo>
                          <a:pt x="267" y="132"/>
                        </a:lnTo>
                        <a:lnTo>
                          <a:pt x="298" y="121"/>
                        </a:lnTo>
                        <a:lnTo>
                          <a:pt x="298" y="132"/>
                        </a:lnTo>
                        <a:lnTo>
                          <a:pt x="310" y="132"/>
                        </a:lnTo>
                        <a:lnTo>
                          <a:pt x="310" y="149"/>
                        </a:lnTo>
                        <a:lnTo>
                          <a:pt x="336" y="137"/>
                        </a:lnTo>
                        <a:lnTo>
                          <a:pt x="352" y="154"/>
                        </a:lnTo>
                        <a:lnTo>
                          <a:pt x="359" y="137"/>
                        </a:lnTo>
                        <a:lnTo>
                          <a:pt x="413" y="137"/>
                        </a:lnTo>
                        <a:lnTo>
                          <a:pt x="451" y="132"/>
                        </a:lnTo>
                        <a:lnTo>
                          <a:pt x="444" y="154"/>
                        </a:lnTo>
                        <a:lnTo>
                          <a:pt x="461" y="170"/>
                        </a:lnTo>
                        <a:lnTo>
                          <a:pt x="451" y="177"/>
                        </a:lnTo>
                        <a:lnTo>
                          <a:pt x="461" y="203"/>
                        </a:lnTo>
                        <a:lnTo>
                          <a:pt x="473" y="210"/>
                        </a:lnTo>
                        <a:lnTo>
                          <a:pt x="482" y="203"/>
                        </a:lnTo>
                        <a:lnTo>
                          <a:pt x="499" y="203"/>
                        </a:lnTo>
                        <a:lnTo>
                          <a:pt x="536" y="220"/>
                        </a:lnTo>
                        <a:lnTo>
                          <a:pt x="527" y="248"/>
                        </a:lnTo>
                        <a:lnTo>
                          <a:pt x="543" y="276"/>
                        </a:lnTo>
                        <a:lnTo>
                          <a:pt x="536" y="281"/>
                        </a:lnTo>
                        <a:lnTo>
                          <a:pt x="558" y="302"/>
                        </a:lnTo>
                        <a:lnTo>
                          <a:pt x="536" y="319"/>
                        </a:lnTo>
                        <a:lnTo>
                          <a:pt x="536" y="319"/>
                        </a:lnTo>
                        <a:lnTo>
                          <a:pt x="536" y="31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9" name="Freeform 574">
                    <a:extLst>
                      <a:ext uri="{FF2B5EF4-FFF2-40B4-BE49-F238E27FC236}">
                        <a16:creationId xmlns:a16="http://schemas.microsoft.com/office/drawing/2014/main" id="{BC100AA9-FAA5-4755-B187-05D299D51897}"/>
                      </a:ext>
                    </a:extLst>
                  </p:cNvPr>
                  <p:cNvSpPr>
                    <a:spLocks noEditPoints="1"/>
                  </p:cNvSpPr>
                  <p:nvPr/>
                </p:nvSpPr>
                <p:spPr bwMode="gray">
                  <a:xfrm>
                    <a:off x="7467242" y="2738924"/>
                    <a:ext cx="551226" cy="219033"/>
                  </a:xfrm>
                  <a:custGeom>
                    <a:avLst/>
                    <a:gdLst>
                      <a:gd name="T0" fmla="*/ 71 w 1339"/>
                      <a:gd name="T1" fmla="*/ 62 h 532"/>
                      <a:gd name="T2" fmla="*/ 59 w 1339"/>
                      <a:gd name="T3" fmla="*/ 22 h 532"/>
                      <a:gd name="T4" fmla="*/ 113 w 1339"/>
                      <a:gd name="T5" fmla="*/ 0 h 532"/>
                      <a:gd name="T6" fmla="*/ 168 w 1339"/>
                      <a:gd name="T7" fmla="*/ 38 h 532"/>
                      <a:gd name="T8" fmla="*/ 222 w 1339"/>
                      <a:gd name="T9" fmla="*/ 95 h 532"/>
                      <a:gd name="T10" fmla="*/ 177 w 1339"/>
                      <a:gd name="T11" fmla="*/ 88 h 532"/>
                      <a:gd name="T12" fmla="*/ 75 w 1339"/>
                      <a:gd name="T13" fmla="*/ 144 h 532"/>
                      <a:gd name="T14" fmla="*/ 80 w 1339"/>
                      <a:gd name="T15" fmla="*/ 128 h 532"/>
                      <a:gd name="T16" fmla="*/ 26 w 1339"/>
                      <a:gd name="T17" fmla="*/ 116 h 532"/>
                      <a:gd name="T18" fmla="*/ 1264 w 1339"/>
                      <a:gd name="T19" fmla="*/ 409 h 532"/>
                      <a:gd name="T20" fmla="*/ 1188 w 1339"/>
                      <a:gd name="T21" fmla="*/ 421 h 532"/>
                      <a:gd name="T22" fmla="*/ 1150 w 1339"/>
                      <a:gd name="T23" fmla="*/ 409 h 532"/>
                      <a:gd name="T24" fmla="*/ 957 w 1339"/>
                      <a:gd name="T25" fmla="*/ 461 h 532"/>
                      <a:gd name="T26" fmla="*/ 827 w 1339"/>
                      <a:gd name="T27" fmla="*/ 461 h 532"/>
                      <a:gd name="T28" fmla="*/ 777 w 1339"/>
                      <a:gd name="T29" fmla="*/ 487 h 532"/>
                      <a:gd name="T30" fmla="*/ 739 w 1339"/>
                      <a:gd name="T31" fmla="*/ 532 h 532"/>
                      <a:gd name="T32" fmla="*/ 739 w 1339"/>
                      <a:gd name="T33" fmla="*/ 461 h 532"/>
                      <a:gd name="T34" fmla="*/ 701 w 1339"/>
                      <a:gd name="T35" fmla="*/ 461 h 532"/>
                      <a:gd name="T36" fmla="*/ 583 w 1339"/>
                      <a:gd name="T37" fmla="*/ 487 h 532"/>
                      <a:gd name="T38" fmla="*/ 470 w 1339"/>
                      <a:gd name="T39" fmla="*/ 499 h 532"/>
                      <a:gd name="T40" fmla="*/ 340 w 1339"/>
                      <a:gd name="T41" fmla="*/ 482 h 532"/>
                      <a:gd name="T42" fmla="*/ 243 w 1339"/>
                      <a:gd name="T43" fmla="*/ 482 h 532"/>
                      <a:gd name="T44" fmla="*/ 231 w 1339"/>
                      <a:gd name="T45" fmla="*/ 449 h 532"/>
                      <a:gd name="T46" fmla="*/ 189 w 1339"/>
                      <a:gd name="T47" fmla="*/ 444 h 532"/>
                      <a:gd name="T48" fmla="*/ 168 w 1339"/>
                      <a:gd name="T49" fmla="*/ 461 h 532"/>
                      <a:gd name="T50" fmla="*/ 125 w 1339"/>
                      <a:gd name="T51" fmla="*/ 461 h 532"/>
                      <a:gd name="T52" fmla="*/ 113 w 1339"/>
                      <a:gd name="T53" fmla="*/ 433 h 532"/>
                      <a:gd name="T54" fmla="*/ 134 w 1339"/>
                      <a:gd name="T55" fmla="*/ 409 h 532"/>
                      <a:gd name="T56" fmla="*/ 113 w 1339"/>
                      <a:gd name="T57" fmla="*/ 350 h 532"/>
                      <a:gd name="T58" fmla="*/ 42 w 1339"/>
                      <a:gd name="T59" fmla="*/ 322 h 532"/>
                      <a:gd name="T60" fmla="*/ 54 w 1339"/>
                      <a:gd name="T61" fmla="*/ 310 h 532"/>
                      <a:gd name="T62" fmla="*/ 108 w 1339"/>
                      <a:gd name="T63" fmla="*/ 310 h 532"/>
                      <a:gd name="T64" fmla="*/ 97 w 1339"/>
                      <a:gd name="T65" fmla="*/ 265 h 532"/>
                      <a:gd name="T66" fmla="*/ 92 w 1339"/>
                      <a:gd name="T67" fmla="*/ 222 h 532"/>
                      <a:gd name="T68" fmla="*/ 75 w 1339"/>
                      <a:gd name="T69" fmla="*/ 144 h 532"/>
                      <a:gd name="T70" fmla="*/ 146 w 1339"/>
                      <a:gd name="T71" fmla="*/ 133 h 532"/>
                      <a:gd name="T72" fmla="*/ 163 w 1339"/>
                      <a:gd name="T73" fmla="*/ 149 h 532"/>
                      <a:gd name="T74" fmla="*/ 269 w 1339"/>
                      <a:gd name="T75" fmla="*/ 116 h 532"/>
                      <a:gd name="T76" fmla="*/ 238 w 1339"/>
                      <a:gd name="T77" fmla="*/ 88 h 532"/>
                      <a:gd name="T78" fmla="*/ 361 w 1339"/>
                      <a:gd name="T79" fmla="*/ 88 h 532"/>
                      <a:gd name="T80" fmla="*/ 541 w 1339"/>
                      <a:gd name="T81" fmla="*/ 5 h 532"/>
                      <a:gd name="T82" fmla="*/ 692 w 1339"/>
                      <a:gd name="T83" fmla="*/ 38 h 532"/>
                      <a:gd name="T84" fmla="*/ 756 w 1339"/>
                      <a:gd name="T85" fmla="*/ 71 h 532"/>
                      <a:gd name="T86" fmla="*/ 831 w 1339"/>
                      <a:gd name="T87" fmla="*/ 88 h 532"/>
                      <a:gd name="T88" fmla="*/ 961 w 1339"/>
                      <a:gd name="T89" fmla="*/ 88 h 532"/>
                      <a:gd name="T90" fmla="*/ 1134 w 1339"/>
                      <a:gd name="T91" fmla="*/ 55 h 532"/>
                      <a:gd name="T92" fmla="*/ 1205 w 1339"/>
                      <a:gd name="T93" fmla="*/ 38 h 532"/>
                      <a:gd name="T94" fmla="*/ 1268 w 1339"/>
                      <a:gd name="T95" fmla="*/ 111 h 532"/>
                      <a:gd name="T96" fmla="*/ 1280 w 1339"/>
                      <a:gd name="T97" fmla="*/ 173 h 532"/>
                      <a:gd name="T98" fmla="*/ 1334 w 1339"/>
                      <a:gd name="T99" fmla="*/ 199 h 532"/>
                      <a:gd name="T100" fmla="*/ 1301 w 1339"/>
                      <a:gd name="T101" fmla="*/ 255 h 532"/>
                      <a:gd name="T102" fmla="*/ 1318 w 1339"/>
                      <a:gd name="T103" fmla="*/ 317 h 532"/>
                      <a:gd name="T104" fmla="*/ 1339 w 1339"/>
                      <a:gd name="T105" fmla="*/ 404 h 532"/>
                      <a:gd name="T106" fmla="*/ 1301 w 1339"/>
                      <a:gd name="T107" fmla="*/ 421 h 532"/>
                      <a:gd name="T108" fmla="*/ 1297 w 1339"/>
                      <a:gd name="T109" fmla="*/ 404 h 532"/>
                      <a:gd name="T110" fmla="*/ 134 w 1339"/>
                      <a:gd name="T111" fmla="*/ 128 h 532"/>
                      <a:gd name="T112" fmla="*/ 0 w 1339"/>
                      <a:gd name="T113" fmla="*/ 166 h 532"/>
                      <a:gd name="T114" fmla="*/ 5 w 1339"/>
                      <a:gd name="T115" fmla="*/ 166 h 532"/>
                      <a:gd name="T116" fmla="*/ 21 w 1339"/>
                      <a:gd name="T117" fmla="*/ 189 h 532"/>
                      <a:gd name="T118" fmla="*/ 26 w 1339"/>
                      <a:gd name="T119" fmla="*/ 199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39" h="532">
                        <a:moveTo>
                          <a:pt x="26" y="116"/>
                        </a:moveTo>
                        <a:lnTo>
                          <a:pt x="54" y="95"/>
                        </a:lnTo>
                        <a:lnTo>
                          <a:pt x="42" y="71"/>
                        </a:lnTo>
                        <a:lnTo>
                          <a:pt x="71" y="62"/>
                        </a:lnTo>
                        <a:lnTo>
                          <a:pt x="71" y="38"/>
                        </a:lnTo>
                        <a:lnTo>
                          <a:pt x="54" y="33"/>
                        </a:lnTo>
                        <a:lnTo>
                          <a:pt x="54" y="22"/>
                        </a:lnTo>
                        <a:lnTo>
                          <a:pt x="59" y="22"/>
                        </a:lnTo>
                        <a:lnTo>
                          <a:pt x="71" y="5"/>
                        </a:lnTo>
                        <a:lnTo>
                          <a:pt x="92" y="5"/>
                        </a:lnTo>
                        <a:lnTo>
                          <a:pt x="97" y="0"/>
                        </a:lnTo>
                        <a:lnTo>
                          <a:pt x="113" y="0"/>
                        </a:lnTo>
                        <a:lnTo>
                          <a:pt x="134" y="17"/>
                        </a:lnTo>
                        <a:lnTo>
                          <a:pt x="168" y="5"/>
                        </a:lnTo>
                        <a:lnTo>
                          <a:pt x="163" y="22"/>
                        </a:lnTo>
                        <a:lnTo>
                          <a:pt x="168" y="38"/>
                        </a:lnTo>
                        <a:lnTo>
                          <a:pt x="201" y="55"/>
                        </a:lnTo>
                        <a:lnTo>
                          <a:pt x="238" y="71"/>
                        </a:lnTo>
                        <a:lnTo>
                          <a:pt x="238" y="88"/>
                        </a:lnTo>
                        <a:lnTo>
                          <a:pt x="222" y="95"/>
                        </a:lnTo>
                        <a:lnTo>
                          <a:pt x="205" y="95"/>
                        </a:lnTo>
                        <a:lnTo>
                          <a:pt x="201" y="88"/>
                        </a:lnTo>
                        <a:lnTo>
                          <a:pt x="201" y="95"/>
                        </a:lnTo>
                        <a:lnTo>
                          <a:pt x="177" y="88"/>
                        </a:lnTo>
                        <a:lnTo>
                          <a:pt x="163" y="95"/>
                        </a:lnTo>
                        <a:lnTo>
                          <a:pt x="130" y="95"/>
                        </a:lnTo>
                        <a:lnTo>
                          <a:pt x="113" y="116"/>
                        </a:lnTo>
                        <a:lnTo>
                          <a:pt x="75" y="144"/>
                        </a:lnTo>
                        <a:lnTo>
                          <a:pt x="38" y="173"/>
                        </a:lnTo>
                        <a:lnTo>
                          <a:pt x="42" y="156"/>
                        </a:lnTo>
                        <a:lnTo>
                          <a:pt x="38" y="149"/>
                        </a:lnTo>
                        <a:lnTo>
                          <a:pt x="80" y="128"/>
                        </a:lnTo>
                        <a:lnTo>
                          <a:pt x="75" y="116"/>
                        </a:lnTo>
                        <a:lnTo>
                          <a:pt x="26" y="128"/>
                        </a:lnTo>
                        <a:lnTo>
                          <a:pt x="26" y="116"/>
                        </a:lnTo>
                        <a:lnTo>
                          <a:pt x="26" y="116"/>
                        </a:lnTo>
                        <a:lnTo>
                          <a:pt x="26" y="116"/>
                        </a:lnTo>
                        <a:close/>
                        <a:moveTo>
                          <a:pt x="1297" y="404"/>
                        </a:moveTo>
                        <a:lnTo>
                          <a:pt x="1280" y="409"/>
                        </a:lnTo>
                        <a:lnTo>
                          <a:pt x="1264" y="409"/>
                        </a:lnTo>
                        <a:lnTo>
                          <a:pt x="1226" y="392"/>
                        </a:lnTo>
                        <a:lnTo>
                          <a:pt x="1214" y="404"/>
                        </a:lnTo>
                        <a:lnTo>
                          <a:pt x="1205" y="392"/>
                        </a:lnTo>
                        <a:lnTo>
                          <a:pt x="1188" y="421"/>
                        </a:lnTo>
                        <a:lnTo>
                          <a:pt x="1171" y="421"/>
                        </a:lnTo>
                        <a:lnTo>
                          <a:pt x="1171" y="409"/>
                        </a:lnTo>
                        <a:lnTo>
                          <a:pt x="1155" y="404"/>
                        </a:lnTo>
                        <a:lnTo>
                          <a:pt x="1150" y="409"/>
                        </a:lnTo>
                        <a:lnTo>
                          <a:pt x="1117" y="421"/>
                        </a:lnTo>
                        <a:lnTo>
                          <a:pt x="1063" y="421"/>
                        </a:lnTo>
                        <a:lnTo>
                          <a:pt x="994" y="449"/>
                        </a:lnTo>
                        <a:lnTo>
                          <a:pt x="957" y="461"/>
                        </a:lnTo>
                        <a:lnTo>
                          <a:pt x="919" y="449"/>
                        </a:lnTo>
                        <a:lnTo>
                          <a:pt x="902" y="444"/>
                        </a:lnTo>
                        <a:lnTo>
                          <a:pt x="886" y="433"/>
                        </a:lnTo>
                        <a:lnTo>
                          <a:pt x="827" y="461"/>
                        </a:lnTo>
                        <a:lnTo>
                          <a:pt x="810" y="461"/>
                        </a:lnTo>
                        <a:lnTo>
                          <a:pt x="772" y="444"/>
                        </a:lnTo>
                        <a:lnTo>
                          <a:pt x="760" y="477"/>
                        </a:lnTo>
                        <a:lnTo>
                          <a:pt x="777" y="487"/>
                        </a:lnTo>
                        <a:lnTo>
                          <a:pt x="756" y="487"/>
                        </a:lnTo>
                        <a:lnTo>
                          <a:pt x="756" y="515"/>
                        </a:lnTo>
                        <a:lnTo>
                          <a:pt x="739" y="515"/>
                        </a:lnTo>
                        <a:lnTo>
                          <a:pt x="739" y="532"/>
                        </a:lnTo>
                        <a:lnTo>
                          <a:pt x="723" y="515"/>
                        </a:lnTo>
                        <a:lnTo>
                          <a:pt x="723" y="515"/>
                        </a:lnTo>
                        <a:lnTo>
                          <a:pt x="706" y="482"/>
                        </a:lnTo>
                        <a:lnTo>
                          <a:pt x="739" y="461"/>
                        </a:lnTo>
                        <a:lnTo>
                          <a:pt x="739" y="444"/>
                        </a:lnTo>
                        <a:lnTo>
                          <a:pt x="723" y="433"/>
                        </a:lnTo>
                        <a:lnTo>
                          <a:pt x="692" y="449"/>
                        </a:lnTo>
                        <a:lnTo>
                          <a:pt x="701" y="461"/>
                        </a:lnTo>
                        <a:lnTo>
                          <a:pt x="675" y="466"/>
                        </a:lnTo>
                        <a:lnTo>
                          <a:pt x="631" y="444"/>
                        </a:lnTo>
                        <a:lnTo>
                          <a:pt x="609" y="466"/>
                        </a:lnTo>
                        <a:lnTo>
                          <a:pt x="583" y="487"/>
                        </a:lnTo>
                        <a:lnTo>
                          <a:pt x="579" y="482"/>
                        </a:lnTo>
                        <a:lnTo>
                          <a:pt x="562" y="499"/>
                        </a:lnTo>
                        <a:lnTo>
                          <a:pt x="503" y="503"/>
                        </a:lnTo>
                        <a:lnTo>
                          <a:pt x="470" y="499"/>
                        </a:lnTo>
                        <a:lnTo>
                          <a:pt x="449" y="466"/>
                        </a:lnTo>
                        <a:lnTo>
                          <a:pt x="378" y="444"/>
                        </a:lnTo>
                        <a:lnTo>
                          <a:pt x="345" y="444"/>
                        </a:lnTo>
                        <a:lnTo>
                          <a:pt x="340" y="482"/>
                        </a:lnTo>
                        <a:lnTo>
                          <a:pt x="328" y="499"/>
                        </a:lnTo>
                        <a:lnTo>
                          <a:pt x="323" y="482"/>
                        </a:lnTo>
                        <a:lnTo>
                          <a:pt x="286" y="499"/>
                        </a:lnTo>
                        <a:lnTo>
                          <a:pt x="243" y="482"/>
                        </a:lnTo>
                        <a:lnTo>
                          <a:pt x="243" y="466"/>
                        </a:lnTo>
                        <a:lnTo>
                          <a:pt x="238" y="466"/>
                        </a:lnTo>
                        <a:lnTo>
                          <a:pt x="238" y="461"/>
                        </a:lnTo>
                        <a:lnTo>
                          <a:pt x="231" y="449"/>
                        </a:lnTo>
                        <a:lnTo>
                          <a:pt x="222" y="461"/>
                        </a:lnTo>
                        <a:lnTo>
                          <a:pt x="215" y="449"/>
                        </a:lnTo>
                        <a:lnTo>
                          <a:pt x="201" y="433"/>
                        </a:lnTo>
                        <a:lnTo>
                          <a:pt x="189" y="444"/>
                        </a:lnTo>
                        <a:lnTo>
                          <a:pt x="184" y="444"/>
                        </a:lnTo>
                        <a:lnTo>
                          <a:pt x="184" y="449"/>
                        </a:lnTo>
                        <a:lnTo>
                          <a:pt x="163" y="466"/>
                        </a:lnTo>
                        <a:lnTo>
                          <a:pt x="168" y="461"/>
                        </a:lnTo>
                        <a:lnTo>
                          <a:pt x="163" y="449"/>
                        </a:lnTo>
                        <a:lnTo>
                          <a:pt x="177" y="449"/>
                        </a:lnTo>
                        <a:lnTo>
                          <a:pt x="177" y="444"/>
                        </a:lnTo>
                        <a:lnTo>
                          <a:pt x="125" y="461"/>
                        </a:lnTo>
                        <a:lnTo>
                          <a:pt x="168" y="444"/>
                        </a:lnTo>
                        <a:lnTo>
                          <a:pt x="168" y="433"/>
                        </a:lnTo>
                        <a:lnTo>
                          <a:pt x="189" y="425"/>
                        </a:lnTo>
                        <a:lnTo>
                          <a:pt x="113" y="433"/>
                        </a:lnTo>
                        <a:lnTo>
                          <a:pt x="113" y="425"/>
                        </a:lnTo>
                        <a:lnTo>
                          <a:pt x="113" y="421"/>
                        </a:lnTo>
                        <a:lnTo>
                          <a:pt x="130" y="421"/>
                        </a:lnTo>
                        <a:lnTo>
                          <a:pt x="134" y="409"/>
                        </a:lnTo>
                        <a:lnTo>
                          <a:pt x="125" y="404"/>
                        </a:lnTo>
                        <a:lnTo>
                          <a:pt x="125" y="392"/>
                        </a:lnTo>
                        <a:lnTo>
                          <a:pt x="108" y="404"/>
                        </a:lnTo>
                        <a:lnTo>
                          <a:pt x="113" y="350"/>
                        </a:lnTo>
                        <a:lnTo>
                          <a:pt x="92" y="338"/>
                        </a:lnTo>
                        <a:lnTo>
                          <a:pt x="75" y="322"/>
                        </a:lnTo>
                        <a:lnTo>
                          <a:pt x="71" y="338"/>
                        </a:lnTo>
                        <a:lnTo>
                          <a:pt x="42" y="322"/>
                        </a:lnTo>
                        <a:lnTo>
                          <a:pt x="42" y="317"/>
                        </a:lnTo>
                        <a:lnTo>
                          <a:pt x="54" y="317"/>
                        </a:lnTo>
                        <a:lnTo>
                          <a:pt x="59" y="310"/>
                        </a:lnTo>
                        <a:lnTo>
                          <a:pt x="54" y="310"/>
                        </a:lnTo>
                        <a:lnTo>
                          <a:pt x="54" y="293"/>
                        </a:lnTo>
                        <a:lnTo>
                          <a:pt x="59" y="293"/>
                        </a:lnTo>
                        <a:lnTo>
                          <a:pt x="75" y="317"/>
                        </a:lnTo>
                        <a:lnTo>
                          <a:pt x="108" y="310"/>
                        </a:lnTo>
                        <a:lnTo>
                          <a:pt x="92" y="310"/>
                        </a:lnTo>
                        <a:lnTo>
                          <a:pt x="75" y="293"/>
                        </a:lnTo>
                        <a:lnTo>
                          <a:pt x="75" y="281"/>
                        </a:lnTo>
                        <a:lnTo>
                          <a:pt x="97" y="265"/>
                        </a:lnTo>
                        <a:lnTo>
                          <a:pt x="80" y="265"/>
                        </a:lnTo>
                        <a:lnTo>
                          <a:pt x="80" y="255"/>
                        </a:lnTo>
                        <a:lnTo>
                          <a:pt x="71" y="239"/>
                        </a:lnTo>
                        <a:lnTo>
                          <a:pt x="92" y="222"/>
                        </a:lnTo>
                        <a:lnTo>
                          <a:pt x="92" y="211"/>
                        </a:lnTo>
                        <a:lnTo>
                          <a:pt x="26" y="222"/>
                        </a:lnTo>
                        <a:lnTo>
                          <a:pt x="38" y="182"/>
                        </a:lnTo>
                        <a:lnTo>
                          <a:pt x="75" y="144"/>
                        </a:lnTo>
                        <a:lnTo>
                          <a:pt x="108" y="144"/>
                        </a:lnTo>
                        <a:lnTo>
                          <a:pt x="130" y="149"/>
                        </a:lnTo>
                        <a:lnTo>
                          <a:pt x="151" y="149"/>
                        </a:lnTo>
                        <a:lnTo>
                          <a:pt x="146" y="133"/>
                        </a:lnTo>
                        <a:lnTo>
                          <a:pt x="146" y="133"/>
                        </a:lnTo>
                        <a:lnTo>
                          <a:pt x="168" y="133"/>
                        </a:lnTo>
                        <a:lnTo>
                          <a:pt x="163" y="144"/>
                        </a:lnTo>
                        <a:lnTo>
                          <a:pt x="163" y="149"/>
                        </a:lnTo>
                        <a:lnTo>
                          <a:pt x="238" y="149"/>
                        </a:lnTo>
                        <a:lnTo>
                          <a:pt x="243" y="144"/>
                        </a:lnTo>
                        <a:lnTo>
                          <a:pt x="222" y="133"/>
                        </a:lnTo>
                        <a:lnTo>
                          <a:pt x="269" y="116"/>
                        </a:lnTo>
                        <a:lnTo>
                          <a:pt x="297" y="116"/>
                        </a:lnTo>
                        <a:lnTo>
                          <a:pt x="260" y="111"/>
                        </a:lnTo>
                        <a:lnTo>
                          <a:pt x="243" y="100"/>
                        </a:lnTo>
                        <a:lnTo>
                          <a:pt x="238" y="88"/>
                        </a:lnTo>
                        <a:lnTo>
                          <a:pt x="243" y="71"/>
                        </a:lnTo>
                        <a:lnTo>
                          <a:pt x="307" y="78"/>
                        </a:lnTo>
                        <a:lnTo>
                          <a:pt x="323" y="71"/>
                        </a:lnTo>
                        <a:lnTo>
                          <a:pt x="361" y="88"/>
                        </a:lnTo>
                        <a:lnTo>
                          <a:pt x="394" y="88"/>
                        </a:lnTo>
                        <a:lnTo>
                          <a:pt x="416" y="62"/>
                        </a:lnTo>
                        <a:lnTo>
                          <a:pt x="458" y="33"/>
                        </a:lnTo>
                        <a:lnTo>
                          <a:pt x="541" y="5"/>
                        </a:lnTo>
                        <a:lnTo>
                          <a:pt x="638" y="5"/>
                        </a:lnTo>
                        <a:lnTo>
                          <a:pt x="654" y="0"/>
                        </a:lnTo>
                        <a:lnTo>
                          <a:pt x="675" y="33"/>
                        </a:lnTo>
                        <a:lnTo>
                          <a:pt x="692" y="38"/>
                        </a:lnTo>
                        <a:lnTo>
                          <a:pt x="723" y="33"/>
                        </a:lnTo>
                        <a:lnTo>
                          <a:pt x="730" y="33"/>
                        </a:lnTo>
                        <a:lnTo>
                          <a:pt x="730" y="55"/>
                        </a:lnTo>
                        <a:lnTo>
                          <a:pt x="756" y="71"/>
                        </a:lnTo>
                        <a:lnTo>
                          <a:pt x="782" y="62"/>
                        </a:lnTo>
                        <a:lnTo>
                          <a:pt x="798" y="71"/>
                        </a:lnTo>
                        <a:lnTo>
                          <a:pt x="798" y="78"/>
                        </a:lnTo>
                        <a:lnTo>
                          <a:pt x="831" y="88"/>
                        </a:lnTo>
                        <a:lnTo>
                          <a:pt x="848" y="78"/>
                        </a:lnTo>
                        <a:lnTo>
                          <a:pt x="853" y="95"/>
                        </a:lnTo>
                        <a:lnTo>
                          <a:pt x="890" y="100"/>
                        </a:lnTo>
                        <a:lnTo>
                          <a:pt x="961" y="88"/>
                        </a:lnTo>
                        <a:lnTo>
                          <a:pt x="1016" y="100"/>
                        </a:lnTo>
                        <a:lnTo>
                          <a:pt x="1101" y="62"/>
                        </a:lnTo>
                        <a:lnTo>
                          <a:pt x="1117" y="45"/>
                        </a:lnTo>
                        <a:lnTo>
                          <a:pt x="1134" y="55"/>
                        </a:lnTo>
                        <a:lnTo>
                          <a:pt x="1150" y="45"/>
                        </a:lnTo>
                        <a:lnTo>
                          <a:pt x="1176" y="55"/>
                        </a:lnTo>
                        <a:lnTo>
                          <a:pt x="1188" y="38"/>
                        </a:lnTo>
                        <a:lnTo>
                          <a:pt x="1205" y="38"/>
                        </a:lnTo>
                        <a:lnTo>
                          <a:pt x="1231" y="78"/>
                        </a:lnTo>
                        <a:lnTo>
                          <a:pt x="1242" y="78"/>
                        </a:lnTo>
                        <a:lnTo>
                          <a:pt x="1247" y="78"/>
                        </a:lnTo>
                        <a:lnTo>
                          <a:pt x="1268" y="111"/>
                        </a:lnTo>
                        <a:lnTo>
                          <a:pt x="1259" y="144"/>
                        </a:lnTo>
                        <a:lnTo>
                          <a:pt x="1264" y="166"/>
                        </a:lnTo>
                        <a:lnTo>
                          <a:pt x="1264" y="166"/>
                        </a:lnTo>
                        <a:lnTo>
                          <a:pt x="1280" y="173"/>
                        </a:lnTo>
                        <a:lnTo>
                          <a:pt x="1311" y="173"/>
                        </a:lnTo>
                        <a:lnTo>
                          <a:pt x="1339" y="206"/>
                        </a:lnTo>
                        <a:lnTo>
                          <a:pt x="1339" y="206"/>
                        </a:lnTo>
                        <a:lnTo>
                          <a:pt x="1334" y="199"/>
                        </a:lnTo>
                        <a:lnTo>
                          <a:pt x="1318" y="206"/>
                        </a:lnTo>
                        <a:lnTo>
                          <a:pt x="1318" y="227"/>
                        </a:lnTo>
                        <a:lnTo>
                          <a:pt x="1285" y="227"/>
                        </a:lnTo>
                        <a:lnTo>
                          <a:pt x="1301" y="255"/>
                        </a:lnTo>
                        <a:lnTo>
                          <a:pt x="1301" y="265"/>
                        </a:lnTo>
                        <a:lnTo>
                          <a:pt x="1311" y="277"/>
                        </a:lnTo>
                        <a:lnTo>
                          <a:pt x="1311" y="317"/>
                        </a:lnTo>
                        <a:lnTo>
                          <a:pt x="1318" y="317"/>
                        </a:lnTo>
                        <a:lnTo>
                          <a:pt x="1301" y="355"/>
                        </a:lnTo>
                        <a:lnTo>
                          <a:pt x="1334" y="371"/>
                        </a:lnTo>
                        <a:lnTo>
                          <a:pt x="1323" y="392"/>
                        </a:lnTo>
                        <a:lnTo>
                          <a:pt x="1339" y="404"/>
                        </a:lnTo>
                        <a:lnTo>
                          <a:pt x="1339" y="421"/>
                        </a:lnTo>
                        <a:lnTo>
                          <a:pt x="1334" y="409"/>
                        </a:lnTo>
                        <a:lnTo>
                          <a:pt x="1311" y="433"/>
                        </a:lnTo>
                        <a:lnTo>
                          <a:pt x="1301" y="421"/>
                        </a:lnTo>
                        <a:lnTo>
                          <a:pt x="1301" y="409"/>
                        </a:lnTo>
                        <a:lnTo>
                          <a:pt x="1297" y="404"/>
                        </a:lnTo>
                        <a:lnTo>
                          <a:pt x="1297" y="404"/>
                        </a:lnTo>
                        <a:lnTo>
                          <a:pt x="1297" y="404"/>
                        </a:lnTo>
                        <a:close/>
                        <a:moveTo>
                          <a:pt x="134" y="128"/>
                        </a:moveTo>
                        <a:lnTo>
                          <a:pt x="130" y="128"/>
                        </a:lnTo>
                        <a:lnTo>
                          <a:pt x="146" y="128"/>
                        </a:lnTo>
                        <a:lnTo>
                          <a:pt x="134" y="128"/>
                        </a:lnTo>
                        <a:lnTo>
                          <a:pt x="134" y="128"/>
                        </a:lnTo>
                        <a:lnTo>
                          <a:pt x="134" y="128"/>
                        </a:lnTo>
                        <a:close/>
                        <a:moveTo>
                          <a:pt x="5" y="166"/>
                        </a:moveTo>
                        <a:lnTo>
                          <a:pt x="0" y="166"/>
                        </a:lnTo>
                        <a:lnTo>
                          <a:pt x="5" y="156"/>
                        </a:lnTo>
                        <a:lnTo>
                          <a:pt x="21" y="156"/>
                        </a:lnTo>
                        <a:lnTo>
                          <a:pt x="21" y="166"/>
                        </a:lnTo>
                        <a:lnTo>
                          <a:pt x="5" y="166"/>
                        </a:lnTo>
                        <a:lnTo>
                          <a:pt x="5" y="166"/>
                        </a:lnTo>
                        <a:lnTo>
                          <a:pt x="5" y="166"/>
                        </a:lnTo>
                        <a:close/>
                        <a:moveTo>
                          <a:pt x="26" y="199"/>
                        </a:moveTo>
                        <a:lnTo>
                          <a:pt x="21" y="189"/>
                        </a:lnTo>
                        <a:lnTo>
                          <a:pt x="26" y="189"/>
                        </a:lnTo>
                        <a:lnTo>
                          <a:pt x="26" y="199"/>
                        </a:lnTo>
                        <a:lnTo>
                          <a:pt x="26" y="199"/>
                        </a:lnTo>
                        <a:lnTo>
                          <a:pt x="26" y="19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1" name="Freeform 577">
                    <a:extLst>
                      <a:ext uri="{FF2B5EF4-FFF2-40B4-BE49-F238E27FC236}">
                        <a16:creationId xmlns:a16="http://schemas.microsoft.com/office/drawing/2014/main" id="{E9B68EA9-A9FB-4441-9ABF-FC3139732441}"/>
                      </a:ext>
                    </a:extLst>
                  </p:cNvPr>
                  <p:cNvSpPr>
                    <a:spLocks/>
                  </p:cNvSpPr>
                  <p:nvPr/>
                </p:nvSpPr>
                <p:spPr bwMode="gray">
                  <a:xfrm>
                    <a:off x="8241181" y="2712986"/>
                    <a:ext cx="409611" cy="264321"/>
                  </a:xfrm>
                  <a:custGeom>
                    <a:avLst/>
                    <a:gdLst>
                      <a:gd name="T0" fmla="*/ 926 w 995"/>
                      <a:gd name="T1" fmla="*/ 453 h 642"/>
                      <a:gd name="T2" fmla="*/ 860 w 995"/>
                      <a:gd name="T3" fmla="*/ 486 h 642"/>
                      <a:gd name="T4" fmla="*/ 806 w 995"/>
                      <a:gd name="T5" fmla="*/ 571 h 642"/>
                      <a:gd name="T6" fmla="*/ 747 w 995"/>
                      <a:gd name="T7" fmla="*/ 609 h 642"/>
                      <a:gd name="T8" fmla="*/ 699 w 995"/>
                      <a:gd name="T9" fmla="*/ 637 h 642"/>
                      <a:gd name="T10" fmla="*/ 640 w 995"/>
                      <a:gd name="T11" fmla="*/ 621 h 642"/>
                      <a:gd name="T12" fmla="*/ 607 w 995"/>
                      <a:gd name="T13" fmla="*/ 526 h 642"/>
                      <a:gd name="T14" fmla="*/ 494 w 995"/>
                      <a:gd name="T15" fmla="*/ 477 h 642"/>
                      <a:gd name="T16" fmla="*/ 409 w 995"/>
                      <a:gd name="T17" fmla="*/ 437 h 642"/>
                      <a:gd name="T18" fmla="*/ 333 w 995"/>
                      <a:gd name="T19" fmla="*/ 387 h 642"/>
                      <a:gd name="T20" fmla="*/ 279 w 995"/>
                      <a:gd name="T21" fmla="*/ 387 h 642"/>
                      <a:gd name="T22" fmla="*/ 262 w 995"/>
                      <a:gd name="T23" fmla="*/ 403 h 642"/>
                      <a:gd name="T24" fmla="*/ 161 w 995"/>
                      <a:gd name="T25" fmla="*/ 453 h 642"/>
                      <a:gd name="T26" fmla="*/ 102 w 995"/>
                      <a:gd name="T27" fmla="*/ 470 h 642"/>
                      <a:gd name="T28" fmla="*/ 106 w 995"/>
                      <a:gd name="T29" fmla="*/ 333 h 642"/>
                      <a:gd name="T30" fmla="*/ 47 w 995"/>
                      <a:gd name="T31" fmla="*/ 292 h 642"/>
                      <a:gd name="T32" fmla="*/ 52 w 995"/>
                      <a:gd name="T33" fmla="*/ 271 h 642"/>
                      <a:gd name="T34" fmla="*/ 90 w 995"/>
                      <a:gd name="T35" fmla="*/ 288 h 642"/>
                      <a:gd name="T36" fmla="*/ 31 w 995"/>
                      <a:gd name="T37" fmla="*/ 248 h 642"/>
                      <a:gd name="T38" fmla="*/ 17 w 995"/>
                      <a:gd name="T39" fmla="*/ 210 h 642"/>
                      <a:gd name="T40" fmla="*/ 47 w 995"/>
                      <a:gd name="T41" fmla="*/ 177 h 642"/>
                      <a:gd name="T42" fmla="*/ 90 w 995"/>
                      <a:gd name="T43" fmla="*/ 193 h 642"/>
                      <a:gd name="T44" fmla="*/ 135 w 995"/>
                      <a:gd name="T45" fmla="*/ 160 h 642"/>
                      <a:gd name="T46" fmla="*/ 161 w 995"/>
                      <a:gd name="T47" fmla="*/ 153 h 642"/>
                      <a:gd name="T48" fmla="*/ 90 w 995"/>
                      <a:gd name="T49" fmla="*/ 54 h 642"/>
                      <a:gd name="T50" fmla="*/ 26 w 995"/>
                      <a:gd name="T51" fmla="*/ 99 h 642"/>
                      <a:gd name="T52" fmla="*/ 31 w 995"/>
                      <a:gd name="T53" fmla="*/ 153 h 642"/>
                      <a:gd name="T54" fmla="*/ 10 w 995"/>
                      <a:gd name="T55" fmla="*/ 103 h 642"/>
                      <a:gd name="T56" fmla="*/ 69 w 995"/>
                      <a:gd name="T57" fmla="*/ 49 h 642"/>
                      <a:gd name="T58" fmla="*/ 177 w 995"/>
                      <a:gd name="T59" fmla="*/ 87 h 642"/>
                      <a:gd name="T60" fmla="*/ 321 w 995"/>
                      <a:gd name="T61" fmla="*/ 137 h 642"/>
                      <a:gd name="T62" fmla="*/ 317 w 995"/>
                      <a:gd name="T63" fmla="*/ 82 h 642"/>
                      <a:gd name="T64" fmla="*/ 392 w 995"/>
                      <a:gd name="T65" fmla="*/ 26 h 642"/>
                      <a:gd name="T66" fmla="*/ 425 w 995"/>
                      <a:gd name="T67" fmla="*/ 49 h 642"/>
                      <a:gd name="T68" fmla="*/ 425 w 995"/>
                      <a:gd name="T69" fmla="*/ 16 h 642"/>
                      <a:gd name="T70" fmla="*/ 468 w 995"/>
                      <a:gd name="T71" fmla="*/ 26 h 642"/>
                      <a:gd name="T72" fmla="*/ 532 w 995"/>
                      <a:gd name="T73" fmla="*/ 49 h 642"/>
                      <a:gd name="T74" fmla="*/ 532 w 995"/>
                      <a:gd name="T75" fmla="*/ 87 h 642"/>
                      <a:gd name="T76" fmla="*/ 539 w 995"/>
                      <a:gd name="T77" fmla="*/ 127 h 642"/>
                      <a:gd name="T78" fmla="*/ 619 w 995"/>
                      <a:gd name="T79" fmla="*/ 144 h 642"/>
                      <a:gd name="T80" fmla="*/ 678 w 995"/>
                      <a:gd name="T81" fmla="*/ 193 h 642"/>
                      <a:gd name="T82" fmla="*/ 780 w 995"/>
                      <a:gd name="T83" fmla="*/ 292 h 642"/>
                      <a:gd name="T84" fmla="*/ 834 w 995"/>
                      <a:gd name="T85" fmla="*/ 326 h 642"/>
                      <a:gd name="T86" fmla="*/ 995 w 995"/>
                      <a:gd name="T87" fmla="*/ 415 h 642"/>
                      <a:gd name="T88" fmla="*/ 985 w 995"/>
                      <a:gd name="T89" fmla="*/ 460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5" h="642">
                        <a:moveTo>
                          <a:pt x="985" y="460"/>
                        </a:moveTo>
                        <a:lnTo>
                          <a:pt x="969" y="470"/>
                        </a:lnTo>
                        <a:lnTo>
                          <a:pt x="926" y="453"/>
                        </a:lnTo>
                        <a:lnTo>
                          <a:pt x="914" y="477"/>
                        </a:lnTo>
                        <a:lnTo>
                          <a:pt x="888" y="477"/>
                        </a:lnTo>
                        <a:lnTo>
                          <a:pt x="860" y="486"/>
                        </a:lnTo>
                        <a:lnTo>
                          <a:pt x="860" y="498"/>
                        </a:lnTo>
                        <a:lnTo>
                          <a:pt x="839" y="552"/>
                        </a:lnTo>
                        <a:lnTo>
                          <a:pt x="806" y="571"/>
                        </a:lnTo>
                        <a:lnTo>
                          <a:pt x="747" y="588"/>
                        </a:lnTo>
                        <a:lnTo>
                          <a:pt x="747" y="604"/>
                        </a:lnTo>
                        <a:lnTo>
                          <a:pt x="747" y="609"/>
                        </a:lnTo>
                        <a:lnTo>
                          <a:pt x="747" y="621"/>
                        </a:lnTo>
                        <a:lnTo>
                          <a:pt x="716" y="637"/>
                        </a:lnTo>
                        <a:lnTo>
                          <a:pt x="699" y="637"/>
                        </a:lnTo>
                        <a:lnTo>
                          <a:pt x="683" y="642"/>
                        </a:lnTo>
                        <a:lnTo>
                          <a:pt x="671" y="621"/>
                        </a:lnTo>
                        <a:lnTo>
                          <a:pt x="640" y="621"/>
                        </a:lnTo>
                        <a:lnTo>
                          <a:pt x="624" y="604"/>
                        </a:lnTo>
                        <a:lnTo>
                          <a:pt x="619" y="609"/>
                        </a:lnTo>
                        <a:lnTo>
                          <a:pt x="607" y="526"/>
                        </a:lnTo>
                        <a:lnTo>
                          <a:pt x="548" y="526"/>
                        </a:lnTo>
                        <a:lnTo>
                          <a:pt x="532" y="493"/>
                        </a:lnTo>
                        <a:lnTo>
                          <a:pt x="494" y="477"/>
                        </a:lnTo>
                        <a:lnTo>
                          <a:pt x="477" y="453"/>
                        </a:lnTo>
                        <a:lnTo>
                          <a:pt x="456" y="437"/>
                        </a:lnTo>
                        <a:lnTo>
                          <a:pt x="409" y="437"/>
                        </a:lnTo>
                        <a:lnTo>
                          <a:pt x="404" y="432"/>
                        </a:lnTo>
                        <a:lnTo>
                          <a:pt x="350" y="415"/>
                        </a:lnTo>
                        <a:lnTo>
                          <a:pt x="333" y="387"/>
                        </a:lnTo>
                        <a:lnTo>
                          <a:pt x="321" y="399"/>
                        </a:lnTo>
                        <a:lnTo>
                          <a:pt x="300" y="387"/>
                        </a:lnTo>
                        <a:lnTo>
                          <a:pt x="279" y="387"/>
                        </a:lnTo>
                        <a:lnTo>
                          <a:pt x="269" y="399"/>
                        </a:lnTo>
                        <a:lnTo>
                          <a:pt x="269" y="403"/>
                        </a:lnTo>
                        <a:lnTo>
                          <a:pt x="262" y="403"/>
                        </a:lnTo>
                        <a:lnTo>
                          <a:pt x="210" y="403"/>
                        </a:lnTo>
                        <a:lnTo>
                          <a:pt x="173" y="432"/>
                        </a:lnTo>
                        <a:lnTo>
                          <a:pt x="161" y="453"/>
                        </a:lnTo>
                        <a:lnTo>
                          <a:pt x="156" y="460"/>
                        </a:lnTo>
                        <a:lnTo>
                          <a:pt x="123" y="470"/>
                        </a:lnTo>
                        <a:lnTo>
                          <a:pt x="102" y="470"/>
                        </a:lnTo>
                        <a:lnTo>
                          <a:pt x="90" y="420"/>
                        </a:lnTo>
                        <a:lnTo>
                          <a:pt x="90" y="366"/>
                        </a:lnTo>
                        <a:lnTo>
                          <a:pt x="106" y="333"/>
                        </a:lnTo>
                        <a:lnTo>
                          <a:pt x="85" y="321"/>
                        </a:lnTo>
                        <a:lnTo>
                          <a:pt x="80" y="304"/>
                        </a:lnTo>
                        <a:lnTo>
                          <a:pt x="47" y="292"/>
                        </a:lnTo>
                        <a:lnTo>
                          <a:pt x="47" y="309"/>
                        </a:lnTo>
                        <a:lnTo>
                          <a:pt x="47" y="288"/>
                        </a:lnTo>
                        <a:lnTo>
                          <a:pt x="52" y="271"/>
                        </a:lnTo>
                        <a:lnTo>
                          <a:pt x="52" y="288"/>
                        </a:lnTo>
                        <a:lnTo>
                          <a:pt x="80" y="288"/>
                        </a:lnTo>
                        <a:lnTo>
                          <a:pt x="90" y="288"/>
                        </a:lnTo>
                        <a:lnTo>
                          <a:pt x="69" y="271"/>
                        </a:lnTo>
                        <a:lnTo>
                          <a:pt x="80" y="248"/>
                        </a:lnTo>
                        <a:lnTo>
                          <a:pt x="31" y="248"/>
                        </a:lnTo>
                        <a:lnTo>
                          <a:pt x="38" y="264"/>
                        </a:lnTo>
                        <a:lnTo>
                          <a:pt x="17" y="238"/>
                        </a:lnTo>
                        <a:lnTo>
                          <a:pt x="17" y="210"/>
                        </a:lnTo>
                        <a:lnTo>
                          <a:pt x="31" y="181"/>
                        </a:lnTo>
                        <a:lnTo>
                          <a:pt x="31" y="153"/>
                        </a:lnTo>
                        <a:lnTo>
                          <a:pt x="47" y="177"/>
                        </a:lnTo>
                        <a:lnTo>
                          <a:pt x="69" y="181"/>
                        </a:lnTo>
                        <a:lnTo>
                          <a:pt x="80" y="165"/>
                        </a:lnTo>
                        <a:lnTo>
                          <a:pt x="90" y="193"/>
                        </a:lnTo>
                        <a:lnTo>
                          <a:pt x="139" y="181"/>
                        </a:lnTo>
                        <a:lnTo>
                          <a:pt x="123" y="165"/>
                        </a:lnTo>
                        <a:lnTo>
                          <a:pt x="135" y="160"/>
                        </a:lnTo>
                        <a:lnTo>
                          <a:pt x="139" y="177"/>
                        </a:lnTo>
                        <a:lnTo>
                          <a:pt x="156" y="165"/>
                        </a:lnTo>
                        <a:lnTo>
                          <a:pt x="161" y="153"/>
                        </a:lnTo>
                        <a:lnTo>
                          <a:pt x="118" y="120"/>
                        </a:lnTo>
                        <a:lnTo>
                          <a:pt x="102" y="66"/>
                        </a:lnTo>
                        <a:lnTo>
                          <a:pt x="90" y="54"/>
                        </a:lnTo>
                        <a:lnTo>
                          <a:pt x="47" y="66"/>
                        </a:lnTo>
                        <a:lnTo>
                          <a:pt x="31" y="70"/>
                        </a:lnTo>
                        <a:lnTo>
                          <a:pt x="26" y="99"/>
                        </a:lnTo>
                        <a:lnTo>
                          <a:pt x="31" y="99"/>
                        </a:lnTo>
                        <a:lnTo>
                          <a:pt x="26" y="120"/>
                        </a:lnTo>
                        <a:lnTo>
                          <a:pt x="31" y="153"/>
                        </a:lnTo>
                        <a:lnTo>
                          <a:pt x="26" y="127"/>
                        </a:lnTo>
                        <a:lnTo>
                          <a:pt x="10" y="111"/>
                        </a:lnTo>
                        <a:lnTo>
                          <a:pt x="10" y="103"/>
                        </a:lnTo>
                        <a:lnTo>
                          <a:pt x="0" y="99"/>
                        </a:lnTo>
                        <a:lnTo>
                          <a:pt x="38" y="54"/>
                        </a:lnTo>
                        <a:lnTo>
                          <a:pt x="69" y="49"/>
                        </a:lnTo>
                        <a:lnTo>
                          <a:pt x="123" y="37"/>
                        </a:lnTo>
                        <a:lnTo>
                          <a:pt x="177" y="82"/>
                        </a:lnTo>
                        <a:lnTo>
                          <a:pt x="177" y="87"/>
                        </a:lnTo>
                        <a:lnTo>
                          <a:pt x="210" y="137"/>
                        </a:lnTo>
                        <a:lnTo>
                          <a:pt x="246" y="127"/>
                        </a:lnTo>
                        <a:lnTo>
                          <a:pt x="321" y="137"/>
                        </a:lnTo>
                        <a:lnTo>
                          <a:pt x="321" y="127"/>
                        </a:lnTo>
                        <a:lnTo>
                          <a:pt x="317" y="99"/>
                        </a:lnTo>
                        <a:lnTo>
                          <a:pt x="317" y="82"/>
                        </a:lnTo>
                        <a:lnTo>
                          <a:pt x="350" y="54"/>
                        </a:lnTo>
                        <a:lnTo>
                          <a:pt x="376" y="54"/>
                        </a:lnTo>
                        <a:lnTo>
                          <a:pt x="392" y="26"/>
                        </a:lnTo>
                        <a:lnTo>
                          <a:pt x="409" y="33"/>
                        </a:lnTo>
                        <a:lnTo>
                          <a:pt x="413" y="49"/>
                        </a:lnTo>
                        <a:lnTo>
                          <a:pt x="425" y="49"/>
                        </a:lnTo>
                        <a:lnTo>
                          <a:pt x="404" y="16"/>
                        </a:lnTo>
                        <a:lnTo>
                          <a:pt x="409" y="9"/>
                        </a:lnTo>
                        <a:lnTo>
                          <a:pt x="425" y="16"/>
                        </a:lnTo>
                        <a:lnTo>
                          <a:pt x="430" y="0"/>
                        </a:lnTo>
                        <a:lnTo>
                          <a:pt x="456" y="26"/>
                        </a:lnTo>
                        <a:lnTo>
                          <a:pt x="468" y="26"/>
                        </a:lnTo>
                        <a:lnTo>
                          <a:pt x="477" y="37"/>
                        </a:lnTo>
                        <a:lnTo>
                          <a:pt x="515" y="37"/>
                        </a:lnTo>
                        <a:lnTo>
                          <a:pt x="532" y="49"/>
                        </a:lnTo>
                        <a:lnTo>
                          <a:pt x="532" y="66"/>
                        </a:lnTo>
                        <a:lnTo>
                          <a:pt x="548" y="87"/>
                        </a:lnTo>
                        <a:lnTo>
                          <a:pt x="532" y="87"/>
                        </a:lnTo>
                        <a:lnTo>
                          <a:pt x="539" y="103"/>
                        </a:lnTo>
                        <a:lnTo>
                          <a:pt x="532" y="120"/>
                        </a:lnTo>
                        <a:lnTo>
                          <a:pt x="539" y="127"/>
                        </a:lnTo>
                        <a:lnTo>
                          <a:pt x="565" y="137"/>
                        </a:lnTo>
                        <a:lnTo>
                          <a:pt x="591" y="137"/>
                        </a:lnTo>
                        <a:lnTo>
                          <a:pt x="619" y="144"/>
                        </a:lnTo>
                        <a:lnTo>
                          <a:pt x="628" y="127"/>
                        </a:lnTo>
                        <a:lnTo>
                          <a:pt x="662" y="144"/>
                        </a:lnTo>
                        <a:lnTo>
                          <a:pt x="678" y="193"/>
                        </a:lnTo>
                        <a:lnTo>
                          <a:pt x="695" y="210"/>
                        </a:lnTo>
                        <a:lnTo>
                          <a:pt x="699" y="238"/>
                        </a:lnTo>
                        <a:lnTo>
                          <a:pt x="780" y="292"/>
                        </a:lnTo>
                        <a:lnTo>
                          <a:pt x="784" y="309"/>
                        </a:lnTo>
                        <a:lnTo>
                          <a:pt x="817" y="333"/>
                        </a:lnTo>
                        <a:lnTo>
                          <a:pt x="834" y="326"/>
                        </a:lnTo>
                        <a:lnTo>
                          <a:pt x="914" y="387"/>
                        </a:lnTo>
                        <a:lnTo>
                          <a:pt x="940" y="387"/>
                        </a:lnTo>
                        <a:lnTo>
                          <a:pt x="995" y="415"/>
                        </a:lnTo>
                        <a:lnTo>
                          <a:pt x="985" y="432"/>
                        </a:lnTo>
                        <a:lnTo>
                          <a:pt x="985" y="460"/>
                        </a:lnTo>
                        <a:lnTo>
                          <a:pt x="985" y="460"/>
                        </a:lnTo>
                        <a:lnTo>
                          <a:pt x="985" y="46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4" name="Freeform 580">
                    <a:extLst>
                      <a:ext uri="{FF2B5EF4-FFF2-40B4-BE49-F238E27FC236}">
                        <a16:creationId xmlns:a16="http://schemas.microsoft.com/office/drawing/2014/main" id="{8FA525B8-A99E-433A-B9B5-23361AB32BE5}"/>
                      </a:ext>
                    </a:extLst>
                  </p:cNvPr>
                  <p:cNvSpPr>
                    <a:spLocks noEditPoints="1"/>
                  </p:cNvSpPr>
                  <p:nvPr/>
                </p:nvSpPr>
                <p:spPr bwMode="gray">
                  <a:xfrm>
                    <a:off x="6489938" y="1994953"/>
                    <a:ext cx="288581" cy="448359"/>
                  </a:xfrm>
                  <a:custGeom>
                    <a:avLst/>
                    <a:gdLst>
                      <a:gd name="T0" fmla="*/ 494 w 701"/>
                      <a:gd name="T1" fmla="*/ 38 h 1089"/>
                      <a:gd name="T2" fmla="*/ 494 w 701"/>
                      <a:gd name="T3" fmla="*/ 71 h 1089"/>
                      <a:gd name="T4" fmla="*/ 472 w 701"/>
                      <a:gd name="T5" fmla="*/ 71 h 1089"/>
                      <a:gd name="T6" fmla="*/ 489 w 701"/>
                      <a:gd name="T7" fmla="*/ 62 h 1089"/>
                      <a:gd name="T8" fmla="*/ 375 w 701"/>
                      <a:gd name="T9" fmla="*/ 206 h 1089"/>
                      <a:gd name="T10" fmla="*/ 347 w 701"/>
                      <a:gd name="T11" fmla="*/ 222 h 1089"/>
                      <a:gd name="T12" fmla="*/ 375 w 701"/>
                      <a:gd name="T13" fmla="*/ 215 h 1089"/>
                      <a:gd name="T14" fmla="*/ 201 w 701"/>
                      <a:gd name="T15" fmla="*/ 907 h 1089"/>
                      <a:gd name="T16" fmla="*/ 342 w 701"/>
                      <a:gd name="T17" fmla="*/ 770 h 1089"/>
                      <a:gd name="T18" fmla="*/ 375 w 701"/>
                      <a:gd name="T19" fmla="*/ 737 h 1089"/>
                      <a:gd name="T20" fmla="*/ 359 w 701"/>
                      <a:gd name="T21" fmla="*/ 610 h 1089"/>
                      <a:gd name="T22" fmla="*/ 234 w 701"/>
                      <a:gd name="T23" fmla="*/ 643 h 1089"/>
                      <a:gd name="T24" fmla="*/ 234 w 701"/>
                      <a:gd name="T25" fmla="*/ 503 h 1089"/>
                      <a:gd name="T26" fmla="*/ 217 w 701"/>
                      <a:gd name="T27" fmla="*/ 482 h 1089"/>
                      <a:gd name="T28" fmla="*/ 179 w 701"/>
                      <a:gd name="T29" fmla="*/ 499 h 1089"/>
                      <a:gd name="T30" fmla="*/ 196 w 701"/>
                      <a:gd name="T31" fmla="*/ 459 h 1089"/>
                      <a:gd name="T32" fmla="*/ 163 w 701"/>
                      <a:gd name="T33" fmla="*/ 425 h 1089"/>
                      <a:gd name="T34" fmla="*/ 170 w 701"/>
                      <a:gd name="T35" fmla="*/ 392 h 1089"/>
                      <a:gd name="T36" fmla="*/ 163 w 701"/>
                      <a:gd name="T37" fmla="*/ 350 h 1089"/>
                      <a:gd name="T38" fmla="*/ 184 w 701"/>
                      <a:gd name="T39" fmla="*/ 293 h 1089"/>
                      <a:gd name="T40" fmla="*/ 250 w 701"/>
                      <a:gd name="T41" fmla="*/ 239 h 1089"/>
                      <a:gd name="T42" fmla="*/ 288 w 701"/>
                      <a:gd name="T43" fmla="*/ 317 h 1089"/>
                      <a:gd name="T44" fmla="*/ 430 w 701"/>
                      <a:gd name="T45" fmla="*/ 333 h 1089"/>
                      <a:gd name="T46" fmla="*/ 375 w 701"/>
                      <a:gd name="T47" fmla="*/ 459 h 1089"/>
                      <a:gd name="T48" fmla="*/ 456 w 701"/>
                      <a:gd name="T49" fmla="*/ 548 h 1089"/>
                      <a:gd name="T50" fmla="*/ 581 w 701"/>
                      <a:gd name="T51" fmla="*/ 754 h 1089"/>
                      <a:gd name="T52" fmla="*/ 614 w 701"/>
                      <a:gd name="T53" fmla="*/ 808 h 1089"/>
                      <a:gd name="T54" fmla="*/ 668 w 701"/>
                      <a:gd name="T55" fmla="*/ 907 h 1089"/>
                      <a:gd name="T56" fmla="*/ 614 w 701"/>
                      <a:gd name="T57" fmla="*/ 957 h 1089"/>
                      <a:gd name="T58" fmla="*/ 522 w 701"/>
                      <a:gd name="T59" fmla="*/ 1018 h 1089"/>
                      <a:gd name="T60" fmla="*/ 364 w 701"/>
                      <a:gd name="T61" fmla="*/ 1018 h 1089"/>
                      <a:gd name="T62" fmla="*/ 212 w 701"/>
                      <a:gd name="T63" fmla="*/ 1089 h 1089"/>
                      <a:gd name="T64" fmla="*/ 255 w 701"/>
                      <a:gd name="T65" fmla="*/ 1018 h 1089"/>
                      <a:gd name="T66" fmla="*/ 342 w 701"/>
                      <a:gd name="T67" fmla="*/ 957 h 1089"/>
                      <a:gd name="T68" fmla="*/ 217 w 701"/>
                      <a:gd name="T69" fmla="*/ 936 h 1089"/>
                      <a:gd name="T70" fmla="*/ 104 w 701"/>
                      <a:gd name="T71" fmla="*/ 317 h 1089"/>
                      <a:gd name="T72" fmla="*/ 87 w 701"/>
                      <a:gd name="T73" fmla="*/ 277 h 1089"/>
                      <a:gd name="T74" fmla="*/ 142 w 701"/>
                      <a:gd name="T75" fmla="*/ 277 h 1089"/>
                      <a:gd name="T76" fmla="*/ 38 w 701"/>
                      <a:gd name="T77" fmla="*/ 338 h 1089"/>
                      <a:gd name="T78" fmla="*/ 146 w 701"/>
                      <a:gd name="T79" fmla="*/ 388 h 1089"/>
                      <a:gd name="T80" fmla="*/ 108 w 701"/>
                      <a:gd name="T81" fmla="*/ 338 h 1089"/>
                      <a:gd name="T82" fmla="*/ 163 w 701"/>
                      <a:gd name="T83" fmla="*/ 392 h 1089"/>
                      <a:gd name="T84" fmla="*/ 61 w 701"/>
                      <a:gd name="T85" fmla="*/ 392 h 1089"/>
                      <a:gd name="T86" fmla="*/ 49 w 701"/>
                      <a:gd name="T87" fmla="*/ 409 h 1089"/>
                      <a:gd name="T88" fmla="*/ 116 w 701"/>
                      <a:gd name="T89" fmla="*/ 404 h 1089"/>
                      <a:gd name="T90" fmla="*/ 142 w 701"/>
                      <a:gd name="T91" fmla="*/ 421 h 1089"/>
                      <a:gd name="T92" fmla="*/ 146 w 701"/>
                      <a:gd name="T93" fmla="*/ 466 h 1089"/>
                      <a:gd name="T94" fmla="*/ 78 w 701"/>
                      <a:gd name="T95" fmla="*/ 459 h 1089"/>
                      <a:gd name="T96" fmla="*/ 170 w 701"/>
                      <a:gd name="T97" fmla="*/ 492 h 1089"/>
                      <a:gd name="T98" fmla="*/ 142 w 701"/>
                      <a:gd name="T99" fmla="*/ 503 h 1089"/>
                      <a:gd name="T100" fmla="*/ 130 w 701"/>
                      <a:gd name="T101" fmla="*/ 548 h 1089"/>
                      <a:gd name="T102" fmla="*/ 217 w 701"/>
                      <a:gd name="T103" fmla="*/ 536 h 1089"/>
                      <a:gd name="T104" fmla="*/ 212 w 701"/>
                      <a:gd name="T105" fmla="*/ 560 h 1089"/>
                      <a:gd name="T106" fmla="*/ 38 w 701"/>
                      <a:gd name="T107" fmla="*/ 631 h 1089"/>
                      <a:gd name="T108" fmla="*/ 158 w 701"/>
                      <a:gd name="T109" fmla="*/ 647 h 1089"/>
                      <a:gd name="T110" fmla="*/ 158 w 701"/>
                      <a:gd name="T111" fmla="*/ 697 h 1089"/>
                      <a:gd name="T112" fmla="*/ 250 w 701"/>
                      <a:gd name="T113" fmla="*/ 770 h 1089"/>
                      <a:gd name="T114" fmla="*/ 635 w 701"/>
                      <a:gd name="T115" fmla="*/ 957 h 1089"/>
                      <a:gd name="T116" fmla="*/ 484 w 701"/>
                      <a:gd name="T117" fmla="*/ 1035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1" h="1089">
                        <a:moveTo>
                          <a:pt x="510" y="17"/>
                        </a:moveTo>
                        <a:lnTo>
                          <a:pt x="505" y="17"/>
                        </a:lnTo>
                        <a:lnTo>
                          <a:pt x="510" y="0"/>
                        </a:lnTo>
                        <a:lnTo>
                          <a:pt x="522" y="0"/>
                        </a:lnTo>
                        <a:lnTo>
                          <a:pt x="510" y="17"/>
                        </a:lnTo>
                        <a:lnTo>
                          <a:pt x="510" y="17"/>
                        </a:lnTo>
                        <a:lnTo>
                          <a:pt x="510" y="17"/>
                        </a:lnTo>
                        <a:close/>
                        <a:moveTo>
                          <a:pt x="494" y="38"/>
                        </a:moveTo>
                        <a:lnTo>
                          <a:pt x="489" y="22"/>
                        </a:lnTo>
                        <a:lnTo>
                          <a:pt x="505" y="5"/>
                        </a:lnTo>
                        <a:lnTo>
                          <a:pt x="505" y="33"/>
                        </a:lnTo>
                        <a:lnTo>
                          <a:pt x="494" y="38"/>
                        </a:lnTo>
                        <a:lnTo>
                          <a:pt x="494" y="38"/>
                        </a:lnTo>
                        <a:lnTo>
                          <a:pt x="494" y="38"/>
                        </a:lnTo>
                        <a:close/>
                        <a:moveTo>
                          <a:pt x="489" y="62"/>
                        </a:moveTo>
                        <a:lnTo>
                          <a:pt x="494" y="71"/>
                        </a:lnTo>
                        <a:lnTo>
                          <a:pt x="489" y="78"/>
                        </a:lnTo>
                        <a:lnTo>
                          <a:pt x="484" y="99"/>
                        </a:lnTo>
                        <a:lnTo>
                          <a:pt x="472" y="99"/>
                        </a:lnTo>
                        <a:lnTo>
                          <a:pt x="489" y="78"/>
                        </a:lnTo>
                        <a:lnTo>
                          <a:pt x="484" y="62"/>
                        </a:lnTo>
                        <a:lnTo>
                          <a:pt x="472" y="62"/>
                        </a:lnTo>
                        <a:lnTo>
                          <a:pt x="484" y="71"/>
                        </a:lnTo>
                        <a:lnTo>
                          <a:pt x="472" y="71"/>
                        </a:lnTo>
                        <a:lnTo>
                          <a:pt x="456" y="55"/>
                        </a:lnTo>
                        <a:lnTo>
                          <a:pt x="484" y="45"/>
                        </a:lnTo>
                        <a:lnTo>
                          <a:pt x="456" y="38"/>
                        </a:lnTo>
                        <a:lnTo>
                          <a:pt x="484" y="22"/>
                        </a:lnTo>
                        <a:lnTo>
                          <a:pt x="484" y="38"/>
                        </a:lnTo>
                        <a:lnTo>
                          <a:pt x="505" y="38"/>
                        </a:lnTo>
                        <a:lnTo>
                          <a:pt x="489" y="62"/>
                        </a:lnTo>
                        <a:lnTo>
                          <a:pt x="489" y="62"/>
                        </a:lnTo>
                        <a:lnTo>
                          <a:pt x="489" y="62"/>
                        </a:lnTo>
                        <a:close/>
                        <a:moveTo>
                          <a:pt x="385" y="173"/>
                        </a:moveTo>
                        <a:lnTo>
                          <a:pt x="385" y="166"/>
                        </a:lnTo>
                        <a:lnTo>
                          <a:pt x="401" y="166"/>
                        </a:lnTo>
                        <a:lnTo>
                          <a:pt x="385" y="173"/>
                        </a:lnTo>
                        <a:lnTo>
                          <a:pt x="385" y="173"/>
                        </a:lnTo>
                        <a:lnTo>
                          <a:pt x="385" y="173"/>
                        </a:lnTo>
                        <a:close/>
                        <a:moveTo>
                          <a:pt x="375" y="206"/>
                        </a:moveTo>
                        <a:lnTo>
                          <a:pt x="342" y="199"/>
                        </a:lnTo>
                        <a:lnTo>
                          <a:pt x="342" y="182"/>
                        </a:lnTo>
                        <a:lnTo>
                          <a:pt x="359" y="182"/>
                        </a:lnTo>
                        <a:lnTo>
                          <a:pt x="380" y="206"/>
                        </a:lnTo>
                        <a:lnTo>
                          <a:pt x="375" y="206"/>
                        </a:lnTo>
                        <a:lnTo>
                          <a:pt x="375" y="206"/>
                        </a:lnTo>
                        <a:lnTo>
                          <a:pt x="375" y="206"/>
                        </a:lnTo>
                        <a:close/>
                        <a:moveTo>
                          <a:pt x="347" y="222"/>
                        </a:moveTo>
                        <a:lnTo>
                          <a:pt x="331" y="206"/>
                        </a:lnTo>
                        <a:lnTo>
                          <a:pt x="347" y="215"/>
                        </a:lnTo>
                        <a:lnTo>
                          <a:pt x="347" y="222"/>
                        </a:lnTo>
                        <a:lnTo>
                          <a:pt x="347" y="222"/>
                        </a:lnTo>
                        <a:lnTo>
                          <a:pt x="347" y="222"/>
                        </a:lnTo>
                        <a:close/>
                        <a:moveTo>
                          <a:pt x="364" y="222"/>
                        </a:moveTo>
                        <a:lnTo>
                          <a:pt x="359" y="215"/>
                        </a:lnTo>
                        <a:lnTo>
                          <a:pt x="375" y="215"/>
                        </a:lnTo>
                        <a:lnTo>
                          <a:pt x="364" y="222"/>
                        </a:lnTo>
                        <a:lnTo>
                          <a:pt x="364" y="222"/>
                        </a:lnTo>
                        <a:lnTo>
                          <a:pt x="364" y="222"/>
                        </a:lnTo>
                        <a:close/>
                        <a:moveTo>
                          <a:pt x="217" y="936"/>
                        </a:moveTo>
                        <a:lnTo>
                          <a:pt x="234" y="924"/>
                        </a:lnTo>
                        <a:lnTo>
                          <a:pt x="201" y="924"/>
                        </a:lnTo>
                        <a:lnTo>
                          <a:pt x="217" y="924"/>
                        </a:lnTo>
                        <a:lnTo>
                          <a:pt x="201" y="907"/>
                        </a:lnTo>
                        <a:lnTo>
                          <a:pt x="276" y="879"/>
                        </a:lnTo>
                        <a:lnTo>
                          <a:pt x="288" y="853"/>
                        </a:lnTo>
                        <a:lnTo>
                          <a:pt x="276" y="813"/>
                        </a:lnTo>
                        <a:lnTo>
                          <a:pt x="255" y="825"/>
                        </a:lnTo>
                        <a:lnTo>
                          <a:pt x="238" y="825"/>
                        </a:lnTo>
                        <a:lnTo>
                          <a:pt x="238" y="825"/>
                        </a:lnTo>
                        <a:lnTo>
                          <a:pt x="276" y="780"/>
                        </a:lnTo>
                        <a:lnTo>
                          <a:pt x="342" y="770"/>
                        </a:lnTo>
                        <a:lnTo>
                          <a:pt x="359" y="780"/>
                        </a:lnTo>
                        <a:lnTo>
                          <a:pt x="347" y="770"/>
                        </a:lnTo>
                        <a:lnTo>
                          <a:pt x="359" y="770"/>
                        </a:lnTo>
                        <a:lnTo>
                          <a:pt x="375" y="775"/>
                        </a:lnTo>
                        <a:lnTo>
                          <a:pt x="380" y="770"/>
                        </a:lnTo>
                        <a:lnTo>
                          <a:pt x="364" y="770"/>
                        </a:lnTo>
                        <a:lnTo>
                          <a:pt x="359" y="754"/>
                        </a:lnTo>
                        <a:lnTo>
                          <a:pt x="375" y="737"/>
                        </a:lnTo>
                        <a:lnTo>
                          <a:pt x="359" y="725"/>
                        </a:lnTo>
                        <a:lnTo>
                          <a:pt x="359" y="714"/>
                        </a:lnTo>
                        <a:lnTo>
                          <a:pt x="364" y="714"/>
                        </a:lnTo>
                        <a:lnTo>
                          <a:pt x="375" y="681"/>
                        </a:lnTo>
                        <a:lnTo>
                          <a:pt x="347" y="697"/>
                        </a:lnTo>
                        <a:lnTo>
                          <a:pt x="321" y="659"/>
                        </a:lnTo>
                        <a:lnTo>
                          <a:pt x="331" y="614"/>
                        </a:lnTo>
                        <a:lnTo>
                          <a:pt x="359" y="610"/>
                        </a:lnTo>
                        <a:lnTo>
                          <a:pt x="326" y="610"/>
                        </a:lnTo>
                        <a:lnTo>
                          <a:pt x="321" y="614"/>
                        </a:lnTo>
                        <a:lnTo>
                          <a:pt x="293" y="631"/>
                        </a:lnTo>
                        <a:lnTo>
                          <a:pt x="267" y="614"/>
                        </a:lnTo>
                        <a:lnTo>
                          <a:pt x="267" y="643"/>
                        </a:lnTo>
                        <a:lnTo>
                          <a:pt x="234" y="614"/>
                        </a:lnTo>
                        <a:lnTo>
                          <a:pt x="222" y="626"/>
                        </a:lnTo>
                        <a:lnTo>
                          <a:pt x="234" y="643"/>
                        </a:lnTo>
                        <a:lnTo>
                          <a:pt x="222" y="643"/>
                        </a:lnTo>
                        <a:lnTo>
                          <a:pt x="212" y="614"/>
                        </a:lnTo>
                        <a:lnTo>
                          <a:pt x="212" y="610"/>
                        </a:lnTo>
                        <a:lnTo>
                          <a:pt x="250" y="553"/>
                        </a:lnTo>
                        <a:lnTo>
                          <a:pt x="222" y="536"/>
                        </a:lnTo>
                        <a:lnTo>
                          <a:pt x="234" y="515"/>
                        </a:lnTo>
                        <a:lnTo>
                          <a:pt x="255" y="515"/>
                        </a:lnTo>
                        <a:lnTo>
                          <a:pt x="234" y="503"/>
                        </a:lnTo>
                        <a:lnTo>
                          <a:pt x="234" y="492"/>
                        </a:lnTo>
                        <a:lnTo>
                          <a:pt x="222" y="520"/>
                        </a:lnTo>
                        <a:lnTo>
                          <a:pt x="212" y="515"/>
                        </a:lnTo>
                        <a:lnTo>
                          <a:pt x="212" y="520"/>
                        </a:lnTo>
                        <a:lnTo>
                          <a:pt x="201" y="520"/>
                        </a:lnTo>
                        <a:lnTo>
                          <a:pt x="201" y="503"/>
                        </a:lnTo>
                        <a:lnTo>
                          <a:pt x="222" y="482"/>
                        </a:lnTo>
                        <a:lnTo>
                          <a:pt x="217" y="482"/>
                        </a:lnTo>
                        <a:lnTo>
                          <a:pt x="196" y="503"/>
                        </a:lnTo>
                        <a:lnTo>
                          <a:pt x="196" y="532"/>
                        </a:lnTo>
                        <a:lnTo>
                          <a:pt x="184" y="548"/>
                        </a:lnTo>
                        <a:lnTo>
                          <a:pt x="184" y="570"/>
                        </a:lnTo>
                        <a:lnTo>
                          <a:pt x="163" y="577"/>
                        </a:lnTo>
                        <a:lnTo>
                          <a:pt x="179" y="532"/>
                        </a:lnTo>
                        <a:lnTo>
                          <a:pt x="170" y="515"/>
                        </a:lnTo>
                        <a:lnTo>
                          <a:pt x="179" y="499"/>
                        </a:lnTo>
                        <a:lnTo>
                          <a:pt x="170" y="503"/>
                        </a:lnTo>
                        <a:lnTo>
                          <a:pt x="184" y="492"/>
                        </a:lnTo>
                        <a:lnTo>
                          <a:pt x="179" y="492"/>
                        </a:lnTo>
                        <a:lnTo>
                          <a:pt x="179" y="475"/>
                        </a:lnTo>
                        <a:lnTo>
                          <a:pt x="217" y="449"/>
                        </a:lnTo>
                        <a:lnTo>
                          <a:pt x="217" y="449"/>
                        </a:lnTo>
                        <a:lnTo>
                          <a:pt x="212" y="459"/>
                        </a:lnTo>
                        <a:lnTo>
                          <a:pt x="196" y="459"/>
                        </a:lnTo>
                        <a:lnTo>
                          <a:pt x="201" y="449"/>
                        </a:lnTo>
                        <a:lnTo>
                          <a:pt x="196" y="442"/>
                        </a:lnTo>
                        <a:lnTo>
                          <a:pt x="212" y="421"/>
                        </a:lnTo>
                        <a:lnTo>
                          <a:pt x="170" y="459"/>
                        </a:lnTo>
                        <a:lnTo>
                          <a:pt x="146" y="442"/>
                        </a:lnTo>
                        <a:lnTo>
                          <a:pt x="184" y="437"/>
                        </a:lnTo>
                        <a:lnTo>
                          <a:pt x="130" y="437"/>
                        </a:lnTo>
                        <a:lnTo>
                          <a:pt x="163" y="425"/>
                        </a:lnTo>
                        <a:lnTo>
                          <a:pt x="163" y="425"/>
                        </a:lnTo>
                        <a:lnTo>
                          <a:pt x="163" y="421"/>
                        </a:lnTo>
                        <a:lnTo>
                          <a:pt x="179" y="421"/>
                        </a:lnTo>
                        <a:lnTo>
                          <a:pt x="158" y="409"/>
                        </a:lnTo>
                        <a:lnTo>
                          <a:pt x="163" y="404"/>
                        </a:lnTo>
                        <a:lnTo>
                          <a:pt x="184" y="404"/>
                        </a:lnTo>
                        <a:lnTo>
                          <a:pt x="163" y="392"/>
                        </a:lnTo>
                        <a:lnTo>
                          <a:pt x="170" y="392"/>
                        </a:lnTo>
                        <a:lnTo>
                          <a:pt x="196" y="392"/>
                        </a:lnTo>
                        <a:lnTo>
                          <a:pt x="179" y="388"/>
                        </a:lnTo>
                        <a:lnTo>
                          <a:pt x="179" y="383"/>
                        </a:lnTo>
                        <a:lnTo>
                          <a:pt x="196" y="383"/>
                        </a:lnTo>
                        <a:lnTo>
                          <a:pt x="179" y="371"/>
                        </a:lnTo>
                        <a:lnTo>
                          <a:pt x="184" y="366"/>
                        </a:lnTo>
                        <a:lnTo>
                          <a:pt x="163" y="366"/>
                        </a:lnTo>
                        <a:lnTo>
                          <a:pt x="163" y="350"/>
                        </a:lnTo>
                        <a:lnTo>
                          <a:pt x="184" y="350"/>
                        </a:lnTo>
                        <a:lnTo>
                          <a:pt x="163" y="338"/>
                        </a:lnTo>
                        <a:lnTo>
                          <a:pt x="163" y="317"/>
                        </a:lnTo>
                        <a:lnTo>
                          <a:pt x="170" y="317"/>
                        </a:lnTo>
                        <a:lnTo>
                          <a:pt x="179" y="326"/>
                        </a:lnTo>
                        <a:lnTo>
                          <a:pt x="179" y="310"/>
                        </a:lnTo>
                        <a:lnTo>
                          <a:pt x="217" y="317"/>
                        </a:lnTo>
                        <a:lnTo>
                          <a:pt x="184" y="293"/>
                        </a:lnTo>
                        <a:lnTo>
                          <a:pt x="201" y="293"/>
                        </a:lnTo>
                        <a:lnTo>
                          <a:pt x="196" y="277"/>
                        </a:lnTo>
                        <a:lnTo>
                          <a:pt x="217" y="277"/>
                        </a:lnTo>
                        <a:lnTo>
                          <a:pt x="212" y="260"/>
                        </a:lnTo>
                        <a:lnTo>
                          <a:pt x="222" y="239"/>
                        </a:lnTo>
                        <a:lnTo>
                          <a:pt x="238" y="244"/>
                        </a:lnTo>
                        <a:lnTo>
                          <a:pt x="238" y="255"/>
                        </a:lnTo>
                        <a:lnTo>
                          <a:pt x="250" y="239"/>
                        </a:lnTo>
                        <a:lnTo>
                          <a:pt x="271" y="244"/>
                        </a:lnTo>
                        <a:lnTo>
                          <a:pt x="359" y="227"/>
                        </a:lnTo>
                        <a:lnTo>
                          <a:pt x="359" y="255"/>
                        </a:lnTo>
                        <a:lnTo>
                          <a:pt x="347" y="272"/>
                        </a:lnTo>
                        <a:lnTo>
                          <a:pt x="293" y="310"/>
                        </a:lnTo>
                        <a:lnTo>
                          <a:pt x="288" y="317"/>
                        </a:lnTo>
                        <a:lnTo>
                          <a:pt x="267" y="310"/>
                        </a:lnTo>
                        <a:lnTo>
                          <a:pt x="288" y="317"/>
                        </a:lnTo>
                        <a:lnTo>
                          <a:pt x="309" y="317"/>
                        </a:lnTo>
                        <a:lnTo>
                          <a:pt x="293" y="333"/>
                        </a:lnTo>
                        <a:lnTo>
                          <a:pt x="271" y="333"/>
                        </a:lnTo>
                        <a:lnTo>
                          <a:pt x="267" y="350"/>
                        </a:lnTo>
                        <a:lnTo>
                          <a:pt x="288" y="338"/>
                        </a:lnTo>
                        <a:lnTo>
                          <a:pt x="276" y="355"/>
                        </a:lnTo>
                        <a:lnTo>
                          <a:pt x="326" y="333"/>
                        </a:lnTo>
                        <a:lnTo>
                          <a:pt x="430" y="333"/>
                        </a:lnTo>
                        <a:lnTo>
                          <a:pt x="439" y="333"/>
                        </a:lnTo>
                        <a:lnTo>
                          <a:pt x="451" y="355"/>
                        </a:lnTo>
                        <a:lnTo>
                          <a:pt x="434" y="371"/>
                        </a:lnTo>
                        <a:lnTo>
                          <a:pt x="418" y="421"/>
                        </a:lnTo>
                        <a:lnTo>
                          <a:pt x="397" y="437"/>
                        </a:lnTo>
                        <a:lnTo>
                          <a:pt x="397" y="449"/>
                        </a:lnTo>
                        <a:lnTo>
                          <a:pt x="342" y="466"/>
                        </a:lnTo>
                        <a:lnTo>
                          <a:pt x="375" y="459"/>
                        </a:lnTo>
                        <a:lnTo>
                          <a:pt x="397" y="482"/>
                        </a:lnTo>
                        <a:lnTo>
                          <a:pt x="331" y="503"/>
                        </a:lnTo>
                        <a:lnTo>
                          <a:pt x="309" y="503"/>
                        </a:lnTo>
                        <a:lnTo>
                          <a:pt x="359" y="515"/>
                        </a:lnTo>
                        <a:lnTo>
                          <a:pt x="385" y="499"/>
                        </a:lnTo>
                        <a:lnTo>
                          <a:pt x="430" y="520"/>
                        </a:lnTo>
                        <a:lnTo>
                          <a:pt x="439" y="548"/>
                        </a:lnTo>
                        <a:lnTo>
                          <a:pt x="456" y="548"/>
                        </a:lnTo>
                        <a:lnTo>
                          <a:pt x="484" y="631"/>
                        </a:lnTo>
                        <a:lnTo>
                          <a:pt x="489" y="643"/>
                        </a:lnTo>
                        <a:lnTo>
                          <a:pt x="538" y="659"/>
                        </a:lnTo>
                        <a:lnTo>
                          <a:pt x="548" y="681"/>
                        </a:lnTo>
                        <a:lnTo>
                          <a:pt x="564" y="697"/>
                        </a:lnTo>
                        <a:lnTo>
                          <a:pt x="560" y="702"/>
                        </a:lnTo>
                        <a:lnTo>
                          <a:pt x="581" y="742"/>
                        </a:lnTo>
                        <a:lnTo>
                          <a:pt x="581" y="754"/>
                        </a:lnTo>
                        <a:lnTo>
                          <a:pt x="560" y="737"/>
                        </a:lnTo>
                        <a:lnTo>
                          <a:pt x="522" y="737"/>
                        </a:lnTo>
                        <a:lnTo>
                          <a:pt x="548" y="737"/>
                        </a:lnTo>
                        <a:lnTo>
                          <a:pt x="593" y="770"/>
                        </a:lnTo>
                        <a:lnTo>
                          <a:pt x="597" y="792"/>
                        </a:lnTo>
                        <a:lnTo>
                          <a:pt x="576" y="813"/>
                        </a:lnTo>
                        <a:lnTo>
                          <a:pt x="597" y="825"/>
                        </a:lnTo>
                        <a:lnTo>
                          <a:pt x="614" y="808"/>
                        </a:lnTo>
                        <a:lnTo>
                          <a:pt x="635" y="808"/>
                        </a:lnTo>
                        <a:lnTo>
                          <a:pt x="668" y="813"/>
                        </a:lnTo>
                        <a:lnTo>
                          <a:pt x="690" y="829"/>
                        </a:lnTo>
                        <a:lnTo>
                          <a:pt x="701" y="853"/>
                        </a:lnTo>
                        <a:lnTo>
                          <a:pt x="685" y="891"/>
                        </a:lnTo>
                        <a:lnTo>
                          <a:pt x="668" y="907"/>
                        </a:lnTo>
                        <a:lnTo>
                          <a:pt x="657" y="903"/>
                        </a:lnTo>
                        <a:lnTo>
                          <a:pt x="668" y="907"/>
                        </a:lnTo>
                        <a:lnTo>
                          <a:pt x="657" y="919"/>
                        </a:lnTo>
                        <a:lnTo>
                          <a:pt x="647" y="919"/>
                        </a:lnTo>
                        <a:lnTo>
                          <a:pt x="619" y="924"/>
                        </a:lnTo>
                        <a:lnTo>
                          <a:pt x="635" y="924"/>
                        </a:lnTo>
                        <a:lnTo>
                          <a:pt x="647" y="940"/>
                        </a:lnTo>
                        <a:lnTo>
                          <a:pt x="597" y="957"/>
                        </a:lnTo>
                        <a:lnTo>
                          <a:pt x="619" y="947"/>
                        </a:lnTo>
                        <a:lnTo>
                          <a:pt x="614" y="957"/>
                        </a:lnTo>
                        <a:lnTo>
                          <a:pt x="635" y="964"/>
                        </a:lnTo>
                        <a:lnTo>
                          <a:pt x="673" y="957"/>
                        </a:lnTo>
                        <a:lnTo>
                          <a:pt x="673" y="981"/>
                        </a:lnTo>
                        <a:lnTo>
                          <a:pt x="647" y="990"/>
                        </a:lnTo>
                        <a:lnTo>
                          <a:pt x="647" y="1002"/>
                        </a:lnTo>
                        <a:lnTo>
                          <a:pt x="593" y="1018"/>
                        </a:lnTo>
                        <a:lnTo>
                          <a:pt x="560" y="1014"/>
                        </a:lnTo>
                        <a:lnTo>
                          <a:pt x="522" y="1018"/>
                        </a:lnTo>
                        <a:lnTo>
                          <a:pt x="510" y="1014"/>
                        </a:lnTo>
                        <a:lnTo>
                          <a:pt x="494" y="1014"/>
                        </a:lnTo>
                        <a:lnTo>
                          <a:pt x="494" y="1018"/>
                        </a:lnTo>
                        <a:lnTo>
                          <a:pt x="430" y="1018"/>
                        </a:lnTo>
                        <a:lnTo>
                          <a:pt x="434" y="1035"/>
                        </a:lnTo>
                        <a:lnTo>
                          <a:pt x="401" y="1030"/>
                        </a:lnTo>
                        <a:lnTo>
                          <a:pt x="401" y="1035"/>
                        </a:lnTo>
                        <a:lnTo>
                          <a:pt x="364" y="1018"/>
                        </a:lnTo>
                        <a:lnTo>
                          <a:pt x="331" y="1035"/>
                        </a:lnTo>
                        <a:lnTo>
                          <a:pt x="309" y="1068"/>
                        </a:lnTo>
                        <a:lnTo>
                          <a:pt x="276" y="1051"/>
                        </a:lnTo>
                        <a:lnTo>
                          <a:pt x="267" y="1056"/>
                        </a:lnTo>
                        <a:lnTo>
                          <a:pt x="238" y="1056"/>
                        </a:lnTo>
                        <a:lnTo>
                          <a:pt x="217" y="1073"/>
                        </a:lnTo>
                        <a:lnTo>
                          <a:pt x="217" y="1084"/>
                        </a:lnTo>
                        <a:lnTo>
                          <a:pt x="212" y="1089"/>
                        </a:lnTo>
                        <a:lnTo>
                          <a:pt x="184" y="1073"/>
                        </a:lnTo>
                        <a:lnTo>
                          <a:pt x="170" y="1084"/>
                        </a:lnTo>
                        <a:lnTo>
                          <a:pt x="170" y="1073"/>
                        </a:lnTo>
                        <a:lnTo>
                          <a:pt x="196" y="1073"/>
                        </a:lnTo>
                        <a:lnTo>
                          <a:pt x="217" y="1051"/>
                        </a:lnTo>
                        <a:lnTo>
                          <a:pt x="217" y="1035"/>
                        </a:lnTo>
                        <a:lnTo>
                          <a:pt x="238" y="1035"/>
                        </a:lnTo>
                        <a:lnTo>
                          <a:pt x="255" y="1018"/>
                        </a:lnTo>
                        <a:lnTo>
                          <a:pt x="255" y="997"/>
                        </a:lnTo>
                        <a:lnTo>
                          <a:pt x="271" y="997"/>
                        </a:lnTo>
                        <a:lnTo>
                          <a:pt x="276" y="990"/>
                        </a:lnTo>
                        <a:lnTo>
                          <a:pt x="276" y="981"/>
                        </a:lnTo>
                        <a:lnTo>
                          <a:pt x="359" y="973"/>
                        </a:lnTo>
                        <a:lnTo>
                          <a:pt x="364" y="957"/>
                        </a:lnTo>
                        <a:lnTo>
                          <a:pt x="401" y="924"/>
                        </a:lnTo>
                        <a:lnTo>
                          <a:pt x="342" y="957"/>
                        </a:lnTo>
                        <a:lnTo>
                          <a:pt x="326" y="957"/>
                        </a:lnTo>
                        <a:lnTo>
                          <a:pt x="305" y="936"/>
                        </a:lnTo>
                        <a:lnTo>
                          <a:pt x="276" y="947"/>
                        </a:lnTo>
                        <a:lnTo>
                          <a:pt x="271" y="940"/>
                        </a:lnTo>
                        <a:lnTo>
                          <a:pt x="288" y="936"/>
                        </a:lnTo>
                        <a:lnTo>
                          <a:pt x="267" y="924"/>
                        </a:lnTo>
                        <a:lnTo>
                          <a:pt x="217" y="936"/>
                        </a:lnTo>
                        <a:lnTo>
                          <a:pt x="217" y="936"/>
                        </a:lnTo>
                        <a:lnTo>
                          <a:pt x="217" y="936"/>
                        </a:lnTo>
                        <a:close/>
                        <a:moveTo>
                          <a:pt x="116" y="310"/>
                        </a:moveTo>
                        <a:lnTo>
                          <a:pt x="104" y="310"/>
                        </a:lnTo>
                        <a:lnTo>
                          <a:pt x="104" y="298"/>
                        </a:lnTo>
                        <a:lnTo>
                          <a:pt x="108" y="293"/>
                        </a:lnTo>
                        <a:lnTo>
                          <a:pt x="104" y="293"/>
                        </a:lnTo>
                        <a:lnTo>
                          <a:pt x="104" y="298"/>
                        </a:lnTo>
                        <a:lnTo>
                          <a:pt x="104" y="317"/>
                        </a:lnTo>
                        <a:lnTo>
                          <a:pt x="87" y="333"/>
                        </a:lnTo>
                        <a:lnTo>
                          <a:pt x="71" y="317"/>
                        </a:lnTo>
                        <a:lnTo>
                          <a:pt x="92" y="310"/>
                        </a:lnTo>
                        <a:lnTo>
                          <a:pt x="71" y="298"/>
                        </a:lnTo>
                        <a:lnTo>
                          <a:pt x="78" y="298"/>
                        </a:lnTo>
                        <a:lnTo>
                          <a:pt x="71" y="281"/>
                        </a:lnTo>
                        <a:lnTo>
                          <a:pt x="78" y="277"/>
                        </a:lnTo>
                        <a:lnTo>
                          <a:pt x="87" y="277"/>
                        </a:lnTo>
                        <a:lnTo>
                          <a:pt x="92" y="293"/>
                        </a:lnTo>
                        <a:lnTo>
                          <a:pt x="92" y="281"/>
                        </a:lnTo>
                        <a:lnTo>
                          <a:pt x="104" y="277"/>
                        </a:lnTo>
                        <a:lnTo>
                          <a:pt x="92" y="272"/>
                        </a:lnTo>
                        <a:lnTo>
                          <a:pt x="130" y="244"/>
                        </a:lnTo>
                        <a:lnTo>
                          <a:pt x="142" y="255"/>
                        </a:lnTo>
                        <a:lnTo>
                          <a:pt x="125" y="277"/>
                        </a:lnTo>
                        <a:lnTo>
                          <a:pt x="142" y="277"/>
                        </a:lnTo>
                        <a:lnTo>
                          <a:pt x="108" y="293"/>
                        </a:lnTo>
                        <a:lnTo>
                          <a:pt x="125" y="293"/>
                        </a:lnTo>
                        <a:lnTo>
                          <a:pt x="125" y="298"/>
                        </a:lnTo>
                        <a:lnTo>
                          <a:pt x="116" y="310"/>
                        </a:lnTo>
                        <a:lnTo>
                          <a:pt x="116" y="310"/>
                        </a:lnTo>
                        <a:lnTo>
                          <a:pt x="116" y="310"/>
                        </a:lnTo>
                        <a:close/>
                        <a:moveTo>
                          <a:pt x="61" y="350"/>
                        </a:moveTo>
                        <a:lnTo>
                          <a:pt x="38" y="338"/>
                        </a:lnTo>
                        <a:lnTo>
                          <a:pt x="71" y="333"/>
                        </a:lnTo>
                        <a:lnTo>
                          <a:pt x="78" y="338"/>
                        </a:lnTo>
                        <a:lnTo>
                          <a:pt x="61" y="350"/>
                        </a:lnTo>
                        <a:lnTo>
                          <a:pt x="61" y="350"/>
                        </a:lnTo>
                        <a:lnTo>
                          <a:pt x="61" y="350"/>
                        </a:lnTo>
                        <a:close/>
                        <a:moveTo>
                          <a:pt x="163" y="392"/>
                        </a:moveTo>
                        <a:lnTo>
                          <a:pt x="146" y="404"/>
                        </a:lnTo>
                        <a:lnTo>
                          <a:pt x="146" y="388"/>
                        </a:lnTo>
                        <a:lnTo>
                          <a:pt x="130" y="388"/>
                        </a:lnTo>
                        <a:lnTo>
                          <a:pt x="116" y="371"/>
                        </a:lnTo>
                        <a:lnTo>
                          <a:pt x="130" y="371"/>
                        </a:lnTo>
                        <a:lnTo>
                          <a:pt x="116" y="366"/>
                        </a:lnTo>
                        <a:lnTo>
                          <a:pt x="108" y="371"/>
                        </a:lnTo>
                        <a:lnTo>
                          <a:pt x="104" y="366"/>
                        </a:lnTo>
                        <a:lnTo>
                          <a:pt x="92" y="355"/>
                        </a:lnTo>
                        <a:lnTo>
                          <a:pt x="108" y="338"/>
                        </a:lnTo>
                        <a:lnTo>
                          <a:pt x="125" y="350"/>
                        </a:lnTo>
                        <a:lnTo>
                          <a:pt x="125" y="338"/>
                        </a:lnTo>
                        <a:lnTo>
                          <a:pt x="130" y="333"/>
                        </a:lnTo>
                        <a:lnTo>
                          <a:pt x="142" y="350"/>
                        </a:lnTo>
                        <a:lnTo>
                          <a:pt x="142" y="371"/>
                        </a:lnTo>
                        <a:lnTo>
                          <a:pt x="179" y="383"/>
                        </a:lnTo>
                        <a:lnTo>
                          <a:pt x="163" y="392"/>
                        </a:lnTo>
                        <a:lnTo>
                          <a:pt x="163" y="392"/>
                        </a:lnTo>
                        <a:lnTo>
                          <a:pt x="163" y="392"/>
                        </a:lnTo>
                        <a:close/>
                        <a:moveTo>
                          <a:pt x="61" y="366"/>
                        </a:moveTo>
                        <a:lnTo>
                          <a:pt x="54" y="355"/>
                        </a:lnTo>
                        <a:lnTo>
                          <a:pt x="61" y="355"/>
                        </a:lnTo>
                        <a:lnTo>
                          <a:pt x="61" y="366"/>
                        </a:lnTo>
                        <a:lnTo>
                          <a:pt x="61" y="366"/>
                        </a:lnTo>
                        <a:lnTo>
                          <a:pt x="61" y="366"/>
                        </a:lnTo>
                        <a:close/>
                        <a:moveTo>
                          <a:pt x="61" y="392"/>
                        </a:moveTo>
                        <a:lnTo>
                          <a:pt x="54" y="392"/>
                        </a:lnTo>
                        <a:lnTo>
                          <a:pt x="54" y="366"/>
                        </a:lnTo>
                        <a:lnTo>
                          <a:pt x="61" y="371"/>
                        </a:lnTo>
                        <a:lnTo>
                          <a:pt x="61" y="371"/>
                        </a:lnTo>
                        <a:lnTo>
                          <a:pt x="61" y="392"/>
                        </a:lnTo>
                        <a:lnTo>
                          <a:pt x="61" y="392"/>
                        </a:lnTo>
                        <a:lnTo>
                          <a:pt x="61" y="392"/>
                        </a:lnTo>
                        <a:close/>
                        <a:moveTo>
                          <a:pt x="49" y="409"/>
                        </a:moveTo>
                        <a:lnTo>
                          <a:pt x="38" y="409"/>
                        </a:lnTo>
                        <a:lnTo>
                          <a:pt x="49" y="392"/>
                        </a:lnTo>
                        <a:lnTo>
                          <a:pt x="54" y="404"/>
                        </a:lnTo>
                        <a:lnTo>
                          <a:pt x="49" y="409"/>
                        </a:lnTo>
                        <a:lnTo>
                          <a:pt x="49" y="409"/>
                        </a:lnTo>
                        <a:lnTo>
                          <a:pt x="49" y="409"/>
                        </a:lnTo>
                        <a:close/>
                        <a:moveTo>
                          <a:pt x="130" y="409"/>
                        </a:moveTo>
                        <a:lnTo>
                          <a:pt x="116" y="404"/>
                        </a:lnTo>
                        <a:lnTo>
                          <a:pt x="130" y="404"/>
                        </a:lnTo>
                        <a:lnTo>
                          <a:pt x="130" y="409"/>
                        </a:lnTo>
                        <a:lnTo>
                          <a:pt x="130" y="409"/>
                        </a:lnTo>
                        <a:lnTo>
                          <a:pt x="130" y="409"/>
                        </a:lnTo>
                        <a:close/>
                        <a:moveTo>
                          <a:pt x="142" y="421"/>
                        </a:moveTo>
                        <a:lnTo>
                          <a:pt x="142" y="409"/>
                        </a:lnTo>
                        <a:lnTo>
                          <a:pt x="142" y="409"/>
                        </a:lnTo>
                        <a:lnTo>
                          <a:pt x="142" y="421"/>
                        </a:lnTo>
                        <a:lnTo>
                          <a:pt x="142" y="421"/>
                        </a:lnTo>
                        <a:lnTo>
                          <a:pt x="142" y="421"/>
                        </a:lnTo>
                        <a:close/>
                        <a:moveTo>
                          <a:pt x="142" y="442"/>
                        </a:moveTo>
                        <a:lnTo>
                          <a:pt x="179" y="466"/>
                        </a:lnTo>
                        <a:lnTo>
                          <a:pt x="163" y="475"/>
                        </a:lnTo>
                        <a:lnTo>
                          <a:pt x="130" y="482"/>
                        </a:lnTo>
                        <a:lnTo>
                          <a:pt x="125" y="475"/>
                        </a:lnTo>
                        <a:lnTo>
                          <a:pt x="146" y="466"/>
                        </a:lnTo>
                        <a:lnTo>
                          <a:pt x="142" y="466"/>
                        </a:lnTo>
                        <a:lnTo>
                          <a:pt x="146" y="459"/>
                        </a:lnTo>
                        <a:lnTo>
                          <a:pt x="125" y="449"/>
                        </a:lnTo>
                        <a:lnTo>
                          <a:pt x="142" y="442"/>
                        </a:lnTo>
                        <a:lnTo>
                          <a:pt x="142" y="442"/>
                        </a:lnTo>
                        <a:lnTo>
                          <a:pt x="142" y="442"/>
                        </a:lnTo>
                        <a:close/>
                        <a:moveTo>
                          <a:pt x="87" y="459"/>
                        </a:moveTo>
                        <a:lnTo>
                          <a:pt x="78" y="459"/>
                        </a:lnTo>
                        <a:lnTo>
                          <a:pt x="104" y="449"/>
                        </a:lnTo>
                        <a:lnTo>
                          <a:pt x="87" y="459"/>
                        </a:lnTo>
                        <a:lnTo>
                          <a:pt x="87" y="459"/>
                        </a:lnTo>
                        <a:lnTo>
                          <a:pt x="87" y="459"/>
                        </a:lnTo>
                        <a:close/>
                        <a:moveTo>
                          <a:pt x="158" y="532"/>
                        </a:moveTo>
                        <a:lnTo>
                          <a:pt x="146" y="520"/>
                        </a:lnTo>
                        <a:lnTo>
                          <a:pt x="146" y="515"/>
                        </a:lnTo>
                        <a:lnTo>
                          <a:pt x="170" y="492"/>
                        </a:lnTo>
                        <a:lnTo>
                          <a:pt x="158" y="532"/>
                        </a:lnTo>
                        <a:lnTo>
                          <a:pt x="158" y="532"/>
                        </a:lnTo>
                        <a:lnTo>
                          <a:pt x="158" y="532"/>
                        </a:lnTo>
                        <a:close/>
                        <a:moveTo>
                          <a:pt x="142" y="503"/>
                        </a:moveTo>
                        <a:lnTo>
                          <a:pt x="130" y="499"/>
                        </a:lnTo>
                        <a:lnTo>
                          <a:pt x="142" y="492"/>
                        </a:lnTo>
                        <a:lnTo>
                          <a:pt x="142" y="503"/>
                        </a:lnTo>
                        <a:lnTo>
                          <a:pt x="142" y="503"/>
                        </a:lnTo>
                        <a:lnTo>
                          <a:pt x="142" y="503"/>
                        </a:lnTo>
                        <a:close/>
                        <a:moveTo>
                          <a:pt x="130" y="548"/>
                        </a:moveTo>
                        <a:lnTo>
                          <a:pt x="130" y="532"/>
                        </a:lnTo>
                        <a:lnTo>
                          <a:pt x="116" y="536"/>
                        </a:lnTo>
                        <a:lnTo>
                          <a:pt x="116" y="520"/>
                        </a:lnTo>
                        <a:lnTo>
                          <a:pt x="142" y="515"/>
                        </a:lnTo>
                        <a:lnTo>
                          <a:pt x="146" y="536"/>
                        </a:lnTo>
                        <a:lnTo>
                          <a:pt x="130" y="548"/>
                        </a:lnTo>
                        <a:lnTo>
                          <a:pt x="130" y="548"/>
                        </a:lnTo>
                        <a:lnTo>
                          <a:pt x="130" y="548"/>
                        </a:lnTo>
                        <a:close/>
                        <a:moveTo>
                          <a:pt x="217" y="536"/>
                        </a:moveTo>
                        <a:lnTo>
                          <a:pt x="212" y="515"/>
                        </a:lnTo>
                        <a:lnTo>
                          <a:pt x="217" y="520"/>
                        </a:lnTo>
                        <a:lnTo>
                          <a:pt x="217" y="536"/>
                        </a:lnTo>
                        <a:lnTo>
                          <a:pt x="217" y="536"/>
                        </a:lnTo>
                        <a:lnTo>
                          <a:pt x="217" y="536"/>
                        </a:lnTo>
                        <a:close/>
                        <a:moveTo>
                          <a:pt x="212" y="560"/>
                        </a:moveTo>
                        <a:lnTo>
                          <a:pt x="196" y="560"/>
                        </a:lnTo>
                        <a:lnTo>
                          <a:pt x="196" y="536"/>
                        </a:lnTo>
                        <a:lnTo>
                          <a:pt x="212" y="536"/>
                        </a:lnTo>
                        <a:lnTo>
                          <a:pt x="217" y="560"/>
                        </a:lnTo>
                        <a:lnTo>
                          <a:pt x="212" y="560"/>
                        </a:lnTo>
                        <a:lnTo>
                          <a:pt x="212" y="560"/>
                        </a:lnTo>
                        <a:lnTo>
                          <a:pt x="212" y="560"/>
                        </a:lnTo>
                        <a:close/>
                        <a:moveTo>
                          <a:pt x="108" y="702"/>
                        </a:moveTo>
                        <a:lnTo>
                          <a:pt x="78" y="664"/>
                        </a:lnTo>
                        <a:lnTo>
                          <a:pt x="61" y="697"/>
                        </a:lnTo>
                        <a:lnTo>
                          <a:pt x="23" y="685"/>
                        </a:lnTo>
                        <a:lnTo>
                          <a:pt x="0" y="664"/>
                        </a:lnTo>
                        <a:lnTo>
                          <a:pt x="33" y="647"/>
                        </a:lnTo>
                        <a:lnTo>
                          <a:pt x="16" y="643"/>
                        </a:lnTo>
                        <a:lnTo>
                          <a:pt x="38" y="631"/>
                        </a:lnTo>
                        <a:lnTo>
                          <a:pt x="61" y="603"/>
                        </a:lnTo>
                        <a:lnTo>
                          <a:pt x="78" y="603"/>
                        </a:lnTo>
                        <a:lnTo>
                          <a:pt x="87" y="593"/>
                        </a:lnTo>
                        <a:lnTo>
                          <a:pt x="116" y="586"/>
                        </a:lnTo>
                        <a:lnTo>
                          <a:pt x="146" y="586"/>
                        </a:lnTo>
                        <a:lnTo>
                          <a:pt x="146" y="603"/>
                        </a:lnTo>
                        <a:lnTo>
                          <a:pt x="170" y="626"/>
                        </a:lnTo>
                        <a:lnTo>
                          <a:pt x="158" y="647"/>
                        </a:lnTo>
                        <a:lnTo>
                          <a:pt x="179" y="643"/>
                        </a:lnTo>
                        <a:lnTo>
                          <a:pt x="196" y="659"/>
                        </a:lnTo>
                        <a:lnTo>
                          <a:pt x="184" y="669"/>
                        </a:lnTo>
                        <a:lnTo>
                          <a:pt x="179" y="659"/>
                        </a:lnTo>
                        <a:lnTo>
                          <a:pt x="170" y="647"/>
                        </a:lnTo>
                        <a:lnTo>
                          <a:pt x="179" y="681"/>
                        </a:lnTo>
                        <a:lnTo>
                          <a:pt x="163" y="681"/>
                        </a:lnTo>
                        <a:lnTo>
                          <a:pt x="158" y="697"/>
                        </a:lnTo>
                        <a:lnTo>
                          <a:pt x="146" y="702"/>
                        </a:lnTo>
                        <a:lnTo>
                          <a:pt x="130" y="697"/>
                        </a:lnTo>
                        <a:lnTo>
                          <a:pt x="108" y="702"/>
                        </a:lnTo>
                        <a:lnTo>
                          <a:pt x="108" y="702"/>
                        </a:lnTo>
                        <a:lnTo>
                          <a:pt x="108" y="702"/>
                        </a:lnTo>
                        <a:close/>
                        <a:moveTo>
                          <a:pt x="267" y="792"/>
                        </a:moveTo>
                        <a:lnTo>
                          <a:pt x="250" y="775"/>
                        </a:lnTo>
                        <a:lnTo>
                          <a:pt x="250" y="770"/>
                        </a:lnTo>
                        <a:lnTo>
                          <a:pt x="271" y="770"/>
                        </a:lnTo>
                        <a:lnTo>
                          <a:pt x="288" y="775"/>
                        </a:lnTo>
                        <a:lnTo>
                          <a:pt x="267" y="792"/>
                        </a:lnTo>
                        <a:lnTo>
                          <a:pt x="267" y="792"/>
                        </a:lnTo>
                        <a:lnTo>
                          <a:pt x="267" y="792"/>
                        </a:lnTo>
                        <a:close/>
                        <a:moveTo>
                          <a:pt x="635" y="964"/>
                        </a:moveTo>
                        <a:lnTo>
                          <a:pt x="631" y="957"/>
                        </a:lnTo>
                        <a:lnTo>
                          <a:pt x="635" y="957"/>
                        </a:lnTo>
                        <a:lnTo>
                          <a:pt x="635" y="964"/>
                        </a:lnTo>
                        <a:lnTo>
                          <a:pt x="635" y="964"/>
                        </a:lnTo>
                        <a:lnTo>
                          <a:pt x="635" y="964"/>
                        </a:lnTo>
                        <a:close/>
                        <a:moveTo>
                          <a:pt x="484" y="1035"/>
                        </a:moveTo>
                        <a:lnTo>
                          <a:pt x="468" y="1030"/>
                        </a:lnTo>
                        <a:lnTo>
                          <a:pt x="484" y="1018"/>
                        </a:lnTo>
                        <a:lnTo>
                          <a:pt x="494" y="1030"/>
                        </a:lnTo>
                        <a:lnTo>
                          <a:pt x="484" y="1035"/>
                        </a:lnTo>
                        <a:lnTo>
                          <a:pt x="484" y="1035"/>
                        </a:lnTo>
                        <a:lnTo>
                          <a:pt x="484" y="103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5" name="Freeform 581">
                    <a:extLst>
                      <a:ext uri="{FF2B5EF4-FFF2-40B4-BE49-F238E27FC236}">
                        <a16:creationId xmlns:a16="http://schemas.microsoft.com/office/drawing/2014/main" id="{2A2427DA-D17C-46B9-9AC3-B428FF1A6D36}"/>
                      </a:ext>
                    </a:extLst>
                  </p:cNvPr>
                  <p:cNvSpPr>
                    <a:spLocks noEditPoints="1"/>
                  </p:cNvSpPr>
                  <p:nvPr/>
                </p:nvSpPr>
                <p:spPr bwMode="gray">
                  <a:xfrm>
                    <a:off x="7365147" y="2349853"/>
                    <a:ext cx="519116" cy="307552"/>
                  </a:xfrm>
                  <a:custGeom>
                    <a:avLst/>
                    <a:gdLst>
                      <a:gd name="T0" fmla="*/ 463 w 1261"/>
                      <a:gd name="T1" fmla="*/ 669 h 747"/>
                      <a:gd name="T2" fmla="*/ 446 w 1261"/>
                      <a:gd name="T3" fmla="*/ 641 h 747"/>
                      <a:gd name="T4" fmla="*/ 479 w 1261"/>
                      <a:gd name="T5" fmla="*/ 598 h 747"/>
                      <a:gd name="T6" fmla="*/ 489 w 1261"/>
                      <a:gd name="T7" fmla="*/ 546 h 747"/>
                      <a:gd name="T8" fmla="*/ 534 w 1261"/>
                      <a:gd name="T9" fmla="*/ 558 h 747"/>
                      <a:gd name="T10" fmla="*/ 543 w 1261"/>
                      <a:gd name="T11" fmla="*/ 546 h 747"/>
                      <a:gd name="T12" fmla="*/ 505 w 1261"/>
                      <a:gd name="T13" fmla="*/ 485 h 747"/>
                      <a:gd name="T14" fmla="*/ 489 w 1261"/>
                      <a:gd name="T15" fmla="*/ 419 h 747"/>
                      <a:gd name="T16" fmla="*/ 413 w 1261"/>
                      <a:gd name="T17" fmla="*/ 390 h 747"/>
                      <a:gd name="T18" fmla="*/ 290 w 1261"/>
                      <a:gd name="T19" fmla="*/ 397 h 747"/>
                      <a:gd name="T20" fmla="*/ 165 w 1261"/>
                      <a:gd name="T21" fmla="*/ 419 h 747"/>
                      <a:gd name="T22" fmla="*/ 52 w 1261"/>
                      <a:gd name="T23" fmla="*/ 419 h 747"/>
                      <a:gd name="T24" fmla="*/ 0 w 1261"/>
                      <a:gd name="T25" fmla="*/ 381 h 747"/>
                      <a:gd name="T26" fmla="*/ 52 w 1261"/>
                      <a:gd name="T27" fmla="*/ 324 h 747"/>
                      <a:gd name="T28" fmla="*/ 38 w 1261"/>
                      <a:gd name="T29" fmla="*/ 267 h 747"/>
                      <a:gd name="T30" fmla="*/ 139 w 1261"/>
                      <a:gd name="T31" fmla="*/ 173 h 747"/>
                      <a:gd name="T32" fmla="*/ 106 w 1261"/>
                      <a:gd name="T33" fmla="*/ 85 h 747"/>
                      <a:gd name="T34" fmla="*/ 253 w 1261"/>
                      <a:gd name="T35" fmla="*/ 45 h 747"/>
                      <a:gd name="T36" fmla="*/ 392 w 1261"/>
                      <a:gd name="T37" fmla="*/ 85 h 747"/>
                      <a:gd name="T38" fmla="*/ 430 w 1261"/>
                      <a:gd name="T39" fmla="*/ 74 h 747"/>
                      <a:gd name="T40" fmla="*/ 468 w 1261"/>
                      <a:gd name="T41" fmla="*/ 78 h 747"/>
                      <a:gd name="T42" fmla="*/ 538 w 1261"/>
                      <a:gd name="T43" fmla="*/ 95 h 747"/>
                      <a:gd name="T44" fmla="*/ 593 w 1261"/>
                      <a:gd name="T45" fmla="*/ 74 h 747"/>
                      <a:gd name="T46" fmla="*/ 678 w 1261"/>
                      <a:gd name="T47" fmla="*/ 29 h 747"/>
                      <a:gd name="T48" fmla="*/ 775 w 1261"/>
                      <a:gd name="T49" fmla="*/ 0 h 747"/>
                      <a:gd name="T50" fmla="*/ 862 w 1261"/>
                      <a:gd name="T51" fmla="*/ 57 h 747"/>
                      <a:gd name="T52" fmla="*/ 883 w 1261"/>
                      <a:gd name="T53" fmla="*/ 119 h 747"/>
                      <a:gd name="T54" fmla="*/ 921 w 1261"/>
                      <a:gd name="T55" fmla="*/ 135 h 747"/>
                      <a:gd name="T56" fmla="*/ 985 w 1261"/>
                      <a:gd name="T57" fmla="*/ 189 h 747"/>
                      <a:gd name="T58" fmla="*/ 1093 w 1261"/>
                      <a:gd name="T59" fmla="*/ 225 h 747"/>
                      <a:gd name="T60" fmla="*/ 1179 w 1261"/>
                      <a:gd name="T61" fmla="*/ 246 h 747"/>
                      <a:gd name="T62" fmla="*/ 1240 w 1261"/>
                      <a:gd name="T63" fmla="*/ 267 h 747"/>
                      <a:gd name="T64" fmla="*/ 1245 w 1261"/>
                      <a:gd name="T65" fmla="*/ 319 h 747"/>
                      <a:gd name="T66" fmla="*/ 1254 w 1261"/>
                      <a:gd name="T67" fmla="*/ 341 h 747"/>
                      <a:gd name="T68" fmla="*/ 1254 w 1261"/>
                      <a:gd name="T69" fmla="*/ 390 h 747"/>
                      <a:gd name="T70" fmla="*/ 1164 w 1261"/>
                      <a:gd name="T71" fmla="*/ 447 h 747"/>
                      <a:gd name="T72" fmla="*/ 1060 w 1261"/>
                      <a:gd name="T73" fmla="*/ 520 h 747"/>
                      <a:gd name="T74" fmla="*/ 900 w 1261"/>
                      <a:gd name="T75" fmla="*/ 586 h 747"/>
                      <a:gd name="T76" fmla="*/ 879 w 1261"/>
                      <a:gd name="T77" fmla="*/ 579 h 747"/>
                      <a:gd name="T78" fmla="*/ 867 w 1261"/>
                      <a:gd name="T79" fmla="*/ 579 h 747"/>
                      <a:gd name="T80" fmla="*/ 829 w 1261"/>
                      <a:gd name="T81" fmla="*/ 579 h 747"/>
                      <a:gd name="T82" fmla="*/ 824 w 1261"/>
                      <a:gd name="T83" fmla="*/ 598 h 747"/>
                      <a:gd name="T84" fmla="*/ 857 w 1261"/>
                      <a:gd name="T85" fmla="*/ 598 h 747"/>
                      <a:gd name="T86" fmla="*/ 862 w 1261"/>
                      <a:gd name="T87" fmla="*/ 619 h 747"/>
                      <a:gd name="T88" fmla="*/ 900 w 1261"/>
                      <a:gd name="T89" fmla="*/ 652 h 747"/>
                      <a:gd name="T90" fmla="*/ 895 w 1261"/>
                      <a:gd name="T91" fmla="*/ 598 h 747"/>
                      <a:gd name="T92" fmla="*/ 968 w 1261"/>
                      <a:gd name="T93" fmla="*/ 659 h 747"/>
                      <a:gd name="T94" fmla="*/ 1001 w 1261"/>
                      <a:gd name="T95" fmla="*/ 685 h 747"/>
                      <a:gd name="T96" fmla="*/ 900 w 1261"/>
                      <a:gd name="T97" fmla="*/ 697 h 747"/>
                      <a:gd name="T98" fmla="*/ 808 w 1261"/>
                      <a:gd name="T99" fmla="*/ 742 h 747"/>
                      <a:gd name="T100" fmla="*/ 808 w 1261"/>
                      <a:gd name="T101" fmla="*/ 697 h 747"/>
                      <a:gd name="T102" fmla="*/ 732 w 1261"/>
                      <a:gd name="T103" fmla="*/ 659 h 747"/>
                      <a:gd name="T104" fmla="*/ 808 w 1261"/>
                      <a:gd name="T105" fmla="*/ 598 h 747"/>
                      <a:gd name="T106" fmla="*/ 732 w 1261"/>
                      <a:gd name="T107" fmla="*/ 586 h 747"/>
                      <a:gd name="T108" fmla="*/ 652 w 1261"/>
                      <a:gd name="T109" fmla="*/ 546 h 747"/>
                      <a:gd name="T110" fmla="*/ 694 w 1261"/>
                      <a:gd name="T111" fmla="*/ 541 h 747"/>
                      <a:gd name="T112" fmla="*/ 685 w 1261"/>
                      <a:gd name="T113" fmla="*/ 501 h 747"/>
                      <a:gd name="T114" fmla="*/ 685 w 1261"/>
                      <a:gd name="T115" fmla="*/ 541 h 747"/>
                      <a:gd name="T116" fmla="*/ 609 w 1261"/>
                      <a:gd name="T117" fmla="*/ 546 h 747"/>
                      <a:gd name="T118" fmla="*/ 534 w 1261"/>
                      <a:gd name="T119" fmla="*/ 636 h 747"/>
                      <a:gd name="T120" fmla="*/ 534 w 1261"/>
                      <a:gd name="T121" fmla="*/ 669 h 747"/>
                      <a:gd name="T122" fmla="*/ 699 w 1261"/>
                      <a:gd name="T123" fmla="*/ 586 h 747"/>
                      <a:gd name="T124" fmla="*/ 699 w 1261"/>
                      <a:gd name="T125" fmla="*/ 586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1" h="747">
                        <a:moveTo>
                          <a:pt x="534" y="669"/>
                        </a:moveTo>
                        <a:lnTo>
                          <a:pt x="522" y="659"/>
                        </a:lnTo>
                        <a:lnTo>
                          <a:pt x="505" y="652"/>
                        </a:lnTo>
                        <a:lnTo>
                          <a:pt x="463" y="669"/>
                        </a:lnTo>
                        <a:lnTo>
                          <a:pt x="437" y="659"/>
                        </a:lnTo>
                        <a:lnTo>
                          <a:pt x="425" y="652"/>
                        </a:lnTo>
                        <a:lnTo>
                          <a:pt x="430" y="641"/>
                        </a:lnTo>
                        <a:lnTo>
                          <a:pt x="446" y="641"/>
                        </a:lnTo>
                        <a:lnTo>
                          <a:pt x="446" y="631"/>
                        </a:lnTo>
                        <a:lnTo>
                          <a:pt x="463" y="615"/>
                        </a:lnTo>
                        <a:lnTo>
                          <a:pt x="463" y="603"/>
                        </a:lnTo>
                        <a:lnTo>
                          <a:pt x="479" y="598"/>
                        </a:lnTo>
                        <a:lnTo>
                          <a:pt x="484" y="579"/>
                        </a:lnTo>
                        <a:lnTo>
                          <a:pt x="479" y="574"/>
                        </a:lnTo>
                        <a:lnTo>
                          <a:pt x="484" y="558"/>
                        </a:lnTo>
                        <a:lnTo>
                          <a:pt x="489" y="546"/>
                        </a:lnTo>
                        <a:lnTo>
                          <a:pt x="501" y="563"/>
                        </a:lnTo>
                        <a:lnTo>
                          <a:pt x="517" y="558"/>
                        </a:lnTo>
                        <a:lnTo>
                          <a:pt x="522" y="563"/>
                        </a:lnTo>
                        <a:lnTo>
                          <a:pt x="534" y="558"/>
                        </a:lnTo>
                        <a:lnTo>
                          <a:pt x="543" y="563"/>
                        </a:lnTo>
                        <a:lnTo>
                          <a:pt x="560" y="563"/>
                        </a:lnTo>
                        <a:lnTo>
                          <a:pt x="543" y="546"/>
                        </a:lnTo>
                        <a:lnTo>
                          <a:pt x="543" y="546"/>
                        </a:lnTo>
                        <a:lnTo>
                          <a:pt x="543" y="525"/>
                        </a:lnTo>
                        <a:lnTo>
                          <a:pt x="522" y="520"/>
                        </a:lnTo>
                        <a:lnTo>
                          <a:pt x="522" y="475"/>
                        </a:lnTo>
                        <a:lnTo>
                          <a:pt x="505" y="485"/>
                        </a:lnTo>
                        <a:lnTo>
                          <a:pt x="489" y="468"/>
                        </a:lnTo>
                        <a:lnTo>
                          <a:pt x="489" y="463"/>
                        </a:lnTo>
                        <a:lnTo>
                          <a:pt x="501" y="435"/>
                        </a:lnTo>
                        <a:lnTo>
                          <a:pt x="489" y="419"/>
                        </a:lnTo>
                        <a:lnTo>
                          <a:pt x="484" y="419"/>
                        </a:lnTo>
                        <a:lnTo>
                          <a:pt x="468" y="407"/>
                        </a:lnTo>
                        <a:lnTo>
                          <a:pt x="413" y="397"/>
                        </a:lnTo>
                        <a:lnTo>
                          <a:pt x="413" y="390"/>
                        </a:lnTo>
                        <a:lnTo>
                          <a:pt x="392" y="374"/>
                        </a:lnTo>
                        <a:lnTo>
                          <a:pt x="323" y="381"/>
                        </a:lnTo>
                        <a:lnTo>
                          <a:pt x="316" y="390"/>
                        </a:lnTo>
                        <a:lnTo>
                          <a:pt x="290" y="397"/>
                        </a:lnTo>
                        <a:lnTo>
                          <a:pt x="286" y="419"/>
                        </a:lnTo>
                        <a:lnTo>
                          <a:pt x="219" y="419"/>
                        </a:lnTo>
                        <a:lnTo>
                          <a:pt x="198" y="447"/>
                        </a:lnTo>
                        <a:lnTo>
                          <a:pt x="165" y="419"/>
                        </a:lnTo>
                        <a:lnTo>
                          <a:pt x="144" y="419"/>
                        </a:lnTo>
                        <a:lnTo>
                          <a:pt x="90" y="419"/>
                        </a:lnTo>
                        <a:lnTo>
                          <a:pt x="75" y="407"/>
                        </a:lnTo>
                        <a:lnTo>
                          <a:pt x="52" y="419"/>
                        </a:lnTo>
                        <a:lnTo>
                          <a:pt x="47" y="407"/>
                        </a:lnTo>
                        <a:lnTo>
                          <a:pt x="38" y="407"/>
                        </a:lnTo>
                        <a:lnTo>
                          <a:pt x="5" y="381"/>
                        </a:lnTo>
                        <a:lnTo>
                          <a:pt x="0" y="381"/>
                        </a:lnTo>
                        <a:lnTo>
                          <a:pt x="0" y="362"/>
                        </a:lnTo>
                        <a:lnTo>
                          <a:pt x="14" y="352"/>
                        </a:lnTo>
                        <a:lnTo>
                          <a:pt x="31" y="319"/>
                        </a:lnTo>
                        <a:lnTo>
                          <a:pt x="52" y="324"/>
                        </a:lnTo>
                        <a:lnTo>
                          <a:pt x="52" y="319"/>
                        </a:lnTo>
                        <a:lnTo>
                          <a:pt x="38" y="308"/>
                        </a:lnTo>
                        <a:lnTo>
                          <a:pt x="47" y="296"/>
                        </a:lnTo>
                        <a:lnTo>
                          <a:pt x="38" y="267"/>
                        </a:lnTo>
                        <a:lnTo>
                          <a:pt x="85" y="225"/>
                        </a:lnTo>
                        <a:lnTo>
                          <a:pt x="113" y="189"/>
                        </a:lnTo>
                        <a:lnTo>
                          <a:pt x="127" y="189"/>
                        </a:lnTo>
                        <a:lnTo>
                          <a:pt x="139" y="173"/>
                        </a:lnTo>
                        <a:lnTo>
                          <a:pt x="127" y="152"/>
                        </a:lnTo>
                        <a:lnTo>
                          <a:pt x="139" y="152"/>
                        </a:lnTo>
                        <a:lnTo>
                          <a:pt x="113" y="111"/>
                        </a:lnTo>
                        <a:lnTo>
                          <a:pt x="106" y="85"/>
                        </a:lnTo>
                        <a:lnTo>
                          <a:pt x="106" y="74"/>
                        </a:lnTo>
                        <a:lnTo>
                          <a:pt x="139" y="78"/>
                        </a:lnTo>
                        <a:lnTo>
                          <a:pt x="160" y="45"/>
                        </a:lnTo>
                        <a:lnTo>
                          <a:pt x="253" y="45"/>
                        </a:lnTo>
                        <a:lnTo>
                          <a:pt x="354" y="62"/>
                        </a:lnTo>
                        <a:lnTo>
                          <a:pt x="361" y="78"/>
                        </a:lnTo>
                        <a:lnTo>
                          <a:pt x="392" y="78"/>
                        </a:lnTo>
                        <a:lnTo>
                          <a:pt x="392" y="85"/>
                        </a:lnTo>
                        <a:lnTo>
                          <a:pt x="392" y="85"/>
                        </a:lnTo>
                        <a:lnTo>
                          <a:pt x="399" y="74"/>
                        </a:lnTo>
                        <a:lnTo>
                          <a:pt x="413" y="78"/>
                        </a:lnTo>
                        <a:lnTo>
                          <a:pt x="430" y="74"/>
                        </a:lnTo>
                        <a:lnTo>
                          <a:pt x="430" y="78"/>
                        </a:lnTo>
                        <a:lnTo>
                          <a:pt x="451" y="78"/>
                        </a:lnTo>
                        <a:lnTo>
                          <a:pt x="463" y="95"/>
                        </a:lnTo>
                        <a:lnTo>
                          <a:pt x="468" y="78"/>
                        </a:lnTo>
                        <a:lnTo>
                          <a:pt x="489" y="74"/>
                        </a:lnTo>
                        <a:lnTo>
                          <a:pt x="505" y="95"/>
                        </a:lnTo>
                        <a:lnTo>
                          <a:pt x="534" y="85"/>
                        </a:lnTo>
                        <a:lnTo>
                          <a:pt x="538" y="95"/>
                        </a:lnTo>
                        <a:lnTo>
                          <a:pt x="560" y="85"/>
                        </a:lnTo>
                        <a:lnTo>
                          <a:pt x="593" y="111"/>
                        </a:lnTo>
                        <a:lnTo>
                          <a:pt x="597" y="102"/>
                        </a:lnTo>
                        <a:lnTo>
                          <a:pt x="593" y="74"/>
                        </a:lnTo>
                        <a:lnTo>
                          <a:pt x="597" y="57"/>
                        </a:lnTo>
                        <a:lnTo>
                          <a:pt x="614" y="41"/>
                        </a:lnTo>
                        <a:lnTo>
                          <a:pt x="614" y="29"/>
                        </a:lnTo>
                        <a:lnTo>
                          <a:pt x="678" y="29"/>
                        </a:lnTo>
                        <a:lnTo>
                          <a:pt x="706" y="29"/>
                        </a:lnTo>
                        <a:lnTo>
                          <a:pt x="716" y="8"/>
                        </a:lnTo>
                        <a:lnTo>
                          <a:pt x="753" y="17"/>
                        </a:lnTo>
                        <a:lnTo>
                          <a:pt x="775" y="0"/>
                        </a:lnTo>
                        <a:lnTo>
                          <a:pt x="824" y="0"/>
                        </a:lnTo>
                        <a:lnTo>
                          <a:pt x="841" y="24"/>
                        </a:lnTo>
                        <a:lnTo>
                          <a:pt x="841" y="41"/>
                        </a:lnTo>
                        <a:lnTo>
                          <a:pt x="862" y="57"/>
                        </a:lnTo>
                        <a:lnTo>
                          <a:pt x="862" y="62"/>
                        </a:lnTo>
                        <a:lnTo>
                          <a:pt x="841" y="74"/>
                        </a:lnTo>
                        <a:lnTo>
                          <a:pt x="862" y="111"/>
                        </a:lnTo>
                        <a:lnTo>
                          <a:pt x="883" y="119"/>
                        </a:lnTo>
                        <a:lnTo>
                          <a:pt x="909" y="111"/>
                        </a:lnTo>
                        <a:lnTo>
                          <a:pt x="916" y="128"/>
                        </a:lnTo>
                        <a:lnTo>
                          <a:pt x="933" y="128"/>
                        </a:lnTo>
                        <a:lnTo>
                          <a:pt x="921" y="135"/>
                        </a:lnTo>
                        <a:lnTo>
                          <a:pt x="938" y="168"/>
                        </a:lnTo>
                        <a:lnTo>
                          <a:pt x="933" y="168"/>
                        </a:lnTo>
                        <a:lnTo>
                          <a:pt x="947" y="189"/>
                        </a:lnTo>
                        <a:lnTo>
                          <a:pt x="985" y="189"/>
                        </a:lnTo>
                        <a:lnTo>
                          <a:pt x="992" y="197"/>
                        </a:lnTo>
                        <a:lnTo>
                          <a:pt x="1018" y="206"/>
                        </a:lnTo>
                        <a:lnTo>
                          <a:pt x="1077" y="189"/>
                        </a:lnTo>
                        <a:lnTo>
                          <a:pt x="1093" y="225"/>
                        </a:lnTo>
                        <a:lnTo>
                          <a:pt x="1115" y="241"/>
                        </a:lnTo>
                        <a:lnTo>
                          <a:pt x="1127" y="225"/>
                        </a:lnTo>
                        <a:lnTo>
                          <a:pt x="1131" y="225"/>
                        </a:lnTo>
                        <a:lnTo>
                          <a:pt x="1179" y="246"/>
                        </a:lnTo>
                        <a:lnTo>
                          <a:pt x="1190" y="241"/>
                        </a:lnTo>
                        <a:lnTo>
                          <a:pt x="1202" y="251"/>
                        </a:lnTo>
                        <a:lnTo>
                          <a:pt x="1223" y="251"/>
                        </a:lnTo>
                        <a:lnTo>
                          <a:pt x="1240" y="267"/>
                        </a:lnTo>
                        <a:lnTo>
                          <a:pt x="1261" y="267"/>
                        </a:lnTo>
                        <a:lnTo>
                          <a:pt x="1254" y="279"/>
                        </a:lnTo>
                        <a:lnTo>
                          <a:pt x="1261" y="303"/>
                        </a:lnTo>
                        <a:lnTo>
                          <a:pt x="1245" y="319"/>
                        </a:lnTo>
                        <a:lnTo>
                          <a:pt x="1233" y="324"/>
                        </a:lnTo>
                        <a:lnTo>
                          <a:pt x="1240" y="336"/>
                        </a:lnTo>
                        <a:lnTo>
                          <a:pt x="1254" y="336"/>
                        </a:lnTo>
                        <a:lnTo>
                          <a:pt x="1254" y="341"/>
                        </a:lnTo>
                        <a:lnTo>
                          <a:pt x="1240" y="341"/>
                        </a:lnTo>
                        <a:lnTo>
                          <a:pt x="1233" y="357"/>
                        </a:lnTo>
                        <a:lnTo>
                          <a:pt x="1240" y="362"/>
                        </a:lnTo>
                        <a:lnTo>
                          <a:pt x="1254" y="390"/>
                        </a:lnTo>
                        <a:lnTo>
                          <a:pt x="1240" y="414"/>
                        </a:lnTo>
                        <a:lnTo>
                          <a:pt x="1240" y="430"/>
                        </a:lnTo>
                        <a:lnTo>
                          <a:pt x="1169" y="430"/>
                        </a:lnTo>
                        <a:lnTo>
                          <a:pt x="1164" y="447"/>
                        </a:lnTo>
                        <a:lnTo>
                          <a:pt x="1131" y="452"/>
                        </a:lnTo>
                        <a:lnTo>
                          <a:pt x="1131" y="501"/>
                        </a:lnTo>
                        <a:lnTo>
                          <a:pt x="1077" y="501"/>
                        </a:lnTo>
                        <a:lnTo>
                          <a:pt x="1060" y="520"/>
                        </a:lnTo>
                        <a:lnTo>
                          <a:pt x="1056" y="520"/>
                        </a:lnTo>
                        <a:lnTo>
                          <a:pt x="985" y="541"/>
                        </a:lnTo>
                        <a:lnTo>
                          <a:pt x="964" y="541"/>
                        </a:lnTo>
                        <a:lnTo>
                          <a:pt x="900" y="586"/>
                        </a:lnTo>
                        <a:lnTo>
                          <a:pt x="921" y="574"/>
                        </a:lnTo>
                        <a:lnTo>
                          <a:pt x="916" y="558"/>
                        </a:lnTo>
                        <a:lnTo>
                          <a:pt x="909" y="574"/>
                        </a:lnTo>
                        <a:lnTo>
                          <a:pt x="879" y="579"/>
                        </a:lnTo>
                        <a:lnTo>
                          <a:pt x="867" y="598"/>
                        </a:lnTo>
                        <a:lnTo>
                          <a:pt x="862" y="598"/>
                        </a:lnTo>
                        <a:lnTo>
                          <a:pt x="867" y="586"/>
                        </a:lnTo>
                        <a:lnTo>
                          <a:pt x="867" y="579"/>
                        </a:lnTo>
                        <a:lnTo>
                          <a:pt x="857" y="579"/>
                        </a:lnTo>
                        <a:lnTo>
                          <a:pt x="845" y="574"/>
                        </a:lnTo>
                        <a:lnTo>
                          <a:pt x="841" y="586"/>
                        </a:lnTo>
                        <a:lnTo>
                          <a:pt x="829" y="579"/>
                        </a:lnTo>
                        <a:lnTo>
                          <a:pt x="808" y="579"/>
                        </a:lnTo>
                        <a:lnTo>
                          <a:pt x="812" y="586"/>
                        </a:lnTo>
                        <a:lnTo>
                          <a:pt x="824" y="579"/>
                        </a:lnTo>
                        <a:lnTo>
                          <a:pt x="824" y="598"/>
                        </a:lnTo>
                        <a:lnTo>
                          <a:pt x="829" y="586"/>
                        </a:lnTo>
                        <a:lnTo>
                          <a:pt x="841" y="603"/>
                        </a:lnTo>
                        <a:lnTo>
                          <a:pt x="845" y="598"/>
                        </a:lnTo>
                        <a:lnTo>
                          <a:pt x="857" y="598"/>
                        </a:lnTo>
                        <a:lnTo>
                          <a:pt x="862" y="603"/>
                        </a:lnTo>
                        <a:lnTo>
                          <a:pt x="857" y="615"/>
                        </a:lnTo>
                        <a:lnTo>
                          <a:pt x="879" y="603"/>
                        </a:lnTo>
                        <a:lnTo>
                          <a:pt x="862" y="619"/>
                        </a:lnTo>
                        <a:lnTo>
                          <a:pt x="879" y="619"/>
                        </a:lnTo>
                        <a:lnTo>
                          <a:pt x="900" y="631"/>
                        </a:lnTo>
                        <a:lnTo>
                          <a:pt x="909" y="641"/>
                        </a:lnTo>
                        <a:lnTo>
                          <a:pt x="900" y="652"/>
                        </a:lnTo>
                        <a:lnTo>
                          <a:pt x="909" y="659"/>
                        </a:lnTo>
                        <a:lnTo>
                          <a:pt x="921" y="659"/>
                        </a:lnTo>
                        <a:lnTo>
                          <a:pt x="879" y="586"/>
                        </a:lnTo>
                        <a:lnTo>
                          <a:pt x="895" y="598"/>
                        </a:lnTo>
                        <a:lnTo>
                          <a:pt x="909" y="631"/>
                        </a:lnTo>
                        <a:lnTo>
                          <a:pt x="938" y="659"/>
                        </a:lnTo>
                        <a:lnTo>
                          <a:pt x="964" y="652"/>
                        </a:lnTo>
                        <a:lnTo>
                          <a:pt x="968" y="659"/>
                        </a:lnTo>
                        <a:lnTo>
                          <a:pt x="985" y="641"/>
                        </a:lnTo>
                        <a:lnTo>
                          <a:pt x="1018" y="652"/>
                        </a:lnTo>
                        <a:lnTo>
                          <a:pt x="1001" y="659"/>
                        </a:lnTo>
                        <a:lnTo>
                          <a:pt x="1001" y="685"/>
                        </a:lnTo>
                        <a:lnTo>
                          <a:pt x="964" y="693"/>
                        </a:lnTo>
                        <a:lnTo>
                          <a:pt x="938" y="676"/>
                        </a:lnTo>
                        <a:lnTo>
                          <a:pt x="909" y="709"/>
                        </a:lnTo>
                        <a:lnTo>
                          <a:pt x="900" y="697"/>
                        </a:lnTo>
                        <a:lnTo>
                          <a:pt x="867" y="709"/>
                        </a:lnTo>
                        <a:lnTo>
                          <a:pt x="857" y="730"/>
                        </a:lnTo>
                        <a:lnTo>
                          <a:pt x="829" y="747"/>
                        </a:lnTo>
                        <a:lnTo>
                          <a:pt x="808" y="742"/>
                        </a:lnTo>
                        <a:lnTo>
                          <a:pt x="786" y="726"/>
                        </a:lnTo>
                        <a:lnTo>
                          <a:pt x="803" y="726"/>
                        </a:lnTo>
                        <a:lnTo>
                          <a:pt x="803" y="709"/>
                        </a:lnTo>
                        <a:lnTo>
                          <a:pt x="808" y="697"/>
                        </a:lnTo>
                        <a:lnTo>
                          <a:pt x="803" y="676"/>
                        </a:lnTo>
                        <a:lnTo>
                          <a:pt x="775" y="676"/>
                        </a:lnTo>
                        <a:lnTo>
                          <a:pt x="753" y="659"/>
                        </a:lnTo>
                        <a:lnTo>
                          <a:pt x="732" y="659"/>
                        </a:lnTo>
                        <a:lnTo>
                          <a:pt x="720" y="652"/>
                        </a:lnTo>
                        <a:lnTo>
                          <a:pt x="753" y="631"/>
                        </a:lnTo>
                        <a:lnTo>
                          <a:pt x="812" y="603"/>
                        </a:lnTo>
                        <a:lnTo>
                          <a:pt x="808" y="598"/>
                        </a:lnTo>
                        <a:lnTo>
                          <a:pt x="808" y="586"/>
                        </a:lnTo>
                        <a:lnTo>
                          <a:pt x="791" y="598"/>
                        </a:lnTo>
                        <a:lnTo>
                          <a:pt x="775" y="579"/>
                        </a:lnTo>
                        <a:lnTo>
                          <a:pt x="732" y="586"/>
                        </a:lnTo>
                        <a:lnTo>
                          <a:pt x="678" y="574"/>
                        </a:lnTo>
                        <a:lnTo>
                          <a:pt x="694" y="563"/>
                        </a:lnTo>
                        <a:lnTo>
                          <a:pt x="668" y="558"/>
                        </a:lnTo>
                        <a:lnTo>
                          <a:pt x="652" y="546"/>
                        </a:lnTo>
                        <a:lnTo>
                          <a:pt x="716" y="558"/>
                        </a:lnTo>
                        <a:lnTo>
                          <a:pt x="737" y="541"/>
                        </a:lnTo>
                        <a:lnTo>
                          <a:pt x="716" y="546"/>
                        </a:lnTo>
                        <a:lnTo>
                          <a:pt x="694" y="541"/>
                        </a:lnTo>
                        <a:lnTo>
                          <a:pt x="685" y="530"/>
                        </a:lnTo>
                        <a:lnTo>
                          <a:pt x="694" y="508"/>
                        </a:lnTo>
                        <a:lnTo>
                          <a:pt x="678" y="485"/>
                        </a:lnTo>
                        <a:lnTo>
                          <a:pt x="685" y="501"/>
                        </a:lnTo>
                        <a:lnTo>
                          <a:pt x="685" y="508"/>
                        </a:lnTo>
                        <a:lnTo>
                          <a:pt x="694" y="520"/>
                        </a:lnTo>
                        <a:lnTo>
                          <a:pt x="685" y="525"/>
                        </a:lnTo>
                        <a:lnTo>
                          <a:pt x="685" y="541"/>
                        </a:lnTo>
                        <a:lnTo>
                          <a:pt x="652" y="541"/>
                        </a:lnTo>
                        <a:lnTo>
                          <a:pt x="661" y="525"/>
                        </a:lnTo>
                        <a:lnTo>
                          <a:pt x="652" y="541"/>
                        </a:lnTo>
                        <a:lnTo>
                          <a:pt x="609" y="546"/>
                        </a:lnTo>
                        <a:lnTo>
                          <a:pt x="609" y="563"/>
                        </a:lnTo>
                        <a:lnTo>
                          <a:pt x="571" y="615"/>
                        </a:lnTo>
                        <a:lnTo>
                          <a:pt x="543" y="615"/>
                        </a:lnTo>
                        <a:lnTo>
                          <a:pt x="534" y="636"/>
                        </a:lnTo>
                        <a:lnTo>
                          <a:pt x="522" y="615"/>
                        </a:lnTo>
                        <a:lnTo>
                          <a:pt x="522" y="636"/>
                        </a:lnTo>
                        <a:lnTo>
                          <a:pt x="538" y="652"/>
                        </a:lnTo>
                        <a:lnTo>
                          <a:pt x="534" y="669"/>
                        </a:lnTo>
                        <a:lnTo>
                          <a:pt x="534" y="669"/>
                        </a:lnTo>
                        <a:lnTo>
                          <a:pt x="534" y="669"/>
                        </a:lnTo>
                        <a:lnTo>
                          <a:pt x="534" y="669"/>
                        </a:lnTo>
                        <a:close/>
                        <a:moveTo>
                          <a:pt x="699" y="586"/>
                        </a:moveTo>
                        <a:lnTo>
                          <a:pt x="661" y="574"/>
                        </a:lnTo>
                        <a:lnTo>
                          <a:pt x="652" y="563"/>
                        </a:lnTo>
                        <a:lnTo>
                          <a:pt x="661" y="574"/>
                        </a:lnTo>
                        <a:lnTo>
                          <a:pt x="699" y="586"/>
                        </a:lnTo>
                        <a:lnTo>
                          <a:pt x="699" y="586"/>
                        </a:lnTo>
                        <a:lnTo>
                          <a:pt x="699" y="58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9" name="Freeform 585">
                    <a:extLst>
                      <a:ext uri="{FF2B5EF4-FFF2-40B4-BE49-F238E27FC236}">
                        <a16:creationId xmlns:a16="http://schemas.microsoft.com/office/drawing/2014/main" id="{DB4C9094-7BBC-4807-BD71-92A597C45EE6}"/>
                      </a:ext>
                    </a:extLst>
                  </p:cNvPr>
                  <p:cNvSpPr>
                    <a:spLocks/>
                  </p:cNvSpPr>
                  <p:nvPr/>
                </p:nvSpPr>
                <p:spPr bwMode="gray">
                  <a:xfrm>
                    <a:off x="8341217" y="2611704"/>
                    <a:ext cx="496885" cy="296436"/>
                  </a:xfrm>
                  <a:custGeom>
                    <a:avLst/>
                    <a:gdLst>
                      <a:gd name="T0" fmla="*/ 827 w 1207"/>
                      <a:gd name="T1" fmla="*/ 515 h 720"/>
                      <a:gd name="T2" fmla="*/ 806 w 1207"/>
                      <a:gd name="T3" fmla="*/ 555 h 720"/>
                      <a:gd name="T4" fmla="*/ 851 w 1207"/>
                      <a:gd name="T5" fmla="*/ 572 h 720"/>
                      <a:gd name="T6" fmla="*/ 851 w 1207"/>
                      <a:gd name="T7" fmla="*/ 609 h 720"/>
                      <a:gd name="T8" fmla="*/ 860 w 1207"/>
                      <a:gd name="T9" fmla="*/ 659 h 720"/>
                      <a:gd name="T10" fmla="*/ 813 w 1207"/>
                      <a:gd name="T11" fmla="*/ 716 h 720"/>
                      <a:gd name="T12" fmla="*/ 742 w 1207"/>
                      <a:gd name="T13" fmla="*/ 704 h 720"/>
                      <a:gd name="T14" fmla="*/ 700 w 1207"/>
                      <a:gd name="T15" fmla="*/ 633 h 720"/>
                      <a:gd name="T16" fmla="*/ 574 w 1207"/>
                      <a:gd name="T17" fmla="*/ 576 h 720"/>
                      <a:gd name="T18" fmla="*/ 456 w 1207"/>
                      <a:gd name="T19" fmla="*/ 482 h 720"/>
                      <a:gd name="T20" fmla="*/ 419 w 1207"/>
                      <a:gd name="T21" fmla="*/ 387 h 720"/>
                      <a:gd name="T22" fmla="*/ 348 w 1207"/>
                      <a:gd name="T23" fmla="*/ 383 h 720"/>
                      <a:gd name="T24" fmla="*/ 289 w 1207"/>
                      <a:gd name="T25" fmla="*/ 366 h 720"/>
                      <a:gd name="T26" fmla="*/ 303 w 1207"/>
                      <a:gd name="T27" fmla="*/ 333 h 720"/>
                      <a:gd name="T28" fmla="*/ 272 w 1207"/>
                      <a:gd name="T29" fmla="*/ 283 h 720"/>
                      <a:gd name="T30" fmla="*/ 213 w 1207"/>
                      <a:gd name="T31" fmla="*/ 272 h 720"/>
                      <a:gd name="T32" fmla="*/ 163 w 1207"/>
                      <a:gd name="T33" fmla="*/ 255 h 720"/>
                      <a:gd name="T34" fmla="*/ 168 w 1207"/>
                      <a:gd name="T35" fmla="*/ 293 h 720"/>
                      <a:gd name="T36" fmla="*/ 130 w 1207"/>
                      <a:gd name="T37" fmla="*/ 300 h 720"/>
                      <a:gd name="T38" fmla="*/ 71 w 1207"/>
                      <a:gd name="T39" fmla="*/ 345 h 720"/>
                      <a:gd name="T40" fmla="*/ 0 w 1207"/>
                      <a:gd name="T41" fmla="*/ 371 h 720"/>
                      <a:gd name="T42" fmla="*/ 364 w 1207"/>
                      <a:gd name="T43" fmla="*/ 116 h 720"/>
                      <a:gd name="T44" fmla="*/ 596 w 1207"/>
                      <a:gd name="T45" fmla="*/ 182 h 720"/>
                      <a:gd name="T46" fmla="*/ 671 w 1207"/>
                      <a:gd name="T47" fmla="*/ 201 h 720"/>
                      <a:gd name="T48" fmla="*/ 704 w 1207"/>
                      <a:gd name="T49" fmla="*/ 316 h 720"/>
                      <a:gd name="T50" fmla="*/ 844 w 1207"/>
                      <a:gd name="T51" fmla="*/ 387 h 720"/>
                      <a:gd name="T52" fmla="*/ 877 w 1207"/>
                      <a:gd name="T53" fmla="*/ 437 h 720"/>
                      <a:gd name="T54" fmla="*/ 919 w 1207"/>
                      <a:gd name="T55" fmla="*/ 383 h 720"/>
                      <a:gd name="T56" fmla="*/ 985 w 1207"/>
                      <a:gd name="T57" fmla="*/ 345 h 720"/>
                      <a:gd name="T58" fmla="*/ 1040 w 1207"/>
                      <a:gd name="T59" fmla="*/ 300 h 720"/>
                      <a:gd name="T60" fmla="*/ 1078 w 1207"/>
                      <a:gd name="T61" fmla="*/ 300 h 720"/>
                      <a:gd name="T62" fmla="*/ 1040 w 1207"/>
                      <a:gd name="T63" fmla="*/ 328 h 720"/>
                      <a:gd name="T64" fmla="*/ 1040 w 1207"/>
                      <a:gd name="T65" fmla="*/ 366 h 720"/>
                      <a:gd name="T66" fmla="*/ 1082 w 1207"/>
                      <a:gd name="T67" fmla="*/ 371 h 720"/>
                      <a:gd name="T68" fmla="*/ 1120 w 1207"/>
                      <a:gd name="T69" fmla="*/ 371 h 720"/>
                      <a:gd name="T70" fmla="*/ 1137 w 1207"/>
                      <a:gd name="T71" fmla="*/ 404 h 720"/>
                      <a:gd name="T72" fmla="*/ 1207 w 1207"/>
                      <a:gd name="T73" fmla="*/ 420 h 720"/>
                      <a:gd name="T74" fmla="*/ 1153 w 1207"/>
                      <a:gd name="T75" fmla="*/ 437 h 720"/>
                      <a:gd name="T76" fmla="*/ 1132 w 1207"/>
                      <a:gd name="T77" fmla="*/ 460 h 720"/>
                      <a:gd name="T78" fmla="*/ 1082 w 1207"/>
                      <a:gd name="T79" fmla="*/ 460 h 720"/>
                      <a:gd name="T80" fmla="*/ 1011 w 1207"/>
                      <a:gd name="T81" fmla="*/ 456 h 720"/>
                      <a:gd name="T82" fmla="*/ 1011 w 1207"/>
                      <a:gd name="T83" fmla="*/ 399 h 720"/>
                      <a:gd name="T84" fmla="*/ 943 w 1207"/>
                      <a:gd name="T85" fmla="*/ 420 h 720"/>
                      <a:gd name="T86" fmla="*/ 936 w 1207"/>
                      <a:gd name="T87" fmla="*/ 465 h 720"/>
                      <a:gd name="T88" fmla="*/ 898 w 1207"/>
                      <a:gd name="T89" fmla="*/ 482 h 720"/>
                      <a:gd name="T90" fmla="*/ 889 w 1207"/>
                      <a:gd name="T91" fmla="*/ 498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07" h="720">
                        <a:moveTo>
                          <a:pt x="889" y="498"/>
                        </a:moveTo>
                        <a:lnTo>
                          <a:pt x="882" y="522"/>
                        </a:lnTo>
                        <a:lnTo>
                          <a:pt x="827" y="515"/>
                        </a:lnTo>
                        <a:lnTo>
                          <a:pt x="806" y="531"/>
                        </a:lnTo>
                        <a:lnTo>
                          <a:pt x="796" y="548"/>
                        </a:lnTo>
                        <a:lnTo>
                          <a:pt x="806" y="555"/>
                        </a:lnTo>
                        <a:lnTo>
                          <a:pt x="822" y="564"/>
                        </a:lnTo>
                        <a:lnTo>
                          <a:pt x="827" y="572"/>
                        </a:lnTo>
                        <a:lnTo>
                          <a:pt x="851" y="572"/>
                        </a:lnTo>
                        <a:lnTo>
                          <a:pt x="860" y="588"/>
                        </a:lnTo>
                        <a:lnTo>
                          <a:pt x="851" y="588"/>
                        </a:lnTo>
                        <a:lnTo>
                          <a:pt x="851" y="609"/>
                        </a:lnTo>
                        <a:lnTo>
                          <a:pt x="877" y="642"/>
                        </a:lnTo>
                        <a:lnTo>
                          <a:pt x="867" y="659"/>
                        </a:lnTo>
                        <a:lnTo>
                          <a:pt x="860" y="659"/>
                        </a:lnTo>
                        <a:lnTo>
                          <a:pt x="834" y="699"/>
                        </a:lnTo>
                        <a:lnTo>
                          <a:pt x="827" y="720"/>
                        </a:lnTo>
                        <a:lnTo>
                          <a:pt x="813" y="716"/>
                        </a:lnTo>
                        <a:lnTo>
                          <a:pt x="789" y="720"/>
                        </a:lnTo>
                        <a:lnTo>
                          <a:pt x="775" y="704"/>
                        </a:lnTo>
                        <a:lnTo>
                          <a:pt x="742" y="704"/>
                        </a:lnTo>
                        <a:lnTo>
                          <a:pt x="742" y="675"/>
                        </a:lnTo>
                        <a:lnTo>
                          <a:pt x="752" y="659"/>
                        </a:lnTo>
                        <a:lnTo>
                          <a:pt x="700" y="633"/>
                        </a:lnTo>
                        <a:lnTo>
                          <a:pt x="671" y="633"/>
                        </a:lnTo>
                        <a:lnTo>
                          <a:pt x="591" y="572"/>
                        </a:lnTo>
                        <a:lnTo>
                          <a:pt x="574" y="576"/>
                        </a:lnTo>
                        <a:lnTo>
                          <a:pt x="541" y="555"/>
                        </a:lnTo>
                        <a:lnTo>
                          <a:pt x="537" y="538"/>
                        </a:lnTo>
                        <a:lnTo>
                          <a:pt x="456" y="482"/>
                        </a:lnTo>
                        <a:lnTo>
                          <a:pt x="449" y="456"/>
                        </a:lnTo>
                        <a:lnTo>
                          <a:pt x="433" y="437"/>
                        </a:lnTo>
                        <a:lnTo>
                          <a:pt x="419" y="387"/>
                        </a:lnTo>
                        <a:lnTo>
                          <a:pt x="385" y="371"/>
                        </a:lnTo>
                        <a:lnTo>
                          <a:pt x="374" y="387"/>
                        </a:lnTo>
                        <a:lnTo>
                          <a:pt x="348" y="383"/>
                        </a:lnTo>
                        <a:lnTo>
                          <a:pt x="319" y="383"/>
                        </a:lnTo>
                        <a:lnTo>
                          <a:pt x="293" y="371"/>
                        </a:lnTo>
                        <a:lnTo>
                          <a:pt x="289" y="366"/>
                        </a:lnTo>
                        <a:lnTo>
                          <a:pt x="293" y="349"/>
                        </a:lnTo>
                        <a:lnTo>
                          <a:pt x="289" y="333"/>
                        </a:lnTo>
                        <a:lnTo>
                          <a:pt x="303" y="333"/>
                        </a:lnTo>
                        <a:lnTo>
                          <a:pt x="289" y="309"/>
                        </a:lnTo>
                        <a:lnTo>
                          <a:pt x="289" y="293"/>
                        </a:lnTo>
                        <a:lnTo>
                          <a:pt x="272" y="283"/>
                        </a:lnTo>
                        <a:lnTo>
                          <a:pt x="234" y="283"/>
                        </a:lnTo>
                        <a:lnTo>
                          <a:pt x="222" y="272"/>
                        </a:lnTo>
                        <a:lnTo>
                          <a:pt x="213" y="272"/>
                        </a:lnTo>
                        <a:lnTo>
                          <a:pt x="185" y="243"/>
                        </a:lnTo>
                        <a:lnTo>
                          <a:pt x="180" y="260"/>
                        </a:lnTo>
                        <a:lnTo>
                          <a:pt x="163" y="255"/>
                        </a:lnTo>
                        <a:lnTo>
                          <a:pt x="159" y="260"/>
                        </a:lnTo>
                        <a:lnTo>
                          <a:pt x="180" y="293"/>
                        </a:lnTo>
                        <a:lnTo>
                          <a:pt x="168" y="293"/>
                        </a:lnTo>
                        <a:lnTo>
                          <a:pt x="163" y="276"/>
                        </a:lnTo>
                        <a:lnTo>
                          <a:pt x="147" y="272"/>
                        </a:lnTo>
                        <a:lnTo>
                          <a:pt x="130" y="300"/>
                        </a:lnTo>
                        <a:lnTo>
                          <a:pt x="104" y="300"/>
                        </a:lnTo>
                        <a:lnTo>
                          <a:pt x="71" y="328"/>
                        </a:lnTo>
                        <a:lnTo>
                          <a:pt x="71" y="345"/>
                        </a:lnTo>
                        <a:lnTo>
                          <a:pt x="76" y="371"/>
                        </a:lnTo>
                        <a:lnTo>
                          <a:pt x="76" y="383"/>
                        </a:lnTo>
                        <a:lnTo>
                          <a:pt x="0" y="371"/>
                        </a:lnTo>
                        <a:lnTo>
                          <a:pt x="0" y="54"/>
                        </a:lnTo>
                        <a:lnTo>
                          <a:pt x="180" y="0"/>
                        </a:lnTo>
                        <a:lnTo>
                          <a:pt x="364" y="116"/>
                        </a:lnTo>
                        <a:lnTo>
                          <a:pt x="428" y="182"/>
                        </a:lnTo>
                        <a:lnTo>
                          <a:pt x="508" y="172"/>
                        </a:lnTo>
                        <a:lnTo>
                          <a:pt x="596" y="182"/>
                        </a:lnTo>
                        <a:lnTo>
                          <a:pt x="629" y="165"/>
                        </a:lnTo>
                        <a:lnTo>
                          <a:pt x="650" y="189"/>
                        </a:lnTo>
                        <a:lnTo>
                          <a:pt x="671" y="201"/>
                        </a:lnTo>
                        <a:lnTo>
                          <a:pt x="688" y="238"/>
                        </a:lnTo>
                        <a:lnTo>
                          <a:pt x="714" y="227"/>
                        </a:lnTo>
                        <a:lnTo>
                          <a:pt x="704" y="316"/>
                        </a:lnTo>
                        <a:lnTo>
                          <a:pt x="742" y="316"/>
                        </a:lnTo>
                        <a:lnTo>
                          <a:pt x="759" y="387"/>
                        </a:lnTo>
                        <a:lnTo>
                          <a:pt x="844" y="387"/>
                        </a:lnTo>
                        <a:lnTo>
                          <a:pt x="860" y="399"/>
                        </a:lnTo>
                        <a:lnTo>
                          <a:pt x="851" y="420"/>
                        </a:lnTo>
                        <a:lnTo>
                          <a:pt x="877" y="437"/>
                        </a:lnTo>
                        <a:lnTo>
                          <a:pt x="889" y="437"/>
                        </a:lnTo>
                        <a:lnTo>
                          <a:pt x="889" y="411"/>
                        </a:lnTo>
                        <a:lnTo>
                          <a:pt x="919" y="383"/>
                        </a:lnTo>
                        <a:lnTo>
                          <a:pt x="919" y="371"/>
                        </a:lnTo>
                        <a:lnTo>
                          <a:pt x="957" y="345"/>
                        </a:lnTo>
                        <a:lnTo>
                          <a:pt x="985" y="345"/>
                        </a:lnTo>
                        <a:lnTo>
                          <a:pt x="1011" y="309"/>
                        </a:lnTo>
                        <a:lnTo>
                          <a:pt x="1028" y="316"/>
                        </a:lnTo>
                        <a:lnTo>
                          <a:pt x="1040" y="300"/>
                        </a:lnTo>
                        <a:lnTo>
                          <a:pt x="1049" y="293"/>
                        </a:lnTo>
                        <a:lnTo>
                          <a:pt x="1061" y="283"/>
                        </a:lnTo>
                        <a:lnTo>
                          <a:pt x="1078" y="300"/>
                        </a:lnTo>
                        <a:lnTo>
                          <a:pt x="1044" y="309"/>
                        </a:lnTo>
                        <a:lnTo>
                          <a:pt x="1044" y="328"/>
                        </a:lnTo>
                        <a:lnTo>
                          <a:pt x="1040" y="328"/>
                        </a:lnTo>
                        <a:lnTo>
                          <a:pt x="995" y="354"/>
                        </a:lnTo>
                        <a:lnTo>
                          <a:pt x="1023" y="366"/>
                        </a:lnTo>
                        <a:lnTo>
                          <a:pt x="1040" y="366"/>
                        </a:lnTo>
                        <a:lnTo>
                          <a:pt x="1044" y="383"/>
                        </a:lnTo>
                        <a:lnTo>
                          <a:pt x="1082" y="387"/>
                        </a:lnTo>
                        <a:lnTo>
                          <a:pt x="1082" y="371"/>
                        </a:lnTo>
                        <a:lnTo>
                          <a:pt x="1099" y="371"/>
                        </a:lnTo>
                        <a:lnTo>
                          <a:pt x="1104" y="354"/>
                        </a:lnTo>
                        <a:lnTo>
                          <a:pt x="1120" y="371"/>
                        </a:lnTo>
                        <a:lnTo>
                          <a:pt x="1120" y="387"/>
                        </a:lnTo>
                        <a:lnTo>
                          <a:pt x="1137" y="387"/>
                        </a:lnTo>
                        <a:lnTo>
                          <a:pt x="1137" y="404"/>
                        </a:lnTo>
                        <a:lnTo>
                          <a:pt x="1153" y="399"/>
                        </a:lnTo>
                        <a:lnTo>
                          <a:pt x="1170" y="411"/>
                        </a:lnTo>
                        <a:lnTo>
                          <a:pt x="1207" y="420"/>
                        </a:lnTo>
                        <a:lnTo>
                          <a:pt x="1186" y="427"/>
                        </a:lnTo>
                        <a:lnTo>
                          <a:pt x="1170" y="444"/>
                        </a:lnTo>
                        <a:lnTo>
                          <a:pt x="1153" y="437"/>
                        </a:lnTo>
                        <a:lnTo>
                          <a:pt x="1153" y="456"/>
                        </a:lnTo>
                        <a:lnTo>
                          <a:pt x="1137" y="456"/>
                        </a:lnTo>
                        <a:lnTo>
                          <a:pt x="1132" y="460"/>
                        </a:lnTo>
                        <a:lnTo>
                          <a:pt x="1132" y="465"/>
                        </a:lnTo>
                        <a:lnTo>
                          <a:pt x="1104" y="477"/>
                        </a:lnTo>
                        <a:lnTo>
                          <a:pt x="1082" y="460"/>
                        </a:lnTo>
                        <a:lnTo>
                          <a:pt x="1049" y="465"/>
                        </a:lnTo>
                        <a:lnTo>
                          <a:pt x="1028" y="465"/>
                        </a:lnTo>
                        <a:lnTo>
                          <a:pt x="1011" y="456"/>
                        </a:lnTo>
                        <a:lnTo>
                          <a:pt x="1011" y="456"/>
                        </a:lnTo>
                        <a:lnTo>
                          <a:pt x="1044" y="427"/>
                        </a:lnTo>
                        <a:lnTo>
                          <a:pt x="1011" y="399"/>
                        </a:lnTo>
                        <a:lnTo>
                          <a:pt x="1007" y="411"/>
                        </a:lnTo>
                        <a:lnTo>
                          <a:pt x="969" y="437"/>
                        </a:lnTo>
                        <a:lnTo>
                          <a:pt x="943" y="420"/>
                        </a:lnTo>
                        <a:lnTo>
                          <a:pt x="943" y="420"/>
                        </a:lnTo>
                        <a:lnTo>
                          <a:pt x="936" y="444"/>
                        </a:lnTo>
                        <a:lnTo>
                          <a:pt x="936" y="465"/>
                        </a:lnTo>
                        <a:lnTo>
                          <a:pt x="889" y="477"/>
                        </a:lnTo>
                        <a:lnTo>
                          <a:pt x="915" y="477"/>
                        </a:lnTo>
                        <a:lnTo>
                          <a:pt x="898" y="482"/>
                        </a:lnTo>
                        <a:lnTo>
                          <a:pt x="905" y="498"/>
                        </a:lnTo>
                        <a:lnTo>
                          <a:pt x="889" y="498"/>
                        </a:lnTo>
                        <a:lnTo>
                          <a:pt x="889" y="498"/>
                        </a:lnTo>
                        <a:lnTo>
                          <a:pt x="889" y="49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grpSp>
      <p:sp>
        <p:nvSpPr>
          <p:cNvPr id="8211" name="Freeform 528">
            <a:extLst>
              <a:ext uri="{FF2B5EF4-FFF2-40B4-BE49-F238E27FC236}">
                <a16:creationId xmlns:a16="http://schemas.microsoft.com/office/drawing/2014/main" id="{10E343C9-D484-47BA-A3C3-3588B100DD2F}"/>
              </a:ext>
            </a:extLst>
          </p:cNvPr>
          <p:cNvSpPr>
            <a:spLocks noEditPoints="1"/>
          </p:cNvSpPr>
          <p:nvPr/>
        </p:nvSpPr>
        <p:spPr bwMode="gray">
          <a:xfrm>
            <a:off x="1285997" y="5246518"/>
            <a:ext cx="10302868" cy="828373"/>
          </a:xfrm>
          <a:custGeom>
            <a:avLst/>
            <a:gdLst>
              <a:gd name="T0" fmla="*/ 5 w 25027"/>
              <a:gd name="T1" fmla="*/ 4 h 2012"/>
              <a:gd name="T2" fmla="*/ 24914 w 25027"/>
              <a:gd name="T3" fmla="*/ 708 h 2012"/>
              <a:gd name="T4" fmla="*/ 24990 w 25027"/>
              <a:gd name="T5" fmla="*/ 708 h 2012"/>
              <a:gd name="T6" fmla="*/ 24956 w 25027"/>
              <a:gd name="T7" fmla="*/ 815 h 2012"/>
              <a:gd name="T8" fmla="*/ 24897 w 25027"/>
              <a:gd name="T9" fmla="*/ 848 h 2012"/>
              <a:gd name="T10" fmla="*/ 24772 w 25027"/>
              <a:gd name="T11" fmla="*/ 997 h 2012"/>
              <a:gd name="T12" fmla="*/ 24772 w 25027"/>
              <a:gd name="T13" fmla="*/ 902 h 2012"/>
              <a:gd name="T14" fmla="*/ 24671 w 25027"/>
              <a:gd name="T15" fmla="*/ 815 h 2012"/>
              <a:gd name="T16" fmla="*/ 24751 w 25027"/>
              <a:gd name="T17" fmla="*/ 704 h 2012"/>
              <a:gd name="T18" fmla="*/ 24742 w 25027"/>
              <a:gd name="T19" fmla="*/ 647 h 2012"/>
              <a:gd name="T20" fmla="*/ 24742 w 25027"/>
              <a:gd name="T21" fmla="*/ 614 h 2012"/>
              <a:gd name="T22" fmla="*/ 24704 w 25027"/>
              <a:gd name="T23" fmla="*/ 569 h 2012"/>
              <a:gd name="T24" fmla="*/ 24704 w 25027"/>
              <a:gd name="T25" fmla="*/ 552 h 2012"/>
              <a:gd name="T26" fmla="*/ 24704 w 25027"/>
              <a:gd name="T27" fmla="*/ 569 h 2012"/>
              <a:gd name="T28" fmla="*/ 24659 w 25027"/>
              <a:gd name="T29" fmla="*/ 486 h 2012"/>
              <a:gd name="T30" fmla="*/ 24595 w 25027"/>
              <a:gd name="T31" fmla="*/ 408 h 2012"/>
              <a:gd name="T32" fmla="*/ 24633 w 25027"/>
              <a:gd name="T33" fmla="*/ 458 h 2012"/>
              <a:gd name="T34" fmla="*/ 24697 w 25027"/>
              <a:gd name="T35" fmla="*/ 470 h 2012"/>
              <a:gd name="T36" fmla="*/ 24725 w 25027"/>
              <a:gd name="T37" fmla="*/ 526 h 2012"/>
              <a:gd name="T38" fmla="*/ 24734 w 25027"/>
              <a:gd name="T39" fmla="*/ 581 h 2012"/>
              <a:gd name="T40" fmla="*/ 24789 w 25027"/>
              <a:gd name="T41" fmla="*/ 614 h 2012"/>
              <a:gd name="T42" fmla="*/ 24805 w 25027"/>
              <a:gd name="T43" fmla="*/ 609 h 2012"/>
              <a:gd name="T44" fmla="*/ 24779 w 25027"/>
              <a:gd name="T45" fmla="*/ 560 h 2012"/>
              <a:gd name="T46" fmla="*/ 24768 w 25027"/>
              <a:gd name="T47" fmla="*/ 609 h 2012"/>
              <a:gd name="T48" fmla="*/ 24486 w 25027"/>
              <a:gd name="T49" fmla="*/ 1306 h 2012"/>
              <a:gd name="T50" fmla="*/ 24432 w 25027"/>
              <a:gd name="T51" fmla="*/ 1400 h 2012"/>
              <a:gd name="T52" fmla="*/ 24326 w 25027"/>
              <a:gd name="T53" fmla="*/ 1462 h 2012"/>
              <a:gd name="T54" fmla="*/ 24293 w 25027"/>
              <a:gd name="T55" fmla="*/ 1457 h 2012"/>
              <a:gd name="T56" fmla="*/ 24250 w 25027"/>
              <a:gd name="T57" fmla="*/ 1417 h 2012"/>
              <a:gd name="T58" fmla="*/ 24175 w 25027"/>
              <a:gd name="T59" fmla="*/ 1408 h 2012"/>
              <a:gd name="T60" fmla="*/ 24201 w 25027"/>
              <a:gd name="T61" fmla="*/ 1351 h 2012"/>
              <a:gd name="T62" fmla="*/ 24217 w 25027"/>
              <a:gd name="T63" fmla="*/ 1334 h 2012"/>
              <a:gd name="T64" fmla="*/ 24281 w 25027"/>
              <a:gd name="T65" fmla="*/ 1252 h 2012"/>
              <a:gd name="T66" fmla="*/ 24465 w 25027"/>
              <a:gd name="T67" fmla="*/ 1124 h 2012"/>
              <a:gd name="T68" fmla="*/ 24590 w 25027"/>
              <a:gd name="T69" fmla="*/ 926 h 2012"/>
              <a:gd name="T70" fmla="*/ 24616 w 25027"/>
              <a:gd name="T71" fmla="*/ 942 h 2012"/>
              <a:gd name="T72" fmla="*/ 24682 w 25027"/>
              <a:gd name="T73" fmla="*/ 963 h 2012"/>
              <a:gd name="T74" fmla="*/ 24704 w 25027"/>
              <a:gd name="T75" fmla="*/ 980 h 2012"/>
              <a:gd name="T76" fmla="*/ 24659 w 25027"/>
              <a:gd name="T77" fmla="*/ 1091 h 2012"/>
              <a:gd name="T78" fmla="*/ 24616 w 25027"/>
              <a:gd name="T79" fmla="*/ 1207 h 2012"/>
              <a:gd name="T80" fmla="*/ 24508 w 25027"/>
              <a:gd name="T81" fmla="*/ 1235 h 2012"/>
              <a:gd name="T82" fmla="*/ 24671 w 25027"/>
              <a:gd name="T83" fmla="*/ 942 h 2012"/>
              <a:gd name="T84" fmla="*/ 24704 w 25027"/>
              <a:gd name="T85" fmla="*/ 980 h 2012"/>
              <a:gd name="T86" fmla="*/ 92 w 25027"/>
              <a:gd name="T87" fmla="*/ 1223 h 2012"/>
              <a:gd name="T88" fmla="*/ 97 w 25027"/>
              <a:gd name="T89" fmla="*/ 1202 h 2012"/>
              <a:gd name="T90" fmla="*/ 125 w 25027"/>
              <a:gd name="T91" fmla="*/ 1252 h 2012"/>
              <a:gd name="T92" fmla="*/ 24196 w 25027"/>
              <a:gd name="T93" fmla="*/ 1318 h 2012"/>
              <a:gd name="T94" fmla="*/ 24179 w 25027"/>
              <a:gd name="T95" fmla="*/ 1367 h 2012"/>
              <a:gd name="T96" fmla="*/ 24179 w 25027"/>
              <a:gd name="T97" fmla="*/ 1367 h 2012"/>
              <a:gd name="T98" fmla="*/ 24255 w 25027"/>
              <a:gd name="T99" fmla="*/ 1511 h 2012"/>
              <a:gd name="T100" fmla="*/ 24250 w 25027"/>
              <a:gd name="T101" fmla="*/ 1462 h 2012"/>
              <a:gd name="T102" fmla="*/ 25027 w 25027"/>
              <a:gd name="T103" fmla="*/ 1734 h 2012"/>
              <a:gd name="T104" fmla="*/ 24142 w 25027"/>
              <a:gd name="T105" fmla="*/ 1849 h 2012"/>
              <a:gd name="T106" fmla="*/ 24146 w 25027"/>
              <a:gd name="T107" fmla="*/ 1816 h 2012"/>
              <a:gd name="T108" fmla="*/ 24142 w 25027"/>
              <a:gd name="T109" fmla="*/ 1849 h 2012"/>
              <a:gd name="T110" fmla="*/ 24347 w 25027"/>
              <a:gd name="T111" fmla="*/ 2000 h 2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027" h="2012">
                <a:moveTo>
                  <a:pt x="5" y="4"/>
                </a:moveTo>
                <a:lnTo>
                  <a:pt x="0" y="0"/>
                </a:lnTo>
                <a:lnTo>
                  <a:pt x="5" y="4"/>
                </a:lnTo>
                <a:lnTo>
                  <a:pt x="5" y="4"/>
                </a:lnTo>
                <a:lnTo>
                  <a:pt x="5" y="4"/>
                </a:lnTo>
                <a:lnTo>
                  <a:pt x="5" y="4"/>
                </a:lnTo>
                <a:close/>
                <a:moveTo>
                  <a:pt x="24822" y="647"/>
                </a:moveTo>
                <a:lnTo>
                  <a:pt x="24827" y="663"/>
                </a:lnTo>
                <a:lnTo>
                  <a:pt x="24843" y="680"/>
                </a:lnTo>
                <a:lnTo>
                  <a:pt x="24827" y="671"/>
                </a:lnTo>
                <a:lnTo>
                  <a:pt x="24827" y="680"/>
                </a:lnTo>
                <a:lnTo>
                  <a:pt x="24914" y="708"/>
                </a:lnTo>
                <a:lnTo>
                  <a:pt x="24930" y="704"/>
                </a:lnTo>
                <a:lnTo>
                  <a:pt x="24952" y="680"/>
                </a:lnTo>
                <a:lnTo>
                  <a:pt x="24968" y="671"/>
                </a:lnTo>
                <a:lnTo>
                  <a:pt x="24990" y="671"/>
                </a:lnTo>
                <a:lnTo>
                  <a:pt x="25006" y="680"/>
                </a:lnTo>
                <a:lnTo>
                  <a:pt x="24990" y="708"/>
                </a:lnTo>
                <a:lnTo>
                  <a:pt x="24990" y="746"/>
                </a:lnTo>
                <a:lnTo>
                  <a:pt x="24973" y="763"/>
                </a:lnTo>
                <a:lnTo>
                  <a:pt x="24968" y="763"/>
                </a:lnTo>
                <a:lnTo>
                  <a:pt x="24956" y="798"/>
                </a:lnTo>
                <a:lnTo>
                  <a:pt x="24968" y="798"/>
                </a:lnTo>
                <a:lnTo>
                  <a:pt x="24956" y="815"/>
                </a:lnTo>
                <a:lnTo>
                  <a:pt x="24956" y="815"/>
                </a:lnTo>
                <a:lnTo>
                  <a:pt x="24956" y="798"/>
                </a:lnTo>
                <a:lnTo>
                  <a:pt x="24940" y="798"/>
                </a:lnTo>
                <a:lnTo>
                  <a:pt x="24902" y="803"/>
                </a:lnTo>
                <a:lnTo>
                  <a:pt x="24886" y="831"/>
                </a:lnTo>
                <a:lnTo>
                  <a:pt x="24897" y="848"/>
                </a:lnTo>
                <a:lnTo>
                  <a:pt x="24902" y="848"/>
                </a:lnTo>
                <a:lnTo>
                  <a:pt x="24881" y="890"/>
                </a:lnTo>
                <a:lnTo>
                  <a:pt x="24848" y="930"/>
                </a:lnTo>
                <a:lnTo>
                  <a:pt x="24827" y="980"/>
                </a:lnTo>
                <a:lnTo>
                  <a:pt x="24772" y="1013"/>
                </a:lnTo>
                <a:lnTo>
                  <a:pt x="24772" y="997"/>
                </a:lnTo>
                <a:lnTo>
                  <a:pt x="24751" y="997"/>
                </a:lnTo>
                <a:lnTo>
                  <a:pt x="24751" y="980"/>
                </a:lnTo>
                <a:lnTo>
                  <a:pt x="24742" y="985"/>
                </a:lnTo>
                <a:lnTo>
                  <a:pt x="24725" y="985"/>
                </a:lnTo>
                <a:lnTo>
                  <a:pt x="24768" y="930"/>
                </a:lnTo>
                <a:lnTo>
                  <a:pt x="24772" y="902"/>
                </a:lnTo>
                <a:lnTo>
                  <a:pt x="24768" y="886"/>
                </a:lnTo>
                <a:lnTo>
                  <a:pt x="24751" y="869"/>
                </a:lnTo>
                <a:lnTo>
                  <a:pt x="24725" y="857"/>
                </a:lnTo>
                <a:lnTo>
                  <a:pt x="24713" y="848"/>
                </a:lnTo>
                <a:lnTo>
                  <a:pt x="24687" y="836"/>
                </a:lnTo>
                <a:lnTo>
                  <a:pt x="24671" y="815"/>
                </a:lnTo>
                <a:lnTo>
                  <a:pt x="24671" y="803"/>
                </a:lnTo>
                <a:lnTo>
                  <a:pt x="24713" y="791"/>
                </a:lnTo>
                <a:lnTo>
                  <a:pt x="24725" y="775"/>
                </a:lnTo>
                <a:lnTo>
                  <a:pt x="24734" y="720"/>
                </a:lnTo>
                <a:lnTo>
                  <a:pt x="24751" y="720"/>
                </a:lnTo>
                <a:lnTo>
                  <a:pt x="24751" y="704"/>
                </a:lnTo>
                <a:lnTo>
                  <a:pt x="24742" y="704"/>
                </a:lnTo>
                <a:lnTo>
                  <a:pt x="24742" y="692"/>
                </a:lnTo>
                <a:lnTo>
                  <a:pt x="24758" y="687"/>
                </a:lnTo>
                <a:lnTo>
                  <a:pt x="24751" y="687"/>
                </a:lnTo>
                <a:lnTo>
                  <a:pt x="24734" y="654"/>
                </a:lnTo>
                <a:lnTo>
                  <a:pt x="24742" y="647"/>
                </a:lnTo>
                <a:lnTo>
                  <a:pt x="24734" y="654"/>
                </a:lnTo>
                <a:lnTo>
                  <a:pt x="24725" y="630"/>
                </a:lnTo>
                <a:lnTo>
                  <a:pt x="24734" y="630"/>
                </a:lnTo>
                <a:lnTo>
                  <a:pt x="24734" y="635"/>
                </a:lnTo>
                <a:lnTo>
                  <a:pt x="24751" y="630"/>
                </a:lnTo>
                <a:lnTo>
                  <a:pt x="24742" y="614"/>
                </a:lnTo>
                <a:lnTo>
                  <a:pt x="24720" y="626"/>
                </a:lnTo>
                <a:lnTo>
                  <a:pt x="24697" y="576"/>
                </a:lnTo>
                <a:lnTo>
                  <a:pt x="24704" y="576"/>
                </a:lnTo>
                <a:lnTo>
                  <a:pt x="24720" y="597"/>
                </a:lnTo>
                <a:lnTo>
                  <a:pt x="24720" y="569"/>
                </a:lnTo>
                <a:lnTo>
                  <a:pt x="24704" y="569"/>
                </a:lnTo>
                <a:lnTo>
                  <a:pt x="24725" y="560"/>
                </a:lnTo>
                <a:lnTo>
                  <a:pt x="24713" y="569"/>
                </a:lnTo>
                <a:lnTo>
                  <a:pt x="24720" y="552"/>
                </a:lnTo>
                <a:lnTo>
                  <a:pt x="24713" y="560"/>
                </a:lnTo>
                <a:lnTo>
                  <a:pt x="24704" y="552"/>
                </a:lnTo>
                <a:lnTo>
                  <a:pt x="24704" y="552"/>
                </a:lnTo>
                <a:lnTo>
                  <a:pt x="24713" y="560"/>
                </a:lnTo>
                <a:lnTo>
                  <a:pt x="24704" y="560"/>
                </a:lnTo>
                <a:lnTo>
                  <a:pt x="24687" y="552"/>
                </a:lnTo>
                <a:lnTo>
                  <a:pt x="24682" y="526"/>
                </a:lnTo>
                <a:lnTo>
                  <a:pt x="24687" y="552"/>
                </a:lnTo>
                <a:lnTo>
                  <a:pt x="24704" y="569"/>
                </a:lnTo>
                <a:lnTo>
                  <a:pt x="24687" y="576"/>
                </a:lnTo>
                <a:lnTo>
                  <a:pt x="24645" y="503"/>
                </a:lnTo>
                <a:lnTo>
                  <a:pt x="24649" y="498"/>
                </a:lnTo>
                <a:lnTo>
                  <a:pt x="24666" y="486"/>
                </a:lnTo>
                <a:lnTo>
                  <a:pt x="24659" y="482"/>
                </a:lnTo>
                <a:lnTo>
                  <a:pt x="24659" y="486"/>
                </a:lnTo>
                <a:lnTo>
                  <a:pt x="24649" y="486"/>
                </a:lnTo>
                <a:lnTo>
                  <a:pt x="24645" y="503"/>
                </a:lnTo>
                <a:lnTo>
                  <a:pt x="24628" y="470"/>
                </a:lnTo>
                <a:lnTo>
                  <a:pt x="24633" y="470"/>
                </a:lnTo>
                <a:lnTo>
                  <a:pt x="24628" y="458"/>
                </a:lnTo>
                <a:lnTo>
                  <a:pt x="24595" y="408"/>
                </a:lnTo>
                <a:lnTo>
                  <a:pt x="24616" y="408"/>
                </a:lnTo>
                <a:lnTo>
                  <a:pt x="24616" y="415"/>
                </a:lnTo>
                <a:lnTo>
                  <a:pt x="24612" y="415"/>
                </a:lnTo>
                <a:lnTo>
                  <a:pt x="24612" y="425"/>
                </a:lnTo>
                <a:lnTo>
                  <a:pt x="24633" y="449"/>
                </a:lnTo>
                <a:lnTo>
                  <a:pt x="24633" y="458"/>
                </a:lnTo>
                <a:lnTo>
                  <a:pt x="24649" y="441"/>
                </a:lnTo>
                <a:lnTo>
                  <a:pt x="24649" y="449"/>
                </a:lnTo>
                <a:lnTo>
                  <a:pt x="24645" y="449"/>
                </a:lnTo>
                <a:lnTo>
                  <a:pt x="24649" y="458"/>
                </a:lnTo>
                <a:lnTo>
                  <a:pt x="24659" y="458"/>
                </a:lnTo>
                <a:lnTo>
                  <a:pt x="24697" y="470"/>
                </a:lnTo>
                <a:lnTo>
                  <a:pt x="24687" y="482"/>
                </a:lnTo>
                <a:lnTo>
                  <a:pt x="24697" y="486"/>
                </a:lnTo>
                <a:lnTo>
                  <a:pt x="24713" y="482"/>
                </a:lnTo>
                <a:lnTo>
                  <a:pt x="24725" y="503"/>
                </a:lnTo>
                <a:lnTo>
                  <a:pt x="24720" y="515"/>
                </a:lnTo>
                <a:lnTo>
                  <a:pt x="24725" y="526"/>
                </a:lnTo>
                <a:lnTo>
                  <a:pt x="24713" y="519"/>
                </a:lnTo>
                <a:lnTo>
                  <a:pt x="24713" y="526"/>
                </a:lnTo>
                <a:lnTo>
                  <a:pt x="24725" y="526"/>
                </a:lnTo>
                <a:lnTo>
                  <a:pt x="24720" y="543"/>
                </a:lnTo>
                <a:lnTo>
                  <a:pt x="24742" y="560"/>
                </a:lnTo>
                <a:lnTo>
                  <a:pt x="24734" y="581"/>
                </a:lnTo>
                <a:lnTo>
                  <a:pt x="24742" y="609"/>
                </a:lnTo>
                <a:lnTo>
                  <a:pt x="24772" y="626"/>
                </a:lnTo>
                <a:lnTo>
                  <a:pt x="24779" y="635"/>
                </a:lnTo>
                <a:lnTo>
                  <a:pt x="24796" y="647"/>
                </a:lnTo>
                <a:lnTo>
                  <a:pt x="24796" y="626"/>
                </a:lnTo>
                <a:lnTo>
                  <a:pt x="24789" y="614"/>
                </a:lnTo>
                <a:lnTo>
                  <a:pt x="24789" y="597"/>
                </a:lnTo>
                <a:lnTo>
                  <a:pt x="24779" y="581"/>
                </a:lnTo>
                <a:lnTo>
                  <a:pt x="24796" y="581"/>
                </a:lnTo>
                <a:lnTo>
                  <a:pt x="24805" y="597"/>
                </a:lnTo>
                <a:lnTo>
                  <a:pt x="24822" y="597"/>
                </a:lnTo>
                <a:lnTo>
                  <a:pt x="24805" y="609"/>
                </a:lnTo>
                <a:lnTo>
                  <a:pt x="24822" y="609"/>
                </a:lnTo>
                <a:lnTo>
                  <a:pt x="24822" y="647"/>
                </a:lnTo>
                <a:lnTo>
                  <a:pt x="24822" y="647"/>
                </a:lnTo>
                <a:lnTo>
                  <a:pt x="24822" y="647"/>
                </a:lnTo>
                <a:close/>
                <a:moveTo>
                  <a:pt x="24796" y="569"/>
                </a:moveTo>
                <a:lnTo>
                  <a:pt x="24779" y="560"/>
                </a:lnTo>
                <a:lnTo>
                  <a:pt x="24779" y="543"/>
                </a:lnTo>
                <a:lnTo>
                  <a:pt x="24796" y="552"/>
                </a:lnTo>
                <a:lnTo>
                  <a:pt x="24796" y="569"/>
                </a:lnTo>
                <a:lnTo>
                  <a:pt x="24796" y="569"/>
                </a:lnTo>
                <a:lnTo>
                  <a:pt x="24796" y="569"/>
                </a:lnTo>
                <a:close/>
                <a:moveTo>
                  <a:pt x="24768" y="609"/>
                </a:moveTo>
                <a:lnTo>
                  <a:pt x="24758" y="609"/>
                </a:lnTo>
                <a:lnTo>
                  <a:pt x="24772" y="597"/>
                </a:lnTo>
                <a:lnTo>
                  <a:pt x="24768" y="609"/>
                </a:lnTo>
                <a:lnTo>
                  <a:pt x="24768" y="609"/>
                </a:lnTo>
                <a:lnTo>
                  <a:pt x="24768" y="609"/>
                </a:lnTo>
                <a:close/>
                <a:moveTo>
                  <a:pt x="24486" y="1306"/>
                </a:moveTo>
                <a:lnTo>
                  <a:pt x="24470" y="1330"/>
                </a:lnTo>
                <a:lnTo>
                  <a:pt x="24465" y="1351"/>
                </a:lnTo>
                <a:lnTo>
                  <a:pt x="24449" y="1391"/>
                </a:lnTo>
                <a:lnTo>
                  <a:pt x="24456" y="1374"/>
                </a:lnTo>
                <a:lnTo>
                  <a:pt x="24465" y="1391"/>
                </a:lnTo>
                <a:lnTo>
                  <a:pt x="24432" y="1400"/>
                </a:lnTo>
                <a:lnTo>
                  <a:pt x="24427" y="1417"/>
                </a:lnTo>
                <a:lnTo>
                  <a:pt x="24394" y="1429"/>
                </a:lnTo>
                <a:lnTo>
                  <a:pt x="24394" y="1441"/>
                </a:lnTo>
                <a:lnTo>
                  <a:pt x="24373" y="1457"/>
                </a:lnTo>
                <a:lnTo>
                  <a:pt x="24335" y="1462"/>
                </a:lnTo>
                <a:lnTo>
                  <a:pt x="24326" y="1462"/>
                </a:lnTo>
                <a:lnTo>
                  <a:pt x="24326" y="1445"/>
                </a:lnTo>
                <a:lnTo>
                  <a:pt x="24305" y="1457"/>
                </a:lnTo>
                <a:lnTo>
                  <a:pt x="24293" y="1457"/>
                </a:lnTo>
                <a:lnTo>
                  <a:pt x="24305" y="1457"/>
                </a:lnTo>
                <a:lnTo>
                  <a:pt x="24293" y="1445"/>
                </a:lnTo>
                <a:lnTo>
                  <a:pt x="24293" y="1457"/>
                </a:lnTo>
                <a:lnTo>
                  <a:pt x="24288" y="1445"/>
                </a:lnTo>
                <a:lnTo>
                  <a:pt x="24293" y="1445"/>
                </a:lnTo>
                <a:lnTo>
                  <a:pt x="24293" y="1441"/>
                </a:lnTo>
                <a:lnTo>
                  <a:pt x="24281" y="1429"/>
                </a:lnTo>
                <a:lnTo>
                  <a:pt x="24255" y="1441"/>
                </a:lnTo>
                <a:lnTo>
                  <a:pt x="24250" y="1417"/>
                </a:lnTo>
                <a:lnTo>
                  <a:pt x="24234" y="1417"/>
                </a:lnTo>
                <a:lnTo>
                  <a:pt x="24217" y="1424"/>
                </a:lnTo>
                <a:lnTo>
                  <a:pt x="24179" y="1417"/>
                </a:lnTo>
                <a:lnTo>
                  <a:pt x="24175" y="1417"/>
                </a:lnTo>
                <a:lnTo>
                  <a:pt x="24196" y="1391"/>
                </a:lnTo>
                <a:lnTo>
                  <a:pt x="24175" y="1408"/>
                </a:lnTo>
                <a:lnTo>
                  <a:pt x="24175" y="1400"/>
                </a:lnTo>
                <a:lnTo>
                  <a:pt x="24158" y="1400"/>
                </a:lnTo>
                <a:lnTo>
                  <a:pt x="24158" y="1384"/>
                </a:lnTo>
                <a:lnTo>
                  <a:pt x="24196" y="1374"/>
                </a:lnTo>
                <a:lnTo>
                  <a:pt x="24179" y="1367"/>
                </a:lnTo>
                <a:lnTo>
                  <a:pt x="24201" y="1351"/>
                </a:lnTo>
                <a:lnTo>
                  <a:pt x="24179" y="1363"/>
                </a:lnTo>
                <a:lnTo>
                  <a:pt x="24184" y="1334"/>
                </a:lnTo>
                <a:lnTo>
                  <a:pt x="24184" y="1334"/>
                </a:lnTo>
                <a:lnTo>
                  <a:pt x="24212" y="1351"/>
                </a:lnTo>
                <a:lnTo>
                  <a:pt x="24201" y="1334"/>
                </a:lnTo>
                <a:lnTo>
                  <a:pt x="24217" y="1334"/>
                </a:lnTo>
                <a:lnTo>
                  <a:pt x="24201" y="1334"/>
                </a:lnTo>
                <a:lnTo>
                  <a:pt x="24196" y="1318"/>
                </a:lnTo>
                <a:lnTo>
                  <a:pt x="24217" y="1297"/>
                </a:lnTo>
                <a:lnTo>
                  <a:pt x="24234" y="1313"/>
                </a:lnTo>
                <a:lnTo>
                  <a:pt x="24229" y="1289"/>
                </a:lnTo>
                <a:lnTo>
                  <a:pt x="24281" y="1252"/>
                </a:lnTo>
                <a:lnTo>
                  <a:pt x="24293" y="1223"/>
                </a:lnTo>
                <a:lnTo>
                  <a:pt x="24326" y="1219"/>
                </a:lnTo>
                <a:lnTo>
                  <a:pt x="24347" y="1202"/>
                </a:lnTo>
                <a:lnTo>
                  <a:pt x="24390" y="1186"/>
                </a:lnTo>
                <a:lnTo>
                  <a:pt x="24427" y="1145"/>
                </a:lnTo>
                <a:lnTo>
                  <a:pt x="24465" y="1124"/>
                </a:lnTo>
                <a:lnTo>
                  <a:pt x="24486" y="1096"/>
                </a:lnTo>
                <a:lnTo>
                  <a:pt x="24508" y="1030"/>
                </a:lnTo>
                <a:lnTo>
                  <a:pt x="24536" y="1018"/>
                </a:lnTo>
                <a:lnTo>
                  <a:pt x="24553" y="997"/>
                </a:lnTo>
                <a:lnTo>
                  <a:pt x="24557" y="947"/>
                </a:lnTo>
                <a:lnTo>
                  <a:pt x="24590" y="926"/>
                </a:lnTo>
                <a:lnTo>
                  <a:pt x="24590" y="919"/>
                </a:lnTo>
                <a:lnTo>
                  <a:pt x="24616" y="919"/>
                </a:lnTo>
                <a:lnTo>
                  <a:pt x="24595" y="919"/>
                </a:lnTo>
                <a:lnTo>
                  <a:pt x="24595" y="930"/>
                </a:lnTo>
                <a:lnTo>
                  <a:pt x="24607" y="947"/>
                </a:lnTo>
                <a:lnTo>
                  <a:pt x="24616" y="942"/>
                </a:lnTo>
                <a:lnTo>
                  <a:pt x="24628" y="985"/>
                </a:lnTo>
                <a:lnTo>
                  <a:pt x="24687" y="947"/>
                </a:lnTo>
                <a:lnTo>
                  <a:pt x="24687" y="959"/>
                </a:lnTo>
                <a:lnTo>
                  <a:pt x="24671" y="963"/>
                </a:lnTo>
                <a:lnTo>
                  <a:pt x="24671" y="975"/>
                </a:lnTo>
                <a:lnTo>
                  <a:pt x="24682" y="963"/>
                </a:lnTo>
                <a:lnTo>
                  <a:pt x="24671" y="985"/>
                </a:lnTo>
                <a:lnTo>
                  <a:pt x="24697" y="980"/>
                </a:lnTo>
                <a:lnTo>
                  <a:pt x="24682" y="980"/>
                </a:lnTo>
                <a:lnTo>
                  <a:pt x="24687" y="963"/>
                </a:lnTo>
                <a:lnTo>
                  <a:pt x="24713" y="963"/>
                </a:lnTo>
                <a:lnTo>
                  <a:pt x="24704" y="980"/>
                </a:lnTo>
                <a:lnTo>
                  <a:pt x="24687" y="980"/>
                </a:lnTo>
                <a:lnTo>
                  <a:pt x="24713" y="980"/>
                </a:lnTo>
                <a:lnTo>
                  <a:pt x="24687" y="997"/>
                </a:lnTo>
                <a:lnTo>
                  <a:pt x="24713" y="1030"/>
                </a:lnTo>
                <a:lnTo>
                  <a:pt x="24704" y="1034"/>
                </a:lnTo>
                <a:lnTo>
                  <a:pt x="24659" y="1091"/>
                </a:lnTo>
                <a:lnTo>
                  <a:pt x="24633" y="1129"/>
                </a:lnTo>
                <a:lnTo>
                  <a:pt x="24607" y="1152"/>
                </a:lnTo>
                <a:lnTo>
                  <a:pt x="24607" y="1186"/>
                </a:lnTo>
                <a:lnTo>
                  <a:pt x="24616" y="1197"/>
                </a:lnTo>
                <a:lnTo>
                  <a:pt x="24628" y="1207"/>
                </a:lnTo>
                <a:lnTo>
                  <a:pt x="24616" y="1207"/>
                </a:lnTo>
                <a:lnTo>
                  <a:pt x="24612" y="1202"/>
                </a:lnTo>
                <a:lnTo>
                  <a:pt x="24612" y="1207"/>
                </a:lnTo>
                <a:lnTo>
                  <a:pt x="24612" y="1207"/>
                </a:lnTo>
                <a:lnTo>
                  <a:pt x="24579" y="1197"/>
                </a:lnTo>
                <a:lnTo>
                  <a:pt x="24574" y="1207"/>
                </a:lnTo>
                <a:lnTo>
                  <a:pt x="24508" y="1235"/>
                </a:lnTo>
                <a:lnTo>
                  <a:pt x="24498" y="1256"/>
                </a:lnTo>
                <a:lnTo>
                  <a:pt x="24486" y="1306"/>
                </a:lnTo>
                <a:lnTo>
                  <a:pt x="24486" y="1306"/>
                </a:lnTo>
                <a:lnTo>
                  <a:pt x="24486" y="1306"/>
                </a:lnTo>
                <a:close/>
                <a:moveTo>
                  <a:pt x="24671" y="959"/>
                </a:moveTo>
                <a:lnTo>
                  <a:pt x="24671" y="942"/>
                </a:lnTo>
                <a:lnTo>
                  <a:pt x="24687" y="930"/>
                </a:lnTo>
                <a:lnTo>
                  <a:pt x="24682" y="947"/>
                </a:lnTo>
                <a:lnTo>
                  <a:pt x="24671" y="959"/>
                </a:lnTo>
                <a:lnTo>
                  <a:pt x="24671" y="959"/>
                </a:lnTo>
                <a:lnTo>
                  <a:pt x="24671" y="959"/>
                </a:lnTo>
                <a:close/>
                <a:moveTo>
                  <a:pt x="24704" y="980"/>
                </a:moveTo>
                <a:lnTo>
                  <a:pt x="24713" y="975"/>
                </a:lnTo>
                <a:lnTo>
                  <a:pt x="24713" y="980"/>
                </a:lnTo>
                <a:lnTo>
                  <a:pt x="24704" y="980"/>
                </a:lnTo>
                <a:lnTo>
                  <a:pt x="24704" y="980"/>
                </a:lnTo>
                <a:lnTo>
                  <a:pt x="24704" y="980"/>
                </a:lnTo>
                <a:close/>
                <a:moveTo>
                  <a:pt x="92" y="1223"/>
                </a:moveTo>
                <a:lnTo>
                  <a:pt x="97" y="1219"/>
                </a:lnTo>
                <a:lnTo>
                  <a:pt x="97" y="1207"/>
                </a:lnTo>
                <a:lnTo>
                  <a:pt x="76" y="1202"/>
                </a:lnTo>
                <a:lnTo>
                  <a:pt x="97" y="1197"/>
                </a:lnTo>
                <a:lnTo>
                  <a:pt x="125" y="1202"/>
                </a:lnTo>
                <a:lnTo>
                  <a:pt x="97" y="1202"/>
                </a:lnTo>
                <a:lnTo>
                  <a:pt x="114" y="1223"/>
                </a:lnTo>
                <a:lnTo>
                  <a:pt x="97" y="1235"/>
                </a:lnTo>
                <a:lnTo>
                  <a:pt x="92" y="1223"/>
                </a:lnTo>
                <a:lnTo>
                  <a:pt x="92" y="1223"/>
                </a:lnTo>
                <a:lnTo>
                  <a:pt x="92" y="1223"/>
                </a:lnTo>
                <a:close/>
                <a:moveTo>
                  <a:pt x="125" y="1252"/>
                </a:moveTo>
                <a:lnTo>
                  <a:pt x="125" y="1240"/>
                </a:lnTo>
                <a:lnTo>
                  <a:pt x="130" y="1240"/>
                </a:lnTo>
                <a:lnTo>
                  <a:pt x="125" y="1252"/>
                </a:lnTo>
                <a:lnTo>
                  <a:pt x="125" y="1252"/>
                </a:lnTo>
                <a:lnTo>
                  <a:pt x="125" y="1252"/>
                </a:lnTo>
                <a:close/>
                <a:moveTo>
                  <a:pt x="24196" y="1318"/>
                </a:moveTo>
                <a:lnTo>
                  <a:pt x="24196" y="1334"/>
                </a:lnTo>
                <a:lnTo>
                  <a:pt x="24184" y="1330"/>
                </a:lnTo>
                <a:lnTo>
                  <a:pt x="24196" y="1318"/>
                </a:lnTo>
                <a:lnTo>
                  <a:pt x="24196" y="1318"/>
                </a:lnTo>
                <a:lnTo>
                  <a:pt x="24196" y="1318"/>
                </a:lnTo>
                <a:close/>
                <a:moveTo>
                  <a:pt x="24179" y="1367"/>
                </a:moveTo>
                <a:lnTo>
                  <a:pt x="24179" y="1374"/>
                </a:lnTo>
                <a:lnTo>
                  <a:pt x="24163" y="1374"/>
                </a:lnTo>
                <a:lnTo>
                  <a:pt x="24163" y="1367"/>
                </a:lnTo>
                <a:lnTo>
                  <a:pt x="24179" y="1367"/>
                </a:lnTo>
                <a:lnTo>
                  <a:pt x="24179" y="1367"/>
                </a:lnTo>
                <a:lnTo>
                  <a:pt x="24179" y="1367"/>
                </a:lnTo>
                <a:close/>
                <a:moveTo>
                  <a:pt x="24267" y="1462"/>
                </a:moveTo>
                <a:lnTo>
                  <a:pt x="24281" y="1478"/>
                </a:lnTo>
                <a:lnTo>
                  <a:pt x="24271" y="1486"/>
                </a:lnTo>
                <a:lnTo>
                  <a:pt x="24281" y="1486"/>
                </a:lnTo>
                <a:lnTo>
                  <a:pt x="24281" y="1495"/>
                </a:lnTo>
                <a:lnTo>
                  <a:pt x="24255" y="1511"/>
                </a:lnTo>
                <a:lnTo>
                  <a:pt x="24250" y="1502"/>
                </a:lnTo>
                <a:lnTo>
                  <a:pt x="24238" y="1511"/>
                </a:lnTo>
                <a:lnTo>
                  <a:pt x="24250" y="1511"/>
                </a:lnTo>
                <a:lnTo>
                  <a:pt x="24234" y="1519"/>
                </a:lnTo>
                <a:lnTo>
                  <a:pt x="24255" y="1478"/>
                </a:lnTo>
                <a:lnTo>
                  <a:pt x="24250" y="1462"/>
                </a:lnTo>
                <a:lnTo>
                  <a:pt x="24267" y="1462"/>
                </a:lnTo>
                <a:lnTo>
                  <a:pt x="24267" y="1462"/>
                </a:lnTo>
                <a:lnTo>
                  <a:pt x="24267" y="1462"/>
                </a:lnTo>
                <a:close/>
                <a:moveTo>
                  <a:pt x="25027" y="1734"/>
                </a:moveTo>
                <a:lnTo>
                  <a:pt x="25023" y="1741"/>
                </a:lnTo>
                <a:lnTo>
                  <a:pt x="25027" y="1734"/>
                </a:lnTo>
                <a:lnTo>
                  <a:pt x="25027" y="1734"/>
                </a:lnTo>
                <a:lnTo>
                  <a:pt x="25027" y="1734"/>
                </a:lnTo>
                <a:lnTo>
                  <a:pt x="25027" y="1734"/>
                </a:lnTo>
                <a:close/>
                <a:moveTo>
                  <a:pt x="24146" y="1816"/>
                </a:moveTo>
                <a:lnTo>
                  <a:pt x="24130" y="1833"/>
                </a:lnTo>
                <a:lnTo>
                  <a:pt x="24142" y="1849"/>
                </a:lnTo>
                <a:lnTo>
                  <a:pt x="24120" y="1845"/>
                </a:lnTo>
                <a:lnTo>
                  <a:pt x="24130" y="1828"/>
                </a:lnTo>
                <a:lnTo>
                  <a:pt x="24130" y="1816"/>
                </a:lnTo>
                <a:lnTo>
                  <a:pt x="24146" y="1816"/>
                </a:lnTo>
                <a:lnTo>
                  <a:pt x="24146" y="1816"/>
                </a:lnTo>
                <a:lnTo>
                  <a:pt x="24146" y="1816"/>
                </a:lnTo>
                <a:close/>
                <a:moveTo>
                  <a:pt x="24142" y="1849"/>
                </a:moveTo>
                <a:lnTo>
                  <a:pt x="24120" y="1849"/>
                </a:lnTo>
                <a:lnTo>
                  <a:pt x="24142" y="1849"/>
                </a:lnTo>
                <a:lnTo>
                  <a:pt x="24142" y="1849"/>
                </a:lnTo>
                <a:lnTo>
                  <a:pt x="24142" y="1849"/>
                </a:lnTo>
                <a:lnTo>
                  <a:pt x="24142" y="1849"/>
                </a:lnTo>
                <a:close/>
                <a:moveTo>
                  <a:pt x="24347" y="2000"/>
                </a:moveTo>
                <a:lnTo>
                  <a:pt x="24347" y="2012"/>
                </a:lnTo>
                <a:lnTo>
                  <a:pt x="24335" y="2012"/>
                </a:lnTo>
                <a:lnTo>
                  <a:pt x="24347" y="2000"/>
                </a:lnTo>
                <a:lnTo>
                  <a:pt x="24347" y="2000"/>
                </a:lnTo>
                <a:lnTo>
                  <a:pt x="24347" y="2000"/>
                </a:lnTo>
                <a:close/>
              </a:path>
            </a:pathLst>
          </a:custGeom>
          <a:pattFill prst="narHorz">
            <a:fgClr>
              <a:schemeClr val="accent2"/>
            </a:fgClr>
            <a:bgClr>
              <a:schemeClr val="bg1"/>
            </a:bgClr>
          </a:patt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3" name="Gruppieren 2">
            <a:extLst>
              <a:ext uri="{FF2B5EF4-FFF2-40B4-BE49-F238E27FC236}">
                <a16:creationId xmlns:a16="http://schemas.microsoft.com/office/drawing/2014/main" id="{CAD00873-BC50-43E2-8A3F-93B86BA95D95}"/>
              </a:ext>
            </a:extLst>
          </p:cNvPr>
          <p:cNvGrpSpPr/>
          <p:nvPr/>
        </p:nvGrpSpPr>
        <p:grpSpPr>
          <a:xfrm>
            <a:off x="1255945" y="1015724"/>
            <a:ext cx="10359267" cy="5196268"/>
            <a:chOff x="1255945" y="1015724"/>
            <a:chExt cx="10359267" cy="5196268"/>
          </a:xfrm>
          <a:pattFill prst="ltVert">
            <a:fgClr>
              <a:schemeClr val="accent2"/>
            </a:fgClr>
            <a:bgClr>
              <a:schemeClr val="bg1"/>
            </a:bgClr>
          </a:pattFill>
        </p:grpSpPr>
        <p:grpSp>
          <p:nvGrpSpPr>
            <p:cNvPr id="2" name="Gruppieren 1">
              <a:extLst>
                <a:ext uri="{FF2B5EF4-FFF2-40B4-BE49-F238E27FC236}">
                  <a16:creationId xmlns:a16="http://schemas.microsoft.com/office/drawing/2014/main" id="{C0436110-26CF-4B74-8A88-267A21EA0D84}"/>
                </a:ext>
              </a:extLst>
            </p:cNvPr>
            <p:cNvGrpSpPr/>
            <p:nvPr/>
          </p:nvGrpSpPr>
          <p:grpSpPr bwMode="gray">
            <a:xfrm>
              <a:off x="1255945" y="1015724"/>
              <a:ext cx="10359267" cy="2770849"/>
              <a:chOff x="1557717" y="727692"/>
              <a:chExt cx="10359267" cy="2770849"/>
            </a:xfrm>
            <a:grpFill/>
          </p:grpSpPr>
          <p:sp>
            <p:nvSpPr>
              <p:cNvPr id="8043" name="Freeform 408">
                <a:extLst>
                  <a:ext uri="{FF2B5EF4-FFF2-40B4-BE49-F238E27FC236}">
                    <a16:creationId xmlns:a16="http://schemas.microsoft.com/office/drawing/2014/main" id="{7B291DB7-2DBC-4238-9A89-F5B434BC09CE}"/>
                  </a:ext>
                </a:extLst>
              </p:cNvPr>
              <p:cNvSpPr>
                <a:spLocks noEditPoints="1"/>
              </p:cNvSpPr>
              <p:nvPr/>
            </p:nvSpPr>
            <p:spPr bwMode="gray">
              <a:xfrm>
                <a:off x="2654407" y="727692"/>
                <a:ext cx="2552766" cy="2024820"/>
              </a:xfrm>
              <a:custGeom>
                <a:avLst/>
                <a:gdLst>
                  <a:gd name="T0" fmla="*/ 3990 w 6201"/>
                  <a:gd name="T1" fmla="*/ 834 h 4918"/>
                  <a:gd name="T2" fmla="*/ 4108 w 6201"/>
                  <a:gd name="T3" fmla="*/ 345 h 4918"/>
                  <a:gd name="T4" fmla="*/ 4805 w 6201"/>
                  <a:gd name="T5" fmla="*/ 74 h 4918"/>
                  <a:gd name="T6" fmla="*/ 4465 w 6201"/>
                  <a:gd name="T7" fmla="*/ 629 h 4918"/>
                  <a:gd name="T8" fmla="*/ 3418 w 6201"/>
                  <a:gd name="T9" fmla="*/ 638 h 4918"/>
                  <a:gd name="T10" fmla="*/ 3721 w 6201"/>
                  <a:gd name="T11" fmla="*/ 711 h 4918"/>
                  <a:gd name="T12" fmla="*/ 3239 w 6201"/>
                  <a:gd name="T13" fmla="*/ 806 h 4918"/>
                  <a:gd name="T14" fmla="*/ 3352 w 6201"/>
                  <a:gd name="T15" fmla="*/ 905 h 4918"/>
                  <a:gd name="T16" fmla="*/ 3504 w 6201"/>
                  <a:gd name="T17" fmla="*/ 978 h 4918"/>
                  <a:gd name="T18" fmla="*/ 3440 w 6201"/>
                  <a:gd name="T19" fmla="*/ 1292 h 4918"/>
                  <a:gd name="T20" fmla="*/ 3078 w 6201"/>
                  <a:gd name="T21" fmla="*/ 1044 h 4918"/>
                  <a:gd name="T22" fmla="*/ 2327 w 6201"/>
                  <a:gd name="T23" fmla="*/ 1292 h 4918"/>
                  <a:gd name="T24" fmla="*/ 2899 w 6201"/>
                  <a:gd name="T25" fmla="*/ 1222 h 4918"/>
                  <a:gd name="T26" fmla="*/ 1276 w 6201"/>
                  <a:gd name="T27" fmla="*/ 1160 h 4918"/>
                  <a:gd name="T28" fmla="*/ 3062 w 6201"/>
                  <a:gd name="T29" fmla="*/ 1366 h 4918"/>
                  <a:gd name="T30" fmla="*/ 2948 w 6201"/>
                  <a:gd name="T31" fmla="*/ 1486 h 4918"/>
                  <a:gd name="T32" fmla="*/ 3910 w 6201"/>
                  <a:gd name="T33" fmla="*/ 1992 h 4918"/>
                  <a:gd name="T34" fmla="*/ 3990 w 6201"/>
                  <a:gd name="T35" fmla="*/ 1526 h 4918"/>
                  <a:gd name="T36" fmla="*/ 4729 w 6201"/>
                  <a:gd name="T37" fmla="*/ 1826 h 4918"/>
                  <a:gd name="T38" fmla="*/ 5138 w 6201"/>
                  <a:gd name="T39" fmla="*/ 2119 h 4918"/>
                  <a:gd name="T40" fmla="*/ 5490 w 6201"/>
                  <a:gd name="T41" fmla="*/ 2374 h 4918"/>
                  <a:gd name="T42" fmla="*/ 5183 w 6201"/>
                  <a:gd name="T43" fmla="*/ 2452 h 4918"/>
                  <a:gd name="T44" fmla="*/ 5145 w 6201"/>
                  <a:gd name="T45" fmla="*/ 2847 h 4918"/>
                  <a:gd name="T46" fmla="*/ 4611 w 6201"/>
                  <a:gd name="T47" fmla="*/ 2613 h 4918"/>
                  <a:gd name="T48" fmla="*/ 4460 w 6201"/>
                  <a:gd name="T49" fmla="*/ 1515 h 4918"/>
                  <a:gd name="T50" fmla="*/ 1928 w 6201"/>
                  <a:gd name="T51" fmla="*/ 2115 h 4918"/>
                  <a:gd name="T52" fmla="*/ 2301 w 6201"/>
                  <a:gd name="T53" fmla="*/ 1737 h 4918"/>
                  <a:gd name="T54" fmla="*/ 4318 w 6201"/>
                  <a:gd name="T55" fmla="*/ 1682 h 4918"/>
                  <a:gd name="T56" fmla="*/ 1226 w 6201"/>
                  <a:gd name="T57" fmla="*/ 4222 h 4918"/>
                  <a:gd name="T58" fmla="*/ 898 w 6201"/>
                  <a:gd name="T59" fmla="*/ 3933 h 4918"/>
                  <a:gd name="T60" fmla="*/ 600 w 6201"/>
                  <a:gd name="T61" fmla="*/ 2025 h 4918"/>
                  <a:gd name="T62" fmla="*/ 1167 w 6201"/>
                  <a:gd name="T63" fmla="*/ 2070 h 4918"/>
                  <a:gd name="T64" fmla="*/ 2500 w 6201"/>
                  <a:gd name="T65" fmla="*/ 2181 h 4918"/>
                  <a:gd name="T66" fmla="*/ 3310 w 6201"/>
                  <a:gd name="T67" fmla="*/ 2103 h 4918"/>
                  <a:gd name="T68" fmla="*/ 3693 w 6201"/>
                  <a:gd name="T69" fmla="*/ 2252 h 4918"/>
                  <a:gd name="T70" fmla="*/ 3801 w 6201"/>
                  <a:gd name="T71" fmla="*/ 2429 h 4918"/>
                  <a:gd name="T72" fmla="*/ 3239 w 6201"/>
                  <a:gd name="T73" fmla="*/ 3263 h 4918"/>
                  <a:gd name="T74" fmla="*/ 4378 w 6201"/>
                  <a:gd name="T75" fmla="*/ 3279 h 4918"/>
                  <a:gd name="T76" fmla="*/ 5124 w 6201"/>
                  <a:gd name="T77" fmla="*/ 3317 h 4918"/>
                  <a:gd name="T78" fmla="*/ 5544 w 6201"/>
                  <a:gd name="T79" fmla="*/ 3506 h 4918"/>
                  <a:gd name="T80" fmla="*/ 5939 w 6201"/>
                  <a:gd name="T81" fmla="*/ 3832 h 4918"/>
                  <a:gd name="T82" fmla="*/ 5544 w 6201"/>
                  <a:gd name="T83" fmla="*/ 4552 h 4918"/>
                  <a:gd name="T84" fmla="*/ 4772 w 6201"/>
                  <a:gd name="T85" fmla="*/ 1781 h 4918"/>
                  <a:gd name="T86" fmla="*/ 3019 w 6201"/>
                  <a:gd name="T87" fmla="*/ 2065 h 4918"/>
                  <a:gd name="T88" fmla="*/ 378 w 6201"/>
                  <a:gd name="T89" fmla="*/ 2119 h 4918"/>
                  <a:gd name="T90" fmla="*/ 3563 w 6201"/>
                  <a:gd name="T91" fmla="*/ 2115 h 4918"/>
                  <a:gd name="T92" fmla="*/ 2861 w 6201"/>
                  <a:gd name="T93" fmla="*/ 2209 h 4918"/>
                  <a:gd name="T94" fmla="*/ 2306 w 6201"/>
                  <a:gd name="T95" fmla="*/ 2308 h 4918"/>
                  <a:gd name="T96" fmla="*/ 4016 w 6201"/>
                  <a:gd name="T97" fmla="*/ 2502 h 4918"/>
                  <a:gd name="T98" fmla="*/ 5523 w 6201"/>
                  <a:gd name="T99" fmla="*/ 2523 h 4918"/>
                  <a:gd name="T100" fmla="*/ 4422 w 6201"/>
                  <a:gd name="T101" fmla="*/ 2724 h 4918"/>
                  <a:gd name="T102" fmla="*/ 4125 w 6201"/>
                  <a:gd name="T103" fmla="*/ 2840 h 4918"/>
                  <a:gd name="T104" fmla="*/ 5365 w 6201"/>
                  <a:gd name="T105" fmla="*/ 3135 h 4918"/>
                  <a:gd name="T106" fmla="*/ 4285 w 6201"/>
                  <a:gd name="T107" fmla="*/ 3499 h 4918"/>
                  <a:gd name="T108" fmla="*/ 763 w 6201"/>
                  <a:gd name="T109" fmla="*/ 3683 h 4918"/>
                  <a:gd name="T110" fmla="*/ 832 w 6201"/>
                  <a:gd name="T111" fmla="*/ 3848 h 4918"/>
                  <a:gd name="T112" fmla="*/ 811 w 6201"/>
                  <a:gd name="T113" fmla="*/ 3860 h 4918"/>
                  <a:gd name="T114" fmla="*/ 903 w 6201"/>
                  <a:gd name="T115" fmla="*/ 3966 h 4918"/>
                  <a:gd name="T116" fmla="*/ 5970 w 6201"/>
                  <a:gd name="T117" fmla="*/ 4387 h 4918"/>
                  <a:gd name="T118" fmla="*/ 6116 w 6201"/>
                  <a:gd name="T119" fmla="*/ 4316 h 4918"/>
                  <a:gd name="T120" fmla="*/ 1016 w 6201"/>
                  <a:gd name="T121" fmla="*/ 4111 h 4918"/>
                  <a:gd name="T122" fmla="*/ 6041 w 6201"/>
                  <a:gd name="T123" fmla="*/ 4210 h 4918"/>
                  <a:gd name="T124" fmla="*/ 5377 w 6201"/>
                  <a:gd name="T125" fmla="*/ 4481 h 4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01" h="4918">
                    <a:moveTo>
                      <a:pt x="4389" y="1099"/>
                    </a:moveTo>
                    <a:lnTo>
                      <a:pt x="4368" y="1082"/>
                    </a:lnTo>
                    <a:lnTo>
                      <a:pt x="4323" y="1122"/>
                    </a:lnTo>
                    <a:lnTo>
                      <a:pt x="4205" y="1144"/>
                    </a:lnTo>
                    <a:lnTo>
                      <a:pt x="4205" y="1139"/>
                    </a:lnTo>
                    <a:lnTo>
                      <a:pt x="4226" y="1106"/>
                    </a:lnTo>
                    <a:lnTo>
                      <a:pt x="4189" y="1087"/>
                    </a:lnTo>
                    <a:lnTo>
                      <a:pt x="4172" y="1099"/>
                    </a:lnTo>
                    <a:lnTo>
                      <a:pt x="4134" y="1087"/>
                    </a:lnTo>
                    <a:lnTo>
                      <a:pt x="4141" y="1082"/>
                    </a:lnTo>
                    <a:lnTo>
                      <a:pt x="4134" y="1070"/>
                    </a:lnTo>
                    <a:lnTo>
                      <a:pt x="4158" y="1066"/>
                    </a:lnTo>
                    <a:lnTo>
                      <a:pt x="4120" y="1070"/>
                    </a:lnTo>
                    <a:lnTo>
                      <a:pt x="4087" y="1044"/>
                    </a:lnTo>
                    <a:lnTo>
                      <a:pt x="4104" y="1070"/>
                    </a:lnTo>
                    <a:lnTo>
                      <a:pt x="4134" y="1082"/>
                    </a:lnTo>
                    <a:lnTo>
                      <a:pt x="4120" y="1087"/>
                    </a:lnTo>
                    <a:lnTo>
                      <a:pt x="4125" y="1099"/>
                    </a:lnTo>
                    <a:lnTo>
                      <a:pt x="4066" y="1106"/>
                    </a:lnTo>
                    <a:lnTo>
                      <a:pt x="4044" y="1049"/>
                    </a:lnTo>
                    <a:lnTo>
                      <a:pt x="4033" y="1066"/>
                    </a:lnTo>
                    <a:lnTo>
                      <a:pt x="4049" y="1082"/>
                    </a:lnTo>
                    <a:lnTo>
                      <a:pt x="4054" y="1106"/>
                    </a:lnTo>
                    <a:lnTo>
                      <a:pt x="4016" y="1106"/>
                    </a:lnTo>
                    <a:lnTo>
                      <a:pt x="3978" y="1066"/>
                    </a:lnTo>
                    <a:lnTo>
                      <a:pt x="3990" y="1070"/>
                    </a:lnTo>
                    <a:lnTo>
                      <a:pt x="3978" y="1087"/>
                    </a:lnTo>
                    <a:lnTo>
                      <a:pt x="3990" y="1099"/>
                    </a:lnTo>
                    <a:lnTo>
                      <a:pt x="3957" y="1106"/>
                    </a:lnTo>
                    <a:lnTo>
                      <a:pt x="3924" y="1082"/>
                    </a:lnTo>
                    <a:lnTo>
                      <a:pt x="3936" y="1106"/>
                    </a:lnTo>
                    <a:lnTo>
                      <a:pt x="3974" y="1122"/>
                    </a:lnTo>
                    <a:lnTo>
                      <a:pt x="3936" y="1122"/>
                    </a:lnTo>
                    <a:lnTo>
                      <a:pt x="3834" y="1111"/>
                    </a:lnTo>
                    <a:lnTo>
                      <a:pt x="3827" y="1099"/>
                    </a:lnTo>
                    <a:lnTo>
                      <a:pt x="3839" y="1087"/>
                    </a:lnTo>
                    <a:lnTo>
                      <a:pt x="3818" y="1070"/>
                    </a:lnTo>
                    <a:lnTo>
                      <a:pt x="3834" y="1087"/>
                    </a:lnTo>
                    <a:lnTo>
                      <a:pt x="3811" y="1099"/>
                    </a:lnTo>
                    <a:lnTo>
                      <a:pt x="3811" y="1111"/>
                    </a:lnTo>
                    <a:lnTo>
                      <a:pt x="3759" y="1099"/>
                    </a:lnTo>
                    <a:lnTo>
                      <a:pt x="3747" y="1070"/>
                    </a:lnTo>
                    <a:lnTo>
                      <a:pt x="3747" y="1099"/>
                    </a:lnTo>
                    <a:lnTo>
                      <a:pt x="3759" y="1111"/>
                    </a:lnTo>
                    <a:lnTo>
                      <a:pt x="3688" y="1106"/>
                    </a:lnTo>
                    <a:lnTo>
                      <a:pt x="3693" y="1087"/>
                    </a:lnTo>
                    <a:lnTo>
                      <a:pt x="3676" y="1070"/>
                    </a:lnTo>
                    <a:lnTo>
                      <a:pt x="3688" y="1044"/>
                    </a:lnTo>
                    <a:lnTo>
                      <a:pt x="3671" y="1054"/>
                    </a:lnTo>
                    <a:lnTo>
                      <a:pt x="3676" y="1082"/>
                    </a:lnTo>
                    <a:lnTo>
                      <a:pt x="3671" y="1106"/>
                    </a:lnTo>
                    <a:lnTo>
                      <a:pt x="3671" y="1082"/>
                    </a:lnTo>
                    <a:lnTo>
                      <a:pt x="3655" y="1106"/>
                    </a:lnTo>
                    <a:lnTo>
                      <a:pt x="3600" y="1082"/>
                    </a:lnTo>
                    <a:lnTo>
                      <a:pt x="3617" y="1066"/>
                    </a:lnTo>
                    <a:lnTo>
                      <a:pt x="3612" y="1044"/>
                    </a:lnTo>
                    <a:lnTo>
                      <a:pt x="3688" y="1000"/>
                    </a:lnTo>
                    <a:lnTo>
                      <a:pt x="3676" y="1000"/>
                    </a:lnTo>
                    <a:lnTo>
                      <a:pt x="3801" y="988"/>
                    </a:lnTo>
                    <a:lnTo>
                      <a:pt x="3773" y="988"/>
                    </a:lnTo>
                    <a:lnTo>
                      <a:pt x="3796" y="978"/>
                    </a:lnTo>
                    <a:lnTo>
                      <a:pt x="3773" y="971"/>
                    </a:lnTo>
                    <a:lnTo>
                      <a:pt x="3796" y="962"/>
                    </a:lnTo>
                    <a:lnTo>
                      <a:pt x="3742" y="962"/>
                    </a:lnTo>
                    <a:lnTo>
                      <a:pt x="3730" y="955"/>
                    </a:lnTo>
                    <a:lnTo>
                      <a:pt x="3742" y="943"/>
                    </a:lnTo>
                    <a:lnTo>
                      <a:pt x="3742" y="933"/>
                    </a:lnTo>
                    <a:lnTo>
                      <a:pt x="3704" y="917"/>
                    </a:lnTo>
                    <a:lnTo>
                      <a:pt x="3709" y="889"/>
                    </a:lnTo>
                    <a:lnTo>
                      <a:pt x="3773" y="884"/>
                    </a:lnTo>
                    <a:lnTo>
                      <a:pt x="3827" y="889"/>
                    </a:lnTo>
                    <a:lnTo>
                      <a:pt x="3855" y="905"/>
                    </a:lnTo>
                    <a:lnTo>
                      <a:pt x="3881" y="943"/>
                    </a:lnTo>
                    <a:lnTo>
                      <a:pt x="3872" y="955"/>
                    </a:lnTo>
                    <a:lnTo>
                      <a:pt x="3886" y="943"/>
                    </a:lnTo>
                    <a:lnTo>
                      <a:pt x="3962" y="971"/>
                    </a:lnTo>
                    <a:lnTo>
                      <a:pt x="3957" y="955"/>
                    </a:lnTo>
                    <a:lnTo>
                      <a:pt x="4033" y="962"/>
                    </a:lnTo>
                    <a:lnTo>
                      <a:pt x="4011" y="943"/>
                    </a:lnTo>
                    <a:lnTo>
                      <a:pt x="4049" y="933"/>
                    </a:lnTo>
                    <a:lnTo>
                      <a:pt x="4104" y="877"/>
                    </a:lnTo>
                    <a:lnTo>
                      <a:pt x="4096" y="860"/>
                    </a:lnTo>
                    <a:lnTo>
                      <a:pt x="4120" y="851"/>
                    </a:lnTo>
                    <a:lnTo>
                      <a:pt x="4082" y="860"/>
                    </a:lnTo>
                    <a:lnTo>
                      <a:pt x="4087" y="877"/>
                    </a:lnTo>
                    <a:lnTo>
                      <a:pt x="4044" y="922"/>
                    </a:lnTo>
                    <a:lnTo>
                      <a:pt x="4000" y="938"/>
                    </a:lnTo>
                    <a:lnTo>
                      <a:pt x="3941" y="938"/>
                    </a:lnTo>
                    <a:lnTo>
                      <a:pt x="3936" y="933"/>
                    </a:lnTo>
                    <a:lnTo>
                      <a:pt x="3962" y="905"/>
                    </a:lnTo>
                    <a:lnTo>
                      <a:pt x="3936" y="922"/>
                    </a:lnTo>
                    <a:lnTo>
                      <a:pt x="3903" y="905"/>
                    </a:lnTo>
                    <a:lnTo>
                      <a:pt x="3924" y="889"/>
                    </a:lnTo>
                    <a:lnTo>
                      <a:pt x="3903" y="889"/>
                    </a:lnTo>
                    <a:lnTo>
                      <a:pt x="3974" y="884"/>
                    </a:lnTo>
                    <a:lnTo>
                      <a:pt x="3893" y="884"/>
                    </a:lnTo>
                    <a:lnTo>
                      <a:pt x="3881" y="877"/>
                    </a:lnTo>
                    <a:lnTo>
                      <a:pt x="3924" y="851"/>
                    </a:lnTo>
                    <a:lnTo>
                      <a:pt x="3978" y="851"/>
                    </a:lnTo>
                    <a:lnTo>
                      <a:pt x="3919" y="851"/>
                    </a:lnTo>
                    <a:lnTo>
                      <a:pt x="3924" y="834"/>
                    </a:lnTo>
                    <a:lnTo>
                      <a:pt x="3990" y="834"/>
                    </a:lnTo>
                    <a:lnTo>
                      <a:pt x="3936" y="827"/>
                    </a:lnTo>
                    <a:lnTo>
                      <a:pt x="3941" y="811"/>
                    </a:lnTo>
                    <a:lnTo>
                      <a:pt x="3957" y="811"/>
                    </a:lnTo>
                    <a:lnTo>
                      <a:pt x="3936" y="806"/>
                    </a:lnTo>
                    <a:lnTo>
                      <a:pt x="3957" y="773"/>
                    </a:lnTo>
                    <a:lnTo>
                      <a:pt x="3924" y="794"/>
                    </a:lnTo>
                    <a:lnTo>
                      <a:pt x="3936" y="811"/>
                    </a:lnTo>
                    <a:lnTo>
                      <a:pt x="3893" y="844"/>
                    </a:lnTo>
                    <a:lnTo>
                      <a:pt x="3839" y="851"/>
                    </a:lnTo>
                    <a:lnTo>
                      <a:pt x="3839" y="834"/>
                    </a:lnTo>
                    <a:lnTo>
                      <a:pt x="3865" y="827"/>
                    </a:lnTo>
                    <a:lnTo>
                      <a:pt x="3872" y="806"/>
                    </a:lnTo>
                    <a:lnTo>
                      <a:pt x="3848" y="827"/>
                    </a:lnTo>
                    <a:lnTo>
                      <a:pt x="3801" y="844"/>
                    </a:lnTo>
                    <a:lnTo>
                      <a:pt x="3747" y="844"/>
                    </a:lnTo>
                    <a:lnTo>
                      <a:pt x="3780" y="827"/>
                    </a:lnTo>
                    <a:lnTo>
                      <a:pt x="3747" y="827"/>
                    </a:lnTo>
                    <a:lnTo>
                      <a:pt x="3747" y="794"/>
                    </a:lnTo>
                    <a:lnTo>
                      <a:pt x="3780" y="778"/>
                    </a:lnTo>
                    <a:lnTo>
                      <a:pt x="3796" y="778"/>
                    </a:lnTo>
                    <a:lnTo>
                      <a:pt x="3780" y="773"/>
                    </a:lnTo>
                    <a:lnTo>
                      <a:pt x="3796" y="749"/>
                    </a:lnTo>
                    <a:lnTo>
                      <a:pt x="3924" y="716"/>
                    </a:lnTo>
                    <a:lnTo>
                      <a:pt x="4016" y="733"/>
                    </a:lnTo>
                    <a:lnTo>
                      <a:pt x="4108" y="773"/>
                    </a:lnTo>
                    <a:lnTo>
                      <a:pt x="4120" y="773"/>
                    </a:lnTo>
                    <a:lnTo>
                      <a:pt x="4096" y="756"/>
                    </a:lnTo>
                    <a:lnTo>
                      <a:pt x="4125" y="749"/>
                    </a:lnTo>
                    <a:lnTo>
                      <a:pt x="4082" y="749"/>
                    </a:lnTo>
                    <a:lnTo>
                      <a:pt x="4049" y="733"/>
                    </a:lnTo>
                    <a:lnTo>
                      <a:pt x="4158" y="733"/>
                    </a:lnTo>
                    <a:lnTo>
                      <a:pt x="4158" y="711"/>
                    </a:lnTo>
                    <a:lnTo>
                      <a:pt x="4172" y="700"/>
                    </a:lnTo>
                    <a:lnTo>
                      <a:pt x="4104" y="723"/>
                    </a:lnTo>
                    <a:lnTo>
                      <a:pt x="3945" y="700"/>
                    </a:lnTo>
                    <a:lnTo>
                      <a:pt x="3941" y="695"/>
                    </a:lnTo>
                    <a:lnTo>
                      <a:pt x="3962" y="683"/>
                    </a:lnTo>
                    <a:lnTo>
                      <a:pt x="4000" y="700"/>
                    </a:lnTo>
                    <a:lnTo>
                      <a:pt x="4044" y="700"/>
                    </a:lnTo>
                    <a:lnTo>
                      <a:pt x="3995" y="678"/>
                    </a:lnTo>
                    <a:lnTo>
                      <a:pt x="4000" y="667"/>
                    </a:lnTo>
                    <a:lnTo>
                      <a:pt x="3974" y="678"/>
                    </a:lnTo>
                    <a:lnTo>
                      <a:pt x="3962" y="638"/>
                    </a:lnTo>
                    <a:lnTo>
                      <a:pt x="3936" y="629"/>
                    </a:lnTo>
                    <a:lnTo>
                      <a:pt x="3924" y="605"/>
                    </a:lnTo>
                    <a:lnTo>
                      <a:pt x="3827" y="584"/>
                    </a:lnTo>
                    <a:lnTo>
                      <a:pt x="3827" y="556"/>
                    </a:lnTo>
                    <a:lnTo>
                      <a:pt x="3834" y="551"/>
                    </a:lnTo>
                    <a:lnTo>
                      <a:pt x="3910" y="556"/>
                    </a:lnTo>
                    <a:lnTo>
                      <a:pt x="3827" y="544"/>
                    </a:lnTo>
                    <a:lnTo>
                      <a:pt x="3811" y="527"/>
                    </a:lnTo>
                    <a:lnTo>
                      <a:pt x="3818" y="494"/>
                    </a:lnTo>
                    <a:lnTo>
                      <a:pt x="4011" y="501"/>
                    </a:lnTo>
                    <a:lnTo>
                      <a:pt x="4125" y="567"/>
                    </a:lnTo>
                    <a:lnTo>
                      <a:pt x="4141" y="589"/>
                    </a:lnTo>
                    <a:lnTo>
                      <a:pt x="4163" y="605"/>
                    </a:lnTo>
                    <a:lnTo>
                      <a:pt x="4151" y="605"/>
                    </a:lnTo>
                    <a:lnTo>
                      <a:pt x="4158" y="612"/>
                    </a:lnTo>
                    <a:lnTo>
                      <a:pt x="4179" y="605"/>
                    </a:lnTo>
                    <a:lnTo>
                      <a:pt x="4233" y="612"/>
                    </a:lnTo>
                    <a:lnTo>
                      <a:pt x="4285" y="600"/>
                    </a:lnTo>
                    <a:lnTo>
                      <a:pt x="4297" y="589"/>
                    </a:lnTo>
                    <a:lnTo>
                      <a:pt x="4217" y="600"/>
                    </a:lnTo>
                    <a:lnTo>
                      <a:pt x="4172" y="589"/>
                    </a:lnTo>
                    <a:lnTo>
                      <a:pt x="4163" y="556"/>
                    </a:lnTo>
                    <a:lnTo>
                      <a:pt x="4179" y="551"/>
                    </a:lnTo>
                    <a:lnTo>
                      <a:pt x="4125" y="544"/>
                    </a:lnTo>
                    <a:lnTo>
                      <a:pt x="4054" y="494"/>
                    </a:lnTo>
                    <a:lnTo>
                      <a:pt x="4264" y="456"/>
                    </a:lnTo>
                    <a:lnTo>
                      <a:pt x="4422" y="444"/>
                    </a:lnTo>
                    <a:lnTo>
                      <a:pt x="4281" y="440"/>
                    </a:lnTo>
                    <a:lnTo>
                      <a:pt x="4378" y="416"/>
                    </a:lnTo>
                    <a:lnTo>
                      <a:pt x="4529" y="400"/>
                    </a:lnTo>
                    <a:lnTo>
                      <a:pt x="4352" y="400"/>
                    </a:lnTo>
                    <a:lnTo>
                      <a:pt x="4352" y="378"/>
                    </a:lnTo>
                    <a:lnTo>
                      <a:pt x="4389" y="350"/>
                    </a:lnTo>
                    <a:lnTo>
                      <a:pt x="4503" y="307"/>
                    </a:lnTo>
                    <a:lnTo>
                      <a:pt x="4406" y="329"/>
                    </a:lnTo>
                    <a:lnTo>
                      <a:pt x="4356" y="362"/>
                    </a:lnTo>
                    <a:lnTo>
                      <a:pt x="4314" y="345"/>
                    </a:lnTo>
                    <a:lnTo>
                      <a:pt x="4340" y="362"/>
                    </a:lnTo>
                    <a:lnTo>
                      <a:pt x="4323" y="378"/>
                    </a:lnTo>
                    <a:lnTo>
                      <a:pt x="4335" y="383"/>
                    </a:lnTo>
                    <a:lnTo>
                      <a:pt x="4302" y="407"/>
                    </a:lnTo>
                    <a:lnTo>
                      <a:pt x="4210" y="435"/>
                    </a:lnTo>
                    <a:lnTo>
                      <a:pt x="4066" y="456"/>
                    </a:lnTo>
                    <a:lnTo>
                      <a:pt x="4054" y="444"/>
                    </a:lnTo>
                    <a:lnTo>
                      <a:pt x="4158" y="407"/>
                    </a:lnTo>
                    <a:lnTo>
                      <a:pt x="4044" y="435"/>
                    </a:lnTo>
                    <a:lnTo>
                      <a:pt x="4028" y="423"/>
                    </a:lnTo>
                    <a:lnTo>
                      <a:pt x="4054" y="407"/>
                    </a:lnTo>
                    <a:lnTo>
                      <a:pt x="4049" y="407"/>
                    </a:lnTo>
                    <a:lnTo>
                      <a:pt x="4011" y="416"/>
                    </a:lnTo>
                    <a:lnTo>
                      <a:pt x="4016" y="440"/>
                    </a:lnTo>
                    <a:lnTo>
                      <a:pt x="4011" y="456"/>
                    </a:lnTo>
                    <a:lnTo>
                      <a:pt x="3924" y="461"/>
                    </a:lnTo>
                    <a:lnTo>
                      <a:pt x="3865" y="456"/>
                    </a:lnTo>
                    <a:lnTo>
                      <a:pt x="3886" y="440"/>
                    </a:lnTo>
                    <a:lnTo>
                      <a:pt x="3848" y="456"/>
                    </a:lnTo>
                    <a:lnTo>
                      <a:pt x="3801" y="444"/>
                    </a:lnTo>
                    <a:lnTo>
                      <a:pt x="3886" y="383"/>
                    </a:lnTo>
                    <a:lnTo>
                      <a:pt x="4108" y="345"/>
                    </a:lnTo>
                    <a:lnTo>
                      <a:pt x="3881" y="367"/>
                    </a:lnTo>
                    <a:lnTo>
                      <a:pt x="3834" y="390"/>
                    </a:lnTo>
                    <a:lnTo>
                      <a:pt x="3773" y="440"/>
                    </a:lnTo>
                    <a:lnTo>
                      <a:pt x="3747" y="440"/>
                    </a:lnTo>
                    <a:lnTo>
                      <a:pt x="3617" y="390"/>
                    </a:lnTo>
                    <a:lnTo>
                      <a:pt x="3811" y="378"/>
                    </a:lnTo>
                    <a:lnTo>
                      <a:pt x="3945" y="329"/>
                    </a:lnTo>
                    <a:lnTo>
                      <a:pt x="3763" y="362"/>
                    </a:lnTo>
                    <a:lnTo>
                      <a:pt x="3584" y="378"/>
                    </a:lnTo>
                    <a:lnTo>
                      <a:pt x="3558" y="350"/>
                    </a:lnTo>
                    <a:lnTo>
                      <a:pt x="3579" y="333"/>
                    </a:lnTo>
                    <a:lnTo>
                      <a:pt x="3650" y="333"/>
                    </a:lnTo>
                    <a:lnTo>
                      <a:pt x="3579" y="324"/>
                    </a:lnTo>
                    <a:lnTo>
                      <a:pt x="3655" y="291"/>
                    </a:lnTo>
                    <a:lnTo>
                      <a:pt x="3773" y="296"/>
                    </a:lnTo>
                    <a:lnTo>
                      <a:pt x="3693" y="279"/>
                    </a:lnTo>
                    <a:lnTo>
                      <a:pt x="3546" y="312"/>
                    </a:lnTo>
                    <a:lnTo>
                      <a:pt x="3515" y="307"/>
                    </a:lnTo>
                    <a:lnTo>
                      <a:pt x="3612" y="272"/>
                    </a:lnTo>
                    <a:lnTo>
                      <a:pt x="3558" y="256"/>
                    </a:lnTo>
                    <a:lnTo>
                      <a:pt x="3478" y="291"/>
                    </a:lnTo>
                    <a:lnTo>
                      <a:pt x="3478" y="279"/>
                    </a:lnTo>
                    <a:lnTo>
                      <a:pt x="3440" y="267"/>
                    </a:lnTo>
                    <a:lnTo>
                      <a:pt x="3546" y="222"/>
                    </a:lnTo>
                    <a:lnTo>
                      <a:pt x="3600" y="218"/>
                    </a:lnTo>
                    <a:lnTo>
                      <a:pt x="3622" y="239"/>
                    </a:lnTo>
                    <a:lnTo>
                      <a:pt x="3633" y="222"/>
                    </a:lnTo>
                    <a:lnTo>
                      <a:pt x="3617" y="218"/>
                    </a:lnTo>
                    <a:lnTo>
                      <a:pt x="3650" y="218"/>
                    </a:lnTo>
                    <a:lnTo>
                      <a:pt x="3638" y="213"/>
                    </a:lnTo>
                    <a:lnTo>
                      <a:pt x="3709" y="185"/>
                    </a:lnTo>
                    <a:lnTo>
                      <a:pt x="3763" y="196"/>
                    </a:lnTo>
                    <a:lnTo>
                      <a:pt x="3773" y="201"/>
                    </a:lnTo>
                    <a:lnTo>
                      <a:pt x="3763" y="213"/>
                    </a:lnTo>
                    <a:lnTo>
                      <a:pt x="3801" y="222"/>
                    </a:lnTo>
                    <a:lnTo>
                      <a:pt x="3780" y="213"/>
                    </a:lnTo>
                    <a:lnTo>
                      <a:pt x="3796" y="196"/>
                    </a:lnTo>
                    <a:lnTo>
                      <a:pt x="3834" y="196"/>
                    </a:lnTo>
                    <a:lnTo>
                      <a:pt x="3893" y="234"/>
                    </a:lnTo>
                    <a:lnTo>
                      <a:pt x="3881" y="213"/>
                    </a:lnTo>
                    <a:lnTo>
                      <a:pt x="3919" y="213"/>
                    </a:lnTo>
                    <a:lnTo>
                      <a:pt x="3941" y="222"/>
                    </a:lnTo>
                    <a:lnTo>
                      <a:pt x="3924" y="213"/>
                    </a:lnTo>
                    <a:lnTo>
                      <a:pt x="3936" y="213"/>
                    </a:lnTo>
                    <a:lnTo>
                      <a:pt x="3957" y="222"/>
                    </a:lnTo>
                    <a:lnTo>
                      <a:pt x="3936" y="201"/>
                    </a:lnTo>
                    <a:lnTo>
                      <a:pt x="3811" y="185"/>
                    </a:lnTo>
                    <a:lnTo>
                      <a:pt x="3796" y="168"/>
                    </a:lnTo>
                    <a:lnTo>
                      <a:pt x="3903" y="156"/>
                    </a:lnTo>
                    <a:lnTo>
                      <a:pt x="3893" y="140"/>
                    </a:lnTo>
                    <a:lnTo>
                      <a:pt x="3865" y="128"/>
                    </a:lnTo>
                    <a:lnTo>
                      <a:pt x="3924" y="123"/>
                    </a:lnTo>
                    <a:lnTo>
                      <a:pt x="4033" y="144"/>
                    </a:lnTo>
                    <a:lnTo>
                      <a:pt x="4070" y="185"/>
                    </a:lnTo>
                    <a:lnTo>
                      <a:pt x="4054" y="196"/>
                    </a:lnTo>
                    <a:lnTo>
                      <a:pt x="4151" y="201"/>
                    </a:lnTo>
                    <a:lnTo>
                      <a:pt x="4096" y="185"/>
                    </a:lnTo>
                    <a:lnTo>
                      <a:pt x="4066" y="163"/>
                    </a:lnTo>
                    <a:lnTo>
                      <a:pt x="4096" y="156"/>
                    </a:lnTo>
                    <a:lnTo>
                      <a:pt x="4335" y="234"/>
                    </a:lnTo>
                    <a:lnTo>
                      <a:pt x="4285" y="201"/>
                    </a:lnTo>
                    <a:lnTo>
                      <a:pt x="4226" y="196"/>
                    </a:lnTo>
                    <a:lnTo>
                      <a:pt x="4210" y="185"/>
                    </a:lnTo>
                    <a:lnTo>
                      <a:pt x="4217" y="180"/>
                    </a:lnTo>
                    <a:lnTo>
                      <a:pt x="4151" y="163"/>
                    </a:lnTo>
                    <a:lnTo>
                      <a:pt x="4087" y="140"/>
                    </a:lnTo>
                    <a:lnTo>
                      <a:pt x="4104" y="111"/>
                    </a:lnTo>
                    <a:lnTo>
                      <a:pt x="4172" y="111"/>
                    </a:lnTo>
                    <a:lnTo>
                      <a:pt x="4108" y="95"/>
                    </a:lnTo>
                    <a:lnTo>
                      <a:pt x="4125" y="90"/>
                    </a:lnTo>
                    <a:lnTo>
                      <a:pt x="4233" y="107"/>
                    </a:lnTo>
                    <a:lnTo>
                      <a:pt x="4163" y="69"/>
                    </a:lnTo>
                    <a:lnTo>
                      <a:pt x="4172" y="57"/>
                    </a:lnTo>
                    <a:lnTo>
                      <a:pt x="4248" y="69"/>
                    </a:lnTo>
                    <a:lnTo>
                      <a:pt x="4285" y="90"/>
                    </a:lnTo>
                    <a:lnTo>
                      <a:pt x="4297" y="90"/>
                    </a:lnTo>
                    <a:lnTo>
                      <a:pt x="4281" y="85"/>
                    </a:lnTo>
                    <a:lnTo>
                      <a:pt x="4378" y="85"/>
                    </a:lnTo>
                    <a:lnTo>
                      <a:pt x="4285" y="74"/>
                    </a:lnTo>
                    <a:lnTo>
                      <a:pt x="4281" y="69"/>
                    </a:lnTo>
                    <a:lnTo>
                      <a:pt x="4302" y="57"/>
                    </a:lnTo>
                    <a:lnTo>
                      <a:pt x="4248" y="52"/>
                    </a:lnTo>
                    <a:lnTo>
                      <a:pt x="4285" y="36"/>
                    </a:lnTo>
                    <a:lnTo>
                      <a:pt x="4318" y="36"/>
                    </a:lnTo>
                    <a:lnTo>
                      <a:pt x="4340" y="52"/>
                    </a:lnTo>
                    <a:lnTo>
                      <a:pt x="4373" y="36"/>
                    </a:lnTo>
                    <a:lnTo>
                      <a:pt x="4378" y="41"/>
                    </a:lnTo>
                    <a:lnTo>
                      <a:pt x="4378" y="57"/>
                    </a:lnTo>
                    <a:lnTo>
                      <a:pt x="4411" y="57"/>
                    </a:lnTo>
                    <a:lnTo>
                      <a:pt x="4406" y="52"/>
                    </a:lnTo>
                    <a:lnTo>
                      <a:pt x="4432" y="41"/>
                    </a:lnTo>
                    <a:lnTo>
                      <a:pt x="4567" y="95"/>
                    </a:lnTo>
                    <a:lnTo>
                      <a:pt x="4541" y="128"/>
                    </a:lnTo>
                    <a:lnTo>
                      <a:pt x="4604" y="95"/>
                    </a:lnTo>
                    <a:lnTo>
                      <a:pt x="4536" y="74"/>
                    </a:lnTo>
                    <a:lnTo>
                      <a:pt x="4557" y="69"/>
                    </a:lnTo>
                    <a:lnTo>
                      <a:pt x="4460" y="29"/>
                    </a:lnTo>
                    <a:lnTo>
                      <a:pt x="4474" y="17"/>
                    </a:lnTo>
                    <a:lnTo>
                      <a:pt x="4663" y="17"/>
                    </a:lnTo>
                    <a:lnTo>
                      <a:pt x="4713" y="52"/>
                    </a:lnTo>
                    <a:lnTo>
                      <a:pt x="4798" y="85"/>
                    </a:lnTo>
                    <a:lnTo>
                      <a:pt x="4805" y="74"/>
                    </a:lnTo>
                    <a:lnTo>
                      <a:pt x="4718" y="41"/>
                    </a:lnTo>
                    <a:lnTo>
                      <a:pt x="4798" y="12"/>
                    </a:lnTo>
                    <a:lnTo>
                      <a:pt x="4859" y="12"/>
                    </a:lnTo>
                    <a:lnTo>
                      <a:pt x="4864" y="12"/>
                    </a:lnTo>
                    <a:lnTo>
                      <a:pt x="4852" y="29"/>
                    </a:lnTo>
                    <a:lnTo>
                      <a:pt x="4918" y="52"/>
                    </a:lnTo>
                    <a:lnTo>
                      <a:pt x="4874" y="29"/>
                    </a:lnTo>
                    <a:lnTo>
                      <a:pt x="4961" y="0"/>
                    </a:lnTo>
                    <a:lnTo>
                      <a:pt x="5020" y="17"/>
                    </a:lnTo>
                    <a:lnTo>
                      <a:pt x="5015" y="29"/>
                    </a:lnTo>
                    <a:lnTo>
                      <a:pt x="5053" y="17"/>
                    </a:lnTo>
                    <a:lnTo>
                      <a:pt x="5107" y="29"/>
                    </a:lnTo>
                    <a:lnTo>
                      <a:pt x="5107" y="41"/>
                    </a:lnTo>
                    <a:lnTo>
                      <a:pt x="5237" y="41"/>
                    </a:lnTo>
                    <a:lnTo>
                      <a:pt x="5074" y="95"/>
                    </a:lnTo>
                    <a:lnTo>
                      <a:pt x="5162" y="90"/>
                    </a:lnTo>
                    <a:lnTo>
                      <a:pt x="5275" y="57"/>
                    </a:lnTo>
                    <a:lnTo>
                      <a:pt x="5322" y="69"/>
                    </a:lnTo>
                    <a:lnTo>
                      <a:pt x="5306" y="69"/>
                    </a:lnTo>
                    <a:lnTo>
                      <a:pt x="5322" y="57"/>
                    </a:lnTo>
                    <a:lnTo>
                      <a:pt x="5306" y="52"/>
                    </a:lnTo>
                    <a:lnTo>
                      <a:pt x="5355" y="41"/>
                    </a:lnTo>
                    <a:lnTo>
                      <a:pt x="5339" y="52"/>
                    </a:lnTo>
                    <a:lnTo>
                      <a:pt x="5365" y="69"/>
                    </a:lnTo>
                    <a:lnTo>
                      <a:pt x="5436" y="57"/>
                    </a:lnTo>
                    <a:lnTo>
                      <a:pt x="5448" y="69"/>
                    </a:lnTo>
                    <a:lnTo>
                      <a:pt x="5415" y="85"/>
                    </a:lnTo>
                    <a:lnTo>
                      <a:pt x="5474" y="107"/>
                    </a:lnTo>
                    <a:lnTo>
                      <a:pt x="5462" y="123"/>
                    </a:lnTo>
                    <a:lnTo>
                      <a:pt x="5448" y="128"/>
                    </a:lnTo>
                    <a:lnTo>
                      <a:pt x="5528" y="111"/>
                    </a:lnTo>
                    <a:lnTo>
                      <a:pt x="5516" y="123"/>
                    </a:lnTo>
                    <a:lnTo>
                      <a:pt x="5575" y="123"/>
                    </a:lnTo>
                    <a:lnTo>
                      <a:pt x="5608" y="144"/>
                    </a:lnTo>
                    <a:lnTo>
                      <a:pt x="5599" y="163"/>
                    </a:lnTo>
                    <a:lnTo>
                      <a:pt x="5523" y="201"/>
                    </a:lnTo>
                    <a:lnTo>
                      <a:pt x="5415" y="239"/>
                    </a:lnTo>
                    <a:lnTo>
                      <a:pt x="5377" y="234"/>
                    </a:lnTo>
                    <a:lnTo>
                      <a:pt x="5393" y="251"/>
                    </a:lnTo>
                    <a:lnTo>
                      <a:pt x="5377" y="251"/>
                    </a:lnTo>
                    <a:lnTo>
                      <a:pt x="5313" y="251"/>
                    </a:lnTo>
                    <a:lnTo>
                      <a:pt x="5259" y="256"/>
                    </a:lnTo>
                    <a:lnTo>
                      <a:pt x="5306" y="256"/>
                    </a:lnTo>
                    <a:lnTo>
                      <a:pt x="5275" y="272"/>
                    </a:lnTo>
                    <a:lnTo>
                      <a:pt x="5107" y="279"/>
                    </a:lnTo>
                    <a:lnTo>
                      <a:pt x="5025" y="256"/>
                    </a:lnTo>
                    <a:lnTo>
                      <a:pt x="5096" y="279"/>
                    </a:lnTo>
                    <a:lnTo>
                      <a:pt x="5058" y="279"/>
                    </a:lnTo>
                    <a:lnTo>
                      <a:pt x="5079" y="291"/>
                    </a:lnTo>
                    <a:lnTo>
                      <a:pt x="5214" y="291"/>
                    </a:lnTo>
                    <a:lnTo>
                      <a:pt x="4966" y="345"/>
                    </a:lnTo>
                    <a:lnTo>
                      <a:pt x="5004" y="345"/>
                    </a:lnTo>
                    <a:lnTo>
                      <a:pt x="4973" y="362"/>
                    </a:lnTo>
                    <a:lnTo>
                      <a:pt x="4982" y="362"/>
                    </a:lnTo>
                    <a:lnTo>
                      <a:pt x="5285" y="291"/>
                    </a:lnTo>
                    <a:lnTo>
                      <a:pt x="5360" y="279"/>
                    </a:lnTo>
                    <a:lnTo>
                      <a:pt x="5365" y="296"/>
                    </a:lnTo>
                    <a:lnTo>
                      <a:pt x="5176" y="383"/>
                    </a:lnTo>
                    <a:lnTo>
                      <a:pt x="5145" y="390"/>
                    </a:lnTo>
                    <a:lnTo>
                      <a:pt x="5150" y="390"/>
                    </a:lnTo>
                    <a:lnTo>
                      <a:pt x="5053" y="444"/>
                    </a:lnTo>
                    <a:lnTo>
                      <a:pt x="5020" y="478"/>
                    </a:lnTo>
                    <a:lnTo>
                      <a:pt x="4961" y="489"/>
                    </a:lnTo>
                    <a:lnTo>
                      <a:pt x="4966" y="473"/>
                    </a:lnTo>
                    <a:lnTo>
                      <a:pt x="4961" y="473"/>
                    </a:lnTo>
                    <a:lnTo>
                      <a:pt x="4918" y="444"/>
                    </a:lnTo>
                    <a:lnTo>
                      <a:pt x="4944" y="473"/>
                    </a:lnTo>
                    <a:lnTo>
                      <a:pt x="4949" y="489"/>
                    </a:lnTo>
                    <a:lnTo>
                      <a:pt x="4982" y="501"/>
                    </a:lnTo>
                    <a:lnTo>
                      <a:pt x="4966" y="511"/>
                    </a:lnTo>
                    <a:lnTo>
                      <a:pt x="4859" y="527"/>
                    </a:lnTo>
                    <a:lnTo>
                      <a:pt x="4810" y="511"/>
                    </a:lnTo>
                    <a:lnTo>
                      <a:pt x="4843" y="527"/>
                    </a:lnTo>
                    <a:lnTo>
                      <a:pt x="4810" y="527"/>
                    </a:lnTo>
                    <a:lnTo>
                      <a:pt x="4810" y="534"/>
                    </a:lnTo>
                    <a:lnTo>
                      <a:pt x="4944" y="527"/>
                    </a:lnTo>
                    <a:lnTo>
                      <a:pt x="4874" y="556"/>
                    </a:lnTo>
                    <a:lnTo>
                      <a:pt x="4911" y="567"/>
                    </a:lnTo>
                    <a:lnTo>
                      <a:pt x="4897" y="584"/>
                    </a:lnTo>
                    <a:lnTo>
                      <a:pt x="4822" y="600"/>
                    </a:lnTo>
                    <a:lnTo>
                      <a:pt x="4772" y="589"/>
                    </a:lnTo>
                    <a:lnTo>
                      <a:pt x="4767" y="572"/>
                    </a:lnTo>
                    <a:lnTo>
                      <a:pt x="4772" y="572"/>
                    </a:lnTo>
                    <a:lnTo>
                      <a:pt x="4680" y="567"/>
                    </a:lnTo>
                    <a:lnTo>
                      <a:pt x="4642" y="567"/>
                    </a:lnTo>
                    <a:lnTo>
                      <a:pt x="4746" y="584"/>
                    </a:lnTo>
                    <a:lnTo>
                      <a:pt x="4755" y="612"/>
                    </a:lnTo>
                    <a:lnTo>
                      <a:pt x="4718" y="629"/>
                    </a:lnTo>
                    <a:lnTo>
                      <a:pt x="4696" y="612"/>
                    </a:lnTo>
                    <a:lnTo>
                      <a:pt x="4701" y="629"/>
                    </a:lnTo>
                    <a:lnTo>
                      <a:pt x="4692" y="638"/>
                    </a:lnTo>
                    <a:lnTo>
                      <a:pt x="4637" y="622"/>
                    </a:lnTo>
                    <a:lnTo>
                      <a:pt x="4626" y="629"/>
                    </a:lnTo>
                    <a:lnTo>
                      <a:pt x="4637" y="638"/>
                    </a:lnTo>
                    <a:lnTo>
                      <a:pt x="4626" y="645"/>
                    </a:lnTo>
                    <a:lnTo>
                      <a:pt x="4481" y="612"/>
                    </a:lnTo>
                    <a:lnTo>
                      <a:pt x="4474" y="622"/>
                    </a:lnTo>
                    <a:lnTo>
                      <a:pt x="4541" y="629"/>
                    </a:lnTo>
                    <a:lnTo>
                      <a:pt x="4550" y="645"/>
                    </a:lnTo>
                    <a:lnTo>
                      <a:pt x="4567" y="645"/>
                    </a:lnTo>
                    <a:lnTo>
                      <a:pt x="4498" y="645"/>
                    </a:lnTo>
                    <a:lnTo>
                      <a:pt x="4465" y="629"/>
                    </a:lnTo>
                    <a:lnTo>
                      <a:pt x="4481" y="655"/>
                    </a:lnTo>
                    <a:lnTo>
                      <a:pt x="4411" y="645"/>
                    </a:lnTo>
                    <a:lnTo>
                      <a:pt x="4465" y="662"/>
                    </a:lnTo>
                    <a:lnTo>
                      <a:pt x="4460" y="667"/>
                    </a:lnTo>
                    <a:lnTo>
                      <a:pt x="4663" y="667"/>
                    </a:lnTo>
                    <a:lnTo>
                      <a:pt x="4642" y="678"/>
                    </a:lnTo>
                    <a:lnTo>
                      <a:pt x="4663" y="695"/>
                    </a:lnTo>
                    <a:lnTo>
                      <a:pt x="4583" y="695"/>
                    </a:lnTo>
                    <a:lnTo>
                      <a:pt x="4550" y="678"/>
                    </a:lnTo>
                    <a:lnTo>
                      <a:pt x="4432" y="667"/>
                    </a:lnTo>
                    <a:lnTo>
                      <a:pt x="4406" y="678"/>
                    </a:lnTo>
                    <a:lnTo>
                      <a:pt x="4550" y="695"/>
                    </a:lnTo>
                    <a:lnTo>
                      <a:pt x="4448" y="700"/>
                    </a:lnTo>
                    <a:lnTo>
                      <a:pt x="4356" y="695"/>
                    </a:lnTo>
                    <a:lnTo>
                      <a:pt x="4444" y="700"/>
                    </a:lnTo>
                    <a:lnTo>
                      <a:pt x="4406" y="740"/>
                    </a:lnTo>
                    <a:lnTo>
                      <a:pt x="4432" y="711"/>
                    </a:lnTo>
                    <a:lnTo>
                      <a:pt x="4512" y="700"/>
                    </a:lnTo>
                    <a:lnTo>
                      <a:pt x="4583" y="711"/>
                    </a:lnTo>
                    <a:lnTo>
                      <a:pt x="4529" y="733"/>
                    </a:lnTo>
                    <a:lnTo>
                      <a:pt x="4604" y="723"/>
                    </a:lnTo>
                    <a:lnTo>
                      <a:pt x="4642" y="733"/>
                    </a:lnTo>
                    <a:lnTo>
                      <a:pt x="4649" y="749"/>
                    </a:lnTo>
                    <a:lnTo>
                      <a:pt x="4637" y="756"/>
                    </a:lnTo>
                    <a:lnTo>
                      <a:pt x="4642" y="773"/>
                    </a:lnTo>
                    <a:lnTo>
                      <a:pt x="4626" y="778"/>
                    </a:lnTo>
                    <a:lnTo>
                      <a:pt x="4512" y="778"/>
                    </a:lnTo>
                    <a:lnTo>
                      <a:pt x="4595" y="794"/>
                    </a:lnTo>
                    <a:lnTo>
                      <a:pt x="4626" y="811"/>
                    </a:lnTo>
                    <a:lnTo>
                      <a:pt x="4588" y="834"/>
                    </a:lnTo>
                    <a:lnTo>
                      <a:pt x="4498" y="834"/>
                    </a:lnTo>
                    <a:lnTo>
                      <a:pt x="4588" y="844"/>
                    </a:lnTo>
                    <a:lnTo>
                      <a:pt x="4567" y="867"/>
                    </a:lnTo>
                    <a:lnTo>
                      <a:pt x="4541" y="860"/>
                    </a:lnTo>
                    <a:lnTo>
                      <a:pt x="4498" y="877"/>
                    </a:lnTo>
                    <a:lnTo>
                      <a:pt x="4406" y="867"/>
                    </a:lnTo>
                    <a:lnTo>
                      <a:pt x="4389" y="877"/>
                    </a:lnTo>
                    <a:lnTo>
                      <a:pt x="4422" y="889"/>
                    </a:lnTo>
                    <a:lnTo>
                      <a:pt x="4422" y="905"/>
                    </a:lnTo>
                    <a:lnTo>
                      <a:pt x="4432" y="922"/>
                    </a:lnTo>
                    <a:lnTo>
                      <a:pt x="4406" y="962"/>
                    </a:lnTo>
                    <a:lnTo>
                      <a:pt x="4335" y="971"/>
                    </a:lnTo>
                    <a:lnTo>
                      <a:pt x="4248" y="971"/>
                    </a:lnTo>
                    <a:lnTo>
                      <a:pt x="4189" y="955"/>
                    </a:lnTo>
                    <a:lnTo>
                      <a:pt x="4141" y="917"/>
                    </a:lnTo>
                    <a:lnTo>
                      <a:pt x="4141" y="922"/>
                    </a:lnTo>
                    <a:lnTo>
                      <a:pt x="4163" y="938"/>
                    </a:lnTo>
                    <a:lnTo>
                      <a:pt x="4158" y="955"/>
                    </a:lnTo>
                    <a:lnTo>
                      <a:pt x="4196" y="971"/>
                    </a:lnTo>
                    <a:lnTo>
                      <a:pt x="4125" y="971"/>
                    </a:lnTo>
                    <a:lnTo>
                      <a:pt x="4151" y="995"/>
                    </a:lnTo>
                    <a:lnTo>
                      <a:pt x="4196" y="978"/>
                    </a:lnTo>
                    <a:lnTo>
                      <a:pt x="4271" y="988"/>
                    </a:lnTo>
                    <a:lnTo>
                      <a:pt x="4248" y="1000"/>
                    </a:lnTo>
                    <a:lnTo>
                      <a:pt x="4297" y="978"/>
                    </a:lnTo>
                    <a:lnTo>
                      <a:pt x="4335" y="988"/>
                    </a:lnTo>
                    <a:lnTo>
                      <a:pt x="4352" y="1000"/>
                    </a:lnTo>
                    <a:lnTo>
                      <a:pt x="4318" y="1028"/>
                    </a:lnTo>
                    <a:lnTo>
                      <a:pt x="4356" y="1028"/>
                    </a:lnTo>
                    <a:lnTo>
                      <a:pt x="4356" y="1044"/>
                    </a:lnTo>
                    <a:lnTo>
                      <a:pt x="4368" y="1044"/>
                    </a:lnTo>
                    <a:lnTo>
                      <a:pt x="4394" y="1016"/>
                    </a:lnTo>
                    <a:lnTo>
                      <a:pt x="4427" y="1028"/>
                    </a:lnTo>
                    <a:lnTo>
                      <a:pt x="4432" y="1066"/>
                    </a:lnTo>
                    <a:lnTo>
                      <a:pt x="4389" y="1099"/>
                    </a:lnTo>
                    <a:lnTo>
                      <a:pt x="4389" y="1099"/>
                    </a:lnTo>
                    <a:lnTo>
                      <a:pt x="4389" y="1099"/>
                    </a:lnTo>
                    <a:close/>
                    <a:moveTo>
                      <a:pt x="3456" y="279"/>
                    </a:moveTo>
                    <a:lnTo>
                      <a:pt x="3440" y="272"/>
                    </a:lnTo>
                    <a:lnTo>
                      <a:pt x="3461" y="279"/>
                    </a:lnTo>
                    <a:lnTo>
                      <a:pt x="3456" y="279"/>
                    </a:lnTo>
                    <a:lnTo>
                      <a:pt x="3456" y="279"/>
                    </a:lnTo>
                    <a:lnTo>
                      <a:pt x="3456" y="279"/>
                    </a:lnTo>
                    <a:close/>
                    <a:moveTo>
                      <a:pt x="3655" y="844"/>
                    </a:moveTo>
                    <a:lnTo>
                      <a:pt x="3633" y="827"/>
                    </a:lnTo>
                    <a:lnTo>
                      <a:pt x="3579" y="766"/>
                    </a:lnTo>
                    <a:lnTo>
                      <a:pt x="3570" y="778"/>
                    </a:lnTo>
                    <a:lnTo>
                      <a:pt x="3579" y="794"/>
                    </a:lnTo>
                    <a:lnTo>
                      <a:pt x="3596" y="806"/>
                    </a:lnTo>
                    <a:lnTo>
                      <a:pt x="3617" y="834"/>
                    </a:lnTo>
                    <a:lnTo>
                      <a:pt x="3563" y="811"/>
                    </a:lnTo>
                    <a:lnTo>
                      <a:pt x="3525" y="811"/>
                    </a:lnTo>
                    <a:lnTo>
                      <a:pt x="3558" y="834"/>
                    </a:lnTo>
                    <a:lnTo>
                      <a:pt x="3546" y="844"/>
                    </a:lnTo>
                    <a:lnTo>
                      <a:pt x="3433" y="827"/>
                    </a:lnTo>
                    <a:lnTo>
                      <a:pt x="3402" y="811"/>
                    </a:lnTo>
                    <a:lnTo>
                      <a:pt x="3369" y="789"/>
                    </a:lnTo>
                    <a:lnTo>
                      <a:pt x="3461" y="778"/>
                    </a:lnTo>
                    <a:lnTo>
                      <a:pt x="3381" y="766"/>
                    </a:lnTo>
                    <a:lnTo>
                      <a:pt x="3348" y="773"/>
                    </a:lnTo>
                    <a:lnTo>
                      <a:pt x="3310" y="740"/>
                    </a:lnTo>
                    <a:lnTo>
                      <a:pt x="3364" y="740"/>
                    </a:lnTo>
                    <a:lnTo>
                      <a:pt x="3310" y="733"/>
                    </a:lnTo>
                    <a:lnTo>
                      <a:pt x="3277" y="711"/>
                    </a:lnTo>
                    <a:lnTo>
                      <a:pt x="3348" y="678"/>
                    </a:lnTo>
                    <a:lnTo>
                      <a:pt x="3546" y="667"/>
                    </a:lnTo>
                    <a:lnTo>
                      <a:pt x="3418" y="667"/>
                    </a:lnTo>
                    <a:lnTo>
                      <a:pt x="3385" y="662"/>
                    </a:lnTo>
                    <a:lnTo>
                      <a:pt x="3504" y="645"/>
                    </a:lnTo>
                    <a:lnTo>
                      <a:pt x="3423" y="655"/>
                    </a:lnTo>
                    <a:lnTo>
                      <a:pt x="3395" y="645"/>
                    </a:lnTo>
                    <a:lnTo>
                      <a:pt x="3418" y="638"/>
                    </a:lnTo>
                    <a:lnTo>
                      <a:pt x="3381" y="638"/>
                    </a:lnTo>
                    <a:lnTo>
                      <a:pt x="3364" y="629"/>
                    </a:lnTo>
                    <a:lnTo>
                      <a:pt x="3352" y="629"/>
                    </a:lnTo>
                    <a:lnTo>
                      <a:pt x="3364" y="645"/>
                    </a:lnTo>
                    <a:lnTo>
                      <a:pt x="3348" y="645"/>
                    </a:lnTo>
                    <a:lnTo>
                      <a:pt x="3348" y="638"/>
                    </a:lnTo>
                    <a:lnTo>
                      <a:pt x="3343" y="638"/>
                    </a:lnTo>
                    <a:lnTo>
                      <a:pt x="3310" y="662"/>
                    </a:lnTo>
                    <a:lnTo>
                      <a:pt x="3289" y="662"/>
                    </a:lnTo>
                    <a:lnTo>
                      <a:pt x="3293" y="645"/>
                    </a:lnTo>
                    <a:lnTo>
                      <a:pt x="3272" y="638"/>
                    </a:lnTo>
                    <a:lnTo>
                      <a:pt x="3260" y="638"/>
                    </a:lnTo>
                    <a:lnTo>
                      <a:pt x="3272" y="645"/>
                    </a:lnTo>
                    <a:lnTo>
                      <a:pt x="3260" y="655"/>
                    </a:lnTo>
                    <a:lnTo>
                      <a:pt x="3222" y="662"/>
                    </a:lnTo>
                    <a:lnTo>
                      <a:pt x="3208" y="645"/>
                    </a:lnTo>
                    <a:lnTo>
                      <a:pt x="3170" y="638"/>
                    </a:lnTo>
                    <a:lnTo>
                      <a:pt x="3180" y="622"/>
                    </a:lnTo>
                    <a:lnTo>
                      <a:pt x="3244" y="605"/>
                    </a:lnTo>
                    <a:lnTo>
                      <a:pt x="3277" y="584"/>
                    </a:lnTo>
                    <a:lnTo>
                      <a:pt x="3170" y="600"/>
                    </a:lnTo>
                    <a:lnTo>
                      <a:pt x="3116" y="567"/>
                    </a:lnTo>
                    <a:lnTo>
                      <a:pt x="3147" y="556"/>
                    </a:lnTo>
                    <a:lnTo>
                      <a:pt x="3109" y="544"/>
                    </a:lnTo>
                    <a:lnTo>
                      <a:pt x="3133" y="534"/>
                    </a:lnTo>
                    <a:lnTo>
                      <a:pt x="3100" y="527"/>
                    </a:lnTo>
                    <a:lnTo>
                      <a:pt x="3133" y="518"/>
                    </a:lnTo>
                    <a:lnTo>
                      <a:pt x="3272" y="551"/>
                    </a:lnTo>
                    <a:lnTo>
                      <a:pt x="3244" y="527"/>
                    </a:lnTo>
                    <a:lnTo>
                      <a:pt x="3293" y="518"/>
                    </a:lnTo>
                    <a:lnTo>
                      <a:pt x="3201" y="527"/>
                    </a:lnTo>
                    <a:lnTo>
                      <a:pt x="3180" y="518"/>
                    </a:lnTo>
                    <a:lnTo>
                      <a:pt x="3208" y="501"/>
                    </a:lnTo>
                    <a:lnTo>
                      <a:pt x="3163" y="511"/>
                    </a:lnTo>
                    <a:lnTo>
                      <a:pt x="3109" y="489"/>
                    </a:lnTo>
                    <a:lnTo>
                      <a:pt x="3192" y="489"/>
                    </a:lnTo>
                    <a:lnTo>
                      <a:pt x="3170" y="473"/>
                    </a:lnTo>
                    <a:lnTo>
                      <a:pt x="3154" y="444"/>
                    </a:lnTo>
                    <a:lnTo>
                      <a:pt x="3310" y="456"/>
                    </a:lnTo>
                    <a:lnTo>
                      <a:pt x="3244" y="435"/>
                    </a:lnTo>
                    <a:lnTo>
                      <a:pt x="3289" y="423"/>
                    </a:lnTo>
                    <a:lnTo>
                      <a:pt x="3185" y="407"/>
                    </a:lnTo>
                    <a:lnTo>
                      <a:pt x="3218" y="400"/>
                    </a:lnTo>
                    <a:lnTo>
                      <a:pt x="3192" y="390"/>
                    </a:lnTo>
                    <a:lnTo>
                      <a:pt x="3218" y="378"/>
                    </a:lnTo>
                    <a:lnTo>
                      <a:pt x="3244" y="367"/>
                    </a:lnTo>
                    <a:lnTo>
                      <a:pt x="3272" y="383"/>
                    </a:lnTo>
                    <a:lnTo>
                      <a:pt x="3298" y="367"/>
                    </a:lnTo>
                    <a:lnTo>
                      <a:pt x="3277" y="362"/>
                    </a:lnTo>
                    <a:lnTo>
                      <a:pt x="3348" y="362"/>
                    </a:lnTo>
                    <a:lnTo>
                      <a:pt x="3364" y="350"/>
                    </a:lnTo>
                    <a:lnTo>
                      <a:pt x="3272" y="329"/>
                    </a:lnTo>
                    <a:lnTo>
                      <a:pt x="3289" y="312"/>
                    </a:lnTo>
                    <a:lnTo>
                      <a:pt x="3331" y="324"/>
                    </a:lnTo>
                    <a:lnTo>
                      <a:pt x="3331" y="312"/>
                    </a:lnTo>
                    <a:lnTo>
                      <a:pt x="3449" y="345"/>
                    </a:lnTo>
                    <a:lnTo>
                      <a:pt x="3456" y="362"/>
                    </a:lnTo>
                    <a:lnTo>
                      <a:pt x="3440" y="367"/>
                    </a:lnTo>
                    <a:lnTo>
                      <a:pt x="3470" y="378"/>
                    </a:lnTo>
                    <a:lnTo>
                      <a:pt x="3504" y="416"/>
                    </a:lnTo>
                    <a:lnTo>
                      <a:pt x="3532" y="440"/>
                    </a:lnTo>
                    <a:lnTo>
                      <a:pt x="3525" y="444"/>
                    </a:lnTo>
                    <a:lnTo>
                      <a:pt x="3596" y="473"/>
                    </a:lnTo>
                    <a:lnTo>
                      <a:pt x="3596" y="456"/>
                    </a:lnTo>
                    <a:lnTo>
                      <a:pt x="3633" y="456"/>
                    </a:lnTo>
                    <a:lnTo>
                      <a:pt x="3638" y="473"/>
                    </a:lnTo>
                    <a:lnTo>
                      <a:pt x="3633" y="478"/>
                    </a:lnTo>
                    <a:lnTo>
                      <a:pt x="3638" y="478"/>
                    </a:lnTo>
                    <a:lnTo>
                      <a:pt x="3633" y="494"/>
                    </a:lnTo>
                    <a:lnTo>
                      <a:pt x="3667" y="527"/>
                    </a:lnTo>
                    <a:lnTo>
                      <a:pt x="3709" y="527"/>
                    </a:lnTo>
                    <a:lnTo>
                      <a:pt x="3704" y="511"/>
                    </a:lnTo>
                    <a:lnTo>
                      <a:pt x="3671" y="501"/>
                    </a:lnTo>
                    <a:lnTo>
                      <a:pt x="3671" y="478"/>
                    </a:lnTo>
                    <a:lnTo>
                      <a:pt x="3742" y="478"/>
                    </a:lnTo>
                    <a:lnTo>
                      <a:pt x="3747" y="511"/>
                    </a:lnTo>
                    <a:lnTo>
                      <a:pt x="3709" y="527"/>
                    </a:lnTo>
                    <a:lnTo>
                      <a:pt x="3773" y="534"/>
                    </a:lnTo>
                    <a:lnTo>
                      <a:pt x="3785" y="551"/>
                    </a:lnTo>
                    <a:lnTo>
                      <a:pt x="3759" y="572"/>
                    </a:lnTo>
                    <a:lnTo>
                      <a:pt x="3785" y="556"/>
                    </a:lnTo>
                    <a:lnTo>
                      <a:pt x="3780" y="605"/>
                    </a:lnTo>
                    <a:lnTo>
                      <a:pt x="3759" y="622"/>
                    </a:lnTo>
                    <a:lnTo>
                      <a:pt x="3785" y="605"/>
                    </a:lnTo>
                    <a:lnTo>
                      <a:pt x="3801" y="622"/>
                    </a:lnTo>
                    <a:lnTo>
                      <a:pt x="3811" y="612"/>
                    </a:lnTo>
                    <a:lnTo>
                      <a:pt x="3801" y="605"/>
                    </a:lnTo>
                    <a:lnTo>
                      <a:pt x="3834" y="605"/>
                    </a:lnTo>
                    <a:lnTo>
                      <a:pt x="3855" y="612"/>
                    </a:lnTo>
                    <a:lnTo>
                      <a:pt x="3855" y="629"/>
                    </a:lnTo>
                    <a:lnTo>
                      <a:pt x="3848" y="629"/>
                    </a:lnTo>
                    <a:lnTo>
                      <a:pt x="3855" y="638"/>
                    </a:lnTo>
                    <a:lnTo>
                      <a:pt x="3872" y="605"/>
                    </a:lnTo>
                    <a:lnTo>
                      <a:pt x="3881" y="605"/>
                    </a:lnTo>
                    <a:lnTo>
                      <a:pt x="3936" y="662"/>
                    </a:lnTo>
                    <a:lnTo>
                      <a:pt x="3827" y="695"/>
                    </a:lnTo>
                    <a:lnTo>
                      <a:pt x="3811" y="711"/>
                    </a:lnTo>
                    <a:lnTo>
                      <a:pt x="3785" y="695"/>
                    </a:lnTo>
                    <a:lnTo>
                      <a:pt x="3785" y="716"/>
                    </a:lnTo>
                    <a:lnTo>
                      <a:pt x="3747" y="766"/>
                    </a:lnTo>
                    <a:lnTo>
                      <a:pt x="3721" y="733"/>
                    </a:lnTo>
                    <a:lnTo>
                      <a:pt x="3721" y="711"/>
                    </a:lnTo>
                    <a:lnTo>
                      <a:pt x="3742" y="695"/>
                    </a:lnTo>
                    <a:lnTo>
                      <a:pt x="3709" y="711"/>
                    </a:lnTo>
                    <a:lnTo>
                      <a:pt x="3704" y="740"/>
                    </a:lnTo>
                    <a:lnTo>
                      <a:pt x="3726" y="778"/>
                    </a:lnTo>
                    <a:lnTo>
                      <a:pt x="3704" y="794"/>
                    </a:lnTo>
                    <a:lnTo>
                      <a:pt x="3676" y="773"/>
                    </a:lnTo>
                    <a:lnTo>
                      <a:pt x="3667" y="766"/>
                    </a:lnTo>
                    <a:lnTo>
                      <a:pt x="3676" y="794"/>
                    </a:lnTo>
                    <a:lnTo>
                      <a:pt x="3655" y="844"/>
                    </a:lnTo>
                    <a:lnTo>
                      <a:pt x="3655" y="844"/>
                    </a:lnTo>
                    <a:lnTo>
                      <a:pt x="3655" y="844"/>
                    </a:lnTo>
                    <a:close/>
                    <a:moveTo>
                      <a:pt x="3222" y="435"/>
                    </a:moveTo>
                    <a:lnTo>
                      <a:pt x="3234" y="440"/>
                    </a:lnTo>
                    <a:lnTo>
                      <a:pt x="3147" y="435"/>
                    </a:lnTo>
                    <a:lnTo>
                      <a:pt x="3222" y="435"/>
                    </a:lnTo>
                    <a:lnTo>
                      <a:pt x="3222" y="435"/>
                    </a:lnTo>
                    <a:lnTo>
                      <a:pt x="3222" y="435"/>
                    </a:lnTo>
                    <a:close/>
                    <a:moveTo>
                      <a:pt x="2965" y="600"/>
                    </a:moveTo>
                    <a:lnTo>
                      <a:pt x="2920" y="584"/>
                    </a:lnTo>
                    <a:lnTo>
                      <a:pt x="2920" y="567"/>
                    </a:lnTo>
                    <a:lnTo>
                      <a:pt x="2868" y="567"/>
                    </a:lnTo>
                    <a:lnTo>
                      <a:pt x="2861" y="534"/>
                    </a:lnTo>
                    <a:lnTo>
                      <a:pt x="2894" y="518"/>
                    </a:lnTo>
                    <a:lnTo>
                      <a:pt x="2953" y="534"/>
                    </a:lnTo>
                    <a:lnTo>
                      <a:pt x="2970" y="551"/>
                    </a:lnTo>
                    <a:lnTo>
                      <a:pt x="2970" y="572"/>
                    </a:lnTo>
                    <a:lnTo>
                      <a:pt x="2965" y="600"/>
                    </a:lnTo>
                    <a:lnTo>
                      <a:pt x="2965" y="600"/>
                    </a:lnTo>
                    <a:lnTo>
                      <a:pt x="2965" y="600"/>
                    </a:lnTo>
                    <a:close/>
                    <a:moveTo>
                      <a:pt x="2608" y="749"/>
                    </a:moveTo>
                    <a:lnTo>
                      <a:pt x="2613" y="740"/>
                    </a:lnTo>
                    <a:lnTo>
                      <a:pt x="2587" y="740"/>
                    </a:lnTo>
                    <a:lnTo>
                      <a:pt x="2608" y="723"/>
                    </a:lnTo>
                    <a:lnTo>
                      <a:pt x="2587" y="711"/>
                    </a:lnTo>
                    <a:lnTo>
                      <a:pt x="2521" y="740"/>
                    </a:lnTo>
                    <a:lnTo>
                      <a:pt x="2542" y="700"/>
                    </a:lnTo>
                    <a:lnTo>
                      <a:pt x="2483" y="700"/>
                    </a:lnTo>
                    <a:lnTo>
                      <a:pt x="2483" y="678"/>
                    </a:lnTo>
                    <a:lnTo>
                      <a:pt x="2490" y="655"/>
                    </a:lnTo>
                    <a:lnTo>
                      <a:pt x="2596" y="645"/>
                    </a:lnTo>
                    <a:lnTo>
                      <a:pt x="2663" y="662"/>
                    </a:lnTo>
                    <a:lnTo>
                      <a:pt x="2693" y="695"/>
                    </a:lnTo>
                    <a:lnTo>
                      <a:pt x="2684" y="716"/>
                    </a:lnTo>
                    <a:lnTo>
                      <a:pt x="2700" y="723"/>
                    </a:lnTo>
                    <a:lnTo>
                      <a:pt x="2705" y="700"/>
                    </a:lnTo>
                    <a:lnTo>
                      <a:pt x="2759" y="695"/>
                    </a:lnTo>
                    <a:lnTo>
                      <a:pt x="2807" y="716"/>
                    </a:lnTo>
                    <a:lnTo>
                      <a:pt x="2793" y="740"/>
                    </a:lnTo>
                    <a:lnTo>
                      <a:pt x="2856" y="733"/>
                    </a:lnTo>
                    <a:lnTo>
                      <a:pt x="2882" y="756"/>
                    </a:lnTo>
                    <a:lnTo>
                      <a:pt x="2878" y="766"/>
                    </a:lnTo>
                    <a:lnTo>
                      <a:pt x="2911" y="773"/>
                    </a:lnTo>
                    <a:lnTo>
                      <a:pt x="2882" y="794"/>
                    </a:lnTo>
                    <a:lnTo>
                      <a:pt x="2894" y="806"/>
                    </a:lnTo>
                    <a:lnTo>
                      <a:pt x="2894" y="822"/>
                    </a:lnTo>
                    <a:lnTo>
                      <a:pt x="2911" y="822"/>
                    </a:lnTo>
                    <a:lnTo>
                      <a:pt x="2948" y="851"/>
                    </a:lnTo>
                    <a:lnTo>
                      <a:pt x="2937" y="867"/>
                    </a:lnTo>
                    <a:lnTo>
                      <a:pt x="2948" y="884"/>
                    </a:lnTo>
                    <a:lnTo>
                      <a:pt x="2882" y="900"/>
                    </a:lnTo>
                    <a:lnTo>
                      <a:pt x="2830" y="884"/>
                    </a:lnTo>
                    <a:lnTo>
                      <a:pt x="2807" y="834"/>
                    </a:lnTo>
                    <a:lnTo>
                      <a:pt x="2731" y="822"/>
                    </a:lnTo>
                    <a:lnTo>
                      <a:pt x="2693" y="827"/>
                    </a:lnTo>
                    <a:lnTo>
                      <a:pt x="2679" y="822"/>
                    </a:lnTo>
                    <a:lnTo>
                      <a:pt x="2693" y="806"/>
                    </a:lnTo>
                    <a:lnTo>
                      <a:pt x="2679" y="806"/>
                    </a:lnTo>
                    <a:lnTo>
                      <a:pt x="2596" y="827"/>
                    </a:lnTo>
                    <a:lnTo>
                      <a:pt x="2570" y="822"/>
                    </a:lnTo>
                    <a:lnTo>
                      <a:pt x="2521" y="789"/>
                    </a:lnTo>
                    <a:lnTo>
                      <a:pt x="2542" y="773"/>
                    </a:lnTo>
                    <a:lnTo>
                      <a:pt x="2630" y="789"/>
                    </a:lnTo>
                    <a:lnTo>
                      <a:pt x="2641" y="766"/>
                    </a:lnTo>
                    <a:lnTo>
                      <a:pt x="2592" y="766"/>
                    </a:lnTo>
                    <a:lnTo>
                      <a:pt x="2646" y="749"/>
                    </a:lnTo>
                    <a:lnTo>
                      <a:pt x="2608" y="749"/>
                    </a:lnTo>
                    <a:lnTo>
                      <a:pt x="2608" y="749"/>
                    </a:lnTo>
                    <a:lnTo>
                      <a:pt x="2608" y="749"/>
                    </a:lnTo>
                    <a:close/>
                    <a:moveTo>
                      <a:pt x="3865" y="695"/>
                    </a:moveTo>
                    <a:lnTo>
                      <a:pt x="3919" y="700"/>
                    </a:lnTo>
                    <a:lnTo>
                      <a:pt x="3827" y="723"/>
                    </a:lnTo>
                    <a:lnTo>
                      <a:pt x="3865" y="695"/>
                    </a:lnTo>
                    <a:lnTo>
                      <a:pt x="3865" y="695"/>
                    </a:lnTo>
                    <a:lnTo>
                      <a:pt x="3865" y="695"/>
                    </a:lnTo>
                    <a:close/>
                    <a:moveTo>
                      <a:pt x="3100" y="900"/>
                    </a:moveTo>
                    <a:lnTo>
                      <a:pt x="3078" y="889"/>
                    </a:lnTo>
                    <a:lnTo>
                      <a:pt x="3078" y="884"/>
                    </a:lnTo>
                    <a:lnTo>
                      <a:pt x="3083" y="877"/>
                    </a:lnTo>
                    <a:lnTo>
                      <a:pt x="3029" y="860"/>
                    </a:lnTo>
                    <a:lnTo>
                      <a:pt x="3100" y="844"/>
                    </a:lnTo>
                    <a:lnTo>
                      <a:pt x="3019" y="822"/>
                    </a:lnTo>
                    <a:lnTo>
                      <a:pt x="3019" y="806"/>
                    </a:lnTo>
                    <a:lnTo>
                      <a:pt x="2986" y="789"/>
                    </a:lnTo>
                    <a:lnTo>
                      <a:pt x="3019" y="778"/>
                    </a:lnTo>
                    <a:lnTo>
                      <a:pt x="2991" y="766"/>
                    </a:lnTo>
                    <a:lnTo>
                      <a:pt x="2991" y="740"/>
                    </a:lnTo>
                    <a:lnTo>
                      <a:pt x="3029" y="733"/>
                    </a:lnTo>
                    <a:lnTo>
                      <a:pt x="3078" y="749"/>
                    </a:lnTo>
                    <a:lnTo>
                      <a:pt x="3147" y="766"/>
                    </a:lnTo>
                    <a:lnTo>
                      <a:pt x="3147" y="778"/>
                    </a:lnTo>
                    <a:lnTo>
                      <a:pt x="3192" y="778"/>
                    </a:lnTo>
                    <a:lnTo>
                      <a:pt x="3239" y="806"/>
                    </a:lnTo>
                    <a:lnTo>
                      <a:pt x="3201" y="827"/>
                    </a:lnTo>
                    <a:lnTo>
                      <a:pt x="3234" y="844"/>
                    </a:lnTo>
                    <a:lnTo>
                      <a:pt x="3218" y="867"/>
                    </a:lnTo>
                    <a:lnTo>
                      <a:pt x="3116" y="884"/>
                    </a:lnTo>
                    <a:lnTo>
                      <a:pt x="3109" y="884"/>
                    </a:lnTo>
                    <a:lnTo>
                      <a:pt x="3126" y="889"/>
                    </a:lnTo>
                    <a:lnTo>
                      <a:pt x="3100" y="900"/>
                    </a:lnTo>
                    <a:lnTo>
                      <a:pt x="3100" y="900"/>
                    </a:lnTo>
                    <a:lnTo>
                      <a:pt x="3100" y="900"/>
                    </a:lnTo>
                    <a:close/>
                    <a:moveTo>
                      <a:pt x="4675" y="756"/>
                    </a:moveTo>
                    <a:lnTo>
                      <a:pt x="4649" y="749"/>
                    </a:lnTo>
                    <a:lnTo>
                      <a:pt x="4692" y="749"/>
                    </a:lnTo>
                    <a:lnTo>
                      <a:pt x="4675" y="756"/>
                    </a:lnTo>
                    <a:lnTo>
                      <a:pt x="4675" y="756"/>
                    </a:lnTo>
                    <a:lnTo>
                      <a:pt x="4675" y="756"/>
                    </a:lnTo>
                    <a:close/>
                    <a:moveTo>
                      <a:pt x="2067" y="822"/>
                    </a:moveTo>
                    <a:lnTo>
                      <a:pt x="2030" y="806"/>
                    </a:lnTo>
                    <a:lnTo>
                      <a:pt x="1949" y="822"/>
                    </a:lnTo>
                    <a:lnTo>
                      <a:pt x="1944" y="811"/>
                    </a:lnTo>
                    <a:lnTo>
                      <a:pt x="1961" y="794"/>
                    </a:lnTo>
                    <a:lnTo>
                      <a:pt x="2143" y="740"/>
                    </a:lnTo>
                    <a:lnTo>
                      <a:pt x="2230" y="789"/>
                    </a:lnTo>
                    <a:lnTo>
                      <a:pt x="2214" y="822"/>
                    </a:lnTo>
                    <a:lnTo>
                      <a:pt x="2143" y="822"/>
                    </a:lnTo>
                    <a:lnTo>
                      <a:pt x="2100" y="806"/>
                    </a:lnTo>
                    <a:lnTo>
                      <a:pt x="2067" y="822"/>
                    </a:lnTo>
                    <a:lnTo>
                      <a:pt x="2067" y="822"/>
                    </a:lnTo>
                    <a:lnTo>
                      <a:pt x="2067" y="822"/>
                    </a:lnTo>
                    <a:close/>
                    <a:moveTo>
                      <a:pt x="3721" y="794"/>
                    </a:moveTo>
                    <a:lnTo>
                      <a:pt x="3704" y="827"/>
                    </a:lnTo>
                    <a:lnTo>
                      <a:pt x="3688" y="822"/>
                    </a:lnTo>
                    <a:lnTo>
                      <a:pt x="3704" y="794"/>
                    </a:lnTo>
                    <a:lnTo>
                      <a:pt x="3721" y="794"/>
                    </a:lnTo>
                    <a:lnTo>
                      <a:pt x="3721" y="794"/>
                    </a:lnTo>
                    <a:lnTo>
                      <a:pt x="3721" y="794"/>
                    </a:lnTo>
                    <a:close/>
                    <a:moveTo>
                      <a:pt x="3260" y="822"/>
                    </a:moveTo>
                    <a:lnTo>
                      <a:pt x="3277" y="834"/>
                    </a:lnTo>
                    <a:lnTo>
                      <a:pt x="3244" y="822"/>
                    </a:lnTo>
                    <a:lnTo>
                      <a:pt x="3260" y="822"/>
                    </a:lnTo>
                    <a:lnTo>
                      <a:pt x="3260" y="822"/>
                    </a:lnTo>
                    <a:lnTo>
                      <a:pt x="3260" y="822"/>
                    </a:lnTo>
                    <a:close/>
                    <a:moveTo>
                      <a:pt x="2679" y="822"/>
                    </a:moveTo>
                    <a:lnTo>
                      <a:pt x="2684" y="827"/>
                    </a:lnTo>
                    <a:lnTo>
                      <a:pt x="2663" y="844"/>
                    </a:lnTo>
                    <a:lnTo>
                      <a:pt x="2646" y="834"/>
                    </a:lnTo>
                    <a:lnTo>
                      <a:pt x="2679" y="822"/>
                    </a:lnTo>
                    <a:lnTo>
                      <a:pt x="2679" y="822"/>
                    </a:lnTo>
                    <a:lnTo>
                      <a:pt x="2679" y="822"/>
                    </a:lnTo>
                    <a:close/>
                    <a:moveTo>
                      <a:pt x="2759" y="827"/>
                    </a:moveTo>
                    <a:lnTo>
                      <a:pt x="2759" y="834"/>
                    </a:lnTo>
                    <a:lnTo>
                      <a:pt x="2748" y="834"/>
                    </a:lnTo>
                    <a:lnTo>
                      <a:pt x="2759" y="827"/>
                    </a:lnTo>
                    <a:lnTo>
                      <a:pt x="2759" y="827"/>
                    </a:lnTo>
                    <a:lnTo>
                      <a:pt x="2759" y="827"/>
                    </a:lnTo>
                    <a:close/>
                    <a:moveTo>
                      <a:pt x="2030" y="971"/>
                    </a:moveTo>
                    <a:lnTo>
                      <a:pt x="1949" y="938"/>
                    </a:lnTo>
                    <a:lnTo>
                      <a:pt x="1949" y="905"/>
                    </a:lnTo>
                    <a:lnTo>
                      <a:pt x="1944" y="889"/>
                    </a:lnTo>
                    <a:lnTo>
                      <a:pt x="1949" y="877"/>
                    </a:lnTo>
                    <a:lnTo>
                      <a:pt x="2084" y="851"/>
                    </a:lnTo>
                    <a:lnTo>
                      <a:pt x="2209" y="851"/>
                    </a:lnTo>
                    <a:lnTo>
                      <a:pt x="2193" y="867"/>
                    </a:lnTo>
                    <a:lnTo>
                      <a:pt x="2112" y="889"/>
                    </a:lnTo>
                    <a:lnTo>
                      <a:pt x="2129" y="900"/>
                    </a:lnTo>
                    <a:lnTo>
                      <a:pt x="2167" y="900"/>
                    </a:lnTo>
                    <a:lnTo>
                      <a:pt x="2176" y="922"/>
                    </a:lnTo>
                    <a:lnTo>
                      <a:pt x="2159" y="938"/>
                    </a:lnTo>
                    <a:lnTo>
                      <a:pt x="2030" y="971"/>
                    </a:lnTo>
                    <a:lnTo>
                      <a:pt x="2030" y="971"/>
                    </a:lnTo>
                    <a:lnTo>
                      <a:pt x="2030" y="971"/>
                    </a:lnTo>
                    <a:close/>
                    <a:moveTo>
                      <a:pt x="1878" y="905"/>
                    </a:moveTo>
                    <a:lnTo>
                      <a:pt x="1815" y="867"/>
                    </a:lnTo>
                    <a:lnTo>
                      <a:pt x="1874" y="851"/>
                    </a:lnTo>
                    <a:lnTo>
                      <a:pt x="1923" y="889"/>
                    </a:lnTo>
                    <a:lnTo>
                      <a:pt x="1878" y="905"/>
                    </a:lnTo>
                    <a:lnTo>
                      <a:pt x="1878" y="905"/>
                    </a:lnTo>
                    <a:lnTo>
                      <a:pt x="1878" y="905"/>
                    </a:lnTo>
                    <a:close/>
                    <a:moveTo>
                      <a:pt x="2759" y="884"/>
                    </a:moveTo>
                    <a:lnTo>
                      <a:pt x="2807" y="905"/>
                    </a:lnTo>
                    <a:lnTo>
                      <a:pt x="2731" y="917"/>
                    </a:lnTo>
                    <a:lnTo>
                      <a:pt x="2705" y="905"/>
                    </a:lnTo>
                    <a:lnTo>
                      <a:pt x="2700" y="889"/>
                    </a:lnTo>
                    <a:lnTo>
                      <a:pt x="2759" y="884"/>
                    </a:lnTo>
                    <a:lnTo>
                      <a:pt x="2759" y="884"/>
                    </a:lnTo>
                    <a:lnTo>
                      <a:pt x="2759" y="884"/>
                    </a:lnTo>
                    <a:close/>
                    <a:moveTo>
                      <a:pt x="4444" y="884"/>
                    </a:moveTo>
                    <a:lnTo>
                      <a:pt x="4448" y="889"/>
                    </a:lnTo>
                    <a:lnTo>
                      <a:pt x="4422" y="889"/>
                    </a:lnTo>
                    <a:lnTo>
                      <a:pt x="4444" y="884"/>
                    </a:lnTo>
                    <a:lnTo>
                      <a:pt x="4444" y="884"/>
                    </a:lnTo>
                    <a:lnTo>
                      <a:pt x="4444" y="884"/>
                    </a:lnTo>
                    <a:close/>
                    <a:moveTo>
                      <a:pt x="3352" y="905"/>
                    </a:moveTo>
                    <a:lnTo>
                      <a:pt x="3364" y="917"/>
                    </a:lnTo>
                    <a:lnTo>
                      <a:pt x="3343" y="922"/>
                    </a:lnTo>
                    <a:lnTo>
                      <a:pt x="3326" y="943"/>
                    </a:lnTo>
                    <a:lnTo>
                      <a:pt x="3163" y="943"/>
                    </a:lnTo>
                    <a:lnTo>
                      <a:pt x="3133" y="922"/>
                    </a:lnTo>
                    <a:lnTo>
                      <a:pt x="3137" y="917"/>
                    </a:lnTo>
                    <a:lnTo>
                      <a:pt x="3192" y="889"/>
                    </a:lnTo>
                    <a:lnTo>
                      <a:pt x="3201" y="905"/>
                    </a:lnTo>
                    <a:lnTo>
                      <a:pt x="3326" y="900"/>
                    </a:lnTo>
                    <a:lnTo>
                      <a:pt x="3352" y="905"/>
                    </a:lnTo>
                    <a:lnTo>
                      <a:pt x="3352" y="905"/>
                    </a:lnTo>
                    <a:lnTo>
                      <a:pt x="3352" y="905"/>
                    </a:lnTo>
                    <a:close/>
                    <a:moveTo>
                      <a:pt x="2483" y="900"/>
                    </a:moveTo>
                    <a:lnTo>
                      <a:pt x="2521" y="933"/>
                    </a:lnTo>
                    <a:lnTo>
                      <a:pt x="2533" y="943"/>
                    </a:lnTo>
                    <a:lnTo>
                      <a:pt x="2521" y="955"/>
                    </a:lnTo>
                    <a:lnTo>
                      <a:pt x="2542" y="955"/>
                    </a:lnTo>
                    <a:lnTo>
                      <a:pt x="2570" y="988"/>
                    </a:lnTo>
                    <a:lnTo>
                      <a:pt x="2542" y="1000"/>
                    </a:lnTo>
                    <a:lnTo>
                      <a:pt x="2504" y="988"/>
                    </a:lnTo>
                    <a:lnTo>
                      <a:pt x="2483" y="971"/>
                    </a:lnTo>
                    <a:lnTo>
                      <a:pt x="2469" y="922"/>
                    </a:lnTo>
                    <a:lnTo>
                      <a:pt x="2452" y="905"/>
                    </a:lnTo>
                    <a:lnTo>
                      <a:pt x="2483" y="900"/>
                    </a:lnTo>
                    <a:lnTo>
                      <a:pt x="2483" y="900"/>
                    </a:lnTo>
                    <a:lnTo>
                      <a:pt x="2483" y="900"/>
                    </a:lnTo>
                    <a:close/>
                    <a:moveTo>
                      <a:pt x="3546" y="988"/>
                    </a:moveTo>
                    <a:lnTo>
                      <a:pt x="3494" y="962"/>
                    </a:lnTo>
                    <a:lnTo>
                      <a:pt x="3494" y="933"/>
                    </a:lnTo>
                    <a:lnTo>
                      <a:pt x="3515" y="917"/>
                    </a:lnTo>
                    <a:lnTo>
                      <a:pt x="3563" y="922"/>
                    </a:lnTo>
                    <a:lnTo>
                      <a:pt x="3596" y="943"/>
                    </a:lnTo>
                    <a:lnTo>
                      <a:pt x="3600" y="962"/>
                    </a:lnTo>
                    <a:lnTo>
                      <a:pt x="3546" y="988"/>
                    </a:lnTo>
                    <a:lnTo>
                      <a:pt x="3546" y="988"/>
                    </a:lnTo>
                    <a:lnTo>
                      <a:pt x="3546" y="988"/>
                    </a:lnTo>
                    <a:close/>
                    <a:moveTo>
                      <a:pt x="3910" y="933"/>
                    </a:moveTo>
                    <a:lnTo>
                      <a:pt x="3941" y="938"/>
                    </a:lnTo>
                    <a:lnTo>
                      <a:pt x="3919" y="943"/>
                    </a:lnTo>
                    <a:lnTo>
                      <a:pt x="3886" y="933"/>
                    </a:lnTo>
                    <a:lnTo>
                      <a:pt x="3910" y="933"/>
                    </a:lnTo>
                    <a:lnTo>
                      <a:pt x="3910" y="933"/>
                    </a:lnTo>
                    <a:lnTo>
                      <a:pt x="3910" y="933"/>
                    </a:lnTo>
                    <a:close/>
                    <a:moveTo>
                      <a:pt x="1734" y="1082"/>
                    </a:moveTo>
                    <a:lnTo>
                      <a:pt x="1680" y="1087"/>
                    </a:lnTo>
                    <a:lnTo>
                      <a:pt x="1692" y="1111"/>
                    </a:lnTo>
                    <a:lnTo>
                      <a:pt x="1654" y="1127"/>
                    </a:lnTo>
                    <a:lnTo>
                      <a:pt x="1609" y="1106"/>
                    </a:lnTo>
                    <a:lnTo>
                      <a:pt x="1621" y="1066"/>
                    </a:lnTo>
                    <a:lnTo>
                      <a:pt x="1637" y="1049"/>
                    </a:lnTo>
                    <a:lnTo>
                      <a:pt x="1588" y="1049"/>
                    </a:lnTo>
                    <a:lnTo>
                      <a:pt x="1583" y="1054"/>
                    </a:lnTo>
                    <a:lnTo>
                      <a:pt x="1588" y="1082"/>
                    </a:lnTo>
                    <a:lnTo>
                      <a:pt x="1545" y="1087"/>
                    </a:lnTo>
                    <a:lnTo>
                      <a:pt x="1571" y="1111"/>
                    </a:lnTo>
                    <a:lnTo>
                      <a:pt x="1550" y="1127"/>
                    </a:lnTo>
                    <a:lnTo>
                      <a:pt x="1545" y="1144"/>
                    </a:lnTo>
                    <a:lnTo>
                      <a:pt x="1529" y="1155"/>
                    </a:lnTo>
                    <a:lnTo>
                      <a:pt x="1503" y="1122"/>
                    </a:lnTo>
                    <a:lnTo>
                      <a:pt x="1496" y="1122"/>
                    </a:lnTo>
                    <a:lnTo>
                      <a:pt x="1503" y="1144"/>
                    </a:lnTo>
                    <a:lnTo>
                      <a:pt x="1491" y="1155"/>
                    </a:lnTo>
                    <a:lnTo>
                      <a:pt x="1512" y="1160"/>
                    </a:lnTo>
                    <a:lnTo>
                      <a:pt x="1512" y="1165"/>
                    </a:lnTo>
                    <a:lnTo>
                      <a:pt x="1448" y="1193"/>
                    </a:lnTo>
                    <a:lnTo>
                      <a:pt x="1441" y="1193"/>
                    </a:lnTo>
                    <a:lnTo>
                      <a:pt x="1441" y="1165"/>
                    </a:lnTo>
                    <a:lnTo>
                      <a:pt x="1427" y="1165"/>
                    </a:lnTo>
                    <a:lnTo>
                      <a:pt x="1420" y="1144"/>
                    </a:lnTo>
                    <a:lnTo>
                      <a:pt x="1411" y="1139"/>
                    </a:lnTo>
                    <a:lnTo>
                      <a:pt x="1404" y="1144"/>
                    </a:lnTo>
                    <a:lnTo>
                      <a:pt x="1411" y="1165"/>
                    </a:lnTo>
                    <a:lnTo>
                      <a:pt x="1404" y="1177"/>
                    </a:lnTo>
                    <a:lnTo>
                      <a:pt x="1328" y="1160"/>
                    </a:lnTo>
                    <a:lnTo>
                      <a:pt x="1297" y="1177"/>
                    </a:lnTo>
                    <a:lnTo>
                      <a:pt x="1281" y="1165"/>
                    </a:lnTo>
                    <a:lnTo>
                      <a:pt x="1302" y="1155"/>
                    </a:lnTo>
                    <a:lnTo>
                      <a:pt x="1281" y="1155"/>
                    </a:lnTo>
                    <a:lnTo>
                      <a:pt x="1297" y="1144"/>
                    </a:lnTo>
                    <a:lnTo>
                      <a:pt x="1285" y="1139"/>
                    </a:lnTo>
                    <a:lnTo>
                      <a:pt x="1259" y="1155"/>
                    </a:lnTo>
                    <a:lnTo>
                      <a:pt x="1285" y="1111"/>
                    </a:lnTo>
                    <a:lnTo>
                      <a:pt x="1366" y="1106"/>
                    </a:lnTo>
                    <a:lnTo>
                      <a:pt x="1389" y="1070"/>
                    </a:lnTo>
                    <a:lnTo>
                      <a:pt x="1441" y="1049"/>
                    </a:lnTo>
                    <a:lnTo>
                      <a:pt x="1465" y="1016"/>
                    </a:lnTo>
                    <a:lnTo>
                      <a:pt x="1517" y="988"/>
                    </a:lnTo>
                    <a:lnTo>
                      <a:pt x="1533" y="971"/>
                    </a:lnTo>
                    <a:lnTo>
                      <a:pt x="1621" y="955"/>
                    </a:lnTo>
                    <a:lnTo>
                      <a:pt x="1680" y="971"/>
                    </a:lnTo>
                    <a:lnTo>
                      <a:pt x="1675" y="962"/>
                    </a:lnTo>
                    <a:lnTo>
                      <a:pt x="1696" y="971"/>
                    </a:lnTo>
                    <a:lnTo>
                      <a:pt x="1713" y="955"/>
                    </a:lnTo>
                    <a:lnTo>
                      <a:pt x="1675" y="943"/>
                    </a:lnTo>
                    <a:lnTo>
                      <a:pt x="1718" y="933"/>
                    </a:lnTo>
                    <a:lnTo>
                      <a:pt x="1798" y="971"/>
                    </a:lnTo>
                    <a:lnTo>
                      <a:pt x="1734" y="988"/>
                    </a:lnTo>
                    <a:lnTo>
                      <a:pt x="1734" y="1000"/>
                    </a:lnTo>
                    <a:lnTo>
                      <a:pt x="1734" y="1011"/>
                    </a:lnTo>
                    <a:lnTo>
                      <a:pt x="1772" y="1028"/>
                    </a:lnTo>
                    <a:lnTo>
                      <a:pt x="1730" y="1028"/>
                    </a:lnTo>
                    <a:lnTo>
                      <a:pt x="1751" y="1049"/>
                    </a:lnTo>
                    <a:lnTo>
                      <a:pt x="1760" y="1066"/>
                    </a:lnTo>
                    <a:lnTo>
                      <a:pt x="1734" y="1082"/>
                    </a:lnTo>
                    <a:lnTo>
                      <a:pt x="1734" y="1082"/>
                    </a:lnTo>
                    <a:lnTo>
                      <a:pt x="1734" y="1082"/>
                    </a:lnTo>
                    <a:close/>
                    <a:moveTo>
                      <a:pt x="3504" y="978"/>
                    </a:moveTo>
                    <a:lnTo>
                      <a:pt x="3525" y="988"/>
                    </a:lnTo>
                    <a:lnTo>
                      <a:pt x="3508" y="995"/>
                    </a:lnTo>
                    <a:lnTo>
                      <a:pt x="3487" y="988"/>
                    </a:lnTo>
                    <a:lnTo>
                      <a:pt x="3504" y="978"/>
                    </a:lnTo>
                    <a:lnTo>
                      <a:pt x="3504" y="978"/>
                    </a:lnTo>
                    <a:lnTo>
                      <a:pt x="3504" y="978"/>
                    </a:lnTo>
                    <a:close/>
                    <a:moveTo>
                      <a:pt x="3201" y="978"/>
                    </a:moveTo>
                    <a:lnTo>
                      <a:pt x="3208" y="988"/>
                    </a:lnTo>
                    <a:lnTo>
                      <a:pt x="3185" y="978"/>
                    </a:lnTo>
                    <a:lnTo>
                      <a:pt x="3201" y="978"/>
                    </a:lnTo>
                    <a:lnTo>
                      <a:pt x="3201" y="978"/>
                    </a:lnTo>
                    <a:lnTo>
                      <a:pt x="3201" y="978"/>
                    </a:lnTo>
                    <a:close/>
                    <a:moveTo>
                      <a:pt x="2592" y="995"/>
                    </a:moveTo>
                    <a:lnTo>
                      <a:pt x="2596" y="1000"/>
                    </a:lnTo>
                    <a:lnTo>
                      <a:pt x="2570" y="1000"/>
                    </a:lnTo>
                    <a:lnTo>
                      <a:pt x="2592" y="995"/>
                    </a:lnTo>
                    <a:lnTo>
                      <a:pt x="2592" y="995"/>
                    </a:lnTo>
                    <a:lnTo>
                      <a:pt x="2592" y="995"/>
                    </a:lnTo>
                    <a:close/>
                    <a:moveTo>
                      <a:pt x="1911" y="1000"/>
                    </a:moveTo>
                    <a:lnTo>
                      <a:pt x="1895" y="995"/>
                    </a:lnTo>
                    <a:lnTo>
                      <a:pt x="1923" y="995"/>
                    </a:lnTo>
                    <a:lnTo>
                      <a:pt x="1911" y="1000"/>
                    </a:lnTo>
                    <a:lnTo>
                      <a:pt x="1911" y="1000"/>
                    </a:lnTo>
                    <a:lnTo>
                      <a:pt x="1911" y="1000"/>
                    </a:lnTo>
                    <a:close/>
                    <a:moveTo>
                      <a:pt x="3818" y="1267"/>
                    </a:moveTo>
                    <a:lnTo>
                      <a:pt x="3881" y="1255"/>
                    </a:lnTo>
                    <a:lnTo>
                      <a:pt x="3848" y="1238"/>
                    </a:lnTo>
                    <a:lnTo>
                      <a:pt x="3903" y="1233"/>
                    </a:lnTo>
                    <a:lnTo>
                      <a:pt x="3924" y="1215"/>
                    </a:lnTo>
                    <a:lnTo>
                      <a:pt x="3962" y="1222"/>
                    </a:lnTo>
                    <a:lnTo>
                      <a:pt x="3945" y="1215"/>
                    </a:lnTo>
                    <a:lnTo>
                      <a:pt x="4000" y="1193"/>
                    </a:lnTo>
                    <a:lnTo>
                      <a:pt x="4054" y="1210"/>
                    </a:lnTo>
                    <a:lnTo>
                      <a:pt x="4120" y="1193"/>
                    </a:lnTo>
                    <a:lnTo>
                      <a:pt x="4172" y="1193"/>
                    </a:lnTo>
                    <a:lnTo>
                      <a:pt x="4196" y="1198"/>
                    </a:lnTo>
                    <a:lnTo>
                      <a:pt x="4189" y="1215"/>
                    </a:lnTo>
                    <a:lnTo>
                      <a:pt x="4243" y="1215"/>
                    </a:lnTo>
                    <a:lnTo>
                      <a:pt x="4281" y="1233"/>
                    </a:lnTo>
                    <a:lnTo>
                      <a:pt x="4248" y="1250"/>
                    </a:lnTo>
                    <a:lnTo>
                      <a:pt x="4314" y="1250"/>
                    </a:lnTo>
                    <a:lnTo>
                      <a:pt x="4302" y="1250"/>
                    </a:lnTo>
                    <a:lnTo>
                      <a:pt x="4314" y="1267"/>
                    </a:lnTo>
                    <a:lnTo>
                      <a:pt x="4302" y="1271"/>
                    </a:lnTo>
                    <a:lnTo>
                      <a:pt x="4318" y="1271"/>
                    </a:lnTo>
                    <a:lnTo>
                      <a:pt x="4314" y="1288"/>
                    </a:lnTo>
                    <a:lnTo>
                      <a:pt x="4248" y="1304"/>
                    </a:lnTo>
                    <a:lnTo>
                      <a:pt x="4264" y="1309"/>
                    </a:lnTo>
                    <a:lnTo>
                      <a:pt x="4259" y="1321"/>
                    </a:lnTo>
                    <a:lnTo>
                      <a:pt x="4302" y="1309"/>
                    </a:lnTo>
                    <a:lnTo>
                      <a:pt x="4323" y="1326"/>
                    </a:lnTo>
                    <a:lnTo>
                      <a:pt x="4281" y="1342"/>
                    </a:lnTo>
                    <a:lnTo>
                      <a:pt x="4259" y="1321"/>
                    </a:lnTo>
                    <a:lnTo>
                      <a:pt x="4248" y="1326"/>
                    </a:lnTo>
                    <a:lnTo>
                      <a:pt x="4271" y="1333"/>
                    </a:lnTo>
                    <a:lnTo>
                      <a:pt x="4264" y="1378"/>
                    </a:lnTo>
                    <a:lnTo>
                      <a:pt x="4196" y="1378"/>
                    </a:lnTo>
                    <a:lnTo>
                      <a:pt x="4151" y="1387"/>
                    </a:lnTo>
                    <a:lnTo>
                      <a:pt x="4070" y="1378"/>
                    </a:lnTo>
                    <a:lnTo>
                      <a:pt x="4054" y="1359"/>
                    </a:lnTo>
                    <a:lnTo>
                      <a:pt x="4066" y="1342"/>
                    </a:lnTo>
                    <a:lnTo>
                      <a:pt x="4066" y="1333"/>
                    </a:lnTo>
                    <a:lnTo>
                      <a:pt x="4033" y="1326"/>
                    </a:lnTo>
                    <a:lnTo>
                      <a:pt x="4033" y="1333"/>
                    </a:lnTo>
                    <a:lnTo>
                      <a:pt x="4049" y="1342"/>
                    </a:lnTo>
                    <a:lnTo>
                      <a:pt x="4033" y="1378"/>
                    </a:lnTo>
                    <a:lnTo>
                      <a:pt x="3978" y="1382"/>
                    </a:lnTo>
                    <a:lnTo>
                      <a:pt x="3936" y="1382"/>
                    </a:lnTo>
                    <a:lnTo>
                      <a:pt x="3924" y="1359"/>
                    </a:lnTo>
                    <a:lnTo>
                      <a:pt x="3924" y="1366"/>
                    </a:lnTo>
                    <a:lnTo>
                      <a:pt x="3924" y="1382"/>
                    </a:lnTo>
                    <a:lnTo>
                      <a:pt x="3910" y="1382"/>
                    </a:lnTo>
                    <a:lnTo>
                      <a:pt x="3903" y="1382"/>
                    </a:lnTo>
                    <a:lnTo>
                      <a:pt x="3886" y="1359"/>
                    </a:lnTo>
                    <a:lnTo>
                      <a:pt x="3893" y="1378"/>
                    </a:lnTo>
                    <a:lnTo>
                      <a:pt x="3886" y="1382"/>
                    </a:lnTo>
                    <a:lnTo>
                      <a:pt x="3848" y="1387"/>
                    </a:lnTo>
                    <a:lnTo>
                      <a:pt x="3848" y="1378"/>
                    </a:lnTo>
                    <a:lnTo>
                      <a:pt x="3839" y="1366"/>
                    </a:lnTo>
                    <a:lnTo>
                      <a:pt x="3827" y="1387"/>
                    </a:lnTo>
                    <a:lnTo>
                      <a:pt x="3801" y="1366"/>
                    </a:lnTo>
                    <a:lnTo>
                      <a:pt x="3811" y="1387"/>
                    </a:lnTo>
                    <a:lnTo>
                      <a:pt x="3676" y="1382"/>
                    </a:lnTo>
                    <a:lnTo>
                      <a:pt x="3676" y="1366"/>
                    </a:lnTo>
                    <a:lnTo>
                      <a:pt x="3693" y="1342"/>
                    </a:lnTo>
                    <a:lnTo>
                      <a:pt x="3676" y="1326"/>
                    </a:lnTo>
                    <a:lnTo>
                      <a:pt x="3655" y="1359"/>
                    </a:lnTo>
                    <a:lnTo>
                      <a:pt x="3655" y="1342"/>
                    </a:lnTo>
                    <a:lnTo>
                      <a:pt x="3638" y="1333"/>
                    </a:lnTo>
                    <a:lnTo>
                      <a:pt x="3650" y="1342"/>
                    </a:lnTo>
                    <a:lnTo>
                      <a:pt x="3638" y="1349"/>
                    </a:lnTo>
                    <a:lnTo>
                      <a:pt x="3622" y="1349"/>
                    </a:lnTo>
                    <a:lnTo>
                      <a:pt x="3638" y="1359"/>
                    </a:lnTo>
                    <a:lnTo>
                      <a:pt x="3638" y="1366"/>
                    </a:lnTo>
                    <a:lnTo>
                      <a:pt x="3612" y="1378"/>
                    </a:lnTo>
                    <a:lnTo>
                      <a:pt x="3579" y="1382"/>
                    </a:lnTo>
                    <a:lnTo>
                      <a:pt x="3532" y="1366"/>
                    </a:lnTo>
                    <a:lnTo>
                      <a:pt x="3525" y="1349"/>
                    </a:lnTo>
                    <a:lnTo>
                      <a:pt x="3504" y="1359"/>
                    </a:lnTo>
                    <a:lnTo>
                      <a:pt x="3525" y="1326"/>
                    </a:lnTo>
                    <a:lnTo>
                      <a:pt x="3494" y="1349"/>
                    </a:lnTo>
                    <a:lnTo>
                      <a:pt x="3504" y="1366"/>
                    </a:lnTo>
                    <a:lnTo>
                      <a:pt x="3470" y="1366"/>
                    </a:lnTo>
                    <a:lnTo>
                      <a:pt x="3433" y="1342"/>
                    </a:lnTo>
                    <a:lnTo>
                      <a:pt x="3440" y="1326"/>
                    </a:lnTo>
                    <a:lnTo>
                      <a:pt x="3423" y="1304"/>
                    </a:lnTo>
                    <a:lnTo>
                      <a:pt x="3440" y="1292"/>
                    </a:lnTo>
                    <a:lnTo>
                      <a:pt x="3433" y="1288"/>
                    </a:lnTo>
                    <a:lnTo>
                      <a:pt x="3402" y="1276"/>
                    </a:lnTo>
                    <a:lnTo>
                      <a:pt x="3407" y="1250"/>
                    </a:lnTo>
                    <a:lnTo>
                      <a:pt x="3440" y="1222"/>
                    </a:lnTo>
                    <a:lnTo>
                      <a:pt x="3423" y="1210"/>
                    </a:lnTo>
                    <a:lnTo>
                      <a:pt x="3433" y="1181"/>
                    </a:lnTo>
                    <a:lnTo>
                      <a:pt x="3395" y="1165"/>
                    </a:lnTo>
                    <a:lnTo>
                      <a:pt x="3395" y="1155"/>
                    </a:lnTo>
                    <a:lnTo>
                      <a:pt x="3364" y="1111"/>
                    </a:lnTo>
                    <a:lnTo>
                      <a:pt x="3310" y="1127"/>
                    </a:lnTo>
                    <a:lnTo>
                      <a:pt x="3201" y="1127"/>
                    </a:lnTo>
                    <a:lnTo>
                      <a:pt x="3201" y="1122"/>
                    </a:lnTo>
                    <a:lnTo>
                      <a:pt x="3239" y="1122"/>
                    </a:lnTo>
                    <a:lnTo>
                      <a:pt x="3170" y="1106"/>
                    </a:lnTo>
                    <a:lnTo>
                      <a:pt x="3147" y="1087"/>
                    </a:lnTo>
                    <a:lnTo>
                      <a:pt x="3185" y="1070"/>
                    </a:lnTo>
                    <a:lnTo>
                      <a:pt x="3154" y="1082"/>
                    </a:lnTo>
                    <a:lnTo>
                      <a:pt x="3095" y="1054"/>
                    </a:lnTo>
                    <a:lnTo>
                      <a:pt x="3100" y="1044"/>
                    </a:lnTo>
                    <a:lnTo>
                      <a:pt x="3133" y="1054"/>
                    </a:lnTo>
                    <a:lnTo>
                      <a:pt x="3100" y="1033"/>
                    </a:lnTo>
                    <a:lnTo>
                      <a:pt x="3095" y="1028"/>
                    </a:lnTo>
                    <a:lnTo>
                      <a:pt x="3109" y="1028"/>
                    </a:lnTo>
                    <a:lnTo>
                      <a:pt x="3100" y="1016"/>
                    </a:lnTo>
                    <a:lnTo>
                      <a:pt x="3180" y="1011"/>
                    </a:lnTo>
                    <a:lnTo>
                      <a:pt x="3277" y="1033"/>
                    </a:lnTo>
                    <a:lnTo>
                      <a:pt x="3315" y="1028"/>
                    </a:lnTo>
                    <a:lnTo>
                      <a:pt x="3352" y="1054"/>
                    </a:lnTo>
                    <a:lnTo>
                      <a:pt x="3348" y="1087"/>
                    </a:lnTo>
                    <a:lnTo>
                      <a:pt x="3326" y="1099"/>
                    </a:lnTo>
                    <a:lnTo>
                      <a:pt x="3331" y="1111"/>
                    </a:lnTo>
                    <a:lnTo>
                      <a:pt x="3364" y="1070"/>
                    </a:lnTo>
                    <a:lnTo>
                      <a:pt x="3508" y="1070"/>
                    </a:lnTo>
                    <a:lnTo>
                      <a:pt x="3546" y="1099"/>
                    </a:lnTo>
                    <a:lnTo>
                      <a:pt x="3470" y="1087"/>
                    </a:lnTo>
                    <a:lnTo>
                      <a:pt x="3633" y="1127"/>
                    </a:lnTo>
                    <a:lnTo>
                      <a:pt x="3546" y="1144"/>
                    </a:lnTo>
                    <a:lnTo>
                      <a:pt x="3570" y="1144"/>
                    </a:lnTo>
                    <a:lnTo>
                      <a:pt x="3461" y="1127"/>
                    </a:lnTo>
                    <a:lnTo>
                      <a:pt x="3532" y="1155"/>
                    </a:lnTo>
                    <a:lnTo>
                      <a:pt x="3515" y="1160"/>
                    </a:lnTo>
                    <a:lnTo>
                      <a:pt x="3563" y="1160"/>
                    </a:lnTo>
                    <a:lnTo>
                      <a:pt x="3494" y="1160"/>
                    </a:lnTo>
                    <a:lnTo>
                      <a:pt x="3508" y="1177"/>
                    </a:lnTo>
                    <a:lnTo>
                      <a:pt x="3504" y="1177"/>
                    </a:lnTo>
                    <a:lnTo>
                      <a:pt x="3504" y="1193"/>
                    </a:lnTo>
                    <a:lnTo>
                      <a:pt x="3525" y="1165"/>
                    </a:lnTo>
                    <a:lnTo>
                      <a:pt x="3546" y="1165"/>
                    </a:lnTo>
                    <a:lnTo>
                      <a:pt x="3541" y="1181"/>
                    </a:lnTo>
                    <a:lnTo>
                      <a:pt x="3579" y="1165"/>
                    </a:lnTo>
                    <a:lnTo>
                      <a:pt x="3600" y="1181"/>
                    </a:lnTo>
                    <a:lnTo>
                      <a:pt x="3596" y="1198"/>
                    </a:lnTo>
                    <a:lnTo>
                      <a:pt x="3612" y="1181"/>
                    </a:lnTo>
                    <a:lnTo>
                      <a:pt x="3633" y="1198"/>
                    </a:lnTo>
                    <a:lnTo>
                      <a:pt x="3633" y="1222"/>
                    </a:lnTo>
                    <a:lnTo>
                      <a:pt x="3596" y="1233"/>
                    </a:lnTo>
                    <a:lnTo>
                      <a:pt x="3612" y="1233"/>
                    </a:lnTo>
                    <a:lnTo>
                      <a:pt x="3600" y="1233"/>
                    </a:lnTo>
                    <a:lnTo>
                      <a:pt x="3633" y="1222"/>
                    </a:lnTo>
                    <a:lnTo>
                      <a:pt x="3650" y="1250"/>
                    </a:lnTo>
                    <a:lnTo>
                      <a:pt x="3667" y="1250"/>
                    </a:lnTo>
                    <a:lnTo>
                      <a:pt x="3655" y="1222"/>
                    </a:lnTo>
                    <a:lnTo>
                      <a:pt x="3667" y="1215"/>
                    </a:lnTo>
                    <a:lnTo>
                      <a:pt x="3704" y="1233"/>
                    </a:lnTo>
                    <a:lnTo>
                      <a:pt x="3704" y="1238"/>
                    </a:lnTo>
                    <a:lnTo>
                      <a:pt x="3742" y="1233"/>
                    </a:lnTo>
                    <a:lnTo>
                      <a:pt x="3759" y="1238"/>
                    </a:lnTo>
                    <a:lnTo>
                      <a:pt x="3747" y="1250"/>
                    </a:lnTo>
                    <a:lnTo>
                      <a:pt x="3759" y="1238"/>
                    </a:lnTo>
                    <a:lnTo>
                      <a:pt x="3759" y="1233"/>
                    </a:lnTo>
                    <a:lnTo>
                      <a:pt x="3763" y="1222"/>
                    </a:lnTo>
                    <a:lnTo>
                      <a:pt x="3773" y="1222"/>
                    </a:lnTo>
                    <a:lnTo>
                      <a:pt x="3834" y="1250"/>
                    </a:lnTo>
                    <a:lnTo>
                      <a:pt x="3818" y="1267"/>
                    </a:lnTo>
                    <a:lnTo>
                      <a:pt x="3818" y="1267"/>
                    </a:lnTo>
                    <a:lnTo>
                      <a:pt x="3818" y="1267"/>
                    </a:lnTo>
                    <a:close/>
                    <a:moveTo>
                      <a:pt x="3071" y="1011"/>
                    </a:moveTo>
                    <a:lnTo>
                      <a:pt x="3078" y="1016"/>
                    </a:lnTo>
                    <a:lnTo>
                      <a:pt x="3057" y="1016"/>
                    </a:lnTo>
                    <a:lnTo>
                      <a:pt x="3071" y="1011"/>
                    </a:lnTo>
                    <a:lnTo>
                      <a:pt x="3071" y="1011"/>
                    </a:lnTo>
                    <a:lnTo>
                      <a:pt x="3071" y="1011"/>
                    </a:lnTo>
                    <a:close/>
                    <a:moveTo>
                      <a:pt x="2230" y="1028"/>
                    </a:moveTo>
                    <a:lnTo>
                      <a:pt x="2235" y="1033"/>
                    </a:lnTo>
                    <a:lnTo>
                      <a:pt x="2219" y="1028"/>
                    </a:lnTo>
                    <a:lnTo>
                      <a:pt x="2230" y="1028"/>
                    </a:lnTo>
                    <a:lnTo>
                      <a:pt x="2230" y="1028"/>
                    </a:lnTo>
                    <a:lnTo>
                      <a:pt x="2230" y="1028"/>
                    </a:lnTo>
                    <a:close/>
                    <a:moveTo>
                      <a:pt x="1890" y="1066"/>
                    </a:moveTo>
                    <a:lnTo>
                      <a:pt x="1836" y="1049"/>
                    </a:lnTo>
                    <a:lnTo>
                      <a:pt x="1852" y="1033"/>
                    </a:lnTo>
                    <a:lnTo>
                      <a:pt x="1907" y="1033"/>
                    </a:lnTo>
                    <a:lnTo>
                      <a:pt x="1933" y="1049"/>
                    </a:lnTo>
                    <a:lnTo>
                      <a:pt x="1890" y="1066"/>
                    </a:lnTo>
                    <a:lnTo>
                      <a:pt x="1890" y="1066"/>
                    </a:lnTo>
                    <a:lnTo>
                      <a:pt x="1890" y="1066"/>
                    </a:lnTo>
                    <a:close/>
                    <a:moveTo>
                      <a:pt x="3078" y="1044"/>
                    </a:moveTo>
                    <a:lnTo>
                      <a:pt x="3083" y="1044"/>
                    </a:lnTo>
                    <a:lnTo>
                      <a:pt x="3071" y="1044"/>
                    </a:lnTo>
                    <a:lnTo>
                      <a:pt x="3078" y="1044"/>
                    </a:lnTo>
                    <a:lnTo>
                      <a:pt x="3078" y="1044"/>
                    </a:lnTo>
                    <a:lnTo>
                      <a:pt x="3078" y="1044"/>
                    </a:lnTo>
                    <a:close/>
                    <a:moveTo>
                      <a:pt x="2058" y="1309"/>
                    </a:moveTo>
                    <a:lnTo>
                      <a:pt x="2112" y="1276"/>
                    </a:lnTo>
                    <a:lnTo>
                      <a:pt x="2004" y="1292"/>
                    </a:lnTo>
                    <a:lnTo>
                      <a:pt x="2015" y="1276"/>
                    </a:lnTo>
                    <a:lnTo>
                      <a:pt x="1987" y="1288"/>
                    </a:lnTo>
                    <a:lnTo>
                      <a:pt x="1987" y="1271"/>
                    </a:lnTo>
                    <a:lnTo>
                      <a:pt x="1982" y="1292"/>
                    </a:lnTo>
                    <a:lnTo>
                      <a:pt x="1978" y="1292"/>
                    </a:lnTo>
                    <a:lnTo>
                      <a:pt x="1895" y="1304"/>
                    </a:lnTo>
                    <a:lnTo>
                      <a:pt x="1895" y="1292"/>
                    </a:lnTo>
                    <a:lnTo>
                      <a:pt x="1907" y="1267"/>
                    </a:lnTo>
                    <a:lnTo>
                      <a:pt x="1944" y="1255"/>
                    </a:lnTo>
                    <a:lnTo>
                      <a:pt x="1895" y="1255"/>
                    </a:lnTo>
                    <a:lnTo>
                      <a:pt x="1890" y="1250"/>
                    </a:lnTo>
                    <a:lnTo>
                      <a:pt x="1890" y="1267"/>
                    </a:lnTo>
                    <a:lnTo>
                      <a:pt x="1878" y="1276"/>
                    </a:lnTo>
                    <a:lnTo>
                      <a:pt x="1852" y="1271"/>
                    </a:lnTo>
                    <a:lnTo>
                      <a:pt x="1874" y="1288"/>
                    </a:lnTo>
                    <a:lnTo>
                      <a:pt x="1869" y="1304"/>
                    </a:lnTo>
                    <a:lnTo>
                      <a:pt x="1819" y="1321"/>
                    </a:lnTo>
                    <a:lnTo>
                      <a:pt x="1815" y="1309"/>
                    </a:lnTo>
                    <a:lnTo>
                      <a:pt x="1815" y="1292"/>
                    </a:lnTo>
                    <a:lnTo>
                      <a:pt x="1803" y="1288"/>
                    </a:lnTo>
                    <a:lnTo>
                      <a:pt x="1798" y="1292"/>
                    </a:lnTo>
                    <a:lnTo>
                      <a:pt x="1782" y="1292"/>
                    </a:lnTo>
                    <a:lnTo>
                      <a:pt x="1789" y="1309"/>
                    </a:lnTo>
                    <a:lnTo>
                      <a:pt x="1772" y="1321"/>
                    </a:lnTo>
                    <a:lnTo>
                      <a:pt x="1744" y="1304"/>
                    </a:lnTo>
                    <a:lnTo>
                      <a:pt x="1734" y="1292"/>
                    </a:lnTo>
                    <a:lnTo>
                      <a:pt x="1734" y="1276"/>
                    </a:lnTo>
                    <a:lnTo>
                      <a:pt x="1706" y="1292"/>
                    </a:lnTo>
                    <a:lnTo>
                      <a:pt x="1637" y="1276"/>
                    </a:lnTo>
                    <a:lnTo>
                      <a:pt x="1663" y="1238"/>
                    </a:lnTo>
                    <a:lnTo>
                      <a:pt x="1751" y="1238"/>
                    </a:lnTo>
                    <a:lnTo>
                      <a:pt x="1826" y="1210"/>
                    </a:lnTo>
                    <a:lnTo>
                      <a:pt x="1730" y="1233"/>
                    </a:lnTo>
                    <a:lnTo>
                      <a:pt x="1663" y="1222"/>
                    </a:lnTo>
                    <a:lnTo>
                      <a:pt x="1696" y="1198"/>
                    </a:lnTo>
                    <a:lnTo>
                      <a:pt x="1836" y="1181"/>
                    </a:lnTo>
                    <a:lnTo>
                      <a:pt x="1706" y="1177"/>
                    </a:lnTo>
                    <a:lnTo>
                      <a:pt x="1718" y="1165"/>
                    </a:lnTo>
                    <a:lnTo>
                      <a:pt x="1706" y="1160"/>
                    </a:lnTo>
                    <a:lnTo>
                      <a:pt x="1713" y="1155"/>
                    </a:lnTo>
                    <a:lnTo>
                      <a:pt x="1734" y="1139"/>
                    </a:lnTo>
                    <a:lnTo>
                      <a:pt x="1852" y="1144"/>
                    </a:lnTo>
                    <a:lnTo>
                      <a:pt x="1760" y="1122"/>
                    </a:lnTo>
                    <a:lnTo>
                      <a:pt x="1789" y="1099"/>
                    </a:lnTo>
                    <a:lnTo>
                      <a:pt x="1826" y="1087"/>
                    </a:lnTo>
                    <a:lnTo>
                      <a:pt x="1878" y="1099"/>
                    </a:lnTo>
                    <a:lnTo>
                      <a:pt x="1878" y="1122"/>
                    </a:lnTo>
                    <a:lnTo>
                      <a:pt x="1895" y="1139"/>
                    </a:lnTo>
                    <a:lnTo>
                      <a:pt x="1966" y="1127"/>
                    </a:lnTo>
                    <a:lnTo>
                      <a:pt x="2004" y="1139"/>
                    </a:lnTo>
                    <a:lnTo>
                      <a:pt x="1999" y="1155"/>
                    </a:lnTo>
                    <a:lnTo>
                      <a:pt x="2004" y="1160"/>
                    </a:lnTo>
                    <a:lnTo>
                      <a:pt x="2053" y="1177"/>
                    </a:lnTo>
                    <a:lnTo>
                      <a:pt x="2020" y="1193"/>
                    </a:lnTo>
                    <a:lnTo>
                      <a:pt x="2074" y="1193"/>
                    </a:lnTo>
                    <a:lnTo>
                      <a:pt x="2084" y="1210"/>
                    </a:lnTo>
                    <a:lnTo>
                      <a:pt x="2074" y="1222"/>
                    </a:lnTo>
                    <a:lnTo>
                      <a:pt x="2091" y="1238"/>
                    </a:lnTo>
                    <a:lnTo>
                      <a:pt x="2143" y="1233"/>
                    </a:lnTo>
                    <a:lnTo>
                      <a:pt x="2252" y="1238"/>
                    </a:lnTo>
                    <a:lnTo>
                      <a:pt x="2263" y="1215"/>
                    </a:lnTo>
                    <a:lnTo>
                      <a:pt x="2167" y="1181"/>
                    </a:lnTo>
                    <a:lnTo>
                      <a:pt x="2197" y="1177"/>
                    </a:lnTo>
                    <a:lnTo>
                      <a:pt x="2219" y="1155"/>
                    </a:lnTo>
                    <a:lnTo>
                      <a:pt x="2155" y="1122"/>
                    </a:lnTo>
                    <a:lnTo>
                      <a:pt x="2143" y="1106"/>
                    </a:lnTo>
                    <a:lnTo>
                      <a:pt x="2197" y="1087"/>
                    </a:lnTo>
                    <a:lnTo>
                      <a:pt x="2181" y="1087"/>
                    </a:lnTo>
                    <a:lnTo>
                      <a:pt x="2219" y="1049"/>
                    </a:lnTo>
                    <a:lnTo>
                      <a:pt x="2263" y="1044"/>
                    </a:lnTo>
                    <a:lnTo>
                      <a:pt x="2285" y="1054"/>
                    </a:lnTo>
                    <a:lnTo>
                      <a:pt x="2268" y="1070"/>
                    </a:lnTo>
                    <a:lnTo>
                      <a:pt x="2273" y="1106"/>
                    </a:lnTo>
                    <a:lnTo>
                      <a:pt x="2306" y="1122"/>
                    </a:lnTo>
                    <a:lnTo>
                      <a:pt x="2285" y="1144"/>
                    </a:lnTo>
                    <a:lnTo>
                      <a:pt x="2289" y="1160"/>
                    </a:lnTo>
                    <a:lnTo>
                      <a:pt x="2327" y="1160"/>
                    </a:lnTo>
                    <a:lnTo>
                      <a:pt x="2344" y="1165"/>
                    </a:lnTo>
                    <a:lnTo>
                      <a:pt x="2318" y="1198"/>
                    </a:lnTo>
                    <a:lnTo>
                      <a:pt x="2339" y="1181"/>
                    </a:lnTo>
                    <a:lnTo>
                      <a:pt x="2377" y="1181"/>
                    </a:lnTo>
                    <a:lnTo>
                      <a:pt x="2393" y="1210"/>
                    </a:lnTo>
                    <a:lnTo>
                      <a:pt x="2415" y="1198"/>
                    </a:lnTo>
                    <a:lnTo>
                      <a:pt x="2393" y="1193"/>
                    </a:lnTo>
                    <a:lnTo>
                      <a:pt x="2393" y="1165"/>
                    </a:lnTo>
                    <a:lnTo>
                      <a:pt x="2431" y="1160"/>
                    </a:lnTo>
                    <a:lnTo>
                      <a:pt x="2483" y="1177"/>
                    </a:lnTo>
                    <a:lnTo>
                      <a:pt x="2490" y="1193"/>
                    </a:lnTo>
                    <a:lnTo>
                      <a:pt x="2500" y="1215"/>
                    </a:lnTo>
                    <a:lnTo>
                      <a:pt x="2478" y="1238"/>
                    </a:lnTo>
                    <a:lnTo>
                      <a:pt x="2483" y="1250"/>
                    </a:lnTo>
                    <a:lnTo>
                      <a:pt x="2478" y="1267"/>
                    </a:lnTo>
                    <a:lnTo>
                      <a:pt x="2462" y="1276"/>
                    </a:lnTo>
                    <a:lnTo>
                      <a:pt x="2462" y="1292"/>
                    </a:lnTo>
                    <a:lnTo>
                      <a:pt x="2452" y="1292"/>
                    </a:lnTo>
                    <a:lnTo>
                      <a:pt x="2452" y="1304"/>
                    </a:lnTo>
                    <a:lnTo>
                      <a:pt x="2393" y="1326"/>
                    </a:lnTo>
                    <a:lnTo>
                      <a:pt x="2339" y="1321"/>
                    </a:lnTo>
                    <a:lnTo>
                      <a:pt x="2327" y="1292"/>
                    </a:lnTo>
                    <a:lnTo>
                      <a:pt x="2322" y="1321"/>
                    </a:lnTo>
                    <a:lnTo>
                      <a:pt x="2289" y="1326"/>
                    </a:lnTo>
                    <a:lnTo>
                      <a:pt x="2263" y="1309"/>
                    </a:lnTo>
                    <a:lnTo>
                      <a:pt x="2285" y="1321"/>
                    </a:lnTo>
                    <a:lnTo>
                      <a:pt x="2263" y="1304"/>
                    </a:lnTo>
                    <a:lnTo>
                      <a:pt x="2209" y="1333"/>
                    </a:lnTo>
                    <a:lnTo>
                      <a:pt x="2155" y="1333"/>
                    </a:lnTo>
                    <a:lnTo>
                      <a:pt x="2122" y="1359"/>
                    </a:lnTo>
                    <a:lnTo>
                      <a:pt x="2058" y="1382"/>
                    </a:lnTo>
                    <a:lnTo>
                      <a:pt x="1982" y="1399"/>
                    </a:lnTo>
                    <a:lnTo>
                      <a:pt x="1911" y="1387"/>
                    </a:lnTo>
                    <a:lnTo>
                      <a:pt x="1869" y="1359"/>
                    </a:lnTo>
                    <a:lnTo>
                      <a:pt x="1978" y="1321"/>
                    </a:lnTo>
                    <a:lnTo>
                      <a:pt x="2058" y="1309"/>
                    </a:lnTo>
                    <a:lnTo>
                      <a:pt x="2058" y="1309"/>
                    </a:lnTo>
                    <a:lnTo>
                      <a:pt x="2058" y="1309"/>
                    </a:lnTo>
                    <a:close/>
                    <a:moveTo>
                      <a:pt x="3579" y="1099"/>
                    </a:moveTo>
                    <a:lnTo>
                      <a:pt x="3532" y="1054"/>
                    </a:lnTo>
                    <a:lnTo>
                      <a:pt x="3579" y="1044"/>
                    </a:lnTo>
                    <a:lnTo>
                      <a:pt x="3600" y="1054"/>
                    </a:lnTo>
                    <a:lnTo>
                      <a:pt x="3584" y="1070"/>
                    </a:lnTo>
                    <a:lnTo>
                      <a:pt x="3600" y="1087"/>
                    </a:lnTo>
                    <a:lnTo>
                      <a:pt x="3579" y="1099"/>
                    </a:lnTo>
                    <a:lnTo>
                      <a:pt x="3579" y="1099"/>
                    </a:lnTo>
                    <a:lnTo>
                      <a:pt x="3579" y="1099"/>
                    </a:lnTo>
                    <a:close/>
                    <a:moveTo>
                      <a:pt x="2856" y="1054"/>
                    </a:moveTo>
                    <a:lnTo>
                      <a:pt x="2785" y="1082"/>
                    </a:lnTo>
                    <a:lnTo>
                      <a:pt x="2759" y="1082"/>
                    </a:lnTo>
                    <a:lnTo>
                      <a:pt x="2823" y="1054"/>
                    </a:lnTo>
                    <a:lnTo>
                      <a:pt x="2856" y="1054"/>
                    </a:lnTo>
                    <a:lnTo>
                      <a:pt x="2856" y="1054"/>
                    </a:lnTo>
                    <a:lnTo>
                      <a:pt x="2856" y="1054"/>
                    </a:lnTo>
                    <a:close/>
                    <a:moveTo>
                      <a:pt x="1404" y="1054"/>
                    </a:moveTo>
                    <a:lnTo>
                      <a:pt x="1411" y="1054"/>
                    </a:lnTo>
                    <a:lnTo>
                      <a:pt x="1389" y="1054"/>
                    </a:lnTo>
                    <a:lnTo>
                      <a:pt x="1404" y="1054"/>
                    </a:lnTo>
                    <a:lnTo>
                      <a:pt x="1404" y="1054"/>
                    </a:lnTo>
                    <a:lnTo>
                      <a:pt x="1404" y="1054"/>
                    </a:lnTo>
                    <a:close/>
                    <a:moveTo>
                      <a:pt x="2911" y="1054"/>
                    </a:moveTo>
                    <a:lnTo>
                      <a:pt x="2915" y="1066"/>
                    </a:lnTo>
                    <a:lnTo>
                      <a:pt x="2868" y="1054"/>
                    </a:lnTo>
                    <a:lnTo>
                      <a:pt x="2911" y="1054"/>
                    </a:lnTo>
                    <a:lnTo>
                      <a:pt x="2911" y="1054"/>
                    </a:lnTo>
                    <a:lnTo>
                      <a:pt x="2911" y="1054"/>
                    </a:lnTo>
                    <a:close/>
                    <a:moveTo>
                      <a:pt x="2899" y="1155"/>
                    </a:moveTo>
                    <a:lnTo>
                      <a:pt x="2915" y="1144"/>
                    </a:lnTo>
                    <a:lnTo>
                      <a:pt x="2844" y="1139"/>
                    </a:lnTo>
                    <a:lnTo>
                      <a:pt x="2840" y="1127"/>
                    </a:lnTo>
                    <a:lnTo>
                      <a:pt x="2882" y="1122"/>
                    </a:lnTo>
                    <a:lnTo>
                      <a:pt x="2830" y="1111"/>
                    </a:lnTo>
                    <a:lnTo>
                      <a:pt x="2807" y="1087"/>
                    </a:lnTo>
                    <a:lnTo>
                      <a:pt x="2856" y="1070"/>
                    </a:lnTo>
                    <a:lnTo>
                      <a:pt x="2899" y="1070"/>
                    </a:lnTo>
                    <a:lnTo>
                      <a:pt x="2937" y="1106"/>
                    </a:lnTo>
                    <a:lnTo>
                      <a:pt x="2937" y="1099"/>
                    </a:lnTo>
                    <a:lnTo>
                      <a:pt x="2953" y="1106"/>
                    </a:lnTo>
                    <a:lnTo>
                      <a:pt x="2948" y="1087"/>
                    </a:lnTo>
                    <a:lnTo>
                      <a:pt x="2948" y="1070"/>
                    </a:lnTo>
                    <a:lnTo>
                      <a:pt x="2986" y="1070"/>
                    </a:lnTo>
                    <a:lnTo>
                      <a:pt x="2953" y="1066"/>
                    </a:lnTo>
                    <a:lnTo>
                      <a:pt x="2970" y="1066"/>
                    </a:lnTo>
                    <a:lnTo>
                      <a:pt x="3029" y="1087"/>
                    </a:lnTo>
                    <a:lnTo>
                      <a:pt x="3041" y="1106"/>
                    </a:lnTo>
                    <a:lnTo>
                      <a:pt x="3029" y="1111"/>
                    </a:lnTo>
                    <a:lnTo>
                      <a:pt x="3041" y="1127"/>
                    </a:lnTo>
                    <a:lnTo>
                      <a:pt x="3057" y="1144"/>
                    </a:lnTo>
                    <a:lnTo>
                      <a:pt x="3041" y="1165"/>
                    </a:lnTo>
                    <a:lnTo>
                      <a:pt x="3045" y="1193"/>
                    </a:lnTo>
                    <a:lnTo>
                      <a:pt x="3024" y="1210"/>
                    </a:lnTo>
                    <a:lnTo>
                      <a:pt x="3062" y="1215"/>
                    </a:lnTo>
                    <a:lnTo>
                      <a:pt x="3057" y="1238"/>
                    </a:lnTo>
                    <a:lnTo>
                      <a:pt x="3071" y="1255"/>
                    </a:lnTo>
                    <a:lnTo>
                      <a:pt x="3041" y="1233"/>
                    </a:lnTo>
                    <a:lnTo>
                      <a:pt x="3029" y="1233"/>
                    </a:lnTo>
                    <a:lnTo>
                      <a:pt x="3029" y="1250"/>
                    </a:lnTo>
                    <a:lnTo>
                      <a:pt x="3019" y="1238"/>
                    </a:lnTo>
                    <a:lnTo>
                      <a:pt x="3029" y="1250"/>
                    </a:lnTo>
                    <a:lnTo>
                      <a:pt x="3019" y="1255"/>
                    </a:lnTo>
                    <a:lnTo>
                      <a:pt x="3024" y="1255"/>
                    </a:lnTo>
                    <a:lnTo>
                      <a:pt x="3007" y="1255"/>
                    </a:lnTo>
                    <a:lnTo>
                      <a:pt x="3007" y="1271"/>
                    </a:lnTo>
                    <a:lnTo>
                      <a:pt x="3045" y="1288"/>
                    </a:lnTo>
                    <a:lnTo>
                      <a:pt x="3024" y="1292"/>
                    </a:lnTo>
                    <a:lnTo>
                      <a:pt x="3019" y="1276"/>
                    </a:lnTo>
                    <a:lnTo>
                      <a:pt x="3007" y="1288"/>
                    </a:lnTo>
                    <a:lnTo>
                      <a:pt x="3019" y="1292"/>
                    </a:lnTo>
                    <a:lnTo>
                      <a:pt x="3019" y="1309"/>
                    </a:lnTo>
                    <a:lnTo>
                      <a:pt x="2915" y="1309"/>
                    </a:lnTo>
                    <a:lnTo>
                      <a:pt x="2920" y="1292"/>
                    </a:lnTo>
                    <a:lnTo>
                      <a:pt x="2911" y="1309"/>
                    </a:lnTo>
                    <a:lnTo>
                      <a:pt x="2915" y="1309"/>
                    </a:lnTo>
                    <a:lnTo>
                      <a:pt x="2868" y="1309"/>
                    </a:lnTo>
                    <a:lnTo>
                      <a:pt x="2844" y="1309"/>
                    </a:lnTo>
                    <a:lnTo>
                      <a:pt x="2844" y="1288"/>
                    </a:lnTo>
                    <a:lnTo>
                      <a:pt x="2840" y="1288"/>
                    </a:lnTo>
                    <a:lnTo>
                      <a:pt x="2878" y="1276"/>
                    </a:lnTo>
                    <a:lnTo>
                      <a:pt x="2823" y="1267"/>
                    </a:lnTo>
                    <a:lnTo>
                      <a:pt x="2844" y="1255"/>
                    </a:lnTo>
                    <a:lnTo>
                      <a:pt x="2830" y="1250"/>
                    </a:lnTo>
                    <a:lnTo>
                      <a:pt x="2878" y="1250"/>
                    </a:lnTo>
                    <a:lnTo>
                      <a:pt x="2856" y="1238"/>
                    </a:lnTo>
                    <a:lnTo>
                      <a:pt x="2899" y="1222"/>
                    </a:lnTo>
                    <a:lnTo>
                      <a:pt x="2882" y="1222"/>
                    </a:lnTo>
                    <a:lnTo>
                      <a:pt x="2894" y="1215"/>
                    </a:lnTo>
                    <a:lnTo>
                      <a:pt x="2953" y="1210"/>
                    </a:lnTo>
                    <a:lnTo>
                      <a:pt x="2700" y="1238"/>
                    </a:lnTo>
                    <a:lnTo>
                      <a:pt x="2679" y="1222"/>
                    </a:lnTo>
                    <a:lnTo>
                      <a:pt x="2700" y="1210"/>
                    </a:lnTo>
                    <a:lnTo>
                      <a:pt x="2738" y="1210"/>
                    </a:lnTo>
                    <a:lnTo>
                      <a:pt x="2731" y="1198"/>
                    </a:lnTo>
                    <a:lnTo>
                      <a:pt x="2705" y="1198"/>
                    </a:lnTo>
                    <a:lnTo>
                      <a:pt x="2722" y="1181"/>
                    </a:lnTo>
                    <a:lnTo>
                      <a:pt x="2793" y="1198"/>
                    </a:lnTo>
                    <a:lnTo>
                      <a:pt x="2785" y="1198"/>
                    </a:lnTo>
                    <a:lnTo>
                      <a:pt x="2785" y="1193"/>
                    </a:lnTo>
                    <a:lnTo>
                      <a:pt x="2769" y="1177"/>
                    </a:lnTo>
                    <a:lnTo>
                      <a:pt x="2785" y="1160"/>
                    </a:lnTo>
                    <a:lnTo>
                      <a:pt x="2759" y="1165"/>
                    </a:lnTo>
                    <a:lnTo>
                      <a:pt x="2748" y="1155"/>
                    </a:lnTo>
                    <a:lnTo>
                      <a:pt x="2776" y="1127"/>
                    </a:lnTo>
                    <a:lnTo>
                      <a:pt x="2722" y="1127"/>
                    </a:lnTo>
                    <a:lnTo>
                      <a:pt x="2731" y="1127"/>
                    </a:lnTo>
                    <a:lnTo>
                      <a:pt x="2731" y="1106"/>
                    </a:lnTo>
                    <a:lnTo>
                      <a:pt x="2748" y="1099"/>
                    </a:lnTo>
                    <a:lnTo>
                      <a:pt x="2785" y="1106"/>
                    </a:lnTo>
                    <a:lnTo>
                      <a:pt x="2878" y="1181"/>
                    </a:lnTo>
                    <a:lnTo>
                      <a:pt x="2915" y="1165"/>
                    </a:lnTo>
                    <a:lnTo>
                      <a:pt x="2882" y="1177"/>
                    </a:lnTo>
                    <a:lnTo>
                      <a:pt x="2861" y="1144"/>
                    </a:lnTo>
                    <a:lnTo>
                      <a:pt x="2899" y="1155"/>
                    </a:lnTo>
                    <a:lnTo>
                      <a:pt x="2899" y="1155"/>
                    </a:lnTo>
                    <a:lnTo>
                      <a:pt x="2899" y="1155"/>
                    </a:lnTo>
                    <a:close/>
                    <a:moveTo>
                      <a:pt x="2587" y="1066"/>
                    </a:moveTo>
                    <a:lnTo>
                      <a:pt x="2596" y="1070"/>
                    </a:lnTo>
                    <a:lnTo>
                      <a:pt x="2592" y="1082"/>
                    </a:lnTo>
                    <a:lnTo>
                      <a:pt x="2608" y="1070"/>
                    </a:lnTo>
                    <a:lnTo>
                      <a:pt x="2667" y="1106"/>
                    </a:lnTo>
                    <a:lnTo>
                      <a:pt x="2630" y="1122"/>
                    </a:lnTo>
                    <a:lnTo>
                      <a:pt x="2570" y="1122"/>
                    </a:lnTo>
                    <a:lnTo>
                      <a:pt x="2575" y="1111"/>
                    </a:lnTo>
                    <a:lnTo>
                      <a:pt x="2570" y="1099"/>
                    </a:lnTo>
                    <a:lnTo>
                      <a:pt x="2542" y="1082"/>
                    </a:lnTo>
                    <a:lnTo>
                      <a:pt x="2587" y="1066"/>
                    </a:lnTo>
                    <a:lnTo>
                      <a:pt x="2587" y="1066"/>
                    </a:lnTo>
                    <a:lnTo>
                      <a:pt x="2587" y="1066"/>
                    </a:lnTo>
                    <a:close/>
                    <a:moveTo>
                      <a:pt x="3990" y="1087"/>
                    </a:moveTo>
                    <a:lnTo>
                      <a:pt x="4000" y="1099"/>
                    </a:lnTo>
                    <a:lnTo>
                      <a:pt x="3990" y="1099"/>
                    </a:lnTo>
                    <a:lnTo>
                      <a:pt x="3990" y="1087"/>
                    </a:lnTo>
                    <a:lnTo>
                      <a:pt x="3990" y="1087"/>
                    </a:lnTo>
                    <a:lnTo>
                      <a:pt x="3990" y="1087"/>
                    </a:lnTo>
                    <a:close/>
                    <a:moveTo>
                      <a:pt x="3612" y="1099"/>
                    </a:moveTo>
                    <a:lnTo>
                      <a:pt x="3617" y="1099"/>
                    </a:lnTo>
                    <a:lnTo>
                      <a:pt x="3600" y="1099"/>
                    </a:lnTo>
                    <a:lnTo>
                      <a:pt x="3612" y="1099"/>
                    </a:lnTo>
                    <a:lnTo>
                      <a:pt x="3612" y="1099"/>
                    </a:lnTo>
                    <a:lnTo>
                      <a:pt x="3612" y="1099"/>
                    </a:lnTo>
                    <a:close/>
                    <a:moveTo>
                      <a:pt x="2693" y="1122"/>
                    </a:moveTo>
                    <a:lnTo>
                      <a:pt x="2700" y="1139"/>
                    </a:lnTo>
                    <a:lnTo>
                      <a:pt x="2693" y="1144"/>
                    </a:lnTo>
                    <a:lnTo>
                      <a:pt x="2646" y="1160"/>
                    </a:lnTo>
                    <a:lnTo>
                      <a:pt x="2596" y="1160"/>
                    </a:lnTo>
                    <a:lnTo>
                      <a:pt x="2608" y="1160"/>
                    </a:lnTo>
                    <a:lnTo>
                      <a:pt x="2559" y="1144"/>
                    </a:lnTo>
                    <a:lnTo>
                      <a:pt x="2575" y="1139"/>
                    </a:lnTo>
                    <a:lnTo>
                      <a:pt x="2693" y="1122"/>
                    </a:lnTo>
                    <a:lnTo>
                      <a:pt x="2693" y="1122"/>
                    </a:lnTo>
                    <a:lnTo>
                      <a:pt x="2693" y="1122"/>
                    </a:lnTo>
                    <a:close/>
                    <a:moveTo>
                      <a:pt x="3239" y="1144"/>
                    </a:moveTo>
                    <a:lnTo>
                      <a:pt x="3234" y="1160"/>
                    </a:lnTo>
                    <a:lnTo>
                      <a:pt x="3218" y="1155"/>
                    </a:lnTo>
                    <a:lnTo>
                      <a:pt x="3239" y="1144"/>
                    </a:lnTo>
                    <a:lnTo>
                      <a:pt x="3239" y="1144"/>
                    </a:lnTo>
                    <a:lnTo>
                      <a:pt x="3239" y="1144"/>
                    </a:lnTo>
                    <a:close/>
                    <a:moveTo>
                      <a:pt x="4356" y="1155"/>
                    </a:moveTo>
                    <a:lnTo>
                      <a:pt x="4368" y="1155"/>
                    </a:lnTo>
                    <a:lnTo>
                      <a:pt x="4335" y="1177"/>
                    </a:lnTo>
                    <a:lnTo>
                      <a:pt x="4356" y="1193"/>
                    </a:lnTo>
                    <a:lnTo>
                      <a:pt x="4323" y="1181"/>
                    </a:lnTo>
                    <a:lnTo>
                      <a:pt x="4318" y="1193"/>
                    </a:lnTo>
                    <a:lnTo>
                      <a:pt x="4297" y="1181"/>
                    </a:lnTo>
                    <a:lnTo>
                      <a:pt x="4356" y="1155"/>
                    </a:lnTo>
                    <a:lnTo>
                      <a:pt x="4356" y="1155"/>
                    </a:lnTo>
                    <a:lnTo>
                      <a:pt x="4356" y="1155"/>
                    </a:lnTo>
                    <a:close/>
                    <a:moveTo>
                      <a:pt x="1642" y="1155"/>
                    </a:moveTo>
                    <a:lnTo>
                      <a:pt x="1654" y="1155"/>
                    </a:lnTo>
                    <a:lnTo>
                      <a:pt x="1588" y="1233"/>
                    </a:lnTo>
                    <a:lnTo>
                      <a:pt x="1571" y="1238"/>
                    </a:lnTo>
                    <a:lnTo>
                      <a:pt x="1512" y="1222"/>
                    </a:lnTo>
                    <a:lnTo>
                      <a:pt x="1571" y="1177"/>
                    </a:lnTo>
                    <a:lnTo>
                      <a:pt x="1642" y="1155"/>
                    </a:lnTo>
                    <a:lnTo>
                      <a:pt x="1642" y="1155"/>
                    </a:lnTo>
                    <a:lnTo>
                      <a:pt x="1642" y="1155"/>
                    </a:lnTo>
                    <a:close/>
                    <a:moveTo>
                      <a:pt x="2717" y="1155"/>
                    </a:moveTo>
                    <a:lnTo>
                      <a:pt x="2705" y="1165"/>
                    </a:lnTo>
                    <a:lnTo>
                      <a:pt x="2646" y="1177"/>
                    </a:lnTo>
                    <a:lnTo>
                      <a:pt x="2596" y="1177"/>
                    </a:lnTo>
                    <a:lnTo>
                      <a:pt x="2717" y="1155"/>
                    </a:lnTo>
                    <a:lnTo>
                      <a:pt x="2717" y="1155"/>
                    </a:lnTo>
                    <a:lnTo>
                      <a:pt x="2717" y="1155"/>
                    </a:lnTo>
                    <a:close/>
                    <a:moveTo>
                      <a:pt x="1276" y="1160"/>
                    </a:moveTo>
                    <a:lnTo>
                      <a:pt x="1285" y="1160"/>
                    </a:lnTo>
                    <a:lnTo>
                      <a:pt x="1276" y="1165"/>
                    </a:lnTo>
                    <a:lnTo>
                      <a:pt x="1276" y="1160"/>
                    </a:lnTo>
                    <a:lnTo>
                      <a:pt x="1276" y="1160"/>
                    </a:lnTo>
                    <a:lnTo>
                      <a:pt x="1276" y="1160"/>
                    </a:lnTo>
                    <a:close/>
                    <a:moveTo>
                      <a:pt x="2738" y="1177"/>
                    </a:moveTo>
                    <a:lnTo>
                      <a:pt x="2693" y="1198"/>
                    </a:lnTo>
                    <a:lnTo>
                      <a:pt x="2641" y="1198"/>
                    </a:lnTo>
                    <a:lnTo>
                      <a:pt x="2684" y="1177"/>
                    </a:lnTo>
                    <a:lnTo>
                      <a:pt x="2738" y="1177"/>
                    </a:lnTo>
                    <a:lnTo>
                      <a:pt x="2738" y="1177"/>
                    </a:lnTo>
                    <a:lnTo>
                      <a:pt x="2738" y="1177"/>
                    </a:lnTo>
                    <a:close/>
                    <a:moveTo>
                      <a:pt x="3260" y="1165"/>
                    </a:moveTo>
                    <a:lnTo>
                      <a:pt x="3277" y="1198"/>
                    </a:lnTo>
                    <a:lnTo>
                      <a:pt x="3244" y="1198"/>
                    </a:lnTo>
                    <a:lnTo>
                      <a:pt x="3234" y="1177"/>
                    </a:lnTo>
                    <a:lnTo>
                      <a:pt x="3260" y="1165"/>
                    </a:lnTo>
                    <a:lnTo>
                      <a:pt x="3260" y="1165"/>
                    </a:lnTo>
                    <a:lnTo>
                      <a:pt x="3260" y="1165"/>
                    </a:lnTo>
                    <a:close/>
                    <a:moveTo>
                      <a:pt x="3170" y="1181"/>
                    </a:moveTo>
                    <a:lnTo>
                      <a:pt x="3163" y="1177"/>
                    </a:lnTo>
                    <a:lnTo>
                      <a:pt x="3180" y="1165"/>
                    </a:lnTo>
                    <a:lnTo>
                      <a:pt x="3170" y="1181"/>
                    </a:lnTo>
                    <a:lnTo>
                      <a:pt x="3170" y="1181"/>
                    </a:lnTo>
                    <a:lnTo>
                      <a:pt x="3170" y="1181"/>
                    </a:lnTo>
                    <a:close/>
                    <a:moveTo>
                      <a:pt x="1411" y="1177"/>
                    </a:moveTo>
                    <a:lnTo>
                      <a:pt x="1404" y="1210"/>
                    </a:lnTo>
                    <a:lnTo>
                      <a:pt x="1382" y="1198"/>
                    </a:lnTo>
                    <a:lnTo>
                      <a:pt x="1404" y="1193"/>
                    </a:lnTo>
                    <a:lnTo>
                      <a:pt x="1404" y="1177"/>
                    </a:lnTo>
                    <a:lnTo>
                      <a:pt x="1411" y="1177"/>
                    </a:lnTo>
                    <a:lnTo>
                      <a:pt x="1411" y="1177"/>
                    </a:lnTo>
                    <a:lnTo>
                      <a:pt x="1411" y="1177"/>
                    </a:lnTo>
                    <a:close/>
                    <a:moveTo>
                      <a:pt x="1285" y="1177"/>
                    </a:moveTo>
                    <a:lnTo>
                      <a:pt x="1314" y="1181"/>
                    </a:lnTo>
                    <a:lnTo>
                      <a:pt x="1285" y="1177"/>
                    </a:lnTo>
                    <a:lnTo>
                      <a:pt x="1285" y="1177"/>
                    </a:lnTo>
                    <a:lnTo>
                      <a:pt x="1285" y="1177"/>
                    </a:lnTo>
                    <a:close/>
                    <a:moveTo>
                      <a:pt x="3154" y="1222"/>
                    </a:moveTo>
                    <a:lnTo>
                      <a:pt x="3163" y="1233"/>
                    </a:lnTo>
                    <a:lnTo>
                      <a:pt x="3137" y="1250"/>
                    </a:lnTo>
                    <a:lnTo>
                      <a:pt x="3126" y="1233"/>
                    </a:lnTo>
                    <a:lnTo>
                      <a:pt x="3116" y="1238"/>
                    </a:lnTo>
                    <a:lnTo>
                      <a:pt x="3126" y="1250"/>
                    </a:lnTo>
                    <a:lnTo>
                      <a:pt x="3100" y="1267"/>
                    </a:lnTo>
                    <a:lnTo>
                      <a:pt x="3083" y="1238"/>
                    </a:lnTo>
                    <a:lnTo>
                      <a:pt x="3133" y="1215"/>
                    </a:lnTo>
                    <a:lnTo>
                      <a:pt x="3154" y="1222"/>
                    </a:lnTo>
                    <a:lnTo>
                      <a:pt x="3154" y="1222"/>
                    </a:lnTo>
                    <a:lnTo>
                      <a:pt x="3154" y="1222"/>
                    </a:lnTo>
                    <a:close/>
                    <a:moveTo>
                      <a:pt x="3154" y="1326"/>
                    </a:moveTo>
                    <a:lnTo>
                      <a:pt x="3147" y="1321"/>
                    </a:lnTo>
                    <a:lnTo>
                      <a:pt x="3154" y="1309"/>
                    </a:lnTo>
                    <a:lnTo>
                      <a:pt x="3133" y="1326"/>
                    </a:lnTo>
                    <a:lnTo>
                      <a:pt x="3133" y="1309"/>
                    </a:lnTo>
                    <a:lnTo>
                      <a:pt x="3116" y="1309"/>
                    </a:lnTo>
                    <a:lnTo>
                      <a:pt x="3116" y="1304"/>
                    </a:lnTo>
                    <a:lnTo>
                      <a:pt x="3126" y="1288"/>
                    </a:lnTo>
                    <a:lnTo>
                      <a:pt x="3163" y="1271"/>
                    </a:lnTo>
                    <a:lnTo>
                      <a:pt x="3154" y="1267"/>
                    </a:lnTo>
                    <a:lnTo>
                      <a:pt x="3170" y="1255"/>
                    </a:lnTo>
                    <a:lnTo>
                      <a:pt x="3147" y="1255"/>
                    </a:lnTo>
                    <a:lnTo>
                      <a:pt x="3180" y="1255"/>
                    </a:lnTo>
                    <a:lnTo>
                      <a:pt x="3170" y="1250"/>
                    </a:lnTo>
                    <a:lnTo>
                      <a:pt x="3234" y="1215"/>
                    </a:lnTo>
                    <a:lnTo>
                      <a:pt x="3272" y="1222"/>
                    </a:lnTo>
                    <a:lnTo>
                      <a:pt x="3331" y="1271"/>
                    </a:lnTo>
                    <a:lnTo>
                      <a:pt x="3343" y="1326"/>
                    </a:lnTo>
                    <a:lnTo>
                      <a:pt x="3326" y="1359"/>
                    </a:lnTo>
                    <a:lnTo>
                      <a:pt x="3256" y="1366"/>
                    </a:lnTo>
                    <a:lnTo>
                      <a:pt x="3154" y="1326"/>
                    </a:lnTo>
                    <a:lnTo>
                      <a:pt x="3154" y="1326"/>
                    </a:lnTo>
                    <a:lnTo>
                      <a:pt x="3154" y="1326"/>
                    </a:lnTo>
                    <a:close/>
                    <a:moveTo>
                      <a:pt x="2844" y="1233"/>
                    </a:moveTo>
                    <a:lnTo>
                      <a:pt x="2856" y="1222"/>
                    </a:lnTo>
                    <a:lnTo>
                      <a:pt x="2802" y="1233"/>
                    </a:lnTo>
                    <a:lnTo>
                      <a:pt x="2861" y="1222"/>
                    </a:lnTo>
                    <a:lnTo>
                      <a:pt x="2844" y="1233"/>
                    </a:lnTo>
                    <a:lnTo>
                      <a:pt x="2844" y="1233"/>
                    </a:lnTo>
                    <a:lnTo>
                      <a:pt x="2844" y="1233"/>
                    </a:lnTo>
                    <a:close/>
                    <a:moveTo>
                      <a:pt x="2587" y="1250"/>
                    </a:moveTo>
                    <a:lnTo>
                      <a:pt x="2608" y="1267"/>
                    </a:lnTo>
                    <a:lnTo>
                      <a:pt x="2625" y="1288"/>
                    </a:lnTo>
                    <a:lnTo>
                      <a:pt x="2575" y="1309"/>
                    </a:lnTo>
                    <a:lnTo>
                      <a:pt x="2537" y="1292"/>
                    </a:lnTo>
                    <a:lnTo>
                      <a:pt x="2542" y="1267"/>
                    </a:lnTo>
                    <a:lnTo>
                      <a:pt x="2587" y="1250"/>
                    </a:lnTo>
                    <a:lnTo>
                      <a:pt x="2587" y="1250"/>
                    </a:lnTo>
                    <a:lnTo>
                      <a:pt x="2587" y="1250"/>
                    </a:lnTo>
                    <a:close/>
                    <a:moveTo>
                      <a:pt x="3071" y="1267"/>
                    </a:moveTo>
                    <a:lnTo>
                      <a:pt x="3078" y="1276"/>
                    </a:lnTo>
                    <a:lnTo>
                      <a:pt x="3071" y="1267"/>
                    </a:lnTo>
                    <a:lnTo>
                      <a:pt x="3071" y="1267"/>
                    </a:lnTo>
                    <a:lnTo>
                      <a:pt x="3071" y="1267"/>
                    </a:lnTo>
                    <a:close/>
                    <a:moveTo>
                      <a:pt x="3185" y="1366"/>
                    </a:moveTo>
                    <a:lnTo>
                      <a:pt x="3208" y="1382"/>
                    </a:lnTo>
                    <a:lnTo>
                      <a:pt x="3163" y="1378"/>
                    </a:lnTo>
                    <a:lnTo>
                      <a:pt x="3185" y="1366"/>
                    </a:lnTo>
                    <a:lnTo>
                      <a:pt x="3185" y="1366"/>
                    </a:lnTo>
                    <a:lnTo>
                      <a:pt x="3185" y="1366"/>
                    </a:lnTo>
                    <a:close/>
                    <a:moveTo>
                      <a:pt x="3062" y="1366"/>
                    </a:moveTo>
                    <a:lnTo>
                      <a:pt x="3071" y="1378"/>
                    </a:lnTo>
                    <a:lnTo>
                      <a:pt x="3045" y="1387"/>
                    </a:lnTo>
                    <a:lnTo>
                      <a:pt x="3029" y="1382"/>
                    </a:lnTo>
                    <a:lnTo>
                      <a:pt x="3062" y="1366"/>
                    </a:lnTo>
                    <a:lnTo>
                      <a:pt x="3062" y="1366"/>
                    </a:lnTo>
                    <a:lnTo>
                      <a:pt x="3062" y="1366"/>
                    </a:lnTo>
                    <a:close/>
                    <a:moveTo>
                      <a:pt x="1205" y="1493"/>
                    </a:moveTo>
                    <a:lnTo>
                      <a:pt x="1210" y="1486"/>
                    </a:lnTo>
                    <a:lnTo>
                      <a:pt x="1205" y="1477"/>
                    </a:lnTo>
                    <a:lnTo>
                      <a:pt x="1177" y="1470"/>
                    </a:lnTo>
                    <a:lnTo>
                      <a:pt x="1167" y="1437"/>
                    </a:lnTo>
                    <a:lnTo>
                      <a:pt x="1139" y="1404"/>
                    </a:lnTo>
                    <a:lnTo>
                      <a:pt x="1366" y="1378"/>
                    </a:lnTo>
                    <a:lnTo>
                      <a:pt x="1503" y="1420"/>
                    </a:lnTo>
                    <a:lnTo>
                      <a:pt x="1491" y="1444"/>
                    </a:lnTo>
                    <a:lnTo>
                      <a:pt x="1491" y="1453"/>
                    </a:lnTo>
                    <a:lnTo>
                      <a:pt x="1512" y="1420"/>
                    </a:lnTo>
                    <a:lnTo>
                      <a:pt x="1533" y="1420"/>
                    </a:lnTo>
                    <a:lnTo>
                      <a:pt x="1545" y="1437"/>
                    </a:lnTo>
                    <a:lnTo>
                      <a:pt x="1533" y="1453"/>
                    </a:lnTo>
                    <a:lnTo>
                      <a:pt x="1545" y="1453"/>
                    </a:lnTo>
                    <a:lnTo>
                      <a:pt x="1555" y="1437"/>
                    </a:lnTo>
                    <a:lnTo>
                      <a:pt x="1550" y="1432"/>
                    </a:lnTo>
                    <a:lnTo>
                      <a:pt x="1567" y="1420"/>
                    </a:lnTo>
                    <a:lnTo>
                      <a:pt x="1654" y="1420"/>
                    </a:lnTo>
                    <a:lnTo>
                      <a:pt x="1782" y="1498"/>
                    </a:lnTo>
                    <a:lnTo>
                      <a:pt x="1803" y="1526"/>
                    </a:lnTo>
                    <a:lnTo>
                      <a:pt x="1533" y="1642"/>
                    </a:lnTo>
                    <a:lnTo>
                      <a:pt x="1517" y="1682"/>
                    </a:lnTo>
                    <a:lnTo>
                      <a:pt x="1491" y="1699"/>
                    </a:lnTo>
                    <a:lnTo>
                      <a:pt x="1458" y="1692"/>
                    </a:lnTo>
                    <a:lnTo>
                      <a:pt x="1465" y="1708"/>
                    </a:lnTo>
                    <a:lnTo>
                      <a:pt x="1441" y="1737"/>
                    </a:lnTo>
                    <a:lnTo>
                      <a:pt x="1448" y="1770"/>
                    </a:lnTo>
                    <a:lnTo>
                      <a:pt x="1437" y="1793"/>
                    </a:lnTo>
                    <a:lnTo>
                      <a:pt x="1373" y="1810"/>
                    </a:lnTo>
                    <a:lnTo>
                      <a:pt x="1352" y="1803"/>
                    </a:lnTo>
                    <a:lnTo>
                      <a:pt x="1281" y="1848"/>
                    </a:lnTo>
                    <a:lnTo>
                      <a:pt x="1243" y="1843"/>
                    </a:lnTo>
                    <a:lnTo>
                      <a:pt x="1193" y="1770"/>
                    </a:lnTo>
                    <a:lnTo>
                      <a:pt x="1101" y="1737"/>
                    </a:lnTo>
                    <a:lnTo>
                      <a:pt x="1125" y="1732"/>
                    </a:lnTo>
                    <a:lnTo>
                      <a:pt x="1059" y="1732"/>
                    </a:lnTo>
                    <a:lnTo>
                      <a:pt x="1070" y="1732"/>
                    </a:lnTo>
                    <a:lnTo>
                      <a:pt x="1070" y="1708"/>
                    </a:lnTo>
                    <a:lnTo>
                      <a:pt x="1096" y="1675"/>
                    </a:lnTo>
                    <a:lnTo>
                      <a:pt x="1118" y="1654"/>
                    </a:lnTo>
                    <a:lnTo>
                      <a:pt x="1125" y="1637"/>
                    </a:lnTo>
                    <a:lnTo>
                      <a:pt x="1118" y="1621"/>
                    </a:lnTo>
                    <a:lnTo>
                      <a:pt x="1156" y="1604"/>
                    </a:lnTo>
                    <a:lnTo>
                      <a:pt x="1134" y="1581"/>
                    </a:lnTo>
                    <a:lnTo>
                      <a:pt x="1167" y="1531"/>
                    </a:lnTo>
                    <a:lnTo>
                      <a:pt x="1189" y="1515"/>
                    </a:lnTo>
                    <a:lnTo>
                      <a:pt x="1189" y="1498"/>
                    </a:lnTo>
                    <a:lnTo>
                      <a:pt x="1205" y="1493"/>
                    </a:lnTo>
                    <a:lnTo>
                      <a:pt x="1205" y="1493"/>
                    </a:lnTo>
                    <a:lnTo>
                      <a:pt x="1205" y="1493"/>
                    </a:lnTo>
                    <a:close/>
                    <a:moveTo>
                      <a:pt x="2974" y="1404"/>
                    </a:moveTo>
                    <a:lnTo>
                      <a:pt x="2953" y="1415"/>
                    </a:lnTo>
                    <a:lnTo>
                      <a:pt x="2974" y="1404"/>
                    </a:lnTo>
                    <a:lnTo>
                      <a:pt x="2974" y="1404"/>
                    </a:lnTo>
                    <a:lnTo>
                      <a:pt x="2974" y="1404"/>
                    </a:lnTo>
                    <a:close/>
                    <a:moveTo>
                      <a:pt x="3494" y="1548"/>
                    </a:moveTo>
                    <a:lnTo>
                      <a:pt x="3449" y="1609"/>
                    </a:lnTo>
                    <a:lnTo>
                      <a:pt x="3423" y="1637"/>
                    </a:lnTo>
                    <a:lnTo>
                      <a:pt x="3343" y="1621"/>
                    </a:lnTo>
                    <a:lnTo>
                      <a:pt x="3277" y="1626"/>
                    </a:lnTo>
                    <a:lnTo>
                      <a:pt x="3277" y="1637"/>
                    </a:lnTo>
                    <a:lnTo>
                      <a:pt x="3310" y="1637"/>
                    </a:lnTo>
                    <a:lnTo>
                      <a:pt x="3310" y="1642"/>
                    </a:lnTo>
                    <a:lnTo>
                      <a:pt x="3326" y="1654"/>
                    </a:lnTo>
                    <a:lnTo>
                      <a:pt x="3331" y="1666"/>
                    </a:lnTo>
                    <a:lnTo>
                      <a:pt x="3289" y="1725"/>
                    </a:lnTo>
                    <a:lnTo>
                      <a:pt x="3293" y="1732"/>
                    </a:lnTo>
                    <a:lnTo>
                      <a:pt x="3218" y="1732"/>
                    </a:lnTo>
                    <a:lnTo>
                      <a:pt x="3218" y="1715"/>
                    </a:lnTo>
                    <a:lnTo>
                      <a:pt x="3244" y="1708"/>
                    </a:lnTo>
                    <a:lnTo>
                      <a:pt x="3218" y="1708"/>
                    </a:lnTo>
                    <a:lnTo>
                      <a:pt x="3218" y="1666"/>
                    </a:lnTo>
                    <a:lnTo>
                      <a:pt x="3201" y="1642"/>
                    </a:lnTo>
                    <a:lnTo>
                      <a:pt x="3185" y="1637"/>
                    </a:lnTo>
                    <a:lnTo>
                      <a:pt x="3180" y="1581"/>
                    </a:lnTo>
                    <a:lnTo>
                      <a:pt x="3185" y="1571"/>
                    </a:lnTo>
                    <a:lnTo>
                      <a:pt x="3180" y="1515"/>
                    </a:lnTo>
                    <a:lnTo>
                      <a:pt x="3185" y="1510"/>
                    </a:lnTo>
                    <a:lnTo>
                      <a:pt x="3180" y="1493"/>
                    </a:lnTo>
                    <a:lnTo>
                      <a:pt x="3192" y="1486"/>
                    </a:lnTo>
                    <a:lnTo>
                      <a:pt x="3256" y="1498"/>
                    </a:lnTo>
                    <a:lnTo>
                      <a:pt x="3222" y="1486"/>
                    </a:lnTo>
                    <a:lnTo>
                      <a:pt x="3234" y="1477"/>
                    </a:lnTo>
                    <a:lnTo>
                      <a:pt x="3218" y="1477"/>
                    </a:lnTo>
                    <a:lnTo>
                      <a:pt x="3201" y="1460"/>
                    </a:lnTo>
                    <a:lnTo>
                      <a:pt x="3272" y="1437"/>
                    </a:lnTo>
                    <a:lnTo>
                      <a:pt x="3348" y="1432"/>
                    </a:lnTo>
                    <a:lnTo>
                      <a:pt x="3395" y="1437"/>
                    </a:lnTo>
                    <a:lnTo>
                      <a:pt x="3418" y="1453"/>
                    </a:lnTo>
                    <a:lnTo>
                      <a:pt x="3418" y="1460"/>
                    </a:lnTo>
                    <a:lnTo>
                      <a:pt x="3470" y="1453"/>
                    </a:lnTo>
                    <a:lnTo>
                      <a:pt x="3563" y="1470"/>
                    </a:lnTo>
                    <a:lnTo>
                      <a:pt x="3494" y="1548"/>
                    </a:lnTo>
                    <a:lnTo>
                      <a:pt x="3494" y="1548"/>
                    </a:lnTo>
                    <a:lnTo>
                      <a:pt x="3494" y="1548"/>
                    </a:lnTo>
                    <a:close/>
                    <a:moveTo>
                      <a:pt x="3041" y="1437"/>
                    </a:moveTo>
                    <a:lnTo>
                      <a:pt x="3029" y="1453"/>
                    </a:lnTo>
                    <a:lnTo>
                      <a:pt x="2991" y="1477"/>
                    </a:lnTo>
                    <a:lnTo>
                      <a:pt x="2948" y="1486"/>
                    </a:lnTo>
                    <a:lnTo>
                      <a:pt x="2915" y="1470"/>
                    </a:lnTo>
                    <a:lnTo>
                      <a:pt x="3041" y="1437"/>
                    </a:lnTo>
                    <a:lnTo>
                      <a:pt x="3041" y="1437"/>
                    </a:lnTo>
                    <a:lnTo>
                      <a:pt x="3041" y="1437"/>
                    </a:lnTo>
                    <a:close/>
                    <a:moveTo>
                      <a:pt x="3579" y="1453"/>
                    </a:moveTo>
                    <a:lnTo>
                      <a:pt x="3558" y="1453"/>
                    </a:lnTo>
                    <a:lnTo>
                      <a:pt x="3584" y="1444"/>
                    </a:lnTo>
                    <a:lnTo>
                      <a:pt x="3579" y="1453"/>
                    </a:lnTo>
                    <a:lnTo>
                      <a:pt x="3579" y="1453"/>
                    </a:lnTo>
                    <a:lnTo>
                      <a:pt x="3579" y="1453"/>
                    </a:lnTo>
                    <a:close/>
                    <a:moveTo>
                      <a:pt x="2807" y="1708"/>
                    </a:moveTo>
                    <a:lnTo>
                      <a:pt x="2793" y="1682"/>
                    </a:lnTo>
                    <a:lnTo>
                      <a:pt x="2755" y="1692"/>
                    </a:lnTo>
                    <a:lnTo>
                      <a:pt x="2738" y="1666"/>
                    </a:lnTo>
                    <a:lnTo>
                      <a:pt x="2693" y="1637"/>
                    </a:lnTo>
                    <a:lnTo>
                      <a:pt x="2684" y="1621"/>
                    </a:lnTo>
                    <a:lnTo>
                      <a:pt x="2700" y="1588"/>
                    </a:lnTo>
                    <a:lnTo>
                      <a:pt x="2722" y="1581"/>
                    </a:lnTo>
                    <a:lnTo>
                      <a:pt x="2769" y="1609"/>
                    </a:lnTo>
                    <a:lnTo>
                      <a:pt x="2785" y="1637"/>
                    </a:lnTo>
                    <a:lnTo>
                      <a:pt x="2844" y="1626"/>
                    </a:lnTo>
                    <a:lnTo>
                      <a:pt x="2856" y="1621"/>
                    </a:lnTo>
                    <a:lnTo>
                      <a:pt x="2840" y="1597"/>
                    </a:lnTo>
                    <a:lnTo>
                      <a:pt x="2844" y="1588"/>
                    </a:lnTo>
                    <a:lnTo>
                      <a:pt x="2856" y="1588"/>
                    </a:lnTo>
                    <a:lnTo>
                      <a:pt x="2844" y="1604"/>
                    </a:lnTo>
                    <a:lnTo>
                      <a:pt x="2856" y="1609"/>
                    </a:lnTo>
                    <a:lnTo>
                      <a:pt x="2878" y="1604"/>
                    </a:lnTo>
                    <a:lnTo>
                      <a:pt x="2861" y="1571"/>
                    </a:lnTo>
                    <a:lnTo>
                      <a:pt x="2844" y="1581"/>
                    </a:lnTo>
                    <a:lnTo>
                      <a:pt x="2840" y="1571"/>
                    </a:lnTo>
                    <a:lnTo>
                      <a:pt x="2844" y="1555"/>
                    </a:lnTo>
                    <a:lnTo>
                      <a:pt x="2878" y="1564"/>
                    </a:lnTo>
                    <a:lnTo>
                      <a:pt x="2894" y="1564"/>
                    </a:lnTo>
                    <a:lnTo>
                      <a:pt x="2844" y="1543"/>
                    </a:lnTo>
                    <a:lnTo>
                      <a:pt x="2840" y="1555"/>
                    </a:lnTo>
                    <a:lnTo>
                      <a:pt x="2814" y="1555"/>
                    </a:lnTo>
                    <a:lnTo>
                      <a:pt x="2759" y="1526"/>
                    </a:lnTo>
                    <a:lnTo>
                      <a:pt x="2814" y="1510"/>
                    </a:lnTo>
                    <a:lnTo>
                      <a:pt x="2844" y="1531"/>
                    </a:lnTo>
                    <a:lnTo>
                      <a:pt x="2830" y="1526"/>
                    </a:lnTo>
                    <a:lnTo>
                      <a:pt x="2840" y="1510"/>
                    </a:lnTo>
                    <a:lnTo>
                      <a:pt x="2802" y="1493"/>
                    </a:lnTo>
                    <a:lnTo>
                      <a:pt x="2807" y="1486"/>
                    </a:lnTo>
                    <a:lnTo>
                      <a:pt x="2840" y="1477"/>
                    </a:lnTo>
                    <a:lnTo>
                      <a:pt x="2868" y="1486"/>
                    </a:lnTo>
                    <a:lnTo>
                      <a:pt x="2882" y="1470"/>
                    </a:lnTo>
                    <a:lnTo>
                      <a:pt x="2856" y="1477"/>
                    </a:lnTo>
                    <a:lnTo>
                      <a:pt x="2878" y="1460"/>
                    </a:lnTo>
                    <a:lnTo>
                      <a:pt x="2932" y="1493"/>
                    </a:lnTo>
                    <a:lnTo>
                      <a:pt x="3003" y="1486"/>
                    </a:lnTo>
                    <a:lnTo>
                      <a:pt x="3029" y="1470"/>
                    </a:lnTo>
                    <a:lnTo>
                      <a:pt x="3071" y="1477"/>
                    </a:lnTo>
                    <a:lnTo>
                      <a:pt x="3095" y="1498"/>
                    </a:lnTo>
                    <a:lnTo>
                      <a:pt x="3071" y="1515"/>
                    </a:lnTo>
                    <a:lnTo>
                      <a:pt x="3041" y="1515"/>
                    </a:lnTo>
                    <a:lnTo>
                      <a:pt x="3041" y="1531"/>
                    </a:lnTo>
                    <a:lnTo>
                      <a:pt x="3071" y="1526"/>
                    </a:lnTo>
                    <a:lnTo>
                      <a:pt x="3078" y="1543"/>
                    </a:lnTo>
                    <a:lnTo>
                      <a:pt x="3029" y="1555"/>
                    </a:lnTo>
                    <a:lnTo>
                      <a:pt x="2986" y="1588"/>
                    </a:lnTo>
                    <a:lnTo>
                      <a:pt x="2986" y="1609"/>
                    </a:lnTo>
                    <a:lnTo>
                      <a:pt x="3019" y="1588"/>
                    </a:lnTo>
                    <a:lnTo>
                      <a:pt x="3062" y="1597"/>
                    </a:lnTo>
                    <a:lnTo>
                      <a:pt x="3071" y="1604"/>
                    </a:lnTo>
                    <a:lnTo>
                      <a:pt x="3071" y="1609"/>
                    </a:lnTo>
                    <a:lnTo>
                      <a:pt x="3083" y="1626"/>
                    </a:lnTo>
                    <a:lnTo>
                      <a:pt x="3071" y="1642"/>
                    </a:lnTo>
                    <a:lnTo>
                      <a:pt x="3116" y="1626"/>
                    </a:lnTo>
                    <a:lnTo>
                      <a:pt x="3137" y="1675"/>
                    </a:lnTo>
                    <a:lnTo>
                      <a:pt x="3095" y="1682"/>
                    </a:lnTo>
                    <a:lnTo>
                      <a:pt x="3116" y="1692"/>
                    </a:lnTo>
                    <a:lnTo>
                      <a:pt x="3126" y="1715"/>
                    </a:lnTo>
                    <a:lnTo>
                      <a:pt x="3095" y="1725"/>
                    </a:lnTo>
                    <a:lnTo>
                      <a:pt x="3126" y="1725"/>
                    </a:lnTo>
                    <a:lnTo>
                      <a:pt x="3126" y="1737"/>
                    </a:lnTo>
                    <a:lnTo>
                      <a:pt x="3100" y="1737"/>
                    </a:lnTo>
                    <a:lnTo>
                      <a:pt x="3126" y="1737"/>
                    </a:lnTo>
                    <a:lnTo>
                      <a:pt x="3116" y="1753"/>
                    </a:lnTo>
                    <a:lnTo>
                      <a:pt x="3100" y="1753"/>
                    </a:lnTo>
                    <a:lnTo>
                      <a:pt x="3057" y="1781"/>
                    </a:lnTo>
                    <a:lnTo>
                      <a:pt x="3007" y="1781"/>
                    </a:lnTo>
                    <a:lnTo>
                      <a:pt x="2991" y="1765"/>
                    </a:lnTo>
                    <a:lnTo>
                      <a:pt x="3003" y="1748"/>
                    </a:lnTo>
                    <a:lnTo>
                      <a:pt x="3003" y="1737"/>
                    </a:lnTo>
                    <a:lnTo>
                      <a:pt x="2986" y="1770"/>
                    </a:lnTo>
                    <a:lnTo>
                      <a:pt x="3019" y="1793"/>
                    </a:lnTo>
                    <a:lnTo>
                      <a:pt x="2970" y="1826"/>
                    </a:lnTo>
                    <a:lnTo>
                      <a:pt x="2948" y="1810"/>
                    </a:lnTo>
                    <a:lnTo>
                      <a:pt x="2932" y="1819"/>
                    </a:lnTo>
                    <a:lnTo>
                      <a:pt x="2899" y="1765"/>
                    </a:lnTo>
                    <a:lnTo>
                      <a:pt x="2868" y="1748"/>
                    </a:lnTo>
                    <a:lnTo>
                      <a:pt x="2830" y="1708"/>
                    </a:lnTo>
                    <a:lnTo>
                      <a:pt x="2807" y="1708"/>
                    </a:lnTo>
                    <a:lnTo>
                      <a:pt x="2807" y="1708"/>
                    </a:lnTo>
                    <a:lnTo>
                      <a:pt x="2807" y="1708"/>
                    </a:lnTo>
                    <a:close/>
                    <a:moveTo>
                      <a:pt x="4096" y="2008"/>
                    </a:moveTo>
                    <a:lnTo>
                      <a:pt x="4066" y="1992"/>
                    </a:lnTo>
                    <a:lnTo>
                      <a:pt x="4016" y="2003"/>
                    </a:lnTo>
                    <a:lnTo>
                      <a:pt x="3903" y="1975"/>
                    </a:lnTo>
                    <a:lnTo>
                      <a:pt x="3865" y="1987"/>
                    </a:lnTo>
                    <a:lnTo>
                      <a:pt x="3910" y="1992"/>
                    </a:lnTo>
                    <a:lnTo>
                      <a:pt x="3872" y="1992"/>
                    </a:lnTo>
                    <a:lnTo>
                      <a:pt x="3818" y="1959"/>
                    </a:lnTo>
                    <a:lnTo>
                      <a:pt x="3818" y="1947"/>
                    </a:lnTo>
                    <a:lnTo>
                      <a:pt x="3839" y="1930"/>
                    </a:lnTo>
                    <a:lnTo>
                      <a:pt x="3834" y="1921"/>
                    </a:lnTo>
                    <a:lnTo>
                      <a:pt x="3811" y="1954"/>
                    </a:lnTo>
                    <a:lnTo>
                      <a:pt x="3796" y="1954"/>
                    </a:lnTo>
                    <a:lnTo>
                      <a:pt x="3785" y="1930"/>
                    </a:lnTo>
                    <a:lnTo>
                      <a:pt x="3773" y="1947"/>
                    </a:lnTo>
                    <a:lnTo>
                      <a:pt x="3785" y="1947"/>
                    </a:lnTo>
                    <a:lnTo>
                      <a:pt x="3785" y="1954"/>
                    </a:lnTo>
                    <a:lnTo>
                      <a:pt x="3742" y="1954"/>
                    </a:lnTo>
                    <a:lnTo>
                      <a:pt x="3747" y="1954"/>
                    </a:lnTo>
                    <a:lnTo>
                      <a:pt x="3730" y="1959"/>
                    </a:lnTo>
                    <a:lnTo>
                      <a:pt x="3704" y="1954"/>
                    </a:lnTo>
                    <a:lnTo>
                      <a:pt x="3726" y="1954"/>
                    </a:lnTo>
                    <a:lnTo>
                      <a:pt x="3709" y="1947"/>
                    </a:lnTo>
                    <a:lnTo>
                      <a:pt x="3667" y="1930"/>
                    </a:lnTo>
                    <a:lnTo>
                      <a:pt x="3617" y="1876"/>
                    </a:lnTo>
                    <a:lnTo>
                      <a:pt x="3633" y="1864"/>
                    </a:lnTo>
                    <a:lnTo>
                      <a:pt x="3612" y="1848"/>
                    </a:lnTo>
                    <a:lnTo>
                      <a:pt x="3721" y="1876"/>
                    </a:lnTo>
                    <a:lnTo>
                      <a:pt x="3785" y="1864"/>
                    </a:lnTo>
                    <a:lnTo>
                      <a:pt x="3742" y="1843"/>
                    </a:lnTo>
                    <a:lnTo>
                      <a:pt x="3726" y="1843"/>
                    </a:lnTo>
                    <a:lnTo>
                      <a:pt x="3726" y="1826"/>
                    </a:lnTo>
                    <a:lnTo>
                      <a:pt x="3676" y="1836"/>
                    </a:lnTo>
                    <a:lnTo>
                      <a:pt x="3584" y="1819"/>
                    </a:lnTo>
                    <a:lnTo>
                      <a:pt x="3579" y="1786"/>
                    </a:lnTo>
                    <a:lnTo>
                      <a:pt x="3596" y="1765"/>
                    </a:lnTo>
                    <a:lnTo>
                      <a:pt x="3570" y="1737"/>
                    </a:lnTo>
                    <a:lnTo>
                      <a:pt x="3579" y="1725"/>
                    </a:lnTo>
                    <a:lnTo>
                      <a:pt x="3612" y="1708"/>
                    </a:lnTo>
                    <a:lnTo>
                      <a:pt x="3584" y="1708"/>
                    </a:lnTo>
                    <a:lnTo>
                      <a:pt x="3579" y="1682"/>
                    </a:lnTo>
                    <a:lnTo>
                      <a:pt x="3596" y="1642"/>
                    </a:lnTo>
                    <a:lnTo>
                      <a:pt x="3617" y="1637"/>
                    </a:lnTo>
                    <a:lnTo>
                      <a:pt x="3612" y="1637"/>
                    </a:lnTo>
                    <a:lnTo>
                      <a:pt x="3612" y="1621"/>
                    </a:lnTo>
                    <a:lnTo>
                      <a:pt x="3622" y="1626"/>
                    </a:lnTo>
                    <a:lnTo>
                      <a:pt x="3622" y="1597"/>
                    </a:lnTo>
                    <a:lnTo>
                      <a:pt x="3633" y="1571"/>
                    </a:lnTo>
                    <a:lnTo>
                      <a:pt x="3671" y="1531"/>
                    </a:lnTo>
                    <a:lnTo>
                      <a:pt x="3747" y="1493"/>
                    </a:lnTo>
                    <a:lnTo>
                      <a:pt x="3839" y="1477"/>
                    </a:lnTo>
                    <a:lnTo>
                      <a:pt x="3941" y="1493"/>
                    </a:lnTo>
                    <a:lnTo>
                      <a:pt x="3865" y="1548"/>
                    </a:lnTo>
                    <a:lnTo>
                      <a:pt x="3811" y="1609"/>
                    </a:lnTo>
                    <a:lnTo>
                      <a:pt x="3801" y="1637"/>
                    </a:lnTo>
                    <a:lnTo>
                      <a:pt x="3839" y="1675"/>
                    </a:lnTo>
                    <a:lnTo>
                      <a:pt x="3827" y="1692"/>
                    </a:lnTo>
                    <a:lnTo>
                      <a:pt x="3827" y="1732"/>
                    </a:lnTo>
                    <a:lnTo>
                      <a:pt x="3893" y="1793"/>
                    </a:lnTo>
                    <a:lnTo>
                      <a:pt x="3936" y="1810"/>
                    </a:lnTo>
                    <a:lnTo>
                      <a:pt x="3941" y="1826"/>
                    </a:lnTo>
                    <a:lnTo>
                      <a:pt x="3865" y="1843"/>
                    </a:lnTo>
                    <a:lnTo>
                      <a:pt x="3801" y="1864"/>
                    </a:lnTo>
                    <a:lnTo>
                      <a:pt x="3936" y="1836"/>
                    </a:lnTo>
                    <a:lnTo>
                      <a:pt x="3941" y="1843"/>
                    </a:lnTo>
                    <a:lnTo>
                      <a:pt x="3936" y="1848"/>
                    </a:lnTo>
                    <a:lnTo>
                      <a:pt x="3919" y="1848"/>
                    </a:lnTo>
                    <a:lnTo>
                      <a:pt x="3936" y="1848"/>
                    </a:lnTo>
                    <a:lnTo>
                      <a:pt x="3936" y="1876"/>
                    </a:lnTo>
                    <a:lnTo>
                      <a:pt x="3941" y="1876"/>
                    </a:lnTo>
                    <a:lnTo>
                      <a:pt x="3941" y="1810"/>
                    </a:lnTo>
                    <a:lnTo>
                      <a:pt x="3962" y="1803"/>
                    </a:lnTo>
                    <a:lnTo>
                      <a:pt x="3945" y="1786"/>
                    </a:lnTo>
                    <a:lnTo>
                      <a:pt x="3957" y="1770"/>
                    </a:lnTo>
                    <a:lnTo>
                      <a:pt x="3910" y="1770"/>
                    </a:lnTo>
                    <a:lnTo>
                      <a:pt x="3886" y="1765"/>
                    </a:lnTo>
                    <a:lnTo>
                      <a:pt x="3893" y="1753"/>
                    </a:lnTo>
                    <a:lnTo>
                      <a:pt x="3886" y="1737"/>
                    </a:lnTo>
                    <a:lnTo>
                      <a:pt x="3855" y="1732"/>
                    </a:lnTo>
                    <a:lnTo>
                      <a:pt x="3893" y="1725"/>
                    </a:lnTo>
                    <a:lnTo>
                      <a:pt x="3893" y="1715"/>
                    </a:lnTo>
                    <a:lnTo>
                      <a:pt x="3893" y="1692"/>
                    </a:lnTo>
                    <a:lnTo>
                      <a:pt x="3936" y="1699"/>
                    </a:lnTo>
                    <a:lnTo>
                      <a:pt x="3990" y="1737"/>
                    </a:lnTo>
                    <a:lnTo>
                      <a:pt x="3990" y="1732"/>
                    </a:lnTo>
                    <a:lnTo>
                      <a:pt x="3936" y="1692"/>
                    </a:lnTo>
                    <a:lnTo>
                      <a:pt x="3962" y="1675"/>
                    </a:lnTo>
                    <a:lnTo>
                      <a:pt x="3936" y="1682"/>
                    </a:lnTo>
                    <a:lnTo>
                      <a:pt x="3941" y="1666"/>
                    </a:lnTo>
                    <a:lnTo>
                      <a:pt x="3919" y="1682"/>
                    </a:lnTo>
                    <a:lnTo>
                      <a:pt x="3886" y="1666"/>
                    </a:lnTo>
                    <a:lnTo>
                      <a:pt x="3886" y="1659"/>
                    </a:lnTo>
                    <a:lnTo>
                      <a:pt x="3893" y="1654"/>
                    </a:lnTo>
                    <a:lnTo>
                      <a:pt x="3881" y="1642"/>
                    </a:lnTo>
                    <a:lnTo>
                      <a:pt x="3881" y="1609"/>
                    </a:lnTo>
                    <a:lnTo>
                      <a:pt x="3910" y="1597"/>
                    </a:lnTo>
                    <a:lnTo>
                      <a:pt x="4000" y="1626"/>
                    </a:lnTo>
                    <a:lnTo>
                      <a:pt x="3886" y="1588"/>
                    </a:lnTo>
                    <a:lnTo>
                      <a:pt x="3903" y="1571"/>
                    </a:lnTo>
                    <a:lnTo>
                      <a:pt x="3919" y="1588"/>
                    </a:lnTo>
                    <a:lnTo>
                      <a:pt x="3910" y="1581"/>
                    </a:lnTo>
                    <a:lnTo>
                      <a:pt x="3919" y="1571"/>
                    </a:lnTo>
                    <a:lnTo>
                      <a:pt x="4028" y="1597"/>
                    </a:lnTo>
                    <a:lnTo>
                      <a:pt x="3919" y="1564"/>
                    </a:lnTo>
                    <a:lnTo>
                      <a:pt x="3941" y="1543"/>
                    </a:lnTo>
                    <a:lnTo>
                      <a:pt x="3974" y="1564"/>
                    </a:lnTo>
                    <a:lnTo>
                      <a:pt x="3945" y="1543"/>
                    </a:lnTo>
                    <a:lnTo>
                      <a:pt x="3990" y="1526"/>
                    </a:lnTo>
                    <a:lnTo>
                      <a:pt x="4016" y="1531"/>
                    </a:lnTo>
                    <a:lnTo>
                      <a:pt x="4028" y="1548"/>
                    </a:lnTo>
                    <a:lnTo>
                      <a:pt x="4028" y="1531"/>
                    </a:lnTo>
                    <a:lnTo>
                      <a:pt x="3995" y="1526"/>
                    </a:lnTo>
                    <a:lnTo>
                      <a:pt x="4082" y="1493"/>
                    </a:lnTo>
                    <a:lnTo>
                      <a:pt x="4172" y="1493"/>
                    </a:lnTo>
                    <a:lnTo>
                      <a:pt x="4196" y="1526"/>
                    </a:lnTo>
                    <a:lnTo>
                      <a:pt x="4196" y="1555"/>
                    </a:lnTo>
                    <a:lnTo>
                      <a:pt x="4243" y="1581"/>
                    </a:lnTo>
                    <a:lnTo>
                      <a:pt x="4233" y="1604"/>
                    </a:lnTo>
                    <a:lnTo>
                      <a:pt x="4259" y="1626"/>
                    </a:lnTo>
                    <a:lnTo>
                      <a:pt x="4179" y="1699"/>
                    </a:lnTo>
                    <a:lnTo>
                      <a:pt x="4243" y="1659"/>
                    </a:lnTo>
                    <a:lnTo>
                      <a:pt x="4243" y="1675"/>
                    </a:lnTo>
                    <a:lnTo>
                      <a:pt x="4210" y="1708"/>
                    </a:lnTo>
                    <a:lnTo>
                      <a:pt x="4243" y="1725"/>
                    </a:lnTo>
                    <a:lnTo>
                      <a:pt x="4205" y="1725"/>
                    </a:lnTo>
                    <a:lnTo>
                      <a:pt x="4226" y="1725"/>
                    </a:lnTo>
                    <a:lnTo>
                      <a:pt x="4210" y="1748"/>
                    </a:lnTo>
                    <a:lnTo>
                      <a:pt x="4248" y="1725"/>
                    </a:lnTo>
                    <a:lnTo>
                      <a:pt x="4243" y="1708"/>
                    </a:lnTo>
                    <a:lnTo>
                      <a:pt x="4264" y="1699"/>
                    </a:lnTo>
                    <a:lnTo>
                      <a:pt x="4259" y="1692"/>
                    </a:lnTo>
                    <a:lnTo>
                      <a:pt x="4302" y="1715"/>
                    </a:lnTo>
                    <a:lnTo>
                      <a:pt x="4264" y="1682"/>
                    </a:lnTo>
                    <a:lnTo>
                      <a:pt x="4297" y="1659"/>
                    </a:lnTo>
                    <a:lnTo>
                      <a:pt x="4302" y="1682"/>
                    </a:lnTo>
                    <a:lnTo>
                      <a:pt x="4297" y="1699"/>
                    </a:lnTo>
                    <a:lnTo>
                      <a:pt x="4323" y="1675"/>
                    </a:lnTo>
                    <a:lnTo>
                      <a:pt x="4352" y="1692"/>
                    </a:lnTo>
                    <a:lnTo>
                      <a:pt x="4352" y="1708"/>
                    </a:lnTo>
                    <a:lnTo>
                      <a:pt x="4335" y="1732"/>
                    </a:lnTo>
                    <a:lnTo>
                      <a:pt x="4378" y="1748"/>
                    </a:lnTo>
                    <a:lnTo>
                      <a:pt x="4356" y="1732"/>
                    </a:lnTo>
                    <a:lnTo>
                      <a:pt x="4356" y="1708"/>
                    </a:lnTo>
                    <a:lnTo>
                      <a:pt x="4389" y="1715"/>
                    </a:lnTo>
                    <a:lnTo>
                      <a:pt x="4406" y="1753"/>
                    </a:lnTo>
                    <a:lnTo>
                      <a:pt x="4427" y="1765"/>
                    </a:lnTo>
                    <a:lnTo>
                      <a:pt x="4394" y="1737"/>
                    </a:lnTo>
                    <a:lnTo>
                      <a:pt x="4411" y="1732"/>
                    </a:lnTo>
                    <a:lnTo>
                      <a:pt x="4432" y="1753"/>
                    </a:lnTo>
                    <a:lnTo>
                      <a:pt x="4411" y="1732"/>
                    </a:lnTo>
                    <a:lnTo>
                      <a:pt x="4394" y="1732"/>
                    </a:lnTo>
                    <a:lnTo>
                      <a:pt x="4389" y="1715"/>
                    </a:lnTo>
                    <a:lnTo>
                      <a:pt x="4356" y="1699"/>
                    </a:lnTo>
                    <a:lnTo>
                      <a:pt x="4373" y="1682"/>
                    </a:lnTo>
                    <a:lnTo>
                      <a:pt x="4389" y="1708"/>
                    </a:lnTo>
                    <a:lnTo>
                      <a:pt x="4389" y="1682"/>
                    </a:lnTo>
                    <a:lnTo>
                      <a:pt x="4486" y="1715"/>
                    </a:lnTo>
                    <a:lnTo>
                      <a:pt x="4378" y="1666"/>
                    </a:lnTo>
                    <a:lnTo>
                      <a:pt x="4389" y="1654"/>
                    </a:lnTo>
                    <a:lnTo>
                      <a:pt x="4444" y="1626"/>
                    </a:lnTo>
                    <a:lnTo>
                      <a:pt x="4503" y="1626"/>
                    </a:lnTo>
                    <a:lnTo>
                      <a:pt x="4512" y="1642"/>
                    </a:lnTo>
                    <a:lnTo>
                      <a:pt x="4550" y="1654"/>
                    </a:lnTo>
                    <a:lnTo>
                      <a:pt x="4550" y="1666"/>
                    </a:lnTo>
                    <a:lnTo>
                      <a:pt x="4567" y="1654"/>
                    </a:lnTo>
                    <a:lnTo>
                      <a:pt x="4611" y="1659"/>
                    </a:lnTo>
                    <a:lnTo>
                      <a:pt x="4637" y="1699"/>
                    </a:lnTo>
                    <a:lnTo>
                      <a:pt x="4611" y="1715"/>
                    </a:lnTo>
                    <a:lnTo>
                      <a:pt x="4557" y="1715"/>
                    </a:lnTo>
                    <a:lnTo>
                      <a:pt x="4536" y="1748"/>
                    </a:lnTo>
                    <a:lnTo>
                      <a:pt x="4574" y="1715"/>
                    </a:lnTo>
                    <a:lnTo>
                      <a:pt x="4611" y="1725"/>
                    </a:lnTo>
                    <a:lnTo>
                      <a:pt x="4588" y="1732"/>
                    </a:lnTo>
                    <a:lnTo>
                      <a:pt x="4574" y="1765"/>
                    </a:lnTo>
                    <a:lnTo>
                      <a:pt x="4550" y="1770"/>
                    </a:lnTo>
                    <a:lnTo>
                      <a:pt x="4574" y="1765"/>
                    </a:lnTo>
                    <a:lnTo>
                      <a:pt x="4588" y="1732"/>
                    </a:lnTo>
                    <a:lnTo>
                      <a:pt x="4626" y="1715"/>
                    </a:lnTo>
                    <a:lnTo>
                      <a:pt x="4680" y="1725"/>
                    </a:lnTo>
                    <a:lnTo>
                      <a:pt x="4692" y="1732"/>
                    </a:lnTo>
                    <a:lnTo>
                      <a:pt x="4680" y="1753"/>
                    </a:lnTo>
                    <a:lnTo>
                      <a:pt x="4604" y="1770"/>
                    </a:lnTo>
                    <a:lnTo>
                      <a:pt x="4637" y="1781"/>
                    </a:lnTo>
                    <a:lnTo>
                      <a:pt x="4595" y="1793"/>
                    </a:lnTo>
                    <a:lnTo>
                      <a:pt x="4659" y="1781"/>
                    </a:lnTo>
                    <a:lnTo>
                      <a:pt x="4621" y="1803"/>
                    </a:lnTo>
                    <a:lnTo>
                      <a:pt x="4642" y="1793"/>
                    </a:lnTo>
                    <a:lnTo>
                      <a:pt x="4649" y="1810"/>
                    </a:lnTo>
                    <a:lnTo>
                      <a:pt x="4621" y="1843"/>
                    </a:lnTo>
                    <a:lnTo>
                      <a:pt x="4649" y="1810"/>
                    </a:lnTo>
                    <a:lnTo>
                      <a:pt x="4649" y="1793"/>
                    </a:lnTo>
                    <a:lnTo>
                      <a:pt x="4659" y="1781"/>
                    </a:lnTo>
                    <a:lnTo>
                      <a:pt x="4692" y="1765"/>
                    </a:lnTo>
                    <a:lnTo>
                      <a:pt x="4680" y="1781"/>
                    </a:lnTo>
                    <a:lnTo>
                      <a:pt x="4692" y="1793"/>
                    </a:lnTo>
                    <a:lnTo>
                      <a:pt x="4696" y="1765"/>
                    </a:lnTo>
                    <a:lnTo>
                      <a:pt x="4718" y="1765"/>
                    </a:lnTo>
                    <a:lnTo>
                      <a:pt x="4729" y="1765"/>
                    </a:lnTo>
                    <a:lnTo>
                      <a:pt x="4696" y="1793"/>
                    </a:lnTo>
                    <a:lnTo>
                      <a:pt x="4675" y="1810"/>
                    </a:lnTo>
                    <a:lnTo>
                      <a:pt x="4696" y="1803"/>
                    </a:lnTo>
                    <a:lnTo>
                      <a:pt x="4692" y="1826"/>
                    </a:lnTo>
                    <a:lnTo>
                      <a:pt x="4680" y="1836"/>
                    </a:lnTo>
                    <a:lnTo>
                      <a:pt x="4696" y="1826"/>
                    </a:lnTo>
                    <a:lnTo>
                      <a:pt x="4713" y="1793"/>
                    </a:lnTo>
                    <a:lnTo>
                      <a:pt x="4729" y="1786"/>
                    </a:lnTo>
                    <a:lnTo>
                      <a:pt x="4729" y="1819"/>
                    </a:lnTo>
                    <a:lnTo>
                      <a:pt x="4734" y="1803"/>
                    </a:lnTo>
                    <a:lnTo>
                      <a:pt x="4746" y="1810"/>
                    </a:lnTo>
                    <a:lnTo>
                      <a:pt x="4729" y="1826"/>
                    </a:lnTo>
                    <a:lnTo>
                      <a:pt x="4718" y="1848"/>
                    </a:lnTo>
                    <a:lnTo>
                      <a:pt x="4701" y="1859"/>
                    </a:lnTo>
                    <a:lnTo>
                      <a:pt x="4718" y="1848"/>
                    </a:lnTo>
                    <a:lnTo>
                      <a:pt x="4729" y="1836"/>
                    </a:lnTo>
                    <a:lnTo>
                      <a:pt x="4734" y="1819"/>
                    </a:lnTo>
                    <a:lnTo>
                      <a:pt x="4767" y="1826"/>
                    </a:lnTo>
                    <a:lnTo>
                      <a:pt x="4751" y="1836"/>
                    </a:lnTo>
                    <a:lnTo>
                      <a:pt x="4751" y="1848"/>
                    </a:lnTo>
                    <a:lnTo>
                      <a:pt x="4734" y="1859"/>
                    </a:lnTo>
                    <a:lnTo>
                      <a:pt x="4746" y="1864"/>
                    </a:lnTo>
                    <a:lnTo>
                      <a:pt x="4755" y="1836"/>
                    </a:lnTo>
                    <a:lnTo>
                      <a:pt x="4767" y="1826"/>
                    </a:lnTo>
                    <a:lnTo>
                      <a:pt x="4767" y="1810"/>
                    </a:lnTo>
                    <a:lnTo>
                      <a:pt x="4789" y="1810"/>
                    </a:lnTo>
                    <a:lnTo>
                      <a:pt x="4805" y="1781"/>
                    </a:lnTo>
                    <a:lnTo>
                      <a:pt x="4864" y="1793"/>
                    </a:lnTo>
                    <a:lnTo>
                      <a:pt x="4897" y="1826"/>
                    </a:lnTo>
                    <a:lnTo>
                      <a:pt x="4874" y="1859"/>
                    </a:lnTo>
                    <a:lnTo>
                      <a:pt x="4843" y="1848"/>
                    </a:lnTo>
                    <a:lnTo>
                      <a:pt x="4810" y="1881"/>
                    </a:lnTo>
                    <a:lnTo>
                      <a:pt x="4789" y="1881"/>
                    </a:lnTo>
                    <a:lnTo>
                      <a:pt x="4826" y="1881"/>
                    </a:lnTo>
                    <a:lnTo>
                      <a:pt x="4810" y="1904"/>
                    </a:lnTo>
                    <a:lnTo>
                      <a:pt x="4798" y="1914"/>
                    </a:lnTo>
                    <a:lnTo>
                      <a:pt x="4826" y="1892"/>
                    </a:lnTo>
                    <a:lnTo>
                      <a:pt x="4881" y="1881"/>
                    </a:lnTo>
                    <a:lnTo>
                      <a:pt x="4897" y="1859"/>
                    </a:lnTo>
                    <a:lnTo>
                      <a:pt x="4918" y="1848"/>
                    </a:lnTo>
                    <a:lnTo>
                      <a:pt x="4935" y="1859"/>
                    </a:lnTo>
                    <a:lnTo>
                      <a:pt x="4944" y="1876"/>
                    </a:lnTo>
                    <a:lnTo>
                      <a:pt x="4928" y="1897"/>
                    </a:lnTo>
                    <a:lnTo>
                      <a:pt x="4897" y="1914"/>
                    </a:lnTo>
                    <a:lnTo>
                      <a:pt x="4864" y="1914"/>
                    </a:lnTo>
                    <a:lnTo>
                      <a:pt x="4852" y="1937"/>
                    </a:lnTo>
                    <a:lnTo>
                      <a:pt x="4859" y="1937"/>
                    </a:lnTo>
                    <a:lnTo>
                      <a:pt x="4859" y="1947"/>
                    </a:lnTo>
                    <a:lnTo>
                      <a:pt x="4852" y="1954"/>
                    </a:lnTo>
                    <a:lnTo>
                      <a:pt x="4859" y="1954"/>
                    </a:lnTo>
                    <a:lnTo>
                      <a:pt x="4874" y="1921"/>
                    </a:lnTo>
                    <a:lnTo>
                      <a:pt x="4897" y="1921"/>
                    </a:lnTo>
                    <a:lnTo>
                      <a:pt x="4890" y="1954"/>
                    </a:lnTo>
                    <a:lnTo>
                      <a:pt x="4890" y="1959"/>
                    </a:lnTo>
                    <a:lnTo>
                      <a:pt x="4874" y="1992"/>
                    </a:lnTo>
                    <a:lnTo>
                      <a:pt x="4897" y="1959"/>
                    </a:lnTo>
                    <a:lnTo>
                      <a:pt x="4911" y="1914"/>
                    </a:lnTo>
                    <a:lnTo>
                      <a:pt x="4987" y="1881"/>
                    </a:lnTo>
                    <a:lnTo>
                      <a:pt x="4999" y="1881"/>
                    </a:lnTo>
                    <a:lnTo>
                      <a:pt x="4973" y="1904"/>
                    </a:lnTo>
                    <a:lnTo>
                      <a:pt x="4944" y="1914"/>
                    </a:lnTo>
                    <a:lnTo>
                      <a:pt x="4949" y="1921"/>
                    </a:lnTo>
                    <a:lnTo>
                      <a:pt x="4944" y="1930"/>
                    </a:lnTo>
                    <a:lnTo>
                      <a:pt x="4961" y="1930"/>
                    </a:lnTo>
                    <a:lnTo>
                      <a:pt x="4961" y="1914"/>
                    </a:lnTo>
                    <a:lnTo>
                      <a:pt x="4973" y="1914"/>
                    </a:lnTo>
                    <a:lnTo>
                      <a:pt x="5020" y="1892"/>
                    </a:lnTo>
                    <a:lnTo>
                      <a:pt x="5096" y="1921"/>
                    </a:lnTo>
                    <a:lnTo>
                      <a:pt x="5096" y="1930"/>
                    </a:lnTo>
                    <a:lnTo>
                      <a:pt x="5091" y="1947"/>
                    </a:lnTo>
                    <a:lnTo>
                      <a:pt x="5074" y="1930"/>
                    </a:lnTo>
                    <a:lnTo>
                      <a:pt x="5074" y="1954"/>
                    </a:lnTo>
                    <a:lnTo>
                      <a:pt x="5004" y="1970"/>
                    </a:lnTo>
                    <a:lnTo>
                      <a:pt x="4966" y="1992"/>
                    </a:lnTo>
                    <a:lnTo>
                      <a:pt x="4987" y="1992"/>
                    </a:lnTo>
                    <a:lnTo>
                      <a:pt x="4944" y="2013"/>
                    </a:lnTo>
                    <a:lnTo>
                      <a:pt x="4999" y="1992"/>
                    </a:lnTo>
                    <a:lnTo>
                      <a:pt x="4999" y="1987"/>
                    </a:lnTo>
                    <a:lnTo>
                      <a:pt x="5004" y="1975"/>
                    </a:lnTo>
                    <a:lnTo>
                      <a:pt x="5058" y="1970"/>
                    </a:lnTo>
                    <a:lnTo>
                      <a:pt x="5074" y="1975"/>
                    </a:lnTo>
                    <a:lnTo>
                      <a:pt x="5020" y="2013"/>
                    </a:lnTo>
                    <a:lnTo>
                      <a:pt x="4987" y="2013"/>
                    </a:lnTo>
                    <a:lnTo>
                      <a:pt x="4982" y="2041"/>
                    </a:lnTo>
                    <a:lnTo>
                      <a:pt x="4999" y="2013"/>
                    </a:lnTo>
                    <a:lnTo>
                      <a:pt x="5020" y="2025"/>
                    </a:lnTo>
                    <a:lnTo>
                      <a:pt x="5041" y="2003"/>
                    </a:lnTo>
                    <a:lnTo>
                      <a:pt x="5107" y="1975"/>
                    </a:lnTo>
                    <a:lnTo>
                      <a:pt x="5096" y="1970"/>
                    </a:lnTo>
                    <a:lnTo>
                      <a:pt x="5107" y="1954"/>
                    </a:lnTo>
                    <a:lnTo>
                      <a:pt x="5138" y="1959"/>
                    </a:lnTo>
                    <a:lnTo>
                      <a:pt x="5176" y="2003"/>
                    </a:lnTo>
                    <a:lnTo>
                      <a:pt x="5183" y="2025"/>
                    </a:lnTo>
                    <a:lnTo>
                      <a:pt x="5124" y="2025"/>
                    </a:lnTo>
                    <a:lnTo>
                      <a:pt x="5096" y="2041"/>
                    </a:lnTo>
                    <a:lnTo>
                      <a:pt x="4973" y="2058"/>
                    </a:lnTo>
                    <a:lnTo>
                      <a:pt x="5025" y="2058"/>
                    </a:lnTo>
                    <a:lnTo>
                      <a:pt x="5074" y="2048"/>
                    </a:lnTo>
                    <a:lnTo>
                      <a:pt x="5124" y="2065"/>
                    </a:lnTo>
                    <a:lnTo>
                      <a:pt x="5176" y="2065"/>
                    </a:lnTo>
                    <a:lnTo>
                      <a:pt x="5204" y="2081"/>
                    </a:lnTo>
                    <a:lnTo>
                      <a:pt x="5214" y="2098"/>
                    </a:lnTo>
                    <a:lnTo>
                      <a:pt x="5204" y="2103"/>
                    </a:lnTo>
                    <a:lnTo>
                      <a:pt x="5053" y="2070"/>
                    </a:lnTo>
                    <a:lnTo>
                      <a:pt x="5025" y="2086"/>
                    </a:lnTo>
                    <a:lnTo>
                      <a:pt x="5053" y="2081"/>
                    </a:lnTo>
                    <a:lnTo>
                      <a:pt x="5112" y="2098"/>
                    </a:lnTo>
                    <a:lnTo>
                      <a:pt x="5053" y="2098"/>
                    </a:lnTo>
                    <a:lnTo>
                      <a:pt x="5079" y="2098"/>
                    </a:lnTo>
                    <a:lnTo>
                      <a:pt x="5053" y="2115"/>
                    </a:lnTo>
                    <a:lnTo>
                      <a:pt x="5053" y="2124"/>
                    </a:lnTo>
                    <a:lnTo>
                      <a:pt x="5058" y="2115"/>
                    </a:lnTo>
                    <a:lnTo>
                      <a:pt x="5107" y="2103"/>
                    </a:lnTo>
                    <a:lnTo>
                      <a:pt x="5138" y="2119"/>
                    </a:lnTo>
                    <a:lnTo>
                      <a:pt x="5079" y="2124"/>
                    </a:lnTo>
                    <a:lnTo>
                      <a:pt x="5112" y="2124"/>
                    </a:lnTo>
                    <a:lnTo>
                      <a:pt x="5124" y="2136"/>
                    </a:lnTo>
                    <a:lnTo>
                      <a:pt x="5079" y="2136"/>
                    </a:lnTo>
                    <a:lnTo>
                      <a:pt x="5138" y="2152"/>
                    </a:lnTo>
                    <a:lnTo>
                      <a:pt x="5020" y="2136"/>
                    </a:lnTo>
                    <a:lnTo>
                      <a:pt x="5112" y="2157"/>
                    </a:lnTo>
                    <a:lnTo>
                      <a:pt x="5058" y="2169"/>
                    </a:lnTo>
                    <a:lnTo>
                      <a:pt x="5091" y="2169"/>
                    </a:lnTo>
                    <a:lnTo>
                      <a:pt x="5070" y="2176"/>
                    </a:lnTo>
                    <a:lnTo>
                      <a:pt x="5150" y="2176"/>
                    </a:lnTo>
                    <a:lnTo>
                      <a:pt x="5145" y="2181"/>
                    </a:lnTo>
                    <a:lnTo>
                      <a:pt x="5145" y="2197"/>
                    </a:lnTo>
                    <a:lnTo>
                      <a:pt x="5162" y="2181"/>
                    </a:lnTo>
                    <a:lnTo>
                      <a:pt x="5176" y="2192"/>
                    </a:lnTo>
                    <a:lnTo>
                      <a:pt x="5167" y="2192"/>
                    </a:lnTo>
                    <a:lnTo>
                      <a:pt x="5183" y="2192"/>
                    </a:lnTo>
                    <a:lnTo>
                      <a:pt x="5183" y="2181"/>
                    </a:lnTo>
                    <a:lnTo>
                      <a:pt x="5214" y="2192"/>
                    </a:lnTo>
                    <a:lnTo>
                      <a:pt x="5192" y="2197"/>
                    </a:lnTo>
                    <a:lnTo>
                      <a:pt x="5138" y="2209"/>
                    </a:lnTo>
                    <a:lnTo>
                      <a:pt x="5129" y="2214"/>
                    </a:lnTo>
                    <a:lnTo>
                      <a:pt x="5145" y="2209"/>
                    </a:lnTo>
                    <a:lnTo>
                      <a:pt x="5150" y="2214"/>
                    </a:lnTo>
                    <a:lnTo>
                      <a:pt x="5145" y="2214"/>
                    </a:lnTo>
                    <a:lnTo>
                      <a:pt x="5150" y="2214"/>
                    </a:lnTo>
                    <a:lnTo>
                      <a:pt x="5176" y="2197"/>
                    </a:lnTo>
                    <a:lnTo>
                      <a:pt x="5192" y="2209"/>
                    </a:lnTo>
                    <a:lnTo>
                      <a:pt x="5176" y="2209"/>
                    </a:lnTo>
                    <a:lnTo>
                      <a:pt x="5162" y="2230"/>
                    </a:lnTo>
                    <a:lnTo>
                      <a:pt x="5145" y="2226"/>
                    </a:lnTo>
                    <a:lnTo>
                      <a:pt x="5162" y="2230"/>
                    </a:lnTo>
                    <a:lnTo>
                      <a:pt x="5167" y="2214"/>
                    </a:lnTo>
                    <a:lnTo>
                      <a:pt x="5192" y="2209"/>
                    </a:lnTo>
                    <a:lnTo>
                      <a:pt x="5204" y="2214"/>
                    </a:lnTo>
                    <a:lnTo>
                      <a:pt x="5192" y="2247"/>
                    </a:lnTo>
                    <a:lnTo>
                      <a:pt x="5214" y="2230"/>
                    </a:lnTo>
                    <a:lnTo>
                      <a:pt x="5214" y="2247"/>
                    </a:lnTo>
                    <a:lnTo>
                      <a:pt x="5221" y="2230"/>
                    </a:lnTo>
                    <a:lnTo>
                      <a:pt x="5237" y="2230"/>
                    </a:lnTo>
                    <a:lnTo>
                      <a:pt x="5230" y="2235"/>
                    </a:lnTo>
                    <a:lnTo>
                      <a:pt x="5247" y="2247"/>
                    </a:lnTo>
                    <a:lnTo>
                      <a:pt x="5230" y="2263"/>
                    </a:lnTo>
                    <a:lnTo>
                      <a:pt x="5204" y="2263"/>
                    </a:lnTo>
                    <a:lnTo>
                      <a:pt x="5237" y="2268"/>
                    </a:lnTo>
                    <a:lnTo>
                      <a:pt x="5237" y="2252"/>
                    </a:lnTo>
                    <a:lnTo>
                      <a:pt x="5268" y="2235"/>
                    </a:lnTo>
                    <a:lnTo>
                      <a:pt x="5268" y="2226"/>
                    </a:lnTo>
                    <a:lnTo>
                      <a:pt x="5268" y="2235"/>
                    </a:lnTo>
                    <a:lnTo>
                      <a:pt x="5259" y="2252"/>
                    </a:lnTo>
                    <a:lnTo>
                      <a:pt x="5259" y="2263"/>
                    </a:lnTo>
                    <a:lnTo>
                      <a:pt x="5259" y="2292"/>
                    </a:lnTo>
                    <a:lnTo>
                      <a:pt x="5259" y="2268"/>
                    </a:lnTo>
                    <a:lnTo>
                      <a:pt x="5275" y="2252"/>
                    </a:lnTo>
                    <a:lnTo>
                      <a:pt x="5275" y="2247"/>
                    </a:lnTo>
                    <a:lnTo>
                      <a:pt x="5301" y="2247"/>
                    </a:lnTo>
                    <a:lnTo>
                      <a:pt x="5285" y="2268"/>
                    </a:lnTo>
                    <a:lnTo>
                      <a:pt x="5306" y="2292"/>
                    </a:lnTo>
                    <a:lnTo>
                      <a:pt x="5306" y="2285"/>
                    </a:lnTo>
                    <a:lnTo>
                      <a:pt x="5289" y="2268"/>
                    </a:lnTo>
                    <a:lnTo>
                      <a:pt x="5301" y="2252"/>
                    </a:lnTo>
                    <a:lnTo>
                      <a:pt x="5327" y="2235"/>
                    </a:lnTo>
                    <a:lnTo>
                      <a:pt x="5355" y="2247"/>
                    </a:lnTo>
                    <a:lnTo>
                      <a:pt x="5327" y="2263"/>
                    </a:lnTo>
                    <a:lnTo>
                      <a:pt x="5327" y="2268"/>
                    </a:lnTo>
                    <a:lnTo>
                      <a:pt x="5313" y="2285"/>
                    </a:lnTo>
                    <a:lnTo>
                      <a:pt x="5339" y="2268"/>
                    </a:lnTo>
                    <a:lnTo>
                      <a:pt x="5344" y="2268"/>
                    </a:lnTo>
                    <a:lnTo>
                      <a:pt x="5344" y="2285"/>
                    </a:lnTo>
                    <a:lnTo>
                      <a:pt x="5344" y="2268"/>
                    </a:lnTo>
                    <a:lnTo>
                      <a:pt x="5365" y="2268"/>
                    </a:lnTo>
                    <a:lnTo>
                      <a:pt x="5377" y="2280"/>
                    </a:lnTo>
                    <a:lnTo>
                      <a:pt x="5355" y="2285"/>
                    </a:lnTo>
                    <a:lnTo>
                      <a:pt x="5377" y="2280"/>
                    </a:lnTo>
                    <a:lnTo>
                      <a:pt x="5398" y="2303"/>
                    </a:lnTo>
                    <a:lnTo>
                      <a:pt x="5365" y="2308"/>
                    </a:lnTo>
                    <a:lnTo>
                      <a:pt x="5398" y="2308"/>
                    </a:lnTo>
                    <a:lnTo>
                      <a:pt x="5410" y="2337"/>
                    </a:lnTo>
                    <a:lnTo>
                      <a:pt x="5344" y="2325"/>
                    </a:lnTo>
                    <a:lnTo>
                      <a:pt x="5381" y="2337"/>
                    </a:lnTo>
                    <a:lnTo>
                      <a:pt x="5344" y="2341"/>
                    </a:lnTo>
                    <a:lnTo>
                      <a:pt x="5398" y="2337"/>
                    </a:lnTo>
                    <a:lnTo>
                      <a:pt x="5360" y="2346"/>
                    </a:lnTo>
                    <a:lnTo>
                      <a:pt x="5355" y="2363"/>
                    </a:lnTo>
                    <a:lnTo>
                      <a:pt x="5365" y="2346"/>
                    </a:lnTo>
                    <a:lnTo>
                      <a:pt x="5436" y="2341"/>
                    </a:lnTo>
                    <a:lnTo>
                      <a:pt x="5415" y="2374"/>
                    </a:lnTo>
                    <a:lnTo>
                      <a:pt x="5448" y="2346"/>
                    </a:lnTo>
                    <a:lnTo>
                      <a:pt x="5448" y="2337"/>
                    </a:lnTo>
                    <a:lnTo>
                      <a:pt x="5462" y="2325"/>
                    </a:lnTo>
                    <a:lnTo>
                      <a:pt x="5474" y="2341"/>
                    </a:lnTo>
                    <a:lnTo>
                      <a:pt x="5452" y="2358"/>
                    </a:lnTo>
                    <a:lnTo>
                      <a:pt x="5452" y="2374"/>
                    </a:lnTo>
                    <a:lnTo>
                      <a:pt x="5415" y="2391"/>
                    </a:lnTo>
                    <a:lnTo>
                      <a:pt x="5436" y="2391"/>
                    </a:lnTo>
                    <a:lnTo>
                      <a:pt x="5436" y="2379"/>
                    </a:lnTo>
                    <a:lnTo>
                      <a:pt x="5436" y="2403"/>
                    </a:lnTo>
                    <a:lnTo>
                      <a:pt x="5452" y="2379"/>
                    </a:lnTo>
                    <a:lnTo>
                      <a:pt x="5485" y="2374"/>
                    </a:lnTo>
                    <a:lnTo>
                      <a:pt x="5474" y="2412"/>
                    </a:lnTo>
                    <a:lnTo>
                      <a:pt x="5490" y="2396"/>
                    </a:lnTo>
                    <a:lnTo>
                      <a:pt x="5490" y="2374"/>
                    </a:lnTo>
                    <a:lnTo>
                      <a:pt x="5500" y="2374"/>
                    </a:lnTo>
                    <a:lnTo>
                      <a:pt x="5523" y="2403"/>
                    </a:lnTo>
                    <a:lnTo>
                      <a:pt x="5507" y="2379"/>
                    </a:lnTo>
                    <a:lnTo>
                      <a:pt x="5528" y="2363"/>
                    </a:lnTo>
                    <a:lnTo>
                      <a:pt x="5537" y="2363"/>
                    </a:lnTo>
                    <a:lnTo>
                      <a:pt x="5528" y="2379"/>
                    </a:lnTo>
                    <a:lnTo>
                      <a:pt x="5561" y="2374"/>
                    </a:lnTo>
                    <a:lnTo>
                      <a:pt x="5592" y="2412"/>
                    </a:lnTo>
                    <a:lnTo>
                      <a:pt x="5575" y="2419"/>
                    </a:lnTo>
                    <a:lnTo>
                      <a:pt x="5544" y="2403"/>
                    </a:lnTo>
                    <a:lnTo>
                      <a:pt x="5528" y="2412"/>
                    </a:lnTo>
                    <a:lnTo>
                      <a:pt x="5554" y="2412"/>
                    </a:lnTo>
                    <a:lnTo>
                      <a:pt x="5570" y="2429"/>
                    </a:lnTo>
                    <a:lnTo>
                      <a:pt x="5544" y="2436"/>
                    </a:lnTo>
                    <a:lnTo>
                      <a:pt x="5575" y="2448"/>
                    </a:lnTo>
                    <a:lnTo>
                      <a:pt x="5544" y="2452"/>
                    </a:lnTo>
                    <a:lnTo>
                      <a:pt x="5507" y="2436"/>
                    </a:lnTo>
                    <a:lnTo>
                      <a:pt x="5490" y="2436"/>
                    </a:lnTo>
                    <a:lnTo>
                      <a:pt x="5516" y="2452"/>
                    </a:lnTo>
                    <a:lnTo>
                      <a:pt x="5490" y="2457"/>
                    </a:lnTo>
                    <a:lnTo>
                      <a:pt x="5474" y="2452"/>
                    </a:lnTo>
                    <a:lnTo>
                      <a:pt x="5490" y="2469"/>
                    </a:lnTo>
                    <a:lnTo>
                      <a:pt x="5528" y="2469"/>
                    </a:lnTo>
                    <a:lnTo>
                      <a:pt x="5544" y="2485"/>
                    </a:lnTo>
                    <a:lnTo>
                      <a:pt x="5485" y="2485"/>
                    </a:lnTo>
                    <a:lnTo>
                      <a:pt x="5474" y="2469"/>
                    </a:lnTo>
                    <a:lnTo>
                      <a:pt x="5469" y="2474"/>
                    </a:lnTo>
                    <a:lnTo>
                      <a:pt x="5516" y="2490"/>
                    </a:lnTo>
                    <a:lnTo>
                      <a:pt x="5516" y="2507"/>
                    </a:lnTo>
                    <a:lnTo>
                      <a:pt x="5500" y="2507"/>
                    </a:lnTo>
                    <a:lnTo>
                      <a:pt x="5474" y="2502"/>
                    </a:lnTo>
                    <a:lnTo>
                      <a:pt x="5500" y="2514"/>
                    </a:lnTo>
                    <a:lnTo>
                      <a:pt x="5485" y="2514"/>
                    </a:lnTo>
                    <a:lnTo>
                      <a:pt x="5500" y="2523"/>
                    </a:lnTo>
                    <a:lnTo>
                      <a:pt x="5490" y="2540"/>
                    </a:lnTo>
                    <a:lnTo>
                      <a:pt x="5485" y="2540"/>
                    </a:lnTo>
                    <a:lnTo>
                      <a:pt x="5474" y="2514"/>
                    </a:lnTo>
                    <a:lnTo>
                      <a:pt x="5474" y="2530"/>
                    </a:lnTo>
                    <a:lnTo>
                      <a:pt x="5474" y="2540"/>
                    </a:lnTo>
                    <a:lnTo>
                      <a:pt x="5452" y="2530"/>
                    </a:lnTo>
                    <a:lnTo>
                      <a:pt x="5436" y="2507"/>
                    </a:lnTo>
                    <a:lnTo>
                      <a:pt x="5448" y="2530"/>
                    </a:lnTo>
                    <a:lnTo>
                      <a:pt x="5419" y="2523"/>
                    </a:lnTo>
                    <a:lnTo>
                      <a:pt x="5448" y="2540"/>
                    </a:lnTo>
                    <a:lnTo>
                      <a:pt x="5431" y="2540"/>
                    </a:lnTo>
                    <a:lnTo>
                      <a:pt x="5452" y="2556"/>
                    </a:lnTo>
                    <a:lnTo>
                      <a:pt x="5419" y="2547"/>
                    </a:lnTo>
                    <a:lnTo>
                      <a:pt x="5448" y="2568"/>
                    </a:lnTo>
                    <a:lnTo>
                      <a:pt x="5436" y="2585"/>
                    </a:lnTo>
                    <a:lnTo>
                      <a:pt x="5448" y="2596"/>
                    </a:lnTo>
                    <a:lnTo>
                      <a:pt x="5431" y="2618"/>
                    </a:lnTo>
                    <a:lnTo>
                      <a:pt x="5415" y="2613"/>
                    </a:lnTo>
                    <a:lnTo>
                      <a:pt x="5419" y="2601"/>
                    </a:lnTo>
                    <a:lnTo>
                      <a:pt x="5410" y="2596"/>
                    </a:lnTo>
                    <a:lnTo>
                      <a:pt x="5393" y="2601"/>
                    </a:lnTo>
                    <a:lnTo>
                      <a:pt x="5381" y="2596"/>
                    </a:lnTo>
                    <a:lnTo>
                      <a:pt x="5393" y="2585"/>
                    </a:lnTo>
                    <a:lnTo>
                      <a:pt x="5377" y="2585"/>
                    </a:lnTo>
                    <a:lnTo>
                      <a:pt x="5377" y="2568"/>
                    </a:lnTo>
                    <a:lnTo>
                      <a:pt x="5381" y="2556"/>
                    </a:lnTo>
                    <a:lnTo>
                      <a:pt x="5365" y="2568"/>
                    </a:lnTo>
                    <a:lnTo>
                      <a:pt x="5360" y="2596"/>
                    </a:lnTo>
                    <a:lnTo>
                      <a:pt x="5339" y="2568"/>
                    </a:lnTo>
                    <a:lnTo>
                      <a:pt x="5355" y="2563"/>
                    </a:lnTo>
                    <a:lnTo>
                      <a:pt x="5339" y="2563"/>
                    </a:lnTo>
                    <a:lnTo>
                      <a:pt x="5365" y="2547"/>
                    </a:lnTo>
                    <a:lnTo>
                      <a:pt x="5327" y="2563"/>
                    </a:lnTo>
                    <a:lnTo>
                      <a:pt x="5322" y="2556"/>
                    </a:lnTo>
                    <a:lnTo>
                      <a:pt x="5355" y="2530"/>
                    </a:lnTo>
                    <a:lnTo>
                      <a:pt x="5327" y="2540"/>
                    </a:lnTo>
                    <a:lnTo>
                      <a:pt x="5306" y="2540"/>
                    </a:lnTo>
                    <a:lnTo>
                      <a:pt x="5344" y="2523"/>
                    </a:lnTo>
                    <a:lnTo>
                      <a:pt x="5322" y="2530"/>
                    </a:lnTo>
                    <a:lnTo>
                      <a:pt x="5289" y="2514"/>
                    </a:lnTo>
                    <a:lnTo>
                      <a:pt x="5306" y="2502"/>
                    </a:lnTo>
                    <a:lnTo>
                      <a:pt x="5355" y="2490"/>
                    </a:lnTo>
                    <a:lnTo>
                      <a:pt x="5344" y="2485"/>
                    </a:lnTo>
                    <a:lnTo>
                      <a:pt x="5355" y="2457"/>
                    </a:lnTo>
                    <a:lnTo>
                      <a:pt x="5377" y="2448"/>
                    </a:lnTo>
                    <a:lnTo>
                      <a:pt x="5355" y="2452"/>
                    </a:lnTo>
                    <a:lnTo>
                      <a:pt x="5339" y="2474"/>
                    </a:lnTo>
                    <a:lnTo>
                      <a:pt x="5268" y="2490"/>
                    </a:lnTo>
                    <a:lnTo>
                      <a:pt x="5259" y="2485"/>
                    </a:lnTo>
                    <a:lnTo>
                      <a:pt x="5285" y="2469"/>
                    </a:lnTo>
                    <a:lnTo>
                      <a:pt x="5301" y="2448"/>
                    </a:lnTo>
                    <a:lnTo>
                      <a:pt x="5285" y="2469"/>
                    </a:lnTo>
                    <a:lnTo>
                      <a:pt x="5252" y="2474"/>
                    </a:lnTo>
                    <a:lnTo>
                      <a:pt x="5247" y="2457"/>
                    </a:lnTo>
                    <a:lnTo>
                      <a:pt x="5221" y="2457"/>
                    </a:lnTo>
                    <a:lnTo>
                      <a:pt x="5221" y="2448"/>
                    </a:lnTo>
                    <a:lnTo>
                      <a:pt x="5230" y="2436"/>
                    </a:lnTo>
                    <a:lnTo>
                      <a:pt x="5204" y="2448"/>
                    </a:lnTo>
                    <a:lnTo>
                      <a:pt x="5200" y="2419"/>
                    </a:lnTo>
                    <a:lnTo>
                      <a:pt x="5183" y="2412"/>
                    </a:lnTo>
                    <a:lnTo>
                      <a:pt x="5200" y="2419"/>
                    </a:lnTo>
                    <a:lnTo>
                      <a:pt x="5183" y="2429"/>
                    </a:lnTo>
                    <a:lnTo>
                      <a:pt x="5167" y="2419"/>
                    </a:lnTo>
                    <a:lnTo>
                      <a:pt x="5138" y="2419"/>
                    </a:lnTo>
                    <a:lnTo>
                      <a:pt x="5183" y="2436"/>
                    </a:lnTo>
                    <a:lnTo>
                      <a:pt x="5176" y="2448"/>
                    </a:lnTo>
                    <a:lnTo>
                      <a:pt x="5162" y="2436"/>
                    </a:lnTo>
                    <a:lnTo>
                      <a:pt x="5183" y="2452"/>
                    </a:lnTo>
                    <a:lnTo>
                      <a:pt x="5167" y="2452"/>
                    </a:lnTo>
                    <a:lnTo>
                      <a:pt x="5124" y="2429"/>
                    </a:lnTo>
                    <a:lnTo>
                      <a:pt x="5145" y="2457"/>
                    </a:lnTo>
                    <a:lnTo>
                      <a:pt x="5176" y="2485"/>
                    </a:lnTo>
                    <a:lnTo>
                      <a:pt x="5176" y="2490"/>
                    </a:lnTo>
                    <a:lnTo>
                      <a:pt x="5176" y="2502"/>
                    </a:lnTo>
                    <a:lnTo>
                      <a:pt x="5129" y="2502"/>
                    </a:lnTo>
                    <a:lnTo>
                      <a:pt x="5107" y="2469"/>
                    </a:lnTo>
                    <a:lnTo>
                      <a:pt x="5058" y="2469"/>
                    </a:lnTo>
                    <a:lnTo>
                      <a:pt x="5112" y="2485"/>
                    </a:lnTo>
                    <a:lnTo>
                      <a:pt x="5112" y="2490"/>
                    </a:lnTo>
                    <a:lnTo>
                      <a:pt x="5096" y="2485"/>
                    </a:lnTo>
                    <a:lnTo>
                      <a:pt x="5096" y="2502"/>
                    </a:lnTo>
                    <a:lnTo>
                      <a:pt x="5112" y="2502"/>
                    </a:lnTo>
                    <a:lnTo>
                      <a:pt x="5107" y="2514"/>
                    </a:lnTo>
                    <a:lnTo>
                      <a:pt x="5129" y="2514"/>
                    </a:lnTo>
                    <a:lnTo>
                      <a:pt x="5112" y="2540"/>
                    </a:lnTo>
                    <a:lnTo>
                      <a:pt x="5124" y="2540"/>
                    </a:lnTo>
                    <a:lnTo>
                      <a:pt x="5124" y="2547"/>
                    </a:lnTo>
                    <a:lnTo>
                      <a:pt x="5138" y="2530"/>
                    </a:lnTo>
                    <a:lnTo>
                      <a:pt x="5167" y="2530"/>
                    </a:lnTo>
                    <a:lnTo>
                      <a:pt x="5162" y="2547"/>
                    </a:lnTo>
                    <a:lnTo>
                      <a:pt x="5183" y="2556"/>
                    </a:lnTo>
                    <a:lnTo>
                      <a:pt x="5162" y="2563"/>
                    </a:lnTo>
                    <a:lnTo>
                      <a:pt x="5200" y="2580"/>
                    </a:lnTo>
                    <a:lnTo>
                      <a:pt x="5192" y="2596"/>
                    </a:lnTo>
                    <a:lnTo>
                      <a:pt x="5183" y="2601"/>
                    </a:lnTo>
                    <a:lnTo>
                      <a:pt x="5204" y="2585"/>
                    </a:lnTo>
                    <a:lnTo>
                      <a:pt x="5204" y="2601"/>
                    </a:lnTo>
                    <a:lnTo>
                      <a:pt x="5214" y="2634"/>
                    </a:lnTo>
                    <a:lnTo>
                      <a:pt x="5214" y="2601"/>
                    </a:lnTo>
                    <a:lnTo>
                      <a:pt x="5252" y="2618"/>
                    </a:lnTo>
                    <a:lnTo>
                      <a:pt x="5247" y="2641"/>
                    </a:lnTo>
                    <a:lnTo>
                      <a:pt x="5259" y="2625"/>
                    </a:lnTo>
                    <a:lnTo>
                      <a:pt x="5259" y="2641"/>
                    </a:lnTo>
                    <a:lnTo>
                      <a:pt x="5268" y="2641"/>
                    </a:lnTo>
                    <a:lnTo>
                      <a:pt x="5259" y="2618"/>
                    </a:lnTo>
                    <a:lnTo>
                      <a:pt x="5285" y="2625"/>
                    </a:lnTo>
                    <a:lnTo>
                      <a:pt x="5285" y="2641"/>
                    </a:lnTo>
                    <a:lnTo>
                      <a:pt x="5285" y="2634"/>
                    </a:lnTo>
                    <a:lnTo>
                      <a:pt x="5289" y="2641"/>
                    </a:lnTo>
                    <a:lnTo>
                      <a:pt x="5285" y="2667"/>
                    </a:lnTo>
                    <a:lnTo>
                      <a:pt x="5313" y="2658"/>
                    </a:lnTo>
                    <a:lnTo>
                      <a:pt x="5322" y="2674"/>
                    </a:lnTo>
                    <a:lnTo>
                      <a:pt x="5313" y="2691"/>
                    </a:lnTo>
                    <a:lnTo>
                      <a:pt x="5285" y="2691"/>
                    </a:lnTo>
                    <a:lnTo>
                      <a:pt x="5301" y="2691"/>
                    </a:lnTo>
                    <a:lnTo>
                      <a:pt x="5327" y="2712"/>
                    </a:lnTo>
                    <a:lnTo>
                      <a:pt x="5313" y="2724"/>
                    </a:lnTo>
                    <a:lnTo>
                      <a:pt x="5355" y="2724"/>
                    </a:lnTo>
                    <a:lnTo>
                      <a:pt x="5327" y="2745"/>
                    </a:lnTo>
                    <a:lnTo>
                      <a:pt x="5360" y="2762"/>
                    </a:lnTo>
                    <a:lnTo>
                      <a:pt x="5365" y="2802"/>
                    </a:lnTo>
                    <a:lnTo>
                      <a:pt x="5360" y="2802"/>
                    </a:lnTo>
                    <a:lnTo>
                      <a:pt x="5365" y="2802"/>
                    </a:lnTo>
                    <a:lnTo>
                      <a:pt x="5360" y="2807"/>
                    </a:lnTo>
                    <a:lnTo>
                      <a:pt x="5344" y="2802"/>
                    </a:lnTo>
                    <a:lnTo>
                      <a:pt x="5339" y="2762"/>
                    </a:lnTo>
                    <a:lnTo>
                      <a:pt x="5306" y="2745"/>
                    </a:lnTo>
                    <a:lnTo>
                      <a:pt x="5327" y="2762"/>
                    </a:lnTo>
                    <a:lnTo>
                      <a:pt x="5322" y="2778"/>
                    </a:lnTo>
                    <a:lnTo>
                      <a:pt x="5339" y="2807"/>
                    </a:lnTo>
                    <a:lnTo>
                      <a:pt x="5322" y="2802"/>
                    </a:lnTo>
                    <a:lnTo>
                      <a:pt x="5327" y="2818"/>
                    </a:lnTo>
                    <a:lnTo>
                      <a:pt x="5344" y="2823"/>
                    </a:lnTo>
                    <a:lnTo>
                      <a:pt x="5344" y="2840"/>
                    </a:lnTo>
                    <a:lnTo>
                      <a:pt x="5355" y="2847"/>
                    </a:lnTo>
                    <a:lnTo>
                      <a:pt x="5339" y="2847"/>
                    </a:lnTo>
                    <a:lnTo>
                      <a:pt x="5313" y="2840"/>
                    </a:lnTo>
                    <a:lnTo>
                      <a:pt x="5339" y="2873"/>
                    </a:lnTo>
                    <a:lnTo>
                      <a:pt x="5313" y="2889"/>
                    </a:lnTo>
                    <a:lnTo>
                      <a:pt x="5313" y="2873"/>
                    </a:lnTo>
                    <a:lnTo>
                      <a:pt x="5306" y="2873"/>
                    </a:lnTo>
                    <a:lnTo>
                      <a:pt x="5306" y="2856"/>
                    </a:lnTo>
                    <a:lnTo>
                      <a:pt x="5289" y="2856"/>
                    </a:lnTo>
                    <a:lnTo>
                      <a:pt x="5268" y="2847"/>
                    </a:lnTo>
                    <a:lnTo>
                      <a:pt x="5268" y="2835"/>
                    </a:lnTo>
                    <a:lnTo>
                      <a:pt x="5259" y="2840"/>
                    </a:lnTo>
                    <a:lnTo>
                      <a:pt x="5237" y="2823"/>
                    </a:lnTo>
                    <a:lnTo>
                      <a:pt x="5252" y="2840"/>
                    </a:lnTo>
                    <a:lnTo>
                      <a:pt x="5230" y="2835"/>
                    </a:lnTo>
                    <a:lnTo>
                      <a:pt x="5214" y="2790"/>
                    </a:lnTo>
                    <a:lnTo>
                      <a:pt x="5204" y="2802"/>
                    </a:lnTo>
                    <a:lnTo>
                      <a:pt x="5221" y="2818"/>
                    </a:lnTo>
                    <a:lnTo>
                      <a:pt x="5221" y="2840"/>
                    </a:lnTo>
                    <a:lnTo>
                      <a:pt x="5204" y="2823"/>
                    </a:lnTo>
                    <a:lnTo>
                      <a:pt x="5204" y="2807"/>
                    </a:lnTo>
                    <a:lnTo>
                      <a:pt x="5200" y="2818"/>
                    </a:lnTo>
                    <a:lnTo>
                      <a:pt x="5192" y="2807"/>
                    </a:lnTo>
                    <a:lnTo>
                      <a:pt x="5192" y="2790"/>
                    </a:lnTo>
                    <a:lnTo>
                      <a:pt x="5192" y="2802"/>
                    </a:lnTo>
                    <a:lnTo>
                      <a:pt x="5176" y="2807"/>
                    </a:lnTo>
                    <a:lnTo>
                      <a:pt x="5129" y="2752"/>
                    </a:lnTo>
                    <a:lnTo>
                      <a:pt x="5145" y="2790"/>
                    </a:lnTo>
                    <a:lnTo>
                      <a:pt x="5079" y="2752"/>
                    </a:lnTo>
                    <a:lnTo>
                      <a:pt x="5053" y="2752"/>
                    </a:lnTo>
                    <a:lnTo>
                      <a:pt x="5107" y="2818"/>
                    </a:lnTo>
                    <a:lnTo>
                      <a:pt x="5145" y="2823"/>
                    </a:lnTo>
                    <a:lnTo>
                      <a:pt x="5138" y="2835"/>
                    </a:lnTo>
                    <a:lnTo>
                      <a:pt x="5138" y="2840"/>
                    </a:lnTo>
                    <a:lnTo>
                      <a:pt x="5150" y="2835"/>
                    </a:lnTo>
                    <a:lnTo>
                      <a:pt x="5145" y="2847"/>
                    </a:lnTo>
                    <a:lnTo>
                      <a:pt x="5162" y="2840"/>
                    </a:lnTo>
                    <a:lnTo>
                      <a:pt x="5192" y="2873"/>
                    </a:lnTo>
                    <a:lnTo>
                      <a:pt x="5204" y="2873"/>
                    </a:lnTo>
                    <a:lnTo>
                      <a:pt x="5204" y="2880"/>
                    </a:lnTo>
                    <a:lnTo>
                      <a:pt x="5237" y="2896"/>
                    </a:lnTo>
                    <a:lnTo>
                      <a:pt x="5237" y="2901"/>
                    </a:lnTo>
                    <a:lnTo>
                      <a:pt x="5230" y="2913"/>
                    </a:lnTo>
                    <a:lnTo>
                      <a:pt x="5237" y="2918"/>
                    </a:lnTo>
                    <a:lnTo>
                      <a:pt x="5237" y="2913"/>
                    </a:lnTo>
                    <a:lnTo>
                      <a:pt x="5247" y="2913"/>
                    </a:lnTo>
                    <a:lnTo>
                      <a:pt x="5247" y="2918"/>
                    </a:lnTo>
                    <a:lnTo>
                      <a:pt x="5268" y="2929"/>
                    </a:lnTo>
                    <a:lnTo>
                      <a:pt x="5252" y="2934"/>
                    </a:lnTo>
                    <a:lnTo>
                      <a:pt x="5259" y="2955"/>
                    </a:lnTo>
                    <a:lnTo>
                      <a:pt x="5230" y="2955"/>
                    </a:lnTo>
                    <a:lnTo>
                      <a:pt x="5204" y="2946"/>
                    </a:lnTo>
                    <a:lnTo>
                      <a:pt x="5041" y="2901"/>
                    </a:lnTo>
                    <a:lnTo>
                      <a:pt x="5004" y="2873"/>
                    </a:lnTo>
                    <a:lnTo>
                      <a:pt x="5015" y="2863"/>
                    </a:lnTo>
                    <a:lnTo>
                      <a:pt x="4966" y="2863"/>
                    </a:lnTo>
                    <a:lnTo>
                      <a:pt x="4897" y="2840"/>
                    </a:lnTo>
                    <a:lnTo>
                      <a:pt x="4918" y="2823"/>
                    </a:lnTo>
                    <a:lnTo>
                      <a:pt x="4911" y="2818"/>
                    </a:lnTo>
                    <a:lnTo>
                      <a:pt x="4890" y="2835"/>
                    </a:lnTo>
                    <a:lnTo>
                      <a:pt x="4864" y="2818"/>
                    </a:lnTo>
                    <a:lnTo>
                      <a:pt x="4852" y="2790"/>
                    </a:lnTo>
                    <a:lnTo>
                      <a:pt x="4826" y="2785"/>
                    </a:lnTo>
                    <a:lnTo>
                      <a:pt x="4864" y="2785"/>
                    </a:lnTo>
                    <a:lnTo>
                      <a:pt x="4890" y="2769"/>
                    </a:lnTo>
                    <a:lnTo>
                      <a:pt x="4864" y="2769"/>
                    </a:lnTo>
                    <a:lnTo>
                      <a:pt x="4864" y="2752"/>
                    </a:lnTo>
                    <a:lnTo>
                      <a:pt x="4843" y="2745"/>
                    </a:lnTo>
                    <a:lnTo>
                      <a:pt x="4836" y="2752"/>
                    </a:lnTo>
                    <a:lnTo>
                      <a:pt x="4852" y="2752"/>
                    </a:lnTo>
                    <a:lnTo>
                      <a:pt x="4843" y="2762"/>
                    </a:lnTo>
                    <a:lnTo>
                      <a:pt x="4826" y="2752"/>
                    </a:lnTo>
                    <a:lnTo>
                      <a:pt x="4810" y="2762"/>
                    </a:lnTo>
                    <a:lnTo>
                      <a:pt x="4810" y="2752"/>
                    </a:lnTo>
                    <a:lnTo>
                      <a:pt x="4822" y="2736"/>
                    </a:lnTo>
                    <a:lnTo>
                      <a:pt x="4822" y="2729"/>
                    </a:lnTo>
                    <a:lnTo>
                      <a:pt x="4810" y="2745"/>
                    </a:lnTo>
                    <a:lnTo>
                      <a:pt x="4805" y="2745"/>
                    </a:lnTo>
                    <a:lnTo>
                      <a:pt x="4798" y="2736"/>
                    </a:lnTo>
                    <a:lnTo>
                      <a:pt x="4798" y="2724"/>
                    </a:lnTo>
                    <a:lnTo>
                      <a:pt x="4789" y="2712"/>
                    </a:lnTo>
                    <a:lnTo>
                      <a:pt x="4789" y="2729"/>
                    </a:lnTo>
                    <a:lnTo>
                      <a:pt x="4772" y="2712"/>
                    </a:lnTo>
                    <a:lnTo>
                      <a:pt x="4784" y="2712"/>
                    </a:lnTo>
                    <a:lnTo>
                      <a:pt x="4772" y="2707"/>
                    </a:lnTo>
                    <a:lnTo>
                      <a:pt x="4751" y="2691"/>
                    </a:lnTo>
                    <a:lnTo>
                      <a:pt x="4746" y="2691"/>
                    </a:lnTo>
                    <a:lnTo>
                      <a:pt x="4746" y="2674"/>
                    </a:lnTo>
                    <a:lnTo>
                      <a:pt x="4755" y="2658"/>
                    </a:lnTo>
                    <a:lnTo>
                      <a:pt x="4751" y="2641"/>
                    </a:lnTo>
                    <a:lnTo>
                      <a:pt x="4751" y="2658"/>
                    </a:lnTo>
                    <a:lnTo>
                      <a:pt x="4734" y="2667"/>
                    </a:lnTo>
                    <a:lnTo>
                      <a:pt x="4734" y="2651"/>
                    </a:lnTo>
                    <a:lnTo>
                      <a:pt x="4718" y="2651"/>
                    </a:lnTo>
                    <a:lnTo>
                      <a:pt x="4718" y="2658"/>
                    </a:lnTo>
                    <a:lnTo>
                      <a:pt x="4701" y="2651"/>
                    </a:lnTo>
                    <a:lnTo>
                      <a:pt x="4713" y="2667"/>
                    </a:lnTo>
                    <a:lnTo>
                      <a:pt x="4696" y="2679"/>
                    </a:lnTo>
                    <a:lnTo>
                      <a:pt x="4692" y="2658"/>
                    </a:lnTo>
                    <a:lnTo>
                      <a:pt x="4696" y="2658"/>
                    </a:lnTo>
                    <a:lnTo>
                      <a:pt x="4696" y="2634"/>
                    </a:lnTo>
                    <a:lnTo>
                      <a:pt x="4680" y="2658"/>
                    </a:lnTo>
                    <a:lnTo>
                      <a:pt x="4675" y="2658"/>
                    </a:lnTo>
                    <a:lnTo>
                      <a:pt x="4649" y="2634"/>
                    </a:lnTo>
                    <a:lnTo>
                      <a:pt x="4663" y="2625"/>
                    </a:lnTo>
                    <a:lnTo>
                      <a:pt x="4649" y="2618"/>
                    </a:lnTo>
                    <a:lnTo>
                      <a:pt x="4649" y="2634"/>
                    </a:lnTo>
                    <a:lnTo>
                      <a:pt x="4626" y="2625"/>
                    </a:lnTo>
                    <a:lnTo>
                      <a:pt x="4663" y="2658"/>
                    </a:lnTo>
                    <a:lnTo>
                      <a:pt x="4649" y="2679"/>
                    </a:lnTo>
                    <a:lnTo>
                      <a:pt x="4574" y="2651"/>
                    </a:lnTo>
                    <a:lnTo>
                      <a:pt x="4574" y="2658"/>
                    </a:lnTo>
                    <a:lnTo>
                      <a:pt x="4583" y="2667"/>
                    </a:lnTo>
                    <a:lnTo>
                      <a:pt x="4567" y="2667"/>
                    </a:lnTo>
                    <a:lnTo>
                      <a:pt x="4583" y="2679"/>
                    </a:lnTo>
                    <a:lnTo>
                      <a:pt x="4503" y="2691"/>
                    </a:lnTo>
                    <a:lnTo>
                      <a:pt x="4512" y="2696"/>
                    </a:lnTo>
                    <a:lnTo>
                      <a:pt x="4481" y="2691"/>
                    </a:lnTo>
                    <a:lnTo>
                      <a:pt x="4465" y="2696"/>
                    </a:lnTo>
                    <a:lnTo>
                      <a:pt x="4444" y="2674"/>
                    </a:lnTo>
                    <a:lnTo>
                      <a:pt x="4432" y="2679"/>
                    </a:lnTo>
                    <a:lnTo>
                      <a:pt x="4406" y="2658"/>
                    </a:lnTo>
                    <a:lnTo>
                      <a:pt x="4406" y="2634"/>
                    </a:lnTo>
                    <a:lnTo>
                      <a:pt x="4411" y="2625"/>
                    </a:lnTo>
                    <a:lnTo>
                      <a:pt x="4411" y="2613"/>
                    </a:lnTo>
                    <a:lnTo>
                      <a:pt x="4465" y="2585"/>
                    </a:lnTo>
                    <a:lnTo>
                      <a:pt x="4448" y="2568"/>
                    </a:lnTo>
                    <a:lnTo>
                      <a:pt x="4465" y="2563"/>
                    </a:lnTo>
                    <a:lnTo>
                      <a:pt x="4460" y="2556"/>
                    </a:lnTo>
                    <a:lnTo>
                      <a:pt x="4574" y="2580"/>
                    </a:lnTo>
                    <a:lnTo>
                      <a:pt x="4595" y="2601"/>
                    </a:lnTo>
                    <a:lnTo>
                      <a:pt x="4595" y="2613"/>
                    </a:lnTo>
                    <a:lnTo>
                      <a:pt x="4583" y="2613"/>
                    </a:lnTo>
                    <a:lnTo>
                      <a:pt x="4604" y="2641"/>
                    </a:lnTo>
                    <a:lnTo>
                      <a:pt x="4611" y="2634"/>
                    </a:lnTo>
                    <a:lnTo>
                      <a:pt x="4604" y="2618"/>
                    </a:lnTo>
                    <a:lnTo>
                      <a:pt x="4588" y="2618"/>
                    </a:lnTo>
                    <a:lnTo>
                      <a:pt x="4611" y="2613"/>
                    </a:lnTo>
                    <a:lnTo>
                      <a:pt x="4611" y="2596"/>
                    </a:lnTo>
                    <a:lnTo>
                      <a:pt x="4604" y="2601"/>
                    </a:lnTo>
                    <a:lnTo>
                      <a:pt x="4567" y="2568"/>
                    </a:lnTo>
                    <a:lnTo>
                      <a:pt x="4611" y="2580"/>
                    </a:lnTo>
                    <a:lnTo>
                      <a:pt x="4621" y="2568"/>
                    </a:lnTo>
                    <a:lnTo>
                      <a:pt x="4621" y="2563"/>
                    </a:lnTo>
                    <a:lnTo>
                      <a:pt x="4663" y="2568"/>
                    </a:lnTo>
                    <a:lnTo>
                      <a:pt x="4692" y="2547"/>
                    </a:lnTo>
                    <a:lnTo>
                      <a:pt x="4734" y="2547"/>
                    </a:lnTo>
                    <a:lnTo>
                      <a:pt x="4718" y="2514"/>
                    </a:lnTo>
                    <a:lnTo>
                      <a:pt x="4696" y="2502"/>
                    </a:lnTo>
                    <a:lnTo>
                      <a:pt x="4663" y="2469"/>
                    </a:lnTo>
                    <a:lnTo>
                      <a:pt x="4734" y="2419"/>
                    </a:lnTo>
                    <a:lnTo>
                      <a:pt x="4755" y="2403"/>
                    </a:lnTo>
                    <a:lnTo>
                      <a:pt x="4784" y="2363"/>
                    </a:lnTo>
                    <a:lnTo>
                      <a:pt x="4810" y="2358"/>
                    </a:lnTo>
                    <a:lnTo>
                      <a:pt x="4822" y="2341"/>
                    </a:lnTo>
                    <a:lnTo>
                      <a:pt x="4805" y="2292"/>
                    </a:lnTo>
                    <a:lnTo>
                      <a:pt x="4789" y="2285"/>
                    </a:lnTo>
                    <a:lnTo>
                      <a:pt x="4798" y="2268"/>
                    </a:lnTo>
                    <a:lnTo>
                      <a:pt x="4772" y="2252"/>
                    </a:lnTo>
                    <a:lnTo>
                      <a:pt x="4772" y="2247"/>
                    </a:lnTo>
                    <a:lnTo>
                      <a:pt x="4767" y="2226"/>
                    </a:lnTo>
                    <a:lnTo>
                      <a:pt x="4734" y="2214"/>
                    </a:lnTo>
                    <a:lnTo>
                      <a:pt x="4751" y="2197"/>
                    </a:lnTo>
                    <a:lnTo>
                      <a:pt x="4729" y="2214"/>
                    </a:lnTo>
                    <a:lnTo>
                      <a:pt x="4713" y="2209"/>
                    </a:lnTo>
                    <a:lnTo>
                      <a:pt x="4701" y="2181"/>
                    </a:lnTo>
                    <a:lnTo>
                      <a:pt x="4718" y="2181"/>
                    </a:lnTo>
                    <a:lnTo>
                      <a:pt x="4718" y="2157"/>
                    </a:lnTo>
                    <a:lnTo>
                      <a:pt x="4692" y="2157"/>
                    </a:lnTo>
                    <a:lnTo>
                      <a:pt x="4701" y="2176"/>
                    </a:lnTo>
                    <a:lnTo>
                      <a:pt x="4696" y="2181"/>
                    </a:lnTo>
                    <a:lnTo>
                      <a:pt x="4675" y="2176"/>
                    </a:lnTo>
                    <a:lnTo>
                      <a:pt x="4649" y="2152"/>
                    </a:lnTo>
                    <a:lnTo>
                      <a:pt x="4659" y="2140"/>
                    </a:lnTo>
                    <a:lnTo>
                      <a:pt x="4637" y="2140"/>
                    </a:lnTo>
                    <a:lnTo>
                      <a:pt x="4649" y="2124"/>
                    </a:lnTo>
                    <a:lnTo>
                      <a:pt x="4626" y="2124"/>
                    </a:lnTo>
                    <a:lnTo>
                      <a:pt x="4649" y="2119"/>
                    </a:lnTo>
                    <a:lnTo>
                      <a:pt x="4642" y="2115"/>
                    </a:lnTo>
                    <a:lnTo>
                      <a:pt x="4626" y="2119"/>
                    </a:lnTo>
                    <a:lnTo>
                      <a:pt x="4621" y="2136"/>
                    </a:lnTo>
                    <a:lnTo>
                      <a:pt x="4595" y="2119"/>
                    </a:lnTo>
                    <a:lnTo>
                      <a:pt x="4588" y="2136"/>
                    </a:lnTo>
                    <a:lnTo>
                      <a:pt x="4512" y="2157"/>
                    </a:lnTo>
                    <a:lnTo>
                      <a:pt x="4512" y="2152"/>
                    </a:lnTo>
                    <a:lnTo>
                      <a:pt x="4519" y="2136"/>
                    </a:lnTo>
                    <a:lnTo>
                      <a:pt x="4512" y="2124"/>
                    </a:lnTo>
                    <a:lnTo>
                      <a:pt x="4512" y="2119"/>
                    </a:lnTo>
                    <a:lnTo>
                      <a:pt x="4557" y="2119"/>
                    </a:lnTo>
                    <a:lnTo>
                      <a:pt x="4588" y="2115"/>
                    </a:lnTo>
                    <a:lnTo>
                      <a:pt x="4588" y="2098"/>
                    </a:lnTo>
                    <a:lnTo>
                      <a:pt x="4512" y="2048"/>
                    </a:lnTo>
                    <a:lnTo>
                      <a:pt x="4529" y="2041"/>
                    </a:lnTo>
                    <a:lnTo>
                      <a:pt x="4541" y="2029"/>
                    </a:lnTo>
                    <a:lnTo>
                      <a:pt x="4512" y="2029"/>
                    </a:lnTo>
                    <a:lnTo>
                      <a:pt x="4519" y="2041"/>
                    </a:lnTo>
                    <a:lnTo>
                      <a:pt x="4512" y="2048"/>
                    </a:lnTo>
                    <a:lnTo>
                      <a:pt x="4474" y="2041"/>
                    </a:lnTo>
                    <a:lnTo>
                      <a:pt x="4503" y="2029"/>
                    </a:lnTo>
                    <a:lnTo>
                      <a:pt x="4498" y="2013"/>
                    </a:lnTo>
                    <a:lnTo>
                      <a:pt x="4465" y="2013"/>
                    </a:lnTo>
                    <a:lnTo>
                      <a:pt x="4486" y="2003"/>
                    </a:lnTo>
                    <a:lnTo>
                      <a:pt x="4444" y="2025"/>
                    </a:lnTo>
                    <a:lnTo>
                      <a:pt x="4444" y="1970"/>
                    </a:lnTo>
                    <a:lnTo>
                      <a:pt x="4427" y="1959"/>
                    </a:lnTo>
                    <a:lnTo>
                      <a:pt x="4389" y="1970"/>
                    </a:lnTo>
                    <a:lnTo>
                      <a:pt x="4389" y="1954"/>
                    </a:lnTo>
                    <a:lnTo>
                      <a:pt x="4389" y="1947"/>
                    </a:lnTo>
                    <a:lnTo>
                      <a:pt x="4378" y="1954"/>
                    </a:lnTo>
                    <a:lnTo>
                      <a:pt x="4368" y="1937"/>
                    </a:lnTo>
                    <a:lnTo>
                      <a:pt x="4340" y="1930"/>
                    </a:lnTo>
                    <a:lnTo>
                      <a:pt x="4340" y="1921"/>
                    </a:lnTo>
                    <a:lnTo>
                      <a:pt x="4356" y="1914"/>
                    </a:lnTo>
                    <a:lnTo>
                      <a:pt x="4368" y="1921"/>
                    </a:lnTo>
                    <a:lnTo>
                      <a:pt x="4352" y="1904"/>
                    </a:lnTo>
                    <a:lnTo>
                      <a:pt x="4335" y="1914"/>
                    </a:lnTo>
                    <a:lnTo>
                      <a:pt x="4340" y="1914"/>
                    </a:lnTo>
                    <a:lnTo>
                      <a:pt x="4335" y="1937"/>
                    </a:lnTo>
                    <a:lnTo>
                      <a:pt x="4318" y="1930"/>
                    </a:lnTo>
                    <a:lnTo>
                      <a:pt x="4302" y="1947"/>
                    </a:lnTo>
                    <a:lnTo>
                      <a:pt x="4356" y="1954"/>
                    </a:lnTo>
                    <a:lnTo>
                      <a:pt x="4373" y="1992"/>
                    </a:lnTo>
                    <a:lnTo>
                      <a:pt x="4368" y="2008"/>
                    </a:lnTo>
                    <a:lnTo>
                      <a:pt x="4302" y="2008"/>
                    </a:lnTo>
                    <a:lnTo>
                      <a:pt x="4271" y="1992"/>
                    </a:lnTo>
                    <a:lnTo>
                      <a:pt x="4158" y="1975"/>
                    </a:lnTo>
                    <a:lnTo>
                      <a:pt x="4196" y="1992"/>
                    </a:lnTo>
                    <a:lnTo>
                      <a:pt x="4226" y="2025"/>
                    </a:lnTo>
                    <a:lnTo>
                      <a:pt x="4210" y="2029"/>
                    </a:lnTo>
                    <a:lnTo>
                      <a:pt x="4134" y="1975"/>
                    </a:lnTo>
                    <a:lnTo>
                      <a:pt x="4066" y="1954"/>
                    </a:lnTo>
                    <a:lnTo>
                      <a:pt x="4158" y="2003"/>
                    </a:lnTo>
                    <a:lnTo>
                      <a:pt x="4125" y="2025"/>
                    </a:lnTo>
                    <a:lnTo>
                      <a:pt x="4096" y="2008"/>
                    </a:lnTo>
                    <a:lnTo>
                      <a:pt x="4096" y="2008"/>
                    </a:lnTo>
                    <a:lnTo>
                      <a:pt x="4096" y="2008"/>
                    </a:lnTo>
                    <a:close/>
                    <a:moveTo>
                      <a:pt x="4226" y="1493"/>
                    </a:moveTo>
                    <a:lnTo>
                      <a:pt x="4318" y="1510"/>
                    </a:lnTo>
                    <a:lnTo>
                      <a:pt x="4406" y="1498"/>
                    </a:lnTo>
                    <a:lnTo>
                      <a:pt x="4460" y="1515"/>
                    </a:lnTo>
                    <a:lnTo>
                      <a:pt x="4474" y="1526"/>
                    </a:lnTo>
                    <a:lnTo>
                      <a:pt x="4486" y="1543"/>
                    </a:lnTo>
                    <a:lnTo>
                      <a:pt x="4512" y="1548"/>
                    </a:lnTo>
                    <a:lnTo>
                      <a:pt x="4519" y="1571"/>
                    </a:lnTo>
                    <a:lnTo>
                      <a:pt x="4536" y="1581"/>
                    </a:lnTo>
                    <a:lnTo>
                      <a:pt x="4536" y="1597"/>
                    </a:lnTo>
                    <a:lnTo>
                      <a:pt x="4557" y="1604"/>
                    </a:lnTo>
                    <a:lnTo>
                      <a:pt x="4519" y="1621"/>
                    </a:lnTo>
                    <a:lnTo>
                      <a:pt x="4406" y="1609"/>
                    </a:lnTo>
                    <a:lnTo>
                      <a:pt x="4314" y="1626"/>
                    </a:lnTo>
                    <a:lnTo>
                      <a:pt x="4281" y="1609"/>
                    </a:lnTo>
                    <a:lnTo>
                      <a:pt x="4264" y="1588"/>
                    </a:lnTo>
                    <a:lnTo>
                      <a:pt x="4264" y="1564"/>
                    </a:lnTo>
                    <a:lnTo>
                      <a:pt x="4217" y="1548"/>
                    </a:lnTo>
                    <a:lnTo>
                      <a:pt x="4217" y="1493"/>
                    </a:lnTo>
                    <a:lnTo>
                      <a:pt x="4226" y="1493"/>
                    </a:lnTo>
                    <a:lnTo>
                      <a:pt x="4226" y="1493"/>
                    </a:lnTo>
                    <a:lnTo>
                      <a:pt x="4226" y="1493"/>
                    </a:lnTo>
                    <a:close/>
                    <a:moveTo>
                      <a:pt x="2504" y="1604"/>
                    </a:moveTo>
                    <a:lnTo>
                      <a:pt x="2500" y="1604"/>
                    </a:lnTo>
                    <a:lnTo>
                      <a:pt x="2516" y="1609"/>
                    </a:lnTo>
                    <a:lnTo>
                      <a:pt x="2500" y="1609"/>
                    </a:lnTo>
                    <a:lnTo>
                      <a:pt x="2424" y="1543"/>
                    </a:lnTo>
                    <a:lnTo>
                      <a:pt x="2381" y="1526"/>
                    </a:lnTo>
                    <a:lnTo>
                      <a:pt x="2415" y="1493"/>
                    </a:lnTo>
                    <a:lnTo>
                      <a:pt x="2490" y="1486"/>
                    </a:lnTo>
                    <a:lnTo>
                      <a:pt x="2516" y="1486"/>
                    </a:lnTo>
                    <a:lnTo>
                      <a:pt x="2559" y="1515"/>
                    </a:lnTo>
                    <a:lnTo>
                      <a:pt x="2554" y="1548"/>
                    </a:lnTo>
                    <a:lnTo>
                      <a:pt x="2504" y="1604"/>
                    </a:lnTo>
                    <a:lnTo>
                      <a:pt x="2504" y="1604"/>
                    </a:lnTo>
                    <a:lnTo>
                      <a:pt x="2504" y="1604"/>
                    </a:lnTo>
                    <a:close/>
                    <a:moveTo>
                      <a:pt x="1151" y="1493"/>
                    </a:moveTo>
                    <a:lnTo>
                      <a:pt x="1156" y="1498"/>
                    </a:lnTo>
                    <a:lnTo>
                      <a:pt x="1139" y="1493"/>
                    </a:lnTo>
                    <a:lnTo>
                      <a:pt x="1151" y="1493"/>
                    </a:lnTo>
                    <a:lnTo>
                      <a:pt x="1151" y="1493"/>
                    </a:lnTo>
                    <a:lnTo>
                      <a:pt x="1151" y="1493"/>
                    </a:lnTo>
                    <a:close/>
                    <a:moveTo>
                      <a:pt x="1172" y="1510"/>
                    </a:moveTo>
                    <a:lnTo>
                      <a:pt x="1189" y="1515"/>
                    </a:lnTo>
                    <a:lnTo>
                      <a:pt x="1172" y="1515"/>
                    </a:lnTo>
                    <a:lnTo>
                      <a:pt x="1172" y="1510"/>
                    </a:lnTo>
                    <a:lnTo>
                      <a:pt x="1172" y="1510"/>
                    </a:lnTo>
                    <a:lnTo>
                      <a:pt x="1172" y="1510"/>
                    </a:lnTo>
                    <a:close/>
                    <a:moveTo>
                      <a:pt x="2339" y="1515"/>
                    </a:moveTo>
                    <a:lnTo>
                      <a:pt x="2306" y="1510"/>
                    </a:lnTo>
                    <a:lnTo>
                      <a:pt x="2344" y="1510"/>
                    </a:lnTo>
                    <a:lnTo>
                      <a:pt x="2339" y="1515"/>
                    </a:lnTo>
                    <a:lnTo>
                      <a:pt x="2339" y="1515"/>
                    </a:lnTo>
                    <a:lnTo>
                      <a:pt x="2339" y="1515"/>
                    </a:lnTo>
                    <a:close/>
                    <a:moveTo>
                      <a:pt x="2814" y="2025"/>
                    </a:moveTo>
                    <a:lnTo>
                      <a:pt x="2807" y="2041"/>
                    </a:lnTo>
                    <a:lnTo>
                      <a:pt x="2785" y="2029"/>
                    </a:lnTo>
                    <a:lnTo>
                      <a:pt x="2776" y="2013"/>
                    </a:lnTo>
                    <a:lnTo>
                      <a:pt x="2776" y="2008"/>
                    </a:lnTo>
                    <a:lnTo>
                      <a:pt x="2759" y="2029"/>
                    </a:lnTo>
                    <a:lnTo>
                      <a:pt x="2722" y="2003"/>
                    </a:lnTo>
                    <a:lnTo>
                      <a:pt x="2700" y="2025"/>
                    </a:lnTo>
                    <a:lnTo>
                      <a:pt x="2693" y="2025"/>
                    </a:lnTo>
                    <a:lnTo>
                      <a:pt x="2700" y="2029"/>
                    </a:lnTo>
                    <a:lnTo>
                      <a:pt x="2700" y="2048"/>
                    </a:lnTo>
                    <a:lnTo>
                      <a:pt x="2693" y="2048"/>
                    </a:lnTo>
                    <a:lnTo>
                      <a:pt x="2630" y="2029"/>
                    </a:lnTo>
                    <a:lnTo>
                      <a:pt x="2630" y="2041"/>
                    </a:lnTo>
                    <a:lnTo>
                      <a:pt x="2663" y="2058"/>
                    </a:lnTo>
                    <a:lnTo>
                      <a:pt x="2663" y="2086"/>
                    </a:lnTo>
                    <a:lnTo>
                      <a:pt x="2651" y="2098"/>
                    </a:lnTo>
                    <a:lnTo>
                      <a:pt x="2651" y="2103"/>
                    </a:lnTo>
                    <a:lnTo>
                      <a:pt x="2679" y="2070"/>
                    </a:lnTo>
                    <a:lnTo>
                      <a:pt x="2717" y="2058"/>
                    </a:lnTo>
                    <a:lnTo>
                      <a:pt x="2738" y="2065"/>
                    </a:lnTo>
                    <a:lnTo>
                      <a:pt x="2722" y="2086"/>
                    </a:lnTo>
                    <a:lnTo>
                      <a:pt x="2731" y="2098"/>
                    </a:lnTo>
                    <a:lnTo>
                      <a:pt x="2738" y="2086"/>
                    </a:lnTo>
                    <a:lnTo>
                      <a:pt x="2755" y="2098"/>
                    </a:lnTo>
                    <a:lnTo>
                      <a:pt x="2748" y="2119"/>
                    </a:lnTo>
                    <a:lnTo>
                      <a:pt x="2679" y="2140"/>
                    </a:lnTo>
                    <a:lnTo>
                      <a:pt x="2651" y="2140"/>
                    </a:lnTo>
                    <a:lnTo>
                      <a:pt x="2641" y="2152"/>
                    </a:lnTo>
                    <a:lnTo>
                      <a:pt x="2559" y="2124"/>
                    </a:lnTo>
                    <a:lnTo>
                      <a:pt x="2554" y="2136"/>
                    </a:lnTo>
                    <a:lnTo>
                      <a:pt x="2516" y="2136"/>
                    </a:lnTo>
                    <a:lnTo>
                      <a:pt x="2504" y="2124"/>
                    </a:lnTo>
                    <a:lnTo>
                      <a:pt x="2533" y="2115"/>
                    </a:lnTo>
                    <a:lnTo>
                      <a:pt x="2431" y="2098"/>
                    </a:lnTo>
                    <a:lnTo>
                      <a:pt x="2436" y="2081"/>
                    </a:lnTo>
                    <a:lnTo>
                      <a:pt x="2431" y="2070"/>
                    </a:lnTo>
                    <a:lnTo>
                      <a:pt x="2415" y="2058"/>
                    </a:lnTo>
                    <a:lnTo>
                      <a:pt x="2381" y="2081"/>
                    </a:lnTo>
                    <a:lnTo>
                      <a:pt x="2393" y="2098"/>
                    </a:lnTo>
                    <a:lnTo>
                      <a:pt x="2360" y="2119"/>
                    </a:lnTo>
                    <a:lnTo>
                      <a:pt x="2273" y="2124"/>
                    </a:lnTo>
                    <a:lnTo>
                      <a:pt x="2273" y="2136"/>
                    </a:lnTo>
                    <a:lnTo>
                      <a:pt x="2235" y="2157"/>
                    </a:lnTo>
                    <a:lnTo>
                      <a:pt x="2155" y="2176"/>
                    </a:lnTo>
                    <a:lnTo>
                      <a:pt x="2074" y="2176"/>
                    </a:lnTo>
                    <a:lnTo>
                      <a:pt x="2091" y="2181"/>
                    </a:lnTo>
                    <a:lnTo>
                      <a:pt x="1944" y="2192"/>
                    </a:lnTo>
                    <a:lnTo>
                      <a:pt x="1961" y="2181"/>
                    </a:lnTo>
                    <a:lnTo>
                      <a:pt x="1933" y="2176"/>
                    </a:lnTo>
                    <a:lnTo>
                      <a:pt x="1923" y="2140"/>
                    </a:lnTo>
                    <a:lnTo>
                      <a:pt x="1928" y="2115"/>
                    </a:lnTo>
                    <a:lnTo>
                      <a:pt x="1911" y="2098"/>
                    </a:lnTo>
                    <a:lnTo>
                      <a:pt x="1928" y="2098"/>
                    </a:lnTo>
                    <a:lnTo>
                      <a:pt x="1874" y="2086"/>
                    </a:lnTo>
                    <a:lnTo>
                      <a:pt x="1760" y="2081"/>
                    </a:lnTo>
                    <a:lnTo>
                      <a:pt x="1718" y="2070"/>
                    </a:lnTo>
                    <a:lnTo>
                      <a:pt x="1713" y="2065"/>
                    </a:lnTo>
                    <a:lnTo>
                      <a:pt x="1713" y="2048"/>
                    </a:lnTo>
                    <a:lnTo>
                      <a:pt x="1692" y="2048"/>
                    </a:lnTo>
                    <a:lnTo>
                      <a:pt x="1696" y="2041"/>
                    </a:lnTo>
                    <a:lnTo>
                      <a:pt x="1663" y="2025"/>
                    </a:lnTo>
                    <a:lnTo>
                      <a:pt x="1654" y="1992"/>
                    </a:lnTo>
                    <a:lnTo>
                      <a:pt x="1680" y="1975"/>
                    </a:lnTo>
                    <a:lnTo>
                      <a:pt x="1815" y="1959"/>
                    </a:lnTo>
                    <a:lnTo>
                      <a:pt x="1874" y="1954"/>
                    </a:lnTo>
                    <a:lnTo>
                      <a:pt x="1999" y="1970"/>
                    </a:lnTo>
                    <a:lnTo>
                      <a:pt x="2030" y="1959"/>
                    </a:lnTo>
                    <a:lnTo>
                      <a:pt x="2015" y="1954"/>
                    </a:lnTo>
                    <a:lnTo>
                      <a:pt x="2074" y="1954"/>
                    </a:lnTo>
                    <a:lnTo>
                      <a:pt x="2067" y="1954"/>
                    </a:lnTo>
                    <a:lnTo>
                      <a:pt x="2037" y="1947"/>
                    </a:lnTo>
                    <a:lnTo>
                      <a:pt x="2020" y="1930"/>
                    </a:lnTo>
                    <a:lnTo>
                      <a:pt x="1895" y="1897"/>
                    </a:lnTo>
                    <a:lnTo>
                      <a:pt x="1815" y="1914"/>
                    </a:lnTo>
                    <a:lnTo>
                      <a:pt x="1642" y="1914"/>
                    </a:lnTo>
                    <a:lnTo>
                      <a:pt x="1583" y="1864"/>
                    </a:lnTo>
                    <a:lnTo>
                      <a:pt x="1626" y="1843"/>
                    </a:lnTo>
                    <a:lnTo>
                      <a:pt x="1772" y="1810"/>
                    </a:lnTo>
                    <a:lnTo>
                      <a:pt x="1751" y="1803"/>
                    </a:lnTo>
                    <a:lnTo>
                      <a:pt x="1765" y="1803"/>
                    </a:lnTo>
                    <a:lnTo>
                      <a:pt x="1798" y="1803"/>
                    </a:lnTo>
                    <a:lnTo>
                      <a:pt x="1819" y="1793"/>
                    </a:lnTo>
                    <a:lnTo>
                      <a:pt x="1772" y="1786"/>
                    </a:lnTo>
                    <a:lnTo>
                      <a:pt x="1659" y="1810"/>
                    </a:lnTo>
                    <a:lnTo>
                      <a:pt x="1659" y="1803"/>
                    </a:lnTo>
                    <a:lnTo>
                      <a:pt x="1642" y="1793"/>
                    </a:lnTo>
                    <a:lnTo>
                      <a:pt x="1642" y="1803"/>
                    </a:lnTo>
                    <a:lnTo>
                      <a:pt x="1654" y="1803"/>
                    </a:lnTo>
                    <a:lnTo>
                      <a:pt x="1642" y="1810"/>
                    </a:lnTo>
                    <a:lnTo>
                      <a:pt x="1604" y="1810"/>
                    </a:lnTo>
                    <a:lnTo>
                      <a:pt x="1588" y="1803"/>
                    </a:lnTo>
                    <a:lnTo>
                      <a:pt x="1637" y="1786"/>
                    </a:lnTo>
                    <a:lnTo>
                      <a:pt x="1621" y="1781"/>
                    </a:lnTo>
                    <a:lnTo>
                      <a:pt x="1637" y="1770"/>
                    </a:lnTo>
                    <a:lnTo>
                      <a:pt x="1588" y="1786"/>
                    </a:lnTo>
                    <a:lnTo>
                      <a:pt x="1555" y="1770"/>
                    </a:lnTo>
                    <a:lnTo>
                      <a:pt x="1550" y="1786"/>
                    </a:lnTo>
                    <a:lnTo>
                      <a:pt x="1533" y="1781"/>
                    </a:lnTo>
                    <a:lnTo>
                      <a:pt x="1533" y="1765"/>
                    </a:lnTo>
                    <a:lnTo>
                      <a:pt x="1533" y="1737"/>
                    </a:lnTo>
                    <a:lnTo>
                      <a:pt x="1567" y="1715"/>
                    </a:lnTo>
                    <a:lnTo>
                      <a:pt x="1604" y="1699"/>
                    </a:lnTo>
                    <a:lnTo>
                      <a:pt x="1604" y="1682"/>
                    </a:lnTo>
                    <a:lnTo>
                      <a:pt x="1571" y="1675"/>
                    </a:lnTo>
                    <a:lnTo>
                      <a:pt x="1571" y="1659"/>
                    </a:lnTo>
                    <a:lnTo>
                      <a:pt x="1659" y="1604"/>
                    </a:lnTo>
                    <a:lnTo>
                      <a:pt x="1852" y="1543"/>
                    </a:lnTo>
                    <a:lnTo>
                      <a:pt x="1878" y="1548"/>
                    </a:lnTo>
                    <a:lnTo>
                      <a:pt x="1895" y="1571"/>
                    </a:lnTo>
                    <a:lnTo>
                      <a:pt x="1890" y="1609"/>
                    </a:lnTo>
                    <a:lnTo>
                      <a:pt x="1895" y="1621"/>
                    </a:lnTo>
                    <a:lnTo>
                      <a:pt x="1869" y="1626"/>
                    </a:lnTo>
                    <a:lnTo>
                      <a:pt x="1869" y="1642"/>
                    </a:lnTo>
                    <a:lnTo>
                      <a:pt x="1852" y="1654"/>
                    </a:lnTo>
                    <a:lnTo>
                      <a:pt x="1857" y="1654"/>
                    </a:lnTo>
                    <a:lnTo>
                      <a:pt x="1928" y="1637"/>
                    </a:lnTo>
                    <a:lnTo>
                      <a:pt x="1933" y="1626"/>
                    </a:lnTo>
                    <a:lnTo>
                      <a:pt x="1923" y="1621"/>
                    </a:lnTo>
                    <a:lnTo>
                      <a:pt x="1961" y="1597"/>
                    </a:lnTo>
                    <a:lnTo>
                      <a:pt x="2091" y="1637"/>
                    </a:lnTo>
                    <a:lnTo>
                      <a:pt x="2084" y="1654"/>
                    </a:lnTo>
                    <a:lnTo>
                      <a:pt x="2046" y="1682"/>
                    </a:lnTo>
                    <a:lnTo>
                      <a:pt x="2058" y="1692"/>
                    </a:lnTo>
                    <a:lnTo>
                      <a:pt x="2074" y="1682"/>
                    </a:lnTo>
                    <a:lnTo>
                      <a:pt x="2058" y="1682"/>
                    </a:lnTo>
                    <a:lnTo>
                      <a:pt x="2084" y="1666"/>
                    </a:lnTo>
                    <a:lnTo>
                      <a:pt x="2091" y="1666"/>
                    </a:lnTo>
                    <a:lnTo>
                      <a:pt x="2084" y="1682"/>
                    </a:lnTo>
                    <a:lnTo>
                      <a:pt x="2100" y="1682"/>
                    </a:lnTo>
                    <a:lnTo>
                      <a:pt x="2105" y="1666"/>
                    </a:lnTo>
                    <a:lnTo>
                      <a:pt x="2129" y="1654"/>
                    </a:lnTo>
                    <a:lnTo>
                      <a:pt x="2155" y="1666"/>
                    </a:lnTo>
                    <a:lnTo>
                      <a:pt x="2138" y="1659"/>
                    </a:lnTo>
                    <a:lnTo>
                      <a:pt x="2155" y="1654"/>
                    </a:lnTo>
                    <a:lnTo>
                      <a:pt x="2193" y="1666"/>
                    </a:lnTo>
                    <a:lnTo>
                      <a:pt x="2159" y="1654"/>
                    </a:lnTo>
                    <a:lnTo>
                      <a:pt x="2193" y="1659"/>
                    </a:lnTo>
                    <a:lnTo>
                      <a:pt x="2176" y="1642"/>
                    </a:lnTo>
                    <a:lnTo>
                      <a:pt x="2155" y="1637"/>
                    </a:lnTo>
                    <a:lnTo>
                      <a:pt x="2193" y="1626"/>
                    </a:lnTo>
                    <a:lnTo>
                      <a:pt x="2138" y="1609"/>
                    </a:lnTo>
                    <a:lnTo>
                      <a:pt x="2122" y="1597"/>
                    </a:lnTo>
                    <a:lnTo>
                      <a:pt x="2143" y="1588"/>
                    </a:lnTo>
                    <a:lnTo>
                      <a:pt x="2197" y="1604"/>
                    </a:lnTo>
                    <a:lnTo>
                      <a:pt x="2193" y="1609"/>
                    </a:lnTo>
                    <a:lnTo>
                      <a:pt x="2230" y="1626"/>
                    </a:lnTo>
                    <a:lnTo>
                      <a:pt x="2247" y="1637"/>
                    </a:lnTo>
                    <a:lnTo>
                      <a:pt x="2247" y="1654"/>
                    </a:lnTo>
                    <a:lnTo>
                      <a:pt x="2273" y="1654"/>
                    </a:lnTo>
                    <a:lnTo>
                      <a:pt x="2268" y="1682"/>
                    </a:lnTo>
                    <a:lnTo>
                      <a:pt x="2285" y="1708"/>
                    </a:lnTo>
                    <a:lnTo>
                      <a:pt x="2289" y="1725"/>
                    </a:lnTo>
                    <a:lnTo>
                      <a:pt x="2301" y="1737"/>
                    </a:lnTo>
                    <a:lnTo>
                      <a:pt x="2301" y="1748"/>
                    </a:lnTo>
                    <a:lnTo>
                      <a:pt x="2301" y="1770"/>
                    </a:lnTo>
                    <a:lnTo>
                      <a:pt x="2327" y="1781"/>
                    </a:lnTo>
                    <a:lnTo>
                      <a:pt x="2327" y="1770"/>
                    </a:lnTo>
                    <a:lnTo>
                      <a:pt x="2370" y="1748"/>
                    </a:lnTo>
                    <a:lnTo>
                      <a:pt x="2327" y="1708"/>
                    </a:lnTo>
                    <a:lnTo>
                      <a:pt x="2322" y="1654"/>
                    </a:lnTo>
                    <a:lnTo>
                      <a:pt x="2318" y="1642"/>
                    </a:lnTo>
                    <a:lnTo>
                      <a:pt x="2289" y="1571"/>
                    </a:lnTo>
                    <a:lnTo>
                      <a:pt x="2322" y="1564"/>
                    </a:lnTo>
                    <a:lnTo>
                      <a:pt x="2306" y="1555"/>
                    </a:lnTo>
                    <a:lnTo>
                      <a:pt x="2318" y="1548"/>
                    </a:lnTo>
                    <a:lnTo>
                      <a:pt x="2381" y="1571"/>
                    </a:lnTo>
                    <a:lnTo>
                      <a:pt x="2381" y="1564"/>
                    </a:lnTo>
                    <a:lnTo>
                      <a:pt x="2377" y="1555"/>
                    </a:lnTo>
                    <a:lnTo>
                      <a:pt x="2398" y="1548"/>
                    </a:lnTo>
                    <a:lnTo>
                      <a:pt x="2436" y="1581"/>
                    </a:lnTo>
                    <a:lnTo>
                      <a:pt x="2469" y="1588"/>
                    </a:lnTo>
                    <a:lnTo>
                      <a:pt x="2500" y="1626"/>
                    </a:lnTo>
                    <a:lnTo>
                      <a:pt x="2490" y="1626"/>
                    </a:lnTo>
                    <a:lnTo>
                      <a:pt x="2516" y="1666"/>
                    </a:lnTo>
                    <a:lnTo>
                      <a:pt x="2504" y="1666"/>
                    </a:lnTo>
                    <a:lnTo>
                      <a:pt x="2533" y="1708"/>
                    </a:lnTo>
                    <a:lnTo>
                      <a:pt x="2521" y="1725"/>
                    </a:lnTo>
                    <a:lnTo>
                      <a:pt x="2570" y="1786"/>
                    </a:lnTo>
                    <a:lnTo>
                      <a:pt x="2570" y="1793"/>
                    </a:lnTo>
                    <a:lnTo>
                      <a:pt x="2570" y="1810"/>
                    </a:lnTo>
                    <a:lnTo>
                      <a:pt x="2559" y="1819"/>
                    </a:lnTo>
                    <a:lnTo>
                      <a:pt x="2570" y="1836"/>
                    </a:lnTo>
                    <a:lnTo>
                      <a:pt x="2554" y="1848"/>
                    </a:lnTo>
                    <a:lnTo>
                      <a:pt x="2630" y="1914"/>
                    </a:lnTo>
                    <a:lnTo>
                      <a:pt x="2667" y="1930"/>
                    </a:lnTo>
                    <a:lnTo>
                      <a:pt x="2651" y="1921"/>
                    </a:lnTo>
                    <a:lnTo>
                      <a:pt x="2651" y="1904"/>
                    </a:lnTo>
                    <a:lnTo>
                      <a:pt x="2663" y="1904"/>
                    </a:lnTo>
                    <a:lnTo>
                      <a:pt x="2684" y="1930"/>
                    </a:lnTo>
                    <a:lnTo>
                      <a:pt x="2738" y="1959"/>
                    </a:lnTo>
                    <a:lnTo>
                      <a:pt x="2759" y="1959"/>
                    </a:lnTo>
                    <a:lnTo>
                      <a:pt x="2759" y="1970"/>
                    </a:lnTo>
                    <a:lnTo>
                      <a:pt x="2769" y="1975"/>
                    </a:lnTo>
                    <a:lnTo>
                      <a:pt x="2807" y="1970"/>
                    </a:lnTo>
                    <a:lnTo>
                      <a:pt x="2814" y="2025"/>
                    </a:lnTo>
                    <a:lnTo>
                      <a:pt x="2814" y="2025"/>
                    </a:lnTo>
                    <a:lnTo>
                      <a:pt x="2814" y="2025"/>
                    </a:lnTo>
                    <a:close/>
                    <a:moveTo>
                      <a:pt x="3083" y="1555"/>
                    </a:moveTo>
                    <a:lnTo>
                      <a:pt x="3095" y="1564"/>
                    </a:lnTo>
                    <a:lnTo>
                      <a:pt x="3078" y="1555"/>
                    </a:lnTo>
                    <a:lnTo>
                      <a:pt x="3083" y="1555"/>
                    </a:lnTo>
                    <a:lnTo>
                      <a:pt x="3083" y="1555"/>
                    </a:lnTo>
                    <a:lnTo>
                      <a:pt x="3083" y="1555"/>
                    </a:lnTo>
                    <a:close/>
                    <a:moveTo>
                      <a:pt x="3100" y="1564"/>
                    </a:moveTo>
                    <a:lnTo>
                      <a:pt x="3116" y="1581"/>
                    </a:lnTo>
                    <a:lnTo>
                      <a:pt x="3109" y="1597"/>
                    </a:lnTo>
                    <a:lnTo>
                      <a:pt x="3095" y="1604"/>
                    </a:lnTo>
                    <a:lnTo>
                      <a:pt x="3078" y="1588"/>
                    </a:lnTo>
                    <a:lnTo>
                      <a:pt x="3083" y="1571"/>
                    </a:lnTo>
                    <a:lnTo>
                      <a:pt x="3100" y="1564"/>
                    </a:lnTo>
                    <a:lnTo>
                      <a:pt x="3100" y="1564"/>
                    </a:lnTo>
                    <a:lnTo>
                      <a:pt x="3100" y="1564"/>
                    </a:lnTo>
                    <a:close/>
                    <a:moveTo>
                      <a:pt x="3180" y="1571"/>
                    </a:moveTo>
                    <a:lnTo>
                      <a:pt x="3180" y="1588"/>
                    </a:lnTo>
                    <a:lnTo>
                      <a:pt x="3163" y="1581"/>
                    </a:lnTo>
                    <a:lnTo>
                      <a:pt x="3180" y="1571"/>
                    </a:lnTo>
                    <a:lnTo>
                      <a:pt x="3180" y="1571"/>
                    </a:lnTo>
                    <a:lnTo>
                      <a:pt x="3180" y="1571"/>
                    </a:lnTo>
                    <a:close/>
                    <a:moveTo>
                      <a:pt x="3170" y="1597"/>
                    </a:moveTo>
                    <a:lnTo>
                      <a:pt x="3180" y="1604"/>
                    </a:lnTo>
                    <a:lnTo>
                      <a:pt x="3170" y="1604"/>
                    </a:lnTo>
                    <a:lnTo>
                      <a:pt x="3170" y="1597"/>
                    </a:lnTo>
                    <a:lnTo>
                      <a:pt x="3170" y="1597"/>
                    </a:lnTo>
                    <a:lnTo>
                      <a:pt x="3170" y="1597"/>
                    </a:lnTo>
                    <a:close/>
                    <a:moveTo>
                      <a:pt x="3109" y="1609"/>
                    </a:moveTo>
                    <a:lnTo>
                      <a:pt x="3109" y="1621"/>
                    </a:lnTo>
                    <a:lnTo>
                      <a:pt x="3109" y="1626"/>
                    </a:lnTo>
                    <a:lnTo>
                      <a:pt x="3083" y="1626"/>
                    </a:lnTo>
                    <a:lnTo>
                      <a:pt x="3109" y="1609"/>
                    </a:lnTo>
                    <a:lnTo>
                      <a:pt x="3109" y="1609"/>
                    </a:lnTo>
                    <a:lnTo>
                      <a:pt x="3109" y="1609"/>
                    </a:lnTo>
                    <a:close/>
                    <a:moveTo>
                      <a:pt x="3170" y="1609"/>
                    </a:moveTo>
                    <a:lnTo>
                      <a:pt x="3180" y="1621"/>
                    </a:lnTo>
                    <a:lnTo>
                      <a:pt x="3170" y="1609"/>
                    </a:lnTo>
                    <a:lnTo>
                      <a:pt x="3170" y="1609"/>
                    </a:lnTo>
                    <a:lnTo>
                      <a:pt x="3170" y="1609"/>
                    </a:lnTo>
                    <a:close/>
                    <a:moveTo>
                      <a:pt x="2219" y="1621"/>
                    </a:moveTo>
                    <a:lnTo>
                      <a:pt x="2230" y="1621"/>
                    </a:lnTo>
                    <a:lnTo>
                      <a:pt x="2214" y="1621"/>
                    </a:lnTo>
                    <a:lnTo>
                      <a:pt x="2219" y="1621"/>
                    </a:lnTo>
                    <a:lnTo>
                      <a:pt x="2219" y="1621"/>
                    </a:lnTo>
                    <a:lnTo>
                      <a:pt x="2219" y="1621"/>
                    </a:lnTo>
                    <a:close/>
                    <a:moveTo>
                      <a:pt x="2143" y="1642"/>
                    </a:moveTo>
                    <a:lnTo>
                      <a:pt x="2155" y="1642"/>
                    </a:lnTo>
                    <a:lnTo>
                      <a:pt x="2143" y="1642"/>
                    </a:lnTo>
                    <a:lnTo>
                      <a:pt x="2143" y="1642"/>
                    </a:lnTo>
                    <a:lnTo>
                      <a:pt x="2143" y="1642"/>
                    </a:lnTo>
                    <a:close/>
                    <a:moveTo>
                      <a:pt x="4271" y="1659"/>
                    </a:moveTo>
                    <a:lnTo>
                      <a:pt x="4281" y="1666"/>
                    </a:lnTo>
                    <a:lnTo>
                      <a:pt x="4281" y="1675"/>
                    </a:lnTo>
                    <a:lnTo>
                      <a:pt x="4271" y="1659"/>
                    </a:lnTo>
                    <a:lnTo>
                      <a:pt x="4271" y="1659"/>
                    </a:lnTo>
                    <a:lnTo>
                      <a:pt x="4271" y="1659"/>
                    </a:lnTo>
                    <a:close/>
                    <a:moveTo>
                      <a:pt x="4314" y="1666"/>
                    </a:moveTo>
                    <a:lnTo>
                      <a:pt x="4318" y="1682"/>
                    </a:lnTo>
                    <a:lnTo>
                      <a:pt x="4302" y="1666"/>
                    </a:lnTo>
                    <a:lnTo>
                      <a:pt x="4314" y="1666"/>
                    </a:lnTo>
                    <a:lnTo>
                      <a:pt x="4314" y="1666"/>
                    </a:lnTo>
                    <a:lnTo>
                      <a:pt x="4314" y="1666"/>
                    </a:lnTo>
                    <a:close/>
                    <a:moveTo>
                      <a:pt x="4352" y="1666"/>
                    </a:moveTo>
                    <a:lnTo>
                      <a:pt x="4368" y="1682"/>
                    </a:lnTo>
                    <a:lnTo>
                      <a:pt x="4352" y="1682"/>
                    </a:lnTo>
                    <a:lnTo>
                      <a:pt x="4340" y="1675"/>
                    </a:lnTo>
                    <a:lnTo>
                      <a:pt x="4352" y="1666"/>
                    </a:lnTo>
                    <a:lnTo>
                      <a:pt x="4352" y="1666"/>
                    </a:lnTo>
                    <a:lnTo>
                      <a:pt x="4352" y="1666"/>
                    </a:lnTo>
                    <a:close/>
                    <a:moveTo>
                      <a:pt x="2306" y="1725"/>
                    </a:moveTo>
                    <a:lnTo>
                      <a:pt x="2318" y="1732"/>
                    </a:lnTo>
                    <a:lnTo>
                      <a:pt x="2301" y="1732"/>
                    </a:lnTo>
                    <a:lnTo>
                      <a:pt x="2306" y="1725"/>
                    </a:lnTo>
                    <a:lnTo>
                      <a:pt x="2306" y="1725"/>
                    </a:lnTo>
                    <a:lnTo>
                      <a:pt x="2306" y="1725"/>
                    </a:lnTo>
                    <a:close/>
                    <a:moveTo>
                      <a:pt x="5176" y="4614"/>
                    </a:moveTo>
                    <a:lnTo>
                      <a:pt x="5167" y="4614"/>
                    </a:lnTo>
                    <a:lnTo>
                      <a:pt x="5162" y="4597"/>
                    </a:lnTo>
                    <a:lnTo>
                      <a:pt x="5150" y="4581"/>
                    </a:lnTo>
                    <a:lnTo>
                      <a:pt x="5162" y="4576"/>
                    </a:lnTo>
                    <a:lnTo>
                      <a:pt x="5138" y="4569"/>
                    </a:lnTo>
                    <a:lnTo>
                      <a:pt x="5138" y="4441"/>
                    </a:lnTo>
                    <a:lnTo>
                      <a:pt x="5096" y="4415"/>
                    </a:lnTo>
                    <a:lnTo>
                      <a:pt x="5058" y="4432"/>
                    </a:lnTo>
                    <a:lnTo>
                      <a:pt x="5041" y="4425"/>
                    </a:lnTo>
                    <a:lnTo>
                      <a:pt x="5041" y="4408"/>
                    </a:lnTo>
                    <a:lnTo>
                      <a:pt x="5037" y="4403"/>
                    </a:lnTo>
                    <a:lnTo>
                      <a:pt x="4982" y="4470"/>
                    </a:lnTo>
                    <a:lnTo>
                      <a:pt x="4973" y="4498"/>
                    </a:lnTo>
                    <a:lnTo>
                      <a:pt x="4961" y="4519"/>
                    </a:lnTo>
                    <a:lnTo>
                      <a:pt x="4961" y="4543"/>
                    </a:lnTo>
                    <a:lnTo>
                      <a:pt x="4928" y="4576"/>
                    </a:lnTo>
                    <a:lnTo>
                      <a:pt x="4928" y="4581"/>
                    </a:lnTo>
                    <a:lnTo>
                      <a:pt x="4918" y="4609"/>
                    </a:lnTo>
                    <a:lnTo>
                      <a:pt x="4907" y="4597"/>
                    </a:lnTo>
                    <a:lnTo>
                      <a:pt x="4897" y="4609"/>
                    </a:lnTo>
                    <a:lnTo>
                      <a:pt x="4890" y="4597"/>
                    </a:lnTo>
                    <a:lnTo>
                      <a:pt x="4881" y="4609"/>
                    </a:lnTo>
                    <a:lnTo>
                      <a:pt x="4874" y="4625"/>
                    </a:lnTo>
                    <a:lnTo>
                      <a:pt x="4626" y="4630"/>
                    </a:lnTo>
                    <a:lnTo>
                      <a:pt x="4529" y="4708"/>
                    </a:lnTo>
                    <a:lnTo>
                      <a:pt x="4503" y="4748"/>
                    </a:lnTo>
                    <a:lnTo>
                      <a:pt x="4368" y="4748"/>
                    </a:lnTo>
                    <a:lnTo>
                      <a:pt x="4335" y="4765"/>
                    </a:lnTo>
                    <a:lnTo>
                      <a:pt x="4340" y="4781"/>
                    </a:lnTo>
                    <a:lnTo>
                      <a:pt x="4340" y="4798"/>
                    </a:lnTo>
                    <a:lnTo>
                      <a:pt x="4356" y="4814"/>
                    </a:lnTo>
                    <a:lnTo>
                      <a:pt x="4352" y="4819"/>
                    </a:lnTo>
                    <a:lnTo>
                      <a:pt x="4271" y="4852"/>
                    </a:lnTo>
                    <a:lnTo>
                      <a:pt x="4189" y="4869"/>
                    </a:lnTo>
                    <a:lnTo>
                      <a:pt x="4108" y="4918"/>
                    </a:lnTo>
                    <a:lnTo>
                      <a:pt x="4087" y="4918"/>
                    </a:lnTo>
                    <a:lnTo>
                      <a:pt x="4066" y="4902"/>
                    </a:lnTo>
                    <a:lnTo>
                      <a:pt x="4054" y="4885"/>
                    </a:lnTo>
                    <a:lnTo>
                      <a:pt x="4066" y="4869"/>
                    </a:lnTo>
                    <a:lnTo>
                      <a:pt x="4104" y="4836"/>
                    </a:lnTo>
                    <a:lnTo>
                      <a:pt x="4108" y="4803"/>
                    </a:lnTo>
                    <a:lnTo>
                      <a:pt x="4125" y="4748"/>
                    </a:lnTo>
                    <a:lnTo>
                      <a:pt x="4104" y="4597"/>
                    </a:lnTo>
                    <a:lnTo>
                      <a:pt x="4028" y="4552"/>
                    </a:lnTo>
                    <a:lnTo>
                      <a:pt x="4033" y="4536"/>
                    </a:lnTo>
                    <a:lnTo>
                      <a:pt x="4028" y="4526"/>
                    </a:lnTo>
                    <a:lnTo>
                      <a:pt x="4000" y="4526"/>
                    </a:lnTo>
                    <a:lnTo>
                      <a:pt x="3990" y="4514"/>
                    </a:lnTo>
                    <a:lnTo>
                      <a:pt x="3990" y="4486"/>
                    </a:lnTo>
                    <a:lnTo>
                      <a:pt x="3957" y="4498"/>
                    </a:lnTo>
                    <a:lnTo>
                      <a:pt x="3941" y="4481"/>
                    </a:lnTo>
                    <a:lnTo>
                      <a:pt x="3941" y="4460"/>
                    </a:lnTo>
                    <a:lnTo>
                      <a:pt x="3693" y="4333"/>
                    </a:lnTo>
                    <a:lnTo>
                      <a:pt x="3622" y="4359"/>
                    </a:lnTo>
                    <a:lnTo>
                      <a:pt x="3584" y="4354"/>
                    </a:lnTo>
                    <a:lnTo>
                      <a:pt x="3563" y="4349"/>
                    </a:lnTo>
                    <a:lnTo>
                      <a:pt x="3525" y="4349"/>
                    </a:lnTo>
                    <a:lnTo>
                      <a:pt x="3515" y="4337"/>
                    </a:lnTo>
                    <a:lnTo>
                      <a:pt x="3478" y="4354"/>
                    </a:lnTo>
                    <a:lnTo>
                      <a:pt x="3440" y="4337"/>
                    </a:lnTo>
                    <a:lnTo>
                      <a:pt x="3433" y="4321"/>
                    </a:lnTo>
                    <a:lnTo>
                      <a:pt x="3418" y="4321"/>
                    </a:lnTo>
                    <a:lnTo>
                      <a:pt x="3407" y="4337"/>
                    </a:lnTo>
                    <a:lnTo>
                      <a:pt x="3407" y="4321"/>
                    </a:lnTo>
                    <a:lnTo>
                      <a:pt x="3369" y="4297"/>
                    </a:lnTo>
                    <a:lnTo>
                      <a:pt x="3348" y="4297"/>
                    </a:lnTo>
                    <a:lnTo>
                      <a:pt x="3310" y="4304"/>
                    </a:lnTo>
                    <a:lnTo>
                      <a:pt x="3310" y="4297"/>
                    </a:lnTo>
                    <a:lnTo>
                      <a:pt x="3256" y="4292"/>
                    </a:lnTo>
                    <a:lnTo>
                      <a:pt x="3244" y="4281"/>
                    </a:lnTo>
                    <a:lnTo>
                      <a:pt x="3239" y="4238"/>
                    </a:lnTo>
                    <a:lnTo>
                      <a:pt x="3218" y="4226"/>
                    </a:lnTo>
                    <a:lnTo>
                      <a:pt x="3218" y="4264"/>
                    </a:lnTo>
                    <a:lnTo>
                      <a:pt x="1281" y="4264"/>
                    </a:lnTo>
                    <a:lnTo>
                      <a:pt x="1276" y="4259"/>
                    </a:lnTo>
                    <a:lnTo>
                      <a:pt x="1259" y="4264"/>
                    </a:lnTo>
                    <a:lnTo>
                      <a:pt x="1248" y="4238"/>
                    </a:lnTo>
                    <a:lnTo>
                      <a:pt x="1264" y="4238"/>
                    </a:lnTo>
                    <a:lnTo>
                      <a:pt x="1276" y="4226"/>
                    </a:lnTo>
                    <a:lnTo>
                      <a:pt x="1264" y="4238"/>
                    </a:lnTo>
                    <a:lnTo>
                      <a:pt x="1248" y="4238"/>
                    </a:lnTo>
                    <a:lnTo>
                      <a:pt x="1243" y="4222"/>
                    </a:lnTo>
                    <a:lnTo>
                      <a:pt x="1248" y="4193"/>
                    </a:lnTo>
                    <a:lnTo>
                      <a:pt x="1226" y="4222"/>
                    </a:lnTo>
                    <a:lnTo>
                      <a:pt x="1226" y="4226"/>
                    </a:lnTo>
                    <a:lnTo>
                      <a:pt x="1205" y="4222"/>
                    </a:lnTo>
                    <a:lnTo>
                      <a:pt x="1189" y="4205"/>
                    </a:lnTo>
                    <a:lnTo>
                      <a:pt x="1193" y="4193"/>
                    </a:lnTo>
                    <a:lnTo>
                      <a:pt x="1210" y="4222"/>
                    </a:lnTo>
                    <a:lnTo>
                      <a:pt x="1210" y="4210"/>
                    </a:lnTo>
                    <a:lnTo>
                      <a:pt x="1226" y="4205"/>
                    </a:lnTo>
                    <a:lnTo>
                      <a:pt x="1210" y="4205"/>
                    </a:lnTo>
                    <a:lnTo>
                      <a:pt x="1193" y="4193"/>
                    </a:lnTo>
                    <a:lnTo>
                      <a:pt x="1205" y="4181"/>
                    </a:lnTo>
                    <a:lnTo>
                      <a:pt x="1193" y="4170"/>
                    </a:lnTo>
                    <a:lnTo>
                      <a:pt x="1210" y="4165"/>
                    </a:lnTo>
                    <a:lnTo>
                      <a:pt x="1205" y="4153"/>
                    </a:lnTo>
                    <a:lnTo>
                      <a:pt x="1193" y="4148"/>
                    </a:lnTo>
                    <a:lnTo>
                      <a:pt x="1205" y="4165"/>
                    </a:lnTo>
                    <a:lnTo>
                      <a:pt x="1193" y="4170"/>
                    </a:lnTo>
                    <a:lnTo>
                      <a:pt x="1193" y="4188"/>
                    </a:lnTo>
                    <a:lnTo>
                      <a:pt x="1189" y="4181"/>
                    </a:lnTo>
                    <a:lnTo>
                      <a:pt x="1189" y="4188"/>
                    </a:lnTo>
                    <a:lnTo>
                      <a:pt x="1167" y="4193"/>
                    </a:lnTo>
                    <a:lnTo>
                      <a:pt x="1134" y="4165"/>
                    </a:lnTo>
                    <a:lnTo>
                      <a:pt x="1139" y="4170"/>
                    </a:lnTo>
                    <a:lnTo>
                      <a:pt x="1151" y="4148"/>
                    </a:lnTo>
                    <a:lnTo>
                      <a:pt x="1139" y="4137"/>
                    </a:lnTo>
                    <a:lnTo>
                      <a:pt x="1172" y="4127"/>
                    </a:lnTo>
                    <a:lnTo>
                      <a:pt x="1134" y="4137"/>
                    </a:lnTo>
                    <a:lnTo>
                      <a:pt x="1118" y="4137"/>
                    </a:lnTo>
                    <a:lnTo>
                      <a:pt x="1118" y="4127"/>
                    </a:lnTo>
                    <a:lnTo>
                      <a:pt x="1134" y="4115"/>
                    </a:lnTo>
                    <a:lnTo>
                      <a:pt x="1134" y="4082"/>
                    </a:lnTo>
                    <a:lnTo>
                      <a:pt x="1125" y="4099"/>
                    </a:lnTo>
                    <a:lnTo>
                      <a:pt x="1134" y="4111"/>
                    </a:lnTo>
                    <a:lnTo>
                      <a:pt x="1118" y="4132"/>
                    </a:lnTo>
                    <a:lnTo>
                      <a:pt x="1087" y="4127"/>
                    </a:lnTo>
                    <a:lnTo>
                      <a:pt x="1096" y="4099"/>
                    </a:lnTo>
                    <a:lnTo>
                      <a:pt x="1070" y="4132"/>
                    </a:lnTo>
                    <a:lnTo>
                      <a:pt x="1063" y="4127"/>
                    </a:lnTo>
                    <a:lnTo>
                      <a:pt x="1033" y="4127"/>
                    </a:lnTo>
                    <a:lnTo>
                      <a:pt x="1042" y="4115"/>
                    </a:lnTo>
                    <a:lnTo>
                      <a:pt x="1033" y="4111"/>
                    </a:lnTo>
                    <a:lnTo>
                      <a:pt x="1080" y="4099"/>
                    </a:lnTo>
                    <a:lnTo>
                      <a:pt x="1087" y="4082"/>
                    </a:lnTo>
                    <a:lnTo>
                      <a:pt x="1080" y="4070"/>
                    </a:lnTo>
                    <a:lnTo>
                      <a:pt x="1080" y="4077"/>
                    </a:lnTo>
                    <a:lnTo>
                      <a:pt x="1070" y="4099"/>
                    </a:lnTo>
                    <a:lnTo>
                      <a:pt x="1042" y="4111"/>
                    </a:lnTo>
                    <a:lnTo>
                      <a:pt x="1049" y="4099"/>
                    </a:lnTo>
                    <a:lnTo>
                      <a:pt x="1042" y="4094"/>
                    </a:lnTo>
                    <a:lnTo>
                      <a:pt x="1011" y="4094"/>
                    </a:lnTo>
                    <a:lnTo>
                      <a:pt x="1042" y="4082"/>
                    </a:lnTo>
                    <a:lnTo>
                      <a:pt x="1004" y="4094"/>
                    </a:lnTo>
                    <a:lnTo>
                      <a:pt x="974" y="4082"/>
                    </a:lnTo>
                    <a:lnTo>
                      <a:pt x="990" y="4094"/>
                    </a:lnTo>
                    <a:lnTo>
                      <a:pt x="978" y="4094"/>
                    </a:lnTo>
                    <a:lnTo>
                      <a:pt x="952" y="4077"/>
                    </a:lnTo>
                    <a:lnTo>
                      <a:pt x="952" y="4070"/>
                    </a:lnTo>
                    <a:lnTo>
                      <a:pt x="995" y="4070"/>
                    </a:lnTo>
                    <a:lnTo>
                      <a:pt x="1004" y="4061"/>
                    </a:lnTo>
                    <a:lnTo>
                      <a:pt x="974" y="4070"/>
                    </a:lnTo>
                    <a:lnTo>
                      <a:pt x="924" y="4061"/>
                    </a:lnTo>
                    <a:lnTo>
                      <a:pt x="924" y="4054"/>
                    </a:lnTo>
                    <a:lnTo>
                      <a:pt x="941" y="4044"/>
                    </a:lnTo>
                    <a:lnTo>
                      <a:pt x="974" y="4044"/>
                    </a:lnTo>
                    <a:lnTo>
                      <a:pt x="974" y="4037"/>
                    </a:lnTo>
                    <a:lnTo>
                      <a:pt x="962" y="4044"/>
                    </a:lnTo>
                    <a:lnTo>
                      <a:pt x="924" y="4044"/>
                    </a:lnTo>
                    <a:lnTo>
                      <a:pt x="941" y="4025"/>
                    </a:lnTo>
                    <a:lnTo>
                      <a:pt x="952" y="4016"/>
                    </a:lnTo>
                    <a:lnTo>
                      <a:pt x="1011" y="4016"/>
                    </a:lnTo>
                    <a:lnTo>
                      <a:pt x="1011" y="4000"/>
                    </a:lnTo>
                    <a:lnTo>
                      <a:pt x="1004" y="4016"/>
                    </a:lnTo>
                    <a:lnTo>
                      <a:pt x="952" y="4016"/>
                    </a:lnTo>
                    <a:lnTo>
                      <a:pt x="957" y="4000"/>
                    </a:lnTo>
                    <a:lnTo>
                      <a:pt x="941" y="4004"/>
                    </a:lnTo>
                    <a:lnTo>
                      <a:pt x="941" y="4021"/>
                    </a:lnTo>
                    <a:lnTo>
                      <a:pt x="936" y="4025"/>
                    </a:lnTo>
                    <a:lnTo>
                      <a:pt x="919" y="4016"/>
                    </a:lnTo>
                    <a:lnTo>
                      <a:pt x="924" y="3988"/>
                    </a:lnTo>
                    <a:lnTo>
                      <a:pt x="936" y="3983"/>
                    </a:lnTo>
                    <a:lnTo>
                      <a:pt x="941" y="3966"/>
                    </a:lnTo>
                    <a:lnTo>
                      <a:pt x="952" y="3971"/>
                    </a:lnTo>
                    <a:lnTo>
                      <a:pt x="941" y="3971"/>
                    </a:lnTo>
                    <a:lnTo>
                      <a:pt x="974" y="3950"/>
                    </a:lnTo>
                    <a:lnTo>
                      <a:pt x="978" y="3950"/>
                    </a:lnTo>
                    <a:lnTo>
                      <a:pt x="1004" y="3983"/>
                    </a:lnTo>
                    <a:lnTo>
                      <a:pt x="990" y="3950"/>
                    </a:lnTo>
                    <a:lnTo>
                      <a:pt x="1004" y="3943"/>
                    </a:lnTo>
                    <a:lnTo>
                      <a:pt x="974" y="3943"/>
                    </a:lnTo>
                    <a:lnTo>
                      <a:pt x="962" y="3933"/>
                    </a:lnTo>
                    <a:lnTo>
                      <a:pt x="990" y="3910"/>
                    </a:lnTo>
                    <a:lnTo>
                      <a:pt x="978" y="3905"/>
                    </a:lnTo>
                    <a:lnTo>
                      <a:pt x="978" y="3917"/>
                    </a:lnTo>
                    <a:lnTo>
                      <a:pt x="941" y="3950"/>
                    </a:lnTo>
                    <a:lnTo>
                      <a:pt x="924" y="3959"/>
                    </a:lnTo>
                    <a:lnTo>
                      <a:pt x="919" y="3933"/>
                    </a:lnTo>
                    <a:lnTo>
                      <a:pt x="908" y="3950"/>
                    </a:lnTo>
                    <a:lnTo>
                      <a:pt x="908" y="3933"/>
                    </a:lnTo>
                    <a:lnTo>
                      <a:pt x="919" y="3926"/>
                    </a:lnTo>
                    <a:lnTo>
                      <a:pt x="903" y="3933"/>
                    </a:lnTo>
                    <a:lnTo>
                      <a:pt x="898" y="3959"/>
                    </a:lnTo>
                    <a:lnTo>
                      <a:pt x="886" y="3950"/>
                    </a:lnTo>
                    <a:lnTo>
                      <a:pt x="898" y="3933"/>
                    </a:lnTo>
                    <a:lnTo>
                      <a:pt x="903" y="3893"/>
                    </a:lnTo>
                    <a:lnTo>
                      <a:pt x="882" y="3905"/>
                    </a:lnTo>
                    <a:lnTo>
                      <a:pt x="870" y="3872"/>
                    </a:lnTo>
                    <a:lnTo>
                      <a:pt x="853" y="3855"/>
                    </a:lnTo>
                    <a:lnTo>
                      <a:pt x="848" y="3832"/>
                    </a:lnTo>
                    <a:lnTo>
                      <a:pt x="853" y="3832"/>
                    </a:lnTo>
                    <a:lnTo>
                      <a:pt x="882" y="3848"/>
                    </a:lnTo>
                    <a:lnTo>
                      <a:pt x="903" y="3839"/>
                    </a:lnTo>
                    <a:lnTo>
                      <a:pt x="924" y="3860"/>
                    </a:lnTo>
                    <a:lnTo>
                      <a:pt x="903" y="3839"/>
                    </a:lnTo>
                    <a:lnTo>
                      <a:pt x="870" y="3839"/>
                    </a:lnTo>
                    <a:lnTo>
                      <a:pt x="853" y="3822"/>
                    </a:lnTo>
                    <a:lnTo>
                      <a:pt x="853" y="3806"/>
                    </a:lnTo>
                    <a:lnTo>
                      <a:pt x="882" y="3799"/>
                    </a:lnTo>
                    <a:lnTo>
                      <a:pt x="865" y="3794"/>
                    </a:lnTo>
                    <a:lnTo>
                      <a:pt x="870" y="3782"/>
                    </a:lnTo>
                    <a:lnTo>
                      <a:pt x="827" y="3822"/>
                    </a:lnTo>
                    <a:lnTo>
                      <a:pt x="827" y="3848"/>
                    </a:lnTo>
                    <a:lnTo>
                      <a:pt x="773" y="3799"/>
                    </a:lnTo>
                    <a:lnTo>
                      <a:pt x="773" y="3766"/>
                    </a:lnTo>
                    <a:lnTo>
                      <a:pt x="811" y="3761"/>
                    </a:lnTo>
                    <a:lnTo>
                      <a:pt x="763" y="3766"/>
                    </a:lnTo>
                    <a:lnTo>
                      <a:pt x="756" y="3749"/>
                    </a:lnTo>
                    <a:lnTo>
                      <a:pt x="740" y="3749"/>
                    </a:lnTo>
                    <a:lnTo>
                      <a:pt x="740" y="3721"/>
                    </a:lnTo>
                    <a:lnTo>
                      <a:pt x="778" y="3749"/>
                    </a:lnTo>
                    <a:lnTo>
                      <a:pt x="747" y="3721"/>
                    </a:lnTo>
                    <a:lnTo>
                      <a:pt x="763" y="3711"/>
                    </a:lnTo>
                    <a:lnTo>
                      <a:pt x="778" y="3728"/>
                    </a:lnTo>
                    <a:lnTo>
                      <a:pt x="756" y="3711"/>
                    </a:lnTo>
                    <a:lnTo>
                      <a:pt x="763" y="3704"/>
                    </a:lnTo>
                    <a:lnTo>
                      <a:pt x="773" y="3688"/>
                    </a:lnTo>
                    <a:lnTo>
                      <a:pt x="801" y="3688"/>
                    </a:lnTo>
                    <a:lnTo>
                      <a:pt x="773" y="3683"/>
                    </a:lnTo>
                    <a:lnTo>
                      <a:pt x="794" y="3638"/>
                    </a:lnTo>
                    <a:lnTo>
                      <a:pt x="811" y="3638"/>
                    </a:lnTo>
                    <a:lnTo>
                      <a:pt x="794" y="3638"/>
                    </a:lnTo>
                    <a:lnTo>
                      <a:pt x="789" y="3633"/>
                    </a:lnTo>
                    <a:lnTo>
                      <a:pt x="789" y="3655"/>
                    </a:lnTo>
                    <a:lnTo>
                      <a:pt x="763" y="3688"/>
                    </a:lnTo>
                    <a:lnTo>
                      <a:pt x="763" y="3683"/>
                    </a:lnTo>
                    <a:lnTo>
                      <a:pt x="778" y="3655"/>
                    </a:lnTo>
                    <a:lnTo>
                      <a:pt x="763" y="3617"/>
                    </a:lnTo>
                    <a:lnTo>
                      <a:pt x="773" y="3593"/>
                    </a:lnTo>
                    <a:lnTo>
                      <a:pt x="763" y="3572"/>
                    </a:lnTo>
                    <a:lnTo>
                      <a:pt x="747" y="3572"/>
                    </a:lnTo>
                    <a:lnTo>
                      <a:pt x="719" y="3544"/>
                    </a:lnTo>
                    <a:lnTo>
                      <a:pt x="664" y="3522"/>
                    </a:lnTo>
                    <a:lnTo>
                      <a:pt x="650" y="3522"/>
                    </a:lnTo>
                    <a:lnTo>
                      <a:pt x="638" y="3506"/>
                    </a:lnTo>
                    <a:lnTo>
                      <a:pt x="626" y="3499"/>
                    </a:lnTo>
                    <a:lnTo>
                      <a:pt x="633" y="3482"/>
                    </a:lnTo>
                    <a:lnTo>
                      <a:pt x="612" y="3473"/>
                    </a:lnTo>
                    <a:lnTo>
                      <a:pt x="617" y="3461"/>
                    </a:lnTo>
                    <a:lnTo>
                      <a:pt x="541" y="3350"/>
                    </a:lnTo>
                    <a:lnTo>
                      <a:pt x="530" y="3333"/>
                    </a:lnTo>
                    <a:lnTo>
                      <a:pt x="504" y="3300"/>
                    </a:lnTo>
                    <a:lnTo>
                      <a:pt x="475" y="3296"/>
                    </a:lnTo>
                    <a:lnTo>
                      <a:pt x="466" y="3263"/>
                    </a:lnTo>
                    <a:lnTo>
                      <a:pt x="423" y="3246"/>
                    </a:lnTo>
                    <a:lnTo>
                      <a:pt x="416" y="3227"/>
                    </a:lnTo>
                    <a:lnTo>
                      <a:pt x="423" y="3211"/>
                    </a:lnTo>
                    <a:lnTo>
                      <a:pt x="385" y="3189"/>
                    </a:lnTo>
                    <a:lnTo>
                      <a:pt x="324" y="3211"/>
                    </a:lnTo>
                    <a:lnTo>
                      <a:pt x="331" y="3222"/>
                    </a:lnTo>
                    <a:lnTo>
                      <a:pt x="315" y="3222"/>
                    </a:lnTo>
                    <a:lnTo>
                      <a:pt x="315" y="3246"/>
                    </a:lnTo>
                    <a:lnTo>
                      <a:pt x="310" y="3251"/>
                    </a:lnTo>
                    <a:lnTo>
                      <a:pt x="293" y="3251"/>
                    </a:lnTo>
                    <a:lnTo>
                      <a:pt x="251" y="3284"/>
                    </a:lnTo>
                    <a:lnTo>
                      <a:pt x="239" y="3246"/>
                    </a:lnTo>
                    <a:lnTo>
                      <a:pt x="168" y="3189"/>
                    </a:lnTo>
                    <a:lnTo>
                      <a:pt x="163" y="3173"/>
                    </a:lnTo>
                    <a:lnTo>
                      <a:pt x="130" y="3156"/>
                    </a:lnTo>
                    <a:lnTo>
                      <a:pt x="142" y="3123"/>
                    </a:lnTo>
                    <a:lnTo>
                      <a:pt x="93" y="3135"/>
                    </a:lnTo>
                    <a:lnTo>
                      <a:pt x="71" y="3151"/>
                    </a:lnTo>
                    <a:lnTo>
                      <a:pt x="38" y="3135"/>
                    </a:lnTo>
                    <a:lnTo>
                      <a:pt x="38" y="3140"/>
                    </a:lnTo>
                    <a:lnTo>
                      <a:pt x="0" y="3135"/>
                    </a:lnTo>
                    <a:lnTo>
                      <a:pt x="0" y="2041"/>
                    </a:lnTo>
                    <a:lnTo>
                      <a:pt x="130" y="2058"/>
                    </a:lnTo>
                    <a:lnTo>
                      <a:pt x="168" y="2086"/>
                    </a:lnTo>
                    <a:lnTo>
                      <a:pt x="260" y="2124"/>
                    </a:lnTo>
                    <a:lnTo>
                      <a:pt x="348" y="2136"/>
                    </a:lnTo>
                    <a:lnTo>
                      <a:pt x="395" y="2157"/>
                    </a:lnTo>
                    <a:lnTo>
                      <a:pt x="411" y="2157"/>
                    </a:lnTo>
                    <a:lnTo>
                      <a:pt x="385" y="2140"/>
                    </a:lnTo>
                    <a:lnTo>
                      <a:pt x="400" y="2140"/>
                    </a:lnTo>
                    <a:lnTo>
                      <a:pt x="378" y="2136"/>
                    </a:lnTo>
                    <a:lnTo>
                      <a:pt x="433" y="2124"/>
                    </a:lnTo>
                    <a:lnTo>
                      <a:pt x="471" y="2157"/>
                    </a:lnTo>
                    <a:lnTo>
                      <a:pt x="475" y="2157"/>
                    </a:lnTo>
                    <a:lnTo>
                      <a:pt x="449" y="2119"/>
                    </a:lnTo>
                    <a:lnTo>
                      <a:pt x="454" y="2115"/>
                    </a:lnTo>
                    <a:lnTo>
                      <a:pt x="520" y="2070"/>
                    </a:lnTo>
                    <a:lnTo>
                      <a:pt x="558" y="2065"/>
                    </a:lnTo>
                    <a:lnTo>
                      <a:pt x="574" y="2041"/>
                    </a:lnTo>
                    <a:lnTo>
                      <a:pt x="600" y="2041"/>
                    </a:lnTo>
                    <a:lnTo>
                      <a:pt x="612" y="2029"/>
                    </a:lnTo>
                    <a:lnTo>
                      <a:pt x="596" y="2029"/>
                    </a:lnTo>
                    <a:lnTo>
                      <a:pt x="600" y="2025"/>
                    </a:lnTo>
                    <a:lnTo>
                      <a:pt x="626" y="2029"/>
                    </a:lnTo>
                    <a:lnTo>
                      <a:pt x="671" y="2003"/>
                    </a:lnTo>
                    <a:lnTo>
                      <a:pt x="688" y="2003"/>
                    </a:lnTo>
                    <a:lnTo>
                      <a:pt x="688" y="2013"/>
                    </a:lnTo>
                    <a:lnTo>
                      <a:pt x="709" y="1987"/>
                    </a:lnTo>
                    <a:lnTo>
                      <a:pt x="735" y="1970"/>
                    </a:lnTo>
                    <a:lnTo>
                      <a:pt x="740" y="1970"/>
                    </a:lnTo>
                    <a:lnTo>
                      <a:pt x="740" y="1975"/>
                    </a:lnTo>
                    <a:lnTo>
                      <a:pt x="773" y="1987"/>
                    </a:lnTo>
                    <a:lnTo>
                      <a:pt x="794" y="1959"/>
                    </a:lnTo>
                    <a:lnTo>
                      <a:pt x="815" y="1975"/>
                    </a:lnTo>
                    <a:lnTo>
                      <a:pt x="811" y="1992"/>
                    </a:lnTo>
                    <a:lnTo>
                      <a:pt x="740" y="2025"/>
                    </a:lnTo>
                    <a:lnTo>
                      <a:pt x="709" y="2048"/>
                    </a:lnTo>
                    <a:lnTo>
                      <a:pt x="702" y="2041"/>
                    </a:lnTo>
                    <a:lnTo>
                      <a:pt x="633" y="2058"/>
                    </a:lnTo>
                    <a:lnTo>
                      <a:pt x="626" y="2065"/>
                    </a:lnTo>
                    <a:lnTo>
                      <a:pt x="626" y="2070"/>
                    </a:lnTo>
                    <a:lnTo>
                      <a:pt x="579" y="2086"/>
                    </a:lnTo>
                    <a:lnTo>
                      <a:pt x="574" y="2115"/>
                    </a:lnTo>
                    <a:lnTo>
                      <a:pt x="546" y="2119"/>
                    </a:lnTo>
                    <a:lnTo>
                      <a:pt x="546" y="2124"/>
                    </a:lnTo>
                    <a:lnTo>
                      <a:pt x="525" y="2140"/>
                    </a:lnTo>
                    <a:lnTo>
                      <a:pt x="574" y="2157"/>
                    </a:lnTo>
                    <a:lnTo>
                      <a:pt x="541" y="2140"/>
                    </a:lnTo>
                    <a:lnTo>
                      <a:pt x="600" y="2140"/>
                    </a:lnTo>
                    <a:lnTo>
                      <a:pt x="600" y="2136"/>
                    </a:lnTo>
                    <a:lnTo>
                      <a:pt x="596" y="2136"/>
                    </a:lnTo>
                    <a:lnTo>
                      <a:pt x="579" y="2136"/>
                    </a:lnTo>
                    <a:lnTo>
                      <a:pt x="574" y="2115"/>
                    </a:lnTo>
                    <a:lnTo>
                      <a:pt x="600" y="2103"/>
                    </a:lnTo>
                    <a:lnTo>
                      <a:pt x="612" y="2086"/>
                    </a:lnTo>
                    <a:lnTo>
                      <a:pt x="617" y="2103"/>
                    </a:lnTo>
                    <a:lnTo>
                      <a:pt x="655" y="2070"/>
                    </a:lnTo>
                    <a:lnTo>
                      <a:pt x="633" y="2070"/>
                    </a:lnTo>
                    <a:lnTo>
                      <a:pt x="655" y="2065"/>
                    </a:lnTo>
                    <a:lnTo>
                      <a:pt x="671" y="2065"/>
                    </a:lnTo>
                    <a:lnTo>
                      <a:pt x="664" y="2081"/>
                    </a:lnTo>
                    <a:lnTo>
                      <a:pt x="688" y="2058"/>
                    </a:lnTo>
                    <a:lnTo>
                      <a:pt x="688" y="2070"/>
                    </a:lnTo>
                    <a:lnTo>
                      <a:pt x="671" y="2081"/>
                    </a:lnTo>
                    <a:lnTo>
                      <a:pt x="681" y="2081"/>
                    </a:lnTo>
                    <a:lnTo>
                      <a:pt x="693" y="2070"/>
                    </a:lnTo>
                    <a:lnTo>
                      <a:pt x="688" y="2048"/>
                    </a:lnTo>
                    <a:lnTo>
                      <a:pt x="693" y="2058"/>
                    </a:lnTo>
                    <a:lnTo>
                      <a:pt x="693" y="2070"/>
                    </a:lnTo>
                    <a:lnTo>
                      <a:pt x="702" y="2065"/>
                    </a:lnTo>
                    <a:lnTo>
                      <a:pt x="688" y="2048"/>
                    </a:lnTo>
                    <a:lnTo>
                      <a:pt x="693" y="2041"/>
                    </a:lnTo>
                    <a:lnTo>
                      <a:pt x="702" y="2065"/>
                    </a:lnTo>
                    <a:lnTo>
                      <a:pt x="693" y="2081"/>
                    </a:lnTo>
                    <a:lnTo>
                      <a:pt x="709" y="2058"/>
                    </a:lnTo>
                    <a:lnTo>
                      <a:pt x="702" y="2081"/>
                    </a:lnTo>
                    <a:lnTo>
                      <a:pt x="709" y="2070"/>
                    </a:lnTo>
                    <a:lnTo>
                      <a:pt x="702" y="2098"/>
                    </a:lnTo>
                    <a:lnTo>
                      <a:pt x="709" y="2103"/>
                    </a:lnTo>
                    <a:lnTo>
                      <a:pt x="709" y="2086"/>
                    </a:lnTo>
                    <a:lnTo>
                      <a:pt x="747" y="2029"/>
                    </a:lnTo>
                    <a:lnTo>
                      <a:pt x="832" y="2008"/>
                    </a:lnTo>
                    <a:lnTo>
                      <a:pt x="848" y="2003"/>
                    </a:lnTo>
                    <a:lnTo>
                      <a:pt x="848" y="2013"/>
                    </a:lnTo>
                    <a:lnTo>
                      <a:pt x="832" y="2013"/>
                    </a:lnTo>
                    <a:lnTo>
                      <a:pt x="832" y="2029"/>
                    </a:lnTo>
                    <a:lnTo>
                      <a:pt x="848" y="2029"/>
                    </a:lnTo>
                    <a:lnTo>
                      <a:pt x="886" y="2003"/>
                    </a:lnTo>
                    <a:lnTo>
                      <a:pt x="886" y="1975"/>
                    </a:lnTo>
                    <a:lnTo>
                      <a:pt x="952" y="1959"/>
                    </a:lnTo>
                    <a:lnTo>
                      <a:pt x="908" y="1954"/>
                    </a:lnTo>
                    <a:lnTo>
                      <a:pt x="919" y="1947"/>
                    </a:lnTo>
                    <a:lnTo>
                      <a:pt x="903" y="1947"/>
                    </a:lnTo>
                    <a:lnTo>
                      <a:pt x="908" y="1914"/>
                    </a:lnTo>
                    <a:lnTo>
                      <a:pt x="974" y="1959"/>
                    </a:lnTo>
                    <a:lnTo>
                      <a:pt x="1004" y="2025"/>
                    </a:lnTo>
                    <a:lnTo>
                      <a:pt x="1033" y="2058"/>
                    </a:lnTo>
                    <a:lnTo>
                      <a:pt x="1096" y="2081"/>
                    </a:lnTo>
                    <a:lnTo>
                      <a:pt x="1096" y="2070"/>
                    </a:lnTo>
                    <a:lnTo>
                      <a:pt x="1118" y="2065"/>
                    </a:lnTo>
                    <a:lnTo>
                      <a:pt x="1080" y="2065"/>
                    </a:lnTo>
                    <a:lnTo>
                      <a:pt x="1087" y="2058"/>
                    </a:lnTo>
                    <a:lnTo>
                      <a:pt x="1118" y="2058"/>
                    </a:lnTo>
                    <a:lnTo>
                      <a:pt x="1096" y="2041"/>
                    </a:lnTo>
                    <a:lnTo>
                      <a:pt x="1096" y="2029"/>
                    </a:lnTo>
                    <a:lnTo>
                      <a:pt x="1118" y="2025"/>
                    </a:lnTo>
                    <a:lnTo>
                      <a:pt x="1125" y="2041"/>
                    </a:lnTo>
                    <a:lnTo>
                      <a:pt x="1134" y="2029"/>
                    </a:lnTo>
                    <a:lnTo>
                      <a:pt x="1101" y="2013"/>
                    </a:lnTo>
                    <a:lnTo>
                      <a:pt x="1118" y="2013"/>
                    </a:lnTo>
                    <a:lnTo>
                      <a:pt x="1134" y="1992"/>
                    </a:lnTo>
                    <a:lnTo>
                      <a:pt x="1113" y="2003"/>
                    </a:lnTo>
                    <a:lnTo>
                      <a:pt x="1113" y="1992"/>
                    </a:lnTo>
                    <a:lnTo>
                      <a:pt x="1125" y="1987"/>
                    </a:lnTo>
                    <a:lnTo>
                      <a:pt x="1118" y="1992"/>
                    </a:lnTo>
                    <a:lnTo>
                      <a:pt x="1151" y="1987"/>
                    </a:lnTo>
                    <a:lnTo>
                      <a:pt x="1156" y="1992"/>
                    </a:lnTo>
                    <a:lnTo>
                      <a:pt x="1167" y="1987"/>
                    </a:lnTo>
                    <a:lnTo>
                      <a:pt x="1139" y="1975"/>
                    </a:lnTo>
                    <a:lnTo>
                      <a:pt x="1167" y="1975"/>
                    </a:lnTo>
                    <a:lnTo>
                      <a:pt x="1167" y="1987"/>
                    </a:lnTo>
                    <a:lnTo>
                      <a:pt x="1156" y="2025"/>
                    </a:lnTo>
                    <a:lnTo>
                      <a:pt x="1189" y="2029"/>
                    </a:lnTo>
                    <a:lnTo>
                      <a:pt x="1156" y="2070"/>
                    </a:lnTo>
                    <a:lnTo>
                      <a:pt x="1167" y="2070"/>
                    </a:lnTo>
                    <a:lnTo>
                      <a:pt x="1231" y="2070"/>
                    </a:lnTo>
                    <a:lnTo>
                      <a:pt x="1231" y="2058"/>
                    </a:lnTo>
                    <a:lnTo>
                      <a:pt x="1248" y="2058"/>
                    </a:lnTo>
                    <a:lnTo>
                      <a:pt x="1259" y="2025"/>
                    </a:lnTo>
                    <a:lnTo>
                      <a:pt x="1264" y="2013"/>
                    </a:lnTo>
                    <a:lnTo>
                      <a:pt x="1356" y="2013"/>
                    </a:lnTo>
                    <a:lnTo>
                      <a:pt x="1420" y="2041"/>
                    </a:lnTo>
                    <a:lnTo>
                      <a:pt x="1458" y="2070"/>
                    </a:lnTo>
                    <a:lnTo>
                      <a:pt x="1555" y="2086"/>
                    </a:lnTo>
                    <a:lnTo>
                      <a:pt x="1609" y="2119"/>
                    </a:lnTo>
                    <a:lnTo>
                      <a:pt x="1675" y="2136"/>
                    </a:lnTo>
                    <a:lnTo>
                      <a:pt x="1760" y="2140"/>
                    </a:lnTo>
                    <a:lnTo>
                      <a:pt x="1730" y="2124"/>
                    </a:lnTo>
                    <a:lnTo>
                      <a:pt x="1782" y="2124"/>
                    </a:lnTo>
                    <a:lnTo>
                      <a:pt x="1869" y="2157"/>
                    </a:lnTo>
                    <a:lnTo>
                      <a:pt x="1890" y="2181"/>
                    </a:lnTo>
                    <a:lnTo>
                      <a:pt x="1890" y="2214"/>
                    </a:lnTo>
                    <a:lnTo>
                      <a:pt x="1803" y="2226"/>
                    </a:lnTo>
                    <a:lnTo>
                      <a:pt x="1803" y="2235"/>
                    </a:lnTo>
                    <a:lnTo>
                      <a:pt x="1819" y="2247"/>
                    </a:lnTo>
                    <a:lnTo>
                      <a:pt x="1789" y="2252"/>
                    </a:lnTo>
                    <a:lnTo>
                      <a:pt x="1819" y="2268"/>
                    </a:lnTo>
                    <a:lnTo>
                      <a:pt x="2004" y="2285"/>
                    </a:lnTo>
                    <a:lnTo>
                      <a:pt x="2091" y="2263"/>
                    </a:lnTo>
                    <a:lnTo>
                      <a:pt x="2105" y="2280"/>
                    </a:lnTo>
                    <a:lnTo>
                      <a:pt x="2167" y="2247"/>
                    </a:lnTo>
                    <a:lnTo>
                      <a:pt x="2176" y="2252"/>
                    </a:lnTo>
                    <a:lnTo>
                      <a:pt x="2176" y="2263"/>
                    </a:lnTo>
                    <a:lnTo>
                      <a:pt x="2193" y="2263"/>
                    </a:lnTo>
                    <a:lnTo>
                      <a:pt x="2193" y="2280"/>
                    </a:lnTo>
                    <a:lnTo>
                      <a:pt x="2235" y="2280"/>
                    </a:lnTo>
                    <a:lnTo>
                      <a:pt x="2252" y="2303"/>
                    </a:lnTo>
                    <a:lnTo>
                      <a:pt x="2247" y="2308"/>
                    </a:lnTo>
                    <a:lnTo>
                      <a:pt x="2263" y="2325"/>
                    </a:lnTo>
                    <a:lnTo>
                      <a:pt x="2263" y="2292"/>
                    </a:lnTo>
                    <a:lnTo>
                      <a:pt x="2268" y="2292"/>
                    </a:lnTo>
                    <a:lnTo>
                      <a:pt x="2285" y="2325"/>
                    </a:lnTo>
                    <a:lnTo>
                      <a:pt x="2289" y="2320"/>
                    </a:lnTo>
                    <a:lnTo>
                      <a:pt x="2318" y="2337"/>
                    </a:lnTo>
                    <a:lnTo>
                      <a:pt x="2322" y="2363"/>
                    </a:lnTo>
                    <a:lnTo>
                      <a:pt x="2301" y="2363"/>
                    </a:lnTo>
                    <a:lnTo>
                      <a:pt x="2268" y="2346"/>
                    </a:lnTo>
                    <a:lnTo>
                      <a:pt x="2273" y="2363"/>
                    </a:lnTo>
                    <a:lnTo>
                      <a:pt x="2306" y="2374"/>
                    </a:lnTo>
                    <a:lnTo>
                      <a:pt x="2322" y="2412"/>
                    </a:lnTo>
                    <a:lnTo>
                      <a:pt x="2322" y="2396"/>
                    </a:lnTo>
                    <a:lnTo>
                      <a:pt x="2370" y="2448"/>
                    </a:lnTo>
                    <a:lnTo>
                      <a:pt x="2344" y="2412"/>
                    </a:lnTo>
                    <a:lnTo>
                      <a:pt x="2327" y="2379"/>
                    </a:lnTo>
                    <a:lnTo>
                      <a:pt x="2339" y="2358"/>
                    </a:lnTo>
                    <a:lnTo>
                      <a:pt x="2356" y="2374"/>
                    </a:lnTo>
                    <a:lnTo>
                      <a:pt x="2339" y="2374"/>
                    </a:lnTo>
                    <a:lnTo>
                      <a:pt x="2344" y="2391"/>
                    </a:lnTo>
                    <a:lnTo>
                      <a:pt x="2360" y="2391"/>
                    </a:lnTo>
                    <a:lnTo>
                      <a:pt x="2356" y="2374"/>
                    </a:lnTo>
                    <a:lnTo>
                      <a:pt x="2381" y="2391"/>
                    </a:lnTo>
                    <a:lnTo>
                      <a:pt x="2360" y="2363"/>
                    </a:lnTo>
                    <a:lnTo>
                      <a:pt x="2360" y="2346"/>
                    </a:lnTo>
                    <a:lnTo>
                      <a:pt x="2356" y="2341"/>
                    </a:lnTo>
                    <a:lnTo>
                      <a:pt x="2339" y="2325"/>
                    </a:lnTo>
                    <a:lnTo>
                      <a:pt x="2344" y="2308"/>
                    </a:lnTo>
                    <a:lnTo>
                      <a:pt x="2318" y="2280"/>
                    </a:lnTo>
                    <a:lnTo>
                      <a:pt x="2322" y="2263"/>
                    </a:lnTo>
                    <a:lnTo>
                      <a:pt x="2339" y="2252"/>
                    </a:lnTo>
                    <a:lnTo>
                      <a:pt x="2322" y="2247"/>
                    </a:lnTo>
                    <a:lnTo>
                      <a:pt x="2322" y="2235"/>
                    </a:lnTo>
                    <a:lnTo>
                      <a:pt x="2339" y="2235"/>
                    </a:lnTo>
                    <a:lnTo>
                      <a:pt x="2327" y="2235"/>
                    </a:lnTo>
                    <a:lnTo>
                      <a:pt x="2327" y="2247"/>
                    </a:lnTo>
                    <a:lnTo>
                      <a:pt x="2360" y="2235"/>
                    </a:lnTo>
                    <a:lnTo>
                      <a:pt x="2398" y="2230"/>
                    </a:lnTo>
                    <a:lnTo>
                      <a:pt x="2398" y="2226"/>
                    </a:lnTo>
                    <a:lnTo>
                      <a:pt x="2415" y="2214"/>
                    </a:lnTo>
                    <a:lnTo>
                      <a:pt x="2424" y="2230"/>
                    </a:lnTo>
                    <a:lnTo>
                      <a:pt x="2431" y="2226"/>
                    </a:lnTo>
                    <a:lnTo>
                      <a:pt x="2424" y="2214"/>
                    </a:lnTo>
                    <a:lnTo>
                      <a:pt x="2424" y="2209"/>
                    </a:lnTo>
                    <a:lnTo>
                      <a:pt x="2478" y="2192"/>
                    </a:lnTo>
                    <a:lnTo>
                      <a:pt x="2478" y="2176"/>
                    </a:lnTo>
                    <a:lnTo>
                      <a:pt x="2483" y="2169"/>
                    </a:lnTo>
                    <a:lnTo>
                      <a:pt x="2415" y="2181"/>
                    </a:lnTo>
                    <a:lnTo>
                      <a:pt x="2415" y="2192"/>
                    </a:lnTo>
                    <a:lnTo>
                      <a:pt x="2424" y="2197"/>
                    </a:lnTo>
                    <a:lnTo>
                      <a:pt x="2415" y="2209"/>
                    </a:lnTo>
                    <a:lnTo>
                      <a:pt x="2398" y="2192"/>
                    </a:lnTo>
                    <a:lnTo>
                      <a:pt x="2370" y="2214"/>
                    </a:lnTo>
                    <a:lnTo>
                      <a:pt x="2344" y="2197"/>
                    </a:lnTo>
                    <a:lnTo>
                      <a:pt x="2327" y="2209"/>
                    </a:lnTo>
                    <a:lnTo>
                      <a:pt x="2322" y="2214"/>
                    </a:lnTo>
                    <a:lnTo>
                      <a:pt x="2344" y="2226"/>
                    </a:lnTo>
                    <a:lnTo>
                      <a:pt x="2289" y="2230"/>
                    </a:lnTo>
                    <a:lnTo>
                      <a:pt x="2285" y="2226"/>
                    </a:lnTo>
                    <a:lnTo>
                      <a:pt x="2289" y="2226"/>
                    </a:lnTo>
                    <a:lnTo>
                      <a:pt x="2289" y="2209"/>
                    </a:lnTo>
                    <a:lnTo>
                      <a:pt x="2263" y="2214"/>
                    </a:lnTo>
                    <a:lnTo>
                      <a:pt x="2289" y="2169"/>
                    </a:lnTo>
                    <a:lnTo>
                      <a:pt x="2370" y="2157"/>
                    </a:lnTo>
                    <a:lnTo>
                      <a:pt x="2436" y="2124"/>
                    </a:lnTo>
                    <a:lnTo>
                      <a:pt x="2469" y="2136"/>
                    </a:lnTo>
                    <a:lnTo>
                      <a:pt x="2490" y="2152"/>
                    </a:lnTo>
                    <a:lnTo>
                      <a:pt x="2490" y="2169"/>
                    </a:lnTo>
                    <a:lnTo>
                      <a:pt x="2500" y="2181"/>
                    </a:lnTo>
                    <a:lnTo>
                      <a:pt x="2483" y="2192"/>
                    </a:lnTo>
                    <a:lnTo>
                      <a:pt x="2521" y="2214"/>
                    </a:lnTo>
                    <a:lnTo>
                      <a:pt x="2537" y="2209"/>
                    </a:lnTo>
                    <a:lnTo>
                      <a:pt x="2533" y="2214"/>
                    </a:lnTo>
                    <a:lnTo>
                      <a:pt x="2554" y="2214"/>
                    </a:lnTo>
                    <a:lnTo>
                      <a:pt x="2542" y="2230"/>
                    </a:lnTo>
                    <a:lnTo>
                      <a:pt x="2559" y="2235"/>
                    </a:lnTo>
                    <a:lnTo>
                      <a:pt x="2613" y="2235"/>
                    </a:lnTo>
                    <a:lnTo>
                      <a:pt x="2641" y="2226"/>
                    </a:lnTo>
                    <a:lnTo>
                      <a:pt x="2646" y="2230"/>
                    </a:lnTo>
                    <a:lnTo>
                      <a:pt x="2641" y="2247"/>
                    </a:lnTo>
                    <a:lnTo>
                      <a:pt x="2717" y="2280"/>
                    </a:lnTo>
                    <a:lnTo>
                      <a:pt x="2738" y="2280"/>
                    </a:lnTo>
                    <a:lnTo>
                      <a:pt x="2769" y="2285"/>
                    </a:lnTo>
                    <a:lnTo>
                      <a:pt x="2844" y="2263"/>
                    </a:lnTo>
                    <a:lnTo>
                      <a:pt x="2911" y="2268"/>
                    </a:lnTo>
                    <a:lnTo>
                      <a:pt x="2932" y="2280"/>
                    </a:lnTo>
                    <a:lnTo>
                      <a:pt x="2991" y="2268"/>
                    </a:lnTo>
                    <a:lnTo>
                      <a:pt x="2965" y="2252"/>
                    </a:lnTo>
                    <a:lnTo>
                      <a:pt x="2965" y="2235"/>
                    </a:lnTo>
                    <a:lnTo>
                      <a:pt x="2970" y="2235"/>
                    </a:lnTo>
                    <a:lnTo>
                      <a:pt x="3007" y="2280"/>
                    </a:lnTo>
                    <a:lnTo>
                      <a:pt x="3057" y="2292"/>
                    </a:lnTo>
                    <a:lnTo>
                      <a:pt x="3078" y="2285"/>
                    </a:lnTo>
                    <a:lnTo>
                      <a:pt x="3078" y="2268"/>
                    </a:lnTo>
                    <a:lnTo>
                      <a:pt x="3071" y="2252"/>
                    </a:lnTo>
                    <a:lnTo>
                      <a:pt x="3062" y="2263"/>
                    </a:lnTo>
                    <a:lnTo>
                      <a:pt x="3041" y="2247"/>
                    </a:lnTo>
                    <a:lnTo>
                      <a:pt x="3019" y="2252"/>
                    </a:lnTo>
                    <a:lnTo>
                      <a:pt x="3007" y="2263"/>
                    </a:lnTo>
                    <a:lnTo>
                      <a:pt x="2974" y="2230"/>
                    </a:lnTo>
                    <a:lnTo>
                      <a:pt x="2986" y="2226"/>
                    </a:lnTo>
                    <a:lnTo>
                      <a:pt x="2991" y="2235"/>
                    </a:lnTo>
                    <a:lnTo>
                      <a:pt x="2991" y="2226"/>
                    </a:lnTo>
                    <a:lnTo>
                      <a:pt x="2970" y="2197"/>
                    </a:lnTo>
                    <a:lnTo>
                      <a:pt x="2974" y="2209"/>
                    </a:lnTo>
                    <a:lnTo>
                      <a:pt x="2986" y="2192"/>
                    </a:lnTo>
                    <a:lnTo>
                      <a:pt x="3003" y="2209"/>
                    </a:lnTo>
                    <a:lnTo>
                      <a:pt x="3029" y="2197"/>
                    </a:lnTo>
                    <a:lnTo>
                      <a:pt x="3019" y="2181"/>
                    </a:lnTo>
                    <a:lnTo>
                      <a:pt x="3024" y="2176"/>
                    </a:lnTo>
                    <a:lnTo>
                      <a:pt x="3045" y="2192"/>
                    </a:lnTo>
                    <a:lnTo>
                      <a:pt x="3071" y="2192"/>
                    </a:lnTo>
                    <a:lnTo>
                      <a:pt x="3083" y="2197"/>
                    </a:lnTo>
                    <a:lnTo>
                      <a:pt x="3078" y="2214"/>
                    </a:lnTo>
                    <a:lnTo>
                      <a:pt x="3133" y="2209"/>
                    </a:lnTo>
                    <a:lnTo>
                      <a:pt x="3100" y="2235"/>
                    </a:lnTo>
                    <a:lnTo>
                      <a:pt x="3109" y="2247"/>
                    </a:lnTo>
                    <a:lnTo>
                      <a:pt x="3154" y="2214"/>
                    </a:lnTo>
                    <a:lnTo>
                      <a:pt x="3137" y="2268"/>
                    </a:lnTo>
                    <a:lnTo>
                      <a:pt x="3147" y="2285"/>
                    </a:lnTo>
                    <a:lnTo>
                      <a:pt x="3126" y="2308"/>
                    </a:lnTo>
                    <a:lnTo>
                      <a:pt x="3147" y="2308"/>
                    </a:lnTo>
                    <a:lnTo>
                      <a:pt x="3137" y="2341"/>
                    </a:lnTo>
                    <a:lnTo>
                      <a:pt x="3147" y="2341"/>
                    </a:lnTo>
                    <a:lnTo>
                      <a:pt x="3185" y="2325"/>
                    </a:lnTo>
                    <a:lnTo>
                      <a:pt x="3185" y="2337"/>
                    </a:lnTo>
                    <a:lnTo>
                      <a:pt x="3170" y="2346"/>
                    </a:lnTo>
                    <a:lnTo>
                      <a:pt x="3192" y="2341"/>
                    </a:lnTo>
                    <a:lnTo>
                      <a:pt x="3201" y="2374"/>
                    </a:lnTo>
                    <a:lnTo>
                      <a:pt x="3163" y="2374"/>
                    </a:lnTo>
                    <a:lnTo>
                      <a:pt x="3154" y="2363"/>
                    </a:lnTo>
                    <a:lnTo>
                      <a:pt x="3163" y="2358"/>
                    </a:lnTo>
                    <a:lnTo>
                      <a:pt x="3147" y="2374"/>
                    </a:lnTo>
                    <a:lnTo>
                      <a:pt x="3137" y="2358"/>
                    </a:lnTo>
                    <a:lnTo>
                      <a:pt x="3126" y="2358"/>
                    </a:lnTo>
                    <a:lnTo>
                      <a:pt x="3170" y="2396"/>
                    </a:lnTo>
                    <a:lnTo>
                      <a:pt x="3170" y="2412"/>
                    </a:lnTo>
                    <a:lnTo>
                      <a:pt x="3180" y="2412"/>
                    </a:lnTo>
                    <a:lnTo>
                      <a:pt x="3147" y="2379"/>
                    </a:lnTo>
                    <a:lnTo>
                      <a:pt x="3208" y="2379"/>
                    </a:lnTo>
                    <a:lnTo>
                      <a:pt x="3208" y="2374"/>
                    </a:lnTo>
                    <a:lnTo>
                      <a:pt x="3201" y="2346"/>
                    </a:lnTo>
                    <a:lnTo>
                      <a:pt x="3218" y="2337"/>
                    </a:lnTo>
                    <a:lnTo>
                      <a:pt x="3201" y="2325"/>
                    </a:lnTo>
                    <a:lnTo>
                      <a:pt x="3201" y="2303"/>
                    </a:lnTo>
                    <a:lnTo>
                      <a:pt x="3180" y="2280"/>
                    </a:lnTo>
                    <a:lnTo>
                      <a:pt x="3185" y="2268"/>
                    </a:lnTo>
                    <a:lnTo>
                      <a:pt x="3201" y="2235"/>
                    </a:lnTo>
                    <a:lnTo>
                      <a:pt x="3192" y="2235"/>
                    </a:lnTo>
                    <a:lnTo>
                      <a:pt x="3244" y="2235"/>
                    </a:lnTo>
                    <a:lnTo>
                      <a:pt x="3289" y="2214"/>
                    </a:lnTo>
                    <a:lnTo>
                      <a:pt x="3289" y="2192"/>
                    </a:lnTo>
                    <a:lnTo>
                      <a:pt x="3326" y="2176"/>
                    </a:lnTo>
                    <a:lnTo>
                      <a:pt x="3326" y="2169"/>
                    </a:lnTo>
                    <a:lnTo>
                      <a:pt x="3315" y="2169"/>
                    </a:lnTo>
                    <a:lnTo>
                      <a:pt x="3326" y="2140"/>
                    </a:lnTo>
                    <a:lnTo>
                      <a:pt x="3326" y="2124"/>
                    </a:lnTo>
                    <a:lnTo>
                      <a:pt x="3298" y="2124"/>
                    </a:lnTo>
                    <a:lnTo>
                      <a:pt x="3293" y="2140"/>
                    </a:lnTo>
                    <a:lnTo>
                      <a:pt x="3310" y="2136"/>
                    </a:lnTo>
                    <a:lnTo>
                      <a:pt x="3293" y="2152"/>
                    </a:lnTo>
                    <a:lnTo>
                      <a:pt x="3260" y="2152"/>
                    </a:lnTo>
                    <a:lnTo>
                      <a:pt x="3256" y="2152"/>
                    </a:lnTo>
                    <a:lnTo>
                      <a:pt x="3256" y="2136"/>
                    </a:lnTo>
                    <a:lnTo>
                      <a:pt x="3256" y="2124"/>
                    </a:lnTo>
                    <a:lnTo>
                      <a:pt x="3293" y="2103"/>
                    </a:lnTo>
                    <a:lnTo>
                      <a:pt x="3277" y="2103"/>
                    </a:lnTo>
                    <a:lnTo>
                      <a:pt x="3277" y="2081"/>
                    </a:lnTo>
                    <a:lnTo>
                      <a:pt x="3331" y="2065"/>
                    </a:lnTo>
                    <a:lnTo>
                      <a:pt x="3310" y="2086"/>
                    </a:lnTo>
                    <a:lnTo>
                      <a:pt x="3310" y="2103"/>
                    </a:lnTo>
                    <a:lnTo>
                      <a:pt x="3343" y="2070"/>
                    </a:lnTo>
                    <a:lnTo>
                      <a:pt x="3326" y="2070"/>
                    </a:lnTo>
                    <a:lnTo>
                      <a:pt x="3343" y="2065"/>
                    </a:lnTo>
                    <a:lnTo>
                      <a:pt x="3331" y="2058"/>
                    </a:lnTo>
                    <a:lnTo>
                      <a:pt x="3277" y="2065"/>
                    </a:lnTo>
                    <a:lnTo>
                      <a:pt x="3256" y="2029"/>
                    </a:lnTo>
                    <a:lnTo>
                      <a:pt x="3239" y="2048"/>
                    </a:lnTo>
                    <a:lnTo>
                      <a:pt x="3180" y="2025"/>
                    </a:lnTo>
                    <a:lnTo>
                      <a:pt x="3163" y="2025"/>
                    </a:lnTo>
                    <a:lnTo>
                      <a:pt x="3147" y="2003"/>
                    </a:lnTo>
                    <a:lnTo>
                      <a:pt x="3116" y="1975"/>
                    </a:lnTo>
                    <a:lnTo>
                      <a:pt x="3116" y="1954"/>
                    </a:lnTo>
                    <a:lnTo>
                      <a:pt x="3137" y="1921"/>
                    </a:lnTo>
                    <a:lnTo>
                      <a:pt x="3170" y="1921"/>
                    </a:lnTo>
                    <a:lnTo>
                      <a:pt x="3154" y="1914"/>
                    </a:lnTo>
                    <a:lnTo>
                      <a:pt x="3170" y="1897"/>
                    </a:lnTo>
                    <a:lnTo>
                      <a:pt x="3147" y="1914"/>
                    </a:lnTo>
                    <a:lnTo>
                      <a:pt x="3116" y="1892"/>
                    </a:lnTo>
                    <a:lnTo>
                      <a:pt x="3126" y="1859"/>
                    </a:lnTo>
                    <a:lnTo>
                      <a:pt x="3133" y="1848"/>
                    </a:lnTo>
                    <a:lnTo>
                      <a:pt x="3116" y="1843"/>
                    </a:lnTo>
                    <a:lnTo>
                      <a:pt x="3126" y="1843"/>
                    </a:lnTo>
                    <a:lnTo>
                      <a:pt x="3126" y="1826"/>
                    </a:lnTo>
                    <a:lnTo>
                      <a:pt x="3154" y="1810"/>
                    </a:lnTo>
                    <a:lnTo>
                      <a:pt x="3185" y="1826"/>
                    </a:lnTo>
                    <a:lnTo>
                      <a:pt x="3192" y="1810"/>
                    </a:lnTo>
                    <a:lnTo>
                      <a:pt x="3185" y="1803"/>
                    </a:lnTo>
                    <a:lnTo>
                      <a:pt x="3163" y="1786"/>
                    </a:lnTo>
                    <a:lnTo>
                      <a:pt x="3208" y="1770"/>
                    </a:lnTo>
                    <a:lnTo>
                      <a:pt x="3208" y="1753"/>
                    </a:lnTo>
                    <a:lnTo>
                      <a:pt x="3256" y="1748"/>
                    </a:lnTo>
                    <a:lnTo>
                      <a:pt x="3208" y="1748"/>
                    </a:lnTo>
                    <a:lnTo>
                      <a:pt x="3218" y="1737"/>
                    </a:lnTo>
                    <a:lnTo>
                      <a:pt x="3260" y="1732"/>
                    </a:lnTo>
                    <a:lnTo>
                      <a:pt x="3272" y="1737"/>
                    </a:lnTo>
                    <a:lnTo>
                      <a:pt x="3256" y="1753"/>
                    </a:lnTo>
                    <a:lnTo>
                      <a:pt x="3256" y="1765"/>
                    </a:lnTo>
                    <a:lnTo>
                      <a:pt x="3260" y="1753"/>
                    </a:lnTo>
                    <a:lnTo>
                      <a:pt x="3272" y="1753"/>
                    </a:lnTo>
                    <a:lnTo>
                      <a:pt x="3272" y="1781"/>
                    </a:lnTo>
                    <a:lnTo>
                      <a:pt x="3289" y="1753"/>
                    </a:lnTo>
                    <a:lnTo>
                      <a:pt x="3315" y="1765"/>
                    </a:lnTo>
                    <a:lnTo>
                      <a:pt x="3310" y="1781"/>
                    </a:lnTo>
                    <a:lnTo>
                      <a:pt x="3369" y="1819"/>
                    </a:lnTo>
                    <a:lnTo>
                      <a:pt x="3381" y="1843"/>
                    </a:lnTo>
                    <a:lnTo>
                      <a:pt x="3369" y="1876"/>
                    </a:lnTo>
                    <a:lnTo>
                      <a:pt x="3364" y="1881"/>
                    </a:lnTo>
                    <a:lnTo>
                      <a:pt x="3423" y="1914"/>
                    </a:lnTo>
                    <a:lnTo>
                      <a:pt x="3418" y="1930"/>
                    </a:lnTo>
                    <a:lnTo>
                      <a:pt x="3440" y="1947"/>
                    </a:lnTo>
                    <a:lnTo>
                      <a:pt x="3440" y="1959"/>
                    </a:lnTo>
                    <a:lnTo>
                      <a:pt x="3449" y="1947"/>
                    </a:lnTo>
                    <a:lnTo>
                      <a:pt x="3456" y="1947"/>
                    </a:lnTo>
                    <a:lnTo>
                      <a:pt x="3470" y="1970"/>
                    </a:lnTo>
                    <a:lnTo>
                      <a:pt x="3440" y="1975"/>
                    </a:lnTo>
                    <a:lnTo>
                      <a:pt x="3418" y="1970"/>
                    </a:lnTo>
                    <a:lnTo>
                      <a:pt x="3407" y="1987"/>
                    </a:lnTo>
                    <a:lnTo>
                      <a:pt x="3440" y="1992"/>
                    </a:lnTo>
                    <a:lnTo>
                      <a:pt x="3385" y="2029"/>
                    </a:lnTo>
                    <a:lnTo>
                      <a:pt x="3402" y="2029"/>
                    </a:lnTo>
                    <a:lnTo>
                      <a:pt x="3369" y="2029"/>
                    </a:lnTo>
                    <a:lnTo>
                      <a:pt x="3418" y="2029"/>
                    </a:lnTo>
                    <a:lnTo>
                      <a:pt x="3433" y="2041"/>
                    </a:lnTo>
                    <a:lnTo>
                      <a:pt x="3418" y="2041"/>
                    </a:lnTo>
                    <a:lnTo>
                      <a:pt x="3433" y="2048"/>
                    </a:lnTo>
                    <a:lnTo>
                      <a:pt x="3449" y="2058"/>
                    </a:lnTo>
                    <a:lnTo>
                      <a:pt x="3470" y="2041"/>
                    </a:lnTo>
                    <a:lnTo>
                      <a:pt x="3494" y="2041"/>
                    </a:lnTo>
                    <a:lnTo>
                      <a:pt x="3504" y="2041"/>
                    </a:lnTo>
                    <a:lnTo>
                      <a:pt x="3470" y="2058"/>
                    </a:lnTo>
                    <a:lnTo>
                      <a:pt x="3494" y="2048"/>
                    </a:lnTo>
                    <a:lnTo>
                      <a:pt x="3525" y="2058"/>
                    </a:lnTo>
                    <a:lnTo>
                      <a:pt x="3525" y="2048"/>
                    </a:lnTo>
                    <a:lnTo>
                      <a:pt x="3558" y="2065"/>
                    </a:lnTo>
                    <a:lnTo>
                      <a:pt x="3525" y="2065"/>
                    </a:lnTo>
                    <a:lnTo>
                      <a:pt x="3541" y="2065"/>
                    </a:lnTo>
                    <a:lnTo>
                      <a:pt x="3525" y="2070"/>
                    </a:lnTo>
                    <a:lnTo>
                      <a:pt x="3515" y="2086"/>
                    </a:lnTo>
                    <a:lnTo>
                      <a:pt x="3478" y="2070"/>
                    </a:lnTo>
                    <a:lnTo>
                      <a:pt x="3532" y="2115"/>
                    </a:lnTo>
                    <a:lnTo>
                      <a:pt x="3532" y="2124"/>
                    </a:lnTo>
                    <a:lnTo>
                      <a:pt x="3546" y="2136"/>
                    </a:lnTo>
                    <a:lnTo>
                      <a:pt x="3541" y="2152"/>
                    </a:lnTo>
                    <a:lnTo>
                      <a:pt x="3541" y="2181"/>
                    </a:lnTo>
                    <a:lnTo>
                      <a:pt x="3532" y="2192"/>
                    </a:lnTo>
                    <a:lnTo>
                      <a:pt x="3558" y="2197"/>
                    </a:lnTo>
                    <a:lnTo>
                      <a:pt x="3546" y="2209"/>
                    </a:lnTo>
                    <a:lnTo>
                      <a:pt x="3558" y="2214"/>
                    </a:lnTo>
                    <a:lnTo>
                      <a:pt x="3570" y="2214"/>
                    </a:lnTo>
                    <a:lnTo>
                      <a:pt x="3584" y="2192"/>
                    </a:lnTo>
                    <a:lnTo>
                      <a:pt x="3579" y="2169"/>
                    </a:lnTo>
                    <a:lnTo>
                      <a:pt x="3596" y="2157"/>
                    </a:lnTo>
                    <a:lnTo>
                      <a:pt x="3596" y="2119"/>
                    </a:lnTo>
                    <a:lnTo>
                      <a:pt x="3622" y="2086"/>
                    </a:lnTo>
                    <a:lnTo>
                      <a:pt x="3650" y="2086"/>
                    </a:lnTo>
                    <a:lnTo>
                      <a:pt x="3721" y="2140"/>
                    </a:lnTo>
                    <a:lnTo>
                      <a:pt x="3730" y="2209"/>
                    </a:lnTo>
                    <a:lnTo>
                      <a:pt x="3726" y="2226"/>
                    </a:lnTo>
                    <a:lnTo>
                      <a:pt x="3704" y="2197"/>
                    </a:lnTo>
                    <a:lnTo>
                      <a:pt x="3688" y="2209"/>
                    </a:lnTo>
                    <a:lnTo>
                      <a:pt x="3693" y="2230"/>
                    </a:lnTo>
                    <a:lnTo>
                      <a:pt x="3693" y="2252"/>
                    </a:lnTo>
                    <a:lnTo>
                      <a:pt x="3709" y="2285"/>
                    </a:lnTo>
                    <a:lnTo>
                      <a:pt x="3763" y="2337"/>
                    </a:lnTo>
                    <a:lnTo>
                      <a:pt x="3747" y="2358"/>
                    </a:lnTo>
                    <a:lnTo>
                      <a:pt x="3785" y="2341"/>
                    </a:lnTo>
                    <a:lnTo>
                      <a:pt x="3780" y="2325"/>
                    </a:lnTo>
                    <a:lnTo>
                      <a:pt x="3796" y="2320"/>
                    </a:lnTo>
                    <a:lnTo>
                      <a:pt x="3818" y="2325"/>
                    </a:lnTo>
                    <a:lnTo>
                      <a:pt x="3827" y="2292"/>
                    </a:lnTo>
                    <a:lnTo>
                      <a:pt x="3818" y="2285"/>
                    </a:lnTo>
                    <a:lnTo>
                      <a:pt x="3865" y="2235"/>
                    </a:lnTo>
                    <a:lnTo>
                      <a:pt x="3872" y="2209"/>
                    </a:lnTo>
                    <a:lnTo>
                      <a:pt x="3881" y="2192"/>
                    </a:lnTo>
                    <a:lnTo>
                      <a:pt x="3881" y="2152"/>
                    </a:lnTo>
                    <a:lnTo>
                      <a:pt x="3893" y="2152"/>
                    </a:lnTo>
                    <a:lnTo>
                      <a:pt x="3941" y="2152"/>
                    </a:lnTo>
                    <a:lnTo>
                      <a:pt x="3941" y="2140"/>
                    </a:lnTo>
                    <a:lnTo>
                      <a:pt x="3910" y="2136"/>
                    </a:lnTo>
                    <a:lnTo>
                      <a:pt x="3924" y="2136"/>
                    </a:lnTo>
                    <a:lnTo>
                      <a:pt x="3919" y="2124"/>
                    </a:lnTo>
                    <a:lnTo>
                      <a:pt x="3941" y="2124"/>
                    </a:lnTo>
                    <a:lnTo>
                      <a:pt x="3936" y="2119"/>
                    </a:lnTo>
                    <a:lnTo>
                      <a:pt x="3962" y="2119"/>
                    </a:lnTo>
                    <a:lnTo>
                      <a:pt x="3919" y="2103"/>
                    </a:lnTo>
                    <a:lnTo>
                      <a:pt x="3924" y="2098"/>
                    </a:lnTo>
                    <a:lnTo>
                      <a:pt x="3903" y="2103"/>
                    </a:lnTo>
                    <a:lnTo>
                      <a:pt x="3910" y="2098"/>
                    </a:lnTo>
                    <a:lnTo>
                      <a:pt x="3893" y="2086"/>
                    </a:lnTo>
                    <a:lnTo>
                      <a:pt x="3893" y="2070"/>
                    </a:lnTo>
                    <a:lnTo>
                      <a:pt x="3903" y="2065"/>
                    </a:lnTo>
                    <a:lnTo>
                      <a:pt x="3886" y="2065"/>
                    </a:lnTo>
                    <a:lnTo>
                      <a:pt x="3893" y="2025"/>
                    </a:lnTo>
                    <a:lnTo>
                      <a:pt x="3903" y="2025"/>
                    </a:lnTo>
                    <a:lnTo>
                      <a:pt x="3886" y="2008"/>
                    </a:lnTo>
                    <a:lnTo>
                      <a:pt x="3924" y="2025"/>
                    </a:lnTo>
                    <a:lnTo>
                      <a:pt x="3974" y="2008"/>
                    </a:lnTo>
                    <a:lnTo>
                      <a:pt x="4016" y="2029"/>
                    </a:lnTo>
                    <a:lnTo>
                      <a:pt x="4120" y="2041"/>
                    </a:lnTo>
                    <a:lnTo>
                      <a:pt x="4096" y="2041"/>
                    </a:lnTo>
                    <a:lnTo>
                      <a:pt x="4104" y="2058"/>
                    </a:lnTo>
                    <a:lnTo>
                      <a:pt x="4049" y="2048"/>
                    </a:lnTo>
                    <a:lnTo>
                      <a:pt x="4120" y="2070"/>
                    </a:lnTo>
                    <a:lnTo>
                      <a:pt x="4120" y="2086"/>
                    </a:lnTo>
                    <a:lnTo>
                      <a:pt x="4158" y="2086"/>
                    </a:lnTo>
                    <a:lnTo>
                      <a:pt x="4189" y="2098"/>
                    </a:lnTo>
                    <a:lnTo>
                      <a:pt x="4189" y="2103"/>
                    </a:lnTo>
                    <a:lnTo>
                      <a:pt x="4163" y="2119"/>
                    </a:lnTo>
                    <a:lnTo>
                      <a:pt x="4134" y="2136"/>
                    </a:lnTo>
                    <a:lnTo>
                      <a:pt x="4179" y="2136"/>
                    </a:lnTo>
                    <a:lnTo>
                      <a:pt x="4189" y="2152"/>
                    </a:lnTo>
                    <a:lnTo>
                      <a:pt x="4189" y="2169"/>
                    </a:lnTo>
                    <a:lnTo>
                      <a:pt x="4141" y="2192"/>
                    </a:lnTo>
                    <a:lnTo>
                      <a:pt x="4120" y="2181"/>
                    </a:lnTo>
                    <a:lnTo>
                      <a:pt x="4125" y="2181"/>
                    </a:lnTo>
                    <a:lnTo>
                      <a:pt x="4120" y="2192"/>
                    </a:lnTo>
                    <a:lnTo>
                      <a:pt x="4096" y="2181"/>
                    </a:lnTo>
                    <a:lnTo>
                      <a:pt x="4108" y="2209"/>
                    </a:lnTo>
                    <a:lnTo>
                      <a:pt x="4104" y="2209"/>
                    </a:lnTo>
                    <a:lnTo>
                      <a:pt x="4120" y="2209"/>
                    </a:lnTo>
                    <a:lnTo>
                      <a:pt x="4108" y="2226"/>
                    </a:lnTo>
                    <a:lnTo>
                      <a:pt x="4125" y="2230"/>
                    </a:lnTo>
                    <a:lnTo>
                      <a:pt x="4141" y="2226"/>
                    </a:lnTo>
                    <a:lnTo>
                      <a:pt x="4125" y="2247"/>
                    </a:lnTo>
                    <a:lnTo>
                      <a:pt x="4134" y="2252"/>
                    </a:lnTo>
                    <a:lnTo>
                      <a:pt x="4189" y="2308"/>
                    </a:lnTo>
                    <a:lnTo>
                      <a:pt x="4172" y="2363"/>
                    </a:lnTo>
                    <a:lnTo>
                      <a:pt x="4141" y="2374"/>
                    </a:lnTo>
                    <a:lnTo>
                      <a:pt x="4096" y="2419"/>
                    </a:lnTo>
                    <a:lnTo>
                      <a:pt x="4066" y="2419"/>
                    </a:lnTo>
                    <a:lnTo>
                      <a:pt x="4033" y="2448"/>
                    </a:lnTo>
                    <a:lnTo>
                      <a:pt x="4028" y="2436"/>
                    </a:lnTo>
                    <a:lnTo>
                      <a:pt x="4033" y="2448"/>
                    </a:lnTo>
                    <a:lnTo>
                      <a:pt x="4016" y="2429"/>
                    </a:lnTo>
                    <a:lnTo>
                      <a:pt x="4000" y="2419"/>
                    </a:lnTo>
                    <a:lnTo>
                      <a:pt x="3995" y="2403"/>
                    </a:lnTo>
                    <a:lnTo>
                      <a:pt x="4000" y="2391"/>
                    </a:lnTo>
                    <a:lnTo>
                      <a:pt x="4000" y="2379"/>
                    </a:lnTo>
                    <a:lnTo>
                      <a:pt x="3990" y="2403"/>
                    </a:lnTo>
                    <a:lnTo>
                      <a:pt x="3978" y="2403"/>
                    </a:lnTo>
                    <a:lnTo>
                      <a:pt x="3962" y="2391"/>
                    </a:lnTo>
                    <a:lnTo>
                      <a:pt x="3974" y="2374"/>
                    </a:lnTo>
                    <a:lnTo>
                      <a:pt x="3936" y="2358"/>
                    </a:lnTo>
                    <a:lnTo>
                      <a:pt x="3936" y="2374"/>
                    </a:lnTo>
                    <a:lnTo>
                      <a:pt x="3957" y="2374"/>
                    </a:lnTo>
                    <a:lnTo>
                      <a:pt x="3924" y="2374"/>
                    </a:lnTo>
                    <a:lnTo>
                      <a:pt x="3910" y="2379"/>
                    </a:lnTo>
                    <a:lnTo>
                      <a:pt x="3957" y="2374"/>
                    </a:lnTo>
                    <a:lnTo>
                      <a:pt x="3945" y="2379"/>
                    </a:lnTo>
                    <a:lnTo>
                      <a:pt x="3962" y="2391"/>
                    </a:lnTo>
                    <a:lnTo>
                      <a:pt x="3945" y="2391"/>
                    </a:lnTo>
                    <a:lnTo>
                      <a:pt x="3962" y="2396"/>
                    </a:lnTo>
                    <a:lnTo>
                      <a:pt x="3962" y="2403"/>
                    </a:lnTo>
                    <a:lnTo>
                      <a:pt x="3990" y="2403"/>
                    </a:lnTo>
                    <a:lnTo>
                      <a:pt x="3990" y="2412"/>
                    </a:lnTo>
                    <a:lnTo>
                      <a:pt x="4016" y="2469"/>
                    </a:lnTo>
                    <a:lnTo>
                      <a:pt x="4011" y="2469"/>
                    </a:lnTo>
                    <a:lnTo>
                      <a:pt x="3962" y="2436"/>
                    </a:lnTo>
                    <a:lnTo>
                      <a:pt x="3957" y="2452"/>
                    </a:lnTo>
                    <a:lnTo>
                      <a:pt x="3974" y="2469"/>
                    </a:lnTo>
                    <a:lnTo>
                      <a:pt x="3910" y="2457"/>
                    </a:lnTo>
                    <a:lnTo>
                      <a:pt x="3893" y="2419"/>
                    </a:lnTo>
                    <a:lnTo>
                      <a:pt x="3872" y="2429"/>
                    </a:lnTo>
                    <a:lnTo>
                      <a:pt x="3801" y="2429"/>
                    </a:lnTo>
                    <a:lnTo>
                      <a:pt x="3811" y="2436"/>
                    </a:lnTo>
                    <a:lnTo>
                      <a:pt x="3801" y="2436"/>
                    </a:lnTo>
                    <a:lnTo>
                      <a:pt x="3811" y="2452"/>
                    </a:lnTo>
                    <a:lnTo>
                      <a:pt x="3865" y="2469"/>
                    </a:lnTo>
                    <a:lnTo>
                      <a:pt x="3855" y="2485"/>
                    </a:lnTo>
                    <a:lnTo>
                      <a:pt x="3827" y="2502"/>
                    </a:lnTo>
                    <a:lnTo>
                      <a:pt x="3818" y="2523"/>
                    </a:lnTo>
                    <a:lnTo>
                      <a:pt x="3763" y="2568"/>
                    </a:lnTo>
                    <a:lnTo>
                      <a:pt x="3721" y="2563"/>
                    </a:lnTo>
                    <a:lnTo>
                      <a:pt x="3655" y="2530"/>
                    </a:lnTo>
                    <a:lnTo>
                      <a:pt x="3676" y="2530"/>
                    </a:lnTo>
                    <a:lnTo>
                      <a:pt x="3650" y="2523"/>
                    </a:lnTo>
                    <a:lnTo>
                      <a:pt x="3600" y="2490"/>
                    </a:lnTo>
                    <a:lnTo>
                      <a:pt x="3579" y="2490"/>
                    </a:lnTo>
                    <a:lnTo>
                      <a:pt x="3596" y="2502"/>
                    </a:lnTo>
                    <a:lnTo>
                      <a:pt x="3596" y="2507"/>
                    </a:lnTo>
                    <a:lnTo>
                      <a:pt x="3546" y="2502"/>
                    </a:lnTo>
                    <a:lnTo>
                      <a:pt x="3563" y="2502"/>
                    </a:lnTo>
                    <a:lnTo>
                      <a:pt x="3478" y="2490"/>
                    </a:lnTo>
                    <a:lnTo>
                      <a:pt x="3508" y="2507"/>
                    </a:lnTo>
                    <a:lnTo>
                      <a:pt x="3504" y="2502"/>
                    </a:lnTo>
                    <a:lnTo>
                      <a:pt x="3579" y="2514"/>
                    </a:lnTo>
                    <a:lnTo>
                      <a:pt x="3638" y="2568"/>
                    </a:lnTo>
                    <a:lnTo>
                      <a:pt x="3763" y="2568"/>
                    </a:lnTo>
                    <a:lnTo>
                      <a:pt x="3796" y="2585"/>
                    </a:lnTo>
                    <a:lnTo>
                      <a:pt x="3747" y="2658"/>
                    </a:lnTo>
                    <a:lnTo>
                      <a:pt x="3730" y="2667"/>
                    </a:lnTo>
                    <a:lnTo>
                      <a:pt x="3721" y="2696"/>
                    </a:lnTo>
                    <a:lnTo>
                      <a:pt x="3709" y="2707"/>
                    </a:lnTo>
                    <a:lnTo>
                      <a:pt x="3667" y="2729"/>
                    </a:lnTo>
                    <a:lnTo>
                      <a:pt x="3638" y="2724"/>
                    </a:lnTo>
                    <a:lnTo>
                      <a:pt x="3633" y="2707"/>
                    </a:lnTo>
                    <a:lnTo>
                      <a:pt x="3650" y="2729"/>
                    </a:lnTo>
                    <a:lnTo>
                      <a:pt x="3612" y="2712"/>
                    </a:lnTo>
                    <a:lnTo>
                      <a:pt x="3612" y="2729"/>
                    </a:lnTo>
                    <a:lnTo>
                      <a:pt x="3584" y="2712"/>
                    </a:lnTo>
                    <a:lnTo>
                      <a:pt x="3596" y="2707"/>
                    </a:lnTo>
                    <a:lnTo>
                      <a:pt x="3596" y="2696"/>
                    </a:lnTo>
                    <a:lnTo>
                      <a:pt x="3584" y="2707"/>
                    </a:lnTo>
                    <a:lnTo>
                      <a:pt x="3570" y="2707"/>
                    </a:lnTo>
                    <a:lnTo>
                      <a:pt x="3579" y="2712"/>
                    </a:lnTo>
                    <a:lnTo>
                      <a:pt x="3584" y="2729"/>
                    </a:lnTo>
                    <a:lnTo>
                      <a:pt x="3558" y="2724"/>
                    </a:lnTo>
                    <a:lnTo>
                      <a:pt x="3579" y="2745"/>
                    </a:lnTo>
                    <a:lnTo>
                      <a:pt x="3563" y="2769"/>
                    </a:lnTo>
                    <a:lnTo>
                      <a:pt x="3532" y="2752"/>
                    </a:lnTo>
                    <a:lnTo>
                      <a:pt x="3525" y="2762"/>
                    </a:lnTo>
                    <a:lnTo>
                      <a:pt x="3532" y="2762"/>
                    </a:lnTo>
                    <a:lnTo>
                      <a:pt x="3541" y="2769"/>
                    </a:lnTo>
                    <a:lnTo>
                      <a:pt x="3508" y="2769"/>
                    </a:lnTo>
                    <a:lnTo>
                      <a:pt x="3470" y="2752"/>
                    </a:lnTo>
                    <a:lnTo>
                      <a:pt x="3423" y="2752"/>
                    </a:lnTo>
                    <a:lnTo>
                      <a:pt x="3343" y="2724"/>
                    </a:lnTo>
                    <a:lnTo>
                      <a:pt x="3310" y="2696"/>
                    </a:lnTo>
                    <a:lnTo>
                      <a:pt x="3326" y="2712"/>
                    </a:lnTo>
                    <a:lnTo>
                      <a:pt x="3315" y="2729"/>
                    </a:lnTo>
                    <a:lnTo>
                      <a:pt x="3331" y="2736"/>
                    </a:lnTo>
                    <a:lnTo>
                      <a:pt x="3352" y="2736"/>
                    </a:lnTo>
                    <a:lnTo>
                      <a:pt x="3331" y="2729"/>
                    </a:lnTo>
                    <a:lnTo>
                      <a:pt x="3343" y="2729"/>
                    </a:lnTo>
                    <a:lnTo>
                      <a:pt x="3433" y="2752"/>
                    </a:lnTo>
                    <a:lnTo>
                      <a:pt x="3402" y="2778"/>
                    </a:lnTo>
                    <a:lnTo>
                      <a:pt x="3456" y="2752"/>
                    </a:lnTo>
                    <a:lnTo>
                      <a:pt x="3461" y="2769"/>
                    </a:lnTo>
                    <a:lnTo>
                      <a:pt x="3515" y="2790"/>
                    </a:lnTo>
                    <a:lnTo>
                      <a:pt x="3508" y="2785"/>
                    </a:lnTo>
                    <a:lnTo>
                      <a:pt x="3525" y="2790"/>
                    </a:lnTo>
                    <a:lnTo>
                      <a:pt x="3532" y="2835"/>
                    </a:lnTo>
                    <a:lnTo>
                      <a:pt x="3525" y="2840"/>
                    </a:lnTo>
                    <a:lnTo>
                      <a:pt x="3504" y="2840"/>
                    </a:lnTo>
                    <a:lnTo>
                      <a:pt x="3478" y="2856"/>
                    </a:lnTo>
                    <a:lnTo>
                      <a:pt x="3407" y="2856"/>
                    </a:lnTo>
                    <a:lnTo>
                      <a:pt x="3418" y="2873"/>
                    </a:lnTo>
                    <a:lnTo>
                      <a:pt x="3449" y="2880"/>
                    </a:lnTo>
                    <a:lnTo>
                      <a:pt x="3433" y="2889"/>
                    </a:lnTo>
                    <a:lnTo>
                      <a:pt x="3418" y="2880"/>
                    </a:lnTo>
                    <a:lnTo>
                      <a:pt x="3385" y="2896"/>
                    </a:lnTo>
                    <a:lnTo>
                      <a:pt x="3385" y="2913"/>
                    </a:lnTo>
                    <a:lnTo>
                      <a:pt x="3402" y="2934"/>
                    </a:lnTo>
                    <a:lnTo>
                      <a:pt x="3385" y="2918"/>
                    </a:lnTo>
                    <a:lnTo>
                      <a:pt x="3352" y="2913"/>
                    </a:lnTo>
                    <a:lnTo>
                      <a:pt x="3385" y="2929"/>
                    </a:lnTo>
                    <a:lnTo>
                      <a:pt x="3364" y="2929"/>
                    </a:lnTo>
                    <a:lnTo>
                      <a:pt x="3369" y="2934"/>
                    </a:lnTo>
                    <a:lnTo>
                      <a:pt x="3352" y="2946"/>
                    </a:lnTo>
                    <a:lnTo>
                      <a:pt x="3343" y="2946"/>
                    </a:lnTo>
                    <a:lnTo>
                      <a:pt x="3352" y="2951"/>
                    </a:lnTo>
                    <a:lnTo>
                      <a:pt x="3348" y="2955"/>
                    </a:lnTo>
                    <a:lnTo>
                      <a:pt x="3326" y="2951"/>
                    </a:lnTo>
                    <a:lnTo>
                      <a:pt x="3326" y="2967"/>
                    </a:lnTo>
                    <a:lnTo>
                      <a:pt x="3348" y="2974"/>
                    </a:lnTo>
                    <a:lnTo>
                      <a:pt x="3298" y="3007"/>
                    </a:lnTo>
                    <a:lnTo>
                      <a:pt x="3310" y="3024"/>
                    </a:lnTo>
                    <a:lnTo>
                      <a:pt x="3272" y="3078"/>
                    </a:lnTo>
                    <a:lnTo>
                      <a:pt x="3260" y="3111"/>
                    </a:lnTo>
                    <a:lnTo>
                      <a:pt x="3244" y="3111"/>
                    </a:lnTo>
                    <a:lnTo>
                      <a:pt x="3256" y="3123"/>
                    </a:lnTo>
                    <a:lnTo>
                      <a:pt x="3239" y="3173"/>
                    </a:lnTo>
                    <a:lnTo>
                      <a:pt x="3239" y="3206"/>
                    </a:lnTo>
                    <a:lnTo>
                      <a:pt x="3244" y="3234"/>
                    </a:lnTo>
                    <a:lnTo>
                      <a:pt x="3239" y="3246"/>
                    </a:lnTo>
                    <a:lnTo>
                      <a:pt x="3239" y="3263"/>
                    </a:lnTo>
                    <a:lnTo>
                      <a:pt x="3260" y="3300"/>
                    </a:lnTo>
                    <a:lnTo>
                      <a:pt x="3277" y="3300"/>
                    </a:lnTo>
                    <a:lnTo>
                      <a:pt x="3272" y="3355"/>
                    </a:lnTo>
                    <a:lnTo>
                      <a:pt x="3277" y="3338"/>
                    </a:lnTo>
                    <a:lnTo>
                      <a:pt x="3277" y="3317"/>
                    </a:lnTo>
                    <a:lnTo>
                      <a:pt x="3289" y="3300"/>
                    </a:lnTo>
                    <a:lnTo>
                      <a:pt x="3352" y="3300"/>
                    </a:lnTo>
                    <a:lnTo>
                      <a:pt x="3407" y="3449"/>
                    </a:lnTo>
                    <a:lnTo>
                      <a:pt x="3395" y="3473"/>
                    </a:lnTo>
                    <a:lnTo>
                      <a:pt x="3381" y="3489"/>
                    </a:lnTo>
                    <a:lnTo>
                      <a:pt x="3407" y="3473"/>
                    </a:lnTo>
                    <a:lnTo>
                      <a:pt x="3423" y="3473"/>
                    </a:lnTo>
                    <a:lnTo>
                      <a:pt x="3402" y="3489"/>
                    </a:lnTo>
                    <a:lnTo>
                      <a:pt x="3508" y="3461"/>
                    </a:lnTo>
                    <a:lnTo>
                      <a:pt x="3667" y="3499"/>
                    </a:lnTo>
                    <a:lnTo>
                      <a:pt x="3721" y="3539"/>
                    </a:lnTo>
                    <a:lnTo>
                      <a:pt x="3742" y="3572"/>
                    </a:lnTo>
                    <a:lnTo>
                      <a:pt x="3763" y="3584"/>
                    </a:lnTo>
                    <a:lnTo>
                      <a:pt x="3881" y="3626"/>
                    </a:lnTo>
                    <a:lnTo>
                      <a:pt x="3903" y="3650"/>
                    </a:lnTo>
                    <a:lnTo>
                      <a:pt x="3919" y="3650"/>
                    </a:lnTo>
                    <a:lnTo>
                      <a:pt x="3893" y="3688"/>
                    </a:lnTo>
                    <a:lnTo>
                      <a:pt x="3910" y="3666"/>
                    </a:lnTo>
                    <a:lnTo>
                      <a:pt x="3924" y="3655"/>
                    </a:lnTo>
                    <a:lnTo>
                      <a:pt x="3957" y="3666"/>
                    </a:lnTo>
                    <a:lnTo>
                      <a:pt x="4000" y="3655"/>
                    </a:lnTo>
                    <a:lnTo>
                      <a:pt x="4028" y="3671"/>
                    </a:lnTo>
                    <a:lnTo>
                      <a:pt x="4016" y="3655"/>
                    </a:lnTo>
                    <a:lnTo>
                      <a:pt x="4070" y="3666"/>
                    </a:lnTo>
                    <a:lnTo>
                      <a:pt x="4108" y="3683"/>
                    </a:lnTo>
                    <a:lnTo>
                      <a:pt x="4120" y="3671"/>
                    </a:lnTo>
                    <a:lnTo>
                      <a:pt x="4125" y="3704"/>
                    </a:lnTo>
                    <a:lnTo>
                      <a:pt x="4108" y="3749"/>
                    </a:lnTo>
                    <a:lnTo>
                      <a:pt x="4108" y="3766"/>
                    </a:lnTo>
                    <a:lnTo>
                      <a:pt x="4120" y="3777"/>
                    </a:lnTo>
                    <a:lnTo>
                      <a:pt x="4125" y="3806"/>
                    </a:lnTo>
                    <a:lnTo>
                      <a:pt x="4125" y="3822"/>
                    </a:lnTo>
                    <a:lnTo>
                      <a:pt x="4125" y="3855"/>
                    </a:lnTo>
                    <a:lnTo>
                      <a:pt x="4120" y="3872"/>
                    </a:lnTo>
                    <a:lnTo>
                      <a:pt x="4120" y="3877"/>
                    </a:lnTo>
                    <a:lnTo>
                      <a:pt x="4172" y="3943"/>
                    </a:lnTo>
                    <a:lnTo>
                      <a:pt x="4172" y="3950"/>
                    </a:lnTo>
                    <a:lnTo>
                      <a:pt x="4151" y="3966"/>
                    </a:lnTo>
                    <a:lnTo>
                      <a:pt x="4172" y="3959"/>
                    </a:lnTo>
                    <a:lnTo>
                      <a:pt x="4179" y="3971"/>
                    </a:lnTo>
                    <a:lnTo>
                      <a:pt x="4210" y="3983"/>
                    </a:lnTo>
                    <a:lnTo>
                      <a:pt x="4233" y="4016"/>
                    </a:lnTo>
                    <a:lnTo>
                      <a:pt x="4248" y="4044"/>
                    </a:lnTo>
                    <a:lnTo>
                      <a:pt x="4205" y="4077"/>
                    </a:lnTo>
                    <a:lnTo>
                      <a:pt x="4248" y="4044"/>
                    </a:lnTo>
                    <a:lnTo>
                      <a:pt x="4271" y="4044"/>
                    </a:lnTo>
                    <a:lnTo>
                      <a:pt x="4297" y="4061"/>
                    </a:lnTo>
                    <a:lnTo>
                      <a:pt x="4323" y="4099"/>
                    </a:lnTo>
                    <a:lnTo>
                      <a:pt x="4297" y="4061"/>
                    </a:lnTo>
                    <a:lnTo>
                      <a:pt x="4302" y="4037"/>
                    </a:lnTo>
                    <a:lnTo>
                      <a:pt x="4323" y="4016"/>
                    </a:lnTo>
                    <a:lnTo>
                      <a:pt x="4335" y="4016"/>
                    </a:lnTo>
                    <a:lnTo>
                      <a:pt x="4323" y="4025"/>
                    </a:lnTo>
                    <a:lnTo>
                      <a:pt x="4352" y="4025"/>
                    </a:lnTo>
                    <a:lnTo>
                      <a:pt x="4352" y="4054"/>
                    </a:lnTo>
                    <a:lnTo>
                      <a:pt x="4356" y="4061"/>
                    </a:lnTo>
                    <a:lnTo>
                      <a:pt x="4356" y="4054"/>
                    </a:lnTo>
                    <a:lnTo>
                      <a:pt x="4368" y="4025"/>
                    </a:lnTo>
                    <a:lnTo>
                      <a:pt x="4368" y="4021"/>
                    </a:lnTo>
                    <a:lnTo>
                      <a:pt x="4340" y="4004"/>
                    </a:lnTo>
                    <a:lnTo>
                      <a:pt x="4356" y="4000"/>
                    </a:lnTo>
                    <a:lnTo>
                      <a:pt x="4356" y="3988"/>
                    </a:lnTo>
                    <a:lnTo>
                      <a:pt x="4378" y="3971"/>
                    </a:lnTo>
                    <a:lnTo>
                      <a:pt x="4378" y="3933"/>
                    </a:lnTo>
                    <a:lnTo>
                      <a:pt x="4368" y="3926"/>
                    </a:lnTo>
                    <a:lnTo>
                      <a:pt x="4373" y="3926"/>
                    </a:lnTo>
                    <a:lnTo>
                      <a:pt x="4368" y="3905"/>
                    </a:lnTo>
                    <a:lnTo>
                      <a:pt x="4368" y="3893"/>
                    </a:lnTo>
                    <a:lnTo>
                      <a:pt x="4356" y="3893"/>
                    </a:lnTo>
                    <a:lnTo>
                      <a:pt x="4356" y="3855"/>
                    </a:lnTo>
                    <a:lnTo>
                      <a:pt x="4340" y="3832"/>
                    </a:lnTo>
                    <a:lnTo>
                      <a:pt x="4356" y="3832"/>
                    </a:lnTo>
                    <a:lnTo>
                      <a:pt x="4335" y="3815"/>
                    </a:lnTo>
                    <a:lnTo>
                      <a:pt x="4340" y="3799"/>
                    </a:lnTo>
                    <a:lnTo>
                      <a:pt x="4356" y="3806"/>
                    </a:lnTo>
                    <a:lnTo>
                      <a:pt x="4340" y="3794"/>
                    </a:lnTo>
                    <a:lnTo>
                      <a:pt x="4340" y="3782"/>
                    </a:lnTo>
                    <a:lnTo>
                      <a:pt x="4352" y="3782"/>
                    </a:lnTo>
                    <a:lnTo>
                      <a:pt x="4340" y="3777"/>
                    </a:lnTo>
                    <a:lnTo>
                      <a:pt x="4340" y="3766"/>
                    </a:lnTo>
                    <a:lnTo>
                      <a:pt x="4323" y="3766"/>
                    </a:lnTo>
                    <a:lnTo>
                      <a:pt x="4314" y="3728"/>
                    </a:lnTo>
                    <a:lnTo>
                      <a:pt x="4297" y="3721"/>
                    </a:lnTo>
                    <a:lnTo>
                      <a:pt x="4394" y="3683"/>
                    </a:lnTo>
                    <a:lnTo>
                      <a:pt x="4432" y="3655"/>
                    </a:lnTo>
                    <a:lnTo>
                      <a:pt x="4474" y="3626"/>
                    </a:lnTo>
                    <a:lnTo>
                      <a:pt x="4512" y="3584"/>
                    </a:lnTo>
                    <a:lnTo>
                      <a:pt x="4519" y="3544"/>
                    </a:lnTo>
                    <a:lnTo>
                      <a:pt x="4519" y="3473"/>
                    </a:lnTo>
                    <a:lnTo>
                      <a:pt x="4498" y="3407"/>
                    </a:lnTo>
                    <a:lnTo>
                      <a:pt x="4460" y="3355"/>
                    </a:lnTo>
                    <a:lnTo>
                      <a:pt x="4422" y="3338"/>
                    </a:lnTo>
                    <a:lnTo>
                      <a:pt x="4389" y="3317"/>
                    </a:lnTo>
                    <a:lnTo>
                      <a:pt x="4394" y="3322"/>
                    </a:lnTo>
                    <a:lnTo>
                      <a:pt x="4378" y="3317"/>
                    </a:lnTo>
                    <a:lnTo>
                      <a:pt x="4389" y="3305"/>
                    </a:lnTo>
                    <a:lnTo>
                      <a:pt x="4378" y="3279"/>
                    </a:lnTo>
                    <a:lnTo>
                      <a:pt x="4394" y="3284"/>
                    </a:lnTo>
                    <a:lnTo>
                      <a:pt x="4411" y="3251"/>
                    </a:lnTo>
                    <a:lnTo>
                      <a:pt x="4444" y="3227"/>
                    </a:lnTo>
                    <a:lnTo>
                      <a:pt x="4427" y="3227"/>
                    </a:lnTo>
                    <a:lnTo>
                      <a:pt x="4432" y="3211"/>
                    </a:lnTo>
                    <a:lnTo>
                      <a:pt x="4432" y="3194"/>
                    </a:lnTo>
                    <a:lnTo>
                      <a:pt x="4465" y="3211"/>
                    </a:lnTo>
                    <a:lnTo>
                      <a:pt x="4448" y="3194"/>
                    </a:lnTo>
                    <a:lnTo>
                      <a:pt x="4465" y="3189"/>
                    </a:lnTo>
                    <a:lnTo>
                      <a:pt x="4460" y="3173"/>
                    </a:lnTo>
                    <a:lnTo>
                      <a:pt x="4503" y="3151"/>
                    </a:lnTo>
                    <a:lnTo>
                      <a:pt x="4474" y="3151"/>
                    </a:lnTo>
                    <a:lnTo>
                      <a:pt x="4465" y="3168"/>
                    </a:lnTo>
                    <a:lnTo>
                      <a:pt x="4448" y="3156"/>
                    </a:lnTo>
                    <a:lnTo>
                      <a:pt x="4460" y="3140"/>
                    </a:lnTo>
                    <a:lnTo>
                      <a:pt x="4432" y="3123"/>
                    </a:lnTo>
                    <a:lnTo>
                      <a:pt x="4460" y="3111"/>
                    </a:lnTo>
                    <a:lnTo>
                      <a:pt x="4427" y="3095"/>
                    </a:lnTo>
                    <a:lnTo>
                      <a:pt x="4448" y="3078"/>
                    </a:lnTo>
                    <a:lnTo>
                      <a:pt x="4406" y="3078"/>
                    </a:lnTo>
                    <a:lnTo>
                      <a:pt x="4444" y="3029"/>
                    </a:lnTo>
                    <a:lnTo>
                      <a:pt x="4432" y="3012"/>
                    </a:lnTo>
                    <a:lnTo>
                      <a:pt x="4448" y="3007"/>
                    </a:lnTo>
                    <a:lnTo>
                      <a:pt x="4448" y="3000"/>
                    </a:lnTo>
                    <a:lnTo>
                      <a:pt x="4460" y="3000"/>
                    </a:lnTo>
                    <a:lnTo>
                      <a:pt x="4422" y="2974"/>
                    </a:lnTo>
                    <a:lnTo>
                      <a:pt x="4406" y="2929"/>
                    </a:lnTo>
                    <a:lnTo>
                      <a:pt x="4422" y="2901"/>
                    </a:lnTo>
                    <a:lnTo>
                      <a:pt x="4448" y="2889"/>
                    </a:lnTo>
                    <a:lnTo>
                      <a:pt x="4498" y="2889"/>
                    </a:lnTo>
                    <a:lnTo>
                      <a:pt x="4583" y="2913"/>
                    </a:lnTo>
                    <a:lnTo>
                      <a:pt x="4567" y="2929"/>
                    </a:lnTo>
                    <a:lnTo>
                      <a:pt x="4604" y="2913"/>
                    </a:lnTo>
                    <a:lnTo>
                      <a:pt x="4659" y="2934"/>
                    </a:lnTo>
                    <a:lnTo>
                      <a:pt x="4642" y="2929"/>
                    </a:lnTo>
                    <a:lnTo>
                      <a:pt x="4718" y="2896"/>
                    </a:lnTo>
                    <a:lnTo>
                      <a:pt x="4772" y="2934"/>
                    </a:lnTo>
                    <a:lnTo>
                      <a:pt x="4798" y="2934"/>
                    </a:lnTo>
                    <a:lnTo>
                      <a:pt x="4798" y="2951"/>
                    </a:lnTo>
                    <a:lnTo>
                      <a:pt x="4789" y="2967"/>
                    </a:lnTo>
                    <a:lnTo>
                      <a:pt x="4798" y="2967"/>
                    </a:lnTo>
                    <a:lnTo>
                      <a:pt x="4798" y="2955"/>
                    </a:lnTo>
                    <a:lnTo>
                      <a:pt x="4822" y="2955"/>
                    </a:lnTo>
                    <a:lnTo>
                      <a:pt x="4836" y="2984"/>
                    </a:lnTo>
                    <a:lnTo>
                      <a:pt x="4822" y="3000"/>
                    </a:lnTo>
                    <a:lnTo>
                      <a:pt x="4843" y="2991"/>
                    </a:lnTo>
                    <a:lnTo>
                      <a:pt x="4843" y="2984"/>
                    </a:lnTo>
                    <a:lnTo>
                      <a:pt x="4864" y="2991"/>
                    </a:lnTo>
                    <a:lnTo>
                      <a:pt x="4874" y="3000"/>
                    </a:lnTo>
                    <a:lnTo>
                      <a:pt x="4843" y="3012"/>
                    </a:lnTo>
                    <a:lnTo>
                      <a:pt x="4859" y="3012"/>
                    </a:lnTo>
                    <a:lnTo>
                      <a:pt x="4881" y="3045"/>
                    </a:lnTo>
                    <a:lnTo>
                      <a:pt x="4944" y="3057"/>
                    </a:lnTo>
                    <a:lnTo>
                      <a:pt x="4966" y="3045"/>
                    </a:lnTo>
                    <a:lnTo>
                      <a:pt x="4973" y="3066"/>
                    </a:lnTo>
                    <a:lnTo>
                      <a:pt x="4982" y="3078"/>
                    </a:lnTo>
                    <a:lnTo>
                      <a:pt x="4999" y="3066"/>
                    </a:lnTo>
                    <a:lnTo>
                      <a:pt x="5004" y="3066"/>
                    </a:lnTo>
                    <a:lnTo>
                      <a:pt x="5004" y="3057"/>
                    </a:lnTo>
                    <a:lnTo>
                      <a:pt x="5015" y="3045"/>
                    </a:lnTo>
                    <a:lnTo>
                      <a:pt x="5020" y="3078"/>
                    </a:lnTo>
                    <a:lnTo>
                      <a:pt x="4999" y="3095"/>
                    </a:lnTo>
                    <a:lnTo>
                      <a:pt x="5004" y="3100"/>
                    </a:lnTo>
                    <a:lnTo>
                      <a:pt x="4987" y="3111"/>
                    </a:lnTo>
                    <a:lnTo>
                      <a:pt x="4999" y="3123"/>
                    </a:lnTo>
                    <a:lnTo>
                      <a:pt x="4999" y="3135"/>
                    </a:lnTo>
                    <a:lnTo>
                      <a:pt x="5004" y="3140"/>
                    </a:lnTo>
                    <a:lnTo>
                      <a:pt x="5004" y="3156"/>
                    </a:lnTo>
                    <a:lnTo>
                      <a:pt x="4944" y="3168"/>
                    </a:lnTo>
                    <a:lnTo>
                      <a:pt x="4911" y="3156"/>
                    </a:lnTo>
                    <a:lnTo>
                      <a:pt x="4935" y="3173"/>
                    </a:lnTo>
                    <a:lnTo>
                      <a:pt x="4999" y="3173"/>
                    </a:lnTo>
                    <a:lnTo>
                      <a:pt x="5004" y="3177"/>
                    </a:lnTo>
                    <a:lnTo>
                      <a:pt x="5015" y="3206"/>
                    </a:lnTo>
                    <a:lnTo>
                      <a:pt x="4999" y="3222"/>
                    </a:lnTo>
                    <a:lnTo>
                      <a:pt x="5004" y="3234"/>
                    </a:lnTo>
                    <a:lnTo>
                      <a:pt x="4999" y="3234"/>
                    </a:lnTo>
                    <a:lnTo>
                      <a:pt x="5020" y="3234"/>
                    </a:lnTo>
                    <a:lnTo>
                      <a:pt x="5025" y="3234"/>
                    </a:lnTo>
                    <a:lnTo>
                      <a:pt x="5037" y="3251"/>
                    </a:lnTo>
                    <a:lnTo>
                      <a:pt x="5015" y="3251"/>
                    </a:lnTo>
                    <a:lnTo>
                      <a:pt x="5015" y="3263"/>
                    </a:lnTo>
                    <a:lnTo>
                      <a:pt x="5025" y="3263"/>
                    </a:lnTo>
                    <a:lnTo>
                      <a:pt x="5015" y="3267"/>
                    </a:lnTo>
                    <a:lnTo>
                      <a:pt x="5020" y="3284"/>
                    </a:lnTo>
                    <a:lnTo>
                      <a:pt x="5015" y="3296"/>
                    </a:lnTo>
                    <a:lnTo>
                      <a:pt x="5004" y="3296"/>
                    </a:lnTo>
                    <a:lnTo>
                      <a:pt x="5004" y="3284"/>
                    </a:lnTo>
                    <a:lnTo>
                      <a:pt x="4987" y="3267"/>
                    </a:lnTo>
                    <a:lnTo>
                      <a:pt x="4987" y="3296"/>
                    </a:lnTo>
                    <a:lnTo>
                      <a:pt x="4966" y="3300"/>
                    </a:lnTo>
                    <a:lnTo>
                      <a:pt x="4982" y="3300"/>
                    </a:lnTo>
                    <a:lnTo>
                      <a:pt x="4987" y="3317"/>
                    </a:lnTo>
                    <a:lnTo>
                      <a:pt x="5025" y="3284"/>
                    </a:lnTo>
                    <a:lnTo>
                      <a:pt x="5070" y="3284"/>
                    </a:lnTo>
                    <a:lnTo>
                      <a:pt x="5096" y="3300"/>
                    </a:lnTo>
                    <a:lnTo>
                      <a:pt x="5107" y="3333"/>
                    </a:lnTo>
                    <a:lnTo>
                      <a:pt x="5096" y="3362"/>
                    </a:lnTo>
                    <a:lnTo>
                      <a:pt x="5020" y="3407"/>
                    </a:lnTo>
                    <a:lnTo>
                      <a:pt x="5091" y="3374"/>
                    </a:lnTo>
                    <a:lnTo>
                      <a:pt x="5107" y="3333"/>
                    </a:lnTo>
                    <a:lnTo>
                      <a:pt x="5124" y="3317"/>
                    </a:lnTo>
                    <a:lnTo>
                      <a:pt x="5129" y="3322"/>
                    </a:lnTo>
                    <a:lnTo>
                      <a:pt x="5129" y="3350"/>
                    </a:lnTo>
                    <a:lnTo>
                      <a:pt x="5112" y="3374"/>
                    </a:lnTo>
                    <a:lnTo>
                      <a:pt x="5138" y="3350"/>
                    </a:lnTo>
                    <a:lnTo>
                      <a:pt x="5129" y="3333"/>
                    </a:lnTo>
                    <a:lnTo>
                      <a:pt x="5138" y="3333"/>
                    </a:lnTo>
                    <a:lnTo>
                      <a:pt x="5145" y="3333"/>
                    </a:lnTo>
                    <a:lnTo>
                      <a:pt x="5138" y="3350"/>
                    </a:lnTo>
                    <a:lnTo>
                      <a:pt x="5145" y="3355"/>
                    </a:lnTo>
                    <a:lnTo>
                      <a:pt x="5138" y="3390"/>
                    </a:lnTo>
                    <a:lnTo>
                      <a:pt x="5150" y="3355"/>
                    </a:lnTo>
                    <a:lnTo>
                      <a:pt x="5183" y="3338"/>
                    </a:lnTo>
                    <a:lnTo>
                      <a:pt x="5192" y="3322"/>
                    </a:lnTo>
                    <a:lnTo>
                      <a:pt x="5214" y="3322"/>
                    </a:lnTo>
                    <a:lnTo>
                      <a:pt x="5221" y="3305"/>
                    </a:lnTo>
                    <a:lnTo>
                      <a:pt x="5230" y="3296"/>
                    </a:lnTo>
                    <a:lnTo>
                      <a:pt x="5268" y="3317"/>
                    </a:lnTo>
                    <a:lnTo>
                      <a:pt x="5252" y="3350"/>
                    </a:lnTo>
                    <a:lnTo>
                      <a:pt x="5268" y="3333"/>
                    </a:lnTo>
                    <a:lnTo>
                      <a:pt x="5259" y="3333"/>
                    </a:lnTo>
                    <a:lnTo>
                      <a:pt x="5268" y="3317"/>
                    </a:lnTo>
                    <a:lnTo>
                      <a:pt x="5252" y="3300"/>
                    </a:lnTo>
                    <a:lnTo>
                      <a:pt x="5259" y="3296"/>
                    </a:lnTo>
                    <a:lnTo>
                      <a:pt x="5275" y="3296"/>
                    </a:lnTo>
                    <a:lnTo>
                      <a:pt x="5259" y="3284"/>
                    </a:lnTo>
                    <a:lnTo>
                      <a:pt x="5275" y="3267"/>
                    </a:lnTo>
                    <a:lnTo>
                      <a:pt x="5306" y="3267"/>
                    </a:lnTo>
                    <a:lnTo>
                      <a:pt x="5285" y="3263"/>
                    </a:lnTo>
                    <a:lnTo>
                      <a:pt x="5275" y="3246"/>
                    </a:lnTo>
                    <a:lnTo>
                      <a:pt x="5289" y="3251"/>
                    </a:lnTo>
                    <a:lnTo>
                      <a:pt x="5289" y="3234"/>
                    </a:lnTo>
                    <a:lnTo>
                      <a:pt x="5306" y="3246"/>
                    </a:lnTo>
                    <a:lnTo>
                      <a:pt x="5289" y="3222"/>
                    </a:lnTo>
                    <a:lnTo>
                      <a:pt x="5327" y="3234"/>
                    </a:lnTo>
                    <a:lnTo>
                      <a:pt x="5301" y="3222"/>
                    </a:lnTo>
                    <a:lnTo>
                      <a:pt x="5289" y="3194"/>
                    </a:lnTo>
                    <a:lnTo>
                      <a:pt x="5306" y="3177"/>
                    </a:lnTo>
                    <a:lnTo>
                      <a:pt x="5327" y="3189"/>
                    </a:lnTo>
                    <a:lnTo>
                      <a:pt x="5313" y="3177"/>
                    </a:lnTo>
                    <a:lnTo>
                      <a:pt x="5339" y="3123"/>
                    </a:lnTo>
                    <a:lnTo>
                      <a:pt x="5365" y="3135"/>
                    </a:lnTo>
                    <a:lnTo>
                      <a:pt x="5344" y="3140"/>
                    </a:lnTo>
                    <a:lnTo>
                      <a:pt x="5365" y="3140"/>
                    </a:lnTo>
                    <a:lnTo>
                      <a:pt x="5377" y="3151"/>
                    </a:lnTo>
                    <a:lnTo>
                      <a:pt x="5365" y="3156"/>
                    </a:lnTo>
                    <a:lnTo>
                      <a:pt x="5344" y="3168"/>
                    </a:lnTo>
                    <a:lnTo>
                      <a:pt x="5377" y="3156"/>
                    </a:lnTo>
                    <a:lnTo>
                      <a:pt x="5377" y="3173"/>
                    </a:lnTo>
                    <a:lnTo>
                      <a:pt x="5365" y="3177"/>
                    </a:lnTo>
                    <a:lnTo>
                      <a:pt x="5377" y="3173"/>
                    </a:lnTo>
                    <a:lnTo>
                      <a:pt x="5377" y="3168"/>
                    </a:lnTo>
                    <a:lnTo>
                      <a:pt x="5393" y="3168"/>
                    </a:lnTo>
                    <a:lnTo>
                      <a:pt x="5393" y="3189"/>
                    </a:lnTo>
                    <a:lnTo>
                      <a:pt x="5381" y="3189"/>
                    </a:lnTo>
                    <a:lnTo>
                      <a:pt x="5398" y="3206"/>
                    </a:lnTo>
                    <a:lnTo>
                      <a:pt x="5393" y="3222"/>
                    </a:lnTo>
                    <a:lnTo>
                      <a:pt x="5398" y="3206"/>
                    </a:lnTo>
                    <a:lnTo>
                      <a:pt x="5419" y="3222"/>
                    </a:lnTo>
                    <a:lnTo>
                      <a:pt x="5415" y="3227"/>
                    </a:lnTo>
                    <a:lnTo>
                      <a:pt x="5398" y="3234"/>
                    </a:lnTo>
                    <a:lnTo>
                      <a:pt x="5415" y="3234"/>
                    </a:lnTo>
                    <a:lnTo>
                      <a:pt x="5415" y="3246"/>
                    </a:lnTo>
                    <a:lnTo>
                      <a:pt x="5431" y="3234"/>
                    </a:lnTo>
                    <a:lnTo>
                      <a:pt x="5448" y="3251"/>
                    </a:lnTo>
                    <a:lnTo>
                      <a:pt x="5431" y="3267"/>
                    </a:lnTo>
                    <a:lnTo>
                      <a:pt x="5398" y="3267"/>
                    </a:lnTo>
                    <a:lnTo>
                      <a:pt x="5462" y="3267"/>
                    </a:lnTo>
                    <a:lnTo>
                      <a:pt x="5448" y="3267"/>
                    </a:lnTo>
                    <a:lnTo>
                      <a:pt x="5462" y="3284"/>
                    </a:lnTo>
                    <a:lnTo>
                      <a:pt x="5448" y="3296"/>
                    </a:lnTo>
                    <a:lnTo>
                      <a:pt x="5469" y="3284"/>
                    </a:lnTo>
                    <a:lnTo>
                      <a:pt x="5485" y="3305"/>
                    </a:lnTo>
                    <a:lnTo>
                      <a:pt x="5431" y="3350"/>
                    </a:lnTo>
                    <a:lnTo>
                      <a:pt x="5452" y="3333"/>
                    </a:lnTo>
                    <a:lnTo>
                      <a:pt x="5500" y="3333"/>
                    </a:lnTo>
                    <a:lnTo>
                      <a:pt x="5500" y="3350"/>
                    </a:lnTo>
                    <a:lnTo>
                      <a:pt x="5485" y="3355"/>
                    </a:lnTo>
                    <a:lnTo>
                      <a:pt x="5500" y="3355"/>
                    </a:lnTo>
                    <a:lnTo>
                      <a:pt x="5474" y="3362"/>
                    </a:lnTo>
                    <a:lnTo>
                      <a:pt x="5448" y="3378"/>
                    </a:lnTo>
                    <a:lnTo>
                      <a:pt x="5462" y="3378"/>
                    </a:lnTo>
                    <a:lnTo>
                      <a:pt x="5474" y="3362"/>
                    </a:lnTo>
                    <a:lnTo>
                      <a:pt x="5507" y="3362"/>
                    </a:lnTo>
                    <a:lnTo>
                      <a:pt x="5507" y="3374"/>
                    </a:lnTo>
                    <a:lnTo>
                      <a:pt x="5516" y="3362"/>
                    </a:lnTo>
                    <a:lnTo>
                      <a:pt x="5523" y="3378"/>
                    </a:lnTo>
                    <a:lnTo>
                      <a:pt x="5490" y="3390"/>
                    </a:lnTo>
                    <a:lnTo>
                      <a:pt x="5528" y="3378"/>
                    </a:lnTo>
                    <a:lnTo>
                      <a:pt x="5537" y="3390"/>
                    </a:lnTo>
                    <a:lnTo>
                      <a:pt x="5528" y="3407"/>
                    </a:lnTo>
                    <a:lnTo>
                      <a:pt x="5544" y="3416"/>
                    </a:lnTo>
                    <a:lnTo>
                      <a:pt x="5523" y="3433"/>
                    </a:lnTo>
                    <a:lnTo>
                      <a:pt x="5500" y="3433"/>
                    </a:lnTo>
                    <a:lnTo>
                      <a:pt x="5516" y="3444"/>
                    </a:lnTo>
                    <a:lnTo>
                      <a:pt x="5544" y="3444"/>
                    </a:lnTo>
                    <a:lnTo>
                      <a:pt x="5554" y="3444"/>
                    </a:lnTo>
                    <a:lnTo>
                      <a:pt x="5537" y="3461"/>
                    </a:lnTo>
                    <a:lnTo>
                      <a:pt x="5582" y="3473"/>
                    </a:lnTo>
                    <a:lnTo>
                      <a:pt x="5582" y="3482"/>
                    </a:lnTo>
                    <a:lnTo>
                      <a:pt x="5575" y="3489"/>
                    </a:lnTo>
                    <a:lnTo>
                      <a:pt x="5561" y="3506"/>
                    </a:lnTo>
                    <a:lnTo>
                      <a:pt x="5544" y="3506"/>
                    </a:lnTo>
                    <a:lnTo>
                      <a:pt x="5544" y="3518"/>
                    </a:lnTo>
                    <a:lnTo>
                      <a:pt x="5561" y="3518"/>
                    </a:lnTo>
                    <a:lnTo>
                      <a:pt x="5554" y="3518"/>
                    </a:lnTo>
                    <a:lnTo>
                      <a:pt x="5561" y="3522"/>
                    </a:lnTo>
                    <a:lnTo>
                      <a:pt x="5507" y="3506"/>
                    </a:lnTo>
                    <a:lnTo>
                      <a:pt x="5537" y="3499"/>
                    </a:lnTo>
                    <a:lnTo>
                      <a:pt x="5500" y="3506"/>
                    </a:lnTo>
                    <a:lnTo>
                      <a:pt x="5537" y="3522"/>
                    </a:lnTo>
                    <a:lnTo>
                      <a:pt x="5523" y="3522"/>
                    </a:lnTo>
                    <a:lnTo>
                      <a:pt x="5561" y="3527"/>
                    </a:lnTo>
                    <a:lnTo>
                      <a:pt x="5528" y="3539"/>
                    </a:lnTo>
                    <a:lnTo>
                      <a:pt x="5554" y="3544"/>
                    </a:lnTo>
                    <a:lnTo>
                      <a:pt x="5561" y="3560"/>
                    </a:lnTo>
                    <a:lnTo>
                      <a:pt x="5537" y="3555"/>
                    </a:lnTo>
                    <a:lnTo>
                      <a:pt x="5537" y="3560"/>
                    </a:lnTo>
                    <a:lnTo>
                      <a:pt x="5582" y="3560"/>
                    </a:lnTo>
                    <a:lnTo>
                      <a:pt x="5575" y="3577"/>
                    </a:lnTo>
                    <a:lnTo>
                      <a:pt x="5592" y="3577"/>
                    </a:lnTo>
                    <a:lnTo>
                      <a:pt x="5575" y="3584"/>
                    </a:lnTo>
                    <a:lnTo>
                      <a:pt x="5599" y="3584"/>
                    </a:lnTo>
                    <a:lnTo>
                      <a:pt x="5608" y="3593"/>
                    </a:lnTo>
                    <a:lnTo>
                      <a:pt x="5599" y="3593"/>
                    </a:lnTo>
                    <a:lnTo>
                      <a:pt x="5608" y="3600"/>
                    </a:lnTo>
                    <a:lnTo>
                      <a:pt x="5629" y="3600"/>
                    </a:lnTo>
                    <a:lnTo>
                      <a:pt x="5625" y="3610"/>
                    </a:lnTo>
                    <a:lnTo>
                      <a:pt x="5637" y="3600"/>
                    </a:lnTo>
                    <a:lnTo>
                      <a:pt x="5629" y="3626"/>
                    </a:lnTo>
                    <a:lnTo>
                      <a:pt x="5646" y="3600"/>
                    </a:lnTo>
                    <a:lnTo>
                      <a:pt x="5663" y="3610"/>
                    </a:lnTo>
                    <a:lnTo>
                      <a:pt x="5646" y="3626"/>
                    </a:lnTo>
                    <a:lnTo>
                      <a:pt x="5663" y="3626"/>
                    </a:lnTo>
                    <a:lnTo>
                      <a:pt x="5646" y="3650"/>
                    </a:lnTo>
                    <a:lnTo>
                      <a:pt x="5663" y="3633"/>
                    </a:lnTo>
                    <a:lnTo>
                      <a:pt x="5667" y="3638"/>
                    </a:lnTo>
                    <a:lnTo>
                      <a:pt x="5651" y="3650"/>
                    </a:lnTo>
                    <a:lnTo>
                      <a:pt x="5646" y="3666"/>
                    </a:lnTo>
                    <a:lnTo>
                      <a:pt x="5651" y="3655"/>
                    </a:lnTo>
                    <a:lnTo>
                      <a:pt x="5629" y="3688"/>
                    </a:lnTo>
                    <a:lnTo>
                      <a:pt x="5663" y="3666"/>
                    </a:lnTo>
                    <a:lnTo>
                      <a:pt x="5679" y="3666"/>
                    </a:lnTo>
                    <a:lnTo>
                      <a:pt x="5663" y="3683"/>
                    </a:lnTo>
                    <a:lnTo>
                      <a:pt x="5700" y="3655"/>
                    </a:lnTo>
                    <a:lnTo>
                      <a:pt x="5700" y="3666"/>
                    </a:lnTo>
                    <a:lnTo>
                      <a:pt x="5684" y="3671"/>
                    </a:lnTo>
                    <a:lnTo>
                      <a:pt x="5722" y="3671"/>
                    </a:lnTo>
                    <a:lnTo>
                      <a:pt x="5684" y="3711"/>
                    </a:lnTo>
                    <a:lnTo>
                      <a:pt x="5738" y="3666"/>
                    </a:lnTo>
                    <a:lnTo>
                      <a:pt x="5722" y="3688"/>
                    </a:lnTo>
                    <a:lnTo>
                      <a:pt x="5743" y="3671"/>
                    </a:lnTo>
                    <a:lnTo>
                      <a:pt x="5755" y="3671"/>
                    </a:lnTo>
                    <a:lnTo>
                      <a:pt x="5755" y="3683"/>
                    </a:lnTo>
                    <a:lnTo>
                      <a:pt x="5759" y="3688"/>
                    </a:lnTo>
                    <a:lnTo>
                      <a:pt x="5743" y="3695"/>
                    </a:lnTo>
                    <a:lnTo>
                      <a:pt x="5755" y="3704"/>
                    </a:lnTo>
                    <a:lnTo>
                      <a:pt x="5830" y="3711"/>
                    </a:lnTo>
                    <a:lnTo>
                      <a:pt x="5868" y="3728"/>
                    </a:lnTo>
                    <a:lnTo>
                      <a:pt x="5863" y="3737"/>
                    </a:lnTo>
                    <a:lnTo>
                      <a:pt x="5840" y="3737"/>
                    </a:lnTo>
                    <a:lnTo>
                      <a:pt x="5863" y="3744"/>
                    </a:lnTo>
                    <a:lnTo>
                      <a:pt x="5847" y="3749"/>
                    </a:lnTo>
                    <a:lnTo>
                      <a:pt x="5809" y="3749"/>
                    </a:lnTo>
                    <a:lnTo>
                      <a:pt x="5797" y="3749"/>
                    </a:lnTo>
                    <a:lnTo>
                      <a:pt x="5814" y="3749"/>
                    </a:lnTo>
                    <a:lnTo>
                      <a:pt x="5809" y="3761"/>
                    </a:lnTo>
                    <a:lnTo>
                      <a:pt x="5771" y="3766"/>
                    </a:lnTo>
                    <a:lnTo>
                      <a:pt x="5705" y="3782"/>
                    </a:lnTo>
                    <a:lnTo>
                      <a:pt x="5733" y="3782"/>
                    </a:lnTo>
                    <a:lnTo>
                      <a:pt x="5792" y="3761"/>
                    </a:lnTo>
                    <a:lnTo>
                      <a:pt x="5776" y="3782"/>
                    </a:lnTo>
                    <a:lnTo>
                      <a:pt x="5743" y="3782"/>
                    </a:lnTo>
                    <a:lnTo>
                      <a:pt x="5755" y="3782"/>
                    </a:lnTo>
                    <a:lnTo>
                      <a:pt x="5717" y="3799"/>
                    </a:lnTo>
                    <a:lnTo>
                      <a:pt x="5679" y="3806"/>
                    </a:lnTo>
                    <a:lnTo>
                      <a:pt x="5679" y="3832"/>
                    </a:lnTo>
                    <a:lnTo>
                      <a:pt x="5667" y="3832"/>
                    </a:lnTo>
                    <a:lnTo>
                      <a:pt x="5625" y="3806"/>
                    </a:lnTo>
                    <a:lnTo>
                      <a:pt x="5625" y="3815"/>
                    </a:lnTo>
                    <a:lnTo>
                      <a:pt x="5646" y="3815"/>
                    </a:lnTo>
                    <a:lnTo>
                      <a:pt x="5679" y="3832"/>
                    </a:lnTo>
                    <a:lnTo>
                      <a:pt x="5651" y="3848"/>
                    </a:lnTo>
                    <a:lnTo>
                      <a:pt x="5667" y="3855"/>
                    </a:lnTo>
                    <a:lnTo>
                      <a:pt x="5651" y="3855"/>
                    </a:lnTo>
                    <a:lnTo>
                      <a:pt x="5667" y="3855"/>
                    </a:lnTo>
                    <a:lnTo>
                      <a:pt x="5700" y="3839"/>
                    </a:lnTo>
                    <a:lnTo>
                      <a:pt x="5689" y="3832"/>
                    </a:lnTo>
                    <a:lnTo>
                      <a:pt x="5743" y="3815"/>
                    </a:lnTo>
                    <a:lnTo>
                      <a:pt x="5743" y="3806"/>
                    </a:lnTo>
                    <a:lnTo>
                      <a:pt x="5788" y="3782"/>
                    </a:lnTo>
                    <a:lnTo>
                      <a:pt x="5840" y="3777"/>
                    </a:lnTo>
                    <a:lnTo>
                      <a:pt x="5792" y="3777"/>
                    </a:lnTo>
                    <a:lnTo>
                      <a:pt x="5792" y="3766"/>
                    </a:lnTo>
                    <a:lnTo>
                      <a:pt x="5863" y="3766"/>
                    </a:lnTo>
                    <a:lnTo>
                      <a:pt x="5885" y="3799"/>
                    </a:lnTo>
                    <a:lnTo>
                      <a:pt x="5852" y="3822"/>
                    </a:lnTo>
                    <a:lnTo>
                      <a:pt x="5868" y="3832"/>
                    </a:lnTo>
                    <a:lnTo>
                      <a:pt x="5868" y="3839"/>
                    </a:lnTo>
                    <a:lnTo>
                      <a:pt x="5894" y="3815"/>
                    </a:lnTo>
                    <a:lnTo>
                      <a:pt x="5932" y="3806"/>
                    </a:lnTo>
                    <a:lnTo>
                      <a:pt x="5932" y="3815"/>
                    </a:lnTo>
                    <a:lnTo>
                      <a:pt x="5915" y="3815"/>
                    </a:lnTo>
                    <a:lnTo>
                      <a:pt x="5960" y="3832"/>
                    </a:lnTo>
                    <a:lnTo>
                      <a:pt x="5939" y="3832"/>
                    </a:lnTo>
                    <a:lnTo>
                      <a:pt x="5960" y="3848"/>
                    </a:lnTo>
                    <a:lnTo>
                      <a:pt x="5977" y="3848"/>
                    </a:lnTo>
                    <a:lnTo>
                      <a:pt x="5977" y="3872"/>
                    </a:lnTo>
                    <a:lnTo>
                      <a:pt x="5970" y="3877"/>
                    </a:lnTo>
                    <a:lnTo>
                      <a:pt x="5948" y="3877"/>
                    </a:lnTo>
                    <a:lnTo>
                      <a:pt x="5970" y="3893"/>
                    </a:lnTo>
                    <a:lnTo>
                      <a:pt x="5977" y="3905"/>
                    </a:lnTo>
                    <a:lnTo>
                      <a:pt x="5953" y="3910"/>
                    </a:lnTo>
                    <a:lnTo>
                      <a:pt x="5977" y="3917"/>
                    </a:lnTo>
                    <a:lnTo>
                      <a:pt x="5953" y="3917"/>
                    </a:lnTo>
                    <a:lnTo>
                      <a:pt x="5960" y="3917"/>
                    </a:lnTo>
                    <a:lnTo>
                      <a:pt x="5948" y="3926"/>
                    </a:lnTo>
                    <a:lnTo>
                      <a:pt x="5922" y="3926"/>
                    </a:lnTo>
                    <a:lnTo>
                      <a:pt x="5986" y="3943"/>
                    </a:lnTo>
                    <a:lnTo>
                      <a:pt x="5986" y="3950"/>
                    </a:lnTo>
                    <a:lnTo>
                      <a:pt x="5977" y="3950"/>
                    </a:lnTo>
                    <a:lnTo>
                      <a:pt x="5948" y="3943"/>
                    </a:lnTo>
                    <a:lnTo>
                      <a:pt x="5986" y="3959"/>
                    </a:lnTo>
                    <a:lnTo>
                      <a:pt x="5986" y="3971"/>
                    </a:lnTo>
                    <a:lnTo>
                      <a:pt x="5894" y="4037"/>
                    </a:lnTo>
                    <a:lnTo>
                      <a:pt x="5878" y="4025"/>
                    </a:lnTo>
                    <a:lnTo>
                      <a:pt x="5840" y="4025"/>
                    </a:lnTo>
                    <a:lnTo>
                      <a:pt x="5826" y="4044"/>
                    </a:lnTo>
                    <a:lnTo>
                      <a:pt x="5776" y="4054"/>
                    </a:lnTo>
                    <a:lnTo>
                      <a:pt x="5776" y="4061"/>
                    </a:lnTo>
                    <a:lnTo>
                      <a:pt x="5755" y="4077"/>
                    </a:lnTo>
                    <a:lnTo>
                      <a:pt x="5755" y="4094"/>
                    </a:lnTo>
                    <a:lnTo>
                      <a:pt x="5743" y="4099"/>
                    </a:lnTo>
                    <a:lnTo>
                      <a:pt x="5743" y="4094"/>
                    </a:lnTo>
                    <a:lnTo>
                      <a:pt x="5705" y="4127"/>
                    </a:lnTo>
                    <a:lnTo>
                      <a:pt x="5689" y="4132"/>
                    </a:lnTo>
                    <a:lnTo>
                      <a:pt x="5689" y="4137"/>
                    </a:lnTo>
                    <a:lnTo>
                      <a:pt x="5684" y="4148"/>
                    </a:lnTo>
                    <a:lnTo>
                      <a:pt x="5592" y="4153"/>
                    </a:lnTo>
                    <a:lnTo>
                      <a:pt x="5561" y="4165"/>
                    </a:lnTo>
                    <a:lnTo>
                      <a:pt x="5570" y="4153"/>
                    </a:lnTo>
                    <a:lnTo>
                      <a:pt x="5561" y="4153"/>
                    </a:lnTo>
                    <a:lnTo>
                      <a:pt x="5554" y="4148"/>
                    </a:lnTo>
                    <a:lnTo>
                      <a:pt x="5516" y="4137"/>
                    </a:lnTo>
                    <a:lnTo>
                      <a:pt x="5452" y="4148"/>
                    </a:lnTo>
                    <a:lnTo>
                      <a:pt x="5415" y="4137"/>
                    </a:lnTo>
                    <a:lnTo>
                      <a:pt x="5313" y="4137"/>
                    </a:lnTo>
                    <a:lnTo>
                      <a:pt x="5259" y="4137"/>
                    </a:lnTo>
                    <a:lnTo>
                      <a:pt x="5252" y="4153"/>
                    </a:lnTo>
                    <a:lnTo>
                      <a:pt x="5230" y="4148"/>
                    </a:lnTo>
                    <a:lnTo>
                      <a:pt x="5183" y="4188"/>
                    </a:lnTo>
                    <a:lnTo>
                      <a:pt x="5176" y="4222"/>
                    </a:lnTo>
                    <a:lnTo>
                      <a:pt x="5162" y="4238"/>
                    </a:lnTo>
                    <a:lnTo>
                      <a:pt x="5112" y="4243"/>
                    </a:lnTo>
                    <a:lnTo>
                      <a:pt x="5107" y="4248"/>
                    </a:lnTo>
                    <a:lnTo>
                      <a:pt x="5074" y="4259"/>
                    </a:lnTo>
                    <a:lnTo>
                      <a:pt x="5041" y="4281"/>
                    </a:lnTo>
                    <a:lnTo>
                      <a:pt x="5037" y="4297"/>
                    </a:lnTo>
                    <a:lnTo>
                      <a:pt x="5004" y="4349"/>
                    </a:lnTo>
                    <a:lnTo>
                      <a:pt x="4982" y="4333"/>
                    </a:lnTo>
                    <a:lnTo>
                      <a:pt x="4907" y="4316"/>
                    </a:lnTo>
                    <a:lnTo>
                      <a:pt x="4982" y="4337"/>
                    </a:lnTo>
                    <a:lnTo>
                      <a:pt x="4999" y="4349"/>
                    </a:lnTo>
                    <a:lnTo>
                      <a:pt x="4982" y="4375"/>
                    </a:lnTo>
                    <a:lnTo>
                      <a:pt x="4966" y="4403"/>
                    </a:lnTo>
                    <a:lnTo>
                      <a:pt x="4944" y="4408"/>
                    </a:lnTo>
                    <a:lnTo>
                      <a:pt x="4928" y="4441"/>
                    </a:lnTo>
                    <a:lnTo>
                      <a:pt x="4890" y="4470"/>
                    </a:lnTo>
                    <a:lnTo>
                      <a:pt x="4944" y="4448"/>
                    </a:lnTo>
                    <a:lnTo>
                      <a:pt x="5020" y="4354"/>
                    </a:lnTo>
                    <a:lnTo>
                      <a:pt x="5107" y="4297"/>
                    </a:lnTo>
                    <a:lnTo>
                      <a:pt x="5247" y="4243"/>
                    </a:lnTo>
                    <a:lnTo>
                      <a:pt x="5301" y="4243"/>
                    </a:lnTo>
                    <a:lnTo>
                      <a:pt x="5344" y="4248"/>
                    </a:lnTo>
                    <a:lnTo>
                      <a:pt x="5381" y="4276"/>
                    </a:lnTo>
                    <a:lnTo>
                      <a:pt x="5393" y="4292"/>
                    </a:lnTo>
                    <a:lnTo>
                      <a:pt x="5360" y="4276"/>
                    </a:lnTo>
                    <a:lnTo>
                      <a:pt x="5393" y="4297"/>
                    </a:lnTo>
                    <a:lnTo>
                      <a:pt x="5381" y="4297"/>
                    </a:lnTo>
                    <a:lnTo>
                      <a:pt x="5381" y="4316"/>
                    </a:lnTo>
                    <a:lnTo>
                      <a:pt x="5306" y="4354"/>
                    </a:lnTo>
                    <a:lnTo>
                      <a:pt x="5268" y="4337"/>
                    </a:lnTo>
                    <a:lnTo>
                      <a:pt x="5200" y="4354"/>
                    </a:lnTo>
                    <a:lnTo>
                      <a:pt x="5237" y="4354"/>
                    </a:lnTo>
                    <a:lnTo>
                      <a:pt x="5275" y="4370"/>
                    </a:lnTo>
                    <a:lnTo>
                      <a:pt x="5285" y="4392"/>
                    </a:lnTo>
                    <a:lnTo>
                      <a:pt x="5313" y="4370"/>
                    </a:lnTo>
                    <a:lnTo>
                      <a:pt x="5344" y="4375"/>
                    </a:lnTo>
                    <a:lnTo>
                      <a:pt x="5355" y="4387"/>
                    </a:lnTo>
                    <a:lnTo>
                      <a:pt x="5339" y="4392"/>
                    </a:lnTo>
                    <a:lnTo>
                      <a:pt x="5339" y="4415"/>
                    </a:lnTo>
                    <a:lnTo>
                      <a:pt x="5306" y="4441"/>
                    </a:lnTo>
                    <a:lnTo>
                      <a:pt x="5344" y="4441"/>
                    </a:lnTo>
                    <a:lnTo>
                      <a:pt x="5339" y="4465"/>
                    </a:lnTo>
                    <a:lnTo>
                      <a:pt x="5355" y="4481"/>
                    </a:lnTo>
                    <a:lnTo>
                      <a:pt x="5365" y="4519"/>
                    </a:lnTo>
                    <a:lnTo>
                      <a:pt x="5415" y="4526"/>
                    </a:lnTo>
                    <a:lnTo>
                      <a:pt x="5393" y="4536"/>
                    </a:lnTo>
                    <a:lnTo>
                      <a:pt x="5419" y="4552"/>
                    </a:lnTo>
                    <a:lnTo>
                      <a:pt x="5436" y="4552"/>
                    </a:lnTo>
                    <a:lnTo>
                      <a:pt x="5448" y="4552"/>
                    </a:lnTo>
                    <a:lnTo>
                      <a:pt x="5431" y="4552"/>
                    </a:lnTo>
                    <a:lnTo>
                      <a:pt x="5452" y="4559"/>
                    </a:lnTo>
                    <a:lnTo>
                      <a:pt x="5448" y="4559"/>
                    </a:lnTo>
                    <a:lnTo>
                      <a:pt x="5490" y="4559"/>
                    </a:lnTo>
                    <a:lnTo>
                      <a:pt x="5507" y="4576"/>
                    </a:lnTo>
                    <a:lnTo>
                      <a:pt x="5544" y="4552"/>
                    </a:lnTo>
                    <a:lnTo>
                      <a:pt x="5544" y="4569"/>
                    </a:lnTo>
                    <a:lnTo>
                      <a:pt x="5570" y="4576"/>
                    </a:lnTo>
                    <a:lnTo>
                      <a:pt x="5575" y="4569"/>
                    </a:lnTo>
                    <a:lnTo>
                      <a:pt x="5592" y="4581"/>
                    </a:lnTo>
                    <a:lnTo>
                      <a:pt x="5575" y="4597"/>
                    </a:lnTo>
                    <a:lnTo>
                      <a:pt x="5613" y="4597"/>
                    </a:lnTo>
                    <a:lnTo>
                      <a:pt x="5608" y="4609"/>
                    </a:lnTo>
                    <a:lnTo>
                      <a:pt x="5592" y="4609"/>
                    </a:lnTo>
                    <a:lnTo>
                      <a:pt x="5582" y="4614"/>
                    </a:lnTo>
                    <a:lnTo>
                      <a:pt x="5507" y="4637"/>
                    </a:lnTo>
                    <a:lnTo>
                      <a:pt x="5485" y="4654"/>
                    </a:lnTo>
                    <a:lnTo>
                      <a:pt x="5469" y="4647"/>
                    </a:lnTo>
                    <a:lnTo>
                      <a:pt x="5469" y="4654"/>
                    </a:lnTo>
                    <a:lnTo>
                      <a:pt x="5462" y="4647"/>
                    </a:lnTo>
                    <a:lnTo>
                      <a:pt x="5436" y="4663"/>
                    </a:lnTo>
                    <a:lnTo>
                      <a:pt x="5419" y="4654"/>
                    </a:lnTo>
                    <a:lnTo>
                      <a:pt x="5436" y="4670"/>
                    </a:lnTo>
                    <a:lnTo>
                      <a:pt x="5431" y="4680"/>
                    </a:lnTo>
                    <a:lnTo>
                      <a:pt x="5410" y="4670"/>
                    </a:lnTo>
                    <a:lnTo>
                      <a:pt x="5410" y="4654"/>
                    </a:lnTo>
                    <a:lnTo>
                      <a:pt x="5398" y="4663"/>
                    </a:lnTo>
                    <a:lnTo>
                      <a:pt x="5398" y="4670"/>
                    </a:lnTo>
                    <a:lnTo>
                      <a:pt x="5393" y="4680"/>
                    </a:lnTo>
                    <a:lnTo>
                      <a:pt x="5381" y="4663"/>
                    </a:lnTo>
                    <a:lnTo>
                      <a:pt x="5377" y="4680"/>
                    </a:lnTo>
                    <a:lnTo>
                      <a:pt x="5381" y="4692"/>
                    </a:lnTo>
                    <a:lnTo>
                      <a:pt x="5360" y="4703"/>
                    </a:lnTo>
                    <a:lnTo>
                      <a:pt x="5355" y="4720"/>
                    </a:lnTo>
                    <a:lnTo>
                      <a:pt x="5344" y="4720"/>
                    </a:lnTo>
                    <a:lnTo>
                      <a:pt x="5327" y="4741"/>
                    </a:lnTo>
                    <a:lnTo>
                      <a:pt x="5306" y="4741"/>
                    </a:lnTo>
                    <a:lnTo>
                      <a:pt x="5301" y="4765"/>
                    </a:lnTo>
                    <a:lnTo>
                      <a:pt x="5289" y="4758"/>
                    </a:lnTo>
                    <a:lnTo>
                      <a:pt x="5275" y="4758"/>
                    </a:lnTo>
                    <a:lnTo>
                      <a:pt x="5268" y="4736"/>
                    </a:lnTo>
                    <a:lnTo>
                      <a:pt x="5259" y="4741"/>
                    </a:lnTo>
                    <a:lnTo>
                      <a:pt x="5247" y="4725"/>
                    </a:lnTo>
                    <a:lnTo>
                      <a:pt x="5247" y="4708"/>
                    </a:lnTo>
                    <a:lnTo>
                      <a:pt x="5252" y="4687"/>
                    </a:lnTo>
                    <a:lnTo>
                      <a:pt x="5268" y="4663"/>
                    </a:lnTo>
                    <a:lnTo>
                      <a:pt x="5247" y="4680"/>
                    </a:lnTo>
                    <a:lnTo>
                      <a:pt x="5259" y="4663"/>
                    </a:lnTo>
                    <a:lnTo>
                      <a:pt x="5285" y="4663"/>
                    </a:lnTo>
                    <a:lnTo>
                      <a:pt x="5289" y="4654"/>
                    </a:lnTo>
                    <a:lnTo>
                      <a:pt x="5285" y="4654"/>
                    </a:lnTo>
                    <a:lnTo>
                      <a:pt x="5285" y="4647"/>
                    </a:lnTo>
                    <a:lnTo>
                      <a:pt x="5377" y="4597"/>
                    </a:lnTo>
                    <a:lnTo>
                      <a:pt x="5365" y="4597"/>
                    </a:lnTo>
                    <a:lnTo>
                      <a:pt x="5377" y="4597"/>
                    </a:lnTo>
                    <a:lnTo>
                      <a:pt x="5377" y="4614"/>
                    </a:lnTo>
                    <a:lnTo>
                      <a:pt x="5381" y="4614"/>
                    </a:lnTo>
                    <a:lnTo>
                      <a:pt x="5393" y="4630"/>
                    </a:lnTo>
                    <a:lnTo>
                      <a:pt x="5393" y="4609"/>
                    </a:lnTo>
                    <a:lnTo>
                      <a:pt x="5448" y="4597"/>
                    </a:lnTo>
                    <a:lnTo>
                      <a:pt x="5360" y="4592"/>
                    </a:lnTo>
                    <a:lnTo>
                      <a:pt x="5339" y="4597"/>
                    </a:lnTo>
                    <a:lnTo>
                      <a:pt x="5344" y="4581"/>
                    </a:lnTo>
                    <a:lnTo>
                      <a:pt x="5381" y="4559"/>
                    </a:lnTo>
                    <a:lnTo>
                      <a:pt x="5377" y="4552"/>
                    </a:lnTo>
                    <a:lnTo>
                      <a:pt x="5365" y="4559"/>
                    </a:lnTo>
                    <a:lnTo>
                      <a:pt x="5344" y="4526"/>
                    </a:lnTo>
                    <a:lnTo>
                      <a:pt x="5360" y="4552"/>
                    </a:lnTo>
                    <a:lnTo>
                      <a:pt x="5344" y="4576"/>
                    </a:lnTo>
                    <a:lnTo>
                      <a:pt x="5339" y="4576"/>
                    </a:lnTo>
                    <a:lnTo>
                      <a:pt x="5268" y="4609"/>
                    </a:lnTo>
                    <a:lnTo>
                      <a:pt x="5252" y="4597"/>
                    </a:lnTo>
                    <a:lnTo>
                      <a:pt x="5259" y="4581"/>
                    </a:lnTo>
                    <a:lnTo>
                      <a:pt x="5247" y="4597"/>
                    </a:lnTo>
                    <a:lnTo>
                      <a:pt x="5252" y="4609"/>
                    </a:lnTo>
                    <a:lnTo>
                      <a:pt x="5230" y="4625"/>
                    </a:lnTo>
                    <a:lnTo>
                      <a:pt x="5221" y="4614"/>
                    </a:lnTo>
                    <a:lnTo>
                      <a:pt x="5204" y="4625"/>
                    </a:lnTo>
                    <a:lnTo>
                      <a:pt x="5192" y="4614"/>
                    </a:lnTo>
                    <a:lnTo>
                      <a:pt x="5176" y="4614"/>
                    </a:lnTo>
                    <a:lnTo>
                      <a:pt x="5176" y="4614"/>
                    </a:lnTo>
                    <a:lnTo>
                      <a:pt x="5176" y="4614"/>
                    </a:lnTo>
                    <a:close/>
                    <a:moveTo>
                      <a:pt x="3201" y="1748"/>
                    </a:moveTo>
                    <a:lnTo>
                      <a:pt x="3208" y="1753"/>
                    </a:lnTo>
                    <a:lnTo>
                      <a:pt x="3208" y="1765"/>
                    </a:lnTo>
                    <a:lnTo>
                      <a:pt x="3192" y="1765"/>
                    </a:lnTo>
                    <a:lnTo>
                      <a:pt x="3201" y="1748"/>
                    </a:lnTo>
                    <a:lnTo>
                      <a:pt x="3201" y="1748"/>
                    </a:lnTo>
                    <a:lnTo>
                      <a:pt x="3201" y="1748"/>
                    </a:lnTo>
                    <a:close/>
                    <a:moveTo>
                      <a:pt x="3095" y="1765"/>
                    </a:moveTo>
                    <a:lnTo>
                      <a:pt x="3100" y="1765"/>
                    </a:lnTo>
                    <a:lnTo>
                      <a:pt x="3083" y="1770"/>
                    </a:lnTo>
                    <a:lnTo>
                      <a:pt x="3095" y="1765"/>
                    </a:lnTo>
                    <a:lnTo>
                      <a:pt x="3095" y="1765"/>
                    </a:lnTo>
                    <a:lnTo>
                      <a:pt x="3095" y="1765"/>
                    </a:lnTo>
                    <a:close/>
                    <a:moveTo>
                      <a:pt x="4751" y="1770"/>
                    </a:moveTo>
                    <a:lnTo>
                      <a:pt x="4755" y="1770"/>
                    </a:lnTo>
                    <a:lnTo>
                      <a:pt x="4734" y="1786"/>
                    </a:lnTo>
                    <a:lnTo>
                      <a:pt x="4751" y="1770"/>
                    </a:lnTo>
                    <a:lnTo>
                      <a:pt x="4751" y="1770"/>
                    </a:lnTo>
                    <a:lnTo>
                      <a:pt x="4751" y="1770"/>
                    </a:lnTo>
                    <a:close/>
                    <a:moveTo>
                      <a:pt x="4772" y="1781"/>
                    </a:moveTo>
                    <a:lnTo>
                      <a:pt x="4789" y="1786"/>
                    </a:lnTo>
                    <a:lnTo>
                      <a:pt x="4784" y="1793"/>
                    </a:lnTo>
                    <a:lnTo>
                      <a:pt x="4767" y="1786"/>
                    </a:lnTo>
                    <a:lnTo>
                      <a:pt x="4772" y="1781"/>
                    </a:lnTo>
                    <a:lnTo>
                      <a:pt x="4772" y="1781"/>
                    </a:lnTo>
                    <a:lnTo>
                      <a:pt x="4772" y="1781"/>
                    </a:lnTo>
                    <a:close/>
                    <a:moveTo>
                      <a:pt x="4767" y="1826"/>
                    </a:moveTo>
                    <a:lnTo>
                      <a:pt x="4751" y="1819"/>
                    </a:lnTo>
                    <a:lnTo>
                      <a:pt x="4746" y="1793"/>
                    </a:lnTo>
                    <a:lnTo>
                      <a:pt x="4755" y="1786"/>
                    </a:lnTo>
                    <a:lnTo>
                      <a:pt x="4767" y="1793"/>
                    </a:lnTo>
                    <a:lnTo>
                      <a:pt x="4755" y="1803"/>
                    </a:lnTo>
                    <a:lnTo>
                      <a:pt x="4772" y="1793"/>
                    </a:lnTo>
                    <a:lnTo>
                      <a:pt x="4784" y="1803"/>
                    </a:lnTo>
                    <a:lnTo>
                      <a:pt x="4767" y="1810"/>
                    </a:lnTo>
                    <a:lnTo>
                      <a:pt x="4772" y="1819"/>
                    </a:lnTo>
                    <a:lnTo>
                      <a:pt x="4767" y="1826"/>
                    </a:lnTo>
                    <a:lnTo>
                      <a:pt x="4767" y="1826"/>
                    </a:lnTo>
                    <a:lnTo>
                      <a:pt x="4767" y="1826"/>
                    </a:lnTo>
                    <a:close/>
                    <a:moveTo>
                      <a:pt x="2953" y="1826"/>
                    </a:moveTo>
                    <a:lnTo>
                      <a:pt x="2948" y="1819"/>
                    </a:lnTo>
                    <a:lnTo>
                      <a:pt x="2953" y="1819"/>
                    </a:lnTo>
                    <a:lnTo>
                      <a:pt x="2953" y="1826"/>
                    </a:lnTo>
                    <a:lnTo>
                      <a:pt x="2953" y="1826"/>
                    </a:lnTo>
                    <a:lnTo>
                      <a:pt x="2953" y="1826"/>
                    </a:lnTo>
                    <a:close/>
                    <a:moveTo>
                      <a:pt x="3116" y="1826"/>
                    </a:moveTo>
                    <a:lnTo>
                      <a:pt x="3126" y="1836"/>
                    </a:lnTo>
                    <a:lnTo>
                      <a:pt x="3116" y="1836"/>
                    </a:lnTo>
                    <a:lnTo>
                      <a:pt x="3116" y="1826"/>
                    </a:lnTo>
                    <a:lnTo>
                      <a:pt x="3116" y="1826"/>
                    </a:lnTo>
                    <a:lnTo>
                      <a:pt x="3116" y="1826"/>
                    </a:lnTo>
                    <a:close/>
                    <a:moveTo>
                      <a:pt x="4852" y="1859"/>
                    </a:moveTo>
                    <a:lnTo>
                      <a:pt x="4881" y="1864"/>
                    </a:lnTo>
                    <a:lnTo>
                      <a:pt x="4881" y="1876"/>
                    </a:lnTo>
                    <a:lnTo>
                      <a:pt x="4843" y="1892"/>
                    </a:lnTo>
                    <a:lnTo>
                      <a:pt x="4822" y="1876"/>
                    </a:lnTo>
                    <a:lnTo>
                      <a:pt x="4836" y="1876"/>
                    </a:lnTo>
                    <a:lnTo>
                      <a:pt x="4836" y="1859"/>
                    </a:lnTo>
                    <a:lnTo>
                      <a:pt x="4852" y="1859"/>
                    </a:lnTo>
                    <a:lnTo>
                      <a:pt x="4852" y="1859"/>
                    </a:lnTo>
                    <a:lnTo>
                      <a:pt x="4852" y="1859"/>
                    </a:lnTo>
                    <a:close/>
                    <a:moveTo>
                      <a:pt x="2844" y="1904"/>
                    </a:moveTo>
                    <a:lnTo>
                      <a:pt x="2861" y="1921"/>
                    </a:lnTo>
                    <a:lnTo>
                      <a:pt x="2861" y="1937"/>
                    </a:lnTo>
                    <a:lnTo>
                      <a:pt x="2830" y="1921"/>
                    </a:lnTo>
                    <a:lnTo>
                      <a:pt x="2830" y="1904"/>
                    </a:lnTo>
                    <a:lnTo>
                      <a:pt x="2844" y="1904"/>
                    </a:lnTo>
                    <a:lnTo>
                      <a:pt x="2844" y="1904"/>
                    </a:lnTo>
                    <a:lnTo>
                      <a:pt x="2844" y="1904"/>
                    </a:lnTo>
                    <a:close/>
                    <a:moveTo>
                      <a:pt x="903" y="1914"/>
                    </a:moveTo>
                    <a:lnTo>
                      <a:pt x="886" y="1921"/>
                    </a:lnTo>
                    <a:lnTo>
                      <a:pt x="898" y="1904"/>
                    </a:lnTo>
                    <a:lnTo>
                      <a:pt x="903" y="1914"/>
                    </a:lnTo>
                    <a:lnTo>
                      <a:pt x="903" y="1914"/>
                    </a:lnTo>
                    <a:lnTo>
                      <a:pt x="903" y="1914"/>
                    </a:lnTo>
                    <a:close/>
                    <a:moveTo>
                      <a:pt x="1675" y="1921"/>
                    </a:moveTo>
                    <a:lnTo>
                      <a:pt x="1663" y="1921"/>
                    </a:lnTo>
                    <a:lnTo>
                      <a:pt x="1692" y="1921"/>
                    </a:lnTo>
                    <a:lnTo>
                      <a:pt x="1675" y="1921"/>
                    </a:lnTo>
                    <a:lnTo>
                      <a:pt x="1675" y="1921"/>
                    </a:lnTo>
                    <a:lnTo>
                      <a:pt x="1675" y="1921"/>
                    </a:lnTo>
                    <a:close/>
                    <a:moveTo>
                      <a:pt x="1760" y="1921"/>
                    </a:moveTo>
                    <a:lnTo>
                      <a:pt x="1765" y="1921"/>
                    </a:lnTo>
                    <a:lnTo>
                      <a:pt x="1751" y="1921"/>
                    </a:lnTo>
                    <a:lnTo>
                      <a:pt x="1760" y="1921"/>
                    </a:lnTo>
                    <a:lnTo>
                      <a:pt x="1760" y="1921"/>
                    </a:lnTo>
                    <a:lnTo>
                      <a:pt x="1760" y="1921"/>
                    </a:lnTo>
                    <a:close/>
                    <a:moveTo>
                      <a:pt x="1734" y="1921"/>
                    </a:moveTo>
                    <a:lnTo>
                      <a:pt x="1744" y="1921"/>
                    </a:lnTo>
                    <a:lnTo>
                      <a:pt x="1718" y="1921"/>
                    </a:lnTo>
                    <a:lnTo>
                      <a:pt x="1734" y="1921"/>
                    </a:lnTo>
                    <a:lnTo>
                      <a:pt x="1734" y="1921"/>
                    </a:lnTo>
                    <a:lnTo>
                      <a:pt x="1734" y="1921"/>
                    </a:lnTo>
                    <a:close/>
                    <a:moveTo>
                      <a:pt x="2823" y="1954"/>
                    </a:moveTo>
                    <a:lnTo>
                      <a:pt x="2823" y="1959"/>
                    </a:lnTo>
                    <a:lnTo>
                      <a:pt x="2814" y="1954"/>
                    </a:lnTo>
                    <a:lnTo>
                      <a:pt x="2823" y="1954"/>
                    </a:lnTo>
                    <a:lnTo>
                      <a:pt x="2823" y="1954"/>
                    </a:lnTo>
                    <a:lnTo>
                      <a:pt x="2823" y="1954"/>
                    </a:lnTo>
                    <a:close/>
                    <a:moveTo>
                      <a:pt x="1966" y="1954"/>
                    </a:moveTo>
                    <a:lnTo>
                      <a:pt x="1949" y="1954"/>
                    </a:lnTo>
                    <a:lnTo>
                      <a:pt x="1966" y="1954"/>
                    </a:lnTo>
                    <a:lnTo>
                      <a:pt x="1966" y="1954"/>
                    </a:lnTo>
                    <a:lnTo>
                      <a:pt x="1966" y="1954"/>
                    </a:lnTo>
                    <a:close/>
                    <a:moveTo>
                      <a:pt x="3773" y="1975"/>
                    </a:moveTo>
                    <a:lnTo>
                      <a:pt x="3811" y="1975"/>
                    </a:lnTo>
                    <a:lnTo>
                      <a:pt x="3827" y="1992"/>
                    </a:lnTo>
                    <a:lnTo>
                      <a:pt x="3780" y="1992"/>
                    </a:lnTo>
                    <a:lnTo>
                      <a:pt x="3763" y="1975"/>
                    </a:lnTo>
                    <a:lnTo>
                      <a:pt x="3773" y="1975"/>
                    </a:lnTo>
                    <a:lnTo>
                      <a:pt x="3773" y="1975"/>
                    </a:lnTo>
                    <a:lnTo>
                      <a:pt x="3773" y="1975"/>
                    </a:lnTo>
                    <a:close/>
                    <a:moveTo>
                      <a:pt x="3062" y="2003"/>
                    </a:moveTo>
                    <a:lnTo>
                      <a:pt x="3071" y="2008"/>
                    </a:lnTo>
                    <a:lnTo>
                      <a:pt x="3057" y="2003"/>
                    </a:lnTo>
                    <a:lnTo>
                      <a:pt x="3062" y="2003"/>
                    </a:lnTo>
                    <a:lnTo>
                      <a:pt x="3062" y="2003"/>
                    </a:lnTo>
                    <a:lnTo>
                      <a:pt x="3062" y="2003"/>
                    </a:lnTo>
                    <a:close/>
                    <a:moveTo>
                      <a:pt x="2932" y="2140"/>
                    </a:moveTo>
                    <a:lnTo>
                      <a:pt x="2911" y="2119"/>
                    </a:lnTo>
                    <a:lnTo>
                      <a:pt x="2915" y="2103"/>
                    </a:lnTo>
                    <a:lnTo>
                      <a:pt x="2948" y="2103"/>
                    </a:lnTo>
                    <a:lnTo>
                      <a:pt x="2991" y="2081"/>
                    </a:lnTo>
                    <a:lnTo>
                      <a:pt x="2974" y="2065"/>
                    </a:lnTo>
                    <a:lnTo>
                      <a:pt x="2986" y="2065"/>
                    </a:lnTo>
                    <a:lnTo>
                      <a:pt x="2974" y="2058"/>
                    </a:lnTo>
                    <a:lnTo>
                      <a:pt x="2974" y="2048"/>
                    </a:lnTo>
                    <a:lnTo>
                      <a:pt x="3019" y="2065"/>
                    </a:lnTo>
                    <a:lnTo>
                      <a:pt x="2991" y="2041"/>
                    </a:lnTo>
                    <a:lnTo>
                      <a:pt x="3003" y="2013"/>
                    </a:lnTo>
                    <a:lnTo>
                      <a:pt x="3024" y="2008"/>
                    </a:lnTo>
                    <a:lnTo>
                      <a:pt x="3062" y="2029"/>
                    </a:lnTo>
                    <a:lnTo>
                      <a:pt x="3057" y="2029"/>
                    </a:lnTo>
                    <a:lnTo>
                      <a:pt x="3062" y="2048"/>
                    </a:lnTo>
                    <a:lnTo>
                      <a:pt x="3071" y="2029"/>
                    </a:lnTo>
                    <a:lnTo>
                      <a:pt x="3095" y="2058"/>
                    </a:lnTo>
                    <a:lnTo>
                      <a:pt x="3137" y="2081"/>
                    </a:lnTo>
                    <a:lnTo>
                      <a:pt x="3137" y="2115"/>
                    </a:lnTo>
                    <a:lnTo>
                      <a:pt x="3147" y="2119"/>
                    </a:lnTo>
                    <a:lnTo>
                      <a:pt x="3147" y="2098"/>
                    </a:lnTo>
                    <a:lnTo>
                      <a:pt x="3154" y="2086"/>
                    </a:lnTo>
                    <a:lnTo>
                      <a:pt x="3170" y="2136"/>
                    </a:lnTo>
                    <a:lnTo>
                      <a:pt x="3208" y="2140"/>
                    </a:lnTo>
                    <a:lnTo>
                      <a:pt x="3192" y="2157"/>
                    </a:lnTo>
                    <a:lnTo>
                      <a:pt x="3170" y="2152"/>
                    </a:lnTo>
                    <a:lnTo>
                      <a:pt x="3137" y="2181"/>
                    </a:lnTo>
                    <a:lnTo>
                      <a:pt x="3116" y="2192"/>
                    </a:lnTo>
                    <a:lnTo>
                      <a:pt x="3007" y="2157"/>
                    </a:lnTo>
                    <a:lnTo>
                      <a:pt x="2991" y="2136"/>
                    </a:lnTo>
                    <a:lnTo>
                      <a:pt x="2986" y="2152"/>
                    </a:lnTo>
                    <a:lnTo>
                      <a:pt x="2974" y="2152"/>
                    </a:lnTo>
                    <a:lnTo>
                      <a:pt x="2953" y="2140"/>
                    </a:lnTo>
                    <a:lnTo>
                      <a:pt x="2953" y="2124"/>
                    </a:lnTo>
                    <a:lnTo>
                      <a:pt x="2932" y="2140"/>
                    </a:lnTo>
                    <a:lnTo>
                      <a:pt x="2932" y="2140"/>
                    </a:lnTo>
                    <a:lnTo>
                      <a:pt x="2932" y="2140"/>
                    </a:lnTo>
                    <a:close/>
                    <a:moveTo>
                      <a:pt x="3470" y="2025"/>
                    </a:moveTo>
                    <a:lnTo>
                      <a:pt x="3456" y="2013"/>
                    </a:lnTo>
                    <a:lnTo>
                      <a:pt x="3478" y="2008"/>
                    </a:lnTo>
                    <a:lnTo>
                      <a:pt x="3470" y="2025"/>
                    </a:lnTo>
                    <a:lnTo>
                      <a:pt x="3470" y="2025"/>
                    </a:lnTo>
                    <a:lnTo>
                      <a:pt x="3470" y="2025"/>
                    </a:lnTo>
                    <a:close/>
                    <a:moveTo>
                      <a:pt x="4096" y="2008"/>
                    </a:moveTo>
                    <a:lnTo>
                      <a:pt x="4108" y="2013"/>
                    </a:lnTo>
                    <a:lnTo>
                      <a:pt x="4087" y="2008"/>
                    </a:lnTo>
                    <a:lnTo>
                      <a:pt x="4096" y="2008"/>
                    </a:lnTo>
                    <a:lnTo>
                      <a:pt x="4096" y="2008"/>
                    </a:lnTo>
                    <a:lnTo>
                      <a:pt x="4096" y="2008"/>
                    </a:lnTo>
                    <a:close/>
                    <a:moveTo>
                      <a:pt x="4028" y="2025"/>
                    </a:moveTo>
                    <a:lnTo>
                      <a:pt x="4016" y="2029"/>
                    </a:lnTo>
                    <a:lnTo>
                      <a:pt x="4000" y="2025"/>
                    </a:lnTo>
                    <a:lnTo>
                      <a:pt x="4028" y="2025"/>
                    </a:lnTo>
                    <a:lnTo>
                      <a:pt x="4028" y="2025"/>
                    </a:lnTo>
                    <a:lnTo>
                      <a:pt x="4028" y="2025"/>
                    </a:lnTo>
                    <a:close/>
                    <a:moveTo>
                      <a:pt x="4297" y="2025"/>
                    </a:moveTo>
                    <a:lnTo>
                      <a:pt x="4314" y="2013"/>
                    </a:lnTo>
                    <a:lnTo>
                      <a:pt x="4323" y="2029"/>
                    </a:lnTo>
                    <a:lnTo>
                      <a:pt x="4302" y="2041"/>
                    </a:lnTo>
                    <a:lnTo>
                      <a:pt x="4271" y="2041"/>
                    </a:lnTo>
                    <a:lnTo>
                      <a:pt x="4281" y="2058"/>
                    </a:lnTo>
                    <a:lnTo>
                      <a:pt x="4243" y="2029"/>
                    </a:lnTo>
                    <a:lnTo>
                      <a:pt x="4217" y="2029"/>
                    </a:lnTo>
                    <a:lnTo>
                      <a:pt x="4248" y="2013"/>
                    </a:lnTo>
                    <a:lnTo>
                      <a:pt x="4297" y="2025"/>
                    </a:lnTo>
                    <a:lnTo>
                      <a:pt x="4297" y="2025"/>
                    </a:lnTo>
                    <a:lnTo>
                      <a:pt x="4297" y="2025"/>
                    </a:lnTo>
                    <a:close/>
                    <a:moveTo>
                      <a:pt x="4082" y="2013"/>
                    </a:moveTo>
                    <a:lnTo>
                      <a:pt x="4104" y="2029"/>
                    </a:lnTo>
                    <a:lnTo>
                      <a:pt x="4082" y="2025"/>
                    </a:lnTo>
                    <a:lnTo>
                      <a:pt x="4082" y="2013"/>
                    </a:lnTo>
                    <a:lnTo>
                      <a:pt x="4082" y="2013"/>
                    </a:lnTo>
                    <a:lnTo>
                      <a:pt x="4082" y="2013"/>
                    </a:lnTo>
                    <a:close/>
                    <a:moveTo>
                      <a:pt x="4411" y="2025"/>
                    </a:moveTo>
                    <a:lnTo>
                      <a:pt x="4422" y="2041"/>
                    </a:lnTo>
                    <a:lnTo>
                      <a:pt x="4356" y="2065"/>
                    </a:lnTo>
                    <a:lnTo>
                      <a:pt x="4411" y="2025"/>
                    </a:lnTo>
                    <a:lnTo>
                      <a:pt x="4411" y="2025"/>
                    </a:lnTo>
                    <a:lnTo>
                      <a:pt x="4411" y="2025"/>
                    </a:lnTo>
                    <a:close/>
                    <a:moveTo>
                      <a:pt x="2731" y="2029"/>
                    </a:moveTo>
                    <a:lnTo>
                      <a:pt x="2731" y="2041"/>
                    </a:lnTo>
                    <a:lnTo>
                      <a:pt x="2722" y="2029"/>
                    </a:lnTo>
                    <a:lnTo>
                      <a:pt x="2731" y="2029"/>
                    </a:lnTo>
                    <a:lnTo>
                      <a:pt x="2731" y="2029"/>
                    </a:lnTo>
                    <a:lnTo>
                      <a:pt x="2731" y="2029"/>
                    </a:lnTo>
                    <a:close/>
                    <a:moveTo>
                      <a:pt x="378" y="2119"/>
                    </a:moveTo>
                    <a:lnTo>
                      <a:pt x="385" y="2119"/>
                    </a:lnTo>
                    <a:lnTo>
                      <a:pt x="357" y="2115"/>
                    </a:lnTo>
                    <a:lnTo>
                      <a:pt x="357" y="2086"/>
                    </a:lnTo>
                    <a:lnTo>
                      <a:pt x="385" y="2103"/>
                    </a:lnTo>
                    <a:lnTo>
                      <a:pt x="362" y="2086"/>
                    </a:lnTo>
                    <a:lnTo>
                      <a:pt x="385" y="2081"/>
                    </a:lnTo>
                    <a:lnTo>
                      <a:pt x="411" y="2086"/>
                    </a:lnTo>
                    <a:lnTo>
                      <a:pt x="400" y="2065"/>
                    </a:lnTo>
                    <a:lnTo>
                      <a:pt x="411" y="2065"/>
                    </a:lnTo>
                    <a:lnTo>
                      <a:pt x="466" y="2065"/>
                    </a:lnTo>
                    <a:lnTo>
                      <a:pt x="466" y="2041"/>
                    </a:lnTo>
                    <a:lnTo>
                      <a:pt x="454" y="2029"/>
                    </a:lnTo>
                    <a:lnTo>
                      <a:pt x="475" y="2029"/>
                    </a:lnTo>
                    <a:lnTo>
                      <a:pt x="475" y="2048"/>
                    </a:lnTo>
                    <a:lnTo>
                      <a:pt x="508" y="2048"/>
                    </a:lnTo>
                    <a:lnTo>
                      <a:pt x="466" y="2103"/>
                    </a:lnTo>
                    <a:lnTo>
                      <a:pt x="449" y="2119"/>
                    </a:lnTo>
                    <a:lnTo>
                      <a:pt x="475" y="2157"/>
                    </a:lnTo>
                    <a:lnTo>
                      <a:pt x="466" y="2157"/>
                    </a:lnTo>
                    <a:lnTo>
                      <a:pt x="433" y="2119"/>
                    </a:lnTo>
                    <a:lnTo>
                      <a:pt x="423" y="2136"/>
                    </a:lnTo>
                    <a:lnTo>
                      <a:pt x="357" y="2124"/>
                    </a:lnTo>
                    <a:lnTo>
                      <a:pt x="357" y="2115"/>
                    </a:lnTo>
                    <a:lnTo>
                      <a:pt x="378" y="2119"/>
                    </a:lnTo>
                    <a:lnTo>
                      <a:pt x="378" y="2119"/>
                    </a:lnTo>
                    <a:lnTo>
                      <a:pt x="378" y="2119"/>
                    </a:lnTo>
                    <a:close/>
                    <a:moveTo>
                      <a:pt x="5129" y="2029"/>
                    </a:moveTo>
                    <a:lnTo>
                      <a:pt x="5129" y="2041"/>
                    </a:lnTo>
                    <a:lnTo>
                      <a:pt x="5129" y="2058"/>
                    </a:lnTo>
                    <a:lnTo>
                      <a:pt x="5107" y="2048"/>
                    </a:lnTo>
                    <a:lnTo>
                      <a:pt x="5129" y="2029"/>
                    </a:lnTo>
                    <a:lnTo>
                      <a:pt x="5129" y="2029"/>
                    </a:lnTo>
                    <a:lnTo>
                      <a:pt x="5129" y="2029"/>
                    </a:lnTo>
                    <a:close/>
                    <a:moveTo>
                      <a:pt x="130" y="2058"/>
                    </a:moveTo>
                    <a:lnTo>
                      <a:pt x="114" y="2048"/>
                    </a:lnTo>
                    <a:lnTo>
                      <a:pt x="130" y="2041"/>
                    </a:lnTo>
                    <a:lnTo>
                      <a:pt x="152" y="2048"/>
                    </a:lnTo>
                    <a:lnTo>
                      <a:pt x="130" y="2058"/>
                    </a:lnTo>
                    <a:lnTo>
                      <a:pt x="130" y="2058"/>
                    </a:lnTo>
                    <a:lnTo>
                      <a:pt x="130" y="2058"/>
                    </a:lnTo>
                    <a:close/>
                    <a:moveTo>
                      <a:pt x="3192" y="2048"/>
                    </a:moveTo>
                    <a:lnTo>
                      <a:pt x="3201" y="2058"/>
                    </a:lnTo>
                    <a:lnTo>
                      <a:pt x="3192" y="2081"/>
                    </a:lnTo>
                    <a:lnTo>
                      <a:pt x="3180" y="2081"/>
                    </a:lnTo>
                    <a:lnTo>
                      <a:pt x="3180" y="2070"/>
                    </a:lnTo>
                    <a:lnTo>
                      <a:pt x="3180" y="2058"/>
                    </a:lnTo>
                    <a:lnTo>
                      <a:pt x="3170" y="2048"/>
                    </a:lnTo>
                    <a:lnTo>
                      <a:pt x="3163" y="2081"/>
                    </a:lnTo>
                    <a:lnTo>
                      <a:pt x="3154" y="2070"/>
                    </a:lnTo>
                    <a:lnTo>
                      <a:pt x="3154" y="2058"/>
                    </a:lnTo>
                    <a:lnTo>
                      <a:pt x="3163" y="2048"/>
                    </a:lnTo>
                    <a:lnTo>
                      <a:pt x="3192" y="2048"/>
                    </a:lnTo>
                    <a:lnTo>
                      <a:pt x="3192" y="2048"/>
                    </a:lnTo>
                    <a:lnTo>
                      <a:pt x="3192" y="2048"/>
                    </a:lnTo>
                    <a:close/>
                    <a:moveTo>
                      <a:pt x="5150" y="2058"/>
                    </a:moveTo>
                    <a:lnTo>
                      <a:pt x="5138" y="2058"/>
                    </a:lnTo>
                    <a:lnTo>
                      <a:pt x="5167" y="2048"/>
                    </a:lnTo>
                    <a:lnTo>
                      <a:pt x="5150" y="2058"/>
                    </a:lnTo>
                    <a:lnTo>
                      <a:pt x="5150" y="2058"/>
                    </a:lnTo>
                    <a:lnTo>
                      <a:pt x="5150" y="2058"/>
                    </a:lnTo>
                    <a:close/>
                    <a:moveTo>
                      <a:pt x="3147" y="2048"/>
                    </a:moveTo>
                    <a:lnTo>
                      <a:pt x="3147" y="2081"/>
                    </a:lnTo>
                    <a:lnTo>
                      <a:pt x="3109" y="2048"/>
                    </a:lnTo>
                    <a:lnTo>
                      <a:pt x="3147" y="2048"/>
                    </a:lnTo>
                    <a:lnTo>
                      <a:pt x="3147" y="2048"/>
                    </a:lnTo>
                    <a:lnTo>
                      <a:pt x="3147" y="2048"/>
                    </a:lnTo>
                    <a:close/>
                    <a:moveTo>
                      <a:pt x="2802" y="2058"/>
                    </a:moveTo>
                    <a:lnTo>
                      <a:pt x="2807" y="2065"/>
                    </a:lnTo>
                    <a:lnTo>
                      <a:pt x="2793" y="2070"/>
                    </a:lnTo>
                    <a:lnTo>
                      <a:pt x="2793" y="2065"/>
                    </a:lnTo>
                    <a:lnTo>
                      <a:pt x="2776" y="2058"/>
                    </a:lnTo>
                    <a:lnTo>
                      <a:pt x="2785" y="2048"/>
                    </a:lnTo>
                    <a:lnTo>
                      <a:pt x="2802" y="2058"/>
                    </a:lnTo>
                    <a:lnTo>
                      <a:pt x="2802" y="2058"/>
                    </a:lnTo>
                    <a:lnTo>
                      <a:pt x="2802" y="2058"/>
                    </a:lnTo>
                    <a:close/>
                    <a:moveTo>
                      <a:pt x="3563" y="2065"/>
                    </a:moveTo>
                    <a:lnTo>
                      <a:pt x="3563" y="2081"/>
                    </a:lnTo>
                    <a:lnTo>
                      <a:pt x="3558" y="2086"/>
                    </a:lnTo>
                    <a:lnTo>
                      <a:pt x="3541" y="2081"/>
                    </a:lnTo>
                    <a:lnTo>
                      <a:pt x="3563" y="2065"/>
                    </a:lnTo>
                    <a:lnTo>
                      <a:pt x="3563" y="2065"/>
                    </a:lnTo>
                    <a:lnTo>
                      <a:pt x="3563" y="2065"/>
                    </a:lnTo>
                    <a:close/>
                    <a:moveTo>
                      <a:pt x="4481" y="2065"/>
                    </a:moveTo>
                    <a:lnTo>
                      <a:pt x="4512" y="2065"/>
                    </a:lnTo>
                    <a:lnTo>
                      <a:pt x="4512" y="2081"/>
                    </a:lnTo>
                    <a:lnTo>
                      <a:pt x="4486" y="2103"/>
                    </a:lnTo>
                    <a:lnTo>
                      <a:pt x="4465" y="2103"/>
                    </a:lnTo>
                    <a:lnTo>
                      <a:pt x="4460" y="2086"/>
                    </a:lnTo>
                    <a:lnTo>
                      <a:pt x="4465" y="2070"/>
                    </a:lnTo>
                    <a:lnTo>
                      <a:pt x="4481" y="2065"/>
                    </a:lnTo>
                    <a:lnTo>
                      <a:pt x="4481" y="2065"/>
                    </a:lnTo>
                    <a:lnTo>
                      <a:pt x="4481" y="2065"/>
                    </a:lnTo>
                    <a:close/>
                    <a:moveTo>
                      <a:pt x="400" y="2081"/>
                    </a:moveTo>
                    <a:lnTo>
                      <a:pt x="385" y="2070"/>
                    </a:lnTo>
                    <a:lnTo>
                      <a:pt x="400" y="2070"/>
                    </a:lnTo>
                    <a:lnTo>
                      <a:pt x="400" y="2081"/>
                    </a:lnTo>
                    <a:lnTo>
                      <a:pt x="400" y="2081"/>
                    </a:lnTo>
                    <a:lnTo>
                      <a:pt x="400" y="2081"/>
                    </a:lnTo>
                    <a:close/>
                    <a:moveTo>
                      <a:pt x="4389" y="2070"/>
                    </a:moveTo>
                    <a:lnTo>
                      <a:pt x="4406" y="2081"/>
                    </a:lnTo>
                    <a:lnTo>
                      <a:pt x="4356" y="2136"/>
                    </a:lnTo>
                    <a:lnTo>
                      <a:pt x="4335" y="2140"/>
                    </a:lnTo>
                    <a:lnTo>
                      <a:pt x="4318" y="2136"/>
                    </a:lnTo>
                    <a:lnTo>
                      <a:pt x="4335" y="2115"/>
                    </a:lnTo>
                    <a:lnTo>
                      <a:pt x="4356" y="2103"/>
                    </a:lnTo>
                    <a:lnTo>
                      <a:pt x="4368" y="2081"/>
                    </a:lnTo>
                    <a:lnTo>
                      <a:pt x="4389" y="2070"/>
                    </a:lnTo>
                    <a:lnTo>
                      <a:pt x="4389" y="2070"/>
                    </a:lnTo>
                    <a:lnTo>
                      <a:pt x="4389" y="2070"/>
                    </a:lnTo>
                    <a:close/>
                    <a:moveTo>
                      <a:pt x="3541" y="2098"/>
                    </a:moveTo>
                    <a:lnTo>
                      <a:pt x="3525" y="2081"/>
                    </a:lnTo>
                    <a:lnTo>
                      <a:pt x="3532" y="2070"/>
                    </a:lnTo>
                    <a:lnTo>
                      <a:pt x="3546" y="2086"/>
                    </a:lnTo>
                    <a:lnTo>
                      <a:pt x="3541" y="2098"/>
                    </a:lnTo>
                    <a:lnTo>
                      <a:pt x="3541" y="2098"/>
                    </a:lnTo>
                    <a:lnTo>
                      <a:pt x="3541" y="2098"/>
                    </a:lnTo>
                    <a:close/>
                    <a:moveTo>
                      <a:pt x="2769" y="2098"/>
                    </a:moveTo>
                    <a:lnTo>
                      <a:pt x="2769" y="2115"/>
                    </a:lnTo>
                    <a:lnTo>
                      <a:pt x="2755" y="2115"/>
                    </a:lnTo>
                    <a:lnTo>
                      <a:pt x="2759" y="2098"/>
                    </a:lnTo>
                    <a:lnTo>
                      <a:pt x="2769" y="2098"/>
                    </a:lnTo>
                    <a:lnTo>
                      <a:pt x="2769" y="2098"/>
                    </a:lnTo>
                    <a:lnTo>
                      <a:pt x="2769" y="2098"/>
                    </a:lnTo>
                    <a:close/>
                    <a:moveTo>
                      <a:pt x="3563" y="2115"/>
                    </a:moveTo>
                    <a:lnTo>
                      <a:pt x="3570" y="2115"/>
                    </a:lnTo>
                    <a:lnTo>
                      <a:pt x="3558" y="2115"/>
                    </a:lnTo>
                    <a:lnTo>
                      <a:pt x="3563" y="2115"/>
                    </a:lnTo>
                    <a:lnTo>
                      <a:pt x="3563" y="2115"/>
                    </a:lnTo>
                    <a:lnTo>
                      <a:pt x="3563" y="2115"/>
                    </a:lnTo>
                    <a:close/>
                    <a:moveTo>
                      <a:pt x="2868" y="2103"/>
                    </a:moveTo>
                    <a:lnTo>
                      <a:pt x="2878" y="2119"/>
                    </a:lnTo>
                    <a:lnTo>
                      <a:pt x="2878" y="2124"/>
                    </a:lnTo>
                    <a:lnTo>
                      <a:pt x="2861" y="2119"/>
                    </a:lnTo>
                    <a:lnTo>
                      <a:pt x="2868" y="2103"/>
                    </a:lnTo>
                    <a:lnTo>
                      <a:pt x="2868" y="2103"/>
                    </a:lnTo>
                    <a:lnTo>
                      <a:pt x="2868" y="2103"/>
                    </a:lnTo>
                    <a:close/>
                    <a:moveTo>
                      <a:pt x="2856" y="2119"/>
                    </a:moveTo>
                    <a:lnTo>
                      <a:pt x="2868" y="2136"/>
                    </a:lnTo>
                    <a:lnTo>
                      <a:pt x="2861" y="2140"/>
                    </a:lnTo>
                    <a:lnTo>
                      <a:pt x="2856" y="2157"/>
                    </a:lnTo>
                    <a:lnTo>
                      <a:pt x="2830" y="2152"/>
                    </a:lnTo>
                    <a:lnTo>
                      <a:pt x="2830" y="2119"/>
                    </a:lnTo>
                    <a:lnTo>
                      <a:pt x="2856" y="2119"/>
                    </a:lnTo>
                    <a:lnTo>
                      <a:pt x="2856" y="2119"/>
                    </a:lnTo>
                    <a:lnTo>
                      <a:pt x="2856" y="2119"/>
                    </a:lnTo>
                    <a:close/>
                    <a:moveTo>
                      <a:pt x="3584" y="2124"/>
                    </a:moveTo>
                    <a:lnTo>
                      <a:pt x="3570" y="2119"/>
                    </a:lnTo>
                    <a:lnTo>
                      <a:pt x="3584" y="2119"/>
                    </a:lnTo>
                    <a:lnTo>
                      <a:pt x="3584" y="2124"/>
                    </a:lnTo>
                    <a:lnTo>
                      <a:pt x="3584" y="2124"/>
                    </a:lnTo>
                    <a:lnTo>
                      <a:pt x="3584" y="2124"/>
                    </a:lnTo>
                    <a:close/>
                    <a:moveTo>
                      <a:pt x="5129" y="2124"/>
                    </a:moveTo>
                    <a:lnTo>
                      <a:pt x="5129" y="2136"/>
                    </a:lnTo>
                    <a:lnTo>
                      <a:pt x="5124" y="2124"/>
                    </a:lnTo>
                    <a:lnTo>
                      <a:pt x="5129" y="2124"/>
                    </a:lnTo>
                    <a:lnTo>
                      <a:pt x="5129" y="2124"/>
                    </a:lnTo>
                    <a:lnTo>
                      <a:pt x="5129" y="2124"/>
                    </a:lnTo>
                    <a:close/>
                    <a:moveTo>
                      <a:pt x="3579" y="2157"/>
                    </a:moveTo>
                    <a:lnTo>
                      <a:pt x="3579" y="2152"/>
                    </a:lnTo>
                    <a:lnTo>
                      <a:pt x="3579" y="2140"/>
                    </a:lnTo>
                    <a:lnTo>
                      <a:pt x="3596" y="2152"/>
                    </a:lnTo>
                    <a:lnTo>
                      <a:pt x="3579" y="2157"/>
                    </a:lnTo>
                    <a:lnTo>
                      <a:pt x="3579" y="2157"/>
                    </a:lnTo>
                    <a:lnTo>
                      <a:pt x="3579" y="2157"/>
                    </a:lnTo>
                    <a:close/>
                    <a:moveTo>
                      <a:pt x="2759" y="2152"/>
                    </a:moveTo>
                    <a:lnTo>
                      <a:pt x="2759" y="2157"/>
                    </a:lnTo>
                    <a:lnTo>
                      <a:pt x="2748" y="2176"/>
                    </a:lnTo>
                    <a:lnTo>
                      <a:pt x="2717" y="2157"/>
                    </a:lnTo>
                    <a:lnTo>
                      <a:pt x="2738" y="2140"/>
                    </a:lnTo>
                    <a:lnTo>
                      <a:pt x="2759" y="2152"/>
                    </a:lnTo>
                    <a:lnTo>
                      <a:pt x="2759" y="2152"/>
                    </a:lnTo>
                    <a:lnTo>
                      <a:pt x="2759" y="2152"/>
                    </a:lnTo>
                    <a:close/>
                    <a:moveTo>
                      <a:pt x="4626" y="2157"/>
                    </a:moveTo>
                    <a:lnTo>
                      <a:pt x="4642" y="2181"/>
                    </a:lnTo>
                    <a:lnTo>
                      <a:pt x="4642" y="2209"/>
                    </a:lnTo>
                    <a:lnTo>
                      <a:pt x="4595" y="2181"/>
                    </a:lnTo>
                    <a:lnTo>
                      <a:pt x="4611" y="2157"/>
                    </a:lnTo>
                    <a:lnTo>
                      <a:pt x="4626" y="2157"/>
                    </a:lnTo>
                    <a:lnTo>
                      <a:pt x="4626" y="2157"/>
                    </a:lnTo>
                    <a:lnTo>
                      <a:pt x="4626" y="2157"/>
                    </a:lnTo>
                    <a:close/>
                    <a:moveTo>
                      <a:pt x="4642" y="2157"/>
                    </a:moveTo>
                    <a:lnTo>
                      <a:pt x="4663" y="2176"/>
                    </a:lnTo>
                    <a:lnTo>
                      <a:pt x="4637" y="2169"/>
                    </a:lnTo>
                    <a:lnTo>
                      <a:pt x="4642" y="2157"/>
                    </a:lnTo>
                    <a:lnTo>
                      <a:pt x="4642" y="2157"/>
                    </a:lnTo>
                    <a:lnTo>
                      <a:pt x="4642" y="2157"/>
                    </a:lnTo>
                    <a:close/>
                    <a:moveTo>
                      <a:pt x="4368" y="2192"/>
                    </a:moveTo>
                    <a:lnTo>
                      <a:pt x="4352" y="2181"/>
                    </a:lnTo>
                    <a:lnTo>
                      <a:pt x="4373" y="2176"/>
                    </a:lnTo>
                    <a:lnTo>
                      <a:pt x="4356" y="2169"/>
                    </a:lnTo>
                    <a:lnTo>
                      <a:pt x="4389" y="2169"/>
                    </a:lnTo>
                    <a:lnTo>
                      <a:pt x="4368" y="2192"/>
                    </a:lnTo>
                    <a:lnTo>
                      <a:pt x="4368" y="2192"/>
                    </a:lnTo>
                    <a:lnTo>
                      <a:pt x="4368" y="2192"/>
                    </a:lnTo>
                    <a:close/>
                    <a:moveTo>
                      <a:pt x="2516" y="2176"/>
                    </a:moveTo>
                    <a:lnTo>
                      <a:pt x="2521" y="2181"/>
                    </a:lnTo>
                    <a:lnTo>
                      <a:pt x="2504" y="2176"/>
                    </a:lnTo>
                    <a:lnTo>
                      <a:pt x="2516" y="2176"/>
                    </a:lnTo>
                    <a:lnTo>
                      <a:pt x="2516" y="2176"/>
                    </a:lnTo>
                    <a:lnTo>
                      <a:pt x="2516" y="2176"/>
                    </a:lnTo>
                    <a:close/>
                    <a:moveTo>
                      <a:pt x="2542" y="2176"/>
                    </a:moveTo>
                    <a:lnTo>
                      <a:pt x="2570" y="2192"/>
                    </a:lnTo>
                    <a:lnTo>
                      <a:pt x="2542" y="2197"/>
                    </a:lnTo>
                    <a:lnTo>
                      <a:pt x="2521" y="2176"/>
                    </a:lnTo>
                    <a:lnTo>
                      <a:pt x="2542" y="2176"/>
                    </a:lnTo>
                    <a:lnTo>
                      <a:pt x="2542" y="2176"/>
                    </a:lnTo>
                    <a:lnTo>
                      <a:pt x="2542" y="2176"/>
                    </a:lnTo>
                    <a:close/>
                    <a:moveTo>
                      <a:pt x="2129" y="2176"/>
                    </a:moveTo>
                    <a:lnTo>
                      <a:pt x="2138" y="2176"/>
                    </a:lnTo>
                    <a:lnTo>
                      <a:pt x="2122" y="2176"/>
                    </a:lnTo>
                    <a:lnTo>
                      <a:pt x="2129" y="2176"/>
                    </a:lnTo>
                    <a:lnTo>
                      <a:pt x="2129" y="2176"/>
                    </a:lnTo>
                    <a:lnTo>
                      <a:pt x="2129" y="2176"/>
                    </a:lnTo>
                    <a:close/>
                    <a:moveTo>
                      <a:pt x="2122" y="2181"/>
                    </a:moveTo>
                    <a:lnTo>
                      <a:pt x="2100" y="2181"/>
                    </a:lnTo>
                    <a:lnTo>
                      <a:pt x="2122" y="2176"/>
                    </a:lnTo>
                    <a:lnTo>
                      <a:pt x="2122" y="2181"/>
                    </a:lnTo>
                    <a:lnTo>
                      <a:pt x="2122" y="2181"/>
                    </a:lnTo>
                    <a:lnTo>
                      <a:pt x="2122" y="2181"/>
                    </a:lnTo>
                    <a:close/>
                    <a:moveTo>
                      <a:pt x="4675" y="2192"/>
                    </a:moveTo>
                    <a:lnTo>
                      <a:pt x="4696" y="2209"/>
                    </a:lnTo>
                    <a:lnTo>
                      <a:pt x="4680" y="2214"/>
                    </a:lnTo>
                    <a:lnTo>
                      <a:pt x="4675" y="2197"/>
                    </a:lnTo>
                    <a:lnTo>
                      <a:pt x="4675" y="2192"/>
                    </a:lnTo>
                    <a:lnTo>
                      <a:pt x="4675" y="2192"/>
                    </a:lnTo>
                    <a:lnTo>
                      <a:pt x="4675" y="2192"/>
                    </a:lnTo>
                    <a:close/>
                    <a:moveTo>
                      <a:pt x="2868" y="2197"/>
                    </a:moveTo>
                    <a:lnTo>
                      <a:pt x="2868" y="2214"/>
                    </a:lnTo>
                    <a:lnTo>
                      <a:pt x="2861" y="2209"/>
                    </a:lnTo>
                    <a:lnTo>
                      <a:pt x="2868" y="2197"/>
                    </a:lnTo>
                    <a:lnTo>
                      <a:pt x="2868" y="2197"/>
                    </a:lnTo>
                    <a:lnTo>
                      <a:pt x="2868" y="2197"/>
                    </a:lnTo>
                    <a:close/>
                    <a:moveTo>
                      <a:pt x="4340" y="2197"/>
                    </a:moveTo>
                    <a:lnTo>
                      <a:pt x="4368" y="2214"/>
                    </a:lnTo>
                    <a:lnTo>
                      <a:pt x="4340" y="2226"/>
                    </a:lnTo>
                    <a:lnTo>
                      <a:pt x="4335" y="2214"/>
                    </a:lnTo>
                    <a:lnTo>
                      <a:pt x="4340" y="2197"/>
                    </a:lnTo>
                    <a:lnTo>
                      <a:pt x="4340" y="2197"/>
                    </a:lnTo>
                    <a:lnTo>
                      <a:pt x="4340" y="2197"/>
                    </a:lnTo>
                    <a:close/>
                    <a:moveTo>
                      <a:pt x="4512" y="2341"/>
                    </a:moveTo>
                    <a:lnTo>
                      <a:pt x="4481" y="2337"/>
                    </a:lnTo>
                    <a:lnTo>
                      <a:pt x="4474" y="2308"/>
                    </a:lnTo>
                    <a:lnTo>
                      <a:pt x="4465" y="2285"/>
                    </a:lnTo>
                    <a:lnTo>
                      <a:pt x="4503" y="2214"/>
                    </a:lnTo>
                    <a:lnTo>
                      <a:pt x="4574" y="2209"/>
                    </a:lnTo>
                    <a:lnTo>
                      <a:pt x="4621" y="2214"/>
                    </a:lnTo>
                    <a:lnTo>
                      <a:pt x="4626" y="2230"/>
                    </a:lnTo>
                    <a:lnTo>
                      <a:pt x="4621" y="2252"/>
                    </a:lnTo>
                    <a:lnTo>
                      <a:pt x="4626" y="2292"/>
                    </a:lnTo>
                    <a:lnTo>
                      <a:pt x="4621" y="2308"/>
                    </a:lnTo>
                    <a:lnTo>
                      <a:pt x="4567" y="2337"/>
                    </a:lnTo>
                    <a:lnTo>
                      <a:pt x="4512" y="2341"/>
                    </a:lnTo>
                    <a:lnTo>
                      <a:pt x="4512" y="2341"/>
                    </a:lnTo>
                    <a:lnTo>
                      <a:pt x="4512" y="2341"/>
                    </a:lnTo>
                    <a:close/>
                    <a:moveTo>
                      <a:pt x="3827" y="2226"/>
                    </a:moveTo>
                    <a:lnTo>
                      <a:pt x="3834" y="2263"/>
                    </a:lnTo>
                    <a:lnTo>
                      <a:pt x="3818" y="2280"/>
                    </a:lnTo>
                    <a:lnTo>
                      <a:pt x="3796" y="2268"/>
                    </a:lnTo>
                    <a:lnTo>
                      <a:pt x="3796" y="2252"/>
                    </a:lnTo>
                    <a:lnTo>
                      <a:pt x="3801" y="2247"/>
                    </a:lnTo>
                    <a:lnTo>
                      <a:pt x="3785" y="2235"/>
                    </a:lnTo>
                    <a:lnTo>
                      <a:pt x="3811" y="2209"/>
                    </a:lnTo>
                    <a:lnTo>
                      <a:pt x="3827" y="2214"/>
                    </a:lnTo>
                    <a:lnTo>
                      <a:pt x="3827" y="2226"/>
                    </a:lnTo>
                    <a:lnTo>
                      <a:pt x="3827" y="2226"/>
                    </a:lnTo>
                    <a:lnTo>
                      <a:pt x="3827" y="2226"/>
                    </a:lnTo>
                    <a:close/>
                    <a:moveTo>
                      <a:pt x="5237" y="2230"/>
                    </a:moveTo>
                    <a:lnTo>
                      <a:pt x="5214" y="2226"/>
                    </a:lnTo>
                    <a:lnTo>
                      <a:pt x="5247" y="2214"/>
                    </a:lnTo>
                    <a:lnTo>
                      <a:pt x="5237" y="2230"/>
                    </a:lnTo>
                    <a:lnTo>
                      <a:pt x="5237" y="2230"/>
                    </a:lnTo>
                    <a:lnTo>
                      <a:pt x="5237" y="2230"/>
                    </a:lnTo>
                    <a:close/>
                    <a:moveTo>
                      <a:pt x="4696" y="2214"/>
                    </a:moveTo>
                    <a:lnTo>
                      <a:pt x="4696" y="2230"/>
                    </a:lnTo>
                    <a:lnTo>
                      <a:pt x="4692" y="2226"/>
                    </a:lnTo>
                    <a:lnTo>
                      <a:pt x="4696" y="2214"/>
                    </a:lnTo>
                    <a:lnTo>
                      <a:pt x="4696" y="2214"/>
                    </a:lnTo>
                    <a:lnTo>
                      <a:pt x="4696" y="2214"/>
                    </a:lnTo>
                    <a:close/>
                    <a:moveTo>
                      <a:pt x="2570" y="2226"/>
                    </a:moveTo>
                    <a:lnTo>
                      <a:pt x="2559" y="2235"/>
                    </a:lnTo>
                    <a:lnTo>
                      <a:pt x="2554" y="2230"/>
                    </a:lnTo>
                    <a:lnTo>
                      <a:pt x="2570" y="2226"/>
                    </a:lnTo>
                    <a:lnTo>
                      <a:pt x="2570" y="2226"/>
                    </a:lnTo>
                    <a:lnTo>
                      <a:pt x="2570" y="2226"/>
                    </a:lnTo>
                    <a:close/>
                    <a:moveTo>
                      <a:pt x="5285" y="2226"/>
                    </a:moveTo>
                    <a:lnTo>
                      <a:pt x="5301" y="2230"/>
                    </a:lnTo>
                    <a:lnTo>
                      <a:pt x="5285" y="2230"/>
                    </a:lnTo>
                    <a:lnTo>
                      <a:pt x="5285" y="2226"/>
                    </a:lnTo>
                    <a:lnTo>
                      <a:pt x="5285" y="2226"/>
                    </a:lnTo>
                    <a:lnTo>
                      <a:pt x="5285" y="2226"/>
                    </a:lnTo>
                    <a:close/>
                    <a:moveTo>
                      <a:pt x="4718" y="2247"/>
                    </a:moveTo>
                    <a:lnTo>
                      <a:pt x="4746" y="2247"/>
                    </a:lnTo>
                    <a:lnTo>
                      <a:pt x="4746" y="2268"/>
                    </a:lnTo>
                    <a:lnTo>
                      <a:pt x="4734" y="2280"/>
                    </a:lnTo>
                    <a:lnTo>
                      <a:pt x="4675" y="2268"/>
                    </a:lnTo>
                    <a:lnTo>
                      <a:pt x="4649" y="2263"/>
                    </a:lnTo>
                    <a:lnTo>
                      <a:pt x="4642" y="2247"/>
                    </a:lnTo>
                    <a:lnTo>
                      <a:pt x="4675" y="2226"/>
                    </a:lnTo>
                    <a:lnTo>
                      <a:pt x="4692" y="2235"/>
                    </a:lnTo>
                    <a:lnTo>
                      <a:pt x="4718" y="2247"/>
                    </a:lnTo>
                    <a:lnTo>
                      <a:pt x="4718" y="2247"/>
                    </a:lnTo>
                    <a:lnTo>
                      <a:pt x="4718" y="2247"/>
                    </a:lnTo>
                    <a:close/>
                    <a:moveTo>
                      <a:pt x="2214" y="2230"/>
                    </a:moveTo>
                    <a:lnTo>
                      <a:pt x="2219" y="2247"/>
                    </a:lnTo>
                    <a:lnTo>
                      <a:pt x="2209" y="2235"/>
                    </a:lnTo>
                    <a:lnTo>
                      <a:pt x="2214" y="2230"/>
                    </a:lnTo>
                    <a:lnTo>
                      <a:pt x="2214" y="2230"/>
                    </a:lnTo>
                    <a:lnTo>
                      <a:pt x="2214" y="2230"/>
                    </a:lnTo>
                    <a:close/>
                    <a:moveTo>
                      <a:pt x="2948" y="2235"/>
                    </a:moveTo>
                    <a:lnTo>
                      <a:pt x="2948" y="2247"/>
                    </a:lnTo>
                    <a:lnTo>
                      <a:pt x="2937" y="2235"/>
                    </a:lnTo>
                    <a:lnTo>
                      <a:pt x="2948" y="2235"/>
                    </a:lnTo>
                    <a:lnTo>
                      <a:pt x="2948" y="2235"/>
                    </a:lnTo>
                    <a:lnTo>
                      <a:pt x="2948" y="2235"/>
                    </a:lnTo>
                    <a:close/>
                    <a:moveTo>
                      <a:pt x="2252" y="2247"/>
                    </a:moveTo>
                    <a:lnTo>
                      <a:pt x="2252" y="2263"/>
                    </a:lnTo>
                    <a:lnTo>
                      <a:pt x="2230" y="2247"/>
                    </a:lnTo>
                    <a:lnTo>
                      <a:pt x="2252" y="2247"/>
                    </a:lnTo>
                    <a:lnTo>
                      <a:pt x="2252" y="2247"/>
                    </a:lnTo>
                    <a:lnTo>
                      <a:pt x="2252" y="2247"/>
                    </a:lnTo>
                    <a:close/>
                    <a:moveTo>
                      <a:pt x="3024" y="2263"/>
                    </a:moveTo>
                    <a:lnTo>
                      <a:pt x="3019" y="2263"/>
                    </a:lnTo>
                    <a:lnTo>
                      <a:pt x="3024" y="2263"/>
                    </a:lnTo>
                    <a:lnTo>
                      <a:pt x="3024" y="2263"/>
                    </a:lnTo>
                    <a:lnTo>
                      <a:pt x="3024" y="2263"/>
                    </a:lnTo>
                    <a:close/>
                    <a:moveTo>
                      <a:pt x="1895" y="2263"/>
                    </a:moveTo>
                    <a:lnTo>
                      <a:pt x="1874" y="2263"/>
                    </a:lnTo>
                    <a:lnTo>
                      <a:pt x="1895" y="2263"/>
                    </a:lnTo>
                    <a:lnTo>
                      <a:pt x="1895" y="2263"/>
                    </a:lnTo>
                    <a:lnTo>
                      <a:pt x="1895" y="2263"/>
                    </a:lnTo>
                    <a:close/>
                    <a:moveTo>
                      <a:pt x="2306" y="2308"/>
                    </a:moveTo>
                    <a:lnTo>
                      <a:pt x="2306" y="2285"/>
                    </a:lnTo>
                    <a:lnTo>
                      <a:pt x="2318" y="2285"/>
                    </a:lnTo>
                    <a:lnTo>
                      <a:pt x="2322" y="2303"/>
                    </a:lnTo>
                    <a:lnTo>
                      <a:pt x="2306" y="2308"/>
                    </a:lnTo>
                    <a:lnTo>
                      <a:pt x="2306" y="2308"/>
                    </a:lnTo>
                    <a:lnTo>
                      <a:pt x="2306" y="2308"/>
                    </a:lnTo>
                    <a:close/>
                    <a:moveTo>
                      <a:pt x="5410" y="2292"/>
                    </a:moveTo>
                    <a:lnTo>
                      <a:pt x="5415" y="2303"/>
                    </a:lnTo>
                    <a:lnTo>
                      <a:pt x="5398" y="2303"/>
                    </a:lnTo>
                    <a:lnTo>
                      <a:pt x="5410" y="2292"/>
                    </a:lnTo>
                    <a:lnTo>
                      <a:pt x="5410" y="2292"/>
                    </a:lnTo>
                    <a:lnTo>
                      <a:pt x="5410" y="2292"/>
                    </a:lnTo>
                    <a:close/>
                    <a:moveTo>
                      <a:pt x="2285" y="2292"/>
                    </a:moveTo>
                    <a:lnTo>
                      <a:pt x="2289" y="2292"/>
                    </a:lnTo>
                    <a:lnTo>
                      <a:pt x="2285" y="2292"/>
                    </a:lnTo>
                    <a:lnTo>
                      <a:pt x="2285" y="2292"/>
                    </a:lnTo>
                    <a:lnTo>
                      <a:pt x="2285" y="2292"/>
                    </a:lnTo>
                    <a:close/>
                    <a:moveTo>
                      <a:pt x="2306" y="2308"/>
                    </a:moveTo>
                    <a:lnTo>
                      <a:pt x="2301" y="2308"/>
                    </a:lnTo>
                    <a:lnTo>
                      <a:pt x="2301" y="2303"/>
                    </a:lnTo>
                    <a:lnTo>
                      <a:pt x="2306" y="2308"/>
                    </a:lnTo>
                    <a:lnTo>
                      <a:pt x="2306" y="2308"/>
                    </a:lnTo>
                    <a:lnTo>
                      <a:pt x="2306" y="2308"/>
                    </a:lnTo>
                    <a:close/>
                    <a:moveTo>
                      <a:pt x="2289" y="2308"/>
                    </a:moveTo>
                    <a:lnTo>
                      <a:pt x="2285" y="2303"/>
                    </a:lnTo>
                    <a:lnTo>
                      <a:pt x="2289" y="2303"/>
                    </a:lnTo>
                    <a:lnTo>
                      <a:pt x="2289" y="2308"/>
                    </a:lnTo>
                    <a:lnTo>
                      <a:pt x="2289" y="2308"/>
                    </a:lnTo>
                    <a:lnTo>
                      <a:pt x="2289" y="2308"/>
                    </a:lnTo>
                    <a:close/>
                    <a:moveTo>
                      <a:pt x="2322" y="2308"/>
                    </a:moveTo>
                    <a:lnTo>
                      <a:pt x="2322" y="2337"/>
                    </a:lnTo>
                    <a:lnTo>
                      <a:pt x="2306" y="2320"/>
                    </a:lnTo>
                    <a:lnTo>
                      <a:pt x="2322" y="2308"/>
                    </a:lnTo>
                    <a:lnTo>
                      <a:pt x="2322" y="2308"/>
                    </a:lnTo>
                    <a:lnTo>
                      <a:pt x="2322" y="2308"/>
                    </a:lnTo>
                    <a:close/>
                    <a:moveTo>
                      <a:pt x="5436" y="2337"/>
                    </a:moveTo>
                    <a:lnTo>
                      <a:pt x="5415" y="2337"/>
                    </a:lnTo>
                    <a:lnTo>
                      <a:pt x="5431" y="2325"/>
                    </a:lnTo>
                    <a:lnTo>
                      <a:pt x="5448" y="2337"/>
                    </a:lnTo>
                    <a:lnTo>
                      <a:pt x="5436" y="2337"/>
                    </a:lnTo>
                    <a:lnTo>
                      <a:pt x="5436" y="2337"/>
                    </a:lnTo>
                    <a:lnTo>
                      <a:pt x="5436" y="2337"/>
                    </a:lnTo>
                    <a:close/>
                    <a:moveTo>
                      <a:pt x="2339" y="2337"/>
                    </a:moveTo>
                    <a:lnTo>
                      <a:pt x="2339" y="2341"/>
                    </a:lnTo>
                    <a:lnTo>
                      <a:pt x="2339" y="2337"/>
                    </a:lnTo>
                    <a:lnTo>
                      <a:pt x="2339" y="2337"/>
                    </a:lnTo>
                    <a:lnTo>
                      <a:pt x="2339" y="2337"/>
                    </a:lnTo>
                    <a:close/>
                    <a:moveTo>
                      <a:pt x="2344" y="2341"/>
                    </a:moveTo>
                    <a:lnTo>
                      <a:pt x="2360" y="2358"/>
                    </a:lnTo>
                    <a:lnTo>
                      <a:pt x="2344" y="2358"/>
                    </a:lnTo>
                    <a:lnTo>
                      <a:pt x="2344" y="2341"/>
                    </a:lnTo>
                    <a:lnTo>
                      <a:pt x="2344" y="2341"/>
                    </a:lnTo>
                    <a:lnTo>
                      <a:pt x="2344" y="2341"/>
                    </a:lnTo>
                    <a:close/>
                    <a:moveTo>
                      <a:pt x="5474" y="2358"/>
                    </a:moveTo>
                    <a:lnTo>
                      <a:pt x="5500" y="2346"/>
                    </a:lnTo>
                    <a:lnTo>
                      <a:pt x="5516" y="2346"/>
                    </a:lnTo>
                    <a:lnTo>
                      <a:pt x="5490" y="2363"/>
                    </a:lnTo>
                    <a:lnTo>
                      <a:pt x="5474" y="2358"/>
                    </a:lnTo>
                    <a:lnTo>
                      <a:pt x="5474" y="2358"/>
                    </a:lnTo>
                    <a:lnTo>
                      <a:pt x="5474" y="2358"/>
                    </a:lnTo>
                    <a:close/>
                    <a:moveTo>
                      <a:pt x="5474" y="2363"/>
                    </a:moveTo>
                    <a:lnTo>
                      <a:pt x="5462" y="2358"/>
                    </a:lnTo>
                    <a:lnTo>
                      <a:pt x="5474" y="2363"/>
                    </a:lnTo>
                    <a:lnTo>
                      <a:pt x="5474" y="2363"/>
                    </a:lnTo>
                    <a:lnTo>
                      <a:pt x="5474" y="2363"/>
                    </a:lnTo>
                    <a:close/>
                    <a:moveTo>
                      <a:pt x="5462" y="2363"/>
                    </a:moveTo>
                    <a:lnTo>
                      <a:pt x="5469" y="2374"/>
                    </a:lnTo>
                    <a:lnTo>
                      <a:pt x="5462" y="2363"/>
                    </a:lnTo>
                    <a:lnTo>
                      <a:pt x="5462" y="2363"/>
                    </a:lnTo>
                    <a:lnTo>
                      <a:pt x="5462" y="2363"/>
                    </a:lnTo>
                    <a:close/>
                    <a:moveTo>
                      <a:pt x="2306" y="2363"/>
                    </a:moveTo>
                    <a:lnTo>
                      <a:pt x="2322" y="2374"/>
                    </a:lnTo>
                    <a:lnTo>
                      <a:pt x="2318" y="2379"/>
                    </a:lnTo>
                    <a:lnTo>
                      <a:pt x="2306" y="2363"/>
                    </a:lnTo>
                    <a:lnTo>
                      <a:pt x="2306" y="2363"/>
                    </a:lnTo>
                    <a:lnTo>
                      <a:pt x="2306" y="2363"/>
                    </a:lnTo>
                    <a:close/>
                    <a:moveTo>
                      <a:pt x="5192" y="2429"/>
                    </a:moveTo>
                    <a:lnTo>
                      <a:pt x="5200" y="2436"/>
                    </a:lnTo>
                    <a:lnTo>
                      <a:pt x="5192" y="2436"/>
                    </a:lnTo>
                    <a:lnTo>
                      <a:pt x="5192" y="2429"/>
                    </a:lnTo>
                    <a:lnTo>
                      <a:pt x="5192" y="2429"/>
                    </a:lnTo>
                    <a:lnTo>
                      <a:pt x="5192" y="2429"/>
                    </a:lnTo>
                    <a:close/>
                    <a:moveTo>
                      <a:pt x="5204" y="2448"/>
                    </a:moveTo>
                    <a:lnTo>
                      <a:pt x="5221" y="2452"/>
                    </a:lnTo>
                    <a:lnTo>
                      <a:pt x="5192" y="2436"/>
                    </a:lnTo>
                    <a:lnTo>
                      <a:pt x="5204" y="2448"/>
                    </a:lnTo>
                    <a:lnTo>
                      <a:pt x="5204" y="2448"/>
                    </a:lnTo>
                    <a:lnTo>
                      <a:pt x="5204" y="2448"/>
                    </a:lnTo>
                    <a:close/>
                    <a:moveTo>
                      <a:pt x="4070" y="2457"/>
                    </a:moveTo>
                    <a:lnTo>
                      <a:pt x="4066" y="2469"/>
                    </a:lnTo>
                    <a:lnTo>
                      <a:pt x="4049" y="2452"/>
                    </a:lnTo>
                    <a:lnTo>
                      <a:pt x="4070" y="2457"/>
                    </a:lnTo>
                    <a:lnTo>
                      <a:pt x="4070" y="2457"/>
                    </a:lnTo>
                    <a:lnTo>
                      <a:pt x="4070" y="2457"/>
                    </a:lnTo>
                    <a:close/>
                    <a:moveTo>
                      <a:pt x="5523" y="2457"/>
                    </a:moveTo>
                    <a:lnTo>
                      <a:pt x="5528" y="2457"/>
                    </a:lnTo>
                    <a:lnTo>
                      <a:pt x="5507" y="2457"/>
                    </a:lnTo>
                    <a:lnTo>
                      <a:pt x="5523" y="2457"/>
                    </a:lnTo>
                    <a:lnTo>
                      <a:pt x="5523" y="2457"/>
                    </a:lnTo>
                    <a:lnTo>
                      <a:pt x="5523" y="2457"/>
                    </a:lnTo>
                    <a:close/>
                    <a:moveTo>
                      <a:pt x="4000" y="2485"/>
                    </a:moveTo>
                    <a:lnTo>
                      <a:pt x="4016" y="2502"/>
                    </a:lnTo>
                    <a:lnTo>
                      <a:pt x="4016" y="2514"/>
                    </a:lnTo>
                    <a:lnTo>
                      <a:pt x="4054" y="2523"/>
                    </a:lnTo>
                    <a:lnTo>
                      <a:pt x="4044" y="2530"/>
                    </a:lnTo>
                    <a:lnTo>
                      <a:pt x="4011" y="2530"/>
                    </a:lnTo>
                    <a:lnTo>
                      <a:pt x="4016" y="2514"/>
                    </a:lnTo>
                    <a:lnTo>
                      <a:pt x="3990" y="2514"/>
                    </a:lnTo>
                    <a:lnTo>
                      <a:pt x="3990" y="2502"/>
                    </a:lnTo>
                    <a:lnTo>
                      <a:pt x="3974" y="2485"/>
                    </a:lnTo>
                    <a:lnTo>
                      <a:pt x="3962" y="2474"/>
                    </a:lnTo>
                    <a:lnTo>
                      <a:pt x="4000" y="2485"/>
                    </a:lnTo>
                    <a:lnTo>
                      <a:pt x="4000" y="2485"/>
                    </a:lnTo>
                    <a:lnTo>
                      <a:pt x="4000" y="2485"/>
                    </a:lnTo>
                    <a:close/>
                    <a:moveTo>
                      <a:pt x="3936" y="2490"/>
                    </a:moveTo>
                    <a:lnTo>
                      <a:pt x="3957" y="2523"/>
                    </a:lnTo>
                    <a:lnTo>
                      <a:pt x="3945" y="2540"/>
                    </a:lnTo>
                    <a:lnTo>
                      <a:pt x="3919" y="2514"/>
                    </a:lnTo>
                    <a:lnTo>
                      <a:pt x="3919" y="2490"/>
                    </a:lnTo>
                    <a:lnTo>
                      <a:pt x="3936" y="2490"/>
                    </a:lnTo>
                    <a:lnTo>
                      <a:pt x="3936" y="2490"/>
                    </a:lnTo>
                    <a:lnTo>
                      <a:pt x="3936" y="2490"/>
                    </a:lnTo>
                    <a:close/>
                    <a:moveTo>
                      <a:pt x="5528" y="2502"/>
                    </a:moveTo>
                    <a:lnTo>
                      <a:pt x="5528" y="2507"/>
                    </a:lnTo>
                    <a:lnTo>
                      <a:pt x="5523" y="2490"/>
                    </a:lnTo>
                    <a:lnTo>
                      <a:pt x="5528" y="2502"/>
                    </a:lnTo>
                    <a:lnTo>
                      <a:pt x="5528" y="2502"/>
                    </a:lnTo>
                    <a:lnTo>
                      <a:pt x="5528" y="2502"/>
                    </a:lnTo>
                    <a:close/>
                    <a:moveTo>
                      <a:pt x="4264" y="2745"/>
                    </a:moveTo>
                    <a:lnTo>
                      <a:pt x="4205" y="2785"/>
                    </a:lnTo>
                    <a:lnTo>
                      <a:pt x="4134" y="2762"/>
                    </a:lnTo>
                    <a:lnTo>
                      <a:pt x="4104" y="2762"/>
                    </a:lnTo>
                    <a:lnTo>
                      <a:pt x="4104" y="2752"/>
                    </a:lnTo>
                    <a:lnTo>
                      <a:pt x="4108" y="2745"/>
                    </a:lnTo>
                    <a:lnTo>
                      <a:pt x="4108" y="2729"/>
                    </a:lnTo>
                    <a:lnTo>
                      <a:pt x="4066" y="2729"/>
                    </a:lnTo>
                    <a:lnTo>
                      <a:pt x="4054" y="2724"/>
                    </a:lnTo>
                    <a:lnTo>
                      <a:pt x="4070" y="2707"/>
                    </a:lnTo>
                    <a:lnTo>
                      <a:pt x="4066" y="2696"/>
                    </a:lnTo>
                    <a:lnTo>
                      <a:pt x="4028" y="2712"/>
                    </a:lnTo>
                    <a:lnTo>
                      <a:pt x="4016" y="2724"/>
                    </a:lnTo>
                    <a:lnTo>
                      <a:pt x="4028" y="2729"/>
                    </a:lnTo>
                    <a:lnTo>
                      <a:pt x="4028" y="2745"/>
                    </a:lnTo>
                    <a:lnTo>
                      <a:pt x="3978" y="2769"/>
                    </a:lnTo>
                    <a:lnTo>
                      <a:pt x="3957" y="2802"/>
                    </a:lnTo>
                    <a:lnTo>
                      <a:pt x="3910" y="2823"/>
                    </a:lnTo>
                    <a:lnTo>
                      <a:pt x="3886" y="2818"/>
                    </a:lnTo>
                    <a:lnTo>
                      <a:pt x="3881" y="2790"/>
                    </a:lnTo>
                    <a:lnTo>
                      <a:pt x="3886" y="2762"/>
                    </a:lnTo>
                    <a:lnTo>
                      <a:pt x="3881" y="2752"/>
                    </a:lnTo>
                    <a:lnTo>
                      <a:pt x="3818" y="2762"/>
                    </a:lnTo>
                    <a:lnTo>
                      <a:pt x="3796" y="2778"/>
                    </a:lnTo>
                    <a:lnTo>
                      <a:pt x="3773" y="2762"/>
                    </a:lnTo>
                    <a:lnTo>
                      <a:pt x="3796" y="2729"/>
                    </a:lnTo>
                    <a:lnTo>
                      <a:pt x="3839" y="2712"/>
                    </a:lnTo>
                    <a:lnTo>
                      <a:pt x="3834" y="2674"/>
                    </a:lnTo>
                    <a:lnTo>
                      <a:pt x="3834" y="2651"/>
                    </a:lnTo>
                    <a:lnTo>
                      <a:pt x="3848" y="2625"/>
                    </a:lnTo>
                    <a:lnTo>
                      <a:pt x="3839" y="2613"/>
                    </a:lnTo>
                    <a:lnTo>
                      <a:pt x="3848" y="2596"/>
                    </a:lnTo>
                    <a:lnTo>
                      <a:pt x="3848" y="2563"/>
                    </a:lnTo>
                    <a:lnTo>
                      <a:pt x="3855" y="2514"/>
                    </a:lnTo>
                    <a:lnTo>
                      <a:pt x="3893" y="2502"/>
                    </a:lnTo>
                    <a:lnTo>
                      <a:pt x="3893" y="2514"/>
                    </a:lnTo>
                    <a:lnTo>
                      <a:pt x="3919" y="2514"/>
                    </a:lnTo>
                    <a:lnTo>
                      <a:pt x="3924" y="2530"/>
                    </a:lnTo>
                    <a:lnTo>
                      <a:pt x="3903" y="2540"/>
                    </a:lnTo>
                    <a:lnTo>
                      <a:pt x="3924" y="2556"/>
                    </a:lnTo>
                    <a:lnTo>
                      <a:pt x="3936" y="2580"/>
                    </a:lnTo>
                    <a:lnTo>
                      <a:pt x="3941" y="2580"/>
                    </a:lnTo>
                    <a:lnTo>
                      <a:pt x="3957" y="2547"/>
                    </a:lnTo>
                    <a:lnTo>
                      <a:pt x="3962" y="2556"/>
                    </a:lnTo>
                    <a:lnTo>
                      <a:pt x="3990" y="2563"/>
                    </a:lnTo>
                    <a:lnTo>
                      <a:pt x="3978" y="2568"/>
                    </a:lnTo>
                    <a:lnTo>
                      <a:pt x="3990" y="2580"/>
                    </a:lnTo>
                    <a:lnTo>
                      <a:pt x="4044" y="2585"/>
                    </a:lnTo>
                    <a:lnTo>
                      <a:pt x="4054" y="2613"/>
                    </a:lnTo>
                    <a:lnTo>
                      <a:pt x="4125" y="2641"/>
                    </a:lnTo>
                    <a:lnTo>
                      <a:pt x="4158" y="2667"/>
                    </a:lnTo>
                    <a:lnTo>
                      <a:pt x="4158" y="2691"/>
                    </a:lnTo>
                    <a:lnTo>
                      <a:pt x="4163" y="2707"/>
                    </a:lnTo>
                    <a:lnTo>
                      <a:pt x="4141" y="2724"/>
                    </a:lnTo>
                    <a:lnTo>
                      <a:pt x="4179" y="2712"/>
                    </a:lnTo>
                    <a:lnTo>
                      <a:pt x="4210" y="2724"/>
                    </a:lnTo>
                    <a:lnTo>
                      <a:pt x="4210" y="2712"/>
                    </a:lnTo>
                    <a:lnTo>
                      <a:pt x="4217" y="2707"/>
                    </a:lnTo>
                    <a:lnTo>
                      <a:pt x="4243" y="2724"/>
                    </a:lnTo>
                    <a:lnTo>
                      <a:pt x="4243" y="2729"/>
                    </a:lnTo>
                    <a:lnTo>
                      <a:pt x="4243" y="2736"/>
                    </a:lnTo>
                    <a:lnTo>
                      <a:pt x="4264" y="2745"/>
                    </a:lnTo>
                    <a:lnTo>
                      <a:pt x="4264" y="2745"/>
                    </a:lnTo>
                    <a:lnTo>
                      <a:pt x="4264" y="2745"/>
                    </a:lnTo>
                    <a:close/>
                    <a:moveTo>
                      <a:pt x="4044" y="2507"/>
                    </a:moveTo>
                    <a:lnTo>
                      <a:pt x="4028" y="2507"/>
                    </a:lnTo>
                    <a:lnTo>
                      <a:pt x="4049" y="2507"/>
                    </a:lnTo>
                    <a:lnTo>
                      <a:pt x="4044" y="2507"/>
                    </a:lnTo>
                    <a:lnTo>
                      <a:pt x="4044" y="2507"/>
                    </a:lnTo>
                    <a:lnTo>
                      <a:pt x="4044" y="2507"/>
                    </a:lnTo>
                    <a:close/>
                    <a:moveTo>
                      <a:pt x="5523" y="2523"/>
                    </a:moveTo>
                    <a:lnTo>
                      <a:pt x="5528" y="2530"/>
                    </a:lnTo>
                    <a:lnTo>
                      <a:pt x="5523" y="2530"/>
                    </a:lnTo>
                    <a:lnTo>
                      <a:pt x="5507" y="2523"/>
                    </a:lnTo>
                    <a:lnTo>
                      <a:pt x="5523" y="2523"/>
                    </a:lnTo>
                    <a:lnTo>
                      <a:pt x="5523" y="2523"/>
                    </a:lnTo>
                    <a:lnTo>
                      <a:pt x="5523" y="2523"/>
                    </a:lnTo>
                    <a:close/>
                    <a:moveTo>
                      <a:pt x="5485" y="2530"/>
                    </a:moveTo>
                    <a:lnTo>
                      <a:pt x="5490" y="2540"/>
                    </a:lnTo>
                    <a:lnTo>
                      <a:pt x="5474" y="2540"/>
                    </a:lnTo>
                    <a:lnTo>
                      <a:pt x="5485" y="2530"/>
                    </a:lnTo>
                    <a:lnTo>
                      <a:pt x="5485" y="2530"/>
                    </a:lnTo>
                    <a:lnTo>
                      <a:pt x="5485" y="2530"/>
                    </a:lnTo>
                    <a:close/>
                    <a:moveTo>
                      <a:pt x="5452" y="2568"/>
                    </a:moveTo>
                    <a:lnTo>
                      <a:pt x="5462" y="2568"/>
                    </a:lnTo>
                    <a:lnTo>
                      <a:pt x="5448" y="2568"/>
                    </a:lnTo>
                    <a:lnTo>
                      <a:pt x="5452" y="2568"/>
                    </a:lnTo>
                    <a:lnTo>
                      <a:pt x="5452" y="2568"/>
                    </a:lnTo>
                    <a:lnTo>
                      <a:pt x="5452" y="2568"/>
                    </a:lnTo>
                    <a:close/>
                    <a:moveTo>
                      <a:pt x="5448" y="2613"/>
                    </a:moveTo>
                    <a:lnTo>
                      <a:pt x="5452" y="2618"/>
                    </a:lnTo>
                    <a:lnTo>
                      <a:pt x="5436" y="2613"/>
                    </a:lnTo>
                    <a:lnTo>
                      <a:pt x="5448" y="2613"/>
                    </a:lnTo>
                    <a:lnTo>
                      <a:pt x="5448" y="2613"/>
                    </a:lnTo>
                    <a:lnTo>
                      <a:pt x="5448" y="2613"/>
                    </a:lnTo>
                    <a:close/>
                    <a:moveTo>
                      <a:pt x="5313" y="2641"/>
                    </a:moveTo>
                    <a:lnTo>
                      <a:pt x="5313" y="2651"/>
                    </a:lnTo>
                    <a:lnTo>
                      <a:pt x="5301" y="2667"/>
                    </a:lnTo>
                    <a:lnTo>
                      <a:pt x="5285" y="2667"/>
                    </a:lnTo>
                    <a:lnTo>
                      <a:pt x="5301" y="2641"/>
                    </a:lnTo>
                    <a:lnTo>
                      <a:pt x="5313" y="2641"/>
                    </a:lnTo>
                    <a:lnTo>
                      <a:pt x="5313" y="2641"/>
                    </a:lnTo>
                    <a:lnTo>
                      <a:pt x="5313" y="2641"/>
                    </a:lnTo>
                    <a:close/>
                    <a:moveTo>
                      <a:pt x="4734" y="2658"/>
                    </a:moveTo>
                    <a:lnTo>
                      <a:pt x="4729" y="2679"/>
                    </a:lnTo>
                    <a:lnTo>
                      <a:pt x="4718" y="2679"/>
                    </a:lnTo>
                    <a:lnTo>
                      <a:pt x="4729" y="2667"/>
                    </a:lnTo>
                    <a:lnTo>
                      <a:pt x="4718" y="2658"/>
                    </a:lnTo>
                    <a:lnTo>
                      <a:pt x="4734" y="2658"/>
                    </a:lnTo>
                    <a:lnTo>
                      <a:pt x="4734" y="2658"/>
                    </a:lnTo>
                    <a:lnTo>
                      <a:pt x="4734" y="2658"/>
                    </a:lnTo>
                    <a:close/>
                    <a:moveTo>
                      <a:pt x="4680" y="2658"/>
                    </a:moveTo>
                    <a:lnTo>
                      <a:pt x="4692" y="2667"/>
                    </a:lnTo>
                    <a:lnTo>
                      <a:pt x="4675" y="2658"/>
                    </a:lnTo>
                    <a:lnTo>
                      <a:pt x="4680" y="2658"/>
                    </a:lnTo>
                    <a:lnTo>
                      <a:pt x="4680" y="2658"/>
                    </a:lnTo>
                    <a:lnTo>
                      <a:pt x="4680" y="2658"/>
                    </a:lnTo>
                    <a:close/>
                    <a:moveTo>
                      <a:pt x="4718" y="2667"/>
                    </a:moveTo>
                    <a:lnTo>
                      <a:pt x="4713" y="2674"/>
                    </a:lnTo>
                    <a:lnTo>
                      <a:pt x="4718" y="2667"/>
                    </a:lnTo>
                    <a:lnTo>
                      <a:pt x="4718" y="2667"/>
                    </a:lnTo>
                    <a:lnTo>
                      <a:pt x="4718" y="2667"/>
                    </a:lnTo>
                    <a:close/>
                    <a:moveTo>
                      <a:pt x="4675" y="2667"/>
                    </a:moveTo>
                    <a:lnTo>
                      <a:pt x="4692" y="2674"/>
                    </a:lnTo>
                    <a:lnTo>
                      <a:pt x="4663" y="2667"/>
                    </a:lnTo>
                    <a:lnTo>
                      <a:pt x="4675" y="2667"/>
                    </a:lnTo>
                    <a:lnTo>
                      <a:pt x="4675" y="2667"/>
                    </a:lnTo>
                    <a:lnTo>
                      <a:pt x="4675" y="2667"/>
                    </a:lnTo>
                    <a:close/>
                    <a:moveTo>
                      <a:pt x="5339" y="2674"/>
                    </a:moveTo>
                    <a:lnTo>
                      <a:pt x="5344" y="2679"/>
                    </a:lnTo>
                    <a:lnTo>
                      <a:pt x="5339" y="2691"/>
                    </a:lnTo>
                    <a:lnTo>
                      <a:pt x="5327" y="2674"/>
                    </a:lnTo>
                    <a:lnTo>
                      <a:pt x="5339" y="2674"/>
                    </a:lnTo>
                    <a:lnTo>
                      <a:pt x="5339" y="2674"/>
                    </a:lnTo>
                    <a:lnTo>
                      <a:pt x="5339" y="2674"/>
                    </a:lnTo>
                    <a:close/>
                    <a:moveTo>
                      <a:pt x="4718" y="2674"/>
                    </a:moveTo>
                    <a:lnTo>
                      <a:pt x="4718" y="2691"/>
                    </a:lnTo>
                    <a:lnTo>
                      <a:pt x="4713" y="2679"/>
                    </a:lnTo>
                    <a:lnTo>
                      <a:pt x="4718" y="2674"/>
                    </a:lnTo>
                    <a:lnTo>
                      <a:pt x="4718" y="2674"/>
                    </a:lnTo>
                    <a:lnTo>
                      <a:pt x="4718" y="2674"/>
                    </a:lnTo>
                    <a:close/>
                    <a:moveTo>
                      <a:pt x="4701" y="2679"/>
                    </a:moveTo>
                    <a:lnTo>
                      <a:pt x="4701" y="2691"/>
                    </a:lnTo>
                    <a:lnTo>
                      <a:pt x="4701" y="2679"/>
                    </a:lnTo>
                    <a:lnTo>
                      <a:pt x="4701" y="2679"/>
                    </a:lnTo>
                    <a:lnTo>
                      <a:pt x="4701" y="2679"/>
                    </a:lnTo>
                    <a:close/>
                    <a:moveTo>
                      <a:pt x="5327" y="2679"/>
                    </a:moveTo>
                    <a:lnTo>
                      <a:pt x="5339" y="2691"/>
                    </a:lnTo>
                    <a:lnTo>
                      <a:pt x="5327" y="2696"/>
                    </a:lnTo>
                    <a:lnTo>
                      <a:pt x="5322" y="2679"/>
                    </a:lnTo>
                    <a:lnTo>
                      <a:pt x="5327" y="2679"/>
                    </a:lnTo>
                    <a:lnTo>
                      <a:pt x="5327" y="2679"/>
                    </a:lnTo>
                    <a:lnTo>
                      <a:pt x="5327" y="2679"/>
                    </a:lnTo>
                    <a:close/>
                    <a:moveTo>
                      <a:pt x="4583" y="2679"/>
                    </a:moveTo>
                    <a:lnTo>
                      <a:pt x="4595" y="2679"/>
                    </a:lnTo>
                    <a:lnTo>
                      <a:pt x="4583" y="2691"/>
                    </a:lnTo>
                    <a:lnTo>
                      <a:pt x="4583" y="2679"/>
                    </a:lnTo>
                    <a:lnTo>
                      <a:pt x="4583" y="2679"/>
                    </a:lnTo>
                    <a:lnTo>
                      <a:pt x="4583" y="2679"/>
                    </a:lnTo>
                    <a:close/>
                    <a:moveTo>
                      <a:pt x="5360" y="2691"/>
                    </a:moveTo>
                    <a:lnTo>
                      <a:pt x="5365" y="2696"/>
                    </a:lnTo>
                    <a:lnTo>
                      <a:pt x="5355" y="2691"/>
                    </a:lnTo>
                    <a:lnTo>
                      <a:pt x="5360" y="2691"/>
                    </a:lnTo>
                    <a:lnTo>
                      <a:pt x="5360" y="2691"/>
                    </a:lnTo>
                    <a:lnTo>
                      <a:pt x="5360" y="2691"/>
                    </a:lnTo>
                    <a:close/>
                    <a:moveTo>
                      <a:pt x="5365" y="2707"/>
                    </a:moveTo>
                    <a:lnTo>
                      <a:pt x="5360" y="2707"/>
                    </a:lnTo>
                    <a:lnTo>
                      <a:pt x="5365" y="2707"/>
                    </a:lnTo>
                    <a:lnTo>
                      <a:pt x="5365" y="2707"/>
                    </a:lnTo>
                    <a:lnTo>
                      <a:pt x="5365" y="2707"/>
                    </a:lnTo>
                    <a:close/>
                    <a:moveTo>
                      <a:pt x="5327" y="2707"/>
                    </a:moveTo>
                    <a:lnTo>
                      <a:pt x="5339" y="2712"/>
                    </a:lnTo>
                    <a:lnTo>
                      <a:pt x="5327" y="2707"/>
                    </a:lnTo>
                    <a:lnTo>
                      <a:pt x="5327" y="2707"/>
                    </a:lnTo>
                    <a:lnTo>
                      <a:pt x="5327" y="2707"/>
                    </a:lnTo>
                    <a:close/>
                    <a:moveTo>
                      <a:pt x="4444" y="2724"/>
                    </a:moveTo>
                    <a:lnTo>
                      <a:pt x="4432" y="2729"/>
                    </a:lnTo>
                    <a:lnTo>
                      <a:pt x="4422" y="2724"/>
                    </a:lnTo>
                    <a:lnTo>
                      <a:pt x="4448" y="2724"/>
                    </a:lnTo>
                    <a:lnTo>
                      <a:pt x="4444" y="2724"/>
                    </a:lnTo>
                    <a:lnTo>
                      <a:pt x="4444" y="2724"/>
                    </a:lnTo>
                    <a:lnTo>
                      <a:pt x="4444" y="2724"/>
                    </a:lnTo>
                    <a:close/>
                    <a:moveTo>
                      <a:pt x="5360" y="2736"/>
                    </a:moveTo>
                    <a:lnTo>
                      <a:pt x="5360" y="2745"/>
                    </a:lnTo>
                    <a:lnTo>
                      <a:pt x="5365" y="2745"/>
                    </a:lnTo>
                    <a:lnTo>
                      <a:pt x="5377" y="2752"/>
                    </a:lnTo>
                    <a:lnTo>
                      <a:pt x="5339" y="2745"/>
                    </a:lnTo>
                    <a:lnTo>
                      <a:pt x="5360" y="2736"/>
                    </a:lnTo>
                    <a:lnTo>
                      <a:pt x="5360" y="2736"/>
                    </a:lnTo>
                    <a:lnTo>
                      <a:pt x="5360" y="2736"/>
                    </a:lnTo>
                    <a:close/>
                    <a:moveTo>
                      <a:pt x="5377" y="2736"/>
                    </a:moveTo>
                    <a:lnTo>
                      <a:pt x="5393" y="2736"/>
                    </a:lnTo>
                    <a:lnTo>
                      <a:pt x="5393" y="2745"/>
                    </a:lnTo>
                    <a:lnTo>
                      <a:pt x="5377" y="2736"/>
                    </a:lnTo>
                    <a:lnTo>
                      <a:pt x="5377" y="2736"/>
                    </a:lnTo>
                    <a:lnTo>
                      <a:pt x="5377" y="2736"/>
                    </a:lnTo>
                    <a:close/>
                    <a:moveTo>
                      <a:pt x="5377" y="2745"/>
                    </a:moveTo>
                    <a:lnTo>
                      <a:pt x="5381" y="2752"/>
                    </a:lnTo>
                    <a:lnTo>
                      <a:pt x="5377" y="2752"/>
                    </a:lnTo>
                    <a:lnTo>
                      <a:pt x="5377" y="2745"/>
                    </a:lnTo>
                    <a:lnTo>
                      <a:pt x="5377" y="2745"/>
                    </a:lnTo>
                    <a:lnTo>
                      <a:pt x="5377" y="2745"/>
                    </a:lnTo>
                    <a:close/>
                    <a:moveTo>
                      <a:pt x="4789" y="2752"/>
                    </a:moveTo>
                    <a:lnTo>
                      <a:pt x="4798" y="2752"/>
                    </a:lnTo>
                    <a:lnTo>
                      <a:pt x="4789" y="2752"/>
                    </a:lnTo>
                    <a:lnTo>
                      <a:pt x="4789" y="2752"/>
                    </a:lnTo>
                    <a:lnTo>
                      <a:pt x="4789" y="2752"/>
                    </a:lnTo>
                    <a:close/>
                    <a:moveTo>
                      <a:pt x="4512" y="2785"/>
                    </a:moveTo>
                    <a:lnTo>
                      <a:pt x="4519" y="2785"/>
                    </a:lnTo>
                    <a:lnTo>
                      <a:pt x="4512" y="2790"/>
                    </a:lnTo>
                    <a:lnTo>
                      <a:pt x="4486" y="2790"/>
                    </a:lnTo>
                    <a:lnTo>
                      <a:pt x="4460" y="2762"/>
                    </a:lnTo>
                    <a:lnTo>
                      <a:pt x="4481" y="2762"/>
                    </a:lnTo>
                    <a:lnTo>
                      <a:pt x="4512" y="2769"/>
                    </a:lnTo>
                    <a:lnTo>
                      <a:pt x="4512" y="2785"/>
                    </a:lnTo>
                    <a:lnTo>
                      <a:pt x="4512" y="2785"/>
                    </a:lnTo>
                    <a:lnTo>
                      <a:pt x="4512" y="2785"/>
                    </a:lnTo>
                    <a:close/>
                    <a:moveTo>
                      <a:pt x="5377" y="2762"/>
                    </a:moveTo>
                    <a:lnTo>
                      <a:pt x="5381" y="2785"/>
                    </a:lnTo>
                    <a:lnTo>
                      <a:pt x="5398" y="2807"/>
                    </a:lnTo>
                    <a:lnTo>
                      <a:pt x="5365" y="2785"/>
                    </a:lnTo>
                    <a:lnTo>
                      <a:pt x="5365" y="2769"/>
                    </a:lnTo>
                    <a:lnTo>
                      <a:pt x="5377" y="2762"/>
                    </a:lnTo>
                    <a:lnTo>
                      <a:pt x="5377" y="2762"/>
                    </a:lnTo>
                    <a:lnTo>
                      <a:pt x="5377" y="2762"/>
                    </a:lnTo>
                    <a:close/>
                    <a:moveTo>
                      <a:pt x="5393" y="2762"/>
                    </a:moveTo>
                    <a:lnTo>
                      <a:pt x="5393" y="2785"/>
                    </a:lnTo>
                    <a:lnTo>
                      <a:pt x="5381" y="2769"/>
                    </a:lnTo>
                    <a:lnTo>
                      <a:pt x="5393" y="2762"/>
                    </a:lnTo>
                    <a:lnTo>
                      <a:pt x="5393" y="2762"/>
                    </a:lnTo>
                    <a:lnTo>
                      <a:pt x="5393" y="2762"/>
                    </a:lnTo>
                    <a:close/>
                    <a:moveTo>
                      <a:pt x="3470" y="2769"/>
                    </a:moveTo>
                    <a:lnTo>
                      <a:pt x="3487" y="2769"/>
                    </a:lnTo>
                    <a:lnTo>
                      <a:pt x="3470" y="2769"/>
                    </a:lnTo>
                    <a:lnTo>
                      <a:pt x="3470" y="2769"/>
                    </a:lnTo>
                    <a:lnTo>
                      <a:pt x="3470" y="2769"/>
                    </a:lnTo>
                    <a:close/>
                    <a:moveTo>
                      <a:pt x="4822" y="2769"/>
                    </a:moveTo>
                    <a:lnTo>
                      <a:pt x="4826" y="2778"/>
                    </a:lnTo>
                    <a:lnTo>
                      <a:pt x="4822" y="2778"/>
                    </a:lnTo>
                    <a:lnTo>
                      <a:pt x="4822" y="2769"/>
                    </a:lnTo>
                    <a:lnTo>
                      <a:pt x="4822" y="2769"/>
                    </a:lnTo>
                    <a:lnTo>
                      <a:pt x="4822" y="2769"/>
                    </a:lnTo>
                    <a:close/>
                    <a:moveTo>
                      <a:pt x="5339" y="2778"/>
                    </a:moveTo>
                    <a:lnTo>
                      <a:pt x="5339" y="2790"/>
                    </a:lnTo>
                    <a:lnTo>
                      <a:pt x="5327" y="2778"/>
                    </a:lnTo>
                    <a:lnTo>
                      <a:pt x="5339" y="2778"/>
                    </a:lnTo>
                    <a:lnTo>
                      <a:pt x="5339" y="2778"/>
                    </a:lnTo>
                    <a:lnTo>
                      <a:pt x="5339" y="2778"/>
                    </a:lnTo>
                    <a:close/>
                    <a:moveTo>
                      <a:pt x="4406" y="2778"/>
                    </a:moveTo>
                    <a:lnTo>
                      <a:pt x="4444" y="2785"/>
                    </a:lnTo>
                    <a:lnTo>
                      <a:pt x="4448" y="2807"/>
                    </a:lnTo>
                    <a:lnTo>
                      <a:pt x="4422" y="2823"/>
                    </a:lnTo>
                    <a:lnTo>
                      <a:pt x="4378" y="2785"/>
                    </a:lnTo>
                    <a:lnTo>
                      <a:pt x="4406" y="2778"/>
                    </a:lnTo>
                    <a:lnTo>
                      <a:pt x="4406" y="2778"/>
                    </a:lnTo>
                    <a:lnTo>
                      <a:pt x="4406" y="2778"/>
                    </a:lnTo>
                    <a:close/>
                    <a:moveTo>
                      <a:pt x="5129" y="2807"/>
                    </a:moveTo>
                    <a:lnTo>
                      <a:pt x="5138" y="2818"/>
                    </a:lnTo>
                    <a:lnTo>
                      <a:pt x="5129" y="2807"/>
                    </a:lnTo>
                    <a:lnTo>
                      <a:pt x="5129" y="2807"/>
                    </a:lnTo>
                    <a:lnTo>
                      <a:pt x="5129" y="2807"/>
                    </a:lnTo>
                    <a:close/>
                    <a:moveTo>
                      <a:pt x="5192" y="2823"/>
                    </a:moveTo>
                    <a:lnTo>
                      <a:pt x="5200" y="2840"/>
                    </a:lnTo>
                    <a:lnTo>
                      <a:pt x="5183" y="2823"/>
                    </a:lnTo>
                    <a:lnTo>
                      <a:pt x="5192" y="2823"/>
                    </a:lnTo>
                    <a:lnTo>
                      <a:pt x="5192" y="2823"/>
                    </a:lnTo>
                    <a:lnTo>
                      <a:pt x="5192" y="2823"/>
                    </a:lnTo>
                    <a:close/>
                    <a:moveTo>
                      <a:pt x="4125" y="2840"/>
                    </a:moveTo>
                    <a:lnTo>
                      <a:pt x="4151" y="2847"/>
                    </a:lnTo>
                    <a:lnTo>
                      <a:pt x="4141" y="2873"/>
                    </a:lnTo>
                    <a:lnTo>
                      <a:pt x="4066" y="2929"/>
                    </a:lnTo>
                    <a:lnTo>
                      <a:pt x="4044" y="2918"/>
                    </a:lnTo>
                    <a:lnTo>
                      <a:pt x="4016" y="2934"/>
                    </a:lnTo>
                    <a:lnTo>
                      <a:pt x="4016" y="2913"/>
                    </a:lnTo>
                    <a:lnTo>
                      <a:pt x="4000" y="2901"/>
                    </a:lnTo>
                    <a:lnTo>
                      <a:pt x="4044" y="2847"/>
                    </a:lnTo>
                    <a:lnTo>
                      <a:pt x="4066" y="2856"/>
                    </a:lnTo>
                    <a:lnTo>
                      <a:pt x="4125" y="2840"/>
                    </a:lnTo>
                    <a:lnTo>
                      <a:pt x="4125" y="2840"/>
                    </a:lnTo>
                    <a:lnTo>
                      <a:pt x="4125" y="2840"/>
                    </a:lnTo>
                    <a:close/>
                    <a:moveTo>
                      <a:pt x="5221" y="2847"/>
                    </a:moveTo>
                    <a:lnTo>
                      <a:pt x="5237" y="2856"/>
                    </a:lnTo>
                    <a:lnTo>
                      <a:pt x="5221" y="2847"/>
                    </a:lnTo>
                    <a:lnTo>
                      <a:pt x="5221" y="2847"/>
                    </a:lnTo>
                    <a:lnTo>
                      <a:pt x="5221" y="2847"/>
                    </a:lnTo>
                    <a:close/>
                    <a:moveTo>
                      <a:pt x="4935" y="2863"/>
                    </a:moveTo>
                    <a:lnTo>
                      <a:pt x="4966" y="2880"/>
                    </a:lnTo>
                    <a:lnTo>
                      <a:pt x="4928" y="2889"/>
                    </a:lnTo>
                    <a:lnTo>
                      <a:pt x="4918" y="2863"/>
                    </a:lnTo>
                    <a:lnTo>
                      <a:pt x="4897" y="2856"/>
                    </a:lnTo>
                    <a:lnTo>
                      <a:pt x="4890" y="2847"/>
                    </a:lnTo>
                    <a:lnTo>
                      <a:pt x="4935" y="2863"/>
                    </a:lnTo>
                    <a:lnTo>
                      <a:pt x="4935" y="2863"/>
                    </a:lnTo>
                    <a:lnTo>
                      <a:pt x="4935" y="2863"/>
                    </a:lnTo>
                    <a:close/>
                    <a:moveTo>
                      <a:pt x="4663" y="2863"/>
                    </a:moveTo>
                    <a:lnTo>
                      <a:pt x="4701" y="2880"/>
                    </a:lnTo>
                    <a:lnTo>
                      <a:pt x="4649" y="2863"/>
                    </a:lnTo>
                    <a:lnTo>
                      <a:pt x="4663" y="2863"/>
                    </a:lnTo>
                    <a:lnTo>
                      <a:pt x="4663" y="2863"/>
                    </a:lnTo>
                    <a:lnTo>
                      <a:pt x="4663" y="2863"/>
                    </a:lnTo>
                    <a:close/>
                    <a:moveTo>
                      <a:pt x="4432" y="2880"/>
                    </a:moveTo>
                    <a:lnTo>
                      <a:pt x="4444" y="2880"/>
                    </a:lnTo>
                    <a:lnTo>
                      <a:pt x="4432" y="2889"/>
                    </a:lnTo>
                    <a:lnTo>
                      <a:pt x="4432" y="2880"/>
                    </a:lnTo>
                    <a:lnTo>
                      <a:pt x="4432" y="2880"/>
                    </a:lnTo>
                    <a:lnTo>
                      <a:pt x="4432" y="2880"/>
                    </a:lnTo>
                    <a:close/>
                    <a:moveTo>
                      <a:pt x="4422" y="2880"/>
                    </a:moveTo>
                    <a:lnTo>
                      <a:pt x="4427" y="2889"/>
                    </a:lnTo>
                    <a:lnTo>
                      <a:pt x="4411" y="2889"/>
                    </a:lnTo>
                    <a:lnTo>
                      <a:pt x="4422" y="2880"/>
                    </a:lnTo>
                    <a:lnTo>
                      <a:pt x="4422" y="2880"/>
                    </a:lnTo>
                    <a:lnTo>
                      <a:pt x="4422" y="2880"/>
                    </a:lnTo>
                    <a:close/>
                    <a:moveTo>
                      <a:pt x="5377" y="2889"/>
                    </a:moveTo>
                    <a:lnTo>
                      <a:pt x="5360" y="2901"/>
                    </a:lnTo>
                    <a:lnTo>
                      <a:pt x="5327" y="2896"/>
                    </a:lnTo>
                    <a:lnTo>
                      <a:pt x="5344" y="2889"/>
                    </a:lnTo>
                    <a:lnTo>
                      <a:pt x="5377" y="2889"/>
                    </a:lnTo>
                    <a:lnTo>
                      <a:pt x="5377" y="2889"/>
                    </a:lnTo>
                    <a:lnTo>
                      <a:pt x="5377" y="2889"/>
                    </a:lnTo>
                    <a:close/>
                    <a:moveTo>
                      <a:pt x="4314" y="2967"/>
                    </a:moveTo>
                    <a:lnTo>
                      <a:pt x="4302" y="2991"/>
                    </a:lnTo>
                    <a:lnTo>
                      <a:pt x="4285" y="3000"/>
                    </a:lnTo>
                    <a:lnTo>
                      <a:pt x="4259" y="2967"/>
                    </a:lnTo>
                    <a:lnTo>
                      <a:pt x="4259" y="2934"/>
                    </a:lnTo>
                    <a:lnTo>
                      <a:pt x="4281" y="2901"/>
                    </a:lnTo>
                    <a:lnTo>
                      <a:pt x="4318" y="2901"/>
                    </a:lnTo>
                    <a:lnTo>
                      <a:pt x="4323" y="2918"/>
                    </a:lnTo>
                    <a:lnTo>
                      <a:pt x="4323" y="2929"/>
                    </a:lnTo>
                    <a:lnTo>
                      <a:pt x="4314" y="2967"/>
                    </a:lnTo>
                    <a:lnTo>
                      <a:pt x="4314" y="2967"/>
                    </a:lnTo>
                    <a:lnTo>
                      <a:pt x="4314" y="2967"/>
                    </a:lnTo>
                    <a:close/>
                    <a:moveTo>
                      <a:pt x="5268" y="2934"/>
                    </a:moveTo>
                    <a:lnTo>
                      <a:pt x="5259" y="2934"/>
                    </a:lnTo>
                    <a:lnTo>
                      <a:pt x="5268" y="2929"/>
                    </a:lnTo>
                    <a:lnTo>
                      <a:pt x="5268" y="2934"/>
                    </a:lnTo>
                    <a:lnTo>
                      <a:pt x="5268" y="2934"/>
                    </a:lnTo>
                    <a:lnTo>
                      <a:pt x="5268" y="2934"/>
                    </a:lnTo>
                    <a:close/>
                    <a:moveTo>
                      <a:pt x="5322" y="2955"/>
                    </a:moveTo>
                    <a:lnTo>
                      <a:pt x="5344" y="2974"/>
                    </a:lnTo>
                    <a:lnTo>
                      <a:pt x="5339" y="2974"/>
                    </a:lnTo>
                    <a:lnTo>
                      <a:pt x="5313" y="2955"/>
                    </a:lnTo>
                    <a:lnTo>
                      <a:pt x="5313" y="2951"/>
                    </a:lnTo>
                    <a:lnTo>
                      <a:pt x="5322" y="2955"/>
                    </a:lnTo>
                    <a:lnTo>
                      <a:pt x="5322" y="2955"/>
                    </a:lnTo>
                    <a:lnTo>
                      <a:pt x="5322" y="2955"/>
                    </a:lnTo>
                    <a:close/>
                    <a:moveTo>
                      <a:pt x="3364" y="2967"/>
                    </a:moveTo>
                    <a:lnTo>
                      <a:pt x="3352" y="2955"/>
                    </a:lnTo>
                    <a:lnTo>
                      <a:pt x="3369" y="2955"/>
                    </a:lnTo>
                    <a:lnTo>
                      <a:pt x="3364" y="2967"/>
                    </a:lnTo>
                    <a:lnTo>
                      <a:pt x="3364" y="2967"/>
                    </a:lnTo>
                    <a:lnTo>
                      <a:pt x="3364" y="2967"/>
                    </a:lnTo>
                    <a:close/>
                    <a:moveTo>
                      <a:pt x="5285" y="2967"/>
                    </a:moveTo>
                    <a:lnTo>
                      <a:pt x="5285" y="2974"/>
                    </a:lnTo>
                    <a:lnTo>
                      <a:pt x="5259" y="2974"/>
                    </a:lnTo>
                    <a:lnTo>
                      <a:pt x="5285" y="2967"/>
                    </a:lnTo>
                    <a:lnTo>
                      <a:pt x="5285" y="2967"/>
                    </a:lnTo>
                    <a:lnTo>
                      <a:pt x="5285" y="2967"/>
                    </a:lnTo>
                    <a:close/>
                    <a:moveTo>
                      <a:pt x="5355" y="2991"/>
                    </a:moveTo>
                    <a:lnTo>
                      <a:pt x="5355" y="3000"/>
                    </a:lnTo>
                    <a:lnTo>
                      <a:pt x="5355" y="3007"/>
                    </a:lnTo>
                    <a:lnTo>
                      <a:pt x="5339" y="3024"/>
                    </a:lnTo>
                    <a:lnTo>
                      <a:pt x="5301" y="2991"/>
                    </a:lnTo>
                    <a:lnTo>
                      <a:pt x="5327" y="2984"/>
                    </a:lnTo>
                    <a:lnTo>
                      <a:pt x="5355" y="2991"/>
                    </a:lnTo>
                    <a:lnTo>
                      <a:pt x="5355" y="2991"/>
                    </a:lnTo>
                    <a:lnTo>
                      <a:pt x="5355" y="2991"/>
                    </a:lnTo>
                    <a:close/>
                    <a:moveTo>
                      <a:pt x="4982" y="3057"/>
                    </a:moveTo>
                    <a:lnTo>
                      <a:pt x="4982" y="3062"/>
                    </a:lnTo>
                    <a:lnTo>
                      <a:pt x="4973" y="3057"/>
                    </a:lnTo>
                    <a:lnTo>
                      <a:pt x="4982" y="3057"/>
                    </a:lnTo>
                    <a:lnTo>
                      <a:pt x="4982" y="3057"/>
                    </a:lnTo>
                    <a:lnTo>
                      <a:pt x="4982" y="3057"/>
                    </a:lnTo>
                    <a:close/>
                    <a:moveTo>
                      <a:pt x="5124" y="3111"/>
                    </a:moveTo>
                    <a:lnTo>
                      <a:pt x="5138" y="3118"/>
                    </a:lnTo>
                    <a:lnTo>
                      <a:pt x="5129" y="3123"/>
                    </a:lnTo>
                    <a:lnTo>
                      <a:pt x="5091" y="3140"/>
                    </a:lnTo>
                    <a:lnTo>
                      <a:pt x="5112" y="3100"/>
                    </a:lnTo>
                    <a:lnTo>
                      <a:pt x="5124" y="3111"/>
                    </a:lnTo>
                    <a:lnTo>
                      <a:pt x="5124" y="3111"/>
                    </a:lnTo>
                    <a:lnTo>
                      <a:pt x="5124" y="3111"/>
                    </a:lnTo>
                    <a:close/>
                    <a:moveTo>
                      <a:pt x="5365" y="3123"/>
                    </a:moveTo>
                    <a:lnTo>
                      <a:pt x="5365" y="3135"/>
                    </a:lnTo>
                    <a:lnTo>
                      <a:pt x="5339" y="3118"/>
                    </a:lnTo>
                    <a:lnTo>
                      <a:pt x="5355" y="3118"/>
                    </a:lnTo>
                    <a:lnTo>
                      <a:pt x="5365" y="3123"/>
                    </a:lnTo>
                    <a:lnTo>
                      <a:pt x="5365" y="3123"/>
                    </a:lnTo>
                    <a:lnTo>
                      <a:pt x="5365" y="3123"/>
                    </a:lnTo>
                    <a:close/>
                    <a:moveTo>
                      <a:pt x="4281" y="3177"/>
                    </a:moveTo>
                    <a:lnTo>
                      <a:pt x="4281" y="3189"/>
                    </a:lnTo>
                    <a:lnTo>
                      <a:pt x="4264" y="3194"/>
                    </a:lnTo>
                    <a:lnTo>
                      <a:pt x="4281" y="3177"/>
                    </a:lnTo>
                    <a:lnTo>
                      <a:pt x="4281" y="3177"/>
                    </a:lnTo>
                    <a:lnTo>
                      <a:pt x="4281" y="3177"/>
                    </a:lnTo>
                    <a:close/>
                    <a:moveTo>
                      <a:pt x="5398" y="3177"/>
                    </a:moveTo>
                    <a:lnTo>
                      <a:pt x="5398" y="3194"/>
                    </a:lnTo>
                    <a:lnTo>
                      <a:pt x="5381" y="3194"/>
                    </a:lnTo>
                    <a:lnTo>
                      <a:pt x="5398" y="3177"/>
                    </a:lnTo>
                    <a:lnTo>
                      <a:pt x="5398" y="3177"/>
                    </a:lnTo>
                    <a:lnTo>
                      <a:pt x="5398" y="3177"/>
                    </a:lnTo>
                    <a:close/>
                    <a:moveTo>
                      <a:pt x="4264" y="3206"/>
                    </a:moveTo>
                    <a:lnTo>
                      <a:pt x="4259" y="3206"/>
                    </a:lnTo>
                    <a:lnTo>
                      <a:pt x="4264" y="3194"/>
                    </a:lnTo>
                    <a:lnTo>
                      <a:pt x="4264" y="3206"/>
                    </a:lnTo>
                    <a:lnTo>
                      <a:pt x="4264" y="3206"/>
                    </a:lnTo>
                    <a:lnTo>
                      <a:pt x="4264" y="3206"/>
                    </a:lnTo>
                    <a:close/>
                    <a:moveTo>
                      <a:pt x="5037" y="3263"/>
                    </a:moveTo>
                    <a:lnTo>
                      <a:pt x="5037" y="3279"/>
                    </a:lnTo>
                    <a:lnTo>
                      <a:pt x="5025" y="3279"/>
                    </a:lnTo>
                    <a:lnTo>
                      <a:pt x="5020" y="3263"/>
                    </a:lnTo>
                    <a:lnTo>
                      <a:pt x="5037" y="3263"/>
                    </a:lnTo>
                    <a:lnTo>
                      <a:pt x="5037" y="3263"/>
                    </a:lnTo>
                    <a:lnTo>
                      <a:pt x="5037" y="3263"/>
                    </a:lnTo>
                    <a:close/>
                    <a:moveTo>
                      <a:pt x="4373" y="3305"/>
                    </a:moveTo>
                    <a:lnTo>
                      <a:pt x="4389" y="3322"/>
                    </a:lnTo>
                    <a:lnTo>
                      <a:pt x="4373" y="3317"/>
                    </a:lnTo>
                    <a:lnTo>
                      <a:pt x="4373" y="3305"/>
                    </a:lnTo>
                    <a:lnTo>
                      <a:pt x="4373" y="3305"/>
                    </a:lnTo>
                    <a:lnTo>
                      <a:pt x="4373" y="3305"/>
                    </a:lnTo>
                    <a:close/>
                    <a:moveTo>
                      <a:pt x="5150" y="3338"/>
                    </a:moveTo>
                    <a:lnTo>
                      <a:pt x="5150" y="3350"/>
                    </a:lnTo>
                    <a:lnTo>
                      <a:pt x="5145" y="3350"/>
                    </a:lnTo>
                    <a:lnTo>
                      <a:pt x="5150" y="3338"/>
                    </a:lnTo>
                    <a:lnTo>
                      <a:pt x="5150" y="3338"/>
                    </a:lnTo>
                    <a:lnTo>
                      <a:pt x="5150" y="3338"/>
                    </a:lnTo>
                    <a:close/>
                    <a:moveTo>
                      <a:pt x="5544" y="3395"/>
                    </a:moveTo>
                    <a:lnTo>
                      <a:pt x="5544" y="3407"/>
                    </a:lnTo>
                    <a:lnTo>
                      <a:pt x="5528" y="3395"/>
                    </a:lnTo>
                    <a:lnTo>
                      <a:pt x="5537" y="3390"/>
                    </a:lnTo>
                    <a:lnTo>
                      <a:pt x="5544" y="3395"/>
                    </a:lnTo>
                    <a:lnTo>
                      <a:pt x="5544" y="3395"/>
                    </a:lnTo>
                    <a:lnTo>
                      <a:pt x="5544" y="3395"/>
                    </a:lnTo>
                    <a:close/>
                    <a:moveTo>
                      <a:pt x="5570" y="3407"/>
                    </a:moveTo>
                    <a:lnTo>
                      <a:pt x="5561" y="3411"/>
                    </a:lnTo>
                    <a:lnTo>
                      <a:pt x="5544" y="3407"/>
                    </a:lnTo>
                    <a:lnTo>
                      <a:pt x="5554" y="3395"/>
                    </a:lnTo>
                    <a:lnTo>
                      <a:pt x="5570" y="3407"/>
                    </a:lnTo>
                    <a:lnTo>
                      <a:pt x="5570" y="3407"/>
                    </a:lnTo>
                    <a:lnTo>
                      <a:pt x="5570" y="3407"/>
                    </a:lnTo>
                    <a:close/>
                    <a:moveTo>
                      <a:pt x="4297" y="3416"/>
                    </a:moveTo>
                    <a:lnTo>
                      <a:pt x="4285" y="3444"/>
                    </a:lnTo>
                    <a:lnTo>
                      <a:pt x="4285" y="3428"/>
                    </a:lnTo>
                    <a:lnTo>
                      <a:pt x="4297" y="3416"/>
                    </a:lnTo>
                    <a:lnTo>
                      <a:pt x="4297" y="3416"/>
                    </a:lnTo>
                    <a:lnTo>
                      <a:pt x="4297" y="3416"/>
                    </a:lnTo>
                    <a:close/>
                    <a:moveTo>
                      <a:pt x="5544" y="3433"/>
                    </a:moveTo>
                    <a:lnTo>
                      <a:pt x="5537" y="3428"/>
                    </a:lnTo>
                    <a:lnTo>
                      <a:pt x="5544" y="3416"/>
                    </a:lnTo>
                    <a:lnTo>
                      <a:pt x="5554" y="3428"/>
                    </a:lnTo>
                    <a:lnTo>
                      <a:pt x="5544" y="3433"/>
                    </a:lnTo>
                    <a:lnTo>
                      <a:pt x="5544" y="3433"/>
                    </a:lnTo>
                    <a:lnTo>
                      <a:pt x="5544" y="3433"/>
                    </a:lnTo>
                    <a:close/>
                    <a:moveTo>
                      <a:pt x="5570" y="3428"/>
                    </a:moveTo>
                    <a:lnTo>
                      <a:pt x="5570" y="3444"/>
                    </a:lnTo>
                    <a:lnTo>
                      <a:pt x="5544" y="3433"/>
                    </a:lnTo>
                    <a:lnTo>
                      <a:pt x="5570" y="3428"/>
                    </a:lnTo>
                    <a:lnTo>
                      <a:pt x="5570" y="3428"/>
                    </a:lnTo>
                    <a:lnTo>
                      <a:pt x="5570" y="3428"/>
                    </a:lnTo>
                    <a:close/>
                    <a:moveTo>
                      <a:pt x="4503" y="3444"/>
                    </a:moveTo>
                    <a:lnTo>
                      <a:pt x="4512" y="3449"/>
                    </a:lnTo>
                    <a:lnTo>
                      <a:pt x="4503" y="3444"/>
                    </a:lnTo>
                    <a:lnTo>
                      <a:pt x="4503" y="3444"/>
                    </a:lnTo>
                    <a:lnTo>
                      <a:pt x="4503" y="3444"/>
                    </a:lnTo>
                    <a:close/>
                    <a:moveTo>
                      <a:pt x="5561" y="3444"/>
                    </a:moveTo>
                    <a:lnTo>
                      <a:pt x="5570" y="3449"/>
                    </a:lnTo>
                    <a:lnTo>
                      <a:pt x="5554" y="3449"/>
                    </a:lnTo>
                    <a:lnTo>
                      <a:pt x="5561" y="3444"/>
                    </a:lnTo>
                    <a:lnTo>
                      <a:pt x="5561" y="3444"/>
                    </a:lnTo>
                    <a:lnTo>
                      <a:pt x="5561" y="3444"/>
                    </a:lnTo>
                    <a:close/>
                    <a:moveTo>
                      <a:pt x="5582" y="3489"/>
                    </a:moveTo>
                    <a:lnTo>
                      <a:pt x="5570" y="3506"/>
                    </a:lnTo>
                    <a:lnTo>
                      <a:pt x="5582" y="3506"/>
                    </a:lnTo>
                    <a:lnTo>
                      <a:pt x="5582" y="3522"/>
                    </a:lnTo>
                    <a:lnTo>
                      <a:pt x="5570" y="3506"/>
                    </a:lnTo>
                    <a:lnTo>
                      <a:pt x="5575" y="3489"/>
                    </a:lnTo>
                    <a:lnTo>
                      <a:pt x="5582" y="3489"/>
                    </a:lnTo>
                    <a:lnTo>
                      <a:pt x="5582" y="3489"/>
                    </a:lnTo>
                    <a:lnTo>
                      <a:pt x="5582" y="3489"/>
                    </a:lnTo>
                    <a:close/>
                    <a:moveTo>
                      <a:pt x="4297" y="3489"/>
                    </a:moveTo>
                    <a:lnTo>
                      <a:pt x="4297" y="3506"/>
                    </a:lnTo>
                    <a:lnTo>
                      <a:pt x="4285" y="3499"/>
                    </a:lnTo>
                    <a:lnTo>
                      <a:pt x="4297" y="3489"/>
                    </a:lnTo>
                    <a:lnTo>
                      <a:pt x="4297" y="3489"/>
                    </a:lnTo>
                    <a:lnTo>
                      <a:pt x="4297" y="3489"/>
                    </a:lnTo>
                    <a:close/>
                    <a:moveTo>
                      <a:pt x="4285" y="3499"/>
                    </a:moveTo>
                    <a:lnTo>
                      <a:pt x="4285" y="3506"/>
                    </a:lnTo>
                    <a:lnTo>
                      <a:pt x="4281" y="3506"/>
                    </a:lnTo>
                    <a:lnTo>
                      <a:pt x="4285" y="3499"/>
                    </a:lnTo>
                    <a:lnTo>
                      <a:pt x="4285" y="3499"/>
                    </a:lnTo>
                    <a:lnTo>
                      <a:pt x="4285" y="3499"/>
                    </a:lnTo>
                    <a:close/>
                    <a:moveTo>
                      <a:pt x="4314" y="3506"/>
                    </a:moveTo>
                    <a:lnTo>
                      <a:pt x="4314" y="3518"/>
                    </a:lnTo>
                    <a:lnTo>
                      <a:pt x="4314" y="3522"/>
                    </a:lnTo>
                    <a:lnTo>
                      <a:pt x="4314" y="3506"/>
                    </a:lnTo>
                    <a:lnTo>
                      <a:pt x="4314" y="3506"/>
                    </a:lnTo>
                    <a:lnTo>
                      <a:pt x="4314" y="3506"/>
                    </a:lnTo>
                    <a:close/>
                    <a:moveTo>
                      <a:pt x="5599" y="3522"/>
                    </a:moveTo>
                    <a:lnTo>
                      <a:pt x="5599" y="3518"/>
                    </a:lnTo>
                    <a:lnTo>
                      <a:pt x="5608" y="3518"/>
                    </a:lnTo>
                    <a:lnTo>
                      <a:pt x="5599" y="3522"/>
                    </a:lnTo>
                    <a:lnTo>
                      <a:pt x="5599" y="3522"/>
                    </a:lnTo>
                    <a:lnTo>
                      <a:pt x="5599" y="3522"/>
                    </a:lnTo>
                    <a:close/>
                    <a:moveTo>
                      <a:pt x="4335" y="3518"/>
                    </a:moveTo>
                    <a:lnTo>
                      <a:pt x="4340" y="3522"/>
                    </a:lnTo>
                    <a:lnTo>
                      <a:pt x="4323" y="3522"/>
                    </a:lnTo>
                    <a:lnTo>
                      <a:pt x="4335" y="3518"/>
                    </a:lnTo>
                    <a:lnTo>
                      <a:pt x="4335" y="3518"/>
                    </a:lnTo>
                    <a:lnTo>
                      <a:pt x="4335" y="3518"/>
                    </a:lnTo>
                    <a:close/>
                    <a:moveTo>
                      <a:pt x="4297" y="3610"/>
                    </a:moveTo>
                    <a:lnTo>
                      <a:pt x="4314" y="3572"/>
                    </a:lnTo>
                    <a:lnTo>
                      <a:pt x="4285" y="3600"/>
                    </a:lnTo>
                    <a:lnTo>
                      <a:pt x="4281" y="3593"/>
                    </a:lnTo>
                    <a:lnTo>
                      <a:pt x="4281" y="3584"/>
                    </a:lnTo>
                    <a:lnTo>
                      <a:pt x="4302" y="3560"/>
                    </a:lnTo>
                    <a:lnTo>
                      <a:pt x="4318" y="3527"/>
                    </a:lnTo>
                    <a:lnTo>
                      <a:pt x="4318" y="3539"/>
                    </a:lnTo>
                    <a:lnTo>
                      <a:pt x="4314" y="3572"/>
                    </a:lnTo>
                    <a:lnTo>
                      <a:pt x="4318" y="3560"/>
                    </a:lnTo>
                    <a:lnTo>
                      <a:pt x="4323" y="3527"/>
                    </a:lnTo>
                    <a:lnTo>
                      <a:pt x="4352" y="3539"/>
                    </a:lnTo>
                    <a:lnTo>
                      <a:pt x="4335" y="3593"/>
                    </a:lnTo>
                    <a:lnTo>
                      <a:pt x="4352" y="3544"/>
                    </a:lnTo>
                    <a:lnTo>
                      <a:pt x="4323" y="3600"/>
                    </a:lnTo>
                    <a:lnTo>
                      <a:pt x="4335" y="3560"/>
                    </a:lnTo>
                    <a:lnTo>
                      <a:pt x="4318" y="3600"/>
                    </a:lnTo>
                    <a:lnTo>
                      <a:pt x="4297" y="3610"/>
                    </a:lnTo>
                    <a:lnTo>
                      <a:pt x="4297" y="3610"/>
                    </a:lnTo>
                    <a:lnTo>
                      <a:pt x="4297" y="3610"/>
                    </a:lnTo>
                    <a:close/>
                    <a:moveTo>
                      <a:pt x="5570" y="3527"/>
                    </a:moveTo>
                    <a:lnTo>
                      <a:pt x="5599" y="3539"/>
                    </a:lnTo>
                    <a:lnTo>
                      <a:pt x="5570" y="3539"/>
                    </a:lnTo>
                    <a:lnTo>
                      <a:pt x="5582" y="3539"/>
                    </a:lnTo>
                    <a:lnTo>
                      <a:pt x="5570" y="3527"/>
                    </a:lnTo>
                    <a:lnTo>
                      <a:pt x="5570" y="3527"/>
                    </a:lnTo>
                    <a:lnTo>
                      <a:pt x="5570" y="3527"/>
                    </a:lnTo>
                    <a:close/>
                    <a:moveTo>
                      <a:pt x="4271" y="3572"/>
                    </a:moveTo>
                    <a:lnTo>
                      <a:pt x="4271" y="3555"/>
                    </a:lnTo>
                    <a:lnTo>
                      <a:pt x="4297" y="3544"/>
                    </a:lnTo>
                    <a:lnTo>
                      <a:pt x="4314" y="3527"/>
                    </a:lnTo>
                    <a:lnTo>
                      <a:pt x="4302" y="3555"/>
                    </a:lnTo>
                    <a:lnTo>
                      <a:pt x="4271" y="3572"/>
                    </a:lnTo>
                    <a:lnTo>
                      <a:pt x="4271" y="3572"/>
                    </a:lnTo>
                    <a:lnTo>
                      <a:pt x="4271" y="3572"/>
                    </a:lnTo>
                    <a:close/>
                    <a:moveTo>
                      <a:pt x="4352" y="3572"/>
                    </a:moveTo>
                    <a:lnTo>
                      <a:pt x="4356" y="3544"/>
                    </a:lnTo>
                    <a:lnTo>
                      <a:pt x="4373" y="3539"/>
                    </a:lnTo>
                    <a:lnTo>
                      <a:pt x="4373" y="3572"/>
                    </a:lnTo>
                    <a:lnTo>
                      <a:pt x="4352" y="3572"/>
                    </a:lnTo>
                    <a:lnTo>
                      <a:pt x="4352" y="3572"/>
                    </a:lnTo>
                    <a:lnTo>
                      <a:pt x="4352" y="3572"/>
                    </a:lnTo>
                    <a:close/>
                    <a:moveTo>
                      <a:pt x="5570" y="3544"/>
                    </a:moveTo>
                    <a:lnTo>
                      <a:pt x="5582" y="3555"/>
                    </a:lnTo>
                    <a:lnTo>
                      <a:pt x="5554" y="3544"/>
                    </a:lnTo>
                    <a:lnTo>
                      <a:pt x="5570" y="3544"/>
                    </a:lnTo>
                    <a:lnTo>
                      <a:pt x="5570" y="3544"/>
                    </a:lnTo>
                    <a:lnTo>
                      <a:pt x="5570" y="3544"/>
                    </a:lnTo>
                    <a:close/>
                    <a:moveTo>
                      <a:pt x="5608" y="3572"/>
                    </a:moveTo>
                    <a:lnTo>
                      <a:pt x="5613" y="3584"/>
                    </a:lnTo>
                    <a:lnTo>
                      <a:pt x="5592" y="3577"/>
                    </a:lnTo>
                    <a:lnTo>
                      <a:pt x="5608" y="3572"/>
                    </a:lnTo>
                    <a:lnTo>
                      <a:pt x="5608" y="3572"/>
                    </a:lnTo>
                    <a:lnTo>
                      <a:pt x="5608" y="3572"/>
                    </a:lnTo>
                    <a:close/>
                    <a:moveTo>
                      <a:pt x="4352" y="3577"/>
                    </a:moveTo>
                    <a:lnTo>
                      <a:pt x="4352" y="3584"/>
                    </a:lnTo>
                    <a:lnTo>
                      <a:pt x="4340" y="3610"/>
                    </a:lnTo>
                    <a:lnTo>
                      <a:pt x="4352" y="3577"/>
                    </a:lnTo>
                    <a:lnTo>
                      <a:pt x="4352" y="3577"/>
                    </a:lnTo>
                    <a:lnTo>
                      <a:pt x="4352" y="3577"/>
                    </a:lnTo>
                    <a:close/>
                    <a:moveTo>
                      <a:pt x="5629" y="3593"/>
                    </a:moveTo>
                    <a:lnTo>
                      <a:pt x="5613" y="3600"/>
                    </a:lnTo>
                    <a:lnTo>
                      <a:pt x="5625" y="3593"/>
                    </a:lnTo>
                    <a:lnTo>
                      <a:pt x="5629" y="3593"/>
                    </a:lnTo>
                    <a:lnTo>
                      <a:pt x="5629" y="3593"/>
                    </a:lnTo>
                    <a:lnTo>
                      <a:pt x="5629" y="3593"/>
                    </a:lnTo>
                    <a:close/>
                    <a:moveTo>
                      <a:pt x="5613" y="3593"/>
                    </a:moveTo>
                    <a:lnTo>
                      <a:pt x="5608" y="3600"/>
                    </a:lnTo>
                    <a:lnTo>
                      <a:pt x="5608" y="3593"/>
                    </a:lnTo>
                    <a:lnTo>
                      <a:pt x="5613" y="3593"/>
                    </a:lnTo>
                    <a:lnTo>
                      <a:pt x="5613" y="3593"/>
                    </a:lnTo>
                    <a:lnTo>
                      <a:pt x="5613" y="3593"/>
                    </a:lnTo>
                    <a:close/>
                    <a:moveTo>
                      <a:pt x="763" y="3683"/>
                    </a:moveTo>
                    <a:lnTo>
                      <a:pt x="756" y="3704"/>
                    </a:lnTo>
                    <a:lnTo>
                      <a:pt x="747" y="3711"/>
                    </a:lnTo>
                    <a:lnTo>
                      <a:pt x="740" y="3704"/>
                    </a:lnTo>
                    <a:lnTo>
                      <a:pt x="763" y="3683"/>
                    </a:lnTo>
                    <a:lnTo>
                      <a:pt x="763" y="3683"/>
                    </a:lnTo>
                    <a:lnTo>
                      <a:pt x="763" y="3683"/>
                    </a:lnTo>
                    <a:close/>
                    <a:moveTo>
                      <a:pt x="5826" y="3695"/>
                    </a:moveTo>
                    <a:lnTo>
                      <a:pt x="5826" y="3704"/>
                    </a:lnTo>
                    <a:lnTo>
                      <a:pt x="5830" y="3704"/>
                    </a:lnTo>
                    <a:lnTo>
                      <a:pt x="5814" y="3711"/>
                    </a:lnTo>
                    <a:lnTo>
                      <a:pt x="5809" y="3704"/>
                    </a:lnTo>
                    <a:lnTo>
                      <a:pt x="5826" y="3695"/>
                    </a:lnTo>
                    <a:lnTo>
                      <a:pt x="5826" y="3695"/>
                    </a:lnTo>
                    <a:lnTo>
                      <a:pt x="5826" y="3695"/>
                    </a:lnTo>
                    <a:close/>
                    <a:moveTo>
                      <a:pt x="740" y="3704"/>
                    </a:moveTo>
                    <a:lnTo>
                      <a:pt x="740" y="3711"/>
                    </a:lnTo>
                    <a:lnTo>
                      <a:pt x="735" y="3711"/>
                    </a:lnTo>
                    <a:lnTo>
                      <a:pt x="740" y="3704"/>
                    </a:lnTo>
                    <a:lnTo>
                      <a:pt x="740" y="3704"/>
                    </a:lnTo>
                    <a:lnTo>
                      <a:pt x="740" y="3704"/>
                    </a:lnTo>
                    <a:close/>
                    <a:moveTo>
                      <a:pt x="719" y="3728"/>
                    </a:moveTo>
                    <a:lnTo>
                      <a:pt x="702" y="3744"/>
                    </a:lnTo>
                    <a:lnTo>
                      <a:pt x="709" y="3721"/>
                    </a:lnTo>
                    <a:lnTo>
                      <a:pt x="719" y="3728"/>
                    </a:lnTo>
                    <a:lnTo>
                      <a:pt x="719" y="3728"/>
                    </a:lnTo>
                    <a:lnTo>
                      <a:pt x="719" y="3728"/>
                    </a:lnTo>
                    <a:close/>
                    <a:moveTo>
                      <a:pt x="5868" y="3728"/>
                    </a:moveTo>
                    <a:lnTo>
                      <a:pt x="5878" y="3737"/>
                    </a:lnTo>
                    <a:lnTo>
                      <a:pt x="5868" y="3737"/>
                    </a:lnTo>
                    <a:lnTo>
                      <a:pt x="5868" y="3728"/>
                    </a:lnTo>
                    <a:lnTo>
                      <a:pt x="5868" y="3728"/>
                    </a:lnTo>
                    <a:lnTo>
                      <a:pt x="5868" y="3728"/>
                    </a:lnTo>
                    <a:close/>
                    <a:moveTo>
                      <a:pt x="719" y="3766"/>
                    </a:moveTo>
                    <a:lnTo>
                      <a:pt x="726" y="3777"/>
                    </a:lnTo>
                    <a:lnTo>
                      <a:pt x="719" y="3766"/>
                    </a:lnTo>
                    <a:lnTo>
                      <a:pt x="719" y="3766"/>
                    </a:lnTo>
                    <a:lnTo>
                      <a:pt x="719" y="3766"/>
                    </a:lnTo>
                    <a:close/>
                    <a:moveTo>
                      <a:pt x="756" y="3766"/>
                    </a:moveTo>
                    <a:lnTo>
                      <a:pt x="763" y="3766"/>
                    </a:lnTo>
                    <a:lnTo>
                      <a:pt x="756" y="3777"/>
                    </a:lnTo>
                    <a:lnTo>
                      <a:pt x="756" y="3766"/>
                    </a:lnTo>
                    <a:lnTo>
                      <a:pt x="756" y="3766"/>
                    </a:lnTo>
                    <a:lnTo>
                      <a:pt x="756" y="3766"/>
                    </a:lnTo>
                    <a:close/>
                    <a:moveTo>
                      <a:pt x="563" y="3815"/>
                    </a:moveTo>
                    <a:lnTo>
                      <a:pt x="558" y="3799"/>
                    </a:lnTo>
                    <a:lnTo>
                      <a:pt x="558" y="3782"/>
                    </a:lnTo>
                    <a:lnTo>
                      <a:pt x="558" y="3766"/>
                    </a:lnTo>
                    <a:lnTo>
                      <a:pt x="596" y="3777"/>
                    </a:lnTo>
                    <a:lnTo>
                      <a:pt x="584" y="3794"/>
                    </a:lnTo>
                    <a:lnTo>
                      <a:pt x="600" y="3777"/>
                    </a:lnTo>
                    <a:lnTo>
                      <a:pt x="617" y="3777"/>
                    </a:lnTo>
                    <a:lnTo>
                      <a:pt x="626" y="3799"/>
                    </a:lnTo>
                    <a:lnTo>
                      <a:pt x="584" y="3815"/>
                    </a:lnTo>
                    <a:lnTo>
                      <a:pt x="600" y="3822"/>
                    </a:lnTo>
                    <a:lnTo>
                      <a:pt x="626" y="3815"/>
                    </a:lnTo>
                    <a:lnTo>
                      <a:pt x="626" y="3782"/>
                    </a:lnTo>
                    <a:lnTo>
                      <a:pt x="655" y="3766"/>
                    </a:lnTo>
                    <a:lnTo>
                      <a:pt x="638" y="3822"/>
                    </a:lnTo>
                    <a:lnTo>
                      <a:pt x="638" y="3848"/>
                    </a:lnTo>
                    <a:lnTo>
                      <a:pt x="633" y="3860"/>
                    </a:lnTo>
                    <a:lnTo>
                      <a:pt x="612" y="3860"/>
                    </a:lnTo>
                    <a:lnTo>
                      <a:pt x="626" y="3872"/>
                    </a:lnTo>
                    <a:lnTo>
                      <a:pt x="600" y="3872"/>
                    </a:lnTo>
                    <a:lnTo>
                      <a:pt x="584" y="3855"/>
                    </a:lnTo>
                    <a:lnTo>
                      <a:pt x="596" y="3855"/>
                    </a:lnTo>
                    <a:lnTo>
                      <a:pt x="579" y="3855"/>
                    </a:lnTo>
                    <a:lnTo>
                      <a:pt x="584" y="3848"/>
                    </a:lnTo>
                    <a:lnTo>
                      <a:pt x="600" y="3855"/>
                    </a:lnTo>
                    <a:lnTo>
                      <a:pt x="574" y="3839"/>
                    </a:lnTo>
                    <a:lnTo>
                      <a:pt x="563" y="3822"/>
                    </a:lnTo>
                    <a:lnTo>
                      <a:pt x="574" y="3822"/>
                    </a:lnTo>
                    <a:lnTo>
                      <a:pt x="563" y="3815"/>
                    </a:lnTo>
                    <a:lnTo>
                      <a:pt x="563" y="3815"/>
                    </a:lnTo>
                    <a:lnTo>
                      <a:pt x="563" y="3815"/>
                    </a:lnTo>
                    <a:close/>
                    <a:moveTo>
                      <a:pt x="747" y="3777"/>
                    </a:moveTo>
                    <a:lnTo>
                      <a:pt x="756" y="3794"/>
                    </a:lnTo>
                    <a:lnTo>
                      <a:pt x="747" y="3799"/>
                    </a:lnTo>
                    <a:lnTo>
                      <a:pt x="740" y="3799"/>
                    </a:lnTo>
                    <a:lnTo>
                      <a:pt x="747" y="3782"/>
                    </a:lnTo>
                    <a:lnTo>
                      <a:pt x="735" y="3794"/>
                    </a:lnTo>
                    <a:lnTo>
                      <a:pt x="726" y="3794"/>
                    </a:lnTo>
                    <a:lnTo>
                      <a:pt x="735" y="3799"/>
                    </a:lnTo>
                    <a:lnTo>
                      <a:pt x="726" y="3799"/>
                    </a:lnTo>
                    <a:lnTo>
                      <a:pt x="726" y="3782"/>
                    </a:lnTo>
                    <a:lnTo>
                      <a:pt x="747" y="3777"/>
                    </a:lnTo>
                    <a:lnTo>
                      <a:pt x="747" y="3777"/>
                    </a:lnTo>
                    <a:lnTo>
                      <a:pt x="747" y="3777"/>
                    </a:lnTo>
                    <a:close/>
                    <a:moveTo>
                      <a:pt x="801" y="3860"/>
                    </a:moveTo>
                    <a:lnTo>
                      <a:pt x="789" y="3848"/>
                    </a:lnTo>
                    <a:lnTo>
                      <a:pt x="778" y="3832"/>
                    </a:lnTo>
                    <a:lnTo>
                      <a:pt x="773" y="3822"/>
                    </a:lnTo>
                    <a:lnTo>
                      <a:pt x="778" y="3822"/>
                    </a:lnTo>
                    <a:lnTo>
                      <a:pt x="763" y="3815"/>
                    </a:lnTo>
                    <a:lnTo>
                      <a:pt x="756" y="3799"/>
                    </a:lnTo>
                    <a:lnTo>
                      <a:pt x="773" y="3806"/>
                    </a:lnTo>
                    <a:lnTo>
                      <a:pt x="811" y="3848"/>
                    </a:lnTo>
                    <a:lnTo>
                      <a:pt x="811" y="3860"/>
                    </a:lnTo>
                    <a:lnTo>
                      <a:pt x="801" y="3860"/>
                    </a:lnTo>
                    <a:lnTo>
                      <a:pt x="801" y="3860"/>
                    </a:lnTo>
                    <a:lnTo>
                      <a:pt x="801" y="3860"/>
                    </a:lnTo>
                    <a:close/>
                    <a:moveTo>
                      <a:pt x="756" y="3806"/>
                    </a:moveTo>
                    <a:lnTo>
                      <a:pt x="763" y="3832"/>
                    </a:lnTo>
                    <a:lnTo>
                      <a:pt x="747" y="3815"/>
                    </a:lnTo>
                    <a:lnTo>
                      <a:pt x="756" y="3806"/>
                    </a:lnTo>
                    <a:lnTo>
                      <a:pt x="756" y="3806"/>
                    </a:lnTo>
                    <a:lnTo>
                      <a:pt x="756" y="3806"/>
                    </a:lnTo>
                    <a:close/>
                    <a:moveTo>
                      <a:pt x="853" y="3815"/>
                    </a:moveTo>
                    <a:lnTo>
                      <a:pt x="832" y="3848"/>
                    </a:lnTo>
                    <a:lnTo>
                      <a:pt x="832" y="3822"/>
                    </a:lnTo>
                    <a:lnTo>
                      <a:pt x="853" y="3815"/>
                    </a:lnTo>
                    <a:lnTo>
                      <a:pt x="853" y="3815"/>
                    </a:lnTo>
                    <a:lnTo>
                      <a:pt x="853" y="3815"/>
                    </a:lnTo>
                    <a:close/>
                    <a:moveTo>
                      <a:pt x="747" y="3822"/>
                    </a:moveTo>
                    <a:lnTo>
                      <a:pt x="778" y="3839"/>
                    </a:lnTo>
                    <a:lnTo>
                      <a:pt x="794" y="3860"/>
                    </a:lnTo>
                    <a:lnTo>
                      <a:pt x="778" y="3872"/>
                    </a:lnTo>
                    <a:lnTo>
                      <a:pt x="735" y="3832"/>
                    </a:lnTo>
                    <a:lnTo>
                      <a:pt x="740" y="3822"/>
                    </a:lnTo>
                    <a:lnTo>
                      <a:pt x="747" y="3822"/>
                    </a:lnTo>
                    <a:lnTo>
                      <a:pt x="747" y="3822"/>
                    </a:lnTo>
                    <a:lnTo>
                      <a:pt x="747" y="3822"/>
                    </a:lnTo>
                    <a:close/>
                    <a:moveTo>
                      <a:pt x="844" y="3832"/>
                    </a:moveTo>
                    <a:lnTo>
                      <a:pt x="848" y="3855"/>
                    </a:lnTo>
                    <a:lnTo>
                      <a:pt x="832" y="3855"/>
                    </a:lnTo>
                    <a:lnTo>
                      <a:pt x="844" y="3832"/>
                    </a:lnTo>
                    <a:lnTo>
                      <a:pt x="844" y="3832"/>
                    </a:lnTo>
                    <a:lnTo>
                      <a:pt x="844" y="3832"/>
                    </a:lnTo>
                    <a:close/>
                    <a:moveTo>
                      <a:pt x="5970" y="3839"/>
                    </a:moveTo>
                    <a:lnTo>
                      <a:pt x="5977" y="3839"/>
                    </a:lnTo>
                    <a:lnTo>
                      <a:pt x="5977" y="3848"/>
                    </a:lnTo>
                    <a:lnTo>
                      <a:pt x="5960" y="3839"/>
                    </a:lnTo>
                    <a:lnTo>
                      <a:pt x="5970" y="3839"/>
                    </a:lnTo>
                    <a:lnTo>
                      <a:pt x="5970" y="3839"/>
                    </a:lnTo>
                    <a:lnTo>
                      <a:pt x="5970" y="3839"/>
                    </a:lnTo>
                    <a:close/>
                    <a:moveTo>
                      <a:pt x="815" y="3848"/>
                    </a:moveTo>
                    <a:lnTo>
                      <a:pt x="815" y="3855"/>
                    </a:lnTo>
                    <a:lnTo>
                      <a:pt x="811" y="3848"/>
                    </a:lnTo>
                    <a:lnTo>
                      <a:pt x="815" y="3848"/>
                    </a:lnTo>
                    <a:lnTo>
                      <a:pt x="815" y="3848"/>
                    </a:lnTo>
                    <a:lnTo>
                      <a:pt x="815" y="3848"/>
                    </a:lnTo>
                    <a:close/>
                    <a:moveTo>
                      <a:pt x="4281" y="3848"/>
                    </a:moveTo>
                    <a:lnTo>
                      <a:pt x="4281" y="3855"/>
                    </a:lnTo>
                    <a:lnTo>
                      <a:pt x="4271" y="3855"/>
                    </a:lnTo>
                    <a:lnTo>
                      <a:pt x="4281" y="3848"/>
                    </a:lnTo>
                    <a:lnTo>
                      <a:pt x="4281" y="3848"/>
                    </a:lnTo>
                    <a:lnTo>
                      <a:pt x="4281" y="3848"/>
                    </a:lnTo>
                    <a:close/>
                    <a:moveTo>
                      <a:pt x="827" y="3855"/>
                    </a:moveTo>
                    <a:lnTo>
                      <a:pt x="832" y="3872"/>
                    </a:lnTo>
                    <a:lnTo>
                      <a:pt x="815" y="3872"/>
                    </a:lnTo>
                    <a:lnTo>
                      <a:pt x="827" y="3855"/>
                    </a:lnTo>
                    <a:lnTo>
                      <a:pt x="827" y="3855"/>
                    </a:lnTo>
                    <a:lnTo>
                      <a:pt x="827" y="3855"/>
                    </a:lnTo>
                    <a:close/>
                    <a:moveTo>
                      <a:pt x="832" y="3905"/>
                    </a:moveTo>
                    <a:lnTo>
                      <a:pt x="853" y="3877"/>
                    </a:lnTo>
                    <a:lnTo>
                      <a:pt x="844" y="3872"/>
                    </a:lnTo>
                    <a:lnTo>
                      <a:pt x="853" y="3877"/>
                    </a:lnTo>
                    <a:lnTo>
                      <a:pt x="832" y="3893"/>
                    </a:lnTo>
                    <a:lnTo>
                      <a:pt x="844" y="3855"/>
                    </a:lnTo>
                    <a:lnTo>
                      <a:pt x="870" y="3872"/>
                    </a:lnTo>
                    <a:lnTo>
                      <a:pt x="870" y="3877"/>
                    </a:lnTo>
                    <a:lnTo>
                      <a:pt x="870" y="3917"/>
                    </a:lnTo>
                    <a:lnTo>
                      <a:pt x="865" y="3926"/>
                    </a:lnTo>
                    <a:lnTo>
                      <a:pt x="865" y="3888"/>
                    </a:lnTo>
                    <a:lnTo>
                      <a:pt x="853" y="3917"/>
                    </a:lnTo>
                    <a:lnTo>
                      <a:pt x="844" y="3910"/>
                    </a:lnTo>
                    <a:lnTo>
                      <a:pt x="832" y="3905"/>
                    </a:lnTo>
                    <a:lnTo>
                      <a:pt x="832" y="3905"/>
                    </a:lnTo>
                    <a:lnTo>
                      <a:pt x="832" y="3905"/>
                    </a:lnTo>
                    <a:close/>
                    <a:moveTo>
                      <a:pt x="617" y="3893"/>
                    </a:moveTo>
                    <a:lnTo>
                      <a:pt x="626" y="3888"/>
                    </a:lnTo>
                    <a:lnTo>
                      <a:pt x="600" y="3877"/>
                    </a:lnTo>
                    <a:lnTo>
                      <a:pt x="596" y="3872"/>
                    </a:lnTo>
                    <a:lnTo>
                      <a:pt x="626" y="3872"/>
                    </a:lnTo>
                    <a:lnTo>
                      <a:pt x="650" y="3860"/>
                    </a:lnTo>
                    <a:lnTo>
                      <a:pt x="664" y="3877"/>
                    </a:lnTo>
                    <a:lnTo>
                      <a:pt x="633" y="3877"/>
                    </a:lnTo>
                    <a:lnTo>
                      <a:pt x="655" y="3888"/>
                    </a:lnTo>
                    <a:lnTo>
                      <a:pt x="655" y="3893"/>
                    </a:lnTo>
                    <a:lnTo>
                      <a:pt x="633" y="3893"/>
                    </a:lnTo>
                    <a:lnTo>
                      <a:pt x="638" y="3893"/>
                    </a:lnTo>
                    <a:lnTo>
                      <a:pt x="671" y="3943"/>
                    </a:lnTo>
                    <a:lnTo>
                      <a:pt x="688" y="3943"/>
                    </a:lnTo>
                    <a:lnTo>
                      <a:pt x="681" y="3950"/>
                    </a:lnTo>
                    <a:lnTo>
                      <a:pt x="693" y="3950"/>
                    </a:lnTo>
                    <a:lnTo>
                      <a:pt x="702" y="3966"/>
                    </a:lnTo>
                    <a:lnTo>
                      <a:pt x="688" y="3966"/>
                    </a:lnTo>
                    <a:lnTo>
                      <a:pt x="664" y="3950"/>
                    </a:lnTo>
                    <a:lnTo>
                      <a:pt x="664" y="3943"/>
                    </a:lnTo>
                    <a:lnTo>
                      <a:pt x="626" y="3910"/>
                    </a:lnTo>
                    <a:lnTo>
                      <a:pt x="638" y="3910"/>
                    </a:lnTo>
                    <a:lnTo>
                      <a:pt x="633" y="3905"/>
                    </a:lnTo>
                    <a:lnTo>
                      <a:pt x="626" y="3910"/>
                    </a:lnTo>
                    <a:lnTo>
                      <a:pt x="612" y="3888"/>
                    </a:lnTo>
                    <a:lnTo>
                      <a:pt x="617" y="3893"/>
                    </a:lnTo>
                    <a:lnTo>
                      <a:pt x="617" y="3893"/>
                    </a:lnTo>
                    <a:lnTo>
                      <a:pt x="617" y="3893"/>
                    </a:lnTo>
                    <a:close/>
                    <a:moveTo>
                      <a:pt x="4205" y="3860"/>
                    </a:moveTo>
                    <a:lnTo>
                      <a:pt x="4226" y="3893"/>
                    </a:lnTo>
                    <a:lnTo>
                      <a:pt x="4226" y="3910"/>
                    </a:lnTo>
                    <a:lnTo>
                      <a:pt x="4134" y="3877"/>
                    </a:lnTo>
                    <a:lnTo>
                      <a:pt x="4151" y="3860"/>
                    </a:lnTo>
                    <a:lnTo>
                      <a:pt x="4205" y="3860"/>
                    </a:lnTo>
                    <a:lnTo>
                      <a:pt x="4205" y="3860"/>
                    </a:lnTo>
                    <a:lnTo>
                      <a:pt x="4205" y="3860"/>
                    </a:lnTo>
                    <a:close/>
                    <a:moveTo>
                      <a:pt x="811" y="3860"/>
                    </a:moveTo>
                    <a:lnTo>
                      <a:pt x="827" y="3888"/>
                    </a:lnTo>
                    <a:lnTo>
                      <a:pt x="801" y="3872"/>
                    </a:lnTo>
                    <a:lnTo>
                      <a:pt x="811" y="3860"/>
                    </a:lnTo>
                    <a:lnTo>
                      <a:pt x="811" y="3860"/>
                    </a:lnTo>
                    <a:lnTo>
                      <a:pt x="811" y="3860"/>
                    </a:lnTo>
                    <a:close/>
                    <a:moveTo>
                      <a:pt x="4285" y="3872"/>
                    </a:moveTo>
                    <a:lnTo>
                      <a:pt x="4297" y="3872"/>
                    </a:lnTo>
                    <a:lnTo>
                      <a:pt x="4281" y="3877"/>
                    </a:lnTo>
                    <a:lnTo>
                      <a:pt x="4285" y="3872"/>
                    </a:lnTo>
                    <a:lnTo>
                      <a:pt x="4285" y="3872"/>
                    </a:lnTo>
                    <a:lnTo>
                      <a:pt x="4285" y="3872"/>
                    </a:lnTo>
                    <a:close/>
                    <a:moveTo>
                      <a:pt x="794" y="3872"/>
                    </a:moveTo>
                    <a:lnTo>
                      <a:pt x="801" y="3877"/>
                    </a:lnTo>
                    <a:lnTo>
                      <a:pt x="794" y="3872"/>
                    </a:lnTo>
                    <a:lnTo>
                      <a:pt x="794" y="3872"/>
                    </a:lnTo>
                    <a:lnTo>
                      <a:pt x="794" y="3872"/>
                    </a:lnTo>
                    <a:close/>
                    <a:moveTo>
                      <a:pt x="5977" y="3877"/>
                    </a:moveTo>
                    <a:lnTo>
                      <a:pt x="5970" y="3877"/>
                    </a:lnTo>
                    <a:lnTo>
                      <a:pt x="5977" y="3877"/>
                    </a:lnTo>
                    <a:lnTo>
                      <a:pt x="5977" y="3877"/>
                    </a:lnTo>
                    <a:lnTo>
                      <a:pt x="5977" y="3877"/>
                    </a:lnTo>
                    <a:close/>
                    <a:moveTo>
                      <a:pt x="801" y="3877"/>
                    </a:moveTo>
                    <a:lnTo>
                      <a:pt x="811" y="3877"/>
                    </a:lnTo>
                    <a:lnTo>
                      <a:pt x="794" y="3877"/>
                    </a:lnTo>
                    <a:lnTo>
                      <a:pt x="801" y="3877"/>
                    </a:lnTo>
                    <a:lnTo>
                      <a:pt x="801" y="3877"/>
                    </a:lnTo>
                    <a:lnTo>
                      <a:pt x="801" y="3877"/>
                    </a:lnTo>
                    <a:close/>
                    <a:moveTo>
                      <a:pt x="801" y="3888"/>
                    </a:moveTo>
                    <a:lnTo>
                      <a:pt x="794" y="3877"/>
                    </a:lnTo>
                    <a:lnTo>
                      <a:pt x="801" y="3888"/>
                    </a:lnTo>
                    <a:lnTo>
                      <a:pt x="801" y="3888"/>
                    </a:lnTo>
                    <a:lnTo>
                      <a:pt x="801" y="3888"/>
                    </a:lnTo>
                    <a:close/>
                    <a:moveTo>
                      <a:pt x="903" y="3905"/>
                    </a:moveTo>
                    <a:lnTo>
                      <a:pt x="898" y="3926"/>
                    </a:lnTo>
                    <a:lnTo>
                      <a:pt x="886" y="3905"/>
                    </a:lnTo>
                    <a:lnTo>
                      <a:pt x="903" y="3905"/>
                    </a:lnTo>
                    <a:lnTo>
                      <a:pt x="903" y="3905"/>
                    </a:lnTo>
                    <a:lnTo>
                      <a:pt x="903" y="3905"/>
                    </a:lnTo>
                    <a:close/>
                    <a:moveTo>
                      <a:pt x="827" y="3905"/>
                    </a:moveTo>
                    <a:lnTo>
                      <a:pt x="848" y="3917"/>
                    </a:lnTo>
                    <a:lnTo>
                      <a:pt x="848" y="3933"/>
                    </a:lnTo>
                    <a:lnTo>
                      <a:pt x="827" y="3910"/>
                    </a:lnTo>
                    <a:lnTo>
                      <a:pt x="827" y="3905"/>
                    </a:lnTo>
                    <a:lnTo>
                      <a:pt x="827" y="3905"/>
                    </a:lnTo>
                    <a:lnTo>
                      <a:pt x="827" y="3905"/>
                    </a:lnTo>
                    <a:close/>
                    <a:moveTo>
                      <a:pt x="886" y="3905"/>
                    </a:moveTo>
                    <a:lnTo>
                      <a:pt x="898" y="3933"/>
                    </a:lnTo>
                    <a:lnTo>
                      <a:pt x="882" y="3943"/>
                    </a:lnTo>
                    <a:lnTo>
                      <a:pt x="882" y="3910"/>
                    </a:lnTo>
                    <a:lnTo>
                      <a:pt x="886" y="3905"/>
                    </a:lnTo>
                    <a:lnTo>
                      <a:pt x="886" y="3905"/>
                    </a:lnTo>
                    <a:lnTo>
                      <a:pt x="886" y="3905"/>
                    </a:lnTo>
                    <a:close/>
                    <a:moveTo>
                      <a:pt x="671" y="3910"/>
                    </a:moveTo>
                    <a:lnTo>
                      <a:pt x="671" y="3917"/>
                    </a:lnTo>
                    <a:lnTo>
                      <a:pt x="664" y="3926"/>
                    </a:lnTo>
                    <a:lnTo>
                      <a:pt x="655" y="3910"/>
                    </a:lnTo>
                    <a:lnTo>
                      <a:pt x="671" y="3910"/>
                    </a:lnTo>
                    <a:lnTo>
                      <a:pt x="671" y="3910"/>
                    </a:lnTo>
                    <a:lnTo>
                      <a:pt x="671" y="3910"/>
                    </a:lnTo>
                    <a:close/>
                    <a:moveTo>
                      <a:pt x="870" y="3917"/>
                    </a:moveTo>
                    <a:lnTo>
                      <a:pt x="882" y="3943"/>
                    </a:lnTo>
                    <a:lnTo>
                      <a:pt x="853" y="3926"/>
                    </a:lnTo>
                    <a:lnTo>
                      <a:pt x="870" y="3917"/>
                    </a:lnTo>
                    <a:lnTo>
                      <a:pt x="870" y="3917"/>
                    </a:lnTo>
                    <a:lnTo>
                      <a:pt x="870" y="3917"/>
                    </a:lnTo>
                    <a:close/>
                    <a:moveTo>
                      <a:pt x="870" y="3933"/>
                    </a:moveTo>
                    <a:lnTo>
                      <a:pt x="865" y="3959"/>
                    </a:lnTo>
                    <a:lnTo>
                      <a:pt x="853" y="3933"/>
                    </a:lnTo>
                    <a:lnTo>
                      <a:pt x="870" y="3933"/>
                    </a:lnTo>
                    <a:lnTo>
                      <a:pt x="870" y="3933"/>
                    </a:lnTo>
                    <a:lnTo>
                      <a:pt x="870" y="3933"/>
                    </a:lnTo>
                    <a:close/>
                    <a:moveTo>
                      <a:pt x="941" y="3966"/>
                    </a:moveTo>
                    <a:lnTo>
                      <a:pt x="936" y="3983"/>
                    </a:lnTo>
                    <a:lnTo>
                      <a:pt x="919" y="3983"/>
                    </a:lnTo>
                    <a:lnTo>
                      <a:pt x="924" y="3959"/>
                    </a:lnTo>
                    <a:lnTo>
                      <a:pt x="962" y="3943"/>
                    </a:lnTo>
                    <a:lnTo>
                      <a:pt x="962" y="3950"/>
                    </a:lnTo>
                    <a:lnTo>
                      <a:pt x="941" y="3966"/>
                    </a:lnTo>
                    <a:lnTo>
                      <a:pt x="941" y="3966"/>
                    </a:lnTo>
                    <a:lnTo>
                      <a:pt x="941" y="3966"/>
                    </a:lnTo>
                    <a:close/>
                    <a:moveTo>
                      <a:pt x="903" y="3943"/>
                    </a:moveTo>
                    <a:lnTo>
                      <a:pt x="908" y="3950"/>
                    </a:lnTo>
                    <a:lnTo>
                      <a:pt x="898" y="3950"/>
                    </a:lnTo>
                    <a:lnTo>
                      <a:pt x="903" y="3943"/>
                    </a:lnTo>
                    <a:lnTo>
                      <a:pt x="903" y="3943"/>
                    </a:lnTo>
                    <a:lnTo>
                      <a:pt x="903" y="3943"/>
                    </a:lnTo>
                    <a:close/>
                    <a:moveTo>
                      <a:pt x="919" y="3950"/>
                    </a:moveTo>
                    <a:lnTo>
                      <a:pt x="919" y="3966"/>
                    </a:lnTo>
                    <a:lnTo>
                      <a:pt x="903" y="3959"/>
                    </a:lnTo>
                    <a:lnTo>
                      <a:pt x="919" y="3950"/>
                    </a:lnTo>
                    <a:lnTo>
                      <a:pt x="919" y="3950"/>
                    </a:lnTo>
                    <a:lnTo>
                      <a:pt x="919" y="3950"/>
                    </a:lnTo>
                    <a:close/>
                    <a:moveTo>
                      <a:pt x="898" y="3966"/>
                    </a:moveTo>
                    <a:lnTo>
                      <a:pt x="886" y="3959"/>
                    </a:lnTo>
                    <a:lnTo>
                      <a:pt x="898" y="3959"/>
                    </a:lnTo>
                    <a:lnTo>
                      <a:pt x="898" y="3966"/>
                    </a:lnTo>
                    <a:lnTo>
                      <a:pt x="898" y="3966"/>
                    </a:lnTo>
                    <a:lnTo>
                      <a:pt x="898" y="3966"/>
                    </a:lnTo>
                    <a:close/>
                    <a:moveTo>
                      <a:pt x="886" y="3959"/>
                    </a:moveTo>
                    <a:lnTo>
                      <a:pt x="882" y="3966"/>
                    </a:lnTo>
                    <a:lnTo>
                      <a:pt x="886" y="3959"/>
                    </a:lnTo>
                    <a:lnTo>
                      <a:pt x="886" y="3959"/>
                    </a:lnTo>
                    <a:lnTo>
                      <a:pt x="886" y="3959"/>
                    </a:lnTo>
                    <a:close/>
                    <a:moveTo>
                      <a:pt x="903" y="3966"/>
                    </a:moveTo>
                    <a:lnTo>
                      <a:pt x="898" y="3983"/>
                    </a:lnTo>
                    <a:lnTo>
                      <a:pt x="898" y="3966"/>
                    </a:lnTo>
                    <a:lnTo>
                      <a:pt x="903" y="3966"/>
                    </a:lnTo>
                    <a:lnTo>
                      <a:pt x="903" y="3966"/>
                    </a:lnTo>
                    <a:lnTo>
                      <a:pt x="903" y="3966"/>
                    </a:lnTo>
                    <a:close/>
                    <a:moveTo>
                      <a:pt x="908" y="3966"/>
                    </a:moveTo>
                    <a:lnTo>
                      <a:pt x="919" y="3966"/>
                    </a:lnTo>
                    <a:lnTo>
                      <a:pt x="919" y="3971"/>
                    </a:lnTo>
                    <a:lnTo>
                      <a:pt x="903" y="3971"/>
                    </a:lnTo>
                    <a:lnTo>
                      <a:pt x="908" y="3966"/>
                    </a:lnTo>
                    <a:lnTo>
                      <a:pt x="908" y="3966"/>
                    </a:lnTo>
                    <a:lnTo>
                      <a:pt x="908" y="3966"/>
                    </a:lnTo>
                    <a:close/>
                    <a:moveTo>
                      <a:pt x="693" y="3966"/>
                    </a:moveTo>
                    <a:lnTo>
                      <a:pt x="702" y="3971"/>
                    </a:lnTo>
                    <a:lnTo>
                      <a:pt x="702" y="3988"/>
                    </a:lnTo>
                    <a:lnTo>
                      <a:pt x="693" y="3971"/>
                    </a:lnTo>
                    <a:lnTo>
                      <a:pt x="693" y="3966"/>
                    </a:lnTo>
                    <a:lnTo>
                      <a:pt x="693" y="3966"/>
                    </a:lnTo>
                    <a:lnTo>
                      <a:pt x="693" y="3966"/>
                    </a:lnTo>
                    <a:close/>
                    <a:moveTo>
                      <a:pt x="4323" y="3971"/>
                    </a:moveTo>
                    <a:lnTo>
                      <a:pt x="4318" y="3988"/>
                    </a:lnTo>
                    <a:lnTo>
                      <a:pt x="4302" y="3988"/>
                    </a:lnTo>
                    <a:lnTo>
                      <a:pt x="4302" y="3983"/>
                    </a:lnTo>
                    <a:lnTo>
                      <a:pt x="4323" y="3971"/>
                    </a:lnTo>
                    <a:lnTo>
                      <a:pt x="4323" y="3971"/>
                    </a:lnTo>
                    <a:lnTo>
                      <a:pt x="4323" y="3971"/>
                    </a:lnTo>
                    <a:close/>
                    <a:moveTo>
                      <a:pt x="919" y="3971"/>
                    </a:moveTo>
                    <a:lnTo>
                      <a:pt x="908" y="4004"/>
                    </a:lnTo>
                    <a:lnTo>
                      <a:pt x="903" y="4004"/>
                    </a:lnTo>
                    <a:lnTo>
                      <a:pt x="898" y="4000"/>
                    </a:lnTo>
                    <a:lnTo>
                      <a:pt x="903" y="3971"/>
                    </a:lnTo>
                    <a:lnTo>
                      <a:pt x="919" y="3971"/>
                    </a:lnTo>
                    <a:lnTo>
                      <a:pt x="919" y="3971"/>
                    </a:lnTo>
                    <a:lnTo>
                      <a:pt x="919" y="3971"/>
                    </a:lnTo>
                    <a:close/>
                    <a:moveTo>
                      <a:pt x="908" y="4004"/>
                    </a:moveTo>
                    <a:lnTo>
                      <a:pt x="919" y="4037"/>
                    </a:lnTo>
                    <a:lnTo>
                      <a:pt x="903" y="4021"/>
                    </a:lnTo>
                    <a:lnTo>
                      <a:pt x="908" y="4004"/>
                    </a:lnTo>
                    <a:lnTo>
                      <a:pt x="908" y="4004"/>
                    </a:lnTo>
                    <a:lnTo>
                      <a:pt x="908" y="4004"/>
                    </a:lnTo>
                    <a:close/>
                    <a:moveTo>
                      <a:pt x="6116" y="4316"/>
                    </a:moveTo>
                    <a:lnTo>
                      <a:pt x="6133" y="4304"/>
                    </a:lnTo>
                    <a:lnTo>
                      <a:pt x="6133" y="4316"/>
                    </a:lnTo>
                    <a:lnTo>
                      <a:pt x="6137" y="4297"/>
                    </a:lnTo>
                    <a:lnTo>
                      <a:pt x="6154" y="4304"/>
                    </a:lnTo>
                    <a:lnTo>
                      <a:pt x="6170" y="4292"/>
                    </a:lnTo>
                    <a:lnTo>
                      <a:pt x="6170" y="4297"/>
                    </a:lnTo>
                    <a:lnTo>
                      <a:pt x="6154" y="4321"/>
                    </a:lnTo>
                    <a:lnTo>
                      <a:pt x="6149" y="4321"/>
                    </a:lnTo>
                    <a:lnTo>
                      <a:pt x="6121" y="4337"/>
                    </a:lnTo>
                    <a:lnTo>
                      <a:pt x="6111" y="4337"/>
                    </a:lnTo>
                    <a:lnTo>
                      <a:pt x="6111" y="4349"/>
                    </a:lnTo>
                    <a:lnTo>
                      <a:pt x="6121" y="4354"/>
                    </a:lnTo>
                    <a:lnTo>
                      <a:pt x="6111" y="4354"/>
                    </a:lnTo>
                    <a:lnTo>
                      <a:pt x="6133" y="4354"/>
                    </a:lnTo>
                    <a:lnTo>
                      <a:pt x="6111" y="4375"/>
                    </a:lnTo>
                    <a:lnTo>
                      <a:pt x="6116" y="4392"/>
                    </a:lnTo>
                    <a:lnTo>
                      <a:pt x="6133" y="4403"/>
                    </a:lnTo>
                    <a:lnTo>
                      <a:pt x="6137" y="4375"/>
                    </a:lnTo>
                    <a:lnTo>
                      <a:pt x="6154" y="4354"/>
                    </a:lnTo>
                    <a:lnTo>
                      <a:pt x="6170" y="4354"/>
                    </a:lnTo>
                    <a:lnTo>
                      <a:pt x="6175" y="4337"/>
                    </a:lnTo>
                    <a:lnTo>
                      <a:pt x="6187" y="4349"/>
                    </a:lnTo>
                    <a:lnTo>
                      <a:pt x="6175" y="4354"/>
                    </a:lnTo>
                    <a:lnTo>
                      <a:pt x="6154" y="4392"/>
                    </a:lnTo>
                    <a:lnTo>
                      <a:pt x="6163" y="4408"/>
                    </a:lnTo>
                    <a:lnTo>
                      <a:pt x="6175" y="4392"/>
                    </a:lnTo>
                    <a:lnTo>
                      <a:pt x="6187" y="4375"/>
                    </a:lnTo>
                    <a:lnTo>
                      <a:pt x="6201" y="4403"/>
                    </a:lnTo>
                    <a:lnTo>
                      <a:pt x="6187" y="4415"/>
                    </a:lnTo>
                    <a:lnTo>
                      <a:pt x="6175" y="4465"/>
                    </a:lnTo>
                    <a:lnTo>
                      <a:pt x="6163" y="4481"/>
                    </a:lnTo>
                    <a:lnTo>
                      <a:pt x="6149" y="4470"/>
                    </a:lnTo>
                    <a:lnTo>
                      <a:pt x="6133" y="4481"/>
                    </a:lnTo>
                    <a:lnTo>
                      <a:pt x="6133" y="4432"/>
                    </a:lnTo>
                    <a:lnTo>
                      <a:pt x="6100" y="4465"/>
                    </a:lnTo>
                    <a:lnTo>
                      <a:pt x="6083" y="4465"/>
                    </a:lnTo>
                    <a:lnTo>
                      <a:pt x="6095" y="4448"/>
                    </a:lnTo>
                    <a:lnTo>
                      <a:pt x="6111" y="4408"/>
                    </a:lnTo>
                    <a:lnTo>
                      <a:pt x="6100" y="4375"/>
                    </a:lnTo>
                    <a:lnTo>
                      <a:pt x="6083" y="4370"/>
                    </a:lnTo>
                    <a:lnTo>
                      <a:pt x="6066" y="4408"/>
                    </a:lnTo>
                    <a:lnTo>
                      <a:pt x="6057" y="4415"/>
                    </a:lnTo>
                    <a:lnTo>
                      <a:pt x="6066" y="4392"/>
                    </a:lnTo>
                    <a:lnTo>
                      <a:pt x="6057" y="4408"/>
                    </a:lnTo>
                    <a:lnTo>
                      <a:pt x="6041" y="4408"/>
                    </a:lnTo>
                    <a:lnTo>
                      <a:pt x="6015" y="4460"/>
                    </a:lnTo>
                    <a:lnTo>
                      <a:pt x="5986" y="4465"/>
                    </a:lnTo>
                    <a:lnTo>
                      <a:pt x="5960" y="4448"/>
                    </a:lnTo>
                    <a:lnTo>
                      <a:pt x="5970" y="4441"/>
                    </a:lnTo>
                    <a:lnTo>
                      <a:pt x="6003" y="4432"/>
                    </a:lnTo>
                    <a:lnTo>
                      <a:pt x="6015" y="4408"/>
                    </a:lnTo>
                    <a:lnTo>
                      <a:pt x="6041" y="4392"/>
                    </a:lnTo>
                    <a:lnTo>
                      <a:pt x="6029" y="4392"/>
                    </a:lnTo>
                    <a:lnTo>
                      <a:pt x="6041" y="4375"/>
                    </a:lnTo>
                    <a:lnTo>
                      <a:pt x="6024" y="4392"/>
                    </a:lnTo>
                    <a:lnTo>
                      <a:pt x="6003" y="4387"/>
                    </a:lnTo>
                    <a:lnTo>
                      <a:pt x="6003" y="4403"/>
                    </a:lnTo>
                    <a:lnTo>
                      <a:pt x="5991" y="4408"/>
                    </a:lnTo>
                    <a:lnTo>
                      <a:pt x="5986" y="4403"/>
                    </a:lnTo>
                    <a:lnTo>
                      <a:pt x="5970" y="4408"/>
                    </a:lnTo>
                    <a:lnTo>
                      <a:pt x="5977" y="4392"/>
                    </a:lnTo>
                    <a:lnTo>
                      <a:pt x="5948" y="4403"/>
                    </a:lnTo>
                    <a:lnTo>
                      <a:pt x="5986" y="4387"/>
                    </a:lnTo>
                    <a:lnTo>
                      <a:pt x="5970" y="4387"/>
                    </a:lnTo>
                    <a:lnTo>
                      <a:pt x="5977" y="4359"/>
                    </a:lnTo>
                    <a:lnTo>
                      <a:pt x="5970" y="4375"/>
                    </a:lnTo>
                    <a:lnTo>
                      <a:pt x="5953" y="4387"/>
                    </a:lnTo>
                    <a:lnTo>
                      <a:pt x="5953" y="4375"/>
                    </a:lnTo>
                    <a:lnTo>
                      <a:pt x="5948" y="4392"/>
                    </a:lnTo>
                    <a:lnTo>
                      <a:pt x="5901" y="4403"/>
                    </a:lnTo>
                    <a:lnTo>
                      <a:pt x="5814" y="4387"/>
                    </a:lnTo>
                    <a:lnTo>
                      <a:pt x="5738" y="4392"/>
                    </a:lnTo>
                    <a:lnTo>
                      <a:pt x="5733" y="4392"/>
                    </a:lnTo>
                    <a:lnTo>
                      <a:pt x="5722" y="4370"/>
                    </a:lnTo>
                    <a:lnTo>
                      <a:pt x="5792" y="4316"/>
                    </a:lnTo>
                    <a:lnTo>
                      <a:pt x="5776" y="4304"/>
                    </a:lnTo>
                    <a:lnTo>
                      <a:pt x="5733" y="4316"/>
                    </a:lnTo>
                    <a:lnTo>
                      <a:pt x="5771" y="4281"/>
                    </a:lnTo>
                    <a:lnTo>
                      <a:pt x="5755" y="4297"/>
                    </a:lnTo>
                    <a:lnTo>
                      <a:pt x="5771" y="4304"/>
                    </a:lnTo>
                    <a:lnTo>
                      <a:pt x="5792" y="4248"/>
                    </a:lnTo>
                    <a:lnTo>
                      <a:pt x="5792" y="4259"/>
                    </a:lnTo>
                    <a:lnTo>
                      <a:pt x="5830" y="4264"/>
                    </a:lnTo>
                    <a:lnTo>
                      <a:pt x="5814" y="4264"/>
                    </a:lnTo>
                    <a:lnTo>
                      <a:pt x="5809" y="4248"/>
                    </a:lnTo>
                    <a:lnTo>
                      <a:pt x="5826" y="4248"/>
                    </a:lnTo>
                    <a:lnTo>
                      <a:pt x="5830" y="4248"/>
                    </a:lnTo>
                    <a:lnTo>
                      <a:pt x="5814" y="4248"/>
                    </a:lnTo>
                    <a:lnTo>
                      <a:pt x="5826" y="4243"/>
                    </a:lnTo>
                    <a:lnTo>
                      <a:pt x="5809" y="4243"/>
                    </a:lnTo>
                    <a:lnTo>
                      <a:pt x="5809" y="4226"/>
                    </a:lnTo>
                    <a:lnTo>
                      <a:pt x="5826" y="4210"/>
                    </a:lnTo>
                    <a:lnTo>
                      <a:pt x="5840" y="4222"/>
                    </a:lnTo>
                    <a:lnTo>
                      <a:pt x="5830" y="4210"/>
                    </a:lnTo>
                    <a:lnTo>
                      <a:pt x="5826" y="4205"/>
                    </a:lnTo>
                    <a:lnTo>
                      <a:pt x="5863" y="4115"/>
                    </a:lnTo>
                    <a:lnTo>
                      <a:pt x="5878" y="4111"/>
                    </a:lnTo>
                    <a:lnTo>
                      <a:pt x="5863" y="4111"/>
                    </a:lnTo>
                    <a:lnTo>
                      <a:pt x="5894" y="4082"/>
                    </a:lnTo>
                    <a:lnTo>
                      <a:pt x="5901" y="4077"/>
                    </a:lnTo>
                    <a:lnTo>
                      <a:pt x="5894" y="4070"/>
                    </a:lnTo>
                    <a:lnTo>
                      <a:pt x="5906" y="4061"/>
                    </a:lnTo>
                    <a:lnTo>
                      <a:pt x="5906" y="4054"/>
                    </a:lnTo>
                    <a:lnTo>
                      <a:pt x="5915" y="4044"/>
                    </a:lnTo>
                    <a:lnTo>
                      <a:pt x="5970" y="4016"/>
                    </a:lnTo>
                    <a:lnTo>
                      <a:pt x="5970" y="4025"/>
                    </a:lnTo>
                    <a:lnTo>
                      <a:pt x="5986" y="4025"/>
                    </a:lnTo>
                    <a:lnTo>
                      <a:pt x="5977" y="4021"/>
                    </a:lnTo>
                    <a:lnTo>
                      <a:pt x="6003" y="4021"/>
                    </a:lnTo>
                    <a:lnTo>
                      <a:pt x="5991" y="4044"/>
                    </a:lnTo>
                    <a:lnTo>
                      <a:pt x="5953" y="4044"/>
                    </a:lnTo>
                    <a:lnTo>
                      <a:pt x="5960" y="4061"/>
                    </a:lnTo>
                    <a:lnTo>
                      <a:pt x="5977" y="4054"/>
                    </a:lnTo>
                    <a:lnTo>
                      <a:pt x="5977" y="4070"/>
                    </a:lnTo>
                    <a:lnTo>
                      <a:pt x="5953" y="4099"/>
                    </a:lnTo>
                    <a:lnTo>
                      <a:pt x="5953" y="4082"/>
                    </a:lnTo>
                    <a:lnTo>
                      <a:pt x="5948" y="4115"/>
                    </a:lnTo>
                    <a:lnTo>
                      <a:pt x="5906" y="4170"/>
                    </a:lnTo>
                    <a:lnTo>
                      <a:pt x="5906" y="4188"/>
                    </a:lnTo>
                    <a:lnTo>
                      <a:pt x="5901" y="4193"/>
                    </a:lnTo>
                    <a:lnTo>
                      <a:pt x="5906" y="4193"/>
                    </a:lnTo>
                    <a:lnTo>
                      <a:pt x="5901" y="4210"/>
                    </a:lnTo>
                    <a:lnTo>
                      <a:pt x="5953" y="4153"/>
                    </a:lnTo>
                    <a:lnTo>
                      <a:pt x="5977" y="4181"/>
                    </a:lnTo>
                    <a:lnTo>
                      <a:pt x="6003" y="4170"/>
                    </a:lnTo>
                    <a:lnTo>
                      <a:pt x="6003" y="4181"/>
                    </a:lnTo>
                    <a:lnTo>
                      <a:pt x="5953" y="4205"/>
                    </a:lnTo>
                    <a:lnTo>
                      <a:pt x="5970" y="4205"/>
                    </a:lnTo>
                    <a:lnTo>
                      <a:pt x="5953" y="4226"/>
                    </a:lnTo>
                    <a:lnTo>
                      <a:pt x="5970" y="4222"/>
                    </a:lnTo>
                    <a:lnTo>
                      <a:pt x="5986" y="4226"/>
                    </a:lnTo>
                    <a:lnTo>
                      <a:pt x="5991" y="4222"/>
                    </a:lnTo>
                    <a:lnTo>
                      <a:pt x="5991" y="4226"/>
                    </a:lnTo>
                    <a:lnTo>
                      <a:pt x="6007" y="4222"/>
                    </a:lnTo>
                    <a:lnTo>
                      <a:pt x="6007" y="4238"/>
                    </a:lnTo>
                    <a:lnTo>
                      <a:pt x="6007" y="4210"/>
                    </a:lnTo>
                    <a:lnTo>
                      <a:pt x="6024" y="4210"/>
                    </a:lnTo>
                    <a:lnTo>
                      <a:pt x="6007" y="4259"/>
                    </a:lnTo>
                    <a:lnTo>
                      <a:pt x="6024" y="4226"/>
                    </a:lnTo>
                    <a:lnTo>
                      <a:pt x="6045" y="4243"/>
                    </a:lnTo>
                    <a:lnTo>
                      <a:pt x="6062" y="4210"/>
                    </a:lnTo>
                    <a:lnTo>
                      <a:pt x="6066" y="4222"/>
                    </a:lnTo>
                    <a:lnTo>
                      <a:pt x="6066" y="4243"/>
                    </a:lnTo>
                    <a:lnTo>
                      <a:pt x="6078" y="4226"/>
                    </a:lnTo>
                    <a:lnTo>
                      <a:pt x="6083" y="4226"/>
                    </a:lnTo>
                    <a:lnTo>
                      <a:pt x="6100" y="4222"/>
                    </a:lnTo>
                    <a:lnTo>
                      <a:pt x="6116" y="4226"/>
                    </a:lnTo>
                    <a:lnTo>
                      <a:pt x="6137" y="4243"/>
                    </a:lnTo>
                    <a:lnTo>
                      <a:pt x="6133" y="4259"/>
                    </a:lnTo>
                    <a:lnTo>
                      <a:pt x="6116" y="4259"/>
                    </a:lnTo>
                    <a:lnTo>
                      <a:pt x="6121" y="4264"/>
                    </a:lnTo>
                    <a:lnTo>
                      <a:pt x="6095" y="4281"/>
                    </a:lnTo>
                    <a:lnTo>
                      <a:pt x="6116" y="4281"/>
                    </a:lnTo>
                    <a:lnTo>
                      <a:pt x="6111" y="4297"/>
                    </a:lnTo>
                    <a:lnTo>
                      <a:pt x="6116" y="4292"/>
                    </a:lnTo>
                    <a:lnTo>
                      <a:pt x="6111" y="4297"/>
                    </a:lnTo>
                    <a:lnTo>
                      <a:pt x="6111" y="4292"/>
                    </a:lnTo>
                    <a:lnTo>
                      <a:pt x="6133" y="4292"/>
                    </a:lnTo>
                    <a:lnTo>
                      <a:pt x="6100" y="4304"/>
                    </a:lnTo>
                    <a:lnTo>
                      <a:pt x="6116" y="4304"/>
                    </a:lnTo>
                    <a:lnTo>
                      <a:pt x="6116" y="4316"/>
                    </a:lnTo>
                    <a:lnTo>
                      <a:pt x="6116" y="4316"/>
                    </a:lnTo>
                    <a:lnTo>
                      <a:pt x="6116" y="4316"/>
                    </a:lnTo>
                    <a:close/>
                    <a:moveTo>
                      <a:pt x="6100" y="4316"/>
                    </a:moveTo>
                    <a:lnTo>
                      <a:pt x="6095" y="4321"/>
                    </a:lnTo>
                    <a:lnTo>
                      <a:pt x="6116" y="4316"/>
                    </a:lnTo>
                    <a:lnTo>
                      <a:pt x="6100" y="4316"/>
                    </a:lnTo>
                    <a:lnTo>
                      <a:pt x="6100" y="4316"/>
                    </a:lnTo>
                    <a:lnTo>
                      <a:pt x="6100" y="4316"/>
                    </a:lnTo>
                    <a:close/>
                    <a:moveTo>
                      <a:pt x="5991" y="4077"/>
                    </a:moveTo>
                    <a:lnTo>
                      <a:pt x="5991" y="4082"/>
                    </a:lnTo>
                    <a:lnTo>
                      <a:pt x="5986" y="4082"/>
                    </a:lnTo>
                    <a:lnTo>
                      <a:pt x="5991" y="4077"/>
                    </a:lnTo>
                    <a:lnTo>
                      <a:pt x="5991" y="4077"/>
                    </a:lnTo>
                    <a:lnTo>
                      <a:pt x="5991" y="4077"/>
                    </a:lnTo>
                    <a:close/>
                    <a:moveTo>
                      <a:pt x="936" y="4082"/>
                    </a:moveTo>
                    <a:lnTo>
                      <a:pt x="936" y="4094"/>
                    </a:lnTo>
                    <a:lnTo>
                      <a:pt x="924" y="4082"/>
                    </a:lnTo>
                    <a:lnTo>
                      <a:pt x="936" y="4082"/>
                    </a:lnTo>
                    <a:lnTo>
                      <a:pt x="936" y="4082"/>
                    </a:lnTo>
                    <a:lnTo>
                      <a:pt x="936" y="4082"/>
                    </a:lnTo>
                    <a:close/>
                    <a:moveTo>
                      <a:pt x="1096" y="4137"/>
                    </a:moveTo>
                    <a:lnTo>
                      <a:pt x="1113" y="4181"/>
                    </a:lnTo>
                    <a:lnTo>
                      <a:pt x="1134" y="4193"/>
                    </a:lnTo>
                    <a:lnTo>
                      <a:pt x="1125" y="4205"/>
                    </a:lnTo>
                    <a:lnTo>
                      <a:pt x="1139" y="4222"/>
                    </a:lnTo>
                    <a:lnTo>
                      <a:pt x="1193" y="4243"/>
                    </a:lnTo>
                    <a:lnTo>
                      <a:pt x="1222" y="4281"/>
                    </a:lnTo>
                    <a:lnTo>
                      <a:pt x="1226" y="4297"/>
                    </a:lnTo>
                    <a:lnTo>
                      <a:pt x="1231" y="4292"/>
                    </a:lnTo>
                    <a:lnTo>
                      <a:pt x="1243" y="4321"/>
                    </a:lnTo>
                    <a:lnTo>
                      <a:pt x="1231" y="4316"/>
                    </a:lnTo>
                    <a:lnTo>
                      <a:pt x="1222" y="4333"/>
                    </a:lnTo>
                    <a:lnTo>
                      <a:pt x="1118" y="4292"/>
                    </a:lnTo>
                    <a:lnTo>
                      <a:pt x="1113" y="4281"/>
                    </a:lnTo>
                    <a:lnTo>
                      <a:pt x="1134" y="4259"/>
                    </a:lnTo>
                    <a:lnTo>
                      <a:pt x="1134" y="4243"/>
                    </a:lnTo>
                    <a:lnTo>
                      <a:pt x="1125" y="4264"/>
                    </a:lnTo>
                    <a:lnTo>
                      <a:pt x="1087" y="4276"/>
                    </a:lnTo>
                    <a:lnTo>
                      <a:pt x="1070" y="4259"/>
                    </a:lnTo>
                    <a:lnTo>
                      <a:pt x="1080" y="4243"/>
                    </a:lnTo>
                    <a:lnTo>
                      <a:pt x="1070" y="4248"/>
                    </a:lnTo>
                    <a:lnTo>
                      <a:pt x="1063" y="4238"/>
                    </a:lnTo>
                    <a:lnTo>
                      <a:pt x="1049" y="4243"/>
                    </a:lnTo>
                    <a:lnTo>
                      <a:pt x="1059" y="4226"/>
                    </a:lnTo>
                    <a:lnTo>
                      <a:pt x="1059" y="4238"/>
                    </a:lnTo>
                    <a:lnTo>
                      <a:pt x="1042" y="4226"/>
                    </a:lnTo>
                    <a:lnTo>
                      <a:pt x="1016" y="4226"/>
                    </a:lnTo>
                    <a:lnTo>
                      <a:pt x="1011" y="4210"/>
                    </a:lnTo>
                    <a:lnTo>
                      <a:pt x="1049" y="4205"/>
                    </a:lnTo>
                    <a:lnTo>
                      <a:pt x="1011" y="4193"/>
                    </a:lnTo>
                    <a:lnTo>
                      <a:pt x="1004" y="4181"/>
                    </a:lnTo>
                    <a:lnTo>
                      <a:pt x="995" y="4181"/>
                    </a:lnTo>
                    <a:lnTo>
                      <a:pt x="974" y="4188"/>
                    </a:lnTo>
                    <a:lnTo>
                      <a:pt x="962" y="4170"/>
                    </a:lnTo>
                    <a:lnTo>
                      <a:pt x="974" y="4165"/>
                    </a:lnTo>
                    <a:lnTo>
                      <a:pt x="957" y="4170"/>
                    </a:lnTo>
                    <a:lnTo>
                      <a:pt x="941" y="4153"/>
                    </a:lnTo>
                    <a:lnTo>
                      <a:pt x="919" y="4165"/>
                    </a:lnTo>
                    <a:lnTo>
                      <a:pt x="924" y="4148"/>
                    </a:lnTo>
                    <a:lnTo>
                      <a:pt x="924" y="4137"/>
                    </a:lnTo>
                    <a:lnTo>
                      <a:pt x="919" y="4137"/>
                    </a:lnTo>
                    <a:lnTo>
                      <a:pt x="919" y="4127"/>
                    </a:lnTo>
                    <a:lnTo>
                      <a:pt x="941" y="4127"/>
                    </a:lnTo>
                    <a:lnTo>
                      <a:pt x="952" y="4132"/>
                    </a:lnTo>
                    <a:lnTo>
                      <a:pt x="941" y="4127"/>
                    </a:lnTo>
                    <a:lnTo>
                      <a:pt x="957" y="4115"/>
                    </a:lnTo>
                    <a:lnTo>
                      <a:pt x="919" y="4111"/>
                    </a:lnTo>
                    <a:lnTo>
                      <a:pt x="941" y="4115"/>
                    </a:lnTo>
                    <a:lnTo>
                      <a:pt x="908" y="4132"/>
                    </a:lnTo>
                    <a:lnTo>
                      <a:pt x="886" y="4115"/>
                    </a:lnTo>
                    <a:lnTo>
                      <a:pt x="886" y="4099"/>
                    </a:lnTo>
                    <a:lnTo>
                      <a:pt x="919" y="4094"/>
                    </a:lnTo>
                    <a:lnTo>
                      <a:pt x="962" y="4111"/>
                    </a:lnTo>
                    <a:lnTo>
                      <a:pt x="1096" y="4137"/>
                    </a:lnTo>
                    <a:lnTo>
                      <a:pt x="1096" y="4137"/>
                    </a:lnTo>
                    <a:lnTo>
                      <a:pt x="1096" y="4137"/>
                    </a:lnTo>
                    <a:close/>
                    <a:moveTo>
                      <a:pt x="995" y="4099"/>
                    </a:moveTo>
                    <a:lnTo>
                      <a:pt x="990" y="4094"/>
                    </a:lnTo>
                    <a:lnTo>
                      <a:pt x="1011" y="4094"/>
                    </a:lnTo>
                    <a:lnTo>
                      <a:pt x="995" y="4099"/>
                    </a:lnTo>
                    <a:lnTo>
                      <a:pt x="995" y="4099"/>
                    </a:lnTo>
                    <a:lnTo>
                      <a:pt x="995" y="4099"/>
                    </a:lnTo>
                    <a:close/>
                    <a:moveTo>
                      <a:pt x="1033" y="4094"/>
                    </a:moveTo>
                    <a:lnTo>
                      <a:pt x="1042" y="4099"/>
                    </a:lnTo>
                    <a:lnTo>
                      <a:pt x="1033" y="4111"/>
                    </a:lnTo>
                    <a:lnTo>
                      <a:pt x="1011" y="4111"/>
                    </a:lnTo>
                    <a:lnTo>
                      <a:pt x="1033" y="4094"/>
                    </a:lnTo>
                    <a:lnTo>
                      <a:pt x="1033" y="4094"/>
                    </a:lnTo>
                    <a:lnTo>
                      <a:pt x="1033" y="4094"/>
                    </a:lnTo>
                    <a:close/>
                    <a:moveTo>
                      <a:pt x="1004" y="4099"/>
                    </a:moveTo>
                    <a:lnTo>
                      <a:pt x="1016" y="4099"/>
                    </a:lnTo>
                    <a:lnTo>
                      <a:pt x="1011" y="4111"/>
                    </a:lnTo>
                    <a:lnTo>
                      <a:pt x="1004" y="4099"/>
                    </a:lnTo>
                    <a:lnTo>
                      <a:pt x="1004" y="4099"/>
                    </a:lnTo>
                    <a:lnTo>
                      <a:pt x="1004" y="4099"/>
                    </a:lnTo>
                    <a:close/>
                    <a:moveTo>
                      <a:pt x="990" y="4115"/>
                    </a:moveTo>
                    <a:lnTo>
                      <a:pt x="974" y="4111"/>
                    </a:lnTo>
                    <a:lnTo>
                      <a:pt x="995" y="4111"/>
                    </a:lnTo>
                    <a:lnTo>
                      <a:pt x="990" y="4115"/>
                    </a:lnTo>
                    <a:lnTo>
                      <a:pt x="990" y="4115"/>
                    </a:lnTo>
                    <a:lnTo>
                      <a:pt x="990" y="4115"/>
                    </a:lnTo>
                    <a:close/>
                    <a:moveTo>
                      <a:pt x="1016" y="4111"/>
                    </a:moveTo>
                    <a:lnTo>
                      <a:pt x="1026" y="4115"/>
                    </a:lnTo>
                    <a:lnTo>
                      <a:pt x="1011" y="4115"/>
                    </a:lnTo>
                    <a:lnTo>
                      <a:pt x="1016" y="4111"/>
                    </a:lnTo>
                    <a:lnTo>
                      <a:pt x="1016" y="4111"/>
                    </a:lnTo>
                    <a:lnTo>
                      <a:pt x="1016" y="4111"/>
                    </a:lnTo>
                    <a:close/>
                    <a:moveTo>
                      <a:pt x="1033" y="4115"/>
                    </a:moveTo>
                    <a:lnTo>
                      <a:pt x="1011" y="4127"/>
                    </a:lnTo>
                    <a:lnTo>
                      <a:pt x="1033" y="4115"/>
                    </a:lnTo>
                    <a:lnTo>
                      <a:pt x="1033" y="4115"/>
                    </a:lnTo>
                    <a:lnTo>
                      <a:pt x="1033" y="4115"/>
                    </a:lnTo>
                    <a:close/>
                    <a:moveTo>
                      <a:pt x="1063" y="4127"/>
                    </a:moveTo>
                    <a:lnTo>
                      <a:pt x="1070" y="4132"/>
                    </a:lnTo>
                    <a:lnTo>
                      <a:pt x="1059" y="4132"/>
                    </a:lnTo>
                    <a:lnTo>
                      <a:pt x="1063" y="4127"/>
                    </a:lnTo>
                    <a:lnTo>
                      <a:pt x="1063" y="4127"/>
                    </a:lnTo>
                    <a:lnTo>
                      <a:pt x="1063" y="4127"/>
                    </a:lnTo>
                    <a:close/>
                    <a:moveTo>
                      <a:pt x="1096" y="4127"/>
                    </a:moveTo>
                    <a:lnTo>
                      <a:pt x="1096" y="4132"/>
                    </a:lnTo>
                    <a:lnTo>
                      <a:pt x="1087" y="4132"/>
                    </a:lnTo>
                    <a:lnTo>
                      <a:pt x="1096" y="4127"/>
                    </a:lnTo>
                    <a:lnTo>
                      <a:pt x="1096" y="4127"/>
                    </a:lnTo>
                    <a:lnTo>
                      <a:pt x="1096" y="4127"/>
                    </a:lnTo>
                    <a:close/>
                    <a:moveTo>
                      <a:pt x="1101" y="4132"/>
                    </a:moveTo>
                    <a:lnTo>
                      <a:pt x="1118" y="4148"/>
                    </a:lnTo>
                    <a:lnTo>
                      <a:pt x="1113" y="4153"/>
                    </a:lnTo>
                    <a:lnTo>
                      <a:pt x="1113" y="4137"/>
                    </a:lnTo>
                    <a:lnTo>
                      <a:pt x="1096" y="4137"/>
                    </a:lnTo>
                    <a:lnTo>
                      <a:pt x="1101" y="4132"/>
                    </a:lnTo>
                    <a:lnTo>
                      <a:pt x="1101" y="4132"/>
                    </a:lnTo>
                    <a:lnTo>
                      <a:pt x="1101" y="4132"/>
                    </a:lnTo>
                    <a:close/>
                    <a:moveTo>
                      <a:pt x="1080" y="4132"/>
                    </a:moveTo>
                    <a:lnTo>
                      <a:pt x="1070" y="4132"/>
                    </a:lnTo>
                    <a:lnTo>
                      <a:pt x="1087" y="4132"/>
                    </a:lnTo>
                    <a:lnTo>
                      <a:pt x="1080" y="4132"/>
                    </a:lnTo>
                    <a:lnTo>
                      <a:pt x="1080" y="4132"/>
                    </a:lnTo>
                    <a:lnTo>
                      <a:pt x="1080" y="4132"/>
                    </a:lnTo>
                    <a:close/>
                    <a:moveTo>
                      <a:pt x="1139" y="4137"/>
                    </a:moveTo>
                    <a:lnTo>
                      <a:pt x="1151" y="4148"/>
                    </a:lnTo>
                    <a:lnTo>
                      <a:pt x="1139" y="4153"/>
                    </a:lnTo>
                    <a:lnTo>
                      <a:pt x="1134" y="4148"/>
                    </a:lnTo>
                    <a:lnTo>
                      <a:pt x="1139" y="4137"/>
                    </a:lnTo>
                    <a:lnTo>
                      <a:pt x="1139" y="4137"/>
                    </a:lnTo>
                    <a:lnTo>
                      <a:pt x="1139" y="4137"/>
                    </a:lnTo>
                    <a:close/>
                    <a:moveTo>
                      <a:pt x="1134" y="4137"/>
                    </a:moveTo>
                    <a:lnTo>
                      <a:pt x="1139" y="4153"/>
                    </a:lnTo>
                    <a:lnTo>
                      <a:pt x="1134" y="4165"/>
                    </a:lnTo>
                    <a:lnTo>
                      <a:pt x="1125" y="4148"/>
                    </a:lnTo>
                    <a:lnTo>
                      <a:pt x="1134" y="4137"/>
                    </a:lnTo>
                    <a:lnTo>
                      <a:pt x="1134" y="4137"/>
                    </a:lnTo>
                    <a:lnTo>
                      <a:pt x="1134" y="4137"/>
                    </a:lnTo>
                    <a:close/>
                    <a:moveTo>
                      <a:pt x="1096" y="4148"/>
                    </a:moveTo>
                    <a:lnTo>
                      <a:pt x="1113" y="4148"/>
                    </a:lnTo>
                    <a:lnTo>
                      <a:pt x="1113" y="4170"/>
                    </a:lnTo>
                    <a:lnTo>
                      <a:pt x="1096" y="4148"/>
                    </a:lnTo>
                    <a:lnTo>
                      <a:pt x="1096" y="4148"/>
                    </a:lnTo>
                    <a:lnTo>
                      <a:pt x="1096" y="4148"/>
                    </a:lnTo>
                    <a:close/>
                    <a:moveTo>
                      <a:pt x="1125" y="4148"/>
                    </a:moveTo>
                    <a:lnTo>
                      <a:pt x="1134" y="4165"/>
                    </a:lnTo>
                    <a:lnTo>
                      <a:pt x="1125" y="4165"/>
                    </a:lnTo>
                    <a:lnTo>
                      <a:pt x="1118" y="4165"/>
                    </a:lnTo>
                    <a:lnTo>
                      <a:pt x="1125" y="4148"/>
                    </a:lnTo>
                    <a:lnTo>
                      <a:pt x="1125" y="4148"/>
                    </a:lnTo>
                    <a:lnTo>
                      <a:pt x="1125" y="4148"/>
                    </a:lnTo>
                    <a:close/>
                    <a:moveTo>
                      <a:pt x="5436" y="4188"/>
                    </a:moveTo>
                    <a:lnTo>
                      <a:pt x="5500" y="4210"/>
                    </a:lnTo>
                    <a:lnTo>
                      <a:pt x="5523" y="4226"/>
                    </a:lnTo>
                    <a:lnTo>
                      <a:pt x="5544" y="4238"/>
                    </a:lnTo>
                    <a:lnTo>
                      <a:pt x="5561" y="4248"/>
                    </a:lnTo>
                    <a:lnTo>
                      <a:pt x="5528" y="4259"/>
                    </a:lnTo>
                    <a:lnTo>
                      <a:pt x="5462" y="4243"/>
                    </a:lnTo>
                    <a:lnTo>
                      <a:pt x="5431" y="4226"/>
                    </a:lnTo>
                    <a:lnTo>
                      <a:pt x="5410" y="4205"/>
                    </a:lnTo>
                    <a:lnTo>
                      <a:pt x="5365" y="4188"/>
                    </a:lnTo>
                    <a:lnTo>
                      <a:pt x="5381" y="4170"/>
                    </a:lnTo>
                    <a:lnTo>
                      <a:pt x="5436" y="4188"/>
                    </a:lnTo>
                    <a:lnTo>
                      <a:pt x="5436" y="4188"/>
                    </a:lnTo>
                    <a:lnTo>
                      <a:pt x="5436" y="4188"/>
                    </a:lnTo>
                    <a:close/>
                    <a:moveTo>
                      <a:pt x="1004" y="4181"/>
                    </a:moveTo>
                    <a:lnTo>
                      <a:pt x="1011" y="4193"/>
                    </a:lnTo>
                    <a:lnTo>
                      <a:pt x="1011" y="4210"/>
                    </a:lnTo>
                    <a:lnTo>
                      <a:pt x="990" y="4193"/>
                    </a:lnTo>
                    <a:lnTo>
                      <a:pt x="990" y="4188"/>
                    </a:lnTo>
                    <a:lnTo>
                      <a:pt x="1004" y="4181"/>
                    </a:lnTo>
                    <a:lnTo>
                      <a:pt x="1004" y="4181"/>
                    </a:lnTo>
                    <a:lnTo>
                      <a:pt x="1004" y="4181"/>
                    </a:lnTo>
                    <a:close/>
                    <a:moveTo>
                      <a:pt x="1189" y="4222"/>
                    </a:moveTo>
                    <a:lnTo>
                      <a:pt x="1151" y="4188"/>
                    </a:lnTo>
                    <a:lnTo>
                      <a:pt x="1172" y="4193"/>
                    </a:lnTo>
                    <a:lnTo>
                      <a:pt x="1189" y="4222"/>
                    </a:lnTo>
                    <a:lnTo>
                      <a:pt x="1189" y="4222"/>
                    </a:lnTo>
                    <a:lnTo>
                      <a:pt x="1189" y="4222"/>
                    </a:lnTo>
                    <a:close/>
                    <a:moveTo>
                      <a:pt x="1193" y="4193"/>
                    </a:moveTo>
                    <a:lnTo>
                      <a:pt x="1189" y="4205"/>
                    </a:lnTo>
                    <a:lnTo>
                      <a:pt x="1177" y="4205"/>
                    </a:lnTo>
                    <a:lnTo>
                      <a:pt x="1193" y="4193"/>
                    </a:lnTo>
                    <a:lnTo>
                      <a:pt x="1193" y="4193"/>
                    </a:lnTo>
                    <a:lnTo>
                      <a:pt x="1193" y="4193"/>
                    </a:lnTo>
                    <a:close/>
                    <a:moveTo>
                      <a:pt x="6095" y="4193"/>
                    </a:moveTo>
                    <a:lnTo>
                      <a:pt x="6100" y="4205"/>
                    </a:lnTo>
                    <a:lnTo>
                      <a:pt x="6078" y="4210"/>
                    </a:lnTo>
                    <a:lnTo>
                      <a:pt x="6078" y="4193"/>
                    </a:lnTo>
                    <a:lnTo>
                      <a:pt x="6095" y="4193"/>
                    </a:lnTo>
                    <a:lnTo>
                      <a:pt x="6095" y="4193"/>
                    </a:lnTo>
                    <a:lnTo>
                      <a:pt x="6095" y="4193"/>
                    </a:lnTo>
                    <a:close/>
                    <a:moveTo>
                      <a:pt x="6062" y="4205"/>
                    </a:moveTo>
                    <a:lnTo>
                      <a:pt x="6041" y="4222"/>
                    </a:lnTo>
                    <a:lnTo>
                      <a:pt x="6041" y="4210"/>
                    </a:lnTo>
                    <a:lnTo>
                      <a:pt x="6045" y="4210"/>
                    </a:lnTo>
                    <a:lnTo>
                      <a:pt x="6062" y="4205"/>
                    </a:lnTo>
                    <a:lnTo>
                      <a:pt x="6062" y="4205"/>
                    </a:lnTo>
                    <a:lnTo>
                      <a:pt x="6062" y="4205"/>
                    </a:lnTo>
                    <a:close/>
                    <a:moveTo>
                      <a:pt x="5986" y="4205"/>
                    </a:moveTo>
                    <a:lnTo>
                      <a:pt x="5991" y="4210"/>
                    </a:lnTo>
                    <a:lnTo>
                      <a:pt x="5977" y="4210"/>
                    </a:lnTo>
                    <a:lnTo>
                      <a:pt x="5986" y="4205"/>
                    </a:lnTo>
                    <a:lnTo>
                      <a:pt x="5986" y="4205"/>
                    </a:lnTo>
                    <a:lnTo>
                      <a:pt x="5986" y="4205"/>
                    </a:lnTo>
                    <a:close/>
                    <a:moveTo>
                      <a:pt x="1243" y="4222"/>
                    </a:moveTo>
                    <a:lnTo>
                      <a:pt x="1231" y="4226"/>
                    </a:lnTo>
                    <a:lnTo>
                      <a:pt x="1231" y="4222"/>
                    </a:lnTo>
                    <a:lnTo>
                      <a:pt x="1243" y="4222"/>
                    </a:lnTo>
                    <a:lnTo>
                      <a:pt x="1243" y="4222"/>
                    </a:lnTo>
                    <a:lnTo>
                      <a:pt x="1243" y="4222"/>
                    </a:lnTo>
                    <a:close/>
                    <a:moveTo>
                      <a:pt x="1042" y="4226"/>
                    </a:moveTo>
                    <a:lnTo>
                      <a:pt x="1049" y="4243"/>
                    </a:lnTo>
                    <a:lnTo>
                      <a:pt x="1033" y="4238"/>
                    </a:lnTo>
                    <a:lnTo>
                      <a:pt x="1033" y="4226"/>
                    </a:lnTo>
                    <a:lnTo>
                      <a:pt x="1042" y="4226"/>
                    </a:lnTo>
                    <a:lnTo>
                      <a:pt x="1042" y="4226"/>
                    </a:lnTo>
                    <a:lnTo>
                      <a:pt x="1042" y="4226"/>
                    </a:lnTo>
                    <a:close/>
                    <a:moveTo>
                      <a:pt x="1063" y="4243"/>
                    </a:moveTo>
                    <a:lnTo>
                      <a:pt x="1063" y="4248"/>
                    </a:lnTo>
                    <a:lnTo>
                      <a:pt x="1059" y="4243"/>
                    </a:lnTo>
                    <a:lnTo>
                      <a:pt x="1063" y="4243"/>
                    </a:lnTo>
                    <a:lnTo>
                      <a:pt x="1063" y="4243"/>
                    </a:lnTo>
                    <a:lnTo>
                      <a:pt x="1063" y="4243"/>
                    </a:lnTo>
                    <a:close/>
                    <a:moveTo>
                      <a:pt x="1205" y="4248"/>
                    </a:moveTo>
                    <a:lnTo>
                      <a:pt x="1210" y="4248"/>
                    </a:lnTo>
                    <a:lnTo>
                      <a:pt x="1205" y="4248"/>
                    </a:lnTo>
                    <a:lnTo>
                      <a:pt x="1205" y="4248"/>
                    </a:lnTo>
                    <a:lnTo>
                      <a:pt x="1205" y="4248"/>
                    </a:lnTo>
                    <a:close/>
                    <a:moveTo>
                      <a:pt x="1222" y="4259"/>
                    </a:moveTo>
                    <a:lnTo>
                      <a:pt x="1243" y="4276"/>
                    </a:lnTo>
                    <a:lnTo>
                      <a:pt x="1226" y="4264"/>
                    </a:lnTo>
                    <a:lnTo>
                      <a:pt x="1222" y="4259"/>
                    </a:lnTo>
                    <a:lnTo>
                      <a:pt x="1222" y="4259"/>
                    </a:lnTo>
                    <a:lnTo>
                      <a:pt x="1222" y="4259"/>
                    </a:lnTo>
                    <a:close/>
                    <a:moveTo>
                      <a:pt x="1226" y="4276"/>
                    </a:moveTo>
                    <a:lnTo>
                      <a:pt x="1231" y="4292"/>
                    </a:lnTo>
                    <a:lnTo>
                      <a:pt x="1226" y="4292"/>
                    </a:lnTo>
                    <a:lnTo>
                      <a:pt x="1226" y="4276"/>
                    </a:lnTo>
                    <a:lnTo>
                      <a:pt x="1226" y="4276"/>
                    </a:lnTo>
                    <a:lnTo>
                      <a:pt x="1226" y="4276"/>
                    </a:lnTo>
                    <a:close/>
                    <a:moveTo>
                      <a:pt x="6133" y="4337"/>
                    </a:moveTo>
                    <a:lnTo>
                      <a:pt x="6133" y="4349"/>
                    </a:lnTo>
                    <a:lnTo>
                      <a:pt x="6121" y="4354"/>
                    </a:lnTo>
                    <a:lnTo>
                      <a:pt x="6111" y="4337"/>
                    </a:lnTo>
                    <a:lnTo>
                      <a:pt x="6133" y="4337"/>
                    </a:lnTo>
                    <a:lnTo>
                      <a:pt x="6133" y="4337"/>
                    </a:lnTo>
                    <a:lnTo>
                      <a:pt x="6133" y="4337"/>
                    </a:lnTo>
                    <a:close/>
                    <a:moveTo>
                      <a:pt x="5365" y="4354"/>
                    </a:moveTo>
                    <a:lnTo>
                      <a:pt x="5365" y="4359"/>
                    </a:lnTo>
                    <a:lnTo>
                      <a:pt x="5360" y="4359"/>
                    </a:lnTo>
                    <a:lnTo>
                      <a:pt x="5365" y="4354"/>
                    </a:lnTo>
                    <a:lnTo>
                      <a:pt x="5365" y="4354"/>
                    </a:lnTo>
                    <a:lnTo>
                      <a:pt x="5365" y="4354"/>
                    </a:lnTo>
                    <a:close/>
                    <a:moveTo>
                      <a:pt x="5365" y="4359"/>
                    </a:moveTo>
                    <a:lnTo>
                      <a:pt x="5360" y="4375"/>
                    </a:lnTo>
                    <a:lnTo>
                      <a:pt x="5355" y="4375"/>
                    </a:lnTo>
                    <a:lnTo>
                      <a:pt x="5355" y="4370"/>
                    </a:lnTo>
                    <a:lnTo>
                      <a:pt x="5365" y="4359"/>
                    </a:lnTo>
                    <a:lnTo>
                      <a:pt x="5365" y="4359"/>
                    </a:lnTo>
                    <a:lnTo>
                      <a:pt x="5365" y="4359"/>
                    </a:lnTo>
                    <a:close/>
                    <a:moveTo>
                      <a:pt x="5970" y="4387"/>
                    </a:moveTo>
                    <a:lnTo>
                      <a:pt x="5970" y="4392"/>
                    </a:lnTo>
                    <a:lnTo>
                      <a:pt x="5953" y="4387"/>
                    </a:lnTo>
                    <a:lnTo>
                      <a:pt x="5970" y="4387"/>
                    </a:lnTo>
                    <a:lnTo>
                      <a:pt x="5970" y="4387"/>
                    </a:lnTo>
                    <a:lnTo>
                      <a:pt x="5970" y="4387"/>
                    </a:lnTo>
                    <a:close/>
                    <a:moveTo>
                      <a:pt x="6095" y="4392"/>
                    </a:moveTo>
                    <a:lnTo>
                      <a:pt x="6083" y="4408"/>
                    </a:lnTo>
                    <a:lnTo>
                      <a:pt x="6078" y="4408"/>
                    </a:lnTo>
                    <a:lnTo>
                      <a:pt x="6095" y="4392"/>
                    </a:lnTo>
                    <a:lnTo>
                      <a:pt x="6095" y="4392"/>
                    </a:lnTo>
                    <a:lnTo>
                      <a:pt x="6095" y="4392"/>
                    </a:lnTo>
                    <a:close/>
                    <a:moveTo>
                      <a:pt x="5582" y="4392"/>
                    </a:moveTo>
                    <a:lnTo>
                      <a:pt x="5570" y="4403"/>
                    </a:lnTo>
                    <a:lnTo>
                      <a:pt x="5544" y="4425"/>
                    </a:lnTo>
                    <a:lnTo>
                      <a:pt x="5554" y="4425"/>
                    </a:lnTo>
                    <a:lnTo>
                      <a:pt x="5537" y="4425"/>
                    </a:lnTo>
                    <a:lnTo>
                      <a:pt x="5544" y="4408"/>
                    </a:lnTo>
                    <a:lnTo>
                      <a:pt x="5582" y="4392"/>
                    </a:lnTo>
                    <a:lnTo>
                      <a:pt x="5582" y="4392"/>
                    </a:lnTo>
                    <a:lnTo>
                      <a:pt x="5582" y="4392"/>
                    </a:lnTo>
                    <a:close/>
                    <a:moveTo>
                      <a:pt x="5523" y="4503"/>
                    </a:moveTo>
                    <a:lnTo>
                      <a:pt x="5500" y="4519"/>
                    </a:lnTo>
                    <a:lnTo>
                      <a:pt x="5507" y="4526"/>
                    </a:lnTo>
                    <a:lnTo>
                      <a:pt x="5507" y="4536"/>
                    </a:lnTo>
                    <a:lnTo>
                      <a:pt x="5485" y="4543"/>
                    </a:lnTo>
                    <a:lnTo>
                      <a:pt x="5474" y="4526"/>
                    </a:lnTo>
                    <a:lnTo>
                      <a:pt x="5462" y="4519"/>
                    </a:lnTo>
                    <a:lnTo>
                      <a:pt x="5474" y="4514"/>
                    </a:lnTo>
                    <a:lnTo>
                      <a:pt x="5452" y="4526"/>
                    </a:lnTo>
                    <a:lnTo>
                      <a:pt x="5419" y="4519"/>
                    </a:lnTo>
                    <a:lnTo>
                      <a:pt x="5415" y="4514"/>
                    </a:lnTo>
                    <a:lnTo>
                      <a:pt x="5415" y="4503"/>
                    </a:lnTo>
                    <a:lnTo>
                      <a:pt x="5393" y="4503"/>
                    </a:lnTo>
                    <a:lnTo>
                      <a:pt x="5393" y="4481"/>
                    </a:lnTo>
                    <a:lnTo>
                      <a:pt x="5377" y="4481"/>
                    </a:lnTo>
                    <a:lnTo>
                      <a:pt x="5365" y="4470"/>
                    </a:lnTo>
                    <a:lnTo>
                      <a:pt x="5398" y="4441"/>
                    </a:lnTo>
                    <a:lnTo>
                      <a:pt x="5398" y="4460"/>
                    </a:lnTo>
                    <a:lnTo>
                      <a:pt x="5393" y="4465"/>
                    </a:lnTo>
                    <a:lnTo>
                      <a:pt x="5415" y="4481"/>
                    </a:lnTo>
                    <a:lnTo>
                      <a:pt x="5415" y="4498"/>
                    </a:lnTo>
                    <a:lnTo>
                      <a:pt x="5419" y="4498"/>
                    </a:lnTo>
                    <a:lnTo>
                      <a:pt x="5419" y="4486"/>
                    </a:lnTo>
                    <a:lnTo>
                      <a:pt x="5452" y="4503"/>
                    </a:lnTo>
                    <a:lnTo>
                      <a:pt x="5544" y="4498"/>
                    </a:lnTo>
                    <a:lnTo>
                      <a:pt x="5523" y="4503"/>
                    </a:lnTo>
                    <a:lnTo>
                      <a:pt x="5523" y="4503"/>
                    </a:lnTo>
                    <a:lnTo>
                      <a:pt x="5523" y="4503"/>
                    </a:lnTo>
                    <a:close/>
                    <a:moveTo>
                      <a:pt x="5608" y="4552"/>
                    </a:moveTo>
                    <a:lnTo>
                      <a:pt x="5599" y="4569"/>
                    </a:lnTo>
                    <a:lnTo>
                      <a:pt x="5625" y="4569"/>
                    </a:lnTo>
                    <a:lnTo>
                      <a:pt x="5646" y="4543"/>
                    </a:lnTo>
                    <a:lnTo>
                      <a:pt x="5651" y="4536"/>
                    </a:lnTo>
                    <a:lnTo>
                      <a:pt x="5629" y="4552"/>
                    </a:lnTo>
                    <a:lnTo>
                      <a:pt x="5625" y="4543"/>
                    </a:lnTo>
                    <a:lnTo>
                      <a:pt x="5663" y="4519"/>
                    </a:lnTo>
                    <a:lnTo>
                      <a:pt x="5637" y="4536"/>
                    </a:lnTo>
                    <a:lnTo>
                      <a:pt x="5663" y="4514"/>
                    </a:lnTo>
                    <a:lnTo>
                      <a:pt x="5689" y="4519"/>
                    </a:lnTo>
                    <a:lnTo>
                      <a:pt x="5689" y="4526"/>
                    </a:lnTo>
                    <a:lnTo>
                      <a:pt x="5689" y="4543"/>
                    </a:lnTo>
                    <a:lnTo>
                      <a:pt x="5667" y="4552"/>
                    </a:lnTo>
                    <a:lnTo>
                      <a:pt x="5663" y="4569"/>
                    </a:lnTo>
                    <a:lnTo>
                      <a:pt x="5646" y="4576"/>
                    </a:lnTo>
                    <a:lnTo>
                      <a:pt x="5599" y="4576"/>
                    </a:lnTo>
                    <a:lnTo>
                      <a:pt x="5582" y="4576"/>
                    </a:lnTo>
                    <a:lnTo>
                      <a:pt x="5575" y="4569"/>
                    </a:lnTo>
                    <a:lnTo>
                      <a:pt x="5575" y="4536"/>
                    </a:lnTo>
                    <a:lnTo>
                      <a:pt x="5575" y="4526"/>
                    </a:lnTo>
                    <a:lnTo>
                      <a:pt x="5592" y="4519"/>
                    </a:lnTo>
                    <a:lnTo>
                      <a:pt x="5637" y="4448"/>
                    </a:lnTo>
                    <a:lnTo>
                      <a:pt x="5646" y="4448"/>
                    </a:lnTo>
                    <a:lnTo>
                      <a:pt x="5646" y="4460"/>
                    </a:lnTo>
                    <a:lnTo>
                      <a:pt x="5663" y="4465"/>
                    </a:lnTo>
                    <a:lnTo>
                      <a:pt x="5637" y="4519"/>
                    </a:lnTo>
                    <a:lnTo>
                      <a:pt x="5651" y="4514"/>
                    </a:lnTo>
                    <a:lnTo>
                      <a:pt x="5637" y="4526"/>
                    </a:lnTo>
                    <a:lnTo>
                      <a:pt x="5599" y="4543"/>
                    </a:lnTo>
                    <a:lnTo>
                      <a:pt x="5629" y="4536"/>
                    </a:lnTo>
                    <a:lnTo>
                      <a:pt x="5625" y="4543"/>
                    </a:lnTo>
                    <a:lnTo>
                      <a:pt x="5608" y="4552"/>
                    </a:lnTo>
                    <a:lnTo>
                      <a:pt x="5613" y="4552"/>
                    </a:lnTo>
                    <a:lnTo>
                      <a:pt x="5608" y="4552"/>
                    </a:lnTo>
                    <a:lnTo>
                      <a:pt x="5608" y="4552"/>
                    </a:lnTo>
                    <a:lnTo>
                      <a:pt x="5608" y="4552"/>
                    </a:lnTo>
                    <a:close/>
                    <a:moveTo>
                      <a:pt x="5613" y="4576"/>
                    </a:moveTo>
                    <a:lnTo>
                      <a:pt x="5608" y="4581"/>
                    </a:lnTo>
                    <a:lnTo>
                      <a:pt x="5599" y="4581"/>
                    </a:lnTo>
                    <a:lnTo>
                      <a:pt x="5613" y="4576"/>
                    </a:lnTo>
                    <a:lnTo>
                      <a:pt x="5613" y="4576"/>
                    </a:lnTo>
                    <a:lnTo>
                      <a:pt x="5613" y="4576"/>
                    </a:lnTo>
                    <a:close/>
                    <a:moveTo>
                      <a:pt x="5204" y="4647"/>
                    </a:moveTo>
                    <a:lnTo>
                      <a:pt x="5204" y="4654"/>
                    </a:lnTo>
                    <a:lnTo>
                      <a:pt x="5200" y="4663"/>
                    </a:lnTo>
                    <a:lnTo>
                      <a:pt x="5204" y="4647"/>
                    </a:lnTo>
                    <a:lnTo>
                      <a:pt x="5204" y="4647"/>
                    </a:lnTo>
                    <a:lnTo>
                      <a:pt x="5204" y="4647"/>
                    </a:lnTo>
                    <a:close/>
                    <a:moveTo>
                      <a:pt x="5679" y="4720"/>
                    </a:moveTo>
                    <a:lnTo>
                      <a:pt x="5700" y="4720"/>
                    </a:lnTo>
                    <a:lnTo>
                      <a:pt x="5689" y="4725"/>
                    </a:lnTo>
                    <a:lnTo>
                      <a:pt x="5679" y="4720"/>
                    </a:lnTo>
                    <a:lnTo>
                      <a:pt x="5679" y="4720"/>
                    </a:lnTo>
                    <a:lnTo>
                      <a:pt x="5679" y="472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6" name="Freeform 582">
                <a:extLst>
                  <a:ext uri="{FF2B5EF4-FFF2-40B4-BE49-F238E27FC236}">
                    <a16:creationId xmlns:a16="http://schemas.microsoft.com/office/drawing/2014/main" id="{FB56EFB8-F03D-4413-B659-DB1A1B89A1C3}"/>
                  </a:ext>
                </a:extLst>
              </p:cNvPr>
              <p:cNvSpPr>
                <a:spLocks noEditPoints="1"/>
              </p:cNvSpPr>
              <p:nvPr/>
            </p:nvSpPr>
            <p:spPr bwMode="gray">
              <a:xfrm>
                <a:off x="1557717" y="1477839"/>
                <a:ext cx="10359267" cy="2020702"/>
              </a:xfrm>
              <a:custGeom>
                <a:avLst/>
                <a:gdLst>
                  <a:gd name="T0" fmla="*/ 3387 w 25164"/>
                  <a:gd name="T1" fmla="*/ 1889 h 4908"/>
                  <a:gd name="T2" fmla="*/ 3186 w 25164"/>
                  <a:gd name="T3" fmla="*/ 1606 h 4908"/>
                  <a:gd name="T4" fmla="*/ 2948 w 25164"/>
                  <a:gd name="T5" fmla="*/ 1462 h 4908"/>
                  <a:gd name="T6" fmla="*/ 2615 w 25164"/>
                  <a:gd name="T7" fmla="*/ 1351 h 4908"/>
                  <a:gd name="T8" fmla="*/ 2154 w 25164"/>
                  <a:gd name="T9" fmla="*/ 1263 h 4908"/>
                  <a:gd name="T10" fmla="*/ 1939 w 25164"/>
                  <a:gd name="T11" fmla="*/ 1301 h 4908"/>
                  <a:gd name="T12" fmla="*/ 1734 w 25164"/>
                  <a:gd name="T13" fmla="*/ 1445 h 4908"/>
                  <a:gd name="T14" fmla="*/ 1427 w 25164"/>
                  <a:gd name="T15" fmla="*/ 1755 h 4908"/>
                  <a:gd name="T16" fmla="*/ 1103 w 25164"/>
                  <a:gd name="T17" fmla="*/ 1866 h 4908"/>
                  <a:gd name="T18" fmla="*/ 1420 w 25164"/>
                  <a:gd name="T19" fmla="*/ 1462 h 4908"/>
                  <a:gd name="T20" fmla="*/ 978 w 25164"/>
                  <a:gd name="T21" fmla="*/ 1289 h 4908"/>
                  <a:gd name="T22" fmla="*/ 935 w 25164"/>
                  <a:gd name="T23" fmla="*/ 1145 h 4908"/>
                  <a:gd name="T24" fmla="*/ 1117 w 25164"/>
                  <a:gd name="T25" fmla="*/ 848 h 4908"/>
                  <a:gd name="T26" fmla="*/ 1205 w 25164"/>
                  <a:gd name="T27" fmla="*/ 670 h 4908"/>
                  <a:gd name="T28" fmla="*/ 1103 w 25164"/>
                  <a:gd name="T29" fmla="*/ 243 h 4908"/>
                  <a:gd name="T30" fmla="*/ 1696 w 25164"/>
                  <a:gd name="T31" fmla="*/ 26 h 4908"/>
                  <a:gd name="T32" fmla="*/ 520 w 25164"/>
                  <a:gd name="T33" fmla="*/ 980 h 4908"/>
                  <a:gd name="T34" fmla="*/ 2183 w 25164"/>
                  <a:gd name="T35" fmla="*/ 1263 h 4908"/>
                  <a:gd name="T36" fmla="*/ 2268 w 25164"/>
                  <a:gd name="T37" fmla="*/ 1296 h 4908"/>
                  <a:gd name="T38" fmla="*/ 2154 w 25164"/>
                  <a:gd name="T39" fmla="*/ 1346 h 4908"/>
                  <a:gd name="T40" fmla="*/ 1868 w 25164"/>
                  <a:gd name="T41" fmla="*/ 1533 h 4908"/>
                  <a:gd name="T42" fmla="*/ 3061 w 25164"/>
                  <a:gd name="T43" fmla="*/ 1589 h 4908"/>
                  <a:gd name="T44" fmla="*/ 2993 w 25164"/>
                  <a:gd name="T45" fmla="*/ 1556 h 4908"/>
                  <a:gd name="T46" fmla="*/ 1724 w 25164"/>
                  <a:gd name="T47" fmla="*/ 1651 h 4908"/>
                  <a:gd name="T48" fmla="*/ 3085 w 25164"/>
                  <a:gd name="T49" fmla="*/ 1622 h 4908"/>
                  <a:gd name="T50" fmla="*/ 3182 w 25164"/>
                  <a:gd name="T51" fmla="*/ 1677 h 4908"/>
                  <a:gd name="T52" fmla="*/ 3241 w 25164"/>
                  <a:gd name="T53" fmla="*/ 1684 h 4908"/>
                  <a:gd name="T54" fmla="*/ 3262 w 25164"/>
                  <a:gd name="T55" fmla="*/ 1722 h 4908"/>
                  <a:gd name="T56" fmla="*/ 3203 w 25164"/>
                  <a:gd name="T57" fmla="*/ 1804 h 4908"/>
                  <a:gd name="T58" fmla="*/ 3342 w 25164"/>
                  <a:gd name="T59" fmla="*/ 1833 h 4908"/>
                  <a:gd name="T60" fmla="*/ 3203 w 25164"/>
                  <a:gd name="T61" fmla="*/ 1811 h 4908"/>
                  <a:gd name="T62" fmla="*/ 1301 w 25164"/>
                  <a:gd name="T63" fmla="*/ 1828 h 4908"/>
                  <a:gd name="T64" fmla="*/ 3246 w 25164"/>
                  <a:gd name="T65" fmla="*/ 1861 h 4908"/>
                  <a:gd name="T66" fmla="*/ 3349 w 25164"/>
                  <a:gd name="T67" fmla="*/ 1866 h 4908"/>
                  <a:gd name="T68" fmla="*/ 957 w 25164"/>
                  <a:gd name="T69" fmla="*/ 1960 h 4908"/>
                  <a:gd name="T70" fmla="*/ 789 w 25164"/>
                  <a:gd name="T71" fmla="*/ 2017 h 4908"/>
                  <a:gd name="T72" fmla="*/ 324 w 25164"/>
                  <a:gd name="T73" fmla="*/ 2149 h 4908"/>
                  <a:gd name="T74" fmla="*/ 201 w 25164"/>
                  <a:gd name="T75" fmla="*/ 2161 h 4908"/>
                  <a:gd name="T76" fmla="*/ 75 w 25164"/>
                  <a:gd name="T77" fmla="*/ 2199 h 4908"/>
                  <a:gd name="T78" fmla="*/ 5882 w 25164"/>
                  <a:gd name="T79" fmla="*/ 2404 h 4908"/>
                  <a:gd name="T80" fmla="*/ 7004 w 25164"/>
                  <a:gd name="T81" fmla="*/ 2974 h 4908"/>
                  <a:gd name="T82" fmla="*/ 7743 w 25164"/>
                  <a:gd name="T83" fmla="*/ 2863 h 4908"/>
                  <a:gd name="T84" fmla="*/ 7561 w 25164"/>
                  <a:gd name="T85" fmla="*/ 3118 h 4908"/>
                  <a:gd name="T86" fmla="*/ 7231 w 25164"/>
                  <a:gd name="T87" fmla="*/ 3413 h 4908"/>
                  <a:gd name="T88" fmla="*/ 7150 w 25164"/>
                  <a:gd name="T89" fmla="*/ 3373 h 4908"/>
                  <a:gd name="T90" fmla="*/ 7200 w 25164"/>
                  <a:gd name="T91" fmla="*/ 3562 h 4908"/>
                  <a:gd name="T92" fmla="*/ 7086 w 25164"/>
                  <a:gd name="T93" fmla="*/ 3727 h 4908"/>
                  <a:gd name="T94" fmla="*/ 6890 w 25164"/>
                  <a:gd name="T95" fmla="*/ 4155 h 4908"/>
                  <a:gd name="T96" fmla="*/ 6638 w 25164"/>
                  <a:gd name="T97" fmla="*/ 4065 h 4908"/>
                  <a:gd name="T98" fmla="*/ 6281 w 25164"/>
                  <a:gd name="T99" fmla="*/ 4077 h 4908"/>
                  <a:gd name="T100" fmla="*/ 5908 w 25164"/>
                  <a:gd name="T101" fmla="*/ 4077 h 4908"/>
                  <a:gd name="T102" fmla="*/ 5530 w 25164"/>
                  <a:gd name="T103" fmla="*/ 4204 h 4908"/>
                  <a:gd name="T104" fmla="*/ 4013 w 25164"/>
                  <a:gd name="T105" fmla="*/ 3496 h 4908"/>
                  <a:gd name="T106" fmla="*/ 3841 w 25164"/>
                  <a:gd name="T107" fmla="*/ 2940 h 4908"/>
                  <a:gd name="T108" fmla="*/ 3947 w 25164"/>
                  <a:gd name="T109" fmla="*/ 2581 h 4908"/>
                  <a:gd name="T110" fmla="*/ 3938 w 25164"/>
                  <a:gd name="T111" fmla="*/ 2492 h 4908"/>
                  <a:gd name="T112" fmla="*/ 7738 w 25164"/>
                  <a:gd name="T113" fmla="*/ 2870 h 4908"/>
                  <a:gd name="T114" fmla="*/ 7344 w 25164"/>
                  <a:gd name="T115" fmla="*/ 3196 h 4908"/>
                  <a:gd name="T116" fmla="*/ 4245 w 25164"/>
                  <a:gd name="T117" fmla="*/ 3784 h 4908"/>
                  <a:gd name="T118" fmla="*/ 5903 w 25164"/>
                  <a:gd name="T119" fmla="*/ 4117 h 4908"/>
                  <a:gd name="T120" fmla="*/ 1356 w 25164"/>
                  <a:gd name="T121" fmla="*/ 4653 h 4908"/>
                  <a:gd name="T122" fmla="*/ 1549 w 25164"/>
                  <a:gd name="T123" fmla="*/ 4764 h 4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164" h="4908">
                    <a:moveTo>
                      <a:pt x="2662" y="222"/>
                    </a:moveTo>
                    <a:lnTo>
                      <a:pt x="2662" y="1313"/>
                    </a:lnTo>
                    <a:lnTo>
                      <a:pt x="2700" y="1318"/>
                    </a:lnTo>
                    <a:lnTo>
                      <a:pt x="2700" y="1313"/>
                    </a:lnTo>
                    <a:lnTo>
                      <a:pt x="2733" y="1329"/>
                    </a:lnTo>
                    <a:lnTo>
                      <a:pt x="2754" y="1313"/>
                    </a:lnTo>
                    <a:lnTo>
                      <a:pt x="2804" y="1301"/>
                    </a:lnTo>
                    <a:lnTo>
                      <a:pt x="2792" y="1334"/>
                    </a:lnTo>
                    <a:lnTo>
                      <a:pt x="2825" y="1351"/>
                    </a:lnTo>
                    <a:lnTo>
                      <a:pt x="2830" y="1367"/>
                    </a:lnTo>
                    <a:lnTo>
                      <a:pt x="2901" y="1424"/>
                    </a:lnTo>
                    <a:lnTo>
                      <a:pt x="2910" y="1462"/>
                    </a:lnTo>
                    <a:lnTo>
                      <a:pt x="2955" y="1429"/>
                    </a:lnTo>
                    <a:lnTo>
                      <a:pt x="2972" y="1429"/>
                    </a:lnTo>
                    <a:lnTo>
                      <a:pt x="2976" y="1424"/>
                    </a:lnTo>
                    <a:lnTo>
                      <a:pt x="2976" y="1400"/>
                    </a:lnTo>
                    <a:lnTo>
                      <a:pt x="2993" y="1400"/>
                    </a:lnTo>
                    <a:lnTo>
                      <a:pt x="2986" y="1389"/>
                    </a:lnTo>
                    <a:lnTo>
                      <a:pt x="3047" y="1367"/>
                    </a:lnTo>
                    <a:lnTo>
                      <a:pt x="3085" y="1389"/>
                    </a:lnTo>
                    <a:lnTo>
                      <a:pt x="3078" y="1407"/>
                    </a:lnTo>
                    <a:lnTo>
                      <a:pt x="3085" y="1424"/>
                    </a:lnTo>
                    <a:lnTo>
                      <a:pt x="3127" y="1441"/>
                    </a:lnTo>
                    <a:lnTo>
                      <a:pt x="3137" y="1474"/>
                    </a:lnTo>
                    <a:lnTo>
                      <a:pt x="3165" y="1478"/>
                    </a:lnTo>
                    <a:lnTo>
                      <a:pt x="3191" y="1511"/>
                    </a:lnTo>
                    <a:lnTo>
                      <a:pt x="3203" y="1528"/>
                    </a:lnTo>
                    <a:lnTo>
                      <a:pt x="3279" y="1639"/>
                    </a:lnTo>
                    <a:lnTo>
                      <a:pt x="3274" y="1651"/>
                    </a:lnTo>
                    <a:lnTo>
                      <a:pt x="3295" y="1660"/>
                    </a:lnTo>
                    <a:lnTo>
                      <a:pt x="3288" y="1677"/>
                    </a:lnTo>
                    <a:lnTo>
                      <a:pt x="3300" y="1684"/>
                    </a:lnTo>
                    <a:lnTo>
                      <a:pt x="3312" y="1700"/>
                    </a:lnTo>
                    <a:lnTo>
                      <a:pt x="3326" y="1700"/>
                    </a:lnTo>
                    <a:lnTo>
                      <a:pt x="3380" y="1722"/>
                    </a:lnTo>
                    <a:lnTo>
                      <a:pt x="3409" y="1750"/>
                    </a:lnTo>
                    <a:lnTo>
                      <a:pt x="3425" y="1750"/>
                    </a:lnTo>
                    <a:lnTo>
                      <a:pt x="3434" y="1771"/>
                    </a:lnTo>
                    <a:lnTo>
                      <a:pt x="3425" y="1788"/>
                    </a:lnTo>
                    <a:lnTo>
                      <a:pt x="3434" y="1833"/>
                    </a:lnTo>
                    <a:lnTo>
                      <a:pt x="3409" y="1873"/>
                    </a:lnTo>
                    <a:lnTo>
                      <a:pt x="3387" y="1889"/>
                    </a:lnTo>
                    <a:lnTo>
                      <a:pt x="3380" y="1866"/>
                    </a:lnTo>
                    <a:lnTo>
                      <a:pt x="3380" y="1882"/>
                    </a:lnTo>
                    <a:lnTo>
                      <a:pt x="3371" y="1889"/>
                    </a:lnTo>
                    <a:lnTo>
                      <a:pt x="3364" y="1866"/>
                    </a:lnTo>
                    <a:lnTo>
                      <a:pt x="3387" y="1849"/>
                    </a:lnTo>
                    <a:lnTo>
                      <a:pt x="3401" y="1833"/>
                    </a:lnTo>
                    <a:lnTo>
                      <a:pt x="3387" y="1849"/>
                    </a:lnTo>
                    <a:lnTo>
                      <a:pt x="3364" y="1849"/>
                    </a:lnTo>
                    <a:lnTo>
                      <a:pt x="3371" y="1833"/>
                    </a:lnTo>
                    <a:lnTo>
                      <a:pt x="3397" y="1833"/>
                    </a:lnTo>
                    <a:lnTo>
                      <a:pt x="3371" y="1833"/>
                    </a:lnTo>
                    <a:lnTo>
                      <a:pt x="3371" y="1795"/>
                    </a:lnTo>
                    <a:lnTo>
                      <a:pt x="3354" y="1771"/>
                    </a:lnTo>
                    <a:lnTo>
                      <a:pt x="3364" y="1755"/>
                    </a:lnTo>
                    <a:lnTo>
                      <a:pt x="3300" y="1778"/>
                    </a:lnTo>
                    <a:lnTo>
                      <a:pt x="3312" y="1778"/>
                    </a:lnTo>
                    <a:lnTo>
                      <a:pt x="3295" y="1811"/>
                    </a:lnTo>
                    <a:lnTo>
                      <a:pt x="3288" y="1804"/>
                    </a:lnTo>
                    <a:lnTo>
                      <a:pt x="3279" y="1788"/>
                    </a:lnTo>
                    <a:lnTo>
                      <a:pt x="3295" y="1762"/>
                    </a:lnTo>
                    <a:lnTo>
                      <a:pt x="3295" y="1750"/>
                    </a:lnTo>
                    <a:lnTo>
                      <a:pt x="3312" y="1738"/>
                    </a:lnTo>
                    <a:lnTo>
                      <a:pt x="3274" y="1705"/>
                    </a:lnTo>
                    <a:lnTo>
                      <a:pt x="3274" y="1700"/>
                    </a:lnTo>
                    <a:lnTo>
                      <a:pt x="3257" y="1700"/>
                    </a:lnTo>
                    <a:lnTo>
                      <a:pt x="3274" y="1677"/>
                    </a:lnTo>
                    <a:lnTo>
                      <a:pt x="3257" y="1684"/>
                    </a:lnTo>
                    <a:lnTo>
                      <a:pt x="3241" y="1677"/>
                    </a:lnTo>
                    <a:lnTo>
                      <a:pt x="3236" y="1667"/>
                    </a:lnTo>
                    <a:lnTo>
                      <a:pt x="3241" y="1660"/>
                    </a:lnTo>
                    <a:lnTo>
                      <a:pt x="3241" y="1651"/>
                    </a:lnTo>
                    <a:lnTo>
                      <a:pt x="3236" y="1660"/>
                    </a:lnTo>
                    <a:lnTo>
                      <a:pt x="3220" y="1651"/>
                    </a:lnTo>
                    <a:lnTo>
                      <a:pt x="3208" y="1644"/>
                    </a:lnTo>
                    <a:lnTo>
                      <a:pt x="3203" y="1651"/>
                    </a:lnTo>
                    <a:lnTo>
                      <a:pt x="3186" y="1644"/>
                    </a:lnTo>
                    <a:lnTo>
                      <a:pt x="3191" y="1627"/>
                    </a:lnTo>
                    <a:lnTo>
                      <a:pt x="3220" y="1622"/>
                    </a:lnTo>
                    <a:lnTo>
                      <a:pt x="3191" y="1627"/>
                    </a:lnTo>
                    <a:lnTo>
                      <a:pt x="3186" y="1611"/>
                    </a:lnTo>
                    <a:lnTo>
                      <a:pt x="3203" y="1594"/>
                    </a:lnTo>
                    <a:lnTo>
                      <a:pt x="3186" y="1606"/>
                    </a:lnTo>
                    <a:lnTo>
                      <a:pt x="3182" y="1589"/>
                    </a:lnTo>
                    <a:lnTo>
                      <a:pt x="3224" y="1606"/>
                    </a:lnTo>
                    <a:lnTo>
                      <a:pt x="3186" y="1585"/>
                    </a:lnTo>
                    <a:lnTo>
                      <a:pt x="3186" y="1568"/>
                    </a:lnTo>
                    <a:lnTo>
                      <a:pt x="3220" y="1573"/>
                    </a:lnTo>
                    <a:lnTo>
                      <a:pt x="3186" y="1568"/>
                    </a:lnTo>
                    <a:lnTo>
                      <a:pt x="3182" y="1585"/>
                    </a:lnTo>
                    <a:lnTo>
                      <a:pt x="3170" y="1556"/>
                    </a:lnTo>
                    <a:lnTo>
                      <a:pt x="3182" y="1540"/>
                    </a:lnTo>
                    <a:lnTo>
                      <a:pt x="3165" y="1556"/>
                    </a:lnTo>
                    <a:lnTo>
                      <a:pt x="3149" y="1552"/>
                    </a:lnTo>
                    <a:lnTo>
                      <a:pt x="3153" y="1516"/>
                    </a:lnTo>
                    <a:lnTo>
                      <a:pt x="3170" y="1500"/>
                    </a:lnTo>
                    <a:lnTo>
                      <a:pt x="3153" y="1500"/>
                    </a:lnTo>
                    <a:lnTo>
                      <a:pt x="3137" y="1533"/>
                    </a:lnTo>
                    <a:lnTo>
                      <a:pt x="3099" y="1516"/>
                    </a:lnTo>
                    <a:lnTo>
                      <a:pt x="3085" y="1483"/>
                    </a:lnTo>
                    <a:lnTo>
                      <a:pt x="3085" y="1474"/>
                    </a:lnTo>
                    <a:lnTo>
                      <a:pt x="3078" y="1478"/>
                    </a:lnTo>
                    <a:lnTo>
                      <a:pt x="3073" y="1474"/>
                    </a:lnTo>
                    <a:lnTo>
                      <a:pt x="3057" y="1424"/>
                    </a:lnTo>
                    <a:lnTo>
                      <a:pt x="3061" y="1400"/>
                    </a:lnTo>
                    <a:lnTo>
                      <a:pt x="3057" y="1424"/>
                    </a:lnTo>
                    <a:lnTo>
                      <a:pt x="3061" y="1445"/>
                    </a:lnTo>
                    <a:lnTo>
                      <a:pt x="3047" y="1429"/>
                    </a:lnTo>
                    <a:lnTo>
                      <a:pt x="3073" y="1483"/>
                    </a:lnTo>
                    <a:lnTo>
                      <a:pt x="3078" y="1516"/>
                    </a:lnTo>
                    <a:lnTo>
                      <a:pt x="3078" y="1533"/>
                    </a:lnTo>
                    <a:lnTo>
                      <a:pt x="3061" y="1533"/>
                    </a:lnTo>
                    <a:lnTo>
                      <a:pt x="3047" y="1511"/>
                    </a:lnTo>
                    <a:lnTo>
                      <a:pt x="3019" y="1516"/>
                    </a:lnTo>
                    <a:lnTo>
                      <a:pt x="3023" y="1500"/>
                    </a:lnTo>
                    <a:lnTo>
                      <a:pt x="3009" y="1474"/>
                    </a:lnTo>
                    <a:lnTo>
                      <a:pt x="3031" y="1462"/>
                    </a:lnTo>
                    <a:lnTo>
                      <a:pt x="3009" y="1462"/>
                    </a:lnTo>
                    <a:lnTo>
                      <a:pt x="3002" y="1445"/>
                    </a:lnTo>
                    <a:lnTo>
                      <a:pt x="3009" y="1474"/>
                    </a:lnTo>
                    <a:lnTo>
                      <a:pt x="2993" y="1478"/>
                    </a:lnTo>
                    <a:lnTo>
                      <a:pt x="2972" y="1457"/>
                    </a:lnTo>
                    <a:lnTo>
                      <a:pt x="2964" y="1462"/>
                    </a:lnTo>
                    <a:lnTo>
                      <a:pt x="2938" y="1445"/>
                    </a:lnTo>
                    <a:lnTo>
                      <a:pt x="2948" y="1462"/>
                    </a:lnTo>
                    <a:lnTo>
                      <a:pt x="2934" y="1474"/>
                    </a:lnTo>
                    <a:lnTo>
                      <a:pt x="2948" y="1462"/>
                    </a:lnTo>
                    <a:lnTo>
                      <a:pt x="2972" y="1474"/>
                    </a:lnTo>
                    <a:lnTo>
                      <a:pt x="2976" y="1474"/>
                    </a:lnTo>
                    <a:lnTo>
                      <a:pt x="2972" y="1474"/>
                    </a:lnTo>
                    <a:lnTo>
                      <a:pt x="2993" y="1483"/>
                    </a:lnTo>
                    <a:lnTo>
                      <a:pt x="2976" y="1495"/>
                    </a:lnTo>
                    <a:lnTo>
                      <a:pt x="2993" y="1483"/>
                    </a:lnTo>
                    <a:lnTo>
                      <a:pt x="3009" y="1516"/>
                    </a:lnTo>
                    <a:lnTo>
                      <a:pt x="2993" y="1528"/>
                    </a:lnTo>
                    <a:lnTo>
                      <a:pt x="2976" y="1511"/>
                    </a:lnTo>
                    <a:lnTo>
                      <a:pt x="2976" y="1516"/>
                    </a:lnTo>
                    <a:lnTo>
                      <a:pt x="2986" y="1528"/>
                    </a:lnTo>
                    <a:lnTo>
                      <a:pt x="2972" y="1516"/>
                    </a:lnTo>
                    <a:lnTo>
                      <a:pt x="2976" y="1528"/>
                    </a:lnTo>
                    <a:lnTo>
                      <a:pt x="2972" y="1533"/>
                    </a:lnTo>
                    <a:lnTo>
                      <a:pt x="2955" y="1516"/>
                    </a:lnTo>
                    <a:lnTo>
                      <a:pt x="2901" y="1495"/>
                    </a:lnTo>
                    <a:lnTo>
                      <a:pt x="2910" y="1483"/>
                    </a:lnTo>
                    <a:lnTo>
                      <a:pt x="2896" y="1483"/>
                    </a:lnTo>
                    <a:lnTo>
                      <a:pt x="2863" y="1445"/>
                    </a:lnTo>
                    <a:lnTo>
                      <a:pt x="2830" y="1441"/>
                    </a:lnTo>
                    <a:lnTo>
                      <a:pt x="2842" y="1429"/>
                    </a:lnTo>
                    <a:lnTo>
                      <a:pt x="2830" y="1441"/>
                    </a:lnTo>
                    <a:lnTo>
                      <a:pt x="2754" y="1400"/>
                    </a:lnTo>
                    <a:lnTo>
                      <a:pt x="2771" y="1384"/>
                    </a:lnTo>
                    <a:lnTo>
                      <a:pt x="2759" y="1355"/>
                    </a:lnTo>
                    <a:lnTo>
                      <a:pt x="2771" y="1346"/>
                    </a:lnTo>
                    <a:lnTo>
                      <a:pt x="2775" y="1355"/>
                    </a:lnTo>
                    <a:lnTo>
                      <a:pt x="2787" y="1389"/>
                    </a:lnTo>
                    <a:lnTo>
                      <a:pt x="2787" y="1384"/>
                    </a:lnTo>
                    <a:lnTo>
                      <a:pt x="2787" y="1367"/>
                    </a:lnTo>
                    <a:lnTo>
                      <a:pt x="2809" y="1367"/>
                    </a:lnTo>
                    <a:lnTo>
                      <a:pt x="2771" y="1346"/>
                    </a:lnTo>
                    <a:lnTo>
                      <a:pt x="2738" y="1367"/>
                    </a:lnTo>
                    <a:lnTo>
                      <a:pt x="2707" y="1372"/>
                    </a:lnTo>
                    <a:lnTo>
                      <a:pt x="2641" y="1355"/>
                    </a:lnTo>
                    <a:lnTo>
                      <a:pt x="2646" y="1346"/>
                    </a:lnTo>
                    <a:lnTo>
                      <a:pt x="2641" y="1329"/>
                    </a:lnTo>
                    <a:lnTo>
                      <a:pt x="2631" y="1334"/>
                    </a:lnTo>
                    <a:lnTo>
                      <a:pt x="2641" y="1346"/>
                    </a:lnTo>
                    <a:lnTo>
                      <a:pt x="2615" y="1351"/>
                    </a:lnTo>
                    <a:lnTo>
                      <a:pt x="2544" y="1334"/>
                    </a:lnTo>
                    <a:lnTo>
                      <a:pt x="2464" y="1346"/>
                    </a:lnTo>
                    <a:lnTo>
                      <a:pt x="2435" y="1329"/>
                    </a:lnTo>
                    <a:lnTo>
                      <a:pt x="2414" y="1329"/>
                    </a:lnTo>
                    <a:lnTo>
                      <a:pt x="2381" y="1313"/>
                    </a:lnTo>
                    <a:lnTo>
                      <a:pt x="2398" y="1280"/>
                    </a:lnTo>
                    <a:lnTo>
                      <a:pt x="2409" y="1263"/>
                    </a:lnTo>
                    <a:lnTo>
                      <a:pt x="2360" y="1301"/>
                    </a:lnTo>
                    <a:lnTo>
                      <a:pt x="2322" y="1289"/>
                    </a:lnTo>
                    <a:lnTo>
                      <a:pt x="2338" y="1273"/>
                    </a:lnTo>
                    <a:lnTo>
                      <a:pt x="2291" y="1273"/>
                    </a:lnTo>
                    <a:lnTo>
                      <a:pt x="2317" y="1263"/>
                    </a:lnTo>
                    <a:lnTo>
                      <a:pt x="2305" y="1256"/>
                    </a:lnTo>
                    <a:lnTo>
                      <a:pt x="2268" y="1273"/>
                    </a:lnTo>
                    <a:lnTo>
                      <a:pt x="2263" y="1263"/>
                    </a:lnTo>
                    <a:lnTo>
                      <a:pt x="2305" y="1256"/>
                    </a:lnTo>
                    <a:lnTo>
                      <a:pt x="2301" y="1244"/>
                    </a:lnTo>
                    <a:lnTo>
                      <a:pt x="2275" y="1256"/>
                    </a:lnTo>
                    <a:lnTo>
                      <a:pt x="2263" y="1240"/>
                    </a:lnTo>
                    <a:lnTo>
                      <a:pt x="2268" y="1223"/>
                    </a:lnTo>
                    <a:lnTo>
                      <a:pt x="2301" y="1223"/>
                    </a:lnTo>
                    <a:lnTo>
                      <a:pt x="2291" y="1223"/>
                    </a:lnTo>
                    <a:lnTo>
                      <a:pt x="2268" y="1223"/>
                    </a:lnTo>
                    <a:lnTo>
                      <a:pt x="2246" y="1240"/>
                    </a:lnTo>
                    <a:lnTo>
                      <a:pt x="2237" y="1235"/>
                    </a:lnTo>
                    <a:lnTo>
                      <a:pt x="2216" y="1244"/>
                    </a:lnTo>
                    <a:lnTo>
                      <a:pt x="2209" y="1244"/>
                    </a:lnTo>
                    <a:lnTo>
                      <a:pt x="2209" y="1218"/>
                    </a:lnTo>
                    <a:lnTo>
                      <a:pt x="2199" y="1244"/>
                    </a:lnTo>
                    <a:lnTo>
                      <a:pt x="2183" y="1256"/>
                    </a:lnTo>
                    <a:lnTo>
                      <a:pt x="2166" y="1240"/>
                    </a:lnTo>
                    <a:lnTo>
                      <a:pt x="2192" y="1207"/>
                    </a:lnTo>
                    <a:lnTo>
                      <a:pt x="2166" y="1235"/>
                    </a:lnTo>
                    <a:lnTo>
                      <a:pt x="2161" y="1223"/>
                    </a:lnTo>
                    <a:lnTo>
                      <a:pt x="2145" y="1235"/>
                    </a:lnTo>
                    <a:lnTo>
                      <a:pt x="2140" y="1240"/>
                    </a:lnTo>
                    <a:lnTo>
                      <a:pt x="2161" y="1235"/>
                    </a:lnTo>
                    <a:lnTo>
                      <a:pt x="2145" y="1256"/>
                    </a:lnTo>
                    <a:lnTo>
                      <a:pt x="2123" y="1256"/>
                    </a:lnTo>
                    <a:lnTo>
                      <a:pt x="2140" y="1256"/>
                    </a:lnTo>
                    <a:lnTo>
                      <a:pt x="2123" y="1273"/>
                    </a:lnTo>
                    <a:lnTo>
                      <a:pt x="2154" y="1263"/>
                    </a:lnTo>
                    <a:lnTo>
                      <a:pt x="2161" y="1280"/>
                    </a:lnTo>
                    <a:lnTo>
                      <a:pt x="2123" y="1296"/>
                    </a:lnTo>
                    <a:lnTo>
                      <a:pt x="2140" y="1289"/>
                    </a:lnTo>
                    <a:lnTo>
                      <a:pt x="2154" y="1296"/>
                    </a:lnTo>
                    <a:lnTo>
                      <a:pt x="2166" y="1280"/>
                    </a:lnTo>
                    <a:lnTo>
                      <a:pt x="2178" y="1296"/>
                    </a:lnTo>
                    <a:lnTo>
                      <a:pt x="2145" y="1329"/>
                    </a:lnTo>
                    <a:lnTo>
                      <a:pt x="2166" y="1318"/>
                    </a:lnTo>
                    <a:lnTo>
                      <a:pt x="2154" y="1334"/>
                    </a:lnTo>
                    <a:lnTo>
                      <a:pt x="2154" y="1329"/>
                    </a:lnTo>
                    <a:lnTo>
                      <a:pt x="2145" y="1351"/>
                    </a:lnTo>
                    <a:lnTo>
                      <a:pt x="2102" y="1351"/>
                    </a:lnTo>
                    <a:lnTo>
                      <a:pt x="2102" y="1334"/>
                    </a:lnTo>
                    <a:lnTo>
                      <a:pt x="2086" y="1355"/>
                    </a:lnTo>
                    <a:lnTo>
                      <a:pt x="2086" y="1346"/>
                    </a:lnTo>
                    <a:lnTo>
                      <a:pt x="2074" y="1334"/>
                    </a:lnTo>
                    <a:lnTo>
                      <a:pt x="2057" y="1367"/>
                    </a:lnTo>
                    <a:lnTo>
                      <a:pt x="2069" y="1372"/>
                    </a:lnTo>
                    <a:lnTo>
                      <a:pt x="2053" y="1351"/>
                    </a:lnTo>
                    <a:lnTo>
                      <a:pt x="2053" y="1384"/>
                    </a:lnTo>
                    <a:lnTo>
                      <a:pt x="2031" y="1367"/>
                    </a:lnTo>
                    <a:lnTo>
                      <a:pt x="2036" y="1372"/>
                    </a:lnTo>
                    <a:lnTo>
                      <a:pt x="2031" y="1384"/>
                    </a:lnTo>
                    <a:lnTo>
                      <a:pt x="2003" y="1400"/>
                    </a:lnTo>
                    <a:lnTo>
                      <a:pt x="2015" y="1372"/>
                    </a:lnTo>
                    <a:lnTo>
                      <a:pt x="1998" y="1400"/>
                    </a:lnTo>
                    <a:lnTo>
                      <a:pt x="1994" y="1389"/>
                    </a:lnTo>
                    <a:lnTo>
                      <a:pt x="1994" y="1400"/>
                    </a:lnTo>
                    <a:lnTo>
                      <a:pt x="1994" y="1407"/>
                    </a:lnTo>
                    <a:lnTo>
                      <a:pt x="1965" y="1424"/>
                    </a:lnTo>
                    <a:lnTo>
                      <a:pt x="1951" y="1424"/>
                    </a:lnTo>
                    <a:lnTo>
                      <a:pt x="1951" y="1429"/>
                    </a:lnTo>
                    <a:lnTo>
                      <a:pt x="1927" y="1424"/>
                    </a:lnTo>
                    <a:lnTo>
                      <a:pt x="1913" y="1441"/>
                    </a:lnTo>
                    <a:lnTo>
                      <a:pt x="1890" y="1424"/>
                    </a:lnTo>
                    <a:lnTo>
                      <a:pt x="1897" y="1407"/>
                    </a:lnTo>
                    <a:lnTo>
                      <a:pt x="1927" y="1400"/>
                    </a:lnTo>
                    <a:lnTo>
                      <a:pt x="1961" y="1367"/>
                    </a:lnTo>
                    <a:lnTo>
                      <a:pt x="1927" y="1384"/>
                    </a:lnTo>
                    <a:lnTo>
                      <a:pt x="1897" y="1372"/>
                    </a:lnTo>
                    <a:lnTo>
                      <a:pt x="1913" y="1346"/>
                    </a:lnTo>
                    <a:lnTo>
                      <a:pt x="1939" y="1301"/>
                    </a:lnTo>
                    <a:lnTo>
                      <a:pt x="1944" y="1289"/>
                    </a:lnTo>
                    <a:lnTo>
                      <a:pt x="1939" y="1263"/>
                    </a:lnTo>
                    <a:lnTo>
                      <a:pt x="2003" y="1235"/>
                    </a:lnTo>
                    <a:lnTo>
                      <a:pt x="2015" y="1240"/>
                    </a:lnTo>
                    <a:lnTo>
                      <a:pt x="2048" y="1240"/>
                    </a:lnTo>
                    <a:lnTo>
                      <a:pt x="2102" y="1256"/>
                    </a:lnTo>
                    <a:lnTo>
                      <a:pt x="2090" y="1240"/>
                    </a:lnTo>
                    <a:lnTo>
                      <a:pt x="2057" y="1240"/>
                    </a:lnTo>
                    <a:lnTo>
                      <a:pt x="2031" y="1218"/>
                    </a:lnTo>
                    <a:lnTo>
                      <a:pt x="2053" y="1190"/>
                    </a:lnTo>
                    <a:lnTo>
                      <a:pt x="2086" y="1185"/>
                    </a:lnTo>
                    <a:lnTo>
                      <a:pt x="2074" y="1178"/>
                    </a:lnTo>
                    <a:lnTo>
                      <a:pt x="2053" y="1185"/>
                    </a:lnTo>
                    <a:lnTo>
                      <a:pt x="2031" y="1207"/>
                    </a:lnTo>
                    <a:lnTo>
                      <a:pt x="1994" y="1207"/>
                    </a:lnTo>
                    <a:lnTo>
                      <a:pt x="1961" y="1218"/>
                    </a:lnTo>
                    <a:lnTo>
                      <a:pt x="1951" y="1235"/>
                    </a:lnTo>
                    <a:lnTo>
                      <a:pt x="1923" y="1240"/>
                    </a:lnTo>
                    <a:lnTo>
                      <a:pt x="1906" y="1256"/>
                    </a:lnTo>
                    <a:lnTo>
                      <a:pt x="1913" y="1263"/>
                    </a:lnTo>
                    <a:lnTo>
                      <a:pt x="1897" y="1263"/>
                    </a:lnTo>
                    <a:lnTo>
                      <a:pt x="1875" y="1289"/>
                    </a:lnTo>
                    <a:lnTo>
                      <a:pt x="1859" y="1313"/>
                    </a:lnTo>
                    <a:lnTo>
                      <a:pt x="1842" y="1318"/>
                    </a:lnTo>
                    <a:lnTo>
                      <a:pt x="1814" y="1313"/>
                    </a:lnTo>
                    <a:lnTo>
                      <a:pt x="1831" y="1313"/>
                    </a:lnTo>
                    <a:lnTo>
                      <a:pt x="1852" y="1334"/>
                    </a:lnTo>
                    <a:lnTo>
                      <a:pt x="1842" y="1351"/>
                    </a:lnTo>
                    <a:lnTo>
                      <a:pt x="1805" y="1367"/>
                    </a:lnTo>
                    <a:lnTo>
                      <a:pt x="1821" y="1367"/>
                    </a:lnTo>
                    <a:lnTo>
                      <a:pt x="1821" y="1372"/>
                    </a:lnTo>
                    <a:lnTo>
                      <a:pt x="1800" y="1384"/>
                    </a:lnTo>
                    <a:lnTo>
                      <a:pt x="1788" y="1384"/>
                    </a:lnTo>
                    <a:lnTo>
                      <a:pt x="1800" y="1372"/>
                    </a:lnTo>
                    <a:lnTo>
                      <a:pt x="1788" y="1367"/>
                    </a:lnTo>
                    <a:lnTo>
                      <a:pt x="1783" y="1389"/>
                    </a:lnTo>
                    <a:lnTo>
                      <a:pt x="1767" y="1400"/>
                    </a:lnTo>
                    <a:lnTo>
                      <a:pt x="1767" y="1407"/>
                    </a:lnTo>
                    <a:lnTo>
                      <a:pt x="1746" y="1412"/>
                    </a:lnTo>
                    <a:lnTo>
                      <a:pt x="1750" y="1412"/>
                    </a:lnTo>
                    <a:lnTo>
                      <a:pt x="1734" y="1441"/>
                    </a:lnTo>
                    <a:lnTo>
                      <a:pt x="1734" y="1445"/>
                    </a:lnTo>
                    <a:lnTo>
                      <a:pt x="1776" y="1445"/>
                    </a:lnTo>
                    <a:lnTo>
                      <a:pt x="1805" y="1474"/>
                    </a:lnTo>
                    <a:lnTo>
                      <a:pt x="1783" y="1495"/>
                    </a:lnTo>
                    <a:lnTo>
                      <a:pt x="1746" y="1511"/>
                    </a:lnTo>
                    <a:lnTo>
                      <a:pt x="1750" y="1516"/>
                    </a:lnTo>
                    <a:lnTo>
                      <a:pt x="1729" y="1528"/>
                    </a:lnTo>
                    <a:lnTo>
                      <a:pt x="1746" y="1528"/>
                    </a:lnTo>
                    <a:lnTo>
                      <a:pt x="1734" y="1540"/>
                    </a:lnTo>
                    <a:lnTo>
                      <a:pt x="1724" y="1540"/>
                    </a:lnTo>
                    <a:lnTo>
                      <a:pt x="1712" y="1556"/>
                    </a:lnTo>
                    <a:lnTo>
                      <a:pt x="1679" y="1556"/>
                    </a:lnTo>
                    <a:lnTo>
                      <a:pt x="1675" y="1568"/>
                    </a:lnTo>
                    <a:lnTo>
                      <a:pt x="1658" y="1585"/>
                    </a:lnTo>
                    <a:lnTo>
                      <a:pt x="1637" y="1585"/>
                    </a:lnTo>
                    <a:lnTo>
                      <a:pt x="1625" y="1606"/>
                    </a:lnTo>
                    <a:lnTo>
                      <a:pt x="1604" y="1606"/>
                    </a:lnTo>
                    <a:lnTo>
                      <a:pt x="1604" y="1611"/>
                    </a:lnTo>
                    <a:lnTo>
                      <a:pt x="1599" y="1611"/>
                    </a:lnTo>
                    <a:lnTo>
                      <a:pt x="1571" y="1627"/>
                    </a:lnTo>
                    <a:lnTo>
                      <a:pt x="1587" y="1627"/>
                    </a:lnTo>
                    <a:lnTo>
                      <a:pt x="1587" y="1644"/>
                    </a:lnTo>
                    <a:lnTo>
                      <a:pt x="1571" y="1660"/>
                    </a:lnTo>
                    <a:lnTo>
                      <a:pt x="1545" y="1660"/>
                    </a:lnTo>
                    <a:lnTo>
                      <a:pt x="1528" y="1684"/>
                    </a:lnTo>
                    <a:lnTo>
                      <a:pt x="1512" y="1677"/>
                    </a:lnTo>
                    <a:lnTo>
                      <a:pt x="1495" y="1693"/>
                    </a:lnTo>
                    <a:lnTo>
                      <a:pt x="1502" y="1700"/>
                    </a:lnTo>
                    <a:lnTo>
                      <a:pt x="1490" y="1693"/>
                    </a:lnTo>
                    <a:lnTo>
                      <a:pt x="1457" y="1705"/>
                    </a:lnTo>
                    <a:lnTo>
                      <a:pt x="1481" y="1705"/>
                    </a:lnTo>
                    <a:lnTo>
                      <a:pt x="1481" y="1717"/>
                    </a:lnTo>
                    <a:lnTo>
                      <a:pt x="1457" y="1705"/>
                    </a:lnTo>
                    <a:lnTo>
                      <a:pt x="1443" y="1717"/>
                    </a:lnTo>
                    <a:lnTo>
                      <a:pt x="1427" y="1738"/>
                    </a:lnTo>
                    <a:lnTo>
                      <a:pt x="1436" y="1738"/>
                    </a:lnTo>
                    <a:lnTo>
                      <a:pt x="1443" y="1733"/>
                    </a:lnTo>
                    <a:lnTo>
                      <a:pt x="1457" y="1733"/>
                    </a:lnTo>
                    <a:lnTo>
                      <a:pt x="1448" y="1750"/>
                    </a:lnTo>
                    <a:lnTo>
                      <a:pt x="1464" y="1738"/>
                    </a:lnTo>
                    <a:lnTo>
                      <a:pt x="1443" y="1750"/>
                    </a:lnTo>
                    <a:lnTo>
                      <a:pt x="1436" y="1762"/>
                    </a:lnTo>
                    <a:lnTo>
                      <a:pt x="1427" y="1755"/>
                    </a:lnTo>
                    <a:lnTo>
                      <a:pt x="1436" y="1750"/>
                    </a:lnTo>
                    <a:lnTo>
                      <a:pt x="1427" y="1750"/>
                    </a:lnTo>
                    <a:lnTo>
                      <a:pt x="1427" y="1771"/>
                    </a:lnTo>
                    <a:lnTo>
                      <a:pt x="1410" y="1762"/>
                    </a:lnTo>
                    <a:lnTo>
                      <a:pt x="1405" y="1771"/>
                    </a:lnTo>
                    <a:lnTo>
                      <a:pt x="1372" y="1778"/>
                    </a:lnTo>
                    <a:lnTo>
                      <a:pt x="1351" y="1804"/>
                    </a:lnTo>
                    <a:lnTo>
                      <a:pt x="1356" y="1778"/>
                    </a:lnTo>
                    <a:lnTo>
                      <a:pt x="1339" y="1778"/>
                    </a:lnTo>
                    <a:lnTo>
                      <a:pt x="1318" y="1795"/>
                    </a:lnTo>
                    <a:lnTo>
                      <a:pt x="1301" y="1804"/>
                    </a:lnTo>
                    <a:lnTo>
                      <a:pt x="1297" y="1816"/>
                    </a:lnTo>
                    <a:lnTo>
                      <a:pt x="1285" y="1811"/>
                    </a:lnTo>
                    <a:lnTo>
                      <a:pt x="1280" y="1811"/>
                    </a:lnTo>
                    <a:lnTo>
                      <a:pt x="1280" y="1816"/>
                    </a:lnTo>
                    <a:lnTo>
                      <a:pt x="1264" y="1811"/>
                    </a:lnTo>
                    <a:lnTo>
                      <a:pt x="1242" y="1828"/>
                    </a:lnTo>
                    <a:lnTo>
                      <a:pt x="1226" y="1828"/>
                    </a:lnTo>
                    <a:lnTo>
                      <a:pt x="1226" y="1816"/>
                    </a:lnTo>
                    <a:lnTo>
                      <a:pt x="1231" y="1804"/>
                    </a:lnTo>
                    <a:lnTo>
                      <a:pt x="1247" y="1811"/>
                    </a:lnTo>
                    <a:lnTo>
                      <a:pt x="1221" y="1804"/>
                    </a:lnTo>
                    <a:lnTo>
                      <a:pt x="1205" y="1833"/>
                    </a:lnTo>
                    <a:lnTo>
                      <a:pt x="1188" y="1844"/>
                    </a:lnTo>
                    <a:lnTo>
                      <a:pt x="1193" y="1849"/>
                    </a:lnTo>
                    <a:lnTo>
                      <a:pt x="1179" y="1861"/>
                    </a:lnTo>
                    <a:lnTo>
                      <a:pt x="1179" y="1849"/>
                    </a:lnTo>
                    <a:lnTo>
                      <a:pt x="1172" y="1849"/>
                    </a:lnTo>
                    <a:lnTo>
                      <a:pt x="1172" y="1861"/>
                    </a:lnTo>
                    <a:lnTo>
                      <a:pt x="1155" y="1861"/>
                    </a:lnTo>
                    <a:lnTo>
                      <a:pt x="1150" y="1833"/>
                    </a:lnTo>
                    <a:lnTo>
                      <a:pt x="1141" y="1844"/>
                    </a:lnTo>
                    <a:lnTo>
                      <a:pt x="1150" y="1849"/>
                    </a:lnTo>
                    <a:lnTo>
                      <a:pt x="1150" y="1866"/>
                    </a:lnTo>
                    <a:lnTo>
                      <a:pt x="1141" y="1866"/>
                    </a:lnTo>
                    <a:lnTo>
                      <a:pt x="1124" y="1873"/>
                    </a:lnTo>
                    <a:lnTo>
                      <a:pt x="1103" y="1849"/>
                    </a:lnTo>
                    <a:lnTo>
                      <a:pt x="1103" y="1861"/>
                    </a:lnTo>
                    <a:lnTo>
                      <a:pt x="1117" y="1866"/>
                    </a:lnTo>
                    <a:lnTo>
                      <a:pt x="1096" y="1882"/>
                    </a:lnTo>
                    <a:lnTo>
                      <a:pt x="1096" y="1873"/>
                    </a:lnTo>
                    <a:lnTo>
                      <a:pt x="1103" y="1866"/>
                    </a:lnTo>
                    <a:lnTo>
                      <a:pt x="1096" y="1849"/>
                    </a:lnTo>
                    <a:lnTo>
                      <a:pt x="1117" y="1849"/>
                    </a:lnTo>
                    <a:lnTo>
                      <a:pt x="1124" y="1833"/>
                    </a:lnTo>
                    <a:lnTo>
                      <a:pt x="1150" y="1828"/>
                    </a:lnTo>
                    <a:lnTo>
                      <a:pt x="1155" y="1828"/>
                    </a:lnTo>
                    <a:lnTo>
                      <a:pt x="1150" y="1816"/>
                    </a:lnTo>
                    <a:lnTo>
                      <a:pt x="1172" y="1795"/>
                    </a:lnTo>
                    <a:lnTo>
                      <a:pt x="1205" y="1771"/>
                    </a:lnTo>
                    <a:lnTo>
                      <a:pt x="1259" y="1771"/>
                    </a:lnTo>
                    <a:lnTo>
                      <a:pt x="1280" y="1795"/>
                    </a:lnTo>
                    <a:lnTo>
                      <a:pt x="1275" y="1778"/>
                    </a:lnTo>
                    <a:lnTo>
                      <a:pt x="1313" y="1788"/>
                    </a:lnTo>
                    <a:lnTo>
                      <a:pt x="1313" y="1778"/>
                    </a:lnTo>
                    <a:lnTo>
                      <a:pt x="1285" y="1762"/>
                    </a:lnTo>
                    <a:lnTo>
                      <a:pt x="1301" y="1733"/>
                    </a:lnTo>
                    <a:lnTo>
                      <a:pt x="1394" y="1684"/>
                    </a:lnTo>
                    <a:lnTo>
                      <a:pt x="1427" y="1684"/>
                    </a:lnTo>
                    <a:lnTo>
                      <a:pt x="1427" y="1651"/>
                    </a:lnTo>
                    <a:lnTo>
                      <a:pt x="1474" y="1611"/>
                    </a:lnTo>
                    <a:lnTo>
                      <a:pt x="1490" y="1606"/>
                    </a:lnTo>
                    <a:lnTo>
                      <a:pt x="1495" y="1611"/>
                    </a:lnTo>
                    <a:lnTo>
                      <a:pt x="1512" y="1611"/>
                    </a:lnTo>
                    <a:lnTo>
                      <a:pt x="1512" y="1606"/>
                    </a:lnTo>
                    <a:lnTo>
                      <a:pt x="1502" y="1611"/>
                    </a:lnTo>
                    <a:lnTo>
                      <a:pt x="1490" y="1594"/>
                    </a:lnTo>
                    <a:lnTo>
                      <a:pt x="1495" y="1552"/>
                    </a:lnTo>
                    <a:lnTo>
                      <a:pt x="1512" y="1533"/>
                    </a:lnTo>
                    <a:lnTo>
                      <a:pt x="1528" y="1540"/>
                    </a:lnTo>
                    <a:lnTo>
                      <a:pt x="1502" y="1533"/>
                    </a:lnTo>
                    <a:lnTo>
                      <a:pt x="1502" y="1516"/>
                    </a:lnTo>
                    <a:lnTo>
                      <a:pt x="1533" y="1478"/>
                    </a:lnTo>
                    <a:lnTo>
                      <a:pt x="1557" y="1441"/>
                    </a:lnTo>
                    <a:lnTo>
                      <a:pt x="1533" y="1462"/>
                    </a:lnTo>
                    <a:lnTo>
                      <a:pt x="1457" y="1495"/>
                    </a:lnTo>
                    <a:lnTo>
                      <a:pt x="1427" y="1474"/>
                    </a:lnTo>
                    <a:lnTo>
                      <a:pt x="1436" y="1457"/>
                    </a:lnTo>
                    <a:lnTo>
                      <a:pt x="1457" y="1457"/>
                    </a:lnTo>
                    <a:lnTo>
                      <a:pt x="1474" y="1462"/>
                    </a:lnTo>
                    <a:lnTo>
                      <a:pt x="1436" y="1429"/>
                    </a:lnTo>
                    <a:lnTo>
                      <a:pt x="1436" y="1445"/>
                    </a:lnTo>
                    <a:lnTo>
                      <a:pt x="1427" y="1462"/>
                    </a:lnTo>
                    <a:lnTo>
                      <a:pt x="1420" y="1462"/>
                    </a:lnTo>
                    <a:lnTo>
                      <a:pt x="1420" y="1457"/>
                    </a:lnTo>
                    <a:lnTo>
                      <a:pt x="1410" y="1457"/>
                    </a:lnTo>
                    <a:lnTo>
                      <a:pt x="1420" y="1478"/>
                    </a:lnTo>
                    <a:lnTo>
                      <a:pt x="1410" y="1478"/>
                    </a:lnTo>
                    <a:lnTo>
                      <a:pt x="1410" y="1474"/>
                    </a:lnTo>
                    <a:lnTo>
                      <a:pt x="1405" y="1478"/>
                    </a:lnTo>
                    <a:lnTo>
                      <a:pt x="1420" y="1500"/>
                    </a:lnTo>
                    <a:lnTo>
                      <a:pt x="1405" y="1516"/>
                    </a:lnTo>
                    <a:lnTo>
                      <a:pt x="1394" y="1511"/>
                    </a:lnTo>
                    <a:lnTo>
                      <a:pt x="1356" y="1457"/>
                    </a:lnTo>
                    <a:lnTo>
                      <a:pt x="1335" y="1478"/>
                    </a:lnTo>
                    <a:lnTo>
                      <a:pt x="1313" y="1457"/>
                    </a:lnTo>
                    <a:lnTo>
                      <a:pt x="1301" y="1445"/>
                    </a:lnTo>
                    <a:lnTo>
                      <a:pt x="1221" y="1495"/>
                    </a:lnTo>
                    <a:lnTo>
                      <a:pt x="1179" y="1483"/>
                    </a:lnTo>
                    <a:lnTo>
                      <a:pt x="1193" y="1483"/>
                    </a:lnTo>
                    <a:lnTo>
                      <a:pt x="1209" y="1478"/>
                    </a:lnTo>
                    <a:lnTo>
                      <a:pt x="1205" y="1462"/>
                    </a:lnTo>
                    <a:lnTo>
                      <a:pt x="1205" y="1445"/>
                    </a:lnTo>
                    <a:lnTo>
                      <a:pt x="1221" y="1441"/>
                    </a:lnTo>
                    <a:lnTo>
                      <a:pt x="1193" y="1445"/>
                    </a:lnTo>
                    <a:lnTo>
                      <a:pt x="1188" y="1441"/>
                    </a:lnTo>
                    <a:lnTo>
                      <a:pt x="1193" y="1412"/>
                    </a:lnTo>
                    <a:lnTo>
                      <a:pt x="1209" y="1400"/>
                    </a:lnTo>
                    <a:lnTo>
                      <a:pt x="1172" y="1334"/>
                    </a:lnTo>
                    <a:lnTo>
                      <a:pt x="1179" y="1318"/>
                    </a:lnTo>
                    <a:lnTo>
                      <a:pt x="1167" y="1329"/>
                    </a:lnTo>
                    <a:lnTo>
                      <a:pt x="1167" y="1313"/>
                    </a:lnTo>
                    <a:lnTo>
                      <a:pt x="1172" y="1280"/>
                    </a:lnTo>
                    <a:lnTo>
                      <a:pt x="1193" y="1273"/>
                    </a:lnTo>
                    <a:lnTo>
                      <a:pt x="1172" y="1280"/>
                    </a:lnTo>
                    <a:lnTo>
                      <a:pt x="1150" y="1313"/>
                    </a:lnTo>
                    <a:lnTo>
                      <a:pt x="1155" y="1329"/>
                    </a:lnTo>
                    <a:lnTo>
                      <a:pt x="1155" y="1346"/>
                    </a:lnTo>
                    <a:lnTo>
                      <a:pt x="1096" y="1367"/>
                    </a:lnTo>
                    <a:lnTo>
                      <a:pt x="1042" y="1367"/>
                    </a:lnTo>
                    <a:lnTo>
                      <a:pt x="1032" y="1351"/>
                    </a:lnTo>
                    <a:lnTo>
                      <a:pt x="1042" y="1346"/>
                    </a:lnTo>
                    <a:lnTo>
                      <a:pt x="1016" y="1334"/>
                    </a:lnTo>
                    <a:lnTo>
                      <a:pt x="1004" y="1313"/>
                    </a:lnTo>
                    <a:lnTo>
                      <a:pt x="973" y="1296"/>
                    </a:lnTo>
                    <a:lnTo>
                      <a:pt x="978" y="1289"/>
                    </a:lnTo>
                    <a:lnTo>
                      <a:pt x="952" y="1289"/>
                    </a:lnTo>
                    <a:lnTo>
                      <a:pt x="1004" y="1244"/>
                    </a:lnTo>
                    <a:lnTo>
                      <a:pt x="1004" y="1256"/>
                    </a:lnTo>
                    <a:lnTo>
                      <a:pt x="1032" y="1263"/>
                    </a:lnTo>
                    <a:lnTo>
                      <a:pt x="1032" y="1273"/>
                    </a:lnTo>
                    <a:lnTo>
                      <a:pt x="1016" y="1289"/>
                    </a:lnTo>
                    <a:lnTo>
                      <a:pt x="1049" y="1263"/>
                    </a:lnTo>
                    <a:lnTo>
                      <a:pt x="1065" y="1263"/>
                    </a:lnTo>
                    <a:lnTo>
                      <a:pt x="1065" y="1280"/>
                    </a:lnTo>
                    <a:lnTo>
                      <a:pt x="1070" y="1280"/>
                    </a:lnTo>
                    <a:lnTo>
                      <a:pt x="1086" y="1263"/>
                    </a:lnTo>
                    <a:lnTo>
                      <a:pt x="1058" y="1256"/>
                    </a:lnTo>
                    <a:lnTo>
                      <a:pt x="1079" y="1244"/>
                    </a:lnTo>
                    <a:lnTo>
                      <a:pt x="1065" y="1240"/>
                    </a:lnTo>
                    <a:lnTo>
                      <a:pt x="1049" y="1256"/>
                    </a:lnTo>
                    <a:lnTo>
                      <a:pt x="973" y="1244"/>
                    </a:lnTo>
                    <a:lnTo>
                      <a:pt x="961" y="1240"/>
                    </a:lnTo>
                    <a:lnTo>
                      <a:pt x="994" y="1223"/>
                    </a:lnTo>
                    <a:lnTo>
                      <a:pt x="973" y="1223"/>
                    </a:lnTo>
                    <a:lnTo>
                      <a:pt x="973" y="1207"/>
                    </a:lnTo>
                    <a:lnTo>
                      <a:pt x="961" y="1218"/>
                    </a:lnTo>
                    <a:lnTo>
                      <a:pt x="957" y="1218"/>
                    </a:lnTo>
                    <a:lnTo>
                      <a:pt x="973" y="1190"/>
                    </a:lnTo>
                    <a:lnTo>
                      <a:pt x="990" y="1185"/>
                    </a:lnTo>
                    <a:lnTo>
                      <a:pt x="1004" y="1169"/>
                    </a:lnTo>
                    <a:lnTo>
                      <a:pt x="957" y="1202"/>
                    </a:lnTo>
                    <a:lnTo>
                      <a:pt x="952" y="1218"/>
                    </a:lnTo>
                    <a:lnTo>
                      <a:pt x="957" y="1218"/>
                    </a:lnTo>
                    <a:lnTo>
                      <a:pt x="952" y="1235"/>
                    </a:lnTo>
                    <a:lnTo>
                      <a:pt x="935" y="1223"/>
                    </a:lnTo>
                    <a:lnTo>
                      <a:pt x="935" y="1207"/>
                    </a:lnTo>
                    <a:lnTo>
                      <a:pt x="919" y="1202"/>
                    </a:lnTo>
                    <a:lnTo>
                      <a:pt x="919" y="1190"/>
                    </a:lnTo>
                    <a:lnTo>
                      <a:pt x="924" y="1185"/>
                    </a:lnTo>
                    <a:lnTo>
                      <a:pt x="924" y="1178"/>
                    </a:lnTo>
                    <a:lnTo>
                      <a:pt x="902" y="1185"/>
                    </a:lnTo>
                    <a:lnTo>
                      <a:pt x="898" y="1169"/>
                    </a:lnTo>
                    <a:lnTo>
                      <a:pt x="898" y="1162"/>
                    </a:lnTo>
                    <a:lnTo>
                      <a:pt x="902" y="1169"/>
                    </a:lnTo>
                    <a:lnTo>
                      <a:pt x="924" y="1162"/>
                    </a:lnTo>
                    <a:lnTo>
                      <a:pt x="902" y="1145"/>
                    </a:lnTo>
                    <a:lnTo>
                      <a:pt x="935" y="1145"/>
                    </a:lnTo>
                    <a:lnTo>
                      <a:pt x="924" y="1129"/>
                    </a:lnTo>
                    <a:lnTo>
                      <a:pt x="935" y="1112"/>
                    </a:lnTo>
                    <a:lnTo>
                      <a:pt x="961" y="1074"/>
                    </a:lnTo>
                    <a:lnTo>
                      <a:pt x="978" y="1067"/>
                    </a:lnTo>
                    <a:lnTo>
                      <a:pt x="1004" y="1079"/>
                    </a:lnTo>
                    <a:lnTo>
                      <a:pt x="990" y="1067"/>
                    </a:lnTo>
                    <a:lnTo>
                      <a:pt x="1016" y="1041"/>
                    </a:lnTo>
                    <a:lnTo>
                      <a:pt x="994" y="1051"/>
                    </a:lnTo>
                    <a:lnTo>
                      <a:pt x="990" y="1034"/>
                    </a:lnTo>
                    <a:lnTo>
                      <a:pt x="1004" y="1013"/>
                    </a:lnTo>
                    <a:lnTo>
                      <a:pt x="1027" y="1013"/>
                    </a:lnTo>
                    <a:lnTo>
                      <a:pt x="1011" y="1001"/>
                    </a:lnTo>
                    <a:lnTo>
                      <a:pt x="1016" y="985"/>
                    </a:lnTo>
                    <a:lnTo>
                      <a:pt x="1049" y="985"/>
                    </a:lnTo>
                    <a:lnTo>
                      <a:pt x="1096" y="1013"/>
                    </a:lnTo>
                    <a:lnTo>
                      <a:pt x="1112" y="1013"/>
                    </a:lnTo>
                    <a:lnTo>
                      <a:pt x="1150" y="985"/>
                    </a:lnTo>
                    <a:lnTo>
                      <a:pt x="1167" y="959"/>
                    </a:lnTo>
                    <a:lnTo>
                      <a:pt x="1188" y="959"/>
                    </a:lnTo>
                    <a:lnTo>
                      <a:pt x="1179" y="963"/>
                    </a:lnTo>
                    <a:lnTo>
                      <a:pt x="1247" y="959"/>
                    </a:lnTo>
                    <a:lnTo>
                      <a:pt x="1275" y="930"/>
                    </a:lnTo>
                    <a:lnTo>
                      <a:pt x="1275" y="914"/>
                    </a:lnTo>
                    <a:lnTo>
                      <a:pt x="1264" y="874"/>
                    </a:lnTo>
                    <a:lnTo>
                      <a:pt x="1247" y="852"/>
                    </a:lnTo>
                    <a:lnTo>
                      <a:pt x="1226" y="852"/>
                    </a:lnTo>
                    <a:lnTo>
                      <a:pt x="1231" y="836"/>
                    </a:lnTo>
                    <a:lnTo>
                      <a:pt x="1259" y="848"/>
                    </a:lnTo>
                    <a:lnTo>
                      <a:pt x="1275" y="831"/>
                    </a:lnTo>
                    <a:lnTo>
                      <a:pt x="1275" y="819"/>
                    </a:lnTo>
                    <a:lnTo>
                      <a:pt x="1247" y="796"/>
                    </a:lnTo>
                    <a:lnTo>
                      <a:pt x="1259" y="791"/>
                    </a:lnTo>
                    <a:lnTo>
                      <a:pt x="1247" y="791"/>
                    </a:lnTo>
                    <a:lnTo>
                      <a:pt x="1226" y="815"/>
                    </a:lnTo>
                    <a:lnTo>
                      <a:pt x="1179" y="819"/>
                    </a:lnTo>
                    <a:lnTo>
                      <a:pt x="1150" y="848"/>
                    </a:lnTo>
                    <a:lnTo>
                      <a:pt x="1150" y="852"/>
                    </a:lnTo>
                    <a:lnTo>
                      <a:pt x="1134" y="857"/>
                    </a:lnTo>
                    <a:lnTo>
                      <a:pt x="1124" y="848"/>
                    </a:lnTo>
                    <a:lnTo>
                      <a:pt x="1112" y="819"/>
                    </a:lnTo>
                    <a:lnTo>
                      <a:pt x="1096" y="836"/>
                    </a:lnTo>
                    <a:lnTo>
                      <a:pt x="1117" y="848"/>
                    </a:lnTo>
                    <a:lnTo>
                      <a:pt x="1112" y="852"/>
                    </a:lnTo>
                    <a:lnTo>
                      <a:pt x="1086" y="836"/>
                    </a:lnTo>
                    <a:lnTo>
                      <a:pt x="1065" y="831"/>
                    </a:lnTo>
                    <a:lnTo>
                      <a:pt x="990" y="836"/>
                    </a:lnTo>
                    <a:lnTo>
                      <a:pt x="990" y="848"/>
                    </a:lnTo>
                    <a:lnTo>
                      <a:pt x="994" y="848"/>
                    </a:lnTo>
                    <a:lnTo>
                      <a:pt x="978" y="852"/>
                    </a:lnTo>
                    <a:lnTo>
                      <a:pt x="902" y="836"/>
                    </a:lnTo>
                    <a:lnTo>
                      <a:pt x="881" y="819"/>
                    </a:lnTo>
                    <a:lnTo>
                      <a:pt x="869" y="815"/>
                    </a:lnTo>
                    <a:lnTo>
                      <a:pt x="881" y="796"/>
                    </a:lnTo>
                    <a:lnTo>
                      <a:pt x="843" y="763"/>
                    </a:lnTo>
                    <a:lnTo>
                      <a:pt x="848" y="746"/>
                    </a:lnTo>
                    <a:lnTo>
                      <a:pt x="843" y="763"/>
                    </a:lnTo>
                    <a:lnTo>
                      <a:pt x="864" y="774"/>
                    </a:lnTo>
                    <a:lnTo>
                      <a:pt x="881" y="746"/>
                    </a:lnTo>
                    <a:lnTo>
                      <a:pt x="902" y="758"/>
                    </a:lnTo>
                    <a:lnTo>
                      <a:pt x="810" y="737"/>
                    </a:lnTo>
                    <a:lnTo>
                      <a:pt x="756" y="708"/>
                    </a:lnTo>
                    <a:lnTo>
                      <a:pt x="777" y="692"/>
                    </a:lnTo>
                    <a:lnTo>
                      <a:pt x="763" y="708"/>
                    </a:lnTo>
                    <a:lnTo>
                      <a:pt x="801" y="704"/>
                    </a:lnTo>
                    <a:lnTo>
                      <a:pt x="801" y="692"/>
                    </a:lnTo>
                    <a:lnTo>
                      <a:pt x="801" y="687"/>
                    </a:lnTo>
                    <a:lnTo>
                      <a:pt x="831" y="680"/>
                    </a:lnTo>
                    <a:lnTo>
                      <a:pt x="848" y="680"/>
                    </a:lnTo>
                    <a:lnTo>
                      <a:pt x="843" y="670"/>
                    </a:lnTo>
                    <a:lnTo>
                      <a:pt x="886" y="647"/>
                    </a:lnTo>
                    <a:lnTo>
                      <a:pt x="924" y="654"/>
                    </a:lnTo>
                    <a:lnTo>
                      <a:pt x="940" y="647"/>
                    </a:lnTo>
                    <a:lnTo>
                      <a:pt x="919" y="635"/>
                    </a:lnTo>
                    <a:lnTo>
                      <a:pt x="935" y="626"/>
                    </a:lnTo>
                    <a:lnTo>
                      <a:pt x="1027" y="597"/>
                    </a:lnTo>
                    <a:lnTo>
                      <a:pt x="1070" y="597"/>
                    </a:lnTo>
                    <a:lnTo>
                      <a:pt x="1058" y="597"/>
                    </a:lnTo>
                    <a:lnTo>
                      <a:pt x="1065" y="609"/>
                    </a:lnTo>
                    <a:lnTo>
                      <a:pt x="1058" y="626"/>
                    </a:lnTo>
                    <a:lnTo>
                      <a:pt x="1058" y="630"/>
                    </a:lnTo>
                    <a:lnTo>
                      <a:pt x="1032" y="647"/>
                    </a:lnTo>
                    <a:lnTo>
                      <a:pt x="1070" y="663"/>
                    </a:lnTo>
                    <a:lnTo>
                      <a:pt x="1188" y="663"/>
                    </a:lnTo>
                    <a:lnTo>
                      <a:pt x="1205" y="670"/>
                    </a:lnTo>
                    <a:lnTo>
                      <a:pt x="1226" y="635"/>
                    </a:lnTo>
                    <a:lnTo>
                      <a:pt x="1259" y="635"/>
                    </a:lnTo>
                    <a:lnTo>
                      <a:pt x="1247" y="654"/>
                    </a:lnTo>
                    <a:lnTo>
                      <a:pt x="1259" y="635"/>
                    </a:lnTo>
                    <a:lnTo>
                      <a:pt x="1247" y="626"/>
                    </a:lnTo>
                    <a:lnTo>
                      <a:pt x="1226" y="614"/>
                    </a:lnTo>
                    <a:lnTo>
                      <a:pt x="1193" y="626"/>
                    </a:lnTo>
                    <a:lnTo>
                      <a:pt x="1193" y="630"/>
                    </a:lnTo>
                    <a:lnTo>
                      <a:pt x="1193" y="597"/>
                    </a:lnTo>
                    <a:lnTo>
                      <a:pt x="1172" y="581"/>
                    </a:lnTo>
                    <a:lnTo>
                      <a:pt x="1155" y="576"/>
                    </a:lnTo>
                    <a:lnTo>
                      <a:pt x="1141" y="559"/>
                    </a:lnTo>
                    <a:lnTo>
                      <a:pt x="1167" y="552"/>
                    </a:lnTo>
                    <a:lnTo>
                      <a:pt x="1179" y="569"/>
                    </a:lnTo>
                    <a:lnTo>
                      <a:pt x="1188" y="593"/>
                    </a:lnTo>
                    <a:lnTo>
                      <a:pt x="1221" y="614"/>
                    </a:lnTo>
                    <a:lnTo>
                      <a:pt x="1247" y="597"/>
                    </a:lnTo>
                    <a:lnTo>
                      <a:pt x="1275" y="626"/>
                    </a:lnTo>
                    <a:lnTo>
                      <a:pt x="1313" y="626"/>
                    </a:lnTo>
                    <a:lnTo>
                      <a:pt x="1313" y="593"/>
                    </a:lnTo>
                    <a:lnTo>
                      <a:pt x="1285" y="597"/>
                    </a:lnTo>
                    <a:lnTo>
                      <a:pt x="1247" y="593"/>
                    </a:lnTo>
                    <a:lnTo>
                      <a:pt x="1242" y="597"/>
                    </a:lnTo>
                    <a:lnTo>
                      <a:pt x="1226" y="597"/>
                    </a:lnTo>
                    <a:lnTo>
                      <a:pt x="1193" y="581"/>
                    </a:lnTo>
                    <a:lnTo>
                      <a:pt x="1209" y="552"/>
                    </a:lnTo>
                    <a:lnTo>
                      <a:pt x="1226" y="552"/>
                    </a:lnTo>
                    <a:lnTo>
                      <a:pt x="1193" y="543"/>
                    </a:lnTo>
                    <a:lnTo>
                      <a:pt x="1155" y="543"/>
                    </a:lnTo>
                    <a:lnTo>
                      <a:pt x="1167" y="526"/>
                    </a:lnTo>
                    <a:lnTo>
                      <a:pt x="1150" y="543"/>
                    </a:lnTo>
                    <a:lnTo>
                      <a:pt x="1065" y="536"/>
                    </a:lnTo>
                    <a:lnTo>
                      <a:pt x="1065" y="503"/>
                    </a:lnTo>
                    <a:lnTo>
                      <a:pt x="1042" y="470"/>
                    </a:lnTo>
                    <a:lnTo>
                      <a:pt x="952" y="415"/>
                    </a:lnTo>
                    <a:lnTo>
                      <a:pt x="848" y="375"/>
                    </a:lnTo>
                    <a:lnTo>
                      <a:pt x="886" y="370"/>
                    </a:lnTo>
                    <a:lnTo>
                      <a:pt x="898" y="354"/>
                    </a:lnTo>
                    <a:lnTo>
                      <a:pt x="898" y="314"/>
                    </a:lnTo>
                    <a:lnTo>
                      <a:pt x="1027" y="304"/>
                    </a:lnTo>
                    <a:lnTo>
                      <a:pt x="1070" y="281"/>
                    </a:lnTo>
                    <a:lnTo>
                      <a:pt x="1103" y="243"/>
                    </a:lnTo>
                    <a:lnTo>
                      <a:pt x="1103" y="259"/>
                    </a:lnTo>
                    <a:lnTo>
                      <a:pt x="1112" y="248"/>
                    </a:lnTo>
                    <a:lnTo>
                      <a:pt x="1124" y="210"/>
                    </a:lnTo>
                    <a:lnTo>
                      <a:pt x="1117" y="205"/>
                    </a:lnTo>
                    <a:lnTo>
                      <a:pt x="1193" y="132"/>
                    </a:lnTo>
                    <a:lnTo>
                      <a:pt x="1205" y="137"/>
                    </a:lnTo>
                    <a:lnTo>
                      <a:pt x="1179" y="153"/>
                    </a:lnTo>
                    <a:lnTo>
                      <a:pt x="1247" y="137"/>
                    </a:lnTo>
                    <a:lnTo>
                      <a:pt x="1335" y="94"/>
                    </a:lnTo>
                    <a:lnTo>
                      <a:pt x="1335" y="111"/>
                    </a:lnTo>
                    <a:lnTo>
                      <a:pt x="1318" y="111"/>
                    </a:lnTo>
                    <a:lnTo>
                      <a:pt x="1330" y="111"/>
                    </a:lnTo>
                    <a:lnTo>
                      <a:pt x="1339" y="137"/>
                    </a:lnTo>
                    <a:lnTo>
                      <a:pt x="1335" y="127"/>
                    </a:lnTo>
                    <a:lnTo>
                      <a:pt x="1339" y="111"/>
                    </a:lnTo>
                    <a:lnTo>
                      <a:pt x="1382" y="99"/>
                    </a:lnTo>
                    <a:lnTo>
                      <a:pt x="1351" y="111"/>
                    </a:lnTo>
                    <a:lnTo>
                      <a:pt x="1335" y="94"/>
                    </a:lnTo>
                    <a:lnTo>
                      <a:pt x="1318" y="94"/>
                    </a:lnTo>
                    <a:lnTo>
                      <a:pt x="1389" y="61"/>
                    </a:lnTo>
                    <a:lnTo>
                      <a:pt x="1372" y="61"/>
                    </a:lnTo>
                    <a:lnTo>
                      <a:pt x="1389" y="61"/>
                    </a:lnTo>
                    <a:lnTo>
                      <a:pt x="1368" y="70"/>
                    </a:lnTo>
                    <a:lnTo>
                      <a:pt x="1382" y="78"/>
                    </a:lnTo>
                    <a:lnTo>
                      <a:pt x="1405" y="70"/>
                    </a:lnTo>
                    <a:lnTo>
                      <a:pt x="1481" y="61"/>
                    </a:lnTo>
                    <a:lnTo>
                      <a:pt x="1566" y="0"/>
                    </a:lnTo>
                    <a:lnTo>
                      <a:pt x="1583" y="4"/>
                    </a:lnTo>
                    <a:lnTo>
                      <a:pt x="1637" y="21"/>
                    </a:lnTo>
                    <a:lnTo>
                      <a:pt x="1642" y="26"/>
                    </a:lnTo>
                    <a:lnTo>
                      <a:pt x="1625" y="42"/>
                    </a:lnTo>
                    <a:lnTo>
                      <a:pt x="1599" y="54"/>
                    </a:lnTo>
                    <a:lnTo>
                      <a:pt x="1611" y="54"/>
                    </a:lnTo>
                    <a:lnTo>
                      <a:pt x="1611" y="78"/>
                    </a:lnTo>
                    <a:lnTo>
                      <a:pt x="1637" y="61"/>
                    </a:lnTo>
                    <a:lnTo>
                      <a:pt x="1653" y="42"/>
                    </a:lnTo>
                    <a:lnTo>
                      <a:pt x="1670" y="42"/>
                    </a:lnTo>
                    <a:lnTo>
                      <a:pt x="1658" y="26"/>
                    </a:lnTo>
                    <a:lnTo>
                      <a:pt x="1675" y="21"/>
                    </a:lnTo>
                    <a:lnTo>
                      <a:pt x="1675" y="37"/>
                    </a:lnTo>
                    <a:lnTo>
                      <a:pt x="1679" y="26"/>
                    </a:lnTo>
                    <a:lnTo>
                      <a:pt x="1696" y="26"/>
                    </a:lnTo>
                    <a:lnTo>
                      <a:pt x="1712" y="42"/>
                    </a:lnTo>
                    <a:lnTo>
                      <a:pt x="1708" y="54"/>
                    </a:lnTo>
                    <a:lnTo>
                      <a:pt x="1708" y="61"/>
                    </a:lnTo>
                    <a:lnTo>
                      <a:pt x="1734" y="70"/>
                    </a:lnTo>
                    <a:lnTo>
                      <a:pt x="1762" y="54"/>
                    </a:lnTo>
                    <a:lnTo>
                      <a:pt x="1805" y="54"/>
                    </a:lnTo>
                    <a:lnTo>
                      <a:pt x="1875" y="61"/>
                    </a:lnTo>
                    <a:lnTo>
                      <a:pt x="1859" y="82"/>
                    </a:lnTo>
                    <a:lnTo>
                      <a:pt x="1885" y="99"/>
                    </a:lnTo>
                    <a:lnTo>
                      <a:pt x="1842" y="99"/>
                    </a:lnTo>
                    <a:lnTo>
                      <a:pt x="1913" y="99"/>
                    </a:lnTo>
                    <a:lnTo>
                      <a:pt x="1890" y="115"/>
                    </a:lnTo>
                    <a:lnTo>
                      <a:pt x="1944" y="127"/>
                    </a:lnTo>
                    <a:lnTo>
                      <a:pt x="1951" y="115"/>
                    </a:lnTo>
                    <a:lnTo>
                      <a:pt x="1977" y="111"/>
                    </a:lnTo>
                    <a:lnTo>
                      <a:pt x="2003" y="111"/>
                    </a:lnTo>
                    <a:lnTo>
                      <a:pt x="2003" y="115"/>
                    </a:lnTo>
                    <a:lnTo>
                      <a:pt x="2036" y="111"/>
                    </a:lnTo>
                    <a:lnTo>
                      <a:pt x="2090" y="111"/>
                    </a:lnTo>
                    <a:lnTo>
                      <a:pt x="2140" y="132"/>
                    </a:lnTo>
                    <a:lnTo>
                      <a:pt x="2161" y="127"/>
                    </a:lnTo>
                    <a:lnTo>
                      <a:pt x="2192" y="148"/>
                    </a:lnTo>
                    <a:lnTo>
                      <a:pt x="2322" y="153"/>
                    </a:lnTo>
                    <a:lnTo>
                      <a:pt x="2381" y="181"/>
                    </a:lnTo>
                    <a:lnTo>
                      <a:pt x="2501" y="153"/>
                    </a:lnTo>
                    <a:lnTo>
                      <a:pt x="2544" y="170"/>
                    </a:lnTo>
                    <a:lnTo>
                      <a:pt x="2641" y="222"/>
                    </a:lnTo>
                    <a:lnTo>
                      <a:pt x="2662" y="222"/>
                    </a:lnTo>
                    <a:lnTo>
                      <a:pt x="2662" y="222"/>
                    </a:lnTo>
                    <a:lnTo>
                      <a:pt x="2662" y="222"/>
                    </a:lnTo>
                    <a:close/>
                    <a:moveTo>
                      <a:pt x="709" y="996"/>
                    </a:moveTo>
                    <a:lnTo>
                      <a:pt x="680" y="996"/>
                    </a:lnTo>
                    <a:lnTo>
                      <a:pt x="654" y="1018"/>
                    </a:lnTo>
                    <a:lnTo>
                      <a:pt x="649" y="1018"/>
                    </a:lnTo>
                    <a:lnTo>
                      <a:pt x="638" y="1001"/>
                    </a:lnTo>
                    <a:lnTo>
                      <a:pt x="612" y="996"/>
                    </a:lnTo>
                    <a:lnTo>
                      <a:pt x="612" y="980"/>
                    </a:lnTo>
                    <a:lnTo>
                      <a:pt x="595" y="968"/>
                    </a:lnTo>
                    <a:lnTo>
                      <a:pt x="557" y="963"/>
                    </a:lnTo>
                    <a:lnTo>
                      <a:pt x="612" y="985"/>
                    </a:lnTo>
                    <a:lnTo>
                      <a:pt x="562" y="963"/>
                    </a:lnTo>
                    <a:lnTo>
                      <a:pt x="520" y="980"/>
                    </a:lnTo>
                    <a:lnTo>
                      <a:pt x="503" y="968"/>
                    </a:lnTo>
                    <a:lnTo>
                      <a:pt x="503" y="959"/>
                    </a:lnTo>
                    <a:lnTo>
                      <a:pt x="508" y="923"/>
                    </a:lnTo>
                    <a:lnTo>
                      <a:pt x="524" y="947"/>
                    </a:lnTo>
                    <a:lnTo>
                      <a:pt x="562" y="947"/>
                    </a:lnTo>
                    <a:lnTo>
                      <a:pt x="612" y="930"/>
                    </a:lnTo>
                    <a:lnTo>
                      <a:pt x="664" y="968"/>
                    </a:lnTo>
                    <a:lnTo>
                      <a:pt x="718" y="980"/>
                    </a:lnTo>
                    <a:lnTo>
                      <a:pt x="709" y="996"/>
                    </a:lnTo>
                    <a:lnTo>
                      <a:pt x="709" y="996"/>
                    </a:lnTo>
                    <a:lnTo>
                      <a:pt x="709" y="996"/>
                    </a:lnTo>
                    <a:close/>
                    <a:moveTo>
                      <a:pt x="1167" y="947"/>
                    </a:moveTo>
                    <a:lnTo>
                      <a:pt x="1141" y="947"/>
                    </a:lnTo>
                    <a:lnTo>
                      <a:pt x="1150" y="940"/>
                    </a:lnTo>
                    <a:lnTo>
                      <a:pt x="1167" y="947"/>
                    </a:lnTo>
                    <a:lnTo>
                      <a:pt x="1167" y="947"/>
                    </a:lnTo>
                    <a:lnTo>
                      <a:pt x="1167" y="947"/>
                    </a:lnTo>
                    <a:close/>
                    <a:moveTo>
                      <a:pt x="2166" y="1244"/>
                    </a:moveTo>
                    <a:lnTo>
                      <a:pt x="2178" y="1256"/>
                    </a:lnTo>
                    <a:lnTo>
                      <a:pt x="2161" y="1256"/>
                    </a:lnTo>
                    <a:lnTo>
                      <a:pt x="2166" y="1244"/>
                    </a:lnTo>
                    <a:lnTo>
                      <a:pt x="2166" y="1244"/>
                    </a:lnTo>
                    <a:lnTo>
                      <a:pt x="2166" y="1244"/>
                    </a:lnTo>
                    <a:close/>
                    <a:moveTo>
                      <a:pt x="2263" y="1244"/>
                    </a:moveTo>
                    <a:lnTo>
                      <a:pt x="2263" y="1256"/>
                    </a:lnTo>
                    <a:lnTo>
                      <a:pt x="2253" y="1256"/>
                    </a:lnTo>
                    <a:lnTo>
                      <a:pt x="2263" y="1244"/>
                    </a:lnTo>
                    <a:lnTo>
                      <a:pt x="2263" y="1244"/>
                    </a:lnTo>
                    <a:lnTo>
                      <a:pt x="2263" y="1244"/>
                    </a:lnTo>
                    <a:close/>
                    <a:moveTo>
                      <a:pt x="978" y="1244"/>
                    </a:moveTo>
                    <a:lnTo>
                      <a:pt x="990" y="1256"/>
                    </a:lnTo>
                    <a:lnTo>
                      <a:pt x="978" y="1256"/>
                    </a:lnTo>
                    <a:lnTo>
                      <a:pt x="978" y="1244"/>
                    </a:lnTo>
                    <a:lnTo>
                      <a:pt x="978" y="1244"/>
                    </a:lnTo>
                    <a:lnTo>
                      <a:pt x="978" y="1244"/>
                    </a:lnTo>
                    <a:close/>
                    <a:moveTo>
                      <a:pt x="2161" y="1263"/>
                    </a:moveTo>
                    <a:lnTo>
                      <a:pt x="2161" y="1273"/>
                    </a:lnTo>
                    <a:lnTo>
                      <a:pt x="2154" y="1263"/>
                    </a:lnTo>
                    <a:lnTo>
                      <a:pt x="2161" y="1263"/>
                    </a:lnTo>
                    <a:lnTo>
                      <a:pt x="2161" y="1263"/>
                    </a:lnTo>
                    <a:lnTo>
                      <a:pt x="2161" y="1263"/>
                    </a:lnTo>
                    <a:close/>
                    <a:moveTo>
                      <a:pt x="2183" y="1263"/>
                    </a:moveTo>
                    <a:lnTo>
                      <a:pt x="2183" y="1273"/>
                    </a:lnTo>
                    <a:lnTo>
                      <a:pt x="2178" y="1273"/>
                    </a:lnTo>
                    <a:lnTo>
                      <a:pt x="2166" y="1263"/>
                    </a:lnTo>
                    <a:lnTo>
                      <a:pt x="2183" y="1263"/>
                    </a:lnTo>
                    <a:lnTo>
                      <a:pt x="2183" y="1263"/>
                    </a:lnTo>
                    <a:lnTo>
                      <a:pt x="2183" y="1263"/>
                    </a:lnTo>
                    <a:close/>
                    <a:moveTo>
                      <a:pt x="2216" y="1273"/>
                    </a:moveTo>
                    <a:lnTo>
                      <a:pt x="2220" y="1273"/>
                    </a:lnTo>
                    <a:lnTo>
                      <a:pt x="2209" y="1280"/>
                    </a:lnTo>
                    <a:lnTo>
                      <a:pt x="2216" y="1273"/>
                    </a:lnTo>
                    <a:lnTo>
                      <a:pt x="2216" y="1273"/>
                    </a:lnTo>
                    <a:lnTo>
                      <a:pt x="2216" y="1273"/>
                    </a:lnTo>
                    <a:close/>
                    <a:moveTo>
                      <a:pt x="470" y="1313"/>
                    </a:moveTo>
                    <a:lnTo>
                      <a:pt x="449" y="1313"/>
                    </a:lnTo>
                    <a:lnTo>
                      <a:pt x="416" y="1289"/>
                    </a:lnTo>
                    <a:lnTo>
                      <a:pt x="423" y="1280"/>
                    </a:lnTo>
                    <a:lnTo>
                      <a:pt x="432" y="1296"/>
                    </a:lnTo>
                    <a:lnTo>
                      <a:pt x="470" y="1313"/>
                    </a:lnTo>
                    <a:lnTo>
                      <a:pt x="470" y="1313"/>
                    </a:lnTo>
                    <a:lnTo>
                      <a:pt x="470" y="1313"/>
                    </a:lnTo>
                    <a:close/>
                    <a:moveTo>
                      <a:pt x="1897" y="1296"/>
                    </a:moveTo>
                    <a:lnTo>
                      <a:pt x="1890" y="1301"/>
                    </a:lnTo>
                    <a:lnTo>
                      <a:pt x="1897" y="1289"/>
                    </a:lnTo>
                    <a:lnTo>
                      <a:pt x="1897" y="1296"/>
                    </a:lnTo>
                    <a:lnTo>
                      <a:pt x="1897" y="1296"/>
                    </a:lnTo>
                    <a:lnTo>
                      <a:pt x="1897" y="1296"/>
                    </a:lnTo>
                    <a:close/>
                    <a:moveTo>
                      <a:pt x="2199" y="1296"/>
                    </a:moveTo>
                    <a:lnTo>
                      <a:pt x="2192" y="1301"/>
                    </a:lnTo>
                    <a:lnTo>
                      <a:pt x="2199" y="1301"/>
                    </a:lnTo>
                    <a:lnTo>
                      <a:pt x="2192" y="1329"/>
                    </a:lnTo>
                    <a:lnTo>
                      <a:pt x="2178" y="1318"/>
                    </a:lnTo>
                    <a:lnTo>
                      <a:pt x="2192" y="1296"/>
                    </a:lnTo>
                    <a:lnTo>
                      <a:pt x="2192" y="1289"/>
                    </a:lnTo>
                    <a:lnTo>
                      <a:pt x="2199" y="1296"/>
                    </a:lnTo>
                    <a:lnTo>
                      <a:pt x="2199" y="1296"/>
                    </a:lnTo>
                    <a:lnTo>
                      <a:pt x="2199" y="1296"/>
                    </a:lnTo>
                    <a:close/>
                    <a:moveTo>
                      <a:pt x="2305" y="1301"/>
                    </a:moveTo>
                    <a:lnTo>
                      <a:pt x="2268" y="1318"/>
                    </a:lnTo>
                    <a:lnTo>
                      <a:pt x="2268" y="1313"/>
                    </a:lnTo>
                    <a:lnTo>
                      <a:pt x="2275" y="1301"/>
                    </a:lnTo>
                    <a:lnTo>
                      <a:pt x="2263" y="1301"/>
                    </a:lnTo>
                    <a:lnTo>
                      <a:pt x="2268" y="1296"/>
                    </a:lnTo>
                    <a:lnTo>
                      <a:pt x="2305" y="1301"/>
                    </a:lnTo>
                    <a:lnTo>
                      <a:pt x="2305" y="1301"/>
                    </a:lnTo>
                    <a:lnTo>
                      <a:pt x="2305" y="1301"/>
                    </a:lnTo>
                    <a:close/>
                    <a:moveTo>
                      <a:pt x="902" y="1301"/>
                    </a:moveTo>
                    <a:lnTo>
                      <a:pt x="902" y="1313"/>
                    </a:lnTo>
                    <a:lnTo>
                      <a:pt x="935" y="1313"/>
                    </a:lnTo>
                    <a:lnTo>
                      <a:pt x="935" y="1334"/>
                    </a:lnTo>
                    <a:lnTo>
                      <a:pt x="940" y="1351"/>
                    </a:lnTo>
                    <a:lnTo>
                      <a:pt x="898" y="1355"/>
                    </a:lnTo>
                    <a:lnTo>
                      <a:pt x="902" y="1367"/>
                    </a:lnTo>
                    <a:lnTo>
                      <a:pt x="898" y="1372"/>
                    </a:lnTo>
                    <a:lnTo>
                      <a:pt x="831" y="1346"/>
                    </a:lnTo>
                    <a:lnTo>
                      <a:pt x="810" y="1329"/>
                    </a:lnTo>
                    <a:lnTo>
                      <a:pt x="848" y="1318"/>
                    </a:lnTo>
                    <a:lnTo>
                      <a:pt x="869" y="1301"/>
                    </a:lnTo>
                    <a:lnTo>
                      <a:pt x="902" y="1301"/>
                    </a:lnTo>
                    <a:lnTo>
                      <a:pt x="902" y="1301"/>
                    </a:lnTo>
                    <a:lnTo>
                      <a:pt x="902" y="1301"/>
                    </a:lnTo>
                    <a:close/>
                    <a:moveTo>
                      <a:pt x="2376" y="1301"/>
                    </a:moveTo>
                    <a:lnTo>
                      <a:pt x="2376" y="1313"/>
                    </a:lnTo>
                    <a:lnTo>
                      <a:pt x="2360" y="1313"/>
                    </a:lnTo>
                    <a:lnTo>
                      <a:pt x="2376" y="1301"/>
                    </a:lnTo>
                    <a:lnTo>
                      <a:pt x="2376" y="1301"/>
                    </a:lnTo>
                    <a:lnTo>
                      <a:pt x="2376" y="1301"/>
                    </a:lnTo>
                    <a:close/>
                    <a:moveTo>
                      <a:pt x="2178" y="1301"/>
                    </a:moveTo>
                    <a:lnTo>
                      <a:pt x="2166" y="1313"/>
                    </a:lnTo>
                    <a:lnTo>
                      <a:pt x="2161" y="1313"/>
                    </a:lnTo>
                    <a:lnTo>
                      <a:pt x="2178" y="1301"/>
                    </a:lnTo>
                    <a:lnTo>
                      <a:pt x="2178" y="1301"/>
                    </a:lnTo>
                    <a:lnTo>
                      <a:pt x="2178" y="1301"/>
                    </a:lnTo>
                    <a:close/>
                    <a:moveTo>
                      <a:pt x="2246" y="1313"/>
                    </a:moveTo>
                    <a:lnTo>
                      <a:pt x="2209" y="1355"/>
                    </a:lnTo>
                    <a:lnTo>
                      <a:pt x="2178" y="1367"/>
                    </a:lnTo>
                    <a:lnTo>
                      <a:pt x="2183" y="1351"/>
                    </a:lnTo>
                    <a:lnTo>
                      <a:pt x="2216" y="1334"/>
                    </a:lnTo>
                    <a:lnTo>
                      <a:pt x="2230" y="1301"/>
                    </a:lnTo>
                    <a:lnTo>
                      <a:pt x="2246" y="1313"/>
                    </a:lnTo>
                    <a:lnTo>
                      <a:pt x="2246" y="1313"/>
                    </a:lnTo>
                    <a:lnTo>
                      <a:pt x="2246" y="1313"/>
                    </a:lnTo>
                    <a:close/>
                    <a:moveTo>
                      <a:pt x="2166" y="1329"/>
                    </a:moveTo>
                    <a:lnTo>
                      <a:pt x="2161" y="1346"/>
                    </a:lnTo>
                    <a:lnTo>
                      <a:pt x="2154" y="1346"/>
                    </a:lnTo>
                    <a:lnTo>
                      <a:pt x="2166" y="1329"/>
                    </a:lnTo>
                    <a:lnTo>
                      <a:pt x="2166" y="1329"/>
                    </a:lnTo>
                    <a:lnTo>
                      <a:pt x="2166" y="1329"/>
                    </a:lnTo>
                    <a:close/>
                    <a:moveTo>
                      <a:pt x="2183" y="1334"/>
                    </a:moveTo>
                    <a:lnTo>
                      <a:pt x="2161" y="1346"/>
                    </a:lnTo>
                    <a:lnTo>
                      <a:pt x="2178" y="1329"/>
                    </a:lnTo>
                    <a:lnTo>
                      <a:pt x="2183" y="1334"/>
                    </a:lnTo>
                    <a:lnTo>
                      <a:pt x="2183" y="1334"/>
                    </a:lnTo>
                    <a:lnTo>
                      <a:pt x="2183" y="1334"/>
                    </a:lnTo>
                    <a:close/>
                    <a:moveTo>
                      <a:pt x="1788" y="1407"/>
                    </a:moveTo>
                    <a:lnTo>
                      <a:pt x="1800" y="1412"/>
                    </a:lnTo>
                    <a:lnTo>
                      <a:pt x="1783" y="1412"/>
                    </a:lnTo>
                    <a:lnTo>
                      <a:pt x="1788" y="1407"/>
                    </a:lnTo>
                    <a:lnTo>
                      <a:pt x="1788" y="1407"/>
                    </a:lnTo>
                    <a:lnTo>
                      <a:pt x="1788" y="1407"/>
                    </a:lnTo>
                    <a:close/>
                    <a:moveTo>
                      <a:pt x="1247" y="1483"/>
                    </a:moveTo>
                    <a:lnTo>
                      <a:pt x="1280" y="1474"/>
                    </a:lnTo>
                    <a:lnTo>
                      <a:pt x="1264" y="1495"/>
                    </a:lnTo>
                    <a:lnTo>
                      <a:pt x="1259" y="1500"/>
                    </a:lnTo>
                    <a:lnTo>
                      <a:pt x="1247" y="1483"/>
                    </a:lnTo>
                    <a:lnTo>
                      <a:pt x="1247" y="1483"/>
                    </a:lnTo>
                    <a:lnTo>
                      <a:pt x="1247" y="1483"/>
                    </a:lnTo>
                    <a:close/>
                    <a:moveTo>
                      <a:pt x="1868" y="1495"/>
                    </a:moveTo>
                    <a:lnTo>
                      <a:pt x="1859" y="1511"/>
                    </a:lnTo>
                    <a:lnTo>
                      <a:pt x="1842" y="1500"/>
                    </a:lnTo>
                    <a:lnTo>
                      <a:pt x="1868" y="1495"/>
                    </a:lnTo>
                    <a:lnTo>
                      <a:pt x="1868" y="1495"/>
                    </a:lnTo>
                    <a:lnTo>
                      <a:pt x="1868" y="1495"/>
                    </a:lnTo>
                    <a:close/>
                    <a:moveTo>
                      <a:pt x="1842" y="1552"/>
                    </a:moveTo>
                    <a:lnTo>
                      <a:pt x="1831" y="1556"/>
                    </a:lnTo>
                    <a:lnTo>
                      <a:pt x="1805" y="1540"/>
                    </a:lnTo>
                    <a:lnTo>
                      <a:pt x="1831" y="1540"/>
                    </a:lnTo>
                    <a:lnTo>
                      <a:pt x="1814" y="1533"/>
                    </a:lnTo>
                    <a:lnTo>
                      <a:pt x="1838" y="1528"/>
                    </a:lnTo>
                    <a:lnTo>
                      <a:pt x="1838" y="1516"/>
                    </a:lnTo>
                    <a:lnTo>
                      <a:pt x="1842" y="1511"/>
                    </a:lnTo>
                    <a:lnTo>
                      <a:pt x="1859" y="1516"/>
                    </a:lnTo>
                    <a:lnTo>
                      <a:pt x="1868" y="1511"/>
                    </a:lnTo>
                    <a:lnTo>
                      <a:pt x="1890" y="1528"/>
                    </a:lnTo>
                    <a:lnTo>
                      <a:pt x="1885" y="1540"/>
                    </a:lnTo>
                    <a:lnTo>
                      <a:pt x="1875" y="1528"/>
                    </a:lnTo>
                    <a:lnTo>
                      <a:pt x="1868" y="1533"/>
                    </a:lnTo>
                    <a:lnTo>
                      <a:pt x="1875" y="1540"/>
                    </a:lnTo>
                    <a:lnTo>
                      <a:pt x="1852" y="1540"/>
                    </a:lnTo>
                    <a:lnTo>
                      <a:pt x="1842" y="1552"/>
                    </a:lnTo>
                    <a:lnTo>
                      <a:pt x="1842" y="1552"/>
                    </a:lnTo>
                    <a:lnTo>
                      <a:pt x="1842" y="1552"/>
                    </a:lnTo>
                    <a:close/>
                    <a:moveTo>
                      <a:pt x="3116" y="1606"/>
                    </a:moveTo>
                    <a:lnTo>
                      <a:pt x="3085" y="1516"/>
                    </a:lnTo>
                    <a:lnTo>
                      <a:pt x="3111" y="1540"/>
                    </a:lnTo>
                    <a:lnTo>
                      <a:pt x="3137" y="1540"/>
                    </a:lnTo>
                    <a:lnTo>
                      <a:pt x="3165" y="1589"/>
                    </a:lnTo>
                    <a:lnTo>
                      <a:pt x="3132" y="1552"/>
                    </a:lnTo>
                    <a:lnTo>
                      <a:pt x="3132" y="1573"/>
                    </a:lnTo>
                    <a:lnTo>
                      <a:pt x="3165" y="1611"/>
                    </a:lnTo>
                    <a:lnTo>
                      <a:pt x="3149" y="1611"/>
                    </a:lnTo>
                    <a:lnTo>
                      <a:pt x="3165" y="1622"/>
                    </a:lnTo>
                    <a:lnTo>
                      <a:pt x="3153" y="1627"/>
                    </a:lnTo>
                    <a:lnTo>
                      <a:pt x="3137" y="1622"/>
                    </a:lnTo>
                    <a:lnTo>
                      <a:pt x="3149" y="1639"/>
                    </a:lnTo>
                    <a:lnTo>
                      <a:pt x="3116" y="1660"/>
                    </a:lnTo>
                    <a:lnTo>
                      <a:pt x="3111" y="1639"/>
                    </a:lnTo>
                    <a:lnTo>
                      <a:pt x="3116" y="1622"/>
                    </a:lnTo>
                    <a:lnTo>
                      <a:pt x="3132" y="1627"/>
                    </a:lnTo>
                    <a:lnTo>
                      <a:pt x="3116" y="1611"/>
                    </a:lnTo>
                    <a:lnTo>
                      <a:pt x="3132" y="1606"/>
                    </a:lnTo>
                    <a:lnTo>
                      <a:pt x="3116" y="1606"/>
                    </a:lnTo>
                    <a:lnTo>
                      <a:pt x="3116" y="1606"/>
                    </a:lnTo>
                    <a:lnTo>
                      <a:pt x="3116" y="1606"/>
                    </a:lnTo>
                    <a:close/>
                    <a:moveTo>
                      <a:pt x="3040" y="1516"/>
                    </a:moveTo>
                    <a:lnTo>
                      <a:pt x="3047" y="1516"/>
                    </a:lnTo>
                    <a:lnTo>
                      <a:pt x="3031" y="1516"/>
                    </a:lnTo>
                    <a:lnTo>
                      <a:pt x="3040" y="1516"/>
                    </a:lnTo>
                    <a:lnTo>
                      <a:pt x="3040" y="1516"/>
                    </a:lnTo>
                    <a:lnTo>
                      <a:pt x="3040" y="1516"/>
                    </a:lnTo>
                    <a:close/>
                    <a:moveTo>
                      <a:pt x="3116" y="1516"/>
                    </a:moveTo>
                    <a:lnTo>
                      <a:pt x="3132" y="1533"/>
                    </a:lnTo>
                    <a:lnTo>
                      <a:pt x="3111" y="1528"/>
                    </a:lnTo>
                    <a:lnTo>
                      <a:pt x="3116" y="1516"/>
                    </a:lnTo>
                    <a:lnTo>
                      <a:pt x="3116" y="1516"/>
                    </a:lnTo>
                    <a:lnTo>
                      <a:pt x="3116" y="1516"/>
                    </a:lnTo>
                    <a:close/>
                    <a:moveTo>
                      <a:pt x="3078" y="1585"/>
                    </a:moveTo>
                    <a:lnTo>
                      <a:pt x="3023" y="1556"/>
                    </a:lnTo>
                    <a:lnTo>
                      <a:pt x="3061" y="1589"/>
                    </a:lnTo>
                    <a:lnTo>
                      <a:pt x="3085" y="1585"/>
                    </a:lnTo>
                    <a:lnTo>
                      <a:pt x="3094" y="1594"/>
                    </a:lnTo>
                    <a:lnTo>
                      <a:pt x="3094" y="1611"/>
                    </a:lnTo>
                    <a:lnTo>
                      <a:pt x="3078" y="1611"/>
                    </a:lnTo>
                    <a:lnTo>
                      <a:pt x="3023" y="1585"/>
                    </a:lnTo>
                    <a:lnTo>
                      <a:pt x="3047" y="1594"/>
                    </a:lnTo>
                    <a:lnTo>
                      <a:pt x="3047" y="1611"/>
                    </a:lnTo>
                    <a:lnTo>
                      <a:pt x="3031" y="1622"/>
                    </a:lnTo>
                    <a:lnTo>
                      <a:pt x="3023" y="1622"/>
                    </a:lnTo>
                    <a:lnTo>
                      <a:pt x="3019" y="1606"/>
                    </a:lnTo>
                    <a:lnTo>
                      <a:pt x="3031" y="1611"/>
                    </a:lnTo>
                    <a:lnTo>
                      <a:pt x="3009" y="1594"/>
                    </a:lnTo>
                    <a:lnTo>
                      <a:pt x="3019" y="1594"/>
                    </a:lnTo>
                    <a:lnTo>
                      <a:pt x="2986" y="1573"/>
                    </a:lnTo>
                    <a:lnTo>
                      <a:pt x="2993" y="1556"/>
                    </a:lnTo>
                    <a:lnTo>
                      <a:pt x="3009" y="1573"/>
                    </a:lnTo>
                    <a:lnTo>
                      <a:pt x="2986" y="1540"/>
                    </a:lnTo>
                    <a:lnTo>
                      <a:pt x="2986" y="1533"/>
                    </a:lnTo>
                    <a:lnTo>
                      <a:pt x="3002" y="1552"/>
                    </a:lnTo>
                    <a:lnTo>
                      <a:pt x="3002" y="1533"/>
                    </a:lnTo>
                    <a:lnTo>
                      <a:pt x="3031" y="1528"/>
                    </a:lnTo>
                    <a:lnTo>
                      <a:pt x="3047" y="1540"/>
                    </a:lnTo>
                    <a:lnTo>
                      <a:pt x="3040" y="1552"/>
                    </a:lnTo>
                    <a:lnTo>
                      <a:pt x="3031" y="1552"/>
                    </a:lnTo>
                    <a:lnTo>
                      <a:pt x="3031" y="1556"/>
                    </a:lnTo>
                    <a:lnTo>
                      <a:pt x="3040" y="1556"/>
                    </a:lnTo>
                    <a:lnTo>
                      <a:pt x="3057" y="1540"/>
                    </a:lnTo>
                    <a:lnTo>
                      <a:pt x="3085" y="1556"/>
                    </a:lnTo>
                    <a:lnTo>
                      <a:pt x="3085" y="1573"/>
                    </a:lnTo>
                    <a:lnTo>
                      <a:pt x="3073" y="1568"/>
                    </a:lnTo>
                    <a:lnTo>
                      <a:pt x="3085" y="1573"/>
                    </a:lnTo>
                    <a:lnTo>
                      <a:pt x="3078" y="1585"/>
                    </a:lnTo>
                    <a:lnTo>
                      <a:pt x="3078" y="1585"/>
                    </a:lnTo>
                    <a:lnTo>
                      <a:pt x="3078" y="1585"/>
                    </a:lnTo>
                    <a:close/>
                    <a:moveTo>
                      <a:pt x="1805" y="1540"/>
                    </a:moveTo>
                    <a:lnTo>
                      <a:pt x="1831" y="1556"/>
                    </a:lnTo>
                    <a:lnTo>
                      <a:pt x="1788" y="1552"/>
                    </a:lnTo>
                    <a:lnTo>
                      <a:pt x="1805" y="1540"/>
                    </a:lnTo>
                    <a:lnTo>
                      <a:pt x="1805" y="1540"/>
                    </a:lnTo>
                    <a:lnTo>
                      <a:pt x="1805" y="1540"/>
                    </a:lnTo>
                    <a:close/>
                    <a:moveTo>
                      <a:pt x="2976" y="1552"/>
                    </a:moveTo>
                    <a:lnTo>
                      <a:pt x="2993" y="1556"/>
                    </a:lnTo>
                    <a:lnTo>
                      <a:pt x="2986" y="1573"/>
                    </a:lnTo>
                    <a:lnTo>
                      <a:pt x="2976" y="1556"/>
                    </a:lnTo>
                    <a:lnTo>
                      <a:pt x="2976" y="1552"/>
                    </a:lnTo>
                    <a:lnTo>
                      <a:pt x="2976" y="1552"/>
                    </a:lnTo>
                    <a:lnTo>
                      <a:pt x="2976" y="1552"/>
                    </a:lnTo>
                    <a:close/>
                    <a:moveTo>
                      <a:pt x="1783" y="1594"/>
                    </a:moveTo>
                    <a:lnTo>
                      <a:pt x="1762" y="1589"/>
                    </a:lnTo>
                    <a:lnTo>
                      <a:pt x="1762" y="1573"/>
                    </a:lnTo>
                    <a:lnTo>
                      <a:pt x="1767" y="1568"/>
                    </a:lnTo>
                    <a:lnTo>
                      <a:pt x="1783" y="1573"/>
                    </a:lnTo>
                    <a:lnTo>
                      <a:pt x="1788" y="1594"/>
                    </a:lnTo>
                    <a:lnTo>
                      <a:pt x="1800" y="1589"/>
                    </a:lnTo>
                    <a:lnTo>
                      <a:pt x="1788" y="1573"/>
                    </a:lnTo>
                    <a:lnTo>
                      <a:pt x="1821" y="1573"/>
                    </a:lnTo>
                    <a:lnTo>
                      <a:pt x="1805" y="1556"/>
                    </a:lnTo>
                    <a:lnTo>
                      <a:pt x="1838" y="1568"/>
                    </a:lnTo>
                    <a:lnTo>
                      <a:pt x="1831" y="1573"/>
                    </a:lnTo>
                    <a:lnTo>
                      <a:pt x="1831" y="1589"/>
                    </a:lnTo>
                    <a:lnTo>
                      <a:pt x="1838" y="1573"/>
                    </a:lnTo>
                    <a:lnTo>
                      <a:pt x="1859" y="1568"/>
                    </a:lnTo>
                    <a:lnTo>
                      <a:pt x="1868" y="1573"/>
                    </a:lnTo>
                    <a:lnTo>
                      <a:pt x="1852" y="1589"/>
                    </a:lnTo>
                    <a:lnTo>
                      <a:pt x="1859" y="1594"/>
                    </a:lnTo>
                    <a:lnTo>
                      <a:pt x="1885" y="1594"/>
                    </a:lnTo>
                    <a:lnTo>
                      <a:pt x="1868" y="1622"/>
                    </a:lnTo>
                    <a:lnTo>
                      <a:pt x="1838" y="1606"/>
                    </a:lnTo>
                    <a:lnTo>
                      <a:pt x="1821" y="1611"/>
                    </a:lnTo>
                    <a:lnTo>
                      <a:pt x="1852" y="1622"/>
                    </a:lnTo>
                    <a:lnTo>
                      <a:pt x="1842" y="1627"/>
                    </a:lnTo>
                    <a:lnTo>
                      <a:pt x="1814" y="1627"/>
                    </a:lnTo>
                    <a:lnTo>
                      <a:pt x="1821" y="1639"/>
                    </a:lnTo>
                    <a:lnTo>
                      <a:pt x="1767" y="1651"/>
                    </a:lnTo>
                    <a:lnTo>
                      <a:pt x="1783" y="1660"/>
                    </a:lnTo>
                    <a:lnTo>
                      <a:pt x="1750" y="1684"/>
                    </a:lnTo>
                    <a:lnTo>
                      <a:pt x="1746" y="1684"/>
                    </a:lnTo>
                    <a:lnTo>
                      <a:pt x="1767" y="1660"/>
                    </a:lnTo>
                    <a:lnTo>
                      <a:pt x="1750" y="1667"/>
                    </a:lnTo>
                    <a:lnTo>
                      <a:pt x="1767" y="1644"/>
                    </a:lnTo>
                    <a:lnTo>
                      <a:pt x="1746" y="1667"/>
                    </a:lnTo>
                    <a:lnTo>
                      <a:pt x="1750" y="1651"/>
                    </a:lnTo>
                    <a:lnTo>
                      <a:pt x="1724" y="1644"/>
                    </a:lnTo>
                    <a:lnTo>
                      <a:pt x="1724" y="1651"/>
                    </a:lnTo>
                    <a:lnTo>
                      <a:pt x="1746" y="1651"/>
                    </a:lnTo>
                    <a:lnTo>
                      <a:pt x="1729" y="1677"/>
                    </a:lnTo>
                    <a:lnTo>
                      <a:pt x="1712" y="1660"/>
                    </a:lnTo>
                    <a:lnTo>
                      <a:pt x="1708" y="1639"/>
                    </a:lnTo>
                    <a:lnTo>
                      <a:pt x="1696" y="1627"/>
                    </a:lnTo>
                    <a:lnTo>
                      <a:pt x="1708" y="1606"/>
                    </a:lnTo>
                    <a:lnTo>
                      <a:pt x="1734" y="1589"/>
                    </a:lnTo>
                    <a:lnTo>
                      <a:pt x="1750" y="1594"/>
                    </a:lnTo>
                    <a:lnTo>
                      <a:pt x="1762" y="1622"/>
                    </a:lnTo>
                    <a:lnTo>
                      <a:pt x="1776" y="1639"/>
                    </a:lnTo>
                    <a:lnTo>
                      <a:pt x="1767" y="1622"/>
                    </a:lnTo>
                    <a:lnTo>
                      <a:pt x="1762" y="1594"/>
                    </a:lnTo>
                    <a:lnTo>
                      <a:pt x="1783" y="1594"/>
                    </a:lnTo>
                    <a:lnTo>
                      <a:pt x="1783" y="1594"/>
                    </a:lnTo>
                    <a:lnTo>
                      <a:pt x="1783" y="1594"/>
                    </a:lnTo>
                    <a:close/>
                    <a:moveTo>
                      <a:pt x="1868" y="1568"/>
                    </a:moveTo>
                    <a:lnTo>
                      <a:pt x="1859" y="1568"/>
                    </a:lnTo>
                    <a:lnTo>
                      <a:pt x="1868" y="1568"/>
                    </a:lnTo>
                    <a:lnTo>
                      <a:pt x="1868" y="1568"/>
                    </a:lnTo>
                    <a:lnTo>
                      <a:pt x="1868" y="1568"/>
                    </a:lnTo>
                    <a:close/>
                    <a:moveTo>
                      <a:pt x="1788" y="1556"/>
                    </a:moveTo>
                    <a:lnTo>
                      <a:pt x="1805" y="1573"/>
                    </a:lnTo>
                    <a:lnTo>
                      <a:pt x="1783" y="1568"/>
                    </a:lnTo>
                    <a:lnTo>
                      <a:pt x="1788" y="1556"/>
                    </a:lnTo>
                    <a:lnTo>
                      <a:pt x="1788" y="1556"/>
                    </a:lnTo>
                    <a:lnTo>
                      <a:pt x="1788" y="1556"/>
                    </a:lnTo>
                    <a:close/>
                    <a:moveTo>
                      <a:pt x="3111" y="1705"/>
                    </a:moveTo>
                    <a:lnTo>
                      <a:pt x="3111" y="1750"/>
                    </a:lnTo>
                    <a:lnTo>
                      <a:pt x="3078" y="1705"/>
                    </a:lnTo>
                    <a:lnTo>
                      <a:pt x="3094" y="1693"/>
                    </a:lnTo>
                    <a:lnTo>
                      <a:pt x="3078" y="1700"/>
                    </a:lnTo>
                    <a:lnTo>
                      <a:pt x="3073" y="1693"/>
                    </a:lnTo>
                    <a:lnTo>
                      <a:pt x="3078" y="1677"/>
                    </a:lnTo>
                    <a:lnTo>
                      <a:pt x="3057" y="1677"/>
                    </a:lnTo>
                    <a:lnTo>
                      <a:pt x="3057" y="1644"/>
                    </a:lnTo>
                    <a:lnTo>
                      <a:pt x="3061" y="1639"/>
                    </a:lnTo>
                    <a:lnTo>
                      <a:pt x="3047" y="1639"/>
                    </a:lnTo>
                    <a:lnTo>
                      <a:pt x="3040" y="1622"/>
                    </a:lnTo>
                    <a:lnTo>
                      <a:pt x="3047" y="1622"/>
                    </a:lnTo>
                    <a:lnTo>
                      <a:pt x="3047" y="1606"/>
                    </a:lnTo>
                    <a:lnTo>
                      <a:pt x="3057" y="1606"/>
                    </a:lnTo>
                    <a:lnTo>
                      <a:pt x="3085" y="1622"/>
                    </a:lnTo>
                    <a:lnTo>
                      <a:pt x="3099" y="1644"/>
                    </a:lnTo>
                    <a:lnTo>
                      <a:pt x="3111" y="1705"/>
                    </a:lnTo>
                    <a:lnTo>
                      <a:pt x="3111" y="1705"/>
                    </a:lnTo>
                    <a:lnTo>
                      <a:pt x="3111" y="1705"/>
                    </a:lnTo>
                    <a:close/>
                    <a:moveTo>
                      <a:pt x="3094" y="1622"/>
                    </a:moveTo>
                    <a:lnTo>
                      <a:pt x="3099" y="1627"/>
                    </a:lnTo>
                    <a:lnTo>
                      <a:pt x="3085" y="1622"/>
                    </a:lnTo>
                    <a:lnTo>
                      <a:pt x="3094" y="1622"/>
                    </a:lnTo>
                    <a:lnTo>
                      <a:pt x="3094" y="1622"/>
                    </a:lnTo>
                    <a:lnTo>
                      <a:pt x="3094" y="1622"/>
                    </a:lnTo>
                    <a:close/>
                    <a:moveTo>
                      <a:pt x="3031" y="1627"/>
                    </a:moveTo>
                    <a:lnTo>
                      <a:pt x="3047" y="1639"/>
                    </a:lnTo>
                    <a:lnTo>
                      <a:pt x="3047" y="1644"/>
                    </a:lnTo>
                    <a:lnTo>
                      <a:pt x="3040" y="1660"/>
                    </a:lnTo>
                    <a:lnTo>
                      <a:pt x="3023" y="1660"/>
                    </a:lnTo>
                    <a:lnTo>
                      <a:pt x="3031" y="1644"/>
                    </a:lnTo>
                    <a:lnTo>
                      <a:pt x="3023" y="1644"/>
                    </a:lnTo>
                    <a:lnTo>
                      <a:pt x="3023" y="1627"/>
                    </a:lnTo>
                    <a:lnTo>
                      <a:pt x="3031" y="1627"/>
                    </a:lnTo>
                    <a:lnTo>
                      <a:pt x="3031" y="1627"/>
                    </a:lnTo>
                    <a:lnTo>
                      <a:pt x="3031" y="1627"/>
                    </a:lnTo>
                    <a:close/>
                    <a:moveTo>
                      <a:pt x="612" y="1651"/>
                    </a:moveTo>
                    <a:lnTo>
                      <a:pt x="600" y="1644"/>
                    </a:lnTo>
                    <a:lnTo>
                      <a:pt x="616" y="1639"/>
                    </a:lnTo>
                    <a:lnTo>
                      <a:pt x="612" y="1651"/>
                    </a:lnTo>
                    <a:lnTo>
                      <a:pt x="612" y="1651"/>
                    </a:lnTo>
                    <a:lnTo>
                      <a:pt x="612" y="1651"/>
                    </a:lnTo>
                    <a:close/>
                    <a:moveTo>
                      <a:pt x="1831" y="1644"/>
                    </a:moveTo>
                    <a:lnTo>
                      <a:pt x="1800" y="1660"/>
                    </a:lnTo>
                    <a:lnTo>
                      <a:pt x="1788" y="1651"/>
                    </a:lnTo>
                    <a:lnTo>
                      <a:pt x="1805" y="1639"/>
                    </a:lnTo>
                    <a:lnTo>
                      <a:pt x="1831" y="1644"/>
                    </a:lnTo>
                    <a:lnTo>
                      <a:pt x="1831" y="1644"/>
                    </a:lnTo>
                    <a:lnTo>
                      <a:pt x="1831" y="1644"/>
                    </a:lnTo>
                    <a:close/>
                    <a:moveTo>
                      <a:pt x="3220" y="1660"/>
                    </a:moveTo>
                    <a:lnTo>
                      <a:pt x="3236" y="1677"/>
                    </a:lnTo>
                    <a:lnTo>
                      <a:pt x="3224" y="1700"/>
                    </a:lnTo>
                    <a:lnTo>
                      <a:pt x="3203" y="1677"/>
                    </a:lnTo>
                    <a:lnTo>
                      <a:pt x="3220" y="1705"/>
                    </a:lnTo>
                    <a:lnTo>
                      <a:pt x="3186" y="1717"/>
                    </a:lnTo>
                    <a:lnTo>
                      <a:pt x="3182" y="1717"/>
                    </a:lnTo>
                    <a:lnTo>
                      <a:pt x="3182" y="1677"/>
                    </a:lnTo>
                    <a:lnTo>
                      <a:pt x="3165" y="1667"/>
                    </a:lnTo>
                    <a:lnTo>
                      <a:pt x="3170" y="1667"/>
                    </a:lnTo>
                    <a:lnTo>
                      <a:pt x="3153" y="1660"/>
                    </a:lnTo>
                    <a:lnTo>
                      <a:pt x="3165" y="1651"/>
                    </a:lnTo>
                    <a:lnTo>
                      <a:pt x="3220" y="1660"/>
                    </a:lnTo>
                    <a:lnTo>
                      <a:pt x="3220" y="1660"/>
                    </a:lnTo>
                    <a:lnTo>
                      <a:pt x="3220" y="1660"/>
                    </a:lnTo>
                    <a:close/>
                    <a:moveTo>
                      <a:pt x="3137" y="1733"/>
                    </a:moveTo>
                    <a:lnTo>
                      <a:pt x="3132" y="1722"/>
                    </a:lnTo>
                    <a:lnTo>
                      <a:pt x="3137" y="1722"/>
                    </a:lnTo>
                    <a:lnTo>
                      <a:pt x="3149" y="1722"/>
                    </a:lnTo>
                    <a:lnTo>
                      <a:pt x="3149" y="1705"/>
                    </a:lnTo>
                    <a:lnTo>
                      <a:pt x="3132" y="1705"/>
                    </a:lnTo>
                    <a:lnTo>
                      <a:pt x="3127" y="1677"/>
                    </a:lnTo>
                    <a:lnTo>
                      <a:pt x="3149" y="1677"/>
                    </a:lnTo>
                    <a:lnTo>
                      <a:pt x="3132" y="1667"/>
                    </a:lnTo>
                    <a:lnTo>
                      <a:pt x="3153" y="1677"/>
                    </a:lnTo>
                    <a:lnTo>
                      <a:pt x="3165" y="1684"/>
                    </a:lnTo>
                    <a:lnTo>
                      <a:pt x="3153" y="1700"/>
                    </a:lnTo>
                    <a:lnTo>
                      <a:pt x="3165" y="1684"/>
                    </a:lnTo>
                    <a:lnTo>
                      <a:pt x="3170" y="1684"/>
                    </a:lnTo>
                    <a:lnTo>
                      <a:pt x="3182" y="1700"/>
                    </a:lnTo>
                    <a:lnTo>
                      <a:pt x="3165" y="1700"/>
                    </a:lnTo>
                    <a:lnTo>
                      <a:pt x="3165" y="1733"/>
                    </a:lnTo>
                    <a:lnTo>
                      <a:pt x="3153" y="1722"/>
                    </a:lnTo>
                    <a:lnTo>
                      <a:pt x="3153" y="1738"/>
                    </a:lnTo>
                    <a:lnTo>
                      <a:pt x="3165" y="1738"/>
                    </a:lnTo>
                    <a:lnTo>
                      <a:pt x="3153" y="1755"/>
                    </a:lnTo>
                    <a:lnTo>
                      <a:pt x="3149" y="1755"/>
                    </a:lnTo>
                    <a:lnTo>
                      <a:pt x="3149" y="1733"/>
                    </a:lnTo>
                    <a:lnTo>
                      <a:pt x="3149" y="1762"/>
                    </a:lnTo>
                    <a:lnTo>
                      <a:pt x="3137" y="1762"/>
                    </a:lnTo>
                    <a:lnTo>
                      <a:pt x="3137" y="1733"/>
                    </a:lnTo>
                    <a:lnTo>
                      <a:pt x="3137" y="1733"/>
                    </a:lnTo>
                    <a:lnTo>
                      <a:pt x="3137" y="1733"/>
                    </a:lnTo>
                    <a:close/>
                    <a:moveTo>
                      <a:pt x="3241" y="1684"/>
                    </a:moveTo>
                    <a:lnTo>
                      <a:pt x="3257" y="1705"/>
                    </a:lnTo>
                    <a:lnTo>
                      <a:pt x="3224" y="1705"/>
                    </a:lnTo>
                    <a:lnTo>
                      <a:pt x="3236" y="1684"/>
                    </a:lnTo>
                    <a:lnTo>
                      <a:pt x="3241" y="1684"/>
                    </a:lnTo>
                    <a:lnTo>
                      <a:pt x="3241" y="1684"/>
                    </a:lnTo>
                    <a:lnTo>
                      <a:pt x="3241" y="1684"/>
                    </a:lnTo>
                    <a:close/>
                    <a:moveTo>
                      <a:pt x="654" y="1705"/>
                    </a:moveTo>
                    <a:lnTo>
                      <a:pt x="638" y="1700"/>
                    </a:lnTo>
                    <a:lnTo>
                      <a:pt x="664" y="1700"/>
                    </a:lnTo>
                    <a:lnTo>
                      <a:pt x="654" y="1705"/>
                    </a:lnTo>
                    <a:lnTo>
                      <a:pt x="654" y="1705"/>
                    </a:lnTo>
                    <a:lnTo>
                      <a:pt x="654" y="1705"/>
                    </a:lnTo>
                    <a:close/>
                    <a:moveTo>
                      <a:pt x="1746" y="1700"/>
                    </a:moveTo>
                    <a:lnTo>
                      <a:pt x="1734" y="1717"/>
                    </a:lnTo>
                    <a:lnTo>
                      <a:pt x="1729" y="1705"/>
                    </a:lnTo>
                    <a:lnTo>
                      <a:pt x="1746" y="1700"/>
                    </a:lnTo>
                    <a:lnTo>
                      <a:pt x="1746" y="1700"/>
                    </a:lnTo>
                    <a:lnTo>
                      <a:pt x="1746" y="1700"/>
                    </a:lnTo>
                    <a:close/>
                    <a:moveTo>
                      <a:pt x="1724" y="1700"/>
                    </a:moveTo>
                    <a:lnTo>
                      <a:pt x="1696" y="1722"/>
                    </a:lnTo>
                    <a:lnTo>
                      <a:pt x="1696" y="1705"/>
                    </a:lnTo>
                    <a:lnTo>
                      <a:pt x="1724" y="1700"/>
                    </a:lnTo>
                    <a:lnTo>
                      <a:pt x="1724" y="1700"/>
                    </a:lnTo>
                    <a:lnTo>
                      <a:pt x="1724" y="1700"/>
                    </a:lnTo>
                    <a:close/>
                    <a:moveTo>
                      <a:pt x="1528" y="1700"/>
                    </a:moveTo>
                    <a:lnTo>
                      <a:pt x="1545" y="1705"/>
                    </a:lnTo>
                    <a:lnTo>
                      <a:pt x="1519" y="1705"/>
                    </a:lnTo>
                    <a:lnTo>
                      <a:pt x="1528" y="1700"/>
                    </a:lnTo>
                    <a:lnTo>
                      <a:pt x="1528" y="1700"/>
                    </a:lnTo>
                    <a:lnTo>
                      <a:pt x="1528" y="1700"/>
                    </a:lnTo>
                    <a:close/>
                    <a:moveTo>
                      <a:pt x="3288" y="1755"/>
                    </a:moveTo>
                    <a:lnTo>
                      <a:pt x="3274" y="1733"/>
                    </a:lnTo>
                    <a:lnTo>
                      <a:pt x="3274" y="1717"/>
                    </a:lnTo>
                    <a:lnTo>
                      <a:pt x="3295" y="1733"/>
                    </a:lnTo>
                    <a:lnTo>
                      <a:pt x="3295" y="1738"/>
                    </a:lnTo>
                    <a:lnTo>
                      <a:pt x="3288" y="1755"/>
                    </a:lnTo>
                    <a:lnTo>
                      <a:pt x="3288" y="1755"/>
                    </a:lnTo>
                    <a:lnTo>
                      <a:pt x="3288" y="1755"/>
                    </a:lnTo>
                    <a:close/>
                    <a:moveTo>
                      <a:pt x="3236" y="1738"/>
                    </a:moveTo>
                    <a:lnTo>
                      <a:pt x="3220" y="1733"/>
                    </a:lnTo>
                    <a:lnTo>
                      <a:pt x="3236" y="1717"/>
                    </a:lnTo>
                    <a:lnTo>
                      <a:pt x="3246" y="1717"/>
                    </a:lnTo>
                    <a:lnTo>
                      <a:pt x="3246" y="1733"/>
                    </a:lnTo>
                    <a:lnTo>
                      <a:pt x="3236" y="1738"/>
                    </a:lnTo>
                    <a:lnTo>
                      <a:pt x="3236" y="1738"/>
                    </a:lnTo>
                    <a:lnTo>
                      <a:pt x="3236" y="1738"/>
                    </a:lnTo>
                    <a:close/>
                    <a:moveTo>
                      <a:pt x="3262" y="1717"/>
                    </a:moveTo>
                    <a:lnTo>
                      <a:pt x="3262" y="1722"/>
                    </a:lnTo>
                    <a:lnTo>
                      <a:pt x="3257" y="1722"/>
                    </a:lnTo>
                    <a:lnTo>
                      <a:pt x="3262" y="1717"/>
                    </a:lnTo>
                    <a:lnTo>
                      <a:pt x="3262" y="1717"/>
                    </a:lnTo>
                    <a:lnTo>
                      <a:pt x="3262" y="1717"/>
                    </a:lnTo>
                    <a:close/>
                    <a:moveTo>
                      <a:pt x="3274" y="1771"/>
                    </a:moveTo>
                    <a:lnTo>
                      <a:pt x="3262" y="1755"/>
                    </a:lnTo>
                    <a:lnTo>
                      <a:pt x="3246" y="1755"/>
                    </a:lnTo>
                    <a:lnTo>
                      <a:pt x="3246" y="1738"/>
                    </a:lnTo>
                    <a:lnTo>
                      <a:pt x="3262" y="1722"/>
                    </a:lnTo>
                    <a:lnTo>
                      <a:pt x="3262" y="1738"/>
                    </a:lnTo>
                    <a:lnTo>
                      <a:pt x="3288" y="1755"/>
                    </a:lnTo>
                    <a:lnTo>
                      <a:pt x="3288" y="1771"/>
                    </a:lnTo>
                    <a:lnTo>
                      <a:pt x="3274" y="1771"/>
                    </a:lnTo>
                    <a:lnTo>
                      <a:pt x="3274" y="1771"/>
                    </a:lnTo>
                    <a:lnTo>
                      <a:pt x="3274" y="1771"/>
                    </a:lnTo>
                    <a:close/>
                    <a:moveTo>
                      <a:pt x="3288" y="1816"/>
                    </a:moveTo>
                    <a:lnTo>
                      <a:pt x="3257" y="1804"/>
                    </a:lnTo>
                    <a:lnTo>
                      <a:pt x="3257" y="1811"/>
                    </a:lnTo>
                    <a:lnTo>
                      <a:pt x="3279" y="1816"/>
                    </a:lnTo>
                    <a:lnTo>
                      <a:pt x="3288" y="1833"/>
                    </a:lnTo>
                    <a:lnTo>
                      <a:pt x="3279" y="1844"/>
                    </a:lnTo>
                    <a:lnTo>
                      <a:pt x="3295" y="1833"/>
                    </a:lnTo>
                    <a:lnTo>
                      <a:pt x="3295" y="1849"/>
                    </a:lnTo>
                    <a:lnTo>
                      <a:pt x="3279" y="1866"/>
                    </a:lnTo>
                    <a:lnTo>
                      <a:pt x="3295" y="1861"/>
                    </a:lnTo>
                    <a:lnTo>
                      <a:pt x="3295" y="1899"/>
                    </a:lnTo>
                    <a:lnTo>
                      <a:pt x="3274" y="1889"/>
                    </a:lnTo>
                    <a:lnTo>
                      <a:pt x="3279" y="1882"/>
                    </a:lnTo>
                    <a:lnTo>
                      <a:pt x="3262" y="1866"/>
                    </a:lnTo>
                    <a:lnTo>
                      <a:pt x="3257" y="1866"/>
                    </a:lnTo>
                    <a:lnTo>
                      <a:pt x="3257" y="1849"/>
                    </a:lnTo>
                    <a:lnTo>
                      <a:pt x="3246" y="1833"/>
                    </a:lnTo>
                    <a:lnTo>
                      <a:pt x="3246" y="1849"/>
                    </a:lnTo>
                    <a:lnTo>
                      <a:pt x="3241" y="1844"/>
                    </a:lnTo>
                    <a:lnTo>
                      <a:pt x="3224" y="1844"/>
                    </a:lnTo>
                    <a:lnTo>
                      <a:pt x="3236" y="1833"/>
                    </a:lnTo>
                    <a:lnTo>
                      <a:pt x="3208" y="1833"/>
                    </a:lnTo>
                    <a:lnTo>
                      <a:pt x="3208" y="1828"/>
                    </a:lnTo>
                    <a:lnTo>
                      <a:pt x="3236" y="1828"/>
                    </a:lnTo>
                    <a:lnTo>
                      <a:pt x="3220" y="1811"/>
                    </a:lnTo>
                    <a:lnTo>
                      <a:pt x="3236" y="1804"/>
                    </a:lnTo>
                    <a:lnTo>
                      <a:pt x="3203" y="1804"/>
                    </a:lnTo>
                    <a:lnTo>
                      <a:pt x="3203" y="1788"/>
                    </a:lnTo>
                    <a:lnTo>
                      <a:pt x="3208" y="1788"/>
                    </a:lnTo>
                    <a:lnTo>
                      <a:pt x="3220" y="1771"/>
                    </a:lnTo>
                    <a:lnTo>
                      <a:pt x="3208" y="1771"/>
                    </a:lnTo>
                    <a:lnTo>
                      <a:pt x="3208" y="1750"/>
                    </a:lnTo>
                    <a:lnTo>
                      <a:pt x="3182" y="1738"/>
                    </a:lnTo>
                    <a:lnTo>
                      <a:pt x="3182" y="1733"/>
                    </a:lnTo>
                    <a:lnTo>
                      <a:pt x="3208" y="1733"/>
                    </a:lnTo>
                    <a:lnTo>
                      <a:pt x="3224" y="1750"/>
                    </a:lnTo>
                    <a:lnTo>
                      <a:pt x="3220" y="1750"/>
                    </a:lnTo>
                    <a:lnTo>
                      <a:pt x="3220" y="1755"/>
                    </a:lnTo>
                    <a:lnTo>
                      <a:pt x="3246" y="1771"/>
                    </a:lnTo>
                    <a:lnTo>
                      <a:pt x="3288" y="1816"/>
                    </a:lnTo>
                    <a:lnTo>
                      <a:pt x="3288" y="1816"/>
                    </a:lnTo>
                    <a:lnTo>
                      <a:pt x="3288" y="1816"/>
                    </a:lnTo>
                    <a:close/>
                    <a:moveTo>
                      <a:pt x="3203" y="1750"/>
                    </a:moveTo>
                    <a:lnTo>
                      <a:pt x="3203" y="1762"/>
                    </a:lnTo>
                    <a:lnTo>
                      <a:pt x="3170" y="1771"/>
                    </a:lnTo>
                    <a:lnTo>
                      <a:pt x="3186" y="1750"/>
                    </a:lnTo>
                    <a:lnTo>
                      <a:pt x="3203" y="1750"/>
                    </a:lnTo>
                    <a:lnTo>
                      <a:pt x="3203" y="1750"/>
                    </a:lnTo>
                    <a:lnTo>
                      <a:pt x="3203" y="1750"/>
                    </a:lnTo>
                    <a:close/>
                    <a:moveTo>
                      <a:pt x="3342" y="1833"/>
                    </a:moveTo>
                    <a:lnTo>
                      <a:pt x="3333" y="1833"/>
                    </a:lnTo>
                    <a:lnTo>
                      <a:pt x="3349" y="1816"/>
                    </a:lnTo>
                    <a:lnTo>
                      <a:pt x="3342" y="1804"/>
                    </a:lnTo>
                    <a:lnTo>
                      <a:pt x="3342" y="1816"/>
                    </a:lnTo>
                    <a:lnTo>
                      <a:pt x="3333" y="1833"/>
                    </a:lnTo>
                    <a:lnTo>
                      <a:pt x="3333" y="1811"/>
                    </a:lnTo>
                    <a:lnTo>
                      <a:pt x="3326" y="1833"/>
                    </a:lnTo>
                    <a:lnTo>
                      <a:pt x="3312" y="1816"/>
                    </a:lnTo>
                    <a:lnTo>
                      <a:pt x="3316" y="1811"/>
                    </a:lnTo>
                    <a:lnTo>
                      <a:pt x="3316" y="1788"/>
                    </a:lnTo>
                    <a:lnTo>
                      <a:pt x="3316" y="1778"/>
                    </a:lnTo>
                    <a:lnTo>
                      <a:pt x="3349" y="1762"/>
                    </a:lnTo>
                    <a:lnTo>
                      <a:pt x="3371" y="1804"/>
                    </a:lnTo>
                    <a:lnTo>
                      <a:pt x="3364" y="1828"/>
                    </a:lnTo>
                    <a:lnTo>
                      <a:pt x="3354" y="1844"/>
                    </a:lnTo>
                    <a:lnTo>
                      <a:pt x="3349" y="1844"/>
                    </a:lnTo>
                    <a:lnTo>
                      <a:pt x="3349" y="1828"/>
                    </a:lnTo>
                    <a:lnTo>
                      <a:pt x="3342" y="1833"/>
                    </a:lnTo>
                    <a:lnTo>
                      <a:pt x="3342" y="1833"/>
                    </a:lnTo>
                    <a:lnTo>
                      <a:pt x="3342" y="1833"/>
                    </a:lnTo>
                    <a:close/>
                    <a:moveTo>
                      <a:pt x="3165" y="1771"/>
                    </a:moveTo>
                    <a:lnTo>
                      <a:pt x="3165" y="1778"/>
                    </a:lnTo>
                    <a:lnTo>
                      <a:pt x="3153" y="1778"/>
                    </a:lnTo>
                    <a:lnTo>
                      <a:pt x="3165" y="1771"/>
                    </a:lnTo>
                    <a:lnTo>
                      <a:pt x="3165" y="1771"/>
                    </a:lnTo>
                    <a:lnTo>
                      <a:pt x="3165" y="1771"/>
                    </a:lnTo>
                    <a:close/>
                    <a:moveTo>
                      <a:pt x="3149" y="1771"/>
                    </a:moveTo>
                    <a:lnTo>
                      <a:pt x="3132" y="1778"/>
                    </a:lnTo>
                    <a:lnTo>
                      <a:pt x="3132" y="1771"/>
                    </a:lnTo>
                    <a:lnTo>
                      <a:pt x="3149" y="1771"/>
                    </a:lnTo>
                    <a:lnTo>
                      <a:pt x="3149" y="1771"/>
                    </a:lnTo>
                    <a:lnTo>
                      <a:pt x="3149" y="1771"/>
                    </a:lnTo>
                    <a:close/>
                    <a:moveTo>
                      <a:pt x="1642" y="1771"/>
                    </a:moveTo>
                    <a:lnTo>
                      <a:pt x="1642" y="1788"/>
                    </a:lnTo>
                    <a:lnTo>
                      <a:pt x="1625" y="1788"/>
                    </a:lnTo>
                    <a:lnTo>
                      <a:pt x="1642" y="1771"/>
                    </a:lnTo>
                    <a:lnTo>
                      <a:pt x="1642" y="1771"/>
                    </a:lnTo>
                    <a:lnTo>
                      <a:pt x="1642" y="1771"/>
                    </a:lnTo>
                    <a:close/>
                    <a:moveTo>
                      <a:pt x="3208" y="1778"/>
                    </a:moveTo>
                    <a:lnTo>
                      <a:pt x="3208" y="1788"/>
                    </a:lnTo>
                    <a:lnTo>
                      <a:pt x="3203" y="1778"/>
                    </a:lnTo>
                    <a:lnTo>
                      <a:pt x="3208" y="1778"/>
                    </a:lnTo>
                    <a:lnTo>
                      <a:pt x="3208" y="1778"/>
                    </a:lnTo>
                    <a:lnTo>
                      <a:pt x="3208" y="1778"/>
                    </a:lnTo>
                    <a:close/>
                    <a:moveTo>
                      <a:pt x="1410" y="1771"/>
                    </a:moveTo>
                    <a:lnTo>
                      <a:pt x="1420" y="1778"/>
                    </a:lnTo>
                    <a:lnTo>
                      <a:pt x="1405" y="1778"/>
                    </a:lnTo>
                    <a:lnTo>
                      <a:pt x="1410" y="1771"/>
                    </a:lnTo>
                    <a:lnTo>
                      <a:pt x="1410" y="1771"/>
                    </a:lnTo>
                    <a:lnTo>
                      <a:pt x="1410" y="1771"/>
                    </a:lnTo>
                    <a:close/>
                    <a:moveTo>
                      <a:pt x="3203" y="1788"/>
                    </a:moveTo>
                    <a:lnTo>
                      <a:pt x="3186" y="1795"/>
                    </a:lnTo>
                    <a:lnTo>
                      <a:pt x="3182" y="1788"/>
                    </a:lnTo>
                    <a:lnTo>
                      <a:pt x="3203" y="1788"/>
                    </a:lnTo>
                    <a:lnTo>
                      <a:pt x="3203" y="1788"/>
                    </a:lnTo>
                    <a:lnTo>
                      <a:pt x="3203" y="1788"/>
                    </a:lnTo>
                    <a:close/>
                    <a:moveTo>
                      <a:pt x="3203" y="1811"/>
                    </a:moveTo>
                    <a:lnTo>
                      <a:pt x="3203" y="1816"/>
                    </a:lnTo>
                    <a:lnTo>
                      <a:pt x="3191" y="1811"/>
                    </a:lnTo>
                    <a:lnTo>
                      <a:pt x="3203" y="1811"/>
                    </a:lnTo>
                    <a:lnTo>
                      <a:pt x="3203" y="1811"/>
                    </a:lnTo>
                    <a:lnTo>
                      <a:pt x="3203" y="1811"/>
                    </a:lnTo>
                    <a:close/>
                    <a:moveTo>
                      <a:pt x="3182" y="1816"/>
                    </a:moveTo>
                    <a:lnTo>
                      <a:pt x="3170" y="1816"/>
                    </a:lnTo>
                    <a:lnTo>
                      <a:pt x="3170" y="1811"/>
                    </a:lnTo>
                    <a:lnTo>
                      <a:pt x="3186" y="1811"/>
                    </a:lnTo>
                    <a:lnTo>
                      <a:pt x="3182" y="1816"/>
                    </a:lnTo>
                    <a:lnTo>
                      <a:pt x="3182" y="1816"/>
                    </a:lnTo>
                    <a:lnTo>
                      <a:pt x="3182" y="1816"/>
                    </a:lnTo>
                    <a:close/>
                    <a:moveTo>
                      <a:pt x="3191" y="1811"/>
                    </a:moveTo>
                    <a:lnTo>
                      <a:pt x="3191" y="1816"/>
                    </a:lnTo>
                    <a:lnTo>
                      <a:pt x="3182" y="1816"/>
                    </a:lnTo>
                    <a:lnTo>
                      <a:pt x="3191" y="1811"/>
                    </a:lnTo>
                    <a:lnTo>
                      <a:pt x="3191" y="1811"/>
                    </a:lnTo>
                    <a:lnTo>
                      <a:pt x="3191" y="1811"/>
                    </a:lnTo>
                    <a:close/>
                    <a:moveTo>
                      <a:pt x="3312" y="1816"/>
                    </a:moveTo>
                    <a:lnTo>
                      <a:pt x="3316" y="1833"/>
                    </a:lnTo>
                    <a:lnTo>
                      <a:pt x="3312" y="1849"/>
                    </a:lnTo>
                    <a:lnTo>
                      <a:pt x="3312" y="1844"/>
                    </a:lnTo>
                    <a:lnTo>
                      <a:pt x="3312" y="1816"/>
                    </a:lnTo>
                    <a:lnTo>
                      <a:pt x="3312" y="1816"/>
                    </a:lnTo>
                    <a:lnTo>
                      <a:pt x="3312" y="1816"/>
                    </a:lnTo>
                    <a:close/>
                    <a:moveTo>
                      <a:pt x="3191" y="1828"/>
                    </a:moveTo>
                    <a:lnTo>
                      <a:pt x="3182" y="1844"/>
                    </a:lnTo>
                    <a:lnTo>
                      <a:pt x="3182" y="1833"/>
                    </a:lnTo>
                    <a:lnTo>
                      <a:pt x="3186" y="1816"/>
                    </a:lnTo>
                    <a:lnTo>
                      <a:pt x="3191" y="1828"/>
                    </a:lnTo>
                    <a:lnTo>
                      <a:pt x="3191" y="1828"/>
                    </a:lnTo>
                    <a:lnTo>
                      <a:pt x="3191" y="1828"/>
                    </a:lnTo>
                    <a:close/>
                    <a:moveTo>
                      <a:pt x="1280" y="1828"/>
                    </a:moveTo>
                    <a:lnTo>
                      <a:pt x="1285" y="1828"/>
                    </a:lnTo>
                    <a:lnTo>
                      <a:pt x="1285" y="1844"/>
                    </a:lnTo>
                    <a:lnTo>
                      <a:pt x="1297" y="1844"/>
                    </a:lnTo>
                    <a:lnTo>
                      <a:pt x="1275" y="1849"/>
                    </a:lnTo>
                    <a:lnTo>
                      <a:pt x="1275" y="1833"/>
                    </a:lnTo>
                    <a:lnTo>
                      <a:pt x="1280" y="1828"/>
                    </a:lnTo>
                    <a:lnTo>
                      <a:pt x="1280" y="1828"/>
                    </a:lnTo>
                    <a:lnTo>
                      <a:pt x="1280" y="1828"/>
                    </a:lnTo>
                    <a:close/>
                    <a:moveTo>
                      <a:pt x="1301" y="1828"/>
                    </a:moveTo>
                    <a:lnTo>
                      <a:pt x="1301" y="1844"/>
                    </a:lnTo>
                    <a:lnTo>
                      <a:pt x="1297" y="1833"/>
                    </a:lnTo>
                    <a:lnTo>
                      <a:pt x="1301" y="1828"/>
                    </a:lnTo>
                    <a:lnTo>
                      <a:pt x="1301" y="1828"/>
                    </a:lnTo>
                    <a:lnTo>
                      <a:pt x="1301" y="1828"/>
                    </a:lnTo>
                    <a:close/>
                    <a:moveTo>
                      <a:pt x="3203" y="1833"/>
                    </a:moveTo>
                    <a:lnTo>
                      <a:pt x="3208" y="1844"/>
                    </a:lnTo>
                    <a:lnTo>
                      <a:pt x="3191" y="1844"/>
                    </a:lnTo>
                    <a:lnTo>
                      <a:pt x="3191" y="1833"/>
                    </a:lnTo>
                    <a:lnTo>
                      <a:pt x="3203" y="1833"/>
                    </a:lnTo>
                    <a:lnTo>
                      <a:pt x="3203" y="1833"/>
                    </a:lnTo>
                    <a:lnTo>
                      <a:pt x="3203" y="1833"/>
                    </a:lnTo>
                    <a:close/>
                    <a:moveTo>
                      <a:pt x="1339" y="1833"/>
                    </a:moveTo>
                    <a:lnTo>
                      <a:pt x="1339" y="1849"/>
                    </a:lnTo>
                    <a:lnTo>
                      <a:pt x="1313" y="1873"/>
                    </a:lnTo>
                    <a:lnTo>
                      <a:pt x="1318" y="1861"/>
                    </a:lnTo>
                    <a:lnTo>
                      <a:pt x="1318" y="1849"/>
                    </a:lnTo>
                    <a:lnTo>
                      <a:pt x="1330" y="1849"/>
                    </a:lnTo>
                    <a:lnTo>
                      <a:pt x="1339" y="1833"/>
                    </a:lnTo>
                    <a:lnTo>
                      <a:pt x="1339" y="1833"/>
                    </a:lnTo>
                    <a:lnTo>
                      <a:pt x="1339" y="1833"/>
                    </a:lnTo>
                    <a:close/>
                    <a:moveTo>
                      <a:pt x="3333" y="1844"/>
                    </a:moveTo>
                    <a:lnTo>
                      <a:pt x="3342" y="1844"/>
                    </a:lnTo>
                    <a:lnTo>
                      <a:pt x="3342" y="1861"/>
                    </a:lnTo>
                    <a:lnTo>
                      <a:pt x="3326" y="1866"/>
                    </a:lnTo>
                    <a:lnTo>
                      <a:pt x="3326" y="1833"/>
                    </a:lnTo>
                    <a:lnTo>
                      <a:pt x="3333" y="1844"/>
                    </a:lnTo>
                    <a:lnTo>
                      <a:pt x="3333" y="1844"/>
                    </a:lnTo>
                    <a:lnTo>
                      <a:pt x="3333" y="1844"/>
                    </a:lnTo>
                    <a:close/>
                    <a:moveTo>
                      <a:pt x="3220" y="1844"/>
                    </a:moveTo>
                    <a:lnTo>
                      <a:pt x="3246" y="1899"/>
                    </a:lnTo>
                    <a:lnTo>
                      <a:pt x="3236" y="1899"/>
                    </a:lnTo>
                    <a:lnTo>
                      <a:pt x="3220" y="1866"/>
                    </a:lnTo>
                    <a:lnTo>
                      <a:pt x="3208" y="1861"/>
                    </a:lnTo>
                    <a:lnTo>
                      <a:pt x="3208" y="1844"/>
                    </a:lnTo>
                    <a:lnTo>
                      <a:pt x="3220" y="1844"/>
                    </a:lnTo>
                    <a:lnTo>
                      <a:pt x="3220" y="1844"/>
                    </a:lnTo>
                    <a:lnTo>
                      <a:pt x="3220" y="1844"/>
                    </a:lnTo>
                    <a:close/>
                    <a:moveTo>
                      <a:pt x="1368" y="1844"/>
                    </a:moveTo>
                    <a:lnTo>
                      <a:pt x="1368" y="1861"/>
                    </a:lnTo>
                    <a:lnTo>
                      <a:pt x="1356" y="1861"/>
                    </a:lnTo>
                    <a:lnTo>
                      <a:pt x="1368" y="1844"/>
                    </a:lnTo>
                    <a:lnTo>
                      <a:pt x="1368" y="1844"/>
                    </a:lnTo>
                    <a:lnTo>
                      <a:pt x="1368" y="1844"/>
                    </a:lnTo>
                    <a:close/>
                    <a:moveTo>
                      <a:pt x="3241" y="1844"/>
                    </a:moveTo>
                    <a:lnTo>
                      <a:pt x="3246" y="1861"/>
                    </a:lnTo>
                    <a:lnTo>
                      <a:pt x="3236" y="1861"/>
                    </a:lnTo>
                    <a:lnTo>
                      <a:pt x="3241" y="1844"/>
                    </a:lnTo>
                    <a:lnTo>
                      <a:pt x="3241" y="1844"/>
                    </a:lnTo>
                    <a:lnTo>
                      <a:pt x="3241" y="1844"/>
                    </a:lnTo>
                    <a:close/>
                    <a:moveTo>
                      <a:pt x="1209" y="1849"/>
                    </a:moveTo>
                    <a:lnTo>
                      <a:pt x="1221" y="1849"/>
                    </a:lnTo>
                    <a:lnTo>
                      <a:pt x="1205" y="1861"/>
                    </a:lnTo>
                    <a:lnTo>
                      <a:pt x="1193" y="1849"/>
                    </a:lnTo>
                    <a:lnTo>
                      <a:pt x="1209" y="1849"/>
                    </a:lnTo>
                    <a:lnTo>
                      <a:pt x="1209" y="1849"/>
                    </a:lnTo>
                    <a:lnTo>
                      <a:pt x="1209" y="1849"/>
                    </a:lnTo>
                    <a:close/>
                    <a:moveTo>
                      <a:pt x="1032" y="1906"/>
                    </a:moveTo>
                    <a:lnTo>
                      <a:pt x="1027" y="1922"/>
                    </a:lnTo>
                    <a:lnTo>
                      <a:pt x="1004" y="1922"/>
                    </a:lnTo>
                    <a:lnTo>
                      <a:pt x="990" y="1922"/>
                    </a:lnTo>
                    <a:lnTo>
                      <a:pt x="978" y="1906"/>
                    </a:lnTo>
                    <a:lnTo>
                      <a:pt x="1004" y="1899"/>
                    </a:lnTo>
                    <a:lnTo>
                      <a:pt x="1016" y="1873"/>
                    </a:lnTo>
                    <a:lnTo>
                      <a:pt x="1032" y="1873"/>
                    </a:lnTo>
                    <a:lnTo>
                      <a:pt x="1065" y="1861"/>
                    </a:lnTo>
                    <a:lnTo>
                      <a:pt x="1079" y="1861"/>
                    </a:lnTo>
                    <a:lnTo>
                      <a:pt x="1096" y="1882"/>
                    </a:lnTo>
                    <a:lnTo>
                      <a:pt x="1112" y="1889"/>
                    </a:lnTo>
                    <a:lnTo>
                      <a:pt x="1117" y="1899"/>
                    </a:lnTo>
                    <a:lnTo>
                      <a:pt x="1096" y="1889"/>
                    </a:lnTo>
                    <a:lnTo>
                      <a:pt x="1079" y="1906"/>
                    </a:lnTo>
                    <a:lnTo>
                      <a:pt x="1032" y="1906"/>
                    </a:lnTo>
                    <a:lnTo>
                      <a:pt x="1032" y="1906"/>
                    </a:lnTo>
                    <a:lnTo>
                      <a:pt x="1032" y="1906"/>
                    </a:lnTo>
                    <a:close/>
                    <a:moveTo>
                      <a:pt x="1372" y="1861"/>
                    </a:moveTo>
                    <a:lnTo>
                      <a:pt x="1372" y="1866"/>
                    </a:lnTo>
                    <a:lnTo>
                      <a:pt x="1368" y="1866"/>
                    </a:lnTo>
                    <a:lnTo>
                      <a:pt x="1368" y="1861"/>
                    </a:lnTo>
                    <a:lnTo>
                      <a:pt x="1372" y="1861"/>
                    </a:lnTo>
                    <a:lnTo>
                      <a:pt x="1372" y="1861"/>
                    </a:lnTo>
                    <a:lnTo>
                      <a:pt x="1372" y="1861"/>
                    </a:lnTo>
                    <a:close/>
                    <a:moveTo>
                      <a:pt x="3349" y="1866"/>
                    </a:moveTo>
                    <a:lnTo>
                      <a:pt x="3349" y="1873"/>
                    </a:lnTo>
                    <a:lnTo>
                      <a:pt x="3333" y="1873"/>
                    </a:lnTo>
                    <a:lnTo>
                      <a:pt x="3349" y="1866"/>
                    </a:lnTo>
                    <a:lnTo>
                      <a:pt x="3349" y="1866"/>
                    </a:lnTo>
                    <a:lnTo>
                      <a:pt x="3349" y="1866"/>
                    </a:lnTo>
                    <a:close/>
                    <a:moveTo>
                      <a:pt x="1172" y="1866"/>
                    </a:moveTo>
                    <a:lnTo>
                      <a:pt x="1167" y="1882"/>
                    </a:lnTo>
                    <a:lnTo>
                      <a:pt x="1155" y="1873"/>
                    </a:lnTo>
                    <a:lnTo>
                      <a:pt x="1172" y="1866"/>
                    </a:lnTo>
                    <a:lnTo>
                      <a:pt x="1172" y="1866"/>
                    </a:lnTo>
                    <a:lnTo>
                      <a:pt x="1172" y="1866"/>
                    </a:lnTo>
                    <a:close/>
                    <a:moveTo>
                      <a:pt x="1382" y="1866"/>
                    </a:moveTo>
                    <a:lnTo>
                      <a:pt x="1389" y="1873"/>
                    </a:lnTo>
                    <a:lnTo>
                      <a:pt x="1382" y="1873"/>
                    </a:lnTo>
                    <a:lnTo>
                      <a:pt x="1382" y="1866"/>
                    </a:lnTo>
                    <a:lnTo>
                      <a:pt x="1382" y="1866"/>
                    </a:lnTo>
                    <a:lnTo>
                      <a:pt x="1382" y="1866"/>
                    </a:lnTo>
                    <a:close/>
                    <a:moveTo>
                      <a:pt x="3246" y="1873"/>
                    </a:moveTo>
                    <a:lnTo>
                      <a:pt x="3246" y="1889"/>
                    </a:lnTo>
                    <a:lnTo>
                      <a:pt x="3241" y="1873"/>
                    </a:lnTo>
                    <a:lnTo>
                      <a:pt x="3246" y="1873"/>
                    </a:lnTo>
                    <a:lnTo>
                      <a:pt x="3246" y="1873"/>
                    </a:lnTo>
                    <a:lnTo>
                      <a:pt x="3246" y="1873"/>
                    </a:lnTo>
                    <a:close/>
                    <a:moveTo>
                      <a:pt x="1134" y="1915"/>
                    </a:moveTo>
                    <a:lnTo>
                      <a:pt x="1150" y="1927"/>
                    </a:lnTo>
                    <a:lnTo>
                      <a:pt x="1134" y="1922"/>
                    </a:lnTo>
                    <a:lnTo>
                      <a:pt x="1134" y="1915"/>
                    </a:lnTo>
                    <a:lnTo>
                      <a:pt x="1134" y="1915"/>
                    </a:lnTo>
                    <a:lnTo>
                      <a:pt x="1134" y="1915"/>
                    </a:lnTo>
                    <a:close/>
                    <a:moveTo>
                      <a:pt x="940" y="1955"/>
                    </a:moveTo>
                    <a:lnTo>
                      <a:pt x="935" y="1939"/>
                    </a:lnTo>
                    <a:lnTo>
                      <a:pt x="952" y="1939"/>
                    </a:lnTo>
                    <a:lnTo>
                      <a:pt x="940" y="1955"/>
                    </a:lnTo>
                    <a:lnTo>
                      <a:pt x="940" y="1955"/>
                    </a:lnTo>
                    <a:lnTo>
                      <a:pt x="940" y="1955"/>
                    </a:lnTo>
                    <a:close/>
                    <a:moveTo>
                      <a:pt x="919" y="1960"/>
                    </a:moveTo>
                    <a:lnTo>
                      <a:pt x="902" y="1955"/>
                    </a:lnTo>
                    <a:lnTo>
                      <a:pt x="907" y="1939"/>
                    </a:lnTo>
                    <a:lnTo>
                      <a:pt x="935" y="1955"/>
                    </a:lnTo>
                    <a:lnTo>
                      <a:pt x="919" y="1960"/>
                    </a:lnTo>
                    <a:lnTo>
                      <a:pt x="919" y="1960"/>
                    </a:lnTo>
                    <a:lnTo>
                      <a:pt x="919" y="1960"/>
                    </a:lnTo>
                    <a:close/>
                    <a:moveTo>
                      <a:pt x="957" y="1960"/>
                    </a:moveTo>
                    <a:lnTo>
                      <a:pt x="952" y="1955"/>
                    </a:lnTo>
                    <a:lnTo>
                      <a:pt x="961" y="1955"/>
                    </a:lnTo>
                    <a:lnTo>
                      <a:pt x="957" y="1960"/>
                    </a:lnTo>
                    <a:lnTo>
                      <a:pt x="957" y="1960"/>
                    </a:lnTo>
                    <a:lnTo>
                      <a:pt x="957" y="1960"/>
                    </a:lnTo>
                    <a:close/>
                    <a:moveTo>
                      <a:pt x="831" y="2000"/>
                    </a:moveTo>
                    <a:lnTo>
                      <a:pt x="843" y="1993"/>
                    </a:lnTo>
                    <a:lnTo>
                      <a:pt x="853" y="1993"/>
                    </a:lnTo>
                    <a:lnTo>
                      <a:pt x="827" y="1981"/>
                    </a:lnTo>
                    <a:lnTo>
                      <a:pt x="843" y="1972"/>
                    </a:lnTo>
                    <a:lnTo>
                      <a:pt x="864" y="1960"/>
                    </a:lnTo>
                    <a:lnTo>
                      <a:pt x="864" y="1977"/>
                    </a:lnTo>
                    <a:lnTo>
                      <a:pt x="886" y="1960"/>
                    </a:lnTo>
                    <a:lnTo>
                      <a:pt x="898" y="1972"/>
                    </a:lnTo>
                    <a:lnTo>
                      <a:pt x="869" y="1993"/>
                    </a:lnTo>
                    <a:lnTo>
                      <a:pt x="886" y="1981"/>
                    </a:lnTo>
                    <a:lnTo>
                      <a:pt x="886" y="1993"/>
                    </a:lnTo>
                    <a:lnTo>
                      <a:pt x="869" y="2000"/>
                    </a:lnTo>
                    <a:lnTo>
                      <a:pt x="853" y="2017"/>
                    </a:lnTo>
                    <a:lnTo>
                      <a:pt x="794" y="2038"/>
                    </a:lnTo>
                    <a:lnTo>
                      <a:pt x="777" y="2033"/>
                    </a:lnTo>
                    <a:lnTo>
                      <a:pt x="827" y="2017"/>
                    </a:lnTo>
                    <a:lnTo>
                      <a:pt x="831" y="2010"/>
                    </a:lnTo>
                    <a:lnTo>
                      <a:pt x="827" y="2000"/>
                    </a:lnTo>
                    <a:lnTo>
                      <a:pt x="831" y="2000"/>
                    </a:lnTo>
                    <a:lnTo>
                      <a:pt x="831" y="2000"/>
                    </a:lnTo>
                    <a:lnTo>
                      <a:pt x="831" y="2000"/>
                    </a:lnTo>
                    <a:close/>
                    <a:moveTo>
                      <a:pt x="898" y="1993"/>
                    </a:moveTo>
                    <a:lnTo>
                      <a:pt x="886" y="1981"/>
                    </a:lnTo>
                    <a:lnTo>
                      <a:pt x="902" y="1977"/>
                    </a:lnTo>
                    <a:lnTo>
                      <a:pt x="898" y="1993"/>
                    </a:lnTo>
                    <a:lnTo>
                      <a:pt x="898" y="1993"/>
                    </a:lnTo>
                    <a:lnTo>
                      <a:pt x="898" y="1993"/>
                    </a:lnTo>
                    <a:close/>
                    <a:moveTo>
                      <a:pt x="789" y="2017"/>
                    </a:moveTo>
                    <a:lnTo>
                      <a:pt x="777" y="2026"/>
                    </a:lnTo>
                    <a:lnTo>
                      <a:pt x="746" y="2038"/>
                    </a:lnTo>
                    <a:lnTo>
                      <a:pt x="735" y="2055"/>
                    </a:lnTo>
                    <a:lnTo>
                      <a:pt x="692" y="2083"/>
                    </a:lnTo>
                    <a:lnTo>
                      <a:pt x="709" y="2066"/>
                    </a:lnTo>
                    <a:lnTo>
                      <a:pt x="709" y="2050"/>
                    </a:lnTo>
                    <a:lnTo>
                      <a:pt x="725" y="2033"/>
                    </a:lnTo>
                    <a:lnTo>
                      <a:pt x="739" y="2033"/>
                    </a:lnTo>
                    <a:lnTo>
                      <a:pt x="739" y="2026"/>
                    </a:lnTo>
                    <a:lnTo>
                      <a:pt x="739" y="2017"/>
                    </a:lnTo>
                    <a:lnTo>
                      <a:pt x="772" y="2010"/>
                    </a:lnTo>
                    <a:lnTo>
                      <a:pt x="789" y="2017"/>
                    </a:lnTo>
                    <a:lnTo>
                      <a:pt x="789" y="2017"/>
                    </a:lnTo>
                    <a:lnTo>
                      <a:pt x="789" y="2017"/>
                    </a:lnTo>
                    <a:close/>
                    <a:moveTo>
                      <a:pt x="649" y="2066"/>
                    </a:moveTo>
                    <a:lnTo>
                      <a:pt x="649" y="2055"/>
                    </a:lnTo>
                    <a:lnTo>
                      <a:pt x="649" y="2066"/>
                    </a:lnTo>
                    <a:lnTo>
                      <a:pt x="649" y="2066"/>
                    </a:lnTo>
                    <a:lnTo>
                      <a:pt x="649" y="2066"/>
                    </a:lnTo>
                    <a:close/>
                    <a:moveTo>
                      <a:pt x="24685" y="2088"/>
                    </a:moveTo>
                    <a:lnTo>
                      <a:pt x="24678" y="2071"/>
                    </a:lnTo>
                    <a:lnTo>
                      <a:pt x="24652" y="2071"/>
                    </a:lnTo>
                    <a:lnTo>
                      <a:pt x="24668" y="2066"/>
                    </a:lnTo>
                    <a:lnTo>
                      <a:pt x="24701" y="2066"/>
                    </a:lnTo>
                    <a:lnTo>
                      <a:pt x="24722" y="2071"/>
                    </a:lnTo>
                    <a:lnTo>
                      <a:pt x="24685" y="2088"/>
                    </a:lnTo>
                    <a:lnTo>
                      <a:pt x="24685" y="2088"/>
                    </a:lnTo>
                    <a:lnTo>
                      <a:pt x="24685" y="2088"/>
                    </a:lnTo>
                    <a:close/>
                    <a:moveTo>
                      <a:pt x="633" y="2083"/>
                    </a:moveTo>
                    <a:lnTo>
                      <a:pt x="649" y="2071"/>
                    </a:lnTo>
                    <a:lnTo>
                      <a:pt x="649" y="2083"/>
                    </a:lnTo>
                    <a:lnTo>
                      <a:pt x="633" y="2083"/>
                    </a:lnTo>
                    <a:lnTo>
                      <a:pt x="633" y="2083"/>
                    </a:lnTo>
                    <a:lnTo>
                      <a:pt x="633" y="2083"/>
                    </a:lnTo>
                    <a:close/>
                    <a:moveTo>
                      <a:pt x="616" y="2088"/>
                    </a:moveTo>
                    <a:lnTo>
                      <a:pt x="616" y="2083"/>
                    </a:lnTo>
                    <a:lnTo>
                      <a:pt x="626" y="2088"/>
                    </a:lnTo>
                    <a:lnTo>
                      <a:pt x="616" y="2088"/>
                    </a:lnTo>
                    <a:lnTo>
                      <a:pt x="616" y="2088"/>
                    </a:lnTo>
                    <a:lnTo>
                      <a:pt x="616" y="2088"/>
                    </a:lnTo>
                    <a:close/>
                    <a:moveTo>
                      <a:pt x="574" y="2104"/>
                    </a:moveTo>
                    <a:lnTo>
                      <a:pt x="579" y="2092"/>
                    </a:lnTo>
                    <a:lnTo>
                      <a:pt x="583" y="2092"/>
                    </a:lnTo>
                    <a:lnTo>
                      <a:pt x="574" y="2104"/>
                    </a:lnTo>
                    <a:lnTo>
                      <a:pt x="574" y="2104"/>
                    </a:lnTo>
                    <a:lnTo>
                      <a:pt x="574" y="2104"/>
                    </a:lnTo>
                    <a:close/>
                    <a:moveTo>
                      <a:pt x="24739" y="2126"/>
                    </a:moveTo>
                    <a:lnTo>
                      <a:pt x="24715" y="2121"/>
                    </a:lnTo>
                    <a:lnTo>
                      <a:pt x="24744" y="2109"/>
                    </a:lnTo>
                    <a:lnTo>
                      <a:pt x="24744" y="2126"/>
                    </a:lnTo>
                    <a:lnTo>
                      <a:pt x="24739" y="2126"/>
                    </a:lnTo>
                    <a:lnTo>
                      <a:pt x="24739" y="2126"/>
                    </a:lnTo>
                    <a:lnTo>
                      <a:pt x="24739" y="2126"/>
                    </a:lnTo>
                    <a:close/>
                    <a:moveTo>
                      <a:pt x="324" y="2149"/>
                    </a:moveTo>
                    <a:lnTo>
                      <a:pt x="255" y="2161"/>
                    </a:lnTo>
                    <a:lnTo>
                      <a:pt x="331" y="2137"/>
                    </a:lnTo>
                    <a:lnTo>
                      <a:pt x="314" y="2126"/>
                    </a:lnTo>
                    <a:lnTo>
                      <a:pt x="331" y="2121"/>
                    </a:lnTo>
                    <a:lnTo>
                      <a:pt x="347" y="2126"/>
                    </a:lnTo>
                    <a:lnTo>
                      <a:pt x="340" y="2142"/>
                    </a:lnTo>
                    <a:lnTo>
                      <a:pt x="324" y="2149"/>
                    </a:lnTo>
                    <a:lnTo>
                      <a:pt x="324" y="2149"/>
                    </a:lnTo>
                    <a:lnTo>
                      <a:pt x="324" y="2149"/>
                    </a:lnTo>
                    <a:close/>
                    <a:moveTo>
                      <a:pt x="453" y="2137"/>
                    </a:moveTo>
                    <a:lnTo>
                      <a:pt x="449" y="2137"/>
                    </a:lnTo>
                    <a:lnTo>
                      <a:pt x="453" y="2121"/>
                    </a:lnTo>
                    <a:lnTo>
                      <a:pt x="470" y="2126"/>
                    </a:lnTo>
                    <a:lnTo>
                      <a:pt x="453" y="2137"/>
                    </a:lnTo>
                    <a:lnTo>
                      <a:pt x="453" y="2137"/>
                    </a:lnTo>
                    <a:lnTo>
                      <a:pt x="453" y="2137"/>
                    </a:lnTo>
                    <a:close/>
                    <a:moveTo>
                      <a:pt x="24895" y="2126"/>
                    </a:moveTo>
                    <a:lnTo>
                      <a:pt x="24895" y="2121"/>
                    </a:lnTo>
                    <a:lnTo>
                      <a:pt x="24900" y="2126"/>
                    </a:lnTo>
                    <a:lnTo>
                      <a:pt x="24895" y="2126"/>
                    </a:lnTo>
                    <a:lnTo>
                      <a:pt x="24895" y="2126"/>
                    </a:lnTo>
                    <a:lnTo>
                      <a:pt x="24895" y="2126"/>
                    </a:lnTo>
                    <a:close/>
                    <a:moveTo>
                      <a:pt x="385" y="2161"/>
                    </a:moveTo>
                    <a:lnTo>
                      <a:pt x="347" y="2142"/>
                    </a:lnTo>
                    <a:lnTo>
                      <a:pt x="423" y="2149"/>
                    </a:lnTo>
                    <a:lnTo>
                      <a:pt x="385" y="2161"/>
                    </a:lnTo>
                    <a:lnTo>
                      <a:pt x="385" y="2161"/>
                    </a:lnTo>
                    <a:lnTo>
                      <a:pt x="385" y="2161"/>
                    </a:lnTo>
                    <a:close/>
                    <a:moveTo>
                      <a:pt x="24992" y="2178"/>
                    </a:moveTo>
                    <a:lnTo>
                      <a:pt x="24987" y="2166"/>
                    </a:lnTo>
                    <a:lnTo>
                      <a:pt x="25008" y="2149"/>
                    </a:lnTo>
                    <a:lnTo>
                      <a:pt x="25013" y="2149"/>
                    </a:lnTo>
                    <a:lnTo>
                      <a:pt x="25013" y="2166"/>
                    </a:lnTo>
                    <a:lnTo>
                      <a:pt x="25003" y="2166"/>
                    </a:lnTo>
                    <a:lnTo>
                      <a:pt x="24992" y="2178"/>
                    </a:lnTo>
                    <a:lnTo>
                      <a:pt x="24992" y="2178"/>
                    </a:lnTo>
                    <a:lnTo>
                      <a:pt x="24992" y="2178"/>
                    </a:lnTo>
                    <a:close/>
                    <a:moveTo>
                      <a:pt x="201" y="2161"/>
                    </a:moveTo>
                    <a:lnTo>
                      <a:pt x="196" y="2161"/>
                    </a:lnTo>
                    <a:lnTo>
                      <a:pt x="201" y="2149"/>
                    </a:lnTo>
                    <a:lnTo>
                      <a:pt x="205" y="2149"/>
                    </a:lnTo>
                    <a:lnTo>
                      <a:pt x="201" y="2161"/>
                    </a:lnTo>
                    <a:lnTo>
                      <a:pt x="201" y="2161"/>
                    </a:lnTo>
                    <a:lnTo>
                      <a:pt x="201" y="2161"/>
                    </a:lnTo>
                    <a:close/>
                    <a:moveTo>
                      <a:pt x="25155" y="2166"/>
                    </a:moveTo>
                    <a:lnTo>
                      <a:pt x="25148" y="2161"/>
                    </a:lnTo>
                    <a:lnTo>
                      <a:pt x="25155" y="2161"/>
                    </a:lnTo>
                    <a:lnTo>
                      <a:pt x="25164" y="2161"/>
                    </a:lnTo>
                    <a:lnTo>
                      <a:pt x="25155" y="2166"/>
                    </a:lnTo>
                    <a:lnTo>
                      <a:pt x="25155" y="2166"/>
                    </a:lnTo>
                    <a:lnTo>
                      <a:pt x="25155" y="2166"/>
                    </a:lnTo>
                    <a:close/>
                    <a:moveTo>
                      <a:pt x="217" y="2161"/>
                    </a:moveTo>
                    <a:lnTo>
                      <a:pt x="205" y="2161"/>
                    </a:lnTo>
                    <a:lnTo>
                      <a:pt x="222" y="2161"/>
                    </a:lnTo>
                    <a:lnTo>
                      <a:pt x="217" y="2161"/>
                    </a:lnTo>
                    <a:lnTo>
                      <a:pt x="217" y="2161"/>
                    </a:lnTo>
                    <a:lnTo>
                      <a:pt x="217" y="2161"/>
                    </a:lnTo>
                    <a:close/>
                    <a:moveTo>
                      <a:pt x="25079" y="2166"/>
                    </a:moveTo>
                    <a:lnTo>
                      <a:pt x="25067" y="2161"/>
                    </a:lnTo>
                    <a:lnTo>
                      <a:pt x="25084" y="2166"/>
                    </a:lnTo>
                    <a:lnTo>
                      <a:pt x="25079" y="2166"/>
                    </a:lnTo>
                    <a:lnTo>
                      <a:pt x="25079" y="2166"/>
                    </a:lnTo>
                    <a:lnTo>
                      <a:pt x="25079" y="2166"/>
                    </a:lnTo>
                    <a:close/>
                    <a:moveTo>
                      <a:pt x="142" y="2199"/>
                    </a:moveTo>
                    <a:lnTo>
                      <a:pt x="142" y="2194"/>
                    </a:lnTo>
                    <a:lnTo>
                      <a:pt x="151" y="2178"/>
                    </a:lnTo>
                    <a:lnTo>
                      <a:pt x="151" y="2166"/>
                    </a:lnTo>
                    <a:lnTo>
                      <a:pt x="168" y="2161"/>
                    </a:lnTo>
                    <a:lnTo>
                      <a:pt x="163" y="2178"/>
                    </a:lnTo>
                    <a:lnTo>
                      <a:pt x="179" y="2178"/>
                    </a:lnTo>
                    <a:lnTo>
                      <a:pt x="179" y="2182"/>
                    </a:lnTo>
                    <a:lnTo>
                      <a:pt x="142" y="2199"/>
                    </a:lnTo>
                    <a:lnTo>
                      <a:pt x="142" y="2199"/>
                    </a:lnTo>
                    <a:lnTo>
                      <a:pt x="142" y="2199"/>
                    </a:lnTo>
                    <a:close/>
                    <a:moveTo>
                      <a:pt x="92" y="2194"/>
                    </a:moveTo>
                    <a:lnTo>
                      <a:pt x="87" y="2194"/>
                    </a:lnTo>
                    <a:lnTo>
                      <a:pt x="125" y="2178"/>
                    </a:lnTo>
                    <a:lnTo>
                      <a:pt x="125" y="2166"/>
                    </a:lnTo>
                    <a:lnTo>
                      <a:pt x="130" y="2166"/>
                    </a:lnTo>
                    <a:lnTo>
                      <a:pt x="125" y="2194"/>
                    </a:lnTo>
                    <a:lnTo>
                      <a:pt x="92" y="2194"/>
                    </a:lnTo>
                    <a:lnTo>
                      <a:pt x="92" y="2194"/>
                    </a:lnTo>
                    <a:lnTo>
                      <a:pt x="92" y="2194"/>
                    </a:lnTo>
                    <a:close/>
                    <a:moveTo>
                      <a:pt x="75" y="2199"/>
                    </a:moveTo>
                    <a:lnTo>
                      <a:pt x="59" y="2194"/>
                    </a:lnTo>
                    <a:lnTo>
                      <a:pt x="71" y="2182"/>
                    </a:lnTo>
                    <a:lnTo>
                      <a:pt x="54" y="2166"/>
                    </a:lnTo>
                    <a:lnTo>
                      <a:pt x="71" y="2166"/>
                    </a:lnTo>
                    <a:lnTo>
                      <a:pt x="75" y="2178"/>
                    </a:lnTo>
                    <a:lnTo>
                      <a:pt x="75" y="2199"/>
                    </a:lnTo>
                    <a:lnTo>
                      <a:pt x="75" y="2199"/>
                    </a:lnTo>
                    <a:lnTo>
                      <a:pt x="75" y="2199"/>
                    </a:lnTo>
                    <a:close/>
                    <a:moveTo>
                      <a:pt x="201" y="2182"/>
                    </a:moveTo>
                    <a:lnTo>
                      <a:pt x="196" y="2166"/>
                    </a:lnTo>
                    <a:lnTo>
                      <a:pt x="205" y="2178"/>
                    </a:lnTo>
                    <a:lnTo>
                      <a:pt x="201" y="2182"/>
                    </a:lnTo>
                    <a:lnTo>
                      <a:pt x="201" y="2182"/>
                    </a:lnTo>
                    <a:lnTo>
                      <a:pt x="201" y="2182"/>
                    </a:lnTo>
                    <a:close/>
                    <a:moveTo>
                      <a:pt x="184" y="2182"/>
                    </a:moveTo>
                    <a:lnTo>
                      <a:pt x="179" y="2178"/>
                    </a:lnTo>
                    <a:lnTo>
                      <a:pt x="184" y="2178"/>
                    </a:lnTo>
                    <a:lnTo>
                      <a:pt x="184" y="2182"/>
                    </a:lnTo>
                    <a:lnTo>
                      <a:pt x="184" y="2182"/>
                    </a:lnTo>
                    <a:lnTo>
                      <a:pt x="184" y="2182"/>
                    </a:lnTo>
                    <a:close/>
                    <a:moveTo>
                      <a:pt x="16" y="2182"/>
                    </a:moveTo>
                    <a:lnTo>
                      <a:pt x="7" y="2178"/>
                    </a:lnTo>
                    <a:lnTo>
                      <a:pt x="16" y="2182"/>
                    </a:lnTo>
                    <a:lnTo>
                      <a:pt x="16" y="2182"/>
                    </a:lnTo>
                    <a:lnTo>
                      <a:pt x="16" y="2182"/>
                    </a:lnTo>
                    <a:close/>
                    <a:moveTo>
                      <a:pt x="25131" y="2220"/>
                    </a:moveTo>
                    <a:lnTo>
                      <a:pt x="25084" y="2194"/>
                    </a:lnTo>
                    <a:lnTo>
                      <a:pt x="25100" y="2199"/>
                    </a:lnTo>
                    <a:lnTo>
                      <a:pt x="25131" y="2215"/>
                    </a:lnTo>
                    <a:lnTo>
                      <a:pt x="25148" y="2215"/>
                    </a:lnTo>
                    <a:lnTo>
                      <a:pt x="25131" y="2220"/>
                    </a:lnTo>
                    <a:lnTo>
                      <a:pt x="25131" y="2220"/>
                    </a:lnTo>
                    <a:lnTo>
                      <a:pt x="25131" y="2220"/>
                    </a:lnTo>
                    <a:close/>
                    <a:moveTo>
                      <a:pt x="0" y="2220"/>
                    </a:moveTo>
                    <a:lnTo>
                      <a:pt x="0" y="2215"/>
                    </a:lnTo>
                    <a:lnTo>
                      <a:pt x="7" y="2220"/>
                    </a:lnTo>
                    <a:lnTo>
                      <a:pt x="0" y="2220"/>
                    </a:lnTo>
                    <a:lnTo>
                      <a:pt x="0" y="2220"/>
                    </a:lnTo>
                    <a:lnTo>
                      <a:pt x="0" y="2220"/>
                    </a:lnTo>
                    <a:close/>
                    <a:moveTo>
                      <a:pt x="3942" y="2442"/>
                    </a:moveTo>
                    <a:lnTo>
                      <a:pt x="5882" y="2442"/>
                    </a:lnTo>
                    <a:lnTo>
                      <a:pt x="5882" y="2404"/>
                    </a:lnTo>
                    <a:lnTo>
                      <a:pt x="5903" y="2414"/>
                    </a:lnTo>
                    <a:lnTo>
                      <a:pt x="5908" y="2459"/>
                    </a:lnTo>
                    <a:lnTo>
                      <a:pt x="5920" y="2470"/>
                    </a:lnTo>
                    <a:lnTo>
                      <a:pt x="5974" y="2475"/>
                    </a:lnTo>
                    <a:lnTo>
                      <a:pt x="5974" y="2482"/>
                    </a:lnTo>
                    <a:lnTo>
                      <a:pt x="6012" y="2475"/>
                    </a:lnTo>
                    <a:lnTo>
                      <a:pt x="6033" y="2475"/>
                    </a:lnTo>
                    <a:lnTo>
                      <a:pt x="6071" y="2499"/>
                    </a:lnTo>
                    <a:lnTo>
                      <a:pt x="6071" y="2515"/>
                    </a:lnTo>
                    <a:lnTo>
                      <a:pt x="6080" y="2499"/>
                    </a:lnTo>
                    <a:lnTo>
                      <a:pt x="6097" y="2499"/>
                    </a:lnTo>
                    <a:lnTo>
                      <a:pt x="6101" y="2515"/>
                    </a:lnTo>
                    <a:lnTo>
                      <a:pt x="6139" y="2532"/>
                    </a:lnTo>
                    <a:lnTo>
                      <a:pt x="6177" y="2515"/>
                    </a:lnTo>
                    <a:lnTo>
                      <a:pt x="6189" y="2525"/>
                    </a:lnTo>
                    <a:lnTo>
                      <a:pt x="6227" y="2525"/>
                    </a:lnTo>
                    <a:lnTo>
                      <a:pt x="6248" y="2532"/>
                    </a:lnTo>
                    <a:lnTo>
                      <a:pt x="6286" y="2537"/>
                    </a:lnTo>
                    <a:lnTo>
                      <a:pt x="6357" y="2508"/>
                    </a:lnTo>
                    <a:lnTo>
                      <a:pt x="6605" y="2636"/>
                    </a:lnTo>
                    <a:lnTo>
                      <a:pt x="6605" y="2659"/>
                    </a:lnTo>
                    <a:lnTo>
                      <a:pt x="6621" y="2676"/>
                    </a:lnTo>
                    <a:lnTo>
                      <a:pt x="6654" y="2664"/>
                    </a:lnTo>
                    <a:lnTo>
                      <a:pt x="6654" y="2692"/>
                    </a:lnTo>
                    <a:lnTo>
                      <a:pt x="6664" y="2702"/>
                    </a:lnTo>
                    <a:lnTo>
                      <a:pt x="6692" y="2702"/>
                    </a:lnTo>
                    <a:lnTo>
                      <a:pt x="6697" y="2714"/>
                    </a:lnTo>
                    <a:lnTo>
                      <a:pt x="6692" y="2730"/>
                    </a:lnTo>
                    <a:lnTo>
                      <a:pt x="6768" y="2775"/>
                    </a:lnTo>
                    <a:lnTo>
                      <a:pt x="6789" y="2924"/>
                    </a:lnTo>
                    <a:lnTo>
                      <a:pt x="6772" y="2981"/>
                    </a:lnTo>
                    <a:lnTo>
                      <a:pt x="6768" y="3014"/>
                    </a:lnTo>
                    <a:lnTo>
                      <a:pt x="6730" y="3047"/>
                    </a:lnTo>
                    <a:lnTo>
                      <a:pt x="6718" y="3063"/>
                    </a:lnTo>
                    <a:lnTo>
                      <a:pt x="6730" y="3080"/>
                    </a:lnTo>
                    <a:lnTo>
                      <a:pt x="6751" y="3096"/>
                    </a:lnTo>
                    <a:lnTo>
                      <a:pt x="6772" y="3096"/>
                    </a:lnTo>
                    <a:lnTo>
                      <a:pt x="6853" y="3047"/>
                    </a:lnTo>
                    <a:lnTo>
                      <a:pt x="6935" y="3030"/>
                    </a:lnTo>
                    <a:lnTo>
                      <a:pt x="7016" y="2997"/>
                    </a:lnTo>
                    <a:lnTo>
                      <a:pt x="7020" y="2990"/>
                    </a:lnTo>
                    <a:lnTo>
                      <a:pt x="7004" y="2974"/>
                    </a:lnTo>
                    <a:lnTo>
                      <a:pt x="7004" y="2957"/>
                    </a:lnTo>
                    <a:lnTo>
                      <a:pt x="6999" y="2940"/>
                    </a:lnTo>
                    <a:lnTo>
                      <a:pt x="7032" y="2924"/>
                    </a:lnTo>
                    <a:lnTo>
                      <a:pt x="7167" y="2924"/>
                    </a:lnTo>
                    <a:lnTo>
                      <a:pt x="7193" y="2886"/>
                    </a:lnTo>
                    <a:lnTo>
                      <a:pt x="7290" y="2808"/>
                    </a:lnTo>
                    <a:lnTo>
                      <a:pt x="7540" y="2803"/>
                    </a:lnTo>
                    <a:lnTo>
                      <a:pt x="7545" y="2787"/>
                    </a:lnTo>
                    <a:lnTo>
                      <a:pt x="7554" y="2775"/>
                    </a:lnTo>
                    <a:lnTo>
                      <a:pt x="7561" y="2787"/>
                    </a:lnTo>
                    <a:lnTo>
                      <a:pt x="7571" y="2775"/>
                    </a:lnTo>
                    <a:lnTo>
                      <a:pt x="7582" y="2787"/>
                    </a:lnTo>
                    <a:lnTo>
                      <a:pt x="7592" y="2759"/>
                    </a:lnTo>
                    <a:lnTo>
                      <a:pt x="7592" y="2754"/>
                    </a:lnTo>
                    <a:lnTo>
                      <a:pt x="7625" y="2718"/>
                    </a:lnTo>
                    <a:lnTo>
                      <a:pt x="7625" y="2697"/>
                    </a:lnTo>
                    <a:lnTo>
                      <a:pt x="7637" y="2676"/>
                    </a:lnTo>
                    <a:lnTo>
                      <a:pt x="7646" y="2648"/>
                    </a:lnTo>
                    <a:lnTo>
                      <a:pt x="7701" y="2581"/>
                    </a:lnTo>
                    <a:lnTo>
                      <a:pt x="7705" y="2586"/>
                    </a:lnTo>
                    <a:lnTo>
                      <a:pt x="7705" y="2603"/>
                    </a:lnTo>
                    <a:lnTo>
                      <a:pt x="7722" y="2610"/>
                    </a:lnTo>
                    <a:lnTo>
                      <a:pt x="7760" y="2591"/>
                    </a:lnTo>
                    <a:lnTo>
                      <a:pt x="7805" y="2619"/>
                    </a:lnTo>
                    <a:lnTo>
                      <a:pt x="7805" y="2747"/>
                    </a:lnTo>
                    <a:lnTo>
                      <a:pt x="7826" y="2754"/>
                    </a:lnTo>
                    <a:lnTo>
                      <a:pt x="7814" y="2759"/>
                    </a:lnTo>
                    <a:lnTo>
                      <a:pt x="7826" y="2775"/>
                    </a:lnTo>
                    <a:lnTo>
                      <a:pt x="7831" y="2792"/>
                    </a:lnTo>
                    <a:lnTo>
                      <a:pt x="7842" y="2792"/>
                    </a:lnTo>
                    <a:lnTo>
                      <a:pt x="7856" y="2808"/>
                    </a:lnTo>
                    <a:lnTo>
                      <a:pt x="7842" y="2813"/>
                    </a:lnTo>
                    <a:lnTo>
                      <a:pt x="7856" y="2813"/>
                    </a:lnTo>
                    <a:lnTo>
                      <a:pt x="7842" y="2829"/>
                    </a:lnTo>
                    <a:lnTo>
                      <a:pt x="7814" y="2829"/>
                    </a:lnTo>
                    <a:lnTo>
                      <a:pt x="7814" y="2846"/>
                    </a:lnTo>
                    <a:lnTo>
                      <a:pt x="7805" y="2846"/>
                    </a:lnTo>
                    <a:lnTo>
                      <a:pt x="7776" y="2863"/>
                    </a:lnTo>
                    <a:lnTo>
                      <a:pt x="7776" y="2858"/>
                    </a:lnTo>
                    <a:lnTo>
                      <a:pt x="7760" y="2858"/>
                    </a:lnTo>
                    <a:lnTo>
                      <a:pt x="7743" y="2858"/>
                    </a:lnTo>
                    <a:lnTo>
                      <a:pt x="7743" y="2863"/>
                    </a:lnTo>
                    <a:lnTo>
                      <a:pt x="7738" y="2863"/>
                    </a:lnTo>
                    <a:lnTo>
                      <a:pt x="7722" y="2863"/>
                    </a:lnTo>
                    <a:lnTo>
                      <a:pt x="7734" y="2841"/>
                    </a:lnTo>
                    <a:lnTo>
                      <a:pt x="7717" y="2858"/>
                    </a:lnTo>
                    <a:lnTo>
                      <a:pt x="7705" y="2886"/>
                    </a:lnTo>
                    <a:lnTo>
                      <a:pt x="7691" y="2898"/>
                    </a:lnTo>
                    <a:lnTo>
                      <a:pt x="7684" y="2886"/>
                    </a:lnTo>
                    <a:lnTo>
                      <a:pt x="7679" y="2903"/>
                    </a:lnTo>
                    <a:lnTo>
                      <a:pt x="7679" y="2886"/>
                    </a:lnTo>
                    <a:lnTo>
                      <a:pt x="7668" y="2903"/>
                    </a:lnTo>
                    <a:lnTo>
                      <a:pt x="7668" y="2886"/>
                    </a:lnTo>
                    <a:lnTo>
                      <a:pt x="7663" y="2914"/>
                    </a:lnTo>
                    <a:lnTo>
                      <a:pt x="7663" y="2886"/>
                    </a:lnTo>
                    <a:lnTo>
                      <a:pt x="7653" y="2898"/>
                    </a:lnTo>
                    <a:lnTo>
                      <a:pt x="7653" y="2919"/>
                    </a:lnTo>
                    <a:lnTo>
                      <a:pt x="7646" y="2903"/>
                    </a:lnTo>
                    <a:lnTo>
                      <a:pt x="7630" y="2914"/>
                    </a:lnTo>
                    <a:lnTo>
                      <a:pt x="7625" y="2924"/>
                    </a:lnTo>
                    <a:lnTo>
                      <a:pt x="7630" y="2936"/>
                    </a:lnTo>
                    <a:lnTo>
                      <a:pt x="7608" y="2952"/>
                    </a:lnTo>
                    <a:lnTo>
                      <a:pt x="7599" y="2974"/>
                    </a:lnTo>
                    <a:lnTo>
                      <a:pt x="7592" y="2969"/>
                    </a:lnTo>
                    <a:lnTo>
                      <a:pt x="7582" y="3007"/>
                    </a:lnTo>
                    <a:lnTo>
                      <a:pt x="7599" y="3014"/>
                    </a:lnTo>
                    <a:lnTo>
                      <a:pt x="7582" y="3023"/>
                    </a:lnTo>
                    <a:lnTo>
                      <a:pt x="7571" y="3035"/>
                    </a:lnTo>
                    <a:lnTo>
                      <a:pt x="7592" y="3047"/>
                    </a:lnTo>
                    <a:lnTo>
                      <a:pt x="7592" y="3068"/>
                    </a:lnTo>
                    <a:lnTo>
                      <a:pt x="7608" y="3080"/>
                    </a:lnTo>
                    <a:lnTo>
                      <a:pt x="7608" y="3085"/>
                    </a:lnTo>
                    <a:lnTo>
                      <a:pt x="7625" y="3096"/>
                    </a:lnTo>
                    <a:lnTo>
                      <a:pt x="7646" y="3085"/>
                    </a:lnTo>
                    <a:lnTo>
                      <a:pt x="7646" y="3080"/>
                    </a:lnTo>
                    <a:lnTo>
                      <a:pt x="7625" y="3063"/>
                    </a:lnTo>
                    <a:lnTo>
                      <a:pt x="7637" y="3063"/>
                    </a:lnTo>
                    <a:lnTo>
                      <a:pt x="7646" y="3080"/>
                    </a:lnTo>
                    <a:lnTo>
                      <a:pt x="7646" y="3096"/>
                    </a:lnTo>
                    <a:lnTo>
                      <a:pt x="7616" y="3101"/>
                    </a:lnTo>
                    <a:lnTo>
                      <a:pt x="7599" y="3108"/>
                    </a:lnTo>
                    <a:lnTo>
                      <a:pt x="7599" y="3096"/>
                    </a:lnTo>
                    <a:lnTo>
                      <a:pt x="7592" y="3096"/>
                    </a:lnTo>
                    <a:lnTo>
                      <a:pt x="7561" y="3118"/>
                    </a:lnTo>
                    <a:lnTo>
                      <a:pt x="7561" y="3101"/>
                    </a:lnTo>
                    <a:lnTo>
                      <a:pt x="7571" y="3085"/>
                    </a:lnTo>
                    <a:lnTo>
                      <a:pt x="7554" y="3101"/>
                    </a:lnTo>
                    <a:lnTo>
                      <a:pt x="7545" y="3085"/>
                    </a:lnTo>
                    <a:lnTo>
                      <a:pt x="7540" y="3125"/>
                    </a:lnTo>
                    <a:lnTo>
                      <a:pt x="7436" y="3134"/>
                    </a:lnTo>
                    <a:lnTo>
                      <a:pt x="7393" y="3158"/>
                    </a:lnTo>
                    <a:lnTo>
                      <a:pt x="7360" y="3179"/>
                    </a:lnTo>
                    <a:lnTo>
                      <a:pt x="7377" y="3151"/>
                    </a:lnTo>
                    <a:lnTo>
                      <a:pt x="7365" y="3125"/>
                    </a:lnTo>
                    <a:lnTo>
                      <a:pt x="7365" y="3158"/>
                    </a:lnTo>
                    <a:lnTo>
                      <a:pt x="7344" y="3196"/>
                    </a:lnTo>
                    <a:lnTo>
                      <a:pt x="7360" y="3196"/>
                    </a:lnTo>
                    <a:lnTo>
                      <a:pt x="7365" y="3212"/>
                    </a:lnTo>
                    <a:lnTo>
                      <a:pt x="7360" y="3262"/>
                    </a:lnTo>
                    <a:lnTo>
                      <a:pt x="7360" y="3236"/>
                    </a:lnTo>
                    <a:lnTo>
                      <a:pt x="7356" y="3269"/>
                    </a:lnTo>
                    <a:lnTo>
                      <a:pt x="7339" y="3285"/>
                    </a:lnTo>
                    <a:lnTo>
                      <a:pt x="7327" y="3290"/>
                    </a:lnTo>
                    <a:lnTo>
                      <a:pt x="7313" y="3302"/>
                    </a:lnTo>
                    <a:lnTo>
                      <a:pt x="7323" y="3302"/>
                    </a:lnTo>
                    <a:lnTo>
                      <a:pt x="7313" y="3318"/>
                    </a:lnTo>
                    <a:lnTo>
                      <a:pt x="7301" y="3328"/>
                    </a:lnTo>
                    <a:lnTo>
                      <a:pt x="7301" y="3307"/>
                    </a:lnTo>
                    <a:lnTo>
                      <a:pt x="7259" y="3290"/>
                    </a:lnTo>
                    <a:lnTo>
                      <a:pt x="7252" y="3274"/>
                    </a:lnTo>
                    <a:lnTo>
                      <a:pt x="7290" y="3236"/>
                    </a:lnTo>
                    <a:lnTo>
                      <a:pt x="7252" y="3269"/>
                    </a:lnTo>
                    <a:lnTo>
                      <a:pt x="7252" y="3285"/>
                    </a:lnTo>
                    <a:lnTo>
                      <a:pt x="7285" y="3347"/>
                    </a:lnTo>
                    <a:lnTo>
                      <a:pt x="7275" y="3356"/>
                    </a:lnTo>
                    <a:lnTo>
                      <a:pt x="7290" y="3363"/>
                    </a:lnTo>
                    <a:lnTo>
                      <a:pt x="7290" y="3373"/>
                    </a:lnTo>
                    <a:lnTo>
                      <a:pt x="7268" y="3401"/>
                    </a:lnTo>
                    <a:lnTo>
                      <a:pt x="7252" y="3439"/>
                    </a:lnTo>
                    <a:lnTo>
                      <a:pt x="7247" y="3451"/>
                    </a:lnTo>
                    <a:lnTo>
                      <a:pt x="7221" y="3484"/>
                    </a:lnTo>
                    <a:lnTo>
                      <a:pt x="7221" y="3467"/>
                    </a:lnTo>
                    <a:lnTo>
                      <a:pt x="7231" y="3439"/>
                    </a:lnTo>
                    <a:lnTo>
                      <a:pt x="7247" y="3418"/>
                    </a:lnTo>
                    <a:lnTo>
                      <a:pt x="7247" y="3413"/>
                    </a:lnTo>
                    <a:lnTo>
                      <a:pt x="7231" y="3413"/>
                    </a:lnTo>
                    <a:lnTo>
                      <a:pt x="7238" y="3373"/>
                    </a:lnTo>
                    <a:lnTo>
                      <a:pt x="7221" y="3385"/>
                    </a:lnTo>
                    <a:lnTo>
                      <a:pt x="7205" y="3380"/>
                    </a:lnTo>
                    <a:lnTo>
                      <a:pt x="7200" y="3373"/>
                    </a:lnTo>
                    <a:lnTo>
                      <a:pt x="7214" y="3363"/>
                    </a:lnTo>
                    <a:lnTo>
                      <a:pt x="7205" y="3363"/>
                    </a:lnTo>
                    <a:lnTo>
                      <a:pt x="7205" y="3356"/>
                    </a:lnTo>
                    <a:lnTo>
                      <a:pt x="7221" y="3363"/>
                    </a:lnTo>
                    <a:lnTo>
                      <a:pt x="7221" y="3356"/>
                    </a:lnTo>
                    <a:lnTo>
                      <a:pt x="7205" y="3347"/>
                    </a:lnTo>
                    <a:lnTo>
                      <a:pt x="7200" y="3347"/>
                    </a:lnTo>
                    <a:lnTo>
                      <a:pt x="7205" y="3340"/>
                    </a:lnTo>
                    <a:lnTo>
                      <a:pt x="7214" y="3340"/>
                    </a:lnTo>
                    <a:lnTo>
                      <a:pt x="7205" y="3323"/>
                    </a:lnTo>
                    <a:lnTo>
                      <a:pt x="7200" y="3340"/>
                    </a:lnTo>
                    <a:lnTo>
                      <a:pt x="7200" y="3323"/>
                    </a:lnTo>
                    <a:lnTo>
                      <a:pt x="7205" y="3323"/>
                    </a:lnTo>
                    <a:lnTo>
                      <a:pt x="7221" y="3318"/>
                    </a:lnTo>
                    <a:lnTo>
                      <a:pt x="7205" y="3323"/>
                    </a:lnTo>
                    <a:lnTo>
                      <a:pt x="7205" y="3307"/>
                    </a:lnTo>
                    <a:lnTo>
                      <a:pt x="7214" y="3302"/>
                    </a:lnTo>
                    <a:lnTo>
                      <a:pt x="7221" y="3290"/>
                    </a:lnTo>
                    <a:lnTo>
                      <a:pt x="7238" y="3274"/>
                    </a:lnTo>
                    <a:lnTo>
                      <a:pt x="7214" y="3274"/>
                    </a:lnTo>
                    <a:lnTo>
                      <a:pt x="7221" y="3285"/>
                    </a:lnTo>
                    <a:lnTo>
                      <a:pt x="7205" y="3290"/>
                    </a:lnTo>
                    <a:lnTo>
                      <a:pt x="7205" y="3285"/>
                    </a:lnTo>
                    <a:lnTo>
                      <a:pt x="7200" y="3290"/>
                    </a:lnTo>
                    <a:lnTo>
                      <a:pt x="7193" y="3302"/>
                    </a:lnTo>
                    <a:lnTo>
                      <a:pt x="7193" y="3307"/>
                    </a:lnTo>
                    <a:lnTo>
                      <a:pt x="7176" y="3302"/>
                    </a:lnTo>
                    <a:lnTo>
                      <a:pt x="7193" y="3323"/>
                    </a:lnTo>
                    <a:lnTo>
                      <a:pt x="7183" y="3347"/>
                    </a:lnTo>
                    <a:lnTo>
                      <a:pt x="7200" y="3380"/>
                    </a:lnTo>
                    <a:lnTo>
                      <a:pt x="7176" y="3373"/>
                    </a:lnTo>
                    <a:lnTo>
                      <a:pt x="7176" y="3356"/>
                    </a:lnTo>
                    <a:lnTo>
                      <a:pt x="7176" y="3373"/>
                    </a:lnTo>
                    <a:lnTo>
                      <a:pt x="7200" y="3385"/>
                    </a:lnTo>
                    <a:lnTo>
                      <a:pt x="7200" y="3401"/>
                    </a:lnTo>
                    <a:lnTo>
                      <a:pt x="7183" y="3385"/>
                    </a:lnTo>
                    <a:lnTo>
                      <a:pt x="7162" y="3385"/>
                    </a:lnTo>
                    <a:lnTo>
                      <a:pt x="7150" y="3373"/>
                    </a:lnTo>
                    <a:lnTo>
                      <a:pt x="7138" y="3373"/>
                    </a:lnTo>
                    <a:lnTo>
                      <a:pt x="7138" y="3363"/>
                    </a:lnTo>
                    <a:lnTo>
                      <a:pt x="7150" y="3347"/>
                    </a:lnTo>
                    <a:lnTo>
                      <a:pt x="7145" y="3328"/>
                    </a:lnTo>
                    <a:lnTo>
                      <a:pt x="7150" y="3347"/>
                    </a:lnTo>
                    <a:lnTo>
                      <a:pt x="7138" y="3356"/>
                    </a:lnTo>
                    <a:lnTo>
                      <a:pt x="7129" y="3380"/>
                    </a:lnTo>
                    <a:lnTo>
                      <a:pt x="7145" y="3380"/>
                    </a:lnTo>
                    <a:lnTo>
                      <a:pt x="7162" y="3396"/>
                    </a:lnTo>
                    <a:lnTo>
                      <a:pt x="7183" y="3396"/>
                    </a:lnTo>
                    <a:lnTo>
                      <a:pt x="7205" y="3418"/>
                    </a:lnTo>
                    <a:lnTo>
                      <a:pt x="7200" y="3439"/>
                    </a:lnTo>
                    <a:lnTo>
                      <a:pt x="7145" y="3396"/>
                    </a:lnTo>
                    <a:lnTo>
                      <a:pt x="7162" y="3401"/>
                    </a:lnTo>
                    <a:lnTo>
                      <a:pt x="7183" y="3439"/>
                    </a:lnTo>
                    <a:lnTo>
                      <a:pt x="7200" y="3439"/>
                    </a:lnTo>
                    <a:lnTo>
                      <a:pt x="7205" y="3455"/>
                    </a:lnTo>
                    <a:lnTo>
                      <a:pt x="7200" y="3455"/>
                    </a:lnTo>
                    <a:lnTo>
                      <a:pt x="7200" y="3467"/>
                    </a:lnTo>
                    <a:lnTo>
                      <a:pt x="7176" y="3455"/>
                    </a:lnTo>
                    <a:lnTo>
                      <a:pt x="7205" y="3484"/>
                    </a:lnTo>
                    <a:lnTo>
                      <a:pt x="7200" y="3496"/>
                    </a:lnTo>
                    <a:lnTo>
                      <a:pt x="7176" y="3472"/>
                    </a:lnTo>
                    <a:lnTo>
                      <a:pt x="7138" y="3467"/>
                    </a:lnTo>
                    <a:lnTo>
                      <a:pt x="7176" y="3484"/>
                    </a:lnTo>
                    <a:lnTo>
                      <a:pt x="7193" y="3496"/>
                    </a:lnTo>
                    <a:lnTo>
                      <a:pt x="7200" y="3507"/>
                    </a:lnTo>
                    <a:lnTo>
                      <a:pt x="7200" y="3496"/>
                    </a:lnTo>
                    <a:lnTo>
                      <a:pt x="7221" y="3496"/>
                    </a:lnTo>
                    <a:lnTo>
                      <a:pt x="7252" y="3595"/>
                    </a:lnTo>
                    <a:lnTo>
                      <a:pt x="7247" y="3566"/>
                    </a:lnTo>
                    <a:lnTo>
                      <a:pt x="7231" y="3512"/>
                    </a:lnTo>
                    <a:lnTo>
                      <a:pt x="7221" y="3529"/>
                    </a:lnTo>
                    <a:lnTo>
                      <a:pt x="7231" y="3540"/>
                    </a:lnTo>
                    <a:lnTo>
                      <a:pt x="7221" y="3529"/>
                    </a:lnTo>
                    <a:lnTo>
                      <a:pt x="7238" y="3566"/>
                    </a:lnTo>
                    <a:lnTo>
                      <a:pt x="7221" y="3545"/>
                    </a:lnTo>
                    <a:lnTo>
                      <a:pt x="7231" y="3562"/>
                    </a:lnTo>
                    <a:lnTo>
                      <a:pt x="7205" y="3545"/>
                    </a:lnTo>
                    <a:lnTo>
                      <a:pt x="7221" y="3562"/>
                    </a:lnTo>
                    <a:lnTo>
                      <a:pt x="7205" y="3566"/>
                    </a:lnTo>
                    <a:lnTo>
                      <a:pt x="7200" y="3562"/>
                    </a:lnTo>
                    <a:lnTo>
                      <a:pt x="7193" y="3578"/>
                    </a:lnTo>
                    <a:lnTo>
                      <a:pt x="7176" y="3566"/>
                    </a:lnTo>
                    <a:lnTo>
                      <a:pt x="7176" y="3550"/>
                    </a:lnTo>
                    <a:lnTo>
                      <a:pt x="7167" y="3578"/>
                    </a:lnTo>
                    <a:lnTo>
                      <a:pt x="7193" y="3578"/>
                    </a:lnTo>
                    <a:lnTo>
                      <a:pt x="7205" y="3578"/>
                    </a:lnTo>
                    <a:lnTo>
                      <a:pt x="7214" y="3578"/>
                    </a:lnTo>
                    <a:lnTo>
                      <a:pt x="7221" y="3600"/>
                    </a:lnTo>
                    <a:lnTo>
                      <a:pt x="7214" y="3600"/>
                    </a:lnTo>
                    <a:lnTo>
                      <a:pt x="7221" y="3600"/>
                    </a:lnTo>
                    <a:lnTo>
                      <a:pt x="7221" y="3583"/>
                    </a:lnTo>
                    <a:lnTo>
                      <a:pt x="7231" y="3578"/>
                    </a:lnTo>
                    <a:lnTo>
                      <a:pt x="7247" y="3595"/>
                    </a:lnTo>
                    <a:lnTo>
                      <a:pt x="7238" y="3607"/>
                    </a:lnTo>
                    <a:lnTo>
                      <a:pt x="7221" y="3616"/>
                    </a:lnTo>
                    <a:lnTo>
                      <a:pt x="7214" y="3623"/>
                    </a:lnTo>
                    <a:lnTo>
                      <a:pt x="7193" y="3623"/>
                    </a:lnTo>
                    <a:lnTo>
                      <a:pt x="7183" y="3607"/>
                    </a:lnTo>
                    <a:lnTo>
                      <a:pt x="7176" y="3623"/>
                    </a:lnTo>
                    <a:lnTo>
                      <a:pt x="7150" y="3607"/>
                    </a:lnTo>
                    <a:lnTo>
                      <a:pt x="7193" y="3633"/>
                    </a:lnTo>
                    <a:lnTo>
                      <a:pt x="7176" y="3640"/>
                    </a:lnTo>
                    <a:lnTo>
                      <a:pt x="7183" y="3651"/>
                    </a:lnTo>
                    <a:lnTo>
                      <a:pt x="7167" y="3656"/>
                    </a:lnTo>
                    <a:lnTo>
                      <a:pt x="7145" y="3640"/>
                    </a:lnTo>
                    <a:lnTo>
                      <a:pt x="7150" y="3656"/>
                    </a:lnTo>
                    <a:lnTo>
                      <a:pt x="7167" y="3661"/>
                    </a:lnTo>
                    <a:lnTo>
                      <a:pt x="7193" y="3651"/>
                    </a:lnTo>
                    <a:lnTo>
                      <a:pt x="7193" y="3661"/>
                    </a:lnTo>
                    <a:lnTo>
                      <a:pt x="7200" y="3656"/>
                    </a:lnTo>
                    <a:lnTo>
                      <a:pt x="7205" y="3656"/>
                    </a:lnTo>
                    <a:lnTo>
                      <a:pt x="7200" y="3661"/>
                    </a:lnTo>
                    <a:lnTo>
                      <a:pt x="7183" y="3677"/>
                    </a:lnTo>
                    <a:lnTo>
                      <a:pt x="7176" y="3677"/>
                    </a:lnTo>
                    <a:lnTo>
                      <a:pt x="7176" y="3673"/>
                    </a:lnTo>
                    <a:lnTo>
                      <a:pt x="7145" y="3677"/>
                    </a:lnTo>
                    <a:lnTo>
                      <a:pt x="7129" y="3689"/>
                    </a:lnTo>
                    <a:lnTo>
                      <a:pt x="7124" y="3677"/>
                    </a:lnTo>
                    <a:lnTo>
                      <a:pt x="7129" y="3694"/>
                    </a:lnTo>
                    <a:lnTo>
                      <a:pt x="7108" y="3711"/>
                    </a:lnTo>
                    <a:lnTo>
                      <a:pt x="7091" y="3744"/>
                    </a:lnTo>
                    <a:lnTo>
                      <a:pt x="7086" y="3727"/>
                    </a:lnTo>
                    <a:lnTo>
                      <a:pt x="7086" y="3744"/>
                    </a:lnTo>
                    <a:lnTo>
                      <a:pt x="7042" y="3744"/>
                    </a:lnTo>
                    <a:lnTo>
                      <a:pt x="7020" y="3760"/>
                    </a:lnTo>
                    <a:lnTo>
                      <a:pt x="6999" y="3800"/>
                    </a:lnTo>
                    <a:lnTo>
                      <a:pt x="6987" y="3788"/>
                    </a:lnTo>
                    <a:lnTo>
                      <a:pt x="6999" y="3784"/>
                    </a:lnTo>
                    <a:lnTo>
                      <a:pt x="6987" y="3788"/>
                    </a:lnTo>
                    <a:lnTo>
                      <a:pt x="6999" y="3805"/>
                    </a:lnTo>
                    <a:lnTo>
                      <a:pt x="6982" y="3817"/>
                    </a:lnTo>
                    <a:lnTo>
                      <a:pt x="6978" y="3817"/>
                    </a:lnTo>
                    <a:lnTo>
                      <a:pt x="6949" y="3838"/>
                    </a:lnTo>
                    <a:lnTo>
                      <a:pt x="6945" y="3829"/>
                    </a:lnTo>
                    <a:lnTo>
                      <a:pt x="6949" y="3845"/>
                    </a:lnTo>
                    <a:lnTo>
                      <a:pt x="6923" y="3862"/>
                    </a:lnTo>
                    <a:lnTo>
                      <a:pt x="6897" y="3855"/>
                    </a:lnTo>
                    <a:lnTo>
                      <a:pt x="6907" y="3862"/>
                    </a:lnTo>
                    <a:lnTo>
                      <a:pt x="6907" y="3871"/>
                    </a:lnTo>
                    <a:lnTo>
                      <a:pt x="6897" y="3878"/>
                    </a:lnTo>
                    <a:lnTo>
                      <a:pt x="6897" y="3862"/>
                    </a:lnTo>
                    <a:lnTo>
                      <a:pt x="6890" y="3871"/>
                    </a:lnTo>
                    <a:lnTo>
                      <a:pt x="6881" y="3855"/>
                    </a:lnTo>
                    <a:lnTo>
                      <a:pt x="6897" y="3878"/>
                    </a:lnTo>
                    <a:lnTo>
                      <a:pt x="6881" y="3883"/>
                    </a:lnTo>
                    <a:lnTo>
                      <a:pt x="6881" y="3895"/>
                    </a:lnTo>
                    <a:lnTo>
                      <a:pt x="6881" y="3900"/>
                    </a:lnTo>
                    <a:lnTo>
                      <a:pt x="6869" y="3916"/>
                    </a:lnTo>
                    <a:lnTo>
                      <a:pt x="6860" y="3933"/>
                    </a:lnTo>
                    <a:lnTo>
                      <a:pt x="6853" y="3933"/>
                    </a:lnTo>
                    <a:lnTo>
                      <a:pt x="6860" y="3937"/>
                    </a:lnTo>
                    <a:lnTo>
                      <a:pt x="6853" y="3956"/>
                    </a:lnTo>
                    <a:lnTo>
                      <a:pt x="6836" y="3966"/>
                    </a:lnTo>
                    <a:lnTo>
                      <a:pt x="6843" y="3973"/>
                    </a:lnTo>
                    <a:lnTo>
                      <a:pt x="6836" y="3989"/>
                    </a:lnTo>
                    <a:lnTo>
                      <a:pt x="6853" y="4077"/>
                    </a:lnTo>
                    <a:lnTo>
                      <a:pt x="6874" y="4122"/>
                    </a:lnTo>
                    <a:lnTo>
                      <a:pt x="6907" y="4171"/>
                    </a:lnTo>
                    <a:lnTo>
                      <a:pt x="6897" y="4192"/>
                    </a:lnTo>
                    <a:lnTo>
                      <a:pt x="6912" y="4225"/>
                    </a:lnTo>
                    <a:lnTo>
                      <a:pt x="6897" y="4192"/>
                    </a:lnTo>
                    <a:lnTo>
                      <a:pt x="6897" y="4159"/>
                    </a:lnTo>
                    <a:lnTo>
                      <a:pt x="6890" y="4159"/>
                    </a:lnTo>
                    <a:lnTo>
                      <a:pt x="6890" y="4155"/>
                    </a:lnTo>
                    <a:lnTo>
                      <a:pt x="6881" y="4155"/>
                    </a:lnTo>
                    <a:lnTo>
                      <a:pt x="6890" y="4176"/>
                    </a:lnTo>
                    <a:lnTo>
                      <a:pt x="6935" y="4303"/>
                    </a:lnTo>
                    <a:lnTo>
                      <a:pt x="6928" y="4377"/>
                    </a:lnTo>
                    <a:lnTo>
                      <a:pt x="6923" y="4398"/>
                    </a:lnTo>
                    <a:lnTo>
                      <a:pt x="6912" y="4431"/>
                    </a:lnTo>
                    <a:lnTo>
                      <a:pt x="6907" y="4426"/>
                    </a:lnTo>
                    <a:lnTo>
                      <a:pt x="6869" y="4431"/>
                    </a:lnTo>
                    <a:lnTo>
                      <a:pt x="6860" y="4426"/>
                    </a:lnTo>
                    <a:lnTo>
                      <a:pt x="6874" y="4431"/>
                    </a:lnTo>
                    <a:lnTo>
                      <a:pt x="6874" y="4426"/>
                    </a:lnTo>
                    <a:lnTo>
                      <a:pt x="6860" y="4414"/>
                    </a:lnTo>
                    <a:lnTo>
                      <a:pt x="6853" y="4381"/>
                    </a:lnTo>
                    <a:lnTo>
                      <a:pt x="6822" y="4370"/>
                    </a:lnTo>
                    <a:lnTo>
                      <a:pt x="6815" y="4327"/>
                    </a:lnTo>
                    <a:lnTo>
                      <a:pt x="6805" y="4327"/>
                    </a:lnTo>
                    <a:lnTo>
                      <a:pt x="6822" y="4315"/>
                    </a:lnTo>
                    <a:lnTo>
                      <a:pt x="6805" y="4327"/>
                    </a:lnTo>
                    <a:lnTo>
                      <a:pt x="6798" y="4327"/>
                    </a:lnTo>
                    <a:lnTo>
                      <a:pt x="6798" y="4299"/>
                    </a:lnTo>
                    <a:lnTo>
                      <a:pt x="6789" y="4299"/>
                    </a:lnTo>
                    <a:lnTo>
                      <a:pt x="6789" y="4303"/>
                    </a:lnTo>
                    <a:lnTo>
                      <a:pt x="6784" y="4303"/>
                    </a:lnTo>
                    <a:lnTo>
                      <a:pt x="6760" y="4261"/>
                    </a:lnTo>
                    <a:lnTo>
                      <a:pt x="6772" y="4225"/>
                    </a:lnTo>
                    <a:lnTo>
                      <a:pt x="6772" y="4216"/>
                    </a:lnTo>
                    <a:lnTo>
                      <a:pt x="6751" y="4209"/>
                    </a:lnTo>
                    <a:lnTo>
                      <a:pt x="6751" y="4216"/>
                    </a:lnTo>
                    <a:lnTo>
                      <a:pt x="6760" y="4225"/>
                    </a:lnTo>
                    <a:lnTo>
                      <a:pt x="6751" y="4244"/>
                    </a:lnTo>
                    <a:lnTo>
                      <a:pt x="6746" y="4225"/>
                    </a:lnTo>
                    <a:lnTo>
                      <a:pt x="6760" y="4176"/>
                    </a:lnTo>
                    <a:lnTo>
                      <a:pt x="6760" y="4150"/>
                    </a:lnTo>
                    <a:lnTo>
                      <a:pt x="6746" y="4122"/>
                    </a:lnTo>
                    <a:lnTo>
                      <a:pt x="6730" y="4117"/>
                    </a:lnTo>
                    <a:lnTo>
                      <a:pt x="6708" y="4093"/>
                    </a:lnTo>
                    <a:lnTo>
                      <a:pt x="6708" y="4081"/>
                    </a:lnTo>
                    <a:lnTo>
                      <a:pt x="6680" y="4060"/>
                    </a:lnTo>
                    <a:lnTo>
                      <a:pt x="6659" y="4048"/>
                    </a:lnTo>
                    <a:lnTo>
                      <a:pt x="6642" y="4048"/>
                    </a:lnTo>
                    <a:lnTo>
                      <a:pt x="6626" y="4060"/>
                    </a:lnTo>
                    <a:lnTo>
                      <a:pt x="6638" y="4065"/>
                    </a:lnTo>
                    <a:lnTo>
                      <a:pt x="6626" y="4060"/>
                    </a:lnTo>
                    <a:lnTo>
                      <a:pt x="6600" y="4077"/>
                    </a:lnTo>
                    <a:lnTo>
                      <a:pt x="6567" y="4081"/>
                    </a:lnTo>
                    <a:lnTo>
                      <a:pt x="6567" y="4065"/>
                    </a:lnTo>
                    <a:lnTo>
                      <a:pt x="6567" y="4081"/>
                    </a:lnTo>
                    <a:lnTo>
                      <a:pt x="6567" y="4065"/>
                    </a:lnTo>
                    <a:lnTo>
                      <a:pt x="6545" y="4048"/>
                    </a:lnTo>
                    <a:lnTo>
                      <a:pt x="6567" y="4048"/>
                    </a:lnTo>
                    <a:lnTo>
                      <a:pt x="6545" y="4044"/>
                    </a:lnTo>
                    <a:lnTo>
                      <a:pt x="6534" y="4039"/>
                    </a:lnTo>
                    <a:lnTo>
                      <a:pt x="6545" y="4044"/>
                    </a:lnTo>
                    <a:lnTo>
                      <a:pt x="6496" y="4027"/>
                    </a:lnTo>
                    <a:lnTo>
                      <a:pt x="6512" y="4027"/>
                    </a:lnTo>
                    <a:lnTo>
                      <a:pt x="6503" y="4022"/>
                    </a:lnTo>
                    <a:lnTo>
                      <a:pt x="6437" y="4027"/>
                    </a:lnTo>
                    <a:lnTo>
                      <a:pt x="6458" y="4022"/>
                    </a:lnTo>
                    <a:lnTo>
                      <a:pt x="6442" y="4011"/>
                    </a:lnTo>
                    <a:lnTo>
                      <a:pt x="6427" y="4027"/>
                    </a:lnTo>
                    <a:lnTo>
                      <a:pt x="6411" y="4039"/>
                    </a:lnTo>
                    <a:lnTo>
                      <a:pt x="6427" y="4022"/>
                    </a:lnTo>
                    <a:lnTo>
                      <a:pt x="6420" y="4022"/>
                    </a:lnTo>
                    <a:lnTo>
                      <a:pt x="6411" y="4039"/>
                    </a:lnTo>
                    <a:lnTo>
                      <a:pt x="6382" y="4039"/>
                    </a:lnTo>
                    <a:lnTo>
                      <a:pt x="6394" y="4039"/>
                    </a:lnTo>
                    <a:lnTo>
                      <a:pt x="6390" y="4022"/>
                    </a:lnTo>
                    <a:lnTo>
                      <a:pt x="6390" y="4006"/>
                    </a:lnTo>
                    <a:lnTo>
                      <a:pt x="6382" y="4006"/>
                    </a:lnTo>
                    <a:lnTo>
                      <a:pt x="6373" y="4027"/>
                    </a:lnTo>
                    <a:lnTo>
                      <a:pt x="6357" y="4027"/>
                    </a:lnTo>
                    <a:lnTo>
                      <a:pt x="6352" y="4027"/>
                    </a:lnTo>
                    <a:lnTo>
                      <a:pt x="6314" y="4022"/>
                    </a:lnTo>
                    <a:lnTo>
                      <a:pt x="6276" y="4044"/>
                    </a:lnTo>
                    <a:lnTo>
                      <a:pt x="6227" y="4027"/>
                    </a:lnTo>
                    <a:lnTo>
                      <a:pt x="6210" y="4044"/>
                    </a:lnTo>
                    <a:lnTo>
                      <a:pt x="6210" y="4048"/>
                    </a:lnTo>
                    <a:lnTo>
                      <a:pt x="6227" y="4048"/>
                    </a:lnTo>
                    <a:lnTo>
                      <a:pt x="6264" y="4044"/>
                    </a:lnTo>
                    <a:lnTo>
                      <a:pt x="6248" y="4048"/>
                    </a:lnTo>
                    <a:lnTo>
                      <a:pt x="6264" y="4065"/>
                    </a:lnTo>
                    <a:lnTo>
                      <a:pt x="6281" y="4048"/>
                    </a:lnTo>
                    <a:lnTo>
                      <a:pt x="6286" y="4065"/>
                    </a:lnTo>
                    <a:lnTo>
                      <a:pt x="6281" y="4077"/>
                    </a:lnTo>
                    <a:lnTo>
                      <a:pt x="6281" y="4065"/>
                    </a:lnTo>
                    <a:lnTo>
                      <a:pt x="6260" y="4081"/>
                    </a:lnTo>
                    <a:lnTo>
                      <a:pt x="6314" y="4122"/>
                    </a:lnTo>
                    <a:lnTo>
                      <a:pt x="6302" y="4133"/>
                    </a:lnTo>
                    <a:lnTo>
                      <a:pt x="6297" y="4133"/>
                    </a:lnTo>
                    <a:lnTo>
                      <a:pt x="6281" y="4138"/>
                    </a:lnTo>
                    <a:lnTo>
                      <a:pt x="6286" y="4122"/>
                    </a:lnTo>
                    <a:lnTo>
                      <a:pt x="6281" y="4133"/>
                    </a:lnTo>
                    <a:lnTo>
                      <a:pt x="6281" y="4117"/>
                    </a:lnTo>
                    <a:lnTo>
                      <a:pt x="6260" y="4105"/>
                    </a:lnTo>
                    <a:lnTo>
                      <a:pt x="6260" y="4100"/>
                    </a:lnTo>
                    <a:lnTo>
                      <a:pt x="6227" y="4093"/>
                    </a:lnTo>
                    <a:lnTo>
                      <a:pt x="6227" y="4100"/>
                    </a:lnTo>
                    <a:lnTo>
                      <a:pt x="6243" y="4100"/>
                    </a:lnTo>
                    <a:lnTo>
                      <a:pt x="6231" y="4122"/>
                    </a:lnTo>
                    <a:lnTo>
                      <a:pt x="6227" y="4133"/>
                    </a:lnTo>
                    <a:lnTo>
                      <a:pt x="6222" y="4117"/>
                    </a:lnTo>
                    <a:lnTo>
                      <a:pt x="6210" y="4105"/>
                    </a:lnTo>
                    <a:lnTo>
                      <a:pt x="6189" y="4122"/>
                    </a:lnTo>
                    <a:lnTo>
                      <a:pt x="6151" y="4117"/>
                    </a:lnTo>
                    <a:lnTo>
                      <a:pt x="6151" y="4105"/>
                    </a:lnTo>
                    <a:lnTo>
                      <a:pt x="6156" y="4105"/>
                    </a:lnTo>
                    <a:lnTo>
                      <a:pt x="6156" y="4117"/>
                    </a:lnTo>
                    <a:lnTo>
                      <a:pt x="6168" y="4105"/>
                    </a:lnTo>
                    <a:lnTo>
                      <a:pt x="6134" y="4093"/>
                    </a:lnTo>
                    <a:lnTo>
                      <a:pt x="6125" y="4077"/>
                    </a:lnTo>
                    <a:lnTo>
                      <a:pt x="6113" y="4065"/>
                    </a:lnTo>
                    <a:lnTo>
                      <a:pt x="6087" y="4077"/>
                    </a:lnTo>
                    <a:lnTo>
                      <a:pt x="6097" y="4081"/>
                    </a:lnTo>
                    <a:lnTo>
                      <a:pt x="6080" y="4093"/>
                    </a:lnTo>
                    <a:lnTo>
                      <a:pt x="6012" y="4077"/>
                    </a:lnTo>
                    <a:lnTo>
                      <a:pt x="5974" y="4077"/>
                    </a:lnTo>
                    <a:lnTo>
                      <a:pt x="5962" y="4065"/>
                    </a:lnTo>
                    <a:lnTo>
                      <a:pt x="5979" y="4060"/>
                    </a:lnTo>
                    <a:lnTo>
                      <a:pt x="5974" y="4060"/>
                    </a:lnTo>
                    <a:lnTo>
                      <a:pt x="5962" y="4065"/>
                    </a:lnTo>
                    <a:lnTo>
                      <a:pt x="5974" y="4081"/>
                    </a:lnTo>
                    <a:lnTo>
                      <a:pt x="5950" y="4081"/>
                    </a:lnTo>
                    <a:lnTo>
                      <a:pt x="5903" y="4105"/>
                    </a:lnTo>
                    <a:lnTo>
                      <a:pt x="5924" y="4093"/>
                    </a:lnTo>
                    <a:lnTo>
                      <a:pt x="5903" y="4093"/>
                    </a:lnTo>
                    <a:lnTo>
                      <a:pt x="5908" y="4077"/>
                    </a:lnTo>
                    <a:lnTo>
                      <a:pt x="5886" y="4077"/>
                    </a:lnTo>
                    <a:lnTo>
                      <a:pt x="5898" y="4105"/>
                    </a:lnTo>
                    <a:lnTo>
                      <a:pt x="5882" y="4133"/>
                    </a:lnTo>
                    <a:lnTo>
                      <a:pt x="5799" y="4176"/>
                    </a:lnTo>
                    <a:lnTo>
                      <a:pt x="5816" y="4159"/>
                    </a:lnTo>
                    <a:lnTo>
                      <a:pt x="5799" y="4171"/>
                    </a:lnTo>
                    <a:lnTo>
                      <a:pt x="5811" y="4159"/>
                    </a:lnTo>
                    <a:lnTo>
                      <a:pt x="5790" y="4155"/>
                    </a:lnTo>
                    <a:lnTo>
                      <a:pt x="5794" y="4159"/>
                    </a:lnTo>
                    <a:lnTo>
                      <a:pt x="5790" y="4159"/>
                    </a:lnTo>
                    <a:lnTo>
                      <a:pt x="5773" y="4155"/>
                    </a:lnTo>
                    <a:lnTo>
                      <a:pt x="5778" y="4171"/>
                    </a:lnTo>
                    <a:lnTo>
                      <a:pt x="5794" y="4176"/>
                    </a:lnTo>
                    <a:lnTo>
                      <a:pt x="5773" y="4188"/>
                    </a:lnTo>
                    <a:lnTo>
                      <a:pt x="5761" y="4176"/>
                    </a:lnTo>
                    <a:lnTo>
                      <a:pt x="5761" y="4192"/>
                    </a:lnTo>
                    <a:lnTo>
                      <a:pt x="5757" y="4204"/>
                    </a:lnTo>
                    <a:lnTo>
                      <a:pt x="5740" y="4204"/>
                    </a:lnTo>
                    <a:lnTo>
                      <a:pt x="5735" y="4209"/>
                    </a:lnTo>
                    <a:lnTo>
                      <a:pt x="5747" y="4209"/>
                    </a:lnTo>
                    <a:lnTo>
                      <a:pt x="5740" y="4225"/>
                    </a:lnTo>
                    <a:lnTo>
                      <a:pt x="5709" y="4225"/>
                    </a:lnTo>
                    <a:lnTo>
                      <a:pt x="5735" y="4244"/>
                    </a:lnTo>
                    <a:lnTo>
                      <a:pt x="5719" y="4266"/>
                    </a:lnTo>
                    <a:lnTo>
                      <a:pt x="5709" y="4266"/>
                    </a:lnTo>
                    <a:lnTo>
                      <a:pt x="5693" y="4261"/>
                    </a:lnTo>
                    <a:lnTo>
                      <a:pt x="5702" y="4270"/>
                    </a:lnTo>
                    <a:lnTo>
                      <a:pt x="5719" y="4266"/>
                    </a:lnTo>
                    <a:lnTo>
                      <a:pt x="5709" y="4303"/>
                    </a:lnTo>
                    <a:lnTo>
                      <a:pt x="5735" y="4370"/>
                    </a:lnTo>
                    <a:lnTo>
                      <a:pt x="5740" y="4360"/>
                    </a:lnTo>
                    <a:lnTo>
                      <a:pt x="5740" y="4370"/>
                    </a:lnTo>
                    <a:lnTo>
                      <a:pt x="5719" y="4377"/>
                    </a:lnTo>
                    <a:lnTo>
                      <a:pt x="5702" y="4370"/>
                    </a:lnTo>
                    <a:lnTo>
                      <a:pt x="5664" y="4360"/>
                    </a:lnTo>
                    <a:lnTo>
                      <a:pt x="5648" y="4353"/>
                    </a:lnTo>
                    <a:lnTo>
                      <a:pt x="5601" y="4337"/>
                    </a:lnTo>
                    <a:lnTo>
                      <a:pt x="5596" y="4303"/>
                    </a:lnTo>
                    <a:lnTo>
                      <a:pt x="5579" y="4287"/>
                    </a:lnTo>
                    <a:lnTo>
                      <a:pt x="5572" y="4249"/>
                    </a:lnTo>
                    <a:lnTo>
                      <a:pt x="5546" y="4233"/>
                    </a:lnTo>
                    <a:lnTo>
                      <a:pt x="5530" y="4204"/>
                    </a:lnTo>
                    <a:lnTo>
                      <a:pt x="5520" y="4192"/>
                    </a:lnTo>
                    <a:lnTo>
                      <a:pt x="5492" y="4122"/>
                    </a:lnTo>
                    <a:lnTo>
                      <a:pt x="5449" y="4081"/>
                    </a:lnTo>
                    <a:lnTo>
                      <a:pt x="5438" y="4077"/>
                    </a:lnTo>
                    <a:lnTo>
                      <a:pt x="5395" y="4077"/>
                    </a:lnTo>
                    <a:lnTo>
                      <a:pt x="5379" y="4065"/>
                    </a:lnTo>
                    <a:lnTo>
                      <a:pt x="5357" y="4077"/>
                    </a:lnTo>
                    <a:lnTo>
                      <a:pt x="5341" y="4117"/>
                    </a:lnTo>
                    <a:lnTo>
                      <a:pt x="5315" y="4138"/>
                    </a:lnTo>
                    <a:lnTo>
                      <a:pt x="5303" y="4133"/>
                    </a:lnTo>
                    <a:lnTo>
                      <a:pt x="5256" y="4105"/>
                    </a:lnTo>
                    <a:lnTo>
                      <a:pt x="5223" y="4081"/>
                    </a:lnTo>
                    <a:lnTo>
                      <a:pt x="5206" y="4060"/>
                    </a:lnTo>
                    <a:lnTo>
                      <a:pt x="5206" y="4044"/>
                    </a:lnTo>
                    <a:lnTo>
                      <a:pt x="5194" y="4011"/>
                    </a:lnTo>
                    <a:lnTo>
                      <a:pt x="5097" y="3937"/>
                    </a:lnTo>
                    <a:lnTo>
                      <a:pt x="5093" y="3916"/>
                    </a:lnTo>
                    <a:lnTo>
                      <a:pt x="4963" y="3916"/>
                    </a:lnTo>
                    <a:lnTo>
                      <a:pt x="4963" y="3949"/>
                    </a:lnTo>
                    <a:lnTo>
                      <a:pt x="4764" y="3949"/>
                    </a:lnTo>
                    <a:lnTo>
                      <a:pt x="4500" y="3855"/>
                    </a:lnTo>
                    <a:lnTo>
                      <a:pt x="4505" y="3838"/>
                    </a:lnTo>
                    <a:lnTo>
                      <a:pt x="4337" y="3855"/>
                    </a:lnTo>
                    <a:lnTo>
                      <a:pt x="4325" y="3838"/>
                    </a:lnTo>
                    <a:lnTo>
                      <a:pt x="4337" y="3845"/>
                    </a:lnTo>
                    <a:lnTo>
                      <a:pt x="4325" y="3845"/>
                    </a:lnTo>
                    <a:lnTo>
                      <a:pt x="4325" y="3822"/>
                    </a:lnTo>
                    <a:lnTo>
                      <a:pt x="4316" y="3788"/>
                    </a:lnTo>
                    <a:lnTo>
                      <a:pt x="4266" y="3760"/>
                    </a:lnTo>
                    <a:lnTo>
                      <a:pt x="4249" y="3760"/>
                    </a:lnTo>
                    <a:lnTo>
                      <a:pt x="4235" y="3734"/>
                    </a:lnTo>
                    <a:lnTo>
                      <a:pt x="4197" y="3727"/>
                    </a:lnTo>
                    <a:lnTo>
                      <a:pt x="4164" y="3706"/>
                    </a:lnTo>
                    <a:lnTo>
                      <a:pt x="4105" y="3706"/>
                    </a:lnTo>
                    <a:lnTo>
                      <a:pt x="4089" y="3689"/>
                    </a:lnTo>
                    <a:lnTo>
                      <a:pt x="4098" y="3651"/>
                    </a:lnTo>
                    <a:lnTo>
                      <a:pt x="4072" y="3640"/>
                    </a:lnTo>
                    <a:lnTo>
                      <a:pt x="4072" y="3616"/>
                    </a:lnTo>
                    <a:lnTo>
                      <a:pt x="4001" y="3545"/>
                    </a:lnTo>
                    <a:lnTo>
                      <a:pt x="3997" y="3524"/>
                    </a:lnTo>
                    <a:lnTo>
                      <a:pt x="4013" y="3524"/>
                    </a:lnTo>
                    <a:lnTo>
                      <a:pt x="4013" y="3496"/>
                    </a:lnTo>
                    <a:lnTo>
                      <a:pt x="4001" y="3488"/>
                    </a:lnTo>
                    <a:lnTo>
                      <a:pt x="3980" y="3488"/>
                    </a:lnTo>
                    <a:lnTo>
                      <a:pt x="3964" y="3472"/>
                    </a:lnTo>
                    <a:lnTo>
                      <a:pt x="3964" y="3455"/>
                    </a:lnTo>
                    <a:lnTo>
                      <a:pt x="3959" y="3451"/>
                    </a:lnTo>
                    <a:lnTo>
                      <a:pt x="3959" y="3429"/>
                    </a:lnTo>
                    <a:lnTo>
                      <a:pt x="3964" y="3429"/>
                    </a:lnTo>
                    <a:lnTo>
                      <a:pt x="3975" y="3439"/>
                    </a:lnTo>
                    <a:lnTo>
                      <a:pt x="3997" y="3451"/>
                    </a:lnTo>
                    <a:lnTo>
                      <a:pt x="3964" y="3413"/>
                    </a:lnTo>
                    <a:lnTo>
                      <a:pt x="3980" y="3401"/>
                    </a:lnTo>
                    <a:lnTo>
                      <a:pt x="4018" y="3413"/>
                    </a:lnTo>
                    <a:lnTo>
                      <a:pt x="4030" y="3401"/>
                    </a:lnTo>
                    <a:lnTo>
                      <a:pt x="4034" y="3413"/>
                    </a:lnTo>
                    <a:lnTo>
                      <a:pt x="4030" y="3401"/>
                    </a:lnTo>
                    <a:lnTo>
                      <a:pt x="4013" y="3401"/>
                    </a:lnTo>
                    <a:lnTo>
                      <a:pt x="3997" y="3396"/>
                    </a:lnTo>
                    <a:lnTo>
                      <a:pt x="3992" y="3401"/>
                    </a:lnTo>
                    <a:lnTo>
                      <a:pt x="3975" y="3396"/>
                    </a:lnTo>
                    <a:lnTo>
                      <a:pt x="3964" y="3396"/>
                    </a:lnTo>
                    <a:lnTo>
                      <a:pt x="3964" y="3418"/>
                    </a:lnTo>
                    <a:lnTo>
                      <a:pt x="3959" y="3429"/>
                    </a:lnTo>
                    <a:lnTo>
                      <a:pt x="3938" y="3401"/>
                    </a:lnTo>
                    <a:lnTo>
                      <a:pt x="3926" y="3413"/>
                    </a:lnTo>
                    <a:lnTo>
                      <a:pt x="3926" y="3385"/>
                    </a:lnTo>
                    <a:lnTo>
                      <a:pt x="3942" y="3401"/>
                    </a:lnTo>
                    <a:lnTo>
                      <a:pt x="3921" y="3373"/>
                    </a:lnTo>
                    <a:lnTo>
                      <a:pt x="3871" y="3328"/>
                    </a:lnTo>
                    <a:lnTo>
                      <a:pt x="3871" y="3262"/>
                    </a:lnTo>
                    <a:lnTo>
                      <a:pt x="3850" y="3229"/>
                    </a:lnTo>
                    <a:lnTo>
                      <a:pt x="3834" y="3219"/>
                    </a:lnTo>
                    <a:lnTo>
                      <a:pt x="3829" y="3207"/>
                    </a:lnTo>
                    <a:lnTo>
                      <a:pt x="3841" y="3174"/>
                    </a:lnTo>
                    <a:lnTo>
                      <a:pt x="3850" y="3118"/>
                    </a:lnTo>
                    <a:lnTo>
                      <a:pt x="3841" y="3085"/>
                    </a:lnTo>
                    <a:lnTo>
                      <a:pt x="3841" y="3068"/>
                    </a:lnTo>
                    <a:lnTo>
                      <a:pt x="3829" y="3047"/>
                    </a:lnTo>
                    <a:lnTo>
                      <a:pt x="3829" y="3014"/>
                    </a:lnTo>
                    <a:lnTo>
                      <a:pt x="3817" y="2990"/>
                    </a:lnTo>
                    <a:lnTo>
                      <a:pt x="3829" y="2952"/>
                    </a:lnTo>
                    <a:lnTo>
                      <a:pt x="3841" y="2952"/>
                    </a:lnTo>
                    <a:lnTo>
                      <a:pt x="3841" y="2940"/>
                    </a:lnTo>
                    <a:lnTo>
                      <a:pt x="3834" y="2940"/>
                    </a:lnTo>
                    <a:lnTo>
                      <a:pt x="3850" y="2919"/>
                    </a:lnTo>
                    <a:lnTo>
                      <a:pt x="3850" y="2813"/>
                    </a:lnTo>
                    <a:lnTo>
                      <a:pt x="3855" y="2792"/>
                    </a:lnTo>
                    <a:lnTo>
                      <a:pt x="3855" y="2759"/>
                    </a:lnTo>
                    <a:lnTo>
                      <a:pt x="3867" y="2759"/>
                    </a:lnTo>
                    <a:lnTo>
                      <a:pt x="3855" y="2697"/>
                    </a:lnTo>
                    <a:lnTo>
                      <a:pt x="3888" y="2692"/>
                    </a:lnTo>
                    <a:lnTo>
                      <a:pt x="3905" y="2702"/>
                    </a:lnTo>
                    <a:lnTo>
                      <a:pt x="3909" y="2697"/>
                    </a:lnTo>
                    <a:lnTo>
                      <a:pt x="3855" y="2692"/>
                    </a:lnTo>
                    <a:lnTo>
                      <a:pt x="3850" y="2659"/>
                    </a:lnTo>
                    <a:lnTo>
                      <a:pt x="3855" y="2681"/>
                    </a:lnTo>
                    <a:lnTo>
                      <a:pt x="3867" y="2664"/>
                    </a:lnTo>
                    <a:lnTo>
                      <a:pt x="3855" y="2659"/>
                    </a:lnTo>
                    <a:lnTo>
                      <a:pt x="3871" y="2648"/>
                    </a:lnTo>
                    <a:lnTo>
                      <a:pt x="3850" y="2648"/>
                    </a:lnTo>
                    <a:lnTo>
                      <a:pt x="3850" y="2643"/>
                    </a:lnTo>
                    <a:lnTo>
                      <a:pt x="3871" y="2626"/>
                    </a:lnTo>
                    <a:lnTo>
                      <a:pt x="3850" y="2619"/>
                    </a:lnTo>
                    <a:lnTo>
                      <a:pt x="3841" y="2636"/>
                    </a:lnTo>
                    <a:lnTo>
                      <a:pt x="3829" y="2565"/>
                    </a:lnTo>
                    <a:lnTo>
                      <a:pt x="3812" y="2532"/>
                    </a:lnTo>
                    <a:lnTo>
                      <a:pt x="3803" y="2499"/>
                    </a:lnTo>
                    <a:lnTo>
                      <a:pt x="3855" y="2515"/>
                    </a:lnTo>
                    <a:lnTo>
                      <a:pt x="3905" y="2525"/>
                    </a:lnTo>
                    <a:lnTo>
                      <a:pt x="3921" y="2515"/>
                    </a:lnTo>
                    <a:lnTo>
                      <a:pt x="3938" y="2525"/>
                    </a:lnTo>
                    <a:lnTo>
                      <a:pt x="3942" y="2515"/>
                    </a:lnTo>
                    <a:lnTo>
                      <a:pt x="3942" y="2525"/>
                    </a:lnTo>
                    <a:lnTo>
                      <a:pt x="3947" y="2537"/>
                    </a:lnTo>
                    <a:lnTo>
                      <a:pt x="3942" y="2553"/>
                    </a:lnTo>
                    <a:lnTo>
                      <a:pt x="3938" y="2548"/>
                    </a:lnTo>
                    <a:lnTo>
                      <a:pt x="3909" y="2591"/>
                    </a:lnTo>
                    <a:lnTo>
                      <a:pt x="3938" y="2586"/>
                    </a:lnTo>
                    <a:lnTo>
                      <a:pt x="3921" y="2586"/>
                    </a:lnTo>
                    <a:lnTo>
                      <a:pt x="3959" y="2537"/>
                    </a:lnTo>
                    <a:lnTo>
                      <a:pt x="3964" y="2553"/>
                    </a:lnTo>
                    <a:lnTo>
                      <a:pt x="3947" y="2565"/>
                    </a:lnTo>
                    <a:lnTo>
                      <a:pt x="3947" y="2570"/>
                    </a:lnTo>
                    <a:lnTo>
                      <a:pt x="3947" y="2565"/>
                    </a:lnTo>
                    <a:lnTo>
                      <a:pt x="3947" y="2581"/>
                    </a:lnTo>
                    <a:lnTo>
                      <a:pt x="3959" y="2570"/>
                    </a:lnTo>
                    <a:lnTo>
                      <a:pt x="3959" y="2603"/>
                    </a:lnTo>
                    <a:lnTo>
                      <a:pt x="3947" y="2591"/>
                    </a:lnTo>
                    <a:lnTo>
                      <a:pt x="3947" y="2586"/>
                    </a:lnTo>
                    <a:lnTo>
                      <a:pt x="3942" y="2610"/>
                    </a:lnTo>
                    <a:lnTo>
                      <a:pt x="3942" y="2586"/>
                    </a:lnTo>
                    <a:lnTo>
                      <a:pt x="3921" y="2610"/>
                    </a:lnTo>
                    <a:lnTo>
                      <a:pt x="3938" y="2619"/>
                    </a:lnTo>
                    <a:lnTo>
                      <a:pt x="3938" y="2610"/>
                    </a:lnTo>
                    <a:lnTo>
                      <a:pt x="3942" y="2619"/>
                    </a:lnTo>
                    <a:lnTo>
                      <a:pt x="3975" y="2586"/>
                    </a:lnTo>
                    <a:lnTo>
                      <a:pt x="3964" y="2565"/>
                    </a:lnTo>
                    <a:lnTo>
                      <a:pt x="3975" y="2537"/>
                    </a:lnTo>
                    <a:lnTo>
                      <a:pt x="3975" y="2532"/>
                    </a:lnTo>
                    <a:lnTo>
                      <a:pt x="3964" y="2515"/>
                    </a:lnTo>
                    <a:lnTo>
                      <a:pt x="3964" y="2525"/>
                    </a:lnTo>
                    <a:lnTo>
                      <a:pt x="3959" y="2515"/>
                    </a:lnTo>
                    <a:lnTo>
                      <a:pt x="3964" y="2508"/>
                    </a:lnTo>
                    <a:lnTo>
                      <a:pt x="3942" y="2492"/>
                    </a:lnTo>
                    <a:lnTo>
                      <a:pt x="3959" y="2492"/>
                    </a:lnTo>
                    <a:lnTo>
                      <a:pt x="3964" y="2475"/>
                    </a:lnTo>
                    <a:lnTo>
                      <a:pt x="3959" y="2470"/>
                    </a:lnTo>
                    <a:lnTo>
                      <a:pt x="3947" y="2459"/>
                    </a:lnTo>
                    <a:lnTo>
                      <a:pt x="3942" y="2454"/>
                    </a:lnTo>
                    <a:lnTo>
                      <a:pt x="3942" y="2442"/>
                    </a:lnTo>
                    <a:lnTo>
                      <a:pt x="3942" y="2442"/>
                    </a:lnTo>
                    <a:lnTo>
                      <a:pt x="3942" y="2442"/>
                    </a:lnTo>
                    <a:close/>
                    <a:moveTo>
                      <a:pt x="3938" y="2470"/>
                    </a:moveTo>
                    <a:lnTo>
                      <a:pt x="3942" y="2475"/>
                    </a:lnTo>
                    <a:lnTo>
                      <a:pt x="3926" y="2475"/>
                    </a:lnTo>
                    <a:lnTo>
                      <a:pt x="3938" y="2470"/>
                    </a:lnTo>
                    <a:lnTo>
                      <a:pt x="3938" y="2470"/>
                    </a:lnTo>
                    <a:lnTo>
                      <a:pt x="3938" y="2470"/>
                    </a:lnTo>
                    <a:close/>
                    <a:moveTo>
                      <a:pt x="3921" y="2475"/>
                    </a:moveTo>
                    <a:lnTo>
                      <a:pt x="3926" y="2492"/>
                    </a:lnTo>
                    <a:lnTo>
                      <a:pt x="3909" y="2492"/>
                    </a:lnTo>
                    <a:lnTo>
                      <a:pt x="3909" y="2475"/>
                    </a:lnTo>
                    <a:lnTo>
                      <a:pt x="3921" y="2475"/>
                    </a:lnTo>
                    <a:lnTo>
                      <a:pt x="3921" y="2475"/>
                    </a:lnTo>
                    <a:lnTo>
                      <a:pt x="3921" y="2475"/>
                    </a:lnTo>
                    <a:close/>
                    <a:moveTo>
                      <a:pt x="3938" y="2482"/>
                    </a:moveTo>
                    <a:lnTo>
                      <a:pt x="3938" y="2492"/>
                    </a:lnTo>
                    <a:lnTo>
                      <a:pt x="3926" y="2492"/>
                    </a:lnTo>
                    <a:lnTo>
                      <a:pt x="3938" y="2482"/>
                    </a:lnTo>
                    <a:lnTo>
                      <a:pt x="3938" y="2482"/>
                    </a:lnTo>
                    <a:lnTo>
                      <a:pt x="3938" y="2482"/>
                    </a:lnTo>
                    <a:close/>
                    <a:moveTo>
                      <a:pt x="3959" y="2499"/>
                    </a:moveTo>
                    <a:lnTo>
                      <a:pt x="3959" y="2508"/>
                    </a:lnTo>
                    <a:lnTo>
                      <a:pt x="3947" y="2515"/>
                    </a:lnTo>
                    <a:lnTo>
                      <a:pt x="3975" y="2532"/>
                    </a:lnTo>
                    <a:lnTo>
                      <a:pt x="3964" y="2537"/>
                    </a:lnTo>
                    <a:lnTo>
                      <a:pt x="3942" y="2515"/>
                    </a:lnTo>
                    <a:lnTo>
                      <a:pt x="3959" y="2499"/>
                    </a:lnTo>
                    <a:lnTo>
                      <a:pt x="3959" y="2499"/>
                    </a:lnTo>
                    <a:lnTo>
                      <a:pt x="3959" y="2499"/>
                    </a:lnTo>
                    <a:close/>
                    <a:moveTo>
                      <a:pt x="3959" y="2565"/>
                    </a:moveTo>
                    <a:lnTo>
                      <a:pt x="3959" y="2570"/>
                    </a:lnTo>
                    <a:lnTo>
                      <a:pt x="3959" y="2565"/>
                    </a:lnTo>
                    <a:lnTo>
                      <a:pt x="3959" y="2565"/>
                    </a:lnTo>
                    <a:lnTo>
                      <a:pt x="3959" y="2565"/>
                    </a:lnTo>
                    <a:close/>
                    <a:moveTo>
                      <a:pt x="3964" y="2586"/>
                    </a:moveTo>
                    <a:lnTo>
                      <a:pt x="3959" y="2591"/>
                    </a:lnTo>
                    <a:lnTo>
                      <a:pt x="3964" y="2581"/>
                    </a:lnTo>
                    <a:lnTo>
                      <a:pt x="3964" y="2586"/>
                    </a:lnTo>
                    <a:lnTo>
                      <a:pt x="3964" y="2586"/>
                    </a:lnTo>
                    <a:lnTo>
                      <a:pt x="3964" y="2586"/>
                    </a:lnTo>
                    <a:close/>
                    <a:moveTo>
                      <a:pt x="3938" y="2603"/>
                    </a:moveTo>
                    <a:lnTo>
                      <a:pt x="3938" y="2610"/>
                    </a:lnTo>
                    <a:lnTo>
                      <a:pt x="3938" y="2603"/>
                    </a:lnTo>
                    <a:lnTo>
                      <a:pt x="3938" y="2603"/>
                    </a:lnTo>
                    <a:lnTo>
                      <a:pt x="3938" y="2603"/>
                    </a:lnTo>
                    <a:close/>
                    <a:moveTo>
                      <a:pt x="7771" y="2858"/>
                    </a:moveTo>
                    <a:lnTo>
                      <a:pt x="7771" y="2863"/>
                    </a:lnTo>
                    <a:lnTo>
                      <a:pt x="7760" y="2870"/>
                    </a:lnTo>
                    <a:lnTo>
                      <a:pt x="7755" y="2870"/>
                    </a:lnTo>
                    <a:lnTo>
                      <a:pt x="7755" y="2858"/>
                    </a:lnTo>
                    <a:lnTo>
                      <a:pt x="7771" y="2858"/>
                    </a:lnTo>
                    <a:lnTo>
                      <a:pt x="7771" y="2858"/>
                    </a:lnTo>
                    <a:lnTo>
                      <a:pt x="7771" y="2858"/>
                    </a:lnTo>
                    <a:close/>
                    <a:moveTo>
                      <a:pt x="7738" y="2870"/>
                    </a:moveTo>
                    <a:lnTo>
                      <a:pt x="7738" y="2879"/>
                    </a:lnTo>
                    <a:lnTo>
                      <a:pt x="7734" y="2879"/>
                    </a:lnTo>
                    <a:lnTo>
                      <a:pt x="7738" y="2870"/>
                    </a:lnTo>
                    <a:lnTo>
                      <a:pt x="7738" y="2870"/>
                    </a:lnTo>
                    <a:lnTo>
                      <a:pt x="7738" y="2870"/>
                    </a:lnTo>
                    <a:close/>
                    <a:moveTo>
                      <a:pt x="7734" y="2886"/>
                    </a:moveTo>
                    <a:lnTo>
                      <a:pt x="7722" y="2886"/>
                    </a:lnTo>
                    <a:lnTo>
                      <a:pt x="7722" y="2879"/>
                    </a:lnTo>
                    <a:lnTo>
                      <a:pt x="7734" y="2886"/>
                    </a:lnTo>
                    <a:lnTo>
                      <a:pt x="7734" y="2886"/>
                    </a:lnTo>
                    <a:lnTo>
                      <a:pt x="7734" y="2886"/>
                    </a:lnTo>
                    <a:close/>
                    <a:moveTo>
                      <a:pt x="7561" y="3101"/>
                    </a:moveTo>
                    <a:lnTo>
                      <a:pt x="7554" y="3108"/>
                    </a:lnTo>
                    <a:lnTo>
                      <a:pt x="7545" y="3118"/>
                    </a:lnTo>
                    <a:lnTo>
                      <a:pt x="7561" y="3101"/>
                    </a:lnTo>
                    <a:lnTo>
                      <a:pt x="7561" y="3101"/>
                    </a:lnTo>
                    <a:lnTo>
                      <a:pt x="7561" y="3101"/>
                    </a:lnTo>
                    <a:close/>
                    <a:moveTo>
                      <a:pt x="7608" y="3118"/>
                    </a:moveTo>
                    <a:lnTo>
                      <a:pt x="7608" y="3125"/>
                    </a:lnTo>
                    <a:lnTo>
                      <a:pt x="7582" y="3125"/>
                    </a:lnTo>
                    <a:lnTo>
                      <a:pt x="7608" y="3118"/>
                    </a:lnTo>
                    <a:lnTo>
                      <a:pt x="7608" y="3118"/>
                    </a:lnTo>
                    <a:lnTo>
                      <a:pt x="7608" y="3118"/>
                    </a:lnTo>
                    <a:close/>
                    <a:moveTo>
                      <a:pt x="7637" y="3125"/>
                    </a:moveTo>
                    <a:lnTo>
                      <a:pt x="7646" y="3134"/>
                    </a:lnTo>
                    <a:lnTo>
                      <a:pt x="7630" y="3134"/>
                    </a:lnTo>
                    <a:lnTo>
                      <a:pt x="7637" y="3125"/>
                    </a:lnTo>
                    <a:lnTo>
                      <a:pt x="7637" y="3125"/>
                    </a:lnTo>
                    <a:lnTo>
                      <a:pt x="7637" y="3125"/>
                    </a:lnTo>
                    <a:close/>
                    <a:moveTo>
                      <a:pt x="7448" y="3174"/>
                    </a:moveTo>
                    <a:lnTo>
                      <a:pt x="7382" y="3191"/>
                    </a:lnTo>
                    <a:lnTo>
                      <a:pt x="7393" y="3191"/>
                    </a:lnTo>
                    <a:lnTo>
                      <a:pt x="7365" y="3191"/>
                    </a:lnTo>
                    <a:lnTo>
                      <a:pt x="7377" y="3191"/>
                    </a:lnTo>
                    <a:lnTo>
                      <a:pt x="7360" y="3191"/>
                    </a:lnTo>
                    <a:lnTo>
                      <a:pt x="7365" y="3174"/>
                    </a:lnTo>
                    <a:lnTo>
                      <a:pt x="7393" y="3163"/>
                    </a:lnTo>
                    <a:lnTo>
                      <a:pt x="7464" y="3158"/>
                    </a:lnTo>
                    <a:lnTo>
                      <a:pt x="7486" y="3141"/>
                    </a:lnTo>
                    <a:lnTo>
                      <a:pt x="7464" y="3163"/>
                    </a:lnTo>
                    <a:lnTo>
                      <a:pt x="7516" y="3151"/>
                    </a:lnTo>
                    <a:lnTo>
                      <a:pt x="7448" y="3174"/>
                    </a:lnTo>
                    <a:lnTo>
                      <a:pt x="7448" y="3174"/>
                    </a:lnTo>
                    <a:lnTo>
                      <a:pt x="7448" y="3174"/>
                    </a:lnTo>
                    <a:close/>
                    <a:moveTo>
                      <a:pt x="7360" y="3191"/>
                    </a:moveTo>
                    <a:lnTo>
                      <a:pt x="7344" y="3196"/>
                    </a:lnTo>
                    <a:lnTo>
                      <a:pt x="7356" y="3191"/>
                    </a:lnTo>
                    <a:lnTo>
                      <a:pt x="7360" y="3191"/>
                    </a:lnTo>
                    <a:lnTo>
                      <a:pt x="7360" y="3191"/>
                    </a:lnTo>
                    <a:lnTo>
                      <a:pt x="7360" y="3191"/>
                    </a:lnTo>
                    <a:close/>
                    <a:moveTo>
                      <a:pt x="7339" y="3290"/>
                    </a:moveTo>
                    <a:lnTo>
                      <a:pt x="7327" y="3290"/>
                    </a:lnTo>
                    <a:lnTo>
                      <a:pt x="7344" y="3285"/>
                    </a:lnTo>
                    <a:lnTo>
                      <a:pt x="7339" y="3290"/>
                    </a:lnTo>
                    <a:lnTo>
                      <a:pt x="7339" y="3290"/>
                    </a:lnTo>
                    <a:lnTo>
                      <a:pt x="7339" y="3290"/>
                    </a:lnTo>
                    <a:close/>
                    <a:moveTo>
                      <a:pt x="7275" y="3401"/>
                    </a:moveTo>
                    <a:lnTo>
                      <a:pt x="7268" y="3418"/>
                    </a:lnTo>
                    <a:lnTo>
                      <a:pt x="7285" y="3385"/>
                    </a:lnTo>
                    <a:lnTo>
                      <a:pt x="7275" y="3401"/>
                    </a:lnTo>
                    <a:lnTo>
                      <a:pt x="7275" y="3401"/>
                    </a:lnTo>
                    <a:lnTo>
                      <a:pt x="7275" y="3401"/>
                    </a:lnTo>
                    <a:close/>
                    <a:moveTo>
                      <a:pt x="7252" y="3640"/>
                    </a:moveTo>
                    <a:lnTo>
                      <a:pt x="7247" y="3640"/>
                    </a:lnTo>
                    <a:lnTo>
                      <a:pt x="7259" y="3633"/>
                    </a:lnTo>
                    <a:lnTo>
                      <a:pt x="7259" y="3595"/>
                    </a:lnTo>
                    <a:lnTo>
                      <a:pt x="7259" y="3607"/>
                    </a:lnTo>
                    <a:lnTo>
                      <a:pt x="7252" y="3640"/>
                    </a:lnTo>
                    <a:lnTo>
                      <a:pt x="7252" y="3640"/>
                    </a:lnTo>
                    <a:lnTo>
                      <a:pt x="7252" y="3640"/>
                    </a:lnTo>
                    <a:close/>
                    <a:moveTo>
                      <a:pt x="4143" y="3727"/>
                    </a:moveTo>
                    <a:lnTo>
                      <a:pt x="4174" y="3734"/>
                    </a:lnTo>
                    <a:lnTo>
                      <a:pt x="4153" y="3744"/>
                    </a:lnTo>
                    <a:lnTo>
                      <a:pt x="4143" y="3734"/>
                    </a:lnTo>
                    <a:lnTo>
                      <a:pt x="4143" y="3727"/>
                    </a:lnTo>
                    <a:lnTo>
                      <a:pt x="4143" y="3727"/>
                    </a:lnTo>
                    <a:lnTo>
                      <a:pt x="4143" y="3727"/>
                    </a:lnTo>
                    <a:close/>
                    <a:moveTo>
                      <a:pt x="4136" y="3734"/>
                    </a:moveTo>
                    <a:lnTo>
                      <a:pt x="4127" y="3744"/>
                    </a:lnTo>
                    <a:lnTo>
                      <a:pt x="4122" y="3734"/>
                    </a:lnTo>
                    <a:lnTo>
                      <a:pt x="4136" y="3734"/>
                    </a:lnTo>
                    <a:lnTo>
                      <a:pt x="4136" y="3734"/>
                    </a:lnTo>
                    <a:lnTo>
                      <a:pt x="4136" y="3734"/>
                    </a:lnTo>
                    <a:close/>
                    <a:moveTo>
                      <a:pt x="4245" y="3784"/>
                    </a:moveTo>
                    <a:lnTo>
                      <a:pt x="4261" y="3788"/>
                    </a:lnTo>
                    <a:lnTo>
                      <a:pt x="4245" y="3788"/>
                    </a:lnTo>
                    <a:lnTo>
                      <a:pt x="4235" y="3772"/>
                    </a:lnTo>
                    <a:lnTo>
                      <a:pt x="4245" y="3784"/>
                    </a:lnTo>
                    <a:lnTo>
                      <a:pt x="4245" y="3784"/>
                    </a:lnTo>
                    <a:lnTo>
                      <a:pt x="4245" y="3784"/>
                    </a:lnTo>
                    <a:close/>
                    <a:moveTo>
                      <a:pt x="4174" y="3800"/>
                    </a:moveTo>
                    <a:lnTo>
                      <a:pt x="4164" y="3800"/>
                    </a:lnTo>
                    <a:lnTo>
                      <a:pt x="4174" y="3800"/>
                    </a:lnTo>
                    <a:lnTo>
                      <a:pt x="4174" y="3800"/>
                    </a:lnTo>
                    <a:lnTo>
                      <a:pt x="4174" y="3800"/>
                    </a:lnTo>
                    <a:close/>
                    <a:moveTo>
                      <a:pt x="4235" y="3817"/>
                    </a:moveTo>
                    <a:lnTo>
                      <a:pt x="4249" y="3829"/>
                    </a:lnTo>
                    <a:lnTo>
                      <a:pt x="4245" y="3829"/>
                    </a:lnTo>
                    <a:lnTo>
                      <a:pt x="4235" y="3817"/>
                    </a:lnTo>
                    <a:lnTo>
                      <a:pt x="4235" y="3817"/>
                    </a:lnTo>
                    <a:lnTo>
                      <a:pt x="4235" y="3817"/>
                    </a:lnTo>
                    <a:close/>
                    <a:moveTo>
                      <a:pt x="6843" y="3982"/>
                    </a:moveTo>
                    <a:lnTo>
                      <a:pt x="6836" y="3994"/>
                    </a:lnTo>
                    <a:lnTo>
                      <a:pt x="6836" y="3989"/>
                    </a:lnTo>
                    <a:lnTo>
                      <a:pt x="6843" y="3982"/>
                    </a:lnTo>
                    <a:lnTo>
                      <a:pt x="6843" y="3982"/>
                    </a:lnTo>
                    <a:lnTo>
                      <a:pt x="6843" y="3982"/>
                    </a:lnTo>
                    <a:close/>
                    <a:moveTo>
                      <a:pt x="6297" y="4044"/>
                    </a:moveTo>
                    <a:lnTo>
                      <a:pt x="6286" y="4048"/>
                    </a:lnTo>
                    <a:lnTo>
                      <a:pt x="6297" y="4044"/>
                    </a:lnTo>
                    <a:lnTo>
                      <a:pt x="6297" y="4044"/>
                    </a:lnTo>
                    <a:lnTo>
                      <a:pt x="6297" y="4044"/>
                    </a:lnTo>
                    <a:close/>
                    <a:moveTo>
                      <a:pt x="6319" y="4077"/>
                    </a:moveTo>
                    <a:lnTo>
                      <a:pt x="6319" y="4048"/>
                    </a:lnTo>
                    <a:lnTo>
                      <a:pt x="6328" y="4060"/>
                    </a:lnTo>
                    <a:lnTo>
                      <a:pt x="6319" y="4077"/>
                    </a:lnTo>
                    <a:lnTo>
                      <a:pt x="6319" y="4077"/>
                    </a:lnTo>
                    <a:lnTo>
                      <a:pt x="6319" y="4077"/>
                    </a:lnTo>
                    <a:close/>
                    <a:moveTo>
                      <a:pt x="6118" y="4093"/>
                    </a:moveTo>
                    <a:lnTo>
                      <a:pt x="6113" y="4100"/>
                    </a:lnTo>
                    <a:lnTo>
                      <a:pt x="6097" y="4093"/>
                    </a:lnTo>
                    <a:lnTo>
                      <a:pt x="6101" y="4081"/>
                    </a:lnTo>
                    <a:lnTo>
                      <a:pt x="6118" y="4093"/>
                    </a:lnTo>
                    <a:lnTo>
                      <a:pt x="6118" y="4093"/>
                    </a:lnTo>
                    <a:lnTo>
                      <a:pt x="6118" y="4093"/>
                    </a:lnTo>
                    <a:close/>
                    <a:moveTo>
                      <a:pt x="5903" y="4117"/>
                    </a:moveTo>
                    <a:lnTo>
                      <a:pt x="5882" y="4122"/>
                    </a:lnTo>
                    <a:lnTo>
                      <a:pt x="5903" y="4105"/>
                    </a:lnTo>
                    <a:lnTo>
                      <a:pt x="5903" y="4117"/>
                    </a:lnTo>
                    <a:lnTo>
                      <a:pt x="5903" y="4117"/>
                    </a:lnTo>
                    <a:lnTo>
                      <a:pt x="5903" y="4117"/>
                    </a:lnTo>
                    <a:close/>
                    <a:moveTo>
                      <a:pt x="6897" y="4188"/>
                    </a:moveTo>
                    <a:lnTo>
                      <a:pt x="6897" y="4192"/>
                    </a:lnTo>
                    <a:lnTo>
                      <a:pt x="6890" y="4176"/>
                    </a:lnTo>
                    <a:lnTo>
                      <a:pt x="6897" y="4159"/>
                    </a:lnTo>
                    <a:lnTo>
                      <a:pt x="6897" y="4188"/>
                    </a:lnTo>
                    <a:lnTo>
                      <a:pt x="6897" y="4188"/>
                    </a:lnTo>
                    <a:lnTo>
                      <a:pt x="6897" y="4188"/>
                    </a:lnTo>
                    <a:close/>
                    <a:moveTo>
                      <a:pt x="5761" y="4192"/>
                    </a:moveTo>
                    <a:lnTo>
                      <a:pt x="5794" y="4176"/>
                    </a:lnTo>
                    <a:lnTo>
                      <a:pt x="5761" y="4204"/>
                    </a:lnTo>
                    <a:lnTo>
                      <a:pt x="5761" y="4192"/>
                    </a:lnTo>
                    <a:lnTo>
                      <a:pt x="5761" y="4192"/>
                    </a:lnTo>
                    <a:lnTo>
                      <a:pt x="5761" y="4192"/>
                    </a:lnTo>
                    <a:close/>
                    <a:moveTo>
                      <a:pt x="5735" y="4249"/>
                    </a:moveTo>
                    <a:lnTo>
                      <a:pt x="5723" y="4270"/>
                    </a:lnTo>
                    <a:lnTo>
                      <a:pt x="5723" y="4249"/>
                    </a:lnTo>
                    <a:lnTo>
                      <a:pt x="5747" y="4225"/>
                    </a:lnTo>
                    <a:lnTo>
                      <a:pt x="5735" y="4249"/>
                    </a:lnTo>
                    <a:lnTo>
                      <a:pt x="5735" y="4249"/>
                    </a:lnTo>
                    <a:lnTo>
                      <a:pt x="5735" y="4249"/>
                    </a:lnTo>
                    <a:close/>
                    <a:moveTo>
                      <a:pt x="5723" y="4315"/>
                    </a:moveTo>
                    <a:lnTo>
                      <a:pt x="5723" y="4270"/>
                    </a:lnTo>
                    <a:lnTo>
                      <a:pt x="5740" y="4360"/>
                    </a:lnTo>
                    <a:lnTo>
                      <a:pt x="5723" y="4315"/>
                    </a:lnTo>
                    <a:lnTo>
                      <a:pt x="5723" y="4315"/>
                    </a:lnTo>
                    <a:lnTo>
                      <a:pt x="5723" y="4315"/>
                    </a:lnTo>
                    <a:close/>
                    <a:moveTo>
                      <a:pt x="6912" y="4431"/>
                    </a:moveTo>
                    <a:lnTo>
                      <a:pt x="6923" y="4414"/>
                    </a:lnTo>
                    <a:lnTo>
                      <a:pt x="6897" y="4448"/>
                    </a:lnTo>
                    <a:lnTo>
                      <a:pt x="6912" y="4431"/>
                    </a:lnTo>
                    <a:lnTo>
                      <a:pt x="6912" y="4431"/>
                    </a:lnTo>
                    <a:lnTo>
                      <a:pt x="6912" y="4431"/>
                    </a:lnTo>
                    <a:close/>
                    <a:moveTo>
                      <a:pt x="6836" y="4471"/>
                    </a:moveTo>
                    <a:lnTo>
                      <a:pt x="6827" y="4481"/>
                    </a:lnTo>
                    <a:lnTo>
                      <a:pt x="6836" y="4471"/>
                    </a:lnTo>
                    <a:lnTo>
                      <a:pt x="6836" y="4471"/>
                    </a:lnTo>
                    <a:lnTo>
                      <a:pt x="6836" y="4471"/>
                    </a:lnTo>
                    <a:close/>
                    <a:moveTo>
                      <a:pt x="1368" y="4686"/>
                    </a:moveTo>
                    <a:lnTo>
                      <a:pt x="1351" y="4674"/>
                    </a:lnTo>
                    <a:lnTo>
                      <a:pt x="1351" y="4665"/>
                    </a:lnTo>
                    <a:lnTo>
                      <a:pt x="1356" y="4653"/>
                    </a:lnTo>
                    <a:lnTo>
                      <a:pt x="1382" y="4653"/>
                    </a:lnTo>
                    <a:lnTo>
                      <a:pt x="1372" y="4674"/>
                    </a:lnTo>
                    <a:lnTo>
                      <a:pt x="1368" y="4686"/>
                    </a:lnTo>
                    <a:lnTo>
                      <a:pt x="1368" y="4686"/>
                    </a:lnTo>
                    <a:lnTo>
                      <a:pt x="1368" y="4686"/>
                    </a:lnTo>
                    <a:close/>
                    <a:moveTo>
                      <a:pt x="1318" y="4686"/>
                    </a:moveTo>
                    <a:lnTo>
                      <a:pt x="1313" y="4674"/>
                    </a:lnTo>
                    <a:lnTo>
                      <a:pt x="1330" y="4670"/>
                    </a:lnTo>
                    <a:lnTo>
                      <a:pt x="1318" y="4686"/>
                    </a:lnTo>
                    <a:lnTo>
                      <a:pt x="1318" y="4686"/>
                    </a:lnTo>
                    <a:lnTo>
                      <a:pt x="1318" y="4686"/>
                    </a:lnTo>
                    <a:close/>
                    <a:moveTo>
                      <a:pt x="1481" y="4726"/>
                    </a:moveTo>
                    <a:lnTo>
                      <a:pt x="1464" y="4726"/>
                    </a:lnTo>
                    <a:lnTo>
                      <a:pt x="1448" y="4703"/>
                    </a:lnTo>
                    <a:lnTo>
                      <a:pt x="1474" y="4693"/>
                    </a:lnTo>
                    <a:lnTo>
                      <a:pt x="1495" y="4726"/>
                    </a:lnTo>
                    <a:lnTo>
                      <a:pt x="1481" y="4726"/>
                    </a:lnTo>
                    <a:lnTo>
                      <a:pt x="1481" y="4726"/>
                    </a:lnTo>
                    <a:lnTo>
                      <a:pt x="1481" y="4726"/>
                    </a:lnTo>
                    <a:close/>
                    <a:moveTo>
                      <a:pt x="1549" y="4743"/>
                    </a:moveTo>
                    <a:lnTo>
                      <a:pt x="1519" y="4743"/>
                    </a:lnTo>
                    <a:lnTo>
                      <a:pt x="1528" y="4731"/>
                    </a:lnTo>
                    <a:lnTo>
                      <a:pt x="1557" y="4731"/>
                    </a:lnTo>
                    <a:lnTo>
                      <a:pt x="1549" y="4743"/>
                    </a:lnTo>
                    <a:lnTo>
                      <a:pt x="1549" y="4743"/>
                    </a:lnTo>
                    <a:lnTo>
                      <a:pt x="1549" y="4743"/>
                    </a:lnTo>
                    <a:close/>
                    <a:moveTo>
                      <a:pt x="1583" y="4781"/>
                    </a:moveTo>
                    <a:lnTo>
                      <a:pt x="1571" y="4764"/>
                    </a:lnTo>
                    <a:lnTo>
                      <a:pt x="1566" y="4759"/>
                    </a:lnTo>
                    <a:lnTo>
                      <a:pt x="1566" y="4743"/>
                    </a:lnTo>
                    <a:lnTo>
                      <a:pt x="1583" y="4759"/>
                    </a:lnTo>
                    <a:lnTo>
                      <a:pt x="1599" y="4748"/>
                    </a:lnTo>
                    <a:lnTo>
                      <a:pt x="1611" y="4764"/>
                    </a:lnTo>
                    <a:lnTo>
                      <a:pt x="1604" y="4776"/>
                    </a:lnTo>
                    <a:lnTo>
                      <a:pt x="1583" y="4781"/>
                    </a:lnTo>
                    <a:lnTo>
                      <a:pt x="1583" y="4781"/>
                    </a:lnTo>
                    <a:lnTo>
                      <a:pt x="1583" y="4781"/>
                    </a:lnTo>
                    <a:close/>
                    <a:moveTo>
                      <a:pt x="1549" y="4764"/>
                    </a:moveTo>
                    <a:lnTo>
                      <a:pt x="1533" y="4759"/>
                    </a:lnTo>
                    <a:lnTo>
                      <a:pt x="1549" y="4759"/>
                    </a:lnTo>
                    <a:lnTo>
                      <a:pt x="1549" y="4764"/>
                    </a:lnTo>
                    <a:lnTo>
                      <a:pt x="1549" y="4764"/>
                    </a:lnTo>
                    <a:lnTo>
                      <a:pt x="1549" y="4764"/>
                    </a:lnTo>
                    <a:close/>
                    <a:moveTo>
                      <a:pt x="1566" y="4785"/>
                    </a:moveTo>
                    <a:lnTo>
                      <a:pt x="1571" y="4781"/>
                    </a:lnTo>
                    <a:lnTo>
                      <a:pt x="1566" y="4785"/>
                    </a:lnTo>
                    <a:lnTo>
                      <a:pt x="1566" y="4785"/>
                    </a:lnTo>
                    <a:lnTo>
                      <a:pt x="1566" y="4785"/>
                    </a:lnTo>
                    <a:close/>
                    <a:moveTo>
                      <a:pt x="1620" y="4802"/>
                    </a:moveTo>
                    <a:lnTo>
                      <a:pt x="1670" y="4818"/>
                    </a:lnTo>
                    <a:lnTo>
                      <a:pt x="1679" y="4854"/>
                    </a:lnTo>
                    <a:lnTo>
                      <a:pt x="1696" y="4859"/>
                    </a:lnTo>
                    <a:lnTo>
                      <a:pt x="1679" y="4875"/>
                    </a:lnTo>
                    <a:lnTo>
                      <a:pt x="1658" y="4875"/>
                    </a:lnTo>
                    <a:lnTo>
                      <a:pt x="1642" y="4892"/>
                    </a:lnTo>
                    <a:lnTo>
                      <a:pt x="1637" y="4908"/>
                    </a:lnTo>
                    <a:lnTo>
                      <a:pt x="1620" y="4892"/>
                    </a:lnTo>
                    <a:lnTo>
                      <a:pt x="1620" y="4870"/>
                    </a:lnTo>
                    <a:lnTo>
                      <a:pt x="1604" y="4842"/>
                    </a:lnTo>
                    <a:lnTo>
                      <a:pt x="1620" y="4818"/>
                    </a:lnTo>
                    <a:lnTo>
                      <a:pt x="1620" y="4814"/>
                    </a:lnTo>
                    <a:lnTo>
                      <a:pt x="1620" y="4802"/>
                    </a:lnTo>
                    <a:lnTo>
                      <a:pt x="1620" y="4802"/>
                    </a:lnTo>
                    <a:lnTo>
                      <a:pt x="1620" y="480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 name="Gruppieren 4">
              <a:extLst>
                <a:ext uri="{FF2B5EF4-FFF2-40B4-BE49-F238E27FC236}">
                  <a16:creationId xmlns:a16="http://schemas.microsoft.com/office/drawing/2014/main" id="{3BA44445-B4F1-44FB-8302-8062AAEE1555}"/>
                </a:ext>
              </a:extLst>
            </p:cNvPr>
            <p:cNvGrpSpPr/>
            <p:nvPr/>
          </p:nvGrpSpPr>
          <p:grpSpPr bwMode="gray">
            <a:xfrm>
              <a:off x="3007189" y="3346861"/>
              <a:ext cx="2412800" cy="2865131"/>
              <a:chOff x="3308961" y="3058829"/>
              <a:chExt cx="2412800" cy="2865131"/>
            </a:xfrm>
            <a:grpFill/>
          </p:grpSpPr>
          <p:sp>
            <p:nvSpPr>
              <p:cNvPr id="7998" name="Freeform 377">
                <a:extLst>
                  <a:ext uri="{FF2B5EF4-FFF2-40B4-BE49-F238E27FC236}">
                    <a16:creationId xmlns:a16="http://schemas.microsoft.com/office/drawing/2014/main" id="{2E51DCBA-A431-4724-88A0-822C4B9D4CBF}"/>
                  </a:ext>
                </a:extLst>
              </p:cNvPr>
              <p:cNvSpPr>
                <a:spLocks/>
              </p:cNvSpPr>
              <p:nvPr/>
            </p:nvSpPr>
            <p:spPr bwMode="gray">
              <a:xfrm>
                <a:off x="4700407" y="3689166"/>
                <a:ext cx="6998" cy="6999"/>
              </a:xfrm>
              <a:custGeom>
                <a:avLst/>
                <a:gdLst>
                  <a:gd name="T0" fmla="*/ 17 w 17"/>
                  <a:gd name="T1" fmla="*/ 17 h 17"/>
                  <a:gd name="T2" fmla="*/ 0 w 17"/>
                  <a:gd name="T3" fmla="*/ 7 h 17"/>
                  <a:gd name="T4" fmla="*/ 0 w 17"/>
                  <a:gd name="T5" fmla="*/ 0 h 17"/>
                  <a:gd name="T6" fmla="*/ 17 w 17"/>
                  <a:gd name="T7" fmla="*/ 17 h 17"/>
                  <a:gd name="T8" fmla="*/ 17 w 17"/>
                  <a:gd name="T9" fmla="*/ 17 h 17"/>
                  <a:gd name="T10" fmla="*/ 17 w 17"/>
                  <a:gd name="T11" fmla="*/ 17 h 17"/>
                </a:gdLst>
                <a:ahLst/>
                <a:cxnLst>
                  <a:cxn ang="0">
                    <a:pos x="T0" y="T1"/>
                  </a:cxn>
                  <a:cxn ang="0">
                    <a:pos x="T2" y="T3"/>
                  </a:cxn>
                  <a:cxn ang="0">
                    <a:pos x="T4" y="T5"/>
                  </a:cxn>
                  <a:cxn ang="0">
                    <a:pos x="T6" y="T7"/>
                  </a:cxn>
                  <a:cxn ang="0">
                    <a:pos x="T8" y="T9"/>
                  </a:cxn>
                  <a:cxn ang="0">
                    <a:pos x="T10" y="T11"/>
                  </a:cxn>
                </a:cxnLst>
                <a:rect l="0" t="0" r="r" b="b"/>
                <a:pathLst>
                  <a:path w="17" h="17">
                    <a:moveTo>
                      <a:pt x="17" y="17"/>
                    </a:moveTo>
                    <a:lnTo>
                      <a:pt x="0" y="7"/>
                    </a:lnTo>
                    <a:lnTo>
                      <a:pt x="0" y="0"/>
                    </a:lnTo>
                    <a:lnTo>
                      <a:pt x="17" y="17"/>
                    </a:lnTo>
                    <a:lnTo>
                      <a:pt x="17" y="17"/>
                    </a:lnTo>
                    <a:lnTo>
                      <a:pt x="17"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99" name="Freeform 378">
                <a:extLst>
                  <a:ext uri="{FF2B5EF4-FFF2-40B4-BE49-F238E27FC236}">
                    <a16:creationId xmlns:a16="http://schemas.microsoft.com/office/drawing/2014/main" id="{3084FC8C-0030-4F5E-AAF7-67ED6087F36E}"/>
                  </a:ext>
                </a:extLst>
              </p:cNvPr>
              <p:cNvSpPr>
                <a:spLocks noEditPoints="1"/>
              </p:cNvSpPr>
              <p:nvPr/>
            </p:nvSpPr>
            <p:spPr bwMode="gray">
              <a:xfrm>
                <a:off x="4937941" y="3535595"/>
                <a:ext cx="6587" cy="23468"/>
              </a:xfrm>
              <a:custGeom>
                <a:avLst/>
                <a:gdLst>
                  <a:gd name="T0" fmla="*/ 16 w 16"/>
                  <a:gd name="T1" fmla="*/ 12 h 57"/>
                  <a:gd name="T2" fmla="*/ 9 w 16"/>
                  <a:gd name="T3" fmla="*/ 5 h 57"/>
                  <a:gd name="T4" fmla="*/ 9 w 16"/>
                  <a:gd name="T5" fmla="*/ 0 h 57"/>
                  <a:gd name="T6" fmla="*/ 16 w 16"/>
                  <a:gd name="T7" fmla="*/ 5 h 57"/>
                  <a:gd name="T8" fmla="*/ 16 w 16"/>
                  <a:gd name="T9" fmla="*/ 12 h 57"/>
                  <a:gd name="T10" fmla="*/ 16 w 16"/>
                  <a:gd name="T11" fmla="*/ 12 h 57"/>
                  <a:gd name="T12" fmla="*/ 16 w 16"/>
                  <a:gd name="T13" fmla="*/ 12 h 57"/>
                  <a:gd name="T14" fmla="*/ 16 w 16"/>
                  <a:gd name="T15" fmla="*/ 57 h 57"/>
                  <a:gd name="T16" fmla="*/ 0 w 16"/>
                  <a:gd name="T17" fmla="*/ 45 h 57"/>
                  <a:gd name="T18" fmla="*/ 9 w 16"/>
                  <a:gd name="T19" fmla="*/ 40 h 57"/>
                  <a:gd name="T20" fmla="*/ 16 w 16"/>
                  <a:gd name="T21" fmla="*/ 45 h 57"/>
                  <a:gd name="T22" fmla="*/ 16 w 16"/>
                  <a:gd name="T23" fmla="*/ 57 h 57"/>
                  <a:gd name="T24" fmla="*/ 16 w 16"/>
                  <a:gd name="T25" fmla="*/ 57 h 57"/>
                  <a:gd name="T26" fmla="*/ 16 w 16"/>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57">
                    <a:moveTo>
                      <a:pt x="16" y="12"/>
                    </a:moveTo>
                    <a:lnTo>
                      <a:pt x="9" y="5"/>
                    </a:lnTo>
                    <a:lnTo>
                      <a:pt x="9" y="0"/>
                    </a:lnTo>
                    <a:lnTo>
                      <a:pt x="16" y="5"/>
                    </a:lnTo>
                    <a:lnTo>
                      <a:pt x="16" y="12"/>
                    </a:lnTo>
                    <a:lnTo>
                      <a:pt x="16" y="12"/>
                    </a:lnTo>
                    <a:lnTo>
                      <a:pt x="16" y="12"/>
                    </a:lnTo>
                    <a:close/>
                    <a:moveTo>
                      <a:pt x="16" y="57"/>
                    </a:moveTo>
                    <a:lnTo>
                      <a:pt x="0" y="45"/>
                    </a:lnTo>
                    <a:lnTo>
                      <a:pt x="9" y="40"/>
                    </a:lnTo>
                    <a:lnTo>
                      <a:pt x="16" y="45"/>
                    </a:lnTo>
                    <a:lnTo>
                      <a:pt x="16" y="57"/>
                    </a:lnTo>
                    <a:lnTo>
                      <a:pt x="16" y="57"/>
                    </a:lnTo>
                    <a:lnTo>
                      <a:pt x="16" y="5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07" name="Freeform 387">
                <a:extLst>
                  <a:ext uri="{FF2B5EF4-FFF2-40B4-BE49-F238E27FC236}">
                    <a16:creationId xmlns:a16="http://schemas.microsoft.com/office/drawing/2014/main" id="{27C2058A-B67A-4173-9EF7-FA31579AB60E}"/>
                  </a:ext>
                </a:extLst>
              </p:cNvPr>
              <p:cNvSpPr>
                <a:spLocks noEditPoints="1"/>
              </p:cNvSpPr>
              <p:nvPr/>
            </p:nvSpPr>
            <p:spPr bwMode="gray">
              <a:xfrm>
                <a:off x="4601195" y="4722984"/>
                <a:ext cx="573045" cy="1164333"/>
              </a:xfrm>
              <a:custGeom>
                <a:avLst/>
                <a:gdLst>
                  <a:gd name="T0" fmla="*/ 508 w 1392"/>
                  <a:gd name="T1" fmla="*/ 21 h 2828"/>
                  <a:gd name="T2" fmla="*/ 652 w 1392"/>
                  <a:gd name="T3" fmla="*/ 54 h 2828"/>
                  <a:gd name="T4" fmla="*/ 870 w 1392"/>
                  <a:gd name="T5" fmla="*/ 132 h 2828"/>
                  <a:gd name="T6" fmla="*/ 1118 w 1392"/>
                  <a:gd name="T7" fmla="*/ 267 h 2828"/>
                  <a:gd name="T8" fmla="*/ 1080 w 1392"/>
                  <a:gd name="T9" fmla="*/ 333 h 2828"/>
                  <a:gd name="T10" fmla="*/ 1170 w 1392"/>
                  <a:gd name="T11" fmla="*/ 428 h 2828"/>
                  <a:gd name="T12" fmla="*/ 1245 w 1392"/>
                  <a:gd name="T13" fmla="*/ 428 h 2828"/>
                  <a:gd name="T14" fmla="*/ 1333 w 1392"/>
                  <a:gd name="T15" fmla="*/ 284 h 2828"/>
                  <a:gd name="T16" fmla="*/ 1392 w 1392"/>
                  <a:gd name="T17" fmla="*/ 350 h 2828"/>
                  <a:gd name="T18" fmla="*/ 1278 w 1392"/>
                  <a:gd name="T19" fmla="*/ 465 h 2828"/>
                  <a:gd name="T20" fmla="*/ 1208 w 1392"/>
                  <a:gd name="T21" fmla="*/ 539 h 2828"/>
                  <a:gd name="T22" fmla="*/ 1118 w 1392"/>
                  <a:gd name="T23" fmla="*/ 650 h 2828"/>
                  <a:gd name="T24" fmla="*/ 1094 w 1392"/>
                  <a:gd name="T25" fmla="*/ 754 h 2828"/>
                  <a:gd name="T26" fmla="*/ 1063 w 1392"/>
                  <a:gd name="T27" fmla="*/ 876 h 2828"/>
                  <a:gd name="T28" fmla="*/ 1059 w 1392"/>
                  <a:gd name="T29" fmla="*/ 997 h 2828"/>
                  <a:gd name="T30" fmla="*/ 1156 w 1392"/>
                  <a:gd name="T31" fmla="*/ 1141 h 2828"/>
                  <a:gd name="T32" fmla="*/ 1068 w 1392"/>
                  <a:gd name="T33" fmla="*/ 1321 h 2828"/>
                  <a:gd name="T34" fmla="*/ 787 w 1392"/>
                  <a:gd name="T35" fmla="*/ 1387 h 2828"/>
                  <a:gd name="T36" fmla="*/ 787 w 1392"/>
                  <a:gd name="T37" fmla="*/ 1465 h 2828"/>
                  <a:gd name="T38" fmla="*/ 740 w 1392"/>
                  <a:gd name="T39" fmla="*/ 1547 h 2828"/>
                  <a:gd name="T40" fmla="*/ 593 w 1392"/>
                  <a:gd name="T41" fmla="*/ 1547 h 2828"/>
                  <a:gd name="T42" fmla="*/ 638 w 1392"/>
                  <a:gd name="T43" fmla="*/ 1658 h 2828"/>
                  <a:gd name="T44" fmla="*/ 702 w 1392"/>
                  <a:gd name="T45" fmla="*/ 1668 h 2828"/>
                  <a:gd name="T46" fmla="*/ 600 w 1392"/>
                  <a:gd name="T47" fmla="*/ 1680 h 2828"/>
                  <a:gd name="T48" fmla="*/ 584 w 1392"/>
                  <a:gd name="T49" fmla="*/ 1791 h 2828"/>
                  <a:gd name="T50" fmla="*/ 563 w 1392"/>
                  <a:gd name="T51" fmla="*/ 1869 h 2828"/>
                  <a:gd name="T52" fmla="*/ 421 w 1392"/>
                  <a:gd name="T53" fmla="*/ 2013 h 2828"/>
                  <a:gd name="T54" fmla="*/ 518 w 1392"/>
                  <a:gd name="T55" fmla="*/ 2140 h 2828"/>
                  <a:gd name="T56" fmla="*/ 421 w 1392"/>
                  <a:gd name="T57" fmla="*/ 2251 h 2828"/>
                  <a:gd name="T58" fmla="*/ 369 w 1392"/>
                  <a:gd name="T59" fmla="*/ 2350 h 2828"/>
                  <a:gd name="T60" fmla="*/ 315 w 1392"/>
                  <a:gd name="T61" fmla="*/ 2391 h 2828"/>
                  <a:gd name="T62" fmla="*/ 324 w 1392"/>
                  <a:gd name="T63" fmla="*/ 2495 h 2828"/>
                  <a:gd name="T64" fmla="*/ 93 w 1392"/>
                  <a:gd name="T65" fmla="*/ 2502 h 2828"/>
                  <a:gd name="T66" fmla="*/ 60 w 1392"/>
                  <a:gd name="T67" fmla="*/ 2400 h 2828"/>
                  <a:gd name="T68" fmla="*/ 8 w 1392"/>
                  <a:gd name="T69" fmla="*/ 2322 h 2828"/>
                  <a:gd name="T70" fmla="*/ 38 w 1392"/>
                  <a:gd name="T71" fmla="*/ 2239 h 2828"/>
                  <a:gd name="T72" fmla="*/ 83 w 1392"/>
                  <a:gd name="T73" fmla="*/ 2112 h 2828"/>
                  <a:gd name="T74" fmla="*/ 130 w 1392"/>
                  <a:gd name="T75" fmla="*/ 1996 h 2828"/>
                  <a:gd name="T76" fmla="*/ 147 w 1392"/>
                  <a:gd name="T77" fmla="*/ 1923 h 2828"/>
                  <a:gd name="T78" fmla="*/ 180 w 1392"/>
                  <a:gd name="T79" fmla="*/ 1835 h 2828"/>
                  <a:gd name="T80" fmla="*/ 130 w 1392"/>
                  <a:gd name="T81" fmla="*/ 1769 h 2828"/>
                  <a:gd name="T82" fmla="*/ 97 w 1392"/>
                  <a:gd name="T83" fmla="*/ 1713 h 2828"/>
                  <a:gd name="T84" fmla="*/ 130 w 1392"/>
                  <a:gd name="T85" fmla="*/ 1625 h 2828"/>
                  <a:gd name="T86" fmla="*/ 130 w 1392"/>
                  <a:gd name="T87" fmla="*/ 1474 h 2828"/>
                  <a:gd name="T88" fmla="*/ 152 w 1392"/>
                  <a:gd name="T89" fmla="*/ 1354 h 2828"/>
                  <a:gd name="T90" fmla="*/ 180 w 1392"/>
                  <a:gd name="T91" fmla="*/ 1235 h 2828"/>
                  <a:gd name="T92" fmla="*/ 201 w 1392"/>
                  <a:gd name="T93" fmla="*/ 1132 h 2828"/>
                  <a:gd name="T94" fmla="*/ 244 w 1392"/>
                  <a:gd name="T95" fmla="*/ 976 h 2828"/>
                  <a:gd name="T96" fmla="*/ 244 w 1392"/>
                  <a:gd name="T97" fmla="*/ 888 h 2828"/>
                  <a:gd name="T98" fmla="*/ 239 w 1392"/>
                  <a:gd name="T99" fmla="*/ 782 h 2828"/>
                  <a:gd name="T100" fmla="*/ 239 w 1392"/>
                  <a:gd name="T101" fmla="*/ 666 h 2828"/>
                  <a:gd name="T102" fmla="*/ 308 w 1392"/>
                  <a:gd name="T103" fmla="*/ 477 h 2828"/>
                  <a:gd name="T104" fmla="*/ 362 w 1392"/>
                  <a:gd name="T105" fmla="*/ 333 h 2828"/>
                  <a:gd name="T106" fmla="*/ 438 w 1392"/>
                  <a:gd name="T107" fmla="*/ 165 h 2828"/>
                  <a:gd name="T108" fmla="*/ 799 w 1392"/>
                  <a:gd name="T109" fmla="*/ 1370 h 2828"/>
                  <a:gd name="T110" fmla="*/ 345 w 1392"/>
                  <a:gd name="T111" fmla="*/ 2589 h 2828"/>
                  <a:gd name="T112" fmla="*/ 378 w 1392"/>
                  <a:gd name="T113" fmla="*/ 2655 h 2828"/>
                  <a:gd name="T114" fmla="*/ 593 w 1392"/>
                  <a:gd name="T115" fmla="*/ 2790 h 2828"/>
                  <a:gd name="T116" fmla="*/ 345 w 1392"/>
                  <a:gd name="T117" fmla="*/ 2806 h 2828"/>
                  <a:gd name="T118" fmla="*/ 686 w 1392"/>
                  <a:gd name="T119" fmla="*/ 2794 h 2828"/>
                  <a:gd name="T120" fmla="*/ 345 w 1392"/>
                  <a:gd name="T121" fmla="*/ 2811 h 2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92" h="2828">
                    <a:moveTo>
                      <a:pt x="449" y="78"/>
                    </a:moveTo>
                    <a:lnTo>
                      <a:pt x="466" y="61"/>
                    </a:lnTo>
                    <a:lnTo>
                      <a:pt x="466" y="54"/>
                    </a:lnTo>
                    <a:lnTo>
                      <a:pt x="475" y="45"/>
                    </a:lnTo>
                    <a:lnTo>
                      <a:pt x="475" y="33"/>
                    </a:lnTo>
                    <a:lnTo>
                      <a:pt x="508" y="21"/>
                    </a:lnTo>
                    <a:lnTo>
                      <a:pt x="518" y="0"/>
                    </a:lnTo>
                    <a:lnTo>
                      <a:pt x="546" y="21"/>
                    </a:lnTo>
                    <a:lnTo>
                      <a:pt x="600" y="21"/>
                    </a:lnTo>
                    <a:lnTo>
                      <a:pt x="631" y="33"/>
                    </a:lnTo>
                    <a:lnTo>
                      <a:pt x="648" y="78"/>
                    </a:lnTo>
                    <a:lnTo>
                      <a:pt x="652" y="54"/>
                    </a:lnTo>
                    <a:lnTo>
                      <a:pt x="681" y="17"/>
                    </a:lnTo>
                    <a:lnTo>
                      <a:pt x="756" y="17"/>
                    </a:lnTo>
                    <a:lnTo>
                      <a:pt x="761" y="33"/>
                    </a:lnTo>
                    <a:lnTo>
                      <a:pt x="794" y="54"/>
                    </a:lnTo>
                    <a:lnTo>
                      <a:pt x="811" y="95"/>
                    </a:lnTo>
                    <a:lnTo>
                      <a:pt x="870" y="132"/>
                    </a:lnTo>
                    <a:lnTo>
                      <a:pt x="879" y="149"/>
                    </a:lnTo>
                    <a:lnTo>
                      <a:pt x="934" y="165"/>
                    </a:lnTo>
                    <a:lnTo>
                      <a:pt x="950" y="165"/>
                    </a:lnTo>
                    <a:lnTo>
                      <a:pt x="1030" y="227"/>
                    </a:lnTo>
                    <a:lnTo>
                      <a:pt x="1101" y="255"/>
                    </a:lnTo>
                    <a:lnTo>
                      <a:pt x="1118" y="267"/>
                    </a:lnTo>
                    <a:lnTo>
                      <a:pt x="1123" y="276"/>
                    </a:lnTo>
                    <a:lnTo>
                      <a:pt x="1123" y="284"/>
                    </a:lnTo>
                    <a:lnTo>
                      <a:pt x="1101" y="300"/>
                    </a:lnTo>
                    <a:lnTo>
                      <a:pt x="1101" y="317"/>
                    </a:lnTo>
                    <a:lnTo>
                      <a:pt x="1101" y="317"/>
                    </a:lnTo>
                    <a:lnTo>
                      <a:pt x="1080" y="333"/>
                    </a:lnTo>
                    <a:lnTo>
                      <a:pt x="1080" y="371"/>
                    </a:lnTo>
                    <a:lnTo>
                      <a:pt x="1047" y="411"/>
                    </a:lnTo>
                    <a:lnTo>
                      <a:pt x="1047" y="421"/>
                    </a:lnTo>
                    <a:lnTo>
                      <a:pt x="1111" y="421"/>
                    </a:lnTo>
                    <a:lnTo>
                      <a:pt x="1156" y="432"/>
                    </a:lnTo>
                    <a:lnTo>
                      <a:pt x="1170" y="428"/>
                    </a:lnTo>
                    <a:lnTo>
                      <a:pt x="1177" y="432"/>
                    </a:lnTo>
                    <a:lnTo>
                      <a:pt x="1193" y="432"/>
                    </a:lnTo>
                    <a:lnTo>
                      <a:pt x="1203" y="444"/>
                    </a:lnTo>
                    <a:lnTo>
                      <a:pt x="1224" y="421"/>
                    </a:lnTo>
                    <a:lnTo>
                      <a:pt x="1241" y="421"/>
                    </a:lnTo>
                    <a:lnTo>
                      <a:pt x="1245" y="428"/>
                    </a:lnTo>
                    <a:lnTo>
                      <a:pt x="1262" y="421"/>
                    </a:lnTo>
                    <a:lnTo>
                      <a:pt x="1262" y="404"/>
                    </a:lnTo>
                    <a:lnTo>
                      <a:pt x="1274" y="395"/>
                    </a:lnTo>
                    <a:lnTo>
                      <a:pt x="1300" y="378"/>
                    </a:lnTo>
                    <a:lnTo>
                      <a:pt x="1328" y="354"/>
                    </a:lnTo>
                    <a:lnTo>
                      <a:pt x="1333" y="284"/>
                    </a:lnTo>
                    <a:lnTo>
                      <a:pt x="1337" y="293"/>
                    </a:lnTo>
                    <a:lnTo>
                      <a:pt x="1366" y="276"/>
                    </a:lnTo>
                    <a:lnTo>
                      <a:pt x="1380" y="293"/>
                    </a:lnTo>
                    <a:lnTo>
                      <a:pt x="1387" y="317"/>
                    </a:lnTo>
                    <a:lnTo>
                      <a:pt x="1392" y="338"/>
                    </a:lnTo>
                    <a:lnTo>
                      <a:pt x="1392" y="350"/>
                    </a:lnTo>
                    <a:lnTo>
                      <a:pt x="1392" y="387"/>
                    </a:lnTo>
                    <a:lnTo>
                      <a:pt x="1387" y="404"/>
                    </a:lnTo>
                    <a:lnTo>
                      <a:pt x="1349" y="428"/>
                    </a:lnTo>
                    <a:lnTo>
                      <a:pt x="1316" y="432"/>
                    </a:lnTo>
                    <a:lnTo>
                      <a:pt x="1300" y="461"/>
                    </a:lnTo>
                    <a:lnTo>
                      <a:pt x="1278" y="465"/>
                    </a:lnTo>
                    <a:lnTo>
                      <a:pt x="1274" y="482"/>
                    </a:lnTo>
                    <a:lnTo>
                      <a:pt x="1245" y="489"/>
                    </a:lnTo>
                    <a:lnTo>
                      <a:pt x="1257" y="498"/>
                    </a:lnTo>
                    <a:lnTo>
                      <a:pt x="1257" y="506"/>
                    </a:lnTo>
                    <a:lnTo>
                      <a:pt x="1241" y="506"/>
                    </a:lnTo>
                    <a:lnTo>
                      <a:pt x="1208" y="539"/>
                    </a:lnTo>
                    <a:lnTo>
                      <a:pt x="1203" y="560"/>
                    </a:lnTo>
                    <a:lnTo>
                      <a:pt x="1186" y="560"/>
                    </a:lnTo>
                    <a:lnTo>
                      <a:pt x="1156" y="610"/>
                    </a:lnTo>
                    <a:lnTo>
                      <a:pt x="1139" y="614"/>
                    </a:lnTo>
                    <a:lnTo>
                      <a:pt x="1139" y="633"/>
                    </a:lnTo>
                    <a:lnTo>
                      <a:pt x="1118" y="650"/>
                    </a:lnTo>
                    <a:lnTo>
                      <a:pt x="1118" y="654"/>
                    </a:lnTo>
                    <a:lnTo>
                      <a:pt x="1101" y="671"/>
                    </a:lnTo>
                    <a:lnTo>
                      <a:pt x="1111" y="699"/>
                    </a:lnTo>
                    <a:lnTo>
                      <a:pt x="1094" y="725"/>
                    </a:lnTo>
                    <a:lnTo>
                      <a:pt x="1085" y="742"/>
                    </a:lnTo>
                    <a:lnTo>
                      <a:pt x="1094" y="754"/>
                    </a:lnTo>
                    <a:lnTo>
                      <a:pt x="1085" y="765"/>
                    </a:lnTo>
                    <a:lnTo>
                      <a:pt x="1080" y="782"/>
                    </a:lnTo>
                    <a:lnTo>
                      <a:pt x="1085" y="815"/>
                    </a:lnTo>
                    <a:lnTo>
                      <a:pt x="1080" y="820"/>
                    </a:lnTo>
                    <a:lnTo>
                      <a:pt x="1080" y="869"/>
                    </a:lnTo>
                    <a:lnTo>
                      <a:pt x="1063" y="876"/>
                    </a:lnTo>
                    <a:lnTo>
                      <a:pt x="1059" y="910"/>
                    </a:lnTo>
                    <a:lnTo>
                      <a:pt x="1059" y="926"/>
                    </a:lnTo>
                    <a:lnTo>
                      <a:pt x="1063" y="959"/>
                    </a:lnTo>
                    <a:lnTo>
                      <a:pt x="1063" y="964"/>
                    </a:lnTo>
                    <a:lnTo>
                      <a:pt x="1059" y="976"/>
                    </a:lnTo>
                    <a:lnTo>
                      <a:pt x="1059" y="997"/>
                    </a:lnTo>
                    <a:lnTo>
                      <a:pt x="1123" y="1037"/>
                    </a:lnTo>
                    <a:lnTo>
                      <a:pt x="1149" y="1058"/>
                    </a:lnTo>
                    <a:lnTo>
                      <a:pt x="1156" y="1070"/>
                    </a:lnTo>
                    <a:lnTo>
                      <a:pt x="1132" y="1091"/>
                    </a:lnTo>
                    <a:lnTo>
                      <a:pt x="1132" y="1108"/>
                    </a:lnTo>
                    <a:lnTo>
                      <a:pt x="1156" y="1141"/>
                    </a:lnTo>
                    <a:lnTo>
                      <a:pt x="1165" y="1141"/>
                    </a:lnTo>
                    <a:lnTo>
                      <a:pt x="1177" y="1141"/>
                    </a:lnTo>
                    <a:lnTo>
                      <a:pt x="1186" y="1186"/>
                    </a:lnTo>
                    <a:lnTo>
                      <a:pt x="1123" y="1264"/>
                    </a:lnTo>
                    <a:lnTo>
                      <a:pt x="1123" y="1292"/>
                    </a:lnTo>
                    <a:lnTo>
                      <a:pt x="1068" y="1321"/>
                    </a:lnTo>
                    <a:lnTo>
                      <a:pt x="960" y="1347"/>
                    </a:lnTo>
                    <a:lnTo>
                      <a:pt x="879" y="1363"/>
                    </a:lnTo>
                    <a:lnTo>
                      <a:pt x="825" y="1363"/>
                    </a:lnTo>
                    <a:lnTo>
                      <a:pt x="787" y="1347"/>
                    </a:lnTo>
                    <a:lnTo>
                      <a:pt x="794" y="1363"/>
                    </a:lnTo>
                    <a:lnTo>
                      <a:pt x="787" y="1387"/>
                    </a:lnTo>
                    <a:lnTo>
                      <a:pt x="811" y="1391"/>
                    </a:lnTo>
                    <a:lnTo>
                      <a:pt x="794" y="1391"/>
                    </a:lnTo>
                    <a:lnTo>
                      <a:pt x="811" y="1408"/>
                    </a:lnTo>
                    <a:lnTo>
                      <a:pt x="799" y="1432"/>
                    </a:lnTo>
                    <a:lnTo>
                      <a:pt x="794" y="1432"/>
                    </a:lnTo>
                    <a:lnTo>
                      <a:pt x="787" y="1465"/>
                    </a:lnTo>
                    <a:lnTo>
                      <a:pt x="778" y="1474"/>
                    </a:lnTo>
                    <a:lnTo>
                      <a:pt x="794" y="1498"/>
                    </a:lnTo>
                    <a:lnTo>
                      <a:pt x="787" y="1502"/>
                    </a:lnTo>
                    <a:lnTo>
                      <a:pt x="799" y="1502"/>
                    </a:lnTo>
                    <a:lnTo>
                      <a:pt x="787" y="1531"/>
                    </a:lnTo>
                    <a:lnTo>
                      <a:pt x="740" y="1547"/>
                    </a:lnTo>
                    <a:lnTo>
                      <a:pt x="686" y="1547"/>
                    </a:lnTo>
                    <a:lnTo>
                      <a:pt x="626" y="1519"/>
                    </a:lnTo>
                    <a:lnTo>
                      <a:pt x="615" y="1514"/>
                    </a:lnTo>
                    <a:lnTo>
                      <a:pt x="600" y="1514"/>
                    </a:lnTo>
                    <a:lnTo>
                      <a:pt x="593" y="1519"/>
                    </a:lnTo>
                    <a:lnTo>
                      <a:pt x="593" y="1547"/>
                    </a:lnTo>
                    <a:lnTo>
                      <a:pt x="600" y="1576"/>
                    </a:lnTo>
                    <a:lnTo>
                      <a:pt x="593" y="1613"/>
                    </a:lnTo>
                    <a:lnTo>
                      <a:pt x="600" y="1625"/>
                    </a:lnTo>
                    <a:lnTo>
                      <a:pt x="638" y="1642"/>
                    </a:lnTo>
                    <a:lnTo>
                      <a:pt x="631" y="1658"/>
                    </a:lnTo>
                    <a:lnTo>
                      <a:pt x="638" y="1658"/>
                    </a:lnTo>
                    <a:lnTo>
                      <a:pt x="664" y="1658"/>
                    </a:lnTo>
                    <a:lnTo>
                      <a:pt x="669" y="1642"/>
                    </a:lnTo>
                    <a:lnTo>
                      <a:pt x="648" y="1642"/>
                    </a:lnTo>
                    <a:lnTo>
                      <a:pt x="686" y="1625"/>
                    </a:lnTo>
                    <a:lnTo>
                      <a:pt x="702" y="1646"/>
                    </a:lnTo>
                    <a:lnTo>
                      <a:pt x="702" y="1668"/>
                    </a:lnTo>
                    <a:lnTo>
                      <a:pt x="690" y="1687"/>
                    </a:lnTo>
                    <a:lnTo>
                      <a:pt x="664" y="1696"/>
                    </a:lnTo>
                    <a:lnTo>
                      <a:pt x="652" y="1687"/>
                    </a:lnTo>
                    <a:lnTo>
                      <a:pt x="652" y="1668"/>
                    </a:lnTo>
                    <a:lnTo>
                      <a:pt x="648" y="1663"/>
                    </a:lnTo>
                    <a:lnTo>
                      <a:pt x="600" y="1680"/>
                    </a:lnTo>
                    <a:lnTo>
                      <a:pt x="600" y="1687"/>
                    </a:lnTo>
                    <a:lnTo>
                      <a:pt x="652" y="1703"/>
                    </a:lnTo>
                    <a:lnTo>
                      <a:pt x="610" y="1724"/>
                    </a:lnTo>
                    <a:lnTo>
                      <a:pt x="577" y="1769"/>
                    </a:lnTo>
                    <a:lnTo>
                      <a:pt x="577" y="1774"/>
                    </a:lnTo>
                    <a:lnTo>
                      <a:pt x="584" y="1791"/>
                    </a:lnTo>
                    <a:lnTo>
                      <a:pt x="577" y="1814"/>
                    </a:lnTo>
                    <a:lnTo>
                      <a:pt x="584" y="1824"/>
                    </a:lnTo>
                    <a:lnTo>
                      <a:pt x="577" y="1835"/>
                    </a:lnTo>
                    <a:lnTo>
                      <a:pt x="556" y="1852"/>
                    </a:lnTo>
                    <a:lnTo>
                      <a:pt x="556" y="1869"/>
                    </a:lnTo>
                    <a:lnTo>
                      <a:pt x="563" y="1869"/>
                    </a:lnTo>
                    <a:lnTo>
                      <a:pt x="563" y="1885"/>
                    </a:lnTo>
                    <a:lnTo>
                      <a:pt x="518" y="1880"/>
                    </a:lnTo>
                    <a:lnTo>
                      <a:pt x="466" y="1902"/>
                    </a:lnTo>
                    <a:lnTo>
                      <a:pt x="421" y="1975"/>
                    </a:lnTo>
                    <a:lnTo>
                      <a:pt x="416" y="1991"/>
                    </a:lnTo>
                    <a:lnTo>
                      <a:pt x="421" y="2013"/>
                    </a:lnTo>
                    <a:lnTo>
                      <a:pt x="475" y="2058"/>
                    </a:lnTo>
                    <a:lnTo>
                      <a:pt x="530" y="2069"/>
                    </a:lnTo>
                    <a:lnTo>
                      <a:pt x="546" y="2074"/>
                    </a:lnTo>
                    <a:lnTo>
                      <a:pt x="546" y="2107"/>
                    </a:lnTo>
                    <a:lnTo>
                      <a:pt x="541" y="2128"/>
                    </a:lnTo>
                    <a:lnTo>
                      <a:pt x="518" y="2140"/>
                    </a:lnTo>
                    <a:lnTo>
                      <a:pt x="530" y="2128"/>
                    </a:lnTo>
                    <a:lnTo>
                      <a:pt x="546" y="2145"/>
                    </a:lnTo>
                    <a:lnTo>
                      <a:pt x="530" y="2145"/>
                    </a:lnTo>
                    <a:lnTo>
                      <a:pt x="530" y="2161"/>
                    </a:lnTo>
                    <a:lnTo>
                      <a:pt x="454" y="2213"/>
                    </a:lnTo>
                    <a:lnTo>
                      <a:pt x="421" y="2251"/>
                    </a:lnTo>
                    <a:lnTo>
                      <a:pt x="416" y="2268"/>
                    </a:lnTo>
                    <a:lnTo>
                      <a:pt x="400" y="2280"/>
                    </a:lnTo>
                    <a:lnTo>
                      <a:pt x="416" y="2272"/>
                    </a:lnTo>
                    <a:lnTo>
                      <a:pt x="412" y="2329"/>
                    </a:lnTo>
                    <a:lnTo>
                      <a:pt x="400" y="2334"/>
                    </a:lnTo>
                    <a:lnTo>
                      <a:pt x="369" y="2350"/>
                    </a:lnTo>
                    <a:lnTo>
                      <a:pt x="345" y="2329"/>
                    </a:lnTo>
                    <a:lnTo>
                      <a:pt x="324" y="2334"/>
                    </a:lnTo>
                    <a:lnTo>
                      <a:pt x="345" y="2334"/>
                    </a:lnTo>
                    <a:lnTo>
                      <a:pt x="362" y="2350"/>
                    </a:lnTo>
                    <a:lnTo>
                      <a:pt x="324" y="2379"/>
                    </a:lnTo>
                    <a:lnTo>
                      <a:pt x="315" y="2391"/>
                    </a:lnTo>
                    <a:lnTo>
                      <a:pt x="308" y="2424"/>
                    </a:lnTo>
                    <a:lnTo>
                      <a:pt x="293" y="2440"/>
                    </a:lnTo>
                    <a:lnTo>
                      <a:pt x="308" y="2433"/>
                    </a:lnTo>
                    <a:lnTo>
                      <a:pt x="324" y="2490"/>
                    </a:lnTo>
                    <a:lnTo>
                      <a:pt x="277" y="2495"/>
                    </a:lnTo>
                    <a:lnTo>
                      <a:pt x="324" y="2495"/>
                    </a:lnTo>
                    <a:lnTo>
                      <a:pt x="362" y="2556"/>
                    </a:lnTo>
                    <a:lnTo>
                      <a:pt x="362" y="2568"/>
                    </a:lnTo>
                    <a:lnTo>
                      <a:pt x="256" y="2528"/>
                    </a:lnTo>
                    <a:lnTo>
                      <a:pt x="114" y="2528"/>
                    </a:lnTo>
                    <a:lnTo>
                      <a:pt x="114" y="2518"/>
                    </a:lnTo>
                    <a:lnTo>
                      <a:pt x="93" y="2502"/>
                    </a:lnTo>
                    <a:lnTo>
                      <a:pt x="83" y="2478"/>
                    </a:lnTo>
                    <a:lnTo>
                      <a:pt x="93" y="2457"/>
                    </a:lnTo>
                    <a:lnTo>
                      <a:pt x="83" y="2445"/>
                    </a:lnTo>
                    <a:lnTo>
                      <a:pt x="93" y="2433"/>
                    </a:lnTo>
                    <a:lnTo>
                      <a:pt x="93" y="2400"/>
                    </a:lnTo>
                    <a:lnTo>
                      <a:pt x="60" y="2400"/>
                    </a:lnTo>
                    <a:lnTo>
                      <a:pt x="29" y="2407"/>
                    </a:lnTo>
                    <a:lnTo>
                      <a:pt x="22" y="2367"/>
                    </a:lnTo>
                    <a:lnTo>
                      <a:pt x="8" y="2350"/>
                    </a:lnTo>
                    <a:lnTo>
                      <a:pt x="8" y="2334"/>
                    </a:lnTo>
                    <a:lnTo>
                      <a:pt x="0" y="2329"/>
                    </a:lnTo>
                    <a:lnTo>
                      <a:pt x="8" y="2322"/>
                    </a:lnTo>
                    <a:lnTo>
                      <a:pt x="0" y="2296"/>
                    </a:lnTo>
                    <a:lnTo>
                      <a:pt x="8" y="2272"/>
                    </a:lnTo>
                    <a:lnTo>
                      <a:pt x="29" y="2272"/>
                    </a:lnTo>
                    <a:lnTo>
                      <a:pt x="38" y="2272"/>
                    </a:lnTo>
                    <a:lnTo>
                      <a:pt x="29" y="2268"/>
                    </a:lnTo>
                    <a:lnTo>
                      <a:pt x="38" y="2239"/>
                    </a:lnTo>
                    <a:lnTo>
                      <a:pt x="71" y="2223"/>
                    </a:lnTo>
                    <a:lnTo>
                      <a:pt x="71" y="2197"/>
                    </a:lnTo>
                    <a:lnTo>
                      <a:pt x="93" y="2185"/>
                    </a:lnTo>
                    <a:lnTo>
                      <a:pt x="83" y="2161"/>
                    </a:lnTo>
                    <a:lnTo>
                      <a:pt x="76" y="2145"/>
                    </a:lnTo>
                    <a:lnTo>
                      <a:pt x="83" y="2112"/>
                    </a:lnTo>
                    <a:lnTo>
                      <a:pt x="83" y="2107"/>
                    </a:lnTo>
                    <a:lnTo>
                      <a:pt x="126" y="2086"/>
                    </a:lnTo>
                    <a:lnTo>
                      <a:pt x="114" y="2069"/>
                    </a:lnTo>
                    <a:lnTo>
                      <a:pt x="114" y="2046"/>
                    </a:lnTo>
                    <a:lnTo>
                      <a:pt x="130" y="2034"/>
                    </a:lnTo>
                    <a:lnTo>
                      <a:pt x="130" y="1996"/>
                    </a:lnTo>
                    <a:lnTo>
                      <a:pt x="114" y="1991"/>
                    </a:lnTo>
                    <a:lnTo>
                      <a:pt x="135" y="1975"/>
                    </a:lnTo>
                    <a:lnTo>
                      <a:pt x="130" y="1958"/>
                    </a:lnTo>
                    <a:lnTo>
                      <a:pt x="126" y="1942"/>
                    </a:lnTo>
                    <a:lnTo>
                      <a:pt x="130" y="1935"/>
                    </a:lnTo>
                    <a:lnTo>
                      <a:pt x="147" y="1923"/>
                    </a:lnTo>
                    <a:lnTo>
                      <a:pt x="163" y="1906"/>
                    </a:lnTo>
                    <a:lnTo>
                      <a:pt x="135" y="1880"/>
                    </a:lnTo>
                    <a:lnTo>
                      <a:pt x="109" y="1880"/>
                    </a:lnTo>
                    <a:lnTo>
                      <a:pt x="109" y="1864"/>
                    </a:lnTo>
                    <a:lnTo>
                      <a:pt x="163" y="1864"/>
                    </a:lnTo>
                    <a:lnTo>
                      <a:pt x="180" y="1835"/>
                    </a:lnTo>
                    <a:lnTo>
                      <a:pt x="168" y="1831"/>
                    </a:lnTo>
                    <a:lnTo>
                      <a:pt x="126" y="1831"/>
                    </a:lnTo>
                    <a:lnTo>
                      <a:pt x="126" y="1807"/>
                    </a:lnTo>
                    <a:lnTo>
                      <a:pt x="135" y="1791"/>
                    </a:lnTo>
                    <a:lnTo>
                      <a:pt x="126" y="1774"/>
                    </a:lnTo>
                    <a:lnTo>
                      <a:pt x="130" y="1769"/>
                    </a:lnTo>
                    <a:lnTo>
                      <a:pt x="130" y="1758"/>
                    </a:lnTo>
                    <a:lnTo>
                      <a:pt x="114" y="1741"/>
                    </a:lnTo>
                    <a:lnTo>
                      <a:pt x="114" y="1736"/>
                    </a:lnTo>
                    <a:lnTo>
                      <a:pt x="130" y="1736"/>
                    </a:lnTo>
                    <a:lnTo>
                      <a:pt x="130" y="1720"/>
                    </a:lnTo>
                    <a:lnTo>
                      <a:pt x="97" y="1713"/>
                    </a:lnTo>
                    <a:lnTo>
                      <a:pt x="97" y="1668"/>
                    </a:lnTo>
                    <a:lnTo>
                      <a:pt x="109" y="1646"/>
                    </a:lnTo>
                    <a:lnTo>
                      <a:pt x="97" y="1646"/>
                    </a:lnTo>
                    <a:lnTo>
                      <a:pt x="109" y="1630"/>
                    </a:lnTo>
                    <a:lnTo>
                      <a:pt x="114" y="1630"/>
                    </a:lnTo>
                    <a:lnTo>
                      <a:pt x="130" y="1625"/>
                    </a:lnTo>
                    <a:lnTo>
                      <a:pt x="114" y="1592"/>
                    </a:lnTo>
                    <a:lnTo>
                      <a:pt x="126" y="1585"/>
                    </a:lnTo>
                    <a:lnTo>
                      <a:pt x="126" y="1531"/>
                    </a:lnTo>
                    <a:lnTo>
                      <a:pt x="114" y="1514"/>
                    </a:lnTo>
                    <a:lnTo>
                      <a:pt x="126" y="1481"/>
                    </a:lnTo>
                    <a:lnTo>
                      <a:pt x="130" y="1474"/>
                    </a:lnTo>
                    <a:lnTo>
                      <a:pt x="126" y="1465"/>
                    </a:lnTo>
                    <a:lnTo>
                      <a:pt x="135" y="1441"/>
                    </a:lnTo>
                    <a:lnTo>
                      <a:pt x="130" y="1408"/>
                    </a:lnTo>
                    <a:lnTo>
                      <a:pt x="147" y="1420"/>
                    </a:lnTo>
                    <a:lnTo>
                      <a:pt x="152" y="1387"/>
                    </a:lnTo>
                    <a:lnTo>
                      <a:pt x="152" y="1354"/>
                    </a:lnTo>
                    <a:lnTo>
                      <a:pt x="185" y="1337"/>
                    </a:lnTo>
                    <a:lnTo>
                      <a:pt x="189" y="1330"/>
                    </a:lnTo>
                    <a:lnTo>
                      <a:pt x="185" y="1313"/>
                    </a:lnTo>
                    <a:lnTo>
                      <a:pt x="185" y="1280"/>
                    </a:lnTo>
                    <a:lnTo>
                      <a:pt x="168" y="1252"/>
                    </a:lnTo>
                    <a:lnTo>
                      <a:pt x="180" y="1235"/>
                    </a:lnTo>
                    <a:lnTo>
                      <a:pt x="168" y="1219"/>
                    </a:lnTo>
                    <a:lnTo>
                      <a:pt x="180" y="1202"/>
                    </a:lnTo>
                    <a:lnTo>
                      <a:pt x="168" y="1181"/>
                    </a:lnTo>
                    <a:lnTo>
                      <a:pt x="180" y="1153"/>
                    </a:lnTo>
                    <a:lnTo>
                      <a:pt x="201" y="1148"/>
                    </a:lnTo>
                    <a:lnTo>
                      <a:pt x="201" y="1132"/>
                    </a:lnTo>
                    <a:lnTo>
                      <a:pt x="223" y="1124"/>
                    </a:lnTo>
                    <a:lnTo>
                      <a:pt x="232" y="1098"/>
                    </a:lnTo>
                    <a:lnTo>
                      <a:pt x="223" y="1058"/>
                    </a:lnTo>
                    <a:lnTo>
                      <a:pt x="206" y="1054"/>
                    </a:lnTo>
                    <a:lnTo>
                      <a:pt x="223" y="1042"/>
                    </a:lnTo>
                    <a:lnTo>
                      <a:pt x="244" y="976"/>
                    </a:lnTo>
                    <a:lnTo>
                      <a:pt x="260" y="964"/>
                    </a:lnTo>
                    <a:lnTo>
                      <a:pt x="256" y="931"/>
                    </a:lnTo>
                    <a:lnTo>
                      <a:pt x="270" y="905"/>
                    </a:lnTo>
                    <a:lnTo>
                      <a:pt x="260" y="893"/>
                    </a:lnTo>
                    <a:lnTo>
                      <a:pt x="256" y="893"/>
                    </a:lnTo>
                    <a:lnTo>
                      <a:pt x="244" y="888"/>
                    </a:lnTo>
                    <a:lnTo>
                      <a:pt x="256" y="865"/>
                    </a:lnTo>
                    <a:lnTo>
                      <a:pt x="239" y="848"/>
                    </a:lnTo>
                    <a:lnTo>
                      <a:pt x="239" y="832"/>
                    </a:lnTo>
                    <a:lnTo>
                      <a:pt x="232" y="810"/>
                    </a:lnTo>
                    <a:lnTo>
                      <a:pt x="223" y="798"/>
                    </a:lnTo>
                    <a:lnTo>
                      <a:pt x="239" y="782"/>
                    </a:lnTo>
                    <a:lnTo>
                      <a:pt x="223" y="777"/>
                    </a:lnTo>
                    <a:lnTo>
                      <a:pt x="206" y="754"/>
                    </a:lnTo>
                    <a:lnTo>
                      <a:pt x="218" y="725"/>
                    </a:lnTo>
                    <a:lnTo>
                      <a:pt x="232" y="709"/>
                    </a:lnTo>
                    <a:lnTo>
                      <a:pt x="232" y="699"/>
                    </a:lnTo>
                    <a:lnTo>
                      <a:pt x="239" y="666"/>
                    </a:lnTo>
                    <a:lnTo>
                      <a:pt x="256" y="654"/>
                    </a:lnTo>
                    <a:lnTo>
                      <a:pt x="260" y="650"/>
                    </a:lnTo>
                    <a:lnTo>
                      <a:pt x="244" y="576"/>
                    </a:lnTo>
                    <a:lnTo>
                      <a:pt x="270" y="560"/>
                    </a:lnTo>
                    <a:lnTo>
                      <a:pt x="277" y="506"/>
                    </a:lnTo>
                    <a:lnTo>
                      <a:pt x="308" y="477"/>
                    </a:lnTo>
                    <a:lnTo>
                      <a:pt x="331" y="404"/>
                    </a:lnTo>
                    <a:lnTo>
                      <a:pt x="362" y="404"/>
                    </a:lnTo>
                    <a:lnTo>
                      <a:pt x="369" y="387"/>
                    </a:lnTo>
                    <a:lnTo>
                      <a:pt x="345" y="354"/>
                    </a:lnTo>
                    <a:lnTo>
                      <a:pt x="352" y="338"/>
                    </a:lnTo>
                    <a:lnTo>
                      <a:pt x="362" y="333"/>
                    </a:lnTo>
                    <a:lnTo>
                      <a:pt x="345" y="276"/>
                    </a:lnTo>
                    <a:lnTo>
                      <a:pt x="352" y="255"/>
                    </a:lnTo>
                    <a:lnTo>
                      <a:pt x="369" y="255"/>
                    </a:lnTo>
                    <a:lnTo>
                      <a:pt x="352" y="222"/>
                    </a:lnTo>
                    <a:lnTo>
                      <a:pt x="369" y="199"/>
                    </a:lnTo>
                    <a:lnTo>
                      <a:pt x="438" y="165"/>
                    </a:lnTo>
                    <a:lnTo>
                      <a:pt x="466" y="87"/>
                    </a:lnTo>
                    <a:lnTo>
                      <a:pt x="449" y="78"/>
                    </a:lnTo>
                    <a:lnTo>
                      <a:pt x="449" y="78"/>
                    </a:lnTo>
                    <a:lnTo>
                      <a:pt x="449" y="78"/>
                    </a:lnTo>
                    <a:close/>
                    <a:moveTo>
                      <a:pt x="815" y="1387"/>
                    </a:moveTo>
                    <a:lnTo>
                      <a:pt x="799" y="1370"/>
                    </a:lnTo>
                    <a:lnTo>
                      <a:pt x="815" y="1375"/>
                    </a:lnTo>
                    <a:lnTo>
                      <a:pt x="815" y="1387"/>
                    </a:lnTo>
                    <a:lnTo>
                      <a:pt x="815" y="1387"/>
                    </a:lnTo>
                    <a:lnTo>
                      <a:pt x="815" y="1387"/>
                    </a:lnTo>
                    <a:close/>
                    <a:moveTo>
                      <a:pt x="345" y="2806"/>
                    </a:moveTo>
                    <a:lnTo>
                      <a:pt x="345" y="2589"/>
                    </a:lnTo>
                    <a:lnTo>
                      <a:pt x="369" y="2622"/>
                    </a:lnTo>
                    <a:lnTo>
                      <a:pt x="378" y="2639"/>
                    </a:lnTo>
                    <a:lnTo>
                      <a:pt x="362" y="2629"/>
                    </a:lnTo>
                    <a:lnTo>
                      <a:pt x="352" y="2639"/>
                    </a:lnTo>
                    <a:lnTo>
                      <a:pt x="352" y="2646"/>
                    </a:lnTo>
                    <a:lnTo>
                      <a:pt x="378" y="2655"/>
                    </a:lnTo>
                    <a:lnTo>
                      <a:pt x="395" y="2683"/>
                    </a:lnTo>
                    <a:lnTo>
                      <a:pt x="421" y="2712"/>
                    </a:lnTo>
                    <a:lnTo>
                      <a:pt x="421" y="2717"/>
                    </a:lnTo>
                    <a:lnTo>
                      <a:pt x="518" y="2778"/>
                    </a:lnTo>
                    <a:lnTo>
                      <a:pt x="556" y="2790"/>
                    </a:lnTo>
                    <a:lnTo>
                      <a:pt x="593" y="2790"/>
                    </a:lnTo>
                    <a:lnTo>
                      <a:pt x="577" y="2823"/>
                    </a:lnTo>
                    <a:lnTo>
                      <a:pt x="541" y="2811"/>
                    </a:lnTo>
                    <a:lnTo>
                      <a:pt x="504" y="2828"/>
                    </a:lnTo>
                    <a:lnTo>
                      <a:pt x="466" y="2811"/>
                    </a:lnTo>
                    <a:lnTo>
                      <a:pt x="352" y="2811"/>
                    </a:lnTo>
                    <a:lnTo>
                      <a:pt x="345" y="2806"/>
                    </a:lnTo>
                    <a:lnTo>
                      <a:pt x="345" y="2806"/>
                    </a:lnTo>
                    <a:lnTo>
                      <a:pt x="345" y="2806"/>
                    </a:lnTo>
                    <a:close/>
                    <a:moveTo>
                      <a:pt x="626" y="2811"/>
                    </a:moveTo>
                    <a:lnTo>
                      <a:pt x="615" y="2806"/>
                    </a:lnTo>
                    <a:lnTo>
                      <a:pt x="626" y="2806"/>
                    </a:lnTo>
                    <a:lnTo>
                      <a:pt x="686" y="2794"/>
                    </a:lnTo>
                    <a:lnTo>
                      <a:pt x="681" y="2806"/>
                    </a:lnTo>
                    <a:lnTo>
                      <a:pt x="648" y="2806"/>
                    </a:lnTo>
                    <a:lnTo>
                      <a:pt x="626" y="2811"/>
                    </a:lnTo>
                    <a:lnTo>
                      <a:pt x="626" y="2811"/>
                    </a:lnTo>
                    <a:lnTo>
                      <a:pt x="626" y="2811"/>
                    </a:lnTo>
                    <a:close/>
                    <a:moveTo>
                      <a:pt x="345" y="2811"/>
                    </a:moveTo>
                    <a:lnTo>
                      <a:pt x="345" y="2806"/>
                    </a:lnTo>
                    <a:lnTo>
                      <a:pt x="352" y="2811"/>
                    </a:lnTo>
                    <a:lnTo>
                      <a:pt x="345" y="2811"/>
                    </a:lnTo>
                    <a:lnTo>
                      <a:pt x="345" y="2811"/>
                    </a:lnTo>
                    <a:lnTo>
                      <a:pt x="345" y="281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11" name="Freeform 391">
                <a:extLst>
                  <a:ext uri="{FF2B5EF4-FFF2-40B4-BE49-F238E27FC236}">
                    <a16:creationId xmlns:a16="http://schemas.microsoft.com/office/drawing/2014/main" id="{525424F8-7833-4B39-ADE9-B10EBD6F6E2B}"/>
                  </a:ext>
                </a:extLst>
              </p:cNvPr>
              <p:cNvSpPr>
                <a:spLocks/>
              </p:cNvSpPr>
              <p:nvPr/>
            </p:nvSpPr>
            <p:spPr bwMode="gray">
              <a:xfrm>
                <a:off x="5005042" y="3667755"/>
                <a:ext cx="4940" cy="7823"/>
              </a:xfrm>
              <a:custGeom>
                <a:avLst/>
                <a:gdLst>
                  <a:gd name="T0" fmla="*/ 7 w 12"/>
                  <a:gd name="T1" fmla="*/ 19 h 19"/>
                  <a:gd name="T2" fmla="*/ 0 w 12"/>
                  <a:gd name="T3" fmla="*/ 19 h 19"/>
                  <a:gd name="T4" fmla="*/ 0 w 12"/>
                  <a:gd name="T5" fmla="*/ 0 h 19"/>
                  <a:gd name="T6" fmla="*/ 12 w 12"/>
                  <a:gd name="T7" fmla="*/ 12 h 19"/>
                  <a:gd name="T8" fmla="*/ 7 w 12"/>
                  <a:gd name="T9" fmla="*/ 19 h 19"/>
                  <a:gd name="T10" fmla="*/ 7 w 12"/>
                  <a:gd name="T11" fmla="*/ 19 h 19"/>
                  <a:gd name="T12" fmla="*/ 7 w 12"/>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2" h="19">
                    <a:moveTo>
                      <a:pt x="7" y="19"/>
                    </a:moveTo>
                    <a:lnTo>
                      <a:pt x="0" y="19"/>
                    </a:lnTo>
                    <a:lnTo>
                      <a:pt x="0" y="0"/>
                    </a:lnTo>
                    <a:lnTo>
                      <a:pt x="12" y="12"/>
                    </a:lnTo>
                    <a:lnTo>
                      <a:pt x="7" y="19"/>
                    </a:lnTo>
                    <a:lnTo>
                      <a:pt x="7" y="19"/>
                    </a:lnTo>
                    <a:lnTo>
                      <a:pt x="7" y="1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29" name="Freeform 396">
                <a:extLst>
                  <a:ext uri="{FF2B5EF4-FFF2-40B4-BE49-F238E27FC236}">
                    <a16:creationId xmlns:a16="http://schemas.microsoft.com/office/drawing/2014/main" id="{99348870-ED67-4EA7-8C6C-3E5000120020}"/>
                  </a:ext>
                </a:extLst>
              </p:cNvPr>
              <p:cNvSpPr>
                <a:spLocks noEditPoints="1"/>
              </p:cNvSpPr>
              <p:nvPr/>
            </p:nvSpPr>
            <p:spPr bwMode="gray">
              <a:xfrm>
                <a:off x="4149181" y="3513362"/>
                <a:ext cx="39108" cy="76579"/>
              </a:xfrm>
              <a:custGeom>
                <a:avLst/>
                <a:gdLst>
                  <a:gd name="T0" fmla="*/ 24 w 95"/>
                  <a:gd name="T1" fmla="*/ 186 h 186"/>
                  <a:gd name="T2" fmla="*/ 0 w 95"/>
                  <a:gd name="T3" fmla="*/ 186 h 186"/>
                  <a:gd name="T4" fmla="*/ 7 w 95"/>
                  <a:gd name="T5" fmla="*/ 42 h 186"/>
                  <a:gd name="T6" fmla="*/ 7 w 95"/>
                  <a:gd name="T7" fmla="*/ 37 h 186"/>
                  <a:gd name="T8" fmla="*/ 17 w 95"/>
                  <a:gd name="T9" fmla="*/ 26 h 186"/>
                  <a:gd name="T10" fmla="*/ 24 w 95"/>
                  <a:gd name="T11" fmla="*/ 37 h 186"/>
                  <a:gd name="T12" fmla="*/ 57 w 95"/>
                  <a:gd name="T13" fmla="*/ 0 h 186"/>
                  <a:gd name="T14" fmla="*/ 62 w 95"/>
                  <a:gd name="T15" fmla="*/ 0 h 186"/>
                  <a:gd name="T16" fmla="*/ 62 w 95"/>
                  <a:gd name="T17" fmla="*/ 4 h 186"/>
                  <a:gd name="T18" fmla="*/ 78 w 95"/>
                  <a:gd name="T19" fmla="*/ 4 h 186"/>
                  <a:gd name="T20" fmla="*/ 78 w 95"/>
                  <a:gd name="T21" fmla="*/ 9 h 186"/>
                  <a:gd name="T22" fmla="*/ 62 w 95"/>
                  <a:gd name="T23" fmla="*/ 59 h 186"/>
                  <a:gd name="T24" fmla="*/ 62 w 95"/>
                  <a:gd name="T25" fmla="*/ 92 h 186"/>
                  <a:gd name="T26" fmla="*/ 73 w 95"/>
                  <a:gd name="T27" fmla="*/ 111 h 186"/>
                  <a:gd name="T28" fmla="*/ 62 w 95"/>
                  <a:gd name="T29" fmla="*/ 137 h 186"/>
                  <a:gd name="T30" fmla="*/ 62 w 95"/>
                  <a:gd name="T31" fmla="*/ 132 h 186"/>
                  <a:gd name="T32" fmla="*/ 45 w 95"/>
                  <a:gd name="T33" fmla="*/ 153 h 186"/>
                  <a:gd name="T34" fmla="*/ 33 w 95"/>
                  <a:gd name="T35" fmla="*/ 165 h 186"/>
                  <a:gd name="T36" fmla="*/ 24 w 95"/>
                  <a:gd name="T37" fmla="*/ 177 h 186"/>
                  <a:gd name="T38" fmla="*/ 24 w 95"/>
                  <a:gd name="T39" fmla="*/ 186 h 186"/>
                  <a:gd name="T40" fmla="*/ 24 w 95"/>
                  <a:gd name="T41" fmla="*/ 186 h 186"/>
                  <a:gd name="T42" fmla="*/ 24 w 95"/>
                  <a:gd name="T43" fmla="*/ 186 h 186"/>
                  <a:gd name="T44" fmla="*/ 95 w 95"/>
                  <a:gd name="T45" fmla="*/ 26 h 186"/>
                  <a:gd name="T46" fmla="*/ 90 w 95"/>
                  <a:gd name="T47" fmla="*/ 37 h 186"/>
                  <a:gd name="T48" fmla="*/ 95 w 95"/>
                  <a:gd name="T49" fmla="*/ 21 h 186"/>
                  <a:gd name="T50" fmla="*/ 95 w 95"/>
                  <a:gd name="T51" fmla="*/ 26 h 186"/>
                  <a:gd name="T52" fmla="*/ 95 w 95"/>
                  <a:gd name="T53" fmla="*/ 26 h 186"/>
                  <a:gd name="T54" fmla="*/ 95 w 95"/>
                  <a:gd name="T55" fmla="*/ 2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5" h="186">
                    <a:moveTo>
                      <a:pt x="24" y="186"/>
                    </a:moveTo>
                    <a:lnTo>
                      <a:pt x="0" y="186"/>
                    </a:lnTo>
                    <a:lnTo>
                      <a:pt x="7" y="42"/>
                    </a:lnTo>
                    <a:lnTo>
                      <a:pt x="7" y="37"/>
                    </a:lnTo>
                    <a:lnTo>
                      <a:pt x="17" y="26"/>
                    </a:lnTo>
                    <a:lnTo>
                      <a:pt x="24" y="37"/>
                    </a:lnTo>
                    <a:lnTo>
                      <a:pt x="57" y="0"/>
                    </a:lnTo>
                    <a:lnTo>
                      <a:pt x="62" y="0"/>
                    </a:lnTo>
                    <a:lnTo>
                      <a:pt x="62" y="4"/>
                    </a:lnTo>
                    <a:lnTo>
                      <a:pt x="78" y="4"/>
                    </a:lnTo>
                    <a:lnTo>
                      <a:pt x="78" y="9"/>
                    </a:lnTo>
                    <a:lnTo>
                      <a:pt x="62" y="59"/>
                    </a:lnTo>
                    <a:lnTo>
                      <a:pt x="62" y="92"/>
                    </a:lnTo>
                    <a:lnTo>
                      <a:pt x="73" y="111"/>
                    </a:lnTo>
                    <a:lnTo>
                      <a:pt x="62" y="137"/>
                    </a:lnTo>
                    <a:lnTo>
                      <a:pt x="62" y="132"/>
                    </a:lnTo>
                    <a:lnTo>
                      <a:pt x="45" y="153"/>
                    </a:lnTo>
                    <a:lnTo>
                      <a:pt x="33" y="165"/>
                    </a:lnTo>
                    <a:lnTo>
                      <a:pt x="24" y="177"/>
                    </a:lnTo>
                    <a:lnTo>
                      <a:pt x="24" y="186"/>
                    </a:lnTo>
                    <a:lnTo>
                      <a:pt x="24" y="186"/>
                    </a:lnTo>
                    <a:lnTo>
                      <a:pt x="24" y="186"/>
                    </a:lnTo>
                    <a:close/>
                    <a:moveTo>
                      <a:pt x="95" y="26"/>
                    </a:moveTo>
                    <a:lnTo>
                      <a:pt x="90" y="37"/>
                    </a:lnTo>
                    <a:lnTo>
                      <a:pt x="95" y="21"/>
                    </a:lnTo>
                    <a:lnTo>
                      <a:pt x="95" y="26"/>
                    </a:lnTo>
                    <a:lnTo>
                      <a:pt x="95" y="26"/>
                    </a:lnTo>
                    <a:lnTo>
                      <a:pt x="95" y="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31" name="Freeform 398">
                <a:extLst>
                  <a:ext uri="{FF2B5EF4-FFF2-40B4-BE49-F238E27FC236}">
                    <a16:creationId xmlns:a16="http://schemas.microsoft.com/office/drawing/2014/main" id="{A1041229-8B55-439F-932D-7F26BC6D0BED}"/>
                  </a:ext>
                </a:extLst>
              </p:cNvPr>
              <p:cNvSpPr>
                <a:spLocks/>
              </p:cNvSpPr>
              <p:nvPr/>
            </p:nvSpPr>
            <p:spPr bwMode="gray">
              <a:xfrm>
                <a:off x="4715228" y="4353263"/>
                <a:ext cx="349097" cy="401836"/>
              </a:xfrm>
              <a:custGeom>
                <a:avLst/>
                <a:gdLst>
                  <a:gd name="T0" fmla="*/ 482 w 848"/>
                  <a:gd name="T1" fmla="*/ 915 h 976"/>
                  <a:gd name="T2" fmla="*/ 378 w 848"/>
                  <a:gd name="T3" fmla="*/ 952 h 976"/>
                  <a:gd name="T4" fmla="*/ 357 w 848"/>
                  <a:gd name="T5" fmla="*/ 931 h 976"/>
                  <a:gd name="T6" fmla="*/ 269 w 848"/>
                  <a:gd name="T7" fmla="*/ 919 h 976"/>
                  <a:gd name="T8" fmla="*/ 231 w 848"/>
                  <a:gd name="T9" fmla="*/ 919 h 976"/>
                  <a:gd name="T10" fmla="*/ 198 w 848"/>
                  <a:gd name="T11" fmla="*/ 943 h 976"/>
                  <a:gd name="T12" fmla="*/ 189 w 848"/>
                  <a:gd name="T13" fmla="*/ 959 h 976"/>
                  <a:gd name="T14" fmla="*/ 144 w 848"/>
                  <a:gd name="T15" fmla="*/ 976 h 976"/>
                  <a:gd name="T16" fmla="*/ 123 w 848"/>
                  <a:gd name="T17" fmla="*/ 952 h 976"/>
                  <a:gd name="T18" fmla="*/ 106 w 848"/>
                  <a:gd name="T19" fmla="*/ 915 h 976"/>
                  <a:gd name="T20" fmla="*/ 101 w 848"/>
                  <a:gd name="T21" fmla="*/ 858 h 976"/>
                  <a:gd name="T22" fmla="*/ 75 w 848"/>
                  <a:gd name="T23" fmla="*/ 825 h 976"/>
                  <a:gd name="T24" fmla="*/ 85 w 848"/>
                  <a:gd name="T25" fmla="*/ 808 h 976"/>
                  <a:gd name="T26" fmla="*/ 64 w 848"/>
                  <a:gd name="T27" fmla="*/ 787 h 976"/>
                  <a:gd name="T28" fmla="*/ 75 w 848"/>
                  <a:gd name="T29" fmla="*/ 759 h 976"/>
                  <a:gd name="T30" fmla="*/ 64 w 848"/>
                  <a:gd name="T31" fmla="*/ 737 h 976"/>
                  <a:gd name="T32" fmla="*/ 47 w 848"/>
                  <a:gd name="T33" fmla="*/ 681 h 976"/>
                  <a:gd name="T34" fmla="*/ 38 w 848"/>
                  <a:gd name="T35" fmla="*/ 610 h 976"/>
                  <a:gd name="T36" fmla="*/ 9 w 848"/>
                  <a:gd name="T37" fmla="*/ 572 h 976"/>
                  <a:gd name="T38" fmla="*/ 0 w 848"/>
                  <a:gd name="T39" fmla="*/ 556 h 976"/>
                  <a:gd name="T40" fmla="*/ 47 w 848"/>
                  <a:gd name="T41" fmla="*/ 511 h 976"/>
                  <a:gd name="T42" fmla="*/ 54 w 848"/>
                  <a:gd name="T43" fmla="*/ 482 h 976"/>
                  <a:gd name="T44" fmla="*/ 31 w 848"/>
                  <a:gd name="T45" fmla="*/ 478 h 976"/>
                  <a:gd name="T46" fmla="*/ 21 w 848"/>
                  <a:gd name="T47" fmla="*/ 416 h 976"/>
                  <a:gd name="T48" fmla="*/ 16 w 848"/>
                  <a:gd name="T49" fmla="*/ 388 h 976"/>
                  <a:gd name="T50" fmla="*/ 47 w 848"/>
                  <a:gd name="T51" fmla="*/ 345 h 976"/>
                  <a:gd name="T52" fmla="*/ 54 w 848"/>
                  <a:gd name="T53" fmla="*/ 334 h 976"/>
                  <a:gd name="T54" fmla="*/ 47 w 848"/>
                  <a:gd name="T55" fmla="*/ 277 h 976"/>
                  <a:gd name="T56" fmla="*/ 68 w 848"/>
                  <a:gd name="T57" fmla="*/ 206 h 976"/>
                  <a:gd name="T58" fmla="*/ 54 w 848"/>
                  <a:gd name="T59" fmla="*/ 95 h 976"/>
                  <a:gd name="T60" fmla="*/ 68 w 848"/>
                  <a:gd name="T61" fmla="*/ 107 h 976"/>
                  <a:gd name="T62" fmla="*/ 106 w 848"/>
                  <a:gd name="T63" fmla="*/ 74 h 976"/>
                  <a:gd name="T64" fmla="*/ 144 w 848"/>
                  <a:gd name="T65" fmla="*/ 57 h 976"/>
                  <a:gd name="T66" fmla="*/ 177 w 848"/>
                  <a:gd name="T67" fmla="*/ 41 h 976"/>
                  <a:gd name="T68" fmla="*/ 248 w 848"/>
                  <a:gd name="T69" fmla="*/ 12 h 976"/>
                  <a:gd name="T70" fmla="*/ 302 w 848"/>
                  <a:gd name="T71" fmla="*/ 0 h 976"/>
                  <a:gd name="T72" fmla="*/ 298 w 848"/>
                  <a:gd name="T73" fmla="*/ 57 h 976"/>
                  <a:gd name="T74" fmla="*/ 302 w 848"/>
                  <a:gd name="T75" fmla="*/ 111 h 976"/>
                  <a:gd name="T76" fmla="*/ 319 w 848"/>
                  <a:gd name="T77" fmla="*/ 145 h 976"/>
                  <a:gd name="T78" fmla="*/ 323 w 848"/>
                  <a:gd name="T79" fmla="*/ 152 h 976"/>
                  <a:gd name="T80" fmla="*/ 340 w 848"/>
                  <a:gd name="T81" fmla="*/ 168 h 976"/>
                  <a:gd name="T82" fmla="*/ 361 w 848"/>
                  <a:gd name="T83" fmla="*/ 185 h 976"/>
                  <a:gd name="T84" fmla="*/ 404 w 848"/>
                  <a:gd name="T85" fmla="*/ 206 h 976"/>
                  <a:gd name="T86" fmla="*/ 444 w 848"/>
                  <a:gd name="T87" fmla="*/ 223 h 976"/>
                  <a:gd name="T88" fmla="*/ 465 w 848"/>
                  <a:gd name="T89" fmla="*/ 234 h 976"/>
                  <a:gd name="T90" fmla="*/ 486 w 848"/>
                  <a:gd name="T91" fmla="*/ 239 h 976"/>
                  <a:gd name="T92" fmla="*/ 524 w 848"/>
                  <a:gd name="T93" fmla="*/ 256 h 976"/>
                  <a:gd name="T94" fmla="*/ 605 w 848"/>
                  <a:gd name="T95" fmla="*/ 277 h 976"/>
                  <a:gd name="T96" fmla="*/ 649 w 848"/>
                  <a:gd name="T97" fmla="*/ 317 h 976"/>
                  <a:gd name="T98" fmla="*/ 659 w 848"/>
                  <a:gd name="T99" fmla="*/ 362 h 976"/>
                  <a:gd name="T100" fmla="*/ 633 w 848"/>
                  <a:gd name="T101" fmla="*/ 400 h 976"/>
                  <a:gd name="T102" fmla="*/ 664 w 848"/>
                  <a:gd name="T103" fmla="*/ 482 h 976"/>
                  <a:gd name="T104" fmla="*/ 794 w 848"/>
                  <a:gd name="T105" fmla="*/ 499 h 976"/>
                  <a:gd name="T106" fmla="*/ 789 w 848"/>
                  <a:gd name="T107" fmla="*/ 556 h 976"/>
                  <a:gd name="T108" fmla="*/ 838 w 848"/>
                  <a:gd name="T109" fmla="*/ 605 h 976"/>
                  <a:gd name="T110" fmla="*/ 838 w 848"/>
                  <a:gd name="T111" fmla="*/ 681 h 976"/>
                  <a:gd name="T112" fmla="*/ 838 w 848"/>
                  <a:gd name="T113" fmla="*/ 693 h 976"/>
                  <a:gd name="T114" fmla="*/ 827 w 848"/>
                  <a:gd name="T115" fmla="*/ 759 h 976"/>
                  <a:gd name="T116" fmla="*/ 805 w 848"/>
                  <a:gd name="T117" fmla="*/ 749 h 976"/>
                  <a:gd name="T118" fmla="*/ 675 w 848"/>
                  <a:gd name="T119" fmla="*/ 704 h 976"/>
                  <a:gd name="T120" fmla="*/ 541 w 848"/>
                  <a:gd name="T121" fmla="*/ 771 h 976"/>
                  <a:gd name="T122" fmla="*/ 520 w 848"/>
                  <a:gd name="T123" fmla="*/ 841 h 976"/>
                  <a:gd name="T124" fmla="*/ 486 w 848"/>
                  <a:gd name="T125" fmla="*/ 931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8" h="976">
                    <a:moveTo>
                      <a:pt x="486" y="931"/>
                    </a:moveTo>
                    <a:lnTo>
                      <a:pt x="482" y="915"/>
                    </a:lnTo>
                    <a:lnTo>
                      <a:pt x="404" y="915"/>
                    </a:lnTo>
                    <a:lnTo>
                      <a:pt x="378" y="952"/>
                    </a:lnTo>
                    <a:lnTo>
                      <a:pt x="373" y="976"/>
                    </a:lnTo>
                    <a:lnTo>
                      <a:pt x="357" y="931"/>
                    </a:lnTo>
                    <a:lnTo>
                      <a:pt x="323" y="919"/>
                    </a:lnTo>
                    <a:lnTo>
                      <a:pt x="269" y="919"/>
                    </a:lnTo>
                    <a:lnTo>
                      <a:pt x="243" y="898"/>
                    </a:lnTo>
                    <a:lnTo>
                      <a:pt x="231" y="919"/>
                    </a:lnTo>
                    <a:lnTo>
                      <a:pt x="198" y="931"/>
                    </a:lnTo>
                    <a:lnTo>
                      <a:pt x="198" y="943"/>
                    </a:lnTo>
                    <a:lnTo>
                      <a:pt x="189" y="952"/>
                    </a:lnTo>
                    <a:lnTo>
                      <a:pt x="189" y="959"/>
                    </a:lnTo>
                    <a:lnTo>
                      <a:pt x="172" y="976"/>
                    </a:lnTo>
                    <a:lnTo>
                      <a:pt x="144" y="976"/>
                    </a:lnTo>
                    <a:lnTo>
                      <a:pt x="123" y="976"/>
                    </a:lnTo>
                    <a:lnTo>
                      <a:pt x="123" y="952"/>
                    </a:lnTo>
                    <a:lnTo>
                      <a:pt x="118" y="919"/>
                    </a:lnTo>
                    <a:lnTo>
                      <a:pt x="106" y="915"/>
                    </a:lnTo>
                    <a:lnTo>
                      <a:pt x="101" y="882"/>
                    </a:lnTo>
                    <a:lnTo>
                      <a:pt x="101" y="858"/>
                    </a:lnTo>
                    <a:lnTo>
                      <a:pt x="85" y="832"/>
                    </a:lnTo>
                    <a:lnTo>
                      <a:pt x="75" y="825"/>
                    </a:lnTo>
                    <a:lnTo>
                      <a:pt x="75" y="820"/>
                    </a:lnTo>
                    <a:lnTo>
                      <a:pt x="85" y="808"/>
                    </a:lnTo>
                    <a:lnTo>
                      <a:pt x="64" y="792"/>
                    </a:lnTo>
                    <a:lnTo>
                      <a:pt x="64" y="787"/>
                    </a:lnTo>
                    <a:lnTo>
                      <a:pt x="64" y="771"/>
                    </a:lnTo>
                    <a:lnTo>
                      <a:pt x="75" y="759"/>
                    </a:lnTo>
                    <a:lnTo>
                      <a:pt x="75" y="754"/>
                    </a:lnTo>
                    <a:lnTo>
                      <a:pt x="64" y="737"/>
                    </a:lnTo>
                    <a:lnTo>
                      <a:pt x="85" y="716"/>
                    </a:lnTo>
                    <a:lnTo>
                      <a:pt x="47" y="681"/>
                    </a:lnTo>
                    <a:lnTo>
                      <a:pt x="31" y="622"/>
                    </a:lnTo>
                    <a:lnTo>
                      <a:pt x="38" y="610"/>
                    </a:lnTo>
                    <a:lnTo>
                      <a:pt x="21" y="610"/>
                    </a:lnTo>
                    <a:lnTo>
                      <a:pt x="9" y="572"/>
                    </a:lnTo>
                    <a:lnTo>
                      <a:pt x="9" y="565"/>
                    </a:lnTo>
                    <a:lnTo>
                      <a:pt x="0" y="556"/>
                    </a:lnTo>
                    <a:lnTo>
                      <a:pt x="0" y="556"/>
                    </a:lnTo>
                    <a:lnTo>
                      <a:pt x="47" y="511"/>
                    </a:lnTo>
                    <a:lnTo>
                      <a:pt x="38" y="499"/>
                    </a:lnTo>
                    <a:lnTo>
                      <a:pt x="54" y="482"/>
                    </a:lnTo>
                    <a:lnTo>
                      <a:pt x="47" y="478"/>
                    </a:lnTo>
                    <a:lnTo>
                      <a:pt x="31" y="478"/>
                    </a:lnTo>
                    <a:lnTo>
                      <a:pt x="16" y="437"/>
                    </a:lnTo>
                    <a:lnTo>
                      <a:pt x="21" y="416"/>
                    </a:lnTo>
                    <a:lnTo>
                      <a:pt x="31" y="404"/>
                    </a:lnTo>
                    <a:lnTo>
                      <a:pt x="16" y="388"/>
                    </a:lnTo>
                    <a:lnTo>
                      <a:pt x="16" y="371"/>
                    </a:lnTo>
                    <a:lnTo>
                      <a:pt x="47" y="345"/>
                    </a:lnTo>
                    <a:lnTo>
                      <a:pt x="47" y="334"/>
                    </a:lnTo>
                    <a:lnTo>
                      <a:pt x="54" y="334"/>
                    </a:lnTo>
                    <a:lnTo>
                      <a:pt x="38" y="293"/>
                    </a:lnTo>
                    <a:lnTo>
                      <a:pt x="47" y="277"/>
                    </a:lnTo>
                    <a:lnTo>
                      <a:pt x="47" y="234"/>
                    </a:lnTo>
                    <a:lnTo>
                      <a:pt x="68" y="206"/>
                    </a:lnTo>
                    <a:lnTo>
                      <a:pt x="9" y="95"/>
                    </a:lnTo>
                    <a:lnTo>
                      <a:pt x="54" y="95"/>
                    </a:lnTo>
                    <a:lnTo>
                      <a:pt x="64" y="107"/>
                    </a:lnTo>
                    <a:lnTo>
                      <a:pt x="68" y="107"/>
                    </a:lnTo>
                    <a:lnTo>
                      <a:pt x="92" y="95"/>
                    </a:lnTo>
                    <a:lnTo>
                      <a:pt x="106" y="74"/>
                    </a:lnTo>
                    <a:lnTo>
                      <a:pt x="135" y="74"/>
                    </a:lnTo>
                    <a:lnTo>
                      <a:pt x="144" y="57"/>
                    </a:lnTo>
                    <a:lnTo>
                      <a:pt x="161" y="50"/>
                    </a:lnTo>
                    <a:lnTo>
                      <a:pt x="177" y="41"/>
                    </a:lnTo>
                    <a:lnTo>
                      <a:pt x="210" y="17"/>
                    </a:lnTo>
                    <a:lnTo>
                      <a:pt x="248" y="12"/>
                    </a:lnTo>
                    <a:lnTo>
                      <a:pt x="286" y="12"/>
                    </a:lnTo>
                    <a:lnTo>
                      <a:pt x="302" y="0"/>
                    </a:lnTo>
                    <a:lnTo>
                      <a:pt x="302" y="41"/>
                    </a:lnTo>
                    <a:lnTo>
                      <a:pt x="298" y="57"/>
                    </a:lnTo>
                    <a:lnTo>
                      <a:pt x="302" y="95"/>
                    </a:lnTo>
                    <a:lnTo>
                      <a:pt x="302" y="111"/>
                    </a:lnTo>
                    <a:lnTo>
                      <a:pt x="302" y="128"/>
                    </a:lnTo>
                    <a:lnTo>
                      <a:pt x="319" y="145"/>
                    </a:lnTo>
                    <a:lnTo>
                      <a:pt x="307" y="152"/>
                    </a:lnTo>
                    <a:lnTo>
                      <a:pt x="323" y="152"/>
                    </a:lnTo>
                    <a:lnTo>
                      <a:pt x="323" y="168"/>
                    </a:lnTo>
                    <a:lnTo>
                      <a:pt x="340" y="168"/>
                    </a:lnTo>
                    <a:lnTo>
                      <a:pt x="340" y="185"/>
                    </a:lnTo>
                    <a:lnTo>
                      <a:pt x="361" y="185"/>
                    </a:lnTo>
                    <a:lnTo>
                      <a:pt x="373" y="206"/>
                    </a:lnTo>
                    <a:lnTo>
                      <a:pt x="404" y="206"/>
                    </a:lnTo>
                    <a:lnTo>
                      <a:pt x="416" y="206"/>
                    </a:lnTo>
                    <a:lnTo>
                      <a:pt x="444" y="223"/>
                    </a:lnTo>
                    <a:lnTo>
                      <a:pt x="465" y="218"/>
                    </a:lnTo>
                    <a:lnTo>
                      <a:pt x="465" y="234"/>
                    </a:lnTo>
                    <a:lnTo>
                      <a:pt x="482" y="251"/>
                    </a:lnTo>
                    <a:lnTo>
                      <a:pt x="486" y="239"/>
                    </a:lnTo>
                    <a:lnTo>
                      <a:pt x="512" y="256"/>
                    </a:lnTo>
                    <a:lnTo>
                      <a:pt x="524" y="256"/>
                    </a:lnTo>
                    <a:lnTo>
                      <a:pt x="550" y="289"/>
                    </a:lnTo>
                    <a:lnTo>
                      <a:pt x="605" y="277"/>
                    </a:lnTo>
                    <a:lnTo>
                      <a:pt x="642" y="305"/>
                    </a:lnTo>
                    <a:lnTo>
                      <a:pt x="649" y="317"/>
                    </a:lnTo>
                    <a:lnTo>
                      <a:pt x="642" y="326"/>
                    </a:lnTo>
                    <a:lnTo>
                      <a:pt x="659" y="362"/>
                    </a:lnTo>
                    <a:lnTo>
                      <a:pt x="659" y="400"/>
                    </a:lnTo>
                    <a:lnTo>
                      <a:pt x="633" y="400"/>
                    </a:lnTo>
                    <a:lnTo>
                      <a:pt x="659" y="421"/>
                    </a:lnTo>
                    <a:lnTo>
                      <a:pt x="664" y="482"/>
                    </a:lnTo>
                    <a:lnTo>
                      <a:pt x="794" y="482"/>
                    </a:lnTo>
                    <a:lnTo>
                      <a:pt x="794" y="499"/>
                    </a:lnTo>
                    <a:lnTo>
                      <a:pt x="784" y="515"/>
                    </a:lnTo>
                    <a:lnTo>
                      <a:pt x="789" y="556"/>
                    </a:lnTo>
                    <a:lnTo>
                      <a:pt x="838" y="582"/>
                    </a:lnTo>
                    <a:lnTo>
                      <a:pt x="838" y="605"/>
                    </a:lnTo>
                    <a:lnTo>
                      <a:pt x="848" y="626"/>
                    </a:lnTo>
                    <a:lnTo>
                      <a:pt x="838" y="681"/>
                    </a:lnTo>
                    <a:lnTo>
                      <a:pt x="838" y="693"/>
                    </a:lnTo>
                    <a:lnTo>
                      <a:pt x="838" y="693"/>
                    </a:lnTo>
                    <a:lnTo>
                      <a:pt x="810" y="737"/>
                    </a:lnTo>
                    <a:lnTo>
                      <a:pt x="827" y="759"/>
                    </a:lnTo>
                    <a:lnTo>
                      <a:pt x="805" y="771"/>
                    </a:lnTo>
                    <a:lnTo>
                      <a:pt x="805" y="749"/>
                    </a:lnTo>
                    <a:lnTo>
                      <a:pt x="742" y="716"/>
                    </a:lnTo>
                    <a:lnTo>
                      <a:pt x="675" y="704"/>
                    </a:lnTo>
                    <a:lnTo>
                      <a:pt x="557" y="733"/>
                    </a:lnTo>
                    <a:lnTo>
                      <a:pt x="541" y="771"/>
                    </a:lnTo>
                    <a:lnTo>
                      <a:pt x="520" y="804"/>
                    </a:lnTo>
                    <a:lnTo>
                      <a:pt x="520" y="841"/>
                    </a:lnTo>
                    <a:lnTo>
                      <a:pt x="486" y="931"/>
                    </a:lnTo>
                    <a:lnTo>
                      <a:pt x="486" y="931"/>
                    </a:lnTo>
                    <a:lnTo>
                      <a:pt x="486" y="93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38" name="Freeform 403">
                <a:extLst>
                  <a:ext uri="{FF2B5EF4-FFF2-40B4-BE49-F238E27FC236}">
                    <a16:creationId xmlns:a16="http://schemas.microsoft.com/office/drawing/2014/main" id="{EB4EDF70-625B-41DD-8634-FB078A9D7D6C}"/>
                  </a:ext>
                </a:extLst>
              </p:cNvPr>
              <p:cNvSpPr>
                <a:spLocks noEditPoints="1"/>
              </p:cNvSpPr>
              <p:nvPr/>
            </p:nvSpPr>
            <p:spPr bwMode="gray">
              <a:xfrm>
                <a:off x="4587610" y="3909845"/>
                <a:ext cx="1134151" cy="1194389"/>
              </a:xfrm>
              <a:custGeom>
                <a:avLst/>
                <a:gdLst>
                  <a:gd name="T0" fmla="*/ 291 w 2755"/>
                  <a:gd name="T1" fmla="*/ 255 h 2901"/>
                  <a:gd name="T2" fmla="*/ 593 w 2755"/>
                  <a:gd name="T3" fmla="*/ 312 h 2901"/>
                  <a:gd name="T4" fmla="*/ 702 w 2755"/>
                  <a:gd name="T5" fmla="*/ 201 h 2901"/>
                  <a:gd name="T6" fmla="*/ 794 w 2755"/>
                  <a:gd name="T7" fmla="*/ 90 h 2901"/>
                  <a:gd name="T8" fmla="*/ 967 w 2755"/>
                  <a:gd name="T9" fmla="*/ 0 h 2901"/>
                  <a:gd name="T10" fmla="*/ 1009 w 2755"/>
                  <a:gd name="T11" fmla="*/ 246 h 2901"/>
                  <a:gd name="T12" fmla="*/ 1172 w 2755"/>
                  <a:gd name="T13" fmla="*/ 239 h 2901"/>
                  <a:gd name="T14" fmla="*/ 1366 w 2755"/>
                  <a:gd name="T15" fmla="*/ 206 h 2901"/>
                  <a:gd name="T16" fmla="*/ 1604 w 2755"/>
                  <a:gd name="T17" fmla="*/ 95 h 2901"/>
                  <a:gd name="T18" fmla="*/ 1600 w 2755"/>
                  <a:gd name="T19" fmla="*/ 390 h 2901"/>
                  <a:gd name="T20" fmla="*/ 1637 w 2755"/>
                  <a:gd name="T21" fmla="*/ 506 h 2901"/>
                  <a:gd name="T22" fmla="*/ 1637 w 2755"/>
                  <a:gd name="T23" fmla="*/ 539 h 2901"/>
                  <a:gd name="T24" fmla="*/ 1784 w 2755"/>
                  <a:gd name="T25" fmla="*/ 485 h 2901"/>
                  <a:gd name="T26" fmla="*/ 1869 w 2755"/>
                  <a:gd name="T27" fmla="*/ 423 h 2901"/>
                  <a:gd name="T28" fmla="*/ 1982 w 2755"/>
                  <a:gd name="T29" fmla="*/ 461 h 2901"/>
                  <a:gd name="T30" fmla="*/ 2063 w 2755"/>
                  <a:gd name="T31" fmla="*/ 506 h 2901"/>
                  <a:gd name="T32" fmla="*/ 2091 w 2755"/>
                  <a:gd name="T33" fmla="*/ 577 h 2901"/>
                  <a:gd name="T34" fmla="*/ 2301 w 2755"/>
                  <a:gd name="T35" fmla="*/ 589 h 2901"/>
                  <a:gd name="T36" fmla="*/ 2750 w 2755"/>
                  <a:gd name="T37" fmla="*/ 884 h 2901"/>
                  <a:gd name="T38" fmla="*/ 2594 w 2755"/>
                  <a:gd name="T39" fmla="*/ 1172 h 2901"/>
                  <a:gd name="T40" fmla="*/ 2469 w 2755"/>
                  <a:gd name="T41" fmla="*/ 1309 h 2901"/>
                  <a:gd name="T42" fmla="*/ 2448 w 2755"/>
                  <a:gd name="T43" fmla="*/ 1625 h 2901"/>
                  <a:gd name="T44" fmla="*/ 2322 w 2755"/>
                  <a:gd name="T45" fmla="*/ 1937 h 2901"/>
                  <a:gd name="T46" fmla="*/ 2117 w 2755"/>
                  <a:gd name="T47" fmla="*/ 2053 h 2901"/>
                  <a:gd name="T48" fmla="*/ 1944 w 2755"/>
                  <a:gd name="T49" fmla="*/ 2143 h 2901"/>
                  <a:gd name="T50" fmla="*/ 1777 w 2755"/>
                  <a:gd name="T51" fmla="*/ 2287 h 2901"/>
                  <a:gd name="T52" fmla="*/ 1767 w 2755"/>
                  <a:gd name="T53" fmla="*/ 2476 h 2901"/>
                  <a:gd name="T54" fmla="*/ 1600 w 2755"/>
                  <a:gd name="T55" fmla="*/ 2719 h 2901"/>
                  <a:gd name="T56" fmla="*/ 1604 w 2755"/>
                  <a:gd name="T57" fmla="*/ 2625 h 2901"/>
                  <a:gd name="T58" fmla="*/ 1496 w 2755"/>
                  <a:gd name="T59" fmla="*/ 2851 h 2901"/>
                  <a:gd name="T60" fmla="*/ 1210 w 2755"/>
                  <a:gd name="T61" fmla="*/ 2620 h 2901"/>
                  <a:gd name="T62" fmla="*/ 1281 w 2755"/>
                  <a:gd name="T63" fmla="*/ 2464 h 2901"/>
                  <a:gd name="T64" fmla="*/ 1366 w 2755"/>
                  <a:gd name="T65" fmla="*/ 2259 h 2901"/>
                  <a:gd name="T66" fmla="*/ 1238 w 2755"/>
                  <a:gd name="T67" fmla="*/ 1992 h 2901"/>
                  <a:gd name="T68" fmla="*/ 1146 w 2755"/>
                  <a:gd name="T69" fmla="*/ 1659 h 2901"/>
                  <a:gd name="T70" fmla="*/ 858 w 2755"/>
                  <a:gd name="T71" fmla="*/ 1366 h 2901"/>
                  <a:gd name="T72" fmla="*/ 631 w 2755"/>
                  <a:gd name="T73" fmla="*/ 1243 h 2901"/>
                  <a:gd name="T74" fmla="*/ 471 w 2755"/>
                  <a:gd name="T75" fmla="*/ 1127 h 2901"/>
                  <a:gd name="T76" fmla="*/ 248 w 2755"/>
                  <a:gd name="T77" fmla="*/ 1061 h 2901"/>
                  <a:gd name="T78" fmla="*/ 17 w 2755"/>
                  <a:gd name="T79" fmla="*/ 888 h 2901"/>
                  <a:gd name="T80" fmla="*/ 286 w 2755"/>
                  <a:gd name="T81" fmla="*/ 683 h 2901"/>
                  <a:gd name="T82" fmla="*/ 1685 w 2755"/>
                  <a:gd name="T83" fmla="*/ 312 h 2901"/>
                  <a:gd name="T84" fmla="*/ 1685 w 2755"/>
                  <a:gd name="T85" fmla="*/ 333 h 2901"/>
                  <a:gd name="T86" fmla="*/ 1706 w 2755"/>
                  <a:gd name="T87" fmla="*/ 357 h 2901"/>
                  <a:gd name="T88" fmla="*/ 1706 w 2755"/>
                  <a:gd name="T89" fmla="*/ 390 h 2901"/>
                  <a:gd name="T90" fmla="*/ 1621 w 2755"/>
                  <a:gd name="T91" fmla="*/ 383 h 2901"/>
                  <a:gd name="T92" fmla="*/ 1637 w 2755"/>
                  <a:gd name="T93" fmla="*/ 411 h 2901"/>
                  <a:gd name="T94" fmla="*/ 1685 w 2755"/>
                  <a:gd name="T95" fmla="*/ 501 h 2901"/>
                  <a:gd name="T96" fmla="*/ 1621 w 2755"/>
                  <a:gd name="T97" fmla="*/ 407 h 2901"/>
                  <a:gd name="T98" fmla="*/ 1630 w 2755"/>
                  <a:gd name="T99" fmla="*/ 407 h 2901"/>
                  <a:gd name="T100" fmla="*/ 1550 w 2755"/>
                  <a:gd name="T101" fmla="*/ 485 h 2901"/>
                  <a:gd name="T102" fmla="*/ 1831 w 2755"/>
                  <a:gd name="T103" fmla="*/ 428 h 2901"/>
                  <a:gd name="T104" fmla="*/ 1928 w 2755"/>
                  <a:gd name="T105" fmla="*/ 449 h 2901"/>
                  <a:gd name="T106" fmla="*/ 2037 w 2755"/>
                  <a:gd name="T107" fmla="*/ 468 h 2901"/>
                  <a:gd name="T108" fmla="*/ 1529 w 2755"/>
                  <a:gd name="T109" fmla="*/ 501 h 2901"/>
                  <a:gd name="T110" fmla="*/ 1760 w 2755"/>
                  <a:gd name="T111" fmla="*/ 506 h 2901"/>
                  <a:gd name="T112" fmla="*/ 2247 w 2755"/>
                  <a:gd name="T113" fmla="*/ 577 h 2901"/>
                  <a:gd name="T114" fmla="*/ 2485 w 2755"/>
                  <a:gd name="T115" fmla="*/ 1309 h 2901"/>
                  <a:gd name="T116" fmla="*/ 2464 w 2755"/>
                  <a:gd name="T117" fmla="*/ 1370 h 2901"/>
                  <a:gd name="T118" fmla="*/ 2020 w 2755"/>
                  <a:gd name="T119" fmla="*/ 2143 h 2901"/>
                  <a:gd name="T120" fmla="*/ 1777 w 2755"/>
                  <a:gd name="T121" fmla="*/ 2313 h 2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55" h="2901">
                    <a:moveTo>
                      <a:pt x="286" y="683"/>
                    </a:moveTo>
                    <a:lnTo>
                      <a:pt x="324" y="477"/>
                    </a:lnTo>
                    <a:lnTo>
                      <a:pt x="324" y="449"/>
                    </a:lnTo>
                    <a:lnTo>
                      <a:pt x="308" y="428"/>
                    </a:lnTo>
                    <a:lnTo>
                      <a:pt x="308" y="411"/>
                    </a:lnTo>
                    <a:lnTo>
                      <a:pt x="274" y="390"/>
                    </a:lnTo>
                    <a:lnTo>
                      <a:pt x="274" y="333"/>
                    </a:lnTo>
                    <a:lnTo>
                      <a:pt x="324" y="329"/>
                    </a:lnTo>
                    <a:lnTo>
                      <a:pt x="329" y="333"/>
                    </a:lnTo>
                    <a:lnTo>
                      <a:pt x="345" y="333"/>
                    </a:lnTo>
                    <a:lnTo>
                      <a:pt x="341" y="317"/>
                    </a:lnTo>
                    <a:lnTo>
                      <a:pt x="329" y="300"/>
                    </a:lnTo>
                    <a:lnTo>
                      <a:pt x="291" y="300"/>
                    </a:lnTo>
                    <a:lnTo>
                      <a:pt x="291" y="255"/>
                    </a:lnTo>
                    <a:lnTo>
                      <a:pt x="319" y="246"/>
                    </a:lnTo>
                    <a:lnTo>
                      <a:pt x="411" y="255"/>
                    </a:lnTo>
                    <a:lnTo>
                      <a:pt x="400" y="246"/>
                    </a:lnTo>
                    <a:lnTo>
                      <a:pt x="411" y="239"/>
                    </a:lnTo>
                    <a:lnTo>
                      <a:pt x="433" y="255"/>
                    </a:lnTo>
                    <a:lnTo>
                      <a:pt x="466" y="222"/>
                    </a:lnTo>
                    <a:lnTo>
                      <a:pt x="471" y="222"/>
                    </a:lnTo>
                    <a:lnTo>
                      <a:pt x="487" y="263"/>
                    </a:lnTo>
                    <a:lnTo>
                      <a:pt x="487" y="296"/>
                    </a:lnTo>
                    <a:lnTo>
                      <a:pt x="504" y="296"/>
                    </a:lnTo>
                    <a:lnTo>
                      <a:pt x="541" y="329"/>
                    </a:lnTo>
                    <a:lnTo>
                      <a:pt x="556" y="329"/>
                    </a:lnTo>
                    <a:lnTo>
                      <a:pt x="579" y="312"/>
                    </a:lnTo>
                    <a:lnTo>
                      <a:pt x="593" y="312"/>
                    </a:lnTo>
                    <a:lnTo>
                      <a:pt x="593" y="329"/>
                    </a:lnTo>
                    <a:lnTo>
                      <a:pt x="593" y="333"/>
                    </a:lnTo>
                    <a:lnTo>
                      <a:pt x="610" y="312"/>
                    </a:lnTo>
                    <a:lnTo>
                      <a:pt x="617" y="312"/>
                    </a:lnTo>
                    <a:lnTo>
                      <a:pt x="626" y="296"/>
                    </a:lnTo>
                    <a:lnTo>
                      <a:pt x="648" y="284"/>
                    </a:lnTo>
                    <a:lnTo>
                      <a:pt x="659" y="284"/>
                    </a:lnTo>
                    <a:lnTo>
                      <a:pt x="681" y="267"/>
                    </a:lnTo>
                    <a:lnTo>
                      <a:pt x="685" y="267"/>
                    </a:lnTo>
                    <a:lnTo>
                      <a:pt x="697" y="263"/>
                    </a:lnTo>
                    <a:lnTo>
                      <a:pt x="702" y="239"/>
                    </a:lnTo>
                    <a:lnTo>
                      <a:pt x="752" y="222"/>
                    </a:lnTo>
                    <a:lnTo>
                      <a:pt x="752" y="206"/>
                    </a:lnTo>
                    <a:lnTo>
                      <a:pt x="702" y="201"/>
                    </a:lnTo>
                    <a:lnTo>
                      <a:pt x="702" y="185"/>
                    </a:lnTo>
                    <a:lnTo>
                      <a:pt x="685" y="152"/>
                    </a:lnTo>
                    <a:lnTo>
                      <a:pt x="685" y="118"/>
                    </a:lnTo>
                    <a:lnTo>
                      <a:pt x="659" y="90"/>
                    </a:lnTo>
                    <a:lnTo>
                      <a:pt x="648" y="74"/>
                    </a:lnTo>
                    <a:lnTo>
                      <a:pt x="664" y="78"/>
                    </a:lnTo>
                    <a:lnTo>
                      <a:pt x="697" y="78"/>
                    </a:lnTo>
                    <a:lnTo>
                      <a:pt x="702" y="95"/>
                    </a:lnTo>
                    <a:lnTo>
                      <a:pt x="719" y="95"/>
                    </a:lnTo>
                    <a:lnTo>
                      <a:pt x="740" y="102"/>
                    </a:lnTo>
                    <a:lnTo>
                      <a:pt x="752" y="95"/>
                    </a:lnTo>
                    <a:lnTo>
                      <a:pt x="778" y="118"/>
                    </a:lnTo>
                    <a:lnTo>
                      <a:pt x="794" y="111"/>
                    </a:lnTo>
                    <a:lnTo>
                      <a:pt x="794" y="90"/>
                    </a:lnTo>
                    <a:lnTo>
                      <a:pt x="806" y="90"/>
                    </a:lnTo>
                    <a:lnTo>
                      <a:pt x="811" y="78"/>
                    </a:lnTo>
                    <a:lnTo>
                      <a:pt x="832" y="78"/>
                    </a:lnTo>
                    <a:lnTo>
                      <a:pt x="858" y="78"/>
                    </a:lnTo>
                    <a:lnTo>
                      <a:pt x="865" y="74"/>
                    </a:lnTo>
                    <a:lnTo>
                      <a:pt x="874" y="74"/>
                    </a:lnTo>
                    <a:lnTo>
                      <a:pt x="882" y="62"/>
                    </a:lnTo>
                    <a:lnTo>
                      <a:pt x="896" y="57"/>
                    </a:lnTo>
                    <a:lnTo>
                      <a:pt x="919" y="45"/>
                    </a:lnTo>
                    <a:lnTo>
                      <a:pt x="929" y="40"/>
                    </a:lnTo>
                    <a:lnTo>
                      <a:pt x="941" y="24"/>
                    </a:lnTo>
                    <a:lnTo>
                      <a:pt x="941" y="7"/>
                    </a:lnTo>
                    <a:lnTo>
                      <a:pt x="933" y="0"/>
                    </a:lnTo>
                    <a:lnTo>
                      <a:pt x="967" y="0"/>
                    </a:lnTo>
                    <a:lnTo>
                      <a:pt x="971" y="0"/>
                    </a:lnTo>
                    <a:lnTo>
                      <a:pt x="983" y="7"/>
                    </a:lnTo>
                    <a:lnTo>
                      <a:pt x="988" y="17"/>
                    </a:lnTo>
                    <a:lnTo>
                      <a:pt x="983" y="40"/>
                    </a:lnTo>
                    <a:lnTo>
                      <a:pt x="971" y="57"/>
                    </a:lnTo>
                    <a:lnTo>
                      <a:pt x="1004" y="62"/>
                    </a:lnTo>
                    <a:lnTo>
                      <a:pt x="1004" y="74"/>
                    </a:lnTo>
                    <a:lnTo>
                      <a:pt x="1009" y="95"/>
                    </a:lnTo>
                    <a:lnTo>
                      <a:pt x="995" y="128"/>
                    </a:lnTo>
                    <a:lnTo>
                      <a:pt x="988" y="185"/>
                    </a:lnTo>
                    <a:lnTo>
                      <a:pt x="995" y="206"/>
                    </a:lnTo>
                    <a:lnTo>
                      <a:pt x="1004" y="211"/>
                    </a:lnTo>
                    <a:lnTo>
                      <a:pt x="1004" y="246"/>
                    </a:lnTo>
                    <a:lnTo>
                      <a:pt x="1009" y="246"/>
                    </a:lnTo>
                    <a:lnTo>
                      <a:pt x="1009" y="255"/>
                    </a:lnTo>
                    <a:lnTo>
                      <a:pt x="1021" y="255"/>
                    </a:lnTo>
                    <a:lnTo>
                      <a:pt x="1037" y="279"/>
                    </a:lnTo>
                    <a:lnTo>
                      <a:pt x="1059" y="284"/>
                    </a:lnTo>
                    <a:lnTo>
                      <a:pt x="1063" y="296"/>
                    </a:lnTo>
                    <a:lnTo>
                      <a:pt x="1075" y="284"/>
                    </a:lnTo>
                    <a:lnTo>
                      <a:pt x="1092" y="284"/>
                    </a:lnTo>
                    <a:lnTo>
                      <a:pt x="1092" y="267"/>
                    </a:lnTo>
                    <a:lnTo>
                      <a:pt x="1101" y="263"/>
                    </a:lnTo>
                    <a:lnTo>
                      <a:pt x="1130" y="267"/>
                    </a:lnTo>
                    <a:lnTo>
                      <a:pt x="1130" y="263"/>
                    </a:lnTo>
                    <a:lnTo>
                      <a:pt x="1146" y="255"/>
                    </a:lnTo>
                    <a:lnTo>
                      <a:pt x="1156" y="255"/>
                    </a:lnTo>
                    <a:lnTo>
                      <a:pt x="1172" y="239"/>
                    </a:lnTo>
                    <a:lnTo>
                      <a:pt x="1189" y="229"/>
                    </a:lnTo>
                    <a:lnTo>
                      <a:pt x="1210" y="246"/>
                    </a:lnTo>
                    <a:lnTo>
                      <a:pt x="1238" y="239"/>
                    </a:lnTo>
                    <a:lnTo>
                      <a:pt x="1264" y="246"/>
                    </a:lnTo>
                    <a:lnTo>
                      <a:pt x="1276" y="239"/>
                    </a:lnTo>
                    <a:lnTo>
                      <a:pt x="1276" y="229"/>
                    </a:lnTo>
                    <a:lnTo>
                      <a:pt x="1259" y="211"/>
                    </a:lnTo>
                    <a:lnTo>
                      <a:pt x="1264" y="201"/>
                    </a:lnTo>
                    <a:lnTo>
                      <a:pt x="1290" y="206"/>
                    </a:lnTo>
                    <a:lnTo>
                      <a:pt x="1335" y="189"/>
                    </a:lnTo>
                    <a:lnTo>
                      <a:pt x="1345" y="201"/>
                    </a:lnTo>
                    <a:lnTo>
                      <a:pt x="1361" y="201"/>
                    </a:lnTo>
                    <a:lnTo>
                      <a:pt x="1361" y="206"/>
                    </a:lnTo>
                    <a:lnTo>
                      <a:pt x="1366" y="206"/>
                    </a:lnTo>
                    <a:lnTo>
                      <a:pt x="1399" y="222"/>
                    </a:lnTo>
                    <a:lnTo>
                      <a:pt x="1420" y="206"/>
                    </a:lnTo>
                    <a:lnTo>
                      <a:pt x="1437" y="211"/>
                    </a:lnTo>
                    <a:lnTo>
                      <a:pt x="1453" y="206"/>
                    </a:lnTo>
                    <a:lnTo>
                      <a:pt x="1458" y="222"/>
                    </a:lnTo>
                    <a:lnTo>
                      <a:pt x="1479" y="222"/>
                    </a:lnTo>
                    <a:lnTo>
                      <a:pt x="1507" y="201"/>
                    </a:lnTo>
                    <a:lnTo>
                      <a:pt x="1524" y="152"/>
                    </a:lnTo>
                    <a:lnTo>
                      <a:pt x="1567" y="90"/>
                    </a:lnTo>
                    <a:lnTo>
                      <a:pt x="1578" y="78"/>
                    </a:lnTo>
                    <a:lnTo>
                      <a:pt x="1583" y="90"/>
                    </a:lnTo>
                    <a:lnTo>
                      <a:pt x="1578" y="62"/>
                    </a:lnTo>
                    <a:lnTo>
                      <a:pt x="1600" y="78"/>
                    </a:lnTo>
                    <a:lnTo>
                      <a:pt x="1604" y="95"/>
                    </a:lnTo>
                    <a:lnTo>
                      <a:pt x="1616" y="95"/>
                    </a:lnTo>
                    <a:lnTo>
                      <a:pt x="1616" y="152"/>
                    </a:lnTo>
                    <a:lnTo>
                      <a:pt x="1637" y="222"/>
                    </a:lnTo>
                    <a:lnTo>
                      <a:pt x="1654" y="246"/>
                    </a:lnTo>
                    <a:lnTo>
                      <a:pt x="1675" y="246"/>
                    </a:lnTo>
                    <a:lnTo>
                      <a:pt x="1692" y="255"/>
                    </a:lnTo>
                    <a:lnTo>
                      <a:pt x="1692" y="284"/>
                    </a:lnTo>
                    <a:lnTo>
                      <a:pt x="1675" y="296"/>
                    </a:lnTo>
                    <a:lnTo>
                      <a:pt x="1692" y="284"/>
                    </a:lnTo>
                    <a:lnTo>
                      <a:pt x="1692" y="296"/>
                    </a:lnTo>
                    <a:lnTo>
                      <a:pt x="1654" y="333"/>
                    </a:lnTo>
                    <a:lnTo>
                      <a:pt x="1630" y="366"/>
                    </a:lnTo>
                    <a:lnTo>
                      <a:pt x="1621" y="366"/>
                    </a:lnTo>
                    <a:lnTo>
                      <a:pt x="1600" y="390"/>
                    </a:lnTo>
                    <a:lnTo>
                      <a:pt x="1567" y="428"/>
                    </a:lnTo>
                    <a:lnTo>
                      <a:pt x="1567" y="449"/>
                    </a:lnTo>
                    <a:lnTo>
                      <a:pt x="1550" y="461"/>
                    </a:lnTo>
                    <a:lnTo>
                      <a:pt x="1550" y="477"/>
                    </a:lnTo>
                    <a:lnTo>
                      <a:pt x="1545" y="485"/>
                    </a:lnTo>
                    <a:lnTo>
                      <a:pt x="1529" y="477"/>
                    </a:lnTo>
                    <a:lnTo>
                      <a:pt x="1496" y="494"/>
                    </a:lnTo>
                    <a:lnTo>
                      <a:pt x="1529" y="494"/>
                    </a:lnTo>
                    <a:lnTo>
                      <a:pt x="1529" y="501"/>
                    </a:lnTo>
                    <a:lnTo>
                      <a:pt x="1600" y="468"/>
                    </a:lnTo>
                    <a:lnTo>
                      <a:pt x="1616" y="444"/>
                    </a:lnTo>
                    <a:lnTo>
                      <a:pt x="1630" y="444"/>
                    </a:lnTo>
                    <a:lnTo>
                      <a:pt x="1630" y="485"/>
                    </a:lnTo>
                    <a:lnTo>
                      <a:pt x="1637" y="506"/>
                    </a:lnTo>
                    <a:lnTo>
                      <a:pt x="1630" y="518"/>
                    </a:lnTo>
                    <a:lnTo>
                      <a:pt x="1604" y="506"/>
                    </a:lnTo>
                    <a:lnTo>
                      <a:pt x="1588" y="501"/>
                    </a:lnTo>
                    <a:lnTo>
                      <a:pt x="1583" y="522"/>
                    </a:lnTo>
                    <a:lnTo>
                      <a:pt x="1583" y="539"/>
                    </a:lnTo>
                    <a:lnTo>
                      <a:pt x="1588" y="551"/>
                    </a:lnTo>
                    <a:lnTo>
                      <a:pt x="1583" y="522"/>
                    </a:lnTo>
                    <a:lnTo>
                      <a:pt x="1600" y="506"/>
                    </a:lnTo>
                    <a:lnTo>
                      <a:pt x="1616" y="522"/>
                    </a:lnTo>
                    <a:lnTo>
                      <a:pt x="1616" y="551"/>
                    </a:lnTo>
                    <a:lnTo>
                      <a:pt x="1630" y="555"/>
                    </a:lnTo>
                    <a:lnTo>
                      <a:pt x="1616" y="551"/>
                    </a:lnTo>
                    <a:lnTo>
                      <a:pt x="1621" y="522"/>
                    </a:lnTo>
                    <a:lnTo>
                      <a:pt x="1637" y="539"/>
                    </a:lnTo>
                    <a:lnTo>
                      <a:pt x="1630" y="518"/>
                    </a:lnTo>
                    <a:lnTo>
                      <a:pt x="1637" y="506"/>
                    </a:lnTo>
                    <a:lnTo>
                      <a:pt x="1654" y="506"/>
                    </a:lnTo>
                    <a:lnTo>
                      <a:pt x="1659" y="518"/>
                    </a:lnTo>
                    <a:lnTo>
                      <a:pt x="1685" y="506"/>
                    </a:lnTo>
                    <a:lnTo>
                      <a:pt x="1696" y="518"/>
                    </a:lnTo>
                    <a:lnTo>
                      <a:pt x="1713" y="518"/>
                    </a:lnTo>
                    <a:lnTo>
                      <a:pt x="1739" y="501"/>
                    </a:lnTo>
                    <a:lnTo>
                      <a:pt x="1722" y="539"/>
                    </a:lnTo>
                    <a:lnTo>
                      <a:pt x="1722" y="560"/>
                    </a:lnTo>
                    <a:lnTo>
                      <a:pt x="1744" y="518"/>
                    </a:lnTo>
                    <a:lnTo>
                      <a:pt x="1760" y="506"/>
                    </a:lnTo>
                    <a:lnTo>
                      <a:pt x="1777" y="485"/>
                    </a:lnTo>
                    <a:lnTo>
                      <a:pt x="1784" y="485"/>
                    </a:lnTo>
                    <a:lnTo>
                      <a:pt x="1798" y="501"/>
                    </a:lnTo>
                    <a:lnTo>
                      <a:pt x="1798" y="485"/>
                    </a:lnTo>
                    <a:lnTo>
                      <a:pt x="1815" y="485"/>
                    </a:lnTo>
                    <a:lnTo>
                      <a:pt x="1793" y="485"/>
                    </a:lnTo>
                    <a:lnTo>
                      <a:pt x="1793" y="468"/>
                    </a:lnTo>
                    <a:lnTo>
                      <a:pt x="1805" y="477"/>
                    </a:lnTo>
                    <a:lnTo>
                      <a:pt x="1805" y="444"/>
                    </a:lnTo>
                    <a:lnTo>
                      <a:pt x="1822" y="428"/>
                    </a:lnTo>
                    <a:lnTo>
                      <a:pt x="1831" y="440"/>
                    </a:lnTo>
                    <a:lnTo>
                      <a:pt x="1848" y="423"/>
                    </a:lnTo>
                    <a:lnTo>
                      <a:pt x="1848" y="440"/>
                    </a:lnTo>
                    <a:lnTo>
                      <a:pt x="1859" y="423"/>
                    </a:lnTo>
                    <a:lnTo>
                      <a:pt x="1869" y="440"/>
                    </a:lnTo>
                    <a:lnTo>
                      <a:pt x="1869" y="423"/>
                    </a:lnTo>
                    <a:lnTo>
                      <a:pt x="1890" y="428"/>
                    </a:lnTo>
                    <a:lnTo>
                      <a:pt x="1902" y="428"/>
                    </a:lnTo>
                    <a:lnTo>
                      <a:pt x="1902" y="444"/>
                    </a:lnTo>
                    <a:lnTo>
                      <a:pt x="1907" y="428"/>
                    </a:lnTo>
                    <a:lnTo>
                      <a:pt x="1911" y="440"/>
                    </a:lnTo>
                    <a:lnTo>
                      <a:pt x="1923" y="440"/>
                    </a:lnTo>
                    <a:lnTo>
                      <a:pt x="1923" y="449"/>
                    </a:lnTo>
                    <a:lnTo>
                      <a:pt x="1956" y="444"/>
                    </a:lnTo>
                    <a:lnTo>
                      <a:pt x="1944" y="461"/>
                    </a:lnTo>
                    <a:lnTo>
                      <a:pt x="1961" y="461"/>
                    </a:lnTo>
                    <a:lnTo>
                      <a:pt x="1961" y="468"/>
                    </a:lnTo>
                    <a:lnTo>
                      <a:pt x="1966" y="449"/>
                    </a:lnTo>
                    <a:lnTo>
                      <a:pt x="1978" y="468"/>
                    </a:lnTo>
                    <a:lnTo>
                      <a:pt x="1982" y="461"/>
                    </a:lnTo>
                    <a:lnTo>
                      <a:pt x="1994" y="477"/>
                    </a:lnTo>
                    <a:lnTo>
                      <a:pt x="1994" y="468"/>
                    </a:lnTo>
                    <a:lnTo>
                      <a:pt x="2011" y="477"/>
                    </a:lnTo>
                    <a:lnTo>
                      <a:pt x="2011" y="494"/>
                    </a:lnTo>
                    <a:lnTo>
                      <a:pt x="2015" y="477"/>
                    </a:lnTo>
                    <a:lnTo>
                      <a:pt x="2015" y="501"/>
                    </a:lnTo>
                    <a:lnTo>
                      <a:pt x="2020" y="501"/>
                    </a:lnTo>
                    <a:lnTo>
                      <a:pt x="2020" y="485"/>
                    </a:lnTo>
                    <a:lnTo>
                      <a:pt x="2037" y="485"/>
                    </a:lnTo>
                    <a:lnTo>
                      <a:pt x="2048" y="485"/>
                    </a:lnTo>
                    <a:lnTo>
                      <a:pt x="2037" y="494"/>
                    </a:lnTo>
                    <a:lnTo>
                      <a:pt x="2053" y="494"/>
                    </a:lnTo>
                    <a:lnTo>
                      <a:pt x="2053" y="501"/>
                    </a:lnTo>
                    <a:lnTo>
                      <a:pt x="2063" y="506"/>
                    </a:lnTo>
                    <a:lnTo>
                      <a:pt x="2070" y="506"/>
                    </a:lnTo>
                    <a:lnTo>
                      <a:pt x="2074" y="522"/>
                    </a:lnTo>
                    <a:lnTo>
                      <a:pt x="2063" y="551"/>
                    </a:lnTo>
                    <a:lnTo>
                      <a:pt x="2074" y="534"/>
                    </a:lnTo>
                    <a:lnTo>
                      <a:pt x="2086" y="551"/>
                    </a:lnTo>
                    <a:lnTo>
                      <a:pt x="2070" y="560"/>
                    </a:lnTo>
                    <a:lnTo>
                      <a:pt x="2063" y="596"/>
                    </a:lnTo>
                    <a:lnTo>
                      <a:pt x="2053" y="617"/>
                    </a:lnTo>
                    <a:lnTo>
                      <a:pt x="2074" y="589"/>
                    </a:lnTo>
                    <a:lnTo>
                      <a:pt x="2086" y="560"/>
                    </a:lnTo>
                    <a:lnTo>
                      <a:pt x="2100" y="551"/>
                    </a:lnTo>
                    <a:lnTo>
                      <a:pt x="2107" y="560"/>
                    </a:lnTo>
                    <a:lnTo>
                      <a:pt x="2086" y="577"/>
                    </a:lnTo>
                    <a:lnTo>
                      <a:pt x="2091" y="577"/>
                    </a:lnTo>
                    <a:lnTo>
                      <a:pt x="2091" y="589"/>
                    </a:lnTo>
                    <a:lnTo>
                      <a:pt x="2117" y="560"/>
                    </a:lnTo>
                    <a:lnTo>
                      <a:pt x="2145" y="560"/>
                    </a:lnTo>
                    <a:lnTo>
                      <a:pt x="2145" y="551"/>
                    </a:lnTo>
                    <a:lnTo>
                      <a:pt x="2155" y="551"/>
                    </a:lnTo>
                    <a:lnTo>
                      <a:pt x="2200" y="560"/>
                    </a:lnTo>
                    <a:lnTo>
                      <a:pt x="2230" y="577"/>
                    </a:lnTo>
                    <a:lnTo>
                      <a:pt x="2252" y="577"/>
                    </a:lnTo>
                    <a:lnTo>
                      <a:pt x="2247" y="577"/>
                    </a:lnTo>
                    <a:lnTo>
                      <a:pt x="2263" y="572"/>
                    </a:lnTo>
                    <a:lnTo>
                      <a:pt x="2268" y="589"/>
                    </a:lnTo>
                    <a:lnTo>
                      <a:pt x="2289" y="589"/>
                    </a:lnTo>
                    <a:lnTo>
                      <a:pt x="2301" y="596"/>
                    </a:lnTo>
                    <a:lnTo>
                      <a:pt x="2301" y="589"/>
                    </a:lnTo>
                    <a:lnTo>
                      <a:pt x="2356" y="577"/>
                    </a:lnTo>
                    <a:lnTo>
                      <a:pt x="2389" y="577"/>
                    </a:lnTo>
                    <a:lnTo>
                      <a:pt x="2495" y="645"/>
                    </a:lnTo>
                    <a:lnTo>
                      <a:pt x="2556" y="704"/>
                    </a:lnTo>
                    <a:lnTo>
                      <a:pt x="2578" y="716"/>
                    </a:lnTo>
                    <a:lnTo>
                      <a:pt x="2587" y="728"/>
                    </a:lnTo>
                    <a:lnTo>
                      <a:pt x="2608" y="740"/>
                    </a:lnTo>
                    <a:lnTo>
                      <a:pt x="2615" y="744"/>
                    </a:lnTo>
                    <a:lnTo>
                      <a:pt x="2670" y="744"/>
                    </a:lnTo>
                    <a:lnTo>
                      <a:pt x="2712" y="756"/>
                    </a:lnTo>
                    <a:lnTo>
                      <a:pt x="2738" y="839"/>
                    </a:lnTo>
                    <a:lnTo>
                      <a:pt x="2750" y="884"/>
                    </a:lnTo>
                    <a:lnTo>
                      <a:pt x="2750" y="893"/>
                    </a:lnTo>
                    <a:lnTo>
                      <a:pt x="2750" y="884"/>
                    </a:lnTo>
                    <a:lnTo>
                      <a:pt x="2755" y="922"/>
                    </a:lnTo>
                    <a:lnTo>
                      <a:pt x="2750" y="922"/>
                    </a:lnTo>
                    <a:lnTo>
                      <a:pt x="2755" y="926"/>
                    </a:lnTo>
                    <a:lnTo>
                      <a:pt x="2750" y="943"/>
                    </a:lnTo>
                    <a:lnTo>
                      <a:pt x="2750" y="950"/>
                    </a:lnTo>
                    <a:lnTo>
                      <a:pt x="2750" y="959"/>
                    </a:lnTo>
                    <a:lnTo>
                      <a:pt x="2717" y="1037"/>
                    </a:lnTo>
                    <a:lnTo>
                      <a:pt x="2684" y="1077"/>
                    </a:lnTo>
                    <a:lnTo>
                      <a:pt x="2641" y="1132"/>
                    </a:lnTo>
                    <a:lnTo>
                      <a:pt x="2608" y="1160"/>
                    </a:lnTo>
                    <a:lnTo>
                      <a:pt x="2594" y="1165"/>
                    </a:lnTo>
                    <a:lnTo>
                      <a:pt x="2587" y="1160"/>
                    </a:lnTo>
                    <a:lnTo>
                      <a:pt x="2594" y="1165"/>
                    </a:lnTo>
                    <a:lnTo>
                      <a:pt x="2594" y="1172"/>
                    </a:lnTo>
                    <a:lnTo>
                      <a:pt x="2587" y="1181"/>
                    </a:lnTo>
                    <a:lnTo>
                      <a:pt x="2578" y="1172"/>
                    </a:lnTo>
                    <a:lnTo>
                      <a:pt x="2587" y="1181"/>
                    </a:lnTo>
                    <a:lnTo>
                      <a:pt x="2587" y="1188"/>
                    </a:lnTo>
                    <a:lnTo>
                      <a:pt x="2570" y="1205"/>
                    </a:lnTo>
                    <a:lnTo>
                      <a:pt x="2578" y="1188"/>
                    </a:lnTo>
                    <a:lnTo>
                      <a:pt x="2570" y="1188"/>
                    </a:lnTo>
                    <a:lnTo>
                      <a:pt x="2556" y="1243"/>
                    </a:lnTo>
                    <a:lnTo>
                      <a:pt x="2523" y="1292"/>
                    </a:lnTo>
                    <a:lnTo>
                      <a:pt x="2495" y="1325"/>
                    </a:lnTo>
                    <a:lnTo>
                      <a:pt x="2495" y="1300"/>
                    </a:lnTo>
                    <a:lnTo>
                      <a:pt x="2485" y="1300"/>
                    </a:lnTo>
                    <a:lnTo>
                      <a:pt x="2481" y="1292"/>
                    </a:lnTo>
                    <a:lnTo>
                      <a:pt x="2469" y="1309"/>
                    </a:lnTo>
                    <a:lnTo>
                      <a:pt x="2469" y="1292"/>
                    </a:lnTo>
                    <a:lnTo>
                      <a:pt x="2464" y="1300"/>
                    </a:lnTo>
                    <a:lnTo>
                      <a:pt x="2469" y="1309"/>
                    </a:lnTo>
                    <a:lnTo>
                      <a:pt x="2481" y="1309"/>
                    </a:lnTo>
                    <a:lnTo>
                      <a:pt x="2464" y="1349"/>
                    </a:lnTo>
                    <a:lnTo>
                      <a:pt x="2452" y="1349"/>
                    </a:lnTo>
                    <a:lnTo>
                      <a:pt x="2452" y="1354"/>
                    </a:lnTo>
                    <a:lnTo>
                      <a:pt x="2464" y="1370"/>
                    </a:lnTo>
                    <a:lnTo>
                      <a:pt x="2452" y="1403"/>
                    </a:lnTo>
                    <a:lnTo>
                      <a:pt x="2464" y="1394"/>
                    </a:lnTo>
                    <a:lnTo>
                      <a:pt x="2464" y="1387"/>
                    </a:lnTo>
                    <a:lnTo>
                      <a:pt x="2452" y="1444"/>
                    </a:lnTo>
                    <a:lnTo>
                      <a:pt x="2469" y="1531"/>
                    </a:lnTo>
                    <a:lnTo>
                      <a:pt x="2448" y="1625"/>
                    </a:lnTo>
                    <a:lnTo>
                      <a:pt x="2448" y="1666"/>
                    </a:lnTo>
                    <a:lnTo>
                      <a:pt x="2415" y="1703"/>
                    </a:lnTo>
                    <a:lnTo>
                      <a:pt x="2410" y="1744"/>
                    </a:lnTo>
                    <a:lnTo>
                      <a:pt x="2410" y="1793"/>
                    </a:lnTo>
                    <a:lnTo>
                      <a:pt x="2398" y="1810"/>
                    </a:lnTo>
                    <a:lnTo>
                      <a:pt x="2389" y="1814"/>
                    </a:lnTo>
                    <a:lnTo>
                      <a:pt x="2372" y="1864"/>
                    </a:lnTo>
                    <a:lnTo>
                      <a:pt x="2360" y="1855"/>
                    </a:lnTo>
                    <a:lnTo>
                      <a:pt x="2360" y="1864"/>
                    </a:lnTo>
                    <a:lnTo>
                      <a:pt x="2372" y="1864"/>
                    </a:lnTo>
                    <a:lnTo>
                      <a:pt x="2360" y="1888"/>
                    </a:lnTo>
                    <a:lnTo>
                      <a:pt x="2344" y="1904"/>
                    </a:lnTo>
                    <a:lnTo>
                      <a:pt x="2334" y="1904"/>
                    </a:lnTo>
                    <a:lnTo>
                      <a:pt x="2322" y="1937"/>
                    </a:lnTo>
                    <a:lnTo>
                      <a:pt x="2318" y="1959"/>
                    </a:lnTo>
                    <a:lnTo>
                      <a:pt x="2322" y="1992"/>
                    </a:lnTo>
                    <a:lnTo>
                      <a:pt x="2263" y="2015"/>
                    </a:lnTo>
                    <a:lnTo>
                      <a:pt x="2247" y="2032"/>
                    </a:lnTo>
                    <a:lnTo>
                      <a:pt x="2247" y="2065"/>
                    </a:lnTo>
                    <a:lnTo>
                      <a:pt x="2171" y="2065"/>
                    </a:lnTo>
                    <a:lnTo>
                      <a:pt x="2176" y="2048"/>
                    </a:lnTo>
                    <a:lnTo>
                      <a:pt x="2171" y="2036"/>
                    </a:lnTo>
                    <a:lnTo>
                      <a:pt x="2162" y="2048"/>
                    </a:lnTo>
                    <a:lnTo>
                      <a:pt x="2171" y="2065"/>
                    </a:lnTo>
                    <a:lnTo>
                      <a:pt x="2162" y="2065"/>
                    </a:lnTo>
                    <a:lnTo>
                      <a:pt x="2107" y="2070"/>
                    </a:lnTo>
                    <a:lnTo>
                      <a:pt x="2138" y="2070"/>
                    </a:lnTo>
                    <a:lnTo>
                      <a:pt x="2117" y="2053"/>
                    </a:lnTo>
                    <a:lnTo>
                      <a:pt x="2091" y="2070"/>
                    </a:lnTo>
                    <a:lnTo>
                      <a:pt x="2086" y="2065"/>
                    </a:lnTo>
                    <a:lnTo>
                      <a:pt x="2063" y="2070"/>
                    </a:lnTo>
                    <a:lnTo>
                      <a:pt x="2063" y="2086"/>
                    </a:lnTo>
                    <a:lnTo>
                      <a:pt x="2070" y="2086"/>
                    </a:lnTo>
                    <a:lnTo>
                      <a:pt x="2070" y="2093"/>
                    </a:lnTo>
                    <a:lnTo>
                      <a:pt x="2048" y="2093"/>
                    </a:lnTo>
                    <a:lnTo>
                      <a:pt x="2032" y="2103"/>
                    </a:lnTo>
                    <a:lnTo>
                      <a:pt x="2011" y="2110"/>
                    </a:lnTo>
                    <a:lnTo>
                      <a:pt x="2011" y="2126"/>
                    </a:lnTo>
                    <a:lnTo>
                      <a:pt x="1978" y="2126"/>
                    </a:lnTo>
                    <a:lnTo>
                      <a:pt x="1956" y="2131"/>
                    </a:lnTo>
                    <a:lnTo>
                      <a:pt x="1961" y="2131"/>
                    </a:lnTo>
                    <a:lnTo>
                      <a:pt x="1944" y="2143"/>
                    </a:lnTo>
                    <a:lnTo>
                      <a:pt x="1940" y="2131"/>
                    </a:lnTo>
                    <a:lnTo>
                      <a:pt x="1940" y="2143"/>
                    </a:lnTo>
                    <a:lnTo>
                      <a:pt x="1822" y="2221"/>
                    </a:lnTo>
                    <a:lnTo>
                      <a:pt x="1836" y="2221"/>
                    </a:lnTo>
                    <a:lnTo>
                      <a:pt x="1831" y="2230"/>
                    </a:lnTo>
                    <a:lnTo>
                      <a:pt x="1815" y="2254"/>
                    </a:lnTo>
                    <a:lnTo>
                      <a:pt x="1815" y="2242"/>
                    </a:lnTo>
                    <a:lnTo>
                      <a:pt x="1815" y="2237"/>
                    </a:lnTo>
                    <a:lnTo>
                      <a:pt x="1798" y="2242"/>
                    </a:lnTo>
                    <a:lnTo>
                      <a:pt x="1793" y="2254"/>
                    </a:lnTo>
                    <a:lnTo>
                      <a:pt x="1777" y="2254"/>
                    </a:lnTo>
                    <a:lnTo>
                      <a:pt x="1798" y="2259"/>
                    </a:lnTo>
                    <a:lnTo>
                      <a:pt x="1793" y="2275"/>
                    </a:lnTo>
                    <a:lnTo>
                      <a:pt x="1777" y="2287"/>
                    </a:lnTo>
                    <a:lnTo>
                      <a:pt x="1784" y="2287"/>
                    </a:lnTo>
                    <a:lnTo>
                      <a:pt x="1784" y="2308"/>
                    </a:lnTo>
                    <a:lnTo>
                      <a:pt x="1777" y="2313"/>
                    </a:lnTo>
                    <a:lnTo>
                      <a:pt x="1767" y="2296"/>
                    </a:lnTo>
                    <a:lnTo>
                      <a:pt x="1777" y="2313"/>
                    </a:lnTo>
                    <a:lnTo>
                      <a:pt x="1784" y="2329"/>
                    </a:lnTo>
                    <a:lnTo>
                      <a:pt x="1777" y="2348"/>
                    </a:lnTo>
                    <a:lnTo>
                      <a:pt x="1784" y="2381"/>
                    </a:lnTo>
                    <a:lnTo>
                      <a:pt x="1793" y="2386"/>
                    </a:lnTo>
                    <a:lnTo>
                      <a:pt x="1784" y="2386"/>
                    </a:lnTo>
                    <a:lnTo>
                      <a:pt x="1784" y="2419"/>
                    </a:lnTo>
                    <a:lnTo>
                      <a:pt x="1784" y="2440"/>
                    </a:lnTo>
                    <a:lnTo>
                      <a:pt x="1777" y="2492"/>
                    </a:lnTo>
                    <a:lnTo>
                      <a:pt x="1767" y="2476"/>
                    </a:lnTo>
                    <a:lnTo>
                      <a:pt x="1777" y="2492"/>
                    </a:lnTo>
                    <a:lnTo>
                      <a:pt x="1730" y="2530"/>
                    </a:lnTo>
                    <a:lnTo>
                      <a:pt x="1706" y="2551"/>
                    </a:lnTo>
                    <a:lnTo>
                      <a:pt x="1685" y="2592"/>
                    </a:lnTo>
                    <a:lnTo>
                      <a:pt x="1668" y="2641"/>
                    </a:lnTo>
                    <a:lnTo>
                      <a:pt x="1637" y="2686"/>
                    </a:lnTo>
                    <a:lnTo>
                      <a:pt x="1583" y="2740"/>
                    </a:lnTo>
                    <a:lnTo>
                      <a:pt x="1550" y="2757"/>
                    </a:lnTo>
                    <a:lnTo>
                      <a:pt x="1545" y="2773"/>
                    </a:lnTo>
                    <a:lnTo>
                      <a:pt x="1545" y="2757"/>
                    </a:lnTo>
                    <a:lnTo>
                      <a:pt x="1533" y="2752"/>
                    </a:lnTo>
                    <a:lnTo>
                      <a:pt x="1562" y="2752"/>
                    </a:lnTo>
                    <a:lnTo>
                      <a:pt x="1588" y="2731"/>
                    </a:lnTo>
                    <a:lnTo>
                      <a:pt x="1600" y="2719"/>
                    </a:lnTo>
                    <a:lnTo>
                      <a:pt x="1604" y="2686"/>
                    </a:lnTo>
                    <a:lnTo>
                      <a:pt x="1621" y="2696"/>
                    </a:lnTo>
                    <a:lnTo>
                      <a:pt x="1621" y="2679"/>
                    </a:lnTo>
                    <a:lnTo>
                      <a:pt x="1637" y="2662"/>
                    </a:lnTo>
                    <a:lnTo>
                      <a:pt x="1637" y="2641"/>
                    </a:lnTo>
                    <a:lnTo>
                      <a:pt x="1642" y="2641"/>
                    </a:lnTo>
                    <a:lnTo>
                      <a:pt x="1654" y="2625"/>
                    </a:lnTo>
                    <a:lnTo>
                      <a:pt x="1642" y="2625"/>
                    </a:lnTo>
                    <a:lnTo>
                      <a:pt x="1637" y="2629"/>
                    </a:lnTo>
                    <a:lnTo>
                      <a:pt x="1621" y="2629"/>
                    </a:lnTo>
                    <a:lnTo>
                      <a:pt x="1621" y="2641"/>
                    </a:lnTo>
                    <a:lnTo>
                      <a:pt x="1616" y="2641"/>
                    </a:lnTo>
                    <a:lnTo>
                      <a:pt x="1616" y="2625"/>
                    </a:lnTo>
                    <a:lnTo>
                      <a:pt x="1604" y="2625"/>
                    </a:lnTo>
                    <a:lnTo>
                      <a:pt x="1600" y="2608"/>
                    </a:lnTo>
                    <a:lnTo>
                      <a:pt x="1600" y="2620"/>
                    </a:lnTo>
                    <a:lnTo>
                      <a:pt x="1604" y="2641"/>
                    </a:lnTo>
                    <a:lnTo>
                      <a:pt x="1600" y="2674"/>
                    </a:lnTo>
                    <a:lnTo>
                      <a:pt x="1588" y="2658"/>
                    </a:lnTo>
                    <a:lnTo>
                      <a:pt x="1583" y="2686"/>
                    </a:lnTo>
                    <a:lnTo>
                      <a:pt x="1550" y="2712"/>
                    </a:lnTo>
                    <a:lnTo>
                      <a:pt x="1545" y="2736"/>
                    </a:lnTo>
                    <a:lnTo>
                      <a:pt x="1529" y="2740"/>
                    </a:lnTo>
                    <a:lnTo>
                      <a:pt x="1533" y="2757"/>
                    </a:lnTo>
                    <a:lnTo>
                      <a:pt x="1529" y="2769"/>
                    </a:lnTo>
                    <a:lnTo>
                      <a:pt x="1533" y="2773"/>
                    </a:lnTo>
                    <a:lnTo>
                      <a:pt x="1524" y="2807"/>
                    </a:lnTo>
                    <a:lnTo>
                      <a:pt x="1496" y="2851"/>
                    </a:lnTo>
                    <a:lnTo>
                      <a:pt x="1453" y="2901"/>
                    </a:lnTo>
                    <a:lnTo>
                      <a:pt x="1437" y="2901"/>
                    </a:lnTo>
                    <a:lnTo>
                      <a:pt x="1437" y="2851"/>
                    </a:lnTo>
                    <a:lnTo>
                      <a:pt x="1470" y="2823"/>
                    </a:lnTo>
                    <a:lnTo>
                      <a:pt x="1437" y="2797"/>
                    </a:lnTo>
                    <a:lnTo>
                      <a:pt x="1415" y="2757"/>
                    </a:lnTo>
                    <a:lnTo>
                      <a:pt x="1382" y="2752"/>
                    </a:lnTo>
                    <a:lnTo>
                      <a:pt x="1366" y="2719"/>
                    </a:lnTo>
                    <a:lnTo>
                      <a:pt x="1319" y="2703"/>
                    </a:lnTo>
                    <a:lnTo>
                      <a:pt x="1297" y="2674"/>
                    </a:lnTo>
                    <a:lnTo>
                      <a:pt x="1276" y="2686"/>
                    </a:lnTo>
                    <a:lnTo>
                      <a:pt x="1264" y="2686"/>
                    </a:lnTo>
                    <a:lnTo>
                      <a:pt x="1264" y="2674"/>
                    </a:lnTo>
                    <a:lnTo>
                      <a:pt x="1210" y="2620"/>
                    </a:lnTo>
                    <a:lnTo>
                      <a:pt x="1189" y="2620"/>
                    </a:lnTo>
                    <a:lnTo>
                      <a:pt x="1184" y="2629"/>
                    </a:lnTo>
                    <a:lnTo>
                      <a:pt x="1156" y="2625"/>
                    </a:lnTo>
                    <a:lnTo>
                      <a:pt x="1151" y="2625"/>
                    </a:lnTo>
                    <a:lnTo>
                      <a:pt x="1172" y="2608"/>
                    </a:lnTo>
                    <a:lnTo>
                      <a:pt x="1172" y="2592"/>
                    </a:lnTo>
                    <a:lnTo>
                      <a:pt x="1189" y="2585"/>
                    </a:lnTo>
                    <a:lnTo>
                      <a:pt x="1222" y="2535"/>
                    </a:lnTo>
                    <a:lnTo>
                      <a:pt x="1238" y="2535"/>
                    </a:lnTo>
                    <a:lnTo>
                      <a:pt x="1243" y="2514"/>
                    </a:lnTo>
                    <a:lnTo>
                      <a:pt x="1276" y="2481"/>
                    </a:lnTo>
                    <a:lnTo>
                      <a:pt x="1290" y="2481"/>
                    </a:lnTo>
                    <a:lnTo>
                      <a:pt x="1290" y="2476"/>
                    </a:lnTo>
                    <a:lnTo>
                      <a:pt x="1281" y="2464"/>
                    </a:lnTo>
                    <a:lnTo>
                      <a:pt x="1307" y="2457"/>
                    </a:lnTo>
                    <a:lnTo>
                      <a:pt x="1314" y="2440"/>
                    </a:lnTo>
                    <a:lnTo>
                      <a:pt x="1335" y="2436"/>
                    </a:lnTo>
                    <a:lnTo>
                      <a:pt x="1352" y="2407"/>
                    </a:lnTo>
                    <a:lnTo>
                      <a:pt x="1382" y="2403"/>
                    </a:lnTo>
                    <a:lnTo>
                      <a:pt x="1420" y="2381"/>
                    </a:lnTo>
                    <a:lnTo>
                      <a:pt x="1427" y="2365"/>
                    </a:lnTo>
                    <a:lnTo>
                      <a:pt x="1427" y="2325"/>
                    </a:lnTo>
                    <a:lnTo>
                      <a:pt x="1427" y="2313"/>
                    </a:lnTo>
                    <a:lnTo>
                      <a:pt x="1420" y="2292"/>
                    </a:lnTo>
                    <a:lnTo>
                      <a:pt x="1415" y="2270"/>
                    </a:lnTo>
                    <a:lnTo>
                      <a:pt x="1399" y="2254"/>
                    </a:lnTo>
                    <a:lnTo>
                      <a:pt x="1373" y="2270"/>
                    </a:lnTo>
                    <a:lnTo>
                      <a:pt x="1366" y="2259"/>
                    </a:lnTo>
                    <a:lnTo>
                      <a:pt x="1361" y="2254"/>
                    </a:lnTo>
                    <a:lnTo>
                      <a:pt x="1373" y="2230"/>
                    </a:lnTo>
                    <a:lnTo>
                      <a:pt x="1373" y="2221"/>
                    </a:lnTo>
                    <a:lnTo>
                      <a:pt x="1389" y="2164"/>
                    </a:lnTo>
                    <a:lnTo>
                      <a:pt x="1382" y="2148"/>
                    </a:lnTo>
                    <a:lnTo>
                      <a:pt x="1389" y="2148"/>
                    </a:lnTo>
                    <a:lnTo>
                      <a:pt x="1361" y="2126"/>
                    </a:lnTo>
                    <a:lnTo>
                      <a:pt x="1335" y="2143"/>
                    </a:lnTo>
                    <a:lnTo>
                      <a:pt x="1307" y="2143"/>
                    </a:lnTo>
                    <a:lnTo>
                      <a:pt x="1290" y="2053"/>
                    </a:lnTo>
                    <a:lnTo>
                      <a:pt x="1290" y="2036"/>
                    </a:lnTo>
                    <a:lnTo>
                      <a:pt x="1276" y="2015"/>
                    </a:lnTo>
                    <a:lnTo>
                      <a:pt x="1252" y="2008"/>
                    </a:lnTo>
                    <a:lnTo>
                      <a:pt x="1238" y="1992"/>
                    </a:lnTo>
                    <a:lnTo>
                      <a:pt x="1222" y="2008"/>
                    </a:lnTo>
                    <a:lnTo>
                      <a:pt x="1205" y="2008"/>
                    </a:lnTo>
                    <a:lnTo>
                      <a:pt x="1130" y="1999"/>
                    </a:lnTo>
                    <a:lnTo>
                      <a:pt x="1130" y="1954"/>
                    </a:lnTo>
                    <a:lnTo>
                      <a:pt x="1134" y="1942"/>
                    </a:lnTo>
                    <a:lnTo>
                      <a:pt x="1134" y="1909"/>
                    </a:lnTo>
                    <a:lnTo>
                      <a:pt x="1113" y="1848"/>
                    </a:lnTo>
                    <a:lnTo>
                      <a:pt x="1134" y="1836"/>
                    </a:lnTo>
                    <a:lnTo>
                      <a:pt x="1118" y="1814"/>
                    </a:lnTo>
                    <a:lnTo>
                      <a:pt x="1146" y="1770"/>
                    </a:lnTo>
                    <a:lnTo>
                      <a:pt x="1146" y="1760"/>
                    </a:lnTo>
                    <a:lnTo>
                      <a:pt x="1156" y="1703"/>
                    </a:lnTo>
                    <a:lnTo>
                      <a:pt x="1146" y="1682"/>
                    </a:lnTo>
                    <a:lnTo>
                      <a:pt x="1146" y="1659"/>
                    </a:lnTo>
                    <a:lnTo>
                      <a:pt x="1096" y="1633"/>
                    </a:lnTo>
                    <a:lnTo>
                      <a:pt x="1092" y="1592"/>
                    </a:lnTo>
                    <a:lnTo>
                      <a:pt x="1101" y="1576"/>
                    </a:lnTo>
                    <a:lnTo>
                      <a:pt x="1101" y="1559"/>
                    </a:lnTo>
                    <a:lnTo>
                      <a:pt x="971" y="1559"/>
                    </a:lnTo>
                    <a:lnTo>
                      <a:pt x="967" y="1498"/>
                    </a:lnTo>
                    <a:lnTo>
                      <a:pt x="941" y="1477"/>
                    </a:lnTo>
                    <a:lnTo>
                      <a:pt x="967" y="1477"/>
                    </a:lnTo>
                    <a:lnTo>
                      <a:pt x="967" y="1437"/>
                    </a:lnTo>
                    <a:lnTo>
                      <a:pt x="950" y="1403"/>
                    </a:lnTo>
                    <a:lnTo>
                      <a:pt x="957" y="1394"/>
                    </a:lnTo>
                    <a:lnTo>
                      <a:pt x="950" y="1382"/>
                    </a:lnTo>
                    <a:lnTo>
                      <a:pt x="912" y="1354"/>
                    </a:lnTo>
                    <a:lnTo>
                      <a:pt x="858" y="1366"/>
                    </a:lnTo>
                    <a:lnTo>
                      <a:pt x="832" y="1333"/>
                    </a:lnTo>
                    <a:lnTo>
                      <a:pt x="820" y="1333"/>
                    </a:lnTo>
                    <a:lnTo>
                      <a:pt x="794" y="1316"/>
                    </a:lnTo>
                    <a:lnTo>
                      <a:pt x="789" y="1325"/>
                    </a:lnTo>
                    <a:lnTo>
                      <a:pt x="773" y="1309"/>
                    </a:lnTo>
                    <a:lnTo>
                      <a:pt x="773" y="1292"/>
                    </a:lnTo>
                    <a:lnTo>
                      <a:pt x="752" y="1300"/>
                    </a:lnTo>
                    <a:lnTo>
                      <a:pt x="723" y="1283"/>
                    </a:lnTo>
                    <a:lnTo>
                      <a:pt x="714" y="1283"/>
                    </a:lnTo>
                    <a:lnTo>
                      <a:pt x="681" y="1283"/>
                    </a:lnTo>
                    <a:lnTo>
                      <a:pt x="669" y="1259"/>
                    </a:lnTo>
                    <a:lnTo>
                      <a:pt x="648" y="1259"/>
                    </a:lnTo>
                    <a:lnTo>
                      <a:pt x="648" y="1243"/>
                    </a:lnTo>
                    <a:lnTo>
                      <a:pt x="631" y="1243"/>
                    </a:lnTo>
                    <a:lnTo>
                      <a:pt x="631" y="1226"/>
                    </a:lnTo>
                    <a:lnTo>
                      <a:pt x="617" y="1226"/>
                    </a:lnTo>
                    <a:lnTo>
                      <a:pt x="626" y="1222"/>
                    </a:lnTo>
                    <a:lnTo>
                      <a:pt x="610" y="1205"/>
                    </a:lnTo>
                    <a:lnTo>
                      <a:pt x="610" y="1188"/>
                    </a:lnTo>
                    <a:lnTo>
                      <a:pt x="610" y="1172"/>
                    </a:lnTo>
                    <a:lnTo>
                      <a:pt x="605" y="1132"/>
                    </a:lnTo>
                    <a:lnTo>
                      <a:pt x="610" y="1115"/>
                    </a:lnTo>
                    <a:lnTo>
                      <a:pt x="610" y="1077"/>
                    </a:lnTo>
                    <a:lnTo>
                      <a:pt x="593" y="1087"/>
                    </a:lnTo>
                    <a:lnTo>
                      <a:pt x="556" y="1087"/>
                    </a:lnTo>
                    <a:lnTo>
                      <a:pt x="518" y="1094"/>
                    </a:lnTo>
                    <a:lnTo>
                      <a:pt x="487" y="1115"/>
                    </a:lnTo>
                    <a:lnTo>
                      <a:pt x="471" y="1127"/>
                    </a:lnTo>
                    <a:lnTo>
                      <a:pt x="454" y="1132"/>
                    </a:lnTo>
                    <a:lnTo>
                      <a:pt x="442" y="1148"/>
                    </a:lnTo>
                    <a:lnTo>
                      <a:pt x="416" y="1148"/>
                    </a:lnTo>
                    <a:lnTo>
                      <a:pt x="400" y="1172"/>
                    </a:lnTo>
                    <a:lnTo>
                      <a:pt x="378" y="1181"/>
                    </a:lnTo>
                    <a:lnTo>
                      <a:pt x="374" y="1181"/>
                    </a:lnTo>
                    <a:lnTo>
                      <a:pt x="362" y="1172"/>
                    </a:lnTo>
                    <a:lnTo>
                      <a:pt x="319" y="1172"/>
                    </a:lnTo>
                    <a:lnTo>
                      <a:pt x="286" y="1165"/>
                    </a:lnTo>
                    <a:lnTo>
                      <a:pt x="265" y="1181"/>
                    </a:lnTo>
                    <a:lnTo>
                      <a:pt x="248" y="1165"/>
                    </a:lnTo>
                    <a:lnTo>
                      <a:pt x="237" y="1172"/>
                    </a:lnTo>
                    <a:lnTo>
                      <a:pt x="237" y="1087"/>
                    </a:lnTo>
                    <a:lnTo>
                      <a:pt x="248" y="1061"/>
                    </a:lnTo>
                    <a:lnTo>
                      <a:pt x="194" y="1106"/>
                    </a:lnTo>
                    <a:lnTo>
                      <a:pt x="130" y="1106"/>
                    </a:lnTo>
                    <a:lnTo>
                      <a:pt x="114" y="1061"/>
                    </a:lnTo>
                    <a:lnTo>
                      <a:pt x="55" y="1054"/>
                    </a:lnTo>
                    <a:lnTo>
                      <a:pt x="76" y="1037"/>
                    </a:lnTo>
                    <a:lnTo>
                      <a:pt x="76" y="1021"/>
                    </a:lnTo>
                    <a:lnTo>
                      <a:pt x="38" y="983"/>
                    </a:lnTo>
                    <a:lnTo>
                      <a:pt x="33" y="959"/>
                    </a:lnTo>
                    <a:lnTo>
                      <a:pt x="17" y="950"/>
                    </a:lnTo>
                    <a:lnTo>
                      <a:pt x="22" y="938"/>
                    </a:lnTo>
                    <a:lnTo>
                      <a:pt x="0" y="922"/>
                    </a:lnTo>
                    <a:lnTo>
                      <a:pt x="5" y="910"/>
                    </a:lnTo>
                    <a:lnTo>
                      <a:pt x="22" y="905"/>
                    </a:lnTo>
                    <a:lnTo>
                      <a:pt x="17" y="888"/>
                    </a:lnTo>
                    <a:lnTo>
                      <a:pt x="22" y="872"/>
                    </a:lnTo>
                    <a:lnTo>
                      <a:pt x="59" y="839"/>
                    </a:lnTo>
                    <a:lnTo>
                      <a:pt x="55" y="815"/>
                    </a:lnTo>
                    <a:lnTo>
                      <a:pt x="76" y="782"/>
                    </a:lnTo>
                    <a:lnTo>
                      <a:pt x="85" y="744"/>
                    </a:lnTo>
                    <a:lnTo>
                      <a:pt x="147" y="704"/>
                    </a:lnTo>
                    <a:lnTo>
                      <a:pt x="199" y="688"/>
                    </a:lnTo>
                    <a:lnTo>
                      <a:pt x="215" y="688"/>
                    </a:lnTo>
                    <a:lnTo>
                      <a:pt x="232" y="671"/>
                    </a:lnTo>
                    <a:lnTo>
                      <a:pt x="265" y="671"/>
                    </a:lnTo>
                    <a:lnTo>
                      <a:pt x="270" y="688"/>
                    </a:lnTo>
                    <a:lnTo>
                      <a:pt x="274" y="688"/>
                    </a:lnTo>
                    <a:lnTo>
                      <a:pt x="286" y="683"/>
                    </a:lnTo>
                    <a:lnTo>
                      <a:pt x="286" y="683"/>
                    </a:lnTo>
                    <a:lnTo>
                      <a:pt x="286" y="683"/>
                    </a:lnTo>
                    <a:close/>
                    <a:moveTo>
                      <a:pt x="1654" y="222"/>
                    </a:moveTo>
                    <a:lnTo>
                      <a:pt x="1659" y="222"/>
                    </a:lnTo>
                    <a:lnTo>
                      <a:pt x="1654" y="222"/>
                    </a:lnTo>
                    <a:lnTo>
                      <a:pt x="1654" y="222"/>
                    </a:lnTo>
                    <a:lnTo>
                      <a:pt x="1654" y="222"/>
                    </a:lnTo>
                    <a:close/>
                    <a:moveTo>
                      <a:pt x="1659" y="246"/>
                    </a:moveTo>
                    <a:lnTo>
                      <a:pt x="1654" y="229"/>
                    </a:lnTo>
                    <a:lnTo>
                      <a:pt x="1659" y="222"/>
                    </a:lnTo>
                    <a:lnTo>
                      <a:pt x="1668" y="239"/>
                    </a:lnTo>
                    <a:lnTo>
                      <a:pt x="1659" y="246"/>
                    </a:lnTo>
                    <a:lnTo>
                      <a:pt x="1659" y="246"/>
                    </a:lnTo>
                    <a:lnTo>
                      <a:pt x="1659" y="246"/>
                    </a:lnTo>
                    <a:close/>
                    <a:moveTo>
                      <a:pt x="1685" y="312"/>
                    </a:moveTo>
                    <a:lnTo>
                      <a:pt x="1692" y="300"/>
                    </a:lnTo>
                    <a:lnTo>
                      <a:pt x="1685" y="312"/>
                    </a:lnTo>
                    <a:lnTo>
                      <a:pt x="1685" y="312"/>
                    </a:lnTo>
                    <a:lnTo>
                      <a:pt x="1685" y="312"/>
                    </a:lnTo>
                    <a:close/>
                    <a:moveTo>
                      <a:pt x="1668" y="329"/>
                    </a:moveTo>
                    <a:lnTo>
                      <a:pt x="1675" y="317"/>
                    </a:lnTo>
                    <a:lnTo>
                      <a:pt x="1685" y="312"/>
                    </a:lnTo>
                    <a:lnTo>
                      <a:pt x="1685" y="317"/>
                    </a:lnTo>
                    <a:lnTo>
                      <a:pt x="1668" y="329"/>
                    </a:lnTo>
                    <a:lnTo>
                      <a:pt x="1668" y="329"/>
                    </a:lnTo>
                    <a:lnTo>
                      <a:pt x="1668" y="329"/>
                    </a:lnTo>
                    <a:close/>
                    <a:moveTo>
                      <a:pt x="1668" y="357"/>
                    </a:moveTo>
                    <a:lnTo>
                      <a:pt x="1668" y="338"/>
                    </a:lnTo>
                    <a:lnTo>
                      <a:pt x="1685" y="333"/>
                    </a:lnTo>
                    <a:lnTo>
                      <a:pt x="1685" y="338"/>
                    </a:lnTo>
                    <a:lnTo>
                      <a:pt x="1668" y="357"/>
                    </a:lnTo>
                    <a:lnTo>
                      <a:pt x="1668" y="357"/>
                    </a:lnTo>
                    <a:lnTo>
                      <a:pt x="1668" y="357"/>
                    </a:lnTo>
                    <a:close/>
                    <a:moveTo>
                      <a:pt x="1654" y="366"/>
                    </a:moveTo>
                    <a:lnTo>
                      <a:pt x="1659" y="333"/>
                    </a:lnTo>
                    <a:lnTo>
                      <a:pt x="1668" y="357"/>
                    </a:lnTo>
                    <a:lnTo>
                      <a:pt x="1654" y="366"/>
                    </a:lnTo>
                    <a:lnTo>
                      <a:pt x="1654" y="366"/>
                    </a:lnTo>
                    <a:lnTo>
                      <a:pt x="1654" y="366"/>
                    </a:lnTo>
                    <a:close/>
                    <a:moveTo>
                      <a:pt x="1685" y="383"/>
                    </a:moveTo>
                    <a:lnTo>
                      <a:pt x="1659" y="374"/>
                    </a:lnTo>
                    <a:lnTo>
                      <a:pt x="1659" y="366"/>
                    </a:lnTo>
                    <a:lnTo>
                      <a:pt x="1706" y="357"/>
                    </a:lnTo>
                    <a:lnTo>
                      <a:pt x="1713" y="366"/>
                    </a:lnTo>
                    <a:lnTo>
                      <a:pt x="1685" y="383"/>
                    </a:lnTo>
                    <a:lnTo>
                      <a:pt x="1685" y="383"/>
                    </a:lnTo>
                    <a:lnTo>
                      <a:pt x="1685" y="383"/>
                    </a:lnTo>
                    <a:close/>
                    <a:moveTo>
                      <a:pt x="1654" y="383"/>
                    </a:moveTo>
                    <a:lnTo>
                      <a:pt x="1642" y="366"/>
                    </a:lnTo>
                    <a:lnTo>
                      <a:pt x="1654" y="366"/>
                    </a:lnTo>
                    <a:lnTo>
                      <a:pt x="1654" y="383"/>
                    </a:lnTo>
                    <a:lnTo>
                      <a:pt x="1654" y="383"/>
                    </a:lnTo>
                    <a:lnTo>
                      <a:pt x="1654" y="383"/>
                    </a:lnTo>
                    <a:close/>
                    <a:moveTo>
                      <a:pt x="1730" y="383"/>
                    </a:moveTo>
                    <a:lnTo>
                      <a:pt x="1730" y="390"/>
                    </a:lnTo>
                    <a:lnTo>
                      <a:pt x="1722" y="390"/>
                    </a:lnTo>
                    <a:lnTo>
                      <a:pt x="1706" y="390"/>
                    </a:lnTo>
                    <a:lnTo>
                      <a:pt x="1696" y="383"/>
                    </a:lnTo>
                    <a:lnTo>
                      <a:pt x="1713" y="374"/>
                    </a:lnTo>
                    <a:lnTo>
                      <a:pt x="1730" y="383"/>
                    </a:lnTo>
                    <a:lnTo>
                      <a:pt x="1730" y="383"/>
                    </a:lnTo>
                    <a:lnTo>
                      <a:pt x="1730" y="383"/>
                    </a:lnTo>
                    <a:close/>
                    <a:moveTo>
                      <a:pt x="1621" y="383"/>
                    </a:moveTo>
                    <a:lnTo>
                      <a:pt x="1630" y="374"/>
                    </a:lnTo>
                    <a:lnTo>
                      <a:pt x="1637" y="374"/>
                    </a:lnTo>
                    <a:lnTo>
                      <a:pt x="1621" y="383"/>
                    </a:lnTo>
                    <a:lnTo>
                      <a:pt x="1621" y="383"/>
                    </a:lnTo>
                    <a:lnTo>
                      <a:pt x="1621" y="383"/>
                    </a:lnTo>
                    <a:close/>
                    <a:moveTo>
                      <a:pt x="1630" y="395"/>
                    </a:moveTo>
                    <a:lnTo>
                      <a:pt x="1616" y="395"/>
                    </a:lnTo>
                    <a:lnTo>
                      <a:pt x="1621" y="383"/>
                    </a:lnTo>
                    <a:lnTo>
                      <a:pt x="1637" y="383"/>
                    </a:lnTo>
                    <a:lnTo>
                      <a:pt x="1642" y="383"/>
                    </a:lnTo>
                    <a:lnTo>
                      <a:pt x="1630" y="395"/>
                    </a:lnTo>
                    <a:lnTo>
                      <a:pt x="1630" y="395"/>
                    </a:lnTo>
                    <a:lnTo>
                      <a:pt x="1630" y="395"/>
                    </a:lnTo>
                    <a:close/>
                    <a:moveTo>
                      <a:pt x="1630" y="485"/>
                    </a:moveTo>
                    <a:lnTo>
                      <a:pt x="1630" y="461"/>
                    </a:lnTo>
                    <a:lnTo>
                      <a:pt x="1642" y="449"/>
                    </a:lnTo>
                    <a:lnTo>
                      <a:pt x="1630" y="449"/>
                    </a:lnTo>
                    <a:lnTo>
                      <a:pt x="1630" y="428"/>
                    </a:lnTo>
                    <a:lnTo>
                      <a:pt x="1637" y="423"/>
                    </a:lnTo>
                    <a:lnTo>
                      <a:pt x="1654" y="428"/>
                    </a:lnTo>
                    <a:lnTo>
                      <a:pt x="1637" y="423"/>
                    </a:lnTo>
                    <a:lnTo>
                      <a:pt x="1637" y="411"/>
                    </a:lnTo>
                    <a:lnTo>
                      <a:pt x="1637" y="395"/>
                    </a:lnTo>
                    <a:lnTo>
                      <a:pt x="1654" y="390"/>
                    </a:lnTo>
                    <a:lnTo>
                      <a:pt x="1659" y="390"/>
                    </a:lnTo>
                    <a:lnTo>
                      <a:pt x="1713" y="395"/>
                    </a:lnTo>
                    <a:lnTo>
                      <a:pt x="1744" y="390"/>
                    </a:lnTo>
                    <a:lnTo>
                      <a:pt x="1798" y="395"/>
                    </a:lnTo>
                    <a:lnTo>
                      <a:pt x="1793" y="444"/>
                    </a:lnTo>
                    <a:lnTo>
                      <a:pt x="1760" y="485"/>
                    </a:lnTo>
                    <a:lnTo>
                      <a:pt x="1744" y="494"/>
                    </a:lnTo>
                    <a:lnTo>
                      <a:pt x="1722" y="494"/>
                    </a:lnTo>
                    <a:lnTo>
                      <a:pt x="1706" y="506"/>
                    </a:lnTo>
                    <a:lnTo>
                      <a:pt x="1706" y="494"/>
                    </a:lnTo>
                    <a:lnTo>
                      <a:pt x="1696" y="506"/>
                    </a:lnTo>
                    <a:lnTo>
                      <a:pt x="1685" y="501"/>
                    </a:lnTo>
                    <a:lnTo>
                      <a:pt x="1659" y="506"/>
                    </a:lnTo>
                    <a:lnTo>
                      <a:pt x="1642" y="506"/>
                    </a:lnTo>
                    <a:lnTo>
                      <a:pt x="1630" y="485"/>
                    </a:lnTo>
                    <a:lnTo>
                      <a:pt x="1630" y="485"/>
                    </a:lnTo>
                    <a:lnTo>
                      <a:pt x="1630" y="485"/>
                    </a:lnTo>
                    <a:close/>
                    <a:moveTo>
                      <a:pt x="1588" y="411"/>
                    </a:moveTo>
                    <a:lnTo>
                      <a:pt x="1600" y="390"/>
                    </a:lnTo>
                    <a:lnTo>
                      <a:pt x="1604" y="390"/>
                    </a:lnTo>
                    <a:lnTo>
                      <a:pt x="1604" y="395"/>
                    </a:lnTo>
                    <a:lnTo>
                      <a:pt x="1588" y="411"/>
                    </a:lnTo>
                    <a:lnTo>
                      <a:pt x="1588" y="411"/>
                    </a:lnTo>
                    <a:lnTo>
                      <a:pt x="1588" y="411"/>
                    </a:lnTo>
                    <a:close/>
                    <a:moveTo>
                      <a:pt x="1630" y="407"/>
                    </a:moveTo>
                    <a:lnTo>
                      <a:pt x="1621" y="407"/>
                    </a:lnTo>
                    <a:lnTo>
                      <a:pt x="1637" y="395"/>
                    </a:lnTo>
                    <a:lnTo>
                      <a:pt x="1630" y="407"/>
                    </a:lnTo>
                    <a:lnTo>
                      <a:pt x="1630" y="407"/>
                    </a:lnTo>
                    <a:lnTo>
                      <a:pt x="1630" y="407"/>
                    </a:lnTo>
                    <a:close/>
                    <a:moveTo>
                      <a:pt x="1604" y="423"/>
                    </a:moveTo>
                    <a:lnTo>
                      <a:pt x="1604" y="407"/>
                    </a:lnTo>
                    <a:lnTo>
                      <a:pt x="1616" y="395"/>
                    </a:lnTo>
                    <a:lnTo>
                      <a:pt x="1621" y="407"/>
                    </a:lnTo>
                    <a:lnTo>
                      <a:pt x="1604" y="423"/>
                    </a:lnTo>
                    <a:lnTo>
                      <a:pt x="1604" y="423"/>
                    </a:lnTo>
                    <a:lnTo>
                      <a:pt x="1604" y="423"/>
                    </a:lnTo>
                    <a:close/>
                    <a:moveTo>
                      <a:pt x="1621" y="423"/>
                    </a:moveTo>
                    <a:lnTo>
                      <a:pt x="1621" y="407"/>
                    </a:lnTo>
                    <a:lnTo>
                      <a:pt x="1630" y="407"/>
                    </a:lnTo>
                    <a:lnTo>
                      <a:pt x="1630" y="411"/>
                    </a:lnTo>
                    <a:lnTo>
                      <a:pt x="1621" y="423"/>
                    </a:lnTo>
                    <a:lnTo>
                      <a:pt x="1621" y="423"/>
                    </a:lnTo>
                    <a:lnTo>
                      <a:pt x="1621" y="423"/>
                    </a:lnTo>
                    <a:close/>
                    <a:moveTo>
                      <a:pt x="1550" y="485"/>
                    </a:moveTo>
                    <a:lnTo>
                      <a:pt x="1550" y="461"/>
                    </a:lnTo>
                    <a:lnTo>
                      <a:pt x="1567" y="449"/>
                    </a:lnTo>
                    <a:lnTo>
                      <a:pt x="1578" y="428"/>
                    </a:lnTo>
                    <a:lnTo>
                      <a:pt x="1588" y="423"/>
                    </a:lnTo>
                    <a:lnTo>
                      <a:pt x="1604" y="411"/>
                    </a:lnTo>
                    <a:lnTo>
                      <a:pt x="1604" y="428"/>
                    </a:lnTo>
                    <a:lnTo>
                      <a:pt x="1600" y="449"/>
                    </a:lnTo>
                    <a:lnTo>
                      <a:pt x="1583" y="468"/>
                    </a:lnTo>
                    <a:lnTo>
                      <a:pt x="1550" y="485"/>
                    </a:lnTo>
                    <a:lnTo>
                      <a:pt x="1550" y="485"/>
                    </a:lnTo>
                    <a:lnTo>
                      <a:pt x="1550" y="485"/>
                    </a:lnTo>
                    <a:close/>
                    <a:moveTo>
                      <a:pt x="1604" y="444"/>
                    </a:moveTo>
                    <a:lnTo>
                      <a:pt x="1616" y="428"/>
                    </a:lnTo>
                    <a:lnTo>
                      <a:pt x="1630" y="423"/>
                    </a:lnTo>
                    <a:lnTo>
                      <a:pt x="1630" y="428"/>
                    </a:lnTo>
                    <a:lnTo>
                      <a:pt x="1604" y="444"/>
                    </a:lnTo>
                    <a:lnTo>
                      <a:pt x="1604" y="444"/>
                    </a:lnTo>
                    <a:lnTo>
                      <a:pt x="1604" y="444"/>
                    </a:lnTo>
                    <a:close/>
                    <a:moveTo>
                      <a:pt x="1831" y="428"/>
                    </a:moveTo>
                    <a:lnTo>
                      <a:pt x="1831" y="423"/>
                    </a:lnTo>
                    <a:lnTo>
                      <a:pt x="1836" y="428"/>
                    </a:lnTo>
                    <a:lnTo>
                      <a:pt x="1831" y="428"/>
                    </a:lnTo>
                    <a:lnTo>
                      <a:pt x="1831" y="428"/>
                    </a:lnTo>
                    <a:lnTo>
                      <a:pt x="1831" y="428"/>
                    </a:lnTo>
                    <a:close/>
                    <a:moveTo>
                      <a:pt x="1621" y="440"/>
                    </a:moveTo>
                    <a:lnTo>
                      <a:pt x="1621" y="428"/>
                    </a:lnTo>
                    <a:lnTo>
                      <a:pt x="1630" y="428"/>
                    </a:lnTo>
                    <a:lnTo>
                      <a:pt x="1621" y="440"/>
                    </a:lnTo>
                    <a:lnTo>
                      <a:pt x="1621" y="440"/>
                    </a:lnTo>
                    <a:lnTo>
                      <a:pt x="1621" y="440"/>
                    </a:lnTo>
                    <a:close/>
                    <a:moveTo>
                      <a:pt x="1588" y="468"/>
                    </a:moveTo>
                    <a:lnTo>
                      <a:pt x="1604" y="440"/>
                    </a:lnTo>
                    <a:lnTo>
                      <a:pt x="1600" y="461"/>
                    </a:lnTo>
                    <a:lnTo>
                      <a:pt x="1588" y="468"/>
                    </a:lnTo>
                    <a:lnTo>
                      <a:pt x="1588" y="468"/>
                    </a:lnTo>
                    <a:lnTo>
                      <a:pt x="1588" y="468"/>
                    </a:lnTo>
                    <a:close/>
                    <a:moveTo>
                      <a:pt x="1928" y="449"/>
                    </a:moveTo>
                    <a:lnTo>
                      <a:pt x="1940" y="444"/>
                    </a:lnTo>
                    <a:lnTo>
                      <a:pt x="1940" y="449"/>
                    </a:lnTo>
                    <a:lnTo>
                      <a:pt x="1928" y="449"/>
                    </a:lnTo>
                    <a:lnTo>
                      <a:pt x="1928" y="449"/>
                    </a:lnTo>
                    <a:lnTo>
                      <a:pt x="1928" y="449"/>
                    </a:lnTo>
                    <a:close/>
                    <a:moveTo>
                      <a:pt x="1798" y="468"/>
                    </a:moveTo>
                    <a:lnTo>
                      <a:pt x="1793" y="461"/>
                    </a:lnTo>
                    <a:lnTo>
                      <a:pt x="1798" y="449"/>
                    </a:lnTo>
                    <a:lnTo>
                      <a:pt x="1805" y="449"/>
                    </a:lnTo>
                    <a:lnTo>
                      <a:pt x="1798" y="468"/>
                    </a:lnTo>
                    <a:lnTo>
                      <a:pt x="1798" y="468"/>
                    </a:lnTo>
                    <a:lnTo>
                      <a:pt x="1798" y="468"/>
                    </a:lnTo>
                    <a:close/>
                    <a:moveTo>
                      <a:pt x="2037" y="477"/>
                    </a:moveTo>
                    <a:lnTo>
                      <a:pt x="2037" y="468"/>
                    </a:lnTo>
                    <a:lnTo>
                      <a:pt x="2048" y="468"/>
                    </a:lnTo>
                    <a:lnTo>
                      <a:pt x="2037" y="477"/>
                    </a:lnTo>
                    <a:lnTo>
                      <a:pt x="2037" y="477"/>
                    </a:lnTo>
                    <a:lnTo>
                      <a:pt x="2037" y="477"/>
                    </a:lnTo>
                    <a:close/>
                    <a:moveTo>
                      <a:pt x="1512" y="485"/>
                    </a:moveTo>
                    <a:lnTo>
                      <a:pt x="1533" y="477"/>
                    </a:lnTo>
                    <a:lnTo>
                      <a:pt x="1512" y="485"/>
                    </a:lnTo>
                    <a:lnTo>
                      <a:pt x="1512" y="485"/>
                    </a:lnTo>
                    <a:lnTo>
                      <a:pt x="1512" y="485"/>
                    </a:lnTo>
                    <a:close/>
                    <a:moveTo>
                      <a:pt x="1529" y="501"/>
                    </a:moveTo>
                    <a:lnTo>
                      <a:pt x="1533" y="485"/>
                    </a:lnTo>
                    <a:lnTo>
                      <a:pt x="1545" y="485"/>
                    </a:lnTo>
                    <a:lnTo>
                      <a:pt x="1550" y="485"/>
                    </a:lnTo>
                    <a:lnTo>
                      <a:pt x="1529" y="501"/>
                    </a:lnTo>
                    <a:lnTo>
                      <a:pt x="1529" y="501"/>
                    </a:lnTo>
                    <a:lnTo>
                      <a:pt x="1529" y="501"/>
                    </a:lnTo>
                    <a:close/>
                    <a:moveTo>
                      <a:pt x="2053" y="501"/>
                    </a:moveTo>
                    <a:lnTo>
                      <a:pt x="2063" y="494"/>
                    </a:lnTo>
                    <a:lnTo>
                      <a:pt x="2063" y="501"/>
                    </a:lnTo>
                    <a:lnTo>
                      <a:pt x="2053" y="501"/>
                    </a:lnTo>
                    <a:lnTo>
                      <a:pt x="2053" y="501"/>
                    </a:lnTo>
                    <a:lnTo>
                      <a:pt x="2053" y="501"/>
                    </a:lnTo>
                    <a:close/>
                    <a:moveTo>
                      <a:pt x="1760" y="506"/>
                    </a:moveTo>
                    <a:lnTo>
                      <a:pt x="1751" y="501"/>
                    </a:lnTo>
                    <a:lnTo>
                      <a:pt x="1760" y="494"/>
                    </a:lnTo>
                    <a:lnTo>
                      <a:pt x="1760" y="506"/>
                    </a:lnTo>
                    <a:lnTo>
                      <a:pt x="1760" y="506"/>
                    </a:lnTo>
                    <a:lnTo>
                      <a:pt x="1760" y="506"/>
                    </a:lnTo>
                    <a:close/>
                    <a:moveTo>
                      <a:pt x="1744" y="518"/>
                    </a:moveTo>
                    <a:lnTo>
                      <a:pt x="1751" y="501"/>
                    </a:lnTo>
                    <a:lnTo>
                      <a:pt x="1751" y="506"/>
                    </a:lnTo>
                    <a:lnTo>
                      <a:pt x="1744" y="518"/>
                    </a:lnTo>
                    <a:lnTo>
                      <a:pt x="1744" y="518"/>
                    </a:lnTo>
                    <a:lnTo>
                      <a:pt x="1744" y="518"/>
                    </a:lnTo>
                    <a:close/>
                    <a:moveTo>
                      <a:pt x="1630" y="522"/>
                    </a:moveTo>
                    <a:lnTo>
                      <a:pt x="1616" y="522"/>
                    </a:lnTo>
                    <a:lnTo>
                      <a:pt x="1604" y="506"/>
                    </a:lnTo>
                    <a:lnTo>
                      <a:pt x="1630" y="518"/>
                    </a:lnTo>
                    <a:lnTo>
                      <a:pt x="1630" y="522"/>
                    </a:lnTo>
                    <a:lnTo>
                      <a:pt x="1630" y="522"/>
                    </a:lnTo>
                    <a:lnTo>
                      <a:pt x="1630" y="522"/>
                    </a:lnTo>
                    <a:close/>
                    <a:moveTo>
                      <a:pt x="2247" y="577"/>
                    </a:moveTo>
                    <a:lnTo>
                      <a:pt x="2237" y="572"/>
                    </a:lnTo>
                    <a:lnTo>
                      <a:pt x="2247" y="572"/>
                    </a:lnTo>
                    <a:lnTo>
                      <a:pt x="2247" y="577"/>
                    </a:lnTo>
                    <a:lnTo>
                      <a:pt x="2247" y="577"/>
                    </a:lnTo>
                    <a:lnTo>
                      <a:pt x="2247" y="577"/>
                    </a:lnTo>
                    <a:close/>
                    <a:moveTo>
                      <a:pt x="2070" y="596"/>
                    </a:moveTo>
                    <a:lnTo>
                      <a:pt x="2070" y="577"/>
                    </a:lnTo>
                    <a:lnTo>
                      <a:pt x="2074" y="572"/>
                    </a:lnTo>
                    <a:lnTo>
                      <a:pt x="2070" y="589"/>
                    </a:lnTo>
                    <a:lnTo>
                      <a:pt x="2070" y="596"/>
                    </a:lnTo>
                    <a:lnTo>
                      <a:pt x="2070" y="596"/>
                    </a:lnTo>
                    <a:lnTo>
                      <a:pt x="2070" y="596"/>
                    </a:lnTo>
                    <a:close/>
                    <a:moveTo>
                      <a:pt x="2469" y="1333"/>
                    </a:moveTo>
                    <a:lnTo>
                      <a:pt x="2485" y="1309"/>
                    </a:lnTo>
                    <a:lnTo>
                      <a:pt x="2485" y="1316"/>
                    </a:lnTo>
                    <a:lnTo>
                      <a:pt x="2469" y="1333"/>
                    </a:lnTo>
                    <a:lnTo>
                      <a:pt x="2469" y="1333"/>
                    </a:lnTo>
                    <a:lnTo>
                      <a:pt x="2469" y="1333"/>
                    </a:lnTo>
                    <a:close/>
                    <a:moveTo>
                      <a:pt x="2464" y="1366"/>
                    </a:moveTo>
                    <a:lnTo>
                      <a:pt x="2452" y="1349"/>
                    </a:lnTo>
                    <a:lnTo>
                      <a:pt x="2464" y="1349"/>
                    </a:lnTo>
                    <a:lnTo>
                      <a:pt x="2464" y="1366"/>
                    </a:lnTo>
                    <a:lnTo>
                      <a:pt x="2464" y="1366"/>
                    </a:lnTo>
                    <a:lnTo>
                      <a:pt x="2464" y="1366"/>
                    </a:lnTo>
                    <a:close/>
                    <a:moveTo>
                      <a:pt x="2464" y="1370"/>
                    </a:moveTo>
                    <a:lnTo>
                      <a:pt x="2464" y="1366"/>
                    </a:lnTo>
                    <a:lnTo>
                      <a:pt x="2464" y="1370"/>
                    </a:lnTo>
                    <a:lnTo>
                      <a:pt x="2464" y="1370"/>
                    </a:lnTo>
                    <a:lnTo>
                      <a:pt x="2464" y="1370"/>
                    </a:lnTo>
                    <a:close/>
                    <a:moveTo>
                      <a:pt x="2086" y="2086"/>
                    </a:moveTo>
                    <a:lnTo>
                      <a:pt x="2086" y="2074"/>
                    </a:lnTo>
                    <a:lnTo>
                      <a:pt x="2091" y="2070"/>
                    </a:lnTo>
                    <a:lnTo>
                      <a:pt x="2100" y="2074"/>
                    </a:lnTo>
                    <a:lnTo>
                      <a:pt x="2086" y="2086"/>
                    </a:lnTo>
                    <a:lnTo>
                      <a:pt x="2086" y="2086"/>
                    </a:lnTo>
                    <a:lnTo>
                      <a:pt x="2086" y="2086"/>
                    </a:lnTo>
                    <a:close/>
                    <a:moveTo>
                      <a:pt x="2020" y="2143"/>
                    </a:moveTo>
                    <a:lnTo>
                      <a:pt x="2011" y="2131"/>
                    </a:lnTo>
                    <a:lnTo>
                      <a:pt x="2015" y="2119"/>
                    </a:lnTo>
                    <a:lnTo>
                      <a:pt x="2020" y="2126"/>
                    </a:lnTo>
                    <a:lnTo>
                      <a:pt x="2020" y="2143"/>
                    </a:lnTo>
                    <a:lnTo>
                      <a:pt x="2020" y="2143"/>
                    </a:lnTo>
                    <a:lnTo>
                      <a:pt x="2020" y="2143"/>
                    </a:lnTo>
                    <a:close/>
                    <a:moveTo>
                      <a:pt x="1836" y="2221"/>
                    </a:moveTo>
                    <a:lnTo>
                      <a:pt x="1836" y="2214"/>
                    </a:lnTo>
                    <a:lnTo>
                      <a:pt x="1852" y="2202"/>
                    </a:lnTo>
                    <a:lnTo>
                      <a:pt x="1836" y="2221"/>
                    </a:lnTo>
                    <a:lnTo>
                      <a:pt x="1836" y="2221"/>
                    </a:lnTo>
                    <a:lnTo>
                      <a:pt x="1836" y="2221"/>
                    </a:lnTo>
                    <a:close/>
                    <a:moveTo>
                      <a:pt x="1805" y="2254"/>
                    </a:moveTo>
                    <a:lnTo>
                      <a:pt x="1805" y="2242"/>
                    </a:lnTo>
                    <a:lnTo>
                      <a:pt x="1805" y="2254"/>
                    </a:lnTo>
                    <a:lnTo>
                      <a:pt x="1805" y="2254"/>
                    </a:lnTo>
                    <a:lnTo>
                      <a:pt x="1805" y="2254"/>
                    </a:lnTo>
                    <a:close/>
                    <a:moveTo>
                      <a:pt x="1784" y="2329"/>
                    </a:moveTo>
                    <a:lnTo>
                      <a:pt x="1777" y="2313"/>
                    </a:lnTo>
                    <a:lnTo>
                      <a:pt x="1793" y="2308"/>
                    </a:lnTo>
                    <a:lnTo>
                      <a:pt x="1793" y="2313"/>
                    </a:lnTo>
                    <a:lnTo>
                      <a:pt x="1784" y="2329"/>
                    </a:lnTo>
                    <a:lnTo>
                      <a:pt x="1784" y="2329"/>
                    </a:lnTo>
                    <a:lnTo>
                      <a:pt x="1784" y="2329"/>
                    </a:lnTo>
                    <a:close/>
                    <a:moveTo>
                      <a:pt x="1793" y="2436"/>
                    </a:moveTo>
                    <a:lnTo>
                      <a:pt x="1793" y="2403"/>
                    </a:lnTo>
                    <a:lnTo>
                      <a:pt x="1798" y="2403"/>
                    </a:lnTo>
                    <a:lnTo>
                      <a:pt x="1798" y="2419"/>
                    </a:lnTo>
                    <a:lnTo>
                      <a:pt x="1793" y="2436"/>
                    </a:lnTo>
                    <a:lnTo>
                      <a:pt x="1793" y="2436"/>
                    </a:lnTo>
                    <a:lnTo>
                      <a:pt x="1793" y="243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0" name="Freeform 415">
                <a:extLst>
                  <a:ext uri="{FF2B5EF4-FFF2-40B4-BE49-F238E27FC236}">
                    <a16:creationId xmlns:a16="http://schemas.microsoft.com/office/drawing/2014/main" id="{BDF16300-68CD-4B1F-BD08-F353B34F602C}"/>
                  </a:ext>
                </a:extLst>
              </p:cNvPr>
              <p:cNvSpPr>
                <a:spLocks noEditPoints="1"/>
              </p:cNvSpPr>
              <p:nvPr/>
            </p:nvSpPr>
            <p:spPr bwMode="gray">
              <a:xfrm>
                <a:off x="3566668" y="4588765"/>
                <a:ext cx="1242009" cy="1335195"/>
              </a:xfrm>
              <a:custGeom>
                <a:avLst/>
                <a:gdLst>
                  <a:gd name="T0" fmla="*/ 2915 w 3017"/>
                  <a:gd name="T1" fmla="*/ 404 h 3243"/>
                  <a:gd name="T2" fmla="*/ 2736 w 3017"/>
                  <a:gd name="T3" fmla="*/ 1103 h 3243"/>
                  <a:gd name="T4" fmla="*/ 2698 w 3017"/>
                  <a:gd name="T5" fmla="*/ 1609 h 3243"/>
                  <a:gd name="T6" fmla="*/ 2643 w 3017"/>
                  <a:gd name="T7" fmla="*/ 2086 h 3243"/>
                  <a:gd name="T8" fmla="*/ 2596 w 3017"/>
                  <a:gd name="T9" fmla="*/ 2490 h 3243"/>
                  <a:gd name="T10" fmla="*/ 2811 w 3017"/>
                  <a:gd name="T11" fmla="*/ 2877 h 3243"/>
                  <a:gd name="T12" fmla="*/ 2651 w 3017"/>
                  <a:gd name="T13" fmla="*/ 2939 h 3243"/>
                  <a:gd name="T14" fmla="*/ 2596 w 3017"/>
                  <a:gd name="T15" fmla="*/ 2917 h 3243"/>
                  <a:gd name="T16" fmla="*/ 2551 w 3017"/>
                  <a:gd name="T17" fmla="*/ 2877 h 3243"/>
                  <a:gd name="T18" fmla="*/ 2537 w 3017"/>
                  <a:gd name="T19" fmla="*/ 2872 h 3243"/>
                  <a:gd name="T20" fmla="*/ 2466 w 3017"/>
                  <a:gd name="T21" fmla="*/ 2712 h 3243"/>
                  <a:gd name="T22" fmla="*/ 2483 w 3017"/>
                  <a:gd name="T23" fmla="*/ 2580 h 3243"/>
                  <a:gd name="T24" fmla="*/ 2504 w 3017"/>
                  <a:gd name="T25" fmla="*/ 2457 h 3243"/>
                  <a:gd name="T26" fmla="*/ 2407 w 3017"/>
                  <a:gd name="T27" fmla="*/ 2358 h 3243"/>
                  <a:gd name="T28" fmla="*/ 2483 w 3017"/>
                  <a:gd name="T29" fmla="*/ 2346 h 3243"/>
                  <a:gd name="T30" fmla="*/ 2542 w 3017"/>
                  <a:gd name="T31" fmla="*/ 2069 h 3243"/>
                  <a:gd name="T32" fmla="*/ 2483 w 3017"/>
                  <a:gd name="T33" fmla="*/ 1857 h 3243"/>
                  <a:gd name="T34" fmla="*/ 2665 w 3017"/>
                  <a:gd name="T35" fmla="*/ 1165 h 3243"/>
                  <a:gd name="T36" fmla="*/ 2736 w 3017"/>
                  <a:gd name="T37" fmla="*/ 421 h 3243"/>
                  <a:gd name="T38" fmla="*/ 2462 w 3017"/>
                  <a:gd name="T39" fmla="*/ 2053 h 3243"/>
                  <a:gd name="T40" fmla="*/ 2513 w 3017"/>
                  <a:gd name="T41" fmla="*/ 2029 h 3243"/>
                  <a:gd name="T42" fmla="*/ 2445 w 3017"/>
                  <a:gd name="T43" fmla="*/ 2086 h 3243"/>
                  <a:gd name="T44" fmla="*/ 2483 w 3017"/>
                  <a:gd name="T45" fmla="*/ 2135 h 3243"/>
                  <a:gd name="T46" fmla="*/ 2499 w 3017"/>
                  <a:gd name="T47" fmla="*/ 2152 h 3243"/>
                  <a:gd name="T48" fmla="*/ 2537 w 3017"/>
                  <a:gd name="T49" fmla="*/ 2173 h 3243"/>
                  <a:gd name="T50" fmla="*/ 2483 w 3017"/>
                  <a:gd name="T51" fmla="*/ 2173 h 3243"/>
                  <a:gd name="T52" fmla="*/ 2466 w 3017"/>
                  <a:gd name="T53" fmla="*/ 2190 h 3243"/>
                  <a:gd name="T54" fmla="*/ 2483 w 3017"/>
                  <a:gd name="T55" fmla="*/ 2197 h 3243"/>
                  <a:gd name="T56" fmla="*/ 2504 w 3017"/>
                  <a:gd name="T57" fmla="*/ 2235 h 3243"/>
                  <a:gd name="T58" fmla="*/ 2450 w 3017"/>
                  <a:gd name="T59" fmla="*/ 2263 h 3243"/>
                  <a:gd name="T60" fmla="*/ 2450 w 3017"/>
                  <a:gd name="T61" fmla="*/ 2272 h 3243"/>
                  <a:gd name="T62" fmla="*/ 2488 w 3017"/>
                  <a:gd name="T63" fmla="*/ 2301 h 3243"/>
                  <a:gd name="T64" fmla="*/ 2488 w 3017"/>
                  <a:gd name="T65" fmla="*/ 2395 h 3243"/>
                  <a:gd name="T66" fmla="*/ 2488 w 3017"/>
                  <a:gd name="T67" fmla="*/ 2473 h 3243"/>
                  <a:gd name="T68" fmla="*/ 2395 w 3017"/>
                  <a:gd name="T69" fmla="*/ 2490 h 3243"/>
                  <a:gd name="T70" fmla="*/ 2450 w 3017"/>
                  <a:gd name="T71" fmla="*/ 2511 h 3243"/>
                  <a:gd name="T72" fmla="*/ 2395 w 3017"/>
                  <a:gd name="T73" fmla="*/ 2551 h 3243"/>
                  <a:gd name="T74" fmla="*/ 2412 w 3017"/>
                  <a:gd name="T75" fmla="*/ 2622 h 3243"/>
                  <a:gd name="T76" fmla="*/ 2407 w 3017"/>
                  <a:gd name="T77" fmla="*/ 2561 h 3243"/>
                  <a:gd name="T78" fmla="*/ 2424 w 3017"/>
                  <a:gd name="T79" fmla="*/ 2601 h 3243"/>
                  <a:gd name="T80" fmla="*/ 2428 w 3017"/>
                  <a:gd name="T81" fmla="*/ 2679 h 3243"/>
                  <a:gd name="T82" fmla="*/ 2391 w 3017"/>
                  <a:gd name="T83" fmla="*/ 2745 h 3243"/>
                  <a:gd name="T84" fmla="*/ 2462 w 3017"/>
                  <a:gd name="T85" fmla="*/ 2745 h 3243"/>
                  <a:gd name="T86" fmla="*/ 2424 w 3017"/>
                  <a:gd name="T87" fmla="*/ 2790 h 3243"/>
                  <a:gd name="T88" fmla="*/ 2391 w 3017"/>
                  <a:gd name="T89" fmla="*/ 2823 h 3243"/>
                  <a:gd name="T90" fmla="*/ 2488 w 3017"/>
                  <a:gd name="T91" fmla="*/ 2823 h 3243"/>
                  <a:gd name="T92" fmla="*/ 2504 w 3017"/>
                  <a:gd name="T93" fmla="*/ 2877 h 3243"/>
                  <a:gd name="T94" fmla="*/ 2445 w 3017"/>
                  <a:gd name="T95" fmla="*/ 2877 h 3243"/>
                  <a:gd name="T96" fmla="*/ 2731 w 3017"/>
                  <a:gd name="T97" fmla="*/ 3116 h 3243"/>
                  <a:gd name="T98" fmla="*/ 2752 w 3017"/>
                  <a:gd name="T99" fmla="*/ 3106 h 3243"/>
                  <a:gd name="T100" fmla="*/ 2736 w 3017"/>
                  <a:gd name="T101" fmla="*/ 2950 h 3243"/>
                  <a:gd name="T102" fmla="*/ 2530 w 3017"/>
                  <a:gd name="T103" fmla="*/ 2983 h 3243"/>
                  <a:gd name="T104" fmla="*/ 2537 w 3017"/>
                  <a:gd name="T105" fmla="*/ 3012 h 3243"/>
                  <a:gd name="T106" fmla="*/ 2499 w 3017"/>
                  <a:gd name="T107" fmla="*/ 3012 h 3243"/>
                  <a:gd name="T108" fmla="*/ 2643 w 3017"/>
                  <a:gd name="T109" fmla="*/ 3045 h 3243"/>
                  <a:gd name="T110" fmla="*/ 2747 w 3017"/>
                  <a:gd name="T111" fmla="*/ 3078 h 3243"/>
                  <a:gd name="T112" fmla="*/ 2714 w 3017"/>
                  <a:gd name="T113" fmla="*/ 3139 h 3243"/>
                  <a:gd name="T114" fmla="*/ 2953 w 3017"/>
                  <a:gd name="T115" fmla="*/ 3149 h 3243"/>
                  <a:gd name="T116" fmla="*/ 2891 w 3017"/>
                  <a:gd name="T117" fmla="*/ 3177 h 3243"/>
                  <a:gd name="T118" fmla="*/ 2967 w 3017"/>
                  <a:gd name="T119" fmla="*/ 3156 h 3243"/>
                  <a:gd name="T120" fmla="*/ 2785 w 3017"/>
                  <a:gd name="T121" fmla="*/ 3194 h 3243"/>
                  <a:gd name="T122" fmla="*/ 2929 w 3017"/>
                  <a:gd name="T123" fmla="*/ 3243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17" h="3243">
                    <a:moveTo>
                      <a:pt x="2736" y="66"/>
                    </a:moveTo>
                    <a:lnTo>
                      <a:pt x="2769" y="54"/>
                    </a:lnTo>
                    <a:lnTo>
                      <a:pt x="2785" y="38"/>
                    </a:lnTo>
                    <a:lnTo>
                      <a:pt x="2773" y="17"/>
                    </a:lnTo>
                    <a:lnTo>
                      <a:pt x="2790" y="17"/>
                    </a:lnTo>
                    <a:lnTo>
                      <a:pt x="2802" y="0"/>
                    </a:lnTo>
                    <a:lnTo>
                      <a:pt x="2811" y="38"/>
                    </a:lnTo>
                    <a:lnTo>
                      <a:pt x="2828" y="38"/>
                    </a:lnTo>
                    <a:lnTo>
                      <a:pt x="2823" y="50"/>
                    </a:lnTo>
                    <a:lnTo>
                      <a:pt x="2839" y="111"/>
                    </a:lnTo>
                    <a:lnTo>
                      <a:pt x="2877" y="144"/>
                    </a:lnTo>
                    <a:lnTo>
                      <a:pt x="2854" y="165"/>
                    </a:lnTo>
                    <a:lnTo>
                      <a:pt x="2865" y="182"/>
                    </a:lnTo>
                    <a:lnTo>
                      <a:pt x="2865" y="189"/>
                    </a:lnTo>
                    <a:lnTo>
                      <a:pt x="2854" y="199"/>
                    </a:lnTo>
                    <a:lnTo>
                      <a:pt x="2854" y="215"/>
                    </a:lnTo>
                    <a:lnTo>
                      <a:pt x="2854" y="222"/>
                    </a:lnTo>
                    <a:lnTo>
                      <a:pt x="2877" y="239"/>
                    </a:lnTo>
                    <a:lnTo>
                      <a:pt x="2865" y="250"/>
                    </a:lnTo>
                    <a:lnTo>
                      <a:pt x="2865" y="255"/>
                    </a:lnTo>
                    <a:lnTo>
                      <a:pt x="2877" y="260"/>
                    </a:lnTo>
                    <a:lnTo>
                      <a:pt x="2891" y="288"/>
                    </a:lnTo>
                    <a:lnTo>
                      <a:pt x="2891" y="310"/>
                    </a:lnTo>
                    <a:lnTo>
                      <a:pt x="2899" y="343"/>
                    </a:lnTo>
                    <a:lnTo>
                      <a:pt x="2908" y="350"/>
                    </a:lnTo>
                    <a:lnTo>
                      <a:pt x="2915" y="383"/>
                    </a:lnTo>
                    <a:lnTo>
                      <a:pt x="2915" y="404"/>
                    </a:lnTo>
                    <a:lnTo>
                      <a:pt x="2936" y="404"/>
                    </a:lnTo>
                    <a:lnTo>
                      <a:pt x="2962" y="404"/>
                    </a:lnTo>
                    <a:lnTo>
                      <a:pt x="2979" y="416"/>
                    </a:lnTo>
                    <a:lnTo>
                      <a:pt x="2953" y="494"/>
                    </a:lnTo>
                    <a:lnTo>
                      <a:pt x="2882" y="527"/>
                    </a:lnTo>
                    <a:lnTo>
                      <a:pt x="2865" y="548"/>
                    </a:lnTo>
                    <a:lnTo>
                      <a:pt x="2882" y="581"/>
                    </a:lnTo>
                    <a:lnTo>
                      <a:pt x="2865" y="581"/>
                    </a:lnTo>
                    <a:lnTo>
                      <a:pt x="2861" y="605"/>
                    </a:lnTo>
                    <a:lnTo>
                      <a:pt x="2877" y="659"/>
                    </a:lnTo>
                    <a:lnTo>
                      <a:pt x="2865" y="666"/>
                    </a:lnTo>
                    <a:lnTo>
                      <a:pt x="2861" y="683"/>
                    </a:lnTo>
                    <a:lnTo>
                      <a:pt x="2882" y="716"/>
                    </a:lnTo>
                    <a:lnTo>
                      <a:pt x="2877" y="732"/>
                    </a:lnTo>
                    <a:lnTo>
                      <a:pt x="2844" y="732"/>
                    </a:lnTo>
                    <a:lnTo>
                      <a:pt x="2823" y="803"/>
                    </a:lnTo>
                    <a:lnTo>
                      <a:pt x="2790" y="832"/>
                    </a:lnTo>
                    <a:lnTo>
                      <a:pt x="2785" y="886"/>
                    </a:lnTo>
                    <a:lnTo>
                      <a:pt x="2757" y="905"/>
                    </a:lnTo>
                    <a:lnTo>
                      <a:pt x="2773" y="976"/>
                    </a:lnTo>
                    <a:lnTo>
                      <a:pt x="2769" y="980"/>
                    </a:lnTo>
                    <a:lnTo>
                      <a:pt x="2752" y="992"/>
                    </a:lnTo>
                    <a:lnTo>
                      <a:pt x="2747" y="1025"/>
                    </a:lnTo>
                    <a:lnTo>
                      <a:pt x="2747" y="1037"/>
                    </a:lnTo>
                    <a:lnTo>
                      <a:pt x="2731" y="1054"/>
                    </a:lnTo>
                    <a:lnTo>
                      <a:pt x="2719" y="1082"/>
                    </a:lnTo>
                    <a:lnTo>
                      <a:pt x="2736" y="1103"/>
                    </a:lnTo>
                    <a:lnTo>
                      <a:pt x="2752" y="1108"/>
                    </a:lnTo>
                    <a:lnTo>
                      <a:pt x="2736" y="1124"/>
                    </a:lnTo>
                    <a:lnTo>
                      <a:pt x="2747" y="1136"/>
                    </a:lnTo>
                    <a:lnTo>
                      <a:pt x="2752" y="1160"/>
                    </a:lnTo>
                    <a:lnTo>
                      <a:pt x="2752" y="1176"/>
                    </a:lnTo>
                    <a:lnTo>
                      <a:pt x="2769" y="1193"/>
                    </a:lnTo>
                    <a:lnTo>
                      <a:pt x="2757" y="1214"/>
                    </a:lnTo>
                    <a:lnTo>
                      <a:pt x="2769" y="1219"/>
                    </a:lnTo>
                    <a:lnTo>
                      <a:pt x="2773" y="1219"/>
                    </a:lnTo>
                    <a:lnTo>
                      <a:pt x="2785" y="1231"/>
                    </a:lnTo>
                    <a:lnTo>
                      <a:pt x="2769" y="1259"/>
                    </a:lnTo>
                    <a:lnTo>
                      <a:pt x="2773" y="1292"/>
                    </a:lnTo>
                    <a:lnTo>
                      <a:pt x="2757" y="1304"/>
                    </a:lnTo>
                    <a:lnTo>
                      <a:pt x="2736" y="1370"/>
                    </a:lnTo>
                    <a:lnTo>
                      <a:pt x="2719" y="1380"/>
                    </a:lnTo>
                    <a:lnTo>
                      <a:pt x="2736" y="1387"/>
                    </a:lnTo>
                    <a:lnTo>
                      <a:pt x="2747" y="1424"/>
                    </a:lnTo>
                    <a:lnTo>
                      <a:pt x="2736" y="1453"/>
                    </a:lnTo>
                    <a:lnTo>
                      <a:pt x="2714" y="1458"/>
                    </a:lnTo>
                    <a:lnTo>
                      <a:pt x="2714" y="1474"/>
                    </a:lnTo>
                    <a:lnTo>
                      <a:pt x="2693" y="1481"/>
                    </a:lnTo>
                    <a:lnTo>
                      <a:pt x="2681" y="1507"/>
                    </a:lnTo>
                    <a:lnTo>
                      <a:pt x="2693" y="1531"/>
                    </a:lnTo>
                    <a:lnTo>
                      <a:pt x="2681" y="1547"/>
                    </a:lnTo>
                    <a:lnTo>
                      <a:pt x="2693" y="1564"/>
                    </a:lnTo>
                    <a:lnTo>
                      <a:pt x="2681" y="1580"/>
                    </a:lnTo>
                    <a:lnTo>
                      <a:pt x="2698" y="1609"/>
                    </a:lnTo>
                    <a:lnTo>
                      <a:pt x="2698" y="1642"/>
                    </a:lnTo>
                    <a:lnTo>
                      <a:pt x="2702" y="1658"/>
                    </a:lnTo>
                    <a:lnTo>
                      <a:pt x="2698" y="1663"/>
                    </a:lnTo>
                    <a:lnTo>
                      <a:pt x="2665" y="1680"/>
                    </a:lnTo>
                    <a:lnTo>
                      <a:pt x="2665" y="1713"/>
                    </a:lnTo>
                    <a:lnTo>
                      <a:pt x="2660" y="1746"/>
                    </a:lnTo>
                    <a:lnTo>
                      <a:pt x="2643" y="1736"/>
                    </a:lnTo>
                    <a:lnTo>
                      <a:pt x="2651" y="1769"/>
                    </a:lnTo>
                    <a:lnTo>
                      <a:pt x="2639" y="1791"/>
                    </a:lnTo>
                    <a:lnTo>
                      <a:pt x="2643" y="1802"/>
                    </a:lnTo>
                    <a:lnTo>
                      <a:pt x="2639" y="1807"/>
                    </a:lnTo>
                    <a:lnTo>
                      <a:pt x="2627" y="1840"/>
                    </a:lnTo>
                    <a:lnTo>
                      <a:pt x="2639" y="1857"/>
                    </a:lnTo>
                    <a:lnTo>
                      <a:pt x="2639" y="1913"/>
                    </a:lnTo>
                    <a:lnTo>
                      <a:pt x="2627" y="1918"/>
                    </a:lnTo>
                    <a:lnTo>
                      <a:pt x="2643" y="1951"/>
                    </a:lnTo>
                    <a:lnTo>
                      <a:pt x="2627" y="1958"/>
                    </a:lnTo>
                    <a:lnTo>
                      <a:pt x="2622" y="1958"/>
                    </a:lnTo>
                    <a:lnTo>
                      <a:pt x="2613" y="1975"/>
                    </a:lnTo>
                    <a:lnTo>
                      <a:pt x="2622" y="1975"/>
                    </a:lnTo>
                    <a:lnTo>
                      <a:pt x="2613" y="1996"/>
                    </a:lnTo>
                    <a:lnTo>
                      <a:pt x="2613" y="2041"/>
                    </a:lnTo>
                    <a:lnTo>
                      <a:pt x="2643" y="2046"/>
                    </a:lnTo>
                    <a:lnTo>
                      <a:pt x="2643" y="2062"/>
                    </a:lnTo>
                    <a:lnTo>
                      <a:pt x="2627" y="2062"/>
                    </a:lnTo>
                    <a:lnTo>
                      <a:pt x="2627" y="2069"/>
                    </a:lnTo>
                    <a:lnTo>
                      <a:pt x="2643" y="2086"/>
                    </a:lnTo>
                    <a:lnTo>
                      <a:pt x="2643" y="2095"/>
                    </a:lnTo>
                    <a:lnTo>
                      <a:pt x="2639" y="2102"/>
                    </a:lnTo>
                    <a:lnTo>
                      <a:pt x="2651" y="2119"/>
                    </a:lnTo>
                    <a:lnTo>
                      <a:pt x="2639" y="2135"/>
                    </a:lnTo>
                    <a:lnTo>
                      <a:pt x="2639" y="2157"/>
                    </a:lnTo>
                    <a:lnTo>
                      <a:pt x="2681" y="2157"/>
                    </a:lnTo>
                    <a:lnTo>
                      <a:pt x="2693" y="2161"/>
                    </a:lnTo>
                    <a:lnTo>
                      <a:pt x="2676" y="2190"/>
                    </a:lnTo>
                    <a:lnTo>
                      <a:pt x="2622" y="2190"/>
                    </a:lnTo>
                    <a:lnTo>
                      <a:pt x="2622" y="2206"/>
                    </a:lnTo>
                    <a:lnTo>
                      <a:pt x="2651" y="2206"/>
                    </a:lnTo>
                    <a:lnTo>
                      <a:pt x="2676" y="2235"/>
                    </a:lnTo>
                    <a:lnTo>
                      <a:pt x="2660" y="2251"/>
                    </a:lnTo>
                    <a:lnTo>
                      <a:pt x="2643" y="2263"/>
                    </a:lnTo>
                    <a:lnTo>
                      <a:pt x="2639" y="2268"/>
                    </a:lnTo>
                    <a:lnTo>
                      <a:pt x="2643" y="2284"/>
                    </a:lnTo>
                    <a:lnTo>
                      <a:pt x="2651" y="2301"/>
                    </a:lnTo>
                    <a:lnTo>
                      <a:pt x="2627" y="2317"/>
                    </a:lnTo>
                    <a:lnTo>
                      <a:pt x="2643" y="2324"/>
                    </a:lnTo>
                    <a:lnTo>
                      <a:pt x="2643" y="2362"/>
                    </a:lnTo>
                    <a:lnTo>
                      <a:pt x="2627" y="2374"/>
                    </a:lnTo>
                    <a:lnTo>
                      <a:pt x="2627" y="2395"/>
                    </a:lnTo>
                    <a:lnTo>
                      <a:pt x="2639" y="2412"/>
                    </a:lnTo>
                    <a:lnTo>
                      <a:pt x="2596" y="2433"/>
                    </a:lnTo>
                    <a:lnTo>
                      <a:pt x="2596" y="2440"/>
                    </a:lnTo>
                    <a:lnTo>
                      <a:pt x="2589" y="2473"/>
                    </a:lnTo>
                    <a:lnTo>
                      <a:pt x="2596" y="2490"/>
                    </a:lnTo>
                    <a:lnTo>
                      <a:pt x="2606" y="2511"/>
                    </a:lnTo>
                    <a:lnTo>
                      <a:pt x="2584" y="2523"/>
                    </a:lnTo>
                    <a:lnTo>
                      <a:pt x="2584" y="2551"/>
                    </a:lnTo>
                    <a:lnTo>
                      <a:pt x="2551" y="2568"/>
                    </a:lnTo>
                    <a:lnTo>
                      <a:pt x="2542" y="2596"/>
                    </a:lnTo>
                    <a:lnTo>
                      <a:pt x="2551" y="2601"/>
                    </a:lnTo>
                    <a:lnTo>
                      <a:pt x="2542" y="2601"/>
                    </a:lnTo>
                    <a:lnTo>
                      <a:pt x="2521" y="2601"/>
                    </a:lnTo>
                    <a:lnTo>
                      <a:pt x="2513" y="2622"/>
                    </a:lnTo>
                    <a:lnTo>
                      <a:pt x="2521" y="2650"/>
                    </a:lnTo>
                    <a:lnTo>
                      <a:pt x="2513" y="2655"/>
                    </a:lnTo>
                    <a:lnTo>
                      <a:pt x="2521" y="2662"/>
                    </a:lnTo>
                    <a:lnTo>
                      <a:pt x="2521" y="2679"/>
                    </a:lnTo>
                    <a:lnTo>
                      <a:pt x="2537" y="2695"/>
                    </a:lnTo>
                    <a:lnTo>
                      <a:pt x="2542" y="2733"/>
                    </a:lnTo>
                    <a:lnTo>
                      <a:pt x="2575" y="2728"/>
                    </a:lnTo>
                    <a:lnTo>
                      <a:pt x="2606" y="2728"/>
                    </a:lnTo>
                    <a:lnTo>
                      <a:pt x="2606" y="2761"/>
                    </a:lnTo>
                    <a:lnTo>
                      <a:pt x="2596" y="2773"/>
                    </a:lnTo>
                    <a:lnTo>
                      <a:pt x="2606" y="2783"/>
                    </a:lnTo>
                    <a:lnTo>
                      <a:pt x="2596" y="2806"/>
                    </a:lnTo>
                    <a:lnTo>
                      <a:pt x="2606" y="2828"/>
                    </a:lnTo>
                    <a:lnTo>
                      <a:pt x="2627" y="2844"/>
                    </a:lnTo>
                    <a:lnTo>
                      <a:pt x="2627" y="2856"/>
                    </a:lnTo>
                    <a:lnTo>
                      <a:pt x="2769" y="2856"/>
                    </a:lnTo>
                    <a:lnTo>
                      <a:pt x="2877" y="2894"/>
                    </a:lnTo>
                    <a:lnTo>
                      <a:pt x="2811" y="2877"/>
                    </a:lnTo>
                    <a:lnTo>
                      <a:pt x="2802" y="2884"/>
                    </a:lnTo>
                    <a:lnTo>
                      <a:pt x="2802" y="2894"/>
                    </a:lnTo>
                    <a:lnTo>
                      <a:pt x="2790" y="2910"/>
                    </a:lnTo>
                    <a:lnTo>
                      <a:pt x="2773" y="2901"/>
                    </a:lnTo>
                    <a:lnTo>
                      <a:pt x="2702" y="2927"/>
                    </a:lnTo>
                    <a:lnTo>
                      <a:pt x="2702" y="2950"/>
                    </a:lnTo>
                    <a:lnTo>
                      <a:pt x="2698" y="2988"/>
                    </a:lnTo>
                    <a:lnTo>
                      <a:pt x="2698" y="3028"/>
                    </a:lnTo>
                    <a:lnTo>
                      <a:pt x="2676" y="3045"/>
                    </a:lnTo>
                    <a:lnTo>
                      <a:pt x="2613" y="3021"/>
                    </a:lnTo>
                    <a:lnTo>
                      <a:pt x="2589" y="2995"/>
                    </a:lnTo>
                    <a:lnTo>
                      <a:pt x="2606" y="2983"/>
                    </a:lnTo>
                    <a:lnTo>
                      <a:pt x="2613" y="2983"/>
                    </a:lnTo>
                    <a:lnTo>
                      <a:pt x="2622" y="2988"/>
                    </a:lnTo>
                    <a:lnTo>
                      <a:pt x="2606" y="2995"/>
                    </a:lnTo>
                    <a:lnTo>
                      <a:pt x="2613" y="2995"/>
                    </a:lnTo>
                    <a:lnTo>
                      <a:pt x="2622" y="2988"/>
                    </a:lnTo>
                    <a:lnTo>
                      <a:pt x="2622" y="2972"/>
                    </a:lnTo>
                    <a:lnTo>
                      <a:pt x="2639" y="2972"/>
                    </a:lnTo>
                    <a:lnTo>
                      <a:pt x="2639" y="2995"/>
                    </a:lnTo>
                    <a:lnTo>
                      <a:pt x="2622" y="3012"/>
                    </a:lnTo>
                    <a:lnTo>
                      <a:pt x="2639" y="3005"/>
                    </a:lnTo>
                    <a:lnTo>
                      <a:pt x="2643" y="2972"/>
                    </a:lnTo>
                    <a:lnTo>
                      <a:pt x="2665" y="2967"/>
                    </a:lnTo>
                    <a:lnTo>
                      <a:pt x="2681" y="2939"/>
                    </a:lnTo>
                    <a:lnTo>
                      <a:pt x="2681" y="2934"/>
                    </a:lnTo>
                    <a:lnTo>
                      <a:pt x="2651" y="2939"/>
                    </a:lnTo>
                    <a:lnTo>
                      <a:pt x="2622" y="2967"/>
                    </a:lnTo>
                    <a:lnTo>
                      <a:pt x="2606" y="2955"/>
                    </a:lnTo>
                    <a:lnTo>
                      <a:pt x="2584" y="2967"/>
                    </a:lnTo>
                    <a:lnTo>
                      <a:pt x="2613" y="2972"/>
                    </a:lnTo>
                    <a:lnTo>
                      <a:pt x="2589" y="2972"/>
                    </a:lnTo>
                    <a:lnTo>
                      <a:pt x="2596" y="2983"/>
                    </a:lnTo>
                    <a:lnTo>
                      <a:pt x="2589" y="2988"/>
                    </a:lnTo>
                    <a:lnTo>
                      <a:pt x="2575" y="2988"/>
                    </a:lnTo>
                    <a:lnTo>
                      <a:pt x="2596" y="3005"/>
                    </a:lnTo>
                    <a:lnTo>
                      <a:pt x="2537" y="2972"/>
                    </a:lnTo>
                    <a:lnTo>
                      <a:pt x="2537" y="2967"/>
                    </a:lnTo>
                    <a:lnTo>
                      <a:pt x="2558" y="2972"/>
                    </a:lnTo>
                    <a:lnTo>
                      <a:pt x="2575" y="2983"/>
                    </a:lnTo>
                    <a:lnTo>
                      <a:pt x="2568" y="2972"/>
                    </a:lnTo>
                    <a:lnTo>
                      <a:pt x="2575" y="2967"/>
                    </a:lnTo>
                    <a:lnTo>
                      <a:pt x="2558" y="2967"/>
                    </a:lnTo>
                    <a:lnTo>
                      <a:pt x="2568" y="2955"/>
                    </a:lnTo>
                    <a:lnTo>
                      <a:pt x="2558" y="2939"/>
                    </a:lnTo>
                    <a:lnTo>
                      <a:pt x="2575" y="2927"/>
                    </a:lnTo>
                    <a:lnTo>
                      <a:pt x="2589" y="2934"/>
                    </a:lnTo>
                    <a:lnTo>
                      <a:pt x="2613" y="2917"/>
                    </a:lnTo>
                    <a:lnTo>
                      <a:pt x="2639" y="2927"/>
                    </a:lnTo>
                    <a:lnTo>
                      <a:pt x="2660" y="2917"/>
                    </a:lnTo>
                    <a:lnTo>
                      <a:pt x="2660" y="2910"/>
                    </a:lnTo>
                    <a:lnTo>
                      <a:pt x="2613" y="2910"/>
                    </a:lnTo>
                    <a:lnTo>
                      <a:pt x="2596" y="2910"/>
                    </a:lnTo>
                    <a:lnTo>
                      <a:pt x="2596" y="2917"/>
                    </a:lnTo>
                    <a:lnTo>
                      <a:pt x="2584" y="2917"/>
                    </a:lnTo>
                    <a:lnTo>
                      <a:pt x="2596" y="2910"/>
                    </a:lnTo>
                    <a:lnTo>
                      <a:pt x="2568" y="2910"/>
                    </a:lnTo>
                    <a:lnTo>
                      <a:pt x="2558" y="2917"/>
                    </a:lnTo>
                    <a:lnTo>
                      <a:pt x="2575" y="2917"/>
                    </a:lnTo>
                    <a:lnTo>
                      <a:pt x="2551" y="2939"/>
                    </a:lnTo>
                    <a:lnTo>
                      <a:pt x="2558" y="2955"/>
                    </a:lnTo>
                    <a:lnTo>
                      <a:pt x="2542" y="2967"/>
                    </a:lnTo>
                    <a:lnTo>
                      <a:pt x="2521" y="2955"/>
                    </a:lnTo>
                    <a:lnTo>
                      <a:pt x="2537" y="2939"/>
                    </a:lnTo>
                    <a:lnTo>
                      <a:pt x="2513" y="2934"/>
                    </a:lnTo>
                    <a:lnTo>
                      <a:pt x="2537" y="2934"/>
                    </a:lnTo>
                    <a:lnTo>
                      <a:pt x="2542" y="2910"/>
                    </a:lnTo>
                    <a:lnTo>
                      <a:pt x="2558" y="2910"/>
                    </a:lnTo>
                    <a:lnTo>
                      <a:pt x="2542" y="2901"/>
                    </a:lnTo>
                    <a:lnTo>
                      <a:pt x="2537" y="2927"/>
                    </a:lnTo>
                    <a:lnTo>
                      <a:pt x="2530" y="2917"/>
                    </a:lnTo>
                    <a:lnTo>
                      <a:pt x="2504" y="2927"/>
                    </a:lnTo>
                    <a:lnTo>
                      <a:pt x="2504" y="2917"/>
                    </a:lnTo>
                    <a:lnTo>
                      <a:pt x="2513" y="2910"/>
                    </a:lnTo>
                    <a:lnTo>
                      <a:pt x="2504" y="2901"/>
                    </a:lnTo>
                    <a:lnTo>
                      <a:pt x="2513" y="2884"/>
                    </a:lnTo>
                    <a:lnTo>
                      <a:pt x="2504" y="2861"/>
                    </a:lnTo>
                    <a:lnTo>
                      <a:pt x="2513" y="2877"/>
                    </a:lnTo>
                    <a:lnTo>
                      <a:pt x="2530" y="2877"/>
                    </a:lnTo>
                    <a:lnTo>
                      <a:pt x="2551" y="2861"/>
                    </a:lnTo>
                    <a:lnTo>
                      <a:pt x="2551" y="2877"/>
                    </a:lnTo>
                    <a:lnTo>
                      <a:pt x="2568" y="2884"/>
                    </a:lnTo>
                    <a:lnTo>
                      <a:pt x="2568" y="2861"/>
                    </a:lnTo>
                    <a:lnTo>
                      <a:pt x="2558" y="2877"/>
                    </a:lnTo>
                    <a:lnTo>
                      <a:pt x="2558" y="2861"/>
                    </a:lnTo>
                    <a:lnTo>
                      <a:pt x="2568" y="2856"/>
                    </a:lnTo>
                    <a:lnTo>
                      <a:pt x="2575" y="2856"/>
                    </a:lnTo>
                    <a:lnTo>
                      <a:pt x="2589" y="2877"/>
                    </a:lnTo>
                    <a:lnTo>
                      <a:pt x="2584" y="2884"/>
                    </a:lnTo>
                    <a:lnTo>
                      <a:pt x="2558" y="2901"/>
                    </a:lnTo>
                    <a:lnTo>
                      <a:pt x="2589" y="2884"/>
                    </a:lnTo>
                    <a:lnTo>
                      <a:pt x="2589" y="2877"/>
                    </a:lnTo>
                    <a:lnTo>
                      <a:pt x="2575" y="2856"/>
                    </a:lnTo>
                    <a:lnTo>
                      <a:pt x="2589" y="2856"/>
                    </a:lnTo>
                    <a:lnTo>
                      <a:pt x="2589" y="2839"/>
                    </a:lnTo>
                    <a:lnTo>
                      <a:pt x="2575" y="2816"/>
                    </a:lnTo>
                    <a:lnTo>
                      <a:pt x="2537" y="2806"/>
                    </a:lnTo>
                    <a:lnTo>
                      <a:pt x="2584" y="2839"/>
                    </a:lnTo>
                    <a:lnTo>
                      <a:pt x="2575" y="2839"/>
                    </a:lnTo>
                    <a:lnTo>
                      <a:pt x="2537" y="2823"/>
                    </a:lnTo>
                    <a:lnTo>
                      <a:pt x="2537" y="2828"/>
                    </a:lnTo>
                    <a:lnTo>
                      <a:pt x="2551" y="2839"/>
                    </a:lnTo>
                    <a:lnTo>
                      <a:pt x="2542" y="2844"/>
                    </a:lnTo>
                    <a:lnTo>
                      <a:pt x="2558" y="2844"/>
                    </a:lnTo>
                    <a:lnTo>
                      <a:pt x="2542" y="2856"/>
                    </a:lnTo>
                    <a:lnTo>
                      <a:pt x="2537" y="2861"/>
                    </a:lnTo>
                    <a:lnTo>
                      <a:pt x="2530" y="2823"/>
                    </a:lnTo>
                    <a:lnTo>
                      <a:pt x="2537" y="2872"/>
                    </a:lnTo>
                    <a:lnTo>
                      <a:pt x="2513" y="2861"/>
                    </a:lnTo>
                    <a:lnTo>
                      <a:pt x="2504" y="2839"/>
                    </a:lnTo>
                    <a:lnTo>
                      <a:pt x="2530" y="2861"/>
                    </a:lnTo>
                    <a:lnTo>
                      <a:pt x="2513" y="2828"/>
                    </a:lnTo>
                    <a:lnTo>
                      <a:pt x="2521" y="2828"/>
                    </a:lnTo>
                    <a:lnTo>
                      <a:pt x="2504" y="2839"/>
                    </a:lnTo>
                    <a:lnTo>
                      <a:pt x="2499" y="2823"/>
                    </a:lnTo>
                    <a:lnTo>
                      <a:pt x="2488" y="2823"/>
                    </a:lnTo>
                    <a:lnTo>
                      <a:pt x="2488" y="2799"/>
                    </a:lnTo>
                    <a:lnTo>
                      <a:pt x="2513" y="2823"/>
                    </a:lnTo>
                    <a:lnTo>
                      <a:pt x="2499" y="2783"/>
                    </a:lnTo>
                    <a:lnTo>
                      <a:pt x="2504" y="2790"/>
                    </a:lnTo>
                    <a:lnTo>
                      <a:pt x="2504" y="2773"/>
                    </a:lnTo>
                    <a:lnTo>
                      <a:pt x="2488" y="2783"/>
                    </a:lnTo>
                    <a:lnTo>
                      <a:pt x="2476" y="2783"/>
                    </a:lnTo>
                    <a:lnTo>
                      <a:pt x="2466" y="2761"/>
                    </a:lnTo>
                    <a:lnTo>
                      <a:pt x="2476" y="2750"/>
                    </a:lnTo>
                    <a:lnTo>
                      <a:pt x="2499" y="2750"/>
                    </a:lnTo>
                    <a:lnTo>
                      <a:pt x="2504" y="2728"/>
                    </a:lnTo>
                    <a:lnTo>
                      <a:pt x="2521" y="2733"/>
                    </a:lnTo>
                    <a:lnTo>
                      <a:pt x="2521" y="2728"/>
                    </a:lnTo>
                    <a:lnTo>
                      <a:pt x="2504" y="2717"/>
                    </a:lnTo>
                    <a:lnTo>
                      <a:pt x="2513" y="2707"/>
                    </a:lnTo>
                    <a:lnTo>
                      <a:pt x="2499" y="2717"/>
                    </a:lnTo>
                    <a:lnTo>
                      <a:pt x="2499" y="2745"/>
                    </a:lnTo>
                    <a:lnTo>
                      <a:pt x="2483" y="2745"/>
                    </a:lnTo>
                    <a:lnTo>
                      <a:pt x="2466" y="2712"/>
                    </a:lnTo>
                    <a:lnTo>
                      <a:pt x="2488" y="2717"/>
                    </a:lnTo>
                    <a:lnTo>
                      <a:pt x="2466" y="2707"/>
                    </a:lnTo>
                    <a:lnTo>
                      <a:pt x="2433" y="2688"/>
                    </a:lnTo>
                    <a:lnTo>
                      <a:pt x="2445" y="2679"/>
                    </a:lnTo>
                    <a:lnTo>
                      <a:pt x="2462" y="2672"/>
                    </a:lnTo>
                    <a:lnTo>
                      <a:pt x="2466" y="2688"/>
                    </a:lnTo>
                    <a:lnTo>
                      <a:pt x="2499" y="2695"/>
                    </a:lnTo>
                    <a:lnTo>
                      <a:pt x="2476" y="2688"/>
                    </a:lnTo>
                    <a:lnTo>
                      <a:pt x="2462" y="2662"/>
                    </a:lnTo>
                    <a:lnTo>
                      <a:pt x="2466" y="2662"/>
                    </a:lnTo>
                    <a:lnTo>
                      <a:pt x="2488" y="2672"/>
                    </a:lnTo>
                    <a:lnTo>
                      <a:pt x="2466" y="2655"/>
                    </a:lnTo>
                    <a:lnTo>
                      <a:pt x="2462" y="2650"/>
                    </a:lnTo>
                    <a:lnTo>
                      <a:pt x="2483" y="2639"/>
                    </a:lnTo>
                    <a:lnTo>
                      <a:pt x="2466" y="2639"/>
                    </a:lnTo>
                    <a:lnTo>
                      <a:pt x="2462" y="2634"/>
                    </a:lnTo>
                    <a:lnTo>
                      <a:pt x="2488" y="2622"/>
                    </a:lnTo>
                    <a:lnTo>
                      <a:pt x="2504" y="2639"/>
                    </a:lnTo>
                    <a:lnTo>
                      <a:pt x="2499" y="2634"/>
                    </a:lnTo>
                    <a:lnTo>
                      <a:pt x="2488" y="2622"/>
                    </a:lnTo>
                    <a:lnTo>
                      <a:pt x="2476" y="2617"/>
                    </a:lnTo>
                    <a:lnTo>
                      <a:pt x="2483" y="2601"/>
                    </a:lnTo>
                    <a:lnTo>
                      <a:pt x="2499" y="2606"/>
                    </a:lnTo>
                    <a:lnTo>
                      <a:pt x="2483" y="2601"/>
                    </a:lnTo>
                    <a:lnTo>
                      <a:pt x="2483" y="2584"/>
                    </a:lnTo>
                    <a:lnTo>
                      <a:pt x="2499" y="2580"/>
                    </a:lnTo>
                    <a:lnTo>
                      <a:pt x="2483" y="2580"/>
                    </a:lnTo>
                    <a:lnTo>
                      <a:pt x="2466" y="2622"/>
                    </a:lnTo>
                    <a:lnTo>
                      <a:pt x="2462" y="2617"/>
                    </a:lnTo>
                    <a:lnTo>
                      <a:pt x="2450" y="2551"/>
                    </a:lnTo>
                    <a:lnTo>
                      <a:pt x="2462" y="2544"/>
                    </a:lnTo>
                    <a:lnTo>
                      <a:pt x="2483" y="2551"/>
                    </a:lnTo>
                    <a:lnTo>
                      <a:pt x="2462" y="2544"/>
                    </a:lnTo>
                    <a:lnTo>
                      <a:pt x="2462" y="2539"/>
                    </a:lnTo>
                    <a:lnTo>
                      <a:pt x="2466" y="2523"/>
                    </a:lnTo>
                    <a:lnTo>
                      <a:pt x="2483" y="2528"/>
                    </a:lnTo>
                    <a:lnTo>
                      <a:pt x="2483" y="2523"/>
                    </a:lnTo>
                    <a:lnTo>
                      <a:pt x="2466" y="2511"/>
                    </a:lnTo>
                    <a:lnTo>
                      <a:pt x="2476" y="2511"/>
                    </a:lnTo>
                    <a:lnTo>
                      <a:pt x="2433" y="2485"/>
                    </a:lnTo>
                    <a:lnTo>
                      <a:pt x="2450" y="2485"/>
                    </a:lnTo>
                    <a:lnTo>
                      <a:pt x="2466" y="2506"/>
                    </a:lnTo>
                    <a:lnTo>
                      <a:pt x="2462" y="2485"/>
                    </a:lnTo>
                    <a:lnTo>
                      <a:pt x="2499" y="2485"/>
                    </a:lnTo>
                    <a:lnTo>
                      <a:pt x="2513" y="2506"/>
                    </a:lnTo>
                    <a:lnTo>
                      <a:pt x="2521" y="2495"/>
                    </a:lnTo>
                    <a:lnTo>
                      <a:pt x="2530" y="2495"/>
                    </a:lnTo>
                    <a:lnTo>
                      <a:pt x="2537" y="2490"/>
                    </a:lnTo>
                    <a:lnTo>
                      <a:pt x="2530" y="2495"/>
                    </a:lnTo>
                    <a:lnTo>
                      <a:pt x="2521" y="2490"/>
                    </a:lnTo>
                    <a:lnTo>
                      <a:pt x="2504" y="2473"/>
                    </a:lnTo>
                    <a:lnTo>
                      <a:pt x="2537" y="2485"/>
                    </a:lnTo>
                    <a:lnTo>
                      <a:pt x="2521" y="2473"/>
                    </a:lnTo>
                    <a:lnTo>
                      <a:pt x="2504" y="2457"/>
                    </a:lnTo>
                    <a:lnTo>
                      <a:pt x="2504" y="2452"/>
                    </a:lnTo>
                    <a:lnTo>
                      <a:pt x="2504" y="2433"/>
                    </a:lnTo>
                    <a:lnTo>
                      <a:pt x="2499" y="2457"/>
                    </a:lnTo>
                    <a:lnTo>
                      <a:pt x="2488" y="2469"/>
                    </a:lnTo>
                    <a:lnTo>
                      <a:pt x="2433" y="2457"/>
                    </a:lnTo>
                    <a:lnTo>
                      <a:pt x="2445" y="2440"/>
                    </a:lnTo>
                    <a:lnTo>
                      <a:pt x="2462" y="2440"/>
                    </a:lnTo>
                    <a:lnTo>
                      <a:pt x="2466" y="2457"/>
                    </a:lnTo>
                    <a:lnTo>
                      <a:pt x="2476" y="2457"/>
                    </a:lnTo>
                    <a:lnTo>
                      <a:pt x="2466" y="2457"/>
                    </a:lnTo>
                    <a:lnTo>
                      <a:pt x="2466" y="2452"/>
                    </a:lnTo>
                    <a:lnTo>
                      <a:pt x="2483" y="2440"/>
                    </a:lnTo>
                    <a:lnTo>
                      <a:pt x="2462" y="2440"/>
                    </a:lnTo>
                    <a:lnTo>
                      <a:pt x="2445" y="2428"/>
                    </a:lnTo>
                    <a:lnTo>
                      <a:pt x="2462" y="2412"/>
                    </a:lnTo>
                    <a:lnTo>
                      <a:pt x="2476" y="2412"/>
                    </a:lnTo>
                    <a:lnTo>
                      <a:pt x="2476" y="2417"/>
                    </a:lnTo>
                    <a:lnTo>
                      <a:pt x="2476" y="2412"/>
                    </a:lnTo>
                    <a:lnTo>
                      <a:pt x="2488" y="2395"/>
                    </a:lnTo>
                    <a:lnTo>
                      <a:pt x="2476" y="2384"/>
                    </a:lnTo>
                    <a:lnTo>
                      <a:pt x="2466" y="2374"/>
                    </a:lnTo>
                    <a:lnTo>
                      <a:pt x="2445" y="2374"/>
                    </a:lnTo>
                    <a:lnTo>
                      <a:pt x="2450" y="2379"/>
                    </a:lnTo>
                    <a:lnTo>
                      <a:pt x="2412" y="2374"/>
                    </a:lnTo>
                    <a:lnTo>
                      <a:pt x="2407" y="2358"/>
                    </a:lnTo>
                    <a:lnTo>
                      <a:pt x="2424" y="2341"/>
                    </a:lnTo>
                    <a:lnTo>
                      <a:pt x="2407" y="2358"/>
                    </a:lnTo>
                    <a:lnTo>
                      <a:pt x="2369" y="2374"/>
                    </a:lnTo>
                    <a:lnTo>
                      <a:pt x="2379" y="2362"/>
                    </a:lnTo>
                    <a:lnTo>
                      <a:pt x="2391" y="2379"/>
                    </a:lnTo>
                    <a:lnTo>
                      <a:pt x="2379" y="2384"/>
                    </a:lnTo>
                    <a:lnTo>
                      <a:pt x="2374" y="2384"/>
                    </a:lnTo>
                    <a:lnTo>
                      <a:pt x="2369" y="2362"/>
                    </a:lnTo>
                    <a:lnTo>
                      <a:pt x="2369" y="2346"/>
                    </a:lnTo>
                    <a:lnTo>
                      <a:pt x="2395" y="2329"/>
                    </a:lnTo>
                    <a:lnTo>
                      <a:pt x="2395" y="2341"/>
                    </a:lnTo>
                    <a:lnTo>
                      <a:pt x="2407" y="2317"/>
                    </a:lnTo>
                    <a:lnTo>
                      <a:pt x="2428" y="2308"/>
                    </a:lnTo>
                    <a:lnTo>
                      <a:pt x="2433" y="2284"/>
                    </a:lnTo>
                    <a:lnTo>
                      <a:pt x="2462" y="2284"/>
                    </a:lnTo>
                    <a:lnTo>
                      <a:pt x="2476" y="2284"/>
                    </a:lnTo>
                    <a:lnTo>
                      <a:pt x="2483" y="2301"/>
                    </a:lnTo>
                    <a:lnTo>
                      <a:pt x="2476" y="2308"/>
                    </a:lnTo>
                    <a:lnTo>
                      <a:pt x="2483" y="2301"/>
                    </a:lnTo>
                    <a:lnTo>
                      <a:pt x="2488" y="2308"/>
                    </a:lnTo>
                    <a:lnTo>
                      <a:pt x="2462" y="2324"/>
                    </a:lnTo>
                    <a:lnTo>
                      <a:pt x="2450" y="2317"/>
                    </a:lnTo>
                    <a:lnTo>
                      <a:pt x="2462" y="2324"/>
                    </a:lnTo>
                    <a:lnTo>
                      <a:pt x="2483" y="2317"/>
                    </a:lnTo>
                    <a:lnTo>
                      <a:pt x="2499" y="2329"/>
                    </a:lnTo>
                    <a:lnTo>
                      <a:pt x="2483" y="2317"/>
                    </a:lnTo>
                    <a:lnTo>
                      <a:pt x="2488" y="2317"/>
                    </a:lnTo>
                    <a:lnTo>
                      <a:pt x="2499" y="2324"/>
                    </a:lnTo>
                    <a:lnTo>
                      <a:pt x="2483" y="2346"/>
                    </a:lnTo>
                    <a:lnTo>
                      <a:pt x="2499" y="2358"/>
                    </a:lnTo>
                    <a:lnTo>
                      <a:pt x="2521" y="2308"/>
                    </a:lnTo>
                    <a:lnTo>
                      <a:pt x="2504" y="2329"/>
                    </a:lnTo>
                    <a:lnTo>
                      <a:pt x="2504" y="2301"/>
                    </a:lnTo>
                    <a:lnTo>
                      <a:pt x="2530" y="2272"/>
                    </a:lnTo>
                    <a:lnTo>
                      <a:pt x="2542" y="2268"/>
                    </a:lnTo>
                    <a:lnTo>
                      <a:pt x="2530" y="2268"/>
                    </a:lnTo>
                    <a:lnTo>
                      <a:pt x="2513" y="2272"/>
                    </a:lnTo>
                    <a:lnTo>
                      <a:pt x="2521" y="2251"/>
                    </a:lnTo>
                    <a:lnTo>
                      <a:pt x="2537" y="2235"/>
                    </a:lnTo>
                    <a:lnTo>
                      <a:pt x="2551" y="2251"/>
                    </a:lnTo>
                    <a:lnTo>
                      <a:pt x="2568" y="2247"/>
                    </a:lnTo>
                    <a:lnTo>
                      <a:pt x="2537" y="2230"/>
                    </a:lnTo>
                    <a:lnTo>
                      <a:pt x="2521" y="2235"/>
                    </a:lnTo>
                    <a:lnTo>
                      <a:pt x="2521" y="2230"/>
                    </a:lnTo>
                    <a:lnTo>
                      <a:pt x="2537" y="2218"/>
                    </a:lnTo>
                    <a:lnTo>
                      <a:pt x="2530" y="2206"/>
                    </a:lnTo>
                    <a:lnTo>
                      <a:pt x="2568" y="2190"/>
                    </a:lnTo>
                    <a:lnTo>
                      <a:pt x="2584" y="2161"/>
                    </a:lnTo>
                    <a:lnTo>
                      <a:pt x="2584" y="2157"/>
                    </a:lnTo>
                    <a:lnTo>
                      <a:pt x="2575" y="2161"/>
                    </a:lnTo>
                    <a:lnTo>
                      <a:pt x="2537" y="2135"/>
                    </a:lnTo>
                    <a:lnTo>
                      <a:pt x="2551" y="2102"/>
                    </a:lnTo>
                    <a:lnTo>
                      <a:pt x="2568" y="2102"/>
                    </a:lnTo>
                    <a:lnTo>
                      <a:pt x="2568" y="2095"/>
                    </a:lnTo>
                    <a:lnTo>
                      <a:pt x="2551" y="2095"/>
                    </a:lnTo>
                    <a:lnTo>
                      <a:pt x="2542" y="2069"/>
                    </a:lnTo>
                    <a:lnTo>
                      <a:pt x="2551" y="2062"/>
                    </a:lnTo>
                    <a:lnTo>
                      <a:pt x="2558" y="2053"/>
                    </a:lnTo>
                    <a:lnTo>
                      <a:pt x="2568" y="2041"/>
                    </a:lnTo>
                    <a:lnTo>
                      <a:pt x="2575" y="2041"/>
                    </a:lnTo>
                    <a:lnTo>
                      <a:pt x="2568" y="1996"/>
                    </a:lnTo>
                    <a:lnTo>
                      <a:pt x="2568" y="1991"/>
                    </a:lnTo>
                    <a:lnTo>
                      <a:pt x="2589" y="1996"/>
                    </a:lnTo>
                    <a:lnTo>
                      <a:pt x="2568" y="1968"/>
                    </a:lnTo>
                    <a:lnTo>
                      <a:pt x="2584" y="1958"/>
                    </a:lnTo>
                    <a:lnTo>
                      <a:pt x="2596" y="1984"/>
                    </a:lnTo>
                    <a:lnTo>
                      <a:pt x="2589" y="1942"/>
                    </a:lnTo>
                    <a:lnTo>
                      <a:pt x="2575" y="1942"/>
                    </a:lnTo>
                    <a:lnTo>
                      <a:pt x="2568" y="1935"/>
                    </a:lnTo>
                    <a:lnTo>
                      <a:pt x="2575" y="1930"/>
                    </a:lnTo>
                    <a:lnTo>
                      <a:pt x="2596" y="1918"/>
                    </a:lnTo>
                    <a:lnTo>
                      <a:pt x="2606" y="1897"/>
                    </a:lnTo>
                    <a:lnTo>
                      <a:pt x="2596" y="1918"/>
                    </a:lnTo>
                    <a:lnTo>
                      <a:pt x="2584" y="1918"/>
                    </a:lnTo>
                    <a:lnTo>
                      <a:pt x="2558" y="1902"/>
                    </a:lnTo>
                    <a:lnTo>
                      <a:pt x="2551" y="1902"/>
                    </a:lnTo>
                    <a:lnTo>
                      <a:pt x="2551" y="1918"/>
                    </a:lnTo>
                    <a:lnTo>
                      <a:pt x="2537" y="1930"/>
                    </a:lnTo>
                    <a:lnTo>
                      <a:pt x="2504" y="1930"/>
                    </a:lnTo>
                    <a:lnTo>
                      <a:pt x="2521" y="1902"/>
                    </a:lnTo>
                    <a:lnTo>
                      <a:pt x="2504" y="1913"/>
                    </a:lnTo>
                    <a:lnTo>
                      <a:pt x="2488" y="1902"/>
                    </a:lnTo>
                    <a:lnTo>
                      <a:pt x="2483" y="1857"/>
                    </a:lnTo>
                    <a:lnTo>
                      <a:pt x="2504" y="1819"/>
                    </a:lnTo>
                    <a:lnTo>
                      <a:pt x="2504" y="1791"/>
                    </a:lnTo>
                    <a:lnTo>
                      <a:pt x="2504" y="1786"/>
                    </a:lnTo>
                    <a:lnTo>
                      <a:pt x="2504" y="1774"/>
                    </a:lnTo>
                    <a:lnTo>
                      <a:pt x="2530" y="1769"/>
                    </a:lnTo>
                    <a:lnTo>
                      <a:pt x="2537" y="1729"/>
                    </a:lnTo>
                    <a:lnTo>
                      <a:pt x="2513" y="1642"/>
                    </a:lnTo>
                    <a:lnTo>
                      <a:pt x="2521" y="1609"/>
                    </a:lnTo>
                    <a:lnTo>
                      <a:pt x="2504" y="1585"/>
                    </a:lnTo>
                    <a:lnTo>
                      <a:pt x="2513" y="1564"/>
                    </a:lnTo>
                    <a:lnTo>
                      <a:pt x="2504" y="1552"/>
                    </a:lnTo>
                    <a:lnTo>
                      <a:pt x="2513" y="1535"/>
                    </a:lnTo>
                    <a:lnTo>
                      <a:pt x="2530" y="1535"/>
                    </a:lnTo>
                    <a:lnTo>
                      <a:pt x="2542" y="1531"/>
                    </a:lnTo>
                    <a:lnTo>
                      <a:pt x="2542" y="1498"/>
                    </a:lnTo>
                    <a:lnTo>
                      <a:pt x="2551" y="1498"/>
                    </a:lnTo>
                    <a:lnTo>
                      <a:pt x="2568" y="1436"/>
                    </a:lnTo>
                    <a:lnTo>
                      <a:pt x="2584" y="1424"/>
                    </a:lnTo>
                    <a:lnTo>
                      <a:pt x="2584" y="1403"/>
                    </a:lnTo>
                    <a:lnTo>
                      <a:pt x="2606" y="1363"/>
                    </a:lnTo>
                    <a:lnTo>
                      <a:pt x="2627" y="1309"/>
                    </a:lnTo>
                    <a:lnTo>
                      <a:pt x="2622" y="1287"/>
                    </a:lnTo>
                    <a:lnTo>
                      <a:pt x="2639" y="1259"/>
                    </a:lnTo>
                    <a:lnTo>
                      <a:pt x="2651" y="1252"/>
                    </a:lnTo>
                    <a:lnTo>
                      <a:pt x="2643" y="1202"/>
                    </a:lnTo>
                    <a:lnTo>
                      <a:pt x="2651" y="1198"/>
                    </a:lnTo>
                    <a:lnTo>
                      <a:pt x="2665" y="1165"/>
                    </a:lnTo>
                    <a:lnTo>
                      <a:pt x="2665" y="1148"/>
                    </a:lnTo>
                    <a:lnTo>
                      <a:pt x="2660" y="1136"/>
                    </a:lnTo>
                    <a:lnTo>
                      <a:pt x="2660" y="1091"/>
                    </a:lnTo>
                    <a:lnTo>
                      <a:pt x="2643" y="1013"/>
                    </a:lnTo>
                    <a:lnTo>
                      <a:pt x="2643" y="980"/>
                    </a:lnTo>
                    <a:lnTo>
                      <a:pt x="2665" y="976"/>
                    </a:lnTo>
                    <a:lnTo>
                      <a:pt x="2676" y="954"/>
                    </a:lnTo>
                    <a:lnTo>
                      <a:pt x="2676" y="914"/>
                    </a:lnTo>
                    <a:lnTo>
                      <a:pt x="2660" y="898"/>
                    </a:lnTo>
                    <a:lnTo>
                      <a:pt x="2660" y="869"/>
                    </a:lnTo>
                    <a:lnTo>
                      <a:pt x="2681" y="827"/>
                    </a:lnTo>
                    <a:lnTo>
                      <a:pt x="2693" y="787"/>
                    </a:lnTo>
                    <a:lnTo>
                      <a:pt x="2698" y="770"/>
                    </a:lnTo>
                    <a:lnTo>
                      <a:pt x="2698" y="737"/>
                    </a:lnTo>
                    <a:lnTo>
                      <a:pt x="2702" y="721"/>
                    </a:lnTo>
                    <a:lnTo>
                      <a:pt x="2702" y="716"/>
                    </a:lnTo>
                    <a:lnTo>
                      <a:pt x="2719" y="666"/>
                    </a:lnTo>
                    <a:lnTo>
                      <a:pt x="2719" y="643"/>
                    </a:lnTo>
                    <a:lnTo>
                      <a:pt x="2714" y="626"/>
                    </a:lnTo>
                    <a:lnTo>
                      <a:pt x="2736" y="593"/>
                    </a:lnTo>
                    <a:lnTo>
                      <a:pt x="2719" y="548"/>
                    </a:lnTo>
                    <a:lnTo>
                      <a:pt x="2731" y="482"/>
                    </a:lnTo>
                    <a:lnTo>
                      <a:pt x="2736" y="461"/>
                    </a:lnTo>
                    <a:lnTo>
                      <a:pt x="2731" y="454"/>
                    </a:lnTo>
                    <a:lnTo>
                      <a:pt x="2719" y="454"/>
                    </a:lnTo>
                    <a:lnTo>
                      <a:pt x="2719" y="421"/>
                    </a:lnTo>
                    <a:lnTo>
                      <a:pt x="2736" y="421"/>
                    </a:lnTo>
                    <a:lnTo>
                      <a:pt x="2747" y="404"/>
                    </a:lnTo>
                    <a:lnTo>
                      <a:pt x="2752" y="317"/>
                    </a:lnTo>
                    <a:lnTo>
                      <a:pt x="2757" y="293"/>
                    </a:lnTo>
                    <a:lnTo>
                      <a:pt x="2752" y="250"/>
                    </a:lnTo>
                    <a:lnTo>
                      <a:pt x="2757" y="189"/>
                    </a:lnTo>
                    <a:lnTo>
                      <a:pt x="2747" y="104"/>
                    </a:lnTo>
                    <a:lnTo>
                      <a:pt x="2747" y="71"/>
                    </a:lnTo>
                    <a:lnTo>
                      <a:pt x="2736" y="66"/>
                    </a:lnTo>
                    <a:lnTo>
                      <a:pt x="2736" y="66"/>
                    </a:lnTo>
                    <a:lnTo>
                      <a:pt x="2736" y="66"/>
                    </a:lnTo>
                    <a:close/>
                    <a:moveTo>
                      <a:pt x="0" y="737"/>
                    </a:moveTo>
                    <a:lnTo>
                      <a:pt x="0" y="732"/>
                    </a:lnTo>
                    <a:lnTo>
                      <a:pt x="17" y="732"/>
                    </a:lnTo>
                    <a:lnTo>
                      <a:pt x="0" y="737"/>
                    </a:lnTo>
                    <a:lnTo>
                      <a:pt x="0" y="737"/>
                    </a:lnTo>
                    <a:lnTo>
                      <a:pt x="0" y="737"/>
                    </a:lnTo>
                    <a:close/>
                    <a:moveTo>
                      <a:pt x="2138" y="1252"/>
                    </a:moveTo>
                    <a:lnTo>
                      <a:pt x="2143" y="1247"/>
                    </a:lnTo>
                    <a:lnTo>
                      <a:pt x="2152" y="1247"/>
                    </a:lnTo>
                    <a:lnTo>
                      <a:pt x="2138" y="1252"/>
                    </a:lnTo>
                    <a:lnTo>
                      <a:pt x="2138" y="1252"/>
                    </a:lnTo>
                    <a:lnTo>
                      <a:pt x="2138" y="1252"/>
                    </a:lnTo>
                    <a:close/>
                    <a:moveTo>
                      <a:pt x="2513" y="2029"/>
                    </a:moveTo>
                    <a:lnTo>
                      <a:pt x="2521" y="2046"/>
                    </a:lnTo>
                    <a:lnTo>
                      <a:pt x="2499" y="2046"/>
                    </a:lnTo>
                    <a:lnTo>
                      <a:pt x="2504" y="2069"/>
                    </a:lnTo>
                    <a:lnTo>
                      <a:pt x="2462" y="2053"/>
                    </a:lnTo>
                    <a:lnTo>
                      <a:pt x="2476" y="2024"/>
                    </a:lnTo>
                    <a:lnTo>
                      <a:pt x="2476" y="1996"/>
                    </a:lnTo>
                    <a:lnTo>
                      <a:pt x="2466" y="1991"/>
                    </a:lnTo>
                    <a:lnTo>
                      <a:pt x="2476" y="1968"/>
                    </a:lnTo>
                    <a:lnTo>
                      <a:pt x="2483" y="1951"/>
                    </a:lnTo>
                    <a:lnTo>
                      <a:pt x="2483" y="1930"/>
                    </a:lnTo>
                    <a:lnTo>
                      <a:pt x="2488" y="1930"/>
                    </a:lnTo>
                    <a:lnTo>
                      <a:pt x="2483" y="1935"/>
                    </a:lnTo>
                    <a:lnTo>
                      <a:pt x="2488" y="1935"/>
                    </a:lnTo>
                    <a:lnTo>
                      <a:pt x="2504" y="1930"/>
                    </a:lnTo>
                    <a:lnTo>
                      <a:pt x="2521" y="1935"/>
                    </a:lnTo>
                    <a:lnTo>
                      <a:pt x="2521" y="1942"/>
                    </a:lnTo>
                    <a:lnTo>
                      <a:pt x="2521" y="1951"/>
                    </a:lnTo>
                    <a:lnTo>
                      <a:pt x="2521" y="1958"/>
                    </a:lnTo>
                    <a:lnTo>
                      <a:pt x="2530" y="1968"/>
                    </a:lnTo>
                    <a:lnTo>
                      <a:pt x="2530" y="1975"/>
                    </a:lnTo>
                    <a:lnTo>
                      <a:pt x="2504" y="1975"/>
                    </a:lnTo>
                    <a:lnTo>
                      <a:pt x="2513" y="1991"/>
                    </a:lnTo>
                    <a:lnTo>
                      <a:pt x="2504" y="1991"/>
                    </a:lnTo>
                    <a:lnTo>
                      <a:pt x="2499" y="1984"/>
                    </a:lnTo>
                    <a:lnTo>
                      <a:pt x="2499" y="1991"/>
                    </a:lnTo>
                    <a:lnTo>
                      <a:pt x="2499" y="1996"/>
                    </a:lnTo>
                    <a:lnTo>
                      <a:pt x="2521" y="2013"/>
                    </a:lnTo>
                    <a:lnTo>
                      <a:pt x="2521" y="2024"/>
                    </a:lnTo>
                    <a:lnTo>
                      <a:pt x="2504" y="2024"/>
                    </a:lnTo>
                    <a:lnTo>
                      <a:pt x="2513" y="2029"/>
                    </a:lnTo>
                    <a:lnTo>
                      <a:pt x="2513" y="2029"/>
                    </a:lnTo>
                    <a:lnTo>
                      <a:pt x="2513" y="2029"/>
                    </a:lnTo>
                    <a:close/>
                    <a:moveTo>
                      <a:pt x="2589" y="1958"/>
                    </a:moveTo>
                    <a:lnTo>
                      <a:pt x="2584" y="1958"/>
                    </a:lnTo>
                    <a:lnTo>
                      <a:pt x="2589" y="1951"/>
                    </a:lnTo>
                    <a:lnTo>
                      <a:pt x="2589" y="1958"/>
                    </a:lnTo>
                    <a:lnTo>
                      <a:pt x="2589" y="1958"/>
                    </a:lnTo>
                    <a:lnTo>
                      <a:pt x="2589" y="1958"/>
                    </a:lnTo>
                    <a:close/>
                    <a:moveTo>
                      <a:pt x="2542" y="1975"/>
                    </a:moveTo>
                    <a:lnTo>
                      <a:pt x="2542" y="1968"/>
                    </a:lnTo>
                    <a:lnTo>
                      <a:pt x="2551" y="1968"/>
                    </a:lnTo>
                    <a:lnTo>
                      <a:pt x="2542" y="1975"/>
                    </a:lnTo>
                    <a:lnTo>
                      <a:pt x="2542" y="1975"/>
                    </a:lnTo>
                    <a:lnTo>
                      <a:pt x="2542" y="1975"/>
                    </a:lnTo>
                    <a:close/>
                    <a:moveTo>
                      <a:pt x="2521" y="1996"/>
                    </a:moveTo>
                    <a:lnTo>
                      <a:pt x="2504" y="1984"/>
                    </a:lnTo>
                    <a:lnTo>
                      <a:pt x="2521" y="1984"/>
                    </a:lnTo>
                    <a:lnTo>
                      <a:pt x="2521" y="1996"/>
                    </a:lnTo>
                    <a:lnTo>
                      <a:pt x="2521" y="1996"/>
                    </a:lnTo>
                    <a:lnTo>
                      <a:pt x="2521" y="1996"/>
                    </a:lnTo>
                    <a:close/>
                    <a:moveTo>
                      <a:pt x="2513" y="1996"/>
                    </a:moveTo>
                    <a:lnTo>
                      <a:pt x="2504" y="1996"/>
                    </a:lnTo>
                    <a:lnTo>
                      <a:pt x="2513" y="1996"/>
                    </a:lnTo>
                    <a:lnTo>
                      <a:pt x="2513" y="1996"/>
                    </a:lnTo>
                    <a:lnTo>
                      <a:pt x="2513" y="1996"/>
                    </a:lnTo>
                    <a:close/>
                    <a:moveTo>
                      <a:pt x="2428" y="2095"/>
                    </a:moveTo>
                    <a:lnTo>
                      <a:pt x="2424" y="2086"/>
                    </a:lnTo>
                    <a:lnTo>
                      <a:pt x="2445" y="2086"/>
                    </a:lnTo>
                    <a:lnTo>
                      <a:pt x="2428" y="2095"/>
                    </a:lnTo>
                    <a:lnTo>
                      <a:pt x="2428" y="2095"/>
                    </a:lnTo>
                    <a:lnTo>
                      <a:pt x="2428" y="2095"/>
                    </a:lnTo>
                    <a:close/>
                    <a:moveTo>
                      <a:pt x="2483" y="2119"/>
                    </a:moveTo>
                    <a:lnTo>
                      <a:pt x="2476" y="2107"/>
                    </a:lnTo>
                    <a:lnTo>
                      <a:pt x="2476" y="2102"/>
                    </a:lnTo>
                    <a:lnTo>
                      <a:pt x="2499" y="2102"/>
                    </a:lnTo>
                    <a:lnTo>
                      <a:pt x="2499" y="2107"/>
                    </a:lnTo>
                    <a:lnTo>
                      <a:pt x="2488" y="2107"/>
                    </a:lnTo>
                    <a:lnTo>
                      <a:pt x="2483" y="2119"/>
                    </a:lnTo>
                    <a:lnTo>
                      <a:pt x="2483" y="2119"/>
                    </a:lnTo>
                    <a:lnTo>
                      <a:pt x="2483" y="2119"/>
                    </a:lnTo>
                    <a:close/>
                    <a:moveTo>
                      <a:pt x="2542" y="2124"/>
                    </a:moveTo>
                    <a:lnTo>
                      <a:pt x="2537" y="2119"/>
                    </a:lnTo>
                    <a:lnTo>
                      <a:pt x="2537" y="2107"/>
                    </a:lnTo>
                    <a:lnTo>
                      <a:pt x="2542" y="2107"/>
                    </a:lnTo>
                    <a:lnTo>
                      <a:pt x="2542" y="2124"/>
                    </a:lnTo>
                    <a:lnTo>
                      <a:pt x="2542" y="2124"/>
                    </a:lnTo>
                    <a:lnTo>
                      <a:pt x="2542" y="2124"/>
                    </a:lnTo>
                    <a:close/>
                    <a:moveTo>
                      <a:pt x="2504" y="2135"/>
                    </a:moveTo>
                    <a:lnTo>
                      <a:pt x="2504" y="2119"/>
                    </a:lnTo>
                    <a:lnTo>
                      <a:pt x="2513" y="2124"/>
                    </a:lnTo>
                    <a:lnTo>
                      <a:pt x="2504" y="2135"/>
                    </a:lnTo>
                    <a:lnTo>
                      <a:pt x="2504" y="2135"/>
                    </a:lnTo>
                    <a:lnTo>
                      <a:pt x="2504" y="2135"/>
                    </a:lnTo>
                    <a:close/>
                    <a:moveTo>
                      <a:pt x="2488" y="2140"/>
                    </a:moveTo>
                    <a:lnTo>
                      <a:pt x="2483" y="2135"/>
                    </a:lnTo>
                    <a:lnTo>
                      <a:pt x="2488" y="2135"/>
                    </a:lnTo>
                    <a:lnTo>
                      <a:pt x="2488" y="2140"/>
                    </a:lnTo>
                    <a:lnTo>
                      <a:pt x="2488" y="2140"/>
                    </a:lnTo>
                    <a:lnTo>
                      <a:pt x="2488" y="2140"/>
                    </a:lnTo>
                    <a:close/>
                    <a:moveTo>
                      <a:pt x="2462" y="2140"/>
                    </a:moveTo>
                    <a:lnTo>
                      <a:pt x="2462" y="2135"/>
                    </a:lnTo>
                    <a:lnTo>
                      <a:pt x="2466" y="2135"/>
                    </a:lnTo>
                    <a:lnTo>
                      <a:pt x="2462" y="2140"/>
                    </a:lnTo>
                    <a:lnTo>
                      <a:pt x="2462" y="2140"/>
                    </a:lnTo>
                    <a:lnTo>
                      <a:pt x="2462" y="2140"/>
                    </a:lnTo>
                    <a:close/>
                    <a:moveTo>
                      <a:pt x="2483" y="2152"/>
                    </a:moveTo>
                    <a:lnTo>
                      <a:pt x="2476" y="2140"/>
                    </a:lnTo>
                    <a:lnTo>
                      <a:pt x="2483" y="2135"/>
                    </a:lnTo>
                    <a:lnTo>
                      <a:pt x="2488" y="2140"/>
                    </a:lnTo>
                    <a:lnTo>
                      <a:pt x="2483" y="2152"/>
                    </a:lnTo>
                    <a:lnTo>
                      <a:pt x="2483" y="2152"/>
                    </a:lnTo>
                    <a:lnTo>
                      <a:pt x="2483" y="2152"/>
                    </a:lnTo>
                    <a:close/>
                    <a:moveTo>
                      <a:pt x="2504" y="2152"/>
                    </a:moveTo>
                    <a:lnTo>
                      <a:pt x="2499" y="2140"/>
                    </a:lnTo>
                    <a:lnTo>
                      <a:pt x="2504" y="2140"/>
                    </a:lnTo>
                    <a:lnTo>
                      <a:pt x="2504" y="2152"/>
                    </a:lnTo>
                    <a:lnTo>
                      <a:pt x="2504" y="2152"/>
                    </a:lnTo>
                    <a:lnTo>
                      <a:pt x="2504" y="2152"/>
                    </a:lnTo>
                    <a:close/>
                    <a:moveTo>
                      <a:pt x="2499" y="2152"/>
                    </a:moveTo>
                    <a:lnTo>
                      <a:pt x="2488" y="2152"/>
                    </a:lnTo>
                    <a:lnTo>
                      <a:pt x="2499" y="2140"/>
                    </a:lnTo>
                    <a:lnTo>
                      <a:pt x="2499" y="2152"/>
                    </a:lnTo>
                    <a:lnTo>
                      <a:pt x="2499" y="2152"/>
                    </a:lnTo>
                    <a:lnTo>
                      <a:pt x="2499" y="2152"/>
                    </a:lnTo>
                    <a:close/>
                    <a:moveTo>
                      <a:pt x="2537" y="2157"/>
                    </a:moveTo>
                    <a:lnTo>
                      <a:pt x="2537" y="2152"/>
                    </a:lnTo>
                    <a:lnTo>
                      <a:pt x="2542" y="2157"/>
                    </a:lnTo>
                    <a:lnTo>
                      <a:pt x="2537" y="2157"/>
                    </a:lnTo>
                    <a:lnTo>
                      <a:pt x="2537" y="2157"/>
                    </a:lnTo>
                    <a:lnTo>
                      <a:pt x="2537" y="2157"/>
                    </a:lnTo>
                    <a:close/>
                    <a:moveTo>
                      <a:pt x="2488" y="2157"/>
                    </a:moveTo>
                    <a:lnTo>
                      <a:pt x="2476" y="2152"/>
                    </a:lnTo>
                    <a:lnTo>
                      <a:pt x="2488" y="2152"/>
                    </a:lnTo>
                    <a:lnTo>
                      <a:pt x="2488" y="2157"/>
                    </a:lnTo>
                    <a:lnTo>
                      <a:pt x="2488" y="2157"/>
                    </a:lnTo>
                    <a:lnTo>
                      <a:pt x="2488" y="2157"/>
                    </a:lnTo>
                    <a:close/>
                    <a:moveTo>
                      <a:pt x="2504" y="2157"/>
                    </a:moveTo>
                    <a:lnTo>
                      <a:pt x="2499" y="2157"/>
                    </a:lnTo>
                    <a:lnTo>
                      <a:pt x="2504" y="2152"/>
                    </a:lnTo>
                    <a:lnTo>
                      <a:pt x="2504" y="2157"/>
                    </a:lnTo>
                    <a:lnTo>
                      <a:pt x="2504" y="2157"/>
                    </a:lnTo>
                    <a:lnTo>
                      <a:pt x="2504" y="2157"/>
                    </a:lnTo>
                    <a:close/>
                    <a:moveTo>
                      <a:pt x="2568" y="2190"/>
                    </a:moveTo>
                    <a:lnTo>
                      <a:pt x="2537" y="2206"/>
                    </a:lnTo>
                    <a:lnTo>
                      <a:pt x="2530" y="2197"/>
                    </a:lnTo>
                    <a:lnTo>
                      <a:pt x="2537" y="2190"/>
                    </a:lnTo>
                    <a:lnTo>
                      <a:pt x="2530" y="2190"/>
                    </a:lnTo>
                    <a:lnTo>
                      <a:pt x="2521" y="2180"/>
                    </a:lnTo>
                    <a:lnTo>
                      <a:pt x="2537" y="2173"/>
                    </a:lnTo>
                    <a:lnTo>
                      <a:pt x="2537" y="2157"/>
                    </a:lnTo>
                    <a:lnTo>
                      <a:pt x="2551" y="2157"/>
                    </a:lnTo>
                    <a:lnTo>
                      <a:pt x="2575" y="2161"/>
                    </a:lnTo>
                    <a:lnTo>
                      <a:pt x="2568" y="2180"/>
                    </a:lnTo>
                    <a:lnTo>
                      <a:pt x="2551" y="2173"/>
                    </a:lnTo>
                    <a:lnTo>
                      <a:pt x="2568" y="2180"/>
                    </a:lnTo>
                    <a:lnTo>
                      <a:pt x="2568" y="2190"/>
                    </a:lnTo>
                    <a:lnTo>
                      <a:pt x="2568" y="2190"/>
                    </a:lnTo>
                    <a:lnTo>
                      <a:pt x="2568" y="2190"/>
                    </a:lnTo>
                    <a:close/>
                    <a:moveTo>
                      <a:pt x="2488" y="2161"/>
                    </a:moveTo>
                    <a:lnTo>
                      <a:pt x="2488" y="2157"/>
                    </a:lnTo>
                    <a:lnTo>
                      <a:pt x="2499" y="2157"/>
                    </a:lnTo>
                    <a:lnTo>
                      <a:pt x="2488" y="2161"/>
                    </a:lnTo>
                    <a:lnTo>
                      <a:pt x="2488" y="2161"/>
                    </a:lnTo>
                    <a:lnTo>
                      <a:pt x="2488" y="2161"/>
                    </a:lnTo>
                    <a:close/>
                    <a:moveTo>
                      <a:pt x="2462" y="2173"/>
                    </a:moveTo>
                    <a:lnTo>
                      <a:pt x="2445" y="2161"/>
                    </a:lnTo>
                    <a:lnTo>
                      <a:pt x="2462" y="2157"/>
                    </a:lnTo>
                    <a:lnTo>
                      <a:pt x="2466" y="2161"/>
                    </a:lnTo>
                    <a:lnTo>
                      <a:pt x="2462" y="2173"/>
                    </a:lnTo>
                    <a:lnTo>
                      <a:pt x="2462" y="2173"/>
                    </a:lnTo>
                    <a:lnTo>
                      <a:pt x="2462" y="2173"/>
                    </a:lnTo>
                    <a:close/>
                    <a:moveTo>
                      <a:pt x="2483" y="2173"/>
                    </a:moveTo>
                    <a:lnTo>
                      <a:pt x="2476" y="2157"/>
                    </a:lnTo>
                    <a:lnTo>
                      <a:pt x="2488" y="2161"/>
                    </a:lnTo>
                    <a:lnTo>
                      <a:pt x="2488" y="2173"/>
                    </a:lnTo>
                    <a:lnTo>
                      <a:pt x="2483" y="2173"/>
                    </a:lnTo>
                    <a:lnTo>
                      <a:pt x="2483" y="2173"/>
                    </a:lnTo>
                    <a:lnTo>
                      <a:pt x="2483" y="2173"/>
                    </a:lnTo>
                    <a:close/>
                    <a:moveTo>
                      <a:pt x="2462" y="2173"/>
                    </a:moveTo>
                    <a:lnTo>
                      <a:pt x="2462" y="2161"/>
                    </a:lnTo>
                    <a:lnTo>
                      <a:pt x="2466" y="2161"/>
                    </a:lnTo>
                    <a:lnTo>
                      <a:pt x="2476" y="2173"/>
                    </a:lnTo>
                    <a:lnTo>
                      <a:pt x="2462" y="2173"/>
                    </a:lnTo>
                    <a:lnTo>
                      <a:pt x="2462" y="2173"/>
                    </a:lnTo>
                    <a:lnTo>
                      <a:pt x="2462" y="2173"/>
                    </a:lnTo>
                    <a:close/>
                    <a:moveTo>
                      <a:pt x="2504" y="2190"/>
                    </a:moveTo>
                    <a:lnTo>
                      <a:pt x="2499" y="2173"/>
                    </a:lnTo>
                    <a:lnTo>
                      <a:pt x="2504" y="2173"/>
                    </a:lnTo>
                    <a:lnTo>
                      <a:pt x="2513" y="2180"/>
                    </a:lnTo>
                    <a:lnTo>
                      <a:pt x="2504" y="2190"/>
                    </a:lnTo>
                    <a:lnTo>
                      <a:pt x="2504" y="2190"/>
                    </a:lnTo>
                    <a:lnTo>
                      <a:pt x="2504" y="2190"/>
                    </a:lnTo>
                    <a:close/>
                    <a:moveTo>
                      <a:pt x="2428" y="2180"/>
                    </a:moveTo>
                    <a:lnTo>
                      <a:pt x="2428" y="2173"/>
                    </a:lnTo>
                    <a:lnTo>
                      <a:pt x="2433" y="2173"/>
                    </a:lnTo>
                    <a:lnTo>
                      <a:pt x="2428" y="2180"/>
                    </a:lnTo>
                    <a:lnTo>
                      <a:pt x="2428" y="2180"/>
                    </a:lnTo>
                    <a:lnTo>
                      <a:pt x="2428" y="2180"/>
                    </a:lnTo>
                    <a:close/>
                    <a:moveTo>
                      <a:pt x="2466" y="2190"/>
                    </a:moveTo>
                    <a:lnTo>
                      <a:pt x="2462" y="2180"/>
                    </a:lnTo>
                    <a:lnTo>
                      <a:pt x="2483" y="2173"/>
                    </a:lnTo>
                    <a:lnTo>
                      <a:pt x="2488" y="2180"/>
                    </a:lnTo>
                    <a:lnTo>
                      <a:pt x="2466" y="2190"/>
                    </a:lnTo>
                    <a:lnTo>
                      <a:pt x="2466" y="2190"/>
                    </a:lnTo>
                    <a:lnTo>
                      <a:pt x="2466" y="2190"/>
                    </a:lnTo>
                    <a:close/>
                    <a:moveTo>
                      <a:pt x="2450" y="2180"/>
                    </a:moveTo>
                    <a:lnTo>
                      <a:pt x="2433" y="2180"/>
                    </a:lnTo>
                    <a:lnTo>
                      <a:pt x="2445" y="2173"/>
                    </a:lnTo>
                    <a:lnTo>
                      <a:pt x="2450" y="2180"/>
                    </a:lnTo>
                    <a:lnTo>
                      <a:pt x="2450" y="2180"/>
                    </a:lnTo>
                    <a:lnTo>
                      <a:pt x="2450" y="2180"/>
                    </a:lnTo>
                    <a:close/>
                    <a:moveTo>
                      <a:pt x="2462" y="2197"/>
                    </a:moveTo>
                    <a:lnTo>
                      <a:pt x="2445" y="2190"/>
                    </a:lnTo>
                    <a:lnTo>
                      <a:pt x="2450" y="2190"/>
                    </a:lnTo>
                    <a:lnTo>
                      <a:pt x="2462" y="2197"/>
                    </a:lnTo>
                    <a:lnTo>
                      <a:pt x="2462" y="2197"/>
                    </a:lnTo>
                    <a:lnTo>
                      <a:pt x="2462" y="2197"/>
                    </a:lnTo>
                    <a:close/>
                    <a:moveTo>
                      <a:pt x="2504" y="2197"/>
                    </a:moveTo>
                    <a:lnTo>
                      <a:pt x="2504" y="2190"/>
                    </a:lnTo>
                    <a:lnTo>
                      <a:pt x="2513" y="2190"/>
                    </a:lnTo>
                    <a:lnTo>
                      <a:pt x="2504" y="2197"/>
                    </a:lnTo>
                    <a:lnTo>
                      <a:pt x="2504" y="2197"/>
                    </a:lnTo>
                    <a:lnTo>
                      <a:pt x="2504" y="2197"/>
                    </a:lnTo>
                    <a:close/>
                    <a:moveTo>
                      <a:pt x="2499" y="2206"/>
                    </a:moveTo>
                    <a:lnTo>
                      <a:pt x="2488" y="2197"/>
                    </a:lnTo>
                    <a:lnTo>
                      <a:pt x="2488" y="2190"/>
                    </a:lnTo>
                    <a:lnTo>
                      <a:pt x="2499" y="2206"/>
                    </a:lnTo>
                    <a:lnTo>
                      <a:pt x="2499" y="2206"/>
                    </a:lnTo>
                    <a:lnTo>
                      <a:pt x="2499" y="2206"/>
                    </a:lnTo>
                    <a:close/>
                    <a:moveTo>
                      <a:pt x="2483" y="2197"/>
                    </a:moveTo>
                    <a:lnTo>
                      <a:pt x="2476" y="2197"/>
                    </a:lnTo>
                    <a:lnTo>
                      <a:pt x="2488" y="2190"/>
                    </a:lnTo>
                    <a:lnTo>
                      <a:pt x="2483" y="2197"/>
                    </a:lnTo>
                    <a:lnTo>
                      <a:pt x="2483" y="2197"/>
                    </a:lnTo>
                    <a:lnTo>
                      <a:pt x="2483" y="2197"/>
                    </a:lnTo>
                    <a:close/>
                    <a:moveTo>
                      <a:pt x="2407" y="2206"/>
                    </a:moveTo>
                    <a:lnTo>
                      <a:pt x="2407" y="2197"/>
                    </a:lnTo>
                    <a:lnTo>
                      <a:pt x="2407" y="2190"/>
                    </a:lnTo>
                    <a:lnTo>
                      <a:pt x="2412" y="2197"/>
                    </a:lnTo>
                    <a:lnTo>
                      <a:pt x="2407" y="2206"/>
                    </a:lnTo>
                    <a:lnTo>
                      <a:pt x="2407" y="2206"/>
                    </a:lnTo>
                    <a:lnTo>
                      <a:pt x="2407" y="2206"/>
                    </a:lnTo>
                    <a:close/>
                    <a:moveTo>
                      <a:pt x="2466" y="2213"/>
                    </a:moveTo>
                    <a:lnTo>
                      <a:pt x="2462" y="2213"/>
                    </a:lnTo>
                    <a:lnTo>
                      <a:pt x="2476" y="2197"/>
                    </a:lnTo>
                    <a:lnTo>
                      <a:pt x="2488" y="2206"/>
                    </a:lnTo>
                    <a:lnTo>
                      <a:pt x="2466" y="2213"/>
                    </a:lnTo>
                    <a:lnTo>
                      <a:pt x="2466" y="2213"/>
                    </a:lnTo>
                    <a:lnTo>
                      <a:pt x="2466" y="2213"/>
                    </a:lnTo>
                    <a:close/>
                    <a:moveTo>
                      <a:pt x="2504" y="2235"/>
                    </a:moveTo>
                    <a:lnTo>
                      <a:pt x="2466" y="2230"/>
                    </a:lnTo>
                    <a:lnTo>
                      <a:pt x="2466" y="2218"/>
                    </a:lnTo>
                    <a:lnTo>
                      <a:pt x="2499" y="2213"/>
                    </a:lnTo>
                    <a:lnTo>
                      <a:pt x="2504" y="2218"/>
                    </a:lnTo>
                    <a:lnTo>
                      <a:pt x="2504" y="2235"/>
                    </a:lnTo>
                    <a:lnTo>
                      <a:pt x="2504" y="2235"/>
                    </a:lnTo>
                    <a:lnTo>
                      <a:pt x="2504" y="2235"/>
                    </a:lnTo>
                    <a:close/>
                    <a:moveTo>
                      <a:pt x="2462" y="2235"/>
                    </a:moveTo>
                    <a:lnTo>
                      <a:pt x="2450" y="2230"/>
                    </a:lnTo>
                    <a:lnTo>
                      <a:pt x="2462" y="2218"/>
                    </a:lnTo>
                    <a:lnTo>
                      <a:pt x="2466" y="2230"/>
                    </a:lnTo>
                    <a:lnTo>
                      <a:pt x="2462" y="2235"/>
                    </a:lnTo>
                    <a:lnTo>
                      <a:pt x="2462" y="2235"/>
                    </a:lnTo>
                    <a:lnTo>
                      <a:pt x="2462" y="2235"/>
                    </a:lnTo>
                    <a:close/>
                    <a:moveTo>
                      <a:pt x="2483" y="2247"/>
                    </a:moveTo>
                    <a:lnTo>
                      <a:pt x="2476" y="2230"/>
                    </a:lnTo>
                    <a:lnTo>
                      <a:pt x="2483" y="2230"/>
                    </a:lnTo>
                    <a:lnTo>
                      <a:pt x="2499" y="2235"/>
                    </a:lnTo>
                    <a:lnTo>
                      <a:pt x="2483" y="2247"/>
                    </a:lnTo>
                    <a:lnTo>
                      <a:pt x="2483" y="2247"/>
                    </a:lnTo>
                    <a:lnTo>
                      <a:pt x="2483" y="2247"/>
                    </a:lnTo>
                    <a:close/>
                    <a:moveTo>
                      <a:pt x="2462" y="2247"/>
                    </a:moveTo>
                    <a:lnTo>
                      <a:pt x="2445" y="2235"/>
                    </a:lnTo>
                    <a:lnTo>
                      <a:pt x="2462" y="2235"/>
                    </a:lnTo>
                    <a:lnTo>
                      <a:pt x="2462" y="2247"/>
                    </a:lnTo>
                    <a:lnTo>
                      <a:pt x="2462" y="2247"/>
                    </a:lnTo>
                    <a:lnTo>
                      <a:pt x="2462" y="2247"/>
                    </a:lnTo>
                    <a:close/>
                    <a:moveTo>
                      <a:pt x="2488" y="2251"/>
                    </a:moveTo>
                    <a:lnTo>
                      <a:pt x="2483" y="2247"/>
                    </a:lnTo>
                    <a:lnTo>
                      <a:pt x="2499" y="2247"/>
                    </a:lnTo>
                    <a:lnTo>
                      <a:pt x="2488" y="2251"/>
                    </a:lnTo>
                    <a:lnTo>
                      <a:pt x="2488" y="2251"/>
                    </a:lnTo>
                    <a:lnTo>
                      <a:pt x="2488" y="2251"/>
                    </a:lnTo>
                    <a:close/>
                    <a:moveTo>
                      <a:pt x="2450" y="2263"/>
                    </a:moveTo>
                    <a:lnTo>
                      <a:pt x="2445" y="2263"/>
                    </a:lnTo>
                    <a:lnTo>
                      <a:pt x="2450" y="2247"/>
                    </a:lnTo>
                    <a:lnTo>
                      <a:pt x="2450" y="2263"/>
                    </a:lnTo>
                    <a:lnTo>
                      <a:pt x="2450" y="2263"/>
                    </a:lnTo>
                    <a:lnTo>
                      <a:pt x="2450" y="2263"/>
                    </a:lnTo>
                    <a:close/>
                    <a:moveTo>
                      <a:pt x="2476" y="2263"/>
                    </a:moveTo>
                    <a:lnTo>
                      <a:pt x="2483" y="2247"/>
                    </a:lnTo>
                    <a:lnTo>
                      <a:pt x="2499" y="2251"/>
                    </a:lnTo>
                    <a:lnTo>
                      <a:pt x="2499" y="2263"/>
                    </a:lnTo>
                    <a:lnTo>
                      <a:pt x="2483" y="2251"/>
                    </a:lnTo>
                    <a:lnTo>
                      <a:pt x="2476" y="2263"/>
                    </a:lnTo>
                    <a:lnTo>
                      <a:pt x="2476" y="2263"/>
                    </a:lnTo>
                    <a:lnTo>
                      <a:pt x="2476" y="2263"/>
                    </a:lnTo>
                    <a:close/>
                    <a:moveTo>
                      <a:pt x="2504" y="2272"/>
                    </a:moveTo>
                    <a:lnTo>
                      <a:pt x="2499" y="2268"/>
                    </a:lnTo>
                    <a:lnTo>
                      <a:pt x="2504" y="2251"/>
                    </a:lnTo>
                    <a:lnTo>
                      <a:pt x="2513" y="2251"/>
                    </a:lnTo>
                    <a:lnTo>
                      <a:pt x="2504" y="2272"/>
                    </a:lnTo>
                    <a:lnTo>
                      <a:pt x="2504" y="2272"/>
                    </a:lnTo>
                    <a:lnTo>
                      <a:pt x="2504" y="2272"/>
                    </a:lnTo>
                    <a:close/>
                    <a:moveTo>
                      <a:pt x="2450" y="2272"/>
                    </a:moveTo>
                    <a:lnTo>
                      <a:pt x="2450" y="2263"/>
                    </a:lnTo>
                    <a:lnTo>
                      <a:pt x="2462" y="2251"/>
                    </a:lnTo>
                    <a:lnTo>
                      <a:pt x="2466" y="2268"/>
                    </a:lnTo>
                    <a:lnTo>
                      <a:pt x="2450" y="2272"/>
                    </a:lnTo>
                    <a:lnTo>
                      <a:pt x="2450" y="2272"/>
                    </a:lnTo>
                    <a:lnTo>
                      <a:pt x="2450" y="2272"/>
                    </a:lnTo>
                    <a:close/>
                    <a:moveTo>
                      <a:pt x="2483" y="2272"/>
                    </a:moveTo>
                    <a:lnTo>
                      <a:pt x="2476" y="2263"/>
                    </a:lnTo>
                    <a:lnTo>
                      <a:pt x="2483" y="2263"/>
                    </a:lnTo>
                    <a:lnTo>
                      <a:pt x="2488" y="2268"/>
                    </a:lnTo>
                    <a:lnTo>
                      <a:pt x="2483" y="2272"/>
                    </a:lnTo>
                    <a:lnTo>
                      <a:pt x="2483" y="2272"/>
                    </a:lnTo>
                    <a:lnTo>
                      <a:pt x="2483" y="2272"/>
                    </a:lnTo>
                    <a:close/>
                    <a:moveTo>
                      <a:pt x="2433" y="2272"/>
                    </a:moveTo>
                    <a:lnTo>
                      <a:pt x="2433" y="2268"/>
                    </a:lnTo>
                    <a:lnTo>
                      <a:pt x="2445" y="2263"/>
                    </a:lnTo>
                    <a:lnTo>
                      <a:pt x="2445" y="2272"/>
                    </a:lnTo>
                    <a:lnTo>
                      <a:pt x="2433" y="2272"/>
                    </a:lnTo>
                    <a:lnTo>
                      <a:pt x="2433" y="2272"/>
                    </a:lnTo>
                    <a:lnTo>
                      <a:pt x="2433" y="2272"/>
                    </a:lnTo>
                    <a:close/>
                    <a:moveTo>
                      <a:pt x="2483" y="2289"/>
                    </a:moveTo>
                    <a:lnTo>
                      <a:pt x="2476" y="2284"/>
                    </a:lnTo>
                    <a:lnTo>
                      <a:pt x="2483" y="2272"/>
                    </a:lnTo>
                    <a:lnTo>
                      <a:pt x="2488" y="2284"/>
                    </a:lnTo>
                    <a:lnTo>
                      <a:pt x="2483" y="2289"/>
                    </a:lnTo>
                    <a:lnTo>
                      <a:pt x="2483" y="2289"/>
                    </a:lnTo>
                    <a:lnTo>
                      <a:pt x="2483" y="2289"/>
                    </a:lnTo>
                    <a:close/>
                    <a:moveTo>
                      <a:pt x="2488" y="2301"/>
                    </a:moveTo>
                    <a:lnTo>
                      <a:pt x="2488" y="2289"/>
                    </a:lnTo>
                    <a:lnTo>
                      <a:pt x="2504" y="2284"/>
                    </a:lnTo>
                    <a:lnTo>
                      <a:pt x="2504" y="2289"/>
                    </a:lnTo>
                    <a:lnTo>
                      <a:pt x="2488" y="2301"/>
                    </a:lnTo>
                    <a:lnTo>
                      <a:pt x="2488" y="2301"/>
                    </a:lnTo>
                    <a:lnTo>
                      <a:pt x="2488" y="2301"/>
                    </a:lnTo>
                    <a:close/>
                    <a:moveTo>
                      <a:pt x="2412" y="2308"/>
                    </a:moveTo>
                    <a:lnTo>
                      <a:pt x="2407" y="2301"/>
                    </a:lnTo>
                    <a:lnTo>
                      <a:pt x="2424" y="2301"/>
                    </a:lnTo>
                    <a:lnTo>
                      <a:pt x="2412" y="2301"/>
                    </a:lnTo>
                    <a:lnTo>
                      <a:pt x="2407" y="2289"/>
                    </a:lnTo>
                    <a:lnTo>
                      <a:pt x="2424" y="2289"/>
                    </a:lnTo>
                    <a:lnTo>
                      <a:pt x="2433" y="2284"/>
                    </a:lnTo>
                    <a:lnTo>
                      <a:pt x="2428" y="2301"/>
                    </a:lnTo>
                    <a:lnTo>
                      <a:pt x="2412" y="2308"/>
                    </a:lnTo>
                    <a:lnTo>
                      <a:pt x="2412" y="2308"/>
                    </a:lnTo>
                    <a:lnTo>
                      <a:pt x="2412" y="2308"/>
                    </a:lnTo>
                    <a:close/>
                    <a:moveTo>
                      <a:pt x="2504" y="2301"/>
                    </a:moveTo>
                    <a:lnTo>
                      <a:pt x="2499" y="2301"/>
                    </a:lnTo>
                    <a:lnTo>
                      <a:pt x="2499" y="2289"/>
                    </a:lnTo>
                    <a:lnTo>
                      <a:pt x="2504" y="2301"/>
                    </a:lnTo>
                    <a:lnTo>
                      <a:pt x="2504" y="2301"/>
                    </a:lnTo>
                    <a:lnTo>
                      <a:pt x="2504" y="2301"/>
                    </a:lnTo>
                    <a:close/>
                    <a:moveTo>
                      <a:pt x="2499" y="2317"/>
                    </a:moveTo>
                    <a:lnTo>
                      <a:pt x="2488" y="2301"/>
                    </a:lnTo>
                    <a:lnTo>
                      <a:pt x="2504" y="2308"/>
                    </a:lnTo>
                    <a:lnTo>
                      <a:pt x="2499" y="2317"/>
                    </a:lnTo>
                    <a:lnTo>
                      <a:pt x="2499" y="2317"/>
                    </a:lnTo>
                    <a:lnTo>
                      <a:pt x="2499" y="2317"/>
                    </a:lnTo>
                    <a:close/>
                    <a:moveTo>
                      <a:pt x="2476" y="2400"/>
                    </a:moveTo>
                    <a:lnTo>
                      <a:pt x="2476" y="2395"/>
                    </a:lnTo>
                    <a:lnTo>
                      <a:pt x="2488" y="2395"/>
                    </a:lnTo>
                    <a:lnTo>
                      <a:pt x="2476" y="2400"/>
                    </a:lnTo>
                    <a:lnTo>
                      <a:pt x="2476" y="2400"/>
                    </a:lnTo>
                    <a:lnTo>
                      <a:pt x="2476" y="2400"/>
                    </a:lnTo>
                    <a:close/>
                    <a:moveTo>
                      <a:pt x="2450" y="2400"/>
                    </a:moveTo>
                    <a:lnTo>
                      <a:pt x="2450" y="2395"/>
                    </a:lnTo>
                    <a:lnTo>
                      <a:pt x="2462" y="2395"/>
                    </a:lnTo>
                    <a:lnTo>
                      <a:pt x="2450" y="2400"/>
                    </a:lnTo>
                    <a:lnTo>
                      <a:pt x="2450" y="2400"/>
                    </a:lnTo>
                    <a:lnTo>
                      <a:pt x="2450" y="2400"/>
                    </a:lnTo>
                    <a:close/>
                    <a:moveTo>
                      <a:pt x="2412" y="2457"/>
                    </a:moveTo>
                    <a:lnTo>
                      <a:pt x="2407" y="2452"/>
                    </a:lnTo>
                    <a:lnTo>
                      <a:pt x="2424" y="2457"/>
                    </a:lnTo>
                    <a:lnTo>
                      <a:pt x="2412" y="2457"/>
                    </a:lnTo>
                    <a:lnTo>
                      <a:pt x="2412" y="2457"/>
                    </a:lnTo>
                    <a:lnTo>
                      <a:pt x="2412" y="2457"/>
                    </a:lnTo>
                    <a:close/>
                    <a:moveTo>
                      <a:pt x="2407" y="2469"/>
                    </a:moveTo>
                    <a:lnTo>
                      <a:pt x="2391" y="2457"/>
                    </a:lnTo>
                    <a:lnTo>
                      <a:pt x="2407" y="2452"/>
                    </a:lnTo>
                    <a:lnTo>
                      <a:pt x="2412" y="2469"/>
                    </a:lnTo>
                    <a:lnTo>
                      <a:pt x="2407" y="2469"/>
                    </a:lnTo>
                    <a:lnTo>
                      <a:pt x="2407" y="2469"/>
                    </a:lnTo>
                    <a:lnTo>
                      <a:pt x="2407" y="2469"/>
                    </a:lnTo>
                    <a:close/>
                    <a:moveTo>
                      <a:pt x="2462" y="2485"/>
                    </a:moveTo>
                    <a:lnTo>
                      <a:pt x="2450" y="2473"/>
                    </a:lnTo>
                    <a:lnTo>
                      <a:pt x="2466" y="2469"/>
                    </a:lnTo>
                    <a:lnTo>
                      <a:pt x="2499" y="2473"/>
                    </a:lnTo>
                    <a:lnTo>
                      <a:pt x="2488" y="2473"/>
                    </a:lnTo>
                    <a:lnTo>
                      <a:pt x="2462" y="2485"/>
                    </a:lnTo>
                    <a:lnTo>
                      <a:pt x="2462" y="2485"/>
                    </a:lnTo>
                    <a:lnTo>
                      <a:pt x="2462" y="2485"/>
                    </a:lnTo>
                    <a:close/>
                    <a:moveTo>
                      <a:pt x="2424" y="2490"/>
                    </a:moveTo>
                    <a:lnTo>
                      <a:pt x="2412" y="2485"/>
                    </a:lnTo>
                    <a:lnTo>
                      <a:pt x="2395" y="2485"/>
                    </a:lnTo>
                    <a:lnTo>
                      <a:pt x="2428" y="2469"/>
                    </a:lnTo>
                    <a:lnTo>
                      <a:pt x="2428" y="2485"/>
                    </a:lnTo>
                    <a:lnTo>
                      <a:pt x="2424" y="2490"/>
                    </a:lnTo>
                    <a:lnTo>
                      <a:pt x="2424" y="2490"/>
                    </a:lnTo>
                    <a:lnTo>
                      <a:pt x="2424" y="2490"/>
                    </a:lnTo>
                    <a:close/>
                    <a:moveTo>
                      <a:pt x="2395" y="2544"/>
                    </a:moveTo>
                    <a:lnTo>
                      <a:pt x="2395" y="2539"/>
                    </a:lnTo>
                    <a:lnTo>
                      <a:pt x="2391" y="2523"/>
                    </a:lnTo>
                    <a:lnTo>
                      <a:pt x="2374" y="2523"/>
                    </a:lnTo>
                    <a:lnTo>
                      <a:pt x="2391" y="2506"/>
                    </a:lnTo>
                    <a:lnTo>
                      <a:pt x="2374" y="2511"/>
                    </a:lnTo>
                    <a:lnTo>
                      <a:pt x="2374" y="2490"/>
                    </a:lnTo>
                    <a:lnTo>
                      <a:pt x="2379" y="2485"/>
                    </a:lnTo>
                    <a:lnTo>
                      <a:pt x="2391" y="2485"/>
                    </a:lnTo>
                    <a:lnTo>
                      <a:pt x="2407" y="2528"/>
                    </a:lnTo>
                    <a:lnTo>
                      <a:pt x="2407" y="2539"/>
                    </a:lnTo>
                    <a:lnTo>
                      <a:pt x="2395" y="2544"/>
                    </a:lnTo>
                    <a:lnTo>
                      <a:pt x="2395" y="2544"/>
                    </a:lnTo>
                    <a:lnTo>
                      <a:pt x="2395" y="2544"/>
                    </a:lnTo>
                    <a:close/>
                    <a:moveTo>
                      <a:pt x="2412" y="2523"/>
                    </a:moveTo>
                    <a:lnTo>
                      <a:pt x="2395" y="2490"/>
                    </a:lnTo>
                    <a:lnTo>
                      <a:pt x="2428" y="2495"/>
                    </a:lnTo>
                    <a:lnTo>
                      <a:pt x="2428" y="2511"/>
                    </a:lnTo>
                    <a:lnTo>
                      <a:pt x="2412" y="2523"/>
                    </a:lnTo>
                    <a:lnTo>
                      <a:pt x="2412" y="2523"/>
                    </a:lnTo>
                    <a:lnTo>
                      <a:pt x="2412" y="2523"/>
                    </a:lnTo>
                    <a:close/>
                    <a:moveTo>
                      <a:pt x="2445" y="2511"/>
                    </a:moveTo>
                    <a:lnTo>
                      <a:pt x="2445" y="2506"/>
                    </a:lnTo>
                    <a:lnTo>
                      <a:pt x="2445" y="2490"/>
                    </a:lnTo>
                    <a:lnTo>
                      <a:pt x="2462" y="2506"/>
                    </a:lnTo>
                    <a:lnTo>
                      <a:pt x="2445" y="2511"/>
                    </a:lnTo>
                    <a:lnTo>
                      <a:pt x="2445" y="2511"/>
                    </a:lnTo>
                    <a:lnTo>
                      <a:pt x="2445" y="2511"/>
                    </a:lnTo>
                    <a:close/>
                    <a:moveTo>
                      <a:pt x="2445" y="2544"/>
                    </a:moveTo>
                    <a:lnTo>
                      <a:pt x="2412" y="2539"/>
                    </a:lnTo>
                    <a:lnTo>
                      <a:pt x="2412" y="2528"/>
                    </a:lnTo>
                    <a:lnTo>
                      <a:pt x="2424" y="2523"/>
                    </a:lnTo>
                    <a:lnTo>
                      <a:pt x="2433" y="2523"/>
                    </a:lnTo>
                    <a:lnTo>
                      <a:pt x="2428" y="2511"/>
                    </a:lnTo>
                    <a:lnTo>
                      <a:pt x="2433" y="2490"/>
                    </a:lnTo>
                    <a:lnTo>
                      <a:pt x="2445" y="2523"/>
                    </a:lnTo>
                    <a:lnTo>
                      <a:pt x="2445" y="2539"/>
                    </a:lnTo>
                    <a:lnTo>
                      <a:pt x="2450" y="2539"/>
                    </a:lnTo>
                    <a:lnTo>
                      <a:pt x="2445" y="2544"/>
                    </a:lnTo>
                    <a:lnTo>
                      <a:pt x="2445" y="2544"/>
                    </a:lnTo>
                    <a:lnTo>
                      <a:pt x="2445" y="2544"/>
                    </a:lnTo>
                    <a:close/>
                    <a:moveTo>
                      <a:pt x="2466" y="2523"/>
                    </a:moveTo>
                    <a:lnTo>
                      <a:pt x="2450" y="2511"/>
                    </a:lnTo>
                    <a:lnTo>
                      <a:pt x="2462" y="2506"/>
                    </a:lnTo>
                    <a:lnTo>
                      <a:pt x="2466" y="2523"/>
                    </a:lnTo>
                    <a:lnTo>
                      <a:pt x="2466" y="2523"/>
                    </a:lnTo>
                    <a:lnTo>
                      <a:pt x="2466" y="2523"/>
                    </a:lnTo>
                    <a:close/>
                    <a:moveTo>
                      <a:pt x="2483" y="2528"/>
                    </a:moveTo>
                    <a:lnTo>
                      <a:pt x="2466" y="2511"/>
                    </a:lnTo>
                    <a:lnTo>
                      <a:pt x="2483" y="2523"/>
                    </a:lnTo>
                    <a:lnTo>
                      <a:pt x="2483" y="2528"/>
                    </a:lnTo>
                    <a:lnTo>
                      <a:pt x="2483" y="2528"/>
                    </a:lnTo>
                    <a:lnTo>
                      <a:pt x="2483" y="2528"/>
                    </a:lnTo>
                    <a:close/>
                    <a:moveTo>
                      <a:pt x="2450" y="2528"/>
                    </a:moveTo>
                    <a:lnTo>
                      <a:pt x="2450" y="2523"/>
                    </a:lnTo>
                    <a:lnTo>
                      <a:pt x="2466" y="2523"/>
                    </a:lnTo>
                    <a:lnTo>
                      <a:pt x="2450" y="2528"/>
                    </a:lnTo>
                    <a:lnTo>
                      <a:pt x="2450" y="2528"/>
                    </a:lnTo>
                    <a:lnTo>
                      <a:pt x="2450" y="2528"/>
                    </a:lnTo>
                    <a:close/>
                    <a:moveTo>
                      <a:pt x="2374" y="2544"/>
                    </a:moveTo>
                    <a:lnTo>
                      <a:pt x="2379" y="2539"/>
                    </a:lnTo>
                    <a:lnTo>
                      <a:pt x="2369" y="2539"/>
                    </a:lnTo>
                    <a:lnTo>
                      <a:pt x="2374" y="2523"/>
                    </a:lnTo>
                    <a:lnTo>
                      <a:pt x="2391" y="2523"/>
                    </a:lnTo>
                    <a:lnTo>
                      <a:pt x="2391" y="2539"/>
                    </a:lnTo>
                    <a:lnTo>
                      <a:pt x="2374" y="2544"/>
                    </a:lnTo>
                    <a:lnTo>
                      <a:pt x="2374" y="2544"/>
                    </a:lnTo>
                    <a:lnTo>
                      <a:pt x="2374" y="2544"/>
                    </a:lnTo>
                    <a:close/>
                    <a:moveTo>
                      <a:pt x="2407" y="2561"/>
                    </a:moveTo>
                    <a:lnTo>
                      <a:pt x="2395" y="2551"/>
                    </a:lnTo>
                    <a:lnTo>
                      <a:pt x="2412" y="2539"/>
                    </a:lnTo>
                    <a:lnTo>
                      <a:pt x="2407" y="2561"/>
                    </a:lnTo>
                    <a:lnTo>
                      <a:pt x="2407" y="2561"/>
                    </a:lnTo>
                    <a:lnTo>
                      <a:pt x="2407" y="2561"/>
                    </a:lnTo>
                    <a:close/>
                    <a:moveTo>
                      <a:pt x="2374" y="2551"/>
                    </a:moveTo>
                    <a:lnTo>
                      <a:pt x="2369" y="2544"/>
                    </a:lnTo>
                    <a:lnTo>
                      <a:pt x="2391" y="2539"/>
                    </a:lnTo>
                    <a:lnTo>
                      <a:pt x="2395" y="2544"/>
                    </a:lnTo>
                    <a:lnTo>
                      <a:pt x="2374" y="2551"/>
                    </a:lnTo>
                    <a:lnTo>
                      <a:pt x="2374" y="2551"/>
                    </a:lnTo>
                    <a:lnTo>
                      <a:pt x="2374" y="2551"/>
                    </a:lnTo>
                    <a:close/>
                    <a:moveTo>
                      <a:pt x="2412" y="2551"/>
                    </a:moveTo>
                    <a:lnTo>
                      <a:pt x="2412" y="2539"/>
                    </a:lnTo>
                    <a:lnTo>
                      <a:pt x="2428" y="2544"/>
                    </a:lnTo>
                    <a:lnTo>
                      <a:pt x="2412" y="2551"/>
                    </a:lnTo>
                    <a:lnTo>
                      <a:pt x="2412" y="2551"/>
                    </a:lnTo>
                    <a:lnTo>
                      <a:pt x="2412" y="2551"/>
                    </a:lnTo>
                    <a:close/>
                    <a:moveTo>
                      <a:pt x="2428" y="2672"/>
                    </a:moveTo>
                    <a:lnTo>
                      <a:pt x="2424" y="2662"/>
                    </a:lnTo>
                    <a:lnTo>
                      <a:pt x="2433" y="2662"/>
                    </a:lnTo>
                    <a:lnTo>
                      <a:pt x="2433" y="2655"/>
                    </a:lnTo>
                    <a:lnTo>
                      <a:pt x="2424" y="2662"/>
                    </a:lnTo>
                    <a:lnTo>
                      <a:pt x="2424" y="2639"/>
                    </a:lnTo>
                    <a:lnTo>
                      <a:pt x="2424" y="2622"/>
                    </a:lnTo>
                    <a:lnTo>
                      <a:pt x="2433" y="2606"/>
                    </a:lnTo>
                    <a:lnTo>
                      <a:pt x="2424" y="2622"/>
                    </a:lnTo>
                    <a:lnTo>
                      <a:pt x="2412" y="2622"/>
                    </a:lnTo>
                    <a:lnTo>
                      <a:pt x="2412" y="2655"/>
                    </a:lnTo>
                    <a:lnTo>
                      <a:pt x="2407" y="2655"/>
                    </a:lnTo>
                    <a:lnTo>
                      <a:pt x="2391" y="2634"/>
                    </a:lnTo>
                    <a:lnTo>
                      <a:pt x="2395" y="2617"/>
                    </a:lnTo>
                    <a:lnTo>
                      <a:pt x="2379" y="2617"/>
                    </a:lnTo>
                    <a:lnTo>
                      <a:pt x="2379" y="2601"/>
                    </a:lnTo>
                    <a:lnTo>
                      <a:pt x="2391" y="2601"/>
                    </a:lnTo>
                    <a:lnTo>
                      <a:pt x="2407" y="2617"/>
                    </a:lnTo>
                    <a:lnTo>
                      <a:pt x="2391" y="2601"/>
                    </a:lnTo>
                    <a:lnTo>
                      <a:pt x="2407" y="2606"/>
                    </a:lnTo>
                    <a:lnTo>
                      <a:pt x="2407" y="2596"/>
                    </a:lnTo>
                    <a:lnTo>
                      <a:pt x="2424" y="2601"/>
                    </a:lnTo>
                    <a:lnTo>
                      <a:pt x="2428" y="2584"/>
                    </a:lnTo>
                    <a:lnTo>
                      <a:pt x="2412" y="2561"/>
                    </a:lnTo>
                    <a:lnTo>
                      <a:pt x="2428" y="2544"/>
                    </a:lnTo>
                    <a:lnTo>
                      <a:pt x="2450" y="2544"/>
                    </a:lnTo>
                    <a:lnTo>
                      <a:pt x="2450" y="2601"/>
                    </a:lnTo>
                    <a:lnTo>
                      <a:pt x="2445" y="2639"/>
                    </a:lnTo>
                    <a:lnTo>
                      <a:pt x="2450" y="2634"/>
                    </a:lnTo>
                    <a:lnTo>
                      <a:pt x="2462" y="2639"/>
                    </a:lnTo>
                    <a:lnTo>
                      <a:pt x="2450" y="2662"/>
                    </a:lnTo>
                    <a:lnTo>
                      <a:pt x="2428" y="2672"/>
                    </a:lnTo>
                    <a:lnTo>
                      <a:pt x="2428" y="2672"/>
                    </a:lnTo>
                    <a:lnTo>
                      <a:pt x="2428" y="2672"/>
                    </a:lnTo>
                    <a:close/>
                    <a:moveTo>
                      <a:pt x="2395" y="2568"/>
                    </a:moveTo>
                    <a:lnTo>
                      <a:pt x="2391" y="2551"/>
                    </a:lnTo>
                    <a:lnTo>
                      <a:pt x="2407" y="2561"/>
                    </a:lnTo>
                    <a:lnTo>
                      <a:pt x="2412" y="2568"/>
                    </a:lnTo>
                    <a:lnTo>
                      <a:pt x="2395" y="2568"/>
                    </a:lnTo>
                    <a:lnTo>
                      <a:pt x="2395" y="2568"/>
                    </a:lnTo>
                    <a:lnTo>
                      <a:pt x="2395" y="2568"/>
                    </a:lnTo>
                    <a:close/>
                    <a:moveTo>
                      <a:pt x="2395" y="2584"/>
                    </a:moveTo>
                    <a:lnTo>
                      <a:pt x="2391" y="2568"/>
                    </a:lnTo>
                    <a:lnTo>
                      <a:pt x="2379" y="2580"/>
                    </a:lnTo>
                    <a:lnTo>
                      <a:pt x="2369" y="2561"/>
                    </a:lnTo>
                    <a:lnTo>
                      <a:pt x="2391" y="2561"/>
                    </a:lnTo>
                    <a:lnTo>
                      <a:pt x="2395" y="2580"/>
                    </a:lnTo>
                    <a:lnTo>
                      <a:pt x="2395" y="2584"/>
                    </a:lnTo>
                    <a:lnTo>
                      <a:pt x="2395" y="2584"/>
                    </a:lnTo>
                    <a:lnTo>
                      <a:pt x="2395" y="2584"/>
                    </a:lnTo>
                    <a:close/>
                    <a:moveTo>
                      <a:pt x="2374" y="2601"/>
                    </a:moveTo>
                    <a:lnTo>
                      <a:pt x="2369" y="2596"/>
                    </a:lnTo>
                    <a:lnTo>
                      <a:pt x="2391" y="2568"/>
                    </a:lnTo>
                    <a:lnTo>
                      <a:pt x="2395" y="2584"/>
                    </a:lnTo>
                    <a:lnTo>
                      <a:pt x="2374" y="2601"/>
                    </a:lnTo>
                    <a:lnTo>
                      <a:pt x="2374" y="2601"/>
                    </a:lnTo>
                    <a:lnTo>
                      <a:pt x="2374" y="2601"/>
                    </a:lnTo>
                    <a:close/>
                    <a:moveTo>
                      <a:pt x="2424" y="2601"/>
                    </a:moveTo>
                    <a:lnTo>
                      <a:pt x="2395" y="2584"/>
                    </a:lnTo>
                    <a:lnTo>
                      <a:pt x="2407" y="2580"/>
                    </a:lnTo>
                    <a:lnTo>
                      <a:pt x="2412" y="2580"/>
                    </a:lnTo>
                    <a:lnTo>
                      <a:pt x="2424" y="2584"/>
                    </a:lnTo>
                    <a:lnTo>
                      <a:pt x="2424" y="2601"/>
                    </a:lnTo>
                    <a:lnTo>
                      <a:pt x="2424" y="2601"/>
                    </a:lnTo>
                    <a:lnTo>
                      <a:pt x="2424" y="2601"/>
                    </a:lnTo>
                    <a:close/>
                    <a:moveTo>
                      <a:pt x="2450" y="2634"/>
                    </a:moveTo>
                    <a:lnTo>
                      <a:pt x="2450" y="2617"/>
                    </a:lnTo>
                    <a:lnTo>
                      <a:pt x="2466" y="2622"/>
                    </a:lnTo>
                    <a:lnTo>
                      <a:pt x="2450" y="2634"/>
                    </a:lnTo>
                    <a:lnTo>
                      <a:pt x="2450" y="2634"/>
                    </a:lnTo>
                    <a:lnTo>
                      <a:pt x="2450" y="2634"/>
                    </a:lnTo>
                    <a:close/>
                    <a:moveTo>
                      <a:pt x="2407" y="2655"/>
                    </a:moveTo>
                    <a:lnTo>
                      <a:pt x="2379" y="2650"/>
                    </a:lnTo>
                    <a:lnTo>
                      <a:pt x="2374" y="2650"/>
                    </a:lnTo>
                    <a:lnTo>
                      <a:pt x="2374" y="2634"/>
                    </a:lnTo>
                    <a:lnTo>
                      <a:pt x="2391" y="2634"/>
                    </a:lnTo>
                    <a:lnTo>
                      <a:pt x="2407" y="2655"/>
                    </a:lnTo>
                    <a:lnTo>
                      <a:pt x="2407" y="2655"/>
                    </a:lnTo>
                    <a:lnTo>
                      <a:pt x="2407" y="2655"/>
                    </a:lnTo>
                    <a:close/>
                    <a:moveTo>
                      <a:pt x="2412" y="2695"/>
                    </a:moveTo>
                    <a:lnTo>
                      <a:pt x="2395" y="2712"/>
                    </a:lnTo>
                    <a:lnTo>
                      <a:pt x="2391" y="2707"/>
                    </a:lnTo>
                    <a:lnTo>
                      <a:pt x="2395" y="2695"/>
                    </a:lnTo>
                    <a:lnTo>
                      <a:pt x="2379" y="2707"/>
                    </a:lnTo>
                    <a:lnTo>
                      <a:pt x="2391" y="2679"/>
                    </a:lnTo>
                    <a:lnTo>
                      <a:pt x="2407" y="2688"/>
                    </a:lnTo>
                    <a:lnTo>
                      <a:pt x="2391" y="2672"/>
                    </a:lnTo>
                    <a:lnTo>
                      <a:pt x="2407" y="2672"/>
                    </a:lnTo>
                    <a:lnTo>
                      <a:pt x="2412" y="2679"/>
                    </a:lnTo>
                    <a:lnTo>
                      <a:pt x="2412" y="2688"/>
                    </a:lnTo>
                    <a:lnTo>
                      <a:pt x="2428" y="2679"/>
                    </a:lnTo>
                    <a:lnTo>
                      <a:pt x="2428" y="2688"/>
                    </a:lnTo>
                    <a:lnTo>
                      <a:pt x="2412" y="2695"/>
                    </a:lnTo>
                    <a:lnTo>
                      <a:pt x="2412" y="2695"/>
                    </a:lnTo>
                    <a:lnTo>
                      <a:pt x="2412" y="2695"/>
                    </a:lnTo>
                    <a:close/>
                    <a:moveTo>
                      <a:pt x="2428" y="2712"/>
                    </a:moveTo>
                    <a:lnTo>
                      <a:pt x="2428" y="2707"/>
                    </a:lnTo>
                    <a:lnTo>
                      <a:pt x="2445" y="2707"/>
                    </a:lnTo>
                    <a:lnTo>
                      <a:pt x="2428" y="2712"/>
                    </a:lnTo>
                    <a:lnTo>
                      <a:pt x="2428" y="2712"/>
                    </a:lnTo>
                    <a:lnTo>
                      <a:pt x="2428" y="2712"/>
                    </a:lnTo>
                    <a:close/>
                    <a:moveTo>
                      <a:pt x="2466" y="2745"/>
                    </a:moveTo>
                    <a:lnTo>
                      <a:pt x="2445" y="2728"/>
                    </a:lnTo>
                    <a:lnTo>
                      <a:pt x="2450" y="2717"/>
                    </a:lnTo>
                    <a:lnTo>
                      <a:pt x="2433" y="2712"/>
                    </a:lnTo>
                    <a:lnTo>
                      <a:pt x="2445" y="2707"/>
                    </a:lnTo>
                    <a:lnTo>
                      <a:pt x="2462" y="2712"/>
                    </a:lnTo>
                    <a:lnTo>
                      <a:pt x="2476" y="2745"/>
                    </a:lnTo>
                    <a:lnTo>
                      <a:pt x="2466" y="2745"/>
                    </a:lnTo>
                    <a:lnTo>
                      <a:pt x="2466" y="2745"/>
                    </a:lnTo>
                    <a:lnTo>
                      <a:pt x="2466" y="2745"/>
                    </a:lnTo>
                    <a:close/>
                    <a:moveTo>
                      <a:pt x="2391" y="2745"/>
                    </a:moveTo>
                    <a:lnTo>
                      <a:pt x="2374" y="2728"/>
                    </a:lnTo>
                    <a:lnTo>
                      <a:pt x="2391" y="2728"/>
                    </a:lnTo>
                    <a:lnTo>
                      <a:pt x="2379" y="2712"/>
                    </a:lnTo>
                    <a:lnTo>
                      <a:pt x="2407" y="2712"/>
                    </a:lnTo>
                    <a:lnTo>
                      <a:pt x="2395" y="2717"/>
                    </a:lnTo>
                    <a:lnTo>
                      <a:pt x="2391" y="2745"/>
                    </a:lnTo>
                    <a:lnTo>
                      <a:pt x="2391" y="2745"/>
                    </a:lnTo>
                    <a:lnTo>
                      <a:pt x="2391" y="2745"/>
                    </a:lnTo>
                    <a:close/>
                    <a:moveTo>
                      <a:pt x="2433" y="2717"/>
                    </a:moveTo>
                    <a:lnTo>
                      <a:pt x="2433" y="2712"/>
                    </a:lnTo>
                    <a:lnTo>
                      <a:pt x="2445" y="2717"/>
                    </a:lnTo>
                    <a:lnTo>
                      <a:pt x="2433" y="2717"/>
                    </a:lnTo>
                    <a:lnTo>
                      <a:pt x="2433" y="2717"/>
                    </a:lnTo>
                    <a:lnTo>
                      <a:pt x="2433" y="2717"/>
                    </a:lnTo>
                    <a:close/>
                    <a:moveTo>
                      <a:pt x="2412" y="2745"/>
                    </a:moveTo>
                    <a:lnTo>
                      <a:pt x="2407" y="2733"/>
                    </a:lnTo>
                    <a:lnTo>
                      <a:pt x="2412" y="2728"/>
                    </a:lnTo>
                    <a:lnTo>
                      <a:pt x="2412" y="2745"/>
                    </a:lnTo>
                    <a:lnTo>
                      <a:pt x="2412" y="2745"/>
                    </a:lnTo>
                    <a:lnTo>
                      <a:pt x="2412" y="2745"/>
                    </a:lnTo>
                    <a:close/>
                    <a:moveTo>
                      <a:pt x="2433" y="2750"/>
                    </a:moveTo>
                    <a:lnTo>
                      <a:pt x="2424" y="2750"/>
                    </a:lnTo>
                    <a:lnTo>
                      <a:pt x="2424" y="2733"/>
                    </a:lnTo>
                    <a:lnTo>
                      <a:pt x="2428" y="2733"/>
                    </a:lnTo>
                    <a:lnTo>
                      <a:pt x="2433" y="2750"/>
                    </a:lnTo>
                    <a:lnTo>
                      <a:pt x="2433" y="2750"/>
                    </a:lnTo>
                    <a:lnTo>
                      <a:pt x="2433" y="2750"/>
                    </a:lnTo>
                    <a:close/>
                    <a:moveTo>
                      <a:pt x="2433" y="2773"/>
                    </a:moveTo>
                    <a:lnTo>
                      <a:pt x="2424" y="2766"/>
                    </a:lnTo>
                    <a:lnTo>
                      <a:pt x="2424" y="2750"/>
                    </a:lnTo>
                    <a:lnTo>
                      <a:pt x="2445" y="2750"/>
                    </a:lnTo>
                    <a:lnTo>
                      <a:pt x="2433" y="2733"/>
                    </a:lnTo>
                    <a:lnTo>
                      <a:pt x="2462" y="2745"/>
                    </a:lnTo>
                    <a:lnTo>
                      <a:pt x="2462" y="2766"/>
                    </a:lnTo>
                    <a:lnTo>
                      <a:pt x="2450" y="2761"/>
                    </a:lnTo>
                    <a:lnTo>
                      <a:pt x="2433" y="2773"/>
                    </a:lnTo>
                    <a:lnTo>
                      <a:pt x="2433" y="2773"/>
                    </a:lnTo>
                    <a:lnTo>
                      <a:pt x="2433" y="2773"/>
                    </a:lnTo>
                    <a:close/>
                    <a:moveTo>
                      <a:pt x="2466" y="2783"/>
                    </a:moveTo>
                    <a:lnTo>
                      <a:pt x="2462" y="2750"/>
                    </a:lnTo>
                    <a:lnTo>
                      <a:pt x="2476" y="2783"/>
                    </a:lnTo>
                    <a:lnTo>
                      <a:pt x="2466" y="2783"/>
                    </a:lnTo>
                    <a:lnTo>
                      <a:pt x="2466" y="2783"/>
                    </a:lnTo>
                    <a:lnTo>
                      <a:pt x="2466" y="2783"/>
                    </a:lnTo>
                    <a:close/>
                    <a:moveTo>
                      <a:pt x="2450" y="2783"/>
                    </a:moveTo>
                    <a:lnTo>
                      <a:pt x="2445" y="2766"/>
                    </a:lnTo>
                    <a:lnTo>
                      <a:pt x="2450" y="2766"/>
                    </a:lnTo>
                    <a:lnTo>
                      <a:pt x="2462" y="2773"/>
                    </a:lnTo>
                    <a:lnTo>
                      <a:pt x="2450" y="2783"/>
                    </a:lnTo>
                    <a:lnTo>
                      <a:pt x="2450" y="2783"/>
                    </a:lnTo>
                    <a:lnTo>
                      <a:pt x="2450" y="2783"/>
                    </a:lnTo>
                    <a:close/>
                    <a:moveTo>
                      <a:pt x="2412" y="2773"/>
                    </a:moveTo>
                    <a:lnTo>
                      <a:pt x="2424" y="2766"/>
                    </a:lnTo>
                    <a:lnTo>
                      <a:pt x="2424" y="2773"/>
                    </a:lnTo>
                    <a:lnTo>
                      <a:pt x="2412" y="2773"/>
                    </a:lnTo>
                    <a:lnTo>
                      <a:pt x="2412" y="2773"/>
                    </a:lnTo>
                    <a:lnTo>
                      <a:pt x="2412" y="2773"/>
                    </a:lnTo>
                    <a:close/>
                    <a:moveTo>
                      <a:pt x="2412" y="2806"/>
                    </a:moveTo>
                    <a:lnTo>
                      <a:pt x="2428" y="2790"/>
                    </a:lnTo>
                    <a:lnTo>
                      <a:pt x="2424" y="2790"/>
                    </a:lnTo>
                    <a:lnTo>
                      <a:pt x="2428" y="2783"/>
                    </a:lnTo>
                    <a:lnTo>
                      <a:pt x="2445" y="2783"/>
                    </a:lnTo>
                    <a:lnTo>
                      <a:pt x="2445" y="2790"/>
                    </a:lnTo>
                    <a:lnTo>
                      <a:pt x="2445" y="2799"/>
                    </a:lnTo>
                    <a:lnTo>
                      <a:pt x="2433" y="2790"/>
                    </a:lnTo>
                    <a:lnTo>
                      <a:pt x="2412" y="2806"/>
                    </a:lnTo>
                    <a:lnTo>
                      <a:pt x="2412" y="2806"/>
                    </a:lnTo>
                    <a:lnTo>
                      <a:pt x="2412" y="2806"/>
                    </a:lnTo>
                    <a:close/>
                    <a:moveTo>
                      <a:pt x="2483" y="2799"/>
                    </a:moveTo>
                    <a:lnTo>
                      <a:pt x="2476" y="2783"/>
                    </a:lnTo>
                    <a:lnTo>
                      <a:pt x="2488" y="2783"/>
                    </a:lnTo>
                    <a:lnTo>
                      <a:pt x="2488" y="2790"/>
                    </a:lnTo>
                    <a:lnTo>
                      <a:pt x="2483" y="2799"/>
                    </a:lnTo>
                    <a:lnTo>
                      <a:pt x="2483" y="2799"/>
                    </a:lnTo>
                    <a:lnTo>
                      <a:pt x="2483" y="2799"/>
                    </a:lnTo>
                    <a:close/>
                    <a:moveTo>
                      <a:pt x="2499" y="2799"/>
                    </a:moveTo>
                    <a:lnTo>
                      <a:pt x="2488" y="2790"/>
                    </a:lnTo>
                    <a:lnTo>
                      <a:pt x="2499" y="2783"/>
                    </a:lnTo>
                    <a:lnTo>
                      <a:pt x="2499" y="2799"/>
                    </a:lnTo>
                    <a:lnTo>
                      <a:pt x="2499" y="2799"/>
                    </a:lnTo>
                    <a:lnTo>
                      <a:pt x="2499" y="2799"/>
                    </a:lnTo>
                    <a:close/>
                    <a:moveTo>
                      <a:pt x="2391" y="2823"/>
                    </a:moveTo>
                    <a:lnTo>
                      <a:pt x="2395" y="2790"/>
                    </a:lnTo>
                    <a:lnTo>
                      <a:pt x="2412" y="2790"/>
                    </a:lnTo>
                    <a:lnTo>
                      <a:pt x="2407" y="2816"/>
                    </a:lnTo>
                    <a:lnTo>
                      <a:pt x="2391" y="2823"/>
                    </a:lnTo>
                    <a:lnTo>
                      <a:pt x="2391" y="2823"/>
                    </a:lnTo>
                    <a:lnTo>
                      <a:pt x="2391" y="2823"/>
                    </a:lnTo>
                    <a:close/>
                    <a:moveTo>
                      <a:pt x="2476" y="2806"/>
                    </a:moveTo>
                    <a:lnTo>
                      <a:pt x="2466" y="2799"/>
                    </a:lnTo>
                    <a:lnTo>
                      <a:pt x="2466" y="2790"/>
                    </a:lnTo>
                    <a:lnTo>
                      <a:pt x="2476" y="2790"/>
                    </a:lnTo>
                    <a:lnTo>
                      <a:pt x="2476" y="2806"/>
                    </a:lnTo>
                    <a:lnTo>
                      <a:pt x="2476" y="2806"/>
                    </a:lnTo>
                    <a:lnTo>
                      <a:pt x="2476" y="2806"/>
                    </a:lnTo>
                    <a:close/>
                    <a:moveTo>
                      <a:pt x="2483" y="2839"/>
                    </a:moveTo>
                    <a:lnTo>
                      <a:pt x="2466" y="2828"/>
                    </a:lnTo>
                    <a:lnTo>
                      <a:pt x="2476" y="2816"/>
                    </a:lnTo>
                    <a:lnTo>
                      <a:pt x="2488" y="2828"/>
                    </a:lnTo>
                    <a:lnTo>
                      <a:pt x="2483" y="2839"/>
                    </a:lnTo>
                    <a:lnTo>
                      <a:pt x="2483" y="2839"/>
                    </a:lnTo>
                    <a:lnTo>
                      <a:pt x="2483" y="2839"/>
                    </a:lnTo>
                    <a:close/>
                    <a:moveTo>
                      <a:pt x="2412" y="2872"/>
                    </a:moveTo>
                    <a:lnTo>
                      <a:pt x="2412" y="2856"/>
                    </a:lnTo>
                    <a:lnTo>
                      <a:pt x="2424" y="2839"/>
                    </a:lnTo>
                    <a:lnTo>
                      <a:pt x="2428" y="2839"/>
                    </a:lnTo>
                    <a:lnTo>
                      <a:pt x="2424" y="2823"/>
                    </a:lnTo>
                    <a:lnTo>
                      <a:pt x="2428" y="2823"/>
                    </a:lnTo>
                    <a:lnTo>
                      <a:pt x="2428" y="2839"/>
                    </a:lnTo>
                    <a:lnTo>
                      <a:pt x="2412" y="2872"/>
                    </a:lnTo>
                    <a:lnTo>
                      <a:pt x="2412" y="2872"/>
                    </a:lnTo>
                    <a:lnTo>
                      <a:pt x="2412" y="2872"/>
                    </a:lnTo>
                    <a:close/>
                    <a:moveTo>
                      <a:pt x="2499" y="2839"/>
                    </a:moveTo>
                    <a:lnTo>
                      <a:pt x="2488" y="2823"/>
                    </a:lnTo>
                    <a:lnTo>
                      <a:pt x="2499" y="2828"/>
                    </a:lnTo>
                    <a:lnTo>
                      <a:pt x="2499" y="2839"/>
                    </a:lnTo>
                    <a:lnTo>
                      <a:pt x="2499" y="2839"/>
                    </a:lnTo>
                    <a:lnTo>
                      <a:pt x="2499" y="2839"/>
                    </a:lnTo>
                    <a:close/>
                    <a:moveTo>
                      <a:pt x="2476" y="2856"/>
                    </a:moveTo>
                    <a:lnTo>
                      <a:pt x="2462" y="2844"/>
                    </a:lnTo>
                    <a:lnTo>
                      <a:pt x="2450" y="2828"/>
                    </a:lnTo>
                    <a:lnTo>
                      <a:pt x="2476" y="2844"/>
                    </a:lnTo>
                    <a:lnTo>
                      <a:pt x="2476" y="2856"/>
                    </a:lnTo>
                    <a:lnTo>
                      <a:pt x="2476" y="2856"/>
                    </a:lnTo>
                    <a:lnTo>
                      <a:pt x="2476" y="2856"/>
                    </a:lnTo>
                    <a:close/>
                    <a:moveTo>
                      <a:pt x="2407" y="2844"/>
                    </a:moveTo>
                    <a:lnTo>
                      <a:pt x="2412" y="2828"/>
                    </a:lnTo>
                    <a:lnTo>
                      <a:pt x="2407" y="2844"/>
                    </a:lnTo>
                    <a:lnTo>
                      <a:pt x="2407" y="2844"/>
                    </a:lnTo>
                    <a:lnTo>
                      <a:pt x="2407" y="2844"/>
                    </a:lnTo>
                    <a:close/>
                    <a:moveTo>
                      <a:pt x="2424" y="2872"/>
                    </a:moveTo>
                    <a:lnTo>
                      <a:pt x="2428" y="2839"/>
                    </a:lnTo>
                    <a:lnTo>
                      <a:pt x="2445" y="2839"/>
                    </a:lnTo>
                    <a:lnTo>
                      <a:pt x="2424" y="2872"/>
                    </a:lnTo>
                    <a:lnTo>
                      <a:pt x="2424" y="2872"/>
                    </a:lnTo>
                    <a:lnTo>
                      <a:pt x="2424" y="2872"/>
                    </a:lnTo>
                    <a:close/>
                    <a:moveTo>
                      <a:pt x="2504" y="2877"/>
                    </a:moveTo>
                    <a:lnTo>
                      <a:pt x="2476" y="2856"/>
                    </a:lnTo>
                    <a:lnTo>
                      <a:pt x="2476" y="2844"/>
                    </a:lnTo>
                    <a:lnTo>
                      <a:pt x="2499" y="2861"/>
                    </a:lnTo>
                    <a:lnTo>
                      <a:pt x="2504" y="2877"/>
                    </a:lnTo>
                    <a:lnTo>
                      <a:pt x="2504" y="2877"/>
                    </a:lnTo>
                    <a:lnTo>
                      <a:pt x="2504" y="2877"/>
                    </a:lnTo>
                    <a:close/>
                    <a:moveTo>
                      <a:pt x="2428" y="2877"/>
                    </a:moveTo>
                    <a:lnTo>
                      <a:pt x="2428" y="2872"/>
                    </a:lnTo>
                    <a:lnTo>
                      <a:pt x="2445" y="2861"/>
                    </a:lnTo>
                    <a:lnTo>
                      <a:pt x="2428" y="2877"/>
                    </a:lnTo>
                    <a:lnTo>
                      <a:pt x="2428" y="2877"/>
                    </a:lnTo>
                    <a:lnTo>
                      <a:pt x="2428" y="2877"/>
                    </a:lnTo>
                    <a:close/>
                    <a:moveTo>
                      <a:pt x="2476" y="2894"/>
                    </a:moveTo>
                    <a:lnTo>
                      <a:pt x="2466" y="2877"/>
                    </a:lnTo>
                    <a:lnTo>
                      <a:pt x="2476" y="2877"/>
                    </a:lnTo>
                    <a:lnTo>
                      <a:pt x="2450" y="2872"/>
                    </a:lnTo>
                    <a:lnTo>
                      <a:pt x="2466" y="2861"/>
                    </a:lnTo>
                    <a:lnTo>
                      <a:pt x="2488" y="2884"/>
                    </a:lnTo>
                    <a:lnTo>
                      <a:pt x="2476" y="2894"/>
                    </a:lnTo>
                    <a:lnTo>
                      <a:pt x="2476" y="2894"/>
                    </a:lnTo>
                    <a:lnTo>
                      <a:pt x="2476" y="2894"/>
                    </a:lnTo>
                    <a:close/>
                    <a:moveTo>
                      <a:pt x="2499" y="2894"/>
                    </a:moveTo>
                    <a:lnTo>
                      <a:pt x="2476" y="2872"/>
                    </a:lnTo>
                    <a:lnTo>
                      <a:pt x="2499" y="2884"/>
                    </a:lnTo>
                    <a:lnTo>
                      <a:pt x="2504" y="2894"/>
                    </a:lnTo>
                    <a:lnTo>
                      <a:pt x="2499" y="2894"/>
                    </a:lnTo>
                    <a:lnTo>
                      <a:pt x="2499" y="2894"/>
                    </a:lnTo>
                    <a:lnTo>
                      <a:pt x="2499" y="2894"/>
                    </a:lnTo>
                    <a:close/>
                    <a:moveTo>
                      <a:pt x="2428" y="2884"/>
                    </a:moveTo>
                    <a:lnTo>
                      <a:pt x="2428" y="2877"/>
                    </a:lnTo>
                    <a:lnTo>
                      <a:pt x="2445" y="2877"/>
                    </a:lnTo>
                    <a:lnTo>
                      <a:pt x="2428" y="2884"/>
                    </a:lnTo>
                    <a:lnTo>
                      <a:pt x="2428" y="2884"/>
                    </a:lnTo>
                    <a:lnTo>
                      <a:pt x="2428" y="2884"/>
                    </a:lnTo>
                    <a:close/>
                    <a:moveTo>
                      <a:pt x="2488" y="2927"/>
                    </a:moveTo>
                    <a:lnTo>
                      <a:pt x="2483" y="2910"/>
                    </a:lnTo>
                    <a:lnTo>
                      <a:pt x="2504" y="2894"/>
                    </a:lnTo>
                    <a:lnTo>
                      <a:pt x="2504" y="2901"/>
                    </a:lnTo>
                    <a:lnTo>
                      <a:pt x="2504" y="2917"/>
                    </a:lnTo>
                    <a:lnTo>
                      <a:pt x="2488" y="2927"/>
                    </a:lnTo>
                    <a:lnTo>
                      <a:pt x="2488" y="2927"/>
                    </a:lnTo>
                    <a:lnTo>
                      <a:pt x="2488" y="2927"/>
                    </a:lnTo>
                    <a:close/>
                    <a:moveTo>
                      <a:pt x="2861" y="2917"/>
                    </a:moveTo>
                    <a:lnTo>
                      <a:pt x="2861" y="3132"/>
                    </a:lnTo>
                    <a:lnTo>
                      <a:pt x="2861" y="3139"/>
                    </a:lnTo>
                    <a:lnTo>
                      <a:pt x="2844" y="3132"/>
                    </a:lnTo>
                    <a:lnTo>
                      <a:pt x="2854" y="3139"/>
                    </a:lnTo>
                    <a:lnTo>
                      <a:pt x="2828" y="3149"/>
                    </a:lnTo>
                    <a:lnTo>
                      <a:pt x="2790" y="3132"/>
                    </a:lnTo>
                    <a:lnTo>
                      <a:pt x="2790" y="3123"/>
                    </a:lnTo>
                    <a:lnTo>
                      <a:pt x="2785" y="3132"/>
                    </a:lnTo>
                    <a:lnTo>
                      <a:pt x="2747" y="3139"/>
                    </a:lnTo>
                    <a:lnTo>
                      <a:pt x="2747" y="3132"/>
                    </a:lnTo>
                    <a:lnTo>
                      <a:pt x="2747" y="3123"/>
                    </a:lnTo>
                    <a:lnTo>
                      <a:pt x="2736" y="3132"/>
                    </a:lnTo>
                    <a:lnTo>
                      <a:pt x="2714" y="3139"/>
                    </a:lnTo>
                    <a:lnTo>
                      <a:pt x="2702" y="3132"/>
                    </a:lnTo>
                    <a:lnTo>
                      <a:pt x="2731" y="3116"/>
                    </a:lnTo>
                    <a:lnTo>
                      <a:pt x="2693" y="3132"/>
                    </a:lnTo>
                    <a:lnTo>
                      <a:pt x="2698" y="3116"/>
                    </a:lnTo>
                    <a:lnTo>
                      <a:pt x="2676" y="3123"/>
                    </a:lnTo>
                    <a:lnTo>
                      <a:pt x="2665" y="3106"/>
                    </a:lnTo>
                    <a:lnTo>
                      <a:pt x="2660" y="3123"/>
                    </a:lnTo>
                    <a:lnTo>
                      <a:pt x="2643" y="3116"/>
                    </a:lnTo>
                    <a:lnTo>
                      <a:pt x="2627" y="3116"/>
                    </a:lnTo>
                    <a:lnTo>
                      <a:pt x="2622" y="3099"/>
                    </a:lnTo>
                    <a:lnTo>
                      <a:pt x="2627" y="3099"/>
                    </a:lnTo>
                    <a:lnTo>
                      <a:pt x="2643" y="3106"/>
                    </a:lnTo>
                    <a:lnTo>
                      <a:pt x="2651" y="3106"/>
                    </a:lnTo>
                    <a:lnTo>
                      <a:pt x="2639" y="3095"/>
                    </a:lnTo>
                    <a:lnTo>
                      <a:pt x="2643" y="3095"/>
                    </a:lnTo>
                    <a:lnTo>
                      <a:pt x="2651" y="3099"/>
                    </a:lnTo>
                    <a:lnTo>
                      <a:pt x="2660" y="3099"/>
                    </a:lnTo>
                    <a:lnTo>
                      <a:pt x="2651" y="3095"/>
                    </a:lnTo>
                    <a:lnTo>
                      <a:pt x="2665" y="3095"/>
                    </a:lnTo>
                    <a:lnTo>
                      <a:pt x="2698" y="3099"/>
                    </a:lnTo>
                    <a:lnTo>
                      <a:pt x="2698" y="3083"/>
                    </a:lnTo>
                    <a:lnTo>
                      <a:pt x="2702" y="3083"/>
                    </a:lnTo>
                    <a:lnTo>
                      <a:pt x="2719" y="3083"/>
                    </a:lnTo>
                    <a:lnTo>
                      <a:pt x="2714" y="3106"/>
                    </a:lnTo>
                    <a:lnTo>
                      <a:pt x="2719" y="3116"/>
                    </a:lnTo>
                    <a:lnTo>
                      <a:pt x="2714" y="3106"/>
                    </a:lnTo>
                    <a:lnTo>
                      <a:pt x="2719" y="3095"/>
                    </a:lnTo>
                    <a:lnTo>
                      <a:pt x="2747" y="3106"/>
                    </a:lnTo>
                    <a:lnTo>
                      <a:pt x="2752" y="3106"/>
                    </a:lnTo>
                    <a:lnTo>
                      <a:pt x="2736" y="3095"/>
                    </a:lnTo>
                    <a:lnTo>
                      <a:pt x="2719" y="3083"/>
                    </a:lnTo>
                    <a:lnTo>
                      <a:pt x="2702" y="3078"/>
                    </a:lnTo>
                    <a:lnTo>
                      <a:pt x="2702" y="3066"/>
                    </a:lnTo>
                    <a:lnTo>
                      <a:pt x="2752" y="3095"/>
                    </a:lnTo>
                    <a:lnTo>
                      <a:pt x="2757" y="3095"/>
                    </a:lnTo>
                    <a:lnTo>
                      <a:pt x="2752" y="3083"/>
                    </a:lnTo>
                    <a:lnTo>
                      <a:pt x="2757" y="3078"/>
                    </a:lnTo>
                    <a:lnTo>
                      <a:pt x="2785" y="3106"/>
                    </a:lnTo>
                    <a:lnTo>
                      <a:pt x="2773" y="3083"/>
                    </a:lnTo>
                    <a:lnTo>
                      <a:pt x="2823" y="3099"/>
                    </a:lnTo>
                    <a:lnTo>
                      <a:pt x="2806" y="3116"/>
                    </a:lnTo>
                    <a:lnTo>
                      <a:pt x="2806" y="3123"/>
                    </a:lnTo>
                    <a:lnTo>
                      <a:pt x="2811" y="3106"/>
                    </a:lnTo>
                    <a:lnTo>
                      <a:pt x="2823" y="3106"/>
                    </a:lnTo>
                    <a:lnTo>
                      <a:pt x="2823" y="3099"/>
                    </a:lnTo>
                    <a:lnTo>
                      <a:pt x="2839" y="3095"/>
                    </a:lnTo>
                    <a:lnTo>
                      <a:pt x="2757" y="3061"/>
                    </a:lnTo>
                    <a:lnTo>
                      <a:pt x="2752" y="3038"/>
                    </a:lnTo>
                    <a:lnTo>
                      <a:pt x="2769" y="3021"/>
                    </a:lnTo>
                    <a:lnTo>
                      <a:pt x="2811" y="3005"/>
                    </a:lnTo>
                    <a:lnTo>
                      <a:pt x="2806" y="2988"/>
                    </a:lnTo>
                    <a:lnTo>
                      <a:pt x="2773" y="2988"/>
                    </a:lnTo>
                    <a:lnTo>
                      <a:pt x="2752" y="2995"/>
                    </a:lnTo>
                    <a:lnTo>
                      <a:pt x="2736" y="2988"/>
                    </a:lnTo>
                    <a:lnTo>
                      <a:pt x="2736" y="2955"/>
                    </a:lnTo>
                    <a:lnTo>
                      <a:pt x="2736" y="2950"/>
                    </a:lnTo>
                    <a:lnTo>
                      <a:pt x="2747" y="2955"/>
                    </a:lnTo>
                    <a:lnTo>
                      <a:pt x="2752" y="2955"/>
                    </a:lnTo>
                    <a:lnTo>
                      <a:pt x="2757" y="2939"/>
                    </a:lnTo>
                    <a:lnTo>
                      <a:pt x="2736" y="2934"/>
                    </a:lnTo>
                    <a:lnTo>
                      <a:pt x="2752" y="2927"/>
                    </a:lnTo>
                    <a:lnTo>
                      <a:pt x="2769" y="2934"/>
                    </a:lnTo>
                    <a:lnTo>
                      <a:pt x="2785" y="2934"/>
                    </a:lnTo>
                    <a:lnTo>
                      <a:pt x="2790" y="2910"/>
                    </a:lnTo>
                    <a:lnTo>
                      <a:pt x="2806" y="2901"/>
                    </a:lnTo>
                    <a:lnTo>
                      <a:pt x="2823" y="2927"/>
                    </a:lnTo>
                    <a:lnTo>
                      <a:pt x="2844" y="2910"/>
                    </a:lnTo>
                    <a:lnTo>
                      <a:pt x="2861" y="2917"/>
                    </a:lnTo>
                    <a:lnTo>
                      <a:pt x="2861" y="2917"/>
                    </a:lnTo>
                    <a:lnTo>
                      <a:pt x="2861" y="2917"/>
                    </a:lnTo>
                    <a:close/>
                    <a:moveTo>
                      <a:pt x="2530" y="2983"/>
                    </a:moveTo>
                    <a:lnTo>
                      <a:pt x="2551" y="2988"/>
                    </a:lnTo>
                    <a:lnTo>
                      <a:pt x="2521" y="2988"/>
                    </a:lnTo>
                    <a:lnTo>
                      <a:pt x="2488" y="2955"/>
                    </a:lnTo>
                    <a:lnTo>
                      <a:pt x="2462" y="2967"/>
                    </a:lnTo>
                    <a:lnTo>
                      <a:pt x="2433" y="2934"/>
                    </a:lnTo>
                    <a:lnTo>
                      <a:pt x="2433" y="2927"/>
                    </a:lnTo>
                    <a:lnTo>
                      <a:pt x="2462" y="2950"/>
                    </a:lnTo>
                    <a:lnTo>
                      <a:pt x="2513" y="2955"/>
                    </a:lnTo>
                    <a:lnTo>
                      <a:pt x="2521" y="2983"/>
                    </a:lnTo>
                    <a:lnTo>
                      <a:pt x="2521" y="2967"/>
                    </a:lnTo>
                    <a:lnTo>
                      <a:pt x="2537" y="2983"/>
                    </a:lnTo>
                    <a:lnTo>
                      <a:pt x="2530" y="2983"/>
                    </a:lnTo>
                    <a:lnTo>
                      <a:pt x="2530" y="2983"/>
                    </a:lnTo>
                    <a:lnTo>
                      <a:pt x="2530" y="2983"/>
                    </a:lnTo>
                    <a:close/>
                    <a:moveTo>
                      <a:pt x="2530" y="2950"/>
                    </a:moveTo>
                    <a:lnTo>
                      <a:pt x="2504" y="2939"/>
                    </a:lnTo>
                    <a:lnTo>
                      <a:pt x="2521" y="2939"/>
                    </a:lnTo>
                    <a:lnTo>
                      <a:pt x="2530" y="2950"/>
                    </a:lnTo>
                    <a:lnTo>
                      <a:pt x="2530" y="2950"/>
                    </a:lnTo>
                    <a:lnTo>
                      <a:pt x="2530" y="2950"/>
                    </a:lnTo>
                    <a:close/>
                    <a:moveTo>
                      <a:pt x="2521" y="2995"/>
                    </a:moveTo>
                    <a:lnTo>
                      <a:pt x="2530" y="3005"/>
                    </a:lnTo>
                    <a:lnTo>
                      <a:pt x="2521" y="3012"/>
                    </a:lnTo>
                    <a:lnTo>
                      <a:pt x="2499" y="2995"/>
                    </a:lnTo>
                    <a:lnTo>
                      <a:pt x="2513" y="2995"/>
                    </a:lnTo>
                    <a:lnTo>
                      <a:pt x="2521" y="2995"/>
                    </a:lnTo>
                    <a:lnTo>
                      <a:pt x="2513" y="2988"/>
                    </a:lnTo>
                    <a:lnTo>
                      <a:pt x="2521" y="2995"/>
                    </a:lnTo>
                    <a:lnTo>
                      <a:pt x="2521" y="2995"/>
                    </a:lnTo>
                    <a:lnTo>
                      <a:pt x="2521" y="2995"/>
                    </a:lnTo>
                    <a:close/>
                    <a:moveTo>
                      <a:pt x="2537" y="3038"/>
                    </a:moveTo>
                    <a:lnTo>
                      <a:pt x="2537" y="3021"/>
                    </a:lnTo>
                    <a:lnTo>
                      <a:pt x="2513" y="3028"/>
                    </a:lnTo>
                    <a:lnTo>
                      <a:pt x="2521" y="3021"/>
                    </a:lnTo>
                    <a:lnTo>
                      <a:pt x="2513" y="3012"/>
                    </a:lnTo>
                    <a:lnTo>
                      <a:pt x="2521" y="3012"/>
                    </a:lnTo>
                    <a:lnTo>
                      <a:pt x="2537" y="3021"/>
                    </a:lnTo>
                    <a:lnTo>
                      <a:pt x="2558" y="3021"/>
                    </a:lnTo>
                    <a:lnTo>
                      <a:pt x="2537" y="3012"/>
                    </a:lnTo>
                    <a:lnTo>
                      <a:pt x="2521" y="2995"/>
                    </a:lnTo>
                    <a:lnTo>
                      <a:pt x="2542" y="3005"/>
                    </a:lnTo>
                    <a:lnTo>
                      <a:pt x="2542" y="2995"/>
                    </a:lnTo>
                    <a:lnTo>
                      <a:pt x="2551" y="2995"/>
                    </a:lnTo>
                    <a:lnTo>
                      <a:pt x="2558" y="2995"/>
                    </a:lnTo>
                    <a:lnTo>
                      <a:pt x="2558" y="3021"/>
                    </a:lnTo>
                    <a:lnTo>
                      <a:pt x="2568" y="2995"/>
                    </a:lnTo>
                    <a:lnTo>
                      <a:pt x="2575" y="3012"/>
                    </a:lnTo>
                    <a:lnTo>
                      <a:pt x="2589" y="3012"/>
                    </a:lnTo>
                    <a:lnTo>
                      <a:pt x="2589" y="3028"/>
                    </a:lnTo>
                    <a:lnTo>
                      <a:pt x="2596" y="3021"/>
                    </a:lnTo>
                    <a:lnTo>
                      <a:pt x="2613" y="3038"/>
                    </a:lnTo>
                    <a:lnTo>
                      <a:pt x="2596" y="3045"/>
                    </a:lnTo>
                    <a:lnTo>
                      <a:pt x="2596" y="3061"/>
                    </a:lnTo>
                    <a:lnTo>
                      <a:pt x="2568" y="3066"/>
                    </a:lnTo>
                    <a:lnTo>
                      <a:pt x="2551" y="3061"/>
                    </a:lnTo>
                    <a:lnTo>
                      <a:pt x="2568" y="3050"/>
                    </a:lnTo>
                    <a:lnTo>
                      <a:pt x="2575" y="3038"/>
                    </a:lnTo>
                    <a:lnTo>
                      <a:pt x="2551" y="3038"/>
                    </a:lnTo>
                    <a:lnTo>
                      <a:pt x="2542" y="3050"/>
                    </a:lnTo>
                    <a:lnTo>
                      <a:pt x="2537" y="3038"/>
                    </a:lnTo>
                    <a:lnTo>
                      <a:pt x="2537" y="3038"/>
                    </a:lnTo>
                    <a:lnTo>
                      <a:pt x="2537" y="3038"/>
                    </a:lnTo>
                    <a:close/>
                    <a:moveTo>
                      <a:pt x="2499" y="3012"/>
                    </a:moveTo>
                    <a:lnTo>
                      <a:pt x="2499" y="2995"/>
                    </a:lnTo>
                    <a:lnTo>
                      <a:pt x="2504" y="3005"/>
                    </a:lnTo>
                    <a:lnTo>
                      <a:pt x="2499" y="3012"/>
                    </a:lnTo>
                    <a:lnTo>
                      <a:pt x="2499" y="3012"/>
                    </a:lnTo>
                    <a:lnTo>
                      <a:pt x="2499" y="3012"/>
                    </a:lnTo>
                    <a:close/>
                    <a:moveTo>
                      <a:pt x="2731" y="3078"/>
                    </a:moveTo>
                    <a:lnTo>
                      <a:pt x="2702" y="3061"/>
                    </a:lnTo>
                    <a:lnTo>
                      <a:pt x="2698" y="3038"/>
                    </a:lnTo>
                    <a:lnTo>
                      <a:pt x="2719" y="3038"/>
                    </a:lnTo>
                    <a:lnTo>
                      <a:pt x="2714" y="3021"/>
                    </a:lnTo>
                    <a:lnTo>
                      <a:pt x="2731" y="3012"/>
                    </a:lnTo>
                    <a:lnTo>
                      <a:pt x="2736" y="3050"/>
                    </a:lnTo>
                    <a:lnTo>
                      <a:pt x="2731" y="3050"/>
                    </a:lnTo>
                    <a:lnTo>
                      <a:pt x="2719" y="3045"/>
                    </a:lnTo>
                    <a:lnTo>
                      <a:pt x="2731" y="3078"/>
                    </a:lnTo>
                    <a:lnTo>
                      <a:pt x="2731" y="3078"/>
                    </a:lnTo>
                    <a:lnTo>
                      <a:pt x="2731" y="3078"/>
                    </a:lnTo>
                    <a:close/>
                    <a:moveTo>
                      <a:pt x="2643" y="3045"/>
                    </a:moveTo>
                    <a:lnTo>
                      <a:pt x="2651" y="3061"/>
                    </a:lnTo>
                    <a:lnTo>
                      <a:pt x="2643" y="3066"/>
                    </a:lnTo>
                    <a:lnTo>
                      <a:pt x="2627" y="3050"/>
                    </a:lnTo>
                    <a:lnTo>
                      <a:pt x="2643" y="3078"/>
                    </a:lnTo>
                    <a:lnTo>
                      <a:pt x="2639" y="3083"/>
                    </a:lnTo>
                    <a:lnTo>
                      <a:pt x="2613" y="3061"/>
                    </a:lnTo>
                    <a:lnTo>
                      <a:pt x="2606" y="3045"/>
                    </a:lnTo>
                    <a:lnTo>
                      <a:pt x="2622" y="3050"/>
                    </a:lnTo>
                    <a:lnTo>
                      <a:pt x="2627" y="3038"/>
                    </a:lnTo>
                    <a:lnTo>
                      <a:pt x="2643" y="3045"/>
                    </a:lnTo>
                    <a:lnTo>
                      <a:pt x="2643" y="3045"/>
                    </a:lnTo>
                    <a:lnTo>
                      <a:pt x="2643" y="3045"/>
                    </a:lnTo>
                    <a:close/>
                    <a:moveTo>
                      <a:pt x="2676" y="3050"/>
                    </a:moveTo>
                    <a:lnTo>
                      <a:pt x="2693" y="3061"/>
                    </a:lnTo>
                    <a:lnTo>
                      <a:pt x="2698" y="3078"/>
                    </a:lnTo>
                    <a:lnTo>
                      <a:pt x="2681" y="3095"/>
                    </a:lnTo>
                    <a:lnTo>
                      <a:pt x="2665" y="3083"/>
                    </a:lnTo>
                    <a:lnTo>
                      <a:pt x="2660" y="3066"/>
                    </a:lnTo>
                    <a:lnTo>
                      <a:pt x="2665" y="3061"/>
                    </a:lnTo>
                    <a:lnTo>
                      <a:pt x="2660" y="3078"/>
                    </a:lnTo>
                    <a:lnTo>
                      <a:pt x="2643" y="3066"/>
                    </a:lnTo>
                    <a:lnTo>
                      <a:pt x="2651" y="3045"/>
                    </a:lnTo>
                    <a:lnTo>
                      <a:pt x="2676" y="3050"/>
                    </a:lnTo>
                    <a:lnTo>
                      <a:pt x="2676" y="3050"/>
                    </a:lnTo>
                    <a:lnTo>
                      <a:pt x="2676" y="3050"/>
                    </a:lnTo>
                    <a:close/>
                    <a:moveTo>
                      <a:pt x="2537" y="3066"/>
                    </a:moveTo>
                    <a:lnTo>
                      <a:pt x="2521" y="3061"/>
                    </a:lnTo>
                    <a:lnTo>
                      <a:pt x="2542" y="3061"/>
                    </a:lnTo>
                    <a:lnTo>
                      <a:pt x="2537" y="3066"/>
                    </a:lnTo>
                    <a:lnTo>
                      <a:pt x="2537" y="3066"/>
                    </a:lnTo>
                    <a:lnTo>
                      <a:pt x="2537" y="3066"/>
                    </a:lnTo>
                    <a:close/>
                    <a:moveTo>
                      <a:pt x="2606" y="3061"/>
                    </a:moveTo>
                    <a:lnTo>
                      <a:pt x="2613" y="3066"/>
                    </a:lnTo>
                    <a:lnTo>
                      <a:pt x="2606" y="3078"/>
                    </a:lnTo>
                    <a:lnTo>
                      <a:pt x="2589" y="3078"/>
                    </a:lnTo>
                    <a:lnTo>
                      <a:pt x="2606" y="3061"/>
                    </a:lnTo>
                    <a:lnTo>
                      <a:pt x="2606" y="3061"/>
                    </a:lnTo>
                    <a:lnTo>
                      <a:pt x="2606" y="3061"/>
                    </a:lnTo>
                    <a:close/>
                    <a:moveTo>
                      <a:pt x="2747" y="3078"/>
                    </a:moveTo>
                    <a:lnTo>
                      <a:pt x="2731" y="3066"/>
                    </a:lnTo>
                    <a:lnTo>
                      <a:pt x="2752" y="3078"/>
                    </a:lnTo>
                    <a:lnTo>
                      <a:pt x="2747" y="3078"/>
                    </a:lnTo>
                    <a:lnTo>
                      <a:pt x="2747" y="3078"/>
                    </a:lnTo>
                    <a:lnTo>
                      <a:pt x="2747" y="3078"/>
                    </a:lnTo>
                    <a:close/>
                    <a:moveTo>
                      <a:pt x="2589" y="3095"/>
                    </a:moveTo>
                    <a:lnTo>
                      <a:pt x="2589" y="3083"/>
                    </a:lnTo>
                    <a:lnTo>
                      <a:pt x="2606" y="3083"/>
                    </a:lnTo>
                    <a:lnTo>
                      <a:pt x="2589" y="3095"/>
                    </a:lnTo>
                    <a:lnTo>
                      <a:pt x="2589" y="3095"/>
                    </a:lnTo>
                    <a:lnTo>
                      <a:pt x="2589" y="3095"/>
                    </a:lnTo>
                    <a:close/>
                    <a:moveTo>
                      <a:pt x="2627" y="3132"/>
                    </a:moveTo>
                    <a:lnTo>
                      <a:pt x="2622" y="3116"/>
                    </a:lnTo>
                    <a:lnTo>
                      <a:pt x="2627" y="3123"/>
                    </a:lnTo>
                    <a:lnTo>
                      <a:pt x="2627" y="3132"/>
                    </a:lnTo>
                    <a:lnTo>
                      <a:pt x="2627" y="3132"/>
                    </a:lnTo>
                    <a:lnTo>
                      <a:pt x="2627" y="3132"/>
                    </a:lnTo>
                    <a:close/>
                    <a:moveTo>
                      <a:pt x="2693" y="3149"/>
                    </a:moveTo>
                    <a:lnTo>
                      <a:pt x="2660" y="3139"/>
                    </a:lnTo>
                    <a:lnTo>
                      <a:pt x="2665" y="3132"/>
                    </a:lnTo>
                    <a:lnTo>
                      <a:pt x="2698" y="3149"/>
                    </a:lnTo>
                    <a:lnTo>
                      <a:pt x="2693" y="3149"/>
                    </a:lnTo>
                    <a:lnTo>
                      <a:pt x="2693" y="3149"/>
                    </a:lnTo>
                    <a:lnTo>
                      <a:pt x="2693" y="3149"/>
                    </a:lnTo>
                    <a:close/>
                    <a:moveTo>
                      <a:pt x="2731" y="3139"/>
                    </a:moveTo>
                    <a:lnTo>
                      <a:pt x="2736" y="3139"/>
                    </a:lnTo>
                    <a:lnTo>
                      <a:pt x="2714" y="3139"/>
                    </a:lnTo>
                    <a:lnTo>
                      <a:pt x="2731" y="3139"/>
                    </a:lnTo>
                    <a:lnTo>
                      <a:pt x="2731" y="3139"/>
                    </a:lnTo>
                    <a:lnTo>
                      <a:pt x="2731" y="3139"/>
                    </a:lnTo>
                    <a:close/>
                    <a:moveTo>
                      <a:pt x="2769" y="3156"/>
                    </a:moveTo>
                    <a:lnTo>
                      <a:pt x="2769" y="3149"/>
                    </a:lnTo>
                    <a:lnTo>
                      <a:pt x="2773" y="3139"/>
                    </a:lnTo>
                    <a:lnTo>
                      <a:pt x="2823" y="3149"/>
                    </a:lnTo>
                    <a:lnTo>
                      <a:pt x="2769" y="3156"/>
                    </a:lnTo>
                    <a:lnTo>
                      <a:pt x="2769" y="3156"/>
                    </a:lnTo>
                    <a:lnTo>
                      <a:pt x="2769" y="3156"/>
                    </a:lnTo>
                    <a:close/>
                    <a:moveTo>
                      <a:pt x="2736" y="3139"/>
                    </a:moveTo>
                    <a:lnTo>
                      <a:pt x="2714" y="3156"/>
                    </a:lnTo>
                    <a:lnTo>
                      <a:pt x="2747" y="3156"/>
                    </a:lnTo>
                    <a:lnTo>
                      <a:pt x="2747" y="3161"/>
                    </a:lnTo>
                    <a:lnTo>
                      <a:pt x="2736" y="3161"/>
                    </a:lnTo>
                    <a:lnTo>
                      <a:pt x="2736" y="3172"/>
                    </a:lnTo>
                    <a:lnTo>
                      <a:pt x="2731" y="3172"/>
                    </a:lnTo>
                    <a:lnTo>
                      <a:pt x="2719" y="3161"/>
                    </a:lnTo>
                    <a:lnTo>
                      <a:pt x="2714" y="3161"/>
                    </a:lnTo>
                    <a:lnTo>
                      <a:pt x="2693" y="3156"/>
                    </a:lnTo>
                    <a:lnTo>
                      <a:pt x="2698" y="3149"/>
                    </a:lnTo>
                    <a:lnTo>
                      <a:pt x="2719" y="3149"/>
                    </a:lnTo>
                    <a:lnTo>
                      <a:pt x="2736" y="3139"/>
                    </a:lnTo>
                    <a:lnTo>
                      <a:pt x="2736" y="3139"/>
                    </a:lnTo>
                    <a:lnTo>
                      <a:pt x="2736" y="3139"/>
                    </a:lnTo>
                    <a:close/>
                    <a:moveTo>
                      <a:pt x="2899" y="3139"/>
                    </a:moveTo>
                    <a:lnTo>
                      <a:pt x="2953" y="3149"/>
                    </a:lnTo>
                    <a:lnTo>
                      <a:pt x="2967" y="3161"/>
                    </a:lnTo>
                    <a:lnTo>
                      <a:pt x="2962" y="3177"/>
                    </a:lnTo>
                    <a:lnTo>
                      <a:pt x="2946" y="3177"/>
                    </a:lnTo>
                    <a:lnTo>
                      <a:pt x="2946" y="3172"/>
                    </a:lnTo>
                    <a:lnTo>
                      <a:pt x="2936" y="3172"/>
                    </a:lnTo>
                    <a:lnTo>
                      <a:pt x="2929" y="3177"/>
                    </a:lnTo>
                    <a:lnTo>
                      <a:pt x="2915" y="3177"/>
                    </a:lnTo>
                    <a:lnTo>
                      <a:pt x="2915" y="3172"/>
                    </a:lnTo>
                    <a:lnTo>
                      <a:pt x="2899" y="3177"/>
                    </a:lnTo>
                    <a:lnTo>
                      <a:pt x="2891" y="3149"/>
                    </a:lnTo>
                    <a:lnTo>
                      <a:pt x="2877" y="3149"/>
                    </a:lnTo>
                    <a:lnTo>
                      <a:pt x="2899" y="3139"/>
                    </a:lnTo>
                    <a:lnTo>
                      <a:pt x="2899" y="3139"/>
                    </a:lnTo>
                    <a:lnTo>
                      <a:pt x="2899" y="3139"/>
                    </a:lnTo>
                    <a:close/>
                    <a:moveTo>
                      <a:pt x="2802" y="3189"/>
                    </a:moveTo>
                    <a:lnTo>
                      <a:pt x="2785" y="3177"/>
                    </a:lnTo>
                    <a:lnTo>
                      <a:pt x="2802" y="3172"/>
                    </a:lnTo>
                    <a:lnTo>
                      <a:pt x="2773" y="3177"/>
                    </a:lnTo>
                    <a:lnTo>
                      <a:pt x="2757" y="3161"/>
                    </a:lnTo>
                    <a:lnTo>
                      <a:pt x="2773" y="3156"/>
                    </a:lnTo>
                    <a:lnTo>
                      <a:pt x="2865" y="3149"/>
                    </a:lnTo>
                    <a:lnTo>
                      <a:pt x="2882" y="3156"/>
                    </a:lnTo>
                    <a:lnTo>
                      <a:pt x="2861" y="3172"/>
                    </a:lnTo>
                    <a:lnTo>
                      <a:pt x="2828" y="3156"/>
                    </a:lnTo>
                    <a:lnTo>
                      <a:pt x="2854" y="3172"/>
                    </a:lnTo>
                    <a:lnTo>
                      <a:pt x="2882" y="3172"/>
                    </a:lnTo>
                    <a:lnTo>
                      <a:pt x="2891" y="3177"/>
                    </a:lnTo>
                    <a:lnTo>
                      <a:pt x="2854" y="3177"/>
                    </a:lnTo>
                    <a:lnTo>
                      <a:pt x="2891" y="3194"/>
                    </a:lnTo>
                    <a:lnTo>
                      <a:pt x="2908" y="3210"/>
                    </a:lnTo>
                    <a:lnTo>
                      <a:pt x="2899" y="3227"/>
                    </a:lnTo>
                    <a:lnTo>
                      <a:pt x="2877" y="3206"/>
                    </a:lnTo>
                    <a:lnTo>
                      <a:pt x="2844" y="3206"/>
                    </a:lnTo>
                    <a:lnTo>
                      <a:pt x="2839" y="3194"/>
                    </a:lnTo>
                    <a:lnTo>
                      <a:pt x="2854" y="3189"/>
                    </a:lnTo>
                    <a:lnTo>
                      <a:pt x="2844" y="3189"/>
                    </a:lnTo>
                    <a:lnTo>
                      <a:pt x="2844" y="3172"/>
                    </a:lnTo>
                    <a:lnTo>
                      <a:pt x="2828" y="3177"/>
                    </a:lnTo>
                    <a:lnTo>
                      <a:pt x="2823" y="3161"/>
                    </a:lnTo>
                    <a:lnTo>
                      <a:pt x="2806" y="3172"/>
                    </a:lnTo>
                    <a:lnTo>
                      <a:pt x="2811" y="3172"/>
                    </a:lnTo>
                    <a:lnTo>
                      <a:pt x="2806" y="3177"/>
                    </a:lnTo>
                    <a:lnTo>
                      <a:pt x="2811" y="3194"/>
                    </a:lnTo>
                    <a:lnTo>
                      <a:pt x="2823" y="3194"/>
                    </a:lnTo>
                    <a:lnTo>
                      <a:pt x="2823" y="3206"/>
                    </a:lnTo>
                    <a:lnTo>
                      <a:pt x="2806" y="3206"/>
                    </a:lnTo>
                    <a:lnTo>
                      <a:pt x="2802" y="3194"/>
                    </a:lnTo>
                    <a:lnTo>
                      <a:pt x="2806" y="3189"/>
                    </a:lnTo>
                    <a:lnTo>
                      <a:pt x="2802" y="3189"/>
                    </a:lnTo>
                    <a:lnTo>
                      <a:pt x="2802" y="3189"/>
                    </a:lnTo>
                    <a:lnTo>
                      <a:pt x="2802" y="3189"/>
                    </a:lnTo>
                    <a:close/>
                    <a:moveTo>
                      <a:pt x="2979" y="3156"/>
                    </a:moveTo>
                    <a:lnTo>
                      <a:pt x="2988" y="3161"/>
                    </a:lnTo>
                    <a:lnTo>
                      <a:pt x="2967" y="3156"/>
                    </a:lnTo>
                    <a:lnTo>
                      <a:pt x="2979" y="3156"/>
                    </a:lnTo>
                    <a:lnTo>
                      <a:pt x="2979" y="3156"/>
                    </a:lnTo>
                    <a:lnTo>
                      <a:pt x="2979" y="3156"/>
                    </a:lnTo>
                    <a:close/>
                    <a:moveTo>
                      <a:pt x="3005" y="3177"/>
                    </a:moveTo>
                    <a:lnTo>
                      <a:pt x="3000" y="3172"/>
                    </a:lnTo>
                    <a:lnTo>
                      <a:pt x="3017" y="3172"/>
                    </a:lnTo>
                    <a:lnTo>
                      <a:pt x="3005" y="3177"/>
                    </a:lnTo>
                    <a:lnTo>
                      <a:pt x="3005" y="3177"/>
                    </a:lnTo>
                    <a:lnTo>
                      <a:pt x="3005" y="3177"/>
                    </a:lnTo>
                    <a:close/>
                    <a:moveTo>
                      <a:pt x="2984" y="3177"/>
                    </a:moveTo>
                    <a:lnTo>
                      <a:pt x="2984" y="3189"/>
                    </a:lnTo>
                    <a:lnTo>
                      <a:pt x="2967" y="3189"/>
                    </a:lnTo>
                    <a:lnTo>
                      <a:pt x="2979" y="3177"/>
                    </a:lnTo>
                    <a:lnTo>
                      <a:pt x="2984" y="3177"/>
                    </a:lnTo>
                    <a:lnTo>
                      <a:pt x="2984" y="3177"/>
                    </a:lnTo>
                    <a:lnTo>
                      <a:pt x="2984" y="3177"/>
                    </a:lnTo>
                    <a:close/>
                    <a:moveTo>
                      <a:pt x="2769" y="3189"/>
                    </a:moveTo>
                    <a:lnTo>
                      <a:pt x="2757" y="3177"/>
                    </a:lnTo>
                    <a:lnTo>
                      <a:pt x="2769" y="3177"/>
                    </a:lnTo>
                    <a:lnTo>
                      <a:pt x="2769" y="3189"/>
                    </a:lnTo>
                    <a:lnTo>
                      <a:pt x="2769" y="3189"/>
                    </a:lnTo>
                    <a:lnTo>
                      <a:pt x="2769" y="3189"/>
                    </a:lnTo>
                    <a:close/>
                    <a:moveTo>
                      <a:pt x="2785" y="3194"/>
                    </a:moveTo>
                    <a:lnTo>
                      <a:pt x="2785" y="3189"/>
                    </a:lnTo>
                    <a:lnTo>
                      <a:pt x="2790" y="3189"/>
                    </a:lnTo>
                    <a:lnTo>
                      <a:pt x="2785" y="3194"/>
                    </a:lnTo>
                    <a:lnTo>
                      <a:pt x="2785" y="3194"/>
                    </a:lnTo>
                    <a:lnTo>
                      <a:pt x="2785" y="3194"/>
                    </a:lnTo>
                    <a:close/>
                    <a:moveTo>
                      <a:pt x="2925" y="3210"/>
                    </a:moveTo>
                    <a:lnTo>
                      <a:pt x="2929" y="3206"/>
                    </a:lnTo>
                    <a:lnTo>
                      <a:pt x="2936" y="3206"/>
                    </a:lnTo>
                    <a:lnTo>
                      <a:pt x="2925" y="3210"/>
                    </a:lnTo>
                    <a:lnTo>
                      <a:pt x="2925" y="3210"/>
                    </a:lnTo>
                    <a:lnTo>
                      <a:pt x="2925" y="3210"/>
                    </a:lnTo>
                    <a:close/>
                    <a:moveTo>
                      <a:pt x="2953" y="3234"/>
                    </a:moveTo>
                    <a:lnTo>
                      <a:pt x="2936" y="3227"/>
                    </a:lnTo>
                    <a:lnTo>
                      <a:pt x="2936" y="3217"/>
                    </a:lnTo>
                    <a:lnTo>
                      <a:pt x="2953" y="3210"/>
                    </a:lnTo>
                    <a:lnTo>
                      <a:pt x="2962" y="3227"/>
                    </a:lnTo>
                    <a:lnTo>
                      <a:pt x="2953" y="3234"/>
                    </a:lnTo>
                    <a:lnTo>
                      <a:pt x="2953" y="3234"/>
                    </a:lnTo>
                    <a:lnTo>
                      <a:pt x="2953" y="3234"/>
                    </a:lnTo>
                    <a:close/>
                    <a:moveTo>
                      <a:pt x="2967" y="3243"/>
                    </a:moveTo>
                    <a:lnTo>
                      <a:pt x="2962" y="3243"/>
                    </a:lnTo>
                    <a:lnTo>
                      <a:pt x="2967" y="3234"/>
                    </a:lnTo>
                    <a:lnTo>
                      <a:pt x="2967" y="3243"/>
                    </a:lnTo>
                    <a:lnTo>
                      <a:pt x="2967" y="3243"/>
                    </a:lnTo>
                    <a:lnTo>
                      <a:pt x="2967" y="3243"/>
                    </a:lnTo>
                    <a:close/>
                    <a:moveTo>
                      <a:pt x="2929" y="3243"/>
                    </a:moveTo>
                    <a:lnTo>
                      <a:pt x="2915" y="3234"/>
                    </a:lnTo>
                    <a:lnTo>
                      <a:pt x="2936" y="3234"/>
                    </a:lnTo>
                    <a:lnTo>
                      <a:pt x="2929" y="3243"/>
                    </a:lnTo>
                    <a:lnTo>
                      <a:pt x="2929" y="3243"/>
                    </a:lnTo>
                    <a:lnTo>
                      <a:pt x="2929" y="3243"/>
                    </a:lnTo>
                    <a:close/>
                    <a:moveTo>
                      <a:pt x="2962" y="3243"/>
                    </a:moveTo>
                    <a:lnTo>
                      <a:pt x="2946" y="3234"/>
                    </a:lnTo>
                    <a:lnTo>
                      <a:pt x="2962" y="3234"/>
                    </a:lnTo>
                    <a:lnTo>
                      <a:pt x="2962" y="3243"/>
                    </a:lnTo>
                    <a:lnTo>
                      <a:pt x="2962" y="3243"/>
                    </a:lnTo>
                    <a:lnTo>
                      <a:pt x="2962" y="324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3" name="Freeform 418">
                <a:extLst>
                  <a:ext uri="{FF2B5EF4-FFF2-40B4-BE49-F238E27FC236}">
                    <a16:creationId xmlns:a16="http://schemas.microsoft.com/office/drawing/2014/main" id="{BB799F93-A053-4B2A-9731-3EBA633A5408}"/>
                  </a:ext>
                </a:extLst>
              </p:cNvPr>
              <p:cNvSpPr>
                <a:spLocks noEditPoints="1"/>
              </p:cNvSpPr>
              <p:nvPr/>
            </p:nvSpPr>
            <p:spPr bwMode="gray">
              <a:xfrm>
                <a:off x="4441054" y="3696164"/>
                <a:ext cx="352801" cy="494883"/>
              </a:xfrm>
              <a:custGeom>
                <a:avLst/>
                <a:gdLst>
                  <a:gd name="T0" fmla="*/ 92 w 857"/>
                  <a:gd name="T1" fmla="*/ 337 h 1202"/>
                  <a:gd name="T2" fmla="*/ 134 w 857"/>
                  <a:gd name="T3" fmla="*/ 321 h 1202"/>
                  <a:gd name="T4" fmla="*/ 146 w 857"/>
                  <a:gd name="T5" fmla="*/ 304 h 1202"/>
                  <a:gd name="T6" fmla="*/ 163 w 857"/>
                  <a:gd name="T7" fmla="*/ 288 h 1202"/>
                  <a:gd name="T8" fmla="*/ 243 w 857"/>
                  <a:gd name="T9" fmla="*/ 212 h 1202"/>
                  <a:gd name="T10" fmla="*/ 269 w 857"/>
                  <a:gd name="T11" fmla="*/ 122 h 1202"/>
                  <a:gd name="T12" fmla="*/ 323 w 857"/>
                  <a:gd name="T13" fmla="*/ 101 h 1202"/>
                  <a:gd name="T14" fmla="*/ 335 w 857"/>
                  <a:gd name="T15" fmla="*/ 122 h 1202"/>
                  <a:gd name="T16" fmla="*/ 479 w 857"/>
                  <a:gd name="T17" fmla="*/ 40 h 1202"/>
                  <a:gd name="T18" fmla="*/ 496 w 857"/>
                  <a:gd name="T19" fmla="*/ 11 h 1202"/>
                  <a:gd name="T20" fmla="*/ 517 w 857"/>
                  <a:gd name="T21" fmla="*/ 0 h 1202"/>
                  <a:gd name="T22" fmla="*/ 503 w 857"/>
                  <a:gd name="T23" fmla="*/ 56 h 1202"/>
                  <a:gd name="T24" fmla="*/ 427 w 857"/>
                  <a:gd name="T25" fmla="*/ 193 h 1202"/>
                  <a:gd name="T26" fmla="*/ 441 w 857"/>
                  <a:gd name="T27" fmla="*/ 245 h 1202"/>
                  <a:gd name="T28" fmla="*/ 465 w 857"/>
                  <a:gd name="T29" fmla="*/ 321 h 1202"/>
                  <a:gd name="T30" fmla="*/ 524 w 857"/>
                  <a:gd name="T31" fmla="*/ 389 h 1202"/>
                  <a:gd name="T32" fmla="*/ 630 w 857"/>
                  <a:gd name="T33" fmla="*/ 394 h 1202"/>
                  <a:gd name="T34" fmla="*/ 701 w 857"/>
                  <a:gd name="T35" fmla="*/ 448 h 1202"/>
                  <a:gd name="T36" fmla="*/ 819 w 857"/>
                  <a:gd name="T37" fmla="*/ 448 h 1202"/>
                  <a:gd name="T38" fmla="*/ 789 w 857"/>
                  <a:gd name="T39" fmla="*/ 510 h 1202"/>
                  <a:gd name="T40" fmla="*/ 827 w 857"/>
                  <a:gd name="T41" fmla="*/ 654 h 1202"/>
                  <a:gd name="T42" fmla="*/ 836 w 857"/>
                  <a:gd name="T43" fmla="*/ 732 h 1202"/>
                  <a:gd name="T44" fmla="*/ 827 w 857"/>
                  <a:gd name="T45" fmla="*/ 744 h 1202"/>
                  <a:gd name="T46" fmla="*/ 756 w 857"/>
                  <a:gd name="T47" fmla="*/ 765 h 1202"/>
                  <a:gd name="T48" fmla="*/ 647 w 857"/>
                  <a:gd name="T49" fmla="*/ 819 h 1202"/>
                  <a:gd name="T50" fmla="*/ 685 w 857"/>
                  <a:gd name="T51" fmla="*/ 852 h 1202"/>
                  <a:gd name="T52" fmla="*/ 664 w 857"/>
                  <a:gd name="T53" fmla="*/ 930 h 1202"/>
                  <a:gd name="T54" fmla="*/ 642 w 857"/>
                  <a:gd name="T55" fmla="*/ 1202 h 1202"/>
                  <a:gd name="T56" fmla="*/ 630 w 857"/>
                  <a:gd name="T57" fmla="*/ 1098 h 1202"/>
                  <a:gd name="T58" fmla="*/ 541 w 857"/>
                  <a:gd name="T59" fmla="*/ 1070 h 1202"/>
                  <a:gd name="T60" fmla="*/ 479 w 857"/>
                  <a:gd name="T61" fmla="*/ 1074 h 1202"/>
                  <a:gd name="T62" fmla="*/ 415 w 857"/>
                  <a:gd name="T63" fmla="*/ 1070 h 1202"/>
                  <a:gd name="T64" fmla="*/ 411 w 857"/>
                  <a:gd name="T65" fmla="*/ 1037 h 1202"/>
                  <a:gd name="T66" fmla="*/ 340 w 857"/>
                  <a:gd name="T67" fmla="*/ 970 h 1202"/>
                  <a:gd name="T68" fmla="*/ 297 w 857"/>
                  <a:gd name="T69" fmla="*/ 914 h 1202"/>
                  <a:gd name="T70" fmla="*/ 215 w 857"/>
                  <a:gd name="T71" fmla="*/ 876 h 1202"/>
                  <a:gd name="T72" fmla="*/ 177 w 857"/>
                  <a:gd name="T73" fmla="*/ 888 h 1202"/>
                  <a:gd name="T74" fmla="*/ 101 w 857"/>
                  <a:gd name="T75" fmla="*/ 836 h 1202"/>
                  <a:gd name="T76" fmla="*/ 16 w 857"/>
                  <a:gd name="T77" fmla="*/ 786 h 1202"/>
                  <a:gd name="T78" fmla="*/ 38 w 857"/>
                  <a:gd name="T79" fmla="*/ 760 h 1202"/>
                  <a:gd name="T80" fmla="*/ 54 w 857"/>
                  <a:gd name="T81" fmla="*/ 720 h 1202"/>
                  <a:gd name="T82" fmla="*/ 87 w 857"/>
                  <a:gd name="T83" fmla="*/ 708 h 1202"/>
                  <a:gd name="T84" fmla="*/ 118 w 857"/>
                  <a:gd name="T85" fmla="*/ 654 h 1202"/>
                  <a:gd name="T86" fmla="*/ 125 w 857"/>
                  <a:gd name="T87" fmla="*/ 616 h 1202"/>
                  <a:gd name="T88" fmla="*/ 118 w 857"/>
                  <a:gd name="T89" fmla="*/ 609 h 1202"/>
                  <a:gd name="T90" fmla="*/ 125 w 857"/>
                  <a:gd name="T91" fmla="*/ 567 h 1202"/>
                  <a:gd name="T92" fmla="*/ 134 w 857"/>
                  <a:gd name="T93" fmla="*/ 482 h 1202"/>
                  <a:gd name="T94" fmla="*/ 125 w 857"/>
                  <a:gd name="T95" fmla="*/ 427 h 1202"/>
                  <a:gd name="T96" fmla="*/ 118 w 857"/>
                  <a:gd name="T97" fmla="*/ 583 h 1202"/>
                  <a:gd name="T98" fmla="*/ 118 w 857"/>
                  <a:gd name="T99" fmla="*/ 583 h 1202"/>
                  <a:gd name="T100" fmla="*/ 118 w 857"/>
                  <a:gd name="T101" fmla="*/ 609 h 1202"/>
                  <a:gd name="T102" fmla="*/ 118 w 857"/>
                  <a:gd name="T103" fmla="*/ 666 h 1202"/>
                  <a:gd name="T104" fmla="*/ 118 w 857"/>
                  <a:gd name="T105" fmla="*/ 666 h 1202"/>
                  <a:gd name="T106" fmla="*/ 108 w 857"/>
                  <a:gd name="T107" fmla="*/ 675 h 1202"/>
                  <a:gd name="T108" fmla="*/ 108 w 857"/>
                  <a:gd name="T109" fmla="*/ 671 h 1202"/>
                  <a:gd name="T110" fmla="*/ 87 w 857"/>
                  <a:gd name="T111" fmla="*/ 708 h 1202"/>
                  <a:gd name="T112" fmla="*/ 71 w 857"/>
                  <a:gd name="T113" fmla="*/ 708 h 1202"/>
                  <a:gd name="T114" fmla="*/ 80 w 857"/>
                  <a:gd name="T115" fmla="*/ 720 h 1202"/>
                  <a:gd name="T116" fmla="*/ 71 w 857"/>
                  <a:gd name="T117" fmla="*/ 720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7" h="1202">
                    <a:moveTo>
                      <a:pt x="87" y="378"/>
                    </a:moveTo>
                    <a:lnTo>
                      <a:pt x="92" y="361"/>
                    </a:lnTo>
                    <a:lnTo>
                      <a:pt x="92" y="354"/>
                    </a:lnTo>
                    <a:lnTo>
                      <a:pt x="92" y="337"/>
                    </a:lnTo>
                    <a:lnTo>
                      <a:pt x="108" y="354"/>
                    </a:lnTo>
                    <a:lnTo>
                      <a:pt x="125" y="345"/>
                    </a:lnTo>
                    <a:lnTo>
                      <a:pt x="125" y="337"/>
                    </a:lnTo>
                    <a:lnTo>
                      <a:pt x="134" y="321"/>
                    </a:lnTo>
                    <a:lnTo>
                      <a:pt x="134" y="316"/>
                    </a:lnTo>
                    <a:lnTo>
                      <a:pt x="118" y="283"/>
                    </a:lnTo>
                    <a:lnTo>
                      <a:pt x="125" y="278"/>
                    </a:lnTo>
                    <a:lnTo>
                      <a:pt x="146" y="304"/>
                    </a:lnTo>
                    <a:lnTo>
                      <a:pt x="156" y="316"/>
                    </a:lnTo>
                    <a:lnTo>
                      <a:pt x="156" y="321"/>
                    </a:lnTo>
                    <a:lnTo>
                      <a:pt x="163" y="333"/>
                    </a:lnTo>
                    <a:lnTo>
                      <a:pt x="163" y="288"/>
                    </a:lnTo>
                    <a:lnTo>
                      <a:pt x="156" y="283"/>
                    </a:lnTo>
                    <a:lnTo>
                      <a:pt x="193" y="250"/>
                    </a:lnTo>
                    <a:lnTo>
                      <a:pt x="210" y="229"/>
                    </a:lnTo>
                    <a:lnTo>
                      <a:pt x="243" y="212"/>
                    </a:lnTo>
                    <a:lnTo>
                      <a:pt x="248" y="205"/>
                    </a:lnTo>
                    <a:lnTo>
                      <a:pt x="243" y="193"/>
                    </a:lnTo>
                    <a:lnTo>
                      <a:pt x="252" y="134"/>
                    </a:lnTo>
                    <a:lnTo>
                      <a:pt x="269" y="122"/>
                    </a:lnTo>
                    <a:lnTo>
                      <a:pt x="269" y="118"/>
                    </a:lnTo>
                    <a:lnTo>
                      <a:pt x="286" y="111"/>
                    </a:lnTo>
                    <a:lnTo>
                      <a:pt x="297" y="94"/>
                    </a:lnTo>
                    <a:lnTo>
                      <a:pt x="323" y="101"/>
                    </a:lnTo>
                    <a:lnTo>
                      <a:pt x="340" y="101"/>
                    </a:lnTo>
                    <a:lnTo>
                      <a:pt x="319" y="111"/>
                    </a:lnTo>
                    <a:lnTo>
                      <a:pt x="319" y="118"/>
                    </a:lnTo>
                    <a:lnTo>
                      <a:pt x="335" y="122"/>
                    </a:lnTo>
                    <a:lnTo>
                      <a:pt x="352" y="78"/>
                    </a:lnTo>
                    <a:lnTo>
                      <a:pt x="411" y="85"/>
                    </a:lnTo>
                    <a:lnTo>
                      <a:pt x="449" y="56"/>
                    </a:lnTo>
                    <a:lnTo>
                      <a:pt x="479" y="40"/>
                    </a:lnTo>
                    <a:lnTo>
                      <a:pt x="486" y="23"/>
                    </a:lnTo>
                    <a:lnTo>
                      <a:pt x="486" y="11"/>
                    </a:lnTo>
                    <a:lnTo>
                      <a:pt x="503" y="11"/>
                    </a:lnTo>
                    <a:lnTo>
                      <a:pt x="496" y="11"/>
                    </a:lnTo>
                    <a:lnTo>
                      <a:pt x="503" y="23"/>
                    </a:lnTo>
                    <a:lnTo>
                      <a:pt x="524" y="0"/>
                    </a:lnTo>
                    <a:lnTo>
                      <a:pt x="517" y="0"/>
                    </a:lnTo>
                    <a:lnTo>
                      <a:pt x="517" y="0"/>
                    </a:lnTo>
                    <a:lnTo>
                      <a:pt x="555" y="7"/>
                    </a:lnTo>
                    <a:lnTo>
                      <a:pt x="555" y="28"/>
                    </a:lnTo>
                    <a:lnTo>
                      <a:pt x="550" y="40"/>
                    </a:lnTo>
                    <a:lnTo>
                      <a:pt x="503" y="56"/>
                    </a:lnTo>
                    <a:lnTo>
                      <a:pt x="486" y="85"/>
                    </a:lnTo>
                    <a:lnTo>
                      <a:pt x="465" y="94"/>
                    </a:lnTo>
                    <a:lnTo>
                      <a:pt x="432" y="139"/>
                    </a:lnTo>
                    <a:lnTo>
                      <a:pt x="427" y="193"/>
                    </a:lnTo>
                    <a:lnTo>
                      <a:pt x="404" y="234"/>
                    </a:lnTo>
                    <a:lnTo>
                      <a:pt x="427" y="229"/>
                    </a:lnTo>
                    <a:lnTo>
                      <a:pt x="432" y="234"/>
                    </a:lnTo>
                    <a:lnTo>
                      <a:pt x="441" y="245"/>
                    </a:lnTo>
                    <a:lnTo>
                      <a:pt x="449" y="278"/>
                    </a:lnTo>
                    <a:lnTo>
                      <a:pt x="470" y="288"/>
                    </a:lnTo>
                    <a:lnTo>
                      <a:pt x="470" y="316"/>
                    </a:lnTo>
                    <a:lnTo>
                      <a:pt x="465" y="321"/>
                    </a:lnTo>
                    <a:lnTo>
                      <a:pt x="465" y="354"/>
                    </a:lnTo>
                    <a:lnTo>
                      <a:pt x="486" y="373"/>
                    </a:lnTo>
                    <a:lnTo>
                      <a:pt x="496" y="394"/>
                    </a:lnTo>
                    <a:lnTo>
                      <a:pt x="524" y="389"/>
                    </a:lnTo>
                    <a:lnTo>
                      <a:pt x="555" y="394"/>
                    </a:lnTo>
                    <a:lnTo>
                      <a:pt x="588" y="389"/>
                    </a:lnTo>
                    <a:lnTo>
                      <a:pt x="621" y="394"/>
                    </a:lnTo>
                    <a:lnTo>
                      <a:pt x="630" y="394"/>
                    </a:lnTo>
                    <a:lnTo>
                      <a:pt x="680" y="456"/>
                    </a:lnTo>
                    <a:lnTo>
                      <a:pt x="685" y="456"/>
                    </a:lnTo>
                    <a:lnTo>
                      <a:pt x="697" y="456"/>
                    </a:lnTo>
                    <a:lnTo>
                      <a:pt x="701" y="448"/>
                    </a:lnTo>
                    <a:lnTo>
                      <a:pt x="734" y="456"/>
                    </a:lnTo>
                    <a:lnTo>
                      <a:pt x="782" y="448"/>
                    </a:lnTo>
                    <a:lnTo>
                      <a:pt x="789" y="444"/>
                    </a:lnTo>
                    <a:lnTo>
                      <a:pt x="819" y="448"/>
                    </a:lnTo>
                    <a:lnTo>
                      <a:pt x="819" y="465"/>
                    </a:lnTo>
                    <a:lnTo>
                      <a:pt x="805" y="482"/>
                    </a:lnTo>
                    <a:lnTo>
                      <a:pt x="805" y="498"/>
                    </a:lnTo>
                    <a:lnTo>
                      <a:pt x="789" y="510"/>
                    </a:lnTo>
                    <a:lnTo>
                      <a:pt x="789" y="567"/>
                    </a:lnTo>
                    <a:lnTo>
                      <a:pt x="805" y="621"/>
                    </a:lnTo>
                    <a:lnTo>
                      <a:pt x="810" y="633"/>
                    </a:lnTo>
                    <a:lnTo>
                      <a:pt x="827" y="654"/>
                    </a:lnTo>
                    <a:lnTo>
                      <a:pt x="789" y="692"/>
                    </a:lnTo>
                    <a:lnTo>
                      <a:pt x="805" y="692"/>
                    </a:lnTo>
                    <a:lnTo>
                      <a:pt x="836" y="727"/>
                    </a:lnTo>
                    <a:lnTo>
                      <a:pt x="836" y="732"/>
                    </a:lnTo>
                    <a:lnTo>
                      <a:pt x="857" y="815"/>
                    </a:lnTo>
                    <a:lnTo>
                      <a:pt x="843" y="815"/>
                    </a:lnTo>
                    <a:lnTo>
                      <a:pt x="843" y="782"/>
                    </a:lnTo>
                    <a:lnTo>
                      <a:pt x="827" y="744"/>
                    </a:lnTo>
                    <a:lnTo>
                      <a:pt x="819" y="744"/>
                    </a:lnTo>
                    <a:lnTo>
                      <a:pt x="789" y="777"/>
                    </a:lnTo>
                    <a:lnTo>
                      <a:pt x="767" y="760"/>
                    </a:lnTo>
                    <a:lnTo>
                      <a:pt x="756" y="765"/>
                    </a:lnTo>
                    <a:lnTo>
                      <a:pt x="767" y="777"/>
                    </a:lnTo>
                    <a:lnTo>
                      <a:pt x="675" y="765"/>
                    </a:lnTo>
                    <a:lnTo>
                      <a:pt x="647" y="777"/>
                    </a:lnTo>
                    <a:lnTo>
                      <a:pt x="647" y="819"/>
                    </a:lnTo>
                    <a:lnTo>
                      <a:pt x="685" y="819"/>
                    </a:lnTo>
                    <a:lnTo>
                      <a:pt x="697" y="836"/>
                    </a:lnTo>
                    <a:lnTo>
                      <a:pt x="701" y="852"/>
                    </a:lnTo>
                    <a:lnTo>
                      <a:pt x="685" y="852"/>
                    </a:lnTo>
                    <a:lnTo>
                      <a:pt x="680" y="848"/>
                    </a:lnTo>
                    <a:lnTo>
                      <a:pt x="630" y="852"/>
                    </a:lnTo>
                    <a:lnTo>
                      <a:pt x="630" y="909"/>
                    </a:lnTo>
                    <a:lnTo>
                      <a:pt x="664" y="930"/>
                    </a:lnTo>
                    <a:lnTo>
                      <a:pt x="664" y="947"/>
                    </a:lnTo>
                    <a:lnTo>
                      <a:pt x="680" y="970"/>
                    </a:lnTo>
                    <a:lnTo>
                      <a:pt x="680" y="996"/>
                    </a:lnTo>
                    <a:lnTo>
                      <a:pt x="642" y="1202"/>
                    </a:lnTo>
                    <a:lnTo>
                      <a:pt x="621" y="1169"/>
                    </a:lnTo>
                    <a:lnTo>
                      <a:pt x="604" y="1181"/>
                    </a:lnTo>
                    <a:lnTo>
                      <a:pt x="588" y="1169"/>
                    </a:lnTo>
                    <a:lnTo>
                      <a:pt x="630" y="1098"/>
                    </a:lnTo>
                    <a:lnTo>
                      <a:pt x="621" y="1074"/>
                    </a:lnTo>
                    <a:lnTo>
                      <a:pt x="593" y="1074"/>
                    </a:lnTo>
                    <a:lnTo>
                      <a:pt x="578" y="1058"/>
                    </a:lnTo>
                    <a:lnTo>
                      <a:pt x="541" y="1070"/>
                    </a:lnTo>
                    <a:lnTo>
                      <a:pt x="517" y="1058"/>
                    </a:lnTo>
                    <a:lnTo>
                      <a:pt x="517" y="1053"/>
                    </a:lnTo>
                    <a:lnTo>
                      <a:pt x="503" y="1070"/>
                    </a:lnTo>
                    <a:lnTo>
                      <a:pt x="479" y="1074"/>
                    </a:lnTo>
                    <a:lnTo>
                      <a:pt x="458" y="1070"/>
                    </a:lnTo>
                    <a:lnTo>
                      <a:pt x="432" y="1074"/>
                    </a:lnTo>
                    <a:lnTo>
                      <a:pt x="432" y="1070"/>
                    </a:lnTo>
                    <a:lnTo>
                      <a:pt x="415" y="1070"/>
                    </a:lnTo>
                    <a:lnTo>
                      <a:pt x="427" y="1053"/>
                    </a:lnTo>
                    <a:lnTo>
                      <a:pt x="415" y="1025"/>
                    </a:lnTo>
                    <a:lnTo>
                      <a:pt x="415" y="1025"/>
                    </a:lnTo>
                    <a:lnTo>
                      <a:pt x="411" y="1037"/>
                    </a:lnTo>
                    <a:lnTo>
                      <a:pt x="394" y="1020"/>
                    </a:lnTo>
                    <a:lnTo>
                      <a:pt x="394" y="1013"/>
                    </a:lnTo>
                    <a:lnTo>
                      <a:pt x="389" y="996"/>
                    </a:lnTo>
                    <a:lnTo>
                      <a:pt x="340" y="970"/>
                    </a:lnTo>
                    <a:lnTo>
                      <a:pt x="335" y="942"/>
                    </a:lnTo>
                    <a:lnTo>
                      <a:pt x="307" y="926"/>
                    </a:lnTo>
                    <a:lnTo>
                      <a:pt x="302" y="909"/>
                    </a:lnTo>
                    <a:lnTo>
                      <a:pt x="297" y="914"/>
                    </a:lnTo>
                    <a:lnTo>
                      <a:pt x="269" y="904"/>
                    </a:lnTo>
                    <a:lnTo>
                      <a:pt x="269" y="909"/>
                    </a:lnTo>
                    <a:lnTo>
                      <a:pt x="231" y="893"/>
                    </a:lnTo>
                    <a:lnTo>
                      <a:pt x="215" y="876"/>
                    </a:lnTo>
                    <a:lnTo>
                      <a:pt x="201" y="869"/>
                    </a:lnTo>
                    <a:lnTo>
                      <a:pt x="189" y="869"/>
                    </a:lnTo>
                    <a:lnTo>
                      <a:pt x="189" y="876"/>
                    </a:lnTo>
                    <a:lnTo>
                      <a:pt x="177" y="888"/>
                    </a:lnTo>
                    <a:lnTo>
                      <a:pt x="125" y="869"/>
                    </a:lnTo>
                    <a:lnTo>
                      <a:pt x="118" y="852"/>
                    </a:lnTo>
                    <a:lnTo>
                      <a:pt x="101" y="848"/>
                    </a:lnTo>
                    <a:lnTo>
                      <a:pt x="101" y="836"/>
                    </a:lnTo>
                    <a:lnTo>
                      <a:pt x="87" y="836"/>
                    </a:lnTo>
                    <a:lnTo>
                      <a:pt x="71" y="831"/>
                    </a:lnTo>
                    <a:lnTo>
                      <a:pt x="26" y="798"/>
                    </a:lnTo>
                    <a:lnTo>
                      <a:pt x="16" y="786"/>
                    </a:lnTo>
                    <a:lnTo>
                      <a:pt x="0" y="782"/>
                    </a:lnTo>
                    <a:lnTo>
                      <a:pt x="16" y="765"/>
                    </a:lnTo>
                    <a:lnTo>
                      <a:pt x="38" y="777"/>
                    </a:lnTo>
                    <a:lnTo>
                      <a:pt x="38" y="760"/>
                    </a:lnTo>
                    <a:lnTo>
                      <a:pt x="33" y="744"/>
                    </a:lnTo>
                    <a:lnTo>
                      <a:pt x="38" y="727"/>
                    </a:lnTo>
                    <a:lnTo>
                      <a:pt x="49" y="720"/>
                    </a:lnTo>
                    <a:lnTo>
                      <a:pt x="54" y="720"/>
                    </a:lnTo>
                    <a:lnTo>
                      <a:pt x="64" y="720"/>
                    </a:lnTo>
                    <a:lnTo>
                      <a:pt x="80" y="720"/>
                    </a:lnTo>
                    <a:lnTo>
                      <a:pt x="80" y="704"/>
                    </a:lnTo>
                    <a:lnTo>
                      <a:pt x="87" y="708"/>
                    </a:lnTo>
                    <a:lnTo>
                      <a:pt x="92" y="708"/>
                    </a:lnTo>
                    <a:lnTo>
                      <a:pt x="92" y="704"/>
                    </a:lnTo>
                    <a:lnTo>
                      <a:pt x="118" y="666"/>
                    </a:lnTo>
                    <a:lnTo>
                      <a:pt x="118" y="654"/>
                    </a:lnTo>
                    <a:lnTo>
                      <a:pt x="139" y="633"/>
                    </a:lnTo>
                    <a:lnTo>
                      <a:pt x="146" y="616"/>
                    </a:lnTo>
                    <a:lnTo>
                      <a:pt x="134" y="621"/>
                    </a:lnTo>
                    <a:lnTo>
                      <a:pt x="125" y="616"/>
                    </a:lnTo>
                    <a:lnTo>
                      <a:pt x="134" y="609"/>
                    </a:lnTo>
                    <a:lnTo>
                      <a:pt x="134" y="600"/>
                    </a:lnTo>
                    <a:lnTo>
                      <a:pt x="125" y="616"/>
                    </a:lnTo>
                    <a:lnTo>
                      <a:pt x="118" y="609"/>
                    </a:lnTo>
                    <a:lnTo>
                      <a:pt x="118" y="600"/>
                    </a:lnTo>
                    <a:lnTo>
                      <a:pt x="134" y="593"/>
                    </a:lnTo>
                    <a:lnTo>
                      <a:pt x="118" y="583"/>
                    </a:lnTo>
                    <a:lnTo>
                      <a:pt x="125" y="567"/>
                    </a:lnTo>
                    <a:lnTo>
                      <a:pt x="125" y="522"/>
                    </a:lnTo>
                    <a:lnTo>
                      <a:pt x="118" y="505"/>
                    </a:lnTo>
                    <a:lnTo>
                      <a:pt x="108" y="498"/>
                    </a:lnTo>
                    <a:lnTo>
                      <a:pt x="134" y="482"/>
                    </a:lnTo>
                    <a:lnTo>
                      <a:pt x="118" y="448"/>
                    </a:lnTo>
                    <a:lnTo>
                      <a:pt x="118" y="444"/>
                    </a:lnTo>
                    <a:lnTo>
                      <a:pt x="118" y="448"/>
                    </a:lnTo>
                    <a:lnTo>
                      <a:pt x="125" y="427"/>
                    </a:lnTo>
                    <a:lnTo>
                      <a:pt x="87" y="378"/>
                    </a:lnTo>
                    <a:lnTo>
                      <a:pt x="87" y="378"/>
                    </a:lnTo>
                    <a:lnTo>
                      <a:pt x="87" y="378"/>
                    </a:lnTo>
                    <a:close/>
                    <a:moveTo>
                      <a:pt x="118" y="583"/>
                    </a:moveTo>
                    <a:lnTo>
                      <a:pt x="125" y="593"/>
                    </a:lnTo>
                    <a:lnTo>
                      <a:pt x="108" y="593"/>
                    </a:lnTo>
                    <a:lnTo>
                      <a:pt x="118" y="583"/>
                    </a:lnTo>
                    <a:lnTo>
                      <a:pt x="118" y="583"/>
                    </a:lnTo>
                    <a:lnTo>
                      <a:pt x="118" y="583"/>
                    </a:lnTo>
                    <a:close/>
                    <a:moveTo>
                      <a:pt x="108" y="600"/>
                    </a:moveTo>
                    <a:lnTo>
                      <a:pt x="118" y="600"/>
                    </a:lnTo>
                    <a:lnTo>
                      <a:pt x="118" y="609"/>
                    </a:lnTo>
                    <a:lnTo>
                      <a:pt x="108" y="600"/>
                    </a:lnTo>
                    <a:lnTo>
                      <a:pt x="108" y="600"/>
                    </a:lnTo>
                    <a:lnTo>
                      <a:pt x="108" y="600"/>
                    </a:lnTo>
                    <a:close/>
                    <a:moveTo>
                      <a:pt x="118" y="666"/>
                    </a:moveTo>
                    <a:lnTo>
                      <a:pt x="108" y="666"/>
                    </a:lnTo>
                    <a:lnTo>
                      <a:pt x="118" y="666"/>
                    </a:lnTo>
                    <a:lnTo>
                      <a:pt x="118" y="666"/>
                    </a:lnTo>
                    <a:lnTo>
                      <a:pt x="118" y="666"/>
                    </a:lnTo>
                    <a:lnTo>
                      <a:pt x="118" y="666"/>
                    </a:lnTo>
                    <a:close/>
                    <a:moveTo>
                      <a:pt x="108" y="671"/>
                    </a:moveTo>
                    <a:lnTo>
                      <a:pt x="108" y="666"/>
                    </a:lnTo>
                    <a:lnTo>
                      <a:pt x="108" y="675"/>
                    </a:lnTo>
                    <a:lnTo>
                      <a:pt x="101" y="675"/>
                    </a:lnTo>
                    <a:lnTo>
                      <a:pt x="108" y="671"/>
                    </a:lnTo>
                    <a:lnTo>
                      <a:pt x="108" y="671"/>
                    </a:lnTo>
                    <a:lnTo>
                      <a:pt x="108" y="671"/>
                    </a:lnTo>
                    <a:close/>
                    <a:moveTo>
                      <a:pt x="87" y="708"/>
                    </a:moveTo>
                    <a:lnTo>
                      <a:pt x="87" y="704"/>
                    </a:lnTo>
                    <a:lnTo>
                      <a:pt x="92" y="708"/>
                    </a:lnTo>
                    <a:lnTo>
                      <a:pt x="87" y="708"/>
                    </a:lnTo>
                    <a:lnTo>
                      <a:pt x="87" y="708"/>
                    </a:lnTo>
                    <a:lnTo>
                      <a:pt x="87" y="708"/>
                    </a:lnTo>
                    <a:close/>
                    <a:moveTo>
                      <a:pt x="80" y="720"/>
                    </a:moveTo>
                    <a:lnTo>
                      <a:pt x="71" y="708"/>
                    </a:lnTo>
                    <a:lnTo>
                      <a:pt x="80" y="704"/>
                    </a:lnTo>
                    <a:lnTo>
                      <a:pt x="80" y="720"/>
                    </a:lnTo>
                    <a:lnTo>
                      <a:pt x="80" y="720"/>
                    </a:lnTo>
                    <a:lnTo>
                      <a:pt x="80" y="720"/>
                    </a:lnTo>
                    <a:close/>
                    <a:moveTo>
                      <a:pt x="71" y="720"/>
                    </a:moveTo>
                    <a:lnTo>
                      <a:pt x="64" y="708"/>
                    </a:lnTo>
                    <a:lnTo>
                      <a:pt x="71" y="708"/>
                    </a:lnTo>
                    <a:lnTo>
                      <a:pt x="71" y="720"/>
                    </a:lnTo>
                    <a:lnTo>
                      <a:pt x="71" y="720"/>
                    </a:lnTo>
                    <a:lnTo>
                      <a:pt x="71" y="72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4" name="Freeform 420">
                <a:extLst>
                  <a:ext uri="{FF2B5EF4-FFF2-40B4-BE49-F238E27FC236}">
                    <a16:creationId xmlns:a16="http://schemas.microsoft.com/office/drawing/2014/main" id="{42FB0B9C-A7AA-4778-93E4-976C43068FB1}"/>
                  </a:ext>
                </a:extLst>
              </p:cNvPr>
              <p:cNvSpPr>
                <a:spLocks/>
              </p:cNvSpPr>
              <p:nvPr/>
            </p:nvSpPr>
            <p:spPr bwMode="gray">
              <a:xfrm>
                <a:off x="4246335" y="3729925"/>
                <a:ext cx="95508" cy="95519"/>
              </a:xfrm>
              <a:custGeom>
                <a:avLst/>
                <a:gdLst>
                  <a:gd name="T0" fmla="*/ 232 w 232"/>
                  <a:gd name="T1" fmla="*/ 121 h 232"/>
                  <a:gd name="T2" fmla="*/ 232 w 232"/>
                  <a:gd name="T3" fmla="*/ 128 h 232"/>
                  <a:gd name="T4" fmla="*/ 215 w 232"/>
                  <a:gd name="T5" fmla="*/ 121 h 232"/>
                  <a:gd name="T6" fmla="*/ 206 w 232"/>
                  <a:gd name="T7" fmla="*/ 128 h 232"/>
                  <a:gd name="T8" fmla="*/ 206 w 232"/>
                  <a:gd name="T9" fmla="*/ 161 h 232"/>
                  <a:gd name="T10" fmla="*/ 222 w 232"/>
                  <a:gd name="T11" fmla="*/ 166 h 232"/>
                  <a:gd name="T12" fmla="*/ 206 w 232"/>
                  <a:gd name="T13" fmla="*/ 182 h 232"/>
                  <a:gd name="T14" fmla="*/ 215 w 232"/>
                  <a:gd name="T15" fmla="*/ 199 h 232"/>
                  <a:gd name="T16" fmla="*/ 201 w 232"/>
                  <a:gd name="T17" fmla="*/ 215 h 232"/>
                  <a:gd name="T18" fmla="*/ 206 w 232"/>
                  <a:gd name="T19" fmla="*/ 215 h 232"/>
                  <a:gd name="T20" fmla="*/ 206 w 232"/>
                  <a:gd name="T21" fmla="*/ 232 h 232"/>
                  <a:gd name="T22" fmla="*/ 206 w 232"/>
                  <a:gd name="T23" fmla="*/ 220 h 232"/>
                  <a:gd name="T24" fmla="*/ 189 w 232"/>
                  <a:gd name="T25" fmla="*/ 203 h 232"/>
                  <a:gd name="T26" fmla="*/ 201 w 232"/>
                  <a:gd name="T27" fmla="*/ 203 h 232"/>
                  <a:gd name="T28" fmla="*/ 189 w 232"/>
                  <a:gd name="T29" fmla="*/ 194 h 232"/>
                  <a:gd name="T30" fmla="*/ 180 w 232"/>
                  <a:gd name="T31" fmla="*/ 182 h 232"/>
                  <a:gd name="T32" fmla="*/ 168 w 232"/>
                  <a:gd name="T33" fmla="*/ 182 h 232"/>
                  <a:gd name="T34" fmla="*/ 185 w 232"/>
                  <a:gd name="T35" fmla="*/ 199 h 232"/>
                  <a:gd name="T36" fmla="*/ 185 w 232"/>
                  <a:gd name="T37" fmla="*/ 203 h 232"/>
                  <a:gd name="T38" fmla="*/ 151 w 232"/>
                  <a:gd name="T39" fmla="*/ 194 h 232"/>
                  <a:gd name="T40" fmla="*/ 163 w 232"/>
                  <a:gd name="T41" fmla="*/ 177 h 232"/>
                  <a:gd name="T42" fmla="*/ 163 w 232"/>
                  <a:gd name="T43" fmla="*/ 161 h 232"/>
                  <a:gd name="T44" fmla="*/ 114 w 232"/>
                  <a:gd name="T45" fmla="*/ 128 h 232"/>
                  <a:gd name="T46" fmla="*/ 92 w 232"/>
                  <a:gd name="T47" fmla="*/ 121 h 232"/>
                  <a:gd name="T48" fmla="*/ 81 w 232"/>
                  <a:gd name="T49" fmla="*/ 95 h 232"/>
                  <a:gd name="T50" fmla="*/ 43 w 232"/>
                  <a:gd name="T51" fmla="*/ 83 h 232"/>
                  <a:gd name="T52" fmla="*/ 43 w 232"/>
                  <a:gd name="T53" fmla="*/ 88 h 232"/>
                  <a:gd name="T54" fmla="*/ 71 w 232"/>
                  <a:gd name="T55" fmla="*/ 104 h 232"/>
                  <a:gd name="T56" fmla="*/ 55 w 232"/>
                  <a:gd name="T57" fmla="*/ 121 h 232"/>
                  <a:gd name="T58" fmla="*/ 38 w 232"/>
                  <a:gd name="T59" fmla="*/ 104 h 232"/>
                  <a:gd name="T60" fmla="*/ 17 w 232"/>
                  <a:gd name="T61" fmla="*/ 95 h 232"/>
                  <a:gd name="T62" fmla="*/ 0 w 232"/>
                  <a:gd name="T63" fmla="*/ 66 h 232"/>
                  <a:gd name="T64" fmla="*/ 22 w 232"/>
                  <a:gd name="T65" fmla="*/ 50 h 232"/>
                  <a:gd name="T66" fmla="*/ 17 w 232"/>
                  <a:gd name="T67" fmla="*/ 33 h 232"/>
                  <a:gd name="T68" fmla="*/ 0 w 232"/>
                  <a:gd name="T69" fmla="*/ 29 h 232"/>
                  <a:gd name="T70" fmla="*/ 17 w 232"/>
                  <a:gd name="T71" fmla="*/ 29 h 232"/>
                  <a:gd name="T72" fmla="*/ 17 w 232"/>
                  <a:gd name="T73" fmla="*/ 17 h 232"/>
                  <a:gd name="T74" fmla="*/ 22 w 232"/>
                  <a:gd name="T75" fmla="*/ 0 h 232"/>
                  <a:gd name="T76" fmla="*/ 71 w 232"/>
                  <a:gd name="T77" fmla="*/ 29 h 232"/>
                  <a:gd name="T78" fmla="*/ 81 w 232"/>
                  <a:gd name="T79" fmla="*/ 17 h 232"/>
                  <a:gd name="T80" fmla="*/ 135 w 232"/>
                  <a:gd name="T81" fmla="*/ 38 h 232"/>
                  <a:gd name="T82" fmla="*/ 151 w 232"/>
                  <a:gd name="T83" fmla="*/ 33 h 232"/>
                  <a:gd name="T84" fmla="*/ 163 w 232"/>
                  <a:gd name="T85" fmla="*/ 29 h 232"/>
                  <a:gd name="T86" fmla="*/ 180 w 232"/>
                  <a:gd name="T87" fmla="*/ 71 h 232"/>
                  <a:gd name="T88" fmla="*/ 222 w 232"/>
                  <a:gd name="T89" fmla="*/ 121 h 232"/>
                  <a:gd name="T90" fmla="*/ 232 w 232"/>
                  <a:gd name="T91" fmla="*/ 121 h 232"/>
                  <a:gd name="T92" fmla="*/ 232 w 232"/>
                  <a:gd name="T93" fmla="*/ 121 h 232"/>
                  <a:gd name="T94" fmla="*/ 232 w 232"/>
                  <a:gd name="T95" fmla="*/ 12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2" h="232">
                    <a:moveTo>
                      <a:pt x="232" y="121"/>
                    </a:moveTo>
                    <a:lnTo>
                      <a:pt x="232" y="128"/>
                    </a:lnTo>
                    <a:lnTo>
                      <a:pt x="215" y="121"/>
                    </a:lnTo>
                    <a:lnTo>
                      <a:pt x="206" y="128"/>
                    </a:lnTo>
                    <a:lnTo>
                      <a:pt x="206" y="161"/>
                    </a:lnTo>
                    <a:lnTo>
                      <a:pt x="222" y="166"/>
                    </a:lnTo>
                    <a:lnTo>
                      <a:pt x="206" y="182"/>
                    </a:lnTo>
                    <a:lnTo>
                      <a:pt x="215" y="199"/>
                    </a:lnTo>
                    <a:lnTo>
                      <a:pt x="201" y="215"/>
                    </a:lnTo>
                    <a:lnTo>
                      <a:pt x="206" y="215"/>
                    </a:lnTo>
                    <a:lnTo>
                      <a:pt x="206" y="232"/>
                    </a:lnTo>
                    <a:lnTo>
                      <a:pt x="206" y="220"/>
                    </a:lnTo>
                    <a:lnTo>
                      <a:pt x="189" y="203"/>
                    </a:lnTo>
                    <a:lnTo>
                      <a:pt x="201" y="203"/>
                    </a:lnTo>
                    <a:lnTo>
                      <a:pt x="189" y="194"/>
                    </a:lnTo>
                    <a:lnTo>
                      <a:pt x="180" y="182"/>
                    </a:lnTo>
                    <a:lnTo>
                      <a:pt x="168" y="182"/>
                    </a:lnTo>
                    <a:lnTo>
                      <a:pt x="185" y="199"/>
                    </a:lnTo>
                    <a:lnTo>
                      <a:pt x="185" y="203"/>
                    </a:lnTo>
                    <a:lnTo>
                      <a:pt x="151" y="194"/>
                    </a:lnTo>
                    <a:lnTo>
                      <a:pt x="163" y="177"/>
                    </a:lnTo>
                    <a:lnTo>
                      <a:pt x="163" y="161"/>
                    </a:lnTo>
                    <a:lnTo>
                      <a:pt x="114" y="128"/>
                    </a:lnTo>
                    <a:lnTo>
                      <a:pt x="92" y="121"/>
                    </a:lnTo>
                    <a:lnTo>
                      <a:pt x="81" y="95"/>
                    </a:lnTo>
                    <a:lnTo>
                      <a:pt x="43" y="83"/>
                    </a:lnTo>
                    <a:lnTo>
                      <a:pt x="43" y="88"/>
                    </a:lnTo>
                    <a:lnTo>
                      <a:pt x="71" y="104"/>
                    </a:lnTo>
                    <a:lnTo>
                      <a:pt x="55" y="121"/>
                    </a:lnTo>
                    <a:lnTo>
                      <a:pt x="38" y="104"/>
                    </a:lnTo>
                    <a:lnTo>
                      <a:pt x="17" y="95"/>
                    </a:lnTo>
                    <a:lnTo>
                      <a:pt x="0" y="66"/>
                    </a:lnTo>
                    <a:lnTo>
                      <a:pt x="22" y="50"/>
                    </a:lnTo>
                    <a:lnTo>
                      <a:pt x="17" y="33"/>
                    </a:lnTo>
                    <a:lnTo>
                      <a:pt x="0" y="29"/>
                    </a:lnTo>
                    <a:lnTo>
                      <a:pt x="17" y="29"/>
                    </a:lnTo>
                    <a:lnTo>
                      <a:pt x="17" y="17"/>
                    </a:lnTo>
                    <a:lnTo>
                      <a:pt x="22" y="0"/>
                    </a:lnTo>
                    <a:lnTo>
                      <a:pt x="71" y="29"/>
                    </a:lnTo>
                    <a:lnTo>
                      <a:pt x="81" y="17"/>
                    </a:lnTo>
                    <a:lnTo>
                      <a:pt x="135" y="38"/>
                    </a:lnTo>
                    <a:lnTo>
                      <a:pt x="151" y="33"/>
                    </a:lnTo>
                    <a:lnTo>
                      <a:pt x="163" y="29"/>
                    </a:lnTo>
                    <a:lnTo>
                      <a:pt x="180" y="71"/>
                    </a:lnTo>
                    <a:lnTo>
                      <a:pt x="222" y="121"/>
                    </a:lnTo>
                    <a:lnTo>
                      <a:pt x="232" y="121"/>
                    </a:lnTo>
                    <a:lnTo>
                      <a:pt x="232" y="121"/>
                    </a:lnTo>
                    <a:lnTo>
                      <a:pt x="232" y="1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6" name="Freeform 422">
                <a:extLst>
                  <a:ext uri="{FF2B5EF4-FFF2-40B4-BE49-F238E27FC236}">
                    <a16:creationId xmlns:a16="http://schemas.microsoft.com/office/drawing/2014/main" id="{08749191-4A70-4B04-B74F-5DA556293DA0}"/>
                  </a:ext>
                </a:extLst>
              </p:cNvPr>
              <p:cNvSpPr>
                <a:spLocks noEditPoints="1"/>
              </p:cNvSpPr>
              <p:nvPr/>
            </p:nvSpPr>
            <p:spPr bwMode="gray">
              <a:xfrm>
                <a:off x="4274740" y="3364322"/>
                <a:ext cx="311223" cy="106223"/>
              </a:xfrm>
              <a:custGeom>
                <a:avLst/>
                <a:gdLst>
                  <a:gd name="T0" fmla="*/ 685 w 756"/>
                  <a:gd name="T1" fmla="*/ 241 h 258"/>
                  <a:gd name="T2" fmla="*/ 605 w 756"/>
                  <a:gd name="T3" fmla="*/ 241 h 258"/>
                  <a:gd name="T4" fmla="*/ 545 w 756"/>
                  <a:gd name="T5" fmla="*/ 217 h 258"/>
                  <a:gd name="T6" fmla="*/ 475 w 756"/>
                  <a:gd name="T7" fmla="*/ 196 h 258"/>
                  <a:gd name="T8" fmla="*/ 432 w 756"/>
                  <a:gd name="T9" fmla="*/ 123 h 258"/>
                  <a:gd name="T10" fmla="*/ 314 w 756"/>
                  <a:gd name="T11" fmla="*/ 95 h 258"/>
                  <a:gd name="T12" fmla="*/ 281 w 756"/>
                  <a:gd name="T13" fmla="*/ 90 h 258"/>
                  <a:gd name="T14" fmla="*/ 243 w 756"/>
                  <a:gd name="T15" fmla="*/ 83 h 258"/>
                  <a:gd name="T16" fmla="*/ 227 w 756"/>
                  <a:gd name="T17" fmla="*/ 57 h 258"/>
                  <a:gd name="T18" fmla="*/ 151 w 756"/>
                  <a:gd name="T19" fmla="*/ 40 h 258"/>
                  <a:gd name="T20" fmla="*/ 59 w 756"/>
                  <a:gd name="T21" fmla="*/ 95 h 258"/>
                  <a:gd name="T22" fmla="*/ 28 w 756"/>
                  <a:gd name="T23" fmla="*/ 95 h 258"/>
                  <a:gd name="T24" fmla="*/ 28 w 756"/>
                  <a:gd name="T25" fmla="*/ 90 h 258"/>
                  <a:gd name="T26" fmla="*/ 54 w 756"/>
                  <a:gd name="T27" fmla="*/ 50 h 258"/>
                  <a:gd name="T28" fmla="*/ 189 w 756"/>
                  <a:gd name="T29" fmla="*/ 0 h 258"/>
                  <a:gd name="T30" fmla="*/ 260 w 756"/>
                  <a:gd name="T31" fmla="*/ 0 h 258"/>
                  <a:gd name="T32" fmla="*/ 297 w 756"/>
                  <a:gd name="T33" fmla="*/ 12 h 258"/>
                  <a:gd name="T34" fmla="*/ 368 w 756"/>
                  <a:gd name="T35" fmla="*/ 33 h 258"/>
                  <a:gd name="T36" fmla="*/ 444 w 756"/>
                  <a:gd name="T37" fmla="*/ 66 h 258"/>
                  <a:gd name="T38" fmla="*/ 524 w 756"/>
                  <a:gd name="T39" fmla="*/ 111 h 258"/>
                  <a:gd name="T40" fmla="*/ 508 w 756"/>
                  <a:gd name="T41" fmla="*/ 106 h 258"/>
                  <a:gd name="T42" fmla="*/ 545 w 756"/>
                  <a:gd name="T43" fmla="*/ 123 h 258"/>
                  <a:gd name="T44" fmla="*/ 545 w 756"/>
                  <a:gd name="T45" fmla="*/ 123 h 258"/>
                  <a:gd name="T46" fmla="*/ 567 w 756"/>
                  <a:gd name="T47" fmla="*/ 140 h 258"/>
                  <a:gd name="T48" fmla="*/ 595 w 756"/>
                  <a:gd name="T49" fmla="*/ 151 h 258"/>
                  <a:gd name="T50" fmla="*/ 621 w 756"/>
                  <a:gd name="T51" fmla="*/ 163 h 258"/>
                  <a:gd name="T52" fmla="*/ 647 w 756"/>
                  <a:gd name="T53" fmla="*/ 180 h 258"/>
                  <a:gd name="T54" fmla="*/ 701 w 756"/>
                  <a:gd name="T55" fmla="*/ 196 h 258"/>
                  <a:gd name="T56" fmla="*/ 744 w 756"/>
                  <a:gd name="T57" fmla="*/ 241 h 258"/>
                  <a:gd name="T58" fmla="*/ 685 w 756"/>
                  <a:gd name="T59" fmla="*/ 253 h 258"/>
                  <a:gd name="T60" fmla="*/ 437 w 756"/>
                  <a:gd name="T61" fmla="*/ 50 h 258"/>
                  <a:gd name="T62" fmla="*/ 453 w 756"/>
                  <a:gd name="T63" fmla="*/ 57 h 258"/>
                  <a:gd name="T64" fmla="*/ 486 w 756"/>
                  <a:gd name="T65" fmla="*/ 73 h 258"/>
                  <a:gd name="T66" fmla="*/ 486 w 756"/>
                  <a:gd name="T67" fmla="*/ 73 h 258"/>
                  <a:gd name="T68" fmla="*/ 491 w 756"/>
                  <a:gd name="T69" fmla="*/ 83 h 258"/>
                  <a:gd name="T70" fmla="*/ 491 w 756"/>
                  <a:gd name="T71" fmla="*/ 73 h 258"/>
                  <a:gd name="T72" fmla="*/ 491 w 756"/>
                  <a:gd name="T73" fmla="*/ 83 h 258"/>
                  <a:gd name="T74" fmla="*/ 508 w 756"/>
                  <a:gd name="T75" fmla="*/ 90 h 258"/>
                  <a:gd name="T76" fmla="*/ 508 w 756"/>
                  <a:gd name="T77" fmla="*/ 95 h 258"/>
                  <a:gd name="T78" fmla="*/ 120 w 756"/>
                  <a:gd name="T79" fmla="*/ 123 h 258"/>
                  <a:gd name="T80" fmla="*/ 130 w 756"/>
                  <a:gd name="T81" fmla="*/ 106 h 258"/>
                  <a:gd name="T82" fmla="*/ 168 w 756"/>
                  <a:gd name="T83" fmla="*/ 123 h 258"/>
                  <a:gd name="T84" fmla="*/ 134 w 756"/>
                  <a:gd name="T85" fmla="*/ 14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56" h="258">
                    <a:moveTo>
                      <a:pt x="685" y="253"/>
                    </a:moveTo>
                    <a:lnTo>
                      <a:pt x="685" y="253"/>
                    </a:lnTo>
                    <a:lnTo>
                      <a:pt x="685" y="241"/>
                    </a:lnTo>
                    <a:lnTo>
                      <a:pt x="685" y="253"/>
                    </a:lnTo>
                    <a:lnTo>
                      <a:pt x="675" y="253"/>
                    </a:lnTo>
                    <a:lnTo>
                      <a:pt x="605" y="241"/>
                    </a:lnTo>
                    <a:lnTo>
                      <a:pt x="496" y="258"/>
                    </a:lnTo>
                    <a:lnTo>
                      <a:pt x="512" y="241"/>
                    </a:lnTo>
                    <a:lnTo>
                      <a:pt x="545" y="217"/>
                    </a:lnTo>
                    <a:lnTo>
                      <a:pt x="545" y="208"/>
                    </a:lnTo>
                    <a:lnTo>
                      <a:pt x="541" y="196"/>
                    </a:lnTo>
                    <a:lnTo>
                      <a:pt x="475" y="196"/>
                    </a:lnTo>
                    <a:lnTo>
                      <a:pt x="444" y="168"/>
                    </a:lnTo>
                    <a:lnTo>
                      <a:pt x="437" y="128"/>
                    </a:lnTo>
                    <a:lnTo>
                      <a:pt x="432" y="123"/>
                    </a:lnTo>
                    <a:lnTo>
                      <a:pt x="399" y="128"/>
                    </a:lnTo>
                    <a:lnTo>
                      <a:pt x="345" y="111"/>
                    </a:lnTo>
                    <a:lnTo>
                      <a:pt x="314" y="95"/>
                    </a:lnTo>
                    <a:lnTo>
                      <a:pt x="307" y="83"/>
                    </a:lnTo>
                    <a:lnTo>
                      <a:pt x="297" y="90"/>
                    </a:lnTo>
                    <a:lnTo>
                      <a:pt x="281" y="90"/>
                    </a:lnTo>
                    <a:lnTo>
                      <a:pt x="260" y="83"/>
                    </a:lnTo>
                    <a:lnTo>
                      <a:pt x="243" y="90"/>
                    </a:lnTo>
                    <a:lnTo>
                      <a:pt x="243" y="83"/>
                    </a:lnTo>
                    <a:lnTo>
                      <a:pt x="217" y="83"/>
                    </a:lnTo>
                    <a:lnTo>
                      <a:pt x="189" y="66"/>
                    </a:lnTo>
                    <a:lnTo>
                      <a:pt x="227" y="57"/>
                    </a:lnTo>
                    <a:lnTo>
                      <a:pt x="227" y="50"/>
                    </a:lnTo>
                    <a:lnTo>
                      <a:pt x="217" y="40"/>
                    </a:lnTo>
                    <a:lnTo>
                      <a:pt x="151" y="40"/>
                    </a:lnTo>
                    <a:lnTo>
                      <a:pt x="108" y="73"/>
                    </a:lnTo>
                    <a:lnTo>
                      <a:pt x="66" y="83"/>
                    </a:lnTo>
                    <a:lnTo>
                      <a:pt x="59" y="95"/>
                    </a:lnTo>
                    <a:lnTo>
                      <a:pt x="45" y="95"/>
                    </a:lnTo>
                    <a:lnTo>
                      <a:pt x="28" y="111"/>
                    </a:lnTo>
                    <a:lnTo>
                      <a:pt x="28" y="95"/>
                    </a:lnTo>
                    <a:lnTo>
                      <a:pt x="7" y="106"/>
                    </a:lnTo>
                    <a:lnTo>
                      <a:pt x="0" y="106"/>
                    </a:lnTo>
                    <a:lnTo>
                      <a:pt x="28" y="90"/>
                    </a:lnTo>
                    <a:lnTo>
                      <a:pt x="38" y="90"/>
                    </a:lnTo>
                    <a:lnTo>
                      <a:pt x="28" y="73"/>
                    </a:lnTo>
                    <a:lnTo>
                      <a:pt x="54" y="50"/>
                    </a:lnTo>
                    <a:lnTo>
                      <a:pt x="113" y="17"/>
                    </a:lnTo>
                    <a:lnTo>
                      <a:pt x="134" y="17"/>
                    </a:lnTo>
                    <a:lnTo>
                      <a:pt x="189" y="0"/>
                    </a:lnTo>
                    <a:lnTo>
                      <a:pt x="227" y="0"/>
                    </a:lnTo>
                    <a:lnTo>
                      <a:pt x="238" y="12"/>
                    </a:lnTo>
                    <a:lnTo>
                      <a:pt x="260" y="0"/>
                    </a:lnTo>
                    <a:lnTo>
                      <a:pt x="255" y="12"/>
                    </a:lnTo>
                    <a:lnTo>
                      <a:pt x="260" y="17"/>
                    </a:lnTo>
                    <a:lnTo>
                      <a:pt x="297" y="12"/>
                    </a:lnTo>
                    <a:lnTo>
                      <a:pt x="323" y="21"/>
                    </a:lnTo>
                    <a:lnTo>
                      <a:pt x="335" y="17"/>
                    </a:lnTo>
                    <a:lnTo>
                      <a:pt x="368" y="33"/>
                    </a:lnTo>
                    <a:lnTo>
                      <a:pt x="390" y="66"/>
                    </a:lnTo>
                    <a:lnTo>
                      <a:pt x="420" y="66"/>
                    </a:lnTo>
                    <a:lnTo>
                      <a:pt x="444" y="66"/>
                    </a:lnTo>
                    <a:lnTo>
                      <a:pt x="475" y="90"/>
                    </a:lnTo>
                    <a:lnTo>
                      <a:pt x="496" y="106"/>
                    </a:lnTo>
                    <a:lnTo>
                      <a:pt x="524" y="111"/>
                    </a:lnTo>
                    <a:lnTo>
                      <a:pt x="524" y="123"/>
                    </a:lnTo>
                    <a:lnTo>
                      <a:pt x="529" y="123"/>
                    </a:lnTo>
                    <a:lnTo>
                      <a:pt x="508" y="106"/>
                    </a:lnTo>
                    <a:lnTo>
                      <a:pt x="512" y="95"/>
                    </a:lnTo>
                    <a:lnTo>
                      <a:pt x="545" y="123"/>
                    </a:lnTo>
                    <a:lnTo>
                      <a:pt x="545" y="123"/>
                    </a:lnTo>
                    <a:lnTo>
                      <a:pt x="529" y="123"/>
                    </a:lnTo>
                    <a:lnTo>
                      <a:pt x="541" y="128"/>
                    </a:lnTo>
                    <a:lnTo>
                      <a:pt x="545" y="123"/>
                    </a:lnTo>
                    <a:lnTo>
                      <a:pt x="562" y="140"/>
                    </a:lnTo>
                    <a:lnTo>
                      <a:pt x="562" y="147"/>
                    </a:lnTo>
                    <a:lnTo>
                      <a:pt x="567" y="140"/>
                    </a:lnTo>
                    <a:lnTo>
                      <a:pt x="579" y="147"/>
                    </a:lnTo>
                    <a:lnTo>
                      <a:pt x="583" y="151"/>
                    </a:lnTo>
                    <a:lnTo>
                      <a:pt x="595" y="151"/>
                    </a:lnTo>
                    <a:lnTo>
                      <a:pt x="595" y="147"/>
                    </a:lnTo>
                    <a:lnTo>
                      <a:pt x="600" y="147"/>
                    </a:lnTo>
                    <a:lnTo>
                      <a:pt x="621" y="163"/>
                    </a:lnTo>
                    <a:lnTo>
                      <a:pt x="647" y="163"/>
                    </a:lnTo>
                    <a:lnTo>
                      <a:pt x="654" y="168"/>
                    </a:lnTo>
                    <a:lnTo>
                      <a:pt x="647" y="180"/>
                    </a:lnTo>
                    <a:lnTo>
                      <a:pt x="638" y="184"/>
                    </a:lnTo>
                    <a:lnTo>
                      <a:pt x="638" y="196"/>
                    </a:lnTo>
                    <a:lnTo>
                      <a:pt x="701" y="196"/>
                    </a:lnTo>
                    <a:lnTo>
                      <a:pt x="730" y="217"/>
                    </a:lnTo>
                    <a:lnTo>
                      <a:pt x="756" y="225"/>
                    </a:lnTo>
                    <a:lnTo>
                      <a:pt x="744" y="241"/>
                    </a:lnTo>
                    <a:lnTo>
                      <a:pt x="706" y="241"/>
                    </a:lnTo>
                    <a:lnTo>
                      <a:pt x="685" y="253"/>
                    </a:lnTo>
                    <a:lnTo>
                      <a:pt x="685" y="253"/>
                    </a:lnTo>
                    <a:lnTo>
                      <a:pt x="685" y="253"/>
                    </a:lnTo>
                    <a:close/>
                    <a:moveTo>
                      <a:pt x="453" y="57"/>
                    </a:moveTo>
                    <a:lnTo>
                      <a:pt x="437" y="50"/>
                    </a:lnTo>
                    <a:lnTo>
                      <a:pt x="453" y="50"/>
                    </a:lnTo>
                    <a:lnTo>
                      <a:pt x="458" y="57"/>
                    </a:lnTo>
                    <a:lnTo>
                      <a:pt x="453" y="57"/>
                    </a:lnTo>
                    <a:lnTo>
                      <a:pt x="453" y="57"/>
                    </a:lnTo>
                    <a:lnTo>
                      <a:pt x="453" y="57"/>
                    </a:lnTo>
                    <a:close/>
                    <a:moveTo>
                      <a:pt x="486" y="73"/>
                    </a:moveTo>
                    <a:lnTo>
                      <a:pt x="458" y="57"/>
                    </a:lnTo>
                    <a:lnTo>
                      <a:pt x="475" y="57"/>
                    </a:lnTo>
                    <a:lnTo>
                      <a:pt x="486" y="73"/>
                    </a:lnTo>
                    <a:lnTo>
                      <a:pt x="486" y="73"/>
                    </a:lnTo>
                    <a:lnTo>
                      <a:pt x="486" y="73"/>
                    </a:lnTo>
                    <a:close/>
                    <a:moveTo>
                      <a:pt x="491" y="83"/>
                    </a:moveTo>
                    <a:lnTo>
                      <a:pt x="475" y="83"/>
                    </a:lnTo>
                    <a:lnTo>
                      <a:pt x="486" y="73"/>
                    </a:lnTo>
                    <a:lnTo>
                      <a:pt x="491" y="73"/>
                    </a:lnTo>
                    <a:lnTo>
                      <a:pt x="491" y="83"/>
                    </a:lnTo>
                    <a:lnTo>
                      <a:pt x="491" y="83"/>
                    </a:lnTo>
                    <a:lnTo>
                      <a:pt x="491" y="83"/>
                    </a:lnTo>
                    <a:close/>
                    <a:moveTo>
                      <a:pt x="508" y="95"/>
                    </a:moveTo>
                    <a:lnTo>
                      <a:pt x="486" y="83"/>
                    </a:lnTo>
                    <a:lnTo>
                      <a:pt x="508" y="90"/>
                    </a:lnTo>
                    <a:lnTo>
                      <a:pt x="508" y="95"/>
                    </a:lnTo>
                    <a:lnTo>
                      <a:pt x="508" y="95"/>
                    </a:lnTo>
                    <a:lnTo>
                      <a:pt x="508" y="95"/>
                    </a:lnTo>
                    <a:close/>
                    <a:moveTo>
                      <a:pt x="134" y="140"/>
                    </a:moveTo>
                    <a:lnTo>
                      <a:pt x="130" y="140"/>
                    </a:lnTo>
                    <a:lnTo>
                      <a:pt x="120" y="123"/>
                    </a:lnTo>
                    <a:lnTo>
                      <a:pt x="130" y="128"/>
                    </a:lnTo>
                    <a:lnTo>
                      <a:pt x="134" y="123"/>
                    </a:lnTo>
                    <a:lnTo>
                      <a:pt x="130" y="106"/>
                    </a:lnTo>
                    <a:lnTo>
                      <a:pt x="134" y="95"/>
                    </a:lnTo>
                    <a:lnTo>
                      <a:pt x="151" y="95"/>
                    </a:lnTo>
                    <a:lnTo>
                      <a:pt x="168" y="123"/>
                    </a:lnTo>
                    <a:lnTo>
                      <a:pt x="134" y="140"/>
                    </a:lnTo>
                    <a:lnTo>
                      <a:pt x="134" y="140"/>
                    </a:lnTo>
                    <a:lnTo>
                      <a:pt x="134" y="14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1" name="Freeform 427">
                <a:extLst>
                  <a:ext uri="{FF2B5EF4-FFF2-40B4-BE49-F238E27FC236}">
                    <a16:creationId xmlns:a16="http://schemas.microsoft.com/office/drawing/2014/main" id="{101F5965-639C-4814-B9C5-D8520452E0A8}"/>
                  </a:ext>
                </a:extLst>
              </p:cNvPr>
              <p:cNvSpPr>
                <a:spLocks/>
              </p:cNvSpPr>
              <p:nvPr/>
            </p:nvSpPr>
            <p:spPr bwMode="gray">
              <a:xfrm>
                <a:off x="4949467" y="3597764"/>
                <a:ext cx="7822" cy="10705"/>
              </a:xfrm>
              <a:custGeom>
                <a:avLst/>
                <a:gdLst>
                  <a:gd name="T0" fmla="*/ 7 w 19"/>
                  <a:gd name="T1" fmla="*/ 26 h 26"/>
                  <a:gd name="T2" fmla="*/ 0 w 19"/>
                  <a:gd name="T3" fmla="*/ 5 h 26"/>
                  <a:gd name="T4" fmla="*/ 0 w 19"/>
                  <a:gd name="T5" fmla="*/ 0 h 26"/>
                  <a:gd name="T6" fmla="*/ 19 w 19"/>
                  <a:gd name="T7" fmla="*/ 14 h 26"/>
                  <a:gd name="T8" fmla="*/ 19 w 19"/>
                  <a:gd name="T9" fmla="*/ 26 h 26"/>
                  <a:gd name="T10" fmla="*/ 7 w 19"/>
                  <a:gd name="T11" fmla="*/ 26 h 26"/>
                  <a:gd name="T12" fmla="*/ 7 w 19"/>
                  <a:gd name="T13" fmla="*/ 26 h 26"/>
                  <a:gd name="T14" fmla="*/ 7 w 19"/>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26">
                    <a:moveTo>
                      <a:pt x="7" y="26"/>
                    </a:moveTo>
                    <a:lnTo>
                      <a:pt x="0" y="5"/>
                    </a:lnTo>
                    <a:lnTo>
                      <a:pt x="0" y="0"/>
                    </a:lnTo>
                    <a:lnTo>
                      <a:pt x="19" y="14"/>
                    </a:lnTo>
                    <a:lnTo>
                      <a:pt x="19" y="26"/>
                    </a:lnTo>
                    <a:lnTo>
                      <a:pt x="7" y="26"/>
                    </a:lnTo>
                    <a:lnTo>
                      <a:pt x="7" y="26"/>
                    </a:lnTo>
                    <a:lnTo>
                      <a:pt x="7" y="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2" name="Freeform 428">
                <a:extLst>
                  <a:ext uri="{FF2B5EF4-FFF2-40B4-BE49-F238E27FC236}">
                    <a16:creationId xmlns:a16="http://schemas.microsoft.com/office/drawing/2014/main" id="{6330E700-7DD9-41EE-9671-417AD4A358CF}"/>
                  </a:ext>
                </a:extLst>
              </p:cNvPr>
              <p:cNvSpPr>
                <a:spLocks noEditPoints="1"/>
              </p:cNvSpPr>
              <p:nvPr/>
            </p:nvSpPr>
            <p:spPr bwMode="gray">
              <a:xfrm>
                <a:off x="4646066" y="3466426"/>
                <a:ext cx="106212" cy="74933"/>
              </a:xfrm>
              <a:custGeom>
                <a:avLst/>
                <a:gdLst>
                  <a:gd name="T0" fmla="*/ 21 w 258"/>
                  <a:gd name="T1" fmla="*/ 142 h 182"/>
                  <a:gd name="T2" fmla="*/ 21 w 258"/>
                  <a:gd name="T3" fmla="*/ 118 h 182"/>
                  <a:gd name="T4" fmla="*/ 5 w 258"/>
                  <a:gd name="T5" fmla="*/ 114 h 182"/>
                  <a:gd name="T6" fmla="*/ 0 w 258"/>
                  <a:gd name="T7" fmla="*/ 102 h 182"/>
                  <a:gd name="T8" fmla="*/ 17 w 258"/>
                  <a:gd name="T9" fmla="*/ 97 h 182"/>
                  <a:gd name="T10" fmla="*/ 21 w 258"/>
                  <a:gd name="T11" fmla="*/ 85 h 182"/>
                  <a:gd name="T12" fmla="*/ 17 w 258"/>
                  <a:gd name="T13" fmla="*/ 69 h 182"/>
                  <a:gd name="T14" fmla="*/ 26 w 258"/>
                  <a:gd name="T15" fmla="*/ 57 h 182"/>
                  <a:gd name="T16" fmla="*/ 21 w 258"/>
                  <a:gd name="T17" fmla="*/ 45 h 182"/>
                  <a:gd name="T18" fmla="*/ 21 w 258"/>
                  <a:gd name="T19" fmla="*/ 29 h 182"/>
                  <a:gd name="T20" fmla="*/ 21 w 258"/>
                  <a:gd name="T21" fmla="*/ 12 h 182"/>
                  <a:gd name="T22" fmla="*/ 21 w 258"/>
                  <a:gd name="T23" fmla="*/ 0 h 182"/>
                  <a:gd name="T24" fmla="*/ 52 w 258"/>
                  <a:gd name="T25" fmla="*/ 7 h 182"/>
                  <a:gd name="T26" fmla="*/ 76 w 258"/>
                  <a:gd name="T27" fmla="*/ 0 h 182"/>
                  <a:gd name="T28" fmla="*/ 97 w 258"/>
                  <a:gd name="T29" fmla="*/ 12 h 182"/>
                  <a:gd name="T30" fmla="*/ 106 w 258"/>
                  <a:gd name="T31" fmla="*/ 7 h 182"/>
                  <a:gd name="T32" fmla="*/ 123 w 258"/>
                  <a:gd name="T33" fmla="*/ 24 h 182"/>
                  <a:gd name="T34" fmla="*/ 144 w 258"/>
                  <a:gd name="T35" fmla="*/ 12 h 182"/>
                  <a:gd name="T36" fmla="*/ 161 w 258"/>
                  <a:gd name="T37" fmla="*/ 45 h 182"/>
                  <a:gd name="T38" fmla="*/ 199 w 258"/>
                  <a:gd name="T39" fmla="*/ 40 h 182"/>
                  <a:gd name="T40" fmla="*/ 199 w 258"/>
                  <a:gd name="T41" fmla="*/ 45 h 182"/>
                  <a:gd name="T42" fmla="*/ 199 w 258"/>
                  <a:gd name="T43" fmla="*/ 57 h 182"/>
                  <a:gd name="T44" fmla="*/ 166 w 258"/>
                  <a:gd name="T45" fmla="*/ 57 h 182"/>
                  <a:gd name="T46" fmla="*/ 166 w 258"/>
                  <a:gd name="T47" fmla="*/ 64 h 182"/>
                  <a:gd name="T48" fmla="*/ 215 w 258"/>
                  <a:gd name="T49" fmla="*/ 69 h 182"/>
                  <a:gd name="T50" fmla="*/ 258 w 258"/>
                  <a:gd name="T51" fmla="*/ 102 h 182"/>
                  <a:gd name="T52" fmla="*/ 253 w 258"/>
                  <a:gd name="T53" fmla="*/ 118 h 182"/>
                  <a:gd name="T54" fmla="*/ 236 w 258"/>
                  <a:gd name="T55" fmla="*/ 118 h 182"/>
                  <a:gd name="T56" fmla="*/ 236 w 258"/>
                  <a:gd name="T57" fmla="*/ 125 h 182"/>
                  <a:gd name="T58" fmla="*/ 229 w 258"/>
                  <a:gd name="T59" fmla="*/ 125 h 182"/>
                  <a:gd name="T60" fmla="*/ 220 w 258"/>
                  <a:gd name="T61" fmla="*/ 114 h 182"/>
                  <a:gd name="T62" fmla="*/ 149 w 258"/>
                  <a:gd name="T63" fmla="*/ 114 h 182"/>
                  <a:gd name="T64" fmla="*/ 128 w 258"/>
                  <a:gd name="T65" fmla="*/ 125 h 182"/>
                  <a:gd name="T66" fmla="*/ 106 w 258"/>
                  <a:gd name="T67" fmla="*/ 125 h 182"/>
                  <a:gd name="T68" fmla="*/ 97 w 258"/>
                  <a:gd name="T69" fmla="*/ 114 h 182"/>
                  <a:gd name="T70" fmla="*/ 90 w 258"/>
                  <a:gd name="T71" fmla="*/ 114 h 182"/>
                  <a:gd name="T72" fmla="*/ 76 w 258"/>
                  <a:gd name="T73" fmla="*/ 125 h 182"/>
                  <a:gd name="T74" fmla="*/ 69 w 258"/>
                  <a:gd name="T75" fmla="*/ 118 h 182"/>
                  <a:gd name="T76" fmla="*/ 69 w 258"/>
                  <a:gd name="T77" fmla="*/ 137 h 182"/>
                  <a:gd name="T78" fmla="*/ 43 w 258"/>
                  <a:gd name="T79" fmla="*/ 175 h 182"/>
                  <a:gd name="T80" fmla="*/ 21 w 258"/>
                  <a:gd name="T81" fmla="*/ 142 h 182"/>
                  <a:gd name="T82" fmla="*/ 21 w 258"/>
                  <a:gd name="T83" fmla="*/ 142 h 182"/>
                  <a:gd name="T84" fmla="*/ 21 w 258"/>
                  <a:gd name="T85" fmla="*/ 142 h 182"/>
                  <a:gd name="T86" fmla="*/ 38 w 258"/>
                  <a:gd name="T87" fmla="*/ 182 h 182"/>
                  <a:gd name="T88" fmla="*/ 38 w 258"/>
                  <a:gd name="T89" fmla="*/ 175 h 182"/>
                  <a:gd name="T90" fmla="*/ 38 w 258"/>
                  <a:gd name="T91" fmla="*/ 175 h 182"/>
                  <a:gd name="T92" fmla="*/ 38 w 258"/>
                  <a:gd name="T93" fmla="*/ 182 h 182"/>
                  <a:gd name="T94" fmla="*/ 38 w 258"/>
                  <a:gd name="T95" fmla="*/ 182 h 182"/>
                  <a:gd name="T96" fmla="*/ 38 w 258"/>
                  <a:gd name="T9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8" h="182">
                    <a:moveTo>
                      <a:pt x="21" y="142"/>
                    </a:moveTo>
                    <a:lnTo>
                      <a:pt x="21" y="118"/>
                    </a:lnTo>
                    <a:lnTo>
                      <a:pt x="5" y="114"/>
                    </a:lnTo>
                    <a:lnTo>
                      <a:pt x="0" y="102"/>
                    </a:lnTo>
                    <a:lnTo>
                      <a:pt x="17" y="97"/>
                    </a:lnTo>
                    <a:lnTo>
                      <a:pt x="21" y="85"/>
                    </a:lnTo>
                    <a:lnTo>
                      <a:pt x="17" y="69"/>
                    </a:lnTo>
                    <a:lnTo>
                      <a:pt x="26" y="57"/>
                    </a:lnTo>
                    <a:lnTo>
                      <a:pt x="21" y="45"/>
                    </a:lnTo>
                    <a:lnTo>
                      <a:pt x="21" y="29"/>
                    </a:lnTo>
                    <a:lnTo>
                      <a:pt x="21" y="12"/>
                    </a:lnTo>
                    <a:lnTo>
                      <a:pt x="21" y="0"/>
                    </a:lnTo>
                    <a:lnTo>
                      <a:pt x="52" y="7"/>
                    </a:lnTo>
                    <a:lnTo>
                      <a:pt x="76" y="0"/>
                    </a:lnTo>
                    <a:lnTo>
                      <a:pt x="97" y="12"/>
                    </a:lnTo>
                    <a:lnTo>
                      <a:pt x="106" y="7"/>
                    </a:lnTo>
                    <a:lnTo>
                      <a:pt x="123" y="24"/>
                    </a:lnTo>
                    <a:lnTo>
                      <a:pt x="144" y="12"/>
                    </a:lnTo>
                    <a:lnTo>
                      <a:pt x="161" y="45"/>
                    </a:lnTo>
                    <a:lnTo>
                      <a:pt x="199" y="40"/>
                    </a:lnTo>
                    <a:lnTo>
                      <a:pt x="199" y="45"/>
                    </a:lnTo>
                    <a:lnTo>
                      <a:pt x="199" y="57"/>
                    </a:lnTo>
                    <a:lnTo>
                      <a:pt x="166" y="57"/>
                    </a:lnTo>
                    <a:lnTo>
                      <a:pt x="166" y="64"/>
                    </a:lnTo>
                    <a:lnTo>
                      <a:pt x="215" y="69"/>
                    </a:lnTo>
                    <a:lnTo>
                      <a:pt x="258" y="102"/>
                    </a:lnTo>
                    <a:lnTo>
                      <a:pt x="253" y="118"/>
                    </a:lnTo>
                    <a:lnTo>
                      <a:pt x="236" y="118"/>
                    </a:lnTo>
                    <a:lnTo>
                      <a:pt x="236" y="125"/>
                    </a:lnTo>
                    <a:lnTo>
                      <a:pt x="229" y="125"/>
                    </a:lnTo>
                    <a:lnTo>
                      <a:pt x="220" y="114"/>
                    </a:lnTo>
                    <a:lnTo>
                      <a:pt x="149" y="114"/>
                    </a:lnTo>
                    <a:lnTo>
                      <a:pt x="128" y="125"/>
                    </a:lnTo>
                    <a:lnTo>
                      <a:pt x="106" y="125"/>
                    </a:lnTo>
                    <a:lnTo>
                      <a:pt x="97" y="114"/>
                    </a:lnTo>
                    <a:lnTo>
                      <a:pt x="90" y="114"/>
                    </a:lnTo>
                    <a:lnTo>
                      <a:pt x="76" y="125"/>
                    </a:lnTo>
                    <a:lnTo>
                      <a:pt x="69" y="118"/>
                    </a:lnTo>
                    <a:lnTo>
                      <a:pt x="69" y="137"/>
                    </a:lnTo>
                    <a:lnTo>
                      <a:pt x="43" y="175"/>
                    </a:lnTo>
                    <a:lnTo>
                      <a:pt x="21" y="142"/>
                    </a:lnTo>
                    <a:lnTo>
                      <a:pt x="21" y="142"/>
                    </a:lnTo>
                    <a:lnTo>
                      <a:pt x="21" y="142"/>
                    </a:lnTo>
                    <a:close/>
                    <a:moveTo>
                      <a:pt x="38" y="182"/>
                    </a:moveTo>
                    <a:lnTo>
                      <a:pt x="38" y="175"/>
                    </a:lnTo>
                    <a:lnTo>
                      <a:pt x="38" y="175"/>
                    </a:lnTo>
                    <a:lnTo>
                      <a:pt x="38" y="182"/>
                    </a:lnTo>
                    <a:lnTo>
                      <a:pt x="38" y="182"/>
                    </a:lnTo>
                    <a:lnTo>
                      <a:pt x="38" y="18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3" name="Freeform 429">
                <a:extLst>
                  <a:ext uri="{FF2B5EF4-FFF2-40B4-BE49-F238E27FC236}">
                    <a16:creationId xmlns:a16="http://schemas.microsoft.com/office/drawing/2014/main" id="{5CFB5C45-1ACA-4E7A-BE12-9FC97B7AAFEF}"/>
                  </a:ext>
                </a:extLst>
              </p:cNvPr>
              <p:cNvSpPr>
                <a:spLocks noEditPoints="1"/>
              </p:cNvSpPr>
              <p:nvPr/>
            </p:nvSpPr>
            <p:spPr bwMode="gray">
              <a:xfrm>
                <a:off x="4079196" y="4024713"/>
                <a:ext cx="473420" cy="189801"/>
              </a:xfrm>
              <a:custGeom>
                <a:avLst/>
                <a:gdLst>
                  <a:gd name="T0" fmla="*/ 966 w 1150"/>
                  <a:gd name="T1" fmla="*/ 40 h 461"/>
                  <a:gd name="T2" fmla="*/ 999 w 1150"/>
                  <a:gd name="T3" fmla="*/ 57 h 461"/>
                  <a:gd name="T4" fmla="*/ 1068 w 1150"/>
                  <a:gd name="T5" fmla="*/ 78 h 461"/>
                  <a:gd name="T6" fmla="*/ 1096 w 1150"/>
                  <a:gd name="T7" fmla="*/ 78 h 461"/>
                  <a:gd name="T8" fmla="*/ 1122 w 1150"/>
                  <a:gd name="T9" fmla="*/ 111 h 461"/>
                  <a:gd name="T10" fmla="*/ 1150 w 1150"/>
                  <a:gd name="T11" fmla="*/ 168 h 461"/>
                  <a:gd name="T12" fmla="*/ 1089 w 1150"/>
                  <a:gd name="T13" fmla="*/ 255 h 461"/>
                  <a:gd name="T14" fmla="*/ 945 w 1150"/>
                  <a:gd name="T15" fmla="*/ 338 h 461"/>
                  <a:gd name="T16" fmla="*/ 928 w 1150"/>
                  <a:gd name="T17" fmla="*/ 371 h 461"/>
                  <a:gd name="T18" fmla="*/ 895 w 1150"/>
                  <a:gd name="T19" fmla="*/ 437 h 461"/>
                  <a:gd name="T20" fmla="*/ 841 w 1150"/>
                  <a:gd name="T21" fmla="*/ 421 h 461"/>
                  <a:gd name="T22" fmla="*/ 787 w 1150"/>
                  <a:gd name="T23" fmla="*/ 421 h 461"/>
                  <a:gd name="T24" fmla="*/ 782 w 1150"/>
                  <a:gd name="T25" fmla="*/ 404 h 461"/>
                  <a:gd name="T26" fmla="*/ 803 w 1150"/>
                  <a:gd name="T27" fmla="*/ 383 h 461"/>
                  <a:gd name="T28" fmla="*/ 820 w 1150"/>
                  <a:gd name="T29" fmla="*/ 333 h 461"/>
                  <a:gd name="T30" fmla="*/ 836 w 1150"/>
                  <a:gd name="T31" fmla="*/ 243 h 461"/>
                  <a:gd name="T32" fmla="*/ 810 w 1150"/>
                  <a:gd name="T33" fmla="*/ 284 h 461"/>
                  <a:gd name="T34" fmla="*/ 798 w 1150"/>
                  <a:gd name="T35" fmla="*/ 293 h 461"/>
                  <a:gd name="T36" fmla="*/ 765 w 1150"/>
                  <a:gd name="T37" fmla="*/ 255 h 461"/>
                  <a:gd name="T38" fmla="*/ 765 w 1150"/>
                  <a:gd name="T39" fmla="*/ 201 h 461"/>
                  <a:gd name="T40" fmla="*/ 772 w 1150"/>
                  <a:gd name="T41" fmla="*/ 168 h 461"/>
                  <a:gd name="T42" fmla="*/ 787 w 1150"/>
                  <a:gd name="T43" fmla="*/ 144 h 461"/>
                  <a:gd name="T44" fmla="*/ 820 w 1150"/>
                  <a:gd name="T45" fmla="*/ 73 h 461"/>
                  <a:gd name="T46" fmla="*/ 891 w 1150"/>
                  <a:gd name="T47" fmla="*/ 17 h 461"/>
                  <a:gd name="T48" fmla="*/ 907 w 1150"/>
                  <a:gd name="T49" fmla="*/ 0 h 461"/>
                  <a:gd name="T50" fmla="*/ 895 w 1150"/>
                  <a:gd name="T51" fmla="*/ 0 h 461"/>
                  <a:gd name="T52" fmla="*/ 891 w 1150"/>
                  <a:gd name="T53" fmla="*/ 7 h 461"/>
                  <a:gd name="T54" fmla="*/ 80 w 1150"/>
                  <a:gd name="T55" fmla="*/ 73 h 461"/>
                  <a:gd name="T56" fmla="*/ 80 w 1150"/>
                  <a:gd name="T57" fmla="*/ 78 h 461"/>
                  <a:gd name="T58" fmla="*/ 14 w 1150"/>
                  <a:gd name="T59" fmla="*/ 172 h 461"/>
                  <a:gd name="T60" fmla="*/ 31 w 1150"/>
                  <a:gd name="T61" fmla="*/ 151 h 461"/>
                  <a:gd name="T62" fmla="*/ 14 w 1150"/>
                  <a:gd name="T63" fmla="*/ 106 h 461"/>
                  <a:gd name="T64" fmla="*/ 31 w 1150"/>
                  <a:gd name="T65" fmla="*/ 106 h 461"/>
                  <a:gd name="T66" fmla="*/ 47 w 1150"/>
                  <a:gd name="T67" fmla="*/ 144 h 461"/>
                  <a:gd name="T68" fmla="*/ 31 w 1150"/>
                  <a:gd name="T69" fmla="*/ 172 h 461"/>
                  <a:gd name="T70" fmla="*/ 69 w 1150"/>
                  <a:gd name="T71" fmla="*/ 128 h 461"/>
                  <a:gd name="T72" fmla="*/ 69 w 1150"/>
                  <a:gd name="T73" fmla="*/ 118 h 461"/>
                  <a:gd name="T74" fmla="*/ 69 w 1150"/>
                  <a:gd name="T75" fmla="*/ 128 h 461"/>
                  <a:gd name="T76" fmla="*/ 0 w 1150"/>
                  <a:gd name="T77" fmla="*/ 128 h 461"/>
                  <a:gd name="T78" fmla="*/ 9 w 1150"/>
                  <a:gd name="T79" fmla="*/ 135 h 461"/>
                  <a:gd name="T80" fmla="*/ 97 w 1150"/>
                  <a:gd name="T81" fmla="*/ 161 h 461"/>
                  <a:gd name="T82" fmla="*/ 102 w 1150"/>
                  <a:gd name="T83" fmla="*/ 144 h 461"/>
                  <a:gd name="T84" fmla="*/ 97 w 1150"/>
                  <a:gd name="T85" fmla="*/ 161 h 461"/>
                  <a:gd name="T86" fmla="*/ 139 w 1150"/>
                  <a:gd name="T87" fmla="*/ 168 h 461"/>
                  <a:gd name="T88" fmla="*/ 151 w 1150"/>
                  <a:gd name="T89" fmla="*/ 168 h 461"/>
                  <a:gd name="T90" fmla="*/ 85 w 1150"/>
                  <a:gd name="T91" fmla="*/ 201 h 461"/>
                  <a:gd name="T92" fmla="*/ 85 w 1150"/>
                  <a:gd name="T93" fmla="*/ 189 h 461"/>
                  <a:gd name="T94" fmla="*/ 85 w 1150"/>
                  <a:gd name="T95" fmla="*/ 201 h 461"/>
                  <a:gd name="T96" fmla="*/ 803 w 1150"/>
                  <a:gd name="T97" fmla="*/ 293 h 461"/>
                  <a:gd name="T98" fmla="*/ 803 w 1150"/>
                  <a:gd name="T99" fmla="*/ 317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50" h="461">
                    <a:moveTo>
                      <a:pt x="907" y="0"/>
                    </a:moveTo>
                    <a:lnTo>
                      <a:pt x="950" y="33"/>
                    </a:lnTo>
                    <a:lnTo>
                      <a:pt x="966" y="40"/>
                    </a:lnTo>
                    <a:lnTo>
                      <a:pt x="983" y="40"/>
                    </a:lnTo>
                    <a:lnTo>
                      <a:pt x="983" y="50"/>
                    </a:lnTo>
                    <a:lnTo>
                      <a:pt x="999" y="57"/>
                    </a:lnTo>
                    <a:lnTo>
                      <a:pt x="1004" y="73"/>
                    </a:lnTo>
                    <a:lnTo>
                      <a:pt x="1058" y="90"/>
                    </a:lnTo>
                    <a:lnTo>
                      <a:pt x="1068" y="78"/>
                    </a:lnTo>
                    <a:lnTo>
                      <a:pt x="1068" y="73"/>
                    </a:lnTo>
                    <a:lnTo>
                      <a:pt x="1080" y="73"/>
                    </a:lnTo>
                    <a:lnTo>
                      <a:pt x="1096" y="78"/>
                    </a:lnTo>
                    <a:lnTo>
                      <a:pt x="1113" y="95"/>
                    </a:lnTo>
                    <a:lnTo>
                      <a:pt x="1150" y="111"/>
                    </a:lnTo>
                    <a:lnTo>
                      <a:pt x="1122" y="111"/>
                    </a:lnTo>
                    <a:lnTo>
                      <a:pt x="1150" y="144"/>
                    </a:lnTo>
                    <a:lnTo>
                      <a:pt x="1150" y="151"/>
                    </a:lnTo>
                    <a:lnTo>
                      <a:pt x="1150" y="168"/>
                    </a:lnTo>
                    <a:lnTo>
                      <a:pt x="1143" y="168"/>
                    </a:lnTo>
                    <a:lnTo>
                      <a:pt x="1127" y="217"/>
                    </a:lnTo>
                    <a:lnTo>
                      <a:pt x="1089" y="255"/>
                    </a:lnTo>
                    <a:lnTo>
                      <a:pt x="1051" y="284"/>
                    </a:lnTo>
                    <a:lnTo>
                      <a:pt x="966" y="317"/>
                    </a:lnTo>
                    <a:lnTo>
                      <a:pt x="945" y="338"/>
                    </a:lnTo>
                    <a:lnTo>
                      <a:pt x="945" y="354"/>
                    </a:lnTo>
                    <a:lnTo>
                      <a:pt x="933" y="350"/>
                    </a:lnTo>
                    <a:lnTo>
                      <a:pt x="928" y="371"/>
                    </a:lnTo>
                    <a:lnTo>
                      <a:pt x="912" y="411"/>
                    </a:lnTo>
                    <a:lnTo>
                      <a:pt x="912" y="428"/>
                    </a:lnTo>
                    <a:lnTo>
                      <a:pt x="895" y="437"/>
                    </a:lnTo>
                    <a:lnTo>
                      <a:pt x="879" y="461"/>
                    </a:lnTo>
                    <a:lnTo>
                      <a:pt x="862" y="461"/>
                    </a:lnTo>
                    <a:lnTo>
                      <a:pt x="841" y="421"/>
                    </a:lnTo>
                    <a:lnTo>
                      <a:pt x="824" y="421"/>
                    </a:lnTo>
                    <a:lnTo>
                      <a:pt x="803" y="411"/>
                    </a:lnTo>
                    <a:lnTo>
                      <a:pt x="787" y="421"/>
                    </a:lnTo>
                    <a:lnTo>
                      <a:pt x="782" y="421"/>
                    </a:lnTo>
                    <a:lnTo>
                      <a:pt x="798" y="404"/>
                    </a:lnTo>
                    <a:lnTo>
                      <a:pt x="782" y="404"/>
                    </a:lnTo>
                    <a:lnTo>
                      <a:pt x="782" y="387"/>
                    </a:lnTo>
                    <a:lnTo>
                      <a:pt x="798" y="387"/>
                    </a:lnTo>
                    <a:lnTo>
                      <a:pt x="803" y="383"/>
                    </a:lnTo>
                    <a:lnTo>
                      <a:pt x="798" y="350"/>
                    </a:lnTo>
                    <a:lnTo>
                      <a:pt x="798" y="338"/>
                    </a:lnTo>
                    <a:lnTo>
                      <a:pt x="820" y="333"/>
                    </a:lnTo>
                    <a:lnTo>
                      <a:pt x="836" y="284"/>
                    </a:lnTo>
                    <a:lnTo>
                      <a:pt x="824" y="272"/>
                    </a:lnTo>
                    <a:lnTo>
                      <a:pt x="836" y="243"/>
                    </a:lnTo>
                    <a:lnTo>
                      <a:pt x="824" y="255"/>
                    </a:lnTo>
                    <a:lnTo>
                      <a:pt x="824" y="284"/>
                    </a:lnTo>
                    <a:lnTo>
                      <a:pt x="810" y="284"/>
                    </a:lnTo>
                    <a:lnTo>
                      <a:pt x="820" y="272"/>
                    </a:lnTo>
                    <a:lnTo>
                      <a:pt x="820" y="272"/>
                    </a:lnTo>
                    <a:lnTo>
                      <a:pt x="798" y="293"/>
                    </a:lnTo>
                    <a:lnTo>
                      <a:pt x="756" y="272"/>
                    </a:lnTo>
                    <a:lnTo>
                      <a:pt x="749" y="255"/>
                    </a:lnTo>
                    <a:lnTo>
                      <a:pt x="765" y="255"/>
                    </a:lnTo>
                    <a:lnTo>
                      <a:pt x="765" y="239"/>
                    </a:lnTo>
                    <a:lnTo>
                      <a:pt x="756" y="217"/>
                    </a:lnTo>
                    <a:lnTo>
                      <a:pt x="765" y="201"/>
                    </a:lnTo>
                    <a:lnTo>
                      <a:pt x="749" y="172"/>
                    </a:lnTo>
                    <a:lnTo>
                      <a:pt x="756" y="168"/>
                    </a:lnTo>
                    <a:lnTo>
                      <a:pt x="772" y="168"/>
                    </a:lnTo>
                    <a:lnTo>
                      <a:pt x="787" y="144"/>
                    </a:lnTo>
                    <a:lnTo>
                      <a:pt x="798" y="144"/>
                    </a:lnTo>
                    <a:lnTo>
                      <a:pt x="787" y="144"/>
                    </a:lnTo>
                    <a:lnTo>
                      <a:pt x="782" y="128"/>
                    </a:lnTo>
                    <a:lnTo>
                      <a:pt x="810" y="95"/>
                    </a:lnTo>
                    <a:lnTo>
                      <a:pt x="820" y="73"/>
                    </a:lnTo>
                    <a:lnTo>
                      <a:pt x="810" y="50"/>
                    </a:lnTo>
                    <a:lnTo>
                      <a:pt x="810" y="40"/>
                    </a:lnTo>
                    <a:lnTo>
                      <a:pt x="891" y="17"/>
                    </a:lnTo>
                    <a:lnTo>
                      <a:pt x="907" y="0"/>
                    </a:lnTo>
                    <a:lnTo>
                      <a:pt x="907" y="0"/>
                    </a:lnTo>
                    <a:lnTo>
                      <a:pt x="907" y="0"/>
                    </a:lnTo>
                    <a:close/>
                    <a:moveTo>
                      <a:pt x="891" y="7"/>
                    </a:moveTo>
                    <a:lnTo>
                      <a:pt x="891" y="7"/>
                    </a:lnTo>
                    <a:lnTo>
                      <a:pt x="895" y="0"/>
                    </a:lnTo>
                    <a:lnTo>
                      <a:pt x="891" y="7"/>
                    </a:lnTo>
                    <a:lnTo>
                      <a:pt x="891" y="7"/>
                    </a:lnTo>
                    <a:lnTo>
                      <a:pt x="891" y="7"/>
                    </a:lnTo>
                    <a:close/>
                    <a:moveTo>
                      <a:pt x="80" y="78"/>
                    </a:moveTo>
                    <a:lnTo>
                      <a:pt x="80" y="78"/>
                    </a:lnTo>
                    <a:lnTo>
                      <a:pt x="80" y="73"/>
                    </a:lnTo>
                    <a:lnTo>
                      <a:pt x="85" y="78"/>
                    </a:lnTo>
                    <a:lnTo>
                      <a:pt x="80" y="78"/>
                    </a:lnTo>
                    <a:lnTo>
                      <a:pt x="80" y="78"/>
                    </a:lnTo>
                    <a:lnTo>
                      <a:pt x="80" y="78"/>
                    </a:lnTo>
                    <a:close/>
                    <a:moveTo>
                      <a:pt x="31" y="172"/>
                    </a:moveTo>
                    <a:lnTo>
                      <a:pt x="14" y="172"/>
                    </a:lnTo>
                    <a:lnTo>
                      <a:pt x="9" y="168"/>
                    </a:lnTo>
                    <a:lnTo>
                      <a:pt x="26" y="151"/>
                    </a:lnTo>
                    <a:lnTo>
                      <a:pt x="31" y="151"/>
                    </a:lnTo>
                    <a:lnTo>
                      <a:pt x="43" y="144"/>
                    </a:lnTo>
                    <a:lnTo>
                      <a:pt x="14" y="118"/>
                    </a:lnTo>
                    <a:lnTo>
                      <a:pt x="14" y="106"/>
                    </a:lnTo>
                    <a:lnTo>
                      <a:pt x="0" y="106"/>
                    </a:lnTo>
                    <a:lnTo>
                      <a:pt x="14" y="90"/>
                    </a:lnTo>
                    <a:lnTo>
                      <a:pt x="31" y="106"/>
                    </a:lnTo>
                    <a:lnTo>
                      <a:pt x="31" y="118"/>
                    </a:lnTo>
                    <a:lnTo>
                      <a:pt x="47" y="128"/>
                    </a:lnTo>
                    <a:lnTo>
                      <a:pt x="47" y="144"/>
                    </a:lnTo>
                    <a:lnTo>
                      <a:pt x="52" y="151"/>
                    </a:lnTo>
                    <a:lnTo>
                      <a:pt x="47" y="168"/>
                    </a:lnTo>
                    <a:lnTo>
                      <a:pt x="31" y="172"/>
                    </a:lnTo>
                    <a:lnTo>
                      <a:pt x="31" y="172"/>
                    </a:lnTo>
                    <a:lnTo>
                      <a:pt x="31" y="172"/>
                    </a:lnTo>
                    <a:close/>
                    <a:moveTo>
                      <a:pt x="69" y="128"/>
                    </a:moveTo>
                    <a:lnTo>
                      <a:pt x="52" y="128"/>
                    </a:lnTo>
                    <a:lnTo>
                      <a:pt x="52" y="111"/>
                    </a:lnTo>
                    <a:lnTo>
                      <a:pt x="69" y="118"/>
                    </a:lnTo>
                    <a:lnTo>
                      <a:pt x="80" y="118"/>
                    </a:lnTo>
                    <a:lnTo>
                      <a:pt x="69" y="128"/>
                    </a:lnTo>
                    <a:lnTo>
                      <a:pt x="69" y="128"/>
                    </a:lnTo>
                    <a:lnTo>
                      <a:pt x="69" y="128"/>
                    </a:lnTo>
                    <a:close/>
                    <a:moveTo>
                      <a:pt x="9" y="135"/>
                    </a:moveTo>
                    <a:lnTo>
                      <a:pt x="0" y="128"/>
                    </a:lnTo>
                    <a:lnTo>
                      <a:pt x="9" y="118"/>
                    </a:lnTo>
                    <a:lnTo>
                      <a:pt x="14" y="135"/>
                    </a:lnTo>
                    <a:lnTo>
                      <a:pt x="9" y="135"/>
                    </a:lnTo>
                    <a:lnTo>
                      <a:pt x="9" y="135"/>
                    </a:lnTo>
                    <a:lnTo>
                      <a:pt x="9" y="135"/>
                    </a:lnTo>
                    <a:close/>
                    <a:moveTo>
                      <a:pt x="97" y="161"/>
                    </a:moveTo>
                    <a:lnTo>
                      <a:pt x="80" y="151"/>
                    </a:lnTo>
                    <a:lnTo>
                      <a:pt x="80" y="135"/>
                    </a:lnTo>
                    <a:lnTo>
                      <a:pt x="102" y="144"/>
                    </a:lnTo>
                    <a:lnTo>
                      <a:pt x="102" y="151"/>
                    </a:lnTo>
                    <a:lnTo>
                      <a:pt x="97" y="161"/>
                    </a:lnTo>
                    <a:lnTo>
                      <a:pt x="97" y="161"/>
                    </a:lnTo>
                    <a:lnTo>
                      <a:pt x="97" y="161"/>
                    </a:lnTo>
                    <a:close/>
                    <a:moveTo>
                      <a:pt x="151" y="168"/>
                    </a:moveTo>
                    <a:lnTo>
                      <a:pt x="139" y="168"/>
                    </a:lnTo>
                    <a:lnTo>
                      <a:pt x="172" y="151"/>
                    </a:lnTo>
                    <a:lnTo>
                      <a:pt x="156" y="168"/>
                    </a:lnTo>
                    <a:lnTo>
                      <a:pt x="151" y="168"/>
                    </a:lnTo>
                    <a:lnTo>
                      <a:pt x="151" y="168"/>
                    </a:lnTo>
                    <a:lnTo>
                      <a:pt x="151" y="168"/>
                    </a:lnTo>
                    <a:close/>
                    <a:moveTo>
                      <a:pt x="85" y="201"/>
                    </a:moveTo>
                    <a:lnTo>
                      <a:pt x="80" y="189"/>
                    </a:lnTo>
                    <a:lnTo>
                      <a:pt x="80" y="189"/>
                    </a:lnTo>
                    <a:lnTo>
                      <a:pt x="85" y="189"/>
                    </a:lnTo>
                    <a:lnTo>
                      <a:pt x="85" y="201"/>
                    </a:lnTo>
                    <a:lnTo>
                      <a:pt x="85" y="201"/>
                    </a:lnTo>
                    <a:lnTo>
                      <a:pt x="85" y="201"/>
                    </a:lnTo>
                    <a:close/>
                    <a:moveTo>
                      <a:pt x="803" y="317"/>
                    </a:moveTo>
                    <a:lnTo>
                      <a:pt x="798" y="317"/>
                    </a:lnTo>
                    <a:lnTo>
                      <a:pt x="803" y="293"/>
                    </a:lnTo>
                    <a:lnTo>
                      <a:pt x="820" y="293"/>
                    </a:lnTo>
                    <a:lnTo>
                      <a:pt x="824" y="293"/>
                    </a:lnTo>
                    <a:lnTo>
                      <a:pt x="803" y="317"/>
                    </a:lnTo>
                    <a:lnTo>
                      <a:pt x="803" y="317"/>
                    </a:lnTo>
                    <a:lnTo>
                      <a:pt x="803" y="3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9" name="Freeform 435">
                <a:extLst>
                  <a:ext uri="{FF2B5EF4-FFF2-40B4-BE49-F238E27FC236}">
                    <a16:creationId xmlns:a16="http://schemas.microsoft.com/office/drawing/2014/main" id="{D70F083B-678C-42D4-BAF2-AC9130049054}"/>
                  </a:ext>
                </a:extLst>
              </p:cNvPr>
              <p:cNvSpPr>
                <a:spLocks/>
              </p:cNvSpPr>
              <p:nvPr/>
            </p:nvSpPr>
            <p:spPr bwMode="gray">
              <a:xfrm>
                <a:off x="4122834" y="3636878"/>
                <a:ext cx="72865" cy="36644"/>
              </a:xfrm>
              <a:custGeom>
                <a:avLst/>
                <a:gdLst>
                  <a:gd name="T0" fmla="*/ 0 w 177"/>
                  <a:gd name="T1" fmla="*/ 44 h 89"/>
                  <a:gd name="T2" fmla="*/ 12 w 177"/>
                  <a:gd name="T3" fmla="*/ 33 h 89"/>
                  <a:gd name="T4" fmla="*/ 45 w 177"/>
                  <a:gd name="T5" fmla="*/ 4 h 89"/>
                  <a:gd name="T6" fmla="*/ 45 w 177"/>
                  <a:gd name="T7" fmla="*/ 0 h 89"/>
                  <a:gd name="T8" fmla="*/ 55 w 177"/>
                  <a:gd name="T9" fmla="*/ 0 h 89"/>
                  <a:gd name="T10" fmla="*/ 83 w 177"/>
                  <a:gd name="T11" fmla="*/ 0 h 89"/>
                  <a:gd name="T12" fmla="*/ 100 w 177"/>
                  <a:gd name="T13" fmla="*/ 21 h 89"/>
                  <a:gd name="T14" fmla="*/ 100 w 177"/>
                  <a:gd name="T15" fmla="*/ 16 h 89"/>
                  <a:gd name="T16" fmla="*/ 111 w 177"/>
                  <a:gd name="T17" fmla="*/ 33 h 89"/>
                  <a:gd name="T18" fmla="*/ 121 w 177"/>
                  <a:gd name="T19" fmla="*/ 37 h 89"/>
                  <a:gd name="T20" fmla="*/ 144 w 177"/>
                  <a:gd name="T21" fmla="*/ 33 h 89"/>
                  <a:gd name="T22" fmla="*/ 154 w 177"/>
                  <a:gd name="T23" fmla="*/ 37 h 89"/>
                  <a:gd name="T24" fmla="*/ 166 w 177"/>
                  <a:gd name="T25" fmla="*/ 33 h 89"/>
                  <a:gd name="T26" fmla="*/ 177 w 177"/>
                  <a:gd name="T27" fmla="*/ 37 h 89"/>
                  <a:gd name="T28" fmla="*/ 166 w 177"/>
                  <a:gd name="T29" fmla="*/ 61 h 89"/>
                  <a:gd name="T30" fmla="*/ 177 w 177"/>
                  <a:gd name="T31" fmla="*/ 61 h 89"/>
                  <a:gd name="T32" fmla="*/ 166 w 177"/>
                  <a:gd name="T33" fmla="*/ 73 h 89"/>
                  <a:gd name="T34" fmla="*/ 161 w 177"/>
                  <a:gd name="T35" fmla="*/ 73 h 89"/>
                  <a:gd name="T36" fmla="*/ 166 w 177"/>
                  <a:gd name="T37" fmla="*/ 78 h 89"/>
                  <a:gd name="T38" fmla="*/ 161 w 177"/>
                  <a:gd name="T39" fmla="*/ 89 h 89"/>
                  <a:gd name="T40" fmla="*/ 100 w 177"/>
                  <a:gd name="T41" fmla="*/ 78 h 89"/>
                  <a:gd name="T42" fmla="*/ 111 w 177"/>
                  <a:gd name="T43" fmla="*/ 89 h 89"/>
                  <a:gd name="T44" fmla="*/ 55 w 177"/>
                  <a:gd name="T45" fmla="*/ 61 h 89"/>
                  <a:gd name="T46" fmla="*/ 29 w 177"/>
                  <a:gd name="T47" fmla="*/ 61 h 89"/>
                  <a:gd name="T48" fmla="*/ 0 w 177"/>
                  <a:gd name="T49" fmla="*/ 44 h 89"/>
                  <a:gd name="T50" fmla="*/ 0 w 177"/>
                  <a:gd name="T51" fmla="*/ 44 h 89"/>
                  <a:gd name="T52" fmla="*/ 0 w 177"/>
                  <a:gd name="T53"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7" h="89">
                    <a:moveTo>
                      <a:pt x="0" y="44"/>
                    </a:moveTo>
                    <a:lnTo>
                      <a:pt x="12" y="33"/>
                    </a:lnTo>
                    <a:lnTo>
                      <a:pt x="45" y="4"/>
                    </a:lnTo>
                    <a:lnTo>
                      <a:pt x="45" y="0"/>
                    </a:lnTo>
                    <a:lnTo>
                      <a:pt x="55" y="0"/>
                    </a:lnTo>
                    <a:lnTo>
                      <a:pt x="83" y="0"/>
                    </a:lnTo>
                    <a:lnTo>
                      <a:pt x="100" y="21"/>
                    </a:lnTo>
                    <a:lnTo>
                      <a:pt x="100" y="16"/>
                    </a:lnTo>
                    <a:lnTo>
                      <a:pt x="111" y="33"/>
                    </a:lnTo>
                    <a:lnTo>
                      <a:pt x="121" y="37"/>
                    </a:lnTo>
                    <a:lnTo>
                      <a:pt x="144" y="33"/>
                    </a:lnTo>
                    <a:lnTo>
                      <a:pt x="154" y="37"/>
                    </a:lnTo>
                    <a:lnTo>
                      <a:pt x="166" y="33"/>
                    </a:lnTo>
                    <a:lnTo>
                      <a:pt x="177" y="37"/>
                    </a:lnTo>
                    <a:lnTo>
                      <a:pt x="166" y="61"/>
                    </a:lnTo>
                    <a:lnTo>
                      <a:pt x="177" y="61"/>
                    </a:lnTo>
                    <a:lnTo>
                      <a:pt x="166" y="73"/>
                    </a:lnTo>
                    <a:lnTo>
                      <a:pt x="161" y="73"/>
                    </a:lnTo>
                    <a:lnTo>
                      <a:pt x="166" y="78"/>
                    </a:lnTo>
                    <a:lnTo>
                      <a:pt x="161" y="89"/>
                    </a:lnTo>
                    <a:lnTo>
                      <a:pt x="100" y="78"/>
                    </a:lnTo>
                    <a:lnTo>
                      <a:pt x="111" y="89"/>
                    </a:lnTo>
                    <a:lnTo>
                      <a:pt x="55" y="61"/>
                    </a:lnTo>
                    <a:lnTo>
                      <a:pt x="29" y="61"/>
                    </a:lnTo>
                    <a:lnTo>
                      <a:pt x="0" y="44"/>
                    </a:lnTo>
                    <a:lnTo>
                      <a:pt x="0" y="44"/>
                    </a:lnTo>
                    <a:lnTo>
                      <a:pt x="0" y="4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2" name="Freeform 438">
                <a:extLst>
                  <a:ext uri="{FF2B5EF4-FFF2-40B4-BE49-F238E27FC236}">
                    <a16:creationId xmlns:a16="http://schemas.microsoft.com/office/drawing/2014/main" id="{19CB4311-281F-4186-B249-8EDAE89BA7A8}"/>
                  </a:ext>
                </a:extLst>
              </p:cNvPr>
              <p:cNvSpPr>
                <a:spLocks/>
              </p:cNvSpPr>
              <p:nvPr/>
            </p:nvSpPr>
            <p:spPr bwMode="gray">
              <a:xfrm>
                <a:off x="5150774" y="3894612"/>
                <a:ext cx="81922" cy="107870"/>
              </a:xfrm>
              <a:custGeom>
                <a:avLst/>
                <a:gdLst>
                  <a:gd name="T0" fmla="*/ 0 w 199"/>
                  <a:gd name="T1" fmla="*/ 245 h 262"/>
                  <a:gd name="T2" fmla="*/ 17 w 199"/>
                  <a:gd name="T3" fmla="*/ 238 h 262"/>
                  <a:gd name="T4" fmla="*/ 21 w 199"/>
                  <a:gd name="T5" fmla="*/ 212 h 262"/>
                  <a:gd name="T6" fmla="*/ 21 w 199"/>
                  <a:gd name="T7" fmla="*/ 189 h 262"/>
                  <a:gd name="T8" fmla="*/ 33 w 199"/>
                  <a:gd name="T9" fmla="*/ 184 h 262"/>
                  <a:gd name="T10" fmla="*/ 38 w 199"/>
                  <a:gd name="T11" fmla="*/ 155 h 262"/>
                  <a:gd name="T12" fmla="*/ 17 w 199"/>
                  <a:gd name="T13" fmla="*/ 127 h 262"/>
                  <a:gd name="T14" fmla="*/ 7 w 199"/>
                  <a:gd name="T15" fmla="*/ 73 h 262"/>
                  <a:gd name="T16" fmla="*/ 7 w 199"/>
                  <a:gd name="T17" fmla="*/ 54 h 262"/>
                  <a:gd name="T18" fmla="*/ 33 w 199"/>
                  <a:gd name="T19" fmla="*/ 28 h 262"/>
                  <a:gd name="T20" fmla="*/ 38 w 199"/>
                  <a:gd name="T21" fmla="*/ 4 h 262"/>
                  <a:gd name="T22" fmla="*/ 50 w 199"/>
                  <a:gd name="T23" fmla="*/ 0 h 262"/>
                  <a:gd name="T24" fmla="*/ 76 w 199"/>
                  <a:gd name="T25" fmla="*/ 16 h 262"/>
                  <a:gd name="T26" fmla="*/ 114 w 199"/>
                  <a:gd name="T27" fmla="*/ 21 h 262"/>
                  <a:gd name="T28" fmla="*/ 177 w 199"/>
                  <a:gd name="T29" fmla="*/ 77 h 262"/>
                  <a:gd name="T30" fmla="*/ 182 w 199"/>
                  <a:gd name="T31" fmla="*/ 94 h 262"/>
                  <a:gd name="T32" fmla="*/ 177 w 199"/>
                  <a:gd name="T33" fmla="*/ 99 h 262"/>
                  <a:gd name="T34" fmla="*/ 182 w 199"/>
                  <a:gd name="T35" fmla="*/ 99 h 262"/>
                  <a:gd name="T36" fmla="*/ 182 w 199"/>
                  <a:gd name="T37" fmla="*/ 77 h 262"/>
                  <a:gd name="T38" fmla="*/ 194 w 199"/>
                  <a:gd name="T39" fmla="*/ 82 h 262"/>
                  <a:gd name="T40" fmla="*/ 199 w 199"/>
                  <a:gd name="T41" fmla="*/ 111 h 262"/>
                  <a:gd name="T42" fmla="*/ 199 w 199"/>
                  <a:gd name="T43" fmla="*/ 127 h 262"/>
                  <a:gd name="T44" fmla="*/ 156 w 199"/>
                  <a:gd name="T45" fmla="*/ 189 h 262"/>
                  <a:gd name="T46" fmla="*/ 139 w 199"/>
                  <a:gd name="T47" fmla="*/ 238 h 262"/>
                  <a:gd name="T48" fmla="*/ 114 w 199"/>
                  <a:gd name="T49" fmla="*/ 262 h 262"/>
                  <a:gd name="T50" fmla="*/ 92 w 199"/>
                  <a:gd name="T51" fmla="*/ 262 h 262"/>
                  <a:gd name="T52" fmla="*/ 85 w 199"/>
                  <a:gd name="T53" fmla="*/ 245 h 262"/>
                  <a:gd name="T54" fmla="*/ 71 w 199"/>
                  <a:gd name="T55" fmla="*/ 250 h 262"/>
                  <a:gd name="T56" fmla="*/ 54 w 199"/>
                  <a:gd name="T57" fmla="*/ 245 h 262"/>
                  <a:gd name="T58" fmla="*/ 33 w 199"/>
                  <a:gd name="T59" fmla="*/ 262 h 262"/>
                  <a:gd name="T60" fmla="*/ 0 w 199"/>
                  <a:gd name="T61" fmla="*/ 245 h 262"/>
                  <a:gd name="T62" fmla="*/ 0 w 199"/>
                  <a:gd name="T63" fmla="*/ 245 h 262"/>
                  <a:gd name="T64" fmla="*/ 0 w 199"/>
                  <a:gd name="T65" fmla="*/ 24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9" h="262">
                    <a:moveTo>
                      <a:pt x="0" y="245"/>
                    </a:moveTo>
                    <a:lnTo>
                      <a:pt x="17" y="238"/>
                    </a:lnTo>
                    <a:lnTo>
                      <a:pt x="21" y="212"/>
                    </a:lnTo>
                    <a:lnTo>
                      <a:pt x="21" y="189"/>
                    </a:lnTo>
                    <a:lnTo>
                      <a:pt x="33" y="184"/>
                    </a:lnTo>
                    <a:lnTo>
                      <a:pt x="38" y="155"/>
                    </a:lnTo>
                    <a:lnTo>
                      <a:pt x="17" y="127"/>
                    </a:lnTo>
                    <a:lnTo>
                      <a:pt x="7" y="73"/>
                    </a:lnTo>
                    <a:lnTo>
                      <a:pt x="7" y="54"/>
                    </a:lnTo>
                    <a:lnTo>
                      <a:pt x="33" y="28"/>
                    </a:lnTo>
                    <a:lnTo>
                      <a:pt x="38" y="4"/>
                    </a:lnTo>
                    <a:lnTo>
                      <a:pt x="50" y="0"/>
                    </a:lnTo>
                    <a:lnTo>
                      <a:pt x="76" y="16"/>
                    </a:lnTo>
                    <a:lnTo>
                      <a:pt x="114" y="21"/>
                    </a:lnTo>
                    <a:lnTo>
                      <a:pt x="177" y="77"/>
                    </a:lnTo>
                    <a:lnTo>
                      <a:pt x="182" y="94"/>
                    </a:lnTo>
                    <a:lnTo>
                      <a:pt x="177" y="99"/>
                    </a:lnTo>
                    <a:lnTo>
                      <a:pt x="182" y="99"/>
                    </a:lnTo>
                    <a:lnTo>
                      <a:pt x="182" y="77"/>
                    </a:lnTo>
                    <a:lnTo>
                      <a:pt x="194" y="82"/>
                    </a:lnTo>
                    <a:lnTo>
                      <a:pt x="199" y="111"/>
                    </a:lnTo>
                    <a:lnTo>
                      <a:pt x="199" y="127"/>
                    </a:lnTo>
                    <a:lnTo>
                      <a:pt x="156" y="189"/>
                    </a:lnTo>
                    <a:lnTo>
                      <a:pt x="139" y="238"/>
                    </a:lnTo>
                    <a:lnTo>
                      <a:pt x="114" y="262"/>
                    </a:lnTo>
                    <a:lnTo>
                      <a:pt x="92" y="262"/>
                    </a:lnTo>
                    <a:lnTo>
                      <a:pt x="85" y="245"/>
                    </a:lnTo>
                    <a:lnTo>
                      <a:pt x="71" y="250"/>
                    </a:lnTo>
                    <a:lnTo>
                      <a:pt x="54" y="245"/>
                    </a:lnTo>
                    <a:lnTo>
                      <a:pt x="33" y="262"/>
                    </a:lnTo>
                    <a:lnTo>
                      <a:pt x="0" y="245"/>
                    </a:lnTo>
                    <a:lnTo>
                      <a:pt x="0" y="245"/>
                    </a:lnTo>
                    <a:lnTo>
                      <a:pt x="0" y="24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2" name="Freeform 451">
                <a:extLst>
                  <a:ext uri="{FF2B5EF4-FFF2-40B4-BE49-F238E27FC236}">
                    <a16:creationId xmlns:a16="http://schemas.microsoft.com/office/drawing/2014/main" id="{664D3D85-33B6-4E85-92D3-1D7A0031F82F}"/>
                  </a:ext>
                </a:extLst>
              </p:cNvPr>
              <p:cNvSpPr>
                <a:spLocks/>
              </p:cNvSpPr>
              <p:nvPr/>
            </p:nvSpPr>
            <p:spPr bwMode="gray">
              <a:xfrm>
                <a:off x="4940822" y="3699870"/>
                <a:ext cx="6587" cy="6999"/>
              </a:xfrm>
              <a:custGeom>
                <a:avLst/>
                <a:gdLst>
                  <a:gd name="T0" fmla="*/ 16 w 16"/>
                  <a:gd name="T1" fmla="*/ 0 h 17"/>
                  <a:gd name="T2" fmla="*/ 16 w 16"/>
                  <a:gd name="T3" fmla="*/ 17 h 17"/>
                  <a:gd name="T4" fmla="*/ 0 w 16"/>
                  <a:gd name="T5" fmla="*/ 17 h 17"/>
                  <a:gd name="T6" fmla="*/ 7 w 16"/>
                  <a:gd name="T7" fmla="*/ 0 h 17"/>
                  <a:gd name="T8" fmla="*/ 16 w 16"/>
                  <a:gd name="T9" fmla="*/ 0 h 17"/>
                  <a:gd name="T10" fmla="*/ 16 w 16"/>
                  <a:gd name="T11" fmla="*/ 0 h 17"/>
                  <a:gd name="T12" fmla="*/ 16 w 16"/>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6" h="17">
                    <a:moveTo>
                      <a:pt x="16" y="0"/>
                    </a:moveTo>
                    <a:lnTo>
                      <a:pt x="16" y="17"/>
                    </a:lnTo>
                    <a:lnTo>
                      <a:pt x="0" y="17"/>
                    </a:lnTo>
                    <a:lnTo>
                      <a:pt x="7" y="0"/>
                    </a:lnTo>
                    <a:lnTo>
                      <a:pt x="16" y="0"/>
                    </a:lnTo>
                    <a:lnTo>
                      <a:pt x="16" y="0"/>
                    </a:lnTo>
                    <a:lnTo>
                      <a:pt x="16"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5" name="Freeform 454">
                <a:extLst>
                  <a:ext uri="{FF2B5EF4-FFF2-40B4-BE49-F238E27FC236}">
                    <a16:creationId xmlns:a16="http://schemas.microsoft.com/office/drawing/2014/main" id="{2E51BE56-2712-4428-A460-DD869D288326}"/>
                  </a:ext>
                </a:extLst>
              </p:cNvPr>
              <p:cNvSpPr>
                <a:spLocks noEditPoints="1"/>
              </p:cNvSpPr>
              <p:nvPr/>
            </p:nvSpPr>
            <p:spPr bwMode="gray">
              <a:xfrm>
                <a:off x="4903771" y="3522008"/>
                <a:ext cx="54341" cy="67933"/>
              </a:xfrm>
              <a:custGeom>
                <a:avLst/>
                <a:gdLst>
                  <a:gd name="T0" fmla="*/ 5 w 132"/>
                  <a:gd name="T1" fmla="*/ 5 h 165"/>
                  <a:gd name="T2" fmla="*/ 0 w 132"/>
                  <a:gd name="T3" fmla="*/ 5 h 165"/>
                  <a:gd name="T4" fmla="*/ 5 w 132"/>
                  <a:gd name="T5" fmla="*/ 0 h 165"/>
                  <a:gd name="T6" fmla="*/ 5 w 132"/>
                  <a:gd name="T7" fmla="*/ 5 h 165"/>
                  <a:gd name="T8" fmla="*/ 5 w 132"/>
                  <a:gd name="T9" fmla="*/ 5 h 165"/>
                  <a:gd name="T10" fmla="*/ 5 w 132"/>
                  <a:gd name="T11" fmla="*/ 5 h 165"/>
                  <a:gd name="T12" fmla="*/ 21 w 132"/>
                  <a:gd name="T13" fmla="*/ 16 h 165"/>
                  <a:gd name="T14" fmla="*/ 12 w 132"/>
                  <a:gd name="T15" fmla="*/ 16 h 165"/>
                  <a:gd name="T16" fmla="*/ 21 w 132"/>
                  <a:gd name="T17" fmla="*/ 16 h 165"/>
                  <a:gd name="T18" fmla="*/ 21 w 132"/>
                  <a:gd name="T19" fmla="*/ 16 h 165"/>
                  <a:gd name="T20" fmla="*/ 21 w 132"/>
                  <a:gd name="T21" fmla="*/ 16 h 165"/>
                  <a:gd name="T22" fmla="*/ 21 w 132"/>
                  <a:gd name="T23" fmla="*/ 16 h 165"/>
                  <a:gd name="T24" fmla="*/ 111 w 132"/>
                  <a:gd name="T25" fmla="*/ 132 h 165"/>
                  <a:gd name="T26" fmla="*/ 111 w 132"/>
                  <a:gd name="T27" fmla="*/ 116 h 165"/>
                  <a:gd name="T28" fmla="*/ 118 w 132"/>
                  <a:gd name="T29" fmla="*/ 132 h 165"/>
                  <a:gd name="T30" fmla="*/ 132 w 132"/>
                  <a:gd name="T31" fmla="*/ 132 h 165"/>
                  <a:gd name="T32" fmla="*/ 106 w 132"/>
                  <a:gd name="T33" fmla="*/ 144 h 165"/>
                  <a:gd name="T34" fmla="*/ 106 w 132"/>
                  <a:gd name="T35" fmla="*/ 156 h 165"/>
                  <a:gd name="T36" fmla="*/ 97 w 132"/>
                  <a:gd name="T37" fmla="*/ 156 h 165"/>
                  <a:gd name="T38" fmla="*/ 90 w 132"/>
                  <a:gd name="T39" fmla="*/ 132 h 165"/>
                  <a:gd name="T40" fmla="*/ 111 w 132"/>
                  <a:gd name="T41" fmla="*/ 132 h 165"/>
                  <a:gd name="T42" fmla="*/ 111 w 132"/>
                  <a:gd name="T43" fmla="*/ 132 h 165"/>
                  <a:gd name="T44" fmla="*/ 111 w 132"/>
                  <a:gd name="T45" fmla="*/ 132 h 165"/>
                  <a:gd name="T46" fmla="*/ 128 w 132"/>
                  <a:gd name="T47" fmla="*/ 165 h 165"/>
                  <a:gd name="T48" fmla="*/ 118 w 132"/>
                  <a:gd name="T49" fmla="*/ 165 h 165"/>
                  <a:gd name="T50" fmla="*/ 128 w 132"/>
                  <a:gd name="T51" fmla="*/ 156 h 165"/>
                  <a:gd name="T52" fmla="*/ 132 w 132"/>
                  <a:gd name="T53" fmla="*/ 165 h 165"/>
                  <a:gd name="T54" fmla="*/ 128 w 132"/>
                  <a:gd name="T55" fmla="*/ 165 h 165"/>
                  <a:gd name="T56" fmla="*/ 128 w 132"/>
                  <a:gd name="T57" fmla="*/ 165 h 165"/>
                  <a:gd name="T58" fmla="*/ 128 w 132"/>
                  <a:gd name="T59"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2" h="165">
                    <a:moveTo>
                      <a:pt x="5" y="5"/>
                    </a:moveTo>
                    <a:lnTo>
                      <a:pt x="0" y="5"/>
                    </a:lnTo>
                    <a:lnTo>
                      <a:pt x="5" y="0"/>
                    </a:lnTo>
                    <a:lnTo>
                      <a:pt x="5" y="5"/>
                    </a:lnTo>
                    <a:lnTo>
                      <a:pt x="5" y="5"/>
                    </a:lnTo>
                    <a:lnTo>
                      <a:pt x="5" y="5"/>
                    </a:lnTo>
                    <a:close/>
                    <a:moveTo>
                      <a:pt x="21" y="16"/>
                    </a:moveTo>
                    <a:lnTo>
                      <a:pt x="12" y="16"/>
                    </a:lnTo>
                    <a:lnTo>
                      <a:pt x="21" y="16"/>
                    </a:lnTo>
                    <a:lnTo>
                      <a:pt x="21" y="16"/>
                    </a:lnTo>
                    <a:lnTo>
                      <a:pt x="21" y="16"/>
                    </a:lnTo>
                    <a:lnTo>
                      <a:pt x="21" y="16"/>
                    </a:lnTo>
                    <a:close/>
                    <a:moveTo>
                      <a:pt x="111" y="132"/>
                    </a:moveTo>
                    <a:lnTo>
                      <a:pt x="111" y="116"/>
                    </a:lnTo>
                    <a:lnTo>
                      <a:pt x="118" y="132"/>
                    </a:lnTo>
                    <a:lnTo>
                      <a:pt x="132" y="132"/>
                    </a:lnTo>
                    <a:lnTo>
                      <a:pt x="106" y="144"/>
                    </a:lnTo>
                    <a:lnTo>
                      <a:pt x="106" y="156"/>
                    </a:lnTo>
                    <a:lnTo>
                      <a:pt x="97" y="156"/>
                    </a:lnTo>
                    <a:lnTo>
                      <a:pt x="90" y="132"/>
                    </a:lnTo>
                    <a:lnTo>
                      <a:pt x="111" y="132"/>
                    </a:lnTo>
                    <a:lnTo>
                      <a:pt x="111" y="132"/>
                    </a:lnTo>
                    <a:lnTo>
                      <a:pt x="111" y="132"/>
                    </a:lnTo>
                    <a:close/>
                    <a:moveTo>
                      <a:pt x="128" y="165"/>
                    </a:moveTo>
                    <a:lnTo>
                      <a:pt x="118" y="165"/>
                    </a:lnTo>
                    <a:lnTo>
                      <a:pt x="128" y="156"/>
                    </a:lnTo>
                    <a:lnTo>
                      <a:pt x="132" y="165"/>
                    </a:lnTo>
                    <a:lnTo>
                      <a:pt x="128" y="165"/>
                    </a:lnTo>
                    <a:lnTo>
                      <a:pt x="128" y="165"/>
                    </a:lnTo>
                    <a:lnTo>
                      <a:pt x="128" y="16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7" name="Freeform 457">
                <a:extLst>
                  <a:ext uri="{FF2B5EF4-FFF2-40B4-BE49-F238E27FC236}">
                    <a16:creationId xmlns:a16="http://schemas.microsoft.com/office/drawing/2014/main" id="{9CD18B9E-30AA-450B-91F4-23A30A03B048}"/>
                  </a:ext>
                </a:extLst>
              </p:cNvPr>
              <p:cNvSpPr>
                <a:spLocks/>
              </p:cNvSpPr>
              <p:nvPr/>
            </p:nvSpPr>
            <p:spPr bwMode="gray">
              <a:xfrm>
                <a:off x="4060672" y="3530655"/>
                <a:ext cx="118561" cy="123515"/>
              </a:xfrm>
              <a:custGeom>
                <a:avLst/>
                <a:gdLst>
                  <a:gd name="T0" fmla="*/ 0 w 288"/>
                  <a:gd name="T1" fmla="*/ 239 h 300"/>
                  <a:gd name="T2" fmla="*/ 17 w 288"/>
                  <a:gd name="T3" fmla="*/ 206 h 300"/>
                  <a:gd name="T4" fmla="*/ 7 w 288"/>
                  <a:gd name="T5" fmla="*/ 189 h 300"/>
                  <a:gd name="T6" fmla="*/ 40 w 288"/>
                  <a:gd name="T7" fmla="*/ 128 h 300"/>
                  <a:gd name="T8" fmla="*/ 132 w 288"/>
                  <a:gd name="T9" fmla="*/ 128 h 300"/>
                  <a:gd name="T10" fmla="*/ 132 w 288"/>
                  <a:gd name="T11" fmla="*/ 104 h 300"/>
                  <a:gd name="T12" fmla="*/ 116 w 288"/>
                  <a:gd name="T13" fmla="*/ 104 h 300"/>
                  <a:gd name="T14" fmla="*/ 109 w 288"/>
                  <a:gd name="T15" fmla="*/ 78 h 300"/>
                  <a:gd name="T16" fmla="*/ 62 w 288"/>
                  <a:gd name="T17" fmla="*/ 38 h 300"/>
                  <a:gd name="T18" fmla="*/ 95 w 288"/>
                  <a:gd name="T19" fmla="*/ 38 h 300"/>
                  <a:gd name="T20" fmla="*/ 95 w 288"/>
                  <a:gd name="T21" fmla="*/ 0 h 300"/>
                  <a:gd name="T22" fmla="*/ 225 w 288"/>
                  <a:gd name="T23" fmla="*/ 0 h 300"/>
                  <a:gd name="T24" fmla="*/ 217 w 288"/>
                  <a:gd name="T25" fmla="*/ 144 h 300"/>
                  <a:gd name="T26" fmla="*/ 241 w 288"/>
                  <a:gd name="T27" fmla="*/ 144 h 300"/>
                  <a:gd name="T28" fmla="*/ 255 w 288"/>
                  <a:gd name="T29" fmla="*/ 161 h 300"/>
                  <a:gd name="T30" fmla="*/ 272 w 288"/>
                  <a:gd name="T31" fmla="*/ 144 h 300"/>
                  <a:gd name="T32" fmla="*/ 262 w 288"/>
                  <a:gd name="T33" fmla="*/ 132 h 300"/>
                  <a:gd name="T34" fmla="*/ 288 w 288"/>
                  <a:gd name="T35" fmla="*/ 161 h 300"/>
                  <a:gd name="T36" fmla="*/ 225 w 288"/>
                  <a:gd name="T37" fmla="*/ 206 h 300"/>
                  <a:gd name="T38" fmla="*/ 217 w 288"/>
                  <a:gd name="T39" fmla="*/ 222 h 300"/>
                  <a:gd name="T40" fmla="*/ 225 w 288"/>
                  <a:gd name="T41" fmla="*/ 234 h 300"/>
                  <a:gd name="T42" fmla="*/ 208 w 288"/>
                  <a:gd name="T43" fmla="*/ 255 h 300"/>
                  <a:gd name="T44" fmla="*/ 196 w 288"/>
                  <a:gd name="T45" fmla="*/ 255 h 300"/>
                  <a:gd name="T46" fmla="*/ 196 w 288"/>
                  <a:gd name="T47" fmla="*/ 260 h 300"/>
                  <a:gd name="T48" fmla="*/ 163 w 288"/>
                  <a:gd name="T49" fmla="*/ 288 h 300"/>
                  <a:gd name="T50" fmla="*/ 154 w 288"/>
                  <a:gd name="T51" fmla="*/ 300 h 300"/>
                  <a:gd name="T52" fmla="*/ 116 w 288"/>
                  <a:gd name="T53" fmla="*/ 288 h 300"/>
                  <a:gd name="T54" fmla="*/ 62 w 288"/>
                  <a:gd name="T55" fmla="*/ 288 h 300"/>
                  <a:gd name="T56" fmla="*/ 0 w 288"/>
                  <a:gd name="T57" fmla="*/ 239 h 300"/>
                  <a:gd name="T58" fmla="*/ 0 w 288"/>
                  <a:gd name="T59" fmla="*/ 239 h 300"/>
                  <a:gd name="T60" fmla="*/ 0 w 288"/>
                  <a:gd name="T61" fmla="*/ 23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8" h="300">
                    <a:moveTo>
                      <a:pt x="0" y="239"/>
                    </a:moveTo>
                    <a:lnTo>
                      <a:pt x="17" y="206"/>
                    </a:lnTo>
                    <a:lnTo>
                      <a:pt x="7" y="189"/>
                    </a:lnTo>
                    <a:lnTo>
                      <a:pt x="40" y="128"/>
                    </a:lnTo>
                    <a:lnTo>
                      <a:pt x="132" y="128"/>
                    </a:lnTo>
                    <a:lnTo>
                      <a:pt x="132" y="104"/>
                    </a:lnTo>
                    <a:lnTo>
                      <a:pt x="116" y="104"/>
                    </a:lnTo>
                    <a:lnTo>
                      <a:pt x="109" y="78"/>
                    </a:lnTo>
                    <a:lnTo>
                      <a:pt x="62" y="38"/>
                    </a:lnTo>
                    <a:lnTo>
                      <a:pt x="95" y="38"/>
                    </a:lnTo>
                    <a:lnTo>
                      <a:pt x="95" y="0"/>
                    </a:lnTo>
                    <a:lnTo>
                      <a:pt x="225" y="0"/>
                    </a:lnTo>
                    <a:lnTo>
                      <a:pt x="217" y="144"/>
                    </a:lnTo>
                    <a:lnTo>
                      <a:pt x="241" y="144"/>
                    </a:lnTo>
                    <a:lnTo>
                      <a:pt x="255" y="161"/>
                    </a:lnTo>
                    <a:lnTo>
                      <a:pt x="272" y="144"/>
                    </a:lnTo>
                    <a:lnTo>
                      <a:pt x="262" y="132"/>
                    </a:lnTo>
                    <a:lnTo>
                      <a:pt x="288" y="161"/>
                    </a:lnTo>
                    <a:lnTo>
                      <a:pt x="225" y="206"/>
                    </a:lnTo>
                    <a:lnTo>
                      <a:pt x="217" y="222"/>
                    </a:lnTo>
                    <a:lnTo>
                      <a:pt x="225" y="234"/>
                    </a:lnTo>
                    <a:lnTo>
                      <a:pt x="208" y="255"/>
                    </a:lnTo>
                    <a:lnTo>
                      <a:pt x="196" y="255"/>
                    </a:lnTo>
                    <a:lnTo>
                      <a:pt x="196" y="260"/>
                    </a:lnTo>
                    <a:lnTo>
                      <a:pt x="163" y="288"/>
                    </a:lnTo>
                    <a:lnTo>
                      <a:pt x="154" y="300"/>
                    </a:lnTo>
                    <a:lnTo>
                      <a:pt x="116" y="288"/>
                    </a:lnTo>
                    <a:lnTo>
                      <a:pt x="62" y="288"/>
                    </a:lnTo>
                    <a:lnTo>
                      <a:pt x="0" y="239"/>
                    </a:lnTo>
                    <a:lnTo>
                      <a:pt x="0" y="239"/>
                    </a:lnTo>
                    <a:lnTo>
                      <a:pt x="0" y="23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9" name="Freeform 459">
                <a:extLst>
                  <a:ext uri="{FF2B5EF4-FFF2-40B4-BE49-F238E27FC236}">
                    <a16:creationId xmlns:a16="http://schemas.microsoft.com/office/drawing/2014/main" id="{0835DD57-7754-4C37-AEF1-D70A0D86D0C6}"/>
                  </a:ext>
                </a:extLst>
              </p:cNvPr>
              <p:cNvSpPr>
                <a:spLocks/>
              </p:cNvSpPr>
              <p:nvPr/>
            </p:nvSpPr>
            <p:spPr bwMode="gray">
              <a:xfrm>
                <a:off x="4953584" y="3811857"/>
                <a:ext cx="142849" cy="218622"/>
              </a:xfrm>
              <a:custGeom>
                <a:avLst/>
                <a:gdLst>
                  <a:gd name="T0" fmla="*/ 85 w 347"/>
                  <a:gd name="T1" fmla="*/ 236 h 531"/>
                  <a:gd name="T2" fmla="*/ 47 w 347"/>
                  <a:gd name="T3" fmla="*/ 236 h 531"/>
                  <a:gd name="T4" fmla="*/ 16 w 347"/>
                  <a:gd name="T5" fmla="*/ 165 h 531"/>
                  <a:gd name="T6" fmla="*/ 16 w 347"/>
                  <a:gd name="T7" fmla="*/ 127 h 531"/>
                  <a:gd name="T8" fmla="*/ 80 w 347"/>
                  <a:gd name="T9" fmla="*/ 104 h 531"/>
                  <a:gd name="T10" fmla="*/ 63 w 347"/>
                  <a:gd name="T11" fmla="*/ 104 h 531"/>
                  <a:gd name="T12" fmla="*/ 54 w 347"/>
                  <a:gd name="T13" fmla="*/ 87 h 531"/>
                  <a:gd name="T14" fmla="*/ 63 w 347"/>
                  <a:gd name="T15" fmla="*/ 49 h 531"/>
                  <a:gd name="T16" fmla="*/ 101 w 347"/>
                  <a:gd name="T17" fmla="*/ 21 h 531"/>
                  <a:gd name="T18" fmla="*/ 101 w 347"/>
                  <a:gd name="T19" fmla="*/ 0 h 531"/>
                  <a:gd name="T20" fmla="*/ 118 w 347"/>
                  <a:gd name="T21" fmla="*/ 4 h 531"/>
                  <a:gd name="T22" fmla="*/ 203 w 347"/>
                  <a:gd name="T23" fmla="*/ 87 h 531"/>
                  <a:gd name="T24" fmla="*/ 203 w 347"/>
                  <a:gd name="T25" fmla="*/ 115 h 531"/>
                  <a:gd name="T26" fmla="*/ 207 w 347"/>
                  <a:gd name="T27" fmla="*/ 115 h 531"/>
                  <a:gd name="T28" fmla="*/ 241 w 347"/>
                  <a:gd name="T29" fmla="*/ 127 h 531"/>
                  <a:gd name="T30" fmla="*/ 267 w 347"/>
                  <a:gd name="T31" fmla="*/ 165 h 531"/>
                  <a:gd name="T32" fmla="*/ 293 w 347"/>
                  <a:gd name="T33" fmla="*/ 170 h 531"/>
                  <a:gd name="T34" fmla="*/ 293 w 347"/>
                  <a:gd name="T35" fmla="*/ 219 h 531"/>
                  <a:gd name="T36" fmla="*/ 293 w 347"/>
                  <a:gd name="T37" fmla="*/ 243 h 531"/>
                  <a:gd name="T38" fmla="*/ 283 w 347"/>
                  <a:gd name="T39" fmla="*/ 253 h 531"/>
                  <a:gd name="T40" fmla="*/ 241 w 347"/>
                  <a:gd name="T41" fmla="*/ 271 h 531"/>
                  <a:gd name="T42" fmla="*/ 229 w 347"/>
                  <a:gd name="T43" fmla="*/ 314 h 531"/>
                  <a:gd name="T44" fmla="*/ 262 w 347"/>
                  <a:gd name="T45" fmla="*/ 364 h 531"/>
                  <a:gd name="T46" fmla="*/ 283 w 347"/>
                  <a:gd name="T47" fmla="*/ 371 h 531"/>
                  <a:gd name="T48" fmla="*/ 330 w 347"/>
                  <a:gd name="T49" fmla="*/ 465 h 531"/>
                  <a:gd name="T50" fmla="*/ 321 w 347"/>
                  <a:gd name="T51" fmla="*/ 482 h 531"/>
                  <a:gd name="T52" fmla="*/ 283 w 347"/>
                  <a:gd name="T53" fmla="*/ 475 h 531"/>
                  <a:gd name="T54" fmla="*/ 257 w 347"/>
                  <a:gd name="T55" fmla="*/ 491 h 531"/>
                  <a:gd name="T56" fmla="*/ 241 w 347"/>
                  <a:gd name="T57" fmla="*/ 503 h 531"/>
                  <a:gd name="T58" fmla="*/ 203 w 347"/>
                  <a:gd name="T59" fmla="*/ 503 h 531"/>
                  <a:gd name="T60" fmla="*/ 186 w 347"/>
                  <a:gd name="T61" fmla="*/ 519 h 531"/>
                  <a:gd name="T62" fmla="*/ 170 w 347"/>
                  <a:gd name="T63" fmla="*/ 519 h 531"/>
                  <a:gd name="T64" fmla="*/ 132 w 347"/>
                  <a:gd name="T65" fmla="*/ 491 h 531"/>
                  <a:gd name="T66" fmla="*/ 122 w 347"/>
                  <a:gd name="T67" fmla="*/ 482 h 531"/>
                  <a:gd name="T68" fmla="*/ 118 w 347"/>
                  <a:gd name="T69" fmla="*/ 449 h 531"/>
                  <a:gd name="T70" fmla="*/ 101 w 347"/>
                  <a:gd name="T71" fmla="*/ 420 h 531"/>
                  <a:gd name="T72" fmla="*/ 122 w 347"/>
                  <a:gd name="T73" fmla="*/ 330 h 531"/>
                  <a:gd name="T74" fmla="*/ 118 w 347"/>
                  <a:gd name="T75" fmla="*/ 297 h 531"/>
                  <a:gd name="T76" fmla="*/ 96 w 347"/>
                  <a:gd name="T77" fmla="*/ 276 h 531"/>
                  <a:gd name="T78" fmla="*/ 96 w 347"/>
                  <a:gd name="T79" fmla="*/ 243 h 531"/>
                  <a:gd name="T80" fmla="*/ 96 w 347"/>
                  <a:gd name="T81" fmla="*/ 243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7" h="531">
                    <a:moveTo>
                      <a:pt x="96" y="243"/>
                    </a:moveTo>
                    <a:lnTo>
                      <a:pt x="85" y="236"/>
                    </a:lnTo>
                    <a:lnTo>
                      <a:pt x="80" y="236"/>
                    </a:lnTo>
                    <a:lnTo>
                      <a:pt x="47" y="236"/>
                    </a:lnTo>
                    <a:lnTo>
                      <a:pt x="0" y="186"/>
                    </a:lnTo>
                    <a:lnTo>
                      <a:pt x="16" y="165"/>
                    </a:lnTo>
                    <a:lnTo>
                      <a:pt x="16" y="144"/>
                    </a:lnTo>
                    <a:lnTo>
                      <a:pt x="16" y="127"/>
                    </a:lnTo>
                    <a:lnTo>
                      <a:pt x="47" y="127"/>
                    </a:lnTo>
                    <a:lnTo>
                      <a:pt x="80" y="104"/>
                    </a:lnTo>
                    <a:lnTo>
                      <a:pt x="68" y="92"/>
                    </a:lnTo>
                    <a:lnTo>
                      <a:pt x="63" y="104"/>
                    </a:lnTo>
                    <a:lnTo>
                      <a:pt x="54" y="92"/>
                    </a:lnTo>
                    <a:lnTo>
                      <a:pt x="54" y="87"/>
                    </a:lnTo>
                    <a:lnTo>
                      <a:pt x="47" y="71"/>
                    </a:lnTo>
                    <a:lnTo>
                      <a:pt x="63" y="49"/>
                    </a:lnTo>
                    <a:lnTo>
                      <a:pt x="96" y="33"/>
                    </a:lnTo>
                    <a:lnTo>
                      <a:pt x="101" y="21"/>
                    </a:lnTo>
                    <a:lnTo>
                      <a:pt x="106" y="21"/>
                    </a:lnTo>
                    <a:lnTo>
                      <a:pt x="101" y="0"/>
                    </a:lnTo>
                    <a:lnTo>
                      <a:pt x="106" y="4"/>
                    </a:lnTo>
                    <a:lnTo>
                      <a:pt x="118" y="4"/>
                    </a:lnTo>
                    <a:lnTo>
                      <a:pt x="160" y="33"/>
                    </a:lnTo>
                    <a:lnTo>
                      <a:pt x="203" y="87"/>
                    </a:lnTo>
                    <a:lnTo>
                      <a:pt x="203" y="108"/>
                    </a:lnTo>
                    <a:lnTo>
                      <a:pt x="203" y="115"/>
                    </a:lnTo>
                    <a:lnTo>
                      <a:pt x="191" y="149"/>
                    </a:lnTo>
                    <a:lnTo>
                      <a:pt x="207" y="115"/>
                    </a:lnTo>
                    <a:lnTo>
                      <a:pt x="212" y="115"/>
                    </a:lnTo>
                    <a:lnTo>
                      <a:pt x="241" y="127"/>
                    </a:lnTo>
                    <a:lnTo>
                      <a:pt x="262" y="149"/>
                    </a:lnTo>
                    <a:lnTo>
                      <a:pt x="267" y="165"/>
                    </a:lnTo>
                    <a:lnTo>
                      <a:pt x="278" y="160"/>
                    </a:lnTo>
                    <a:lnTo>
                      <a:pt x="293" y="170"/>
                    </a:lnTo>
                    <a:lnTo>
                      <a:pt x="300" y="182"/>
                    </a:lnTo>
                    <a:lnTo>
                      <a:pt x="293" y="219"/>
                    </a:lnTo>
                    <a:lnTo>
                      <a:pt x="283" y="227"/>
                    </a:lnTo>
                    <a:lnTo>
                      <a:pt x="293" y="243"/>
                    </a:lnTo>
                    <a:lnTo>
                      <a:pt x="283" y="243"/>
                    </a:lnTo>
                    <a:lnTo>
                      <a:pt x="283" y="253"/>
                    </a:lnTo>
                    <a:lnTo>
                      <a:pt x="262" y="253"/>
                    </a:lnTo>
                    <a:lnTo>
                      <a:pt x="241" y="271"/>
                    </a:lnTo>
                    <a:lnTo>
                      <a:pt x="245" y="276"/>
                    </a:lnTo>
                    <a:lnTo>
                      <a:pt x="229" y="314"/>
                    </a:lnTo>
                    <a:lnTo>
                      <a:pt x="229" y="326"/>
                    </a:lnTo>
                    <a:lnTo>
                      <a:pt x="262" y="364"/>
                    </a:lnTo>
                    <a:lnTo>
                      <a:pt x="262" y="371"/>
                    </a:lnTo>
                    <a:lnTo>
                      <a:pt x="283" y="371"/>
                    </a:lnTo>
                    <a:lnTo>
                      <a:pt x="293" y="408"/>
                    </a:lnTo>
                    <a:lnTo>
                      <a:pt x="330" y="465"/>
                    </a:lnTo>
                    <a:lnTo>
                      <a:pt x="347" y="475"/>
                    </a:lnTo>
                    <a:lnTo>
                      <a:pt x="321" y="482"/>
                    </a:lnTo>
                    <a:lnTo>
                      <a:pt x="300" y="465"/>
                    </a:lnTo>
                    <a:lnTo>
                      <a:pt x="283" y="475"/>
                    </a:lnTo>
                    <a:lnTo>
                      <a:pt x="267" y="491"/>
                    </a:lnTo>
                    <a:lnTo>
                      <a:pt x="257" y="491"/>
                    </a:lnTo>
                    <a:lnTo>
                      <a:pt x="241" y="498"/>
                    </a:lnTo>
                    <a:lnTo>
                      <a:pt x="241" y="503"/>
                    </a:lnTo>
                    <a:lnTo>
                      <a:pt x="212" y="498"/>
                    </a:lnTo>
                    <a:lnTo>
                      <a:pt x="203" y="503"/>
                    </a:lnTo>
                    <a:lnTo>
                      <a:pt x="203" y="519"/>
                    </a:lnTo>
                    <a:lnTo>
                      <a:pt x="186" y="519"/>
                    </a:lnTo>
                    <a:lnTo>
                      <a:pt x="177" y="531"/>
                    </a:lnTo>
                    <a:lnTo>
                      <a:pt x="170" y="519"/>
                    </a:lnTo>
                    <a:lnTo>
                      <a:pt x="148" y="515"/>
                    </a:lnTo>
                    <a:lnTo>
                      <a:pt x="132" y="491"/>
                    </a:lnTo>
                    <a:lnTo>
                      <a:pt x="122" y="491"/>
                    </a:lnTo>
                    <a:lnTo>
                      <a:pt x="122" y="482"/>
                    </a:lnTo>
                    <a:lnTo>
                      <a:pt x="118" y="482"/>
                    </a:lnTo>
                    <a:lnTo>
                      <a:pt x="118" y="449"/>
                    </a:lnTo>
                    <a:lnTo>
                      <a:pt x="106" y="441"/>
                    </a:lnTo>
                    <a:lnTo>
                      <a:pt x="101" y="420"/>
                    </a:lnTo>
                    <a:lnTo>
                      <a:pt x="106" y="364"/>
                    </a:lnTo>
                    <a:lnTo>
                      <a:pt x="122" y="330"/>
                    </a:lnTo>
                    <a:lnTo>
                      <a:pt x="118" y="309"/>
                    </a:lnTo>
                    <a:lnTo>
                      <a:pt x="118" y="297"/>
                    </a:lnTo>
                    <a:lnTo>
                      <a:pt x="85" y="293"/>
                    </a:lnTo>
                    <a:lnTo>
                      <a:pt x="96" y="276"/>
                    </a:lnTo>
                    <a:lnTo>
                      <a:pt x="101" y="253"/>
                    </a:lnTo>
                    <a:lnTo>
                      <a:pt x="96" y="243"/>
                    </a:lnTo>
                    <a:lnTo>
                      <a:pt x="96" y="243"/>
                    </a:lnTo>
                    <a:lnTo>
                      <a:pt x="96" y="24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1" name="Freeform 461">
                <a:extLst>
                  <a:ext uri="{FF2B5EF4-FFF2-40B4-BE49-F238E27FC236}">
                    <a16:creationId xmlns:a16="http://schemas.microsoft.com/office/drawing/2014/main" id="{659B3FD1-AEF1-4F5B-8BC7-E0A6D591A674}"/>
                  </a:ext>
                </a:extLst>
              </p:cNvPr>
              <p:cNvSpPr>
                <a:spLocks noEditPoints="1"/>
              </p:cNvSpPr>
              <p:nvPr/>
            </p:nvSpPr>
            <p:spPr bwMode="gray">
              <a:xfrm>
                <a:off x="4575260" y="3463545"/>
                <a:ext cx="81511" cy="61346"/>
              </a:xfrm>
              <a:custGeom>
                <a:avLst/>
                <a:gdLst>
                  <a:gd name="T0" fmla="*/ 134 w 198"/>
                  <a:gd name="T1" fmla="*/ 10 h 149"/>
                  <a:gd name="T2" fmla="*/ 106 w 198"/>
                  <a:gd name="T3" fmla="*/ 0 h 149"/>
                  <a:gd name="T4" fmla="*/ 118 w 198"/>
                  <a:gd name="T5" fmla="*/ 0 h 149"/>
                  <a:gd name="T6" fmla="*/ 134 w 198"/>
                  <a:gd name="T7" fmla="*/ 10 h 149"/>
                  <a:gd name="T8" fmla="*/ 134 w 198"/>
                  <a:gd name="T9" fmla="*/ 10 h 149"/>
                  <a:gd name="T10" fmla="*/ 134 w 198"/>
                  <a:gd name="T11" fmla="*/ 10 h 149"/>
                  <a:gd name="T12" fmla="*/ 191 w 198"/>
                  <a:gd name="T13" fmla="*/ 21 h 149"/>
                  <a:gd name="T14" fmla="*/ 191 w 198"/>
                  <a:gd name="T15" fmla="*/ 38 h 149"/>
                  <a:gd name="T16" fmla="*/ 191 w 198"/>
                  <a:gd name="T17" fmla="*/ 54 h 149"/>
                  <a:gd name="T18" fmla="*/ 198 w 198"/>
                  <a:gd name="T19" fmla="*/ 66 h 149"/>
                  <a:gd name="T20" fmla="*/ 186 w 198"/>
                  <a:gd name="T21" fmla="*/ 78 h 149"/>
                  <a:gd name="T22" fmla="*/ 191 w 198"/>
                  <a:gd name="T23" fmla="*/ 95 h 149"/>
                  <a:gd name="T24" fmla="*/ 186 w 198"/>
                  <a:gd name="T25" fmla="*/ 104 h 149"/>
                  <a:gd name="T26" fmla="*/ 170 w 198"/>
                  <a:gd name="T27" fmla="*/ 111 h 149"/>
                  <a:gd name="T28" fmla="*/ 177 w 198"/>
                  <a:gd name="T29" fmla="*/ 121 h 149"/>
                  <a:gd name="T30" fmla="*/ 191 w 198"/>
                  <a:gd name="T31" fmla="*/ 128 h 149"/>
                  <a:gd name="T32" fmla="*/ 191 w 198"/>
                  <a:gd name="T33" fmla="*/ 149 h 149"/>
                  <a:gd name="T34" fmla="*/ 170 w 198"/>
                  <a:gd name="T35" fmla="*/ 132 h 149"/>
                  <a:gd name="T36" fmla="*/ 118 w 198"/>
                  <a:gd name="T37" fmla="*/ 144 h 149"/>
                  <a:gd name="T38" fmla="*/ 80 w 198"/>
                  <a:gd name="T39" fmla="*/ 132 h 149"/>
                  <a:gd name="T40" fmla="*/ 47 w 198"/>
                  <a:gd name="T41" fmla="*/ 144 h 149"/>
                  <a:gd name="T42" fmla="*/ 47 w 198"/>
                  <a:gd name="T43" fmla="*/ 149 h 149"/>
                  <a:gd name="T44" fmla="*/ 38 w 198"/>
                  <a:gd name="T45" fmla="*/ 149 h 149"/>
                  <a:gd name="T46" fmla="*/ 26 w 198"/>
                  <a:gd name="T47" fmla="*/ 132 h 149"/>
                  <a:gd name="T48" fmla="*/ 0 w 198"/>
                  <a:gd name="T49" fmla="*/ 128 h 149"/>
                  <a:gd name="T50" fmla="*/ 0 w 198"/>
                  <a:gd name="T51" fmla="*/ 121 h 149"/>
                  <a:gd name="T52" fmla="*/ 0 w 198"/>
                  <a:gd name="T53" fmla="*/ 104 h 149"/>
                  <a:gd name="T54" fmla="*/ 16 w 198"/>
                  <a:gd name="T55" fmla="*/ 104 h 149"/>
                  <a:gd name="T56" fmla="*/ 47 w 198"/>
                  <a:gd name="T57" fmla="*/ 111 h 149"/>
                  <a:gd name="T58" fmla="*/ 63 w 198"/>
                  <a:gd name="T59" fmla="*/ 111 h 149"/>
                  <a:gd name="T60" fmla="*/ 54 w 198"/>
                  <a:gd name="T61" fmla="*/ 111 h 149"/>
                  <a:gd name="T62" fmla="*/ 54 w 198"/>
                  <a:gd name="T63" fmla="*/ 121 h 149"/>
                  <a:gd name="T64" fmla="*/ 123 w 198"/>
                  <a:gd name="T65" fmla="*/ 121 h 149"/>
                  <a:gd name="T66" fmla="*/ 134 w 198"/>
                  <a:gd name="T67" fmla="*/ 111 h 149"/>
                  <a:gd name="T68" fmla="*/ 144 w 198"/>
                  <a:gd name="T69" fmla="*/ 111 h 149"/>
                  <a:gd name="T70" fmla="*/ 144 w 198"/>
                  <a:gd name="T71" fmla="*/ 104 h 149"/>
                  <a:gd name="T72" fmla="*/ 118 w 198"/>
                  <a:gd name="T73" fmla="*/ 71 h 149"/>
                  <a:gd name="T74" fmla="*/ 123 w 198"/>
                  <a:gd name="T75" fmla="*/ 50 h 149"/>
                  <a:gd name="T76" fmla="*/ 92 w 198"/>
                  <a:gd name="T77" fmla="*/ 33 h 149"/>
                  <a:gd name="T78" fmla="*/ 80 w 198"/>
                  <a:gd name="T79" fmla="*/ 33 h 149"/>
                  <a:gd name="T80" fmla="*/ 80 w 198"/>
                  <a:gd name="T81" fmla="*/ 17 h 149"/>
                  <a:gd name="T82" fmla="*/ 118 w 198"/>
                  <a:gd name="T83" fmla="*/ 10 h 149"/>
                  <a:gd name="T84" fmla="*/ 156 w 198"/>
                  <a:gd name="T85" fmla="*/ 21 h 149"/>
                  <a:gd name="T86" fmla="*/ 191 w 198"/>
                  <a:gd name="T87" fmla="*/ 21 h 149"/>
                  <a:gd name="T88" fmla="*/ 191 w 198"/>
                  <a:gd name="T89" fmla="*/ 21 h 149"/>
                  <a:gd name="T90" fmla="*/ 191 w 198"/>
                  <a:gd name="T91" fmla="*/ 21 h 149"/>
                  <a:gd name="T92" fmla="*/ 118 w 198"/>
                  <a:gd name="T93" fmla="*/ 104 h 149"/>
                  <a:gd name="T94" fmla="*/ 85 w 198"/>
                  <a:gd name="T95" fmla="*/ 88 h 149"/>
                  <a:gd name="T96" fmla="*/ 92 w 198"/>
                  <a:gd name="T97" fmla="*/ 78 h 149"/>
                  <a:gd name="T98" fmla="*/ 118 w 198"/>
                  <a:gd name="T99" fmla="*/ 88 h 149"/>
                  <a:gd name="T100" fmla="*/ 118 w 198"/>
                  <a:gd name="T101" fmla="*/ 104 h 149"/>
                  <a:gd name="T102" fmla="*/ 118 w 198"/>
                  <a:gd name="T103" fmla="*/ 104 h 149"/>
                  <a:gd name="T104" fmla="*/ 118 w 198"/>
                  <a:gd name="T105" fmla="*/ 104 h 149"/>
                  <a:gd name="T106" fmla="*/ 54 w 198"/>
                  <a:gd name="T107" fmla="*/ 111 h 149"/>
                  <a:gd name="T108" fmla="*/ 47 w 198"/>
                  <a:gd name="T109" fmla="*/ 104 h 149"/>
                  <a:gd name="T110" fmla="*/ 54 w 198"/>
                  <a:gd name="T111" fmla="*/ 104 h 149"/>
                  <a:gd name="T112" fmla="*/ 54 w 198"/>
                  <a:gd name="T113" fmla="*/ 111 h 149"/>
                  <a:gd name="T114" fmla="*/ 54 w 198"/>
                  <a:gd name="T115" fmla="*/ 111 h 149"/>
                  <a:gd name="T116" fmla="*/ 54 w 198"/>
                  <a:gd name="T117" fmla="*/ 11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 h="149">
                    <a:moveTo>
                      <a:pt x="134" y="10"/>
                    </a:moveTo>
                    <a:lnTo>
                      <a:pt x="106" y="0"/>
                    </a:lnTo>
                    <a:lnTo>
                      <a:pt x="118" y="0"/>
                    </a:lnTo>
                    <a:lnTo>
                      <a:pt x="134" y="10"/>
                    </a:lnTo>
                    <a:lnTo>
                      <a:pt x="134" y="10"/>
                    </a:lnTo>
                    <a:lnTo>
                      <a:pt x="134" y="10"/>
                    </a:lnTo>
                    <a:close/>
                    <a:moveTo>
                      <a:pt x="191" y="21"/>
                    </a:moveTo>
                    <a:lnTo>
                      <a:pt x="191" y="38"/>
                    </a:lnTo>
                    <a:lnTo>
                      <a:pt x="191" y="54"/>
                    </a:lnTo>
                    <a:lnTo>
                      <a:pt x="198" y="66"/>
                    </a:lnTo>
                    <a:lnTo>
                      <a:pt x="186" y="78"/>
                    </a:lnTo>
                    <a:lnTo>
                      <a:pt x="191" y="95"/>
                    </a:lnTo>
                    <a:lnTo>
                      <a:pt x="186" y="104"/>
                    </a:lnTo>
                    <a:lnTo>
                      <a:pt x="170" y="111"/>
                    </a:lnTo>
                    <a:lnTo>
                      <a:pt x="177" y="121"/>
                    </a:lnTo>
                    <a:lnTo>
                      <a:pt x="191" y="128"/>
                    </a:lnTo>
                    <a:lnTo>
                      <a:pt x="191" y="149"/>
                    </a:lnTo>
                    <a:lnTo>
                      <a:pt x="170" y="132"/>
                    </a:lnTo>
                    <a:lnTo>
                      <a:pt x="118" y="144"/>
                    </a:lnTo>
                    <a:lnTo>
                      <a:pt x="80" y="132"/>
                    </a:lnTo>
                    <a:lnTo>
                      <a:pt x="47" y="144"/>
                    </a:lnTo>
                    <a:lnTo>
                      <a:pt x="47" y="149"/>
                    </a:lnTo>
                    <a:lnTo>
                      <a:pt x="38" y="149"/>
                    </a:lnTo>
                    <a:lnTo>
                      <a:pt x="26" y="132"/>
                    </a:lnTo>
                    <a:lnTo>
                      <a:pt x="0" y="128"/>
                    </a:lnTo>
                    <a:lnTo>
                      <a:pt x="0" y="121"/>
                    </a:lnTo>
                    <a:lnTo>
                      <a:pt x="0" y="104"/>
                    </a:lnTo>
                    <a:lnTo>
                      <a:pt x="16" y="104"/>
                    </a:lnTo>
                    <a:lnTo>
                      <a:pt x="47" y="111"/>
                    </a:lnTo>
                    <a:lnTo>
                      <a:pt x="63" y="111"/>
                    </a:lnTo>
                    <a:lnTo>
                      <a:pt x="54" y="111"/>
                    </a:lnTo>
                    <a:lnTo>
                      <a:pt x="54" y="121"/>
                    </a:lnTo>
                    <a:lnTo>
                      <a:pt x="123" y="121"/>
                    </a:lnTo>
                    <a:lnTo>
                      <a:pt x="134" y="111"/>
                    </a:lnTo>
                    <a:lnTo>
                      <a:pt x="144" y="111"/>
                    </a:lnTo>
                    <a:lnTo>
                      <a:pt x="144" y="104"/>
                    </a:lnTo>
                    <a:lnTo>
                      <a:pt x="118" y="71"/>
                    </a:lnTo>
                    <a:lnTo>
                      <a:pt x="123" y="50"/>
                    </a:lnTo>
                    <a:lnTo>
                      <a:pt x="92" y="33"/>
                    </a:lnTo>
                    <a:lnTo>
                      <a:pt x="80" y="33"/>
                    </a:lnTo>
                    <a:lnTo>
                      <a:pt x="80" y="17"/>
                    </a:lnTo>
                    <a:lnTo>
                      <a:pt x="118" y="10"/>
                    </a:lnTo>
                    <a:lnTo>
                      <a:pt x="156" y="21"/>
                    </a:lnTo>
                    <a:lnTo>
                      <a:pt x="191" y="21"/>
                    </a:lnTo>
                    <a:lnTo>
                      <a:pt x="191" y="21"/>
                    </a:lnTo>
                    <a:lnTo>
                      <a:pt x="191" y="21"/>
                    </a:lnTo>
                    <a:close/>
                    <a:moveTo>
                      <a:pt x="118" y="104"/>
                    </a:moveTo>
                    <a:lnTo>
                      <a:pt x="85" y="88"/>
                    </a:lnTo>
                    <a:lnTo>
                      <a:pt x="92" y="78"/>
                    </a:lnTo>
                    <a:lnTo>
                      <a:pt x="118" y="88"/>
                    </a:lnTo>
                    <a:lnTo>
                      <a:pt x="118" y="104"/>
                    </a:lnTo>
                    <a:lnTo>
                      <a:pt x="118" y="104"/>
                    </a:lnTo>
                    <a:lnTo>
                      <a:pt x="118" y="104"/>
                    </a:lnTo>
                    <a:close/>
                    <a:moveTo>
                      <a:pt x="54" y="111"/>
                    </a:moveTo>
                    <a:lnTo>
                      <a:pt x="47" y="104"/>
                    </a:lnTo>
                    <a:lnTo>
                      <a:pt x="54" y="104"/>
                    </a:lnTo>
                    <a:lnTo>
                      <a:pt x="54" y="111"/>
                    </a:lnTo>
                    <a:lnTo>
                      <a:pt x="54" y="111"/>
                    </a:lnTo>
                    <a:lnTo>
                      <a:pt x="54" y="11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3" name="Freeform 463">
                <a:extLst>
                  <a:ext uri="{FF2B5EF4-FFF2-40B4-BE49-F238E27FC236}">
                    <a16:creationId xmlns:a16="http://schemas.microsoft.com/office/drawing/2014/main" id="{6A978C35-BDA5-4EF0-A02F-2EB081F28B3C}"/>
                  </a:ext>
                </a:extLst>
              </p:cNvPr>
              <p:cNvSpPr>
                <a:spLocks noEditPoints="1"/>
              </p:cNvSpPr>
              <p:nvPr/>
            </p:nvSpPr>
            <p:spPr bwMode="gray">
              <a:xfrm>
                <a:off x="4146299" y="3574296"/>
                <a:ext cx="177842" cy="102106"/>
              </a:xfrm>
              <a:custGeom>
                <a:avLst/>
                <a:gdLst>
                  <a:gd name="T0" fmla="*/ 206 w 432"/>
                  <a:gd name="T1" fmla="*/ 0 h 248"/>
                  <a:gd name="T2" fmla="*/ 189 w 432"/>
                  <a:gd name="T3" fmla="*/ 5 h 248"/>
                  <a:gd name="T4" fmla="*/ 189 w 432"/>
                  <a:gd name="T5" fmla="*/ 5 h 248"/>
                  <a:gd name="T6" fmla="*/ 43 w 432"/>
                  <a:gd name="T7" fmla="*/ 166 h 248"/>
                  <a:gd name="T8" fmla="*/ 26 w 432"/>
                  <a:gd name="T9" fmla="*/ 149 h 248"/>
                  <a:gd name="T10" fmla="*/ 17 w 432"/>
                  <a:gd name="T11" fmla="*/ 128 h 248"/>
                  <a:gd name="T12" fmla="*/ 17 w 432"/>
                  <a:gd name="T13" fmla="*/ 100 h 248"/>
                  <a:gd name="T14" fmla="*/ 85 w 432"/>
                  <a:gd name="T15" fmla="*/ 57 h 248"/>
                  <a:gd name="T16" fmla="*/ 135 w 432"/>
                  <a:gd name="T17" fmla="*/ 45 h 248"/>
                  <a:gd name="T18" fmla="*/ 210 w 432"/>
                  <a:gd name="T19" fmla="*/ 45 h 248"/>
                  <a:gd name="T20" fmla="*/ 243 w 432"/>
                  <a:gd name="T21" fmla="*/ 29 h 248"/>
                  <a:gd name="T22" fmla="*/ 269 w 432"/>
                  <a:gd name="T23" fmla="*/ 38 h 248"/>
                  <a:gd name="T24" fmla="*/ 324 w 432"/>
                  <a:gd name="T25" fmla="*/ 38 h 248"/>
                  <a:gd name="T26" fmla="*/ 340 w 432"/>
                  <a:gd name="T27" fmla="*/ 45 h 248"/>
                  <a:gd name="T28" fmla="*/ 357 w 432"/>
                  <a:gd name="T29" fmla="*/ 45 h 248"/>
                  <a:gd name="T30" fmla="*/ 357 w 432"/>
                  <a:gd name="T31" fmla="*/ 62 h 248"/>
                  <a:gd name="T32" fmla="*/ 390 w 432"/>
                  <a:gd name="T33" fmla="*/ 83 h 248"/>
                  <a:gd name="T34" fmla="*/ 378 w 432"/>
                  <a:gd name="T35" fmla="*/ 74 h 248"/>
                  <a:gd name="T36" fmla="*/ 411 w 432"/>
                  <a:gd name="T37" fmla="*/ 83 h 248"/>
                  <a:gd name="T38" fmla="*/ 406 w 432"/>
                  <a:gd name="T39" fmla="*/ 95 h 248"/>
                  <a:gd name="T40" fmla="*/ 406 w 432"/>
                  <a:gd name="T41" fmla="*/ 78 h 248"/>
                  <a:gd name="T42" fmla="*/ 428 w 432"/>
                  <a:gd name="T43" fmla="*/ 100 h 248"/>
                  <a:gd name="T44" fmla="*/ 411 w 432"/>
                  <a:gd name="T45" fmla="*/ 100 h 248"/>
                  <a:gd name="T46" fmla="*/ 340 w 432"/>
                  <a:gd name="T47" fmla="*/ 133 h 248"/>
                  <a:gd name="T48" fmla="*/ 298 w 432"/>
                  <a:gd name="T49" fmla="*/ 149 h 248"/>
                  <a:gd name="T50" fmla="*/ 260 w 432"/>
                  <a:gd name="T51" fmla="*/ 182 h 248"/>
                  <a:gd name="T52" fmla="*/ 231 w 432"/>
                  <a:gd name="T53" fmla="*/ 173 h 248"/>
                  <a:gd name="T54" fmla="*/ 177 w 432"/>
                  <a:gd name="T55" fmla="*/ 194 h 248"/>
                  <a:gd name="T56" fmla="*/ 172 w 432"/>
                  <a:gd name="T57" fmla="*/ 239 h 248"/>
                  <a:gd name="T58" fmla="*/ 139 w 432"/>
                  <a:gd name="T59" fmla="*/ 248 h 248"/>
                  <a:gd name="T60" fmla="*/ 135 w 432"/>
                  <a:gd name="T61" fmla="*/ 222 h 248"/>
                  <a:gd name="T62" fmla="*/ 118 w 432"/>
                  <a:gd name="T63" fmla="*/ 222 h 248"/>
                  <a:gd name="T64" fmla="*/ 109 w 432"/>
                  <a:gd name="T65" fmla="*/ 222 h 248"/>
                  <a:gd name="T66" fmla="*/ 109 w 432"/>
                  <a:gd name="T67" fmla="*/ 211 h 248"/>
                  <a:gd name="T68" fmla="*/ 109 w 432"/>
                  <a:gd name="T69" fmla="*/ 182 h 248"/>
                  <a:gd name="T70" fmla="*/ 85 w 432"/>
                  <a:gd name="T71" fmla="*/ 182 h 248"/>
                  <a:gd name="T72" fmla="*/ 54 w 432"/>
                  <a:gd name="T73" fmla="*/ 182 h 248"/>
                  <a:gd name="T74" fmla="*/ 54 w 432"/>
                  <a:gd name="T75" fmla="*/ 182 h 248"/>
                  <a:gd name="T76" fmla="*/ 118 w 432"/>
                  <a:gd name="T77" fmla="*/ 222 h 248"/>
                  <a:gd name="T78" fmla="*/ 123 w 432"/>
                  <a:gd name="T79" fmla="*/ 227 h 248"/>
                  <a:gd name="T80" fmla="*/ 123 w 432"/>
                  <a:gd name="T81" fmla="*/ 2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2" h="248">
                    <a:moveTo>
                      <a:pt x="189" y="5"/>
                    </a:moveTo>
                    <a:lnTo>
                      <a:pt x="206" y="0"/>
                    </a:lnTo>
                    <a:lnTo>
                      <a:pt x="215" y="0"/>
                    </a:lnTo>
                    <a:lnTo>
                      <a:pt x="189" y="5"/>
                    </a:lnTo>
                    <a:lnTo>
                      <a:pt x="189" y="5"/>
                    </a:lnTo>
                    <a:lnTo>
                      <a:pt x="189" y="5"/>
                    </a:lnTo>
                    <a:close/>
                    <a:moveTo>
                      <a:pt x="54" y="182"/>
                    </a:moveTo>
                    <a:lnTo>
                      <a:pt x="43" y="166"/>
                    </a:lnTo>
                    <a:lnTo>
                      <a:pt x="43" y="173"/>
                    </a:lnTo>
                    <a:lnTo>
                      <a:pt x="26" y="149"/>
                    </a:lnTo>
                    <a:lnTo>
                      <a:pt x="0" y="149"/>
                    </a:lnTo>
                    <a:lnTo>
                      <a:pt x="17" y="128"/>
                    </a:lnTo>
                    <a:lnTo>
                      <a:pt x="9" y="116"/>
                    </a:lnTo>
                    <a:lnTo>
                      <a:pt x="17" y="100"/>
                    </a:lnTo>
                    <a:lnTo>
                      <a:pt x="80" y="57"/>
                    </a:lnTo>
                    <a:lnTo>
                      <a:pt x="85" y="57"/>
                    </a:lnTo>
                    <a:lnTo>
                      <a:pt x="118" y="38"/>
                    </a:lnTo>
                    <a:lnTo>
                      <a:pt x="135" y="45"/>
                    </a:lnTo>
                    <a:lnTo>
                      <a:pt x="139" y="38"/>
                    </a:lnTo>
                    <a:lnTo>
                      <a:pt x="210" y="45"/>
                    </a:lnTo>
                    <a:lnTo>
                      <a:pt x="243" y="38"/>
                    </a:lnTo>
                    <a:lnTo>
                      <a:pt x="243" y="29"/>
                    </a:lnTo>
                    <a:lnTo>
                      <a:pt x="231" y="29"/>
                    </a:lnTo>
                    <a:lnTo>
                      <a:pt x="269" y="38"/>
                    </a:lnTo>
                    <a:lnTo>
                      <a:pt x="302" y="29"/>
                    </a:lnTo>
                    <a:lnTo>
                      <a:pt x="324" y="38"/>
                    </a:lnTo>
                    <a:lnTo>
                      <a:pt x="335" y="45"/>
                    </a:lnTo>
                    <a:lnTo>
                      <a:pt x="340" y="45"/>
                    </a:lnTo>
                    <a:lnTo>
                      <a:pt x="340" y="38"/>
                    </a:lnTo>
                    <a:lnTo>
                      <a:pt x="357" y="45"/>
                    </a:lnTo>
                    <a:lnTo>
                      <a:pt x="390" y="74"/>
                    </a:lnTo>
                    <a:lnTo>
                      <a:pt x="357" y="62"/>
                    </a:lnTo>
                    <a:lnTo>
                      <a:pt x="373" y="78"/>
                    </a:lnTo>
                    <a:lnTo>
                      <a:pt x="390" y="83"/>
                    </a:lnTo>
                    <a:lnTo>
                      <a:pt x="373" y="78"/>
                    </a:lnTo>
                    <a:lnTo>
                      <a:pt x="378" y="74"/>
                    </a:lnTo>
                    <a:lnTo>
                      <a:pt x="394" y="83"/>
                    </a:lnTo>
                    <a:lnTo>
                      <a:pt x="411" y="83"/>
                    </a:lnTo>
                    <a:lnTo>
                      <a:pt x="406" y="83"/>
                    </a:lnTo>
                    <a:lnTo>
                      <a:pt x="406" y="95"/>
                    </a:lnTo>
                    <a:lnTo>
                      <a:pt x="411" y="83"/>
                    </a:lnTo>
                    <a:lnTo>
                      <a:pt x="406" y="78"/>
                    </a:lnTo>
                    <a:lnTo>
                      <a:pt x="423" y="83"/>
                    </a:lnTo>
                    <a:lnTo>
                      <a:pt x="428" y="100"/>
                    </a:lnTo>
                    <a:lnTo>
                      <a:pt x="432" y="100"/>
                    </a:lnTo>
                    <a:lnTo>
                      <a:pt x="411" y="100"/>
                    </a:lnTo>
                    <a:lnTo>
                      <a:pt x="390" y="116"/>
                    </a:lnTo>
                    <a:lnTo>
                      <a:pt x="340" y="133"/>
                    </a:lnTo>
                    <a:lnTo>
                      <a:pt x="314" y="116"/>
                    </a:lnTo>
                    <a:lnTo>
                      <a:pt x="298" y="149"/>
                    </a:lnTo>
                    <a:lnTo>
                      <a:pt x="298" y="149"/>
                    </a:lnTo>
                    <a:lnTo>
                      <a:pt x="260" y="182"/>
                    </a:lnTo>
                    <a:lnTo>
                      <a:pt x="260" y="189"/>
                    </a:lnTo>
                    <a:lnTo>
                      <a:pt x="231" y="173"/>
                    </a:lnTo>
                    <a:lnTo>
                      <a:pt x="210" y="194"/>
                    </a:lnTo>
                    <a:lnTo>
                      <a:pt x="177" y="194"/>
                    </a:lnTo>
                    <a:lnTo>
                      <a:pt x="189" y="227"/>
                    </a:lnTo>
                    <a:lnTo>
                      <a:pt x="172" y="239"/>
                    </a:lnTo>
                    <a:lnTo>
                      <a:pt x="161" y="248"/>
                    </a:lnTo>
                    <a:lnTo>
                      <a:pt x="139" y="248"/>
                    </a:lnTo>
                    <a:lnTo>
                      <a:pt x="123" y="227"/>
                    </a:lnTo>
                    <a:lnTo>
                      <a:pt x="135" y="222"/>
                    </a:lnTo>
                    <a:lnTo>
                      <a:pt x="123" y="227"/>
                    </a:lnTo>
                    <a:lnTo>
                      <a:pt x="118" y="222"/>
                    </a:lnTo>
                    <a:lnTo>
                      <a:pt x="118" y="222"/>
                    </a:lnTo>
                    <a:lnTo>
                      <a:pt x="109" y="222"/>
                    </a:lnTo>
                    <a:lnTo>
                      <a:pt x="118" y="211"/>
                    </a:lnTo>
                    <a:lnTo>
                      <a:pt x="109" y="211"/>
                    </a:lnTo>
                    <a:lnTo>
                      <a:pt x="118" y="189"/>
                    </a:lnTo>
                    <a:lnTo>
                      <a:pt x="109" y="182"/>
                    </a:lnTo>
                    <a:lnTo>
                      <a:pt x="97" y="189"/>
                    </a:lnTo>
                    <a:lnTo>
                      <a:pt x="85" y="182"/>
                    </a:lnTo>
                    <a:lnTo>
                      <a:pt x="64" y="189"/>
                    </a:lnTo>
                    <a:lnTo>
                      <a:pt x="54" y="182"/>
                    </a:lnTo>
                    <a:lnTo>
                      <a:pt x="54" y="182"/>
                    </a:lnTo>
                    <a:lnTo>
                      <a:pt x="54" y="182"/>
                    </a:lnTo>
                    <a:close/>
                    <a:moveTo>
                      <a:pt x="123" y="227"/>
                    </a:moveTo>
                    <a:lnTo>
                      <a:pt x="118" y="222"/>
                    </a:lnTo>
                    <a:lnTo>
                      <a:pt x="123" y="222"/>
                    </a:lnTo>
                    <a:lnTo>
                      <a:pt x="123" y="227"/>
                    </a:lnTo>
                    <a:lnTo>
                      <a:pt x="123" y="227"/>
                    </a:lnTo>
                    <a:lnTo>
                      <a:pt x="123" y="22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7" name="Freeform 500">
                <a:extLst>
                  <a:ext uri="{FF2B5EF4-FFF2-40B4-BE49-F238E27FC236}">
                    <a16:creationId xmlns:a16="http://schemas.microsoft.com/office/drawing/2014/main" id="{F679FEB1-2A35-4B93-BF45-429DCF23CBD6}"/>
                  </a:ext>
                </a:extLst>
              </p:cNvPr>
              <p:cNvSpPr>
                <a:spLocks/>
              </p:cNvSpPr>
              <p:nvPr/>
            </p:nvSpPr>
            <p:spPr bwMode="gray">
              <a:xfrm>
                <a:off x="4957289" y="3619997"/>
                <a:ext cx="13585" cy="16880"/>
              </a:xfrm>
              <a:custGeom>
                <a:avLst/>
                <a:gdLst>
                  <a:gd name="T0" fmla="*/ 33 w 33"/>
                  <a:gd name="T1" fmla="*/ 41 h 41"/>
                  <a:gd name="T2" fmla="*/ 17 w 33"/>
                  <a:gd name="T3" fmla="*/ 29 h 41"/>
                  <a:gd name="T4" fmla="*/ 0 w 33"/>
                  <a:gd name="T5" fmla="*/ 7 h 41"/>
                  <a:gd name="T6" fmla="*/ 5 w 33"/>
                  <a:gd name="T7" fmla="*/ 0 h 41"/>
                  <a:gd name="T8" fmla="*/ 21 w 33"/>
                  <a:gd name="T9" fmla="*/ 17 h 41"/>
                  <a:gd name="T10" fmla="*/ 33 w 33"/>
                  <a:gd name="T11" fmla="*/ 24 h 41"/>
                  <a:gd name="T12" fmla="*/ 33 w 33"/>
                  <a:gd name="T13" fmla="*/ 41 h 41"/>
                  <a:gd name="T14" fmla="*/ 33 w 33"/>
                  <a:gd name="T15" fmla="*/ 41 h 41"/>
                  <a:gd name="T16" fmla="*/ 33 w 33"/>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1">
                    <a:moveTo>
                      <a:pt x="33" y="41"/>
                    </a:moveTo>
                    <a:lnTo>
                      <a:pt x="17" y="29"/>
                    </a:lnTo>
                    <a:lnTo>
                      <a:pt x="0" y="7"/>
                    </a:lnTo>
                    <a:lnTo>
                      <a:pt x="5" y="0"/>
                    </a:lnTo>
                    <a:lnTo>
                      <a:pt x="21" y="17"/>
                    </a:lnTo>
                    <a:lnTo>
                      <a:pt x="33" y="24"/>
                    </a:lnTo>
                    <a:lnTo>
                      <a:pt x="33" y="41"/>
                    </a:lnTo>
                    <a:lnTo>
                      <a:pt x="33" y="41"/>
                    </a:lnTo>
                    <a:lnTo>
                      <a:pt x="33" y="4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70" name="Freeform 504">
                <a:extLst>
                  <a:ext uri="{FF2B5EF4-FFF2-40B4-BE49-F238E27FC236}">
                    <a16:creationId xmlns:a16="http://schemas.microsoft.com/office/drawing/2014/main" id="{34238F0F-49EA-4B0B-808D-FF280C4094AF}"/>
                  </a:ext>
                </a:extLst>
              </p:cNvPr>
              <p:cNvSpPr>
                <a:spLocks/>
              </p:cNvSpPr>
              <p:nvPr/>
            </p:nvSpPr>
            <p:spPr bwMode="gray">
              <a:xfrm>
                <a:off x="4928061" y="3560710"/>
                <a:ext cx="2058" cy="6999"/>
              </a:xfrm>
              <a:custGeom>
                <a:avLst/>
                <a:gdLst>
                  <a:gd name="T0" fmla="*/ 5 w 5"/>
                  <a:gd name="T1" fmla="*/ 17 h 17"/>
                  <a:gd name="T2" fmla="*/ 0 w 5"/>
                  <a:gd name="T3" fmla="*/ 5 h 17"/>
                  <a:gd name="T4" fmla="*/ 5 w 5"/>
                  <a:gd name="T5" fmla="*/ 0 h 17"/>
                  <a:gd name="T6" fmla="*/ 5 w 5"/>
                  <a:gd name="T7" fmla="*/ 17 h 17"/>
                  <a:gd name="T8" fmla="*/ 5 w 5"/>
                  <a:gd name="T9" fmla="*/ 17 h 17"/>
                  <a:gd name="T10" fmla="*/ 5 w 5"/>
                  <a:gd name="T11" fmla="*/ 17 h 17"/>
                </a:gdLst>
                <a:ahLst/>
                <a:cxnLst>
                  <a:cxn ang="0">
                    <a:pos x="T0" y="T1"/>
                  </a:cxn>
                  <a:cxn ang="0">
                    <a:pos x="T2" y="T3"/>
                  </a:cxn>
                  <a:cxn ang="0">
                    <a:pos x="T4" y="T5"/>
                  </a:cxn>
                  <a:cxn ang="0">
                    <a:pos x="T6" y="T7"/>
                  </a:cxn>
                  <a:cxn ang="0">
                    <a:pos x="T8" y="T9"/>
                  </a:cxn>
                  <a:cxn ang="0">
                    <a:pos x="T10" y="T11"/>
                  </a:cxn>
                </a:cxnLst>
                <a:rect l="0" t="0" r="r" b="b"/>
                <a:pathLst>
                  <a:path w="5" h="17">
                    <a:moveTo>
                      <a:pt x="5" y="17"/>
                    </a:moveTo>
                    <a:lnTo>
                      <a:pt x="0" y="5"/>
                    </a:lnTo>
                    <a:lnTo>
                      <a:pt x="5" y="0"/>
                    </a:lnTo>
                    <a:lnTo>
                      <a:pt x="5" y="17"/>
                    </a:lnTo>
                    <a:lnTo>
                      <a:pt x="5" y="17"/>
                    </a:lnTo>
                    <a:lnTo>
                      <a:pt x="5"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0" name="Freeform 514">
                <a:extLst>
                  <a:ext uri="{FF2B5EF4-FFF2-40B4-BE49-F238E27FC236}">
                    <a16:creationId xmlns:a16="http://schemas.microsoft.com/office/drawing/2014/main" id="{C17F18C5-1DD1-414B-B763-31656E9493D2}"/>
                  </a:ext>
                </a:extLst>
              </p:cNvPr>
              <p:cNvSpPr>
                <a:spLocks noEditPoints="1"/>
              </p:cNvSpPr>
              <p:nvPr/>
            </p:nvSpPr>
            <p:spPr bwMode="gray">
              <a:xfrm>
                <a:off x="3308961" y="3058829"/>
                <a:ext cx="909379" cy="570227"/>
              </a:xfrm>
              <a:custGeom>
                <a:avLst/>
                <a:gdLst>
                  <a:gd name="T0" fmla="*/ 1918 w 2209"/>
                  <a:gd name="T1" fmla="*/ 1146 h 1385"/>
                  <a:gd name="T2" fmla="*/ 1864 w 2209"/>
                  <a:gd name="T3" fmla="*/ 1274 h 1385"/>
                  <a:gd name="T4" fmla="*/ 1708 w 2209"/>
                  <a:gd name="T5" fmla="*/ 1274 h 1385"/>
                  <a:gd name="T6" fmla="*/ 1649 w 2209"/>
                  <a:gd name="T7" fmla="*/ 1269 h 1385"/>
                  <a:gd name="T8" fmla="*/ 1481 w 2209"/>
                  <a:gd name="T9" fmla="*/ 1293 h 1385"/>
                  <a:gd name="T10" fmla="*/ 1217 w 2209"/>
                  <a:gd name="T11" fmla="*/ 1186 h 1385"/>
                  <a:gd name="T12" fmla="*/ 900 w 2209"/>
                  <a:gd name="T13" fmla="*/ 993 h 1385"/>
                  <a:gd name="T14" fmla="*/ 900 w 2209"/>
                  <a:gd name="T15" fmla="*/ 865 h 1385"/>
                  <a:gd name="T16" fmla="*/ 754 w 2209"/>
                  <a:gd name="T17" fmla="*/ 648 h 1385"/>
                  <a:gd name="T18" fmla="*/ 728 w 2209"/>
                  <a:gd name="T19" fmla="*/ 610 h 1385"/>
                  <a:gd name="T20" fmla="*/ 695 w 2209"/>
                  <a:gd name="T21" fmla="*/ 586 h 1385"/>
                  <a:gd name="T22" fmla="*/ 673 w 2209"/>
                  <a:gd name="T23" fmla="*/ 544 h 1385"/>
                  <a:gd name="T24" fmla="*/ 624 w 2209"/>
                  <a:gd name="T25" fmla="*/ 475 h 1385"/>
                  <a:gd name="T26" fmla="*/ 548 w 2209"/>
                  <a:gd name="T27" fmla="*/ 388 h 1385"/>
                  <a:gd name="T28" fmla="*/ 430 w 2209"/>
                  <a:gd name="T29" fmla="*/ 298 h 1385"/>
                  <a:gd name="T30" fmla="*/ 371 w 2209"/>
                  <a:gd name="T31" fmla="*/ 116 h 1385"/>
                  <a:gd name="T32" fmla="*/ 253 w 2209"/>
                  <a:gd name="T33" fmla="*/ 88 h 1385"/>
                  <a:gd name="T34" fmla="*/ 345 w 2209"/>
                  <a:gd name="T35" fmla="*/ 298 h 1385"/>
                  <a:gd name="T36" fmla="*/ 392 w 2209"/>
                  <a:gd name="T37" fmla="*/ 388 h 1385"/>
                  <a:gd name="T38" fmla="*/ 458 w 2209"/>
                  <a:gd name="T39" fmla="*/ 459 h 1385"/>
                  <a:gd name="T40" fmla="*/ 522 w 2209"/>
                  <a:gd name="T41" fmla="*/ 593 h 1385"/>
                  <a:gd name="T42" fmla="*/ 569 w 2209"/>
                  <a:gd name="T43" fmla="*/ 664 h 1385"/>
                  <a:gd name="T44" fmla="*/ 593 w 2209"/>
                  <a:gd name="T45" fmla="*/ 766 h 1385"/>
                  <a:gd name="T46" fmla="*/ 442 w 2209"/>
                  <a:gd name="T47" fmla="*/ 626 h 1385"/>
                  <a:gd name="T48" fmla="*/ 397 w 2209"/>
                  <a:gd name="T49" fmla="*/ 504 h 1385"/>
                  <a:gd name="T50" fmla="*/ 307 w 2209"/>
                  <a:gd name="T51" fmla="*/ 449 h 1385"/>
                  <a:gd name="T52" fmla="*/ 300 w 2209"/>
                  <a:gd name="T53" fmla="*/ 393 h 1385"/>
                  <a:gd name="T54" fmla="*/ 182 w 2209"/>
                  <a:gd name="T55" fmla="*/ 239 h 1385"/>
                  <a:gd name="T56" fmla="*/ 140 w 2209"/>
                  <a:gd name="T57" fmla="*/ 116 h 1385"/>
                  <a:gd name="T58" fmla="*/ 510 w 2209"/>
                  <a:gd name="T59" fmla="*/ 111 h 1385"/>
                  <a:gd name="T60" fmla="*/ 952 w 2209"/>
                  <a:gd name="T61" fmla="*/ 222 h 1385"/>
                  <a:gd name="T62" fmla="*/ 1125 w 2209"/>
                  <a:gd name="T63" fmla="*/ 227 h 1385"/>
                  <a:gd name="T64" fmla="*/ 1292 w 2209"/>
                  <a:gd name="T65" fmla="*/ 393 h 1385"/>
                  <a:gd name="T66" fmla="*/ 1448 w 2209"/>
                  <a:gd name="T67" fmla="*/ 532 h 1385"/>
                  <a:gd name="T68" fmla="*/ 1472 w 2209"/>
                  <a:gd name="T69" fmla="*/ 870 h 1385"/>
                  <a:gd name="T70" fmla="*/ 1536 w 2209"/>
                  <a:gd name="T71" fmla="*/ 997 h 1385"/>
                  <a:gd name="T72" fmla="*/ 1649 w 2209"/>
                  <a:gd name="T73" fmla="*/ 1092 h 1385"/>
                  <a:gd name="T74" fmla="*/ 1762 w 2209"/>
                  <a:gd name="T75" fmla="*/ 1108 h 1385"/>
                  <a:gd name="T76" fmla="*/ 1864 w 2209"/>
                  <a:gd name="T77" fmla="*/ 1104 h 1385"/>
                  <a:gd name="T78" fmla="*/ 1935 w 2209"/>
                  <a:gd name="T79" fmla="*/ 1037 h 1385"/>
                  <a:gd name="T80" fmla="*/ 2095 w 2209"/>
                  <a:gd name="T81" fmla="*/ 870 h 1385"/>
                  <a:gd name="T82" fmla="*/ 2209 w 2209"/>
                  <a:gd name="T83" fmla="*/ 893 h 1385"/>
                  <a:gd name="T84" fmla="*/ 2150 w 2209"/>
                  <a:gd name="T85" fmla="*/ 1021 h 1385"/>
                  <a:gd name="T86" fmla="*/ 2133 w 2209"/>
                  <a:gd name="T87" fmla="*/ 1104 h 1385"/>
                  <a:gd name="T88" fmla="*/ 359 w 2209"/>
                  <a:gd name="T89" fmla="*/ 293 h 1385"/>
                  <a:gd name="T90" fmla="*/ 359 w 2209"/>
                  <a:gd name="T91" fmla="*/ 293 h 1385"/>
                  <a:gd name="T92" fmla="*/ 425 w 2209"/>
                  <a:gd name="T93" fmla="*/ 315 h 1385"/>
                  <a:gd name="T94" fmla="*/ 0 w 2209"/>
                  <a:gd name="T95" fmla="*/ 298 h 1385"/>
                  <a:gd name="T96" fmla="*/ 225 w 2209"/>
                  <a:gd name="T97" fmla="*/ 371 h 1385"/>
                  <a:gd name="T98" fmla="*/ 501 w 2209"/>
                  <a:gd name="T99" fmla="*/ 544 h 1385"/>
                  <a:gd name="T100" fmla="*/ 442 w 2209"/>
                  <a:gd name="T101" fmla="*/ 586 h 1385"/>
                  <a:gd name="T102" fmla="*/ 539 w 2209"/>
                  <a:gd name="T103" fmla="*/ 598 h 1385"/>
                  <a:gd name="T104" fmla="*/ 463 w 2209"/>
                  <a:gd name="T105" fmla="*/ 655 h 1385"/>
                  <a:gd name="T106" fmla="*/ 825 w 2209"/>
                  <a:gd name="T107" fmla="*/ 870 h 1385"/>
                  <a:gd name="T108" fmla="*/ 855 w 2209"/>
                  <a:gd name="T109" fmla="*/ 886 h 1385"/>
                  <a:gd name="T110" fmla="*/ 2204 w 2209"/>
                  <a:gd name="T111" fmla="*/ 943 h 1385"/>
                  <a:gd name="T112" fmla="*/ 517 w 2209"/>
                  <a:gd name="T113" fmla="*/ 1071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9" h="1385">
                    <a:moveTo>
                      <a:pt x="2103" y="1104"/>
                    </a:moveTo>
                    <a:lnTo>
                      <a:pt x="2095" y="1104"/>
                    </a:lnTo>
                    <a:lnTo>
                      <a:pt x="2065" y="1141"/>
                    </a:lnTo>
                    <a:lnTo>
                      <a:pt x="2058" y="1130"/>
                    </a:lnTo>
                    <a:lnTo>
                      <a:pt x="2048" y="1141"/>
                    </a:lnTo>
                    <a:lnTo>
                      <a:pt x="2048" y="1146"/>
                    </a:lnTo>
                    <a:lnTo>
                      <a:pt x="1918" y="1146"/>
                    </a:lnTo>
                    <a:lnTo>
                      <a:pt x="1918" y="1186"/>
                    </a:lnTo>
                    <a:lnTo>
                      <a:pt x="1885" y="1186"/>
                    </a:lnTo>
                    <a:lnTo>
                      <a:pt x="1935" y="1224"/>
                    </a:lnTo>
                    <a:lnTo>
                      <a:pt x="1940" y="1252"/>
                    </a:lnTo>
                    <a:lnTo>
                      <a:pt x="1956" y="1252"/>
                    </a:lnTo>
                    <a:lnTo>
                      <a:pt x="1956" y="1274"/>
                    </a:lnTo>
                    <a:lnTo>
                      <a:pt x="1864" y="1274"/>
                    </a:lnTo>
                    <a:lnTo>
                      <a:pt x="1831" y="1335"/>
                    </a:lnTo>
                    <a:lnTo>
                      <a:pt x="1843" y="1352"/>
                    </a:lnTo>
                    <a:lnTo>
                      <a:pt x="1826" y="1385"/>
                    </a:lnTo>
                    <a:lnTo>
                      <a:pt x="1793" y="1352"/>
                    </a:lnTo>
                    <a:lnTo>
                      <a:pt x="1793" y="1347"/>
                    </a:lnTo>
                    <a:lnTo>
                      <a:pt x="1779" y="1335"/>
                    </a:lnTo>
                    <a:lnTo>
                      <a:pt x="1708" y="1274"/>
                    </a:lnTo>
                    <a:lnTo>
                      <a:pt x="1682" y="1257"/>
                    </a:lnTo>
                    <a:lnTo>
                      <a:pt x="1682" y="1269"/>
                    </a:lnTo>
                    <a:lnTo>
                      <a:pt x="1703" y="1281"/>
                    </a:lnTo>
                    <a:lnTo>
                      <a:pt x="1654" y="1269"/>
                    </a:lnTo>
                    <a:lnTo>
                      <a:pt x="1666" y="1257"/>
                    </a:lnTo>
                    <a:lnTo>
                      <a:pt x="1654" y="1257"/>
                    </a:lnTo>
                    <a:lnTo>
                      <a:pt x="1649" y="1269"/>
                    </a:lnTo>
                    <a:lnTo>
                      <a:pt x="1649" y="1252"/>
                    </a:lnTo>
                    <a:lnTo>
                      <a:pt x="1632" y="1257"/>
                    </a:lnTo>
                    <a:lnTo>
                      <a:pt x="1649" y="1269"/>
                    </a:lnTo>
                    <a:lnTo>
                      <a:pt x="1616" y="1269"/>
                    </a:lnTo>
                    <a:lnTo>
                      <a:pt x="1611" y="1281"/>
                    </a:lnTo>
                    <a:lnTo>
                      <a:pt x="1536" y="1309"/>
                    </a:lnTo>
                    <a:lnTo>
                      <a:pt x="1481" y="1293"/>
                    </a:lnTo>
                    <a:lnTo>
                      <a:pt x="1439" y="1281"/>
                    </a:lnTo>
                    <a:lnTo>
                      <a:pt x="1417" y="1269"/>
                    </a:lnTo>
                    <a:lnTo>
                      <a:pt x="1384" y="1257"/>
                    </a:lnTo>
                    <a:lnTo>
                      <a:pt x="1373" y="1241"/>
                    </a:lnTo>
                    <a:lnTo>
                      <a:pt x="1309" y="1224"/>
                    </a:lnTo>
                    <a:lnTo>
                      <a:pt x="1292" y="1219"/>
                    </a:lnTo>
                    <a:lnTo>
                      <a:pt x="1217" y="1186"/>
                    </a:lnTo>
                    <a:lnTo>
                      <a:pt x="1169" y="1158"/>
                    </a:lnTo>
                    <a:lnTo>
                      <a:pt x="1148" y="1130"/>
                    </a:lnTo>
                    <a:lnTo>
                      <a:pt x="1132" y="1141"/>
                    </a:lnTo>
                    <a:lnTo>
                      <a:pt x="1051" y="1108"/>
                    </a:lnTo>
                    <a:lnTo>
                      <a:pt x="1006" y="1071"/>
                    </a:lnTo>
                    <a:lnTo>
                      <a:pt x="943" y="1037"/>
                    </a:lnTo>
                    <a:lnTo>
                      <a:pt x="900" y="993"/>
                    </a:lnTo>
                    <a:lnTo>
                      <a:pt x="888" y="959"/>
                    </a:lnTo>
                    <a:lnTo>
                      <a:pt x="914" y="943"/>
                    </a:lnTo>
                    <a:lnTo>
                      <a:pt x="910" y="926"/>
                    </a:lnTo>
                    <a:lnTo>
                      <a:pt x="893" y="926"/>
                    </a:lnTo>
                    <a:lnTo>
                      <a:pt x="914" y="903"/>
                    </a:lnTo>
                    <a:lnTo>
                      <a:pt x="926" y="882"/>
                    </a:lnTo>
                    <a:lnTo>
                      <a:pt x="900" y="865"/>
                    </a:lnTo>
                    <a:lnTo>
                      <a:pt x="893" y="837"/>
                    </a:lnTo>
                    <a:lnTo>
                      <a:pt x="893" y="808"/>
                    </a:lnTo>
                    <a:lnTo>
                      <a:pt x="879" y="782"/>
                    </a:lnTo>
                    <a:lnTo>
                      <a:pt x="841" y="742"/>
                    </a:lnTo>
                    <a:lnTo>
                      <a:pt x="791" y="688"/>
                    </a:lnTo>
                    <a:lnTo>
                      <a:pt x="749" y="648"/>
                    </a:lnTo>
                    <a:lnTo>
                      <a:pt x="754" y="648"/>
                    </a:lnTo>
                    <a:lnTo>
                      <a:pt x="754" y="643"/>
                    </a:lnTo>
                    <a:lnTo>
                      <a:pt x="749" y="648"/>
                    </a:lnTo>
                    <a:lnTo>
                      <a:pt x="732" y="631"/>
                    </a:lnTo>
                    <a:lnTo>
                      <a:pt x="737" y="643"/>
                    </a:lnTo>
                    <a:lnTo>
                      <a:pt x="728" y="631"/>
                    </a:lnTo>
                    <a:lnTo>
                      <a:pt x="728" y="610"/>
                    </a:lnTo>
                    <a:lnTo>
                      <a:pt x="728" y="610"/>
                    </a:lnTo>
                    <a:lnTo>
                      <a:pt x="728" y="615"/>
                    </a:lnTo>
                    <a:lnTo>
                      <a:pt x="716" y="615"/>
                    </a:lnTo>
                    <a:lnTo>
                      <a:pt x="711" y="598"/>
                    </a:lnTo>
                    <a:lnTo>
                      <a:pt x="728" y="610"/>
                    </a:lnTo>
                    <a:lnTo>
                      <a:pt x="728" y="598"/>
                    </a:lnTo>
                    <a:lnTo>
                      <a:pt x="699" y="593"/>
                    </a:lnTo>
                    <a:lnTo>
                      <a:pt x="695" y="586"/>
                    </a:lnTo>
                    <a:lnTo>
                      <a:pt x="678" y="577"/>
                    </a:lnTo>
                    <a:lnTo>
                      <a:pt x="673" y="560"/>
                    </a:lnTo>
                    <a:lnTo>
                      <a:pt x="662" y="560"/>
                    </a:lnTo>
                    <a:lnTo>
                      <a:pt x="662" y="570"/>
                    </a:lnTo>
                    <a:lnTo>
                      <a:pt x="645" y="560"/>
                    </a:lnTo>
                    <a:lnTo>
                      <a:pt x="657" y="560"/>
                    </a:lnTo>
                    <a:lnTo>
                      <a:pt x="673" y="544"/>
                    </a:lnTo>
                    <a:lnTo>
                      <a:pt x="645" y="560"/>
                    </a:lnTo>
                    <a:lnTo>
                      <a:pt x="631" y="544"/>
                    </a:lnTo>
                    <a:lnTo>
                      <a:pt x="624" y="532"/>
                    </a:lnTo>
                    <a:lnTo>
                      <a:pt x="640" y="504"/>
                    </a:lnTo>
                    <a:lnTo>
                      <a:pt x="645" y="515"/>
                    </a:lnTo>
                    <a:lnTo>
                      <a:pt x="645" y="504"/>
                    </a:lnTo>
                    <a:lnTo>
                      <a:pt x="624" y="475"/>
                    </a:lnTo>
                    <a:lnTo>
                      <a:pt x="619" y="466"/>
                    </a:lnTo>
                    <a:lnTo>
                      <a:pt x="603" y="475"/>
                    </a:lnTo>
                    <a:lnTo>
                      <a:pt x="586" y="442"/>
                    </a:lnTo>
                    <a:lnTo>
                      <a:pt x="565" y="442"/>
                    </a:lnTo>
                    <a:lnTo>
                      <a:pt x="548" y="426"/>
                    </a:lnTo>
                    <a:lnTo>
                      <a:pt x="539" y="404"/>
                    </a:lnTo>
                    <a:lnTo>
                      <a:pt x="548" y="388"/>
                    </a:lnTo>
                    <a:lnTo>
                      <a:pt x="532" y="376"/>
                    </a:lnTo>
                    <a:lnTo>
                      <a:pt x="522" y="388"/>
                    </a:lnTo>
                    <a:lnTo>
                      <a:pt x="510" y="376"/>
                    </a:lnTo>
                    <a:lnTo>
                      <a:pt x="484" y="350"/>
                    </a:lnTo>
                    <a:lnTo>
                      <a:pt x="468" y="338"/>
                    </a:lnTo>
                    <a:lnTo>
                      <a:pt x="458" y="310"/>
                    </a:lnTo>
                    <a:lnTo>
                      <a:pt x="430" y="298"/>
                    </a:lnTo>
                    <a:lnTo>
                      <a:pt x="430" y="265"/>
                    </a:lnTo>
                    <a:lnTo>
                      <a:pt x="414" y="260"/>
                    </a:lnTo>
                    <a:lnTo>
                      <a:pt x="414" y="260"/>
                    </a:lnTo>
                    <a:lnTo>
                      <a:pt x="392" y="222"/>
                    </a:lnTo>
                    <a:lnTo>
                      <a:pt x="392" y="199"/>
                    </a:lnTo>
                    <a:lnTo>
                      <a:pt x="371" y="166"/>
                    </a:lnTo>
                    <a:lnTo>
                      <a:pt x="371" y="116"/>
                    </a:lnTo>
                    <a:lnTo>
                      <a:pt x="333" y="111"/>
                    </a:lnTo>
                    <a:lnTo>
                      <a:pt x="333" y="95"/>
                    </a:lnTo>
                    <a:lnTo>
                      <a:pt x="307" y="88"/>
                    </a:lnTo>
                    <a:lnTo>
                      <a:pt x="300" y="100"/>
                    </a:lnTo>
                    <a:lnTo>
                      <a:pt x="291" y="95"/>
                    </a:lnTo>
                    <a:lnTo>
                      <a:pt x="232" y="60"/>
                    </a:lnTo>
                    <a:lnTo>
                      <a:pt x="253" y="88"/>
                    </a:lnTo>
                    <a:lnTo>
                      <a:pt x="248" y="128"/>
                    </a:lnTo>
                    <a:lnTo>
                      <a:pt x="253" y="145"/>
                    </a:lnTo>
                    <a:lnTo>
                      <a:pt x="262" y="204"/>
                    </a:lnTo>
                    <a:lnTo>
                      <a:pt x="269" y="222"/>
                    </a:lnTo>
                    <a:lnTo>
                      <a:pt x="333" y="277"/>
                    </a:lnTo>
                    <a:lnTo>
                      <a:pt x="338" y="310"/>
                    </a:lnTo>
                    <a:lnTo>
                      <a:pt x="345" y="298"/>
                    </a:lnTo>
                    <a:lnTo>
                      <a:pt x="354" y="310"/>
                    </a:lnTo>
                    <a:lnTo>
                      <a:pt x="359" y="310"/>
                    </a:lnTo>
                    <a:lnTo>
                      <a:pt x="371" y="338"/>
                    </a:lnTo>
                    <a:lnTo>
                      <a:pt x="388" y="338"/>
                    </a:lnTo>
                    <a:lnTo>
                      <a:pt x="388" y="355"/>
                    </a:lnTo>
                    <a:lnTo>
                      <a:pt x="392" y="371"/>
                    </a:lnTo>
                    <a:lnTo>
                      <a:pt x="392" y="388"/>
                    </a:lnTo>
                    <a:lnTo>
                      <a:pt x="409" y="404"/>
                    </a:lnTo>
                    <a:lnTo>
                      <a:pt x="425" y="409"/>
                    </a:lnTo>
                    <a:lnTo>
                      <a:pt x="458" y="475"/>
                    </a:lnTo>
                    <a:lnTo>
                      <a:pt x="463" y="487"/>
                    </a:lnTo>
                    <a:lnTo>
                      <a:pt x="468" y="482"/>
                    </a:lnTo>
                    <a:lnTo>
                      <a:pt x="458" y="466"/>
                    </a:lnTo>
                    <a:lnTo>
                      <a:pt x="458" y="459"/>
                    </a:lnTo>
                    <a:lnTo>
                      <a:pt x="480" y="475"/>
                    </a:lnTo>
                    <a:lnTo>
                      <a:pt x="480" y="482"/>
                    </a:lnTo>
                    <a:lnTo>
                      <a:pt x="484" y="504"/>
                    </a:lnTo>
                    <a:lnTo>
                      <a:pt x="496" y="544"/>
                    </a:lnTo>
                    <a:lnTo>
                      <a:pt x="501" y="560"/>
                    </a:lnTo>
                    <a:lnTo>
                      <a:pt x="517" y="570"/>
                    </a:lnTo>
                    <a:lnTo>
                      <a:pt x="522" y="593"/>
                    </a:lnTo>
                    <a:lnTo>
                      <a:pt x="539" y="615"/>
                    </a:lnTo>
                    <a:lnTo>
                      <a:pt x="532" y="643"/>
                    </a:lnTo>
                    <a:lnTo>
                      <a:pt x="539" y="655"/>
                    </a:lnTo>
                    <a:lnTo>
                      <a:pt x="565" y="664"/>
                    </a:lnTo>
                    <a:lnTo>
                      <a:pt x="555" y="664"/>
                    </a:lnTo>
                    <a:lnTo>
                      <a:pt x="565" y="671"/>
                    </a:lnTo>
                    <a:lnTo>
                      <a:pt x="569" y="664"/>
                    </a:lnTo>
                    <a:lnTo>
                      <a:pt x="565" y="655"/>
                    </a:lnTo>
                    <a:lnTo>
                      <a:pt x="569" y="655"/>
                    </a:lnTo>
                    <a:lnTo>
                      <a:pt x="603" y="681"/>
                    </a:lnTo>
                    <a:lnTo>
                      <a:pt x="607" y="704"/>
                    </a:lnTo>
                    <a:lnTo>
                      <a:pt x="624" y="721"/>
                    </a:lnTo>
                    <a:lnTo>
                      <a:pt x="619" y="754"/>
                    </a:lnTo>
                    <a:lnTo>
                      <a:pt x="593" y="766"/>
                    </a:lnTo>
                    <a:lnTo>
                      <a:pt x="586" y="766"/>
                    </a:lnTo>
                    <a:lnTo>
                      <a:pt x="565" y="709"/>
                    </a:lnTo>
                    <a:lnTo>
                      <a:pt x="484" y="655"/>
                    </a:lnTo>
                    <a:lnTo>
                      <a:pt x="468" y="643"/>
                    </a:lnTo>
                    <a:lnTo>
                      <a:pt x="463" y="643"/>
                    </a:lnTo>
                    <a:lnTo>
                      <a:pt x="447" y="626"/>
                    </a:lnTo>
                    <a:lnTo>
                      <a:pt x="442" y="626"/>
                    </a:lnTo>
                    <a:lnTo>
                      <a:pt x="442" y="598"/>
                    </a:lnTo>
                    <a:lnTo>
                      <a:pt x="430" y="615"/>
                    </a:lnTo>
                    <a:lnTo>
                      <a:pt x="442" y="560"/>
                    </a:lnTo>
                    <a:lnTo>
                      <a:pt x="442" y="570"/>
                    </a:lnTo>
                    <a:lnTo>
                      <a:pt x="442" y="544"/>
                    </a:lnTo>
                    <a:lnTo>
                      <a:pt x="414" y="504"/>
                    </a:lnTo>
                    <a:lnTo>
                      <a:pt x="397" y="504"/>
                    </a:lnTo>
                    <a:lnTo>
                      <a:pt x="359" y="475"/>
                    </a:lnTo>
                    <a:lnTo>
                      <a:pt x="371" y="459"/>
                    </a:lnTo>
                    <a:lnTo>
                      <a:pt x="354" y="466"/>
                    </a:lnTo>
                    <a:lnTo>
                      <a:pt x="345" y="466"/>
                    </a:lnTo>
                    <a:lnTo>
                      <a:pt x="333" y="475"/>
                    </a:lnTo>
                    <a:lnTo>
                      <a:pt x="317" y="449"/>
                    </a:lnTo>
                    <a:lnTo>
                      <a:pt x="307" y="449"/>
                    </a:lnTo>
                    <a:lnTo>
                      <a:pt x="291" y="442"/>
                    </a:lnTo>
                    <a:lnTo>
                      <a:pt x="269" y="433"/>
                    </a:lnTo>
                    <a:lnTo>
                      <a:pt x="269" y="421"/>
                    </a:lnTo>
                    <a:lnTo>
                      <a:pt x="236" y="393"/>
                    </a:lnTo>
                    <a:lnTo>
                      <a:pt x="232" y="388"/>
                    </a:lnTo>
                    <a:lnTo>
                      <a:pt x="307" y="393"/>
                    </a:lnTo>
                    <a:lnTo>
                      <a:pt x="300" y="393"/>
                    </a:lnTo>
                    <a:lnTo>
                      <a:pt x="291" y="393"/>
                    </a:lnTo>
                    <a:lnTo>
                      <a:pt x="286" y="388"/>
                    </a:lnTo>
                    <a:lnTo>
                      <a:pt x="291" y="371"/>
                    </a:lnTo>
                    <a:lnTo>
                      <a:pt x="300" y="331"/>
                    </a:lnTo>
                    <a:lnTo>
                      <a:pt x="236" y="265"/>
                    </a:lnTo>
                    <a:lnTo>
                      <a:pt x="225" y="260"/>
                    </a:lnTo>
                    <a:lnTo>
                      <a:pt x="182" y="239"/>
                    </a:lnTo>
                    <a:lnTo>
                      <a:pt x="177" y="187"/>
                    </a:lnTo>
                    <a:lnTo>
                      <a:pt x="173" y="182"/>
                    </a:lnTo>
                    <a:lnTo>
                      <a:pt x="173" y="187"/>
                    </a:lnTo>
                    <a:lnTo>
                      <a:pt x="161" y="182"/>
                    </a:lnTo>
                    <a:lnTo>
                      <a:pt x="161" y="154"/>
                    </a:lnTo>
                    <a:lnTo>
                      <a:pt x="144" y="145"/>
                    </a:lnTo>
                    <a:lnTo>
                      <a:pt x="140" y="116"/>
                    </a:lnTo>
                    <a:lnTo>
                      <a:pt x="118" y="95"/>
                    </a:lnTo>
                    <a:lnTo>
                      <a:pt x="123" y="71"/>
                    </a:lnTo>
                    <a:lnTo>
                      <a:pt x="106" y="60"/>
                    </a:lnTo>
                    <a:lnTo>
                      <a:pt x="85" y="17"/>
                    </a:lnTo>
                    <a:lnTo>
                      <a:pt x="253" y="0"/>
                    </a:lnTo>
                    <a:lnTo>
                      <a:pt x="248" y="17"/>
                    </a:lnTo>
                    <a:lnTo>
                      <a:pt x="510" y="111"/>
                    </a:lnTo>
                    <a:lnTo>
                      <a:pt x="711" y="111"/>
                    </a:lnTo>
                    <a:lnTo>
                      <a:pt x="711" y="76"/>
                    </a:lnTo>
                    <a:lnTo>
                      <a:pt x="841" y="76"/>
                    </a:lnTo>
                    <a:lnTo>
                      <a:pt x="846" y="100"/>
                    </a:lnTo>
                    <a:lnTo>
                      <a:pt x="943" y="171"/>
                    </a:lnTo>
                    <a:lnTo>
                      <a:pt x="952" y="204"/>
                    </a:lnTo>
                    <a:lnTo>
                      <a:pt x="952" y="222"/>
                    </a:lnTo>
                    <a:lnTo>
                      <a:pt x="969" y="244"/>
                    </a:lnTo>
                    <a:lnTo>
                      <a:pt x="1002" y="265"/>
                    </a:lnTo>
                    <a:lnTo>
                      <a:pt x="1051" y="293"/>
                    </a:lnTo>
                    <a:lnTo>
                      <a:pt x="1061" y="298"/>
                    </a:lnTo>
                    <a:lnTo>
                      <a:pt x="1089" y="277"/>
                    </a:lnTo>
                    <a:lnTo>
                      <a:pt x="1103" y="239"/>
                    </a:lnTo>
                    <a:lnTo>
                      <a:pt x="1125" y="227"/>
                    </a:lnTo>
                    <a:lnTo>
                      <a:pt x="1141" y="239"/>
                    </a:lnTo>
                    <a:lnTo>
                      <a:pt x="1186" y="239"/>
                    </a:lnTo>
                    <a:lnTo>
                      <a:pt x="1195" y="244"/>
                    </a:lnTo>
                    <a:lnTo>
                      <a:pt x="1238" y="282"/>
                    </a:lnTo>
                    <a:lnTo>
                      <a:pt x="1266" y="355"/>
                    </a:lnTo>
                    <a:lnTo>
                      <a:pt x="1276" y="367"/>
                    </a:lnTo>
                    <a:lnTo>
                      <a:pt x="1292" y="393"/>
                    </a:lnTo>
                    <a:lnTo>
                      <a:pt x="1321" y="409"/>
                    </a:lnTo>
                    <a:lnTo>
                      <a:pt x="1325" y="449"/>
                    </a:lnTo>
                    <a:lnTo>
                      <a:pt x="1342" y="466"/>
                    </a:lnTo>
                    <a:lnTo>
                      <a:pt x="1347" y="499"/>
                    </a:lnTo>
                    <a:lnTo>
                      <a:pt x="1396" y="515"/>
                    </a:lnTo>
                    <a:lnTo>
                      <a:pt x="1410" y="520"/>
                    </a:lnTo>
                    <a:lnTo>
                      <a:pt x="1448" y="532"/>
                    </a:lnTo>
                    <a:lnTo>
                      <a:pt x="1465" y="537"/>
                    </a:lnTo>
                    <a:lnTo>
                      <a:pt x="1486" y="532"/>
                    </a:lnTo>
                    <a:lnTo>
                      <a:pt x="1448" y="643"/>
                    </a:lnTo>
                    <a:lnTo>
                      <a:pt x="1439" y="766"/>
                    </a:lnTo>
                    <a:lnTo>
                      <a:pt x="1434" y="792"/>
                    </a:lnTo>
                    <a:lnTo>
                      <a:pt x="1448" y="837"/>
                    </a:lnTo>
                    <a:lnTo>
                      <a:pt x="1472" y="870"/>
                    </a:lnTo>
                    <a:lnTo>
                      <a:pt x="1465" y="886"/>
                    </a:lnTo>
                    <a:lnTo>
                      <a:pt x="1465" y="882"/>
                    </a:lnTo>
                    <a:lnTo>
                      <a:pt x="1472" y="870"/>
                    </a:lnTo>
                    <a:lnTo>
                      <a:pt x="1439" y="832"/>
                    </a:lnTo>
                    <a:lnTo>
                      <a:pt x="1448" y="865"/>
                    </a:lnTo>
                    <a:lnTo>
                      <a:pt x="1486" y="936"/>
                    </a:lnTo>
                    <a:lnTo>
                      <a:pt x="1536" y="997"/>
                    </a:lnTo>
                    <a:lnTo>
                      <a:pt x="1545" y="1037"/>
                    </a:lnTo>
                    <a:lnTo>
                      <a:pt x="1573" y="1059"/>
                    </a:lnTo>
                    <a:lnTo>
                      <a:pt x="1573" y="1071"/>
                    </a:lnTo>
                    <a:lnTo>
                      <a:pt x="1578" y="1075"/>
                    </a:lnTo>
                    <a:lnTo>
                      <a:pt x="1628" y="1087"/>
                    </a:lnTo>
                    <a:lnTo>
                      <a:pt x="1632" y="1092"/>
                    </a:lnTo>
                    <a:lnTo>
                      <a:pt x="1649" y="1092"/>
                    </a:lnTo>
                    <a:lnTo>
                      <a:pt x="1670" y="1125"/>
                    </a:lnTo>
                    <a:lnTo>
                      <a:pt x="1720" y="1113"/>
                    </a:lnTo>
                    <a:lnTo>
                      <a:pt x="1734" y="1104"/>
                    </a:lnTo>
                    <a:lnTo>
                      <a:pt x="1720" y="1108"/>
                    </a:lnTo>
                    <a:lnTo>
                      <a:pt x="1734" y="1104"/>
                    </a:lnTo>
                    <a:lnTo>
                      <a:pt x="1762" y="1104"/>
                    </a:lnTo>
                    <a:lnTo>
                      <a:pt x="1762" y="1108"/>
                    </a:lnTo>
                    <a:lnTo>
                      <a:pt x="1805" y="1087"/>
                    </a:lnTo>
                    <a:lnTo>
                      <a:pt x="1847" y="1075"/>
                    </a:lnTo>
                    <a:lnTo>
                      <a:pt x="1859" y="1087"/>
                    </a:lnTo>
                    <a:lnTo>
                      <a:pt x="1843" y="1092"/>
                    </a:lnTo>
                    <a:lnTo>
                      <a:pt x="1859" y="1092"/>
                    </a:lnTo>
                    <a:lnTo>
                      <a:pt x="1859" y="1108"/>
                    </a:lnTo>
                    <a:lnTo>
                      <a:pt x="1864" y="1104"/>
                    </a:lnTo>
                    <a:lnTo>
                      <a:pt x="1880" y="1104"/>
                    </a:lnTo>
                    <a:lnTo>
                      <a:pt x="1885" y="1092"/>
                    </a:lnTo>
                    <a:lnTo>
                      <a:pt x="1902" y="1087"/>
                    </a:lnTo>
                    <a:lnTo>
                      <a:pt x="1885" y="1075"/>
                    </a:lnTo>
                    <a:lnTo>
                      <a:pt x="1897" y="1071"/>
                    </a:lnTo>
                    <a:lnTo>
                      <a:pt x="1885" y="1071"/>
                    </a:lnTo>
                    <a:lnTo>
                      <a:pt x="1935" y="1037"/>
                    </a:lnTo>
                    <a:lnTo>
                      <a:pt x="1940" y="1002"/>
                    </a:lnTo>
                    <a:lnTo>
                      <a:pt x="1956" y="993"/>
                    </a:lnTo>
                    <a:lnTo>
                      <a:pt x="1951" y="943"/>
                    </a:lnTo>
                    <a:lnTo>
                      <a:pt x="1965" y="910"/>
                    </a:lnTo>
                    <a:lnTo>
                      <a:pt x="1994" y="886"/>
                    </a:lnTo>
                    <a:lnTo>
                      <a:pt x="2065" y="882"/>
                    </a:lnTo>
                    <a:lnTo>
                      <a:pt x="2095" y="870"/>
                    </a:lnTo>
                    <a:lnTo>
                      <a:pt x="2128" y="865"/>
                    </a:lnTo>
                    <a:lnTo>
                      <a:pt x="2183" y="882"/>
                    </a:lnTo>
                    <a:lnTo>
                      <a:pt x="2188" y="870"/>
                    </a:lnTo>
                    <a:lnTo>
                      <a:pt x="2166" y="870"/>
                    </a:lnTo>
                    <a:lnTo>
                      <a:pt x="2192" y="865"/>
                    </a:lnTo>
                    <a:lnTo>
                      <a:pt x="2209" y="882"/>
                    </a:lnTo>
                    <a:lnTo>
                      <a:pt x="2209" y="893"/>
                    </a:lnTo>
                    <a:lnTo>
                      <a:pt x="2204" y="926"/>
                    </a:lnTo>
                    <a:lnTo>
                      <a:pt x="2166" y="964"/>
                    </a:lnTo>
                    <a:lnTo>
                      <a:pt x="2166" y="997"/>
                    </a:lnTo>
                    <a:lnTo>
                      <a:pt x="2166" y="993"/>
                    </a:lnTo>
                    <a:lnTo>
                      <a:pt x="2154" y="997"/>
                    </a:lnTo>
                    <a:lnTo>
                      <a:pt x="2138" y="1002"/>
                    </a:lnTo>
                    <a:lnTo>
                      <a:pt x="2150" y="1021"/>
                    </a:lnTo>
                    <a:lnTo>
                      <a:pt x="2166" y="1014"/>
                    </a:lnTo>
                    <a:lnTo>
                      <a:pt x="2166" y="1030"/>
                    </a:lnTo>
                    <a:lnTo>
                      <a:pt x="2150" y="1037"/>
                    </a:lnTo>
                    <a:lnTo>
                      <a:pt x="2150" y="1047"/>
                    </a:lnTo>
                    <a:lnTo>
                      <a:pt x="2166" y="1037"/>
                    </a:lnTo>
                    <a:lnTo>
                      <a:pt x="2133" y="1113"/>
                    </a:lnTo>
                    <a:lnTo>
                      <a:pt x="2133" y="1104"/>
                    </a:lnTo>
                    <a:lnTo>
                      <a:pt x="2117" y="1092"/>
                    </a:lnTo>
                    <a:lnTo>
                      <a:pt x="2128" y="1087"/>
                    </a:lnTo>
                    <a:lnTo>
                      <a:pt x="2128" y="1071"/>
                    </a:lnTo>
                    <a:lnTo>
                      <a:pt x="2103" y="1104"/>
                    </a:lnTo>
                    <a:lnTo>
                      <a:pt x="2103" y="1104"/>
                    </a:lnTo>
                    <a:lnTo>
                      <a:pt x="2103" y="1104"/>
                    </a:lnTo>
                    <a:close/>
                    <a:moveTo>
                      <a:pt x="359" y="293"/>
                    </a:moveTo>
                    <a:lnTo>
                      <a:pt x="333" y="260"/>
                    </a:lnTo>
                    <a:lnTo>
                      <a:pt x="333" y="256"/>
                    </a:lnTo>
                    <a:lnTo>
                      <a:pt x="345" y="260"/>
                    </a:lnTo>
                    <a:lnTo>
                      <a:pt x="345" y="265"/>
                    </a:lnTo>
                    <a:lnTo>
                      <a:pt x="359" y="277"/>
                    </a:lnTo>
                    <a:lnTo>
                      <a:pt x="359" y="293"/>
                    </a:lnTo>
                    <a:lnTo>
                      <a:pt x="359" y="293"/>
                    </a:lnTo>
                    <a:lnTo>
                      <a:pt x="359" y="293"/>
                    </a:lnTo>
                    <a:close/>
                    <a:moveTo>
                      <a:pt x="425" y="315"/>
                    </a:moveTo>
                    <a:lnTo>
                      <a:pt x="409" y="310"/>
                    </a:lnTo>
                    <a:lnTo>
                      <a:pt x="414" y="282"/>
                    </a:lnTo>
                    <a:lnTo>
                      <a:pt x="425" y="277"/>
                    </a:lnTo>
                    <a:lnTo>
                      <a:pt x="430" y="298"/>
                    </a:lnTo>
                    <a:lnTo>
                      <a:pt x="425" y="315"/>
                    </a:lnTo>
                    <a:lnTo>
                      <a:pt x="425" y="315"/>
                    </a:lnTo>
                    <a:lnTo>
                      <a:pt x="425" y="315"/>
                    </a:lnTo>
                    <a:close/>
                    <a:moveTo>
                      <a:pt x="0" y="298"/>
                    </a:moveTo>
                    <a:lnTo>
                      <a:pt x="0" y="282"/>
                    </a:lnTo>
                    <a:lnTo>
                      <a:pt x="0" y="282"/>
                    </a:lnTo>
                    <a:lnTo>
                      <a:pt x="10" y="293"/>
                    </a:lnTo>
                    <a:lnTo>
                      <a:pt x="0" y="298"/>
                    </a:lnTo>
                    <a:lnTo>
                      <a:pt x="0" y="298"/>
                    </a:lnTo>
                    <a:lnTo>
                      <a:pt x="0" y="298"/>
                    </a:lnTo>
                    <a:close/>
                    <a:moveTo>
                      <a:pt x="225" y="371"/>
                    </a:moveTo>
                    <a:lnTo>
                      <a:pt x="215" y="367"/>
                    </a:lnTo>
                    <a:lnTo>
                      <a:pt x="215" y="350"/>
                    </a:lnTo>
                    <a:lnTo>
                      <a:pt x="225" y="367"/>
                    </a:lnTo>
                    <a:lnTo>
                      <a:pt x="225" y="371"/>
                    </a:lnTo>
                    <a:lnTo>
                      <a:pt x="225" y="371"/>
                    </a:lnTo>
                    <a:lnTo>
                      <a:pt x="225" y="371"/>
                    </a:lnTo>
                    <a:close/>
                    <a:moveTo>
                      <a:pt x="501" y="544"/>
                    </a:moveTo>
                    <a:lnTo>
                      <a:pt x="501" y="532"/>
                    </a:lnTo>
                    <a:lnTo>
                      <a:pt x="510" y="520"/>
                    </a:lnTo>
                    <a:lnTo>
                      <a:pt x="501" y="544"/>
                    </a:lnTo>
                    <a:lnTo>
                      <a:pt x="501" y="544"/>
                    </a:lnTo>
                    <a:lnTo>
                      <a:pt x="501" y="544"/>
                    </a:lnTo>
                    <a:close/>
                    <a:moveTo>
                      <a:pt x="442" y="586"/>
                    </a:moveTo>
                    <a:lnTo>
                      <a:pt x="430" y="615"/>
                    </a:lnTo>
                    <a:lnTo>
                      <a:pt x="442" y="643"/>
                    </a:lnTo>
                    <a:lnTo>
                      <a:pt x="430" y="615"/>
                    </a:lnTo>
                    <a:lnTo>
                      <a:pt x="442" y="586"/>
                    </a:lnTo>
                    <a:lnTo>
                      <a:pt x="442" y="586"/>
                    </a:lnTo>
                    <a:lnTo>
                      <a:pt x="442" y="586"/>
                    </a:lnTo>
                    <a:close/>
                    <a:moveTo>
                      <a:pt x="539" y="598"/>
                    </a:moveTo>
                    <a:lnTo>
                      <a:pt x="548" y="598"/>
                    </a:lnTo>
                    <a:lnTo>
                      <a:pt x="548" y="615"/>
                    </a:lnTo>
                    <a:lnTo>
                      <a:pt x="539" y="610"/>
                    </a:lnTo>
                    <a:lnTo>
                      <a:pt x="539" y="598"/>
                    </a:lnTo>
                    <a:lnTo>
                      <a:pt x="539" y="598"/>
                    </a:lnTo>
                    <a:lnTo>
                      <a:pt x="539" y="598"/>
                    </a:lnTo>
                    <a:close/>
                    <a:moveTo>
                      <a:pt x="463" y="655"/>
                    </a:moveTo>
                    <a:lnTo>
                      <a:pt x="447" y="643"/>
                    </a:lnTo>
                    <a:lnTo>
                      <a:pt x="458" y="643"/>
                    </a:lnTo>
                    <a:lnTo>
                      <a:pt x="463" y="655"/>
                    </a:lnTo>
                    <a:lnTo>
                      <a:pt x="463" y="655"/>
                    </a:lnTo>
                    <a:lnTo>
                      <a:pt x="463" y="655"/>
                    </a:lnTo>
                    <a:close/>
                    <a:moveTo>
                      <a:pt x="825" y="870"/>
                    </a:moveTo>
                    <a:lnTo>
                      <a:pt x="817" y="853"/>
                    </a:lnTo>
                    <a:lnTo>
                      <a:pt x="834" y="853"/>
                    </a:lnTo>
                    <a:lnTo>
                      <a:pt x="834" y="870"/>
                    </a:lnTo>
                    <a:lnTo>
                      <a:pt x="825" y="870"/>
                    </a:lnTo>
                    <a:lnTo>
                      <a:pt x="825" y="870"/>
                    </a:lnTo>
                    <a:lnTo>
                      <a:pt x="825" y="870"/>
                    </a:lnTo>
                    <a:close/>
                    <a:moveTo>
                      <a:pt x="841" y="882"/>
                    </a:moveTo>
                    <a:lnTo>
                      <a:pt x="834" y="882"/>
                    </a:lnTo>
                    <a:lnTo>
                      <a:pt x="841" y="870"/>
                    </a:lnTo>
                    <a:lnTo>
                      <a:pt x="841" y="882"/>
                    </a:lnTo>
                    <a:lnTo>
                      <a:pt x="841" y="882"/>
                    </a:lnTo>
                    <a:lnTo>
                      <a:pt x="841" y="882"/>
                    </a:lnTo>
                    <a:close/>
                    <a:moveTo>
                      <a:pt x="855" y="886"/>
                    </a:moveTo>
                    <a:lnTo>
                      <a:pt x="846" y="886"/>
                    </a:lnTo>
                    <a:lnTo>
                      <a:pt x="855" y="886"/>
                    </a:lnTo>
                    <a:lnTo>
                      <a:pt x="855" y="886"/>
                    </a:lnTo>
                    <a:lnTo>
                      <a:pt x="855" y="886"/>
                    </a:lnTo>
                    <a:lnTo>
                      <a:pt x="855" y="886"/>
                    </a:lnTo>
                    <a:close/>
                    <a:moveTo>
                      <a:pt x="2192" y="964"/>
                    </a:moveTo>
                    <a:lnTo>
                      <a:pt x="2204" y="943"/>
                    </a:lnTo>
                    <a:lnTo>
                      <a:pt x="2209" y="943"/>
                    </a:lnTo>
                    <a:lnTo>
                      <a:pt x="2192" y="964"/>
                    </a:lnTo>
                    <a:lnTo>
                      <a:pt x="2192" y="964"/>
                    </a:lnTo>
                    <a:lnTo>
                      <a:pt x="2192" y="964"/>
                    </a:lnTo>
                    <a:close/>
                    <a:moveTo>
                      <a:pt x="517" y="1075"/>
                    </a:moveTo>
                    <a:lnTo>
                      <a:pt x="510" y="1075"/>
                    </a:lnTo>
                    <a:lnTo>
                      <a:pt x="517" y="1071"/>
                    </a:lnTo>
                    <a:lnTo>
                      <a:pt x="522" y="1075"/>
                    </a:lnTo>
                    <a:lnTo>
                      <a:pt x="517" y="1075"/>
                    </a:lnTo>
                    <a:lnTo>
                      <a:pt x="517" y="1075"/>
                    </a:lnTo>
                    <a:lnTo>
                      <a:pt x="517" y="107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8" name="Freeform 525">
                <a:extLst>
                  <a:ext uri="{FF2B5EF4-FFF2-40B4-BE49-F238E27FC236}">
                    <a16:creationId xmlns:a16="http://schemas.microsoft.com/office/drawing/2014/main" id="{998CA920-DDF5-47C4-B911-4319C0365ABA}"/>
                  </a:ext>
                </a:extLst>
              </p:cNvPr>
              <p:cNvSpPr>
                <a:spLocks/>
              </p:cNvSpPr>
              <p:nvPr/>
            </p:nvSpPr>
            <p:spPr bwMode="gray">
              <a:xfrm>
                <a:off x="5048680" y="3887613"/>
                <a:ext cx="116914" cy="123515"/>
              </a:xfrm>
              <a:custGeom>
                <a:avLst/>
                <a:gdLst>
                  <a:gd name="T0" fmla="*/ 279 w 284"/>
                  <a:gd name="T1" fmla="*/ 198 h 300"/>
                  <a:gd name="T2" fmla="*/ 267 w 284"/>
                  <a:gd name="T3" fmla="*/ 206 h 300"/>
                  <a:gd name="T4" fmla="*/ 267 w 284"/>
                  <a:gd name="T5" fmla="*/ 227 h 300"/>
                  <a:gd name="T6" fmla="*/ 262 w 284"/>
                  <a:gd name="T7" fmla="*/ 255 h 300"/>
                  <a:gd name="T8" fmla="*/ 246 w 284"/>
                  <a:gd name="T9" fmla="*/ 260 h 300"/>
                  <a:gd name="T10" fmla="*/ 241 w 284"/>
                  <a:gd name="T11" fmla="*/ 260 h 300"/>
                  <a:gd name="T12" fmla="*/ 241 w 284"/>
                  <a:gd name="T13" fmla="*/ 255 h 300"/>
                  <a:gd name="T14" fmla="*/ 225 w 284"/>
                  <a:gd name="T15" fmla="*/ 255 h 300"/>
                  <a:gd name="T16" fmla="*/ 213 w 284"/>
                  <a:gd name="T17" fmla="*/ 243 h 300"/>
                  <a:gd name="T18" fmla="*/ 170 w 284"/>
                  <a:gd name="T19" fmla="*/ 260 h 300"/>
                  <a:gd name="T20" fmla="*/ 144 w 284"/>
                  <a:gd name="T21" fmla="*/ 255 h 300"/>
                  <a:gd name="T22" fmla="*/ 139 w 284"/>
                  <a:gd name="T23" fmla="*/ 267 h 300"/>
                  <a:gd name="T24" fmla="*/ 156 w 284"/>
                  <a:gd name="T25" fmla="*/ 283 h 300"/>
                  <a:gd name="T26" fmla="*/ 156 w 284"/>
                  <a:gd name="T27" fmla="*/ 293 h 300"/>
                  <a:gd name="T28" fmla="*/ 144 w 284"/>
                  <a:gd name="T29" fmla="*/ 300 h 300"/>
                  <a:gd name="T30" fmla="*/ 118 w 284"/>
                  <a:gd name="T31" fmla="*/ 293 h 300"/>
                  <a:gd name="T32" fmla="*/ 102 w 284"/>
                  <a:gd name="T33" fmla="*/ 283 h 300"/>
                  <a:gd name="T34" fmla="*/ 64 w 284"/>
                  <a:gd name="T35" fmla="*/ 227 h 300"/>
                  <a:gd name="T36" fmla="*/ 54 w 284"/>
                  <a:gd name="T37" fmla="*/ 189 h 300"/>
                  <a:gd name="T38" fmla="*/ 33 w 284"/>
                  <a:gd name="T39" fmla="*/ 189 h 300"/>
                  <a:gd name="T40" fmla="*/ 33 w 284"/>
                  <a:gd name="T41" fmla="*/ 182 h 300"/>
                  <a:gd name="T42" fmla="*/ 0 w 284"/>
                  <a:gd name="T43" fmla="*/ 144 h 300"/>
                  <a:gd name="T44" fmla="*/ 0 w 284"/>
                  <a:gd name="T45" fmla="*/ 132 h 300"/>
                  <a:gd name="T46" fmla="*/ 17 w 284"/>
                  <a:gd name="T47" fmla="*/ 94 h 300"/>
                  <a:gd name="T48" fmla="*/ 12 w 284"/>
                  <a:gd name="T49" fmla="*/ 87 h 300"/>
                  <a:gd name="T50" fmla="*/ 33 w 284"/>
                  <a:gd name="T51" fmla="*/ 71 h 300"/>
                  <a:gd name="T52" fmla="*/ 54 w 284"/>
                  <a:gd name="T53" fmla="*/ 71 h 300"/>
                  <a:gd name="T54" fmla="*/ 54 w 284"/>
                  <a:gd name="T55" fmla="*/ 61 h 300"/>
                  <a:gd name="T56" fmla="*/ 64 w 284"/>
                  <a:gd name="T57" fmla="*/ 61 h 300"/>
                  <a:gd name="T58" fmla="*/ 54 w 284"/>
                  <a:gd name="T59" fmla="*/ 43 h 300"/>
                  <a:gd name="T60" fmla="*/ 64 w 284"/>
                  <a:gd name="T61" fmla="*/ 38 h 300"/>
                  <a:gd name="T62" fmla="*/ 64 w 284"/>
                  <a:gd name="T63" fmla="*/ 33 h 300"/>
                  <a:gd name="T64" fmla="*/ 69 w 284"/>
                  <a:gd name="T65" fmla="*/ 5 h 300"/>
                  <a:gd name="T66" fmla="*/ 80 w 284"/>
                  <a:gd name="T67" fmla="*/ 0 h 300"/>
                  <a:gd name="T68" fmla="*/ 144 w 284"/>
                  <a:gd name="T69" fmla="*/ 17 h 300"/>
                  <a:gd name="T70" fmla="*/ 156 w 284"/>
                  <a:gd name="T71" fmla="*/ 17 h 300"/>
                  <a:gd name="T72" fmla="*/ 156 w 284"/>
                  <a:gd name="T73" fmla="*/ 21 h 300"/>
                  <a:gd name="T74" fmla="*/ 156 w 284"/>
                  <a:gd name="T75" fmla="*/ 5 h 300"/>
                  <a:gd name="T76" fmla="*/ 156 w 284"/>
                  <a:gd name="T77" fmla="*/ 0 h 300"/>
                  <a:gd name="T78" fmla="*/ 191 w 284"/>
                  <a:gd name="T79" fmla="*/ 0 h 300"/>
                  <a:gd name="T80" fmla="*/ 208 w 284"/>
                  <a:gd name="T81" fmla="*/ 5 h 300"/>
                  <a:gd name="T82" fmla="*/ 208 w 284"/>
                  <a:gd name="T83" fmla="*/ 17 h 300"/>
                  <a:gd name="T84" fmla="*/ 225 w 284"/>
                  <a:gd name="T85" fmla="*/ 5 h 300"/>
                  <a:gd name="T86" fmla="*/ 208 w 284"/>
                  <a:gd name="T87" fmla="*/ 0 h 300"/>
                  <a:gd name="T88" fmla="*/ 213 w 284"/>
                  <a:gd name="T89" fmla="*/ 0 h 300"/>
                  <a:gd name="T90" fmla="*/ 284 w 284"/>
                  <a:gd name="T91" fmla="*/ 17 h 300"/>
                  <a:gd name="T92" fmla="*/ 284 w 284"/>
                  <a:gd name="T93" fmla="*/ 33 h 300"/>
                  <a:gd name="T94" fmla="*/ 279 w 284"/>
                  <a:gd name="T95" fmla="*/ 43 h 300"/>
                  <a:gd name="T96" fmla="*/ 250 w 284"/>
                  <a:gd name="T97" fmla="*/ 71 h 300"/>
                  <a:gd name="T98" fmla="*/ 250 w 284"/>
                  <a:gd name="T99" fmla="*/ 87 h 300"/>
                  <a:gd name="T100" fmla="*/ 262 w 284"/>
                  <a:gd name="T101" fmla="*/ 144 h 300"/>
                  <a:gd name="T102" fmla="*/ 284 w 284"/>
                  <a:gd name="T103" fmla="*/ 172 h 300"/>
                  <a:gd name="T104" fmla="*/ 279 w 284"/>
                  <a:gd name="T105" fmla="*/ 198 h 300"/>
                  <a:gd name="T106" fmla="*/ 279 w 284"/>
                  <a:gd name="T107" fmla="*/ 198 h 300"/>
                  <a:gd name="T108" fmla="*/ 279 w 284"/>
                  <a:gd name="T109" fmla="*/ 19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4" h="300">
                    <a:moveTo>
                      <a:pt x="279" y="198"/>
                    </a:moveTo>
                    <a:lnTo>
                      <a:pt x="267" y="206"/>
                    </a:lnTo>
                    <a:lnTo>
                      <a:pt x="267" y="227"/>
                    </a:lnTo>
                    <a:lnTo>
                      <a:pt x="262" y="255"/>
                    </a:lnTo>
                    <a:lnTo>
                      <a:pt x="246" y="260"/>
                    </a:lnTo>
                    <a:lnTo>
                      <a:pt x="241" y="260"/>
                    </a:lnTo>
                    <a:lnTo>
                      <a:pt x="241" y="255"/>
                    </a:lnTo>
                    <a:lnTo>
                      <a:pt x="225" y="255"/>
                    </a:lnTo>
                    <a:lnTo>
                      <a:pt x="213" y="243"/>
                    </a:lnTo>
                    <a:lnTo>
                      <a:pt x="170" y="260"/>
                    </a:lnTo>
                    <a:lnTo>
                      <a:pt x="144" y="255"/>
                    </a:lnTo>
                    <a:lnTo>
                      <a:pt x="139" y="267"/>
                    </a:lnTo>
                    <a:lnTo>
                      <a:pt x="156" y="283"/>
                    </a:lnTo>
                    <a:lnTo>
                      <a:pt x="156" y="293"/>
                    </a:lnTo>
                    <a:lnTo>
                      <a:pt x="144" y="300"/>
                    </a:lnTo>
                    <a:lnTo>
                      <a:pt x="118" y="293"/>
                    </a:lnTo>
                    <a:lnTo>
                      <a:pt x="102" y="283"/>
                    </a:lnTo>
                    <a:lnTo>
                      <a:pt x="64" y="227"/>
                    </a:lnTo>
                    <a:lnTo>
                      <a:pt x="54" y="189"/>
                    </a:lnTo>
                    <a:lnTo>
                      <a:pt x="33" y="189"/>
                    </a:lnTo>
                    <a:lnTo>
                      <a:pt x="33" y="182"/>
                    </a:lnTo>
                    <a:lnTo>
                      <a:pt x="0" y="144"/>
                    </a:lnTo>
                    <a:lnTo>
                      <a:pt x="0" y="132"/>
                    </a:lnTo>
                    <a:lnTo>
                      <a:pt x="17" y="94"/>
                    </a:lnTo>
                    <a:lnTo>
                      <a:pt x="12" y="87"/>
                    </a:lnTo>
                    <a:lnTo>
                      <a:pt x="33" y="71"/>
                    </a:lnTo>
                    <a:lnTo>
                      <a:pt x="54" y="71"/>
                    </a:lnTo>
                    <a:lnTo>
                      <a:pt x="54" y="61"/>
                    </a:lnTo>
                    <a:lnTo>
                      <a:pt x="64" y="61"/>
                    </a:lnTo>
                    <a:lnTo>
                      <a:pt x="54" y="43"/>
                    </a:lnTo>
                    <a:lnTo>
                      <a:pt x="64" y="38"/>
                    </a:lnTo>
                    <a:lnTo>
                      <a:pt x="64" y="33"/>
                    </a:lnTo>
                    <a:lnTo>
                      <a:pt x="69" y="5"/>
                    </a:lnTo>
                    <a:lnTo>
                      <a:pt x="80" y="0"/>
                    </a:lnTo>
                    <a:lnTo>
                      <a:pt x="144" y="17"/>
                    </a:lnTo>
                    <a:lnTo>
                      <a:pt x="156" y="17"/>
                    </a:lnTo>
                    <a:lnTo>
                      <a:pt x="156" y="21"/>
                    </a:lnTo>
                    <a:lnTo>
                      <a:pt x="156" y="5"/>
                    </a:lnTo>
                    <a:lnTo>
                      <a:pt x="156" y="0"/>
                    </a:lnTo>
                    <a:lnTo>
                      <a:pt x="191" y="0"/>
                    </a:lnTo>
                    <a:lnTo>
                      <a:pt x="208" y="5"/>
                    </a:lnTo>
                    <a:lnTo>
                      <a:pt x="208" y="17"/>
                    </a:lnTo>
                    <a:lnTo>
                      <a:pt x="225" y="5"/>
                    </a:lnTo>
                    <a:lnTo>
                      <a:pt x="208" y="0"/>
                    </a:lnTo>
                    <a:lnTo>
                      <a:pt x="213" y="0"/>
                    </a:lnTo>
                    <a:lnTo>
                      <a:pt x="284" y="17"/>
                    </a:lnTo>
                    <a:lnTo>
                      <a:pt x="284" y="33"/>
                    </a:lnTo>
                    <a:lnTo>
                      <a:pt x="279" y="43"/>
                    </a:lnTo>
                    <a:lnTo>
                      <a:pt x="250" y="71"/>
                    </a:lnTo>
                    <a:lnTo>
                      <a:pt x="250" y="87"/>
                    </a:lnTo>
                    <a:lnTo>
                      <a:pt x="262" y="144"/>
                    </a:lnTo>
                    <a:lnTo>
                      <a:pt x="284" y="172"/>
                    </a:lnTo>
                    <a:lnTo>
                      <a:pt x="279" y="198"/>
                    </a:lnTo>
                    <a:lnTo>
                      <a:pt x="279" y="198"/>
                    </a:lnTo>
                    <a:lnTo>
                      <a:pt x="279" y="19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9" name="Freeform 526">
                <a:extLst>
                  <a:ext uri="{FF2B5EF4-FFF2-40B4-BE49-F238E27FC236}">
                    <a16:creationId xmlns:a16="http://schemas.microsoft.com/office/drawing/2014/main" id="{A990A360-974B-42CA-9E24-6426C23DC83B}"/>
                  </a:ext>
                </a:extLst>
              </p:cNvPr>
              <p:cNvSpPr>
                <a:spLocks noEditPoints="1"/>
              </p:cNvSpPr>
              <p:nvPr/>
            </p:nvSpPr>
            <p:spPr bwMode="gray">
              <a:xfrm>
                <a:off x="4728812" y="3697812"/>
                <a:ext cx="27993" cy="9058"/>
              </a:xfrm>
              <a:custGeom>
                <a:avLst/>
                <a:gdLst>
                  <a:gd name="T0" fmla="*/ 33 w 68"/>
                  <a:gd name="T1" fmla="*/ 22 h 22"/>
                  <a:gd name="T2" fmla="*/ 5 w 68"/>
                  <a:gd name="T3" fmla="*/ 7 h 22"/>
                  <a:gd name="T4" fmla="*/ 0 w 68"/>
                  <a:gd name="T5" fmla="*/ 0 h 22"/>
                  <a:gd name="T6" fmla="*/ 33 w 68"/>
                  <a:gd name="T7" fmla="*/ 22 h 22"/>
                  <a:gd name="T8" fmla="*/ 33 w 68"/>
                  <a:gd name="T9" fmla="*/ 22 h 22"/>
                  <a:gd name="T10" fmla="*/ 33 w 68"/>
                  <a:gd name="T11" fmla="*/ 22 h 22"/>
                  <a:gd name="T12" fmla="*/ 68 w 68"/>
                  <a:gd name="T13" fmla="*/ 22 h 22"/>
                  <a:gd name="T14" fmla="*/ 54 w 68"/>
                  <a:gd name="T15" fmla="*/ 0 h 22"/>
                  <a:gd name="T16" fmla="*/ 68 w 68"/>
                  <a:gd name="T17" fmla="*/ 7 h 22"/>
                  <a:gd name="T18" fmla="*/ 68 w 68"/>
                  <a:gd name="T19" fmla="*/ 22 h 22"/>
                  <a:gd name="T20" fmla="*/ 68 w 68"/>
                  <a:gd name="T21" fmla="*/ 22 h 22"/>
                  <a:gd name="T22" fmla="*/ 68 w 68"/>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22">
                    <a:moveTo>
                      <a:pt x="33" y="22"/>
                    </a:moveTo>
                    <a:lnTo>
                      <a:pt x="5" y="7"/>
                    </a:lnTo>
                    <a:lnTo>
                      <a:pt x="0" y="0"/>
                    </a:lnTo>
                    <a:lnTo>
                      <a:pt x="33" y="22"/>
                    </a:lnTo>
                    <a:lnTo>
                      <a:pt x="33" y="22"/>
                    </a:lnTo>
                    <a:lnTo>
                      <a:pt x="33" y="22"/>
                    </a:lnTo>
                    <a:close/>
                    <a:moveTo>
                      <a:pt x="68" y="22"/>
                    </a:moveTo>
                    <a:lnTo>
                      <a:pt x="54" y="0"/>
                    </a:lnTo>
                    <a:lnTo>
                      <a:pt x="68" y="7"/>
                    </a:lnTo>
                    <a:lnTo>
                      <a:pt x="68" y="22"/>
                    </a:lnTo>
                    <a:lnTo>
                      <a:pt x="68" y="22"/>
                    </a:lnTo>
                    <a:lnTo>
                      <a:pt x="68" y="2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0" name="Freeform 527">
                <a:extLst>
                  <a:ext uri="{FF2B5EF4-FFF2-40B4-BE49-F238E27FC236}">
                    <a16:creationId xmlns:a16="http://schemas.microsoft.com/office/drawing/2014/main" id="{4C76F5EA-E87E-4325-837B-F7CB897BEB96}"/>
                  </a:ext>
                </a:extLst>
              </p:cNvPr>
              <p:cNvSpPr>
                <a:spLocks/>
              </p:cNvSpPr>
              <p:nvPr/>
            </p:nvSpPr>
            <p:spPr bwMode="gray">
              <a:xfrm>
                <a:off x="4195699" y="3615469"/>
                <a:ext cx="128441" cy="130103"/>
              </a:xfrm>
              <a:custGeom>
                <a:avLst/>
                <a:gdLst>
                  <a:gd name="T0" fmla="*/ 22 w 312"/>
                  <a:gd name="T1" fmla="*/ 151 h 316"/>
                  <a:gd name="T2" fmla="*/ 43 w 312"/>
                  <a:gd name="T3" fmla="*/ 151 h 316"/>
                  <a:gd name="T4" fmla="*/ 52 w 312"/>
                  <a:gd name="T5" fmla="*/ 139 h 316"/>
                  <a:gd name="T6" fmla="*/ 69 w 312"/>
                  <a:gd name="T7" fmla="*/ 127 h 316"/>
                  <a:gd name="T8" fmla="*/ 60 w 312"/>
                  <a:gd name="T9" fmla="*/ 94 h 316"/>
                  <a:gd name="T10" fmla="*/ 90 w 312"/>
                  <a:gd name="T11" fmla="*/ 94 h 316"/>
                  <a:gd name="T12" fmla="*/ 114 w 312"/>
                  <a:gd name="T13" fmla="*/ 73 h 316"/>
                  <a:gd name="T14" fmla="*/ 140 w 312"/>
                  <a:gd name="T15" fmla="*/ 89 h 316"/>
                  <a:gd name="T16" fmla="*/ 140 w 312"/>
                  <a:gd name="T17" fmla="*/ 82 h 316"/>
                  <a:gd name="T18" fmla="*/ 178 w 312"/>
                  <a:gd name="T19" fmla="*/ 49 h 316"/>
                  <a:gd name="T20" fmla="*/ 178 w 312"/>
                  <a:gd name="T21" fmla="*/ 49 h 316"/>
                  <a:gd name="T22" fmla="*/ 194 w 312"/>
                  <a:gd name="T23" fmla="*/ 16 h 316"/>
                  <a:gd name="T24" fmla="*/ 220 w 312"/>
                  <a:gd name="T25" fmla="*/ 33 h 316"/>
                  <a:gd name="T26" fmla="*/ 270 w 312"/>
                  <a:gd name="T27" fmla="*/ 16 h 316"/>
                  <a:gd name="T28" fmla="*/ 291 w 312"/>
                  <a:gd name="T29" fmla="*/ 0 h 316"/>
                  <a:gd name="T30" fmla="*/ 312 w 312"/>
                  <a:gd name="T31" fmla="*/ 0 h 316"/>
                  <a:gd name="T32" fmla="*/ 303 w 312"/>
                  <a:gd name="T33" fmla="*/ 16 h 316"/>
                  <a:gd name="T34" fmla="*/ 308 w 312"/>
                  <a:gd name="T35" fmla="*/ 28 h 316"/>
                  <a:gd name="T36" fmla="*/ 312 w 312"/>
                  <a:gd name="T37" fmla="*/ 54 h 316"/>
                  <a:gd name="T38" fmla="*/ 303 w 312"/>
                  <a:gd name="T39" fmla="*/ 82 h 316"/>
                  <a:gd name="T40" fmla="*/ 286 w 312"/>
                  <a:gd name="T41" fmla="*/ 122 h 316"/>
                  <a:gd name="T42" fmla="*/ 291 w 312"/>
                  <a:gd name="T43" fmla="*/ 193 h 316"/>
                  <a:gd name="T44" fmla="*/ 286 w 312"/>
                  <a:gd name="T45" fmla="*/ 193 h 316"/>
                  <a:gd name="T46" fmla="*/ 291 w 312"/>
                  <a:gd name="T47" fmla="*/ 167 h 316"/>
                  <a:gd name="T48" fmla="*/ 286 w 312"/>
                  <a:gd name="T49" fmla="*/ 160 h 316"/>
                  <a:gd name="T50" fmla="*/ 286 w 312"/>
                  <a:gd name="T51" fmla="*/ 177 h 316"/>
                  <a:gd name="T52" fmla="*/ 274 w 312"/>
                  <a:gd name="T53" fmla="*/ 193 h 316"/>
                  <a:gd name="T54" fmla="*/ 274 w 312"/>
                  <a:gd name="T55" fmla="*/ 222 h 316"/>
                  <a:gd name="T56" fmla="*/ 270 w 312"/>
                  <a:gd name="T57" fmla="*/ 233 h 316"/>
                  <a:gd name="T58" fmla="*/ 270 w 312"/>
                  <a:gd name="T59" fmla="*/ 238 h 316"/>
                  <a:gd name="T60" fmla="*/ 274 w 312"/>
                  <a:gd name="T61" fmla="*/ 233 h 316"/>
                  <a:gd name="T62" fmla="*/ 286 w 312"/>
                  <a:gd name="T63" fmla="*/ 255 h 316"/>
                  <a:gd name="T64" fmla="*/ 270 w 312"/>
                  <a:gd name="T65" fmla="*/ 271 h 316"/>
                  <a:gd name="T66" fmla="*/ 270 w 312"/>
                  <a:gd name="T67" fmla="*/ 290 h 316"/>
                  <a:gd name="T68" fmla="*/ 286 w 312"/>
                  <a:gd name="T69" fmla="*/ 307 h 316"/>
                  <a:gd name="T70" fmla="*/ 274 w 312"/>
                  <a:gd name="T71" fmla="*/ 311 h 316"/>
                  <a:gd name="T72" fmla="*/ 258 w 312"/>
                  <a:gd name="T73" fmla="*/ 316 h 316"/>
                  <a:gd name="T74" fmla="*/ 204 w 312"/>
                  <a:gd name="T75" fmla="*/ 295 h 316"/>
                  <a:gd name="T76" fmla="*/ 194 w 312"/>
                  <a:gd name="T77" fmla="*/ 307 h 316"/>
                  <a:gd name="T78" fmla="*/ 145 w 312"/>
                  <a:gd name="T79" fmla="*/ 278 h 316"/>
                  <a:gd name="T80" fmla="*/ 140 w 312"/>
                  <a:gd name="T81" fmla="*/ 295 h 316"/>
                  <a:gd name="T82" fmla="*/ 86 w 312"/>
                  <a:gd name="T83" fmla="*/ 238 h 316"/>
                  <a:gd name="T84" fmla="*/ 60 w 312"/>
                  <a:gd name="T85" fmla="*/ 205 h 316"/>
                  <a:gd name="T86" fmla="*/ 0 w 312"/>
                  <a:gd name="T87" fmla="*/ 160 h 316"/>
                  <a:gd name="T88" fmla="*/ 5 w 312"/>
                  <a:gd name="T89" fmla="*/ 144 h 316"/>
                  <a:gd name="T90" fmla="*/ 22 w 312"/>
                  <a:gd name="T91" fmla="*/ 160 h 316"/>
                  <a:gd name="T92" fmla="*/ 22 w 312"/>
                  <a:gd name="T93" fmla="*/ 160 h 316"/>
                  <a:gd name="T94" fmla="*/ 22 w 312"/>
                  <a:gd name="T95" fmla="*/ 151 h 316"/>
                  <a:gd name="T96" fmla="*/ 22 w 312"/>
                  <a:gd name="T97" fmla="*/ 151 h 316"/>
                  <a:gd name="T98" fmla="*/ 22 w 312"/>
                  <a:gd name="T99" fmla="*/ 15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2" h="316">
                    <a:moveTo>
                      <a:pt x="22" y="151"/>
                    </a:moveTo>
                    <a:lnTo>
                      <a:pt x="43" y="151"/>
                    </a:lnTo>
                    <a:lnTo>
                      <a:pt x="52" y="139"/>
                    </a:lnTo>
                    <a:lnTo>
                      <a:pt x="69" y="127"/>
                    </a:lnTo>
                    <a:lnTo>
                      <a:pt x="60" y="94"/>
                    </a:lnTo>
                    <a:lnTo>
                      <a:pt x="90" y="94"/>
                    </a:lnTo>
                    <a:lnTo>
                      <a:pt x="114" y="73"/>
                    </a:lnTo>
                    <a:lnTo>
                      <a:pt x="140" y="89"/>
                    </a:lnTo>
                    <a:lnTo>
                      <a:pt x="140" y="82"/>
                    </a:lnTo>
                    <a:lnTo>
                      <a:pt x="178" y="49"/>
                    </a:lnTo>
                    <a:lnTo>
                      <a:pt x="178" y="49"/>
                    </a:lnTo>
                    <a:lnTo>
                      <a:pt x="194" y="16"/>
                    </a:lnTo>
                    <a:lnTo>
                      <a:pt x="220" y="33"/>
                    </a:lnTo>
                    <a:lnTo>
                      <a:pt x="270" y="16"/>
                    </a:lnTo>
                    <a:lnTo>
                      <a:pt x="291" y="0"/>
                    </a:lnTo>
                    <a:lnTo>
                      <a:pt x="312" y="0"/>
                    </a:lnTo>
                    <a:lnTo>
                      <a:pt x="303" y="16"/>
                    </a:lnTo>
                    <a:lnTo>
                      <a:pt x="308" y="28"/>
                    </a:lnTo>
                    <a:lnTo>
                      <a:pt x="312" y="54"/>
                    </a:lnTo>
                    <a:lnTo>
                      <a:pt x="303" y="82"/>
                    </a:lnTo>
                    <a:lnTo>
                      <a:pt x="286" y="122"/>
                    </a:lnTo>
                    <a:lnTo>
                      <a:pt x="291" y="193"/>
                    </a:lnTo>
                    <a:lnTo>
                      <a:pt x="286" y="193"/>
                    </a:lnTo>
                    <a:lnTo>
                      <a:pt x="291" y="167"/>
                    </a:lnTo>
                    <a:lnTo>
                      <a:pt x="286" y="160"/>
                    </a:lnTo>
                    <a:lnTo>
                      <a:pt x="286" y="177"/>
                    </a:lnTo>
                    <a:lnTo>
                      <a:pt x="274" y="193"/>
                    </a:lnTo>
                    <a:lnTo>
                      <a:pt x="274" y="222"/>
                    </a:lnTo>
                    <a:lnTo>
                      <a:pt x="270" y="233"/>
                    </a:lnTo>
                    <a:lnTo>
                      <a:pt x="270" y="238"/>
                    </a:lnTo>
                    <a:lnTo>
                      <a:pt x="274" y="233"/>
                    </a:lnTo>
                    <a:lnTo>
                      <a:pt x="286" y="255"/>
                    </a:lnTo>
                    <a:lnTo>
                      <a:pt x="270" y="271"/>
                    </a:lnTo>
                    <a:lnTo>
                      <a:pt x="270" y="290"/>
                    </a:lnTo>
                    <a:lnTo>
                      <a:pt x="286" y="307"/>
                    </a:lnTo>
                    <a:lnTo>
                      <a:pt x="274" y="311"/>
                    </a:lnTo>
                    <a:lnTo>
                      <a:pt x="258" y="316"/>
                    </a:lnTo>
                    <a:lnTo>
                      <a:pt x="204" y="295"/>
                    </a:lnTo>
                    <a:lnTo>
                      <a:pt x="194" y="307"/>
                    </a:lnTo>
                    <a:lnTo>
                      <a:pt x="145" y="278"/>
                    </a:lnTo>
                    <a:lnTo>
                      <a:pt x="140" y="295"/>
                    </a:lnTo>
                    <a:lnTo>
                      <a:pt x="86" y="238"/>
                    </a:lnTo>
                    <a:lnTo>
                      <a:pt x="60" y="205"/>
                    </a:lnTo>
                    <a:lnTo>
                      <a:pt x="0" y="160"/>
                    </a:lnTo>
                    <a:lnTo>
                      <a:pt x="5" y="144"/>
                    </a:lnTo>
                    <a:lnTo>
                      <a:pt x="22" y="160"/>
                    </a:lnTo>
                    <a:lnTo>
                      <a:pt x="22" y="160"/>
                    </a:lnTo>
                    <a:lnTo>
                      <a:pt x="22" y="151"/>
                    </a:lnTo>
                    <a:lnTo>
                      <a:pt x="22" y="151"/>
                    </a:lnTo>
                    <a:lnTo>
                      <a:pt x="22" y="15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2" name="Freeform 529">
                <a:extLst>
                  <a:ext uri="{FF2B5EF4-FFF2-40B4-BE49-F238E27FC236}">
                    <a16:creationId xmlns:a16="http://schemas.microsoft.com/office/drawing/2014/main" id="{7DCBCEC0-206A-4D97-9CB6-8FBDDB8DADD0}"/>
                  </a:ext>
                </a:extLst>
              </p:cNvPr>
              <p:cNvSpPr>
                <a:spLocks/>
              </p:cNvSpPr>
              <p:nvPr/>
            </p:nvSpPr>
            <p:spPr bwMode="gray">
              <a:xfrm>
                <a:off x="4914476" y="4643111"/>
                <a:ext cx="244943" cy="261852"/>
              </a:xfrm>
              <a:custGeom>
                <a:avLst/>
                <a:gdLst>
                  <a:gd name="T0" fmla="*/ 343 w 595"/>
                  <a:gd name="T1" fmla="*/ 449 h 636"/>
                  <a:gd name="T2" fmla="*/ 189 w 595"/>
                  <a:gd name="T3" fmla="*/ 359 h 636"/>
                  <a:gd name="T4" fmla="*/ 118 w 595"/>
                  <a:gd name="T5" fmla="*/ 343 h 636"/>
                  <a:gd name="T6" fmla="*/ 50 w 595"/>
                  <a:gd name="T7" fmla="*/ 289 h 636"/>
                  <a:gd name="T8" fmla="*/ 0 w 595"/>
                  <a:gd name="T9" fmla="*/ 227 h 636"/>
                  <a:gd name="T10" fmla="*/ 33 w 595"/>
                  <a:gd name="T11" fmla="*/ 100 h 636"/>
                  <a:gd name="T12" fmla="*/ 71 w 595"/>
                  <a:gd name="T13" fmla="*/ 29 h 636"/>
                  <a:gd name="T14" fmla="*/ 255 w 595"/>
                  <a:gd name="T15" fmla="*/ 12 h 636"/>
                  <a:gd name="T16" fmla="*/ 319 w 595"/>
                  <a:gd name="T17" fmla="*/ 67 h 636"/>
                  <a:gd name="T18" fmla="*/ 343 w 595"/>
                  <a:gd name="T19" fmla="*/ 161 h 636"/>
                  <a:gd name="T20" fmla="*/ 336 w 595"/>
                  <a:gd name="T21" fmla="*/ 215 h 636"/>
                  <a:gd name="T22" fmla="*/ 428 w 595"/>
                  <a:gd name="T23" fmla="*/ 227 h 636"/>
                  <a:gd name="T24" fmla="*/ 461 w 595"/>
                  <a:gd name="T25" fmla="*/ 227 h 636"/>
                  <a:gd name="T26" fmla="*/ 499 w 595"/>
                  <a:gd name="T27" fmla="*/ 255 h 636"/>
                  <a:gd name="T28" fmla="*/ 515 w 595"/>
                  <a:gd name="T29" fmla="*/ 359 h 636"/>
                  <a:gd name="T30" fmla="*/ 569 w 595"/>
                  <a:gd name="T31" fmla="*/ 343 h 636"/>
                  <a:gd name="T32" fmla="*/ 591 w 595"/>
                  <a:gd name="T33" fmla="*/ 364 h 636"/>
                  <a:gd name="T34" fmla="*/ 581 w 595"/>
                  <a:gd name="T35" fmla="*/ 437 h 636"/>
                  <a:gd name="T36" fmla="*/ 569 w 595"/>
                  <a:gd name="T37" fmla="*/ 470 h 636"/>
                  <a:gd name="T38" fmla="*/ 569 w 595"/>
                  <a:gd name="T39" fmla="*/ 548 h 636"/>
                  <a:gd name="T40" fmla="*/ 515 w 595"/>
                  <a:gd name="T41" fmla="*/ 586 h 636"/>
                  <a:gd name="T42" fmla="*/ 503 w 595"/>
                  <a:gd name="T43" fmla="*/ 615 h 636"/>
                  <a:gd name="T44" fmla="*/ 482 w 595"/>
                  <a:gd name="T45" fmla="*/ 615 h 636"/>
                  <a:gd name="T46" fmla="*/ 444 w 595"/>
                  <a:gd name="T47" fmla="*/ 636 h 636"/>
                  <a:gd name="T48" fmla="*/ 418 w 595"/>
                  <a:gd name="T49" fmla="*/ 624 h 636"/>
                  <a:gd name="T50" fmla="*/ 397 w 595"/>
                  <a:gd name="T51" fmla="*/ 624 h 636"/>
                  <a:gd name="T52" fmla="*/ 288 w 595"/>
                  <a:gd name="T53" fmla="*/ 615 h 636"/>
                  <a:gd name="T54" fmla="*/ 319 w 595"/>
                  <a:gd name="T55" fmla="*/ 565 h 636"/>
                  <a:gd name="T56" fmla="*/ 343 w 595"/>
                  <a:gd name="T57" fmla="*/ 508 h 636"/>
                  <a:gd name="T58" fmla="*/ 343 w 595"/>
                  <a:gd name="T59" fmla="*/ 492 h 636"/>
                  <a:gd name="T60" fmla="*/ 364 w 595"/>
                  <a:gd name="T61" fmla="*/ 470 h 636"/>
                  <a:gd name="T62" fmla="*/ 357 w 595"/>
                  <a:gd name="T63" fmla="*/ 45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5" h="636">
                    <a:moveTo>
                      <a:pt x="357" y="459"/>
                    </a:moveTo>
                    <a:lnTo>
                      <a:pt x="343" y="449"/>
                    </a:lnTo>
                    <a:lnTo>
                      <a:pt x="272" y="421"/>
                    </a:lnTo>
                    <a:lnTo>
                      <a:pt x="189" y="359"/>
                    </a:lnTo>
                    <a:lnTo>
                      <a:pt x="173" y="359"/>
                    </a:lnTo>
                    <a:lnTo>
                      <a:pt x="118" y="343"/>
                    </a:lnTo>
                    <a:lnTo>
                      <a:pt x="109" y="326"/>
                    </a:lnTo>
                    <a:lnTo>
                      <a:pt x="50" y="289"/>
                    </a:lnTo>
                    <a:lnTo>
                      <a:pt x="33" y="248"/>
                    </a:lnTo>
                    <a:lnTo>
                      <a:pt x="0" y="227"/>
                    </a:lnTo>
                    <a:lnTo>
                      <a:pt x="33" y="140"/>
                    </a:lnTo>
                    <a:lnTo>
                      <a:pt x="33" y="100"/>
                    </a:lnTo>
                    <a:lnTo>
                      <a:pt x="54" y="67"/>
                    </a:lnTo>
                    <a:lnTo>
                      <a:pt x="71" y="29"/>
                    </a:lnTo>
                    <a:lnTo>
                      <a:pt x="189" y="0"/>
                    </a:lnTo>
                    <a:lnTo>
                      <a:pt x="255" y="12"/>
                    </a:lnTo>
                    <a:lnTo>
                      <a:pt x="319" y="45"/>
                    </a:lnTo>
                    <a:lnTo>
                      <a:pt x="319" y="67"/>
                    </a:lnTo>
                    <a:lnTo>
                      <a:pt x="343" y="128"/>
                    </a:lnTo>
                    <a:lnTo>
                      <a:pt x="343" y="161"/>
                    </a:lnTo>
                    <a:lnTo>
                      <a:pt x="336" y="173"/>
                    </a:lnTo>
                    <a:lnTo>
                      <a:pt x="336" y="215"/>
                    </a:lnTo>
                    <a:lnTo>
                      <a:pt x="411" y="227"/>
                    </a:lnTo>
                    <a:lnTo>
                      <a:pt x="428" y="227"/>
                    </a:lnTo>
                    <a:lnTo>
                      <a:pt x="444" y="211"/>
                    </a:lnTo>
                    <a:lnTo>
                      <a:pt x="461" y="227"/>
                    </a:lnTo>
                    <a:lnTo>
                      <a:pt x="482" y="232"/>
                    </a:lnTo>
                    <a:lnTo>
                      <a:pt x="499" y="255"/>
                    </a:lnTo>
                    <a:lnTo>
                      <a:pt x="499" y="272"/>
                    </a:lnTo>
                    <a:lnTo>
                      <a:pt x="515" y="359"/>
                    </a:lnTo>
                    <a:lnTo>
                      <a:pt x="541" y="359"/>
                    </a:lnTo>
                    <a:lnTo>
                      <a:pt x="569" y="343"/>
                    </a:lnTo>
                    <a:lnTo>
                      <a:pt x="595" y="364"/>
                    </a:lnTo>
                    <a:lnTo>
                      <a:pt x="591" y="364"/>
                    </a:lnTo>
                    <a:lnTo>
                      <a:pt x="595" y="381"/>
                    </a:lnTo>
                    <a:lnTo>
                      <a:pt x="581" y="437"/>
                    </a:lnTo>
                    <a:lnTo>
                      <a:pt x="581" y="449"/>
                    </a:lnTo>
                    <a:lnTo>
                      <a:pt x="569" y="470"/>
                    </a:lnTo>
                    <a:lnTo>
                      <a:pt x="574" y="475"/>
                    </a:lnTo>
                    <a:lnTo>
                      <a:pt x="569" y="548"/>
                    </a:lnTo>
                    <a:lnTo>
                      <a:pt x="541" y="570"/>
                    </a:lnTo>
                    <a:lnTo>
                      <a:pt x="515" y="586"/>
                    </a:lnTo>
                    <a:lnTo>
                      <a:pt x="503" y="598"/>
                    </a:lnTo>
                    <a:lnTo>
                      <a:pt x="503" y="615"/>
                    </a:lnTo>
                    <a:lnTo>
                      <a:pt x="489" y="619"/>
                    </a:lnTo>
                    <a:lnTo>
                      <a:pt x="482" y="615"/>
                    </a:lnTo>
                    <a:lnTo>
                      <a:pt x="465" y="615"/>
                    </a:lnTo>
                    <a:lnTo>
                      <a:pt x="444" y="636"/>
                    </a:lnTo>
                    <a:lnTo>
                      <a:pt x="435" y="624"/>
                    </a:lnTo>
                    <a:lnTo>
                      <a:pt x="418" y="624"/>
                    </a:lnTo>
                    <a:lnTo>
                      <a:pt x="411" y="619"/>
                    </a:lnTo>
                    <a:lnTo>
                      <a:pt x="397" y="624"/>
                    </a:lnTo>
                    <a:lnTo>
                      <a:pt x="352" y="615"/>
                    </a:lnTo>
                    <a:lnTo>
                      <a:pt x="288" y="615"/>
                    </a:lnTo>
                    <a:lnTo>
                      <a:pt x="288" y="603"/>
                    </a:lnTo>
                    <a:lnTo>
                      <a:pt x="319" y="565"/>
                    </a:lnTo>
                    <a:lnTo>
                      <a:pt x="319" y="525"/>
                    </a:lnTo>
                    <a:lnTo>
                      <a:pt x="343" y="508"/>
                    </a:lnTo>
                    <a:lnTo>
                      <a:pt x="343" y="508"/>
                    </a:lnTo>
                    <a:lnTo>
                      <a:pt x="343" y="492"/>
                    </a:lnTo>
                    <a:lnTo>
                      <a:pt x="364" y="475"/>
                    </a:lnTo>
                    <a:lnTo>
                      <a:pt x="364" y="470"/>
                    </a:lnTo>
                    <a:lnTo>
                      <a:pt x="357" y="459"/>
                    </a:lnTo>
                    <a:lnTo>
                      <a:pt x="357" y="459"/>
                    </a:lnTo>
                    <a:lnTo>
                      <a:pt x="357" y="45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3" name="Freeform 530">
                <a:extLst>
                  <a:ext uri="{FF2B5EF4-FFF2-40B4-BE49-F238E27FC236}">
                    <a16:creationId xmlns:a16="http://schemas.microsoft.com/office/drawing/2014/main" id="{6C9CED62-328A-4E97-9D4C-78E08B256D97}"/>
                  </a:ext>
                </a:extLst>
              </p:cNvPr>
              <p:cNvSpPr>
                <a:spLocks/>
              </p:cNvSpPr>
              <p:nvPr/>
            </p:nvSpPr>
            <p:spPr bwMode="gray">
              <a:xfrm>
                <a:off x="4375599" y="4067532"/>
                <a:ext cx="367621" cy="547583"/>
              </a:xfrm>
              <a:custGeom>
                <a:avLst/>
                <a:gdLst>
                  <a:gd name="T0" fmla="*/ 872 w 893"/>
                  <a:gd name="T1" fmla="*/ 926 h 1330"/>
                  <a:gd name="T2" fmla="*/ 877 w 893"/>
                  <a:gd name="T3" fmla="*/ 1025 h 1330"/>
                  <a:gd name="T4" fmla="*/ 839 w 893"/>
                  <a:gd name="T5" fmla="*/ 1063 h 1330"/>
                  <a:gd name="T6" fmla="*/ 844 w 893"/>
                  <a:gd name="T7" fmla="*/ 1108 h 1330"/>
                  <a:gd name="T8" fmla="*/ 872 w 893"/>
                  <a:gd name="T9" fmla="*/ 1169 h 1330"/>
                  <a:gd name="T10" fmla="*/ 872 w 893"/>
                  <a:gd name="T11" fmla="*/ 1202 h 1330"/>
                  <a:gd name="T12" fmla="*/ 834 w 893"/>
                  <a:gd name="T13" fmla="*/ 1259 h 1330"/>
                  <a:gd name="T14" fmla="*/ 806 w 893"/>
                  <a:gd name="T15" fmla="*/ 1280 h 1330"/>
                  <a:gd name="T16" fmla="*/ 768 w 893"/>
                  <a:gd name="T17" fmla="*/ 1330 h 1330"/>
                  <a:gd name="T18" fmla="*/ 671 w 893"/>
                  <a:gd name="T19" fmla="*/ 1242 h 1330"/>
                  <a:gd name="T20" fmla="*/ 515 w 893"/>
                  <a:gd name="T21" fmla="*/ 1153 h 1330"/>
                  <a:gd name="T22" fmla="*/ 388 w 893"/>
                  <a:gd name="T23" fmla="*/ 1058 h 1330"/>
                  <a:gd name="T24" fmla="*/ 350 w 893"/>
                  <a:gd name="T25" fmla="*/ 1004 h 1330"/>
                  <a:gd name="T26" fmla="*/ 360 w 893"/>
                  <a:gd name="T27" fmla="*/ 964 h 1330"/>
                  <a:gd name="T28" fmla="*/ 300 w 893"/>
                  <a:gd name="T29" fmla="*/ 869 h 1330"/>
                  <a:gd name="T30" fmla="*/ 263 w 893"/>
                  <a:gd name="T31" fmla="*/ 782 h 1330"/>
                  <a:gd name="T32" fmla="*/ 194 w 893"/>
                  <a:gd name="T33" fmla="*/ 647 h 1330"/>
                  <a:gd name="T34" fmla="*/ 145 w 893"/>
                  <a:gd name="T35" fmla="*/ 565 h 1330"/>
                  <a:gd name="T36" fmla="*/ 17 w 893"/>
                  <a:gd name="T37" fmla="*/ 432 h 1330"/>
                  <a:gd name="T38" fmla="*/ 38 w 893"/>
                  <a:gd name="T39" fmla="*/ 399 h 1330"/>
                  <a:gd name="T40" fmla="*/ 26 w 893"/>
                  <a:gd name="T41" fmla="*/ 354 h 1330"/>
                  <a:gd name="T42" fmla="*/ 38 w 893"/>
                  <a:gd name="T43" fmla="*/ 267 h 1330"/>
                  <a:gd name="T44" fmla="*/ 86 w 893"/>
                  <a:gd name="T45" fmla="*/ 276 h 1330"/>
                  <a:gd name="T46" fmla="*/ 64 w 893"/>
                  <a:gd name="T47" fmla="*/ 300 h 1330"/>
                  <a:gd name="T48" fmla="*/ 69 w 893"/>
                  <a:gd name="T49" fmla="*/ 317 h 1330"/>
                  <a:gd name="T50" fmla="*/ 123 w 893"/>
                  <a:gd name="T51" fmla="*/ 317 h 1330"/>
                  <a:gd name="T52" fmla="*/ 178 w 893"/>
                  <a:gd name="T53" fmla="*/ 333 h 1330"/>
                  <a:gd name="T54" fmla="*/ 211 w 893"/>
                  <a:gd name="T55" fmla="*/ 267 h 1330"/>
                  <a:gd name="T56" fmla="*/ 225 w 893"/>
                  <a:gd name="T57" fmla="*/ 234 h 1330"/>
                  <a:gd name="T58" fmla="*/ 371 w 893"/>
                  <a:gd name="T59" fmla="*/ 149 h 1330"/>
                  <a:gd name="T60" fmla="*/ 430 w 893"/>
                  <a:gd name="T61" fmla="*/ 61 h 1330"/>
                  <a:gd name="T62" fmla="*/ 404 w 893"/>
                  <a:gd name="T63" fmla="*/ 5 h 1330"/>
                  <a:gd name="T64" fmla="*/ 456 w 893"/>
                  <a:gd name="T65" fmla="*/ 12 h 1330"/>
                  <a:gd name="T66" fmla="*/ 494 w 893"/>
                  <a:gd name="T67" fmla="*/ 38 h 1330"/>
                  <a:gd name="T68" fmla="*/ 553 w 893"/>
                  <a:gd name="T69" fmla="*/ 111 h 1330"/>
                  <a:gd name="T70" fmla="*/ 574 w 893"/>
                  <a:gd name="T71" fmla="*/ 123 h 1330"/>
                  <a:gd name="T72" fmla="*/ 574 w 893"/>
                  <a:gd name="T73" fmla="*/ 165 h 1330"/>
                  <a:gd name="T74" fmla="*/ 619 w 893"/>
                  <a:gd name="T75" fmla="*/ 165 h 1330"/>
                  <a:gd name="T76" fmla="*/ 678 w 893"/>
                  <a:gd name="T77" fmla="*/ 149 h 1330"/>
                  <a:gd name="T78" fmla="*/ 737 w 893"/>
                  <a:gd name="T79" fmla="*/ 156 h 1330"/>
                  <a:gd name="T80" fmla="*/ 789 w 893"/>
                  <a:gd name="T81" fmla="*/ 194 h 1330"/>
                  <a:gd name="T82" fmla="*/ 780 w 893"/>
                  <a:gd name="T83" fmla="*/ 267 h 1330"/>
                  <a:gd name="T84" fmla="*/ 785 w 893"/>
                  <a:gd name="T85" fmla="*/ 305 h 1330"/>
                  <a:gd name="T86" fmla="*/ 730 w 893"/>
                  <a:gd name="T87" fmla="*/ 305 h 1330"/>
                  <a:gd name="T88" fmla="*/ 603 w 893"/>
                  <a:gd name="T89" fmla="*/ 359 h 1330"/>
                  <a:gd name="T90" fmla="*/ 574 w 893"/>
                  <a:gd name="T91" fmla="*/ 454 h 1330"/>
                  <a:gd name="T92" fmla="*/ 537 w 893"/>
                  <a:gd name="T93" fmla="*/ 522 h 1330"/>
                  <a:gd name="T94" fmla="*/ 537 w 893"/>
                  <a:gd name="T95" fmla="*/ 555 h 1330"/>
                  <a:gd name="T96" fmla="*/ 553 w 893"/>
                  <a:gd name="T97" fmla="*/ 598 h 1330"/>
                  <a:gd name="T98" fmla="*/ 570 w 893"/>
                  <a:gd name="T99" fmla="*/ 671 h 1330"/>
                  <a:gd name="T100" fmla="*/ 709 w 893"/>
                  <a:gd name="T101" fmla="*/ 720 h 1330"/>
                  <a:gd name="T102" fmla="*/ 754 w 893"/>
                  <a:gd name="T103" fmla="*/ 787 h 1330"/>
                  <a:gd name="T104" fmla="*/ 801 w 893"/>
                  <a:gd name="T105" fmla="*/ 782 h 1330"/>
                  <a:gd name="T106" fmla="*/ 834 w 893"/>
                  <a:gd name="T107" fmla="*/ 787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3" h="1330">
                    <a:moveTo>
                      <a:pt x="834" y="787"/>
                    </a:moveTo>
                    <a:lnTo>
                      <a:pt x="893" y="898"/>
                    </a:lnTo>
                    <a:lnTo>
                      <a:pt x="872" y="926"/>
                    </a:lnTo>
                    <a:lnTo>
                      <a:pt x="872" y="971"/>
                    </a:lnTo>
                    <a:lnTo>
                      <a:pt x="860" y="987"/>
                    </a:lnTo>
                    <a:lnTo>
                      <a:pt x="877" y="1025"/>
                    </a:lnTo>
                    <a:lnTo>
                      <a:pt x="872" y="1025"/>
                    </a:lnTo>
                    <a:lnTo>
                      <a:pt x="872" y="1037"/>
                    </a:lnTo>
                    <a:lnTo>
                      <a:pt x="839" y="1063"/>
                    </a:lnTo>
                    <a:lnTo>
                      <a:pt x="839" y="1082"/>
                    </a:lnTo>
                    <a:lnTo>
                      <a:pt x="856" y="1098"/>
                    </a:lnTo>
                    <a:lnTo>
                      <a:pt x="844" y="1108"/>
                    </a:lnTo>
                    <a:lnTo>
                      <a:pt x="839" y="1131"/>
                    </a:lnTo>
                    <a:lnTo>
                      <a:pt x="856" y="1169"/>
                    </a:lnTo>
                    <a:lnTo>
                      <a:pt x="872" y="1169"/>
                    </a:lnTo>
                    <a:lnTo>
                      <a:pt x="877" y="1174"/>
                    </a:lnTo>
                    <a:lnTo>
                      <a:pt x="860" y="1191"/>
                    </a:lnTo>
                    <a:lnTo>
                      <a:pt x="872" y="1202"/>
                    </a:lnTo>
                    <a:lnTo>
                      <a:pt x="823" y="1247"/>
                    </a:lnTo>
                    <a:lnTo>
                      <a:pt x="823" y="1247"/>
                    </a:lnTo>
                    <a:lnTo>
                      <a:pt x="834" y="1259"/>
                    </a:lnTo>
                    <a:lnTo>
                      <a:pt x="834" y="1264"/>
                    </a:lnTo>
                    <a:lnTo>
                      <a:pt x="823" y="1280"/>
                    </a:lnTo>
                    <a:lnTo>
                      <a:pt x="806" y="1280"/>
                    </a:lnTo>
                    <a:lnTo>
                      <a:pt x="818" y="1302"/>
                    </a:lnTo>
                    <a:lnTo>
                      <a:pt x="801" y="1318"/>
                    </a:lnTo>
                    <a:lnTo>
                      <a:pt x="768" y="1330"/>
                    </a:lnTo>
                    <a:lnTo>
                      <a:pt x="709" y="1280"/>
                    </a:lnTo>
                    <a:lnTo>
                      <a:pt x="693" y="1247"/>
                    </a:lnTo>
                    <a:lnTo>
                      <a:pt x="671" y="1242"/>
                    </a:lnTo>
                    <a:lnTo>
                      <a:pt x="624" y="1207"/>
                    </a:lnTo>
                    <a:lnTo>
                      <a:pt x="532" y="1169"/>
                    </a:lnTo>
                    <a:lnTo>
                      <a:pt x="515" y="1153"/>
                    </a:lnTo>
                    <a:lnTo>
                      <a:pt x="447" y="1115"/>
                    </a:lnTo>
                    <a:lnTo>
                      <a:pt x="409" y="1075"/>
                    </a:lnTo>
                    <a:lnTo>
                      <a:pt x="388" y="1058"/>
                    </a:lnTo>
                    <a:lnTo>
                      <a:pt x="360" y="1020"/>
                    </a:lnTo>
                    <a:lnTo>
                      <a:pt x="355" y="1004"/>
                    </a:lnTo>
                    <a:lnTo>
                      <a:pt x="350" y="1004"/>
                    </a:lnTo>
                    <a:lnTo>
                      <a:pt x="355" y="997"/>
                    </a:lnTo>
                    <a:lnTo>
                      <a:pt x="360" y="997"/>
                    </a:lnTo>
                    <a:lnTo>
                      <a:pt x="360" y="964"/>
                    </a:lnTo>
                    <a:lnTo>
                      <a:pt x="350" y="942"/>
                    </a:lnTo>
                    <a:lnTo>
                      <a:pt x="322" y="893"/>
                    </a:lnTo>
                    <a:lnTo>
                      <a:pt x="300" y="869"/>
                    </a:lnTo>
                    <a:lnTo>
                      <a:pt x="296" y="836"/>
                    </a:lnTo>
                    <a:lnTo>
                      <a:pt x="263" y="815"/>
                    </a:lnTo>
                    <a:lnTo>
                      <a:pt x="263" y="782"/>
                    </a:lnTo>
                    <a:lnTo>
                      <a:pt x="232" y="742"/>
                    </a:lnTo>
                    <a:lnTo>
                      <a:pt x="199" y="654"/>
                    </a:lnTo>
                    <a:lnTo>
                      <a:pt x="194" y="647"/>
                    </a:lnTo>
                    <a:lnTo>
                      <a:pt x="189" y="614"/>
                    </a:lnTo>
                    <a:lnTo>
                      <a:pt x="173" y="593"/>
                    </a:lnTo>
                    <a:lnTo>
                      <a:pt x="145" y="565"/>
                    </a:lnTo>
                    <a:lnTo>
                      <a:pt x="119" y="503"/>
                    </a:lnTo>
                    <a:lnTo>
                      <a:pt x="102" y="482"/>
                    </a:lnTo>
                    <a:lnTo>
                      <a:pt x="17" y="432"/>
                    </a:lnTo>
                    <a:lnTo>
                      <a:pt x="17" y="416"/>
                    </a:lnTo>
                    <a:lnTo>
                      <a:pt x="31" y="416"/>
                    </a:lnTo>
                    <a:lnTo>
                      <a:pt x="38" y="399"/>
                    </a:lnTo>
                    <a:lnTo>
                      <a:pt x="31" y="387"/>
                    </a:lnTo>
                    <a:lnTo>
                      <a:pt x="17" y="371"/>
                    </a:lnTo>
                    <a:lnTo>
                      <a:pt x="26" y="354"/>
                    </a:lnTo>
                    <a:lnTo>
                      <a:pt x="0" y="333"/>
                    </a:lnTo>
                    <a:lnTo>
                      <a:pt x="10" y="305"/>
                    </a:lnTo>
                    <a:lnTo>
                      <a:pt x="38" y="267"/>
                    </a:lnTo>
                    <a:lnTo>
                      <a:pt x="81" y="234"/>
                    </a:lnTo>
                    <a:lnTo>
                      <a:pt x="81" y="243"/>
                    </a:lnTo>
                    <a:lnTo>
                      <a:pt x="86" y="276"/>
                    </a:lnTo>
                    <a:lnTo>
                      <a:pt x="81" y="283"/>
                    </a:lnTo>
                    <a:lnTo>
                      <a:pt x="64" y="283"/>
                    </a:lnTo>
                    <a:lnTo>
                      <a:pt x="64" y="300"/>
                    </a:lnTo>
                    <a:lnTo>
                      <a:pt x="81" y="300"/>
                    </a:lnTo>
                    <a:lnTo>
                      <a:pt x="64" y="317"/>
                    </a:lnTo>
                    <a:lnTo>
                      <a:pt x="69" y="317"/>
                    </a:lnTo>
                    <a:lnTo>
                      <a:pt x="86" y="305"/>
                    </a:lnTo>
                    <a:lnTo>
                      <a:pt x="107" y="317"/>
                    </a:lnTo>
                    <a:lnTo>
                      <a:pt x="123" y="317"/>
                    </a:lnTo>
                    <a:lnTo>
                      <a:pt x="145" y="354"/>
                    </a:lnTo>
                    <a:lnTo>
                      <a:pt x="161" y="354"/>
                    </a:lnTo>
                    <a:lnTo>
                      <a:pt x="178" y="333"/>
                    </a:lnTo>
                    <a:lnTo>
                      <a:pt x="194" y="321"/>
                    </a:lnTo>
                    <a:lnTo>
                      <a:pt x="194" y="305"/>
                    </a:lnTo>
                    <a:lnTo>
                      <a:pt x="211" y="267"/>
                    </a:lnTo>
                    <a:lnTo>
                      <a:pt x="215" y="243"/>
                    </a:lnTo>
                    <a:lnTo>
                      <a:pt x="225" y="250"/>
                    </a:lnTo>
                    <a:lnTo>
                      <a:pt x="225" y="234"/>
                    </a:lnTo>
                    <a:lnTo>
                      <a:pt x="249" y="210"/>
                    </a:lnTo>
                    <a:lnTo>
                      <a:pt x="334" y="177"/>
                    </a:lnTo>
                    <a:lnTo>
                      <a:pt x="371" y="149"/>
                    </a:lnTo>
                    <a:lnTo>
                      <a:pt x="409" y="111"/>
                    </a:lnTo>
                    <a:lnTo>
                      <a:pt x="426" y="61"/>
                    </a:lnTo>
                    <a:lnTo>
                      <a:pt x="430" y="61"/>
                    </a:lnTo>
                    <a:lnTo>
                      <a:pt x="430" y="45"/>
                    </a:lnTo>
                    <a:lnTo>
                      <a:pt x="430" y="38"/>
                    </a:lnTo>
                    <a:lnTo>
                      <a:pt x="404" y="5"/>
                    </a:lnTo>
                    <a:lnTo>
                      <a:pt x="430" y="5"/>
                    </a:lnTo>
                    <a:lnTo>
                      <a:pt x="430" y="0"/>
                    </a:lnTo>
                    <a:lnTo>
                      <a:pt x="456" y="12"/>
                    </a:lnTo>
                    <a:lnTo>
                      <a:pt x="463" y="5"/>
                    </a:lnTo>
                    <a:lnTo>
                      <a:pt x="468" y="21"/>
                    </a:lnTo>
                    <a:lnTo>
                      <a:pt x="494" y="38"/>
                    </a:lnTo>
                    <a:lnTo>
                      <a:pt x="501" y="66"/>
                    </a:lnTo>
                    <a:lnTo>
                      <a:pt x="548" y="94"/>
                    </a:lnTo>
                    <a:lnTo>
                      <a:pt x="553" y="111"/>
                    </a:lnTo>
                    <a:lnTo>
                      <a:pt x="553" y="116"/>
                    </a:lnTo>
                    <a:lnTo>
                      <a:pt x="570" y="132"/>
                    </a:lnTo>
                    <a:lnTo>
                      <a:pt x="574" y="123"/>
                    </a:lnTo>
                    <a:lnTo>
                      <a:pt x="574" y="123"/>
                    </a:lnTo>
                    <a:lnTo>
                      <a:pt x="586" y="149"/>
                    </a:lnTo>
                    <a:lnTo>
                      <a:pt x="574" y="165"/>
                    </a:lnTo>
                    <a:lnTo>
                      <a:pt x="591" y="165"/>
                    </a:lnTo>
                    <a:lnTo>
                      <a:pt x="591" y="172"/>
                    </a:lnTo>
                    <a:lnTo>
                      <a:pt x="619" y="165"/>
                    </a:lnTo>
                    <a:lnTo>
                      <a:pt x="641" y="172"/>
                    </a:lnTo>
                    <a:lnTo>
                      <a:pt x="662" y="165"/>
                    </a:lnTo>
                    <a:lnTo>
                      <a:pt x="678" y="149"/>
                    </a:lnTo>
                    <a:lnTo>
                      <a:pt x="678" y="156"/>
                    </a:lnTo>
                    <a:lnTo>
                      <a:pt x="700" y="165"/>
                    </a:lnTo>
                    <a:lnTo>
                      <a:pt x="737" y="156"/>
                    </a:lnTo>
                    <a:lnTo>
                      <a:pt x="754" y="172"/>
                    </a:lnTo>
                    <a:lnTo>
                      <a:pt x="780" y="172"/>
                    </a:lnTo>
                    <a:lnTo>
                      <a:pt x="789" y="194"/>
                    </a:lnTo>
                    <a:lnTo>
                      <a:pt x="747" y="267"/>
                    </a:lnTo>
                    <a:lnTo>
                      <a:pt x="763" y="276"/>
                    </a:lnTo>
                    <a:lnTo>
                      <a:pt x="780" y="267"/>
                    </a:lnTo>
                    <a:lnTo>
                      <a:pt x="801" y="300"/>
                    </a:lnTo>
                    <a:lnTo>
                      <a:pt x="789" y="305"/>
                    </a:lnTo>
                    <a:lnTo>
                      <a:pt x="785" y="305"/>
                    </a:lnTo>
                    <a:lnTo>
                      <a:pt x="780" y="288"/>
                    </a:lnTo>
                    <a:lnTo>
                      <a:pt x="747" y="288"/>
                    </a:lnTo>
                    <a:lnTo>
                      <a:pt x="730" y="305"/>
                    </a:lnTo>
                    <a:lnTo>
                      <a:pt x="716" y="305"/>
                    </a:lnTo>
                    <a:lnTo>
                      <a:pt x="662" y="321"/>
                    </a:lnTo>
                    <a:lnTo>
                      <a:pt x="603" y="359"/>
                    </a:lnTo>
                    <a:lnTo>
                      <a:pt x="591" y="399"/>
                    </a:lnTo>
                    <a:lnTo>
                      <a:pt x="570" y="432"/>
                    </a:lnTo>
                    <a:lnTo>
                      <a:pt x="574" y="454"/>
                    </a:lnTo>
                    <a:lnTo>
                      <a:pt x="537" y="487"/>
                    </a:lnTo>
                    <a:lnTo>
                      <a:pt x="532" y="503"/>
                    </a:lnTo>
                    <a:lnTo>
                      <a:pt x="537" y="522"/>
                    </a:lnTo>
                    <a:lnTo>
                      <a:pt x="523" y="527"/>
                    </a:lnTo>
                    <a:lnTo>
                      <a:pt x="515" y="539"/>
                    </a:lnTo>
                    <a:lnTo>
                      <a:pt x="537" y="555"/>
                    </a:lnTo>
                    <a:lnTo>
                      <a:pt x="532" y="565"/>
                    </a:lnTo>
                    <a:lnTo>
                      <a:pt x="548" y="576"/>
                    </a:lnTo>
                    <a:lnTo>
                      <a:pt x="553" y="598"/>
                    </a:lnTo>
                    <a:lnTo>
                      <a:pt x="591" y="638"/>
                    </a:lnTo>
                    <a:lnTo>
                      <a:pt x="591" y="654"/>
                    </a:lnTo>
                    <a:lnTo>
                      <a:pt x="570" y="671"/>
                    </a:lnTo>
                    <a:lnTo>
                      <a:pt x="629" y="676"/>
                    </a:lnTo>
                    <a:lnTo>
                      <a:pt x="645" y="720"/>
                    </a:lnTo>
                    <a:lnTo>
                      <a:pt x="709" y="720"/>
                    </a:lnTo>
                    <a:lnTo>
                      <a:pt x="763" y="676"/>
                    </a:lnTo>
                    <a:lnTo>
                      <a:pt x="754" y="704"/>
                    </a:lnTo>
                    <a:lnTo>
                      <a:pt x="754" y="787"/>
                    </a:lnTo>
                    <a:lnTo>
                      <a:pt x="763" y="782"/>
                    </a:lnTo>
                    <a:lnTo>
                      <a:pt x="780" y="798"/>
                    </a:lnTo>
                    <a:lnTo>
                      <a:pt x="801" y="782"/>
                    </a:lnTo>
                    <a:lnTo>
                      <a:pt x="834" y="787"/>
                    </a:lnTo>
                    <a:lnTo>
                      <a:pt x="834" y="787"/>
                    </a:lnTo>
                    <a:lnTo>
                      <a:pt x="834" y="78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6" name="Freeform 533">
                <a:extLst>
                  <a:ext uri="{FF2B5EF4-FFF2-40B4-BE49-F238E27FC236}">
                    <a16:creationId xmlns:a16="http://schemas.microsoft.com/office/drawing/2014/main" id="{D832E689-225C-470C-88F8-AFF15D1C2B91}"/>
                  </a:ext>
                </a:extLst>
              </p:cNvPr>
              <p:cNvSpPr>
                <a:spLocks noEditPoints="1"/>
              </p:cNvSpPr>
              <p:nvPr/>
            </p:nvSpPr>
            <p:spPr bwMode="gray">
              <a:xfrm>
                <a:off x="4328257" y="3779743"/>
                <a:ext cx="169197" cy="69991"/>
              </a:xfrm>
              <a:custGeom>
                <a:avLst/>
                <a:gdLst>
                  <a:gd name="T0" fmla="*/ 4 w 411"/>
                  <a:gd name="T1" fmla="*/ 94 h 170"/>
                  <a:gd name="T2" fmla="*/ 16 w 411"/>
                  <a:gd name="T3" fmla="*/ 78 h 170"/>
                  <a:gd name="T4" fmla="*/ 21 w 411"/>
                  <a:gd name="T5" fmla="*/ 45 h 170"/>
                  <a:gd name="T6" fmla="*/ 4 w 411"/>
                  <a:gd name="T7" fmla="*/ 5 h 170"/>
                  <a:gd name="T8" fmla="*/ 33 w 411"/>
                  <a:gd name="T9" fmla="*/ 5 h 170"/>
                  <a:gd name="T10" fmla="*/ 42 w 411"/>
                  <a:gd name="T11" fmla="*/ 16 h 170"/>
                  <a:gd name="T12" fmla="*/ 87 w 411"/>
                  <a:gd name="T13" fmla="*/ 45 h 170"/>
                  <a:gd name="T14" fmla="*/ 108 w 411"/>
                  <a:gd name="T15" fmla="*/ 54 h 170"/>
                  <a:gd name="T16" fmla="*/ 205 w 411"/>
                  <a:gd name="T17" fmla="*/ 28 h 170"/>
                  <a:gd name="T18" fmla="*/ 286 w 411"/>
                  <a:gd name="T19" fmla="*/ 5 h 170"/>
                  <a:gd name="T20" fmla="*/ 314 w 411"/>
                  <a:gd name="T21" fmla="*/ 16 h 170"/>
                  <a:gd name="T22" fmla="*/ 385 w 411"/>
                  <a:gd name="T23" fmla="*/ 61 h 170"/>
                  <a:gd name="T24" fmla="*/ 394 w 411"/>
                  <a:gd name="T25" fmla="*/ 78 h 170"/>
                  <a:gd name="T26" fmla="*/ 411 w 411"/>
                  <a:gd name="T27" fmla="*/ 116 h 170"/>
                  <a:gd name="T28" fmla="*/ 401 w 411"/>
                  <a:gd name="T29" fmla="*/ 137 h 170"/>
                  <a:gd name="T30" fmla="*/ 368 w 411"/>
                  <a:gd name="T31" fmla="*/ 132 h 170"/>
                  <a:gd name="T32" fmla="*/ 368 w 411"/>
                  <a:gd name="T33" fmla="*/ 153 h 170"/>
                  <a:gd name="T34" fmla="*/ 340 w 411"/>
                  <a:gd name="T35" fmla="*/ 149 h 170"/>
                  <a:gd name="T36" fmla="*/ 340 w 411"/>
                  <a:gd name="T37" fmla="*/ 111 h 170"/>
                  <a:gd name="T38" fmla="*/ 347 w 411"/>
                  <a:gd name="T39" fmla="*/ 82 h 170"/>
                  <a:gd name="T40" fmla="*/ 368 w 411"/>
                  <a:gd name="T41" fmla="*/ 99 h 170"/>
                  <a:gd name="T42" fmla="*/ 347 w 411"/>
                  <a:gd name="T43" fmla="*/ 82 h 170"/>
                  <a:gd name="T44" fmla="*/ 314 w 411"/>
                  <a:gd name="T45" fmla="*/ 71 h 170"/>
                  <a:gd name="T46" fmla="*/ 286 w 411"/>
                  <a:gd name="T47" fmla="*/ 28 h 170"/>
                  <a:gd name="T48" fmla="*/ 248 w 411"/>
                  <a:gd name="T49" fmla="*/ 45 h 170"/>
                  <a:gd name="T50" fmla="*/ 231 w 411"/>
                  <a:gd name="T51" fmla="*/ 54 h 170"/>
                  <a:gd name="T52" fmla="*/ 217 w 411"/>
                  <a:gd name="T53" fmla="*/ 82 h 170"/>
                  <a:gd name="T54" fmla="*/ 184 w 411"/>
                  <a:gd name="T55" fmla="*/ 111 h 170"/>
                  <a:gd name="T56" fmla="*/ 193 w 411"/>
                  <a:gd name="T57" fmla="*/ 153 h 170"/>
                  <a:gd name="T58" fmla="*/ 146 w 411"/>
                  <a:gd name="T59" fmla="*/ 170 h 170"/>
                  <a:gd name="T60" fmla="*/ 139 w 411"/>
                  <a:gd name="T61" fmla="*/ 127 h 170"/>
                  <a:gd name="T62" fmla="*/ 130 w 411"/>
                  <a:gd name="T63" fmla="*/ 137 h 170"/>
                  <a:gd name="T64" fmla="*/ 92 w 411"/>
                  <a:gd name="T65" fmla="*/ 99 h 170"/>
                  <a:gd name="T66" fmla="*/ 54 w 411"/>
                  <a:gd name="T67" fmla="*/ 94 h 170"/>
                  <a:gd name="T68" fmla="*/ 16 w 411"/>
                  <a:gd name="T69" fmla="*/ 94 h 170"/>
                  <a:gd name="T70" fmla="*/ 4 w 411"/>
                  <a:gd name="T71" fmla="*/ 111 h 170"/>
                  <a:gd name="T72" fmla="*/ 54 w 411"/>
                  <a:gd name="T73" fmla="*/ 16 h 170"/>
                  <a:gd name="T74" fmla="*/ 54 w 411"/>
                  <a:gd name="T75" fmla="*/ 16 h 170"/>
                  <a:gd name="T76" fmla="*/ 54 w 411"/>
                  <a:gd name="T77" fmla="*/ 16 h 170"/>
                  <a:gd name="T78" fmla="*/ 293 w 411"/>
                  <a:gd name="T79" fmla="*/ 82 h 170"/>
                  <a:gd name="T80" fmla="*/ 293 w 411"/>
                  <a:gd name="T81" fmla="*/ 94 h 170"/>
                  <a:gd name="T82" fmla="*/ 293 w 411"/>
                  <a:gd name="T83" fmla="*/ 82 h 170"/>
                  <a:gd name="T84" fmla="*/ 293 w 411"/>
                  <a:gd name="T85" fmla="*/ 82 h 170"/>
                  <a:gd name="T86" fmla="*/ 92 w 411"/>
                  <a:gd name="T87" fmla="*/ 153 h 170"/>
                  <a:gd name="T88" fmla="*/ 87 w 411"/>
                  <a:gd name="T89" fmla="*/ 153 h 170"/>
                  <a:gd name="T90" fmla="*/ 92 w 411"/>
                  <a:gd name="T91" fmla="*/ 137 h 170"/>
                  <a:gd name="T92" fmla="*/ 92 w 411"/>
                  <a:gd name="T93" fmla="*/ 13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1" h="170">
                    <a:moveTo>
                      <a:pt x="4" y="111"/>
                    </a:moveTo>
                    <a:lnTo>
                      <a:pt x="4" y="94"/>
                    </a:lnTo>
                    <a:lnTo>
                      <a:pt x="0" y="94"/>
                    </a:lnTo>
                    <a:lnTo>
                      <a:pt x="16" y="78"/>
                    </a:lnTo>
                    <a:lnTo>
                      <a:pt x="4" y="61"/>
                    </a:lnTo>
                    <a:lnTo>
                      <a:pt x="21" y="45"/>
                    </a:lnTo>
                    <a:lnTo>
                      <a:pt x="4" y="38"/>
                    </a:lnTo>
                    <a:lnTo>
                      <a:pt x="4" y="5"/>
                    </a:lnTo>
                    <a:lnTo>
                      <a:pt x="16" y="0"/>
                    </a:lnTo>
                    <a:lnTo>
                      <a:pt x="33" y="5"/>
                    </a:lnTo>
                    <a:lnTo>
                      <a:pt x="33" y="0"/>
                    </a:lnTo>
                    <a:lnTo>
                      <a:pt x="42" y="16"/>
                    </a:lnTo>
                    <a:lnTo>
                      <a:pt x="54" y="45"/>
                    </a:lnTo>
                    <a:lnTo>
                      <a:pt x="87" y="45"/>
                    </a:lnTo>
                    <a:lnTo>
                      <a:pt x="87" y="28"/>
                    </a:lnTo>
                    <a:lnTo>
                      <a:pt x="108" y="54"/>
                    </a:lnTo>
                    <a:lnTo>
                      <a:pt x="130" y="61"/>
                    </a:lnTo>
                    <a:lnTo>
                      <a:pt x="205" y="28"/>
                    </a:lnTo>
                    <a:lnTo>
                      <a:pt x="238" y="0"/>
                    </a:lnTo>
                    <a:lnTo>
                      <a:pt x="286" y="5"/>
                    </a:lnTo>
                    <a:lnTo>
                      <a:pt x="276" y="16"/>
                    </a:lnTo>
                    <a:lnTo>
                      <a:pt x="314" y="16"/>
                    </a:lnTo>
                    <a:lnTo>
                      <a:pt x="356" y="21"/>
                    </a:lnTo>
                    <a:lnTo>
                      <a:pt x="385" y="61"/>
                    </a:lnTo>
                    <a:lnTo>
                      <a:pt x="401" y="71"/>
                    </a:lnTo>
                    <a:lnTo>
                      <a:pt x="394" y="78"/>
                    </a:lnTo>
                    <a:lnTo>
                      <a:pt x="411" y="111"/>
                    </a:lnTo>
                    <a:lnTo>
                      <a:pt x="411" y="116"/>
                    </a:lnTo>
                    <a:lnTo>
                      <a:pt x="401" y="132"/>
                    </a:lnTo>
                    <a:lnTo>
                      <a:pt x="401" y="137"/>
                    </a:lnTo>
                    <a:lnTo>
                      <a:pt x="385" y="149"/>
                    </a:lnTo>
                    <a:lnTo>
                      <a:pt x="368" y="132"/>
                    </a:lnTo>
                    <a:lnTo>
                      <a:pt x="368" y="149"/>
                    </a:lnTo>
                    <a:lnTo>
                      <a:pt x="368" y="153"/>
                    </a:lnTo>
                    <a:lnTo>
                      <a:pt x="364" y="170"/>
                    </a:lnTo>
                    <a:lnTo>
                      <a:pt x="340" y="149"/>
                    </a:lnTo>
                    <a:lnTo>
                      <a:pt x="323" y="111"/>
                    </a:lnTo>
                    <a:lnTo>
                      <a:pt x="340" y="111"/>
                    </a:lnTo>
                    <a:lnTo>
                      <a:pt x="330" y="94"/>
                    </a:lnTo>
                    <a:lnTo>
                      <a:pt x="347" y="82"/>
                    </a:lnTo>
                    <a:lnTo>
                      <a:pt x="356" y="94"/>
                    </a:lnTo>
                    <a:lnTo>
                      <a:pt x="368" y="99"/>
                    </a:lnTo>
                    <a:lnTo>
                      <a:pt x="356" y="94"/>
                    </a:lnTo>
                    <a:lnTo>
                      <a:pt x="347" y="82"/>
                    </a:lnTo>
                    <a:lnTo>
                      <a:pt x="323" y="94"/>
                    </a:lnTo>
                    <a:lnTo>
                      <a:pt x="314" y="71"/>
                    </a:lnTo>
                    <a:lnTo>
                      <a:pt x="276" y="45"/>
                    </a:lnTo>
                    <a:lnTo>
                      <a:pt x="286" y="28"/>
                    </a:lnTo>
                    <a:lnTo>
                      <a:pt x="276" y="38"/>
                    </a:lnTo>
                    <a:lnTo>
                      <a:pt x="248" y="45"/>
                    </a:lnTo>
                    <a:lnTo>
                      <a:pt x="248" y="45"/>
                    </a:lnTo>
                    <a:lnTo>
                      <a:pt x="231" y="54"/>
                    </a:lnTo>
                    <a:lnTo>
                      <a:pt x="231" y="71"/>
                    </a:lnTo>
                    <a:lnTo>
                      <a:pt x="217" y="82"/>
                    </a:lnTo>
                    <a:lnTo>
                      <a:pt x="179" y="99"/>
                    </a:lnTo>
                    <a:lnTo>
                      <a:pt x="184" y="111"/>
                    </a:lnTo>
                    <a:lnTo>
                      <a:pt x="217" y="149"/>
                    </a:lnTo>
                    <a:lnTo>
                      <a:pt x="193" y="153"/>
                    </a:lnTo>
                    <a:lnTo>
                      <a:pt x="184" y="170"/>
                    </a:lnTo>
                    <a:lnTo>
                      <a:pt x="146" y="170"/>
                    </a:lnTo>
                    <a:lnTo>
                      <a:pt x="151" y="165"/>
                    </a:lnTo>
                    <a:lnTo>
                      <a:pt x="139" y="127"/>
                    </a:lnTo>
                    <a:lnTo>
                      <a:pt x="130" y="127"/>
                    </a:lnTo>
                    <a:lnTo>
                      <a:pt x="130" y="137"/>
                    </a:lnTo>
                    <a:lnTo>
                      <a:pt x="108" y="137"/>
                    </a:lnTo>
                    <a:lnTo>
                      <a:pt x="92" y="99"/>
                    </a:lnTo>
                    <a:lnTo>
                      <a:pt x="59" y="99"/>
                    </a:lnTo>
                    <a:lnTo>
                      <a:pt x="54" y="94"/>
                    </a:lnTo>
                    <a:lnTo>
                      <a:pt x="21" y="94"/>
                    </a:lnTo>
                    <a:lnTo>
                      <a:pt x="16" y="94"/>
                    </a:lnTo>
                    <a:lnTo>
                      <a:pt x="4" y="111"/>
                    </a:lnTo>
                    <a:lnTo>
                      <a:pt x="4" y="111"/>
                    </a:lnTo>
                    <a:lnTo>
                      <a:pt x="4" y="111"/>
                    </a:lnTo>
                    <a:close/>
                    <a:moveTo>
                      <a:pt x="54" y="16"/>
                    </a:moveTo>
                    <a:lnTo>
                      <a:pt x="54" y="21"/>
                    </a:lnTo>
                    <a:lnTo>
                      <a:pt x="54" y="16"/>
                    </a:lnTo>
                    <a:lnTo>
                      <a:pt x="54" y="16"/>
                    </a:lnTo>
                    <a:lnTo>
                      <a:pt x="54" y="16"/>
                    </a:lnTo>
                    <a:lnTo>
                      <a:pt x="54" y="16"/>
                    </a:lnTo>
                    <a:close/>
                    <a:moveTo>
                      <a:pt x="293" y="82"/>
                    </a:moveTo>
                    <a:lnTo>
                      <a:pt x="293" y="94"/>
                    </a:lnTo>
                    <a:lnTo>
                      <a:pt x="293" y="94"/>
                    </a:lnTo>
                    <a:lnTo>
                      <a:pt x="286" y="82"/>
                    </a:lnTo>
                    <a:lnTo>
                      <a:pt x="293" y="82"/>
                    </a:lnTo>
                    <a:lnTo>
                      <a:pt x="293" y="82"/>
                    </a:lnTo>
                    <a:lnTo>
                      <a:pt x="293" y="82"/>
                    </a:lnTo>
                    <a:close/>
                    <a:moveTo>
                      <a:pt x="92" y="137"/>
                    </a:moveTo>
                    <a:lnTo>
                      <a:pt x="92" y="153"/>
                    </a:lnTo>
                    <a:lnTo>
                      <a:pt x="97" y="165"/>
                    </a:lnTo>
                    <a:lnTo>
                      <a:pt x="87" y="153"/>
                    </a:lnTo>
                    <a:lnTo>
                      <a:pt x="87" y="149"/>
                    </a:lnTo>
                    <a:lnTo>
                      <a:pt x="92" y="137"/>
                    </a:lnTo>
                    <a:lnTo>
                      <a:pt x="92" y="137"/>
                    </a:lnTo>
                    <a:lnTo>
                      <a:pt x="92" y="13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2" name="Freeform 547">
                <a:extLst>
                  <a:ext uri="{FF2B5EF4-FFF2-40B4-BE49-F238E27FC236}">
                    <a16:creationId xmlns:a16="http://schemas.microsoft.com/office/drawing/2014/main" id="{38D1B221-781E-4D34-B3AC-6FE26E50A4E6}"/>
                  </a:ext>
                </a:extLst>
              </p:cNvPr>
              <p:cNvSpPr>
                <a:spLocks/>
              </p:cNvSpPr>
              <p:nvPr/>
            </p:nvSpPr>
            <p:spPr bwMode="gray">
              <a:xfrm>
                <a:off x="4912417" y="3544240"/>
                <a:ext cx="2058" cy="6999"/>
              </a:xfrm>
              <a:custGeom>
                <a:avLst/>
                <a:gdLst>
                  <a:gd name="T0" fmla="*/ 5 w 5"/>
                  <a:gd name="T1" fmla="*/ 17 h 17"/>
                  <a:gd name="T2" fmla="*/ 0 w 5"/>
                  <a:gd name="T3" fmla="*/ 0 h 17"/>
                  <a:gd name="T4" fmla="*/ 5 w 5"/>
                  <a:gd name="T5" fmla="*/ 0 h 17"/>
                  <a:gd name="T6" fmla="*/ 5 w 5"/>
                  <a:gd name="T7" fmla="*/ 17 h 17"/>
                  <a:gd name="T8" fmla="*/ 5 w 5"/>
                  <a:gd name="T9" fmla="*/ 17 h 17"/>
                  <a:gd name="T10" fmla="*/ 5 w 5"/>
                  <a:gd name="T11" fmla="*/ 17 h 17"/>
                </a:gdLst>
                <a:ahLst/>
                <a:cxnLst>
                  <a:cxn ang="0">
                    <a:pos x="T0" y="T1"/>
                  </a:cxn>
                  <a:cxn ang="0">
                    <a:pos x="T2" y="T3"/>
                  </a:cxn>
                  <a:cxn ang="0">
                    <a:pos x="T4" y="T5"/>
                  </a:cxn>
                  <a:cxn ang="0">
                    <a:pos x="T6" y="T7"/>
                  </a:cxn>
                  <a:cxn ang="0">
                    <a:pos x="T8" y="T9"/>
                  </a:cxn>
                  <a:cxn ang="0">
                    <a:pos x="T10" y="T11"/>
                  </a:cxn>
                </a:cxnLst>
                <a:rect l="0" t="0" r="r" b="b"/>
                <a:pathLst>
                  <a:path w="5" h="17">
                    <a:moveTo>
                      <a:pt x="5" y="17"/>
                    </a:moveTo>
                    <a:lnTo>
                      <a:pt x="0" y="0"/>
                    </a:lnTo>
                    <a:lnTo>
                      <a:pt x="5" y="0"/>
                    </a:lnTo>
                    <a:lnTo>
                      <a:pt x="5" y="17"/>
                    </a:lnTo>
                    <a:lnTo>
                      <a:pt x="5" y="17"/>
                    </a:lnTo>
                    <a:lnTo>
                      <a:pt x="5"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6" name="Freeform 559">
                <a:extLst>
                  <a:ext uri="{FF2B5EF4-FFF2-40B4-BE49-F238E27FC236}">
                    <a16:creationId xmlns:a16="http://schemas.microsoft.com/office/drawing/2014/main" id="{7E73D71E-29F5-4929-8B77-5D5EBA1A2F2E}"/>
                  </a:ext>
                </a:extLst>
              </p:cNvPr>
              <p:cNvSpPr>
                <a:spLocks/>
              </p:cNvSpPr>
              <p:nvPr/>
            </p:nvSpPr>
            <p:spPr bwMode="gray">
              <a:xfrm>
                <a:off x="4964288" y="3645523"/>
                <a:ext cx="6587" cy="8646"/>
              </a:xfrm>
              <a:custGeom>
                <a:avLst/>
                <a:gdLst>
                  <a:gd name="T0" fmla="*/ 4 w 16"/>
                  <a:gd name="T1" fmla="*/ 21 h 21"/>
                  <a:gd name="T2" fmla="*/ 0 w 16"/>
                  <a:gd name="T3" fmla="*/ 16 h 21"/>
                  <a:gd name="T4" fmla="*/ 4 w 16"/>
                  <a:gd name="T5" fmla="*/ 0 h 21"/>
                  <a:gd name="T6" fmla="*/ 16 w 16"/>
                  <a:gd name="T7" fmla="*/ 9 h 21"/>
                  <a:gd name="T8" fmla="*/ 4 w 16"/>
                  <a:gd name="T9" fmla="*/ 21 h 21"/>
                  <a:gd name="T10" fmla="*/ 4 w 16"/>
                  <a:gd name="T11" fmla="*/ 21 h 21"/>
                  <a:gd name="T12" fmla="*/ 4 w 16"/>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6" h="21">
                    <a:moveTo>
                      <a:pt x="4" y="21"/>
                    </a:moveTo>
                    <a:lnTo>
                      <a:pt x="0" y="16"/>
                    </a:lnTo>
                    <a:lnTo>
                      <a:pt x="4" y="0"/>
                    </a:lnTo>
                    <a:lnTo>
                      <a:pt x="16" y="9"/>
                    </a:lnTo>
                    <a:lnTo>
                      <a:pt x="4" y="21"/>
                    </a:lnTo>
                    <a:lnTo>
                      <a:pt x="4" y="21"/>
                    </a:lnTo>
                    <a:lnTo>
                      <a:pt x="4" y="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5" name="Freeform 569">
                <a:extLst>
                  <a:ext uri="{FF2B5EF4-FFF2-40B4-BE49-F238E27FC236}">
                    <a16:creationId xmlns:a16="http://schemas.microsoft.com/office/drawing/2014/main" id="{36975717-BAD9-4F03-A2C8-9BC2E9B381CD}"/>
                  </a:ext>
                </a:extLst>
              </p:cNvPr>
              <p:cNvSpPr>
                <a:spLocks noEditPoints="1"/>
              </p:cNvSpPr>
              <p:nvPr/>
            </p:nvSpPr>
            <p:spPr bwMode="gray">
              <a:xfrm>
                <a:off x="4646066" y="3403434"/>
                <a:ext cx="10704" cy="6588"/>
              </a:xfrm>
              <a:custGeom>
                <a:avLst/>
                <a:gdLst>
                  <a:gd name="T0" fmla="*/ 14 w 26"/>
                  <a:gd name="T1" fmla="*/ 11 h 16"/>
                  <a:gd name="T2" fmla="*/ 0 w 26"/>
                  <a:gd name="T3" fmla="*/ 0 h 16"/>
                  <a:gd name="T4" fmla="*/ 5 w 26"/>
                  <a:gd name="T5" fmla="*/ 0 h 16"/>
                  <a:gd name="T6" fmla="*/ 14 w 26"/>
                  <a:gd name="T7" fmla="*/ 11 h 16"/>
                  <a:gd name="T8" fmla="*/ 14 w 26"/>
                  <a:gd name="T9" fmla="*/ 11 h 16"/>
                  <a:gd name="T10" fmla="*/ 14 w 26"/>
                  <a:gd name="T11" fmla="*/ 11 h 16"/>
                  <a:gd name="T12" fmla="*/ 26 w 26"/>
                  <a:gd name="T13" fmla="*/ 16 h 16"/>
                  <a:gd name="T14" fmla="*/ 14 w 26"/>
                  <a:gd name="T15" fmla="*/ 16 h 16"/>
                  <a:gd name="T16" fmla="*/ 14 w 26"/>
                  <a:gd name="T17" fmla="*/ 11 h 16"/>
                  <a:gd name="T18" fmla="*/ 21 w 26"/>
                  <a:gd name="T19" fmla="*/ 11 h 16"/>
                  <a:gd name="T20" fmla="*/ 26 w 26"/>
                  <a:gd name="T21" fmla="*/ 16 h 16"/>
                  <a:gd name="T22" fmla="*/ 26 w 26"/>
                  <a:gd name="T23" fmla="*/ 16 h 16"/>
                  <a:gd name="T24" fmla="*/ 26 w 26"/>
                  <a:gd name="T2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6">
                    <a:moveTo>
                      <a:pt x="14" y="11"/>
                    </a:moveTo>
                    <a:lnTo>
                      <a:pt x="0" y="0"/>
                    </a:lnTo>
                    <a:lnTo>
                      <a:pt x="5" y="0"/>
                    </a:lnTo>
                    <a:lnTo>
                      <a:pt x="14" y="11"/>
                    </a:lnTo>
                    <a:lnTo>
                      <a:pt x="14" y="11"/>
                    </a:lnTo>
                    <a:lnTo>
                      <a:pt x="14" y="11"/>
                    </a:lnTo>
                    <a:close/>
                    <a:moveTo>
                      <a:pt x="26" y="16"/>
                    </a:moveTo>
                    <a:lnTo>
                      <a:pt x="14" y="16"/>
                    </a:lnTo>
                    <a:lnTo>
                      <a:pt x="14" y="11"/>
                    </a:lnTo>
                    <a:lnTo>
                      <a:pt x="21" y="11"/>
                    </a:lnTo>
                    <a:lnTo>
                      <a:pt x="26" y="16"/>
                    </a:lnTo>
                    <a:lnTo>
                      <a:pt x="26" y="16"/>
                    </a:lnTo>
                    <a:lnTo>
                      <a:pt x="26" y="1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8" name="Freeform 584">
                <a:extLst>
                  <a:ext uri="{FF2B5EF4-FFF2-40B4-BE49-F238E27FC236}">
                    <a16:creationId xmlns:a16="http://schemas.microsoft.com/office/drawing/2014/main" id="{532007E7-1071-4327-84BC-68757B90C177}"/>
                  </a:ext>
                </a:extLst>
              </p:cNvPr>
              <p:cNvSpPr>
                <a:spLocks/>
              </p:cNvSpPr>
              <p:nvPr/>
            </p:nvSpPr>
            <p:spPr bwMode="gray">
              <a:xfrm>
                <a:off x="5040035" y="4987718"/>
                <a:ext cx="153554" cy="159334"/>
              </a:xfrm>
              <a:custGeom>
                <a:avLst/>
                <a:gdLst>
                  <a:gd name="T0" fmla="*/ 16 w 373"/>
                  <a:gd name="T1" fmla="*/ 177 h 387"/>
                  <a:gd name="T2" fmla="*/ 21 w 373"/>
                  <a:gd name="T3" fmla="*/ 172 h 387"/>
                  <a:gd name="T4" fmla="*/ 16 w 373"/>
                  <a:gd name="T5" fmla="*/ 139 h 387"/>
                  <a:gd name="T6" fmla="*/ 21 w 373"/>
                  <a:gd name="T7" fmla="*/ 122 h 387"/>
                  <a:gd name="T8" fmla="*/ 33 w 373"/>
                  <a:gd name="T9" fmla="*/ 111 h 387"/>
                  <a:gd name="T10" fmla="*/ 21 w 373"/>
                  <a:gd name="T11" fmla="*/ 99 h 387"/>
                  <a:gd name="T12" fmla="*/ 33 w 373"/>
                  <a:gd name="T13" fmla="*/ 82 h 387"/>
                  <a:gd name="T14" fmla="*/ 49 w 373"/>
                  <a:gd name="T15" fmla="*/ 56 h 387"/>
                  <a:gd name="T16" fmla="*/ 38 w 373"/>
                  <a:gd name="T17" fmla="*/ 28 h 387"/>
                  <a:gd name="T18" fmla="*/ 54 w 373"/>
                  <a:gd name="T19" fmla="*/ 11 h 387"/>
                  <a:gd name="T20" fmla="*/ 54 w 373"/>
                  <a:gd name="T21" fmla="*/ 7 h 387"/>
                  <a:gd name="T22" fmla="*/ 59 w 373"/>
                  <a:gd name="T23" fmla="*/ 7 h 387"/>
                  <a:gd name="T24" fmla="*/ 87 w 373"/>
                  <a:gd name="T25" fmla="*/ 11 h 387"/>
                  <a:gd name="T26" fmla="*/ 92 w 373"/>
                  <a:gd name="T27" fmla="*/ 0 h 387"/>
                  <a:gd name="T28" fmla="*/ 113 w 373"/>
                  <a:gd name="T29" fmla="*/ 0 h 387"/>
                  <a:gd name="T30" fmla="*/ 168 w 373"/>
                  <a:gd name="T31" fmla="*/ 56 h 387"/>
                  <a:gd name="T32" fmla="*/ 168 w 373"/>
                  <a:gd name="T33" fmla="*/ 66 h 387"/>
                  <a:gd name="T34" fmla="*/ 177 w 373"/>
                  <a:gd name="T35" fmla="*/ 66 h 387"/>
                  <a:gd name="T36" fmla="*/ 201 w 373"/>
                  <a:gd name="T37" fmla="*/ 56 h 387"/>
                  <a:gd name="T38" fmla="*/ 222 w 373"/>
                  <a:gd name="T39" fmla="*/ 82 h 387"/>
                  <a:gd name="T40" fmla="*/ 269 w 373"/>
                  <a:gd name="T41" fmla="*/ 99 h 387"/>
                  <a:gd name="T42" fmla="*/ 286 w 373"/>
                  <a:gd name="T43" fmla="*/ 132 h 387"/>
                  <a:gd name="T44" fmla="*/ 319 w 373"/>
                  <a:gd name="T45" fmla="*/ 139 h 387"/>
                  <a:gd name="T46" fmla="*/ 340 w 373"/>
                  <a:gd name="T47" fmla="*/ 177 h 387"/>
                  <a:gd name="T48" fmla="*/ 373 w 373"/>
                  <a:gd name="T49" fmla="*/ 205 h 387"/>
                  <a:gd name="T50" fmla="*/ 340 w 373"/>
                  <a:gd name="T51" fmla="*/ 233 h 387"/>
                  <a:gd name="T52" fmla="*/ 340 w 373"/>
                  <a:gd name="T53" fmla="*/ 283 h 387"/>
                  <a:gd name="T54" fmla="*/ 357 w 373"/>
                  <a:gd name="T55" fmla="*/ 283 h 387"/>
                  <a:gd name="T56" fmla="*/ 340 w 373"/>
                  <a:gd name="T57" fmla="*/ 316 h 387"/>
                  <a:gd name="T58" fmla="*/ 302 w 373"/>
                  <a:gd name="T59" fmla="*/ 359 h 387"/>
                  <a:gd name="T60" fmla="*/ 286 w 373"/>
                  <a:gd name="T61" fmla="*/ 354 h 387"/>
                  <a:gd name="T62" fmla="*/ 286 w 373"/>
                  <a:gd name="T63" fmla="*/ 359 h 387"/>
                  <a:gd name="T64" fmla="*/ 248 w 373"/>
                  <a:gd name="T65" fmla="*/ 387 h 387"/>
                  <a:gd name="T66" fmla="*/ 194 w 373"/>
                  <a:gd name="T67" fmla="*/ 370 h 387"/>
                  <a:gd name="T68" fmla="*/ 146 w 373"/>
                  <a:gd name="T69" fmla="*/ 375 h 387"/>
                  <a:gd name="T70" fmla="*/ 139 w 373"/>
                  <a:gd name="T71" fmla="*/ 375 h 387"/>
                  <a:gd name="T72" fmla="*/ 146 w 373"/>
                  <a:gd name="T73" fmla="*/ 370 h 387"/>
                  <a:gd name="T74" fmla="*/ 108 w 373"/>
                  <a:gd name="T75" fmla="*/ 359 h 387"/>
                  <a:gd name="T76" fmla="*/ 92 w 373"/>
                  <a:gd name="T77" fmla="*/ 342 h 387"/>
                  <a:gd name="T78" fmla="*/ 38 w 373"/>
                  <a:gd name="T79" fmla="*/ 342 h 387"/>
                  <a:gd name="T80" fmla="*/ 0 w 373"/>
                  <a:gd name="T81" fmla="*/ 300 h 387"/>
                  <a:gd name="T82" fmla="*/ 0 w 373"/>
                  <a:gd name="T83" fmla="*/ 267 h 387"/>
                  <a:gd name="T84" fmla="*/ 0 w 373"/>
                  <a:gd name="T85" fmla="*/ 233 h 387"/>
                  <a:gd name="T86" fmla="*/ 16 w 373"/>
                  <a:gd name="T87" fmla="*/ 233 h 387"/>
                  <a:gd name="T88" fmla="*/ 21 w 373"/>
                  <a:gd name="T89" fmla="*/ 222 h 387"/>
                  <a:gd name="T90" fmla="*/ 16 w 373"/>
                  <a:gd name="T91" fmla="*/ 177 h 387"/>
                  <a:gd name="T92" fmla="*/ 16 w 373"/>
                  <a:gd name="T93" fmla="*/ 177 h 387"/>
                  <a:gd name="T94" fmla="*/ 16 w 373"/>
                  <a:gd name="T95" fmla="*/ 177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87">
                    <a:moveTo>
                      <a:pt x="16" y="177"/>
                    </a:moveTo>
                    <a:lnTo>
                      <a:pt x="21" y="172"/>
                    </a:lnTo>
                    <a:lnTo>
                      <a:pt x="16" y="139"/>
                    </a:lnTo>
                    <a:lnTo>
                      <a:pt x="21" y="122"/>
                    </a:lnTo>
                    <a:lnTo>
                      <a:pt x="33" y="111"/>
                    </a:lnTo>
                    <a:lnTo>
                      <a:pt x="21" y="99"/>
                    </a:lnTo>
                    <a:lnTo>
                      <a:pt x="33" y="82"/>
                    </a:lnTo>
                    <a:lnTo>
                      <a:pt x="49" y="56"/>
                    </a:lnTo>
                    <a:lnTo>
                      <a:pt x="38" y="28"/>
                    </a:lnTo>
                    <a:lnTo>
                      <a:pt x="54" y="11"/>
                    </a:lnTo>
                    <a:lnTo>
                      <a:pt x="54" y="7"/>
                    </a:lnTo>
                    <a:lnTo>
                      <a:pt x="59" y="7"/>
                    </a:lnTo>
                    <a:lnTo>
                      <a:pt x="87" y="11"/>
                    </a:lnTo>
                    <a:lnTo>
                      <a:pt x="92" y="0"/>
                    </a:lnTo>
                    <a:lnTo>
                      <a:pt x="113" y="0"/>
                    </a:lnTo>
                    <a:lnTo>
                      <a:pt x="168" y="56"/>
                    </a:lnTo>
                    <a:lnTo>
                      <a:pt x="168" y="66"/>
                    </a:lnTo>
                    <a:lnTo>
                      <a:pt x="177" y="66"/>
                    </a:lnTo>
                    <a:lnTo>
                      <a:pt x="201" y="56"/>
                    </a:lnTo>
                    <a:lnTo>
                      <a:pt x="222" y="82"/>
                    </a:lnTo>
                    <a:lnTo>
                      <a:pt x="269" y="99"/>
                    </a:lnTo>
                    <a:lnTo>
                      <a:pt x="286" y="132"/>
                    </a:lnTo>
                    <a:lnTo>
                      <a:pt x="319" y="139"/>
                    </a:lnTo>
                    <a:lnTo>
                      <a:pt x="340" y="177"/>
                    </a:lnTo>
                    <a:lnTo>
                      <a:pt x="373" y="205"/>
                    </a:lnTo>
                    <a:lnTo>
                      <a:pt x="340" y="233"/>
                    </a:lnTo>
                    <a:lnTo>
                      <a:pt x="340" y="283"/>
                    </a:lnTo>
                    <a:lnTo>
                      <a:pt x="357" y="283"/>
                    </a:lnTo>
                    <a:lnTo>
                      <a:pt x="340" y="316"/>
                    </a:lnTo>
                    <a:lnTo>
                      <a:pt x="302" y="359"/>
                    </a:lnTo>
                    <a:lnTo>
                      <a:pt x="286" y="354"/>
                    </a:lnTo>
                    <a:lnTo>
                      <a:pt x="286" y="359"/>
                    </a:lnTo>
                    <a:lnTo>
                      <a:pt x="248" y="387"/>
                    </a:lnTo>
                    <a:lnTo>
                      <a:pt x="194" y="370"/>
                    </a:lnTo>
                    <a:lnTo>
                      <a:pt x="146" y="375"/>
                    </a:lnTo>
                    <a:lnTo>
                      <a:pt x="139" y="375"/>
                    </a:lnTo>
                    <a:lnTo>
                      <a:pt x="146" y="370"/>
                    </a:lnTo>
                    <a:lnTo>
                      <a:pt x="108" y="359"/>
                    </a:lnTo>
                    <a:lnTo>
                      <a:pt x="92" y="342"/>
                    </a:lnTo>
                    <a:lnTo>
                      <a:pt x="38" y="342"/>
                    </a:lnTo>
                    <a:lnTo>
                      <a:pt x="0" y="300"/>
                    </a:lnTo>
                    <a:lnTo>
                      <a:pt x="0" y="267"/>
                    </a:lnTo>
                    <a:lnTo>
                      <a:pt x="0" y="233"/>
                    </a:lnTo>
                    <a:lnTo>
                      <a:pt x="16" y="233"/>
                    </a:lnTo>
                    <a:lnTo>
                      <a:pt x="21" y="222"/>
                    </a:lnTo>
                    <a:lnTo>
                      <a:pt x="16" y="177"/>
                    </a:lnTo>
                    <a:lnTo>
                      <a:pt x="16" y="177"/>
                    </a:lnTo>
                    <a:lnTo>
                      <a:pt x="16" y="17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0" name="Freeform 586">
                <a:extLst>
                  <a:ext uri="{FF2B5EF4-FFF2-40B4-BE49-F238E27FC236}">
                    <a16:creationId xmlns:a16="http://schemas.microsoft.com/office/drawing/2014/main" id="{3EBB8927-EF77-4EFC-907D-DB71C7BA69B5}"/>
                  </a:ext>
                </a:extLst>
              </p:cNvPr>
              <p:cNvSpPr>
                <a:spLocks/>
              </p:cNvSpPr>
              <p:nvPr/>
            </p:nvSpPr>
            <p:spPr bwMode="gray">
              <a:xfrm>
                <a:off x="4957289" y="3666933"/>
                <a:ext cx="824" cy="8646"/>
              </a:xfrm>
              <a:custGeom>
                <a:avLst/>
                <a:gdLst>
                  <a:gd name="T0" fmla="*/ 2 w 2"/>
                  <a:gd name="T1" fmla="*/ 21 h 21"/>
                  <a:gd name="T2" fmla="*/ 0 w 2"/>
                  <a:gd name="T3" fmla="*/ 14 h 21"/>
                  <a:gd name="T4" fmla="*/ 2 w 2"/>
                  <a:gd name="T5" fmla="*/ 0 h 21"/>
                  <a:gd name="T6" fmla="*/ 2 w 2"/>
                  <a:gd name="T7" fmla="*/ 5 h 21"/>
                  <a:gd name="T8" fmla="*/ 2 w 2"/>
                  <a:gd name="T9" fmla="*/ 21 h 21"/>
                  <a:gd name="T10" fmla="*/ 2 w 2"/>
                  <a:gd name="T11" fmla="*/ 21 h 21"/>
                  <a:gd name="T12" fmla="*/ 2 w 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 h="21">
                    <a:moveTo>
                      <a:pt x="2" y="21"/>
                    </a:moveTo>
                    <a:lnTo>
                      <a:pt x="0" y="14"/>
                    </a:lnTo>
                    <a:lnTo>
                      <a:pt x="2" y="0"/>
                    </a:lnTo>
                    <a:lnTo>
                      <a:pt x="2" y="5"/>
                    </a:lnTo>
                    <a:lnTo>
                      <a:pt x="2" y="21"/>
                    </a:lnTo>
                    <a:lnTo>
                      <a:pt x="2" y="21"/>
                    </a:lnTo>
                    <a:lnTo>
                      <a:pt x="2" y="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1" name="Freeform 587">
                <a:extLst>
                  <a:ext uri="{FF2B5EF4-FFF2-40B4-BE49-F238E27FC236}">
                    <a16:creationId xmlns:a16="http://schemas.microsoft.com/office/drawing/2014/main" id="{ED8BFD13-3847-43F7-9A33-8E57DC4B7E58}"/>
                  </a:ext>
                </a:extLst>
              </p:cNvPr>
              <p:cNvSpPr>
                <a:spLocks noEditPoints="1"/>
              </p:cNvSpPr>
              <p:nvPr/>
            </p:nvSpPr>
            <p:spPr bwMode="gray">
              <a:xfrm>
                <a:off x="4609016" y="3699870"/>
                <a:ext cx="388205" cy="348312"/>
              </a:xfrm>
              <a:custGeom>
                <a:avLst/>
                <a:gdLst>
                  <a:gd name="T0" fmla="*/ 900 w 943"/>
                  <a:gd name="T1" fmla="*/ 324 h 846"/>
                  <a:gd name="T2" fmla="*/ 905 w 943"/>
                  <a:gd name="T3" fmla="*/ 366 h 846"/>
                  <a:gd name="T4" fmla="*/ 851 w 943"/>
                  <a:gd name="T5" fmla="*/ 439 h 846"/>
                  <a:gd name="T6" fmla="*/ 879 w 943"/>
                  <a:gd name="T7" fmla="*/ 550 h 846"/>
                  <a:gd name="T8" fmla="*/ 813 w 943"/>
                  <a:gd name="T9" fmla="*/ 584 h 846"/>
                  <a:gd name="T10" fmla="*/ 744 w 943"/>
                  <a:gd name="T11" fmla="*/ 600 h 846"/>
                  <a:gd name="T12" fmla="*/ 669 w 943"/>
                  <a:gd name="T13" fmla="*/ 607 h 846"/>
                  <a:gd name="T14" fmla="*/ 610 w 943"/>
                  <a:gd name="T15" fmla="*/ 600 h 846"/>
                  <a:gd name="T16" fmla="*/ 702 w 943"/>
                  <a:gd name="T17" fmla="*/ 718 h 846"/>
                  <a:gd name="T18" fmla="*/ 631 w 943"/>
                  <a:gd name="T19" fmla="*/ 780 h 846"/>
                  <a:gd name="T20" fmla="*/ 560 w 943"/>
                  <a:gd name="T21" fmla="*/ 824 h 846"/>
                  <a:gd name="T22" fmla="*/ 527 w 943"/>
                  <a:gd name="T23" fmla="*/ 824 h 846"/>
                  <a:gd name="T24" fmla="*/ 430 w 943"/>
                  <a:gd name="T25" fmla="*/ 718 h 846"/>
                  <a:gd name="T26" fmla="*/ 400 w 943"/>
                  <a:gd name="T27" fmla="*/ 612 h 846"/>
                  <a:gd name="T28" fmla="*/ 414 w 943"/>
                  <a:gd name="T29" fmla="*/ 456 h 846"/>
                  <a:gd name="T30" fmla="*/ 296 w 943"/>
                  <a:gd name="T31" fmla="*/ 439 h 846"/>
                  <a:gd name="T32" fmla="*/ 215 w 943"/>
                  <a:gd name="T33" fmla="*/ 385 h 846"/>
                  <a:gd name="T34" fmla="*/ 81 w 943"/>
                  <a:gd name="T35" fmla="*/ 362 h 846"/>
                  <a:gd name="T36" fmla="*/ 43 w 943"/>
                  <a:gd name="T37" fmla="*/ 267 h 846"/>
                  <a:gd name="T38" fmla="*/ 22 w 943"/>
                  <a:gd name="T39" fmla="*/ 184 h 846"/>
                  <a:gd name="T40" fmla="*/ 144 w 943"/>
                  <a:gd name="T41" fmla="*/ 28 h 846"/>
                  <a:gd name="T42" fmla="*/ 81 w 943"/>
                  <a:gd name="T43" fmla="*/ 177 h 846"/>
                  <a:gd name="T44" fmla="*/ 161 w 943"/>
                  <a:gd name="T45" fmla="*/ 213 h 846"/>
                  <a:gd name="T46" fmla="*/ 199 w 943"/>
                  <a:gd name="T47" fmla="*/ 73 h 846"/>
                  <a:gd name="T48" fmla="*/ 241 w 943"/>
                  <a:gd name="T49" fmla="*/ 45 h 846"/>
                  <a:gd name="T50" fmla="*/ 241 w 943"/>
                  <a:gd name="T51" fmla="*/ 12 h 846"/>
                  <a:gd name="T52" fmla="*/ 362 w 943"/>
                  <a:gd name="T53" fmla="*/ 99 h 846"/>
                  <a:gd name="T54" fmla="*/ 506 w 943"/>
                  <a:gd name="T55" fmla="*/ 123 h 846"/>
                  <a:gd name="T56" fmla="*/ 636 w 943"/>
                  <a:gd name="T57" fmla="*/ 128 h 846"/>
                  <a:gd name="T58" fmla="*/ 685 w 943"/>
                  <a:gd name="T59" fmla="*/ 123 h 846"/>
                  <a:gd name="T60" fmla="*/ 770 w 943"/>
                  <a:gd name="T61" fmla="*/ 128 h 846"/>
                  <a:gd name="T62" fmla="*/ 723 w 943"/>
                  <a:gd name="T63" fmla="*/ 139 h 846"/>
                  <a:gd name="T64" fmla="*/ 754 w 943"/>
                  <a:gd name="T65" fmla="*/ 156 h 846"/>
                  <a:gd name="T66" fmla="*/ 770 w 943"/>
                  <a:gd name="T67" fmla="*/ 184 h 846"/>
                  <a:gd name="T68" fmla="*/ 792 w 943"/>
                  <a:gd name="T69" fmla="*/ 177 h 846"/>
                  <a:gd name="T70" fmla="*/ 808 w 943"/>
                  <a:gd name="T71" fmla="*/ 177 h 846"/>
                  <a:gd name="T72" fmla="*/ 879 w 943"/>
                  <a:gd name="T73" fmla="*/ 213 h 846"/>
                  <a:gd name="T74" fmla="*/ 851 w 943"/>
                  <a:gd name="T75" fmla="*/ 267 h 846"/>
                  <a:gd name="T76" fmla="*/ 863 w 943"/>
                  <a:gd name="T77" fmla="*/ 279 h 846"/>
                  <a:gd name="T78" fmla="*/ 938 w 943"/>
                  <a:gd name="T79" fmla="*/ 272 h 846"/>
                  <a:gd name="T80" fmla="*/ 506 w 943"/>
                  <a:gd name="T81" fmla="*/ 33 h 846"/>
                  <a:gd name="T82" fmla="*/ 648 w 943"/>
                  <a:gd name="T83" fmla="*/ 99 h 846"/>
                  <a:gd name="T84" fmla="*/ 664 w 943"/>
                  <a:gd name="T85" fmla="*/ 83 h 846"/>
                  <a:gd name="T86" fmla="*/ 565 w 943"/>
                  <a:gd name="T87" fmla="*/ 99 h 846"/>
                  <a:gd name="T88" fmla="*/ 565 w 943"/>
                  <a:gd name="T89" fmla="*/ 99 h 846"/>
                  <a:gd name="T90" fmla="*/ 879 w 943"/>
                  <a:gd name="T91" fmla="*/ 234 h 846"/>
                  <a:gd name="T92" fmla="*/ 867 w 943"/>
                  <a:gd name="T93" fmla="*/ 250 h 846"/>
                  <a:gd name="T94" fmla="*/ 879 w 943"/>
                  <a:gd name="T95" fmla="*/ 250 h 846"/>
                  <a:gd name="T96" fmla="*/ 867 w 943"/>
                  <a:gd name="T97" fmla="*/ 267 h 846"/>
                  <a:gd name="T98" fmla="*/ 867 w 943"/>
                  <a:gd name="T99" fmla="*/ 267 h 846"/>
                  <a:gd name="T100" fmla="*/ 863 w 943"/>
                  <a:gd name="T101" fmla="*/ 267 h 846"/>
                  <a:gd name="T102" fmla="*/ 851 w 943"/>
                  <a:gd name="T103" fmla="*/ 272 h 846"/>
                  <a:gd name="T104" fmla="*/ 867 w 943"/>
                  <a:gd name="T105" fmla="*/ 267 h 846"/>
                  <a:gd name="T106" fmla="*/ 825 w 943"/>
                  <a:gd name="T107" fmla="*/ 272 h 846"/>
                  <a:gd name="T108" fmla="*/ 846 w 943"/>
                  <a:gd name="T109" fmla="*/ 272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43" h="846">
                    <a:moveTo>
                      <a:pt x="938" y="272"/>
                    </a:moveTo>
                    <a:lnTo>
                      <a:pt x="943" y="295"/>
                    </a:lnTo>
                    <a:lnTo>
                      <a:pt x="938" y="295"/>
                    </a:lnTo>
                    <a:lnTo>
                      <a:pt x="933" y="307"/>
                    </a:lnTo>
                    <a:lnTo>
                      <a:pt x="900" y="324"/>
                    </a:lnTo>
                    <a:lnTo>
                      <a:pt x="884" y="345"/>
                    </a:lnTo>
                    <a:lnTo>
                      <a:pt x="889" y="362"/>
                    </a:lnTo>
                    <a:lnTo>
                      <a:pt x="889" y="366"/>
                    </a:lnTo>
                    <a:lnTo>
                      <a:pt x="900" y="378"/>
                    </a:lnTo>
                    <a:lnTo>
                      <a:pt x="905" y="366"/>
                    </a:lnTo>
                    <a:lnTo>
                      <a:pt x="917" y="378"/>
                    </a:lnTo>
                    <a:lnTo>
                      <a:pt x="884" y="402"/>
                    </a:lnTo>
                    <a:lnTo>
                      <a:pt x="851" y="402"/>
                    </a:lnTo>
                    <a:lnTo>
                      <a:pt x="851" y="418"/>
                    </a:lnTo>
                    <a:lnTo>
                      <a:pt x="851" y="439"/>
                    </a:lnTo>
                    <a:lnTo>
                      <a:pt x="837" y="463"/>
                    </a:lnTo>
                    <a:lnTo>
                      <a:pt x="884" y="513"/>
                    </a:lnTo>
                    <a:lnTo>
                      <a:pt x="889" y="517"/>
                    </a:lnTo>
                    <a:lnTo>
                      <a:pt x="889" y="534"/>
                    </a:lnTo>
                    <a:lnTo>
                      <a:pt x="879" y="550"/>
                    </a:lnTo>
                    <a:lnTo>
                      <a:pt x="867" y="558"/>
                    </a:lnTo>
                    <a:lnTo>
                      <a:pt x="846" y="567"/>
                    </a:lnTo>
                    <a:lnTo>
                      <a:pt x="830" y="574"/>
                    </a:lnTo>
                    <a:lnTo>
                      <a:pt x="825" y="584"/>
                    </a:lnTo>
                    <a:lnTo>
                      <a:pt x="813" y="584"/>
                    </a:lnTo>
                    <a:lnTo>
                      <a:pt x="808" y="591"/>
                    </a:lnTo>
                    <a:lnTo>
                      <a:pt x="782" y="591"/>
                    </a:lnTo>
                    <a:lnTo>
                      <a:pt x="761" y="591"/>
                    </a:lnTo>
                    <a:lnTo>
                      <a:pt x="754" y="600"/>
                    </a:lnTo>
                    <a:lnTo>
                      <a:pt x="744" y="600"/>
                    </a:lnTo>
                    <a:lnTo>
                      <a:pt x="744" y="624"/>
                    </a:lnTo>
                    <a:lnTo>
                      <a:pt x="728" y="628"/>
                    </a:lnTo>
                    <a:lnTo>
                      <a:pt x="702" y="607"/>
                    </a:lnTo>
                    <a:lnTo>
                      <a:pt x="690" y="612"/>
                    </a:lnTo>
                    <a:lnTo>
                      <a:pt x="669" y="607"/>
                    </a:lnTo>
                    <a:lnTo>
                      <a:pt x="652" y="607"/>
                    </a:lnTo>
                    <a:lnTo>
                      <a:pt x="648" y="591"/>
                    </a:lnTo>
                    <a:lnTo>
                      <a:pt x="615" y="591"/>
                    </a:lnTo>
                    <a:lnTo>
                      <a:pt x="598" y="584"/>
                    </a:lnTo>
                    <a:lnTo>
                      <a:pt x="610" y="600"/>
                    </a:lnTo>
                    <a:lnTo>
                      <a:pt x="636" y="628"/>
                    </a:lnTo>
                    <a:lnTo>
                      <a:pt x="636" y="662"/>
                    </a:lnTo>
                    <a:lnTo>
                      <a:pt x="652" y="695"/>
                    </a:lnTo>
                    <a:lnTo>
                      <a:pt x="652" y="711"/>
                    </a:lnTo>
                    <a:lnTo>
                      <a:pt x="702" y="718"/>
                    </a:lnTo>
                    <a:lnTo>
                      <a:pt x="702" y="735"/>
                    </a:lnTo>
                    <a:lnTo>
                      <a:pt x="652" y="751"/>
                    </a:lnTo>
                    <a:lnTo>
                      <a:pt x="648" y="773"/>
                    </a:lnTo>
                    <a:lnTo>
                      <a:pt x="636" y="780"/>
                    </a:lnTo>
                    <a:lnTo>
                      <a:pt x="631" y="780"/>
                    </a:lnTo>
                    <a:lnTo>
                      <a:pt x="610" y="796"/>
                    </a:lnTo>
                    <a:lnTo>
                      <a:pt x="598" y="796"/>
                    </a:lnTo>
                    <a:lnTo>
                      <a:pt x="577" y="806"/>
                    </a:lnTo>
                    <a:lnTo>
                      <a:pt x="565" y="824"/>
                    </a:lnTo>
                    <a:lnTo>
                      <a:pt x="560" y="824"/>
                    </a:lnTo>
                    <a:lnTo>
                      <a:pt x="544" y="846"/>
                    </a:lnTo>
                    <a:lnTo>
                      <a:pt x="544" y="841"/>
                    </a:lnTo>
                    <a:lnTo>
                      <a:pt x="544" y="824"/>
                    </a:lnTo>
                    <a:lnTo>
                      <a:pt x="544" y="824"/>
                    </a:lnTo>
                    <a:lnTo>
                      <a:pt x="527" y="824"/>
                    </a:lnTo>
                    <a:lnTo>
                      <a:pt x="506" y="841"/>
                    </a:lnTo>
                    <a:lnTo>
                      <a:pt x="489" y="841"/>
                    </a:lnTo>
                    <a:lnTo>
                      <a:pt x="452" y="806"/>
                    </a:lnTo>
                    <a:lnTo>
                      <a:pt x="430" y="723"/>
                    </a:lnTo>
                    <a:lnTo>
                      <a:pt x="430" y="718"/>
                    </a:lnTo>
                    <a:lnTo>
                      <a:pt x="400" y="685"/>
                    </a:lnTo>
                    <a:lnTo>
                      <a:pt x="383" y="685"/>
                    </a:lnTo>
                    <a:lnTo>
                      <a:pt x="421" y="645"/>
                    </a:lnTo>
                    <a:lnTo>
                      <a:pt x="404" y="624"/>
                    </a:lnTo>
                    <a:lnTo>
                      <a:pt x="400" y="612"/>
                    </a:lnTo>
                    <a:lnTo>
                      <a:pt x="383" y="558"/>
                    </a:lnTo>
                    <a:lnTo>
                      <a:pt x="383" y="501"/>
                    </a:lnTo>
                    <a:lnTo>
                      <a:pt x="400" y="489"/>
                    </a:lnTo>
                    <a:lnTo>
                      <a:pt x="400" y="473"/>
                    </a:lnTo>
                    <a:lnTo>
                      <a:pt x="414" y="456"/>
                    </a:lnTo>
                    <a:lnTo>
                      <a:pt x="414" y="439"/>
                    </a:lnTo>
                    <a:lnTo>
                      <a:pt x="383" y="435"/>
                    </a:lnTo>
                    <a:lnTo>
                      <a:pt x="378" y="439"/>
                    </a:lnTo>
                    <a:lnTo>
                      <a:pt x="329" y="444"/>
                    </a:lnTo>
                    <a:lnTo>
                      <a:pt x="296" y="439"/>
                    </a:lnTo>
                    <a:lnTo>
                      <a:pt x="291" y="444"/>
                    </a:lnTo>
                    <a:lnTo>
                      <a:pt x="279" y="444"/>
                    </a:lnTo>
                    <a:lnTo>
                      <a:pt x="274" y="444"/>
                    </a:lnTo>
                    <a:lnTo>
                      <a:pt x="227" y="385"/>
                    </a:lnTo>
                    <a:lnTo>
                      <a:pt x="215" y="385"/>
                    </a:lnTo>
                    <a:lnTo>
                      <a:pt x="182" y="378"/>
                    </a:lnTo>
                    <a:lnTo>
                      <a:pt x="152" y="385"/>
                    </a:lnTo>
                    <a:lnTo>
                      <a:pt x="119" y="378"/>
                    </a:lnTo>
                    <a:lnTo>
                      <a:pt x="90" y="385"/>
                    </a:lnTo>
                    <a:lnTo>
                      <a:pt x="81" y="362"/>
                    </a:lnTo>
                    <a:lnTo>
                      <a:pt x="59" y="345"/>
                    </a:lnTo>
                    <a:lnTo>
                      <a:pt x="59" y="312"/>
                    </a:lnTo>
                    <a:lnTo>
                      <a:pt x="64" y="307"/>
                    </a:lnTo>
                    <a:lnTo>
                      <a:pt x="64" y="279"/>
                    </a:lnTo>
                    <a:lnTo>
                      <a:pt x="43" y="267"/>
                    </a:lnTo>
                    <a:lnTo>
                      <a:pt x="38" y="234"/>
                    </a:lnTo>
                    <a:lnTo>
                      <a:pt x="26" y="222"/>
                    </a:lnTo>
                    <a:lnTo>
                      <a:pt x="22" y="217"/>
                    </a:lnTo>
                    <a:lnTo>
                      <a:pt x="0" y="222"/>
                    </a:lnTo>
                    <a:lnTo>
                      <a:pt x="22" y="184"/>
                    </a:lnTo>
                    <a:lnTo>
                      <a:pt x="26" y="128"/>
                    </a:lnTo>
                    <a:lnTo>
                      <a:pt x="59" y="83"/>
                    </a:lnTo>
                    <a:lnTo>
                      <a:pt x="81" y="73"/>
                    </a:lnTo>
                    <a:lnTo>
                      <a:pt x="97" y="45"/>
                    </a:lnTo>
                    <a:lnTo>
                      <a:pt x="144" y="28"/>
                    </a:lnTo>
                    <a:lnTo>
                      <a:pt x="135" y="33"/>
                    </a:lnTo>
                    <a:lnTo>
                      <a:pt x="97" y="50"/>
                    </a:lnTo>
                    <a:lnTo>
                      <a:pt x="119" y="111"/>
                    </a:lnTo>
                    <a:lnTo>
                      <a:pt x="119" y="128"/>
                    </a:lnTo>
                    <a:lnTo>
                      <a:pt x="81" y="177"/>
                    </a:lnTo>
                    <a:lnTo>
                      <a:pt x="114" y="213"/>
                    </a:lnTo>
                    <a:lnTo>
                      <a:pt x="114" y="222"/>
                    </a:lnTo>
                    <a:lnTo>
                      <a:pt x="119" y="234"/>
                    </a:lnTo>
                    <a:lnTo>
                      <a:pt x="144" y="222"/>
                    </a:lnTo>
                    <a:lnTo>
                      <a:pt x="161" y="213"/>
                    </a:lnTo>
                    <a:lnTo>
                      <a:pt x="161" y="177"/>
                    </a:lnTo>
                    <a:lnTo>
                      <a:pt x="128" y="123"/>
                    </a:lnTo>
                    <a:lnTo>
                      <a:pt x="128" y="106"/>
                    </a:lnTo>
                    <a:lnTo>
                      <a:pt x="128" y="99"/>
                    </a:lnTo>
                    <a:lnTo>
                      <a:pt x="199" y="73"/>
                    </a:lnTo>
                    <a:lnTo>
                      <a:pt x="227" y="57"/>
                    </a:lnTo>
                    <a:lnTo>
                      <a:pt x="227" y="50"/>
                    </a:lnTo>
                    <a:lnTo>
                      <a:pt x="241" y="57"/>
                    </a:lnTo>
                    <a:lnTo>
                      <a:pt x="253" y="57"/>
                    </a:lnTo>
                    <a:lnTo>
                      <a:pt x="241" y="45"/>
                    </a:lnTo>
                    <a:lnTo>
                      <a:pt x="215" y="45"/>
                    </a:lnTo>
                    <a:lnTo>
                      <a:pt x="215" y="28"/>
                    </a:lnTo>
                    <a:lnTo>
                      <a:pt x="220" y="12"/>
                    </a:lnTo>
                    <a:lnTo>
                      <a:pt x="237" y="0"/>
                    </a:lnTo>
                    <a:lnTo>
                      <a:pt x="241" y="12"/>
                    </a:lnTo>
                    <a:lnTo>
                      <a:pt x="258" y="57"/>
                    </a:lnTo>
                    <a:lnTo>
                      <a:pt x="279" y="50"/>
                    </a:lnTo>
                    <a:lnTo>
                      <a:pt x="312" y="57"/>
                    </a:lnTo>
                    <a:lnTo>
                      <a:pt x="345" y="83"/>
                    </a:lnTo>
                    <a:lnTo>
                      <a:pt x="362" y="99"/>
                    </a:lnTo>
                    <a:lnTo>
                      <a:pt x="350" y="106"/>
                    </a:lnTo>
                    <a:lnTo>
                      <a:pt x="350" y="123"/>
                    </a:lnTo>
                    <a:lnTo>
                      <a:pt x="367" y="128"/>
                    </a:lnTo>
                    <a:lnTo>
                      <a:pt x="501" y="123"/>
                    </a:lnTo>
                    <a:lnTo>
                      <a:pt x="506" y="123"/>
                    </a:lnTo>
                    <a:lnTo>
                      <a:pt x="506" y="128"/>
                    </a:lnTo>
                    <a:lnTo>
                      <a:pt x="527" y="144"/>
                    </a:lnTo>
                    <a:lnTo>
                      <a:pt x="577" y="161"/>
                    </a:lnTo>
                    <a:lnTo>
                      <a:pt x="598" y="161"/>
                    </a:lnTo>
                    <a:lnTo>
                      <a:pt x="636" y="128"/>
                    </a:lnTo>
                    <a:lnTo>
                      <a:pt x="674" y="128"/>
                    </a:lnTo>
                    <a:lnTo>
                      <a:pt x="652" y="123"/>
                    </a:lnTo>
                    <a:lnTo>
                      <a:pt x="636" y="128"/>
                    </a:lnTo>
                    <a:lnTo>
                      <a:pt x="636" y="111"/>
                    </a:lnTo>
                    <a:lnTo>
                      <a:pt x="685" y="123"/>
                    </a:lnTo>
                    <a:lnTo>
                      <a:pt x="716" y="111"/>
                    </a:lnTo>
                    <a:lnTo>
                      <a:pt x="799" y="111"/>
                    </a:lnTo>
                    <a:lnTo>
                      <a:pt x="799" y="111"/>
                    </a:lnTo>
                    <a:lnTo>
                      <a:pt x="778" y="123"/>
                    </a:lnTo>
                    <a:lnTo>
                      <a:pt x="770" y="128"/>
                    </a:lnTo>
                    <a:lnTo>
                      <a:pt x="728" y="128"/>
                    </a:lnTo>
                    <a:lnTo>
                      <a:pt x="723" y="128"/>
                    </a:lnTo>
                    <a:lnTo>
                      <a:pt x="740" y="128"/>
                    </a:lnTo>
                    <a:lnTo>
                      <a:pt x="740" y="139"/>
                    </a:lnTo>
                    <a:lnTo>
                      <a:pt x="723" y="139"/>
                    </a:lnTo>
                    <a:lnTo>
                      <a:pt x="723" y="144"/>
                    </a:lnTo>
                    <a:lnTo>
                      <a:pt x="728" y="144"/>
                    </a:lnTo>
                    <a:lnTo>
                      <a:pt x="728" y="139"/>
                    </a:lnTo>
                    <a:lnTo>
                      <a:pt x="740" y="139"/>
                    </a:lnTo>
                    <a:lnTo>
                      <a:pt x="754" y="156"/>
                    </a:lnTo>
                    <a:lnTo>
                      <a:pt x="723" y="161"/>
                    </a:lnTo>
                    <a:lnTo>
                      <a:pt x="740" y="161"/>
                    </a:lnTo>
                    <a:lnTo>
                      <a:pt x="754" y="161"/>
                    </a:lnTo>
                    <a:lnTo>
                      <a:pt x="754" y="144"/>
                    </a:lnTo>
                    <a:lnTo>
                      <a:pt x="770" y="184"/>
                    </a:lnTo>
                    <a:lnTo>
                      <a:pt x="778" y="168"/>
                    </a:lnTo>
                    <a:lnTo>
                      <a:pt x="778" y="168"/>
                    </a:lnTo>
                    <a:lnTo>
                      <a:pt x="778" y="194"/>
                    </a:lnTo>
                    <a:lnTo>
                      <a:pt x="782" y="177"/>
                    </a:lnTo>
                    <a:lnTo>
                      <a:pt x="792" y="177"/>
                    </a:lnTo>
                    <a:lnTo>
                      <a:pt x="778" y="168"/>
                    </a:lnTo>
                    <a:lnTo>
                      <a:pt x="782" y="161"/>
                    </a:lnTo>
                    <a:lnTo>
                      <a:pt x="799" y="168"/>
                    </a:lnTo>
                    <a:lnTo>
                      <a:pt x="813" y="194"/>
                    </a:lnTo>
                    <a:lnTo>
                      <a:pt x="808" y="177"/>
                    </a:lnTo>
                    <a:lnTo>
                      <a:pt x="825" y="177"/>
                    </a:lnTo>
                    <a:lnTo>
                      <a:pt x="825" y="168"/>
                    </a:lnTo>
                    <a:lnTo>
                      <a:pt x="846" y="194"/>
                    </a:lnTo>
                    <a:lnTo>
                      <a:pt x="863" y="194"/>
                    </a:lnTo>
                    <a:lnTo>
                      <a:pt x="879" y="213"/>
                    </a:lnTo>
                    <a:lnTo>
                      <a:pt x="879" y="217"/>
                    </a:lnTo>
                    <a:lnTo>
                      <a:pt x="863" y="234"/>
                    </a:lnTo>
                    <a:lnTo>
                      <a:pt x="863" y="234"/>
                    </a:lnTo>
                    <a:lnTo>
                      <a:pt x="867" y="222"/>
                    </a:lnTo>
                    <a:lnTo>
                      <a:pt x="851" y="267"/>
                    </a:lnTo>
                    <a:lnTo>
                      <a:pt x="825" y="267"/>
                    </a:lnTo>
                    <a:lnTo>
                      <a:pt x="825" y="272"/>
                    </a:lnTo>
                    <a:lnTo>
                      <a:pt x="837" y="279"/>
                    </a:lnTo>
                    <a:lnTo>
                      <a:pt x="863" y="272"/>
                    </a:lnTo>
                    <a:lnTo>
                      <a:pt x="863" y="279"/>
                    </a:lnTo>
                    <a:lnTo>
                      <a:pt x="867" y="267"/>
                    </a:lnTo>
                    <a:lnTo>
                      <a:pt x="900" y="272"/>
                    </a:lnTo>
                    <a:lnTo>
                      <a:pt x="905" y="267"/>
                    </a:lnTo>
                    <a:lnTo>
                      <a:pt x="917" y="267"/>
                    </a:lnTo>
                    <a:lnTo>
                      <a:pt x="938" y="272"/>
                    </a:lnTo>
                    <a:lnTo>
                      <a:pt x="938" y="272"/>
                    </a:lnTo>
                    <a:lnTo>
                      <a:pt x="938" y="272"/>
                    </a:lnTo>
                    <a:close/>
                    <a:moveTo>
                      <a:pt x="506" y="33"/>
                    </a:moveTo>
                    <a:lnTo>
                      <a:pt x="501" y="33"/>
                    </a:lnTo>
                    <a:lnTo>
                      <a:pt x="506" y="33"/>
                    </a:lnTo>
                    <a:lnTo>
                      <a:pt x="506" y="33"/>
                    </a:lnTo>
                    <a:lnTo>
                      <a:pt x="506" y="33"/>
                    </a:lnTo>
                    <a:lnTo>
                      <a:pt x="506" y="33"/>
                    </a:lnTo>
                    <a:close/>
                    <a:moveTo>
                      <a:pt x="652" y="106"/>
                    </a:moveTo>
                    <a:lnTo>
                      <a:pt x="648" y="99"/>
                    </a:lnTo>
                    <a:lnTo>
                      <a:pt x="631" y="99"/>
                    </a:lnTo>
                    <a:lnTo>
                      <a:pt x="631" y="90"/>
                    </a:lnTo>
                    <a:lnTo>
                      <a:pt x="636" y="83"/>
                    </a:lnTo>
                    <a:lnTo>
                      <a:pt x="652" y="90"/>
                    </a:lnTo>
                    <a:lnTo>
                      <a:pt x="664" y="83"/>
                    </a:lnTo>
                    <a:lnTo>
                      <a:pt x="669" y="90"/>
                    </a:lnTo>
                    <a:lnTo>
                      <a:pt x="652" y="106"/>
                    </a:lnTo>
                    <a:lnTo>
                      <a:pt x="652" y="106"/>
                    </a:lnTo>
                    <a:lnTo>
                      <a:pt x="652" y="106"/>
                    </a:lnTo>
                    <a:close/>
                    <a:moveTo>
                      <a:pt x="565" y="99"/>
                    </a:moveTo>
                    <a:lnTo>
                      <a:pt x="556" y="99"/>
                    </a:lnTo>
                    <a:lnTo>
                      <a:pt x="565" y="99"/>
                    </a:lnTo>
                    <a:lnTo>
                      <a:pt x="565" y="99"/>
                    </a:lnTo>
                    <a:lnTo>
                      <a:pt x="565" y="99"/>
                    </a:lnTo>
                    <a:lnTo>
                      <a:pt x="565" y="99"/>
                    </a:lnTo>
                    <a:close/>
                    <a:moveTo>
                      <a:pt x="879" y="234"/>
                    </a:moveTo>
                    <a:lnTo>
                      <a:pt x="867" y="234"/>
                    </a:lnTo>
                    <a:lnTo>
                      <a:pt x="879" y="222"/>
                    </a:lnTo>
                    <a:lnTo>
                      <a:pt x="879" y="234"/>
                    </a:lnTo>
                    <a:lnTo>
                      <a:pt x="879" y="234"/>
                    </a:lnTo>
                    <a:lnTo>
                      <a:pt x="879" y="234"/>
                    </a:lnTo>
                    <a:close/>
                    <a:moveTo>
                      <a:pt x="867" y="250"/>
                    </a:moveTo>
                    <a:lnTo>
                      <a:pt x="863" y="250"/>
                    </a:lnTo>
                    <a:lnTo>
                      <a:pt x="879" y="234"/>
                    </a:lnTo>
                    <a:lnTo>
                      <a:pt x="867" y="250"/>
                    </a:lnTo>
                    <a:lnTo>
                      <a:pt x="867" y="250"/>
                    </a:lnTo>
                    <a:lnTo>
                      <a:pt x="867" y="250"/>
                    </a:lnTo>
                    <a:close/>
                    <a:moveTo>
                      <a:pt x="851" y="255"/>
                    </a:moveTo>
                    <a:lnTo>
                      <a:pt x="863" y="250"/>
                    </a:lnTo>
                    <a:lnTo>
                      <a:pt x="879" y="250"/>
                    </a:lnTo>
                    <a:lnTo>
                      <a:pt x="867" y="255"/>
                    </a:lnTo>
                    <a:lnTo>
                      <a:pt x="851" y="255"/>
                    </a:lnTo>
                    <a:lnTo>
                      <a:pt x="851" y="255"/>
                    </a:lnTo>
                    <a:lnTo>
                      <a:pt x="851" y="255"/>
                    </a:lnTo>
                    <a:close/>
                    <a:moveTo>
                      <a:pt x="867" y="267"/>
                    </a:moveTo>
                    <a:lnTo>
                      <a:pt x="867" y="267"/>
                    </a:lnTo>
                    <a:lnTo>
                      <a:pt x="879" y="255"/>
                    </a:lnTo>
                    <a:lnTo>
                      <a:pt x="867" y="267"/>
                    </a:lnTo>
                    <a:lnTo>
                      <a:pt x="867" y="267"/>
                    </a:lnTo>
                    <a:lnTo>
                      <a:pt x="867" y="267"/>
                    </a:lnTo>
                    <a:close/>
                    <a:moveTo>
                      <a:pt x="863" y="267"/>
                    </a:moveTo>
                    <a:lnTo>
                      <a:pt x="851" y="267"/>
                    </a:lnTo>
                    <a:lnTo>
                      <a:pt x="867" y="255"/>
                    </a:lnTo>
                    <a:lnTo>
                      <a:pt x="863" y="267"/>
                    </a:lnTo>
                    <a:lnTo>
                      <a:pt x="863" y="267"/>
                    </a:lnTo>
                    <a:lnTo>
                      <a:pt x="863" y="267"/>
                    </a:lnTo>
                    <a:close/>
                    <a:moveTo>
                      <a:pt x="851" y="272"/>
                    </a:moveTo>
                    <a:lnTo>
                      <a:pt x="851" y="267"/>
                    </a:lnTo>
                    <a:lnTo>
                      <a:pt x="863" y="267"/>
                    </a:lnTo>
                    <a:lnTo>
                      <a:pt x="851" y="272"/>
                    </a:lnTo>
                    <a:lnTo>
                      <a:pt x="851" y="272"/>
                    </a:lnTo>
                    <a:lnTo>
                      <a:pt x="851" y="272"/>
                    </a:lnTo>
                    <a:close/>
                    <a:moveTo>
                      <a:pt x="851" y="272"/>
                    </a:moveTo>
                    <a:lnTo>
                      <a:pt x="846" y="272"/>
                    </a:lnTo>
                    <a:lnTo>
                      <a:pt x="867" y="267"/>
                    </a:lnTo>
                    <a:lnTo>
                      <a:pt x="851" y="272"/>
                    </a:lnTo>
                    <a:lnTo>
                      <a:pt x="851" y="272"/>
                    </a:lnTo>
                    <a:lnTo>
                      <a:pt x="851" y="272"/>
                    </a:lnTo>
                    <a:close/>
                    <a:moveTo>
                      <a:pt x="846" y="272"/>
                    </a:moveTo>
                    <a:lnTo>
                      <a:pt x="825" y="272"/>
                    </a:lnTo>
                    <a:lnTo>
                      <a:pt x="846" y="272"/>
                    </a:lnTo>
                    <a:lnTo>
                      <a:pt x="851" y="272"/>
                    </a:lnTo>
                    <a:lnTo>
                      <a:pt x="846" y="272"/>
                    </a:lnTo>
                    <a:lnTo>
                      <a:pt x="846" y="272"/>
                    </a:lnTo>
                    <a:lnTo>
                      <a:pt x="846" y="27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3" name="Freeform 589">
                <a:extLst>
                  <a:ext uri="{FF2B5EF4-FFF2-40B4-BE49-F238E27FC236}">
                    <a16:creationId xmlns:a16="http://schemas.microsoft.com/office/drawing/2014/main" id="{BEC5E413-1C69-4C0B-B94F-7760BD288072}"/>
                  </a:ext>
                </a:extLst>
              </p:cNvPr>
              <p:cNvSpPr>
                <a:spLocks noEditPoints="1"/>
              </p:cNvSpPr>
              <p:nvPr/>
            </p:nvSpPr>
            <p:spPr bwMode="gray">
              <a:xfrm>
                <a:off x="4852313" y="3514186"/>
                <a:ext cx="8645" cy="21409"/>
              </a:xfrm>
              <a:custGeom>
                <a:avLst/>
                <a:gdLst>
                  <a:gd name="T0" fmla="*/ 16 w 21"/>
                  <a:gd name="T1" fmla="*/ 0 h 52"/>
                  <a:gd name="T2" fmla="*/ 7 w 21"/>
                  <a:gd name="T3" fmla="*/ 0 h 52"/>
                  <a:gd name="T4" fmla="*/ 16 w 21"/>
                  <a:gd name="T5" fmla="*/ 0 h 52"/>
                  <a:gd name="T6" fmla="*/ 16 w 21"/>
                  <a:gd name="T7" fmla="*/ 0 h 52"/>
                  <a:gd name="T8" fmla="*/ 16 w 21"/>
                  <a:gd name="T9" fmla="*/ 0 h 52"/>
                  <a:gd name="T10" fmla="*/ 16 w 21"/>
                  <a:gd name="T11" fmla="*/ 0 h 52"/>
                  <a:gd name="T12" fmla="*/ 0 w 21"/>
                  <a:gd name="T13" fmla="*/ 52 h 52"/>
                  <a:gd name="T14" fmla="*/ 0 w 21"/>
                  <a:gd name="T15" fmla="*/ 40 h 52"/>
                  <a:gd name="T16" fmla="*/ 21 w 21"/>
                  <a:gd name="T17" fmla="*/ 52 h 52"/>
                  <a:gd name="T18" fmla="*/ 0 w 21"/>
                  <a:gd name="T19" fmla="*/ 52 h 52"/>
                  <a:gd name="T20" fmla="*/ 0 w 21"/>
                  <a:gd name="T21" fmla="*/ 52 h 52"/>
                  <a:gd name="T22" fmla="*/ 0 w 21"/>
                  <a:gd name="T23"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52">
                    <a:moveTo>
                      <a:pt x="16" y="0"/>
                    </a:moveTo>
                    <a:lnTo>
                      <a:pt x="7" y="0"/>
                    </a:lnTo>
                    <a:lnTo>
                      <a:pt x="16" y="0"/>
                    </a:lnTo>
                    <a:lnTo>
                      <a:pt x="16" y="0"/>
                    </a:lnTo>
                    <a:lnTo>
                      <a:pt x="16" y="0"/>
                    </a:lnTo>
                    <a:lnTo>
                      <a:pt x="16" y="0"/>
                    </a:lnTo>
                    <a:close/>
                    <a:moveTo>
                      <a:pt x="0" y="52"/>
                    </a:moveTo>
                    <a:lnTo>
                      <a:pt x="0" y="40"/>
                    </a:lnTo>
                    <a:lnTo>
                      <a:pt x="21" y="52"/>
                    </a:lnTo>
                    <a:lnTo>
                      <a:pt x="0" y="52"/>
                    </a:lnTo>
                    <a:lnTo>
                      <a:pt x="0" y="52"/>
                    </a:lnTo>
                    <a:lnTo>
                      <a:pt x="0" y="5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9" name="Gruppieren 8">
            <a:extLst>
              <a:ext uri="{FF2B5EF4-FFF2-40B4-BE49-F238E27FC236}">
                <a16:creationId xmlns:a16="http://schemas.microsoft.com/office/drawing/2014/main" id="{A70C9BED-C91D-480E-A775-8FC71D0EDDB8}"/>
              </a:ext>
            </a:extLst>
          </p:cNvPr>
          <p:cNvGrpSpPr/>
          <p:nvPr/>
        </p:nvGrpSpPr>
        <p:grpSpPr>
          <a:xfrm>
            <a:off x="5694161" y="2594242"/>
            <a:ext cx="5321248" cy="3567109"/>
            <a:chOff x="5694161" y="2594242"/>
            <a:chExt cx="5321248" cy="3567109"/>
          </a:xfrm>
          <a:pattFill prst="ltHorz">
            <a:fgClr>
              <a:schemeClr val="accent2"/>
            </a:fgClr>
            <a:bgClr>
              <a:schemeClr val="bg1"/>
            </a:bgClr>
          </a:pattFill>
        </p:grpSpPr>
        <p:grpSp>
          <p:nvGrpSpPr>
            <p:cNvPr id="26" name="Gruppieren 25">
              <a:extLst>
                <a:ext uri="{FF2B5EF4-FFF2-40B4-BE49-F238E27FC236}">
                  <a16:creationId xmlns:a16="http://schemas.microsoft.com/office/drawing/2014/main" id="{25438A58-49BD-45BC-9CA6-0EC82C343BA5}"/>
                </a:ext>
              </a:extLst>
            </p:cNvPr>
            <p:cNvGrpSpPr/>
            <p:nvPr/>
          </p:nvGrpSpPr>
          <p:grpSpPr bwMode="gray">
            <a:xfrm>
              <a:off x="8172003" y="2594242"/>
              <a:ext cx="2843406" cy="3567109"/>
              <a:chOff x="8473775" y="2306210"/>
              <a:chExt cx="2843406" cy="3567109"/>
            </a:xfrm>
            <a:grpFill/>
          </p:grpSpPr>
          <p:sp>
            <p:nvSpPr>
              <p:cNvPr id="8000" name="Freeform 379">
                <a:extLst>
                  <a:ext uri="{FF2B5EF4-FFF2-40B4-BE49-F238E27FC236}">
                    <a16:creationId xmlns:a16="http://schemas.microsoft.com/office/drawing/2014/main" id="{43FDA1D7-FF82-4841-A61E-5E8EAFC4411F}"/>
                  </a:ext>
                </a:extLst>
              </p:cNvPr>
              <p:cNvSpPr>
                <a:spLocks/>
              </p:cNvSpPr>
              <p:nvPr/>
            </p:nvSpPr>
            <p:spPr bwMode="gray">
              <a:xfrm>
                <a:off x="8473775" y="2866557"/>
                <a:ext cx="414964" cy="299318"/>
              </a:xfrm>
              <a:custGeom>
                <a:avLst/>
                <a:gdLst>
                  <a:gd name="T0" fmla="*/ 75 w 1008"/>
                  <a:gd name="T1" fmla="*/ 243 h 727"/>
                  <a:gd name="T2" fmla="*/ 137 w 1008"/>
                  <a:gd name="T3" fmla="*/ 260 h 727"/>
                  <a:gd name="T4" fmla="*/ 184 w 1008"/>
                  <a:gd name="T5" fmla="*/ 234 h 727"/>
                  <a:gd name="T6" fmla="*/ 243 w 1008"/>
                  <a:gd name="T7" fmla="*/ 193 h 727"/>
                  <a:gd name="T8" fmla="*/ 297 w 1008"/>
                  <a:gd name="T9" fmla="*/ 111 h 727"/>
                  <a:gd name="T10" fmla="*/ 361 w 1008"/>
                  <a:gd name="T11" fmla="*/ 78 h 727"/>
                  <a:gd name="T12" fmla="*/ 453 w 1008"/>
                  <a:gd name="T13" fmla="*/ 82 h 727"/>
                  <a:gd name="T14" fmla="*/ 508 w 1008"/>
                  <a:gd name="T15" fmla="*/ 99 h 727"/>
                  <a:gd name="T16" fmla="*/ 583 w 1008"/>
                  <a:gd name="T17" fmla="*/ 94 h 727"/>
                  <a:gd name="T18" fmla="*/ 621 w 1008"/>
                  <a:gd name="T19" fmla="*/ 82 h 727"/>
                  <a:gd name="T20" fmla="*/ 675 w 1008"/>
                  <a:gd name="T21" fmla="*/ 78 h 727"/>
                  <a:gd name="T22" fmla="*/ 718 w 1008"/>
                  <a:gd name="T23" fmla="*/ 0 h 727"/>
                  <a:gd name="T24" fmla="*/ 756 w 1008"/>
                  <a:gd name="T25" fmla="*/ 42 h 727"/>
                  <a:gd name="T26" fmla="*/ 777 w 1008"/>
                  <a:gd name="T27" fmla="*/ 139 h 727"/>
                  <a:gd name="T28" fmla="*/ 826 w 1008"/>
                  <a:gd name="T29" fmla="*/ 115 h 727"/>
                  <a:gd name="T30" fmla="*/ 890 w 1008"/>
                  <a:gd name="T31" fmla="*/ 78 h 727"/>
                  <a:gd name="T32" fmla="*/ 919 w 1008"/>
                  <a:gd name="T33" fmla="*/ 94 h 727"/>
                  <a:gd name="T34" fmla="*/ 994 w 1008"/>
                  <a:gd name="T35" fmla="*/ 82 h 727"/>
                  <a:gd name="T36" fmla="*/ 999 w 1008"/>
                  <a:gd name="T37" fmla="*/ 94 h 727"/>
                  <a:gd name="T38" fmla="*/ 987 w 1008"/>
                  <a:gd name="T39" fmla="*/ 120 h 727"/>
                  <a:gd name="T40" fmla="*/ 923 w 1008"/>
                  <a:gd name="T41" fmla="*/ 120 h 727"/>
                  <a:gd name="T42" fmla="*/ 784 w 1008"/>
                  <a:gd name="T43" fmla="*/ 165 h 727"/>
                  <a:gd name="T44" fmla="*/ 756 w 1008"/>
                  <a:gd name="T45" fmla="*/ 189 h 727"/>
                  <a:gd name="T46" fmla="*/ 777 w 1008"/>
                  <a:gd name="T47" fmla="*/ 250 h 727"/>
                  <a:gd name="T48" fmla="*/ 772 w 1008"/>
                  <a:gd name="T49" fmla="*/ 283 h 727"/>
                  <a:gd name="T50" fmla="*/ 730 w 1008"/>
                  <a:gd name="T51" fmla="*/ 321 h 727"/>
                  <a:gd name="T52" fmla="*/ 701 w 1008"/>
                  <a:gd name="T53" fmla="*/ 373 h 727"/>
                  <a:gd name="T54" fmla="*/ 663 w 1008"/>
                  <a:gd name="T55" fmla="*/ 390 h 727"/>
                  <a:gd name="T56" fmla="*/ 685 w 1008"/>
                  <a:gd name="T57" fmla="*/ 415 h 727"/>
                  <a:gd name="T58" fmla="*/ 633 w 1008"/>
                  <a:gd name="T59" fmla="*/ 456 h 727"/>
                  <a:gd name="T60" fmla="*/ 616 w 1008"/>
                  <a:gd name="T61" fmla="*/ 489 h 727"/>
                  <a:gd name="T62" fmla="*/ 583 w 1008"/>
                  <a:gd name="T63" fmla="*/ 562 h 727"/>
                  <a:gd name="T64" fmla="*/ 562 w 1008"/>
                  <a:gd name="T65" fmla="*/ 545 h 727"/>
                  <a:gd name="T66" fmla="*/ 491 w 1008"/>
                  <a:gd name="T67" fmla="*/ 562 h 727"/>
                  <a:gd name="T68" fmla="*/ 453 w 1008"/>
                  <a:gd name="T69" fmla="*/ 578 h 727"/>
                  <a:gd name="T70" fmla="*/ 415 w 1008"/>
                  <a:gd name="T71" fmla="*/ 612 h 727"/>
                  <a:gd name="T72" fmla="*/ 399 w 1008"/>
                  <a:gd name="T73" fmla="*/ 678 h 727"/>
                  <a:gd name="T74" fmla="*/ 314 w 1008"/>
                  <a:gd name="T75" fmla="*/ 723 h 727"/>
                  <a:gd name="T76" fmla="*/ 217 w 1008"/>
                  <a:gd name="T77" fmla="*/ 723 h 727"/>
                  <a:gd name="T78" fmla="*/ 23 w 1008"/>
                  <a:gd name="T79" fmla="*/ 694 h 727"/>
                  <a:gd name="T80" fmla="*/ 82 w 1008"/>
                  <a:gd name="T81" fmla="*/ 578 h 727"/>
                  <a:gd name="T82" fmla="*/ 23 w 1008"/>
                  <a:gd name="T83" fmla="*/ 505 h 727"/>
                  <a:gd name="T84" fmla="*/ 0 w 1008"/>
                  <a:gd name="T85" fmla="*/ 394 h 727"/>
                  <a:gd name="T86" fmla="*/ 23 w 1008"/>
                  <a:gd name="T87" fmla="*/ 338 h 727"/>
                  <a:gd name="T88" fmla="*/ 37 w 1008"/>
                  <a:gd name="T89" fmla="*/ 300 h 727"/>
                  <a:gd name="T90" fmla="*/ 54 w 1008"/>
                  <a:gd name="T91" fmla="*/ 23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08" h="727">
                    <a:moveTo>
                      <a:pt x="54" y="234"/>
                    </a:moveTo>
                    <a:lnTo>
                      <a:pt x="61" y="227"/>
                    </a:lnTo>
                    <a:lnTo>
                      <a:pt x="75" y="243"/>
                    </a:lnTo>
                    <a:lnTo>
                      <a:pt x="108" y="243"/>
                    </a:lnTo>
                    <a:lnTo>
                      <a:pt x="120" y="267"/>
                    </a:lnTo>
                    <a:lnTo>
                      <a:pt x="137" y="260"/>
                    </a:lnTo>
                    <a:lnTo>
                      <a:pt x="151" y="260"/>
                    </a:lnTo>
                    <a:lnTo>
                      <a:pt x="184" y="243"/>
                    </a:lnTo>
                    <a:lnTo>
                      <a:pt x="184" y="234"/>
                    </a:lnTo>
                    <a:lnTo>
                      <a:pt x="184" y="227"/>
                    </a:lnTo>
                    <a:lnTo>
                      <a:pt x="184" y="210"/>
                    </a:lnTo>
                    <a:lnTo>
                      <a:pt x="243" y="193"/>
                    </a:lnTo>
                    <a:lnTo>
                      <a:pt x="276" y="177"/>
                    </a:lnTo>
                    <a:lnTo>
                      <a:pt x="297" y="120"/>
                    </a:lnTo>
                    <a:lnTo>
                      <a:pt x="297" y="111"/>
                    </a:lnTo>
                    <a:lnTo>
                      <a:pt x="323" y="99"/>
                    </a:lnTo>
                    <a:lnTo>
                      <a:pt x="352" y="99"/>
                    </a:lnTo>
                    <a:lnTo>
                      <a:pt x="361" y="78"/>
                    </a:lnTo>
                    <a:lnTo>
                      <a:pt x="406" y="94"/>
                    </a:lnTo>
                    <a:lnTo>
                      <a:pt x="422" y="82"/>
                    </a:lnTo>
                    <a:lnTo>
                      <a:pt x="453" y="82"/>
                    </a:lnTo>
                    <a:lnTo>
                      <a:pt x="470" y="99"/>
                    </a:lnTo>
                    <a:lnTo>
                      <a:pt x="491" y="94"/>
                    </a:lnTo>
                    <a:lnTo>
                      <a:pt x="508" y="99"/>
                    </a:lnTo>
                    <a:lnTo>
                      <a:pt x="508" y="111"/>
                    </a:lnTo>
                    <a:lnTo>
                      <a:pt x="529" y="120"/>
                    </a:lnTo>
                    <a:lnTo>
                      <a:pt x="583" y="94"/>
                    </a:lnTo>
                    <a:lnTo>
                      <a:pt x="616" y="111"/>
                    </a:lnTo>
                    <a:lnTo>
                      <a:pt x="621" y="99"/>
                    </a:lnTo>
                    <a:lnTo>
                      <a:pt x="621" y="82"/>
                    </a:lnTo>
                    <a:lnTo>
                      <a:pt x="633" y="66"/>
                    </a:lnTo>
                    <a:lnTo>
                      <a:pt x="654" y="66"/>
                    </a:lnTo>
                    <a:lnTo>
                      <a:pt x="675" y="78"/>
                    </a:lnTo>
                    <a:lnTo>
                      <a:pt x="685" y="61"/>
                    </a:lnTo>
                    <a:lnTo>
                      <a:pt x="675" y="38"/>
                    </a:lnTo>
                    <a:lnTo>
                      <a:pt x="718" y="0"/>
                    </a:lnTo>
                    <a:lnTo>
                      <a:pt x="730" y="0"/>
                    </a:lnTo>
                    <a:lnTo>
                      <a:pt x="760" y="9"/>
                    </a:lnTo>
                    <a:lnTo>
                      <a:pt x="756" y="42"/>
                    </a:lnTo>
                    <a:lnTo>
                      <a:pt x="777" y="42"/>
                    </a:lnTo>
                    <a:lnTo>
                      <a:pt x="760" y="111"/>
                    </a:lnTo>
                    <a:lnTo>
                      <a:pt x="777" y="139"/>
                    </a:lnTo>
                    <a:lnTo>
                      <a:pt x="784" y="149"/>
                    </a:lnTo>
                    <a:lnTo>
                      <a:pt x="793" y="139"/>
                    </a:lnTo>
                    <a:lnTo>
                      <a:pt x="826" y="115"/>
                    </a:lnTo>
                    <a:lnTo>
                      <a:pt x="852" y="115"/>
                    </a:lnTo>
                    <a:lnTo>
                      <a:pt x="864" y="99"/>
                    </a:lnTo>
                    <a:lnTo>
                      <a:pt x="890" y="78"/>
                    </a:lnTo>
                    <a:lnTo>
                      <a:pt x="933" y="82"/>
                    </a:lnTo>
                    <a:lnTo>
                      <a:pt x="933" y="94"/>
                    </a:lnTo>
                    <a:lnTo>
                      <a:pt x="919" y="94"/>
                    </a:lnTo>
                    <a:lnTo>
                      <a:pt x="923" y="99"/>
                    </a:lnTo>
                    <a:lnTo>
                      <a:pt x="961" y="82"/>
                    </a:lnTo>
                    <a:lnTo>
                      <a:pt x="994" y="82"/>
                    </a:lnTo>
                    <a:lnTo>
                      <a:pt x="1008" y="99"/>
                    </a:lnTo>
                    <a:lnTo>
                      <a:pt x="999" y="99"/>
                    </a:lnTo>
                    <a:lnTo>
                      <a:pt x="999" y="94"/>
                    </a:lnTo>
                    <a:lnTo>
                      <a:pt x="971" y="99"/>
                    </a:lnTo>
                    <a:lnTo>
                      <a:pt x="987" y="115"/>
                    </a:lnTo>
                    <a:lnTo>
                      <a:pt x="987" y="120"/>
                    </a:lnTo>
                    <a:lnTo>
                      <a:pt x="978" y="115"/>
                    </a:lnTo>
                    <a:lnTo>
                      <a:pt x="945" y="132"/>
                    </a:lnTo>
                    <a:lnTo>
                      <a:pt x="923" y="120"/>
                    </a:lnTo>
                    <a:lnTo>
                      <a:pt x="848" y="132"/>
                    </a:lnTo>
                    <a:lnTo>
                      <a:pt x="815" y="139"/>
                    </a:lnTo>
                    <a:lnTo>
                      <a:pt x="784" y="165"/>
                    </a:lnTo>
                    <a:lnTo>
                      <a:pt x="777" y="165"/>
                    </a:lnTo>
                    <a:lnTo>
                      <a:pt x="777" y="172"/>
                    </a:lnTo>
                    <a:lnTo>
                      <a:pt x="756" y="189"/>
                    </a:lnTo>
                    <a:lnTo>
                      <a:pt x="746" y="193"/>
                    </a:lnTo>
                    <a:lnTo>
                      <a:pt x="772" y="210"/>
                    </a:lnTo>
                    <a:lnTo>
                      <a:pt x="777" y="250"/>
                    </a:lnTo>
                    <a:lnTo>
                      <a:pt x="772" y="260"/>
                    </a:lnTo>
                    <a:lnTo>
                      <a:pt x="777" y="267"/>
                    </a:lnTo>
                    <a:lnTo>
                      <a:pt x="772" y="283"/>
                    </a:lnTo>
                    <a:lnTo>
                      <a:pt x="739" y="304"/>
                    </a:lnTo>
                    <a:lnTo>
                      <a:pt x="739" y="316"/>
                    </a:lnTo>
                    <a:lnTo>
                      <a:pt x="730" y="321"/>
                    </a:lnTo>
                    <a:lnTo>
                      <a:pt x="746" y="338"/>
                    </a:lnTo>
                    <a:lnTo>
                      <a:pt x="739" y="361"/>
                    </a:lnTo>
                    <a:lnTo>
                      <a:pt x="701" y="373"/>
                    </a:lnTo>
                    <a:lnTo>
                      <a:pt x="654" y="361"/>
                    </a:lnTo>
                    <a:lnTo>
                      <a:pt x="663" y="378"/>
                    </a:lnTo>
                    <a:lnTo>
                      <a:pt x="663" y="390"/>
                    </a:lnTo>
                    <a:lnTo>
                      <a:pt x="675" y="390"/>
                    </a:lnTo>
                    <a:lnTo>
                      <a:pt x="675" y="399"/>
                    </a:lnTo>
                    <a:lnTo>
                      <a:pt x="685" y="415"/>
                    </a:lnTo>
                    <a:lnTo>
                      <a:pt x="671" y="434"/>
                    </a:lnTo>
                    <a:lnTo>
                      <a:pt x="633" y="444"/>
                    </a:lnTo>
                    <a:lnTo>
                      <a:pt x="633" y="456"/>
                    </a:lnTo>
                    <a:lnTo>
                      <a:pt x="621" y="467"/>
                    </a:lnTo>
                    <a:lnTo>
                      <a:pt x="621" y="472"/>
                    </a:lnTo>
                    <a:lnTo>
                      <a:pt x="616" y="489"/>
                    </a:lnTo>
                    <a:lnTo>
                      <a:pt x="616" y="529"/>
                    </a:lnTo>
                    <a:lnTo>
                      <a:pt x="600" y="555"/>
                    </a:lnTo>
                    <a:lnTo>
                      <a:pt x="583" y="562"/>
                    </a:lnTo>
                    <a:lnTo>
                      <a:pt x="562" y="538"/>
                    </a:lnTo>
                    <a:lnTo>
                      <a:pt x="557" y="545"/>
                    </a:lnTo>
                    <a:lnTo>
                      <a:pt x="562" y="545"/>
                    </a:lnTo>
                    <a:lnTo>
                      <a:pt x="541" y="538"/>
                    </a:lnTo>
                    <a:lnTo>
                      <a:pt x="524" y="555"/>
                    </a:lnTo>
                    <a:lnTo>
                      <a:pt x="491" y="562"/>
                    </a:lnTo>
                    <a:lnTo>
                      <a:pt x="508" y="578"/>
                    </a:lnTo>
                    <a:lnTo>
                      <a:pt x="474" y="583"/>
                    </a:lnTo>
                    <a:lnTo>
                      <a:pt x="453" y="578"/>
                    </a:lnTo>
                    <a:lnTo>
                      <a:pt x="437" y="583"/>
                    </a:lnTo>
                    <a:lnTo>
                      <a:pt x="422" y="612"/>
                    </a:lnTo>
                    <a:lnTo>
                      <a:pt x="415" y="612"/>
                    </a:lnTo>
                    <a:lnTo>
                      <a:pt x="406" y="640"/>
                    </a:lnTo>
                    <a:lnTo>
                      <a:pt x="406" y="668"/>
                    </a:lnTo>
                    <a:lnTo>
                      <a:pt x="399" y="678"/>
                    </a:lnTo>
                    <a:lnTo>
                      <a:pt x="406" y="689"/>
                    </a:lnTo>
                    <a:lnTo>
                      <a:pt x="399" y="694"/>
                    </a:lnTo>
                    <a:lnTo>
                      <a:pt x="314" y="723"/>
                    </a:lnTo>
                    <a:lnTo>
                      <a:pt x="271" y="723"/>
                    </a:lnTo>
                    <a:lnTo>
                      <a:pt x="243" y="727"/>
                    </a:lnTo>
                    <a:lnTo>
                      <a:pt x="217" y="723"/>
                    </a:lnTo>
                    <a:lnTo>
                      <a:pt x="189" y="727"/>
                    </a:lnTo>
                    <a:lnTo>
                      <a:pt x="137" y="727"/>
                    </a:lnTo>
                    <a:lnTo>
                      <a:pt x="23" y="694"/>
                    </a:lnTo>
                    <a:lnTo>
                      <a:pt x="82" y="623"/>
                    </a:lnTo>
                    <a:lnTo>
                      <a:pt x="92" y="600"/>
                    </a:lnTo>
                    <a:lnTo>
                      <a:pt x="82" y="578"/>
                    </a:lnTo>
                    <a:lnTo>
                      <a:pt x="23" y="567"/>
                    </a:lnTo>
                    <a:lnTo>
                      <a:pt x="23" y="529"/>
                    </a:lnTo>
                    <a:lnTo>
                      <a:pt x="23" y="505"/>
                    </a:lnTo>
                    <a:lnTo>
                      <a:pt x="7" y="434"/>
                    </a:lnTo>
                    <a:lnTo>
                      <a:pt x="28" y="399"/>
                    </a:lnTo>
                    <a:lnTo>
                      <a:pt x="0" y="394"/>
                    </a:lnTo>
                    <a:lnTo>
                      <a:pt x="0" y="354"/>
                    </a:lnTo>
                    <a:lnTo>
                      <a:pt x="7" y="338"/>
                    </a:lnTo>
                    <a:lnTo>
                      <a:pt x="23" y="338"/>
                    </a:lnTo>
                    <a:lnTo>
                      <a:pt x="11" y="321"/>
                    </a:lnTo>
                    <a:lnTo>
                      <a:pt x="28" y="316"/>
                    </a:lnTo>
                    <a:lnTo>
                      <a:pt x="37" y="300"/>
                    </a:lnTo>
                    <a:lnTo>
                      <a:pt x="37" y="260"/>
                    </a:lnTo>
                    <a:lnTo>
                      <a:pt x="54" y="234"/>
                    </a:lnTo>
                    <a:lnTo>
                      <a:pt x="54" y="234"/>
                    </a:lnTo>
                    <a:lnTo>
                      <a:pt x="54" y="23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08" name="Freeform 388">
                <a:extLst>
                  <a:ext uri="{FF2B5EF4-FFF2-40B4-BE49-F238E27FC236}">
                    <a16:creationId xmlns:a16="http://schemas.microsoft.com/office/drawing/2014/main" id="{B0D91B53-412B-4ADC-A8F6-EFBC0717F33A}"/>
                  </a:ext>
                </a:extLst>
              </p:cNvPr>
              <p:cNvSpPr>
                <a:spLocks noEditPoints="1"/>
              </p:cNvSpPr>
              <p:nvPr/>
            </p:nvSpPr>
            <p:spPr bwMode="gray">
              <a:xfrm>
                <a:off x="9987898" y="4363968"/>
                <a:ext cx="1329283" cy="1509351"/>
              </a:xfrm>
              <a:custGeom>
                <a:avLst/>
                <a:gdLst>
                  <a:gd name="T0" fmla="*/ 2050 w 3229"/>
                  <a:gd name="T1" fmla="*/ 41 h 3666"/>
                  <a:gd name="T2" fmla="*/ 2239 w 3229"/>
                  <a:gd name="T3" fmla="*/ 2190 h 3666"/>
                  <a:gd name="T4" fmla="*/ 1939 w 3229"/>
                  <a:gd name="T5" fmla="*/ 2152 h 3666"/>
                  <a:gd name="T6" fmla="*/ 1835 w 3229"/>
                  <a:gd name="T7" fmla="*/ 1930 h 3666"/>
                  <a:gd name="T8" fmla="*/ 1712 w 3229"/>
                  <a:gd name="T9" fmla="*/ 1902 h 3666"/>
                  <a:gd name="T10" fmla="*/ 1603 w 3229"/>
                  <a:gd name="T11" fmla="*/ 1885 h 3666"/>
                  <a:gd name="T12" fmla="*/ 1495 w 3229"/>
                  <a:gd name="T13" fmla="*/ 1746 h 3666"/>
                  <a:gd name="T14" fmla="*/ 1204 w 3229"/>
                  <a:gd name="T15" fmla="*/ 1630 h 3666"/>
                  <a:gd name="T16" fmla="*/ 621 w 3229"/>
                  <a:gd name="T17" fmla="*/ 1815 h 3666"/>
                  <a:gd name="T18" fmla="*/ 309 w 3229"/>
                  <a:gd name="T19" fmla="*/ 1902 h 3666"/>
                  <a:gd name="T20" fmla="*/ 196 w 3229"/>
                  <a:gd name="T21" fmla="*/ 1647 h 3666"/>
                  <a:gd name="T22" fmla="*/ 49 w 3229"/>
                  <a:gd name="T23" fmla="*/ 1243 h 3666"/>
                  <a:gd name="T24" fmla="*/ 33 w 3229"/>
                  <a:gd name="T25" fmla="*/ 1071 h 3666"/>
                  <a:gd name="T26" fmla="*/ 285 w 3229"/>
                  <a:gd name="T27" fmla="*/ 782 h 3666"/>
                  <a:gd name="T28" fmla="*/ 649 w 3229"/>
                  <a:gd name="T29" fmla="*/ 527 h 3666"/>
                  <a:gd name="T30" fmla="*/ 751 w 3229"/>
                  <a:gd name="T31" fmla="*/ 482 h 3666"/>
                  <a:gd name="T32" fmla="*/ 836 w 3229"/>
                  <a:gd name="T33" fmla="*/ 466 h 3666"/>
                  <a:gd name="T34" fmla="*/ 848 w 3229"/>
                  <a:gd name="T35" fmla="*/ 388 h 3666"/>
                  <a:gd name="T36" fmla="*/ 890 w 3229"/>
                  <a:gd name="T37" fmla="*/ 305 h 3666"/>
                  <a:gd name="T38" fmla="*/ 956 w 3229"/>
                  <a:gd name="T39" fmla="*/ 305 h 3666"/>
                  <a:gd name="T40" fmla="*/ 1091 w 3229"/>
                  <a:gd name="T41" fmla="*/ 362 h 3666"/>
                  <a:gd name="T42" fmla="*/ 1171 w 3229"/>
                  <a:gd name="T43" fmla="*/ 345 h 3666"/>
                  <a:gd name="T44" fmla="*/ 1226 w 3229"/>
                  <a:gd name="T45" fmla="*/ 189 h 3666"/>
                  <a:gd name="T46" fmla="*/ 1365 w 3229"/>
                  <a:gd name="T47" fmla="*/ 156 h 3666"/>
                  <a:gd name="T48" fmla="*/ 1419 w 3229"/>
                  <a:gd name="T49" fmla="*/ 123 h 3666"/>
                  <a:gd name="T50" fmla="*/ 1613 w 3229"/>
                  <a:gd name="T51" fmla="*/ 123 h 3666"/>
                  <a:gd name="T52" fmla="*/ 1674 w 3229"/>
                  <a:gd name="T53" fmla="*/ 156 h 3666"/>
                  <a:gd name="T54" fmla="*/ 1603 w 3229"/>
                  <a:gd name="T55" fmla="*/ 305 h 3666"/>
                  <a:gd name="T56" fmla="*/ 1953 w 3229"/>
                  <a:gd name="T57" fmla="*/ 544 h 3666"/>
                  <a:gd name="T58" fmla="*/ 2012 w 3229"/>
                  <a:gd name="T59" fmla="*/ 178 h 3666"/>
                  <a:gd name="T60" fmla="*/ 2121 w 3229"/>
                  <a:gd name="T61" fmla="*/ 140 h 3666"/>
                  <a:gd name="T62" fmla="*/ 2267 w 3229"/>
                  <a:gd name="T63" fmla="*/ 355 h 3666"/>
                  <a:gd name="T64" fmla="*/ 2414 w 3229"/>
                  <a:gd name="T65" fmla="*/ 676 h 3666"/>
                  <a:gd name="T66" fmla="*/ 2548 w 3229"/>
                  <a:gd name="T67" fmla="*/ 832 h 3666"/>
                  <a:gd name="T68" fmla="*/ 2671 w 3229"/>
                  <a:gd name="T69" fmla="*/ 1004 h 3666"/>
                  <a:gd name="T70" fmla="*/ 2822 w 3229"/>
                  <a:gd name="T71" fmla="*/ 1304 h 3666"/>
                  <a:gd name="T72" fmla="*/ 2700 w 3229"/>
                  <a:gd name="T73" fmla="*/ 1774 h 3666"/>
                  <a:gd name="T74" fmla="*/ 2603 w 3229"/>
                  <a:gd name="T75" fmla="*/ 2079 h 3666"/>
                  <a:gd name="T76" fmla="*/ 1667 w 3229"/>
                  <a:gd name="T77" fmla="*/ 67 h 3666"/>
                  <a:gd name="T78" fmla="*/ 1280 w 3229"/>
                  <a:gd name="T79" fmla="*/ 100 h 3666"/>
                  <a:gd name="T80" fmla="*/ 1226 w 3229"/>
                  <a:gd name="T81" fmla="*/ 133 h 3666"/>
                  <a:gd name="T82" fmla="*/ 1684 w 3229"/>
                  <a:gd name="T83" fmla="*/ 300 h 3666"/>
                  <a:gd name="T84" fmla="*/ 1629 w 3229"/>
                  <a:gd name="T85" fmla="*/ 279 h 3666"/>
                  <a:gd name="T86" fmla="*/ 810 w 3229"/>
                  <a:gd name="T87" fmla="*/ 378 h 3666"/>
                  <a:gd name="T88" fmla="*/ 1689 w 3229"/>
                  <a:gd name="T89" fmla="*/ 428 h 3666"/>
                  <a:gd name="T90" fmla="*/ 1835 w 3229"/>
                  <a:gd name="T91" fmla="*/ 489 h 3666"/>
                  <a:gd name="T92" fmla="*/ 2338 w 3229"/>
                  <a:gd name="T93" fmla="*/ 622 h 3666"/>
                  <a:gd name="T94" fmla="*/ 2520 w 3229"/>
                  <a:gd name="T95" fmla="*/ 745 h 3666"/>
                  <a:gd name="T96" fmla="*/ 2629 w 3229"/>
                  <a:gd name="T97" fmla="*/ 910 h 3666"/>
                  <a:gd name="T98" fmla="*/ 2834 w 3229"/>
                  <a:gd name="T99" fmla="*/ 1115 h 3666"/>
                  <a:gd name="T100" fmla="*/ 2839 w 3229"/>
                  <a:gd name="T101" fmla="*/ 1297 h 3666"/>
                  <a:gd name="T102" fmla="*/ 1651 w 3229"/>
                  <a:gd name="T103" fmla="*/ 1980 h 3666"/>
                  <a:gd name="T104" fmla="*/ 2267 w 3229"/>
                  <a:gd name="T105" fmla="*/ 2202 h 3666"/>
                  <a:gd name="T106" fmla="*/ 2187 w 3229"/>
                  <a:gd name="T107" fmla="*/ 2313 h 3666"/>
                  <a:gd name="T108" fmla="*/ 2461 w 3229"/>
                  <a:gd name="T109" fmla="*/ 2363 h 3666"/>
                  <a:gd name="T110" fmla="*/ 2466 w 3229"/>
                  <a:gd name="T111" fmla="*/ 2363 h 3666"/>
                  <a:gd name="T112" fmla="*/ 2305 w 3229"/>
                  <a:gd name="T113" fmla="*/ 2606 h 3666"/>
                  <a:gd name="T114" fmla="*/ 2385 w 3229"/>
                  <a:gd name="T115" fmla="*/ 2417 h 3666"/>
                  <a:gd name="T116" fmla="*/ 2456 w 3229"/>
                  <a:gd name="T117" fmla="*/ 2596 h 3666"/>
                  <a:gd name="T118" fmla="*/ 2390 w 3229"/>
                  <a:gd name="T119" fmla="*/ 2606 h 3666"/>
                  <a:gd name="T120" fmla="*/ 2414 w 3229"/>
                  <a:gd name="T121" fmla="*/ 2596 h 3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29" h="3666">
                    <a:moveTo>
                      <a:pt x="2045" y="12"/>
                    </a:moveTo>
                    <a:lnTo>
                      <a:pt x="2045" y="5"/>
                    </a:lnTo>
                    <a:lnTo>
                      <a:pt x="2045" y="0"/>
                    </a:lnTo>
                    <a:lnTo>
                      <a:pt x="2045" y="12"/>
                    </a:lnTo>
                    <a:lnTo>
                      <a:pt x="2045" y="12"/>
                    </a:lnTo>
                    <a:lnTo>
                      <a:pt x="2045" y="12"/>
                    </a:lnTo>
                    <a:close/>
                    <a:moveTo>
                      <a:pt x="2050" y="12"/>
                    </a:moveTo>
                    <a:lnTo>
                      <a:pt x="2050" y="5"/>
                    </a:lnTo>
                    <a:lnTo>
                      <a:pt x="2062" y="12"/>
                    </a:lnTo>
                    <a:lnTo>
                      <a:pt x="2050" y="12"/>
                    </a:lnTo>
                    <a:lnTo>
                      <a:pt x="2050" y="12"/>
                    </a:lnTo>
                    <a:lnTo>
                      <a:pt x="2050" y="12"/>
                    </a:lnTo>
                    <a:close/>
                    <a:moveTo>
                      <a:pt x="2050" y="57"/>
                    </a:moveTo>
                    <a:lnTo>
                      <a:pt x="2045" y="45"/>
                    </a:lnTo>
                    <a:lnTo>
                      <a:pt x="2050" y="41"/>
                    </a:lnTo>
                    <a:lnTo>
                      <a:pt x="2050" y="45"/>
                    </a:lnTo>
                    <a:lnTo>
                      <a:pt x="2050" y="57"/>
                    </a:lnTo>
                    <a:lnTo>
                      <a:pt x="2050" y="57"/>
                    </a:lnTo>
                    <a:lnTo>
                      <a:pt x="2050" y="57"/>
                    </a:lnTo>
                    <a:close/>
                    <a:moveTo>
                      <a:pt x="2348" y="2247"/>
                    </a:moveTo>
                    <a:lnTo>
                      <a:pt x="2331" y="2219"/>
                    </a:lnTo>
                    <a:lnTo>
                      <a:pt x="2305" y="2223"/>
                    </a:lnTo>
                    <a:lnTo>
                      <a:pt x="2305" y="2202"/>
                    </a:lnTo>
                    <a:lnTo>
                      <a:pt x="2293" y="2207"/>
                    </a:lnTo>
                    <a:lnTo>
                      <a:pt x="2277" y="2190"/>
                    </a:lnTo>
                    <a:lnTo>
                      <a:pt x="2284" y="2181"/>
                    </a:lnTo>
                    <a:lnTo>
                      <a:pt x="2277" y="2169"/>
                    </a:lnTo>
                    <a:lnTo>
                      <a:pt x="2267" y="2169"/>
                    </a:lnTo>
                    <a:lnTo>
                      <a:pt x="2251" y="2190"/>
                    </a:lnTo>
                    <a:lnTo>
                      <a:pt x="2239" y="2190"/>
                    </a:lnTo>
                    <a:lnTo>
                      <a:pt x="2229" y="2181"/>
                    </a:lnTo>
                    <a:lnTo>
                      <a:pt x="2246" y="2181"/>
                    </a:lnTo>
                    <a:lnTo>
                      <a:pt x="2251" y="2164"/>
                    </a:lnTo>
                    <a:lnTo>
                      <a:pt x="2246" y="2136"/>
                    </a:lnTo>
                    <a:lnTo>
                      <a:pt x="2196" y="2164"/>
                    </a:lnTo>
                    <a:lnTo>
                      <a:pt x="2225" y="2164"/>
                    </a:lnTo>
                    <a:lnTo>
                      <a:pt x="2225" y="2181"/>
                    </a:lnTo>
                    <a:lnTo>
                      <a:pt x="2196" y="2181"/>
                    </a:lnTo>
                    <a:lnTo>
                      <a:pt x="2142" y="2223"/>
                    </a:lnTo>
                    <a:lnTo>
                      <a:pt x="2062" y="2181"/>
                    </a:lnTo>
                    <a:lnTo>
                      <a:pt x="2045" y="2185"/>
                    </a:lnTo>
                    <a:lnTo>
                      <a:pt x="2024" y="2169"/>
                    </a:lnTo>
                    <a:lnTo>
                      <a:pt x="2007" y="2185"/>
                    </a:lnTo>
                    <a:lnTo>
                      <a:pt x="1977" y="2164"/>
                    </a:lnTo>
                    <a:lnTo>
                      <a:pt x="1939" y="2152"/>
                    </a:lnTo>
                    <a:lnTo>
                      <a:pt x="1873" y="2079"/>
                    </a:lnTo>
                    <a:lnTo>
                      <a:pt x="1873" y="2058"/>
                    </a:lnTo>
                    <a:lnTo>
                      <a:pt x="1885" y="2053"/>
                    </a:lnTo>
                    <a:lnTo>
                      <a:pt x="1885" y="2025"/>
                    </a:lnTo>
                    <a:lnTo>
                      <a:pt x="1873" y="2001"/>
                    </a:lnTo>
                    <a:lnTo>
                      <a:pt x="1830" y="1959"/>
                    </a:lnTo>
                    <a:lnTo>
                      <a:pt x="1852" y="1968"/>
                    </a:lnTo>
                    <a:lnTo>
                      <a:pt x="1873" y="2001"/>
                    </a:lnTo>
                    <a:lnTo>
                      <a:pt x="1868" y="1985"/>
                    </a:lnTo>
                    <a:lnTo>
                      <a:pt x="1835" y="1959"/>
                    </a:lnTo>
                    <a:lnTo>
                      <a:pt x="1835" y="1942"/>
                    </a:lnTo>
                    <a:lnTo>
                      <a:pt x="1847" y="1959"/>
                    </a:lnTo>
                    <a:lnTo>
                      <a:pt x="1852" y="1959"/>
                    </a:lnTo>
                    <a:lnTo>
                      <a:pt x="1852" y="1930"/>
                    </a:lnTo>
                    <a:lnTo>
                      <a:pt x="1835" y="1930"/>
                    </a:lnTo>
                    <a:lnTo>
                      <a:pt x="1818" y="1942"/>
                    </a:lnTo>
                    <a:lnTo>
                      <a:pt x="1830" y="1947"/>
                    </a:lnTo>
                    <a:lnTo>
                      <a:pt x="1809" y="1947"/>
                    </a:lnTo>
                    <a:lnTo>
                      <a:pt x="1792" y="1959"/>
                    </a:lnTo>
                    <a:lnTo>
                      <a:pt x="1759" y="1959"/>
                    </a:lnTo>
                    <a:lnTo>
                      <a:pt x="1792" y="1930"/>
                    </a:lnTo>
                    <a:lnTo>
                      <a:pt x="1792" y="1909"/>
                    </a:lnTo>
                    <a:lnTo>
                      <a:pt x="1792" y="1874"/>
                    </a:lnTo>
                    <a:lnTo>
                      <a:pt x="1759" y="1831"/>
                    </a:lnTo>
                    <a:lnTo>
                      <a:pt x="1755" y="1857"/>
                    </a:lnTo>
                    <a:lnTo>
                      <a:pt x="1738" y="1914"/>
                    </a:lnTo>
                    <a:lnTo>
                      <a:pt x="1722" y="1909"/>
                    </a:lnTo>
                    <a:lnTo>
                      <a:pt x="1674" y="1926"/>
                    </a:lnTo>
                    <a:lnTo>
                      <a:pt x="1689" y="1893"/>
                    </a:lnTo>
                    <a:lnTo>
                      <a:pt x="1712" y="1902"/>
                    </a:lnTo>
                    <a:lnTo>
                      <a:pt x="1722" y="1874"/>
                    </a:lnTo>
                    <a:lnTo>
                      <a:pt x="1722" y="1836"/>
                    </a:lnTo>
                    <a:lnTo>
                      <a:pt x="1726" y="1815"/>
                    </a:lnTo>
                    <a:lnTo>
                      <a:pt x="1755" y="1791"/>
                    </a:lnTo>
                    <a:lnTo>
                      <a:pt x="1743" y="1765"/>
                    </a:lnTo>
                    <a:lnTo>
                      <a:pt x="1759" y="1746"/>
                    </a:lnTo>
                    <a:lnTo>
                      <a:pt x="1738" y="1704"/>
                    </a:lnTo>
                    <a:lnTo>
                      <a:pt x="1743" y="1741"/>
                    </a:lnTo>
                    <a:lnTo>
                      <a:pt x="1722" y="1746"/>
                    </a:lnTo>
                    <a:lnTo>
                      <a:pt x="1700" y="1798"/>
                    </a:lnTo>
                    <a:lnTo>
                      <a:pt x="1684" y="1798"/>
                    </a:lnTo>
                    <a:lnTo>
                      <a:pt x="1674" y="1803"/>
                    </a:lnTo>
                    <a:lnTo>
                      <a:pt x="1646" y="1819"/>
                    </a:lnTo>
                    <a:lnTo>
                      <a:pt x="1613" y="1869"/>
                    </a:lnTo>
                    <a:lnTo>
                      <a:pt x="1603" y="1885"/>
                    </a:lnTo>
                    <a:lnTo>
                      <a:pt x="1613" y="1885"/>
                    </a:lnTo>
                    <a:lnTo>
                      <a:pt x="1613" y="1902"/>
                    </a:lnTo>
                    <a:lnTo>
                      <a:pt x="1599" y="1893"/>
                    </a:lnTo>
                    <a:lnTo>
                      <a:pt x="1592" y="1902"/>
                    </a:lnTo>
                    <a:lnTo>
                      <a:pt x="1566" y="1869"/>
                    </a:lnTo>
                    <a:lnTo>
                      <a:pt x="1549" y="1869"/>
                    </a:lnTo>
                    <a:lnTo>
                      <a:pt x="1561" y="1852"/>
                    </a:lnTo>
                    <a:lnTo>
                      <a:pt x="1575" y="1874"/>
                    </a:lnTo>
                    <a:lnTo>
                      <a:pt x="1582" y="1869"/>
                    </a:lnTo>
                    <a:lnTo>
                      <a:pt x="1575" y="1869"/>
                    </a:lnTo>
                    <a:lnTo>
                      <a:pt x="1566" y="1819"/>
                    </a:lnTo>
                    <a:lnTo>
                      <a:pt x="1537" y="1791"/>
                    </a:lnTo>
                    <a:lnTo>
                      <a:pt x="1537" y="1782"/>
                    </a:lnTo>
                    <a:lnTo>
                      <a:pt x="1528" y="1758"/>
                    </a:lnTo>
                    <a:lnTo>
                      <a:pt x="1495" y="1746"/>
                    </a:lnTo>
                    <a:lnTo>
                      <a:pt x="1485" y="1720"/>
                    </a:lnTo>
                    <a:lnTo>
                      <a:pt x="1490" y="1725"/>
                    </a:lnTo>
                    <a:lnTo>
                      <a:pt x="1495" y="1720"/>
                    </a:lnTo>
                    <a:lnTo>
                      <a:pt x="1490" y="1704"/>
                    </a:lnTo>
                    <a:lnTo>
                      <a:pt x="1469" y="1704"/>
                    </a:lnTo>
                    <a:lnTo>
                      <a:pt x="1474" y="1692"/>
                    </a:lnTo>
                    <a:lnTo>
                      <a:pt x="1452" y="1670"/>
                    </a:lnTo>
                    <a:lnTo>
                      <a:pt x="1436" y="1680"/>
                    </a:lnTo>
                    <a:lnTo>
                      <a:pt x="1415" y="1680"/>
                    </a:lnTo>
                    <a:lnTo>
                      <a:pt x="1386" y="1654"/>
                    </a:lnTo>
                    <a:lnTo>
                      <a:pt x="1351" y="1663"/>
                    </a:lnTo>
                    <a:lnTo>
                      <a:pt x="1322" y="1637"/>
                    </a:lnTo>
                    <a:lnTo>
                      <a:pt x="1275" y="1614"/>
                    </a:lnTo>
                    <a:lnTo>
                      <a:pt x="1252" y="1630"/>
                    </a:lnTo>
                    <a:lnTo>
                      <a:pt x="1204" y="1630"/>
                    </a:lnTo>
                    <a:lnTo>
                      <a:pt x="1129" y="1637"/>
                    </a:lnTo>
                    <a:lnTo>
                      <a:pt x="1058" y="1670"/>
                    </a:lnTo>
                    <a:lnTo>
                      <a:pt x="1003" y="1687"/>
                    </a:lnTo>
                    <a:lnTo>
                      <a:pt x="911" y="1680"/>
                    </a:lnTo>
                    <a:lnTo>
                      <a:pt x="826" y="1737"/>
                    </a:lnTo>
                    <a:lnTo>
                      <a:pt x="793" y="1741"/>
                    </a:lnTo>
                    <a:lnTo>
                      <a:pt x="784" y="1746"/>
                    </a:lnTo>
                    <a:lnTo>
                      <a:pt x="772" y="1791"/>
                    </a:lnTo>
                    <a:lnTo>
                      <a:pt x="755" y="1803"/>
                    </a:lnTo>
                    <a:lnTo>
                      <a:pt x="718" y="1819"/>
                    </a:lnTo>
                    <a:lnTo>
                      <a:pt x="701" y="1815"/>
                    </a:lnTo>
                    <a:lnTo>
                      <a:pt x="659" y="1815"/>
                    </a:lnTo>
                    <a:lnTo>
                      <a:pt x="642" y="1819"/>
                    </a:lnTo>
                    <a:lnTo>
                      <a:pt x="633" y="1803"/>
                    </a:lnTo>
                    <a:lnTo>
                      <a:pt x="621" y="1815"/>
                    </a:lnTo>
                    <a:lnTo>
                      <a:pt x="595" y="1803"/>
                    </a:lnTo>
                    <a:lnTo>
                      <a:pt x="557" y="1815"/>
                    </a:lnTo>
                    <a:lnTo>
                      <a:pt x="524" y="1819"/>
                    </a:lnTo>
                    <a:lnTo>
                      <a:pt x="498" y="1815"/>
                    </a:lnTo>
                    <a:lnTo>
                      <a:pt x="465" y="1831"/>
                    </a:lnTo>
                    <a:lnTo>
                      <a:pt x="448" y="1857"/>
                    </a:lnTo>
                    <a:lnTo>
                      <a:pt x="444" y="1857"/>
                    </a:lnTo>
                    <a:lnTo>
                      <a:pt x="415" y="1857"/>
                    </a:lnTo>
                    <a:lnTo>
                      <a:pt x="373" y="1893"/>
                    </a:lnTo>
                    <a:lnTo>
                      <a:pt x="340" y="1909"/>
                    </a:lnTo>
                    <a:lnTo>
                      <a:pt x="356" y="1909"/>
                    </a:lnTo>
                    <a:lnTo>
                      <a:pt x="352" y="1914"/>
                    </a:lnTo>
                    <a:lnTo>
                      <a:pt x="335" y="1909"/>
                    </a:lnTo>
                    <a:lnTo>
                      <a:pt x="323" y="1914"/>
                    </a:lnTo>
                    <a:lnTo>
                      <a:pt x="309" y="1902"/>
                    </a:lnTo>
                    <a:lnTo>
                      <a:pt x="255" y="1909"/>
                    </a:lnTo>
                    <a:lnTo>
                      <a:pt x="210" y="1885"/>
                    </a:lnTo>
                    <a:lnTo>
                      <a:pt x="189" y="1857"/>
                    </a:lnTo>
                    <a:lnTo>
                      <a:pt x="163" y="1848"/>
                    </a:lnTo>
                    <a:lnTo>
                      <a:pt x="158" y="1852"/>
                    </a:lnTo>
                    <a:lnTo>
                      <a:pt x="146" y="1848"/>
                    </a:lnTo>
                    <a:lnTo>
                      <a:pt x="141" y="1782"/>
                    </a:lnTo>
                    <a:lnTo>
                      <a:pt x="158" y="1791"/>
                    </a:lnTo>
                    <a:lnTo>
                      <a:pt x="172" y="1791"/>
                    </a:lnTo>
                    <a:lnTo>
                      <a:pt x="196" y="1765"/>
                    </a:lnTo>
                    <a:lnTo>
                      <a:pt x="189" y="1720"/>
                    </a:lnTo>
                    <a:lnTo>
                      <a:pt x="196" y="1704"/>
                    </a:lnTo>
                    <a:lnTo>
                      <a:pt x="189" y="1708"/>
                    </a:lnTo>
                    <a:lnTo>
                      <a:pt x="196" y="1725"/>
                    </a:lnTo>
                    <a:lnTo>
                      <a:pt x="196" y="1647"/>
                    </a:lnTo>
                    <a:lnTo>
                      <a:pt x="146" y="1543"/>
                    </a:lnTo>
                    <a:lnTo>
                      <a:pt x="141" y="1503"/>
                    </a:lnTo>
                    <a:lnTo>
                      <a:pt x="141" y="1465"/>
                    </a:lnTo>
                    <a:lnTo>
                      <a:pt x="134" y="1441"/>
                    </a:lnTo>
                    <a:lnTo>
                      <a:pt x="120" y="1408"/>
                    </a:lnTo>
                    <a:lnTo>
                      <a:pt x="108" y="1387"/>
                    </a:lnTo>
                    <a:lnTo>
                      <a:pt x="87" y="1354"/>
                    </a:lnTo>
                    <a:lnTo>
                      <a:pt x="87" y="1314"/>
                    </a:lnTo>
                    <a:lnTo>
                      <a:pt x="70" y="1281"/>
                    </a:lnTo>
                    <a:lnTo>
                      <a:pt x="16" y="1210"/>
                    </a:lnTo>
                    <a:lnTo>
                      <a:pt x="28" y="1193"/>
                    </a:lnTo>
                    <a:lnTo>
                      <a:pt x="28" y="1210"/>
                    </a:lnTo>
                    <a:lnTo>
                      <a:pt x="33" y="1203"/>
                    </a:lnTo>
                    <a:lnTo>
                      <a:pt x="37" y="1210"/>
                    </a:lnTo>
                    <a:lnTo>
                      <a:pt x="49" y="1243"/>
                    </a:lnTo>
                    <a:lnTo>
                      <a:pt x="66" y="1226"/>
                    </a:lnTo>
                    <a:lnTo>
                      <a:pt x="66" y="1210"/>
                    </a:lnTo>
                    <a:lnTo>
                      <a:pt x="37" y="1193"/>
                    </a:lnTo>
                    <a:lnTo>
                      <a:pt x="33" y="1170"/>
                    </a:lnTo>
                    <a:lnTo>
                      <a:pt x="37" y="1153"/>
                    </a:lnTo>
                    <a:lnTo>
                      <a:pt x="54" y="1182"/>
                    </a:lnTo>
                    <a:lnTo>
                      <a:pt x="54" y="1203"/>
                    </a:lnTo>
                    <a:lnTo>
                      <a:pt x="66" y="1193"/>
                    </a:lnTo>
                    <a:lnTo>
                      <a:pt x="82" y="1226"/>
                    </a:lnTo>
                    <a:lnTo>
                      <a:pt x="87" y="1210"/>
                    </a:lnTo>
                    <a:lnTo>
                      <a:pt x="87" y="1203"/>
                    </a:lnTo>
                    <a:lnTo>
                      <a:pt x="92" y="1182"/>
                    </a:lnTo>
                    <a:lnTo>
                      <a:pt x="54" y="1127"/>
                    </a:lnTo>
                    <a:lnTo>
                      <a:pt x="49" y="1094"/>
                    </a:lnTo>
                    <a:lnTo>
                      <a:pt x="33" y="1071"/>
                    </a:lnTo>
                    <a:lnTo>
                      <a:pt x="37" y="1021"/>
                    </a:lnTo>
                    <a:lnTo>
                      <a:pt x="54" y="1000"/>
                    </a:lnTo>
                    <a:lnTo>
                      <a:pt x="66" y="959"/>
                    </a:lnTo>
                    <a:lnTo>
                      <a:pt x="49" y="931"/>
                    </a:lnTo>
                    <a:lnTo>
                      <a:pt x="70" y="889"/>
                    </a:lnTo>
                    <a:lnTo>
                      <a:pt x="87" y="872"/>
                    </a:lnTo>
                    <a:lnTo>
                      <a:pt x="82" y="893"/>
                    </a:lnTo>
                    <a:lnTo>
                      <a:pt x="87" y="926"/>
                    </a:lnTo>
                    <a:lnTo>
                      <a:pt x="104" y="915"/>
                    </a:lnTo>
                    <a:lnTo>
                      <a:pt x="120" y="872"/>
                    </a:lnTo>
                    <a:lnTo>
                      <a:pt x="179" y="848"/>
                    </a:lnTo>
                    <a:lnTo>
                      <a:pt x="210" y="815"/>
                    </a:lnTo>
                    <a:lnTo>
                      <a:pt x="264" y="782"/>
                    </a:lnTo>
                    <a:lnTo>
                      <a:pt x="271" y="794"/>
                    </a:lnTo>
                    <a:lnTo>
                      <a:pt x="285" y="782"/>
                    </a:lnTo>
                    <a:lnTo>
                      <a:pt x="309" y="794"/>
                    </a:lnTo>
                    <a:lnTo>
                      <a:pt x="335" y="782"/>
                    </a:lnTo>
                    <a:lnTo>
                      <a:pt x="361" y="761"/>
                    </a:lnTo>
                    <a:lnTo>
                      <a:pt x="411" y="761"/>
                    </a:lnTo>
                    <a:lnTo>
                      <a:pt x="432" y="733"/>
                    </a:lnTo>
                    <a:lnTo>
                      <a:pt x="465" y="745"/>
                    </a:lnTo>
                    <a:lnTo>
                      <a:pt x="519" y="728"/>
                    </a:lnTo>
                    <a:lnTo>
                      <a:pt x="566" y="704"/>
                    </a:lnTo>
                    <a:lnTo>
                      <a:pt x="595" y="671"/>
                    </a:lnTo>
                    <a:lnTo>
                      <a:pt x="621" y="617"/>
                    </a:lnTo>
                    <a:lnTo>
                      <a:pt x="633" y="617"/>
                    </a:lnTo>
                    <a:lnTo>
                      <a:pt x="659" y="593"/>
                    </a:lnTo>
                    <a:lnTo>
                      <a:pt x="659" y="584"/>
                    </a:lnTo>
                    <a:lnTo>
                      <a:pt x="649" y="577"/>
                    </a:lnTo>
                    <a:lnTo>
                      <a:pt x="649" y="527"/>
                    </a:lnTo>
                    <a:lnTo>
                      <a:pt x="663" y="511"/>
                    </a:lnTo>
                    <a:lnTo>
                      <a:pt x="675" y="506"/>
                    </a:lnTo>
                    <a:lnTo>
                      <a:pt x="675" y="499"/>
                    </a:lnTo>
                    <a:lnTo>
                      <a:pt x="687" y="489"/>
                    </a:lnTo>
                    <a:lnTo>
                      <a:pt x="687" y="482"/>
                    </a:lnTo>
                    <a:lnTo>
                      <a:pt x="696" y="466"/>
                    </a:lnTo>
                    <a:lnTo>
                      <a:pt x="713" y="466"/>
                    </a:lnTo>
                    <a:lnTo>
                      <a:pt x="701" y="482"/>
                    </a:lnTo>
                    <a:lnTo>
                      <a:pt x="739" y="556"/>
                    </a:lnTo>
                    <a:lnTo>
                      <a:pt x="751" y="511"/>
                    </a:lnTo>
                    <a:lnTo>
                      <a:pt x="772" y="527"/>
                    </a:lnTo>
                    <a:lnTo>
                      <a:pt x="755" y="511"/>
                    </a:lnTo>
                    <a:lnTo>
                      <a:pt x="767" y="506"/>
                    </a:lnTo>
                    <a:lnTo>
                      <a:pt x="755" y="506"/>
                    </a:lnTo>
                    <a:lnTo>
                      <a:pt x="751" y="482"/>
                    </a:lnTo>
                    <a:lnTo>
                      <a:pt x="734" y="473"/>
                    </a:lnTo>
                    <a:lnTo>
                      <a:pt x="751" y="473"/>
                    </a:lnTo>
                    <a:lnTo>
                      <a:pt x="755" y="466"/>
                    </a:lnTo>
                    <a:lnTo>
                      <a:pt x="755" y="456"/>
                    </a:lnTo>
                    <a:lnTo>
                      <a:pt x="739" y="456"/>
                    </a:lnTo>
                    <a:lnTo>
                      <a:pt x="739" y="449"/>
                    </a:lnTo>
                    <a:lnTo>
                      <a:pt x="755" y="449"/>
                    </a:lnTo>
                    <a:lnTo>
                      <a:pt x="767" y="449"/>
                    </a:lnTo>
                    <a:lnTo>
                      <a:pt x="755" y="456"/>
                    </a:lnTo>
                    <a:lnTo>
                      <a:pt x="767" y="466"/>
                    </a:lnTo>
                    <a:lnTo>
                      <a:pt x="772" y="456"/>
                    </a:lnTo>
                    <a:lnTo>
                      <a:pt x="789" y="456"/>
                    </a:lnTo>
                    <a:lnTo>
                      <a:pt x="789" y="466"/>
                    </a:lnTo>
                    <a:lnTo>
                      <a:pt x="805" y="466"/>
                    </a:lnTo>
                    <a:lnTo>
                      <a:pt x="836" y="466"/>
                    </a:lnTo>
                    <a:lnTo>
                      <a:pt x="805" y="456"/>
                    </a:lnTo>
                    <a:lnTo>
                      <a:pt x="805" y="445"/>
                    </a:lnTo>
                    <a:lnTo>
                      <a:pt x="810" y="449"/>
                    </a:lnTo>
                    <a:lnTo>
                      <a:pt x="822" y="445"/>
                    </a:lnTo>
                    <a:lnTo>
                      <a:pt x="822" y="433"/>
                    </a:lnTo>
                    <a:lnTo>
                      <a:pt x="826" y="428"/>
                    </a:lnTo>
                    <a:lnTo>
                      <a:pt x="822" y="416"/>
                    </a:lnTo>
                    <a:lnTo>
                      <a:pt x="810" y="433"/>
                    </a:lnTo>
                    <a:lnTo>
                      <a:pt x="805" y="428"/>
                    </a:lnTo>
                    <a:lnTo>
                      <a:pt x="805" y="400"/>
                    </a:lnTo>
                    <a:lnTo>
                      <a:pt x="822" y="395"/>
                    </a:lnTo>
                    <a:lnTo>
                      <a:pt x="826" y="378"/>
                    </a:lnTo>
                    <a:lnTo>
                      <a:pt x="859" y="400"/>
                    </a:lnTo>
                    <a:lnTo>
                      <a:pt x="848" y="395"/>
                    </a:lnTo>
                    <a:lnTo>
                      <a:pt x="848" y="388"/>
                    </a:lnTo>
                    <a:lnTo>
                      <a:pt x="836" y="388"/>
                    </a:lnTo>
                    <a:lnTo>
                      <a:pt x="848" y="371"/>
                    </a:lnTo>
                    <a:lnTo>
                      <a:pt x="836" y="378"/>
                    </a:lnTo>
                    <a:lnTo>
                      <a:pt x="836" y="371"/>
                    </a:lnTo>
                    <a:lnTo>
                      <a:pt x="848" y="362"/>
                    </a:lnTo>
                    <a:lnTo>
                      <a:pt x="859" y="378"/>
                    </a:lnTo>
                    <a:lnTo>
                      <a:pt x="859" y="362"/>
                    </a:lnTo>
                    <a:lnTo>
                      <a:pt x="864" y="371"/>
                    </a:lnTo>
                    <a:lnTo>
                      <a:pt x="874" y="371"/>
                    </a:lnTo>
                    <a:lnTo>
                      <a:pt x="859" y="362"/>
                    </a:lnTo>
                    <a:lnTo>
                      <a:pt x="864" y="355"/>
                    </a:lnTo>
                    <a:lnTo>
                      <a:pt x="859" y="345"/>
                    </a:lnTo>
                    <a:lnTo>
                      <a:pt x="864" y="334"/>
                    </a:lnTo>
                    <a:lnTo>
                      <a:pt x="890" y="334"/>
                    </a:lnTo>
                    <a:lnTo>
                      <a:pt x="890" y="305"/>
                    </a:lnTo>
                    <a:lnTo>
                      <a:pt x="897" y="305"/>
                    </a:lnTo>
                    <a:lnTo>
                      <a:pt x="890" y="338"/>
                    </a:lnTo>
                    <a:lnTo>
                      <a:pt x="897" y="317"/>
                    </a:lnTo>
                    <a:lnTo>
                      <a:pt x="902" y="322"/>
                    </a:lnTo>
                    <a:lnTo>
                      <a:pt x="911" y="338"/>
                    </a:lnTo>
                    <a:lnTo>
                      <a:pt x="918" y="334"/>
                    </a:lnTo>
                    <a:lnTo>
                      <a:pt x="928" y="300"/>
                    </a:lnTo>
                    <a:lnTo>
                      <a:pt x="918" y="284"/>
                    </a:lnTo>
                    <a:lnTo>
                      <a:pt x="928" y="284"/>
                    </a:lnTo>
                    <a:lnTo>
                      <a:pt x="928" y="289"/>
                    </a:lnTo>
                    <a:lnTo>
                      <a:pt x="935" y="305"/>
                    </a:lnTo>
                    <a:lnTo>
                      <a:pt x="944" y="289"/>
                    </a:lnTo>
                    <a:lnTo>
                      <a:pt x="949" y="284"/>
                    </a:lnTo>
                    <a:lnTo>
                      <a:pt x="949" y="289"/>
                    </a:lnTo>
                    <a:lnTo>
                      <a:pt x="956" y="305"/>
                    </a:lnTo>
                    <a:lnTo>
                      <a:pt x="973" y="284"/>
                    </a:lnTo>
                    <a:lnTo>
                      <a:pt x="966" y="279"/>
                    </a:lnTo>
                    <a:lnTo>
                      <a:pt x="973" y="267"/>
                    </a:lnTo>
                    <a:lnTo>
                      <a:pt x="987" y="279"/>
                    </a:lnTo>
                    <a:lnTo>
                      <a:pt x="999" y="284"/>
                    </a:lnTo>
                    <a:lnTo>
                      <a:pt x="1011" y="284"/>
                    </a:lnTo>
                    <a:lnTo>
                      <a:pt x="1053" y="334"/>
                    </a:lnTo>
                    <a:lnTo>
                      <a:pt x="1063" y="338"/>
                    </a:lnTo>
                    <a:lnTo>
                      <a:pt x="1058" y="400"/>
                    </a:lnTo>
                    <a:lnTo>
                      <a:pt x="1063" y="378"/>
                    </a:lnTo>
                    <a:lnTo>
                      <a:pt x="1074" y="395"/>
                    </a:lnTo>
                    <a:lnTo>
                      <a:pt x="1063" y="371"/>
                    </a:lnTo>
                    <a:lnTo>
                      <a:pt x="1079" y="355"/>
                    </a:lnTo>
                    <a:lnTo>
                      <a:pt x="1079" y="362"/>
                    </a:lnTo>
                    <a:lnTo>
                      <a:pt x="1091" y="362"/>
                    </a:lnTo>
                    <a:lnTo>
                      <a:pt x="1079" y="345"/>
                    </a:lnTo>
                    <a:lnTo>
                      <a:pt x="1096" y="345"/>
                    </a:lnTo>
                    <a:lnTo>
                      <a:pt x="1133" y="355"/>
                    </a:lnTo>
                    <a:lnTo>
                      <a:pt x="1133" y="362"/>
                    </a:lnTo>
                    <a:lnTo>
                      <a:pt x="1133" y="378"/>
                    </a:lnTo>
                    <a:lnTo>
                      <a:pt x="1145" y="371"/>
                    </a:lnTo>
                    <a:lnTo>
                      <a:pt x="1145" y="355"/>
                    </a:lnTo>
                    <a:lnTo>
                      <a:pt x="1150" y="355"/>
                    </a:lnTo>
                    <a:lnTo>
                      <a:pt x="1171" y="378"/>
                    </a:lnTo>
                    <a:lnTo>
                      <a:pt x="1166" y="362"/>
                    </a:lnTo>
                    <a:lnTo>
                      <a:pt x="1171" y="345"/>
                    </a:lnTo>
                    <a:lnTo>
                      <a:pt x="1183" y="355"/>
                    </a:lnTo>
                    <a:lnTo>
                      <a:pt x="1188" y="345"/>
                    </a:lnTo>
                    <a:lnTo>
                      <a:pt x="1183" y="345"/>
                    </a:lnTo>
                    <a:lnTo>
                      <a:pt x="1171" y="345"/>
                    </a:lnTo>
                    <a:lnTo>
                      <a:pt x="1166" y="334"/>
                    </a:lnTo>
                    <a:lnTo>
                      <a:pt x="1183" y="334"/>
                    </a:lnTo>
                    <a:lnTo>
                      <a:pt x="1166" y="334"/>
                    </a:lnTo>
                    <a:lnTo>
                      <a:pt x="1150" y="322"/>
                    </a:lnTo>
                    <a:lnTo>
                      <a:pt x="1150" y="317"/>
                    </a:lnTo>
                    <a:lnTo>
                      <a:pt x="1162" y="300"/>
                    </a:lnTo>
                    <a:lnTo>
                      <a:pt x="1171" y="289"/>
                    </a:lnTo>
                    <a:lnTo>
                      <a:pt x="1188" y="251"/>
                    </a:lnTo>
                    <a:lnTo>
                      <a:pt x="1200" y="251"/>
                    </a:lnTo>
                    <a:lnTo>
                      <a:pt x="1214" y="234"/>
                    </a:lnTo>
                    <a:lnTo>
                      <a:pt x="1204" y="227"/>
                    </a:lnTo>
                    <a:lnTo>
                      <a:pt x="1204" y="211"/>
                    </a:lnTo>
                    <a:lnTo>
                      <a:pt x="1221" y="211"/>
                    </a:lnTo>
                    <a:lnTo>
                      <a:pt x="1221" y="189"/>
                    </a:lnTo>
                    <a:lnTo>
                      <a:pt x="1226" y="189"/>
                    </a:lnTo>
                    <a:lnTo>
                      <a:pt x="1242" y="194"/>
                    </a:lnTo>
                    <a:lnTo>
                      <a:pt x="1237" y="189"/>
                    </a:lnTo>
                    <a:lnTo>
                      <a:pt x="1237" y="173"/>
                    </a:lnTo>
                    <a:lnTo>
                      <a:pt x="1252" y="173"/>
                    </a:lnTo>
                    <a:lnTo>
                      <a:pt x="1259" y="189"/>
                    </a:lnTo>
                    <a:lnTo>
                      <a:pt x="1268" y="178"/>
                    </a:lnTo>
                    <a:lnTo>
                      <a:pt x="1252" y="173"/>
                    </a:lnTo>
                    <a:lnTo>
                      <a:pt x="1259" y="168"/>
                    </a:lnTo>
                    <a:lnTo>
                      <a:pt x="1268" y="173"/>
                    </a:lnTo>
                    <a:lnTo>
                      <a:pt x="1268" y="156"/>
                    </a:lnTo>
                    <a:lnTo>
                      <a:pt x="1296" y="168"/>
                    </a:lnTo>
                    <a:lnTo>
                      <a:pt x="1344" y="168"/>
                    </a:lnTo>
                    <a:lnTo>
                      <a:pt x="1360" y="156"/>
                    </a:lnTo>
                    <a:lnTo>
                      <a:pt x="1365" y="173"/>
                    </a:lnTo>
                    <a:lnTo>
                      <a:pt x="1365" y="156"/>
                    </a:lnTo>
                    <a:lnTo>
                      <a:pt x="1386" y="152"/>
                    </a:lnTo>
                    <a:lnTo>
                      <a:pt x="1381" y="152"/>
                    </a:lnTo>
                    <a:lnTo>
                      <a:pt x="1381" y="116"/>
                    </a:lnTo>
                    <a:lnTo>
                      <a:pt x="1365" y="100"/>
                    </a:lnTo>
                    <a:lnTo>
                      <a:pt x="1344" y="111"/>
                    </a:lnTo>
                    <a:lnTo>
                      <a:pt x="1334" y="95"/>
                    </a:lnTo>
                    <a:lnTo>
                      <a:pt x="1322" y="95"/>
                    </a:lnTo>
                    <a:lnTo>
                      <a:pt x="1334" y="78"/>
                    </a:lnTo>
                    <a:lnTo>
                      <a:pt x="1351" y="100"/>
                    </a:lnTo>
                    <a:lnTo>
                      <a:pt x="1351" y="95"/>
                    </a:lnTo>
                    <a:lnTo>
                      <a:pt x="1344" y="78"/>
                    </a:lnTo>
                    <a:lnTo>
                      <a:pt x="1360" y="78"/>
                    </a:lnTo>
                    <a:lnTo>
                      <a:pt x="1381" y="111"/>
                    </a:lnTo>
                    <a:lnTo>
                      <a:pt x="1398" y="95"/>
                    </a:lnTo>
                    <a:lnTo>
                      <a:pt x="1419" y="123"/>
                    </a:lnTo>
                    <a:lnTo>
                      <a:pt x="1431" y="116"/>
                    </a:lnTo>
                    <a:lnTo>
                      <a:pt x="1452" y="133"/>
                    </a:lnTo>
                    <a:lnTo>
                      <a:pt x="1469" y="123"/>
                    </a:lnTo>
                    <a:lnTo>
                      <a:pt x="1469" y="133"/>
                    </a:lnTo>
                    <a:lnTo>
                      <a:pt x="1474" y="133"/>
                    </a:lnTo>
                    <a:lnTo>
                      <a:pt x="1485" y="133"/>
                    </a:lnTo>
                    <a:lnTo>
                      <a:pt x="1490" y="152"/>
                    </a:lnTo>
                    <a:lnTo>
                      <a:pt x="1528" y="140"/>
                    </a:lnTo>
                    <a:lnTo>
                      <a:pt x="1537" y="152"/>
                    </a:lnTo>
                    <a:lnTo>
                      <a:pt x="1561" y="168"/>
                    </a:lnTo>
                    <a:lnTo>
                      <a:pt x="1566" y="152"/>
                    </a:lnTo>
                    <a:lnTo>
                      <a:pt x="1592" y="152"/>
                    </a:lnTo>
                    <a:lnTo>
                      <a:pt x="1592" y="140"/>
                    </a:lnTo>
                    <a:lnTo>
                      <a:pt x="1599" y="140"/>
                    </a:lnTo>
                    <a:lnTo>
                      <a:pt x="1613" y="123"/>
                    </a:lnTo>
                    <a:lnTo>
                      <a:pt x="1599" y="140"/>
                    </a:lnTo>
                    <a:lnTo>
                      <a:pt x="1599" y="152"/>
                    </a:lnTo>
                    <a:lnTo>
                      <a:pt x="1592" y="156"/>
                    </a:lnTo>
                    <a:lnTo>
                      <a:pt x="1599" y="168"/>
                    </a:lnTo>
                    <a:lnTo>
                      <a:pt x="1620" y="152"/>
                    </a:lnTo>
                    <a:lnTo>
                      <a:pt x="1613" y="156"/>
                    </a:lnTo>
                    <a:lnTo>
                      <a:pt x="1620" y="156"/>
                    </a:lnTo>
                    <a:lnTo>
                      <a:pt x="1613" y="173"/>
                    </a:lnTo>
                    <a:lnTo>
                      <a:pt x="1620" y="178"/>
                    </a:lnTo>
                    <a:lnTo>
                      <a:pt x="1637" y="173"/>
                    </a:lnTo>
                    <a:lnTo>
                      <a:pt x="1646" y="156"/>
                    </a:lnTo>
                    <a:lnTo>
                      <a:pt x="1629" y="156"/>
                    </a:lnTo>
                    <a:lnTo>
                      <a:pt x="1658" y="140"/>
                    </a:lnTo>
                    <a:lnTo>
                      <a:pt x="1658" y="168"/>
                    </a:lnTo>
                    <a:lnTo>
                      <a:pt x="1674" y="156"/>
                    </a:lnTo>
                    <a:lnTo>
                      <a:pt x="1684" y="173"/>
                    </a:lnTo>
                    <a:lnTo>
                      <a:pt x="1667" y="178"/>
                    </a:lnTo>
                    <a:lnTo>
                      <a:pt x="1658" y="206"/>
                    </a:lnTo>
                    <a:lnTo>
                      <a:pt x="1651" y="194"/>
                    </a:lnTo>
                    <a:lnTo>
                      <a:pt x="1651" y="222"/>
                    </a:lnTo>
                    <a:lnTo>
                      <a:pt x="1651" y="234"/>
                    </a:lnTo>
                    <a:lnTo>
                      <a:pt x="1646" y="234"/>
                    </a:lnTo>
                    <a:lnTo>
                      <a:pt x="1646" y="222"/>
                    </a:lnTo>
                    <a:lnTo>
                      <a:pt x="1629" y="234"/>
                    </a:lnTo>
                    <a:lnTo>
                      <a:pt x="1620" y="227"/>
                    </a:lnTo>
                    <a:lnTo>
                      <a:pt x="1613" y="234"/>
                    </a:lnTo>
                    <a:lnTo>
                      <a:pt x="1603" y="260"/>
                    </a:lnTo>
                    <a:lnTo>
                      <a:pt x="1603" y="267"/>
                    </a:lnTo>
                    <a:lnTo>
                      <a:pt x="1620" y="267"/>
                    </a:lnTo>
                    <a:lnTo>
                      <a:pt x="1603" y="305"/>
                    </a:lnTo>
                    <a:lnTo>
                      <a:pt x="1592" y="322"/>
                    </a:lnTo>
                    <a:lnTo>
                      <a:pt x="1582" y="338"/>
                    </a:lnTo>
                    <a:lnTo>
                      <a:pt x="1575" y="338"/>
                    </a:lnTo>
                    <a:lnTo>
                      <a:pt x="1575" y="355"/>
                    </a:lnTo>
                    <a:lnTo>
                      <a:pt x="1629" y="395"/>
                    </a:lnTo>
                    <a:lnTo>
                      <a:pt x="1637" y="400"/>
                    </a:lnTo>
                    <a:lnTo>
                      <a:pt x="1667" y="428"/>
                    </a:lnTo>
                    <a:lnTo>
                      <a:pt x="1689" y="428"/>
                    </a:lnTo>
                    <a:lnTo>
                      <a:pt x="1738" y="456"/>
                    </a:lnTo>
                    <a:lnTo>
                      <a:pt x="1764" y="489"/>
                    </a:lnTo>
                    <a:lnTo>
                      <a:pt x="1830" y="506"/>
                    </a:lnTo>
                    <a:lnTo>
                      <a:pt x="1847" y="539"/>
                    </a:lnTo>
                    <a:lnTo>
                      <a:pt x="1901" y="560"/>
                    </a:lnTo>
                    <a:lnTo>
                      <a:pt x="1927" y="560"/>
                    </a:lnTo>
                    <a:lnTo>
                      <a:pt x="1953" y="544"/>
                    </a:lnTo>
                    <a:lnTo>
                      <a:pt x="1960" y="511"/>
                    </a:lnTo>
                    <a:lnTo>
                      <a:pt x="1981" y="482"/>
                    </a:lnTo>
                    <a:lnTo>
                      <a:pt x="1998" y="445"/>
                    </a:lnTo>
                    <a:lnTo>
                      <a:pt x="1998" y="400"/>
                    </a:lnTo>
                    <a:lnTo>
                      <a:pt x="2012" y="362"/>
                    </a:lnTo>
                    <a:lnTo>
                      <a:pt x="2007" y="322"/>
                    </a:lnTo>
                    <a:lnTo>
                      <a:pt x="2007" y="300"/>
                    </a:lnTo>
                    <a:lnTo>
                      <a:pt x="1998" y="279"/>
                    </a:lnTo>
                    <a:lnTo>
                      <a:pt x="2012" y="234"/>
                    </a:lnTo>
                    <a:lnTo>
                      <a:pt x="2007" y="211"/>
                    </a:lnTo>
                    <a:lnTo>
                      <a:pt x="2024" y="194"/>
                    </a:lnTo>
                    <a:lnTo>
                      <a:pt x="2029" y="206"/>
                    </a:lnTo>
                    <a:lnTo>
                      <a:pt x="2024" y="178"/>
                    </a:lnTo>
                    <a:lnTo>
                      <a:pt x="2012" y="173"/>
                    </a:lnTo>
                    <a:lnTo>
                      <a:pt x="2012" y="178"/>
                    </a:lnTo>
                    <a:lnTo>
                      <a:pt x="2007" y="178"/>
                    </a:lnTo>
                    <a:lnTo>
                      <a:pt x="2029" y="140"/>
                    </a:lnTo>
                    <a:lnTo>
                      <a:pt x="2029" y="152"/>
                    </a:lnTo>
                    <a:lnTo>
                      <a:pt x="2036" y="152"/>
                    </a:lnTo>
                    <a:lnTo>
                      <a:pt x="2029" y="140"/>
                    </a:lnTo>
                    <a:lnTo>
                      <a:pt x="2045" y="95"/>
                    </a:lnTo>
                    <a:lnTo>
                      <a:pt x="2045" y="67"/>
                    </a:lnTo>
                    <a:lnTo>
                      <a:pt x="2062" y="62"/>
                    </a:lnTo>
                    <a:lnTo>
                      <a:pt x="2066" y="45"/>
                    </a:lnTo>
                    <a:lnTo>
                      <a:pt x="2078" y="57"/>
                    </a:lnTo>
                    <a:lnTo>
                      <a:pt x="2066" y="67"/>
                    </a:lnTo>
                    <a:lnTo>
                      <a:pt x="2078" y="62"/>
                    </a:lnTo>
                    <a:lnTo>
                      <a:pt x="2088" y="78"/>
                    </a:lnTo>
                    <a:lnTo>
                      <a:pt x="2100" y="133"/>
                    </a:lnTo>
                    <a:lnTo>
                      <a:pt x="2121" y="140"/>
                    </a:lnTo>
                    <a:lnTo>
                      <a:pt x="2116" y="168"/>
                    </a:lnTo>
                    <a:lnTo>
                      <a:pt x="2133" y="173"/>
                    </a:lnTo>
                    <a:lnTo>
                      <a:pt x="2133" y="178"/>
                    </a:lnTo>
                    <a:lnTo>
                      <a:pt x="2137" y="189"/>
                    </a:lnTo>
                    <a:lnTo>
                      <a:pt x="2133" y="206"/>
                    </a:lnTo>
                    <a:lnTo>
                      <a:pt x="2142" y="206"/>
                    </a:lnTo>
                    <a:lnTo>
                      <a:pt x="2142" y="251"/>
                    </a:lnTo>
                    <a:lnTo>
                      <a:pt x="2142" y="267"/>
                    </a:lnTo>
                    <a:lnTo>
                      <a:pt x="2159" y="322"/>
                    </a:lnTo>
                    <a:lnTo>
                      <a:pt x="2175" y="322"/>
                    </a:lnTo>
                    <a:lnTo>
                      <a:pt x="2213" y="300"/>
                    </a:lnTo>
                    <a:lnTo>
                      <a:pt x="2225" y="334"/>
                    </a:lnTo>
                    <a:lnTo>
                      <a:pt x="2239" y="334"/>
                    </a:lnTo>
                    <a:lnTo>
                      <a:pt x="2246" y="345"/>
                    </a:lnTo>
                    <a:lnTo>
                      <a:pt x="2267" y="355"/>
                    </a:lnTo>
                    <a:lnTo>
                      <a:pt x="2263" y="371"/>
                    </a:lnTo>
                    <a:lnTo>
                      <a:pt x="2263" y="395"/>
                    </a:lnTo>
                    <a:lnTo>
                      <a:pt x="2277" y="445"/>
                    </a:lnTo>
                    <a:lnTo>
                      <a:pt x="2277" y="473"/>
                    </a:lnTo>
                    <a:lnTo>
                      <a:pt x="2305" y="506"/>
                    </a:lnTo>
                    <a:lnTo>
                      <a:pt x="2315" y="506"/>
                    </a:lnTo>
                    <a:lnTo>
                      <a:pt x="2305" y="511"/>
                    </a:lnTo>
                    <a:lnTo>
                      <a:pt x="2322" y="560"/>
                    </a:lnTo>
                    <a:lnTo>
                      <a:pt x="2315" y="600"/>
                    </a:lnTo>
                    <a:lnTo>
                      <a:pt x="2338" y="622"/>
                    </a:lnTo>
                    <a:lnTo>
                      <a:pt x="2338" y="650"/>
                    </a:lnTo>
                    <a:lnTo>
                      <a:pt x="2352" y="671"/>
                    </a:lnTo>
                    <a:lnTo>
                      <a:pt x="2402" y="688"/>
                    </a:lnTo>
                    <a:lnTo>
                      <a:pt x="2414" y="688"/>
                    </a:lnTo>
                    <a:lnTo>
                      <a:pt x="2414" y="676"/>
                    </a:lnTo>
                    <a:lnTo>
                      <a:pt x="2428" y="721"/>
                    </a:lnTo>
                    <a:lnTo>
                      <a:pt x="2440" y="721"/>
                    </a:lnTo>
                    <a:lnTo>
                      <a:pt x="2440" y="711"/>
                    </a:lnTo>
                    <a:lnTo>
                      <a:pt x="2444" y="711"/>
                    </a:lnTo>
                    <a:lnTo>
                      <a:pt x="2444" y="728"/>
                    </a:lnTo>
                    <a:lnTo>
                      <a:pt x="2466" y="728"/>
                    </a:lnTo>
                    <a:lnTo>
                      <a:pt x="2482" y="749"/>
                    </a:lnTo>
                    <a:lnTo>
                      <a:pt x="2494" y="733"/>
                    </a:lnTo>
                    <a:lnTo>
                      <a:pt x="2515" y="749"/>
                    </a:lnTo>
                    <a:lnTo>
                      <a:pt x="2520" y="778"/>
                    </a:lnTo>
                    <a:lnTo>
                      <a:pt x="2515" y="766"/>
                    </a:lnTo>
                    <a:lnTo>
                      <a:pt x="2511" y="782"/>
                    </a:lnTo>
                    <a:lnTo>
                      <a:pt x="2515" y="799"/>
                    </a:lnTo>
                    <a:lnTo>
                      <a:pt x="2548" y="815"/>
                    </a:lnTo>
                    <a:lnTo>
                      <a:pt x="2548" y="832"/>
                    </a:lnTo>
                    <a:lnTo>
                      <a:pt x="2565" y="856"/>
                    </a:lnTo>
                    <a:lnTo>
                      <a:pt x="2565" y="893"/>
                    </a:lnTo>
                    <a:lnTo>
                      <a:pt x="2574" y="910"/>
                    </a:lnTo>
                    <a:lnTo>
                      <a:pt x="2574" y="926"/>
                    </a:lnTo>
                    <a:lnTo>
                      <a:pt x="2586" y="910"/>
                    </a:lnTo>
                    <a:lnTo>
                      <a:pt x="2603" y="931"/>
                    </a:lnTo>
                    <a:lnTo>
                      <a:pt x="2591" y="910"/>
                    </a:lnTo>
                    <a:lnTo>
                      <a:pt x="2603" y="893"/>
                    </a:lnTo>
                    <a:lnTo>
                      <a:pt x="2607" y="915"/>
                    </a:lnTo>
                    <a:lnTo>
                      <a:pt x="2638" y="926"/>
                    </a:lnTo>
                    <a:lnTo>
                      <a:pt x="2638" y="910"/>
                    </a:lnTo>
                    <a:lnTo>
                      <a:pt x="2655" y="943"/>
                    </a:lnTo>
                    <a:lnTo>
                      <a:pt x="2655" y="971"/>
                    </a:lnTo>
                    <a:lnTo>
                      <a:pt x="2662" y="1000"/>
                    </a:lnTo>
                    <a:lnTo>
                      <a:pt x="2671" y="1004"/>
                    </a:lnTo>
                    <a:lnTo>
                      <a:pt x="2676" y="1021"/>
                    </a:lnTo>
                    <a:lnTo>
                      <a:pt x="2709" y="1042"/>
                    </a:lnTo>
                    <a:lnTo>
                      <a:pt x="2714" y="1037"/>
                    </a:lnTo>
                    <a:lnTo>
                      <a:pt x="2730" y="1054"/>
                    </a:lnTo>
                    <a:lnTo>
                      <a:pt x="2747" y="1082"/>
                    </a:lnTo>
                    <a:lnTo>
                      <a:pt x="2768" y="1099"/>
                    </a:lnTo>
                    <a:lnTo>
                      <a:pt x="2785" y="1132"/>
                    </a:lnTo>
                    <a:lnTo>
                      <a:pt x="2801" y="1137"/>
                    </a:lnTo>
                    <a:lnTo>
                      <a:pt x="2801" y="1170"/>
                    </a:lnTo>
                    <a:lnTo>
                      <a:pt x="2822" y="1186"/>
                    </a:lnTo>
                    <a:lnTo>
                      <a:pt x="2818" y="1210"/>
                    </a:lnTo>
                    <a:lnTo>
                      <a:pt x="2818" y="1276"/>
                    </a:lnTo>
                    <a:lnTo>
                      <a:pt x="2806" y="1281"/>
                    </a:lnTo>
                    <a:lnTo>
                      <a:pt x="2806" y="1293"/>
                    </a:lnTo>
                    <a:lnTo>
                      <a:pt x="2822" y="1304"/>
                    </a:lnTo>
                    <a:lnTo>
                      <a:pt x="2851" y="1370"/>
                    </a:lnTo>
                    <a:lnTo>
                      <a:pt x="2851" y="1408"/>
                    </a:lnTo>
                    <a:lnTo>
                      <a:pt x="2834" y="1448"/>
                    </a:lnTo>
                    <a:lnTo>
                      <a:pt x="2822" y="1498"/>
                    </a:lnTo>
                    <a:lnTo>
                      <a:pt x="2806" y="1543"/>
                    </a:lnTo>
                    <a:lnTo>
                      <a:pt x="2818" y="1576"/>
                    </a:lnTo>
                    <a:lnTo>
                      <a:pt x="2801" y="1630"/>
                    </a:lnTo>
                    <a:lnTo>
                      <a:pt x="2780" y="1670"/>
                    </a:lnTo>
                    <a:lnTo>
                      <a:pt x="2780" y="1692"/>
                    </a:lnTo>
                    <a:lnTo>
                      <a:pt x="2747" y="1720"/>
                    </a:lnTo>
                    <a:lnTo>
                      <a:pt x="2747" y="1725"/>
                    </a:lnTo>
                    <a:lnTo>
                      <a:pt x="2726" y="1737"/>
                    </a:lnTo>
                    <a:lnTo>
                      <a:pt x="2709" y="1765"/>
                    </a:lnTo>
                    <a:lnTo>
                      <a:pt x="2700" y="1765"/>
                    </a:lnTo>
                    <a:lnTo>
                      <a:pt x="2700" y="1774"/>
                    </a:lnTo>
                    <a:lnTo>
                      <a:pt x="2692" y="1791"/>
                    </a:lnTo>
                    <a:lnTo>
                      <a:pt x="2688" y="1819"/>
                    </a:lnTo>
                    <a:lnTo>
                      <a:pt x="2676" y="1819"/>
                    </a:lnTo>
                    <a:lnTo>
                      <a:pt x="2688" y="1831"/>
                    </a:lnTo>
                    <a:lnTo>
                      <a:pt x="2662" y="1848"/>
                    </a:lnTo>
                    <a:lnTo>
                      <a:pt x="2655" y="1885"/>
                    </a:lnTo>
                    <a:lnTo>
                      <a:pt x="2645" y="1893"/>
                    </a:lnTo>
                    <a:lnTo>
                      <a:pt x="2655" y="1909"/>
                    </a:lnTo>
                    <a:lnTo>
                      <a:pt x="2645" y="1909"/>
                    </a:lnTo>
                    <a:lnTo>
                      <a:pt x="2645" y="1914"/>
                    </a:lnTo>
                    <a:lnTo>
                      <a:pt x="2638" y="1926"/>
                    </a:lnTo>
                    <a:lnTo>
                      <a:pt x="2607" y="1980"/>
                    </a:lnTo>
                    <a:lnTo>
                      <a:pt x="2607" y="2013"/>
                    </a:lnTo>
                    <a:lnTo>
                      <a:pt x="2591" y="2058"/>
                    </a:lnTo>
                    <a:lnTo>
                      <a:pt x="2603" y="2079"/>
                    </a:lnTo>
                    <a:lnTo>
                      <a:pt x="2591" y="2091"/>
                    </a:lnTo>
                    <a:lnTo>
                      <a:pt x="2591" y="2107"/>
                    </a:lnTo>
                    <a:lnTo>
                      <a:pt x="2565" y="2129"/>
                    </a:lnTo>
                    <a:lnTo>
                      <a:pt x="2477" y="2136"/>
                    </a:lnTo>
                    <a:lnTo>
                      <a:pt x="2440" y="2145"/>
                    </a:lnTo>
                    <a:lnTo>
                      <a:pt x="2376" y="2202"/>
                    </a:lnTo>
                    <a:lnTo>
                      <a:pt x="2331" y="2207"/>
                    </a:lnTo>
                    <a:lnTo>
                      <a:pt x="2338" y="2223"/>
                    </a:lnTo>
                    <a:lnTo>
                      <a:pt x="2352" y="2219"/>
                    </a:lnTo>
                    <a:lnTo>
                      <a:pt x="2352" y="2240"/>
                    </a:lnTo>
                    <a:lnTo>
                      <a:pt x="2348" y="2247"/>
                    </a:lnTo>
                    <a:lnTo>
                      <a:pt x="2348" y="2247"/>
                    </a:lnTo>
                    <a:lnTo>
                      <a:pt x="2348" y="2247"/>
                    </a:lnTo>
                    <a:close/>
                    <a:moveTo>
                      <a:pt x="1651" y="100"/>
                    </a:moveTo>
                    <a:lnTo>
                      <a:pt x="1667" y="67"/>
                    </a:lnTo>
                    <a:lnTo>
                      <a:pt x="1667" y="83"/>
                    </a:lnTo>
                    <a:lnTo>
                      <a:pt x="1651" y="100"/>
                    </a:lnTo>
                    <a:lnTo>
                      <a:pt x="1651" y="100"/>
                    </a:lnTo>
                    <a:lnTo>
                      <a:pt x="1651" y="100"/>
                    </a:lnTo>
                    <a:close/>
                    <a:moveTo>
                      <a:pt x="1377" y="95"/>
                    </a:moveTo>
                    <a:lnTo>
                      <a:pt x="1377" y="67"/>
                    </a:lnTo>
                    <a:lnTo>
                      <a:pt x="1377" y="95"/>
                    </a:lnTo>
                    <a:lnTo>
                      <a:pt x="1377" y="95"/>
                    </a:lnTo>
                    <a:lnTo>
                      <a:pt x="1377" y="95"/>
                    </a:lnTo>
                    <a:close/>
                    <a:moveTo>
                      <a:pt x="1268" y="140"/>
                    </a:moveTo>
                    <a:lnTo>
                      <a:pt x="1226" y="116"/>
                    </a:lnTo>
                    <a:lnTo>
                      <a:pt x="1221" y="83"/>
                    </a:lnTo>
                    <a:lnTo>
                      <a:pt x="1242" y="100"/>
                    </a:lnTo>
                    <a:lnTo>
                      <a:pt x="1275" y="83"/>
                    </a:lnTo>
                    <a:lnTo>
                      <a:pt x="1280" y="100"/>
                    </a:lnTo>
                    <a:lnTo>
                      <a:pt x="1280" y="83"/>
                    </a:lnTo>
                    <a:lnTo>
                      <a:pt x="1306" y="100"/>
                    </a:lnTo>
                    <a:lnTo>
                      <a:pt x="1289" y="123"/>
                    </a:lnTo>
                    <a:lnTo>
                      <a:pt x="1268" y="140"/>
                    </a:lnTo>
                    <a:lnTo>
                      <a:pt x="1268" y="140"/>
                    </a:lnTo>
                    <a:lnTo>
                      <a:pt x="1268" y="140"/>
                    </a:lnTo>
                    <a:close/>
                    <a:moveTo>
                      <a:pt x="1226" y="133"/>
                    </a:moveTo>
                    <a:lnTo>
                      <a:pt x="1200" y="123"/>
                    </a:lnTo>
                    <a:lnTo>
                      <a:pt x="1204" y="116"/>
                    </a:lnTo>
                    <a:lnTo>
                      <a:pt x="1214" y="116"/>
                    </a:lnTo>
                    <a:lnTo>
                      <a:pt x="1214" y="95"/>
                    </a:lnTo>
                    <a:lnTo>
                      <a:pt x="1221" y="95"/>
                    </a:lnTo>
                    <a:lnTo>
                      <a:pt x="1226" y="116"/>
                    </a:lnTo>
                    <a:lnTo>
                      <a:pt x="1242" y="123"/>
                    </a:lnTo>
                    <a:lnTo>
                      <a:pt x="1226" y="133"/>
                    </a:lnTo>
                    <a:lnTo>
                      <a:pt x="1226" y="133"/>
                    </a:lnTo>
                    <a:lnTo>
                      <a:pt x="1226" y="133"/>
                    </a:lnTo>
                    <a:close/>
                    <a:moveTo>
                      <a:pt x="1377" y="123"/>
                    </a:moveTo>
                    <a:lnTo>
                      <a:pt x="1377" y="116"/>
                    </a:lnTo>
                    <a:lnTo>
                      <a:pt x="1381" y="116"/>
                    </a:lnTo>
                    <a:lnTo>
                      <a:pt x="1377" y="123"/>
                    </a:lnTo>
                    <a:lnTo>
                      <a:pt x="1377" y="123"/>
                    </a:lnTo>
                    <a:lnTo>
                      <a:pt x="1377" y="123"/>
                    </a:lnTo>
                    <a:close/>
                    <a:moveTo>
                      <a:pt x="1613" y="123"/>
                    </a:moveTo>
                    <a:lnTo>
                      <a:pt x="1613" y="116"/>
                    </a:lnTo>
                    <a:lnTo>
                      <a:pt x="1620" y="116"/>
                    </a:lnTo>
                    <a:lnTo>
                      <a:pt x="1613" y="123"/>
                    </a:lnTo>
                    <a:lnTo>
                      <a:pt x="1613" y="123"/>
                    </a:lnTo>
                    <a:lnTo>
                      <a:pt x="1613" y="123"/>
                    </a:lnTo>
                    <a:close/>
                    <a:moveTo>
                      <a:pt x="1684" y="300"/>
                    </a:moveTo>
                    <a:lnTo>
                      <a:pt x="1674" y="305"/>
                    </a:lnTo>
                    <a:lnTo>
                      <a:pt x="1646" y="305"/>
                    </a:lnTo>
                    <a:lnTo>
                      <a:pt x="1651" y="279"/>
                    </a:lnTo>
                    <a:lnTo>
                      <a:pt x="1658" y="279"/>
                    </a:lnTo>
                    <a:lnTo>
                      <a:pt x="1667" y="267"/>
                    </a:lnTo>
                    <a:lnTo>
                      <a:pt x="1667" y="279"/>
                    </a:lnTo>
                    <a:lnTo>
                      <a:pt x="1674" y="279"/>
                    </a:lnTo>
                    <a:lnTo>
                      <a:pt x="1674" y="267"/>
                    </a:lnTo>
                    <a:lnTo>
                      <a:pt x="1684" y="279"/>
                    </a:lnTo>
                    <a:lnTo>
                      <a:pt x="1667" y="284"/>
                    </a:lnTo>
                    <a:lnTo>
                      <a:pt x="1667" y="300"/>
                    </a:lnTo>
                    <a:lnTo>
                      <a:pt x="1684" y="300"/>
                    </a:lnTo>
                    <a:lnTo>
                      <a:pt x="1684" y="300"/>
                    </a:lnTo>
                    <a:lnTo>
                      <a:pt x="1684" y="300"/>
                    </a:lnTo>
                    <a:close/>
                    <a:moveTo>
                      <a:pt x="1629" y="279"/>
                    </a:moveTo>
                    <a:lnTo>
                      <a:pt x="1620" y="279"/>
                    </a:lnTo>
                    <a:lnTo>
                      <a:pt x="1629" y="267"/>
                    </a:lnTo>
                    <a:lnTo>
                      <a:pt x="1637" y="267"/>
                    </a:lnTo>
                    <a:lnTo>
                      <a:pt x="1629" y="279"/>
                    </a:lnTo>
                    <a:lnTo>
                      <a:pt x="1629" y="279"/>
                    </a:lnTo>
                    <a:lnTo>
                      <a:pt x="1629" y="279"/>
                    </a:lnTo>
                    <a:close/>
                    <a:moveTo>
                      <a:pt x="859" y="338"/>
                    </a:moveTo>
                    <a:lnTo>
                      <a:pt x="848" y="334"/>
                    </a:lnTo>
                    <a:lnTo>
                      <a:pt x="859" y="322"/>
                    </a:lnTo>
                    <a:lnTo>
                      <a:pt x="859" y="338"/>
                    </a:lnTo>
                    <a:lnTo>
                      <a:pt x="859" y="338"/>
                    </a:lnTo>
                    <a:lnTo>
                      <a:pt x="859" y="338"/>
                    </a:lnTo>
                    <a:close/>
                    <a:moveTo>
                      <a:pt x="810" y="395"/>
                    </a:moveTo>
                    <a:lnTo>
                      <a:pt x="805" y="388"/>
                    </a:lnTo>
                    <a:lnTo>
                      <a:pt x="810" y="378"/>
                    </a:lnTo>
                    <a:lnTo>
                      <a:pt x="822" y="395"/>
                    </a:lnTo>
                    <a:lnTo>
                      <a:pt x="810" y="395"/>
                    </a:lnTo>
                    <a:lnTo>
                      <a:pt x="810" y="395"/>
                    </a:lnTo>
                    <a:lnTo>
                      <a:pt x="810" y="395"/>
                    </a:lnTo>
                    <a:close/>
                    <a:moveTo>
                      <a:pt x="1651" y="411"/>
                    </a:moveTo>
                    <a:lnTo>
                      <a:pt x="1651" y="400"/>
                    </a:lnTo>
                    <a:lnTo>
                      <a:pt x="1658" y="400"/>
                    </a:lnTo>
                    <a:lnTo>
                      <a:pt x="1651" y="411"/>
                    </a:lnTo>
                    <a:lnTo>
                      <a:pt x="1651" y="411"/>
                    </a:lnTo>
                    <a:lnTo>
                      <a:pt x="1651" y="411"/>
                    </a:lnTo>
                    <a:close/>
                    <a:moveTo>
                      <a:pt x="1689" y="428"/>
                    </a:moveTo>
                    <a:lnTo>
                      <a:pt x="1684" y="411"/>
                    </a:lnTo>
                    <a:lnTo>
                      <a:pt x="1689" y="400"/>
                    </a:lnTo>
                    <a:lnTo>
                      <a:pt x="1689" y="428"/>
                    </a:lnTo>
                    <a:lnTo>
                      <a:pt x="1689" y="428"/>
                    </a:lnTo>
                    <a:lnTo>
                      <a:pt x="1689" y="428"/>
                    </a:lnTo>
                    <a:close/>
                    <a:moveTo>
                      <a:pt x="1667" y="416"/>
                    </a:moveTo>
                    <a:lnTo>
                      <a:pt x="1667" y="411"/>
                    </a:lnTo>
                    <a:lnTo>
                      <a:pt x="1674" y="411"/>
                    </a:lnTo>
                    <a:lnTo>
                      <a:pt x="1667" y="416"/>
                    </a:lnTo>
                    <a:lnTo>
                      <a:pt x="1667" y="416"/>
                    </a:lnTo>
                    <a:lnTo>
                      <a:pt x="1667" y="416"/>
                    </a:lnTo>
                    <a:close/>
                    <a:moveTo>
                      <a:pt x="1835" y="489"/>
                    </a:moveTo>
                    <a:lnTo>
                      <a:pt x="1835" y="482"/>
                    </a:lnTo>
                    <a:lnTo>
                      <a:pt x="1847" y="473"/>
                    </a:lnTo>
                    <a:lnTo>
                      <a:pt x="1873" y="466"/>
                    </a:lnTo>
                    <a:lnTo>
                      <a:pt x="1873" y="473"/>
                    </a:lnTo>
                    <a:lnTo>
                      <a:pt x="1863" y="473"/>
                    </a:lnTo>
                    <a:lnTo>
                      <a:pt x="1863" y="489"/>
                    </a:lnTo>
                    <a:lnTo>
                      <a:pt x="1835" y="489"/>
                    </a:lnTo>
                    <a:lnTo>
                      <a:pt x="1835" y="489"/>
                    </a:lnTo>
                    <a:lnTo>
                      <a:pt x="1835" y="489"/>
                    </a:lnTo>
                    <a:close/>
                    <a:moveTo>
                      <a:pt x="1863" y="522"/>
                    </a:moveTo>
                    <a:lnTo>
                      <a:pt x="1852" y="511"/>
                    </a:lnTo>
                    <a:lnTo>
                      <a:pt x="1868" y="511"/>
                    </a:lnTo>
                    <a:lnTo>
                      <a:pt x="1868" y="522"/>
                    </a:lnTo>
                    <a:lnTo>
                      <a:pt x="1863" y="522"/>
                    </a:lnTo>
                    <a:lnTo>
                      <a:pt x="1863" y="522"/>
                    </a:lnTo>
                    <a:lnTo>
                      <a:pt x="1863" y="522"/>
                    </a:lnTo>
                    <a:close/>
                    <a:moveTo>
                      <a:pt x="2338" y="622"/>
                    </a:moveTo>
                    <a:lnTo>
                      <a:pt x="2322" y="600"/>
                    </a:lnTo>
                    <a:lnTo>
                      <a:pt x="2338" y="610"/>
                    </a:lnTo>
                    <a:lnTo>
                      <a:pt x="2348" y="617"/>
                    </a:lnTo>
                    <a:lnTo>
                      <a:pt x="2338" y="622"/>
                    </a:lnTo>
                    <a:lnTo>
                      <a:pt x="2338" y="622"/>
                    </a:lnTo>
                    <a:lnTo>
                      <a:pt x="2338" y="622"/>
                    </a:lnTo>
                    <a:close/>
                    <a:moveTo>
                      <a:pt x="2376" y="671"/>
                    </a:moveTo>
                    <a:lnTo>
                      <a:pt x="2369" y="671"/>
                    </a:lnTo>
                    <a:lnTo>
                      <a:pt x="2376" y="667"/>
                    </a:lnTo>
                    <a:lnTo>
                      <a:pt x="2376" y="671"/>
                    </a:lnTo>
                    <a:lnTo>
                      <a:pt x="2376" y="671"/>
                    </a:lnTo>
                    <a:lnTo>
                      <a:pt x="2376" y="671"/>
                    </a:lnTo>
                    <a:close/>
                    <a:moveTo>
                      <a:pt x="2520" y="749"/>
                    </a:moveTo>
                    <a:lnTo>
                      <a:pt x="2515" y="745"/>
                    </a:lnTo>
                    <a:lnTo>
                      <a:pt x="2520" y="733"/>
                    </a:lnTo>
                    <a:lnTo>
                      <a:pt x="2520" y="749"/>
                    </a:lnTo>
                    <a:lnTo>
                      <a:pt x="2520" y="749"/>
                    </a:lnTo>
                    <a:lnTo>
                      <a:pt x="2520" y="749"/>
                    </a:lnTo>
                    <a:close/>
                    <a:moveTo>
                      <a:pt x="2520" y="761"/>
                    </a:moveTo>
                    <a:lnTo>
                      <a:pt x="2520" y="745"/>
                    </a:lnTo>
                    <a:lnTo>
                      <a:pt x="2532" y="749"/>
                    </a:lnTo>
                    <a:lnTo>
                      <a:pt x="2520" y="761"/>
                    </a:lnTo>
                    <a:lnTo>
                      <a:pt x="2520" y="761"/>
                    </a:lnTo>
                    <a:lnTo>
                      <a:pt x="2520" y="761"/>
                    </a:lnTo>
                    <a:close/>
                    <a:moveTo>
                      <a:pt x="172" y="799"/>
                    </a:moveTo>
                    <a:lnTo>
                      <a:pt x="163" y="799"/>
                    </a:lnTo>
                    <a:lnTo>
                      <a:pt x="179" y="782"/>
                    </a:lnTo>
                    <a:lnTo>
                      <a:pt x="172" y="799"/>
                    </a:lnTo>
                    <a:lnTo>
                      <a:pt x="172" y="799"/>
                    </a:lnTo>
                    <a:lnTo>
                      <a:pt x="172" y="799"/>
                    </a:lnTo>
                    <a:close/>
                    <a:moveTo>
                      <a:pt x="2629" y="910"/>
                    </a:moveTo>
                    <a:lnTo>
                      <a:pt x="2629" y="905"/>
                    </a:lnTo>
                    <a:lnTo>
                      <a:pt x="2638" y="910"/>
                    </a:lnTo>
                    <a:lnTo>
                      <a:pt x="2629" y="910"/>
                    </a:lnTo>
                    <a:lnTo>
                      <a:pt x="2629" y="910"/>
                    </a:lnTo>
                    <a:lnTo>
                      <a:pt x="2629" y="910"/>
                    </a:lnTo>
                    <a:close/>
                    <a:moveTo>
                      <a:pt x="2688" y="1021"/>
                    </a:moveTo>
                    <a:lnTo>
                      <a:pt x="2671" y="1000"/>
                    </a:lnTo>
                    <a:lnTo>
                      <a:pt x="2688" y="1004"/>
                    </a:lnTo>
                    <a:lnTo>
                      <a:pt x="2692" y="1021"/>
                    </a:lnTo>
                    <a:lnTo>
                      <a:pt x="2688" y="1021"/>
                    </a:lnTo>
                    <a:lnTo>
                      <a:pt x="2688" y="1021"/>
                    </a:lnTo>
                    <a:lnTo>
                      <a:pt x="2688" y="1021"/>
                    </a:lnTo>
                    <a:close/>
                    <a:moveTo>
                      <a:pt x="2818" y="1170"/>
                    </a:moveTo>
                    <a:lnTo>
                      <a:pt x="2801" y="1153"/>
                    </a:lnTo>
                    <a:lnTo>
                      <a:pt x="2806" y="1132"/>
                    </a:lnTo>
                    <a:lnTo>
                      <a:pt x="2822" y="1115"/>
                    </a:lnTo>
                    <a:lnTo>
                      <a:pt x="2818" y="1099"/>
                    </a:lnTo>
                    <a:lnTo>
                      <a:pt x="2822" y="1094"/>
                    </a:lnTo>
                    <a:lnTo>
                      <a:pt x="2834" y="1115"/>
                    </a:lnTo>
                    <a:lnTo>
                      <a:pt x="2818" y="1170"/>
                    </a:lnTo>
                    <a:lnTo>
                      <a:pt x="2818" y="1170"/>
                    </a:lnTo>
                    <a:lnTo>
                      <a:pt x="2818" y="1170"/>
                    </a:lnTo>
                    <a:close/>
                    <a:moveTo>
                      <a:pt x="16" y="1203"/>
                    </a:moveTo>
                    <a:lnTo>
                      <a:pt x="0" y="1170"/>
                    </a:lnTo>
                    <a:lnTo>
                      <a:pt x="0" y="1148"/>
                    </a:lnTo>
                    <a:lnTo>
                      <a:pt x="16" y="1203"/>
                    </a:lnTo>
                    <a:lnTo>
                      <a:pt x="16" y="1203"/>
                    </a:lnTo>
                    <a:lnTo>
                      <a:pt x="16" y="1203"/>
                    </a:lnTo>
                    <a:close/>
                    <a:moveTo>
                      <a:pt x="2839" y="1297"/>
                    </a:moveTo>
                    <a:lnTo>
                      <a:pt x="2834" y="1276"/>
                    </a:lnTo>
                    <a:lnTo>
                      <a:pt x="2839" y="1264"/>
                    </a:lnTo>
                    <a:lnTo>
                      <a:pt x="2839" y="1297"/>
                    </a:lnTo>
                    <a:lnTo>
                      <a:pt x="2839" y="1297"/>
                    </a:lnTo>
                    <a:lnTo>
                      <a:pt x="2839" y="1297"/>
                    </a:lnTo>
                    <a:close/>
                    <a:moveTo>
                      <a:pt x="2839" y="1321"/>
                    </a:moveTo>
                    <a:lnTo>
                      <a:pt x="2839" y="1297"/>
                    </a:lnTo>
                    <a:lnTo>
                      <a:pt x="2851" y="1297"/>
                    </a:lnTo>
                    <a:lnTo>
                      <a:pt x="2839" y="1321"/>
                    </a:lnTo>
                    <a:lnTo>
                      <a:pt x="2839" y="1321"/>
                    </a:lnTo>
                    <a:lnTo>
                      <a:pt x="2839" y="1321"/>
                    </a:lnTo>
                    <a:close/>
                    <a:moveTo>
                      <a:pt x="1755" y="1963"/>
                    </a:moveTo>
                    <a:lnTo>
                      <a:pt x="1759" y="1963"/>
                    </a:lnTo>
                    <a:lnTo>
                      <a:pt x="1764" y="1968"/>
                    </a:lnTo>
                    <a:lnTo>
                      <a:pt x="1759" y="1980"/>
                    </a:lnTo>
                    <a:lnTo>
                      <a:pt x="1738" y="1968"/>
                    </a:lnTo>
                    <a:lnTo>
                      <a:pt x="1722" y="1996"/>
                    </a:lnTo>
                    <a:lnTo>
                      <a:pt x="1705" y="1980"/>
                    </a:lnTo>
                    <a:lnTo>
                      <a:pt x="1667" y="1985"/>
                    </a:lnTo>
                    <a:lnTo>
                      <a:pt x="1651" y="1980"/>
                    </a:lnTo>
                    <a:lnTo>
                      <a:pt x="1658" y="1963"/>
                    </a:lnTo>
                    <a:lnTo>
                      <a:pt x="1705" y="1947"/>
                    </a:lnTo>
                    <a:lnTo>
                      <a:pt x="1722" y="1959"/>
                    </a:lnTo>
                    <a:lnTo>
                      <a:pt x="1726" y="1963"/>
                    </a:lnTo>
                    <a:lnTo>
                      <a:pt x="1743" y="1968"/>
                    </a:lnTo>
                    <a:lnTo>
                      <a:pt x="1755" y="1963"/>
                    </a:lnTo>
                    <a:lnTo>
                      <a:pt x="1755" y="1963"/>
                    </a:lnTo>
                    <a:lnTo>
                      <a:pt x="1755" y="1963"/>
                    </a:lnTo>
                    <a:close/>
                    <a:moveTo>
                      <a:pt x="2267" y="2185"/>
                    </a:moveTo>
                    <a:lnTo>
                      <a:pt x="2267" y="2181"/>
                    </a:lnTo>
                    <a:lnTo>
                      <a:pt x="2284" y="2181"/>
                    </a:lnTo>
                    <a:lnTo>
                      <a:pt x="2267" y="2185"/>
                    </a:lnTo>
                    <a:lnTo>
                      <a:pt x="2267" y="2185"/>
                    </a:lnTo>
                    <a:lnTo>
                      <a:pt x="2267" y="2185"/>
                    </a:lnTo>
                    <a:close/>
                    <a:moveTo>
                      <a:pt x="2267" y="2202"/>
                    </a:moveTo>
                    <a:lnTo>
                      <a:pt x="2251" y="2190"/>
                    </a:lnTo>
                    <a:lnTo>
                      <a:pt x="2267" y="2185"/>
                    </a:lnTo>
                    <a:lnTo>
                      <a:pt x="2267" y="2202"/>
                    </a:lnTo>
                    <a:lnTo>
                      <a:pt x="2267" y="2202"/>
                    </a:lnTo>
                    <a:lnTo>
                      <a:pt x="2267" y="2202"/>
                    </a:lnTo>
                    <a:close/>
                    <a:moveTo>
                      <a:pt x="2352" y="2219"/>
                    </a:moveTo>
                    <a:lnTo>
                      <a:pt x="2359" y="2219"/>
                    </a:lnTo>
                    <a:lnTo>
                      <a:pt x="2352" y="2219"/>
                    </a:lnTo>
                    <a:lnTo>
                      <a:pt x="2352" y="2219"/>
                    </a:lnTo>
                    <a:lnTo>
                      <a:pt x="2352" y="2219"/>
                    </a:lnTo>
                    <a:close/>
                    <a:moveTo>
                      <a:pt x="2170" y="2330"/>
                    </a:moveTo>
                    <a:lnTo>
                      <a:pt x="2170" y="2301"/>
                    </a:lnTo>
                    <a:lnTo>
                      <a:pt x="2175" y="2280"/>
                    </a:lnTo>
                    <a:lnTo>
                      <a:pt x="2187" y="2289"/>
                    </a:lnTo>
                    <a:lnTo>
                      <a:pt x="2187" y="2313"/>
                    </a:lnTo>
                    <a:lnTo>
                      <a:pt x="2170" y="2330"/>
                    </a:lnTo>
                    <a:lnTo>
                      <a:pt x="2170" y="2330"/>
                    </a:lnTo>
                    <a:lnTo>
                      <a:pt x="2170" y="2330"/>
                    </a:lnTo>
                    <a:close/>
                    <a:moveTo>
                      <a:pt x="2466" y="2346"/>
                    </a:moveTo>
                    <a:lnTo>
                      <a:pt x="2440" y="2313"/>
                    </a:lnTo>
                    <a:lnTo>
                      <a:pt x="2444" y="2296"/>
                    </a:lnTo>
                    <a:lnTo>
                      <a:pt x="2456" y="2296"/>
                    </a:lnTo>
                    <a:lnTo>
                      <a:pt x="2477" y="2313"/>
                    </a:lnTo>
                    <a:lnTo>
                      <a:pt x="2477" y="2334"/>
                    </a:lnTo>
                    <a:lnTo>
                      <a:pt x="2466" y="2346"/>
                    </a:lnTo>
                    <a:lnTo>
                      <a:pt x="2466" y="2346"/>
                    </a:lnTo>
                    <a:lnTo>
                      <a:pt x="2466" y="2346"/>
                    </a:lnTo>
                    <a:close/>
                    <a:moveTo>
                      <a:pt x="2482" y="2363"/>
                    </a:moveTo>
                    <a:lnTo>
                      <a:pt x="2477" y="2351"/>
                    </a:lnTo>
                    <a:lnTo>
                      <a:pt x="2461" y="2363"/>
                    </a:lnTo>
                    <a:lnTo>
                      <a:pt x="2456" y="2351"/>
                    </a:lnTo>
                    <a:lnTo>
                      <a:pt x="2482" y="2346"/>
                    </a:lnTo>
                    <a:lnTo>
                      <a:pt x="2494" y="2351"/>
                    </a:lnTo>
                    <a:lnTo>
                      <a:pt x="2482" y="2363"/>
                    </a:lnTo>
                    <a:lnTo>
                      <a:pt x="2482" y="2363"/>
                    </a:lnTo>
                    <a:lnTo>
                      <a:pt x="2482" y="2363"/>
                    </a:lnTo>
                    <a:close/>
                    <a:moveTo>
                      <a:pt x="2239" y="2363"/>
                    </a:moveTo>
                    <a:lnTo>
                      <a:pt x="2239" y="2351"/>
                    </a:lnTo>
                    <a:lnTo>
                      <a:pt x="2246" y="2351"/>
                    </a:lnTo>
                    <a:lnTo>
                      <a:pt x="2239" y="2363"/>
                    </a:lnTo>
                    <a:lnTo>
                      <a:pt x="2239" y="2363"/>
                    </a:lnTo>
                    <a:lnTo>
                      <a:pt x="2239" y="2363"/>
                    </a:lnTo>
                    <a:close/>
                    <a:moveTo>
                      <a:pt x="2466" y="2367"/>
                    </a:moveTo>
                    <a:lnTo>
                      <a:pt x="2461" y="2367"/>
                    </a:lnTo>
                    <a:lnTo>
                      <a:pt x="2466" y="2363"/>
                    </a:lnTo>
                    <a:lnTo>
                      <a:pt x="2466" y="2367"/>
                    </a:lnTo>
                    <a:lnTo>
                      <a:pt x="2466" y="2367"/>
                    </a:lnTo>
                    <a:lnTo>
                      <a:pt x="2466" y="2367"/>
                    </a:lnTo>
                    <a:close/>
                    <a:moveTo>
                      <a:pt x="2239" y="2384"/>
                    </a:moveTo>
                    <a:lnTo>
                      <a:pt x="2246" y="2367"/>
                    </a:lnTo>
                    <a:lnTo>
                      <a:pt x="2246" y="2374"/>
                    </a:lnTo>
                    <a:lnTo>
                      <a:pt x="2239" y="2384"/>
                    </a:lnTo>
                    <a:lnTo>
                      <a:pt x="2239" y="2384"/>
                    </a:lnTo>
                    <a:lnTo>
                      <a:pt x="2239" y="2384"/>
                    </a:lnTo>
                    <a:close/>
                    <a:moveTo>
                      <a:pt x="2385" y="2630"/>
                    </a:moveTo>
                    <a:lnTo>
                      <a:pt x="2322" y="2622"/>
                    </a:lnTo>
                    <a:lnTo>
                      <a:pt x="2315" y="2613"/>
                    </a:lnTo>
                    <a:lnTo>
                      <a:pt x="2331" y="2613"/>
                    </a:lnTo>
                    <a:lnTo>
                      <a:pt x="2331" y="2606"/>
                    </a:lnTo>
                    <a:lnTo>
                      <a:pt x="2305" y="2606"/>
                    </a:lnTo>
                    <a:lnTo>
                      <a:pt x="2284" y="2573"/>
                    </a:lnTo>
                    <a:lnTo>
                      <a:pt x="2267" y="2540"/>
                    </a:lnTo>
                    <a:lnTo>
                      <a:pt x="2263" y="2511"/>
                    </a:lnTo>
                    <a:lnTo>
                      <a:pt x="2277" y="2528"/>
                    </a:lnTo>
                    <a:lnTo>
                      <a:pt x="2277" y="2535"/>
                    </a:lnTo>
                    <a:lnTo>
                      <a:pt x="2284" y="2518"/>
                    </a:lnTo>
                    <a:lnTo>
                      <a:pt x="2267" y="2502"/>
                    </a:lnTo>
                    <a:lnTo>
                      <a:pt x="2225" y="2424"/>
                    </a:lnTo>
                    <a:lnTo>
                      <a:pt x="2225" y="2400"/>
                    </a:lnTo>
                    <a:lnTo>
                      <a:pt x="2225" y="2384"/>
                    </a:lnTo>
                    <a:lnTo>
                      <a:pt x="2267" y="2384"/>
                    </a:lnTo>
                    <a:lnTo>
                      <a:pt x="2331" y="2417"/>
                    </a:lnTo>
                    <a:lnTo>
                      <a:pt x="2359" y="2424"/>
                    </a:lnTo>
                    <a:lnTo>
                      <a:pt x="2369" y="2407"/>
                    </a:lnTo>
                    <a:lnTo>
                      <a:pt x="2385" y="2417"/>
                    </a:lnTo>
                    <a:lnTo>
                      <a:pt x="2376" y="2407"/>
                    </a:lnTo>
                    <a:lnTo>
                      <a:pt x="2385" y="2400"/>
                    </a:lnTo>
                    <a:lnTo>
                      <a:pt x="2414" y="2407"/>
                    </a:lnTo>
                    <a:lnTo>
                      <a:pt x="2428" y="2391"/>
                    </a:lnTo>
                    <a:lnTo>
                      <a:pt x="2444" y="2391"/>
                    </a:lnTo>
                    <a:lnTo>
                      <a:pt x="2456" y="2384"/>
                    </a:lnTo>
                    <a:lnTo>
                      <a:pt x="2477" y="2400"/>
                    </a:lnTo>
                    <a:lnTo>
                      <a:pt x="2477" y="2474"/>
                    </a:lnTo>
                    <a:lnTo>
                      <a:pt x="2482" y="2511"/>
                    </a:lnTo>
                    <a:lnTo>
                      <a:pt x="2477" y="2511"/>
                    </a:lnTo>
                    <a:lnTo>
                      <a:pt x="2477" y="2502"/>
                    </a:lnTo>
                    <a:lnTo>
                      <a:pt x="2466" y="2485"/>
                    </a:lnTo>
                    <a:lnTo>
                      <a:pt x="2444" y="2568"/>
                    </a:lnTo>
                    <a:lnTo>
                      <a:pt x="2456" y="2568"/>
                    </a:lnTo>
                    <a:lnTo>
                      <a:pt x="2456" y="2596"/>
                    </a:lnTo>
                    <a:lnTo>
                      <a:pt x="2444" y="2589"/>
                    </a:lnTo>
                    <a:lnTo>
                      <a:pt x="2444" y="2596"/>
                    </a:lnTo>
                    <a:lnTo>
                      <a:pt x="2428" y="2585"/>
                    </a:lnTo>
                    <a:lnTo>
                      <a:pt x="2440" y="2573"/>
                    </a:lnTo>
                    <a:lnTo>
                      <a:pt x="2440" y="2585"/>
                    </a:lnTo>
                    <a:lnTo>
                      <a:pt x="2456" y="2585"/>
                    </a:lnTo>
                    <a:lnTo>
                      <a:pt x="2444" y="2573"/>
                    </a:lnTo>
                    <a:lnTo>
                      <a:pt x="2423" y="2568"/>
                    </a:lnTo>
                    <a:lnTo>
                      <a:pt x="2423" y="2573"/>
                    </a:lnTo>
                    <a:lnTo>
                      <a:pt x="2414" y="2585"/>
                    </a:lnTo>
                    <a:lnTo>
                      <a:pt x="2414" y="2568"/>
                    </a:lnTo>
                    <a:lnTo>
                      <a:pt x="2407" y="2568"/>
                    </a:lnTo>
                    <a:lnTo>
                      <a:pt x="2407" y="2596"/>
                    </a:lnTo>
                    <a:lnTo>
                      <a:pt x="2385" y="2589"/>
                    </a:lnTo>
                    <a:lnTo>
                      <a:pt x="2390" y="2606"/>
                    </a:lnTo>
                    <a:lnTo>
                      <a:pt x="2385" y="2630"/>
                    </a:lnTo>
                    <a:lnTo>
                      <a:pt x="2385" y="2630"/>
                    </a:lnTo>
                    <a:lnTo>
                      <a:pt x="2385" y="2630"/>
                    </a:lnTo>
                    <a:close/>
                    <a:moveTo>
                      <a:pt x="2461" y="2556"/>
                    </a:moveTo>
                    <a:lnTo>
                      <a:pt x="2461" y="2540"/>
                    </a:lnTo>
                    <a:lnTo>
                      <a:pt x="2466" y="2540"/>
                    </a:lnTo>
                    <a:lnTo>
                      <a:pt x="2466" y="2552"/>
                    </a:lnTo>
                    <a:lnTo>
                      <a:pt x="2461" y="2556"/>
                    </a:lnTo>
                    <a:lnTo>
                      <a:pt x="2461" y="2556"/>
                    </a:lnTo>
                    <a:lnTo>
                      <a:pt x="2461" y="2556"/>
                    </a:lnTo>
                    <a:close/>
                    <a:moveTo>
                      <a:pt x="2414" y="2596"/>
                    </a:moveTo>
                    <a:lnTo>
                      <a:pt x="2407" y="2589"/>
                    </a:lnTo>
                    <a:lnTo>
                      <a:pt x="2414" y="2585"/>
                    </a:lnTo>
                    <a:lnTo>
                      <a:pt x="2414" y="2596"/>
                    </a:lnTo>
                    <a:lnTo>
                      <a:pt x="2414" y="2596"/>
                    </a:lnTo>
                    <a:lnTo>
                      <a:pt x="2414" y="2596"/>
                    </a:lnTo>
                    <a:close/>
                    <a:moveTo>
                      <a:pt x="2407" y="2622"/>
                    </a:moveTo>
                    <a:lnTo>
                      <a:pt x="2390" y="2613"/>
                    </a:lnTo>
                    <a:lnTo>
                      <a:pt x="2407" y="2596"/>
                    </a:lnTo>
                    <a:lnTo>
                      <a:pt x="2414" y="2613"/>
                    </a:lnTo>
                    <a:lnTo>
                      <a:pt x="2407" y="2622"/>
                    </a:lnTo>
                    <a:lnTo>
                      <a:pt x="2407" y="2622"/>
                    </a:lnTo>
                    <a:lnTo>
                      <a:pt x="2407" y="2622"/>
                    </a:lnTo>
                    <a:close/>
                    <a:moveTo>
                      <a:pt x="3217" y="3666"/>
                    </a:moveTo>
                    <a:lnTo>
                      <a:pt x="3217" y="3659"/>
                    </a:lnTo>
                    <a:lnTo>
                      <a:pt x="3229" y="3643"/>
                    </a:lnTo>
                    <a:lnTo>
                      <a:pt x="3217" y="3666"/>
                    </a:lnTo>
                    <a:lnTo>
                      <a:pt x="3217" y="3666"/>
                    </a:lnTo>
                    <a:lnTo>
                      <a:pt x="3217" y="366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19" name="Freeform 395">
                <a:extLst>
                  <a:ext uri="{FF2B5EF4-FFF2-40B4-BE49-F238E27FC236}">
                    <a16:creationId xmlns:a16="http://schemas.microsoft.com/office/drawing/2014/main" id="{583AF3E2-3244-490D-AF3D-1A3ED14A2C18}"/>
                  </a:ext>
                </a:extLst>
              </p:cNvPr>
              <p:cNvSpPr>
                <a:spLocks noEditPoints="1"/>
              </p:cNvSpPr>
              <p:nvPr/>
            </p:nvSpPr>
            <p:spPr bwMode="gray">
              <a:xfrm>
                <a:off x="9267064" y="3256451"/>
                <a:ext cx="132146" cy="183625"/>
              </a:xfrm>
              <a:custGeom>
                <a:avLst/>
                <a:gdLst>
                  <a:gd name="T0" fmla="*/ 71 w 321"/>
                  <a:gd name="T1" fmla="*/ 262 h 446"/>
                  <a:gd name="T2" fmla="*/ 38 w 321"/>
                  <a:gd name="T3" fmla="*/ 229 h 446"/>
                  <a:gd name="T4" fmla="*/ 55 w 321"/>
                  <a:gd name="T5" fmla="*/ 184 h 446"/>
                  <a:gd name="T6" fmla="*/ 5 w 321"/>
                  <a:gd name="T7" fmla="*/ 163 h 446"/>
                  <a:gd name="T8" fmla="*/ 5 w 321"/>
                  <a:gd name="T9" fmla="*/ 128 h 446"/>
                  <a:gd name="T10" fmla="*/ 71 w 321"/>
                  <a:gd name="T11" fmla="*/ 111 h 446"/>
                  <a:gd name="T12" fmla="*/ 55 w 321"/>
                  <a:gd name="T13" fmla="*/ 90 h 446"/>
                  <a:gd name="T14" fmla="*/ 5 w 321"/>
                  <a:gd name="T15" fmla="*/ 57 h 446"/>
                  <a:gd name="T16" fmla="*/ 33 w 321"/>
                  <a:gd name="T17" fmla="*/ 5 h 446"/>
                  <a:gd name="T18" fmla="*/ 59 w 321"/>
                  <a:gd name="T19" fmla="*/ 33 h 446"/>
                  <a:gd name="T20" fmla="*/ 71 w 321"/>
                  <a:gd name="T21" fmla="*/ 17 h 446"/>
                  <a:gd name="T22" fmla="*/ 92 w 321"/>
                  <a:gd name="T23" fmla="*/ 50 h 446"/>
                  <a:gd name="T24" fmla="*/ 123 w 321"/>
                  <a:gd name="T25" fmla="*/ 33 h 446"/>
                  <a:gd name="T26" fmla="*/ 168 w 321"/>
                  <a:gd name="T27" fmla="*/ 111 h 446"/>
                  <a:gd name="T28" fmla="*/ 312 w 321"/>
                  <a:gd name="T29" fmla="*/ 135 h 446"/>
                  <a:gd name="T30" fmla="*/ 274 w 321"/>
                  <a:gd name="T31" fmla="*/ 172 h 446"/>
                  <a:gd name="T32" fmla="*/ 232 w 321"/>
                  <a:gd name="T33" fmla="*/ 205 h 446"/>
                  <a:gd name="T34" fmla="*/ 236 w 321"/>
                  <a:gd name="T35" fmla="*/ 274 h 446"/>
                  <a:gd name="T36" fmla="*/ 258 w 321"/>
                  <a:gd name="T37" fmla="*/ 279 h 446"/>
                  <a:gd name="T38" fmla="*/ 274 w 321"/>
                  <a:gd name="T39" fmla="*/ 241 h 446"/>
                  <a:gd name="T40" fmla="*/ 300 w 321"/>
                  <a:gd name="T41" fmla="*/ 224 h 446"/>
                  <a:gd name="T42" fmla="*/ 312 w 321"/>
                  <a:gd name="T43" fmla="*/ 302 h 446"/>
                  <a:gd name="T44" fmla="*/ 321 w 321"/>
                  <a:gd name="T45" fmla="*/ 406 h 446"/>
                  <a:gd name="T46" fmla="*/ 291 w 321"/>
                  <a:gd name="T47" fmla="*/ 406 h 446"/>
                  <a:gd name="T48" fmla="*/ 286 w 321"/>
                  <a:gd name="T49" fmla="*/ 413 h 446"/>
                  <a:gd name="T50" fmla="*/ 269 w 321"/>
                  <a:gd name="T51" fmla="*/ 373 h 446"/>
                  <a:gd name="T52" fmla="*/ 220 w 321"/>
                  <a:gd name="T53" fmla="*/ 312 h 446"/>
                  <a:gd name="T54" fmla="*/ 182 w 321"/>
                  <a:gd name="T55" fmla="*/ 274 h 446"/>
                  <a:gd name="T56" fmla="*/ 182 w 321"/>
                  <a:gd name="T57" fmla="*/ 241 h 446"/>
                  <a:gd name="T58" fmla="*/ 177 w 321"/>
                  <a:gd name="T59" fmla="*/ 241 h 446"/>
                  <a:gd name="T60" fmla="*/ 182 w 321"/>
                  <a:gd name="T61" fmla="*/ 262 h 446"/>
                  <a:gd name="T62" fmla="*/ 168 w 321"/>
                  <a:gd name="T63" fmla="*/ 295 h 446"/>
                  <a:gd name="T64" fmla="*/ 168 w 321"/>
                  <a:gd name="T65" fmla="*/ 352 h 446"/>
                  <a:gd name="T66" fmla="*/ 151 w 321"/>
                  <a:gd name="T67" fmla="*/ 368 h 446"/>
                  <a:gd name="T68" fmla="*/ 144 w 321"/>
                  <a:gd name="T69" fmla="*/ 357 h 446"/>
                  <a:gd name="T70" fmla="*/ 140 w 321"/>
                  <a:gd name="T71" fmla="*/ 352 h 446"/>
                  <a:gd name="T72" fmla="*/ 130 w 321"/>
                  <a:gd name="T73" fmla="*/ 335 h 446"/>
                  <a:gd name="T74" fmla="*/ 109 w 321"/>
                  <a:gd name="T75" fmla="*/ 368 h 446"/>
                  <a:gd name="T76" fmla="*/ 97 w 321"/>
                  <a:gd name="T77" fmla="*/ 335 h 446"/>
                  <a:gd name="T78" fmla="*/ 92 w 321"/>
                  <a:gd name="T79" fmla="*/ 373 h 446"/>
                  <a:gd name="T80" fmla="*/ 76 w 321"/>
                  <a:gd name="T81" fmla="*/ 368 h 446"/>
                  <a:gd name="T82" fmla="*/ 76 w 321"/>
                  <a:gd name="T83" fmla="*/ 347 h 446"/>
                  <a:gd name="T84" fmla="*/ 168 w 321"/>
                  <a:gd name="T85" fmla="*/ 246 h 446"/>
                  <a:gd name="T86" fmla="*/ 177 w 321"/>
                  <a:gd name="T87" fmla="*/ 257 h 446"/>
                  <a:gd name="T88" fmla="*/ 177 w 321"/>
                  <a:gd name="T89" fmla="*/ 274 h 446"/>
                  <a:gd name="T90" fmla="*/ 182 w 321"/>
                  <a:gd name="T91" fmla="*/ 279 h 446"/>
                  <a:gd name="T92" fmla="*/ 182 w 321"/>
                  <a:gd name="T93" fmla="*/ 286 h 446"/>
                  <a:gd name="T94" fmla="*/ 177 w 321"/>
                  <a:gd name="T95" fmla="*/ 302 h 446"/>
                  <a:gd name="T96" fmla="*/ 182 w 321"/>
                  <a:gd name="T97" fmla="*/ 352 h 446"/>
                  <a:gd name="T98" fmla="*/ 182 w 321"/>
                  <a:gd name="T99" fmla="*/ 295 h 446"/>
                  <a:gd name="T100" fmla="*/ 199 w 321"/>
                  <a:gd name="T101" fmla="*/ 347 h 446"/>
                  <a:gd name="T102" fmla="*/ 182 w 321"/>
                  <a:gd name="T103" fmla="*/ 357 h 446"/>
                  <a:gd name="T104" fmla="*/ 236 w 321"/>
                  <a:gd name="T105" fmla="*/ 302 h 446"/>
                  <a:gd name="T106" fmla="*/ 248 w 321"/>
                  <a:gd name="T107" fmla="*/ 328 h 446"/>
                  <a:gd name="T108" fmla="*/ 215 w 321"/>
                  <a:gd name="T109" fmla="*/ 312 h 446"/>
                  <a:gd name="T110" fmla="*/ 215 w 321"/>
                  <a:gd name="T111" fmla="*/ 352 h 446"/>
                  <a:gd name="T112" fmla="*/ 177 w 321"/>
                  <a:gd name="T113" fmla="*/ 352 h 446"/>
                  <a:gd name="T114" fmla="*/ 177 w 321"/>
                  <a:gd name="T115" fmla="*/ 352 h 446"/>
                  <a:gd name="T116" fmla="*/ 168 w 321"/>
                  <a:gd name="T117" fmla="*/ 352 h 446"/>
                  <a:gd name="T118" fmla="*/ 168 w 321"/>
                  <a:gd name="T119" fmla="*/ 357 h 446"/>
                  <a:gd name="T120" fmla="*/ 269 w 321"/>
                  <a:gd name="T121" fmla="*/ 373 h 446"/>
                  <a:gd name="T122" fmla="*/ 269 w 321"/>
                  <a:gd name="T123" fmla="*/ 39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1" h="446">
                    <a:moveTo>
                      <a:pt x="76" y="347"/>
                    </a:moveTo>
                    <a:lnTo>
                      <a:pt x="59" y="279"/>
                    </a:lnTo>
                    <a:lnTo>
                      <a:pt x="71" y="262"/>
                    </a:lnTo>
                    <a:lnTo>
                      <a:pt x="55" y="257"/>
                    </a:lnTo>
                    <a:lnTo>
                      <a:pt x="55" y="241"/>
                    </a:lnTo>
                    <a:lnTo>
                      <a:pt x="38" y="229"/>
                    </a:lnTo>
                    <a:lnTo>
                      <a:pt x="38" y="217"/>
                    </a:lnTo>
                    <a:lnTo>
                      <a:pt x="55" y="205"/>
                    </a:lnTo>
                    <a:lnTo>
                      <a:pt x="55" y="184"/>
                    </a:lnTo>
                    <a:lnTo>
                      <a:pt x="43" y="172"/>
                    </a:lnTo>
                    <a:lnTo>
                      <a:pt x="38" y="172"/>
                    </a:lnTo>
                    <a:lnTo>
                      <a:pt x="5" y="163"/>
                    </a:lnTo>
                    <a:lnTo>
                      <a:pt x="0" y="151"/>
                    </a:lnTo>
                    <a:lnTo>
                      <a:pt x="17" y="135"/>
                    </a:lnTo>
                    <a:lnTo>
                      <a:pt x="5" y="128"/>
                    </a:lnTo>
                    <a:lnTo>
                      <a:pt x="21" y="135"/>
                    </a:lnTo>
                    <a:lnTo>
                      <a:pt x="33" y="111"/>
                    </a:lnTo>
                    <a:lnTo>
                      <a:pt x="71" y="111"/>
                    </a:lnTo>
                    <a:lnTo>
                      <a:pt x="71" y="106"/>
                    </a:lnTo>
                    <a:lnTo>
                      <a:pt x="59" y="94"/>
                    </a:lnTo>
                    <a:lnTo>
                      <a:pt x="55" y="90"/>
                    </a:lnTo>
                    <a:lnTo>
                      <a:pt x="38" y="90"/>
                    </a:lnTo>
                    <a:lnTo>
                      <a:pt x="21" y="61"/>
                    </a:lnTo>
                    <a:lnTo>
                      <a:pt x="5" y="57"/>
                    </a:lnTo>
                    <a:lnTo>
                      <a:pt x="17" y="33"/>
                    </a:lnTo>
                    <a:lnTo>
                      <a:pt x="38" y="17"/>
                    </a:lnTo>
                    <a:lnTo>
                      <a:pt x="33" y="5"/>
                    </a:lnTo>
                    <a:lnTo>
                      <a:pt x="21" y="5"/>
                    </a:lnTo>
                    <a:lnTo>
                      <a:pt x="33" y="0"/>
                    </a:lnTo>
                    <a:lnTo>
                      <a:pt x="59" y="33"/>
                    </a:lnTo>
                    <a:lnTo>
                      <a:pt x="76" y="24"/>
                    </a:lnTo>
                    <a:lnTo>
                      <a:pt x="59" y="17"/>
                    </a:lnTo>
                    <a:lnTo>
                      <a:pt x="71" y="17"/>
                    </a:lnTo>
                    <a:lnTo>
                      <a:pt x="76" y="17"/>
                    </a:lnTo>
                    <a:lnTo>
                      <a:pt x="76" y="33"/>
                    </a:lnTo>
                    <a:lnTo>
                      <a:pt x="92" y="50"/>
                    </a:lnTo>
                    <a:lnTo>
                      <a:pt x="109" y="50"/>
                    </a:lnTo>
                    <a:lnTo>
                      <a:pt x="114" y="33"/>
                    </a:lnTo>
                    <a:lnTo>
                      <a:pt x="123" y="33"/>
                    </a:lnTo>
                    <a:lnTo>
                      <a:pt x="130" y="57"/>
                    </a:lnTo>
                    <a:lnTo>
                      <a:pt x="130" y="106"/>
                    </a:lnTo>
                    <a:lnTo>
                      <a:pt x="168" y="111"/>
                    </a:lnTo>
                    <a:lnTo>
                      <a:pt x="286" y="111"/>
                    </a:lnTo>
                    <a:lnTo>
                      <a:pt x="307" y="118"/>
                    </a:lnTo>
                    <a:lnTo>
                      <a:pt x="312" y="135"/>
                    </a:lnTo>
                    <a:lnTo>
                      <a:pt x="300" y="135"/>
                    </a:lnTo>
                    <a:lnTo>
                      <a:pt x="291" y="168"/>
                    </a:lnTo>
                    <a:lnTo>
                      <a:pt x="274" y="172"/>
                    </a:lnTo>
                    <a:lnTo>
                      <a:pt x="269" y="189"/>
                    </a:lnTo>
                    <a:lnTo>
                      <a:pt x="236" y="189"/>
                    </a:lnTo>
                    <a:lnTo>
                      <a:pt x="232" y="205"/>
                    </a:lnTo>
                    <a:lnTo>
                      <a:pt x="220" y="229"/>
                    </a:lnTo>
                    <a:lnTo>
                      <a:pt x="232" y="274"/>
                    </a:lnTo>
                    <a:lnTo>
                      <a:pt x="236" y="274"/>
                    </a:lnTo>
                    <a:lnTo>
                      <a:pt x="236" y="257"/>
                    </a:lnTo>
                    <a:lnTo>
                      <a:pt x="248" y="279"/>
                    </a:lnTo>
                    <a:lnTo>
                      <a:pt x="258" y="279"/>
                    </a:lnTo>
                    <a:lnTo>
                      <a:pt x="269" y="274"/>
                    </a:lnTo>
                    <a:lnTo>
                      <a:pt x="258" y="257"/>
                    </a:lnTo>
                    <a:lnTo>
                      <a:pt x="274" y="241"/>
                    </a:lnTo>
                    <a:lnTo>
                      <a:pt x="274" y="224"/>
                    </a:lnTo>
                    <a:lnTo>
                      <a:pt x="286" y="229"/>
                    </a:lnTo>
                    <a:lnTo>
                      <a:pt x="300" y="224"/>
                    </a:lnTo>
                    <a:lnTo>
                      <a:pt x="307" y="257"/>
                    </a:lnTo>
                    <a:lnTo>
                      <a:pt x="307" y="279"/>
                    </a:lnTo>
                    <a:lnTo>
                      <a:pt x="312" y="302"/>
                    </a:lnTo>
                    <a:lnTo>
                      <a:pt x="321" y="357"/>
                    </a:lnTo>
                    <a:lnTo>
                      <a:pt x="321" y="406"/>
                    </a:lnTo>
                    <a:lnTo>
                      <a:pt x="321" y="406"/>
                    </a:lnTo>
                    <a:lnTo>
                      <a:pt x="307" y="390"/>
                    </a:lnTo>
                    <a:lnTo>
                      <a:pt x="300" y="402"/>
                    </a:lnTo>
                    <a:lnTo>
                      <a:pt x="291" y="406"/>
                    </a:lnTo>
                    <a:lnTo>
                      <a:pt x="300" y="425"/>
                    </a:lnTo>
                    <a:lnTo>
                      <a:pt x="300" y="446"/>
                    </a:lnTo>
                    <a:lnTo>
                      <a:pt x="286" y="413"/>
                    </a:lnTo>
                    <a:lnTo>
                      <a:pt x="274" y="402"/>
                    </a:lnTo>
                    <a:lnTo>
                      <a:pt x="286" y="385"/>
                    </a:lnTo>
                    <a:lnTo>
                      <a:pt x="269" y="373"/>
                    </a:lnTo>
                    <a:lnTo>
                      <a:pt x="258" y="319"/>
                    </a:lnTo>
                    <a:lnTo>
                      <a:pt x="236" y="295"/>
                    </a:lnTo>
                    <a:lnTo>
                      <a:pt x="220" y="312"/>
                    </a:lnTo>
                    <a:lnTo>
                      <a:pt x="203" y="312"/>
                    </a:lnTo>
                    <a:lnTo>
                      <a:pt x="199" y="302"/>
                    </a:lnTo>
                    <a:lnTo>
                      <a:pt x="182" y="274"/>
                    </a:lnTo>
                    <a:lnTo>
                      <a:pt x="182" y="241"/>
                    </a:lnTo>
                    <a:lnTo>
                      <a:pt x="194" y="241"/>
                    </a:lnTo>
                    <a:lnTo>
                      <a:pt x="182" y="241"/>
                    </a:lnTo>
                    <a:lnTo>
                      <a:pt x="182" y="229"/>
                    </a:lnTo>
                    <a:lnTo>
                      <a:pt x="177" y="229"/>
                    </a:lnTo>
                    <a:lnTo>
                      <a:pt x="177" y="241"/>
                    </a:lnTo>
                    <a:lnTo>
                      <a:pt x="177" y="246"/>
                    </a:lnTo>
                    <a:lnTo>
                      <a:pt x="161" y="246"/>
                    </a:lnTo>
                    <a:lnTo>
                      <a:pt x="182" y="262"/>
                    </a:lnTo>
                    <a:lnTo>
                      <a:pt x="177" y="274"/>
                    </a:lnTo>
                    <a:lnTo>
                      <a:pt x="168" y="274"/>
                    </a:lnTo>
                    <a:lnTo>
                      <a:pt x="168" y="295"/>
                    </a:lnTo>
                    <a:lnTo>
                      <a:pt x="177" y="312"/>
                    </a:lnTo>
                    <a:lnTo>
                      <a:pt x="182" y="328"/>
                    </a:lnTo>
                    <a:lnTo>
                      <a:pt x="168" y="352"/>
                    </a:lnTo>
                    <a:lnTo>
                      <a:pt x="168" y="335"/>
                    </a:lnTo>
                    <a:lnTo>
                      <a:pt x="161" y="368"/>
                    </a:lnTo>
                    <a:lnTo>
                      <a:pt x="151" y="368"/>
                    </a:lnTo>
                    <a:lnTo>
                      <a:pt x="140" y="368"/>
                    </a:lnTo>
                    <a:lnTo>
                      <a:pt x="151" y="347"/>
                    </a:lnTo>
                    <a:lnTo>
                      <a:pt x="144" y="357"/>
                    </a:lnTo>
                    <a:lnTo>
                      <a:pt x="140" y="352"/>
                    </a:lnTo>
                    <a:lnTo>
                      <a:pt x="144" y="347"/>
                    </a:lnTo>
                    <a:lnTo>
                      <a:pt x="140" y="352"/>
                    </a:lnTo>
                    <a:lnTo>
                      <a:pt x="130" y="335"/>
                    </a:lnTo>
                    <a:lnTo>
                      <a:pt x="140" y="319"/>
                    </a:lnTo>
                    <a:lnTo>
                      <a:pt x="130" y="335"/>
                    </a:lnTo>
                    <a:lnTo>
                      <a:pt x="130" y="357"/>
                    </a:lnTo>
                    <a:lnTo>
                      <a:pt x="109" y="373"/>
                    </a:lnTo>
                    <a:lnTo>
                      <a:pt x="109" y="368"/>
                    </a:lnTo>
                    <a:lnTo>
                      <a:pt x="114" y="328"/>
                    </a:lnTo>
                    <a:lnTo>
                      <a:pt x="109" y="357"/>
                    </a:lnTo>
                    <a:lnTo>
                      <a:pt x="97" y="335"/>
                    </a:lnTo>
                    <a:lnTo>
                      <a:pt x="109" y="357"/>
                    </a:lnTo>
                    <a:lnTo>
                      <a:pt x="97" y="373"/>
                    </a:lnTo>
                    <a:lnTo>
                      <a:pt x="92" y="373"/>
                    </a:lnTo>
                    <a:lnTo>
                      <a:pt x="92" y="357"/>
                    </a:lnTo>
                    <a:lnTo>
                      <a:pt x="88" y="385"/>
                    </a:lnTo>
                    <a:lnTo>
                      <a:pt x="76" y="368"/>
                    </a:lnTo>
                    <a:lnTo>
                      <a:pt x="76" y="347"/>
                    </a:lnTo>
                    <a:lnTo>
                      <a:pt x="76" y="347"/>
                    </a:lnTo>
                    <a:lnTo>
                      <a:pt x="76" y="347"/>
                    </a:lnTo>
                    <a:close/>
                    <a:moveTo>
                      <a:pt x="177" y="257"/>
                    </a:moveTo>
                    <a:lnTo>
                      <a:pt x="182" y="257"/>
                    </a:lnTo>
                    <a:lnTo>
                      <a:pt x="168" y="246"/>
                    </a:lnTo>
                    <a:lnTo>
                      <a:pt x="177" y="257"/>
                    </a:lnTo>
                    <a:lnTo>
                      <a:pt x="177" y="257"/>
                    </a:lnTo>
                    <a:lnTo>
                      <a:pt x="177" y="257"/>
                    </a:lnTo>
                    <a:close/>
                    <a:moveTo>
                      <a:pt x="182" y="279"/>
                    </a:moveTo>
                    <a:lnTo>
                      <a:pt x="177" y="279"/>
                    </a:lnTo>
                    <a:lnTo>
                      <a:pt x="177" y="274"/>
                    </a:lnTo>
                    <a:lnTo>
                      <a:pt x="182" y="279"/>
                    </a:lnTo>
                    <a:lnTo>
                      <a:pt x="182" y="279"/>
                    </a:lnTo>
                    <a:lnTo>
                      <a:pt x="182" y="279"/>
                    </a:lnTo>
                    <a:close/>
                    <a:moveTo>
                      <a:pt x="177" y="302"/>
                    </a:moveTo>
                    <a:lnTo>
                      <a:pt x="168" y="286"/>
                    </a:lnTo>
                    <a:lnTo>
                      <a:pt x="182" y="286"/>
                    </a:lnTo>
                    <a:lnTo>
                      <a:pt x="177" y="295"/>
                    </a:lnTo>
                    <a:lnTo>
                      <a:pt x="177" y="302"/>
                    </a:lnTo>
                    <a:lnTo>
                      <a:pt x="177" y="302"/>
                    </a:lnTo>
                    <a:lnTo>
                      <a:pt x="177" y="302"/>
                    </a:lnTo>
                    <a:close/>
                    <a:moveTo>
                      <a:pt x="182" y="357"/>
                    </a:moveTo>
                    <a:lnTo>
                      <a:pt x="182" y="352"/>
                    </a:lnTo>
                    <a:lnTo>
                      <a:pt x="182" y="319"/>
                    </a:lnTo>
                    <a:lnTo>
                      <a:pt x="177" y="302"/>
                    </a:lnTo>
                    <a:lnTo>
                      <a:pt x="182" y="295"/>
                    </a:lnTo>
                    <a:lnTo>
                      <a:pt x="182" y="295"/>
                    </a:lnTo>
                    <a:lnTo>
                      <a:pt x="199" y="319"/>
                    </a:lnTo>
                    <a:lnTo>
                      <a:pt x="199" y="347"/>
                    </a:lnTo>
                    <a:lnTo>
                      <a:pt x="182" y="357"/>
                    </a:lnTo>
                    <a:lnTo>
                      <a:pt x="182" y="357"/>
                    </a:lnTo>
                    <a:lnTo>
                      <a:pt x="182" y="357"/>
                    </a:lnTo>
                    <a:close/>
                    <a:moveTo>
                      <a:pt x="248" y="328"/>
                    </a:moveTo>
                    <a:lnTo>
                      <a:pt x="236" y="319"/>
                    </a:lnTo>
                    <a:lnTo>
                      <a:pt x="236" y="302"/>
                    </a:lnTo>
                    <a:lnTo>
                      <a:pt x="248" y="319"/>
                    </a:lnTo>
                    <a:lnTo>
                      <a:pt x="248" y="328"/>
                    </a:lnTo>
                    <a:lnTo>
                      <a:pt x="248" y="328"/>
                    </a:lnTo>
                    <a:lnTo>
                      <a:pt x="248" y="328"/>
                    </a:lnTo>
                    <a:close/>
                    <a:moveTo>
                      <a:pt x="215" y="352"/>
                    </a:moveTo>
                    <a:lnTo>
                      <a:pt x="215" y="312"/>
                    </a:lnTo>
                    <a:lnTo>
                      <a:pt x="220" y="335"/>
                    </a:lnTo>
                    <a:lnTo>
                      <a:pt x="215" y="352"/>
                    </a:lnTo>
                    <a:lnTo>
                      <a:pt x="215" y="352"/>
                    </a:lnTo>
                    <a:lnTo>
                      <a:pt x="215" y="352"/>
                    </a:lnTo>
                    <a:close/>
                    <a:moveTo>
                      <a:pt x="177" y="352"/>
                    </a:moveTo>
                    <a:lnTo>
                      <a:pt x="177" y="352"/>
                    </a:lnTo>
                    <a:lnTo>
                      <a:pt x="182" y="347"/>
                    </a:lnTo>
                    <a:lnTo>
                      <a:pt x="177" y="352"/>
                    </a:lnTo>
                    <a:lnTo>
                      <a:pt x="177" y="352"/>
                    </a:lnTo>
                    <a:lnTo>
                      <a:pt x="177" y="352"/>
                    </a:lnTo>
                    <a:close/>
                    <a:moveTo>
                      <a:pt x="168" y="357"/>
                    </a:moveTo>
                    <a:lnTo>
                      <a:pt x="168" y="352"/>
                    </a:lnTo>
                    <a:lnTo>
                      <a:pt x="177" y="357"/>
                    </a:lnTo>
                    <a:lnTo>
                      <a:pt x="168" y="357"/>
                    </a:lnTo>
                    <a:lnTo>
                      <a:pt x="168" y="357"/>
                    </a:lnTo>
                    <a:lnTo>
                      <a:pt x="168" y="357"/>
                    </a:lnTo>
                    <a:close/>
                    <a:moveTo>
                      <a:pt x="269" y="390"/>
                    </a:moveTo>
                    <a:lnTo>
                      <a:pt x="269" y="373"/>
                    </a:lnTo>
                    <a:lnTo>
                      <a:pt x="274" y="385"/>
                    </a:lnTo>
                    <a:lnTo>
                      <a:pt x="269" y="390"/>
                    </a:lnTo>
                    <a:lnTo>
                      <a:pt x="269" y="390"/>
                    </a:lnTo>
                    <a:lnTo>
                      <a:pt x="269" y="39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35" name="Freeform 399">
                <a:extLst>
                  <a:ext uri="{FF2B5EF4-FFF2-40B4-BE49-F238E27FC236}">
                    <a16:creationId xmlns:a16="http://schemas.microsoft.com/office/drawing/2014/main" id="{3839885A-05C1-4F88-B7D5-C62F935F4EF0}"/>
                  </a:ext>
                </a:extLst>
              </p:cNvPr>
              <p:cNvSpPr>
                <a:spLocks noEditPoints="1"/>
              </p:cNvSpPr>
              <p:nvPr/>
            </p:nvSpPr>
            <p:spPr bwMode="gray">
              <a:xfrm>
                <a:off x="9387682" y="3196342"/>
                <a:ext cx="259764" cy="576402"/>
              </a:xfrm>
              <a:custGeom>
                <a:avLst/>
                <a:gdLst>
                  <a:gd name="T0" fmla="*/ 31 w 631"/>
                  <a:gd name="T1" fmla="*/ 552 h 1400"/>
                  <a:gd name="T2" fmla="*/ 64 w 631"/>
                  <a:gd name="T3" fmla="*/ 448 h 1400"/>
                  <a:gd name="T4" fmla="*/ 92 w 631"/>
                  <a:gd name="T5" fmla="*/ 354 h 1400"/>
                  <a:gd name="T6" fmla="*/ 173 w 631"/>
                  <a:gd name="T7" fmla="*/ 243 h 1400"/>
                  <a:gd name="T8" fmla="*/ 286 w 631"/>
                  <a:gd name="T9" fmla="*/ 94 h 1400"/>
                  <a:gd name="T10" fmla="*/ 362 w 631"/>
                  <a:gd name="T11" fmla="*/ 23 h 1400"/>
                  <a:gd name="T12" fmla="*/ 442 w 631"/>
                  <a:gd name="T13" fmla="*/ 73 h 1400"/>
                  <a:gd name="T14" fmla="*/ 447 w 631"/>
                  <a:gd name="T15" fmla="*/ 205 h 1400"/>
                  <a:gd name="T16" fmla="*/ 392 w 631"/>
                  <a:gd name="T17" fmla="*/ 276 h 1400"/>
                  <a:gd name="T18" fmla="*/ 388 w 631"/>
                  <a:gd name="T19" fmla="*/ 366 h 1400"/>
                  <a:gd name="T20" fmla="*/ 463 w 631"/>
                  <a:gd name="T21" fmla="*/ 387 h 1400"/>
                  <a:gd name="T22" fmla="*/ 501 w 631"/>
                  <a:gd name="T23" fmla="*/ 448 h 1400"/>
                  <a:gd name="T24" fmla="*/ 555 w 631"/>
                  <a:gd name="T25" fmla="*/ 536 h 1400"/>
                  <a:gd name="T26" fmla="*/ 614 w 631"/>
                  <a:gd name="T27" fmla="*/ 548 h 1400"/>
                  <a:gd name="T28" fmla="*/ 555 w 631"/>
                  <a:gd name="T29" fmla="*/ 625 h 1400"/>
                  <a:gd name="T30" fmla="*/ 484 w 631"/>
                  <a:gd name="T31" fmla="*/ 647 h 1400"/>
                  <a:gd name="T32" fmla="*/ 399 w 631"/>
                  <a:gd name="T33" fmla="*/ 680 h 1400"/>
                  <a:gd name="T34" fmla="*/ 362 w 631"/>
                  <a:gd name="T35" fmla="*/ 758 h 1400"/>
                  <a:gd name="T36" fmla="*/ 451 w 631"/>
                  <a:gd name="T37" fmla="*/ 923 h 1400"/>
                  <a:gd name="T38" fmla="*/ 442 w 631"/>
                  <a:gd name="T39" fmla="*/ 996 h 1400"/>
                  <a:gd name="T40" fmla="*/ 496 w 631"/>
                  <a:gd name="T41" fmla="*/ 1112 h 1400"/>
                  <a:gd name="T42" fmla="*/ 506 w 631"/>
                  <a:gd name="T43" fmla="*/ 1216 h 1400"/>
                  <a:gd name="T44" fmla="*/ 447 w 631"/>
                  <a:gd name="T45" fmla="*/ 1388 h 1400"/>
                  <a:gd name="T46" fmla="*/ 463 w 631"/>
                  <a:gd name="T47" fmla="*/ 1256 h 1400"/>
                  <a:gd name="T48" fmla="*/ 447 w 631"/>
                  <a:gd name="T49" fmla="*/ 1223 h 1400"/>
                  <a:gd name="T50" fmla="*/ 425 w 631"/>
                  <a:gd name="T51" fmla="*/ 1088 h 1400"/>
                  <a:gd name="T52" fmla="*/ 388 w 631"/>
                  <a:gd name="T53" fmla="*/ 907 h 1400"/>
                  <a:gd name="T54" fmla="*/ 333 w 631"/>
                  <a:gd name="T55" fmla="*/ 869 h 1400"/>
                  <a:gd name="T56" fmla="*/ 286 w 631"/>
                  <a:gd name="T57" fmla="*/ 918 h 1400"/>
                  <a:gd name="T58" fmla="*/ 227 w 631"/>
                  <a:gd name="T59" fmla="*/ 940 h 1400"/>
                  <a:gd name="T60" fmla="*/ 199 w 631"/>
                  <a:gd name="T61" fmla="*/ 963 h 1400"/>
                  <a:gd name="T62" fmla="*/ 182 w 631"/>
                  <a:gd name="T63" fmla="*/ 940 h 1400"/>
                  <a:gd name="T64" fmla="*/ 144 w 631"/>
                  <a:gd name="T65" fmla="*/ 947 h 1400"/>
                  <a:gd name="T66" fmla="*/ 139 w 631"/>
                  <a:gd name="T67" fmla="*/ 737 h 1400"/>
                  <a:gd name="T68" fmla="*/ 102 w 631"/>
                  <a:gd name="T69" fmla="*/ 670 h 1400"/>
                  <a:gd name="T70" fmla="*/ 69 w 631"/>
                  <a:gd name="T71" fmla="*/ 659 h 1400"/>
                  <a:gd name="T72" fmla="*/ 47 w 631"/>
                  <a:gd name="T73" fmla="*/ 642 h 1400"/>
                  <a:gd name="T74" fmla="*/ 17 w 631"/>
                  <a:gd name="T75" fmla="*/ 602 h 1400"/>
                  <a:gd name="T76" fmla="*/ 102 w 631"/>
                  <a:gd name="T77" fmla="*/ 687 h 1400"/>
                  <a:gd name="T78" fmla="*/ 123 w 631"/>
                  <a:gd name="T79" fmla="*/ 725 h 1400"/>
                  <a:gd name="T80" fmla="*/ 118 w 631"/>
                  <a:gd name="T81" fmla="*/ 703 h 1400"/>
                  <a:gd name="T82" fmla="*/ 92 w 631"/>
                  <a:gd name="T83" fmla="*/ 737 h 1400"/>
                  <a:gd name="T84" fmla="*/ 376 w 631"/>
                  <a:gd name="T85" fmla="*/ 935 h 1400"/>
                  <a:gd name="T86" fmla="*/ 173 w 631"/>
                  <a:gd name="T87" fmla="*/ 940 h 1400"/>
                  <a:gd name="T88" fmla="*/ 430 w 631"/>
                  <a:gd name="T89" fmla="*/ 1216 h 1400"/>
                  <a:gd name="T90" fmla="*/ 430 w 631"/>
                  <a:gd name="T91" fmla="*/ 1216 h 1400"/>
                  <a:gd name="T92" fmla="*/ 409 w 631"/>
                  <a:gd name="T93" fmla="*/ 1216 h 1400"/>
                  <a:gd name="T94" fmla="*/ 413 w 631"/>
                  <a:gd name="T95" fmla="*/ 1223 h 1400"/>
                  <a:gd name="T96" fmla="*/ 442 w 631"/>
                  <a:gd name="T97" fmla="*/ 1233 h 1400"/>
                  <a:gd name="T98" fmla="*/ 447 w 631"/>
                  <a:gd name="T99" fmla="*/ 1256 h 1400"/>
                  <a:gd name="T100" fmla="*/ 430 w 631"/>
                  <a:gd name="T101" fmla="*/ 1256 h 1400"/>
                  <a:gd name="T102" fmla="*/ 447 w 631"/>
                  <a:gd name="T103" fmla="*/ 1306 h 1400"/>
                  <a:gd name="T104" fmla="*/ 425 w 631"/>
                  <a:gd name="T105" fmla="*/ 1332 h 1400"/>
                  <a:gd name="T106" fmla="*/ 425 w 631"/>
                  <a:gd name="T107" fmla="*/ 1332 h 1400"/>
                  <a:gd name="T108" fmla="*/ 399 w 631"/>
                  <a:gd name="T109" fmla="*/ 1348 h 1400"/>
                  <a:gd name="T110" fmla="*/ 425 w 631"/>
                  <a:gd name="T111" fmla="*/ 1384 h 1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1400">
                    <a:moveTo>
                      <a:pt x="10" y="569"/>
                    </a:moveTo>
                    <a:lnTo>
                      <a:pt x="0" y="552"/>
                    </a:lnTo>
                    <a:lnTo>
                      <a:pt x="10" y="548"/>
                    </a:lnTo>
                    <a:lnTo>
                      <a:pt x="17" y="536"/>
                    </a:lnTo>
                    <a:lnTo>
                      <a:pt x="31" y="552"/>
                    </a:lnTo>
                    <a:lnTo>
                      <a:pt x="31" y="552"/>
                    </a:lnTo>
                    <a:lnTo>
                      <a:pt x="31" y="503"/>
                    </a:lnTo>
                    <a:lnTo>
                      <a:pt x="38" y="493"/>
                    </a:lnTo>
                    <a:lnTo>
                      <a:pt x="54" y="498"/>
                    </a:lnTo>
                    <a:lnTo>
                      <a:pt x="64" y="481"/>
                    </a:lnTo>
                    <a:lnTo>
                      <a:pt x="69" y="481"/>
                    </a:lnTo>
                    <a:lnTo>
                      <a:pt x="64" y="448"/>
                    </a:lnTo>
                    <a:lnTo>
                      <a:pt x="69" y="420"/>
                    </a:lnTo>
                    <a:lnTo>
                      <a:pt x="76" y="427"/>
                    </a:lnTo>
                    <a:lnTo>
                      <a:pt x="85" y="411"/>
                    </a:lnTo>
                    <a:lnTo>
                      <a:pt x="85" y="370"/>
                    </a:lnTo>
                    <a:lnTo>
                      <a:pt x="85" y="337"/>
                    </a:lnTo>
                    <a:lnTo>
                      <a:pt x="92" y="354"/>
                    </a:lnTo>
                    <a:lnTo>
                      <a:pt x="106" y="349"/>
                    </a:lnTo>
                    <a:lnTo>
                      <a:pt x="139" y="366"/>
                    </a:lnTo>
                    <a:lnTo>
                      <a:pt x="177" y="266"/>
                    </a:lnTo>
                    <a:lnTo>
                      <a:pt x="177" y="259"/>
                    </a:lnTo>
                    <a:lnTo>
                      <a:pt x="173" y="255"/>
                    </a:lnTo>
                    <a:lnTo>
                      <a:pt x="173" y="243"/>
                    </a:lnTo>
                    <a:lnTo>
                      <a:pt x="194" y="226"/>
                    </a:lnTo>
                    <a:lnTo>
                      <a:pt x="210" y="188"/>
                    </a:lnTo>
                    <a:lnTo>
                      <a:pt x="199" y="172"/>
                    </a:lnTo>
                    <a:lnTo>
                      <a:pt x="210" y="151"/>
                    </a:lnTo>
                    <a:lnTo>
                      <a:pt x="232" y="144"/>
                    </a:lnTo>
                    <a:lnTo>
                      <a:pt x="286" y="94"/>
                    </a:lnTo>
                    <a:lnTo>
                      <a:pt x="317" y="94"/>
                    </a:lnTo>
                    <a:lnTo>
                      <a:pt x="333" y="99"/>
                    </a:lnTo>
                    <a:lnTo>
                      <a:pt x="345" y="111"/>
                    </a:lnTo>
                    <a:lnTo>
                      <a:pt x="333" y="73"/>
                    </a:lnTo>
                    <a:lnTo>
                      <a:pt x="362" y="44"/>
                    </a:lnTo>
                    <a:lnTo>
                      <a:pt x="362" y="23"/>
                    </a:lnTo>
                    <a:lnTo>
                      <a:pt x="371" y="16"/>
                    </a:lnTo>
                    <a:lnTo>
                      <a:pt x="376" y="0"/>
                    </a:lnTo>
                    <a:lnTo>
                      <a:pt x="409" y="23"/>
                    </a:lnTo>
                    <a:lnTo>
                      <a:pt x="413" y="33"/>
                    </a:lnTo>
                    <a:lnTo>
                      <a:pt x="430" y="77"/>
                    </a:lnTo>
                    <a:lnTo>
                      <a:pt x="442" y="73"/>
                    </a:lnTo>
                    <a:lnTo>
                      <a:pt x="451" y="77"/>
                    </a:lnTo>
                    <a:lnTo>
                      <a:pt x="463" y="134"/>
                    </a:lnTo>
                    <a:lnTo>
                      <a:pt x="463" y="184"/>
                    </a:lnTo>
                    <a:lnTo>
                      <a:pt x="447" y="188"/>
                    </a:lnTo>
                    <a:lnTo>
                      <a:pt x="451" y="205"/>
                    </a:lnTo>
                    <a:lnTo>
                      <a:pt x="447" y="205"/>
                    </a:lnTo>
                    <a:lnTo>
                      <a:pt x="430" y="226"/>
                    </a:lnTo>
                    <a:lnTo>
                      <a:pt x="425" y="226"/>
                    </a:lnTo>
                    <a:lnTo>
                      <a:pt x="409" y="255"/>
                    </a:lnTo>
                    <a:lnTo>
                      <a:pt x="399" y="259"/>
                    </a:lnTo>
                    <a:lnTo>
                      <a:pt x="392" y="255"/>
                    </a:lnTo>
                    <a:lnTo>
                      <a:pt x="392" y="276"/>
                    </a:lnTo>
                    <a:lnTo>
                      <a:pt x="376" y="292"/>
                    </a:lnTo>
                    <a:lnTo>
                      <a:pt x="376" y="316"/>
                    </a:lnTo>
                    <a:lnTo>
                      <a:pt x="388" y="316"/>
                    </a:lnTo>
                    <a:lnTo>
                      <a:pt x="392" y="337"/>
                    </a:lnTo>
                    <a:lnTo>
                      <a:pt x="376" y="354"/>
                    </a:lnTo>
                    <a:lnTo>
                      <a:pt x="388" y="366"/>
                    </a:lnTo>
                    <a:lnTo>
                      <a:pt x="413" y="337"/>
                    </a:lnTo>
                    <a:lnTo>
                      <a:pt x="468" y="337"/>
                    </a:lnTo>
                    <a:lnTo>
                      <a:pt x="451" y="354"/>
                    </a:lnTo>
                    <a:lnTo>
                      <a:pt x="451" y="366"/>
                    </a:lnTo>
                    <a:lnTo>
                      <a:pt x="463" y="370"/>
                    </a:lnTo>
                    <a:lnTo>
                      <a:pt x="463" y="387"/>
                    </a:lnTo>
                    <a:lnTo>
                      <a:pt x="468" y="394"/>
                    </a:lnTo>
                    <a:lnTo>
                      <a:pt x="468" y="411"/>
                    </a:lnTo>
                    <a:lnTo>
                      <a:pt x="484" y="420"/>
                    </a:lnTo>
                    <a:lnTo>
                      <a:pt x="517" y="420"/>
                    </a:lnTo>
                    <a:lnTo>
                      <a:pt x="517" y="427"/>
                    </a:lnTo>
                    <a:lnTo>
                      <a:pt x="501" y="448"/>
                    </a:lnTo>
                    <a:lnTo>
                      <a:pt x="506" y="465"/>
                    </a:lnTo>
                    <a:lnTo>
                      <a:pt x="484" y="493"/>
                    </a:lnTo>
                    <a:lnTo>
                      <a:pt x="550" y="498"/>
                    </a:lnTo>
                    <a:lnTo>
                      <a:pt x="550" y="519"/>
                    </a:lnTo>
                    <a:lnTo>
                      <a:pt x="555" y="531"/>
                    </a:lnTo>
                    <a:lnTo>
                      <a:pt x="555" y="536"/>
                    </a:lnTo>
                    <a:lnTo>
                      <a:pt x="560" y="548"/>
                    </a:lnTo>
                    <a:lnTo>
                      <a:pt x="576" y="536"/>
                    </a:lnTo>
                    <a:lnTo>
                      <a:pt x="588" y="548"/>
                    </a:lnTo>
                    <a:lnTo>
                      <a:pt x="624" y="519"/>
                    </a:lnTo>
                    <a:lnTo>
                      <a:pt x="631" y="531"/>
                    </a:lnTo>
                    <a:lnTo>
                      <a:pt x="614" y="548"/>
                    </a:lnTo>
                    <a:lnTo>
                      <a:pt x="602" y="552"/>
                    </a:lnTo>
                    <a:lnTo>
                      <a:pt x="588" y="576"/>
                    </a:lnTo>
                    <a:lnTo>
                      <a:pt x="588" y="585"/>
                    </a:lnTo>
                    <a:lnTo>
                      <a:pt x="593" y="585"/>
                    </a:lnTo>
                    <a:lnTo>
                      <a:pt x="560" y="592"/>
                    </a:lnTo>
                    <a:lnTo>
                      <a:pt x="555" y="625"/>
                    </a:lnTo>
                    <a:lnTo>
                      <a:pt x="550" y="614"/>
                    </a:lnTo>
                    <a:lnTo>
                      <a:pt x="534" y="625"/>
                    </a:lnTo>
                    <a:lnTo>
                      <a:pt x="517" y="625"/>
                    </a:lnTo>
                    <a:lnTo>
                      <a:pt x="517" y="642"/>
                    </a:lnTo>
                    <a:lnTo>
                      <a:pt x="506" y="642"/>
                    </a:lnTo>
                    <a:lnTo>
                      <a:pt x="484" y="647"/>
                    </a:lnTo>
                    <a:lnTo>
                      <a:pt x="480" y="663"/>
                    </a:lnTo>
                    <a:lnTo>
                      <a:pt x="468" y="663"/>
                    </a:lnTo>
                    <a:lnTo>
                      <a:pt x="425" y="670"/>
                    </a:lnTo>
                    <a:lnTo>
                      <a:pt x="409" y="663"/>
                    </a:lnTo>
                    <a:lnTo>
                      <a:pt x="409" y="680"/>
                    </a:lnTo>
                    <a:lnTo>
                      <a:pt x="399" y="680"/>
                    </a:lnTo>
                    <a:lnTo>
                      <a:pt x="392" y="696"/>
                    </a:lnTo>
                    <a:lnTo>
                      <a:pt x="392" y="720"/>
                    </a:lnTo>
                    <a:lnTo>
                      <a:pt x="388" y="725"/>
                    </a:lnTo>
                    <a:lnTo>
                      <a:pt x="392" y="758"/>
                    </a:lnTo>
                    <a:lnTo>
                      <a:pt x="371" y="770"/>
                    </a:lnTo>
                    <a:lnTo>
                      <a:pt x="362" y="758"/>
                    </a:lnTo>
                    <a:lnTo>
                      <a:pt x="371" y="779"/>
                    </a:lnTo>
                    <a:lnTo>
                      <a:pt x="388" y="779"/>
                    </a:lnTo>
                    <a:lnTo>
                      <a:pt x="392" y="824"/>
                    </a:lnTo>
                    <a:lnTo>
                      <a:pt x="447" y="881"/>
                    </a:lnTo>
                    <a:lnTo>
                      <a:pt x="442" y="890"/>
                    </a:lnTo>
                    <a:lnTo>
                      <a:pt x="451" y="923"/>
                    </a:lnTo>
                    <a:lnTo>
                      <a:pt x="468" y="918"/>
                    </a:lnTo>
                    <a:lnTo>
                      <a:pt x="468" y="918"/>
                    </a:lnTo>
                    <a:lnTo>
                      <a:pt x="468" y="940"/>
                    </a:lnTo>
                    <a:lnTo>
                      <a:pt x="451" y="947"/>
                    </a:lnTo>
                    <a:lnTo>
                      <a:pt x="447" y="996"/>
                    </a:lnTo>
                    <a:lnTo>
                      <a:pt x="442" y="996"/>
                    </a:lnTo>
                    <a:lnTo>
                      <a:pt x="425" y="1001"/>
                    </a:lnTo>
                    <a:lnTo>
                      <a:pt x="425" y="1018"/>
                    </a:lnTo>
                    <a:lnTo>
                      <a:pt x="430" y="1046"/>
                    </a:lnTo>
                    <a:lnTo>
                      <a:pt x="451" y="1072"/>
                    </a:lnTo>
                    <a:lnTo>
                      <a:pt x="480" y="1088"/>
                    </a:lnTo>
                    <a:lnTo>
                      <a:pt x="496" y="1112"/>
                    </a:lnTo>
                    <a:lnTo>
                      <a:pt x="496" y="1157"/>
                    </a:lnTo>
                    <a:lnTo>
                      <a:pt x="484" y="1157"/>
                    </a:lnTo>
                    <a:lnTo>
                      <a:pt x="484" y="1162"/>
                    </a:lnTo>
                    <a:lnTo>
                      <a:pt x="496" y="1183"/>
                    </a:lnTo>
                    <a:lnTo>
                      <a:pt x="506" y="1199"/>
                    </a:lnTo>
                    <a:lnTo>
                      <a:pt x="506" y="1216"/>
                    </a:lnTo>
                    <a:lnTo>
                      <a:pt x="522" y="1256"/>
                    </a:lnTo>
                    <a:lnTo>
                      <a:pt x="496" y="1311"/>
                    </a:lnTo>
                    <a:lnTo>
                      <a:pt x="463" y="1332"/>
                    </a:lnTo>
                    <a:lnTo>
                      <a:pt x="463" y="1348"/>
                    </a:lnTo>
                    <a:lnTo>
                      <a:pt x="463" y="1360"/>
                    </a:lnTo>
                    <a:lnTo>
                      <a:pt x="447" y="1388"/>
                    </a:lnTo>
                    <a:lnTo>
                      <a:pt x="442" y="1332"/>
                    </a:lnTo>
                    <a:lnTo>
                      <a:pt x="447" y="1332"/>
                    </a:lnTo>
                    <a:lnTo>
                      <a:pt x="451" y="1322"/>
                    </a:lnTo>
                    <a:lnTo>
                      <a:pt x="463" y="1266"/>
                    </a:lnTo>
                    <a:lnTo>
                      <a:pt x="468" y="1266"/>
                    </a:lnTo>
                    <a:lnTo>
                      <a:pt x="463" y="1256"/>
                    </a:lnTo>
                    <a:lnTo>
                      <a:pt x="451" y="1266"/>
                    </a:lnTo>
                    <a:lnTo>
                      <a:pt x="447" y="1256"/>
                    </a:lnTo>
                    <a:lnTo>
                      <a:pt x="451" y="1240"/>
                    </a:lnTo>
                    <a:lnTo>
                      <a:pt x="451" y="1223"/>
                    </a:lnTo>
                    <a:lnTo>
                      <a:pt x="451" y="1223"/>
                    </a:lnTo>
                    <a:lnTo>
                      <a:pt x="447" y="1223"/>
                    </a:lnTo>
                    <a:lnTo>
                      <a:pt x="451" y="1216"/>
                    </a:lnTo>
                    <a:lnTo>
                      <a:pt x="447" y="1211"/>
                    </a:lnTo>
                    <a:lnTo>
                      <a:pt x="451" y="1195"/>
                    </a:lnTo>
                    <a:lnTo>
                      <a:pt x="447" y="1157"/>
                    </a:lnTo>
                    <a:lnTo>
                      <a:pt x="430" y="1112"/>
                    </a:lnTo>
                    <a:lnTo>
                      <a:pt x="425" y="1088"/>
                    </a:lnTo>
                    <a:lnTo>
                      <a:pt x="413" y="1129"/>
                    </a:lnTo>
                    <a:lnTo>
                      <a:pt x="413" y="1084"/>
                    </a:lnTo>
                    <a:lnTo>
                      <a:pt x="392" y="1029"/>
                    </a:lnTo>
                    <a:lnTo>
                      <a:pt x="388" y="956"/>
                    </a:lnTo>
                    <a:lnTo>
                      <a:pt x="376" y="940"/>
                    </a:lnTo>
                    <a:lnTo>
                      <a:pt x="388" y="907"/>
                    </a:lnTo>
                    <a:lnTo>
                      <a:pt x="392" y="907"/>
                    </a:lnTo>
                    <a:lnTo>
                      <a:pt x="362" y="907"/>
                    </a:lnTo>
                    <a:lnTo>
                      <a:pt x="345" y="864"/>
                    </a:lnTo>
                    <a:lnTo>
                      <a:pt x="333" y="836"/>
                    </a:lnTo>
                    <a:lnTo>
                      <a:pt x="324" y="864"/>
                    </a:lnTo>
                    <a:lnTo>
                      <a:pt x="333" y="869"/>
                    </a:lnTo>
                    <a:lnTo>
                      <a:pt x="324" y="890"/>
                    </a:lnTo>
                    <a:lnTo>
                      <a:pt x="307" y="907"/>
                    </a:lnTo>
                    <a:lnTo>
                      <a:pt x="291" y="907"/>
                    </a:lnTo>
                    <a:lnTo>
                      <a:pt x="286" y="902"/>
                    </a:lnTo>
                    <a:lnTo>
                      <a:pt x="286" y="885"/>
                    </a:lnTo>
                    <a:lnTo>
                      <a:pt x="286" y="918"/>
                    </a:lnTo>
                    <a:lnTo>
                      <a:pt x="269" y="918"/>
                    </a:lnTo>
                    <a:lnTo>
                      <a:pt x="269" y="923"/>
                    </a:lnTo>
                    <a:lnTo>
                      <a:pt x="253" y="940"/>
                    </a:lnTo>
                    <a:lnTo>
                      <a:pt x="232" y="963"/>
                    </a:lnTo>
                    <a:lnTo>
                      <a:pt x="215" y="963"/>
                    </a:lnTo>
                    <a:lnTo>
                      <a:pt x="227" y="940"/>
                    </a:lnTo>
                    <a:lnTo>
                      <a:pt x="215" y="963"/>
                    </a:lnTo>
                    <a:lnTo>
                      <a:pt x="210" y="963"/>
                    </a:lnTo>
                    <a:lnTo>
                      <a:pt x="210" y="940"/>
                    </a:lnTo>
                    <a:lnTo>
                      <a:pt x="215" y="940"/>
                    </a:lnTo>
                    <a:lnTo>
                      <a:pt x="210" y="940"/>
                    </a:lnTo>
                    <a:lnTo>
                      <a:pt x="199" y="963"/>
                    </a:lnTo>
                    <a:lnTo>
                      <a:pt x="182" y="963"/>
                    </a:lnTo>
                    <a:lnTo>
                      <a:pt x="182" y="940"/>
                    </a:lnTo>
                    <a:lnTo>
                      <a:pt x="199" y="935"/>
                    </a:lnTo>
                    <a:lnTo>
                      <a:pt x="173" y="956"/>
                    </a:lnTo>
                    <a:lnTo>
                      <a:pt x="173" y="956"/>
                    </a:lnTo>
                    <a:lnTo>
                      <a:pt x="182" y="940"/>
                    </a:lnTo>
                    <a:lnTo>
                      <a:pt x="173" y="947"/>
                    </a:lnTo>
                    <a:lnTo>
                      <a:pt x="177" y="940"/>
                    </a:lnTo>
                    <a:lnTo>
                      <a:pt x="173" y="923"/>
                    </a:lnTo>
                    <a:lnTo>
                      <a:pt x="161" y="923"/>
                    </a:lnTo>
                    <a:lnTo>
                      <a:pt x="161" y="940"/>
                    </a:lnTo>
                    <a:lnTo>
                      <a:pt x="144" y="947"/>
                    </a:lnTo>
                    <a:lnTo>
                      <a:pt x="144" y="923"/>
                    </a:lnTo>
                    <a:lnTo>
                      <a:pt x="173" y="829"/>
                    </a:lnTo>
                    <a:lnTo>
                      <a:pt x="156" y="774"/>
                    </a:lnTo>
                    <a:lnTo>
                      <a:pt x="144" y="758"/>
                    </a:lnTo>
                    <a:lnTo>
                      <a:pt x="144" y="741"/>
                    </a:lnTo>
                    <a:lnTo>
                      <a:pt x="139" y="737"/>
                    </a:lnTo>
                    <a:lnTo>
                      <a:pt x="128" y="737"/>
                    </a:lnTo>
                    <a:lnTo>
                      <a:pt x="128" y="713"/>
                    </a:lnTo>
                    <a:lnTo>
                      <a:pt x="123" y="713"/>
                    </a:lnTo>
                    <a:lnTo>
                      <a:pt x="118" y="703"/>
                    </a:lnTo>
                    <a:lnTo>
                      <a:pt x="123" y="696"/>
                    </a:lnTo>
                    <a:lnTo>
                      <a:pt x="102" y="670"/>
                    </a:lnTo>
                    <a:lnTo>
                      <a:pt x="106" y="659"/>
                    </a:lnTo>
                    <a:lnTo>
                      <a:pt x="102" y="663"/>
                    </a:lnTo>
                    <a:lnTo>
                      <a:pt x="85" y="647"/>
                    </a:lnTo>
                    <a:lnTo>
                      <a:pt x="69" y="647"/>
                    </a:lnTo>
                    <a:lnTo>
                      <a:pt x="76" y="663"/>
                    </a:lnTo>
                    <a:lnTo>
                      <a:pt x="69" y="659"/>
                    </a:lnTo>
                    <a:lnTo>
                      <a:pt x="69" y="663"/>
                    </a:lnTo>
                    <a:lnTo>
                      <a:pt x="54" y="642"/>
                    </a:lnTo>
                    <a:lnTo>
                      <a:pt x="69" y="642"/>
                    </a:lnTo>
                    <a:lnTo>
                      <a:pt x="54" y="642"/>
                    </a:lnTo>
                    <a:lnTo>
                      <a:pt x="64" y="609"/>
                    </a:lnTo>
                    <a:lnTo>
                      <a:pt x="47" y="642"/>
                    </a:lnTo>
                    <a:lnTo>
                      <a:pt x="38" y="630"/>
                    </a:lnTo>
                    <a:lnTo>
                      <a:pt x="47" y="625"/>
                    </a:lnTo>
                    <a:lnTo>
                      <a:pt x="47" y="614"/>
                    </a:lnTo>
                    <a:lnTo>
                      <a:pt x="31" y="602"/>
                    </a:lnTo>
                    <a:lnTo>
                      <a:pt x="38" y="630"/>
                    </a:lnTo>
                    <a:lnTo>
                      <a:pt x="17" y="602"/>
                    </a:lnTo>
                    <a:lnTo>
                      <a:pt x="10" y="569"/>
                    </a:lnTo>
                    <a:lnTo>
                      <a:pt x="10" y="569"/>
                    </a:lnTo>
                    <a:lnTo>
                      <a:pt x="10" y="569"/>
                    </a:lnTo>
                    <a:close/>
                    <a:moveTo>
                      <a:pt x="123" y="696"/>
                    </a:moveTo>
                    <a:lnTo>
                      <a:pt x="118" y="703"/>
                    </a:lnTo>
                    <a:lnTo>
                      <a:pt x="102" y="687"/>
                    </a:lnTo>
                    <a:lnTo>
                      <a:pt x="106" y="687"/>
                    </a:lnTo>
                    <a:lnTo>
                      <a:pt x="123" y="696"/>
                    </a:lnTo>
                    <a:lnTo>
                      <a:pt x="123" y="696"/>
                    </a:lnTo>
                    <a:lnTo>
                      <a:pt x="123" y="696"/>
                    </a:lnTo>
                    <a:close/>
                    <a:moveTo>
                      <a:pt x="118" y="703"/>
                    </a:moveTo>
                    <a:lnTo>
                      <a:pt x="123" y="725"/>
                    </a:lnTo>
                    <a:lnTo>
                      <a:pt x="123" y="737"/>
                    </a:lnTo>
                    <a:lnTo>
                      <a:pt x="106" y="725"/>
                    </a:lnTo>
                    <a:lnTo>
                      <a:pt x="92" y="696"/>
                    </a:lnTo>
                    <a:lnTo>
                      <a:pt x="92" y="696"/>
                    </a:lnTo>
                    <a:lnTo>
                      <a:pt x="106" y="703"/>
                    </a:lnTo>
                    <a:lnTo>
                      <a:pt x="118" y="703"/>
                    </a:lnTo>
                    <a:lnTo>
                      <a:pt x="118" y="703"/>
                    </a:lnTo>
                    <a:lnTo>
                      <a:pt x="118" y="703"/>
                    </a:lnTo>
                    <a:close/>
                    <a:moveTo>
                      <a:pt x="102" y="737"/>
                    </a:moveTo>
                    <a:lnTo>
                      <a:pt x="106" y="737"/>
                    </a:lnTo>
                    <a:lnTo>
                      <a:pt x="106" y="753"/>
                    </a:lnTo>
                    <a:lnTo>
                      <a:pt x="92" y="737"/>
                    </a:lnTo>
                    <a:lnTo>
                      <a:pt x="102" y="737"/>
                    </a:lnTo>
                    <a:lnTo>
                      <a:pt x="102" y="737"/>
                    </a:lnTo>
                    <a:lnTo>
                      <a:pt x="102" y="737"/>
                    </a:lnTo>
                    <a:close/>
                    <a:moveTo>
                      <a:pt x="376" y="907"/>
                    </a:moveTo>
                    <a:lnTo>
                      <a:pt x="376" y="918"/>
                    </a:lnTo>
                    <a:lnTo>
                      <a:pt x="376" y="935"/>
                    </a:lnTo>
                    <a:lnTo>
                      <a:pt x="371" y="923"/>
                    </a:lnTo>
                    <a:lnTo>
                      <a:pt x="376" y="907"/>
                    </a:lnTo>
                    <a:lnTo>
                      <a:pt x="376" y="907"/>
                    </a:lnTo>
                    <a:lnTo>
                      <a:pt x="376" y="907"/>
                    </a:lnTo>
                    <a:close/>
                    <a:moveTo>
                      <a:pt x="173" y="935"/>
                    </a:moveTo>
                    <a:lnTo>
                      <a:pt x="173" y="940"/>
                    </a:lnTo>
                    <a:lnTo>
                      <a:pt x="156" y="956"/>
                    </a:lnTo>
                    <a:lnTo>
                      <a:pt x="156" y="947"/>
                    </a:lnTo>
                    <a:lnTo>
                      <a:pt x="173" y="935"/>
                    </a:lnTo>
                    <a:lnTo>
                      <a:pt x="173" y="935"/>
                    </a:lnTo>
                    <a:lnTo>
                      <a:pt x="173" y="935"/>
                    </a:lnTo>
                    <a:close/>
                    <a:moveTo>
                      <a:pt x="430" y="1216"/>
                    </a:moveTo>
                    <a:lnTo>
                      <a:pt x="430" y="1195"/>
                    </a:lnTo>
                    <a:lnTo>
                      <a:pt x="442" y="1195"/>
                    </a:lnTo>
                    <a:lnTo>
                      <a:pt x="442" y="1211"/>
                    </a:lnTo>
                    <a:lnTo>
                      <a:pt x="430" y="1216"/>
                    </a:lnTo>
                    <a:lnTo>
                      <a:pt x="430" y="1216"/>
                    </a:lnTo>
                    <a:lnTo>
                      <a:pt x="430" y="1216"/>
                    </a:lnTo>
                    <a:lnTo>
                      <a:pt x="430" y="1216"/>
                    </a:lnTo>
                    <a:close/>
                    <a:moveTo>
                      <a:pt x="409" y="1216"/>
                    </a:moveTo>
                    <a:lnTo>
                      <a:pt x="399" y="1216"/>
                    </a:lnTo>
                    <a:lnTo>
                      <a:pt x="413" y="1211"/>
                    </a:lnTo>
                    <a:lnTo>
                      <a:pt x="409" y="1216"/>
                    </a:lnTo>
                    <a:lnTo>
                      <a:pt x="409" y="1216"/>
                    </a:lnTo>
                    <a:lnTo>
                      <a:pt x="409" y="1216"/>
                    </a:lnTo>
                    <a:close/>
                    <a:moveTo>
                      <a:pt x="413" y="1223"/>
                    </a:moveTo>
                    <a:lnTo>
                      <a:pt x="409" y="1216"/>
                    </a:lnTo>
                    <a:lnTo>
                      <a:pt x="413" y="1216"/>
                    </a:lnTo>
                    <a:lnTo>
                      <a:pt x="413" y="1233"/>
                    </a:lnTo>
                    <a:lnTo>
                      <a:pt x="413" y="1223"/>
                    </a:lnTo>
                    <a:lnTo>
                      <a:pt x="413" y="1223"/>
                    </a:lnTo>
                    <a:lnTo>
                      <a:pt x="413" y="1223"/>
                    </a:lnTo>
                    <a:close/>
                    <a:moveTo>
                      <a:pt x="447" y="1240"/>
                    </a:moveTo>
                    <a:lnTo>
                      <a:pt x="451" y="1249"/>
                    </a:lnTo>
                    <a:lnTo>
                      <a:pt x="442" y="1249"/>
                    </a:lnTo>
                    <a:lnTo>
                      <a:pt x="442" y="1233"/>
                    </a:lnTo>
                    <a:lnTo>
                      <a:pt x="447" y="1240"/>
                    </a:lnTo>
                    <a:lnTo>
                      <a:pt x="447" y="1240"/>
                    </a:lnTo>
                    <a:lnTo>
                      <a:pt x="447" y="1240"/>
                    </a:lnTo>
                    <a:close/>
                    <a:moveTo>
                      <a:pt x="442" y="1273"/>
                    </a:moveTo>
                    <a:lnTo>
                      <a:pt x="430" y="1256"/>
                    </a:lnTo>
                    <a:lnTo>
                      <a:pt x="447" y="1256"/>
                    </a:lnTo>
                    <a:lnTo>
                      <a:pt x="447" y="1273"/>
                    </a:lnTo>
                    <a:lnTo>
                      <a:pt x="442" y="1273"/>
                    </a:lnTo>
                    <a:lnTo>
                      <a:pt x="442" y="1273"/>
                    </a:lnTo>
                    <a:lnTo>
                      <a:pt x="442" y="1273"/>
                    </a:lnTo>
                    <a:close/>
                    <a:moveTo>
                      <a:pt x="413" y="1277"/>
                    </a:moveTo>
                    <a:lnTo>
                      <a:pt x="430" y="1256"/>
                    </a:lnTo>
                    <a:lnTo>
                      <a:pt x="425" y="1277"/>
                    </a:lnTo>
                    <a:lnTo>
                      <a:pt x="413" y="1277"/>
                    </a:lnTo>
                    <a:lnTo>
                      <a:pt x="413" y="1277"/>
                    </a:lnTo>
                    <a:lnTo>
                      <a:pt x="413" y="1277"/>
                    </a:lnTo>
                    <a:close/>
                    <a:moveTo>
                      <a:pt x="442" y="1311"/>
                    </a:moveTo>
                    <a:lnTo>
                      <a:pt x="447" y="1306"/>
                    </a:lnTo>
                    <a:lnTo>
                      <a:pt x="447" y="1322"/>
                    </a:lnTo>
                    <a:lnTo>
                      <a:pt x="442" y="1311"/>
                    </a:lnTo>
                    <a:lnTo>
                      <a:pt x="442" y="1311"/>
                    </a:lnTo>
                    <a:lnTo>
                      <a:pt x="442" y="1311"/>
                    </a:lnTo>
                    <a:close/>
                    <a:moveTo>
                      <a:pt x="425" y="1332"/>
                    </a:moveTo>
                    <a:lnTo>
                      <a:pt x="425" y="1332"/>
                    </a:lnTo>
                    <a:lnTo>
                      <a:pt x="413" y="1322"/>
                    </a:lnTo>
                    <a:lnTo>
                      <a:pt x="413" y="1322"/>
                    </a:lnTo>
                    <a:lnTo>
                      <a:pt x="413" y="1311"/>
                    </a:lnTo>
                    <a:lnTo>
                      <a:pt x="425" y="1332"/>
                    </a:lnTo>
                    <a:lnTo>
                      <a:pt x="425" y="1332"/>
                    </a:lnTo>
                    <a:lnTo>
                      <a:pt x="425" y="1332"/>
                    </a:lnTo>
                    <a:close/>
                    <a:moveTo>
                      <a:pt x="399" y="1348"/>
                    </a:moveTo>
                    <a:lnTo>
                      <a:pt x="399" y="1360"/>
                    </a:lnTo>
                    <a:lnTo>
                      <a:pt x="399" y="1348"/>
                    </a:lnTo>
                    <a:lnTo>
                      <a:pt x="399" y="1348"/>
                    </a:lnTo>
                    <a:lnTo>
                      <a:pt x="399" y="1348"/>
                    </a:lnTo>
                    <a:lnTo>
                      <a:pt x="399" y="1348"/>
                    </a:lnTo>
                    <a:close/>
                    <a:moveTo>
                      <a:pt x="425" y="1384"/>
                    </a:moveTo>
                    <a:lnTo>
                      <a:pt x="413" y="1400"/>
                    </a:lnTo>
                    <a:lnTo>
                      <a:pt x="425" y="1384"/>
                    </a:lnTo>
                    <a:lnTo>
                      <a:pt x="425" y="1384"/>
                    </a:lnTo>
                    <a:lnTo>
                      <a:pt x="425" y="1384"/>
                    </a:lnTo>
                    <a:lnTo>
                      <a:pt x="425" y="138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39" name="Freeform 404">
                <a:extLst>
                  <a:ext uri="{FF2B5EF4-FFF2-40B4-BE49-F238E27FC236}">
                    <a16:creationId xmlns:a16="http://schemas.microsoft.com/office/drawing/2014/main" id="{ACAE22E3-9528-4847-AA47-3E84C7F50D90}"/>
                  </a:ext>
                </a:extLst>
              </p:cNvPr>
              <p:cNvSpPr>
                <a:spLocks/>
              </p:cNvSpPr>
              <p:nvPr/>
            </p:nvSpPr>
            <p:spPr bwMode="gray">
              <a:xfrm>
                <a:off x="9288470" y="3202106"/>
                <a:ext cx="97154" cy="52288"/>
              </a:xfrm>
              <a:custGeom>
                <a:avLst/>
                <a:gdLst>
                  <a:gd name="T0" fmla="*/ 5 w 236"/>
                  <a:gd name="T1" fmla="*/ 78 h 127"/>
                  <a:gd name="T2" fmla="*/ 55 w 236"/>
                  <a:gd name="T3" fmla="*/ 21 h 127"/>
                  <a:gd name="T4" fmla="*/ 88 w 236"/>
                  <a:gd name="T5" fmla="*/ 0 h 127"/>
                  <a:gd name="T6" fmla="*/ 116 w 236"/>
                  <a:gd name="T7" fmla="*/ 4 h 127"/>
                  <a:gd name="T8" fmla="*/ 116 w 236"/>
                  <a:gd name="T9" fmla="*/ 21 h 127"/>
                  <a:gd name="T10" fmla="*/ 166 w 236"/>
                  <a:gd name="T11" fmla="*/ 28 h 127"/>
                  <a:gd name="T12" fmla="*/ 182 w 236"/>
                  <a:gd name="T13" fmla="*/ 21 h 127"/>
                  <a:gd name="T14" fmla="*/ 203 w 236"/>
                  <a:gd name="T15" fmla="*/ 28 h 127"/>
                  <a:gd name="T16" fmla="*/ 203 w 236"/>
                  <a:gd name="T17" fmla="*/ 45 h 127"/>
                  <a:gd name="T18" fmla="*/ 203 w 236"/>
                  <a:gd name="T19" fmla="*/ 54 h 127"/>
                  <a:gd name="T20" fmla="*/ 203 w 236"/>
                  <a:gd name="T21" fmla="*/ 61 h 127"/>
                  <a:gd name="T22" fmla="*/ 225 w 236"/>
                  <a:gd name="T23" fmla="*/ 61 h 127"/>
                  <a:gd name="T24" fmla="*/ 236 w 236"/>
                  <a:gd name="T25" fmla="*/ 78 h 127"/>
                  <a:gd name="T26" fmla="*/ 225 w 236"/>
                  <a:gd name="T27" fmla="*/ 94 h 127"/>
                  <a:gd name="T28" fmla="*/ 236 w 236"/>
                  <a:gd name="T29" fmla="*/ 111 h 127"/>
                  <a:gd name="T30" fmla="*/ 236 w 236"/>
                  <a:gd name="T31" fmla="*/ 111 h 127"/>
                  <a:gd name="T32" fmla="*/ 199 w 236"/>
                  <a:gd name="T33" fmla="*/ 118 h 127"/>
                  <a:gd name="T34" fmla="*/ 187 w 236"/>
                  <a:gd name="T35" fmla="*/ 111 h 127"/>
                  <a:gd name="T36" fmla="*/ 182 w 236"/>
                  <a:gd name="T37" fmla="*/ 118 h 127"/>
                  <a:gd name="T38" fmla="*/ 142 w 236"/>
                  <a:gd name="T39" fmla="*/ 118 h 127"/>
                  <a:gd name="T40" fmla="*/ 116 w 236"/>
                  <a:gd name="T41" fmla="*/ 111 h 127"/>
                  <a:gd name="T42" fmla="*/ 92 w 236"/>
                  <a:gd name="T43" fmla="*/ 127 h 127"/>
                  <a:gd name="T44" fmla="*/ 62 w 236"/>
                  <a:gd name="T45" fmla="*/ 127 h 127"/>
                  <a:gd name="T46" fmla="*/ 38 w 236"/>
                  <a:gd name="T47" fmla="*/ 118 h 127"/>
                  <a:gd name="T48" fmla="*/ 21 w 236"/>
                  <a:gd name="T49" fmla="*/ 118 h 127"/>
                  <a:gd name="T50" fmla="*/ 5 w 236"/>
                  <a:gd name="T51" fmla="*/ 99 h 127"/>
                  <a:gd name="T52" fmla="*/ 0 w 236"/>
                  <a:gd name="T53" fmla="*/ 94 h 127"/>
                  <a:gd name="T54" fmla="*/ 5 w 236"/>
                  <a:gd name="T55" fmla="*/ 78 h 127"/>
                  <a:gd name="T56" fmla="*/ 5 w 236"/>
                  <a:gd name="T57" fmla="*/ 78 h 127"/>
                  <a:gd name="T58" fmla="*/ 5 w 236"/>
                  <a:gd name="T59" fmla="*/ 7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6" h="127">
                    <a:moveTo>
                      <a:pt x="5" y="78"/>
                    </a:moveTo>
                    <a:lnTo>
                      <a:pt x="55" y="21"/>
                    </a:lnTo>
                    <a:lnTo>
                      <a:pt x="88" y="0"/>
                    </a:lnTo>
                    <a:lnTo>
                      <a:pt x="116" y="4"/>
                    </a:lnTo>
                    <a:lnTo>
                      <a:pt x="116" y="21"/>
                    </a:lnTo>
                    <a:lnTo>
                      <a:pt x="166" y="28"/>
                    </a:lnTo>
                    <a:lnTo>
                      <a:pt x="182" y="21"/>
                    </a:lnTo>
                    <a:lnTo>
                      <a:pt x="203" y="28"/>
                    </a:lnTo>
                    <a:lnTo>
                      <a:pt x="203" y="45"/>
                    </a:lnTo>
                    <a:lnTo>
                      <a:pt x="203" y="54"/>
                    </a:lnTo>
                    <a:lnTo>
                      <a:pt x="203" y="61"/>
                    </a:lnTo>
                    <a:lnTo>
                      <a:pt x="225" y="61"/>
                    </a:lnTo>
                    <a:lnTo>
                      <a:pt x="236" y="78"/>
                    </a:lnTo>
                    <a:lnTo>
                      <a:pt x="225" y="94"/>
                    </a:lnTo>
                    <a:lnTo>
                      <a:pt x="236" y="111"/>
                    </a:lnTo>
                    <a:lnTo>
                      <a:pt x="236" y="111"/>
                    </a:lnTo>
                    <a:lnTo>
                      <a:pt x="199" y="118"/>
                    </a:lnTo>
                    <a:lnTo>
                      <a:pt x="187" y="111"/>
                    </a:lnTo>
                    <a:lnTo>
                      <a:pt x="182" y="118"/>
                    </a:lnTo>
                    <a:lnTo>
                      <a:pt x="142" y="118"/>
                    </a:lnTo>
                    <a:lnTo>
                      <a:pt x="116" y="111"/>
                    </a:lnTo>
                    <a:lnTo>
                      <a:pt x="92" y="127"/>
                    </a:lnTo>
                    <a:lnTo>
                      <a:pt x="62" y="127"/>
                    </a:lnTo>
                    <a:lnTo>
                      <a:pt x="38" y="118"/>
                    </a:lnTo>
                    <a:lnTo>
                      <a:pt x="21" y="118"/>
                    </a:lnTo>
                    <a:lnTo>
                      <a:pt x="5" y="99"/>
                    </a:lnTo>
                    <a:lnTo>
                      <a:pt x="0" y="94"/>
                    </a:lnTo>
                    <a:lnTo>
                      <a:pt x="5" y="78"/>
                    </a:lnTo>
                    <a:lnTo>
                      <a:pt x="5" y="78"/>
                    </a:lnTo>
                    <a:lnTo>
                      <a:pt x="5" y="7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1" name="Freeform 406">
                <a:extLst>
                  <a:ext uri="{FF2B5EF4-FFF2-40B4-BE49-F238E27FC236}">
                    <a16:creationId xmlns:a16="http://schemas.microsoft.com/office/drawing/2014/main" id="{DB57DE77-138F-4B17-A28C-723D18538555}"/>
                  </a:ext>
                </a:extLst>
              </p:cNvPr>
              <p:cNvSpPr>
                <a:spLocks noEditPoints="1"/>
              </p:cNvSpPr>
              <p:nvPr/>
            </p:nvSpPr>
            <p:spPr bwMode="gray">
              <a:xfrm>
                <a:off x="10020008" y="3917667"/>
                <a:ext cx="38697" cy="29232"/>
              </a:xfrm>
              <a:custGeom>
                <a:avLst/>
                <a:gdLst>
                  <a:gd name="T0" fmla="*/ 66 w 94"/>
                  <a:gd name="T1" fmla="*/ 5 h 71"/>
                  <a:gd name="T2" fmla="*/ 56 w 94"/>
                  <a:gd name="T3" fmla="*/ 21 h 71"/>
                  <a:gd name="T4" fmla="*/ 56 w 94"/>
                  <a:gd name="T5" fmla="*/ 45 h 71"/>
                  <a:gd name="T6" fmla="*/ 56 w 94"/>
                  <a:gd name="T7" fmla="*/ 62 h 71"/>
                  <a:gd name="T8" fmla="*/ 40 w 94"/>
                  <a:gd name="T9" fmla="*/ 71 h 71"/>
                  <a:gd name="T10" fmla="*/ 11 w 94"/>
                  <a:gd name="T11" fmla="*/ 26 h 71"/>
                  <a:gd name="T12" fmla="*/ 0 w 94"/>
                  <a:gd name="T13" fmla="*/ 26 h 71"/>
                  <a:gd name="T14" fmla="*/ 28 w 94"/>
                  <a:gd name="T15" fmla="*/ 21 h 71"/>
                  <a:gd name="T16" fmla="*/ 61 w 94"/>
                  <a:gd name="T17" fmla="*/ 0 h 71"/>
                  <a:gd name="T18" fmla="*/ 66 w 94"/>
                  <a:gd name="T19" fmla="*/ 0 h 71"/>
                  <a:gd name="T20" fmla="*/ 66 w 94"/>
                  <a:gd name="T21" fmla="*/ 5 h 71"/>
                  <a:gd name="T22" fmla="*/ 66 w 94"/>
                  <a:gd name="T23" fmla="*/ 5 h 71"/>
                  <a:gd name="T24" fmla="*/ 66 w 94"/>
                  <a:gd name="T25" fmla="*/ 5 h 71"/>
                  <a:gd name="T26" fmla="*/ 77 w 94"/>
                  <a:gd name="T27" fmla="*/ 5 h 71"/>
                  <a:gd name="T28" fmla="*/ 94 w 94"/>
                  <a:gd name="T29" fmla="*/ 45 h 71"/>
                  <a:gd name="T30" fmla="*/ 66 w 94"/>
                  <a:gd name="T31" fmla="*/ 45 h 71"/>
                  <a:gd name="T32" fmla="*/ 66 w 94"/>
                  <a:gd name="T33" fmla="*/ 17 h 71"/>
                  <a:gd name="T34" fmla="*/ 77 w 94"/>
                  <a:gd name="T35" fmla="*/ 5 h 71"/>
                  <a:gd name="T36" fmla="*/ 77 w 94"/>
                  <a:gd name="T37" fmla="*/ 5 h 71"/>
                  <a:gd name="T38" fmla="*/ 77 w 94"/>
                  <a:gd name="T39" fmla="*/ 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71">
                    <a:moveTo>
                      <a:pt x="66" y="5"/>
                    </a:moveTo>
                    <a:lnTo>
                      <a:pt x="56" y="21"/>
                    </a:lnTo>
                    <a:lnTo>
                      <a:pt x="56" y="45"/>
                    </a:lnTo>
                    <a:lnTo>
                      <a:pt x="56" y="62"/>
                    </a:lnTo>
                    <a:lnTo>
                      <a:pt x="40" y="71"/>
                    </a:lnTo>
                    <a:lnTo>
                      <a:pt x="11" y="26"/>
                    </a:lnTo>
                    <a:lnTo>
                      <a:pt x="0" y="26"/>
                    </a:lnTo>
                    <a:lnTo>
                      <a:pt x="28" y="21"/>
                    </a:lnTo>
                    <a:lnTo>
                      <a:pt x="61" y="0"/>
                    </a:lnTo>
                    <a:lnTo>
                      <a:pt x="66" y="0"/>
                    </a:lnTo>
                    <a:lnTo>
                      <a:pt x="66" y="5"/>
                    </a:lnTo>
                    <a:lnTo>
                      <a:pt x="66" y="5"/>
                    </a:lnTo>
                    <a:lnTo>
                      <a:pt x="66" y="5"/>
                    </a:lnTo>
                    <a:close/>
                    <a:moveTo>
                      <a:pt x="77" y="5"/>
                    </a:moveTo>
                    <a:lnTo>
                      <a:pt x="94" y="45"/>
                    </a:lnTo>
                    <a:lnTo>
                      <a:pt x="66" y="45"/>
                    </a:lnTo>
                    <a:lnTo>
                      <a:pt x="66" y="17"/>
                    </a:lnTo>
                    <a:lnTo>
                      <a:pt x="77" y="5"/>
                    </a:lnTo>
                    <a:lnTo>
                      <a:pt x="77" y="5"/>
                    </a:lnTo>
                    <a:lnTo>
                      <a:pt x="77" y="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4" name="Freeform 409">
                <a:extLst>
                  <a:ext uri="{FF2B5EF4-FFF2-40B4-BE49-F238E27FC236}">
                    <a16:creationId xmlns:a16="http://schemas.microsoft.com/office/drawing/2014/main" id="{5AC25411-73D0-4585-979D-C79E8AA8F60C}"/>
                  </a:ext>
                </a:extLst>
              </p:cNvPr>
              <p:cNvSpPr>
                <a:spLocks noEditPoints="1"/>
              </p:cNvSpPr>
              <p:nvPr/>
            </p:nvSpPr>
            <p:spPr bwMode="gray">
              <a:xfrm>
                <a:off x="9680380" y="3627820"/>
                <a:ext cx="150672" cy="128456"/>
              </a:xfrm>
              <a:custGeom>
                <a:avLst/>
                <a:gdLst>
                  <a:gd name="T0" fmla="*/ 28 w 366"/>
                  <a:gd name="T1" fmla="*/ 187 h 312"/>
                  <a:gd name="T2" fmla="*/ 12 w 366"/>
                  <a:gd name="T3" fmla="*/ 147 h 312"/>
                  <a:gd name="T4" fmla="*/ 0 w 366"/>
                  <a:gd name="T5" fmla="*/ 97 h 312"/>
                  <a:gd name="T6" fmla="*/ 21 w 366"/>
                  <a:gd name="T7" fmla="*/ 76 h 312"/>
                  <a:gd name="T8" fmla="*/ 28 w 366"/>
                  <a:gd name="T9" fmla="*/ 66 h 312"/>
                  <a:gd name="T10" fmla="*/ 59 w 366"/>
                  <a:gd name="T11" fmla="*/ 22 h 312"/>
                  <a:gd name="T12" fmla="*/ 114 w 366"/>
                  <a:gd name="T13" fmla="*/ 22 h 312"/>
                  <a:gd name="T14" fmla="*/ 189 w 366"/>
                  <a:gd name="T15" fmla="*/ 22 h 312"/>
                  <a:gd name="T16" fmla="*/ 199 w 366"/>
                  <a:gd name="T17" fmla="*/ 22 h 312"/>
                  <a:gd name="T18" fmla="*/ 227 w 366"/>
                  <a:gd name="T19" fmla="*/ 38 h 312"/>
                  <a:gd name="T20" fmla="*/ 258 w 366"/>
                  <a:gd name="T21" fmla="*/ 55 h 312"/>
                  <a:gd name="T22" fmla="*/ 258 w 366"/>
                  <a:gd name="T23" fmla="*/ 22 h 312"/>
                  <a:gd name="T24" fmla="*/ 274 w 366"/>
                  <a:gd name="T25" fmla="*/ 10 h 312"/>
                  <a:gd name="T26" fmla="*/ 295 w 366"/>
                  <a:gd name="T27" fmla="*/ 5 h 312"/>
                  <a:gd name="T28" fmla="*/ 366 w 366"/>
                  <a:gd name="T29" fmla="*/ 0 h 312"/>
                  <a:gd name="T30" fmla="*/ 359 w 366"/>
                  <a:gd name="T31" fmla="*/ 55 h 312"/>
                  <a:gd name="T32" fmla="*/ 366 w 366"/>
                  <a:gd name="T33" fmla="*/ 81 h 312"/>
                  <a:gd name="T34" fmla="*/ 366 w 366"/>
                  <a:gd name="T35" fmla="*/ 147 h 312"/>
                  <a:gd name="T36" fmla="*/ 359 w 366"/>
                  <a:gd name="T37" fmla="*/ 175 h 312"/>
                  <a:gd name="T38" fmla="*/ 333 w 366"/>
                  <a:gd name="T39" fmla="*/ 170 h 312"/>
                  <a:gd name="T40" fmla="*/ 279 w 366"/>
                  <a:gd name="T41" fmla="*/ 192 h 312"/>
                  <a:gd name="T42" fmla="*/ 258 w 366"/>
                  <a:gd name="T43" fmla="*/ 208 h 312"/>
                  <a:gd name="T44" fmla="*/ 241 w 366"/>
                  <a:gd name="T45" fmla="*/ 225 h 312"/>
                  <a:gd name="T46" fmla="*/ 269 w 366"/>
                  <a:gd name="T47" fmla="*/ 263 h 312"/>
                  <a:gd name="T48" fmla="*/ 241 w 366"/>
                  <a:gd name="T49" fmla="*/ 263 h 312"/>
                  <a:gd name="T50" fmla="*/ 215 w 366"/>
                  <a:gd name="T51" fmla="*/ 274 h 312"/>
                  <a:gd name="T52" fmla="*/ 189 w 366"/>
                  <a:gd name="T53" fmla="*/ 274 h 312"/>
                  <a:gd name="T54" fmla="*/ 182 w 366"/>
                  <a:gd name="T55" fmla="*/ 296 h 312"/>
                  <a:gd name="T56" fmla="*/ 151 w 366"/>
                  <a:gd name="T57" fmla="*/ 312 h 312"/>
                  <a:gd name="T58" fmla="*/ 114 w 366"/>
                  <a:gd name="T59" fmla="*/ 296 h 312"/>
                  <a:gd name="T60" fmla="*/ 80 w 366"/>
                  <a:gd name="T61" fmla="*/ 296 h 312"/>
                  <a:gd name="T62" fmla="*/ 97 w 366"/>
                  <a:gd name="T63" fmla="*/ 274 h 312"/>
                  <a:gd name="T64" fmla="*/ 76 w 366"/>
                  <a:gd name="T65" fmla="*/ 274 h 312"/>
                  <a:gd name="T66" fmla="*/ 54 w 366"/>
                  <a:gd name="T67" fmla="*/ 241 h 312"/>
                  <a:gd name="T68" fmla="*/ 43 w 366"/>
                  <a:gd name="T69" fmla="*/ 220 h 312"/>
                  <a:gd name="T70" fmla="*/ 43 w 366"/>
                  <a:gd name="T71" fmla="*/ 220 h 312"/>
                  <a:gd name="T72" fmla="*/ 43 w 366"/>
                  <a:gd name="T73" fmla="*/ 225 h 312"/>
                  <a:gd name="T74" fmla="*/ 43 w 366"/>
                  <a:gd name="T75" fmla="*/ 220 h 312"/>
                  <a:gd name="T76" fmla="*/ 66 w 366"/>
                  <a:gd name="T77" fmla="*/ 286 h 312"/>
                  <a:gd name="T78" fmla="*/ 66 w 366"/>
                  <a:gd name="T79" fmla="*/ 286 h 312"/>
                  <a:gd name="T80" fmla="*/ 66 w 366"/>
                  <a:gd name="T81" fmla="*/ 286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6" h="312">
                    <a:moveTo>
                      <a:pt x="43" y="220"/>
                    </a:moveTo>
                    <a:lnTo>
                      <a:pt x="28" y="187"/>
                    </a:lnTo>
                    <a:lnTo>
                      <a:pt x="28" y="163"/>
                    </a:lnTo>
                    <a:lnTo>
                      <a:pt x="12" y="147"/>
                    </a:lnTo>
                    <a:lnTo>
                      <a:pt x="12" y="121"/>
                    </a:lnTo>
                    <a:lnTo>
                      <a:pt x="0" y="97"/>
                    </a:lnTo>
                    <a:lnTo>
                      <a:pt x="7" y="76"/>
                    </a:lnTo>
                    <a:lnTo>
                      <a:pt x="21" y="76"/>
                    </a:lnTo>
                    <a:lnTo>
                      <a:pt x="12" y="66"/>
                    </a:lnTo>
                    <a:lnTo>
                      <a:pt x="28" y="66"/>
                    </a:lnTo>
                    <a:lnTo>
                      <a:pt x="43" y="38"/>
                    </a:lnTo>
                    <a:lnTo>
                      <a:pt x="59" y="22"/>
                    </a:lnTo>
                    <a:lnTo>
                      <a:pt x="92" y="10"/>
                    </a:lnTo>
                    <a:lnTo>
                      <a:pt x="114" y="22"/>
                    </a:lnTo>
                    <a:lnTo>
                      <a:pt x="173" y="10"/>
                    </a:lnTo>
                    <a:lnTo>
                      <a:pt x="189" y="22"/>
                    </a:lnTo>
                    <a:lnTo>
                      <a:pt x="189" y="38"/>
                    </a:lnTo>
                    <a:lnTo>
                      <a:pt x="199" y="22"/>
                    </a:lnTo>
                    <a:lnTo>
                      <a:pt x="215" y="43"/>
                    </a:lnTo>
                    <a:lnTo>
                      <a:pt x="227" y="38"/>
                    </a:lnTo>
                    <a:lnTo>
                      <a:pt x="253" y="55"/>
                    </a:lnTo>
                    <a:lnTo>
                      <a:pt x="258" y="55"/>
                    </a:lnTo>
                    <a:lnTo>
                      <a:pt x="269" y="43"/>
                    </a:lnTo>
                    <a:lnTo>
                      <a:pt x="258" y="22"/>
                    </a:lnTo>
                    <a:lnTo>
                      <a:pt x="274" y="22"/>
                    </a:lnTo>
                    <a:lnTo>
                      <a:pt x="274" y="10"/>
                    </a:lnTo>
                    <a:lnTo>
                      <a:pt x="279" y="10"/>
                    </a:lnTo>
                    <a:lnTo>
                      <a:pt x="295" y="5"/>
                    </a:lnTo>
                    <a:lnTo>
                      <a:pt x="312" y="26"/>
                    </a:lnTo>
                    <a:lnTo>
                      <a:pt x="366" y="0"/>
                    </a:lnTo>
                    <a:lnTo>
                      <a:pt x="350" y="38"/>
                    </a:lnTo>
                    <a:lnTo>
                      <a:pt x="359" y="55"/>
                    </a:lnTo>
                    <a:lnTo>
                      <a:pt x="359" y="59"/>
                    </a:lnTo>
                    <a:lnTo>
                      <a:pt x="366" y="81"/>
                    </a:lnTo>
                    <a:lnTo>
                      <a:pt x="359" y="121"/>
                    </a:lnTo>
                    <a:lnTo>
                      <a:pt x="366" y="147"/>
                    </a:lnTo>
                    <a:lnTo>
                      <a:pt x="366" y="170"/>
                    </a:lnTo>
                    <a:lnTo>
                      <a:pt x="359" y="175"/>
                    </a:lnTo>
                    <a:lnTo>
                      <a:pt x="350" y="170"/>
                    </a:lnTo>
                    <a:lnTo>
                      <a:pt x="333" y="170"/>
                    </a:lnTo>
                    <a:lnTo>
                      <a:pt x="307" y="192"/>
                    </a:lnTo>
                    <a:lnTo>
                      <a:pt x="279" y="192"/>
                    </a:lnTo>
                    <a:lnTo>
                      <a:pt x="291" y="220"/>
                    </a:lnTo>
                    <a:lnTo>
                      <a:pt x="258" y="208"/>
                    </a:lnTo>
                    <a:lnTo>
                      <a:pt x="253" y="220"/>
                    </a:lnTo>
                    <a:lnTo>
                      <a:pt x="241" y="225"/>
                    </a:lnTo>
                    <a:lnTo>
                      <a:pt x="241" y="246"/>
                    </a:lnTo>
                    <a:lnTo>
                      <a:pt x="269" y="263"/>
                    </a:lnTo>
                    <a:lnTo>
                      <a:pt x="269" y="279"/>
                    </a:lnTo>
                    <a:lnTo>
                      <a:pt x="241" y="263"/>
                    </a:lnTo>
                    <a:lnTo>
                      <a:pt x="220" y="274"/>
                    </a:lnTo>
                    <a:lnTo>
                      <a:pt x="215" y="274"/>
                    </a:lnTo>
                    <a:lnTo>
                      <a:pt x="199" y="274"/>
                    </a:lnTo>
                    <a:lnTo>
                      <a:pt x="189" y="274"/>
                    </a:lnTo>
                    <a:lnTo>
                      <a:pt x="189" y="286"/>
                    </a:lnTo>
                    <a:lnTo>
                      <a:pt x="182" y="296"/>
                    </a:lnTo>
                    <a:lnTo>
                      <a:pt x="161" y="303"/>
                    </a:lnTo>
                    <a:lnTo>
                      <a:pt x="151" y="312"/>
                    </a:lnTo>
                    <a:lnTo>
                      <a:pt x="135" y="296"/>
                    </a:lnTo>
                    <a:lnTo>
                      <a:pt x="114" y="296"/>
                    </a:lnTo>
                    <a:lnTo>
                      <a:pt x="92" y="303"/>
                    </a:lnTo>
                    <a:lnTo>
                      <a:pt x="80" y="296"/>
                    </a:lnTo>
                    <a:lnTo>
                      <a:pt x="97" y="286"/>
                    </a:lnTo>
                    <a:lnTo>
                      <a:pt x="97" y="274"/>
                    </a:lnTo>
                    <a:lnTo>
                      <a:pt x="80" y="258"/>
                    </a:lnTo>
                    <a:lnTo>
                      <a:pt x="76" y="274"/>
                    </a:lnTo>
                    <a:lnTo>
                      <a:pt x="59" y="274"/>
                    </a:lnTo>
                    <a:lnTo>
                      <a:pt x="54" y="241"/>
                    </a:lnTo>
                    <a:lnTo>
                      <a:pt x="43" y="225"/>
                    </a:lnTo>
                    <a:lnTo>
                      <a:pt x="43" y="220"/>
                    </a:lnTo>
                    <a:lnTo>
                      <a:pt x="54" y="220"/>
                    </a:lnTo>
                    <a:lnTo>
                      <a:pt x="43" y="220"/>
                    </a:lnTo>
                    <a:lnTo>
                      <a:pt x="38" y="208"/>
                    </a:lnTo>
                    <a:lnTo>
                      <a:pt x="43" y="225"/>
                    </a:lnTo>
                    <a:lnTo>
                      <a:pt x="43" y="220"/>
                    </a:lnTo>
                    <a:lnTo>
                      <a:pt x="43" y="220"/>
                    </a:lnTo>
                    <a:lnTo>
                      <a:pt x="43" y="220"/>
                    </a:lnTo>
                    <a:close/>
                    <a:moveTo>
                      <a:pt x="66" y="286"/>
                    </a:moveTo>
                    <a:lnTo>
                      <a:pt x="59" y="279"/>
                    </a:lnTo>
                    <a:lnTo>
                      <a:pt x="66" y="286"/>
                    </a:lnTo>
                    <a:lnTo>
                      <a:pt x="66" y="286"/>
                    </a:lnTo>
                    <a:lnTo>
                      <a:pt x="66" y="286"/>
                    </a:lnTo>
                    <a:lnTo>
                      <a:pt x="66" y="28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9" name="Freeform 414">
                <a:extLst>
                  <a:ext uri="{FF2B5EF4-FFF2-40B4-BE49-F238E27FC236}">
                    <a16:creationId xmlns:a16="http://schemas.microsoft.com/office/drawing/2014/main" id="{EE8D0487-CFCB-40F0-92B3-630AF0D9F58E}"/>
                  </a:ext>
                </a:extLst>
              </p:cNvPr>
              <p:cNvSpPr>
                <a:spLocks noEditPoints="1"/>
              </p:cNvSpPr>
              <p:nvPr/>
            </p:nvSpPr>
            <p:spPr bwMode="gray">
              <a:xfrm>
                <a:off x="8852100" y="2306210"/>
                <a:ext cx="1764830" cy="1215798"/>
              </a:xfrm>
              <a:custGeom>
                <a:avLst/>
                <a:gdLst>
                  <a:gd name="T0" fmla="*/ 361 w 4287"/>
                  <a:gd name="T1" fmla="*/ 1833 h 2953"/>
                  <a:gd name="T2" fmla="*/ 314 w 4287"/>
                  <a:gd name="T3" fmla="*/ 1606 h 2953"/>
                  <a:gd name="T4" fmla="*/ 54 w 4287"/>
                  <a:gd name="T5" fmla="*/ 1462 h 2953"/>
                  <a:gd name="T6" fmla="*/ 7 w 4287"/>
                  <a:gd name="T7" fmla="*/ 1273 h 2953"/>
                  <a:gd name="T8" fmla="*/ 233 w 4287"/>
                  <a:gd name="T9" fmla="*/ 1146 h 2953"/>
                  <a:gd name="T10" fmla="*/ 474 w 4287"/>
                  <a:gd name="T11" fmla="*/ 869 h 2953"/>
                  <a:gd name="T12" fmla="*/ 777 w 4287"/>
                  <a:gd name="T13" fmla="*/ 614 h 2953"/>
                  <a:gd name="T14" fmla="*/ 999 w 4287"/>
                  <a:gd name="T15" fmla="*/ 432 h 2953"/>
                  <a:gd name="T16" fmla="*/ 1216 w 4287"/>
                  <a:gd name="T17" fmla="*/ 680 h 2953"/>
                  <a:gd name="T18" fmla="*/ 1821 w 4287"/>
                  <a:gd name="T19" fmla="*/ 1014 h 2953"/>
                  <a:gd name="T20" fmla="*/ 2581 w 4287"/>
                  <a:gd name="T21" fmla="*/ 985 h 2953"/>
                  <a:gd name="T22" fmla="*/ 3030 w 4287"/>
                  <a:gd name="T23" fmla="*/ 669 h 2953"/>
                  <a:gd name="T24" fmla="*/ 3099 w 4287"/>
                  <a:gd name="T25" fmla="*/ 520 h 2953"/>
                  <a:gd name="T26" fmla="*/ 3191 w 4287"/>
                  <a:gd name="T27" fmla="*/ 298 h 2953"/>
                  <a:gd name="T28" fmla="*/ 3569 w 4287"/>
                  <a:gd name="T29" fmla="*/ 26 h 2953"/>
                  <a:gd name="T30" fmla="*/ 3732 w 4287"/>
                  <a:gd name="T31" fmla="*/ 222 h 2953"/>
                  <a:gd name="T32" fmla="*/ 3947 w 4287"/>
                  <a:gd name="T33" fmla="*/ 425 h 2953"/>
                  <a:gd name="T34" fmla="*/ 4287 w 4287"/>
                  <a:gd name="T35" fmla="*/ 553 h 2953"/>
                  <a:gd name="T36" fmla="*/ 4055 w 4287"/>
                  <a:gd name="T37" fmla="*/ 796 h 2953"/>
                  <a:gd name="T38" fmla="*/ 3921 w 4287"/>
                  <a:gd name="T39" fmla="*/ 1025 h 2953"/>
                  <a:gd name="T40" fmla="*/ 3607 w 4287"/>
                  <a:gd name="T41" fmla="*/ 1195 h 2953"/>
                  <a:gd name="T42" fmla="*/ 3363 w 4287"/>
                  <a:gd name="T43" fmla="*/ 1295 h 2953"/>
                  <a:gd name="T44" fmla="*/ 3283 w 4287"/>
                  <a:gd name="T45" fmla="*/ 1207 h 2953"/>
                  <a:gd name="T46" fmla="*/ 3203 w 4287"/>
                  <a:gd name="T47" fmla="*/ 1472 h 2953"/>
                  <a:gd name="T48" fmla="*/ 3408 w 4287"/>
                  <a:gd name="T49" fmla="*/ 1495 h 2953"/>
                  <a:gd name="T50" fmla="*/ 3278 w 4287"/>
                  <a:gd name="T51" fmla="*/ 1540 h 2953"/>
                  <a:gd name="T52" fmla="*/ 3354 w 4287"/>
                  <a:gd name="T53" fmla="*/ 1862 h 2953"/>
                  <a:gd name="T54" fmla="*/ 3300 w 4287"/>
                  <a:gd name="T55" fmla="*/ 1888 h 2953"/>
                  <a:gd name="T56" fmla="*/ 3370 w 4287"/>
                  <a:gd name="T57" fmla="*/ 2048 h 2953"/>
                  <a:gd name="T58" fmla="*/ 3363 w 4287"/>
                  <a:gd name="T59" fmla="*/ 2105 h 2953"/>
                  <a:gd name="T60" fmla="*/ 3295 w 4287"/>
                  <a:gd name="T61" fmla="*/ 2199 h 2953"/>
                  <a:gd name="T62" fmla="*/ 3245 w 4287"/>
                  <a:gd name="T63" fmla="*/ 2294 h 2953"/>
                  <a:gd name="T64" fmla="*/ 3191 w 4287"/>
                  <a:gd name="T65" fmla="*/ 2343 h 2953"/>
                  <a:gd name="T66" fmla="*/ 3170 w 4287"/>
                  <a:gd name="T67" fmla="*/ 2426 h 2953"/>
                  <a:gd name="T68" fmla="*/ 3120 w 4287"/>
                  <a:gd name="T69" fmla="*/ 2492 h 2953"/>
                  <a:gd name="T70" fmla="*/ 2938 w 4287"/>
                  <a:gd name="T71" fmla="*/ 2608 h 2953"/>
                  <a:gd name="T72" fmla="*/ 2841 w 4287"/>
                  <a:gd name="T73" fmla="*/ 2624 h 2953"/>
                  <a:gd name="T74" fmla="*/ 2787 w 4287"/>
                  <a:gd name="T75" fmla="*/ 2653 h 2953"/>
                  <a:gd name="T76" fmla="*/ 2624 w 4287"/>
                  <a:gd name="T77" fmla="*/ 2698 h 2953"/>
                  <a:gd name="T78" fmla="*/ 2591 w 4287"/>
                  <a:gd name="T79" fmla="*/ 2776 h 2953"/>
                  <a:gd name="T80" fmla="*/ 2522 w 4287"/>
                  <a:gd name="T81" fmla="*/ 2698 h 2953"/>
                  <a:gd name="T82" fmla="*/ 2430 w 4287"/>
                  <a:gd name="T83" fmla="*/ 2691 h 2953"/>
                  <a:gd name="T84" fmla="*/ 2241 w 4287"/>
                  <a:gd name="T85" fmla="*/ 2580 h 2953"/>
                  <a:gd name="T86" fmla="*/ 1972 w 4287"/>
                  <a:gd name="T87" fmla="*/ 2624 h 2953"/>
                  <a:gd name="T88" fmla="*/ 1851 w 4287"/>
                  <a:gd name="T89" fmla="*/ 2681 h 2953"/>
                  <a:gd name="T90" fmla="*/ 1691 w 4287"/>
                  <a:gd name="T91" fmla="*/ 2525 h 2953"/>
                  <a:gd name="T92" fmla="*/ 1766 w 4287"/>
                  <a:gd name="T93" fmla="*/ 2294 h 2953"/>
                  <a:gd name="T94" fmla="*/ 1582 w 4287"/>
                  <a:gd name="T95" fmla="*/ 2126 h 2953"/>
                  <a:gd name="T96" fmla="*/ 1313 w 4287"/>
                  <a:gd name="T97" fmla="*/ 2216 h 2953"/>
                  <a:gd name="T98" fmla="*/ 1015 w 4287"/>
                  <a:gd name="T99" fmla="*/ 2204 h 2953"/>
                  <a:gd name="T100" fmla="*/ 810 w 4287"/>
                  <a:gd name="T101" fmla="*/ 2150 h 2953"/>
                  <a:gd name="T102" fmla="*/ 529 w 4287"/>
                  <a:gd name="T103" fmla="*/ 2039 h 2953"/>
                  <a:gd name="T104" fmla="*/ 3229 w 4287"/>
                  <a:gd name="T105" fmla="*/ 1866 h 2953"/>
                  <a:gd name="T106" fmla="*/ 3401 w 4287"/>
                  <a:gd name="T107" fmla="*/ 2032 h 2953"/>
                  <a:gd name="T108" fmla="*/ 3418 w 4287"/>
                  <a:gd name="T109" fmla="*/ 2048 h 2953"/>
                  <a:gd name="T110" fmla="*/ 3337 w 4287"/>
                  <a:gd name="T111" fmla="*/ 2192 h 2953"/>
                  <a:gd name="T112" fmla="*/ 3115 w 4287"/>
                  <a:gd name="T113" fmla="*/ 2476 h 2953"/>
                  <a:gd name="T114" fmla="*/ 2851 w 4287"/>
                  <a:gd name="T115" fmla="*/ 2641 h 2953"/>
                  <a:gd name="T116" fmla="*/ 2683 w 4287"/>
                  <a:gd name="T117" fmla="*/ 2691 h 2953"/>
                  <a:gd name="T118" fmla="*/ 2570 w 4287"/>
                  <a:gd name="T119" fmla="*/ 2731 h 2953"/>
                  <a:gd name="T120" fmla="*/ 2560 w 4287"/>
                  <a:gd name="T121" fmla="*/ 2809 h 2953"/>
                  <a:gd name="T122" fmla="*/ 2527 w 4287"/>
                  <a:gd name="T123" fmla="*/ 2941 h 2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87" h="2953">
                    <a:moveTo>
                      <a:pt x="524" y="2032"/>
                    </a:moveTo>
                    <a:lnTo>
                      <a:pt x="491" y="2010"/>
                    </a:lnTo>
                    <a:lnTo>
                      <a:pt x="460" y="1999"/>
                    </a:lnTo>
                    <a:lnTo>
                      <a:pt x="470" y="1982"/>
                    </a:lnTo>
                    <a:lnTo>
                      <a:pt x="437" y="1973"/>
                    </a:lnTo>
                    <a:lnTo>
                      <a:pt x="415" y="1973"/>
                    </a:lnTo>
                    <a:lnTo>
                      <a:pt x="385" y="1928"/>
                    </a:lnTo>
                    <a:lnTo>
                      <a:pt x="368" y="1944"/>
                    </a:lnTo>
                    <a:lnTo>
                      <a:pt x="361" y="1937"/>
                    </a:lnTo>
                    <a:lnTo>
                      <a:pt x="361" y="1921"/>
                    </a:lnTo>
                    <a:lnTo>
                      <a:pt x="368" y="1916"/>
                    </a:lnTo>
                    <a:lnTo>
                      <a:pt x="352" y="1904"/>
                    </a:lnTo>
                    <a:lnTo>
                      <a:pt x="361" y="1888"/>
                    </a:lnTo>
                    <a:lnTo>
                      <a:pt x="340" y="1866"/>
                    </a:lnTo>
                    <a:lnTo>
                      <a:pt x="340" y="1845"/>
                    </a:lnTo>
                    <a:lnTo>
                      <a:pt x="361" y="1833"/>
                    </a:lnTo>
                    <a:lnTo>
                      <a:pt x="361" y="1850"/>
                    </a:lnTo>
                    <a:lnTo>
                      <a:pt x="378" y="1862"/>
                    </a:lnTo>
                    <a:lnTo>
                      <a:pt x="394" y="1850"/>
                    </a:lnTo>
                    <a:lnTo>
                      <a:pt x="399" y="1850"/>
                    </a:lnTo>
                    <a:lnTo>
                      <a:pt x="415" y="1828"/>
                    </a:lnTo>
                    <a:lnTo>
                      <a:pt x="399" y="1812"/>
                    </a:lnTo>
                    <a:lnTo>
                      <a:pt x="406" y="1795"/>
                    </a:lnTo>
                    <a:lnTo>
                      <a:pt x="378" y="1776"/>
                    </a:lnTo>
                    <a:lnTo>
                      <a:pt x="361" y="1760"/>
                    </a:lnTo>
                    <a:lnTo>
                      <a:pt x="361" y="1717"/>
                    </a:lnTo>
                    <a:lnTo>
                      <a:pt x="378" y="1706"/>
                    </a:lnTo>
                    <a:lnTo>
                      <a:pt x="378" y="1701"/>
                    </a:lnTo>
                    <a:lnTo>
                      <a:pt x="352" y="1684"/>
                    </a:lnTo>
                    <a:lnTo>
                      <a:pt x="330" y="1677"/>
                    </a:lnTo>
                    <a:lnTo>
                      <a:pt x="309" y="1623"/>
                    </a:lnTo>
                    <a:lnTo>
                      <a:pt x="314" y="1606"/>
                    </a:lnTo>
                    <a:lnTo>
                      <a:pt x="297" y="1606"/>
                    </a:lnTo>
                    <a:lnTo>
                      <a:pt x="271" y="1606"/>
                    </a:lnTo>
                    <a:lnTo>
                      <a:pt x="233" y="1595"/>
                    </a:lnTo>
                    <a:lnTo>
                      <a:pt x="205" y="1583"/>
                    </a:lnTo>
                    <a:lnTo>
                      <a:pt x="205" y="1573"/>
                    </a:lnTo>
                    <a:lnTo>
                      <a:pt x="184" y="1583"/>
                    </a:lnTo>
                    <a:lnTo>
                      <a:pt x="179" y="1566"/>
                    </a:lnTo>
                    <a:lnTo>
                      <a:pt x="163" y="1557"/>
                    </a:lnTo>
                    <a:lnTo>
                      <a:pt x="167" y="1540"/>
                    </a:lnTo>
                    <a:lnTo>
                      <a:pt x="163" y="1512"/>
                    </a:lnTo>
                    <a:lnTo>
                      <a:pt x="146" y="1500"/>
                    </a:lnTo>
                    <a:lnTo>
                      <a:pt x="129" y="1500"/>
                    </a:lnTo>
                    <a:lnTo>
                      <a:pt x="125" y="1484"/>
                    </a:lnTo>
                    <a:lnTo>
                      <a:pt x="108" y="1479"/>
                    </a:lnTo>
                    <a:lnTo>
                      <a:pt x="70" y="1479"/>
                    </a:lnTo>
                    <a:lnTo>
                      <a:pt x="54" y="1462"/>
                    </a:lnTo>
                    <a:lnTo>
                      <a:pt x="82" y="1455"/>
                    </a:lnTo>
                    <a:lnTo>
                      <a:pt x="82" y="1462"/>
                    </a:lnTo>
                    <a:lnTo>
                      <a:pt x="92" y="1462"/>
                    </a:lnTo>
                    <a:lnTo>
                      <a:pt x="113" y="1446"/>
                    </a:lnTo>
                    <a:lnTo>
                      <a:pt x="92" y="1422"/>
                    </a:lnTo>
                    <a:lnTo>
                      <a:pt x="96" y="1417"/>
                    </a:lnTo>
                    <a:lnTo>
                      <a:pt x="82" y="1389"/>
                    </a:lnTo>
                    <a:lnTo>
                      <a:pt x="92" y="1363"/>
                    </a:lnTo>
                    <a:lnTo>
                      <a:pt x="54" y="1347"/>
                    </a:lnTo>
                    <a:lnTo>
                      <a:pt x="37" y="1347"/>
                    </a:lnTo>
                    <a:lnTo>
                      <a:pt x="28" y="1351"/>
                    </a:lnTo>
                    <a:lnTo>
                      <a:pt x="16" y="1347"/>
                    </a:lnTo>
                    <a:lnTo>
                      <a:pt x="7" y="1318"/>
                    </a:lnTo>
                    <a:lnTo>
                      <a:pt x="16" y="1311"/>
                    </a:lnTo>
                    <a:lnTo>
                      <a:pt x="0" y="1295"/>
                    </a:lnTo>
                    <a:lnTo>
                      <a:pt x="7" y="1273"/>
                    </a:lnTo>
                    <a:lnTo>
                      <a:pt x="16" y="1273"/>
                    </a:lnTo>
                    <a:lnTo>
                      <a:pt x="21" y="1262"/>
                    </a:lnTo>
                    <a:lnTo>
                      <a:pt x="16" y="1252"/>
                    </a:lnTo>
                    <a:lnTo>
                      <a:pt x="28" y="1224"/>
                    </a:lnTo>
                    <a:lnTo>
                      <a:pt x="54" y="1219"/>
                    </a:lnTo>
                    <a:lnTo>
                      <a:pt x="75" y="1202"/>
                    </a:lnTo>
                    <a:lnTo>
                      <a:pt x="92" y="1202"/>
                    </a:lnTo>
                    <a:lnTo>
                      <a:pt x="82" y="1186"/>
                    </a:lnTo>
                    <a:lnTo>
                      <a:pt x="113" y="1195"/>
                    </a:lnTo>
                    <a:lnTo>
                      <a:pt x="134" y="1179"/>
                    </a:lnTo>
                    <a:lnTo>
                      <a:pt x="146" y="1202"/>
                    </a:lnTo>
                    <a:lnTo>
                      <a:pt x="179" y="1195"/>
                    </a:lnTo>
                    <a:lnTo>
                      <a:pt x="189" y="1202"/>
                    </a:lnTo>
                    <a:lnTo>
                      <a:pt x="217" y="1179"/>
                    </a:lnTo>
                    <a:lnTo>
                      <a:pt x="217" y="1162"/>
                    </a:lnTo>
                    <a:lnTo>
                      <a:pt x="233" y="1146"/>
                    </a:lnTo>
                    <a:lnTo>
                      <a:pt x="314" y="1141"/>
                    </a:lnTo>
                    <a:lnTo>
                      <a:pt x="330" y="1125"/>
                    </a:lnTo>
                    <a:lnTo>
                      <a:pt x="340" y="1108"/>
                    </a:lnTo>
                    <a:lnTo>
                      <a:pt x="399" y="1075"/>
                    </a:lnTo>
                    <a:lnTo>
                      <a:pt x="432" y="1068"/>
                    </a:lnTo>
                    <a:lnTo>
                      <a:pt x="437" y="1058"/>
                    </a:lnTo>
                    <a:lnTo>
                      <a:pt x="460" y="1051"/>
                    </a:lnTo>
                    <a:lnTo>
                      <a:pt x="460" y="1042"/>
                    </a:lnTo>
                    <a:lnTo>
                      <a:pt x="470" y="1035"/>
                    </a:lnTo>
                    <a:lnTo>
                      <a:pt x="460" y="1002"/>
                    </a:lnTo>
                    <a:lnTo>
                      <a:pt x="470" y="985"/>
                    </a:lnTo>
                    <a:lnTo>
                      <a:pt x="491" y="980"/>
                    </a:lnTo>
                    <a:lnTo>
                      <a:pt x="474" y="969"/>
                    </a:lnTo>
                    <a:lnTo>
                      <a:pt x="507" y="957"/>
                    </a:lnTo>
                    <a:lnTo>
                      <a:pt x="503" y="931"/>
                    </a:lnTo>
                    <a:lnTo>
                      <a:pt x="474" y="869"/>
                    </a:lnTo>
                    <a:lnTo>
                      <a:pt x="474" y="829"/>
                    </a:lnTo>
                    <a:lnTo>
                      <a:pt x="486" y="820"/>
                    </a:lnTo>
                    <a:lnTo>
                      <a:pt x="470" y="813"/>
                    </a:lnTo>
                    <a:lnTo>
                      <a:pt x="448" y="813"/>
                    </a:lnTo>
                    <a:lnTo>
                      <a:pt x="437" y="803"/>
                    </a:lnTo>
                    <a:lnTo>
                      <a:pt x="453" y="791"/>
                    </a:lnTo>
                    <a:lnTo>
                      <a:pt x="566" y="763"/>
                    </a:lnTo>
                    <a:lnTo>
                      <a:pt x="583" y="780"/>
                    </a:lnTo>
                    <a:lnTo>
                      <a:pt x="611" y="775"/>
                    </a:lnTo>
                    <a:lnTo>
                      <a:pt x="633" y="780"/>
                    </a:lnTo>
                    <a:lnTo>
                      <a:pt x="633" y="758"/>
                    </a:lnTo>
                    <a:lnTo>
                      <a:pt x="611" y="742"/>
                    </a:lnTo>
                    <a:lnTo>
                      <a:pt x="663" y="614"/>
                    </a:lnTo>
                    <a:lnTo>
                      <a:pt x="663" y="593"/>
                    </a:lnTo>
                    <a:lnTo>
                      <a:pt x="725" y="614"/>
                    </a:lnTo>
                    <a:lnTo>
                      <a:pt x="777" y="614"/>
                    </a:lnTo>
                    <a:lnTo>
                      <a:pt x="784" y="626"/>
                    </a:lnTo>
                    <a:lnTo>
                      <a:pt x="784" y="631"/>
                    </a:lnTo>
                    <a:lnTo>
                      <a:pt x="815" y="610"/>
                    </a:lnTo>
                    <a:lnTo>
                      <a:pt x="838" y="610"/>
                    </a:lnTo>
                    <a:lnTo>
                      <a:pt x="848" y="593"/>
                    </a:lnTo>
                    <a:lnTo>
                      <a:pt x="848" y="581"/>
                    </a:lnTo>
                    <a:lnTo>
                      <a:pt x="838" y="569"/>
                    </a:lnTo>
                    <a:lnTo>
                      <a:pt x="838" y="527"/>
                    </a:lnTo>
                    <a:lnTo>
                      <a:pt x="852" y="487"/>
                    </a:lnTo>
                    <a:lnTo>
                      <a:pt x="907" y="470"/>
                    </a:lnTo>
                    <a:lnTo>
                      <a:pt x="923" y="458"/>
                    </a:lnTo>
                    <a:lnTo>
                      <a:pt x="918" y="432"/>
                    </a:lnTo>
                    <a:lnTo>
                      <a:pt x="935" y="416"/>
                    </a:lnTo>
                    <a:lnTo>
                      <a:pt x="961" y="425"/>
                    </a:lnTo>
                    <a:lnTo>
                      <a:pt x="999" y="416"/>
                    </a:lnTo>
                    <a:lnTo>
                      <a:pt x="999" y="432"/>
                    </a:lnTo>
                    <a:lnTo>
                      <a:pt x="994" y="442"/>
                    </a:lnTo>
                    <a:lnTo>
                      <a:pt x="1015" y="458"/>
                    </a:lnTo>
                    <a:lnTo>
                      <a:pt x="1011" y="470"/>
                    </a:lnTo>
                    <a:lnTo>
                      <a:pt x="1048" y="487"/>
                    </a:lnTo>
                    <a:lnTo>
                      <a:pt x="1053" y="503"/>
                    </a:lnTo>
                    <a:lnTo>
                      <a:pt x="1086" y="520"/>
                    </a:lnTo>
                    <a:lnTo>
                      <a:pt x="1117" y="520"/>
                    </a:lnTo>
                    <a:lnTo>
                      <a:pt x="1133" y="536"/>
                    </a:lnTo>
                    <a:lnTo>
                      <a:pt x="1155" y="536"/>
                    </a:lnTo>
                    <a:lnTo>
                      <a:pt x="1155" y="543"/>
                    </a:lnTo>
                    <a:lnTo>
                      <a:pt x="1178" y="569"/>
                    </a:lnTo>
                    <a:lnTo>
                      <a:pt x="1188" y="581"/>
                    </a:lnTo>
                    <a:lnTo>
                      <a:pt x="1204" y="610"/>
                    </a:lnTo>
                    <a:lnTo>
                      <a:pt x="1216" y="626"/>
                    </a:lnTo>
                    <a:lnTo>
                      <a:pt x="1226" y="652"/>
                    </a:lnTo>
                    <a:lnTo>
                      <a:pt x="1216" y="680"/>
                    </a:lnTo>
                    <a:lnTo>
                      <a:pt x="1226" y="704"/>
                    </a:lnTo>
                    <a:lnTo>
                      <a:pt x="1204" y="725"/>
                    </a:lnTo>
                    <a:lnTo>
                      <a:pt x="1192" y="747"/>
                    </a:lnTo>
                    <a:lnTo>
                      <a:pt x="1209" y="775"/>
                    </a:lnTo>
                    <a:lnTo>
                      <a:pt x="1259" y="791"/>
                    </a:lnTo>
                    <a:lnTo>
                      <a:pt x="1405" y="796"/>
                    </a:lnTo>
                    <a:lnTo>
                      <a:pt x="1481" y="853"/>
                    </a:lnTo>
                    <a:lnTo>
                      <a:pt x="1502" y="858"/>
                    </a:lnTo>
                    <a:lnTo>
                      <a:pt x="1528" y="858"/>
                    </a:lnTo>
                    <a:lnTo>
                      <a:pt x="1528" y="886"/>
                    </a:lnTo>
                    <a:lnTo>
                      <a:pt x="1540" y="886"/>
                    </a:lnTo>
                    <a:lnTo>
                      <a:pt x="1566" y="947"/>
                    </a:lnTo>
                    <a:lnTo>
                      <a:pt x="1594" y="980"/>
                    </a:lnTo>
                    <a:lnTo>
                      <a:pt x="1594" y="997"/>
                    </a:lnTo>
                    <a:lnTo>
                      <a:pt x="1646" y="985"/>
                    </a:lnTo>
                    <a:lnTo>
                      <a:pt x="1821" y="1014"/>
                    </a:lnTo>
                    <a:lnTo>
                      <a:pt x="1873" y="997"/>
                    </a:lnTo>
                    <a:lnTo>
                      <a:pt x="1911" y="997"/>
                    </a:lnTo>
                    <a:lnTo>
                      <a:pt x="1981" y="1014"/>
                    </a:lnTo>
                    <a:lnTo>
                      <a:pt x="1998" y="1035"/>
                    </a:lnTo>
                    <a:lnTo>
                      <a:pt x="2040" y="1042"/>
                    </a:lnTo>
                    <a:lnTo>
                      <a:pt x="2090" y="1068"/>
                    </a:lnTo>
                    <a:lnTo>
                      <a:pt x="2123" y="1075"/>
                    </a:lnTo>
                    <a:lnTo>
                      <a:pt x="2166" y="1068"/>
                    </a:lnTo>
                    <a:lnTo>
                      <a:pt x="2166" y="1084"/>
                    </a:lnTo>
                    <a:lnTo>
                      <a:pt x="2199" y="1091"/>
                    </a:lnTo>
                    <a:lnTo>
                      <a:pt x="2203" y="1091"/>
                    </a:lnTo>
                    <a:lnTo>
                      <a:pt x="2220" y="1084"/>
                    </a:lnTo>
                    <a:lnTo>
                      <a:pt x="2258" y="1058"/>
                    </a:lnTo>
                    <a:lnTo>
                      <a:pt x="2376" y="1018"/>
                    </a:lnTo>
                    <a:lnTo>
                      <a:pt x="2506" y="1018"/>
                    </a:lnTo>
                    <a:lnTo>
                      <a:pt x="2581" y="985"/>
                    </a:lnTo>
                    <a:lnTo>
                      <a:pt x="2624" y="940"/>
                    </a:lnTo>
                    <a:lnTo>
                      <a:pt x="2690" y="907"/>
                    </a:lnTo>
                    <a:lnTo>
                      <a:pt x="2683" y="886"/>
                    </a:lnTo>
                    <a:lnTo>
                      <a:pt x="2652" y="853"/>
                    </a:lnTo>
                    <a:lnTo>
                      <a:pt x="2678" y="796"/>
                    </a:lnTo>
                    <a:lnTo>
                      <a:pt x="2700" y="780"/>
                    </a:lnTo>
                    <a:lnTo>
                      <a:pt x="2721" y="791"/>
                    </a:lnTo>
                    <a:lnTo>
                      <a:pt x="2754" y="803"/>
                    </a:lnTo>
                    <a:lnTo>
                      <a:pt x="2808" y="813"/>
                    </a:lnTo>
                    <a:lnTo>
                      <a:pt x="2867" y="775"/>
                    </a:lnTo>
                    <a:lnTo>
                      <a:pt x="2867" y="758"/>
                    </a:lnTo>
                    <a:lnTo>
                      <a:pt x="2938" y="758"/>
                    </a:lnTo>
                    <a:lnTo>
                      <a:pt x="2985" y="737"/>
                    </a:lnTo>
                    <a:lnTo>
                      <a:pt x="3002" y="692"/>
                    </a:lnTo>
                    <a:lnTo>
                      <a:pt x="3023" y="680"/>
                    </a:lnTo>
                    <a:lnTo>
                      <a:pt x="3030" y="669"/>
                    </a:lnTo>
                    <a:lnTo>
                      <a:pt x="3068" y="669"/>
                    </a:lnTo>
                    <a:lnTo>
                      <a:pt x="3068" y="652"/>
                    </a:lnTo>
                    <a:lnTo>
                      <a:pt x="3099" y="652"/>
                    </a:lnTo>
                    <a:lnTo>
                      <a:pt x="3137" y="636"/>
                    </a:lnTo>
                    <a:lnTo>
                      <a:pt x="3170" y="647"/>
                    </a:lnTo>
                    <a:lnTo>
                      <a:pt x="3174" y="636"/>
                    </a:lnTo>
                    <a:lnTo>
                      <a:pt x="3207" y="647"/>
                    </a:lnTo>
                    <a:lnTo>
                      <a:pt x="3229" y="652"/>
                    </a:lnTo>
                    <a:lnTo>
                      <a:pt x="3245" y="636"/>
                    </a:lnTo>
                    <a:lnTo>
                      <a:pt x="3245" y="626"/>
                    </a:lnTo>
                    <a:lnTo>
                      <a:pt x="3229" y="598"/>
                    </a:lnTo>
                    <a:lnTo>
                      <a:pt x="3191" y="569"/>
                    </a:lnTo>
                    <a:lnTo>
                      <a:pt x="3191" y="553"/>
                    </a:lnTo>
                    <a:lnTo>
                      <a:pt x="3170" y="543"/>
                    </a:lnTo>
                    <a:lnTo>
                      <a:pt x="3153" y="520"/>
                    </a:lnTo>
                    <a:lnTo>
                      <a:pt x="3099" y="520"/>
                    </a:lnTo>
                    <a:lnTo>
                      <a:pt x="3068" y="553"/>
                    </a:lnTo>
                    <a:lnTo>
                      <a:pt x="3040" y="536"/>
                    </a:lnTo>
                    <a:lnTo>
                      <a:pt x="2992" y="536"/>
                    </a:lnTo>
                    <a:lnTo>
                      <a:pt x="2969" y="553"/>
                    </a:lnTo>
                    <a:lnTo>
                      <a:pt x="2948" y="527"/>
                    </a:lnTo>
                    <a:lnTo>
                      <a:pt x="2938" y="515"/>
                    </a:lnTo>
                    <a:lnTo>
                      <a:pt x="2959" y="499"/>
                    </a:lnTo>
                    <a:lnTo>
                      <a:pt x="2959" y="470"/>
                    </a:lnTo>
                    <a:lnTo>
                      <a:pt x="2976" y="449"/>
                    </a:lnTo>
                    <a:lnTo>
                      <a:pt x="3023" y="354"/>
                    </a:lnTo>
                    <a:lnTo>
                      <a:pt x="3111" y="388"/>
                    </a:lnTo>
                    <a:lnTo>
                      <a:pt x="3153" y="347"/>
                    </a:lnTo>
                    <a:lnTo>
                      <a:pt x="3191" y="338"/>
                    </a:lnTo>
                    <a:lnTo>
                      <a:pt x="3207" y="331"/>
                    </a:lnTo>
                    <a:lnTo>
                      <a:pt x="3207" y="305"/>
                    </a:lnTo>
                    <a:lnTo>
                      <a:pt x="3191" y="298"/>
                    </a:lnTo>
                    <a:lnTo>
                      <a:pt x="3219" y="265"/>
                    </a:lnTo>
                    <a:lnTo>
                      <a:pt x="3224" y="248"/>
                    </a:lnTo>
                    <a:lnTo>
                      <a:pt x="3240" y="239"/>
                    </a:lnTo>
                    <a:lnTo>
                      <a:pt x="3262" y="182"/>
                    </a:lnTo>
                    <a:lnTo>
                      <a:pt x="3300" y="154"/>
                    </a:lnTo>
                    <a:lnTo>
                      <a:pt x="3309" y="132"/>
                    </a:lnTo>
                    <a:lnTo>
                      <a:pt x="3300" y="116"/>
                    </a:lnTo>
                    <a:lnTo>
                      <a:pt x="3300" y="95"/>
                    </a:lnTo>
                    <a:lnTo>
                      <a:pt x="3283" y="83"/>
                    </a:lnTo>
                    <a:lnTo>
                      <a:pt x="3262" y="95"/>
                    </a:lnTo>
                    <a:lnTo>
                      <a:pt x="3257" y="71"/>
                    </a:lnTo>
                    <a:lnTo>
                      <a:pt x="3309" y="21"/>
                    </a:lnTo>
                    <a:lnTo>
                      <a:pt x="3510" y="0"/>
                    </a:lnTo>
                    <a:lnTo>
                      <a:pt x="3543" y="17"/>
                    </a:lnTo>
                    <a:lnTo>
                      <a:pt x="3552" y="17"/>
                    </a:lnTo>
                    <a:lnTo>
                      <a:pt x="3569" y="26"/>
                    </a:lnTo>
                    <a:lnTo>
                      <a:pt x="3597" y="38"/>
                    </a:lnTo>
                    <a:lnTo>
                      <a:pt x="3618" y="26"/>
                    </a:lnTo>
                    <a:lnTo>
                      <a:pt x="3649" y="43"/>
                    </a:lnTo>
                    <a:lnTo>
                      <a:pt x="3656" y="54"/>
                    </a:lnTo>
                    <a:lnTo>
                      <a:pt x="3649" y="62"/>
                    </a:lnTo>
                    <a:lnTo>
                      <a:pt x="3677" y="78"/>
                    </a:lnTo>
                    <a:lnTo>
                      <a:pt x="3673" y="95"/>
                    </a:lnTo>
                    <a:lnTo>
                      <a:pt x="3687" y="95"/>
                    </a:lnTo>
                    <a:lnTo>
                      <a:pt x="3703" y="111"/>
                    </a:lnTo>
                    <a:lnTo>
                      <a:pt x="3694" y="132"/>
                    </a:lnTo>
                    <a:lnTo>
                      <a:pt x="3715" y="132"/>
                    </a:lnTo>
                    <a:lnTo>
                      <a:pt x="3703" y="149"/>
                    </a:lnTo>
                    <a:lnTo>
                      <a:pt x="3725" y="170"/>
                    </a:lnTo>
                    <a:lnTo>
                      <a:pt x="3732" y="203"/>
                    </a:lnTo>
                    <a:lnTo>
                      <a:pt x="3741" y="203"/>
                    </a:lnTo>
                    <a:lnTo>
                      <a:pt x="3732" y="222"/>
                    </a:lnTo>
                    <a:lnTo>
                      <a:pt x="3741" y="210"/>
                    </a:lnTo>
                    <a:lnTo>
                      <a:pt x="3741" y="239"/>
                    </a:lnTo>
                    <a:lnTo>
                      <a:pt x="3762" y="265"/>
                    </a:lnTo>
                    <a:lnTo>
                      <a:pt x="3770" y="281"/>
                    </a:lnTo>
                    <a:lnTo>
                      <a:pt x="3762" y="293"/>
                    </a:lnTo>
                    <a:lnTo>
                      <a:pt x="3770" y="305"/>
                    </a:lnTo>
                    <a:lnTo>
                      <a:pt x="3786" y="314"/>
                    </a:lnTo>
                    <a:lnTo>
                      <a:pt x="3779" y="331"/>
                    </a:lnTo>
                    <a:lnTo>
                      <a:pt x="3779" y="354"/>
                    </a:lnTo>
                    <a:lnTo>
                      <a:pt x="3800" y="376"/>
                    </a:lnTo>
                    <a:lnTo>
                      <a:pt x="3871" y="376"/>
                    </a:lnTo>
                    <a:lnTo>
                      <a:pt x="3892" y="404"/>
                    </a:lnTo>
                    <a:lnTo>
                      <a:pt x="3921" y="392"/>
                    </a:lnTo>
                    <a:lnTo>
                      <a:pt x="3925" y="404"/>
                    </a:lnTo>
                    <a:lnTo>
                      <a:pt x="3930" y="409"/>
                    </a:lnTo>
                    <a:lnTo>
                      <a:pt x="3947" y="425"/>
                    </a:lnTo>
                    <a:lnTo>
                      <a:pt x="3975" y="442"/>
                    </a:lnTo>
                    <a:lnTo>
                      <a:pt x="4001" y="442"/>
                    </a:lnTo>
                    <a:lnTo>
                      <a:pt x="3996" y="465"/>
                    </a:lnTo>
                    <a:lnTo>
                      <a:pt x="4013" y="499"/>
                    </a:lnTo>
                    <a:lnTo>
                      <a:pt x="4001" y="515"/>
                    </a:lnTo>
                    <a:lnTo>
                      <a:pt x="4018" y="527"/>
                    </a:lnTo>
                    <a:lnTo>
                      <a:pt x="4027" y="553"/>
                    </a:lnTo>
                    <a:lnTo>
                      <a:pt x="4136" y="553"/>
                    </a:lnTo>
                    <a:lnTo>
                      <a:pt x="4140" y="536"/>
                    </a:lnTo>
                    <a:lnTo>
                      <a:pt x="4174" y="515"/>
                    </a:lnTo>
                    <a:lnTo>
                      <a:pt x="4202" y="520"/>
                    </a:lnTo>
                    <a:lnTo>
                      <a:pt x="4216" y="499"/>
                    </a:lnTo>
                    <a:lnTo>
                      <a:pt x="4266" y="487"/>
                    </a:lnTo>
                    <a:lnTo>
                      <a:pt x="4287" y="499"/>
                    </a:lnTo>
                    <a:lnTo>
                      <a:pt x="4270" y="520"/>
                    </a:lnTo>
                    <a:lnTo>
                      <a:pt x="4287" y="553"/>
                    </a:lnTo>
                    <a:lnTo>
                      <a:pt x="4270" y="569"/>
                    </a:lnTo>
                    <a:lnTo>
                      <a:pt x="4249" y="581"/>
                    </a:lnTo>
                    <a:lnTo>
                      <a:pt x="4249" y="610"/>
                    </a:lnTo>
                    <a:lnTo>
                      <a:pt x="4244" y="610"/>
                    </a:lnTo>
                    <a:lnTo>
                      <a:pt x="4233" y="647"/>
                    </a:lnTo>
                    <a:lnTo>
                      <a:pt x="4228" y="664"/>
                    </a:lnTo>
                    <a:lnTo>
                      <a:pt x="4233" y="669"/>
                    </a:lnTo>
                    <a:lnTo>
                      <a:pt x="4228" y="680"/>
                    </a:lnTo>
                    <a:lnTo>
                      <a:pt x="4195" y="721"/>
                    </a:lnTo>
                    <a:lnTo>
                      <a:pt x="4195" y="742"/>
                    </a:lnTo>
                    <a:lnTo>
                      <a:pt x="4174" y="758"/>
                    </a:lnTo>
                    <a:lnTo>
                      <a:pt x="4174" y="780"/>
                    </a:lnTo>
                    <a:lnTo>
                      <a:pt x="4157" y="791"/>
                    </a:lnTo>
                    <a:lnTo>
                      <a:pt x="4093" y="775"/>
                    </a:lnTo>
                    <a:lnTo>
                      <a:pt x="4088" y="763"/>
                    </a:lnTo>
                    <a:lnTo>
                      <a:pt x="4055" y="796"/>
                    </a:lnTo>
                    <a:lnTo>
                      <a:pt x="4018" y="803"/>
                    </a:lnTo>
                    <a:lnTo>
                      <a:pt x="4034" y="820"/>
                    </a:lnTo>
                    <a:lnTo>
                      <a:pt x="4051" y="874"/>
                    </a:lnTo>
                    <a:lnTo>
                      <a:pt x="4039" y="924"/>
                    </a:lnTo>
                    <a:lnTo>
                      <a:pt x="4051" y="940"/>
                    </a:lnTo>
                    <a:lnTo>
                      <a:pt x="4034" y="964"/>
                    </a:lnTo>
                    <a:lnTo>
                      <a:pt x="4034" y="980"/>
                    </a:lnTo>
                    <a:lnTo>
                      <a:pt x="3985" y="997"/>
                    </a:lnTo>
                    <a:lnTo>
                      <a:pt x="3996" y="1002"/>
                    </a:lnTo>
                    <a:lnTo>
                      <a:pt x="3996" y="1018"/>
                    </a:lnTo>
                    <a:lnTo>
                      <a:pt x="3996" y="1014"/>
                    </a:lnTo>
                    <a:lnTo>
                      <a:pt x="3975" y="997"/>
                    </a:lnTo>
                    <a:lnTo>
                      <a:pt x="3975" y="980"/>
                    </a:lnTo>
                    <a:lnTo>
                      <a:pt x="3947" y="969"/>
                    </a:lnTo>
                    <a:lnTo>
                      <a:pt x="3930" y="1018"/>
                    </a:lnTo>
                    <a:lnTo>
                      <a:pt x="3921" y="1025"/>
                    </a:lnTo>
                    <a:lnTo>
                      <a:pt x="3909" y="1018"/>
                    </a:lnTo>
                    <a:lnTo>
                      <a:pt x="3904" y="1035"/>
                    </a:lnTo>
                    <a:lnTo>
                      <a:pt x="3876" y="1058"/>
                    </a:lnTo>
                    <a:lnTo>
                      <a:pt x="3817" y="1058"/>
                    </a:lnTo>
                    <a:lnTo>
                      <a:pt x="3824" y="1075"/>
                    </a:lnTo>
                    <a:lnTo>
                      <a:pt x="3833" y="1091"/>
                    </a:lnTo>
                    <a:lnTo>
                      <a:pt x="3824" y="1113"/>
                    </a:lnTo>
                    <a:lnTo>
                      <a:pt x="3762" y="1108"/>
                    </a:lnTo>
                    <a:lnTo>
                      <a:pt x="3741" y="1075"/>
                    </a:lnTo>
                    <a:lnTo>
                      <a:pt x="3715" y="1091"/>
                    </a:lnTo>
                    <a:lnTo>
                      <a:pt x="3711" y="1113"/>
                    </a:lnTo>
                    <a:lnTo>
                      <a:pt x="3677" y="1151"/>
                    </a:lnTo>
                    <a:lnTo>
                      <a:pt x="3656" y="1151"/>
                    </a:lnTo>
                    <a:lnTo>
                      <a:pt x="3635" y="1169"/>
                    </a:lnTo>
                    <a:lnTo>
                      <a:pt x="3607" y="1186"/>
                    </a:lnTo>
                    <a:lnTo>
                      <a:pt x="3607" y="1195"/>
                    </a:lnTo>
                    <a:lnTo>
                      <a:pt x="3597" y="1186"/>
                    </a:lnTo>
                    <a:lnTo>
                      <a:pt x="3564" y="1219"/>
                    </a:lnTo>
                    <a:lnTo>
                      <a:pt x="3552" y="1236"/>
                    </a:lnTo>
                    <a:lnTo>
                      <a:pt x="3543" y="1240"/>
                    </a:lnTo>
                    <a:lnTo>
                      <a:pt x="3514" y="1240"/>
                    </a:lnTo>
                    <a:lnTo>
                      <a:pt x="3493" y="1252"/>
                    </a:lnTo>
                    <a:lnTo>
                      <a:pt x="3477" y="1240"/>
                    </a:lnTo>
                    <a:lnTo>
                      <a:pt x="3488" y="1257"/>
                    </a:lnTo>
                    <a:lnTo>
                      <a:pt x="3422" y="1278"/>
                    </a:lnTo>
                    <a:lnTo>
                      <a:pt x="3392" y="1311"/>
                    </a:lnTo>
                    <a:lnTo>
                      <a:pt x="3370" y="1311"/>
                    </a:lnTo>
                    <a:lnTo>
                      <a:pt x="3370" y="1330"/>
                    </a:lnTo>
                    <a:lnTo>
                      <a:pt x="3333" y="1335"/>
                    </a:lnTo>
                    <a:lnTo>
                      <a:pt x="3333" y="1318"/>
                    </a:lnTo>
                    <a:lnTo>
                      <a:pt x="3370" y="1306"/>
                    </a:lnTo>
                    <a:lnTo>
                      <a:pt x="3363" y="1295"/>
                    </a:lnTo>
                    <a:lnTo>
                      <a:pt x="3380" y="1278"/>
                    </a:lnTo>
                    <a:lnTo>
                      <a:pt x="3363" y="1278"/>
                    </a:lnTo>
                    <a:lnTo>
                      <a:pt x="3354" y="1273"/>
                    </a:lnTo>
                    <a:lnTo>
                      <a:pt x="3337" y="1262"/>
                    </a:lnTo>
                    <a:lnTo>
                      <a:pt x="3363" y="1257"/>
                    </a:lnTo>
                    <a:lnTo>
                      <a:pt x="3354" y="1240"/>
                    </a:lnTo>
                    <a:lnTo>
                      <a:pt x="3385" y="1236"/>
                    </a:lnTo>
                    <a:lnTo>
                      <a:pt x="3418" y="1186"/>
                    </a:lnTo>
                    <a:lnTo>
                      <a:pt x="3401" y="1162"/>
                    </a:lnTo>
                    <a:lnTo>
                      <a:pt x="3337" y="1151"/>
                    </a:lnTo>
                    <a:lnTo>
                      <a:pt x="3325" y="1162"/>
                    </a:lnTo>
                    <a:lnTo>
                      <a:pt x="3316" y="1162"/>
                    </a:lnTo>
                    <a:lnTo>
                      <a:pt x="3325" y="1169"/>
                    </a:lnTo>
                    <a:lnTo>
                      <a:pt x="3309" y="1169"/>
                    </a:lnTo>
                    <a:lnTo>
                      <a:pt x="3295" y="1195"/>
                    </a:lnTo>
                    <a:lnTo>
                      <a:pt x="3283" y="1207"/>
                    </a:lnTo>
                    <a:lnTo>
                      <a:pt x="3224" y="1240"/>
                    </a:lnTo>
                    <a:lnTo>
                      <a:pt x="3207" y="1252"/>
                    </a:lnTo>
                    <a:lnTo>
                      <a:pt x="3203" y="1278"/>
                    </a:lnTo>
                    <a:lnTo>
                      <a:pt x="3174" y="1306"/>
                    </a:lnTo>
                    <a:lnTo>
                      <a:pt x="3186" y="1295"/>
                    </a:lnTo>
                    <a:lnTo>
                      <a:pt x="3153" y="1295"/>
                    </a:lnTo>
                    <a:lnTo>
                      <a:pt x="3137" y="1311"/>
                    </a:lnTo>
                    <a:lnTo>
                      <a:pt x="3115" y="1295"/>
                    </a:lnTo>
                    <a:lnTo>
                      <a:pt x="3094" y="1306"/>
                    </a:lnTo>
                    <a:lnTo>
                      <a:pt x="3082" y="1347"/>
                    </a:lnTo>
                    <a:lnTo>
                      <a:pt x="3094" y="1368"/>
                    </a:lnTo>
                    <a:lnTo>
                      <a:pt x="3120" y="1384"/>
                    </a:lnTo>
                    <a:lnTo>
                      <a:pt x="3170" y="1384"/>
                    </a:lnTo>
                    <a:lnTo>
                      <a:pt x="3186" y="1406"/>
                    </a:lnTo>
                    <a:lnTo>
                      <a:pt x="3174" y="1455"/>
                    </a:lnTo>
                    <a:lnTo>
                      <a:pt x="3203" y="1472"/>
                    </a:lnTo>
                    <a:lnTo>
                      <a:pt x="3240" y="1472"/>
                    </a:lnTo>
                    <a:lnTo>
                      <a:pt x="3245" y="1462"/>
                    </a:lnTo>
                    <a:lnTo>
                      <a:pt x="3245" y="1446"/>
                    </a:lnTo>
                    <a:lnTo>
                      <a:pt x="3309" y="1406"/>
                    </a:lnTo>
                    <a:lnTo>
                      <a:pt x="3316" y="1417"/>
                    </a:lnTo>
                    <a:lnTo>
                      <a:pt x="3333" y="1429"/>
                    </a:lnTo>
                    <a:lnTo>
                      <a:pt x="3363" y="1446"/>
                    </a:lnTo>
                    <a:lnTo>
                      <a:pt x="3401" y="1429"/>
                    </a:lnTo>
                    <a:lnTo>
                      <a:pt x="3408" y="1446"/>
                    </a:lnTo>
                    <a:lnTo>
                      <a:pt x="3434" y="1446"/>
                    </a:lnTo>
                    <a:lnTo>
                      <a:pt x="3439" y="1462"/>
                    </a:lnTo>
                    <a:lnTo>
                      <a:pt x="3422" y="1472"/>
                    </a:lnTo>
                    <a:lnTo>
                      <a:pt x="3422" y="1479"/>
                    </a:lnTo>
                    <a:lnTo>
                      <a:pt x="3434" y="1479"/>
                    </a:lnTo>
                    <a:lnTo>
                      <a:pt x="3434" y="1484"/>
                    </a:lnTo>
                    <a:lnTo>
                      <a:pt x="3408" y="1495"/>
                    </a:lnTo>
                    <a:lnTo>
                      <a:pt x="3408" y="1484"/>
                    </a:lnTo>
                    <a:lnTo>
                      <a:pt x="3392" y="1479"/>
                    </a:lnTo>
                    <a:lnTo>
                      <a:pt x="3363" y="1500"/>
                    </a:lnTo>
                    <a:lnTo>
                      <a:pt x="3363" y="1495"/>
                    </a:lnTo>
                    <a:lnTo>
                      <a:pt x="3325" y="1517"/>
                    </a:lnTo>
                    <a:lnTo>
                      <a:pt x="3309" y="1512"/>
                    </a:lnTo>
                    <a:lnTo>
                      <a:pt x="3309" y="1517"/>
                    </a:lnTo>
                    <a:lnTo>
                      <a:pt x="3316" y="1512"/>
                    </a:lnTo>
                    <a:lnTo>
                      <a:pt x="3325" y="1517"/>
                    </a:lnTo>
                    <a:lnTo>
                      <a:pt x="3316" y="1533"/>
                    </a:lnTo>
                    <a:lnTo>
                      <a:pt x="3309" y="1528"/>
                    </a:lnTo>
                    <a:lnTo>
                      <a:pt x="3300" y="1528"/>
                    </a:lnTo>
                    <a:lnTo>
                      <a:pt x="3300" y="1550"/>
                    </a:lnTo>
                    <a:lnTo>
                      <a:pt x="3278" y="1557"/>
                    </a:lnTo>
                    <a:lnTo>
                      <a:pt x="3278" y="1550"/>
                    </a:lnTo>
                    <a:lnTo>
                      <a:pt x="3278" y="1540"/>
                    </a:lnTo>
                    <a:lnTo>
                      <a:pt x="3262" y="1550"/>
                    </a:lnTo>
                    <a:lnTo>
                      <a:pt x="3271" y="1566"/>
                    </a:lnTo>
                    <a:lnTo>
                      <a:pt x="3245" y="1583"/>
                    </a:lnTo>
                    <a:lnTo>
                      <a:pt x="3245" y="1590"/>
                    </a:lnTo>
                    <a:lnTo>
                      <a:pt x="3229" y="1595"/>
                    </a:lnTo>
                    <a:lnTo>
                      <a:pt x="3207" y="1639"/>
                    </a:lnTo>
                    <a:lnTo>
                      <a:pt x="3203" y="1639"/>
                    </a:lnTo>
                    <a:lnTo>
                      <a:pt x="3191" y="1651"/>
                    </a:lnTo>
                    <a:lnTo>
                      <a:pt x="3203" y="1661"/>
                    </a:lnTo>
                    <a:lnTo>
                      <a:pt x="3219" y="1668"/>
                    </a:lnTo>
                    <a:lnTo>
                      <a:pt x="3229" y="1684"/>
                    </a:lnTo>
                    <a:lnTo>
                      <a:pt x="3271" y="1701"/>
                    </a:lnTo>
                    <a:lnTo>
                      <a:pt x="3283" y="1755"/>
                    </a:lnTo>
                    <a:lnTo>
                      <a:pt x="3316" y="1812"/>
                    </a:lnTo>
                    <a:lnTo>
                      <a:pt x="3316" y="1833"/>
                    </a:lnTo>
                    <a:lnTo>
                      <a:pt x="3354" y="1862"/>
                    </a:lnTo>
                    <a:lnTo>
                      <a:pt x="3354" y="1871"/>
                    </a:lnTo>
                    <a:lnTo>
                      <a:pt x="3380" y="1888"/>
                    </a:lnTo>
                    <a:lnTo>
                      <a:pt x="3385" y="1904"/>
                    </a:lnTo>
                    <a:lnTo>
                      <a:pt x="3385" y="1916"/>
                    </a:lnTo>
                    <a:lnTo>
                      <a:pt x="3347" y="1899"/>
                    </a:lnTo>
                    <a:lnTo>
                      <a:pt x="3325" y="1899"/>
                    </a:lnTo>
                    <a:lnTo>
                      <a:pt x="3295" y="1883"/>
                    </a:lnTo>
                    <a:lnTo>
                      <a:pt x="3262" y="1888"/>
                    </a:lnTo>
                    <a:lnTo>
                      <a:pt x="3240" y="1862"/>
                    </a:lnTo>
                    <a:lnTo>
                      <a:pt x="3229" y="1866"/>
                    </a:lnTo>
                    <a:lnTo>
                      <a:pt x="3224" y="1871"/>
                    </a:lnTo>
                    <a:lnTo>
                      <a:pt x="3240" y="1871"/>
                    </a:lnTo>
                    <a:lnTo>
                      <a:pt x="3245" y="1888"/>
                    </a:lnTo>
                    <a:lnTo>
                      <a:pt x="3262" y="1888"/>
                    </a:lnTo>
                    <a:lnTo>
                      <a:pt x="3283" y="1883"/>
                    </a:lnTo>
                    <a:lnTo>
                      <a:pt x="3300" y="1888"/>
                    </a:lnTo>
                    <a:lnTo>
                      <a:pt x="3309" y="1899"/>
                    </a:lnTo>
                    <a:lnTo>
                      <a:pt x="3300" y="1899"/>
                    </a:lnTo>
                    <a:lnTo>
                      <a:pt x="3333" y="1904"/>
                    </a:lnTo>
                    <a:lnTo>
                      <a:pt x="3370" y="1937"/>
                    </a:lnTo>
                    <a:lnTo>
                      <a:pt x="3385" y="1973"/>
                    </a:lnTo>
                    <a:lnTo>
                      <a:pt x="3385" y="1977"/>
                    </a:lnTo>
                    <a:lnTo>
                      <a:pt x="3354" y="1977"/>
                    </a:lnTo>
                    <a:lnTo>
                      <a:pt x="3325" y="1999"/>
                    </a:lnTo>
                    <a:lnTo>
                      <a:pt x="3309" y="2015"/>
                    </a:lnTo>
                    <a:lnTo>
                      <a:pt x="3283" y="2015"/>
                    </a:lnTo>
                    <a:lnTo>
                      <a:pt x="3262" y="2032"/>
                    </a:lnTo>
                    <a:lnTo>
                      <a:pt x="3295" y="2015"/>
                    </a:lnTo>
                    <a:lnTo>
                      <a:pt x="3295" y="2032"/>
                    </a:lnTo>
                    <a:lnTo>
                      <a:pt x="3309" y="2039"/>
                    </a:lnTo>
                    <a:lnTo>
                      <a:pt x="3347" y="2027"/>
                    </a:lnTo>
                    <a:lnTo>
                      <a:pt x="3370" y="2048"/>
                    </a:lnTo>
                    <a:lnTo>
                      <a:pt x="3401" y="2055"/>
                    </a:lnTo>
                    <a:lnTo>
                      <a:pt x="3370" y="2081"/>
                    </a:lnTo>
                    <a:lnTo>
                      <a:pt x="3363" y="2081"/>
                    </a:lnTo>
                    <a:lnTo>
                      <a:pt x="3354" y="2088"/>
                    </a:lnTo>
                    <a:lnTo>
                      <a:pt x="3380" y="2081"/>
                    </a:lnTo>
                    <a:lnTo>
                      <a:pt x="3380" y="2088"/>
                    </a:lnTo>
                    <a:lnTo>
                      <a:pt x="3385" y="2081"/>
                    </a:lnTo>
                    <a:lnTo>
                      <a:pt x="3380" y="2081"/>
                    </a:lnTo>
                    <a:lnTo>
                      <a:pt x="3385" y="2072"/>
                    </a:lnTo>
                    <a:lnTo>
                      <a:pt x="3392" y="2081"/>
                    </a:lnTo>
                    <a:lnTo>
                      <a:pt x="3385" y="2105"/>
                    </a:lnTo>
                    <a:lnTo>
                      <a:pt x="3392" y="2105"/>
                    </a:lnTo>
                    <a:lnTo>
                      <a:pt x="3385" y="2110"/>
                    </a:lnTo>
                    <a:lnTo>
                      <a:pt x="3380" y="2093"/>
                    </a:lnTo>
                    <a:lnTo>
                      <a:pt x="3380" y="2110"/>
                    </a:lnTo>
                    <a:lnTo>
                      <a:pt x="3363" y="2105"/>
                    </a:lnTo>
                    <a:lnTo>
                      <a:pt x="3354" y="2110"/>
                    </a:lnTo>
                    <a:lnTo>
                      <a:pt x="3370" y="2121"/>
                    </a:lnTo>
                    <a:lnTo>
                      <a:pt x="3370" y="2126"/>
                    </a:lnTo>
                    <a:lnTo>
                      <a:pt x="3354" y="2126"/>
                    </a:lnTo>
                    <a:lnTo>
                      <a:pt x="3370" y="2138"/>
                    </a:lnTo>
                    <a:lnTo>
                      <a:pt x="3363" y="2143"/>
                    </a:lnTo>
                    <a:lnTo>
                      <a:pt x="3347" y="2143"/>
                    </a:lnTo>
                    <a:lnTo>
                      <a:pt x="3333" y="2138"/>
                    </a:lnTo>
                    <a:lnTo>
                      <a:pt x="3354" y="2150"/>
                    </a:lnTo>
                    <a:lnTo>
                      <a:pt x="3370" y="2176"/>
                    </a:lnTo>
                    <a:lnTo>
                      <a:pt x="3363" y="2183"/>
                    </a:lnTo>
                    <a:lnTo>
                      <a:pt x="3354" y="2176"/>
                    </a:lnTo>
                    <a:lnTo>
                      <a:pt x="3347" y="2192"/>
                    </a:lnTo>
                    <a:lnTo>
                      <a:pt x="3337" y="2176"/>
                    </a:lnTo>
                    <a:lnTo>
                      <a:pt x="3316" y="2199"/>
                    </a:lnTo>
                    <a:lnTo>
                      <a:pt x="3295" y="2199"/>
                    </a:lnTo>
                    <a:lnTo>
                      <a:pt x="3316" y="2204"/>
                    </a:lnTo>
                    <a:lnTo>
                      <a:pt x="3316" y="2216"/>
                    </a:lnTo>
                    <a:lnTo>
                      <a:pt x="3295" y="2232"/>
                    </a:lnTo>
                    <a:lnTo>
                      <a:pt x="3300" y="2249"/>
                    </a:lnTo>
                    <a:lnTo>
                      <a:pt x="3283" y="2258"/>
                    </a:lnTo>
                    <a:lnTo>
                      <a:pt x="3278" y="2254"/>
                    </a:lnTo>
                    <a:lnTo>
                      <a:pt x="3271" y="2254"/>
                    </a:lnTo>
                    <a:lnTo>
                      <a:pt x="3271" y="2258"/>
                    </a:lnTo>
                    <a:lnTo>
                      <a:pt x="3283" y="2270"/>
                    </a:lnTo>
                    <a:lnTo>
                      <a:pt x="3271" y="2270"/>
                    </a:lnTo>
                    <a:lnTo>
                      <a:pt x="3271" y="2287"/>
                    </a:lnTo>
                    <a:lnTo>
                      <a:pt x="3257" y="2287"/>
                    </a:lnTo>
                    <a:lnTo>
                      <a:pt x="3262" y="2310"/>
                    </a:lnTo>
                    <a:lnTo>
                      <a:pt x="3245" y="2315"/>
                    </a:lnTo>
                    <a:lnTo>
                      <a:pt x="3262" y="2294"/>
                    </a:lnTo>
                    <a:lnTo>
                      <a:pt x="3245" y="2294"/>
                    </a:lnTo>
                    <a:lnTo>
                      <a:pt x="3245" y="2310"/>
                    </a:lnTo>
                    <a:lnTo>
                      <a:pt x="3240" y="2294"/>
                    </a:lnTo>
                    <a:lnTo>
                      <a:pt x="3229" y="2294"/>
                    </a:lnTo>
                    <a:lnTo>
                      <a:pt x="3229" y="2303"/>
                    </a:lnTo>
                    <a:lnTo>
                      <a:pt x="3224" y="2294"/>
                    </a:lnTo>
                    <a:lnTo>
                      <a:pt x="3224" y="2310"/>
                    </a:lnTo>
                    <a:lnTo>
                      <a:pt x="3229" y="2310"/>
                    </a:lnTo>
                    <a:lnTo>
                      <a:pt x="3240" y="2327"/>
                    </a:lnTo>
                    <a:lnTo>
                      <a:pt x="3229" y="2315"/>
                    </a:lnTo>
                    <a:lnTo>
                      <a:pt x="3224" y="2327"/>
                    </a:lnTo>
                    <a:lnTo>
                      <a:pt x="3229" y="2332"/>
                    </a:lnTo>
                    <a:lnTo>
                      <a:pt x="3240" y="2327"/>
                    </a:lnTo>
                    <a:lnTo>
                      <a:pt x="3245" y="2327"/>
                    </a:lnTo>
                    <a:lnTo>
                      <a:pt x="3229" y="2332"/>
                    </a:lnTo>
                    <a:lnTo>
                      <a:pt x="3219" y="2360"/>
                    </a:lnTo>
                    <a:lnTo>
                      <a:pt x="3191" y="2343"/>
                    </a:lnTo>
                    <a:lnTo>
                      <a:pt x="3207" y="2360"/>
                    </a:lnTo>
                    <a:lnTo>
                      <a:pt x="3224" y="2348"/>
                    </a:lnTo>
                    <a:lnTo>
                      <a:pt x="3229" y="2360"/>
                    </a:lnTo>
                    <a:lnTo>
                      <a:pt x="3224" y="2365"/>
                    </a:lnTo>
                    <a:lnTo>
                      <a:pt x="3224" y="2381"/>
                    </a:lnTo>
                    <a:lnTo>
                      <a:pt x="3219" y="2381"/>
                    </a:lnTo>
                    <a:lnTo>
                      <a:pt x="3229" y="2402"/>
                    </a:lnTo>
                    <a:lnTo>
                      <a:pt x="3207" y="2386"/>
                    </a:lnTo>
                    <a:lnTo>
                      <a:pt x="3191" y="2402"/>
                    </a:lnTo>
                    <a:lnTo>
                      <a:pt x="3207" y="2414"/>
                    </a:lnTo>
                    <a:lnTo>
                      <a:pt x="3191" y="2426"/>
                    </a:lnTo>
                    <a:lnTo>
                      <a:pt x="3186" y="2419"/>
                    </a:lnTo>
                    <a:lnTo>
                      <a:pt x="3186" y="2414"/>
                    </a:lnTo>
                    <a:lnTo>
                      <a:pt x="3174" y="2414"/>
                    </a:lnTo>
                    <a:lnTo>
                      <a:pt x="3186" y="2419"/>
                    </a:lnTo>
                    <a:lnTo>
                      <a:pt x="3170" y="2426"/>
                    </a:lnTo>
                    <a:lnTo>
                      <a:pt x="3186" y="2438"/>
                    </a:lnTo>
                    <a:lnTo>
                      <a:pt x="3165" y="2443"/>
                    </a:lnTo>
                    <a:lnTo>
                      <a:pt x="3165" y="2438"/>
                    </a:lnTo>
                    <a:lnTo>
                      <a:pt x="3153" y="2443"/>
                    </a:lnTo>
                    <a:lnTo>
                      <a:pt x="3153" y="2454"/>
                    </a:lnTo>
                    <a:lnTo>
                      <a:pt x="3170" y="2454"/>
                    </a:lnTo>
                    <a:lnTo>
                      <a:pt x="3153" y="2471"/>
                    </a:lnTo>
                    <a:lnTo>
                      <a:pt x="3148" y="2459"/>
                    </a:lnTo>
                    <a:lnTo>
                      <a:pt x="3132" y="2471"/>
                    </a:lnTo>
                    <a:lnTo>
                      <a:pt x="3120" y="2459"/>
                    </a:lnTo>
                    <a:lnTo>
                      <a:pt x="3111" y="2471"/>
                    </a:lnTo>
                    <a:lnTo>
                      <a:pt x="3115" y="2471"/>
                    </a:lnTo>
                    <a:lnTo>
                      <a:pt x="3115" y="2476"/>
                    </a:lnTo>
                    <a:lnTo>
                      <a:pt x="3099" y="2476"/>
                    </a:lnTo>
                    <a:lnTo>
                      <a:pt x="3115" y="2476"/>
                    </a:lnTo>
                    <a:lnTo>
                      <a:pt x="3120" y="2492"/>
                    </a:lnTo>
                    <a:lnTo>
                      <a:pt x="3094" y="2513"/>
                    </a:lnTo>
                    <a:lnTo>
                      <a:pt x="3099" y="2509"/>
                    </a:lnTo>
                    <a:lnTo>
                      <a:pt x="3082" y="2525"/>
                    </a:lnTo>
                    <a:lnTo>
                      <a:pt x="3061" y="2530"/>
                    </a:lnTo>
                    <a:lnTo>
                      <a:pt x="3056" y="2537"/>
                    </a:lnTo>
                    <a:lnTo>
                      <a:pt x="3040" y="2530"/>
                    </a:lnTo>
                    <a:lnTo>
                      <a:pt x="3023" y="2563"/>
                    </a:lnTo>
                    <a:lnTo>
                      <a:pt x="3007" y="2554"/>
                    </a:lnTo>
                    <a:lnTo>
                      <a:pt x="3030" y="2570"/>
                    </a:lnTo>
                    <a:lnTo>
                      <a:pt x="3007" y="2570"/>
                    </a:lnTo>
                    <a:lnTo>
                      <a:pt x="3007" y="2587"/>
                    </a:lnTo>
                    <a:lnTo>
                      <a:pt x="2992" y="2591"/>
                    </a:lnTo>
                    <a:lnTo>
                      <a:pt x="2959" y="2603"/>
                    </a:lnTo>
                    <a:lnTo>
                      <a:pt x="2948" y="2591"/>
                    </a:lnTo>
                    <a:lnTo>
                      <a:pt x="2938" y="2591"/>
                    </a:lnTo>
                    <a:lnTo>
                      <a:pt x="2938" y="2608"/>
                    </a:lnTo>
                    <a:lnTo>
                      <a:pt x="2917" y="2603"/>
                    </a:lnTo>
                    <a:lnTo>
                      <a:pt x="2893" y="2608"/>
                    </a:lnTo>
                    <a:lnTo>
                      <a:pt x="2893" y="2620"/>
                    </a:lnTo>
                    <a:lnTo>
                      <a:pt x="2884" y="2620"/>
                    </a:lnTo>
                    <a:lnTo>
                      <a:pt x="2884" y="2603"/>
                    </a:lnTo>
                    <a:lnTo>
                      <a:pt x="2867" y="2608"/>
                    </a:lnTo>
                    <a:lnTo>
                      <a:pt x="2879" y="2624"/>
                    </a:lnTo>
                    <a:lnTo>
                      <a:pt x="2867" y="2624"/>
                    </a:lnTo>
                    <a:lnTo>
                      <a:pt x="2863" y="2620"/>
                    </a:lnTo>
                    <a:lnTo>
                      <a:pt x="2846" y="2620"/>
                    </a:lnTo>
                    <a:lnTo>
                      <a:pt x="2851" y="2624"/>
                    </a:lnTo>
                    <a:lnTo>
                      <a:pt x="2863" y="2624"/>
                    </a:lnTo>
                    <a:lnTo>
                      <a:pt x="2851" y="2636"/>
                    </a:lnTo>
                    <a:lnTo>
                      <a:pt x="2851" y="2641"/>
                    </a:lnTo>
                    <a:lnTo>
                      <a:pt x="2829" y="2636"/>
                    </a:lnTo>
                    <a:lnTo>
                      <a:pt x="2841" y="2624"/>
                    </a:lnTo>
                    <a:lnTo>
                      <a:pt x="2825" y="2624"/>
                    </a:lnTo>
                    <a:lnTo>
                      <a:pt x="2813" y="2603"/>
                    </a:lnTo>
                    <a:lnTo>
                      <a:pt x="2808" y="2591"/>
                    </a:lnTo>
                    <a:lnTo>
                      <a:pt x="2796" y="2580"/>
                    </a:lnTo>
                    <a:lnTo>
                      <a:pt x="2825" y="2580"/>
                    </a:lnTo>
                    <a:lnTo>
                      <a:pt x="2813" y="2570"/>
                    </a:lnTo>
                    <a:lnTo>
                      <a:pt x="2796" y="2580"/>
                    </a:lnTo>
                    <a:lnTo>
                      <a:pt x="2796" y="2591"/>
                    </a:lnTo>
                    <a:lnTo>
                      <a:pt x="2792" y="2591"/>
                    </a:lnTo>
                    <a:lnTo>
                      <a:pt x="2796" y="2620"/>
                    </a:lnTo>
                    <a:lnTo>
                      <a:pt x="2796" y="2641"/>
                    </a:lnTo>
                    <a:lnTo>
                      <a:pt x="2796" y="2653"/>
                    </a:lnTo>
                    <a:lnTo>
                      <a:pt x="2792" y="2653"/>
                    </a:lnTo>
                    <a:lnTo>
                      <a:pt x="2775" y="2620"/>
                    </a:lnTo>
                    <a:lnTo>
                      <a:pt x="2792" y="2653"/>
                    </a:lnTo>
                    <a:lnTo>
                      <a:pt x="2787" y="2653"/>
                    </a:lnTo>
                    <a:lnTo>
                      <a:pt x="2775" y="2658"/>
                    </a:lnTo>
                    <a:lnTo>
                      <a:pt x="2770" y="2658"/>
                    </a:lnTo>
                    <a:lnTo>
                      <a:pt x="2770" y="2641"/>
                    </a:lnTo>
                    <a:lnTo>
                      <a:pt x="2759" y="2674"/>
                    </a:lnTo>
                    <a:lnTo>
                      <a:pt x="2754" y="2665"/>
                    </a:lnTo>
                    <a:lnTo>
                      <a:pt x="2737" y="2681"/>
                    </a:lnTo>
                    <a:lnTo>
                      <a:pt x="2733" y="2674"/>
                    </a:lnTo>
                    <a:lnTo>
                      <a:pt x="2716" y="2681"/>
                    </a:lnTo>
                    <a:lnTo>
                      <a:pt x="2683" y="2665"/>
                    </a:lnTo>
                    <a:lnTo>
                      <a:pt x="2690" y="2681"/>
                    </a:lnTo>
                    <a:lnTo>
                      <a:pt x="2683" y="2691"/>
                    </a:lnTo>
                    <a:lnTo>
                      <a:pt x="2666" y="2674"/>
                    </a:lnTo>
                    <a:lnTo>
                      <a:pt x="2678" y="2691"/>
                    </a:lnTo>
                    <a:lnTo>
                      <a:pt x="2666" y="2698"/>
                    </a:lnTo>
                    <a:lnTo>
                      <a:pt x="2629" y="2707"/>
                    </a:lnTo>
                    <a:lnTo>
                      <a:pt x="2624" y="2698"/>
                    </a:lnTo>
                    <a:lnTo>
                      <a:pt x="2624" y="2707"/>
                    </a:lnTo>
                    <a:lnTo>
                      <a:pt x="2629" y="2698"/>
                    </a:lnTo>
                    <a:lnTo>
                      <a:pt x="2607" y="2707"/>
                    </a:lnTo>
                    <a:lnTo>
                      <a:pt x="2598" y="2714"/>
                    </a:lnTo>
                    <a:lnTo>
                      <a:pt x="2607" y="2707"/>
                    </a:lnTo>
                    <a:lnTo>
                      <a:pt x="2598" y="2707"/>
                    </a:lnTo>
                    <a:lnTo>
                      <a:pt x="2598" y="2719"/>
                    </a:lnTo>
                    <a:lnTo>
                      <a:pt x="2591" y="2719"/>
                    </a:lnTo>
                    <a:lnTo>
                      <a:pt x="2581" y="2719"/>
                    </a:lnTo>
                    <a:lnTo>
                      <a:pt x="2581" y="2707"/>
                    </a:lnTo>
                    <a:lnTo>
                      <a:pt x="2581" y="2719"/>
                    </a:lnTo>
                    <a:lnTo>
                      <a:pt x="2560" y="2736"/>
                    </a:lnTo>
                    <a:lnTo>
                      <a:pt x="2560" y="2747"/>
                    </a:lnTo>
                    <a:lnTo>
                      <a:pt x="2577" y="2747"/>
                    </a:lnTo>
                    <a:lnTo>
                      <a:pt x="2577" y="2764"/>
                    </a:lnTo>
                    <a:lnTo>
                      <a:pt x="2591" y="2776"/>
                    </a:lnTo>
                    <a:lnTo>
                      <a:pt x="2577" y="2792"/>
                    </a:lnTo>
                    <a:lnTo>
                      <a:pt x="2553" y="2792"/>
                    </a:lnTo>
                    <a:lnTo>
                      <a:pt x="2544" y="2792"/>
                    </a:lnTo>
                    <a:lnTo>
                      <a:pt x="2544" y="2785"/>
                    </a:lnTo>
                    <a:lnTo>
                      <a:pt x="2553" y="2776"/>
                    </a:lnTo>
                    <a:lnTo>
                      <a:pt x="2539" y="2764"/>
                    </a:lnTo>
                    <a:lnTo>
                      <a:pt x="2527" y="2747"/>
                    </a:lnTo>
                    <a:lnTo>
                      <a:pt x="2539" y="2714"/>
                    </a:lnTo>
                    <a:lnTo>
                      <a:pt x="2553" y="2707"/>
                    </a:lnTo>
                    <a:lnTo>
                      <a:pt x="2539" y="2707"/>
                    </a:lnTo>
                    <a:lnTo>
                      <a:pt x="2539" y="2691"/>
                    </a:lnTo>
                    <a:lnTo>
                      <a:pt x="2539" y="2698"/>
                    </a:lnTo>
                    <a:lnTo>
                      <a:pt x="2527" y="2698"/>
                    </a:lnTo>
                    <a:lnTo>
                      <a:pt x="2522" y="2681"/>
                    </a:lnTo>
                    <a:lnTo>
                      <a:pt x="2522" y="2691"/>
                    </a:lnTo>
                    <a:lnTo>
                      <a:pt x="2522" y="2698"/>
                    </a:lnTo>
                    <a:lnTo>
                      <a:pt x="2489" y="2707"/>
                    </a:lnTo>
                    <a:lnTo>
                      <a:pt x="2489" y="2691"/>
                    </a:lnTo>
                    <a:lnTo>
                      <a:pt x="2473" y="2681"/>
                    </a:lnTo>
                    <a:lnTo>
                      <a:pt x="2468" y="2674"/>
                    </a:lnTo>
                    <a:lnTo>
                      <a:pt x="2473" y="2691"/>
                    </a:lnTo>
                    <a:lnTo>
                      <a:pt x="2468" y="2691"/>
                    </a:lnTo>
                    <a:lnTo>
                      <a:pt x="2463" y="2665"/>
                    </a:lnTo>
                    <a:lnTo>
                      <a:pt x="2447" y="2665"/>
                    </a:lnTo>
                    <a:lnTo>
                      <a:pt x="2447" y="2674"/>
                    </a:lnTo>
                    <a:lnTo>
                      <a:pt x="2451" y="2681"/>
                    </a:lnTo>
                    <a:lnTo>
                      <a:pt x="2447" y="2691"/>
                    </a:lnTo>
                    <a:lnTo>
                      <a:pt x="2435" y="2698"/>
                    </a:lnTo>
                    <a:lnTo>
                      <a:pt x="2447" y="2691"/>
                    </a:lnTo>
                    <a:lnTo>
                      <a:pt x="2435" y="2681"/>
                    </a:lnTo>
                    <a:lnTo>
                      <a:pt x="2430" y="2698"/>
                    </a:lnTo>
                    <a:lnTo>
                      <a:pt x="2430" y="2691"/>
                    </a:lnTo>
                    <a:lnTo>
                      <a:pt x="2414" y="2698"/>
                    </a:lnTo>
                    <a:lnTo>
                      <a:pt x="2397" y="2691"/>
                    </a:lnTo>
                    <a:lnTo>
                      <a:pt x="2364" y="2691"/>
                    </a:lnTo>
                    <a:lnTo>
                      <a:pt x="2359" y="2681"/>
                    </a:lnTo>
                    <a:lnTo>
                      <a:pt x="2343" y="2674"/>
                    </a:lnTo>
                    <a:lnTo>
                      <a:pt x="2343" y="2665"/>
                    </a:lnTo>
                    <a:lnTo>
                      <a:pt x="2322" y="2658"/>
                    </a:lnTo>
                    <a:lnTo>
                      <a:pt x="2322" y="2641"/>
                    </a:lnTo>
                    <a:lnTo>
                      <a:pt x="2312" y="2624"/>
                    </a:lnTo>
                    <a:lnTo>
                      <a:pt x="2326" y="2603"/>
                    </a:lnTo>
                    <a:lnTo>
                      <a:pt x="2322" y="2591"/>
                    </a:lnTo>
                    <a:lnTo>
                      <a:pt x="2305" y="2587"/>
                    </a:lnTo>
                    <a:lnTo>
                      <a:pt x="2289" y="2591"/>
                    </a:lnTo>
                    <a:lnTo>
                      <a:pt x="2284" y="2587"/>
                    </a:lnTo>
                    <a:lnTo>
                      <a:pt x="2258" y="2591"/>
                    </a:lnTo>
                    <a:lnTo>
                      <a:pt x="2241" y="2580"/>
                    </a:lnTo>
                    <a:lnTo>
                      <a:pt x="2229" y="2563"/>
                    </a:lnTo>
                    <a:lnTo>
                      <a:pt x="2199" y="2570"/>
                    </a:lnTo>
                    <a:lnTo>
                      <a:pt x="2182" y="2603"/>
                    </a:lnTo>
                    <a:lnTo>
                      <a:pt x="2175" y="2591"/>
                    </a:lnTo>
                    <a:lnTo>
                      <a:pt x="2161" y="2608"/>
                    </a:lnTo>
                    <a:lnTo>
                      <a:pt x="2149" y="2603"/>
                    </a:lnTo>
                    <a:lnTo>
                      <a:pt x="2149" y="2591"/>
                    </a:lnTo>
                    <a:lnTo>
                      <a:pt x="2133" y="2603"/>
                    </a:lnTo>
                    <a:lnTo>
                      <a:pt x="2128" y="2624"/>
                    </a:lnTo>
                    <a:lnTo>
                      <a:pt x="2107" y="2603"/>
                    </a:lnTo>
                    <a:lnTo>
                      <a:pt x="2095" y="2620"/>
                    </a:lnTo>
                    <a:lnTo>
                      <a:pt x="2078" y="2603"/>
                    </a:lnTo>
                    <a:lnTo>
                      <a:pt x="2069" y="2624"/>
                    </a:lnTo>
                    <a:lnTo>
                      <a:pt x="2024" y="2603"/>
                    </a:lnTo>
                    <a:lnTo>
                      <a:pt x="2003" y="2636"/>
                    </a:lnTo>
                    <a:lnTo>
                      <a:pt x="1972" y="2624"/>
                    </a:lnTo>
                    <a:lnTo>
                      <a:pt x="1960" y="2641"/>
                    </a:lnTo>
                    <a:lnTo>
                      <a:pt x="1965" y="2665"/>
                    </a:lnTo>
                    <a:lnTo>
                      <a:pt x="1972" y="2674"/>
                    </a:lnTo>
                    <a:lnTo>
                      <a:pt x="1972" y="2714"/>
                    </a:lnTo>
                    <a:lnTo>
                      <a:pt x="1981" y="2719"/>
                    </a:lnTo>
                    <a:lnTo>
                      <a:pt x="1972" y="2731"/>
                    </a:lnTo>
                    <a:lnTo>
                      <a:pt x="1960" y="2719"/>
                    </a:lnTo>
                    <a:lnTo>
                      <a:pt x="1944" y="2719"/>
                    </a:lnTo>
                    <a:lnTo>
                      <a:pt x="1934" y="2691"/>
                    </a:lnTo>
                    <a:lnTo>
                      <a:pt x="1927" y="2681"/>
                    </a:lnTo>
                    <a:lnTo>
                      <a:pt x="1889" y="2707"/>
                    </a:lnTo>
                    <a:lnTo>
                      <a:pt x="1880" y="2698"/>
                    </a:lnTo>
                    <a:lnTo>
                      <a:pt x="1863" y="2707"/>
                    </a:lnTo>
                    <a:lnTo>
                      <a:pt x="1859" y="2698"/>
                    </a:lnTo>
                    <a:lnTo>
                      <a:pt x="1859" y="2691"/>
                    </a:lnTo>
                    <a:lnTo>
                      <a:pt x="1851" y="2681"/>
                    </a:lnTo>
                    <a:lnTo>
                      <a:pt x="1851" y="2658"/>
                    </a:lnTo>
                    <a:lnTo>
                      <a:pt x="1788" y="2653"/>
                    </a:lnTo>
                    <a:lnTo>
                      <a:pt x="1809" y="2624"/>
                    </a:lnTo>
                    <a:lnTo>
                      <a:pt x="1804" y="2608"/>
                    </a:lnTo>
                    <a:lnTo>
                      <a:pt x="1821" y="2587"/>
                    </a:lnTo>
                    <a:lnTo>
                      <a:pt x="1821" y="2580"/>
                    </a:lnTo>
                    <a:lnTo>
                      <a:pt x="1788" y="2580"/>
                    </a:lnTo>
                    <a:lnTo>
                      <a:pt x="1771" y="2570"/>
                    </a:lnTo>
                    <a:lnTo>
                      <a:pt x="1771" y="2554"/>
                    </a:lnTo>
                    <a:lnTo>
                      <a:pt x="1766" y="2547"/>
                    </a:lnTo>
                    <a:lnTo>
                      <a:pt x="1766" y="2530"/>
                    </a:lnTo>
                    <a:lnTo>
                      <a:pt x="1755" y="2525"/>
                    </a:lnTo>
                    <a:lnTo>
                      <a:pt x="1755" y="2513"/>
                    </a:lnTo>
                    <a:lnTo>
                      <a:pt x="1771" y="2497"/>
                    </a:lnTo>
                    <a:lnTo>
                      <a:pt x="1717" y="2497"/>
                    </a:lnTo>
                    <a:lnTo>
                      <a:pt x="1691" y="2525"/>
                    </a:lnTo>
                    <a:lnTo>
                      <a:pt x="1679" y="2513"/>
                    </a:lnTo>
                    <a:lnTo>
                      <a:pt x="1696" y="2497"/>
                    </a:lnTo>
                    <a:lnTo>
                      <a:pt x="1691" y="2476"/>
                    </a:lnTo>
                    <a:lnTo>
                      <a:pt x="1679" y="2476"/>
                    </a:lnTo>
                    <a:lnTo>
                      <a:pt x="1679" y="2454"/>
                    </a:lnTo>
                    <a:lnTo>
                      <a:pt x="1696" y="2438"/>
                    </a:lnTo>
                    <a:lnTo>
                      <a:pt x="1696" y="2414"/>
                    </a:lnTo>
                    <a:lnTo>
                      <a:pt x="1700" y="2419"/>
                    </a:lnTo>
                    <a:lnTo>
                      <a:pt x="1712" y="2414"/>
                    </a:lnTo>
                    <a:lnTo>
                      <a:pt x="1729" y="2386"/>
                    </a:lnTo>
                    <a:lnTo>
                      <a:pt x="1733" y="2386"/>
                    </a:lnTo>
                    <a:lnTo>
                      <a:pt x="1750" y="2365"/>
                    </a:lnTo>
                    <a:lnTo>
                      <a:pt x="1755" y="2365"/>
                    </a:lnTo>
                    <a:lnTo>
                      <a:pt x="1750" y="2348"/>
                    </a:lnTo>
                    <a:lnTo>
                      <a:pt x="1766" y="2343"/>
                    </a:lnTo>
                    <a:lnTo>
                      <a:pt x="1766" y="2294"/>
                    </a:lnTo>
                    <a:lnTo>
                      <a:pt x="1755" y="2237"/>
                    </a:lnTo>
                    <a:lnTo>
                      <a:pt x="1745" y="2232"/>
                    </a:lnTo>
                    <a:lnTo>
                      <a:pt x="1733" y="2237"/>
                    </a:lnTo>
                    <a:lnTo>
                      <a:pt x="1717" y="2192"/>
                    </a:lnTo>
                    <a:lnTo>
                      <a:pt x="1712" y="2183"/>
                    </a:lnTo>
                    <a:lnTo>
                      <a:pt x="1679" y="2159"/>
                    </a:lnTo>
                    <a:lnTo>
                      <a:pt x="1674" y="2176"/>
                    </a:lnTo>
                    <a:lnTo>
                      <a:pt x="1663" y="2183"/>
                    </a:lnTo>
                    <a:lnTo>
                      <a:pt x="1646" y="2176"/>
                    </a:lnTo>
                    <a:lnTo>
                      <a:pt x="1641" y="2176"/>
                    </a:lnTo>
                    <a:lnTo>
                      <a:pt x="1620" y="2166"/>
                    </a:lnTo>
                    <a:lnTo>
                      <a:pt x="1594" y="2176"/>
                    </a:lnTo>
                    <a:lnTo>
                      <a:pt x="1594" y="2159"/>
                    </a:lnTo>
                    <a:lnTo>
                      <a:pt x="1608" y="2143"/>
                    </a:lnTo>
                    <a:lnTo>
                      <a:pt x="1603" y="2121"/>
                    </a:lnTo>
                    <a:lnTo>
                      <a:pt x="1582" y="2126"/>
                    </a:lnTo>
                    <a:lnTo>
                      <a:pt x="1582" y="2121"/>
                    </a:lnTo>
                    <a:lnTo>
                      <a:pt x="1594" y="2105"/>
                    </a:lnTo>
                    <a:lnTo>
                      <a:pt x="1587" y="2105"/>
                    </a:lnTo>
                    <a:lnTo>
                      <a:pt x="1570" y="2088"/>
                    </a:lnTo>
                    <a:lnTo>
                      <a:pt x="1540" y="2105"/>
                    </a:lnTo>
                    <a:lnTo>
                      <a:pt x="1528" y="2121"/>
                    </a:lnTo>
                    <a:lnTo>
                      <a:pt x="1485" y="2110"/>
                    </a:lnTo>
                    <a:lnTo>
                      <a:pt x="1474" y="2093"/>
                    </a:lnTo>
                    <a:lnTo>
                      <a:pt x="1448" y="2121"/>
                    </a:lnTo>
                    <a:lnTo>
                      <a:pt x="1426" y="2150"/>
                    </a:lnTo>
                    <a:lnTo>
                      <a:pt x="1389" y="2150"/>
                    </a:lnTo>
                    <a:lnTo>
                      <a:pt x="1372" y="2176"/>
                    </a:lnTo>
                    <a:lnTo>
                      <a:pt x="1339" y="2192"/>
                    </a:lnTo>
                    <a:lnTo>
                      <a:pt x="1339" y="2204"/>
                    </a:lnTo>
                    <a:lnTo>
                      <a:pt x="1322" y="2216"/>
                    </a:lnTo>
                    <a:lnTo>
                      <a:pt x="1313" y="2216"/>
                    </a:lnTo>
                    <a:lnTo>
                      <a:pt x="1285" y="2221"/>
                    </a:lnTo>
                    <a:lnTo>
                      <a:pt x="1263" y="2221"/>
                    </a:lnTo>
                    <a:lnTo>
                      <a:pt x="1263" y="2204"/>
                    </a:lnTo>
                    <a:lnTo>
                      <a:pt x="1242" y="2199"/>
                    </a:lnTo>
                    <a:lnTo>
                      <a:pt x="1226" y="2204"/>
                    </a:lnTo>
                    <a:lnTo>
                      <a:pt x="1178" y="2199"/>
                    </a:lnTo>
                    <a:lnTo>
                      <a:pt x="1178" y="2183"/>
                    </a:lnTo>
                    <a:lnTo>
                      <a:pt x="1150" y="2176"/>
                    </a:lnTo>
                    <a:lnTo>
                      <a:pt x="1117" y="2199"/>
                    </a:lnTo>
                    <a:lnTo>
                      <a:pt x="1070" y="2254"/>
                    </a:lnTo>
                    <a:lnTo>
                      <a:pt x="1065" y="2237"/>
                    </a:lnTo>
                    <a:lnTo>
                      <a:pt x="1070" y="2216"/>
                    </a:lnTo>
                    <a:lnTo>
                      <a:pt x="1070" y="2199"/>
                    </a:lnTo>
                    <a:lnTo>
                      <a:pt x="1053" y="2192"/>
                    </a:lnTo>
                    <a:lnTo>
                      <a:pt x="1041" y="2199"/>
                    </a:lnTo>
                    <a:lnTo>
                      <a:pt x="1015" y="2204"/>
                    </a:lnTo>
                    <a:lnTo>
                      <a:pt x="1015" y="2216"/>
                    </a:lnTo>
                    <a:lnTo>
                      <a:pt x="999" y="2204"/>
                    </a:lnTo>
                    <a:lnTo>
                      <a:pt x="989" y="2216"/>
                    </a:lnTo>
                    <a:lnTo>
                      <a:pt x="956" y="2216"/>
                    </a:lnTo>
                    <a:lnTo>
                      <a:pt x="918" y="2192"/>
                    </a:lnTo>
                    <a:lnTo>
                      <a:pt x="907" y="2192"/>
                    </a:lnTo>
                    <a:lnTo>
                      <a:pt x="902" y="2204"/>
                    </a:lnTo>
                    <a:lnTo>
                      <a:pt x="885" y="2199"/>
                    </a:lnTo>
                    <a:lnTo>
                      <a:pt x="885" y="2192"/>
                    </a:lnTo>
                    <a:lnTo>
                      <a:pt x="881" y="2192"/>
                    </a:lnTo>
                    <a:lnTo>
                      <a:pt x="881" y="2204"/>
                    </a:lnTo>
                    <a:lnTo>
                      <a:pt x="869" y="2204"/>
                    </a:lnTo>
                    <a:lnTo>
                      <a:pt x="864" y="2192"/>
                    </a:lnTo>
                    <a:lnTo>
                      <a:pt x="848" y="2183"/>
                    </a:lnTo>
                    <a:lnTo>
                      <a:pt x="810" y="2176"/>
                    </a:lnTo>
                    <a:lnTo>
                      <a:pt x="810" y="2150"/>
                    </a:lnTo>
                    <a:lnTo>
                      <a:pt x="800" y="2150"/>
                    </a:lnTo>
                    <a:lnTo>
                      <a:pt x="784" y="2159"/>
                    </a:lnTo>
                    <a:lnTo>
                      <a:pt x="763" y="2143"/>
                    </a:lnTo>
                    <a:lnTo>
                      <a:pt x="746" y="2126"/>
                    </a:lnTo>
                    <a:lnTo>
                      <a:pt x="739" y="2105"/>
                    </a:lnTo>
                    <a:lnTo>
                      <a:pt x="725" y="2105"/>
                    </a:lnTo>
                    <a:lnTo>
                      <a:pt x="708" y="2110"/>
                    </a:lnTo>
                    <a:lnTo>
                      <a:pt x="701" y="2110"/>
                    </a:lnTo>
                    <a:lnTo>
                      <a:pt x="670" y="2072"/>
                    </a:lnTo>
                    <a:lnTo>
                      <a:pt x="649" y="2072"/>
                    </a:lnTo>
                    <a:lnTo>
                      <a:pt x="616" y="2039"/>
                    </a:lnTo>
                    <a:lnTo>
                      <a:pt x="600" y="2039"/>
                    </a:lnTo>
                    <a:lnTo>
                      <a:pt x="595" y="2015"/>
                    </a:lnTo>
                    <a:lnTo>
                      <a:pt x="545" y="2015"/>
                    </a:lnTo>
                    <a:lnTo>
                      <a:pt x="545" y="2032"/>
                    </a:lnTo>
                    <a:lnTo>
                      <a:pt x="529" y="2039"/>
                    </a:lnTo>
                    <a:lnTo>
                      <a:pt x="524" y="2039"/>
                    </a:lnTo>
                    <a:lnTo>
                      <a:pt x="524" y="2032"/>
                    </a:lnTo>
                    <a:lnTo>
                      <a:pt x="524" y="2032"/>
                    </a:lnTo>
                    <a:lnTo>
                      <a:pt x="524" y="2032"/>
                    </a:lnTo>
                    <a:close/>
                    <a:moveTo>
                      <a:pt x="3354" y="1278"/>
                    </a:moveTo>
                    <a:lnTo>
                      <a:pt x="3337" y="1278"/>
                    </a:lnTo>
                    <a:lnTo>
                      <a:pt x="3354" y="1273"/>
                    </a:lnTo>
                    <a:lnTo>
                      <a:pt x="3354" y="1278"/>
                    </a:lnTo>
                    <a:lnTo>
                      <a:pt x="3354" y="1278"/>
                    </a:lnTo>
                    <a:lnTo>
                      <a:pt x="3354" y="1278"/>
                    </a:lnTo>
                    <a:close/>
                    <a:moveTo>
                      <a:pt x="3229" y="1866"/>
                    </a:moveTo>
                    <a:lnTo>
                      <a:pt x="3240" y="1866"/>
                    </a:lnTo>
                    <a:lnTo>
                      <a:pt x="3245" y="1883"/>
                    </a:lnTo>
                    <a:lnTo>
                      <a:pt x="3229" y="1866"/>
                    </a:lnTo>
                    <a:lnTo>
                      <a:pt x="3229" y="1866"/>
                    </a:lnTo>
                    <a:lnTo>
                      <a:pt x="3229" y="1866"/>
                    </a:lnTo>
                    <a:close/>
                    <a:moveTo>
                      <a:pt x="3337" y="1904"/>
                    </a:moveTo>
                    <a:lnTo>
                      <a:pt x="3347" y="1899"/>
                    </a:lnTo>
                    <a:lnTo>
                      <a:pt x="3385" y="1928"/>
                    </a:lnTo>
                    <a:lnTo>
                      <a:pt x="3363" y="1921"/>
                    </a:lnTo>
                    <a:lnTo>
                      <a:pt x="3337" y="1904"/>
                    </a:lnTo>
                    <a:lnTo>
                      <a:pt x="3337" y="1904"/>
                    </a:lnTo>
                    <a:lnTo>
                      <a:pt x="3337" y="1904"/>
                    </a:lnTo>
                    <a:close/>
                    <a:moveTo>
                      <a:pt x="3401" y="2027"/>
                    </a:moveTo>
                    <a:lnTo>
                      <a:pt x="3408" y="2015"/>
                    </a:lnTo>
                    <a:lnTo>
                      <a:pt x="3408" y="2027"/>
                    </a:lnTo>
                    <a:lnTo>
                      <a:pt x="3401" y="2027"/>
                    </a:lnTo>
                    <a:lnTo>
                      <a:pt x="3401" y="2027"/>
                    </a:lnTo>
                    <a:lnTo>
                      <a:pt x="3401" y="2027"/>
                    </a:lnTo>
                    <a:close/>
                    <a:moveTo>
                      <a:pt x="3392" y="2039"/>
                    </a:moveTo>
                    <a:lnTo>
                      <a:pt x="3392" y="2032"/>
                    </a:lnTo>
                    <a:lnTo>
                      <a:pt x="3401" y="2032"/>
                    </a:lnTo>
                    <a:lnTo>
                      <a:pt x="3418" y="2039"/>
                    </a:lnTo>
                    <a:lnTo>
                      <a:pt x="3418" y="2048"/>
                    </a:lnTo>
                    <a:lnTo>
                      <a:pt x="3392" y="2039"/>
                    </a:lnTo>
                    <a:lnTo>
                      <a:pt x="3392" y="2039"/>
                    </a:lnTo>
                    <a:lnTo>
                      <a:pt x="3392" y="2039"/>
                    </a:lnTo>
                    <a:close/>
                    <a:moveTo>
                      <a:pt x="3385" y="2039"/>
                    </a:moveTo>
                    <a:lnTo>
                      <a:pt x="3385" y="2048"/>
                    </a:lnTo>
                    <a:lnTo>
                      <a:pt x="3385" y="2039"/>
                    </a:lnTo>
                    <a:lnTo>
                      <a:pt x="3385" y="2039"/>
                    </a:lnTo>
                    <a:lnTo>
                      <a:pt x="3385" y="2039"/>
                    </a:lnTo>
                    <a:close/>
                    <a:moveTo>
                      <a:pt x="3418" y="2048"/>
                    </a:moveTo>
                    <a:lnTo>
                      <a:pt x="3422" y="2048"/>
                    </a:lnTo>
                    <a:lnTo>
                      <a:pt x="3422" y="2055"/>
                    </a:lnTo>
                    <a:lnTo>
                      <a:pt x="3418" y="2048"/>
                    </a:lnTo>
                    <a:lnTo>
                      <a:pt x="3418" y="2048"/>
                    </a:lnTo>
                    <a:lnTo>
                      <a:pt x="3418" y="2048"/>
                    </a:lnTo>
                    <a:close/>
                    <a:moveTo>
                      <a:pt x="3401" y="2072"/>
                    </a:moveTo>
                    <a:lnTo>
                      <a:pt x="3392" y="2065"/>
                    </a:lnTo>
                    <a:lnTo>
                      <a:pt x="3401" y="2065"/>
                    </a:lnTo>
                    <a:lnTo>
                      <a:pt x="3408" y="2072"/>
                    </a:lnTo>
                    <a:lnTo>
                      <a:pt x="3401" y="2072"/>
                    </a:lnTo>
                    <a:lnTo>
                      <a:pt x="3401" y="2072"/>
                    </a:lnTo>
                    <a:lnTo>
                      <a:pt x="3401" y="2072"/>
                    </a:lnTo>
                    <a:close/>
                    <a:moveTo>
                      <a:pt x="3385" y="2121"/>
                    </a:moveTo>
                    <a:lnTo>
                      <a:pt x="3385" y="2110"/>
                    </a:lnTo>
                    <a:lnTo>
                      <a:pt x="3392" y="2110"/>
                    </a:lnTo>
                    <a:lnTo>
                      <a:pt x="3385" y="2121"/>
                    </a:lnTo>
                    <a:lnTo>
                      <a:pt x="3385" y="2121"/>
                    </a:lnTo>
                    <a:lnTo>
                      <a:pt x="3385" y="2121"/>
                    </a:lnTo>
                    <a:close/>
                    <a:moveTo>
                      <a:pt x="3333" y="2192"/>
                    </a:moveTo>
                    <a:lnTo>
                      <a:pt x="3337" y="2183"/>
                    </a:lnTo>
                    <a:lnTo>
                      <a:pt x="3337" y="2192"/>
                    </a:lnTo>
                    <a:lnTo>
                      <a:pt x="3337" y="2199"/>
                    </a:lnTo>
                    <a:lnTo>
                      <a:pt x="3333" y="2192"/>
                    </a:lnTo>
                    <a:lnTo>
                      <a:pt x="3333" y="2192"/>
                    </a:lnTo>
                    <a:lnTo>
                      <a:pt x="3333" y="2192"/>
                    </a:lnTo>
                    <a:close/>
                    <a:moveTo>
                      <a:pt x="3229" y="2398"/>
                    </a:moveTo>
                    <a:lnTo>
                      <a:pt x="3229" y="2386"/>
                    </a:lnTo>
                    <a:lnTo>
                      <a:pt x="3240" y="2381"/>
                    </a:lnTo>
                    <a:lnTo>
                      <a:pt x="3240" y="2386"/>
                    </a:lnTo>
                    <a:lnTo>
                      <a:pt x="3240" y="2402"/>
                    </a:lnTo>
                    <a:lnTo>
                      <a:pt x="3229" y="2398"/>
                    </a:lnTo>
                    <a:lnTo>
                      <a:pt x="3229" y="2398"/>
                    </a:lnTo>
                    <a:lnTo>
                      <a:pt x="3229" y="2398"/>
                    </a:lnTo>
                    <a:close/>
                    <a:moveTo>
                      <a:pt x="3115" y="2476"/>
                    </a:moveTo>
                    <a:lnTo>
                      <a:pt x="3120" y="2471"/>
                    </a:lnTo>
                    <a:lnTo>
                      <a:pt x="3115" y="2476"/>
                    </a:lnTo>
                    <a:lnTo>
                      <a:pt x="3115" y="2476"/>
                    </a:lnTo>
                    <a:lnTo>
                      <a:pt x="3115" y="2476"/>
                    </a:lnTo>
                    <a:close/>
                    <a:moveTo>
                      <a:pt x="3077" y="2530"/>
                    </a:moveTo>
                    <a:lnTo>
                      <a:pt x="3068" y="2537"/>
                    </a:lnTo>
                    <a:lnTo>
                      <a:pt x="3061" y="2537"/>
                    </a:lnTo>
                    <a:lnTo>
                      <a:pt x="3068" y="2525"/>
                    </a:lnTo>
                    <a:lnTo>
                      <a:pt x="3077" y="2530"/>
                    </a:lnTo>
                    <a:lnTo>
                      <a:pt x="3077" y="2530"/>
                    </a:lnTo>
                    <a:lnTo>
                      <a:pt x="3077" y="2530"/>
                    </a:lnTo>
                    <a:close/>
                    <a:moveTo>
                      <a:pt x="3056" y="2547"/>
                    </a:moveTo>
                    <a:lnTo>
                      <a:pt x="3056" y="2554"/>
                    </a:lnTo>
                    <a:lnTo>
                      <a:pt x="3040" y="2554"/>
                    </a:lnTo>
                    <a:lnTo>
                      <a:pt x="3056" y="2547"/>
                    </a:lnTo>
                    <a:lnTo>
                      <a:pt x="3056" y="2547"/>
                    </a:lnTo>
                    <a:lnTo>
                      <a:pt x="3056" y="2547"/>
                    </a:lnTo>
                    <a:close/>
                    <a:moveTo>
                      <a:pt x="2846" y="2641"/>
                    </a:moveTo>
                    <a:lnTo>
                      <a:pt x="2851" y="2641"/>
                    </a:lnTo>
                    <a:lnTo>
                      <a:pt x="2846" y="2641"/>
                    </a:lnTo>
                    <a:lnTo>
                      <a:pt x="2846" y="2641"/>
                    </a:lnTo>
                    <a:lnTo>
                      <a:pt x="2846" y="2641"/>
                    </a:lnTo>
                    <a:close/>
                    <a:moveTo>
                      <a:pt x="2792" y="2658"/>
                    </a:moveTo>
                    <a:lnTo>
                      <a:pt x="2787" y="2658"/>
                    </a:lnTo>
                    <a:lnTo>
                      <a:pt x="2792" y="2658"/>
                    </a:lnTo>
                    <a:lnTo>
                      <a:pt x="2792" y="2658"/>
                    </a:lnTo>
                    <a:lnTo>
                      <a:pt x="2792" y="2658"/>
                    </a:lnTo>
                    <a:close/>
                    <a:moveTo>
                      <a:pt x="2742" y="2691"/>
                    </a:moveTo>
                    <a:lnTo>
                      <a:pt x="2742" y="2681"/>
                    </a:lnTo>
                    <a:lnTo>
                      <a:pt x="2754" y="2681"/>
                    </a:lnTo>
                    <a:lnTo>
                      <a:pt x="2742" y="2691"/>
                    </a:lnTo>
                    <a:lnTo>
                      <a:pt x="2742" y="2691"/>
                    </a:lnTo>
                    <a:lnTo>
                      <a:pt x="2742" y="2691"/>
                    </a:lnTo>
                    <a:close/>
                    <a:moveTo>
                      <a:pt x="2683" y="2698"/>
                    </a:moveTo>
                    <a:lnTo>
                      <a:pt x="2683" y="2691"/>
                    </a:lnTo>
                    <a:lnTo>
                      <a:pt x="2690" y="2691"/>
                    </a:lnTo>
                    <a:lnTo>
                      <a:pt x="2683" y="2698"/>
                    </a:lnTo>
                    <a:lnTo>
                      <a:pt x="2683" y="2698"/>
                    </a:lnTo>
                    <a:lnTo>
                      <a:pt x="2683" y="2698"/>
                    </a:lnTo>
                    <a:close/>
                    <a:moveTo>
                      <a:pt x="2591" y="2719"/>
                    </a:moveTo>
                    <a:lnTo>
                      <a:pt x="2598" y="2719"/>
                    </a:lnTo>
                    <a:lnTo>
                      <a:pt x="2591" y="2731"/>
                    </a:lnTo>
                    <a:lnTo>
                      <a:pt x="2581" y="2719"/>
                    </a:lnTo>
                    <a:lnTo>
                      <a:pt x="2591" y="2719"/>
                    </a:lnTo>
                    <a:lnTo>
                      <a:pt x="2591" y="2719"/>
                    </a:lnTo>
                    <a:lnTo>
                      <a:pt x="2591" y="2719"/>
                    </a:lnTo>
                    <a:close/>
                    <a:moveTo>
                      <a:pt x="2581" y="2731"/>
                    </a:moveTo>
                    <a:lnTo>
                      <a:pt x="2591" y="2731"/>
                    </a:lnTo>
                    <a:lnTo>
                      <a:pt x="2591" y="2736"/>
                    </a:lnTo>
                    <a:lnTo>
                      <a:pt x="2570" y="2736"/>
                    </a:lnTo>
                    <a:lnTo>
                      <a:pt x="2570" y="2731"/>
                    </a:lnTo>
                    <a:lnTo>
                      <a:pt x="2581" y="2731"/>
                    </a:lnTo>
                    <a:lnTo>
                      <a:pt x="2581" y="2731"/>
                    </a:lnTo>
                    <a:lnTo>
                      <a:pt x="2581" y="2731"/>
                    </a:lnTo>
                    <a:close/>
                    <a:moveTo>
                      <a:pt x="2527" y="2941"/>
                    </a:moveTo>
                    <a:lnTo>
                      <a:pt x="2522" y="2953"/>
                    </a:lnTo>
                    <a:lnTo>
                      <a:pt x="2515" y="2941"/>
                    </a:lnTo>
                    <a:lnTo>
                      <a:pt x="2463" y="2920"/>
                    </a:lnTo>
                    <a:lnTo>
                      <a:pt x="2451" y="2880"/>
                    </a:lnTo>
                    <a:lnTo>
                      <a:pt x="2463" y="2858"/>
                    </a:lnTo>
                    <a:lnTo>
                      <a:pt x="2506" y="2830"/>
                    </a:lnTo>
                    <a:lnTo>
                      <a:pt x="2489" y="2830"/>
                    </a:lnTo>
                    <a:lnTo>
                      <a:pt x="2506" y="2818"/>
                    </a:lnTo>
                    <a:lnTo>
                      <a:pt x="2515" y="2825"/>
                    </a:lnTo>
                    <a:lnTo>
                      <a:pt x="2522" y="2809"/>
                    </a:lnTo>
                    <a:lnTo>
                      <a:pt x="2553" y="2818"/>
                    </a:lnTo>
                    <a:lnTo>
                      <a:pt x="2560" y="2809"/>
                    </a:lnTo>
                    <a:lnTo>
                      <a:pt x="2591" y="2809"/>
                    </a:lnTo>
                    <a:lnTo>
                      <a:pt x="2598" y="2802"/>
                    </a:lnTo>
                    <a:lnTo>
                      <a:pt x="2607" y="2809"/>
                    </a:lnTo>
                    <a:lnTo>
                      <a:pt x="2614" y="2809"/>
                    </a:lnTo>
                    <a:lnTo>
                      <a:pt x="2624" y="2842"/>
                    </a:lnTo>
                    <a:lnTo>
                      <a:pt x="2607" y="2847"/>
                    </a:lnTo>
                    <a:lnTo>
                      <a:pt x="2591" y="2875"/>
                    </a:lnTo>
                    <a:lnTo>
                      <a:pt x="2581" y="2875"/>
                    </a:lnTo>
                    <a:lnTo>
                      <a:pt x="2591" y="2880"/>
                    </a:lnTo>
                    <a:lnTo>
                      <a:pt x="2591" y="2901"/>
                    </a:lnTo>
                    <a:lnTo>
                      <a:pt x="2560" y="2920"/>
                    </a:lnTo>
                    <a:lnTo>
                      <a:pt x="2553" y="2936"/>
                    </a:lnTo>
                    <a:lnTo>
                      <a:pt x="2539" y="2936"/>
                    </a:lnTo>
                    <a:lnTo>
                      <a:pt x="2527" y="2941"/>
                    </a:lnTo>
                    <a:lnTo>
                      <a:pt x="2527" y="2941"/>
                    </a:lnTo>
                    <a:lnTo>
                      <a:pt x="2527" y="294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7" name="Freeform 467">
                <a:extLst>
                  <a:ext uri="{FF2B5EF4-FFF2-40B4-BE49-F238E27FC236}">
                    <a16:creationId xmlns:a16="http://schemas.microsoft.com/office/drawing/2014/main" id="{0835AC23-66A6-4CE8-8881-98FF727C366F}"/>
                  </a:ext>
                </a:extLst>
              </p:cNvPr>
              <p:cNvSpPr>
                <a:spLocks noEditPoints="1"/>
              </p:cNvSpPr>
              <p:nvPr/>
            </p:nvSpPr>
            <p:spPr bwMode="gray">
              <a:xfrm>
                <a:off x="9476192" y="3888436"/>
                <a:ext cx="1322696" cy="501058"/>
              </a:xfrm>
              <a:custGeom>
                <a:avLst/>
                <a:gdLst>
                  <a:gd name="T0" fmla="*/ 647 w 3213"/>
                  <a:gd name="T1" fmla="*/ 629 h 1217"/>
                  <a:gd name="T2" fmla="*/ 392 w 3213"/>
                  <a:gd name="T3" fmla="*/ 600 h 1217"/>
                  <a:gd name="T4" fmla="*/ 123 w 3213"/>
                  <a:gd name="T5" fmla="*/ 52 h 1217"/>
                  <a:gd name="T6" fmla="*/ 2213 w 3213"/>
                  <a:gd name="T7" fmla="*/ 123 h 1217"/>
                  <a:gd name="T8" fmla="*/ 1403 w 3213"/>
                  <a:gd name="T9" fmla="*/ 206 h 1217"/>
                  <a:gd name="T10" fmla="*/ 1592 w 3213"/>
                  <a:gd name="T11" fmla="*/ 345 h 1217"/>
                  <a:gd name="T12" fmla="*/ 1365 w 3213"/>
                  <a:gd name="T13" fmla="*/ 733 h 1217"/>
                  <a:gd name="T14" fmla="*/ 1042 w 3213"/>
                  <a:gd name="T15" fmla="*/ 527 h 1217"/>
                  <a:gd name="T16" fmla="*/ 895 w 3213"/>
                  <a:gd name="T17" fmla="*/ 152 h 1217"/>
                  <a:gd name="T18" fmla="*/ 1545 w 3213"/>
                  <a:gd name="T19" fmla="*/ 180 h 1217"/>
                  <a:gd name="T20" fmla="*/ 735 w 3213"/>
                  <a:gd name="T21" fmla="*/ 222 h 1217"/>
                  <a:gd name="T22" fmla="*/ 2332 w 3213"/>
                  <a:gd name="T23" fmla="*/ 279 h 1217"/>
                  <a:gd name="T24" fmla="*/ 2284 w 3213"/>
                  <a:gd name="T25" fmla="*/ 456 h 1217"/>
                  <a:gd name="T26" fmla="*/ 1852 w 3213"/>
                  <a:gd name="T27" fmla="*/ 723 h 1217"/>
                  <a:gd name="T28" fmla="*/ 1651 w 3213"/>
                  <a:gd name="T29" fmla="*/ 629 h 1217"/>
                  <a:gd name="T30" fmla="*/ 1906 w 3213"/>
                  <a:gd name="T31" fmla="*/ 362 h 1217"/>
                  <a:gd name="T32" fmla="*/ 1781 w 3213"/>
                  <a:gd name="T33" fmla="*/ 527 h 1217"/>
                  <a:gd name="T34" fmla="*/ 1890 w 3213"/>
                  <a:gd name="T35" fmla="*/ 666 h 1217"/>
                  <a:gd name="T36" fmla="*/ 2105 w 3213"/>
                  <a:gd name="T37" fmla="*/ 317 h 1217"/>
                  <a:gd name="T38" fmla="*/ 610 w 3213"/>
                  <a:gd name="T39" fmla="*/ 350 h 1217"/>
                  <a:gd name="T40" fmla="*/ 605 w 3213"/>
                  <a:gd name="T41" fmla="*/ 350 h 1217"/>
                  <a:gd name="T42" fmla="*/ 555 w 3213"/>
                  <a:gd name="T43" fmla="*/ 378 h 1217"/>
                  <a:gd name="T44" fmla="*/ 232 w 3213"/>
                  <a:gd name="T45" fmla="*/ 456 h 1217"/>
                  <a:gd name="T46" fmla="*/ 593 w 3213"/>
                  <a:gd name="T47" fmla="*/ 444 h 1217"/>
                  <a:gd name="T48" fmla="*/ 2284 w 3213"/>
                  <a:gd name="T49" fmla="*/ 478 h 1217"/>
                  <a:gd name="T50" fmla="*/ 3149 w 3213"/>
                  <a:gd name="T51" fmla="*/ 995 h 1217"/>
                  <a:gd name="T52" fmla="*/ 2787 w 3213"/>
                  <a:gd name="T53" fmla="*/ 711 h 1217"/>
                  <a:gd name="T54" fmla="*/ 2575 w 3213"/>
                  <a:gd name="T55" fmla="*/ 629 h 1217"/>
                  <a:gd name="T56" fmla="*/ 2587 w 3213"/>
                  <a:gd name="T57" fmla="*/ 461 h 1217"/>
                  <a:gd name="T58" fmla="*/ 3149 w 3213"/>
                  <a:gd name="T59" fmla="*/ 600 h 1217"/>
                  <a:gd name="T60" fmla="*/ 2872 w 3213"/>
                  <a:gd name="T61" fmla="*/ 518 h 1217"/>
                  <a:gd name="T62" fmla="*/ 236 w 3213"/>
                  <a:gd name="T63" fmla="*/ 494 h 1217"/>
                  <a:gd name="T64" fmla="*/ 1954 w 3213"/>
                  <a:gd name="T65" fmla="*/ 527 h 1217"/>
                  <a:gd name="T66" fmla="*/ 749 w 3213"/>
                  <a:gd name="T67" fmla="*/ 629 h 1217"/>
                  <a:gd name="T68" fmla="*/ 2894 w 3213"/>
                  <a:gd name="T69" fmla="*/ 567 h 1217"/>
                  <a:gd name="T70" fmla="*/ 2117 w 3213"/>
                  <a:gd name="T71" fmla="*/ 555 h 1217"/>
                  <a:gd name="T72" fmla="*/ 345 w 3213"/>
                  <a:gd name="T73" fmla="*/ 629 h 1217"/>
                  <a:gd name="T74" fmla="*/ 2461 w 3213"/>
                  <a:gd name="T75" fmla="*/ 645 h 1217"/>
                  <a:gd name="T76" fmla="*/ 810 w 3213"/>
                  <a:gd name="T77" fmla="*/ 638 h 1217"/>
                  <a:gd name="T78" fmla="*/ 1474 w 3213"/>
                  <a:gd name="T79" fmla="*/ 711 h 1217"/>
                  <a:gd name="T80" fmla="*/ 2306 w 3213"/>
                  <a:gd name="T81" fmla="*/ 695 h 1217"/>
                  <a:gd name="T82" fmla="*/ 1970 w 3213"/>
                  <a:gd name="T83" fmla="*/ 723 h 1217"/>
                  <a:gd name="T84" fmla="*/ 1923 w 3213"/>
                  <a:gd name="T85" fmla="*/ 806 h 1217"/>
                  <a:gd name="T86" fmla="*/ 2662 w 3213"/>
                  <a:gd name="T87" fmla="*/ 811 h 1217"/>
                  <a:gd name="T88" fmla="*/ 1765 w 3213"/>
                  <a:gd name="T89" fmla="*/ 844 h 1217"/>
                  <a:gd name="T90" fmla="*/ 739 w 3213"/>
                  <a:gd name="T91" fmla="*/ 889 h 1217"/>
                  <a:gd name="T92" fmla="*/ 1214 w 3213"/>
                  <a:gd name="T93" fmla="*/ 933 h 1217"/>
                  <a:gd name="T94" fmla="*/ 2733 w 3213"/>
                  <a:gd name="T95" fmla="*/ 860 h 1217"/>
                  <a:gd name="T96" fmla="*/ 697 w 3213"/>
                  <a:gd name="T97" fmla="*/ 905 h 1217"/>
                  <a:gd name="T98" fmla="*/ 1781 w 3213"/>
                  <a:gd name="T99" fmla="*/ 938 h 1217"/>
                  <a:gd name="T100" fmla="*/ 2523 w 3213"/>
                  <a:gd name="T101" fmla="*/ 971 h 1217"/>
                  <a:gd name="T102" fmla="*/ 2511 w 3213"/>
                  <a:gd name="T103" fmla="*/ 962 h 1217"/>
                  <a:gd name="T104" fmla="*/ 1349 w 3213"/>
                  <a:gd name="T105" fmla="*/ 1011 h 1217"/>
                  <a:gd name="T106" fmla="*/ 1944 w 3213"/>
                  <a:gd name="T107" fmla="*/ 1016 h 1217"/>
                  <a:gd name="T108" fmla="*/ 1559 w 3213"/>
                  <a:gd name="T109" fmla="*/ 1044 h 1217"/>
                  <a:gd name="T110" fmla="*/ 2301 w 3213"/>
                  <a:gd name="T111" fmla="*/ 1028 h 1217"/>
                  <a:gd name="T112" fmla="*/ 3061 w 3213"/>
                  <a:gd name="T113" fmla="*/ 1033 h 1217"/>
                  <a:gd name="T114" fmla="*/ 2306 w 3213"/>
                  <a:gd name="T115" fmla="*/ 1016 h 1217"/>
                  <a:gd name="T116" fmla="*/ 2230 w 3213"/>
                  <a:gd name="T117" fmla="*/ 1028 h 1217"/>
                  <a:gd name="T118" fmla="*/ 1961 w 3213"/>
                  <a:gd name="T119" fmla="*/ 1044 h 1217"/>
                  <a:gd name="T120" fmla="*/ 1755 w 3213"/>
                  <a:gd name="T121" fmla="*/ 1127 h 1217"/>
                  <a:gd name="T122" fmla="*/ 1939 w 3213"/>
                  <a:gd name="T123" fmla="*/ 1210 h 1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13" h="1217">
                    <a:moveTo>
                      <a:pt x="10" y="12"/>
                    </a:moveTo>
                    <a:lnTo>
                      <a:pt x="0" y="12"/>
                    </a:lnTo>
                    <a:lnTo>
                      <a:pt x="0" y="0"/>
                    </a:lnTo>
                    <a:lnTo>
                      <a:pt x="10" y="12"/>
                    </a:lnTo>
                    <a:lnTo>
                      <a:pt x="10" y="12"/>
                    </a:lnTo>
                    <a:lnTo>
                      <a:pt x="10" y="12"/>
                    </a:lnTo>
                    <a:close/>
                    <a:moveTo>
                      <a:pt x="539" y="383"/>
                    </a:moveTo>
                    <a:lnTo>
                      <a:pt x="550" y="400"/>
                    </a:lnTo>
                    <a:lnTo>
                      <a:pt x="517" y="418"/>
                    </a:lnTo>
                    <a:lnTo>
                      <a:pt x="501" y="407"/>
                    </a:lnTo>
                    <a:lnTo>
                      <a:pt x="517" y="418"/>
                    </a:lnTo>
                    <a:lnTo>
                      <a:pt x="572" y="390"/>
                    </a:lnTo>
                    <a:lnTo>
                      <a:pt x="593" y="407"/>
                    </a:lnTo>
                    <a:lnTo>
                      <a:pt x="605" y="435"/>
                    </a:lnTo>
                    <a:lnTo>
                      <a:pt x="588" y="435"/>
                    </a:lnTo>
                    <a:lnTo>
                      <a:pt x="560" y="444"/>
                    </a:lnTo>
                    <a:lnTo>
                      <a:pt x="576" y="444"/>
                    </a:lnTo>
                    <a:lnTo>
                      <a:pt x="560" y="456"/>
                    </a:lnTo>
                    <a:lnTo>
                      <a:pt x="588" y="461"/>
                    </a:lnTo>
                    <a:lnTo>
                      <a:pt x="572" y="478"/>
                    </a:lnTo>
                    <a:lnTo>
                      <a:pt x="593" y="501"/>
                    </a:lnTo>
                    <a:lnTo>
                      <a:pt x="643" y="501"/>
                    </a:lnTo>
                    <a:lnTo>
                      <a:pt x="647" y="555"/>
                    </a:lnTo>
                    <a:lnTo>
                      <a:pt x="647" y="567"/>
                    </a:lnTo>
                    <a:lnTo>
                      <a:pt x="659" y="567"/>
                    </a:lnTo>
                    <a:lnTo>
                      <a:pt x="669" y="572"/>
                    </a:lnTo>
                    <a:lnTo>
                      <a:pt x="669" y="584"/>
                    </a:lnTo>
                    <a:lnTo>
                      <a:pt x="664" y="600"/>
                    </a:lnTo>
                    <a:lnTo>
                      <a:pt x="664" y="612"/>
                    </a:lnTo>
                    <a:lnTo>
                      <a:pt x="647" y="629"/>
                    </a:lnTo>
                    <a:lnTo>
                      <a:pt x="664" y="612"/>
                    </a:lnTo>
                    <a:lnTo>
                      <a:pt x="669" y="589"/>
                    </a:lnTo>
                    <a:lnTo>
                      <a:pt x="685" y="600"/>
                    </a:lnTo>
                    <a:lnTo>
                      <a:pt x="723" y="600"/>
                    </a:lnTo>
                    <a:lnTo>
                      <a:pt x="723" y="612"/>
                    </a:lnTo>
                    <a:lnTo>
                      <a:pt x="739" y="622"/>
                    </a:lnTo>
                    <a:lnTo>
                      <a:pt x="739" y="638"/>
                    </a:lnTo>
                    <a:lnTo>
                      <a:pt x="756" y="645"/>
                    </a:lnTo>
                    <a:lnTo>
                      <a:pt x="756" y="662"/>
                    </a:lnTo>
                    <a:lnTo>
                      <a:pt x="749" y="678"/>
                    </a:lnTo>
                    <a:lnTo>
                      <a:pt x="739" y="695"/>
                    </a:lnTo>
                    <a:lnTo>
                      <a:pt x="749" y="711"/>
                    </a:lnTo>
                    <a:lnTo>
                      <a:pt x="739" y="733"/>
                    </a:lnTo>
                    <a:lnTo>
                      <a:pt x="749" y="756"/>
                    </a:lnTo>
                    <a:lnTo>
                      <a:pt x="739" y="834"/>
                    </a:lnTo>
                    <a:lnTo>
                      <a:pt x="735" y="851"/>
                    </a:lnTo>
                    <a:lnTo>
                      <a:pt x="702" y="822"/>
                    </a:lnTo>
                    <a:lnTo>
                      <a:pt x="697" y="834"/>
                    </a:lnTo>
                    <a:lnTo>
                      <a:pt x="702" y="844"/>
                    </a:lnTo>
                    <a:lnTo>
                      <a:pt x="697" y="844"/>
                    </a:lnTo>
                    <a:lnTo>
                      <a:pt x="664" y="827"/>
                    </a:lnTo>
                    <a:lnTo>
                      <a:pt x="647" y="827"/>
                    </a:lnTo>
                    <a:lnTo>
                      <a:pt x="664" y="851"/>
                    </a:lnTo>
                    <a:lnTo>
                      <a:pt x="659" y="860"/>
                    </a:lnTo>
                    <a:lnTo>
                      <a:pt x="605" y="794"/>
                    </a:lnTo>
                    <a:lnTo>
                      <a:pt x="496" y="716"/>
                    </a:lnTo>
                    <a:lnTo>
                      <a:pt x="484" y="695"/>
                    </a:lnTo>
                    <a:lnTo>
                      <a:pt x="447" y="662"/>
                    </a:lnTo>
                    <a:lnTo>
                      <a:pt x="425" y="622"/>
                    </a:lnTo>
                    <a:lnTo>
                      <a:pt x="392" y="600"/>
                    </a:lnTo>
                    <a:lnTo>
                      <a:pt x="392" y="584"/>
                    </a:lnTo>
                    <a:lnTo>
                      <a:pt x="392" y="567"/>
                    </a:lnTo>
                    <a:lnTo>
                      <a:pt x="378" y="546"/>
                    </a:lnTo>
                    <a:lnTo>
                      <a:pt x="371" y="527"/>
                    </a:lnTo>
                    <a:lnTo>
                      <a:pt x="361" y="518"/>
                    </a:lnTo>
                    <a:lnTo>
                      <a:pt x="354" y="489"/>
                    </a:lnTo>
                    <a:lnTo>
                      <a:pt x="317" y="444"/>
                    </a:lnTo>
                    <a:lnTo>
                      <a:pt x="317" y="435"/>
                    </a:lnTo>
                    <a:lnTo>
                      <a:pt x="307" y="423"/>
                    </a:lnTo>
                    <a:lnTo>
                      <a:pt x="269" y="407"/>
                    </a:lnTo>
                    <a:lnTo>
                      <a:pt x="269" y="383"/>
                    </a:lnTo>
                    <a:lnTo>
                      <a:pt x="236" y="312"/>
                    </a:lnTo>
                    <a:lnTo>
                      <a:pt x="248" y="312"/>
                    </a:lnTo>
                    <a:lnTo>
                      <a:pt x="248" y="307"/>
                    </a:lnTo>
                    <a:lnTo>
                      <a:pt x="182" y="263"/>
                    </a:lnTo>
                    <a:lnTo>
                      <a:pt x="177" y="263"/>
                    </a:lnTo>
                    <a:lnTo>
                      <a:pt x="173" y="255"/>
                    </a:lnTo>
                    <a:lnTo>
                      <a:pt x="161" y="222"/>
                    </a:lnTo>
                    <a:lnTo>
                      <a:pt x="144" y="218"/>
                    </a:lnTo>
                    <a:lnTo>
                      <a:pt x="118" y="163"/>
                    </a:lnTo>
                    <a:lnTo>
                      <a:pt x="85" y="152"/>
                    </a:lnTo>
                    <a:lnTo>
                      <a:pt x="14" y="90"/>
                    </a:lnTo>
                    <a:lnTo>
                      <a:pt x="0" y="57"/>
                    </a:lnTo>
                    <a:lnTo>
                      <a:pt x="0" y="29"/>
                    </a:lnTo>
                    <a:lnTo>
                      <a:pt x="10" y="19"/>
                    </a:lnTo>
                    <a:lnTo>
                      <a:pt x="21" y="19"/>
                    </a:lnTo>
                    <a:lnTo>
                      <a:pt x="47" y="36"/>
                    </a:lnTo>
                    <a:lnTo>
                      <a:pt x="52" y="41"/>
                    </a:lnTo>
                    <a:lnTo>
                      <a:pt x="76" y="52"/>
                    </a:lnTo>
                    <a:lnTo>
                      <a:pt x="123" y="52"/>
                    </a:lnTo>
                    <a:lnTo>
                      <a:pt x="139" y="57"/>
                    </a:lnTo>
                    <a:lnTo>
                      <a:pt x="156" y="52"/>
                    </a:lnTo>
                    <a:lnTo>
                      <a:pt x="182" y="74"/>
                    </a:lnTo>
                    <a:lnTo>
                      <a:pt x="194" y="95"/>
                    </a:lnTo>
                    <a:lnTo>
                      <a:pt x="210" y="107"/>
                    </a:lnTo>
                    <a:lnTo>
                      <a:pt x="210" y="128"/>
                    </a:lnTo>
                    <a:lnTo>
                      <a:pt x="333" y="218"/>
                    </a:lnTo>
                    <a:lnTo>
                      <a:pt x="333" y="239"/>
                    </a:lnTo>
                    <a:lnTo>
                      <a:pt x="333" y="234"/>
                    </a:lnTo>
                    <a:lnTo>
                      <a:pt x="340" y="234"/>
                    </a:lnTo>
                    <a:lnTo>
                      <a:pt x="340" y="251"/>
                    </a:lnTo>
                    <a:lnTo>
                      <a:pt x="340" y="234"/>
                    </a:lnTo>
                    <a:lnTo>
                      <a:pt x="345" y="234"/>
                    </a:lnTo>
                    <a:lnTo>
                      <a:pt x="361" y="263"/>
                    </a:lnTo>
                    <a:lnTo>
                      <a:pt x="392" y="279"/>
                    </a:lnTo>
                    <a:lnTo>
                      <a:pt x="399" y="296"/>
                    </a:lnTo>
                    <a:lnTo>
                      <a:pt x="387" y="263"/>
                    </a:lnTo>
                    <a:lnTo>
                      <a:pt x="409" y="263"/>
                    </a:lnTo>
                    <a:lnTo>
                      <a:pt x="425" y="279"/>
                    </a:lnTo>
                    <a:lnTo>
                      <a:pt x="430" y="307"/>
                    </a:lnTo>
                    <a:lnTo>
                      <a:pt x="454" y="312"/>
                    </a:lnTo>
                    <a:lnTo>
                      <a:pt x="484" y="329"/>
                    </a:lnTo>
                    <a:lnTo>
                      <a:pt x="484" y="350"/>
                    </a:lnTo>
                    <a:lnTo>
                      <a:pt x="501" y="366"/>
                    </a:lnTo>
                    <a:lnTo>
                      <a:pt x="534" y="378"/>
                    </a:lnTo>
                    <a:lnTo>
                      <a:pt x="539" y="383"/>
                    </a:lnTo>
                    <a:lnTo>
                      <a:pt x="539" y="383"/>
                    </a:lnTo>
                    <a:lnTo>
                      <a:pt x="539" y="383"/>
                    </a:lnTo>
                    <a:close/>
                    <a:moveTo>
                      <a:pt x="2209" y="140"/>
                    </a:moveTo>
                    <a:lnTo>
                      <a:pt x="2213" y="123"/>
                    </a:lnTo>
                    <a:lnTo>
                      <a:pt x="2209" y="111"/>
                    </a:lnTo>
                    <a:lnTo>
                      <a:pt x="2209" y="95"/>
                    </a:lnTo>
                    <a:lnTo>
                      <a:pt x="2213" y="107"/>
                    </a:lnTo>
                    <a:lnTo>
                      <a:pt x="2225" y="123"/>
                    </a:lnTo>
                    <a:lnTo>
                      <a:pt x="2209" y="140"/>
                    </a:lnTo>
                    <a:lnTo>
                      <a:pt x="2209" y="140"/>
                    </a:lnTo>
                    <a:lnTo>
                      <a:pt x="2209" y="140"/>
                    </a:lnTo>
                    <a:close/>
                    <a:moveTo>
                      <a:pt x="1009" y="279"/>
                    </a:moveTo>
                    <a:lnTo>
                      <a:pt x="1004" y="291"/>
                    </a:lnTo>
                    <a:lnTo>
                      <a:pt x="1009" y="312"/>
                    </a:lnTo>
                    <a:lnTo>
                      <a:pt x="1075" y="366"/>
                    </a:lnTo>
                    <a:lnTo>
                      <a:pt x="1117" y="350"/>
                    </a:lnTo>
                    <a:lnTo>
                      <a:pt x="1167" y="362"/>
                    </a:lnTo>
                    <a:lnTo>
                      <a:pt x="1172" y="345"/>
                    </a:lnTo>
                    <a:lnTo>
                      <a:pt x="1181" y="345"/>
                    </a:lnTo>
                    <a:lnTo>
                      <a:pt x="1188" y="317"/>
                    </a:lnTo>
                    <a:lnTo>
                      <a:pt x="1205" y="312"/>
                    </a:lnTo>
                    <a:lnTo>
                      <a:pt x="1243" y="312"/>
                    </a:lnTo>
                    <a:lnTo>
                      <a:pt x="1252" y="329"/>
                    </a:lnTo>
                    <a:lnTo>
                      <a:pt x="1290" y="333"/>
                    </a:lnTo>
                    <a:lnTo>
                      <a:pt x="1311" y="317"/>
                    </a:lnTo>
                    <a:lnTo>
                      <a:pt x="1344" y="317"/>
                    </a:lnTo>
                    <a:lnTo>
                      <a:pt x="1361" y="329"/>
                    </a:lnTo>
                    <a:lnTo>
                      <a:pt x="1365" y="307"/>
                    </a:lnTo>
                    <a:lnTo>
                      <a:pt x="1377" y="291"/>
                    </a:lnTo>
                    <a:lnTo>
                      <a:pt x="1377" y="263"/>
                    </a:lnTo>
                    <a:lnTo>
                      <a:pt x="1403" y="251"/>
                    </a:lnTo>
                    <a:lnTo>
                      <a:pt x="1387" y="239"/>
                    </a:lnTo>
                    <a:lnTo>
                      <a:pt x="1398" y="218"/>
                    </a:lnTo>
                    <a:lnTo>
                      <a:pt x="1403" y="206"/>
                    </a:lnTo>
                    <a:lnTo>
                      <a:pt x="1420" y="206"/>
                    </a:lnTo>
                    <a:lnTo>
                      <a:pt x="1432" y="180"/>
                    </a:lnTo>
                    <a:lnTo>
                      <a:pt x="1432" y="163"/>
                    </a:lnTo>
                    <a:lnTo>
                      <a:pt x="1432" y="128"/>
                    </a:lnTo>
                    <a:lnTo>
                      <a:pt x="1441" y="111"/>
                    </a:lnTo>
                    <a:lnTo>
                      <a:pt x="1458" y="123"/>
                    </a:lnTo>
                    <a:lnTo>
                      <a:pt x="1469" y="111"/>
                    </a:lnTo>
                    <a:lnTo>
                      <a:pt x="1491" y="123"/>
                    </a:lnTo>
                    <a:lnTo>
                      <a:pt x="1545" y="111"/>
                    </a:lnTo>
                    <a:lnTo>
                      <a:pt x="1566" y="128"/>
                    </a:lnTo>
                    <a:lnTo>
                      <a:pt x="1550" y="128"/>
                    </a:lnTo>
                    <a:lnTo>
                      <a:pt x="1583" y="163"/>
                    </a:lnTo>
                    <a:lnTo>
                      <a:pt x="1576" y="168"/>
                    </a:lnTo>
                    <a:lnTo>
                      <a:pt x="1528" y="168"/>
                    </a:lnTo>
                    <a:lnTo>
                      <a:pt x="1538" y="168"/>
                    </a:lnTo>
                    <a:lnTo>
                      <a:pt x="1545" y="180"/>
                    </a:lnTo>
                    <a:lnTo>
                      <a:pt x="1559" y="180"/>
                    </a:lnTo>
                    <a:lnTo>
                      <a:pt x="1545" y="196"/>
                    </a:lnTo>
                    <a:lnTo>
                      <a:pt x="1566" y="206"/>
                    </a:lnTo>
                    <a:lnTo>
                      <a:pt x="1576" y="222"/>
                    </a:lnTo>
                    <a:lnTo>
                      <a:pt x="1583" y="222"/>
                    </a:lnTo>
                    <a:lnTo>
                      <a:pt x="1604" y="263"/>
                    </a:lnTo>
                    <a:lnTo>
                      <a:pt x="1592" y="279"/>
                    </a:lnTo>
                    <a:lnTo>
                      <a:pt x="1583" y="272"/>
                    </a:lnTo>
                    <a:lnTo>
                      <a:pt x="1592" y="296"/>
                    </a:lnTo>
                    <a:lnTo>
                      <a:pt x="1668" y="362"/>
                    </a:lnTo>
                    <a:lnTo>
                      <a:pt x="1651" y="366"/>
                    </a:lnTo>
                    <a:lnTo>
                      <a:pt x="1621" y="366"/>
                    </a:lnTo>
                    <a:lnTo>
                      <a:pt x="1597" y="362"/>
                    </a:lnTo>
                    <a:lnTo>
                      <a:pt x="1592" y="345"/>
                    </a:lnTo>
                    <a:lnTo>
                      <a:pt x="1597" y="366"/>
                    </a:lnTo>
                    <a:lnTo>
                      <a:pt x="1592" y="366"/>
                    </a:lnTo>
                    <a:lnTo>
                      <a:pt x="1576" y="378"/>
                    </a:lnTo>
                    <a:lnTo>
                      <a:pt x="1559" y="423"/>
                    </a:lnTo>
                    <a:lnTo>
                      <a:pt x="1559" y="435"/>
                    </a:lnTo>
                    <a:lnTo>
                      <a:pt x="1559" y="444"/>
                    </a:lnTo>
                    <a:lnTo>
                      <a:pt x="1559" y="461"/>
                    </a:lnTo>
                    <a:lnTo>
                      <a:pt x="1566" y="456"/>
                    </a:lnTo>
                    <a:lnTo>
                      <a:pt x="1566" y="489"/>
                    </a:lnTo>
                    <a:lnTo>
                      <a:pt x="1559" y="489"/>
                    </a:lnTo>
                    <a:lnTo>
                      <a:pt x="1545" y="489"/>
                    </a:lnTo>
                    <a:lnTo>
                      <a:pt x="1521" y="518"/>
                    </a:lnTo>
                    <a:lnTo>
                      <a:pt x="1512" y="518"/>
                    </a:lnTo>
                    <a:lnTo>
                      <a:pt x="1507" y="501"/>
                    </a:lnTo>
                    <a:lnTo>
                      <a:pt x="1507" y="527"/>
                    </a:lnTo>
                    <a:lnTo>
                      <a:pt x="1491" y="534"/>
                    </a:lnTo>
                    <a:lnTo>
                      <a:pt x="1491" y="546"/>
                    </a:lnTo>
                    <a:lnTo>
                      <a:pt x="1474" y="555"/>
                    </a:lnTo>
                    <a:lnTo>
                      <a:pt x="1491" y="555"/>
                    </a:lnTo>
                    <a:lnTo>
                      <a:pt x="1491" y="572"/>
                    </a:lnTo>
                    <a:lnTo>
                      <a:pt x="1484" y="584"/>
                    </a:lnTo>
                    <a:lnTo>
                      <a:pt x="1495" y="589"/>
                    </a:lnTo>
                    <a:lnTo>
                      <a:pt x="1491" y="612"/>
                    </a:lnTo>
                    <a:lnTo>
                      <a:pt x="1474" y="612"/>
                    </a:lnTo>
                    <a:lnTo>
                      <a:pt x="1484" y="629"/>
                    </a:lnTo>
                    <a:lnTo>
                      <a:pt x="1474" y="645"/>
                    </a:lnTo>
                    <a:lnTo>
                      <a:pt x="1469" y="629"/>
                    </a:lnTo>
                    <a:lnTo>
                      <a:pt x="1474" y="655"/>
                    </a:lnTo>
                    <a:lnTo>
                      <a:pt x="1453" y="683"/>
                    </a:lnTo>
                    <a:lnTo>
                      <a:pt x="1365" y="733"/>
                    </a:lnTo>
                    <a:lnTo>
                      <a:pt x="1361" y="723"/>
                    </a:lnTo>
                    <a:lnTo>
                      <a:pt x="1361" y="695"/>
                    </a:lnTo>
                    <a:lnTo>
                      <a:pt x="1349" y="678"/>
                    </a:lnTo>
                    <a:lnTo>
                      <a:pt x="1323" y="666"/>
                    </a:lnTo>
                    <a:lnTo>
                      <a:pt x="1290" y="678"/>
                    </a:lnTo>
                    <a:lnTo>
                      <a:pt x="1290" y="655"/>
                    </a:lnTo>
                    <a:lnTo>
                      <a:pt x="1273" y="662"/>
                    </a:lnTo>
                    <a:lnTo>
                      <a:pt x="1252" y="645"/>
                    </a:lnTo>
                    <a:lnTo>
                      <a:pt x="1243" y="655"/>
                    </a:lnTo>
                    <a:lnTo>
                      <a:pt x="1243" y="662"/>
                    </a:lnTo>
                    <a:lnTo>
                      <a:pt x="1219" y="678"/>
                    </a:lnTo>
                    <a:lnTo>
                      <a:pt x="1214" y="678"/>
                    </a:lnTo>
                    <a:lnTo>
                      <a:pt x="1188" y="666"/>
                    </a:lnTo>
                    <a:lnTo>
                      <a:pt x="1167" y="683"/>
                    </a:lnTo>
                    <a:lnTo>
                      <a:pt x="1160" y="683"/>
                    </a:lnTo>
                    <a:lnTo>
                      <a:pt x="1167" y="645"/>
                    </a:lnTo>
                    <a:lnTo>
                      <a:pt x="1160" y="629"/>
                    </a:lnTo>
                    <a:lnTo>
                      <a:pt x="1150" y="638"/>
                    </a:lnTo>
                    <a:lnTo>
                      <a:pt x="1143" y="645"/>
                    </a:lnTo>
                    <a:lnTo>
                      <a:pt x="1127" y="638"/>
                    </a:lnTo>
                    <a:lnTo>
                      <a:pt x="1106" y="655"/>
                    </a:lnTo>
                    <a:lnTo>
                      <a:pt x="1089" y="645"/>
                    </a:lnTo>
                    <a:lnTo>
                      <a:pt x="1096" y="638"/>
                    </a:lnTo>
                    <a:lnTo>
                      <a:pt x="1080" y="655"/>
                    </a:lnTo>
                    <a:lnTo>
                      <a:pt x="1075" y="638"/>
                    </a:lnTo>
                    <a:lnTo>
                      <a:pt x="1051" y="645"/>
                    </a:lnTo>
                    <a:lnTo>
                      <a:pt x="1042" y="572"/>
                    </a:lnTo>
                    <a:lnTo>
                      <a:pt x="1025" y="555"/>
                    </a:lnTo>
                    <a:lnTo>
                      <a:pt x="1037" y="551"/>
                    </a:lnTo>
                    <a:lnTo>
                      <a:pt x="1042" y="527"/>
                    </a:lnTo>
                    <a:lnTo>
                      <a:pt x="1021" y="494"/>
                    </a:lnTo>
                    <a:lnTo>
                      <a:pt x="983" y="489"/>
                    </a:lnTo>
                    <a:lnTo>
                      <a:pt x="983" y="478"/>
                    </a:lnTo>
                    <a:lnTo>
                      <a:pt x="1004" y="478"/>
                    </a:lnTo>
                    <a:lnTo>
                      <a:pt x="971" y="461"/>
                    </a:lnTo>
                    <a:lnTo>
                      <a:pt x="966" y="444"/>
                    </a:lnTo>
                    <a:lnTo>
                      <a:pt x="983" y="440"/>
                    </a:lnTo>
                    <a:lnTo>
                      <a:pt x="971" y="423"/>
                    </a:lnTo>
                    <a:lnTo>
                      <a:pt x="966" y="407"/>
                    </a:lnTo>
                    <a:lnTo>
                      <a:pt x="954" y="407"/>
                    </a:lnTo>
                    <a:lnTo>
                      <a:pt x="954" y="383"/>
                    </a:lnTo>
                    <a:lnTo>
                      <a:pt x="954" y="366"/>
                    </a:lnTo>
                    <a:lnTo>
                      <a:pt x="966" y="362"/>
                    </a:lnTo>
                    <a:lnTo>
                      <a:pt x="966" y="345"/>
                    </a:lnTo>
                    <a:lnTo>
                      <a:pt x="983" y="329"/>
                    </a:lnTo>
                    <a:lnTo>
                      <a:pt x="966" y="345"/>
                    </a:lnTo>
                    <a:lnTo>
                      <a:pt x="971" y="317"/>
                    </a:lnTo>
                    <a:lnTo>
                      <a:pt x="983" y="307"/>
                    </a:lnTo>
                    <a:lnTo>
                      <a:pt x="987" y="291"/>
                    </a:lnTo>
                    <a:lnTo>
                      <a:pt x="1009" y="279"/>
                    </a:lnTo>
                    <a:lnTo>
                      <a:pt x="1009" y="279"/>
                    </a:lnTo>
                    <a:lnTo>
                      <a:pt x="1009" y="279"/>
                    </a:lnTo>
                    <a:close/>
                    <a:moveTo>
                      <a:pt x="895" y="152"/>
                    </a:moveTo>
                    <a:lnTo>
                      <a:pt x="895" y="140"/>
                    </a:lnTo>
                    <a:lnTo>
                      <a:pt x="912" y="128"/>
                    </a:lnTo>
                    <a:lnTo>
                      <a:pt x="917" y="140"/>
                    </a:lnTo>
                    <a:lnTo>
                      <a:pt x="917" y="163"/>
                    </a:lnTo>
                    <a:lnTo>
                      <a:pt x="900" y="163"/>
                    </a:lnTo>
                    <a:lnTo>
                      <a:pt x="912" y="152"/>
                    </a:lnTo>
                    <a:lnTo>
                      <a:pt x="895" y="152"/>
                    </a:lnTo>
                    <a:lnTo>
                      <a:pt x="895" y="152"/>
                    </a:lnTo>
                    <a:lnTo>
                      <a:pt x="895" y="152"/>
                    </a:lnTo>
                    <a:close/>
                    <a:moveTo>
                      <a:pt x="1576" y="128"/>
                    </a:moveTo>
                    <a:lnTo>
                      <a:pt x="1592" y="128"/>
                    </a:lnTo>
                    <a:lnTo>
                      <a:pt x="1592" y="140"/>
                    </a:lnTo>
                    <a:lnTo>
                      <a:pt x="1576" y="128"/>
                    </a:lnTo>
                    <a:lnTo>
                      <a:pt x="1576" y="128"/>
                    </a:lnTo>
                    <a:lnTo>
                      <a:pt x="1576" y="128"/>
                    </a:lnTo>
                    <a:close/>
                    <a:moveTo>
                      <a:pt x="1566" y="128"/>
                    </a:moveTo>
                    <a:lnTo>
                      <a:pt x="1576" y="140"/>
                    </a:lnTo>
                    <a:lnTo>
                      <a:pt x="1566" y="140"/>
                    </a:lnTo>
                    <a:lnTo>
                      <a:pt x="1566" y="128"/>
                    </a:lnTo>
                    <a:lnTo>
                      <a:pt x="1566" y="128"/>
                    </a:lnTo>
                    <a:lnTo>
                      <a:pt x="1566" y="128"/>
                    </a:lnTo>
                    <a:close/>
                    <a:moveTo>
                      <a:pt x="2209" y="152"/>
                    </a:moveTo>
                    <a:lnTo>
                      <a:pt x="2197" y="140"/>
                    </a:lnTo>
                    <a:lnTo>
                      <a:pt x="2209" y="147"/>
                    </a:lnTo>
                    <a:lnTo>
                      <a:pt x="2209" y="152"/>
                    </a:lnTo>
                    <a:lnTo>
                      <a:pt x="2209" y="152"/>
                    </a:lnTo>
                    <a:lnTo>
                      <a:pt x="2209" y="152"/>
                    </a:lnTo>
                    <a:close/>
                    <a:moveTo>
                      <a:pt x="2143" y="185"/>
                    </a:moveTo>
                    <a:lnTo>
                      <a:pt x="2133" y="163"/>
                    </a:lnTo>
                    <a:lnTo>
                      <a:pt x="2143" y="163"/>
                    </a:lnTo>
                    <a:lnTo>
                      <a:pt x="2154" y="180"/>
                    </a:lnTo>
                    <a:lnTo>
                      <a:pt x="2143" y="185"/>
                    </a:lnTo>
                    <a:lnTo>
                      <a:pt x="2143" y="185"/>
                    </a:lnTo>
                    <a:lnTo>
                      <a:pt x="2143" y="185"/>
                    </a:lnTo>
                    <a:close/>
                    <a:moveTo>
                      <a:pt x="1545" y="168"/>
                    </a:moveTo>
                    <a:lnTo>
                      <a:pt x="1559" y="180"/>
                    </a:lnTo>
                    <a:lnTo>
                      <a:pt x="1545" y="180"/>
                    </a:lnTo>
                    <a:lnTo>
                      <a:pt x="1545" y="168"/>
                    </a:lnTo>
                    <a:lnTo>
                      <a:pt x="1545" y="168"/>
                    </a:lnTo>
                    <a:lnTo>
                      <a:pt x="1545" y="168"/>
                    </a:lnTo>
                    <a:close/>
                    <a:moveTo>
                      <a:pt x="1566" y="180"/>
                    </a:moveTo>
                    <a:lnTo>
                      <a:pt x="1576" y="185"/>
                    </a:lnTo>
                    <a:lnTo>
                      <a:pt x="1566" y="196"/>
                    </a:lnTo>
                    <a:lnTo>
                      <a:pt x="1566" y="180"/>
                    </a:lnTo>
                    <a:lnTo>
                      <a:pt x="1566" y="180"/>
                    </a:lnTo>
                    <a:lnTo>
                      <a:pt x="1566" y="180"/>
                    </a:lnTo>
                    <a:close/>
                    <a:moveTo>
                      <a:pt x="773" y="196"/>
                    </a:moveTo>
                    <a:lnTo>
                      <a:pt x="773" y="185"/>
                    </a:lnTo>
                    <a:lnTo>
                      <a:pt x="773" y="196"/>
                    </a:lnTo>
                    <a:lnTo>
                      <a:pt x="773" y="196"/>
                    </a:lnTo>
                    <a:lnTo>
                      <a:pt x="773" y="196"/>
                    </a:lnTo>
                    <a:close/>
                    <a:moveTo>
                      <a:pt x="1559" y="185"/>
                    </a:moveTo>
                    <a:lnTo>
                      <a:pt x="1559" y="196"/>
                    </a:lnTo>
                    <a:lnTo>
                      <a:pt x="1559" y="185"/>
                    </a:lnTo>
                    <a:lnTo>
                      <a:pt x="1559" y="185"/>
                    </a:lnTo>
                    <a:lnTo>
                      <a:pt x="1559" y="185"/>
                    </a:lnTo>
                    <a:close/>
                    <a:moveTo>
                      <a:pt x="773" y="201"/>
                    </a:moveTo>
                    <a:lnTo>
                      <a:pt x="773" y="196"/>
                    </a:lnTo>
                    <a:lnTo>
                      <a:pt x="773" y="201"/>
                    </a:lnTo>
                    <a:lnTo>
                      <a:pt x="773" y="201"/>
                    </a:lnTo>
                    <a:lnTo>
                      <a:pt x="773" y="201"/>
                    </a:lnTo>
                    <a:close/>
                    <a:moveTo>
                      <a:pt x="735" y="222"/>
                    </a:moveTo>
                    <a:lnTo>
                      <a:pt x="735" y="206"/>
                    </a:lnTo>
                    <a:lnTo>
                      <a:pt x="739" y="218"/>
                    </a:lnTo>
                    <a:lnTo>
                      <a:pt x="735" y="222"/>
                    </a:lnTo>
                    <a:lnTo>
                      <a:pt x="735" y="222"/>
                    </a:lnTo>
                    <a:lnTo>
                      <a:pt x="735" y="222"/>
                    </a:lnTo>
                    <a:close/>
                    <a:moveTo>
                      <a:pt x="950" y="218"/>
                    </a:moveTo>
                    <a:lnTo>
                      <a:pt x="954" y="206"/>
                    </a:lnTo>
                    <a:lnTo>
                      <a:pt x="954" y="218"/>
                    </a:lnTo>
                    <a:lnTo>
                      <a:pt x="950" y="218"/>
                    </a:lnTo>
                    <a:lnTo>
                      <a:pt x="950" y="218"/>
                    </a:lnTo>
                    <a:lnTo>
                      <a:pt x="950" y="218"/>
                    </a:lnTo>
                    <a:close/>
                    <a:moveTo>
                      <a:pt x="85" y="255"/>
                    </a:moveTo>
                    <a:lnTo>
                      <a:pt x="76" y="255"/>
                    </a:lnTo>
                    <a:lnTo>
                      <a:pt x="52" y="239"/>
                    </a:lnTo>
                    <a:lnTo>
                      <a:pt x="38" y="234"/>
                    </a:lnTo>
                    <a:lnTo>
                      <a:pt x="31" y="222"/>
                    </a:lnTo>
                    <a:lnTo>
                      <a:pt x="38" y="218"/>
                    </a:lnTo>
                    <a:lnTo>
                      <a:pt x="47" y="218"/>
                    </a:lnTo>
                    <a:lnTo>
                      <a:pt x="85" y="251"/>
                    </a:lnTo>
                    <a:lnTo>
                      <a:pt x="85" y="255"/>
                    </a:lnTo>
                    <a:lnTo>
                      <a:pt x="85" y="255"/>
                    </a:lnTo>
                    <a:lnTo>
                      <a:pt x="85" y="255"/>
                    </a:lnTo>
                    <a:close/>
                    <a:moveTo>
                      <a:pt x="2117" y="234"/>
                    </a:moveTo>
                    <a:lnTo>
                      <a:pt x="2117" y="239"/>
                    </a:lnTo>
                    <a:lnTo>
                      <a:pt x="2117" y="222"/>
                    </a:lnTo>
                    <a:lnTo>
                      <a:pt x="2117" y="234"/>
                    </a:lnTo>
                    <a:lnTo>
                      <a:pt x="2117" y="234"/>
                    </a:lnTo>
                    <a:lnTo>
                      <a:pt x="2117" y="234"/>
                    </a:lnTo>
                    <a:close/>
                    <a:moveTo>
                      <a:pt x="2317" y="279"/>
                    </a:moveTo>
                    <a:lnTo>
                      <a:pt x="2317" y="263"/>
                    </a:lnTo>
                    <a:lnTo>
                      <a:pt x="2332" y="239"/>
                    </a:lnTo>
                    <a:lnTo>
                      <a:pt x="2339" y="239"/>
                    </a:lnTo>
                    <a:lnTo>
                      <a:pt x="2348" y="251"/>
                    </a:lnTo>
                    <a:lnTo>
                      <a:pt x="2339" y="263"/>
                    </a:lnTo>
                    <a:lnTo>
                      <a:pt x="2332" y="279"/>
                    </a:lnTo>
                    <a:lnTo>
                      <a:pt x="2317" y="279"/>
                    </a:lnTo>
                    <a:lnTo>
                      <a:pt x="2317" y="279"/>
                    </a:lnTo>
                    <a:lnTo>
                      <a:pt x="2317" y="279"/>
                    </a:lnTo>
                    <a:close/>
                    <a:moveTo>
                      <a:pt x="144" y="279"/>
                    </a:moveTo>
                    <a:lnTo>
                      <a:pt x="128" y="263"/>
                    </a:lnTo>
                    <a:lnTo>
                      <a:pt x="139" y="263"/>
                    </a:lnTo>
                    <a:lnTo>
                      <a:pt x="144" y="279"/>
                    </a:lnTo>
                    <a:lnTo>
                      <a:pt x="144" y="279"/>
                    </a:lnTo>
                    <a:lnTo>
                      <a:pt x="144" y="279"/>
                    </a:lnTo>
                    <a:close/>
                    <a:moveTo>
                      <a:pt x="2284" y="366"/>
                    </a:moveTo>
                    <a:lnTo>
                      <a:pt x="2294" y="366"/>
                    </a:lnTo>
                    <a:lnTo>
                      <a:pt x="2294" y="350"/>
                    </a:lnTo>
                    <a:lnTo>
                      <a:pt x="2306" y="345"/>
                    </a:lnTo>
                    <a:lnTo>
                      <a:pt x="2306" y="329"/>
                    </a:lnTo>
                    <a:lnTo>
                      <a:pt x="2332" y="317"/>
                    </a:lnTo>
                    <a:lnTo>
                      <a:pt x="2348" y="312"/>
                    </a:lnTo>
                    <a:lnTo>
                      <a:pt x="2348" y="350"/>
                    </a:lnTo>
                    <a:lnTo>
                      <a:pt x="2317" y="366"/>
                    </a:lnTo>
                    <a:lnTo>
                      <a:pt x="2322" y="383"/>
                    </a:lnTo>
                    <a:lnTo>
                      <a:pt x="2348" y="390"/>
                    </a:lnTo>
                    <a:lnTo>
                      <a:pt x="2348" y="400"/>
                    </a:lnTo>
                    <a:lnTo>
                      <a:pt x="2360" y="418"/>
                    </a:lnTo>
                    <a:lnTo>
                      <a:pt x="2301" y="390"/>
                    </a:lnTo>
                    <a:lnTo>
                      <a:pt x="2294" y="400"/>
                    </a:lnTo>
                    <a:lnTo>
                      <a:pt x="2294" y="407"/>
                    </a:lnTo>
                    <a:lnTo>
                      <a:pt x="2294" y="435"/>
                    </a:lnTo>
                    <a:lnTo>
                      <a:pt x="2301" y="456"/>
                    </a:lnTo>
                    <a:lnTo>
                      <a:pt x="2322" y="494"/>
                    </a:lnTo>
                    <a:lnTo>
                      <a:pt x="2301" y="478"/>
                    </a:lnTo>
                    <a:lnTo>
                      <a:pt x="2284" y="456"/>
                    </a:lnTo>
                    <a:lnTo>
                      <a:pt x="2280" y="444"/>
                    </a:lnTo>
                    <a:lnTo>
                      <a:pt x="2280" y="418"/>
                    </a:lnTo>
                    <a:lnTo>
                      <a:pt x="2263" y="383"/>
                    </a:lnTo>
                    <a:lnTo>
                      <a:pt x="2268" y="366"/>
                    </a:lnTo>
                    <a:lnTo>
                      <a:pt x="2263" y="366"/>
                    </a:lnTo>
                    <a:lnTo>
                      <a:pt x="2263" y="350"/>
                    </a:lnTo>
                    <a:lnTo>
                      <a:pt x="2251" y="350"/>
                    </a:lnTo>
                    <a:lnTo>
                      <a:pt x="2268" y="307"/>
                    </a:lnTo>
                    <a:lnTo>
                      <a:pt x="2294" y="272"/>
                    </a:lnTo>
                    <a:lnTo>
                      <a:pt x="2301" y="272"/>
                    </a:lnTo>
                    <a:lnTo>
                      <a:pt x="2284" y="291"/>
                    </a:lnTo>
                    <a:lnTo>
                      <a:pt x="2301" y="307"/>
                    </a:lnTo>
                    <a:lnTo>
                      <a:pt x="2301" y="329"/>
                    </a:lnTo>
                    <a:lnTo>
                      <a:pt x="2268" y="362"/>
                    </a:lnTo>
                    <a:lnTo>
                      <a:pt x="2284" y="366"/>
                    </a:lnTo>
                    <a:lnTo>
                      <a:pt x="2284" y="366"/>
                    </a:lnTo>
                    <a:lnTo>
                      <a:pt x="2284" y="366"/>
                    </a:lnTo>
                    <a:close/>
                    <a:moveTo>
                      <a:pt x="454" y="291"/>
                    </a:moveTo>
                    <a:lnTo>
                      <a:pt x="447" y="307"/>
                    </a:lnTo>
                    <a:lnTo>
                      <a:pt x="430" y="307"/>
                    </a:lnTo>
                    <a:lnTo>
                      <a:pt x="430" y="291"/>
                    </a:lnTo>
                    <a:lnTo>
                      <a:pt x="430" y="279"/>
                    </a:lnTo>
                    <a:lnTo>
                      <a:pt x="447" y="272"/>
                    </a:lnTo>
                    <a:lnTo>
                      <a:pt x="454" y="291"/>
                    </a:lnTo>
                    <a:lnTo>
                      <a:pt x="454" y="291"/>
                    </a:lnTo>
                    <a:lnTo>
                      <a:pt x="454" y="291"/>
                    </a:lnTo>
                    <a:close/>
                    <a:moveTo>
                      <a:pt x="1873" y="778"/>
                    </a:moveTo>
                    <a:lnTo>
                      <a:pt x="1852" y="778"/>
                    </a:lnTo>
                    <a:lnTo>
                      <a:pt x="1835" y="766"/>
                    </a:lnTo>
                    <a:lnTo>
                      <a:pt x="1852" y="723"/>
                    </a:lnTo>
                    <a:lnTo>
                      <a:pt x="1831" y="716"/>
                    </a:lnTo>
                    <a:lnTo>
                      <a:pt x="1798" y="683"/>
                    </a:lnTo>
                    <a:lnTo>
                      <a:pt x="1798" y="666"/>
                    </a:lnTo>
                    <a:lnTo>
                      <a:pt x="1814" y="662"/>
                    </a:lnTo>
                    <a:lnTo>
                      <a:pt x="1814" y="629"/>
                    </a:lnTo>
                    <a:lnTo>
                      <a:pt x="1809" y="622"/>
                    </a:lnTo>
                    <a:lnTo>
                      <a:pt x="1793" y="612"/>
                    </a:lnTo>
                    <a:lnTo>
                      <a:pt x="1755" y="645"/>
                    </a:lnTo>
                    <a:lnTo>
                      <a:pt x="1765" y="662"/>
                    </a:lnTo>
                    <a:lnTo>
                      <a:pt x="1765" y="695"/>
                    </a:lnTo>
                    <a:lnTo>
                      <a:pt x="1760" y="723"/>
                    </a:lnTo>
                    <a:lnTo>
                      <a:pt x="1765" y="766"/>
                    </a:lnTo>
                    <a:lnTo>
                      <a:pt x="1755" y="794"/>
                    </a:lnTo>
                    <a:lnTo>
                      <a:pt x="1765" y="834"/>
                    </a:lnTo>
                    <a:lnTo>
                      <a:pt x="1760" y="827"/>
                    </a:lnTo>
                    <a:lnTo>
                      <a:pt x="1743" y="834"/>
                    </a:lnTo>
                    <a:lnTo>
                      <a:pt x="1727" y="827"/>
                    </a:lnTo>
                    <a:lnTo>
                      <a:pt x="1722" y="844"/>
                    </a:lnTo>
                    <a:lnTo>
                      <a:pt x="1710" y="844"/>
                    </a:lnTo>
                    <a:lnTo>
                      <a:pt x="1689" y="822"/>
                    </a:lnTo>
                    <a:lnTo>
                      <a:pt x="1706" y="740"/>
                    </a:lnTo>
                    <a:lnTo>
                      <a:pt x="1706" y="716"/>
                    </a:lnTo>
                    <a:lnTo>
                      <a:pt x="1701" y="695"/>
                    </a:lnTo>
                    <a:lnTo>
                      <a:pt x="1706" y="683"/>
                    </a:lnTo>
                    <a:lnTo>
                      <a:pt x="1689" y="678"/>
                    </a:lnTo>
                    <a:lnTo>
                      <a:pt x="1658" y="683"/>
                    </a:lnTo>
                    <a:lnTo>
                      <a:pt x="1651" y="666"/>
                    </a:lnTo>
                    <a:lnTo>
                      <a:pt x="1658" y="638"/>
                    </a:lnTo>
                    <a:lnTo>
                      <a:pt x="1651" y="638"/>
                    </a:lnTo>
                    <a:lnTo>
                      <a:pt x="1651" y="629"/>
                    </a:lnTo>
                    <a:lnTo>
                      <a:pt x="1651" y="612"/>
                    </a:lnTo>
                    <a:lnTo>
                      <a:pt x="1658" y="622"/>
                    </a:lnTo>
                    <a:lnTo>
                      <a:pt x="1672" y="605"/>
                    </a:lnTo>
                    <a:lnTo>
                      <a:pt x="1684" y="572"/>
                    </a:lnTo>
                    <a:lnTo>
                      <a:pt x="1689" y="567"/>
                    </a:lnTo>
                    <a:lnTo>
                      <a:pt x="1689" y="518"/>
                    </a:lnTo>
                    <a:lnTo>
                      <a:pt x="1706" y="494"/>
                    </a:lnTo>
                    <a:lnTo>
                      <a:pt x="1710" y="478"/>
                    </a:lnTo>
                    <a:lnTo>
                      <a:pt x="1727" y="489"/>
                    </a:lnTo>
                    <a:lnTo>
                      <a:pt x="1722" y="461"/>
                    </a:lnTo>
                    <a:lnTo>
                      <a:pt x="1722" y="440"/>
                    </a:lnTo>
                    <a:lnTo>
                      <a:pt x="1710" y="440"/>
                    </a:lnTo>
                    <a:lnTo>
                      <a:pt x="1706" y="435"/>
                    </a:lnTo>
                    <a:lnTo>
                      <a:pt x="1722" y="440"/>
                    </a:lnTo>
                    <a:lnTo>
                      <a:pt x="1727" y="423"/>
                    </a:lnTo>
                    <a:lnTo>
                      <a:pt x="1722" y="418"/>
                    </a:lnTo>
                    <a:lnTo>
                      <a:pt x="1727" y="390"/>
                    </a:lnTo>
                    <a:lnTo>
                      <a:pt x="1739" y="390"/>
                    </a:lnTo>
                    <a:lnTo>
                      <a:pt x="1739" y="378"/>
                    </a:lnTo>
                    <a:lnTo>
                      <a:pt x="1755" y="366"/>
                    </a:lnTo>
                    <a:lnTo>
                      <a:pt x="1760" y="362"/>
                    </a:lnTo>
                    <a:lnTo>
                      <a:pt x="1760" y="366"/>
                    </a:lnTo>
                    <a:lnTo>
                      <a:pt x="1776" y="378"/>
                    </a:lnTo>
                    <a:lnTo>
                      <a:pt x="1793" y="350"/>
                    </a:lnTo>
                    <a:lnTo>
                      <a:pt x="1793" y="333"/>
                    </a:lnTo>
                    <a:lnTo>
                      <a:pt x="1835" y="333"/>
                    </a:lnTo>
                    <a:lnTo>
                      <a:pt x="1847" y="350"/>
                    </a:lnTo>
                    <a:lnTo>
                      <a:pt x="1869" y="350"/>
                    </a:lnTo>
                    <a:lnTo>
                      <a:pt x="1873" y="350"/>
                    </a:lnTo>
                    <a:lnTo>
                      <a:pt x="1906" y="362"/>
                    </a:lnTo>
                    <a:lnTo>
                      <a:pt x="1939" y="366"/>
                    </a:lnTo>
                    <a:lnTo>
                      <a:pt x="1944" y="362"/>
                    </a:lnTo>
                    <a:lnTo>
                      <a:pt x="1961" y="362"/>
                    </a:lnTo>
                    <a:lnTo>
                      <a:pt x="2015" y="366"/>
                    </a:lnTo>
                    <a:lnTo>
                      <a:pt x="2036" y="350"/>
                    </a:lnTo>
                    <a:lnTo>
                      <a:pt x="2046" y="345"/>
                    </a:lnTo>
                    <a:lnTo>
                      <a:pt x="2062" y="345"/>
                    </a:lnTo>
                    <a:lnTo>
                      <a:pt x="2053" y="329"/>
                    </a:lnTo>
                    <a:lnTo>
                      <a:pt x="2079" y="317"/>
                    </a:lnTo>
                    <a:lnTo>
                      <a:pt x="2079" y="312"/>
                    </a:lnTo>
                    <a:lnTo>
                      <a:pt x="2084" y="307"/>
                    </a:lnTo>
                    <a:lnTo>
                      <a:pt x="2100" y="307"/>
                    </a:lnTo>
                    <a:lnTo>
                      <a:pt x="2105" y="317"/>
                    </a:lnTo>
                    <a:lnTo>
                      <a:pt x="2091" y="329"/>
                    </a:lnTo>
                    <a:lnTo>
                      <a:pt x="2079" y="362"/>
                    </a:lnTo>
                    <a:lnTo>
                      <a:pt x="2036" y="400"/>
                    </a:lnTo>
                    <a:lnTo>
                      <a:pt x="1991" y="407"/>
                    </a:lnTo>
                    <a:lnTo>
                      <a:pt x="1970" y="407"/>
                    </a:lnTo>
                    <a:lnTo>
                      <a:pt x="1954" y="390"/>
                    </a:lnTo>
                    <a:lnTo>
                      <a:pt x="1864" y="400"/>
                    </a:lnTo>
                    <a:lnTo>
                      <a:pt x="1847" y="390"/>
                    </a:lnTo>
                    <a:lnTo>
                      <a:pt x="1814" y="400"/>
                    </a:lnTo>
                    <a:lnTo>
                      <a:pt x="1776" y="390"/>
                    </a:lnTo>
                    <a:lnTo>
                      <a:pt x="1760" y="390"/>
                    </a:lnTo>
                    <a:lnTo>
                      <a:pt x="1743" y="418"/>
                    </a:lnTo>
                    <a:lnTo>
                      <a:pt x="1739" y="440"/>
                    </a:lnTo>
                    <a:lnTo>
                      <a:pt x="1743" y="473"/>
                    </a:lnTo>
                    <a:lnTo>
                      <a:pt x="1755" y="494"/>
                    </a:lnTo>
                    <a:lnTo>
                      <a:pt x="1776" y="501"/>
                    </a:lnTo>
                    <a:lnTo>
                      <a:pt x="1781" y="527"/>
                    </a:lnTo>
                    <a:lnTo>
                      <a:pt x="1793" y="527"/>
                    </a:lnTo>
                    <a:lnTo>
                      <a:pt x="1814" y="534"/>
                    </a:lnTo>
                    <a:lnTo>
                      <a:pt x="1835" y="494"/>
                    </a:lnTo>
                    <a:lnTo>
                      <a:pt x="1852" y="489"/>
                    </a:lnTo>
                    <a:lnTo>
                      <a:pt x="1852" y="494"/>
                    </a:lnTo>
                    <a:lnTo>
                      <a:pt x="1869" y="494"/>
                    </a:lnTo>
                    <a:lnTo>
                      <a:pt x="1885" y="494"/>
                    </a:lnTo>
                    <a:lnTo>
                      <a:pt x="1890" y="489"/>
                    </a:lnTo>
                    <a:lnTo>
                      <a:pt x="1939" y="489"/>
                    </a:lnTo>
                    <a:lnTo>
                      <a:pt x="1944" y="478"/>
                    </a:lnTo>
                    <a:lnTo>
                      <a:pt x="1928" y="478"/>
                    </a:lnTo>
                    <a:lnTo>
                      <a:pt x="1954" y="473"/>
                    </a:lnTo>
                    <a:lnTo>
                      <a:pt x="1970" y="473"/>
                    </a:lnTo>
                    <a:lnTo>
                      <a:pt x="1977" y="489"/>
                    </a:lnTo>
                    <a:lnTo>
                      <a:pt x="1970" y="501"/>
                    </a:lnTo>
                    <a:lnTo>
                      <a:pt x="1961" y="494"/>
                    </a:lnTo>
                    <a:lnTo>
                      <a:pt x="1939" y="494"/>
                    </a:lnTo>
                    <a:lnTo>
                      <a:pt x="1906" y="534"/>
                    </a:lnTo>
                    <a:lnTo>
                      <a:pt x="1869" y="551"/>
                    </a:lnTo>
                    <a:lnTo>
                      <a:pt x="1852" y="567"/>
                    </a:lnTo>
                    <a:lnTo>
                      <a:pt x="1831" y="555"/>
                    </a:lnTo>
                    <a:lnTo>
                      <a:pt x="1831" y="572"/>
                    </a:lnTo>
                    <a:lnTo>
                      <a:pt x="1835" y="572"/>
                    </a:lnTo>
                    <a:lnTo>
                      <a:pt x="1847" y="584"/>
                    </a:lnTo>
                    <a:lnTo>
                      <a:pt x="1869" y="600"/>
                    </a:lnTo>
                    <a:lnTo>
                      <a:pt x="1873" y="622"/>
                    </a:lnTo>
                    <a:lnTo>
                      <a:pt x="1902" y="638"/>
                    </a:lnTo>
                    <a:lnTo>
                      <a:pt x="1902" y="645"/>
                    </a:lnTo>
                    <a:lnTo>
                      <a:pt x="1906" y="655"/>
                    </a:lnTo>
                    <a:lnTo>
                      <a:pt x="1890" y="666"/>
                    </a:lnTo>
                    <a:lnTo>
                      <a:pt x="1890" y="695"/>
                    </a:lnTo>
                    <a:lnTo>
                      <a:pt x="1923" y="711"/>
                    </a:lnTo>
                    <a:lnTo>
                      <a:pt x="1923" y="723"/>
                    </a:lnTo>
                    <a:lnTo>
                      <a:pt x="1939" y="723"/>
                    </a:lnTo>
                    <a:lnTo>
                      <a:pt x="1928" y="716"/>
                    </a:lnTo>
                    <a:lnTo>
                      <a:pt x="1939" y="733"/>
                    </a:lnTo>
                    <a:lnTo>
                      <a:pt x="1939" y="749"/>
                    </a:lnTo>
                    <a:lnTo>
                      <a:pt x="1928" y="749"/>
                    </a:lnTo>
                    <a:lnTo>
                      <a:pt x="1916" y="749"/>
                    </a:lnTo>
                    <a:lnTo>
                      <a:pt x="1885" y="756"/>
                    </a:lnTo>
                    <a:lnTo>
                      <a:pt x="1873" y="766"/>
                    </a:lnTo>
                    <a:lnTo>
                      <a:pt x="1885" y="773"/>
                    </a:lnTo>
                    <a:lnTo>
                      <a:pt x="1873" y="778"/>
                    </a:lnTo>
                    <a:lnTo>
                      <a:pt x="1873" y="778"/>
                    </a:lnTo>
                    <a:lnTo>
                      <a:pt x="1873" y="778"/>
                    </a:lnTo>
                    <a:close/>
                    <a:moveTo>
                      <a:pt x="508" y="329"/>
                    </a:moveTo>
                    <a:lnTo>
                      <a:pt x="508" y="333"/>
                    </a:lnTo>
                    <a:lnTo>
                      <a:pt x="496" y="329"/>
                    </a:lnTo>
                    <a:lnTo>
                      <a:pt x="480" y="317"/>
                    </a:lnTo>
                    <a:lnTo>
                      <a:pt x="470" y="312"/>
                    </a:lnTo>
                    <a:lnTo>
                      <a:pt x="501" y="317"/>
                    </a:lnTo>
                    <a:lnTo>
                      <a:pt x="508" y="329"/>
                    </a:lnTo>
                    <a:lnTo>
                      <a:pt x="508" y="329"/>
                    </a:lnTo>
                    <a:lnTo>
                      <a:pt x="508" y="329"/>
                    </a:lnTo>
                    <a:close/>
                    <a:moveTo>
                      <a:pt x="2105" y="317"/>
                    </a:moveTo>
                    <a:lnTo>
                      <a:pt x="2105" y="329"/>
                    </a:lnTo>
                    <a:lnTo>
                      <a:pt x="2100" y="329"/>
                    </a:lnTo>
                    <a:lnTo>
                      <a:pt x="2105" y="317"/>
                    </a:lnTo>
                    <a:lnTo>
                      <a:pt x="2105" y="317"/>
                    </a:lnTo>
                    <a:lnTo>
                      <a:pt x="2105" y="317"/>
                    </a:lnTo>
                    <a:close/>
                    <a:moveTo>
                      <a:pt x="177" y="390"/>
                    </a:moveTo>
                    <a:lnTo>
                      <a:pt x="173" y="383"/>
                    </a:lnTo>
                    <a:lnTo>
                      <a:pt x="161" y="366"/>
                    </a:lnTo>
                    <a:lnTo>
                      <a:pt x="128" y="329"/>
                    </a:lnTo>
                    <a:lnTo>
                      <a:pt x="144" y="317"/>
                    </a:lnTo>
                    <a:lnTo>
                      <a:pt x="156" y="317"/>
                    </a:lnTo>
                    <a:lnTo>
                      <a:pt x="173" y="345"/>
                    </a:lnTo>
                    <a:lnTo>
                      <a:pt x="182" y="350"/>
                    </a:lnTo>
                    <a:lnTo>
                      <a:pt x="182" y="383"/>
                    </a:lnTo>
                    <a:lnTo>
                      <a:pt x="177" y="390"/>
                    </a:lnTo>
                    <a:lnTo>
                      <a:pt x="177" y="390"/>
                    </a:lnTo>
                    <a:lnTo>
                      <a:pt x="177" y="390"/>
                    </a:lnTo>
                    <a:close/>
                    <a:moveTo>
                      <a:pt x="508" y="345"/>
                    </a:moveTo>
                    <a:lnTo>
                      <a:pt x="508" y="362"/>
                    </a:lnTo>
                    <a:lnTo>
                      <a:pt x="501" y="362"/>
                    </a:lnTo>
                    <a:lnTo>
                      <a:pt x="484" y="350"/>
                    </a:lnTo>
                    <a:lnTo>
                      <a:pt x="484" y="329"/>
                    </a:lnTo>
                    <a:lnTo>
                      <a:pt x="508" y="345"/>
                    </a:lnTo>
                    <a:lnTo>
                      <a:pt x="508" y="345"/>
                    </a:lnTo>
                    <a:lnTo>
                      <a:pt x="508" y="345"/>
                    </a:lnTo>
                    <a:close/>
                    <a:moveTo>
                      <a:pt x="664" y="350"/>
                    </a:moveTo>
                    <a:lnTo>
                      <a:pt x="659" y="366"/>
                    </a:lnTo>
                    <a:lnTo>
                      <a:pt x="631" y="350"/>
                    </a:lnTo>
                    <a:lnTo>
                      <a:pt x="643" y="345"/>
                    </a:lnTo>
                    <a:lnTo>
                      <a:pt x="664" y="350"/>
                    </a:lnTo>
                    <a:lnTo>
                      <a:pt x="664" y="350"/>
                    </a:lnTo>
                    <a:lnTo>
                      <a:pt x="664" y="350"/>
                    </a:lnTo>
                    <a:close/>
                    <a:moveTo>
                      <a:pt x="626" y="345"/>
                    </a:moveTo>
                    <a:lnTo>
                      <a:pt x="614" y="362"/>
                    </a:lnTo>
                    <a:lnTo>
                      <a:pt x="610" y="350"/>
                    </a:lnTo>
                    <a:lnTo>
                      <a:pt x="614" y="345"/>
                    </a:lnTo>
                    <a:lnTo>
                      <a:pt x="626" y="345"/>
                    </a:lnTo>
                    <a:lnTo>
                      <a:pt x="626" y="345"/>
                    </a:lnTo>
                    <a:lnTo>
                      <a:pt x="626" y="345"/>
                    </a:lnTo>
                    <a:close/>
                    <a:moveTo>
                      <a:pt x="550" y="366"/>
                    </a:moveTo>
                    <a:lnTo>
                      <a:pt x="522" y="350"/>
                    </a:lnTo>
                    <a:lnTo>
                      <a:pt x="522" y="345"/>
                    </a:lnTo>
                    <a:lnTo>
                      <a:pt x="550" y="350"/>
                    </a:lnTo>
                    <a:lnTo>
                      <a:pt x="555" y="366"/>
                    </a:lnTo>
                    <a:lnTo>
                      <a:pt x="550" y="366"/>
                    </a:lnTo>
                    <a:lnTo>
                      <a:pt x="550" y="366"/>
                    </a:lnTo>
                    <a:lnTo>
                      <a:pt x="550" y="366"/>
                    </a:lnTo>
                    <a:close/>
                    <a:moveTo>
                      <a:pt x="539" y="378"/>
                    </a:moveTo>
                    <a:lnTo>
                      <a:pt x="534" y="366"/>
                    </a:lnTo>
                    <a:lnTo>
                      <a:pt x="508" y="366"/>
                    </a:lnTo>
                    <a:lnTo>
                      <a:pt x="501" y="366"/>
                    </a:lnTo>
                    <a:lnTo>
                      <a:pt x="508" y="362"/>
                    </a:lnTo>
                    <a:lnTo>
                      <a:pt x="508" y="345"/>
                    </a:lnTo>
                    <a:lnTo>
                      <a:pt x="550" y="366"/>
                    </a:lnTo>
                    <a:lnTo>
                      <a:pt x="539" y="378"/>
                    </a:lnTo>
                    <a:lnTo>
                      <a:pt x="539" y="378"/>
                    </a:lnTo>
                    <a:lnTo>
                      <a:pt x="539" y="378"/>
                    </a:lnTo>
                    <a:close/>
                    <a:moveTo>
                      <a:pt x="572" y="350"/>
                    </a:moveTo>
                    <a:lnTo>
                      <a:pt x="572" y="362"/>
                    </a:lnTo>
                    <a:lnTo>
                      <a:pt x="560" y="345"/>
                    </a:lnTo>
                    <a:lnTo>
                      <a:pt x="572" y="350"/>
                    </a:lnTo>
                    <a:lnTo>
                      <a:pt x="572" y="350"/>
                    </a:lnTo>
                    <a:lnTo>
                      <a:pt x="572" y="350"/>
                    </a:lnTo>
                    <a:close/>
                    <a:moveTo>
                      <a:pt x="610" y="362"/>
                    </a:moveTo>
                    <a:lnTo>
                      <a:pt x="605" y="350"/>
                    </a:lnTo>
                    <a:lnTo>
                      <a:pt x="610" y="362"/>
                    </a:lnTo>
                    <a:lnTo>
                      <a:pt x="610" y="362"/>
                    </a:lnTo>
                    <a:lnTo>
                      <a:pt x="610" y="362"/>
                    </a:lnTo>
                    <a:close/>
                    <a:moveTo>
                      <a:pt x="626" y="366"/>
                    </a:moveTo>
                    <a:lnTo>
                      <a:pt x="614" y="362"/>
                    </a:lnTo>
                    <a:lnTo>
                      <a:pt x="631" y="366"/>
                    </a:lnTo>
                    <a:lnTo>
                      <a:pt x="626" y="366"/>
                    </a:lnTo>
                    <a:lnTo>
                      <a:pt x="626" y="366"/>
                    </a:lnTo>
                    <a:lnTo>
                      <a:pt x="626" y="366"/>
                    </a:lnTo>
                    <a:close/>
                    <a:moveTo>
                      <a:pt x="576" y="378"/>
                    </a:moveTo>
                    <a:lnTo>
                      <a:pt x="572" y="383"/>
                    </a:lnTo>
                    <a:lnTo>
                      <a:pt x="572" y="366"/>
                    </a:lnTo>
                    <a:lnTo>
                      <a:pt x="576" y="378"/>
                    </a:lnTo>
                    <a:lnTo>
                      <a:pt x="576" y="378"/>
                    </a:lnTo>
                    <a:lnTo>
                      <a:pt x="576" y="378"/>
                    </a:lnTo>
                    <a:close/>
                    <a:moveTo>
                      <a:pt x="631" y="378"/>
                    </a:moveTo>
                    <a:lnTo>
                      <a:pt x="626" y="378"/>
                    </a:lnTo>
                    <a:lnTo>
                      <a:pt x="631" y="366"/>
                    </a:lnTo>
                    <a:lnTo>
                      <a:pt x="631" y="378"/>
                    </a:lnTo>
                    <a:lnTo>
                      <a:pt x="631" y="378"/>
                    </a:lnTo>
                    <a:lnTo>
                      <a:pt x="631" y="378"/>
                    </a:lnTo>
                    <a:close/>
                    <a:moveTo>
                      <a:pt x="2263" y="378"/>
                    </a:moveTo>
                    <a:lnTo>
                      <a:pt x="2251" y="383"/>
                    </a:lnTo>
                    <a:lnTo>
                      <a:pt x="2251" y="378"/>
                    </a:lnTo>
                    <a:lnTo>
                      <a:pt x="2263" y="378"/>
                    </a:lnTo>
                    <a:lnTo>
                      <a:pt x="2263" y="378"/>
                    </a:lnTo>
                    <a:lnTo>
                      <a:pt x="2263" y="378"/>
                    </a:lnTo>
                    <a:close/>
                    <a:moveTo>
                      <a:pt x="560" y="383"/>
                    </a:moveTo>
                    <a:lnTo>
                      <a:pt x="555" y="390"/>
                    </a:lnTo>
                    <a:lnTo>
                      <a:pt x="555" y="378"/>
                    </a:lnTo>
                    <a:lnTo>
                      <a:pt x="560" y="383"/>
                    </a:lnTo>
                    <a:lnTo>
                      <a:pt x="560" y="383"/>
                    </a:lnTo>
                    <a:lnTo>
                      <a:pt x="560" y="383"/>
                    </a:lnTo>
                    <a:close/>
                    <a:moveTo>
                      <a:pt x="2251" y="400"/>
                    </a:moveTo>
                    <a:lnTo>
                      <a:pt x="2251" y="407"/>
                    </a:lnTo>
                    <a:lnTo>
                      <a:pt x="2251" y="400"/>
                    </a:lnTo>
                    <a:lnTo>
                      <a:pt x="2251" y="400"/>
                    </a:lnTo>
                    <a:lnTo>
                      <a:pt x="2251" y="400"/>
                    </a:lnTo>
                    <a:close/>
                    <a:moveTo>
                      <a:pt x="248" y="423"/>
                    </a:moveTo>
                    <a:lnTo>
                      <a:pt x="232" y="418"/>
                    </a:lnTo>
                    <a:lnTo>
                      <a:pt x="248" y="418"/>
                    </a:lnTo>
                    <a:lnTo>
                      <a:pt x="248" y="423"/>
                    </a:lnTo>
                    <a:lnTo>
                      <a:pt x="248" y="423"/>
                    </a:lnTo>
                    <a:lnTo>
                      <a:pt x="248" y="423"/>
                    </a:lnTo>
                    <a:close/>
                    <a:moveTo>
                      <a:pt x="2407" y="444"/>
                    </a:moveTo>
                    <a:lnTo>
                      <a:pt x="2386" y="423"/>
                    </a:lnTo>
                    <a:lnTo>
                      <a:pt x="2407" y="440"/>
                    </a:lnTo>
                    <a:lnTo>
                      <a:pt x="2407" y="444"/>
                    </a:lnTo>
                    <a:lnTo>
                      <a:pt x="2407" y="444"/>
                    </a:lnTo>
                    <a:lnTo>
                      <a:pt x="2407" y="444"/>
                    </a:lnTo>
                    <a:close/>
                    <a:moveTo>
                      <a:pt x="680" y="456"/>
                    </a:moveTo>
                    <a:lnTo>
                      <a:pt x="664" y="444"/>
                    </a:lnTo>
                    <a:lnTo>
                      <a:pt x="647" y="444"/>
                    </a:lnTo>
                    <a:lnTo>
                      <a:pt x="643" y="444"/>
                    </a:lnTo>
                    <a:lnTo>
                      <a:pt x="647" y="435"/>
                    </a:lnTo>
                    <a:lnTo>
                      <a:pt x="680" y="440"/>
                    </a:lnTo>
                    <a:lnTo>
                      <a:pt x="680" y="456"/>
                    </a:lnTo>
                    <a:lnTo>
                      <a:pt x="680" y="456"/>
                    </a:lnTo>
                    <a:lnTo>
                      <a:pt x="680" y="456"/>
                    </a:lnTo>
                    <a:close/>
                    <a:moveTo>
                      <a:pt x="232" y="456"/>
                    </a:moveTo>
                    <a:lnTo>
                      <a:pt x="215" y="435"/>
                    </a:lnTo>
                    <a:lnTo>
                      <a:pt x="227" y="435"/>
                    </a:lnTo>
                    <a:lnTo>
                      <a:pt x="232" y="456"/>
                    </a:lnTo>
                    <a:lnTo>
                      <a:pt x="232" y="456"/>
                    </a:lnTo>
                    <a:lnTo>
                      <a:pt x="232" y="456"/>
                    </a:lnTo>
                    <a:close/>
                    <a:moveTo>
                      <a:pt x="2485" y="435"/>
                    </a:moveTo>
                    <a:lnTo>
                      <a:pt x="2516" y="435"/>
                    </a:lnTo>
                    <a:lnTo>
                      <a:pt x="2532" y="440"/>
                    </a:lnTo>
                    <a:lnTo>
                      <a:pt x="2532" y="444"/>
                    </a:lnTo>
                    <a:lnTo>
                      <a:pt x="2523" y="456"/>
                    </a:lnTo>
                    <a:lnTo>
                      <a:pt x="2511" y="456"/>
                    </a:lnTo>
                    <a:lnTo>
                      <a:pt x="2478" y="435"/>
                    </a:lnTo>
                    <a:lnTo>
                      <a:pt x="2499" y="456"/>
                    </a:lnTo>
                    <a:lnTo>
                      <a:pt x="2495" y="461"/>
                    </a:lnTo>
                    <a:lnTo>
                      <a:pt x="2485" y="444"/>
                    </a:lnTo>
                    <a:lnTo>
                      <a:pt x="2478" y="456"/>
                    </a:lnTo>
                    <a:lnTo>
                      <a:pt x="2478" y="444"/>
                    </a:lnTo>
                    <a:lnTo>
                      <a:pt x="2457" y="444"/>
                    </a:lnTo>
                    <a:lnTo>
                      <a:pt x="2469" y="440"/>
                    </a:lnTo>
                    <a:lnTo>
                      <a:pt x="2461" y="440"/>
                    </a:lnTo>
                    <a:lnTo>
                      <a:pt x="2457" y="440"/>
                    </a:lnTo>
                    <a:lnTo>
                      <a:pt x="2485" y="435"/>
                    </a:lnTo>
                    <a:lnTo>
                      <a:pt x="2485" y="435"/>
                    </a:lnTo>
                    <a:lnTo>
                      <a:pt x="2485" y="435"/>
                    </a:lnTo>
                    <a:close/>
                    <a:moveTo>
                      <a:pt x="1890" y="444"/>
                    </a:moveTo>
                    <a:lnTo>
                      <a:pt x="1885" y="444"/>
                    </a:lnTo>
                    <a:lnTo>
                      <a:pt x="1890" y="444"/>
                    </a:lnTo>
                    <a:lnTo>
                      <a:pt x="1890" y="444"/>
                    </a:lnTo>
                    <a:lnTo>
                      <a:pt x="1890" y="444"/>
                    </a:lnTo>
                    <a:close/>
                    <a:moveTo>
                      <a:pt x="593" y="444"/>
                    </a:moveTo>
                    <a:lnTo>
                      <a:pt x="593" y="456"/>
                    </a:lnTo>
                    <a:lnTo>
                      <a:pt x="572" y="456"/>
                    </a:lnTo>
                    <a:lnTo>
                      <a:pt x="576" y="444"/>
                    </a:lnTo>
                    <a:lnTo>
                      <a:pt x="593" y="444"/>
                    </a:lnTo>
                    <a:lnTo>
                      <a:pt x="593" y="444"/>
                    </a:lnTo>
                    <a:lnTo>
                      <a:pt x="593" y="444"/>
                    </a:lnTo>
                    <a:close/>
                    <a:moveTo>
                      <a:pt x="227" y="461"/>
                    </a:moveTo>
                    <a:lnTo>
                      <a:pt x="227" y="473"/>
                    </a:lnTo>
                    <a:lnTo>
                      <a:pt x="215" y="473"/>
                    </a:lnTo>
                    <a:lnTo>
                      <a:pt x="227" y="444"/>
                    </a:lnTo>
                    <a:lnTo>
                      <a:pt x="227" y="461"/>
                    </a:lnTo>
                    <a:lnTo>
                      <a:pt x="227" y="461"/>
                    </a:lnTo>
                    <a:lnTo>
                      <a:pt x="227" y="461"/>
                    </a:lnTo>
                    <a:close/>
                    <a:moveTo>
                      <a:pt x="2246" y="444"/>
                    </a:moveTo>
                    <a:lnTo>
                      <a:pt x="2246" y="461"/>
                    </a:lnTo>
                    <a:lnTo>
                      <a:pt x="2242" y="461"/>
                    </a:lnTo>
                    <a:lnTo>
                      <a:pt x="2242" y="444"/>
                    </a:lnTo>
                    <a:lnTo>
                      <a:pt x="2246" y="444"/>
                    </a:lnTo>
                    <a:lnTo>
                      <a:pt x="2246" y="444"/>
                    </a:lnTo>
                    <a:lnTo>
                      <a:pt x="2246" y="444"/>
                    </a:lnTo>
                    <a:close/>
                    <a:moveTo>
                      <a:pt x="1885" y="456"/>
                    </a:moveTo>
                    <a:lnTo>
                      <a:pt x="1885" y="444"/>
                    </a:lnTo>
                    <a:lnTo>
                      <a:pt x="1885" y="456"/>
                    </a:lnTo>
                    <a:lnTo>
                      <a:pt x="1885" y="456"/>
                    </a:lnTo>
                    <a:lnTo>
                      <a:pt x="1885" y="456"/>
                    </a:lnTo>
                    <a:close/>
                    <a:moveTo>
                      <a:pt x="2263" y="444"/>
                    </a:moveTo>
                    <a:lnTo>
                      <a:pt x="2280" y="461"/>
                    </a:lnTo>
                    <a:lnTo>
                      <a:pt x="2268" y="473"/>
                    </a:lnTo>
                    <a:lnTo>
                      <a:pt x="2280" y="478"/>
                    </a:lnTo>
                    <a:lnTo>
                      <a:pt x="2284" y="478"/>
                    </a:lnTo>
                    <a:lnTo>
                      <a:pt x="2294" y="489"/>
                    </a:lnTo>
                    <a:lnTo>
                      <a:pt x="2284" y="494"/>
                    </a:lnTo>
                    <a:lnTo>
                      <a:pt x="2268" y="489"/>
                    </a:lnTo>
                    <a:lnTo>
                      <a:pt x="2263" y="489"/>
                    </a:lnTo>
                    <a:lnTo>
                      <a:pt x="2246" y="461"/>
                    </a:lnTo>
                    <a:lnTo>
                      <a:pt x="2246" y="456"/>
                    </a:lnTo>
                    <a:lnTo>
                      <a:pt x="2263" y="444"/>
                    </a:lnTo>
                    <a:lnTo>
                      <a:pt x="2263" y="444"/>
                    </a:lnTo>
                    <a:lnTo>
                      <a:pt x="2263" y="444"/>
                    </a:lnTo>
                    <a:close/>
                    <a:moveTo>
                      <a:pt x="1885" y="456"/>
                    </a:moveTo>
                    <a:lnTo>
                      <a:pt x="1869" y="456"/>
                    </a:lnTo>
                    <a:lnTo>
                      <a:pt x="1873" y="444"/>
                    </a:lnTo>
                    <a:lnTo>
                      <a:pt x="1885" y="456"/>
                    </a:lnTo>
                    <a:lnTo>
                      <a:pt x="1885" y="456"/>
                    </a:lnTo>
                    <a:lnTo>
                      <a:pt x="1885" y="456"/>
                    </a:lnTo>
                    <a:close/>
                    <a:moveTo>
                      <a:pt x="647" y="456"/>
                    </a:moveTo>
                    <a:lnTo>
                      <a:pt x="659" y="461"/>
                    </a:lnTo>
                    <a:lnTo>
                      <a:pt x="647" y="473"/>
                    </a:lnTo>
                    <a:lnTo>
                      <a:pt x="631" y="461"/>
                    </a:lnTo>
                    <a:lnTo>
                      <a:pt x="647" y="456"/>
                    </a:lnTo>
                    <a:lnTo>
                      <a:pt x="647" y="456"/>
                    </a:lnTo>
                    <a:lnTo>
                      <a:pt x="647" y="456"/>
                    </a:lnTo>
                    <a:close/>
                    <a:moveTo>
                      <a:pt x="3213" y="612"/>
                    </a:moveTo>
                    <a:lnTo>
                      <a:pt x="3213" y="884"/>
                    </a:lnTo>
                    <a:lnTo>
                      <a:pt x="3203" y="905"/>
                    </a:lnTo>
                    <a:lnTo>
                      <a:pt x="3203" y="922"/>
                    </a:lnTo>
                    <a:lnTo>
                      <a:pt x="3213" y="922"/>
                    </a:lnTo>
                    <a:lnTo>
                      <a:pt x="3213" y="1089"/>
                    </a:lnTo>
                    <a:lnTo>
                      <a:pt x="3142" y="1016"/>
                    </a:lnTo>
                    <a:lnTo>
                      <a:pt x="3149" y="995"/>
                    </a:lnTo>
                    <a:lnTo>
                      <a:pt x="3132" y="1016"/>
                    </a:lnTo>
                    <a:lnTo>
                      <a:pt x="3095" y="1016"/>
                    </a:lnTo>
                    <a:lnTo>
                      <a:pt x="3090" y="1011"/>
                    </a:lnTo>
                    <a:lnTo>
                      <a:pt x="3061" y="1028"/>
                    </a:lnTo>
                    <a:lnTo>
                      <a:pt x="3057" y="1016"/>
                    </a:lnTo>
                    <a:lnTo>
                      <a:pt x="3078" y="978"/>
                    </a:lnTo>
                    <a:lnTo>
                      <a:pt x="3052" y="945"/>
                    </a:lnTo>
                    <a:lnTo>
                      <a:pt x="3073" y="955"/>
                    </a:lnTo>
                    <a:lnTo>
                      <a:pt x="3090" y="945"/>
                    </a:lnTo>
                    <a:lnTo>
                      <a:pt x="3073" y="945"/>
                    </a:lnTo>
                    <a:lnTo>
                      <a:pt x="3057" y="945"/>
                    </a:lnTo>
                    <a:lnTo>
                      <a:pt x="3040" y="933"/>
                    </a:lnTo>
                    <a:lnTo>
                      <a:pt x="3061" y="922"/>
                    </a:lnTo>
                    <a:lnTo>
                      <a:pt x="3078" y="933"/>
                    </a:lnTo>
                    <a:lnTo>
                      <a:pt x="3052" y="917"/>
                    </a:lnTo>
                    <a:lnTo>
                      <a:pt x="3052" y="905"/>
                    </a:lnTo>
                    <a:lnTo>
                      <a:pt x="3024" y="884"/>
                    </a:lnTo>
                    <a:lnTo>
                      <a:pt x="3019" y="851"/>
                    </a:lnTo>
                    <a:lnTo>
                      <a:pt x="3007" y="844"/>
                    </a:lnTo>
                    <a:lnTo>
                      <a:pt x="3024" y="834"/>
                    </a:lnTo>
                    <a:lnTo>
                      <a:pt x="3002" y="844"/>
                    </a:lnTo>
                    <a:lnTo>
                      <a:pt x="3002" y="822"/>
                    </a:lnTo>
                    <a:lnTo>
                      <a:pt x="2998" y="822"/>
                    </a:lnTo>
                    <a:lnTo>
                      <a:pt x="2948" y="789"/>
                    </a:lnTo>
                    <a:lnTo>
                      <a:pt x="2915" y="778"/>
                    </a:lnTo>
                    <a:lnTo>
                      <a:pt x="2856" y="756"/>
                    </a:lnTo>
                    <a:lnTo>
                      <a:pt x="2802" y="749"/>
                    </a:lnTo>
                    <a:lnTo>
                      <a:pt x="2764" y="723"/>
                    </a:lnTo>
                    <a:lnTo>
                      <a:pt x="2771" y="711"/>
                    </a:lnTo>
                    <a:lnTo>
                      <a:pt x="2787" y="711"/>
                    </a:lnTo>
                    <a:lnTo>
                      <a:pt x="2764" y="711"/>
                    </a:lnTo>
                    <a:lnTo>
                      <a:pt x="2754" y="716"/>
                    </a:lnTo>
                    <a:lnTo>
                      <a:pt x="2750" y="711"/>
                    </a:lnTo>
                    <a:lnTo>
                      <a:pt x="2738" y="716"/>
                    </a:lnTo>
                    <a:lnTo>
                      <a:pt x="2733" y="716"/>
                    </a:lnTo>
                    <a:lnTo>
                      <a:pt x="2733" y="700"/>
                    </a:lnTo>
                    <a:lnTo>
                      <a:pt x="2717" y="700"/>
                    </a:lnTo>
                    <a:lnTo>
                      <a:pt x="2712" y="683"/>
                    </a:lnTo>
                    <a:lnTo>
                      <a:pt x="2700" y="695"/>
                    </a:lnTo>
                    <a:lnTo>
                      <a:pt x="2695" y="678"/>
                    </a:lnTo>
                    <a:lnTo>
                      <a:pt x="2700" y="662"/>
                    </a:lnTo>
                    <a:lnTo>
                      <a:pt x="2712" y="655"/>
                    </a:lnTo>
                    <a:lnTo>
                      <a:pt x="2712" y="645"/>
                    </a:lnTo>
                    <a:lnTo>
                      <a:pt x="2695" y="655"/>
                    </a:lnTo>
                    <a:lnTo>
                      <a:pt x="2695" y="678"/>
                    </a:lnTo>
                    <a:lnTo>
                      <a:pt x="2683" y="678"/>
                    </a:lnTo>
                    <a:lnTo>
                      <a:pt x="2683" y="683"/>
                    </a:lnTo>
                    <a:lnTo>
                      <a:pt x="2679" y="700"/>
                    </a:lnTo>
                    <a:lnTo>
                      <a:pt x="2679" y="711"/>
                    </a:lnTo>
                    <a:lnTo>
                      <a:pt x="2662" y="723"/>
                    </a:lnTo>
                    <a:lnTo>
                      <a:pt x="2641" y="723"/>
                    </a:lnTo>
                    <a:lnTo>
                      <a:pt x="2629" y="695"/>
                    </a:lnTo>
                    <a:lnTo>
                      <a:pt x="2641" y="683"/>
                    </a:lnTo>
                    <a:lnTo>
                      <a:pt x="2641" y="678"/>
                    </a:lnTo>
                    <a:lnTo>
                      <a:pt x="2629" y="666"/>
                    </a:lnTo>
                    <a:lnTo>
                      <a:pt x="2624" y="666"/>
                    </a:lnTo>
                    <a:lnTo>
                      <a:pt x="2620" y="655"/>
                    </a:lnTo>
                    <a:lnTo>
                      <a:pt x="2603" y="638"/>
                    </a:lnTo>
                    <a:lnTo>
                      <a:pt x="2587" y="645"/>
                    </a:lnTo>
                    <a:lnTo>
                      <a:pt x="2575" y="629"/>
                    </a:lnTo>
                    <a:lnTo>
                      <a:pt x="2603" y="622"/>
                    </a:lnTo>
                    <a:lnTo>
                      <a:pt x="2629" y="629"/>
                    </a:lnTo>
                    <a:lnTo>
                      <a:pt x="2646" y="605"/>
                    </a:lnTo>
                    <a:lnTo>
                      <a:pt x="2662" y="605"/>
                    </a:lnTo>
                    <a:lnTo>
                      <a:pt x="2683" y="612"/>
                    </a:lnTo>
                    <a:lnTo>
                      <a:pt x="2695" y="612"/>
                    </a:lnTo>
                    <a:lnTo>
                      <a:pt x="2695" y="622"/>
                    </a:lnTo>
                    <a:lnTo>
                      <a:pt x="2700" y="605"/>
                    </a:lnTo>
                    <a:lnTo>
                      <a:pt x="2712" y="622"/>
                    </a:lnTo>
                    <a:lnTo>
                      <a:pt x="2700" y="605"/>
                    </a:lnTo>
                    <a:lnTo>
                      <a:pt x="2717" y="600"/>
                    </a:lnTo>
                    <a:lnTo>
                      <a:pt x="2717" y="589"/>
                    </a:lnTo>
                    <a:lnTo>
                      <a:pt x="2712" y="600"/>
                    </a:lnTo>
                    <a:lnTo>
                      <a:pt x="2700" y="589"/>
                    </a:lnTo>
                    <a:lnTo>
                      <a:pt x="2717" y="584"/>
                    </a:lnTo>
                    <a:lnTo>
                      <a:pt x="2695" y="589"/>
                    </a:lnTo>
                    <a:lnTo>
                      <a:pt x="2674" y="589"/>
                    </a:lnTo>
                    <a:lnTo>
                      <a:pt x="2624" y="600"/>
                    </a:lnTo>
                    <a:lnTo>
                      <a:pt x="2620" y="589"/>
                    </a:lnTo>
                    <a:lnTo>
                      <a:pt x="2603" y="589"/>
                    </a:lnTo>
                    <a:lnTo>
                      <a:pt x="2575" y="584"/>
                    </a:lnTo>
                    <a:lnTo>
                      <a:pt x="2570" y="551"/>
                    </a:lnTo>
                    <a:lnTo>
                      <a:pt x="2523" y="527"/>
                    </a:lnTo>
                    <a:lnTo>
                      <a:pt x="2532" y="534"/>
                    </a:lnTo>
                    <a:lnTo>
                      <a:pt x="2523" y="534"/>
                    </a:lnTo>
                    <a:lnTo>
                      <a:pt x="2511" y="527"/>
                    </a:lnTo>
                    <a:lnTo>
                      <a:pt x="2523" y="511"/>
                    </a:lnTo>
                    <a:lnTo>
                      <a:pt x="2523" y="489"/>
                    </a:lnTo>
                    <a:lnTo>
                      <a:pt x="2570" y="478"/>
                    </a:lnTo>
                    <a:lnTo>
                      <a:pt x="2587" y="461"/>
                    </a:lnTo>
                    <a:lnTo>
                      <a:pt x="2608" y="456"/>
                    </a:lnTo>
                    <a:lnTo>
                      <a:pt x="2662" y="473"/>
                    </a:lnTo>
                    <a:lnTo>
                      <a:pt x="2679" y="478"/>
                    </a:lnTo>
                    <a:lnTo>
                      <a:pt x="2717" y="478"/>
                    </a:lnTo>
                    <a:lnTo>
                      <a:pt x="2726" y="489"/>
                    </a:lnTo>
                    <a:lnTo>
                      <a:pt x="2717" y="494"/>
                    </a:lnTo>
                    <a:lnTo>
                      <a:pt x="2738" y="527"/>
                    </a:lnTo>
                    <a:lnTo>
                      <a:pt x="2726" y="551"/>
                    </a:lnTo>
                    <a:lnTo>
                      <a:pt x="2733" y="600"/>
                    </a:lnTo>
                    <a:lnTo>
                      <a:pt x="2750" y="638"/>
                    </a:lnTo>
                    <a:lnTo>
                      <a:pt x="2754" y="629"/>
                    </a:lnTo>
                    <a:lnTo>
                      <a:pt x="2754" y="612"/>
                    </a:lnTo>
                    <a:lnTo>
                      <a:pt x="2754" y="605"/>
                    </a:lnTo>
                    <a:lnTo>
                      <a:pt x="2764" y="605"/>
                    </a:lnTo>
                    <a:lnTo>
                      <a:pt x="2771" y="645"/>
                    </a:lnTo>
                    <a:lnTo>
                      <a:pt x="2780" y="638"/>
                    </a:lnTo>
                    <a:lnTo>
                      <a:pt x="2780" y="655"/>
                    </a:lnTo>
                    <a:lnTo>
                      <a:pt x="2780" y="662"/>
                    </a:lnTo>
                    <a:lnTo>
                      <a:pt x="2792" y="666"/>
                    </a:lnTo>
                    <a:lnTo>
                      <a:pt x="2825" y="666"/>
                    </a:lnTo>
                    <a:lnTo>
                      <a:pt x="2856" y="645"/>
                    </a:lnTo>
                    <a:lnTo>
                      <a:pt x="2863" y="622"/>
                    </a:lnTo>
                    <a:lnTo>
                      <a:pt x="2877" y="612"/>
                    </a:lnTo>
                    <a:lnTo>
                      <a:pt x="2889" y="589"/>
                    </a:lnTo>
                    <a:lnTo>
                      <a:pt x="2910" y="589"/>
                    </a:lnTo>
                    <a:lnTo>
                      <a:pt x="2943" y="584"/>
                    </a:lnTo>
                    <a:lnTo>
                      <a:pt x="2943" y="555"/>
                    </a:lnTo>
                    <a:lnTo>
                      <a:pt x="2986" y="534"/>
                    </a:lnTo>
                    <a:lnTo>
                      <a:pt x="3128" y="600"/>
                    </a:lnTo>
                    <a:lnTo>
                      <a:pt x="3149" y="600"/>
                    </a:lnTo>
                    <a:lnTo>
                      <a:pt x="3165" y="605"/>
                    </a:lnTo>
                    <a:lnTo>
                      <a:pt x="3187" y="605"/>
                    </a:lnTo>
                    <a:lnTo>
                      <a:pt x="3187" y="622"/>
                    </a:lnTo>
                    <a:lnTo>
                      <a:pt x="3213" y="612"/>
                    </a:lnTo>
                    <a:lnTo>
                      <a:pt x="3213" y="612"/>
                    </a:lnTo>
                    <a:lnTo>
                      <a:pt x="3213" y="612"/>
                    </a:lnTo>
                    <a:close/>
                    <a:moveTo>
                      <a:pt x="1869" y="461"/>
                    </a:moveTo>
                    <a:lnTo>
                      <a:pt x="1852" y="473"/>
                    </a:lnTo>
                    <a:lnTo>
                      <a:pt x="1864" y="456"/>
                    </a:lnTo>
                    <a:lnTo>
                      <a:pt x="1869" y="461"/>
                    </a:lnTo>
                    <a:lnTo>
                      <a:pt x="1869" y="461"/>
                    </a:lnTo>
                    <a:lnTo>
                      <a:pt x="1869" y="461"/>
                    </a:lnTo>
                    <a:close/>
                    <a:moveTo>
                      <a:pt x="2485" y="456"/>
                    </a:moveTo>
                    <a:lnTo>
                      <a:pt x="2485" y="461"/>
                    </a:lnTo>
                    <a:lnTo>
                      <a:pt x="2469" y="461"/>
                    </a:lnTo>
                    <a:lnTo>
                      <a:pt x="2485" y="456"/>
                    </a:lnTo>
                    <a:lnTo>
                      <a:pt x="2485" y="456"/>
                    </a:lnTo>
                    <a:lnTo>
                      <a:pt x="2485" y="456"/>
                    </a:lnTo>
                    <a:close/>
                    <a:moveTo>
                      <a:pt x="2246" y="473"/>
                    </a:moveTo>
                    <a:lnTo>
                      <a:pt x="2246" y="489"/>
                    </a:lnTo>
                    <a:lnTo>
                      <a:pt x="2242" y="489"/>
                    </a:lnTo>
                    <a:lnTo>
                      <a:pt x="2246" y="473"/>
                    </a:lnTo>
                    <a:lnTo>
                      <a:pt x="2246" y="473"/>
                    </a:lnTo>
                    <a:lnTo>
                      <a:pt x="2246" y="473"/>
                    </a:lnTo>
                    <a:close/>
                    <a:moveTo>
                      <a:pt x="2818" y="478"/>
                    </a:moveTo>
                    <a:lnTo>
                      <a:pt x="2839" y="478"/>
                    </a:lnTo>
                    <a:lnTo>
                      <a:pt x="2846" y="478"/>
                    </a:lnTo>
                    <a:lnTo>
                      <a:pt x="2872" y="501"/>
                    </a:lnTo>
                    <a:lnTo>
                      <a:pt x="2889" y="511"/>
                    </a:lnTo>
                    <a:lnTo>
                      <a:pt x="2872" y="518"/>
                    </a:lnTo>
                    <a:lnTo>
                      <a:pt x="2846" y="511"/>
                    </a:lnTo>
                    <a:lnTo>
                      <a:pt x="2839" y="489"/>
                    </a:lnTo>
                    <a:lnTo>
                      <a:pt x="2835" y="494"/>
                    </a:lnTo>
                    <a:lnTo>
                      <a:pt x="2825" y="489"/>
                    </a:lnTo>
                    <a:lnTo>
                      <a:pt x="2818" y="478"/>
                    </a:lnTo>
                    <a:lnTo>
                      <a:pt x="2818" y="478"/>
                    </a:lnTo>
                    <a:lnTo>
                      <a:pt x="2818" y="478"/>
                    </a:lnTo>
                    <a:close/>
                    <a:moveTo>
                      <a:pt x="2495" y="489"/>
                    </a:moveTo>
                    <a:lnTo>
                      <a:pt x="2499" y="489"/>
                    </a:lnTo>
                    <a:lnTo>
                      <a:pt x="2495" y="489"/>
                    </a:lnTo>
                    <a:lnTo>
                      <a:pt x="2461" y="494"/>
                    </a:lnTo>
                    <a:lnTo>
                      <a:pt x="2469" y="489"/>
                    </a:lnTo>
                    <a:lnTo>
                      <a:pt x="2495" y="489"/>
                    </a:lnTo>
                    <a:lnTo>
                      <a:pt x="2495" y="489"/>
                    </a:lnTo>
                    <a:lnTo>
                      <a:pt x="2495" y="489"/>
                    </a:lnTo>
                    <a:close/>
                    <a:moveTo>
                      <a:pt x="2499" y="494"/>
                    </a:moveTo>
                    <a:lnTo>
                      <a:pt x="2516" y="494"/>
                    </a:lnTo>
                    <a:lnTo>
                      <a:pt x="2511" y="527"/>
                    </a:lnTo>
                    <a:lnTo>
                      <a:pt x="2495" y="518"/>
                    </a:lnTo>
                    <a:lnTo>
                      <a:pt x="2485" y="501"/>
                    </a:lnTo>
                    <a:lnTo>
                      <a:pt x="2499" y="494"/>
                    </a:lnTo>
                    <a:lnTo>
                      <a:pt x="2499" y="494"/>
                    </a:lnTo>
                    <a:lnTo>
                      <a:pt x="2499" y="494"/>
                    </a:lnTo>
                    <a:close/>
                    <a:moveTo>
                      <a:pt x="286" y="551"/>
                    </a:moveTo>
                    <a:lnTo>
                      <a:pt x="279" y="546"/>
                    </a:lnTo>
                    <a:lnTo>
                      <a:pt x="279" y="555"/>
                    </a:lnTo>
                    <a:lnTo>
                      <a:pt x="269" y="555"/>
                    </a:lnTo>
                    <a:lnTo>
                      <a:pt x="248" y="546"/>
                    </a:lnTo>
                    <a:lnTo>
                      <a:pt x="232" y="511"/>
                    </a:lnTo>
                    <a:lnTo>
                      <a:pt x="236" y="494"/>
                    </a:lnTo>
                    <a:lnTo>
                      <a:pt x="253" y="494"/>
                    </a:lnTo>
                    <a:lnTo>
                      <a:pt x="286" y="551"/>
                    </a:lnTo>
                    <a:lnTo>
                      <a:pt x="286" y="551"/>
                    </a:lnTo>
                    <a:lnTo>
                      <a:pt x="286" y="551"/>
                    </a:lnTo>
                    <a:close/>
                    <a:moveTo>
                      <a:pt x="2780" y="494"/>
                    </a:moveTo>
                    <a:lnTo>
                      <a:pt x="2787" y="501"/>
                    </a:lnTo>
                    <a:lnTo>
                      <a:pt x="2780" y="511"/>
                    </a:lnTo>
                    <a:lnTo>
                      <a:pt x="2771" y="501"/>
                    </a:lnTo>
                    <a:lnTo>
                      <a:pt x="2780" y="494"/>
                    </a:lnTo>
                    <a:lnTo>
                      <a:pt x="2780" y="494"/>
                    </a:lnTo>
                    <a:lnTo>
                      <a:pt x="2780" y="494"/>
                    </a:lnTo>
                    <a:close/>
                    <a:moveTo>
                      <a:pt x="1021" y="501"/>
                    </a:moveTo>
                    <a:lnTo>
                      <a:pt x="1021" y="511"/>
                    </a:lnTo>
                    <a:lnTo>
                      <a:pt x="999" y="518"/>
                    </a:lnTo>
                    <a:lnTo>
                      <a:pt x="999" y="501"/>
                    </a:lnTo>
                    <a:lnTo>
                      <a:pt x="1021" y="501"/>
                    </a:lnTo>
                    <a:lnTo>
                      <a:pt x="1021" y="501"/>
                    </a:lnTo>
                    <a:lnTo>
                      <a:pt x="1021" y="501"/>
                    </a:lnTo>
                    <a:close/>
                    <a:moveTo>
                      <a:pt x="2431" y="511"/>
                    </a:moveTo>
                    <a:lnTo>
                      <a:pt x="2414" y="518"/>
                    </a:lnTo>
                    <a:lnTo>
                      <a:pt x="2431" y="511"/>
                    </a:lnTo>
                    <a:lnTo>
                      <a:pt x="2431" y="511"/>
                    </a:lnTo>
                    <a:lnTo>
                      <a:pt x="2431" y="511"/>
                    </a:lnTo>
                    <a:close/>
                    <a:moveTo>
                      <a:pt x="1982" y="518"/>
                    </a:moveTo>
                    <a:lnTo>
                      <a:pt x="1977" y="534"/>
                    </a:lnTo>
                    <a:lnTo>
                      <a:pt x="1970" y="534"/>
                    </a:lnTo>
                    <a:lnTo>
                      <a:pt x="1961" y="546"/>
                    </a:lnTo>
                    <a:lnTo>
                      <a:pt x="1954" y="546"/>
                    </a:lnTo>
                    <a:lnTo>
                      <a:pt x="1961" y="534"/>
                    </a:lnTo>
                    <a:lnTo>
                      <a:pt x="1954" y="527"/>
                    </a:lnTo>
                    <a:lnTo>
                      <a:pt x="1939" y="546"/>
                    </a:lnTo>
                    <a:lnTo>
                      <a:pt x="1928" y="534"/>
                    </a:lnTo>
                    <a:lnTo>
                      <a:pt x="1939" y="511"/>
                    </a:lnTo>
                    <a:lnTo>
                      <a:pt x="1961" y="511"/>
                    </a:lnTo>
                    <a:lnTo>
                      <a:pt x="1961" y="527"/>
                    </a:lnTo>
                    <a:lnTo>
                      <a:pt x="1977" y="518"/>
                    </a:lnTo>
                    <a:lnTo>
                      <a:pt x="1982" y="518"/>
                    </a:lnTo>
                    <a:lnTo>
                      <a:pt x="1982" y="518"/>
                    </a:lnTo>
                    <a:lnTo>
                      <a:pt x="1982" y="518"/>
                    </a:lnTo>
                    <a:close/>
                    <a:moveTo>
                      <a:pt x="2268" y="511"/>
                    </a:moveTo>
                    <a:lnTo>
                      <a:pt x="2268" y="518"/>
                    </a:lnTo>
                    <a:lnTo>
                      <a:pt x="2263" y="518"/>
                    </a:lnTo>
                    <a:lnTo>
                      <a:pt x="2268" y="511"/>
                    </a:lnTo>
                    <a:lnTo>
                      <a:pt x="2268" y="511"/>
                    </a:lnTo>
                    <a:lnTo>
                      <a:pt x="2268" y="511"/>
                    </a:lnTo>
                    <a:close/>
                    <a:moveTo>
                      <a:pt x="2251" y="546"/>
                    </a:moveTo>
                    <a:lnTo>
                      <a:pt x="2263" y="534"/>
                    </a:lnTo>
                    <a:lnTo>
                      <a:pt x="2268" y="527"/>
                    </a:lnTo>
                    <a:lnTo>
                      <a:pt x="2306" y="551"/>
                    </a:lnTo>
                    <a:lnTo>
                      <a:pt x="2301" y="551"/>
                    </a:lnTo>
                    <a:lnTo>
                      <a:pt x="2268" y="551"/>
                    </a:lnTo>
                    <a:lnTo>
                      <a:pt x="2251" y="551"/>
                    </a:lnTo>
                    <a:lnTo>
                      <a:pt x="2251" y="546"/>
                    </a:lnTo>
                    <a:lnTo>
                      <a:pt x="2251" y="546"/>
                    </a:lnTo>
                    <a:lnTo>
                      <a:pt x="2251" y="546"/>
                    </a:lnTo>
                    <a:close/>
                    <a:moveTo>
                      <a:pt x="803" y="645"/>
                    </a:moveTo>
                    <a:lnTo>
                      <a:pt x="803" y="655"/>
                    </a:lnTo>
                    <a:lnTo>
                      <a:pt x="787" y="655"/>
                    </a:lnTo>
                    <a:lnTo>
                      <a:pt x="787" y="645"/>
                    </a:lnTo>
                    <a:lnTo>
                      <a:pt x="749" y="629"/>
                    </a:lnTo>
                    <a:lnTo>
                      <a:pt x="749" y="622"/>
                    </a:lnTo>
                    <a:lnTo>
                      <a:pt x="749" y="605"/>
                    </a:lnTo>
                    <a:lnTo>
                      <a:pt x="739" y="600"/>
                    </a:lnTo>
                    <a:lnTo>
                      <a:pt x="735" y="584"/>
                    </a:lnTo>
                    <a:lnTo>
                      <a:pt x="697" y="572"/>
                    </a:lnTo>
                    <a:lnTo>
                      <a:pt x="697" y="567"/>
                    </a:lnTo>
                    <a:lnTo>
                      <a:pt x="711" y="555"/>
                    </a:lnTo>
                    <a:lnTo>
                      <a:pt x="711" y="551"/>
                    </a:lnTo>
                    <a:lnTo>
                      <a:pt x="711" y="546"/>
                    </a:lnTo>
                    <a:lnTo>
                      <a:pt x="723" y="546"/>
                    </a:lnTo>
                    <a:lnTo>
                      <a:pt x="735" y="551"/>
                    </a:lnTo>
                    <a:lnTo>
                      <a:pt x="739" y="555"/>
                    </a:lnTo>
                    <a:lnTo>
                      <a:pt x="735" y="546"/>
                    </a:lnTo>
                    <a:lnTo>
                      <a:pt x="749" y="534"/>
                    </a:lnTo>
                    <a:lnTo>
                      <a:pt x="756" y="546"/>
                    </a:lnTo>
                    <a:lnTo>
                      <a:pt x="773" y="600"/>
                    </a:lnTo>
                    <a:lnTo>
                      <a:pt x="810" y="612"/>
                    </a:lnTo>
                    <a:lnTo>
                      <a:pt x="794" y="638"/>
                    </a:lnTo>
                    <a:lnTo>
                      <a:pt x="803" y="645"/>
                    </a:lnTo>
                    <a:lnTo>
                      <a:pt x="803" y="645"/>
                    </a:lnTo>
                    <a:lnTo>
                      <a:pt x="803" y="645"/>
                    </a:lnTo>
                    <a:close/>
                    <a:moveTo>
                      <a:pt x="966" y="546"/>
                    </a:moveTo>
                    <a:lnTo>
                      <a:pt x="954" y="551"/>
                    </a:lnTo>
                    <a:lnTo>
                      <a:pt x="950" y="546"/>
                    </a:lnTo>
                    <a:lnTo>
                      <a:pt x="966" y="546"/>
                    </a:lnTo>
                    <a:lnTo>
                      <a:pt x="966" y="546"/>
                    </a:lnTo>
                    <a:lnTo>
                      <a:pt x="966" y="546"/>
                    </a:lnTo>
                    <a:close/>
                    <a:moveTo>
                      <a:pt x="2825" y="546"/>
                    </a:moveTo>
                    <a:lnTo>
                      <a:pt x="2927" y="555"/>
                    </a:lnTo>
                    <a:lnTo>
                      <a:pt x="2894" y="567"/>
                    </a:lnTo>
                    <a:lnTo>
                      <a:pt x="2872" y="567"/>
                    </a:lnTo>
                    <a:lnTo>
                      <a:pt x="2818" y="546"/>
                    </a:lnTo>
                    <a:lnTo>
                      <a:pt x="2825" y="546"/>
                    </a:lnTo>
                    <a:lnTo>
                      <a:pt x="2825" y="546"/>
                    </a:lnTo>
                    <a:lnTo>
                      <a:pt x="2825" y="546"/>
                    </a:lnTo>
                    <a:close/>
                    <a:moveTo>
                      <a:pt x="2046" y="551"/>
                    </a:moveTo>
                    <a:lnTo>
                      <a:pt x="2100" y="551"/>
                    </a:lnTo>
                    <a:lnTo>
                      <a:pt x="2105" y="551"/>
                    </a:lnTo>
                    <a:lnTo>
                      <a:pt x="2105" y="567"/>
                    </a:lnTo>
                    <a:lnTo>
                      <a:pt x="2079" y="567"/>
                    </a:lnTo>
                    <a:lnTo>
                      <a:pt x="2046" y="572"/>
                    </a:lnTo>
                    <a:lnTo>
                      <a:pt x="2036" y="555"/>
                    </a:lnTo>
                    <a:lnTo>
                      <a:pt x="2046" y="551"/>
                    </a:lnTo>
                    <a:lnTo>
                      <a:pt x="2046" y="551"/>
                    </a:lnTo>
                    <a:lnTo>
                      <a:pt x="2046" y="551"/>
                    </a:lnTo>
                    <a:close/>
                    <a:moveTo>
                      <a:pt x="2461" y="551"/>
                    </a:moveTo>
                    <a:lnTo>
                      <a:pt x="2469" y="555"/>
                    </a:lnTo>
                    <a:lnTo>
                      <a:pt x="2461" y="572"/>
                    </a:lnTo>
                    <a:lnTo>
                      <a:pt x="2445" y="572"/>
                    </a:lnTo>
                    <a:lnTo>
                      <a:pt x="2414" y="567"/>
                    </a:lnTo>
                    <a:lnTo>
                      <a:pt x="2461" y="551"/>
                    </a:lnTo>
                    <a:lnTo>
                      <a:pt x="2461" y="551"/>
                    </a:lnTo>
                    <a:lnTo>
                      <a:pt x="2461" y="551"/>
                    </a:lnTo>
                    <a:close/>
                    <a:moveTo>
                      <a:pt x="1961" y="555"/>
                    </a:moveTo>
                    <a:lnTo>
                      <a:pt x="1954" y="567"/>
                    </a:lnTo>
                    <a:lnTo>
                      <a:pt x="1954" y="555"/>
                    </a:lnTo>
                    <a:lnTo>
                      <a:pt x="1961" y="555"/>
                    </a:lnTo>
                    <a:lnTo>
                      <a:pt x="1961" y="555"/>
                    </a:lnTo>
                    <a:lnTo>
                      <a:pt x="1961" y="555"/>
                    </a:lnTo>
                    <a:close/>
                    <a:moveTo>
                      <a:pt x="2117" y="555"/>
                    </a:moveTo>
                    <a:lnTo>
                      <a:pt x="2187" y="555"/>
                    </a:lnTo>
                    <a:lnTo>
                      <a:pt x="2121" y="567"/>
                    </a:lnTo>
                    <a:lnTo>
                      <a:pt x="2105" y="567"/>
                    </a:lnTo>
                    <a:lnTo>
                      <a:pt x="2117" y="555"/>
                    </a:lnTo>
                    <a:lnTo>
                      <a:pt x="2117" y="555"/>
                    </a:lnTo>
                    <a:lnTo>
                      <a:pt x="2117" y="555"/>
                    </a:lnTo>
                    <a:close/>
                    <a:moveTo>
                      <a:pt x="2008" y="567"/>
                    </a:moveTo>
                    <a:lnTo>
                      <a:pt x="2008" y="572"/>
                    </a:lnTo>
                    <a:lnTo>
                      <a:pt x="1998" y="567"/>
                    </a:lnTo>
                    <a:lnTo>
                      <a:pt x="2008" y="567"/>
                    </a:lnTo>
                    <a:lnTo>
                      <a:pt x="2008" y="567"/>
                    </a:lnTo>
                    <a:lnTo>
                      <a:pt x="2008" y="567"/>
                    </a:lnTo>
                    <a:close/>
                    <a:moveTo>
                      <a:pt x="2154" y="572"/>
                    </a:moveTo>
                    <a:lnTo>
                      <a:pt x="2159" y="605"/>
                    </a:lnTo>
                    <a:lnTo>
                      <a:pt x="2143" y="584"/>
                    </a:lnTo>
                    <a:lnTo>
                      <a:pt x="2154" y="572"/>
                    </a:lnTo>
                    <a:lnTo>
                      <a:pt x="2154" y="572"/>
                    </a:lnTo>
                    <a:lnTo>
                      <a:pt x="2154" y="572"/>
                    </a:lnTo>
                    <a:close/>
                    <a:moveTo>
                      <a:pt x="324" y="600"/>
                    </a:moveTo>
                    <a:lnTo>
                      <a:pt x="302" y="589"/>
                    </a:lnTo>
                    <a:lnTo>
                      <a:pt x="302" y="572"/>
                    </a:lnTo>
                    <a:lnTo>
                      <a:pt x="307" y="572"/>
                    </a:lnTo>
                    <a:lnTo>
                      <a:pt x="324" y="600"/>
                    </a:lnTo>
                    <a:lnTo>
                      <a:pt x="324" y="600"/>
                    </a:lnTo>
                    <a:lnTo>
                      <a:pt x="324" y="600"/>
                    </a:lnTo>
                    <a:close/>
                    <a:moveTo>
                      <a:pt x="345" y="629"/>
                    </a:moveTo>
                    <a:lnTo>
                      <a:pt x="333" y="629"/>
                    </a:lnTo>
                    <a:lnTo>
                      <a:pt x="333" y="605"/>
                    </a:lnTo>
                    <a:lnTo>
                      <a:pt x="345" y="629"/>
                    </a:lnTo>
                    <a:lnTo>
                      <a:pt x="345" y="629"/>
                    </a:lnTo>
                    <a:lnTo>
                      <a:pt x="345" y="629"/>
                    </a:lnTo>
                    <a:close/>
                    <a:moveTo>
                      <a:pt x="862" y="629"/>
                    </a:moveTo>
                    <a:lnTo>
                      <a:pt x="874" y="612"/>
                    </a:lnTo>
                    <a:lnTo>
                      <a:pt x="879" y="612"/>
                    </a:lnTo>
                    <a:lnTo>
                      <a:pt x="900" y="612"/>
                    </a:lnTo>
                    <a:lnTo>
                      <a:pt x="917" y="638"/>
                    </a:lnTo>
                    <a:lnTo>
                      <a:pt x="900" y="662"/>
                    </a:lnTo>
                    <a:lnTo>
                      <a:pt x="895" y="662"/>
                    </a:lnTo>
                    <a:lnTo>
                      <a:pt x="891" y="645"/>
                    </a:lnTo>
                    <a:lnTo>
                      <a:pt x="879" y="655"/>
                    </a:lnTo>
                    <a:lnTo>
                      <a:pt x="862" y="662"/>
                    </a:lnTo>
                    <a:lnTo>
                      <a:pt x="862" y="629"/>
                    </a:lnTo>
                    <a:lnTo>
                      <a:pt x="862" y="629"/>
                    </a:lnTo>
                    <a:lnTo>
                      <a:pt x="862" y="629"/>
                    </a:lnTo>
                    <a:close/>
                    <a:moveTo>
                      <a:pt x="361" y="666"/>
                    </a:moveTo>
                    <a:lnTo>
                      <a:pt x="345" y="645"/>
                    </a:lnTo>
                    <a:lnTo>
                      <a:pt x="345" y="629"/>
                    </a:lnTo>
                    <a:lnTo>
                      <a:pt x="361" y="645"/>
                    </a:lnTo>
                    <a:lnTo>
                      <a:pt x="361" y="655"/>
                    </a:lnTo>
                    <a:lnTo>
                      <a:pt x="361" y="666"/>
                    </a:lnTo>
                    <a:lnTo>
                      <a:pt x="361" y="666"/>
                    </a:lnTo>
                    <a:lnTo>
                      <a:pt x="361" y="666"/>
                    </a:lnTo>
                    <a:close/>
                    <a:moveTo>
                      <a:pt x="2294" y="683"/>
                    </a:moveTo>
                    <a:lnTo>
                      <a:pt x="2284" y="662"/>
                    </a:lnTo>
                    <a:lnTo>
                      <a:pt x="2306" y="638"/>
                    </a:lnTo>
                    <a:lnTo>
                      <a:pt x="2360" y="638"/>
                    </a:lnTo>
                    <a:lnTo>
                      <a:pt x="2376" y="645"/>
                    </a:lnTo>
                    <a:lnTo>
                      <a:pt x="2407" y="629"/>
                    </a:lnTo>
                    <a:lnTo>
                      <a:pt x="2440" y="645"/>
                    </a:lnTo>
                    <a:lnTo>
                      <a:pt x="2461" y="645"/>
                    </a:lnTo>
                    <a:lnTo>
                      <a:pt x="2478" y="655"/>
                    </a:lnTo>
                    <a:lnTo>
                      <a:pt x="2485" y="666"/>
                    </a:lnTo>
                    <a:lnTo>
                      <a:pt x="2495" y="678"/>
                    </a:lnTo>
                    <a:lnTo>
                      <a:pt x="2499" y="683"/>
                    </a:lnTo>
                    <a:lnTo>
                      <a:pt x="2495" y="711"/>
                    </a:lnTo>
                    <a:lnTo>
                      <a:pt x="2440" y="678"/>
                    </a:lnTo>
                    <a:lnTo>
                      <a:pt x="2431" y="666"/>
                    </a:lnTo>
                    <a:lnTo>
                      <a:pt x="2402" y="666"/>
                    </a:lnTo>
                    <a:lnTo>
                      <a:pt x="2402" y="678"/>
                    </a:lnTo>
                    <a:lnTo>
                      <a:pt x="2360" y="666"/>
                    </a:lnTo>
                    <a:lnTo>
                      <a:pt x="2369" y="662"/>
                    </a:lnTo>
                    <a:lnTo>
                      <a:pt x="2360" y="662"/>
                    </a:lnTo>
                    <a:lnTo>
                      <a:pt x="2332" y="678"/>
                    </a:lnTo>
                    <a:lnTo>
                      <a:pt x="2306" y="655"/>
                    </a:lnTo>
                    <a:lnTo>
                      <a:pt x="2294" y="683"/>
                    </a:lnTo>
                    <a:lnTo>
                      <a:pt x="2294" y="683"/>
                    </a:lnTo>
                    <a:lnTo>
                      <a:pt x="2294" y="683"/>
                    </a:lnTo>
                    <a:close/>
                    <a:moveTo>
                      <a:pt x="858" y="629"/>
                    </a:moveTo>
                    <a:lnTo>
                      <a:pt x="858" y="638"/>
                    </a:lnTo>
                    <a:lnTo>
                      <a:pt x="848" y="638"/>
                    </a:lnTo>
                    <a:lnTo>
                      <a:pt x="858" y="629"/>
                    </a:lnTo>
                    <a:lnTo>
                      <a:pt x="858" y="629"/>
                    </a:lnTo>
                    <a:lnTo>
                      <a:pt x="858" y="629"/>
                    </a:lnTo>
                    <a:close/>
                    <a:moveTo>
                      <a:pt x="810" y="638"/>
                    </a:moveTo>
                    <a:lnTo>
                      <a:pt x="820" y="638"/>
                    </a:lnTo>
                    <a:lnTo>
                      <a:pt x="820" y="645"/>
                    </a:lnTo>
                    <a:lnTo>
                      <a:pt x="803" y="645"/>
                    </a:lnTo>
                    <a:lnTo>
                      <a:pt x="810" y="638"/>
                    </a:lnTo>
                    <a:lnTo>
                      <a:pt x="810" y="638"/>
                    </a:lnTo>
                    <a:lnTo>
                      <a:pt x="810" y="638"/>
                    </a:lnTo>
                    <a:close/>
                    <a:moveTo>
                      <a:pt x="2294" y="638"/>
                    </a:moveTo>
                    <a:lnTo>
                      <a:pt x="2294" y="645"/>
                    </a:lnTo>
                    <a:lnTo>
                      <a:pt x="2284" y="645"/>
                    </a:lnTo>
                    <a:lnTo>
                      <a:pt x="2294" y="638"/>
                    </a:lnTo>
                    <a:lnTo>
                      <a:pt x="2294" y="638"/>
                    </a:lnTo>
                    <a:lnTo>
                      <a:pt x="2294" y="638"/>
                    </a:lnTo>
                    <a:close/>
                    <a:moveTo>
                      <a:pt x="2171" y="655"/>
                    </a:moveTo>
                    <a:lnTo>
                      <a:pt x="2171" y="662"/>
                    </a:lnTo>
                    <a:lnTo>
                      <a:pt x="2187" y="655"/>
                    </a:lnTo>
                    <a:lnTo>
                      <a:pt x="2209" y="645"/>
                    </a:lnTo>
                    <a:lnTo>
                      <a:pt x="2230" y="655"/>
                    </a:lnTo>
                    <a:lnTo>
                      <a:pt x="2242" y="662"/>
                    </a:lnTo>
                    <a:lnTo>
                      <a:pt x="2230" y="666"/>
                    </a:lnTo>
                    <a:lnTo>
                      <a:pt x="2246" y="666"/>
                    </a:lnTo>
                    <a:lnTo>
                      <a:pt x="2246" y="695"/>
                    </a:lnTo>
                    <a:lnTo>
                      <a:pt x="2209" y="700"/>
                    </a:lnTo>
                    <a:lnTo>
                      <a:pt x="2192" y="700"/>
                    </a:lnTo>
                    <a:lnTo>
                      <a:pt x="2159" y="678"/>
                    </a:lnTo>
                    <a:lnTo>
                      <a:pt x="2159" y="662"/>
                    </a:lnTo>
                    <a:lnTo>
                      <a:pt x="2171" y="655"/>
                    </a:lnTo>
                    <a:lnTo>
                      <a:pt x="2171" y="655"/>
                    </a:lnTo>
                    <a:lnTo>
                      <a:pt x="2171" y="655"/>
                    </a:lnTo>
                    <a:close/>
                    <a:moveTo>
                      <a:pt x="2280" y="655"/>
                    </a:moveTo>
                    <a:lnTo>
                      <a:pt x="2284" y="662"/>
                    </a:lnTo>
                    <a:lnTo>
                      <a:pt x="2268" y="662"/>
                    </a:lnTo>
                    <a:lnTo>
                      <a:pt x="2280" y="655"/>
                    </a:lnTo>
                    <a:lnTo>
                      <a:pt x="2280" y="655"/>
                    </a:lnTo>
                    <a:lnTo>
                      <a:pt x="2280" y="655"/>
                    </a:lnTo>
                    <a:close/>
                    <a:moveTo>
                      <a:pt x="1474" y="662"/>
                    </a:moveTo>
                    <a:lnTo>
                      <a:pt x="1474" y="711"/>
                    </a:lnTo>
                    <a:lnTo>
                      <a:pt x="1458" y="716"/>
                    </a:lnTo>
                    <a:lnTo>
                      <a:pt x="1458" y="695"/>
                    </a:lnTo>
                    <a:lnTo>
                      <a:pt x="1469" y="666"/>
                    </a:lnTo>
                    <a:lnTo>
                      <a:pt x="1474" y="662"/>
                    </a:lnTo>
                    <a:lnTo>
                      <a:pt x="1474" y="662"/>
                    </a:lnTo>
                    <a:lnTo>
                      <a:pt x="1474" y="662"/>
                    </a:lnTo>
                    <a:close/>
                    <a:moveTo>
                      <a:pt x="2268" y="662"/>
                    </a:moveTo>
                    <a:lnTo>
                      <a:pt x="2268" y="666"/>
                    </a:lnTo>
                    <a:lnTo>
                      <a:pt x="2263" y="666"/>
                    </a:lnTo>
                    <a:lnTo>
                      <a:pt x="2268" y="662"/>
                    </a:lnTo>
                    <a:lnTo>
                      <a:pt x="2268" y="662"/>
                    </a:lnTo>
                    <a:lnTo>
                      <a:pt x="2268" y="662"/>
                    </a:lnTo>
                    <a:close/>
                    <a:moveTo>
                      <a:pt x="1484" y="678"/>
                    </a:moveTo>
                    <a:lnTo>
                      <a:pt x="1484" y="695"/>
                    </a:lnTo>
                    <a:lnTo>
                      <a:pt x="1474" y="683"/>
                    </a:lnTo>
                    <a:lnTo>
                      <a:pt x="1484" y="678"/>
                    </a:lnTo>
                    <a:lnTo>
                      <a:pt x="1484" y="678"/>
                    </a:lnTo>
                    <a:lnTo>
                      <a:pt x="1484" y="678"/>
                    </a:lnTo>
                    <a:close/>
                    <a:moveTo>
                      <a:pt x="2339" y="678"/>
                    </a:moveTo>
                    <a:lnTo>
                      <a:pt x="2348" y="678"/>
                    </a:lnTo>
                    <a:lnTo>
                      <a:pt x="2348" y="683"/>
                    </a:lnTo>
                    <a:lnTo>
                      <a:pt x="2339" y="695"/>
                    </a:lnTo>
                    <a:lnTo>
                      <a:pt x="2339" y="678"/>
                    </a:lnTo>
                    <a:lnTo>
                      <a:pt x="2339" y="678"/>
                    </a:lnTo>
                    <a:lnTo>
                      <a:pt x="2339" y="678"/>
                    </a:lnTo>
                    <a:close/>
                    <a:moveTo>
                      <a:pt x="2301" y="683"/>
                    </a:moveTo>
                    <a:lnTo>
                      <a:pt x="2322" y="683"/>
                    </a:lnTo>
                    <a:lnTo>
                      <a:pt x="2317" y="700"/>
                    </a:lnTo>
                    <a:lnTo>
                      <a:pt x="2306" y="700"/>
                    </a:lnTo>
                    <a:lnTo>
                      <a:pt x="2306" y="695"/>
                    </a:lnTo>
                    <a:lnTo>
                      <a:pt x="2294" y="700"/>
                    </a:lnTo>
                    <a:lnTo>
                      <a:pt x="2294" y="695"/>
                    </a:lnTo>
                    <a:lnTo>
                      <a:pt x="2301" y="683"/>
                    </a:lnTo>
                    <a:lnTo>
                      <a:pt x="2301" y="683"/>
                    </a:lnTo>
                    <a:lnTo>
                      <a:pt x="2301" y="683"/>
                    </a:lnTo>
                    <a:close/>
                    <a:moveTo>
                      <a:pt x="2332" y="683"/>
                    </a:moveTo>
                    <a:lnTo>
                      <a:pt x="2339" y="683"/>
                    </a:lnTo>
                    <a:lnTo>
                      <a:pt x="2322" y="695"/>
                    </a:lnTo>
                    <a:lnTo>
                      <a:pt x="2332" y="683"/>
                    </a:lnTo>
                    <a:lnTo>
                      <a:pt x="2332" y="683"/>
                    </a:lnTo>
                    <a:lnTo>
                      <a:pt x="2332" y="683"/>
                    </a:lnTo>
                    <a:close/>
                    <a:moveTo>
                      <a:pt x="1954" y="683"/>
                    </a:moveTo>
                    <a:lnTo>
                      <a:pt x="1961" y="683"/>
                    </a:lnTo>
                    <a:lnTo>
                      <a:pt x="1954" y="695"/>
                    </a:lnTo>
                    <a:lnTo>
                      <a:pt x="1954" y="683"/>
                    </a:lnTo>
                    <a:lnTo>
                      <a:pt x="1954" y="683"/>
                    </a:lnTo>
                    <a:lnTo>
                      <a:pt x="1954" y="683"/>
                    </a:lnTo>
                    <a:close/>
                    <a:moveTo>
                      <a:pt x="2246" y="700"/>
                    </a:moveTo>
                    <a:lnTo>
                      <a:pt x="2246" y="711"/>
                    </a:lnTo>
                    <a:lnTo>
                      <a:pt x="2242" y="711"/>
                    </a:lnTo>
                    <a:lnTo>
                      <a:pt x="2246" y="700"/>
                    </a:lnTo>
                    <a:lnTo>
                      <a:pt x="2246" y="700"/>
                    </a:lnTo>
                    <a:lnTo>
                      <a:pt x="2246" y="700"/>
                    </a:lnTo>
                    <a:close/>
                    <a:moveTo>
                      <a:pt x="2726" y="711"/>
                    </a:moveTo>
                    <a:lnTo>
                      <a:pt x="2733" y="716"/>
                    </a:lnTo>
                    <a:lnTo>
                      <a:pt x="2726" y="711"/>
                    </a:lnTo>
                    <a:lnTo>
                      <a:pt x="2726" y="711"/>
                    </a:lnTo>
                    <a:lnTo>
                      <a:pt x="2726" y="711"/>
                    </a:lnTo>
                    <a:close/>
                    <a:moveTo>
                      <a:pt x="1954" y="716"/>
                    </a:moveTo>
                    <a:lnTo>
                      <a:pt x="1970" y="723"/>
                    </a:lnTo>
                    <a:lnTo>
                      <a:pt x="1961" y="733"/>
                    </a:lnTo>
                    <a:lnTo>
                      <a:pt x="1944" y="723"/>
                    </a:lnTo>
                    <a:lnTo>
                      <a:pt x="1954" y="716"/>
                    </a:lnTo>
                    <a:lnTo>
                      <a:pt x="1954" y="716"/>
                    </a:lnTo>
                    <a:lnTo>
                      <a:pt x="1954" y="716"/>
                    </a:lnTo>
                    <a:close/>
                    <a:moveTo>
                      <a:pt x="2674" y="723"/>
                    </a:moveTo>
                    <a:lnTo>
                      <a:pt x="2695" y="740"/>
                    </a:lnTo>
                    <a:lnTo>
                      <a:pt x="2674" y="733"/>
                    </a:lnTo>
                    <a:lnTo>
                      <a:pt x="2674" y="723"/>
                    </a:lnTo>
                    <a:lnTo>
                      <a:pt x="2674" y="723"/>
                    </a:lnTo>
                    <a:lnTo>
                      <a:pt x="2674" y="723"/>
                    </a:lnTo>
                    <a:close/>
                    <a:moveTo>
                      <a:pt x="1954" y="749"/>
                    </a:moveTo>
                    <a:lnTo>
                      <a:pt x="1961" y="756"/>
                    </a:lnTo>
                    <a:lnTo>
                      <a:pt x="1961" y="778"/>
                    </a:lnTo>
                    <a:lnTo>
                      <a:pt x="1954" y="766"/>
                    </a:lnTo>
                    <a:lnTo>
                      <a:pt x="1954" y="773"/>
                    </a:lnTo>
                    <a:lnTo>
                      <a:pt x="1944" y="794"/>
                    </a:lnTo>
                    <a:lnTo>
                      <a:pt x="1961" y="811"/>
                    </a:lnTo>
                    <a:lnTo>
                      <a:pt x="1939" y="822"/>
                    </a:lnTo>
                    <a:lnTo>
                      <a:pt x="1939" y="834"/>
                    </a:lnTo>
                    <a:lnTo>
                      <a:pt x="1923" y="834"/>
                    </a:lnTo>
                    <a:lnTo>
                      <a:pt x="1916" y="827"/>
                    </a:lnTo>
                    <a:lnTo>
                      <a:pt x="1928" y="794"/>
                    </a:lnTo>
                    <a:lnTo>
                      <a:pt x="1939" y="756"/>
                    </a:lnTo>
                    <a:lnTo>
                      <a:pt x="1954" y="749"/>
                    </a:lnTo>
                    <a:lnTo>
                      <a:pt x="1954" y="749"/>
                    </a:lnTo>
                    <a:lnTo>
                      <a:pt x="1954" y="749"/>
                    </a:lnTo>
                    <a:close/>
                    <a:moveTo>
                      <a:pt x="1928" y="766"/>
                    </a:moveTo>
                    <a:lnTo>
                      <a:pt x="1928" y="789"/>
                    </a:lnTo>
                    <a:lnTo>
                      <a:pt x="1923" y="806"/>
                    </a:lnTo>
                    <a:lnTo>
                      <a:pt x="1923" y="811"/>
                    </a:lnTo>
                    <a:lnTo>
                      <a:pt x="1916" y="822"/>
                    </a:lnTo>
                    <a:lnTo>
                      <a:pt x="1902" y="822"/>
                    </a:lnTo>
                    <a:lnTo>
                      <a:pt x="1906" y="794"/>
                    </a:lnTo>
                    <a:lnTo>
                      <a:pt x="1902" y="778"/>
                    </a:lnTo>
                    <a:lnTo>
                      <a:pt x="1928" y="766"/>
                    </a:lnTo>
                    <a:lnTo>
                      <a:pt x="1928" y="766"/>
                    </a:lnTo>
                    <a:lnTo>
                      <a:pt x="1928" y="766"/>
                    </a:lnTo>
                    <a:close/>
                    <a:moveTo>
                      <a:pt x="1873" y="794"/>
                    </a:moveTo>
                    <a:lnTo>
                      <a:pt x="1885" y="822"/>
                    </a:lnTo>
                    <a:lnTo>
                      <a:pt x="1873" y="822"/>
                    </a:lnTo>
                    <a:lnTo>
                      <a:pt x="1864" y="811"/>
                    </a:lnTo>
                    <a:lnTo>
                      <a:pt x="1869" y="794"/>
                    </a:lnTo>
                    <a:lnTo>
                      <a:pt x="1873" y="794"/>
                    </a:lnTo>
                    <a:lnTo>
                      <a:pt x="1873" y="794"/>
                    </a:lnTo>
                    <a:lnTo>
                      <a:pt x="1873" y="794"/>
                    </a:lnTo>
                    <a:close/>
                    <a:moveTo>
                      <a:pt x="501" y="827"/>
                    </a:moveTo>
                    <a:lnTo>
                      <a:pt x="480" y="811"/>
                    </a:lnTo>
                    <a:lnTo>
                      <a:pt x="484" y="811"/>
                    </a:lnTo>
                    <a:lnTo>
                      <a:pt x="501" y="822"/>
                    </a:lnTo>
                    <a:lnTo>
                      <a:pt x="501" y="827"/>
                    </a:lnTo>
                    <a:lnTo>
                      <a:pt x="501" y="827"/>
                    </a:lnTo>
                    <a:lnTo>
                      <a:pt x="501" y="827"/>
                    </a:lnTo>
                    <a:close/>
                    <a:moveTo>
                      <a:pt x="2662" y="811"/>
                    </a:moveTo>
                    <a:lnTo>
                      <a:pt x="2658" y="834"/>
                    </a:lnTo>
                    <a:lnTo>
                      <a:pt x="2641" y="860"/>
                    </a:lnTo>
                    <a:lnTo>
                      <a:pt x="2658" y="811"/>
                    </a:lnTo>
                    <a:lnTo>
                      <a:pt x="2662" y="811"/>
                    </a:lnTo>
                    <a:lnTo>
                      <a:pt x="2662" y="811"/>
                    </a:lnTo>
                    <a:lnTo>
                      <a:pt x="2662" y="811"/>
                    </a:lnTo>
                    <a:close/>
                    <a:moveTo>
                      <a:pt x="2754" y="822"/>
                    </a:moveTo>
                    <a:lnTo>
                      <a:pt x="2764" y="827"/>
                    </a:lnTo>
                    <a:lnTo>
                      <a:pt x="2771" y="851"/>
                    </a:lnTo>
                    <a:lnTo>
                      <a:pt x="2771" y="860"/>
                    </a:lnTo>
                    <a:lnTo>
                      <a:pt x="2764" y="860"/>
                    </a:lnTo>
                    <a:lnTo>
                      <a:pt x="2738" y="860"/>
                    </a:lnTo>
                    <a:lnTo>
                      <a:pt x="2750" y="844"/>
                    </a:lnTo>
                    <a:lnTo>
                      <a:pt x="2733" y="844"/>
                    </a:lnTo>
                    <a:lnTo>
                      <a:pt x="2738" y="844"/>
                    </a:lnTo>
                    <a:lnTo>
                      <a:pt x="2754" y="822"/>
                    </a:lnTo>
                    <a:lnTo>
                      <a:pt x="2754" y="822"/>
                    </a:lnTo>
                    <a:lnTo>
                      <a:pt x="2754" y="822"/>
                    </a:lnTo>
                    <a:close/>
                    <a:moveTo>
                      <a:pt x="2629" y="834"/>
                    </a:moveTo>
                    <a:lnTo>
                      <a:pt x="2629" y="851"/>
                    </a:lnTo>
                    <a:lnTo>
                      <a:pt x="2629" y="860"/>
                    </a:lnTo>
                    <a:lnTo>
                      <a:pt x="2624" y="834"/>
                    </a:lnTo>
                    <a:lnTo>
                      <a:pt x="2629" y="834"/>
                    </a:lnTo>
                    <a:lnTo>
                      <a:pt x="2629" y="834"/>
                    </a:lnTo>
                    <a:lnTo>
                      <a:pt x="2629" y="834"/>
                    </a:lnTo>
                    <a:close/>
                    <a:moveTo>
                      <a:pt x="1226" y="844"/>
                    </a:moveTo>
                    <a:lnTo>
                      <a:pt x="1226" y="851"/>
                    </a:lnTo>
                    <a:lnTo>
                      <a:pt x="1219" y="851"/>
                    </a:lnTo>
                    <a:lnTo>
                      <a:pt x="1226" y="844"/>
                    </a:lnTo>
                    <a:lnTo>
                      <a:pt x="1226" y="844"/>
                    </a:lnTo>
                    <a:lnTo>
                      <a:pt x="1226" y="844"/>
                    </a:lnTo>
                    <a:close/>
                    <a:moveTo>
                      <a:pt x="1765" y="844"/>
                    </a:moveTo>
                    <a:lnTo>
                      <a:pt x="1776" y="867"/>
                    </a:lnTo>
                    <a:lnTo>
                      <a:pt x="1765" y="900"/>
                    </a:lnTo>
                    <a:lnTo>
                      <a:pt x="1765" y="844"/>
                    </a:lnTo>
                    <a:lnTo>
                      <a:pt x="1765" y="844"/>
                    </a:lnTo>
                    <a:lnTo>
                      <a:pt x="1765" y="844"/>
                    </a:lnTo>
                    <a:close/>
                    <a:moveTo>
                      <a:pt x="1361" y="1066"/>
                    </a:moveTo>
                    <a:lnTo>
                      <a:pt x="1332" y="1049"/>
                    </a:lnTo>
                    <a:lnTo>
                      <a:pt x="1323" y="1049"/>
                    </a:lnTo>
                    <a:lnTo>
                      <a:pt x="1295" y="1044"/>
                    </a:lnTo>
                    <a:lnTo>
                      <a:pt x="1257" y="1028"/>
                    </a:lnTo>
                    <a:lnTo>
                      <a:pt x="1219" y="1033"/>
                    </a:lnTo>
                    <a:lnTo>
                      <a:pt x="1160" y="1028"/>
                    </a:lnTo>
                    <a:lnTo>
                      <a:pt x="1150" y="1033"/>
                    </a:lnTo>
                    <a:lnTo>
                      <a:pt x="1080" y="1016"/>
                    </a:lnTo>
                    <a:lnTo>
                      <a:pt x="1037" y="995"/>
                    </a:lnTo>
                    <a:lnTo>
                      <a:pt x="987" y="988"/>
                    </a:lnTo>
                    <a:lnTo>
                      <a:pt x="966" y="988"/>
                    </a:lnTo>
                    <a:lnTo>
                      <a:pt x="954" y="978"/>
                    </a:lnTo>
                    <a:lnTo>
                      <a:pt x="933" y="988"/>
                    </a:lnTo>
                    <a:lnTo>
                      <a:pt x="928" y="995"/>
                    </a:lnTo>
                    <a:lnTo>
                      <a:pt x="900" y="995"/>
                    </a:lnTo>
                    <a:lnTo>
                      <a:pt x="858" y="971"/>
                    </a:lnTo>
                    <a:lnTo>
                      <a:pt x="777" y="962"/>
                    </a:lnTo>
                    <a:lnTo>
                      <a:pt x="777" y="955"/>
                    </a:lnTo>
                    <a:lnTo>
                      <a:pt x="794" y="938"/>
                    </a:lnTo>
                    <a:lnTo>
                      <a:pt x="787" y="933"/>
                    </a:lnTo>
                    <a:lnTo>
                      <a:pt x="777" y="933"/>
                    </a:lnTo>
                    <a:lnTo>
                      <a:pt x="756" y="922"/>
                    </a:lnTo>
                    <a:lnTo>
                      <a:pt x="718" y="922"/>
                    </a:lnTo>
                    <a:lnTo>
                      <a:pt x="702" y="917"/>
                    </a:lnTo>
                    <a:lnTo>
                      <a:pt x="718" y="922"/>
                    </a:lnTo>
                    <a:lnTo>
                      <a:pt x="723" y="905"/>
                    </a:lnTo>
                    <a:lnTo>
                      <a:pt x="723" y="900"/>
                    </a:lnTo>
                    <a:lnTo>
                      <a:pt x="739" y="889"/>
                    </a:lnTo>
                    <a:lnTo>
                      <a:pt x="739" y="867"/>
                    </a:lnTo>
                    <a:lnTo>
                      <a:pt x="756" y="851"/>
                    </a:lnTo>
                    <a:lnTo>
                      <a:pt x="765" y="860"/>
                    </a:lnTo>
                    <a:lnTo>
                      <a:pt x="773" y="860"/>
                    </a:lnTo>
                    <a:lnTo>
                      <a:pt x="787" y="867"/>
                    </a:lnTo>
                    <a:lnTo>
                      <a:pt x="803" y="860"/>
                    </a:lnTo>
                    <a:lnTo>
                      <a:pt x="810" y="867"/>
                    </a:lnTo>
                    <a:lnTo>
                      <a:pt x="824" y="867"/>
                    </a:lnTo>
                    <a:lnTo>
                      <a:pt x="824" y="851"/>
                    </a:lnTo>
                    <a:lnTo>
                      <a:pt x="848" y="860"/>
                    </a:lnTo>
                    <a:lnTo>
                      <a:pt x="874" y="884"/>
                    </a:lnTo>
                    <a:lnTo>
                      <a:pt x="891" y="877"/>
                    </a:lnTo>
                    <a:lnTo>
                      <a:pt x="900" y="884"/>
                    </a:lnTo>
                    <a:lnTo>
                      <a:pt x="917" y="884"/>
                    </a:lnTo>
                    <a:lnTo>
                      <a:pt x="933" y="900"/>
                    </a:lnTo>
                    <a:lnTo>
                      <a:pt x="933" y="917"/>
                    </a:lnTo>
                    <a:lnTo>
                      <a:pt x="983" y="922"/>
                    </a:lnTo>
                    <a:lnTo>
                      <a:pt x="1004" y="922"/>
                    </a:lnTo>
                    <a:lnTo>
                      <a:pt x="1063" y="933"/>
                    </a:lnTo>
                    <a:lnTo>
                      <a:pt x="1075" y="922"/>
                    </a:lnTo>
                    <a:lnTo>
                      <a:pt x="1089" y="889"/>
                    </a:lnTo>
                    <a:lnTo>
                      <a:pt x="1096" y="889"/>
                    </a:lnTo>
                    <a:lnTo>
                      <a:pt x="1113" y="889"/>
                    </a:lnTo>
                    <a:lnTo>
                      <a:pt x="1113" y="917"/>
                    </a:lnTo>
                    <a:lnTo>
                      <a:pt x="1134" y="917"/>
                    </a:lnTo>
                    <a:lnTo>
                      <a:pt x="1143" y="905"/>
                    </a:lnTo>
                    <a:lnTo>
                      <a:pt x="1160" y="917"/>
                    </a:lnTo>
                    <a:lnTo>
                      <a:pt x="1172" y="917"/>
                    </a:lnTo>
                    <a:lnTo>
                      <a:pt x="1181" y="933"/>
                    </a:lnTo>
                    <a:lnTo>
                      <a:pt x="1214" y="933"/>
                    </a:lnTo>
                    <a:lnTo>
                      <a:pt x="1219" y="945"/>
                    </a:lnTo>
                    <a:lnTo>
                      <a:pt x="1226" y="945"/>
                    </a:lnTo>
                    <a:lnTo>
                      <a:pt x="1235" y="955"/>
                    </a:lnTo>
                    <a:lnTo>
                      <a:pt x="1226" y="971"/>
                    </a:lnTo>
                    <a:lnTo>
                      <a:pt x="1257" y="988"/>
                    </a:lnTo>
                    <a:lnTo>
                      <a:pt x="1295" y="988"/>
                    </a:lnTo>
                    <a:lnTo>
                      <a:pt x="1323" y="978"/>
                    </a:lnTo>
                    <a:lnTo>
                      <a:pt x="1344" y="995"/>
                    </a:lnTo>
                    <a:lnTo>
                      <a:pt x="1344" y="1033"/>
                    </a:lnTo>
                    <a:lnTo>
                      <a:pt x="1349" y="1049"/>
                    </a:lnTo>
                    <a:lnTo>
                      <a:pt x="1361" y="1056"/>
                    </a:lnTo>
                    <a:lnTo>
                      <a:pt x="1361" y="1066"/>
                    </a:lnTo>
                    <a:lnTo>
                      <a:pt x="1361" y="1066"/>
                    </a:lnTo>
                    <a:lnTo>
                      <a:pt x="1361" y="1066"/>
                    </a:lnTo>
                    <a:close/>
                    <a:moveTo>
                      <a:pt x="2754" y="860"/>
                    </a:moveTo>
                    <a:lnTo>
                      <a:pt x="2764" y="860"/>
                    </a:lnTo>
                    <a:lnTo>
                      <a:pt x="2771" y="867"/>
                    </a:lnTo>
                    <a:lnTo>
                      <a:pt x="2771" y="884"/>
                    </a:lnTo>
                    <a:lnTo>
                      <a:pt x="2764" y="889"/>
                    </a:lnTo>
                    <a:lnTo>
                      <a:pt x="2738" y="867"/>
                    </a:lnTo>
                    <a:lnTo>
                      <a:pt x="2754" y="860"/>
                    </a:lnTo>
                    <a:lnTo>
                      <a:pt x="2754" y="860"/>
                    </a:lnTo>
                    <a:lnTo>
                      <a:pt x="2754" y="860"/>
                    </a:lnTo>
                    <a:close/>
                    <a:moveTo>
                      <a:pt x="2733" y="860"/>
                    </a:moveTo>
                    <a:lnTo>
                      <a:pt x="2733" y="867"/>
                    </a:lnTo>
                    <a:lnTo>
                      <a:pt x="2750" y="884"/>
                    </a:lnTo>
                    <a:lnTo>
                      <a:pt x="2738" y="884"/>
                    </a:lnTo>
                    <a:lnTo>
                      <a:pt x="2726" y="867"/>
                    </a:lnTo>
                    <a:lnTo>
                      <a:pt x="2726" y="860"/>
                    </a:lnTo>
                    <a:lnTo>
                      <a:pt x="2733" y="860"/>
                    </a:lnTo>
                    <a:lnTo>
                      <a:pt x="2733" y="860"/>
                    </a:lnTo>
                    <a:lnTo>
                      <a:pt x="2733" y="860"/>
                    </a:lnTo>
                    <a:close/>
                    <a:moveTo>
                      <a:pt x="2726" y="877"/>
                    </a:moveTo>
                    <a:lnTo>
                      <a:pt x="2754" y="905"/>
                    </a:lnTo>
                    <a:lnTo>
                      <a:pt x="2733" y="933"/>
                    </a:lnTo>
                    <a:lnTo>
                      <a:pt x="2726" y="917"/>
                    </a:lnTo>
                    <a:lnTo>
                      <a:pt x="2726" y="877"/>
                    </a:lnTo>
                    <a:lnTo>
                      <a:pt x="2726" y="877"/>
                    </a:lnTo>
                    <a:lnTo>
                      <a:pt x="2726" y="877"/>
                    </a:lnTo>
                    <a:close/>
                    <a:moveTo>
                      <a:pt x="2750" y="884"/>
                    </a:moveTo>
                    <a:lnTo>
                      <a:pt x="2764" y="889"/>
                    </a:lnTo>
                    <a:lnTo>
                      <a:pt x="2754" y="900"/>
                    </a:lnTo>
                    <a:lnTo>
                      <a:pt x="2738" y="889"/>
                    </a:lnTo>
                    <a:lnTo>
                      <a:pt x="2750" y="884"/>
                    </a:lnTo>
                    <a:lnTo>
                      <a:pt x="2750" y="884"/>
                    </a:lnTo>
                    <a:lnTo>
                      <a:pt x="2750" y="884"/>
                    </a:lnTo>
                    <a:close/>
                    <a:moveTo>
                      <a:pt x="2780" y="884"/>
                    </a:moveTo>
                    <a:lnTo>
                      <a:pt x="2780" y="900"/>
                    </a:lnTo>
                    <a:lnTo>
                      <a:pt x="2771" y="889"/>
                    </a:lnTo>
                    <a:lnTo>
                      <a:pt x="2780" y="884"/>
                    </a:lnTo>
                    <a:lnTo>
                      <a:pt x="2780" y="884"/>
                    </a:lnTo>
                    <a:lnTo>
                      <a:pt x="2780" y="884"/>
                    </a:lnTo>
                    <a:close/>
                    <a:moveTo>
                      <a:pt x="2764" y="889"/>
                    </a:moveTo>
                    <a:lnTo>
                      <a:pt x="2771" y="900"/>
                    </a:lnTo>
                    <a:lnTo>
                      <a:pt x="2764" y="900"/>
                    </a:lnTo>
                    <a:lnTo>
                      <a:pt x="2764" y="889"/>
                    </a:lnTo>
                    <a:lnTo>
                      <a:pt x="2764" y="889"/>
                    </a:lnTo>
                    <a:lnTo>
                      <a:pt x="2764" y="889"/>
                    </a:lnTo>
                    <a:close/>
                    <a:moveTo>
                      <a:pt x="702" y="900"/>
                    </a:moveTo>
                    <a:lnTo>
                      <a:pt x="697" y="905"/>
                    </a:lnTo>
                    <a:lnTo>
                      <a:pt x="702" y="900"/>
                    </a:lnTo>
                    <a:lnTo>
                      <a:pt x="702" y="900"/>
                    </a:lnTo>
                    <a:lnTo>
                      <a:pt x="702" y="900"/>
                    </a:lnTo>
                    <a:close/>
                    <a:moveTo>
                      <a:pt x="3040" y="917"/>
                    </a:moveTo>
                    <a:lnTo>
                      <a:pt x="3057" y="922"/>
                    </a:lnTo>
                    <a:lnTo>
                      <a:pt x="3052" y="922"/>
                    </a:lnTo>
                    <a:lnTo>
                      <a:pt x="3040" y="917"/>
                    </a:lnTo>
                    <a:lnTo>
                      <a:pt x="3040" y="917"/>
                    </a:lnTo>
                    <a:lnTo>
                      <a:pt x="3040" y="917"/>
                    </a:lnTo>
                    <a:close/>
                    <a:moveTo>
                      <a:pt x="1403" y="922"/>
                    </a:moveTo>
                    <a:lnTo>
                      <a:pt x="1432" y="933"/>
                    </a:lnTo>
                    <a:lnTo>
                      <a:pt x="1415" y="933"/>
                    </a:lnTo>
                    <a:lnTo>
                      <a:pt x="1403" y="933"/>
                    </a:lnTo>
                    <a:lnTo>
                      <a:pt x="1398" y="933"/>
                    </a:lnTo>
                    <a:lnTo>
                      <a:pt x="1403" y="922"/>
                    </a:lnTo>
                    <a:lnTo>
                      <a:pt x="1403" y="922"/>
                    </a:lnTo>
                    <a:lnTo>
                      <a:pt x="1403" y="922"/>
                    </a:lnTo>
                    <a:close/>
                    <a:moveTo>
                      <a:pt x="1243" y="922"/>
                    </a:moveTo>
                    <a:lnTo>
                      <a:pt x="1311" y="922"/>
                    </a:lnTo>
                    <a:lnTo>
                      <a:pt x="1328" y="933"/>
                    </a:lnTo>
                    <a:lnTo>
                      <a:pt x="1280" y="945"/>
                    </a:lnTo>
                    <a:lnTo>
                      <a:pt x="1226" y="945"/>
                    </a:lnTo>
                    <a:lnTo>
                      <a:pt x="1219" y="938"/>
                    </a:lnTo>
                    <a:lnTo>
                      <a:pt x="1243" y="922"/>
                    </a:lnTo>
                    <a:lnTo>
                      <a:pt x="1243" y="922"/>
                    </a:lnTo>
                    <a:lnTo>
                      <a:pt x="1243" y="922"/>
                    </a:lnTo>
                    <a:close/>
                    <a:moveTo>
                      <a:pt x="1781" y="938"/>
                    </a:moveTo>
                    <a:lnTo>
                      <a:pt x="1793" y="938"/>
                    </a:lnTo>
                    <a:lnTo>
                      <a:pt x="1793" y="945"/>
                    </a:lnTo>
                    <a:lnTo>
                      <a:pt x="1781" y="938"/>
                    </a:lnTo>
                    <a:lnTo>
                      <a:pt x="1781" y="938"/>
                    </a:lnTo>
                    <a:lnTo>
                      <a:pt x="1781" y="938"/>
                    </a:lnTo>
                    <a:close/>
                    <a:moveTo>
                      <a:pt x="1332" y="938"/>
                    </a:moveTo>
                    <a:lnTo>
                      <a:pt x="1344" y="945"/>
                    </a:lnTo>
                    <a:lnTo>
                      <a:pt x="1332" y="945"/>
                    </a:lnTo>
                    <a:lnTo>
                      <a:pt x="1332" y="938"/>
                    </a:lnTo>
                    <a:lnTo>
                      <a:pt x="1332" y="938"/>
                    </a:lnTo>
                    <a:lnTo>
                      <a:pt x="1332" y="938"/>
                    </a:lnTo>
                    <a:close/>
                    <a:moveTo>
                      <a:pt x="2339" y="938"/>
                    </a:moveTo>
                    <a:lnTo>
                      <a:pt x="2348" y="938"/>
                    </a:lnTo>
                    <a:lnTo>
                      <a:pt x="2339" y="945"/>
                    </a:lnTo>
                    <a:lnTo>
                      <a:pt x="2332" y="945"/>
                    </a:lnTo>
                    <a:lnTo>
                      <a:pt x="2339" y="938"/>
                    </a:lnTo>
                    <a:lnTo>
                      <a:pt x="2339" y="938"/>
                    </a:lnTo>
                    <a:lnTo>
                      <a:pt x="2339" y="938"/>
                    </a:lnTo>
                    <a:close/>
                    <a:moveTo>
                      <a:pt x="2565" y="938"/>
                    </a:moveTo>
                    <a:lnTo>
                      <a:pt x="2570" y="938"/>
                    </a:lnTo>
                    <a:lnTo>
                      <a:pt x="2575" y="955"/>
                    </a:lnTo>
                    <a:lnTo>
                      <a:pt x="2565" y="938"/>
                    </a:lnTo>
                    <a:lnTo>
                      <a:pt x="2565" y="938"/>
                    </a:lnTo>
                    <a:lnTo>
                      <a:pt x="2565" y="938"/>
                    </a:lnTo>
                    <a:close/>
                    <a:moveTo>
                      <a:pt x="2554" y="938"/>
                    </a:moveTo>
                    <a:lnTo>
                      <a:pt x="2565" y="945"/>
                    </a:lnTo>
                    <a:lnTo>
                      <a:pt x="2554" y="955"/>
                    </a:lnTo>
                    <a:lnTo>
                      <a:pt x="2554" y="978"/>
                    </a:lnTo>
                    <a:lnTo>
                      <a:pt x="2537" y="995"/>
                    </a:lnTo>
                    <a:lnTo>
                      <a:pt x="2532" y="1011"/>
                    </a:lnTo>
                    <a:lnTo>
                      <a:pt x="2516" y="1011"/>
                    </a:lnTo>
                    <a:lnTo>
                      <a:pt x="2516" y="995"/>
                    </a:lnTo>
                    <a:lnTo>
                      <a:pt x="2523" y="971"/>
                    </a:lnTo>
                    <a:lnTo>
                      <a:pt x="2554" y="938"/>
                    </a:lnTo>
                    <a:lnTo>
                      <a:pt x="2554" y="938"/>
                    </a:lnTo>
                    <a:lnTo>
                      <a:pt x="2554" y="938"/>
                    </a:lnTo>
                    <a:close/>
                    <a:moveTo>
                      <a:pt x="1814" y="955"/>
                    </a:moveTo>
                    <a:lnTo>
                      <a:pt x="1819" y="962"/>
                    </a:lnTo>
                    <a:lnTo>
                      <a:pt x="1814" y="962"/>
                    </a:lnTo>
                    <a:lnTo>
                      <a:pt x="1814" y="955"/>
                    </a:lnTo>
                    <a:lnTo>
                      <a:pt x="1814" y="955"/>
                    </a:lnTo>
                    <a:lnTo>
                      <a:pt x="1814" y="955"/>
                    </a:lnTo>
                    <a:close/>
                    <a:moveTo>
                      <a:pt x="1864" y="962"/>
                    </a:moveTo>
                    <a:lnTo>
                      <a:pt x="1869" y="962"/>
                    </a:lnTo>
                    <a:lnTo>
                      <a:pt x="1864" y="962"/>
                    </a:lnTo>
                    <a:lnTo>
                      <a:pt x="1864" y="962"/>
                    </a:lnTo>
                    <a:lnTo>
                      <a:pt x="1864" y="962"/>
                    </a:lnTo>
                    <a:close/>
                    <a:moveTo>
                      <a:pt x="3040" y="962"/>
                    </a:moveTo>
                    <a:lnTo>
                      <a:pt x="3057" y="962"/>
                    </a:lnTo>
                    <a:lnTo>
                      <a:pt x="3073" y="978"/>
                    </a:lnTo>
                    <a:lnTo>
                      <a:pt x="3057" y="1011"/>
                    </a:lnTo>
                    <a:lnTo>
                      <a:pt x="3024" y="1033"/>
                    </a:lnTo>
                    <a:lnTo>
                      <a:pt x="2986" y="1033"/>
                    </a:lnTo>
                    <a:lnTo>
                      <a:pt x="2969" y="1033"/>
                    </a:lnTo>
                    <a:lnTo>
                      <a:pt x="3002" y="978"/>
                    </a:lnTo>
                    <a:lnTo>
                      <a:pt x="3040" y="962"/>
                    </a:lnTo>
                    <a:lnTo>
                      <a:pt x="3040" y="962"/>
                    </a:lnTo>
                    <a:lnTo>
                      <a:pt x="3040" y="962"/>
                    </a:lnTo>
                    <a:close/>
                    <a:moveTo>
                      <a:pt x="2511" y="962"/>
                    </a:moveTo>
                    <a:lnTo>
                      <a:pt x="2523" y="962"/>
                    </a:lnTo>
                    <a:lnTo>
                      <a:pt x="2511" y="971"/>
                    </a:lnTo>
                    <a:lnTo>
                      <a:pt x="2511" y="962"/>
                    </a:lnTo>
                    <a:lnTo>
                      <a:pt x="2511" y="962"/>
                    </a:lnTo>
                    <a:lnTo>
                      <a:pt x="2511" y="962"/>
                    </a:lnTo>
                    <a:close/>
                    <a:moveTo>
                      <a:pt x="2251" y="971"/>
                    </a:moveTo>
                    <a:lnTo>
                      <a:pt x="2263" y="978"/>
                    </a:lnTo>
                    <a:lnTo>
                      <a:pt x="2251" y="978"/>
                    </a:lnTo>
                    <a:lnTo>
                      <a:pt x="2251" y="971"/>
                    </a:lnTo>
                    <a:lnTo>
                      <a:pt x="2251" y="971"/>
                    </a:lnTo>
                    <a:lnTo>
                      <a:pt x="2251" y="971"/>
                    </a:lnTo>
                    <a:close/>
                    <a:moveTo>
                      <a:pt x="2154" y="978"/>
                    </a:moveTo>
                    <a:lnTo>
                      <a:pt x="2171" y="988"/>
                    </a:lnTo>
                    <a:lnTo>
                      <a:pt x="2197" y="978"/>
                    </a:lnTo>
                    <a:lnTo>
                      <a:pt x="2213" y="988"/>
                    </a:lnTo>
                    <a:lnTo>
                      <a:pt x="2187" y="1000"/>
                    </a:lnTo>
                    <a:lnTo>
                      <a:pt x="2159" y="995"/>
                    </a:lnTo>
                    <a:lnTo>
                      <a:pt x="2138" y="1011"/>
                    </a:lnTo>
                    <a:lnTo>
                      <a:pt x="2154" y="978"/>
                    </a:lnTo>
                    <a:lnTo>
                      <a:pt x="2154" y="978"/>
                    </a:lnTo>
                    <a:lnTo>
                      <a:pt x="2154" y="978"/>
                    </a:lnTo>
                    <a:close/>
                    <a:moveTo>
                      <a:pt x="2407" y="995"/>
                    </a:moveTo>
                    <a:lnTo>
                      <a:pt x="2424" y="995"/>
                    </a:lnTo>
                    <a:lnTo>
                      <a:pt x="2424" y="1011"/>
                    </a:lnTo>
                    <a:lnTo>
                      <a:pt x="2407" y="1000"/>
                    </a:lnTo>
                    <a:lnTo>
                      <a:pt x="2407" y="995"/>
                    </a:lnTo>
                    <a:lnTo>
                      <a:pt x="2407" y="995"/>
                    </a:lnTo>
                    <a:lnTo>
                      <a:pt x="2407" y="995"/>
                    </a:lnTo>
                    <a:close/>
                    <a:moveTo>
                      <a:pt x="2242" y="1011"/>
                    </a:moveTo>
                    <a:lnTo>
                      <a:pt x="2246" y="1011"/>
                    </a:lnTo>
                    <a:lnTo>
                      <a:pt x="2242" y="1011"/>
                    </a:lnTo>
                    <a:lnTo>
                      <a:pt x="2242" y="1011"/>
                    </a:lnTo>
                    <a:lnTo>
                      <a:pt x="2242" y="1011"/>
                    </a:lnTo>
                    <a:close/>
                    <a:moveTo>
                      <a:pt x="1349" y="1011"/>
                    </a:moveTo>
                    <a:lnTo>
                      <a:pt x="1382" y="1016"/>
                    </a:lnTo>
                    <a:lnTo>
                      <a:pt x="1398" y="1011"/>
                    </a:lnTo>
                    <a:lnTo>
                      <a:pt x="1420" y="1016"/>
                    </a:lnTo>
                    <a:lnTo>
                      <a:pt x="1436" y="1033"/>
                    </a:lnTo>
                    <a:lnTo>
                      <a:pt x="1403" y="1049"/>
                    </a:lnTo>
                    <a:lnTo>
                      <a:pt x="1398" y="1056"/>
                    </a:lnTo>
                    <a:lnTo>
                      <a:pt x="1403" y="1066"/>
                    </a:lnTo>
                    <a:lnTo>
                      <a:pt x="1398" y="1066"/>
                    </a:lnTo>
                    <a:lnTo>
                      <a:pt x="1398" y="1056"/>
                    </a:lnTo>
                    <a:lnTo>
                      <a:pt x="1377" y="1044"/>
                    </a:lnTo>
                    <a:lnTo>
                      <a:pt x="1361" y="1033"/>
                    </a:lnTo>
                    <a:lnTo>
                      <a:pt x="1349" y="1016"/>
                    </a:lnTo>
                    <a:lnTo>
                      <a:pt x="1349" y="1011"/>
                    </a:lnTo>
                    <a:lnTo>
                      <a:pt x="1349" y="1011"/>
                    </a:lnTo>
                    <a:lnTo>
                      <a:pt x="1349" y="1011"/>
                    </a:lnTo>
                    <a:close/>
                    <a:moveTo>
                      <a:pt x="1722" y="1056"/>
                    </a:moveTo>
                    <a:lnTo>
                      <a:pt x="1722" y="1049"/>
                    </a:lnTo>
                    <a:lnTo>
                      <a:pt x="1755" y="1028"/>
                    </a:lnTo>
                    <a:lnTo>
                      <a:pt x="1798" y="1033"/>
                    </a:lnTo>
                    <a:lnTo>
                      <a:pt x="1847" y="1049"/>
                    </a:lnTo>
                    <a:lnTo>
                      <a:pt x="1852" y="1044"/>
                    </a:lnTo>
                    <a:lnTo>
                      <a:pt x="1873" y="1044"/>
                    </a:lnTo>
                    <a:lnTo>
                      <a:pt x="1902" y="1049"/>
                    </a:lnTo>
                    <a:lnTo>
                      <a:pt x="1906" y="1049"/>
                    </a:lnTo>
                    <a:lnTo>
                      <a:pt x="1923" y="1033"/>
                    </a:lnTo>
                    <a:lnTo>
                      <a:pt x="1939" y="1028"/>
                    </a:lnTo>
                    <a:lnTo>
                      <a:pt x="1944" y="1016"/>
                    </a:lnTo>
                    <a:lnTo>
                      <a:pt x="1928" y="1028"/>
                    </a:lnTo>
                    <a:lnTo>
                      <a:pt x="1939" y="1011"/>
                    </a:lnTo>
                    <a:lnTo>
                      <a:pt x="1944" y="1016"/>
                    </a:lnTo>
                    <a:lnTo>
                      <a:pt x="1944" y="1028"/>
                    </a:lnTo>
                    <a:lnTo>
                      <a:pt x="1928" y="1033"/>
                    </a:lnTo>
                    <a:lnTo>
                      <a:pt x="1939" y="1049"/>
                    </a:lnTo>
                    <a:lnTo>
                      <a:pt x="1864" y="1073"/>
                    </a:lnTo>
                    <a:lnTo>
                      <a:pt x="1835" y="1066"/>
                    </a:lnTo>
                    <a:lnTo>
                      <a:pt x="1831" y="1073"/>
                    </a:lnTo>
                    <a:lnTo>
                      <a:pt x="1809" y="1073"/>
                    </a:lnTo>
                    <a:lnTo>
                      <a:pt x="1776" y="1066"/>
                    </a:lnTo>
                    <a:lnTo>
                      <a:pt x="1727" y="1066"/>
                    </a:lnTo>
                    <a:lnTo>
                      <a:pt x="1722" y="1056"/>
                    </a:lnTo>
                    <a:lnTo>
                      <a:pt x="1722" y="1056"/>
                    </a:lnTo>
                    <a:lnTo>
                      <a:pt x="1722" y="1056"/>
                    </a:lnTo>
                    <a:close/>
                    <a:moveTo>
                      <a:pt x="1684" y="1056"/>
                    </a:moveTo>
                    <a:lnTo>
                      <a:pt x="1668" y="1066"/>
                    </a:lnTo>
                    <a:lnTo>
                      <a:pt x="1658" y="1056"/>
                    </a:lnTo>
                    <a:lnTo>
                      <a:pt x="1651" y="1056"/>
                    </a:lnTo>
                    <a:lnTo>
                      <a:pt x="1647" y="1056"/>
                    </a:lnTo>
                    <a:lnTo>
                      <a:pt x="1658" y="1066"/>
                    </a:lnTo>
                    <a:lnTo>
                      <a:pt x="1630" y="1066"/>
                    </a:lnTo>
                    <a:lnTo>
                      <a:pt x="1621" y="1066"/>
                    </a:lnTo>
                    <a:lnTo>
                      <a:pt x="1621" y="1049"/>
                    </a:lnTo>
                    <a:lnTo>
                      <a:pt x="1604" y="1066"/>
                    </a:lnTo>
                    <a:lnTo>
                      <a:pt x="1576" y="1073"/>
                    </a:lnTo>
                    <a:lnTo>
                      <a:pt x="1550" y="1082"/>
                    </a:lnTo>
                    <a:lnTo>
                      <a:pt x="1545" y="1082"/>
                    </a:lnTo>
                    <a:lnTo>
                      <a:pt x="1528" y="1089"/>
                    </a:lnTo>
                    <a:lnTo>
                      <a:pt x="1507" y="1073"/>
                    </a:lnTo>
                    <a:lnTo>
                      <a:pt x="1512" y="1049"/>
                    </a:lnTo>
                    <a:lnTo>
                      <a:pt x="1538" y="1033"/>
                    </a:lnTo>
                    <a:lnTo>
                      <a:pt x="1559" y="1044"/>
                    </a:lnTo>
                    <a:lnTo>
                      <a:pt x="1566" y="1033"/>
                    </a:lnTo>
                    <a:lnTo>
                      <a:pt x="1566" y="1044"/>
                    </a:lnTo>
                    <a:lnTo>
                      <a:pt x="1592" y="1056"/>
                    </a:lnTo>
                    <a:lnTo>
                      <a:pt x="1597" y="1056"/>
                    </a:lnTo>
                    <a:lnTo>
                      <a:pt x="1613" y="1056"/>
                    </a:lnTo>
                    <a:lnTo>
                      <a:pt x="1613" y="1049"/>
                    </a:lnTo>
                    <a:lnTo>
                      <a:pt x="1597" y="1044"/>
                    </a:lnTo>
                    <a:lnTo>
                      <a:pt x="1576" y="1028"/>
                    </a:lnTo>
                    <a:lnTo>
                      <a:pt x="1576" y="1016"/>
                    </a:lnTo>
                    <a:lnTo>
                      <a:pt x="1592" y="1011"/>
                    </a:lnTo>
                    <a:lnTo>
                      <a:pt x="1604" y="1016"/>
                    </a:lnTo>
                    <a:lnTo>
                      <a:pt x="1621" y="1033"/>
                    </a:lnTo>
                    <a:lnTo>
                      <a:pt x="1630" y="1028"/>
                    </a:lnTo>
                    <a:lnTo>
                      <a:pt x="1647" y="1028"/>
                    </a:lnTo>
                    <a:lnTo>
                      <a:pt x="1647" y="1049"/>
                    </a:lnTo>
                    <a:lnTo>
                      <a:pt x="1651" y="1028"/>
                    </a:lnTo>
                    <a:lnTo>
                      <a:pt x="1668" y="1028"/>
                    </a:lnTo>
                    <a:lnTo>
                      <a:pt x="1668" y="1049"/>
                    </a:lnTo>
                    <a:lnTo>
                      <a:pt x="1684" y="1056"/>
                    </a:lnTo>
                    <a:lnTo>
                      <a:pt x="1684" y="1056"/>
                    </a:lnTo>
                    <a:lnTo>
                      <a:pt x="1684" y="1056"/>
                    </a:lnTo>
                    <a:close/>
                    <a:moveTo>
                      <a:pt x="2495" y="1033"/>
                    </a:moveTo>
                    <a:lnTo>
                      <a:pt x="2511" y="1011"/>
                    </a:lnTo>
                    <a:lnTo>
                      <a:pt x="2523" y="1016"/>
                    </a:lnTo>
                    <a:lnTo>
                      <a:pt x="2495" y="1033"/>
                    </a:lnTo>
                    <a:lnTo>
                      <a:pt x="2495" y="1033"/>
                    </a:lnTo>
                    <a:lnTo>
                      <a:pt x="2495" y="1033"/>
                    </a:lnTo>
                    <a:close/>
                    <a:moveTo>
                      <a:pt x="2284" y="1011"/>
                    </a:moveTo>
                    <a:lnTo>
                      <a:pt x="2306" y="1016"/>
                    </a:lnTo>
                    <a:lnTo>
                      <a:pt x="2301" y="1028"/>
                    </a:lnTo>
                    <a:lnTo>
                      <a:pt x="2284" y="1016"/>
                    </a:lnTo>
                    <a:lnTo>
                      <a:pt x="2284" y="1011"/>
                    </a:lnTo>
                    <a:lnTo>
                      <a:pt x="2284" y="1011"/>
                    </a:lnTo>
                    <a:lnTo>
                      <a:pt x="2284" y="1011"/>
                    </a:lnTo>
                    <a:close/>
                    <a:moveTo>
                      <a:pt x="2053" y="1016"/>
                    </a:moveTo>
                    <a:lnTo>
                      <a:pt x="2091" y="1016"/>
                    </a:lnTo>
                    <a:lnTo>
                      <a:pt x="2100" y="1028"/>
                    </a:lnTo>
                    <a:lnTo>
                      <a:pt x="2046" y="1044"/>
                    </a:lnTo>
                    <a:lnTo>
                      <a:pt x="2053" y="1016"/>
                    </a:lnTo>
                    <a:lnTo>
                      <a:pt x="2053" y="1016"/>
                    </a:lnTo>
                    <a:lnTo>
                      <a:pt x="2053" y="1016"/>
                    </a:lnTo>
                    <a:close/>
                    <a:moveTo>
                      <a:pt x="1672" y="1016"/>
                    </a:moveTo>
                    <a:lnTo>
                      <a:pt x="1668" y="1028"/>
                    </a:lnTo>
                    <a:lnTo>
                      <a:pt x="1672" y="1016"/>
                    </a:lnTo>
                    <a:lnTo>
                      <a:pt x="1672" y="1016"/>
                    </a:lnTo>
                    <a:lnTo>
                      <a:pt x="1672" y="1016"/>
                    </a:lnTo>
                    <a:close/>
                    <a:moveTo>
                      <a:pt x="1566" y="1033"/>
                    </a:moveTo>
                    <a:lnTo>
                      <a:pt x="1559" y="1016"/>
                    </a:lnTo>
                    <a:lnTo>
                      <a:pt x="1576" y="1016"/>
                    </a:lnTo>
                    <a:lnTo>
                      <a:pt x="1566" y="1033"/>
                    </a:lnTo>
                    <a:lnTo>
                      <a:pt x="1566" y="1033"/>
                    </a:lnTo>
                    <a:lnTo>
                      <a:pt x="1566" y="1033"/>
                    </a:lnTo>
                    <a:close/>
                    <a:moveTo>
                      <a:pt x="2280" y="1016"/>
                    </a:moveTo>
                    <a:lnTo>
                      <a:pt x="2284" y="1016"/>
                    </a:lnTo>
                    <a:lnTo>
                      <a:pt x="2268" y="1028"/>
                    </a:lnTo>
                    <a:lnTo>
                      <a:pt x="2280" y="1016"/>
                    </a:lnTo>
                    <a:lnTo>
                      <a:pt x="2280" y="1016"/>
                    </a:lnTo>
                    <a:lnTo>
                      <a:pt x="2280" y="1016"/>
                    </a:lnTo>
                    <a:close/>
                    <a:moveTo>
                      <a:pt x="3057" y="1016"/>
                    </a:moveTo>
                    <a:lnTo>
                      <a:pt x="3061" y="1033"/>
                    </a:lnTo>
                    <a:lnTo>
                      <a:pt x="3040" y="1033"/>
                    </a:lnTo>
                    <a:lnTo>
                      <a:pt x="3052" y="1016"/>
                    </a:lnTo>
                    <a:lnTo>
                      <a:pt x="3057" y="1016"/>
                    </a:lnTo>
                    <a:lnTo>
                      <a:pt x="3057" y="1016"/>
                    </a:lnTo>
                    <a:lnTo>
                      <a:pt x="3057" y="1016"/>
                    </a:lnTo>
                    <a:close/>
                    <a:moveTo>
                      <a:pt x="2015" y="1033"/>
                    </a:moveTo>
                    <a:lnTo>
                      <a:pt x="2024" y="1033"/>
                    </a:lnTo>
                    <a:lnTo>
                      <a:pt x="2036" y="1016"/>
                    </a:lnTo>
                    <a:lnTo>
                      <a:pt x="2024" y="1049"/>
                    </a:lnTo>
                    <a:lnTo>
                      <a:pt x="2015" y="1033"/>
                    </a:lnTo>
                    <a:lnTo>
                      <a:pt x="2008" y="1044"/>
                    </a:lnTo>
                    <a:lnTo>
                      <a:pt x="2015" y="1033"/>
                    </a:lnTo>
                    <a:lnTo>
                      <a:pt x="2015" y="1033"/>
                    </a:lnTo>
                    <a:lnTo>
                      <a:pt x="2015" y="1033"/>
                    </a:lnTo>
                    <a:close/>
                    <a:moveTo>
                      <a:pt x="1977" y="1049"/>
                    </a:moveTo>
                    <a:lnTo>
                      <a:pt x="1961" y="1044"/>
                    </a:lnTo>
                    <a:lnTo>
                      <a:pt x="1982" y="1033"/>
                    </a:lnTo>
                    <a:lnTo>
                      <a:pt x="1970" y="1028"/>
                    </a:lnTo>
                    <a:lnTo>
                      <a:pt x="1977" y="1028"/>
                    </a:lnTo>
                    <a:lnTo>
                      <a:pt x="1982" y="1028"/>
                    </a:lnTo>
                    <a:lnTo>
                      <a:pt x="1991" y="1033"/>
                    </a:lnTo>
                    <a:lnTo>
                      <a:pt x="1998" y="1016"/>
                    </a:lnTo>
                    <a:lnTo>
                      <a:pt x="2015" y="1028"/>
                    </a:lnTo>
                    <a:lnTo>
                      <a:pt x="1977" y="1049"/>
                    </a:lnTo>
                    <a:lnTo>
                      <a:pt x="1977" y="1049"/>
                    </a:lnTo>
                    <a:lnTo>
                      <a:pt x="1977" y="1049"/>
                    </a:lnTo>
                    <a:close/>
                    <a:moveTo>
                      <a:pt x="2306" y="1016"/>
                    </a:moveTo>
                    <a:lnTo>
                      <a:pt x="2317" y="1028"/>
                    </a:lnTo>
                    <a:lnTo>
                      <a:pt x="2306" y="1028"/>
                    </a:lnTo>
                    <a:lnTo>
                      <a:pt x="2306" y="1016"/>
                    </a:lnTo>
                    <a:lnTo>
                      <a:pt x="2306" y="1016"/>
                    </a:lnTo>
                    <a:lnTo>
                      <a:pt x="2306" y="1016"/>
                    </a:lnTo>
                    <a:close/>
                    <a:moveTo>
                      <a:pt x="1484" y="1016"/>
                    </a:moveTo>
                    <a:lnTo>
                      <a:pt x="1507" y="1033"/>
                    </a:lnTo>
                    <a:lnTo>
                      <a:pt x="1495" y="1066"/>
                    </a:lnTo>
                    <a:lnTo>
                      <a:pt x="1495" y="1073"/>
                    </a:lnTo>
                    <a:lnTo>
                      <a:pt x="1491" y="1073"/>
                    </a:lnTo>
                    <a:lnTo>
                      <a:pt x="1491" y="1066"/>
                    </a:lnTo>
                    <a:lnTo>
                      <a:pt x="1469" y="1073"/>
                    </a:lnTo>
                    <a:lnTo>
                      <a:pt x="1441" y="1066"/>
                    </a:lnTo>
                    <a:lnTo>
                      <a:pt x="1441" y="1056"/>
                    </a:lnTo>
                    <a:lnTo>
                      <a:pt x="1458" y="1056"/>
                    </a:lnTo>
                    <a:lnTo>
                      <a:pt x="1458" y="1033"/>
                    </a:lnTo>
                    <a:lnTo>
                      <a:pt x="1484" y="1016"/>
                    </a:lnTo>
                    <a:lnTo>
                      <a:pt x="1484" y="1016"/>
                    </a:lnTo>
                    <a:lnTo>
                      <a:pt x="1484" y="1016"/>
                    </a:lnTo>
                    <a:close/>
                    <a:moveTo>
                      <a:pt x="1954" y="1028"/>
                    </a:moveTo>
                    <a:lnTo>
                      <a:pt x="1970" y="1028"/>
                    </a:lnTo>
                    <a:lnTo>
                      <a:pt x="1970" y="1033"/>
                    </a:lnTo>
                    <a:lnTo>
                      <a:pt x="1944" y="1033"/>
                    </a:lnTo>
                    <a:lnTo>
                      <a:pt x="1954" y="1028"/>
                    </a:lnTo>
                    <a:lnTo>
                      <a:pt x="1954" y="1028"/>
                    </a:lnTo>
                    <a:lnTo>
                      <a:pt x="1954" y="1028"/>
                    </a:lnTo>
                    <a:close/>
                    <a:moveTo>
                      <a:pt x="2024" y="1106"/>
                    </a:moveTo>
                    <a:lnTo>
                      <a:pt x="2062" y="1089"/>
                    </a:lnTo>
                    <a:lnTo>
                      <a:pt x="2084" y="1073"/>
                    </a:lnTo>
                    <a:lnTo>
                      <a:pt x="2100" y="1049"/>
                    </a:lnTo>
                    <a:lnTo>
                      <a:pt x="2187" y="1033"/>
                    </a:lnTo>
                    <a:lnTo>
                      <a:pt x="2197" y="1044"/>
                    </a:lnTo>
                    <a:lnTo>
                      <a:pt x="2230" y="1028"/>
                    </a:lnTo>
                    <a:lnTo>
                      <a:pt x="2246" y="1033"/>
                    </a:lnTo>
                    <a:lnTo>
                      <a:pt x="2230" y="1056"/>
                    </a:lnTo>
                    <a:lnTo>
                      <a:pt x="2197" y="1066"/>
                    </a:lnTo>
                    <a:lnTo>
                      <a:pt x="2192" y="1073"/>
                    </a:lnTo>
                    <a:lnTo>
                      <a:pt x="2171" y="1082"/>
                    </a:lnTo>
                    <a:lnTo>
                      <a:pt x="2117" y="1099"/>
                    </a:lnTo>
                    <a:lnTo>
                      <a:pt x="2091" y="1111"/>
                    </a:lnTo>
                    <a:lnTo>
                      <a:pt x="2084" y="1127"/>
                    </a:lnTo>
                    <a:lnTo>
                      <a:pt x="2046" y="1160"/>
                    </a:lnTo>
                    <a:lnTo>
                      <a:pt x="2024" y="1160"/>
                    </a:lnTo>
                    <a:lnTo>
                      <a:pt x="2008" y="1177"/>
                    </a:lnTo>
                    <a:lnTo>
                      <a:pt x="1982" y="1177"/>
                    </a:lnTo>
                    <a:lnTo>
                      <a:pt x="1982" y="1165"/>
                    </a:lnTo>
                    <a:lnTo>
                      <a:pt x="1998" y="1160"/>
                    </a:lnTo>
                    <a:lnTo>
                      <a:pt x="1982" y="1155"/>
                    </a:lnTo>
                    <a:lnTo>
                      <a:pt x="1991" y="1127"/>
                    </a:lnTo>
                    <a:lnTo>
                      <a:pt x="2024" y="1106"/>
                    </a:lnTo>
                    <a:lnTo>
                      <a:pt x="2024" y="1106"/>
                    </a:lnTo>
                    <a:lnTo>
                      <a:pt x="2024" y="1106"/>
                    </a:lnTo>
                    <a:close/>
                    <a:moveTo>
                      <a:pt x="1701" y="1033"/>
                    </a:moveTo>
                    <a:lnTo>
                      <a:pt x="1706" y="1049"/>
                    </a:lnTo>
                    <a:lnTo>
                      <a:pt x="1701" y="1049"/>
                    </a:lnTo>
                    <a:lnTo>
                      <a:pt x="1701" y="1056"/>
                    </a:lnTo>
                    <a:lnTo>
                      <a:pt x="1689" y="1056"/>
                    </a:lnTo>
                    <a:lnTo>
                      <a:pt x="1701" y="1033"/>
                    </a:lnTo>
                    <a:lnTo>
                      <a:pt x="1701" y="1033"/>
                    </a:lnTo>
                    <a:lnTo>
                      <a:pt x="1701" y="1033"/>
                    </a:lnTo>
                    <a:close/>
                    <a:moveTo>
                      <a:pt x="1944" y="1049"/>
                    </a:moveTo>
                    <a:lnTo>
                      <a:pt x="1944" y="1044"/>
                    </a:lnTo>
                    <a:lnTo>
                      <a:pt x="1961" y="1044"/>
                    </a:lnTo>
                    <a:lnTo>
                      <a:pt x="1944" y="1049"/>
                    </a:lnTo>
                    <a:lnTo>
                      <a:pt x="1944" y="1049"/>
                    </a:lnTo>
                    <a:lnTo>
                      <a:pt x="1944" y="1049"/>
                    </a:lnTo>
                    <a:close/>
                    <a:moveTo>
                      <a:pt x="1269" y="1044"/>
                    </a:moveTo>
                    <a:lnTo>
                      <a:pt x="1269" y="1033"/>
                    </a:lnTo>
                    <a:lnTo>
                      <a:pt x="1273" y="1044"/>
                    </a:lnTo>
                    <a:lnTo>
                      <a:pt x="1269" y="1044"/>
                    </a:lnTo>
                    <a:lnTo>
                      <a:pt x="1269" y="1044"/>
                    </a:lnTo>
                    <a:lnTo>
                      <a:pt x="1269" y="1044"/>
                    </a:lnTo>
                    <a:close/>
                    <a:moveTo>
                      <a:pt x="1710" y="1056"/>
                    </a:moveTo>
                    <a:lnTo>
                      <a:pt x="1710" y="1066"/>
                    </a:lnTo>
                    <a:lnTo>
                      <a:pt x="1706" y="1066"/>
                    </a:lnTo>
                    <a:lnTo>
                      <a:pt x="1710" y="1049"/>
                    </a:lnTo>
                    <a:lnTo>
                      <a:pt x="1710" y="1056"/>
                    </a:lnTo>
                    <a:lnTo>
                      <a:pt x="1710" y="1056"/>
                    </a:lnTo>
                    <a:lnTo>
                      <a:pt x="1710" y="1056"/>
                    </a:lnTo>
                    <a:close/>
                    <a:moveTo>
                      <a:pt x="1432" y="1066"/>
                    </a:moveTo>
                    <a:lnTo>
                      <a:pt x="1420" y="1056"/>
                    </a:lnTo>
                    <a:lnTo>
                      <a:pt x="1432" y="1056"/>
                    </a:lnTo>
                    <a:lnTo>
                      <a:pt x="1432" y="1066"/>
                    </a:lnTo>
                    <a:lnTo>
                      <a:pt x="1432" y="1066"/>
                    </a:lnTo>
                    <a:lnTo>
                      <a:pt x="1432" y="1066"/>
                    </a:lnTo>
                    <a:close/>
                    <a:moveTo>
                      <a:pt x="1684" y="1139"/>
                    </a:moveTo>
                    <a:lnTo>
                      <a:pt x="1658" y="1122"/>
                    </a:lnTo>
                    <a:lnTo>
                      <a:pt x="1668" y="1111"/>
                    </a:lnTo>
                    <a:lnTo>
                      <a:pt x="1684" y="1106"/>
                    </a:lnTo>
                    <a:lnTo>
                      <a:pt x="1722" y="1106"/>
                    </a:lnTo>
                    <a:lnTo>
                      <a:pt x="1727" y="1099"/>
                    </a:lnTo>
                    <a:lnTo>
                      <a:pt x="1755" y="1111"/>
                    </a:lnTo>
                    <a:lnTo>
                      <a:pt x="1755" y="1127"/>
                    </a:lnTo>
                    <a:lnTo>
                      <a:pt x="1765" y="1122"/>
                    </a:lnTo>
                    <a:lnTo>
                      <a:pt x="1776" y="1127"/>
                    </a:lnTo>
                    <a:lnTo>
                      <a:pt x="1798" y="1160"/>
                    </a:lnTo>
                    <a:lnTo>
                      <a:pt x="1781" y="1165"/>
                    </a:lnTo>
                    <a:lnTo>
                      <a:pt x="1755" y="1165"/>
                    </a:lnTo>
                    <a:lnTo>
                      <a:pt x="1710" y="1139"/>
                    </a:lnTo>
                    <a:lnTo>
                      <a:pt x="1684" y="1139"/>
                    </a:lnTo>
                    <a:lnTo>
                      <a:pt x="1684" y="1139"/>
                    </a:lnTo>
                    <a:lnTo>
                      <a:pt x="1684" y="1139"/>
                    </a:lnTo>
                    <a:close/>
                    <a:moveTo>
                      <a:pt x="1977" y="1160"/>
                    </a:moveTo>
                    <a:lnTo>
                      <a:pt x="1982" y="1165"/>
                    </a:lnTo>
                    <a:lnTo>
                      <a:pt x="1970" y="1177"/>
                    </a:lnTo>
                    <a:lnTo>
                      <a:pt x="1977" y="1160"/>
                    </a:lnTo>
                    <a:lnTo>
                      <a:pt x="1977" y="1160"/>
                    </a:lnTo>
                    <a:lnTo>
                      <a:pt x="1977" y="1160"/>
                    </a:lnTo>
                    <a:close/>
                    <a:moveTo>
                      <a:pt x="1864" y="1193"/>
                    </a:moveTo>
                    <a:lnTo>
                      <a:pt x="1869" y="1181"/>
                    </a:lnTo>
                    <a:lnTo>
                      <a:pt x="1873" y="1181"/>
                    </a:lnTo>
                    <a:lnTo>
                      <a:pt x="1869" y="1193"/>
                    </a:lnTo>
                    <a:lnTo>
                      <a:pt x="1864" y="1193"/>
                    </a:lnTo>
                    <a:lnTo>
                      <a:pt x="1864" y="1193"/>
                    </a:lnTo>
                    <a:lnTo>
                      <a:pt x="1864" y="1193"/>
                    </a:lnTo>
                    <a:close/>
                    <a:moveTo>
                      <a:pt x="1939" y="1210"/>
                    </a:moveTo>
                    <a:lnTo>
                      <a:pt x="1977" y="1181"/>
                    </a:lnTo>
                    <a:lnTo>
                      <a:pt x="1977" y="1200"/>
                    </a:lnTo>
                    <a:lnTo>
                      <a:pt x="1961" y="1210"/>
                    </a:lnTo>
                    <a:lnTo>
                      <a:pt x="1939" y="1217"/>
                    </a:lnTo>
                    <a:lnTo>
                      <a:pt x="1939" y="1210"/>
                    </a:lnTo>
                    <a:lnTo>
                      <a:pt x="1939" y="1210"/>
                    </a:lnTo>
                    <a:lnTo>
                      <a:pt x="1939" y="121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9" name="Freeform 469">
                <a:extLst>
                  <a:ext uri="{FF2B5EF4-FFF2-40B4-BE49-F238E27FC236}">
                    <a16:creationId xmlns:a16="http://schemas.microsoft.com/office/drawing/2014/main" id="{335732C3-7F8E-43C1-A78F-491834944335}"/>
                  </a:ext>
                </a:extLst>
              </p:cNvPr>
              <p:cNvSpPr>
                <a:spLocks noEditPoints="1"/>
              </p:cNvSpPr>
              <p:nvPr/>
            </p:nvSpPr>
            <p:spPr bwMode="gray">
              <a:xfrm>
                <a:off x="8691549" y="2966603"/>
                <a:ext cx="843924" cy="897542"/>
              </a:xfrm>
              <a:custGeom>
                <a:avLst/>
                <a:gdLst>
                  <a:gd name="T0" fmla="*/ 1634 w 2050"/>
                  <a:gd name="T1" fmla="*/ 959 h 2180"/>
                  <a:gd name="T2" fmla="*/ 1701 w 2050"/>
                  <a:gd name="T3" fmla="*/ 839 h 2180"/>
                  <a:gd name="T4" fmla="*/ 1507 w 2050"/>
                  <a:gd name="T5" fmla="*/ 756 h 2180"/>
                  <a:gd name="T6" fmla="*/ 1419 w 2050"/>
                  <a:gd name="T7" fmla="*/ 711 h 2180"/>
                  <a:gd name="T8" fmla="*/ 1469 w 2050"/>
                  <a:gd name="T9" fmla="*/ 810 h 2180"/>
                  <a:gd name="T10" fmla="*/ 1441 w 2050"/>
                  <a:gd name="T11" fmla="*/ 876 h 2180"/>
                  <a:gd name="T12" fmla="*/ 1474 w 2050"/>
                  <a:gd name="T13" fmla="*/ 1049 h 2180"/>
                  <a:gd name="T14" fmla="*/ 1431 w 2050"/>
                  <a:gd name="T15" fmla="*/ 1094 h 2180"/>
                  <a:gd name="T16" fmla="*/ 1386 w 2050"/>
                  <a:gd name="T17" fmla="*/ 1020 h 2180"/>
                  <a:gd name="T18" fmla="*/ 1327 w 2050"/>
                  <a:gd name="T19" fmla="*/ 1160 h 2180"/>
                  <a:gd name="T20" fmla="*/ 1219 w 2050"/>
                  <a:gd name="T21" fmla="*/ 1238 h 2180"/>
                  <a:gd name="T22" fmla="*/ 1171 w 2050"/>
                  <a:gd name="T23" fmla="*/ 1276 h 2180"/>
                  <a:gd name="T24" fmla="*/ 954 w 2050"/>
                  <a:gd name="T25" fmla="*/ 1481 h 2180"/>
                  <a:gd name="T26" fmla="*/ 848 w 2050"/>
                  <a:gd name="T27" fmla="*/ 1609 h 2180"/>
                  <a:gd name="T28" fmla="*/ 827 w 2050"/>
                  <a:gd name="T29" fmla="*/ 1864 h 2180"/>
                  <a:gd name="T30" fmla="*/ 765 w 2050"/>
                  <a:gd name="T31" fmla="*/ 1998 h 2180"/>
                  <a:gd name="T32" fmla="*/ 593 w 2050"/>
                  <a:gd name="T33" fmla="*/ 2020 h 2180"/>
                  <a:gd name="T34" fmla="*/ 534 w 2050"/>
                  <a:gd name="T35" fmla="*/ 1835 h 2180"/>
                  <a:gd name="T36" fmla="*/ 404 w 2050"/>
                  <a:gd name="T37" fmla="*/ 1547 h 2180"/>
                  <a:gd name="T38" fmla="*/ 340 w 2050"/>
                  <a:gd name="T39" fmla="*/ 1292 h 2180"/>
                  <a:gd name="T40" fmla="*/ 340 w 2050"/>
                  <a:gd name="T41" fmla="*/ 1148 h 2180"/>
                  <a:gd name="T42" fmla="*/ 356 w 2050"/>
                  <a:gd name="T43" fmla="*/ 1077 h 2180"/>
                  <a:gd name="T44" fmla="*/ 286 w 2050"/>
                  <a:gd name="T45" fmla="*/ 1037 h 2180"/>
                  <a:gd name="T46" fmla="*/ 297 w 2050"/>
                  <a:gd name="T47" fmla="*/ 1087 h 2180"/>
                  <a:gd name="T48" fmla="*/ 172 w 2050"/>
                  <a:gd name="T49" fmla="*/ 983 h 2180"/>
                  <a:gd name="T50" fmla="*/ 26 w 2050"/>
                  <a:gd name="T51" fmla="*/ 933 h 2180"/>
                  <a:gd name="T52" fmla="*/ 64 w 2050"/>
                  <a:gd name="T53" fmla="*/ 888 h 2180"/>
                  <a:gd name="T54" fmla="*/ 198 w 2050"/>
                  <a:gd name="T55" fmla="*/ 872 h 2180"/>
                  <a:gd name="T56" fmla="*/ 125 w 2050"/>
                  <a:gd name="T57" fmla="*/ 704 h 2180"/>
                  <a:gd name="T58" fmla="*/ 286 w 2050"/>
                  <a:gd name="T59" fmla="*/ 560 h 2180"/>
                  <a:gd name="T60" fmla="*/ 458 w 2050"/>
                  <a:gd name="T61" fmla="*/ 354 h 2180"/>
                  <a:gd name="T62" fmla="*/ 486 w 2050"/>
                  <a:gd name="T63" fmla="*/ 243 h 2180"/>
                  <a:gd name="T64" fmla="*/ 411 w 2050"/>
                  <a:gd name="T65" fmla="*/ 111 h 2180"/>
                  <a:gd name="T66" fmla="*/ 621 w 2050"/>
                  <a:gd name="T67" fmla="*/ 61 h 2180"/>
                  <a:gd name="T68" fmla="*/ 751 w 2050"/>
                  <a:gd name="T69" fmla="*/ 111 h 2180"/>
                  <a:gd name="T70" fmla="*/ 751 w 2050"/>
                  <a:gd name="T71" fmla="*/ 243 h 2180"/>
                  <a:gd name="T72" fmla="*/ 756 w 2050"/>
                  <a:gd name="T73" fmla="*/ 338 h 2180"/>
                  <a:gd name="T74" fmla="*/ 864 w 2050"/>
                  <a:gd name="T75" fmla="*/ 477 h 2180"/>
                  <a:gd name="T76" fmla="*/ 982 w 2050"/>
                  <a:gd name="T77" fmla="*/ 600 h 2180"/>
                  <a:gd name="T78" fmla="*/ 1129 w 2050"/>
                  <a:gd name="T79" fmla="*/ 633 h 2180"/>
                  <a:gd name="T80" fmla="*/ 1327 w 2050"/>
                  <a:gd name="T81" fmla="*/ 711 h 2180"/>
                  <a:gd name="T82" fmla="*/ 1403 w 2050"/>
                  <a:gd name="T83" fmla="*/ 600 h 2180"/>
                  <a:gd name="T84" fmla="*/ 1474 w 2050"/>
                  <a:gd name="T85" fmla="*/ 687 h 2180"/>
                  <a:gd name="T86" fmla="*/ 1684 w 2050"/>
                  <a:gd name="T87" fmla="*/ 683 h 2180"/>
                  <a:gd name="T88" fmla="*/ 1710 w 2050"/>
                  <a:gd name="T89" fmla="*/ 609 h 2180"/>
                  <a:gd name="T90" fmla="*/ 1916 w 2050"/>
                  <a:gd name="T91" fmla="*/ 517 h 2180"/>
                  <a:gd name="T92" fmla="*/ 1982 w 2050"/>
                  <a:gd name="T93" fmla="*/ 555 h 2180"/>
                  <a:gd name="T94" fmla="*/ 2024 w 2050"/>
                  <a:gd name="T95" fmla="*/ 654 h 2180"/>
                  <a:gd name="T96" fmla="*/ 1861 w 2050"/>
                  <a:gd name="T97" fmla="*/ 810 h 2180"/>
                  <a:gd name="T98" fmla="*/ 1764 w 2050"/>
                  <a:gd name="T99" fmla="*/ 983 h 2180"/>
                  <a:gd name="T100" fmla="*/ 1705 w 2050"/>
                  <a:gd name="T101" fmla="*/ 983 h 2180"/>
                  <a:gd name="T102" fmla="*/ 1441 w 2050"/>
                  <a:gd name="T103" fmla="*/ 1070 h 2180"/>
                  <a:gd name="T104" fmla="*/ 1743 w 2050"/>
                  <a:gd name="T105" fmla="*/ 1687 h 2180"/>
                  <a:gd name="T106" fmla="*/ 1727 w 2050"/>
                  <a:gd name="T107" fmla="*/ 1743 h 2180"/>
                  <a:gd name="T108" fmla="*/ 1727 w 2050"/>
                  <a:gd name="T109" fmla="*/ 1776 h 2180"/>
                  <a:gd name="T110" fmla="*/ 1727 w 2050"/>
                  <a:gd name="T111" fmla="*/ 1793 h 2180"/>
                  <a:gd name="T112" fmla="*/ 1701 w 2050"/>
                  <a:gd name="T113" fmla="*/ 1831 h 2180"/>
                  <a:gd name="T114" fmla="*/ 1722 w 2050"/>
                  <a:gd name="T115" fmla="*/ 1847 h 2180"/>
                  <a:gd name="T116" fmla="*/ 1710 w 2050"/>
                  <a:gd name="T117" fmla="*/ 1887 h 2180"/>
                  <a:gd name="T118" fmla="*/ 1755 w 2050"/>
                  <a:gd name="T119" fmla="*/ 2069 h 2180"/>
                  <a:gd name="T120" fmla="*/ 1776 w 2050"/>
                  <a:gd name="T121" fmla="*/ 2091 h 2180"/>
                  <a:gd name="T122" fmla="*/ 1793 w 2050"/>
                  <a:gd name="T123" fmla="*/ 2091 h 2180"/>
                  <a:gd name="T124" fmla="*/ 1814 w 2050"/>
                  <a:gd name="T125" fmla="*/ 2164 h 2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50" h="2180">
                    <a:moveTo>
                      <a:pt x="1701" y="926"/>
                    </a:moveTo>
                    <a:lnTo>
                      <a:pt x="1684" y="933"/>
                    </a:lnTo>
                    <a:lnTo>
                      <a:pt x="1672" y="926"/>
                    </a:lnTo>
                    <a:lnTo>
                      <a:pt x="1672" y="943"/>
                    </a:lnTo>
                    <a:lnTo>
                      <a:pt x="1656" y="959"/>
                    </a:lnTo>
                    <a:lnTo>
                      <a:pt x="1667" y="976"/>
                    </a:lnTo>
                    <a:lnTo>
                      <a:pt x="1656" y="983"/>
                    </a:lnTo>
                    <a:lnTo>
                      <a:pt x="1646" y="983"/>
                    </a:lnTo>
                    <a:lnTo>
                      <a:pt x="1634" y="959"/>
                    </a:lnTo>
                    <a:lnTo>
                      <a:pt x="1634" y="976"/>
                    </a:lnTo>
                    <a:lnTo>
                      <a:pt x="1630" y="976"/>
                    </a:lnTo>
                    <a:lnTo>
                      <a:pt x="1618" y="933"/>
                    </a:lnTo>
                    <a:lnTo>
                      <a:pt x="1630" y="909"/>
                    </a:lnTo>
                    <a:lnTo>
                      <a:pt x="1634" y="893"/>
                    </a:lnTo>
                    <a:lnTo>
                      <a:pt x="1667" y="893"/>
                    </a:lnTo>
                    <a:lnTo>
                      <a:pt x="1672" y="876"/>
                    </a:lnTo>
                    <a:lnTo>
                      <a:pt x="1689" y="872"/>
                    </a:lnTo>
                    <a:lnTo>
                      <a:pt x="1701" y="839"/>
                    </a:lnTo>
                    <a:lnTo>
                      <a:pt x="1710" y="839"/>
                    </a:lnTo>
                    <a:lnTo>
                      <a:pt x="1705" y="822"/>
                    </a:lnTo>
                    <a:lnTo>
                      <a:pt x="1684" y="815"/>
                    </a:lnTo>
                    <a:lnTo>
                      <a:pt x="1566" y="815"/>
                    </a:lnTo>
                    <a:lnTo>
                      <a:pt x="1528" y="810"/>
                    </a:lnTo>
                    <a:lnTo>
                      <a:pt x="1528" y="761"/>
                    </a:lnTo>
                    <a:lnTo>
                      <a:pt x="1521" y="737"/>
                    </a:lnTo>
                    <a:lnTo>
                      <a:pt x="1512" y="737"/>
                    </a:lnTo>
                    <a:lnTo>
                      <a:pt x="1507" y="756"/>
                    </a:lnTo>
                    <a:lnTo>
                      <a:pt x="1490" y="756"/>
                    </a:lnTo>
                    <a:lnTo>
                      <a:pt x="1474" y="737"/>
                    </a:lnTo>
                    <a:lnTo>
                      <a:pt x="1474" y="721"/>
                    </a:lnTo>
                    <a:lnTo>
                      <a:pt x="1469" y="721"/>
                    </a:lnTo>
                    <a:lnTo>
                      <a:pt x="1457" y="721"/>
                    </a:lnTo>
                    <a:lnTo>
                      <a:pt x="1474" y="728"/>
                    </a:lnTo>
                    <a:lnTo>
                      <a:pt x="1457" y="737"/>
                    </a:lnTo>
                    <a:lnTo>
                      <a:pt x="1431" y="704"/>
                    </a:lnTo>
                    <a:lnTo>
                      <a:pt x="1419" y="711"/>
                    </a:lnTo>
                    <a:lnTo>
                      <a:pt x="1431" y="711"/>
                    </a:lnTo>
                    <a:lnTo>
                      <a:pt x="1436" y="721"/>
                    </a:lnTo>
                    <a:lnTo>
                      <a:pt x="1415" y="737"/>
                    </a:lnTo>
                    <a:lnTo>
                      <a:pt x="1403" y="761"/>
                    </a:lnTo>
                    <a:lnTo>
                      <a:pt x="1419" y="765"/>
                    </a:lnTo>
                    <a:lnTo>
                      <a:pt x="1436" y="794"/>
                    </a:lnTo>
                    <a:lnTo>
                      <a:pt x="1453" y="794"/>
                    </a:lnTo>
                    <a:lnTo>
                      <a:pt x="1457" y="798"/>
                    </a:lnTo>
                    <a:lnTo>
                      <a:pt x="1469" y="810"/>
                    </a:lnTo>
                    <a:lnTo>
                      <a:pt x="1469" y="815"/>
                    </a:lnTo>
                    <a:lnTo>
                      <a:pt x="1431" y="815"/>
                    </a:lnTo>
                    <a:lnTo>
                      <a:pt x="1419" y="839"/>
                    </a:lnTo>
                    <a:lnTo>
                      <a:pt x="1403" y="832"/>
                    </a:lnTo>
                    <a:lnTo>
                      <a:pt x="1415" y="839"/>
                    </a:lnTo>
                    <a:lnTo>
                      <a:pt x="1398" y="855"/>
                    </a:lnTo>
                    <a:lnTo>
                      <a:pt x="1403" y="865"/>
                    </a:lnTo>
                    <a:lnTo>
                      <a:pt x="1436" y="876"/>
                    </a:lnTo>
                    <a:lnTo>
                      <a:pt x="1441" y="876"/>
                    </a:lnTo>
                    <a:lnTo>
                      <a:pt x="1453" y="888"/>
                    </a:lnTo>
                    <a:lnTo>
                      <a:pt x="1453" y="909"/>
                    </a:lnTo>
                    <a:lnTo>
                      <a:pt x="1436" y="921"/>
                    </a:lnTo>
                    <a:lnTo>
                      <a:pt x="1436" y="933"/>
                    </a:lnTo>
                    <a:lnTo>
                      <a:pt x="1453" y="943"/>
                    </a:lnTo>
                    <a:lnTo>
                      <a:pt x="1453" y="959"/>
                    </a:lnTo>
                    <a:lnTo>
                      <a:pt x="1469" y="966"/>
                    </a:lnTo>
                    <a:lnTo>
                      <a:pt x="1457" y="983"/>
                    </a:lnTo>
                    <a:lnTo>
                      <a:pt x="1474" y="1049"/>
                    </a:lnTo>
                    <a:lnTo>
                      <a:pt x="1469" y="1061"/>
                    </a:lnTo>
                    <a:lnTo>
                      <a:pt x="1474" y="1087"/>
                    </a:lnTo>
                    <a:lnTo>
                      <a:pt x="1441" y="1094"/>
                    </a:lnTo>
                    <a:lnTo>
                      <a:pt x="1453" y="1054"/>
                    </a:lnTo>
                    <a:lnTo>
                      <a:pt x="1441" y="1054"/>
                    </a:lnTo>
                    <a:lnTo>
                      <a:pt x="1441" y="1061"/>
                    </a:lnTo>
                    <a:lnTo>
                      <a:pt x="1441" y="1037"/>
                    </a:lnTo>
                    <a:lnTo>
                      <a:pt x="1436" y="1094"/>
                    </a:lnTo>
                    <a:lnTo>
                      <a:pt x="1431" y="1094"/>
                    </a:lnTo>
                    <a:lnTo>
                      <a:pt x="1436" y="1061"/>
                    </a:lnTo>
                    <a:lnTo>
                      <a:pt x="1431" y="1087"/>
                    </a:lnTo>
                    <a:lnTo>
                      <a:pt x="1419" y="1087"/>
                    </a:lnTo>
                    <a:lnTo>
                      <a:pt x="1415" y="1070"/>
                    </a:lnTo>
                    <a:lnTo>
                      <a:pt x="1415" y="1094"/>
                    </a:lnTo>
                    <a:lnTo>
                      <a:pt x="1403" y="1061"/>
                    </a:lnTo>
                    <a:lnTo>
                      <a:pt x="1415" y="1049"/>
                    </a:lnTo>
                    <a:lnTo>
                      <a:pt x="1398" y="1037"/>
                    </a:lnTo>
                    <a:lnTo>
                      <a:pt x="1386" y="1020"/>
                    </a:lnTo>
                    <a:lnTo>
                      <a:pt x="1398" y="1037"/>
                    </a:lnTo>
                    <a:lnTo>
                      <a:pt x="1415" y="1054"/>
                    </a:lnTo>
                    <a:lnTo>
                      <a:pt x="1382" y="1077"/>
                    </a:lnTo>
                    <a:lnTo>
                      <a:pt x="1344" y="1094"/>
                    </a:lnTo>
                    <a:lnTo>
                      <a:pt x="1327" y="1103"/>
                    </a:lnTo>
                    <a:lnTo>
                      <a:pt x="1311" y="1115"/>
                    </a:lnTo>
                    <a:lnTo>
                      <a:pt x="1327" y="1148"/>
                    </a:lnTo>
                    <a:lnTo>
                      <a:pt x="1323" y="1148"/>
                    </a:lnTo>
                    <a:lnTo>
                      <a:pt x="1327" y="1160"/>
                    </a:lnTo>
                    <a:lnTo>
                      <a:pt x="1311" y="1172"/>
                    </a:lnTo>
                    <a:lnTo>
                      <a:pt x="1306" y="1181"/>
                    </a:lnTo>
                    <a:lnTo>
                      <a:pt x="1311" y="1172"/>
                    </a:lnTo>
                    <a:lnTo>
                      <a:pt x="1311" y="1181"/>
                    </a:lnTo>
                    <a:lnTo>
                      <a:pt x="1290" y="1198"/>
                    </a:lnTo>
                    <a:lnTo>
                      <a:pt x="1290" y="1214"/>
                    </a:lnTo>
                    <a:lnTo>
                      <a:pt x="1273" y="1205"/>
                    </a:lnTo>
                    <a:lnTo>
                      <a:pt x="1280" y="1214"/>
                    </a:lnTo>
                    <a:lnTo>
                      <a:pt x="1219" y="1238"/>
                    </a:lnTo>
                    <a:lnTo>
                      <a:pt x="1226" y="1221"/>
                    </a:lnTo>
                    <a:lnTo>
                      <a:pt x="1219" y="1214"/>
                    </a:lnTo>
                    <a:lnTo>
                      <a:pt x="1205" y="1226"/>
                    </a:lnTo>
                    <a:lnTo>
                      <a:pt x="1197" y="1243"/>
                    </a:lnTo>
                    <a:lnTo>
                      <a:pt x="1205" y="1238"/>
                    </a:lnTo>
                    <a:lnTo>
                      <a:pt x="1214" y="1226"/>
                    </a:lnTo>
                    <a:lnTo>
                      <a:pt x="1214" y="1238"/>
                    </a:lnTo>
                    <a:lnTo>
                      <a:pt x="1167" y="1276"/>
                    </a:lnTo>
                    <a:lnTo>
                      <a:pt x="1171" y="1276"/>
                    </a:lnTo>
                    <a:lnTo>
                      <a:pt x="1167" y="1283"/>
                    </a:lnTo>
                    <a:lnTo>
                      <a:pt x="1129" y="1332"/>
                    </a:lnTo>
                    <a:lnTo>
                      <a:pt x="1091" y="1354"/>
                    </a:lnTo>
                    <a:lnTo>
                      <a:pt x="1063" y="1387"/>
                    </a:lnTo>
                    <a:lnTo>
                      <a:pt x="1004" y="1427"/>
                    </a:lnTo>
                    <a:lnTo>
                      <a:pt x="999" y="1436"/>
                    </a:lnTo>
                    <a:lnTo>
                      <a:pt x="1004" y="1443"/>
                    </a:lnTo>
                    <a:lnTo>
                      <a:pt x="999" y="1460"/>
                    </a:lnTo>
                    <a:lnTo>
                      <a:pt x="954" y="1481"/>
                    </a:lnTo>
                    <a:lnTo>
                      <a:pt x="928" y="1481"/>
                    </a:lnTo>
                    <a:lnTo>
                      <a:pt x="912" y="1521"/>
                    </a:lnTo>
                    <a:lnTo>
                      <a:pt x="895" y="1514"/>
                    </a:lnTo>
                    <a:lnTo>
                      <a:pt x="895" y="1505"/>
                    </a:lnTo>
                    <a:lnTo>
                      <a:pt x="895" y="1521"/>
                    </a:lnTo>
                    <a:lnTo>
                      <a:pt x="890" y="1514"/>
                    </a:lnTo>
                    <a:lnTo>
                      <a:pt x="857" y="1531"/>
                    </a:lnTo>
                    <a:lnTo>
                      <a:pt x="841" y="1576"/>
                    </a:lnTo>
                    <a:lnTo>
                      <a:pt x="848" y="1609"/>
                    </a:lnTo>
                    <a:lnTo>
                      <a:pt x="841" y="1642"/>
                    </a:lnTo>
                    <a:lnTo>
                      <a:pt x="857" y="1698"/>
                    </a:lnTo>
                    <a:lnTo>
                      <a:pt x="848" y="1670"/>
                    </a:lnTo>
                    <a:lnTo>
                      <a:pt x="841" y="1682"/>
                    </a:lnTo>
                    <a:lnTo>
                      <a:pt x="857" y="1703"/>
                    </a:lnTo>
                    <a:lnTo>
                      <a:pt x="848" y="1769"/>
                    </a:lnTo>
                    <a:lnTo>
                      <a:pt x="827" y="1798"/>
                    </a:lnTo>
                    <a:lnTo>
                      <a:pt x="819" y="1826"/>
                    </a:lnTo>
                    <a:lnTo>
                      <a:pt x="827" y="1864"/>
                    </a:lnTo>
                    <a:lnTo>
                      <a:pt x="827" y="1925"/>
                    </a:lnTo>
                    <a:lnTo>
                      <a:pt x="789" y="1925"/>
                    </a:lnTo>
                    <a:lnTo>
                      <a:pt x="782" y="1942"/>
                    </a:lnTo>
                    <a:lnTo>
                      <a:pt x="756" y="1980"/>
                    </a:lnTo>
                    <a:lnTo>
                      <a:pt x="765" y="1998"/>
                    </a:lnTo>
                    <a:lnTo>
                      <a:pt x="789" y="1998"/>
                    </a:lnTo>
                    <a:lnTo>
                      <a:pt x="793" y="2003"/>
                    </a:lnTo>
                    <a:lnTo>
                      <a:pt x="789" y="1998"/>
                    </a:lnTo>
                    <a:lnTo>
                      <a:pt x="765" y="1998"/>
                    </a:lnTo>
                    <a:lnTo>
                      <a:pt x="727" y="2015"/>
                    </a:lnTo>
                    <a:lnTo>
                      <a:pt x="713" y="2020"/>
                    </a:lnTo>
                    <a:lnTo>
                      <a:pt x="701" y="2057"/>
                    </a:lnTo>
                    <a:lnTo>
                      <a:pt x="664" y="2086"/>
                    </a:lnTo>
                    <a:lnTo>
                      <a:pt x="647" y="2086"/>
                    </a:lnTo>
                    <a:lnTo>
                      <a:pt x="626" y="2057"/>
                    </a:lnTo>
                    <a:lnTo>
                      <a:pt x="593" y="2031"/>
                    </a:lnTo>
                    <a:lnTo>
                      <a:pt x="605" y="2020"/>
                    </a:lnTo>
                    <a:lnTo>
                      <a:pt x="593" y="2020"/>
                    </a:lnTo>
                    <a:lnTo>
                      <a:pt x="576" y="1998"/>
                    </a:lnTo>
                    <a:lnTo>
                      <a:pt x="571" y="1946"/>
                    </a:lnTo>
                    <a:lnTo>
                      <a:pt x="576" y="1958"/>
                    </a:lnTo>
                    <a:lnTo>
                      <a:pt x="576" y="1980"/>
                    </a:lnTo>
                    <a:lnTo>
                      <a:pt x="588" y="1980"/>
                    </a:lnTo>
                    <a:lnTo>
                      <a:pt x="571" y="1937"/>
                    </a:lnTo>
                    <a:lnTo>
                      <a:pt x="571" y="1946"/>
                    </a:lnTo>
                    <a:lnTo>
                      <a:pt x="571" y="1942"/>
                    </a:lnTo>
                    <a:lnTo>
                      <a:pt x="534" y="1835"/>
                    </a:lnTo>
                    <a:lnTo>
                      <a:pt x="501" y="1798"/>
                    </a:lnTo>
                    <a:lnTo>
                      <a:pt x="470" y="1736"/>
                    </a:lnTo>
                    <a:lnTo>
                      <a:pt x="442" y="1616"/>
                    </a:lnTo>
                    <a:lnTo>
                      <a:pt x="442" y="1609"/>
                    </a:lnTo>
                    <a:lnTo>
                      <a:pt x="432" y="1616"/>
                    </a:lnTo>
                    <a:lnTo>
                      <a:pt x="432" y="1604"/>
                    </a:lnTo>
                    <a:lnTo>
                      <a:pt x="425" y="1592"/>
                    </a:lnTo>
                    <a:lnTo>
                      <a:pt x="411" y="1554"/>
                    </a:lnTo>
                    <a:lnTo>
                      <a:pt x="404" y="1547"/>
                    </a:lnTo>
                    <a:lnTo>
                      <a:pt x="411" y="1554"/>
                    </a:lnTo>
                    <a:lnTo>
                      <a:pt x="404" y="1547"/>
                    </a:lnTo>
                    <a:lnTo>
                      <a:pt x="378" y="1498"/>
                    </a:lnTo>
                    <a:lnTo>
                      <a:pt x="361" y="1427"/>
                    </a:lnTo>
                    <a:lnTo>
                      <a:pt x="335" y="1309"/>
                    </a:lnTo>
                    <a:lnTo>
                      <a:pt x="335" y="1299"/>
                    </a:lnTo>
                    <a:lnTo>
                      <a:pt x="340" y="1299"/>
                    </a:lnTo>
                    <a:lnTo>
                      <a:pt x="349" y="1299"/>
                    </a:lnTo>
                    <a:lnTo>
                      <a:pt x="340" y="1292"/>
                    </a:lnTo>
                    <a:lnTo>
                      <a:pt x="349" y="1283"/>
                    </a:lnTo>
                    <a:lnTo>
                      <a:pt x="340" y="1276"/>
                    </a:lnTo>
                    <a:lnTo>
                      <a:pt x="335" y="1292"/>
                    </a:lnTo>
                    <a:lnTo>
                      <a:pt x="335" y="1283"/>
                    </a:lnTo>
                    <a:lnTo>
                      <a:pt x="335" y="1259"/>
                    </a:lnTo>
                    <a:lnTo>
                      <a:pt x="349" y="1271"/>
                    </a:lnTo>
                    <a:lnTo>
                      <a:pt x="323" y="1254"/>
                    </a:lnTo>
                    <a:lnTo>
                      <a:pt x="323" y="1221"/>
                    </a:lnTo>
                    <a:lnTo>
                      <a:pt x="340" y="1148"/>
                    </a:lnTo>
                    <a:lnTo>
                      <a:pt x="335" y="1143"/>
                    </a:lnTo>
                    <a:lnTo>
                      <a:pt x="335" y="1127"/>
                    </a:lnTo>
                    <a:lnTo>
                      <a:pt x="319" y="1127"/>
                    </a:lnTo>
                    <a:lnTo>
                      <a:pt x="323" y="1115"/>
                    </a:lnTo>
                    <a:lnTo>
                      <a:pt x="319" y="1103"/>
                    </a:lnTo>
                    <a:lnTo>
                      <a:pt x="323" y="1103"/>
                    </a:lnTo>
                    <a:lnTo>
                      <a:pt x="319" y="1103"/>
                    </a:lnTo>
                    <a:lnTo>
                      <a:pt x="335" y="1087"/>
                    </a:lnTo>
                    <a:lnTo>
                      <a:pt x="356" y="1077"/>
                    </a:lnTo>
                    <a:lnTo>
                      <a:pt x="307" y="1087"/>
                    </a:lnTo>
                    <a:lnTo>
                      <a:pt x="319" y="1070"/>
                    </a:lnTo>
                    <a:lnTo>
                      <a:pt x="323" y="1061"/>
                    </a:lnTo>
                    <a:lnTo>
                      <a:pt x="319" y="1061"/>
                    </a:lnTo>
                    <a:lnTo>
                      <a:pt x="307" y="1061"/>
                    </a:lnTo>
                    <a:lnTo>
                      <a:pt x="319" y="1049"/>
                    </a:lnTo>
                    <a:lnTo>
                      <a:pt x="323" y="1049"/>
                    </a:lnTo>
                    <a:lnTo>
                      <a:pt x="340" y="1037"/>
                    </a:lnTo>
                    <a:lnTo>
                      <a:pt x="286" y="1037"/>
                    </a:lnTo>
                    <a:lnTo>
                      <a:pt x="302" y="1049"/>
                    </a:lnTo>
                    <a:lnTo>
                      <a:pt x="297" y="1054"/>
                    </a:lnTo>
                    <a:lnTo>
                      <a:pt x="281" y="1061"/>
                    </a:lnTo>
                    <a:lnTo>
                      <a:pt x="286" y="1061"/>
                    </a:lnTo>
                    <a:lnTo>
                      <a:pt x="286" y="1070"/>
                    </a:lnTo>
                    <a:lnTo>
                      <a:pt x="281" y="1070"/>
                    </a:lnTo>
                    <a:lnTo>
                      <a:pt x="281" y="1077"/>
                    </a:lnTo>
                    <a:lnTo>
                      <a:pt x="286" y="1070"/>
                    </a:lnTo>
                    <a:lnTo>
                      <a:pt x="297" y="1087"/>
                    </a:lnTo>
                    <a:lnTo>
                      <a:pt x="286" y="1115"/>
                    </a:lnTo>
                    <a:lnTo>
                      <a:pt x="243" y="1143"/>
                    </a:lnTo>
                    <a:lnTo>
                      <a:pt x="193" y="1160"/>
                    </a:lnTo>
                    <a:lnTo>
                      <a:pt x="139" y="1127"/>
                    </a:lnTo>
                    <a:lnTo>
                      <a:pt x="64" y="1037"/>
                    </a:lnTo>
                    <a:lnTo>
                      <a:pt x="71" y="1020"/>
                    </a:lnTo>
                    <a:lnTo>
                      <a:pt x="80" y="1037"/>
                    </a:lnTo>
                    <a:lnTo>
                      <a:pt x="146" y="1016"/>
                    </a:lnTo>
                    <a:lnTo>
                      <a:pt x="172" y="983"/>
                    </a:lnTo>
                    <a:lnTo>
                      <a:pt x="172" y="976"/>
                    </a:lnTo>
                    <a:lnTo>
                      <a:pt x="163" y="976"/>
                    </a:lnTo>
                    <a:lnTo>
                      <a:pt x="163" y="983"/>
                    </a:lnTo>
                    <a:lnTo>
                      <a:pt x="125" y="987"/>
                    </a:lnTo>
                    <a:lnTo>
                      <a:pt x="118" y="999"/>
                    </a:lnTo>
                    <a:lnTo>
                      <a:pt x="80" y="987"/>
                    </a:lnTo>
                    <a:lnTo>
                      <a:pt x="38" y="966"/>
                    </a:lnTo>
                    <a:lnTo>
                      <a:pt x="26" y="950"/>
                    </a:lnTo>
                    <a:lnTo>
                      <a:pt x="26" y="933"/>
                    </a:lnTo>
                    <a:lnTo>
                      <a:pt x="49" y="921"/>
                    </a:lnTo>
                    <a:lnTo>
                      <a:pt x="26" y="926"/>
                    </a:lnTo>
                    <a:lnTo>
                      <a:pt x="16" y="933"/>
                    </a:lnTo>
                    <a:lnTo>
                      <a:pt x="0" y="933"/>
                    </a:lnTo>
                    <a:lnTo>
                      <a:pt x="12" y="921"/>
                    </a:lnTo>
                    <a:lnTo>
                      <a:pt x="16" y="909"/>
                    </a:lnTo>
                    <a:lnTo>
                      <a:pt x="49" y="909"/>
                    </a:lnTo>
                    <a:lnTo>
                      <a:pt x="49" y="876"/>
                    </a:lnTo>
                    <a:lnTo>
                      <a:pt x="64" y="888"/>
                    </a:lnTo>
                    <a:lnTo>
                      <a:pt x="108" y="888"/>
                    </a:lnTo>
                    <a:lnTo>
                      <a:pt x="118" y="893"/>
                    </a:lnTo>
                    <a:lnTo>
                      <a:pt x="134" y="893"/>
                    </a:lnTo>
                    <a:lnTo>
                      <a:pt x="139" y="876"/>
                    </a:lnTo>
                    <a:lnTo>
                      <a:pt x="172" y="872"/>
                    </a:lnTo>
                    <a:lnTo>
                      <a:pt x="177" y="888"/>
                    </a:lnTo>
                    <a:lnTo>
                      <a:pt x="189" y="888"/>
                    </a:lnTo>
                    <a:lnTo>
                      <a:pt x="210" y="872"/>
                    </a:lnTo>
                    <a:lnTo>
                      <a:pt x="198" y="872"/>
                    </a:lnTo>
                    <a:lnTo>
                      <a:pt x="198" y="855"/>
                    </a:lnTo>
                    <a:lnTo>
                      <a:pt x="210" y="855"/>
                    </a:lnTo>
                    <a:lnTo>
                      <a:pt x="193" y="815"/>
                    </a:lnTo>
                    <a:lnTo>
                      <a:pt x="189" y="798"/>
                    </a:lnTo>
                    <a:lnTo>
                      <a:pt x="177" y="777"/>
                    </a:lnTo>
                    <a:lnTo>
                      <a:pt x="156" y="777"/>
                    </a:lnTo>
                    <a:lnTo>
                      <a:pt x="139" y="756"/>
                    </a:lnTo>
                    <a:lnTo>
                      <a:pt x="146" y="711"/>
                    </a:lnTo>
                    <a:lnTo>
                      <a:pt x="125" y="704"/>
                    </a:lnTo>
                    <a:lnTo>
                      <a:pt x="101" y="699"/>
                    </a:lnTo>
                    <a:lnTo>
                      <a:pt x="108" y="654"/>
                    </a:lnTo>
                    <a:lnTo>
                      <a:pt x="163" y="593"/>
                    </a:lnTo>
                    <a:lnTo>
                      <a:pt x="177" y="593"/>
                    </a:lnTo>
                    <a:lnTo>
                      <a:pt x="189" y="617"/>
                    </a:lnTo>
                    <a:lnTo>
                      <a:pt x="193" y="617"/>
                    </a:lnTo>
                    <a:lnTo>
                      <a:pt x="269" y="600"/>
                    </a:lnTo>
                    <a:lnTo>
                      <a:pt x="269" y="588"/>
                    </a:lnTo>
                    <a:lnTo>
                      <a:pt x="286" y="560"/>
                    </a:lnTo>
                    <a:lnTo>
                      <a:pt x="302" y="539"/>
                    </a:lnTo>
                    <a:lnTo>
                      <a:pt x="340" y="517"/>
                    </a:lnTo>
                    <a:lnTo>
                      <a:pt x="373" y="444"/>
                    </a:lnTo>
                    <a:lnTo>
                      <a:pt x="411" y="428"/>
                    </a:lnTo>
                    <a:lnTo>
                      <a:pt x="411" y="411"/>
                    </a:lnTo>
                    <a:lnTo>
                      <a:pt x="442" y="371"/>
                    </a:lnTo>
                    <a:lnTo>
                      <a:pt x="463" y="354"/>
                    </a:lnTo>
                    <a:lnTo>
                      <a:pt x="458" y="350"/>
                    </a:lnTo>
                    <a:lnTo>
                      <a:pt x="458" y="354"/>
                    </a:lnTo>
                    <a:lnTo>
                      <a:pt x="449" y="350"/>
                    </a:lnTo>
                    <a:lnTo>
                      <a:pt x="458" y="321"/>
                    </a:lnTo>
                    <a:lnTo>
                      <a:pt x="449" y="300"/>
                    </a:lnTo>
                    <a:lnTo>
                      <a:pt x="458" y="295"/>
                    </a:lnTo>
                    <a:lnTo>
                      <a:pt x="479" y="279"/>
                    </a:lnTo>
                    <a:lnTo>
                      <a:pt x="501" y="279"/>
                    </a:lnTo>
                    <a:lnTo>
                      <a:pt x="512" y="262"/>
                    </a:lnTo>
                    <a:lnTo>
                      <a:pt x="512" y="255"/>
                    </a:lnTo>
                    <a:lnTo>
                      <a:pt x="486" y="243"/>
                    </a:lnTo>
                    <a:lnTo>
                      <a:pt x="463" y="243"/>
                    </a:lnTo>
                    <a:lnTo>
                      <a:pt x="463" y="222"/>
                    </a:lnTo>
                    <a:lnTo>
                      <a:pt x="442" y="222"/>
                    </a:lnTo>
                    <a:lnTo>
                      <a:pt x="442" y="201"/>
                    </a:lnTo>
                    <a:lnTo>
                      <a:pt x="416" y="189"/>
                    </a:lnTo>
                    <a:lnTo>
                      <a:pt x="425" y="156"/>
                    </a:lnTo>
                    <a:lnTo>
                      <a:pt x="416" y="144"/>
                    </a:lnTo>
                    <a:lnTo>
                      <a:pt x="432" y="116"/>
                    </a:lnTo>
                    <a:lnTo>
                      <a:pt x="411" y="111"/>
                    </a:lnTo>
                    <a:lnTo>
                      <a:pt x="416" y="99"/>
                    </a:lnTo>
                    <a:lnTo>
                      <a:pt x="404" y="90"/>
                    </a:lnTo>
                    <a:lnTo>
                      <a:pt x="411" y="73"/>
                    </a:lnTo>
                    <a:lnTo>
                      <a:pt x="442" y="57"/>
                    </a:lnTo>
                    <a:lnTo>
                      <a:pt x="534" y="78"/>
                    </a:lnTo>
                    <a:lnTo>
                      <a:pt x="555" y="73"/>
                    </a:lnTo>
                    <a:lnTo>
                      <a:pt x="567" y="73"/>
                    </a:lnTo>
                    <a:lnTo>
                      <a:pt x="588" y="57"/>
                    </a:lnTo>
                    <a:lnTo>
                      <a:pt x="621" y="61"/>
                    </a:lnTo>
                    <a:lnTo>
                      <a:pt x="626" y="33"/>
                    </a:lnTo>
                    <a:lnTo>
                      <a:pt x="685" y="0"/>
                    </a:lnTo>
                    <a:lnTo>
                      <a:pt x="701" y="0"/>
                    </a:lnTo>
                    <a:lnTo>
                      <a:pt x="697" y="17"/>
                    </a:lnTo>
                    <a:lnTo>
                      <a:pt x="718" y="73"/>
                    </a:lnTo>
                    <a:lnTo>
                      <a:pt x="739" y="78"/>
                    </a:lnTo>
                    <a:lnTo>
                      <a:pt x="765" y="95"/>
                    </a:lnTo>
                    <a:lnTo>
                      <a:pt x="765" y="99"/>
                    </a:lnTo>
                    <a:lnTo>
                      <a:pt x="751" y="111"/>
                    </a:lnTo>
                    <a:lnTo>
                      <a:pt x="751" y="156"/>
                    </a:lnTo>
                    <a:lnTo>
                      <a:pt x="765" y="172"/>
                    </a:lnTo>
                    <a:lnTo>
                      <a:pt x="793" y="189"/>
                    </a:lnTo>
                    <a:lnTo>
                      <a:pt x="789" y="206"/>
                    </a:lnTo>
                    <a:lnTo>
                      <a:pt x="803" y="222"/>
                    </a:lnTo>
                    <a:lnTo>
                      <a:pt x="789" y="243"/>
                    </a:lnTo>
                    <a:lnTo>
                      <a:pt x="782" y="243"/>
                    </a:lnTo>
                    <a:lnTo>
                      <a:pt x="765" y="255"/>
                    </a:lnTo>
                    <a:lnTo>
                      <a:pt x="751" y="243"/>
                    </a:lnTo>
                    <a:lnTo>
                      <a:pt x="751" y="227"/>
                    </a:lnTo>
                    <a:lnTo>
                      <a:pt x="727" y="239"/>
                    </a:lnTo>
                    <a:lnTo>
                      <a:pt x="727" y="262"/>
                    </a:lnTo>
                    <a:lnTo>
                      <a:pt x="751" y="284"/>
                    </a:lnTo>
                    <a:lnTo>
                      <a:pt x="739" y="300"/>
                    </a:lnTo>
                    <a:lnTo>
                      <a:pt x="756" y="312"/>
                    </a:lnTo>
                    <a:lnTo>
                      <a:pt x="751" y="317"/>
                    </a:lnTo>
                    <a:lnTo>
                      <a:pt x="751" y="333"/>
                    </a:lnTo>
                    <a:lnTo>
                      <a:pt x="756" y="338"/>
                    </a:lnTo>
                    <a:lnTo>
                      <a:pt x="772" y="321"/>
                    </a:lnTo>
                    <a:lnTo>
                      <a:pt x="803" y="366"/>
                    </a:lnTo>
                    <a:lnTo>
                      <a:pt x="827" y="366"/>
                    </a:lnTo>
                    <a:lnTo>
                      <a:pt x="857" y="378"/>
                    </a:lnTo>
                    <a:lnTo>
                      <a:pt x="848" y="395"/>
                    </a:lnTo>
                    <a:lnTo>
                      <a:pt x="879" y="406"/>
                    </a:lnTo>
                    <a:lnTo>
                      <a:pt x="912" y="428"/>
                    </a:lnTo>
                    <a:lnTo>
                      <a:pt x="864" y="461"/>
                    </a:lnTo>
                    <a:lnTo>
                      <a:pt x="864" y="477"/>
                    </a:lnTo>
                    <a:lnTo>
                      <a:pt x="848" y="482"/>
                    </a:lnTo>
                    <a:lnTo>
                      <a:pt x="857" y="501"/>
                    </a:lnTo>
                    <a:lnTo>
                      <a:pt x="841" y="534"/>
                    </a:lnTo>
                    <a:lnTo>
                      <a:pt x="874" y="555"/>
                    </a:lnTo>
                    <a:lnTo>
                      <a:pt x="874" y="543"/>
                    </a:lnTo>
                    <a:lnTo>
                      <a:pt x="916" y="572"/>
                    </a:lnTo>
                    <a:lnTo>
                      <a:pt x="928" y="588"/>
                    </a:lnTo>
                    <a:lnTo>
                      <a:pt x="966" y="609"/>
                    </a:lnTo>
                    <a:lnTo>
                      <a:pt x="982" y="600"/>
                    </a:lnTo>
                    <a:lnTo>
                      <a:pt x="1004" y="628"/>
                    </a:lnTo>
                    <a:lnTo>
                      <a:pt x="1025" y="617"/>
                    </a:lnTo>
                    <a:lnTo>
                      <a:pt x="1025" y="633"/>
                    </a:lnTo>
                    <a:lnTo>
                      <a:pt x="1058" y="645"/>
                    </a:lnTo>
                    <a:lnTo>
                      <a:pt x="1063" y="650"/>
                    </a:lnTo>
                    <a:lnTo>
                      <a:pt x="1075" y="645"/>
                    </a:lnTo>
                    <a:lnTo>
                      <a:pt x="1105" y="650"/>
                    </a:lnTo>
                    <a:lnTo>
                      <a:pt x="1105" y="645"/>
                    </a:lnTo>
                    <a:lnTo>
                      <a:pt x="1129" y="633"/>
                    </a:lnTo>
                    <a:lnTo>
                      <a:pt x="1134" y="645"/>
                    </a:lnTo>
                    <a:lnTo>
                      <a:pt x="1160" y="650"/>
                    </a:lnTo>
                    <a:lnTo>
                      <a:pt x="1167" y="671"/>
                    </a:lnTo>
                    <a:lnTo>
                      <a:pt x="1214" y="699"/>
                    </a:lnTo>
                    <a:lnTo>
                      <a:pt x="1226" y="683"/>
                    </a:lnTo>
                    <a:lnTo>
                      <a:pt x="1252" y="704"/>
                    </a:lnTo>
                    <a:lnTo>
                      <a:pt x="1256" y="699"/>
                    </a:lnTo>
                    <a:lnTo>
                      <a:pt x="1311" y="721"/>
                    </a:lnTo>
                    <a:lnTo>
                      <a:pt x="1327" y="711"/>
                    </a:lnTo>
                    <a:lnTo>
                      <a:pt x="1344" y="721"/>
                    </a:lnTo>
                    <a:lnTo>
                      <a:pt x="1386" y="711"/>
                    </a:lnTo>
                    <a:lnTo>
                      <a:pt x="1398" y="721"/>
                    </a:lnTo>
                    <a:lnTo>
                      <a:pt x="1415" y="699"/>
                    </a:lnTo>
                    <a:lnTo>
                      <a:pt x="1398" y="666"/>
                    </a:lnTo>
                    <a:lnTo>
                      <a:pt x="1403" y="633"/>
                    </a:lnTo>
                    <a:lnTo>
                      <a:pt x="1415" y="609"/>
                    </a:lnTo>
                    <a:lnTo>
                      <a:pt x="1403" y="609"/>
                    </a:lnTo>
                    <a:lnTo>
                      <a:pt x="1403" y="600"/>
                    </a:lnTo>
                    <a:lnTo>
                      <a:pt x="1431" y="593"/>
                    </a:lnTo>
                    <a:lnTo>
                      <a:pt x="1441" y="588"/>
                    </a:lnTo>
                    <a:lnTo>
                      <a:pt x="1457" y="593"/>
                    </a:lnTo>
                    <a:lnTo>
                      <a:pt x="1457" y="609"/>
                    </a:lnTo>
                    <a:lnTo>
                      <a:pt x="1453" y="633"/>
                    </a:lnTo>
                    <a:lnTo>
                      <a:pt x="1457" y="650"/>
                    </a:lnTo>
                    <a:lnTo>
                      <a:pt x="1453" y="666"/>
                    </a:lnTo>
                    <a:lnTo>
                      <a:pt x="1457" y="671"/>
                    </a:lnTo>
                    <a:lnTo>
                      <a:pt x="1474" y="687"/>
                    </a:lnTo>
                    <a:lnTo>
                      <a:pt x="1490" y="687"/>
                    </a:lnTo>
                    <a:lnTo>
                      <a:pt x="1512" y="699"/>
                    </a:lnTo>
                    <a:lnTo>
                      <a:pt x="1545" y="699"/>
                    </a:lnTo>
                    <a:lnTo>
                      <a:pt x="1566" y="683"/>
                    </a:lnTo>
                    <a:lnTo>
                      <a:pt x="1592" y="687"/>
                    </a:lnTo>
                    <a:lnTo>
                      <a:pt x="1630" y="687"/>
                    </a:lnTo>
                    <a:lnTo>
                      <a:pt x="1634" y="683"/>
                    </a:lnTo>
                    <a:lnTo>
                      <a:pt x="1646" y="687"/>
                    </a:lnTo>
                    <a:lnTo>
                      <a:pt x="1684" y="683"/>
                    </a:lnTo>
                    <a:lnTo>
                      <a:pt x="1672" y="666"/>
                    </a:lnTo>
                    <a:lnTo>
                      <a:pt x="1684" y="650"/>
                    </a:lnTo>
                    <a:lnTo>
                      <a:pt x="1672" y="633"/>
                    </a:lnTo>
                    <a:lnTo>
                      <a:pt x="1651" y="633"/>
                    </a:lnTo>
                    <a:lnTo>
                      <a:pt x="1651" y="628"/>
                    </a:lnTo>
                    <a:lnTo>
                      <a:pt x="1651" y="617"/>
                    </a:lnTo>
                    <a:lnTo>
                      <a:pt x="1672" y="617"/>
                    </a:lnTo>
                    <a:lnTo>
                      <a:pt x="1701" y="609"/>
                    </a:lnTo>
                    <a:lnTo>
                      <a:pt x="1710" y="609"/>
                    </a:lnTo>
                    <a:lnTo>
                      <a:pt x="1727" y="600"/>
                    </a:lnTo>
                    <a:lnTo>
                      <a:pt x="1727" y="588"/>
                    </a:lnTo>
                    <a:lnTo>
                      <a:pt x="1760" y="572"/>
                    </a:lnTo>
                    <a:lnTo>
                      <a:pt x="1776" y="543"/>
                    </a:lnTo>
                    <a:lnTo>
                      <a:pt x="1814" y="543"/>
                    </a:lnTo>
                    <a:lnTo>
                      <a:pt x="1835" y="517"/>
                    </a:lnTo>
                    <a:lnTo>
                      <a:pt x="1861" y="489"/>
                    </a:lnTo>
                    <a:lnTo>
                      <a:pt x="1873" y="506"/>
                    </a:lnTo>
                    <a:lnTo>
                      <a:pt x="1916" y="517"/>
                    </a:lnTo>
                    <a:lnTo>
                      <a:pt x="1927" y="501"/>
                    </a:lnTo>
                    <a:lnTo>
                      <a:pt x="1958" y="482"/>
                    </a:lnTo>
                    <a:lnTo>
                      <a:pt x="1975" y="501"/>
                    </a:lnTo>
                    <a:lnTo>
                      <a:pt x="1982" y="501"/>
                    </a:lnTo>
                    <a:lnTo>
                      <a:pt x="1970" y="517"/>
                    </a:lnTo>
                    <a:lnTo>
                      <a:pt x="1970" y="522"/>
                    </a:lnTo>
                    <a:lnTo>
                      <a:pt x="1991" y="517"/>
                    </a:lnTo>
                    <a:lnTo>
                      <a:pt x="1996" y="539"/>
                    </a:lnTo>
                    <a:lnTo>
                      <a:pt x="1982" y="555"/>
                    </a:lnTo>
                    <a:lnTo>
                      <a:pt x="1982" y="572"/>
                    </a:lnTo>
                    <a:lnTo>
                      <a:pt x="2008" y="560"/>
                    </a:lnTo>
                    <a:lnTo>
                      <a:pt x="2029" y="572"/>
                    </a:lnTo>
                    <a:lnTo>
                      <a:pt x="2034" y="572"/>
                    </a:lnTo>
                    <a:lnTo>
                      <a:pt x="2050" y="576"/>
                    </a:lnTo>
                    <a:lnTo>
                      <a:pt x="2050" y="600"/>
                    </a:lnTo>
                    <a:lnTo>
                      <a:pt x="2024" y="628"/>
                    </a:lnTo>
                    <a:lnTo>
                      <a:pt x="2034" y="666"/>
                    </a:lnTo>
                    <a:lnTo>
                      <a:pt x="2024" y="654"/>
                    </a:lnTo>
                    <a:lnTo>
                      <a:pt x="2008" y="650"/>
                    </a:lnTo>
                    <a:lnTo>
                      <a:pt x="1975" y="650"/>
                    </a:lnTo>
                    <a:lnTo>
                      <a:pt x="1920" y="699"/>
                    </a:lnTo>
                    <a:lnTo>
                      <a:pt x="1899" y="704"/>
                    </a:lnTo>
                    <a:lnTo>
                      <a:pt x="1890" y="728"/>
                    </a:lnTo>
                    <a:lnTo>
                      <a:pt x="1899" y="744"/>
                    </a:lnTo>
                    <a:lnTo>
                      <a:pt x="1882" y="782"/>
                    </a:lnTo>
                    <a:lnTo>
                      <a:pt x="1861" y="798"/>
                    </a:lnTo>
                    <a:lnTo>
                      <a:pt x="1861" y="810"/>
                    </a:lnTo>
                    <a:lnTo>
                      <a:pt x="1868" y="815"/>
                    </a:lnTo>
                    <a:lnTo>
                      <a:pt x="1868" y="822"/>
                    </a:lnTo>
                    <a:lnTo>
                      <a:pt x="1830" y="921"/>
                    </a:lnTo>
                    <a:lnTo>
                      <a:pt x="1797" y="905"/>
                    </a:lnTo>
                    <a:lnTo>
                      <a:pt x="1781" y="909"/>
                    </a:lnTo>
                    <a:lnTo>
                      <a:pt x="1776" y="893"/>
                    </a:lnTo>
                    <a:lnTo>
                      <a:pt x="1776" y="926"/>
                    </a:lnTo>
                    <a:lnTo>
                      <a:pt x="1776" y="966"/>
                    </a:lnTo>
                    <a:lnTo>
                      <a:pt x="1764" y="983"/>
                    </a:lnTo>
                    <a:lnTo>
                      <a:pt x="1760" y="976"/>
                    </a:lnTo>
                    <a:lnTo>
                      <a:pt x="1755" y="1004"/>
                    </a:lnTo>
                    <a:lnTo>
                      <a:pt x="1760" y="1037"/>
                    </a:lnTo>
                    <a:lnTo>
                      <a:pt x="1755" y="1037"/>
                    </a:lnTo>
                    <a:lnTo>
                      <a:pt x="1743" y="1054"/>
                    </a:lnTo>
                    <a:lnTo>
                      <a:pt x="1727" y="1049"/>
                    </a:lnTo>
                    <a:lnTo>
                      <a:pt x="1722" y="1061"/>
                    </a:lnTo>
                    <a:lnTo>
                      <a:pt x="1710" y="1004"/>
                    </a:lnTo>
                    <a:lnTo>
                      <a:pt x="1705" y="983"/>
                    </a:lnTo>
                    <a:lnTo>
                      <a:pt x="1705" y="959"/>
                    </a:lnTo>
                    <a:lnTo>
                      <a:pt x="1701" y="926"/>
                    </a:lnTo>
                    <a:lnTo>
                      <a:pt x="1701" y="926"/>
                    </a:lnTo>
                    <a:lnTo>
                      <a:pt x="1701" y="926"/>
                    </a:lnTo>
                    <a:close/>
                    <a:moveTo>
                      <a:pt x="1441" y="1070"/>
                    </a:moveTo>
                    <a:lnTo>
                      <a:pt x="1436" y="1070"/>
                    </a:lnTo>
                    <a:lnTo>
                      <a:pt x="1441" y="1061"/>
                    </a:lnTo>
                    <a:lnTo>
                      <a:pt x="1441" y="1070"/>
                    </a:lnTo>
                    <a:lnTo>
                      <a:pt x="1441" y="1070"/>
                    </a:lnTo>
                    <a:lnTo>
                      <a:pt x="1441" y="1070"/>
                    </a:lnTo>
                    <a:close/>
                    <a:moveTo>
                      <a:pt x="1403" y="1070"/>
                    </a:moveTo>
                    <a:lnTo>
                      <a:pt x="1403" y="1087"/>
                    </a:lnTo>
                    <a:lnTo>
                      <a:pt x="1403" y="1070"/>
                    </a:lnTo>
                    <a:lnTo>
                      <a:pt x="1403" y="1070"/>
                    </a:lnTo>
                    <a:lnTo>
                      <a:pt x="1403" y="1070"/>
                    </a:lnTo>
                    <a:close/>
                    <a:moveTo>
                      <a:pt x="1738" y="1736"/>
                    </a:moveTo>
                    <a:lnTo>
                      <a:pt x="1738" y="1703"/>
                    </a:lnTo>
                    <a:lnTo>
                      <a:pt x="1743" y="1687"/>
                    </a:lnTo>
                    <a:lnTo>
                      <a:pt x="1755" y="1687"/>
                    </a:lnTo>
                    <a:lnTo>
                      <a:pt x="1755" y="1720"/>
                    </a:lnTo>
                    <a:lnTo>
                      <a:pt x="1743" y="1720"/>
                    </a:lnTo>
                    <a:lnTo>
                      <a:pt x="1738" y="1736"/>
                    </a:lnTo>
                    <a:lnTo>
                      <a:pt x="1738" y="1736"/>
                    </a:lnTo>
                    <a:lnTo>
                      <a:pt x="1738" y="1736"/>
                    </a:lnTo>
                    <a:close/>
                    <a:moveTo>
                      <a:pt x="1738" y="1776"/>
                    </a:moveTo>
                    <a:lnTo>
                      <a:pt x="1727" y="1776"/>
                    </a:lnTo>
                    <a:lnTo>
                      <a:pt x="1727" y="1743"/>
                    </a:lnTo>
                    <a:lnTo>
                      <a:pt x="1743" y="1736"/>
                    </a:lnTo>
                    <a:lnTo>
                      <a:pt x="1743" y="1760"/>
                    </a:lnTo>
                    <a:lnTo>
                      <a:pt x="1743" y="1769"/>
                    </a:lnTo>
                    <a:lnTo>
                      <a:pt x="1738" y="1769"/>
                    </a:lnTo>
                    <a:lnTo>
                      <a:pt x="1738" y="1776"/>
                    </a:lnTo>
                    <a:lnTo>
                      <a:pt x="1738" y="1776"/>
                    </a:lnTo>
                    <a:lnTo>
                      <a:pt x="1738" y="1776"/>
                    </a:lnTo>
                    <a:close/>
                    <a:moveTo>
                      <a:pt x="1727" y="1793"/>
                    </a:moveTo>
                    <a:lnTo>
                      <a:pt x="1727" y="1776"/>
                    </a:lnTo>
                    <a:lnTo>
                      <a:pt x="1743" y="1776"/>
                    </a:lnTo>
                    <a:lnTo>
                      <a:pt x="1727" y="1793"/>
                    </a:lnTo>
                    <a:lnTo>
                      <a:pt x="1727" y="1793"/>
                    </a:lnTo>
                    <a:lnTo>
                      <a:pt x="1727" y="1793"/>
                    </a:lnTo>
                    <a:close/>
                    <a:moveTo>
                      <a:pt x="1727" y="1793"/>
                    </a:moveTo>
                    <a:lnTo>
                      <a:pt x="1727" y="1835"/>
                    </a:lnTo>
                    <a:lnTo>
                      <a:pt x="1710" y="1809"/>
                    </a:lnTo>
                    <a:lnTo>
                      <a:pt x="1727" y="1781"/>
                    </a:lnTo>
                    <a:lnTo>
                      <a:pt x="1727" y="1793"/>
                    </a:lnTo>
                    <a:lnTo>
                      <a:pt x="1727" y="1793"/>
                    </a:lnTo>
                    <a:lnTo>
                      <a:pt x="1727" y="1793"/>
                    </a:lnTo>
                    <a:close/>
                    <a:moveTo>
                      <a:pt x="1755" y="1798"/>
                    </a:moveTo>
                    <a:lnTo>
                      <a:pt x="1755" y="1809"/>
                    </a:lnTo>
                    <a:lnTo>
                      <a:pt x="1743" y="1798"/>
                    </a:lnTo>
                    <a:lnTo>
                      <a:pt x="1755" y="1798"/>
                    </a:lnTo>
                    <a:lnTo>
                      <a:pt x="1755" y="1798"/>
                    </a:lnTo>
                    <a:lnTo>
                      <a:pt x="1755" y="1798"/>
                    </a:lnTo>
                    <a:close/>
                    <a:moveTo>
                      <a:pt x="1701" y="1831"/>
                    </a:moveTo>
                    <a:lnTo>
                      <a:pt x="1689" y="1831"/>
                    </a:lnTo>
                    <a:lnTo>
                      <a:pt x="1701" y="1831"/>
                    </a:lnTo>
                    <a:lnTo>
                      <a:pt x="1701" y="1831"/>
                    </a:lnTo>
                    <a:lnTo>
                      <a:pt x="1701" y="1831"/>
                    </a:lnTo>
                    <a:close/>
                    <a:moveTo>
                      <a:pt x="1722" y="1847"/>
                    </a:moveTo>
                    <a:lnTo>
                      <a:pt x="1722" y="1831"/>
                    </a:lnTo>
                    <a:lnTo>
                      <a:pt x="1727" y="1847"/>
                    </a:lnTo>
                    <a:lnTo>
                      <a:pt x="1722" y="1847"/>
                    </a:lnTo>
                    <a:lnTo>
                      <a:pt x="1722" y="1847"/>
                    </a:lnTo>
                    <a:lnTo>
                      <a:pt x="1722" y="1847"/>
                    </a:lnTo>
                    <a:close/>
                    <a:moveTo>
                      <a:pt x="1710" y="1887"/>
                    </a:moveTo>
                    <a:lnTo>
                      <a:pt x="1710" y="1909"/>
                    </a:lnTo>
                    <a:lnTo>
                      <a:pt x="1705" y="1904"/>
                    </a:lnTo>
                    <a:lnTo>
                      <a:pt x="1705" y="1887"/>
                    </a:lnTo>
                    <a:lnTo>
                      <a:pt x="1710" y="1880"/>
                    </a:lnTo>
                    <a:lnTo>
                      <a:pt x="1710" y="1887"/>
                    </a:lnTo>
                    <a:lnTo>
                      <a:pt x="1710" y="1887"/>
                    </a:lnTo>
                    <a:lnTo>
                      <a:pt x="1710" y="1887"/>
                    </a:lnTo>
                    <a:close/>
                    <a:moveTo>
                      <a:pt x="1738" y="1998"/>
                    </a:moveTo>
                    <a:lnTo>
                      <a:pt x="1738" y="2003"/>
                    </a:lnTo>
                    <a:lnTo>
                      <a:pt x="1727" y="2003"/>
                    </a:lnTo>
                    <a:lnTo>
                      <a:pt x="1738" y="1998"/>
                    </a:lnTo>
                    <a:lnTo>
                      <a:pt x="1738" y="1998"/>
                    </a:lnTo>
                    <a:lnTo>
                      <a:pt x="1738" y="1998"/>
                    </a:lnTo>
                    <a:close/>
                    <a:moveTo>
                      <a:pt x="1755" y="2069"/>
                    </a:moveTo>
                    <a:lnTo>
                      <a:pt x="1760" y="2074"/>
                    </a:lnTo>
                    <a:lnTo>
                      <a:pt x="1755" y="2069"/>
                    </a:lnTo>
                    <a:lnTo>
                      <a:pt x="1755" y="2069"/>
                    </a:lnTo>
                    <a:lnTo>
                      <a:pt x="1755" y="2069"/>
                    </a:lnTo>
                    <a:close/>
                    <a:moveTo>
                      <a:pt x="1781" y="2074"/>
                    </a:moveTo>
                    <a:lnTo>
                      <a:pt x="1781" y="2091"/>
                    </a:lnTo>
                    <a:lnTo>
                      <a:pt x="1776" y="2074"/>
                    </a:lnTo>
                    <a:lnTo>
                      <a:pt x="1781" y="2074"/>
                    </a:lnTo>
                    <a:lnTo>
                      <a:pt x="1781" y="2074"/>
                    </a:lnTo>
                    <a:lnTo>
                      <a:pt x="1781" y="2074"/>
                    </a:lnTo>
                    <a:close/>
                    <a:moveTo>
                      <a:pt x="1776" y="2091"/>
                    </a:moveTo>
                    <a:lnTo>
                      <a:pt x="1781" y="2102"/>
                    </a:lnTo>
                    <a:lnTo>
                      <a:pt x="1764" y="2091"/>
                    </a:lnTo>
                    <a:lnTo>
                      <a:pt x="1776" y="2091"/>
                    </a:lnTo>
                    <a:lnTo>
                      <a:pt x="1776" y="2091"/>
                    </a:lnTo>
                    <a:lnTo>
                      <a:pt x="1776" y="2091"/>
                    </a:lnTo>
                    <a:close/>
                    <a:moveTo>
                      <a:pt x="1793" y="2091"/>
                    </a:moveTo>
                    <a:lnTo>
                      <a:pt x="1781" y="2091"/>
                    </a:lnTo>
                    <a:lnTo>
                      <a:pt x="1793" y="2091"/>
                    </a:lnTo>
                    <a:lnTo>
                      <a:pt x="1793" y="2091"/>
                    </a:lnTo>
                    <a:lnTo>
                      <a:pt x="1793" y="2091"/>
                    </a:lnTo>
                    <a:close/>
                    <a:moveTo>
                      <a:pt x="1797" y="2131"/>
                    </a:moveTo>
                    <a:lnTo>
                      <a:pt x="1797" y="2143"/>
                    </a:lnTo>
                    <a:lnTo>
                      <a:pt x="1793" y="2147"/>
                    </a:lnTo>
                    <a:lnTo>
                      <a:pt x="1797" y="2131"/>
                    </a:lnTo>
                    <a:lnTo>
                      <a:pt x="1797" y="2131"/>
                    </a:lnTo>
                    <a:lnTo>
                      <a:pt x="1797" y="2131"/>
                    </a:lnTo>
                    <a:close/>
                    <a:moveTo>
                      <a:pt x="1807" y="2147"/>
                    </a:moveTo>
                    <a:lnTo>
                      <a:pt x="1814" y="2164"/>
                    </a:lnTo>
                    <a:lnTo>
                      <a:pt x="1807" y="2180"/>
                    </a:lnTo>
                    <a:lnTo>
                      <a:pt x="1793" y="2159"/>
                    </a:lnTo>
                    <a:lnTo>
                      <a:pt x="1807" y="2147"/>
                    </a:lnTo>
                    <a:lnTo>
                      <a:pt x="1807" y="2147"/>
                    </a:lnTo>
                    <a:lnTo>
                      <a:pt x="1807" y="214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5" name="Freeform 476">
                <a:extLst>
                  <a:ext uri="{FF2B5EF4-FFF2-40B4-BE49-F238E27FC236}">
                    <a16:creationId xmlns:a16="http://schemas.microsoft.com/office/drawing/2014/main" id="{70A76110-3E0D-49B8-AD35-B09EF52492A1}"/>
                  </a:ext>
                </a:extLst>
              </p:cNvPr>
              <p:cNvSpPr>
                <a:spLocks noEditPoints="1"/>
              </p:cNvSpPr>
              <p:nvPr/>
            </p:nvSpPr>
            <p:spPr bwMode="gray">
              <a:xfrm>
                <a:off x="10295004" y="2613763"/>
                <a:ext cx="641793" cy="718445"/>
              </a:xfrm>
              <a:custGeom>
                <a:avLst/>
                <a:gdLst>
                  <a:gd name="T0" fmla="*/ 1521 w 1559"/>
                  <a:gd name="T1" fmla="*/ 193 h 1745"/>
                  <a:gd name="T2" fmla="*/ 1483 w 1559"/>
                  <a:gd name="T3" fmla="*/ 215 h 1745"/>
                  <a:gd name="T4" fmla="*/ 1207 w 1559"/>
                  <a:gd name="T5" fmla="*/ 267 h 1745"/>
                  <a:gd name="T6" fmla="*/ 1181 w 1559"/>
                  <a:gd name="T7" fmla="*/ 337 h 1745"/>
                  <a:gd name="T8" fmla="*/ 1191 w 1559"/>
                  <a:gd name="T9" fmla="*/ 222 h 1745"/>
                  <a:gd name="T10" fmla="*/ 1278 w 1559"/>
                  <a:gd name="T11" fmla="*/ 82 h 1745"/>
                  <a:gd name="T12" fmla="*/ 1450 w 1559"/>
                  <a:gd name="T13" fmla="*/ 139 h 1745"/>
                  <a:gd name="T14" fmla="*/ 1245 w 1559"/>
                  <a:gd name="T15" fmla="*/ 33 h 1745"/>
                  <a:gd name="T16" fmla="*/ 1115 w 1559"/>
                  <a:gd name="T17" fmla="*/ 292 h 1745"/>
                  <a:gd name="T18" fmla="*/ 1136 w 1559"/>
                  <a:gd name="T19" fmla="*/ 897 h 1745"/>
                  <a:gd name="T20" fmla="*/ 1127 w 1559"/>
                  <a:gd name="T21" fmla="*/ 876 h 1745"/>
                  <a:gd name="T22" fmla="*/ 1072 w 1559"/>
                  <a:gd name="T23" fmla="*/ 897 h 1745"/>
                  <a:gd name="T24" fmla="*/ 943 w 1559"/>
                  <a:gd name="T25" fmla="*/ 914 h 1745"/>
                  <a:gd name="T26" fmla="*/ 938 w 1559"/>
                  <a:gd name="T27" fmla="*/ 947 h 1745"/>
                  <a:gd name="T28" fmla="*/ 801 w 1559"/>
                  <a:gd name="T29" fmla="*/ 987 h 1745"/>
                  <a:gd name="T30" fmla="*/ 737 w 1559"/>
                  <a:gd name="T31" fmla="*/ 930 h 1745"/>
                  <a:gd name="T32" fmla="*/ 666 w 1559"/>
                  <a:gd name="T33" fmla="*/ 954 h 1745"/>
                  <a:gd name="T34" fmla="*/ 574 w 1559"/>
                  <a:gd name="T35" fmla="*/ 975 h 1745"/>
                  <a:gd name="T36" fmla="*/ 633 w 1559"/>
                  <a:gd name="T37" fmla="*/ 864 h 1745"/>
                  <a:gd name="T38" fmla="*/ 829 w 1559"/>
                  <a:gd name="T39" fmla="*/ 859 h 1745"/>
                  <a:gd name="T40" fmla="*/ 921 w 1559"/>
                  <a:gd name="T41" fmla="*/ 753 h 1745"/>
                  <a:gd name="T42" fmla="*/ 943 w 1559"/>
                  <a:gd name="T43" fmla="*/ 732 h 1745"/>
                  <a:gd name="T44" fmla="*/ 1136 w 1559"/>
                  <a:gd name="T45" fmla="*/ 581 h 1745"/>
                  <a:gd name="T46" fmla="*/ 1169 w 1559"/>
                  <a:gd name="T47" fmla="*/ 415 h 1745"/>
                  <a:gd name="T48" fmla="*/ 1235 w 1559"/>
                  <a:gd name="T49" fmla="*/ 375 h 1745"/>
                  <a:gd name="T50" fmla="*/ 1283 w 1559"/>
                  <a:gd name="T51" fmla="*/ 543 h 1745"/>
                  <a:gd name="T52" fmla="*/ 1212 w 1559"/>
                  <a:gd name="T53" fmla="*/ 654 h 1745"/>
                  <a:gd name="T54" fmla="*/ 1051 w 1559"/>
                  <a:gd name="T55" fmla="*/ 642 h 1745"/>
                  <a:gd name="T56" fmla="*/ 683 w 1559"/>
                  <a:gd name="T57" fmla="*/ 786 h 1745"/>
                  <a:gd name="T58" fmla="*/ 1106 w 1559"/>
                  <a:gd name="T59" fmla="*/ 918 h 1745"/>
                  <a:gd name="T60" fmla="*/ 411 w 1559"/>
                  <a:gd name="T61" fmla="*/ 918 h 1745"/>
                  <a:gd name="T62" fmla="*/ 780 w 1559"/>
                  <a:gd name="T63" fmla="*/ 959 h 1745"/>
                  <a:gd name="T64" fmla="*/ 725 w 1559"/>
                  <a:gd name="T65" fmla="*/ 1025 h 1745"/>
                  <a:gd name="T66" fmla="*/ 628 w 1559"/>
                  <a:gd name="T67" fmla="*/ 1041 h 1745"/>
                  <a:gd name="T68" fmla="*/ 720 w 1559"/>
                  <a:gd name="T69" fmla="*/ 954 h 1745"/>
                  <a:gd name="T70" fmla="*/ 402 w 1559"/>
                  <a:gd name="T71" fmla="*/ 959 h 1745"/>
                  <a:gd name="T72" fmla="*/ 657 w 1559"/>
                  <a:gd name="T73" fmla="*/ 954 h 1745"/>
                  <a:gd name="T74" fmla="*/ 628 w 1559"/>
                  <a:gd name="T75" fmla="*/ 970 h 1745"/>
                  <a:gd name="T76" fmla="*/ 565 w 1559"/>
                  <a:gd name="T77" fmla="*/ 1008 h 1745"/>
                  <a:gd name="T78" fmla="*/ 527 w 1559"/>
                  <a:gd name="T79" fmla="*/ 1181 h 1745"/>
                  <a:gd name="T80" fmla="*/ 489 w 1559"/>
                  <a:gd name="T81" fmla="*/ 1174 h 1745"/>
                  <a:gd name="T82" fmla="*/ 489 w 1559"/>
                  <a:gd name="T83" fmla="*/ 1081 h 1745"/>
                  <a:gd name="T84" fmla="*/ 456 w 1559"/>
                  <a:gd name="T85" fmla="*/ 1098 h 1745"/>
                  <a:gd name="T86" fmla="*/ 435 w 1559"/>
                  <a:gd name="T87" fmla="*/ 1070 h 1745"/>
                  <a:gd name="T88" fmla="*/ 472 w 1559"/>
                  <a:gd name="T89" fmla="*/ 1008 h 1745"/>
                  <a:gd name="T90" fmla="*/ 423 w 1559"/>
                  <a:gd name="T91" fmla="*/ 1004 h 1745"/>
                  <a:gd name="T92" fmla="*/ 418 w 1559"/>
                  <a:gd name="T93" fmla="*/ 1029 h 1745"/>
                  <a:gd name="T94" fmla="*/ 385 w 1559"/>
                  <a:gd name="T95" fmla="*/ 1058 h 1745"/>
                  <a:gd name="T96" fmla="*/ 359 w 1559"/>
                  <a:gd name="T97" fmla="*/ 1081 h 1745"/>
                  <a:gd name="T98" fmla="*/ 465 w 1559"/>
                  <a:gd name="T99" fmla="*/ 1103 h 1745"/>
                  <a:gd name="T100" fmla="*/ 456 w 1559"/>
                  <a:gd name="T101" fmla="*/ 1124 h 1745"/>
                  <a:gd name="T102" fmla="*/ 527 w 1559"/>
                  <a:gd name="T103" fmla="*/ 1230 h 1745"/>
                  <a:gd name="T104" fmla="*/ 489 w 1559"/>
                  <a:gd name="T105" fmla="*/ 1280 h 1745"/>
                  <a:gd name="T106" fmla="*/ 385 w 1559"/>
                  <a:gd name="T107" fmla="*/ 1436 h 1745"/>
                  <a:gd name="T108" fmla="*/ 397 w 1559"/>
                  <a:gd name="T109" fmla="*/ 1436 h 1745"/>
                  <a:gd name="T110" fmla="*/ 359 w 1559"/>
                  <a:gd name="T111" fmla="*/ 1502 h 1745"/>
                  <a:gd name="T112" fmla="*/ 293 w 1559"/>
                  <a:gd name="T113" fmla="*/ 1596 h 1745"/>
                  <a:gd name="T114" fmla="*/ 217 w 1559"/>
                  <a:gd name="T115" fmla="*/ 1580 h 1745"/>
                  <a:gd name="T116" fmla="*/ 116 w 1559"/>
                  <a:gd name="T117" fmla="*/ 1696 h 1745"/>
                  <a:gd name="T118" fmla="*/ 33 w 1559"/>
                  <a:gd name="T119" fmla="*/ 1729 h 1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59" h="1745">
                    <a:moveTo>
                      <a:pt x="1450" y="139"/>
                    </a:moveTo>
                    <a:lnTo>
                      <a:pt x="1483" y="144"/>
                    </a:lnTo>
                    <a:lnTo>
                      <a:pt x="1521" y="104"/>
                    </a:lnTo>
                    <a:lnTo>
                      <a:pt x="1531" y="111"/>
                    </a:lnTo>
                    <a:lnTo>
                      <a:pt x="1505" y="155"/>
                    </a:lnTo>
                    <a:lnTo>
                      <a:pt x="1517" y="165"/>
                    </a:lnTo>
                    <a:lnTo>
                      <a:pt x="1521" y="177"/>
                    </a:lnTo>
                    <a:lnTo>
                      <a:pt x="1517" y="165"/>
                    </a:lnTo>
                    <a:lnTo>
                      <a:pt x="1521" y="193"/>
                    </a:lnTo>
                    <a:lnTo>
                      <a:pt x="1521" y="193"/>
                    </a:lnTo>
                    <a:lnTo>
                      <a:pt x="1538" y="198"/>
                    </a:lnTo>
                    <a:lnTo>
                      <a:pt x="1547" y="193"/>
                    </a:lnTo>
                    <a:lnTo>
                      <a:pt x="1559" y="193"/>
                    </a:lnTo>
                    <a:lnTo>
                      <a:pt x="1547" y="193"/>
                    </a:lnTo>
                    <a:lnTo>
                      <a:pt x="1538" y="210"/>
                    </a:lnTo>
                    <a:lnTo>
                      <a:pt x="1517" y="210"/>
                    </a:lnTo>
                    <a:lnTo>
                      <a:pt x="1500" y="222"/>
                    </a:lnTo>
                    <a:lnTo>
                      <a:pt x="1483" y="215"/>
                    </a:lnTo>
                    <a:lnTo>
                      <a:pt x="1479" y="231"/>
                    </a:lnTo>
                    <a:lnTo>
                      <a:pt x="1450" y="222"/>
                    </a:lnTo>
                    <a:lnTo>
                      <a:pt x="1429" y="231"/>
                    </a:lnTo>
                    <a:lnTo>
                      <a:pt x="1391" y="271"/>
                    </a:lnTo>
                    <a:lnTo>
                      <a:pt x="1375" y="321"/>
                    </a:lnTo>
                    <a:lnTo>
                      <a:pt x="1278" y="255"/>
                    </a:lnTo>
                    <a:lnTo>
                      <a:pt x="1250" y="267"/>
                    </a:lnTo>
                    <a:lnTo>
                      <a:pt x="1224" y="288"/>
                    </a:lnTo>
                    <a:lnTo>
                      <a:pt x="1207" y="267"/>
                    </a:lnTo>
                    <a:lnTo>
                      <a:pt x="1181" y="267"/>
                    </a:lnTo>
                    <a:lnTo>
                      <a:pt x="1174" y="271"/>
                    </a:lnTo>
                    <a:lnTo>
                      <a:pt x="1169" y="288"/>
                    </a:lnTo>
                    <a:lnTo>
                      <a:pt x="1191" y="304"/>
                    </a:lnTo>
                    <a:lnTo>
                      <a:pt x="1198" y="304"/>
                    </a:lnTo>
                    <a:lnTo>
                      <a:pt x="1235" y="326"/>
                    </a:lnTo>
                    <a:lnTo>
                      <a:pt x="1224" y="337"/>
                    </a:lnTo>
                    <a:lnTo>
                      <a:pt x="1198" y="326"/>
                    </a:lnTo>
                    <a:lnTo>
                      <a:pt x="1181" y="337"/>
                    </a:lnTo>
                    <a:lnTo>
                      <a:pt x="1181" y="349"/>
                    </a:lnTo>
                    <a:lnTo>
                      <a:pt x="1169" y="359"/>
                    </a:lnTo>
                    <a:lnTo>
                      <a:pt x="1153" y="359"/>
                    </a:lnTo>
                    <a:lnTo>
                      <a:pt x="1153" y="342"/>
                    </a:lnTo>
                    <a:lnTo>
                      <a:pt x="1157" y="309"/>
                    </a:lnTo>
                    <a:lnTo>
                      <a:pt x="1136" y="288"/>
                    </a:lnTo>
                    <a:lnTo>
                      <a:pt x="1136" y="255"/>
                    </a:lnTo>
                    <a:lnTo>
                      <a:pt x="1174" y="238"/>
                    </a:lnTo>
                    <a:lnTo>
                      <a:pt x="1191" y="222"/>
                    </a:lnTo>
                    <a:lnTo>
                      <a:pt x="1174" y="198"/>
                    </a:lnTo>
                    <a:lnTo>
                      <a:pt x="1181" y="193"/>
                    </a:lnTo>
                    <a:lnTo>
                      <a:pt x="1207" y="210"/>
                    </a:lnTo>
                    <a:lnTo>
                      <a:pt x="1228" y="210"/>
                    </a:lnTo>
                    <a:lnTo>
                      <a:pt x="1250" y="193"/>
                    </a:lnTo>
                    <a:lnTo>
                      <a:pt x="1245" y="160"/>
                    </a:lnTo>
                    <a:lnTo>
                      <a:pt x="1266" y="139"/>
                    </a:lnTo>
                    <a:lnTo>
                      <a:pt x="1266" y="111"/>
                    </a:lnTo>
                    <a:lnTo>
                      <a:pt x="1278" y="82"/>
                    </a:lnTo>
                    <a:lnTo>
                      <a:pt x="1261" y="28"/>
                    </a:lnTo>
                    <a:lnTo>
                      <a:pt x="1266" y="11"/>
                    </a:lnTo>
                    <a:lnTo>
                      <a:pt x="1287" y="0"/>
                    </a:lnTo>
                    <a:lnTo>
                      <a:pt x="1370" y="87"/>
                    </a:lnTo>
                    <a:lnTo>
                      <a:pt x="1408" y="111"/>
                    </a:lnTo>
                    <a:lnTo>
                      <a:pt x="1413" y="127"/>
                    </a:lnTo>
                    <a:lnTo>
                      <a:pt x="1446" y="127"/>
                    </a:lnTo>
                    <a:lnTo>
                      <a:pt x="1450" y="139"/>
                    </a:lnTo>
                    <a:lnTo>
                      <a:pt x="1450" y="139"/>
                    </a:lnTo>
                    <a:lnTo>
                      <a:pt x="1450" y="139"/>
                    </a:lnTo>
                    <a:close/>
                    <a:moveTo>
                      <a:pt x="1224" y="11"/>
                    </a:moveTo>
                    <a:lnTo>
                      <a:pt x="1228" y="11"/>
                    </a:lnTo>
                    <a:lnTo>
                      <a:pt x="1224" y="28"/>
                    </a:lnTo>
                    <a:lnTo>
                      <a:pt x="1224" y="11"/>
                    </a:lnTo>
                    <a:lnTo>
                      <a:pt x="1224" y="11"/>
                    </a:lnTo>
                    <a:lnTo>
                      <a:pt x="1224" y="11"/>
                    </a:lnTo>
                    <a:close/>
                    <a:moveTo>
                      <a:pt x="1228" y="28"/>
                    </a:moveTo>
                    <a:lnTo>
                      <a:pt x="1245" y="33"/>
                    </a:lnTo>
                    <a:lnTo>
                      <a:pt x="1228" y="33"/>
                    </a:lnTo>
                    <a:lnTo>
                      <a:pt x="1228" y="28"/>
                    </a:lnTo>
                    <a:lnTo>
                      <a:pt x="1228" y="28"/>
                    </a:lnTo>
                    <a:lnTo>
                      <a:pt x="1228" y="28"/>
                    </a:lnTo>
                    <a:close/>
                    <a:moveTo>
                      <a:pt x="1115" y="292"/>
                    </a:moveTo>
                    <a:lnTo>
                      <a:pt x="1120" y="288"/>
                    </a:lnTo>
                    <a:lnTo>
                      <a:pt x="1115" y="304"/>
                    </a:lnTo>
                    <a:lnTo>
                      <a:pt x="1115" y="292"/>
                    </a:lnTo>
                    <a:lnTo>
                      <a:pt x="1115" y="292"/>
                    </a:lnTo>
                    <a:lnTo>
                      <a:pt x="1115" y="292"/>
                    </a:lnTo>
                    <a:close/>
                    <a:moveTo>
                      <a:pt x="1207" y="748"/>
                    </a:moveTo>
                    <a:lnTo>
                      <a:pt x="1191" y="791"/>
                    </a:lnTo>
                    <a:lnTo>
                      <a:pt x="1207" y="843"/>
                    </a:lnTo>
                    <a:lnTo>
                      <a:pt x="1181" y="859"/>
                    </a:lnTo>
                    <a:lnTo>
                      <a:pt x="1174" y="892"/>
                    </a:lnTo>
                    <a:lnTo>
                      <a:pt x="1157" y="892"/>
                    </a:lnTo>
                    <a:lnTo>
                      <a:pt x="1143" y="902"/>
                    </a:lnTo>
                    <a:lnTo>
                      <a:pt x="1136" y="897"/>
                    </a:lnTo>
                    <a:lnTo>
                      <a:pt x="1143" y="897"/>
                    </a:lnTo>
                    <a:lnTo>
                      <a:pt x="1136" y="876"/>
                    </a:lnTo>
                    <a:lnTo>
                      <a:pt x="1157" y="848"/>
                    </a:lnTo>
                    <a:lnTo>
                      <a:pt x="1143" y="843"/>
                    </a:lnTo>
                    <a:lnTo>
                      <a:pt x="1136" y="843"/>
                    </a:lnTo>
                    <a:lnTo>
                      <a:pt x="1136" y="859"/>
                    </a:lnTo>
                    <a:lnTo>
                      <a:pt x="1127" y="859"/>
                    </a:lnTo>
                    <a:lnTo>
                      <a:pt x="1127" y="876"/>
                    </a:lnTo>
                    <a:lnTo>
                      <a:pt x="1127" y="876"/>
                    </a:lnTo>
                    <a:lnTo>
                      <a:pt x="1127" y="892"/>
                    </a:lnTo>
                    <a:lnTo>
                      <a:pt x="1120" y="876"/>
                    </a:lnTo>
                    <a:lnTo>
                      <a:pt x="1089" y="881"/>
                    </a:lnTo>
                    <a:lnTo>
                      <a:pt x="1082" y="892"/>
                    </a:lnTo>
                    <a:lnTo>
                      <a:pt x="1089" y="902"/>
                    </a:lnTo>
                    <a:lnTo>
                      <a:pt x="1068" y="930"/>
                    </a:lnTo>
                    <a:lnTo>
                      <a:pt x="1061" y="918"/>
                    </a:lnTo>
                    <a:lnTo>
                      <a:pt x="1068" y="897"/>
                    </a:lnTo>
                    <a:lnTo>
                      <a:pt x="1072" y="897"/>
                    </a:lnTo>
                    <a:lnTo>
                      <a:pt x="1061" y="892"/>
                    </a:lnTo>
                    <a:lnTo>
                      <a:pt x="1051" y="892"/>
                    </a:lnTo>
                    <a:lnTo>
                      <a:pt x="1035" y="902"/>
                    </a:lnTo>
                    <a:lnTo>
                      <a:pt x="1018" y="930"/>
                    </a:lnTo>
                    <a:lnTo>
                      <a:pt x="980" y="918"/>
                    </a:lnTo>
                    <a:lnTo>
                      <a:pt x="943" y="930"/>
                    </a:lnTo>
                    <a:lnTo>
                      <a:pt x="964" y="918"/>
                    </a:lnTo>
                    <a:lnTo>
                      <a:pt x="959" y="914"/>
                    </a:lnTo>
                    <a:lnTo>
                      <a:pt x="943" y="914"/>
                    </a:lnTo>
                    <a:lnTo>
                      <a:pt x="938" y="902"/>
                    </a:lnTo>
                    <a:lnTo>
                      <a:pt x="938" y="914"/>
                    </a:lnTo>
                    <a:lnTo>
                      <a:pt x="938" y="918"/>
                    </a:lnTo>
                    <a:lnTo>
                      <a:pt x="926" y="918"/>
                    </a:lnTo>
                    <a:lnTo>
                      <a:pt x="926" y="892"/>
                    </a:lnTo>
                    <a:lnTo>
                      <a:pt x="909" y="897"/>
                    </a:lnTo>
                    <a:lnTo>
                      <a:pt x="905" y="918"/>
                    </a:lnTo>
                    <a:lnTo>
                      <a:pt x="905" y="930"/>
                    </a:lnTo>
                    <a:lnTo>
                      <a:pt x="938" y="947"/>
                    </a:lnTo>
                    <a:lnTo>
                      <a:pt x="938" y="954"/>
                    </a:lnTo>
                    <a:lnTo>
                      <a:pt x="909" y="954"/>
                    </a:lnTo>
                    <a:lnTo>
                      <a:pt x="900" y="959"/>
                    </a:lnTo>
                    <a:lnTo>
                      <a:pt x="888" y="987"/>
                    </a:lnTo>
                    <a:lnTo>
                      <a:pt x="850" y="1025"/>
                    </a:lnTo>
                    <a:lnTo>
                      <a:pt x="829" y="1013"/>
                    </a:lnTo>
                    <a:lnTo>
                      <a:pt x="817" y="1008"/>
                    </a:lnTo>
                    <a:lnTo>
                      <a:pt x="829" y="1004"/>
                    </a:lnTo>
                    <a:lnTo>
                      <a:pt x="801" y="987"/>
                    </a:lnTo>
                    <a:lnTo>
                      <a:pt x="813" y="970"/>
                    </a:lnTo>
                    <a:lnTo>
                      <a:pt x="801" y="959"/>
                    </a:lnTo>
                    <a:lnTo>
                      <a:pt x="801" y="954"/>
                    </a:lnTo>
                    <a:lnTo>
                      <a:pt x="829" y="930"/>
                    </a:lnTo>
                    <a:lnTo>
                      <a:pt x="817" y="918"/>
                    </a:lnTo>
                    <a:lnTo>
                      <a:pt x="801" y="930"/>
                    </a:lnTo>
                    <a:lnTo>
                      <a:pt x="775" y="914"/>
                    </a:lnTo>
                    <a:lnTo>
                      <a:pt x="742" y="918"/>
                    </a:lnTo>
                    <a:lnTo>
                      <a:pt x="737" y="930"/>
                    </a:lnTo>
                    <a:lnTo>
                      <a:pt x="725" y="930"/>
                    </a:lnTo>
                    <a:lnTo>
                      <a:pt x="737" y="930"/>
                    </a:lnTo>
                    <a:lnTo>
                      <a:pt x="725" y="947"/>
                    </a:lnTo>
                    <a:lnTo>
                      <a:pt x="704" y="937"/>
                    </a:lnTo>
                    <a:lnTo>
                      <a:pt x="683" y="954"/>
                    </a:lnTo>
                    <a:lnTo>
                      <a:pt x="671" y="947"/>
                    </a:lnTo>
                    <a:lnTo>
                      <a:pt x="671" y="954"/>
                    </a:lnTo>
                    <a:lnTo>
                      <a:pt x="666" y="959"/>
                    </a:lnTo>
                    <a:lnTo>
                      <a:pt x="666" y="954"/>
                    </a:lnTo>
                    <a:lnTo>
                      <a:pt x="650" y="954"/>
                    </a:lnTo>
                    <a:lnTo>
                      <a:pt x="628" y="959"/>
                    </a:lnTo>
                    <a:lnTo>
                      <a:pt x="628" y="954"/>
                    </a:lnTo>
                    <a:lnTo>
                      <a:pt x="612" y="954"/>
                    </a:lnTo>
                    <a:lnTo>
                      <a:pt x="602" y="959"/>
                    </a:lnTo>
                    <a:lnTo>
                      <a:pt x="595" y="992"/>
                    </a:lnTo>
                    <a:lnTo>
                      <a:pt x="586" y="1004"/>
                    </a:lnTo>
                    <a:lnTo>
                      <a:pt x="586" y="987"/>
                    </a:lnTo>
                    <a:lnTo>
                      <a:pt x="574" y="975"/>
                    </a:lnTo>
                    <a:lnTo>
                      <a:pt x="532" y="987"/>
                    </a:lnTo>
                    <a:lnTo>
                      <a:pt x="520" y="975"/>
                    </a:lnTo>
                    <a:lnTo>
                      <a:pt x="510" y="987"/>
                    </a:lnTo>
                    <a:lnTo>
                      <a:pt x="510" y="947"/>
                    </a:lnTo>
                    <a:lnTo>
                      <a:pt x="548" y="947"/>
                    </a:lnTo>
                    <a:lnTo>
                      <a:pt x="557" y="930"/>
                    </a:lnTo>
                    <a:lnTo>
                      <a:pt x="579" y="918"/>
                    </a:lnTo>
                    <a:lnTo>
                      <a:pt x="633" y="876"/>
                    </a:lnTo>
                    <a:lnTo>
                      <a:pt x="633" y="864"/>
                    </a:lnTo>
                    <a:lnTo>
                      <a:pt x="666" y="848"/>
                    </a:lnTo>
                    <a:lnTo>
                      <a:pt x="687" y="859"/>
                    </a:lnTo>
                    <a:lnTo>
                      <a:pt x="742" y="848"/>
                    </a:lnTo>
                    <a:lnTo>
                      <a:pt x="763" y="843"/>
                    </a:lnTo>
                    <a:lnTo>
                      <a:pt x="796" y="843"/>
                    </a:lnTo>
                    <a:lnTo>
                      <a:pt x="813" y="836"/>
                    </a:lnTo>
                    <a:lnTo>
                      <a:pt x="817" y="843"/>
                    </a:lnTo>
                    <a:lnTo>
                      <a:pt x="813" y="848"/>
                    </a:lnTo>
                    <a:lnTo>
                      <a:pt x="829" y="859"/>
                    </a:lnTo>
                    <a:lnTo>
                      <a:pt x="817" y="848"/>
                    </a:lnTo>
                    <a:lnTo>
                      <a:pt x="829" y="848"/>
                    </a:lnTo>
                    <a:lnTo>
                      <a:pt x="834" y="859"/>
                    </a:lnTo>
                    <a:lnTo>
                      <a:pt x="850" y="859"/>
                    </a:lnTo>
                    <a:lnTo>
                      <a:pt x="872" y="836"/>
                    </a:lnTo>
                    <a:lnTo>
                      <a:pt x="872" y="843"/>
                    </a:lnTo>
                    <a:lnTo>
                      <a:pt x="872" y="836"/>
                    </a:lnTo>
                    <a:lnTo>
                      <a:pt x="867" y="819"/>
                    </a:lnTo>
                    <a:lnTo>
                      <a:pt x="921" y="753"/>
                    </a:lnTo>
                    <a:lnTo>
                      <a:pt x="921" y="737"/>
                    </a:lnTo>
                    <a:lnTo>
                      <a:pt x="921" y="715"/>
                    </a:lnTo>
                    <a:lnTo>
                      <a:pt x="926" y="699"/>
                    </a:lnTo>
                    <a:lnTo>
                      <a:pt x="964" y="692"/>
                    </a:lnTo>
                    <a:lnTo>
                      <a:pt x="964" y="699"/>
                    </a:lnTo>
                    <a:lnTo>
                      <a:pt x="943" y="715"/>
                    </a:lnTo>
                    <a:lnTo>
                      <a:pt x="938" y="715"/>
                    </a:lnTo>
                    <a:lnTo>
                      <a:pt x="926" y="725"/>
                    </a:lnTo>
                    <a:lnTo>
                      <a:pt x="943" y="732"/>
                    </a:lnTo>
                    <a:lnTo>
                      <a:pt x="943" y="748"/>
                    </a:lnTo>
                    <a:lnTo>
                      <a:pt x="959" y="753"/>
                    </a:lnTo>
                    <a:lnTo>
                      <a:pt x="976" y="737"/>
                    </a:lnTo>
                    <a:lnTo>
                      <a:pt x="1030" y="715"/>
                    </a:lnTo>
                    <a:lnTo>
                      <a:pt x="1051" y="699"/>
                    </a:lnTo>
                    <a:lnTo>
                      <a:pt x="1068" y="670"/>
                    </a:lnTo>
                    <a:lnTo>
                      <a:pt x="1115" y="637"/>
                    </a:lnTo>
                    <a:lnTo>
                      <a:pt x="1115" y="614"/>
                    </a:lnTo>
                    <a:lnTo>
                      <a:pt x="1136" y="581"/>
                    </a:lnTo>
                    <a:lnTo>
                      <a:pt x="1153" y="531"/>
                    </a:lnTo>
                    <a:lnTo>
                      <a:pt x="1153" y="503"/>
                    </a:lnTo>
                    <a:lnTo>
                      <a:pt x="1127" y="486"/>
                    </a:lnTo>
                    <a:lnTo>
                      <a:pt x="1127" y="486"/>
                    </a:lnTo>
                    <a:lnTo>
                      <a:pt x="1143" y="486"/>
                    </a:lnTo>
                    <a:lnTo>
                      <a:pt x="1153" y="460"/>
                    </a:lnTo>
                    <a:lnTo>
                      <a:pt x="1136" y="432"/>
                    </a:lnTo>
                    <a:lnTo>
                      <a:pt x="1153" y="415"/>
                    </a:lnTo>
                    <a:lnTo>
                      <a:pt x="1169" y="415"/>
                    </a:lnTo>
                    <a:lnTo>
                      <a:pt x="1174" y="375"/>
                    </a:lnTo>
                    <a:lnTo>
                      <a:pt x="1198" y="382"/>
                    </a:lnTo>
                    <a:lnTo>
                      <a:pt x="1198" y="415"/>
                    </a:lnTo>
                    <a:lnTo>
                      <a:pt x="1207" y="404"/>
                    </a:lnTo>
                    <a:lnTo>
                      <a:pt x="1212" y="399"/>
                    </a:lnTo>
                    <a:lnTo>
                      <a:pt x="1228" y="404"/>
                    </a:lnTo>
                    <a:lnTo>
                      <a:pt x="1235" y="404"/>
                    </a:lnTo>
                    <a:lnTo>
                      <a:pt x="1235" y="382"/>
                    </a:lnTo>
                    <a:lnTo>
                      <a:pt x="1235" y="375"/>
                    </a:lnTo>
                    <a:lnTo>
                      <a:pt x="1207" y="382"/>
                    </a:lnTo>
                    <a:lnTo>
                      <a:pt x="1212" y="349"/>
                    </a:lnTo>
                    <a:lnTo>
                      <a:pt x="1235" y="366"/>
                    </a:lnTo>
                    <a:lnTo>
                      <a:pt x="1250" y="366"/>
                    </a:lnTo>
                    <a:lnTo>
                      <a:pt x="1245" y="382"/>
                    </a:lnTo>
                    <a:lnTo>
                      <a:pt x="1250" y="432"/>
                    </a:lnTo>
                    <a:lnTo>
                      <a:pt x="1278" y="460"/>
                    </a:lnTo>
                    <a:lnTo>
                      <a:pt x="1299" y="515"/>
                    </a:lnTo>
                    <a:lnTo>
                      <a:pt x="1283" y="543"/>
                    </a:lnTo>
                    <a:lnTo>
                      <a:pt x="1283" y="564"/>
                    </a:lnTo>
                    <a:lnTo>
                      <a:pt x="1266" y="564"/>
                    </a:lnTo>
                    <a:lnTo>
                      <a:pt x="1266" y="571"/>
                    </a:lnTo>
                    <a:lnTo>
                      <a:pt x="1261" y="581"/>
                    </a:lnTo>
                    <a:lnTo>
                      <a:pt x="1261" y="626"/>
                    </a:lnTo>
                    <a:lnTo>
                      <a:pt x="1245" y="614"/>
                    </a:lnTo>
                    <a:lnTo>
                      <a:pt x="1228" y="621"/>
                    </a:lnTo>
                    <a:lnTo>
                      <a:pt x="1212" y="637"/>
                    </a:lnTo>
                    <a:lnTo>
                      <a:pt x="1212" y="654"/>
                    </a:lnTo>
                    <a:lnTo>
                      <a:pt x="1224" y="675"/>
                    </a:lnTo>
                    <a:lnTo>
                      <a:pt x="1224" y="699"/>
                    </a:lnTo>
                    <a:lnTo>
                      <a:pt x="1224" y="732"/>
                    </a:lnTo>
                    <a:lnTo>
                      <a:pt x="1207" y="748"/>
                    </a:lnTo>
                    <a:lnTo>
                      <a:pt x="1207" y="748"/>
                    </a:lnTo>
                    <a:lnTo>
                      <a:pt x="1207" y="748"/>
                    </a:lnTo>
                    <a:close/>
                    <a:moveTo>
                      <a:pt x="1044" y="626"/>
                    </a:moveTo>
                    <a:lnTo>
                      <a:pt x="1035" y="642"/>
                    </a:lnTo>
                    <a:lnTo>
                      <a:pt x="1051" y="642"/>
                    </a:lnTo>
                    <a:lnTo>
                      <a:pt x="1044" y="659"/>
                    </a:lnTo>
                    <a:lnTo>
                      <a:pt x="1030" y="670"/>
                    </a:lnTo>
                    <a:lnTo>
                      <a:pt x="1035" y="654"/>
                    </a:lnTo>
                    <a:lnTo>
                      <a:pt x="1030" y="654"/>
                    </a:lnTo>
                    <a:lnTo>
                      <a:pt x="1030" y="642"/>
                    </a:lnTo>
                    <a:lnTo>
                      <a:pt x="1044" y="626"/>
                    </a:lnTo>
                    <a:lnTo>
                      <a:pt x="1044" y="626"/>
                    </a:lnTo>
                    <a:lnTo>
                      <a:pt x="1044" y="626"/>
                    </a:lnTo>
                    <a:close/>
                    <a:moveTo>
                      <a:pt x="683" y="786"/>
                    </a:moveTo>
                    <a:lnTo>
                      <a:pt x="687" y="803"/>
                    </a:lnTo>
                    <a:lnTo>
                      <a:pt x="671" y="803"/>
                    </a:lnTo>
                    <a:lnTo>
                      <a:pt x="671" y="791"/>
                    </a:lnTo>
                    <a:lnTo>
                      <a:pt x="683" y="786"/>
                    </a:lnTo>
                    <a:lnTo>
                      <a:pt x="683" y="786"/>
                    </a:lnTo>
                    <a:lnTo>
                      <a:pt x="683" y="786"/>
                    </a:lnTo>
                    <a:close/>
                    <a:moveTo>
                      <a:pt x="1106" y="914"/>
                    </a:moveTo>
                    <a:lnTo>
                      <a:pt x="1115" y="918"/>
                    </a:lnTo>
                    <a:lnTo>
                      <a:pt x="1106" y="918"/>
                    </a:lnTo>
                    <a:lnTo>
                      <a:pt x="1106" y="914"/>
                    </a:lnTo>
                    <a:lnTo>
                      <a:pt x="1106" y="914"/>
                    </a:lnTo>
                    <a:lnTo>
                      <a:pt x="1106" y="914"/>
                    </a:lnTo>
                    <a:close/>
                    <a:moveTo>
                      <a:pt x="411" y="918"/>
                    </a:moveTo>
                    <a:lnTo>
                      <a:pt x="402" y="954"/>
                    </a:lnTo>
                    <a:lnTo>
                      <a:pt x="397" y="954"/>
                    </a:lnTo>
                    <a:lnTo>
                      <a:pt x="397" y="930"/>
                    </a:lnTo>
                    <a:lnTo>
                      <a:pt x="411" y="918"/>
                    </a:lnTo>
                    <a:lnTo>
                      <a:pt x="411" y="918"/>
                    </a:lnTo>
                    <a:lnTo>
                      <a:pt x="411" y="918"/>
                    </a:lnTo>
                    <a:close/>
                    <a:moveTo>
                      <a:pt x="780" y="959"/>
                    </a:moveTo>
                    <a:lnTo>
                      <a:pt x="775" y="954"/>
                    </a:lnTo>
                    <a:lnTo>
                      <a:pt x="796" y="930"/>
                    </a:lnTo>
                    <a:lnTo>
                      <a:pt x="791" y="947"/>
                    </a:lnTo>
                    <a:lnTo>
                      <a:pt x="796" y="959"/>
                    </a:lnTo>
                    <a:lnTo>
                      <a:pt x="780" y="959"/>
                    </a:lnTo>
                    <a:lnTo>
                      <a:pt x="780" y="959"/>
                    </a:lnTo>
                    <a:lnTo>
                      <a:pt x="780" y="959"/>
                    </a:lnTo>
                    <a:close/>
                    <a:moveTo>
                      <a:pt x="758" y="937"/>
                    </a:moveTo>
                    <a:lnTo>
                      <a:pt x="746" y="947"/>
                    </a:lnTo>
                    <a:lnTo>
                      <a:pt x="742" y="937"/>
                    </a:lnTo>
                    <a:lnTo>
                      <a:pt x="758" y="937"/>
                    </a:lnTo>
                    <a:lnTo>
                      <a:pt x="758" y="937"/>
                    </a:lnTo>
                    <a:lnTo>
                      <a:pt x="758" y="937"/>
                    </a:lnTo>
                    <a:close/>
                    <a:moveTo>
                      <a:pt x="746" y="1013"/>
                    </a:moveTo>
                    <a:lnTo>
                      <a:pt x="742" y="1041"/>
                    </a:lnTo>
                    <a:lnTo>
                      <a:pt x="725" y="1025"/>
                    </a:lnTo>
                    <a:lnTo>
                      <a:pt x="709" y="1013"/>
                    </a:lnTo>
                    <a:lnTo>
                      <a:pt x="683" y="1029"/>
                    </a:lnTo>
                    <a:lnTo>
                      <a:pt x="671" y="1041"/>
                    </a:lnTo>
                    <a:lnTo>
                      <a:pt x="657" y="1058"/>
                    </a:lnTo>
                    <a:lnTo>
                      <a:pt x="657" y="1081"/>
                    </a:lnTo>
                    <a:lnTo>
                      <a:pt x="633" y="1081"/>
                    </a:lnTo>
                    <a:lnTo>
                      <a:pt x="640" y="1065"/>
                    </a:lnTo>
                    <a:lnTo>
                      <a:pt x="619" y="1065"/>
                    </a:lnTo>
                    <a:lnTo>
                      <a:pt x="628" y="1041"/>
                    </a:lnTo>
                    <a:lnTo>
                      <a:pt x="612" y="1029"/>
                    </a:lnTo>
                    <a:lnTo>
                      <a:pt x="612" y="1025"/>
                    </a:lnTo>
                    <a:lnTo>
                      <a:pt x="586" y="1029"/>
                    </a:lnTo>
                    <a:lnTo>
                      <a:pt x="633" y="1008"/>
                    </a:lnTo>
                    <a:lnTo>
                      <a:pt x="650" y="970"/>
                    </a:lnTo>
                    <a:lnTo>
                      <a:pt x="666" y="987"/>
                    </a:lnTo>
                    <a:lnTo>
                      <a:pt x="694" y="987"/>
                    </a:lnTo>
                    <a:lnTo>
                      <a:pt x="704" y="959"/>
                    </a:lnTo>
                    <a:lnTo>
                      <a:pt x="720" y="954"/>
                    </a:lnTo>
                    <a:lnTo>
                      <a:pt x="737" y="947"/>
                    </a:lnTo>
                    <a:lnTo>
                      <a:pt x="758" y="959"/>
                    </a:lnTo>
                    <a:lnTo>
                      <a:pt x="763" y="959"/>
                    </a:lnTo>
                    <a:lnTo>
                      <a:pt x="775" y="975"/>
                    </a:lnTo>
                    <a:lnTo>
                      <a:pt x="780" y="992"/>
                    </a:lnTo>
                    <a:lnTo>
                      <a:pt x="746" y="1013"/>
                    </a:lnTo>
                    <a:lnTo>
                      <a:pt x="746" y="1013"/>
                    </a:lnTo>
                    <a:lnTo>
                      <a:pt x="746" y="1013"/>
                    </a:lnTo>
                    <a:close/>
                    <a:moveTo>
                      <a:pt x="402" y="959"/>
                    </a:moveTo>
                    <a:lnTo>
                      <a:pt x="385" y="970"/>
                    </a:lnTo>
                    <a:lnTo>
                      <a:pt x="397" y="954"/>
                    </a:lnTo>
                    <a:lnTo>
                      <a:pt x="402" y="959"/>
                    </a:lnTo>
                    <a:lnTo>
                      <a:pt x="402" y="959"/>
                    </a:lnTo>
                    <a:lnTo>
                      <a:pt x="402" y="959"/>
                    </a:lnTo>
                    <a:close/>
                    <a:moveTo>
                      <a:pt x="657" y="954"/>
                    </a:moveTo>
                    <a:lnTo>
                      <a:pt x="666" y="959"/>
                    </a:lnTo>
                    <a:lnTo>
                      <a:pt x="657" y="959"/>
                    </a:lnTo>
                    <a:lnTo>
                      <a:pt x="657" y="954"/>
                    </a:lnTo>
                    <a:lnTo>
                      <a:pt x="657" y="954"/>
                    </a:lnTo>
                    <a:lnTo>
                      <a:pt x="657" y="954"/>
                    </a:lnTo>
                    <a:close/>
                    <a:moveTo>
                      <a:pt x="628" y="959"/>
                    </a:moveTo>
                    <a:lnTo>
                      <a:pt x="619" y="970"/>
                    </a:lnTo>
                    <a:lnTo>
                      <a:pt x="619" y="959"/>
                    </a:lnTo>
                    <a:lnTo>
                      <a:pt x="628" y="959"/>
                    </a:lnTo>
                    <a:lnTo>
                      <a:pt x="628" y="959"/>
                    </a:lnTo>
                    <a:lnTo>
                      <a:pt x="628" y="959"/>
                    </a:lnTo>
                    <a:close/>
                    <a:moveTo>
                      <a:pt x="628" y="970"/>
                    </a:moveTo>
                    <a:lnTo>
                      <a:pt x="628" y="975"/>
                    </a:lnTo>
                    <a:lnTo>
                      <a:pt x="619" y="970"/>
                    </a:lnTo>
                    <a:lnTo>
                      <a:pt x="628" y="970"/>
                    </a:lnTo>
                    <a:lnTo>
                      <a:pt x="628" y="970"/>
                    </a:lnTo>
                    <a:lnTo>
                      <a:pt x="628" y="970"/>
                    </a:lnTo>
                    <a:close/>
                    <a:moveTo>
                      <a:pt x="532" y="1008"/>
                    </a:moveTo>
                    <a:lnTo>
                      <a:pt x="548" y="1013"/>
                    </a:lnTo>
                    <a:lnTo>
                      <a:pt x="557" y="1008"/>
                    </a:lnTo>
                    <a:lnTo>
                      <a:pt x="565" y="1008"/>
                    </a:lnTo>
                    <a:lnTo>
                      <a:pt x="574" y="1025"/>
                    </a:lnTo>
                    <a:lnTo>
                      <a:pt x="557" y="1029"/>
                    </a:lnTo>
                    <a:lnTo>
                      <a:pt x="557" y="1041"/>
                    </a:lnTo>
                    <a:lnTo>
                      <a:pt x="579" y="1041"/>
                    </a:lnTo>
                    <a:lnTo>
                      <a:pt x="574" y="1046"/>
                    </a:lnTo>
                    <a:lnTo>
                      <a:pt x="586" y="1070"/>
                    </a:lnTo>
                    <a:lnTo>
                      <a:pt x="565" y="1098"/>
                    </a:lnTo>
                    <a:lnTo>
                      <a:pt x="541" y="1190"/>
                    </a:lnTo>
                    <a:lnTo>
                      <a:pt x="527" y="1181"/>
                    </a:lnTo>
                    <a:lnTo>
                      <a:pt x="520" y="1190"/>
                    </a:lnTo>
                    <a:lnTo>
                      <a:pt x="527" y="1197"/>
                    </a:lnTo>
                    <a:lnTo>
                      <a:pt x="494" y="1226"/>
                    </a:lnTo>
                    <a:lnTo>
                      <a:pt x="503" y="1190"/>
                    </a:lnTo>
                    <a:lnTo>
                      <a:pt x="489" y="1174"/>
                    </a:lnTo>
                    <a:lnTo>
                      <a:pt x="503" y="1174"/>
                    </a:lnTo>
                    <a:lnTo>
                      <a:pt x="503" y="1169"/>
                    </a:lnTo>
                    <a:lnTo>
                      <a:pt x="494" y="1157"/>
                    </a:lnTo>
                    <a:lnTo>
                      <a:pt x="489" y="1174"/>
                    </a:lnTo>
                    <a:lnTo>
                      <a:pt x="494" y="1209"/>
                    </a:lnTo>
                    <a:lnTo>
                      <a:pt x="465" y="1197"/>
                    </a:lnTo>
                    <a:lnTo>
                      <a:pt x="472" y="1169"/>
                    </a:lnTo>
                    <a:lnTo>
                      <a:pt x="456" y="1157"/>
                    </a:lnTo>
                    <a:lnTo>
                      <a:pt x="456" y="1136"/>
                    </a:lnTo>
                    <a:lnTo>
                      <a:pt x="489" y="1103"/>
                    </a:lnTo>
                    <a:lnTo>
                      <a:pt x="489" y="1086"/>
                    </a:lnTo>
                    <a:lnTo>
                      <a:pt x="477" y="1086"/>
                    </a:lnTo>
                    <a:lnTo>
                      <a:pt x="489" y="1081"/>
                    </a:lnTo>
                    <a:lnTo>
                      <a:pt x="477" y="1065"/>
                    </a:lnTo>
                    <a:lnTo>
                      <a:pt x="477" y="1058"/>
                    </a:lnTo>
                    <a:lnTo>
                      <a:pt x="465" y="1046"/>
                    </a:lnTo>
                    <a:lnTo>
                      <a:pt x="456" y="1046"/>
                    </a:lnTo>
                    <a:lnTo>
                      <a:pt x="465" y="1065"/>
                    </a:lnTo>
                    <a:lnTo>
                      <a:pt x="456" y="1070"/>
                    </a:lnTo>
                    <a:lnTo>
                      <a:pt x="472" y="1070"/>
                    </a:lnTo>
                    <a:lnTo>
                      <a:pt x="472" y="1086"/>
                    </a:lnTo>
                    <a:lnTo>
                      <a:pt x="456" y="1098"/>
                    </a:lnTo>
                    <a:lnTo>
                      <a:pt x="456" y="1086"/>
                    </a:lnTo>
                    <a:lnTo>
                      <a:pt x="465" y="1081"/>
                    </a:lnTo>
                    <a:lnTo>
                      <a:pt x="456" y="1081"/>
                    </a:lnTo>
                    <a:lnTo>
                      <a:pt x="435" y="1098"/>
                    </a:lnTo>
                    <a:lnTo>
                      <a:pt x="439" y="1081"/>
                    </a:lnTo>
                    <a:lnTo>
                      <a:pt x="423" y="1070"/>
                    </a:lnTo>
                    <a:lnTo>
                      <a:pt x="423" y="1058"/>
                    </a:lnTo>
                    <a:lnTo>
                      <a:pt x="435" y="1065"/>
                    </a:lnTo>
                    <a:lnTo>
                      <a:pt x="435" y="1070"/>
                    </a:lnTo>
                    <a:lnTo>
                      <a:pt x="451" y="1070"/>
                    </a:lnTo>
                    <a:lnTo>
                      <a:pt x="439" y="1058"/>
                    </a:lnTo>
                    <a:lnTo>
                      <a:pt x="418" y="1041"/>
                    </a:lnTo>
                    <a:lnTo>
                      <a:pt x="418" y="1029"/>
                    </a:lnTo>
                    <a:lnTo>
                      <a:pt x="435" y="1029"/>
                    </a:lnTo>
                    <a:lnTo>
                      <a:pt x="439" y="1013"/>
                    </a:lnTo>
                    <a:lnTo>
                      <a:pt x="451" y="1025"/>
                    </a:lnTo>
                    <a:lnTo>
                      <a:pt x="465" y="1008"/>
                    </a:lnTo>
                    <a:lnTo>
                      <a:pt x="472" y="1008"/>
                    </a:lnTo>
                    <a:lnTo>
                      <a:pt x="477" y="992"/>
                    </a:lnTo>
                    <a:lnTo>
                      <a:pt x="494" y="987"/>
                    </a:lnTo>
                    <a:lnTo>
                      <a:pt x="520" y="987"/>
                    </a:lnTo>
                    <a:lnTo>
                      <a:pt x="527" y="1008"/>
                    </a:lnTo>
                    <a:lnTo>
                      <a:pt x="532" y="1008"/>
                    </a:lnTo>
                    <a:lnTo>
                      <a:pt x="532" y="1008"/>
                    </a:lnTo>
                    <a:lnTo>
                      <a:pt x="532" y="1008"/>
                    </a:lnTo>
                    <a:close/>
                    <a:moveTo>
                      <a:pt x="423" y="1004"/>
                    </a:moveTo>
                    <a:lnTo>
                      <a:pt x="423" y="1004"/>
                    </a:lnTo>
                    <a:lnTo>
                      <a:pt x="423" y="992"/>
                    </a:lnTo>
                    <a:lnTo>
                      <a:pt x="435" y="1004"/>
                    </a:lnTo>
                    <a:lnTo>
                      <a:pt x="423" y="1004"/>
                    </a:lnTo>
                    <a:lnTo>
                      <a:pt x="423" y="1004"/>
                    </a:lnTo>
                    <a:lnTo>
                      <a:pt x="423" y="1004"/>
                    </a:lnTo>
                    <a:close/>
                    <a:moveTo>
                      <a:pt x="418" y="1029"/>
                    </a:moveTo>
                    <a:lnTo>
                      <a:pt x="402" y="1046"/>
                    </a:lnTo>
                    <a:lnTo>
                      <a:pt x="418" y="1025"/>
                    </a:lnTo>
                    <a:lnTo>
                      <a:pt x="418" y="1029"/>
                    </a:lnTo>
                    <a:lnTo>
                      <a:pt x="418" y="1029"/>
                    </a:lnTo>
                    <a:lnTo>
                      <a:pt x="418" y="1029"/>
                    </a:lnTo>
                    <a:close/>
                    <a:moveTo>
                      <a:pt x="385" y="1058"/>
                    </a:moveTo>
                    <a:lnTo>
                      <a:pt x="385" y="1065"/>
                    </a:lnTo>
                    <a:lnTo>
                      <a:pt x="385" y="1065"/>
                    </a:lnTo>
                    <a:lnTo>
                      <a:pt x="380" y="1070"/>
                    </a:lnTo>
                    <a:lnTo>
                      <a:pt x="380" y="1065"/>
                    </a:lnTo>
                    <a:lnTo>
                      <a:pt x="385" y="1046"/>
                    </a:lnTo>
                    <a:lnTo>
                      <a:pt x="385" y="1058"/>
                    </a:lnTo>
                    <a:lnTo>
                      <a:pt x="385" y="1058"/>
                    </a:lnTo>
                    <a:lnTo>
                      <a:pt x="385" y="1058"/>
                    </a:lnTo>
                    <a:close/>
                    <a:moveTo>
                      <a:pt x="359" y="1081"/>
                    </a:moveTo>
                    <a:lnTo>
                      <a:pt x="359" y="1081"/>
                    </a:lnTo>
                    <a:lnTo>
                      <a:pt x="364" y="1081"/>
                    </a:lnTo>
                    <a:lnTo>
                      <a:pt x="369" y="1086"/>
                    </a:lnTo>
                    <a:lnTo>
                      <a:pt x="347" y="1086"/>
                    </a:lnTo>
                    <a:lnTo>
                      <a:pt x="359" y="1081"/>
                    </a:lnTo>
                    <a:lnTo>
                      <a:pt x="359" y="1081"/>
                    </a:lnTo>
                    <a:lnTo>
                      <a:pt x="359" y="1081"/>
                    </a:lnTo>
                    <a:close/>
                    <a:moveTo>
                      <a:pt x="451" y="1124"/>
                    </a:moveTo>
                    <a:lnTo>
                      <a:pt x="451" y="1103"/>
                    </a:lnTo>
                    <a:lnTo>
                      <a:pt x="456" y="1098"/>
                    </a:lnTo>
                    <a:lnTo>
                      <a:pt x="465" y="1115"/>
                    </a:lnTo>
                    <a:lnTo>
                      <a:pt x="451" y="1124"/>
                    </a:lnTo>
                    <a:lnTo>
                      <a:pt x="451" y="1124"/>
                    </a:lnTo>
                    <a:lnTo>
                      <a:pt x="451" y="1124"/>
                    </a:lnTo>
                    <a:close/>
                    <a:moveTo>
                      <a:pt x="465" y="1103"/>
                    </a:moveTo>
                    <a:lnTo>
                      <a:pt x="477" y="1098"/>
                    </a:lnTo>
                    <a:lnTo>
                      <a:pt x="472" y="1115"/>
                    </a:lnTo>
                    <a:lnTo>
                      <a:pt x="465" y="1103"/>
                    </a:lnTo>
                    <a:lnTo>
                      <a:pt x="465" y="1103"/>
                    </a:lnTo>
                    <a:lnTo>
                      <a:pt x="465" y="1103"/>
                    </a:lnTo>
                    <a:close/>
                    <a:moveTo>
                      <a:pt x="456" y="1124"/>
                    </a:moveTo>
                    <a:lnTo>
                      <a:pt x="465" y="1124"/>
                    </a:lnTo>
                    <a:lnTo>
                      <a:pt x="456" y="1124"/>
                    </a:lnTo>
                    <a:lnTo>
                      <a:pt x="456" y="1124"/>
                    </a:lnTo>
                    <a:lnTo>
                      <a:pt x="456" y="1124"/>
                    </a:lnTo>
                    <a:lnTo>
                      <a:pt x="456" y="1124"/>
                    </a:lnTo>
                    <a:close/>
                    <a:moveTo>
                      <a:pt x="423" y="1169"/>
                    </a:moveTo>
                    <a:lnTo>
                      <a:pt x="435" y="1157"/>
                    </a:lnTo>
                    <a:lnTo>
                      <a:pt x="423" y="1169"/>
                    </a:lnTo>
                    <a:lnTo>
                      <a:pt x="423" y="1169"/>
                    </a:lnTo>
                    <a:lnTo>
                      <a:pt x="423" y="1169"/>
                    </a:lnTo>
                    <a:lnTo>
                      <a:pt x="423" y="1169"/>
                    </a:lnTo>
                    <a:close/>
                    <a:moveTo>
                      <a:pt x="527" y="1230"/>
                    </a:moveTo>
                    <a:lnTo>
                      <a:pt x="520" y="1268"/>
                    </a:lnTo>
                    <a:lnTo>
                      <a:pt x="510" y="1268"/>
                    </a:lnTo>
                    <a:lnTo>
                      <a:pt x="510" y="1247"/>
                    </a:lnTo>
                    <a:lnTo>
                      <a:pt x="527" y="1230"/>
                    </a:lnTo>
                    <a:lnTo>
                      <a:pt x="527" y="1230"/>
                    </a:lnTo>
                    <a:lnTo>
                      <a:pt x="527" y="1230"/>
                    </a:lnTo>
                    <a:close/>
                    <a:moveTo>
                      <a:pt x="489" y="1263"/>
                    </a:moveTo>
                    <a:lnTo>
                      <a:pt x="494" y="1268"/>
                    </a:lnTo>
                    <a:lnTo>
                      <a:pt x="489" y="1280"/>
                    </a:lnTo>
                    <a:lnTo>
                      <a:pt x="477" y="1280"/>
                    </a:lnTo>
                    <a:lnTo>
                      <a:pt x="472" y="1268"/>
                    </a:lnTo>
                    <a:lnTo>
                      <a:pt x="489" y="1263"/>
                    </a:lnTo>
                    <a:lnTo>
                      <a:pt x="489" y="1263"/>
                    </a:lnTo>
                    <a:lnTo>
                      <a:pt x="489" y="1263"/>
                    </a:lnTo>
                    <a:close/>
                    <a:moveTo>
                      <a:pt x="423" y="1412"/>
                    </a:moveTo>
                    <a:lnTo>
                      <a:pt x="423" y="1419"/>
                    </a:lnTo>
                    <a:lnTo>
                      <a:pt x="402" y="1445"/>
                    </a:lnTo>
                    <a:lnTo>
                      <a:pt x="385" y="1436"/>
                    </a:lnTo>
                    <a:lnTo>
                      <a:pt x="423" y="1412"/>
                    </a:lnTo>
                    <a:lnTo>
                      <a:pt x="423" y="1412"/>
                    </a:lnTo>
                    <a:lnTo>
                      <a:pt x="423" y="1412"/>
                    </a:lnTo>
                    <a:close/>
                    <a:moveTo>
                      <a:pt x="397" y="1436"/>
                    </a:moveTo>
                    <a:lnTo>
                      <a:pt x="402" y="1445"/>
                    </a:lnTo>
                    <a:lnTo>
                      <a:pt x="397" y="1445"/>
                    </a:lnTo>
                    <a:lnTo>
                      <a:pt x="397" y="1436"/>
                    </a:lnTo>
                    <a:lnTo>
                      <a:pt x="397" y="1436"/>
                    </a:lnTo>
                    <a:lnTo>
                      <a:pt x="397" y="1436"/>
                    </a:lnTo>
                    <a:close/>
                    <a:moveTo>
                      <a:pt x="369" y="1457"/>
                    </a:moveTo>
                    <a:lnTo>
                      <a:pt x="380" y="1474"/>
                    </a:lnTo>
                    <a:lnTo>
                      <a:pt x="369" y="1485"/>
                    </a:lnTo>
                    <a:lnTo>
                      <a:pt x="369" y="1469"/>
                    </a:lnTo>
                    <a:lnTo>
                      <a:pt x="369" y="1457"/>
                    </a:lnTo>
                    <a:lnTo>
                      <a:pt x="369" y="1457"/>
                    </a:lnTo>
                    <a:lnTo>
                      <a:pt x="369" y="1457"/>
                    </a:lnTo>
                    <a:close/>
                    <a:moveTo>
                      <a:pt x="347" y="1502"/>
                    </a:moveTo>
                    <a:lnTo>
                      <a:pt x="359" y="1502"/>
                    </a:lnTo>
                    <a:lnTo>
                      <a:pt x="347" y="1507"/>
                    </a:lnTo>
                    <a:lnTo>
                      <a:pt x="347" y="1502"/>
                    </a:lnTo>
                    <a:lnTo>
                      <a:pt x="347" y="1502"/>
                    </a:lnTo>
                    <a:lnTo>
                      <a:pt x="347" y="1502"/>
                    </a:lnTo>
                    <a:close/>
                    <a:moveTo>
                      <a:pt x="326" y="1547"/>
                    </a:moveTo>
                    <a:lnTo>
                      <a:pt x="331" y="1547"/>
                    </a:lnTo>
                    <a:lnTo>
                      <a:pt x="326" y="1556"/>
                    </a:lnTo>
                    <a:lnTo>
                      <a:pt x="293" y="1580"/>
                    </a:lnTo>
                    <a:lnTo>
                      <a:pt x="293" y="1596"/>
                    </a:lnTo>
                    <a:lnTo>
                      <a:pt x="288" y="1601"/>
                    </a:lnTo>
                    <a:lnTo>
                      <a:pt x="288" y="1580"/>
                    </a:lnTo>
                    <a:lnTo>
                      <a:pt x="305" y="1568"/>
                    </a:lnTo>
                    <a:lnTo>
                      <a:pt x="305" y="1556"/>
                    </a:lnTo>
                    <a:lnTo>
                      <a:pt x="309" y="1563"/>
                    </a:lnTo>
                    <a:lnTo>
                      <a:pt x="326" y="1547"/>
                    </a:lnTo>
                    <a:lnTo>
                      <a:pt x="326" y="1547"/>
                    </a:lnTo>
                    <a:lnTo>
                      <a:pt x="326" y="1547"/>
                    </a:lnTo>
                    <a:close/>
                    <a:moveTo>
                      <a:pt x="217" y="1580"/>
                    </a:moveTo>
                    <a:lnTo>
                      <a:pt x="222" y="1585"/>
                    </a:lnTo>
                    <a:lnTo>
                      <a:pt x="217" y="1580"/>
                    </a:lnTo>
                    <a:lnTo>
                      <a:pt x="217" y="1580"/>
                    </a:lnTo>
                    <a:lnTo>
                      <a:pt x="217" y="1580"/>
                    </a:lnTo>
                    <a:lnTo>
                      <a:pt x="217" y="1580"/>
                    </a:lnTo>
                    <a:close/>
                    <a:moveTo>
                      <a:pt x="116" y="1696"/>
                    </a:moveTo>
                    <a:lnTo>
                      <a:pt x="125" y="1707"/>
                    </a:lnTo>
                    <a:lnTo>
                      <a:pt x="116" y="1707"/>
                    </a:lnTo>
                    <a:lnTo>
                      <a:pt x="116" y="1696"/>
                    </a:lnTo>
                    <a:lnTo>
                      <a:pt x="116" y="1696"/>
                    </a:lnTo>
                    <a:lnTo>
                      <a:pt x="116" y="1696"/>
                    </a:lnTo>
                    <a:close/>
                    <a:moveTo>
                      <a:pt x="33" y="1729"/>
                    </a:moveTo>
                    <a:lnTo>
                      <a:pt x="40" y="1729"/>
                    </a:lnTo>
                    <a:lnTo>
                      <a:pt x="45" y="1724"/>
                    </a:lnTo>
                    <a:lnTo>
                      <a:pt x="40" y="1736"/>
                    </a:lnTo>
                    <a:lnTo>
                      <a:pt x="33" y="1736"/>
                    </a:lnTo>
                    <a:lnTo>
                      <a:pt x="33" y="1729"/>
                    </a:lnTo>
                    <a:lnTo>
                      <a:pt x="33" y="1729"/>
                    </a:lnTo>
                    <a:lnTo>
                      <a:pt x="33" y="1729"/>
                    </a:lnTo>
                    <a:close/>
                    <a:moveTo>
                      <a:pt x="7" y="1729"/>
                    </a:moveTo>
                    <a:lnTo>
                      <a:pt x="24" y="1736"/>
                    </a:lnTo>
                    <a:lnTo>
                      <a:pt x="17" y="1745"/>
                    </a:lnTo>
                    <a:lnTo>
                      <a:pt x="0" y="1736"/>
                    </a:lnTo>
                    <a:lnTo>
                      <a:pt x="7" y="1729"/>
                    </a:lnTo>
                    <a:lnTo>
                      <a:pt x="7" y="1729"/>
                    </a:lnTo>
                    <a:lnTo>
                      <a:pt x="7" y="172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2" name="Freeform 485">
                <a:extLst>
                  <a:ext uri="{FF2B5EF4-FFF2-40B4-BE49-F238E27FC236}">
                    <a16:creationId xmlns:a16="http://schemas.microsoft.com/office/drawing/2014/main" id="{3460E4B0-6187-40FC-B6B7-C8068D64C2AB}"/>
                  </a:ext>
                </a:extLst>
              </p:cNvPr>
              <p:cNvSpPr>
                <a:spLocks noEditPoints="1"/>
              </p:cNvSpPr>
              <p:nvPr/>
            </p:nvSpPr>
            <p:spPr bwMode="gray">
              <a:xfrm>
                <a:off x="10325056" y="2860793"/>
                <a:ext cx="181136" cy="181567"/>
              </a:xfrm>
              <a:custGeom>
                <a:avLst/>
                <a:gdLst>
                  <a:gd name="T0" fmla="*/ 239 w 440"/>
                  <a:gd name="T1" fmla="*/ 23 h 441"/>
                  <a:gd name="T2" fmla="*/ 277 w 440"/>
                  <a:gd name="T3" fmla="*/ 40 h 441"/>
                  <a:gd name="T4" fmla="*/ 340 w 440"/>
                  <a:gd name="T5" fmla="*/ 155 h 441"/>
                  <a:gd name="T6" fmla="*/ 347 w 440"/>
                  <a:gd name="T7" fmla="*/ 210 h 441"/>
                  <a:gd name="T8" fmla="*/ 314 w 440"/>
                  <a:gd name="T9" fmla="*/ 292 h 441"/>
                  <a:gd name="T10" fmla="*/ 260 w 440"/>
                  <a:gd name="T11" fmla="*/ 297 h 441"/>
                  <a:gd name="T12" fmla="*/ 260 w 440"/>
                  <a:gd name="T13" fmla="*/ 297 h 441"/>
                  <a:gd name="T14" fmla="*/ 206 w 440"/>
                  <a:gd name="T15" fmla="*/ 304 h 441"/>
                  <a:gd name="T16" fmla="*/ 206 w 440"/>
                  <a:gd name="T17" fmla="*/ 333 h 441"/>
                  <a:gd name="T18" fmla="*/ 201 w 440"/>
                  <a:gd name="T19" fmla="*/ 333 h 441"/>
                  <a:gd name="T20" fmla="*/ 189 w 440"/>
                  <a:gd name="T21" fmla="*/ 333 h 441"/>
                  <a:gd name="T22" fmla="*/ 163 w 440"/>
                  <a:gd name="T23" fmla="*/ 349 h 441"/>
                  <a:gd name="T24" fmla="*/ 114 w 440"/>
                  <a:gd name="T25" fmla="*/ 321 h 441"/>
                  <a:gd name="T26" fmla="*/ 130 w 440"/>
                  <a:gd name="T27" fmla="*/ 333 h 441"/>
                  <a:gd name="T28" fmla="*/ 137 w 440"/>
                  <a:gd name="T29" fmla="*/ 314 h 441"/>
                  <a:gd name="T30" fmla="*/ 125 w 440"/>
                  <a:gd name="T31" fmla="*/ 314 h 441"/>
                  <a:gd name="T32" fmla="*/ 114 w 440"/>
                  <a:gd name="T33" fmla="*/ 292 h 441"/>
                  <a:gd name="T34" fmla="*/ 125 w 440"/>
                  <a:gd name="T35" fmla="*/ 281 h 441"/>
                  <a:gd name="T36" fmla="*/ 147 w 440"/>
                  <a:gd name="T37" fmla="*/ 248 h 441"/>
                  <a:gd name="T38" fmla="*/ 137 w 440"/>
                  <a:gd name="T39" fmla="*/ 226 h 441"/>
                  <a:gd name="T40" fmla="*/ 147 w 440"/>
                  <a:gd name="T41" fmla="*/ 222 h 441"/>
                  <a:gd name="T42" fmla="*/ 125 w 440"/>
                  <a:gd name="T43" fmla="*/ 155 h 441"/>
                  <a:gd name="T44" fmla="*/ 109 w 440"/>
                  <a:gd name="T45" fmla="*/ 155 h 441"/>
                  <a:gd name="T46" fmla="*/ 125 w 440"/>
                  <a:gd name="T47" fmla="*/ 148 h 441"/>
                  <a:gd name="T48" fmla="*/ 130 w 440"/>
                  <a:gd name="T49" fmla="*/ 148 h 441"/>
                  <a:gd name="T50" fmla="*/ 151 w 440"/>
                  <a:gd name="T51" fmla="*/ 155 h 441"/>
                  <a:gd name="T52" fmla="*/ 151 w 440"/>
                  <a:gd name="T53" fmla="*/ 115 h 441"/>
                  <a:gd name="T54" fmla="*/ 151 w 440"/>
                  <a:gd name="T55" fmla="*/ 111 h 441"/>
                  <a:gd name="T56" fmla="*/ 130 w 440"/>
                  <a:gd name="T57" fmla="*/ 73 h 441"/>
                  <a:gd name="T58" fmla="*/ 147 w 440"/>
                  <a:gd name="T59" fmla="*/ 61 h 441"/>
                  <a:gd name="T60" fmla="*/ 7 w 440"/>
                  <a:gd name="T61" fmla="*/ 61 h 441"/>
                  <a:gd name="T62" fmla="*/ 7 w 440"/>
                  <a:gd name="T63" fmla="*/ 56 h 441"/>
                  <a:gd name="T64" fmla="*/ 130 w 440"/>
                  <a:gd name="T65" fmla="*/ 82 h 441"/>
                  <a:gd name="T66" fmla="*/ 130 w 440"/>
                  <a:gd name="T67" fmla="*/ 73 h 441"/>
                  <a:gd name="T68" fmla="*/ 440 w 440"/>
                  <a:gd name="T69" fmla="*/ 94 h 441"/>
                  <a:gd name="T70" fmla="*/ 440 w 440"/>
                  <a:gd name="T71" fmla="*/ 94 h 441"/>
                  <a:gd name="T72" fmla="*/ 125 w 440"/>
                  <a:gd name="T73" fmla="*/ 181 h 441"/>
                  <a:gd name="T74" fmla="*/ 125 w 440"/>
                  <a:gd name="T75" fmla="*/ 181 h 441"/>
                  <a:gd name="T76" fmla="*/ 288 w 440"/>
                  <a:gd name="T77" fmla="*/ 304 h 441"/>
                  <a:gd name="T78" fmla="*/ 277 w 440"/>
                  <a:gd name="T79" fmla="*/ 314 h 441"/>
                  <a:gd name="T80" fmla="*/ 288 w 440"/>
                  <a:gd name="T81" fmla="*/ 304 h 441"/>
                  <a:gd name="T82" fmla="*/ 234 w 440"/>
                  <a:gd name="T83" fmla="*/ 314 h 441"/>
                  <a:gd name="T84" fmla="*/ 222 w 440"/>
                  <a:gd name="T85" fmla="*/ 321 h 441"/>
                  <a:gd name="T86" fmla="*/ 234 w 440"/>
                  <a:gd name="T87" fmla="*/ 304 h 441"/>
                  <a:gd name="T88" fmla="*/ 222 w 440"/>
                  <a:gd name="T89" fmla="*/ 333 h 441"/>
                  <a:gd name="T90" fmla="*/ 222 w 440"/>
                  <a:gd name="T91" fmla="*/ 333 h 441"/>
                  <a:gd name="T92" fmla="*/ 114 w 440"/>
                  <a:gd name="T93" fmla="*/ 349 h 441"/>
                  <a:gd name="T94" fmla="*/ 125 w 440"/>
                  <a:gd name="T95" fmla="*/ 337 h 441"/>
                  <a:gd name="T96" fmla="*/ 222 w 440"/>
                  <a:gd name="T97" fmla="*/ 337 h 441"/>
                  <a:gd name="T98" fmla="*/ 222 w 440"/>
                  <a:gd name="T99" fmla="*/ 337 h 441"/>
                  <a:gd name="T100" fmla="*/ 184 w 440"/>
                  <a:gd name="T101" fmla="*/ 337 h 441"/>
                  <a:gd name="T102" fmla="*/ 184 w 440"/>
                  <a:gd name="T103" fmla="*/ 337 h 441"/>
                  <a:gd name="T104" fmla="*/ 147 w 440"/>
                  <a:gd name="T105" fmla="*/ 349 h 441"/>
                  <a:gd name="T106" fmla="*/ 147 w 440"/>
                  <a:gd name="T107" fmla="*/ 349 h 441"/>
                  <a:gd name="T108" fmla="*/ 151 w 440"/>
                  <a:gd name="T109" fmla="*/ 415 h 441"/>
                  <a:gd name="T110" fmla="*/ 114 w 440"/>
                  <a:gd name="T111" fmla="*/ 441 h 441"/>
                  <a:gd name="T112" fmla="*/ 151 w 440"/>
                  <a:gd name="T113" fmla="*/ 415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0" h="441">
                    <a:moveTo>
                      <a:pt x="147" y="61"/>
                    </a:moveTo>
                    <a:lnTo>
                      <a:pt x="180" y="28"/>
                    </a:lnTo>
                    <a:lnTo>
                      <a:pt x="239" y="23"/>
                    </a:lnTo>
                    <a:lnTo>
                      <a:pt x="255" y="16"/>
                    </a:lnTo>
                    <a:lnTo>
                      <a:pt x="260" y="0"/>
                    </a:lnTo>
                    <a:lnTo>
                      <a:pt x="277" y="40"/>
                    </a:lnTo>
                    <a:lnTo>
                      <a:pt x="310" y="78"/>
                    </a:lnTo>
                    <a:lnTo>
                      <a:pt x="340" y="132"/>
                    </a:lnTo>
                    <a:lnTo>
                      <a:pt x="340" y="155"/>
                    </a:lnTo>
                    <a:lnTo>
                      <a:pt x="331" y="210"/>
                    </a:lnTo>
                    <a:lnTo>
                      <a:pt x="340" y="222"/>
                    </a:lnTo>
                    <a:lnTo>
                      <a:pt x="347" y="210"/>
                    </a:lnTo>
                    <a:lnTo>
                      <a:pt x="347" y="210"/>
                    </a:lnTo>
                    <a:lnTo>
                      <a:pt x="340" y="248"/>
                    </a:lnTo>
                    <a:lnTo>
                      <a:pt x="314" y="292"/>
                    </a:lnTo>
                    <a:lnTo>
                      <a:pt x="293" y="292"/>
                    </a:lnTo>
                    <a:lnTo>
                      <a:pt x="277" y="281"/>
                    </a:lnTo>
                    <a:lnTo>
                      <a:pt x="260" y="297"/>
                    </a:lnTo>
                    <a:lnTo>
                      <a:pt x="272" y="297"/>
                    </a:lnTo>
                    <a:lnTo>
                      <a:pt x="272" y="314"/>
                    </a:lnTo>
                    <a:lnTo>
                      <a:pt x="260" y="297"/>
                    </a:lnTo>
                    <a:lnTo>
                      <a:pt x="255" y="304"/>
                    </a:lnTo>
                    <a:lnTo>
                      <a:pt x="239" y="297"/>
                    </a:lnTo>
                    <a:lnTo>
                      <a:pt x="206" y="304"/>
                    </a:lnTo>
                    <a:lnTo>
                      <a:pt x="206" y="314"/>
                    </a:lnTo>
                    <a:lnTo>
                      <a:pt x="222" y="314"/>
                    </a:lnTo>
                    <a:lnTo>
                      <a:pt x="206" y="333"/>
                    </a:lnTo>
                    <a:lnTo>
                      <a:pt x="201" y="304"/>
                    </a:lnTo>
                    <a:lnTo>
                      <a:pt x="189" y="321"/>
                    </a:lnTo>
                    <a:lnTo>
                      <a:pt x="201" y="333"/>
                    </a:lnTo>
                    <a:lnTo>
                      <a:pt x="189" y="337"/>
                    </a:lnTo>
                    <a:lnTo>
                      <a:pt x="180" y="337"/>
                    </a:lnTo>
                    <a:lnTo>
                      <a:pt x="189" y="333"/>
                    </a:lnTo>
                    <a:lnTo>
                      <a:pt x="189" y="321"/>
                    </a:lnTo>
                    <a:lnTo>
                      <a:pt x="168" y="333"/>
                    </a:lnTo>
                    <a:lnTo>
                      <a:pt x="163" y="349"/>
                    </a:lnTo>
                    <a:lnTo>
                      <a:pt x="151" y="333"/>
                    </a:lnTo>
                    <a:lnTo>
                      <a:pt x="137" y="354"/>
                    </a:lnTo>
                    <a:lnTo>
                      <a:pt x="114" y="321"/>
                    </a:lnTo>
                    <a:lnTo>
                      <a:pt x="114" y="321"/>
                    </a:lnTo>
                    <a:lnTo>
                      <a:pt x="130" y="333"/>
                    </a:lnTo>
                    <a:lnTo>
                      <a:pt x="130" y="333"/>
                    </a:lnTo>
                    <a:lnTo>
                      <a:pt x="137" y="333"/>
                    </a:lnTo>
                    <a:lnTo>
                      <a:pt x="130" y="321"/>
                    </a:lnTo>
                    <a:lnTo>
                      <a:pt x="137" y="314"/>
                    </a:lnTo>
                    <a:lnTo>
                      <a:pt x="130" y="304"/>
                    </a:lnTo>
                    <a:lnTo>
                      <a:pt x="130" y="314"/>
                    </a:lnTo>
                    <a:lnTo>
                      <a:pt x="125" y="314"/>
                    </a:lnTo>
                    <a:lnTo>
                      <a:pt x="125" y="297"/>
                    </a:lnTo>
                    <a:lnTo>
                      <a:pt x="114" y="304"/>
                    </a:lnTo>
                    <a:lnTo>
                      <a:pt x="114" y="292"/>
                    </a:lnTo>
                    <a:lnTo>
                      <a:pt x="125" y="281"/>
                    </a:lnTo>
                    <a:lnTo>
                      <a:pt x="125" y="297"/>
                    </a:lnTo>
                    <a:lnTo>
                      <a:pt x="125" y="281"/>
                    </a:lnTo>
                    <a:lnTo>
                      <a:pt x="125" y="264"/>
                    </a:lnTo>
                    <a:lnTo>
                      <a:pt x="130" y="259"/>
                    </a:lnTo>
                    <a:lnTo>
                      <a:pt x="147" y="248"/>
                    </a:lnTo>
                    <a:lnTo>
                      <a:pt x="130" y="243"/>
                    </a:lnTo>
                    <a:lnTo>
                      <a:pt x="151" y="226"/>
                    </a:lnTo>
                    <a:lnTo>
                      <a:pt x="137" y="226"/>
                    </a:lnTo>
                    <a:lnTo>
                      <a:pt x="137" y="222"/>
                    </a:lnTo>
                    <a:lnTo>
                      <a:pt x="151" y="210"/>
                    </a:lnTo>
                    <a:lnTo>
                      <a:pt x="147" y="222"/>
                    </a:lnTo>
                    <a:lnTo>
                      <a:pt x="130" y="205"/>
                    </a:lnTo>
                    <a:lnTo>
                      <a:pt x="130" y="155"/>
                    </a:lnTo>
                    <a:lnTo>
                      <a:pt x="125" y="155"/>
                    </a:lnTo>
                    <a:lnTo>
                      <a:pt x="114" y="172"/>
                    </a:lnTo>
                    <a:lnTo>
                      <a:pt x="114" y="155"/>
                    </a:lnTo>
                    <a:lnTo>
                      <a:pt x="109" y="155"/>
                    </a:lnTo>
                    <a:lnTo>
                      <a:pt x="114" y="139"/>
                    </a:lnTo>
                    <a:lnTo>
                      <a:pt x="114" y="148"/>
                    </a:lnTo>
                    <a:lnTo>
                      <a:pt x="125" y="148"/>
                    </a:lnTo>
                    <a:lnTo>
                      <a:pt x="125" y="132"/>
                    </a:lnTo>
                    <a:lnTo>
                      <a:pt x="125" y="132"/>
                    </a:lnTo>
                    <a:lnTo>
                      <a:pt x="130" y="148"/>
                    </a:lnTo>
                    <a:lnTo>
                      <a:pt x="130" y="132"/>
                    </a:lnTo>
                    <a:lnTo>
                      <a:pt x="151" y="139"/>
                    </a:lnTo>
                    <a:lnTo>
                      <a:pt x="151" y="155"/>
                    </a:lnTo>
                    <a:lnTo>
                      <a:pt x="168" y="139"/>
                    </a:lnTo>
                    <a:lnTo>
                      <a:pt x="147" y="132"/>
                    </a:lnTo>
                    <a:lnTo>
                      <a:pt x="151" y="115"/>
                    </a:lnTo>
                    <a:lnTo>
                      <a:pt x="137" y="127"/>
                    </a:lnTo>
                    <a:lnTo>
                      <a:pt x="137" y="115"/>
                    </a:lnTo>
                    <a:lnTo>
                      <a:pt x="151" y="111"/>
                    </a:lnTo>
                    <a:lnTo>
                      <a:pt x="147" y="111"/>
                    </a:lnTo>
                    <a:lnTo>
                      <a:pt x="130" y="78"/>
                    </a:lnTo>
                    <a:lnTo>
                      <a:pt x="130" y="73"/>
                    </a:lnTo>
                    <a:lnTo>
                      <a:pt x="147" y="78"/>
                    </a:lnTo>
                    <a:lnTo>
                      <a:pt x="147" y="61"/>
                    </a:lnTo>
                    <a:lnTo>
                      <a:pt x="147" y="61"/>
                    </a:lnTo>
                    <a:lnTo>
                      <a:pt x="147" y="61"/>
                    </a:lnTo>
                    <a:close/>
                    <a:moveTo>
                      <a:pt x="7" y="56"/>
                    </a:moveTo>
                    <a:lnTo>
                      <a:pt x="7" y="61"/>
                    </a:lnTo>
                    <a:lnTo>
                      <a:pt x="0" y="56"/>
                    </a:lnTo>
                    <a:lnTo>
                      <a:pt x="7" y="56"/>
                    </a:lnTo>
                    <a:lnTo>
                      <a:pt x="7" y="56"/>
                    </a:lnTo>
                    <a:lnTo>
                      <a:pt x="7" y="56"/>
                    </a:lnTo>
                    <a:close/>
                    <a:moveTo>
                      <a:pt x="130" y="73"/>
                    </a:moveTo>
                    <a:lnTo>
                      <a:pt x="130" y="82"/>
                    </a:lnTo>
                    <a:lnTo>
                      <a:pt x="125" y="82"/>
                    </a:lnTo>
                    <a:lnTo>
                      <a:pt x="125" y="73"/>
                    </a:lnTo>
                    <a:lnTo>
                      <a:pt x="130" y="73"/>
                    </a:lnTo>
                    <a:lnTo>
                      <a:pt x="130" y="73"/>
                    </a:lnTo>
                    <a:lnTo>
                      <a:pt x="130" y="73"/>
                    </a:lnTo>
                    <a:close/>
                    <a:moveTo>
                      <a:pt x="440" y="94"/>
                    </a:moveTo>
                    <a:lnTo>
                      <a:pt x="440" y="99"/>
                    </a:lnTo>
                    <a:lnTo>
                      <a:pt x="433" y="94"/>
                    </a:lnTo>
                    <a:lnTo>
                      <a:pt x="440" y="94"/>
                    </a:lnTo>
                    <a:lnTo>
                      <a:pt x="440" y="94"/>
                    </a:lnTo>
                    <a:lnTo>
                      <a:pt x="440" y="94"/>
                    </a:lnTo>
                    <a:close/>
                    <a:moveTo>
                      <a:pt x="125" y="181"/>
                    </a:moveTo>
                    <a:lnTo>
                      <a:pt x="125" y="181"/>
                    </a:lnTo>
                    <a:lnTo>
                      <a:pt x="125" y="165"/>
                    </a:lnTo>
                    <a:lnTo>
                      <a:pt x="125" y="181"/>
                    </a:lnTo>
                    <a:lnTo>
                      <a:pt x="125" y="181"/>
                    </a:lnTo>
                    <a:lnTo>
                      <a:pt x="125" y="181"/>
                    </a:lnTo>
                    <a:close/>
                    <a:moveTo>
                      <a:pt x="288" y="304"/>
                    </a:moveTo>
                    <a:lnTo>
                      <a:pt x="288" y="314"/>
                    </a:lnTo>
                    <a:lnTo>
                      <a:pt x="277" y="321"/>
                    </a:lnTo>
                    <a:lnTo>
                      <a:pt x="277" y="314"/>
                    </a:lnTo>
                    <a:lnTo>
                      <a:pt x="272" y="304"/>
                    </a:lnTo>
                    <a:lnTo>
                      <a:pt x="288" y="304"/>
                    </a:lnTo>
                    <a:lnTo>
                      <a:pt x="288" y="304"/>
                    </a:lnTo>
                    <a:lnTo>
                      <a:pt x="288" y="304"/>
                    </a:lnTo>
                    <a:close/>
                    <a:moveTo>
                      <a:pt x="234" y="304"/>
                    </a:moveTo>
                    <a:lnTo>
                      <a:pt x="234" y="314"/>
                    </a:lnTo>
                    <a:lnTo>
                      <a:pt x="239" y="314"/>
                    </a:lnTo>
                    <a:lnTo>
                      <a:pt x="239" y="321"/>
                    </a:lnTo>
                    <a:lnTo>
                      <a:pt x="222" y="321"/>
                    </a:lnTo>
                    <a:lnTo>
                      <a:pt x="222" y="304"/>
                    </a:lnTo>
                    <a:lnTo>
                      <a:pt x="234" y="304"/>
                    </a:lnTo>
                    <a:lnTo>
                      <a:pt x="234" y="304"/>
                    </a:lnTo>
                    <a:lnTo>
                      <a:pt x="234" y="304"/>
                    </a:lnTo>
                    <a:close/>
                    <a:moveTo>
                      <a:pt x="222" y="333"/>
                    </a:moveTo>
                    <a:lnTo>
                      <a:pt x="222" y="333"/>
                    </a:lnTo>
                    <a:lnTo>
                      <a:pt x="218" y="333"/>
                    </a:lnTo>
                    <a:lnTo>
                      <a:pt x="222" y="333"/>
                    </a:lnTo>
                    <a:lnTo>
                      <a:pt x="222" y="333"/>
                    </a:lnTo>
                    <a:lnTo>
                      <a:pt x="222" y="333"/>
                    </a:lnTo>
                    <a:close/>
                    <a:moveTo>
                      <a:pt x="125" y="337"/>
                    </a:moveTo>
                    <a:lnTo>
                      <a:pt x="114" y="349"/>
                    </a:lnTo>
                    <a:lnTo>
                      <a:pt x="99" y="349"/>
                    </a:lnTo>
                    <a:lnTo>
                      <a:pt x="114" y="333"/>
                    </a:lnTo>
                    <a:lnTo>
                      <a:pt x="125" y="337"/>
                    </a:lnTo>
                    <a:lnTo>
                      <a:pt x="125" y="337"/>
                    </a:lnTo>
                    <a:lnTo>
                      <a:pt x="125" y="337"/>
                    </a:lnTo>
                    <a:close/>
                    <a:moveTo>
                      <a:pt x="222" y="337"/>
                    </a:moveTo>
                    <a:lnTo>
                      <a:pt x="222" y="337"/>
                    </a:lnTo>
                    <a:lnTo>
                      <a:pt x="218" y="337"/>
                    </a:lnTo>
                    <a:lnTo>
                      <a:pt x="222" y="337"/>
                    </a:lnTo>
                    <a:lnTo>
                      <a:pt x="222" y="337"/>
                    </a:lnTo>
                    <a:lnTo>
                      <a:pt x="222" y="337"/>
                    </a:lnTo>
                    <a:close/>
                    <a:moveTo>
                      <a:pt x="184" y="337"/>
                    </a:moveTo>
                    <a:lnTo>
                      <a:pt x="184" y="349"/>
                    </a:lnTo>
                    <a:lnTo>
                      <a:pt x="180" y="349"/>
                    </a:lnTo>
                    <a:lnTo>
                      <a:pt x="184" y="337"/>
                    </a:lnTo>
                    <a:lnTo>
                      <a:pt x="184" y="337"/>
                    </a:lnTo>
                    <a:lnTo>
                      <a:pt x="184" y="337"/>
                    </a:lnTo>
                    <a:close/>
                    <a:moveTo>
                      <a:pt x="147" y="349"/>
                    </a:moveTo>
                    <a:lnTo>
                      <a:pt x="147" y="354"/>
                    </a:lnTo>
                    <a:lnTo>
                      <a:pt x="137" y="354"/>
                    </a:lnTo>
                    <a:lnTo>
                      <a:pt x="147" y="349"/>
                    </a:lnTo>
                    <a:lnTo>
                      <a:pt x="147" y="349"/>
                    </a:lnTo>
                    <a:lnTo>
                      <a:pt x="147" y="349"/>
                    </a:lnTo>
                    <a:close/>
                    <a:moveTo>
                      <a:pt x="151" y="415"/>
                    </a:moveTo>
                    <a:lnTo>
                      <a:pt x="163" y="425"/>
                    </a:lnTo>
                    <a:lnTo>
                      <a:pt x="151" y="432"/>
                    </a:lnTo>
                    <a:lnTo>
                      <a:pt x="114" y="441"/>
                    </a:lnTo>
                    <a:lnTo>
                      <a:pt x="109" y="441"/>
                    </a:lnTo>
                    <a:lnTo>
                      <a:pt x="114" y="425"/>
                    </a:lnTo>
                    <a:lnTo>
                      <a:pt x="151" y="415"/>
                    </a:lnTo>
                    <a:lnTo>
                      <a:pt x="151" y="415"/>
                    </a:lnTo>
                    <a:lnTo>
                      <a:pt x="151" y="41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3" name="Freeform 486">
                <a:extLst>
                  <a:ext uri="{FF2B5EF4-FFF2-40B4-BE49-F238E27FC236}">
                    <a16:creationId xmlns:a16="http://schemas.microsoft.com/office/drawing/2014/main" id="{0159E0A3-8C65-4FA4-A996-D494A0D2B979}"/>
                  </a:ext>
                </a:extLst>
              </p:cNvPr>
              <p:cNvSpPr>
                <a:spLocks/>
              </p:cNvSpPr>
              <p:nvPr/>
            </p:nvSpPr>
            <p:spPr bwMode="gray">
              <a:xfrm>
                <a:off x="9774653" y="4373025"/>
                <a:ext cx="2882" cy="6588"/>
              </a:xfrm>
              <a:custGeom>
                <a:avLst/>
                <a:gdLst>
                  <a:gd name="T0" fmla="*/ 7 w 7"/>
                  <a:gd name="T1" fmla="*/ 16 h 16"/>
                  <a:gd name="T2" fmla="*/ 0 w 7"/>
                  <a:gd name="T3" fmla="*/ 7 h 16"/>
                  <a:gd name="T4" fmla="*/ 7 w 7"/>
                  <a:gd name="T5" fmla="*/ 0 h 16"/>
                  <a:gd name="T6" fmla="*/ 7 w 7"/>
                  <a:gd name="T7" fmla="*/ 16 h 16"/>
                  <a:gd name="T8" fmla="*/ 7 w 7"/>
                  <a:gd name="T9" fmla="*/ 16 h 16"/>
                  <a:gd name="T10" fmla="*/ 7 w 7"/>
                  <a:gd name="T11" fmla="*/ 16 h 16"/>
                </a:gdLst>
                <a:ahLst/>
                <a:cxnLst>
                  <a:cxn ang="0">
                    <a:pos x="T0" y="T1"/>
                  </a:cxn>
                  <a:cxn ang="0">
                    <a:pos x="T2" y="T3"/>
                  </a:cxn>
                  <a:cxn ang="0">
                    <a:pos x="T4" y="T5"/>
                  </a:cxn>
                  <a:cxn ang="0">
                    <a:pos x="T6" y="T7"/>
                  </a:cxn>
                  <a:cxn ang="0">
                    <a:pos x="T8" y="T9"/>
                  </a:cxn>
                  <a:cxn ang="0">
                    <a:pos x="T10" y="T11"/>
                  </a:cxn>
                </a:cxnLst>
                <a:rect l="0" t="0" r="r" b="b"/>
                <a:pathLst>
                  <a:path w="7" h="16">
                    <a:moveTo>
                      <a:pt x="7" y="16"/>
                    </a:moveTo>
                    <a:lnTo>
                      <a:pt x="0" y="7"/>
                    </a:lnTo>
                    <a:lnTo>
                      <a:pt x="7" y="0"/>
                    </a:lnTo>
                    <a:lnTo>
                      <a:pt x="7" y="16"/>
                    </a:lnTo>
                    <a:lnTo>
                      <a:pt x="7" y="16"/>
                    </a:lnTo>
                    <a:lnTo>
                      <a:pt x="7" y="1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6" name="Freeform 489">
                <a:extLst>
                  <a:ext uri="{FF2B5EF4-FFF2-40B4-BE49-F238E27FC236}">
                    <a16:creationId xmlns:a16="http://schemas.microsoft.com/office/drawing/2014/main" id="{39ACC3B9-A52D-4E41-B941-0C11E25C698C}"/>
                  </a:ext>
                </a:extLst>
              </p:cNvPr>
              <p:cNvSpPr>
                <a:spLocks/>
              </p:cNvSpPr>
              <p:nvPr/>
            </p:nvSpPr>
            <p:spPr bwMode="gray">
              <a:xfrm>
                <a:off x="9615337" y="3387789"/>
                <a:ext cx="220655" cy="262674"/>
              </a:xfrm>
              <a:custGeom>
                <a:avLst/>
                <a:gdLst>
                  <a:gd name="T0" fmla="*/ 5 w 536"/>
                  <a:gd name="T1" fmla="*/ 127 h 638"/>
                  <a:gd name="T2" fmla="*/ 33 w 536"/>
                  <a:gd name="T3" fmla="*/ 120 h 638"/>
                  <a:gd name="T4" fmla="*/ 49 w 536"/>
                  <a:gd name="T5" fmla="*/ 87 h 638"/>
                  <a:gd name="T6" fmla="*/ 75 w 536"/>
                  <a:gd name="T7" fmla="*/ 66 h 638"/>
                  <a:gd name="T8" fmla="*/ 104 w 536"/>
                  <a:gd name="T9" fmla="*/ 94 h 638"/>
                  <a:gd name="T10" fmla="*/ 125 w 536"/>
                  <a:gd name="T11" fmla="*/ 94 h 638"/>
                  <a:gd name="T12" fmla="*/ 113 w 536"/>
                  <a:gd name="T13" fmla="*/ 49 h 638"/>
                  <a:gd name="T14" fmla="*/ 104 w 536"/>
                  <a:gd name="T15" fmla="*/ 16 h 638"/>
                  <a:gd name="T16" fmla="*/ 146 w 536"/>
                  <a:gd name="T17" fmla="*/ 9 h 638"/>
                  <a:gd name="T18" fmla="*/ 179 w 536"/>
                  <a:gd name="T19" fmla="*/ 66 h 638"/>
                  <a:gd name="T20" fmla="*/ 196 w 536"/>
                  <a:gd name="T21" fmla="*/ 87 h 638"/>
                  <a:gd name="T22" fmla="*/ 255 w 536"/>
                  <a:gd name="T23" fmla="*/ 137 h 638"/>
                  <a:gd name="T24" fmla="*/ 276 w 536"/>
                  <a:gd name="T25" fmla="*/ 111 h 638"/>
                  <a:gd name="T26" fmla="*/ 305 w 536"/>
                  <a:gd name="T27" fmla="*/ 149 h 638"/>
                  <a:gd name="T28" fmla="*/ 342 w 536"/>
                  <a:gd name="T29" fmla="*/ 177 h 638"/>
                  <a:gd name="T30" fmla="*/ 331 w 536"/>
                  <a:gd name="T31" fmla="*/ 194 h 638"/>
                  <a:gd name="T32" fmla="*/ 319 w 536"/>
                  <a:gd name="T33" fmla="*/ 215 h 638"/>
                  <a:gd name="T34" fmla="*/ 276 w 536"/>
                  <a:gd name="T35" fmla="*/ 222 h 638"/>
                  <a:gd name="T36" fmla="*/ 288 w 536"/>
                  <a:gd name="T37" fmla="*/ 248 h 638"/>
                  <a:gd name="T38" fmla="*/ 357 w 536"/>
                  <a:gd name="T39" fmla="*/ 288 h 638"/>
                  <a:gd name="T40" fmla="*/ 357 w 536"/>
                  <a:gd name="T41" fmla="*/ 309 h 638"/>
                  <a:gd name="T42" fmla="*/ 380 w 536"/>
                  <a:gd name="T43" fmla="*/ 326 h 638"/>
                  <a:gd name="T44" fmla="*/ 439 w 536"/>
                  <a:gd name="T45" fmla="*/ 399 h 638"/>
                  <a:gd name="T46" fmla="*/ 456 w 536"/>
                  <a:gd name="T47" fmla="*/ 416 h 638"/>
                  <a:gd name="T48" fmla="*/ 465 w 536"/>
                  <a:gd name="T49" fmla="*/ 456 h 638"/>
                  <a:gd name="T50" fmla="*/ 482 w 536"/>
                  <a:gd name="T51" fmla="*/ 444 h 638"/>
                  <a:gd name="T52" fmla="*/ 494 w 536"/>
                  <a:gd name="T53" fmla="*/ 460 h 638"/>
                  <a:gd name="T54" fmla="*/ 520 w 536"/>
                  <a:gd name="T55" fmla="*/ 477 h 638"/>
                  <a:gd name="T56" fmla="*/ 494 w 536"/>
                  <a:gd name="T57" fmla="*/ 498 h 638"/>
                  <a:gd name="T58" fmla="*/ 527 w 536"/>
                  <a:gd name="T59" fmla="*/ 555 h 638"/>
                  <a:gd name="T60" fmla="*/ 527 w 536"/>
                  <a:gd name="T61" fmla="*/ 583 h 638"/>
                  <a:gd name="T62" fmla="*/ 456 w 536"/>
                  <a:gd name="T63" fmla="*/ 588 h 638"/>
                  <a:gd name="T64" fmla="*/ 435 w 536"/>
                  <a:gd name="T65" fmla="*/ 593 h 638"/>
                  <a:gd name="T66" fmla="*/ 418 w 536"/>
                  <a:gd name="T67" fmla="*/ 605 h 638"/>
                  <a:gd name="T68" fmla="*/ 418 w 536"/>
                  <a:gd name="T69" fmla="*/ 638 h 638"/>
                  <a:gd name="T70" fmla="*/ 385 w 536"/>
                  <a:gd name="T71" fmla="*/ 621 h 638"/>
                  <a:gd name="T72" fmla="*/ 357 w 536"/>
                  <a:gd name="T73" fmla="*/ 605 h 638"/>
                  <a:gd name="T74" fmla="*/ 385 w 536"/>
                  <a:gd name="T75" fmla="*/ 555 h 638"/>
                  <a:gd name="T76" fmla="*/ 385 w 536"/>
                  <a:gd name="T77" fmla="*/ 510 h 638"/>
                  <a:gd name="T78" fmla="*/ 373 w 536"/>
                  <a:gd name="T79" fmla="*/ 494 h 638"/>
                  <a:gd name="T80" fmla="*/ 347 w 536"/>
                  <a:gd name="T81" fmla="*/ 477 h 638"/>
                  <a:gd name="T82" fmla="*/ 331 w 536"/>
                  <a:gd name="T83" fmla="*/ 387 h 638"/>
                  <a:gd name="T84" fmla="*/ 293 w 536"/>
                  <a:gd name="T85" fmla="*/ 349 h 638"/>
                  <a:gd name="T86" fmla="*/ 234 w 536"/>
                  <a:gd name="T87" fmla="*/ 305 h 638"/>
                  <a:gd name="T88" fmla="*/ 222 w 536"/>
                  <a:gd name="T89" fmla="*/ 316 h 638"/>
                  <a:gd name="T90" fmla="*/ 212 w 536"/>
                  <a:gd name="T91" fmla="*/ 333 h 638"/>
                  <a:gd name="T92" fmla="*/ 179 w 536"/>
                  <a:gd name="T93" fmla="*/ 349 h 638"/>
                  <a:gd name="T94" fmla="*/ 163 w 536"/>
                  <a:gd name="T95" fmla="*/ 333 h 638"/>
                  <a:gd name="T96" fmla="*/ 125 w 536"/>
                  <a:gd name="T97" fmla="*/ 333 h 638"/>
                  <a:gd name="T98" fmla="*/ 104 w 536"/>
                  <a:gd name="T99" fmla="*/ 349 h 638"/>
                  <a:gd name="T100" fmla="*/ 59 w 536"/>
                  <a:gd name="T101" fmla="*/ 366 h 638"/>
                  <a:gd name="T102" fmla="*/ 75 w 536"/>
                  <a:gd name="T103" fmla="*/ 309 h 638"/>
                  <a:gd name="T104" fmla="*/ 87 w 536"/>
                  <a:gd name="T105" fmla="*/ 288 h 638"/>
                  <a:gd name="T106" fmla="*/ 87 w 536"/>
                  <a:gd name="T107" fmla="*/ 255 h 638"/>
                  <a:gd name="T108" fmla="*/ 87 w 536"/>
                  <a:gd name="T109" fmla="*/ 222 h 638"/>
                  <a:gd name="T110" fmla="*/ 49 w 536"/>
                  <a:gd name="T111" fmla="*/ 222 h 638"/>
                  <a:gd name="T112" fmla="*/ 21 w 536"/>
                  <a:gd name="T113" fmla="*/ 205 h 638"/>
                  <a:gd name="T114" fmla="*/ 21 w 536"/>
                  <a:gd name="T115" fmla="*/ 177 h 638"/>
                  <a:gd name="T116" fmla="*/ 5 w 536"/>
                  <a:gd name="T117" fmla="*/ 165 h 638"/>
                  <a:gd name="T118" fmla="*/ 0 w 536"/>
                  <a:gd name="T119" fmla="*/ 16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 h="638">
                    <a:moveTo>
                      <a:pt x="0" y="160"/>
                    </a:moveTo>
                    <a:lnTo>
                      <a:pt x="5" y="127"/>
                    </a:lnTo>
                    <a:lnTo>
                      <a:pt x="38" y="120"/>
                    </a:lnTo>
                    <a:lnTo>
                      <a:pt x="33" y="120"/>
                    </a:lnTo>
                    <a:lnTo>
                      <a:pt x="33" y="111"/>
                    </a:lnTo>
                    <a:lnTo>
                      <a:pt x="49" y="87"/>
                    </a:lnTo>
                    <a:lnTo>
                      <a:pt x="59" y="83"/>
                    </a:lnTo>
                    <a:lnTo>
                      <a:pt x="75" y="66"/>
                    </a:lnTo>
                    <a:lnTo>
                      <a:pt x="87" y="94"/>
                    </a:lnTo>
                    <a:lnTo>
                      <a:pt x="104" y="94"/>
                    </a:lnTo>
                    <a:lnTo>
                      <a:pt x="113" y="104"/>
                    </a:lnTo>
                    <a:lnTo>
                      <a:pt x="125" y="94"/>
                    </a:lnTo>
                    <a:lnTo>
                      <a:pt x="113" y="87"/>
                    </a:lnTo>
                    <a:lnTo>
                      <a:pt x="113" y="49"/>
                    </a:lnTo>
                    <a:lnTo>
                      <a:pt x="109" y="38"/>
                    </a:lnTo>
                    <a:lnTo>
                      <a:pt x="104" y="16"/>
                    </a:lnTo>
                    <a:lnTo>
                      <a:pt x="113" y="0"/>
                    </a:lnTo>
                    <a:lnTo>
                      <a:pt x="146" y="9"/>
                    </a:lnTo>
                    <a:lnTo>
                      <a:pt x="179" y="38"/>
                    </a:lnTo>
                    <a:lnTo>
                      <a:pt x="179" y="66"/>
                    </a:lnTo>
                    <a:lnTo>
                      <a:pt x="201" y="54"/>
                    </a:lnTo>
                    <a:lnTo>
                      <a:pt x="196" y="87"/>
                    </a:lnTo>
                    <a:lnTo>
                      <a:pt x="217" y="120"/>
                    </a:lnTo>
                    <a:lnTo>
                      <a:pt x="255" y="137"/>
                    </a:lnTo>
                    <a:lnTo>
                      <a:pt x="264" y="120"/>
                    </a:lnTo>
                    <a:lnTo>
                      <a:pt x="276" y="111"/>
                    </a:lnTo>
                    <a:lnTo>
                      <a:pt x="319" y="137"/>
                    </a:lnTo>
                    <a:lnTo>
                      <a:pt x="305" y="149"/>
                    </a:lnTo>
                    <a:lnTo>
                      <a:pt x="319" y="149"/>
                    </a:lnTo>
                    <a:lnTo>
                      <a:pt x="342" y="177"/>
                    </a:lnTo>
                    <a:lnTo>
                      <a:pt x="342" y="182"/>
                    </a:lnTo>
                    <a:lnTo>
                      <a:pt x="331" y="194"/>
                    </a:lnTo>
                    <a:lnTo>
                      <a:pt x="331" y="198"/>
                    </a:lnTo>
                    <a:lnTo>
                      <a:pt x="319" y="215"/>
                    </a:lnTo>
                    <a:lnTo>
                      <a:pt x="276" y="205"/>
                    </a:lnTo>
                    <a:lnTo>
                      <a:pt x="276" y="222"/>
                    </a:lnTo>
                    <a:lnTo>
                      <a:pt x="264" y="238"/>
                    </a:lnTo>
                    <a:lnTo>
                      <a:pt x="288" y="248"/>
                    </a:lnTo>
                    <a:lnTo>
                      <a:pt x="326" y="276"/>
                    </a:lnTo>
                    <a:lnTo>
                      <a:pt x="357" y="288"/>
                    </a:lnTo>
                    <a:lnTo>
                      <a:pt x="357" y="305"/>
                    </a:lnTo>
                    <a:lnTo>
                      <a:pt x="357" y="309"/>
                    </a:lnTo>
                    <a:lnTo>
                      <a:pt x="373" y="326"/>
                    </a:lnTo>
                    <a:lnTo>
                      <a:pt x="380" y="326"/>
                    </a:lnTo>
                    <a:lnTo>
                      <a:pt x="397" y="361"/>
                    </a:lnTo>
                    <a:lnTo>
                      <a:pt x="439" y="399"/>
                    </a:lnTo>
                    <a:lnTo>
                      <a:pt x="449" y="416"/>
                    </a:lnTo>
                    <a:lnTo>
                      <a:pt x="456" y="416"/>
                    </a:lnTo>
                    <a:lnTo>
                      <a:pt x="456" y="437"/>
                    </a:lnTo>
                    <a:lnTo>
                      <a:pt x="465" y="456"/>
                    </a:lnTo>
                    <a:lnTo>
                      <a:pt x="472" y="456"/>
                    </a:lnTo>
                    <a:lnTo>
                      <a:pt x="482" y="444"/>
                    </a:lnTo>
                    <a:lnTo>
                      <a:pt x="489" y="460"/>
                    </a:lnTo>
                    <a:lnTo>
                      <a:pt x="494" y="460"/>
                    </a:lnTo>
                    <a:lnTo>
                      <a:pt x="510" y="477"/>
                    </a:lnTo>
                    <a:lnTo>
                      <a:pt x="520" y="477"/>
                    </a:lnTo>
                    <a:lnTo>
                      <a:pt x="510" y="494"/>
                    </a:lnTo>
                    <a:lnTo>
                      <a:pt x="494" y="498"/>
                    </a:lnTo>
                    <a:lnTo>
                      <a:pt x="536" y="538"/>
                    </a:lnTo>
                    <a:lnTo>
                      <a:pt x="527" y="555"/>
                    </a:lnTo>
                    <a:lnTo>
                      <a:pt x="520" y="555"/>
                    </a:lnTo>
                    <a:lnTo>
                      <a:pt x="527" y="583"/>
                    </a:lnTo>
                    <a:lnTo>
                      <a:pt x="472" y="609"/>
                    </a:lnTo>
                    <a:lnTo>
                      <a:pt x="456" y="588"/>
                    </a:lnTo>
                    <a:lnTo>
                      <a:pt x="439" y="593"/>
                    </a:lnTo>
                    <a:lnTo>
                      <a:pt x="435" y="593"/>
                    </a:lnTo>
                    <a:lnTo>
                      <a:pt x="435" y="605"/>
                    </a:lnTo>
                    <a:lnTo>
                      <a:pt x="418" y="605"/>
                    </a:lnTo>
                    <a:lnTo>
                      <a:pt x="427" y="628"/>
                    </a:lnTo>
                    <a:lnTo>
                      <a:pt x="418" y="638"/>
                    </a:lnTo>
                    <a:lnTo>
                      <a:pt x="411" y="638"/>
                    </a:lnTo>
                    <a:lnTo>
                      <a:pt x="385" y="621"/>
                    </a:lnTo>
                    <a:lnTo>
                      <a:pt x="373" y="628"/>
                    </a:lnTo>
                    <a:lnTo>
                      <a:pt x="357" y="605"/>
                    </a:lnTo>
                    <a:lnTo>
                      <a:pt x="380" y="588"/>
                    </a:lnTo>
                    <a:lnTo>
                      <a:pt x="385" y="555"/>
                    </a:lnTo>
                    <a:lnTo>
                      <a:pt x="380" y="550"/>
                    </a:lnTo>
                    <a:lnTo>
                      <a:pt x="385" y="510"/>
                    </a:lnTo>
                    <a:lnTo>
                      <a:pt x="373" y="498"/>
                    </a:lnTo>
                    <a:lnTo>
                      <a:pt x="373" y="494"/>
                    </a:lnTo>
                    <a:lnTo>
                      <a:pt x="373" y="482"/>
                    </a:lnTo>
                    <a:lnTo>
                      <a:pt x="347" y="477"/>
                    </a:lnTo>
                    <a:lnTo>
                      <a:pt x="326" y="444"/>
                    </a:lnTo>
                    <a:lnTo>
                      <a:pt x="331" y="387"/>
                    </a:lnTo>
                    <a:lnTo>
                      <a:pt x="326" y="371"/>
                    </a:lnTo>
                    <a:lnTo>
                      <a:pt x="293" y="349"/>
                    </a:lnTo>
                    <a:lnTo>
                      <a:pt x="272" y="309"/>
                    </a:lnTo>
                    <a:lnTo>
                      <a:pt x="234" y="305"/>
                    </a:lnTo>
                    <a:lnTo>
                      <a:pt x="222" y="309"/>
                    </a:lnTo>
                    <a:lnTo>
                      <a:pt x="222" y="316"/>
                    </a:lnTo>
                    <a:lnTo>
                      <a:pt x="212" y="326"/>
                    </a:lnTo>
                    <a:lnTo>
                      <a:pt x="212" y="333"/>
                    </a:lnTo>
                    <a:lnTo>
                      <a:pt x="196" y="333"/>
                    </a:lnTo>
                    <a:lnTo>
                      <a:pt x="179" y="349"/>
                    </a:lnTo>
                    <a:lnTo>
                      <a:pt x="179" y="342"/>
                    </a:lnTo>
                    <a:lnTo>
                      <a:pt x="163" y="333"/>
                    </a:lnTo>
                    <a:lnTo>
                      <a:pt x="142" y="316"/>
                    </a:lnTo>
                    <a:lnTo>
                      <a:pt x="125" y="333"/>
                    </a:lnTo>
                    <a:lnTo>
                      <a:pt x="113" y="333"/>
                    </a:lnTo>
                    <a:lnTo>
                      <a:pt x="104" y="349"/>
                    </a:lnTo>
                    <a:lnTo>
                      <a:pt x="75" y="371"/>
                    </a:lnTo>
                    <a:lnTo>
                      <a:pt x="59" y="366"/>
                    </a:lnTo>
                    <a:lnTo>
                      <a:pt x="75" y="326"/>
                    </a:lnTo>
                    <a:lnTo>
                      <a:pt x="75" y="309"/>
                    </a:lnTo>
                    <a:lnTo>
                      <a:pt x="71" y="305"/>
                    </a:lnTo>
                    <a:lnTo>
                      <a:pt x="87" y="288"/>
                    </a:lnTo>
                    <a:lnTo>
                      <a:pt x="75" y="272"/>
                    </a:lnTo>
                    <a:lnTo>
                      <a:pt x="87" y="255"/>
                    </a:lnTo>
                    <a:lnTo>
                      <a:pt x="75" y="231"/>
                    </a:lnTo>
                    <a:lnTo>
                      <a:pt x="87" y="222"/>
                    </a:lnTo>
                    <a:lnTo>
                      <a:pt x="54" y="215"/>
                    </a:lnTo>
                    <a:lnTo>
                      <a:pt x="49" y="222"/>
                    </a:lnTo>
                    <a:lnTo>
                      <a:pt x="33" y="222"/>
                    </a:lnTo>
                    <a:lnTo>
                      <a:pt x="21" y="205"/>
                    </a:lnTo>
                    <a:lnTo>
                      <a:pt x="33" y="177"/>
                    </a:lnTo>
                    <a:lnTo>
                      <a:pt x="21" y="177"/>
                    </a:lnTo>
                    <a:lnTo>
                      <a:pt x="16" y="160"/>
                    </a:lnTo>
                    <a:lnTo>
                      <a:pt x="5" y="165"/>
                    </a:lnTo>
                    <a:lnTo>
                      <a:pt x="0" y="160"/>
                    </a:lnTo>
                    <a:lnTo>
                      <a:pt x="0" y="160"/>
                    </a:lnTo>
                    <a:lnTo>
                      <a:pt x="0" y="16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1" name="Freeform 515">
                <a:extLst>
                  <a:ext uri="{FF2B5EF4-FFF2-40B4-BE49-F238E27FC236}">
                    <a16:creationId xmlns:a16="http://schemas.microsoft.com/office/drawing/2014/main" id="{A5161570-09DB-42B3-814A-C4BEEA942CC8}"/>
                  </a:ext>
                </a:extLst>
              </p:cNvPr>
              <p:cNvSpPr>
                <a:spLocks noEditPoints="1"/>
              </p:cNvSpPr>
              <p:nvPr/>
            </p:nvSpPr>
            <p:spPr bwMode="gray">
              <a:xfrm>
                <a:off x="9602574" y="3848911"/>
                <a:ext cx="566869" cy="192272"/>
              </a:xfrm>
              <a:custGeom>
                <a:avLst/>
                <a:gdLst>
                  <a:gd name="T0" fmla="*/ 1205 w 1377"/>
                  <a:gd name="T1" fmla="*/ 4 h 467"/>
                  <a:gd name="T2" fmla="*/ 1238 w 1377"/>
                  <a:gd name="T3" fmla="*/ 0 h 467"/>
                  <a:gd name="T4" fmla="*/ 1233 w 1377"/>
                  <a:gd name="T5" fmla="*/ 0 h 467"/>
                  <a:gd name="T6" fmla="*/ 1184 w 1377"/>
                  <a:gd name="T7" fmla="*/ 222 h 467"/>
                  <a:gd name="T8" fmla="*/ 1125 w 1377"/>
                  <a:gd name="T9" fmla="*/ 226 h 467"/>
                  <a:gd name="T10" fmla="*/ 1099 w 1377"/>
                  <a:gd name="T11" fmla="*/ 304 h 467"/>
                  <a:gd name="T12" fmla="*/ 1070 w 1377"/>
                  <a:gd name="T13" fmla="*/ 361 h 467"/>
                  <a:gd name="T14" fmla="*/ 1037 w 1377"/>
                  <a:gd name="T15" fmla="*/ 415 h 467"/>
                  <a:gd name="T16" fmla="*/ 936 w 1377"/>
                  <a:gd name="T17" fmla="*/ 411 h 467"/>
                  <a:gd name="T18" fmla="*/ 865 w 1377"/>
                  <a:gd name="T19" fmla="*/ 444 h 467"/>
                  <a:gd name="T20" fmla="*/ 704 w 1377"/>
                  <a:gd name="T21" fmla="*/ 411 h 467"/>
                  <a:gd name="T22" fmla="*/ 718 w 1377"/>
                  <a:gd name="T23" fmla="*/ 406 h 467"/>
                  <a:gd name="T24" fmla="*/ 784 w 1377"/>
                  <a:gd name="T25" fmla="*/ 415 h 467"/>
                  <a:gd name="T26" fmla="*/ 827 w 1377"/>
                  <a:gd name="T27" fmla="*/ 427 h 467"/>
                  <a:gd name="T28" fmla="*/ 822 w 1377"/>
                  <a:gd name="T29" fmla="*/ 373 h 467"/>
                  <a:gd name="T30" fmla="*/ 827 w 1377"/>
                  <a:gd name="T31" fmla="*/ 333 h 467"/>
                  <a:gd name="T32" fmla="*/ 1006 w 1377"/>
                  <a:gd name="T33" fmla="*/ 193 h 467"/>
                  <a:gd name="T34" fmla="*/ 1070 w 1377"/>
                  <a:gd name="T35" fmla="*/ 226 h 467"/>
                  <a:gd name="T36" fmla="*/ 1082 w 1377"/>
                  <a:gd name="T37" fmla="*/ 181 h 467"/>
                  <a:gd name="T38" fmla="*/ 1091 w 1377"/>
                  <a:gd name="T39" fmla="*/ 172 h 467"/>
                  <a:gd name="T40" fmla="*/ 1108 w 1377"/>
                  <a:gd name="T41" fmla="*/ 139 h 467"/>
                  <a:gd name="T42" fmla="*/ 1151 w 1377"/>
                  <a:gd name="T43" fmla="*/ 99 h 467"/>
                  <a:gd name="T44" fmla="*/ 1205 w 1377"/>
                  <a:gd name="T45" fmla="*/ 25 h 467"/>
                  <a:gd name="T46" fmla="*/ 1238 w 1377"/>
                  <a:gd name="T47" fmla="*/ 44 h 467"/>
                  <a:gd name="T48" fmla="*/ 1259 w 1377"/>
                  <a:gd name="T49" fmla="*/ 77 h 467"/>
                  <a:gd name="T50" fmla="*/ 1292 w 1377"/>
                  <a:gd name="T51" fmla="*/ 82 h 467"/>
                  <a:gd name="T52" fmla="*/ 1314 w 1377"/>
                  <a:gd name="T53" fmla="*/ 111 h 467"/>
                  <a:gd name="T54" fmla="*/ 1377 w 1377"/>
                  <a:gd name="T55" fmla="*/ 155 h 467"/>
                  <a:gd name="T56" fmla="*/ 1297 w 1377"/>
                  <a:gd name="T57" fmla="*/ 172 h 467"/>
                  <a:gd name="T58" fmla="*/ 1330 w 1377"/>
                  <a:gd name="T59" fmla="*/ 205 h 467"/>
                  <a:gd name="T60" fmla="*/ 1271 w 1377"/>
                  <a:gd name="T61" fmla="*/ 210 h 467"/>
                  <a:gd name="T62" fmla="*/ 1243 w 1377"/>
                  <a:gd name="T63" fmla="*/ 44 h 467"/>
                  <a:gd name="T64" fmla="*/ 1243 w 1377"/>
                  <a:gd name="T65" fmla="*/ 44 h 467"/>
                  <a:gd name="T66" fmla="*/ 38 w 1377"/>
                  <a:gd name="T67" fmla="*/ 44 h 467"/>
                  <a:gd name="T68" fmla="*/ 83 w 1377"/>
                  <a:gd name="T69" fmla="*/ 54 h 467"/>
                  <a:gd name="T70" fmla="*/ 92 w 1377"/>
                  <a:gd name="T71" fmla="*/ 111 h 467"/>
                  <a:gd name="T72" fmla="*/ 158 w 1377"/>
                  <a:gd name="T73" fmla="*/ 111 h 467"/>
                  <a:gd name="T74" fmla="*/ 243 w 1377"/>
                  <a:gd name="T75" fmla="*/ 132 h 467"/>
                  <a:gd name="T76" fmla="*/ 272 w 1377"/>
                  <a:gd name="T77" fmla="*/ 278 h 467"/>
                  <a:gd name="T78" fmla="*/ 326 w 1377"/>
                  <a:gd name="T79" fmla="*/ 406 h 467"/>
                  <a:gd name="T80" fmla="*/ 303 w 1377"/>
                  <a:gd name="T81" fmla="*/ 427 h 467"/>
                  <a:gd name="T82" fmla="*/ 217 w 1377"/>
                  <a:gd name="T83" fmla="*/ 394 h 467"/>
                  <a:gd name="T84" fmla="*/ 121 w 1377"/>
                  <a:gd name="T85" fmla="*/ 321 h 467"/>
                  <a:gd name="T86" fmla="*/ 83 w 1377"/>
                  <a:gd name="T87" fmla="*/ 250 h 467"/>
                  <a:gd name="T88" fmla="*/ 88 w 1377"/>
                  <a:gd name="T89" fmla="*/ 238 h 467"/>
                  <a:gd name="T90" fmla="*/ 54 w 1377"/>
                  <a:gd name="T91" fmla="*/ 148 h 467"/>
                  <a:gd name="T92" fmla="*/ 33 w 1377"/>
                  <a:gd name="T93" fmla="*/ 61 h 467"/>
                  <a:gd name="T94" fmla="*/ 0 w 1377"/>
                  <a:gd name="T95" fmla="*/ 61 h 467"/>
                  <a:gd name="T96" fmla="*/ 50 w 1377"/>
                  <a:gd name="T97" fmla="*/ 132 h 467"/>
                  <a:gd name="T98" fmla="*/ 50 w 1377"/>
                  <a:gd name="T99" fmla="*/ 132 h 467"/>
                  <a:gd name="T100" fmla="*/ 1099 w 1377"/>
                  <a:gd name="T101" fmla="*/ 139 h 467"/>
                  <a:gd name="T102" fmla="*/ 1091 w 1377"/>
                  <a:gd name="T103" fmla="*/ 148 h 467"/>
                  <a:gd name="T104" fmla="*/ 1288 w 1377"/>
                  <a:gd name="T105" fmla="*/ 226 h 467"/>
                  <a:gd name="T106" fmla="*/ 822 w 1377"/>
                  <a:gd name="T107" fmla="*/ 321 h 467"/>
                  <a:gd name="T108" fmla="*/ 822 w 1377"/>
                  <a:gd name="T109" fmla="*/ 349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77" h="467">
                    <a:moveTo>
                      <a:pt x="1205" y="4"/>
                    </a:moveTo>
                    <a:lnTo>
                      <a:pt x="1221" y="0"/>
                    </a:lnTo>
                    <a:lnTo>
                      <a:pt x="1221" y="0"/>
                    </a:lnTo>
                    <a:lnTo>
                      <a:pt x="1205" y="4"/>
                    </a:lnTo>
                    <a:lnTo>
                      <a:pt x="1205" y="4"/>
                    </a:lnTo>
                    <a:lnTo>
                      <a:pt x="1205" y="4"/>
                    </a:lnTo>
                    <a:close/>
                    <a:moveTo>
                      <a:pt x="1233" y="0"/>
                    </a:moveTo>
                    <a:lnTo>
                      <a:pt x="1238" y="0"/>
                    </a:lnTo>
                    <a:lnTo>
                      <a:pt x="1238" y="4"/>
                    </a:lnTo>
                    <a:lnTo>
                      <a:pt x="1221" y="16"/>
                    </a:lnTo>
                    <a:lnTo>
                      <a:pt x="1233" y="0"/>
                    </a:lnTo>
                    <a:lnTo>
                      <a:pt x="1233" y="0"/>
                    </a:lnTo>
                    <a:lnTo>
                      <a:pt x="1233" y="0"/>
                    </a:lnTo>
                    <a:close/>
                    <a:moveTo>
                      <a:pt x="1259" y="226"/>
                    </a:moveTo>
                    <a:lnTo>
                      <a:pt x="1238" y="210"/>
                    </a:lnTo>
                    <a:lnTo>
                      <a:pt x="1184" y="222"/>
                    </a:lnTo>
                    <a:lnTo>
                      <a:pt x="1162" y="210"/>
                    </a:lnTo>
                    <a:lnTo>
                      <a:pt x="1151" y="222"/>
                    </a:lnTo>
                    <a:lnTo>
                      <a:pt x="1136" y="210"/>
                    </a:lnTo>
                    <a:lnTo>
                      <a:pt x="1125" y="226"/>
                    </a:lnTo>
                    <a:lnTo>
                      <a:pt x="1125" y="259"/>
                    </a:lnTo>
                    <a:lnTo>
                      <a:pt x="1125" y="278"/>
                    </a:lnTo>
                    <a:lnTo>
                      <a:pt x="1113" y="304"/>
                    </a:lnTo>
                    <a:lnTo>
                      <a:pt x="1099" y="304"/>
                    </a:lnTo>
                    <a:lnTo>
                      <a:pt x="1091" y="316"/>
                    </a:lnTo>
                    <a:lnTo>
                      <a:pt x="1082" y="337"/>
                    </a:lnTo>
                    <a:lnTo>
                      <a:pt x="1099" y="349"/>
                    </a:lnTo>
                    <a:lnTo>
                      <a:pt x="1070" y="361"/>
                    </a:lnTo>
                    <a:lnTo>
                      <a:pt x="1070" y="389"/>
                    </a:lnTo>
                    <a:lnTo>
                      <a:pt x="1061" y="406"/>
                    </a:lnTo>
                    <a:lnTo>
                      <a:pt x="1054" y="427"/>
                    </a:lnTo>
                    <a:lnTo>
                      <a:pt x="1037" y="415"/>
                    </a:lnTo>
                    <a:lnTo>
                      <a:pt x="1006" y="415"/>
                    </a:lnTo>
                    <a:lnTo>
                      <a:pt x="985" y="434"/>
                    </a:lnTo>
                    <a:lnTo>
                      <a:pt x="947" y="427"/>
                    </a:lnTo>
                    <a:lnTo>
                      <a:pt x="936" y="411"/>
                    </a:lnTo>
                    <a:lnTo>
                      <a:pt x="898" y="411"/>
                    </a:lnTo>
                    <a:lnTo>
                      <a:pt x="881" y="415"/>
                    </a:lnTo>
                    <a:lnTo>
                      <a:pt x="877" y="444"/>
                    </a:lnTo>
                    <a:lnTo>
                      <a:pt x="865" y="444"/>
                    </a:lnTo>
                    <a:lnTo>
                      <a:pt x="860" y="460"/>
                    </a:lnTo>
                    <a:lnTo>
                      <a:pt x="810" y="451"/>
                    </a:lnTo>
                    <a:lnTo>
                      <a:pt x="768" y="467"/>
                    </a:lnTo>
                    <a:lnTo>
                      <a:pt x="704" y="411"/>
                    </a:lnTo>
                    <a:lnTo>
                      <a:pt x="697" y="389"/>
                    </a:lnTo>
                    <a:lnTo>
                      <a:pt x="704" y="377"/>
                    </a:lnTo>
                    <a:lnTo>
                      <a:pt x="704" y="389"/>
                    </a:lnTo>
                    <a:lnTo>
                      <a:pt x="718" y="406"/>
                    </a:lnTo>
                    <a:lnTo>
                      <a:pt x="747" y="406"/>
                    </a:lnTo>
                    <a:lnTo>
                      <a:pt x="751" y="394"/>
                    </a:lnTo>
                    <a:lnTo>
                      <a:pt x="758" y="411"/>
                    </a:lnTo>
                    <a:lnTo>
                      <a:pt x="784" y="415"/>
                    </a:lnTo>
                    <a:lnTo>
                      <a:pt x="773" y="415"/>
                    </a:lnTo>
                    <a:lnTo>
                      <a:pt x="784" y="411"/>
                    </a:lnTo>
                    <a:lnTo>
                      <a:pt x="810" y="427"/>
                    </a:lnTo>
                    <a:lnTo>
                      <a:pt x="827" y="427"/>
                    </a:lnTo>
                    <a:lnTo>
                      <a:pt x="806" y="415"/>
                    </a:lnTo>
                    <a:lnTo>
                      <a:pt x="801" y="411"/>
                    </a:lnTo>
                    <a:lnTo>
                      <a:pt x="810" y="377"/>
                    </a:lnTo>
                    <a:lnTo>
                      <a:pt x="822" y="373"/>
                    </a:lnTo>
                    <a:lnTo>
                      <a:pt x="810" y="373"/>
                    </a:lnTo>
                    <a:lnTo>
                      <a:pt x="810" y="356"/>
                    </a:lnTo>
                    <a:lnTo>
                      <a:pt x="827" y="356"/>
                    </a:lnTo>
                    <a:lnTo>
                      <a:pt x="827" y="333"/>
                    </a:lnTo>
                    <a:lnTo>
                      <a:pt x="843" y="321"/>
                    </a:lnTo>
                    <a:lnTo>
                      <a:pt x="936" y="300"/>
                    </a:lnTo>
                    <a:lnTo>
                      <a:pt x="1006" y="222"/>
                    </a:lnTo>
                    <a:lnTo>
                      <a:pt x="1006" y="193"/>
                    </a:lnTo>
                    <a:lnTo>
                      <a:pt x="1016" y="193"/>
                    </a:lnTo>
                    <a:lnTo>
                      <a:pt x="1028" y="193"/>
                    </a:lnTo>
                    <a:lnTo>
                      <a:pt x="1054" y="238"/>
                    </a:lnTo>
                    <a:lnTo>
                      <a:pt x="1070" y="226"/>
                    </a:lnTo>
                    <a:lnTo>
                      <a:pt x="1070" y="210"/>
                    </a:lnTo>
                    <a:lnTo>
                      <a:pt x="1070" y="188"/>
                    </a:lnTo>
                    <a:lnTo>
                      <a:pt x="1082" y="172"/>
                    </a:lnTo>
                    <a:lnTo>
                      <a:pt x="1082" y="181"/>
                    </a:lnTo>
                    <a:lnTo>
                      <a:pt x="1082" y="210"/>
                    </a:lnTo>
                    <a:lnTo>
                      <a:pt x="1108" y="210"/>
                    </a:lnTo>
                    <a:lnTo>
                      <a:pt x="1091" y="172"/>
                    </a:lnTo>
                    <a:lnTo>
                      <a:pt x="1091" y="172"/>
                    </a:lnTo>
                    <a:lnTo>
                      <a:pt x="1108" y="172"/>
                    </a:lnTo>
                    <a:lnTo>
                      <a:pt x="1113" y="165"/>
                    </a:lnTo>
                    <a:lnTo>
                      <a:pt x="1125" y="148"/>
                    </a:lnTo>
                    <a:lnTo>
                      <a:pt x="1108" y="139"/>
                    </a:lnTo>
                    <a:lnTo>
                      <a:pt x="1108" y="132"/>
                    </a:lnTo>
                    <a:lnTo>
                      <a:pt x="1113" y="127"/>
                    </a:lnTo>
                    <a:lnTo>
                      <a:pt x="1136" y="127"/>
                    </a:lnTo>
                    <a:lnTo>
                      <a:pt x="1151" y="99"/>
                    </a:lnTo>
                    <a:lnTo>
                      <a:pt x="1162" y="82"/>
                    </a:lnTo>
                    <a:lnTo>
                      <a:pt x="1184" y="61"/>
                    </a:lnTo>
                    <a:lnTo>
                      <a:pt x="1200" y="21"/>
                    </a:lnTo>
                    <a:lnTo>
                      <a:pt x="1205" y="25"/>
                    </a:lnTo>
                    <a:lnTo>
                      <a:pt x="1205" y="54"/>
                    </a:lnTo>
                    <a:lnTo>
                      <a:pt x="1233" y="21"/>
                    </a:lnTo>
                    <a:lnTo>
                      <a:pt x="1238" y="21"/>
                    </a:lnTo>
                    <a:lnTo>
                      <a:pt x="1238" y="44"/>
                    </a:lnTo>
                    <a:lnTo>
                      <a:pt x="1271" y="54"/>
                    </a:lnTo>
                    <a:lnTo>
                      <a:pt x="1271" y="61"/>
                    </a:lnTo>
                    <a:lnTo>
                      <a:pt x="1271" y="77"/>
                    </a:lnTo>
                    <a:lnTo>
                      <a:pt x="1259" y="77"/>
                    </a:lnTo>
                    <a:lnTo>
                      <a:pt x="1271" y="94"/>
                    </a:lnTo>
                    <a:lnTo>
                      <a:pt x="1254" y="99"/>
                    </a:lnTo>
                    <a:lnTo>
                      <a:pt x="1276" y="99"/>
                    </a:lnTo>
                    <a:lnTo>
                      <a:pt x="1292" y="82"/>
                    </a:lnTo>
                    <a:lnTo>
                      <a:pt x="1297" y="99"/>
                    </a:lnTo>
                    <a:lnTo>
                      <a:pt x="1288" y="111"/>
                    </a:lnTo>
                    <a:lnTo>
                      <a:pt x="1288" y="115"/>
                    </a:lnTo>
                    <a:lnTo>
                      <a:pt x="1314" y="111"/>
                    </a:lnTo>
                    <a:lnTo>
                      <a:pt x="1351" y="132"/>
                    </a:lnTo>
                    <a:lnTo>
                      <a:pt x="1377" y="132"/>
                    </a:lnTo>
                    <a:lnTo>
                      <a:pt x="1377" y="139"/>
                    </a:lnTo>
                    <a:lnTo>
                      <a:pt x="1377" y="155"/>
                    </a:lnTo>
                    <a:lnTo>
                      <a:pt x="1363" y="155"/>
                    </a:lnTo>
                    <a:lnTo>
                      <a:pt x="1340" y="172"/>
                    </a:lnTo>
                    <a:lnTo>
                      <a:pt x="1314" y="165"/>
                    </a:lnTo>
                    <a:lnTo>
                      <a:pt x="1297" y="172"/>
                    </a:lnTo>
                    <a:lnTo>
                      <a:pt x="1309" y="188"/>
                    </a:lnTo>
                    <a:lnTo>
                      <a:pt x="1325" y="193"/>
                    </a:lnTo>
                    <a:lnTo>
                      <a:pt x="1325" y="205"/>
                    </a:lnTo>
                    <a:lnTo>
                      <a:pt x="1330" y="205"/>
                    </a:lnTo>
                    <a:lnTo>
                      <a:pt x="1340" y="205"/>
                    </a:lnTo>
                    <a:lnTo>
                      <a:pt x="1330" y="210"/>
                    </a:lnTo>
                    <a:lnTo>
                      <a:pt x="1292" y="222"/>
                    </a:lnTo>
                    <a:lnTo>
                      <a:pt x="1271" y="210"/>
                    </a:lnTo>
                    <a:lnTo>
                      <a:pt x="1259" y="226"/>
                    </a:lnTo>
                    <a:lnTo>
                      <a:pt x="1259" y="226"/>
                    </a:lnTo>
                    <a:lnTo>
                      <a:pt x="1259" y="226"/>
                    </a:lnTo>
                    <a:close/>
                    <a:moveTo>
                      <a:pt x="1243" y="44"/>
                    </a:moveTo>
                    <a:lnTo>
                      <a:pt x="1254" y="37"/>
                    </a:lnTo>
                    <a:lnTo>
                      <a:pt x="1254" y="44"/>
                    </a:lnTo>
                    <a:lnTo>
                      <a:pt x="1254" y="44"/>
                    </a:lnTo>
                    <a:lnTo>
                      <a:pt x="1243" y="44"/>
                    </a:lnTo>
                    <a:lnTo>
                      <a:pt x="1243" y="44"/>
                    </a:lnTo>
                    <a:lnTo>
                      <a:pt x="1243" y="44"/>
                    </a:lnTo>
                    <a:close/>
                    <a:moveTo>
                      <a:pt x="33" y="61"/>
                    </a:moveTo>
                    <a:lnTo>
                      <a:pt x="38" y="44"/>
                    </a:lnTo>
                    <a:lnTo>
                      <a:pt x="50" y="44"/>
                    </a:lnTo>
                    <a:lnTo>
                      <a:pt x="54" y="54"/>
                    </a:lnTo>
                    <a:lnTo>
                      <a:pt x="71" y="61"/>
                    </a:lnTo>
                    <a:lnTo>
                      <a:pt x="83" y="54"/>
                    </a:lnTo>
                    <a:lnTo>
                      <a:pt x="88" y="77"/>
                    </a:lnTo>
                    <a:lnTo>
                      <a:pt x="104" y="77"/>
                    </a:lnTo>
                    <a:lnTo>
                      <a:pt x="104" y="94"/>
                    </a:lnTo>
                    <a:lnTo>
                      <a:pt x="92" y="111"/>
                    </a:lnTo>
                    <a:lnTo>
                      <a:pt x="104" y="115"/>
                    </a:lnTo>
                    <a:lnTo>
                      <a:pt x="137" y="99"/>
                    </a:lnTo>
                    <a:lnTo>
                      <a:pt x="142" y="111"/>
                    </a:lnTo>
                    <a:lnTo>
                      <a:pt x="158" y="111"/>
                    </a:lnTo>
                    <a:lnTo>
                      <a:pt x="175" y="77"/>
                    </a:lnTo>
                    <a:lnTo>
                      <a:pt x="189" y="77"/>
                    </a:lnTo>
                    <a:lnTo>
                      <a:pt x="201" y="99"/>
                    </a:lnTo>
                    <a:lnTo>
                      <a:pt x="243" y="132"/>
                    </a:lnTo>
                    <a:lnTo>
                      <a:pt x="265" y="172"/>
                    </a:lnTo>
                    <a:lnTo>
                      <a:pt x="272" y="210"/>
                    </a:lnTo>
                    <a:lnTo>
                      <a:pt x="255" y="259"/>
                    </a:lnTo>
                    <a:lnTo>
                      <a:pt x="272" y="278"/>
                    </a:lnTo>
                    <a:lnTo>
                      <a:pt x="265" y="316"/>
                    </a:lnTo>
                    <a:lnTo>
                      <a:pt x="281" y="333"/>
                    </a:lnTo>
                    <a:lnTo>
                      <a:pt x="298" y="337"/>
                    </a:lnTo>
                    <a:lnTo>
                      <a:pt x="326" y="406"/>
                    </a:lnTo>
                    <a:lnTo>
                      <a:pt x="326" y="427"/>
                    </a:lnTo>
                    <a:lnTo>
                      <a:pt x="310" y="427"/>
                    </a:lnTo>
                    <a:lnTo>
                      <a:pt x="303" y="411"/>
                    </a:lnTo>
                    <a:lnTo>
                      <a:pt x="303" y="427"/>
                    </a:lnTo>
                    <a:lnTo>
                      <a:pt x="288" y="415"/>
                    </a:lnTo>
                    <a:lnTo>
                      <a:pt x="272" y="434"/>
                    </a:lnTo>
                    <a:lnTo>
                      <a:pt x="265" y="415"/>
                    </a:lnTo>
                    <a:lnTo>
                      <a:pt x="217" y="394"/>
                    </a:lnTo>
                    <a:lnTo>
                      <a:pt x="201" y="377"/>
                    </a:lnTo>
                    <a:lnTo>
                      <a:pt x="180" y="361"/>
                    </a:lnTo>
                    <a:lnTo>
                      <a:pt x="147" y="337"/>
                    </a:lnTo>
                    <a:lnTo>
                      <a:pt x="121" y="321"/>
                    </a:lnTo>
                    <a:lnTo>
                      <a:pt x="125" y="304"/>
                    </a:lnTo>
                    <a:lnTo>
                      <a:pt x="121" y="295"/>
                    </a:lnTo>
                    <a:lnTo>
                      <a:pt x="92" y="266"/>
                    </a:lnTo>
                    <a:lnTo>
                      <a:pt x="83" y="250"/>
                    </a:lnTo>
                    <a:lnTo>
                      <a:pt x="88" y="250"/>
                    </a:lnTo>
                    <a:lnTo>
                      <a:pt x="71" y="243"/>
                    </a:lnTo>
                    <a:lnTo>
                      <a:pt x="83" y="238"/>
                    </a:lnTo>
                    <a:lnTo>
                      <a:pt x="88" y="238"/>
                    </a:lnTo>
                    <a:lnTo>
                      <a:pt x="71" y="226"/>
                    </a:lnTo>
                    <a:lnTo>
                      <a:pt x="71" y="181"/>
                    </a:lnTo>
                    <a:lnTo>
                      <a:pt x="50" y="155"/>
                    </a:lnTo>
                    <a:lnTo>
                      <a:pt x="54" y="148"/>
                    </a:lnTo>
                    <a:lnTo>
                      <a:pt x="50" y="94"/>
                    </a:lnTo>
                    <a:lnTo>
                      <a:pt x="33" y="61"/>
                    </a:lnTo>
                    <a:lnTo>
                      <a:pt x="33" y="61"/>
                    </a:lnTo>
                    <a:lnTo>
                      <a:pt x="33" y="61"/>
                    </a:lnTo>
                    <a:close/>
                    <a:moveTo>
                      <a:pt x="17" y="61"/>
                    </a:moveTo>
                    <a:lnTo>
                      <a:pt x="17" y="70"/>
                    </a:lnTo>
                    <a:lnTo>
                      <a:pt x="12" y="77"/>
                    </a:lnTo>
                    <a:lnTo>
                      <a:pt x="0" y="61"/>
                    </a:lnTo>
                    <a:lnTo>
                      <a:pt x="17" y="61"/>
                    </a:lnTo>
                    <a:lnTo>
                      <a:pt x="17" y="61"/>
                    </a:lnTo>
                    <a:lnTo>
                      <a:pt x="17" y="61"/>
                    </a:lnTo>
                    <a:close/>
                    <a:moveTo>
                      <a:pt x="50" y="132"/>
                    </a:moveTo>
                    <a:lnTo>
                      <a:pt x="50" y="148"/>
                    </a:lnTo>
                    <a:lnTo>
                      <a:pt x="38" y="148"/>
                    </a:lnTo>
                    <a:lnTo>
                      <a:pt x="38" y="132"/>
                    </a:lnTo>
                    <a:lnTo>
                      <a:pt x="50" y="132"/>
                    </a:lnTo>
                    <a:lnTo>
                      <a:pt x="50" y="132"/>
                    </a:lnTo>
                    <a:lnTo>
                      <a:pt x="50" y="132"/>
                    </a:lnTo>
                    <a:close/>
                    <a:moveTo>
                      <a:pt x="1091" y="148"/>
                    </a:moveTo>
                    <a:lnTo>
                      <a:pt x="1099" y="139"/>
                    </a:lnTo>
                    <a:lnTo>
                      <a:pt x="1099" y="139"/>
                    </a:lnTo>
                    <a:lnTo>
                      <a:pt x="1091" y="148"/>
                    </a:lnTo>
                    <a:lnTo>
                      <a:pt x="1091" y="148"/>
                    </a:lnTo>
                    <a:lnTo>
                      <a:pt x="1091" y="148"/>
                    </a:lnTo>
                    <a:close/>
                    <a:moveTo>
                      <a:pt x="1288" y="226"/>
                    </a:moveTo>
                    <a:lnTo>
                      <a:pt x="1271" y="226"/>
                    </a:lnTo>
                    <a:lnTo>
                      <a:pt x="1271" y="222"/>
                    </a:lnTo>
                    <a:lnTo>
                      <a:pt x="1288" y="226"/>
                    </a:lnTo>
                    <a:lnTo>
                      <a:pt x="1288" y="226"/>
                    </a:lnTo>
                    <a:lnTo>
                      <a:pt x="1288" y="226"/>
                    </a:lnTo>
                    <a:close/>
                    <a:moveTo>
                      <a:pt x="822" y="349"/>
                    </a:moveTo>
                    <a:lnTo>
                      <a:pt x="822" y="321"/>
                    </a:lnTo>
                    <a:lnTo>
                      <a:pt x="827" y="356"/>
                    </a:lnTo>
                    <a:lnTo>
                      <a:pt x="822" y="349"/>
                    </a:lnTo>
                    <a:lnTo>
                      <a:pt x="822" y="349"/>
                    </a:lnTo>
                    <a:lnTo>
                      <a:pt x="822" y="34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7" name="Freeform 524">
                <a:extLst>
                  <a:ext uri="{FF2B5EF4-FFF2-40B4-BE49-F238E27FC236}">
                    <a16:creationId xmlns:a16="http://schemas.microsoft.com/office/drawing/2014/main" id="{636DC2FF-E546-4CB9-BBFC-2A3A30831D36}"/>
                  </a:ext>
                </a:extLst>
              </p:cNvPr>
              <p:cNvSpPr>
                <a:spLocks/>
              </p:cNvSpPr>
              <p:nvPr/>
            </p:nvSpPr>
            <p:spPr bwMode="gray">
              <a:xfrm>
                <a:off x="9037763" y="3136643"/>
                <a:ext cx="236298" cy="126808"/>
              </a:xfrm>
              <a:custGeom>
                <a:avLst/>
                <a:gdLst>
                  <a:gd name="T0" fmla="*/ 163 w 574"/>
                  <a:gd name="T1" fmla="*/ 215 h 308"/>
                  <a:gd name="T2" fmla="*/ 125 w 574"/>
                  <a:gd name="T3" fmla="*/ 199 h 308"/>
                  <a:gd name="T4" fmla="*/ 75 w 574"/>
                  <a:gd name="T5" fmla="*/ 159 h 308"/>
                  <a:gd name="T6" fmla="*/ 33 w 574"/>
                  <a:gd name="T7" fmla="*/ 142 h 308"/>
                  <a:gd name="T8" fmla="*/ 16 w 574"/>
                  <a:gd name="T9" fmla="*/ 88 h 308"/>
                  <a:gd name="T10" fmla="*/ 21 w 574"/>
                  <a:gd name="T11" fmla="*/ 67 h 308"/>
                  <a:gd name="T12" fmla="*/ 71 w 574"/>
                  <a:gd name="T13" fmla="*/ 17 h 308"/>
                  <a:gd name="T14" fmla="*/ 75 w 574"/>
                  <a:gd name="T15" fmla="*/ 22 h 308"/>
                  <a:gd name="T16" fmla="*/ 92 w 574"/>
                  <a:gd name="T17" fmla="*/ 0 h 308"/>
                  <a:gd name="T18" fmla="*/ 146 w 574"/>
                  <a:gd name="T19" fmla="*/ 22 h 308"/>
                  <a:gd name="T20" fmla="*/ 196 w 574"/>
                  <a:gd name="T21" fmla="*/ 55 h 308"/>
                  <a:gd name="T22" fmla="*/ 250 w 574"/>
                  <a:gd name="T23" fmla="*/ 93 h 308"/>
                  <a:gd name="T24" fmla="*/ 271 w 574"/>
                  <a:gd name="T25" fmla="*/ 88 h 308"/>
                  <a:gd name="T26" fmla="*/ 293 w 574"/>
                  <a:gd name="T27" fmla="*/ 109 h 308"/>
                  <a:gd name="T28" fmla="*/ 330 w 574"/>
                  <a:gd name="T29" fmla="*/ 142 h 308"/>
                  <a:gd name="T30" fmla="*/ 359 w 574"/>
                  <a:gd name="T31" fmla="*/ 133 h 308"/>
                  <a:gd name="T32" fmla="*/ 397 w 574"/>
                  <a:gd name="T33" fmla="*/ 166 h 308"/>
                  <a:gd name="T34" fmla="*/ 418 w 574"/>
                  <a:gd name="T35" fmla="*/ 187 h 308"/>
                  <a:gd name="T36" fmla="*/ 427 w 574"/>
                  <a:gd name="T37" fmla="*/ 175 h 308"/>
                  <a:gd name="T38" fmla="*/ 434 w 574"/>
                  <a:gd name="T39" fmla="*/ 182 h 308"/>
                  <a:gd name="T40" fmla="*/ 456 w 574"/>
                  <a:gd name="T41" fmla="*/ 175 h 308"/>
                  <a:gd name="T42" fmla="*/ 505 w 574"/>
                  <a:gd name="T43" fmla="*/ 199 h 308"/>
                  <a:gd name="T44" fmla="*/ 548 w 574"/>
                  <a:gd name="T45" fmla="*/ 187 h 308"/>
                  <a:gd name="T46" fmla="*/ 574 w 574"/>
                  <a:gd name="T47" fmla="*/ 199 h 308"/>
                  <a:gd name="T48" fmla="*/ 560 w 574"/>
                  <a:gd name="T49" fmla="*/ 253 h 308"/>
                  <a:gd name="T50" fmla="*/ 560 w 574"/>
                  <a:gd name="T51" fmla="*/ 308 h 308"/>
                  <a:gd name="T52" fmla="*/ 505 w 574"/>
                  <a:gd name="T53" fmla="*/ 308 h 308"/>
                  <a:gd name="T54" fmla="*/ 472 w 574"/>
                  <a:gd name="T55" fmla="*/ 308 h 308"/>
                  <a:gd name="T56" fmla="*/ 413 w 574"/>
                  <a:gd name="T57" fmla="*/ 291 h 308"/>
                  <a:gd name="T58" fmla="*/ 373 w 574"/>
                  <a:gd name="T59" fmla="*/ 286 h 308"/>
                  <a:gd name="T60" fmla="*/ 321 w 574"/>
                  <a:gd name="T61" fmla="*/ 237 h 308"/>
                  <a:gd name="T62" fmla="*/ 288 w 574"/>
                  <a:gd name="T63" fmla="*/ 220 h 308"/>
                  <a:gd name="T64" fmla="*/ 267 w 574"/>
                  <a:gd name="T65" fmla="*/ 237 h 308"/>
                  <a:gd name="T66" fmla="*/ 222 w 574"/>
                  <a:gd name="T67" fmla="*/ 237 h 308"/>
                  <a:gd name="T68" fmla="*/ 184 w 574"/>
                  <a:gd name="T69" fmla="*/ 220 h 308"/>
                  <a:gd name="T70" fmla="*/ 184 w 574"/>
                  <a:gd name="T71" fmla="*/ 2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74" h="308">
                    <a:moveTo>
                      <a:pt x="184" y="204"/>
                    </a:moveTo>
                    <a:lnTo>
                      <a:pt x="163" y="215"/>
                    </a:lnTo>
                    <a:lnTo>
                      <a:pt x="141" y="187"/>
                    </a:lnTo>
                    <a:lnTo>
                      <a:pt x="125" y="199"/>
                    </a:lnTo>
                    <a:lnTo>
                      <a:pt x="87" y="175"/>
                    </a:lnTo>
                    <a:lnTo>
                      <a:pt x="75" y="159"/>
                    </a:lnTo>
                    <a:lnTo>
                      <a:pt x="33" y="133"/>
                    </a:lnTo>
                    <a:lnTo>
                      <a:pt x="33" y="142"/>
                    </a:lnTo>
                    <a:lnTo>
                      <a:pt x="0" y="121"/>
                    </a:lnTo>
                    <a:lnTo>
                      <a:pt x="16" y="88"/>
                    </a:lnTo>
                    <a:lnTo>
                      <a:pt x="4" y="71"/>
                    </a:lnTo>
                    <a:lnTo>
                      <a:pt x="21" y="67"/>
                    </a:lnTo>
                    <a:lnTo>
                      <a:pt x="21" y="50"/>
                    </a:lnTo>
                    <a:lnTo>
                      <a:pt x="71" y="17"/>
                    </a:lnTo>
                    <a:lnTo>
                      <a:pt x="71" y="22"/>
                    </a:lnTo>
                    <a:lnTo>
                      <a:pt x="75" y="22"/>
                    </a:lnTo>
                    <a:lnTo>
                      <a:pt x="92" y="17"/>
                    </a:lnTo>
                    <a:lnTo>
                      <a:pt x="92" y="0"/>
                    </a:lnTo>
                    <a:lnTo>
                      <a:pt x="141" y="0"/>
                    </a:lnTo>
                    <a:lnTo>
                      <a:pt x="146" y="22"/>
                    </a:lnTo>
                    <a:lnTo>
                      <a:pt x="163" y="22"/>
                    </a:lnTo>
                    <a:lnTo>
                      <a:pt x="196" y="55"/>
                    </a:lnTo>
                    <a:lnTo>
                      <a:pt x="217" y="55"/>
                    </a:lnTo>
                    <a:lnTo>
                      <a:pt x="250" y="93"/>
                    </a:lnTo>
                    <a:lnTo>
                      <a:pt x="255" y="93"/>
                    </a:lnTo>
                    <a:lnTo>
                      <a:pt x="271" y="88"/>
                    </a:lnTo>
                    <a:lnTo>
                      <a:pt x="288" y="88"/>
                    </a:lnTo>
                    <a:lnTo>
                      <a:pt x="293" y="109"/>
                    </a:lnTo>
                    <a:lnTo>
                      <a:pt x="309" y="126"/>
                    </a:lnTo>
                    <a:lnTo>
                      <a:pt x="330" y="142"/>
                    </a:lnTo>
                    <a:lnTo>
                      <a:pt x="347" y="133"/>
                    </a:lnTo>
                    <a:lnTo>
                      <a:pt x="359" y="133"/>
                    </a:lnTo>
                    <a:lnTo>
                      <a:pt x="359" y="159"/>
                    </a:lnTo>
                    <a:lnTo>
                      <a:pt x="397" y="166"/>
                    </a:lnTo>
                    <a:lnTo>
                      <a:pt x="413" y="175"/>
                    </a:lnTo>
                    <a:lnTo>
                      <a:pt x="418" y="187"/>
                    </a:lnTo>
                    <a:lnTo>
                      <a:pt x="427" y="187"/>
                    </a:lnTo>
                    <a:lnTo>
                      <a:pt x="427" y="175"/>
                    </a:lnTo>
                    <a:lnTo>
                      <a:pt x="434" y="175"/>
                    </a:lnTo>
                    <a:lnTo>
                      <a:pt x="434" y="182"/>
                    </a:lnTo>
                    <a:lnTo>
                      <a:pt x="451" y="187"/>
                    </a:lnTo>
                    <a:lnTo>
                      <a:pt x="456" y="175"/>
                    </a:lnTo>
                    <a:lnTo>
                      <a:pt x="467" y="175"/>
                    </a:lnTo>
                    <a:lnTo>
                      <a:pt x="505" y="199"/>
                    </a:lnTo>
                    <a:lnTo>
                      <a:pt x="536" y="199"/>
                    </a:lnTo>
                    <a:lnTo>
                      <a:pt x="548" y="187"/>
                    </a:lnTo>
                    <a:lnTo>
                      <a:pt x="564" y="199"/>
                    </a:lnTo>
                    <a:lnTo>
                      <a:pt x="574" y="199"/>
                    </a:lnTo>
                    <a:lnTo>
                      <a:pt x="564" y="220"/>
                    </a:lnTo>
                    <a:lnTo>
                      <a:pt x="560" y="253"/>
                    </a:lnTo>
                    <a:lnTo>
                      <a:pt x="574" y="286"/>
                    </a:lnTo>
                    <a:lnTo>
                      <a:pt x="560" y="308"/>
                    </a:lnTo>
                    <a:lnTo>
                      <a:pt x="548" y="298"/>
                    </a:lnTo>
                    <a:lnTo>
                      <a:pt x="505" y="308"/>
                    </a:lnTo>
                    <a:lnTo>
                      <a:pt x="489" y="298"/>
                    </a:lnTo>
                    <a:lnTo>
                      <a:pt x="472" y="308"/>
                    </a:lnTo>
                    <a:lnTo>
                      <a:pt x="418" y="286"/>
                    </a:lnTo>
                    <a:lnTo>
                      <a:pt x="413" y="291"/>
                    </a:lnTo>
                    <a:lnTo>
                      <a:pt x="385" y="270"/>
                    </a:lnTo>
                    <a:lnTo>
                      <a:pt x="373" y="286"/>
                    </a:lnTo>
                    <a:lnTo>
                      <a:pt x="326" y="258"/>
                    </a:lnTo>
                    <a:lnTo>
                      <a:pt x="321" y="237"/>
                    </a:lnTo>
                    <a:lnTo>
                      <a:pt x="293" y="232"/>
                    </a:lnTo>
                    <a:lnTo>
                      <a:pt x="288" y="220"/>
                    </a:lnTo>
                    <a:lnTo>
                      <a:pt x="267" y="232"/>
                    </a:lnTo>
                    <a:lnTo>
                      <a:pt x="267" y="237"/>
                    </a:lnTo>
                    <a:lnTo>
                      <a:pt x="234" y="232"/>
                    </a:lnTo>
                    <a:lnTo>
                      <a:pt x="222" y="237"/>
                    </a:lnTo>
                    <a:lnTo>
                      <a:pt x="217" y="232"/>
                    </a:lnTo>
                    <a:lnTo>
                      <a:pt x="184" y="220"/>
                    </a:lnTo>
                    <a:lnTo>
                      <a:pt x="184" y="204"/>
                    </a:lnTo>
                    <a:lnTo>
                      <a:pt x="184" y="204"/>
                    </a:lnTo>
                    <a:lnTo>
                      <a:pt x="184" y="20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4" name="Freeform 531">
                <a:extLst>
                  <a:ext uri="{FF2B5EF4-FFF2-40B4-BE49-F238E27FC236}">
                    <a16:creationId xmlns:a16="http://schemas.microsoft.com/office/drawing/2014/main" id="{D984EAED-AA0B-4256-8D94-538F112C5D48}"/>
                  </a:ext>
                </a:extLst>
              </p:cNvPr>
              <p:cNvSpPr>
                <a:spLocks noEditPoints="1"/>
              </p:cNvSpPr>
              <p:nvPr/>
            </p:nvSpPr>
            <p:spPr bwMode="gray">
              <a:xfrm>
                <a:off x="8483244" y="2915139"/>
                <a:ext cx="491122" cy="433537"/>
              </a:xfrm>
              <a:custGeom>
                <a:avLst/>
                <a:gdLst>
                  <a:gd name="T0" fmla="*/ 248 w 1193"/>
                  <a:gd name="T1" fmla="*/ 605 h 1053"/>
                  <a:gd name="T2" fmla="*/ 378 w 1193"/>
                  <a:gd name="T3" fmla="*/ 560 h 1053"/>
                  <a:gd name="T4" fmla="*/ 399 w 1193"/>
                  <a:gd name="T5" fmla="*/ 494 h 1053"/>
                  <a:gd name="T6" fmla="*/ 485 w 1193"/>
                  <a:gd name="T7" fmla="*/ 460 h 1053"/>
                  <a:gd name="T8" fmla="*/ 539 w 1193"/>
                  <a:gd name="T9" fmla="*/ 427 h 1053"/>
                  <a:gd name="T10" fmla="*/ 577 w 1193"/>
                  <a:gd name="T11" fmla="*/ 439 h 1053"/>
                  <a:gd name="T12" fmla="*/ 598 w 1193"/>
                  <a:gd name="T13" fmla="*/ 349 h 1053"/>
                  <a:gd name="T14" fmla="*/ 664 w 1193"/>
                  <a:gd name="T15" fmla="*/ 300 h 1053"/>
                  <a:gd name="T16" fmla="*/ 643 w 1193"/>
                  <a:gd name="T17" fmla="*/ 262 h 1053"/>
                  <a:gd name="T18" fmla="*/ 723 w 1193"/>
                  <a:gd name="T19" fmla="*/ 222 h 1053"/>
                  <a:gd name="T20" fmla="*/ 749 w 1193"/>
                  <a:gd name="T21" fmla="*/ 168 h 1053"/>
                  <a:gd name="T22" fmla="*/ 749 w 1193"/>
                  <a:gd name="T23" fmla="*/ 94 h 1053"/>
                  <a:gd name="T24" fmla="*/ 756 w 1193"/>
                  <a:gd name="T25" fmla="*/ 52 h 1053"/>
                  <a:gd name="T26" fmla="*/ 900 w 1193"/>
                  <a:gd name="T27" fmla="*/ 7 h 1053"/>
                  <a:gd name="T28" fmla="*/ 966 w 1193"/>
                  <a:gd name="T29" fmla="*/ 0 h 1053"/>
                  <a:gd name="T30" fmla="*/ 1042 w 1193"/>
                  <a:gd name="T31" fmla="*/ 23 h 1053"/>
                  <a:gd name="T32" fmla="*/ 1073 w 1193"/>
                  <a:gd name="T33" fmla="*/ 90 h 1053"/>
                  <a:gd name="T34" fmla="*/ 1127 w 1193"/>
                  <a:gd name="T35" fmla="*/ 118 h 1053"/>
                  <a:gd name="T36" fmla="*/ 1127 w 1193"/>
                  <a:gd name="T37" fmla="*/ 189 h 1053"/>
                  <a:gd name="T38" fmla="*/ 1042 w 1193"/>
                  <a:gd name="T39" fmla="*/ 205 h 1053"/>
                  <a:gd name="T40" fmla="*/ 922 w 1193"/>
                  <a:gd name="T41" fmla="*/ 229 h 1053"/>
                  <a:gd name="T42" fmla="*/ 933 w 1193"/>
                  <a:gd name="T43" fmla="*/ 283 h 1053"/>
                  <a:gd name="T44" fmla="*/ 971 w 1193"/>
                  <a:gd name="T45" fmla="*/ 349 h 1053"/>
                  <a:gd name="T46" fmla="*/ 1018 w 1193"/>
                  <a:gd name="T47" fmla="*/ 387 h 1053"/>
                  <a:gd name="T48" fmla="*/ 955 w 1193"/>
                  <a:gd name="T49" fmla="*/ 427 h 1053"/>
                  <a:gd name="T50" fmla="*/ 966 w 1193"/>
                  <a:gd name="T51" fmla="*/ 477 h 1053"/>
                  <a:gd name="T52" fmla="*/ 917 w 1193"/>
                  <a:gd name="T53" fmla="*/ 555 h 1053"/>
                  <a:gd name="T54" fmla="*/ 794 w 1193"/>
                  <a:gd name="T55" fmla="*/ 687 h 1053"/>
                  <a:gd name="T56" fmla="*/ 695 w 1193"/>
                  <a:gd name="T57" fmla="*/ 742 h 1053"/>
                  <a:gd name="T58" fmla="*/ 610 w 1193"/>
                  <a:gd name="T59" fmla="*/ 827 h 1053"/>
                  <a:gd name="T60" fmla="*/ 664 w 1193"/>
                  <a:gd name="T61" fmla="*/ 902 h 1053"/>
                  <a:gd name="T62" fmla="*/ 718 w 1193"/>
                  <a:gd name="T63" fmla="*/ 980 h 1053"/>
                  <a:gd name="T64" fmla="*/ 695 w 1193"/>
                  <a:gd name="T65" fmla="*/ 1013 h 1053"/>
                  <a:gd name="T66" fmla="*/ 643 w 1193"/>
                  <a:gd name="T67" fmla="*/ 1020 h 1053"/>
                  <a:gd name="T68" fmla="*/ 555 w 1193"/>
                  <a:gd name="T69" fmla="*/ 1001 h 1053"/>
                  <a:gd name="T70" fmla="*/ 518 w 1193"/>
                  <a:gd name="T71" fmla="*/ 1037 h 1053"/>
                  <a:gd name="T72" fmla="*/ 501 w 1193"/>
                  <a:gd name="T73" fmla="*/ 1046 h 1053"/>
                  <a:gd name="T74" fmla="*/ 468 w 1193"/>
                  <a:gd name="T75" fmla="*/ 1037 h 1053"/>
                  <a:gd name="T76" fmla="*/ 437 w 1193"/>
                  <a:gd name="T77" fmla="*/ 980 h 1053"/>
                  <a:gd name="T78" fmla="*/ 399 w 1193"/>
                  <a:gd name="T79" fmla="*/ 926 h 1053"/>
                  <a:gd name="T80" fmla="*/ 383 w 1193"/>
                  <a:gd name="T81" fmla="*/ 909 h 1053"/>
                  <a:gd name="T82" fmla="*/ 265 w 1193"/>
                  <a:gd name="T83" fmla="*/ 935 h 1053"/>
                  <a:gd name="T84" fmla="*/ 220 w 1193"/>
                  <a:gd name="T85" fmla="*/ 926 h 1053"/>
                  <a:gd name="T86" fmla="*/ 69 w 1193"/>
                  <a:gd name="T87" fmla="*/ 947 h 1053"/>
                  <a:gd name="T88" fmla="*/ 59 w 1193"/>
                  <a:gd name="T89" fmla="*/ 893 h 1053"/>
                  <a:gd name="T90" fmla="*/ 97 w 1193"/>
                  <a:gd name="T91" fmla="*/ 848 h 1053"/>
                  <a:gd name="T92" fmla="*/ 161 w 1193"/>
                  <a:gd name="T93" fmla="*/ 831 h 1053"/>
                  <a:gd name="T94" fmla="*/ 140 w 1193"/>
                  <a:gd name="T95" fmla="*/ 782 h 1053"/>
                  <a:gd name="T96" fmla="*/ 107 w 1193"/>
                  <a:gd name="T97" fmla="*/ 687 h 1053"/>
                  <a:gd name="T98" fmla="*/ 0 w 1193"/>
                  <a:gd name="T99" fmla="*/ 576 h 1053"/>
                  <a:gd name="T100" fmla="*/ 166 w 1193"/>
                  <a:gd name="T101" fmla="*/ 609 h 1053"/>
                  <a:gd name="T102" fmla="*/ 463 w 1193"/>
                  <a:gd name="T103" fmla="*/ 1030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93" h="1053">
                    <a:moveTo>
                      <a:pt x="166" y="609"/>
                    </a:moveTo>
                    <a:lnTo>
                      <a:pt x="194" y="605"/>
                    </a:lnTo>
                    <a:lnTo>
                      <a:pt x="220" y="609"/>
                    </a:lnTo>
                    <a:lnTo>
                      <a:pt x="248" y="605"/>
                    </a:lnTo>
                    <a:lnTo>
                      <a:pt x="291" y="605"/>
                    </a:lnTo>
                    <a:lnTo>
                      <a:pt x="378" y="576"/>
                    </a:lnTo>
                    <a:lnTo>
                      <a:pt x="383" y="571"/>
                    </a:lnTo>
                    <a:lnTo>
                      <a:pt x="378" y="560"/>
                    </a:lnTo>
                    <a:lnTo>
                      <a:pt x="383" y="548"/>
                    </a:lnTo>
                    <a:lnTo>
                      <a:pt x="383" y="522"/>
                    </a:lnTo>
                    <a:lnTo>
                      <a:pt x="392" y="494"/>
                    </a:lnTo>
                    <a:lnTo>
                      <a:pt x="399" y="494"/>
                    </a:lnTo>
                    <a:lnTo>
                      <a:pt x="416" y="465"/>
                    </a:lnTo>
                    <a:lnTo>
                      <a:pt x="430" y="460"/>
                    </a:lnTo>
                    <a:lnTo>
                      <a:pt x="454" y="465"/>
                    </a:lnTo>
                    <a:lnTo>
                      <a:pt x="485" y="460"/>
                    </a:lnTo>
                    <a:lnTo>
                      <a:pt x="468" y="444"/>
                    </a:lnTo>
                    <a:lnTo>
                      <a:pt x="501" y="439"/>
                    </a:lnTo>
                    <a:lnTo>
                      <a:pt x="518" y="423"/>
                    </a:lnTo>
                    <a:lnTo>
                      <a:pt x="539" y="427"/>
                    </a:lnTo>
                    <a:lnTo>
                      <a:pt x="534" y="427"/>
                    </a:lnTo>
                    <a:lnTo>
                      <a:pt x="539" y="423"/>
                    </a:lnTo>
                    <a:lnTo>
                      <a:pt x="560" y="444"/>
                    </a:lnTo>
                    <a:lnTo>
                      <a:pt x="577" y="439"/>
                    </a:lnTo>
                    <a:lnTo>
                      <a:pt x="593" y="411"/>
                    </a:lnTo>
                    <a:lnTo>
                      <a:pt x="593" y="371"/>
                    </a:lnTo>
                    <a:lnTo>
                      <a:pt x="598" y="354"/>
                    </a:lnTo>
                    <a:lnTo>
                      <a:pt x="598" y="349"/>
                    </a:lnTo>
                    <a:lnTo>
                      <a:pt x="610" y="338"/>
                    </a:lnTo>
                    <a:lnTo>
                      <a:pt x="610" y="328"/>
                    </a:lnTo>
                    <a:lnTo>
                      <a:pt x="648" y="316"/>
                    </a:lnTo>
                    <a:lnTo>
                      <a:pt x="664" y="300"/>
                    </a:lnTo>
                    <a:lnTo>
                      <a:pt x="652" y="283"/>
                    </a:lnTo>
                    <a:lnTo>
                      <a:pt x="652" y="272"/>
                    </a:lnTo>
                    <a:lnTo>
                      <a:pt x="643" y="272"/>
                    </a:lnTo>
                    <a:lnTo>
                      <a:pt x="643" y="262"/>
                    </a:lnTo>
                    <a:lnTo>
                      <a:pt x="631" y="246"/>
                    </a:lnTo>
                    <a:lnTo>
                      <a:pt x="681" y="255"/>
                    </a:lnTo>
                    <a:lnTo>
                      <a:pt x="718" y="246"/>
                    </a:lnTo>
                    <a:lnTo>
                      <a:pt x="723" y="222"/>
                    </a:lnTo>
                    <a:lnTo>
                      <a:pt x="707" y="205"/>
                    </a:lnTo>
                    <a:lnTo>
                      <a:pt x="718" y="201"/>
                    </a:lnTo>
                    <a:lnTo>
                      <a:pt x="718" y="189"/>
                    </a:lnTo>
                    <a:lnTo>
                      <a:pt x="749" y="168"/>
                    </a:lnTo>
                    <a:lnTo>
                      <a:pt x="756" y="151"/>
                    </a:lnTo>
                    <a:lnTo>
                      <a:pt x="749" y="144"/>
                    </a:lnTo>
                    <a:lnTo>
                      <a:pt x="756" y="134"/>
                    </a:lnTo>
                    <a:lnTo>
                      <a:pt x="749" y="94"/>
                    </a:lnTo>
                    <a:lnTo>
                      <a:pt x="723" y="78"/>
                    </a:lnTo>
                    <a:lnTo>
                      <a:pt x="733" y="73"/>
                    </a:lnTo>
                    <a:lnTo>
                      <a:pt x="756" y="57"/>
                    </a:lnTo>
                    <a:lnTo>
                      <a:pt x="756" y="52"/>
                    </a:lnTo>
                    <a:lnTo>
                      <a:pt x="761" y="52"/>
                    </a:lnTo>
                    <a:lnTo>
                      <a:pt x="794" y="23"/>
                    </a:lnTo>
                    <a:lnTo>
                      <a:pt x="825" y="19"/>
                    </a:lnTo>
                    <a:lnTo>
                      <a:pt x="900" y="7"/>
                    </a:lnTo>
                    <a:lnTo>
                      <a:pt x="922" y="19"/>
                    </a:lnTo>
                    <a:lnTo>
                      <a:pt x="955" y="0"/>
                    </a:lnTo>
                    <a:lnTo>
                      <a:pt x="966" y="7"/>
                    </a:lnTo>
                    <a:lnTo>
                      <a:pt x="966" y="0"/>
                    </a:lnTo>
                    <a:lnTo>
                      <a:pt x="1004" y="0"/>
                    </a:lnTo>
                    <a:lnTo>
                      <a:pt x="1018" y="7"/>
                    </a:lnTo>
                    <a:lnTo>
                      <a:pt x="1025" y="23"/>
                    </a:lnTo>
                    <a:lnTo>
                      <a:pt x="1042" y="23"/>
                    </a:lnTo>
                    <a:lnTo>
                      <a:pt x="1056" y="35"/>
                    </a:lnTo>
                    <a:lnTo>
                      <a:pt x="1063" y="61"/>
                    </a:lnTo>
                    <a:lnTo>
                      <a:pt x="1056" y="78"/>
                    </a:lnTo>
                    <a:lnTo>
                      <a:pt x="1073" y="90"/>
                    </a:lnTo>
                    <a:lnTo>
                      <a:pt x="1080" y="106"/>
                    </a:lnTo>
                    <a:lnTo>
                      <a:pt x="1101" y="94"/>
                    </a:lnTo>
                    <a:lnTo>
                      <a:pt x="1101" y="106"/>
                    </a:lnTo>
                    <a:lnTo>
                      <a:pt x="1127" y="118"/>
                    </a:lnTo>
                    <a:lnTo>
                      <a:pt x="1165" y="127"/>
                    </a:lnTo>
                    <a:lnTo>
                      <a:pt x="1193" y="127"/>
                    </a:lnTo>
                    <a:lnTo>
                      <a:pt x="1132" y="160"/>
                    </a:lnTo>
                    <a:lnTo>
                      <a:pt x="1127" y="189"/>
                    </a:lnTo>
                    <a:lnTo>
                      <a:pt x="1094" y="184"/>
                    </a:lnTo>
                    <a:lnTo>
                      <a:pt x="1073" y="201"/>
                    </a:lnTo>
                    <a:lnTo>
                      <a:pt x="1063" y="201"/>
                    </a:lnTo>
                    <a:lnTo>
                      <a:pt x="1042" y="205"/>
                    </a:lnTo>
                    <a:lnTo>
                      <a:pt x="950" y="184"/>
                    </a:lnTo>
                    <a:lnTo>
                      <a:pt x="917" y="201"/>
                    </a:lnTo>
                    <a:lnTo>
                      <a:pt x="912" y="217"/>
                    </a:lnTo>
                    <a:lnTo>
                      <a:pt x="922" y="229"/>
                    </a:lnTo>
                    <a:lnTo>
                      <a:pt x="917" y="238"/>
                    </a:lnTo>
                    <a:lnTo>
                      <a:pt x="938" y="246"/>
                    </a:lnTo>
                    <a:lnTo>
                      <a:pt x="922" y="272"/>
                    </a:lnTo>
                    <a:lnTo>
                      <a:pt x="933" y="283"/>
                    </a:lnTo>
                    <a:lnTo>
                      <a:pt x="922" y="316"/>
                    </a:lnTo>
                    <a:lnTo>
                      <a:pt x="950" y="328"/>
                    </a:lnTo>
                    <a:lnTo>
                      <a:pt x="950" y="349"/>
                    </a:lnTo>
                    <a:lnTo>
                      <a:pt x="971" y="349"/>
                    </a:lnTo>
                    <a:lnTo>
                      <a:pt x="971" y="371"/>
                    </a:lnTo>
                    <a:lnTo>
                      <a:pt x="992" y="371"/>
                    </a:lnTo>
                    <a:lnTo>
                      <a:pt x="1018" y="383"/>
                    </a:lnTo>
                    <a:lnTo>
                      <a:pt x="1018" y="387"/>
                    </a:lnTo>
                    <a:lnTo>
                      <a:pt x="1009" y="404"/>
                    </a:lnTo>
                    <a:lnTo>
                      <a:pt x="988" y="404"/>
                    </a:lnTo>
                    <a:lnTo>
                      <a:pt x="966" y="423"/>
                    </a:lnTo>
                    <a:lnTo>
                      <a:pt x="955" y="427"/>
                    </a:lnTo>
                    <a:lnTo>
                      <a:pt x="966" y="449"/>
                    </a:lnTo>
                    <a:lnTo>
                      <a:pt x="955" y="477"/>
                    </a:lnTo>
                    <a:lnTo>
                      <a:pt x="966" y="482"/>
                    </a:lnTo>
                    <a:lnTo>
                      <a:pt x="966" y="477"/>
                    </a:lnTo>
                    <a:lnTo>
                      <a:pt x="971" y="482"/>
                    </a:lnTo>
                    <a:lnTo>
                      <a:pt x="950" y="498"/>
                    </a:lnTo>
                    <a:lnTo>
                      <a:pt x="917" y="538"/>
                    </a:lnTo>
                    <a:lnTo>
                      <a:pt x="917" y="555"/>
                    </a:lnTo>
                    <a:lnTo>
                      <a:pt x="879" y="571"/>
                    </a:lnTo>
                    <a:lnTo>
                      <a:pt x="846" y="642"/>
                    </a:lnTo>
                    <a:lnTo>
                      <a:pt x="808" y="666"/>
                    </a:lnTo>
                    <a:lnTo>
                      <a:pt x="794" y="687"/>
                    </a:lnTo>
                    <a:lnTo>
                      <a:pt x="777" y="716"/>
                    </a:lnTo>
                    <a:lnTo>
                      <a:pt x="777" y="725"/>
                    </a:lnTo>
                    <a:lnTo>
                      <a:pt x="702" y="742"/>
                    </a:lnTo>
                    <a:lnTo>
                      <a:pt x="695" y="742"/>
                    </a:lnTo>
                    <a:lnTo>
                      <a:pt x="685" y="720"/>
                    </a:lnTo>
                    <a:lnTo>
                      <a:pt x="669" y="720"/>
                    </a:lnTo>
                    <a:lnTo>
                      <a:pt x="614" y="782"/>
                    </a:lnTo>
                    <a:lnTo>
                      <a:pt x="610" y="827"/>
                    </a:lnTo>
                    <a:lnTo>
                      <a:pt x="631" y="831"/>
                    </a:lnTo>
                    <a:lnTo>
                      <a:pt x="652" y="836"/>
                    </a:lnTo>
                    <a:lnTo>
                      <a:pt x="648" y="881"/>
                    </a:lnTo>
                    <a:lnTo>
                      <a:pt x="664" y="902"/>
                    </a:lnTo>
                    <a:lnTo>
                      <a:pt x="685" y="902"/>
                    </a:lnTo>
                    <a:lnTo>
                      <a:pt x="695" y="926"/>
                    </a:lnTo>
                    <a:lnTo>
                      <a:pt x="702" y="942"/>
                    </a:lnTo>
                    <a:lnTo>
                      <a:pt x="718" y="980"/>
                    </a:lnTo>
                    <a:lnTo>
                      <a:pt x="707" y="980"/>
                    </a:lnTo>
                    <a:lnTo>
                      <a:pt x="707" y="997"/>
                    </a:lnTo>
                    <a:lnTo>
                      <a:pt x="718" y="997"/>
                    </a:lnTo>
                    <a:lnTo>
                      <a:pt x="695" y="1013"/>
                    </a:lnTo>
                    <a:lnTo>
                      <a:pt x="685" y="1013"/>
                    </a:lnTo>
                    <a:lnTo>
                      <a:pt x="681" y="997"/>
                    </a:lnTo>
                    <a:lnTo>
                      <a:pt x="648" y="1001"/>
                    </a:lnTo>
                    <a:lnTo>
                      <a:pt x="643" y="1020"/>
                    </a:lnTo>
                    <a:lnTo>
                      <a:pt x="626" y="1020"/>
                    </a:lnTo>
                    <a:lnTo>
                      <a:pt x="614" y="1013"/>
                    </a:lnTo>
                    <a:lnTo>
                      <a:pt x="572" y="1013"/>
                    </a:lnTo>
                    <a:lnTo>
                      <a:pt x="555" y="1001"/>
                    </a:lnTo>
                    <a:lnTo>
                      <a:pt x="555" y="1037"/>
                    </a:lnTo>
                    <a:lnTo>
                      <a:pt x="522" y="1037"/>
                    </a:lnTo>
                    <a:lnTo>
                      <a:pt x="518" y="1046"/>
                    </a:lnTo>
                    <a:lnTo>
                      <a:pt x="518" y="1037"/>
                    </a:lnTo>
                    <a:lnTo>
                      <a:pt x="518" y="1053"/>
                    </a:lnTo>
                    <a:lnTo>
                      <a:pt x="506" y="1053"/>
                    </a:lnTo>
                    <a:lnTo>
                      <a:pt x="501" y="1037"/>
                    </a:lnTo>
                    <a:lnTo>
                      <a:pt x="501" y="1046"/>
                    </a:lnTo>
                    <a:lnTo>
                      <a:pt x="492" y="1037"/>
                    </a:lnTo>
                    <a:lnTo>
                      <a:pt x="492" y="1046"/>
                    </a:lnTo>
                    <a:lnTo>
                      <a:pt x="485" y="1046"/>
                    </a:lnTo>
                    <a:lnTo>
                      <a:pt x="468" y="1037"/>
                    </a:lnTo>
                    <a:lnTo>
                      <a:pt x="468" y="1037"/>
                    </a:lnTo>
                    <a:lnTo>
                      <a:pt x="463" y="1030"/>
                    </a:lnTo>
                    <a:lnTo>
                      <a:pt x="454" y="1020"/>
                    </a:lnTo>
                    <a:lnTo>
                      <a:pt x="437" y="980"/>
                    </a:lnTo>
                    <a:lnTo>
                      <a:pt x="447" y="975"/>
                    </a:lnTo>
                    <a:lnTo>
                      <a:pt x="409" y="964"/>
                    </a:lnTo>
                    <a:lnTo>
                      <a:pt x="416" y="942"/>
                    </a:lnTo>
                    <a:lnTo>
                      <a:pt x="399" y="926"/>
                    </a:lnTo>
                    <a:lnTo>
                      <a:pt x="399" y="919"/>
                    </a:lnTo>
                    <a:lnTo>
                      <a:pt x="383" y="909"/>
                    </a:lnTo>
                    <a:lnTo>
                      <a:pt x="371" y="919"/>
                    </a:lnTo>
                    <a:lnTo>
                      <a:pt x="383" y="909"/>
                    </a:lnTo>
                    <a:lnTo>
                      <a:pt x="399" y="926"/>
                    </a:lnTo>
                    <a:lnTo>
                      <a:pt x="274" y="926"/>
                    </a:lnTo>
                    <a:lnTo>
                      <a:pt x="270" y="942"/>
                    </a:lnTo>
                    <a:lnTo>
                      <a:pt x="265" y="935"/>
                    </a:lnTo>
                    <a:lnTo>
                      <a:pt x="232" y="926"/>
                    </a:lnTo>
                    <a:lnTo>
                      <a:pt x="232" y="919"/>
                    </a:lnTo>
                    <a:lnTo>
                      <a:pt x="220" y="926"/>
                    </a:lnTo>
                    <a:lnTo>
                      <a:pt x="220" y="926"/>
                    </a:lnTo>
                    <a:lnTo>
                      <a:pt x="199" y="926"/>
                    </a:lnTo>
                    <a:lnTo>
                      <a:pt x="182" y="935"/>
                    </a:lnTo>
                    <a:lnTo>
                      <a:pt x="90" y="942"/>
                    </a:lnTo>
                    <a:lnTo>
                      <a:pt x="69" y="947"/>
                    </a:lnTo>
                    <a:lnTo>
                      <a:pt x="59" y="947"/>
                    </a:lnTo>
                    <a:lnTo>
                      <a:pt x="69" y="942"/>
                    </a:lnTo>
                    <a:lnTo>
                      <a:pt x="52" y="942"/>
                    </a:lnTo>
                    <a:lnTo>
                      <a:pt x="59" y="893"/>
                    </a:lnTo>
                    <a:lnTo>
                      <a:pt x="69" y="893"/>
                    </a:lnTo>
                    <a:lnTo>
                      <a:pt x="69" y="864"/>
                    </a:lnTo>
                    <a:lnTo>
                      <a:pt x="90" y="848"/>
                    </a:lnTo>
                    <a:lnTo>
                      <a:pt x="97" y="848"/>
                    </a:lnTo>
                    <a:lnTo>
                      <a:pt x="97" y="836"/>
                    </a:lnTo>
                    <a:lnTo>
                      <a:pt x="114" y="831"/>
                    </a:lnTo>
                    <a:lnTo>
                      <a:pt x="140" y="831"/>
                    </a:lnTo>
                    <a:lnTo>
                      <a:pt x="161" y="831"/>
                    </a:lnTo>
                    <a:lnTo>
                      <a:pt x="166" y="791"/>
                    </a:lnTo>
                    <a:lnTo>
                      <a:pt x="177" y="791"/>
                    </a:lnTo>
                    <a:lnTo>
                      <a:pt x="166" y="775"/>
                    </a:lnTo>
                    <a:lnTo>
                      <a:pt x="140" y="782"/>
                    </a:lnTo>
                    <a:lnTo>
                      <a:pt x="140" y="770"/>
                    </a:lnTo>
                    <a:lnTo>
                      <a:pt x="140" y="704"/>
                    </a:lnTo>
                    <a:lnTo>
                      <a:pt x="123" y="704"/>
                    </a:lnTo>
                    <a:lnTo>
                      <a:pt x="107" y="687"/>
                    </a:lnTo>
                    <a:lnTo>
                      <a:pt x="76" y="683"/>
                    </a:lnTo>
                    <a:lnTo>
                      <a:pt x="52" y="666"/>
                    </a:lnTo>
                    <a:lnTo>
                      <a:pt x="31" y="616"/>
                    </a:lnTo>
                    <a:lnTo>
                      <a:pt x="0" y="576"/>
                    </a:lnTo>
                    <a:lnTo>
                      <a:pt x="114" y="609"/>
                    </a:lnTo>
                    <a:lnTo>
                      <a:pt x="166" y="609"/>
                    </a:lnTo>
                    <a:lnTo>
                      <a:pt x="166" y="609"/>
                    </a:lnTo>
                    <a:lnTo>
                      <a:pt x="166" y="609"/>
                    </a:lnTo>
                    <a:close/>
                    <a:moveTo>
                      <a:pt x="463" y="1030"/>
                    </a:moveTo>
                    <a:lnTo>
                      <a:pt x="463" y="1030"/>
                    </a:lnTo>
                    <a:lnTo>
                      <a:pt x="463" y="1030"/>
                    </a:lnTo>
                    <a:lnTo>
                      <a:pt x="463" y="1030"/>
                    </a:lnTo>
                    <a:lnTo>
                      <a:pt x="463" y="1030"/>
                    </a:lnTo>
                    <a:lnTo>
                      <a:pt x="463" y="103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8" name="Freeform 535">
                <a:extLst>
                  <a:ext uri="{FF2B5EF4-FFF2-40B4-BE49-F238E27FC236}">
                    <a16:creationId xmlns:a16="http://schemas.microsoft.com/office/drawing/2014/main" id="{24314509-AA32-46BE-A806-FA3488C40849}"/>
                  </a:ext>
                </a:extLst>
              </p:cNvPr>
              <p:cNvSpPr>
                <a:spLocks noEditPoints="1"/>
              </p:cNvSpPr>
              <p:nvPr/>
            </p:nvSpPr>
            <p:spPr bwMode="gray">
              <a:xfrm>
                <a:off x="10793949" y="4106233"/>
                <a:ext cx="434724" cy="305494"/>
              </a:xfrm>
              <a:custGeom>
                <a:avLst/>
                <a:gdLst>
                  <a:gd name="T0" fmla="*/ 616 w 1056"/>
                  <a:gd name="T1" fmla="*/ 17 h 742"/>
                  <a:gd name="T2" fmla="*/ 394 w 1056"/>
                  <a:gd name="T3" fmla="*/ 62 h 742"/>
                  <a:gd name="T4" fmla="*/ 482 w 1056"/>
                  <a:gd name="T5" fmla="*/ 71 h 742"/>
                  <a:gd name="T6" fmla="*/ 666 w 1056"/>
                  <a:gd name="T7" fmla="*/ 95 h 742"/>
                  <a:gd name="T8" fmla="*/ 666 w 1056"/>
                  <a:gd name="T9" fmla="*/ 95 h 742"/>
                  <a:gd name="T10" fmla="*/ 860 w 1056"/>
                  <a:gd name="T11" fmla="*/ 227 h 742"/>
                  <a:gd name="T12" fmla="*/ 789 w 1056"/>
                  <a:gd name="T13" fmla="*/ 149 h 742"/>
                  <a:gd name="T14" fmla="*/ 768 w 1056"/>
                  <a:gd name="T15" fmla="*/ 133 h 742"/>
                  <a:gd name="T16" fmla="*/ 9 w 1056"/>
                  <a:gd name="T17" fmla="*/ 393 h 742"/>
                  <a:gd name="T18" fmla="*/ 118 w 1056"/>
                  <a:gd name="T19" fmla="*/ 133 h 742"/>
                  <a:gd name="T20" fmla="*/ 253 w 1056"/>
                  <a:gd name="T21" fmla="*/ 189 h 742"/>
                  <a:gd name="T22" fmla="*/ 340 w 1056"/>
                  <a:gd name="T23" fmla="*/ 300 h 742"/>
                  <a:gd name="T24" fmla="*/ 470 w 1056"/>
                  <a:gd name="T25" fmla="*/ 388 h 742"/>
                  <a:gd name="T26" fmla="*/ 482 w 1056"/>
                  <a:gd name="T27" fmla="*/ 471 h 742"/>
                  <a:gd name="T28" fmla="*/ 595 w 1056"/>
                  <a:gd name="T29" fmla="*/ 560 h 742"/>
                  <a:gd name="T30" fmla="*/ 616 w 1056"/>
                  <a:gd name="T31" fmla="*/ 610 h 742"/>
                  <a:gd name="T32" fmla="*/ 666 w 1056"/>
                  <a:gd name="T33" fmla="*/ 648 h 742"/>
                  <a:gd name="T34" fmla="*/ 616 w 1056"/>
                  <a:gd name="T35" fmla="*/ 648 h 742"/>
                  <a:gd name="T36" fmla="*/ 470 w 1056"/>
                  <a:gd name="T37" fmla="*/ 626 h 742"/>
                  <a:gd name="T38" fmla="*/ 399 w 1056"/>
                  <a:gd name="T39" fmla="*/ 553 h 742"/>
                  <a:gd name="T40" fmla="*/ 253 w 1056"/>
                  <a:gd name="T41" fmla="*/ 449 h 742"/>
                  <a:gd name="T42" fmla="*/ 238 w 1056"/>
                  <a:gd name="T43" fmla="*/ 449 h 742"/>
                  <a:gd name="T44" fmla="*/ 172 w 1056"/>
                  <a:gd name="T45" fmla="*/ 471 h 742"/>
                  <a:gd name="T46" fmla="*/ 101 w 1056"/>
                  <a:gd name="T47" fmla="*/ 487 h 742"/>
                  <a:gd name="T48" fmla="*/ 177 w 1056"/>
                  <a:gd name="T49" fmla="*/ 537 h 742"/>
                  <a:gd name="T50" fmla="*/ 47 w 1056"/>
                  <a:gd name="T51" fmla="*/ 570 h 742"/>
                  <a:gd name="T52" fmla="*/ 775 w 1056"/>
                  <a:gd name="T53" fmla="*/ 100 h 742"/>
                  <a:gd name="T54" fmla="*/ 697 w 1056"/>
                  <a:gd name="T55" fmla="*/ 116 h 742"/>
                  <a:gd name="T56" fmla="*/ 827 w 1056"/>
                  <a:gd name="T57" fmla="*/ 133 h 742"/>
                  <a:gd name="T58" fmla="*/ 897 w 1056"/>
                  <a:gd name="T59" fmla="*/ 194 h 742"/>
                  <a:gd name="T60" fmla="*/ 687 w 1056"/>
                  <a:gd name="T61" fmla="*/ 338 h 742"/>
                  <a:gd name="T62" fmla="*/ 553 w 1056"/>
                  <a:gd name="T63" fmla="*/ 322 h 742"/>
                  <a:gd name="T64" fmla="*/ 633 w 1056"/>
                  <a:gd name="T65" fmla="*/ 300 h 742"/>
                  <a:gd name="T66" fmla="*/ 642 w 1056"/>
                  <a:gd name="T67" fmla="*/ 284 h 742"/>
                  <a:gd name="T68" fmla="*/ 730 w 1056"/>
                  <a:gd name="T69" fmla="*/ 260 h 742"/>
                  <a:gd name="T70" fmla="*/ 789 w 1056"/>
                  <a:gd name="T71" fmla="*/ 211 h 742"/>
                  <a:gd name="T72" fmla="*/ 789 w 1056"/>
                  <a:gd name="T73" fmla="*/ 284 h 742"/>
                  <a:gd name="T74" fmla="*/ 687 w 1056"/>
                  <a:gd name="T75" fmla="*/ 338 h 742"/>
                  <a:gd name="T76" fmla="*/ 357 w 1056"/>
                  <a:gd name="T77" fmla="*/ 244 h 742"/>
                  <a:gd name="T78" fmla="*/ 612 w 1056"/>
                  <a:gd name="T79" fmla="*/ 244 h 742"/>
                  <a:gd name="T80" fmla="*/ 973 w 1056"/>
                  <a:gd name="T81" fmla="*/ 277 h 742"/>
                  <a:gd name="T82" fmla="*/ 432 w 1056"/>
                  <a:gd name="T83" fmla="*/ 277 h 742"/>
                  <a:gd name="T84" fmla="*/ 1023 w 1056"/>
                  <a:gd name="T85" fmla="*/ 350 h 742"/>
                  <a:gd name="T86" fmla="*/ 1006 w 1056"/>
                  <a:gd name="T87" fmla="*/ 371 h 742"/>
                  <a:gd name="T88" fmla="*/ 1006 w 1056"/>
                  <a:gd name="T89" fmla="*/ 322 h 742"/>
                  <a:gd name="T90" fmla="*/ 482 w 1056"/>
                  <a:gd name="T91" fmla="*/ 300 h 742"/>
                  <a:gd name="T92" fmla="*/ 194 w 1056"/>
                  <a:gd name="T93" fmla="*/ 482 h 742"/>
                  <a:gd name="T94" fmla="*/ 194 w 1056"/>
                  <a:gd name="T95" fmla="*/ 487 h 742"/>
                  <a:gd name="T96" fmla="*/ 172 w 1056"/>
                  <a:gd name="T97" fmla="*/ 504 h 742"/>
                  <a:gd name="T98" fmla="*/ 163 w 1056"/>
                  <a:gd name="T99" fmla="*/ 504 h 742"/>
                  <a:gd name="T100" fmla="*/ 713 w 1056"/>
                  <a:gd name="T101" fmla="*/ 515 h 742"/>
                  <a:gd name="T102" fmla="*/ 812 w 1056"/>
                  <a:gd name="T103" fmla="*/ 553 h 742"/>
                  <a:gd name="T104" fmla="*/ 666 w 1056"/>
                  <a:gd name="T105" fmla="*/ 582 h 742"/>
                  <a:gd name="T106" fmla="*/ 666 w 1056"/>
                  <a:gd name="T107" fmla="*/ 582 h 742"/>
                  <a:gd name="T108" fmla="*/ 697 w 1056"/>
                  <a:gd name="T109" fmla="*/ 598 h 742"/>
                  <a:gd name="T110" fmla="*/ 720 w 1056"/>
                  <a:gd name="T111" fmla="*/ 626 h 742"/>
                  <a:gd name="T112" fmla="*/ 697 w 1056"/>
                  <a:gd name="T113" fmla="*/ 671 h 742"/>
                  <a:gd name="T114" fmla="*/ 704 w 1056"/>
                  <a:gd name="T115" fmla="*/ 671 h 742"/>
                  <a:gd name="T116" fmla="*/ 704 w 1056"/>
                  <a:gd name="T117" fmla="*/ 671 h 742"/>
                  <a:gd name="T118" fmla="*/ 838 w 1056"/>
                  <a:gd name="T119" fmla="*/ 671 h 742"/>
                  <a:gd name="T120" fmla="*/ 864 w 1056"/>
                  <a:gd name="T121" fmla="*/ 721 h 742"/>
                  <a:gd name="T122" fmla="*/ 931 w 1056"/>
                  <a:gd name="T123" fmla="*/ 726 h 742"/>
                  <a:gd name="T124" fmla="*/ 893 w 1056"/>
                  <a:gd name="T125" fmla="*/ 74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6" h="742">
                    <a:moveTo>
                      <a:pt x="616" y="17"/>
                    </a:moveTo>
                    <a:lnTo>
                      <a:pt x="605" y="5"/>
                    </a:lnTo>
                    <a:lnTo>
                      <a:pt x="612" y="0"/>
                    </a:lnTo>
                    <a:lnTo>
                      <a:pt x="616" y="5"/>
                    </a:lnTo>
                    <a:lnTo>
                      <a:pt x="628" y="17"/>
                    </a:lnTo>
                    <a:lnTo>
                      <a:pt x="616" y="17"/>
                    </a:lnTo>
                    <a:lnTo>
                      <a:pt x="616" y="17"/>
                    </a:lnTo>
                    <a:lnTo>
                      <a:pt x="616" y="17"/>
                    </a:lnTo>
                    <a:close/>
                    <a:moveTo>
                      <a:pt x="453" y="38"/>
                    </a:moveTo>
                    <a:lnTo>
                      <a:pt x="453" y="45"/>
                    </a:lnTo>
                    <a:lnTo>
                      <a:pt x="444" y="62"/>
                    </a:lnTo>
                    <a:lnTo>
                      <a:pt x="394" y="62"/>
                    </a:lnTo>
                    <a:lnTo>
                      <a:pt x="399" y="45"/>
                    </a:lnTo>
                    <a:lnTo>
                      <a:pt x="453" y="45"/>
                    </a:lnTo>
                    <a:lnTo>
                      <a:pt x="453" y="38"/>
                    </a:lnTo>
                    <a:lnTo>
                      <a:pt x="453" y="38"/>
                    </a:lnTo>
                    <a:lnTo>
                      <a:pt x="453" y="38"/>
                    </a:lnTo>
                    <a:close/>
                    <a:moveTo>
                      <a:pt x="482" y="71"/>
                    </a:moveTo>
                    <a:lnTo>
                      <a:pt x="486" y="62"/>
                    </a:lnTo>
                    <a:lnTo>
                      <a:pt x="486" y="62"/>
                    </a:lnTo>
                    <a:lnTo>
                      <a:pt x="482" y="71"/>
                    </a:lnTo>
                    <a:lnTo>
                      <a:pt x="482" y="71"/>
                    </a:lnTo>
                    <a:lnTo>
                      <a:pt x="482" y="71"/>
                    </a:lnTo>
                    <a:close/>
                    <a:moveTo>
                      <a:pt x="666" y="95"/>
                    </a:moveTo>
                    <a:lnTo>
                      <a:pt x="649" y="95"/>
                    </a:lnTo>
                    <a:lnTo>
                      <a:pt x="633" y="78"/>
                    </a:lnTo>
                    <a:lnTo>
                      <a:pt x="659" y="71"/>
                    </a:lnTo>
                    <a:lnTo>
                      <a:pt x="666" y="78"/>
                    </a:lnTo>
                    <a:lnTo>
                      <a:pt x="671" y="95"/>
                    </a:lnTo>
                    <a:lnTo>
                      <a:pt x="666" y="95"/>
                    </a:lnTo>
                    <a:lnTo>
                      <a:pt x="666" y="95"/>
                    </a:lnTo>
                    <a:lnTo>
                      <a:pt x="666" y="95"/>
                    </a:lnTo>
                    <a:close/>
                    <a:moveTo>
                      <a:pt x="827" y="182"/>
                    </a:moveTo>
                    <a:lnTo>
                      <a:pt x="860" y="206"/>
                    </a:lnTo>
                    <a:lnTo>
                      <a:pt x="850" y="223"/>
                    </a:lnTo>
                    <a:lnTo>
                      <a:pt x="860" y="227"/>
                    </a:lnTo>
                    <a:lnTo>
                      <a:pt x="843" y="244"/>
                    </a:lnTo>
                    <a:lnTo>
                      <a:pt x="838" y="239"/>
                    </a:lnTo>
                    <a:lnTo>
                      <a:pt x="827" y="223"/>
                    </a:lnTo>
                    <a:lnTo>
                      <a:pt x="827" y="206"/>
                    </a:lnTo>
                    <a:lnTo>
                      <a:pt x="805" y="166"/>
                    </a:lnTo>
                    <a:lnTo>
                      <a:pt x="789" y="149"/>
                    </a:lnTo>
                    <a:lnTo>
                      <a:pt x="775" y="149"/>
                    </a:lnTo>
                    <a:lnTo>
                      <a:pt x="720" y="100"/>
                    </a:lnTo>
                    <a:lnTo>
                      <a:pt x="687" y="100"/>
                    </a:lnTo>
                    <a:lnTo>
                      <a:pt x="704" y="95"/>
                    </a:lnTo>
                    <a:lnTo>
                      <a:pt x="697" y="83"/>
                    </a:lnTo>
                    <a:lnTo>
                      <a:pt x="768" y="133"/>
                    </a:lnTo>
                    <a:lnTo>
                      <a:pt x="784" y="133"/>
                    </a:lnTo>
                    <a:lnTo>
                      <a:pt x="827" y="182"/>
                    </a:lnTo>
                    <a:lnTo>
                      <a:pt x="827" y="182"/>
                    </a:lnTo>
                    <a:lnTo>
                      <a:pt x="827" y="182"/>
                    </a:lnTo>
                    <a:close/>
                    <a:moveTo>
                      <a:pt x="9" y="560"/>
                    </a:moveTo>
                    <a:lnTo>
                      <a:pt x="9" y="393"/>
                    </a:lnTo>
                    <a:lnTo>
                      <a:pt x="0" y="393"/>
                    </a:lnTo>
                    <a:lnTo>
                      <a:pt x="0" y="376"/>
                    </a:lnTo>
                    <a:lnTo>
                      <a:pt x="9" y="355"/>
                    </a:lnTo>
                    <a:lnTo>
                      <a:pt x="9" y="83"/>
                    </a:lnTo>
                    <a:lnTo>
                      <a:pt x="21" y="83"/>
                    </a:lnTo>
                    <a:lnTo>
                      <a:pt x="118" y="133"/>
                    </a:lnTo>
                    <a:lnTo>
                      <a:pt x="184" y="149"/>
                    </a:lnTo>
                    <a:lnTo>
                      <a:pt x="215" y="173"/>
                    </a:lnTo>
                    <a:lnTo>
                      <a:pt x="231" y="182"/>
                    </a:lnTo>
                    <a:lnTo>
                      <a:pt x="238" y="173"/>
                    </a:lnTo>
                    <a:lnTo>
                      <a:pt x="253" y="173"/>
                    </a:lnTo>
                    <a:lnTo>
                      <a:pt x="253" y="189"/>
                    </a:lnTo>
                    <a:lnTo>
                      <a:pt x="281" y="194"/>
                    </a:lnTo>
                    <a:lnTo>
                      <a:pt x="293" y="211"/>
                    </a:lnTo>
                    <a:lnTo>
                      <a:pt x="307" y="223"/>
                    </a:lnTo>
                    <a:lnTo>
                      <a:pt x="340" y="244"/>
                    </a:lnTo>
                    <a:lnTo>
                      <a:pt x="345" y="265"/>
                    </a:lnTo>
                    <a:lnTo>
                      <a:pt x="340" y="300"/>
                    </a:lnTo>
                    <a:lnTo>
                      <a:pt x="394" y="305"/>
                    </a:lnTo>
                    <a:lnTo>
                      <a:pt x="432" y="334"/>
                    </a:lnTo>
                    <a:lnTo>
                      <a:pt x="465" y="334"/>
                    </a:lnTo>
                    <a:lnTo>
                      <a:pt x="486" y="355"/>
                    </a:lnTo>
                    <a:lnTo>
                      <a:pt x="486" y="376"/>
                    </a:lnTo>
                    <a:lnTo>
                      <a:pt x="470" y="388"/>
                    </a:lnTo>
                    <a:lnTo>
                      <a:pt x="427" y="388"/>
                    </a:lnTo>
                    <a:lnTo>
                      <a:pt x="427" y="404"/>
                    </a:lnTo>
                    <a:lnTo>
                      <a:pt x="444" y="416"/>
                    </a:lnTo>
                    <a:lnTo>
                      <a:pt x="444" y="445"/>
                    </a:lnTo>
                    <a:lnTo>
                      <a:pt x="465" y="449"/>
                    </a:lnTo>
                    <a:lnTo>
                      <a:pt x="482" y="471"/>
                    </a:lnTo>
                    <a:lnTo>
                      <a:pt x="508" y="482"/>
                    </a:lnTo>
                    <a:lnTo>
                      <a:pt x="519" y="520"/>
                    </a:lnTo>
                    <a:lnTo>
                      <a:pt x="524" y="527"/>
                    </a:lnTo>
                    <a:lnTo>
                      <a:pt x="541" y="553"/>
                    </a:lnTo>
                    <a:lnTo>
                      <a:pt x="590" y="553"/>
                    </a:lnTo>
                    <a:lnTo>
                      <a:pt x="595" y="560"/>
                    </a:lnTo>
                    <a:lnTo>
                      <a:pt x="579" y="577"/>
                    </a:lnTo>
                    <a:lnTo>
                      <a:pt x="590" y="582"/>
                    </a:lnTo>
                    <a:lnTo>
                      <a:pt x="605" y="593"/>
                    </a:lnTo>
                    <a:lnTo>
                      <a:pt x="642" y="593"/>
                    </a:lnTo>
                    <a:lnTo>
                      <a:pt x="642" y="598"/>
                    </a:lnTo>
                    <a:lnTo>
                      <a:pt x="616" y="610"/>
                    </a:lnTo>
                    <a:lnTo>
                      <a:pt x="633" y="626"/>
                    </a:lnTo>
                    <a:lnTo>
                      <a:pt x="682" y="638"/>
                    </a:lnTo>
                    <a:lnTo>
                      <a:pt x="704" y="638"/>
                    </a:lnTo>
                    <a:lnTo>
                      <a:pt x="682" y="648"/>
                    </a:lnTo>
                    <a:lnTo>
                      <a:pt x="666" y="648"/>
                    </a:lnTo>
                    <a:lnTo>
                      <a:pt x="666" y="648"/>
                    </a:lnTo>
                    <a:lnTo>
                      <a:pt x="687" y="655"/>
                    </a:lnTo>
                    <a:lnTo>
                      <a:pt x="687" y="664"/>
                    </a:lnTo>
                    <a:lnTo>
                      <a:pt x="659" y="671"/>
                    </a:lnTo>
                    <a:lnTo>
                      <a:pt x="628" y="664"/>
                    </a:lnTo>
                    <a:lnTo>
                      <a:pt x="642" y="655"/>
                    </a:lnTo>
                    <a:lnTo>
                      <a:pt x="616" y="648"/>
                    </a:lnTo>
                    <a:lnTo>
                      <a:pt x="562" y="638"/>
                    </a:lnTo>
                    <a:lnTo>
                      <a:pt x="553" y="631"/>
                    </a:lnTo>
                    <a:lnTo>
                      <a:pt x="524" y="638"/>
                    </a:lnTo>
                    <a:lnTo>
                      <a:pt x="508" y="631"/>
                    </a:lnTo>
                    <a:lnTo>
                      <a:pt x="498" y="631"/>
                    </a:lnTo>
                    <a:lnTo>
                      <a:pt x="470" y="626"/>
                    </a:lnTo>
                    <a:lnTo>
                      <a:pt x="449" y="593"/>
                    </a:lnTo>
                    <a:lnTo>
                      <a:pt x="432" y="582"/>
                    </a:lnTo>
                    <a:lnTo>
                      <a:pt x="416" y="570"/>
                    </a:lnTo>
                    <a:lnTo>
                      <a:pt x="427" y="553"/>
                    </a:lnTo>
                    <a:lnTo>
                      <a:pt x="427" y="560"/>
                    </a:lnTo>
                    <a:lnTo>
                      <a:pt x="399" y="553"/>
                    </a:lnTo>
                    <a:lnTo>
                      <a:pt x="394" y="537"/>
                    </a:lnTo>
                    <a:lnTo>
                      <a:pt x="361" y="482"/>
                    </a:lnTo>
                    <a:lnTo>
                      <a:pt x="281" y="466"/>
                    </a:lnTo>
                    <a:lnTo>
                      <a:pt x="281" y="449"/>
                    </a:lnTo>
                    <a:lnTo>
                      <a:pt x="281" y="461"/>
                    </a:lnTo>
                    <a:lnTo>
                      <a:pt x="253" y="449"/>
                    </a:lnTo>
                    <a:lnTo>
                      <a:pt x="253" y="445"/>
                    </a:lnTo>
                    <a:lnTo>
                      <a:pt x="253" y="449"/>
                    </a:lnTo>
                    <a:lnTo>
                      <a:pt x="248" y="445"/>
                    </a:lnTo>
                    <a:lnTo>
                      <a:pt x="248" y="461"/>
                    </a:lnTo>
                    <a:lnTo>
                      <a:pt x="238" y="461"/>
                    </a:lnTo>
                    <a:lnTo>
                      <a:pt x="238" y="449"/>
                    </a:lnTo>
                    <a:lnTo>
                      <a:pt x="231" y="466"/>
                    </a:lnTo>
                    <a:lnTo>
                      <a:pt x="210" y="461"/>
                    </a:lnTo>
                    <a:lnTo>
                      <a:pt x="194" y="445"/>
                    </a:lnTo>
                    <a:lnTo>
                      <a:pt x="215" y="471"/>
                    </a:lnTo>
                    <a:lnTo>
                      <a:pt x="201" y="482"/>
                    </a:lnTo>
                    <a:lnTo>
                      <a:pt x="172" y="471"/>
                    </a:lnTo>
                    <a:lnTo>
                      <a:pt x="184" y="482"/>
                    </a:lnTo>
                    <a:lnTo>
                      <a:pt x="194" y="499"/>
                    </a:lnTo>
                    <a:lnTo>
                      <a:pt x="146" y="504"/>
                    </a:lnTo>
                    <a:lnTo>
                      <a:pt x="123" y="499"/>
                    </a:lnTo>
                    <a:lnTo>
                      <a:pt x="108" y="504"/>
                    </a:lnTo>
                    <a:lnTo>
                      <a:pt x="101" y="487"/>
                    </a:lnTo>
                    <a:lnTo>
                      <a:pt x="85" y="499"/>
                    </a:lnTo>
                    <a:lnTo>
                      <a:pt x="101" y="487"/>
                    </a:lnTo>
                    <a:lnTo>
                      <a:pt x="108" y="504"/>
                    </a:lnTo>
                    <a:lnTo>
                      <a:pt x="130" y="499"/>
                    </a:lnTo>
                    <a:lnTo>
                      <a:pt x="156" y="515"/>
                    </a:lnTo>
                    <a:lnTo>
                      <a:pt x="177" y="537"/>
                    </a:lnTo>
                    <a:lnTo>
                      <a:pt x="177" y="544"/>
                    </a:lnTo>
                    <a:lnTo>
                      <a:pt x="172" y="553"/>
                    </a:lnTo>
                    <a:lnTo>
                      <a:pt x="146" y="553"/>
                    </a:lnTo>
                    <a:lnTo>
                      <a:pt x="123" y="577"/>
                    </a:lnTo>
                    <a:lnTo>
                      <a:pt x="92" y="560"/>
                    </a:lnTo>
                    <a:lnTo>
                      <a:pt x="47" y="570"/>
                    </a:lnTo>
                    <a:lnTo>
                      <a:pt x="33" y="560"/>
                    </a:lnTo>
                    <a:lnTo>
                      <a:pt x="16" y="570"/>
                    </a:lnTo>
                    <a:lnTo>
                      <a:pt x="9" y="560"/>
                    </a:lnTo>
                    <a:lnTo>
                      <a:pt x="9" y="560"/>
                    </a:lnTo>
                    <a:lnTo>
                      <a:pt x="9" y="560"/>
                    </a:lnTo>
                    <a:close/>
                    <a:moveTo>
                      <a:pt x="775" y="100"/>
                    </a:moveTo>
                    <a:lnTo>
                      <a:pt x="775" y="95"/>
                    </a:lnTo>
                    <a:lnTo>
                      <a:pt x="784" y="100"/>
                    </a:lnTo>
                    <a:lnTo>
                      <a:pt x="775" y="100"/>
                    </a:lnTo>
                    <a:lnTo>
                      <a:pt x="775" y="100"/>
                    </a:lnTo>
                    <a:lnTo>
                      <a:pt x="775" y="100"/>
                    </a:lnTo>
                    <a:close/>
                    <a:moveTo>
                      <a:pt x="697" y="116"/>
                    </a:moveTo>
                    <a:lnTo>
                      <a:pt x="704" y="112"/>
                    </a:lnTo>
                    <a:lnTo>
                      <a:pt x="713" y="116"/>
                    </a:lnTo>
                    <a:lnTo>
                      <a:pt x="697" y="116"/>
                    </a:lnTo>
                    <a:lnTo>
                      <a:pt x="697" y="116"/>
                    </a:lnTo>
                    <a:lnTo>
                      <a:pt x="697" y="116"/>
                    </a:lnTo>
                    <a:close/>
                    <a:moveTo>
                      <a:pt x="827" y="133"/>
                    </a:moveTo>
                    <a:lnTo>
                      <a:pt x="822" y="128"/>
                    </a:lnTo>
                    <a:lnTo>
                      <a:pt x="827" y="116"/>
                    </a:lnTo>
                    <a:lnTo>
                      <a:pt x="827" y="133"/>
                    </a:lnTo>
                    <a:lnTo>
                      <a:pt x="827" y="133"/>
                    </a:lnTo>
                    <a:lnTo>
                      <a:pt x="827" y="133"/>
                    </a:lnTo>
                    <a:close/>
                    <a:moveTo>
                      <a:pt x="897" y="194"/>
                    </a:moveTo>
                    <a:lnTo>
                      <a:pt x="893" y="194"/>
                    </a:lnTo>
                    <a:lnTo>
                      <a:pt x="897" y="189"/>
                    </a:lnTo>
                    <a:lnTo>
                      <a:pt x="897" y="194"/>
                    </a:lnTo>
                    <a:lnTo>
                      <a:pt x="897" y="194"/>
                    </a:lnTo>
                    <a:lnTo>
                      <a:pt x="897" y="194"/>
                    </a:lnTo>
                    <a:close/>
                    <a:moveTo>
                      <a:pt x="687" y="338"/>
                    </a:moveTo>
                    <a:lnTo>
                      <a:pt x="666" y="355"/>
                    </a:lnTo>
                    <a:lnTo>
                      <a:pt x="612" y="355"/>
                    </a:lnTo>
                    <a:lnTo>
                      <a:pt x="595" y="338"/>
                    </a:lnTo>
                    <a:lnTo>
                      <a:pt x="574" y="350"/>
                    </a:lnTo>
                    <a:lnTo>
                      <a:pt x="574" y="338"/>
                    </a:lnTo>
                    <a:lnTo>
                      <a:pt x="553" y="322"/>
                    </a:lnTo>
                    <a:lnTo>
                      <a:pt x="524" y="317"/>
                    </a:lnTo>
                    <a:lnTo>
                      <a:pt x="519" y="305"/>
                    </a:lnTo>
                    <a:lnTo>
                      <a:pt x="524" y="293"/>
                    </a:lnTo>
                    <a:lnTo>
                      <a:pt x="562" y="293"/>
                    </a:lnTo>
                    <a:lnTo>
                      <a:pt x="590" y="305"/>
                    </a:lnTo>
                    <a:lnTo>
                      <a:pt x="633" y="300"/>
                    </a:lnTo>
                    <a:lnTo>
                      <a:pt x="633" y="293"/>
                    </a:lnTo>
                    <a:lnTo>
                      <a:pt x="633" y="284"/>
                    </a:lnTo>
                    <a:lnTo>
                      <a:pt x="642" y="260"/>
                    </a:lnTo>
                    <a:lnTo>
                      <a:pt x="659" y="265"/>
                    </a:lnTo>
                    <a:lnTo>
                      <a:pt x="642" y="265"/>
                    </a:lnTo>
                    <a:lnTo>
                      <a:pt x="642" y="284"/>
                    </a:lnTo>
                    <a:lnTo>
                      <a:pt x="649" y="300"/>
                    </a:lnTo>
                    <a:lnTo>
                      <a:pt x="659" y="300"/>
                    </a:lnTo>
                    <a:lnTo>
                      <a:pt x="671" y="293"/>
                    </a:lnTo>
                    <a:lnTo>
                      <a:pt x="682" y="300"/>
                    </a:lnTo>
                    <a:lnTo>
                      <a:pt x="704" y="300"/>
                    </a:lnTo>
                    <a:lnTo>
                      <a:pt x="730" y="260"/>
                    </a:lnTo>
                    <a:lnTo>
                      <a:pt x="758" y="249"/>
                    </a:lnTo>
                    <a:lnTo>
                      <a:pt x="742" y="206"/>
                    </a:lnTo>
                    <a:lnTo>
                      <a:pt x="768" y="206"/>
                    </a:lnTo>
                    <a:lnTo>
                      <a:pt x="784" y="211"/>
                    </a:lnTo>
                    <a:lnTo>
                      <a:pt x="796" y="206"/>
                    </a:lnTo>
                    <a:lnTo>
                      <a:pt x="789" y="211"/>
                    </a:lnTo>
                    <a:lnTo>
                      <a:pt x="805" y="211"/>
                    </a:lnTo>
                    <a:lnTo>
                      <a:pt x="812" y="239"/>
                    </a:lnTo>
                    <a:lnTo>
                      <a:pt x="796" y="260"/>
                    </a:lnTo>
                    <a:lnTo>
                      <a:pt x="784" y="260"/>
                    </a:lnTo>
                    <a:lnTo>
                      <a:pt x="784" y="277"/>
                    </a:lnTo>
                    <a:lnTo>
                      <a:pt x="789" y="284"/>
                    </a:lnTo>
                    <a:lnTo>
                      <a:pt x="789" y="293"/>
                    </a:lnTo>
                    <a:lnTo>
                      <a:pt x="768" y="305"/>
                    </a:lnTo>
                    <a:lnTo>
                      <a:pt x="742" y="300"/>
                    </a:lnTo>
                    <a:lnTo>
                      <a:pt x="734" y="317"/>
                    </a:lnTo>
                    <a:lnTo>
                      <a:pt x="687" y="338"/>
                    </a:lnTo>
                    <a:lnTo>
                      <a:pt x="687" y="338"/>
                    </a:lnTo>
                    <a:lnTo>
                      <a:pt x="687" y="338"/>
                    </a:lnTo>
                    <a:close/>
                    <a:moveTo>
                      <a:pt x="357" y="244"/>
                    </a:moveTo>
                    <a:lnTo>
                      <a:pt x="345" y="239"/>
                    </a:lnTo>
                    <a:lnTo>
                      <a:pt x="357" y="227"/>
                    </a:lnTo>
                    <a:lnTo>
                      <a:pt x="361" y="239"/>
                    </a:lnTo>
                    <a:lnTo>
                      <a:pt x="357" y="244"/>
                    </a:lnTo>
                    <a:lnTo>
                      <a:pt x="357" y="244"/>
                    </a:lnTo>
                    <a:lnTo>
                      <a:pt x="357" y="244"/>
                    </a:lnTo>
                    <a:close/>
                    <a:moveTo>
                      <a:pt x="612" y="244"/>
                    </a:moveTo>
                    <a:lnTo>
                      <a:pt x="605" y="239"/>
                    </a:lnTo>
                    <a:lnTo>
                      <a:pt x="605" y="239"/>
                    </a:lnTo>
                    <a:lnTo>
                      <a:pt x="612" y="244"/>
                    </a:lnTo>
                    <a:lnTo>
                      <a:pt x="612" y="244"/>
                    </a:lnTo>
                    <a:lnTo>
                      <a:pt x="612" y="244"/>
                    </a:lnTo>
                    <a:close/>
                    <a:moveTo>
                      <a:pt x="968" y="293"/>
                    </a:moveTo>
                    <a:lnTo>
                      <a:pt x="956" y="265"/>
                    </a:lnTo>
                    <a:lnTo>
                      <a:pt x="968" y="260"/>
                    </a:lnTo>
                    <a:lnTo>
                      <a:pt x="973" y="277"/>
                    </a:lnTo>
                    <a:lnTo>
                      <a:pt x="968" y="293"/>
                    </a:lnTo>
                    <a:lnTo>
                      <a:pt x="968" y="293"/>
                    </a:lnTo>
                    <a:lnTo>
                      <a:pt x="968" y="293"/>
                    </a:lnTo>
                    <a:close/>
                    <a:moveTo>
                      <a:pt x="444" y="293"/>
                    </a:moveTo>
                    <a:lnTo>
                      <a:pt x="427" y="284"/>
                    </a:lnTo>
                    <a:lnTo>
                      <a:pt x="432" y="277"/>
                    </a:lnTo>
                    <a:lnTo>
                      <a:pt x="444" y="284"/>
                    </a:lnTo>
                    <a:lnTo>
                      <a:pt x="444" y="293"/>
                    </a:lnTo>
                    <a:lnTo>
                      <a:pt x="444" y="293"/>
                    </a:lnTo>
                    <a:lnTo>
                      <a:pt x="444" y="293"/>
                    </a:lnTo>
                    <a:close/>
                    <a:moveTo>
                      <a:pt x="1023" y="334"/>
                    </a:moveTo>
                    <a:lnTo>
                      <a:pt x="1023" y="350"/>
                    </a:lnTo>
                    <a:lnTo>
                      <a:pt x="1056" y="371"/>
                    </a:lnTo>
                    <a:lnTo>
                      <a:pt x="1056" y="393"/>
                    </a:lnTo>
                    <a:lnTo>
                      <a:pt x="1056" y="388"/>
                    </a:lnTo>
                    <a:lnTo>
                      <a:pt x="1039" y="393"/>
                    </a:lnTo>
                    <a:lnTo>
                      <a:pt x="1011" y="388"/>
                    </a:lnTo>
                    <a:lnTo>
                      <a:pt x="1006" y="371"/>
                    </a:lnTo>
                    <a:lnTo>
                      <a:pt x="1006" y="355"/>
                    </a:lnTo>
                    <a:lnTo>
                      <a:pt x="990" y="350"/>
                    </a:lnTo>
                    <a:lnTo>
                      <a:pt x="973" y="334"/>
                    </a:lnTo>
                    <a:lnTo>
                      <a:pt x="973" y="300"/>
                    </a:lnTo>
                    <a:lnTo>
                      <a:pt x="1001" y="300"/>
                    </a:lnTo>
                    <a:lnTo>
                      <a:pt x="1006" y="322"/>
                    </a:lnTo>
                    <a:lnTo>
                      <a:pt x="1023" y="334"/>
                    </a:lnTo>
                    <a:lnTo>
                      <a:pt x="1023" y="334"/>
                    </a:lnTo>
                    <a:lnTo>
                      <a:pt x="1023" y="334"/>
                    </a:lnTo>
                    <a:close/>
                    <a:moveTo>
                      <a:pt x="498" y="322"/>
                    </a:moveTo>
                    <a:lnTo>
                      <a:pt x="482" y="305"/>
                    </a:lnTo>
                    <a:lnTo>
                      <a:pt x="482" y="300"/>
                    </a:lnTo>
                    <a:lnTo>
                      <a:pt x="503" y="305"/>
                    </a:lnTo>
                    <a:lnTo>
                      <a:pt x="498" y="322"/>
                    </a:lnTo>
                    <a:lnTo>
                      <a:pt x="498" y="322"/>
                    </a:lnTo>
                    <a:lnTo>
                      <a:pt x="498" y="322"/>
                    </a:lnTo>
                    <a:close/>
                    <a:moveTo>
                      <a:pt x="194" y="487"/>
                    </a:moveTo>
                    <a:lnTo>
                      <a:pt x="194" y="482"/>
                    </a:lnTo>
                    <a:lnTo>
                      <a:pt x="194" y="487"/>
                    </a:lnTo>
                    <a:lnTo>
                      <a:pt x="194" y="487"/>
                    </a:lnTo>
                    <a:lnTo>
                      <a:pt x="194" y="487"/>
                    </a:lnTo>
                    <a:lnTo>
                      <a:pt x="194" y="487"/>
                    </a:lnTo>
                    <a:close/>
                    <a:moveTo>
                      <a:pt x="194" y="499"/>
                    </a:moveTo>
                    <a:lnTo>
                      <a:pt x="194" y="487"/>
                    </a:lnTo>
                    <a:lnTo>
                      <a:pt x="201" y="487"/>
                    </a:lnTo>
                    <a:lnTo>
                      <a:pt x="194" y="499"/>
                    </a:lnTo>
                    <a:lnTo>
                      <a:pt x="194" y="499"/>
                    </a:lnTo>
                    <a:lnTo>
                      <a:pt x="194" y="499"/>
                    </a:lnTo>
                    <a:close/>
                    <a:moveTo>
                      <a:pt x="184" y="515"/>
                    </a:moveTo>
                    <a:lnTo>
                      <a:pt x="172" y="504"/>
                    </a:lnTo>
                    <a:lnTo>
                      <a:pt x="184" y="504"/>
                    </a:lnTo>
                    <a:lnTo>
                      <a:pt x="184" y="515"/>
                    </a:lnTo>
                    <a:lnTo>
                      <a:pt x="184" y="515"/>
                    </a:lnTo>
                    <a:lnTo>
                      <a:pt x="184" y="515"/>
                    </a:lnTo>
                    <a:close/>
                    <a:moveTo>
                      <a:pt x="194" y="527"/>
                    </a:moveTo>
                    <a:lnTo>
                      <a:pt x="163" y="504"/>
                    </a:lnTo>
                    <a:lnTo>
                      <a:pt x="177" y="515"/>
                    </a:lnTo>
                    <a:lnTo>
                      <a:pt x="194" y="527"/>
                    </a:lnTo>
                    <a:lnTo>
                      <a:pt x="194" y="527"/>
                    </a:lnTo>
                    <a:lnTo>
                      <a:pt x="194" y="527"/>
                    </a:lnTo>
                    <a:close/>
                    <a:moveTo>
                      <a:pt x="720" y="537"/>
                    </a:moveTo>
                    <a:lnTo>
                      <a:pt x="713" y="515"/>
                    </a:lnTo>
                    <a:lnTo>
                      <a:pt x="720" y="504"/>
                    </a:lnTo>
                    <a:lnTo>
                      <a:pt x="720" y="537"/>
                    </a:lnTo>
                    <a:lnTo>
                      <a:pt x="720" y="537"/>
                    </a:lnTo>
                    <a:lnTo>
                      <a:pt x="720" y="537"/>
                    </a:lnTo>
                    <a:close/>
                    <a:moveTo>
                      <a:pt x="838" y="570"/>
                    </a:moveTo>
                    <a:lnTo>
                      <a:pt x="812" y="553"/>
                    </a:lnTo>
                    <a:lnTo>
                      <a:pt x="838" y="544"/>
                    </a:lnTo>
                    <a:lnTo>
                      <a:pt x="850" y="560"/>
                    </a:lnTo>
                    <a:lnTo>
                      <a:pt x="838" y="570"/>
                    </a:lnTo>
                    <a:lnTo>
                      <a:pt x="838" y="570"/>
                    </a:lnTo>
                    <a:lnTo>
                      <a:pt x="838" y="570"/>
                    </a:lnTo>
                    <a:close/>
                    <a:moveTo>
                      <a:pt x="666" y="582"/>
                    </a:moveTo>
                    <a:lnTo>
                      <a:pt x="649" y="577"/>
                    </a:lnTo>
                    <a:lnTo>
                      <a:pt x="649" y="570"/>
                    </a:lnTo>
                    <a:lnTo>
                      <a:pt x="666" y="570"/>
                    </a:lnTo>
                    <a:lnTo>
                      <a:pt x="666" y="582"/>
                    </a:lnTo>
                    <a:lnTo>
                      <a:pt x="666" y="582"/>
                    </a:lnTo>
                    <a:lnTo>
                      <a:pt x="666" y="582"/>
                    </a:lnTo>
                    <a:close/>
                    <a:moveTo>
                      <a:pt x="697" y="598"/>
                    </a:moveTo>
                    <a:lnTo>
                      <a:pt x="671" y="593"/>
                    </a:lnTo>
                    <a:lnTo>
                      <a:pt x="671" y="577"/>
                    </a:lnTo>
                    <a:lnTo>
                      <a:pt x="697" y="582"/>
                    </a:lnTo>
                    <a:lnTo>
                      <a:pt x="704" y="598"/>
                    </a:lnTo>
                    <a:lnTo>
                      <a:pt x="697" y="598"/>
                    </a:lnTo>
                    <a:lnTo>
                      <a:pt x="697" y="598"/>
                    </a:lnTo>
                    <a:lnTo>
                      <a:pt x="697" y="598"/>
                    </a:lnTo>
                    <a:close/>
                    <a:moveTo>
                      <a:pt x="730" y="638"/>
                    </a:moveTo>
                    <a:lnTo>
                      <a:pt x="704" y="631"/>
                    </a:lnTo>
                    <a:lnTo>
                      <a:pt x="697" y="598"/>
                    </a:lnTo>
                    <a:lnTo>
                      <a:pt x="720" y="626"/>
                    </a:lnTo>
                    <a:lnTo>
                      <a:pt x="730" y="615"/>
                    </a:lnTo>
                    <a:lnTo>
                      <a:pt x="730" y="638"/>
                    </a:lnTo>
                    <a:lnTo>
                      <a:pt x="730" y="638"/>
                    </a:lnTo>
                    <a:lnTo>
                      <a:pt x="730" y="638"/>
                    </a:lnTo>
                    <a:close/>
                    <a:moveTo>
                      <a:pt x="704" y="671"/>
                    </a:moveTo>
                    <a:lnTo>
                      <a:pt x="697" y="671"/>
                    </a:lnTo>
                    <a:lnTo>
                      <a:pt x="697" y="664"/>
                    </a:lnTo>
                    <a:lnTo>
                      <a:pt x="704" y="664"/>
                    </a:lnTo>
                    <a:lnTo>
                      <a:pt x="704" y="671"/>
                    </a:lnTo>
                    <a:lnTo>
                      <a:pt x="704" y="671"/>
                    </a:lnTo>
                    <a:lnTo>
                      <a:pt x="704" y="671"/>
                    </a:lnTo>
                    <a:close/>
                    <a:moveTo>
                      <a:pt x="704" y="671"/>
                    </a:moveTo>
                    <a:lnTo>
                      <a:pt x="704" y="664"/>
                    </a:lnTo>
                    <a:lnTo>
                      <a:pt x="713" y="664"/>
                    </a:lnTo>
                    <a:lnTo>
                      <a:pt x="713" y="671"/>
                    </a:lnTo>
                    <a:lnTo>
                      <a:pt x="704" y="671"/>
                    </a:lnTo>
                    <a:lnTo>
                      <a:pt x="704" y="671"/>
                    </a:lnTo>
                    <a:lnTo>
                      <a:pt x="704" y="671"/>
                    </a:lnTo>
                    <a:close/>
                    <a:moveTo>
                      <a:pt x="838" y="671"/>
                    </a:moveTo>
                    <a:lnTo>
                      <a:pt x="822" y="671"/>
                    </a:lnTo>
                    <a:lnTo>
                      <a:pt x="843" y="671"/>
                    </a:lnTo>
                    <a:lnTo>
                      <a:pt x="838" y="671"/>
                    </a:lnTo>
                    <a:lnTo>
                      <a:pt x="838" y="671"/>
                    </a:lnTo>
                    <a:lnTo>
                      <a:pt x="838" y="671"/>
                    </a:lnTo>
                    <a:close/>
                    <a:moveTo>
                      <a:pt x="864" y="721"/>
                    </a:moveTo>
                    <a:lnTo>
                      <a:pt x="860" y="709"/>
                    </a:lnTo>
                    <a:lnTo>
                      <a:pt x="864" y="709"/>
                    </a:lnTo>
                    <a:lnTo>
                      <a:pt x="864" y="721"/>
                    </a:lnTo>
                    <a:lnTo>
                      <a:pt x="864" y="721"/>
                    </a:lnTo>
                    <a:lnTo>
                      <a:pt x="864" y="721"/>
                    </a:lnTo>
                    <a:close/>
                    <a:moveTo>
                      <a:pt x="931" y="726"/>
                    </a:moveTo>
                    <a:lnTo>
                      <a:pt x="919" y="721"/>
                    </a:lnTo>
                    <a:lnTo>
                      <a:pt x="935" y="721"/>
                    </a:lnTo>
                    <a:lnTo>
                      <a:pt x="947" y="726"/>
                    </a:lnTo>
                    <a:lnTo>
                      <a:pt x="931" y="726"/>
                    </a:lnTo>
                    <a:lnTo>
                      <a:pt x="931" y="726"/>
                    </a:lnTo>
                    <a:lnTo>
                      <a:pt x="931" y="726"/>
                    </a:lnTo>
                    <a:close/>
                    <a:moveTo>
                      <a:pt x="893" y="742"/>
                    </a:moveTo>
                    <a:lnTo>
                      <a:pt x="876" y="737"/>
                    </a:lnTo>
                    <a:lnTo>
                      <a:pt x="864" y="721"/>
                    </a:lnTo>
                    <a:lnTo>
                      <a:pt x="905" y="742"/>
                    </a:lnTo>
                    <a:lnTo>
                      <a:pt x="893" y="742"/>
                    </a:lnTo>
                    <a:lnTo>
                      <a:pt x="893" y="742"/>
                    </a:lnTo>
                    <a:lnTo>
                      <a:pt x="893" y="74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23" name="Freeform 541">
                <a:extLst>
                  <a:ext uri="{FF2B5EF4-FFF2-40B4-BE49-F238E27FC236}">
                    <a16:creationId xmlns:a16="http://schemas.microsoft.com/office/drawing/2014/main" id="{89F88897-79D1-4365-AB57-E4FC5961D786}"/>
                  </a:ext>
                </a:extLst>
              </p:cNvPr>
              <p:cNvSpPr>
                <a:spLocks noEditPoints="1"/>
              </p:cNvSpPr>
              <p:nvPr/>
            </p:nvSpPr>
            <p:spPr bwMode="gray">
              <a:xfrm>
                <a:off x="10102341" y="3479191"/>
                <a:ext cx="278290" cy="438478"/>
              </a:xfrm>
              <a:custGeom>
                <a:avLst/>
                <a:gdLst>
                  <a:gd name="T0" fmla="*/ 324 w 676"/>
                  <a:gd name="T1" fmla="*/ 16 h 1065"/>
                  <a:gd name="T2" fmla="*/ 310 w 676"/>
                  <a:gd name="T3" fmla="*/ 50 h 1065"/>
                  <a:gd name="T4" fmla="*/ 459 w 676"/>
                  <a:gd name="T5" fmla="*/ 437 h 1065"/>
                  <a:gd name="T6" fmla="*/ 487 w 676"/>
                  <a:gd name="T7" fmla="*/ 494 h 1065"/>
                  <a:gd name="T8" fmla="*/ 395 w 676"/>
                  <a:gd name="T9" fmla="*/ 416 h 1065"/>
                  <a:gd name="T10" fmla="*/ 260 w 676"/>
                  <a:gd name="T11" fmla="*/ 416 h 1065"/>
                  <a:gd name="T12" fmla="*/ 239 w 676"/>
                  <a:gd name="T13" fmla="*/ 349 h 1065"/>
                  <a:gd name="T14" fmla="*/ 244 w 676"/>
                  <a:gd name="T15" fmla="*/ 250 h 1065"/>
                  <a:gd name="T16" fmla="*/ 378 w 676"/>
                  <a:gd name="T17" fmla="*/ 90 h 1065"/>
                  <a:gd name="T18" fmla="*/ 369 w 676"/>
                  <a:gd name="T19" fmla="*/ 250 h 1065"/>
                  <a:gd name="T20" fmla="*/ 369 w 676"/>
                  <a:gd name="T21" fmla="*/ 416 h 1065"/>
                  <a:gd name="T22" fmla="*/ 433 w 676"/>
                  <a:gd name="T23" fmla="*/ 437 h 1065"/>
                  <a:gd name="T24" fmla="*/ 362 w 676"/>
                  <a:gd name="T25" fmla="*/ 342 h 1065"/>
                  <a:gd name="T26" fmla="*/ 369 w 676"/>
                  <a:gd name="T27" fmla="*/ 361 h 1065"/>
                  <a:gd name="T28" fmla="*/ 508 w 676"/>
                  <a:gd name="T29" fmla="*/ 444 h 1065"/>
                  <a:gd name="T30" fmla="*/ 345 w 676"/>
                  <a:gd name="T31" fmla="*/ 461 h 1065"/>
                  <a:gd name="T32" fmla="*/ 239 w 676"/>
                  <a:gd name="T33" fmla="*/ 444 h 1065"/>
                  <a:gd name="T34" fmla="*/ 487 w 676"/>
                  <a:gd name="T35" fmla="*/ 453 h 1065"/>
                  <a:gd name="T36" fmla="*/ 492 w 676"/>
                  <a:gd name="T37" fmla="*/ 470 h 1065"/>
                  <a:gd name="T38" fmla="*/ 362 w 676"/>
                  <a:gd name="T39" fmla="*/ 510 h 1065"/>
                  <a:gd name="T40" fmla="*/ 503 w 676"/>
                  <a:gd name="T41" fmla="*/ 581 h 1065"/>
                  <a:gd name="T42" fmla="*/ 617 w 676"/>
                  <a:gd name="T43" fmla="*/ 626 h 1065"/>
                  <a:gd name="T44" fmla="*/ 584 w 676"/>
                  <a:gd name="T45" fmla="*/ 527 h 1065"/>
                  <a:gd name="T46" fmla="*/ 617 w 676"/>
                  <a:gd name="T47" fmla="*/ 626 h 1065"/>
                  <a:gd name="T48" fmla="*/ 218 w 676"/>
                  <a:gd name="T49" fmla="*/ 555 h 1065"/>
                  <a:gd name="T50" fmla="*/ 293 w 676"/>
                  <a:gd name="T51" fmla="*/ 538 h 1065"/>
                  <a:gd name="T52" fmla="*/ 433 w 676"/>
                  <a:gd name="T53" fmla="*/ 621 h 1065"/>
                  <a:gd name="T54" fmla="*/ 369 w 676"/>
                  <a:gd name="T55" fmla="*/ 572 h 1065"/>
                  <a:gd name="T56" fmla="*/ 529 w 676"/>
                  <a:gd name="T57" fmla="*/ 581 h 1065"/>
                  <a:gd name="T58" fmla="*/ 525 w 676"/>
                  <a:gd name="T59" fmla="*/ 638 h 1065"/>
                  <a:gd name="T60" fmla="*/ 546 w 676"/>
                  <a:gd name="T61" fmla="*/ 692 h 1065"/>
                  <a:gd name="T62" fmla="*/ 189 w 676"/>
                  <a:gd name="T63" fmla="*/ 666 h 1065"/>
                  <a:gd name="T64" fmla="*/ 24 w 676"/>
                  <a:gd name="T65" fmla="*/ 803 h 1065"/>
                  <a:gd name="T66" fmla="*/ 168 w 676"/>
                  <a:gd name="T67" fmla="*/ 659 h 1065"/>
                  <a:gd name="T68" fmla="*/ 185 w 676"/>
                  <a:gd name="T69" fmla="*/ 642 h 1065"/>
                  <a:gd name="T70" fmla="*/ 475 w 676"/>
                  <a:gd name="T71" fmla="*/ 666 h 1065"/>
                  <a:gd name="T72" fmla="*/ 449 w 676"/>
                  <a:gd name="T73" fmla="*/ 675 h 1065"/>
                  <a:gd name="T74" fmla="*/ 416 w 676"/>
                  <a:gd name="T75" fmla="*/ 699 h 1065"/>
                  <a:gd name="T76" fmla="*/ 617 w 676"/>
                  <a:gd name="T77" fmla="*/ 649 h 1065"/>
                  <a:gd name="T78" fmla="*/ 407 w 676"/>
                  <a:gd name="T79" fmla="*/ 659 h 1065"/>
                  <a:gd name="T80" fmla="*/ 513 w 676"/>
                  <a:gd name="T81" fmla="*/ 659 h 1065"/>
                  <a:gd name="T82" fmla="*/ 201 w 676"/>
                  <a:gd name="T83" fmla="*/ 666 h 1065"/>
                  <a:gd name="T84" fmla="*/ 529 w 676"/>
                  <a:gd name="T85" fmla="*/ 699 h 1065"/>
                  <a:gd name="T86" fmla="*/ 529 w 676"/>
                  <a:gd name="T87" fmla="*/ 699 h 1065"/>
                  <a:gd name="T88" fmla="*/ 638 w 676"/>
                  <a:gd name="T89" fmla="*/ 720 h 1065"/>
                  <a:gd name="T90" fmla="*/ 407 w 676"/>
                  <a:gd name="T91" fmla="*/ 886 h 1065"/>
                  <a:gd name="T92" fmla="*/ 421 w 676"/>
                  <a:gd name="T93" fmla="*/ 831 h 1065"/>
                  <a:gd name="T94" fmla="*/ 513 w 676"/>
                  <a:gd name="T95" fmla="*/ 815 h 1065"/>
                  <a:gd name="T96" fmla="*/ 631 w 676"/>
                  <a:gd name="T97" fmla="*/ 737 h 1065"/>
                  <a:gd name="T98" fmla="*/ 664 w 676"/>
                  <a:gd name="T99" fmla="*/ 860 h 1065"/>
                  <a:gd name="T100" fmla="*/ 622 w 676"/>
                  <a:gd name="T101" fmla="*/ 914 h 1065"/>
                  <a:gd name="T102" fmla="*/ 584 w 676"/>
                  <a:gd name="T103" fmla="*/ 1025 h 1065"/>
                  <a:gd name="T104" fmla="*/ 492 w 676"/>
                  <a:gd name="T105" fmla="*/ 869 h 1065"/>
                  <a:gd name="T106" fmla="*/ 454 w 676"/>
                  <a:gd name="T107" fmla="*/ 758 h 1065"/>
                  <a:gd name="T108" fmla="*/ 546 w 676"/>
                  <a:gd name="T109" fmla="*/ 770 h 1065"/>
                  <a:gd name="T110" fmla="*/ 416 w 676"/>
                  <a:gd name="T111" fmla="*/ 898 h 1065"/>
                  <a:gd name="T112" fmla="*/ 622 w 676"/>
                  <a:gd name="T113" fmla="*/ 914 h 1065"/>
                  <a:gd name="T114" fmla="*/ 352 w 676"/>
                  <a:gd name="T115" fmla="*/ 959 h 1065"/>
                  <a:gd name="T116" fmla="*/ 255 w 676"/>
                  <a:gd name="T117" fmla="*/ 959 h 1065"/>
                  <a:gd name="T118" fmla="*/ 310 w 676"/>
                  <a:gd name="T119" fmla="*/ 997 h 1065"/>
                  <a:gd name="T120" fmla="*/ 277 w 676"/>
                  <a:gd name="T121" fmla="*/ 1025 h 1065"/>
                  <a:gd name="T122" fmla="*/ 206 w 676"/>
                  <a:gd name="T123" fmla="*/ 1065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6" h="1065">
                    <a:moveTo>
                      <a:pt x="352" y="0"/>
                    </a:moveTo>
                    <a:lnTo>
                      <a:pt x="345" y="0"/>
                    </a:lnTo>
                    <a:lnTo>
                      <a:pt x="352" y="0"/>
                    </a:lnTo>
                    <a:lnTo>
                      <a:pt x="352" y="0"/>
                    </a:lnTo>
                    <a:lnTo>
                      <a:pt x="352" y="0"/>
                    </a:lnTo>
                    <a:close/>
                    <a:moveTo>
                      <a:pt x="324" y="16"/>
                    </a:moveTo>
                    <a:lnTo>
                      <a:pt x="314" y="12"/>
                    </a:lnTo>
                    <a:lnTo>
                      <a:pt x="324" y="12"/>
                    </a:lnTo>
                    <a:lnTo>
                      <a:pt x="324" y="16"/>
                    </a:lnTo>
                    <a:lnTo>
                      <a:pt x="324" y="16"/>
                    </a:lnTo>
                    <a:lnTo>
                      <a:pt x="324" y="16"/>
                    </a:lnTo>
                    <a:close/>
                    <a:moveTo>
                      <a:pt x="345" y="54"/>
                    </a:moveTo>
                    <a:lnTo>
                      <a:pt x="345" y="38"/>
                    </a:lnTo>
                    <a:lnTo>
                      <a:pt x="352" y="38"/>
                    </a:lnTo>
                    <a:lnTo>
                      <a:pt x="345" y="54"/>
                    </a:lnTo>
                    <a:lnTo>
                      <a:pt x="345" y="54"/>
                    </a:lnTo>
                    <a:lnTo>
                      <a:pt x="345" y="54"/>
                    </a:lnTo>
                    <a:close/>
                    <a:moveTo>
                      <a:pt x="310" y="50"/>
                    </a:moveTo>
                    <a:lnTo>
                      <a:pt x="314" y="50"/>
                    </a:lnTo>
                    <a:lnTo>
                      <a:pt x="310" y="50"/>
                    </a:lnTo>
                    <a:lnTo>
                      <a:pt x="310" y="50"/>
                    </a:lnTo>
                    <a:lnTo>
                      <a:pt x="310" y="50"/>
                    </a:lnTo>
                    <a:close/>
                    <a:moveTo>
                      <a:pt x="433" y="437"/>
                    </a:moveTo>
                    <a:lnTo>
                      <a:pt x="449" y="420"/>
                    </a:lnTo>
                    <a:lnTo>
                      <a:pt x="437" y="404"/>
                    </a:lnTo>
                    <a:lnTo>
                      <a:pt x="449" y="404"/>
                    </a:lnTo>
                    <a:lnTo>
                      <a:pt x="454" y="416"/>
                    </a:lnTo>
                    <a:lnTo>
                      <a:pt x="492" y="427"/>
                    </a:lnTo>
                    <a:lnTo>
                      <a:pt x="459" y="427"/>
                    </a:lnTo>
                    <a:lnTo>
                      <a:pt x="459" y="437"/>
                    </a:lnTo>
                    <a:lnTo>
                      <a:pt x="487" y="470"/>
                    </a:lnTo>
                    <a:lnTo>
                      <a:pt x="475" y="470"/>
                    </a:lnTo>
                    <a:lnTo>
                      <a:pt x="475" y="477"/>
                    </a:lnTo>
                    <a:lnTo>
                      <a:pt x="487" y="470"/>
                    </a:lnTo>
                    <a:lnTo>
                      <a:pt x="503" y="482"/>
                    </a:lnTo>
                    <a:lnTo>
                      <a:pt x="508" y="477"/>
                    </a:lnTo>
                    <a:lnTo>
                      <a:pt x="503" y="515"/>
                    </a:lnTo>
                    <a:lnTo>
                      <a:pt x="492" y="515"/>
                    </a:lnTo>
                    <a:lnTo>
                      <a:pt x="487" y="498"/>
                    </a:lnTo>
                    <a:lnTo>
                      <a:pt x="487" y="494"/>
                    </a:lnTo>
                    <a:lnTo>
                      <a:pt x="492" y="494"/>
                    </a:lnTo>
                    <a:lnTo>
                      <a:pt x="503" y="482"/>
                    </a:lnTo>
                    <a:lnTo>
                      <a:pt x="487" y="482"/>
                    </a:lnTo>
                    <a:lnTo>
                      <a:pt x="475" y="494"/>
                    </a:lnTo>
                    <a:lnTo>
                      <a:pt x="454" y="477"/>
                    </a:lnTo>
                    <a:lnTo>
                      <a:pt x="449" y="482"/>
                    </a:lnTo>
                    <a:lnTo>
                      <a:pt x="437" y="453"/>
                    </a:lnTo>
                    <a:lnTo>
                      <a:pt x="416" y="437"/>
                    </a:lnTo>
                    <a:lnTo>
                      <a:pt x="416" y="427"/>
                    </a:lnTo>
                    <a:lnTo>
                      <a:pt x="395" y="416"/>
                    </a:lnTo>
                    <a:lnTo>
                      <a:pt x="395" y="427"/>
                    </a:lnTo>
                    <a:lnTo>
                      <a:pt x="407" y="470"/>
                    </a:lnTo>
                    <a:lnTo>
                      <a:pt x="400" y="470"/>
                    </a:lnTo>
                    <a:lnTo>
                      <a:pt x="383" y="444"/>
                    </a:lnTo>
                    <a:lnTo>
                      <a:pt x="340" y="416"/>
                    </a:lnTo>
                    <a:lnTo>
                      <a:pt x="314" y="420"/>
                    </a:lnTo>
                    <a:lnTo>
                      <a:pt x="310" y="437"/>
                    </a:lnTo>
                    <a:lnTo>
                      <a:pt x="293" y="437"/>
                    </a:lnTo>
                    <a:lnTo>
                      <a:pt x="277" y="416"/>
                    </a:lnTo>
                    <a:lnTo>
                      <a:pt x="260" y="416"/>
                    </a:lnTo>
                    <a:lnTo>
                      <a:pt x="260" y="427"/>
                    </a:lnTo>
                    <a:lnTo>
                      <a:pt x="255" y="387"/>
                    </a:lnTo>
                    <a:lnTo>
                      <a:pt x="286" y="371"/>
                    </a:lnTo>
                    <a:lnTo>
                      <a:pt x="286" y="366"/>
                    </a:lnTo>
                    <a:lnTo>
                      <a:pt x="277" y="349"/>
                    </a:lnTo>
                    <a:lnTo>
                      <a:pt x="255" y="349"/>
                    </a:lnTo>
                    <a:lnTo>
                      <a:pt x="255" y="371"/>
                    </a:lnTo>
                    <a:lnTo>
                      <a:pt x="244" y="383"/>
                    </a:lnTo>
                    <a:lnTo>
                      <a:pt x="234" y="361"/>
                    </a:lnTo>
                    <a:lnTo>
                      <a:pt x="239" y="349"/>
                    </a:lnTo>
                    <a:lnTo>
                      <a:pt x="222" y="349"/>
                    </a:lnTo>
                    <a:lnTo>
                      <a:pt x="218" y="316"/>
                    </a:lnTo>
                    <a:lnTo>
                      <a:pt x="206" y="305"/>
                    </a:lnTo>
                    <a:lnTo>
                      <a:pt x="206" y="272"/>
                    </a:lnTo>
                    <a:lnTo>
                      <a:pt x="206" y="260"/>
                    </a:lnTo>
                    <a:lnTo>
                      <a:pt x="201" y="272"/>
                    </a:lnTo>
                    <a:lnTo>
                      <a:pt x="201" y="250"/>
                    </a:lnTo>
                    <a:lnTo>
                      <a:pt x="206" y="234"/>
                    </a:lnTo>
                    <a:lnTo>
                      <a:pt x="222" y="260"/>
                    </a:lnTo>
                    <a:lnTo>
                      <a:pt x="244" y="250"/>
                    </a:lnTo>
                    <a:lnTo>
                      <a:pt x="239" y="217"/>
                    </a:lnTo>
                    <a:lnTo>
                      <a:pt x="244" y="194"/>
                    </a:lnTo>
                    <a:lnTo>
                      <a:pt x="244" y="161"/>
                    </a:lnTo>
                    <a:lnTo>
                      <a:pt x="239" y="144"/>
                    </a:lnTo>
                    <a:lnTo>
                      <a:pt x="260" y="73"/>
                    </a:lnTo>
                    <a:lnTo>
                      <a:pt x="293" y="66"/>
                    </a:lnTo>
                    <a:lnTo>
                      <a:pt x="352" y="94"/>
                    </a:lnTo>
                    <a:lnTo>
                      <a:pt x="362" y="90"/>
                    </a:lnTo>
                    <a:lnTo>
                      <a:pt x="369" y="73"/>
                    </a:lnTo>
                    <a:lnTo>
                      <a:pt x="378" y="90"/>
                    </a:lnTo>
                    <a:lnTo>
                      <a:pt x="378" y="94"/>
                    </a:lnTo>
                    <a:lnTo>
                      <a:pt x="369" y="106"/>
                    </a:lnTo>
                    <a:lnTo>
                      <a:pt x="362" y="127"/>
                    </a:lnTo>
                    <a:lnTo>
                      <a:pt x="369" y="161"/>
                    </a:lnTo>
                    <a:lnTo>
                      <a:pt x="383" y="165"/>
                    </a:lnTo>
                    <a:lnTo>
                      <a:pt x="383" y="177"/>
                    </a:lnTo>
                    <a:lnTo>
                      <a:pt x="395" y="177"/>
                    </a:lnTo>
                    <a:lnTo>
                      <a:pt x="383" y="198"/>
                    </a:lnTo>
                    <a:lnTo>
                      <a:pt x="369" y="234"/>
                    </a:lnTo>
                    <a:lnTo>
                      <a:pt x="369" y="250"/>
                    </a:lnTo>
                    <a:lnTo>
                      <a:pt x="362" y="255"/>
                    </a:lnTo>
                    <a:lnTo>
                      <a:pt x="352" y="260"/>
                    </a:lnTo>
                    <a:lnTo>
                      <a:pt x="362" y="250"/>
                    </a:lnTo>
                    <a:lnTo>
                      <a:pt x="324" y="272"/>
                    </a:lnTo>
                    <a:lnTo>
                      <a:pt x="331" y="288"/>
                    </a:lnTo>
                    <a:lnTo>
                      <a:pt x="310" y="309"/>
                    </a:lnTo>
                    <a:lnTo>
                      <a:pt x="331" y="361"/>
                    </a:lnTo>
                    <a:lnTo>
                      <a:pt x="331" y="366"/>
                    </a:lnTo>
                    <a:lnTo>
                      <a:pt x="340" y="399"/>
                    </a:lnTo>
                    <a:lnTo>
                      <a:pt x="369" y="416"/>
                    </a:lnTo>
                    <a:lnTo>
                      <a:pt x="378" y="404"/>
                    </a:lnTo>
                    <a:lnTo>
                      <a:pt x="369" y="399"/>
                    </a:lnTo>
                    <a:lnTo>
                      <a:pt x="369" y="387"/>
                    </a:lnTo>
                    <a:lnTo>
                      <a:pt x="378" y="404"/>
                    </a:lnTo>
                    <a:lnTo>
                      <a:pt x="383" y="383"/>
                    </a:lnTo>
                    <a:lnTo>
                      <a:pt x="407" y="387"/>
                    </a:lnTo>
                    <a:lnTo>
                      <a:pt x="433" y="416"/>
                    </a:lnTo>
                    <a:lnTo>
                      <a:pt x="433" y="437"/>
                    </a:lnTo>
                    <a:lnTo>
                      <a:pt x="433" y="437"/>
                    </a:lnTo>
                    <a:lnTo>
                      <a:pt x="433" y="437"/>
                    </a:lnTo>
                    <a:close/>
                    <a:moveTo>
                      <a:pt x="218" y="250"/>
                    </a:moveTo>
                    <a:lnTo>
                      <a:pt x="206" y="238"/>
                    </a:lnTo>
                    <a:lnTo>
                      <a:pt x="218" y="238"/>
                    </a:lnTo>
                    <a:lnTo>
                      <a:pt x="218" y="250"/>
                    </a:lnTo>
                    <a:lnTo>
                      <a:pt x="218" y="250"/>
                    </a:lnTo>
                    <a:lnTo>
                      <a:pt x="218" y="250"/>
                    </a:lnTo>
                    <a:close/>
                    <a:moveTo>
                      <a:pt x="352" y="366"/>
                    </a:moveTo>
                    <a:lnTo>
                      <a:pt x="340" y="342"/>
                    </a:lnTo>
                    <a:lnTo>
                      <a:pt x="352" y="333"/>
                    </a:lnTo>
                    <a:lnTo>
                      <a:pt x="362" y="342"/>
                    </a:lnTo>
                    <a:lnTo>
                      <a:pt x="352" y="342"/>
                    </a:lnTo>
                    <a:lnTo>
                      <a:pt x="352" y="361"/>
                    </a:lnTo>
                    <a:lnTo>
                      <a:pt x="352" y="366"/>
                    </a:lnTo>
                    <a:lnTo>
                      <a:pt x="352" y="366"/>
                    </a:lnTo>
                    <a:lnTo>
                      <a:pt x="352" y="366"/>
                    </a:lnTo>
                    <a:close/>
                    <a:moveTo>
                      <a:pt x="369" y="361"/>
                    </a:moveTo>
                    <a:lnTo>
                      <a:pt x="362" y="349"/>
                    </a:lnTo>
                    <a:lnTo>
                      <a:pt x="369" y="349"/>
                    </a:lnTo>
                    <a:lnTo>
                      <a:pt x="369" y="361"/>
                    </a:lnTo>
                    <a:lnTo>
                      <a:pt x="369" y="361"/>
                    </a:lnTo>
                    <a:lnTo>
                      <a:pt x="369" y="361"/>
                    </a:lnTo>
                    <a:close/>
                    <a:moveTo>
                      <a:pt x="508" y="444"/>
                    </a:moveTo>
                    <a:lnTo>
                      <a:pt x="503" y="437"/>
                    </a:lnTo>
                    <a:lnTo>
                      <a:pt x="503" y="420"/>
                    </a:lnTo>
                    <a:lnTo>
                      <a:pt x="503" y="404"/>
                    </a:lnTo>
                    <a:lnTo>
                      <a:pt x="508" y="404"/>
                    </a:lnTo>
                    <a:lnTo>
                      <a:pt x="525" y="420"/>
                    </a:lnTo>
                    <a:lnTo>
                      <a:pt x="513" y="444"/>
                    </a:lnTo>
                    <a:lnTo>
                      <a:pt x="513" y="437"/>
                    </a:lnTo>
                    <a:lnTo>
                      <a:pt x="508" y="444"/>
                    </a:lnTo>
                    <a:lnTo>
                      <a:pt x="508" y="444"/>
                    </a:lnTo>
                    <a:lnTo>
                      <a:pt x="508" y="444"/>
                    </a:lnTo>
                    <a:close/>
                    <a:moveTo>
                      <a:pt x="234" y="437"/>
                    </a:moveTo>
                    <a:lnTo>
                      <a:pt x="222" y="420"/>
                    </a:lnTo>
                    <a:lnTo>
                      <a:pt x="234" y="420"/>
                    </a:lnTo>
                    <a:lnTo>
                      <a:pt x="234" y="437"/>
                    </a:lnTo>
                    <a:lnTo>
                      <a:pt x="234" y="437"/>
                    </a:lnTo>
                    <a:lnTo>
                      <a:pt x="234" y="437"/>
                    </a:lnTo>
                    <a:close/>
                    <a:moveTo>
                      <a:pt x="352" y="470"/>
                    </a:moveTo>
                    <a:lnTo>
                      <a:pt x="345" y="461"/>
                    </a:lnTo>
                    <a:lnTo>
                      <a:pt x="345" y="444"/>
                    </a:lnTo>
                    <a:lnTo>
                      <a:pt x="362" y="453"/>
                    </a:lnTo>
                    <a:lnTo>
                      <a:pt x="352" y="470"/>
                    </a:lnTo>
                    <a:lnTo>
                      <a:pt x="352" y="470"/>
                    </a:lnTo>
                    <a:lnTo>
                      <a:pt x="352" y="470"/>
                    </a:lnTo>
                    <a:close/>
                    <a:moveTo>
                      <a:pt x="314" y="531"/>
                    </a:moveTo>
                    <a:lnTo>
                      <a:pt x="293" y="538"/>
                    </a:lnTo>
                    <a:lnTo>
                      <a:pt x="272" y="498"/>
                    </a:lnTo>
                    <a:lnTo>
                      <a:pt x="260" y="477"/>
                    </a:lnTo>
                    <a:lnTo>
                      <a:pt x="239" y="444"/>
                    </a:lnTo>
                    <a:lnTo>
                      <a:pt x="286" y="444"/>
                    </a:lnTo>
                    <a:lnTo>
                      <a:pt x="324" y="470"/>
                    </a:lnTo>
                    <a:lnTo>
                      <a:pt x="314" y="498"/>
                    </a:lnTo>
                    <a:lnTo>
                      <a:pt x="324" y="510"/>
                    </a:lnTo>
                    <a:lnTo>
                      <a:pt x="314" y="527"/>
                    </a:lnTo>
                    <a:lnTo>
                      <a:pt x="314" y="531"/>
                    </a:lnTo>
                    <a:lnTo>
                      <a:pt x="314" y="531"/>
                    </a:lnTo>
                    <a:lnTo>
                      <a:pt x="314" y="531"/>
                    </a:lnTo>
                    <a:close/>
                    <a:moveTo>
                      <a:pt x="487" y="470"/>
                    </a:moveTo>
                    <a:lnTo>
                      <a:pt x="487" y="453"/>
                    </a:lnTo>
                    <a:lnTo>
                      <a:pt x="492" y="461"/>
                    </a:lnTo>
                    <a:lnTo>
                      <a:pt x="487" y="470"/>
                    </a:lnTo>
                    <a:lnTo>
                      <a:pt x="487" y="470"/>
                    </a:lnTo>
                    <a:lnTo>
                      <a:pt x="487" y="470"/>
                    </a:lnTo>
                    <a:close/>
                    <a:moveTo>
                      <a:pt x="492" y="470"/>
                    </a:moveTo>
                    <a:lnTo>
                      <a:pt x="492" y="461"/>
                    </a:lnTo>
                    <a:lnTo>
                      <a:pt x="503" y="461"/>
                    </a:lnTo>
                    <a:lnTo>
                      <a:pt x="492" y="470"/>
                    </a:lnTo>
                    <a:lnTo>
                      <a:pt x="492" y="470"/>
                    </a:lnTo>
                    <a:lnTo>
                      <a:pt x="492" y="470"/>
                    </a:lnTo>
                    <a:close/>
                    <a:moveTo>
                      <a:pt x="454" y="510"/>
                    </a:moveTo>
                    <a:lnTo>
                      <a:pt x="421" y="477"/>
                    </a:lnTo>
                    <a:lnTo>
                      <a:pt x="433" y="477"/>
                    </a:lnTo>
                    <a:lnTo>
                      <a:pt x="454" y="510"/>
                    </a:lnTo>
                    <a:lnTo>
                      <a:pt x="454" y="510"/>
                    </a:lnTo>
                    <a:lnTo>
                      <a:pt x="454" y="510"/>
                    </a:lnTo>
                    <a:close/>
                    <a:moveTo>
                      <a:pt x="352" y="548"/>
                    </a:moveTo>
                    <a:lnTo>
                      <a:pt x="345" y="531"/>
                    </a:lnTo>
                    <a:lnTo>
                      <a:pt x="352" y="515"/>
                    </a:lnTo>
                    <a:lnTo>
                      <a:pt x="362" y="510"/>
                    </a:lnTo>
                    <a:lnTo>
                      <a:pt x="352" y="548"/>
                    </a:lnTo>
                    <a:lnTo>
                      <a:pt x="352" y="548"/>
                    </a:lnTo>
                    <a:lnTo>
                      <a:pt x="352" y="548"/>
                    </a:lnTo>
                    <a:close/>
                    <a:moveTo>
                      <a:pt x="475" y="531"/>
                    </a:moveTo>
                    <a:lnTo>
                      <a:pt x="470" y="510"/>
                    </a:lnTo>
                    <a:lnTo>
                      <a:pt x="475" y="510"/>
                    </a:lnTo>
                    <a:lnTo>
                      <a:pt x="475" y="531"/>
                    </a:lnTo>
                    <a:lnTo>
                      <a:pt x="475" y="531"/>
                    </a:lnTo>
                    <a:lnTo>
                      <a:pt x="475" y="531"/>
                    </a:lnTo>
                    <a:close/>
                    <a:moveTo>
                      <a:pt x="503" y="581"/>
                    </a:moveTo>
                    <a:lnTo>
                      <a:pt x="459" y="538"/>
                    </a:lnTo>
                    <a:lnTo>
                      <a:pt x="437" y="564"/>
                    </a:lnTo>
                    <a:lnTo>
                      <a:pt x="449" y="538"/>
                    </a:lnTo>
                    <a:lnTo>
                      <a:pt x="437" y="510"/>
                    </a:lnTo>
                    <a:lnTo>
                      <a:pt x="492" y="538"/>
                    </a:lnTo>
                    <a:lnTo>
                      <a:pt x="503" y="555"/>
                    </a:lnTo>
                    <a:lnTo>
                      <a:pt x="503" y="581"/>
                    </a:lnTo>
                    <a:lnTo>
                      <a:pt x="503" y="581"/>
                    </a:lnTo>
                    <a:lnTo>
                      <a:pt x="503" y="581"/>
                    </a:lnTo>
                    <a:close/>
                    <a:moveTo>
                      <a:pt x="617" y="626"/>
                    </a:moveTo>
                    <a:lnTo>
                      <a:pt x="610" y="621"/>
                    </a:lnTo>
                    <a:lnTo>
                      <a:pt x="584" y="621"/>
                    </a:lnTo>
                    <a:lnTo>
                      <a:pt x="563" y="593"/>
                    </a:lnTo>
                    <a:lnTo>
                      <a:pt x="555" y="593"/>
                    </a:lnTo>
                    <a:lnTo>
                      <a:pt x="567" y="572"/>
                    </a:lnTo>
                    <a:lnTo>
                      <a:pt x="525" y="538"/>
                    </a:lnTo>
                    <a:lnTo>
                      <a:pt x="513" y="515"/>
                    </a:lnTo>
                    <a:lnTo>
                      <a:pt x="541" y="515"/>
                    </a:lnTo>
                    <a:lnTo>
                      <a:pt x="579" y="515"/>
                    </a:lnTo>
                    <a:lnTo>
                      <a:pt x="584" y="527"/>
                    </a:lnTo>
                    <a:lnTo>
                      <a:pt x="584" y="531"/>
                    </a:lnTo>
                    <a:lnTo>
                      <a:pt x="600" y="538"/>
                    </a:lnTo>
                    <a:lnTo>
                      <a:pt x="593" y="548"/>
                    </a:lnTo>
                    <a:lnTo>
                      <a:pt x="600" y="548"/>
                    </a:lnTo>
                    <a:lnTo>
                      <a:pt x="593" y="555"/>
                    </a:lnTo>
                    <a:lnTo>
                      <a:pt x="593" y="588"/>
                    </a:lnTo>
                    <a:lnTo>
                      <a:pt x="610" y="605"/>
                    </a:lnTo>
                    <a:lnTo>
                      <a:pt x="600" y="609"/>
                    </a:lnTo>
                    <a:lnTo>
                      <a:pt x="610" y="609"/>
                    </a:lnTo>
                    <a:lnTo>
                      <a:pt x="617" y="626"/>
                    </a:lnTo>
                    <a:lnTo>
                      <a:pt x="617" y="626"/>
                    </a:lnTo>
                    <a:lnTo>
                      <a:pt x="617" y="626"/>
                    </a:lnTo>
                    <a:close/>
                    <a:moveTo>
                      <a:pt x="400" y="538"/>
                    </a:moveTo>
                    <a:lnTo>
                      <a:pt x="383" y="527"/>
                    </a:lnTo>
                    <a:lnTo>
                      <a:pt x="400" y="527"/>
                    </a:lnTo>
                    <a:lnTo>
                      <a:pt x="400" y="538"/>
                    </a:lnTo>
                    <a:lnTo>
                      <a:pt x="400" y="538"/>
                    </a:lnTo>
                    <a:lnTo>
                      <a:pt x="400" y="538"/>
                    </a:lnTo>
                    <a:close/>
                    <a:moveTo>
                      <a:pt x="234" y="555"/>
                    </a:moveTo>
                    <a:lnTo>
                      <a:pt x="218" y="555"/>
                    </a:lnTo>
                    <a:lnTo>
                      <a:pt x="206" y="531"/>
                    </a:lnTo>
                    <a:lnTo>
                      <a:pt x="239" y="548"/>
                    </a:lnTo>
                    <a:lnTo>
                      <a:pt x="239" y="555"/>
                    </a:lnTo>
                    <a:lnTo>
                      <a:pt x="234" y="555"/>
                    </a:lnTo>
                    <a:lnTo>
                      <a:pt x="234" y="555"/>
                    </a:lnTo>
                    <a:lnTo>
                      <a:pt x="234" y="555"/>
                    </a:lnTo>
                    <a:close/>
                    <a:moveTo>
                      <a:pt x="293" y="538"/>
                    </a:moveTo>
                    <a:lnTo>
                      <a:pt x="293" y="548"/>
                    </a:lnTo>
                    <a:lnTo>
                      <a:pt x="286" y="538"/>
                    </a:lnTo>
                    <a:lnTo>
                      <a:pt x="293" y="538"/>
                    </a:lnTo>
                    <a:lnTo>
                      <a:pt x="293" y="538"/>
                    </a:lnTo>
                    <a:lnTo>
                      <a:pt x="293" y="538"/>
                    </a:lnTo>
                    <a:close/>
                    <a:moveTo>
                      <a:pt x="206" y="581"/>
                    </a:moveTo>
                    <a:lnTo>
                      <a:pt x="206" y="555"/>
                    </a:lnTo>
                    <a:lnTo>
                      <a:pt x="222" y="564"/>
                    </a:lnTo>
                    <a:lnTo>
                      <a:pt x="206" y="581"/>
                    </a:lnTo>
                    <a:lnTo>
                      <a:pt x="206" y="581"/>
                    </a:lnTo>
                    <a:lnTo>
                      <a:pt x="206" y="581"/>
                    </a:lnTo>
                    <a:close/>
                    <a:moveTo>
                      <a:pt x="433" y="609"/>
                    </a:moveTo>
                    <a:lnTo>
                      <a:pt x="433" y="621"/>
                    </a:lnTo>
                    <a:lnTo>
                      <a:pt x="407" y="638"/>
                    </a:lnTo>
                    <a:lnTo>
                      <a:pt x="407" y="642"/>
                    </a:lnTo>
                    <a:lnTo>
                      <a:pt x="369" y="659"/>
                    </a:lnTo>
                    <a:lnTo>
                      <a:pt x="352" y="675"/>
                    </a:lnTo>
                    <a:lnTo>
                      <a:pt x="345" y="666"/>
                    </a:lnTo>
                    <a:lnTo>
                      <a:pt x="362" y="581"/>
                    </a:lnTo>
                    <a:lnTo>
                      <a:pt x="362" y="572"/>
                    </a:lnTo>
                    <a:lnTo>
                      <a:pt x="345" y="572"/>
                    </a:lnTo>
                    <a:lnTo>
                      <a:pt x="345" y="564"/>
                    </a:lnTo>
                    <a:lnTo>
                      <a:pt x="369" y="572"/>
                    </a:lnTo>
                    <a:lnTo>
                      <a:pt x="395" y="588"/>
                    </a:lnTo>
                    <a:lnTo>
                      <a:pt x="416" y="588"/>
                    </a:lnTo>
                    <a:lnTo>
                      <a:pt x="416" y="593"/>
                    </a:lnTo>
                    <a:lnTo>
                      <a:pt x="437" y="588"/>
                    </a:lnTo>
                    <a:lnTo>
                      <a:pt x="433" y="609"/>
                    </a:lnTo>
                    <a:lnTo>
                      <a:pt x="433" y="609"/>
                    </a:lnTo>
                    <a:lnTo>
                      <a:pt x="433" y="609"/>
                    </a:lnTo>
                    <a:close/>
                    <a:moveTo>
                      <a:pt x="529" y="593"/>
                    </a:moveTo>
                    <a:lnTo>
                      <a:pt x="513" y="581"/>
                    </a:lnTo>
                    <a:lnTo>
                      <a:pt x="529" y="581"/>
                    </a:lnTo>
                    <a:lnTo>
                      <a:pt x="541" y="588"/>
                    </a:lnTo>
                    <a:lnTo>
                      <a:pt x="529" y="593"/>
                    </a:lnTo>
                    <a:lnTo>
                      <a:pt x="529" y="593"/>
                    </a:lnTo>
                    <a:lnTo>
                      <a:pt x="529" y="593"/>
                    </a:lnTo>
                    <a:close/>
                    <a:moveTo>
                      <a:pt x="546" y="659"/>
                    </a:moveTo>
                    <a:lnTo>
                      <a:pt x="555" y="649"/>
                    </a:lnTo>
                    <a:lnTo>
                      <a:pt x="541" y="638"/>
                    </a:lnTo>
                    <a:lnTo>
                      <a:pt x="529" y="626"/>
                    </a:lnTo>
                    <a:lnTo>
                      <a:pt x="529" y="638"/>
                    </a:lnTo>
                    <a:lnTo>
                      <a:pt x="525" y="638"/>
                    </a:lnTo>
                    <a:lnTo>
                      <a:pt x="513" y="588"/>
                    </a:lnTo>
                    <a:lnTo>
                      <a:pt x="541" y="605"/>
                    </a:lnTo>
                    <a:lnTo>
                      <a:pt x="555" y="593"/>
                    </a:lnTo>
                    <a:lnTo>
                      <a:pt x="563" y="605"/>
                    </a:lnTo>
                    <a:lnTo>
                      <a:pt x="563" y="649"/>
                    </a:lnTo>
                    <a:lnTo>
                      <a:pt x="584" y="683"/>
                    </a:lnTo>
                    <a:lnTo>
                      <a:pt x="567" y="692"/>
                    </a:lnTo>
                    <a:lnTo>
                      <a:pt x="563" y="675"/>
                    </a:lnTo>
                    <a:lnTo>
                      <a:pt x="567" y="699"/>
                    </a:lnTo>
                    <a:lnTo>
                      <a:pt x="546" y="692"/>
                    </a:lnTo>
                    <a:lnTo>
                      <a:pt x="546" y="659"/>
                    </a:lnTo>
                    <a:lnTo>
                      <a:pt x="546" y="659"/>
                    </a:lnTo>
                    <a:lnTo>
                      <a:pt x="546" y="659"/>
                    </a:lnTo>
                    <a:close/>
                    <a:moveTo>
                      <a:pt x="201" y="605"/>
                    </a:moveTo>
                    <a:lnTo>
                      <a:pt x="189" y="593"/>
                    </a:lnTo>
                    <a:lnTo>
                      <a:pt x="206" y="593"/>
                    </a:lnTo>
                    <a:lnTo>
                      <a:pt x="201" y="605"/>
                    </a:lnTo>
                    <a:lnTo>
                      <a:pt x="201" y="605"/>
                    </a:lnTo>
                    <a:lnTo>
                      <a:pt x="201" y="605"/>
                    </a:lnTo>
                    <a:close/>
                    <a:moveTo>
                      <a:pt x="189" y="666"/>
                    </a:moveTo>
                    <a:lnTo>
                      <a:pt x="168" y="683"/>
                    </a:lnTo>
                    <a:lnTo>
                      <a:pt x="163" y="699"/>
                    </a:lnTo>
                    <a:lnTo>
                      <a:pt x="130" y="704"/>
                    </a:lnTo>
                    <a:lnTo>
                      <a:pt x="126" y="720"/>
                    </a:lnTo>
                    <a:lnTo>
                      <a:pt x="130" y="732"/>
                    </a:lnTo>
                    <a:lnTo>
                      <a:pt x="100" y="758"/>
                    </a:lnTo>
                    <a:lnTo>
                      <a:pt x="83" y="758"/>
                    </a:lnTo>
                    <a:lnTo>
                      <a:pt x="76" y="786"/>
                    </a:lnTo>
                    <a:lnTo>
                      <a:pt x="17" y="827"/>
                    </a:lnTo>
                    <a:lnTo>
                      <a:pt x="24" y="803"/>
                    </a:lnTo>
                    <a:lnTo>
                      <a:pt x="55" y="770"/>
                    </a:lnTo>
                    <a:lnTo>
                      <a:pt x="71" y="753"/>
                    </a:lnTo>
                    <a:lnTo>
                      <a:pt x="76" y="753"/>
                    </a:lnTo>
                    <a:lnTo>
                      <a:pt x="130" y="692"/>
                    </a:lnTo>
                    <a:lnTo>
                      <a:pt x="130" y="699"/>
                    </a:lnTo>
                    <a:lnTo>
                      <a:pt x="130" y="692"/>
                    </a:lnTo>
                    <a:lnTo>
                      <a:pt x="137" y="692"/>
                    </a:lnTo>
                    <a:lnTo>
                      <a:pt x="147" y="666"/>
                    </a:lnTo>
                    <a:lnTo>
                      <a:pt x="151" y="675"/>
                    </a:lnTo>
                    <a:lnTo>
                      <a:pt x="168" y="659"/>
                    </a:lnTo>
                    <a:lnTo>
                      <a:pt x="168" y="649"/>
                    </a:lnTo>
                    <a:lnTo>
                      <a:pt x="163" y="638"/>
                    </a:lnTo>
                    <a:lnTo>
                      <a:pt x="180" y="649"/>
                    </a:lnTo>
                    <a:lnTo>
                      <a:pt x="168" y="626"/>
                    </a:lnTo>
                    <a:lnTo>
                      <a:pt x="168" y="621"/>
                    </a:lnTo>
                    <a:lnTo>
                      <a:pt x="180" y="626"/>
                    </a:lnTo>
                    <a:lnTo>
                      <a:pt x="180" y="593"/>
                    </a:lnTo>
                    <a:lnTo>
                      <a:pt x="185" y="609"/>
                    </a:lnTo>
                    <a:lnTo>
                      <a:pt x="180" y="638"/>
                    </a:lnTo>
                    <a:lnTo>
                      <a:pt x="185" y="642"/>
                    </a:lnTo>
                    <a:lnTo>
                      <a:pt x="189" y="666"/>
                    </a:lnTo>
                    <a:lnTo>
                      <a:pt x="189" y="666"/>
                    </a:lnTo>
                    <a:lnTo>
                      <a:pt x="189" y="666"/>
                    </a:lnTo>
                    <a:close/>
                    <a:moveTo>
                      <a:pt x="475" y="621"/>
                    </a:moveTo>
                    <a:lnTo>
                      <a:pt x="475" y="605"/>
                    </a:lnTo>
                    <a:lnTo>
                      <a:pt x="475" y="621"/>
                    </a:lnTo>
                    <a:lnTo>
                      <a:pt x="475" y="621"/>
                    </a:lnTo>
                    <a:lnTo>
                      <a:pt x="475" y="621"/>
                    </a:lnTo>
                    <a:close/>
                    <a:moveTo>
                      <a:pt x="454" y="699"/>
                    </a:moveTo>
                    <a:lnTo>
                      <a:pt x="475" y="666"/>
                    </a:lnTo>
                    <a:lnTo>
                      <a:pt x="492" y="621"/>
                    </a:lnTo>
                    <a:lnTo>
                      <a:pt x="503" y="609"/>
                    </a:lnTo>
                    <a:lnTo>
                      <a:pt x="503" y="675"/>
                    </a:lnTo>
                    <a:lnTo>
                      <a:pt x="470" y="699"/>
                    </a:lnTo>
                    <a:lnTo>
                      <a:pt x="459" y="732"/>
                    </a:lnTo>
                    <a:lnTo>
                      <a:pt x="449" y="749"/>
                    </a:lnTo>
                    <a:lnTo>
                      <a:pt x="454" y="699"/>
                    </a:lnTo>
                    <a:lnTo>
                      <a:pt x="454" y="699"/>
                    </a:lnTo>
                    <a:lnTo>
                      <a:pt x="454" y="699"/>
                    </a:lnTo>
                    <a:close/>
                    <a:moveTo>
                      <a:pt x="449" y="675"/>
                    </a:moveTo>
                    <a:lnTo>
                      <a:pt x="433" y="732"/>
                    </a:lnTo>
                    <a:lnTo>
                      <a:pt x="449" y="753"/>
                    </a:lnTo>
                    <a:lnTo>
                      <a:pt x="437" y="770"/>
                    </a:lnTo>
                    <a:lnTo>
                      <a:pt x="421" y="770"/>
                    </a:lnTo>
                    <a:lnTo>
                      <a:pt x="416" y="753"/>
                    </a:lnTo>
                    <a:lnTo>
                      <a:pt x="395" y="737"/>
                    </a:lnTo>
                    <a:lnTo>
                      <a:pt x="383" y="716"/>
                    </a:lnTo>
                    <a:lnTo>
                      <a:pt x="383" y="704"/>
                    </a:lnTo>
                    <a:lnTo>
                      <a:pt x="400" y="704"/>
                    </a:lnTo>
                    <a:lnTo>
                      <a:pt x="416" y="699"/>
                    </a:lnTo>
                    <a:lnTo>
                      <a:pt x="416" y="659"/>
                    </a:lnTo>
                    <a:lnTo>
                      <a:pt x="421" y="649"/>
                    </a:lnTo>
                    <a:lnTo>
                      <a:pt x="421" y="638"/>
                    </a:lnTo>
                    <a:lnTo>
                      <a:pt x="437" y="626"/>
                    </a:lnTo>
                    <a:lnTo>
                      <a:pt x="459" y="638"/>
                    </a:lnTo>
                    <a:lnTo>
                      <a:pt x="459" y="642"/>
                    </a:lnTo>
                    <a:lnTo>
                      <a:pt x="449" y="675"/>
                    </a:lnTo>
                    <a:lnTo>
                      <a:pt x="449" y="675"/>
                    </a:lnTo>
                    <a:lnTo>
                      <a:pt x="449" y="675"/>
                    </a:lnTo>
                    <a:close/>
                    <a:moveTo>
                      <a:pt x="617" y="649"/>
                    </a:moveTo>
                    <a:lnTo>
                      <a:pt x="610" y="642"/>
                    </a:lnTo>
                    <a:lnTo>
                      <a:pt x="617" y="642"/>
                    </a:lnTo>
                    <a:lnTo>
                      <a:pt x="622" y="649"/>
                    </a:lnTo>
                    <a:lnTo>
                      <a:pt x="617" y="649"/>
                    </a:lnTo>
                    <a:lnTo>
                      <a:pt x="617" y="649"/>
                    </a:lnTo>
                    <a:lnTo>
                      <a:pt x="617" y="649"/>
                    </a:lnTo>
                    <a:close/>
                    <a:moveTo>
                      <a:pt x="395" y="675"/>
                    </a:moveTo>
                    <a:lnTo>
                      <a:pt x="383" y="666"/>
                    </a:lnTo>
                    <a:lnTo>
                      <a:pt x="400" y="649"/>
                    </a:lnTo>
                    <a:lnTo>
                      <a:pt x="407" y="659"/>
                    </a:lnTo>
                    <a:lnTo>
                      <a:pt x="395" y="675"/>
                    </a:lnTo>
                    <a:lnTo>
                      <a:pt x="395" y="675"/>
                    </a:lnTo>
                    <a:lnTo>
                      <a:pt x="395" y="675"/>
                    </a:lnTo>
                    <a:close/>
                    <a:moveTo>
                      <a:pt x="525" y="659"/>
                    </a:moveTo>
                    <a:lnTo>
                      <a:pt x="525" y="649"/>
                    </a:lnTo>
                    <a:lnTo>
                      <a:pt x="529" y="649"/>
                    </a:lnTo>
                    <a:lnTo>
                      <a:pt x="525" y="659"/>
                    </a:lnTo>
                    <a:lnTo>
                      <a:pt x="525" y="659"/>
                    </a:lnTo>
                    <a:lnTo>
                      <a:pt x="525" y="659"/>
                    </a:lnTo>
                    <a:close/>
                    <a:moveTo>
                      <a:pt x="513" y="659"/>
                    </a:moveTo>
                    <a:lnTo>
                      <a:pt x="513" y="649"/>
                    </a:lnTo>
                    <a:lnTo>
                      <a:pt x="525" y="659"/>
                    </a:lnTo>
                    <a:lnTo>
                      <a:pt x="513" y="659"/>
                    </a:lnTo>
                    <a:lnTo>
                      <a:pt x="513" y="659"/>
                    </a:lnTo>
                    <a:lnTo>
                      <a:pt x="513" y="659"/>
                    </a:lnTo>
                    <a:close/>
                    <a:moveTo>
                      <a:pt x="201" y="666"/>
                    </a:moveTo>
                    <a:lnTo>
                      <a:pt x="201" y="659"/>
                    </a:lnTo>
                    <a:lnTo>
                      <a:pt x="218" y="659"/>
                    </a:lnTo>
                    <a:lnTo>
                      <a:pt x="201" y="666"/>
                    </a:lnTo>
                    <a:lnTo>
                      <a:pt x="201" y="666"/>
                    </a:lnTo>
                    <a:lnTo>
                      <a:pt x="201" y="666"/>
                    </a:lnTo>
                    <a:close/>
                    <a:moveTo>
                      <a:pt x="610" y="716"/>
                    </a:moveTo>
                    <a:lnTo>
                      <a:pt x="610" y="704"/>
                    </a:lnTo>
                    <a:lnTo>
                      <a:pt x="600" y="692"/>
                    </a:lnTo>
                    <a:lnTo>
                      <a:pt x="610" y="666"/>
                    </a:lnTo>
                    <a:lnTo>
                      <a:pt x="617" y="704"/>
                    </a:lnTo>
                    <a:lnTo>
                      <a:pt x="610" y="716"/>
                    </a:lnTo>
                    <a:lnTo>
                      <a:pt x="610" y="716"/>
                    </a:lnTo>
                    <a:lnTo>
                      <a:pt x="610" y="716"/>
                    </a:lnTo>
                    <a:close/>
                    <a:moveTo>
                      <a:pt x="529" y="699"/>
                    </a:moveTo>
                    <a:lnTo>
                      <a:pt x="529" y="716"/>
                    </a:lnTo>
                    <a:lnTo>
                      <a:pt x="541" y="720"/>
                    </a:lnTo>
                    <a:lnTo>
                      <a:pt x="525" y="732"/>
                    </a:lnTo>
                    <a:lnTo>
                      <a:pt x="492" y="732"/>
                    </a:lnTo>
                    <a:lnTo>
                      <a:pt x="475" y="720"/>
                    </a:lnTo>
                    <a:lnTo>
                      <a:pt x="475" y="716"/>
                    </a:lnTo>
                    <a:lnTo>
                      <a:pt x="508" y="692"/>
                    </a:lnTo>
                    <a:lnTo>
                      <a:pt x="529" y="699"/>
                    </a:lnTo>
                    <a:lnTo>
                      <a:pt x="529" y="699"/>
                    </a:lnTo>
                    <a:lnTo>
                      <a:pt x="529" y="699"/>
                    </a:lnTo>
                    <a:close/>
                    <a:moveTo>
                      <a:pt x="584" y="704"/>
                    </a:moveTo>
                    <a:lnTo>
                      <a:pt x="579" y="692"/>
                    </a:lnTo>
                    <a:lnTo>
                      <a:pt x="584" y="704"/>
                    </a:lnTo>
                    <a:lnTo>
                      <a:pt x="584" y="704"/>
                    </a:lnTo>
                    <a:lnTo>
                      <a:pt x="584" y="704"/>
                    </a:lnTo>
                    <a:close/>
                    <a:moveTo>
                      <a:pt x="638" y="720"/>
                    </a:moveTo>
                    <a:lnTo>
                      <a:pt x="631" y="716"/>
                    </a:lnTo>
                    <a:lnTo>
                      <a:pt x="638" y="699"/>
                    </a:lnTo>
                    <a:lnTo>
                      <a:pt x="648" y="716"/>
                    </a:lnTo>
                    <a:lnTo>
                      <a:pt x="638" y="720"/>
                    </a:lnTo>
                    <a:lnTo>
                      <a:pt x="638" y="720"/>
                    </a:lnTo>
                    <a:lnTo>
                      <a:pt x="638" y="720"/>
                    </a:lnTo>
                    <a:close/>
                    <a:moveTo>
                      <a:pt x="454" y="898"/>
                    </a:moveTo>
                    <a:lnTo>
                      <a:pt x="449" y="881"/>
                    </a:lnTo>
                    <a:lnTo>
                      <a:pt x="437" y="886"/>
                    </a:lnTo>
                    <a:lnTo>
                      <a:pt x="433" y="881"/>
                    </a:lnTo>
                    <a:lnTo>
                      <a:pt x="437" y="881"/>
                    </a:lnTo>
                    <a:lnTo>
                      <a:pt x="433" y="864"/>
                    </a:lnTo>
                    <a:lnTo>
                      <a:pt x="421" y="886"/>
                    </a:lnTo>
                    <a:lnTo>
                      <a:pt x="407" y="886"/>
                    </a:lnTo>
                    <a:lnTo>
                      <a:pt x="416" y="864"/>
                    </a:lnTo>
                    <a:lnTo>
                      <a:pt x="400" y="864"/>
                    </a:lnTo>
                    <a:lnTo>
                      <a:pt x="378" y="886"/>
                    </a:lnTo>
                    <a:lnTo>
                      <a:pt x="383" y="886"/>
                    </a:lnTo>
                    <a:lnTo>
                      <a:pt x="378" y="898"/>
                    </a:lnTo>
                    <a:lnTo>
                      <a:pt x="362" y="926"/>
                    </a:lnTo>
                    <a:lnTo>
                      <a:pt x="352" y="921"/>
                    </a:lnTo>
                    <a:lnTo>
                      <a:pt x="345" y="914"/>
                    </a:lnTo>
                    <a:lnTo>
                      <a:pt x="369" y="848"/>
                    </a:lnTo>
                    <a:lnTo>
                      <a:pt x="421" y="831"/>
                    </a:lnTo>
                    <a:lnTo>
                      <a:pt x="421" y="810"/>
                    </a:lnTo>
                    <a:lnTo>
                      <a:pt x="449" y="810"/>
                    </a:lnTo>
                    <a:lnTo>
                      <a:pt x="454" y="794"/>
                    </a:lnTo>
                    <a:lnTo>
                      <a:pt x="475" y="803"/>
                    </a:lnTo>
                    <a:lnTo>
                      <a:pt x="487" y="810"/>
                    </a:lnTo>
                    <a:lnTo>
                      <a:pt x="487" y="831"/>
                    </a:lnTo>
                    <a:lnTo>
                      <a:pt x="470" y="848"/>
                    </a:lnTo>
                    <a:lnTo>
                      <a:pt x="492" y="831"/>
                    </a:lnTo>
                    <a:lnTo>
                      <a:pt x="508" y="831"/>
                    </a:lnTo>
                    <a:lnTo>
                      <a:pt x="513" y="815"/>
                    </a:lnTo>
                    <a:lnTo>
                      <a:pt x="525" y="803"/>
                    </a:lnTo>
                    <a:lnTo>
                      <a:pt x="546" y="810"/>
                    </a:lnTo>
                    <a:lnTo>
                      <a:pt x="555" y="777"/>
                    </a:lnTo>
                    <a:lnTo>
                      <a:pt x="567" y="786"/>
                    </a:lnTo>
                    <a:lnTo>
                      <a:pt x="584" y="777"/>
                    </a:lnTo>
                    <a:lnTo>
                      <a:pt x="600" y="777"/>
                    </a:lnTo>
                    <a:lnTo>
                      <a:pt x="593" y="732"/>
                    </a:lnTo>
                    <a:lnTo>
                      <a:pt x="593" y="716"/>
                    </a:lnTo>
                    <a:lnTo>
                      <a:pt x="610" y="732"/>
                    </a:lnTo>
                    <a:lnTo>
                      <a:pt x="631" y="737"/>
                    </a:lnTo>
                    <a:lnTo>
                      <a:pt x="638" y="753"/>
                    </a:lnTo>
                    <a:lnTo>
                      <a:pt x="648" y="753"/>
                    </a:lnTo>
                    <a:lnTo>
                      <a:pt x="648" y="770"/>
                    </a:lnTo>
                    <a:lnTo>
                      <a:pt x="664" y="786"/>
                    </a:lnTo>
                    <a:lnTo>
                      <a:pt x="638" y="803"/>
                    </a:lnTo>
                    <a:lnTo>
                      <a:pt x="648" y="810"/>
                    </a:lnTo>
                    <a:lnTo>
                      <a:pt x="664" y="810"/>
                    </a:lnTo>
                    <a:lnTo>
                      <a:pt x="655" y="831"/>
                    </a:lnTo>
                    <a:lnTo>
                      <a:pt x="669" y="831"/>
                    </a:lnTo>
                    <a:lnTo>
                      <a:pt x="664" y="860"/>
                    </a:lnTo>
                    <a:lnTo>
                      <a:pt x="669" y="869"/>
                    </a:lnTo>
                    <a:lnTo>
                      <a:pt x="676" y="898"/>
                    </a:lnTo>
                    <a:lnTo>
                      <a:pt x="655" y="926"/>
                    </a:lnTo>
                    <a:lnTo>
                      <a:pt x="664" y="938"/>
                    </a:lnTo>
                    <a:lnTo>
                      <a:pt x="655" y="926"/>
                    </a:lnTo>
                    <a:lnTo>
                      <a:pt x="648" y="926"/>
                    </a:lnTo>
                    <a:lnTo>
                      <a:pt x="655" y="938"/>
                    </a:lnTo>
                    <a:lnTo>
                      <a:pt x="648" y="975"/>
                    </a:lnTo>
                    <a:lnTo>
                      <a:pt x="638" y="926"/>
                    </a:lnTo>
                    <a:lnTo>
                      <a:pt x="622" y="914"/>
                    </a:lnTo>
                    <a:lnTo>
                      <a:pt x="622" y="898"/>
                    </a:lnTo>
                    <a:lnTo>
                      <a:pt x="610" y="902"/>
                    </a:lnTo>
                    <a:lnTo>
                      <a:pt x="610" y="914"/>
                    </a:lnTo>
                    <a:lnTo>
                      <a:pt x="600" y="921"/>
                    </a:lnTo>
                    <a:lnTo>
                      <a:pt x="593" y="938"/>
                    </a:lnTo>
                    <a:lnTo>
                      <a:pt x="593" y="954"/>
                    </a:lnTo>
                    <a:lnTo>
                      <a:pt x="610" y="959"/>
                    </a:lnTo>
                    <a:lnTo>
                      <a:pt x="617" y="992"/>
                    </a:lnTo>
                    <a:lnTo>
                      <a:pt x="593" y="1025"/>
                    </a:lnTo>
                    <a:lnTo>
                      <a:pt x="584" y="1025"/>
                    </a:lnTo>
                    <a:lnTo>
                      <a:pt x="579" y="1009"/>
                    </a:lnTo>
                    <a:lnTo>
                      <a:pt x="584" y="980"/>
                    </a:lnTo>
                    <a:lnTo>
                      <a:pt x="579" y="980"/>
                    </a:lnTo>
                    <a:lnTo>
                      <a:pt x="567" y="997"/>
                    </a:lnTo>
                    <a:lnTo>
                      <a:pt x="563" y="997"/>
                    </a:lnTo>
                    <a:lnTo>
                      <a:pt x="513" y="980"/>
                    </a:lnTo>
                    <a:lnTo>
                      <a:pt x="503" y="971"/>
                    </a:lnTo>
                    <a:lnTo>
                      <a:pt x="492" y="926"/>
                    </a:lnTo>
                    <a:lnTo>
                      <a:pt x="513" y="886"/>
                    </a:lnTo>
                    <a:lnTo>
                      <a:pt x="492" y="869"/>
                    </a:lnTo>
                    <a:lnTo>
                      <a:pt x="459" y="860"/>
                    </a:lnTo>
                    <a:lnTo>
                      <a:pt x="454" y="860"/>
                    </a:lnTo>
                    <a:lnTo>
                      <a:pt x="454" y="869"/>
                    </a:lnTo>
                    <a:lnTo>
                      <a:pt x="449" y="881"/>
                    </a:lnTo>
                    <a:lnTo>
                      <a:pt x="454" y="886"/>
                    </a:lnTo>
                    <a:lnTo>
                      <a:pt x="454" y="898"/>
                    </a:lnTo>
                    <a:lnTo>
                      <a:pt x="454" y="898"/>
                    </a:lnTo>
                    <a:lnTo>
                      <a:pt x="454" y="898"/>
                    </a:lnTo>
                    <a:close/>
                    <a:moveTo>
                      <a:pt x="470" y="770"/>
                    </a:moveTo>
                    <a:lnTo>
                      <a:pt x="454" y="758"/>
                    </a:lnTo>
                    <a:lnTo>
                      <a:pt x="470" y="753"/>
                    </a:lnTo>
                    <a:lnTo>
                      <a:pt x="475" y="758"/>
                    </a:lnTo>
                    <a:lnTo>
                      <a:pt x="470" y="770"/>
                    </a:lnTo>
                    <a:lnTo>
                      <a:pt x="470" y="770"/>
                    </a:lnTo>
                    <a:lnTo>
                      <a:pt x="470" y="770"/>
                    </a:lnTo>
                    <a:close/>
                    <a:moveTo>
                      <a:pt x="546" y="770"/>
                    </a:moveTo>
                    <a:lnTo>
                      <a:pt x="541" y="758"/>
                    </a:lnTo>
                    <a:lnTo>
                      <a:pt x="541" y="753"/>
                    </a:lnTo>
                    <a:lnTo>
                      <a:pt x="546" y="758"/>
                    </a:lnTo>
                    <a:lnTo>
                      <a:pt x="546" y="770"/>
                    </a:lnTo>
                    <a:lnTo>
                      <a:pt x="546" y="770"/>
                    </a:lnTo>
                    <a:lnTo>
                      <a:pt x="546" y="770"/>
                    </a:lnTo>
                    <a:close/>
                    <a:moveTo>
                      <a:pt x="7" y="864"/>
                    </a:moveTo>
                    <a:lnTo>
                      <a:pt x="0" y="843"/>
                    </a:lnTo>
                    <a:lnTo>
                      <a:pt x="7" y="843"/>
                    </a:lnTo>
                    <a:lnTo>
                      <a:pt x="17" y="860"/>
                    </a:lnTo>
                    <a:lnTo>
                      <a:pt x="7" y="864"/>
                    </a:lnTo>
                    <a:lnTo>
                      <a:pt x="7" y="864"/>
                    </a:lnTo>
                    <a:lnTo>
                      <a:pt x="7" y="864"/>
                    </a:lnTo>
                    <a:close/>
                    <a:moveTo>
                      <a:pt x="416" y="898"/>
                    </a:moveTo>
                    <a:lnTo>
                      <a:pt x="407" y="886"/>
                    </a:lnTo>
                    <a:lnTo>
                      <a:pt x="421" y="886"/>
                    </a:lnTo>
                    <a:lnTo>
                      <a:pt x="421" y="898"/>
                    </a:lnTo>
                    <a:lnTo>
                      <a:pt x="416" y="898"/>
                    </a:lnTo>
                    <a:lnTo>
                      <a:pt x="416" y="898"/>
                    </a:lnTo>
                    <a:lnTo>
                      <a:pt x="416" y="898"/>
                    </a:lnTo>
                    <a:close/>
                    <a:moveTo>
                      <a:pt x="617" y="926"/>
                    </a:moveTo>
                    <a:lnTo>
                      <a:pt x="610" y="914"/>
                    </a:lnTo>
                    <a:lnTo>
                      <a:pt x="617" y="902"/>
                    </a:lnTo>
                    <a:lnTo>
                      <a:pt x="622" y="914"/>
                    </a:lnTo>
                    <a:lnTo>
                      <a:pt x="617" y="926"/>
                    </a:lnTo>
                    <a:lnTo>
                      <a:pt x="617" y="926"/>
                    </a:lnTo>
                    <a:lnTo>
                      <a:pt x="617" y="926"/>
                    </a:lnTo>
                    <a:close/>
                    <a:moveTo>
                      <a:pt x="114" y="921"/>
                    </a:moveTo>
                    <a:lnTo>
                      <a:pt x="109" y="921"/>
                    </a:lnTo>
                    <a:lnTo>
                      <a:pt x="114" y="914"/>
                    </a:lnTo>
                    <a:lnTo>
                      <a:pt x="114" y="921"/>
                    </a:lnTo>
                    <a:lnTo>
                      <a:pt x="114" y="921"/>
                    </a:lnTo>
                    <a:lnTo>
                      <a:pt x="114" y="921"/>
                    </a:lnTo>
                    <a:close/>
                    <a:moveTo>
                      <a:pt x="352" y="959"/>
                    </a:moveTo>
                    <a:lnTo>
                      <a:pt x="340" y="942"/>
                    </a:lnTo>
                    <a:lnTo>
                      <a:pt x="362" y="938"/>
                    </a:lnTo>
                    <a:lnTo>
                      <a:pt x="369" y="954"/>
                    </a:lnTo>
                    <a:lnTo>
                      <a:pt x="369" y="959"/>
                    </a:lnTo>
                    <a:lnTo>
                      <a:pt x="352" y="959"/>
                    </a:lnTo>
                    <a:lnTo>
                      <a:pt x="352" y="959"/>
                    </a:lnTo>
                    <a:lnTo>
                      <a:pt x="352" y="959"/>
                    </a:lnTo>
                    <a:close/>
                    <a:moveTo>
                      <a:pt x="255" y="975"/>
                    </a:moveTo>
                    <a:lnTo>
                      <a:pt x="244" y="975"/>
                    </a:lnTo>
                    <a:lnTo>
                      <a:pt x="255" y="959"/>
                    </a:lnTo>
                    <a:lnTo>
                      <a:pt x="255" y="975"/>
                    </a:lnTo>
                    <a:lnTo>
                      <a:pt x="255" y="975"/>
                    </a:lnTo>
                    <a:lnTo>
                      <a:pt x="255" y="975"/>
                    </a:lnTo>
                    <a:close/>
                    <a:moveTo>
                      <a:pt x="345" y="992"/>
                    </a:moveTo>
                    <a:lnTo>
                      <a:pt x="340" y="980"/>
                    </a:lnTo>
                    <a:lnTo>
                      <a:pt x="352" y="992"/>
                    </a:lnTo>
                    <a:lnTo>
                      <a:pt x="345" y="992"/>
                    </a:lnTo>
                    <a:lnTo>
                      <a:pt x="345" y="992"/>
                    </a:lnTo>
                    <a:lnTo>
                      <a:pt x="345" y="992"/>
                    </a:lnTo>
                    <a:close/>
                    <a:moveTo>
                      <a:pt x="310" y="997"/>
                    </a:moveTo>
                    <a:lnTo>
                      <a:pt x="298" y="997"/>
                    </a:lnTo>
                    <a:lnTo>
                      <a:pt x="277" y="997"/>
                    </a:lnTo>
                    <a:lnTo>
                      <a:pt x="277" y="992"/>
                    </a:lnTo>
                    <a:lnTo>
                      <a:pt x="293" y="980"/>
                    </a:lnTo>
                    <a:lnTo>
                      <a:pt x="314" y="992"/>
                    </a:lnTo>
                    <a:lnTo>
                      <a:pt x="310" y="997"/>
                    </a:lnTo>
                    <a:lnTo>
                      <a:pt x="310" y="997"/>
                    </a:lnTo>
                    <a:lnTo>
                      <a:pt x="310" y="997"/>
                    </a:lnTo>
                    <a:close/>
                    <a:moveTo>
                      <a:pt x="277" y="1030"/>
                    </a:moveTo>
                    <a:lnTo>
                      <a:pt x="277" y="1025"/>
                    </a:lnTo>
                    <a:lnTo>
                      <a:pt x="277" y="1030"/>
                    </a:lnTo>
                    <a:lnTo>
                      <a:pt x="277" y="1030"/>
                    </a:lnTo>
                    <a:lnTo>
                      <a:pt x="277" y="1030"/>
                    </a:lnTo>
                    <a:close/>
                    <a:moveTo>
                      <a:pt x="206" y="1065"/>
                    </a:moveTo>
                    <a:lnTo>
                      <a:pt x="201" y="1053"/>
                    </a:lnTo>
                    <a:lnTo>
                      <a:pt x="234" y="1037"/>
                    </a:lnTo>
                    <a:lnTo>
                      <a:pt x="234" y="1053"/>
                    </a:lnTo>
                    <a:lnTo>
                      <a:pt x="218" y="1046"/>
                    </a:lnTo>
                    <a:lnTo>
                      <a:pt x="206" y="1065"/>
                    </a:lnTo>
                    <a:lnTo>
                      <a:pt x="206" y="1065"/>
                    </a:lnTo>
                    <a:lnTo>
                      <a:pt x="206" y="106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2" name="Freeform 555">
                <a:extLst>
                  <a:ext uri="{FF2B5EF4-FFF2-40B4-BE49-F238E27FC236}">
                    <a16:creationId xmlns:a16="http://schemas.microsoft.com/office/drawing/2014/main" id="{B49BA409-1D84-44C4-A5EA-55F649E2E120}"/>
                  </a:ext>
                </a:extLst>
              </p:cNvPr>
              <p:cNvSpPr>
                <a:spLocks/>
              </p:cNvSpPr>
              <p:nvPr/>
            </p:nvSpPr>
            <p:spPr bwMode="gray">
              <a:xfrm>
                <a:off x="9717431" y="4024713"/>
                <a:ext cx="9880" cy="2059"/>
              </a:xfrm>
              <a:custGeom>
                <a:avLst/>
                <a:gdLst>
                  <a:gd name="T0" fmla="*/ 24 w 24"/>
                  <a:gd name="T1" fmla="*/ 0 h 5"/>
                  <a:gd name="T2" fmla="*/ 16 w 24"/>
                  <a:gd name="T3" fmla="*/ 5 h 5"/>
                  <a:gd name="T4" fmla="*/ 0 w 24"/>
                  <a:gd name="T5" fmla="*/ 5 h 5"/>
                  <a:gd name="T6" fmla="*/ 7 w 24"/>
                  <a:gd name="T7" fmla="*/ 0 h 5"/>
                  <a:gd name="T8" fmla="*/ 24 w 24"/>
                  <a:gd name="T9" fmla="*/ 0 h 5"/>
                  <a:gd name="T10" fmla="*/ 24 w 24"/>
                  <a:gd name="T11" fmla="*/ 0 h 5"/>
                  <a:gd name="T12" fmla="*/ 24 w 2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4" h="5">
                    <a:moveTo>
                      <a:pt x="24" y="0"/>
                    </a:moveTo>
                    <a:lnTo>
                      <a:pt x="16" y="5"/>
                    </a:lnTo>
                    <a:lnTo>
                      <a:pt x="0" y="5"/>
                    </a:lnTo>
                    <a:lnTo>
                      <a:pt x="7" y="0"/>
                    </a:lnTo>
                    <a:lnTo>
                      <a:pt x="24" y="0"/>
                    </a:lnTo>
                    <a:lnTo>
                      <a:pt x="24" y="0"/>
                    </a:lnTo>
                    <a:lnTo>
                      <a:pt x="24"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3" name="Freeform 567">
                <a:extLst>
                  <a:ext uri="{FF2B5EF4-FFF2-40B4-BE49-F238E27FC236}">
                    <a16:creationId xmlns:a16="http://schemas.microsoft.com/office/drawing/2014/main" id="{5E2F874F-E093-4562-9529-2A0B11B4153A}"/>
                  </a:ext>
                </a:extLst>
              </p:cNvPr>
              <p:cNvSpPr>
                <a:spLocks noEditPoints="1"/>
              </p:cNvSpPr>
              <p:nvPr/>
            </p:nvSpPr>
            <p:spPr bwMode="gray">
              <a:xfrm>
                <a:off x="9535473" y="3449135"/>
                <a:ext cx="239180" cy="447123"/>
              </a:xfrm>
              <a:custGeom>
                <a:avLst/>
                <a:gdLst>
                  <a:gd name="T0" fmla="*/ 298 w 581"/>
                  <a:gd name="T1" fmla="*/ 1070 h 1086"/>
                  <a:gd name="T2" fmla="*/ 267 w 581"/>
                  <a:gd name="T3" fmla="*/ 1046 h 1086"/>
                  <a:gd name="T4" fmla="*/ 217 w 581"/>
                  <a:gd name="T5" fmla="*/ 1025 h 1086"/>
                  <a:gd name="T6" fmla="*/ 196 w 581"/>
                  <a:gd name="T7" fmla="*/ 1025 h 1086"/>
                  <a:gd name="T8" fmla="*/ 147 w 581"/>
                  <a:gd name="T9" fmla="*/ 968 h 1086"/>
                  <a:gd name="T10" fmla="*/ 121 w 581"/>
                  <a:gd name="T11" fmla="*/ 930 h 1086"/>
                  <a:gd name="T12" fmla="*/ 92 w 581"/>
                  <a:gd name="T13" fmla="*/ 885 h 1086"/>
                  <a:gd name="T14" fmla="*/ 66 w 581"/>
                  <a:gd name="T15" fmla="*/ 881 h 1086"/>
                  <a:gd name="T16" fmla="*/ 104 w 581"/>
                  <a:gd name="T17" fmla="*/ 720 h 1086"/>
                  <a:gd name="T18" fmla="*/ 147 w 581"/>
                  <a:gd name="T19" fmla="*/ 588 h 1086"/>
                  <a:gd name="T20" fmla="*/ 137 w 581"/>
                  <a:gd name="T21" fmla="*/ 543 h 1086"/>
                  <a:gd name="T22" fmla="*/ 71 w 581"/>
                  <a:gd name="T23" fmla="*/ 432 h 1086"/>
                  <a:gd name="T24" fmla="*/ 88 w 581"/>
                  <a:gd name="T25" fmla="*/ 382 h 1086"/>
                  <a:gd name="T26" fmla="*/ 109 w 581"/>
                  <a:gd name="T27" fmla="*/ 304 h 1086"/>
                  <a:gd name="T28" fmla="*/ 33 w 581"/>
                  <a:gd name="T29" fmla="*/ 210 h 1086"/>
                  <a:gd name="T30" fmla="*/ 12 w 581"/>
                  <a:gd name="T31" fmla="*/ 156 h 1086"/>
                  <a:gd name="T32" fmla="*/ 33 w 581"/>
                  <a:gd name="T33" fmla="*/ 82 h 1086"/>
                  <a:gd name="T34" fmla="*/ 66 w 581"/>
                  <a:gd name="T35" fmla="*/ 56 h 1086"/>
                  <a:gd name="T36" fmla="*/ 147 w 581"/>
                  <a:gd name="T37" fmla="*/ 28 h 1086"/>
                  <a:gd name="T38" fmla="*/ 191 w 581"/>
                  <a:gd name="T39" fmla="*/ 0 h 1086"/>
                  <a:gd name="T40" fmla="*/ 217 w 581"/>
                  <a:gd name="T41" fmla="*/ 28 h 1086"/>
                  <a:gd name="T42" fmla="*/ 243 w 581"/>
                  <a:gd name="T43" fmla="*/ 73 h 1086"/>
                  <a:gd name="T44" fmla="*/ 281 w 581"/>
                  <a:gd name="T45" fmla="*/ 106 h 1086"/>
                  <a:gd name="T46" fmla="*/ 272 w 581"/>
                  <a:gd name="T47" fmla="*/ 160 h 1086"/>
                  <a:gd name="T48" fmla="*/ 298 w 581"/>
                  <a:gd name="T49" fmla="*/ 200 h 1086"/>
                  <a:gd name="T50" fmla="*/ 359 w 581"/>
                  <a:gd name="T51" fmla="*/ 182 h 1086"/>
                  <a:gd name="T52" fmla="*/ 406 w 581"/>
                  <a:gd name="T53" fmla="*/ 182 h 1086"/>
                  <a:gd name="T54" fmla="*/ 428 w 581"/>
                  <a:gd name="T55" fmla="*/ 156 h 1086"/>
                  <a:gd name="T56" fmla="*/ 527 w 581"/>
                  <a:gd name="T57" fmla="*/ 238 h 1086"/>
                  <a:gd name="T58" fmla="*/ 569 w 581"/>
                  <a:gd name="T59" fmla="*/ 345 h 1086"/>
                  <a:gd name="T60" fmla="*/ 581 w 581"/>
                  <a:gd name="T61" fmla="*/ 404 h 1086"/>
                  <a:gd name="T62" fmla="*/ 543 w 581"/>
                  <a:gd name="T63" fmla="*/ 453 h 1086"/>
                  <a:gd name="T64" fmla="*/ 414 w 581"/>
                  <a:gd name="T65" fmla="*/ 453 h 1086"/>
                  <a:gd name="T66" fmla="*/ 373 w 581"/>
                  <a:gd name="T67" fmla="*/ 510 h 1086"/>
                  <a:gd name="T68" fmla="*/ 364 w 581"/>
                  <a:gd name="T69" fmla="*/ 581 h 1086"/>
                  <a:gd name="T70" fmla="*/ 373 w 581"/>
                  <a:gd name="T71" fmla="*/ 609 h 1086"/>
                  <a:gd name="T72" fmla="*/ 359 w 581"/>
                  <a:gd name="T73" fmla="*/ 604 h 1086"/>
                  <a:gd name="T74" fmla="*/ 310 w 581"/>
                  <a:gd name="T75" fmla="*/ 571 h 1086"/>
                  <a:gd name="T76" fmla="*/ 251 w 581"/>
                  <a:gd name="T77" fmla="*/ 581 h 1086"/>
                  <a:gd name="T78" fmla="*/ 191 w 581"/>
                  <a:gd name="T79" fmla="*/ 531 h 1086"/>
                  <a:gd name="T80" fmla="*/ 163 w 581"/>
                  <a:gd name="T81" fmla="*/ 666 h 1086"/>
                  <a:gd name="T82" fmla="*/ 142 w 581"/>
                  <a:gd name="T83" fmla="*/ 819 h 1086"/>
                  <a:gd name="T84" fmla="*/ 191 w 581"/>
                  <a:gd name="T85" fmla="*/ 876 h 1086"/>
                  <a:gd name="T86" fmla="*/ 201 w 581"/>
                  <a:gd name="T87" fmla="*/ 885 h 1086"/>
                  <a:gd name="T88" fmla="*/ 213 w 581"/>
                  <a:gd name="T89" fmla="*/ 935 h 1086"/>
                  <a:gd name="T90" fmla="*/ 217 w 581"/>
                  <a:gd name="T91" fmla="*/ 975 h 1086"/>
                  <a:gd name="T92" fmla="*/ 281 w 581"/>
                  <a:gd name="T93" fmla="*/ 996 h 1086"/>
                  <a:gd name="T94" fmla="*/ 336 w 581"/>
                  <a:gd name="T95" fmla="*/ 1046 h 1086"/>
                  <a:gd name="T96" fmla="*/ 352 w 581"/>
                  <a:gd name="T97" fmla="*/ 626 h 1086"/>
                  <a:gd name="T98" fmla="*/ 359 w 581"/>
                  <a:gd name="T99" fmla="*/ 626 h 1086"/>
                  <a:gd name="T100" fmla="*/ 364 w 581"/>
                  <a:gd name="T101" fmla="*/ 642 h 1086"/>
                  <a:gd name="T102" fmla="*/ 196 w 581"/>
                  <a:gd name="T103" fmla="*/ 791 h 1086"/>
                  <a:gd name="T104" fmla="*/ 191 w 581"/>
                  <a:gd name="T105" fmla="*/ 786 h 1086"/>
                  <a:gd name="T106" fmla="*/ 196 w 581"/>
                  <a:gd name="T107" fmla="*/ 808 h 1086"/>
                  <a:gd name="T108" fmla="*/ 66 w 581"/>
                  <a:gd name="T109" fmla="*/ 843 h 1086"/>
                  <a:gd name="T110" fmla="*/ 71 w 581"/>
                  <a:gd name="T111" fmla="*/ 843 h 1086"/>
                  <a:gd name="T112" fmla="*/ 66 w 581"/>
                  <a:gd name="T113" fmla="*/ 902 h 1086"/>
                  <a:gd name="T114" fmla="*/ 88 w 581"/>
                  <a:gd name="T115" fmla="*/ 914 h 1086"/>
                  <a:gd name="T116" fmla="*/ 88 w 581"/>
                  <a:gd name="T117" fmla="*/ 914 h 1086"/>
                  <a:gd name="T118" fmla="*/ 158 w 581"/>
                  <a:gd name="T119" fmla="*/ 1025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1" h="1086">
                    <a:moveTo>
                      <a:pt x="336" y="1046"/>
                    </a:moveTo>
                    <a:lnTo>
                      <a:pt x="321" y="1079"/>
                    </a:lnTo>
                    <a:lnTo>
                      <a:pt x="305" y="1079"/>
                    </a:lnTo>
                    <a:lnTo>
                      <a:pt x="298" y="1070"/>
                    </a:lnTo>
                    <a:lnTo>
                      <a:pt x="267" y="1086"/>
                    </a:lnTo>
                    <a:lnTo>
                      <a:pt x="255" y="1079"/>
                    </a:lnTo>
                    <a:lnTo>
                      <a:pt x="267" y="1063"/>
                    </a:lnTo>
                    <a:lnTo>
                      <a:pt x="267" y="1046"/>
                    </a:lnTo>
                    <a:lnTo>
                      <a:pt x="251" y="1046"/>
                    </a:lnTo>
                    <a:lnTo>
                      <a:pt x="243" y="1025"/>
                    </a:lnTo>
                    <a:lnTo>
                      <a:pt x="234" y="1030"/>
                    </a:lnTo>
                    <a:lnTo>
                      <a:pt x="217" y="1025"/>
                    </a:lnTo>
                    <a:lnTo>
                      <a:pt x="213" y="1013"/>
                    </a:lnTo>
                    <a:lnTo>
                      <a:pt x="201" y="1013"/>
                    </a:lnTo>
                    <a:lnTo>
                      <a:pt x="196" y="1030"/>
                    </a:lnTo>
                    <a:lnTo>
                      <a:pt x="196" y="1025"/>
                    </a:lnTo>
                    <a:lnTo>
                      <a:pt x="163" y="996"/>
                    </a:lnTo>
                    <a:lnTo>
                      <a:pt x="175" y="987"/>
                    </a:lnTo>
                    <a:lnTo>
                      <a:pt x="158" y="987"/>
                    </a:lnTo>
                    <a:lnTo>
                      <a:pt x="147" y="968"/>
                    </a:lnTo>
                    <a:lnTo>
                      <a:pt x="137" y="942"/>
                    </a:lnTo>
                    <a:lnTo>
                      <a:pt x="125" y="935"/>
                    </a:lnTo>
                    <a:lnTo>
                      <a:pt x="121" y="935"/>
                    </a:lnTo>
                    <a:lnTo>
                      <a:pt x="121" y="930"/>
                    </a:lnTo>
                    <a:lnTo>
                      <a:pt x="104" y="919"/>
                    </a:lnTo>
                    <a:lnTo>
                      <a:pt x="92" y="897"/>
                    </a:lnTo>
                    <a:lnTo>
                      <a:pt x="92" y="897"/>
                    </a:lnTo>
                    <a:lnTo>
                      <a:pt x="92" y="885"/>
                    </a:lnTo>
                    <a:lnTo>
                      <a:pt x="83" y="897"/>
                    </a:lnTo>
                    <a:lnTo>
                      <a:pt x="83" y="902"/>
                    </a:lnTo>
                    <a:lnTo>
                      <a:pt x="66" y="897"/>
                    </a:lnTo>
                    <a:lnTo>
                      <a:pt x="66" y="881"/>
                    </a:lnTo>
                    <a:lnTo>
                      <a:pt x="71" y="831"/>
                    </a:lnTo>
                    <a:lnTo>
                      <a:pt x="104" y="748"/>
                    </a:lnTo>
                    <a:lnTo>
                      <a:pt x="104" y="737"/>
                    </a:lnTo>
                    <a:lnTo>
                      <a:pt x="104" y="720"/>
                    </a:lnTo>
                    <a:lnTo>
                      <a:pt x="137" y="699"/>
                    </a:lnTo>
                    <a:lnTo>
                      <a:pt x="163" y="642"/>
                    </a:lnTo>
                    <a:lnTo>
                      <a:pt x="147" y="604"/>
                    </a:lnTo>
                    <a:lnTo>
                      <a:pt x="147" y="588"/>
                    </a:lnTo>
                    <a:lnTo>
                      <a:pt x="137" y="571"/>
                    </a:lnTo>
                    <a:lnTo>
                      <a:pt x="125" y="548"/>
                    </a:lnTo>
                    <a:lnTo>
                      <a:pt x="125" y="543"/>
                    </a:lnTo>
                    <a:lnTo>
                      <a:pt x="137" y="543"/>
                    </a:lnTo>
                    <a:lnTo>
                      <a:pt x="137" y="498"/>
                    </a:lnTo>
                    <a:lnTo>
                      <a:pt x="121" y="477"/>
                    </a:lnTo>
                    <a:lnTo>
                      <a:pt x="92" y="460"/>
                    </a:lnTo>
                    <a:lnTo>
                      <a:pt x="71" y="432"/>
                    </a:lnTo>
                    <a:lnTo>
                      <a:pt x="66" y="404"/>
                    </a:lnTo>
                    <a:lnTo>
                      <a:pt x="66" y="387"/>
                    </a:lnTo>
                    <a:lnTo>
                      <a:pt x="83" y="382"/>
                    </a:lnTo>
                    <a:lnTo>
                      <a:pt x="88" y="382"/>
                    </a:lnTo>
                    <a:lnTo>
                      <a:pt x="92" y="333"/>
                    </a:lnTo>
                    <a:lnTo>
                      <a:pt x="109" y="326"/>
                    </a:lnTo>
                    <a:lnTo>
                      <a:pt x="109" y="304"/>
                    </a:lnTo>
                    <a:lnTo>
                      <a:pt x="109" y="304"/>
                    </a:lnTo>
                    <a:lnTo>
                      <a:pt x="92" y="309"/>
                    </a:lnTo>
                    <a:lnTo>
                      <a:pt x="83" y="276"/>
                    </a:lnTo>
                    <a:lnTo>
                      <a:pt x="88" y="267"/>
                    </a:lnTo>
                    <a:lnTo>
                      <a:pt x="33" y="210"/>
                    </a:lnTo>
                    <a:lnTo>
                      <a:pt x="29" y="165"/>
                    </a:lnTo>
                    <a:lnTo>
                      <a:pt x="12" y="165"/>
                    </a:lnTo>
                    <a:lnTo>
                      <a:pt x="0" y="144"/>
                    </a:lnTo>
                    <a:lnTo>
                      <a:pt x="12" y="156"/>
                    </a:lnTo>
                    <a:lnTo>
                      <a:pt x="33" y="144"/>
                    </a:lnTo>
                    <a:lnTo>
                      <a:pt x="29" y="111"/>
                    </a:lnTo>
                    <a:lnTo>
                      <a:pt x="33" y="106"/>
                    </a:lnTo>
                    <a:lnTo>
                      <a:pt x="33" y="82"/>
                    </a:lnTo>
                    <a:lnTo>
                      <a:pt x="38" y="66"/>
                    </a:lnTo>
                    <a:lnTo>
                      <a:pt x="50" y="66"/>
                    </a:lnTo>
                    <a:lnTo>
                      <a:pt x="50" y="49"/>
                    </a:lnTo>
                    <a:lnTo>
                      <a:pt x="66" y="56"/>
                    </a:lnTo>
                    <a:lnTo>
                      <a:pt x="109" y="49"/>
                    </a:lnTo>
                    <a:lnTo>
                      <a:pt x="121" y="49"/>
                    </a:lnTo>
                    <a:lnTo>
                      <a:pt x="125" y="33"/>
                    </a:lnTo>
                    <a:lnTo>
                      <a:pt x="147" y="28"/>
                    </a:lnTo>
                    <a:lnTo>
                      <a:pt x="158" y="28"/>
                    </a:lnTo>
                    <a:lnTo>
                      <a:pt x="158" y="11"/>
                    </a:lnTo>
                    <a:lnTo>
                      <a:pt x="175" y="11"/>
                    </a:lnTo>
                    <a:lnTo>
                      <a:pt x="191" y="0"/>
                    </a:lnTo>
                    <a:lnTo>
                      <a:pt x="196" y="11"/>
                    </a:lnTo>
                    <a:lnTo>
                      <a:pt x="201" y="16"/>
                    </a:lnTo>
                    <a:lnTo>
                      <a:pt x="213" y="11"/>
                    </a:lnTo>
                    <a:lnTo>
                      <a:pt x="217" y="28"/>
                    </a:lnTo>
                    <a:lnTo>
                      <a:pt x="229" y="28"/>
                    </a:lnTo>
                    <a:lnTo>
                      <a:pt x="217" y="56"/>
                    </a:lnTo>
                    <a:lnTo>
                      <a:pt x="229" y="73"/>
                    </a:lnTo>
                    <a:lnTo>
                      <a:pt x="243" y="73"/>
                    </a:lnTo>
                    <a:lnTo>
                      <a:pt x="251" y="66"/>
                    </a:lnTo>
                    <a:lnTo>
                      <a:pt x="281" y="73"/>
                    </a:lnTo>
                    <a:lnTo>
                      <a:pt x="272" y="82"/>
                    </a:lnTo>
                    <a:lnTo>
                      <a:pt x="281" y="106"/>
                    </a:lnTo>
                    <a:lnTo>
                      <a:pt x="272" y="123"/>
                    </a:lnTo>
                    <a:lnTo>
                      <a:pt x="281" y="139"/>
                    </a:lnTo>
                    <a:lnTo>
                      <a:pt x="267" y="156"/>
                    </a:lnTo>
                    <a:lnTo>
                      <a:pt x="272" y="160"/>
                    </a:lnTo>
                    <a:lnTo>
                      <a:pt x="272" y="177"/>
                    </a:lnTo>
                    <a:lnTo>
                      <a:pt x="255" y="217"/>
                    </a:lnTo>
                    <a:lnTo>
                      <a:pt x="272" y="222"/>
                    </a:lnTo>
                    <a:lnTo>
                      <a:pt x="298" y="200"/>
                    </a:lnTo>
                    <a:lnTo>
                      <a:pt x="310" y="182"/>
                    </a:lnTo>
                    <a:lnTo>
                      <a:pt x="321" y="182"/>
                    </a:lnTo>
                    <a:lnTo>
                      <a:pt x="336" y="165"/>
                    </a:lnTo>
                    <a:lnTo>
                      <a:pt x="359" y="182"/>
                    </a:lnTo>
                    <a:lnTo>
                      <a:pt x="373" y="193"/>
                    </a:lnTo>
                    <a:lnTo>
                      <a:pt x="373" y="200"/>
                    </a:lnTo>
                    <a:lnTo>
                      <a:pt x="390" y="182"/>
                    </a:lnTo>
                    <a:lnTo>
                      <a:pt x="406" y="182"/>
                    </a:lnTo>
                    <a:lnTo>
                      <a:pt x="406" y="177"/>
                    </a:lnTo>
                    <a:lnTo>
                      <a:pt x="418" y="165"/>
                    </a:lnTo>
                    <a:lnTo>
                      <a:pt x="418" y="160"/>
                    </a:lnTo>
                    <a:lnTo>
                      <a:pt x="428" y="156"/>
                    </a:lnTo>
                    <a:lnTo>
                      <a:pt x="466" y="160"/>
                    </a:lnTo>
                    <a:lnTo>
                      <a:pt x="489" y="200"/>
                    </a:lnTo>
                    <a:lnTo>
                      <a:pt x="520" y="222"/>
                    </a:lnTo>
                    <a:lnTo>
                      <a:pt x="527" y="238"/>
                    </a:lnTo>
                    <a:lnTo>
                      <a:pt x="520" y="293"/>
                    </a:lnTo>
                    <a:lnTo>
                      <a:pt x="543" y="326"/>
                    </a:lnTo>
                    <a:lnTo>
                      <a:pt x="569" y="333"/>
                    </a:lnTo>
                    <a:lnTo>
                      <a:pt x="569" y="345"/>
                    </a:lnTo>
                    <a:lnTo>
                      <a:pt x="569" y="349"/>
                    </a:lnTo>
                    <a:lnTo>
                      <a:pt x="581" y="361"/>
                    </a:lnTo>
                    <a:lnTo>
                      <a:pt x="574" y="399"/>
                    </a:lnTo>
                    <a:lnTo>
                      <a:pt x="581" y="404"/>
                    </a:lnTo>
                    <a:lnTo>
                      <a:pt x="574" y="437"/>
                    </a:lnTo>
                    <a:lnTo>
                      <a:pt x="553" y="453"/>
                    </a:lnTo>
                    <a:lnTo>
                      <a:pt x="543" y="470"/>
                    </a:lnTo>
                    <a:lnTo>
                      <a:pt x="543" y="453"/>
                    </a:lnTo>
                    <a:lnTo>
                      <a:pt x="527" y="444"/>
                    </a:lnTo>
                    <a:lnTo>
                      <a:pt x="466" y="453"/>
                    </a:lnTo>
                    <a:lnTo>
                      <a:pt x="444" y="444"/>
                    </a:lnTo>
                    <a:lnTo>
                      <a:pt x="414" y="453"/>
                    </a:lnTo>
                    <a:lnTo>
                      <a:pt x="397" y="470"/>
                    </a:lnTo>
                    <a:lnTo>
                      <a:pt x="380" y="498"/>
                    </a:lnTo>
                    <a:lnTo>
                      <a:pt x="364" y="498"/>
                    </a:lnTo>
                    <a:lnTo>
                      <a:pt x="373" y="510"/>
                    </a:lnTo>
                    <a:lnTo>
                      <a:pt x="359" y="510"/>
                    </a:lnTo>
                    <a:lnTo>
                      <a:pt x="352" y="531"/>
                    </a:lnTo>
                    <a:lnTo>
                      <a:pt x="364" y="555"/>
                    </a:lnTo>
                    <a:lnTo>
                      <a:pt x="364" y="581"/>
                    </a:lnTo>
                    <a:lnTo>
                      <a:pt x="380" y="597"/>
                    </a:lnTo>
                    <a:lnTo>
                      <a:pt x="380" y="621"/>
                    </a:lnTo>
                    <a:lnTo>
                      <a:pt x="397" y="654"/>
                    </a:lnTo>
                    <a:lnTo>
                      <a:pt x="373" y="609"/>
                    </a:lnTo>
                    <a:lnTo>
                      <a:pt x="364" y="609"/>
                    </a:lnTo>
                    <a:lnTo>
                      <a:pt x="364" y="621"/>
                    </a:lnTo>
                    <a:lnTo>
                      <a:pt x="352" y="609"/>
                    </a:lnTo>
                    <a:lnTo>
                      <a:pt x="359" y="604"/>
                    </a:lnTo>
                    <a:lnTo>
                      <a:pt x="343" y="604"/>
                    </a:lnTo>
                    <a:lnTo>
                      <a:pt x="336" y="588"/>
                    </a:lnTo>
                    <a:lnTo>
                      <a:pt x="326" y="588"/>
                    </a:lnTo>
                    <a:lnTo>
                      <a:pt x="310" y="571"/>
                    </a:lnTo>
                    <a:lnTo>
                      <a:pt x="288" y="581"/>
                    </a:lnTo>
                    <a:lnTo>
                      <a:pt x="267" y="581"/>
                    </a:lnTo>
                    <a:lnTo>
                      <a:pt x="255" y="588"/>
                    </a:lnTo>
                    <a:lnTo>
                      <a:pt x="251" y="581"/>
                    </a:lnTo>
                    <a:lnTo>
                      <a:pt x="255" y="515"/>
                    </a:lnTo>
                    <a:lnTo>
                      <a:pt x="229" y="515"/>
                    </a:lnTo>
                    <a:lnTo>
                      <a:pt x="196" y="526"/>
                    </a:lnTo>
                    <a:lnTo>
                      <a:pt x="191" y="531"/>
                    </a:lnTo>
                    <a:lnTo>
                      <a:pt x="196" y="548"/>
                    </a:lnTo>
                    <a:lnTo>
                      <a:pt x="191" y="581"/>
                    </a:lnTo>
                    <a:lnTo>
                      <a:pt x="191" y="609"/>
                    </a:lnTo>
                    <a:lnTo>
                      <a:pt x="163" y="666"/>
                    </a:lnTo>
                    <a:lnTo>
                      <a:pt x="158" y="708"/>
                    </a:lnTo>
                    <a:lnTo>
                      <a:pt x="125" y="748"/>
                    </a:lnTo>
                    <a:lnTo>
                      <a:pt x="125" y="791"/>
                    </a:lnTo>
                    <a:lnTo>
                      <a:pt x="142" y="819"/>
                    </a:lnTo>
                    <a:lnTo>
                      <a:pt x="137" y="826"/>
                    </a:lnTo>
                    <a:lnTo>
                      <a:pt x="147" y="831"/>
                    </a:lnTo>
                    <a:lnTo>
                      <a:pt x="180" y="826"/>
                    </a:lnTo>
                    <a:lnTo>
                      <a:pt x="191" y="876"/>
                    </a:lnTo>
                    <a:lnTo>
                      <a:pt x="196" y="885"/>
                    </a:lnTo>
                    <a:lnTo>
                      <a:pt x="201" y="885"/>
                    </a:lnTo>
                    <a:lnTo>
                      <a:pt x="196" y="881"/>
                    </a:lnTo>
                    <a:lnTo>
                      <a:pt x="201" y="885"/>
                    </a:lnTo>
                    <a:lnTo>
                      <a:pt x="217" y="959"/>
                    </a:lnTo>
                    <a:lnTo>
                      <a:pt x="229" y="975"/>
                    </a:lnTo>
                    <a:lnTo>
                      <a:pt x="217" y="968"/>
                    </a:lnTo>
                    <a:lnTo>
                      <a:pt x="213" y="935"/>
                    </a:lnTo>
                    <a:lnTo>
                      <a:pt x="201" y="935"/>
                    </a:lnTo>
                    <a:lnTo>
                      <a:pt x="196" y="935"/>
                    </a:lnTo>
                    <a:lnTo>
                      <a:pt x="201" y="952"/>
                    </a:lnTo>
                    <a:lnTo>
                      <a:pt x="217" y="975"/>
                    </a:lnTo>
                    <a:lnTo>
                      <a:pt x="234" y="975"/>
                    </a:lnTo>
                    <a:lnTo>
                      <a:pt x="243" y="992"/>
                    </a:lnTo>
                    <a:lnTo>
                      <a:pt x="255" y="996"/>
                    </a:lnTo>
                    <a:lnTo>
                      <a:pt x="281" y="996"/>
                    </a:lnTo>
                    <a:lnTo>
                      <a:pt x="281" y="992"/>
                    </a:lnTo>
                    <a:lnTo>
                      <a:pt x="298" y="996"/>
                    </a:lnTo>
                    <a:lnTo>
                      <a:pt x="310" y="1030"/>
                    </a:lnTo>
                    <a:lnTo>
                      <a:pt x="336" y="1046"/>
                    </a:lnTo>
                    <a:lnTo>
                      <a:pt x="336" y="1046"/>
                    </a:lnTo>
                    <a:lnTo>
                      <a:pt x="336" y="1046"/>
                    </a:lnTo>
                    <a:close/>
                    <a:moveTo>
                      <a:pt x="359" y="626"/>
                    </a:moveTo>
                    <a:lnTo>
                      <a:pt x="352" y="626"/>
                    </a:lnTo>
                    <a:lnTo>
                      <a:pt x="352" y="621"/>
                    </a:lnTo>
                    <a:lnTo>
                      <a:pt x="359" y="626"/>
                    </a:lnTo>
                    <a:lnTo>
                      <a:pt x="359" y="626"/>
                    </a:lnTo>
                    <a:lnTo>
                      <a:pt x="359" y="626"/>
                    </a:lnTo>
                    <a:close/>
                    <a:moveTo>
                      <a:pt x="364" y="642"/>
                    </a:moveTo>
                    <a:lnTo>
                      <a:pt x="373" y="659"/>
                    </a:lnTo>
                    <a:lnTo>
                      <a:pt x="364" y="659"/>
                    </a:lnTo>
                    <a:lnTo>
                      <a:pt x="364" y="642"/>
                    </a:lnTo>
                    <a:lnTo>
                      <a:pt x="364" y="642"/>
                    </a:lnTo>
                    <a:lnTo>
                      <a:pt x="364" y="642"/>
                    </a:lnTo>
                    <a:close/>
                    <a:moveTo>
                      <a:pt x="191" y="786"/>
                    </a:moveTo>
                    <a:lnTo>
                      <a:pt x="196" y="791"/>
                    </a:lnTo>
                    <a:lnTo>
                      <a:pt x="191" y="791"/>
                    </a:lnTo>
                    <a:lnTo>
                      <a:pt x="191" y="786"/>
                    </a:lnTo>
                    <a:lnTo>
                      <a:pt x="191" y="786"/>
                    </a:lnTo>
                    <a:lnTo>
                      <a:pt x="191" y="786"/>
                    </a:lnTo>
                    <a:close/>
                    <a:moveTo>
                      <a:pt x="196" y="808"/>
                    </a:moveTo>
                    <a:lnTo>
                      <a:pt x="191" y="819"/>
                    </a:lnTo>
                    <a:lnTo>
                      <a:pt x="191" y="808"/>
                    </a:lnTo>
                    <a:lnTo>
                      <a:pt x="196" y="808"/>
                    </a:lnTo>
                    <a:lnTo>
                      <a:pt x="196" y="808"/>
                    </a:lnTo>
                    <a:lnTo>
                      <a:pt x="196" y="808"/>
                    </a:lnTo>
                    <a:close/>
                    <a:moveTo>
                      <a:pt x="71" y="843"/>
                    </a:moveTo>
                    <a:lnTo>
                      <a:pt x="66" y="843"/>
                    </a:lnTo>
                    <a:lnTo>
                      <a:pt x="66" y="831"/>
                    </a:lnTo>
                    <a:lnTo>
                      <a:pt x="71" y="843"/>
                    </a:lnTo>
                    <a:lnTo>
                      <a:pt x="71" y="843"/>
                    </a:lnTo>
                    <a:lnTo>
                      <a:pt x="71" y="843"/>
                    </a:lnTo>
                    <a:close/>
                    <a:moveTo>
                      <a:pt x="71" y="902"/>
                    </a:moveTo>
                    <a:lnTo>
                      <a:pt x="83" y="930"/>
                    </a:lnTo>
                    <a:lnTo>
                      <a:pt x="71" y="935"/>
                    </a:lnTo>
                    <a:lnTo>
                      <a:pt x="66" y="902"/>
                    </a:lnTo>
                    <a:lnTo>
                      <a:pt x="71" y="902"/>
                    </a:lnTo>
                    <a:lnTo>
                      <a:pt x="71" y="902"/>
                    </a:lnTo>
                    <a:lnTo>
                      <a:pt x="71" y="902"/>
                    </a:lnTo>
                    <a:close/>
                    <a:moveTo>
                      <a:pt x="88" y="914"/>
                    </a:moveTo>
                    <a:lnTo>
                      <a:pt x="88" y="914"/>
                    </a:lnTo>
                    <a:lnTo>
                      <a:pt x="88" y="930"/>
                    </a:lnTo>
                    <a:lnTo>
                      <a:pt x="88" y="914"/>
                    </a:lnTo>
                    <a:lnTo>
                      <a:pt x="88" y="914"/>
                    </a:lnTo>
                    <a:lnTo>
                      <a:pt x="88" y="914"/>
                    </a:lnTo>
                    <a:close/>
                    <a:moveTo>
                      <a:pt x="163" y="1013"/>
                    </a:moveTo>
                    <a:lnTo>
                      <a:pt x="163" y="1030"/>
                    </a:lnTo>
                    <a:lnTo>
                      <a:pt x="158" y="1025"/>
                    </a:lnTo>
                    <a:lnTo>
                      <a:pt x="163" y="1013"/>
                    </a:lnTo>
                    <a:lnTo>
                      <a:pt x="163" y="1013"/>
                    </a:lnTo>
                    <a:lnTo>
                      <a:pt x="163" y="101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0" name="Freeform 575">
                <a:extLst>
                  <a:ext uri="{FF2B5EF4-FFF2-40B4-BE49-F238E27FC236}">
                    <a16:creationId xmlns:a16="http://schemas.microsoft.com/office/drawing/2014/main" id="{DD378B59-70C1-4312-BD40-8C6BF3BFCF33}"/>
                  </a:ext>
                </a:extLst>
              </p:cNvPr>
              <p:cNvSpPr>
                <a:spLocks noEditPoints="1"/>
              </p:cNvSpPr>
              <p:nvPr/>
            </p:nvSpPr>
            <p:spPr bwMode="gray">
              <a:xfrm>
                <a:off x="10140216" y="3301329"/>
                <a:ext cx="107034" cy="102106"/>
              </a:xfrm>
              <a:custGeom>
                <a:avLst/>
                <a:gdLst>
                  <a:gd name="T0" fmla="*/ 130 w 260"/>
                  <a:gd name="T1" fmla="*/ 132 h 248"/>
                  <a:gd name="T2" fmla="*/ 142 w 260"/>
                  <a:gd name="T3" fmla="*/ 108 h 248"/>
                  <a:gd name="T4" fmla="*/ 196 w 260"/>
                  <a:gd name="T5" fmla="*/ 21 h 248"/>
                  <a:gd name="T6" fmla="*/ 222 w 260"/>
                  <a:gd name="T7" fmla="*/ 4 h 248"/>
                  <a:gd name="T8" fmla="*/ 222 w 260"/>
                  <a:gd name="T9" fmla="*/ 4 h 248"/>
                  <a:gd name="T10" fmla="*/ 234 w 260"/>
                  <a:gd name="T11" fmla="*/ 0 h 248"/>
                  <a:gd name="T12" fmla="*/ 260 w 260"/>
                  <a:gd name="T13" fmla="*/ 9 h 248"/>
                  <a:gd name="T14" fmla="*/ 251 w 260"/>
                  <a:gd name="T15" fmla="*/ 26 h 248"/>
                  <a:gd name="T16" fmla="*/ 256 w 260"/>
                  <a:gd name="T17" fmla="*/ 59 h 248"/>
                  <a:gd name="T18" fmla="*/ 239 w 260"/>
                  <a:gd name="T19" fmla="*/ 82 h 248"/>
                  <a:gd name="T20" fmla="*/ 222 w 260"/>
                  <a:gd name="T21" fmla="*/ 148 h 248"/>
                  <a:gd name="T22" fmla="*/ 206 w 260"/>
                  <a:gd name="T23" fmla="*/ 174 h 248"/>
                  <a:gd name="T24" fmla="*/ 196 w 260"/>
                  <a:gd name="T25" fmla="*/ 203 h 248"/>
                  <a:gd name="T26" fmla="*/ 180 w 260"/>
                  <a:gd name="T27" fmla="*/ 248 h 248"/>
                  <a:gd name="T28" fmla="*/ 168 w 260"/>
                  <a:gd name="T29" fmla="*/ 248 h 248"/>
                  <a:gd name="T30" fmla="*/ 168 w 260"/>
                  <a:gd name="T31" fmla="*/ 226 h 248"/>
                  <a:gd name="T32" fmla="*/ 147 w 260"/>
                  <a:gd name="T33" fmla="*/ 203 h 248"/>
                  <a:gd name="T34" fmla="*/ 130 w 260"/>
                  <a:gd name="T35" fmla="*/ 170 h 248"/>
                  <a:gd name="T36" fmla="*/ 126 w 260"/>
                  <a:gd name="T37" fmla="*/ 165 h 248"/>
                  <a:gd name="T38" fmla="*/ 130 w 260"/>
                  <a:gd name="T39" fmla="*/ 132 h 248"/>
                  <a:gd name="T40" fmla="*/ 130 w 260"/>
                  <a:gd name="T41" fmla="*/ 132 h 248"/>
                  <a:gd name="T42" fmla="*/ 130 w 260"/>
                  <a:gd name="T43" fmla="*/ 132 h 248"/>
                  <a:gd name="T44" fmla="*/ 0 w 260"/>
                  <a:gd name="T45" fmla="*/ 59 h 248"/>
                  <a:gd name="T46" fmla="*/ 5 w 260"/>
                  <a:gd name="T47" fmla="*/ 54 h 248"/>
                  <a:gd name="T48" fmla="*/ 17 w 260"/>
                  <a:gd name="T49" fmla="*/ 59 h 248"/>
                  <a:gd name="T50" fmla="*/ 17 w 260"/>
                  <a:gd name="T51" fmla="*/ 59 h 248"/>
                  <a:gd name="T52" fmla="*/ 0 w 260"/>
                  <a:gd name="T53" fmla="*/ 59 h 248"/>
                  <a:gd name="T54" fmla="*/ 0 w 260"/>
                  <a:gd name="T55" fmla="*/ 59 h 248"/>
                  <a:gd name="T56" fmla="*/ 0 w 260"/>
                  <a:gd name="T57" fmla="*/ 59 h 248"/>
                  <a:gd name="T58" fmla="*/ 93 w 260"/>
                  <a:gd name="T59" fmla="*/ 132 h 248"/>
                  <a:gd name="T60" fmla="*/ 93 w 260"/>
                  <a:gd name="T61" fmla="*/ 120 h 248"/>
                  <a:gd name="T62" fmla="*/ 97 w 260"/>
                  <a:gd name="T63" fmla="*/ 132 h 248"/>
                  <a:gd name="T64" fmla="*/ 93 w 260"/>
                  <a:gd name="T65" fmla="*/ 132 h 248"/>
                  <a:gd name="T66" fmla="*/ 93 w 260"/>
                  <a:gd name="T67" fmla="*/ 132 h 248"/>
                  <a:gd name="T68" fmla="*/ 93 w 260"/>
                  <a:gd name="T69" fmla="*/ 13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0" h="248">
                    <a:moveTo>
                      <a:pt x="130" y="132"/>
                    </a:moveTo>
                    <a:lnTo>
                      <a:pt x="142" y="108"/>
                    </a:lnTo>
                    <a:lnTo>
                      <a:pt x="196" y="21"/>
                    </a:lnTo>
                    <a:lnTo>
                      <a:pt x="222" y="4"/>
                    </a:lnTo>
                    <a:lnTo>
                      <a:pt x="222" y="4"/>
                    </a:lnTo>
                    <a:lnTo>
                      <a:pt x="234" y="0"/>
                    </a:lnTo>
                    <a:lnTo>
                      <a:pt x="260" y="9"/>
                    </a:lnTo>
                    <a:lnTo>
                      <a:pt x="251" y="26"/>
                    </a:lnTo>
                    <a:lnTo>
                      <a:pt x="256" y="59"/>
                    </a:lnTo>
                    <a:lnTo>
                      <a:pt x="239" y="82"/>
                    </a:lnTo>
                    <a:lnTo>
                      <a:pt x="222" y="148"/>
                    </a:lnTo>
                    <a:lnTo>
                      <a:pt x="206" y="174"/>
                    </a:lnTo>
                    <a:lnTo>
                      <a:pt x="196" y="203"/>
                    </a:lnTo>
                    <a:lnTo>
                      <a:pt x="180" y="248"/>
                    </a:lnTo>
                    <a:lnTo>
                      <a:pt x="168" y="248"/>
                    </a:lnTo>
                    <a:lnTo>
                      <a:pt x="168" y="226"/>
                    </a:lnTo>
                    <a:lnTo>
                      <a:pt x="147" y="203"/>
                    </a:lnTo>
                    <a:lnTo>
                      <a:pt x="130" y="170"/>
                    </a:lnTo>
                    <a:lnTo>
                      <a:pt x="126" y="165"/>
                    </a:lnTo>
                    <a:lnTo>
                      <a:pt x="130" y="132"/>
                    </a:lnTo>
                    <a:lnTo>
                      <a:pt x="130" y="132"/>
                    </a:lnTo>
                    <a:lnTo>
                      <a:pt x="130" y="132"/>
                    </a:lnTo>
                    <a:close/>
                    <a:moveTo>
                      <a:pt x="0" y="59"/>
                    </a:moveTo>
                    <a:lnTo>
                      <a:pt x="5" y="54"/>
                    </a:lnTo>
                    <a:lnTo>
                      <a:pt x="17" y="59"/>
                    </a:lnTo>
                    <a:lnTo>
                      <a:pt x="17" y="59"/>
                    </a:lnTo>
                    <a:lnTo>
                      <a:pt x="0" y="59"/>
                    </a:lnTo>
                    <a:lnTo>
                      <a:pt x="0" y="59"/>
                    </a:lnTo>
                    <a:lnTo>
                      <a:pt x="0" y="59"/>
                    </a:lnTo>
                    <a:close/>
                    <a:moveTo>
                      <a:pt x="93" y="132"/>
                    </a:moveTo>
                    <a:lnTo>
                      <a:pt x="93" y="120"/>
                    </a:lnTo>
                    <a:lnTo>
                      <a:pt x="97" y="132"/>
                    </a:lnTo>
                    <a:lnTo>
                      <a:pt x="93" y="132"/>
                    </a:lnTo>
                    <a:lnTo>
                      <a:pt x="93" y="132"/>
                    </a:lnTo>
                    <a:lnTo>
                      <a:pt x="93" y="13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2" name="Freeform 588">
                <a:extLst>
                  <a:ext uri="{FF2B5EF4-FFF2-40B4-BE49-F238E27FC236}">
                    <a16:creationId xmlns:a16="http://schemas.microsoft.com/office/drawing/2014/main" id="{32199E15-0973-458B-8632-76A3184772ED}"/>
                  </a:ext>
                </a:extLst>
              </p:cNvPr>
              <p:cNvSpPr>
                <a:spLocks noEditPoints="1"/>
              </p:cNvSpPr>
              <p:nvPr/>
            </p:nvSpPr>
            <p:spPr bwMode="gray">
              <a:xfrm>
                <a:off x="9675441" y="3362263"/>
                <a:ext cx="212010" cy="447536"/>
              </a:xfrm>
              <a:custGeom>
                <a:avLst/>
                <a:gdLst>
                  <a:gd name="T0" fmla="*/ 374 w 515"/>
                  <a:gd name="T1" fmla="*/ 615 h 1087"/>
                  <a:gd name="T2" fmla="*/ 364 w 515"/>
                  <a:gd name="T3" fmla="*/ 556 h 1087"/>
                  <a:gd name="T4" fmla="*/ 340 w 515"/>
                  <a:gd name="T5" fmla="*/ 522 h 1087"/>
                  <a:gd name="T6" fmla="*/ 310 w 515"/>
                  <a:gd name="T7" fmla="*/ 499 h 1087"/>
                  <a:gd name="T8" fmla="*/ 248 w 515"/>
                  <a:gd name="T9" fmla="*/ 421 h 1087"/>
                  <a:gd name="T10" fmla="*/ 211 w 515"/>
                  <a:gd name="T11" fmla="*/ 367 h 1087"/>
                  <a:gd name="T12" fmla="*/ 118 w 515"/>
                  <a:gd name="T13" fmla="*/ 300 h 1087"/>
                  <a:gd name="T14" fmla="*/ 185 w 515"/>
                  <a:gd name="T15" fmla="*/ 260 h 1087"/>
                  <a:gd name="T16" fmla="*/ 173 w 515"/>
                  <a:gd name="T17" fmla="*/ 211 h 1087"/>
                  <a:gd name="T18" fmla="*/ 118 w 515"/>
                  <a:gd name="T19" fmla="*/ 182 h 1087"/>
                  <a:gd name="T20" fmla="*/ 55 w 515"/>
                  <a:gd name="T21" fmla="*/ 116 h 1087"/>
                  <a:gd name="T22" fmla="*/ 22 w 515"/>
                  <a:gd name="T23" fmla="*/ 41 h 1087"/>
                  <a:gd name="T24" fmla="*/ 102 w 515"/>
                  <a:gd name="T25" fmla="*/ 41 h 1087"/>
                  <a:gd name="T26" fmla="*/ 147 w 515"/>
                  <a:gd name="T27" fmla="*/ 41 h 1087"/>
                  <a:gd name="T28" fmla="*/ 194 w 515"/>
                  <a:gd name="T29" fmla="*/ 5 h 1087"/>
                  <a:gd name="T30" fmla="*/ 281 w 515"/>
                  <a:gd name="T31" fmla="*/ 22 h 1087"/>
                  <a:gd name="T32" fmla="*/ 326 w 515"/>
                  <a:gd name="T33" fmla="*/ 41 h 1087"/>
                  <a:gd name="T34" fmla="*/ 340 w 515"/>
                  <a:gd name="T35" fmla="*/ 100 h 1087"/>
                  <a:gd name="T36" fmla="*/ 395 w 515"/>
                  <a:gd name="T37" fmla="*/ 128 h 1087"/>
                  <a:gd name="T38" fmla="*/ 395 w 515"/>
                  <a:gd name="T39" fmla="*/ 133 h 1087"/>
                  <a:gd name="T40" fmla="*/ 348 w 515"/>
                  <a:gd name="T41" fmla="*/ 182 h 1087"/>
                  <a:gd name="T42" fmla="*/ 336 w 515"/>
                  <a:gd name="T43" fmla="*/ 173 h 1087"/>
                  <a:gd name="T44" fmla="*/ 310 w 515"/>
                  <a:gd name="T45" fmla="*/ 173 h 1087"/>
                  <a:gd name="T46" fmla="*/ 310 w 515"/>
                  <a:gd name="T47" fmla="*/ 201 h 1087"/>
                  <a:gd name="T48" fmla="*/ 265 w 515"/>
                  <a:gd name="T49" fmla="*/ 256 h 1087"/>
                  <a:gd name="T50" fmla="*/ 265 w 515"/>
                  <a:gd name="T51" fmla="*/ 367 h 1087"/>
                  <a:gd name="T52" fmla="*/ 348 w 515"/>
                  <a:gd name="T53" fmla="*/ 466 h 1087"/>
                  <a:gd name="T54" fmla="*/ 390 w 515"/>
                  <a:gd name="T55" fmla="*/ 504 h 1087"/>
                  <a:gd name="T56" fmla="*/ 418 w 515"/>
                  <a:gd name="T57" fmla="*/ 539 h 1087"/>
                  <a:gd name="T58" fmla="*/ 428 w 515"/>
                  <a:gd name="T59" fmla="*/ 539 h 1087"/>
                  <a:gd name="T60" fmla="*/ 503 w 515"/>
                  <a:gd name="T61" fmla="*/ 704 h 1087"/>
                  <a:gd name="T62" fmla="*/ 499 w 515"/>
                  <a:gd name="T63" fmla="*/ 737 h 1087"/>
                  <a:gd name="T64" fmla="*/ 487 w 515"/>
                  <a:gd name="T65" fmla="*/ 808 h 1087"/>
                  <a:gd name="T66" fmla="*/ 487 w 515"/>
                  <a:gd name="T67" fmla="*/ 848 h 1087"/>
                  <a:gd name="T68" fmla="*/ 482 w 515"/>
                  <a:gd name="T69" fmla="*/ 886 h 1087"/>
                  <a:gd name="T70" fmla="*/ 395 w 515"/>
                  <a:gd name="T71" fmla="*/ 931 h 1087"/>
                  <a:gd name="T72" fmla="*/ 336 w 515"/>
                  <a:gd name="T73" fmla="*/ 948 h 1087"/>
                  <a:gd name="T74" fmla="*/ 310 w 515"/>
                  <a:gd name="T75" fmla="*/ 948 h 1087"/>
                  <a:gd name="T76" fmla="*/ 326 w 515"/>
                  <a:gd name="T77" fmla="*/ 976 h 1087"/>
                  <a:gd name="T78" fmla="*/ 319 w 515"/>
                  <a:gd name="T79" fmla="*/ 988 h 1087"/>
                  <a:gd name="T80" fmla="*/ 310 w 515"/>
                  <a:gd name="T81" fmla="*/ 1014 h 1087"/>
                  <a:gd name="T82" fmla="*/ 281 w 515"/>
                  <a:gd name="T83" fmla="*/ 1030 h 1087"/>
                  <a:gd name="T84" fmla="*/ 180 w 515"/>
                  <a:gd name="T85" fmla="*/ 1087 h 1087"/>
                  <a:gd name="T86" fmla="*/ 201 w 515"/>
                  <a:gd name="T87" fmla="*/ 988 h 1087"/>
                  <a:gd name="T88" fmla="*/ 173 w 515"/>
                  <a:gd name="T89" fmla="*/ 976 h 1087"/>
                  <a:gd name="T90" fmla="*/ 201 w 515"/>
                  <a:gd name="T91" fmla="*/ 931 h 1087"/>
                  <a:gd name="T92" fmla="*/ 234 w 515"/>
                  <a:gd name="T93" fmla="*/ 919 h 1087"/>
                  <a:gd name="T94" fmla="*/ 255 w 515"/>
                  <a:gd name="T95" fmla="*/ 893 h 1087"/>
                  <a:gd name="T96" fmla="*/ 303 w 515"/>
                  <a:gd name="T97" fmla="*/ 865 h 1087"/>
                  <a:gd name="T98" fmla="*/ 364 w 515"/>
                  <a:gd name="T99" fmla="*/ 815 h 1087"/>
                  <a:gd name="T100" fmla="*/ 374 w 515"/>
                  <a:gd name="T101" fmla="*/ 766 h 1087"/>
                  <a:gd name="T102" fmla="*/ 374 w 515"/>
                  <a:gd name="T103" fmla="*/ 700 h 1087"/>
                  <a:gd name="T104" fmla="*/ 364 w 515"/>
                  <a:gd name="T105" fmla="*/ 166 h 1087"/>
                  <a:gd name="T106" fmla="*/ 378 w 515"/>
                  <a:gd name="T107" fmla="*/ 173 h 1087"/>
                  <a:gd name="T108" fmla="*/ 378 w 515"/>
                  <a:gd name="T109" fmla="*/ 173 h 1087"/>
                  <a:gd name="T110" fmla="*/ 336 w 515"/>
                  <a:gd name="T111" fmla="*/ 189 h 1087"/>
                  <a:gd name="T112" fmla="*/ 336 w 515"/>
                  <a:gd name="T113" fmla="*/ 182 h 1087"/>
                  <a:gd name="T114" fmla="*/ 336 w 515"/>
                  <a:gd name="T115" fmla="*/ 182 h 1087"/>
                  <a:gd name="T116" fmla="*/ 326 w 515"/>
                  <a:gd name="T117" fmla="*/ 959 h 1087"/>
                  <a:gd name="T118" fmla="*/ 326 w 515"/>
                  <a:gd name="T119" fmla="*/ 931 h 1087"/>
                  <a:gd name="T120" fmla="*/ 336 w 515"/>
                  <a:gd name="T121" fmla="*/ 948 h 1087"/>
                  <a:gd name="T122" fmla="*/ 130 w 515"/>
                  <a:gd name="T123" fmla="*/ 959 h 1087"/>
                  <a:gd name="T124" fmla="*/ 130 w 515"/>
                  <a:gd name="T125" fmla="*/ 948 h 1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5" h="1087">
                    <a:moveTo>
                      <a:pt x="374" y="700"/>
                    </a:moveTo>
                    <a:lnTo>
                      <a:pt x="364" y="683"/>
                    </a:lnTo>
                    <a:lnTo>
                      <a:pt x="378" y="643"/>
                    </a:lnTo>
                    <a:lnTo>
                      <a:pt x="374" y="615"/>
                    </a:lnTo>
                    <a:lnTo>
                      <a:pt x="378" y="615"/>
                    </a:lnTo>
                    <a:lnTo>
                      <a:pt x="390" y="598"/>
                    </a:lnTo>
                    <a:lnTo>
                      <a:pt x="348" y="560"/>
                    </a:lnTo>
                    <a:lnTo>
                      <a:pt x="364" y="556"/>
                    </a:lnTo>
                    <a:lnTo>
                      <a:pt x="374" y="539"/>
                    </a:lnTo>
                    <a:lnTo>
                      <a:pt x="364" y="539"/>
                    </a:lnTo>
                    <a:lnTo>
                      <a:pt x="348" y="522"/>
                    </a:lnTo>
                    <a:lnTo>
                      <a:pt x="340" y="522"/>
                    </a:lnTo>
                    <a:lnTo>
                      <a:pt x="336" y="504"/>
                    </a:lnTo>
                    <a:lnTo>
                      <a:pt x="326" y="515"/>
                    </a:lnTo>
                    <a:lnTo>
                      <a:pt x="319" y="515"/>
                    </a:lnTo>
                    <a:lnTo>
                      <a:pt x="310" y="499"/>
                    </a:lnTo>
                    <a:lnTo>
                      <a:pt x="310" y="478"/>
                    </a:lnTo>
                    <a:lnTo>
                      <a:pt x="303" y="478"/>
                    </a:lnTo>
                    <a:lnTo>
                      <a:pt x="293" y="461"/>
                    </a:lnTo>
                    <a:lnTo>
                      <a:pt x="248" y="421"/>
                    </a:lnTo>
                    <a:lnTo>
                      <a:pt x="234" y="388"/>
                    </a:lnTo>
                    <a:lnTo>
                      <a:pt x="227" y="388"/>
                    </a:lnTo>
                    <a:lnTo>
                      <a:pt x="211" y="371"/>
                    </a:lnTo>
                    <a:lnTo>
                      <a:pt x="211" y="367"/>
                    </a:lnTo>
                    <a:lnTo>
                      <a:pt x="211" y="350"/>
                    </a:lnTo>
                    <a:lnTo>
                      <a:pt x="180" y="338"/>
                    </a:lnTo>
                    <a:lnTo>
                      <a:pt x="140" y="310"/>
                    </a:lnTo>
                    <a:lnTo>
                      <a:pt x="118" y="300"/>
                    </a:lnTo>
                    <a:lnTo>
                      <a:pt x="130" y="284"/>
                    </a:lnTo>
                    <a:lnTo>
                      <a:pt x="130" y="267"/>
                    </a:lnTo>
                    <a:lnTo>
                      <a:pt x="173" y="277"/>
                    </a:lnTo>
                    <a:lnTo>
                      <a:pt x="185" y="260"/>
                    </a:lnTo>
                    <a:lnTo>
                      <a:pt x="185" y="256"/>
                    </a:lnTo>
                    <a:lnTo>
                      <a:pt x="194" y="244"/>
                    </a:lnTo>
                    <a:lnTo>
                      <a:pt x="194" y="239"/>
                    </a:lnTo>
                    <a:lnTo>
                      <a:pt x="173" y="211"/>
                    </a:lnTo>
                    <a:lnTo>
                      <a:pt x="156" y="211"/>
                    </a:lnTo>
                    <a:lnTo>
                      <a:pt x="173" y="201"/>
                    </a:lnTo>
                    <a:lnTo>
                      <a:pt x="130" y="173"/>
                    </a:lnTo>
                    <a:lnTo>
                      <a:pt x="118" y="182"/>
                    </a:lnTo>
                    <a:lnTo>
                      <a:pt x="109" y="201"/>
                    </a:lnTo>
                    <a:lnTo>
                      <a:pt x="71" y="182"/>
                    </a:lnTo>
                    <a:lnTo>
                      <a:pt x="48" y="149"/>
                    </a:lnTo>
                    <a:lnTo>
                      <a:pt x="55" y="116"/>
                    </a:lnTo>
                    <a:lnTo>
                      <a:pt x="33" y="128"/>
                    </a:lnTo>
                    <a:lnTo>
                      <a:pt x="33" y="100"/>
                    </a:lnTo>
                    <a:lnTo>
                      <a:pt x="0" y="74"/>
                    </a:lnTo>
                    <a:lnTo>
                      <a:pt x="22" y="41"/>
                    </a:lnTo>
                    <a:lnTo>
                      <a:pt x="64" y="62"/>
                    </a:lnTo>
                    <a:lnTo>
                      <a:pt x="76" y="41"/>
                    </a:lnTo>
                    <a:lnTo>
                      <a:pt x="92" y="57"/>
                    </a:lnTo>
                    <a:lnTo>
                      <a:pt x="102" y="41"/>
                    </a:lnTo>
                    <a:lnTo>
                      <a:pt x="126" y="62"/>
                    </a:lnTo>
                    <a:lnTo>
                      <a:pt x="130" y="41"/>
                    </a:lnTo>
                    <a:lnTo>
                      <a:pt x="147" y="29"/>
                    </a:lnTo>
                    <a:lnTo>
                      <a:pt x="147" y="41"/>
                    </a:lnTo>
                    <a:lnTo>
                      <a:pt x="156" y="45"/>
                    </a:lnTo>
                    <a:lnTo>
                      <a:pt x="173" y="29"/>
                    </a:lnTo>
                    <a:lnTo>
                      <a:pt x="180" y="41"/>
                    </a:lnTo>
                    <a:lnTo>
                      <a:pt x="194" y="5"/>
                    </a:lnTo>
                    <a:lnTo>
                      <a:pt x="227" y="0"/>
                    </a:lnTo>
                    <a:lnTo>
                      <a:pt x="239" y="17"/>
                    </a:lnTo>
                    <a:lnTo>
                      <a:pt x="255" y="29"/>
                    </a:lnTo>
                    <a:lnTo>
                      <a:pt x="281" y="22"/>
                    </a:lnTo>
                    <a:lnTo>
                      <a:pt x="286" y="29"/>
                    </a:lnTo>
                    <a:lnTo>
                      <a:pt x="303" y="22"/>
                    </a:lnTo>
                    <a:lnTo>
                      <a:pt x="319" y="29"/>
                    </a:lnTo>
                    <a:lnTo>
                      <a:pt x="326" y="41"/>
                    </a:lnTo>
                    <a:lnTo>
                      <a:pt x="310" y="62"/>
                    </a:lnTo>
                    <a:lnTo>
                      <a:pt x="319" y="78"/>
                    </a:lnTo>
                    <a:lnTo>
                      <a:pt x="319" y="95"/>
                    </a:lnTo>
                    <a:lnTo>
                      <a:pt x="340" y="100"/>
                    </a:lnTo>
                    <a:lnTo>
                      <a:pt x="340" y="111"/>
                    </a:lnTo>
                    <a:lnTo>
                      <a:pt x="357" y="116"/>
                    </a:lnTo>
                    <a:lnTo>
                      <a:pt x="364" y="128"/>
                    </a:lnTo>
                    <a:lnTo>
                      <a:pt x="395" y="128"/>
                    </a:lnTo>
                    <a:lnTo>
                      <a:pt x="411" y="133"/>
                    </a:lnTo>
                    <a:lnTo>
                      <a:pt x="411" y="133"/>
                    </a:lnTo>
                    <a:lnTo>
                      <a:pt x="407" y="145"/>
                    </a:lnTo>
                    <a:lnTo>
                      <a:pt x="395" y="133"/>
                    </a:lnTo>
                    <a:lnTo>
                      <a:pt x="378" y="149"/>
                    </a:lnTo>
                    <a:lnTo>
                      <a:pt x="374" y="149"/>
                    </a:lnTo>
                    <a:lnTo>
                      <a:pt x="364" y="173"/>
                    </a:lnTo>
                    <a:lnTo>
                      <a:pt x="348" y="182"/>
                    </a:lnTo>
                    <a:lnTo>
                      <a:pt x="340" y="173"/>
                    </a:lnTo>
                    <a:lnTo>
                      <a:pt x="348" y="173"/>
                    </a:lnTo>
                    <a:lnTo>
                      <a:pt x="340" y="173"/>
                    </a:lnTo>
                    <a:lnTo>
                      <a:pt x="336" y="173"/>
                    </a:lnTo>
                    <a:lnTo>
                      <a:pt x="336" y="182"/>
                    </a:lnTo>
                    <a:lnTo>
                      <a:pt x="326" y="182"/>
                    </a:lnTo>
                    <a:lnTo>
                      <a:pt x="326" y="173"/>
                    </a:lnTo>
                    <a:lnTo>
                      <a:pt x="310" y="173"/>
                    </a:lnTo>
                    <a:lnTo>
                      <a:pt x="326" y="182"/>
                    </a:lnTo>
                    <a:lnTo>
                      <a:pt x="319" y="182"/>
                    </a:lnTo>
                    <a:lnTo>
                      <a:pt x="326" y="201"/>
                    </a:lnTo>
                    <a:lnTo>
                      <a:pt x="310" y="201"/>
                    </a:lnTo>
                    <a:lnTo>
                      <a:pt x="310" y="227"/>
                    </a:lnTo>
                    <a:lnTo>
                      <a:pt x="303" y="227"/>
                    </a:lnTo>
                    <a:lnTo>
                      <a:pt x="310" y="227"/>
                    </a:lnTo>
                    <a:lnTo>
                      <a:pt x="265" y="256"/>
                    </a:lnTo>
                    <a:lnTo>
                      <a:pt x="255" y="277"/>
                    </a:lnTo>
                    <a:lnTo>
                      <a:pt x="255" y="300"/>
                    </a:lnTo>
                    <a:lnTo>
                      <a:pt x="239" y="322"/>
                    </a:lnTo>
                    <a:lnTo>
                      <a:pt x="265" y="367"/>
                    </a:lnTo>
                    <a:lnTo>
                      <a:pt x="303" y="404"/>
                    </a:lnTo>
                    <a:lnTo>
                      <a:pt x="293" y="421"/>
                    </a:lnTo>
                    <a:lnTo>
                      <a:pt x="319" y="445"/>
                    </a:lnTo>
                    <a:lnTo>
                      <a:pt x="348" y="466"/>
                    </a:lnTo>
                    <a:lnTo>
                      <a:pt x="348" y="482"/>
                    </a:lnTo>
                    <a:lnTo>
                      <a:pt x="378" y="499"/>
                    </a:lnTo>
                    <a:lnTo>
                      <a:pt x="374" y="499"/>
                    </a:lnTo>
                    <a:lnTo>
                      <a:pt x="390" y="504"/>
                    </a:lnTo>
                    <a:lnTo>
                      <a:pt x="395" y="522"/>
                    </a:lnTo>
                    <a:lnTo>
                      <a:pt x="411" y="522"/>
                    </a:lnTo>
                    <a:lnTo>
                      <a:pt x="428" y="532"/>
                    </a:lnTo>
                    <a:lnTo>
                      <a:pt x="418" y="539"/>
                    </a:lnTo>
                    <a:lnTo>
                      <a:pt x="428" y="544"/>
                    </a:lnTo>
                    <a:lnTo>
                      <a:pt x="428" y="532"/>
                    </a:lnTo>
                    <a:lnTo>
                      <a:pt x="433" y="539"/>
                    </a:lnTo>
                    <a:lnTo>
                      <a:pt x="428" y="539"/>
                    </a:lnTo>
                    <a:lnTo>
                      <a:pt x="433" y="544"/>
                    </a:lnTo>
                    <a:lnTo>
                      <a:pt x="461" y="589"/>
                    </a:lnTo>
                    <a:lnTo>
                      <a:pt x="466" y="589"/>
                    </a:lnTo>
                    <a:lnTo>
                      <a:pt x="503" y="704"/>
                    </a:lnTo>
                    <a:lnTo>
                      <a:pt x="503" y="709"/>
                    </a:lnTo>
                    <a:lnTo>
                      <a:pt x="499" y="704"/>
                    </a:lnTo>
                    <a:lnTo>
                      <a:pt x="499" y="704"/>
                    </a:lnTo>
                    <a:lnTo>
                      <a:pt x="499" y="737"/>
                    </a:lnTo>
                    <a:lnTo>
                      <a:pt x="515" y="775"/>
                    </a:lnTo>
                    <a:lnTo>
                      <a:pt x="499" y="792"/>
                    </a:lnTo>
                    <a:lnTo>
                      <a:pt x="503" y="815"/>
                    </a:lnTo>
                    <a:lnTo>
                      <a:pt x="487" y="808"/>
                    </a:lnTo>
                    <a:lnTo>
                      <a:pt x="499" y="848"/>
                    </a:lnTo>
                    <a:lnTo>
                      <a:pt x="499" y="832"/>
                    </a:lnTo>
                    <a:lnTo>
                      <a:pt x="499" y="837"/>
                    </a:lnTo>
                    <a:lnTo>
                      <a:pt x="487" y="848"/>
                    </a:lnTo>
                    <a:lnTo>
                      <a:pt x="499" y="853"/>
                    </a:lnTo>
                    <a:lnTo>
                      <a:pt x="487" y="870"/>
                    </a:lnTo>
                    <a:lnTo>
                      <a:pt x="482" y="870"/>
                    </a:lnTo>
                    <a:lnTo>
                      <a:pt x="482" y="886"/>
                    </a:lnTo>
                    <a:lnTo>
                      <a:pt x="466" y="886"/>
                    </a:lnTo>
                    <a:lnTo>
                      <a:pt x="418" y="919"/>
                    </a:lnTo>
                    <a:lnTo>
                      <a:pt x="411" y="931"/>
                    </a:lnTo>
                    <a:lnTo>
                      <a:pt x="395" y="931"/>
                    </a:lnTo>
                    <a:lnTo>
                      <a:pt x="357" y="959"/>
                    </a:lnTo>
                    <a:lnTo>
                      <a:pt x="340" y="948"/>
                    </a:lnTo>
                    <a:lnTo>
                      <a:pt x="340" y="931"/>
                    </a:lnTo>
                    <a:lnTo>
                      <a:pt x="336" y="948"/>
                    </a:lnTo>
                    <a:lnTo>
                      <a:pt x="336" y="943"/>
                    </a:lnTo>
                    <a:lnTo>
                      <a:pt x="319" y="931"/>
                    </a:lnTo>
                    <a:lnTo>
                      <a:pt x="319" y="948"/>
                    </a:lnTo>
                    <a:lnTo>
                      <a:pt x="310" y="948"/>
                    </a:lnTo>
                    <a:lnTo>
                      <a:pt x="319" y="948"/>
                    </a:lnTo>
                    <a:lnTo>
                      <a:pt x="326" y="964"/>
                    </a:lnTo>
                    <a:lnTo>
                      <a:pt x="293" y="964"/>
                    </a:lnTo>
                    <a:lnTo>
                      <a:pt x="326" y="976"/>
                    </a:lnTo>
                    <a:lnTo>
                      <a:pt x="326" y="981"/>
                    </a:lnTo>
                    <a:lnTo>
                      <a:pt x="310" y="988"/>
                    </a:lnTo>
                    <a:lnTo>
                      <a:pt x="286" y="964"/>
                    </a:lnTo>
                    <a:lnTo>
                      <a:pt x="319" y="988"/>
                    </a:lnTo>
                    <a:lnTo>
                      <a:pt x="310" y="997"/>
                    </a:lnTo>
                    <a:lnTo>
                      <a:pt x="281" y="964"/>
                    </a:lnTo>
                    <a:lnTo>
                      <a:pt x="310" y="1004"/>
                    </a:lnTo>
                    <a:lnTo>
                      <a:pt x="310" y="1014"/>
                    </a:lnTo>
                    <a:lnTo>
                      <a:pt x="293" y="1021"/>
                    </a:lnTo>
                    <a:lnTo>
                      <a:pt x="255" y="981"/>
                    </a:lnTo>
                    <a:lnTo>
                      <a:pt x="281" y="1014"/>
                    </a:lnTo>
                    <a:lnTo>
                      <a:pt x="281" y="1030"/>
                    </a:lnTo>
                    <a:lnTo>
                      <a:pt x="234" y="1042"/>
                    </a:lnTo>
                    <a:lnTo>
                      <a:pt x="218" y="1075"/>
                    </a:lnTo>
                    <a:lnTo>
                      <a:pt x="201" y="1087"/>
                    </a:lnTo>
                    <a:lnTo>
                      <a:pt x="180" y="1087"/>
                    </a:lnTo>
                    <a:lnTo>
                      <a:pt x="194" y="1075"/>
                    </a:lnTo>
                    <a:lnTo>
                      <a:pt x="185" y="1070"/>
                    </a:lnTo>
                    <a:lnTo>
                      <a:pt x="185" y="1004"/>
                    </a:lnTo>
                    <a:lnTo>
                      <a:pt x="201" y="988"/>
                    </a:lnTo>
                    <a:lnTo>
                      <a:pt x="211" y="997"/>
                    </a:lnTo>
                    <a:lnTo>
                      <a:pt x="211" y="988"/>
                    </a:lnTo>
                    <a:lnTo>
                      <a:pt x="185" y="964"/>
                    </a:lnTo>
                    <a:lnTo>
                      <a:pt x="173" y="976"/>
                    </a:lnTo>
                    <a:lnTo>
                      <a:pt x="163" y="959"/>
                    </a:lnTo>
                    <a:lnTo>
                      <a:pt x="173" y="948"/>
                    </a:lnTo>
                    <a:lnTo>
                      <a:pt x="194" y="943"/>
                    </a:lnTo>
                    <a:lnTo>
                      <a:pt x="201" y="931"/>
                    </a:lnTo>
                    <a:lnTo>
                      <a:pt x="201" y="919"/>
                    </a:lnTo>
                    <a:lnTo>
                      <a:pt x="211" y="919"/>
                    </a:lnTo>
                    <a:lnTo>
                      <a:pt x="227" y="919"/>
                    </a:lnTo>
                    <a:lnTo>
                      <a:pt x="234" y="919"/>
                    </a:lnTo>
                    <a:lnTo>
                      <a:pt x="255" y="910"/>
                    </a:lnTo>
                    <a:lnTo>
                      <a:pt x="281" y="926"/>
                    </a:lnTo>
                    <a:lnTo>
                      <a:pt x="281" y="910"/>
                    </a:lnTo>
                    <a:lnTo>
                      <a:pt x="255" y="893"/>
                    </a:lnTo>
                    <a:lnTo>
                      <a:pt x="255" y="870"/>
                    </a:lnTo>
                    <a:lnTo>
                      <a:pt x="265" y="865"/>
                    </a:lnTo>
                    <a:lnTo>
                      <a:pt x="272" y="853"/>
                    </a:lnTo>
                    <a:lnTo>
                      <a:pt x="303" y="865"/>
                    </a:lnTo>
                    <a:lnTo>
                      <a:pt x="293" y="837"/>
                    </a:lnTo>
                    <a:lnTo>
                      <a:pt x="319" y="837"/>
                    </a:lnTo>
                    <a:lnTo>
                      <a:pt x="348" y="815"/>
                    </a:lnTo>
                    <a:lnTo>
                      <a:pt x="364" y="815"/>
                    </a:lnTo>
                    <a:lnTo>
                      <a:pt x="374" y="820"/>
                    </a:lnTo>
                    <a:lnTo>
                      <a:pt x="378" y="815"/>
                    </a:lnTo>
                    <a:lnTo>
                      <a:pt x="378" y="792"/>
                    </a:lnTo>
                    <a:lnTo>
                      <a:pt x="374" y="766"/>
                    </a:lnTo>
                    <a:lnTo>
                      <a:pt x="378" y="726"/>
                    </a:lnTo>
                    <a:lnTo>
                      <a:pt x="374" y="704"/>
                    </a:lnTo>
                    <a:lnTo>
                      <a:pt x="374" y="700"/>
                    </a:lnTo>
                    <a:lnTo>
                      <a:pt x="374" y="700"/>
                    </a:lnTo>
                    <a:lnTo>
                      <a:pt x="374" y="700"/>
                    </a:lnTo>
                    <a:close/>
                    <a:moveTo>
                      <a:pt x="374" y="149"/>
                    </a:moveTo>
                    <a:lnTo>
                      <a:pt x="378" y="156"/>
                    </a:lnTo>
                    <a:lnTo>
                      <a:pt x="364" y="166"/>
                    </a:lnTo>
                    <a:lnTo>
                      <a:pt x="374" y="149"/>
                    </a:lnTo>
                    <a:lnTo>
                      <a:pt x="374" y="149"/>
                    </a:lnTo>
                    <a:lnTo>
                      <a:pt x="374" y="149"/>
                    </a:lnTo>
                    <a:close/>
                    <a:moveTo>
                      <a:pt x="378" y="173"/>
                    </a:moveTo>
                    <a:lnTo>
                      <a:pt x="374" y="182"/>
                    </a:lnTo>
                    <a:lnTo>
                      <a:pt x="364" y="182"/>
                    </a:lnTo>
                    <a:lnTo>
                      <a:pt x="378" y="173"/>
                    </a:lnTo>
                    <a:lnTo>
                      <a:pt x="378" y="173"/>
                    </a:lnTo>
                    <a:lnTo>
                      <a:pt x="378" y="173"/>
                    </a:lnTo>
                    <a:close/>
                    <a:moveTo>
                      <a:pt x="326" y="182"/>
                    </a:moveTo>
                    <a:lnTo>
                      <a:pt x="326" y="182"/>
                    </a:lnTo>
                    <a:lnTo>
                      <a:pt x="336" y="189"/>
                    </a:lnTo>
                    <a:lnTo>
                      <a:pt x="326" y="182"/>
                    </a:lnTo>
                    <a:lnTo>
                      <a:pt x="326" y="182"/>
                    </a:lnTo>
                    <a:lnTo>
                      <a:pt x="326" y="182"/>
                    </a:lnTo>
                    <a:close/>
                    <a:moveTo>
                      <a:pt x="336" y="182"/>
                    </a:moveTo>
                    <a:lnTo>
                      <a:pt x="348" y="189"/>
                    </a:lnTo>
                    <a:lnTo>
                      <a:pt x="340" y="201"/>
                    </a:lnTo>
                    <a:lnTo>
                      <a:pt x="336" y="182"/>
                    </a:lnTo>
                    <a:lnTo>
                      <a:pt x="336" y="182"/>
                    </a:lnTo>
                    <a:lnTo>
                      <a:pt x="336" y="182"/>
                    </a:lnTo>
                    <a:close/>
                    <a:moveTo>
                      <a:pt x="326" y="931"/>
                    </a:moveTo>
                    <a:lnTo>
                      <a:pt x="326" y="943"/>
                    </a:lnTo>
                    <a:lnTo>
                      <a:pt x="326" y="959"/>
                    </a:lnTo>
                    <a:lnTo>
                      <a:pt x="326" y="948"/>
                    </a:lnTo>
                    <a:lnTo>
                      <a:pt x="326" y="931"/>
                    </a:lnTo>
                    <a:lnTo>
                      <a:pt x="326" y="931"/>
                    </a:lnTo>
                    <a:lnTo>
                      <a:pt x="326" y="931"/>
                    </a:lnTo>
                    <a:close/>
                    <a:moveTo>
                      <a:pt x="336" y="948"/>
                    </a:moveTo>
                    <a:lnTo>
                      <a:pt x="340" y="959"/>
                    </a:lnTo>
                    <a:lnTo>
                      <a:pt x="336" y="959"/>
                    </a:lnTo>
                    <a:lnTo>
                      <a:pt x="336" y="948"/>
                    </a:lnTo>
                    <a:lnTo>
                      <a:pt x="336" y="948"/>
                    </a:lnTo>
                    <a:lnTo>
                      <a:pt x="336" y="948"/>
                    </a:lnTo>
                    <a:close/>
                    <a:moveTo>
                      <a:pt x="130" y="948"/>
                    </a:moveTo>
                    <a:lnTo>
                      <a:pt x="130" y="959"/>
                    </a:lnTo>
                    <a:lnTo>
                      <a:pt x="130" y="981"/>
                    </a:lnTo>
                    <a:lnTo>
                      <a:pt x="118" y="959"/>
                    </a:lnTo>
                    <a:lnTo>
                      <a:pt x="130" y="948"/>
                    </a:lnTo>
                    <a:lnTo>
                      <a:pt x="130" y="948"/>
                    </a:lnTo>
                    <a:lnTo>
                      <a:pt x="130" y="94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7" name="Gruppieren 26">
              <a:extLst>
                <a:ext uri="{FF2B5EF4-FFF2-40B4-BE49-F238E27FC236}">
                  <a16:creationId xmlns:a16="http://schemas.microsoft.com/office/drawing/2014/main" id="{4B5AFE33-27C5-4882-A423-F152BBA68944}"/>
                </a:ext>
              </a:extLst>
            </p:cNvPr>
            <p:cNvGrpSpPr/>
            <p:nvPr/>
          </p:nvGrpSpPr>
          <p:grpSpPr bwMode="gray">
            <a:xfrm>
              <a:off x="5694161" y="3109711"/>
              <a:ext cx="3093288" cy="2989470"/>
              <a:chOff x="5995933" y="2821679"/>
              <a:chExt cx="3093288" cy="2989470"/>
            </a:xfrm>
            <a:grpFill/>
          </p:grpSpPr>
          <p:sp>
            <p:nvSpPr>
              <p:cNvPr id="8001" name="Freeform 380">
                <a:extLst>
                  <a:ext uri="{FF2B5EF4-FFF2-40B4-BE49-F238E27FC236}">
                    <a16:creationId xmlns:a16="http://schemas.microsoft.com/office/drawing/2014/main" id="{43946498-87B9-4EF9-95A8-23D96F5069E3}"/>
                  </a:ext>
                </a:extLst>
              </p:cNvPr>
              <p:cNvSpPr>
                <a:spLocks/>
              </p:cNvSpPr>
              <p:nvPr/>
            </p:nvSpPr>
            <p:spPr bwMode="gray">
              <a:xfrm>
                <a:off x="6476353" y="2912257"/>
                <a:ext cx="594864" cy="582578"/>
              </a:xfrm>
              <a:custGeom>
                <a:avLst/>
                <a:gdLst>
                  <a:gd name="T0" fmla="*/ 399 w 1445"/>
                  <a:gd name="T1" fmla="*/ 427 h 1415"/>
                  <a:gd name="T2" fmla="*/ 446 w 1445"/>
                  <a:gd name="T3" fmla="*/ 399 h 1415"/>
                  <a:gd name="T4" fmla="*/ 522 w 1445"/>
                  <a:gd name="T5" fmla="*/ 399 h 1415"/>
                  <a:gd name="T6" fmla="*/ 522 w 1445"/>
                  <a:gd name="T7" fmla="*/ 387 h 1415"/>
                  <a:gd name="T8" fmla="*/ 508 w 1445"/>
                  <a:gd name="T9" fmla="*/ 354 h 1415"/>
                  <a:gd name="T10" fmla="*/ 508 w 1445"/>
                  <a:gd name="T11" fmla="*/ 333 h 1415"/>
                  <a:gd name="T12" fmla="*/ 491 w 1445"/>
                  <a:gd name="T13" fmla="*/ 283 h 1415"/>
                  <a:gd name="T14" fmla="*/ 491 w 1445"/>
                  <a:gd name="T15" fmla="*/ 243 h 1415"/>
                  <a:gd name="T16" fmla="*/ 491 w 1445"/>
                  <a:gd name="T17" fmla="*/ 210 h 1415"/>
                  <a:gd name="T18" fmla="*/ 484 w 1445"/>
                  <a:gd name="T19" fmla="*/ 193 h 1415"/>
                  <a:gd name="T20" fmla="*/ 484 w 1445"/>
                  <a:gd name="T21" fmla="*/ 165 h 1415"/>
                  <a:gd name="T22" fmla="*/ 538 w 1445"/>
                  <a:gd name="T23" fmla="*/ 116 h 1415"/>
                  <a:gd name="T24" fmla="*/ 560 w 1445"/>
                  <a:gd name="T25" fmla="*/ 116 h 1415"/>
                  <a:gd name="T26" fmla="*/ 597 w 1445"/>
                  <a:gd name="T27" fmla="*/ 111 h 1415"/>
                  <a:gd name="T28" fmla="*/ 690 w 1445"/>
                  <a:gd name="T29" fmla="*/ 45 h 1415"/>
                  <a:gd name="T30" fmla="*/ 786 w 1445"/>
                  <a:gd name="T31" fmla="*/ 45 h 1415"/>
                  <a:gd name="T32" fmla="*/ 853 w 1445"/>
                  <a:gd name="T33" fmla="*/ 28 h 1415"/>
                  <a:gd name="T34" fmla="*/ 938 w 1445"/>
                  <a:gd name="T35" fmla="*/ 12 h 1415"/>
                  <a:gd name="T36" fmla="*/ 1008 w 1445"/>
                  <a:gd name="T37" fmla="*/ 21 h 1415"/>
                  <a:gd name="T38" fmla="*/ 1046 w 1445"/>
                  <a:gd name="T39" fmla="*/ 4 h 1415"/>
                  <a:gd name="T40" fmla="*/ 1067 w 1445"/>
                  <a:gd name="T41" fmla="*/ 12 h 1415"/>
                  <a:gd name="T42" fmla="*/ 1110 w 1445"/>
                  <a:gd name="T43" fmla="*/ 12 h 1415"/>
                  <a:gd name="T44" fmla="*/ 1117 w 1445"/>
                  <a:gd name="T45" fmla="*/ 0 h 1415"/>
                  <a:gd name="T46" fmla="*/ 1164 w 1445"/>
                  <a:gd name="T47" fmla="*/ 21 h 1415"/>
                  <a:gd name="T48" fmla="*/ 1209 w 1445"/>
                  <a:gd name="T49" fmla="*/ 12 h 1415"/>
                  <a:gd name="T50" fmla="*/ 1176 w 1445"/>
                  <a:gd name="T51" fmla="*/ 45 h 1415"/>
                  <a:gd name="T52" fmla="*/ 1186 w 1445"/>
                  <a:gd name="T53" fmla="*/ 99 h 1415"/>
                  <a:gd name="T54" fmla="*/ 1193 w 1445"/>
                  <a:gd name="T55" fmla="*/ 139 h 1415"/>
                  <a:gd name="T56" fmla="*/ 1186 w 1445"/>
                  <a:gd name="T57" fmla="*/ 205 h 1415"/>
                  <a:gd name="T58" fmla="*/ 1155 w 1445"/>
                  <a:gd name="T59" fmla="*/ 234 h 1415"/>
                  <a:gd name="T60" fmla="*/ 1134 w 1445"/>
                  <a:gd name="T61" fmla="*/ 260 h 1415"/>
                  <a:gd name="T62" fmla="*/ 1176 w 1445"/>
                  <a:gd name="T63" fmla="*/ 321 h 1415"/>
                  <a:gd name="T64" fmla="*/ 1193 w 1445"/>
                  <a:gd name="T65" fmla="*/ 371 h 1415"/>
                  <a:gd name="T66" fmla="*/ 1278 w 1445"/>
                  <a:gd name="T67" fmla="*/ 555 h 1415"/>
                  <a:gd name="T68" fmla="*/ 1285 w 1445"/>
                  <a:gd name="T69" fmla="*/ 600 h 1415"/>
                  <a:gd name="T70" fmla="*/ 1294 w 1445"/>
                  <a:gd name="T71" fmla="*/ 711 h 1415"/>
                  <a:gd name="T72" fmla="*/ 1285 w 1445"/>
                  <a:gd name="T73" fmla="*/ 782 h 1415"/>
                  <a:gd name="T74" fmla="*/ 1299 w 1445"/>
                  <a:gd name="T75" fmla="*/ 822 h 1415"/>
                  <a:gd name="T76" fmla="*/ 1273 w 1445"/>
                  <a:gd name="T77" fmla="*/ 855 h 1415"/>
                  <a:gd name="T78" fmla="*/ 1311 w 1445"/>
                  <a:gd name="T79" fmla="*/ 933 h 1415"/>
                  <a:gd name="T80" fmla="*/ 1327 w 1445"/>
                  <a:gd name="T81" fmla="*/ 982 h 1415"/>
                  <a:gd name="T82" fmla="*/ 1337 w 1445"/>
                  <a:gd name="T83" fmla="*/ 1004 h 1415"/>
                  <a:gd name="T84" fmla="*/ 1419 w 1445"/>
                  <a:gd name="T85" fmla="*/ 1011 h 1415"/>
                  <a:gd name="T86" fmla="*/ 1134 w 1445"/>
                  <a:gd name="T87" fmla="*/ 1278 h 1415"/>
                  <a:gd name="T88" fmla="*/ 907 w 1445"/>
                  <a:gd name="T89" fmla="*/ 1405 h 1415"/>
                  <a:gd name="T90" fmla="*/ 824 w 1445"/>
                  <a:gd name="T91" fmla="*/ 1405 h 1415"/>
                  <a:gd name="T92" fmla="*/ 831 w 1445"/>
                  <a:gd name="T93" fmla="*/ 1353 h 1415"/>
                  <a:gd name="T94" fmla="*/ 760 w 1445"/>
                  <a:gd name="T95" fmla="*/ 1320 h 1415"/>
                  <a:gd name="T96" fmla="*/ 734 w 1445"/>
                  <a:gd name="T97" fmla="*/ 1315 h 1415"/>
                  <a:gd name="T98" fmla="*/ 690 w 1445"/>
                  <a:gd name="T99" fmla="*/ 1282 h 1415"/>
                  <a:gd name="T100" fmla="*/ 269 w 1445"/>
                  <a:gd name="T101" fmla="*/ 966 h 1415"/>
                  <a:gd name="T102" fmla="*/ 0 w 1445"/>
                  <a:gd name="T103" fmla="*/ 760 h 1415"/>
                  <a:gd name="T104" fmla="*/ 108 w 1445"/>
                  <a:gd name="T105" fmla="*/ 600 h 1415"/>
                  <a:gd name="T106" fmla="*/ 160 w 1445"/>
                  <a:gd name="T107" fmla="*/ 593 h 1415"/>
                  <a:gd name="T108" fmla="*/ 236 w 1445"/>
                  <a:gd name="T109" fmla="*/ 567 h 1415"/>
                  <a:gd name="T110" fmla="*/ 302 w 1445"/>
                  <a:gd name="T111" fmla="*/ 522 h 1415"/>
                  <a:gd name="T112" fmla="*/ 356 w 1445"/>
                  <a:gd name="T113" fmla="*/ 498 h 1415"/>
                  <a:gd name="T114" fmla="*/ 340 w 1445"/>
                  <a:gd name="T115" fmla="*/ 482 h 1415"/>
                  <a:gd name="T116" fmla="*/ 366 w 1445"/>
                  <a:gd name="T117" fmla="*/ 432 h 1415"/>
                  <a:gd name="T118" fmla="*/ 366 w 1445"/>
                  <a:gd name="T119" fmla="*/ 432 h 1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5" h="1415">
                    <a:moveTo>
                      <a:pt x="366" y="432"/>
                    </a:moveTo>
                    <a:lnTo>
                      <a:pt x="399" y="427"/>
                    </a:lnTo>
                    <a:lnTo>
                      <a:pt x="408" y="411"/>
                    </a:lnTo>
                    <a:lnTo>
                      <a:pt x="446" y="399"/>
                    </a:lnTo>
                    <a:lnTo>
                      <a:pt x="522" y="411"/>
                    </a:lnTo>
                    <a:lnTo>
                      <a:pt x="522" y="399"/>
                    </a:lnTo>
                    <a:lnTo>
                      <a:pt x="517" y="399"/>
                    </a:lnTo>
                    <a:lnTo>
                      <a:pt x="522" y="387"/>
                    </a:lnTo>
                    <a:lnTo>
                      <a:pt x="538" y="371"/>
                    </a:lnTo>
                    <a:lnTo>
                      <a:pt x="508" y="354"/>
                    </a:lnTo>
                    <a:lnTo>
                      <a:pt x="501" y="338"/>
                    </a:lnTo>
                    <a:lnTo>
                      <a:pt x="508" y="333"/>
                    </a:lnTo>
                    <a:lnTo>
                      <a:pt x="491" y="316"/>
                    </a:lnTo>
                    <a:lnTo>
                      <a:pt x="491" y="283"/>
                    </a:lnTo>
                    <a:lnTo>
                      <a:pt x="484" y="276"/>
                    </a:lnTo>
                    <a:lnTo>
                      <a:pt x="491" y="243"/>
                    </a:lnTo>
                    <a:lnTo>
                      <a:pt x="484" y="222"/>
                    </a:lnTo>
                    <a:lnTo>
                      <a:pt x="491" y="210"/>
                    </a:lnTo>
                    <a:lnTo>
                      <a:pt x="475" y="205"/>
                    </a:lnTo>
                    <a:lnTo>
                      <a:pt x="484" y="193"/>
                    </a:lnTo>
                    <a:lnTo>
                      <a:pt x="453" y="165"/>
                    </a:lnTo>
                    <a:lnTo>
                      <a:pt x="484" y="165"/>
                    </a:lnTo>
                    <a:lnTo>
                      <a:pt x="517" y="139"/>
                    </a:lnTo>
                    <a:lnTo>
                      <a:pt x="538" y="116"/>
                    </a:lnTo>
                    <a:lnTo>
                      <a:pt x="555" y="111"/>
                    </a:lnTo>
                    <a:lnTo>
                      <a:pt x="560" y="116"/>
                    </a:lnTo>
                    <a:lnTo>
                      <a:pt x="583" y="99"/>
                    </a:lnTo>
                    <a:lnTo>
                      <a:pt x="597" y="111"/>
                    </a:lnTo>
                    <a:lnTo>
                      <a:pt x="626" y="82"/>
                    </a:lnTo>
                    <a:lnTo>
                      <a:pt x="690" y="45"/>
                    </a:lnTo>
                    <a:lnTo>
                      <a:pt x="772" y="38"/>
                    </a:lnTo>
                    <a:lnTo>
                      <a:pt x="786" y="45"/>
                    </a:lnTo>
                    <a:lnTo>
                      <a:pt x="810" y="21"/>
                    </a:lnTo>
                    <a:lnTo>
                      <a:pt x="853" y="28"/>
                    </a:lnTo>
                    <a:lnTo>
                      <a:pt x="878" y="12"/>
                    </a:lnTo>
                    <a:lnTo>
                      <a:pt x="938" y="12"/>
                    </a:lnTo>
                    <a:lnTo>
                      <a:pt x="975" y="38"/>
                    </a:lnTo>
                    <a:lnTo>
                      <a:pt x="1008" y="21"/>
                    </a:lnTo>
                    <a:lnTo>
                      <a:pt x="1046" y="12"/>
                    </a:lnTo>
                    <a:lnTo>
                      <a:pt x="1046" y="4"/>
                    </a:lnTo>
                    <a:lnTo>
                      <a:pt x="1063" y="0"/>
                    </a:lnTo>
                    <a:lnTo>
                      <a:pt x="1067" y="12"/>
                    </a:lnTo>
                    <a:lnTo>
                      <a:pt x="1096" y="12"/>
                    </a:lnTo>
                    <a:lnTo>
                      <a:pt x="1110" y="12"/>
                    </a:lnTo>
                    <a:lnTo>
                      <a:pt x="1117" y="4"/>
                    </a:lnTo>
                    <a:lnTo>
                      <a:pt x="1117" y="0"/>
                    </a:lnTo>
                    <a:lnTo>
                      <a:pt x="1155" y="12"/>
                    </a:lnTo>
                    <a:lnTo>
                      <a:pt x="1164" y="21"/>
                    </a:lnTo>
                    <a:lnTo>
                      <a:pt x="1186" y="12"/>
                    </a:lnTo>
                    <a:lnTo>
                      <a:pt x="1209" y="12"/>
                    </a:lnTo>
                    <a:lnTo>
                      <a:pt x="1219" y="21"/>
                    </a:lnTo>
                    <a:lnTo>
                      <a:pt x="1176" y="45"/>
                    </a:lnTo>
                    <a:lnTo>
                      <a:pt x="1193" y="54"/>
                    </a:lnTo>
                    <a:lnTo>
                      <a:pt x="1186" y="99"/>
                    </a:lnTo>
                    <a:lnTo>
                      <a:pt x="1193" y="116"/>
                    </a:lnTo>
                    <a:lnTo>
                      <a:pt x="1193" y="139"/>
                    </a:lnTo>
                    <a:lnTo>
                      <a:pt x="1193" y="156"/>
                    </a:lnTo>
                    <a:lnTo>
                      <a:pt x="1186" y="205"/>
                    </a:lnTo>
                    <a:lnTo>
                      <a:pt x="1155" y="222"/>
                    </a:lnTo>
                    <a:lnTo>
                      <a:pt x="1155" y="234"/>
                    </a:lnTo>
                    <a:lnTo>
                      <a:pt x="1134" y="243"/>
                    </a:lnTo>
                    <a:lnTo>
                      <a:pt x="1134" y="260"/>
                    </a:lnTo>
                    <a:lnTo>
                      <a:pt x="1148" y="316"/>
                    </a:lnTo>
                    <a:lnTo>
                      <a:pt x="1176" y="321"/>
                    </a:lnTo>
                    <a:lnTo>
                      <a:pt x="1193" y="345"/>
                    </a:lnTo>
                    <a:lnTo>
                      <a:pt x="1193" y="371"/>
                    </a:lnTo>
                    <a:lnTo>
                      <a:pt x="1240" y="411"/>
                    </a:lnTo>
                    <a:lnTo>
                      <a:pt x="1278" y="555"/>
                    </a:lnTo>
                    <a:lnTo>
                      <a:pt x="1261" y="560"/>
                    </a:lnTo>
                    <a:lnTo>
                      <a:pt x="1285" y="600"/>
                    </a:lnTo>
                    <a:lnTo>
                      <a:pt x="1294" y="638"/>
                    </a:lnTo>
                    <a:lnTo>
                      <a:pt x="1294" y="711"/>
                    </a:lnTo>
                    <a:lnTo>
                      <a:pt x="1311" y="744"/>
                    </a:lnTo>
                    <a:lnTo>
                      <a:pt x="1285" y="782"/>
                    </a:lnTo>
                    <a:lnTo>
                      <a:pt x="1299" y="815"/>
                    </a:lnTo>
                    <a:lnTo>
                      <a:pt x="1299" y="822"/>
                    </a:lnTo>
                    <a:lnTo>
                      <a:pt x="1299" y="843"/>
                    </a:lnTo>
                    <a:lnTo>
                      <a:pt x="1273" y="855"/>
                    </a:lnTo>
                    <a:lnTo>
                      <a:pt x="1261" y="871"/>
                    </a:lnTo>
                    <a:lnTo>
                      <a:pt x="1311" y="933"/>
                    </a:lnTo>
                    <a:lnTo>
                      <a:pt x="1311" y="971"/>
                    </a:lnTo>
                    <a:lnTo>
                      <a:pt x="1327" y="982"/>
                    </a:lnTo>
                    <a:lnTo>
                      <a:pt x="1327" y="987"/>
                    </a:lnTo>
                    <a:lnTo>
                      <a:pt x="1337" y="1004"/>
                    </a:lnTo>
                    <a:lnTo>
                      <a:pt x="1353" y="999"/>
                    </a:lnTo>
                    <a:lnTo>
                      <a:pt x="1419" y="1011"/>
                    </a:lnTo>
                    <a:lnTo>
                      <a:pt x="1445" y="1077"/>
                    </a:lnTo>
                    <a:lnTo>
                      <a:pt x="1134" y="1278"/>
                    </a:lnTo>
                    <a:lnTo>
                      <a:pt x="1013" y="1389"/>
                    </a:lnTo>
                    <a:lnTo>
                      <a:pt x="907" y="1405"/>
                    </a:lnTo>
                    <a:lnTo>
                      <a:pt x="841" y="1415"/>
                    </a:lnTo>
                    <a:lnTo>
                      <a:pt x="824" y="1405"/>
                    </a:lnTo>
                    <a:lnTo>
                      <a:pt x="841" y="1389"/>
                    </a:lnTo>
                    <a:lnTo>
                      <a:pt x="831" y="1353"/>
                    </a:lnTo>
                    <a:lnTo>
                      <a:pt x="777" y="1337"/>
                    </a:lnTo>
                    <a:lnTo>
                      <a:pt x="760" y="1320"/>
                    </a:lnTo>
                    <a:lnTo>
                      <a:pt x="756" y="1320"/>
                    </a:lnTo>
                    <a:lnTo>
                      <a:pt x="734" y="1315"/>
                    </a:lnTo>
                    <a:lnTo>
                      <a:pt x="723" y="1299"/>
                    </a:lnTo>
                    <a:lnTo>
                      <a:pt x="690" y="1282"/>
                    </a:lnTo>
                    <a:lnTo>
                      <a:pt x="690" y="1261"/>
                    </a:lnTo>
                    <a:lnTo>
                      <a:pt x="269" y="966"/>
                    </a:lnTo>
                    <a:lnTo>
                      <a:pt x="0" y="782"/>
                    </a:lnTo>
                    <a:lnTo>
                      <a:pt x="0" y="760"/>
                    </a:lnTo>
                    <a:lnTo>
                      <a:pt x="0" y="671"/>
                    </a:lnTo>
                    <a:lnTo>
                      <a:pt x="108" y="600"/>
                    </a:lnTo>
                    <a:lnTo>
                      <a:pt x="146" y="609"/>
                    </a:lnTo>
                    <a:lnTo>
                      <a:pt x="160" y="593"/>
                    </a:lnTo>
                    <a:lnTo>
                      <a:pt x="222" y="583"/>
                    </a:lnTo>
                    <a:lnTo>
                      <a:pt x="236" y="567"/>
                    </a:lnTo>
                    <a:lnTo>
                      <a:pt x="260" y="538"/>
                    </a:lnTo>
                    <a:lnTo>
                      <a:pt x="302" y="522"/>
                    </a:lnTo>
                    <a:lnTo>
                      <a:pt x="323" y="498"/>
                    </a:lnTo>
                    <a:lnTo>
                      <a:pt x="356" y="498"/>
                    </a:lnTo>
                    <a:lnTo>
                      <a:pt x="356" y="489"/>
                    </a:lnTo>
                    <a:lnTo>
                      <a:pt x="340" y="482"/>
                    </a:lnTo>
                    <a:lnTo>
                      <a:pt x="340" y="444"/>
                    </a:lnTo>
                    <a:lnTo>
                      <a:pt x="366" y="432"/>
                    </a:lnTo>
                    <a:lnTo>
                      <a:pt x="366" y="432"/>
                    </a:lnTo>
                    <a:lnTo>
                      <a:pt x="366" y="43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06" name="Freeform 385">
                <a:extLst>
                  <a:ext uri="{FF2B5EF4-FFF2-40B4-BE49-F238E27FC236}">
                    <a16:creationId xmlns:a16="http://schemas.microsoft.com/office/drawing/2014/main" id="{380E12E5-ABE5-4830-9429-9E2FDA199194}"/>
                  </a:ext>
                </a:extLst>
              </p:cNvPr>
              <p:cNvSpPr>
                <a:spLocks noEditPoints="1"/>
              </p:cNvSpPr>
              <p:nvPr/>
            </p:nvSpPr>
            <p:spPr bwMode="gray">
              <a:xfrm>
                <a:off x="7066686" y="4198046"/>
                <a:ext cx="356918" cy="406364"/>
              </a:xfrm>
              <a:custGeom>
                <a:avLst/>
                <a:gdLst>
                  <a:gd name="T0" fmla="*/ 75 w 867"/>
                  <a:gd name="T1" fmla="*/ 23 h 987"/>
                  <a:gd name="T2" fmla="*/ 54 w 867"/>
                  <a:gd name="T3" fmla="*/ 94 h 987"/>
                  <a:gd name="T4" fmla="*/ 21 w 867"/>
                  <a:gd name="T5" fmla="*/ 85 h 987"/>
                  <a:gd name="T6" fmla="*/ 9 w 867"/>
                  <a:gd name="T7" fmla="*/ 40 h 987"/>
                  <a:gd name="T8" fmla="*/ 37 w 867"/>
                  <a:gd name="T9" fmla="*/ 23 h 987"/>
                  <a:gd name="T10" fmla="*/ 59 w 867"/>
                  <a:gd name="T11" fmla="*/ 7 h 987"/>
                  <a:gd name="T12" fmla="*/ 75 w 867"/>
                  <a:gd name="T13" fmla="*/ 0 h 987"/>
                  <a:gd name="T14" fmla="*/ 92 w 867"/>
                  <a:gd name="T15" fmla="*/ 16 h 987"/>
                  <a:gd name="T16" fmla="*/ 817 w 867"/>
                  <a:gd name="T17" fmla="*/ 966 h 987"/>
                  <a:gd name="T18" fmla="*/ 654 w 867"/>
                  <a:gd name="T19" fmla="*/ 982 h 987"/>
                  <a:gd name="T20" fmla="*/ 616 w 867"/>
                  <a:gd name="T21" fmla="*/ 987 h 987"/>
                  <a:gd name="T22" fmla="*/ 498 w 867"/>
                  <a:gd name="T23" fmla="*/ 970 h 987"/>
                  <a:gd name="T24" fmla="*/ 470 w 867"/>
                  <a:gd name="T25" fmla="*/ 942 h 987"/>
                  <a:gd name="T26" fmla="*/ 118 w 867"/>
                  <a:gd name="T27" fmla="*/ 916 h 987"/>
                  <a:gd name="T28" fmla="*/ 54 w 867"/>
                  <a:gd name="T29" fmla="*/ 933 h 987"/>
                  <a:gd name="T30" fmla="*/ 0 w 867"/>
                  <a:gd name="T31" fmla="*/ 933 h 987"/>
                  <a:gd name="T32" fmla="*/ 0 w 867"/>
                  <a:gd name="T33" fmla="*/ 838 h 987"/>
                  <a:gd name="T34" fmla="*/ 9 w 867"/>
                  <a:gd name="T35" fmla="*/ 814 h 987"/>
                  <a:gd name="T36" fmla="*/ 37 w 867"/>
                  <a:gd name="T37" fmla="*/ 748 h 987"/>
                  <a:gd name="T38" fmla="*/ 54 w 867"/>
                  <a:gd name="T39" fmla="*/ 682 h 987"/>
                  <a:gd name="T40" fmla="*/ 80 w 867"/>
                  <a:gd name="T41" fmla="*/ 616 h 987"/>
                  <a:gd name="T42" fmla="*/ 113 w 867"/>
                  <a:gd name="T43" fmla="*/ 583 h 987"/>
                  <a:gd name="T44" fmla="*/ 146 w 867"/>
                  <a:gd name="T45" fmla="*/ 472 h 987"/>
                  <a:gd name="T46" fmla="*/ 134 w 867"/>
                  <a:gd name="T47" fmla="*/ 451 h 987"/>
                  <a:gd name="T48" fmla="*/ 80 w 867"/>
                  <a:gd name="T49" fmla="*/ 333 h 987"/>
                  <a:gd name="T50" fmla="*/ 80 w 867"/>
                  <a:gd name="T51" fmla="*/ 333 h 987"/>
                  <a:gd name="T52" fmla="*/ 113 w 867"/>
                  <a:gd name="T53" fmla="*/ 283 h 987"/>
                  <a:gd name="T54" fmla="*/ 75 w 867"/>
                  <a:gd name="T55" fmla="*/ 184 h 987"/>
                  <a:gd name="T56" fmla="*/ 26 w 867"/>
                  <a:gd name="T57" fmla="*/ 118 h 987"/>
                  <a:gd name="T58" fmla="*/ 96 w 867"/>
                  <a:gd name="T59" fmla="*/ 101 h 987"/>
                  <a:gd name="T60" fmla="*/ 335 w 867"/>
                  <a:gd name="T61" fmla="*/ 111 h 987"/>
                  <a:gd name="T62" fmla="*/ 344 w 867"/>
                  <a:gd name="T63" fmla="*/ 139 h 987"/>
                  <a:gd name="T64" fmla="*/ 361 w 867"/>
                  <a:gd name="T65" fmla="*/ 196 h 987"/>
                  <a:gd name="T66" fmla="*/ 432 w 867"/>
                  <a:gd name="T67" fmla="*/ 262 h 987"/>
                  <a:gd name="T68" fmla="*/ 444 w 867"/>
                  <a:gd name="T69" fmla="*/ 262 h 987"/>
                  <a:gd name="T70" fmla="*/ 470 w 867"/>
                  <a:gd name="T71" fmla="*/ 250 h 987"/>
                  <a:gd name="T72" fmla="*/ 529 w 867"/>
                  <a:gd name="T73" fmla="*/ 229 h 987"/>
                  <a:gd name="T74" fmla="*/ 545 w 867"/>
                  <a:gd name="T75" fmla="*/ 184 h 987"/>
                  <a:gd name="T76" fmla="*/ 600 w 867"/>
                  <a:gd name="T77" fmla="*/ 184 h 987"/>
                  <a:gd name="T78" fmla="*/ 616 w 867"/>
                  <a:gd name="T79" fmla="*/ 205 h 987"/>
                  <a:gd name="T80" fmla="*/ 708 w 867"/>
                  <a:gd name="T81" fmla="*/ 222 h 987"/>
                  <a:gd name="T82" fmla="*/ 708 w 867"/>
                  <a:gd name="T83" fmla="*/ 295 h 987"/>
                  <a:gd name="T84" fmla="*/ 708 w 867"/>
                  <a:gd name="T85" fmla="*/ 377 h 987"/>
                  <a:gd name="T86" fmla="*/ 741 w 867"/>
                  <a:gd name="T87" fmla="*/ 427 h 987"/>
                  <a:gd name="T88" fmla="*/ 730 w 867"/>
                  <a:gd name="T89" fmla="*/ 467 h 987"/>
                  <a:gd name="T90" fmla="*/ 758 w 867"/>
                  <a:gd name="T91" fmla="*/ 472 h 987"/>
                  <a:gd name="T92" fmla="*/ 817 w 867"/>
                  <a:gd name="T93" fmla="*/ 472 h 987"/>
                  <a:gd name="T94" fmla="*/ 855 w 867"/>
                  <a:gd name="T95" fmla="*/ 467 h 987"/>
                  <a:gd name="T96" fmla="*/ 855 w 867"/>
                  <a:gd name="T97" fmla="*/ 522 h 987"/>
                  <a:gd name="T98" fmla="*/ 867 w 867"/>
                  <a:gd name="T99" fmla="*/ 578 h 987"/>
                  <a:gd name="T100" fmla="*/ 855 w 867"/>
                  <a:gd name="T101" fmla="*/ 628 h 987"/>
                  <a:gd name="T102" fmla="*/ 720 w 867"/>
                  <a:gd name="T103" fmla="*/ 855 h 987"/>
                  <a:gd name="T104" fmla="*/ 800 w 867"/>
                  <a:gd name="T105" fmla="*/ 949 h 987"/>
                  <a:gd name="T106" fmla="*/ 817 w 867"/>
                  <a:gd name="T107" fmla="*/ 966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7" h="987">
                    <a:moveTo>
                      <a:pt x="92" y="16"/>
                    </a:moveTo>
                    <a:lnTo>
                      <a:pt x="75" y="23"/>
                    </a:lnTo>
                    <a:lnTo>
                      <a:pt x="54" y="40"/>
                    </a:lnTo>
                    <a:lnTo>
                      <a:pt x="54" y="94"/>
                    </a:lnTo>
                    <a:lnTo>
                      <a:pt x="26" y="94"/>
                    </a:lnTo>
                    <a:lnTo>
                      <a:pt x="21" y="85"/>
                    </a:lnTo>
                    <a:lnTo>
                      <a:pt x="26" y="73"/>
                    </a:lnTo>
                    <a:lnTo>
                      <a:pt x="9" y="40"/>
                    </a:lnTo>
                    <a:lnTo>
                      <a:pt x="26" y="23"/>
                    </a:lnTo>
                    <a:lnTo>
                      <a:pt x="37" y="23"/>
                    </a:lnTo>
                    <a:lnTo>
                      <a:pt x="42" y="16"/>
                    </a:lnTo>
                    <a:lnTo>
                      <a:pt x="59" y="7"/>
                    </a:lnTo>
                    <a:lnTo>
                      <a:pt x="63" y="0"/>
                    </a:lnTo>
                    <a:lnTo>
                      <a:pt x="75" y="0"/>
                    </a:lnTo>
                    <a:lnTo>
                      <a:pt x="92" y="16"/>
                    </a:lnTo>
                    <a:lnTo>
                      <a:pt x="92" y="16"/>
                    </a:lnTo>
                    <a:lnTo>
                      <a:pt x="92" y="16"/>
                    </a:lnTo>
                    <a:close/>
                    <a:moveTo>
                      <a:pt x="817" y="966"/>
                    </a:moveTo>
                    <a:lnTo>
                      <a:pt x="670" y="987"/>
                    </a:lnTo>
                    <a:lnTo>
                      <a:pt x="654" y="982"/>
                    </a:lnTo>
                    <a:lnTo>
                      <a:pt x="637" y="987"/>
                    </a:lnTo>
                    <a:lnTo>
                      <a:pt x="616" y="987"/>
                    </a:lnTo>
                    <a:lnTo>
                      <a:pt x="600" y="982"/>
                    </a:lnTo>
                    <a:lnTo>
                      <a:pt x="498" y="970"/>
                    </a:lnTo>
                    <a:lnTo>
                      <a:pt x="474" y="966"/>
                    </a:lnTo>
                    <a:lnTo>
                      <a:pt x="470" y="942"/>
                    </a:lnTo>
                    <a:lnTo>
                      <a:pt x="151" y="949"/>
                    </a:lnTo>
                    <a:lnTo>
                      <a:pt x="118" y="916"/>
                    </a:lnTo>
                    <a:lnTo>
                      <a:pt x="96" y="909"/>
                    </a:lnTo>
                    <a:lnTo>
                      <a:pt x="54" y="933"/>
                    </a:lnTo>
                    <a:lnTo>
                      <a:pt x="21" y="925"/>
                    </a:lnTo>
                    <a:lnTo>
                      <a:pt x="0" y="933"/>
                    </a:lnTo>
                    <a:lnTo>
                      <a:pt x="0" y="876"/>
                    </a:lnTo>
                    <a:lnTo>
                      <a:pt x="0" y="838"/>
                    </a:lnTo>
                    <a:lnTo>
                      <a:pt x="0" y="831"/>
                    </a:lnTo>
                    <a:lnTo>
                      <a:pt x="9" y="814"/>
                    </a:lnTo>
                    <a:lnTo>
                      <a:pt x="21" y="781"/>
                    </a:lnTo>
                    <a:lnTo>
                      <a:pt x="37" y="748"/>
                    </a:lnTo>
                    <a:lnTo>
                      <a:pt x="37" y="703"/>
                    </a:lnTo>
                    <a:lnTo>
                      <a:pt x="54" y="682"/>
                    </a:lnTo>
                    <a:lnTo>
                      <a:pt x="54" y="649"/>
                    </a:lnTo>
                    <a:lnTo>
                      <a:pt x="80" y="616"/>
                    </a:lnTo>
                    <a:lnTo>
                      <a:pt x="80" y="600"/>
                    </a:lnTo>
                    <a:lnTo>
                      <a:pt x="113" y="583"/>
                    </a:lnTo>
                    <a:lnTo>
                      <a:pt x="134" y="526"/>
                    </a:lnTo>
                    <a:lnTo>
                      <a:pt x="146" y="472"/>
                    </a:lnTo>
                    <a:lnTo>
                      <a:pt x="134" y="460"/>
                    </a:lnTo>
                    <a:lnTo>
                      <a:pt x="134" y="451"/>
                    </a:lnTo>
                    <a:lnTo>
                      <a:pt x="118" y="432"/>
                    </a:lnTo>
                    <a:lnTo>
                      <a:pt x="80" y="333"/>
                    </a:lnTo>
                    <a:lnTo>
                      <a:pt x="92" y="316"/>
                    </a:lnTo>
                    <a:lnTo>
                      <a:pt x="80" y="333"/>
                    </a:lnTo>
                    <a:lnTo>
                      <a:pt x="113" y="304"/>
                    </a:lnTo>
                    <a:lnTo>
                      <a:pt x="113" y="283"/>
                    </a:lnTo>
                    <a:lnTo>
                      <a:pt x="75" y="205"/>
                    </a:lnTo>
                    <a:lnTo>
                      <a:pt x="75" y="184"/>
                    </a:lnTo>
                    <a:lnTo>
                      <a:pt x="54" y="155"/>
                    </a:lnTo>
                    <a:lnTo>
                      <a:pt x="26" y="118"/>
                    </a:lnTo>
                    <a:lnTo>
                      <a:pt x="63" y="111"/>
                    </a:lnTo>
                    <a:lnTo>
                      <a:pt x="96" y="101"/>
                    </a:lnTo>
                    <a:lnTo>
                      <a:pt x="297" y="101"/>
                    </a:lnTo>
                    <a:lnTo>
                      <a:pt x="335" y="111"/>
                    </a:lnTo>
                    <a:lnTo>
                      <a:pt x="344" y="127"/>
                    </a:lnTo>
                    <a:lnTo>
                      <a:pt x="344" y="139"/>
                    </a:lnTo>
                    <a:lnTo>
                      <a:pt x="361" y="184"/>
                    </a:lnTo>
                    <a:lnTo>
                      <a:pt x="361" y="196"/>
                    </a:lnTo>
                    <a:lnTo>
                      <a:pt x="406" y="262"/>
                    </a:lnTo>
                    <a:lnTo>
                      <a:pt x="432" y="262"/>
                    </a:lnTo>
                    <a:lnTo>
                      <a:pt x="444" y="262"/>
                    </a:lnTo>
                    <a:lnTo>
                      <a:pt x="444" y="262"/>
                    </a:lnTo>
                    <a:lnTo>
                      <a:pt x="470" y="250"/>
                    </a:lnTo>
                    <a:lnTo>
                      <a:pt x="470" y="250"/>
                    </a:lnTo>
                    <a:lnTo>
                      <a:pt x="529" y="250"/>
                    </a:lnTo>
                    <a:lnTo>
                      <a:pt x="529" y="229"/>
                    </a:lnTo>
                    <a:lnTo>
                      <a:pt x="545" y="222"/>
                    </a:lnTo>
                    <a:lnTo>
                      <a:pt x="545" y="184"/>
                    </a:lnTo>
                    <a:lnTo>
                      <a:pt x="600" y="184"/>
                    </a:lnTo>
                    <a:lnTo>
                      <a:pt x="600" y="184"/>
                    </a:lnTo>
                    <a:lnTo>
                      <a:pt x="621" y="184"/>
                    </a:lnTo>
                    <a:lnTo>
                      <a:pt x="616" y="205"/>
                    </a:lnTo>
                    <a:lnTo>
                      <a:pt x="704" y="205"/>
                    </a:lnTo>
                    <a:lnTo>
                      <a:pt x="708" y="222"/>
                    </a:lnTo>
                    <a:lnTo>
                      <a:pt x="704" y="250"/>
                    </a:lnTo>
                    <a:lnTo>
                      <a:pt x="708" y="295"/>
                    </a:lnTo>
                    <a:lnTo>
                      <a:pt x="704" y="356"/>
                    </a:lnTo>
                    <a:lnTo>
                      <a:pt x="708" y="377"/>
                    </a:lnTo>
                    <a:lnTo>
                      <a:pt x="725" y="394"/>
                    </a:lnTo>
                    <a:lnTo>
                      <a:pt x="741" y="427"/>
                    </a:lnTo>
                    <a:lnTo>
                      <a:pt x="741" y="460"/>
                    </a:lnTo>
                    <a:lnTo>
                      <a:pt x="730" y="467"/>
                    </a:lnTo>
                    <a:lnTo>
                      <a:pt x="730" y="488"/>
                    </a:lnTo>
                    <a:lnTo>
                      <a:pt x="758" y="472"/>
                    </a:lnTo>
                    <a:lnTo>
                      <a:pt x="796" y="484"/>
                    </a:lnTo>
                    <a:lnTo>
                      <a:pt x="817" y="472"/>
                    </a:lnTo>
                    <a:lnTo>
                      <a:pt x="850" y="472"/>
                    </a:lnTo>
                    <a:lnTo>
                      <a:pt x="855" y="467"/>
                    </a:lnTo>
                    <a:lnTo>
                      <a:pt x="867" y="505"/>
                    </a:lnTo>
                    <a:lnTo>
                      <a:pt x="855" y="522"/>
                    </a:lnTo>
                    <a:lnTo>
                      <a:pt x="855" y="559"/>
                    </a:lnTo>
                    <a:lnTo>
                      <a:pt x="867" y="578"/>
                    </a:lnTo>
                    <a:lnTo>
                      <a:pt x="850" y="600"/>
                    </a:lnTo>
                    <a:lnTo>
                      <a:pt x="855" y="628"/>
                    </a:lnTo>
                    <a:lnTo>
                      <a:pt x="720" y="616"/>
                    </a:lnTo>
                    <a:lnTo>
                      <a:pt x="720" y="855"/>
                    </a:lnTo>
                    <a:lnTo>
                      <a:pt x="725" y="876"/>
                    </a:lnTo>
                    <a:lnTo>
                      <a:pt x="800" y="949"/>
                    </a:lnTo>
                    <a:lnTo>
                      <a:pt x="817" y="966"/>
                    </a:lnTo>
                    <a:lnTo>
                      <a:pt x="817" y="966"/>
                    </a:lnTo>
                    <a:lnTo>
                      <a:pt x="817" y="96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10" name="Freeform 390">
                <a:extLst>
                  <a:ext uri="{FF2B5EF4-FFF2-40B4-BE49-F238E27FC236}">
                    <a16:creationId xmlns:a16="http://schemas.microsoft.com/office/drawing/2014/main" id="{F14CB279-38D6-4741-B2CB-5B9D0ACFE7F7}"/>
                  </a:ext>
                </a:extLst>
              </p:cNvPr>
              <p:cNvSpPr>
                <a:spLocks/>
              </p:cNvSpPr>
              <p:nvPr/>
            </p:nvSpPr>
            <p:spPr bwMode="gray">
              <a:xfrm>
                <a:off x="8184783" y="3270861"/>
                <a:ext cx="824" cy="11941"/>
              </a:xfrm>
              <a:custGeom>
                <a:avLst/>
                <a:gdLst>
                  <a:gd name="T0" fmla="*/ 2 w 2"/>
                  <a:gd name="T1" fmla="*/ 0 h 29"/>
                  <a:gd name="T2" fmla="*/ 2 w 2"/>
                  <a:gd name="T3" fmla="*/ 29 h 29"/>
                  <a:gd name="T4" fmla="*/ 0 w 2"/>
                  <a:gd name="T5" fmla="*/ 17 h 29"/>
                  <a:gd name="T6" fmla="*/ 0 w 2"/>
                  <a:gd name="T7" fmla="*/ 0 h 29"/>
                  <a:gd name="T8" fmla="*/ 2 w 2"/>
                  <a:gd name="T9" fmla="*/ 0 h 29"/>
                  <a:gd name="T10" fmla="*/ 2 w 2"/>
                  <a:gd name="T11" fmla="*/ 0 h 29"/>
                  <a:gd name="T12" fmla="*/ 2 w 2"/>
                  <a:gd name="T13" fmla="*/ 0 h 29"/>
                  <a:gd name="T14" fmla="*/ 2 w 2"/>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9">
                    <a:moveTo>
                      <a:pt x="2" y="0"/>
                    </a:moveTo>
                    <a:lnTo>
                      <a:pt x="2" y="29"/>
                    </a:lnTo>
                    <a:lnTo>
                      <a:pt x="0" y="17"/>
                    </a:lnTo>
                    <a:lnTo>
                      <a:pt x="0" y="0"/>
                    </a:lnTo>
                    <a:lnTo>
                      <a:pt x="2" y="0"/>
                    </a:lnTo>
                    <a:lnTo>
                      <a:pt x="2" y="0"/>
                    </a:lnTo>
                    <a:lnTo>
                      <a:pt x="2" y="0"/>
                    </a:lnTo>
                    <a:lnTo>
                      <a:pt x="2"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12" name="Freeform 392">
                <a:extLst>
                  <a:ext uri="{FF2B5EF4-FFF2-40B4-BE49-F238E27FC236}">
                    <a16:creationId xmlns:a16="http://schemas.microsoft.com/office/drawing/2014/main" id="{0529D646-B105-49B5-9CEB-06809E409E09}"/>
                  </a:ext>
                </a:extLst>
              </p:cNvPr>
              <p:cNvSpPr>
                <a:spLocks/>
              </p:cNvSpPr>
              <p:nvPr/>
            </p:nvSpPr>
            <p:spPr bwMode="gray">
              <a:xfrm>
                <a:off x="7304632" y="4597410"/>
                <a:ext cx="268408" cy="284085"/>
              </a:xfrm>
              <a:custGeom>
                <a:avLst/>
                <a:gdLst>
                  <a:gd name="T0" fmla="*/ 0 w 652"/>
                  <a:gd name="T1" fmla="*/ 525 h 690"/>
                  <a:gd name="T2" fmla="*/ 0 w 652"/>
                  <a:gd name="T3" fmla="*/ 322 h 690"/>
                  <a:gd name="T4" fmla="*/ 71 w 652"/>
                  <a:gd name="T5" fmla="*/ 322 h 690"/>
                  <a:gd name="T6" fmla="*/ 71 w 652"/>
                  <a:gd name="T7" fmla="*/ 45 h 690"/>
                  <a:gd name="T8" fmla="*/ 232 w 652"/>
                  <a:gd name="T9" fmla="*/ 17 h 690"/>
                  <a:gd name="T10" fmla="*/ 253 w 652"/>
                  <a:gd name="T11" fmla="*/ 55 h 690"/>
                  <a:gd name="T12" fmla="*/ 303 w 652"/>
                  <a:gd name="T13" fmla="*/ 17 h 690"/>
                  <a:gd name="T14" fmla="*/ 312 w 652"/>
                  <a:gd name="T15" fmla="*/ 29 h 690"/>
                  <a:gd name="T16" fmla="*/ 340 w 652"/>
                  <a:gd name="T17" fmla="*/ 0 h 690"/>
                  <a:gd name="T18" fmla="*/ 366 w 652"/>
                  <a:gd name="T19" fmla="*/ 0 h 690"/>
                  <a:gd name="T20" fmla="*/ 366 w 652"/>
                  <a:gd name="T21" fmla="*/ 29 h 690"/>
                  <a:gd name="T22" fmla="*/ 416 w 652"/>
                  <a:gd name="T23" fmla="*/ 88 h 690"/>
                  <a:gd name="T24" fmla="*/ 416 w 652"/>
                  <a:gd name="T25" fmla="*/ 100 h 690"/>
                  <a:gd name="T26" fmla="*/ 430 w 652"/>
                  <a:gd name="T27" fmla="*/ 128 h 690"/>
                  <a:gd name="T28" fmla="*/ 468 w 652"/>
                  <a:gd name="T29" fmla="*/ 161 h 690"/>
                  <a:gd name="T30" fmla="*/ 501 w 652"/>
                  <a:gd name="T31" fmla="*/ 178 h 690"/>
                  <a:gd name="T32" fmla="*/ 506 w 652"/>
                  <a:gd name="T33" fmla="*/ 211 h 690"/>
                  <a:gd name="T34" fmla="*/ 539 w 652"/>
                  <a:gd name="T35" fmla="*/ 211 h 690"/>
                  <a:gd name="T36" fmla="*/ 539 w 652"/>
                  <a:gd name="T37" fmla="*/ 248 h 690"/>
                  <a:gd name="T38" fmla="*/ 560 w 652"/>
                  <a:gd name="T39" fmla="*/ 289 h 690"/>
                  <a:gd name="T40" fmla="*/ 598 w 652"/>
                  <a:gd name="T41" fmla="*/ 289 h 690"/>
                  <a:gd name="T42" fmla="*/ 631 w 652"/>
                  <a:gd name="T43" fmla="*/ 305 h 690"/>
                  <a:gd name="T44" fmla="*/ 631 w 652"/>
                  <a:gd name="T45" fmla="*/ 322 h 690"/>
                  <a:gd name="T46" fmla="*/ 648 w 652"/>
                  <a:gd name="T47" fmla="*/ 322 h 690"/>
                  <a:gd name="T48" fmla="*/ 652 w 652"/>
                  <a:gd name="T49" fmla="*/ 338 h 690"/>
                  <a:gd name="T50" fmla="*/ 631 w 652"/>
                  <a:gd name="T51" fmla="*/ 338 h 690"/>
                  <a:gd name="T52" fmla="*/ 626 w 652"/>
                  <a:gd name="T53" fmla="*/ 348 h 690"/>
                  <a:gd name="T54" fmla="*/ 577 w 652"/>
                  <a:gd name="T55" fmla="*/ 364 h 690"/>
                  <a:gd name="T56" fmla="*/ 555 w 652"/>
                  <a:gd name="T57" fmla="*/ 397 h 690"/>
                  <a:gd name="T58" fmla="*/ 529 w 652"/>
                  <a:gd name="T59" fmla="*/ 414 h 690"/>
                  <a:gd name="T60" fmla="*/ 522 w 652"/>
                  <a:gd name="T61" fmla="*/ 421 h 690"/>
                  <a:gd name="T62" fmla="*/ 518 w 652"/>
                  <a:gd name="T63" fmla="*/ 421 h 690"/>
                  <a:gd name="T64" fmla="*/ 485 w 652"/>
                  <a:gd name="T65" fmla="*/ 447 h 690"/>
                  <a:gd name="T66" fmla="*/ 475 w 652"/>
                  <a:gd name="T67" fmla="*/ 492 h 690"/>
                  <a:gd name="T68" fmla="*/ 447 w 652"/>
                  <a:gd name="T69" fmla="*/ 515 h 690"/>
                  <a:gd name="T70" fmla="*/ 409 w 652"/>
                  <a:gd name="T71" fmla="*/ 525 h 690"/>
                  <a:gd name="T72" fmla="*/ 392 w 652"/>
                  <a:gd name="T73" fmla="*/ 581 h 690"/>
                  <a:gd name="T74" fmla="*/ 383 w 652"/>
                  <a:gd name="T75" fmla="*/ 598 h 690"/>
                  <a:gd name="T76" fmla="*/ 324 w 652"/>
                  <a:gd name="T77" fmla="*/ 615 h 690"/>
                  <a:gd name="T78" fmla="*/ 303 w 652"/>
                  <a:gd name="T79" fmla="*/ 603 h 690"/>
                  <a:gd name="T80" fmla="*/ 291 w 652"/>
                  <a:gd name="T81" fmla="*/ 598 h 690"/>
                  <a:gd name="T82" fmla="*/ 270 w 652"/>
                  <a:gd name="T83" fmla="*/ 598 h 690"/>
                  <a:gd name="T84" fmla="*/ 237 w 652"/>
                  <a:gd name="T85" fmla="*/ 565 h 690"/>
                  <a:gd name="T86" fmla="*/ 206 w 652"/>
                  <a:gd name="T87" fmla="*/ 570 h 690"/>
                  <a:gd name="T88" fmla="*/ 194 w 652"/>
                  <a:gd name="T89" fmla="*/ 586 h 690"/>
                  <a:gd name="T90" fmla="*/ 182 w 652"/>
                  <a:gd name="T91" fmla="*/ 624 h 690"/>
                  <a:gd name="T92" fmla="*/ 152 w 652"/>
                  <a:gd name="T93" fmla="*/ 652 h 690"/>
                  <a:gd name="T94" fmla="*/ 140 w 652"/>
                  <a:gd name="T95" fmla="*/ 674 h 690"/>
                  <a:gd name="T96" fmla="*/ 123 w 652"/>
                  <a:gd name="T97" fmla="*/ 674 h 690"/>
                  <a:gd name="T98" fmla="*/ 114 w 652"/>
                  <a:gd name="T99" fmla="*/ 690 h 690"/>
                  <a:gd name="T100" fmla="*/ 43 w 652"/>
                  <a:gd name="T101" fmla="*/ 681 h 690"/>
                  <a:gd name="T102" fmla="*/ 38 w 652"/>
                  <a:gd name="T103" fmla="*/ 657 h 690"/>
                  <a:gd name="T104" fmla="*/ 59 w 652"/>
                  <a:gd name="T105" fmla="*/ 636 h 690"/>
                  <a:gd name="T106" fmla="*/ 55 w 652"/>
                  <a:gd name="T107" fmla="*/ 615 h 690"/>
                  <a:gd name="T108" fmla="*/ 22 w 652"/>
                  <a:gd name="T109" fmla="*/ 548 h 690"/>
                  <a:gd name="T110" fmla="*/ 0 w 652"/>
                  <a:gd name="T111" fmla="*/ 525 h 690"/>
                  <a:gd name="T112" fmla="*/ 0 w 652"/>
                  <a:gd name="T113" fmla="*/ 525 h 690"/>
                  <a:gd name="T114" fmla="*/ 0 w 652"/>
                  <a:gd name="T115" fmla="*/ 52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2" h="690">
                    <a:moveTo>
                      <a:pt x="0" y="525"/>
                    </a:moveTo>
                    <a:lnTo>
                      <a:pt x="0" y="322"/>
                    </a:lnTo>
                    <a:lnTo>
                      <a:pt x="71" y="322"/>
                    </a:lnTo>
                    <a:lnTo>
                      <a:pt x="71" y="45"/>
                    </a:lnTo>
                    <a:lnTo>
                      <a:pt x="232" y="17"/>
                    </a:lnTo>
                    <a:lnTo>
                      <a:pt x="253" y="55"/>
                    </a:lnTo>
                    <a:lnTo>
                      <a:pt x="303" y="17"/>
                    </a:lnTo>
                    <a:lnTo>
                      <a:pt x="312" y="29"/>
                    </a:lnTo>
                    <a:lnTo>
                      <a:pt x="340" y="0"/>
                    </a:lnTo>
                    <a:lnTo>
                      <a:pt x="366" y="0"/>
                    </a:lnTo>
                    <a:lnTo>
                      <a:pt x="366" y="29"/>
                    </a:lnTo>
                    <a:lnTo>
                      <a:pt x="416" y="88"/>
                    </a:lnTo>
                    <a:lnTo>
                      <a:pt x="416" y="100"/>
                    </a:lnTo>
                    <a:lnTo>
                      <a:pt x="430" y="128"/>
                    </a:lnTo>
                    <a:lnTo>
                      <a:pt x="468" y="161"/>
                    </a:lnTo>
                    <a:lnTo>
                      <a:pt x="501" y="178"/>
                    </a:lnTo>
                    <a:lnTo>
                      <a:pt x="506" y="211"/>
                    </a:lnTo>
                    <a:lnTo>
                      <a:pt x="539" y="211"/>
                    </a:lnTo>
                    <a:lnTo>
                      <a:pt x="539" y="248"/>
                    </a:lnTo>
                    <a:lnTo>
                      <a:pt x="560" y="289"/>
                    </a:lnTo>
                    <a:lnTo>
                      <a:pt x="598" y="289"/>
                    </a:lnTo>
                    <a:lnTo>
                      <a:pt x="631" y="305"/>
                    </a:lnTo>
                    <a:lnTo>
                      <a:pt x="631" y="322"/>
                    </a:lnTo>
                    <a:lnTo>
                      <a:pt x="648" y="322"/>
                    </a:lnTo>
                    <a:lnTo>
                      <a:pt x="652" y="338"/>
                    </a:lnTo>
                    <a:lnTo>
                      <a:pt x="631" y="338"/>
                    </a:lnTo>
                    <a:lnTo>
                      <a:pt x="626" y="348"/>
                    </a:lnTo>
                    <a:lnTo>
                      <a:pt x="577" y="364"/>
                    </a:lnTo>
                    <a:lnTo>
                      <a:pt x="555" y="397"/>
                    </a:lnTo>
                    <a:lnTo>
                      <a:pt x="529" y="414"/>
                    </a:lnTo>
                    <a:lnTo>
                      <a:pt x="522" y="421"/>
                    </a:lnTo>
                    <a:lnTo>
                      <a:pt x="518" y="421"/>
                    </a:lnTo>
                    <a:lnTo>
                      <a:pt x="485" y="447"/>
                    </a:lnTo>
                    <a:lnTo>
                      <a:pt x="475" y="492"/>
                    </a:lnTo>
                    <a:lnTo>
                      <a:pt x="447" y="515"/>
                    </a:lnTo>
                    <a:lnTo>
                      <a:pt x="409" y="525"/>
                    </a:lnTo>
                    <a:lnTo>
                      <a:pt x="392" y="581"/>
                    </a:lnTo>
                    <a:lnTo>
                      <a:pt x="383" y="598"/>
                    </a:lnTo>
                    <a:lnTo>
                      <a:pt x="324" y="615"/>
                    </a:lnTo>
                    <a:lnTo>
                      <a:pt x="303" y="603"/>
                    </a:lnTo>
                    <a:lnTo>
                      <a:pt x="291" y="598"/>
                    </a:lnTo>
                    <a:lnTo>
                      <a:pt x="270" y="598"/>
                    </a:lnTo>
                    <a:lnTo>
                      <a:pt x="237" y="565"/>
                    </a:lnTo>
                    <a:lnTo>
                      <a:pt x="206" y="570"/>
                    </a:lnTo>
                    <a:lnTo>
                      <a:pt x="194" y="586"/>
                    </a:lnTo>
                    <a:lnTo>
                      <a:pt x="182" y="624"/>
                    </a:lnTo>
                    <a:lnTo>
                      <a:pt x="152" y="652"/>
                    </a:lnTo>
                    <a:lnTo>
                      <a:pt x="140" y="674"/>
                    </a:lnTo>
                    <a:lnTo>
                      <a:pt x="123" y="674"/>
                    </a:lnTo>
                    <a:lnTo>
                      <a:pt x="114" y="690"/>
                    </a:lnTo>
                    <a:lnTo>
                      <a:pt x="43" y="681"/>
                    </a:lnTo>
                    <a:lnTo>
                      <a:pt x="38" y="657"/>
                    </a:lnTo>
                    <a:lnTo>
                      <a:pt x="59" y="636"/>
                    </a:lnTo>
                    <a:lnTo>
                      <a:pt x="55" y="615"/>
                    </a:lnTo>
                    <a:lnTo>
                      <a:pt x="22" y="548"/>
                    </a:lnTo>
                    <a:lnTo>
                      <a:pt x="0" y="525"/>
                    </a:lnTo>
                    <a:lnTo>
                      <a:pt x="0" y="525"/>
                    </a:lnTo>
                    <a:lnTo>
                      <a:pt x="0" y="52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36" name="Freeform 400">
                <a:extLst>
                  <a:ext uri="{FF2B5EF4-FFF2-40B4-BE49-F238E27FC236}">
                    <a16:creationId xmlns:a16="http://schemas.microsoft.com/office/drawing/2014/main" id="{CF5F773A-CB3D-4F15-9B80-B07B8607533B}"/>
                  </a:ext>
                </a:extLst>
              </p:cNvPr>
              <p:cNvSpPr>
                <a:spLocks/>
              </p:cNvSpPr>
              <p:nvPr/>
            </p:nvSpPr>
            <p:spPr bwMode="gray">
              <a:xfrm>
                <a:off x="6748466" y="3696164"/>
                <a:ext cx="89332" cy="183625"/>
              </a:xfrm>
              <a:custGeom>
                <a:avLst/>
                <a:gdLst>
                  <a:gd name="T0" fmla="*/ 59 w 217"/>
                  <a:gd name="T1" fmla="*/ 446 h 446"/>
                  <a:gd name="T2" fmla="*/ 71 w 217"/>
                  <a:gd name="T3" fmla="*/ 441 h 446"/>
                  <a:gd name="T4" fmla="*/ 55 w 217"/>
                  <a:gd name="T5" fmla="*/ 413 h 446"/>
                  <a:gd name="T6" fmla="*/ 55 w 217"/>
                  <a:gd name="T7" fmla="*/ 392 h 446"/>
                  <a:gd name="T8" fmla="*/ 59 w 217"/>
                  <a:gd name="T9" fmla="*/ 392 h 446"/>
                  <a:gd name="T10" fmla="*/ 59 w 217"/>
                  <a:gd name="T11" fmla="*/ 354 h 446"/>
                  <a:gd name="T12" fmla="*/ 59 w 217"/>
                  <a:gd name="T13" fmla="*/ 243 h 446"/>
                  <a:gd name="T14" fmla="*/ 38 w 217"/>
                  <a:gd name="T15" fmla="*/ 210 h 446"/>
                  <a:gd name="T16" fmla="*/ 38 w 217"/>
                  <a:gd name="T17" fmla="*/ 172 h 446"/>
                  <a:gd name="T18" fmla="*/ 0 w 217"/>
                  <a:gd name="T19" fmla="*/ 148 h 446"/>
                  <a:gd name="T20" fmla="*/ 5 w 217"/>
                  <a:gd name="T21" fmla="*/ 99 h 446"/>
                  <a:gd name="T22" fmla="*/ 26 w 217"/>
                  <a:gd name="T23" fmla="*/ 82 h 446"/>
                  <a:gd name="T24" fmla="*/ 38 w 217"/>
                  <a:gd name="T25" fmla="*/ 78 h 446"/>
                  <a:gd name="T26" fmla="*/ 43 w 217"/>
                  <a:gd name="T27" fmla="*/ 66 h 446"/>
                  <a:gd name="T28" fmla="*/ 59 w 217"/>
                  <a:gd name="T29" fmla="*/ 78 h 446"/>
                  <a:gd name="T30" fmla="*/ 80 w 217"/>
                  <a:gd name="T31" fmla="*/ 66 h 446"/>
                  <a:gd name="T32" fmla="*/ 109 w 217"/>
                  <a:gd name="T33" fmla="*/ 56 h 446"/>
                  <a:gd name="T34" fmla="*/ 114 w 217"/>
                  <a:gd name="T35" fmla="*/ 40 h 446"/>
                  <a:gd name="T36" fmla="*/ 114 w 217"/>
                  <a:gd name="T37" fmla="*/ 11 h 446"/>
                  <a:gd name="T38" fmla="*/ 147 w 217"/>
                  <a:gd name="T39" fmla="*/ 0 h 446"/>
                  <a:gd name="T40" fmla="*/ 201 w 217"/>
                  <a:gd name="T41" fmla="*/ 56 h 446"/>
                  <a:gd name="T42" fmla="*/ 192 w 217"/>
                  <a:gd name="T43" fmla="*/ 66 h 446"/>
                  <a:gd name="T44" fmla="*/ 208 w 217"/>
                  <a:gd name="T45" fmla="*/ 94 h 446"/>
                  <a:gd name="T46" fmla="*/ 208 w 217"/>
                  <a:gd name="T47" fmla="*/ 115 h 446"/>
                  <a:gd name="T48" fmla="*/ 217 w 217"/>
                  <a:gd name="T49" fmla="*/ 132 h 446"/>
                  <a:gd name="T50" fmla="*/ 217 w 217"/>
                  <a:gd name="T51" fmla="*/ 148 h 446"/>
                  <a:gd name="T52" fmla="*/ 208 w 217"/>
                  <a:gd name="T53" fmla="*/ 139 h 446"/>
                  <a:gd name="T54" fmla="*/ 201 w 217"/>
                  <a:gd name="T55" fmla="*/ 156 h 446"/>
                  <a:gd name="T56" fmla="*/ 208 w 217"/>
                  <a:gd name="T57" fmla="*/ 165 h 446"/>
                  <a:gd name="T58" fmla="*/ 201 w 217"/>
                  <a:gd name="T59" fmla="*/ 177 h 446"/>
                  <a:gd name="T60" fmla="*/ 180 w 217"/>
                  <a:gd name="T61" fmla="*/ 189 h 446"/>
                  <a:gd name="T62" fmla="*/ 184 w 217"/>
                  <a:gd name="T63" fmla="*/ 193 h 446"/>
                  <a:gd name="T64" fmla="*/ 168 w 217"/>
                  <a:gd name="T65" fmla="*/ 222 h 446"/>
                  <a:gd name="T66" fmla="*/ 163 w 217"/>
                  <a:gd name="T67" fmla="*/ 243 h 446"/>
                  <a:gd name="T68" fmla="*/ 137 w 217"/>
                  <a:gd name="T69" fmla="*/ 243 h 446"/>
                  <a:gd name="T70" fmla="*/ 130 w 217"/>
                  <a:gd name="T71" fmla="*/ 330 h 446"/>
                  <a:gd name="T72" fmla="*/ 137 w 217"/>
                  <a:gd name="T73" fmla="*/ 387 h 446"/>
                  <a:gd name="T74" fmla="*/ 137 w 217"/>
                  <a:gd name="T75" fmla="*/ 441 h 446"/>
                  <a:gd name="T76" fmla="*/ 59 w 217"/>
                  <a:gd name="T77" fmla="*/ 446 h 446"/>
                  <a:gd name="T78" fmla="*/ 59 w 217"/>
                  <a:gd name="T79" fmla="*/ 446 h 446"/>
                  <a:gd name="T80" fmla="*/ 59 w 217"/>
                  <a:gd name="T81"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7" h="446">
                    <a:moveTo>
                      <a:pt x="59" y="446"/>
                    </a:moveTo>
                    <a:lnTo>
                      <a:pt x="71" y="441"/>
                    </a:lnTo>
                    <a:lnTo>
                      <a:pt x="55" y="413"/>
                    </a:lnTo>
                    <a:lnTo>
                      <a:pt x="55" y="392"/>
                    </a:lnTo>
                    <a:lnTo>
                      <a:pt x="59" y="392"/>
                    </a:lnTo>
                    <a:lnTo>
                      <a:pt x="59" y="354"/>
                    </a:lnTo>
                    <a:lnTo>
                      <a:pt x="59" y="243"/>
                    </a:lnTo>
                    <a:lnTo>
                      <a:pt x="38" y="210"/>
                    </a:lnTo>
                    <a:lnTo>
                      <a:pt x="38" y="172"/>
                    </a:lnTo>
                    <a:lnTo>
                      <a:pt x="0" y="148"/>
                    </a:lnTo>
                    <a:lnTo>
                      <a:pt x="5" y="99"/>
                    </a:lnTo>
                    <a:lnTo>
                      <a:pt x="26" y="82"/>
                    </a:lnTo>
                    <a:lnTo>
                      <a:pt x="38" y="78"/>
                    </a:lnTo>
                    <a:lnTo>
                      <a:pt x="43" y="66"/>
                    </a:lnTo>
                    <a:lnTo>
                      <a:pt x="59" y="78"/>
                    </a:lnTo>
                    <a:lnTo>
                      <a:pt x="80" y="66"/>
                    </a:lnTo>
                    <a:lnTo>
                      <a:pt x="109" y="56"/>
                    </a:lnTo>
                    <a:lnTo>
                      <a:pt x="114" y="40"/>
                    </a:lnTo>
                    <a:lnTo>
                      <a:pt x="114" y="11"/>
                    </a:lnTo>
                    <a:lnTo>
                      <a:pt x="147" y="0"/>
                    </a:lnTo>
                    <a:lnTo>
                      <a:pt x="201" y="56"/>
                    </a:lnTo>
                    <a:lnTo>
                      <a:pt x="192" y="66"/>
                    </a:lnTo>
                    <a:lnTo>
                      <a:pt x="208" y="94"/>
                    </a:lnTo>
                    <a:lnTo>
                      <a:pt x="208" y="115"/>
                    </a:lnTo>
                    <a:lnTo>
                      <a:pt x="217" y="132"/>
                    </a:lnTo>
                    <a:lnTo>
                      <a:pt x="217" y="148"/>
                    </a:lnTo>
                    <a:lnTo>
                      <a:pt x="208" y="139"/>
                    </a:lnTo>
                    <a:lnTo>
                      <a:pt x="201" y="156"/>
                    </a:lnTo>
                    <a:lnTo>
                      <a:pt x="208" y="165"/>
                    </a:lnTo>
                    <a:lnTo>
                      <a:pt x="201" y="177"/>
                    </a:lnTo>
                    <a:lnTo>
                      <a:pt x="180" y="189"/>
                    </a:lnTo>
                    <a:lnTo>
                      <a:pt x="184" y="193"/>
                    </a:lnTo>
                    <a:lnTo>
                      <a:pt x="168" y="222"/>
                    </a:lnTo>
                    <a:lnTo>
                      <a:pt x="163" y="243"/>
                    </a:lnTo>
                    <a:lnTo>
                      <a:pt x="137" y="243"/>
                    </a:lnTo>
                    <a:lnTo>
                      <a:pt x="130" y="330"/>
                    </a:lnTo>
                    <a:lnTo>
                      <a:pt x="137" y="387"/>
                    </a:lnTo>
                    <a:lnTo>
                      <a:pt x="137" y="441"/>
                    </a:lnTo>
                    <a:lnTo>
                      <a:pt x="59" y="446"/>
                    </a:lnTo>
                    <a:lnTo>
                      <a:pt x="59" y="446"/>
                    </a:lnTo>
                    <a:lnTo>
                      <a:pt x="59" y="44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2" name="Freeform 407">
                <a:extLst>
                  <a:ext uri="{FF2B5EF4-FFF2-40B4-BE49-F238E27FC236}">
                    <a16:creationId xmlns:a16="http://schemas.microsoft.com/office/drawing/2014/main" id="{8D279445-2A65-43C1-8F09-48A4BE81DCA0}"/>
                  </a:ext>
                </a:extLst>
              </p:cNvPr>
              <p:cNvSpPr>
                <a:spLocks/>
              </p:cNvSpPr>
              <p:nvPr/>
            </p:nvSpPr>
            <p:spPr bwMode="gray">
              <a:xfrm>
                <a:off x="7564396" y="4136700"/>
                <a:ext cx="51458" cy="61346"/>
              </a:xfrm>
              <a:custGeom>
                <a:avLst/>
                <a:gdLst>
                  <a:gd name="T0" fmla="*/ 21 w 125"/>
                  <a:gd name="T1" fmla="*/ 149 h 149"/>
                  <a:gd name="T2" fmla="*/ 21 w 125"/>
                  <a:gd name="T3" fmla="*/ 123 h 149"/>
                  <a:gd name="T4" fmla="*/ 17 w 125"/>
                  <a:gd name="T5" fmla="*/ 111 h 149"/>
                  <a:gd name="T6" fmla="*/ 17 w 125"/>
                  <a:gd name="T7" fmla="*/ 45 h 149"/>
                  <a:gd name="T8" fmla="*/ 0 w 125"/>
                  <a:gd name="T9" fmla="*/ 28 h 149"/>
                  <a:gd name="T10" fmla="*/ 0 w 125"/>
                  <a:gd name="T11" fmla="*/ 28 h 149"/>
                  <a:gd name="T12" fmla="*/ 0 w 125"/>
                  <a:gd name="T13" fmla="*/ 12 h 149"/>
                  <a:gd name="T14" fmla="*/ 5 w 125"/>
                  <a:gd name="T15" fmla="*/ 12 h 149"/>
                  <a:gd name="T16" fmla="*/ 21 w 125"/>
                  <a:gd name="T17" fmla="*/ 21 h 149"/>
                  <a:gd name="T18" fmla="*/ 21 w 125"/>
                  <a:gd name="T19" fmla="*/ 28 h 149"/>
                  <a:gd name="T20" fmla="*/ 54 w 125"/>
                  <a:gd name="T21" fmla="*/ 28 h 149"/>
                  <a:gd name="T22" fmla="*/ 59 w 125"/>
                  <a:gd name="T23" fmla="*/ 0 h 149"/>
                  <a:gd name="T24" fmla="*/ 76 w 125"/>
                  <a:gd name="T25" fmla="*/ 4 h 149"/>
                  <a:gd name="T26" fmla="*/ 92 w 125"/>
                  <a:gd name="T27" fmla="*/ 0 h 149"/>
                  <a:gd name="T28" fmla="*/ 109 w 125"/>
                  <a:gd name="T29" fmla="*/ 0 h 149"/>
                  <a:gd name="T30" fmla="*/ 102 w 125"/>
                  <a:gd name="T31" fmla="*/ 38 h 149"/>
                  <a:gd name="T32" fmla="*/ 102 w 125"/>
                  <a:gd name="T33" fmla="*/ 38 h 149"/>
                  <a:gd name="T34" fmla="*/ 109 w 125"/>
                  <a:gd name="T35" fmla="*/ 38 h 149"/>
                  <a:gd name="T36" fmla="*/ 125 w 125"/>
                  <a:gd name="T37" fmla="*/ 45 h 149"/>
                  <a:gd name="T38" fmla="*/ 125 w 125"/>
                  <a:gd name="T39" fmla="*/ 61 h 149"/>
                  <a:gd name="T40" fmla="*/ 102 w 125"/>
                  <a:gd name="T41" fmla="*/ 82 h 149"/>
                  <a:gd name="T42" fmla="*/ 92 w 125"/>
                  <a:gd name="T43" fmla="*/ 99 h 149"/>
                  <a:gd name="T44" fmla="*/ 92 w 125"/>
                  <a:gd name="T45" fmla="*/ 99 h 149"/>
                  <a:gd name="T46" fmla="*/ 71 w 125"/>
                  <a:gd name="T47" fmla="*/ 132 h 149"/>
                  <a:gd name="T48" fmla="*/ 54 w 125"/>
                  <a:gd name="T49" fmla="*/ 149 h 149"/>
                  <a:gd name="T50" fmla="*/ 21 w 125"/>
                  <a:gd name="T51" fmla="*/ 149 h 149"/>
                  <a:gd name="T52" fmla="*/ 21 w 125"/>
                  <a:gd name="T53" fmla="*/ 149 h 149"/>
                  <a:gd name="T54" fmla="*/ 21 w 125"/>
                  <a:gd name="T55"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5" h="149">
                    <a:moveTo>
                      <a:pt x="21" y="149"/>
                    </a:moveTo>
                    <a:lnTo>
                      <a:pt x="21" y="123"/>
                    </a:lnTo>
                    <a:lnTo>
                      <a:pt x="17" y="111"/>
                    </a:lnTo>
                    <a:lnTo>
                      <a:pt x="17" y="45"/>
                    </a:lnTo>
                    <a:lnTo>
                      <a:pt x="0" y="28"/>
                    </a:lnTo>
                    <a:lnTo>
                      <a:pt x="0" y="28"/>
                    </a:lnTo>
                    <a:lnTo>
                      <a:pt x="0" y="12"/>
                    </a:lnTo>
                    <a:lnTo>
                      <a:pt x="5" y="12"/>
                    </a:lnTo>
                    <a:lnTo>
                      <a:pt x="21" y="21"/>
                    </a:lnTo>
                    <a:lnTo>
                      <a:pt x="21" y="28"/>
                    </a:lnTo>
                    <a:lnTo>
                      <a:pt x="54" y="28"/>
                    </a:lnTo>
                    <a:lnTo>
                      <a:pt x="59" y="0"/>
                    </a:lnTo>
                    <a:lnTo>
                      <a:pt x="76" y="4"/>
                    </a:lnTo>
                    <a:lnTo>
                      <a:pt x="92" y="0"/>
                    </a:lnTo>
                    <a:lnTo>
                      <a:pt x="109" y="0"/>
                    </a:lnTo>
                    <a:lnTo>
                      <a:pt x="102" y="38"/>
                    </a:lnTo>
                    <a:lnTo>
                      <a:pt x="102" y="38"/>
                    </a:lnTo>
                    <a:lnTo>
                      <a:pt x="109" y="38"/>
                    </a:lnTo>
                    <a:lnTo>
                      <a:pt x="125" y="45"/>
                    </a:lnTo>
                    <a:lnTo>
                      <a:pt x="125" y="61"/>
                    </a:lnTo>
                    <a:lnTo>
                      <a:pt x="102" y="82"/>
                    </a:lnTo>
                    <a:lnTo>
                      <a:pt x="92" y="99"/>
                    </a:lnTo>
                    <a:lnTo>
                      <a:pt x="92" y="99"/>
                    </a:lnTo>
                    <a:lnTo>
                      <a:pt x="71" y="132"/>
                    </a:lnTo>
                    <a:lnTo>
                      <a:pt x="54" y="149"/>
                    </a:lnTo>
                    <a:lnTo>
                      <a:pt x="21" y="149"/>
                    </a:lnTo>
                    <a:lnTo>
                      <a:pt x="21" y="149"/>
                    </a:lnTo>
                    <a:lnTo>
                      <a:pt x="21" y="14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5" name="Freeform 410">
                <a:extLst>
                  <a:ext uri="{FF2B5EF4-FFF2-40B4-BE49-F238E27FC236}">
                    <a16:creationId xmlns:a16="http://schemas.microsoft.com/office/drawing/2014/main" id="{7FE28E14-8F56-45AE-8137-9384A312FAF1}"/>
                  </a:ext>
                </a:extLst>
              </p:cNvPr>
              <p:cNvSpPr>
                <a:spLocks/>
              </p:cNvSpPr>
              <p:nvPr/>
            </p:nvSpPr>
            <p:spPr bwMode="gray">
              <a:xfrm>
                <a:off x="7114029" y="3357734"/>
                <a:ext cx="303401" cy="483354"/>
              </a:xfrm>
              <a:custGeom>
                <a:avLst/>
                <a:gdLst>
                  <a:gd name="T0" fmla="*/ 17 w 737"/>
                  <a:gd name="T1" fmla="*/ 720 h 1174"/>
                  <a:gd name="T2" fmla="*/ 17 w 737"/>
                  <a:gd name="T3" fmla="*/ 659 h 1174"/>
                  <a:gd name="T4" fmla="*/ 69 w 737"/>
                  <a:gd name="T5" fmla="*/ 569 h 1174"/>
                  <a:gd name="T6" fmla="*/ 161 w 737"/>
                  <a:gd name="T7" fmla="*/ 264 h 1174"/>
                  <a:gd name="T8" fmla="*/ 156 w 737"/>
                  <a:gd name="T9" fmla="*/ 198 h 1174"/>
                  <a:gd name="T10" fmla="*/ 123 w 737"/>
                  <a:gd name="T11" fmla="*/ 144 h 1174"/>
                  <a:gd name="T12" fmla="*/ 107 w 737"/>
                  <a:gd name="T13" fmla="*/ 33 h 1174"/>
                  <a:gd name="T14" fmla="*/ 452 w 737"/>
                  <a:gd name="T15" fmla="*/ 137 h 1174"/>
                  <a:gd name="T16" fmla="*/ 737 w 737"/>
                  <a:gd name="T17" fmla="*/ 581 h 1174"/>
                  <a:gd name="T18" fmla="*/ 666 w 737"/>
                  <a:gd name="T19" fmla="*/ 588 h 1174"/>
                  <a:gd name="T20" fmla="*/ 666 w 737"/>
                  <a:gd name="T21" fmla="*/ 621 h 1174"/>
                  <a:gd name="T22" fmla="*/ 645 w 737"/>
                  <a:gd name="T23" fmla="*/ 654 h 1174"/>
                  <a:gd name="T24" fmla="*/ 641 w 737"/>
                  <a:gd name="T25" fmla="*/ 692 h 1174"/>
                  <a:gd name="T26" fmla="*/ 607 w 737"/>
                  <a:gd name="T27" fmla="*/ 720 h 1174"/>
                  <a:gd name="T28" fmla="*/ 603 w 737"/>
                  <a:gd name="T29" fmla="*/ 770 h 1174"/>
                  <a:gd name="T30" fmla="*/ 603 w 737"/>
                  <a:gd name="T31" fmla="*/ 803 h 1174"/>
                  <a:gd name="T32" fmla="*/ 615 w 737"/>
                  <a:gd name="T33" fmla="*/ 791 h 1174"/>
                  <a:gd name="T34" fmla="*/ 631 w 737"/>
                  <a:gd name="T35" fmla="*/ 819 h 1174"/>
                  <a:gd name="T36" fmla="*/ 641 w 737"/>
                  <a:gd name="T37" fmla="*/ 881 h 1174"/>
                  <a:gd name="T38" fmla="*/ 662 w 737"/>
                  <a:gd name="T39" fmla="*/ 885 h 1174"/>
                  <a:gd name="T40" fmla="*/ 662 w 737"/>
                  <a:gd name="T41" fmla="*/ 930 h 1174"/>
                  <a:gd name="T42" fmla="*/ 577 w 737"/>
                  <a:gd name="T43" fmla="*/ 952 h 1174"/>
                  <a:gd name="T44" fmla="*/ 570 w 737"/>
                  <a:gd name="T45" fmla="*/ 987 h 1174"/>
                  <a:gd name="T46" fmla="*/ 548 w 737"/>
                  <a:gd name="T47" fmla="*/ 996 h 1174"/>
                  <a:gd name="T48" fmla="*/ 494 w 737"/>
                  <a:gd name="T49" fmla="*/ 1046 h 1174"/>
                  <a:gd name="T50" fmla="*/ 463 w 737"/>
                  <a:gd name="T51" fmla="*/ 1053 h 1174"/>
                  <a:gd name="T52" fmla="*/ 392 w 737"/>
                  <a:gd name="T53" fmla="*/ 1070 h 1174"/>
                  <a:gd name="T54" fmla="*/ 397 w 737"/>
                  <a:gd name="T55" fmla="*/ 1098 h 1174"/>
                  <a:gd name="T56" fmla="*/ 291 w 737"/>
                  <a:gd name="T57" fmla="*/ 1141 h 1174"/>
                  <a:gd name="T58" fmla="*/ 220 w 737"/>
                  <a:gd name="T59" fmla="*/ 1157 h 1174"/>
                  <a:gd name="T60" fmla="*/ 211 w 737"/>
                  <a:gd name="T61" fmla="*/ 1164 h 1174"/>
                  <a:gd name="T62" fmla="*/ 144 w 737"/>
                  <a:gd name="T63" fmla="*/ 1174 h 1174"/>
                  <a:gd name="T64" fmla="*/ 144 w 737"/>
                  <a:gd name="T65" fmla="*/ 1152 h 1174"/>
                  <a:gd name="T66" fmla="*/ 59 w 737"/>
                  <a:gd name="T67" fmla="*/ 1053 h 1174"/>
                  <a:gd name="T68" fmla="*/ 52 w 737"/>
                  <a:gd name="T69" fmla="*/ 996 h 1174"/>
                  <a:gd name="T70" fmla="*/ 161 w 737"/>
                  <a:gd name="T71" fmla="*/ 996 h 1174"/>
                  <a:gd name="T72" fmla="*/ 114 w 737"/>
                  <a:gd name="T73" fmla="*/ 935 h 1174"/>
                  <a:gd name="T74" fmla="*/ 114 w 737"/>
                  <a:gd name="T75" fmla="*/ 885 h 1174"/>
                  <a:gd name="T76" fmla="*/ 102 w 737"/>
                  <a:gd name="T77" fmla="*/ 843 h 1174"/>
                  <a:gd name="T78" fmla="*/ 76 w 737"/>
                  <a:gd name="T79" fmla="*/ 791 h 1174"/>
                  <a:gd name="T80" fmla="*/ 48 w 737"/>
                  <a:gd name="T81" fmla="*/ 770 h 1174"/>
                  <a:gd name="T82" fmla="*/ 48 w 737"/>
                  <a:gd name="T83" fmla="*/ 770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37" h="1174">
                    <a:moveTo>
                      <a:pt x="48" y="770"/>
                    </a:moveTo>
                    <a:lnTo>
                      <a:pt x="17" y="720"/>
                    </a:lnTo>
                    <a:lnTo>
                      <a:pt x="0" y="663"/>
                    </a:lnTo>
                    <a:lnTo>
                      <a:pt x="17" y="659"/>
                    </a:lnTo>
                    <a:lnTo>
                      <a:pt x="31" y="626"/>
                    </a:lnTo>
                    <a:lnTo>
                      <a:pt x="69" y="569"/>
                    </a:lnTo>
                    <a:lnTo>
                      <a:pt x="144" y="486"/>
                    </a:lnTo>
                    <a:lnTo>
                      <a:pt x="161" y="264"/>
                    </a:lnTo>
                    <a:lnTo>
                      <a:pt x="178" y="231"/>
                    </a:lnTo>
                    <a:lnTo>
                      <a:pt x="156" y="198"/>
                    </a:lnTo>
                    <a:lnTo>
                      <a:pt x="156" y="182"/>
                    </a:lnTo>
                    <a:lnTo>
                      <a:pt x="123" y="144"/>
                    </a:lnTo>
                    <a:lnTo>
                      <a:pt x="123" y="104"/>
                    </a:lnTo>
                    <a:lnTo>
                      <a:pt x="107" y="33"/>
                    </a:lnTo>
                    <a:lnTo>
                      <a:pt x="178" y="0"/>
                    </a:lnTo>
                    <a:lnTo>
                      <a:pt x="452" y="137"/>
                    </a:lnTo>
                    <a:lnTo>
                      <a:pt x="737" y="293"/>
                    </a:lnTo>
                    <a:lnTo>
                      <a:pt x="737" y="581"/>
                    </a:lnTo>
                    <a:lnTo>
                      <a:pt x="678" y="581"/>
                    </a:lnTo>
                    <a:lnTo>
                      <a:pt x="666" y="588"/>
                    </a:lnTo>
                    <a:lnTo>
                      <a:pt x="666" y="604"/>
                    </a:lnTo>
                    <a:lnTo>
                      <a:pt x="666" y="621"/>
                    </a:lnTo>
                    <a:lnTo>
                      <a:pt x="645" y="642"/>
                    </a:lnTo>
                    <a:lnTo>
                      <a:pt x="645" y="654"/>
                    </a:lnTo>
                    <a:lnTo>
                      <a:pt x="631" y="659"/>
                    </a:lnTo>
                    <a:lnTo>
                      <a:pt x="641" y="692"/>
                    </a:lnTo>
                    <a:lnTo>
                      <a:pt x="615" y="708"/>
                    </a:lnTo>
                    <a:lnTo>
                      <a:pt x="607" y="720"/>
                    </a:lnTo>
                    <a:lnTo>
                      <a:pt x="624" y="748"/>
                    </a:lnTo>
                    <a:lnTo>
                      <a:pt x="603" y="770"/>
                    </a:lnTo>
                    <a:lnTo>
                      <a:pt x="586" y="791"/>
                    </a:lnTo>
                    <a:lnTo>
                      <a:pt x="603" y="803"/>
                    </a:lnTo>
                    <a:lnTo>
                      <a:pt x="607" y="803"/>
                    </a:lnTo>
                    <a:lnTo>
                      <a:pt x="615" y="791"/>
                    </a:lnTo>
                    <a:lnTo>
                      <a:pt x="631" y="803"/>
                    </a:lnTo>
                    <a:lnTo>
                      <a:pt x="631" y="819"/>
                    </a:lnTo>
                    <a:lnTo>
                      <a:pt x="645" y="848"/>
                    </a:lnTo>
                    <a:lnTo>
                      <a:pt x="641" y="881"/>
                    </a:lnTo>
                    <a:lnTo>
                      <a:pt x="657" y="885"/>
                    </a:lnTo>
                    <a:lnTo>
                      <a:pt x="662" y="885"/>
                    </a:lnTo>
                    <a:lnTo>
                      <a:pt x="666" y="902"/>
                    </a:lnTo>
                    <a:lnTo>
                      <a:pt x="662" y="930"/>
                    </a:lnTo>
                    <a:lnTo>
                      <a:pt x="631" y="919"/>
                    </a:lnTo>
                    <a:lnTo>
                      <a:pt x="577" y="952"/>
                    </a:lnTo>
                    <a:lnTo>
                      <a:pt x="577" y="975"/>
                    </a:lnTo>
                    <a:lnTo>
                      <a:pt x="570" y="987"/>
                    </a:lnTo>
                    <a:lnTo>
                      <a:pt x="555" y="996"/>
                    </a:lnTo>
                    <a:lnTo>
                      <a:pt x="548" y="996"/>
                    </a:lnTo>
                    <a:lnTo>
                      <a:pt x="518" y="1041"/>
                    </a:lnTo>
                    <a:lnTo>
                      <a:pt x="494" y="1046"/>
                    </a:lnTo>
                    <a:lnTo>
                      <a:pt x="485" y="1063"/>
                    </a:lnTo>
                    <a:lnTo>
                      <a:pt x="463" y="1053"/>
                    </a:lnTo>
                    <a:lnTo>
                      <a:pt x="452" y="1063"/>
                    </a:lnTo>
                    <a:lnTo>
                      <a:pt x="392" y="1070"/>
                    </a:lnTo>
                    <a:lnTo>
                      <a:pt x="383" y="1079"/>
                    </a:lnTo>
                    <a:lnTo>
                      <a:pt x="397" y="1098"/>
                    </a:lnTo>
                    <a:lnTo>
                      <a:pt x="359" y="1136"/>
                    </a:lnTo>
                    <a:lnTo>
                      <a:pt x="291" y="1141"/>
                    </a:lnTo>
                    <a:lnTo>
                      <a:pt x="237" y="1174"/>
                    </a:lnTo>
                    <a:lnTo>
                      <a:pt x="220" y="1157"/>
                    </a:lnTo>
                    <a:lnTo>
                      <a:pt x="220" y="1152"/>
                    </a:lnTo>
                    <a:lnTo>
                      <a:pt x="211" y="1164"/>
                    </a:lnTo>
                    <a:lnTo>
                      <a:pt x="178" y="1174"/>
                    </a:lnTo>
                    <a:lnTo>
                      <a:pt x="144" y="1174"/>
                    </a:lnTo>
                    <a:lnTo>
                      <a:pt x="156" y="1157"/>
                    </a:lnTo>
                    <a:lnTo>
                      <a:pt x="144" y="1152"/>
                    </a:lnTo>
                    <a:lnTo>
                      <a:pt x="123" y="1103"/>
                    </a:lnTo>
                    <a:lnTo>
                      <a:pt x="59" y="1053"/>
                    </a:lnTo>
                    <a:lnTo>
                      <a:pt x="38" y="1025"/>
                    </a:lnTo>
                    <a:lnTo>
                      <a:pt x="52" y="996"/>
                    </a:lnTo>
                    <a:lnTo>
                      <a:pt x="90" y="996"/>
                    </a:lnTo>
                    <a:lnTo>
                      <a:pt x="161" y="996"/>
                    </a:lnTo>
                    <a:lnTo>
                      <a:pt x="140" y="975"/>
                    </a:lnTo>
                    <a:lnTo>
                      <a:pt x="114" y="935"/>
                    </a:lnTo>
                    <a:lnTo>
                      <a:pt x="114" y="902"/>
                    </a:lnTo>
                    <a:lnTo>
                      <a:pt x="114" y="885"/>
                    </a:lnTo>
                    <a:lnTo>
                      <a:pt x="114" y="843"/>
                    </a:lnTo>
                    <a:lnTo>
                      <a:pt x="102" y="843"/>
                    </a:lnTo>
                    <a:lnTo>
                      <a:pt x="102" y="803"/>
                    </a:lnTo>
                    <a:lnTo>
                      <a:pt x="76" y="791"/>
                    </a:lnTo>
                    <a:lnTo>
                      <a:pt x="69" y="770"/>
                    </a:lnTo>
                    <a:lnTo>
                      <a:pt x="48" y="770"/>
                    </a:lnTo>
                    <a:lnTo>
                      <a:pt x="48" y="770"/>
                    </a:lnTo>
                    <a:lnTo>
                      <a:pt x="48" y="77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6" name="Freeform 411">
                <a:extLst>
                  <a:ext uri="{FF2B5EF4-FFF2-40B4-BE49-F238E27FC236}">
                    <a16:creationId xmlns:a16="http://schemas.microsoft.com/office/drawing/2014/main" id="{4806CA80-279C-4750-846A-C102DA83FF02}"/>
                  </a:ext>
                </a:extLst>
              </p:cNvPr>
              <p:cNvSpPr>
                <a:spLocks noEditPoints="1"/>
              </p:cNvSpPr>
              <p:nvPr/>
            </p:nvSpPr>
            <p:spPr bwMode="gray">
              <a:xfrm>
                <a:off x="9025001" y="3772743"/>
                <a:ext cx="64220" cy="115691"/>
              </a:xfrm>
              <a:custGeom>
                <a:avLst/>
                <a:gdLst>
                  <a:gd name="T0" fmla="*/ 17 w 156"/>
                  <a:gd name="T1" fmla="*/ 182 h 281"/>
                  <a:gd name="T2" fmla="*/ 12 w 156"/>
                  <a:gd name="T3" fmla="*/ 116 h 281"/>
                  <a:gd name="T4" fmla="*/ 12 w 156"/>
                  <a:gd name="T5" fmla="*/ 111 h 281"/>
                  <a:gd name="T6" fmla="*/ 12 w 156"/>
                  <a:gd name="T7" fmla="*/ 133 h 281"/>
                  <a:gd name="T8" fmla="*/ 17 w 156"/>
                  <a:gd name="T9" fmla="*/ 133 h 281"/>
                  <a:gd name="T10" fmla="*/ 17 w 156"/>
                  <a:gd name="T11" fmla="*/ 95 h 281"/>
                  <a:gd name="T12" fmla="*/ 28 w 156"/>
                  <a:gd name="T13" fmla="*/ 88 h 281"/>
                  <a:gd name="T14" fmla="*/ 28 w 156"/>
                  <a:gd name="T15" fmla="*/ 59 h 281"/>
                  <a:gd name="T16" fmla="*/ 33 w 156"/>
                  <a:gd name="T17" fmla="*/ 55 h 281"/>
                  <a:gd name="T18" fmla="*/ 33 w 156"/>
                  <a:gd name="T19" fmla="*/ 33 h 281"/>
                  <a:gd name="T20" fmla="*/ 38 w 156"/>
                  <a:gd name="T21" fmla="*/ 22 h 281"/>
                  <a:gd name="T22" fmla="*/ 33 w 156"/>
                  <a:gd name="T23" fmla="*/ 17 h 281"/>
                  <a:gd name="T24" fmla="*/ 71 w 156"/>
                  <a:gd name="T25" fmla="*/ 33 h 281"/>
                  <a:gd name="T26" fmla="*/ 28 w 156"/>
                  <a:gd name="T27" fmla="*/ 5 h 281"/>
                  <a:gd name="T28" fmla="*/ 28 w 156"/>
                  <a:gd name="T29" fmla="*/ 0 h 281"/>
                  <a:gd name="T30" fmla="*/ 33 w 156"/>
                  <a:gd name="T31" fmla="*/ 0 h 281"/>
                  <a:gd name="T32" fmla="*/ 54 w 156"/>
                  <a:gd name="T33" fmla="*/ 17 h 281"/>
                  <a:gd name="T34" fmla="*/ 38 w 156"/>
                  <a:gd name="T35" fmla="*/ 0 h 281"/>
                  <a:gd name="T36" fmla="*/ 50 w 156"/>
                  <a:gd name="T37" fmla="*/ 0 h 281"/>
                  <a:gd name="T38" fmla="*/ 85 w 156"/>
                  <a:gd name="T39" fmla="*/ 38 h 281"/>
                  <a:gd name="T40" fmla="*/ 92 w 156"/>
                  <a:gd name="T41" fmla="*/ 59 h 281"/>
                  <a:gd name="T42" fmla="*/ 102 w 156"/>
                  <a:gd name="T43" fmla="*/ 59 h 281"/>
                  <a:gd name="T44" fmla="*/ 106 w 156"/>
                  <a:gd name="T45" fmla="*/ 88 h 281"/>
                  <a:gd name="T46" fmla="*/ 118 w 156"/>
                  <a:gd name="T47" fmla="*/ 95 h 281"/>
                  <a:gd name="T48" fmla="*/ 106 w 156"/>
                  <a:gd name="T49" fmla="*/ 95 h 281"/>
                  <a:gd name="T50" fmla="*/ 123 w 156"/>
                  <a:gd name="T51" fmla="*/ 95 h 281"/>
                  <a:gd name="T52" fmla="*/ 123 w 156"/>
                  <a:gd name="T53" fmla="*/ 116 h 281"/>
                  <a:gd name="T54" fmla="*/ 156 w 156"/>
                  <a:gd name="T55" fmla="*/ 170 h 281"/>
                  <a:gd name="T56" fmla="*/ 156 w 156"/>
                  <a:gd name="T57" fmla="*/ 206 h 281"/>
                  <a:gd name="T58" fmla="*/ 139 w 156"/>
                  <a:gd name="T59" fmla="*/ 244 h 281"/>
                  <a:gd name="T60" fmla="*/ 118 w 156"/>
                  <a:gd name="T61" fmla="*/ 260 h 281"/>
                  <a:gd name="T62" fmla="*/ 71 w 156"/>
                  <a:gd name="T63" fmla="*/ 281 h 281"/>
                  <a:gd name="T64" fmla="*/ 38 w 156"/>
                  <a:gd name="T65" fmla="*/ 277 h 281"/>
                  <a:gd name="T66" fmla="*/ 33 w 156"/>
                  <a:gd name="T67" fmla="*/ 260 h 281"/>
                  <a:gd name="T68" fmla="*/ 17 w 156"/>
                  <a:gd name="T69" fmla="*/ 222 h 281"/>
                  <a:gd name="T70" fmla="*/ 17 w 156"/>
                  <a:gd name="T71" fmla="*/ 182 h 281"/>
                  <a:gd name="T72" fmla="*/ 17 w 156"/>
                  <a:gd name="T73" fmla="*/ 182 h 281"/>
                  <a:gd name="T74" fmla="*/ 17 w 156"/>
                  <a:gd name="T75" fmla="*/ 182 h 281"/>
                  <a:gd name="T76" fmla="*/ 17 w 156"/>
                  <a:gd name="T77" fmla="*/ 5 h 281"/>
                  <a:gd name="T78" fmla="*/ 28 w 156"/>
                  <a:gd name="T79" fmla="*/ 17 h 281"/>
                  <a:gd name="T80" fmla="*/ 17 w 156"/>
                  <a:gd name="T81" fmla="*/ 5 h 281"/>
                  <a:gd name="T82" fmla="*/ 17 w 156"/>
                  <a:gd name="T83" fmla="*/ 5 h 281"/>
                  <a:gd name="T84" fmla="*/ 17 w 156"/>
                  <a:gd name="T85" fmla="*/ 5 h 281"/>
                  <a:gd name="T86" fmla="*/ 17 w 156"/>
                  <a:gd name="T87" fmla="*/ 5 h 281"/>
                  <a:gd name="T88" fmla="*/ 12 w 156"/>
                  <a:gd name="T89" fmla="*/ 55 h 281"/>
                  <a:gd name="T90" fmla="*/ 17 w 156"/>
                  <a:gd name="T91" fmla="*/ 59 h 281"/>
                  <a:gd name="T92" fmla="*/ 0 w 156"/>
                  <a:gd name="T93" fmla="*/ 55 h 281"/>
                  <a:gd name="T94" fmla="*/ 12 w 156"/>
                  <a:gd name="T95" fmla="*/ 55 h 281"/>
                  <a:gd name="T96" fmla="*/ 12 w 156"/>
                  <a:gd name="T97" fmla="*/ 55 h 281"/>
                  <a:gd name="T98" fmla="*/ 12 w 156"/>
                  <a:gd name="T99" fmla="*/ 55 h 281"/>
                  <a:gd name="T100" fmla="*/ 144 w 156"/>
                  <a:gd name="T101" fmla="*/ 154 h 281"/>
                  <a:gd name="T102" fmla="*/ 156 w 156"/>
                  <a:gd name="T103" fmla="*/ 170 h 281"/>
                  <a:gd name="T104" fmla="*/ 144 w 156"/>
                  <a:gd name="T105" fmla="*/ 149 h 281"/>
                  <a:gd name="T106" fmla="*/ 144 w 156"/>
                  <a:gd name="T107" fmla="*/ 154 h 281"/>
                  <a:gd name="T108" fmla="*/ 144 w 156"/>
                  <a:gd name="T109" fmla="*/ 154 h 281"/>
                  <a:gd name="T110" fmla="*/ 144 w 156"/>
                  <a:gd name="T111" fmla="*/ 15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6" h="281">
                    <a:moveTo>
                      <a:pt x="17" y="182"/>
                    </a:moveTo>
                    <a:lnTo>
                      <a:pt x="12" y="116"/>
                    </a:lnTo>
                    <a:lnTo>
                      <a:pt x="12" y="111"/>
                    </a:lnTo>
                    <a:lnTo>
                      <a:pt x="12" y="133"/>
                    </a:lnTo>
                    <a:lnTo>
                      <a:pt x="17" y="133"/>
                    </a:lnTo>
                    <a:lnTo>
                      <a:pt x="17" y="95"/>
                    </a:lnTo>
                    <a:lnTo>
                      <a:pt x="28" y="88"/>
                    </a:lnTo>
                    <a:lnTo>
                      <a:pt x="28" y="59"/>
                    </a:lnTo>
                    <a:lnTo>
                      <a:pt x="33" y="55"/>
                    </a:lnTo>
                    <a:lnTo>
                      <a:pt x="33" y="33"/>
                    </a:lnTo>
                    <a:lnTo>
                      <a:pt x="38" y="22"/>
                    </a:lnTo>
                    <a:lnTo>
                      <a:pt x="33" y="17"/>
                    </a:lnTo>
                    <a:lnTo>
                      <a:pt x="71" y="33"/>
                    </a:lnTo>
                    <a:lnTo>
                      <a:pt x="28" y="5"/>
                    </a:lnTo>
                    <a:lnTo>
                      <a:pt x="28" y="0"/>
                    </a:lnTo>
                    <a:lnTo>
                      <a:pt x="33" y="0"/>
                    </a:lnTo>
                    <a:lnTo>
                      <a:pt x="54" y="17"/>
                    </a:lnTo>
                    <a:lnTo>
                      <a:pt x="38" y="0"/>
                    </a:lnTo>
                    <a:lnTo>
                      <a:pt x="50" y="0"/>
                    </a:lnTo>
                    <a:lnTo>
                      <a:pt x="85" y="38"/>
                    </a:lnTo>
                    <a:lnTo>
                      <a:pt x="92" y="59"/>
                    </a:lnTo>
                    <a:lnTo>
                      <a:pt x="102" y="59"/>
                    </a:lnTo>
                    <a:lnTo>
                      <a:pt x="106" y="88"/>
                    </a:lnTo>
                    <a:lnTo>
                      <a:pt x="118" y="95"/>
                    </a:lnTo>
                    <a:lnTo>
                      <a:pt x="106" y="95"/>
                    </a:lnTo>
                    <a:lnTo>
                      <a:pt x="123" y="95"/>
                    </a:lnTo>
                    <a:lnTo>
                      <a:pt x="123" y="116"/>
                    </a:lnTo>
                    <a:lnTo>
                      <a:pt x="156" y="170"/>
                    </a:lnTo>
                    <a:lnTo>
                      <a:pt x="156" y="206"/>
                    </a:lnTo>
                    <a:lnTo>
                      <a:pt x="139" y="244"/>
                    </a:lnTo>
                    <a:lnTo>
                      <a:pt x="118" y="260"/>
                    </a:lnTo>
                    <a:lnTo>
                      <a:pt x="71" y="281"/>
                    </a:lnTo>
                    <a:lnTo>
                      <a:pt x="38" y="277"/>
                    </a:lnTo>
                    <a:lnTo>
                      <a:pt x="33" y="260"/>
                    </a:lnTo>
                    <a:lnTo>
                      <a:pt x="17" y="222"/>
                    </a:lnTo>
                    <a:lnTo>
                      <a:pt x="17" y="182"/>
                    </a:lnTo>
                    <a:lnTo>
                      <a:pt x="17" y="182"/>
                    </a:lnTo>
                    <a:lnTo>
                      <a:pt x="17" y="182"/>
                    </a:lnTo>
                    <a:close/>
                    <a:moveTo>
                      <a:pt x="17" y="5"/>
                    </a:moveTo>
                    <a:lnTo>
                      <a:pt x="28" y="17"/>
                    </a:lnTo>
                    <a:lnTo>
                      <a:pt x="17" y="5"/>
                    </a:lnTo>
                    <a:lnTo>
                      <a:pt x="17" y="5"/>
                    </a:lnTo>
                    <a:lnTo>
                      <a:pt x="17" y="5"/>
                    </a:lnTo>
                    <a:lnTo>
                      <a:pt x="17" y="5"/>
                    </a:lnTo>
                    <a:close/>
                    <a:moveTo>
                      <a:pt x="12" y="55"/>
                    </a:moveTo>
                    <a:lnTo>
                      <a:pt x="17" y="59"/>
                    </a:lnTo>
                    <a:lnTo>
                      <a:pt x="0" y="55"/>
                    </a:lnTo>
                    <a:lnTo>
                      <a:pt x="12" y="55"/>
                    </a:lnTo>
                    <a:lnTo>
                      <a:pt x="12" y="55"/>
                    </a:lnTo>
                    <a:lnTo>
                      <a:pt x="12" y="55"/>
                    </a:lnTo>
                    <a:close/>
                    <a:moveTo>
                      <a:pt x="144" y="154"/>
                    </a:moveTo>
                    <a:lnTo>
                      <a:pt x="156" y="170"/>
                    </a:lnTo>
                    <a:lnTo>
                      <a:pt x="144" y="149"/>
                    </a:lnTo>
                    <a:lnTo>
                      <a:pt x="144" y="154"/>
                    </a:lnTo>
                    <a:lnTo>
                      <a:pt x="144" y="154"/>
                    </a:lnTo>
                    <a:lnTo>
                      <a:pt x="144" y="15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7" name="Freeform 412">
                <a:extLst>
                  <a:ext uri="{FF2B5EF4-FFF2-40B4-BE49-F238E27FC236}">
                    <a16:creationId xmlns:a16="http://schemas.microsoft.com/office/drawing/2014/main" id="{192E4AF3-C7D0-4415-9C99-7BC20DA15293}"/>
                  </a:ext>
                </a:extLst>
              </p:cNvPr>
              <p:cNvSpPr>
                <a:spLocks/>
              </p:cNvSpPr>
              <p:nvPr/>
            </p:nvSpPr>
            <p:spPr bwMode="gray">
              <a:xfrm>
                <a:off x="7046927" y="3955546"/>
                <a:ext cx="214892" cy="258970"/>
              </a:xfrm>
              <a:custGeom>
                <a:avLst/>
                <a:gdLst>
                  <a:gd name="T0" fmla="*/ 123 w 522"/>
                  <a:gd name="T1" fmla="*/ 589 h 629"/>
                  <a:gd name="T2" fmla="*/ 107 w 522"/>
                  <a:gd name="T3" fmla="*/ 596 h 629"/>
                  <a:gd name="T4" fmla="*/ 85 w 522"/>
                  <a:gd name="T5" fmla="*/ 612 h 629"/>
                  <a:gd name="T6" fmla="*/ 59 w 522"/>
                  <a:gd name="T7" fmla="*/ 629 h 629"/>
                  <a:gd name="T8" fmla="*/ 48 w 522"/>
                  <a:gd name="T9" fmla="*/ 596 h 629"/>
                  <a:gd name="T10" fmla="*/ 5 w 522"/>
                  <a:gd name="T11" fmla="*/ 534 h 629"/>
                  <a:gd name="T12" fmla="*/ 48 w 522"/>
                  <a:gd name="T13" fmla="*/ 534 h 629"/>
                  <a:gd name="T14" fmla="*/ 52 w 522"/>
                  <a:gd name="T15" fmla="*/ 522 h 629"/>
                  <a:gd name="T16" fmla="*/ 38 w 522"/>
                  <a:gd name="T17" fmla="*/ 501 h 629"/>
                  <a:gd name="T18" fmla="*/ 38 w 522"/>
                  <a:gd name="T19" fmla="*/ 468 h 629"/>
                  <a:gd name="T20" fmla="*/ 38 w 522"/>
                  <a:gd name="T21" fmla="*/ 452 h 629"/>
                  <a:gd name="T22" fmla="*/ 48 w 522"/>
                  <a:gd name="T23" fmla="*/ 444 h 629"/>
                  <a:gd name="T24" fmla="*/ 69 w 522"/>
                  <a:gd name="T25" fmla="*/ 444 h 629"/>
                  <a:gd name="T26" fmla="*/ 90 w 522"/>
                  <a:gd name="T27" fmla="*/ 407 h 629"/>
                  <a:gd name="T28" fmla="*/ 107 w 522"/>
                  <a:gd name="T29" fmla="*/ 395 h 629"/>
                  <a:gd name="T30" fmla="*/ 128 w 522"/>
                  <a:gd name="T31" fmla="*/ 440 h 629"/>
                  <a:gd name="T32" fmla="*/ 182 w 522"/>
                  <a:gd name="T33" fmla="*/ 423 h 629"/>
                  <a:gd name="T34" fmla="*/ 211 w 522"/>
                  <a:gd name="T35" fmla="*/ 444 h 629"/>
                  <a:gd name="T36" fmla="*/ 232 w 522"/>
                  <a:gd name="T37" fmla="*/ 407 h 629"/>
                  <a:gd name="T38" fmla="*/ 232 w 522"/>
                  <a:gd name="T39" fmla="*/ 340 h 629"/>
                  <a:gd name="T40" fmla="*/ 232 w 522"/>
                  <a:gd name="T41" fmla="*/ 300 h 629"/>
                  <a:gd name="T42" fmla="*/ 211 w 522"/>
                  <a:gd name="T43" fmla="*/ 284 h 629"/>
                  <a:gd name="T44" fmla="*/ 194 w 522"/>
                  <a:gd name="T45" fmla="*/ 279 h 629"/>
                  <a:gd name="T46" fmla="*/ 211 w 522"/>
                  <a:gd name="T47" fmla="*/ 229 h 629"/>
                  <a:gd name="T48" fmla="*/ 237 w 522"/>
                  <a:gd name="T49" fmla="*/ 201 h 629"/>
                  <a:gd name="T50" fmla="*/ 182 w 522"/>
                  <a:gd name="T51" fmla="*/ 168 h 629"/>
                  <a:gd name="T52" fmla="*/ 144 w 522"/>
                  <a:gd name="T53" fmla="*/ 168 h 629"/>
                  <a:gd name="T54" fmla="*/ 156 w 522"/>
                  <a:gd name="T55" fmla="*/ 111 h 629"/>
                  <a:gd name="T56" fmla="*/ 265 w 522"/>
                  <a:gd name="T57" fmla="*/ 118 h 629"/>
                  <a:gd name="T58" fmla="*/ 345 w 522"/>
                  <a:gd name="T59" fmla="*/ 152 h 629"/>
                  <a:gd name="T60" fmla="*/ 345 w 522"/>
                  <a:gd name="T61" fmla="*/ 111 h 629"/>
                  <a:gd name="T62" fmla="*/ 378 w 522"/>
                  <a:gd name="T63" fmla="*/ 62 h 629"/>
                  <a:gd name="T64" fmla="*/ 383 w 522"/>
                  <a:gd name="T65" fmla="*/ 7 h 629"/>
                  <a:gd name="T66" fmla="*/ 447 w 522"/>
                  <a:gd name="T67" fmla="*/ 0 h 629"/>
                  <a:gd name="T68" fmla="*/ 468 w 522"/>
                  <a:gd name="T69" fmla="*/ 7 h 629"/>
                  <a:gd name="T70" fmla="*/ 492 w 522"/>
                  <a:gd name="T71" fmla="*/ 19 h 629"/>
                  <a:gd name="T72" fmla="*/ 522 w 522"/>
                  <a:gd name="T73" fmla="*/ 19 h 629"/>
                  <a:gd name="T74" fmla="*/ 485 w 522"/>
                  <a:gd name="T75" fmla="*/ 102 h 629"/>
                  <a:gd name="T76" fmla="*/ 480 w 522"/>
                  <a:gd name="T77" fmla="*/ 201 h 629"/>
                  <a:gd name="T78" fmla="*/ 463 w 522"/>
                  <a:gd name="T79" fmla="*/ 279 h 629"/>
                  <a:gd name="T80" fmla="*/ 437 w 522"/>
                  <a:gd name="T81" fmla="*/ 340 h 629"/>
                  <a:gd name="T82" fmla="*/ 378 w 522"/>
                  <a:gd name="T83" fmla="*/ 407 h 629"/>
                  <a:gd name="T84" fmla="*/ 362 w 522"/>
                  <a:gd name="T85" fmla="*/ 506 h 629"/>
                  <a:gd name="T86" fmla="*/ 307 w 522"/>
                  <a:gd name="T87" fmla="*/ 555 h 629"/>
                  <a:gd name="T88" fmla="*/ 286 w 522"/>
                  <a:gd name="T89" fmla="*/ 579 h 629"/>
                  <a:gd name="T90" fmla="*/ 248 w 522"/>
                  <a:gd name="T91" fmla="*/ 617 h 629"/>
                  <a:gd name="T92" fmla="*/ 232 w 522"/>
                  <a:gd name="T93" fmla="*/ 596 h 629"/>
                  <a:gd name="T94" fmla="*/ 232 w 522"/>
                  <a:gd name="T95" fmla="*/ 579 h 629"/>
                  <a:gd name="T96" fmla="*/ 182 w 522"/>
                  <a:gd name="T97" fmla="*/ 589 h 629"/>
                  <a:gd name="T98" fmla="*/ 166 w 522"/>
                  <a:gd name="T99" fmla="*/ 612 h 629"/>
                  <a:gd name="T100" fmla="*/ 140 w 522"/>
                  <a:gd name="T101" fmla="*/ 596 h 629"/>
                  <a:gd name="T102" fmla="*/ 140 w 522"/>
                  <a:gd name="T103" fmla="*/ 605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2" h="629">
                    <a:moveTo>
                      <a:pt x="140" y="605"/>
                    </a:moveTo>
                    <a:lnTo>
                      <a:pt x="123" y="589"/>
                    </a:lnTo>
                    <a:lnTo>
                      <a:pt x="114" y="589"/>
                    </a:lnTo>
                    <a:lnTo>
                      <a:pt x="107" y="596"/>
                    </a:lnTo>
                    <a:lnTo>
                      <a:pt x="90" y="605"/>
                    </a:lnTo>
                    <a:lnTo>
                      <a:pt x="85" y="612"/>
                    </a:lnTo>
                    <a:lnTo>
                      <a:pt x="76" y="612"/>
                    </a:lnTo>
                    <a:lnTo>
                      <a:pt x="59" y="629"/>
                    </a:lnTo>
                    <a:lnTo>
                      <a:pt x="48" y="612"/>
                    </a:lnTo>
                    <a:lnTo>
                      <a:pt x="48" y="596"/>
                    </a:lnTo>
                    <a:lnTo>
                      <a:pt x="0" y="551"/>
                    </a:lnTo>
                    <a:lnTo>
                      <a:pt x="5" y="534"/>
                    </a:lnTo>
                    <a:lnTo>
                      <a:pt x="31" y="522"/>
                    </a:lnTo>
                    <a:lnTo>
                      <a:pt x="48" y="534"/>
                    </a:lnTo>
                    <a:lnTo>
                      <a:pt x="52" y="534"/>
                    </a:lnTo>
                    <a:lnTo>
                      <a:pt x="52" y="522"/>
                    </a:lnTo>
                    <a:lnTo>
                      <a:pt x="59" y="506"/>
                    </a:lnTo>
                    <a:lnTo>
                      <a:pt x="38" y="501"/>
                    </a:lnTo>
                    <a:lnTo>
                      <a:pt x="48" y="485"/>
                    </a:lnTo>
                    <a:lnTo>
                      <a:pt x="38" y="468"/>
                    </a:lnTo>
                    <a:lnTo>
                      <a:pt x="31" y="478"/>
                    </a:lnTo>
                    <a:lnTo>
                      <a:pt x="38" y="452"/>
                    </a:lnTo>
                    <a:lnTo>
                      <a:pt x="31" y="440"/>
                    </a:lnTo>
                    <a:lnTo>
                      <a:pt x="48" y="444"/>
                    </a:lnTo>
                    <a:lnTo>
                      <a:pt x="59" y="440"/>
                    </a:lnTo>
                    <a:lnTo>
                      <a:pt x="69" y="444"/>
                    </a:lnTo>
                    <a:lnTo>
                      <a:pt x="90" y="440"/>
                    </a:lnTo>
                    <a:lnTo>
                      <a:pt x="90" y="407"/>
                    </a:lnTo>
                    <a:lnTo>
                      <a:pt x="102" y="407"/>
                    </a:lnTo>
                    <a:lnTo>
                      <a:pt x="107" y="395"/>
                    </a:lnTo>
                    <a:lnTo>
                      <a:pt x="123" y="407"/>
                    </a:lnTo>
                    <a:lnTo>
                      <a:pt x="128" y="440"/>
                    </a:lnTo>
                    <a:lnTo>
                      <a:pt x="166" y="444"/>
                    </a:lnTo>
                    <a:lnTo>
                      <a:pt x="182" y="423"/>
                    </a:lnTo>
                    <a:lnTo>
                      <a:pt x="194" y="444"/>
                    </a:lnTo>
                    <a:lnTo>
                      <a:pt x="211" y="444"/>
                    </a:lnTo>
                    <a:lnTo>
                      <a:pt x="220" y="411"/>
                    </a:lnTo>
                    <a:lnTo>
                      <a:pt x="232" y="407"/>
                    </a:lnTo>
                    <a:lnTo>
                      <a:pt x="237" y="357"/>
                    </a:lnTo>
                    <a:lnTo>
                      <a:pt x="232" y="340"/>
                    </a:lnTo>
                    <a:lnTo>
                      <a:pt x="237" y="312"/>
                    </a:lnTo>
                    <a:lnTo>
                      <a:pt x="232" y="300"/>
                    </a:lnTo>
                    <a:lnTo>
                      <a:pt x="215" y="300"/>
                    </a:lnTo>
                    <a:lnTo>
                      <a:pt x="211" y="284"/>
                    </a:lnTo>
                    <a:lnTo>
                      <a:pt x="194" y="284"/>
                    </a:lnTo>
                    <a:lnTo>
                      <a:pt x="194" y="279"/>
                    </a:lnTo>
                    <a:lnTo>
                      <a:pt x="199" y="246"/>
                    </a:lnTo>
                    <a:lnTo>
                      <a:pt x="211" y="229"/>
                    </a:lnTo>
                    <a:lnTo>
                      <a:pt x="220" y="222"/>
                    </a:lnTo>
                    <a:lnTo>
                      <a:pt x="237" y="201"/>
                    </a:lnTo>
                    <a:lnTo>
                      <a:pt x="215" y="168"/>
                    </a:lnTo>
                    <a:lnTo>
                      <a:pt x="182" y="168"/>
                    </a:lnTo>
                    <a:lnTo>
                      <a:pt x="144" y="185"/>
                    </a:lnTo>
                    <a:lnTo>
                      <a:pt x="144" y="168"/>
                    </a:lnTo>
                    <a:lnTo>
                      <a:pt x="140" y="147"/>
                    </a:lnTo>
                    <a:lnTo>
                      <a:pt x="156" y="111"/>
                    </a:lnTo>
                    <a:lnTo>
                      <a:pt x="237" y="111"/>
                    </a:lnTo>
                    <a:lnTo>
                      <a:pt x="265" y="118"/>
                    </a:lnTo>
                    <a:lnTo>
                      <a:pt x="324" y="128"/>
                    </a:lnTo>
                    <a:lnTo>
                      <a:pt x="345" y="152"/>
                    </a:lnTo>
                    <a:lnTo>
                      <a:pt x="355" y="147"/>
                    </a:lnTo>
                    <a:lnTo>
                      <a:pt x="345" y="111"/>
                    </a:lnTo>
                    <a:lnTo>
                      <a:pt x="355" y="102"/>
                    </a:lnTo>
                    <a:lnTo>
                      <a:pt x="378" y="62"/>
                    </a:lnTo>
                    <a:lnTo>
                      <a:pt x="378" y="41"/>
                    </a:lnTo>
                    <a:lnTo>
                      <a:pt x="383" y="7"/>
                    </a:lnTo>
                    <a:lnTo>
                      <a:pt x="437" y="7"/>
                    </a:lnTo>
                    <a:lnTo>
                      <a:pt x="447" y="0"/>
                    </a:lnTo>
                    <a:lnTo>
                      <a:pt x="468" y="7"/>
                    </a:lnTo>
                    <a:lnTo>
                      <a:pt x="468" y="7"/>
                    </a:lnTo>
                    <a:lnTo>
                      <a:pt x="492" y="7"/>
                    </a:lnTo>
                    <a:lnTo>
                      <a:pt x="492" y="19"/>
                    </a:lnTo>
                    <a:lnTo>
                      <a:pt x="518" y="0"/>
                    </a:lnTo>
                    <a:lnTo>
                      <a:pt x="522" y="19"/>
                    </a:lnTo>
                    <a:lnTo>
                      <a:pt x="522" y="41"/>
                    </a:lnTo>
                    <a:lnTo>
                      <a:pt x="485" y="102"/>
                    </a:lnTo>
                    <a:lnTo>
                      <a:pt x="485" y="156"/>
                    </a:lnTo>
                    <a:lnTo>
                      <a:pt x="480" y="201"/>
                    </a:lnTo>
                    <a:lnTo>
                      <a:pt x="480" y="239"/>
                    </a:lnTo>
                    <a:lnTo>
                      <a:pt x="463" y="279"/>
                    </a:lnTo>
                    <a:lnTo>
                      <a:pt x="463" y="312"/>
                    </a:lnTo>
                    <a:lnTo>
                      <a:pt x="437" y="340"/>
                    </a:lnTo>
                    <a:lnTo>
                      <a:pt x="400" y="357"/>
                    </a:lnTo>
                    <a:lnTo>
                      <a:pt x="378" y="407"/>
                    </a:lnTo>
                    <a:lnTo>
                      <a:pt x="355" y="423"/>
                    </a:lnTo>
                    <a:lnTo>
                      <a:pt x="362" y="506"/>
                    </a:lnTo>
                    <a:lnTo>
                      <a:pt x="329" y="551"/>
                    </a:lnTo>
                    <a:lnTo>
                      <a:pt x="307" y="555"/>
                    </a:lnTo>
                    <a:lnTo>
                      <a:pt x="307" y="572"/>
                    </a:lnTo>
                    <a:lnTo>
                      <a:pt x="286" y="579"/>
                    </a:lnTo>
                    <a:lnTo>
                      <a:pt x="265" y="612"/>
                    </a:lnTo>
                    <a:lnTo>
                      <a:pt x="248" y="617"/>
                    </a:lnTo>
                    <a:lnTo>
                      <a:pt x="232" y="617"/>
                    </a:lnTo>
                    <a:lnTo>
                      <a:pt x="232" y="596"/>
                    </a:lnTo>
                    <a:lnTo>
                      <a:pt x="237" y="589"/>
                    </a:lnTo>
                    <a:lnTo>
                      <a:pt x="232" y="579"/>
                    </a:lnTo>
                    <a:lnTo>
                      <a:pt x="199" y="589"/>
                    </a:lnTo>
                    <a:lnTo>
                      <a:pt x="182" y="589"/>
                    </a:lnTo>
                    <a:lnTo>
                      <a:pt x="182" y="612"/>
                    </a:lnTo>
                    <a:lnTo>
                      <a:pt x="166" y="612"/>
                    </a:lnTo>
                    <a:lnTo>
                      <a:pt x="161" y="617"/>
                    </a:lnTo>
                    <a:lnTo>
                      <a:pt x="140" y="596"/>
                    </a:lnTo>
                    <a:lnTo>
                      <a:pt x="140" y="605"/>
                    </a:lnTo>
                    <a:lnTo>
                      <a:pt x="140" y="605"/>
                    </a:lnTo>
                    <a:lnTo>
                      <a:pt x="140" y="60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48" name="Freeform 413">
                <a:extLst>
                  <a:ext uri="{FF2B5EF4-FFF2-40B4-BE49-F238E27FC236}">
                    <a16:creationId xmlns:a16="http://schemas.microsoft.com/office/drawing/2014/main" id="{13D2342E-55B9-47AE-9E22-D72A063341C5}"/>
                  </a:ext>
                </a:extLst>
              </p:cNvPr>
              <p:cNvSpPr>
                <a:spLocks noEditPoints="1"/>
              </p:cNvSpPr>
              <p:nvPr/>
            </p:nvSpPr>
            <p:spPr bwMode="gray">
              <a:xfrm>
                <a:off x="7078214" y="3905316"/>
                <a:ext cx="553285" cy="561993"/>
              </a:xfrm>
              <a:custGeom>
                <a:avLst/>
                <a:gdLst>
                  <a:gd name="T0" fmla="*/ 38 w 1344"/>
                  <a:gd name="T1" fmla="*/ 819 h 1365"/>
                  <a:gd name="T2" fmla="*/ 28 w 1344"/>
                  <a:gd name="T3" fmla="*/ 748 h 1365"/>
                  <a:gd name="T4" fmla="*/ 87 w 1344"/>
                  <a:gd name="T5" fmla="*/ 737 h 1365"/>
                  <a:gd name="T6" fmla="*/ 125 w 1344"/>
                  <a:gd name="T7" fmla="*/ 708 h 1365"/>
                  <a:gd name="T8" fmla="*/ 158 w 1344"/>
                  <a:gd name="T9" fmla="*/ 737 h 1365"/>
                  <a:gd name="T10" fmla="*/ 234 w 1344"/>
                  <a:gd name="T11" fmla="*/ 692 h 1365"/>
                  <a:gd name="T12" fmla="*/ 281 w 1344"/>
                  <a:gd name="T13" fmla="*/ 543 h 1365"/>
                  <a:gd name="T14" fmla="*/ 390 w 1344"/>
                  <a:gd name="T15" fmla="*/ 432 h 1365"/>
                  <a:gd name="T16" fmla="*/ 411 w 1344"/>
                  <a:gd name="T17" fmla="*/ 276 h 1365"/>
                  <a:gd name="T18" fmla="*/ 458 w 1344"/>
                  <a:gd name="T19" fmla="*/ 99 h 1365"/>
                  <a:gd name="T20" fmla="*/ 503 w 1344"/>
                  <a:gd name="T21" fmla="*/ 16 h 1365"/>
                  <a:gd name="T22" fmla="*/ 588 w 1344"/>
                  <a:gd name="T23" fmla="*/ 70 h 1365"/>
                  <a:gd name="T24" fmla="*/ 713 w 1344"/>
                  <a:gd name="T25" fmla="*/ 87 h 1365"/>
                  <a:gd name="T26" fmla="*/ 751 w 1344"/>
                  <a:gd name="T27" fmla="*/ 44 h 1365"/>
                  <a:gd name="T28" fmla="*/ 857 w 1344"/>
                  <a:gd name="T29" fmla="*/ 16 h 1365"/>
                  <a:gd name="T30" fmla="*/ 933 w 1344"/>
                  <a:gd name="T31" fmla="*/ 0 h 1365"/>
                  <a:gd name="T32" fmla="*/ 1020 w 1344"/>
                  <a:gd name="T33" fmla="*/ 16 h 1365"/>
                  <a:gd name="T34" fmla="*/ 1091 w 1344"/>
                  <a:gd name="T35" fmla="*/ 44 h 1365"/>
                  <a:gd name="T36" fmla="*/ 1198 w 1344"/>
                  <a:gd name="T37" fmla="*/ 70 h 1365"/>
                  <a:gd name="T38" fmla="*/ 1235 w 1344"/>
                  <a:gd name="T39" fmla="*/ 70 h 1365"/>
                  <a:gd name="T40" fmla="*/ 1290 w 1344"/>
                  <a:gd name="T41" fmla="*/ 127 h 1365"/>
                  <a:gd name="T42" fmla="*/ 1311 w 1344"/>
                  <a:gd name="T43" fmla="*/ 144 h 1365"/>
                  <a:gd name="T44" fmla="*/ 1311 w 1344"/>
                  <a:gd name="T45" fmla="*/ 214 h 1365"/>
                  <a:gd name="T46" fmla="*/ 1268 w 1344"/>
                  <a:gd name="T47" fmla="*/ 304 h 1365"/>
                  <a:gd name="T48" fmla="*/ 1231 w 1344"/>
                  <a:gd name="T49" fmla="*/ 382 h 1365"/>
                  <a:gd name="T50" fmla="*/ 1188 w 1344"/>
                  <a:gd name="T51" fmla="*/ 526 h 1365"/>
                  <a:gd name="T52" fmla="*/ 1181 w 1344"/>
                  <a:gd name="T53" fmla="*/ 588 h 1365"/>
                  <a:gd name="T54" fmla="*/ 1205 w 1344"/>
                  <a:gd name="T55" fmla="*/ 682 h 1365"/>
                  <a:gd name="T56" fmla="*/ 1214 w 1344"/>
                  <a:gd name="T57" fmla="*/ 819 h 1365"/>
                  <a:gd name="T58" fmla="*/ 1273 w 1344"/>
                  <a:gd name="T59" fmla="*/ 904 h 1365"/>
                  <a:gd name="T60" fmla="*/ 1167 w 1344"/>
                  <a:gd name="T61" fmla="*/ 1025 h 1365"/>
                  <a:gd name="T62" fmla="*/ 1150 w 1344"/>
                  <a:gd name="T63" fmla="*/ 1126 h 1365"/>
                  <a:gd name="T64" fmla="*/ 1143 w 1344"/>
                  <a:gd name="T65" fmla="*/ 1247 h 1365"/>
                  <a:gd name="T66" fmla="*/ 1214 w 1344"/>
                  <a:gd name="T67" fmla="*/ 1287 h 1365"/>
                  <a:gd name="T68" fmla="*/ 1219 w 1344"/>
                  <a:gd name="T69" fmla="*/ 1358 h 1365"/>
                  <a:gd name="T70" fmla="*/ 1181 w 1344"/>
                  <a:gd name="T71" fmla="*/ 1358 h 1365"/>
                  <a:gd name="T72" fmla="*/ 1096 w 1344"/>
                  <a:gd name="T73" fmla="*/ 1280 h 1365"/>
                  <a:gd name="T74" fmla="*/ 1053 w 1344"/>
                  <a:gd name="T75" fmla="*/ 1225 h 1365"/>
                  <a:gd name="T76" fmla="*/ 966 w 1344"/>
                  <a:gd name="T77" fmla="*/ 1247 h 1365"/>
                  <a:gd name="T78" fmla="*/ 881 w 1344"/>
                  <a:gd name="T79" fmla="*/ 1209 h 1365"/>
                  <a:gd name="T80" fmla="*/ 827 w 1344"/>
                  <a:gd name="T81" fmla="*/ 1176 h 1365"/>
                  <a:gd name="T82" fmla="*/ 730 w 1344"/>
                  <a:gd name="T83" fmla="*/ 1181 h 1365"/>
                  <a:gd name="T84" fmla="*/ 713 w 1344"/>
                  <a:gd name="T85" fmla="*/ 1136 h 1365"/>
                  <a:gd name="T86" fmla="*/ 680 w 1344"/>
                  <a:gd name="T87" fmla="*/ 1003 h 1365"/>
                  <a:gd name="T88" fmla="*/ 588 w 1344"/>
                  <a:gd name="T89" fmla="*/ 914 h 1365"/>
                  <a:gd name="T90" fmla="*/ 520 w 1344"/>
                  <a:gd name="T91" fmla="*/ 892 h 1365"/>
                  <a:gd name="T92" fmla="*/ 444 w 1344"/>
                  <a:gd name="T93" fmla="*/ 959 h 1365"/>
                  <a:gd name="T94" fmla="*/ 406 w 1344"/>
                  <a:gd name="T95" fmla="*/ 970 h 1365"/>
                  <a:gd name="T96" fmla="*/ 319 w 1344"/>
                  <a:gd name="T97" fmla="*/ 848 h 1365"/>
                  <a:gd name="T98" fmla="*/ 272 w 1344"/>
                  <a:gd name="T99" fmla="*/ 810 h 1365"/>
                  <a:gd name="T100" fmla="*/ 54 w 1344"/>
                  <a:gd name="T101" fmla="*/ 810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4" h="1365">
                    <a:moveTo>
                      <a:pt x="272" y="810"/>
                    </a:moveTo>
                    <a:lnTo>
                      <a:pt x="71" y="810"/>
                    </a:lnTo>
                    <a:lnTo>
                      <a:pt x="50" y="810"/>
                    </a:lnTo>
                    <a:lnTo>
                      <a:pt x="38" y="819"/>
                    </a:lnTo>
                    <a:lnTo>
                      <a:pt x="16" y="819"/>
                    </a:lnTo>
                    <a:lnTo>
                      <a:pt x="0" y="803"/>
                    </a:lnTo>
                    <a:lnTo>
                      <a:pt x="28" y="803"/>
                    </a:lnTo>
                    <a:lnTo>
                      <a:pt x="28" y="748"/>
                    </a:lnTo>
                    <a:lnTo>
                      <a:pt x="50" y="732"/>
                    </a:lnTo>
                    <a:lnTo>
                      <a:pt x="66" y="725"/>
                    </a:lnTo>
                    <a:lnTo>
                      <a:pt x="66" y="715"/>
                    </a:lnTo>
                    <a:lnTo>
                      <a:pt x="87" y="737"/>
                    </a:lnTo>
                    <a:lnTo>
                      <a:pt x="92" y="732"/>
                    </a:lnTo>
                    <a:lnTo>
                      <a:pt x="109" y="732"/>
                    </a:lnTo>
                    <a:lnTo>
                      <a:pt x="109" y="708"/>
                    </a:lnTo>
                    <a:lnTo>
                      <a:pt x="125" y="708"/>
                    </a:lnTo>
                    <a:lnTo>
                      <a:pt x="158" y="699"/>
                    </a:lnTo>
                    <a:lnTo>
                      <a:pt x="163" y="708"/>
                    </a:lnTo>
                    <a:lnTo>
                      <a:pt x="158" y="715"/>
                    </a:lnTo>
                    <a:lnTo>
                      <a:pt x="158" y="737"/>
                    </a:lnTo>
                    <a:lnTo>
                      <a:pt x="172" y="737"/>
                    </a:lnTo>
                    <a:lnTo>
                      <a:pt x="189" y="732"/>
                    </a:lnTo>
                    <a:lnTo>
                      <a:pt x="210" y="699"/>
                    </a:lnTo>
                    <a:lnTo>
                      <a:pt x="234" y="692"/>
                    </a:lnTo>
                    <a:lnTo>
                      <a:pt x="234" y="675"/>
                    </a:lnTo>
                    <a:lnTo>
                      <a:pt x="255" y="670"/>
                    </a:lnTo>
                    <a:lnTo>
                      <a:pt x="286" y="625"/>
                    </a:lnTo>
                    <a:lnTo>
                      <a:pt x="281" y="543"/>
                    </a:lnTo>
                    <a:lnTo>
                      <a:pt x="302" y="526"/>
                    </a:lnTo>
                    <a:lnTo>
                      <a:pt x="324" y="477"/>
                    </a:lnTo>
                    <a:lnTo>
                      <a:pt x="361" y="460"/>
                    </a:lnTo>
                    <a:lnTo>
                      <a:pt x="390" y="432"/>
                    </a:lnTo>
                    <a:lnTo>
                      <a:pt x="390" y="399"/>
                    </a:lnTo>
                    <a:lnTo>
                      <a:pt x="406" y="359"/>
                    </a:lnTo>
                    <a:lnTo>
                      <a:pt x="406" y="321"/>
                    </a:lnTo>
                    <a:lnTo>
                      <a:pt x="411" y="276"/>
                    </a:lnTo>
                    <a:lnTo>
                      <a:pt x="411" y="222"/>
                    </a:lnTo>
                    <a:lnTo>
                      <a:pt x="449" y="160"/>
                    </a:lnTo>
                    <a:lnTo>
                      <a:pt x="449" y="139"/>
                    </a:lnTo>
                    <a:lnTo>
                      <a:pt x="458" y="99"/>
                    </a:lnTo>
                    <a:lnTo>
                      <a:pt x="449" y="70"/>
                    </a:lnTo>
                    <a:lnTo>
                      <a:pt x="458" y="70"/>
                    </a:lnTo>
                    <a:lnTo>
                      <a:pt x="482" y="33"/>
                    </a:lnTo>
                    <a:lnTo>
                      <a:pt x="503" y="16"/>
                    </a:lnTo>
                    <a:lnTo>
                      <a:pt x="534" y="16"/>
                    </a:lnTo>
                    <a:lnTo>
                      <a:pt x="572" y="44"/>
                    </a:lnTo>
                    <a:lnTo>
                      <a:pt x="583" y="54"/>
                    </a:lnTo>
                    <a:lnTo>
                      <a:pt x="588" y="70"/>
                    </a:lnTo>
                    <a:lnTo>
                      <a:pt x="621" y="66"/>
                    </a:lnTo>
                    <a:lnTo>
                      <a:pt x="638" y="82"/>
                    </a:lnTo>
                    <a:lnTo>
                      <a:pt x="676" y="82"/>
                    </a:lnTo>
                    <a:lnTo>
                      <a:pt x="713" y="87"/>
                    </a:lnTo>
                    <a:lnTo>
                      <a:pt x="730" y="82"/>
                    </a:lnTo>
                    <a:lnTo>
                      <a:pt x="730" y="66"/>
                    </a:lnTo>
                    <a:lnTo>
                      <a:pt x="735" y="66"/>
                    </a:lnTo>
                    <a:lnTo>
                      <a:pt x="751" y="44"/>
                    </a:lnTo>
                    <a:lnTo>
                      <a:pt x="789" y="54"/>
                    </a:lnTo>
                    <a:lnTo>
                      <a:pt x="798" y="49"/>
                    </a:lnTo>
                    <a:lnTo>
                      <a:pt x="857" y="28"/>
                    </a:lnTo>
                    <a:lnTo>
                      <a:pt x="857" y="16"/>
                    </a:lnTo>
                    <a:lnTo>
                      <a:pt x="881" y="33"/>
                    </a:lnTo>
                    <a:lnTo>
                      <a:pt x="919" y="28"/>
                    </a:lnTo>
                    <a:lnTo>
                      <a:pt x="928" y="0"/>
                    </a:lnTo>
                    <a:lnTo>
                      <a:pt x="933" y="0"/>
                    </a:lnTo>
                    <a:lnTo>
                      <a:pt x="966" y="11"/>
                    </a:lnTo>
                    <a:lnTo>
                      <a:pt x="983" y="11"/>
                    </a:lnTo>
                    <a:lnTo>
                      <a:pt x="1004" y="28"/>
                    </a:lnTo>
                    <a:lnTo>
                      <a:pt x="1020" y="16"/>
                    </a:lnTo>
                    <a:lnTo>
                      <a:pt x="1025" y="28"/>
                    </a:lnTo>
                    <a:lnTo>
                      <a:pt x="1042" y="11"/>
                    </a:lnTo>
                    <a:lnTo>
                      <a:pt x="1075" y="28"/>
                    </a:lnTo>
                    <a:lnTo>
                      <a:pt x="1091" y="44"/>
                    </a:lnTo>
                    <a:lnTo>
                      <a:pt x="1096" y="54"/>
                    </a:lnTo>
                    <a:lnTo>
                      <a:pt x="1134" y="82"/>
                    </a:lnTo>
                    <a:lnTo>
                      <a:pt x="1167" y="54"/>
                    </a:lnTo>
                    <a:lnTo>
                      <a:pt x="1198" y="70"/>
                    </a:lnTo>
                    <a:lnTo>
                      <a:pt x="1214" y="49"/>
                    </a:lnTo>
                    <a:lnTo>
                      <a:pt x="1219" y="49"/>
                    </a:lnTo>
                    <a:lnTo>
                      <a:pt x="1235" y="54"/>
                    </a:lnTo>
                    <a:lnTo>
                      <a:pt x="1235" y="70"/>
                    </a:lnTo>
                    <a:lnTo>
                      <a:pt x="1257" y="87"/>
                    </a:lnTo>
                    <a:lnTo>
                      <a:pt x="1268" y="103"/>
                    </a:lnTo>
                    <a:lnTo>
                      <a:pt x="1290" y="103"/>
                    </a:lnTo>
                    <a:lnTo>
                      <a:pt x="1290" y="127"/>
                    </a:lnTo>
                    <a:lnTo>
                      <a:pt x="1306" y="120"/>
                    </a:lnTo>
                    <a:lnTo>
                      <a:pt x="1311" y="139"/>
                    </a:lnTo>
                    <a:lnTo>
                      <a:pt x="1311" y="139"/>
                    </a:lnTo>
                    <a:lnTo>
                      <a:pt x="1311" y="144"/>
                    </a:lnTo>
                    <a:lnTo>
                      <a:pt x="1306" y="165"/>
                    </a:lnTo>
                    <a:lnTo>
                      <a:pt x="1311" y="181"/>
                    </a:lnTo>
                    <a:lnTo>
                      <a:pt x="1294" y="210"/>
                    </a:lnTo>
                    <a:lnTo>
                      <a:pt x="1311" y="214"/>
                    </a:lnTo>
                    <a:lnTo>
                      <a:pt x="1323" y="214"/>
                    </a:lnTo>
                    <a:lnTo>
                      <a:pt x="1344" y="231"/>
                    </a:lnTo>
                    <a:lnTo>
                      <a:pt x="1285" y="304"/>
                    </a:lnTo>
                    <a:lnTo>
                      <a:pt x="1268" y="304"/>
                    </a:lnTo>
                    <a:lnTo>
                      <a:pt x="1257" y="321"/>
                    </a:lnTo>
                    <a:lnTo>
                      <a:pt x="1242" y="325"/>
                    </a:lnTo>
                    <a:lnTo>
                      <a:pt x="1242" y="349"/>
                    </a:lnTo>
                    <a:lnTo>
                      <a:pt x="1231" y="382"/>
                    </a:lnTo>
                    <a:lnTo>
                      <a:pt x="1219" y="453"/>
                    </a:lnTo>
                    <a:lnTo>
                      <a:pt x="1219" y="486"/>
                    </a:lnTo>
                    <a:lnTo>
                      <a:pt x="1198" y="505"/>
                    </a:lnTo>
                    <a:lnTo>
                      <a:pt x="1188" y="526"/>
                    </a:lnTo>
                    <a:lnTo>
                      <a:pt x="1188" y="548"/>
                    </a:lnTo>
                    <a:lnTo>
                      <a:pt x="1167" y="559"/>
                    </a:lnTo>
                    <a:lnTo>
                      <a:pt x="1176" y="581"/>
                    </a:lnTo>
                    <a:lnTo>
                      <a:pt x="1181" y="588"/>
                    </a:lnTo>
                    <a:lnTo>
                      <a:pt x="1181" y="588"/>
                    </a:lnTo>
                    <a:lnTo>
                      <a:pt x="1198" y="604"/>
                    </a:lnTo>
                    <a:lnTo>
                      <a:pt x="1198" y="670"/>
                    </a:lnTo>
                    <a:lnTo>
                      <a:pt x="1205" y="682"/>
                    </a:lnTo>
                    <a:lnTo>
                      <a:pt x="1205" y="708"/>
                    </a:lnTo>
                    <a:lnTo>
                      <a:pt x="1205" y="748"/>
                    </a:lnTo>
                    <a:lnTo>
                      <a:pt x="1219" y="803"/>
                    </a:lnTo>
                    <a:lnTo>
                      <a:pt x="1214" y="819"/>
                    </a:lnTo>
                    <a:lnTo>
                      <a:pt x="1219" y="843"/>
                    </a:lnTo>
                    <a:lnTo>
                      <a:pt x="1231" y="864"/>
                    </a:lnTo>
                    <a:lnTo>
                      <a:pt x="1252" y="881"/>
                    </a:lnTo>
                    <a:lnTo>
                      <a:pt x="1273" y="904"/>
                    </a:lnTo>
                    <a:lnTo>
                      <a:pt x="1306" y="975"/>
                    </a:lnTo>
                    <a:lnTo>
                      <a:pt x="1176" y="1003"/>
                    </a:lnTo>
                    <a:lnTo>
                      <a:pt x="1176" y="1015"/>
                    </a:lnTo>
                    <a:lnTo>
                      <a:pt x="1167" y="1025"/>
                    </a:lnTo>
                    <a:lnTo>
                      <a:pt x="1134" y="1058"/>
                    </a:lnTo>
                    <a:lnTo>
                      <a:pt x="1143" y="1065"/>
                    </a:lnTo>
                    <a:lnTo>
                      <a:pt x="1160" y="1098"/>
                    </a:lnTo>
                    <a:lnTo>
                      <a:pt x="1150" y="1126"/>
                    </a:lnTo>
                    <a:lnTo>
                      <a:pt x="1160" y="1159"/>
                    </a:lnTo>
                    <a:lnTo>
                      <a:pt x="1150" y="1176"/>
                    </a:lnTo>
                    <a:lnTo>
                      <a:pt x="1134" y="1225"/>
                    </a:lnTo>
                    <a:lnTo>
                      <a:pt x="1143" y="1247"/>
                    </a:lnTo>
                    <a:lnTo>
                      <a:pt x="1167" y="1263"/>
                    </a:lnTo>
                    <a:lnTo>
                      <a:pt x="1181" y="1287"/>
                    </a:lnTo>
                    <a:lnTo>
                      <a:pt x="1198" y="1287"/>
                    </a:lnTo>
                    <a:lnTo>
                      <a:pt x="1214" y="1287"/>
                    </a:lnTo>
                    <a:lnTo>
                      <a:pt x="1214" y="1270"/>
                    </a:lnTo>
                    <a:lnTo>
                      <a:pt x="1235" y="1270"/>
                    </a:lnTo>
                    <a:lnTo>
                      <a:pt x="1235" y="1365"/>
                    </a:lnTo>
                    <a:lnTo>
                      <a:pt x="1219" y="1358"/>
                    </a:lnTo>
                    <a:lnTo>
                      <a:pt x="1231" y="1346"/>
                    </a:lnTo>
                    <a:lnTo>
                      <a:pt x="1219" y="1346"/>
                    </a:lnTo>
                    <a:lnTo>
                      <a:pt x="1188" y="1358"/>
                    </a:lnTo>
                    <a:lnTo>
                      <a:pt x="1181" y="1358"/>
                    </a:lnTo>
                    <a:lnTo>
                      <a:pt x="1160" y="1325"/>
                    </a:lnTo>
                    <a:lnTo>
                      <a:pt x="1150" y="1320"/>
                    </a:lnTo>
                    <a:lnTo>
                      <a:pt x="1143" y="1292"/>
                    </a:lnTo>
                    <a:lnTo>
                      <a:pt x="1096" y="1280"/>
                    </a:lnTo>
                    <a:lnTo>
                      <a:pt x="1079" y="1280"/>
                    </a:lnTo>
                    <a:lnTo>
                      <a:pt x="1075" y="1254"/>
                    </a:lnTo>
                    <a:lnTo>
                      <a:pt x="1058" y="1237"/>
                    </a:lnTo>
                    <a:lnTo>
                      <a:pt x="1053" y="1225"/>
                    </a:lnTo>
                    <a:lnTo>
                      <a:pt x="1042" y="1230"/>
                    </a:lnTo>
                    <a:lnTo>
                      <a:pt x="1037" y="1247"/>
                    </a:lnTo>
                    <a:lnTo>
                      <a:pt x="1025" y="1254"/>
                    </a:lnTo>
                    <a:lnTo>
                      <a:pt x="966" y="1247"/>
                    </a:lnTo>
                    <a:lnTo>
                      <a:pt x="928" y="1230"/>
                    </a:lnTo>
                    <a:lnTo>
                      <a:pt x="919" y="1209"/>
                    </a:lnTo>
                    <a:lnTo>
                      <a:pt x="919" y="1197"/>
                    </a:lnTo>
                    <a:lnTo>
                      <a:pt x="881" y="1209"/>
                    </a:lnTo>
                    <a:lnTo>
                      <a:pt x="857" y="1214"/>
                    </a:lnTo>
                    <a:lnTo>
                      <a:pt x="853" y="1209"/>
                    </a:lnTo>
                    <a:lnTo>
                      <a:pt x="857" y="1192"/>
                    </a:lnTo>
                    <a:lnTo>
                      <a:pt x="827" y="1176"/>
                    </a:lnTo>
                    <a:lnTo>
                      <a:pt x="820" y="1181"/>
                    </a:lnTo>
                    <a:lnTo>
                      <a:pt x="789" y="1181"/>
                    </a:lnTo>
                    <a:lnTo>
                      <a:pt x="768" y="1192"/>
                    </a:lnTo>
                    <a:lnTo>
                      <a:pt x="730" y="1181"/>
                    </a:lnTo>
                    <a:lnTo>
                      <a:pt x="702" y="1197"/>
                    </a:lnTo>
                    <a:lnTo>
                      <a:pt x="702" y="1176"/>
                    </a:lnTo>
                    <a:lnTo>
                      <a:pt x="713" y="1169"/>
                    </a:lnTo>
                    <a:lnTo>
                      <a:pt x="713" y="1136"/>
                    </a:lnTo>
                    <a:lnTo>
                      <a:pt x="697" y="1103"/>
                    </a:lnTo>
                    <a:lnTo>
                      <a:pt x="680" y="1086"/>
                    </a:lnTo>
                    <a:lnTo>
                      <a:pt x="676" y="1065"/>
                    </a:lnTo>
                    <a:lnTo>
                      <a:pt x="680" y="1003"/>
                    </a:lnTo>
                    <a:lnTo>
                      <a:pt x="676" y="959"/>
                    </a:lnTo>
                    <a:lnTo>
                      <a:pt x="680" y="930"/>
                    </a:lnTo>
                    <a:lnTo>
                      <a:pt x="676" y="914"/>
                    </a:lnTo>
                    <a:lnTo>
                      <a:pt x="588" y="914"/>
                    </a:lnTo>
                    <a:lnTo>
                      <a:pt x="595" y="892"/>
                    </a:lnTo>
                    <a:lnTo>
                      <a:pt x="572" y="892"/>
                    </a:lnTo>
                    <a:lnTo>
                      <a:pt x="572" y="892"/>
                    </a:lnTo>
                    <a:lnTo>
                      <a:pt x="520" y="892"/>
                    </a:lnTo>
                    <a:lnTo>
                      <a:pt x="520" y="930"/>
                    </a:lnTo>
                    <a:lnTo>
                      <a:pt x="503" y="937"/>
                    </a:lnTo>
                    <a:lnTo>
                      <a:pt x="503" y="959"/>
                    </a:lnTo>
                    <a:lnTo>
                      <a:pt x="444" y="959"/>
                    </a:lnTo>
                    <a:lnTo>
                      <a:pt x="444" y="959"/>
                    </a:lnTo>
                    <a:lnTo>
                      <a:pt x="416" y="970"/>
                    </a:lnTo>
                    <a:lnTo>
                      <a:pt x="416" y="970"/>
                    </a:lnTo>
                    <a:lnTo>
                      <a:pt x="406" y="970"/>
                    </a:lnTo>
                    <a:lnTo>
                      <a:pt x="378" y="970"/>
                    </a:lnTo>
                    <a:lnTo>
                      <a:pt x="335" y="904"/>
                    </a:lnTo>
                    <a:lnTo>
                      <a:pt x="335" y="892"/>
                    </a:lnTo>
                    <a:lnTo>
                      <a:pt x="319" y="848"/>
                    </a:lnTo>
                    <a:lnTo>
                      <a:pt x="319" y="836"/>
                    </a:lnTo>
                    <a:lnTo>
                      <a:pt x="307" y="819"/>
                    </a:lnTo>
                    <a:lnTo>
                      <a:pt x="272" y="810"/>
                    </a:lnTo>
                    <a:lnTo>
                      <a:pt x="272" y="810"/>
                    </a:lnTo>
                    <a:lnTo>
                      <a:pt x="272" y="810"/>
                    </a:lnTo>
                    <a:close/>
                    <a:moveTo>
                      <a:pt x="38" y="819"/>
                    </a:moveTo>
                    <a:lnTo>
                      <a:pt x="50" y="810"/>
                    </a:lnTo>
                    <a:lnTo>
                      <a:pt x="54" y="810"/>
                    </a:lnTo>
                    <a:lnTo>
                      <a:pt x="38" y="819"/>
                    </a:lnTo>
                    <a:lnTo>
                      <a:pt x="38" y="819"/>
                    </a:lnTo>
                    <a:lnTo>
                      <a:pt x="38" y="81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1" name="Freeform 416">
                <a:extLst>
                  <a:ext uri="{FF2B5EF4-FFF2-40B4-BE49-F238E27FC236}">
                    <a16:creationId xmlns:a16="http://schemas.microsoft.com/office/drawing/2014/main" id="{1BDD4188-8064-4009-B1AC-C496914F0F01}"/>
                  </a:ext>
                </a:extLst>
              </p:cNvPr>
              <p:cNvSpPr>
                <a:spLocks/>
              </p:cNvSpPr>
              <p:nvPr/>
            </p:nvSpPr>
            <p:spPr bwMode="gray">
              <a:xfrm>
                <a:off x="6971179" y="3675578"/>
                <a:ext cx="221890" cy="342548"/>
              </a:xfrm>
              <a:custGeom>
                <a:avLst/>
                <a:gdLst>
                  <a:gd name="T0" fmla="*/ 21 w 539"/>
                  <a:gd name="T1" fmla="*/ 572 h 832"/>
                  <a:gd name="T2" fmla="*/ 26 w 539"/>
                  <a:gd name="T3" fmla="*/ 522 h 832"/>
                  <a:gd name="T4" fmla="*/ 80 w 539"/>
                  <a:gd name="T5" fmla="*/ 477 h 832"/>
                  <a:gd name="T6" fmla="*/ 97 w 539"/>
                  <a:gd name="T7" fmla="*/ 461 h 832"/>
                  <a:gd name="T8" fmla="*/ 123 w 539"/>
                  <a:gd name="T9" fmla="*/ 449 h 832"/>
                  <a:gd name="T10" fmla="*/ 144 w 539"/>
                  <a:gd name="T11" fmla="*/ 437 h 832"/>
                  <a:gd name="T12" fmla="*/ 182 w 539"/>
                  <a:gd name="T13" fmla="*/ 482 h 832"/>
                  <a:gd name="T14" fmla="*/ 215 w 539"/>
                  <a:gd name="T15" fmla="*/ 465 h 832"/>
                  <a:gd name="T16" fmla="*/ 236 w 539"/>
                  <a:gd name="T17" fmla="*/ 437 h 832"/>
                  <a:gd name="T18" fmla="*/ 232 w 539"/>
                  <a:gd name="T19" fmla="*/ 421 h 832"/>
                  <a:gd name="T20" fmla="*/ 243 w 539"/>
                  <a:gd name="T21" fmla="*/ 387 h 832"/>
                  <a:gd name="T22" fmla="*/ 258 w 539"/>
                  <a:gd name="T23" fmla="*/ 338 h 832"/>
                  <a:gd name="T24" fmla="*/ 274 w 539"/>
                  <a:gd name="T25" fmla="*/ 326 h 832"/>
                  <a:gd name="T26" fmla="*/ 295 w 539"/>
                  <a:gd name="T27" fmla="*/ 317 h 832"/>
                  <a:gd name="T28" fmla="*/ 328 w 539"/>
                  <a:gd name="T29" fmla="*/ 255 h 832"/>
                  <a:gd name="T30" fmla="*/ 345 w 539"/>
                  <a:gd name="T31" fmla="*/ 215 h 832"/>
                  <a:gd name="T32" fmla="*/ 366 w 539"/>
                  <a:gd name="T33" fmla="*/ 149 h 832"/>
                  <a:gd name="T34" fmla="*/ 399 w 539"/>
                  <a:gd name="T35" fmla="*/ 132 h 832"/>
                  <a:gd name="T36" fmla="*/ 432 w 539"/>
                  <a:gd name="T37" fmla="*/ 95 h 832"/>
                  <a:gd name="T38" fmla="*/ 421 w 539"/>
                  <a:gd name="T39" fmla="*/ 54 h 832"/>
                  <a:gd name="T40" fmla="*/ 395 w 539"/>
                  <a:gd name="T41" fmla="*/ 0 h 832"/>
                  <a:gd name="T42" fmla="*/ 421 w 539"/>
                  <a:gd name="T43" fmla="*/ 21 h 832"/>
                  <a:gd name="T44" fmla="*/ 449 w 539"/>
                  <a:gd name="T45" fmla="*/ 71 h 832"/>
                  <a:gd name="T46" fmla="*/ 458 w 539"/>
                  <a:gd name="T47" fmla="*/ 116 h 832"/>
                  <a:gd name="T48" fmla="*/ 458 w 539"/>
                  <a:gd name="T49" fmla="*/ 165 h 832"/>
                  <a:gd name="T50" fmla="*/ 508 w 539"/>
                  <a:gd name="T51" fmla="*/ 227 h 832"/>
                  <a:gd name="T52" fmla="*/ 399 w 539"/>
                  <a:gd name="T53" fmla="*/ 227 h 832"/>
                  <a:gd name="T54" fmla="*/ 404 w 539"/>
                  <a:gd name="T55" fmla="*/ 281 h 832"/>
                  <a:gd name="T56" fmla="*/ 491 w 539"/>
                  <a:gd name="T57" fmla="*/ 383 h 832"/>
                  <a:gd name="T58" fmla="*/ 491 w 539"/>
                  <a:gd name="T59" fmla="*/ 404 h 832"/>
                  <a:gd name="T60" fmla="*/ 449 w 539"/>
                  <a:gd name="T61" fmla="*/ 494 h 832"/>
                  <a:gd name="T62" fmla="*/ 421 w 539"/>
                  <a:gd name="T63" fmla="*/ 522 h 832"/>
                  <a:gd name="T64" fmla="*/ 432 w 539"/>
                  <a:gd name="T65" fmla="*/ 548 h 832"/>
                  <a:gd name="T66" fmla="*/ 432 w 539"/>
                  <a:gd name="T67" fmla="*/ 572 h 832"/>
                  <a:gd name="T68" fmla="*/ 458 w 539"/>
                  <a:gd name="T69" fmla="*/ 631 h 832"/>
                  <a:gd name="T70" fmla="*/ 458 w 539"/>
                  <a:gd name="T71" fmla="*/ 659 h 832"/>
                  <a:gd name="T72" fmla="*/ 529 w 539"/>
                  <a:gd name="T73" fmla="*/ 737 h 832"/>
                  <a:gd name="T74" fmla="*/ 539 w 539"/>
                  <a:gd name="T75" fmla="*/ 782 h 832"/>
                  <a:gd name="T76" fmla="*/ 539 w 539"/>
                  <a:gd name="T77" fmla="*/ 827 h 832"/>
                  <a:gd name="T78" fmla="*/ 508 w 539"/>
                  <a:gd name="T79" fmla="*/ 810 h 832"/>
                  <a:gd name="T80" fmla="*/ 421 w 539"/>
                  <a:gd name="T81" fmla="*/ 794 h 832"/>
                  <a:gd name="T82" fmla="*/ 328 w 539"/>
                  <a:gd name="T83" fmla="*/ 782 h 832"/>
                  <a:gd name="T84" fmla="*/ 269 w 539"/>
                  <a:gd name="T85" fmla="*/ 782 h 832"/>
                  <a:gd name="T86" fmla="*/ 199 w 539"/>
                  <a:gd name="T87" fmla="*/ 794 h 832"/>
                  <a:gd name="T88" fmla="*/ 90 w 539"/>
                  <a:gd name="T89" fmla="*/ 777 h 832"/>
                  <a:gd name="T90" fmla="*/ 97 w 539"/>
                  <a:gd name="T91" fmla="*/ 716 h 832"/>
                  <a:gd name="T92" fmla="*/ 90 w 539"/>
                  <a:gd name="T93" fmla="*/ 687 h 832"/>
                  <a:gd name="T94" fmla="*/ 76 w 539"/>
                  <a:gd name="T95" fmla="*/ 671 h 832"/>
                  <a:gd name="T96" fmla="*/ 69 w 539"/>
                  <a:gd name="T97" fmla="*/ 650 h 832"/>
                  <a:gd name="T98" fmla="*/ 69 w 539"/>
                  <a:gd name="T99" fmla="*/ 666 h 832"/>
                  <a:gd name="T100" fmla="*/ 26 w 539"/>
                  <a:gd name="T101" fmla="*/ 614 h 832"/>
                  <a:gd name="T102" fmla="*/ 26 w 539"/>
                  <a:gd name="T103" fmla="*/ 614 h 832"/>
                  <a:gd name="T104" fmla="*/ 14 w 539"/>
                  <a:gd name="T105" fmla="*/ 626 h 832"/>
                  <a:gd name="T106" fmla="*/ 5 w 539"/>
                  <a:gd name="T107" fmla="*/ 605 h 832"/>
                  <a:gd name="T108" fmla="*/ 5 w 539"/>
                  <a:gd name="T109" fmla="*/ 605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9" h="832">
                    <a:moveTo>
                      <a:pt x="5" y="605"/>
                    </a:moveTo>
                    <a:lnTo>
                      <a:pt x="21" y="572"/>
                    </a:lnTo>
                    <a:lnTo>
                      <a:pt x="26" y="548"/>
                    </a:lnTo>
                    <a:lnTo>
                      <a:pt x="26" y="522"/>
                    </a:lnTo>
                    <a:lnTo>
                      <a:pt x="59" y="494"/>
                    </a:lnTo>
                    <a:lnTo>
                      <a:pt x="80" y="477"/>
                    </a:lnTo>
                    <a:lnTo>
                      <a:pt x="90" y="461"/>
                    </a:lnTo>
                    <a:lnTo>
                      <a:pt x="97" y="461"/>
                    </a:lnTo>
                    <a:lnTo>
                      <a:pt x="113" y="444"/>
                    </a:lnTo>
                    <a:lnTo>
                      <a:pt x="123" y="449"/>
                    </a:lnTo>
                    <a:lnTo>
                      <a:pt x="144" y="449"/>
                    </a:lnTo>
                    <a:lnTo>
                      <a:pt x="144" y="437"/>
                    </a:lnTo>
                    <a:lnTo>
                      <a:pt x="182" y="461"/>
                    </a:lnTo>
                    <a:lnTo>
                      <a:pt x="182" y="482"/>
                    </a:lnTo>
                    <a:lnTo>
                      <a:pt x="199" y="482"/>
                    </a:lnTo>
                    <a:lnTo>
                      <a:pt x="215" y="465"/>
                    </a:lnTo>
                    <a:lnTo>
                      <a:pt x="215" y="449"/>
                    </a:lnTo>
                    <a:lnTo>
                      <a:pt x="236" y="437"/>
                    </a:lnTo>
                    <a:lnTo>
                      <a:pt x="232" y="421"/>
                    </a:lnTo>
                    <a:lnTo>
                      <a:pt x="232" y="421"/>
                    </a:lnTo>
                    <a:lnTo>
                      <a:pt x="243" y="404"/>
                    </a:lnTo>
                    <a:lnTo>
                      <a:pt x="243" y="387"/>
                    </a:lnTo>
                    <a:lnTo>
                      <a:pt x="258" y="371"/>
                    </a:lnTo>
                    <a:lnTo>
                      <a:pt x="258" y="338"/>
                    </a:lnTo>
                    <a:lnTo>
                      <a:pt x="274" y="333"/>
                    </a:lnTo>
                    <a:lnTo>
                      <a:pt x="274" y="326"/>
                    </a:lnTo>
                    <a:lnTo>
                      <a:pt x="291" y="326"/>
                    </a:lnTo>
                    <a:lnTo>
                      <a:pt x="295" y="317"/>
                    </a:lnTo>
                    <a:lnTo>
                      <a:pt x="307" y="272"/>
                    </a:lnTo>
                    <a:lnTo>
                      <a:pt x="328" y="255"/>
                    </a:lnTo>
                    <a:lnTo>
                      <a:pt x="340" y="222"/>
                    </a:lnTo>
                    <a:lnTo>
                      <a:pt x="345" y="215"/>
                    </a:lnTo>
                    <a:lnTo>
                      <a:pt x="350" y="182"/>
                    </a:lnTo>
                    <a:lnTo>
                      <a:pt x="366" y="149"/>
                    </a:lnTo>
                    <a:lnTo>
                      <a:pt x="383" y="132"/>
                    </a:lnTo>
                    <a:lnTo>
                      <a:pt x="399" y="132"/>
                    </a:lnTo>
                    <a:lnTo>
                      <a:pt x="432" y="111"/>
                    </a:lnTo>
                    <a:lnTo>
                      <a:pt x="432" y="95"/>
                    </a:lnTo>
                    <a:lnTo>
                      <a:pt x="432" y="59"/>
                    </a:lnTo>
                    <a:lnTo>
                      <a:pt x="421" y="54"/>
                    </a:lnTo>
                    <a:lnTo>
                      <a:pt x="399" y="50"/>
                    </a:lnTo>
                    <a:lnTo>
                      <a:pt x="395" y="0"/>
                    </a:lnTo>
                    <a:lnTo>
                      <a:pt x="416" y="0"/>
                    </a:lnTo>
                    <a:lnTo>
                      <a:pt x="421" y="21"/>
                    </a:lnTo>
                    <a:lnTo>
                      <a:pt x="449" y="33"/>
                    </a:lnTo>
                    <a:lnTo>
                      <a:pt x="449" y="71"/>
                    </a:lnTo>
                    <a:lnTo>
                      <a:pt x="458" y="71"/>
                    </a:lnTo>
                    <a:lnTo>
                      <a:pt x="458" y="116"/>
                    </a:lnTo>
                    <a:lnTo>
                      <a:pt x="458" y="132"/>
                    </a:lnTo>
                    <a:lnTo>
                      <a:pt x="458" y="165"/>
                    </a:lnTo>
                    <a:lnTo>
                      <a:pt x="487" y="206"/>
                    </a:lnTo>
                    <a:lnTo>
                      <a:pt x="508" y="227"/>
                    </a:lnTo>
                    <a:lnTo>
                      <a:pt x="437" y="227"/>
                    </a:lnTo>
                    <a:lnTo>
                      <a:pt x="399" y="227"/>
                    </a:lnTo>
                    <a:lnTo>
                      <a:pt x="383" y="255"/>
                    </a:lnTo>
                    <a:lnTo>
                      <a:pt x="404" y="281"/>
                    </a:lnTo>
                    <a:lnTo>
                      <a:pt x="470" y="333"/>
                    </a:lnTo>
                    <a:lnTo>
                      <a:pt x="491" y="383"/>
                    </a:lnTo>
                    <a:lnTo>
                      <a:pt x="501" y="387"/>
                    </a:lnTo>
                    <a:lnTo>
                      <a:pt x="491" y="404"/>
                    </a:lnTo>
                    <a:lnTo>
                      <a:pt x="470" y="428"/>
                    </a:lnTo>
                    <a:lnTo>
                      <a:pt x="449" y="494"/>
                    </a:lnTo>
                    <a:lnTo>
                      <a:pt x="416" y="515"/>
                    </a:lnTo>
                    <a:lnTo>
                      <a:pt x="421" y="522"/>
                    </a:lnTo>
                    <a:lnTo>
                      <a:pt x="432" y="522"/>
                    </a:lnTo>
                    <a:lnTo>
                      <a:pt x="432" y="548"/>
                    </a:lnTo>
                    <a:lnTo>
                      <a:pt x="421" y="560"/>
                    </a:lnTo>
                    <a:lnTo>
                      <a:pt x="432" y="572"/>
                    </a:lnTo>
                    <a:lnTo>
                      <a:pt x="437" y="614"/>
                    </a:lnTo>
                    <a:lnTo>
                      <a:pt x="458" y="631"/>
                    </a:lnTo>
                    <a:lnTo>
                      <a:pt x="470" y="659"/>
                    </a:lnTo>
                    <a:lnTo>
                      <a:pt x="458" y="659"/>
                    </a:lnTo>
                    <a:lnTo>
                      <a:pt x="475" y="683"/>
                    </a:lnTo>
                    <a:lnTo>
                      <a:pt x="529" y="737"/>
                    </a:lnTo>
                    <a:lnTo>
                      <a:pt x="529" y="770"/>
                    </a:lnTo>
                    <a:lnTo>
                      <a:pt x="539" y="782"/>
                    </a:lnTo>
                    <a:lnTo>
                      <a:pt x="529" y="794"/>
                    </a:lnTo>
                    <a:lnTo>
                      <a:pt x="539" y="827"/>
                    </a:lnTo>
                    <a:lnTo>
                      <a:pt x="529" y="832"/>
                    </a:lnTo>
                    <a:lnTo>
                      <a:pt x="508" y="810"/>
                    </a:lnTo>
                    <a:lnTo>
                      <a:pt x="449" y="798"/>
                    </a:lnTo>
                    <a:lnTo>
                      <a:pt x="421" y="794"/>
                    </a:lnTo>
                    <a:lnTo>
                      <a:pt x="340" y="794"/>
                    </a:lnTo>
                    <a:lnTo>
                      <a:pt x="328" y="782"/>
                    </a:lnTo>
                    <a:lnTo>
                      <a:pt x="295" y="782"/>
                    </a:lnTo>
                    <a:lnTo>
                      <a:pt x="269" y="782"/>
                    </a:lnTo>
                    <a:lnTo>
                      <a:pt x="199" y="782"/>
                    </a:lnTo>
                    <a:lnTo>
                      <a:pt x="199" y="794"/>
                    </a:lnTo>
                    <a:lnTo>
                      <a:pt x="106" y="794"/>
                    </a:lnTo>
                    <a:lnTo>
                      <a:pt x="90" y="777"/>
                    </a:lnTo>
                    <a:lnTo>
                      <a:pt x="106" y="725"/>
                    </a:lnTo>
                    <a:lnTo>
                      <a:pt x="97" y="716"/>
                    </a:lnTo>
                    <a:lnTo>
                      <a:pt x="80" y="687"/>
                    </a:lnTo>
                    <a:lnTo>
                      <a:pt x="90" y="687"/>
                    </a:lnTo>
                    <a:lnTo>
                      <a:pt x="80" y="687"/>
                    </a:lnTo>
                    <a:lnTo>
                      <a:pt x="76" y="671"/>
                    </a:lnTo>
                    <a:lnTo>
                      <a:pt x="80" y="666"/>
                    </a:lnTo>
                    <a:lnTo>
                      <a:pt x="69" y="650"/>
                    </a:lnTo>
                    <a:lnTo>
                      <a:pt x="76" y="659"/>
                    </a:lnTo>
                    <a:lnTo>
                      <a:pt x="69" y="666"/>
                    </a:lnTo>
                    <a:lnTo>
                      <a:pt x="38" y="650"/>
                    </a:lnTo>
                    <a:lnTo>
                      <a:pt x="26" y="614"/>
                    </a:lnTo>
                    <a:lnTo>
                      <a:pt x="21" y="609"/>
                    </a:lnTo>
                    <a:lnTo>
                      <a:pt x="26" y="614"/>
                    </a:lnTo>
                    <a:lnTo>
                      <a:pt x="14" y="609"/>
                    </a:lnTo>
                    <a:lnTo>
                      <a:pt x="14" y="626"/>
                    </a:lnTo>
                    <a:lnTo>
                      <a:pt x="0" y="614"/>
                    </a:lnTo>
                    <a:lnTo>
                      <a:pt x="5" y="605"/>
                    </a:lnTo>
                    <a:lnTo>
                      <a:pt x="5" y="605"/>
                    </a:lnTo>
                    <a:lnTo>
                      <a:pt x="5" y="60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2" name="Freeform 417">
                <a:extLst>
                  <a:ext uri="{FF2B5EF4-FFF2-40B4-BE49-F238E27FC236}">
                    <a16:creationId xmlns:a16="http://schemas.microsoft.com/office/drawing/2014/main" id="{F173EC95-7CBD-425B-8334-63B1D5C72A5A}"/>
                  </a:ext>
                </a:extLst>
              </p:cNvPr>
              <p:cNvSpPr>
                <a:spLocks noEditPoints="1"/>
              </p:cNvSpPr>
              <p:nvPr/>
            </p:nvSpPr>
            <p:spPr bwMode="gray">
              <a:xfrm>
                <a:off x="7974008" y="4405140"/>
                <a:ext cx="37873" cy="30056"/>
              </a:xfrm>
              <a:custGeom>
                <a:avLst/>
                <a:gdLst>
                  <a:gd name="T0" fmla="*/ 16 w 92"/>
                  <a:gd name="T1" fmla="*/ 40 h 73"/>
                  <a:gd name="T2" fmla="*/ 0 w 92"/>
                  <a:gd name="T3" fmla="*/ 21 h 73"/>
                  <a:gd name="T4" fmla="*/ 0 w 92"/>
                  <a:gd name="T5" fmla="*/ 0 h 73"/>
                  <a:gd name="T6" fmla="*/ 16 w 92"/>
                  <a:gd name="T7" fmla="*/ 0 h 73"/>
                  <a:gd name="T8" fmla="*/ 16 w 92"/>
                  <a:gd name="T9" fmla="*/ 40 h 73"/>
                  <a:gd name="T10" fmla="*/ 16 w 92"/>
                  <a:gd name="T11" fmla="*/ 40 h 73"/>
                  <a:gd name="T12" fmla="*/ 16 w 92"/>
                  <a:gd name="T13" fmla="*/ 40 h 73"/>
                  <a:gd name="T14" fmla="*/ 92 w 92"/>
                  <a:gd name="T15" fmla="*/ 73 h 73"/>
                  <a:gd name="T16" fmla="*/ 70 w 92"/>
                  <a:gd name="T17" fmla="*/ 56 h 73"/>
                  <a:gd name="T18" fmla="*/ 80 w 92"/>
                  <a:gd name="T19" fmla="*/ 56 h 73"/>
                  <a:gd name="T20" fmla="*/ 85 w 92"/>
                  <a:gd name="T21" fmla="*/ 49 h 73"/>
                  <a:gd name="T22" fmla="*/ 92 w 92"/>
                  <a:gd name="T23" fmla="*/ 73 h 73"/>
                  <a:gd name="T24" fmla="*/ 92 w 92"/>
                  <a:gd name="T25" fmla="*/ 73 h 73"/>
                  <a:gd name="T26" fmla="*/ 92 w 92"/>
                  <a:gd name="T27" fmla="*/ 73 h 73"/>
                  <a:gd name="T28" fmla="*/ 49 w 92"/>
                  <a:gd name="T29" fmla="*/ 73 h 73"/>
                  <a:gd name="T30" fmla="*/ 33 w 92"/>
                  <a:gd name="T31" fmla="*/ 73 h 73"/>
                  <a:gd name="T32" fmla="*/ 33 w 92"/>
                  <a:gd name="T33" fmla="*/ 66 h 73"/>
                  <a:gd name="T34" fmla="*/ 49 w 92"/>
                  <a:gd name="T35" fmla="*/ 73 h 73"/>
                  <a:gd name="T36" fmla="*/ 49 w 92"/>
                  <a:gd name="T37" fmla="*/ 73 h 73"/>
                  <a:gd name="T38" fmla="*/ 49 w 92"/>
                  <a:gd name="T3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 h="73">
                    <a:moveTo>
                      <a:pt x="16" y="40"/>
                    </a:moveTo>
                    <a:lnTo>
                      <a:pt x="0" y="21"/>
                    </a:lnTo>
                    <a:lnTo>
                      <a:pt x="0" y="0"/>
                    </a:lnTo>
                    <a:lnTo>
                      <a:pt x="16" y="0"/>
                    </a:lnTo>
                    <a:lnTo>
                      <a:pt x="16" y="40"/>
                    </a:lnTo>
                    <a:lnTo>
                      <a:pt x="16" y="40"/>
                    </a:lnTo>
                    <a:lnTo>
                      <a:pt x="16" y="40"/>
                    </a:lnTo>
                    <a:close/>
                    <a:moveTo>
                      <a:pt x="92" y="73"/>
                    </a:moveTo>
                    <a:lnTo>
                      <a:pt x="70" y="56"/>
                    </a:lnTo>
                    <a:lnTo>
                      <a:pt x="80" y="56"/>
                    </a:lnTo>
                    <a:lnTo>
                      <a:pt x="85" y="49"/>
                    </a:lnTo>
                    <a:lnTo>
                      <a:pt x="92" y="73"/>
                    </a:lnTo>
                    <a:lnTo>
                      <a:pt x="92" y="73"/>
                    </a:lnTo>
                    <a:lnTo>
                      <a:pt x="92" y="73"/>
                    </a:lnTo>
                    <a:close/>
                    <a:moveTo>
                      <a:pt x="49" y="73"/>
                    </a:moveTo>
                    <a:lnTo>
                      <a:pt x="33" y="73"/>
                    </a:lnTo>
                    <a:lnTo>
                      <a:pt x="33" y="66"/>
                    </a:lnTo>
                    <a:lnTo>
                      <a:pt x="49" y="73"/>
                    </a:lnTo>
                    <a:lnTo>
                      <a:pt x="49" y="73"/>
                    </a:lnTo>
                    <a:lnTo>
                      <a:pt x="49" y="7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5" name="Freeform 421">
                <a:extLst>
                  <a:ext uri="{FF2B5EF4-FFF2-40B4-BE49-F238E27FC236}">
                    <a16:creationId xmlns:a16="http://schemas.microsoft.com/office/drawing/2014/main" id="{1A2E8E60-9E70-4D2F-864B-C8BB25BE9DF1}"/>
                  </a:ext>
                </a:extLst>
              </p:cNvPr>
              <p:cNvSpPr>
                <a:spLocks/>
              </p:cNvSpPr>
              <p:nvPr/>
            </p:nvSpPr>
            <p:spPr bwMode="gray">
              <a:xfrm>
                <a:off x="7142434" y="3736924"/>
                <a:ext cx="377090" cy="259793"/>
              </a:xfrm>
              <a:custGeom>
                <a:avLst/>
                <a:gdLst>
                  <a:gd name="T0" fmla="*/ 416 w 916"/>
                  <a:gd name="T1" fmla="*/ 453 h 631"/>
                  <a:gd name="T2" fmla="*/ 345 w 916"/>
                  <a:gd name="T3" fmla="*/ 427 h 631"/>
                  <a:gd name="T4" fmla="*/ 302 w 916"/>
                  <a:gd name="T5" fmla="*/ 482 h 631"/>
                  <a:gd name="T6" fmla="*/ 302 w 916"/>
                  <a:gd name="T7" fmla="*/ 510 h 631"/>
                  <a:gd name="T8" fmla="*/ 286 w 916"/>
                  <a:gd name="T9" fmla="*/ 531 h 631"/>
                  <a:gd name="T10" fmla="*/ 260 w 916"/>
                  <a:gd name="T11" fmla="*/ 536 h 631"/>
                  <a:gd name="T12" fmla="*/ 236 w 916"/>
                  <a:gd name="T13" fmla="*/ 536 h 631"/>
                  <a:gd name="T14" fmla="*/ 205 w 916"/>
                  <a:gd name="T15" fmla="*/ 536 h 631"/>
                  <a:gd name="T16" fmla="*/ 144 w 916"/>
                  <a:gd name="T17" fmla="*/ 572 h 631"/>
                  <a:gd name="T18" fmla="*/ 123 w 916"/>
                  <a:gd name="T19" fmla="*/ 631 h 631"/>
                  <a:gd name="T20" fmla="*/ 113 w 916"/>
                  <a:gd name="T21" fmla="*/ 588 h 631"/>
                  <a:gd name="T22" fmla="*/ 42 w 916"/>
                  <a:gd name="T23" fmla="*/ 510 h 631"/>
                  <a:gd name="T24" fmla="*/ 42 w 916"/>
                  <a:gd name="T25" fmla="*/ 482 h 631"/>
                  <a:gd name="T26" fmla="*/ 16 w 916"/>
                  <a:gd name="T27" fmla="*/ 420 h 631"/>
                  <a:gd name="T28" fmla="*/ 16 w 916"/>
                  <a:gd name="T29" fmla="*/ 399 h 631"/>
                  <a:gd name="T30" fmla="*/ 5 w 916"/>
                  <a:gd name="T31" fmla="*/ 371 h 631"/>
                  <a:gd name="T32" fmla="*/ 31 w 916"/>
                  <a:gd name="T33" fmla="*/ 342 h 631"/>
                  <a:gd name="T34" fmla="*/ 75 w 916"/>
                  <a:gd name="T35" fmla="*/ 255 h 631"/>
                  <a:gd name="T36" fmla="*/ 139 w 916"/>
                  <a:gd name="T37" fmla="*/ 243 h 631"/>
                  <a:gd name="T38" fmla="*/ 151 w 916"/>
                  <a:gd name="T39" fmla="*/ 238 h 631"/>
                  <a:gd name="T40" fmla="*/ 220 w 916"/>
                  <a:gd name="T41" fmla="*/ 222 h 631"/>
                  <a:gd name="T42" fmla="*/ 328 w 916"/>
                  <a:gd name="T43" fmla="*/ 177 h 631"/>
                  <a:gd name="T44" fmla="*/ 323 w 916"/>
                  <a:gd name="T45" fmla="*/ 149 h 631"/>
                  <a:gd name="T46" fmla="*/ 394 w 916"/>
                  <a:gd name="T47" fmla="*/ 132 h 631"/>
                  <a:gd name="T48" fmla="*/ 425 w 916"/>
                  <a:gd name="T49" fmla="*/ 127 h 631"/>
                  <a:gd name="T50" fmla="*/ 479 w 916"/>
                  <a:gd name="T51" fmla="*/ 78 h 631"/>
                  <a:gd name="T52" fmla="*/ 501 w 916"/>
                  <a:gd name="T53" fmla="*/ 66 h 631"/>
                  <a:gd name="T54" fmla="*/ 508 w 916"/>
                  <a:gd name="T55" fmla="*/ 33 h 631"/>
                  <a:gd name="T56" fmla="*/ 593 w 916"/>
                  <a:gd name="T57" fmla="*/ 12 h 631"/>
                  <a:gd name="T58" fmla="*/ 647 w 916"/>
                  <a:gd name="T59" fmla="*/ 90 h 631"/>
                  <a:gd name="T60" fmla="*/ 642 w 916"/>
                  <a:gd name="T61" fmla="*/ 132 h 631"/>
                  <a:gd name="T62" fmla="*/ 642 w 916"/>
                  <a:gd name="T63" fmla="*/ 149 h 631"/>
                  <a:gd name="T64" fmla="*/ 685 w 916"/>
                  <a:gd name="T65" fmla="*/ 168 h 631"/>
                  <a:gd name="T66" fmla="*/ 685 w 916"/>
                  <a:gd name="T67" fmla="*/ 184 h 631"/>
                  <a:gd name="T68" fmla="*/ 723 w 916"/>
                  <a:gd name="T69" fmla="*/ 205 h 631"/>
                  <a:gd name="T70" fmla="*/ 760 w 916"/>
                  <a:gd name="T71" fmla="*/ 234 h 631"/>
                  <a:gd name="T72" fmla="*/ 756 w 916"/>
                  <a:gd name="T73" fmla="*/ 255 h 631"/>
                  <a:gd name="T74" fmla="*/ 810 w 916"/>
                  <a:gd name="T75" fmla="*/ 293 h 631"/>
                  <a:gd name="T76" fmla="*/ 841 w 916"/>
                  <a:gd name="T77" fmla="*/ 316 h 631"/>
                  <a:gd name="T78" fmla="*/ 848 w 916"/>
                  <a:gd name="T79" fmla="*/ 349 h 631"/>
                  <a:gd name="T80" fmla="*/ 869 w 916"/>
                  <a:gd name="T81" fmla="*/ 366 h 631"/>
                  <a:gd name="T82" fmla="*/ 902 w 916"/>
                  <a:gd name="T83" fmla="*/ 399 h 631"/>
                  <a:gd name="T84" fmla="*/ 916 w 916"/>
                  <a:gd name="T85" fmla="*/ 437 h 631"/>
                  <a:gd name="T86" fmla="*/ 869 w 916"/>
                  <a:gd name="T87" fmla="*/ 437 h 631"/>
                  <a:gd name="T88" fmla="*/ 848 w 916"/>
                  <a:gd name="T89" fmla="*/ 437 h 631"/>
                  <a:gd name="T90" fmla="*/ 810 w 916"/>
                  <a:gd name="T91" fmla="*/ 420 h 631"/>
                  <a:gd name="T92" fmla="*/ 772 w 916"/>
                  <a:gd name="T93" fmla="*/ 411 h 631"/>
                  <a:gd name="T94" fmla="*/ 723 w 916"/>
                  <a:gd name="T95" fmla="*/ 444 h 631"/>
                  <a:gd name="T96" fmla="*/ 701 w 916"/>
                  <a:gd name="T97" fmla="*/ 437 h 631"/>
                  <a:gd name="T98" fmla="*/ 631 w 916"/>
                  <a:gd name="T99" fmla="*/ 465 h 631"/>
                  <a:gd name="T100" fmla="*/ 576 w 916"/>
                  <a:gd name="T101" fmla="*/ 477 h 631"/>
                  <a:gd name="T102" fmla="*/ 572 w 916"/>
                  <a:gd name="T103" fmla="*/ 494 h 631"/>
                  <a:gd name="T104" fmla="*/ 517 w 916"/>
                  <a:gd name="T105" fmla="*/ 494 h 631"/>
                  <a:gd name="T106" fmla="*/ 463 w 916"/>
                  <a:gd name="T107" fmla="*/ 477 h 631"/>
                  <a:gd name="T108" fmla="*/ 425 w 916"/>
                  <a:gd name="T109" fmla="*/ 465 h 631"/>
                  <a:gd name="T110" fmla="*/ 425 w 916"/>
                  <a:gd name="T111" fmla="*/ 465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16" h="631">
                    <a:moveTo>
                      <a:pt x="425" y="465"/>
                    </a:moveTo>
                    <a:lnTo>
                      <a:pt x="416" y="453"/>
                    </a:lnTo>
                    <a:lnTo>
                      <a:pt x="378" y="427"/>
                    </a:lnTo>
                    <a:lnTo>
                      <a:pt x="345" y="427"/>
                    </a:lnTo>
                    <a:lnTo>
                      <a:pt x="323" y="444"/>
                    </a:lnTo>
                    <a:lnTo>
                      <a:pt x="302" y="482"/>
                    </a:lnTo>
                    <a:lnTo>
                      <a:pt x="290" y="482"/>
                    </a:lnTo>
                    <a:lnTo>
                      <a:pt x="302" y="510"/>
                    </a:lnTo>
                    <a:lnTo>
                      <a:pt x="290" y="548"/>
                    </a:lnTo>
                    <a:lnTo>
                      <a:pt x="286" y="531"/>
                    </a:lnTo>
                    <a:lnTo>
                      <a:pt x="260" y="548"/>
                    </a:lnTo>
                    <a:lnTo>
                      <a:pt x="260" y="536"/>
                    </a:lnTo>
                    <a:lnTo>
                      <a:pt x="236" y="536"/>
                    </a:lnTo>
                    <a:lnTo>
                      <a:pt x="236" y="536"/>
                    </a:lnTo>
                    <a:lnTo>
                      <a:pt x="215" y="531"/>
                    </a:lnTo>
                    <a:lnTo>
                      <a:pt x="205" y="536"/>
                    </a:lnTo>
                    <a:lnTo>
                      <a:pt x="151" y="536"/>
                    </a:lnTo>
                    <a:lnTo>
                      <a:pt x="144" y="572"/>
                    </a:lnTo>
                    <a:lnTo>
                      <a:pt x="144" y="593"/>
                    </a:lnTo>
                    <a:lnTo>
                      <a:pt x="123" y="631"/>
                    </a:lnTo>
                    <a:lnTo>
                      <a:pt x="113" y="621"/>
                    </a:lnTo>
                    <a:lnTo>
                      <a:pt x="113" y="588"/>
                    </a:lnTo>
                    <a:lnTo>
                      <a:pt x="59" y="531"/>
                    </a:lnTo>
                    <a:lnTo>
                      <a:pt x="42" y="510"/>
                    </a:lnTo>
                    <a:lnTo>
                      <a:pt x="54" y="510"/>
                    </a:lnTo>
                    <a:lnTo>
                      <a:pt x="42" y="482"/>
                    </a:lnTo>
                    <a:lnTo>
                      <a:pt x="21" y="465"/>
                    </a:lnTo>
                    <a:lnTo>
                      <a:pt x="16" y="420"/>
                    </a:lnTo>
                    <a:lnTo>
                      <a:pt x="5" y="411"/>
                    </a:lnTo>
                    <a:lnTo>
                      <a:pt x="16" y="399"/>
                    </a:lnTo>
                    <a:lnTo>
                      <a:pt x="16" y="371"/>
                    </a:lnTo>
                    <a:lnTo>
                      <a:pt x="5" y="371"/>
                    </a:lnTo>
                    <a:lnTo>
                      <a:pt x="0" y="366"/>
                    </a:lnTo>
                    <a:lnTo>
                      <a:pt x="31" y="342"/>
                    </a:lnTo>
                    <a:lnTo>
                      <a:pt x="54" y="276"/>
                    </a:lnTo>
                    <a:lnTo>
                      <a:pt x="75" y="255"/>
                    </a:lnTo>
                    <a:lnTo>
                      <a:pt x="106" y="255"/>
                    </a:lnTo>
                    <a:lnTo>
                      <a:pt x="139" y="243"/>
                    </a:lnTo>
                    <a:lnTo>
                      <a:pt x="151" y="234"/>
                    </a:lnTo>
                    <a:lnTo>
                      <a:pt x="151" y="238"/>
                    </a:lnTo>
                    <a:lnTo>
                      <a:pt x="168" y="255"/>
                    </a:lnTo>
                    <a:lnTo>
                      <a:pt x="220" y="222"/>
                    </a:lnTo>
                    <a:lnTo>
                      <a:pt x="290" y="217"/>
                    </a:lnTo>
                    <a:lnTo>
                      <a:pt x="328" y="177"/>
                    </a:lnTo>
                    <a:lnTo>
                      <a:pt x="312" y="160"/>
                    </a:lnTo>
                    <a:lnTo>
                      <a:pt x="323" y="149"/>
                    </a:lnTo>
                    <a:lnTo>
                      <a:pt x="383" y="144"/>
                    </a:lnTo>
                    <a:lnTo>
                      <a:pt x="394" y="132"/>
                    </a:lnTo>
                    <a:lnTo>
                      <a:pt x="416" y="144"/>
                    </a:lnTo>
                    <a:lnTo>
                      <a:pt x="425" y="127"/>
                    </a:lnTo>
                    <a:lnTo>
                      <a:pt x="449" y="123"/>
                    </a:lnTo>
                    <a:lnTo>
                      <a:pt x="479" y="78"/>
                    </a:lnTo>
                    <a:lnTo>
                      <a:pt x="486" y="78"/>
                    </a:lnTo>
                    <a:lnTo>
                      <a:pt x="501" y="66"/>
                    </a:lnTo>
                    <a:lnTo>
                      <a:pt x="508" y="57"/>
                    </a:lnTo>
                    <a:lnTo>
                      <a:pt x="508" y="33"/>
                    </a:lnTo>
                    <a:lnTo>
                      <a:pt x="562" y="0"/>
                    </a:lnTo>
                    <a:lnTo>
                      <a:pt x="593" y="12"/>
                    </a:lnTo>
                    <a:lnTo>
                      <a:pt x="626" y="40"/>
                    </a:lnTo>
                    <a:lnTo>
                      <a:pt x="647" y="90"/>
                    </a:lnTo>
                    <a:lnTo>
                      <a:pt x="647" y="127"/>
                    </a:lnTo>
                    <a:lnTo>
                      <a:pt x="642" y="132"/>
                    </a:lnTo>
                    <a:lnTo>
                      <a:pt x="631" y="144"/>
                    </a:lnTo>
                    <a:lnTo>
                      <a:pt x="642" y="149"/>
                    </a:lnTo>
                    <a:lnTo>
                      <a:pt x="642" y="168"/>
                    </a:lnTo>
                    <a:lnTo>
                      <a:pt x="685" y="168"/>
                    </a:lnTo>
                    <a:lnTo>
                      <a:pt x="697" y="177"/>
                    </a:lnTo>
                    <a:lnTo>
                      <a:pt x="685" y="184"/>
                    </a:lnTo>
                    <a:lnTo>
                      <a:pt x="685" y="201"/>
                    </a:lnTo>
                    <a:lnTo>
                      <a:pt x="723" y="205"/>
                    </a:lnTo>
                    <a:lnTo>
                      <a:pt x="751" y="234"/>
                    </a:lnTo>
                    <a:lnTo>
                      <a:pt x="760" y="234"/>
                    </a:lnTo>
                    <a:lnTo>
                      <a:pt x="760" y="243"/>
                    </a:lnTo>
                    <a:lnTo>
                      <a:pt x="756" y="255"/>
                    </a:lnTo>
                    <a:lnTo>
                      <a:pt x="756" y="255"/>
                    </a:lnTo>
                    <a:lnTo>
                      <a:pt x="810" y="293"/>
                    </a:lnTo>
                    <a:lnTo>
                      <a:pt x="815" y="300"/>
                    </a:lnTo>
                    <a:lnTo>
                      <a:pt x="841" y="316"/>
                    </a:lnTo>
                    <a:lnTo>
                      <a:pt x="831" y="333"/>
                    </a:lnTo>
                    <a:lnTo>
                      <a:pt x="848" y="349"/>
                    </a:lnTo>
                    <a:lnTo>
                      <a:pt x="841" y="354"/>
                    </a:lnTo>
                    <a:lnTo>
                      <a:pt x="869" y="366"/>
                    </a:lnTo>
                    <a:lnTo>
                      <a:pt x="895" y="383"/>
                    </a:lnTo>
                    <a:lnTo>
                      <a:pt x="902" y="399"/>
                    </a:lnTo>
                    <a:lnTo>
                      <a:pt x="902" y="411"/>
                    </a:lnTo>
                    <a:lnTo>
                      <a:pt x="916" y="437"/>
                    </a:lnTo>
                    <a:lnTo>
                      <a:pt x="886" y="420"/>
                    </a:lnTo>
                    <a:lnTo>
                      <a:pt x="869" y="437"/>
                    </a:lnTo>
                    <a:lnTo>
                      <a:pt x="864" y="427"/>
                    </a:lnTo>
                    <a:lnTo>
                      <a:pt x="848" y="437"/>
                    </a:lnTo>
                    <a:lnTo>
                      <a:pt x="827" y="420"/>
                    </a:lnTo>
                    <a:lnTo>
                      <a:pt x="810" y="420"/>
                    </a:lnTo>
                    <a:lnTo>
                      <a:pt x="777" y="411"/>
                    </a:lnTo>
                    <a:lnTo>
                      <a:pt x="772" y="411"/>
                    </a:lnTo>
                    <a:lnTo>
                      <a:pt x="760" y="437"/>
                    </a:lnTo>
                    <a:lnTo>
                      <a:pt x="723" y="444"/>
                    </a:lnTo>
                    <a:lnTo>
                      <a:pt x="701" y="427"/>
                    </a:lnTo>
                    <a:lnTo>
                      <a:pt x="701" y="437"/>
                    </a:lnTo>
                    <a:lnTo>
                      <a:pt x="642" y="460"/>
                    </a:lnTo>
                    <a:lnTo>
                      <a:pt x="631" y="465"/>
                    </a:lnTo>
                    <a:lnTo>
                      <a:pt x="593" y="453"/>
                    </a:lnTo>
                    <a:lnTo>
                      <a:pt x="576" y="477"/>
                    </a:lnTo>
                    <a:lnTo>
                      <a:pt x="572" y="477"/>
                    </a:lnTo>
                    <a:lnTo>
                      <a:pt x="572" y="494"/>
                    </a:lnTo>
                    <a:lnTo>
                      <a:pt x="555" y="498"/>
                    </a:lnTo>
                    <a:lnTo>
                      <a:pt x="517" y="494"/>
                    </a:lnTo>
                    <a:lnTo>
                      <a:pt x="479" y="494"/>
                    </a:lnTo>
                    <a:lnTo>
                      <a:pt x="463" y="477"/>
                    </a:lnTo>
                    <a:lnTo>
                      <a:pt x="432" y="482"/>
                    </a:lnTo>
                    <a:lnTo>
                      <a:pt x="425" y="465"/>
                    </a:lnTo>
                    <a:lnTo>
                      <a:pt x="425" y="465"/>
                    </a:lnTo>
                    <a:lnTo>
                      <a:pt x="425" y="46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7" name="Freeform 423">
                <a:extLst>
                  <a:ext uri="{FF2B5EF4-FFF2-40B4-BE49-F238E27FC236}">
                    <a16:creationId xmlns:a16="http://schemas.microsoft.com/office/drawing/2014/main" id="{740ABA8C-523A-4B42-BED9-FD8C7E506825}"/>
                  </a:ext>
                </a:extLst>
              </p:cNvPr>
              <p:cNvSpPr>
                <a:spLocks noEditPoints="1"/>
              </p:cNvSpPr>
              <p:nvPr/>
            </p:nvSpPr>
            <p:spPr bwMode="gray">
              <a:xfrm>
                <a:off x="5995933" y="3551240"/>
                <a:ext cx="75748" cy="70815"/>
              </a:xfrm>
              <a:custGeom>
                <a:avLst/>
                <a:gdLst>
                  <a:gd name="T0" fmla="*/ 0 w 184"/>
                  <a:gd name="T1" fmla="*/ 19 h 172"/>
                  <a:gd name="T2" fmla="*/ 0 w 184"/>
                  <a:gd name="T3" fmla="*/ 7 h 172"/>
                  <a:gd name="T4" fmla="*/ 16 w 184"/>
                  <a:gd name="T5" fmla="*/ 0 h 172"/>
                  <a:gd name="T6" fmla="*/ 21 w 184"/>
                  <a:gd name="T7" fmla="*/ 7 h 172"/>
                  <a:gd name="T8" fmla="*/ 0 w 184"/>
                  <a:gd name="T9" fmla="*/ 19 h 172"/>
                  <a:gd name="T10" fmla="*/ 0 w 184"/>
                  <a:gd name="T11" fmla="*/ 19 h 172"/>
                  <a:gd name="T12" fmla="*/ 0 w 184"/>
                  <a:gd name="T13" fmla="*/ 19 h 172"/>
                  <a:gd name="T14" fmla="*/ 21 w 184"/>
                  <a:gd name="T15" fmla="*/ 28 h 172"/>
                  <a:gd name="T16" fmla="*/ 16 w 184"/>
                  <a:gd name="T17" fmla="*/ 23 h 172"/>
                  <a:gd name="T18" fmla="*/ 21 w 184"/>
                  <a:gd name="T19" fmla="*/ 19 h 172"/>
                  <a:gd name="T20" fmla="*/ 33 w 184"/>
                  <a:gd name="T21" fmla="*/ 23 h 172"/>
                  <a:gd name="T22" fmla="*/ 21 w 184"/>
                  <a:gd name="T23" fmla="*/ 28 h 172"/>
                  <a:gd name="T24" fmla="*/ 21 w 184"/>
                  <a:gd name="T25" fmla="*/ 28 h 172"/>
                  <a:gd name="T26" fmla="*/ 21 w 184"/>
                  <a:gd name="T27" fmla="*/ 28 h 172"/>
                  <a:gd name="T28" fmla="*/ 71 w 184"/>
                  <a:gd name="T29" fmla="*/ 45 h 172"/>
                  <a:gd name="T30" fmla="*/ 59 w 184"/>
                  <a:gd name="T31" fmla="*/ 40 h 172"/>
                  <a:gd name="T32" fmla="*/ 92 w 184"/>
                  <a:gd name="T33" fmla="*/ 45 h 172"/>
                  <a:gd name="T34" fmla="*/ 71 w 184"/>
                  <a:gd name="T35" fmla="*/ 40 h 172"/>
                  <a:gd name="T36" fmla="*/ 71 w 184"/>
                  <a:gd name="T37" fmla="*/ 45 h 172"/>
                  <a:gd name="T38" fmla="*/ 71 w 184"/>
                  <a:gd name="T39" fmla="*/ 45 h 172"/>
                  <a:gd name="T40" fmla="*/ 71 w 184"/>
                  <a:gd name="T41" fmla="*/ 45 h 172"/>
                  <a:gd name="T42" fmla="*/ 179 w 184"/>
                  <a:gd name="T43" fmla="*/ 85 h 172"/>
                  <a:gd name="T44" fmla="*/ 163 w 184"/>
                  <a:gd name="T45" fmla="*/ 85 h 172"/>
                  <a:gd name="T46" fmla="*/ 179 w 184"/>
                  <a:gd name="T47" fmla="*/ 73 h 172"/>
                  <a:gd name="T48" fmla="*/ 184 w 184"/>
                  <a:gd name="T49" fmla="*/ 78 h 172"/>
                  <a:gd name="T50" fmla="*/ 179 w 184"/>
                  <a:gd name="T51" fmla="*/ 85 h 172"/>
                  <a:gd name="T52" fmla="*/ 179 w 184"/>
                  <a:gd name="T53" fmla="*/ 85 h 172"/>
                  <a:gd name="T54" fmla="*/ 179 w 184"/>
                  <a:gd name="T55" fmla="*/ 85 h 172"/>
                  <a:gd name="T56" fmla="*/ 125 w 184"/>
                  <a:gd name="T57" fmla="*/ 167 h 172"/>
                  <a:gd name="T58" fmla="*/ 109 w 184"/>
                  <a:gd name="T59" fmla="*/ 156 h 172"/>
                  <a:gd name="T60" fmla="*/ 118 w 184"/>
                  <a:gd name="T61" fmla="*/ 139 h 172"/>
                  <a:gd name="T62" fmla="*/ 130 w 184"/>
                  <a:gd name="T63" fmla="*/ 156 h 172"/>
                  <a:gd name="T64" fmla="*/ 125 w 184"/>
                  <a:gd name="T65" fmla="*/ 167 h 172"/>
                  <a:gd name="T66" fmla="*/ 125 w 184"/>
                  <a:gd name="T67" fmla="*/ 167 h 172"/>
                  <a:gd name="T68" fmla="*/ 125 w 184"/>
                  <a:gd name="T69" fmla="*/ 167 h 172"/>
                  <a:gd name="T70" fmla="*/ 59 w 184"/>
                  <a:gd name="T71" fmla="*/ 172 h 172"/>
                  <a:gd name="T72" fmla="*/ 54 w 184"/>
                  <a:gd name="T73" fmla="*/ 167 h 172"/>
                  <a:gd name="T74" fmla="*/ 59 w 184"/>
                  <a:gd name="T75" fmla="*/ 156 h 172"/>
                  <a:gd name="T76" fmla="*/ 71 w 184"/>
                  <a:gd name="T77" fmla="*/ 167 h 172"/>
                  <a:gd name="T78" fmla="*/ 59 w 184"/>
                  <a:gd name="T79" fmla="*/ 172 h 172"/>
                  <a:gd name="T80" fmla="*/ 59 w 184"/>
                  <a:gd name="T81" fmla="*/ 172 h 172"/>
                  <a:gd name="T82" fmla="*/ 59 w 184"/>
                  <a:gd name="T8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4" h="172">
                    <a:moveTo>
                      <a:pt x="0" y="19"/>
                    </a:moveTo>
                    <a:lnTo>
                      <a:pt x="0" y="7"/>
                    </a:lnTo>
                    <a:lnTo>
                      <a:pt x="16" y="0"/>
                    </a:lnTo>
                    <a:lnTo>
                      <a:pt x="21" y="7"/>
                    </a:lnTo>
                    <a:lnTo>
                      <a:pt x="0" y="19"/>
                    </a:lnTo>
                    <a:lnTo>
                      <a:pt x="0" y="19"/>
                    </a:lnTo>
                    <a:lnTo>
                      <a:pt x="0" y="19"/>
                    </a:lnTo>
                    <a:close/>
                    <a:moveTo>
                      <a:pt x="21" y="28"/>
                    </a:moveTo>
                    <a:lnTo>
                      <a:pt x="16" y="23"/>
                    </a:lnTo>
                    <a:lnTo>
                      <a:pt x="21" y="19"/>
                    </a:lnTo>
                    <a:lnTo>
                      <a:pt x="33" y="23"/>
                    </a:lnTo>
                    <a:lnTo>
                      <a:pt x="21" y="28"/>
                    </a:lnTo>
                    <a:lnTo>
                      <a:pt x="21" y="28"/>
                    </a:lnTo>
                    <a:lnTo>
                      <a:pt x="21" y="28"/>
                    </a:lnTo>
                    <a:close/>
                    <a:moveTo>
                      <a:pt x="71" y="45"/>
                    </a:moveTo>
                    <a:lnTo>
                      <a:pt x="59" y="40"/>
                    </a:lnTo>
                    <a:lnTo>
                      <a:pt x="92" y="45"/>
                    </a:lnTo>
                    <a:lnTo>
                      <a:pt x="71" y="40"/>
                    </a:lnTo>
                    <a:lnTo>
                      <a:pt x="71" y="45"/>
                    </a:lnTo>
                    <a:lnTo>
                      <a:pt x="71" y="45"/>
                    </a:lnTo>
                    <a:lnTo>
                      <a:pt x="71" y="45"/>
                    </a:lnTo>
                    <a:close/>
                    <a:moveTo>
                      <a:pt x="179" y="85"/>
                    </a:moveTo>
                    <a:lnTo>
                      <a:pt x="163" y="85"/>
                    </a:lnTo>
                    <a:lnTo>
                      <a:pt x="179" y="73"/>
                    </a:lnTo>
                    <a:lnTo>
                      <a:pt x="184" y="78"/>
                    </a:lnTo>
                    <a:lnTo>
                      <a:pt x="179" y="85"/>
                    </a:lnTo>
                    <a:lnTo>
                      <a:pt x="179" y="85"/>
                    </a:lnTo>
                    <a:lnTo>
                      <a:pt x="179" y="85"/>
                    </a:lnTo>
                    <a:close/>
                    <a:moveTo>
                      <a:pt x="125" y="167"/>
                    </a:moveTo>
                    <a:lnTo>
                      <a:pt x="109" y="156"/>
                    </a:lnTo>
                    <a:lnTo>
                      <a:pt x="118" y="139"/>
                    </a:lnTo>
                    <a:lnTo>
                      <a:pt x="130" y="156"/>
                    </a:lnTo>
                    <a:lnTo>
                      <a:pt x="125" y="167"/>
                    </a:lnTo>
                    <a:lnTo>
                      <a:pt x="125" y="167"/>
                    </a:lnTo>
                    <a:lnTo>
                      <a:pt x="125" y="167"/>
                    </a:lnTo>
                    <a:close/>
                    <a:moveTo>
                      <a:pt x="59" y="172"/>
                    </a:moveTo>
                    <a:lnTo>
                      <a:pt x="54" y="167"/>
                    </a:lnTo>
                    <a:lnTo>
                      <a:pt x="59" y="156"/>
                    </a:lnTo>
                    <a:lnTo>
                      <a:pt x="71" y="167"/>
                    </a:lnTo>
                    <a:lnTo>
                      <a:pt x="59" y="172"/>
                    </a:lnTo>
                    <a:lnTo>
                      <a:pt x="59" y="172"/>
                    </a:lnTo>
                    <a:lnTo>
                      <a:pt x="59" y="17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58" name="Freeform 424">
                <a:extLst>
                  <a:ext uri="{FF2B5EF4-FFF2-40B4-BE49-F238E27FC236}">
                    <a16:creationId xmlns:a16="http://schemas.microsoft.com/office/drawing/2014/main" id="{FAA4AD83-1C3D-4C59-B291-DDDDE1D96FF9}"/>
                  </a:ext>
                </a:extLst>
              </p:cNvPr>
              <p:cNvSpPr>
                <a:spLocks/>
              </p:cNvSpPr>
              <p:nvPr/>
            </p:nvSpPr>
            <p:spPr bwMode="gray">
              <a:xfrm>
                <a:off x="7655787" y="2960016"/>
                <a:ext cx="66280" cy="36644"/>
              </a:xfrm>
              <a:custGeom>
                <a:avLst/>
                <a:gdLst>
                  <a:gd name="T0" fmla="*/ 71 w 161"/>
                  <a:gd name="T1" fmla="*/ 77 h 89"/>
                  <a:gd name="T2" fmla="*/ 64 w 161"/>
                  <a:gd name="T3" fmla="*/ 77 h 89"/>
                  <a:gd name="T4" fmla="*/ 54 w 161"/>
                  <a:gd name="T5" fmla="*/ 89 h 89"/>
                  <a:gd name="T6" fmla="*/ 50 w 161"/>
                  <a:gd name="T7" fmla="*/ 77 h 89"/>
                  <a:gd name="T8" fmla="*/ 17 w 161"/>
                  <a:gd name="T9" fmla="*/ 77 h 89"/>
                  <a:gd name="T10" fmla="*/ 0 w 161"/>
                  <a:gd name="T11" fmla="*/ 49 h 89"/>
                  <a:gd name="T12" fmla="*/ 17 w 161"/>
                  <a:gd name="T13" fmla="*/ 56 h 89"/>
                  <a:gd name="T14" fmla="*/ 33 w 161"/>
                  <a:gd name="T15" fmla="*/ 40 h 89"/>
                  <a:gd name="T16" fmla="*/ 50 w 161"/>
                  <a:gd name="T17" fmla="*/ 40 h 89"/>
                  <a:gd name="T18" fmla="*/ 50 w 161"/>
                  <a:gd name="T19" fmla="*/ 21 h 89"/>
                  <a:gd name="T20" fmla="*/ 102 w 161"/>
                  <a:gd name="T21" fmla="*/ 21 h 89"/>
                  <a:gd name="T22" fmla="*/ 161 w 161"/>
                  <a:gd name="T23" fmla="*/ 0 h 89"/>
                  <a:gd name="T24" fmla="*/ 118 w 161"/>
                  <a:gd name="T25" fmla="*/ 33 h 89"/>
                  <a:gd name="T26" fmla="*/ 118 w 161"/>
                  <a:gd name="T27" fmla="*/ 40 h 89"/>
                  <a:gd name="T28" fmla="*/ 132 w 161"/>
                  <a:gd name="T29" fmla="*/ 56 h 89"/>
                  <a:gd name="T30" fmla="*/ 102 w 161"/>
                  <a:gd name="T31" fmla="*/ 56 h 89"/>
                  <a:gd name="T32" fmla="*/ 102 w 161"/>
                  <a:gd name="T33" fmla="*/ 73 h 89"/>
                  <a:gd name="T34" fmla="*/ 71 w 161"/>
                  <a:gd name="T35" fmla="*/ 77 h 89"/>
                  <a:gd name="T36" fmla="*/ 71 w 161"/>
                  <a:gd name="T37" fmla="*/ 77 h 89"/>
                  <a:gd name="T38" fmla="*/ 71 w 161"/>
                  <a:gd name="T39" fmla="*/ 7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1" h="89">
                    <a:moveTo>
                      <a:pt x="71" y="77"/>
                    </a:moveTo>
                    <a:lnTo>
                      <a:pt x="64" y="77"/>
                    </a:lnTo>
                    <a:lnTo>
                      <a:pt x="54" y="89"/>
                    </a:lnTo>
                    <a:lnTo>
                      <a:pt x="50" y="77"/>
                    </a:lnTo>
                    <a:lnTo>
                      <a:pt x="17" y="77"/>
                    </a:lnTo>
                    <a:lnTo>
                      <a:pt x="0" y="49"/>
                    </a:lnTo>
                    <a:lnTo>
                      <a:pt x="17" y="56"/>
                    </a:lnTo>
                    <a:lnTo>
                      <a:pt x="33" y="40"/>
                    </a:lnTo>
                    <a:lnTo>
                      <a:pt x="50" y="40"/>
                    </a:lnTo>
                    <a:lnTo>
                      <a:pt x="50" y="21"/>
                    </a:lnTo>
                    <a:lnTo>
                      <a:pt x="102" y="21"/>
                    </a:lnTo>
                    <a:lnTo>
                      <a:pt x="161" y="0"/>
                    </a:lnTo>
                    <a:lnTo>
                      <a:pt x="118" y="33"/>
                    </a:lnTo>
                    <a:lnTo>
                      <a:pt x="118" y="40"/>
                    </a:lnTo>
                    <a:lnTo>
                      <a:pt x="132" y="56"/>
                    </a:lnTo>
                    <a:lnTo>
                      <a:pt x="102" y="56"/>
                    </a:lnTo>
                    <a:lnTo>
                      <a:pt x="102" y="73"/>
                    </a:lnTo>
                    <a:lnTo>
                      <a:pt x="71" y="77"/>
                    </a:lnTo>
                    <a:lnTo>
                      <a:pt x="71" y="77"/>
                    </a:lnTo>
                    <a:lnTo>
                      <a:pt x="71" y="7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0" name="Freeform 426">
                <a:extLst>
                  <a:ext uri="{FF2B5EF4-FFF2-40B4-BE49-F238E27FC236}">
                    <a16:creationId xmlns:a16="http://schemas.microsoft.com/office/drawing/2014/main" id="{D14BE84B-31D3-4326-8F26-44645941E1EB}"/>
                  </a:ext>
                </a:extLst>
              </p:cNvPr>
              <p:cNvSpPr>
                <a:spLocks/>
              </p:cNvSpPr>
              <p:nvPr/>
            </p:nvSpPr>
            <p:spPr bwMode="gray">
              <a:xfrm>
                <a:off x="7934076" y="3684225"/>
                <a:ext cx="45695" cy="56405"/>
              </a:xfrm>
              <a:custGeom>
                <a:avLst/>
                <a:gdLst>
                  <a:gd name="T0" fmla="*/ 73 w 111"/>
                  <a:gd name="T1" fmla="*/ 126 h 137"/>
                  <a:gd name="T2" fmla="*/ 56 w 111"/>
                  <a:gd name="T3" fmla="*/ 121 h 137"/>
                  <a:gd name="T4" fmla="*/ 14 w 111"/>
                  <a:gd name="T5" fmla="*/ 137 h 137"/>
                  <a:gd name="T6" fmla="*/ 0 w 111"/>
                  <a:gd name="T7" fmla="*/ 126 h 137"/>
                  <a:gd name="T8" fmla="*/ 0 w 111"/>
                  <a:gd name="T9" fmla="*/ 92 h 137"/>
                  <a:gd name="T10" fmla="*/ 0 w 111"/>
                  <a:gd name="T11" fmla="*/ 71 h 137"/>
                  <a:gd name="T12" fmla="*/ 35 w 111"/>
                  <a:gd name="T13" fmla="*/ 26 h 137"/>
                  <a:gd name="T14" fmla="*/ 42 w 111"/>
                  <a:gd name="T15" fmla="*/ 17 h 137"/>
                  <a:gd name="T16" fmla="*/ 56 w 111"/>
                  <a:gd name="T17" fmla="*/ 33 h 137"/>
                  <a:gd name="T18" fmla="*/ 68 w 111"/>
                  <a:gd name="T19" fmla="*/ 26 h 137"/>
                  <a:gd name="T20" fmla="*/ 68 w 111"/>
                  <a:gd name="T21" fmla="*/ 17 h 137"/>
                  <a:gd name="T22" fmla="*/ 89 w 111"/>
                  <a:gd name="T23" fmla="*/ 0 h 137"/>
                  <a:gd name="T24" fmla="*/ 106 w 111"/>
                  <a:gd name="T25" fmla="*/ 26 h 137"/>
                  <a:gd name="T26" fmla="*/ 111 w 111"/>
                  <a:gd name="T27" fmla="*/ 55 h 137"/>
                  <a:gd name="T28" fmla="*/ 78 w 111"/>
                  <a:gd name="T29" fmla="*/ 71 h 137"/>
                  <a:gd name="T30" fmla="*/ 68 w 111"/>
                  <a:gd name="T31" fmla="*/ 71 h 137"/>
                  <a:gd name="T32" fmla="*/ 56 w 111"/>
                  <a:gd name="T33" fmla="*/ 88 h 137"/>
                  <a:gd name="T34" fmla="*/ 42 w 111"/>
                  <a:gd name="T35" fmla="*/ 88 h 137"/>
                  <a:gd name="T36" fmla="*/ 52 w 111"/>
                  <a:gd name="T37" fmla="*/ 92 h 137"/>
                  <a:gd name="T38" fmla="*/ 73 w 111"/>
                  <a:gd name="T39" fmla="*/ 88 h 137"/>
                  <a:gd name="T40" fmla="*/ 89 w 111"/>
                  <a:gd name="T41" fmla="*/ 88 h 137"/>
                  <a:gd name="T42" fmla="*/ 94 w 111"/>
                  <a:gd name="T43" fmla="*/ 92 h 137"/>
                  <a:gd name="T44" fmla="*/ 73 w 111"/>
                  <a:gd name="T45" fmla="*/ 126 h 137"/>
                  <a:gd name="T46" fmla="*/ 73 w 111"/>
                  <a:gd name="T47" fmla="*/ 126 h 137"/>
                  <a:gd name="T48" fmla="*/ 73 w 111"/>
                  <a:gd name="T49" fmla="*/ 12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1" h="137">
                    <a:moveTo>
                      <a:pt x="73" y="126"/>
                    </a:moveTo>
                    <a:lnTo>
                      <a:pt x="56" y="121"/>
                    </a:lnTo>
                    <a:lnTo>
                      <a:pt x="14" y="137"/>
                    </a:lnTo>
                    <a:lnTo>
                      <a:pt x="0" y="126"/>
                    </a:lnTo>
                    <a:lnTo>
                      <a:pt x="0" y="92"/>
                    </a:lnTo>
                    <a:lnTo>
                      <a:pt x="0" y="71"/>
                    </a:lnTo>
                    <a:lnTo>
                      <a:pt x="35" y="26"/>
                    </a:lnTo>
                    <a:lnTo>
                      <a:pt x="42" y="17"/>
                    </a:lnTo>
                    <a:lnTo>
                      <a:pt x="56" y="33"/>
                    </a:lnTo>
                    <a:lnTo>
                      <a:pt x="68" y="26"/>
                    </a:lnTo>
                    <a:lnTo>
                      <a:pt x="68" y="17"/>
                    </a:lnTo>
                    <a:lnTo>
                      <a:pt x="89" y="0"/>
                    </a:lnTo>
                    <a:lnTo>
                      <a:pt x="106" y="26"/>
                    </a:lnTo>
                    <a:lnTo>
                      <a:pt x="111" y="55"/>
                    </a:lnTo>
                    <a:lnTo>
                      <a:pt x="78" y="71"/>
                    </a:lnTo>
                    <a:lnTo>
                      <a:pt x="68" y="71"/>
                    </a:lnTo>
                    <a:lnTo>
                      <a:pt x="56" y="88"/>
                    </a:lnTo>
                    <a:lnTo>
                      <a:pt x="42" y="88"/>
                    </a:lnTo>
                    <a:lnTo>
                      <a:pt x="52" y="92"/>
                    </a:lnTo>
                    <a:lnTo>
                      <a:pt x="73" y="88"/>
                    </a:lnTo>
                    <a:lnTo>
                      <a:pt x="89" y="88"/>
                    </a:lnTo>
                    <a:lnTo>
                      <a:pt x="94" y="92"/>
                    </a:lnTo>
                    <a:lnTo>
                      <a:pt x="73" y="126"/>
                    </a:lnTo>
                    <a:lnTo>
                      <a:pt x="73" y="126"/>
                    </a:lnTo>
                    <a:lnTo>
                      <a:pt x="73" y="1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4" name="Freeform 430">
                <a:extLst>
                  <a:ext uri="{FF2B5EF4-FFF2-40B4-BE49-F238E27FC236}">
                    <a16:creationId xmlns:a16="http://schemas.microsoft.com/office/drawing/2014/main" id="{B7C8980E-CBB8-406A-BAEE-11582FEBE37E}"/>
                  </a:ext>
                </a:extLst>
              </p:cNvPr>
              <p:cNvSpPr>
                <a:spLocks/>
              </p:cNvSpPr>
              <p:nvPr/>
            </p:nvSpPr>
            <p:spPr bwMode="gray">
              <a:xfrm>
                <a:off x="7440895" y="3095882"/>
                <a:ext cx="348273" cy="305494"/>
              </a:xfrm>
              <a:custGeom>
                <a:avLst/>
                <a:gdLst>
                  <a:gd name="T0" fmla="*/ 468 w 846"/>
                  <a:gd name="T1" fmla="*/ 742 h 742"/>
                  <a:gd name="T2" fmla="*/ 468 w 846"/>
                  <a:gd name="T3" fmla="*/ 725 h 742"/>
                  <a:gd name="T4" fmla="*/ 17 w 846"/>
                  <a:gd name="T5" fmla="*/ 742 h 742"/>
                  <a:gd name="T6" fmla="*/ 17 w 846"/>
                  <a:gd name="T7" fmla="*/ 189 h 742"/>
                  <a:gd name="T8" fmla="*/ 17 w 846"/>
                  <a:gd name="T9" fmla="*/ 66 h 742"/>
                  <a:gd name="T10" fmla="*/ 31 w 846"/>
                  <a:gd name="T11" fmla="*/ 0 h 742"/>
                  <a:gd name="T12" fmla="*/ 38 w 846"/>
                  <a:gd name="T13" fmla="*/ 10 h 742"/>
                  <a:gd name="T14" fmla="*/ 177 w 846"/>
                  <a:gd name="T15" fmla="*/ 21 h 742"/>
                  <a:gd name="T16" fmla="*/ 198 w 846"/>
                  <a:gd name="T17" fmla="*/ 38 h 742"/>
                  <a:gd name="T18" fmla="*/ 224 w 846"/>
                  <a:gd name="T19" fmla="*/ 45 h 742"/>
                  <a:gd name="T20" fmla="*/ 300 w 846"/>
                  <a:gd name="T21" fmla="*/ 62 h 742"/>
                  <a:gd name="T22" fmla="*/ 371 w 846"/>
                  <a:gd name="T23" fmla="*/ 21 h 742"/>
                  <a:gd name="T24" fmla="*/ 387 w 846"/>
                  <a:gd name="T25" fmla="*/ 29 h 742"/>
                  <a:gd name="T26" fmla="*/ 404 w 846"/>
                  <a:gd name="T27" fmla="*/ 10 h 742"/>
                  <a:gd name="T28" fmla="*/ 409 w 846"/>
                  <a:gd name="T29" fmla="*/ 21 h 742"/>
                  <a:gd name="T30" fmla="*/ 446 w 846"/>
                  <a:gd name="T31" fmla="*/ 10 h 742"/>
                  <a:gd name="T32" fmla="*/ 480 w 846"/>
                  <a:gd name="T33" fmla="*/ 10 h 742"/>
                  <a:gd name="T34" fmla="*/ 522 w 846"/>
                  <a:gd name="T35" fmla="*/ 29 h 742"/>
                  <a:gd name="T36" fmla="*/ 494 w 846"/>
                  <a:gd name="T37" fmla="*/ 29 h 742"/>
                  <a:gd name="T38" fmla="*/ 510 w 846"/>
                  <a:gd name="T39" fmla="*/ 29 h 742"/>
                  <a:gd name="T40" fmla="*/ 532 w 846"/>
                  <a:gd name="T41" fmla="*/ 38 h 742"/>
                  <a:gd name="T42" fmla="*/ 555 w 846"/>
                  <a:gd name="T43" fmla="*/ 45 h 742"/>
                  <a:gd name="T44" fmla="*/ 586 w 846"/>
                  <a:gd name="T45" fmla="*/ 45 h 742"/>
                  <a:gd name="T46" fmla="*/ 628 w 846"/>
                  <a:gd name="T47" fmla="*/ 38 h 742"/>
                  <a:gd name="T48" fmla="*/ 673 w 846"/>
                  <a:gd name="T49" fmla="*/ 29 h 742"/>
                  <a:gd name="T50" fmla="*/ 699 w 846"/>
                  <a:gd name="T51" fmla="*/ 177 h 742"/>
                  <a:gd name="T52" fmla="*/ 678 w 846"/>
                  <a:gd name="T53" fmla="*/ 260 h 742"/>
                  <a:gd name="T54" fmla="*/ 661 w 846"/>
                  <a:gd name="T55" fmla="*/ 305 h 742"/>
                  <a:gd name="T56" fmla="*/ 591 w 846"/>
                  <a:gd name="T57" fmla="*/ 244 h 742"/>
                  <a:gd name="T58" fmla="*/ 565 w 846"/>
                  <a:gd name="T59" fmla="*/ 170 h 742"/>
                  <a:gd name="T60" fmla="*/ 532 w 846"/>
                  <a:gd name="T61" fmla="*/ 166 h 742"/>
                  <a:gd name="T62" fmla="*/ 555 w 846"/>
                  <a:gd name="T63" fmla="*/ 222 h 742"/>
                  <a:gd name="T64" fmla="*/ 619 w 846"/>
                  <a:gd name="T65" fmla="*/ 288 h 742"/>
                  <a:gd name="T66" fmla="*/ 607 w 846"/>
                  <a:gd name="T67" fmla="*/ 298 h 742"/>
                  <a:gd name="T68" fmla="*/ 640 w 846"/>
                  <a:gd name="T69" fmla="*/ 343 h 742"/>
                  <a:gd name="T70" fmla="*/ 645 w 846"/>
                  <a:gd name="T71" fmla="*/ 388 h 742"/>
                  <a:gd name="T72" fmla="*/ 725 w 846"/>
                  <a:gd name="T73" fmla="*/ 553 h 742"/>
                  <a:gd name="T74" fmla="*/ 754 w 846"/>
                  <a:gd name="T75" fmla="*/ 598 h 742"/>
                  <a:gd name="T76" fmla="*/ 763 w 846"/>
                  <a:gd name="T77" fmla="*/ 671 h 742"/>
                  <a:gd name="T78" fmla="*/ 801 w 846"/>
                  <a:gd name="T79" fmla="*/ 692 h 742"/>
                  <a:gd name="T80" fmla="*/ 846 w 846"/>
                  <a:gd name="T81" fmla="*/ 742 h 742"/>
                  <a:gd name="T82" fmla="*/ 846 w 846"/>
                  <a:gd name="T83" fmla="*/ 74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6" h="742">
                    <a:moveTo>
                      <a:pt x="846" y="742"/>
                    </a:moveTo>
                    <a:lnTo>
                      <a:pt x="468" y="742"/>
                    </a:lnTo>
                    <a:lnTo>
                      <a:pt x="480" y="737"/>
                    </a:lnTo>
                    <a:lnTo>
                      <a:pt x="468" y="725"/>
                    </a:lnTo>
                    <a:lnTo>
                      <a:pt x="458" y="742"/>
                    </a:lnTo>
                    <a:lnTo>
                      <a:pt x="17" y="742"/>
                    </a:lnTo>
                    <a:lnTo>
                      <a:pt x="17" y="314"/>
                    </a:lnTo>
                    <a:lnTo>
                      <a:pt x="17" y="189"/>
                    </a:lnTo>
                    <a:lnTo>
                      <a:pt x="0" y="116"/>
                    </a:lnTo>
                    <a:lnTo>
                      <a:pt x="17" y="66"/>
                    </a:lnTo>
                    <a:lnTo>
                      <a:pt x="9" y="21"/>
                    </a:lnTo>
                    <a:lnTo>
                      <a:pt x="31" y="0"/>
                    </a:lnTo>
                    <a:lnTo>
                      <a:pt x="31" y="5"/>
                    </a:lnTo>
                    <a:lnTo>
                      <a:pt x="38" y="10"/>
                    </a:lnTo>
                    <a:lnTo>
                      <a:pt x="85" y="0"/>
                    </a:lnTo>
                    <a:lnTo>
                      <a:pt x="177" y="21"/>
                    </a:lnTo>
                    <a:lnTo>
                      <a:pt x="189" y="29"/>
                    </a:lnTo>
                    <a:lnTo>
                      <a:pt x="198" y="38"/>
                    </a:lnTo>
                    <a:lnTo>
                      <a:pt x="215" y="29"/>
                    </a:lnTo>
                    <a:lnTo>
                      <a:pt x="224" y="45"/>
                    </a:lnTo>
                    <a:lnTo>
                      <a:pt x="253" y="45"/>
                    </a:lnTo>
                    <a:lnTo>
                      <a:pt x="300" y="62"/>
                    </a:lnTo>
                    <a:lnTo>
                      <a:pt x="333" y="55"/>
                    </a:lnTo>
                    <a:lnTo>
                      <a:pt x="371" y="21"/>
                    </a:lnTo>
                    <a:lnTo>
                      <a:pt x="376" y="29"/>
                    </a:lnTo>
                    <a:lnTo>
                      <a:pt x="387" y="29"/>
                    </a:lnTo>
                    <a:lnTo>
                      <a:pt x="392" y="5"/>
                    </a:lnTo>
                    <a:lnTo>
                      <a:pt x="404" y="10"/>
                    </a:lnTo>
                    <a:lnTo>
                      <a:pt x="442" y="5"/>
                    </a:lnTo>
                    <a:lnTo>
                      <a:pt x="409" y="21"/>
                    </a:lnTo>
                    <a:lnTo>
                      <a:pt x="430" y="10"/>
                    </a:lnTo>
                    <a:lnTo>
                      <a:pt x="446" y="10"/>
                    </a:lnTo>
                    <a:lnTo>
                      <a:pt x="442" y="5"/>
                    </a:lnTo>
                    <a:lnTo>
                      <a:pt x="480" y="10"/>
                    </a:lnTo>
                    <a:lnTo>
                      <a:pt x="501" y="5"/>
                    </a:lnTo>
                    <a:lnTo>
                      <a:pt x="522" y="29"/>
                    </a:lnTo>
                    <a:lnTo>
                      <a:pt x="501" y="5"/>
                    </a:lnTo>
                    <a:lnTo>
                      <a:pt x="494" y="29"/>
                    </a:lnTo>
                    <a:lnTo>
                      <a:pt x="501" y="38"/>
                    </a:lnTo>
                    <a:lnTo>
                      <a:pt x="510" y="29"/>
                    </a:lnTo>
                    <a:lnTo>
                      <a:pt x="517" y="45"/>
                    </a:lnTo>
                    <a:lnTo>
                      <a:pt x="532" y="38"/>
                    </a:lnTo>
                    <a:lnTo>
                      <a:pt x="522" y="29"/>
                    </a:lnTo>
                    <a:lnTo>
                      <a:pt x="555" y="45"/>
                    </a:lnTo>
                    <a:lnTo>
                      <a:pt x="586" y="38"/>
                    </a:lnTo>
                    <a:lnTo>
                      <a:pt x="586" y="45"/>
                    </a:lnTo>
                    <a:lnTo>
                      <a:pt x="607" y="38"/>
                    </a:lnTo>
                    <a:lnTo>
                      <a:pt x="628" y="38"/>
                    </a:lnTo>
                    <a:lnTo>
                      <a:pt x="661" y="21"/>
                    </a:lnTo>
                    <a:lnTo>
                      <a:pt x="673" y="29"/>
                    </a:lnTo>
                    <a:lnTo>
                      <a:pt x="711" y="170"/>
                    </a:lnTo>
                    <a:lnTo>
                      <a:pt x="699" y="177"/>
                    </a:lnTo>
                    <a:lnTo>
                      <a:pt x="695" y="227"/>
                    </a:lnTo>
                    <a:lnTo>
                      <a:pt x="678" y="260"/>
                    </a:lnTo>
                    <a:lnTo>
                      <a:pt x="678" y="281"/>
                    </a:lnTo>
                    <a:lnTo>
                      <a:pt x="661" y="305"/>
                    </a:lnTo>
                    <a:lnTo>
                      <a:pt x="628" y="281"/>
                    </a:lnTo>
                    <a:lnTo>
                      <a:pt x="591" y="244"/>
                    </a:lnTo>
                    <a:lnTo>
                      <a:pt x="591" y="206"/>
                    </a:lnTo>
                    <a:lnTo>
                      <a:pt x="565" y="170"/>
                    </a:lnTo>
                    <a:lnTo>
                      <a:pt x="548" y="121"/>
                    </a:lnTo>
                    <a:lnTo>
                      <a:pt x="532" y="166"/>
                    </a:lnTo>
                    <a:lnTo>
                      <a:pt x="548" y="177"/>
                    </a:lnTo>
                    <a:lnTo>
                      <a:pt x="555" y="222"/>
                    </a:lnTo>
                    <a:lnTo>
                      <a:pt x="586" y="265"/>
                    </a:lnTo>
                    <a:lnTo>
                      <a:pt x="619" y="288"/>
                    </a:lnTo>
                    <a:lnTo>
                      <a:pt x="619" y="298"/>
                    </a:lnTo>
                    <a:lnTo>
                      <a:pt x="607" y="298"/>
                    </a:lnTo>
                    <a:lnTo>
                      <a:pt x="607" y="314"/>
                    </a:lnTo>
                    <a:lnTo>
                      <a:pt x="640" y="343"/>
                    </a:lnTo>
                    <a:lnTo>
                      <a:pt x="645" y="371"/>
                    </a:lnTo>
                    <a:lnTo>
                      <a:pt x="645" y="388"/>
                    </a:lnTo>
                    <a:lnTo>
                      <a:pt x="683" y="466"/>
                    </a:lnTo>
                    <a:lnTo>
                      <a:pt x="725" y="553"/>
                    </a:lnTo>
                    <a:lnTo>
                      <a:pt x="780" y="598"/>
                    </a:lnTo>
                    <a:lnTo>
                      <a:pt x="754" y="598"/>
                    </a:lnTo>
                    <a:lnTo>
                      <a:pt x="754" y="631"/>
                    </a:lnTo>
                    <a:lnTo>
                      <a:pt x="763" y="671"/>
                    </a:lnTo>
                    <a:lnTo>
                      <a:pt x="780" y="688"/>
                    </a:lnTo>
                    <a:lnTo>
                      <a:pt x="801" y="692"/>
                    </a:lnTo>
                    <a:lnTo>
                      <a:pt x="824" y="721"/>
                    </a:lnTo>
                    <a:lnTo>
                      <a:pt x="846" y="742"/>
                    </a:lnTo>
                    <a:lnTo>
                      <a:pt x="846" y="742"/>
                    </a:lnTo>
                    <a:lnTo>
                      <a:pt x="846" y="74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6" name="Freeform 432">
                <a:extLst>
                  <a:ext uri="{FF2B5EF4-FFF2-40B4-BE49-F238E27FC236}">
                    <a16:creationId xmlns:a16="http://schemas.microsoft.com/office/drawing/2014/main" id="{D74C3E4B-A053-4F1D-9883-DF21EA51B05F}"/>
                  </a:ext>
                </a:extLst>
              </p:cNvPr>
              <p:cNvSpPr>
                <a:spLocks noEditPoints="1"/>
              </p:cNvSpPr>
              <p:nvPr/>
            </p:nvSpPr>
            <p:spPr bwMode="gray">
              <a:xfrm>
                <a:off x="6971179" y="3955546"/>
                <a:ext cx="82746" cy="81931"/>
              </a:xfrm>
              <a:custGeom>
                <a:avLst/>
                <a:gdLst>
                  <a:gd name="T0" fmla="*/ 26 w 201"/>
                  <a:gd name="T1" fmla="*/ 17 h 199"/>
                  <a:gd name="T2" fmla="*/ 14 w 201"/>
                  <a:gd name="T3" fmla="*/ 41 h 199"/>
                  <a:gd name="T4" fmla="*/ 0 w 201"/>
                  <a:gd name="T5" fmla="*/ 33 h 199"/>
                  <a:gd name="T6" fmla="*/ 0 w 201"/>
                  <a:gd name="T7" fmla="*/ 17 h 199"/>
                  <a:gd name="T8" fmla="*/ 5 w 201"/>
                  <a:gd name="T9" fmla="*/ 17 h 199"/>
                  <a:gd name="T10" fmla="*/ 14 w 201"/>
                  <a:gd name="T11" fmla="*/ 0 h 199"/>
                  <a:gd name="T12" fmla="*/ 26 w 201"/>
                  <a:gd name="T13" fmla="*/ 0 h 199"/>
                  <a:gd name="T14" fmla="*/ 26 w 201"/>
                  <a:gd name="T15" fmla="*/ 17 h 199"/>
                  <a:gd name="T16" fmla="*/ 26 w 201"/>
                  <a:gd name="T17" fmla="*/ 17 h 199"/>
                  <a:gd name="T18" fmla="*/ 26 w 201"/>
                  <a:gd name="T19" fmla="*/ 17 h 199"/>
                  <a:gd name="T20" fmla="*/ 92 w 201"/>
                  <a:gd name="T21" fmla="*/ 95 h 199"/>
                  <a:gd name="T22" fmla="*/ 109 w 201"/>
                  <a:gd name="T23" fmla="*/ 111 h 199"/>
                  <a:gd name="T24" fmla="*/ 201 w 201"/>
                  <a:gd name="T25" fmla="*/ 111 h 199"/>
                  <a:gd name="T26" fmla="*/ 201 w 201"/>
                  <a:gd name="T27" fmla="*/ 199 h 199"/>
                  <a:gd name="T28" fmla="*/ 109 w 201"/>
                  <a:gd name="T29" fmla="*/ 199 h 199"/>
                  <a:gd name="T30" fmla="*/ 97 w 201"/>
                  <a:gd name="T31" fmla="*/ 199 h 199"/>
                  <a:gd name="T32" fmla="*/ 92 w 201"/>
                  <a:gd name="T33" fmla="*/ 199 h 199"/>
                  <a:gd name="T34" fmla="*/ 92 w 201"/>
                  <a:gd name="T35" fmla="*/ 187 h 199"/>
                  <a:gd name="T36" fmla="*/ 76 w 201"/>
                  <a:gd name="T37" fmla="*/ 187 h 199"/>
                  <a:gd name="T38" fmla="*/ 59 w 201"/>
                  <a:gd name="T39" fmla="*/ 182 h 199"/>
                  <a:gd name="T40" fmla="*/ 92 w 201"/>
                  <a:gd name="T41" fmla="*/ 128 h 199"/>
                  <a:gd name="T42" fmla="*/ 92 w 201"/>
                  <a:gd name="T43" fmla="*/ 95 h 199"/>
                  <a:gd name="T44" fmla="*/ 92 w 201"/>
                  <a:gd name="T45" fmla="*/ 95 h 199"/>
                  <a:gd name="T46" fmla="*/ 92 w 201"/>
                  <a:gd name="T47" fmla="*/ 9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1" h="199">
                    <a:moveTo>
                      <a:pt x="26" y="17"/>
                    </a:moveTo>
                    <a:lnTo>
                      <a:pt x="14" y="41"/>
                    </a:lnTo>
                    <a:lnTo>
                      <a:pt x="0" y="33"/>
                    </a:lnTo>
                    <a:lnTo>
                      <a:pt x="0" y="17"/>
                    </a:lnTo>
                    <a:lnTo>
                      <a:pt x="5" y="17"/>
                    </a:lnTo>
                    <a:lnTo>
                      <a:pt x="14" y="0"/>
                    </a:lnTo>
                    <a:lnTo>
                      <a:pt x="26" y="0"/>
                    </a:lnTo>
                    <a:lnTo>
                      <a:pt x="26" y="17"/>
                    </a:lnTo>
                    <a:lnTo>
                      <a:pt x="26" y="17"/>
                    </a:lnTo>
                    <a:lnTo>
                      <a:pt x="26" y="17"/>
                    </a:lnTo>
                    <a:close/>
                    <a:moveTo>
                      <a:pt x="92" y="95"/>
                    </a:moveTo>
                    <a:lnTo>
                      <a:pt x="109" y="111"/>
                    </a:lnTo>
                    <a:lnTo>
                      <a:pt x="201" y="111"/>
                    </a:lnTo>
                    <a:lnTo>
                      <a:pt x="201" y="199"/>
                    </a:lnTo>
                    <a:lnTo>
                      <a:pt x="109" y="199"/>
                    </a:lnTo>
                    <a:lnTo>
                      <a:pt x="97" y="199"/>
                    </a:lnTo>
                    <a:lnTo>
                      <a:pt x="92" y="199"/>
                    </a:lnTo>
                    <a:lnTo>
                      <a:pt x="92" y="187"/>
                    </a:lnTo>
                    <a:lnTo>
                      <a:pt x="76" y="187"/>
                    </a:lnTo>
                    <a:lnTo>
                      <a:pt x="59" y="182"/>
                    </a:lnTo>
                    <a:lnTo>
                      <a:pt x="92" y="128"/>
                    </a:lnTo>
                    <a:lnTo>
                      <a:pt x="92" y="95"/>
                    </a:lnTo>
                    <a:lnTo>
                      <a:pt x="92" y="95"/>
                    </a:lnTo>
                    <a:lnTo>
                      <a:pt x="92" y="9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68" name="Freeform 434">
                <a:extLst>
                  <a:ext uri="{FF2B5EF4-FFF2-40B4-BE49-F238E27FC236}">
                    <a16:creationId xmlns:a16="http://schemas.microsoft.com/office/drawing/2014/main" id="{E500AD21-F80E-42FD-9026-21C42CEF05FF}"/>
                  </a:ext>
                </a:extLst>
              </p:cNvPr>
              <p:cNvSpPr>
                <a:spLocks noEditPoints="1"/>
              </p:cNvSpPr>
              <p:nvPr/>
            </p:nvSpPr>
            <p:spPr bwMode="gray">
              <a:xfrm>
                <a:off x="7778465" y="3524890"/>
                <a:ext cx="192250" cy="172921"/>
              </a:xfrm>
              <a:custGeom>
                <a:avLst/>
                <a:gdLst>
                  <a:gd name="T0" fmla="*/ 446 w 467"/>
                  <a:gd name="T1" fmla="*/ 404 h 420"/>
                  <a:gd name="T2" fmla="*/ 434 w 467"/>
                  <a:gd name="T3" fmla="*/ 420 h 420"/>
                  <a:gd name="T4" fmla="*/ 413 w 467"/>
                  <a:gd name="T5" fmla="*/ 416 h 420"/>
                  <a:gd name="T6" fmla="*/ 380 w 467"/>
                  <a:gd name="T7" fmla="*/ 383 h 420"/>
                  <a:gd name="T8" fmla="*/ 338 w 467"/>
                  <a:gd name="T9" fmla="*/ 326 h 420"/>
                  <a:gd name="T10" fmla="*/ 269 w 467"/>
                  <a:gd name="T11" fmla="*/ 260 h 420"/>
                  <a:gd name="T12" fmla="*/ 215 w 467"/>
                  <a:gd name="T13" fmla="*/ 255 h 420"/>
                  <a:gd name="T14" fmla="*/ 182 w 467"/>
                  <a:gd name="T15" fmla="*/ 250 h 420"/>
                  <a:gd name="T16" fmla="*/ 144 w 467"/>
                  <a:gd name="T17" fmla="*/ 272 h 420"/>
                  <a:gd name="T18" fmla="*/ 113 w 467"/>
                  <a:gd name="T19" fmla="*/ 250 h 420"/>
                  <a:gd name="T20" fmla="*/ 80 w 467"/>
                  <a:gd name="T21" fmla="*/ 293 h 420"/>
                  <a:gd name="T22" fmla="*/ 52 w 467"/>
                  <a:gd name="T23" fmla="*/ 272 h 420"/>
                  <a:gd name="T24" fmla="*/ 26 w 467"/>
                  <a:gd name="T25" fmla="*/ 272 h 420"/>
                  <a:gd name="T26" fmla="*/ 0 w 467"/>
                  <a:gd name="T27" fmla="*/ 217 h 420"/>
                  <a:gd name="T28" fmla="*/ 26 w 467"/>
                  <a:gd name="T29" fmla="*/ 111 h 420"/>
                  <a:gd name="T30" fmla="*/ 38 w 467"/>
                  <a:gd name="T31" fmla="*/ 73 h 420"/>
                  <a:gd name="T32" fmla="*/ 75 w 467"/>
                  <a:gd name="T33" fmla="*/ 57 h 420"/>
                  <a:gd name="T34" fmla="*/ 127 w 467"/>
                  <a:gd name="T35" fmla="*/ 40 h 420"/>
                  <a:gd name="T36" fmla="*/ 182 w 467"/>
                  <a:gd name="T37" fmla="*/ 66 h 420"/>
                  <a:gd name="T38" fmla="*/ 203 w 467"/>
                  <a:gd name="T39" fmla="*/ 168 h 420"/>
                  <a:gd name="T40" fmla="*/ 219 w 467"/>
                  <a:gd name="T41" fmla="*/ 194 h 420"/>
                  <a:gd name="T42" fmla="*/ 236 w 467"/>
                  <a:gd name="T43" fmla="*/ 222 h 420"/>
                  <a:gd name="T44" fmla="*/ 236 w 467"/>
                  <a:gd name="T45" fmla="*/ 201 h 420"/>
                  <a:gd name="T46" fmla="*/ 257 w 467"/>
                  <a:gd name="T47" fmla="*/ 222 h 420"/>
                  <a:gd name="T48" fmla="*/ 283 w 467"/>
                  <a:gd name="T49" fmla="*/ 222 h 420"/>
                  <a:gd name="T50" fmla="*/ 304 w 467"/>
                  <a:gd name="T51" fmla="*/ 250 h 420"/>
                  <a:gd name="T52" fmla="*/ 366 w 467"/>
                  <a:gd name="T53" fmla="*/ 305 h 420"/>
                  <a:gd name="T54" fmla="*/ 397 w 467"/>
                  <a:gd name="T55" fmla="*/ 326 h 420"/>
                  <a:gd name="T56" fmla="*/ 401 w 467"/>
                  <a:gd name="T57" fmla="*/ 326 h 420"/>
                  <a:gd name="T58" fmla="*/ 434 w 467"/>
                  <a:gd name="T59" fmla="*/ 366 h 420"/>
                  <a:gd name="T60" fmla="*/ 451 w 467"/>
                  <a:gd name="T61" fmla="*/ 387 h 420"/>
                  <a:gd name="T62" fmla="*/ 467 w 467"/>
                  <a:gd name="T63" fmla="*/ 387 h 420"/>
                  <a:gd name="T64" fmla="*/ 467 w 467"/>
                  <a:gd name="T65" fmla="*/ 387 h 420"/>
                  <a:gd name="T66" fmla="*/ 252 w 467"/>
                  <a:gd name="T67" fmla="*/ 144 h 420"/>
                  <a:gd name="T68" fmla="*/ 257 w 467"/>
                  <a:gd name="T69" fmla="*/ 149 h 420"/>
                  <a:gd name="T70" fmla="*/ 252 w 467"/>
                  <a:gd name="T71" fmla="*/ 149 h 420"/>
                  <a:gd name="T72" fmla="*/ 252 w 467"/>
                  <a:gd name="T73" fmla="*/ 161 h 420"/>
                  <a:gd name="T74" fmla="*/ 257 w 467"/>
                  <a:gd name="T75" fmla="*/ 177 h 420"/>
                  <a:gd name="T76" fmla="*/ 274 w 467"/>
                  <a:gd name="T77" fmla="*/ 184 h 420"/>
                  <a:gd name="T78" fmla="*/ 241 w 467"/>
                  <a:gd name="T79" fmla="*/ 177 h 420"/>
                  <a:gd name="T80" fmla="*/ 241 w 467"/>
                  <a:gd name="T81" fmla="*/ 168 h 420"/>
                  <a:gd name="T82" fmla="*/ 252 w 467"/>
                  <a:gd name="T83" fmla="*/ 161 h 420"/>
                  <a:gd name="T84" fmla="*/ 252 w 467"/>
                  <a:gd name="T85" fmla="*/ 161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7" h="420">
                    <a:moveTo>
                      <a:pt x="467" y="387"/>
                    </a:moveTo>
                    <a:lnTo>
                      <a:pt x="446" y="404"/>
                    </a:lnTo>
                    <a:lnTo>
                      <a:pt x="446" y="416"/>
                    </a:lnTo>
                    <a:lnTo>
                      <a:pt x="434" y="420"/>
                    </a:lnTo>
                    <a:lnTo>
                      <a:pt x="418" y="404"/>
                    </a:lnTo>
                    <a:lnTo>
                      <a:pt x="413" y="416"/>
                    </a:lnTo>
                    <a:lnTo>
                      <a:pt x="401" y="387"/>
                    </a:lnTo>
                    <a:lnTo>
                      <a:pt x="380" y="383"/>
                    </a:lnTo>
                    <a:lnTo>
                      <a:pt x="375" y="359"/>
                    </a:lnTo>
                    <a:lnTo>
                      <a:pt x="338" y="326"/>
                    </a:lnTo>
                    <a:lnTo>
                      <a:pt x="304" y="288"/>
                    </a:lnTo>
                    <a:lnTo>
                      <a:pt x="269" y="260"/>
                    </a:lnTo>
                    <a:lnTo>
                      <a:pt x="241" y="272"/>
                    </a:lnTo>
                    <a:lnTo>
                      <a:pt x="215" y="255"/>
                    </a:lnTo>
                    <a:lnTo>
                      <a:pt x="198" y="260"/>
                    </a:lnTo>
                    <a:lnTo>
                      <a:pt x="182" y="250"/>
                    </a:lnTo>
                    <a:lnTo>
                      <a:pt x="177" y="260"/>
                    </a:lnTo>
                    <a:lnTo>
                      <a:pt x="144" y="272"/>
                    </a:lnTo>
                    <a:lnTo>
                      <a:pt x="127" y="250"/>
                    </a:lnTo>
                    <a:lnTo>
                      <a:pt x="113" y="250"/>
                    </a:lnTo>
                    <a:lnTo>
                      <a:pt x="106" y="234"/>
                    </a:lnTo>
                    <a:lnTo>
                      <a:pt x="80" y="293"/>
                    </a:lnTo>
                    <a:lnTo>
                      <a:pt x="59" y="260"/>
                    </a:lnTo>
                    <a:lnTo>
                      <a:pt x="52" y="272"/>
                    </a:lnTo>
                    <a:lnTo>
                      <a:pt x="38" y="276"/>
                    </a:lnTo>
                    <a:lnTo>
                      <a:pt x="26" y="272"/>
                    </a:lnTo>
                    <a:lnTo>
                      <a:pt x="4" y="276"/>
                    </a:lnTo>
                    <a:lnTo>
                      <a:pt x="0" y="217"/>
                    </a:lnTo>
                    <a:lnTo>
                      <a:pt x="38" y="127"/>
                    </a:lnTo>
                    <a:lnTo>
                      <a:pt x="26" y="111"/>
                    </a:lnTo>
                    <a:lnTo>
                      <a:pt x="38" y="94"/>
                    </a:lnTo>
                    <a:lnTo>
                      <a:pt x="38" y="73"/>
                    </a:lnTo>
                    <a:lnTo>
                      <a:pt x="68" y="73"/>
                    </a:lnTo>
                    <a:lnTo>
                      <a:pt x="75" y="57"/>
                    </a:lnTo>
                    <a:lnTo>
                      <a:pt x="113" y="33"/>
                    </a:lnTo>
                    <a:lnTo>
                      <a:pt x="127" y="40"/>
                    </a:lnTo>
                    <a:lnTo>
                      <a:pt x="149" y="0"/>
                    </a:lnTo>
                    <a:lnTo>
                      <a:pt x="182" y="66"/>
                    </a:lnTo>
                    <a:lnTo>
                      <a:pt x="198" y="149"/>
                    </a:lnTo>
                    <a:lnTo>
                      <a:pt x="203" y="168"/>
                    </a:lnTo>
                    <a:lnTo>
                      <a:pt x="215" y="184"/>
                    </a:lnTo>
                    <a:lnTo>
                      <a:pt x="219" y="194"/>
                    </a:lnTo>
                    <a:lnTo>
                      <a:pt x="231" y="217"/>
                    </a:lnTo>
                    <a:lnTo>
                      <a:pt x="236" y="222"/>
                    </a:lnTo>
                    <a:lnTo>
                      <a:pt x="236" y="217"/>
                    </a:lnTo>
                    <a:lnTo>
                      <a:pt x="236" y="201"/>
                    </a:lnTo>
                    <a:lnTo>
                      <a:pt x="241" y="194"/>
                    </a:lnTo>
                    <a:lnTo>
                      <a:pt x="257" y="222"/>
                    </a:lnTo>
                    <a:lnTo>
                      <a:pt x="269" y="234"/>
                    </a:lnTo>
                    <a:lnTo>
                      <a:pt x="283" y="222"/>
                    </a:lnTo>
                    <a:lnTo>
                      <a:pt x="295" y="234"/>
                    </a:lnTo>
                    <a:lnTo>
                      <a:pt x="304" y="250"/>
                    </a:lnTo>
                    <a:lnTo>
                      <a:pt x="328" y="255"/>
                    </a:lnTo>
                    <a:lnTo>
                      <a:pt x="366" y="305"/>
                    </a:lnTo>
                    <a:lnTo>
                      <a:pt x="380" y="309"/>
                    </a:lnTo>
                    <a:lnTo>
                      <a:pt x="397" y="326"/>
                    </a:lnTo>
                    <a:lnTo>
                      <a:pt x="397" y="326"/>
                    </a:lnTo>
                    <a:lnTo>
                      <a:pt x="401" y="326"/>
                    </a:lnTo>
                    <a:lnTo>
                      <a:pt x="413" y="359"/>
                    </a:lnTo>
                    <a:lnTo>
                      <a:pt x="434" y="366"/>
                    </a:lnTo>
                    <a:lnTo>
                      <a:pt x="446" y="383"/>
                    </a:lnTo>
                    <a:lnTo>
                      <a:pt x="451" y="387"/>
                    </a:lnTo>
                    <a:lnTo>
                      <a:pt x="456" y="383"/>
                    </a:lnTo>
                    <a:lnTo>
                      <a:pt x="467" y="387"/>
                    </a:lnTo>
                    <a:lnTo>
                      <a:pt x="467" y="387"/>
                    </a:lnTo>
                    <a:lnTo>
                      <a:pt x="467" y="387"/>
                    </a:lnTo>
                    <a:close/>
                    <a:moveTo>
                      <a:pt x="252" y="149"/>
                    </a:moveTo>
                    <a:lnTo>
                      <a:pt x="252" y="144"/>
                    </a:lnTo>
                    <a:lnTo>
                      <a:pt x="257" y="144"/>
                    </a:lnTo>
                    <a:lnTo>
                      <a:pt x="257" y="149"/>
                    </a:lnTo>
                    <a:lnTo>
                      <a:pt x="252" y="149"/>
                    </a:lnTo>
                    <a:lnTo>
                      <a:pt x="252" y="149"/>
                    </a:lnTo>
                    <a:lnTo>
                      <a:pt x="252" y="149"/>
                    </a:lnTo>
                    <a:close/>
                    <a:moveTo>
                      <a:pt x="252" y="161"/>
                    </a:moveTo>
                    <a:lnTo>
                      <a:pt x="257" y="168"/>
                    </a:lnTo>
                    <a:lnTo>
                      <a:pt x="257" y="177"/>
                    </a:lnTo>
                    <a:lnTo>
                      <a:pt x="269" y="177"/>
                    </a:lnTo>
                    <a:lnTo>
                      <a:pt x="274" y="184"/>
                    </a:lnTo>
                    <a:lnTo>
                      <a:pt x="241" y="184"/>
                    </a:lnTo>
                    <a:lnTo>
                      <a:pt x="241" y="177"/>
                    </a:lnTo>
                    <a:lnTo>
                      <a:pt x="252" y="177"/>
                    </a:lnTo>
                    <a:lnTo>
                      <a:pt x="241" y="168"/>
                    </a:lnTo>
                    <a:lnTo>
                      <a:pt x="252" y="168"/>
                    </a:lnTo>
                    <a:lnTo>
                      <a:pt x="252" y="161"/>
                    </a:lnTo>
                    <a:lnTo>
                      <a:pt x="252" y="161"/>
                    </a:lnTo>
                    <a:lnTo>
                      <a:pt x="252" y="16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0" name="Freeform 436">
                <a:extLst>
                  <a:ext uri="{FF2B5EF4-FFF2-40B4-BE49-F238E27FC236}">
                    <a16:creationId xmlns:a16="http://schemas.microsoft.com/office/drawing/2014/main" id="{B1150086-FCE7-4AE3-94C8-5A36B894C059}"/>
                  </a:ext>
                </a:extLst>
              </p:cNvPr>
              <p:cNvSpPr>
                <a:spLocks/>
              </p:cNvSpPr>
              <p:nvPr/>
            </p:nvSpPr>
            <p:spPr bwMode="gray">
              <a:xfrm>
                <a:off x="7677194" y="3619997"/>
                <a:ext cx="434724" cy="345430"/>
              </a:xfrm>
              <a:custGeom>
                <a:avLst/>
                <a:gdLst>
                  <a:gd name="T0" fmla="*/ 628 w 1056"/>
                  <a:gd name="T1" fmla="*/ 794 h 839"/>
                  <a:gd name="T2" fmla="*/ 553 w 1056"/>
                  <a:gd name="T3" fmla="*/ 778 h 839"/>
                  <a:gd name="T4" fmla="*/ 461 w 1056"/>
                  <a:gd name="T5" fmla="*/ 839 h 839"/>
                  <a:gd name="T6" fmla="*/ 369 w 1056"/>
                  <a:gd name="T7" fmla="*/ 822 h 839"/>
                  <a:gd name="T8" fmla="*/ 217 w 1056"/>
                  <a:gd name="T9" fmla="*/ 761 h 839"/>
                  <a:gd name="T10" fmla="*/ 196 w 1056"/>
                  <a:gd name="T11" fmla="*/ 737 h 839"/>
                  <a:gd name="T12" fmla="*/ 180 w 1056"/>
                  <a:gd name="T13" fmla="*/ 688 h 839"/>
                  <a:gd name="T14" fmla="*/ 163 w 1056"/>
                  <a:gd name="T15" fmla="*/ 688 h 839"/>
                  <a:gd name="T16" fmla="*/ 142 w 1056"/>
                  <a:gd name="T17" fmla="*/ 650 h 839"/>
                  <a:gd name="T18" fmla="*/ 109 w 1056"/>
                  <a:gd name="T19" fmla="*/ 593 h 839"/>
                  <a:gd name="T20" fmla="*/ 87 w 1056"/>
                  <a:gd name="T21" fmla="*/ 577 h 839"/>
                  <a:gd name="T22" fmla="*/ 33 w 1056"/>
                  <a:gd name="T23" fmla="*/ 522 h 839"/>
                  <a:gd name="T24" fmla="*/ 0 w 1056"/>
                  <a:gd name="T25" fmla="*/ 506 h 839"/>
                  <a:gd name="T26" fmla="*/ 17 w 1056"/>
                  <a:gd name="T27" fmla="*/ 473 h 839"/>
                  <a:gd name="T28" fmla="*/ 50 w 1056"/>
                  <a:gd name="T29" fmla="*/ 466 h 839"/>
                  <a:gd name="T30" fmla="*/ 83 w 1056"/>
                  <a:gd name="T31" fmla="*/ 461 h 839"/>
                  <a:gd name="T32" fmla="*/ 97 w 1056"/>
                  <a:gd name="T33" fmla="*/ 338 h 839"/>
                  <a:gd name="T34" fmla="*/ 121 w 1056"/>
                  <a:gd name="T35" fmla="*/ 296 h 839"/>
                  <a:gd name="T36" fmla="*/ 142 w 1056"/>
                  <a:gd name="T37" fmla="*/ 296 h 839"/>
                  <a:gd name="T38" fmla="*/ 151 w 1056"/>
                  <a:gd name="T39" fmla="*/ 246 h 839"/>
                  <a:gd name="T40" fmla="*/ 163 w 1056"/>
                  <a:gd name="T41" fmla="*/ 222 h 839"/>
                  <a:gd name="T42" fmla="*/ 227 w 1056"/>
                  <a:gd name="T43" fmla="*/ 156 h 839"/>
                  <a:gd name="T44" fmla="*/ 250 w 1056"/>
                  <a:gd name="T45" fmla="*/ 78 h 839"/>
                  <a:gd name="T46" fmla="*/ 250 w 1056"/>
                  <a:gd name="T47" fmla="*/ 45 h 839"/>
                  <a:gd name="T48" fmla="*/ 281 w 1056"/>
                  <a:gd name="T49" fmla="*/ 45 h 839"/>
                  <a:gd name="T50" fmla="*/ 305 w 1056"/>
                  <a:gd name="T51" fmla="*/ 29 h 839"/>
                  <a:gd name="T52" fmla="*/ 352 w 1056"/>
                  <a:gd name="T53" fmla="*/ 0 h 839"/>
                  <a:gd name="T54" fmla="*/ 373 w 1056"/>
                  <a:gd name="T55" fmla="*/ 17 h 839"/>
                  <a:gd name="T56" fmla="*/ 423 w 1056"/>
                  <a:gd name="T57" fmla="*/ 29 h 839"/>
                  <a:gd name="T58" fmla="*/ 444 w 1056"/>
                  <a:gd name="T59" fmla="*/ 29 h 839"/>
                  <a:gd name="T60" fmla="*/ 487 w 1056"/>
                  <a:gd name="T61" fmla="*/ 41 h 839"/>
                  <a:gd name="T62" fmla="*/ 553 w 1056"/>
                  <a:gd name="T63" fmla="*/ 57 h 839"/>
                  <a:gd name="T64" fmla="*/ 624 w 1056"/>
                  <a:gd name="T65" fmla="*/ 128 h 839"/>
                  <a:gd name="T66" fmla="*/ 650 w 1056"/>
                  <a:gd name="T67" fmla="*/ 156 h 839"/>
                  <a:gd name="T68" fmla="*/ 624 w 1056"/>
                  <a:gd name="T69" fmla="*/ 230 h 839"/>
                  <a:gd name="T70" fmla="*/ 624 w 1056"/>
                  <a:gd name="T71" fmla="*/ 284 h 839"/>
                  <a:gd name="T72" fmla="*/ 683 w 1056"/>
                  <a:gd name="T73" fmla="*/ 279 h 839"/>
                  <a:gd name="T74" fmla="*/ 683 w 1056"/>
                  <a:gd name="T75" fmla="*/ 317 h 839"/>
                  <a:gd name="T76" fmla="*/ 716 w 1056"/>
                  <a:gd name="T77" fmla="*/ 362 h 839"/>
                  <a:gd name="T78" fmla="*/ 737 w 1056"/>
                  <a:gd name="T79" fmla="*/ 407 h 839"/>
                  <a:gd name="T80" fmla="*/ 775 w 1056"/>
                  <a:gd name="T81" fmla="*/ 433 h 839"/>
                  <a:gd name="T82" fmla="*/ 1056 w 1056"/>
                  <a:gd name="T83" fmla="*/ 506 h 839"/>
                  <a:gd name="T84" fmla="*/ 775 w 1056"/>
                  <a:gd name="T85" fmla="*/ 721 h 839"/>
                  <a:gd name="T86" fmla="*/ 716 w 1056"/>
                  <a:gd name="T87" fmla="*/ 744 h 839"/>
                  <a:gd name="T88" fmla="*/ 640 w 1056"/>
                  <a:gd name="T89" fmla="*/ 782 h 839"/>
                  <a:gd name="T90" fmla="*/ 640 w 1056"/>
                  <a:gd name="T91" fmla="*/ 782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56" h="839">
                    <a:moveTo>
                      <a:pt x="640" y="782"/>
                    </a:moveTo>
                    <a:lnTo>
                      <a:pt x="628" y="794"/>
                    </a:lnTo>
                    <a:lnTo>
                      <a:pt x="574" y="799"/>
                    </a:lnTo>
                    <a:lnTo>
                      <a:pt x="553" y="778"/>
                    </a:lnTo>
                    <a:lnTo>
                      <a:pt x="482" y="799"/>
                    </a:lnTo>
                    <a:lnTo>
                      <a:pt x="461" y="839"/>
                    </a:lnTo>
                    <a:lnTo>
                      <a:pt x="390" y="822"/>
                    </a:lnTo>
                    <a:lnTo>
                      <a:pt x="369" y="822"/>
                    </a:lnTo>
                    <a:lnTo>
                      <a:pt x="288" y="766"/>
                    </a:lnTo>
                    <a:lnTo>
                      <a:pt x="217" y="761"/>
                    </a:lnTo>
                    <a:lnTo>
                      <a:pt x="213" y="749"/>
                    </a:lnTo>
                    <a:lnTo>
                      <a:pt x="196" y="737"/>
                    </a:lnTo>
                    <a:lnTo>
                      <a:pt x="206" y="695"/>
                    </a:lnTo>
                    <a:lnTo>
                      <a:pt x="180" y="688"/>
                    </a:lnTo>
                    <a:lnTo>
                      <a:pt x="163" y="695"/>
                    </a:lnTo>
                    <a:lnTo>
                      <a:pt x="163" y="688"/>
                    </a:lnTo>
                    <a:lnTo>
                      <a:pt x="151" y="671"/>
                    </a:lnTo>
                    <a:lnTo>
                      <a:pt x="142" y="650"/>
                    </a:lnTo>
                    <a:lnTo>
                      <a:pt x="125" y="600"/>
                    </a:lnTo>
                    <a:lnTo>
                      <a:pt x="109" y="593"/>
                    </a:lnTo>
                    <a:lnTo>
                      <a:pt x="104" y="584"/>
                    </a:lnTo>
                    <a:lnTo>
                      <a:pt x="87" y="577"/>
                    </a:lnTo>
                    <a:lnTo>
                      <a:pt x="66" y="539"/>
                    </a:lnTo>
                    <a:lnTo>
                      <a:pt x="33" y="522"/>
                    </a:lnTo>
                    <a:lnTo>
                      <a:pt x="0" y="522"/>
                    </a:lnTo>
                    <a:lnTo>
                      <a:pt x="0" y="506"/>
                    </a:lnTo>
                    <a:lnTo>
                      <a:pt x="17" y="489"/>
                    </a:lnTo>
                    <a:lnTo>
                      <a:pt x="17" y="473"/>
                    </a:lnTo>
                    <a:lnTo>
                      <a:pt x="17" y="473"/>
                    </a:lnTo>
                    <a:lnTo>
                      <a:pt x="50" y="466"/>
                    </a:lnTo>
                    <a:lnTo>
                      <a:pt x="54" y="473"/>
                    </a:lnTo>
                    <a:lnTo>
                      <a:pt x="83" y="461"/>
                    </a:lnTo>
                    <a:lnTo>
                      <a:pt x="83" y="395"/>
                    </a:lnTo>
                    <a:lnTo>
                      <a:pt x="97" y="338"/>
                    </a:lnTo>
                    <a:lnTo>
                      <a:pt x="97" y="317"/>
                    </a:lnTo>
                    <a:lnTo>
                      <a:pt x="121" y="296"/>
                    </a:lnTo>
                    <a:lnTo>
                      <a:pt x="135" y="305"/>
                    </a:lnTo>
                    <a:lnTo>
                      <a:pt x="142" y="296"/>
                    </a:lnTo>
                    <a:lnTo>
                      <a:pt x="142" y="267"/>
                    </a:lnTo>
                    <a:lnTo>
                      <a:pt x="151" y="246"/>
                    </a:lnTo>
                    <a:lnTo>
                      <a:pt x="151" y="230"/>
                    </a:lnTo>
                    <a:lnTo>
                      <a:pt x="163" y="222"/>
                    </a:lnTo>
                    <a:lnTo>
                      <a:pt x="196" y="168"/>
                    </a:lnTo>
                    <a:lnTo>
                      <a:pt x="227" y="156"/>
                    </a:lnTo>
                    <a:lnTo>
                      <a:pt x="227" y="135"/>
                    </a:lnTo>
                    <a:lnTo>
                      <a:pt x="250" y="78"/>
                    </a:lnTo>
                    <a:lnTo>
                      <a:pt x="243" y="74"/>
                    </a:lnTo>
                    <a:lnTo>
                      <a:pt x="250" y="45"/>
                    </a:lnTo>
                    <a:lnTo>
                      <a:pt x="272" y="41"/>
                    </a:lnTo>
                    <a:lnTo>
                      <a:pt x="281" y="45"/>
                    </a:lnTo>
                    <a:lnTo>
                      <a:pt x="298" y="41"/>
                    </a:lnTo>
                    <a:lnTo>
                      <a:pt x="305" y="29"/>
                    </a:lnTo>
                    <a:lnTo>
                      <a:pt x="326" y="62"/>
                    </a:lnTo>
                    <a:lnTo>
                      <a:pt x="352" y="0"/>
                    </a:lnTo>
                    <a:lnTo>
                      <a:pt x="357" y="17"/>
                    </a:lnTo>
                    <a:lnTo>
                      <a:pt x="373" y="17"/>
                    </a:lnTo>
                    <a:lnTo>
                      <a:pt x="390" y="41"/>
                    </a:lnTo>
                    <a:lnTo>
                      <a:pt x="423" y="29"/>
                    </a:lnTo>
                    <a:lnTo>
                      <a:pt x="428" y="17"/>
                    </a:lnTo>
                    <a:lnTo>
                      <a:pt x="444" y="29"/>
                    </a:lnTo>
                    <a:lnTo>
                      <a:pt x="461" y="24"/>
                    </a:lnTo>
                    <a:lnTo>
                      <a:pt x="487" y="41"/>
                    </a:lnTo>
                    <a:lnTo>
                      <a:pt x="515" y="29"/>
                    </a:lnTo>
                    <a:lnTo>
                      <a:pt x="553" y="57"/>
                    </a:lnTo>
                    <a:lnTo>
                      <a:pt x="586" y="95"/>
                    </a:lnTo>
                    <a:lnTo>
                      <a:pt x="624" y="128"/>
                    </a:lnTo>
                    <a:lnTo>
                      <a:pt x="628" y="152"/>
                    </a:lnTo>
                    <a:lnTo>
                      <a:pt x="650" y="156"/>
                    </a:lnTo>
                    <a:lnTo>
                      <a:pt x="661" y="185"/>
                    </a:lnTo>
                    <a:lnTo>
                      <a:pt x="624" y="230"/>
                    </a:lnTo>
                    <a:lnTo>
                      <a:pt x="624" y="251"/>
                    </a:lnTo>
                    <a:lnTo>
                      <a:pt x="624" y="284"/>
                    </a:lnTo>
                    <a:lnTo>
                      <a:pt x="640" y="296"/>
                    </a:lnTo>
                    <a:lnTo>
                      <a:pt x="683" y="279"/>
                    </a:lnTo>
                    <a:lnTo>
                      <a:pt x="699" y="284"/>
                    </a:lnTo>
                    <a:lnTo>
                      <a:pt x="683" y="317"/>
                    </a:lnTo>
                    <a:lnTo>
                      <a:pt x="699" y="338"/>
                    </a:lnTo>
                    <a:lnTo>
                      <a:pt x="716" y="362"/>
                    </a:lnTo>
                    <a:lnTo>
                      <a:pt x="721" y="362"/>
                    </a:lnTo>
                    <a:lnTo>
                      <a:pt x="737" y="407"/>
                    </a:lnTo>
                    <a:lnTo>
                      <a:pt x="754" y="407"/>
                    </a:lnTo>
                    <a:lnTo>
                      <a:pt x="775" y="433"/>
                    </a:lnTo>
                    <a:lnTo>
                      <a:pt x="985" y="506"/>
                    </a:lnTo>
                    <a:lnTo>
                      <a:pt x="1056" y="506"/>
                    </a:lnTo>
                    <a:lnTo>
                      <a:pt x="846" y="728"/>
                    </a:lnTo>
                    <a:lnTo>
                      <a:pt x="775" y="721"/>
                    </a:lnTo>
                    <a:lnTo>
                      <a:pt x="754" y="728"/>
                    </a:lnTo>
                    <a:lnTo>
                      <a:pt x="716" y="744"/>
                    </a:lnTo>
                    <a:lnTo>
                      <a:pt x="699" y="766"/>
                    </a:lnTo>
                    <a:lnTo>
                      <a:pt x="640" y="782"/>
                    </a:lnTo>
                    <a:lnTo>
                      <a:pt x="640" y="782"/>
                    </a:lnTo>
                    <a:lnTo>
                      <a:pt x="640" y="78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7" name="Freeform 446">
                <a:extLst>
                  <a:ext uri="{FF2B5EF4-FFF2-40B4-BE49-F238E27FC236}">
                    <a16:creationId xmlns:a16="http://schemas.microsoft.com/office/drawing/2014/main" id="{D8EB2096-C9BD-4A7B-B756-37ECD5974768}"/>
                  </a:ext>
                </a:extLst>
              </p:cNvPr>
              <p:cNvSpPr>
                <a:spLocks noEditPoints="1"/>
              </p:cNvSpPr>
              <p:nvPr/>
            </p:nvSpPr>
            <p:spPr bwMode="gray">
              <a:xfrm>
                <a:off x="8174080" y="5244217"/>
                <a:ext cx="791641" cy="431068"/>
              </a:xfrm>
              <a:custGeom>
                <a:avLst/>
                <a:gdLst>
                  <a:gd name="T0" fmla="*/ 1916 w 1923"/>
                  <a:gd name="T1" fmla="*/ 0 h 1047"/>
                  <a:gd name="T2" fmla="*/ 1923 w 1923"/>
                  <a:gd name="T3" fmla="*/ 12 h 1047"/>
                  <a:gd name="T4" fmla="*/ 1923 w 1923"/>
                  <a:gd name="T5" fmla="*/ 12 h 1047"/>
                  <a:gd name="T6" fmla="*/ 0 w 1923"/>
                  <a:gd name="T7" fmla="*/ 714 h 1047"/>
                  <a:gd name="T8" fmla="*/ 10 w 1923"/>
                  <a:gd name="T9" fmla="*/ 714 h 1047"/>
                  <a:gd name="T10" fmla="*/ 10 w 1923"/>
                  <a:gd name="T11" fmla="*/ 714 h 1047"/>
                  <a:gd name="T12" fmla="*/ 106 w 1923"/>
                  <a:gd name="T13" fmla="*/ 737 h 1047"/>
                  <a:gd name="T14" fmla="*/ 118 w 1923"/>
                  <a:gd name="T15" fmla="*/ 747 h 1047"/>
                  <a:gd name="T16" fmla="*/ 118 w 1923"/>
                  <a:gd name="T17" fmla="*/ 747 h 1047"/>
                  <a:gd name="T18" fmla="*/ 139 w 1923"/>
                  <a:gd name="T19" fmla="*/ 747 h 1047"/>
                  <a:gd name="T20" fmla="*/ 156 w 1923"/>
                  <a:gd name="T21" fmla="*/ 747 h 1047"/>
                  <a:gd name="T22" fmla="*/ 139 w 1923"/>
                  <a:gd name="T23" fmla="*/ 747 h 1047"/>
                  <a:gd name="T24" fmla="*/ 1339 w 1923"/>
                  <a:gd name="T25" fmla="*/ 992 h 1047"/>
                  <a:gd name="T26" fmla="*/ 1365 w 1923"/>
                  <a:gd name="T27" fmla="*/ 992 h 1047"/>
                  <a:gd name="T28" fmla="*/ 1361 w 1923"/>
                  <a:gd name="T29" fmla="*/ 992 h 1047"/>
                  <a:gd name="T30" fmla="*/ 1377 w 1923"/>
                  <a:gd name="T31" fmla="*/ 1009 h 1047"/>
                  <a:gd name="T32" fmla="*/ 1429 w 1923"/>
                  <a:gd name="T33" fmla="*/ 992 h 1047"/>
                  <a:gd name="T34" fmla="*/ 1420 w 1923"/>
                  <a:gd name="T35" fmla="*/ 1014 h 1047"/>
                  <a:gd name="T36" fmla="*/ 1429 w 1923"/>
                  <a:gd name="T37" fmla="*/ 1025 h 1047"/>
                  <a:gd name="T38" fmla="*/ 1382 w 1923"/>
                  <a:gd name="T39" fmla="*/ 1014 h 1047"/>
                  <a:gd name="T40" fmla="*/ 1377 w 1923"/>
                  <a:gd name="T41" fmla="*/ 1014 h 1047"/>
                  <a:gd name="T42" fmla="*/ 1415 w 1923"/>
                  <a:gd name="T43" fmla="*/ 1030 h 1047"/>
                  <a:gd name="T44" fmla="*/ 1382 w 1923"/>
                  <a:gd name="T45" fmla="*/ 1047 h 1047"/>
                  <a:gd name="T46" fmla="*/ 1377 w 1923"/>
                  <a:gd name="T47" fmla="*/ 1042 h 1047"/>
                  <a:gd name="T48" fmla="*/ 1328 w 1923"/>
                  <a:gd name="T49" fmla="*/ 1030 h 1047"/>
                  <a:gd name="T50" fmla="*/ 1306 w 1923"/>
                  <a:gd name="T51" fmla="*/ 1047 h 1047"/>
                  <a:gd name="T52" fmla="*/ 1306 w 1923"/>
                  <a:gd name="T53" fmla="*/ 985 h 1047"/>
                  <a:gd name="T54" fmla="*/ 1328 w 1923"/>
                  <a:gd name="T55" fmla="*/ 952 h 1047"/>
                  <a:gd name="T56" fmla="*/ 1339 w 1923"/>
                  <a:gd name="T57" fmla="*/ 959 h 1047"/>
                  <a:gd name="T58" fmla="*/ 1328 w 1923"/>
                  <a:gd name="T59" fmla="*/ 992 h 1047"/>
                  <a:gd name="T60" fmla="*/ 1339 w 1923"/>
                  <a:gd name="T61" fmla="*/ 992 h 1047"/>
                  <a:gd name="T62" fmla="*/ 1339 w 1923"/>
                  <a:gd name="T63" fmla="*/ 992 h 1047"/>
                  <a:gd name="T64" fmla="*/ 1339 w 1923"/>
                  <a:gd name="T65" fmla="*/ 976 h 1047"/>
                  <a:gd name="T66" fmla="*/ 1349 w 1923"/>
                  <a:gd name="T67" fmla="*/ 976 h 1047"/>
                  <a:gd name="T68" fmla="*/ 1339 w 1923"/>
                  <a:gd name="T69" fmla="*/ 992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3" h="1047">
                    <a:moveTo>
                      <a:pt x="1923" y="12"/>
                    </a:moveTo>
                    <a:lnTo>
                      <a:pt x="1916" y="0"/>
                    </a:lnTo>
                    <a:lnTo>
                      <a:pt x="1923" y="0"/>
                    </a:lnTo>
                    <a:lnTo>
                      <a:pt x="1923" y="12"/>
                    </a:lnTo>
                    <a:lnTo>
                      <a:pt x="1923" y="12"/>
                    </a:lnTo>
                    <a:lnTo>
                      <a:pt x="1923" y="12"/>
                    </a:lnTo>
                    <a:close/>
                    <a:moveTo>
                      <a:pt x="10" y="714"/>
                    </a:moveTo>
                    <a:lnTo>
                      <a:pt x="0" y="714"/>
                    </a:lnTo>
                    <a:lnTo>
                      <a:pt x="10" y="714"/>
                    </a:lnTo>
                    <a:lnTo>
                      <a:pt x="10" y="714"/>
                    </a:lnTo>
                    <a:lnTo>
                      <a:pt x="10" y="714"/>
                    </a:lnTo>
                    <a:lnTo>
                      <a:pt x="10" y="714"/>
                    </a:lnTo>
                    <a:close/>
                    <a:moveTo>
                      <a:pt x="118" y="747"/>
                    </a:moveTo>
                    <a:lnTo>
                      <a:pt x="106" y="737"/>
                    </a:lnTo>
                    <a:lnTo>
                      <a:pt x="118" y="737"/>
                    </a:lnTo>
                    <a:lnTo>
                      <a:pt x="118" y="747"/>
                    </a:lnTo>
                    <a:lnTo>
                      <a:pt x="118" y="747"/>
                    </a:lnTo>
                    <a:lnTo>
                      <a:pt x="118" y="747"/>
                    </a:lnTo>
                    <a:lnTo>
                      <a:pt x="118" y="747"/>
                    </a:lnTo>
                    <a:close/>
                    <a:moveTo>
                      <a:pt x="139" y="747"/>
                    </a:moveTo>
                    <a:lnTo>
                      <a:pt x="139" y="747"/>
                    </a:lnTo>
                    <a:lnTo>
                      <a:pt x="156" y="747"/>
                    </a:lnTo>
                    <a:lnTo>
                      <a:pt x="139" y="747"/>
                    </a:lnTo>
                    <a:lnTo>
                      <a:pt x="139" y="747"/>
                    </a:lnTo>
                    <a:lnTo>
                      <a:pt x="139" y="747"/>
                    </a:lnTo>
                    <a:close/>
                    <a:moveTo>
                      <a:pt x="1339" y="992"/>
                    </a:moveTo>
                    <a:lnTo>
                      <a:pt x="1365" y="976"/>
                    </a:lnTo>
                    <a:lnTo>
                      <a:pt x="1365" y="992"/>
                    </a:lnTo>
                    <a:lnTo>
                      <a:pt x="1344" y="1002"/>
                    </a:lnTo>
                    <a:lnTo>
                      <a:pt x="1361" y="992"/>
                    </a:lnTo>
                    <a:lnTo>
                      <a:pt x="1361" y="1009"/>
                    </a:lnTo>
                    <a:lnTo>
                      <a:pt x="1377" y="1009"/>
                    </a:lnTo>
                    <a:lnTo>
                      <a:pt x="1415" y="985"/>
                    </a:lnTo>
                    <a:lnTo>
                      <a:pt x="1429" y="992"/>
                    </a:lnTo>
                    <a:lnTo>
                      <a:pt x="1436" y="1002"/>
                    </a:lnTo>
                    <a:lnTo>
                      <a:pt x="1420" y="1014"/>
                    </a:lnTo>
                    <a:lnTo>
                      <a:pt x="1415" y="1014"/>
                    </a:lnTo>
                    <a:lnTo>
                      <a:pt x="1429" y="1025"/>
                    </a:lnTo>
                    <a:lnTo>
                      <a:pt x="1403" y="1014"/>
                    </a:lnTo>
                    <a:lnTo>
                      <a:pt x="1382" y="1014"/>
                    </a:lnTo>
                    <a:lnTo>
                      <a:pt x="1391" y="1025"/>
                    </a:lnTo>
                    <a:lnTo>
                      <a:pt x="1377" y="1014"/>
                    </a:lnTo>
                    <a:lnTo>
                      <a:pt x="1382" y="1030"/>
                    </a:lnTo>
                    <a:lnTo>
                      <a:pt x="1415" y="1030"/>
                    </a:lnTo>
                    <a:lnTo>
                      <a:pt x="1415" y="1047"/>
                    </a:lnTo>
                    <a:lnTo>
                      <a:pt x="1382" y="1047"/>
                    </a:lnTo>
                    <a:lnTo>
                      <a:pt x="1365" y="1025"/>
                    </a:lnTo>
                    <a:lnTo>
                      <a:pt x="1377" y="1042"/>
                    </a:lnTo>
                    <a:lnTo>
                      <a:pt x="1344" y="1030"/>
                    </a:lnTo>
                    <a:lnTo>
                      <a:pt x="1328" y="1030"/>
                    </a:lnTo>
                    <a:lnTo>
                      <a:pt x="1328" y="1047"/>
                    </a:lnTo>
                    <a:lnTo>
                      <a:pt x="1306" y="1047"/>
                    </a:lnTo>
                    <a:lnTo>
                      <a:pt x="1311" y="1014"/>
                    </a:lnTo>
                    <a:lnTo>
                      <a:pt x="1306" y="985"/>
                    </a:lnTo>
                    <a:lnTo>
                      <a:pt x="1323" y="952"/>
                    </a:lnTo>
                    <a:lnTo>
                      <a:pt x="1328" y="952"/>
                    </a:lnTo>
                    <a:lnTo>
                      <a:pt x="1323" y="969"/>
                    </a:lnTo>
                    <a:lnTo>
                      <a:pt x="1339" y="959"/>
                    </a:lnTo>
                    <a:lnTo>
                      <a:pt x="1323" y="992"/>
                    </a:lnTo>
                    <a:lnTo>
                      <a:pt x="1328" y="992"/>
                    </a:lnTo>
                    <a:lnTo>
                      <a:pt x="1328" y="976"/>
                    </a:lnTo>
                    <a:lnTo>
                      <a:pt x="1339" y="992"/>
                    </a:lnTo>
                    <a:lnTo>
                      <a:pt x="1339" y="992"/>
                    </a:lnTo>
                    <a:lnTo>
                      <a:pt x="1339" y="992"/>
                    </a:lnTo>
                    <a:close/>
                    <a:moveTo>
                      <a:pt x="1339" y="992"/>
                    </a:moveTo>
                    <a:lnTo>
                      <a:pt x="1339" y="976"/>
                    </a:lnTo>
                    <a:lnTo>
                      <a:pt x="1349" y="969"/>
                    </a:lnTo>
                    <a:lnTo>
                      <a:pt x="1349" y="976"/>
                    </a:lnTo>
                    <a:lnTo>
                      <a:pt x="1339" y="992"/>
                    </a:lnTo>
                    <a:lnTo>
                      <a:pt x="1339" y="992"/>
                    </a:lnTo>
                    <a:lnTo>
                      <a:pt x="1339" y="99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8" name="Freeform 447">
                <a:extLst>
                  <a:ext uri="{FF2B5EF4-FFF2-40B4-BE49-F238E27FC236}">
                    <a16:creationId xmlns:a16="http://schemas.microsoft.com/office/drawing/2014/main" id="{1914E4D6-C8E9-4F4D-A5C9-993F5A546958}"/>
                  </a:ext>
                </a:extLst>
              </p:cNvPr>
              <p:cNvSpPr>
                <a:spLocks/>
              </p:cNvSpPr>
              <p:nvPr/>
            </p:nvSpPr>
            <p:spPr bwMode="gray">
              <a:xfrm>
                <a:off x="6238819" y="3652111"/>
                <a:ext cx="90567" cy="23468"/>
              </a:xfrm>
              <a:custGeom>
                <a:avLst/>
                <a:gdLst>
                  <a:gd name="T0" fmla="*/ 17 w 220"/>
                  <a:gd name="T1" fmla="*/ 17 h 57"/>
                  <a:gd name="T2" fmla="*/ 95 w 220"/>
                  <a:gd name="T3" fmla="*/ 17 h 57"/>
                  <a:gd name="T4" fmla="*/ 104 w 220"/>
                  <a:gd name="T5" fmla="*/ 5 h 57"/>
                  <a:gd name="T6" fmla="*/ 128 w 220"/>
                  <a:gd name="T7" fmla="*/ 0 h 57"/>
                  <a:gd name="T8" fmla="*/ 144 w 220"/>
                  <a:gd name="T9" fmla="*/ 5 h 57"/>
                  <a:gd name="T10" fmla="*/ 149 w 220"/>
                  <a:gd name="T11" fmla="*/ 17 h 57"/>
                  <a:gd name="T12" fmla="*/ 166 w 220"/>
                  <a:gd name="T13" fmla="*/ 17 h 57"/>
                  <a:gd name="T14" fmla="*/ 182 w 220"/>
                  <a:gd name="T15" fmla="*/ 33 h 57"/>
                  <a:gd name="T16" fmla="*/ 204 w 220"/>
                  <a:gd name="T17" fmla="*/ 17 h 57"/>
                  <a:gd name="T18" fmla="*/ 220 w 220"/>
                  <a:gd name="T19" fmla="*/ 33 h 57"/>
                  <a:gd name="T20" fmla="*/ 215 w 220"/>
                  <a:gd name="T21" fmla="*/ 41 h 57"/>
                  <a:gd name="T22" fmla="*/ 182 w 220"/>
                  <a:gd name="T23" fmla="*/ 50 h 57"/>
                  <a:gd name="T24" fmla="*/ 128 w 220"/>
                  <a:gd name="T25" fmla="*/ 17 h 57"/>
                  <a:gd name="T26" fmla="*/ 111 w 220"/>
                  <a:gd name="T27" fmla="*/ 33 h 57"/>
                  <a:gd name="T28" fmla="*/ 74 w 220"/>
                  <a:gd name="T29" fmla="*/ 41 h 57"/>
                  <a:gd name="T30" fmla="*/ 74 w 220"/>
                  <a:gd name="T31" fmla="*/ 50 h 57"/>
                  <a:gd name="T32" fmla="*/ 12 w 220"/>
                  <a:gd name="T33" fmla="*/ 50 h 57"/>
                  <a:gd name="T34" fmla="*/ 12 w 220"/>
                  <a:gd name="T35" fmla="*/ 57 h 57"/>
                  <a:gd name="T36" fmla="*/ 0 w 220"/>
                  <a:gd name="T37" fmla="*/ 33 h 57"/>
                  <a:gd name="T38" fmla="*/ 12 w 220"/>
                  <a:gd name="T39" fmla="*/ 22 h 57"/>
                  <a:gd name="T40" fmla="*/ 17 w 220"/>
                  <a:gd name="T41" fmla="*/ 33 h 57"/>
                  <a:gd name="T42" fmla="*/ 24 w 220"/>
                  <a:gd name="T43" fmla="*/ 41 h 57"/>
                  <a:gd name="T44" fmla="*/ 41 w 220"/>
                  <a:gd name="T45" fmla="*/ 41 h 57"/>
                  <a:gd name="T46" fmla="*/ 50 w 220"/>
                  <a:gd name="T47" fmla="*/ 41 h 57"/>
                  <a:gd name="T48" fmla="*/ 50 w 220"/>
                  <a:gd name="T49" fmla="*/ 41 h 57"/>
                  <a:gd name="T50" fmla="*/ 41 w 220"/>
                  <a:gd name="T51" fmla="*/ 41 h 57"/>
                  <a:gd name="T52" fmla="*/ 50 w 220"/>
                  <a:gd name="T53" fmla="*/ 33 h 57"/>
                  <a:gd name="T54" fmla="*/ 111 w 220"/>
                  <a:gd name="T55" fmla="*/ 22 h 57"/>
                  <a:gd name="T56" fmla="*/ 95 w 220"/>
                  <a:gd name="T57" fmla="*/ 22 h 57"/>
                  <a:gd name="T58" fmla="*/ 50 w 220"/>
                  <a:gd name="T59" fmla="*/ 33 h 57"/>
                  <a:gd name="T60" fmla="*/ 33 w 220"/>
                  <a:gd name="T61" fmla="*/ 41 h 57"/>
                  <a:gd name="T62" fmla="*/ 24 w 220"/>
                  <a:gd name="T63" fmla="*/ 33 h 57"/>
                  <a:gd name="T64" fmla="*/ 17 w 220"/>
                  <a:gd name="T65" fmla="*/ 17 h 57"/>
                  <a:gd name="T66" fmla="*/ 17 w 220"/>
                  <a:gd name="T67" fmla="*/ 17 h 57"/>
                  <a:gd name="T68" fmla="*/ 17 w 220"/>
                  <a:gd name="T69" fmla="*/ 1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0" h="57">
                    <a:moveTo>
                      <a:pt x="17" y="17"/>
                    </a:moveTo>
                    <a:lnTo>
                      <a:pt x="95" y="17"/>
                    </a:lnTo>
                    <a:lnTo>
                      <a:pt x="104" y="5"/>
                    </a:lnTo>
                    <a:lnTo>
                      <a:pt x="128" y="0"/>
                    </a:lnTo>
                    <a:lnTo>
                      <a:pt x="144" y="5"/>
                    </a:lnTo>
                    <a:lnTo>
                      <a:pt x="149" y="17"/>
                    </a:lnTo>
                    <a:lnTo>
                      <a:pt x="166" y="17"/>
                    </a:lnTo>
                    <a:lnTo>
                      <a:pt x="182" y="33"/>
                    </a:lnTo>
                    <a:lnTo>
                      <a:pt x="204" y="17"/>
                    </a:lnTo>
                    <a:lnTo>
                      <a:pt x="220" y="33"/>
                    </a:lnTo>
                    <a:lnTo>
                      <a:pt x="215" y="41"/>
                    </a:lnTo>
                    <a:lnTo>
                      <a:pt x="182" y="50"/>
                    </a:lnTo>
                    <a:lnTo>
                      <a:pt x="128" y="17"/>
                    </a:lnTo>
                    <a:lnTo>
                      <a:pt x="111" y="33"/>
                    </a:lnTo>
                    <a:lnTo>
                      <a:pt x="74" y="41"/>
                    </a:lnTo>
                    <a:lnTo>
                      <a:pt x="74" y="50"/>
                    </a:lnTo>
                    <a:lnTo>
                      <a:pt x="12" y="50"/>
                    </a:lnTo>
                    <a:lnTo>
                      <a:pt x="12" y="57"/>
                    </a:lnTo>
                    <a:lnTo>
                      <a:pt x="0" y="33"/>
                    </a:lnTo>
                    <a:lnTo>
                      <a:pt x="12" y="22"/>
                    </a:lnTo>
                    <a:lnTo>
                      <a:pt x="17" y="33"/>
                    </a:lnTo>
                    <a:lnTo>
                      <a:pt x="24" y="41"/>
                    </a:lnTo>
                    <a:lnTo>
                      <a:pt x="41" y="41"/>
                    </a:lnTo>
                    <a:lnTo>
                      <a:pt x="50" y="41"/>
                    </a:lnTo>
                    <a:lnTo>
                      <a:pt x="50" y="41"/>
                    </a:lnTo>
                    <a:lnTo>
                      <a:pt x="41" y="41"/>
                    </a:lnTo>
                    <a:lnTo>
                      <a:pt x="50" y="33"/>
                    </a:lnTo>
                    <a:lnTo>
                      <a:pt x="111" y="22"/>
                    </a:lnTo>
                    <a:lnTo>
                      <a:pt x="95" y="22"/>
                    </a:lnTo>
                    <a:lnTo>
                      <a:pt x="50" y="33"/>
                    </a:lnTo>
                    <a:lnTo>
                      <a:pt x="33" y="41"/>
                    </a:lnTo>
                    <a:lnTo>
                      <a:pt x="24" y="33"/>
                    </a:lnTo>
                    <a:lnTo>
                      <a:pt x="17" y="17"/>
                    </a:lnTo>
                    <a:lnTo>
                      <a:pt x="17" y="17"/>
                    </a:lnTo>
                    <a:lnTo>
                      <a:pt x="17"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79" name="Freeform 448">
                <a:extLst>
                  <a:ext uri="{FF2B5EF4-FFF2-40B4-BE49-F238E27FC236}">
                    <a16:creationId xmlns:a16="http://schemas.microsoft.com/office/drawing/2014/main" id="{4894C5D3-B472-46BA-BE79-479BC7B0984D}"/>
                  </a:ext>
                </a:extLst>
              </p:cNvPr>
              <p:cNvSpPr>
                <a:spLocks noEditPoints="1"/>
              </p:cNvSpPr>
              <p:nvPr/>
            </p:nvSpPr>
            <p:spPr bwMode="gray">
              <a:xfrm>
                <a:off x="6978178" y="3996717"/>
                <a:ext cx="166315" cy="185684"/>
              </a:xfrm>
              <a:custGeom>
                <a:avLst/>
                <a:gdLst>
                  <a:gd name="T0" fmla="*/ 359 w 404"/>
                  <a:gd name="T1" fmla="*/ 184 h 451"/>
                  <a:gd name="T2" fmla="*/ 380 w 404"/>
                  <a:gd name="T3" fmla="*/ 200 h 451"/>
                  <a:gd name="T4" fmla="*/ 404 w 404"/>
                  <a:gd name="T5" fmla="*/ 212 h 451"/>
                  <a:gd name="T6" fmla="*/ 404 w 404"/>
                  <a:gd name="T7" fmla="*/ 257 h 451"/>
                  <a:gd name="T8" fmla="*/ 387 w 404"/>
                  <a:gd name="T9" fmla="*/ 311 h 451"/>
                  <a:gd name="T10" fmla="*/ 359 w 404"/>
                  <a:gd name="T11" fmla="*/ 344 h 451"/>
                  <a:gd name="T12" fmla="*/ 333 w 404"/>
                  <a:gd name="T13" fmla="*/ 344 h 451"/>
                  <a:gd name="T14" fmla="*/ 290 w 404"/>
                  <a:gd name="T15" fmla="*/ 307 h 451"/>
                  <a:gd name="T16" fmla="*/ 269 w 404"/>
                  <a:gd name="T17" fmla="*/ 307 h 451"/>
                  <a:gd name="T18" fmla="*/ 257 w 404"/>
                  <a:gd name="T19" fmla="*/ 340 h 451"/>
                  <a:gd name="T20" fmla="*/ 224 w 404"/>
                  <a:gd name="T21" fmla="*/ 340 h 451"/>
                  <a:gd name="T22" fmla="*/ 198 w 404"/>
                  <a:gd name="T23" fmla="*/ 340 h 451"/>
                  <a:gd name="T24" fmla="*/ 198 w 404"/>
                  <a:gd name="T25" fmla="*/ 378 h 451"/>
                  <a:gd name="T26" fmla="*/ 215 w 404"/>
                  <a:gd name="T27" fmla="*/ 385 h 451"/>
                  <a:gd name="T28" fmla="*/ 224 w 404"/>
                  <a:gd name="T29" fmla="*/ 406 h 451"/>
                  <a:gd name="T30" fmla="*/ 219 w 404"/>
                  <a:gd name="T31" fmla="*/ 434 h 451"/>
                  <a:gd name="T32" fmla="*/ 198 w 404"/>
                  <a:gd name="T33" fmla="*/ 422 h 451"/>
                  <a:gd name="T34" fmla="*/ 165 w 404"/>
                  <a:gd name="T35" fmla="*/ 451 h 451"/>
                  <a:gd name="T36" fmla="*/ 63 w 404"/>
                  <a:gd name="T37" fmla="*/ 344 h 451"/>
                  <a:gd name="T38" fmla="*/ 96 w 404"/>
                  <a:gd name="T39" fmla="*/ 352 h 451"/>
                  <a:gd name="T40" fmla="*/ 89 w 404"/>
                  <a:gd name="T41" fmla="*/ 352 h 451"/>
                  <a:gd name="T42" fmla="*/ 75 w 404"/>
                  <a:gd name="T43" fmla="*/ 344 h 451"/>
                  <a:gd name="T44" fmla="*/ 42 w 404"/>
                  <a:gd name="T45" fmla="*/ 307 h 451"/>
                  <a:gd name="T46" fmla="*/ 59 w 404"/>
                  <a:gd name="T47" fmla="*/ 311 h 451"/>
                  <a:gd name="T48" fmla="*/ 37 w 404"/>
                  <a:gd name="T49" fmla="*/ 295 h 451"/>
                  <a:gd name="T50" fmla="*/ 21 w 404"/>
                  <a:gd name="T51" fmla="*/ 257 h 451"/>
                  <a:gd name="T52" fmla="*/ 54 w 404"/>
                  <a:gd name="T53" fmla="*/ 290 h 451"/>
                  <a:gd name="T54" fmla="*/ 54 w 404"/>
                  <a:gd name="T55" fmla="*/ 274 h 451"/>
                  <a:gd name="T56" fmla="*/ 42 w 404"/>
                  <a:gd name="T57" fmla="*/ 257 h 451"/>
                  <a:gd name="T58" fmla="*/ 21 w 404"/>
                  <a:gd name="T59" fmla="*/ 257 h 451"/>
                  <a:gd name="T60" fmla="*/ 0 w 404"/>
                  <a:gd name="T61" fmla="*/ 212 h 451"/>
                  <a:gd name="T62" fmla="*/ 42 w 404"/>
                  <a:gd name="T63" fmla="*/ 196 h 451"/>
                  <a:gd name="T64" fmla="*/ 54 w 404"/>
                  <a:gd name="T65" fmla="*/ 155 h 451"/>
                  <a:gd name="T66" fmla="*/ 80 w 404"/>
                  <a:gd name="T67" fmla="*/ 155 h 451"/>
                  <a:gd name="T68" fmla="*/ 42 w 404"/>
                  <a:gd name="T69" fmla="*/ 127 h 451"/>
                  <a:gd name="T70" fmla="*/ 59 w 404"/>
                  <a:gd name="T71" fmla="*/ 118 h 451"/>
                  <a:gd name="T72" fmla="*/ 59 w 404"/>
                  <a:gd name="T73" fmla="*/ 101 h 451"/>
                  <a:gd name="T74" fmla="*/ 75 w 404"/>
                  <a:gd name="T75" fmla="*/ 101 h 451"/>
                  <a:gd name="T76" fmla="*/ 89 w 404"/>
                  <a:gd name="T77" fmla="*/ 101 h 451"/>
                  <a:gd name="T78" fmla="*/ 182 w 404"/>
                  <a:gd name="T79" fmla="*/ 11 h 451"/>
                  <a:gd name="T80" fmla="*/ 252 w 404"/>
                  <a:gd name="T81" fmla="*/ 0 h 451"/>
                  <a:gd name="T82" fmla="*/ 311 w 404"/>
                  <a:gd name="T83" fmla="*/ 0 h 451"/>
                  <a:gd name="T84" fmla="*/ 307 w 404"/>
                  <a:gd name="T85" fmla="*/ 44 h 451"/>
                  <a:gd name="T86" fmla="*/ 311 w 404"/>
                  <a:gd name="T87" fmla="*/ 85 h 451"/>
                  <a:gd name="T88" fmla="*/ 380 w 404"/>
                  <a:gd name="T89" fmla="*/ 68 h 451"/>
                  <a:gd name="T90" fmla="*/ 387 w 404"/>
                  <a:gd name="T91" fmla="*/ 122 h 451"/>
                  <a:gd name="T92" fmla="*/ 366 w 404"/>
                  <a:gd name="T93" fmla="*/ 146 h 451"/>
                  <a:gd name="T94" fmla="*/ 359 w 404"/>
                  <a:gd name="T95" fmla="*/ 179 h 451"/>
                  <a:gd name="T96" fmla="*/ 21 w 404"/>
                  <a:gd name="T97" fmla="*/ 229 h 451"/>
                  <a:gd name="T98" fmla="*/ 21 w 404"/>
                  <a:gd name="T99" fmla="*/ 212 h 451"/>
                  <a:gd name="T100" fmla="*/ 21 w 404"/>
                  <a:gd name="T101" fmla="*/ 229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4" h="451">
                    <a:moveTo>
                      <a:pt x="359" y="179"/>
                    </a:moveTo>
                    <a:lnTo>
                      <a:pt x="359" y="184"/>
                    </a:lnTo>
                    <a:lnTo>
                      <a:pt x="375" y="184"/>
                    </a:lnTo>
                    <a:lnTo>
                      <a:pt x="380" y="200"/>
                    </a:lnTo>
                    <a:lnTo>
                      <a:pt x="396" y="200"/>
                    </a:lnTo>
                    <a:lnTo>
                      <a:pt x="404" y="212"/>
                    </a:lnTo>
                    <a:lnTo>
                      <a:pt x="396" y="240"/>
                    </a:lnTo>
                    <a:lnTo>
                      <a:pt x="404" y="257"/>
                    </a:lnTo>
                    <a:lnTo>
                      <a:pt x="396" y="307"/>
                    </a:lnTo>
                    <a:lnTo>
                      <a:pt x="387" y="311"/>
                    </a:lnTo>
                    <a:lnTo>
                      <a:pt x="375" y="344"/>
                    </a:lnTo>
                    <a:lnTo>
                      <a:pt x="359" y="344"/>
                    </a:lnTo>
                    <a:lnTo>
                      <a:pt x="349" y="323"/>
                    </a:lnTo>
                    <a:lnTo>
                      <a:pt x="333" y="344"/>
                    </a:lnTo>
                    <a:lnTo>
                      <a:pt x="295" y="340"/>
                    </a:lnTo>
                    <a:lnTo>
                      <a:pt x="290" y="307"/>
                    </a:lnTo>
                    <a:lnTo>
                      <a:pt x="274" y="295"/>
                    </a:lnTo>
                    <a:lnTo>
                      <a:pt x="269" y="307"/>
                    </a:lnTo>
                    <a:lnTo>
                      <a:pt x="257" y="307"/>
                    </a:lnTo>
                    <a:lnTo>
                      <a:pt x="257" y="340"/>
                    </a:lnTo>
                    <a:lnTo>
                      <a:pt x="236" y="344"/>
                    </a:lnTo>
                    <a:lnTo>
                      <a:pt x="224" y="340"/>
                    </a:lnTo>
                    <a:lnTo>
                      <a:pt x="215" y="344"/>
                    </a:lnTo>
                    <a:lnTo>
                      <a:pt x="198" y="340"/>
                    </a:lnTo>
                    <a:lnTo>
                      <a:pt x="203" y="352"/>
                    </a:lnTo>
                    <a:lnTo>
                      <a:pt x="198" y="378"/>
                    </a:lnTo>
                    <a:lnTo>
                      <a:pt x="203" y="368"/>
                    </a:lnTo>
                    <a:lnTo>
                      <a:pt x="215" y="385"/>
                    </a:lnTo>
                    <a:lnTo>
                      <a:pt x="203" y="401"/>
                    </a:lnTo>
                    <a:lnTo>
                      <a:pt x="224" y="406"/>
                    </a:lnTo>
                    <a:lnTo>
                      <a:pt x="219" y="422"/>
                    </a:lnTo>
                    <a:lnTo>
                      <a:pt x="219" y="434"/>
                    </a:lnTo>
                    <a:lnTo>
                      <a:pt x="215" y="434"/>
                    </a:lnTo>
                    <a:lnTo>
                      <a:pt x="198" y="422"/>
                    </a:lnTo>
                    <a:lnTo>
                      <a:pt x="172" y="434"/>
                    </a:lnTo>
                    <a:lnTo>
                      <a:pt x="165" y="451"/>
                    </a:lnTo>
                    <a:lnTo>
                      <a:pt x="118" y="394"/>
                    </a:lnTo>
                    <a:lnTo>
                      <a:pt x="63" y="344"/>
                    </a:lnTo>
                    <a:lnTo>
                      <a:pt x="89" y="361"/>
                    </a:lnTo>
                    <a:lnTo>
                      <a:pt x="96" y="352"/>
                    </a:lnTo>
                    <a:lnTo>
                      <a:pt x="96" y="352"/>
                    </a:lnTo>
                    <a:lnTo>
                      <a:pt x="89" y="352"/>
                    </a:lnTo>
                    <a:lnTo>
                      <a:pt x="80" y="344"/>
                    </a:lnTo>
                    <a:lnTo>
                      <a:pt x="75" y="344"/>
                    </a:lnTo>
                    <a:lnTo>
                      <a:pt x="59" y="340"/>
                    </a:lnTo>
                    <a:lnTo>
                      <a:pt x="42" y="307"/>
                    </a:lnTo>
                    <a:lnTo>
                      <a:pt x="54" y="307"/>
                    </a:lnTo>
                    <a:lnTo>
                      <a:pt x="59" y="311"/>
                    </a:lnTo>
                    <a:lnTo>
                      <a:pt x="54" y="307"/>
                    </a:lnTo>
                    <a:lnTo>
                      <a:pt x="37" y="295"/>
                    </a:lnTo>
                    <a:lnTo>
                      <a:pt x="37" y="283"/>
                    </a:lnTo>
                    <a:lnTo>
                      <a:pt x="21" y="257"/>
                    </a:lnTo>
                    <a:lnTo>
                      <a:pt x="37" y="290"/>
                    </a:lnTo>
                    <a:lnTo>
                      <a:pt x="54" y="290"/>
                    </a:lnTo>
                    <a:lnTo>
                      <a:pt x="54" y="283"/>
                    </a:lnTo>
                    <a:lnTo>
                      <a:pt x="54" y="274"/>
                    </a:lnTo>
                    <a:lnTo>
                      <a:pt x="37" y="283"/>
                    </a:lnTo>
                    <a:lnTo>
                      <a:pt x="42" y="257"/>
                    </a:lnTo>
                    <a:lnTo>
                      <a:pt x="37" y="266"/>
                    </a:lnTo>
                    <a:lnTo>
                      <a:pt x="21" y="257"/>
                    </a:lnTo>
                    <a:lnTo>
                      <a:pt x="0" y="212"/>
                    </a:lnTo>
                    <a:lnTo>
                      <a:pt x="0" y="212"/>
                    </a:lnTo>
                    <a:lnTo>
                      <a:pt x="21" y="229"/>
                    </a:lnTo>
                    <a:lnTo>
                      <a:pt x="42" y="196"/>
                    </a:lnTo>
                    <a:lnTo>
                      <a:pt x="42" y="139"/>
                    </a:lnTo>
                    <a:lnTo>
                      <a:pt x="54" y="155"/>
                    </a:lnTo>
                    <a:lnTo>
                      <a:pt x="75" y="163"/>
                    </a:lnTo>
                    <a:lnTo>
                      <a:pt x="80" y="155"/>
                    </a:lnTo>
                    <a:lnTo>
                      <a:pt x="54" y="146"/>
                    </a:lnTo>
                    <a:lnTo>
                      <a:pt x="42" y="127"/>
                    </a:lnTo>
                    <a:lnTo>
                      <a:pt x="42" y="122"/>
                    </a:lnTo>
                    <a:lnTo>
                      <a:pt x="59" y="118"/>
                    </a:lnTo>
                    <a:lnTo>
                      <a:pt x="59" y="127"/>
                    </a:lnTo>
                    <a:lnTo>
                      <a:pt x="59" y="101"/>
                    </a:lnTo>
                    <a:lnTo>
                      <a:pt x="63" y="89"/>
                    </a:lnTo>
                    <a:lnTo>
                      <a:pt x="75" y="101"/>
                    </a:lnTo>
                    <a:lnTo>
                      <a:pt x="80" y="101"/>
                    </a:lnTo>
                    <a:lnTo>
                      <a:pt x="89" y="101"/>
                    </a:lnTo>
                    <a:lnTo>
                      <a:pt x="182" y="101"/>
                    </a:lnTo>
                    <a:lnTo>
                      <a:pt x="182" y="11"/>
                    </a:lnTo>
                    <a:lnTo>
                      <a:pt x="182" y="0"/>
                    </a:lnTo>
                    <a:lnTo>
                      <a:pt x="252" y="0"/>
                    </a:lnTo>
                    <a:lnTo>
                      <a:pt x="278" y="0"/>
                    </a:lnTo>
                    <a:lnTo>
                      <a:pt x="311" y="0"/>
                    </a:lnTo>
                    <a:lnTo>
                      <a:pt x="321" y="11"/>
                    </a:lnTo>
                    <a:lnTo>
                      <a:pt x="307" y="44"/>
                    </a:lnTo>
                    <a:lnTo>
                      <a:pt x="311" y="68"/>
                    </a:lnTo>
                    <a:lnTo>
                      <a:pt x="311" y="85"/>
                    </a:lnTo>
                    <a:lnTo>
                      <a:pt x="349" y="68"/>
                    </a:lnTo>
                    <a:lnTo>
                      <a:pt x="380" y="68"/>
                    </a:lnTo>
                    <a:lnTo>
                      <a:pt x="404" y="101"/>
                    </a:lnTo>
                    <a:lnTo>
                      <a:pt x="387" y="122"/>
                    </a:lnTo>
                    <a:lnTo>
                      <a:pt x="375" y="127"/>
                    </a:lnTo>
                    <a:lnTo>
                      <a:pt x="366" y="146"/>
                    </a:lnTo>
                    <a:lnTo>
                      <a:pt x="359" y="179"/>
                    </a:lnTo>
                    <a:lnTo>
                      <a:pt x="359" y="179"/>
                    </a:lnTo>
                    <a:lnTo>
                      <a:pt x="359" y="179"/>
                    </a:lnTo>
                    <a:close/>
                    <a:moveTo>
                      <a:pt x="21" y="229"/>
                    </a:moveTo>
                    <a:lnTo>
                      <a:pt x="9" y="217"/>
                    </a:lnTo>
                    <a:lnTo>
                      <a:pt x="21" y="212"/>
                    </a:lnTo>
                    <a:lnTo>
                      <a:pt x="21" y="229"/>
                    </a:lnTo>
                    <a:lnTo>
                      <a:pt x="21" y="229"/>
                    </a:lnTo>
                    <a:lnTo>
                      <a:pt x="21" y="22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1" name="Freeform 450">
                <a:extLst>
                  <a:ext uri="{FF2B5EF4-FFF2-40B4-BE49-F238E27FC236}">
                    <a16:creationId xmlns:a16="http://schemas.microsoft.com/office/drawing/2014/main" id="{796E2358-96DF-4E2D-ABF5-EFB6928DABF7}"/>
                  </a:ext>
                </a:extLst>
              </p:cNvPr>
              <p:cNvSpPr>
                <a:spLocks/>
              </p:cNvSpPr>
              <p:nvPr/>
            </p:nvSpPr>
            <p:spPr bwMode="gray">
              <a:xfrm>
                <a:off x="6631964" y="3734043"/>
                <a:ext cx="128441" cy="192272"/>
              </a:xfrm>
              <a:custGeom>
                <a:avLst/>
                <a:gdLst>
                  <a:gd name="T0" fmla="*/ 16 w 312"/>
                  <a:gd name="T1" fmla="*/ 432 h 467"/>
                  <a:gd name="T2" fmla="*/ 16 w 312"/>
                  <a:gd name="T3" fmla="*/ 432 h 467"/>
                  <a:gd name="T4" fmla="*/ 21 w 312"/>
                  <a:gd name="T5" fmla="*/ 432 h 467"/>
                  <a:gd name="T6" fmla="*/ 38 w 312"/>
                  <a:gd name="T7" fmla="*/ 432 h 467"/>
                  <a:gd name="T8" fmla="*/ 38 w 312"/>
                  <a:gd name="T9" fmla="*/ 406 h 467"/>
                  <a:gd name="T10" fmla="*/ 21 w 312"/>
                  <a:gd name="T11" fmla="*/ 394 h 467"/>
                  <a:gd name="T12" fmla="*/ 0 w 312"/>
                  <a:gd name="T13" fmla="*/ 321 h 467"/>
                  <a:gd name="T14" fmla="*/ 4 w 312"/>
                  <a:gd name="T15" fmla="*/ 316 h 467"/>
                  <a:gd name="T16" fmla="*/ 21 w 312"/>
                  <a:gd name="T17" fmla="*/ 295 h 467"/>
                  <a:gd name="T18" fmla="*/ 38 w 312"/>
                  <a:gd name="T19" fmla="*/ 227 h 467"/>
                  <a:gd name="T20" fmla="*/ 54 w 312"/>
                  <a:gd name="T21" fmla="*/ 210 h 467"/>
                  <a:gd name="T22" fmla="*/ 42 w 312"/>
                  <a:gd name="T23" fmla="*/ 156 h 467"/>
                  <a:gd name="T24" fmla="*/ 38 w 312"/>
                  <a:gd name="T25" fmla="*/ 149 h 467"/>
                  <a:gd name="T26" fmla="*/ 42 w 312"/>
                  <a:gd name="T27" fmla="*/ 116 h 467"/>
                  <a:gd name="T28" fmla="*/ 38 w 312"/>
                  <a:gd name="T29" fmla="*/ 111 h 467"/>
                  <a:gd name="T30" fmla="*/ 38 w 312"/>
                  <a:gd name="T31" fmla="*/ 61 h 467"/>
                  <a:gd name="T32" fmla="*/ 21 w 312"/>
                  <a:gd name="T33" fmla="*/ 26 h 467"/>
                  <a:gd name="T34" fmla="*/ 30 w 312"/>
                  <a:gd name="T35" fmla="*/ 5 h 467"/>
                  <a:gd name="T36" fmla="*/ 160 w 312"/>
                  <a:gd name="T37" fmla="*/ 5 h 467"/>
                  <a:gd name="T38" fmla="*/ 182 w 312"/>
                  <a:gd name="T39" fmla="*/ 5 h 467"/>
                  <a:gd name="T40" fmla="*/ 182 w 312"/>
                  <a:gd name="T41" fmla="*/ 16 h 467"/>
                  <a:gd name="T42" fmla="*/ 205 w 312"/>
                  <a:gd name="T43" fmla="*/ 0 h 467"/>
                  <a:gd name="T44" fmla="*/ 219 w 312"/>
                  <a:gd name="T45" fmla="*/ 0 h 467"/>
                  <a:gd name="T46" fmla="*/ 231 w 312"/>
                  <a:gd name="T47" fmla="*/ 5 h 467"/>
                  <a:gd name="T48" fmla="*/ 219 w 312"/>
                  <a:gd name="T49" fmla="*/ 26 h 467"/>
                  <a:gd name="T50" fmla="*/ 252 w 312"/>
                  <a:gd name="T51" fmla="*/ 54 h 467"/>
                  <a:gd name="T52" fmla="*/ 252 w 312"/>
                  <a:gd name="T53" fmla="*/ 61 h 467"/>
                  <a:gd name="T54" fmla="*/ 257 w 312"/>
                  <a:gd name="T55" fmla="*/ 78 h 467"/>
                  <a:gd name="T56" fmla="*/ 248 w 312"/>
                  <a:gd name="T57" fmla="*/ 116 h 467"/>
                  <a:gd name="T58" fmla="*/ 257 w 312"/>
                  <a:gd name="T59" fmla="*/ 116 h 467"/>
                  <a:gd name="T60" fmla="*/ 269 w 312"/>
                  <a:gd name="T61" fmla="*/ 127 h 467"/>
                  <a:gd name="T62" fmla="*/ 257 w 312"/>
                  <a:gd name="T63" fmla="*/ 149 h 467"/>
                  <a:gd name="T64" fmla="*/ 269 w 312"/>
                  <a:gd name="T65" fmla="*/ 165 h 467"/>
                  <a:gd name="T66" fmla="*/ 252 w 312"/>
                  <a:gd name="T67" fmla="*/ 172 h 467"/>
                  <a:gd name="T68" fmla="*/ 286 w 312"/>
                  <a:gd name="T69" fmla="*/ 205 h 467"/>
                  <a:gd name="T70" fmla="*/ 274 w 312"/>
                  <a:gd name="T71" fmla="*/ 210 h 467"/>
                  <a:gd name="T72" fmla="*/ 269 w 312"/>
                  <a:gd name="T73" fmla="*/ 243 h 467"/>
                  <a:gd name="T74" fmla="*/ 269 w 312"/>
                  <a:gd name="T75" fmla="*/ 260 h 467"/>
                  <a:gd name="T76" fmla="*/ 269 w 312"/>
                  <a:gd name="T77" fmla="*/ 267 h 467"/>
                  <a:gd name="T78" fmla="*/ 274 w 312"/>
                  <a:gd name="T79" fmla="*/ 276 h 467"/>
                  <a:gd name="T80" fmla="*/ 274 w 312"/>
                  <a:gd name="T81" fmla="*/ 300 h 467"/>
                  <a:gd name="T82" fmla="*/ 269 w 312"/>
                  <a:gd name="T83" fmla="*/ 300 h 467"/>
                  <a:gd name="T84" fmla="*/ 286 w 312"/>
                  <a:gd name="T85" fmla="*/ 338 h 467"/>
                  <a:gd name="T86" fmla="*/ 302 w 312"/>
                  <a:gd name="T87" fmla="*/ 349 h 467"/>
                  <a:gd name="T88" fmla="*/ 312 w 312"/>
                  <a:gd name="T89" fmla="*/ 361 h 467"/>
                  <a:gd name="T90" fmla="*/ 302 w 312"/>
                  <a:gd name="T91" fmla="*/ 390 h 467"/>
                  <a:gd name="T92" fmla="*/ 274 w 312"/>
                  <a:gd name="T93" fmla="*/ 390 h 467"/>
                  <a:gd name="T94" fmla="*/ 269 w 312"/>
                  <a:gd name="T95" fmla="*/ 373 h 467"/>
                  <a:gd name="T96" fmla="*/ 248 w 312"/>
                  <a:gd name="T97" fmla="*/ 361 h 467"/>
                  <a:gd name="T98" fmla="*/ 269 w 312"/>
                  <a:gd name="T99" fmla="*/ 373 h 467"/>
                  <a:gd name="T100" fmla="*/ 274 w 312"/>
                  <a:gd name="T101" fmla="*/ 390 h 467"/>
                  <a:gd name="T102" fmla="*/ 248 w 312"/>
                  <a:gd name="T103" fmla="*/ 390 h 467"/>
                  <a:gd name="T104" fmla="*/ 177 w 312"/>
                  <a:gd name="T105" fmla="*/ 427 h 467"/>
                  <a:gd name="T106" fmla="*/ 113 w 312"/>
                  <a:gd name="T107" fmla="*/ 444 h 467"/>
                  <a:gd name="T108" fmla="*/ 85 w 312"/>
                  <a:gd name="T109" fmla="*/ 467 h 467"/>
                  <a:gd name="T110" fmla="*/ 68 w 312"/>
                  <a:gd name="T111" fmla="*/ 451 h 467"/>
                  <a:gd name="T112" fmla="*/ 16 w 312"/>
                  <a:gd name="T113" fmla="*/ 432 h 467"/>
                  <a:gd name="T114" fmla="*/ 16 w 312"/>
                  <a:gd name="T115" fmla="*/ 432 h 467"/>
                  <a:gd name="T116" fmla="*/ 16 w 312"/>
                  <a:gd name="T117" fmla="*/ 432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2" h="467">
                    <a:moveTo>
                      <a:pt x="16" y="432"/>
                    </a:moveTo>
                    <a:lnTo>
                      <a:pt x="16" y="432"/>
                    </a:lnTo>
                    <a:lnTo>
                      <a:pt x="21" y="432"/>
                    </a:lnTo>
                    <a:lnTo>
                      <a:pt x="38" y="432"/>
                    </a:lnTo>
                    <a:lnTo>
                      <a:pt x="38" y="406"/>
                    </a:lnTo>
                    <a:lnTo>
                      <a:pt x="21" y="394"/>
                    </a:lnTo>
                    <a:lnTo>
                      <a:pt x="0" y="321"/>
                    </a:lnTo>
                    <a:lnTo>
                      <a:pt x="4" y="316"/>
                    </a:lnTo>
                    <a:lnTo>
                      <a:pt x="21" y="295"/>
                    </a:lnTo>
                    <a:lnTo>
                      <a:pt x="38" y="227"/>
                    </a:lnTo>
                    <a:lnTo>
                      <a:pt x="54" y="210"/>
                    </a:lnTo>
                    <a:lnTo>
                      <a:pt x="42" y="156"/>
                    </a:lnTo>
                    <a:lnTo>
                      <a:pt x="38" y="149"/>
                    </a:lnTo>
                    <a:lnTo>
                      <a:pt x="42" y="116"/>
                    </a:lnTo>
                    <a:lnTo>
                      <a:pt x="38" y="111"/>
                    </a:lnTo>
                    <a:lnTo>
                      <a:pt x="38" y="61"/>
                    </a:lnTo>
                    <a:lnTo>
                      <a:pt x="21" y="26"/>
                    </a:lnTo>
                    <a:lnTo>
                      <a:pt x="30" y="5"/>
                    </a:lnTo>
                    <a:lnTo>
                      <a:pt x="160" y="5"/>
                    </a:lnTo>
                    <a:lnTo>
                      <a:pt x="182" y="5"/>
                    </a:lnTo>
                    <a:lnTo>
                      <a:pt x="182" y="16"/>
                    </a:lnTo>
                    <a:lnTo>
                      <a:pt x="205" y="0"/>
                    </a:lnTo>
                    <a:lnTo>
                      <a:pt x="219" y="0"/>
                    </a:lnTo>
                    <a:lnTo>
                      <a:pt x="231" y="5"/>
                    </a:lnTo>
                    <a:lnTo>
                      <a:pt x="219" y="26"/>
                    </a:lnTo>
                    <a:lnTo>
                      <a:pt x="252" y="54"/>
                    </a:lnTo>
                    <a:lnTo>
                      <a:pt x="252" y="61"/>
                    </a:lnTo>
                    <a:lnTo>
                      <a:pt x="257" y="78"/>
                    </a:lnTo>
                    <a:lnTo>
                      <a:pt x="248" y="116"/>
                    </a:lnTo>
                    <a:lnTo>
                      <a:pt x="257" y="116"/>
                    </a:lnTo>
                    <a:lnTo>
                      <a:pt x="269" y="127"/>
                    </a:lnTo>
                    <a:lnTo>
                      <a:pt x="257" y="149"/>
                    </a:lnTo>
                    <a:lnTo>
                      <a:pt x="269" y="165"/>
                    </a:lnTo>
                    <a:lnTo>
                      <a:pt x="252" y="172"/>
                    </a:lnTo>
                    <a:lnTo>
                      <a:pt x="286" y="205"/>
                    </a:lnTo>
                    <a:lnTo>
                      <a:pt x="274" y="210"/>
                    </a:lnTo>
                    <a:lnTo>
                      <a:pt x="269" y="243"/>
                    </a:lnTo>
                    <a:lnTo>
                      <a:pt x="269" y="260"/>
                    </a:lnTo>
                    <a:lnTo>
                      <a:pt x="269" y="267"/>
                    </a:lnTo>
                    <a:lnTo>
                      <a:pt x="274" y="276"/>
                    </a:lnTo>
                    <a:lnTo>
                      <a:pt x="274" y="300"/>
                    </a:lnTo>
                    <a:lnTo>
                      <a:pt x="269" y="300"/>
                    </a:lnTo>
                    <a:lnTo>
                      <a:pt x="286" y="338"/>
                    </a:lnTo>
                    <a:lnTo>
                      <a:pt x="302" y="349"/>
                    </a:lnTo>
                    <a:lnTo>
                      <a:pt x="312" y="361"/>
                    </a:lnTo>
                    <a:lnTo>
                      <a:pt x="302" y="390"/>
                    </a:lnTo>
                    <a:lnTo>
                      <a:pt x="274" y="390"/>
                    </a:lnTo>
                    <a:lnTo>
                      <a:pt x="269" y="373"/>
                    </a:lnTo>
                    <a:lnTo>
                      <a:pt x="248" y="361"/>
                    </a:lnTo>
                    <a:lnTo>
                      <a:pt x="269" y="373"/>
                    </a:lnTo>
                    <a:lnTo>
                      <a:pt x="274" y="390"/>
                    </a:lnTo>
                    <a:lnTo>
                      <a:pt x="248" y="390"/>
                    </a:lnTo>
                    <a:lnTo>
                      <a:pt x="177" y="427"/>
                    </a:lnTo>
                    <a:lnTo>
                      <a:pt x="113" y="444"/>
                    </a:lnTo>
                    <a:lnTo>
                      <a:pt x="85" y="467"/>
                    </a:lnTo>
                    <a:lnTo>
                      <a:pt x="68" y="451"/>
                    </a:lnTo>
                    <a:lnTo>
                      <a:pt x="16" y="432"/>
                    </a:lnTo>
                    <a:lnTo>
                      <a:pt x="16" y="432"/>
                    </a:lnTo>
                    <a:lnTo>
                      <a:pt x="16" y="43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88" name="Freeform 458">
                <a:extLst>
                  <a:ext uri="{FF2B5EF4-FFF2-40B4-BE49-F238E27FC236}">
                    <a16:creationId xmlns:a16="http://schemas.microsoft.com/office/drawing/2014/main" id="{06738A96-1BFC-43B4-8426-19E31030BD79}"/>
                  </a:ext>
                </a:extLst>
              </p:cNvPr>
              <p:cNvSpPr>
                <a:spLocks/>
              </p:cNvSpPr>
              <p:nvPr/>
            </p:nvSpPr>
            <p:spPr bwMode="gray">
              <a:xfrm>
                <a:off x="6290689" y="3689166"/>
                <a:ext cx="213657" cy="160570"/>
              </a:xfrm>
              <a:custGeom>
                <a:avLst/>
                <a:gdLst>
                  <a:gd name="T0" fmla="*/ 21 w 519"/>
                  <a:gd name="T1" fmla="*/ 83 h 390"/>
                  <a:gd name="T2" fmla="*/ 54 w 519"/>
                  <a:gd name="T3" fmla="*/ 71 h 390"/>
                  <a:gd name="T4" fmla="*/ 92 w 519"/>
                  <a:gd name="T5" fmla="*/ 71 h 390"/>
                  <a:gd name="T6" fmla="*/ 75 w 519"/>
                  <a:gd name="T7" fmla="*/ 38 h 390"/>
                  <a:gd name="T8" fmla="*/ 92 w 519"/>
                  <a:gd name="T9" fmla="*/ 0 h 390"/>
                  <a:gd name="T10" fmla="*/ 141 w 519"/>
                  <a:gd name="T11" fmla="*/ 17 h 390"/>
                  <a:gd name="T12" fmla="*/ 196 w 519"/>
                  <a:gd name="T13" fmla="*/ 21 h 390"/>
                  <a:gd name="T14" fmla="*/ 264 w 519"/>
                  <a:gd name="T15" fmla="*/ 17 h 390"/>
                  <a:gd name="T16" fmla="*/ 271 w 519"/>
                  <a:gd name="T17" fmla="*/ 45 h 390"/>
                  <a:gd name="T18" fmla="*/ 309 w 519"/>
                  <a:gd name="T19" fmla="*/ 54 h 390"/>
                  <a:gd name="T20" fmla="*/ 363 w 519"/>
                  <a:gd name="T21" fmla="*/ 45 h 390"/>
                  <a:gd name="T22" fmla="*/ 378 w 519"/>
                  <a:gd name="T23" fmla="*/ 38 h 390"/>
                  <a:gd name="T24" fmla="*/ 401 w 519"/>
                  <a:gd name="T25" fmla="*/ 17 h 390"/>
                  <a:gd name="T26" fmla="*/ 427 w 519"/>
                  <a:gd name="T27" fmla="*/ 28 h 390"/>
                  <a:gd name="T28" fmla="*/ 439 w 519"/>
                  <a:gd name="T29" fmla="*/ 71 h 390"/>
                  <a:gd name="T30" fmla="*/ 448 w 519"/>
                  <a:gd name="T31" fmla="*/ 83 h 390"/>
                  <a:gd name="T32" fmla="*/ 448 w 519"/>
                  <a:gd name="T33" fmla="*/ 128 h 390"/>
                  <a:gd name="T34" fmla="*/ 481 w 519"/>
                  <a:gd name="T35" fmla="*/ 116 h 390"/>
                  <a:gd name="T36" fmla="*/ 491 w 519"/>
                  <a:gd name="T37" fmla="*/ 165 h 390"/>
                  <a:gd name="T38" fmla="*/ 486 w 519"/>
                  <a:gd name="T39" fmla="*/ 194 h 390"/>
                  <a:gd name="T40" fmla="*/ 491 w 519"/>
                  <a:gd name="T41" fmla="*/ 236 h 390"/>
                  <a:gd name="T42" fmla="*/ 503 w 519"/>
                  <a:gd name="T43" fmla="*/ 248 h 390"/>
                  <a:gd name="T44" fmla="*/ 503 w 519"/>
                  <a:gd name="T45" fmla="*/ 260 h 390"/>
                  <a:gd name="T46" fmla="*/ 519 w 519"/>
                  <a:gd name="T47" fmla="*/ 293 h 390"/>
                  <a:gd name="T48" fmla="*/ 519 w 519"/>
                  <a:gd name="T49" fmla="*/ 302 h 390"/>
                  <a:gd name="T50" fmla="*/ 481 w 519"/>
                  <a:gd name="T51" fmla="*/ 298 h 390"/>
                  <a:gd name="T52" fmla="*/ 491 w 519"/>
                  <a:gd name="T53" fmla="*/ 319 h 390"/>
                  <a:gd name="T54" fmla="*/ 491 w 519"/>
                  <a:gd name="T55" fmla="*/ 331 h 390"/>
                  <a:gd name="T56" fmla="*/ 470 w 519"/>
                  <a:gd name="T57" fmla="*/ 359 h 390"/>
                  <a:gd name="T58" fmla="*/ 453 w 519"/>
                  <a:gd name="T59" fmla="*/ 359 h 390"/>
                  <a:gd name="T60" fmla="*/ 439 w 519"/>
                  <a:gd name="T61" fmla="*/ 385 h 390"/>
                  <a:gd name="T62" fmla="*/ 401 w 519"/>
                  <a:gd name="T63" fmla="*/ 376 h 390"/>
                  <a:gd name="T64" fmla="*/ 401 w 519"/>
                  <a:gd name="T65" fmla="*/ 352 h 390"/>
                  <a:gd name="T66" fmla="*/ 373 w 519"/>
                  <a:gd name="T67" fmla="*/ 298 h 390"/>
                  <a:gd name="T68" fmla="*/ 309 w 519"/>
                  <a:gd name="T69" fmla="*/ 314 h 390"/>
                  <a:gd name="T70" fmla="*/ 318 w 519"/>
                  <a:gd name="T71" fmla="*/ 276 h 390"/>
                  <a:gd name="T72" fmla="*/ 302 w 519"/>
                  <a:gd name="T73" fmla="*/ 260 h 390"/>
                  <a:gd name="T74" fmla="*/ 271 w 519"/>
                  <a:gd name="T75" fmla="*/ 187 h 390"/>
                  <a:gd name="T76" fmla="*/ 222 w 519"/>
                  <a:gd name="T77" fmla="*/ 194 h 390"/>
                  <a:gd name="T78" fmla="*/ 200 w 519"/>
                  <a:gd name="T79" fmla="*/ 194 h 390"/>
                  <a:gd name="T80" fmla="*/ 167 w 519"/>
                  <a:gd name="T81" fmla="*/ 236 h 390"/>
                  <a:gd name="T82" fmla="*/ 141 w 519"/>
                  <a:gd name="T83" fmla="*/ 260 h 390"/>
                  <a:gd name="T84" fmla="*/ 125 w 519"/>
                  <a:gd name="T85" fmla="*/ 248 h 390"/>
                  <a:gd name="T86" fmla="*/ 108 w 519"/>
                  <a:gd name="T87" fmla="*/ 220 h 390"/>
                  <a:gd name="T88" fmla="*/ 104 w 519"/>
                  <a:gd name="T89" fmla="*/ 220 h 390"/>
                  <a:gd name="T90" fmla="*/ 104 w 519"/>
                  <a:gd name="T91" fmla="*/ 203 h 390"/>
                  <a:gd name="T92" fmla="*/ 92 w 519"/>
                  <a:gd name="T93" fmla="*/ 210 h 390"/>
                  <a:gd name="T94" fmla="*/ 87 w 519"/>
                  <a:gd name="T95" fmla="*/ 203 h 390"/>
                  <a:gd name="T96" fmla="*/ 37 w 519"/>
                  <a:gd name="T97" fmla="*/ 154 h 390"/>
                  <a:gd name="T98" fmla="*/ 37 w 519"/>
                  <a:gd name="T99" fmla="*/ 132 h 390"/>
                  <a:gd name="T100" fmla="*/ 16 w 519"/>
                  <a:gd name="T101" fmla="*/ 128 h 390"/>
                  <a:gd name="T102" fmla="*/ 16 w 519"/>
                  <a:gd name="T103" fmla="*/ 116 h 390"/>
                  <a:gd name="T104" fmla="*/ 0 w 519"/>
                  <a:gd name="T105" fmla="*/ 132 h 390"/>
                  <a:gd name="T106" fmla="*/ 0 w 519"/>
                  <a:gd name="T107" fmla="*/ 128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9" h="390">
                    <a:moveTo>
                      <a:pt x="0" y="128"/>
                    </a:moveTo>
                    <a:lnTo>
                      <a:pt x="21" y="83"/>
                    </a:lnTo>
                    <a:lnTo>
                      <a:pt x="37" y="78"/>
                    </a:lnTo>
                    <a:lnTo>
                      <a:pt x="54" y="71"/>
                    </a:lnTo>
                    <a:lnTo>
                      <a:pt x="75" y="71"/>
                    </a:lnTo>
                    <a:lnTo>
                      <a:pt x="92" y="71"/>
                    </a:lnTo>
                    <a:lnTo>
                      <a:pt x="92" y="45"/>
                    </a:lnTo>
                    <a:lnTo>
                      <a:pt x="75" y="38"/>
                    </a:lnTo>
                    <a:lnTo>
                      <a:pt x="104" y="21"/>
                    </a:lnTo>
                    <a:lnTo>
                      <a:pt x="92" y="0"/>
                    </a:lnTo>
                    <a:lnTo>
                      <a:pt x="141" y="0"/>
                    </a:lnTo>
                    <a:lnTo>
                      <a:pt x="141" y="17"/>
                    </a:lnTo>
                    <a:lnTo>
                      <a:pt x="158" y="7"/>
                    </a:lnTo>
                    <a:lnTo>
                      <a:pt x="196" y="21"/>
                    </a:lnTo>
                    <a:lnTo>
                      <a:pt x="217" y="17"/>
                    </a:lnTo>
                    <a:lnTo>
                      <a:pt x="264" y="17"/>
                    </a:lnTo>
                    <a:lnTo>
                      <a:pt x="255" y="28"/>
                    </a:lnTo>
                    <a:lnTo>
                      <a:pt x="271" y="45"/>
                    </a:lnTo>
                    <a:lnTo>
                      <a:pt x="285" y="28"/>
                    </a:lnTo>
                    <a:lnTo>
                      <a:pt x="309" y="54"/>
                    </a:lnTo>
                    <a:lnTo>
                      <a:pt x="330" y="28"/>
                    </a:lnTo>
                    <a:lnTo>
                      <a:pt x="363" y="45"/>
                    </a:lnTo>
                    <a:lnTo>
                      <a:pt x="378" y="45"/>
                    </a:lnTo>
                    <a:lnTo>
                      <a:pt x="378" y="38"/>
                    </a:lnTo>
                    <a:lnTo>
                      <a:pt x="401" y="28"/>
                    </a:lnTo>
                    <a:lnTo>
                      <a:pt x="401" y="17"/>
                    </a:lnTo>
                    <a:lnTo>
                      <a:pt x="427" y="17"/>
                    </a:lnTo>
                    <a:lnTo>
                      <a:pt x="427" y="28"/>
                    </a:lnTo>
                    <a:lnTo>
                      <a:pt x="439" y="54"/>
                    </a:lnTo>
                    <a:lnTo>
                      <a:pt x="439" y="71"/>
                    </a:lnTo>
                    <a:lnTo>
                      <a:pt x="448" y="71"/>
                    </a:lnTo>
                    <a:lnTo>
                      <a:pt x="448" y="83"/>
                    </a:lnTo>
                    <a:lnTo>
                      <a:pt x="470" y="95"/>
                    </a:lnTo>
                    <a:lnTo>
                      <a:pt x="448" y="128"/>
                    </a:lnTo>
                    <a:lnTo>
                      <a:pt x="465" y="116"/>
                    </a:lnTo>
                    <a:lnTo>
                      <a:pt x="481" y="116"/>
                    </a:lnTo>
                    <a:lnTo>
                      <a:pt x="481" y="154"/>
                    </a:lnTo>
                    <a:lnTo>
                      <a:pt x="491" y="165"/>
                    </a:lnTo>
                    <a:lnTo>
                      <a:pt x="491" y="182"/>
                    </a:lnTo>
                    <a:lnTo>
                      <a:pt x="486" y="194"/>
                    </a:lnTo>
                    <a:lnTo>
                      <a:pt x="486" y="227"/>
                    </a:lnTo>
                    <a:lnTo>
                      <a:pt x="491" y="236"/>
                    </a:lnTo>
                    <a:lnTo>
                      <a:pt x="503" y="236"/>
                    </a:lnTo>
                    <a:lnTo>
                      <a:pt x="503" y="248"/>
                    </a:lnTo>
                    <a:lnTo>
                      <a:pt x="519" y="260"/>
                    </a:lnTo>
                    <a:lnTo>
                      <a:pt x="503" y="260"/>
                    </a:lnTo>
                    <a:lnTo>
                      <a:pt x="503" y="276"/>
                    </a:lnTo>
                    <a:lnTo>
                      <a:pt x="519" y="293"/>
                    </a:lnTo>
                    <a:lnTo>
                      <a:pt x="519" y="302"/>
                    </a:lnTo>
                    <a:lnTo>
                      <a:pt x="519" y="302"/>
                    </a:lnTo>
                    <a:lnTo>
                      <a:pt x="507" y="298"/>
                    </a:lnTo>
                    <a:lnTo>
                      <a:pt x="481" y="298"/>
                    </a:lnTo>
                    <a:lnTo>
                      <a:pt x="481" y="319"/>
                    </a:lnTo>
                    <a:lnTo>
                      <a:pt x="491" y="319"/>
                    </a:lnTo>
                    <a:lnTo>
                      <a:pt x="503" y="336"/>
                    </a:lnTo>
                    <a:lnTo>
                      <a:pt x="491" y="331"/>
                    </a:lnTo>
                    <a:lnTo>
                      <a:pt x="481" y="369"/>
                    </a:lnTo>
                    <a:lnTo>
                      <a:pt x="470" y="359"/>
                    </a:lnTo>
                    <a:lnTo>
                      <a:pt x="465" y="369"/>
                    </a:lnTo>
                    <a:lnTo>
                      <a:pt x="453" y="359"/>
                    </a:lnTo>
                    <a:lnTo>
                      <a:pt x="448" y="359"/>
                    </a:lnTo>
                    <a:lnTo>
                      <a:pt x="439" y="385"/>
                    </a:lnTo>
                    <a:lnTo>
                      <a:pt x="415" y="390"/>
                    </a:lnTo>
                    <a:lnTo>
                      <a:pt x="401" y="376"/>
                    </a:lnTo>
                    <a:lnTo>
                      <a:pt x="394" y="385"/>
                    </a:lnTo>
                    <a:lnTo>
                      <a:pt x="401" y="352"/>
                    </a:lnTo>
                    <a:lnTo>
                      <a:pt x="394" y="314"/>
                    </a:lnTo>
                    <a:lnTo>
                      <a:pt x="373" y="298"/>
                    </a:lnTo>
                    <a:lnTo>
                      <a:pt x="340" y="298"/>
                    </a:lnTo>
                    <a:lnTo>
                      <a:pt x="309" y="314"/>
                    </a:lnTo>
                    <a:lnTo>
                      <a:pt x="323" y="281"/>
                    </a:lnTo>
                    <a:lnTo>
                      <a:pt x="318" y="276"/>
                    </a:lnTo>
                    <a:lnTo>
                      <a:pt x="318" y="260"/>
                    </a:lnTo>
                    <a:lnTo>
                      <a:pt x="302" y="260"/>
                    </a:lnTo>
                    <a:lnTo>
                      <a:pt x="309" y="243"/>
                    </a:lnTo>
                    <a:lnTo>
                      <a:pt x="271" y="187"/>
                    </a:lnTo>
                    <a:lnTo>
                      <a:pt x="222" y="187"/>
                    </a:lnTo>
                    <a:lnTo>
                      <a:pt x="222" y="194"/>
                    </a:lnTo>
                    <a:lnTo>
                      <a:pt x="210" y="203"/>
                    </a:lnTo>
                    <a:lnTo>
                      <a:pt x="200" y="194"/>
                    </a:lnTo>
                    <a:lnTo>
                      <a:pt x="184" y="194"/>
                    </a:lnTo>
                    <a:lnTo>
                      <a:pt x="167" y="236"/>
                    </a:lnTo>
                    <a:lnTo>
                      <a:pt x="146" y="243"/>
                    </a:lnTo>
                    <a:lnTo>
                      <a:pt x="141" y="260"/>
                    </a:lnTo>
                    <a:lnTo>
                      <a:pt x="125" y="260"/>
                    </a:lnTo>
                    <a:lnTo>
                      <a:pt x="125" y="248"/>
                    </a:lnTo>
                    <a:lnTo>
                      <a:pt x="108" y="227"/>
                    </a:lnTo>
                    <a:lnTo>
                      <a:pt x="108" y="220"/>
                    </a:lnTo>
                    <a:lnTo>
                      <a:pt x="108" y="227"/>
                    </a:lnTo>
                    <a:lnTo>
                      <a:pt x="104" y="220"/>
                    </a:lnTo>
                    <a:lnTo>
                      <a:pt x="104" y="210"/>
                    </a:lnTo>
                    <a:lnTo>
                      <a:pt x="104" y="203"/>
                    </a:lnTo>
                    <a:lnTo>
                      <a:pt x="104" y="210"/>
                    </a:lnTo>
                    <a:lnTo>
                      <a:pt x="92" y="210"/>
                    </a:lnTo>
                    <a:lnTo>
                      <a:pt x="104" y="194"/>
                    </a:lnTo>
                    <a:lnTo>
                      <a:pt x="87" y="203"/>
                    </a:lnTo>
                    <a:lnTo>
                      <a:pt x="49" y="170"/>
                    </a:lnTo>
                    <a:lnTo>
                      <a:pt x="37" y="154"/>
                    </a:lnTo>
                    <a:lnTo>
                      <a:pt x="33" y="154"/>
                    </a:lnTo>
                    <a:lnTo>
                      <a:pt x="37" y="132"/>
                    </a:lnTo>
                    <a:lnTo>
                      <a:pt x="21" y="149"/>
                    </a:lnTo>
                    <a:lnTo>
                      <a:pt x="16" y="128"/>
                    </a:lnTo>
                    <a:lnTo>
                      <a:pt x="21" y="116"/>
                    </a:lnTo>
                    <a:lnTo>
                      <a:pt x="16" y="116"/>
                    </a:lnTo>
                    <a:lnTo>
                      <a:pt x="4" y="132"/>
                    </a:lnTo>
                    <a:lnTo>
                      <a:pt x="0" y="132"/>
                    </a:lnTo>
                    <a:lnTo>
                      <a:pt x="0" y="128"/>
                    </a:lnTo>
                    <a:lnTo>
                      <a:pt x="0" y="128"/>
                    </a:lnTo>
                    <a:lnTo>
                      <a:pt x="0" y="12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0" name="Freeform 460">
                <a:extLst>
                  <a:ext uri="{FF2B5EF4-FFF2-40B4-BE49-F238E27FC236}">
                    <a16:creationId xmlns:a16="http://schemas.microsoft.com/office/drawing/2014/main" id="{F010C6AC-7076-49E8-9DD6-CEA0F8F12651}"/>
                  </a:ext>
                </a:extLst>
              </p:cNvPr>
              <p:cNvSpPr>
                <a:spLocks/>
              </p:cNvSpPr>
              <p:nvPr/>
            </p:nvSpPr>
            <p:spPr bwMode="gray">
              <a:xfrm>
                <a:off x="7713009" y="3097941"/>
                <a:ext cx="9057" cy="8646"/>
              </a:xfrm>
              <a:custGeom>
                <a:avLst/>
                <a:gdLst>
                  <a:gd name="T0" fmla="*/ 22 w 22"/>
                  <a:gd name="T1" fmla="*/ 0 h 21"/>
                  <a:gd name="T2" fmla="*/ 22 w 22"/>
                  <a:gd name="T3" fmla="*/ 0 h 21"/>
                  <a:gd name="T4" fmla="*/ 10 w 22"/>
                  <a:gd name="T5" fmla="*/ 21 h 21"/>
                  <a:gd name="T6" fmla="*/ 0 w 22"/>
                  <a:gd name="T7" fmla="*/ 14 h 21"/>
                  <a:gd name="T8" fmla="*/ 22 w 22"/>
                  <a:gd name="T9" fmla="*/ 0 h 21"/>
                  <a:gd name="T10" fmla="*/ 22 w 22"/>
                  <a:gd name="T11" fmla="*/ 0 h 21"/>
                  <a:gd name="T12" fmla="*/ 22 w 2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22" y="0"/>
                    </a:moveTo>
                    <a:lnTo>
                      <a:pt x="22" y="0"/>
                    </a:lnTo>
                    <a:lnTo>
                      <a:pt x="10" y="21"/>
                    </a:lnTo>
                    <a:lnTo>
                      <a:pt x="0" y="14"/>
                    </a:lnTo>
                    <a:lnTo>
                      <a:pt x="22" y="0"/>
                    </a:lnTo>
                    <a:lnTo>
                      <a:pt x="22" y="0"/>
                    </a:lnTo>
                    <a:lnTo>
                      <a:pt x="22" y="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92" name="Freeform 462">
                <a:extLst>
                  <a:ext uri="{FF2B5EF4-FFF2-40B4-BE49-F238E27FC236}">
                    <a16:creationId xmlns:a16="http://schemas.microsoft.com/office/drawing/2014/main" id="{9512DE93-9168-4B02-88AD-D70687148A94}"/>
                  </a:ext>
                </a:extLst>
              </p:cNvPr>
              <p:cNvSpPr>
                <a:spLocks/>
              </p:cNvSpPr>
              <p:nvPr/>
            </p:nvSpPr>
            <p:spPr bwMode="gray">
              <a:xfrm>
                <a:off x="8840161" y="5802503"/>
                <a:ext cx="17702" cy="8646"/>
              </a:xfrm>
              <a:custGeom>
                <a:avLst/>
                <a:gdLst>
                  <a:gd name="T0" fmla="*/ 43 w 43"/>
                  <a:gd name="T1" fmla="*/ 17 h 21"/>
                  <a:gd name="T2" fmla="*/ 14 w 43"/>
                  <a:gd name="T3" fmla="*/ 21 h 21"/>
                  <a:gd name="T4" fmla="*/ 0 w 43"/>
                  <a:gd name="T5" fmla="*/ 0 h 21"/>
                  <a:gd name="T6" fmla="*/ 43 w 43"/>
                  <a:gd name="T7" fmla="*/ 17 h 21"/>
                  <a:gd name="T8" fmla="*/ 43 w 43"/>
                  <a:gd name="T9" fmla="*/ 17 h 21"/>
                  <a:gd name="T10" fmla="*/ 43 w 43"/>
                  <a:gd name="T11" fmla="*/ 17 h 21"/>
                </a:gdLst>
                <a:ahLst/>
                <a:cxnLst>
                  <a:cxn ang="0">
                    <a:pos x="T0" y="T1"/>
                  </a:cxn>
                  <a:cxn ang="0">
                    <a:pos x="T2" y="T3"/>
                  </a:cxn>
                  <a:cxn ang="0">
                    <a:pos x="T4" y="T5"/>
                  </a:cxn>
                  <a:cxn ang="0">
                    <a:pos x="T6" y="T7"/>
                  </a:cxn>
                  <a:cxn ang="0">
                    <a:pos x="T8" y="T9"/>
                  </a:cxn>
                  <a:cxn ang="0">
                    <a:pos x="T10" y="T11"/>
                  </a:cxn>
                </a:cxnLst>
                <a:rect l="0" t="0" r="r" b="b"/>
                <a:pathLst>
                  <a:path w="43" h="21">
                    <a:moveTo>
                      <a:pt x="43" y="17"/>
                    </a:moveTo>
                    <a:lnTo>
                      <a:pt x="14" y="21"/>
                    </a:lnTo>
                    <a:lnTo>
                      <a:pt x="0" y="0"/>
                    </a:lnTo>
                    <a:lnTo>
                      <a:pt x="43" y="17"/>
                    </a:lnTo>
                    <a:lnTo>
                      <a:pt x="43" y="17"/>
                    </a:lnTo>
                    <a:lnTo>
                      <a:pt x="43"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0" name="Freeform 470">
                <a:extLst>
                  <a:ext uri="{FF2B5EF4-FFF2-40B4-BE49-F238E27FC236}">
                    <a16:creationId xmlns:a16="http://schemas.microsoft.com/office/drawing/2014/main" id="{3B346DE1-3345-4536-89DB-02AC70D5BA4E}"/>
                  </a:ext>
                </a:extLst>
              </p:cNvPr>
              <p:cNvSpPr>
                <a:spLocks/>
              </p:cNvSpPr>
              <p:nvPr/>
            </p:nvSpPr>
            <p:spPr bwMode="gray">
              <a:xfrm>
                <a:off x="8815050" y="4277508"/>
                <a:ext cx="3705" cy="6999"/>
              </a:xfrm>
              <a:custGeom>
                <a:avLst/>
                <a:gdLst>
                  <a:gd name="T0" fmla="*/ 9 w 9"/>
                  <a:gd name="T1" fmla="*/ 17 h 17"/>
                  <a:gd name="T2" fmla="*/ 0 w 9"/>
                  <a:gd name="T3" fmla="*/ 12 h 17"/>
                  <a:gd name="T4" fmla="*/ 9 w 9"/>
                  <a:gd name="T5" fmla="*/ 17 h 17"/>
                  <a:gd name="T6" fmla="*/ 9 w 9"/>
                  <a:gd name="T7" fmla="*/ 0 h 17"/>
                  <a:gd name="T8" fmla="*/ 9 w 9"/>
                  <a:gd name="T9" fmla="*/ 12 h 17"/>
                  <a:gd name="T10" fmla="*/ 9 w 9"/>
                  <a:gd name="T11" fmla="*/ 17 h 17"/>
                  <a:gd name="T12" fmla="*/ 9 w 9"/>
                  <a:gd name="T13" fmla="*/ 17 h 17"/>
                  <a:gd name="T14" fmla="*/ 9 w 9"/>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7">
                    <a:moveTo>
                      <a:pt x="9" y="17"/>
                    </a:moveTo>
                    <a:lnTo>
                      <a:pt x="0" y="12"/>
                    </a:lnTo>
                    <a:lnTo>
                      <a:pt x="9" y="17"/>
                    </a:lnTo>
                    <a:lnTo>
                      <a:pt x="9" y="0"/>
                    </a:lnTo>
                    <a:lnTo>
                      <a:pt x="9" y="12"/>
                    </a:lnTo>
                    <a:lnTo>
                      <a:pt x="9" y="17"/>
                    </a:lnTo>
                    <a:lnTo>
                      <a:pt x="9" y="17"/>
                    </a:lnTo>
                    <a:lnTo>
                      <a:pt x="9" y="1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1" name="Freeform 471">
                <a:extLst>
                  <a:ext uri="{FF2B5EF4-FFF2-40B4-BE49-F238E27FC236}">
                    <a16:creationId xmlns:a16="http://schemas.microsoft.com/office/drawing/2014/main" id="{E98ACA6F-DCBE-4119-BE5F-A8B20EF064F6}"/>
                  </a:ext>
                </a:extLst>
              </p:cNvPr>
              <p:cNvSpPr>
                <a:spLocks noEditPoints="1"/>
              </p:cNvSpPr>
              <p:nvPr/>
            </p:nvSpPr>
            <p:spPr bwMode="gray">
              <a:xfrm>
                <a:off x="7995003" y="2821679"/>
                <a:ext cx="560283" cy="484178"/>
              </a:xfrm>
              <a:custGeom>
                <a:avLst/>
                <a:gdLst>
                  <a:gd name="T0" fmla="*/ 1252 w 1361"/>
                  <a:gd name="T1" fmla="*/ 711 h 1176"/>
                  <a:gd name="T2" fmla="*/ 1238 w 1361"/>
                  <a:gd name="T3" fmla="*/ 893 h 1176"/>
                  <a:gd name="T4" fmla="*/ 1323 w 1361"/>
                  <a:gd name="T5" fmla="*/ 933 h 1176"/>
                  <a:gd name="T6" fmla="*/ 1361 w 1361"/>
                  <a:gd name="T7" fmla="*/ 1021 h 1176"/>
                  <a:gd name="T8" fmla="*/ 1297 w 1361"/>
                  <a:gd name="T9" fmla="*/ 1061 h 1176"/>
                  <a:gd name="T10" fmla="*/ 1252 w 1361"/>
                  <a:gd name="T11" fmla="*/ 1094 h 1176"/>
                  <a:gd name="T12" fmla="*/ 1222 w 1361"/>
                  <a:gd name="T13" fmla="*/ 1176 h 1176"/>
                  <a:gd name="T14" fmla="*/ 1163 w 1361"/>
                  <a:gd name="T15" fmla="*/ 1165 h 1176"/>
                  <a:gd name="T16" fmla="*/ 1059 w 1361"/>
                  <a:gd name="T17" fmla="*/ 1155 h 1176"/>
                  <a:gd name="T18" fmla="*/ 983 w 1361"/>
                  <a:gd name="T19" fmla="*/ 1132 h 1176"/>
                  <a:gd name="T20" fmla="*/ 898 w 1361"/>
                  <a:gd name="T21" fmla="*/ 1021 h 1176"/>
                  <a:gd name="T22" fmla="*/ 823 w 1361"/>
                  <a:gd name="T23" fmla="*/ 1028 h 1176"/>
                  <a:gd name="T24" fmla="*/ 730 w 1361"/>
                  <a:gd name="T25" fmla="*/ 1054 h 1176"/>
                  <a:gd name="T26" fmla="*/ 605 w 1361"/>
                  <a:gd name="T27" fmla="*/ 999 h 1176"/>
                  <a:gd name="T28" fmla="*/ 525 w 1361"/>
                  <a:gd name="T29" fmla="*/ 954 h 1176"/>
                  <a:gd name="T30" fmla="*/ 482 w 1361"/>
                  <a:gd name="T31" fmla="*/ 876 h 1176"/>
                  <a:gd name="T32" fmla="*/ 466 w 1361"/>
                  <a:gd name="T33" fmla="*/ 839 h 1176"/>
                  <a:gd name="T34" fmla="*/ 390 w 1361"/>
                  <a:gd name="T35" fmla="*/ 782 h 1176"/>
                  <a:gd name="T36" fmla="*/ 374 w 1361"/>
                  <a:gd name="T37" fmla="*/ 761 h 1176"/>
                  <a:gd name="T38" fmla="*/ 319 w 1361"/>
                  <a:gd name="T39" fmla="*/ 798 h 1176"/>
                  <a:gd name="T40" fmla="*/ 286 w 1361"/>
                  <a:gd name="T41" fmla="*/ 721 h 1176"/>
                  <a:gd name="T42" fmla="*/ 244 w 1361"/>
                  <a:gd name="T43" fmla="*/ 610 h 1176"/>
                  <a:gd name="T44" fmla="*/ 147 w 1361"/>
                  <a:gd name="T45" fmla="*/ 560 h 1176"/>
                  <a:gd name="T46" fmla="*/ 142 w 1361"/>
                  <a:gd name="T47" fmla="*/ 510 h 1176"/>
                  <a:gd name="T48" fmla="*/ 104 w 1361"/>
                  <a:gd name="T49" fmla="*/ 473 h 1176"/>
                  <a:gd name="T50" fmla="*/ 109 w 1361"/>
                  <a:gd name="T51" fmla="*/ 428 h 1176"/>
                  <a:gd name="T52" fmla="*/ 142 w 1361"/>
                  <a:gd name="T53" fmla="*/ 390 h 1176"/>
                  <a:gd name="T54" fmla="*/ 142 w 1361"/>
                  <a:gd name="T55" fmla="*/ 338 h 1176"/>
                  <a:gd name="T56" fmla="*/ 119 w 1361"/>
                  <a:gd name="T57" fmla="*/ 317 h 1176"/>
                  <a:gd name="T58" fmla="*/ 71 w 1361"/>
                  <a:gd name="T59" fmla="*/ 267 h 1176"/>
                  <a:gd name="T60" fmla="*/ 55 w 1361"/>
                  <a:gd name="T61" fmla="*/ 222 h 1176"/>
                  <a:gd name="T62" fmla="*/ 17 w 1361"/>
                  <a:gd name="T63" fmla="*/ 156 h 1176"/>
                  <a:gd name="T64" fmla="*/ 17 w 1361"/>
                  <a:gd name="T65" fmla="*/ 66 h 1176"/>
                  <a:gd name="T66" fmla="*/ 34 w 1361"/>
                  <a:gd name="T67" fmla="*/ 7 h 1176"/>
                  <a:gd name="T68" fmla="*/ 93 w 1361"/>
                  <a:gd name="T69" fmla="*/ 45 h 1176"/>
                  <a:gd name="T70" fmla="*/ 201 w 1361"/>
                  <a:gd name="T71" fmla="*/ 45 h 1176"/>
                  <a:gd name="T72" fmla="*/ 303 w 1361"/>
                  <a:gd name="T73" fmla="*/ 62 h 1176"/>
                  <a:gd name="T74" fmla="*/ 308 w 1361"/>
                  <a:gd name="T75" fmla="*/ 95 h 1176"/>
                  <a:gd name="T76" fmla="*/ 357 w 1361"/>
                  <a:gd name="T77" fmla="*/ 173 h 1176"/>
                  <a:gd name="T78" fmla="*/ 504 w 1361"/>
                  <a:gd name="T79" fmla="*/ 250 h 1176"/>
                  <a:gd name="T80" fmla="*/ 697 w 1361"/>
                  <a:gd name="T81" fmla="*/ 246 h 1176"/>
                  <a:gd name="T82" fmla="*/ 719 w 1361"/>
                  <a:gd name="T83" fmla="*/ 206 h 1176"/>
                  <a:gd name="T84" fmla="*/ 806 w 1361"/>
                  <a:gd name="T85" fmla="*/ 139 h 1176"/>
                  <a:gd name="T86" fmla="*/ 874 w 1361"/>
                  <a:gd name="T87" fmla="*/ 123 h 1176"/>
                  <a:gd name="T88" fmla="*/ 945 w 1361"/>
                  <a:gd name="T89" fmla="*/ 151 h 1176"/>
                  <a:gd name="T90" fmla="*/ 1075 w 1361"/>
                  <a:gd name="T91" fmla="*/ 189 h 1176"/>
                  <a:gd name="T92" fmla="*/ 1205 w 1361"/>
                  <a:gd name="T93" fmla="*/ 262 h 1176"/>
                  <a:gd name="T94" fmla="*/ 1189 w 1361"/>
                  <a:gd name="T95" fmla="*/ 428 h 1176"/>
                  <a:gd name="T96" fmla="*/ 1163 w 1361"/>
                  <a:gd name="T97" fmla="*/ 465 h 1176"/>
                  <a:gd name="T98" fmla="*/ 1184 w 1361"/>
                  <a:gd name="T99" fmla="*/ 617 h 1176"/>
                  <a:gd name="T100" fmla="*/ 865 w 1361"/>
                  <a:gd name="T101" fmla="*/ 1037 h 1176"/>
                  <a:gd name="T102" fmla="*/ 827 w 1361"/>
                  <a:gd name="T103" fmla="*/ 1044 h 1176"/>
                  <a:gd name="T104" fmla="*/ 865 w 1361"/>
                  <a:gd name="T105" fmla="*/ 1037 h 1176"/>
                  <a:gd name="T106" fmla="*/ 823 w 1361"/>
                  <a:gd name="T107" fmla="*/ 1044 h 1176"/>
                  <a:gd name="T108" fmla="*/ 697 w 1361"/>
                  <a:gd name="T109" fmla="*/ 1065 h 1176"/>
                  <a:gd name="T110" fmla="*/ 702 w 1361"/>
                  <a:gd name="T111" fmla="*/ 1065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61" h="1176">
                    <a:moveTo>
                      <a:pt x="1184" y="638"/>
                    </a:moveTo>
                    <a:lnTo>
                      <a:pt x="1184" y="678"/>
                    </a:lnTo>
                    <a:lnTo>
                      <a:pt x="1243" y="687"/>
                    </a:lnTo>
                    <a:lnTo>
                      <a:pt x="1252" y="711"/>
                    </a:lnTo>
                    <a:lnTo>
                      <a:pt x="1243" y="732"/>
                    </a:lnTo>
                    <a:lnTo>
                      <a:pt x="1184" y="806"/>
                    </a:lnTo>
                    <a:lnTo>
                      <a:pt x="1215" y="843"/>
                    </a:lnTo>
                    <a:lnTo>
                      <a:pt x="1238" y="893"/>
                    </a:lnTo>
                    <a:lnTo>
                      <a:pt x="1260" y="910"/>
                    </a:lnTo>
                    <a:lnTo>
                      <a:pt x="1290" y="917"/>
                    </a:lnTo>
                    <a:lnTo>
                      <a:pt x="1307" y="933"/>
                    </a:lnTo>
                    <a:lnTo>
                      <a:pt x="1323" y="933"/>
                    </a:lnTo>
                    <a:lnTo>
                      <a:pt x="1323" y="999"/>
                    </a:lnTo>
                    <a:lnTo>
                      <a:pt x="1323" y="1011"/>
                    </a:lnTo>
                    <a:lnTo>
                      <a:pt x="1349" y="1004"/>
                    </a:lnTo>
                    <a:lnTo>
                      <a:pt x="1361" y="1021"/>
                    </a:lnTo>
                    <a:lnTo>
                      <a:pt x="1349" y="1021"/>
                    </a:lnTo>
                    <a:lnTo>
                      <a:pt x="1345" y="1061"/>
                    </a:lnTo>
                    <a:lnTo>
                      <a:pt x="1323" y="1061"/>
                    </a:lnTo>
                    <a:lnTo>
                      <a:pt x="1297" y="1061"/>
                    </a:lnTo>
                    <a:lnTo>
                      <a:pt x="1281" y="1065"/>
                    </a:lnTo>
                    <a:lnTo>
                      <a:pt x="1281" y="1077"/>
                    </a:lnTo>
                    <a:lnTo>
                      <a:pt x="1276" y="1077"/>
                    </a:lnTo>
                    <a:lnTo>
                      <a:pt x="1252" y="1094"/>
                    </a:lnTo>
                    <a:lnTo>
                      <a:pt x="1252" y="1120"/>
                    </a:lnTo>
                    <a:lnTo>
                      <a:pt x="1243" y="1120"/>
                    </a:lnTo>
                    <a:lnTo>
                      <a:pt x="1238" y="1172"/>
                    </a:lnTo>
                    <a:lnTo>
                      <a:pt x="1222" y="1176"/>
                    </a:lnTo>
                    <a:lnTo>
                      <a:pt x="1167" y="1165"/>
                    </a:lnTo>
                    <a:lnTo>
                      <a:pt x="1163" y="1148"/>
                    </a:lnTo>
                    <a:lnTo>
                      <a:pt x="1151" y="1155"/>
                    </a:lnTo>
                    <a:lnTo>
                      <a:pt x="1163" y="1165"/>
                    </a:lnTo>
                    <a:lnTo>
                      <a:pt x="1146" y="1155"/>
                    </a:lnTo>
                    <a:lnTo>
                      <a:pt x="1097" y="1155"/>
                    </a:lnTo>
                    <a:lnTo>
                      <a:pt x="1092" y="1148"/>
                    </a:lnTo>
                    <a:lnTo>
                      <a:pt x="1059" y="1155"/>
                    </a:lnTo>
                    <a:lnTo>
                      <a:pt x="1042" y="1139"/>
                    </a:lnTo>
                    <a:lnTo>
                      <a:pt x="1011" y="1139"/>
                    </a:lnTo>
                    <a:lnTo>
                      <a:pt x="1000" y="1139"/>
                    </a:lnTo>
                    <a:lnTo>
                      <a:pt x="983" y="1132"/>
                    </a:lnTo>
                    <a:lnTo>
                      <a:pt x="936" y="1120"/>
                    </a:lnTo>
                    <a:lnTo>
                      <a:pt x="929" y="1098"/>
                    </a:lnTo>
                    <a:lnTo>
                      <a:pt x="912" y="1044"/>
                    </a:lnTo>
                    <a:lnTo>
                      <a:pt x="898" y="1021"/>
                    </a:lnTo>
                    <a:lnTo>
                      <a:pt x="891" y="1021"/>
                    </a:lnTo>
                    <a:lnTo>
                      <a:pt x="849" y="1021"/>
                    </a:lnTo>
                    <a:lnTo>
                      <a:pt x="844" y="1028"/>
                    </a:lnTo>
                    <a:lnTo>
                      <a:pt x="823" y="1028"/>
                    </a:lnTo>
                    <a:lnTo>
                      <a:pt x="811" y="1044"/>
                    </a:lnTo>
                    <a:lnTo>
                      <a:pt x="789" y="1044"/>
                    </a:lnTo>
                    <a:lnTo>
                      <a:pt x="756" y="1065"/>
                    </a:lnTo>
                    <a:lnTo>
                      <a:pt x="730" y="1054"/>
                    </a:lnTo>
                    <a:lnTo>
                      <a:pt x="686" y="1054"/>
                    </a:lnTo>
                    <a:lnTo>
                      <a:pt x="660" y="1028"/>
                    </a:lnTo>
                    <a:lnTo>
                      <a:pt x="605" y="1004"/>
                    </a:lnTo>
                    <a:lnTo>
                      <a:pt x="605" y="999"/>
                    </a:lnTo>
                    <a:lnTo>
                      <a:pt x="596" y="983"/>
                    </a:lnTo>
                    <a:lnTo>
                      <a:pt x="567" y="966"/>
                    </a:lnTo>
                    <a:lnTo>
                      <a:pt x="534" y="966"/>
                    </a:lnTo>
                    <a:lnTo>
                      <a:pt x="525" y="954"/>
                    </a:lnTo>
                    <a:lnTo>
                      <a:pt x="497" y="910"/>
                    </a:lnTo>
                    <a:lnTo>
                      <a:pt x="497" y="893"/>
                    </a:lnTo>
                    <a:lnTo>
                      <a:pt x="482" y="876"/>
                    </a:lnTo>
                    <a:lnTo>
                      <a:pt x="482" y="876"/>
                    </a:lnTo>
                    <a:lnTo>
                      <a:pt x="487" y="876"/>
                    </a:lnTo>
                    <a:lnTo>
                      <a:pt x="487" y="872"/>
                    </a:lnTo>
                    <a:lnTo>
                      <a:pt x="466" y="860"/>
                    </a:lnTo>
                    <a:lnTo>
                      <a:pt x="466" y="839"/>
                    </a:lnTo>
                    <a:lnTo>
                      <a:pt x="433" y="798"/>
                    </a:lnTo>
                    <a:lnTo>
                      <a:pt x="428" y="777"/>
                    </a:lnTo>
                    <a:lnTo>
                      <a:pt x="390" y="789"/>
                    </a:lnTo>
                    <a:lnTo>
                      <a:pt x="390" y="782"/>
                    </a:lnTo>
                    <a:lnTo>
                      <a:pt x="357" y="777"/>
                    </a:lnTo>
                    <a:lnTo>
                      <a:pt x="352" y="765"/>
                    </a:lnTo>
                    <a:lnTo>
                      <a:pt x="362" y="765"/>
                    </a:lnTo>
                    <a:lnTo>
                      <a:pt x="374" y="761"/>
                    </a:lnTo>
                    <a:lnTo>
                      <a:pt x="352" y="749"/>
                    </a:lnTo>
                    <a:lnTo>
                      <a:pt x="341" y="765"/>
                    </a:lnTo>
                    <a:lnTo>
                      <a:pt x="352" y="789"/>
                    </a:lnTo>
                    <a:lnTo>
                      <a:pt x="319" y="798"/>
                    </a:lnTo>
                    <a:lnTo>
                      <a:pt x="308" y="798"/>
                    </a:lnTo>
                    <a:lnTo>
                      <a:pt x="308" y="777"/>
                    </a:lnTo>
                    <a:lnTo>
                      <a:pt x="286" y="761"/>
                    </a:lnTo>
                    <a:lnTo>
                      <a:pt x="286" y="721"/>
                    </a:lnTo>
                    <a:lnTo>
                      <a:pt x="265" y="721"/>
                    </a:lnTo>
                    <a:lnTo>
                      <a:pt x="265" y="678"/>
                    </a:lnTo>
                    <a:lnTo>
                      <a:pt x="270" y="654"/>
                    </a:lnTo>
                    <a:lnTo>
                      <a:pt x="244" y="610"/>
                    </a:lnTo>
                    <a:lnTo>
                      <a:pt x="244" y="600"/>
                    </a:lnTo>
                    <a:lnTo>
                      <a:pt x="227" y="600"/>
                    </a:lnTo>
                    <a:lnTo>
                      <a:pt x="173" y="560"/>
                    </a:lnTo>
                    <a:lnTo>
                      <a:pt x="147" y="560"/>
                    </a:lnTo>
                    <a:lnTo>
                      <a:pt x="156" y="539"/>
                    </a:lnTo>
                    <a:lnTo>
                      <a:pt x="142" y="510"/>
                    </a:lnTo>
                    <a:lnTo>
                      <a:pt x="135" y="510"/>
                    </a:lnTo>
                    <a:lnTo>
                      <a:pt x="142" y="510"/>
                    </a:lnTo>
                    <a:lnTo>
                      <a:pt x="135" y="506"/>
                    </a:lnTo>
                    <a:lnTo>
                      <a:pt x="126" y="506"/>
                    </a:lnTo>
                    <a:lnTo>
                      <a:pt x="109" y="482"/>
                    </a:lnTo>
                    <a:lnTo>
                      <a:pt x="104" y="473"/>
                    </a:lnTo>
                    <a:lnTo>
                      <a:pt x="109" y="465"/>
                    </a:lnTo>
                    <a:lnTo>
                      <a:pt x="109" y="449"/>
                    </a:lnTo>
                    <a:lnTo>
                      <a:pt x="104" y="432"/>
                    </a:lnTo>
                    <a:lnTo>
                      <a:pt x="109" y="428"/>
                    </a:lnTo>
                    <a:lnTo>
                      <a:pt x="126" y="432"/>
                    </a:lnTo>
                    <a:lnTo>
                      <a:pt x="119" y="416"/>
                    </a:lnTo>
                    <a:lnTo>
                      <a:pt x="135" y="399"/>
                    </a:lnTo>
                    <a:lnTo>
                      <a:pt x="142" y="390"/>
                    </a:lnTo>
                    <a:lnTo>
                      <a:pt x="156" y="390"/>
                    </a:lnTo>
                    <a:lnTo>
                      <a:pt x="156" y="378"/>
                    </a:lnTo>
                    <a:lnTo>
                      <a:pt x="142" y="354"/>
                    </a:lnTo>
                    <a:lnTo>
                      <a:pt x="142" y="338"/>
                    </a:lnTo>
                    <a:lnTo>
                      <a:pt x="163" y="333"/>
                    </a:lnTo>
                    <a:lnTo>
                      <a:pt x="147" y="321"/>
                    </a:lnTo>
                    <a:lnTo>
                      <a:pt x="126" y="333"/>
                    </a:lnTo>
                    <a:lnTo>
                      <a:pt x="119" y="317"/>
                    </a:lnTo>
                    <a:lnTo>
                      <a:pt x="104" y="317"/>
                    </a:lnTo>
                    <a:lnTo>
                      <a:pt x="93" y="284"/>
                    </a:lnTo>
                    <a:lnTo>
                      <a:pt x="81" y="279"/>
                    </a:lnTo>
                    <a:lnTo>
                      <a:pt x="71" y="267"/>
                    </a:lnTo>
                    <a:lnTo>
                      <a:pt x="81" y="250"/>
                    </a:lnTo>
                    <a:lnTo>
                      <a:pt x="67" y="246"/>
                    </a:lnTo>
                    <a:lnTo>
                      <a:pt x="67" y="227"/>
                    </a:lnTo>
                    <a:lnTo>
                      <a:pt x="55" y="222"/>
                    </a:lnTo>
                    <a:lnTo>
                      <a:pt x="55" y="206"/>
                    </a:lnTo>
                    <a:lnTo>
                      <a:pt x="38" y="194"/>
                    </a:lnTo>
                    <a:lnTo>
                      <a:pt x="50" y="173"/>
                    </a:lnTo>
                    <a:lnTo>
                      <a:pt x="17" y="156"/>
                    </a:lnTo>
                    <a:lnTo>
                      <a:pt x="34" y="118"/>
                    </a:lnTo>
                    <a:lnTo>
                      <a:pt x="29" y="118"/>
                    </a:lnTo>
                    <a:lnTo>
                      <a:pt x="29" y="78"/>
                    </a:lnTo>
                    <a:lnTo>
                      <a:pt x="17" y="66"/>
                    </a:lnTo>
                    <a:lnTo>
                      <a:pt x="17" y="57"/>
                    </a:lnTo>
                    <a:lnTo>
                      <a:pt x="0" y="28"/>
                    </a:lnTo>
                    <a:lnTo>
                      <a:pt x="34" y="28"/>
                    </a:lnTo>
                    <a:lnTo>
                      <a:pt x="34" y="7"/>
                    </a:lnTo>
                    <a:lnTo>
                      <a:pt x="50" y="0"/>
                    </a:lnTo>
                    <a:lnTo>
                      <a:pt x="55" y="7"/>
                    </a:lnTo>
                    <a:lnTo>
                      <a:pt x="81" y="45"/>
                    </a:lnTo>
                    <a:lnTo>
                      <a:pt x="93" y="45"/>
                    </a:lnTo>
                    <a:lnTo>
                      <a:pt x="104" y="62"/>
                    </a:lnTo>
                    <a:lnTo>
                      <a:pt x="156" y="78"/>
                    </a:lnTo>
                    <a:lnTo>
                      <a:pt x="180" y="66"/>
                    </a:lnTo>
                    <a:lnTo>
                      <a:pt x="201" y="45"/>
                    </a:lnTo>
                    <a:lnTo>
                      <a:pt x="282" y="0"/>
                    </a:lnTo>
                    <a:lnTo>
                      <a:pt x="308" y="28"/>
                    </a:lnTo>
                    <a:lnTo>
                      <a:pt x="286" y="40"/>
                    </a:lnTo>
                    <a:lnTo>
                      <a:pt x="303" y="62"/>
                    </a:lnTo>
                    <a:lnTo>
                      <a:pt x="286" y="66"/>
                    </a:lnTo>
                    <a:lnTo>
                      <a:pt x="286" y="78"/>
                    </a:lnTo>
                    <a:lnTo>
                      <a:pt x="303" y="95"/>
                    </a:lnTo>
                    <a:lnTo>
                      <a:pt x="308" y="95"/>
                    </a:lnTo>
                    <a:lnTo>
                      <a:pt x="324" y="118"/>
                    </a:lnTo>
                    <a:lnTo>
                      <a:pt x="341" y="111"/>
                    </a:lnTo>
                    <a:lnTo>
                      <a:pt x="352" y="156"/>
                    </a:lnTo>
                    <a:lnTo>
                      <a:pt x="357" y="173"/>
                    </a:lnTo>
                    <a:lnTo>
                      <a:pt x="378" y="189"/>
                    </a:lnTo>
                    <a:lnTo>
                      <a:pt x="433" y="194"/>
                    </a:lnTo>
                    <a:lnTo>
                      <a:pt x="449" y="222"/>
                    </a:lnTo>
                    <a:lnTo>
                      <a:pt x="504" y="250"/>
                    </a:lnTo>
                    <a:lnTo>
                      <a:pt x="558" y="267"/>
                    </a:lnTo>
                    <a:lnTo>
                      <a:pt x="702" y="234"/>
                    </a:lnTo>
                    <a:lnTo>
                      <a:pt x="676" y="246"/>
                    </a:lnTo>
                    <a:lnTo>
                      <a:pt x="697" y="246"/>
                    </a:lnTo>
                    <a:lnTo>
                      <a:pt x="702" y="246"/>
                    </a:lnTo>
                    <a:lnTo>
                      <a:pt x="702" y="234"/>
                    </a:lnTo>
                    <a:lnTo>
                      <a:pt x="697" y="206"/>
                    </a:lnTo>
                    <a:lnTo>
                      <a:pt x="719" y="206"/>
                    </a:lnTo>
                    <a:lnTo>
                      <a:pt x="752" y="194"/>
                    </a:lnTo>
                    <a:lnTo>
                      <a:pt x="756" y="189"/>
                    </a:lnTo>
                    <a:lnTo>
                      <a:pt x="768" y="168"/>
                    </a:lnTo>
                    <a:lnTo>
                      <a:pt x="806" y="139"/>
                    </a:lnTo>
                    <a:lnTo>
                      <a:pt x="860" y="139"/>
                    </a:lnTo>
                    <a:lnTo>
                      <a:pt x="865" y="139"/>
                    </a:lnTo>
                    <a:lnTo>
                      <a:pt x="865" y="135"/>
                    </a:lnTo>
                    <a:lnTo>
                      <a:pt x="874" y="123"/>
                    </a:lnTo>
                    <a:lnTo>
                      <a:pt x="898" y="123"/>
                    </a:lnTo>
                    <a:lnTo>
                      <a:pt x="919" y="135"/>
                    </a:lnTo>
                    <a:lnTo>
                      <a:pt x="929" y="123"/>
                    </a:lnTo>
                    <a:lnTo>
                      <a:pt x="945" y="151"/>
                    </a:lnTo>
                    <a:lnTo>
                      <a:pt x="1000" y="168"/>
                    </a:lnTo>
                    <a:lnTo>
                      <a:pt x="1004" y="173"/>
                    </a:lnTo>
                    <a:lnTo>
                      <a:pt x="1054" y="173"/>
                    </a:lnTo>
                    <a:lnTo>
                      <a:pt x="1075" y="189"/>
                    </a:lnTo>
                    <a:lnTo>
                      <a:pt x="1092" y="210"/>
                    </a:lnTo>
                    <a:lnTo>
                      <a:pt x="1130" y="227"/>
                    </a:lnTo>
                    <a:lnTo>
                      <a:pt x="1146" y="262"/>
                    </a:lnTo>
                    <a:lnTo>
                      <a:pt x="1205" y="262"/>
                    </a:lnTo>
                    <a:lnTo>
                      <a:pt x="1215" y="345"/>
                    </a:lnTo>
                    <a:lnTo>
                      <a:pt x="1200" y="373"/>
                    </a:lnTo>
                    <a:lnTo>
                      <a:pt x="1200" y="411"/>
                    </a:lnTo>
                    <a:lnTo>
                      <a:pt x="1189" y="428"/>
                    </a:lnTo>
                    <a:lnTo>
                      <a:pt x="1172" y="432"/>
                    </a:lnTo>
                    <a:lnTo>
                      <a:pt x="1184" y="449"/>
                    </a:lnTo>
                    <a:lnTo>
                      <a:pt x="1167" y="449"/>
                    </a:lnTo>
                    <a:lnTo>
                      <a:pt x="1163" y="465"/>
                    </a:lnTo>
                    <a:lnTo>
                      <a:pt x="1163" y="506"/>
                    </a:lnTo>
                    <a:lnTo>
                      <a:pt x="1189" y="510"/>
                    </a:lnTo>
                    <a:lnTo>
                      <a:pt x="1167" y="543"/>
                    </a:lnTo>
                    <a:lnTo>
                      <a:pt x="1184" y="617"/>
                    </a:lnTo>
                    <a:lnTo>
                      <a:pt x="1184" y="638"/>
                    </a:lnTo>
                    <a:lnTo>
                      <a:pt x="1184" y="638"/>
                    </a:lnTo>
                    <a:lnTo>
                      <a:pt x="1184" y="638"/>
                    </a:lnTo>
                    <a:close/>
                    <a:moveTo>
                      <a:pt x="865" y="1037"/>
                    </a:moveTo>
                    <a:lnTo>
                      <a:pt x="844" y="1054"/>
                    </a:lnTo>
                    <a:lnTo>
                      <a:pt x="794" y="1061"/>
                    </a:lnTo>
                    <a:lnTo>
                      <a:pt x="794" y="1054"/>
                    </a:lnTo>
                    <a:lnTo>
                      <a:pt x="827" y="1044"/>
                    </a:lnTo>
                    <a:lnTo>
                      <a:pt x="827" y="1037"/>
                    </a:lnTo>
                    <a:lnTo>
                      <a:pt x="865" y="1037"/>
                    </a:lnTo>
                    <a:lnTo>
                      <a:pt x="865" y="1037"/>
                    </a:lnTo>
                    <a:lnTo>
                      <a:pt x="865" y="1037"/>
                    </a:lnTo>
                    <a:close/>
                    <a:moveTo>
                      <a:pt x="823" y="1044"/>
                    </a:moveTo>
                    <a:lnTo>
                      <a:pt x="823" y="1044"/>
                    </a:lnTo>
                    <a:lnTo>
                      <a:pt x="823" y="1037"/>
                    </a:lnTo>
                    <a:lnTo>
                      <a:pt x="823" y="1044"/>
                    </a:lnTo>
                    <a:lnTo>
                      <a:pt x="823" y="1044"/>
                    </a:lnTo>
                    <a:lnTo>
                      <a:pt x="823" y="1044"/>
                    </a:lnTo>
                    <a:close/>
                    <a:moveTo>
                      <a:pt x="702" y="1065"/>
                    </a:moveTo>
                    <a:lnTo>
                      <a:pt x="697" y="1065"/>
                    </a:lnTo>
                    <a:lnTo>
                      <a:pt x="702" y="1061"/>
                    </a:lnTo>
                    <a:lnTo>
                      <a:pt x="702" y="1065"/>
                    </a:lnTo>
                    <a:lnTo>
                      <a:pt x="702" y="1065"/>
                    </a:lnTo>
                    <a:lnTo>
                      <a:pt x="702" y="106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2" name="Freeform 472">
                <a:extLst>
                  <a:ext uri="{FF2B5EF4-FFF2-40B4-BE49-F238E27FC236}">
                    <a16:creationId xmlns:a16="http://schemas.microsoft.com/office/drawing/2014/main" id="{658E91F4-F9D9-4530-84F9-E350CA8FFFD1}"/>
                  </a:ext>
                </a:extLst>
              </p:cNvPr>
              <p:cNvSpPr>
                <a:spLocks/>
              </p:cNvSpPr>
              <p:nvPr/>
            </p:nvSpPr>
            <p:spPr bwMode="gray">
              <a:xfrm>
                <a:off x="7717948" y="3042360"/>
                <a:ext cx="37050" cy="123515"/>
              </a:xfrm>
              <a:custGeom>
                <a:avLst/>
                <a:gdLst>
                  <a:gd name="T0" fmla="*/ 52 w 90"/>
                  <a:gd name="T1" fmla="*/ 7 h 300"/>
                  <a:gd name="T2" fmla="*/ 73 w 90"/>
                  <a:gd name="T3" fmla="*/ 17 h 300"/>
                  <a:gd name="T4" fmla="*/ 90 w 90"/>
                  <a:gd name="T5" fmla="*/ 0 h 300"/>
                  <a:gd name="T6" fmla="*/ 90 w 90"/>
                  <a:gd name="T7" fmla="*/ 0 h 300"/>
                  <a:gd name="T8" fmla="*/ 90 w 90"/>
                  <a:gd name="T9" fmla="*/ 45 h 300"/>
                  <a:gd name="T10" fmla="*/ 81 w 90"/>
                  <a:gd name="T11" fmla="*/ 45 h 300"/>
                  <a:gd name="T12" fmla="*/ 81 w 90"/>
                  <a:gd name="T13" fmla="*/ 74 h 300"/>
                  <a:gd name="T14" fmla="*/ 59 w 90"/>
                  <a:gd name="T15" fmla="*/ 57 h 300"/>
                  <a:gd name="T16" fmla="*/ 52 w 90"/>
                  <a:gd name="T17" fmla="*/ 62 h 300"/>
                  <a:gd name="T18" fmla="*/ 43 w 90"/>
                  <a:gd name="T19" fmla="*/ 111 h 300"/>
                  <a:gd name="T20" fmla="*/ 59 w 90"/>
                  <a:gd name="T21" fmla="*/ 118 h 300"/>
                  <a:gd name="T22" fmla="*/ 43 w 90"/>
                  <a:gd name="T23" fmla="*/ 128 h 300"/>
                  <a:gd name="T24" fmla="*/ 38 w 90"/>
                  <a:gd name="T25" fmla="*/ 151 h 300"/>
                  <a:gd name="T26" fmla="*/ 52 w 90"/>
                  <a:gd name="T27" fmla="*/ 151 h 300"/>
                  <a:gd name="T28" fmla="*/ 81 w 90"/>
                  <a:gd name="T29" fmla="*/ 140 h 300"/>
                  <a:gd name="T30" fmla="*/ 73 w 90"/>
                  <a:gd name="T31" fmla="*/ 156 h 300"/>
                  <a:gd name="T32" fmla="*/ 73 w 90"/>
                  <a:gd name="T33" fmla="*/ 168 h 300"/>
                  <a:gd name="T34" fmla="*/ 59 w 90"/>
                  <a:gd name="T35" fmla="*/ 222 h 300"/>
                  <a:gd name="T36" fmla="*/ 59 w 90"/>
                  <a:gd name="T37" fmla="*/ 246 h 300"/>
                  <a:gd name="T38" fmla="*/ 43 w 90"/>
                  <a:gd name="T39" fmla="*/ 296 h 300"/>
                  <a:gd name="T40" fmla="*/ 38 w 90"/>
                  <a:gd name="T41" fmla="*/ 300 h 300"/>
                  <a:gd name="T42" fmla="*/ 0 w 90"/>
                  <a:gd name="T43" fmla="*/ 156 h 300"/>
                  <a:gd name="T44" fmla="*/ 10 w 90"/>
                  <a:gd name="T45" fmla="*/ 135 h 300"/>
                  <a:gd name="T46" fmla="*/ 10 w 90"/>
                  <a:gd name="T47" fmla="*/ 135 h 300"/>
                  <a:gd name="T48" fmla="*/ 26 w 90"/>
                  <a:gd name="T49" fmla="*/ 102 h 300"/>
                  <a:gd name="T50" fmla="*/ 43 w 90"/>
                  <a:gd name="T51" fmla="*/ 29 h 300"/>
                  <a:gd name="T52" fmla="*/ 52 w 90"/>
                  <a:gd name="T53" fmla="*/ 29 h 300"/>
                  <a:gd name="T54" fmla="*/ 52 w 90"/>
                  <a:gd name="T55" fmla="*/ 7 h 300"/>
                  <a:gd name="T56" fmla="*/ 52 w 90"/>
                  <a:gd name="T57" fmla="*/ 7 h 300"/>
                  <a:gd name="T58" fmla="*/ 52 w 90"/>
                  <a:gd name="T59" fmla="*/ 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 h="300">
                    <a:moveTo>
                      <a:pt x="52" y="7"/>
                    </a:moveTo>
                    <a:lnTo>
                      <a:pt x="73" y="17"/>
                    </a:lnTo>
                    <a:lnTo>
                      <a:pt x="90" y="0"/>
                    </a:lnTo>
                    <a:lnTo>
                      <a:pt x="90" y="0"/>
                    </a:lnTo>
                    <a:lnTo>
                      <a:pt x="90" y="45"/>
                    </a:lnTo>
                    <a:lnTo>
                      <a:pt x="81" y="45"/>
                    </a:lnTo>
                    <a:lnTo>
                      <a:pt x="81" y="74"/>
                    </a:lnTo>
                    <a:lnTo>
                      <a:pt x="59" y="57"/>
                    </a:lnTo>
                    <a:lnTo>
                      <a:pt x="52" y="62"/>
                    </a:lnTo>
                    <a:lnTo>
                      <a:pt x="43" y="111"/>
                    </a:lnTo>
                    <a:lnTo>
                      <a:pt x="59" y="118"/>
                    </a:lnTo>
                    <a:lnTo>
                      <a:pt x="43" y="128"/>
                    </a:lnTo>
                    <a:lnTo>
                      <a:pt x="38" y="151"/>
                    </a:lnTo>
                    <a:lnTo>
                      <a:pt x="52" y="151"/>
                    </a:lnTo>
                    <a:lnTo>
                      <a:pt x="81" y="140"/>
                    </a:lnTo>
                    <a:lnTo>
                      <a:pt x="73" y="156"/>
                    </a:lnTo>
                    <a:lnTo>
                      <a:pt x="73" y="168"/>
                    </a:lnTo>
                    <a:lnTo>
                      <a:pt x="59" y="222"/>
                    </a:lnTo>
                    <a:lnTo>
                      <a:pt x="59" y="246"/>
                    </a:lnTo>
                    <a:lnTo>
                      <a:pt x="43" y="296"/>
                    </a:lnTo>
                    <a:lnTo>
                      <a:pt x="38" y="300"/>
                    </a:lnTo>
                    <a:lnTo>
                      <a:pt x="0" y="156"/>
                    </a:lnTo>
                    <a:lnTo>
                      <a:pt x="10" y="135"/>
                    </a:lnTo>
                    <a:lnTo>
                      <a:pt x="10" y="135"/>
                    </a:lnTo>
                    <a:lnTo>
                      <a:pt x="26" y="102"/>
                    </a:lnTo>
                    <a:lnTo>
                      <a:pt x="43" y="29"/>
                    </a:lnTo>
                    <a:lnTo>
                      <a:pt x="52" y="29"/>
                    </a:lnTo>
                    <a:lnTo>
                      <a:pt x="52" y="7"/>
                    </a:lnTo>
                    <a:lnTo>
                      <a:pt x="52" y="7"/>
                    </a:lnTo>
                    <a:lnTo>
                      <a:pt x="52" y="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3" name="Freeform 474">
                <a:extLst>
                  <a:ext uri="{FF2B5EF4-FFF2-40B4-BE49-F238E27FC236}">
                    <a16:creationId xmlns:a16="http://schemas.microsoft.com/office/drawing/2014/main" id="{AE695B2E-7A6D-41A2-9913-984D6D85F24F}"/>
                  </a:ext>
                </a:extLst>
              </p:cNvPr>
              <p:cNvSpPr>
                <a:spLocks noEditPoints="1"/>
              </p:cNvSpPr>
              <p:nvPr/>
            </p:nvSpPr>
            <p:spPr bwMode="gray">
              <a:xfrm>
                <a:off x="6477999" y="3745570"/>
                <a:ext cx="175371" cy="189801"/>
              </a:xfrm>
              <a:custGeom>
                <a:avLst/>
                <a:gdLst>
                  <a:gd name="T0" fmla="*/ 69 w 426"/>
                  <a:gd name="T1" fmla="*/ 421 h 461"/>
                  <a:gd name="T2" fmla="*/ 81 w 426"/>
                  <a:gd name="T3" fmla="*/ 383 h 461"/>
                  <a:gd name="T4" fmla="*/ 86 w 426"/>
                  <a:gd name="T5" fmla="*/ 350 h 461"/>
                  <a:gd name="T6" fmla="*/ 48 w 426"/>
                  <a:gd name="T7" fmla="*/ 326 h 461"/>
                  <a:gd name="T8" fmla="*/ 0 w 426"/>
                  <a:gd name="T9" fmla="*/ 305 h 461"/>
                  <a:gd name="T10" fmla="*/ 26 w 426"/>
                  <a:gd name="T11" fmla="*/ 255 h 461"/>
                  <a:gd name="T12" fmla="*/ 15 w 426"/>
                  <a:gd name="T13" fmla="*/ 222 h 461"/>
                  <a:gd name="T14" fmla="*/ 38 w 426"/>
                  <a:gd name="T15" fmla="*/ 194 h 461"/>
                  <a:gd name="T16" fmla="*/ 38 w 426"/>
                  <a:gd name="T17" fmla="*/ 184 h 461"/>
                  <a:gd name="T18" fmla="*/ 26 w 426"/>
                  <a:gd name="T19" fmla="*/ 161 h 461"/>
                  <a:gd name="T20" fmla="*/ 64 w 426"/>
                  <a:gd name="T21" fmla="*/ 168 h 461"/>
                  <a:gd name="T22" fmla="*/ 64 w 426"/>
                  <a:gd name="T23" fmla="*/ 156 h 461"/>
                  <a:gd name="T24" fmla="*/ 48 w 426"/>
                  <a:gd name="T25" fmla="*/ 123 h 461"/>
                  <a:gd name="T26" fmla="*/ 48 w 426"/>
                  <a:gd name="T27" fmla="*/ 111 h 461"/>
                  <a:gd name="T28" fmla="*/ 38 w 426"/>
                  <a:gd name="T29" fmla="*/ 99 h 461"/>
                  <a:gd name="T30" fmla="*/ 31 w 426"/>
                  <a:gd name="T31" fmla="*/ 57 h 461"/>
                  <a:gd name="T32" fmla="*/ 52 w 426"/>
                  <a:gd name="T33" fmla="*/ 45 h 461"/>
                  <a:gd name="T34" fmla="*/ 107 w 426"/>
                  <a:gd name="T35" fmla="*/ 45 h 461"/>
                  <a:gd name="T36" fmla="*/ 140 w 426"/>
                  <a:gd name="T37" fmla="*/ 28 h 461"/>
                  <a:gd name="T38" fmla="*/ 156 w 426"/>
                  <a:gd name="T39" fmla="*/ 12 h 461"/>
                  <a:gd name="T40" fmla="*/ 161 w 426"/>
                  <a:gd name="T41" fmla="*/ 0 h 461"/>
                  <a:gd name="T42" fmla="*/ 173 w 426"/>
                  <a:gd name="T43" fmla="*/ 45 h 461"/>
                  <a:gd name="T44" fmla="*/ 194 w 426"/>
                  <a:gd name="T45" fmla="*/ 28 h 461"/>
                  <a:gd name="T46" fmla="*/ 225 w 426"/>
                  <a:gd name="T47" fmla="*/ 33 h 461"/>
                  <a:gd name="T48" fmla="*/ 253 w 426"/>
                  <a:gd name="T49" fmla="*/ 57 h 461"/>
                  <a:gd name="T50" fmla="*/ 300 w 426"/>
                  <a:gd name="T51" fmla="*/ 83 h 461"/>
                  <a:gd name="T52" fmla="*/ 350 w 426"/>
                  <a:gd name="T53" fmla="*/ 57 h 461"/>
                  <a:gd name="T54" fmla="*/ 409 w 426"/>
                  <a:gd name="T55" fmla="*/ 99 h 461"/>
                  <a:gd name="T56" fmla="*/ 409 w 426"/>
                  <a:gd name="T57" fmla="*/ 123 h 461"/>
                  <a:gd name="T58" fmla="*/ 426 w 426"/>
                  <a:gd name="T59" fmla="*/ 184 h 461"/>
                  <a:gd name="T60" fmla="*/ 393 w 426"/>
                  <a:gd name="T61" fmla="*/ 267 h 461"/>
                  <a:gd name="T62" fmla="*/ 371 w 426"/>
                  <a:gd name="T63" fmla="*/ 293 h 461"/>
                  <a:gd name="T64" fmla="*/ 409 w 426"/>
                  <a:gd name="T65" fmla="*/ 378 h 461"/>
                  <a:gd name="T66" fmla="*/ 393 w 426"/>
                  <a:gd name="T67" fmla="*/ 404 h 461"/>
                  <a:gd name="T68" fmla="*/ 393 w 426"/>
                  <a:gd name="T69" fmla="*/ 404 h 461"/>
                  <a:gd name="T70" fmla="*/ 376 w 426"/>
                  <a:gd name="T71" fmla="*/ 388 h 461"/>
                  <a:gd name="T72" fmla="*/ 371 w 426"/>
                  <a:gd name="T73" fmla="*/ 404 h 461"/>
                  <a:gd name="T74" fmla="*/ 338 w 426"/>
                  <a:gd name="T75" fmla="*/ 399 h 461"/>
                  <a:gd name="T76" fmla="*/ 338 w 426"/>
                  <a:gd name="T77" fmla="*/ 399 h 461"/>
                  <a:gd name="T78" fmla="*/ 263 w 426"/>
                  <a:gd name="T79" fmla="*/ 404 h 461"/>
                  <a:gd name="T80" fmla="*/ 232 w 426"/>
                  <a:gd name="T81" fmla="*/ 399 h 461"/>
                  <a:gd name="T82" fmla="*/ 232 w 426"/>
                  <a:gd name="T83" fmla="*/ 404 h 461"/>
                  <a:gd name="T84" fmla="*/ 253 w 426"/>
                  <a:gd name="T85" fmla="*/ 404 h 461"/>
                  <a:gd name="T86" fmla="*/ 81 w 426"/>
                  <a:gd name="T87" fmla="*/ 461 h 461"/>
                  <a:gd name="T88" fmla="*/ 81 w 426"/>
                  <a:gd name="T89" fmla="*/ 461 h 461"/>
                  <a:gd name="T90" fmla="*/ 305 w 426"/>
                  <a:gd name="T91" fmla="*/ 399 h 461"/>
                  <a:gd name="T92" fmla="*/ 263 w 426"/>
                  <a:gd name="T93" fmla="*/ 404 h 461"/>
                  <a:gd name="T94" fmla="*/ 263 w 426"/>
                  <a:gd name="T95" fmla="*/ 404 h 461"/>
                  <a:gd name="T96" fmla="*/ 388 w 426"/>
                  <a:gd name="T97" fmla="*/ 404 h 461"/>
                  <a:gd name="T98" fmla="*/ 388 w 426"/>
                  <a:gd name="T99" fmla="*/ 404 h 461"/>
                  <a:gd name="T100" fmla="*/ 388 w 426"/>
                  <a:gd name="T101" fmla="*/ 404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6" h="461">
                    <a:moveTo>
                      <a:pt x="81" y="461"/>
                    </a:moveTo>
                    <a:lnTo>
                      <a:pt x="69" y="421"/>
                    </a:lnTo>
                    <a:lnTo>
                      <a:pt x="86" y="388"/>
                    </a:lnTo>
                    <a:lnTo>
                      <a:pt x="81" y="383"/>
                    </a:lnTo>
                    <a:lnTo>
                      <a:pt x="86" y="378"/>
                    </a:lnTo>
                    <a:lnTo>
                      <a:pt x="86" y="350"/>
                    </a:lnTo>
                    <a:lnTo>
                      <a:pt x="52" y="350"/>
                    </a:lnTo>
                    <a:lnTo>
                      <a:pt x="48" y="326"/>
                    </a:lnTo>
                    <a:lnTo>
                      <a:pt x="31" y="326"/>
                    </a:lnTo>
                    <a:lnTo>
                      <a:pt x="0" y="305"/>
                    </a:lnTo>
                    <a:lnTo>
                      <a:pt x="15" y="276"/>
                    </a:lnTo>
                    <a:lnTo>
                      <a:pt x="26" y="255"/>
                    </a:lnTo>
                    <a:lnTo>
                      <a:pt x="10" y="234"/>
                    </a:lnTo>
                    <a:lnTo>
                      <a:pt x="15" y="222"/>
                    </a:lnTo>
                    <a:lnTo>
                      <a:pt x="26" y="234"/>
                    </a:lnTo>
                    <a:lnTo>
                      <a:pt x="38" y="194"/>
                    </a:lnTo>
                    <a:lnTo>
                      <a:pt x="48" y="201"/>
                    </a:lnTo>
                    <a:lnTo>
                      <a:pt x="38" y="184"/>
                    </a:lnTo>
                    <a:lnTo>
                      <a:pt x="26" y="184"/>
                    </a:lnTo>
                    <a:lnTo>
                      <a:pt x="26" y="161"/>
                    </a:lnTo>
                    <a:lnTo>
                      <a:pt x="52" y="161"/>
                    </a:lnTo>
                    <a:lnTo>
                      <a:pt x="64" y="168"/>
                    </a:lnTo>
                    <a:lnTo>
                      <a:pt x="64" y="168"/>
                    </a:lnTo>
                    <a:lnTo>
                      <a:pt x="64" y="156"/>
                    </a:lnTo>
                    <a:lnTo>
                      <a:pt x="48" y="139"/>
                    </a:lnTo>
                    <a:lnTo>
                      <a:pt x="48" y="123"/>
                    </a:lnTo>
                    <a:lnTo>
                      <a:pt x="64" y="123"/>
                    </a:lnTo>
                    <a:lnTo>
                      <a:pt x="48" y="111"/>
                    </a:lnTo>
                    <a:lnTo>
                      <a:pt x="48" y="99"/>
                    </a:lnTo>
                    <a:lnTo>
                      <a:pt x="38" y="99"/>
                    </a:lnTo>
                    <a:lnTo>
                      <a:pt x="31" y="90"/>
                    </a:lnTo>
                    <a:lnTo>
                      <a:pt x="31" y="57"/>
                    </a:lnTo>
                    <a:lnTo>
                      <a:pt x="38" y="45"/>
                    </a:lnTo>
                    <a:lnTo>
                      <a:pt x="52" y="45"/>
                    </a:lnTo>
                    <a:lnTo>
                      <a:pt x="69" y="17"/>
                    </a:lnTo>
                    <a:lnTo>
                      <a:pt x="107" y="45"/>
                    </a:lnTo>
                    <a:lnTo>
                      <a:pt x="119" y="28"/>
                    </a:lnTo>
                    <a:lnTo>
                      <a:pt x="140" y="28"/>
                    </a:lnTo>
                    <a:lnTo>
                      <a:pt x="140" y="0"/>
                    </a:lnTo>
                    <a:lnTo>
                      <a:pt x="156" y="12"/>
                    </a:lnTo>
                    <a:lnTo>
                      <a:pt x="156" y="0"/>
                    </a:lnTo>
                    <a:lnTo>
                      <a:pt x="161" y="0"/>
                    </a:lnTo>
                    <a:lnTo>
                      <a:pt x="173" y="33"/>
                    </a:lnTo>
                    <a:lnTo>
                      <a:pt x="173" y="45"/>
                    </a:lnTo>
                    <a:lnTo>
                      <a:pt x="178" y="45"/>
                    </a:lnTo>
                    <a:lnTo>
                      <a:pt x="194" y="28"/>
                    </a:lnTo>
                    <a:lnTo>
                      <a:pt x="215" y="17"/>
                    </a:lnTo>
                    <a:lnTo>
                      <a:pt x="225" y="33"/>
                    </a:lnTo>
                    <a:lnTo>
                      <a:pt x="241" y="33"/>
                    </a:lnTo>
                    <a:lnTo>
                      <a:pt x="253" y="57"/>
                    </a:lnTo>
                    <a:lnTo>
                      <a:pt x="267" y="73"/>
                    </a:lnTo>
                    <a:lnTo>
                      <a:pt x="300" y="83"/>
                    </a:lnTo>
                    <a:lnTo>
                      <a:pt x="305" y="66"/>
                    </a:lnTo>
                    <a:lnTo>
                      <a:pt x="350" y="57"/>
                    </a:lnTo>
                    <a:lnTo>
                      <a:pt x="376" y="57"/>
                    </a:lnTo>
                    <a:lnTo>
                      <a:pt x="409" y="99"/>
                    </a:lnTo>
                    <a:lnTo>
                      <a:pt x="414" y="90"/>
                    </a:lnTo>
                    <a:lnTo>
                      <a:pt x="409" y="123"/>
                    </a:lnTo>
                    <a:lnTo>
                      <a:pt x="414" y="128"/>
                    </a:lnTo>
                    <a:lnTo>
                      <a:pt x="426" y="184"/>
                    </a:lnTo>
                    <a:lnTo>
                      <a:pt x="409" y="201"/>
                    </a:lnTo>
                    <a:lnTo>
                      <a:pt x="393" y="267"/>
                    </a:lnTo>
                    <a:lnTo>
                      <a:pt x="376" y="288"/>
                    </a:lnTo>
                    <a:lnTo>
                      <a:pt x="371" y="293"/>
                    </a:lnTo>
                    <a:lnTo>
                      <a:pt x="393" y="366"/>
                    </a:lnTo>
                    <a:lnTo>
                      <a:pt x="409" y="378"/>
                    </a:lnTo>
                    <a:lnTo>
                      <a:pt x="409" y="404"/>
                    </a:lnTo>
                    <a:lnTo>
                      <a:pt x="393" y="404"/>
                    </a:lnTo>
                    <a:lnTo>
                      <a:pt x="402" y="399"/>
                    </a:lnTo>
                    <a:lnTo>
                      <a:pt x="393" y="404"/>
                    </a:lnTo>
                    <a:lnTo>
                      <a:pt x="376" y="399"/>
                    </a:lnTo>
                    <a:lnTo>
                      <a:pt x="376" y="388"/>
                    </a:lnTo>
                    <a:lnTo>
                      <a:pt x="371" y="388"/>
                    </a:lnTo>
                    <a:lnTo>
                      <a:pt x="371" y="404"/>
                    </a:lnTo>
                    <a:lnTo>
                      <a:pt x="322" y="399"/>
                    </a:lnTo>
                    <a:lnTo>
                      <a:pt x="338" y="399"/>
                    </a:lnTo>
                    <a:lnTo>
                      <a:pt x="334" y="388"/>
                    </a:lnTo>
                    <a:lnTo>
                      <a:pt x="338" y="399"/>
                    </a:lnTo>
                    <a:lnTo>
                      <a:pt x="284" y="388"/>
                    </a:lnTo>
                    <a:lnTo>
                      <a:pt x="263" y="404"/>
                    </a:lnTo>
                    <a:lnTo>
                      <a:pt x="253" y="399"/>
                    </a:lnTo>
                    <a:lnTo>
                      <a:pt x="232" y="399"/>
                    </a:lnTo>
                    <a:lnTo>
                      <a:pt x="225" y="404"/>
                    </a:lnTo>
                    <a:lnTo>
                      <a:pt x="232" y="404"/>
                    </a:lnTo>
                    <a:lnTo>
                      <a:pt x="232" y="399"/>
                    </a:lnTo>
                    <a:lnTo>
                      <a:pt x="253" y="404"/>
                    </a:lnTo>
                    <a:lnTo>
                      <a:pt x="187" y="416"/>
                    </a:lnTo>
                    <a:lnTo>
                      <a:pt x="81" y="461"/>
                    </a:lnTo>
                    <a:lnTo>
                      <a:pt x="81" y="461"/>
                    </a:lnTo>
                    <a:lnTo>
                      <a:pt x="81" y="461"/>
                    </a:lnTo>
                    <a:close/>
                    <a:moveTo>
                      <a:pt x="263" y="404"/>
                    </a:moveTo>
                    <a:lnTo>
                      <a:pt x="305" y="399"/>
                    </a:lnTo>
                    <a:lnTo>
                      <a:pt x="322" y="399"/>
                    </a:lnTo>
                    <a:lnTo>
                      <a:pt x="263" y="404"/>
                    </a:lnTo>
                    <a:lnTo>
                      <a:pt x="263" y="404"/>
                    </a:lnTo>
                    <a:lnTo>
                      <a:pt x="263" y="404"/>
                    </a:lnTo>
                    <a:close/>
                    <a:moveTo>
                      <a:pt x="388" y="404"/>
                    </a:moveTo>
                    <a:lnTo>
                      <a:pt x="388" y="404"/>
                    </a:lnTo>
                    <a:lnTo>
                      <a:pt x="376" y="404"/>
                    </a:lnTo>
                    <a:lnTo>
                      <a:pt x="388" y="404"/>
                    </a:lnTo>
                    <a:lnTo>
                      <a:pt x="388" y="404"/>
                    </a:lnTo>
                    <a:lnTo>
                      <a:pt x="388" y="40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4" name="Freeform 475">
                <a:extLst>
                  <a:ext uri="{FF2B5EF4-FFF2-40B4-BE49-F238E27FC236}">
                    <a16:creationId xmlns:a16="http://schemas.microsoft.com/office/drawing/2014/main" id="{6ADFE734-F93F-49C4-B931-C3AAF4F9826C}"/>
                  </a:ext>
                </a:extLst>
              </p:cNvPr>
              <p:cNvSpPr>
                <a:spLocks/>
              </p:cNvSpPr>
              <p:nvPr/>
            </p:nvSpPr>
            <p:spPr bwMode="gray">
              <a:xfrm>
                <a:off x="7847213" y="2901552"/>
                <a:ext cx="279112" cy="274203"/>
              </a:xfrm>
              <a:custGeom>
                <a:avLst/>
                <a:gdLst>
                  <a:gd name="T0" fmla="*/ 31 w 678"/>
                  <a:gd name="T1" fmla="*/ 420 h 666"/>
                  <a:gd name="T2" fmla="*/ 15 w 678"/>
                  <a:gd name="T3" fmla="*/ 416 h 666"/>
                  <a:gd name="T4" fmla="*/ 15 w 678"/>
                  <a:gd name="T5" fmla="*/ 399 h 666"/>
                  <a:gd name="T6" fmla="*/ 156 w 678"/>
                  <a:gd name="T7" fmla="*/ 250 h 666"/>
                  <a:gd name="T8" fmla="*/ 171 w 678"/>
                  <a:gd name="T9" fmla="*/ 182 h 666"/>
                  <a:gd name="T10" fmla="*/ 178 w 678"/>
                  <a:gd name="T11" fmla="*/ 127 h 666"/>
                  <a:gd name="T12" fmla="*/ 171 w 678"/>
                  <a:gd name="T13" fmla="*/ 87 h 666"/>
                  <a:gd name="T14" fmla="*/ 208 w 678"/>
                  <a:gd name="T15" fmla="*/ 66 h 666"/>
                  <a:gd name="T16" fmla="*/ 263 w 678"/>
                  <a:gd name="T17" fmla="*/ 28 h 666"/>
                  <a:gd name="T18" fmla="*/ 291 w 678"/>
                  <a:gd name="T19" fmla="*/ 12 h 666"/>
                  <a:gd name="T20" fmla="*/ 338 w 678"/>
                  <a:gd name="T21" fmla="*/ 16 h 666"/>
                  <a:gd name="T22" fmla="*/ 371 w 678"/>
                  <a:gd name="T23" fmla="*/ 12 h 666"/>
                  <a:gd name="T24" fmla="*/ 376 w 678"/>
                  <a:gd name="T25" fmla="*/ 28 h 666"/>
                  <a:gd name="T26" fmla="*/ 409 w 678"/>
                  <a:gd name="T27" fmla="*/ 16 h 666"/>
                  <a:gd name="T28" fmla="*/ 426 w 678"/>
                  <a:gd name="T29" fmla="*/ 33 h 666"/>
                  <a:gd name="T30" fmla="*/ 440 w 678"/>
                  <a:gd name="T31" fmla="*/ 54 h 666"/>
                  <a:gd name="T32" fmla="*/ 440 w 678"/>
                  <a:gd name="T33" fmla="*/ 82 h 666"/>
                  <a:gd name="T34" fmla="*/ 461 w 678"/>
                  <a:gd name="T35" fmla="*/ 123 h 666"/>
                  <a:gd name="T36" fmla="*/ 485 w 678"/>
                  <a:gd name="T37" fmla="*/ 139 h 666"/>
                  <a:gd name="T38" fmla="*/ 522 w 678"/>
                  <a:gd name="T39" fmla="*/ 139 h 666"/>
                  <a:gd name="T40" fmla="*/ 499 w 678"/>
                  <a:gd name="T41" fmla="*/ 160 h 666"/>
                  <a:gd name="T42" fmla="*/ 515 w 678"/>
                  <a:gd name="T43" fmla="*/ 193 h 666"/>
                  <a:gd name="T44" fmla="*/ 494 w 678"/>
                  <a:gd name="T45" fmla="*/ 205 h 666"/>
                  <a:gd name="T46" fmla="*/ 485 w 678"/>
                  <a:gd name="T47" fmla="*/ 238 h 666"/>
                  <a:gd name="T48" fmla="*/ 461 w 678"/>
                  <a:gd name="T49" fmla="*/ 238 h 666"/>
                  <a:gd name="T50" fmla="*/ 468 w 678"/>
                  <a:gd name="T51" fmla="*/ 271 h 666"/>
                  <a:gd name="T52" fmla="*/ 468 w 678"/>
                  <a:gd name="T53" fmla="*/ 288 h 666"/>
                  <a:gd name="T54" fmla="*/ 494 w 678"/>
                  <a:gd name="T55" fmla="*/ 309 h 666"/>
                  <a:gd name="T56" fmla="*/ 494 w 678"/>
                  <a:gd name="T57" fmla="*/ 316 h 666"/>
                  <a:gd name="T58" fmla="*/ 515 w 678"/>
                  <a:gd name="T59" fmla="*/ 342 h 666"/>
                  <a:gd name="T60" fmla="*/ 532 w 678"/>
                  <a:gd name="T61" fmla="*/ 366 h 666"/>
                  <a:gd name="T62" fmla="*/ 603 w 678"/>
                  <a:gd name="T63" fmla="*/ 404 h 666"/>
                  <a:gd name="T64" fmla="*/ 629 w 678"/>
                  <a:gd name="T65" fmla="*/ 460 h 666"/>
                  <a:gd name="T66" fmla="*/ 624 w 678"/>
                  <a:gd name="T67" fmla="*/ 527 h 666"/>
                  <a:gd name="T68" fmla="*/ 645 w 678"/>
                  <a:gd name="T69" fmla="*/ 564 h 666"/>
                  <a:gd name="T70" fmla="*/ 667 w 678"/>
                  <a:gd name="T71" fmla="*/ 604 h 666"/>
                  <a:gd name="T72" fmla="*/ 641 w 678"/>
                  <a:gd name="T73" fmla="*/ 593 h 666"/>
                  <a:gd name="T74" fmla="*/ 586 w 678"/>
                  <a:gd name="T75" fmla="*/ 593 h 666"/>
                  <a:gd name="T76" fmla="*/ 537 w 678"/>
                  <a:gd name="T77" fmla="*/ 666 h 666"/>
                  <a:gd name="T78" fmla="*/ 414 w 678"/>
                  <a:gd name="T79" fmla="*/ 666 h 666"/>
                  <a:gd name="T80" fmla="*/ 182 w 678"/>
                  <a:gd name="T81" fmla="*/ 493 h 666"/>
                  <a:gd name="T82" fmla="*/ 22 w 678"/>
                  <a:gd name="T83" fmla="*/ 427 h 666"/>
                  <a:gd name="T84" fmla="*/ 22 w 678"/>
                  <a:gd name="T85" fmla="*/ 427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8" h="666">
                    <a:moveTo>
                      <a:pt x="22" y="427"/>
                    </a:moveTo>
                    <a:lnTo>
                      <a:pt x="31" y="420"/>
                    </a:lnTo>
                    <a:lnTo>
                      <a:pt x="31" y="416"/>
                    </a:lnTo>
                    <a:lnTo>
                      <a:pt x="15" y="416"/>
                    </a:lnTo>
                    <a:lnTo>
                      <a:pt x="10" y="404"/>
                    </a:lnTo>
                    <a:lnTo>
                      <a:pt x="15" y="399"/>
                    </a:lnTo>
                    <a:lnTo>
                      <a:pt x="0" y="333"/>
                    </a:lnTo>
                    <a:lnTo>
                      <a:pt x="156" y="250"/>
                    </a:lnTo>
                    <a:lnTo>
                      <a:pt x="171" y="215"/>
                    </a:lnTo>
                    <a:lnTo>
                      <a:pt x="171" y="182"/>
                    </a:lnTo>
                    <a:lnTo>
                      <a:pt x="178" y="149"/>
                    </a:lnTo>
                    <a:lnTo>
                      <a:pt x="178" y="127"/>
                    </a:lnTo>
                    <a:lnTo>
                      <a:pt x="171" y="111"/>
                    </a:lnTo>
                    <a:lnTo>
                      <a:pt x="171" y="87"/>
                    </a:lnTo>
                    <a:lnTo>
                      <a:pt x="178" y="71"/>
                    </a:lnTo>
                    <a:lnTo>
                      <a:pt x="208" y="66"/>
                    </a:lnTo>
                    <a:lnTo>
                      <a:pt x="246" y="28"/>
                    </a:lnTo>
                    <a:lnTo>
                      <a:pt x="263" y="28"/>
                    </a:lnTo>
                    <a:lnTo>
                      <a:pt x="279" y="0"/>
                    </a:lnTo>
                    <a:lnTo>
                      <a:pt x="291" y="12"/>
                    </a:lnTo>
                    <a:lnTo>
                      <a:pt x="300" y="0"/>
                    </a:lnTo>
                    <a:lnTo>
                      <a:pt x="338" y="16"/>
                    </a:lnTo>
                    <a:lnTo>
                      <a:pt x="355" y="16"/>
                    </a:lnTo>
                    <a:lnTo>
                      <a:pt x="371" y="12"/>
                    </a:lnTo>
                    <a:lnTo>
                      <a:pt x="376" y="16"/>
                    </a:lnTo>
                    <a:lnTo>
                      <a:pt x="376" y="28"/>
                    </a:lnTo>
                    <a:lnTo>
                      <a:pt x="388" y="38"/>
                    </a:lnTo>
                    <a:lnTo>
                      <a:pt x="409" y="16"/>
                    </a:lnTo>
                    <a:lnTo>
                      <a:pt x="414" y="28"/>
                    </a:lnTo>
                    <a:lnTo>
                      <a:pt x="426" y="33"/>
                    </a:lnTo>
                    <a:lnTo>
                      <a:pt x="426" y="49"/>
                    </a:lnTo>
                    <a:lnTo>
                      <a:pt x="440" y="54"/>
                    </a:lnTo>
                    <a:lnTo>
                      <a:pt x="430" y="71"/>
                    </a:lnTo>
                    <a:lnTo>
                      <a:pt x="440" y="82"/>
                    </a:lnTo>
                    <a:lnTo>
                      <a:pt x="452" y="87"/>
                    </a:lnTo>
                    <a:lnTo>
                      <a:pt x="461" y="123"/>
                    </a:lnTo>
                    <a:lnTo>
                      <a:pt x="478" y="123"/>
                    </a:lnTo>
                    <a:lnTo>
                      <a:pt x="485" y="139"/>
                    </a:lnTo>
                    <a:lnTo>
                      <a:pt x="506" y="127"/>
                    </a:lnTo>
                    <a:lnTo>
                      <a:pt x="522" y="139"/>
                    </a:lnTo>
                    <a:lnTo>
                      <a:pt x="499" y="144"/>
                    </a:lnTo>
                    <a:lnTo>
                      <a:pt x="499" y="160"/>
                    </a:lnTo>
                    <a:lnTo>
                      <a:pt x="515" y="182"/>
                    </a:lnTo>
                    <a:lnTo>
                      <a:pt x="515" y="193"/>
                    </a:lnTo>
                    <a:lnTo>
                      <a:pt x="499" y="193"/>
                    </a:lnTo>
                    <a:lnTo>
                      <a:pt x="494" y="205"/>
                    </a:lnTo>
                    <a:lnTo>
                      <a:pt x="478" y="222"/>
                    </a:lnTo>
                    <a:lnTo>
                      <a:pt x="485" y="238"/>
                    </a:lnTo>
                    <a:lnTo>
                      <a:pt x="468" y="234"/>
                    </a:lnTo>
                    <a:lnTo>
                      <a:pt x="461" y="238"/>
                    </a:lnTo>
                    <a:lnTo>
                      <a:pt x="468" y="255"/>
                    </a:lnTo>
                    <a:lnTo>
                      <a:pt x="468" y="271"/>
                    </a:lnTo>
                    <a:lnTo>
                      <a:pt x="461" y="276"/>
                    </a:lnTo>
                    <a:lnTo>
                      <a:pt x="468" y="288"/>
                    </a:lnTo>
                    <a:lnTo>
                      <a:pt x="485" y="309"/>
                    </a:lnTo>
                    <a:lnTo>
                      <a:pt x="494" y="309"/>
                    </a:lnTo>
                    <a:lnTo>
                      <a:pt x="499" y="316"/>
                    </a:lnTo>
                    <a:lnTo>
                      <a:pt x="494" y="316"/>
                    </a:lnTo>
                    <a:lnTo>
                      <a:pt x="499" y="316"/>
                    </a:lnTo>
                    <a:lnTo>
                      <a:pt x="515" y="342"/>
                    </a:lnTo>
                    <a:lnTo>
                      <a:pt x="506" y="366"/>
                    </a:lnTo>
                    <a:lnTo>
                      <a:pt x="532" y="366"/>
                    </a:lnTo>
                    <a:lnTo>
                      <a:pt x="586" y="404"/>
                    </a:lnTo>
                    <a:lnTo>
                      <a:pt x="603" y="404"/>
                    </a:lnTo>
                    <a:lnTo>
                      <a:pt x="603" y="416"/>
                    </a:lnTo>
                    <a:lnTo>
                      <a:pt x="629" y="460"/>
                    </a:lnTo>
                    <a:lnTo>
                      <a:pt x="624" y="482"/>
                    </a:lnTo>
                    <a:lnTo>
                      <a:pt x="624" y="527"/>
                    </a:lnTo>
                    <a:lnTo>
                      <a:pt x="645" y="527"/>
                    </a:lnTo>
                    <a:lnTo>
                      <a:pt x="645" y="564"/>
                    </a:lnTo>
                    <a:lnTo>
                      <a:pt x="667" y="581"/>
                    </a:lnTo>
                    <a:lnTo>
                      <a:pt x="667" y="604"/>
                    </a:lnTo>
                    <a:lnTo>
                      <a:pt x="678" y="604"/>
                    </a:lnTo>
                    <a:lnTo>
                      <a:pt x="641" y="593"/>
                    </a:lnTo>
                    <a:lnTo>
                      <a:pt x="624" y="593"/>
                    </a:lnTo>
                    <a:lnTo>
                      <a:pt x="586" y="593"/>
                    </a:lnTo>
                    <a:lnTo>
                      <a:pt x="570" y="638"/>
                    </a:lnTo>
                    <a:lnTo>
                      <a:pt x="537" y="666"/>
                    </a:lnTo>
                    <a:lnTo>
                      <a:pt x="537" y="666"/>
                    </a:lnTo>
                    <a:lnTo>
                      <a:pt x="414" y="666"/>
                    </a:lnTo>
                    <a:lnTo>
                      <a:pt x="232" y="510"/>
                    </a:lnTo>
                    <a:lnTo>
                      <a:pt x="182" y="493"/>
                    </a:lnTo>
                    <a:lnTo>
                      <a:pt x="107" y="444"/>
                    </a:lnTo>
                    <a:lnTo>
                      <a:pt x="22" y="427"/>
                    </a:lnTo>
                    <a:lnTo>
                      <a:pt x="22" y="427"/>
                    </a:lnTo>
                    <a:lnTo>
                      <a:pt x="22" y="42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8" name="Freeform 480">
                <a:extLst>
                  <a:ext uri="{FF2B5EF4-FFF2-40B4-BE49-F238E27FC236}">
                    <a16:creationId xmlns:a16="http://schemas.microsoft.com/office/drawing/2014/main" id="{E4BBE93B-A6A6-4C30-ACCF-36F0B9111F08}"/>
                  </a:ext>
                </a:extLst>
              </p:cNvPr>
              <p:cNvSpPr>
                <a:spLocks/>
              </p:cNvSpPr>
              <p:nvPr/>
            </p:nvSpPr>
            <p:spPr bwMode="gray">
              <a:xfrm>
                <a:off x="7735650" y="3037418"/>
                <a:ext cx="123501" cy="138337"/>
              </a:xfrm>
              <a:custGeom>
                <a:avLst/>
                <a:gdLst>
                  <a:gd name="T0" fmla="*/ 38 w 300"/>
                  <a:gd name="T1" fmla="*/ 152 h 336"/>
                  <a:gd name="T2" fmla="*/ 38 w 300"/>
                  <a:gd name="T3" fmla="*/ 90 h 336"/>
                  <a:gd name="T4" fmla="*/ 38 w 300"/>
                  <a:gd name="T5" fmla="*/ 83 h 336"/>
                  <a:gd name="T6" fmla="*/ 38 w 300"/>
                  <a:gd name="T7" fmla="*/ 55 h 336"/>
                  <a:gd name="T8" fmla="*/ 49 w 300"/>
                  <a:gd name="T9" fmla="*/ 55 h 336"/>
                  <a:gd name="T10" fmla="*/ 71 w 300"/>
                  <a:gd name="T11" fmla="*/ 50 h 336"/>
                  <a:gd name="T12" fmla="*/ 75 w 300"/>
                  <a:gd name="T13" fmla="*/ 67 h 336"/>
                  <a:gd name="T14" fmla="*/ 101 w 300"/>
                  <a:gd name="T15" fmla="*/ 83 h 336"/>
                  <a:gd name="T16" fmla="*/ 130 w 300"/>
                  <a:gd name="T17" fmla="*/ 83 h 336"/>
                  <a:gd name="T18" fmla="*/ 269 w 300"/>
                  <a:gd name="T19" fmla="*/ 0 h 336"/>
                  <a:gd name="T20" fmla="*/ 283 w 300"/>
                  <a:gd name="T21" fmla="*/ 67 h 336"/>
                  <a:gd name="T22" fmla="*/ 279 w 300"/>
                  <a:gd name="T23" fmla="*/ 74 h 336"/>
                  <a:gd name="T24" fmla="*/ 283 w 300"/>
                  <a:gd name="T25" fmla="*/ 83 h 336"/>
                  <a:gd name="T26" fmla="*/ 300 w 300"/>
                  <a:gd name="T27" fmla="*/ 83 h 336"/>
                  <a:gd name="T28" fmla="*/ 300 w 300"/>
                  <a:gd name="T29" fmla="*/ 90 h 336"/>
                  <a:gd name="T30" fmla="*/ 290 w 300"/>
                  <a:gd name="T31" fmla="*/ 95 h 336"/>
                  <a:gd name="T32" fmla="*/ 283 w 300"/>
                  <a:gd name="T33" fmla="*/ 107 h 336"/>
                  <a:gd name="T34" fmla="*/ 139 w 300"/>
                  <a:gd name="T35" fmla="*/ 145 h 336"/>
                  <a:gd name="T36" fmla="*/ 210 w 300"/>
                  <a:gd name="T37" fmla="*/ 234 h 336"/>
                  <a:gd name="T38" fmla="*/ 182 w 300"/>
                  <a:gd name="T39" fmla="*/ 239 h 336"/>
                  <a:gd name="T40" fmla="*/ 177 w 300"/>
                  <a:gd name="T41" fmla="*/ 274 h 336"/>
                  <a:gd name="T42" fmla="*/ 123 w 300"/>
                  <a:gd name="T43" fmla="*/ 279 h 336"/>
                  <a:gd name="T44" fmla="*/ 108 w 300"/>
                  <a:gd name="T45" fmla="*/ 312 h 336"/>
                  <a:gd name="T46" fmla="*/ 75 w 300"/>
                  <a:gd name="T47" fmla="*/ 336 h 336"/>
                  <a:gd name="T48" fmla="*/ 0 w 300"/>
                  <a:gd name="T49" fmla="*/ 317 h 336"/>
                  <a:gd name="T50" fmla="*/ 0 w 300"/>
                  <a:gd name="T51" fmla="*/ 308 h 336"/>
                  <a:gd name="T52" fmla="*/ 16 w 300"/>
                  <a:gd name="T53" fmla="*/ 256 h 336"/>
                  <a:gd name="T54" fmla="*/ 16 w 300"/>
                  <a:gd name="T55" fmla="*/ 234 h 336"/>
                  <a:gd name="T56" fmla="*/ 33 w 300"/>
                  <a:gd name="T57" fmla="*/ 178 h 336"/>
                  <a:gd name="T58" fmla="*/ 33 w 300"/>
                  <a:gd name="T59" fmla="*/ 168 h 336"/>
                  <a:gd name="T60" fmla="*/ 38 w 300"/>
                  <a:gd name="T61" fmla="*/ 152 h 336"/>
                  <a:gd name="T62" fmla="*/ 38 w 300"/>
                  <a:gd name="T63" fmla="*/ 152 h 336"/>
                  <a:gd name="T64" fmla="*/ 38 w 300"/>
                  <a:gd name="T65" fmla="*/ 15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336">
                    <a:moveTo>
                      <a:pt x="38" y="152"/>
                    </a:moveTo>
                    <a:lnTo>
                      <a:pt x="38" y="90"/>
                    </a:lnTo>
                    <a:lnTo>
                      <a:pt x="38" y="83"/>
                    </a:lnTo>
                    <a:lnTo>
                      <a:pt x="38" y="55"/>
                    </a:lnTo>
                    <a:lnTo>
                      <a:pt x="49" y="55"/>
                    </a:lnTo>
                    <a:lnTo>
                      <a:pt x="71" y="50"/>
                    </a:lnTo>
                    <a:lnTo>
                      <a:pt x="75" y="67"/>
                    </a:lnTo>
                    <a:lnTo>
                      <a:pt x="101" y="83"/>
                    </a:lnTo>
                    <a:lnTo>
                      <a:pt x="130" y="83"/>
                    </a:lnTo>
                    <a:lnTo>
                      <a:pt x="269" y="0"/>
                    </a:lnTo>
                    <a:lnTo>
                      <a:pt x="283" y="67"/>
                    </a:lnTo>
                    <a:lnTo>
                      <a:pt x="279" y="74"/>
                    </a:lnTo>
                    <a:lnTo>
                      <a:pt x="283" y="83"/>
                    </a:lnTo>
                    <a:lnTo>
                      <a:pt x="300" y="83"/>
                    </a:lnTo>
                    <a:lnTo>
                      <a:pt x="300" y="90"/>
                    </a:lnTo>
                    <a:lnTo>
                      <a:pt x="290" y="95"/>
                    </a:lnTo>
                    <a:lnTo>
                      <a:pt x="283" y="107"/>
                    </a:lnTo>
                    <a:lnTo>
                      <a:pt x="139" y="145"/>
                    </a:lnTo>
                    <a:lnTo>
                      <a:pt x="210" y="234"/>
                    </a:lnTo>
                    <a:lnTo>
                      <a:pt x="182" y="239"/>
                    </a:lnTo>
                    <a:lnTo>
                      <a:pt x="177" y="274"/>
                    </a:lnTo>
                    <a:lnTo>
                      <a:pt x="123" y="279"/>
                    </a:lnTo>
                    <a:lnTo>
                      <a:pt x="108" y="312"/>
                    </a:lnTo>
                    <a:lnTo>
                      <a:pt x="75" y="336"/>
                    </a:lnTo>
                    <a:lnTo>
                      <a:pt x="0" y="317"/>
                    </a:lnTo>
                    <a:lnTo>
                      <a:pt x="0" y="308"/>
                    </a:lnTo>
                    <a:lnTo>
                      <a:pt x="16" y="256"/>
                    </a:lnTo>
                    <a:lnTo>
                      <a:pt x="16" y="234"/>
                    </a:lnTo>
                    <a:lnTo>
                      <a:pt x="33" y="178"/>
                    </a:lnTo>
                    <a:lnTo>
                      <a:pt x="33" y="168"/>
                    </a:lnTo>
                    <a:lnTo>
                      <a:pt x="38" y="152"/>
                    </a:lnTo>
                    <a:lnTo>
                      <a:pt x="38" y="152"/>
                    </a:lnTo>
                    <a:lnTo>
                      <a:pt x="38" y="15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09" name="Freeform 481">
                <a:extLst>
                  <a:ext uri="{FF2B5EF4-FFF2-40B4-BE49-F238E27FC236}">
                    <a16:creationId xmlns:a16="http://schemas.microsoft.com/office/drawing/2014/main" id="{F0B365F8-E41D-453D-B5C6-204521825EFE}"/>
                  </a:ext>
                </a:extLst>
              </p:cNvPr>
              <p:cNvSpPr>
                <a:spLocks noEditPoints="1"/>
              </p:cNvSpPr>
              <p:nvPr/>
            </p:nvSpPr>
            <p:spPr bwMode="gray">
              <a:xfrm>
                <a:off x="7703540" y="3927548"/>
                <a:ext cx="231359" cy="277908"/>
              </a:xfrm>
              <a:custGeom>
                <a:avLst/>
                <a:gdLst>
                  <a:gd name="T0" fmla="*/ 0 w 562"/>
                  <a:gd name="T1" fmla="*/ 408 h 675"/>
                  <a:gd name="T2" fmla="*/ 7 w 562"/>
                  <a:gd name="T3" fmla="*/ 347 h 675"/>
                  <a:gd name="T4" fmla="*/ 0 w 562"/>
                  <a:gd name="T5" fmla="*/ 331 h 675"/>
                  <a:gd name="T6" fmla="*/ 23 w 562"/>
                  <a:gd name="T7" fmla="*/ 290 h 675"/>
                  <a:gd name="T8" fmla="*/ 38 w 562"/>
                  <a:gd name="T9" fmla="*/ 274 h 675"/>
                  <a:gd name="T10" fmla="*/ 45 w 562"/>
                  <a:gd name="T11" fmla="*/ 253 h 675"/>
                  <a:gd name="T12" fmla="*/ 71 w 562"/>
                  <a:gd name="T13" fmla="*/ 241 h 675"/>
                  <a:gd name="T14" fmla="*/ 61 w 562"/>
                  <a:gd name="T15" fmla="*/ 234 h 675"/>
                  <a:gd name="T16" fmla="*/ 75 w 562"/>
                  <a:gd name="T17" fmla="*/ 212 h 675"/>
                  <a:gd name="T18" fmla="*/ 75 w 562"/>
                  <a:gd name="T19" fmla="*/ 196 h 675"/>
                  <a:gd name="T20" fmla="*/ 71 w 562"/>
                  <a:gd name="T21" fmla="*/ 156 h 675"/>
                  <a:gd name="T22" fmla="*/ 61 w 562"/>
                  <a:gd name="T23" fmla="*/ 130 h 675"/>
                  <a:gd name="T24" fmla="*/ 45 w 562"/>
                  <a:gd name="T25" fmla="*/ 123 h 675"/>
                  <a:gd name="T26" fmla="*/ 38 w 562"/>
                  <a:gd name="T27" fmla="*/ 90 h 675"/>
                  <a:gd name="T28" fmla="*/ 38 w 562"/>
                  <a:gd name="T29" fmla="*/ 68 h 675"/>
                  <a:gd name="T30" fmla="*/ 23 w 562"/>
                  <a:gd name="T31" fmla="*/ 57 h 675"/>
                  <a:gd name="T32" fmla="*/ 7 w 562"/>
                  <a:gd name="T33" fmla="*/ 28 h 675"/>
                  <a:gd name="T34" fmla="*/ 38 w 562"/>
                  <a:gd name="T35" fmla="*/ 0 h 675"/>
                  <a:gd name="T36" fmla="*/ 146 w 562"/>
                  <a:gd name="T37" fmla="*/ 0 h 675"/>
                  <a:gd name="T38" fmla="*/ 153 w 562"/>
                  <a:gd name="T39" fmla="*/ 12 h 675"/>
                  <a:gd name="T40" fmla="*/ 222 w 562"/>
                  <a:gd name="T41" fmla="*/ 19 h 675"/>
                  <a:gd name="T42" fmla="*/ 305 w 562"/>
                  <a:gd name="T43" fmla="*/ 73 h 675"/>
                  <a:gd name="T44" fmla="*/ 326 w 562"/>
                  <a:gd name="T45" fmla="*/ 73 h 675"/>
                  <a:gd name="T46" fmla="*/ 394 w 562"/>
                  <a:gd name="T47" fmla="*/ 90 h 675"/>
                  <a:gd name="T48" fmla="*/ 418 w 562"/>
                  <a:gd name="T49" fmla="*/ 52 h 675"/>
                  <a:gd name="T50" fmla="*/ 486 w 562"/>
                  <a:gd name="T51" fmla="*/ 28 h 675"/>
                  <a:gd name="T52" fmla="*/ 510 w 562"/>
                  <a:gd name="T53" fmla="*/ 52 h 675"/>
                  <a:gd name="T54" fmla="*/ 562 w 562"/>
                  <a:gd name="T55" fmla="*/ 45 h 675"/>
                  <a:gd name="T56" fmla="*/ 524 w 562"/>
                  <a:gd name="T57" fmla="*/ 106 h 675"/>
                  <a:gd name="T58" fmla="*/ 503 w 562"/>
                  <a:gd name="T59" fmla="*/ 130 h 675"/>
                  <a:gd name="T60" fmla="*/ 503 w 562"/>
                  <a:gd name="T61" fmla="*/ 401 h 675"/>
                  <a:gd name="T62" fmla="*/ 541 w 562"/>
                  <a:gd name="T63" fmla="*/ 458 h 675"/>
                  <a:gd name="T64" fmla="*/ 524 w 562"/>
                  <a:gd name="T65" fmla="*/ 475 h 675"/>
                  <a:gd name="T66" fmla="*/ 494 w 562"/>
                  <a:gd name="T67" fmla="*/ 479 h 675"/>
                  <a:gd name="T68" fmla="*/ 494 w 562"/>
                  <a:gd name="T69" fmla="*/ 508 h 675"/>
                  <a:gd name="T70" fmla="*/ 486 w 562"/>
                  <a:gd name="T71" fmla="*/ 496 h 675"/>
                  <a:gd name="T72" fmla="*/ 486 w 562"/>
                  <a:gd name="T73" fmla="*/ 508 h 675"/>
                  <a:gd name="T74" fmla="*/ 472 w 562"/>
                  <a:gd name="T75" fmla="*/ 520 h 675"/>
                  <a:gd name="T76" fmla="*/ 465 w 562"/>
                  <a:gd name="T77" fmla="*/ 520 h 675"/>
                  <a:gd name="T78" fmla="*/ 449 w 562"/>
                  <a:gd name="T79" fmla="*/ 529 h 675"/>
                  <a:gd name="T80" fmla="*/ 439 w 562"/>
                  <a:gd name="T81" fmla="*/ 569 h 675"/>
                  <a:gd name="T82" fmla="*/ 423 w 562"/>
                  <a:gd name="T83" fmla="*/ 574 h 675"/>
                  <a:gd name="T84" fmla="*/ 385 w 562"/>
                  <a:gd name="T85" fmla="*/ 675 h 675"/>
                  <a:gd name="T86" fmla="*/ 368 w 562"/>
                  <a:gd name="T87" fmla="*/ 675 h 675"/>
                  <a:gd name="T88" fmla="*/ 260 w 562"/>
                  <a:gd name="T89" fmla="*/ 586 h 675"/>
                  <a:gd name="T90" fmla="*/ 271 w 562"/>
                  <a:gd name="T91" fmla="*/ 574 h 675"/>
                  <a:gd name="T92" fmla="*/ 260 w 562"/>
                  <a:gd name="T93" fmla="*/ 553 h 675"/>
                  <a:gd name="T94" fmla="*/ 0 w 562"/>
                  <a:gd name="T95" fmla="*/ 408 h 675"/>
                  <a:gd name="T96" fmla="*/ 0 w 562"/>
                  <a:gd name="T97" fmla="*/ 408 h 675"/>
                  <a:gd name="T98" fmla="*/ 0 w 562"/>
                  <a:gd name="T99" fmla="*/ 408 h 675"/>
                  <a:gd name="T100" fmla="*/ 503 w 562"/>
                  <a:gd name="T101" fmla="*/ 496 h 675"/>
                  <a:gd name="T102" fmla="*/ 503 w 562"/>
                  <a:gd name="T103" fmla="*/ 491 h 675"/>
                  <a:gd name="T104" fmla="*/ 510 w 562"/>
                  <a:gd name="T105" fmla="*/ 491 h 675"/>
                  <a:gd name="T106" fmla="*/ 503 w 562"/>
                  <a:gd name="T107" fmla="*/ 496 h 675"/>
                  <a:gd name="T108" fmla="*/ 503 w 562"/>
                  <a:gd name="T109" fmla="*/ 496 h 675"/>
                  <a:gd name="T110" fmla="*/ 503 w 562"/>
                  <a:gd name="T111" fmla="*/ 496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2" h="675">
                    <a:moveTo>
                      <a:pt x="0" y="408"/>
                    </a:moveTo>
                    <a:lnTo>
                      <a:pt x="7" y="347"/>
                    </a:lnTo>
                    <a:lnTo>
                      <a:pt x="0" y="331"/>
                    </a:lnTo>
                    <a:lnTo>
                      <a:pt x="23" y="290"/>
                    </a:lnTo>
                    <a:lnTo>
                      <a:pt x="38" y="274"/>
                    </a:lnTo>
                    <a:lnTo>
                      <a:pt x="45" y="253"/>
                    </a:lnTo>
                    <a:lnTo>
                      <a:pt x="71" y="241"/>
                    </a:lnTo>
                    <a:lnTo>
                      <a:pt x="61" y="234"/>
                    </a:lnTo>
                    <a:lnTo>
                      <a:pt x="75" y="212"/>
                    </a:lnTo>
                    <a:lnTo>
                      <a:pt x="75" y="196"/>
                    </a:lnTo>
                    <a:lnTo>
                      <a:pt x="71" y="156"/>
                    </a:lnTo>
                    <a:lnTo>
                      <a:pt x="61" y="130"/>
                    </a:lnTo>
                    <a:lnTo>
                      <a:pt x="45" y="123"/>
                    </a:lnTo>
                    <a:lnTo>
                      <a:pt x="38" y="90"/>
                    </a:lnTo>
                    <a:lnTo>
                      <a:pt x="38" y="68"/>
                    </a:lnTo>
                    <a:lnTo>
                      <a:pt x="23" y="57"/>
                    </a:lnTo>
                    <a:lnTo>
                      <a:pt x="7" y="28"/>
                    </a:lnTo>
                    <a:lnTo>
                      <a:pt x="38" y="0"/>
                    </a:lnTo>
                    <a:lnTo>
                      <a:pt x="146" y="0"/>
                    </a:lnTo>
                    <a:lnTo>
                      <a:pt x="153" y="12"/>
                    </a:lnTo>
                    <a:lnTo>
                      <a:pt x="222" y="19"/>
                    </a:lnTo>
                    <a:lnTo>
                      <a:pt x="305" y="73"/>
                    </a:lnTo>
                    <a:lnTo>
                      <a:pt x="326" y="73"/>
                    </a:lnTo>
                    <a:lnTo>
                      <a:pt x="394" y="90"/>
                    </a:lnTo>
                    <a:lnTo>
                      <a:pt x="418" y="52"/>
                    </a:lnTo>
                    <a:lnTo>
                      <a:pt x="486" y="28"/>
                    </a:lnTo>
                    <a:lnTo>
                      <a:pt x="510" y="52"/>
                    </a:lnTo>
                    <a:lnTo>
                      <a:pt x="562" y="45"/>
                    </a:lnTo>
                    <a:lnTo>
                      <a:pt x="524" y="106"/>
                    </a:lnTo>
                    <a:lnTo>
                      <a:pt x="503" y="130"/>
                    </a:lnTo>
                    <a:lnTo>
                      <a:pt x="503" y="401"/>
                    </a:lnTo>
                    <a:lnTo>
                      <a:pt x="541" y="458"/>
                    </a:lnTo>
                    <a:lnTo>
                      <a:pt x="524" y="475"/>
                    </a:lnTo>
                    <a:lnTo>
                      <a:pt x="494" y="479"/>
                    </a:lnTo>
                    <a:lnTo>
                      <a:pt x="494" y="508"/>
                    </a:lnTo>
                    <a:lnTo>
                      <a:pt x="486" y="496"/>
                    </a:lnTo>
                    <a:lnTo>
                      <a:pt x="486" y="508"/>
                    </a:lnTo>
                    <a:lnTo>
                      <a:pt x="472" y="520"/>
                    </a:lnTo>
                    <a:lnTo>
                      <a:pt x="465" y="520"/>
                    </a:lnTo>
                    <a:lnTo>
                      <a:pt x="449" y="529"/>
                    </a:lnTo>
                    <a:lnTo>
                      <a:pt x="439" y="569"/>
                    </a:lnTo>
                    <a:lnTo>
                      <a:pt x="423" y="574"/>
                    </a:lnTo>
                    <a:lnTo>
                      <a:pt x="385" y="675"/>
                    </a:lnTo>
                    <a:lnTo>
                      <a:pt x="368" y="675"/>
                    </a:lnTo>
                    <a:lnTo>
                      <a:pt x="260" y="586"/>
                    </a:lnTo>
                    <a:lnTo>
                      <a:pt x="271" y="574"/>
                    </a:lnTo>
                    <a:lnTo>
                      <a:pt x="260" y="553"/>
                    </a:lnTo>
                    <a:lnTo>
                      <a:pt x="0" y="408"/>
                    </a:lnTo>
                    <a:lnTo>
                      <a:pt x="0" y="408"/>
                    </a:lnTo>
                    <a:lnTo>
                      <a:pt x="0" y="408"/>
                    </a:lnTo>
                    <a:close/>
                    <a:moveTo>
                      <a:pt x="503" y="496"/>
                    </a:moveTo>
                    <a:lnTo>
                      <a:pt x="503" y="491"/>
                    </a:lnTo>
                    <a:lnTo>
                      <a:pt x="510" y="491"/>
                    </a:lnTo>
                    <a:lnTo>
                      <a:pt x="503" y="496"/>
                    </a:lnTo>
                    <a:lnTo>
                      <a:pt x="503" y="496"/>
                    </a:lnTo>
                    <a:lnTo>
                      <a:pt x="503" y="49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4" name="Freeform 487">
                <a:extLst>
                  <a:ext uri="{FF2B5EF4-FFF2-40B4-BE49-F238E27FC236}">
                    <a16:creationId xmlns:a16="http://schemas.microsoft.com/office/drawing/2014/main" id="{9EC0B2B8-707C-4126-A9E2-1A4A2D8A5A08}"/>
                  </a:ext>
                </a:extLst>
              </p:cNvPr>
              <p:cNvSpPr>
                <a:spLocks noEditPoints="1"/>
              </p:cNvSpPr>
              <p:nvPr/>
            </p:nvSpPr>
            <p:spPr bwMode="gray">
              <a:xfrm>
                <a:off x="8069103" y="3145700"/>
                <a:ext cx="53518" cy="50641"/>
              </a:xfrm>
              <a:custGeom>
                <a:avLst/>
                <a:gdLst>
                  <a:gd name="T0" fmla="*/ 0 w 130"/>
                  <a:gd name="T1" fmla="*/ 73 h 123"/>
                  <a:gd name="T2" fmla="*/ 33 w 130"/>
                  <a:gd name="T3" fmla="*/ 45 h 123"/>
                  <a:gd name="T4" fmla="*/ 50 w 130"/>
                  <a:gd name="T5" fmla="*/ 0 h 123"/>
                  <a:gd name="T6" fmla="*/ 87 w 130"/>
                  <a:gd name="T7" fmla="*/ 0 h 123"/>
                  <a:gd name="T8" fmla="*/ 104 w 130"/>
                  <a:gd name="T9" fmla="*/ 0 h 123"/>
                  <a:gd name="T10" fmla="*/ 118 w 130"/>
                  <a:gd name="T11" fmla="*/ 45 h 123"/>
                  <a:gd name="T12" fmla="*/ 104 w 130"/>
                  <a:gd name="T13" fmla="*/ 33 h 123"/>
                  <a:gd name="T14" fmla="*/ 87 w 130"/>
                  <a:gd name="T15" fmla="*/ 56 h 123"/>
                  <a:gd name="T16" fmla="*/ 109 w 130"/>
                  <a:gd name="T17" fmla="*/ 56 h 123"/>
                  <a:gd name="T18" fmla="*/ 130 w 130"/>
                  <a:gd name="T19" fmla="*/ 123 h 123"/>
                  <a:gd name="T20" fmla="*/ 87 w 130"/>
                  <a:gd name="T21" fmla="*/ 123 h 123"/>
                  <a:gd name="T22" fmla="*/ 66 w 130"/>
                  <a:gd name="T23" fmla="*/ 85 h 123"/>
                  <a:gd name="T24" fmla="*/ 0 w 130"/>
                  <a:gd name="T25" fmla="*/ 73 h 123"/>
                  <a:gd name="T26" fmla="*/ 0 w 130"/>
                  <a:gd name="T27" fmla="*/ 73 h 123"/>
                  <a:gd name="T28" fmla="*/ 0 w 130"/>
                  <a:gd name="T29" fmla="*/ 73 h 123"/>
                  <a:gd name="T30" fmla="*/ 0 w 130"/>
                  <a:gd name="T31" fmla="*/ 73 h 123"/>
                  <a:gd name="T32" fmla="*/ 118 w 130"/>
                  <a:gd name="T33" fmla="*/ 9 h 123"/>
                  <a:gd name="T34" fmla="*/ 130 w 130"/>
                  <a:gd name="T35" fmla="*/ 28 h 123"/>
                  <a:gd name="T36" fmla="*/ 118 w 130"/>
                  <a:gd name="T37" fmla="*/ 45 h 123"/>
                  <a:gd name="T38" fmla="*/ 109 w 130"/>
                  <a:gd name="T39" fmla="*/ 28 h 123"/>
                  <a:gd name="T40" fmla="*/ 109 w 130"/>
                  <a:gd name="T41" fmla="*/ 9 h 123"/>
                  <a:gd name="T42" fmla="*/ 118 w 130"/>
                  <a:gd name="T43" fmla="*/ 9 h 123"/>
                  <a:gd name="T44" fmla="*/ 118 w 130"/>
                  <a:gd name="T45" fmla="*/ 9 h 123"/>
                  <a:gd name="T46" fmla="*/ 118 w 130"/>
                  <a:gd name="T47" fmla="*/ 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123">
                    <a:moveTo>
                      <a:pt x="0" y="73"/>
                    </a:moveTo>
                    <a:lnTo>
                      <a:pt x="33" y="45"/>
                    </a:lnTo>
                    <a:lnTo>
                      <a:pt x="50" y="0"/>
                    </a:lnTo>
                    <a:lnTo>
                      <a:pt x="87" y="0"/>
                    </a:lnTo>
                    <a:lnTo>
                      <a:pt x="104" y="0"/>
                    </a:lnTo>
                    <a:lnTo>
                      <a:pt x="118" y="45"/>
                    </a:lnTo>
                    <a:lnTo>
                      <a:pt x="104" y="33"/>
                    </a:lnTo>
                    <a:lnTo>
                      <a:pt x="87" y="56"/>
                    </a:lnTo>
                    <a:lnTo>
                      <a:pt x="109" y="56"/>
                    </a:lnTo>
                    <a:lnTo>
                      <a:pt x="130" y="123"/>
                    </a:lnTo>
                    <a:lnTo>
                      <a:pt x="87" y="123"/>
                    </a:lnTo>
                    <a:lnTo>
                      <a:pt x="66" y="85"/>
                    </a:lnTo>
                    <a:lnTo>
                      <a:pt x="0" y="73"/>
                    </a:lnTo>
                    <a:lnTo>
                      <a:pt x="0" y="73"/>
                    </a:lnTo>
                    <a:lnTo>
                      <a:pt x="0" y="73"/>
                    </a:lnTo>
                    <a:lnTo>
                      <a:pt x="0" y="73"/>
                    </a:lnTo>
                    <a:close/>
                    <a:moveTo>
                      <a:pt x="118" y="9"/>
                    </a:moveTo>
                    <a:lnTo>
                      <a:pt x="130" y="28"/>
                    </a:lnTo>
                    <a:lnTo>
                      <a:pt x="118" y="45"/>
                    </a:lnTo>
                    <a:lnTo>
                      <a:pt x="109" y="28"/>
                    </a:lnTo>
                    <a:lnTo>
                      <a:pt x="109" y="9"/>
                    </a:lnTo>
                    <a:lnTo>
                      <a:pt x="118" y="9"/>
                    </a:lnTo>
                    <a:lnTo>
                      <a:pt x="118" y="9"/>
                    </a:lnTo>
                    <a:lnTo>
                      <a:pt x="118" y="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17" name="Freeform 490">
                <a:extLst>
                  <a:ext uri="{FF2B5EF4-FFF2-40B4-BE49-F238E27FC236}">
                    <a16:creationId xmlns:a16="http://schemas.microsoft.com/office/drawing/2014/main" id="{164E0F98-3B38-4C6E-9B82-C50752EE0430}"/>
                  </a:ext>
                </a:extLst>
              </p:cNvPr>
              <p:cNvSpPr>
                <a:spLocks/>
              </p:cNvSpPr>
              <p:nvPr/>
            </p:nvSpPr>
            <p:spPr bwMode="gray">
              <a:xfrm>
                <a:off x="7739356" y="2996659"/>
                <a:ext cx="45695" cy="53524"/>
              </a:xfrm>
              <a:custGeom>
                <a:avLst/>
                <a:gdLst>
                  <a:gd name="T0" fmla="*/ 38 w 111"/>
                  <a:gd name="T1" fmla="*/ 111 h 130"/>
                  <a:gd name="T2" fmla="*/ 21 w 111"/>
                  <a:gd name="T3" fmla="*/ 130 h 130"/>
                  <a:gd name="T4" fmla="*/ 0 w 111"/>
                  <a:gd name="T5" fmla="*/ 118 h 130"/>
                  <a:gd name="T6" fmla="*/ 21 w 111"/>
                  <a:gd name="T7" fmla="*/ 57 h 130"/>
                  <a:gd name="T8" fmla="*/ 38 w 111"/>
                  <a:gd name="T9" fmla="*/ 45 h 130"/>
                  <a:gd name="T10" fmla="*/ 38 w 111"/>
                  <a:gd name="T11" fmla="*/ 24 h 130"/>
                  <a:gd name="T12" fmla="*/ 62 w 111"/>
                  <a:gd name="T13" fmla="*/ 5 h 130"/>
                  <a:gd name="T14" fmla="*/ 62 w 111"/>
                  <a:gd name="T15" fmla="*/ 0 h 130"/>
                  <a:gd name="T16" fmla="*/ 95 w 111"/>
                  <a:gd name="T17" fmla="*/ 0 h 130"/>
                  <a:gd name="T18" fmla="*/ 83 w 111"/>
                  <a:gd name="T19" fmla="*/ 5 h 130"/>
                  <a:gd name="T20" fmla="*/ 99 w 111"/>
                  <a:gd name="T21" fmla="*/ 17 h 130"/>
                  <a:gd name="T22" fmla="*/ 111 w 111"/>
                  <a:gd name="T23" fmla="*/ 29 h 130"/>
                  <a:gd name="T24" fmla="*/ 83 w 111"/>
                  <a:gd name="T25" fmla="*/ 57 h 130"/>
                  <a:gd name="T26" fmla="*/ 95 w 111"/>
                  <a:gd name="T27" fmla="*/ 62 h 130"/>
                  <a:gd name="T28" fmla="*/ 66 w 111"/>
                  <a:gd name="T29" fmla="*/ 62 h 130"/>
                  <a:gd name="T30" fmla="*/ 62 w 111"/>
                  <a:gd name="T31" fmla="*/ 78 h 130"/>
                  <a:gd name="T32" fmla="*/ 66 w 111"/>
                  <a:gd name="T33" fmla="*/ 78 h 130"/>
                  <a:gd name="T34" fmla="*/ 38 w 111"/>
                  <a:gd name="T35" fmla="*/ 111 h 130"/>
                  <a:gd name="T36" fmla="*/ 38 w 111"/>
                  <a:gd name="T37" fmla="*/ 111 h 130"/>
                  <a:gd name="T38" fmla="*/ 38 w 111"/>
                  <a:gd name="T39" fmla="*/ 111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1" h="130">
                    <a:moveTo>
                      <a:pt x="38" y="111"/>
                    </a:moveTo>
                    <a:lnTo>
                      <a:pt x="21" y="130"/>
                    </a:lnTo>
                    <a:lnTo>
                      <a:pt x="0" y="118"/>
                    </a:lnTo>
                    <a:lnTo>
                      <a:pt x="21" y="57"/>
                    </a:lnTo>
                    <a:lnTo>
                      <a:pt x="38" y="45"/>
                    </a:lnTo>
                    <a:lnTo>
                      <a:pt x="38" y="24"/>
                    </a:lnTo>
                    <a:lnTo>
                      <a:pt x="62" y="5"/>
                    </a:lnTo>
                    <a:lnTo>
                      <a:pt x="62" y="0"/>
                    </a:lnTo>
                    <a:lnTo>
                      <a:pt x="95" y="0"/>
                    </a:lnTo>
                    <a:lnTo>
                      <a:pt x="83" y="5"/>
                    </a:lnTo>
                    <a:lnTo>
                      <a:pt x="99" y="17"/>
                    </a:lnTo>
                    <a:lnTo>
                      <a:pt x="111" y="29"/>
                    </a:lnTo>
                    <a:lnTo>
                      <a:pt x="83" y="57"/>
                    </a:lnTo>
                    <a:lnTo>
                      <a:pt x="95" y="62"/>
                    </a:lnTo>
                    <a:lnTo>
                      <a:pt x="66" y="62"/>
                    </a:lnTo>
                    <a:lnTo>
                      <a:pt x="62" y="78"/>
                    </a:lnTo>
                    <a:lnTo>
                      <a:pt x="66" y="78"/>
                    </a:lnTo>
                    <a:lnTo>
                      <a:pt x="38" y="111"/>
                    </a:lnTo>
                    <a:lnTo>
                      <a:pt x="38" y="111"/>
                    </a:lnTo>
                    <a:lnTo>
                      <a:pt x="38" y="11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39" name="Freeform 493">
                <a:extLst>
                  <a:ext uri="{FF2B5EF4-FFF2-40B4-BE49-F238E27FC236}">
                    <a16:creationId xmlns:a16="http://schemas.microsoft.com/office/drawing/2014/main" id="{85936226-D149-4B03-B1EA-3E5B7226FC9B}"/>
                  </a:ext>
                </a:extLst>
              </p:cNvPr>
              <p:cNvSpPr>
                <a:spLocks/>
              </p:cNvSpPr>
              <p:nvPr/>
            </p:nvSpPr>
            <p:spPr bwMode="gray">
              <a:xfrm>
                <a:off x="6394430" y="3811857"/>
                <a:ext cx="118973" cy="123515"/>
              </a:xfrm>
              <a:custGeom>
                <a:avLst/>
                <a:gdLst>
                  <a:gd name="T0" fmla="*/ 0 w 289"/>
                  <a:gd name="T1" fmla="*/ 115 h 300"/>
                  <a:gd name="T2" fmla="*/ 12 w 289"/>
                  <a:gd name="T3" fmla="*/ 94 h 300"/>
                  <a:gd name="T4" fmla="*/ 38 w 289"/>
                  <a:gd name="T5" fmla="*/ 71 h 300"/>
                  <a:gd name="T6" fmla="*/ 66 w 289"/>
                  <a:gd name="T7" fmla="*/ 54 h 300"/>
                  <a:gd name="T8" fmla="*/ 66 w 289"/>
                  <a:gd name="T9" fmla="*/ 33 h 300"/>
                  <a:gd name="T10" fmla="*/ 76 w 289"/>
                  <a:gd name="T11" fmla="*/ 21 h 300"/>
                  <a:gd name="T12" fmla="*/ 88 w 289"/>
                  <a:gd name="T13" fmla="*/ 0 h 300"/>
                  <a:gd name="T14" fmla="*/ 121 w 289"/>
                  <a:gd name="T15" fmla="*/ 0 h 300"/>
                  <a:gd name="T16" fmla="*/ 142 w 289"/>
                  <a:gd name="T17" fmla="*/ 16 h 300"/>
                  <a:gd name="T18" fmla="*/ 147 w 289"/>
                  <a:gd name="T19" fmla="*/ 54 h 300"/>
                  <a:gd name="T20" fmla="*/ 142 w 289"/>
                  <a:gd name="T21" fmla="*/ 87 h 300"/>
                  <a:gd name="T22" fmla="*/ 147 w 289"/>
                  <a:gd name="T23" fmla="*/ 75 h 300"/>
                  <a:gd name="T24" fmla="*/ 163 w 289"/>
                  <a:gd name="T25" fmla="*/ 94 h 300"/>
                  <a:gd name="T26" fmla="*/ 185 w 289"/>
                  <a:gd name="T27" fmla="*/ 87 h 300"/>
                  <a:gd name="T28" fmla="*/ 196 w 289"/>
                  <a:gd name="T29" fmla="*/ 59 h 300"/>
                  <a:gd name="T30" fmla="*/ 201 w 289"/>
                  <a:gd name="T31" fmla="*/ 59 h 300"/>
                  <a:gd name="T32" fmla="*/ 213 w 289"/>
                  <a:gd name="T33" fmla="*/ 71 h 300"/>
                  <a:gd name="T34" fmla="*/ 229 w 289"/>
                  <a:gd name="T35" fmla="*/ 94 h 300"/>
                  <a:gd name="T36" fmla="*/ 218 w 289"/>
                  <a:gd name="T37" fmla="*/ 115 h 300"/>
                  <a:gd name="T38" fmla="*/ 201 w 289"/>
                  <a:gd name="T39" fmla="*/ 144 h 300"/>
                  <a:gd name="T40" fmla="*/ 234 w 289"/>
                  <a:gd name="T41" fmla="*/ 165 h 300"/>
                  <a:gd name="T42" fmla="*/ 251 w 289"/>
                  <a:gd name="T43" fmla="*/ 165 h 300"/>
                  <a:gd name="T44" fmla="*/ 255 w 289"/>
                  <a:gd name="T45" fmla="*/ 189 h 300"/>
                  <a:gd name="T46" fmla="*/ 289 w 289"/>
                  <a:gd name="T47" fmla="*/ 189 h 300"/>
                  <a:gd name="T48" fmla="*/ 289 w 289"/>
                  <a:gd name="T49" fmla="*/ 215 h 300"/>
                  <a:gd name="T50" fmla="*/ 284 w 289"/>
                  <a:gd name="T51" fmla="*/ 222 h 300"/>
                  <a:gd name="T52" fmla="*/ 289 w 289"/>
                  <a:gd name="T53" fmla="*/ 227 h 300"/>
                  <a:gd name="T54" fmla="*/ 272 w 289"/>
                  <a:gd name="T55" fmla="*/ 260 h 300"/>
                  <a:gd name="T56" fmla="*/ 284 w 289"/>
                  <a:gd name="T57" fmla="*/ 300 h 300"/>
                  <a:gd name="T58" fmla="*/ 229 w 289"/>
                  <a:gd name="T59" fmla="*/ 283 h 300"/>
                  <a:gd name="T60" fmla="*/ 163 w 289"/>
                  <a:gd name="T61" fmla="*/ 255 h 300"/>
                  <a:gd name="T62" fmla="*/ 76 w 289"/>
                  <a:gd name="T63" fmla="*/ 165 h 300"/>
                  <a:gd name="T64" fmla="*/ 50 w 289"/>
                  <a:gd name="T65" fmla="*/ 165 h 300"/>
                  <a:gd name="T66" fmla="*/ 38 w 289"/>
                  <a:gd name="T67" fmla="*/ 149 h 300"/>
                  <a:gd name="T68" fmla="*/ 12 w 289"/>
                  <a:gd name="T69" fmla="*/ 132 h 300"/>
                  <a:gd name="T70" fmla="*/ 0 w 289"/>
                  <a:gd name="T71" fmla="*/ 115 h 300"/>
                  <a:gd name="T72" fmla="*/ 0 w 289"/>
                  <a:gd name="T73" fmla="*/ 115 h 300"/>
                  <a:gd name="T74" fmla="*/ 0 w 289"/>
                  <a:gd name="T75" fmla="*/ 11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9" h="300">
                    <a:moveTo>
                      <a:pt x="0" y="115"/>
                    </a:moveTo>
                    <a:lnTo>
                      <a:pt x="12" y="94"/>
                    </a:lnTo>
                    <a:lnTo>
                      <a:pt x="38" y="71"/>
                    </a:lnTo>
                    <a:lnTo>
                      <a:pt x="66" y="54"/>
                    </a:lnTo>
                    <a:lnTo>
                      <a:pt x="66" y="33"/>
                    </a:lnTo>
                    <a:lnTo>
                      <a:pt x="76" y="21"/>
                    </a:lnTo>
                    <a:lnTo>
                      <a:pt x="88" y="0"/>
                    </a:lnTo>
                    <a:lnTo>
                      <a:pt x="121" y="0"/>
                    </a:lnTo>
                    <a:lnTo>
                      <a:pt x="142" y="16"/>
                    </a:lnTo>
                    <a:lnTo>
                      <a:pt x="147" y="54"/>
                    </a:lnTo>
                    <a:lnTo>
                      <a:pt x="142" y="87"/>
                    </a:lnTo>
                    <a:lnTo>
                      <a:pt x="147" y="75"/>
                    </a:lnTo>
                    <a:lnTo>
                      <a:pt x="163" y="94"/>
                    </a:lnTo>
                    <a:lnTo>
                      <a:pt x="185" y="87"/>
                    </a:lnTo>
                    <a:lnTo>
                      <a:pt x="196" y="59"/>
                    </a:lnTo>
                    <a:lnTo>
                      <a:pt x="201" y="59"/>
                    </a:lnTo>
                    <a:lnTo>
                      <a:pt x="213" y="71"/>
                    </a:lnTo>
                    <a:lnTo>
                      <a:pt x="229" y="94"/>
                    </a:lnTo>
                    <a:lnTo>
                      <a:pt x="218" y="115"/>
                    </a:lnTo>
                    <a:lnTo>
                      <a:pt x="201" y="144"/>
                    </a:lnTo>
                    <a:lnTo>
                      <a:pt x="234" y="165"/>
                    </a:lnTo>
                    <a:lnTo>
                      <a:pt x="251" y="165"/>
                    </a:lnTo>
                    <a:lnTo>
                      <a:pt x="255" y="189"/>
                    </a:lnTo>
                    <a:lnTo>
                      <a:pt x="289" y="189"/>
                    </a:lnTo>
                    <a:lnTo>
                      <a:pt x="289" y="215"/>
                    </a:lnTo>
                    <a:lnTo>
                      <a:pt x="284" y="222"/>
                    </a:lnTo>
                    <a:lnTo>
                      <a:pt x="289" y="227"/>
                    </a:lnTo>
                    <a:lnTo>
                      <a:pt x="272" y="260"/>
                    </a:lnTo>
                    <a:lnTo>
                      <a:pt x="284" y="300"/>
                    </a:lnTo>
                    <a:lnTo>
                      <a:pt x="229" y="283"/>
                    </a:lnTo>
                    <a:lnTo>
                      <a:pt x="163" y="255"/>
                    </a:lnTo>
                    <a:lnTo>
                      <a:pt x="76" y="165"/>
                    </a:lnTo>
                    <a:lnTo>
                      <a:pt x="50" y="165"/>
                    </a:lnTo>
                    <a:lnTo>
                      <a:pt x="38" y="149"/>
                    </a:lnTo>
                    <a:lnTo>
                      <a:pt x="12" y="132"/>
                    </a:lnTo>
                    <a:lnTo>
                      <a:pt x="0" y="115"/>
                    </a:lnTo>
                    <a:lnTo>
                      <a:pt x="0" y="115"/>
                    </a:lnTo>
                    <a:lnTo>
                      <a:pt x="0" y="11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2" name="Freeform 496">
                <a:extLst>
                  <a:ext uri="{FF2B5EF4-FFF2-40B4-BE49-F238E27FC236}">
                    <a16:creationId xmlns:a16="http://schemas.microsoft.com/office/drawing/2014/main" id="{A8B8E14E-B713-4783-848F-F1C58A23A65B}"/>
                  </a:ext>
                </a:extLst>
              </p:cNvPr>
              <p:cNvSpPr>
                <a:spLocks/>
              </p:cNvSpPr>
              <p:nvPr/>
            </p:nvSpPr>
            <p:spPr bwMode="gray">
              <a:xfrm>
                <a:off x="7505939" y="4937077"/>
                <a:ext cx="72043" cy="67109"/>
              </a:xfrm>
              <a:custGeom>
                <a:avLst/>
                <a:gdLst>
                  <a:gd name="T0" fmla="*/ 128 w 175"/>
                  <a:gd name="T1" fmla="*/ 12 h 163"/>
                  <a:gd name="T2" fmla="*/ 166 w 175"/>
                  <a:gd name="T3" fmla="*/ 38 h 163"/>
                  <a:gd name="T4" fmla="*/ 175 w 175"/>
                  <a:gd name="T5" fmla="*/ 56 h 163"/>
                  <a:gd name="T6" fmla="*/ 159 w 175"/>
                  <a:gd name="T7" fmla="*/ 73 h 163"/>
                  <a:gd name="T8" fmla="*/ 159 w 175"/>
                  <a:gd name="T9" fmla="*/ 78 h 163"/>
                  <a:gd name="T10" fmla="*/ 149 w 175"/>
                  <a:gd name="T11" fmla="*/ 78 h 163"/>
                  <a:gd name="T12" fmla="*/ 149 w 175"/>
                  <a:gd name="T13" fmla="*/ 106 h 163"/>
                  <a:gd name="T14" fmla="*/ 128 w 175"/>
                  <a:gd name="T15" fmla="*/ 123 h 163"/>
                  <a:gd name="T16" fmla="*/ 95 w 175"/>
                  <a:gd name="T17" fmla="*/ 123 h 163"/>
                  <a:gd name="T18" fmla="*/ 71 w 175"/>
                  <a:gd name="T19" fmla="*/ 163 h 163"/>
                  <a:gd name="T20" fmla="*/ 50 w 175"/>
                  <a:gd name="T21" fmla="*/ 163 h 163"/>
                  <a:gd name="T22" fmla="*/ 29 w 175"/>
                  <a:gd name="T23" fmla="*/ 134 h 163"/>
                  <a:gd name="T24" fmla="*/ 17 w 175"/>
                  <a:gd name="T25" fmla="*/ 111 h 163"/>
                  <a:gd name="T26" fmla="*/ 0 w 175"/>
                  <a:gd name="T27" fmla="*/ 78 h 163"/>
                  <a:gd name="T28" fmla="*/ 17 w 175"/>
                  <a:gd name="T29" fmla="*/ 73 h 163"/>
                  <a:gd name="T30" fmla="*/ 38 w 175"/>
                  <a:gd name="T31" fmla="*/ 33 h 163"/>
                  <a:gd name="T32" fmla="*/ 83 w 175"/>
                  <a:gd name="T33" fmla="*/ 12 h 163"/>
                  <a:gd name="T34" fmla="*/ 111 w 175"/>
                  <a:gd name="T35" fmla="*/ 0 h 163"/>
                  <a:gd name="T36" fmla="*/ 128 w 175"/>
                  <a:gd name="T37" fmla="*/ 12 h 163"/>
                  <a:gd name="T38" fmla="*/ 128 w 175"/>
                  <a:gd name="T39" fmla="*/ 12 h 163"/>
                  <a:gd name="T40" fmla="*/ 128 w 175"/>
                  <a:gd name="T41" fmla="*/ 1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63">
                    <a:moveTo>
                      <a:pt x="128" y="12"/>
                    </a:moveTo>
                    <a:lnTo>
                      <a:pt x="166" y="38"/>
                    </a:lnTo>
                    <a:lnTo>
                      <a:pt x="175" y="56"/>
                    </a:lnTo>
                    <a:lnTo>
                      <a:pt x="159" y="73"/>
                    </a:lnTo>
                    <a:lnTo>
                      <a:pt x="159" y="78"/>
                    </a:lnTo>
                    <a:lnTo>
                      <a:pt x="149" y="78"/>
                    </a:lnTo>
                    <a:lnTo>
                      <a:pt x="149" y="106"/>
                    </a:lnTo>
                    <a:lnTo>
                      <a:pt x="128" y="123"/>
                    </a:lnTo>
                    <a:lnTo>
                      <a:pt x="95" y="123"/>
                    </a:lnTo>
                    <a:lnTo>
                      <a:pt x="71" y="163"/>
                    </a:lnTo>
                    <a:lnTo>
                      <a:pt x="50" y="163"/>
                    </a:lnTo>
                    <a:lnTo>
                      <a:pt x="29" y="134"/>
                    </a:lnTo>
                    <a:lnTo>
                      <a:pt x="17" y="111"/>
                    </a:lnTo>
                    <a:lnTo>
                      <a:pt x="0" y="78"/>
                    </a:lnTo>
                    <a:lnTo>
                      <a:pt x="17" y="73"/>
                    </a:lnTo>
                    <a:lnTo>
                      <a:pt x="38" y="33"/>
                    </a:lnTo>
                    <a:lnTo>
                      <a:pt x="83" y="12"/>
                    </a:lnTo>
                    <a:lnTo>
                      <a:pt x="111" y="0"/>
                    </a:lnTo>
                    <a:lnTo>
                      <a:pt x="128" y="12"/>
                    </a:lnTo>
                    <a:lnTo>
                      <a:pt x="128" y="12"/>
                    </a:lnTo>
                    <a:lnTo>
                      <a:pt x="128" y="1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4" name="Freeform 498">
                <a:extLst>
                  <a:ext uri="{FF2B5EF4-FFF2-40B4-BE49-F238E27FC236}">
                    <a16:creationId xmlns:a16="http://schemas.microsoft.com/office/drawing/2014/main" id="{CBC7C7C3-BDDA-4B79-94E9-CFB288D694DA}"/>
                  </a:ext>
                </a:extLst>
              </p:cNvPr>
              <p:cNvSpPr>
                <a:spLocks/>
              </p:cNvSpPr>
              <p:nvPr/>
            </p:nvSpPr>
            <p:spPr bwMode="gray">
              <a:xfrm>
                <a:off x="6995468" y="3044418"/>
                <a:ext cx="456953" cy="434772"/>
              </a:xfrm>
              <a:custGeom>
                <a:avLst/>
                <a:gdLst>
                  <a:gd name="T0" fmla="*/ 1096 w 1110"/>
                  <a:gd name="T1" fmla="*/ 867 h 1056"/>
                  <a:gd name="T2" fmla="*/ 1025 w 1110"/>
                  <a:gd name="T3" fmla="*/ 1018 h 1056"/>
                  <a:gd name="T4" fmla="*/ 740 w 1110"/>
                  <a:gd name="T5" fmla="*/ 900 h 1056"/>
                  <a:gd name="T6" fmla="*/ 395 w 1110"/>
                  <a:gd name="T7" fmla="*/ 794 h 1056"/>
                  <a:gd name="T8" fmla="*/ 291 w 1110"/>
                  <a:gd name="T9" fmla="*/ 777 h 1056"/>
                  <a:gd name="T10" fmla="*/ 156 w 1110"/>
                  <a:gd name="T11" fmla="*/ 690 h 1056"/>
                  <a:gd name="T12" fmla="*/ 76 w 1110"/>
                  <a:gd name="T13" fmla="*/ 683 h 1056"/>
                  <a:gd name="T14" fmla="*/ 64 w 1110"/>
                  <a:gd name="T15" fmla="*/ 661 h 1056"/>
                  <a:gd name="T16" fmla="*/ 50 w 1110"/>
                  <a:gd name="T17" fmla="*/ 612 h 1056"/>
                  <a:gd name="T18" fmla="*/ 12 w 1110"/>
                  <a:gd name="T19" fmla="*/ 534 h 1056"/>
                  <a:gd name="T20" fmla="*/ 38 w 1110"/>
                  <a:gd name="T21" fmla="*/ 501 h 1056"/>
                  <a:gd name="T22" fmla="*/ 21 w 1110"/>
                  <a:gd name="T23" fmla="*/ 461 h 1056"/>
                  <a:gd name="T24" fmla="*/ 33 w 1110"/>
                  <a:gd name="T25" fmla="*/ 390 h 1056"/>
                  <a:gd name="T26" fmla="*/ 21 w 1110"/>
                  <a:gd name="T27" fmla="*/ 279 h 1056"/>
                  <a:gd name="T28" fmla="*/ 17 w 1110"/>
                  <a:gd name="T29" fmla="*/ 234 h 1056"/>
                  <a:gd name="T30" fmla="*/ 64 w 1110"/>
                  <a:gd name="T31" fmla="*/ 189 h 1056"/>
                  <a:gd name="T32" fmla="*/ 54 w 1110"/>
                  <a:gd name="T33" fmla="*/ 135 h 1056"/>
                  <a:gd name="T34" fmla="*/ 76 w 1110"/>
                  <a:gd name="T35" fmla="*/ 111 h 1056"/>
                  <a:gd name="T36" fmla="*/ 156 w 1110"/>
                  <a:gd name="T37" fmla="*/ 57 h 1056"/>
                  <a:gd name="T38" fmla="*/ 156 w 1110"/>
                  <a:gd name="T39" fmla="*/ 0 h 1056"/>
                  <a:gd name="T40" fmla="*/ 248 w 1110"/>
                  <a:gd name="T41" fmla="*/ 24 h 1056"/>
                  <a:gd name="T42" fmla="*/ 340 w 1110"/>
                  <a:gd name="T43" fmla="*/ 33 h 1056"/>
                  <a:gd name="T44" fmla="*/ 411 w 1110"/>
                  <a:gd name="T45" fmla="*/ 57 h 1056"/>
                  <a:gd name="T46" fmla="*/ 432 w 1110"/>
                  <a:gd name="T47" fmla="*/ 123 h 1056"/>
                  <a:gd name="T48" fmla="*/ 480 w 1110"/>
                  <a:gd name="T49" fmla="*/ 151 h 1056"/>
                  <a:gd name="T50" fmla="*/ 560 w 1110"/>
                  <a:gd name="T51" fmla="*/ 168 h 1056"/>
                  <a:gd name="T52" fmla="*/ 680 w 1110"/>
                  <a:gd name="T53" fmla="*/ 234 h 1056"/>
                  <a:gd name="T54" fmla="*/ 718 w 1110"/>
                  <a:gd name="T55" fmla="*/ 217 h 1056"/>
                  <a:gd name="T56" fmla="*/ 756 w 1110"/>
                  <a:gd name="T57" fmla="*/ 161 h 1056"/>
                  <a:gd name="T58" fmla="*/ 756 w 1110"/>
                  <a:gd name="T59" fmla="*/ 78 h 1056"/>
                  <a:gd name="T60" fmla="*/ 820 w 1110"/>
                  <a:gd name="T61" fmla="*/ 33 h 1056"/>
                  <a:gd name="T62" fmla="*/ 862 w 1110"/>
                  <a:gd name="T63" fmla="*/ 17 h 1056"/>
                  <a:gd name="T64" fmla="*/ 966 w 1110"/>
                  <a:gd name="T65" fmla="*/ 40 h 1056"/>
                  <a:gd name="T66" fmla="*/ 971 w 1110"/>
                  <a:gd name="T67" fmla="*/ 73 h 1056"/>
                  <a:gd name="T68" fmla="*/ 1035 w 1110"/>
                  <a:gd name="T69" fmla="*/ 95 h 1056"/>
                  <a:gd name="T70" fmla="*/ 1110 w 1110"/>
                  <a:gd name="T71" fmla="*/ 123 h 1056"/>
                  <a:gd name="T72" fmla="*/ 1096 w 1110"/>
                  <a:gd name="T73" fmla="*/ 189 h 1056"/>
                  <a:gd name="T74" fmla="*/ 1096 w 1110"/>
                  <a:gd name="T75" fmla="*/ 312 h 1056"/>
                  <a:gd name="T76" fmla="*/ 1096 w 1110"/>
                  <a:gd name="T77" fmla="*/ 43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10" h="1056">
                    <a:moveTo>
                      <a:pt x="1096" y="439"/>
                    </a:moveTo>
                    <a:lnTo>
                      <a:pt x="1096" y="867"/>
                    </a:lnTo>
                    <a:lnTo>
                      <a:pt x="1096" y="1018"/>
                    </a:lnTo>
                    <a:lnTo>
                      <a:pt x="1025" y="1018"/>
                    </a:lnTo>
                    <a:lnTo>
                      <a:pt x="1025" y="1056"/>
                    </a:lnTo>
                    <a:lnTo>
                      <a:pt x="740" y="900"/>
                    </a:lnTo>
                    <a:lnTo>
                      <a:pt x="463" y="761"/>
                    </a:lnTo>
                    <a:lnTo>
                      <a:pt x="395" y="794"/>
                    </a:lnTo>
                    <a:lnTo>
                      <a:pt x="340" y="829"/>
                    </a:lnTo>
                    <a:lnTo>
                      <a:pt x="291" y="777"/>
                    </a:lnTo>
                    <a:lnTo>
                      <a:pt x="184" y="756"/>
                    </a:lnTo>
                    <a:lnTo>
                      <a:pt x="156" y="690"/>
                    </a:lnTo>
                    <a:lnTo>
                      <a:pt x="92" y="678"/>
                    </a:lnTo>
                    <a:lnTo>
                      <a:pt x="76" y="683"/>
                    </a:lnTo>
                    <a:lnTo>
                      <a:pt x="64" y="666"/>
                    </a:lnTo>
                    <a:lnTo>
                      <a:pt x="64" y="661"/>
                    </a:lnTo>
                    <a:lnTo>
                      <a:pt x="50" y="650"/>
                    </a:lnTo>
                    <a:lnTo>
                      <a:pt x="50" y="612"/>
                    </a:lnTo>
                    <a:lnTo>
                      <a:pt x="0" y="550"/>
                    </a:lnTo>
                    <a:lnTo>
                      <a:pt x="12" y="534"/>
                    </a:lnTo>
                    <a:lnTo>
                      <a:pt x="38" y="522"/>
                    </a:lnTo>
                    <a:lnTo>
                      <a:pt x="38" y="501"/>
                    </a:lnTo>
                    <a:lnTo>
                      <a:pt x="38" y="494"/>
                    </a:lnTo>
                    <a:lnTo>
                      <a:pt x="21" y="461"/>
                    </a:lnTo>
                    <a:lnTo>
                      <a:pt x="50" y="423"/>
                    </a:lnTo>
                    <a:lnTo>
                      <a:pt x="33" y="390"/>
                    </a:lnTo>
                    <a:lnTo>
                      <a:pt x="33" y="317"/>
                    </a:lnTo>
                    <a:lnTo>
                      <a:pt x="21" y="279"/>
                    </a:lnTo>
                    <a:lnTo>
                      <a:pt x="0" y="239"/>
                    </a:lnTo>
                    <a:lnTo>
                      <a:pt x="17" y="234"/>
                    </a:lnTo>
                    <a:lnTo>
                      <a:pt x="38" y="222"/>
                    </a:lnTo>
                    <a:lnTo>
                      <a:pt x="64" y="189"/>
                    </a:lnTo>
                    <a:lnTo>
                      <a:pt x="71" y="177"/>
                    </a:lnTo>
                    <a:lnTo>
                      <a:pt x="54" y="135"/>
                    </a:lnTo>
                    <a:lnTo>
                      <a:pt x="71" y="123"/>
                    </a:lnTo>
                    <a:lnTo>
                      <a:pt x="76" y="111"/>
                    </a:lnTo>
                    <a:lnTo>
                      <a:pt x="109" y="78"/>
                    </a:lnTo>
                    <a:lnTo>
                      <a:pt x="156" y="57"/>
                    </a:lnTo>
                    <a:lnTo>
                      <a:pt x="147" y="40"/>
                    </a:lnTo>
                    <a:lnTo>
                      <a:pt x="156" y="0"/>
                    </a:lnTo>
                    <a:lnTo>
                      <a:pt x="210" y="24"/>
                    </a:lnTo>
                    <a:lnTo>
                      <a:pt x="248" y="24"/>
                    </a:lnTo>
                    <a:lnTo>
                      <a:pt x="281" y="17"/>
                    </a:lnTo>
                    <a:lnTo>
                      <a:pt x="340" y="33"/>
                    </a:lnTo>
                    <a:lnTo>
                      <a:pt x="362" y="50"/>
                    </a:lnTo>
                    <a:lnTo>
                      <a:pt x="411" y="57"/>
                    </a:lnTo>
                    <a:lnTo>
                      <a:pt x="425" y="78"/>
                    </a:lnTo>
                    <a:lnTo>
                      <a:pt x="432" y="123"/>
                    </a:lnTo>
                    <a:lnTo>
                      <a:pt x="449" y="144"/>
                    </a:lnTo>
                    <a:lnTo>
                      <a:pt x="480" y="151"/>
                    </a:lnTo>
                    <a:lnTo>
                      <a:pt x="517" y="151"/>
                    </a:lnTo>
                    <a:lnTo>
                      <a:pt x="560" y="168"/>
                    </a:lnTo>
                    <a:lnTo>
                      <a:pt x="614" y="189"/>
                    </a:lnTo>
                    <a:lnTo>
                      <a:pt x="680" y="234"/>
                    </a:lnTo>
                    <a:lnTo>
                      <a:pt x="702" y="234"/>
                    </a:lnTo>
                    <a:lnTo>
                      <a:pt x="718" y="217"/>
                    </a:lnTo>
                    <a:lnTo>
                      <a:pt x="749" y="184"/>
                    </a:lnTo>
                    <a:lnTo>
                      <a:pt x="756" y="161"/>
                    </a:lnTo>
                    <a:lnTo>
                      <a:pt x="740" y="111"/>
                    </a:lnTo>
                    <a:lnTo>
                      <a:pt x="756" y="78"/>
                    </a:lnTo>
                    <a:lnTo>
                      <a:pt x="787" y="50"/>
                    </a:lnTo>
                    <a:lnTo>
                      <a:pt x="820" y="33"/>
                    </a:lnTo>
                    <a:lnTo>
                      <a:pt x="848" y="24"/>
                    </a:lnTo>
                    <a:lnTo>
                      <a:pt x="862" y="17"/>
                    </a:lnTo>
                    <a:lnTo>
                      <a:pt x="912" y="24"/>
                    </a:lnTo>
                    <a:lnTo>
                      <a:pt x="966" y="40"/>
                    </a:lnTo>
                    <a:lnTo>
                      <a:pt x="966" y="66"/>
                    </a:lnTo>
                    <a:lnTo>
                      <a:pt x="971" y="73"/>
                    </a:lnTo>
                    <a:lnTo>
                      <a:pt x="1009" y="78"/>
                    </a:lnTo>
                    <a:lnTo>
                      <a:pt x="1035" y="95"/>
                    </a:lnTo>
                    <a:lnTo>
                      <a:pt x="1096" y="95"/>
                    </a:lnTo>
                    <a:lnTo>
                      <a:pt x="1110" y="123"/>
                    </a:lnTo>
                    <a:lnTo>
                      <a:pt x="1089" y="144"/>
                    </a:lnTo>
                    <a:lnTo>
                      <a:pt x="1096" y="189"/>
                    </a:lnTo>
                    <a:lnTo>
                      <a:pt x="1080" y="239"/>
                    </a:lnTo>
                    <a:lnTo>
                      <a:pt x="1096" y="312"/>
                    </a:lnTo>
                    <a:lnTo>
                      <a:pt x="1096" y="439"/>
                    </a:lnTo>
                    <a:lnTo>
                      <a:pt x="1096" y="439"/>
                    </a:lnTo>
                    <a:lnTo>
                      <a:pt x="1096" y="43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45" name="Freeform 499">
                <a:extLst>
                  <a:ext uri="{FF2B5EF4-FFF2-40B4-BE49-F238E27FC236}">
                    <a16:creationId xmlns:a16="http://schemas.microsoft.com/office/drawing/2014/main" id="{1BF0E2E7-7CA4-4776-98B8-0891A95DA595}"/>
                  </a:ext>
                </a:extLst>
              </p:cNvPr>
              <p:cNvSpPr>
                <a:spLocks noEditPoints="1"/>
              </p:cNvSpPr>
              <p:nvPr/>
            </p:nvSpPr>
            <p:spPr bwMode="gray">
              <a:xfrm>
                <a:off x="7974008" y="4420373"/>
                <a:ext cx="210775" cy="419538"/>
              </a:xfrm>
              <a:custGeom>
                <a:avLst/>
                <a:gdLst>
                  <a:gd name="T0" fmla="*/ 349 w 512"/>
                  <a:gd name="T1" fmla="*/ 723 h 1019"/>
                  <a:gd name="T2" fmla="*/ 307 w 512"/>
                  <a:gd name="T3" fmla="*/ 884 h 1019"/>
                  <a:gd name="T4" fmla="*/ 243 w 512"/>
                  <a:gd name="T5" fmla="*/ 995 h 1019"/>
                  <a:gd name="T6" fmla="*/ 163 w 512"/>
                  <a:gd name="T7" fmla="*/ 1019 h 1019"/>
                  <a:gd name="T8" fmla="*/ 108 w 512"/>
                  <a:gd name="T9" fmla="*/ 1002 h 1019"/>
                  <a:gd name="T10" fmla="*/ 82 w 512"/>
                  <a:gd name="T11" fmla="*/ 990 h 1019"/>
                  <a:gd name="T12" fmla="*/ 54 w 512"/>
                  <a:gd name="T13" fmla="*/ 978 h 1019"/>
                  <a:gd name="T14" fmla="*/ 33 w 512"/>
                  <a:gd name="T15" fmla="*/ 924 h 1019"/>
                  <a:gd name="T16" fmla="*/ 37 w 512"/>
                  <a:gd name="T17" fmla="*/ 863 h 1019"/>
                  <a:gd name="T18" fmla="*/ 28 w 512"/>
                  <a:gd name="T19" fmla="*/ 830 h 1019"/>
                  <a:gd name="T20" fmla="*/ 0 w 512"/>
                  <a:gd name="T21" fmla="*/ 756 h 1019"/>
                  <a:gd name="T22" fmla="*/ 16 w 512"/>
                  <a:gd name="T23" fmla="*/ 723 h 1019"/>
                  <a:gd name="T24" fmla="*/ 37 w 512"/>
                  <a:gd name="T25" fmla="*/ 685 h 1019"/>
                  <a:gd name="T26" fmla="*/ 87 w 512"/>
                  <a:gd name="T27" fmla="*/ 596 h 1019"/>
                  <a:gd name="T28" fmla="*/ 87 w 512"/>
                  <a:gd name="T29" fmla="*/ 558 h 1019"/>
                  <a:gd name="T30" fmla="*/ 70 w 512"/>
                  <a:gd name="T31" fmla="*/ 513 h 1019"/>
                  <a:gd name="T32" fmla="*/ 54 w 512"/>
                  <a:gd name="T33" fmla="*/ 428 h 1019"/>
                  <a:gd name="T34" fmla="*/ 87 w 512"/>
                  <a:gd name="T35" fmla="*/ 350 h 1019"/>
                  <a:gd name="T36" fmla="*/ 118 w 512"/>
                  <a:gd name="T37" fmla="*/ 312 h 1019"/>
                  <a:gd name="T38" fmla="*/ 146 w 512"/>
                  <a:gd name="T39" fmla="*/ 308 h 1019"/>
                  <a:gd name="T40" fmla="*/ 155 w 512"/>
                  <a:gd name="T41" fmla="*/ 296 h 1019"/>
                  <a:gd name="T42" fmla="*/ 172 w 512"/>
                  <a:gd name="T43" fmla="*/ 308 h 1019"/>
                  <a:gd name="T44" fmla="*/ 188 w 512"/>
                  <a:gd name="T45" fmla="*/ 279 h 1019"/>
                  <a:gd name="T46" fmla="*/ 200 w 512"/>
                  <a:gd name="T47" fmla="*/ 279 h 1019"/>
                  <a:gd name="T48" fmla="*/ 210 w 512"/>
                  <a:gd name="T49" fmla="*/ 279 h 1019"/>
                  <a:gd name="T50" fmla="*/ 214 w 512"/>
                  <a:gd name="T51" fmla="*/ 296 h 1019"/>
                  <a:gd name="T52" fmla="*/ 214 w 512"/>
                  <a:gd name="T53" fmla="*/ 279 h 1019"/>
                  <a:gd name="T54" fmla="*/ 264 w 512"/>
                  <a:gd name="T55" fmla="*/ 239 h 1019"/>
                  <a:gd name="T56" fmla="*/ 264 w 512"/>
                  <a:gd name="T57" fmla="*/ 263 h 1019"/>
                  <a:gd name="T58" fmla="*/ 269 w 512"/>
                  <a:gd name="T59" fmla="*/ 239 h 1019"/>
                  <a:gd name="T60" fmla="*/ 302 w 512"/>
                  <a:gd name="T61" fmla="*/ 206 h 1019"/>
                  <a:gd name="T62" fmla="*/ 323 w 512"/>
                  <a:gd name="T63" fmla="*/ 197 h 1019"/>
                  <a:gd name="T64" fmla="*/ 333 w 512"/>
                  <a:gd name="T65" fmla="*/ 206 h 1019"/>
                  <a:gd name="T66" fmla="*/ 318 w 512"/>
                  <a:gd name="T67" fmla="*/ 197 h 1019"/>
                  <a:gd name="T68" fmla="*/ 318 w 512"/>
                  <a:gd name="T69" fmla="*/ 168 h 1019"/>
                  <a:gd name="T70" fmla="*/ 323 w 512"/>
                  <a:gd name="T71" fmla="*/ 163 h 1019"/>
                  <a:gd name="T72" fmla="*/ 333 w 512"/>
                  <a:gd name="T73" fmla="*/ 180 h 1019"/>
                  <a:gd name="T74" fmla="*/ 333 w 512"/>
                  <a:gd name="T75" fmla="*/ 152 h 1019"/>
                  <a:gd name="T76" fmla="*/ 323 w 512"/>
                  <a:gd name="T77" fmla="*/ 140 h 1019"/>
                  <a:gd name="T78" fmla="*/ 340 w 512"/>
                  <a:gd name="T79" fmla="*/ 111 h 1019"/>
                  <a:gd name="T80" fmla="*/ 356 w 512"/>
                  <a:gd name="T81" fmla="*/ 123 h 1019"/>
                  <a:gd name="T82" fmla="*/ 403 w 512"/>
                  <a:gd name="T83" fmla="*/ 69 h 1019"/>
                  <a:gd name="T84" fmla="*/ 387 w 512"/>
                  <a:gd name="T85" fmla="*/ 34 h 1019"/>
                  <a:gd name="T86" fmla="*/ 403 w 512"/>
                  <a:gd name="T87" fmla="*/ 29 h 1019"/>
                  <a:gd name="T88" fmla="*/ 415 w 512"/>
                  <a:gd name="T89" fmla="*/ 12 h 1019"/>
                  <a:gd name="T90" fmla="*/ 429 w 512"/>
                  <a:gd name="T91" fmla="*/ 17 h 1019"/>
                  <a:gd name="T92" fmla="*/ 425 w 512"/>
                  <a:gd name="T93" fmla="*/ 17 h 1019"/>
                  <a:gd name="T94" fmla="*/ 446 w 512"/>
                  <a:gd name="T95" fmla="*/ 50 h 1019"/>
                  <a:gd name="T96" fmla="*/ 484 w 512"/>
                  <a:gd name="T97" fmla="*/ 140 h 1019"/>
                  <a:gd name="T98" fmla="*/ 512 w 512"/>
                  <a:gd name="T99" fmla="*/ 251 h 1019"/>
                  <a:gd name="T100" fmla="*/ 479 w 512"/>
                  <a:gd name="T101" fmla="*/ 291 h 1019"/>
                  <a:gd name="T102" fmla="*/ 458 w 512"/>
                  <a:gd name="T103" fmla="*/ 258 h 1019"/>
                  <a:gd name="T104" fmla="*/ 458 w 512"/>
                  <a:gd name="T105" fmla="*/ 291 h 1019"/>
                  <a:gd name="T106" fmla="*/ 462 w 512"/>
                  <a:gd name="T107" fmla="*/ 312 h 1019"/>
                  <a:gd name="T108" fmla="*/ 458 w 512"/>
                  <a:gd name="T109" fmla="*/ 350 h 1019"/>
                  <a:gd name="T110" fmla="*/ 446 w 512"/>
                  <a:gd name="T111" fmla="*/ 369 h 1019"/>
                  <a:gd name="T112" fmla="*/ 441 w 512"/>
                  <a:gd name="T113" fmla="*/ 423 h 1019"/>
                  <a:gd name="T114" fmla="*/ 377 w 512"/>
                  <a:gd name="T115" fmla="*/ 629 h 1019"/>
                  <a:gd name="T116" fmla="*/ 377 w 512"/>
                  <a:gd name="T117" fmla="*/ 629 h 1019"/>
                  <a:gd name="T118" fmla="*/ 349 w 512"/>
                  <a:gd name="T119" fmla="*/ 107 h 1019"/>
                  <a:gd name="T120" fmla="*/ 356 w 512"/>
                  <a:gd name="T121" fmla="*/ 107 h 1019"/>
                  <a:gd name="T122" fmla="*/ 356 w 512"/>
                  <a:gd name="T123" fmla="*/ 107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1019">
                    <a:moveTo>
                      <a:pt x="377" y="629"/>
                    </a:moveTo>
                    <a:lnTo>
                      <a:pt x="349" y="723"/>
                    </a:lnTo>
                    <a:lnTo>
                      <a:pt x="323" y="780"/>
                    </a:lnTo>
                    <a:lnTo>
                      <a:pt x="307" y="884"/>
                    </a:lnTo>
                    <a:lnTo>
                      <a:pt x="269" y="974"/>
                    </a:lnTo>
                    <a:lnTo>
                      <a:pt x="243" y="995"/>
                    </a:lnTo>
                    <a:lnTo>
                      <a:pt x="210" y="995"/>
                    </a:lnTo>
                    <a:lnTo>
                      <a:pt x="163" y="1019"/>
                    </a:lnTo>
                    <a:lnTo>
                      <a:pt x="141" y="1019"/>
                    </a:lnTo>
                    <a:lnTo>
                      <a:pt x="108" y="1002"/>
                    </a:lnTo>
                    <a:lnTo>
                      <a:pt x="82" y="995"/>
                    </a:lnTo>
                    <a:lnTo>
                      <a:pt x="82" y="990"/>
                    </a:lnTo>
                    <a:lnTo>
                      <a:pt x="87" y="995"/>
                    </a:lnTo>
                    <a:lnTo>
                      <a:pt x="54" y="978"/>
                    </a:lnTo>
                    <a:lnTo>
                      <a:pt x="49" y="945"/>
                    </a:lnTo>
                    <a:lnTo>
                      <a:pt x="33" y="924"/>
                    </a:lnTo>
                    <a:lnTo>
                      <a:pt x="33" y="879"/>
                    </a:lnTo>
                    <a:lnTo>
                      <a:pt x="37" y="863"/>
                    </a:lnTo>
                    <a:lnTo>
                      <a:pt x="33" y="851"/>
                    </a:lnTo>
                    <a:lnTo>
                      <a:pt x="28" y="830"/>
                    </a:lnTo>
                    <a:lnTo>
                      <a:pt x="11" y="813"/>
                    </a:lnTo>
                    <a:lnTo>
                      <a:pt x="0" y="756"/>
                    </a:lnTo>
                    <a:lnTo>
                      <a:pt x="11" y="735"/>
                    </a:lnTo>
                    <a:lnTo>
                      <a:pt x="16" y="723"/>
                    </a:lnTo>
                    <a:lnTo>
                      <a:pt x="16" y="702"/>
                    </a:lnTo>
                    <a:lnTo>
                      <a:pt x="37" y="685"/>
                    </a:lnTo>
                    <a:lnTo>
                      <a:pt x="49" y="662"/>
                    </a:lnTo>
                    <a:lnTo>
                      <a:pt x="87" y="596"/>
                    </a:lnTo>
                    <a:lnTo>
                      <a:pt x="82" y="584"/>
                    </a:lnTo>
                    <a:lnTo>
                      <a:pt x="87" y="558"/>
                    </a:lnTo>
                    <a:lnTo>
                      <a:pt x="70" y="530"/>
                    </a:lnTo>
                    <a:lnTo>
                      <a:pt x="70" y="513"/>
                    </a:lnTo>
                    <a:lnTo>
                      <a:pt x="54" y="480"/>
                    </a:lnTo>
                    <a:lnTo>
                      <a:pt x="54" y="428"/>
                    </a:lnTo>
                    <a:lnTo>
                      <a:pt x="49" y="419"/>
                    </a:lnTo>
                    <a:lnTo>
                      <a:pt x="87" y="350"/>
                    </a:lnTo>
                    <a:lnTo>
                      <a:pt x="87" y="312"/>
                    </a:lnTo>
                    <a:lnTo>
                      <a:pt x="118" y="312"/>
                    </a:lnTo>
                    <a:lnTo>
                      <a:pt x="146" y="296"/>
                    </a:lnTo>
                    <a:lnTo>
                      <a:pt x="146" y="308"/>
                    </a:lnTo>
                    <a:lnTo>
                      <a:pt x="155" y="308"/>
                    </a:lnTo>
                    <a:lnTo>
                      <a:pt x="155" y="296"/>
                    </a:lnTo>
                    <a:lnTo>
                      <a:pt x="163" y="296"/>
                    </a:lnTo>
                    <a:lnTo>
                      <a:pt x="172" y="308"/>
                    </a:lnTo>
                    <a:lnTo>
                      <a:pt x="177" y="279"/>
                    </a:lnTo>
                    <a:lnTo>
                      <a:pt x="188" y="279"/>
                    </a:lnTo>
                    <a:lnTo>
                      <a:pt x="200" y="291"/>
                    </a:lnTo>
                    <a:lnTo>
                      <a:pt x="200" y="279"/>
                    </a:lnTo>
                    <a:lnTo>
                      <a:pt x="193" y="279"/>
                    </a:lnTo>
                    <a:lnTo>
                      <a:pt x="210" y="279"/>
                    </a:lnTo>
                    <a:lnTo>
                      <a:pt x="210" y="279"/>
                    </a:lnTo>
                    <a:lnTo>
                      <a:pt x="214" y="296"/>
                    </a:lnTo>
                    <a:lnTo>
                      <a:pt x="231" y="296"/>
                    </a:lnTo>
                    <a:lnTo>
                      <a:pt x="214" y="279"/>
                    </a:lnTo>
                    <a:lnTo>
                      <a:pt x="214" y="274"/>
                    </a:lnTo>
                    <a:lnTo>
                      <a:pt x="264" y="239"/>
                    </a:lnTo>
                    <a:lnTo>
                      <a:pt x="269" y="251"/>
                    </a:lnTo>
                    <a:lnTo>
                      <a:pt x="264" y="263"/>
                    </a:lnTo>
                    <a:lnTo>
                      <a:pt x="281" y="258"/>
                    </a:lnTo>
                    <a:lnTo>
                      <a:pt x="269" y="239"/>
                    </a:lnTo>
                    <a:lnTo>
                      <a:pt x="297" y="201"/>
                    </a:lnTo>
                    <a:lnTo>
                      <a:pt x="302" y="206"/>
                    </a:lnTo>
                    <a:lnTo>
                      <a:pt x="297" y="234"/>
                    </a:lnTo>
                    <a:lnTo>
                      <a:pt x="323" y="197"/>
                    </a:lnTo>
                    <a:lnTo>
                      <a:pt x="333" y="201"/>
                    </a:lnTo>
                    <a:lnTo>
                      <a:pt x="333" y="206"/>
                    </a:lnTo>
                    <a:lnTo>
                      <a:pt x="333" y="197"/>
                    </a:lnTo>
                    <a:lnTo>
                      <a:pt x="318" y="197"/>
                    </a:lnTo>
                    <a:lnTo>
                      <a:pt x="318" y="185"/>
                    </a:lnTo>
                    <a:lnTo>
                      <a:pt x="318" y="168"/>
                    </a:lnTo>
                    <a:lnTo>
                      <a:pt x="333" y="168"/>
                    </a:lnTo>
                    <a:lnTo>
                      <a:pt x="323" y="163"/>
                    </a:lnTo>
                    <a:lnTo>
                      <a:pt x="340" y="163"/>
                    </a:lnTo>
                    <a:lnTo>
                      <a:pt x="333" y="180"/>
                    </a:lnTo>
                    <a:lnTo>
                      <a:pt x="340" y="163"/>
                    </a:lnTo>
                    <a:lnTo>
                      <a:pt x="333" y="152"/>
                    </a:lnTo>
                    <a:lnTo>
                      <a:pt x="340" y="145"/>
                    </a:lnTo>
                    <a:lnTo>
                      <a:pt x="323" y="140"/>
                    </a:lnTo>
                    <a:lnTo>
                      <a:pt x="333" y="123"/>
                    </a:lnTo>
                    <a:lnTo>
                      <a:pt x="340" y="111"/>
                    </a:lnTo>
                    <a:lnTo>
                      <a:pt x="356" y="140"/>
                    </a:lnTo>
                    <a:lnTo>
                      <a:pt x="356" y="123"/>
                    </a:lnTo>
                    <a:lnTo>
                      <a:pt x="394" y="107"/>
                    </a:lnTo>
                    <a:lnTo>
                      <a:pt x="403" y="69"/>
                    </a:lnTo>
                    <a:lnTo>
                      <a:pt x="394" y="50"/>
                    </a:lnTo>
                    <a:lnTo>
                      <a:pt x="387" y="34"/>
                    </a:lnTo>
                    <a:lnTo>
                      <a:pt x="403" y="41"/>
                    </a:lnTo>
                    <a:lnTo>
                      <a:pt x="403" y="29"/>
                    </a:lnTo>
                    <a:lnTo>
                      <a:pt x="415" y="17"/>
                    </a:lnTo>
                    <a:lnTo>
                      <a:pt x="415" y="12"/>
                    </a:lnTo>
                    <a:lnTo>
                      <a:pt x="425" y="0"/>
                    </a:lnTo>
                    <a:lnTo>
                      <a:pt x="429" y="17"/>
                    </a:lnTo>
                    <a:lnTo>
                      <a:pt x="425" y="17"/>
                    </a:lnTo>
                    <a:lnTo>
                      <a:pt x="425" y="17"/>
                    </a:lnTo>
                    <a:lnTo>
                      <a:pt x="441" y="29"/>
                    </a:lnTo>
                    <a:lnTo>
                      <a:pt x="446" y="50"/>
                    </a:lnTo>
                    <a:lnTo>
                      <a:pt x="467" y="85"/>
                    </a:lnTo>
                    <a:lnTo>
                      <a:pt x="484" y="140"/>
                    </a:lnTo>
                    <a:lnTo>
                      <a:pt x="484" y="197"/>
                    </a:lnTo>
                    <a:lnTo>
                      <a:pt x="512" y="251"/>
                    </a:lnTo>
                    <a:lnTo>
                      <a:pt x="496" y="296"/>
                    </a:lnTo>
                    <a:lnTo>
                      <a:pt x="479" y="291"/>
                    </a:lnTo>
                    <a:lnTo>
                      <a:pt x="462" y="258"/>
                    </a:lnTo>
                    <a:lnTo>
                      <a:pt x="458" y="258"/>
                    </a:lnTo>
                    <a:lnTo>
                      <a:pt x="446" y="263"/>
                    </a:lnTo>
                    <a:lnTo>
                      <a:pt x="458" y="291"/>
                    </a:lnTo>
                    <a:lnTo>
                      <a:pt x="458" y="308"/>
                    </a:lnTo>
                    <a:lnTo>
                      <a:pt x="462" y="312"/>
                    </a:lnTo>
                    <a:lnTo>
                      <a:pt x="462" y="334"/>
                    </a:lnTo>
                    <a:lnTo>
                      <a:pt x="458" y="350"/>
                    </a:lnTo>
                    <a:lnTo>
                      <a:pt x="462" y="362"/>
                    </a:lnTo>
                    <a:lnTo>
                      <a:pt x="446" y="369"/>
                    </a:lnTo>
                    <a:lnTo>
                      <a:pt x="429" y="402"/>
                    </a:lnTo>
                    <a:lnTo>
                      <a:pt x="441" y="423"/>
                    </a:lnTo>
                    <a:lnTo>
                      <a:pt x="429" y="473"/>
                    </a:lnTo>
                    <a:lnTo>
                      <a:pt x="377" y="629"/>
                    </a:lnTo>
                    <a:lnTo>
                      <a:pt x="377" y="629"/>
                    </a:lnTo>
                    <a:lnTo>
                      <a:pt x="377" y="629"/>
                    </a:lnTo>
                    <a:close/>
                    <a:moveTo>
                      <a:pt x="356" y="107"/>
                    </a:moveTo>
                    <a:lnTo>
                      <a:pt x="349" y="107"/>
                    </a:lnTo>
                    <a:lnTo>
                      <a:pt x="356" y="90"/>
                    </a:lnTo>
                    <a:lnTo>
                      <a:pt x="356" y="107"/>
                    </a:lnTo>
                    <a:lnTo>
                      <a:pt x="356" y="107"/>
                    </a:lnTo>
                    <a:lnTo>
                      <a:pt x="356" y="10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68" name="Freeform 502">
                <a:extLst>
                  <a:ext uri="{FF2B5EF4-FFF2-40B4-BE49-F238E27FC236}">
                    <a16:creationId xmlns:a16="http://schemas.microsoft.com/office/drawing/2014/main" id="{03B67B2D-0265-449B-952B-90FA048E62D7}"/>
                  </a:ext>
                </a:extLst>
              </p:cNvPr>
              <p:cNvSpPr>
                <a:spLocks/>
              </p:cNvSpPr>
              <p:nvPr/>
            </p:nvSpPr>
            <p:spPr bwMode="gray">
              <a:xfrm>
                <a:off x="8029172" y="4441782"/>
                <a:ext cx="2058" cy="9058"/>
              </a:xfrm>
              <a:custGeom>
                <a:avLst/>
                <a:gdLst>
                  <a:gd name="T0" fmla="*/ 0 w 5"/>
                  <a:gd name="T1" fmla="*/ 22 h 22"/>
                  <a:gd name="T2" fmla="*/ 0 w 5"/>
                  <a:gd name="T3" fmla="*/ 22 h 22"/>
                  <a:gd name="T4" fmla="*/ 0 w 5"/>
                  <a:gd name="T5" fmla="*/ 0 h 22"/>
                  <a:gd name="T6" fmla="*/ 5 w 5"/>
                  <a:gd name="T7" fmla="*/ 5 h 22"/>
                  <a:gd name="T8" fmla="*/ 0 w 5"/>
                  <a:gd name="T9" fmla="*/ 22 h 22"/>
                  <a:gd name="T10" fmla="*/ 0 w 5"/>
                  <a:gd name="T11" fmla="*/ 22 h 22"/>
                  <a:gd name="T12" fmla="*/ 0 w 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5" h="22">
                    <a:moveTo>
                      <a:pt x="0" y="22"/>
                    </a:moveTo>
                    <a:lnTo>
                      <a:pt x="0" y="22"/>
                    </a:lnTo>
                    <a:lnTo>
                      <a:pt x="0" y="0"/>
                    </a:lnTo>
                    <a:lnTo>
                      <a:pt x="5" y="5"/>
                    </a:lnTo>
                    <a:lnTo>
                      <a:pt x="0" y="22"/>
                    </a:lnTo>
                    <a:lnTo>
                      <a:pt x="0" y="22"/>
                    </a:lnTo>
                    <a:lnTo>
                      <a:pt x="0" y="2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71" name="Freeform 505">
                <a:extLst>
                  <a:ext uri="{FF2B5EF4-FFF2-40B4-BE49-F238E27FC236}">
                    <a16:creationId xmlns:a16="http://schemas.microsoft.com/office/drawing/2014/main" id="{875D22B6-7504-4841-803E-21C03623584E}"/>
                  </a:ext>
                </a:extLst>
              </p:cNvPr>
              <p:cNvSpPr>
                <a:spLocks/>
              </p:cNvSpPr>
              <p:nvPr/>
            </p:nvSpPr>
            <p:spPr bwMode="gray">
              <a:xfrm>
                <a:off x="7668549" y="4342558"/>
                <a:ext cx="95095" cy="237560"/>
              </a:xfrm>
              <a:custGeom>
                <a:avLst/>
                <a:gdLst>
                  <a:gd name="T0" fmla="*/ 33 w 231"/>
                  <a:gd name="T1" fmla="*/ 336 h 577"/>
                  <a:gd name="T2" fmla="*/ 21 w 231"/>
                  <a:gd name="T3" fmla="*/ 336 h 577"/>
                  <a:gd name="T4" fmla="*/ 16 w 231"/>
                  <a:gd name="T5" fmla="*/ 298 h 577"/>
                  <a:gd name="T6" fmla="*/ 21 w 231"/>
                  <a:gd name="T7" fmla="*/ 246 h 577"/>
                  <a:gd name="T8" fmla="*/ 49 w 231"/>
                  <a:gd name="T9" fmla="*/ 230 h 577"/>
                  <a:gd name="T10" fmla="*/ 49 w 231"/>
                  <a:gd name="T11" fmla="*/ 220 h 577"/>
                  <a:gd name="T12" fmla="*/ 49 w 231"/>
                  <a:gd name="T13" fmla="*/ 175 h 577"/>
                  <a:gd name="T14" fmla="*/ 54 w 231"/>
                  <a:gd name="T15" fmla="*/ 130 h 577"/>
                  <a:gd name="T16" fmla="*/ 64 w 231"/>
                  <a:gd name="T17" fmla="*/ 107 h 577"/>
                  <a:gd name="T18" fmla="*/ 64 w 231"/>
                  <a:gd name="T19" fmla="*/ 74 h 577"/>
                  <a:gd name="T20" fmla="*/ 49 w 231"/>
                  <a:gd name="T21" fmla="*/ 52 h 577"/>
                  <a:gd name="T22" fmla="*/ 38 w 231"/>
                  <a:gd name="T23" fmla="*/ 17 h 577"/>
                  <a:gd name="T24" fmla="*/ 16 w 231"/>
                  <a:gd name="T25" fmla="*/ 0 h 577"/>
                  <a:gd name="T26" fmla="*/ 54 w 231"/>
                  <a:gd name="T27" fmla="*/ 17 h 577"/>
                  <a:gd name="T28" fmla="*/ 87 w 231"/>
                  <a:gd name="T29" fmla="*/ 24 h 577"/>
                  <a:gd name="T30" fmla="*/ 118 w 231"/>
                  <a:gd name="T31" fmla="*/ 24 h 577"/>
                  <a:gd name="T32" fmla="*/ 139 w 231"/>
                  <a:gd name="T33" fmla="*/ 107 h 577"/>
                  <a:gd name="T34" fmla="*/ 163 w 231"/>
                  <a:gd name="T35" fmla="*/ 163 h 577"/>
                  <a:gd name="T36" fmla="*/ 139 w 231"/>
                  <a:gd name="T37" fmla="*/ 175 h 577"/>
                  <a:gd name="T38" fmla="*/ 130 w 231"/>
                  <a:gd name="T39" fmla="*/ 246 h 577"/>
                  <a:gd name="T40" fmla="*/ 139 w 231"/>
                  <a:gd name="T41" fmla="*/ 303 h 577"/>
                  <a:gd name="T42" fmla="*/ 172 w 231"/>
                  <a:gd name="T43" fmla="*/ 319 h 577"/>
                  <a:gd name="T44" fmla="*/ 231 w 231"/>
                  <a:gd name="T45" fmla="*/ 409 h 577"/>
                  <a:gd name="T46" fmla="*/ 227 w 231"/>
                  <a:gd name="T47" fmla="*/ 447 h 577"/>
                  <a:gd name="T48" fmla="*/ 201 w 231"/>
                  <a:gd name="T49" fmla="*/ 504 h 577"/>
                  <a:gd name="T50" fmla="*/ 172 w 231"/>
                  <a:gd name="T51" fmla="*/ 527 h 577"/>
                  <a:gd name="T52" fmla="*/ 184 w 231"/>
                  <a:gd name="T53" fmla="*/ 577 h 577"/>
                  <a:gd name="T54" fmla="*/ 177 w 231"/>
                  <a:gd name="T55" fmla="*/ 553 h 577"/>
                  <a:gd name="T56" fmla="*/ 130 w 231"/>
                  <a:gd name="T57" fmla="*/ 508 h 577"/>
                  <a:gd name="T58" fmla="*/ 125 w 231"/>
                  <a:gd name="T59" fmla="*/ 499 h 577"/>
                  <a:gd name="T60" fmla="*/ 130 w 231"/>
                  <a:gd name="T61" fmla="*/ 442 h 577"/>
                  <a:gd name="T62" fmla="*/ 118 w 231"/>
                  <a:gd name="T63" fmla="*/ 369 h 577"/>
                  <a:gd name="T64" fmla="*/ 38 w 231"/>
                  <a:gd name="T65" fmla="*/ 343 h 577"/>
                  <a:gd name="T66" fmla="*/ 38 w 231"/>
                  <a:gd name="T67" fmla="*/ 343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 h="577">
                    <a:moveTo>
                      <a:pt x="38" y="343"/>
                    </a:moveTo>
                    <a:lnTo>
                      <a:pt x="33" y="336"/>
                    </a:lnTo>
                    <a:lnTo>
                      <a:pt x="33" y="343"/>
                    </a:lnTo>
                    <a:lnTo>
                      <a:pt x="21" y="336"/>
                    </a:lnTo>
                    <a:lnTo>
                      <a:pt x="0" y="315"/>
                    </a:lnTo>
                    <a:lnTo>
                      <a:pt x="16" y="298"/>
                    </a:lnTo>
                    <a:lnTo>
                      <a:pt x="21" y="263"/>
                    </a:lnTo>
                    <a:lnTo>
                      <a:pt x="21" y="246"/>
                    </a:lnTo>
                    <a:lnTo>
                      <a:pt x="21" y="241"/>
                    </a:lnTo>
                    <a:lnTo>
                      <a:pt x="49" y="230"/>
                    </a:lnTo>
                    <a:lnTo>
                      <a:pt x="64" y="225"/>
                    </a:lnTo>
                    <a:lnTo>
                      <a:pt x="49" y="220"/>
                    </a:lnTo>
                    <a:lnTo>
                      <a:pt x="38" y="208"/>
                    </a:lnTo>
                    <a:lnTo>
                      <a:pt x="49" y="175"/>
                    </a:lnTo>
                    <a:lnTo>
                      <a:pt x="38" y="152"/>
                    </a:lnTo>
                    <a:lnTo>
                      <a:pt x="54" y="130"/>
                    </a:lnTo>
                    <a:lnTo>
                      <a:pt x="38" y="114"/>
                    </a:lnTo>
                    <a:lnTo>
                      <a:pt x="64" y="107"/>
                    </a:lnTo>
                    <a:lnTo>
                      <a:pt x="71" y="90"/>
                    </a:lnTo>
                    <a:lnTo>
                      <a:pt x="64" y="74"/>
                    </a:lnTo>
                    <a:lnTo>
                      <a:pt x="64" y="62"/>
                    </a:lnTo>
                    <a:lnTo>
                      <a:pt x="49" y="52"/>
                    </a:lnTo>
                    <a:lnTo>
                      <a:pt x="49" y="41"/>
                    </a:lnTo>
                    <a:lnTo>
                      <a:pt x="38" y="17"/>
                    </a:lnTo>
                    <a:lnTo>
                      <a:pt x="21" y="17"/>
                    </a:lnTo>
                    <a:lnTo>
                      <a:pt x="16" y="0"/>
                    </a:lnTo>
                    <a:lnTo>
                      <a:pt x="49" y="8"/>
                    </a:lnTo>
                    <a:lnTo>
                      <a:pt x="54" y="17"/>
                    </a:lnTo>
                    <a:lnTo>
                      <a:pt x="75" y="17"/>
                    </a:lnTo>
                    <a:lnTo>
                      <a:pt x="87" y="24"/>
                    </a:lnTo>
                    <a:lnTo>
                      <a:pt x="92" y="8"/>
                    </a:lnTo>
                    <a:lnTo>
                      <a:pt x="118" y="24"/>
                    </a:lnTo>
                    <a:lnTo>
                      <a:pt x="130" y="52"/>
                    </a:lnTo>
                    <a:lnTo>
                      <a:pt x="139" y="107"/>
                    </a:lnTo>
                    <a:lnTo>
                      <a:pt x="139" y="130"/>
                    </a:lnTo>
                    <a:lnTo>
                      <a:pt x="163" y="163"/>
                    </a:lnTo>
                    <a:lnTo>
                      <a:pt x="139" y="163"/>
                    </a:lnTo>
                    <a:lnTo>
                      <a:pt x="139" y="175"/>
                    </a:lnTo>
                    <a:lnTo>
                      <a:pt x="125" y="208"/>
                    </a:lnTo>
                    <a:lnTo>
                      <a:pt x="130" y="246"/>
                    </a:lnTo>
                    <a:lnTo>
                      <a:pt x="130" y="298"/>
                    </a:lnTo>
                    <a:lnTo>
                      <a:pt x="139" y="303"/>
                    </a:lnTo>
                    <a:lnTo>
                      <a:pt x="156" y="303"/>
                    </a:lnTo>
                    <a:lnTo>
                      <a:pt x="172" y="319"/>
                    </a:lnTo>
                    <a:lnTo>
                      <a:pt x="227" y="393"/>
                    </a:lnTo>
                    <a:lnTo>
                      <a:pt x="231" y="409"/>
                    </a:lnTo>
                    <a:lnTo>
                      <a:pt x="215" y="430"/>
                    </a:lnTo>
                    <a:lnTo>
                      <a:pt x="227" y="447"/>
                    </a:lnTo>
                    <a:lnTo>
                      <a:pt x="227" y="487"/>
                    </a:lnTo>
                    <a:lnTo>
                      <a:pt x="201" y="504"/>
                    </a:lnTo>
                    <a:lnTo>
                      <a:pt x="193" y="499"/>
                    </a:lnTo>
                    <a:lnTo>
                      <a:pt x="172" y="527"/>
                    </a:lnTo>
                    <a:lnTo>
                      <a:pt x="184" y="544"/>
                    </a:lnTo>
                    <a:lnTo>
                      <a:pt x="184" y="577"/>
                    </a:lnTo>
                    <a:lnTo>
                      <a:pt x="172" y="577"/>
                    </a:lnTo>
                    <a:lnTo>
                      <a:pt x="177" y="553"/>
                    </a:lnTo>
                    <a:lnTo>
                      <a:pt x="163" y="553"/>
                    </a:lnTo>
                    <a:lnTo>
                      <a:pt x="130" y="508"/>
                    </a:lnTo>
                    <a:lnTo>
                      <a:pt x="125" y="508"/>
                    </a:lnTo>
                    <a:lnTo>
                      <a:pt x="125" y="499"/>
                    </a:lnTo>
                    <a:lnTo>
                      <a:pt x="108" y="482"/>
                    </a:lnTo>
                    <a:lnTo>
                      <a:pt x="130" y="442"/>
                    </a:lnTo>
                    <a:lnTo>
                      <a:pt x="130" y="386"/>
                    </a:lnTo>
                    <a:lnTo>
                      <a:pt x="118" y="369"/>
                    </a:lnTo>
                    <a:lnTo>
                      <a:pt x="71" y="386"/>
                    </a:lnTo>
                    <a:lnTo>
                      <a:pt x="38" y="343"/>
                    </a:lnTo>
                    <a:lnTo>
                      <a:pt x="38" y="343"/>
                    </a:lnTo>
                    <a:lnTo>
                      <a:pt x="38" y="34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3" name="Freeform 507">
                <a:extLst>
                  <a:ext uri="{FF2B5EF4-FFF2-40B4-BE49-F238E27FC236}">
                    <a16:creationId xmlns:a16="http://schemas.microsoft.com/office/drawing/2014/main" id="{0D571C5C-BDCE-4459-9DAC-74EBCC747B97}"/>
                  </a:ext>
                </a:extLst>
              </p:cNvPr>
              <p:cNvSpPr>
                <a:spLocks/>
              </p:cNvSpPr>
              <p:nvPr/>
            </p:nvSpPr>
            <p:spPr bwMode="gray">
              <a:xfrm>
                <a:off x="6373023" y="3309975"/>
                <a:ext cx="475479" cy="453300"/>
              </a:xfrm>
              <a:custGeom>
                <a:avLst/>
                <a:gdLst>
                  <a:gd name="T0" fmla="*/ 130 w 1155"/>
                  <a:gd name="T1" fmla="*/ 947 h 1101"/>
                  <a:gd name="T2" fmla="*/ 88 w 1155"/>
                  <a:gd name="T3" fmla="*/ 947 h 1101"/>
                  <a:gd name="T4" fmla="*/ 55 w 1155"/>
                  <a:gd name="T5" fmla="*/ 947 h 1101"/>
                  <a:gd name="T6" fmla="*/ 67 w 1155"/>
                  <a:gd name="T7" fmla="*/ 890 h 1101"/>
                  <a:gd name="T8" fmla="*/ 33 w 1155"/>
                  <a:gd name="T9" fmla="*/ 864 h 1101"/>
                  <a:gd name="T10" fmla="*/ 12 w 1155"/>
                  <a:gd name="T11" fmla="*/ 848 h 1101"/>
                  <a:gd name="T12" fmla="*/ 17 w 1155"/>
                  <a:gd name="T13" fmla="*/ 808 h 1101"/>
                  <a:gd name="T14" fmla="*/ 0 w 1155"/>
                  <a:gd name="T15" fmla="*/ 758 h 1101"/>
                  <a:gd name="T16" fmla="*/ 24 w 1155"/>
                  <a:gd name="T17" fmla="*/ 758 h 1101"/>
                  <a:gd name="T18" fmla="*/ 55 w 1155"/>
                  <a:gd name="T19" fmla="*/ 697 h 1101"/>
                  <a:gd name="T20" fmla="*/ 109 w 1155"/>
                  <a:gd name="T21" fmla="*/ 713 h 1101"/>
                  <a:gd name="T22" fmla="*/ 196 w 1155"/>
                  <a:gd name="T23" fmla="*/ 713 h 1101"/>
                  <a:gd name="T24" fmla="*/ 201 w 1155"/>
                  <a:gd name="T25" fmla="*/ 697 h 1101"/>
                  <a:gd name="T26" fmla="*/ 470 w 1155"/>
                  <a:gd name="T27" fmla="*/ 713 h 1101"/>
                  <a:gd name="T28" fmla="*/ 466 w 1155"/>
                  <a:gd name="T29" fmla="*/ 631 h 1101"/>
                  <a:gd name="T30" fmla="*/ 395 w 1155"/>
                  <a:gd name="T31" fmla="*/ 0 h 1101"/>
                  <a:gd name="T32" fmla="*/ 941 w 1155"/>
                  <a:gd name="T33" fmla="*/ 293 h 1101"/>
                  <a:gd name="T34" fmla="*/ 974 w 1155"/>
                  <a:gd name="T35" fmla="*/ 331 h 1101"/>
                  <a:gd name="T36" fmla="*/ 1004 w 1155"/>
                  <a:gd name="T37" fmla="*/ 354 h 1101"/>
                  <a:gd name="T38" fmla="*/ 1026 w 1155"/>
                  <a:gd name="T39" fmla="*/ 371 h 1101"/>
                  <a:gd name="T40" fmla="*/ 1092 w 1155"/>
                  <a:gd name="T41" fmla="*/ 420 h 1101"/>
                  <a:gd name="T42" fmla="*/ 1092 w 1155"/>
                  <a:gd name="T43" fmla="*/ 449 h 1101"/>
                  <a:gd name="T44" fmla="*/ 1151 w 1155"/>
                  <a:gd name="T45" fmla="*/ 642 h 1101"/>
                  <a:gd name="T46" fmla="*/ 1129 w 1155"/>
                  <a:gd name="T47" fmla="*/ 697 h 1101"/>
                  <a:gd name="T48" fmla="*/ 1101 w 1155"/>
                  <a:gd name="T49" fmla="*/ 720 h 1101"/>
                  <a:gd name="T50" fmla="*/ 1063 w 1155"/>
                  <a:gd name="T51" fmla="*/ 720 h 1101"/>
                  <a:gd name="T52" fmla="*/ 929 w 1155"/>
                  <a:gd name="T53" fmla="*/ 742 h 1101"/>
                  <a:gd name="T54" fmla="*/ 874 w 1155"/>
                  <a:gd name="T55" fmla="*/ 753 h 1101"/>
                  <a:gd name="T56" fmla="*/ 832 w 1155"/>
                  <a:gd name="T57" fmla="*/ 742 h 1101"/>
                  <a:gd name="T58" fmla="*/ 806 w 1155"/>
                  <a:gd name="T59" fmla="*/ 742 h 1101"/>
                  <a:gd name="T60" fmla="*/ 768 w 1155"/>
                  <a:gd name="T61" fmla="*/ 770 h 1101"/>
                  <a:gd name="T62" fmla="*/ 718 w 1155"/>
                  <a:gd name="T63" fmla="*/ 779 h 1101"/>
                  <a:gd name="T64" fmla="*/ 714 w 1155"/>
                  <a:gd name="T65" fmla="*/ 808 h 1101"/>
                  <a:gd name="T66" fmla="*/ 659 w 1155"/>
                  <a:gd name="T67" fmla="*/ 812 h 1101"/>
                  <a:gd name="T68" fmla="*/ 626 w 1155"/>
                  <a:gd name="T69" fmla="*/ 836 h 1101"/>
                  <a:gd name="T70" fmla="*/ 617 w 1155"/>
                  <a:gd name="T71" fmla="*/ 869 h 1101"/>
                  <a:gd name="T72" fmla="*/ 579 w 1155"/>
                  <a:gd name="T73" fmla="*/ 853 h 1101"/>
                  <a:gd name="T74" fmla="*/ 563 w 1155"/>
                  <a:gd name="T75" fmla="*/ 902 h 1101"/>
                  <a:gd name="T76" fmla="*/ 541 w 1155"/>
                  <a:gd name="T77" fmla="*/ 907 h 1101"/>
                  <a:gd name="T78" fmla="*/ 551 w 1155"/>
                  <a:gd name="T79" fmla="*/ 940 h 1101"/>
                  <a:gd name="T80" fmla="*/ 499 w 1155"/>
                  <a:gd name="T81" fmla="*/ 964 h 1101"/>
                  <a:gd name="T82" fmla="*/ 499 w 1155"/>
                  <a:gd name="T83" fmla="*/ 1001 h 1101"/>
                  <a:gd name="T84" fmla="*/ 470 w 1155"/>
                  <a:gd name="T85" fmla="*/ 1035 h 1101"/>
                  <a:gd name="T86" fmla="*/ 470 w 1155"/>
                  <a:gd name="T87" fmla="*/ 1075 h 1101"/>
                  <a:gd name="T88" fmla="*/ 433 w 1155"/>
                  <a:gd name="T89" fmla="*/ 1101 h 1101"/>
                  <a:gd name="T90" fmla="*/ 428 w 1155"/>
                  <a:gd name="T91" fmla="*/ 1091 h 1101"/>
                  <a:gd name="T92" fmla="*/ 411 w 1155"/>
                  <a:gd name="T93" fmla="*/ 1058 h 1101"/>
                  <a:gd name="T94" fmla="*/ 395 w 1155"/>
                  <a:gd name="T95" fmla="*/ 1058 h 1101"/>
                  <a:gd name="T96" fmla="*/ 374 w 1155"/>
                  <a:gd name="T97" fmla="*/ 1084 h 1101"/>
                  <a:gd name="T98" fmla="*/ 324 w 1155"/>
                  <a:gd name="T99" fmla="*/ 1075 h 1101"/>
                  <a:gd name="T100" fmla="*/ 293 w 1155"/>
                  <a:gd name="T101" fmla="*/ 1101 h 1101"/>
                  <a:gd name="T102" fmla="*/ 281 w 1155"/>
                  <a:gd name="T103" fmla="*/ 1075 h 1101"/>
                  <a:gd name="T104" fmla="*/ 265 w 1155"/>
                  <a:gd name="T105" fmla="*/ 1035 h 1101"/>
                  <a:gd name="T106" fmla="*/ 272 w 1155"/>
                  <a:gd name="T107" fmla="*/ 1013 h 1101"/>
                  <a:gd name="T108" fmla="*/ 251 w 1155"/>
                  <a:gd name="T109" fmla="*/ 992 h 1101"/>
                  <a:gd name="T110" fmla="*/ 239 w 1155"/>
                  <a:gd name="T111" fmla="*/ 975 h 1101"/>
                  <a:gd name="T112" fmla="*/ 227 w 1155"/>
                  <a:gd name="T113" fmla="*/ 935 h 1101"/>
                  <a:gd name="T114" fmla="*/ 201 w 1155"/>
                  <a:gd name="T115" fmla="*/ 947 h 1101"/>
                  <a:gd name="T116" fmla="*/ 180 w 1155"/>
                  <a:gd name="T117" fmla="*/ 964 h 1101"/>
                  <a:gd name="T118" fmla="*/ 163 w 1155"/>
                  <a:gd name="T119" fmla="*/ 964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55" h="1101">
                    <a:moveTo>
                      <a:pt x="163" y="964"/>
                    </a:moveTo>
                    <a:lnTo>
                      <a:pt x="130" y="947"/>
                    </a:lnTo>
                    <a:lnTo>
                      <a:pt x="109" y="975"/>
                    </a:lnTo>
                    <a:lnTo>
                      <a:pt x="88" y="947"/>
                    </a:lnTo>
                    <a:lnTo>
                      <a:pt x="71" y="964"/>
                    </a:lnTo>
                    <a:lnTo>
                      <a:pt x="55" y="947"/>
                    </a:lnTo>
                    <a:lnTo>
                      <a:pt x="67" y="935"/>
                    </a:lnTo>
                    <a:lnTo>
                      <a:pt x="67" y="890"/>
                    </a:lnTo>
                    <a:lnTo>
                      <a:pt x="38" y="864"/>
                    </a:lnTo>
                    <a:lnTo>
                      <a:pt x="33" y="864"/>
                    </a:lnTo>
                    <a:lnTo>
                      <a:pt x="33" y="869"/>
                    </a:lnTo>
                    <a:lnTo>
                      <a:pt x="12" y="848"/>
                    </a:lnTo>
                    <a:lnTo>
                      <a:pt x="17" y="831"/>
                    </a:lnTo>
                    <a:lnTo>
                      <a:pt x="17" y="808"/>
                    </a:lnTo>
                    <a:lnTo>
                      <a:pt x="0" y="791"/>
                    </a:lnTo>
                    <a:lnTo>
                      <a:pt x="0" y="758"/>
                    </a:lnTo>
                    <a:lnTo>
                      <a:pt x="12" y="770"/>
                    </a:lnTo>
                    <a:lnTo>
                      <a:pt x="24" y="758"/>
                    </a:lnTo>
                    <a:lnTo>
                      <a:pt x="38" y="704"/>
                    </a:lnTo>
                    <a:lnTo>
                      <a:pt x="55" y="697"/>
                    </a:lnTo>
                    <a:lnTo>
                      <a:pt x="93" y="737"/>
                    </a:lnTo>
                    <a:lnTo>
                      <a:pt x="109" y="713"/>
                    </a:lnTo>
                    <a:lnTo>
                      <a:pt x="159" y="720"/>
                    </a:lnTo>
                    <a:lnTo>
                      <a:pt x="196" y="713"/>
                    </a:lnTo>
                    <a:lnTo>
                      <a:pt x="196" y="704"/>
                    </a:lnTo>
                    <a:lnTo>
                      <a:pt x="201" y="697"/>
                    </a:lnTo>
                    <a:lnTo>
                      <a:pt x="201" y="713"/>
                    </a:lnTo>
                    <a:lnTo>
                      <a:pt x="470" y="713"/>
                    </a:lnTo>
                    <a:lnTo>
                      <a:pt x="487" y="647"/>
                    </a:lnTo>
                    <a:lnTo>
                      <a:pt x="466" y="631"/>
                    </a:lnTo>
                    <a:lnTo>
                      <a:pt x="411" y="149"/>
                    </a:lnTo>
                    <a:lnTo>
                      <a:pt x="395" y="0"/>
                    </a:lnTo>
                    <a:lnTo>
                      <a:pt x="520" y="0"/>
                    </a:lnTo>
                    <a:lnTo>
                      <a:pt x="941" y="293"/>
                    </a:lnTo>
                    <a:lnTo>
                      <a:pt x="941" y="314"/>
                    </a:lnTo>
                    <a:lnTo>
                      <a:pt x="974" y="331"/>
                    </a:lnTo>
                    <a:lnTo>
                      <a:pt x="983" y="347"/>
                    </a:lnTo>
                    <a:lnTo>
                      <a:pt x="1004" y="354"/>
                    </a:lnTo>
                    <a:lnTo>
                      <a:pt x="1011" y="354"/>
                    </a:lnTo>
                    <a:lnTo>
                      <a:pt x="1026" y="371"/>
                    </a:lnTo>
                    <a:lnTo>
                      <a:pt x="1080" y="387"/>
                    </a:lnTo>
                    <a:lnTo>
                      <a:pt x="1092" y="420"/>
                    </a:lnTo>
                    <a:lnTo>
                      <a:pt x="1075" y="437"/>
                    </a:lnTo>
                    <a:lnTo>
                      <a:pt x="1092" y="449"/>
                    </a:lnTo>
                    <a:lnTo>
                      <a:pt x="1155" y="437"/>
                    </a:lnTo>
                    <a:lnTo>
                      <a:pt x="1151" y="642"/>
                    </a:lnTo>
                    <a:lnTo>
                      <a:pt x="1146" y="647"/>
                    </a:lnTo>
                    <a:lnTo>
                      <a:pt x="1129" y="697"/>
                    </a:lnTo>
                    <a:lnTo>
                      <a:pt x="1101" y="704"/>
                    </a:lnTo>
                    <a:lnTo>
                      <a:pt x="1101" y="720"/>
                    </a:lnTo>
                    <a:lnTo>
                      <a:pt x="1075" y="713"/>
                    </a:lnTo>
                    <a:lnTo>
                      <a:pt x="1063" y="720"/>
                    </a:lnTo>
                    <a:lnTo>
                      <a:pt x="950" y="725"/>
                    </a:lnTo>
                    <a:lnTo>
                      <a:pt x="929" y="742"/>
                    </a:lnTo>
                    <a:lnTo>
                      <a:pt x="874" y="742"/>
                    </a:lnTo>
                    <a:lnTo>
                      <a:pt x="874" y="753"/>
                    </a:lnTo>
                    <a:lnTo>
                      <a:pt x="844" y="742"/>
                    </a:lnTo>
                    <a:lnTo>
                      <a:pt x="832" y="742"/>
                    </a:lnTo>
                    <a:lnTo>
                      <a:pt x="827" y="742"/>
                    </a:lnTo>
                    <a:lnTo>
                      <a:pt x="806" y="742"/>
                    </a:lnTo>
                    <a:lnTo>
                      <a:pt x="778" y="758"/>
                    </a:lnTo>
                    <a:lnTo>
                      <a:pt x="768" y="770"/>
                    </a:lnTo>
                    <a:lnTo>
                      <a:pt x="740" y="779"/>
                    </a:lnTo>
                    <a:lnTo>
                      <a:pt x="718" y="779"/>
                    </a:lnTo>
                    <a:lnTo>
                      <a:pt x="718" y="808"/>
                    </a:lnTo>
                    <a:lnTo>
                      <a:pt x="714" y="808"/>
                    </a:lnTo>
                    <a:lnTo>
                      <a:pt x="685" y="796"/>
                    </a:lnTo>
                    <a:lnTo>
                      <a:pt x="659" y="812"/>
                    </a:lnTo>
                    <a:lnTo>
                      <a:pt x="659" y="848"/>
                    </a:lnTo>
                    <a:lnTo>
                      <a:pt x="626" y="836"/>
                    </a:lnTo>
                    <a:lnTo>
                      <a:pt x="633" y="869"/>
                    </a:lnTo>
                    <a:lnTo>
                      <a:pt x="617" y="869"/>
                    </a:lnTo>
                    <a:lnTo>
                      <a:pt x="617" y="881"/>
                    </a:lnTo>
                    <a:lnTo>
                      <a:pt x="579" y="853"/>
                    </a:lnTo>
                    <a:lnTo>
                      <a:pt x="558" y="886"/>
                    </a:lnTo>
                    <a:lnTo>
                      <a:pt x="563" y="902"/>
                    </a:lnTo>
                    <a:lnTo>
                      <a:pt x="558" y="907"/>
                    </a:lnTo>
                    <a:lnTo>
                      <a:pt x="541" y="907"/>
                    </a:lnTo>
                    <a:lnTo>
                      <a:pt x="551" y="923"/>
                    </a:lnTo>
                    <a:lnTo>
                      <a:pt x="551" y="940"/>
                    </a:lnTo>
                    <a:lnTo>
                      <a:pt x="537" y="957"/>
                    </a:lnTo>
                    <a:lnTo>
                      <a:pt x="499" y="964"/>
                    </a:lnTo>
                    <a:lnTo>
                      <a:pt x="487" y="975"/>
                    </a:lnTo>
                    <a:lnTo>
                      <a:pt x="499" y="1001"/>
                    </a:lnTo>
                    <a:lnTo>
                      <a:pt x="487" y="1030"/>
                    </a:lnTo>
                    <a:lnTo>
                      <a:pt x="470" y="1035"/>
                    </a:lnTo>
                    <a:lnTo>
                      <a:pt x="482" y="1051"/>
                    </a:lnTo>
                    <a:lnTo>
                      <a:pt x="470" y="1075"/>
                    </a:lnTo>
                    <a:lnTo>
                      <a:pt x="449" y="1084"/>
                    </a:lnTo>
                    <a:lnTo>
                      <a:pt x="433" y="1101"/>
                    </a:lnTo>
                    <a:lnTo>
                      <a:pt x="428" y="1101"/>
                    </a:lnTo>
                    <a:lnTo>
                      <a:pt x="428" y="1091"/>
                    </a:lnTo>
                    <a:lnTo>
                      <a:pt x="416" y="1058"/>
                    </a:lnTo>
                    <a:lnTo>
                      <a:pt x="411" y="1058"/>
                    </a:lnTo>
                    <a:lnTo>
                      <a:pt x="411" y="1068"/>
                    </a:lnTo>
                    <a:lnTo>
                      <a:pt x="395" y="1058"/>
                    </a:lnTo>
                    <a:lnTo>
                      <a:pt x="395" y="1084"/>
                    </a:lnTo>
                    <a:lnTo>
                      <a:pt x="374" y="1084"/>
                    </a:lnTo>
                    <a:lnTo>
                      <a:pt x="362" y="1101"/>
                    </a:lnTo>
                    <a:lnTo>
                      <a:pt x="324" y="1075"/>
                    </a:lnTo>
                    <a:lnTo>
                      <a:pt x="310" y="1101"/>
                    </a:lnTo>
                    <a:lnTo>
                      <a:pt x="293" y="1101"/>
                    </a:lnTo>
                    <a:lnTo>
                      <a:pt x="293" y="1084"/>
                    </a:lnTo>
                    <a:lnTo>
                      <a:pt x="281" y="1075"/>
                    </a:lnTo>
                    <a:lnTo>
                      <a:pt x="281" y="1035"/>
                    </a:lnTo>
                    <a:lnTo>
                      <a:pt x="265" y="1035"/>
                    </a:lnTo>
                    <a:lnTo>
                      <a:pt x="251" y="1046"/>
                    </a:lnTo>
                    <a:lnTo>
                      <a:pt x="272" y="1013"/>
                    </a:lnTo>
                    <a:lnTo>
                      <a:pt x="251" y="1001"/>
                    </a:lnTo>
                    <a:lnTo>
                      <a:pt x="251" y="992"/>
                    </a:lnTo>
                    <a:lnTo>
                      <a:pt x="239" y="992"/>
                    </a:lnTo>
                    <a:lnTo>
                      <a:pt x="239" y="975"/>
                    </a:lnTo>
                    <a:lnTo>
                      <a:pt x="227" y="947"/>
                    </a:lnTo>
                    <a:lnTo>
                      <a:pt x="227" y="935"/>
                    </a:lnTo>
                    <a:lnTo>
                      <a:pt x="201" y="935"/>
                    </a:lnTo>
                    <a:lnTo>
                      <a:pt x="201" y="947"/>
                    </a:lnTo>
                    <a:lnTo>
                      <a:pt x="180" y="957"/>
                    </a:lnTo>
                    <a:lnTo>
                      <a:pt x="180" y="964"/>
                    </a:lnTo>
                    <a:lnTo>
                      <a:pt x="163" y="964"/>
                    </a:lnTo>
                    <a:lnTo>
                      <a:pt x="163" y="964"/>
                    </a:lnTo>
                    <a:lnTo>
                      <a:pt x="163" y="96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4" name="Freeform 508">
                <a:extLst>
                  <a:ext uri="{FF2B5EF4-FFF2-40B4-BE49-F238E27FC236}">
                    <a16:creationId xmlns:a16="http://schemas.microsoft.com/office/drawing/2014/main" id="{DAE366DA-2D8F-43D9-A535-6E5E1441B2CE}"/>
                  </a:ext>
                </a:extLst>
              </p:cNvPr>
              <p:cNvSpPr>
                <a:spLocks/>
              </p:cNvSpPr>
              <p:nvPr/>
            </p:nvSpPr>
            <p:spPr bwMode="gray">
              <a:xfrm>
                <a:off x="6344206" y="2950959"/>
                <a:ext cx="352801" cy="273379"/>
              </a:xfrm>
              <a:custGeom>
                <a:avLst/>
                <a:gdLst>
                  <a:gd name="T0" fmla="*/ 656 w 857"/>
                  <a:gd name="T1" fmla="*/ 350 h 664"/>
                  <a:gd name="T2" fmla="*/ 673 w 857"/>
                  <a:gd name="T3" fmla="*/ 392 h 664"/>
                  <a:gd name="T4" fmla="*/ 642 w 857"/>
                  <a:gd name="T5" fmla="*/ 404 h 664"/>
                  <a:gd name="T6" fmla="*/ 576 w 857"/>
                  <a:gd name="T7" fmla="*/ 444 h 664"/>
                  <a:gd name="T8" fmla="*/ 538 w 857"/>
                  <a:gd name="T9" fmla="*/ 487 h 664"/>
                  <a:gd name="T10" fmla="*/ 462 w 857"/>
                  <a:gd name="T11" fmla="*/ 515 h 664"/>
                  <a:gd name="T12" fmla="*/ 316 w 857"/>
                  <a:gd name="T13" fmla="*/ 577 h 664"/>
                  <a:gd name="T14" fmla="*/ 0 w 857"/>
                  <a:gd name="T15" fmla="*/ 664 h 664"/>
                  <a:gd name="T16" fmla="*/ 80 w 857"/>
                  <a:gd name="T17" fmla="*/ 631 h 664"/>
                  <a:gd name="T18" fmla="*/ 144 w 857"/>
                  <a:gd name="T19" fmla="*/ 577 h 664"/>
                  <a:gd name="T20" fmla="*/ 210 w 857"/>
                  <a:gd name="T21" fmla="*/ 527 h 664"/>
                  <a:gd name="T22" fmla="*/ 252 w 857"/>
                  <a:gd name="T23" fmla="*/ 444 h 664"/>
                  <a:gd name="T24" fmla="*/ 240 w 857"/>
                  <a:gd name="T25" fmla="*/ 371 h 664"/>
                  <a:gd name="T26" fmla="*/ 278 w 857"/>
                  <a:gd name="T27" fmla="*/ 305 h 664"/>
                  <a:gd name="T28" fmla="*/ 323 w 857"/>
                  <a:gd name="T29" fmla="*/ 222 h 664"/>
                  <a:gd name="T30" fmla="*/ 446 w 857"/>
                  <a:gd name="T31" fmla="*/ 156 h 664"/>
                  <a:gd name="T32" fmla="*/ 512 w 857"/>
                  <a:gd name="T33" fmla="*/ 17 h 664"/>
                  <a:gd name="T34" fmla="*/ 550 w 857"/>
                  <a:gd name="T35" fmla="*/ 5 h 664"/>
                  <a:gd name="T36" fmla="*/ 592 w 857"/>
                  <a:gd name="T37" fmla="*/ 62 h 664"/>
                  <a:gd name="T38" fmla="*/ 673 w 857"/>
                  <a:gd name="T39" fmla="*/ 55 h 664"/>
                  <a:gd name="T40" fmla="*/ 711 w 857"/>
                  <a:gd name="T41" fmla="*/ 55 h 664"/>
                  <a:gd name="T42" fmla="*/ 718 w 857"/>
                  <a:gd name="T43" fmla="*/ 55 h 664"/>
                  <a:gd name="T44" fmla="*/ 727 w 857"/>
                  <a:gd name="T45" fmla="*/ 71 h 664"/>
                  <a:gd name="T46" fmla="*/ 727 w 857"/>
                  <a:gd name="T47" fmla="*/ 55 h 664"/>
                  <a:gd name="T48" fmla="*/ 770 w 857"/>
                  <a:gd name="T49" fmla="*/ 71 h 664"/>
                  <a:gd name="T50" fmla="*/ 793 w 857"/>
                  <a:gd name="T51" fmla="*/ 111 h 664"/>
                  <a:gd name="T52" fmla="*/ 803 w 857"/>
                  <a:gd name="T53" fmla="*/ 128 h 664"/>
                  <a:gd name="T54" fmla="*/ 803 w 857"/>
                  <a:gd name="T55" fmla="*/ 182 h 664"/>
                  <a:gd name="T56" fmla="*/ 807 w 857"/>
                  <a:gd name="T57" fmla="*/ 222 h 664"/>
                  <a:gd name="T58" fmla="*/ 819 w 857"/>
                  <a:gd name="T59" fmla="*/ 244 h 664"/>
                  <a:gd name="T60" fmla="*/ 857 w 857"/>
                  <a:gd name="T61" fmla="*/ 277 h 664"/>
                  <a:gd name="T62" fmla="*/ 836 w 857"/>
                  <a:gd name="T63" fmla="*/ 305 h 664"/>
                  <a:gd name="T64" fmla="*/ 840 w 857"/>
                  <a:gd name="T65" fmla="*/ 317 h 664"/>
                  <a:gd name="T66" fmla="*/ 727 w 857"/>
                  <a:gd name="T67" fmla="*/ 317 h 664"/>
                  <a:gd name="T68" fmla="*/ 685 w 857"/>
                  <a:gd name="T69" fmla="*/ 338 h 664"/>
                  <a:gd name="T70" fmla="*/ 685 w 857"/>
                  <a:gd name="T71" fmla="*/ 338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7" h="664">
                    <a:moveTo>
                      <a:pt x="685" y="338"/>
                    </a:moveTo>
                    <a:lnTo>
                      <a:pt x="656" y="350"/>
                    </a:lnTo>
                    <a:lnTo>
                      <a:pt x="656" y="388"/>
                    </a:lnTo>
                    <a:lnTo>
                      <a:pt x="673" y="392"/>
                    </a:lnTo>
                    <a:lnTo>
                      <a:pt x="673" y="404"/>
                    </a:lnTo>
                    <a:lnTo>
                      <a:pt x="642" y="404"/>
                    </a:lnTo>
                    <a:lnTo>
                      <a:pt x="618" y="428"/>
                    </a:lnTo>
                    <a:lnTo>
                      <a:pt x="576" y="444"/>
                    </a:lnTo>
                    <a:lnTo>
                      <a:pt x="555" y="470"/>
                    </a:lnTo>
                    <a:lnTo>
                      <a:pt x="538" y="487"/>
                    </a:lnTo>
                    <a:lnTo>
                      <a:pt x="479" y="499"/>
                    </a:lnTo>
                    <a:lnTo>
                      <a:pt x="462" y="515"/>
                    </a:lnTo>
                    <a:lnTo>
                      <a:pt x="425" y="503"/>
                    </a:lnTo>
                    <a:lnTo>
                      <a:pt x="316" y="577"/>
                    </a:lnTo>
                    <a:lnTo>
                      <a:pt x="316" y="664"/>
                    </a:lnTo>
                    <a:lnTo>
                      <a:pt x="0" y="664"/>
                    </a:lnTo>
                    <a:lnTo>
                      <a:pt x="25" y="638"/>
                    </a:lnTo>
                    <a:lnTo>
                      <a:pt x="80" y="631"/>
                    </a:lnTo>
                    <a:lnTo>
                      <a:pt x="118" y="610"/>
                    </a:lnTo>
                    <a:lnTo>
                      <a:pt x="144" y="577"/>
                    </a:lnTo>
                    <a:lnTo>
                      <a:pt x="188" y="560"/>
                    </a:lnTo>
                    <a:lnTo>
                      <a:pt x="210" y="527"/>
                    </a:lnTo>
                    <a:lnTo>
                      <a:pt x="248" y="466"/>
                    </a:lnTo>
                    <a:lnTo>
                      <a:pt x="252" y="444"/>
                    </a:lnTo>
                    <a:lnTo>
                      <a:pt x="240" y="428"/>
                    </a:lnTo>
                    <a:lnTo>
                      <a:pt x="240" y="371"/>
                    </a:lnTo>
                    <a:lnTo>
                      <a:pt x="248" y="338"/>
                    </a:lnTo>
                    <a:lnTo>
                      <a:pt x="278" y="305"/>
                    </a:lnTo>
                    <a:lnTo>
                      <a:pt x="278" y="277"/>
                    </a:lnTo>
                    <a:lnTo>
                      <a:pt x="323" y="222"/>
                    </a:lnTo>
                    <a:lnTo>
                      <a:pt x="403" y="189"/>
                    </a:lnTo>
                    <a:lnTo>
                      <a:pt x="446" y="156"/>
                    </a:lnTo>
                    <a:lnTo>
                      <a:pt x="484" y="95"/>
                    </a:lnTo>
                    <a:lnTo>
                      <a:pt x="512" y="17"/>
                    </a:lnTo>
                    <a:lnTo>
                      <a:pt x="550" y="0"/>
                    </a:lnTo>
                    <a:lnTo>
                      <a:pt x="550" y="5"/>
                    </a:lnTo>
                    <a:lnTo>
                      <a:pt x="555" y="29"/>
                    </a:lnTo>
                    <a:lnTo>
                      <a:pt x="592" y="62"/>
                    </a:lnTo>
                    <a:lnTo>
                      <a:pt x="618" y="62"/>
                    </a:lnTo>
                    <a:lnTo>
                      <a:pt x="673" y="55"/>
                    </a:lnTo>
                    <a:lnTo>
                      <a:pt x="694" y="62"/>
                    </a:lnTo>
                    <a:lnTo>
                      <a:pt x="711" y="55"/>
                    </a:lnTo>
                    <a:lnTo>
                      <a:pt x="718" y="45"/>
                    </a:lnTo>
                    <a:lnTo>
                      <a:pt x="718" y="55"/>
                    </a:lnTo>
                    <a:lnTo>
                      <a:pt x="718" y="55"/>
                    </a:lnTo>
                    <a:lnTo>
                      <a:pt x="727" y="71"/>
                    </a:lnTo>
                    <a:lnTo>
                      <a:pt x="732" y="71"/>
                    </a:lnTo>
                    <a:lnTo>
                      <a:pt x="727" y="55"/>
                    </a:lnTo>
                    <a:lnTo>
                      <a:pt x="739" y="71"/>
                    </a:lnTo>
                    <a:lnTo>
                      <a:pt x="770" y="71"/>
                    </a:lnTo>
                    <a:lnTo>
                      <a:pt x="803" y="99"/>
                    </a:lnTo>
                    <a:lnTo>
                      <a:pt x="793" y="111"/>
                    </a:lnTo>
                    <a:lnTo>
                      <a:pt x="807" y="116"/>
                    </a:lnTo>
                    <a:lnTo>
                      <a:pt x="803" y="128"/>
                    </a:lnTo>
                    <a:lnTo>
                      <a:pt x="807" y="149"/>
                    </a:lnTo>
                    <a:lnTo>
                      <a:pt x="803" y="182"/>
                    </a:lnTo>
                    <a:lnTo>
                      <a:pt x="807" y="189"/>
                    </a:lnTo>
                    <a:lnTo>
                      <a:pt x="807" y="222"/>
                    </a:lnTo>
                    <a:lnTo>
                      <a:pt x="824" y="239"/>
                    </a:lnTo>
                    <a:lnTo>
                      <a:pt x="819" y="244"/>
                    </a:lnTo>
                    <a:lnTo>
                      <a:pt x="824" y="260"/>
                    </a:lnTo>
                    <a:lnTo>
                      <a:pt x="857" y="277"/>
                    </a:lnTo>
                    <a:lnTo>
                      <a:pt x="840" y="293"/>
                    </a:lnTo>
                    <a:lnTo>
                      <a:pt x="836" y="305"/>
                    </a:lnTo>
                    <a:lnTo>
                      <a:pt x="840" y="305"/>
                    </a:lnTo>
                    <a:lnTo>
                      <a:pt x="840" y="317"/>
                    </a:lnTo>
                    <a:lnTo>
                      <a:pt x="765" y="305"/>
                    </a:lnTo>
                    <a:lnTo>
                      <a:pt x="727" y="317"/>
                    </a:lnTo>
                    <a:lnTo>
                      <a:pt x="718" y="333"/>
                    </a:lnTo>
                    <a:lnTo>
                      <a:pt x="685" y="338"/>
                    </a:lnTo>
                    <a:lnTo>
                      <a:pt x="685" y="338"/>
                    </a:lnTo>
                    <a:lnTo>
                      <a:pt x="685" y="33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5" name="Freeform 509">
                <a:extLst>
                  <a:ext uri="{FF2B5EF4-FFF2-40B4-BE49-F238E27FC236}">
                    <a16:creationId xmlns:a16="http://schemas.microsoft.com/office/drawing/2014/main" id="{E41B2AE9-D953-4344-BD21-2040BA0785C0}"/>
                  </a:ext>
                </a:extLst>
              </p:cNvPr>
              <p:cNvSpPr>
                <a:spLocks/>
              </p:cNvSpPr>
              <p:nvPr/>
            </p:nvSpPr>
            <p:spPr bwMode="gray">
              <a:xfrm>
                <a:off x="8380326" y="4666579"/>
                <a:ext cx="12762" cy="17704"/>
              </a:xfrm>
              <a:custGeom>
                <a:avLst/>
                <a:gdLst>
                  <a:gd name="T0" fmla="*/ 16 w 31"/>
                  <a:gd name="T1" fmla="*/ 43 h 43"/>
                  <a:gd name="T2" fmla="*/ 0 w 31"/>
                  <a:gd name="T3" fmla="*/ 31 h 43"/>
                  <a:gd name="T4" fmla="*/ 9 w 31"/>
                  <a:gd name="T5" fmla="*/ 17 h 43"/>
                  <a:gd name="T6" fmla="*/ 21 w 31"/>
                  <a:gd name="T7" fmla="*/ 0 h 43"/>
                  <a:gd name="T8" fmla="*/ 31 w 31"/>
                  <a:gd name="T9" fmla="*/ 26 h 43"/>
                  <a:gd name="T10" fmla="*/ 21 w 31"/>
                  <a:gd name="T11" fmla="*/ 31 h 43"/>
                  <a:gd name="T12" fmla="*/ 16 w 31"/>
                  <a:gd name="T13" fmla="*/ 43 h 43"/>
                  <a:gd name="T14" fmla="*/ 16 w 31"/>
                  <a:gd name="T15" fmla="*/ 43 h 43"/>
                  <a:gd name="T16" fmla="*/ 16 w 31"/>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43">
                    <a:moveTo>
                      <a:pt x="16" y="43"/>
                    </a:moveTo>
                    <a:lnTo>
                      <a:pt x="0" y="31"/>
                    </a:lnTo>
                    <a:lnTo>
                      <a:pt x="9" y="17"/>
                    </a:lnTo>
                    <a:lnTo>
                      <a:pt x="21" y="0"/>
                    </a:lnTo>
                    <a:lnTo>
                      <a:pt x="31" y="26"/>
                    </a:lnTo>
                    <a:lnTo>
                      <a:pt x="21" y="31"/>
                    </a:lnTo>
                    <a:lnTo>
                      <a:pt x="16" y="43"/>
                    </a:lnTo>
                    <a:lnTo>
                      <a:pt x="16" y="43"/>
                    </a:lnTo>
                    <a:lnTo>
                      <a:pt x="16" y="4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6" name="Freeform 510">
                <a:extLst>
                  <a:ext uri="{FF2B5EF4-FFF2-40B4-BE49-F238E27FC236}">
                    <a16:creationId xmlns:a16="http://schemas.microsoft.com/office/drawing/2014/main" id="{BDA1364A-06B0-4D02-8CCF-5B958E006FB5}"/>
                  </a:ext>
                </a:extLst>
              </p:cNvPr>
              <p:cNvSpPr>
                <a:spLocks noEditPoints="1"/>
              </p:cNvSpPr>
              <p:nvPr/>
            </p:nvSpPr>
            <p:spPr bwMode="gray">
              <a:xfrm>
                <a:off x="6232232" y="3235043"/>
                <a:ext cx="352801" cy="392777"/>
              </a:xfrm>
              <a:custGeom>
                <a:avLst/>
                <a:gdLst>
                  <a:gd name="T0" fmla="*/ 805 w 857"/>
                  <a:gd name="T1" fmla="*/ 815 h 954"/>
                  <a:gd name="T2" fmla="*/ 810 w 857"/>
                  <a:gd name="T3" fmla="*/ 898 h 954"/>
                  <a:gd name="T4" fmla="*/ 541 w 857"/>
                  <a:gd name="T5" fmla="*/ 881 h 954"/>
                  <a:gd name="T6" fmla="*/ 534 w 857"/>
                  <a:gd name="T7" fmla="*/ 898 h 954"/>
                  <a:gd name="T8" fmla="*/ 449 w 857"/>
                  <a:gd name="T9" fmla="*/ 898 h 954"/>
                  <a:gd name="T10" fmla="*/ 394 w 857"/>
                  <a:gd name="T11" fmla="*/ 881 h 954"/>
                  <a:gd name="T12" fmla="*/ 361 w 857"/>
                  <a:gd name="T13" fmla="*/ 942 h 954"/>
                  <a:gd name="T14" fmla="*/ 340 w 857"/>
                  <a:gd name="T15" fmla="*/ 942 h 954"/>
                  <a:gd name="T16" fmla="*/ 297 w 857"/>
                  <a:gd name="T17" fmla="*/ 909 h 954"/>
                  <a:gd name="T18" fmla="*/ 286 w 857"/>
                  <a:gd name="T19" fmla="*/ 898 h 954"/>
                  <a:gd name="T20" fmla="*/ 269 w 857"/>
                  <a:gd name="T21" fmla="*/ 881 h 954"/>
                  <a:gd name="T22" fmla="*/ 248 w 857"/>
                  <a:gd name="T23" fmla="*/ 848 h 954"/>
                  <a:gd name="T24" fmla="*/ 231 w 857"/>
                  <a:gd name="T25" fmla="*/ 843 h 954"/>
                  <a:gd name="T26" fmla="*/ 194 w 857"/>
                  <a:gd name="T27" fmla="*/ 810 h 954"/>
                  <a:gd name="T28" fmla="*/ 104 w 857"/>
                  <a:gd name="T29" fmla="*/ 815 h 954"/>
                  <a:gd name="T30" fmla="*/ 38 w 857"/>
                  <a:gd name="T31" fmla="*/ 848 h 954"/>
                  <a:gd name="T32" fmla="*/ 71 w 857"/>
                  <a:gd name="T33" fmla="*/ 732 h 954"/>
                  <a:gd name="T34" fmla="*/ 66 w 857"/>
                  <a:gd name="T35" fmla="*/ 643 h 954"/>
                  <a:gd name="T36" fmla="*/ 54 w 857"/>
                  <a:gd name="T37" fmla="*/ 593 h 954"/>
                  <a:gd name="T38" fmla="*/ 54 w 857"/>
                  <a:gd name="T39" fmla="*/ 572 h 954"/>
                  <a:gd name="T40" fmla="*/ 38 w 857"/>
                  <a:gd name="T41" fmla="*/ 510 h 954"/>
                  <a:gd name="T42" fmla="*/ 33 w 857"/>
                  <a:gd name="T43" fmla="*/ 510 h 954"/>
                  <a:gd name="T44" fmla="*/ 0 w 857"/>
                  <a:gd name="T45" fmla="*/ 498 h 954"/>
                  <a:gd name="T46" fmla="*/ 194 w 857"/>
                  <a:gd name="T47" fmla="*/ 461 h 954"/>
                  <a:gd name="T48" fmla="*/ 281 w 857"/>
                  <a:gd name="T49" fmla="*/ 338 h 954"/>
                  <a:gd name="T50" fmla="*/ 357 w 857"/>
                  <a:gd name="T51" fmla="*/ 300 h 954"/>
                  <a:gd name="T52" fmla="*/ 588 w 857"/>
                  <a:gd name="T53" fmla="*/ 106 h 954"/>
                  <a:gd name="T54" fmla="*/ 857 w 857"/>
                  <a:gd name="T55" fmla="*/ 184 h 954"/>
                  <a:gd name="T56" fmla="*/ 751 w 857"/>
                  <a:gd name="T57" fmla="*/ 333 h 954"/>
                  <a:gd name="T58" fmla="*/ 751 w 857"/>
                  <a:gd name="T59" fmla="*/ 333 h 954"/>
                  <a:gd name="T60" fmla="*/ 38 w 857"/>
                  <a:gd name="T61" fmla="*/ 576 h 954"/>
                  <a:gd name="T62" fmla="*/ 49 w 857"/>
                  <a:gd name="T63" fmla="*/ 588 h 954"/>
                  <a:gd name="T64" fmla="*/ 49 w 857"/>
                  <a:gd name="T65" fmla="*/ 58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7" h="954">
                    <a:moveTo>
                      <a:pt x="751" y="333"/>
                    </a:moveTo>
                    <a:lnTo>
                      <a:pt x="805" y="815"/>
                    </a:lnTo>
                    <a:lnTo>
                      <a:pt x="827" y="831"/>
                    </a:lnTo>
                    <a:lnTo>
                      <a:pt x="810" y="898"/>
                    </a:lnTo>
                    <a:lnTo>
                      <a:pt x="541" y="898"/>
                    </a:lnTo>
                    <a:lnTo>
                      <a:pt x="541" y="881"/>
                    </a:lnTo>
                    <a:lnTo>
                      <a:pt x="534" y="886"/>
                    </a:lnTo>
                    <a:lnTo>
                      <a:pt x="534" y="898"/>
                    </a:lnTo>
                    <a:lnTo>
                      <a:pt x="496" y="902"/>
                    </a:lnTo>
                    <a:lnTo>
                      <a:pt x="449" y="898"/>
                    </a:lnTo>
                    <a:lnTo>
                      <a:pt x="432" y="921"/>
                    </a:lnTo>
                    <a:lnTo>
                      <a:pt x="394" y="881"/>
                    </a:lnTo>
                    <a:lnTo>
                      <a:pt x="378" y="886"/>
                    </a:lnTo>
                    <a:lnTo>
                      <a:pt x="361" y="942"/>
                    </a:lnTo>
                    <a:lnTo>
                      <a:pt x="352" y="954"/>
                    </a:lnTo>
                    <a:lnTo>
                      <a:pt x="340" y="942"/>
                    </a:lnTo>
                    <a:lnTo>
                      <a:pt x="319" y="926"/>
                    </a:lnTo>
                    <a:lnTo>
                      <a:pt x="297" y="909"/>
                    </a:lnTo>
                    <a:lnTo>
                      <a:pt x="297" y="902"/>
                    </a:lnTo>
                    <a:lnTo>
                      <a:pt x="286" y="898"/>
                    </a:lnTo>
                    <a:lnTo>
                      <a:pt x="281" y="898"/>
                    </a:lnTo>
                    <a:lnTo>
                      <a:pt x="269" y="881"/>
                    </a:lnTo>
                    <a:lnTo>
                      <a:pt x="255" y="848"/>
                    </a:lnTo>
                    <a:lnTo>
                      <a:pt x="248" y="848"/>
                    </a:lnTo>
                    <a:lnTo>
                      <a:pt x="243" y="848"/>
                    </a:lnTo>
                    <a:lnTo>
                      <a:pt x="231" y="843"/>
                    </a:lnTo>
                    <a:lnTo>
                      <a:pt x="227" y="848"/>
                    </a:lnTo>
                    <a:lnTo>
                      <a:pt x="194" y="810"/>
                    </a:lnTo>
                    <a:lnTo>
                      <a:pt x="146" y="798"/>
                    </a:lnTo>
                    <a:lnTo>
                      <a:pt x="104" y="815"/>
                    </a:lnTo>
                    <a:lnTo>
                      <a:pt x="54" y="815"/>
                    </a:lnTo>
                    <a:lnTo>
                      <a:pt x="38" y="848"/>
                    </a:lnTo>
                    <a:lnTo>
                      <a:pt x="38" y="810"/>
                    </a:lnTo>
                    <a:lnTo>
                      <a:pt x="71" y="732"/>
                    </a:lnTo>
                    <a:lnTo>
                      <a:pt x="71" y="676"/>
                    </a:lnTo>
                    <a:lnTo>
                      <a:pt x="66" y="643"/>
                    </a:lnTo>
                    <a:lnTo>
                      <a:pt x="38" y="605"/>
                    </a:lnTo>
                    <a:lnTo>
                      <a:pt x="54" y="593"/>
                    </a:lnTo>
                    <a:lnTo>
                      <a:pt x="38" y="605"/>
                    </a:lnTo>
                    <a:lnTo>
                      <a:pt x="54" y="572"/>
                    </a:lnTo>
                    <a:lnTo>
                      <a:pt x="66" y="539"/>
                    </a:lnTo>
                    <a:lnTo>
                      <a:pt x="38" y="510"/>
                    </a:lnTo>
                    <a:lnTo>
                      <a:pt x="38" y="515"/>
                    </a:lnTo>
                    <a:lnTo>
                      <a:pt x="33" y="510"/>
                    </a:lnTo>
                    <a:lnTo>
                      <a:pt x="12" y="465"/>
                    </a:lnTo>
                    <a:lnTo>
                      <a:pt x="0" y="498"/>
                    </a:lnTo>
                    <a:lnTo>
                      <a:pt x="12" y="461"/>
                    </a:lnTo>
                    <a:lnTo>
                      <a:pt x="194" y="461"/>
                    </a:lnTo>
                    <a:lnTo>
                      <a:pt x="286" y="461"/>
                    </a:lnTo>
                    <a:lnTo>
                      <a:pt x="281" y="338"/>
                    </a:lnTo>
                    <a:lnTo>
                      <a:pt x="319" y="312"/>
                    </a:lnTo>
                    <a:lnTo>
                      <a:pt x="357" y="300"/>
                    </a:lnTo>
                    <a:lnTo>
                      <a:pt x="357" y="106"/>
                    </a:lnTo>
                    <a:lnTo>
                      <a:pt x="588" y="106"/>
                    </a:lnTo>
                    <a:lnTo>
                      <a:pt x="588" y="0"/>
                    </a:lnTo>
                    <a:lnTo>
                      <a:pt x="857" y="184"/>
                    </a:lnTo>
                    <a:lnTo>
                      <a:pt x="734" y="184"/>
                    </a:lnTo>
                    <a:lnTo>
                      <a:pt x="751" y="333"/>
                    </a:lnTo>
                    <a:lnTo>
                      <a:pt x="751" y="333"/>
                    </a:lnTo>
                    <a:lnTo>
                      <a:pt x="751" y="333"/>
                    </a:lnTo>
                    <a:close/>
                    <a:moveTo>
                      <a:pt x="49" y="588"/>
                    </a:moveTo>
                    <a:lnTo>
                      <a:pt x="38" y="576"/>
                    </a:lnTo>
                    <a:lnTo>
                      <a:pt x="49" y="572"/>
                    </a:lnTo>
                    <a:lnTo>
                      <a:pt x="49" y="588"/>
                    </a:lnTo>
                    <a:lnTo>
                      <a:pt x="49" y="588"/>
                    </a:lnTo>
                    <a:lnTo>
                      <a:pt x="49" y="58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98" name="Freeform 512">
                <a:extLst>
                  <a:ext uri="{FF2B5EF4-FFF2-40B4-BE49-F238E27FC236}">
                    <a16:creationId xmlns:a16="http://schemas.microsoft.com/office/drawing/2014/main" id="{9AB907F2-2C88-4177-B3D1-B305745F7F65}"/>
                  </a:ext>
                </a:extLst>
              </p:cNvPr>
              <p:cNvSpPr>
                <a:spLocks noEditPoints="1"/>
              </p:cNvSpPr>
              <p:nvPr/>
            </p:nvSpPr>
            <p:spPr bwMode="gray">
              <a:xfrm>
                <a:off x="8228420" y="3263451"/>
                <a:ext cx="224772" cy="304258"/>
              </a:xfrm>
              <a:custGeom>
                <a:avLst/>
                <a:gdLst>
                  <a:gd name="T0" fmla="*/ 282 w 546"/>
                  <a:gd name="T1" fmla="*/ 56 h 739"/>
                  <a:gd name="T2" fmla="*/ 282 w 546"/>
                  <a:gd name="T3" fmla="*/ 23 h 739"/>
                  <a:gd name="T4" fmla="*/ 307 w 546"/>
                  <a:gd name="T5" fmla="*/ 16 h 739"/>
                  <a:gd name="T6" fmla="*/ 298 w 546"/>
                  <a:gd name="T7" fmla="*/ 0 h 739"/>
                  <a:gd name="T8" fmla="*/ 307 w 546"/>
                  <a:gd name="T9" fmla="*/ 7 h 739"/>
                  <a:gd name="T10" fmla="*/ 298 w 546"/>
                  <a:gd name="T11" fmla="*/ 16 h 739"/>
                  <a:gd name="T12" fmla="*/ 298 w 546"/>
                  <a:gd name="T13" fmla="*/ 56 h 739"/>
                  <a:gd name="T14" fmla="*/ 298 w 546"/>
                  <a:gd name="T15" fmla="*/ 56 h 739"/>
                  <a:gd name="T16" fmla="*/ 0 w 546"/>
                  <a:gd name="T17" fmla="*/ 562 h 739"/>
                  <a:gd name="T18" fmla="*/ 253 w 546"/>
                  <a:gd name="T19" fmla="*/ 333 h 739"/>
                  <a:gd name="T20" fmla="*/ 222 w 546"/>
                  <a:gd name="T21" fmla="*/ 255 h 739"/>
                  <a:gd name="T22" fmla="*/ 244 w 546"/>
                  <a:gd name="T23" fmla="*/ 184 h 739"/>
                  <a:gd name="T24" fmla="*/ 274 w 546"/>
                  <a:gd name="T25" fmla="*/ 167 h 739"/>
                  <a:gd name="T26" fmla="*/ 260 w 546"/>
                  <a:gd name="T27" fmla="*/ 118 h 739"/>
                  <a:gd name="T28" fmla="*/ 282 w 546"/>
                  <a:gd name="T29" fmla="*/ 118 h 739"/>
                  <a:gd name="T30" fmla="*/ 282 w 546"/>
                  <a:gd name="T31" fmla="*/ 127 h 739"/>
                  <a:gd name="T32" fmla="*/ 298 w 546"/>
                  <a:gd name="T33" fmla="*/ 111 h 739"/>
                  <a:gd name="T34" fmla="*/ 362 w 546"/>
                  <a:gd name="T35" fmla="*/ 188 h 739"/>
                  <a:gd name="T36" fmla="*/ 459 w 546"/>
                  <a:gd name="T37" fmla="*/ 212 h 739"/>
                  <a:gd name="T38" fmla="*/ 546 w 546"/>
                  <a:gd name="T39" fmla="*/ 295 h 739"/>
                  <a:gd name="T40" fmla="*/ 513 w 546"/>
                  <a:gd name="T41" fmla="*/ 382 h 739"/>
                  <a:gd name="T42" fmla="*/ 454 w 546"/>
                  <a:gd name="T43" fmla="*/ 451 h 739"/>
                  <a:gd name="T44" fmla="*/ 437 w 546"/>
                  <a:gd name="T45" fmla="*/ 444 h 739"/>
                  <a:gd name="T46" fmla="*/ 404 w 546"/>
                  <a:gd name="T47" fmla="*/ 467 h 739"/>
                  <a:gd name="T48" fmla="*/ 404 w 546"/>
                  <a:gd name="T49" fmla="*/ 562 h 739"/>
                  <a:gd name="T50" fmla="*/ 329 w 546"/>
                  <a:gd name="T51" fmla="*/ 578 h 739"/>
                  <a:gd name="T52" fmla="*/ 312 w 546"/>
                  <a:gd name="T53" fmla="*/ 628 h 739"/>
                  <a:gd name="T54" fmla="*/ 237 w 546"/>
                  <a:gd name="T55" fmla="*/ 649 h 739"/>
                  <a:gd name="T56" fmla="*/ 227 w 546"/>
                  <a:gd name="T57" fmla="*/ 682 h 739"/>
                  <a:gd name="T58" fmla="*/ 189 w 546"/>
                  <a:gd name="T59" fmla="*/ 715 h 739"/>
                  <a:gd name="T60" fmla="*/ 147 w 546"/>
                  <a:gd name="T61" fmla="*/ 706 h 739"/>
                  <a:gd name="T62" fmla="*/ 76 w 546"/>
                  <a:gd name="T63" fmla="*/ 739 h 739"/>
                  <a:gd name="T64" fmla="*/ 76 w 546"/>
                  <a:gd name="T65" fmla="*/ 739 h 739"/>
                  <a:gd name="T66" fmla="*/ 459 w 546"/>
                  <a:gd name="T67" fmla="*/ 460 h 739"/>
                  <a:gd name="T68" fmla="*/ 487 w 546"/>
                  <a:gd name="T69" fmla="*/ 451 h 739"/>
                  <a:gd name="T70" fmla="*/ 459 w 546"/>
                  <a:gd name="T71" fmla="*/ 477 h 739"/>
                  <a:gd name="T72" fmla="*/ 274 w 546"/>
                  <a:gd name="T73" fmla="*/ 673 h 739"/>
                  <a:gd name="T74" fmla="*/ 282 w 546"/>
                  <a:gd name="T75" fmla="*/ 673 h 739"/>
                  <a:gd name="T76" fmla="*/ 274 w 546"/>
                  <a:gd name="T77" fmla="*/ 673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6" h="739">
                    <a:moveTo>
                      <a:pt x="298" y="56"/>
                    </a:moveTo>
                    <a:lnTo>
                      <a:pt x="282" y="56"/>
                    </a:lnTo>
                    <a:lnTo>
                      <a:pt x="291" y="33"/>
                    </a:lnTo>
                    <a:lnTo>
                      <a:pt x="282" y="23"/>
                    </a:lnTo>
                    <a:lnTo>
                      <a:pt x="291" y="7"/>
                    </a:lnTo>
                    <a:lnTo>
                      <a:pt x="307" y="16"/>
                    </a:lnTo>
                    <a:lnTo>
                      <a:pt x="298" y="16"/>
                    </a:lnTo>
                    <a:lnTo>
                      <a:pt x="298" y="0"/>
                    </a:lnTo>
                    <a:lnTo>
                      <a:pt x="312" y="0"/>
                    </a:lnTo>
                    <a:lnTo>
                      <a:pt x="307" y="7"/>
                    </a:lnTo>
                    <a:lnTo>
                      <a:pt x="307" y="16"/>
                    </a:lnTo>
                    <a:lnTo>
                      <a:pt x="298" y="16"/>
                    </a:lnTo>
                    <a:lnTo>
                      <a:pt x="307" y="23"/>
                    </a:lnTo>
                    <a:lnTo>
                      <a:pt x="298" y="56"/>
                    </a:lnTo>
                    <a:lnTo>
                      <a:pt x="298" y="56"/>
                    </a:lnTo>
                    <a:lnTo>
                      <a:pt x="298" y="56"/>
                    </a:lnTo>
                    <a:close/>
                    <a:moveTo>
                      <a:pt x="76" y="739"/>
                    </a:moveTo>
                    <a:lnTo>
                      <a:pt x="0" y="562"/>
                    </a:lnTo>
                    <a:lnTo>
                      <a:pt x="206" y="484"/>
                    </a:lnTo>
                    <a:lnTo>
                      <a:pt x="253" y="333"/>
                    </a:lnTo>
                    <a:lnTo>
                      <a:pt x="222" y="283"/>
                    </a:lnTo>
                    <a:lnTo>
                      <a:pt x="222" y="255"/>
                    </a:lnTo>
                    <a:lnTo>
                      <a:pt x="244" y="200"/>
                    </a:lnTo>
                    <a:lnTo>
                      <a:pt x="244" y="184"/>
                    </a:lnTo>
                    <a:lnTo>
                      <a:pt x="274" y="172"/>
                    </a:lnTo>
                    <a:lnTo>
                      <a:pt x="274" y="167"/>
                    </a:lnTo>
                    <a:lnTo>
                      <a:pt x="260" y="167"/>
                    </a:lnTo>
                    <a:lnTo>
                      <a:pt x="260" y="118"/>
                    </a:lnTo>
                    <a:lnTo>
                      <a:pt x="274" y="111"/>
                    </a:lnTo>
                    <a:lnTo>
                      <a:pt x="282" y="118"/>
                    </a:lnTo>
                    <a:lnTo>
                      <a:pt x="274" y="118"/>
                    </a:lnTo>
                    <a:lnTo>
                      <a:pt x="282" y="127"/>
                    </a:lnTo>
                    <a:lnTo>
                      <a:pt x="298" y="118"/>
                    </a:lnTo>
                    <a:lnTo>
                      <a:pt x="298" y="111"/>
                    </a:lnTo>
                    <a:lnTo>
                      <a:pt x="324" y="151"/>
                    </a:lnTo>
                    <a:lnTo>
                      <a:pt x="362" y="188"/>
                    </a:lnTo>
                    <a:lnTo>
                      <a:pt x="437" y="212"/>
                    </a:lnTo>
                    <a:lnTo>
                      <a:pt x="459" y="212"/>
                    </a:lnTo>
                    <a:lnTo>
                      <a:pt x="513" y="283"/>
                    </a:lnTo>
                    <a:lnTo>
                      <a:pt x="546" y="295"/>
                    </a:lnTo>
                    <a:lnTo>
                      <a:pt x="546" y="316"/>
                    </a:lnTo>
                    <a:lnTo>
                      <a:pt x="513" y="382"/>
                    </a:lnTo>
                    <a:lnTo>
                      <a:pt x="475" y="411"/>
                    </a:lnTo>
                    <a:lnTo>
                      <a:pt x="454" y="451"/>
                    </a:lnTo>
                    <a:lnTo>
                      <a:pt x="433" y="460"/>
                    </a:lnTo>
                    <a:lnTo>
                      <a:pt x="437" y="444"/>
                    </a:lnTo>
                    <a:lnTo>
                      <a:pt x="433" y="444"/>
                    </a:lnTo>
                    <a:lnTo>
                      <a:pt x="404" y="467"/>
                    </a:lnTo>
                    <a:lnTo>
                      <a:pt x="388" y="505"/>
                    </a:lnTo>
                    <a:lnTo>
                      <a:pt x="404" y="562"/>
                    </a:lnTo>
                    <a:lnTo>
                      <a:pt x="362" y="571"/>
                    </a:lnTo>
                    <a:lnTo>
                      <a:pt x="329" y="578"/>
                    </a:lnTo>
                    <a:lnTo>
                      <a:pt x="324" y="595"/>
                    </a:lnTo>
                    <a:lnTo>
                      <a:pt x="312" y="628"/>
                    </a:lnTo>
                    <a:lnTo>
                      <a:pt x="298" y="644"/>
                    </a:lnTo>
                    <a:lnTo>
                      <a:pt x="237" y="649"/>
                    </a:lnTo>
                    <a:lnTo>
                      <a:pt x="222" y="673"/>
                    </a:lnTo>
                    <a:lnTo>
                      <a:pt x="227" y="682"/>
                    </a:lnTo>
                    <a:lnTo>
                      <a:pt x="206" y="706"/>
                    </a:lnTo>
                    <a:lnTo>
                      <a:pt x="189" y="715"/>
                    </a:lnTo>
                    <a:lnTo>
                      <a:pt x="173" y="706"/>
                    </a:lnTo>
                    <a:lnTo>
                      <a:pt x="147" y="706"/>
                    </a:lnTo>
                    <a:lnTo>
                      <a:pt x="109" y="727"/>
                    </a:lnTo>
                    <a:lnTo>
                      <a:pt x="76" y="739"/>
                    </a:lnTo>
                    <a:lnTo>
                      <a:pt x="76" y="739"/>
                    </a:lnTo>
                    <a:lnTo>
                      <a:pt x="76" y="739"/>
                    </a:lnTo>
                    <a:close/>
                    <a:moveTo>
                      <a:pt x="459" y="477"/>
                    </a:moveTo>
                    <a:lnTo>
                      <a:pt x="459" y="460"/>
                    </a:lnTo>
                    <a:lnTo>
                      <a:pt x="487" y="439"/>
                    </a:lnTo>
                    <a:lnTo>
                      <a:pt x="487" y="451"/>
                    </a:lnTo>
                    <a:lnTo>
                      <a:pt x="459" y="477"/>
                    </a:lnTo>
                    <a:lnTo>
                      <a:pt x="459" y="477"/>
                    </a:lnTo>
                    <a:lnTo>
                      <a:pt x="459" y="477"/>
                    </a:lnTo>
                    <a:close/>
                    <a:moveTo>
                      <a:pt x="274" y="673"/>
                    </a:moveTo>
                    <a:lnTo>
                      <a:pt x="274" y="673"/>
                    </a:lnTo>
                    <a:lnTo>
                      <a:pt x="282" y="673"/>
                    </a:lnTo>
                    <a:lnTo>
                      <a:pt x="274" y="673"/>
                    </a:lnTo>
                    <a:lnTo>
                      <a:pt x="274" y="673"/>
                    </a:lnTo>
                    <a:lnTo>
                      <a:pt x="274" y="67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2" name="Freeform 516">
                <a:extLst>
                  <a:ext uri="{FF2B5EF4-FFF2-40B4-BE49-F238E27FC236}">
                    <a16:creationId xmlns:a16="http://schemas.microsoft.com/office/drawing/2014/main" id="{B970D0DD-62CA-455C-94D6-81CB5FED3E67}"/>
                  </a:ext>
                </a:extLst>
              </p:cNvPr>
              <p:cNvSpPr>
                <a:spLocks noEditPoints="1"/>
              </p:cNvSpPr>
              <p:nvPr/>
            </p:nvSpPr>
            <p:spPr bwMode="gray">
              <a:xfrm>
                <a:off x="7599388" y="4376731"/>
                <a:ext cx="306283" cy="504764"/>
              </a:xfrm>
              <a:custGeom>
                <a:avLst/>
                <a:gdLst>
                  <a:gd name="T0" fmla="*/ 206 w 744"/>
                  <a:gd name="T1" fmla="*/ 260 h 1226"/>
                  <a:gd name="T2" fmla="*/ 298 w 744"/>
                  <a:gd name="T3" fmla="*/ 305 h 1226"/>
                  <a:gd name="T4" fmla="*/ 293 w 744"/>
                  <a:gd name="T5" fmla="*/ 414 h 1226"/>
                  <a:gd name="T6" fmla="*/ 331 w 744"/>
                  <a:gd name="T7" fmla="*/ 470 h 1226"/>
                  <a:gd name="T8" fmla="*/ 352 w 744"/>
                  <a:gd name="T9" fmla="*/ 491 h 1226"/>
                  <a:gd name="T10" fmla="*/ 364 w 744"/>
                  <a:gd name="T11" fmla="*/ 414 h 1226"/>
                  <a:gd name="T12" fmla="*/ 397 w 744"/>
                  <a:gd name="T13" fmla="*/ 364 h 1226"/>
                  <a:gd name="T14" fmla="*/ 397 w 744"/>
                  <a:gd name="T15" fmla="*/ 310 h 1226"/>
                  <a:gd name="T16" fmla="*/ 310 w 744"/>
                  <a:gd name="T17" fmla="*/ 220 h 1226"/>
                  <a:gd name="T18" fmla="*/ 293 w 744"/>
                  <a:gd name="T19" fmla="*/ 128 h 1226"/>
                  <a:gd name="T20" fmla="*/ 331 w 744"/>
                  <a:gd name="T21" fmla="*/ 83 h 1226"/>
                  <a:gd name="T22" fmla="*/ 418 w 744"/>
                  <a:gd name="T23" fmla="*/ 83 h 1226"/>
                  <a:gd name="T24" fmla="*/ 461 w 744"/>
                  <a:gd name="T25" fmla="*/ 83 h 1226"/>
                  <a:gd name="T26" fmla="*/ 543 w 744"/>
                  <a:gd name="T27" fmla="*/ 66 h 1226"/>
                  <a:gd name="T28" fmla="*/ 612 w 744"/>
                  <a:gd name="T29" fmla="*/ 54 h 1226"/>
                  <a:gd name="T30" fmla="*/ 721 w 744"/>
                  <a:gd name="T31" fmla="*/ 0 h 1226"/>
                  <a:gd name="T32" fmla="*/ 728 w 744"/>
                  <a:gd name="T33" fmla="*/ 33 h 1226"/>
                  <a:gd name="T34" fmla="*/ 728 w 744"/>
                  <a:gd name="T35" fmla="*/ 38 h 1226"/>
                  <a:gd name="T36" fmla="*/ 721 w 744"/>
                  <a:gd name="T37" fmla="*/ 88 h 1226"/>
                  <a:gd name="T38" fmla="*/ 732 w 744"/>
                  <a:gd name="T39" fmla="*/ 166 h 1226"/>
                  <a:gd name="T40" fmla="*/ 728 w 744"/>
                  <a:gd name="T41" fmla="*/ 182 h 1226"/>
                  <a:gd name="T42" fmla="*/ 721 w 744"/>
                  <a:gd name="T43" fmla="*/ 272 h 1226"/>
                  <a:gd name="T44" fmla="*/ 728 w 744"/>
                  <a:gd name="T45" fmla="*/ 293 h 1226"/>
                  <a:gd name="T46" fmla="*/ 732 w 744"/>
                  <a:gd name="T47" fmla="*/ 343 h 1226"/>
                  <a:gd name="T48" fmla="*/ 728 w 744"/>
                  <a:gd name="T49" fmla="*/ 364 h 1226"/>
                  <a:gd name="T50" fmla="*/ 673 w 744"/>
                  <a:gd name="T51" fmla="*/ 425 h 1226"/>
                  <a:gd name="T52" fmla="*/ 624 w 744"/>
                  <a:gd name="T53" fmla="*/ 470 h 1226"/>
                  <a:gd name="T54" fmla="*/ 489 w 744"/>
                  <a:gd name="T55" fmla="*/ 536 h 1226"/>
                  <a:gd name="T56" fmla="*/ 473 w 744"/>
                  <a:gd name="T57" fmla="*/ 565 h 1226"/>
                  <a:gd name="T58" fmla="*/ 406 w 744"/>
                  <a:gd name="T59" fmla="*/ 619 h 1226"/>
                  <a:gd name="T60" fmla="*/ 314 w 744"/>
                  <a:gd name="T61" fmla="*/ 690 h 1226"/>
                  <a:gd name="T62" fmla="*/ 343 w 744"/>
                  <a:gd name="T63" fmla="*/ 775 h 1226"/>
                  <a:gd name="T64" fmla="*/ 352 w 744"/>
                  <a:gd name="T65" fmla="*/ 884 h 1226"/>
                  <a:gd name="T66" fmla="*/ 369 w 744"/>
                  <a:gd name="T67" fmla="*/ 874 h 1226"/>
                  <a:gd name="T68" fmla="*/ 380 w 744"/>
                  <a:gd name="T69" fmla="*/ 928 h 1226"/>
                  <a:gd name="T70" fmla="*/ 352 w 744"/>
                  <a:gd name="T71" fmla="*/ 1006 h 1226"/>
                  <a:gd name="T72" fmla="*/ 331 w 744"/>
                  <a:gd name="T73" fmla="*/ 1051 h 1226"/>
                  <a:gd name="T74" fmla="*/ 163 w 744"/>
                  <a:gd name="T75" fmla="*/ 1155 h 1226"/>
                  <a:gd name="T76" fmla="*/ 184 w 744"/>
                  <a:gd name="T77" fmla="*/ 1226 h 1226"/>
                  <a:gd name="T78" fmla="*/ 125 w 744"/>
                  <a:gd name="T79" fmla="*/ 1155 h 1226"/>
                  <a:gd name="T80" fmla="*/ 92 w 744"/>
                  <a:gd name="T81" fmla="*/ 966 h 1226"/>
                  <a:gd name="T82" fmla="*/ 151 w 744"/>
                  <a:gd name="T83" fmla="*/ 801 h 1226"/>
                  <a:gd name="T84" fmla="*/ 163 w 744"/>
                  <a:gd name="T85" fmla="*/ 768 h 1226"/>
                  <a:gd name="T86" fmla="*/ 184 w 744"/>
                  <a:gd name="T87" fmla="*/ 730 h 1226"/>
                  <a:gd name="T88" fmla="*/ 184 w 744"/>
                  <a:gd name="T89" fmla="*/ 636 h 1226"/>
                  <a:gd name="T90" fmla="*/ 184 w 744"/>
                  <a:gd name="T91" fmla="*/ 607 h 1226"/>
                  <a:gd name="T92" fmla="*/ 191 w 744"/>
                  <a:gd name="T93" fmla="*/ 569 h 1226"/>
                  <a:gd name="T94" fmla="*/ 191 w 744"/>
                  <a:gd name="T95" fmla="*/ 515 h 1226"/>
                  <a:gd name="T96" fmla="*/ 191 w 744"/>
                  <a:gd name="T97" fmla="*/ 458 h 1226"/>
                  <a:gd name="T98" fmla="*/ 147 w 744"/>
                  <a:gd name="T99" fmla="*/ 442 h 1226"/>
                  <a:gd name="T100" fmla="*/ 83 w 744"/>
                  <a:gd name="T101" fmla="*/ 421 h 1226"/>
                  <a:gd name="T102" fmla="*/ 17 w 744"/>
                  <a:gd name="T103" fmla="*/ 380 h 1226"/>
                  <a:gd name="T104" fmla="*/ 678 w 744"/>
                  <a:gd name="T105" fmla="*/ 437 h 1226"/>
                  <a:gd name="T106" fmla="*/ 678 w 744"/>
                  <a:gd name="T107" fmla="*/ 437 h 1226"/>
                  <a:gd name="T108" fmla="*/ 191 w 744"/>
                  <a:gd name="T109" fmla="*/ 1160 h 1226"/>
                  <a:gd name="T110" fmla="*/ 191 w 744"/>
                  <a:gd name="T111" fmla="*/ 116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44" h="1226">
                    <a:moveTo>
                      <a:pt x="17" y="380"/>
                    </a:moveTo>
                    <a:lnTo>
                      <a:pt x="0" y="331"/>
                    </a:lnTo>
                    <a:lnTo>
                      <a:pt x="206" y="260"/>
                    </a:lnTo>
                    <a:lnTo>
                      <a:pt x="239" y="305"/>
                    </a:lnTo>
                    <a:lnTo>
                      <a:pt x="288" y="288"/>
                    </a:lnTo>
                    <a:lnTo>
                      <a:pt x="298" y="305"/>
                    </a:lnTo>
                    <a:lnTo>
                      <a:pt x="298" y="359"/>
                    </a:lnTo>
                    <a:lnTo>
                      <a:pt x="276" y="397"/>
                    </a:lnTo>
                    <a:lnTo>
                      <a:pt x="293" y="414"/>
                    </a:lnTo>
                    <a:lnTo>
                      <a:pt x="293" y="425"/>
                    </a:lnTo>
                    <a:lnTo>
                      <a:pt x="298" y="425"/>
                    </a:lnTo>
                    <a:lnTo>
                      <a:pt x="331" y="470"/>
                    </a:lnTo>
                    <a:lnTo>
                      <a:pt x="347" y="470"/>
                    </a:lnTo>
                    <a:lnTo>
                      <a:pt x="343" y="491"/>
                    </a:lnTo>
                    <a:lnTo>
                      <a:pt x="352" y="491"/>
                    </a:lnTo>
                    <a:lnTo>
                      <a:pt x="352" y="458"/>
                    </a:lnTo>
                    <a:lnTo>
                      <a:pt x="343" y="442"/>
                    </a:lnTo>
                    <a:lnTo>
                      <a:pt x="364" y="414"/>
                    </a:lnTo>
                    <a:lnTo>
                      <a:pt x="369" y="421"/>
                    </a:lnTo>
                    <a:lnTo>
                      <a:pt x="397" y="404"/>
                    </a:lnTo>
                    <a:lnTo>
                      <a:pt x="397" y="364"/>
                    </a:lnTo>
                    <a:lnTo>
                      <a:pt x="385" y="347"/>
                    </a:lnTo>
                    <a:lnTo>
                      <a:pt x="402" y="326"/>
                    </a:lnTo>
                    <a:lnTo>
                      <a:pt x="397" y="310"/>
                    </a:lnTo>
                    <a:lnTo>
                      <a:pt x="343" y="236"/>
                    </a:lnTo>
                    <a:lnTo>
                      <a:pt x="326" y="220"/>
                    </a:lnTo>
                    <a:lnTo>
                      <a:pt x="310" y="220"/>
                    </a:lnTo>
                    <a:lnTo>
                      <a:pt x="298" y="215"/>
                    </a:lnTo>
                    <a:lnTo>
                      <a:pt x="298" y="166"/>
                    </a:lnTo>
                    <a:lnTo>
                      <a:pt x="293" y="128"/>
                    </a:lnTo>
                    <a:lnTo>
                      <a:pt x="310" y="95"/>
                    </a:lnTo>
                    <a:lnTo>
                      <a:pt x="310" y="83"/>
                    </a:lnTo>
                    <a:lnTo>
                      <a:pt x="331" y="83"/>
                    </a:lnTo>
                    <a:lnTo>
                      <a:pt x="369" y="88"/>
                    </a:lnTo>
                    <a:lnTo>
                      <a:pt x="397" y="71"/>
                    </a:lnTo>
                    <a:lnTo>
                      <a:pt x="418" y="83"/>
                    </a:lnTo>
                    <a:lnTo>
                      <a:pt x="418" y="95"/>
                    </a:lnTo>
                    <a:lnTo>
                      <a:pt x="439" y="95"/>
                    </a:lnTo>
                    <a:lnTo>
                      <a:pt x="461" y="83"/>
                    </a:lnTo>
                    <a:lnTo>
                      <a:pt x="510" y="95"/>
                    </a:lnTo>
                    <a:lnTo>
                      <a:pt x="532" y="83"/>
                    </a:lnTo>
                    <a:lnTo>
                      <a:pt x="543" y="66"/>
                    </a:lnTo>
                    <a:lnTo>
                      <a:pt x="548" y="54"/>
                    </a:lnTo>
                    <a:lnTo>
                      <a:pt x="581" y="71"/>
                    </a:lnTo>
                    <a:lnTo>
                      <a:pt x="612" y="54"/>
                    </a:lnTo>
                    <a:lnTo>
                      <a:pt x="636" y="54"/>
                    </a:lnTo>
                    <a:lnTo>
                      <a:pt x="721" y="0"/>
                    </a:lnTo>
                    <a:lnTo>
                      <a:pt x="721" y="0"/>
                    </a:lnTo>
                    <a:lnTo>
                      <a:pt x="728" y="17"/>
                    </a:lnTo>
                    <a:lnTo>
                      <a:pt x="721" y="29"/>
                    </a:lnTo>
                    <a:lnTo>
                      <a:pt x="728" y="33"/>
                    </a:lnTo>
                    <a:lnTo>
                      <a:pt x="721" y="33"/>
                    </a:lnTo>
                    <a:lnTo>
                      <a:pt x="721" y="38"/>
                    </a:lnTo>
                    <a:lnTo>
                      <a:pt x="728" y="38"/>
                    </a:lnTo>
                    <a:lnTo>
                      <a:pt x="711" y="66"/>
                    </a:lnTo>
                    <a:lnTo>
                      <a:pt x="721" y="71"/>
                    </a:lnTo>
                    <a:lnTo>
                      <a:pt x="721" y="88"/>
                    </a:lnTo>
                    <a:lnTo>
                      <a:pt x="721" y="111"/>
                    </a:lnTo>
                    <a:lnTo>
                      <a:pt x="721" y="149"/>
                    </a:lnTo>
                    <a:lnTo>
                      <a:pt x="732" y="166"/>
                    </a:lnTo>
                    <a:lnTo>
                      <a:pt x="711" y="182"/>
                    </a:lnTo>
                    <a:lnTo>
                      <a:pt x="721" y="194"/>
                    </a:lnTo>
                    <a:lnTo>
                      <a:pt x="728" y="182"/>
                    </a:lnTo>
                    <a:lnTo>
                      <a:pt x="721" y="220"/>
                    </a:lnTo>
                    <a:lnTo>
                      <a:pt x="732" y="260"/>
                    </a:lnTo>
                    <a:lnTo>
                      <a:pt x="721" y="272"/>
                    </a:lnTo>
                    <a:lnTo>
                      <a:pt x="728" y="277"/>
                    </a:lnTo>
                    <a:lnTo>
                      <a:pt x="732" y="277"/>
                    </a:lnTo>
                    <a:lnTo>
                      <a:pt x="728" y="293"/>
                    </a:lnTo>
                    <a:lnTo>
                      <a:pt x="744" y="288"/>
                    </a:lnTo>
                    <a:lnTo>
                      <a:pt x="744" y="310"/>
                    </a:lnTo>
                    <a:lnTo>
                      <a:pt x="732" y="343"/>
                    </a:lnTo>
                    <a:lnTo>
                      <a:pt x="721" y="343"/>
                    </a:lnTo>
                    <a:lnTo>
                      <a:pt x="732" y="347"/>
                    </a:lnTo>
                    <a:lnTo>
                      <a:pt x="728" y="364"/>
                    </a:lnTo>
                    <a:lnTo>
                      <a:pt x="695" y="404"/>
                    </a:lnTo>
                    <a:lnTo>
                      <a:pt x="690" y="421"/>
                    </a:lnTo>
                    <a:lnTo>
                      <a:pt x="673" y="425"/>
                    </a:lnTo>
                    <a:lnTo>
                      <a:pt x="673" y="437"/>
                    </a:lnTo>
                    <a:lnTo>
                      <a:pt x="666" y="442"/>
                    </a:lnTo>
                    <a:lnTo>
                      <a:pt x="624" y="470"/>
                    </a:lnTo>
                    <a:lnTo>
                      <a:pt x="619" y="475"/>
                    </a:lnTo>
                    <a:lnTo>
                      <a:pt x="532" y="508"/>
                    </a:lnTo>
                    <a:lnTo>
                      <a:pt x="489" y="536"/>
                    </a:lnTo>
                    <a:lnTo>
                      <a:pt x="473" y="553"/>
                    </a:lnTo>
                    <a:lnTo>
                      <a:pt x="461" y="548"/>
                    </a:lnTo>
                    <a:lnTo>
                      <a:pt x="473" y="565"/>
                    </a:lnTo>
                    <a:lnTo>
                      <a:pt x="423" y="619"/>
                    </a:lnTo>
                    <a:lnTo>
                      <a:pt x="406" y="619"/>
                    </a:lnTo>
                    <a:lnTo>
                      <a:pt x="406" y="619"/>
                    </a:lnTo>
                    <a:lnTo>
                      <a:pt x="326" y="697"/>
                    </a:lnTo>
                    <a:lnTo>
                      <a:pt x="310" y="673"/>
                    </a:lnTo>
                    <a:lnTo>
                      <a:pt x="314" y="690"/>
                    </a:lnTo>
                    <a:lnTo>
                      <a:pt x="314" y="718"/>
                    </a:lnTo>
                    <a:lnTo>
                      <a:pt x="310" y="735"/>
                    </a:lnTo>
                    <a:lnTo>
                      <a:pt x="343" y="775"/>
                    </a:lnTo>
                    <a:lnTo>
                      <a:pt x="343" y="801"/>
                    </a:lnTo>
                    <a:lnTo>
                      <a:pt x="352" y="825"/>
                    </a:lnTo>
                    <a:lnTo>
                      <a:pt x="352" y="884"/>
                    </a:lnTo>
                    <a:lnTo>
                      <a:pt x="364" y="884"/>
                    </a:lnTo>
                    <a:lnTo>
                      <a:pt x="369" y="862"/>
                    </a:lnTo>
                    <a:lnTo>
                      <a:pt x="369" y="874"/>
                    </a:lnTo>
                    <a:lnTo>
                      <a:pt x="369" y="917"/>
                    </a:lnTo>
                    <a:lnTo>
                      <a:pt x="369" y="928"/>
                    </a:lnTo>
                    <a:lnTo>
                      <a:pt x="380" y="928"/>
                    </a:lnTo>
                    <a:lnTo>
                      <a:pt x="369" y="940"/>
                    </a:lnTo>
                    <a:lnTo>
                      <a:pt x="352" y="995"/>
                    </a:lnTo>
                    <a:lnTo>
                      <a:pt x="352" y="1006"/>
                    </a:lnTo>
                    <a:lnTo>
                      <a:pt x="369" y="990"/>
                    </a:lnTo>
                    <a:lnTo>
                      <a:pt x="369" y="1011"/>
                    </a:lnTo>
                    <a:lnTo>
                      <a:pt x="331" y="1051"/>
                    </a:lnTo>
                    <a:lnTo>
                      <a:pt x="239" y="1094"/>
                    </a:lnTo>
                    <a:lnTo>
                      <a:pt x="180" y="1134"/>
                    </a:lnTo>
                    <a:lnTo>
                      <a:pt x="163" y="1155"/>
                    </a:lnTo>
                    <a:lnTo>
                      <a:pt x="184" y="1177"/>
                    </a:lnTo>
                    <a:lnTo>
                      <a:pt x="191" y="1160"/>
                    </a:lnTo>
                    <a:lnTo>
                      <a:pt x="184" y="1226"/>
                    </a:lnTo>
                    <a:lnTo>
                      <a:pt x="130" y="1226"/>
                    </a:lnTo>
                    <a:lnTo>
                      <a:pt x="130" y="1172"/>
                    </a:lnTo>
                    <a:lnTo>
                      <a:pt x="125" y="1155"/>
                    </a:lnTo>
                    <a:lnTo>
                      <a:pt x="125" y="1040"/>
                    </a:lnTo>
                    <a:lnTo>
                      <a:pt x="113" y="1006"/>
                    </a:lnTo>
                    <a:lnTo>
                      <a:pt x="92" y="966"/>
                    </a:lnTo>
                    <a:lnTo>
                      <a:pt x="92" y="940"/>
                    </a:lnTo>
                    <a:lnTo>
                      <a:pt x="76" y="884"/>
                    </a:lnTo>
                    <a:lnTo>
                      <a:pt x="151" y="801"/>
                    </a:lnTo>
                    <a:lnTo>
                      <a:pt x="151" y="808"/>
                    </a:lnTo>
                    <a:lnTo>
                      <a:pt x="147" y="791"/>
                    </a:lnTo>
                    <a:lnTo>
                      <a:pt x="163" y="768"/>
                    </a:lnTo>
                    <a:lnTo>
                      <a:pt x="151" y="751"/>
                    </a:lnTo>
                    <a:lnTo>
                      <a:pt x="168" y="747"/>
                    </a:lnTo>
                    <a:lnTo>
                      <a:pt x="184" y="730"/>
                    </a:lnTo>
                    <a:lnTo>
                      <a:pt x="201" y="690"/>
                    </a:lnTo>
                    <a:lnTo>
                      <a:pt x="180" y="664"/>
                    </a:lnTo>
                    <a:lnTo>
                      <a:pt x="184" y="636"/>
                    </a:lnTo>
                    <a:lnTo>
                      <a:pt x="168" y="624"/>
                    </a:lnTo>
                    <a:lnTo>
                      <a:pt x="168" y="619"/>
                    </a:lnTo>
                    <a:lnTo>
                      <a:pt x="184" y="607"/>
                    </a:lnTo>
                    <a:lnTo>
                      <a:pt x="184" y="591"/>
                    </a:lnTo>
                    <a:lnTo>
                      <a:pt x="201" y="581"/>
                    </a:lnTo>
                    <a:lnTo>
                      <a:pt x="191" y="569"/>
                    </a:lnTo>
                    <a:lnTo>
                      <a:pt x="184" y="553"/>
                    </a:lnTo>
                    <a:lnTo>
                      <a:pt x="191" y="525"/>
                    </a:lnTo>
                    <a:lnTo>
                      <a:pt x="191" y="515"/>
                    </a:lnTo>
                    <a:lnTo>
                      <a:pt x="191" y="508"/>
                    </a:lnTo>
                    <a:lnTo>
                      <a:pt x="184" y="475"/>
                    </a:lnTo>
                    <a:lnTo>
                      <a:pt x="191" y="458"/>
                    </a:lnTo>
                    <a:lnTo>
                      <a:pt x="180" y="458"/>
                    </a:lnTo>
                    <a:lnTo>
                      <a:pt x="168" y="454"/>
                    </a:lnTo>
                    <a:lnTo>
                      <a:pt x="147" y="442"/>
                    </a:lnTo>
                    <a:lnTo>
                      <a:pt x="113" y="437"/>
                    </a:lnTo>
                    <a:lnTo>
                      <a:pt x="99" y="421"/>
                    </a:lnTo>
                    <a:lnTo>
                      <a:pt x="83" y="421"/>
                    </a:lnTo>
                    <a:lnTo>
                      <a:pt x="71" y="404"/>
                    </a:lnTo>
                    <a:lnTo>
                      <a:pt x="17" y="404"/>
                    </a:lnTo>
                    <a:lnTo>
                      <a:pt x="17" y="380"/>
                    </a:lnTo>
                    <a:lnTo>
                      <a:pt x="17" y="380"/>
                    </a:lnTo>
                    <a:lnTo>
                      <a:pt x="17" y="380"/>
                    </a:lnTo>
                    <a:close/>
                    <a:moveTo>
                      <a:pt x="678" y="437"/>
                    </a:moveTo>
                    <a:lnTo>
                      <a:pt x="673" y="425"/>
                    </a:lnTo>
                    <a:lnTo>
                      <a:pt x="678" y="425"/>
                    </a:lnTo>
                    <a:lnTo>
                      <a:pt x="678" y="437"/>
                    </a:lnTo>
                    <a:lnTo>
                      <a:pt x="678" y="437"/>
                    </a:lnTo>
                    <a:lnTo>
                      <a:pt x="678" y="437"/>
                    </a:lnTo>
                    <a:close/>
                    <a:moveTo>
                      <a:pt x="191" y="1160"/>
                    </a:moveTo>
                    <a:lnTo>
                      <a:pt x="184" y="1155"/>
                    </a:lnTo>
                    <a:lnTo>
                      <a:pt x="191" y="1155"/>
                    </a:lnTo>
                    <a:lnTo>
                      <a:pt x="191" y="1160"/>
                    </a:lnTo>
                    <a:lnTo>
                      <a:pt x="191" y="1160"/>
                    </a:lnTo>
                    <a:lnTo>
                      <a:pt x="191" y="116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3" name="Freeform 519">
                <a:extLst>
                  <a:ext uri="{FF2B5EF4-FFF2-40B4-BE49-F238E27FC236}">
                    <a16:creationId xmlns:a16="http://schemas.microsoft.com/office/drawing/2014/main" id="{1DAF2095-0A94-4E76-B114-13C1B2FC4448}"/>
                  </a:ext>
                </a:extLst>
              </p:cNvPr>
              <p:cNvSpPr>
                <a:spLocks/>
              </p:cNvSpPr>
              <p:nvPr/>
            </p:nvSpPr>
            <p:spPr bwMode="gray">
              <a:xfrm>
                <a:off x="6729118" y="3355676"/>
                <a:ext cx="456953" cy="361899"/>
              </a:xfrm>
              <a:custGeom>
                <a:avLst/>
                <a:gdLst>
                  <a:gd name="T0" fmla="*/ 194 w 1110"/>
                  <a:gd name="T1" fmla="*/ 824 h 879"/>
                  <a:gd name="T2" fmla="*/ 161 w 1110"/>
                  <a:gd name="T3" fmla="*/ 862 h 879"/>
                  <a:gd name="T4" fmla="*/ 144 w 1110"/>
                  <a:gd name="T5" fmla="*/ 824 h 879"/>
                  <a:gd name="T6" fmla="*/ 102 w 1110"/>
                  <a:gd name="T7" fmla="*/ 808 h 879"/>
                  <a:gd name="T8" fmla="*/ 64 w 1110"/>
                  <a:gd name="T9" fmla="*/ 751 h 879"/>
                  <a:gd name="T10" fmla="*/ 64 w 1110"/>
                  <a:gd name="T11" fmla="*/ 742 h 879"/>
                  <a:gd name="T12" fmla="*/ 31 w 1110"/>
                  <a:gd name="T13" fmla="*/ 725 h 879"/>
                  <a:gd name="T14" fmla="*/ 21 w 1110"/>
                  <a:gd name="T15" fmla="*/ 685 h 879"/>
                  <a:gd name="T16" fmla="*/ 9 w 1110"/>
                  <a:gd name="T17" fmla="*/ 642 h 879"/>
                  <a:gd name="T18" fmla="*/ 64 w 1110"/>
                  <a:gd name="T19" fmla="*/ 631 h 879"/>
                  <a:gd name="T20" fmla="*/ 198 w 1110"/>
                  <a:gd name="T21" fmla="*/ 607 h 879"/>
                  <a:gd name="T22" fmla="*/ 236 w 1110"/>
                  <a:gd name="T23" fmla="*/ 607 h 879"/>
                  <a:gd name="T24" fmla="*/ 264 w 1110"/>
                  <a:gd name="T25" fmla="*/ 586 h 879"/>
                  <a:gd name="T26" fmla="*/ 286 w 1110"/>
                  <a:gd name="T27" fmla="*/ 531 h 879"/>
                  <a:gd name="T28" fmla="*/ 399 w 1110"/>
                  <a:gd name="T29" fmla="*/ 309 h 879"/>
                  <a:gd name="T30" fmla="*/ 829 w 1110"/>
                  <a:gd name="T31" fmla="*/ 0 h 879"/>
                  <a:gd name="T32" fmla="*/ 987 w 1110"/>
                  <a:gd name="T33" fmla="*/ 71 h 879"/>
                  <a:gd name="T34" fmla="*/ 1056 w 1110"/>
                  <a:gd name="T35" fmla="*/ 111 h 879"/>
                  <a:gd name="T36" fmla="*/ 1089 w 1110"/>
                  <a:gd name="T37" fmla="*/ 187 h 879"/>
                  <a:gd name="T38" fmla="*/ 1110 w 1110"/>
                  <a:gd name="T39" fmla="*/ 238 h 879"/>
                  <a:gd name="T40" fmla="*/ 1077 w 1110"/>
                  <a:gd name="T41" fmla="*/ 491 h 879"/>
                  <a:gd name="T42" fmla="*/ 964 w 1110"/>
                  <a:gd name="T43" fmla="*/ 631 h 879"/>
                  <a:gd name="T44" fmla="*/ 933 w 1110"/>
                  <a:gd name="T45" fmla="*/ 668 h 879"/>
                  <a:gd name="T46" fmla="*/ 926 w 1110"/>
                  <a:gd name="T47" fmla="*/ 725 h 879"/>
                  <a:gd name="T48" fmla="*/ 895 w 1110"/>
                  <a:gd name="T49" fmla="*/ 742 h 879"/>
                  <a:gd name="T50" fmla="*/ 791 w 1110"/>
                  <a:gd name="T51" fmla="*/ 751 h 879"/>
                  <a:gd name="T52" fmla="*/ 701 w 1110"/>
                  <a:gd name="T53" fmla="*/ 758 h 879"/>
                  <a:gd name="T54" fmla="*/ 602 w 1110"/>
                  <a:gd name="T55" fmla="*/ 779 h 879"/>
                  <a:gd name="T56" fmla="*/ 539 w 1110"/>
                  <a:gd name="T57" fmla="*/ 751 h 879"/>
                  <a:gd name="T58" fmla="*/ 501 w 1110"/>
                  <a:gd name="T59" fmla="*/ 775 h 879"/>
                  <a:gd name="T60" fmla="*/ 479 w 1110"/>
                  <a:gd name="T61" fmla="*/ 779 h 879"/>
                  <a:gd name="T62" fmla="*/ 425 w 1110"/>
                  <a:gd name="T63" fmla="*/ 735 h 879"/>
                  <a:gd name="T64" fmla="*/ 361 w 1110"/>
                  <a:gd name="T65" fmla="*/ 725 h 879"/>
                  <a:gd name="T66" fmla="*/ 307 w 1110"/>
                  <a:gd name="T67" fmla="*/ 725 h 879"/>
                  <a:gd name="T68" fmla="*/ 279 w 1110"/>
                  <a:gd name="T69" fmla="*/ 779 h 879"/>
                  <a:gd name="T70" fmla="*/ 248 w 1110"/>
                  <a:gd name="T71" fmla="*/ 812 h 879"/>
                  <a:gd name="T72" fmla="*/ 253 w 1110"/>
                  <a:gd name="T73" fmla="*/ 869 h 879"/>
                  <a:gd name="T74" fmla="*/ 248 w 1110"/>
                  <a:gd name="T75" fmla="*/ 87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10" h="879">
                    <a:moveTo>
                      <a:pt x="248" y="879"/>
                    </a:moveTo>
                    <a:lnTo>
                      <a:pt x="194" y="824"/>
                    </a:lnTo>
                    <a:lnTo>
                      <a:pt x="161" y="836"/>
                    </a:lnTo>
                    <a:lnTo>
                      <a:pt x="161" y="862"/>
                    </a:lnTo>
                    <a:lnTo>
                      <a:pt x="139" y="829"/>
                    </a:lnTo>
                    <a:lnTo>
                      <a:pt x="144" y="824"/>
                    </a:lnTo>
                    <a:lnTo>
                      <a:pt x="139" y="808"/>
                    </a:lnTo>
                    <a:lnTo>
                      <a:pt x="102" y="808"/>
                    </a:lnTo>
                    <a:lnTo>
                      <a:pt x="64" y="775"/>
                    </a:lnTo>
                    <a:lnTo>
                      <a:pt x="64" y="751"/>
                    </a:lnTo>
                    <a:lnTo>
                      <a:pt x="85" y="758"/>
                    </a:lnTo>
                    <a:lnTo>
                      <a:pt x="64" y="742"/>
                    </a:lnTo>
                    <a:lnTo>
                      <a:pt x="64" y="742"/>
                    </a:lnTo>
                    <a:lnTo>
                      <a:pt x="31" y="725"/>
                    </a:lnTo>
                    <a:lnTo>
                      <a:pt x="14" y="697"/>
                    </a:lnTo>
                    <a:lnTo>
                      <a:pt x="21" y="685"/>
                    </a:lnTo>
                    <a:lnTo>
                      <a:pt x="0" y="668"/>
                    </a:lnTo>
                    <a:lnTo>
                      <a:pt x="9" y="642"/>
                    </a:lnTo>
                    <a:lnTo>
                      <a:pt x="9" y="631"/>
                    </a:lnTo>
                    <a:lnTo>
                      <a:pt x="64" y="631"/>
                    </a:lnTo>
                    <a:lnTo>
                      <a:pt x="85" y="614"/>
                    </a:lnTo>
                    <a:lnTo>
                      <a:pt x="198" y="607"/>
                    </a:lnTo>
                    <a:lnTo>
                      <a:pt x="210" y="602"/>
                    </a:lnTo>
                    <a:lnTo>
                      <a:pt x="236" y="607"/>
                    </a:lnTo>
                    <a:lnTo>
                      <a:pt x="236" y="590"/>
                    </a:lnTo>
                    <a:lnTo>
                      <a:pt x="264" y="586"/>
                    </a:lnTo>
                    <a:lnTo>
                      <a:pt x="279" y="536"/>
                    </a:lnTo>
                    <a:lnTo>
                      <a:pt x="286" y="531"/>
                    </a:lnTo>
                    <a:lnTo>
                      <a:pt x="290" y="326"/>
                    </a:lnTo>
                    <a:lnTo>
                      <a:pt x="399" y="309"/>
                    </a:lnTo>
                    <a:lnTo>
                      <a:pt x="517" y="198"/>
                    </a:lnTo>
                    <a:lnTo>
                      <a:pt x="829" y="0"/>
                    </a:lnTo>
                    <a:lnTo>
                      <a:pt x="938" y="21"/>
                    </a:lnTo>
                    <a:lnTo>
                      <a:pt x="987" y="71"/>
                    </a:lnTo>
                    <a:lnTo>
                      <a:pt x="1039" y="38"/>
                    </a:lnTo>
                    <a:lnTo>
                      <a:pt x="1056" y="111"/>
                    </a:lnTo>
                    <a:lnTo>
                      <a:pt x="1056" y="149"/>
                    </a:lnTo>
                    <a:lnTo>
                      <a:pt x="1089" y="187"/>
                    </a:lnTo>
                    <a:lnTo>
                      <a:pt x="1089" y="203"/>
                    </a:lnTo>
                    <a:lnTo>
                      <a:pt x="1110" y="238"/>
                    </a:lnTo>
                    <a:lnTo>
                      <a:pt x="1094" y="272"/>
                    </a:lnTo>
                    <a:lnTo>
                      <a:pt x="1077" y="491"/>
                    </a:lnTo>
                    <a:lnTo>
                      <a:pt x="1001" y="574"/>
                    </a:lnTo>
                    <a:lnTo>
                      <a:pt x="964" y="631"/>
                    </a:lnTo>
                    <a:lnTo>
                      <a:pt x="950" y="664"/>
                    </a:lnTo>
                    <a:lnTo>
                      <a:pt x="933" y="668"/>
                    </a:lnTo>
                    <a:lnTo>
                      <a:pt x="950" y="725"/>
                    </a:lnTo>
                    <a:lnTo>
                      <a:pt x="926" y="725"/>
                    </a:lnTo>
                    <a:lnTo>
                      <a:pt x="916" y="742"/>
                    </a:lnTo>
                    <a:lnTo>
                      <a:pt x="895" y="742"/>
                    </a:lnTo>
                    <a:lnTo>
                      <a:pt x="862" y="775"/>
                    </a:lnTo>
                    <a:lnTo>
                      <a:pt x="791" y="751"/>
                    </a:lnTo>
                    <a:lnTo>
                      <a:pt x="739" y="751"/>
                    </a:lnTo>
                    <a:lnTo>
                      <a:pt x="701" y="758"/>
                    </a:lnTo>
                    <a:lnTo>
                      <a:pt x="668" y="796"/>
                    </a:lnTo>
                    <a:lnTo>
                      <a:pt x="602" y="779"/>
                    </a:lnTo>
                    <a:lnTo>
                      <a:pt x="560" y="758"/>
                    </a:lnTo>
                    <a:lnTo>
                      <a:pt x="539" y="751"/>
                    </a:lnTo>
                    <a:lnTo>
                      <a:pt x="505" y="775"/>
                    </a:lnTo>
                    <a:lnTo>
                      <a:pt x="501" y="775"/>
                    </a:lnTo>
                    <a:lnTo>
                      <a:pt x="484" y="779"/>
                    </a:lnTo>
                    <a:lnTo>
                      <a:pt x="479" y="779"/>
                    </a:lnTo>
                    <a:lnTo>
                      <a:pt x="430" y="725"/>
                    </a:lnTo>
                    <a:lnTo>
                      <a:pt x="425" y="735"/>
                    </a:lnTo>
                    <a:lnTo>
                      <a:pt x="378" y="718"/>
                    </a:lnTo>
                    <a:lnTo>
                      <a:pt x="361" y="725"/>
                    </a:lnTo>
                    <a:lnTo>
                      <a:pt x="333" y="725"/>
                    </a:lnTo>
                    <a:lnTo>
                      <a:pt x="307" y="725"/>
                    </a:lnTo>
                    <a:lnTo>
                      <a:pt x="286" y="742"/>
                    </a:lnTo>
                    <a:lnTo>
                      <a:pt x="279" y="779"/>
                    </a:lnTo>
                    <a:lnTo>
                      <a:pt x="269" y="796"/>
                    </a:lnTo>
                    <a:lnTo>
                      <a:pt x="248" y="812"/>
                    </a:lnTo>
                    <a:lnTo>
                      <a:pt x="248" y="862"/>
                    </a:lnTo>
                    <a:lnTo>
                      <a:pt x="253" y="869"/>
                    </a:lnTo>
                    <a:lnTo>
                      <a:pt x="248" y="879"/>
                    </a:lnTo>
                    <a:lnTo>
                      <a:pt x="248" y="879"/>
                    </a:lnTo>
                    <a:lnTo>
                      <a:pt x="248" y="87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04" name="Freeform 521">
                <a:extLst>
                  <a:ext uri="{FF2B5EF4-FFF2-40B4-BE49-F238E27FC236}">
                    <a16:creationId xmlns:a16="http://schemas.microsoft.com/office/drawing/2014/main" id="{AE052BD1-A4A8-42FC-ABDC-4E2B55770D38}"/>
                  </a:ext>
                </a:extLst>
              </p:cNvPr>
              <p:cNvSpPr>
                <a:spLocks noEditPoints="1"/>
              </p:cNvSpPr>
              <p:nvPr/>
            </p:nvSpPr>
            <p:spPr bwMode="gray">
              <a:xfrm>
                <a:off x="6802807" y="3652111"/>
                <a:ext cx="346214" cy="288202"/>
              </a:xfrm>
              <a:custGeom>
                <a:avLst/>
                <a:gdLst>
                  <a:gd name="T0" fmla="*/ 648 w 841"/>
                  <a:gd name="T1" fmla="*/ 494 h 700"/>
                  <a:gd name="T2" fmla="*/ 610 w 841"/>
                  <a:gd name="T3" fmla="*/ 539 h 700"/>
                  <a:gd name="T4" fmla="*/ 556 w 841"/>
                  <a:gd name="T5" fmla="*/ 494 h 700"/>
                  <a:gd name="T6" fmla="*/ 522 w 841"/>
                  <a:gd name="T7" fmla="*/ 501 h 700"/>
                  <a:gd name="T8" fmla="*/ 492 w 841"/>
                  <a:gd name="T9" fmla="*/ 534 h 700"/>
                  <a:gd name="T10" fmla="*/ 437 w 841"/>
                  <a:gd name="T11" fmla="*/ 605 h 700"/>
                  <a:gd name="T12" fmla="*/ 409 w 841"/>
                  <a:gd name="T13" fmla="*/ 666 h 700"/>
                  <a:gd name="T14" fmla="*/ 395 w 841"/>
                  <a:gd name="T15" fmla="*/ 671 h 700"/>
                  <a:gd name="T16" fmla="*/ 345 w 841"/>
                  <a:gd name="T17" fmla="*/ 666 h 700"/>
                  <a:gd name="T18" fmla="*/ 308 w 841"/>
                  <a:gd name="T19" fmla="*/ 662 h 700"/>
                  <a:gd name="T20" fmla="*/ 303 w 841"/>
                  <a:gd name="T21" fmla="*/ 666 h 700"/>
                  <a:gd name="T22" fmla="*/ 291 w 841"/>
                  <a:gd name="T23" fmla="*/ 688 h 700"/>
                  <a:gd name="T24" fmla="*/ 286 w 841"/>
                  <a:gd name="T25" fmla="*/ 688 h 700"/>
                  <a:gd name="T26" fmla="*/ 286 w 841"/>
                  <a:gd name="T27" fmla="*/ 688 h 700"/>
                  <a:gd name="T28" fmla="*/ 253 w 841"/>
                  <a:gd name="T29" fmla="*/ 683 h 700"/>
                  <a:gd name="T30" fmla="*/ 215 w 841"/>
                  <a:gd name="T31" fmla="*/ 683 h 700"/>
                  <a:gd name="T32" fmla="*/ 199 w 841"/>
                  <a:gd name="T33" fmla="*/ 633 h 700"/>
                  <a:gd name="T34" fmla="*/ 211 w 841"/>
                  <a:gd name="T35" fmla="*/ 605 h 700"/>
                  <a:gd name="T36" fmla="*/ 178 w 841"/>
                  <a:gd name="T37" fmla="*/ 605 h 700"/>
                  <a:gd name="T38" fmla="*/ 156 w 841"/>
                  <a:gd name="T39" fmla="*/ 572 h 700"/>
                  <a:gd name="T40" fmla="*/ 85 w 841"/>
                  <a:gd name="T41" fmla="*/ 522 h 700"/>
                  <a:gd name="T42" fmla="*/ 48 w 841"/>
                  <a:gd name="T43" fmla="*/ 551 h 700"/>
                  <a:gd name="T44" fmla="*/ 0 w 841"/>
                  <a:gd name="T45" fmla="*/ 440 h 700"/>
                  <a:gd name="T46" fmla="*/ 38 w 841"/>
                  <a:gd name="T47" fmla="*/ 329 h 700"/>
                  <a:gd name="T48" fmla="*/ 71 w 841"/>
                  <a:gd name="T49" fmla="*/ 284 h 700"/>
                  <a:gd name="T50" fmla="*/ 76 w 841"/>
                  <a:gd name="T51" fmla="*/ 244 h 700"/>
                  <a:gd name="T52" fmla="*/ 76 w 841"/>
                  <a:gd name="T53" fmla="*/ 222 h 700"/>
                  <a:gd name="T54" fmla="*/ 71 w 841"/>
                  <a:gd name="T55" fmla="*/ 161 h 700"/>
                  <a:gd name="T56" fmla="*/ 71 w 841"/>
                  <a:gd name="T57" fmla="*/ 95 h 700"/>
                  <a:gd name="T58" fmla="*/ 109 w 841"/>
                  <a:gd name="T59" fmla="*/ 22 h 700"/>
                  <a:gd name="T60" fmla="*/ 185 w 841"/>
                  <a:gd name="T61" fmla="*/ 5 h 700"/>
                  <a:gd name="T62" fmla="*/ 253 w 841"/>
                  <a:gd name="T63" fmla="*/ 5 h 700"/>
                  <a:gd name="T64" fmla="*/ 324 w 841"/>
                  <a:gd name="T65" fmla="*/ 57 h 700"/>
                  <a:gd name="T66" fmla="*/ 383 w 841"/>
                  <a:gd name="T67" fmla="*/ 38 h 700"/>
                  <a:gd name="T68" fmla="*/ 522 w 841"/>
                  <a:gd name="T69" fmla="*/ 38 h 700"/>
                  <a:gd name="T70" fmla="*/ 685 w 841"/>
                  <a:gd name="T71" fmla="*/ 57 h 700"/>
                  <a:gd name="T72" fmla="*/ 749 w 841"/>
                  <a:gd name="T73" fmla="*/ 5 h 700"/>
                  <a:gd name="T74" fmla="*/ 808 w 841"/>
                  <a:gd name="T75" fmla="*/ 107 h 700"/>
                  <a:gd name="T76" fmla="*/ 841 w 841"/>
                  <a:gd name="T77" fmla="*/ 149 h 700"/>
                  <a:gd name="T78" fmla="*/ 792 w 841"/>
                  <a:gd name="T79" fmla="*/ 189 h 700"/>
                  <a:gd name="T80" fmla="*/ 754 w 841"/>
                  <a:gd name="T81" fmla="*/ 272 h 700"/>
                  <a:gd name="T82" fmla="*/ 719 w 841"/>
                  <a:gd name="T83" fmla="*/ 329 h 700"/>
                  <a:gd name="T84" fmla="*/ 685 w 841"/>
                  <a:gd name="T85" fmla="*/ 383 h 700"/>
                  <a:gd name="T86" fmla="*/ 669 w 841"/>
                  <a:gd name="T87" fmla="*/ 428 h 700"/>
                  <a:gd name="T88" fmla="*/ 643 w 841"/>
                  <a:gd name="T89" fmla="*/ 478 h 700"/>
                  <a:gd name="T90" fmla="*/ 319 w 841"/>
                  <a:gd name="T91" fmla="*/ 688 h 700"/>
                  <a:gd name="T92" fmla="*/ 319 w 841"/>
                  <a:gd name="T93" fmla="*/ 688 h 700"/>
                  <a:gd name="T94" fmla="*/ 341 w 841"/>
                  <a:gd name="T95" fmla="*/ 683 h 700"/>
                  <a:gd name="T96" fmla="*/ 341 w 841"/>
                  <a:gd name="T97" fmla="*/ 683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1" h="700">
                    <a:moveTo>
                      <a:pt x="643" y="478"/>
                    </a:moveTo>
                    <a:lnTo>
                      <a:pt x="643" y="478"/>
                    </a:lnTo>
                    <a:lnTo>
                      <a:pt x="648" y="494"/>
                    </a:lnTo>
                    <a:lnTo>
                      <a:pt x="626" y="506"/>
                    </a:lnTo>
                    <a:lnTo>
                      <a:pt x="626" y="522"/>
                    </a:lnTo>
                    <a:lnTo>
                      <a:pt x="610" y="539"/>
                    </a:lnTo>
                    <a:lnTo>
                      <a:pt x="593" y="539"/>
                    </a:lnTo>
                    <a:lnTo>
                      <a:pt x="593" y="518"/>
                    </a:lnTo>
                    <a:lnTo>
                      <a:pt x="556" y="494"/>
                    </a:lnTo>
                    <a:lnTo>
                      <a:pt x="556" y="506"/>
                    </a:lnTo>
                    <a:lnTo>
                      <a:pt x="534" y="506"/>
                    </a:lnTo>
                    <a:lnTo>
                      <a:pt x="522" y="501"/>
                    </a:lnTo>
                    <a:lnTo>
                      <a:pt x="506" y="518"/>
                    </a:lnTo>
                    <a:lnTo>
                      <a:pt x="501" y="518"/>
                    </a:lnTo>
                    <a:lnTo>
                      <a:pt x="492" y="534"/>
                    </a:lnTo>
                    <a:lnTo>
                      <a:pt x="471" y="551"/>
                    </a:lnTo>
                    <a:lnTo>
                      <a:pt x="437" y="577"/>
                    </a:lnTo>
                    <a:lnTo>
                      <a:pt x="437" y="605"/>
                    </a:lnTo>
                    <a:lnTo>
                      <a:pt x="433" y="629"/>
                    </a:lnTo>
                    <a:lnTo>
                      <a:pt x="416" y="662"/>
                    </a:lnTo>
                    <a:lnTo>
                      <a:pt x="409" y="666"/>
                    </a:lnTo>
                    <a:lnTo>
                      <a:pt x="395" y="650"/>
                    </a:lnTo>
                    <a:lnTo>
                      <a:pt x="400" y="666"/>
                    </a:lnTo>
                    <a:lnTo>
                      <a:pt x="395" y="671"/>
                    </a:lnTo>
                    <a:lnTo>
                      <a:pt x="357" y="683"/>
                    </a:lnTo>
                    <a:lnTo>
                      <a:pt x="345" y="671"/>
                    </a:lnTo>
                    <a:lnTo>
                      <a:pt x="345" y="666"/>
                    </a:lnTo>
                    <a:lnTo>
                      <a:pt x="341" y="671"/>
                    </a:lnTo>
                    <a:lnTo>
                      <a:pt x="324" y="671"/>
                    </a:lnTo>
                    <a:lnTo>
                      <a:pt x="308" y="662"/>
                    </a:lnTo>
                    <a:lnTo>
                      <a:pt x="319" y="683"/>
                    </a:lnTo>
                    <a:lnTo>
                      <a:pt x="308" y="683"/>
                    </a:lnTo>
                    <a:lnTo>
                      <a:pt x="303" y="666"/>
                    </a:lnTo>
                    <a:lnTo>
                      <a:pt x="303" y="666"/>
                    </a:lnTo>
                    <a:lnTo>
                      <a:pt x="308" y="688"/>
                    </a:lnTo>
                    <a:lnTo>
                      <a:pt x="291" y="688"/>
                    </a:lnTo>
                    <a:lnTo>
                      <a:pt x="291" y="662"/>
                    </a:lnTo>
                    <a:lnTo>
                      <a:pt x="291" y="688"/>
                    </a:lnTo>
                    <a:lnTo>
                      <a:pt x="286" y="688"/>
                    </a:lnTo>
                    <a:lnTo>
                      <a:pt x="286" y="671"/>
                    </a:lnTo>
                    <a:lnTo>
                      <a:pt x="286" y="683"/>
                    </a:lnTo>
                    <a:lnTo>
                      <a:pt x="286" y="688"/>
                    </a:lnTo>
                    <a:lnTo>
                      <a:pt x="253" y="700"/>
                    </a:lnTo>
                    <a:lnTo>
                      <a:pt x="265" y="683"/>
                    </a:lnTo>
                    <a:lnTo>
                      <a:pt x="253" y="683"/>
                    </a:lnTo>
                    <a:lnTo>
                      <a:pt x="248" y="688"/>
                    </a:lnTo>
                    <a:lnTo>
                      <a:pt x="237" y="700"/>
                    </a:lnTo>
                    <a:lnTo>
                      <a:pt x="215" y="683"/>
                    </a:lnTo>
                    <a:lnTo>
                      <a:pt x="199" y="650"/>
                    </a:lnTo>
                    <a:lnTo>
                      <a:pt x="194" y="633"/>
                    </a:lnTo>
                    <a:lnTo>
                      <a:pt x="199" y="633"/>
                    </a:lnTo>
                    <a:lnTo>
                      <a:pt x="194" y="633"/>
                    </a:lnTo>
                    <a:lnTo>
                      <a:pt x="194" y="617"/>
                    </a:lnTo>
                    <a:lnTo>
                      <a:pt x="211" y="605"/>
                    </a:lnTo>
                    <a:lnTo>
                      <a:pt x="199" y="612"/>
                    </a:lnTo>
                    <a:lnTo>
                      <a:pt x="185" y="612"/>
                    </a:lnTo>
                    <a:lnTo>
                      <a:pt x="178" y="605"/>
                    </a:lnTo>
                    <a:lnTo>
                      <a:pt x="199" y="593"/>
                    </a:lnTo>
                    <a:lnTo>
                      <a:pt x="178" y="605"/>
                    </a:lnTo>
                    <a:lnTo>
                      <a:pt x="156" y="572"/>
                    </a:lnTo>
                    <a:lnTo>
                      <a:pt x="130" y="551"/>
                    </a:lnTo>
                    <a:lnTo>
                      <a:pt x="55" y="539"/>
                    </a:lnTo>
                    <a:lnTo>
                      <a:pt x="85" y="522"/>
                    </a:lnTo>
                    <a:lnTo>
                      <a:pt x="60" y="534"/>
                    </a:lnTo>
                    <a:lnTo>
                      <a:pt x="60" y="534"/>
                    </a:lnTo>
                    <a:lnTo>
                      <a:pt x="48" y="551"/>
                    </a:lnTo>
                    <a:lnTo>
                      <a:pt x="5" y="551"/>
                    </a:lnTo>
                    <a:lnTo>
                      <a:pt x="5" y="494"/>
                    </a:lnTo>
                    <a:lnTo>
                      <a:pt x="0" y="440"/>
                    </a:lnTo>
                    <a:lnTo>
                      <a:pt x="5" y="350"/>
                    </a:lnTo>
                    <a:lnTo>
                      <a:pt x="34" y="350"/>
                    </a:lnTo>
                    <a:lnTo>
                      <a:pt x="38" y="329"/>
                    </a:lnTo>
                    <a:lnTo>
                      <a:pt x="55" y="300"/>
                    </a:lnTo>
                    <a:lnTo>
                      <a:pt x="48" y="296"/>
                    </a:lnTo>
                    <a:lnTo>
                      <a:pt x="71" y="284"/>
                    </a:lnTo>
                    <a:lnTo>
                      <a:pt x="76" y="272"/>
                    </a:lnTo>
                    <a:lnTo>
                      <a:pt x="71" y="260"/>
                    </a:lnTo>
                    <a:lnTo>
                      <a:pt x="76" y="244"/>
                    </a:lnTo>
                    <a:lnTo>
                      <a:pt x="85" y="255"/>
                    </a:lnTo>
                    <a:lnTo>
                      <a:pt x="85" y="239"/>
                    </a:lnTo>
                    <a:lnTo>
                      <a:pt x="76" y="222"/>
                    </a:lnTo>
                    <a:lnTo>
                      <a:pt x="76" y="201"/>
                    </a:lnTo>
                    <a:lnTo>
                      <a:pt x="60" y="173"/>
                    </a:lnTo>
                    <a:lnTo>
                      <a:pt x="71" y="161"/>
                    </a:lnTo>
                    <a:lnTo>
                      <a:pt x="76" y="149"/>
                    </a:lnTo>
                    <a:lnTo>
                      <a:pt x="71" y="144"/>
                    </a:lnTo>
                    <a:lnTo>
                      <a:pt x="71" y="95"/>
                    </a:lnTo>
                    <a:lnTo>
                      <a:pt x="93" y="78"/>
                    </a:lnTo>
                    <a:lnTo>
                      <a:pt x="102" y="62"/>
                    </a:lnTo>
                    <a:lnTo>
                      <a:pt x="109" y="22"/>
                    </a:lnTo>
                    <a:lnTo>
                      <a:pt x="130" y="5"/>
                    </a:lnTo>
                    <a:lnTo>
                      <a:pt x="156" y="5"/>
                    </a:lnTo>
                    <a:lnTo>
                      <a:pt x="185" y="5"/>
                    </a:lnTo>
                    <a:lnTo>
                      <a:pt x="199" y="0"/>
                    </a:lnTo>
                    <a:lnTo>
                      <a:pt x="248" y="17"/>
                    </a:lnTo>
                    <a:lnTo>
                      <a:pt x="253" y="5"/>
                    </a:lnTo>
                    <a:lnTo>
                      <a:pt x="303" y="62"/>
                    </a:lnTo>
                    <a:lnTo>
                      <a:pt x="308" y="62"/>
                    </a:lnTo>
                    <a:lnTo>
                      <a:pt x="324" y="57"/>
                    </a:lnTo>
                    <a:lnTo>
                      <a:pt x="329" y="57"/>
                    </a:lnTo>
                    <a:lnTo>
                      <a:pt x="362" y="33"/>
                    </a:lnTo>
                    <a:lnTo>
                      <a:pt x="383" y="38"/>
                    </a:lnTo>
                    <a:lnTo>
                      <a:pt x="426" y="62"/>
                    </a:lnTo>
                    <a:lnTo>
                      <a:pt x="492" y="78"/>
                    </a:lnTo>
                    <a:lnTo>
                      <a:pt x="522" y="38"/>
                    </a:lnTo>
                    <a:lnTo>
                      <a:pt x="560" y="33"/>
                    </a:lnTo>
                    <a:lnTo>
                      <a:pt x="615" y="33"/>
                    </a:lnTo>
                    <a:lnTo>
                      <a:pt x="685" y="57"/>
                    </a:lnTo>
                    <a:lnTo>
                      <a:pt x="719" y="22"/>
                    </a:lnTo>
                    <a:lnTo>
                      <a:pt x="740" y="22"/>
                    </a:lnTo>
                    <a:lnTo>
                      <a:pt x="749" y="5"/>
                    </a:lnTo>
                    <a:lnTo>
                      <a:pt x="771" y="5"/>
                    </a:lnTo>
                    <a:lnTo>
                      <a:pt x="804" y="57"/>
                    </a:lnTo>
                    <a:lnTo>
                      <a:pt x="808" y="107"/>
                    </a:lnTo>
                    <a:lnTo>
                      <a:pt x="830" y="111"/>
                    </a:lnTo>
                    <a:lnTo>
                      <a:pt x="841" y="116"/>
                    </a:lnTo>
                    <a:lnTo>
                      <a:pt x="841" y="149"/>
                    </a:lnTo>
                    <a:lnTo>
                      <a:pt x="841" y="168"/>
                    </a:lnTo>
                    <a:lnTo>
                      <a:pt x="808" y="189"/>
                    </a:lnTo>
                    <a:lnTo>
                      <a:pt x="792" y="189"/>
                    </a:lnTo>
                    <a:lnTo>
                      <a:pt x="778" y="206"/>
                    </a:lnTo>
                    <a:lnTo>
                      <a:pt x="761" y="239"/>
                    </a:lnTo>
                    <a:lnTo>
                      <a:pt x="754" y="272"/>
                    </a:lnTo>
                    <a:lnTo>
                      <a:pt x="749" y="279"/>
                    </a:lnTo>
                    <a:lnTo>
                      <a:pt x="740" y="312"/>
                    </a:lnTo>
                    <a:lnTo>
                      <a:pt x="719" y="329"/>
                    </a:lnTo>
                    <a:lnTo>
                      <a:pt x="707" y="371"/>
                    </a:lnTo>
                    <a:lnTo>
                      <a:pt x="702" y="383"/>
                    </a:lnTo>
                    <a:lnTo>
                      <a:pt x="685" y="383"/>
                    </a:lnTo>
                    <a:lnTo>
                      <a:pt x="685" y="390"/>
                    </a:lnTo>
                    <a:lnTo>
                      <a:pt x="669" y="395"/>
                    </a:lnTo>
                    <a:lnTo>
                      <a:pt x="669" y="428"/>
                    </a:lnTo>
                    <a:lnTo>
                      <a:pt x="652" y="444"/>
                    </a:lnTo>
                    <a:lnTo>
                      <a:pt x="652" y="461"/>
                    </a:lnTo>
                    <a:lnTo>
                      <a:pt x="643" y="478"/>
                    </a:lnTo>
                    <a:lnTo>
                      <a:pt x="643" y="478"/>
                    </a:lnTo>
                    <a:lnTo>
                      <a:pt x="643" y="478"/>
                    </a:lnTo>
                    <a:close/>
                    <a:moveTo>
                      <a:pt x="319" y="688"/>
                    </a:moveTo>
                    <a:lnTo>
                      <a:pt x="324" y="671"/>
                    </a:lnTo>
                    <a:lnTo>
                      <a:pt x="329" y="683"/>
                    </a:lnTo>
                    <a:lnTo>
                      <a:pt x="319" y="688"/>
                    </a:lnTo>
                    <a:lnTo>
                      <a:pt x="319" y="688"/>
                    </a:lnTo>
                    <a:lnTo>
                      <a:pt x="319" y="688"/>
                    </a:lnTo>
                    <a:close/>
                    <a:moveTo>
                      <a:pt x="341" y="683"/>
                    </a:moveTo>
                    <a:lnTo>
                      <a:pt x="329" y="683"/>
                    </a:lnTo>
                    <a:lnTo>
                      <a:pt x="341" y="683"/>
                    </a:lnTo>
                    <a:lnTo>
                      <a:pt x="341" y="683"/>
                    </a:lnTo>
                    <a:lnTo>
                      <a:pt x="341" y="683"/>
                    </a:lnTo>
                    <a:lnTo>
                      <a:pt x="341" y="68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19" name="Freeform 537">
                <a:extLst>
                  <a:ext uri="{FF2B5EF4-FFF2-40B4-BE49-F238E27FC236}">
                    <a16:creationId xmlns:a16="http://schemas.microsoft.com/office/drawing/2014/main" id="{4B75AC6D-DA10-4C71-A70B-1AD1F89437CE}"/>
                  </a:ext>
                </a:extLst>
              </p:cNvPr>
              <p:cNvSpPr>
                <a:spLocks noEditPoints="1"/>
              </p:cNvSpPr>
              <p:nvPr/>
            </p:nvSpPr>
            <p:spPr bwMode="gray">
              <a:xfrm>
                <a:off x="6244993" y="3689166"/>
                <a:ext cx="88509" cy="51464"/>
              </a:xfrm>
              <a:custGeom>
                <a:avLst/>
                <a:gdLst>
                  <a:gd name="T0" fmla="*/ 37 w 215"/>
                  <a:gd name="T1" fmla="*/ 17 h 125"/>
                  <a:gd name="T2" fmla="*/ 106 w 215"/>
                  <a:gd name="T3" fmla="*/ 0 h 125"/>
                  <a:gd name="T4" fmla="*/ 203 w 215"/>
                  <a:gd name="T5" fmla="*/ 0 h 125"/>
                  <a:gd name="T6" fmla="*/ 186 w 215"/>
                  <a:gd name="T7" fmla="*/ 38 h 125"/>
                  <a:gd name="T8" fmla="*/ 203 w 215"/>
                  <a:gd name="T9" fmla="*/ 71 h 125"/>
                  <a:gd name="T10" fmla="*/ 165 w 215"/>
                  <a:gd name="T11" fmla="*/ 71 h 125"/>
                  <a:gd name="T12" fmla="*/ 134 w 215"/>
                  <a:gd name="T13" fmla="*/ 83 h 125"/>
                  <a:gd name="T14" fmla="*/ 113 w 215"/>
                  <a:gd name="T15" fmla="*/ 114 h 125"/>
                  <a:gd name="T16" fmla="*/ 106 w 215"/>
                  <a:gd name="T17" fmla="*/ 114 h 125"/>
                  <a:gd name="T18" fmla="*/ 96 w 215"/>
                  <a:gd name="T19" fmla="*/ 109 h 125"/>
                  <a:gd name="T20" fmla="*/ 89 w 215"/>
                  <a:gd name="T21" fmla="*/ 92 h 125"/>
                  <a:gd name="T22" fmla="*/ 80 w 215"/>
                  <a:gd name="T23" fmla="*/ 92 h 125"/>
                  <a:gd name="T24" fmla="*/ 113 w 215"/>
                  <a:gd name="T25" fmla="*/ 76 h 125"/>
                  <a:gd name="T26" fmla="*/ 89 w 215"/>
                  <a:gd name="T27" fmla="*/ 76 h 125"/>
                  <a:gd name="T28" fmla="*/ 80 w 215"/>
                  <a:gd name="T29" fmla="*/ 71 h 125"/>
                  <a:gd name="T30" fmla="*/ 106 w 215"/>
                  <a:gd name="T31" fmla="*/ 54 h 125"/>
                  <a:gd name="T32" fmla="*/ 113 w 215"/>
                  <a:gd name="T33" fmla="*/ 54 h 125"/>
                  <a:gd name="T34" fmla="*/ 106 w 215"/>
                  <a:gd name="T35" fmla="*/ 54 h 125"/>
                  <a:gd name="T36" fmla="*/ 75 w 215"/>
                  <a:gd name="T37" fmla="*/ 59 h 125"/>
                  <a:gd name="T38" fmla="*/ 59 w 215"/>
                  <a:gd name="T39" fmla="*/ 45 h 125"/>
                  <a:gd name="T40" fmla="*/ 37 w 215"/>
                  <a:gd name="T41" fmla="*/ 54 h 125"/>
                  <a:gd name="T42" fmla="*/ 21 w 215"/>
                  <a:gd name="T43" fmla="*/ 38 h 125"/>
                  <a:gd name="T44" fmla="*/ 9 w 215"/>
                  <a:gd name="T45" fmla="*/ 28 h 125"/>
                  <a:gd name="T46" fmla="*/ 0 w 215"/>
                  <a:gd name="T47" fmla="*/ 21 h 125"/>
                  <a:gd name="T48" fmla="*/ 26 w 215"/>
                  <a:gd name="T49" fmla="*/ 59 h 125"/>
                  <a:gd name="T50" fmla="*/ 37 w 215"/>
                  <a:gd name="T51" fmla="*/ 54 h 125"/>
                  <a:gd name="T52" fmla="*/ 26 w 215"/>
                  <a:gd name="T53" fmla="*/ 59 h 125"/>
                  <a:gd name="T54" fmla="*/ 42 w 215"/>
                  <a:gd name="T55" fmla="*/ 59 h 125"/>
                  <a:gd name="T56" fmla="*/ 54 w 215"/>
                  <a:gd name="T57" fmla="*/ 54 h 125"/>
                  <a:gd name="T58" fmla="*/ 42 w 215"/>
                  <a:gd name="T59" fmla="*/ 59 h 125"/>
                  <a:gd name="T60" fmla="*/ 42 w 215"/>
                  <a:gd name="T61" fmla="*/ 83 h 125"/>
                  <a:gd name="T62" fmla="*/ 54 w 215"/>
                  <a:gd name="T63" fmla="*/ 76 h 125"/>
                  <a:gd name="T64" fmla="*/ 42 w 215"/>
                  <a:gd name="T65" fmla="*/ 83 h 125"/>
                  <a:gd name="T66" fmla="*/ 42 w 215"/>
                  <a:gd name="T67" fmla="*/ 83 h 125"/>
                  <a:gd name="T68" fmla="*/ 21 w 215"/>
                  <a:gd name="T69" fmla="*/ 76 h 125"/>
                  <a:gd name="T70" fmla="*/ 26 w 215"/>
                  <a:gd name="T71" fmla="*/ 83 h 125"/>
                  <a:gd name="T72" fmla="*/ 26 w 215"/>
                  <a:gd name="T73" fmla="*/ 83 h 125"/>
                  <a:gd name="T74" fmla="*/ 26 w 215"/>
                  <a:gd name="T75" fmla="*/ 83 h 125"/>
                  <a:gd name="T76" fmla="*/ 26 w 215"/>
                  <a:gd name="T77" fmla="*/ 83 h 125"/>
                  <a:gd name="T78" fmla="*/ 26 w 215"/>
                  <a:gd name="T79" fmla="*/ 83 h 125"/>
                  <a:gd name="T80" fmla="*/ 26 w 215"/>
                  <a:gd name="T81" fmla="*/ 97 h 125"/>
                  <a:gd name="T82" fmla="*/ 26 w 215"/>
                  <a:gd name="T83" fmla="*/ 97 h 125"/>
                  <a:gd name="T84" fmla="*/ 26 w 215"/>
                  <a:gd name="T85" fmla="*/ 97 h 125"/>
                  <a:gd name="T86" fmla="*/ 26 w 215"/>
                  <a:gd name="T87" fmla="*/ 109 h 125"/>
                  <a:gd name="T88" fmla="*/ 42 w 215"/>
                  <a:gd name="T89" fmla="*/ 114 h 125"/>
                  <a:gd name="T90" fmla="*/ 37 w 215"/>
                  <a:gd name="T91" fmla="*/ 114 h 125"/>
                  <a:gd name="T92" fmla="*/ 42 w 215"/>
                  <a:gd name="T93" fmla="*/ 114 h 125"/>
                  <a:gd name="T94" fmla="*/ 54 w 215"/>
                  <a:gd name="T95" fmla="*/ 97 h 125"/>
                  <a:gd name="T96" fmla="*/ 42 w 215"/>
                  <a:gd name="T97" fmla="*/ 11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5" h="125">
                    <a:moveTo>
                      <a:pt x="0" y="21"/>
                    </a:moveTo>
                    <a:lnTo>
                      <a:pt x="37" y="17"/>
                    </a:lnTo>
                    <a:lnTo>
                      <a:pt x="63" y="17"/>
                    </a:lnTo>
                    <a:lnTo>
                      <a:pt x="106" y="0"/>
                    </a:lnTo>
                    <a:lnTo>
                      <a:pt x="165" y="0"/>
                    </a:lnTo>
                    <a:lnTo>
                      <a:pt x="203" y="0"/>
                    </a:lnTo>
                    <a:lnTo>
                      <a:pt x="215" y="21"/>
                    </a:lnTo>
                    <a:lnTo>
                      <a:pt x="186" y="38"/>
                    </a:lnTo>
                    <a:lnTo>
                      <a:pt x="203" y="45"/>
                    </a:lnTo>
                    <a:lnTo>
                      <a:pt x="203" y="71"/>
                    </a:lnTo>
                    <a:lnTo>
                      <a:pt x="186" y="71"/>
                    </a:lnTo>
                    <a:lnTo>
                      <a:pt x="165" y="71"/>
                    </a:lnTo>
                    <a:lnTo>
                      <a:pt x="148" y="76"/>
                    </a:lnTo>
                    <a:lnTo>
                      <a:pt x="134" y="83"/>
                    </a:lnTo>
                    <a:lnTo>
                      <a:pt x="113" y="125"/>
                    </a:lnTo>
                    <a:lnTo>
                      <a:pt x="113" y="114"/>
                    </a:lnTo>
                    <a:lnTo>
                      <a:pt x="113" y="97"/>
                    </a:lnTo>
                    <a:lnTo>
                      <a:pt x="106" y="114"/>
                    </a:lnTo>
                    <a:lnTo>
                      <a:pt x="106" y="97"/>
                    </a:lnTo>
                    <a:lnTo>
                      <a:pt x="96" y="109"/>
                    </a:lnTo>
                    <a:lnTo>
                      <a:pt x="89" y="109"/>
                    </a:lnTo>
                    <a:lnTo>
                      <a:pt x="89" y="92"/>
                    </a:lnTo>
                    <a:lnTo>
                      <a:pt x="96" y="83"/>
                    </a:lnTo>
                    <a:lnTo>
                      <a:pt x="80" y="92"/>
                    </a:lnTo>
                    <a:lnTo>
                      <a:pt x="96" y="76"/>
                    </a:lnTo>
                    <a:lnTo>
                      <a:pt x="113" y="76"/>
                    </a:lnTo>
                    <a:lnTo>
                      <a:pt x="96" y="71"/>
                    </a:lnTo>
                    <a:lnTo>
                      <a:pt x="89" y="76"/>
                    </a:lnTo>
                    <a:lnTo>
                      <a:pt x="89" y="71"/>
                    </a:lnTo>
                    <a:lnTo>
                      <a:pt x="80" y="71"/>
                    </a:lnTo>
                    <a:lnTo>
                      <a:pt x="89" y="54"/>
                    </a:lnTo>
                    <a:lnTo>
                      <a:pt x="106" y="54"/>
                    </a:lnTo>
                    <a:lnTo>
                      <a:pt x="118" y="59"/>
                    </a:lnTo>
                    <a:lnTo>
                      <a:pt x="113" y="54"/>
                    </a:lnTo>
                    <a:lnTo>
                      <a:pt x="118" y="45"/>
                    </a:lnTo>
                    <a:lnTo>
                      <a:pt x="106" y="54"/>
                    </a:lnTo>
                    <a:lnTo>
                      <a:pt x="89" y="45"/>
                    </a:lnTo>
                    <a:lnTo>
                      <a:pt x="75" y="59"/>
                    </a:lnTo>
                    <a:lnTo>
                      <a:pt x="54" y="59"/>
                    </a:lnTo>
                    <a:lnTo>
                      <a:pt x="59" y="45"/>
                    </a:lnTo>
                    <a:lnTo>
                      <a:pt x="63" y="45"/>
                    </a:lnTo>
                    <a:lnTo>
                      <a:pt x="37" y="54"/>
                    </a:lnTo>
                    <a:lnTo>
                      <a:pt x="26" y="54"/>
                    </a:lnTo>
                    <a:lnTo>
                      <a:pt x="21" y="38"/>
                    </a:lnTo>
                    <a:lnTo>
                      <a:pt x="42" y="21"/>
                    </a:lnTo>
                    <a:lnTo>
                      <a:pt x="9" y="28"/>
                    </a:lnTo>
                    <a:lnTo>
                      <a:pt x="0" y="21"/>
                    </a:lnTo>
                    <a:lnTo>
                      <a:pt x="0" y="21"/>
                    </a:lnTo>
                    <a:lnTo>
                      <a:pt x="0" y="21"/>
                    </a:lnTo>
                    <a:close/>
                    <a:moveTo>
                      <a:pt x="26" y="59"/>
                    </a:moveTo>
                    <a:lnTo>
                      <a:pt x="26" y="45"/>
                    </a:lnTo>
                    <a:lnTo>
                      <a:pt x="37" y="54"/>
                    </a:lnTo>
                    <a:lnTo>
                      <a:pt x="26" y="59"/>
                    </a:lnTo>
                    <a:lnTo>
                      <a:pt x="26" y="59"/>
                    </a:lnTo>
                    <a:lnTo>
                      <a:pt x="26" y="59"/>
                    </a:lnTo>
                    <a:close/>
                    <a:moveTo>
                      <a:pt x="42" y="59"/>
                    </a:moveTo>
                    <a:lnTo>
                      <a:pt x="37" y="54"/>
                    </a:lnTo>
                    <a:lnTo>
                      <a:pt x="54" y="54"/>
                    </a:lnTo>
                    <a:lnTo>
                      <a:pt x="42" y="59"/>
                    </a:lnTo>
                    <a:lnTo>
                      <a:pt x="42" y="59"/>
                    </a:lnTo>
                    <a:lnTo>
                      <a:pt x="42" y="59"/>
                    </a:lnTo>
                    <a:close/>
                    <a:moveTo>
                      <a:pt x="42" y="83"/>
                    </a:moveTo>
                    <a:lnTo>
                      <a:pt x="42" y="76"/>
                    </a:lnTo>
                    <a:lnTo>
                      <a:pt x="54" y="76"/>
                    </a:lnTo>
                    <a:lnTo>
                      <a:pt x="54" y="83"/>
                    </a:lnTo>
                    <a:lnTo>
                      <a:pt x="42" y="83"/>
                    </a:lnTo>
                    <a:lnTo>
                      <a:pt x="42" y="83"/>
                    </a:lnTo>
                    <a:lnTo>
                      <a:pt x="42" y="83"/>
                    </a:lnTo>
                    <a:close/>
                    <a:moveTo>
                      <a:pt x="26" y="83"/>
                    </a:moveTo>
                    <a:lnTo>
                      <a:pt x="21" y="76"/>
                    </a:lnTo>
                    <a:lnTo>
                      <a:pt x="26" y="76"/>
                    </a:lnTo>
                    <a:lnTo>
                      <a:pt x="26" y="83"/>
                    </a:lnTo>
                    <a:lnTo>
                      <a:pt x="26" y="83"/>
                    </a:lnTo>
                    <a:lnTo>
                      <a:pt x="26" y="83"/>
                    </a:lnTo>
                    <a:close/>
                    <a:moveTo>
                      <a:pt x="26" y="83"/>
                    </a:moveTo>
                    <a:lnTo>
                      <a:pt x="26" y="83"/>
                    </a:lnTo>
                    <a:lnTo>
                      <a:pt x="37" y="76"/>
                    </a:lnTo>
                    <a:lnTo>
                      <a:pt x="26" y="83"/>
                    </a:lnTo>
                    <a:lnTo>
                      <a:pt x="26" y="83"/>
                    </a:lnTo>
                    <a:lnTo>
                      <a:pt x="26" y="83"/>
                    </a:lnTo>
                    <a:close/>
                    <a:moveTo>
                      <a:pt x="26" y="97"/>
                    </a:moveTo>
                    <a:lnTo>
                      <a:pt x="26" y="97"/>
                    </a:lnTo>
                    <a:lnTo>
                      <a:pt x="37" y="97"/>
                    </a:lnTo>
                    <a:lnTo>
                      <a:pt x="26" y="97"/>
                    </a:lnTo>
                    <a:lnTo>
                      <a:pt x="26" y="97"/>
                    </a:lnTo>
                    <a:lnTo>
                      <a:pt x="26" y="97"/>
                    </a:lnTo>
                    <a:close/>
                    <a:moveTo>
                      <a:pt x="37" y="114"/>
                    </a:moveTo>
                    <a:lnTo>
                      <a:pt x="26" y="109"/>
                    </a:lnTo>
                    <a:lnTo>
                      <a:pt x="42" y="97"/>
                    </a:lnTo>
                    <a:lnTo>
                      <a:pt x="42" y="114"/>
                    </a:lnTo>
                    <a:lnTo>
                      <a:pt x="37" y="114"/>
                    </a:lnTo>
                    <a:lnTo>
                      <a:pt x="37" y="114"/>
                    </a:lnTo>
                    <a:lnTo>
                      <a:pt x="37" y="114"/>
                    </a:lnTo>
                    <a:close/>
                    <a:moveTo>
                      <a:pt x="42" y="114"/>
                    </a:moveTo>
                    <a:lnTo>
                      <a:pt x="42" y="109"/>
                    </a:lnTo>
                    <a:lnTo>
                      <a:pt x="54" y="97"/>
                    </a:lnTo>
                    <a:lnTo>
                      <a:pt x="42" y="114"/>
                    </a:lnTo>
                    <a:lnTo>
                      <a:pt x="42" y="114"/>
                    </a:lnTo>
                    <a:lnTo>
                      <a:pt x="42" y="11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20" name="Freeform 538">
                <a:extLst>
                  <a:ext uri="{FF2B5EF4-FFF2-40B4-BE49-F238E27FC236}">
                    <a16:creationId xmlns:a16="http://schemas.microsoft.com/office/drawing/2014/main" id="{6BDC584A-516C-4DC9-BEEA-FA2A7EA94470}"/>
                  </a:ext>
                </a:extLst>
              </p:cNvPr>
              <p:cNvSpPr>
                <a:spLocks/>
              </p:cNvSpPr>
              <p:nvPr/>
            </p:nvSpPr>
            <p:spPr bwMode="gray">
              <a:xfrm>
                <a:off x="8189722" y="3270861"/>
                <a:ext cx="26347" cy="52699"/>
              </a:xfrm>
              <a:custGeom>
                <a:avLst/>
                <a:gdLst>
                  <a:gd name="T0" fmla="*/ 42 w 64"/>
                  <a:gd name="T1" fmla="*/ 116 h 128"/>
                  <a:gd name="T2" fmla="*/ 16 w 64"/>
                  <a:gd name="T3" fmla="*/ 128 h 128"/>
                  <a:gd name="T4" fmla="*/ 12 w 64"/>
                  <a:gd name="T5" fmla="*/ 111 h 128"/>
                  <a:gd name="T6" fmla="*/ 0 w 64"/>
                  <a:gd name="T7" fmla="*/ 55 h 128"/>
                  <a:gd name="T8" fmla="*/ 12 w 64"/>
                  <a:gd name="T9" fmla="*/ 55 h 128"/>
                  <a:gd name="T10" fmla="*/ 12 w 64"/>
                  <a:gd name="T11" fmla="*/ 45 h 128"/>
                  <a:gd name="T12" fmla="*/ 16 w 64"/>
                  <a:gd name="T13" fmla="*/ 38 h 128"/>
                  <a:gd name="T14" fmla="*/ 16 w 64"/>
                  <a:gd name="T15" fmla="*/ 38 h 128"/>
                  <a:gd name="T16" fmla="*/ 26 w 64"/>
                  <a:gd name="T17" fmla="*/ 5 h 128"/>
                  <a:gd name="T18" fmla="*/ 42 w 64"/>
                  <a:gd name="T19" fmla="*/ 0 h 128"/>
                  <a:gd name="T20" fmla="*/ 47 w 64"/>
                  <a:gd name="T21" fmla="*/ 17 h 128"/>
                  <a:gd name="T22" fmla="*/ 64 w 64"/>
                  <a:gd name="T23" fmla="*/ 22 h 128"/>
                  <a:gd name="T24" fmla="*/ 64 w 64"/>
                  <a:gd name="T25" fmla="*/ 38 h 128"/>
                  <a:gd name="T26" fmla="*/ 54 w 64"/>
                  <a:gd name="T27" fmla="*/ 55 h 128"/>
                  <a:gd name="T28" fmla="*/ 54 w 64"/>
                  <a:gd name="T29" fmla="*/ 71 h 128"/>
                  <a:gd name="T30" fmla="*/ 64 w 64"/>
                  <a:gd name="T31" fmla="*/ 71 h 128"/>
                  <a:gd name="T32" fmla="*/ 64 w 64"/>
                  <a:gd name="T33" fmla="*/ 83 h 128"/>
                  <a:gd name="T34" fmla="*/ 47 w 64"/>
                  <a:gd name="T35" fmla="*/ 128 h 128"/>
                  <a:gd name="T36" fmla="*/ 42 w 64"/>
                  <a:gd name="T37" fmla="*/ 116 h 128"/>
                  <a:gd name="T38" fmla="*/ 42 w 64"/>
                  <a:gd name="T39" fmla="*/ 116 h 128"/>
                  <a:gd name="T40" fmla="*/ 42 w 64"/>
                  <a:gd name="T41" fmla="*/ 1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128">
                    <a:moveTo>
                      <a:pt x="42" y="116"/>
                    </a:moveTo>
                    <a:lnTo>
                      <a:pt x="16" y="128"/>
                    </a:lnTo>
                    <a:lnTo>
                      <a:pt x="12" y="111"/>
                    </a:lnTo>
                    <a:lnTo>
                      <a:pt x="0" y="55"/>
                    </a:lnTo>
                    <a:lnTo>
                      <a:pt x="12" y="55"/>
                    </a:lnTo>
                    <a:lnTo>
                      <a:pt x="12" y="45"/>
                    </a:lnTo>
                    <a:lnTo>
                      <a:pt x="16" y="38"/>
                    </a:lnTo>
                    <a:lnTo>
                      <a:pt x="16" y="38"/>
                    </a:lnTo>
                    <a:lnTo>
                      <a:pt x="26" y="5"/>
                    </a:lnTo>
                    <a:lnTo>
                      <a:pt x="42" y="0"/>
                    </a:lnTo>
                    <a:lnTo>
                      <a:pt x="47" y="17"/>
                    </a:lnTo>
                    <a:lnTo>
                      <a:pt x="64" y="22"/>
                    </a:lnTo>
                    <a:lnTo>
                      <a:pt x="64" y="38"/>
                    </a:lnTo>
                    <a:lnTo>
                      <a:pt x="54" y="55"/>
                    </a:lnTo>
                    <a:lnTo>
                      <a:pt x="54" y="71"/>
                    </a:lnTo>
                    <a:lnTo>
                      <a:pt x="64" y="71"/>
                    </a:lnTo>
                    <a:lnTo>
                      <a:pt x="64" y="83"/>
                    </a:lnTo>
                    <a:lnTo>
                      <a:pt x="47" y="128"/>
                    </a:lnTo>
                    <a:lnTo>
                      <a:pt x="42" y="116"/>
                    </a:lnTo>
                    <a:lnTo>
                      <a:pt x="42" y="116"/>
                    </a:lnTo>
                    <a:lnTo>
                      <a:pt x="42" y="11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21" name="Freeform 539">
                <a:extLst>
                  <a:ext uri="{FF2B5EF4-FFF2-40B4-BE49-F238E27FC236}">
                    <a16:creationId xmlns:a16="http://schemas.microsoft.com/office/drawing/2014/main" id="{75E2A350-7E73-477F-A7A0-E813DF176B9F}"/>
                  </a:ext>
                </a:extLst>
              </p:cNvPr>
              <p:cNvSpPr>
                <a:spLocks/>
              </p:cNvSpPr>
              <p:nvPr/>
            </p:nvSpPr>
            <p:spPr bwMode="gray">
              <a:xfrm>
                <a:off x="8319811" y="4692929"/>
                <a:ext cx="19760" cy="15645"/>
              </a:xfrm>
              <a:custGeom>
                <a:avLst/>
                <a:gdLst>
                  <a:gd name="T0" fmla="*/ 34 w 48"/>
                  <a:gd name="T1" fmla="*/ 5 h 38"/>
                  <a:gd name="T2" fmla="*/ 48 w 48"/>
                  <a:gd name="T3" fmla="*/ 21 h 38"/>
                  <a:gd name="T4" fmla="*/ 38 w 48"/>
                  <a:gd name="T5" fmla="*/ 33 h 38"/>
                  <a:gd name="T6" fmla="*/ 34 w 48"/>
                  <a:gd name="T7" fmla="*/ 38 h 38"/>
                  <a:gd name="T8" fmla="*/ 8 w 48"/>
                  <a:gd name="T9" fmla="*/ 33 h 38"/>
                  <a:gd name="T10" fmla="*/ 0 w 48"/>
                  <a:gd name="T11" fmla="*/ 16 h 38"/>
                  <a:gd name="T12" fmla="*/ 17 w 48"/>
                  <a:gd name="T13" fmla="*/ 0 h 38"/>
                  <a:gd name="T14" fmla="*/ 34 w 48"/>
                  <a:gd name="T15" fmla="*/ 0 h 38"/>
                  <a:gd name="T16" fmla="*/ 34 w 48"/>
                  <a:gd name="T17" fmla="*/ 5 h 38"/>
                  <a:gd name="T18" fmla="*/ 34 w 48"/>
                  <a:gd name="T19" fmla="*/ 5 h 38"/>
                  <a:gd name="T20" fmla="*/ 34 w 48"/>
                  <a:gd name="T21"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38">
                    <a:moveTo>
                      <a:pt x="34" y="5"/>
                    </a:moveTo>
                    <a:lnTo>
                      <a:pt x="48" y="21"/>
                    </a:lnTo>
                    <a:lnTo>
                      <a:pt x="38" y="33"/>
                    </a:lnTo>
                    <a:lnTo>
                      <a:pt x="34" y="38"/>
                    </a:lnTo>
                    <a:lnTo>
                      <a:pt x="8" y="33"/>
                    </a:lnTo>
                    <a:lnTo>
                      <a:pt x="0" y="16"/>
                    </a:lnTo>
                    <a:lnTo>
                      <a:pt x="17" y="0"/>
                    </a:lnTo>
                    <a:lnTo>
                      <a:pt x="34" y="0"/>
                    </a:lnTo>
                    <a:lnTo>
                      <a:pt x="34" y="5"/>
                    </a:lnTo>
                    <a:lnTo>
                      <a:pt x="34" y="5"/>
                    </a:lnTo>
                    <a:lnTo>
                      <a:pt x="34" y="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49" name="Freeform 544">
                <a:extLst>
                  <a:ext uri="{FF2B5EF4-FFF2-40B4-BE49-F238E27FC236}">
                    <a16:creationId xmlns:a16="http://schemas.microsoft.com/office/drawing/2014/main" id="{89883ACB-ED94-447E-B408-D46E0255B649}"/>
                  </a:ext>
                </a:extLst>
              </p:cNvPr>
              <p:cNvSpPr>
                <a:spLocks/>
              </p:cNvSpPr>
              <p:nvPr/>
            </p:nvSpPr>
            <p:spPr bwMode="gray">
              <a:xfrm>
                <a:off x="7557810" y="4095528"/>
                <a:ext cx="59281" cy="51876"/>
              </a:xfrm>
              <a:custGeom>
                <a:avLst/>
                <a:gdLst>
                  <a:gd name="T0" fmla="*/ 16 w 144"/>
                  <a:gd name="T1" fmla="*/ 126 h 126"/>
                  <a:gd name="T2" fmla="*/ 9 w 144"/>
                  <a:gd name="T3" fmla="*/ 119 h 126"/>
                  <a:gd name="T4" fmla="*/ 0 w 144"/>
                  <a:gd name="T5" fmla="*/ 97 h 126"/>
                  <a:gd name="T6" fmla="*/ 21 w 144"/>
                  <a:gd name="T7" fmla="*/ 88 h 126"/>
                  <a:gd name="T8" fmla="*/ 21 w 144"/>
                  <a:gd name="T9" fmla="*/ 64 h 126"/>
                  <a:gd name="T10" fmla="*/ 30 w 144"/>
                  <a:gd name="T11" fmla="*/ 43 h 126"/>
                  <a:gd name="T12" fmla="*/ 54 w 144"/>
                  <a:gd name="T13" fmla="*/ 26 h 126"/>
                  <a:gd name="T14" fmla="*/ 68 w 144"/>
                  <a:gd name="T15" fmla="*/ 26 h 126"/>
                  <a:gd name="T16" fmla="*/ 85 w 144"/>
                  <a:gd name="T17" fmla="*/ 34 h 126"/>
                  <a:gd name="T18" fmla="*/ 106 w 144"/>
                  <a:gd name="T19" fmla="*/ 0 h 126"/>
                  <a:gd name="T20" fmla="*/ 118 w 144"/>
                  <a:gd name="T21" fmla="*/ 0 h 126"/>
                  <a:gd name="T22" fmla="*/ 122 w 144"/>
                  <a:gd name="T23" fmla="*/ 26 h 126"/>
                  <a:gd name="T24" fmla="*/ 129 w 144"/>
                  <a:gd name="T25" fmla="*/ 34 h 126"/>
                  <a:gd name="T26" fmla="*/ 139 w 144"/>
                  <a:gd name="T27" fmla="*/ 50 h 126"/>
                  <a:gd name="T28" fmla="*/ 139 w 144"/>
                  <a:gd name="T29" fmla="*/ 64 h 126"/>
                  <a:gd name="T30" fmla="*/ 144 w 144"/>
                  <a:gd name="T31" fmla="*/ 71 h 126"/>
                  <a:gd name="T32" fmla="*/ 139 w 144"/>
                  <a:gd name="T33" fmla="*/ 97 h 126"/>
                  <a:gd name="T34" fmla="*/ 122 w 144"/>
                  <a:gd name="T35" fmla="*/ 97 h 126"/>
                  <a:gd name="T36" fmla="*/ 106 w 144"/>
                  <a:gd name="T37" fmla="*/ 97 h 126"/>
                  <a:gd name="T38" fmla="*/ 92 w 144"/>
                  <a:gd name="T39" fmla="*/ 104 h 126"/>
                  <a:gd name="T40" fmla="*/ 75 w 144"/>
                  <a:gd name="T41" fmla="*/ 97 h 126"/>
                  <a:gd name="T42" fmla="*/ 68 w 144"/>
                  <a:gd name="T43" fmla="*/ 126 h 126"/>
                  <a:gd name="T44" fmla="*/ 37 w 144"/>
                  <a:gd name="T45" fmla="*/ 126 h 126"/>
                  <a:gd name="T46" fmla="*/ 37 w 144"/>
                  <a:gd name="T47" fmla="*/ 119 h 126"/>
                  <a:gd name="T48" fmla="*/ 21 w 144"/>
                  <a:gd name="T49" fmla="*/ 109 h 126"/>
                  <a:gd name="T50" fmla="*/ 16 w 144"/>
                  <a:gd name="T51" fmla="*/ 109 h 126"/>
                  <a:gd name="T52" fmla="*/ 16 w 144"/>
                  <a:gd name="T53" fmla="*/ 126 h 126"/>
                  <a:gd name="T54" fmla="*/ 16 w 144"/>
                  <a:gd name="T55" fmla="*/ 126 h 126"/>
                  <a:gd name="T56" fmla="*/ 16 w 144"/>
                  <a:gd name="T5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26">
                    <a:moveTo>
                      <a:pt x="16" y="126"/>
                    </a:moveTo>
                    <a:lnTo>
                      <a:pt x="9" y="119"/>
                    </a:lnTo>
                    <a:lnTo>
                      <a:pt x="0" y="97"/>
                    </a:lnTo>
                    <a:lnTo>
                      <a:pt x="21" y="88"/>
                    </a:lnTo>
                    <a:lnTo>
                      <a:pt x="21" y="64"/>
                    </a:lnTo>
                    <a:lnTo>
                      <a:pt x="30" y="43"/>
                    </a:lnTo>
                    <a:lnTo>
                      <a:pt x="54" y="26"/>
                    </a:lnTo>
                    <a:lnTo>
                      <a:pt x="68" y="26"/>
                    </a:lnTo>
                    <a:lnTo>
                      <a:pt x="85" y="34"/>
                    </a:lnTo>
                    <a:lnTo>
                      <a:pt x="106" y="0"/>
                    </a:lnTo>
                    <a:lnTo>
                      <a:pt x="118" y="0"/>
                    </a:lnTo>
                    <a:lnTo>
                      <a:pt x="122" y="26"/>
                    </a:lnTo>
                    <a:lnTo>
                      <a:pt x="129" y="34"/>
                    </a:lnTo>
                    <a:lnTo>
                      <a:pt x="139" y="50"/>
                    </a:lnTo>
                    <a:lnTo>
                      <a:pt x="139" y="64"/>
                    </a:lnTo>
                    <a:lnTo>
                      <a:pt x="144" y="71"/>
                    </a:lnTo>
                    <a:lnTo>
                      <a:pt x="139" y="97"/>
                    </a:lnTo>
                    <a:lnTo>
                      <a:pt x="122" y="97"/>
                    </a:lnTo>
                    <a:lnTo>
                      <a:pt x="106" y="97"/>
                    </a:lnTo>
                    <a:lnTo>
                      <a:pt x="92" y="104"/>
                    </a:lnTo>
                    <a:lnTo>
                      <a:pt x="75" y="97"/>
                    </a:lnTo>
                    <a:lnTo>
                      <a:pt x="68" y="126"/>
                    </a:lnTo>
                    <a:lnTo>
                      <a:pt x="37" y="126"/>
                    </a:lnTo>
                    <a:lnTo>
                      <a:pt x="37" y="119"/>
                    </a:lnTo>
                    <a:lnTo>
                      <a:pt x="21" y="109"/>
                    </a:lnTo>
                    <a:lnTo>
                      <a:pt x="16" y="109"/>
                    </a:lnTo>
                    <a:lnTo>
                      <a:pt x="16" y="126"/>
                    </a:lnTo>
                    <a:lnTo>
                      <a:pt x="16" y="126"/>
                    </a:lnTo>
                    <a:lnTo>
                      <a:pt x="16" y="12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0" name="Freeform 545">
                <a:extLst>
                  <a:ext uri="{FF2B5EF4-FFF2-40B4-BE49-F238E27FC236}">
                    <a16:creationId xmlns:a16="http://schemas.microsoft.com/office/drawing/2014/main" id="{4B1EB4CE-D864-4D04-B03E-95A53B01513B}"/>
                  </a:ext>
                </a:extLst>
              </p:cNvPr>
              <p:cNvSpPr>
                <a:spLocks noEditPoints="1"/>
              </p:cNvSpPr>
              <p:nvPr/>
            </p:nvSpPr>
            <p:spPr bwMode="gray">
              <a:xfrm>
                <a:off x="7722065" y="3076532"/>
                <a:ext cx="610507" cy="521233"/>
              </a:xfrm>
              <a:custGeom>
                <a:avLst/>
                <a:gdLst>
                  <a:gd name="T0" fmla="*/ 997 w 1483"/>
                  <a:gd name="T1" fmla="*/ 1070 h 1266"/>
                  <a:gd name="T2" fmla="*/ 694 w 1483"/>
                  <a:gd name="T3" fmla="*/ 1139 h 1266"/>
                  <a:gd name="T4" fmla="*/ 619 w 1483"/>
                  <a:gd name="T5" fmla="*/ 1127 h 1266"/>
                  <a:gd name="T6" fmla="*/ 609 w 1483"/>
                  <a:gd name="T7" fmla="*/ 1193 h 1266"/>
                  <a:gd name="T8" fmla="*/ 581 w 1483"/>
                  <a:gd name="T9" fmla="*/ 1209 h 1266"/>
                  <a:gd name="T10" fmla="*/ 567 w 1483"/>
                  <a:gd name="T11" fmla="*/ 1172 h 1266"/>
                  <a:gd name="T12" fmla="*/ 550 w 1483"/>
                  <a:gd name="T13" fmla="*/ 1127 h 1266"/>
                  <a:gd name="T14" fmla="*/ 475 w 1483"/>
                  <a:gd name="T15" fmla="*/ 1044 h 1266"/>
                  <a:gd name="T16" fmla="*/ 463 w 1483"/>
                  <a:gd name="T17" fmla="*/ 1011 h 1266"/>
                  <a:gd name="T18" fmla="*/ 441 w 1483"/>
                  <a:gd name="T19" fmla="*/ 971 h 1266"/>
                  <a:gd name="T20" fmla="*/ 378 w 1483"/>
                  <a:gd name="T21" fmla="*/ 921 h 1266"/>
                  <a:gd name="T22" fmla="*/ 323 w 1483"/>
                  <a:gd name="T23" fmla="*/ 860 h 1266"/>
                  <a:gd name="T24" fmla="*/ 312 w 1483"/>
                  <a:gd name="T25" fmla="*/ 805 h 1266"/>
                  <a:gd name="T26" fmla="*/ 278 w 1483"/>
                  <a:gd name="T27" fmla="*/ 654 h 1266"/>
                  <a:gd name="T28" fmla="*/ 189 w 1483"/>
                  <a:gd name="T29" fmla="*/ 572 h 1266"/>
                  <a:gd name="T30" fmla="*/ 172 w 1483"/>
                  <a:gd name="T31" fmla="*/ 510 h 1266"/>
                  <a:gd name="T32" fmla="*/ 156 w 1483"/>
                  <a:gd name="T33" fmla="*/ 489 h 1266"/>
                  <a:gd name="T34" fmla="*/ 47 w 1483"/>
                  <a:gd name="T35" fmla="*/ 326 h 1266"/>
                  <a:gd name="T36" fmla="*/ 0 w 1483"/>
                  <a:gd name="T37" fmla="*/ 321 h 1266"/>
                  <a:gd name="T38" fmla="*/ 106 w 1483"/>
                  <a:gd name="T39" fmla="*/ 239 h 1266"/>
                  <a:gd name="T40" fmla="*/ 210 w 1483"/>
                  <a:gd name="T41" fmla="*/ 177 h 1266"/>
                  <a:gd name="T42" fmla="*/ 172 w 1483"/>
                  <a:gd name="T43" fmla="*/ 50 h 1266"/>
                  <a:gd name="T44" fmla="*/ 408 w 1483"/>
                  <a:gd name="T45" fmla="*/ 17 h 1266"/>
                  <a:gd name="T46" fmla="*/ 718 w 1483"/>
                  <a:gd name="T47" fmla="*/ 239 h 1266"/>
                  <a:gd name="T48" fmla="*/ 928 w 1483"/>
                  <a:gd name="T49" fmla="*/ 288 h 1266"/>
                  <a:gd name="T50" fmla="*/ 987 w 1483"/>
                  <a:gd name="T51" fmla="*/ 326 h 1266"/>
                  <a:gd name="T52" fmla="*/ 1004 w 1483"/>
                  <a:gd name="T53" fmla="*/ 345 h 1266"/>
                  <a:gd name="T54" fmla="*/ 1034 w 1483"/>
                  <a:gd name="T55" fmla="*/ 378 h 1266"/>
                  <a:gd name="T56" fmla="*/ 1051 w 1483"/>
                  <a:gd name="T57" fmla="*/ 387 h 1266"/>
                  <a:gd name="T58" fmla="*/ 1089 w 1483"/>
                  <a:gd name="T59" fmla="*/ 432 h 1266"/>
                  <a:gd name="T60" fmla="*/ 1105 w 1483"/>
                  <a:gd name="T61" fmla="*/ 461 h 1266"/>
                  <a:gd name="T62" fmla="*/ 1089 w 1483"/>
                  <a:gd name="T63" fmla="*/ 489 h 1266"/>
                  <a:gd name="T64" fmla="*/ 1122 w 1483"/>
                  <a:gd name="T65" fmla="*/ 531 h 1266"/>
                  <a:gd name="T66" fmla="*/ 1143 w 1483"/>
                  <a:gd name="T67" fmla="*/ 583 h 1266"/>
                  <a:gd name="T68" fmla="*/ 1176 w 1483"/>
                  <a:gd name="T69" fmla="*/ 588 h 1266"/>
                  <a:gd name="T70" fmla="*/ 1186 w 1483"/>
                  <a:gd name="T71" fmla="*/ 600 h 1266"/>
                  <a:gd name="T72" fmla="*/ 1197 w 1483"/>
                  <a:gd name="T73" fmla="*/ 626 h 1266"/>
                  <a:gd name="T74" fmla="*/ 1450 w 1483"/>
                  <a:gd name="T75" fmla="*/ 737 h 1266"/>
                  <a:gd name="T76" fmla="*/ 1436 w 1483"/>
                  <a:gd name="T77" fmla="*/ 938 h 1266"/>
                  <a:gd name="T78" fmla="*/ 9 w 1483"/>
                  <a:gd name="T79" fmla="*/ 333 h 1266"/>
                  <a:gd name="T80" fmla="*/ 0 w 1483"/>
                  <a:gd name="T81" fmla="*/ 326 h 1266"/>
                  <a:gd name="T82" fmla="*/ 1051 w 1483"/>
                  <a:gd name="T83" fmla="*/ 383 h 1266"/>
                  <a:gd name="T84" fmla="*/ 1051 w 1483"/>
                  <a:gd name="T85" fmla="*/ 383 h 1266"/>
                  <a:gd name="T86" fmla="*/ 517 w 1483"/>
                  <a:gd name="T87" fmla="*/ 1172 h 1266"/>
                  <a:gd name="T88" fmla="*/ 517 w 1483"/>
                  <a:gd name="T89" fmla="*/ 1172 h 1266"/>
                  <a:gd name="T90" fmla="*/ 517 w 1483"/>
                  <a:gd name="T91" fmla="*/ 1172 h 1266"/>
                  <a:gd name="T92" fmla="*/ 512 w 1483"/>
                  <a:gd name="T93" fmla="*/ 1181 h 1266"/>
                  <a:gd name="T94" fmla="*/ 529 w 1483"/>
                  <a:gd name="T95" fmla="*/ 1181 h 1266"/>
                  <a:gd name="T96" fmla="*/ 534 w 1483"/>
                  <a:gd name="T97" fmla="*/ 1200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3" h="1266">
                    <a:moveTo>
                      <a:pt x="1436" y="938"/>
                    </a:moveTo>
                    <a:lnTo>
                      <a:pt x="1230" y="1016"/>
                    </a:lnTo>
                    <a:lnTo>
                      <a:pt x="997" y="1070"/>
                    </a:lnTo>
                    <a:lnTo>
                      <a:pt x="824" y="1266"/>
                    </a:lnTo>
                    <a:lnTo>
                      <a:pt x="824" y="1193"/>
                    </a:lnTo>
                    <a:lnTo>
                      <a:pt x="694" y="1139"/>
                    </a:lnTo>
                    <a:lnTo>
                      <a:pt x="656" y="1143"/>
                    </a:lnTo>
                    <a:lnTo>
                      <a:pt x="635" y="1127"/>
                    </a:lnTo>
                    <a:lnTo>
                      <a:pt x="619" y="1127"/>
                    </a:lnTo>
                    <a:lnTo>
                      <a:pt x="609" y="1139"/>
                    </a:lnTo>
                    <a:lnTo>
                      <a:pt x="604" y="1172"/>
                    </a:lnTo>
                    <a:lnTo>
                      <a:pt x="609" y="1193"/>
                    </a:lnTo>
                    <a:lnTo>
                      <a:pt x="604" y="1193"/>
                    </a:lnTo>
                    <a:lnTo>
                      <a:pt x="593" y="1200"/>
                    </a:lnTo>
                    <a:lnTo>
                      <a:pt x="581" y="1209"/>
                    </a:lnTo>
                    <a:lnTo>
                      <a:pt x="581" y="1193"/>
                    </a:lnTo>
                    <a:lnTo>
                      <a:pt x="567" y="1176"/>
                    </a:lnTo>
                    <a:lnTo>
                      <a:pt x="567" y="1172"/>
                    </a:lnTo>
                    <a:lnTo>
                      <a:pt x="555" y="1155"/>
                    </a:lnTo>
                    <a:lnTo>
                      <a:pt x="550" y="1160"/>
                    </a:lnTo>
                    <a:lnTo>
                      <a:pt x="550" y="1127"/>
                    </a:lnTo>
                    <a:lnTo>
                      <a:pt x="500" y="1098"/>
                    </a:lnTo>
                    <a:lnTo>
                      <a:pt x="484" y="1061"/>
                    </a:lnTo>
                    <a:lnTo>
                      <a:pt x="475" y="1044"/>
                    </a:lnTo>
                    <a:lnTo>
                      <a:pt x="475" y="1028"/>
                    </a:lnTo>
                    <a:lnTo>
                      <a:pt x="463" y="1016"/>
                    </a:lnTo>
                    <a:lnTo>
                      <a:pt x="463" y="1011"/>
                    </a:lnTo>
                    <a:lnTo>
                      <a:pt x="458" y="1004"/>
                    </a:lnTo>
                    <a:lnTo>
                      <a:pt x="446" y="987"/>
                    </a:lnTo>
                    <a:lnTo>
                      <a:pt x="441" y="971"/>
                    </a:lnTo>
                    <a:lnTo>
                      <a:pt x="441" y="959"/>
                    </a:lnTo>
                    <a:lnTo>
                      <a:pt x="392" y="921"/>
                    </a:lnTo>
                    <a:lnTo>
                      <a:pt x="378" y="921"/>
                    </a:lnTo>
                    <a:lnTo>
                      <a:pt x="366" y="905"/>
                    </a:lnTo>
                    <a:lnTo>
                      <a:pt x="349" y="883"/>
                    </a:lnTo>
                    <a:lnTo>
                      <a:pt x="323" y="860"/>
                    </a:lnTo>
                    <a:lnTo>
                      <a:pt x="323" y="843"/>
                    </a:lnTo>
                    <a:lnTo>
                      <a:pt x="323" y="827"/>
                    </a:lnTo>
                    <a:lnTo>
                      <a:pt x="312" y="805"/>
                    </a:lnTo>
                    <a:lnTo>
                      <a:pt x="323" y="765"/>
                    </a:lnTo>
                    <a:lnTo>
                      <a:pt x="316" y="749"/>
                    </a:lnTo>
                    <a:lnTo>
                      <a:pt x="278" y="654"/>
                    </a:lnTo>
                    <a:lnTo>
                      <a:pt x="257" y="638"/>
                    </a:lnTo>
                    <a:lnTo>
                      <a:pt x="203" y="609"/>
                    </a:lnTo>
                    <a:lnTo>
                      <a:pt x="189" y="572"/>
                    </a:lnTo>
                    <a:lnTo>
                      <a:pt x="193" y="572"/>
                    </a:lnTo>
                    <a:lnTo>
                      <a:pt x="189" y="548"/>
                    </a:lnTo>
                    <a:lnTo>
                      <a:pt x="172" y="510"/>
                    </a:lnTo>
                    <a:lnTo>
                      <a:pt x="156" y="498"/>
                    </a:lnTo>
                    <a:lnTo>
                      <a:pt x="151" y="494"/>
                    </a:lnTo>
                    <a:lnTo>
                      <a:pt x="156" y="489"/>
                    </a:lnTo>
                    <a:lnTo>
                      <a:pt x="139" y="477"/>
                    </a:lnTo>
                    <a:lnTo>
                      <a:pt x="118" y="437"/>
                    </a:lnTo>
                    <a:lnTo>
                      <a:pt x="47" y="326"/>
                    </a:lnTo>
                    <a:lnTo>
                      <a:pt x="14" y="321"/>
                    </a:lnTo>
                    <a:lnTo>
                      <a:pt x="9" y="326"/>
                    </a:lnTo>
                    <a:lnTo>
                      <a:pt x="0" y="321"/>
                    </a:lnTo>
                    <a:lnTo>
                      <a:pt x="14" y="288"/>
                    </a:lnTo>
                    <a:lnTo>
                      <a:pt x="30" y="222"/>
                    </a:lnTo>
                    <a:lnTo>
                      <a:pt x="106" y="239"/>
                    </a:lnTo>
                    <a:lnTo>
                      <a:pt x="139" y="215"/>
                    </a:lnTo>
                    <a:lnTo>
                      <a:pt x="156" y="182"/>
                    </a:lnTo>
                    <a:lnTo>
                      <a:pt x="210" y="177"/>
                    </a:lnTo>
                    <a:lnTo>
                      <a:pt x="215" y="144"/>
                    </a:lnTo>
                    <a:lnTo>
                      <a:pt x="241" y="139"/>
                    </a:lnTo>
                    <a:lnTo>
                      <a:pt x="172" y="50"/>
                    </a:lnTo>
                    <a:lnTo>
                      <a:pt x="316" y="9"/>
                    </a:lnTo>
                    <a:lnTo>
                      <a:pt x="323" y="0"/>
                    </a:lnTo>
                    <a:lnTo>
                      <a:pt x="408" y="17"/>
                    </a:lnTo>
                    <a:lnTo>
                      <a:pt x="484" y="66"/>
                    </a:lnTo>
                    <a:lnTo>
                      <a:pt x="534" y="83"/>
                    </a:lnTo>
                    <a:lnTo>
                      <a:pt x="718" y="239"/>
                    </a:lnTo>
                    <a:lnTo>
                      <a:pt x="841" y="239"/>
                    </a:lnTo>
                    <a:lnTo>
                      <a:pt x="907" y="250"/>
                    </a:lnTo>
                    <a:lnTo>
                      <a:pt x="928" y="288"/>
                    </a:lnTo>
                    <a:lnTo>
                      <a:pt x="971" y="288"/>
                    </a:lnTo>
                    <a:lnTo>
                      <a:pt x="982" y="288"/>
                    </a:lnTo>
                    <a:lnTo>
                      <a:pt x="987" y="326"/>
                    </a:lnTo>
                    <a:lnTo>
                      <a:pt x="1004" y="345"/>
                    </a:lnTo>
                    <a:lnTo>
                      <a:pt x="1004" y="350"/>
                    </a:lnTo>
                    <a:lnTo>
                      <a:pt x="1004" y="345"/>
                    </a:lnTo>
                    <a:lnTo>
                      <a:pt x="1004" y="361"/>
                    </a:lnTo>
                    <a:lnTo>
                      <a:pt x="1034" y="366"/>
                    </a:lnTo>
                    <a:lnTo>
                      <a:pt x="1034" y="378"/>
                    </a:lnTo>
                    <a:lnTo>
                      <a:pt x="1025" y="378"/>
                    </a:lnTo>
                    <a:lnTo>
                      <a:pt x="1041" y="399"/>
                    </a:lnTo>
                    <a:lnTo>
                      <a:pt x="1051" y="387"/>
                    </a:lnTo>
                    <a:lnTo>
                      <a:pt x="1067" y="404"/>
                    </a:lnTo>
                    <a:lnTo>
                      <a:pt x="1096" y="437"/>
                    </a:lnTo>
                    <a:lnTo>
                      <a:pt x="1089" y="432"/>
                    </a:lnTo>
                    <a:lnTo>
                      <a:pt x="1089" y="444"/>
                    </a:lnTo>
                    <a:lnTo>
                      <a:pt x="1096" y="456"/>
                    </a:lnTo>
                    <a:lnTo>
                      <a:pt x="1105" y="461"/>
                    </a:lnTo>
                    <a:lnTo>
                      <a:pt x="1096" y="477"/>
                    </a:lnTo>
                    <a:lnTo>
                      <a:pt x="1089" y="472"/>
                    </a:lnTo>
                    <a:lnTo>
                      <a:pt x="1089" y="489"/>
                    </a:lnTo>
                    <a:lnTo>
                      <a:pt x="1105" y="515"/>
                    </a:lnTo>
                    <a:lnTo>
                      <a:pt x="1096" y="510"/>
                    </a:lnTo>
                    <a:lnTo>
                      <a:pt x="1122" y="531"/>
                    </a:lnTo>
                    <a:lnTo>
                      <a:pt x="1126" y="555"/>
                    </a:lnTo>
                    <a:lnTo>
                      <a:pt x="1143" y="583"/>
                    </a:lnTo>
                    <a:lnTo>
                      <a:pt x="1143" y="583"/>
                    </a:lnTo>
                    <a:lnTo>
                      <a:pt x="1148" y="600"/>
                    </a:lnTo>
                    <a:lnTo>
                      <a:pt x="1176" y="588"/>
                    </a:lnTo>
                    <a:lnTo>
                      <a:pt x="1176" y="588"/>
                    </a:lnTo>
                    <a:lnTo>
                      <a:pt x="1176" y="600"/>
                    </a:lnTo>
                    <a:lnTo>
                      <a:pt x="1181" y="588"/>
                    </a:lnTo>
                    <a:lnTo>
                      <a:pt x="1186" y="600"/>
                    </a:lnTo>
                    <a:lnTo>
                      <a:pt x="1176" y="609"/>
                    </a:lnTo>
                    <a:lnTo>
                      <a:pt x="1197" y="621"/>
                    </a:lnTo>
                    <a:lnTo>
                      <a:pt x="1197" y="626"/>
                    </a:lnTo>
                    <a:lnTo>
                      <a:pt x="1268" y="716"/>
                    </a:lnTo>
                    <a:lnTo>
                      <a:pt x="1445" y="737"/>
                    </a:lnTo>
                    <a:lnTo>
                      <a:pt x="1450" y="737"/>
                    </a:lnTo>
                    <a:lnTo>
                      <a:pt x="1483" y="789"/>
                    </a:lnTo>
                    <a:lnTo>
                      <a:pt x="1436" y="938"/>
                    </a:lnTo>
                    <a:lnTo>
                      <a:pt x="1436" y="938"/>
                    </a:lnTo>
                    <a:lnTo>
                      <a:pt x="1436" y="938"/>
                    </a:lnTo>
                    <a:close/>
                    <a:moveTo>
                      <a:pt x="0" y="326"/>
                    </a:moveTo>
                    <a:lnTo>
                      <a:pt x="9" y="333"/>
                    </a:lnTo>
                    <a:lnTo>
                      <a:pt x="0" y="333"/>
                    </a:lnTo>
                    <a:lnTo>
                      <a:pt x="0" y="326"/>
                    </a:lnTo>
                    <a:lnTo>
                      <a:pt x="0" y="326"/>
                    </a:lnTo>
                    <a:lnTo>
                      <a:pt x="0" y="326"/>
                    </a:lnTo>
                    <a:close/>
                    <a:moveTo>
                      <a:pt x="1051" y="383"/>
                    </a:moveTo>
                    <a:lnTo>
                      <a:pt x="1051" y="383"/>
                    </a:lnTo>
                    <a:lnTo>
                      <a:pt x="1058" y="383"/>
                    </a:lnTo>
                    <a:lnTo>
                      <a:pt x="1051" y="383"/>
                    </a:lnTo>
                    <a:lnTo>
                      <a:pt x="1051" y="383"/>
                    </a:lnTo>
                    <a:lnTo>
                      <a:pt x="1051" y="383"/>
                    </a:lnTo>
                    <a:close/>
                    <a:moveTo>
                      <a:pt x="517" y="1172"/>
                    </a:moveTo>
                    <a:lnTo>
                      <a:pt x="517" y="1172"/>
                    </a:lnTo>
                    <a:lnTo>
                      <a:pt x="529" y="1181"/>
                    </a:lnTo>
                    <a:lnTo>
                      <a:pt x="512" y="1176"/>
                    </a:lnTo>
                    <a:lnTo>
                      <a:pt x="517" y="1172"/>
                    </a:lnTo>
                    <a:lnTo>
                      <a:pt x="517" y="1172"/>
                    </a:lnTo>
                    <a:lnTo>
                      <a:pt x="517" y="1172"/>
                    </a:lnTo>
                    <a:lnTo>
                      <a:pt x="517" y="1172"/>
                    </a:lnTo>
                    <a:close/>
                    <a:moveTo>
                      <a:pt x="534" y="1200"/>
                    </a:moveTo>
                    <a:lnTo>
                      <a:pt x="534" y="1193"/>
                    </a:lnTo>
                    <a:lnTo>
                      <a:pt x="512" y="1181"/>
                    </a:lnTo>
                    <a:lnTo>
                      <a:pt x="512" y="1176"/>
                    </a:lnTo>
                    <a:lnTo>
                      <a:pt x="517" y="1181"/>
                    </a:lnTo>
                    <a:lnTo>
                      <a:pt x="529" y="1181"/>
                    </a:lnTo>
                    <a:lnTo>
                      <a:pt x="529" y="1181"/>
                    </a:lnTo>
                    <a:lnTo>
                      <a:pt x="534" y="1176"/>
                    </a:lnTo>
                    <a:lnTo>
                      <a:pt x="534" y="1200"/>
                    </a:lnTo>
                    <a:lnTo>
                      <a:pt x="534" y="1200"/>
                    </a:lnTo>
                    <a:lnTo>
                      <a:pt x="534" y="120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3" name="Freeform 548">
                <a:extLst>
                  <a:ext uri="{FF2B5EF4-FFF2-40B4-BE49-F238E27FC236}">
                    <a16:creationId xmlns:a16="http://schemas.microsoft.com/office/drawing/2014/main" id="{D636C8C0-6CC6-4DA0-AFE8-653CDE5C839D}"/>
                  </a:ext>
                </a:extLst>
              </p:cNvPr>
              <p:cNvSpPr>
                <a:spLocks noEditPoints="1"/>
              </p:cNvSpPr>
              <p:nvPr/>
            </p:nvSpPr>
            <p:spPr bwMode="gray">
              <a:xfrm>
                <a:off x="8060458" y="4199694"/>
                <a:ext cx="269233" cy="146983"/>
              </a:xfrm>
              <a:custGeom>
                <a:avLst/>
                <a:gdLst>
                  <a:gd name="T0" fmla="*/ 654 w 654"/>
                  <a:gd name="T1" fmla="*/ 17 h 357"/>
                  <a:gd name="T2" fmla="*/ 638 w 654"/>
                  <a:gd name="T3" fmla="*/ 12 h 357"/>
                  <a:gd name="T4" fmla="*/ 647 w 654"/>
                  <a:gd name="T5" fmla="*/ 0 h 357"/>
                  <a:gd name="T6" fmla="*/ 654 w 654"/>
                  <a:gd name="T7" fmla="*/ 17 h 357"/>
                  <a:gd name="T8" fmla="*/ 654 w 654"/>
                  <a:gd name="T9" fmla="*/ 17 h 357"/>
                  <a:gd name="T10" fmla="*/ 654 w 654"/>
                  <a:gd name="T11" fmla="*/ 17 h 357"/>
                  <a:gd name="T12" fmla="*/ 7 w 654"/>
                  <a:gd name="T13" fmla="*/ 357 h 357"/>
                  <a:gd name="T14" fmla="*/ 0 w 654"/>
                  <a:gd name="T15" fmla="*/ 352 h 357"/>
                  <a:gd name="T16" fmla="*/ 23 w 654"/>
                  <a:gd name="T17" fmla="*/ 352 h 357"/>
                  <a:gd name="T18" fmla="*/ 7 w 654"/>
                  <a:gd name="T19" fmla="*/ 357 h 357"/>
                  <a:gd name="T20" fmla="*/ 7 w 654"/>
                  <a:gd name="T21" fmla="*/ 357 h 357"/>
                  <a:gd name="T22" fmla="*/ 7 w 654"/>
                  <a:gd name="T23"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4" h="357">
                    <a:moveTo>
                      <a:pt x="654" y="17"/>
                    </a:moveTo>
                    <a:lnTo>
                      <a:pt x="638" y="12"/>
                    </a:lnTo>
                    <a:lnTo>
                      <a:pt x="647" y="0"/>
                    </a:lnTo>
                    <a:lnTo>
                      <a:pt x="654" y="17"/>
                    </a:lnTo>
                    <a:lnTo>
                      <a:pt x="654" y="17"/>
                    </a:lnTo>
                    <a:lnTo>
                      <a:pt x="654" y="17"/>
                    </a:lnTo>
                    <a:close/>
                    <a:moveTo>
                      <a:pt x="7" y="357"/>
                    </a:moveTo>
                    <a:lnTo>
                      <a:pt x="0" y="352"/>
                    </a:lnTo>
                    <a:lnTo>
                      <a:pt x="23" y="352"/>
                    </a:lnTo>
                    <a:lnTo>
                      <a:pt x="7" y="357"/>
                    </a:lnTo>
                    <a:lnTo>
                      <a:pt x="7" y="357"/>
                    </a:lnTo>
                    <a:lnTo>
                      <a:pt x="7" y="35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6" name="Freeform 549">
                <a:extLst>
                  <a:ext uri="{FF2B5EF4-FFF2-40B4-BE49-F238E27FC236}">
                    <a16:creationId xmlns:a16="http://schemas.microsoft.com/office/drawing/2014/main" id="{F23EED08-F00A-4D6E-9F1E-F0CC3C0E1874}"/>
                  </a:ext>
                </a:extLst>
              </p:cNvPr>
              <p:cNvSpPr>
                <a:spLocks noEditPoints="1"/>
              </p:cNvSpPr>
              <p:nvPr/>
            </p:nvSpPr>
            <p:spPr bwMode="gray">
              <a:xfrm>
                <a:off x="7142434" y="4731631"/>
                <a:ext cx="676786" cy="837430"/>
              </a:xfrm>
              <a:custGeom>
                <a:avLst/>
                <a:gdLst>
                  <a:gd name="T0" fmla="*/ 449 w 1644"/>
                  <a:gd name="T1" fmla="*/ 289 h 2034"/>
                  <a:gd name="T2" fmla="*/ 437 w 1644"/>
                  <a:gd name="T3" fmla="*/ 355 h 2034"/>
                  <a:gd name="T4" fmla="*/ 534 w 1644"/>
                  <a:gd name="T5" fmla="*/ 350 h 2034"/>
                  <a:gd name="T6" fmla="*/ 588 w 1644"/>
                  <a:gd name="T7" fmla="*/ 260 h 2034"/>
                  <a:gd name="T8" fmla="*/ 664 w 1644"/>
                  <a:gd name="T9" fmla="*/ 272 h 2034"/>
                  <a:gd name="T10" fmla="*/ 718 w 1644"/>
                  <a:gd name="T11" fmla="*/ 289 h 2034"/>
                  <a:gd name="T12" fmla="*/ 805 w 1644"/>
                  <a:gd name="T13" fmla="*/ 199 h 2034"/>
                  <a:gd name="T14" fmla="*/ 881 w 1644"/>
                  <a:gd name="T15" fmla="*/ 123 h 2034"/>
                  <a:gd name="T16" fmla="*/ 923 w 1644"/>
                  <a:gd name="T17" fmla="*/ 90 h 2034"/>
                  <a:gd name="T18" fmla="*/ 1020 w 1644"/>
                  <a:gd name="T19" fmla="*/ 22 h 2034"/>
                  <a:gd name="T20" fmla="*/ 1075 w 1644"/>
                  <a:gd name="T21" fmla="*/ 0 h 2034"/>
                  <a:gd name="T22" fmla="*/ 1188 w 1644"/>
                  <a:gd name="T23" fmla="*/ 22 h 2034"/>
                  <a:gd name="T24" fmla="*/ 1226 w 1644"/>
                  <a:gd name="T25" fmla="*/ 144 h 2034"/>
                  <a:gd name="T26" fmla="*/ 1226 w 1644"/>
                  <a:gd name="T27" fmla="*/ 293 h 2034"/>
                  <a:gd name="T28" fmla="*/ 1171 w 1644"/>
                  <a:gd name="T29" fmla="*/ 293 h 2034"/>
                  <a:gd name="T30" fmla="*/ 1157 w 1644"/>
                  <a:gd name="T31" fmla="*/ 355 h 2034"/>
                  <a:gd name="T32" fmla="*/ 1238 w 1644"/>
                  <a:gd name="T33" fmla="*/ 400 h 2034"/>
                  <a:gd name="T34" fmla="*/ 1297 w 1644"/>
                  <a:gd name="T35" fmla="*/ 366 h 2034"/>
                  <a:gd name="T36" fmla="*/ 1221 w 1644"/>
                  <a:gd name="T37" fmla="*/ 522 h 2034"/>
                  <a:gd name="T38" fmla="*/ 1167 w 1644"/>
                  <a:gd name="T39" fmla="*/ 605 h 2034"/>
                  <a:gd name="T40" fmla="*/ 990 w 1644"/>
                  <a:gd name="T41" fmla="*/ 815 h 2034"/>
                  <a:gd name="T42" fmla="*/ 848 w 1644"/>
                  <a:gd name="T43" fmla="*/ 910 h 2034"/>
                  <a:gd name="T44" fmla="*/ 794 w 1644"/>
                  <a:gd name="T45" fmla="*/ 926 h 2034"/>
                  <a:gd name="T46" fmla="*/ 734 w 1644"/>
                  <a:gd name="T47" fmla="*/ 943 h 2034"/>
                  <a:gd name="T48" fmla="*/ 626 w 1644"/>
                  <a:gd name="T49" fmla="*/ 938 h 2034"/>
                  <a:gd name="T50" fmla="*/ 517 w 1644"/>
                  <a:gd name="T51" fmla="*/ 959 h 2034"/>
                  <a:gd name="T52" fmla="*/ 453 w 1644"/>
                  <a:gd name="T53" fmla="*/ 959 h 2034"/>
                  <a:gd name="T54" fmla="*/ 394 w 1644"/>
                  <a:gd name="T55" fmla="*/ 992 h 2034"/>
                  <a:gd name="T56" fmla="*/ 345 w 1644"/>
                  <a:gd name="T57" fmla="*/ 964 h 2034"/>
                  <a:gd name="T58" fmla="*/ 307 w 1644"/>
                  <a:gd name="T59" fmla="*/ 943 h 2034"/>
                  <a:gd name="T60" fmla="*/ 286 w 1644"/>
                  <a:gd name="T61" fmla="*/ 959 h 2034"/>
                  <a:gd name="T62" fmla="*/ 286 w 1644"/>
                  <a:gd name="T63" fmla="*/ 922 h 2034"/>
                  <a:gd name="T64" fmla="*/ 248 w 1644"/>
                  <a:gd name="T65" fmla="*/ 848 h 2034"/>
                  <a:gd name="T66" fmla="*/ 260 w 1644"/>
                  <a:gd name="T67" fmla="*/ 832 h 2034"/>
                  <a:gd name="T68" fmla="*/ 269 w 1644"/>
                  <a:gd name="T69" fmla="*/ 759 h 2034"/>
                  <a:gd name="T70" fmla="*/ 151 w 1644"/>
                  <a:gd name="T71" fmla="*/ 522 h 2034"/>
                  <a:gd name="T72" fmla="*/ 168 w 1644"/>
                  <a:gd name="T73" fmla="*/ 461 h 2034"/>
                  <a:gd name="T74" fmla="*/ 205 w 1644"/>
                  <a:gd name="T75" fmla="*/ 466 h 2034"/>
                  <a:gd name="T76" fmla="*/ 222 w 1644"/>
                  <a:gd name="T77" fmla="*/ 515 h 2034"/>
                  <a:gd name="T78" fmla="*/ 302 w 1644"/>
                  <a:gd name="T79" fmla="*/ 515 h 2034"/>
                  <a:gd name="T80" fmla="*/ 340 w 1644"/>
                  <a:gd name="T81" fmla="*/ 511 h 2034"/>
                  <a:gd name="T82" fmla="*/ 394 w 1644"/>
                  <a:gd name="T83" fmla="*/ 482 h 2034"/>
                  <a:gd name="T84" fmla="*/ 394 w 1644"/>
                  <a:gd name="T85" fmla="*/ 199 h 2034"/>
                  <a:gd name="T86" fmla="*/ 966 w 1644"/>
                  <a:gd name="T87" fmla="*/ 511 h 2034"/>
                  <a:gd name="T88" fmla="*/ 886 w 1644"/>
                  <a:gd name="T89" fmla="*/ 577 h 2034"/>
                  <a:gd name="T90" fmla="*/ 935 w 1644"/>
                  <a:gd name="T91" fmla="*/ 659 h 2034"/>
                  <a:gd name="T92" fmla="*/ 1011 w 1644"/>
                  <a:gd name="T93" fmla="*/ 622 h 2034"/>
                  <a:gd name="T94" fmla="*/ 1042 w 1644"/>
                  <a:gd name="T95" fmla="*/ 577 h 2034"/>
                  <a:gd name="T96" fmla="*/ 1049 w 1644"/>
                  <a:gd name="T97" fmla="*/ 539 h 2034"/>
                  <a:gd name="T98" fmla="*/ 1011 w 1644"/>
                  <a:gd name="T99" fmla="*/ 511 h 2034"/>
                  <a:gd name="T100" fmla="*/ 21 w 1644"/>
                  <a:gd name="T101" fmla="*/ 78 h 2034"/>
                  <a:gd name="T102" fmla="*/ 0 w 1644"/>
                  <a:gd name="T103" fmla="*/ 55 h 2034"/>
                  <a:gd name="T104" fmla="*/ 5 w 1644"/>
                  <a:gd name="T105" fmla="*/ 38 h 2034"/>
                  <a:gd name="T106" fmla="*/ 1644 w 1644"/>
                  <a:gd name="T107" fmla="*/ 2034 h 2034"/>
                  <a:gd name="T108" fmla="*/ 1644 w 1644"/>
                  <a:gd name="T109" fmla="*/ 2029 h 2034"/>
                  <a:gd name="T110" fmla="*/ 1644 w 1644"/>
                  <a:gd name="T111" fmla="*/ 2034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44" h="2034">
                    <a:moveTo>
                      <a:pt x="394" y="199"/>
                    </a:moveTo>
                    <a:lnTo>
                      <a:pt x="416" y="222"/>
                    </a:lnTo>
                    <a:lnTo>
                      <a:pt x="449" y="289"/>
                    </a:lnTo>
                    <a:lnTo>
                      <a:pt x="453" y="310"/>
                    </a:lnTo>
                    <a:lnTo>
                      <a:pt x="432" y="333"/>
                    </a:lnTo>
                    <a:lnTo>
                      <a:pt x="437" y="355"/>
                    </a:lnTo>
                    <a:lnTo>
                      <a:pt x="508" y="366"/>
                    </a:lnTo>
                    <a:lnTo>
                      <a:pt x="517" y="350"/>
                    </a:lnTo>
                    <a:lnTo>
                      <a:pt x="534" y="350"/>
                    </a:lnTo>
                    <a:lnTo>
                      <a:pt x="546" y="326"/>
                    </a:lnTo>
                    <a:lnTo>
                      <a:pt x="579" y="300"/>
                    </a:lnTo>
                    <a:lnTo>
                      <a:pt x="588" y="260"/>
                    </a:lnTo>
                    <a:lnTo>
                      <a:pt x="600" y="244"/>
                    </a:lnTo>
                    <a:lnTo>
                      <a:pt x="633" y="239"/>
                    </a:lnTo>
                    <a:lnTo>
                      <a:pt x="664" y="272"/>
                    </a:lnTo>
                    <a:lnTo>
                      <a:pt x="685" y="272"/>
                    </a:lnTo>
                    <a:lnTo>
                      <a:pt x="697" y="277"/>
                    </a:lnTo>
                    <a:lnTo>
                      <a:pt x="718" y="289"/>
                    </a:lnTo>
                    <a:lnTo>
                      <a:pt x="777" y="272"/>
                    </a:lnTo>
                    <a:lnTo>
                      <a:pt x="789" y="255"/>
                    </a:lnTo>
                    <a:lnTo>
                      <a:pt x="805" y="199"/>
                    </a:lnTo>
                    <a:lnTo>
                      <a:pt x="843" y="189"/>
                    </a:lnTo>
                    <a:lnTo>
                      <a:pt x="869" y="166"/>
                    </a:lnTo>
                    <a:lnTo>
                      <a:pt x="881" y="123"/>
                    </a:lnTo>
                    <a:lnTo>
                      <a:pt x="914" y="95"/>
                    </a:lnTo>
                    <a:lnTo>
                      <a:pt x="919" y="95"/>
                    </a:lnTo>
                    <a:lnTo>
                      <a:pt x="923" y="90"/>
                    </a:lnTo>
                    <a:lnTo>
                      <a:pt x="952" y="74"/>
                    </a:lnTo>
                    <a:lnTo>
                      <a:pt x="973" y="38"/>
                    </a:lnTo>
                    <a:lnTo>
                      <a:pt x="1020" y="22"/>
                    </a:lnTo>
                    <a:lnTo>
                      <a:pt x="1027" y="12"/>
                    </a:lnTo>
                    <a:lnTo>
                      <a:pt x="1049" y="12"/>
                    </a:lnTo>
                    <a:lnTo>
                      <a:pt x="1075" y="0"/>
                    </a:lnTo>
                    <a:lnTo>
                      <a:pt x="1120" y="17"/>
                    </a:lnTo>
                    <a:lnTo>
                      <a:pt x="1157" y="17"/>
                    </a:lnTo>
                    <a:lnTo>
                      <a:pt x="1188" y="22"/>
                    </a:lnTo>
                    <a:lnTo>
                      <a:pt x="1205" y="78"/>
                    </a:lnTo>
                    <a:lnTo>
                      <a:pt x="1205" y="107"/>
                    </a:lnTo>
                    <a:lnTo>
                      <a:pt x="1226" y="144"/>
                    </a:lnTo>
                    <a:lnTo>
                      <a:pt x="1238" y="178"/>
                    </a:lnTo>
                    <a:lnTo>
                      <a:pt x="1238" y="293"/>
                    </a:lnTo>
                    <a:lnTo>
                      <a:pt x="1226" y="293"/>
                    </a:lnTo>
                    <a:lnTo>
                      <a:pt x="1195" y="277"/>
                    </a:lnTo>
                    <a:lnTo>
                      <a:pt x="1188" y="277"/>
                    </a:lnTo>
                    <a:lnTo>
                      <a:pt x="1171" y="293"/>
                    </a:lnTo>
                    <a:lnTo>
                      <a:pt x="1150" y="326"/>
                    </a:lnTo>
                    <a:lnTo>
                      <a:pt x="1150" y="355"/>
                    </a:lnTo>
                    <a:lnTo>
                      <a:pt x="1157" y="355"/>
                    </a:lnTo>
                    <a:lnTo>
                      <a:pt x="1171" y="388"/>
                    </a:lnTo>
                    <a:lnTo>
                      <a:pt x="1205" y="400"/>
                    </a:lnTo>
                    <a:lnTo>
                      <a:pt x="1238" y="400"/>
                    </a:lnTo>
                    <a:lnTo>
                      <a:pt x="1238" y="355"/>
                    </a:lnTo>
                    <a:lnTo>
                      <a:pt x="1242" y="366"/>
                    </a:lnTo>
                    <a:lnTo>
                      <a:pt x="1297" y="366"/>
                    </a:lnTo>
                    <a:lnTo>
                      <a:pt x="1259" y="494"/>
                    </a:lnTo>
                    <a:lnTo>
                      <a:pt x="1238" y="522"/>
                    </a:lnTo>
                    <a:lnTo>
                      <a:pt x="1221" y="522"/>
                    </a:lnTo>
                    <a:lnTo>
                      <a:pt x="1188" y="565"/>
                    </a:lnTo>
                    <a:lnTo>
                      <a:pt x="1167" y="605"/>
                    </a:lnTo>
                    <a:lnTo>
                      <a:pt x="1167" y="605"/>
                    </a:lnTo>
                    <a:lnTo>
                      <a:pt x="1096" y="716"/>
                    </a:lnTo>
                    <a:lnTo>
                      <a:pt x="1049" y="742"/>
                    </a:lnTo>
                    <a:lnTo>
                      <a:pt x="990" y="815"/>
                    </a:lnTo>
                    <a:lnTo>
                      <a:pt x="952" y="848"/>
                    </a:lnTo>
                    <a:lnTo>
                      <a:pt x="886" y="886"/>
                    </a:lnTo>
                    <a:lnTo>
                      <a:pt x="848" y="910"/>
                    </a:lnTo>
                    <a:lnTo>
                      <a:pt x="794" y="910"/>
                    </a:lnTo>
                    <a:lnTo>
                      <a:pt x="789" y="922"/>
                    </a:lnTo>
                    <a:lnTo>
                      <a:pt x="794" y="926"/>
                    </a:lnTo>
                    <a:lnTo>
                      <a:pt x="739" y="926"/>
                    </a:lnTo>
                    <a:lnTo>
                      <a:pt x="739" y="926"/>
                    </a:lnTo>
                    <a:lnTo>
                      <a:pt x="734" y="943"/>
                    </a:lnTo>
                    <a:lnTo>
                      <a:pt x="647" y="926"/>
                    </a:lnTo>
                    <a:lnTo>
                      <a:pt x="633" y="926"/>
                    </a:lnTo>
                    <a:lnTo>
                      <a:pt x="626" y="938"/>
                    </a:lnTo>
                    <a:lnTo>
                      <a:pt x="572" y="926"/>
                    </a:lnTo>
                    <a:lnTo>
                      <a:pt x="541" y="938"/>
                    </a:lnTo>
                    <a:lnTo>
                      <a:pt x="517" y="959"/>
                    </a:lnTo>
                    <a:lnTo>
                      <a:pt x="503" y="959"/>
                    </a:lnTo>
                    <a:lnTo>
                      <a:pt x="486" y="959"/>
                    </a:lnTo>
                    <a:lnTo>
                      <a:pt x="453" y="959"/>
                    </a:lnTo>
                    <a:lnTo>
                      <a:pt x="449" y="964"/>
                    </a:lnTo>
                    <a:lnTo>
                      <a:pt x="427" y="964"/>
                    </a:lnTo>
                    <a:lnTo>
                      <a:pt x="394" y="992"/>
                    </a:lnTo>
                    <a:lnTo>
                      <a:pt x="373" y="992"/>
                    </a:lnTo>
                    <a:lnTo>
                      <a:pt x="345" y="976"/>
                    </a:lnTo>
                    <a:lnTo>
                      <a:pt x="345" y="964"/>
                    </a:lnTo>
                    <a:lnTo>
                      <a:pt x="340" y="959"/>
                    </a:lnTo>
                    <a:lnTo>
                      <a:pt x="307" y="959"/>
                    </a:lnTo>
                    <a:lnTo>
                      <a:pt x="307" y="943"/>
                    </a:lnTo>
                    <a:lnTo>
                      <a:pt x="307" y="938"/>
                    </a:lnTo>
                    <a:lnTo>
                      <a:pt x="286" y="938"/>
                    </a:lnTo>
                    <a:lnTo>
                      <a:pt x="286" y="959"/>
                    </a:lnTo>
                    <a:lnTo>
                      <a:pt x="274" y="955"/>
                    </a:lnTo>
                    <a:lnTo>
                      <a:pt x="269" y="926"/>
                    </a:lnTo>
                    <a:lnTo>
                      <a:pt x="286" y="922"/>
                    </a:lnTo>
                    <a:lnTo>
                      <a:pt x="286" y="903"/>
                    </a:lnTo>
                    <a:lnTo>
                      <a:pt x="253" y="848"/>
                    </a:lnTo>
                    <a:lnTo>
                      <a:pt x="248" y="848"/>
                    </a:lnTo>
                    <a:lnTo>
                      <a:pt x="236" y="832"/>
                    </a:lnTo>
                    <a:lnTo>
                      <a:pt x="253" y="827"/>
                    </a:lnTo>
                    <a:lnTo>
                      <a:pt x="260" y="832"/>
                    </a:lnTo>
                    <a:lnTo>
                      <a:pt x="269" y="815"/>
                    </a:lnTo>
                    <a:lnTo>
                      <a:pt x="274" y="794"/>
                    </a:lnTo>
                    <a:lnTo>
                      <a:pt x="269" y="759"/>
                    </a:lnTo>
                    <a:lnTo>
                      <a:pt x="198" y="631"/>
                    </a:lnTo>
                    <a:lnTo>
                      <a:pt x="168" y="539"/>
                    </a:lnTo>
                    <a:lnTo>
                      <a:pt x="151" y="522"/>
                    </a:lnTo>
                    <a:lnTo>
                      <a:pt x="146" y="499"/>
                    </a:lnTo>
                    <a:lnTo>
                      <a:pt x="160" y="494"/>
                    </a:lnTo>
                    <a:lnTo>
                      <a:pt x="168" y="461"/>
                    </a:lnTo>
                    <a:lnTo>
                      <a:pt x="184" y="454"/>
                    </a:lnTo>
                    <a:lnTo>
                      <a:pt x="198" y="466"/>
                    </a:lnTo>
                    <a:lnTo>
                      <a:pt x="205" y="466"/>
                    </a:lnTo>
                    <a:lnTo>
                      <a:pt x="205" y="511"/>
                    </a:lnTo>
                    <a:lnTo>
                      <a:pt x="222" y="511"/>
                    </a:lnTo>
                    <a:lnTo>
                      <a:pt x="222" y="515"/>
                    </a:lnTo>
                    <a:lnTo>
                      <a:pt x="248" y="515"/>
                    </a:lnTo>
                    <a:lnTo>
                      <a:pt x="260" y="522"/>
                    </a:lnTo>
                    <a:lnTo>
                      <a:pt x="302" y="515"/>
                    </a:lnTo>
                    <a:lnTo>
                      <a:pt x="328" y="522"/>
                    </a:lnTo>
                    <a:lnTo>
                      <a:pt x="340" y="522"/>
                    </a:lnTo>
                    <a:lnTo>
                      <a:pt x="340" y="511"/>
                    </a:lnTo>
                    <a:lnTo>
                      <a:pt x="357" y="511"/>
                    </a:lnTo>
                    <a:lnTo>
                      <a:pt x="361" y="494"/>
                    </a:lnTo>
                    <a:lnTo>
                      <a:pt x="394" y="482"/>
                    </a:lnTo>
                    <a:lnTo>
                      <a:pt x="394" y="199"/>
                    </a:lnTo>
                    <a:lnTo>
                      <a:pt x="394" y="199"/>
                    </a:lnTo>
                    <a:lnTo>
                      <a:pt x="394" y="199"/>
                    </a:lnTo>
                    <a:close/>
                    <a:moveTo>
                      <a:pt x="1011" y="511"/>
                    </a:moveTo>
                    <a:lnTo>
                      <a:pt x="994" y="499"/>
                    </a:lnTo>
                    <a:lnTo>
                      <a:pt x="966" y="511"/>
                    </a:lnTo>
                    <a:lnTo>
                      <a:pt x="923" y="532"/>
                    </a:lnTo>
                    <a:lnTo>
                      <a:pt x="902" y="572"/>
                    </a:lnTo>
                    <a:lnTo>
                      <a:pt x="886" y="577"/>
                    </a:lnTo>
                    <a:lnTo>
                      <a:pt x="902" y="610"/>
                    </a:lnTo>
                    <a:lnTo>
                      <a:pt x="914" y="631"/>
                    </a:lnTo>
                    <a:lnTo>
                      <a:pt x="935" y="659"/>
                    </a:lnTo>
                    <a:lnTo>
                      <a:pt x="957" y="659"/>
                    </a:lnTo>
                    <a:lnTo>
                      <a:pt x="978" y="622"/>
                    </a:lnTo>
                    <a:lnTo>
                      <a:pt x="1011" y="622"/>
                    </a:lnTo>
                    <a:lnTo>
                      <a:pt x="1032" y="605"/>
                    </a:lnTo>
                    <a:lnTo>
                      <a:pt x="1032" y="577"/>
                    </a:lnTo>
                    <a:lnTo>
                      <a:pt x="1042" y="577"/>
                    </a:lnTo>
                    <a:lnTo>
                      <a:pt x="1042" y="572"/>
                    </a:lnTo>
                    <a:lnTo>
                      <a:pt x="1058" y="555"/>
                    </a:lnTo>
                    <a:lnTo>
                      <a:pt x="1049" y="539"/>
                    </a:lnTo>
                    <a:lnTo>
                      <a:pt x="1011" y="511"/>
                    </a:lnTo>
                    <a:lnTo>
                      <a:pt x="1011" y="511"/>
                    </a:lnTo>
                    <a:lnTo>
                      <a:pt x="1011" y="511"/>
                    </a:lnTo>
                    <a:close/>
                    <a:moveTo>
                      <a:pt x="5" y="38"/>
                    </a:moveTo>
                    <a:lnTo>
                      <a:pt x="16" y="38"/>
                    </a:lnTo>
                    <a:lnTo>
                      <a:pt x="21" y="78"/>
                    </a:lnTo>
                    <a:lnTo>
                      <a:pt x="0" y="78"/>
                    </a:lnTo>
                    <a:lnTo>
                      <a:pt x="0" y="66"/>
                    </a:lnTo>
                    <a:lnTo>
                      <a:pt x="0" y="55"/>
                    </a:lnTo>
                    <a:lnTo>
                      <a:pt x="0" y="66"/>
                    </a:lnTo>
                    <a:lnTo>
                      <a:pt x="5" y="66"/>
                    </a:lnTo>
                    <a:lnTo>
                      <a:pt x="5" y="38"/>
                    </a:lnTo>
                    <a:lnTo>
                      <a:pt x="5" y="38"/>
                    </a:lnTo>
                    <a:lnTo>
                      <a:pt x="5" y="38"/>
                    </a:lnTo>
                    <a:close/>
                    <a:moveTo>
                      <a:pt x="1644" y="2034"/>
                    </a:moveTo>
                    <a:lnTo>
                      <a:pt x="1627" y="2029"/>
                    </a:lnTo>
                    <a:lnTo>
                      <a:pt x="1637" y="2022"/>
                    </a:lnTo>
                    <a:lnTo>
                      <a:pt x="1644" y="2029"/>
                    </a:lnTo>
                    <a:lnTo>
                      <a:pt x="1644" y="2034"/>
                    </a:lnTo>
                    <a:lnTo>
                      <a:pt x="1644" y="2034"/>
                    </a:lnTo>
                    <a:lnTo>
                      <a:pt x="1644" y="203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7" name="Freeform 550">
                <a:extLst>
                  <a:ext uri="{FF2B5EF4-FFF2-40B4-BE49-F238E27FC236}">
                    <a16:creationId xmlns:a16="http://schemas.microsoft.com/office/drawing/2014/main" id="{7EE1681D-3C4F-4DCA-BCAD-C0DADDB42D67}"/>
                  </a:ext>
                </a:extLst>
              </p:cNvPr>
              <p:cNvSpPr>
                <a:spLocks/>
              </p:cNvSpPr>
              <p:nvPr/>
            </p:nvSpPr>
            <p:spPr bwMode="gray">
              <a:xfrm>
                <a:off x="6221528" y="3563591"/>
                <a:ext cx="179076" cy="134220"/>
              </a:xfrm>
              <a:custGeom>
                <a:avLst/>
                <a:gdLst>
                  <a:gd name="T0" fmla="*/ 163 w 435"/>
                  <a:gd name="T1" fmla="*/ 305 h 326"/>
                  <a:gd name="T2" fmla="*/ 92 w 435"/>
                  <a:gd name="T3" fmla="*/ 322 h 326"/>
                  <a:gd name="T4" fmla="*/ 45 w 435"/>
                  <a:gd name="T5" fmla="*/ 322 h 326"/>
                  <a:gd name="T6" fmla="*/ 75 w 435"/>
                  <a:gd name="T7" fmla="*/ 310 h 326"/>
                  <a:gd name="T8" fmla="*/ 130 w 435"/>
                  <a:gd name="T9" fmla="*/ 310 h 326"/>
                  <a:gd name="T10" fmla="*/ 137 w 435"/>
                  <a:gd name="T11" fmla="*/ 293 h 326"/>
                  <a:gd name="T12" fmla="*/ 137 w 435"/>
                  <a:gd name="T13" fmla="*/ 293 h 326"/>
                  <a:gd name="T14" fmla="*/ 130 w 435"/>
                  <a:gd name="T15" fmla="*/ 310 h 326"/>
                  <a:gd name="T16" fmla="*/ 99 w 435"/>
                  <a:gd name="T17" fmla="*/ 293 h 326"/>
                  <a:gd name="T18" fmla="*/ 75 w 435"/>
                  <a:gd name="T19" fmla="*/ 310 h 326"/>
                  <a:gd name="T20" fmla="*/ 59 w 435"/>
                  <a:gd name="T21" fmla="*/ 293 h 326"/>
                  <a:gd name="T22" fmla="*/ 54 w 435"/>
                  <a:gd name="T23" fmla="*/ 272 h 326"/>
                  <a:gd name="T24" fmla="*/ 113 w 435"/>
                  <a:gd name="T25" fmla="*/ 267 h 326"/>
                  <a:gd name="T26" fmla="*/ 151 w 435"/>
                  <a:gd name="T27" fmla="*/ 251 h 326"/>
                  <a:gd name="T28" fmla="*/ 222 w 435"/>
                  <a:gd name="T29" fmla="*/ 267 h 326"/>
                  <a:gd name="T30" fmla="*/ 260 w 435"/>
                  <a:gd name="T31" fmla="*/ 251 h 326"/>
                  <a:gd name="T32" fmla="*/ 222 w 435"/>
                  <a:gd name="T33" fmla="*/ 251 h 326"/>
                  <a:gd name="T34" fmla="*/ 191 w 435"/>
                  <a:gd name="T35" fmla="*/ 232 h 326"/>
                  <a:gd name="T36" fmla="*/ 168 w 435"/>
                  <a:gd name="T37" fmla="*/ 215 h 326"/>
                  <a:gd name="T38" fmla="*/ 137 w 435"/>
                  <a:gd name="T39" fmla="*/ 232 h 326"/>
                  <a:gd name="T40" fmla="*/ 59 w 435"/>
                  <a:gd name="T41" fmla="*/ 222 h 326"/>
                  <a:gd name="T42" fmla="*/ 54 w 435"/>
                  <a:gd name="T43" fmla="*/ 222 h 326"/>
                  <a:gd name="T44" fmla="*/ 75 w 435"/>
                  <a:gd name="T45" fmla="*/ 194 h 326"/>
                  <a:gd name="T46" fmla="*/ 59 w 435"/>
                  <a:gd name="T47" fmla="*/ 199 h 326"/>
                  <a:gd name="T48" fmla="*/ 21 w 435"/>
                  <a:gd name="T49" fmla="*/ 156 h 326"/>
                  <a:gd name="T50" fmla="*/ 0 w 435"/>
                  <a:gd name="T51" fmla="*/ 156 h 326"/>
                  <a:gd name="T52" fmla="*/ 21 w 435"/>
                  <a:gd name="T53" fmla="*/ 140 h 326"/>
                  <a:gd name="T54" fmla="*/ 66 w 435"/>
                  <a:gd name="T55" fmla="*/ 74 h 326"/>
                  <a:gd name="T56" fmla="*/ 83 w 435"/>
                  <a:gd name="T57" fmla="*/ 17 h 326"/>
                  <a:gd name="T58" fmla="*/ 175 w 435"/>
                  <a:gd name="T59" fmla="*/ 0 h 326"/>
                  <a:gd name="T60" fmla="*/ 255 w 435"/>
                  <a:gd name="T61" fmla="*/ 50 h 326"/>
                  <a:gd name="T62" fmla="*/ 272 w 435"/>
                  <a:gd name="T63" fmla="*/ 50 h 326"/>
                  <a:gd name="T64" fmla="*/ 283 w 435"/>
                  <a:gd name="T65" fmla="*/ 50 h 326"/>
                  <a:gd name="T66" fmla="*/ 309 w 435"/>
                  <a:gd name="T67" fmla="*/ 100 h 326"/>
                  <a:gd name="T68" fmla="*/ 326 w 435"/>
                  <a:gd name="T69" fmla="*/ 107 h 326"/>
                  <a:gd name="T70" fmla="*/ 347 w 435"/>
                  <a:gd name="T71" fmla="*/ 128 h 326"/>
                  <a:gd name="T72" fmla="*/ 368 w 435"/>
                  <a:gd name="T73" fmla="*/ 178 h 326"/>
                  <a:gd name="T74" fmla="*/ 385 w 435"/>
                  <a:gd name="T75" fmla="*/ 215 h 326"/>
                  <a:gd name="T76" fmla="*/ 401 w 435"/>
                  <a:gd name="T77" fmla="*/ 256 h 326"/>
                  <a:gd name="T78" fmla="*/ 406 w 435"/>
                  <a:gd name="T79" fmla="*/ 251 h 326"/>
                  <a:gd name="T80" fmla="*/ 435 w 435"/>
                  <a:gd name="T81" fmla="*/ 322 h 326"/>
                  <a:gd name="T82" fmla="*/ 364 w 435"/>
                  <a:gd name="T83" fmla="*/ 326 h 326"/>
                  <a:gd name="T84" fmla="*/ 309 w 435"/>
                  <a:gd name="T85" fmla="*/ 322 h 326"/>
                  <a:gd name="T86" fmla="*/ 260 w 435"/>
                  <a:gd name="T87" fmla="*/ 305 h 326"/>
                  <a:gd name="T88" fmla="*/ 222 w 435"/>
                  <a:gd name="T89" fmla="*/ 30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5" h="326">
                    <a:moveTo>
                      <a:pt x="222" y="305"/>
                    </a:moveTo>
                    <a:lnTo>
                      <a:pt x="163" y="305"/>
                    </a:lnTo>
                    <a:lnTo>
                      <a:pt x="120" y="322"/>
                    </a:lnTo>
                    <a:lnTo>
                      <a:pt x="92" y="322"/>
                    </a:lnTo>
                    <a:lnTo>
                      <a:pt x="54" y="326"/>
                    </a:lnTo>
                    <a:lnTo>
                      <a:pt x="45" y="322"/>
                    </a:lnTo>
                    <a:lnTo>
                      <a:pt x="59" y="305"/>
                    </a:lnTo>
                    <a:lnTo>
                      <a:pt x="75" y="310"/>
                    </a:lnTo>
                    <a:lnTo>
                      <a:pt x="99" y="305"/>
                    </a:lnTo>
                    <a:lnTo>
                      <a:pt x="130" y="310"/>
                    </a:lnTo>
                    <a:lnTo>
                      <a:pt x="137" y="305"/>
                    </a:lnTo>
                    <a:lnTo>
                      <a:pt x="137" y="293"/>
                    </a:lnTo>
                    <a:lnTo>
                      <a:pt x="146" y="289"/>
                    </a:lnTo>
                    <a:lnTo>
                      <a:pt x="137" y="293"/>
                    </a:lnTo>
                    <a:lnTo>
                      <a:pt x="137" y="305"/>
                    </a:lnTo>
                    <a:lnTo>
                      <a:pt x="130" y="310"/>
                    </a:lnTo>
                    <a:lnTo>
                      <a:pt x="109" y="310"/>
                    </a:lnTo>
                    <a:lnTo>
                      <a:pt x="99" y="293"/>
                    </a:lnTo>
                    <a:lnTo>
                      <a:pt x="99" y="305"/>
                    </a:lnTo>
                    <a:lnTo>
                      <a:pt x="75" y="310"/>
                    </a:lnTo>
                    <a:lnTo>
                      <a:pt x="59" y="305"/>
                    </a:lnTo>
                    <a:lnTo>
                      <a:pt x="59" y="293"/>
                    </a:lnTo>
                    <a:lnTo>
                      <a:pt x="54" y="310"/>
                    </a:lnTo>
                    <a:lnTo>
                      <a:pt x="54" y="272"/>
                    </a:lnTo>
                    <a:lnTo>
                      <a:pt x="54" y="267"/>
                    </a:lnTo>
                    <a:lnTo>
                      <a:pt x="113" y="267"/>
                    </a:lnTo>
                    <a:lnTo>
                      <a:pt x="113" y="256"/>
                    </a:lnTo>
                    <a:lnTo>
                      <a:pt x="151" y="251"/>
                    </a:lnTo>
                    <a:lnTo>
                      <a:pt x="168" y="232"/>
                    </a:lnTo>
                    <a:lnTo>
                      <a:pt x="222" y="267"/>
                    </a:lnTo>
                    <a:lnTo>
                      <a:pt x="255" y="256"/>
                    </a:lnTo>
                    <a:lnTo>
                      <a:pt x="260" y="251"/>
                    </a:lnTo>
                    <a:lnTo>
                      <a:pt x="243" y="232"/>
                    </a:lnTo>
                    <a:lnTo>
                      <a:pt x="222" y="251"/>
                    </a:lnTo>
                    <a:lnTo>
                      <a:pt x="205" y="232"/>
                    </a:lnTo>
                    <a:lnTo>
                      <a:pt x="191" y="232"/>
                    </a:lnTo>
                    <a:lnTo>
                      <a:pt x="184" y="222"/>
                    </a:lnTo>
                    <a:lnTo>
                      <a:pt x="168" y="215"/>
                    </a:lnTo>
                    <a:lnTo>
                      <a:pt x="146" y="222"/>
                    </a:lnTo>
                    <a:lnTo>
                      <a:pt x="137" y="232"/>
                    </a:lnTo>
                    <a:lnTo>
                      <a:pt x="59" y="232"/>
                    </a:lnTo>
                    <a:lnTo>
                      <a:pt x="59" y="222"/>
                    </a:lnTo>
                    <a:lnTo>
                      <a:pt x="66" y="211"/>
                    </a:lnTo>
                    <a:lnTo>
                      <a:pt x="54" y="222"/>
                    </a:lnTo>
                    <a:lnTo>
                      <a:pt x="54" y="211"/>
                    </a:lnTo>
                    <a:lnTo>
                      <a:pt x="75" y="194"/>
                    </a:lnTo>
                    <a:lnTo>
                      <a:pt x="66" y="194"/>
                    </a:lnTo>
                    <a:lnTo>
                      <a:pt x="59" y="199"/>
                    </a:lnTo>
                    <a:lnTo>
                      <a:pt x="45" y="199"/>
                    </a:lnTo>
                    <a:lnTo>
                      <a:pt x="21" y="156"/>
                    </a:lnTo>
                    <a:lnTo>
                      <a:pt x="7" y="156"/>
                    </a:lnTo>
                    <a:lnTo>
                      <a:pt x="0" y="156"/>
                    </a:lnTo>
                    <a:lnTo>
                      <a:pt x="0" y="156"/>
                    </a:lnTo>
                    <a:lnTo>
                      <a:pt x="21" y="140"/>
                    </a:lnTo>
                    <a:lnTo>
                      <a:pt x="45" y="111"/>
                    </a:lnTo>
                    <a:lnTo>
                      <a:pt x="66" y="74"/>
                    </a:lnTo>
                    <a:lnTo>
                      <a:pt x="66" y="50"/>
                    </a:lnTo>
                    <a:lnTo>
                      <a:pt x="83" y="17"/>
                    </a:lnTo>
                    <a:lnTo>
                      <a:pt x="130" y="17"/>
                    </a:lnTo>
                    <a:lnTo>
                      <a:pt x="175" y="0"/>
                    </a:lnTo>
                    <a:lnTo>
                      <a:pt x="222" y="12"/>
                    </a:lnTo>
                    <a:lnTo>
                      <a:pt x="255" y="50"/>
                    </a:lnTo>
                    <a:lnTo>
                      <a:pt x="260" y="45"/>
                    </a:lnTo>
                    <a:lnTo>
                      <a:pt x="272" y="50"/>
                    </a:lnTo>
                    <a:lnTo>
                      <a:pt x="276" y="50"/>
                    </a:lnTo>
                    <a:lnTo>
                      <a:pt x="283" y="50"/>
                    </a:lnTo>
                    <a:lnTo>
                      <a:pt x="298" y="83"/>
                    </a:lnTo>
                    <a:lnTo>
                      <a:pt x="309" y="100"/>
                    </a:lnTo>
                    <a:lnTo>
                      <a:pt x="314" y="100"/>
                    </a:lnTo>
                    <a:lnTo>
                      <a:pt x="326" y="107"/>
                    </a:lnTo>
                    <a:lnTo>
                      <a:pt x="326" y="111"/>
                    </a:lnTo>
                    <a:lnTo>
                      <a:pt x="347" y="128"/>
                    </a:lnTo>
                    <a:lnTo>
                      <a:pt x="368" y="144"/>
                    </a:lnTo>
                    <a:lnTo>
                      <a:pt x="368" y="178"/>
                    </a:lnTo>
                    <a:lnTo>
                      <a:pt x="385" y="194"/>
                    </a:lnTo>
                    <a:lnTo>
                      <a:pt x="385" y="215"/>
                    </a:lnTo>
                    <a:lnTo>
                      <a:pt x="380" y="232"/>
                    </a:lnTo>
                    <a:lnTo>
                      <a:pt x="401" y="256"/>
                    </a:lnTo>
                    <a:lnTo>
                      <a:pt x="401" y="251"/>
                    </a:lnTo>
                    <a:lnTo>
                      <a:pt x="406" y="251"/>
                    </a:lnTo>
                    <a:lnTo>
                      <a:pt x="435" y="277"/>
                    </a:lnTo>
                    <a:lnTo>
                      <a:pt x="435" y="322"/>
                    </a:lnTo>
                    <a:lnTo>
                      <a:pt x="385" y="322"/>
                    </a:lnTo>
                    <a:lnTo>
                      <a:pt x="364" y="326"/>
                    </a:lnTo>
                    <a:lnTo>
                      <a:pt x="326" y="310"/>
                    </a:lnTo>
                    <a:lnTo>
                      <a:pt x="309" y="322"/>
                    </a:lnTo>
                    <a:lnTo>
                      <a:pt x="309" y="305"/>
                    </a:lnTo>
                    <a:lnTo>
                      <a:pt x="260" y="305"/>
                    </a:lnTo>
                    <a:lnTo>
                      <a:pt x="222" y="305"/>
                    </a:lnTo>
                    <a:lnTo>
                      <a:pt x="222" y="305"/>
                    </a:lnTo>
                    <a:lnTo>
                      <a:pt x="222" y="30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58" name="Freeform 551">
                <a:extLst>
                  <a:ext uri="{FF2B5EF4-FFF2-40B4-BE49-F238E27FC236}">
                    <a16:creationId xmlns:a16="http://schemas.microsoft.com/office/drawing/2014/main" id="{BAD55F89-A094-4570-9E46-092323D233AC}"/>
                  </a:ext>
                </a:extLst>
              </p:cNvPr>
              <p:cNvSpPr>
                <a:spLocks noEditPoints="1"/>
              </p:cNvSpPr>
              <p:nvPr/>
            </p:nvSpPr>
            <p:spPr bwMode="gray">
              <a:xfrm>
                <a:off x="6310037" y="4298917"/>
                <a:ext cx="249060" cy="921832"/>
              </a:xfrm>
              <a:custGeom>
                <a:avLst/>
                <a:gdLst>
                  <a:gd name="T0" fmla="*/ 0 w 605"/>
                  <a:gd name="T1" fmla="*/ 5 h 2239"/>
                  <a:gd name="T2" fmla="*/ 0 w 605"/>
                  <a:gd name="T3" fmla="*/ 0 h 2239"/>
                  <a:gd name="T4" fmla="*/ 5 w 605"/>
                  <a:gd name="T5" fmla="*/ 5 h 2239"/>
                  <a:gd name="T6" fmla="*/ 0 w 605"/>
                  <a:gd name="T7" fmla="*/ 5 h 2239"/>
                  <a:gd name="T8" fmla="*/ 0 w 605"/>
                  <a:gd name="T9" fmla="*/ 5 h 2239"/>
                  <a:gd name="T10" fmla="*/ 0 w 605"/>
                  <a:gd name="T11" fmla="*/ 5 h 2239"/>
                  <a:gd name="T12" fmla="*/ 605 w 605"/>
                  <a:gd name="T13" fmla="*/ 593 h 2239"/>
                  <a:gd name="T14" fmla="*/ 600 w 605"/>
                  <a:gd name="T15" fmla="*/ 593 h 2239"/>
                  <a:gd name="T16" fmla="*/ 605 w 605"/>
                  <a:gd name="T17" fmla="*/ 588 h 2239"/>
                  <a:gd name="T18" fmla="*/ 605 w 605"/>
                  <a:gd name="T19" fmla="*/ 593 h 2239"/>
                  <a:gd name="T20" fmla="*/ 605 w 605"/>
                  <a:gd name="T21" fmla="*/ 593 h 2239"/>
                  <a:gd name="T22" fmla="*/ 605 w 605"/>
                  <a:gd name="T23" fmla="*/ 593 h 2239"/>
                  <a:gd name="T24" fmla="*/ 146 w 605"/>
                  <a:gd name="T25" fmla="*/ 2239 h 2239"/>
                  <a:gd name="T26" fmla="*/ 146 w 605"/>
                  <a:gd name="T27" fmla="*/ 2235 h 2239"/>
                  <a:gd name="T28" fmla="*/ 151 w 605"/>
                  <a:gd name="T29" fmla="*/ 2235 h 2239"/>
                  <a:gd name="T30" fmla="*/ 146 w 605"/>
                  <a:gd name="T31" fmla="*/ 2239 h 2239"/>
                  <a:gd name="T32" fmla="*/ 146 w 605"/>
                  <a:gd name="T33" fmla="*/ 2239 h 2239"/>
                  <a:gd name="T34" fmla="*/ 146 w 605"/>
                  <a:gd name="T35" fmla="*/ 2239 h 2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5" h="2239">
                    <a:moveTo>
                      <a:pt x="0" y="5"/>
                    </a:moveTo>
                    <a:lnTo>
                      <a:pt x="0" y="0"/>
                    </a:lnTo>
                    <a:lnTo>
                      <a:pt x="5" y="5"/>
                    </a:lnTo>
                    <a:lnTo>
                      <a:pt x="0" y="5"/>
                    </a:lnTo>
                    <a:lnTo>
                      <a:pt x="0" y="5"/>
                    </a:lnTo>
                    <a:lnTo>
                      <a:pt x="0" y="5"/>
                    </a:lnTo>
                    <a:close/>
                    <a:moveTo>
                      <a:pt x="605" y="593"/>
                    </a:moveTo>
                    <a:lnTo>
                      <a:pt x="600" y="593"/>
                    </a:lnTo>
                    <a:lnTo>
                      <a:pt x="605" y="588"/>
                    </a:lnTo>
                    <a:lnTo>
                      <a:pt x="605" y="593"/>
                    </a:lnTo>
                    <a:lnTo>
                      <a:pt x="605" y="593"/>
                    </a:lnTo>
                    <a:lnTo>
                      <a:pt x="605" y="593"/>
                    </a:lnTo>
                    <a:close/>
                    <a:moveTo>
                      <a:pt x="146" y="2239"/>
                    </a:moveTo>
                    <a:lnTo>
                      <a:pt x="146" y="2235"/>
                    </a:lnTo>
                    <a:lnTo>
                      <a:pt x="151" y="2235"/>
                    </a:lnTo>
                    <a:lnTo>
                      <a:pt x="146" y="2239"/>
                    </a:lnTo>
                    <a:lnTo>
                      <a:pt x="146" y="2239"/>
                    </a:lnTo>
                    <a:lnTo>
                      <a:pt x="146" y="223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0" name="Freeform 553">
                <a:extLst>
                  <a:ext uri="{FF2B5EF4-FFF2-40B4-BE49-F238E27FC236}">
                    <a16:creationId xmlns:a16="http://schemas.microsoft.com/office/drawing/2014/main" id="{5B15BC23-AE90-42A3-A12C-079FD40BDA95}"/>
                  </a:ext>
                </a:extLst>
              </p:cNvPr>
              <p:cNvSpPr>
                <a:spLocks noEditPoints="1"/>
              </p:cNvSpPr>
              <p:nvPr/>
            </p:nvSpPr>
            <p:spPr bwMode="gray">
              <a:xfrm>
                <a:off x="6342147" y="3766980"/>
                <a:ext cx="88509" cy="93459"/>
              </a:xfrm>
              <a:custGeom>
                <a:avLst/>
                <a:gdLst>
                  <a:gd name="T0" fmla="*/ 165 w 215"/>
                  <a:gd name="T1" fmla="*/ 184 h 227"/>
                  <a:gd name="T2" fmla="*/ 139 w 215"/>
                  <a:gd name="T3" fmla="*/ 206 h 227"/>
                  <a:gd name="T4" fmla="*/ 127 w 215"/>
                  <a:gd name="T5" fmla="*/ 227 h 227"/>
                  <a:gd name="T6" fmla="*/ 97 w 215"/>
                  <a:gd name="T7" fmla="*/ 217 h 227"/>
                  <a:gd name="T8" fmla="*/ 52 w 215"/>
                  <a:gd name="T9" fmla="*/ 189 h 227"/>
                  <a:gd name="T10" fmla="*/ 59 w 215"/>
                  <a:gd name="T11" fmla="*/ 184 h 227"/>
                  <a:gd name="T12" fmla="*/ 75 w 215"/>
                  <a:gd name="T13" fmla="*/ 173 h 227"/>
                  <a:gd name="T14" fmla="*/ 59 w 215"/>
                  <a:gd name="T15" fmla="*/ 184 h 227"/>
                  <a:gd name="T16" fmla="*/ 21 w 215"/>
                  <a:gd name="T17" fmla="*/ 161 h 227"/>
                  <a:gd name="T18" fmla="*/ 30 w 215"/>
                  <a:gd name="T19" fmla="*/ 151 h 227"/>
                  <a:gd name="T20" fmla="*/ 21 w 215"/>
                  <a:gd name="T21" fmla="*/ 128 h 227"/>
                  <a:gd name="T22" fmla="*/ 16 w 215"/>
                  <a:gd name="T23" fmla="*/ 132 h 227"/>
                  <a:gd name="T24" fmla="*/ 0 w 215"/>
                  <a:gd name="T25" fmla="*/ 111 h 227"/>
                  <a:gd name="T26" fmla="*/ 16 w 215"/>
                  <a:gd name="T27" fmla="*/ 116 h 227"/>
                  <a:gd name="T28" fmla="*/ 16 w 215"/>
                  <a:gd name="T29" fmla="*/ 116 h 227"/>
                  <a:gd name="T30" fmla="*/ 30 w 215"/>
                  <a:gd name="T31" fmla="*/ 111 h 227"/>
                  <a:gd name="T32" fmla="*/ 5 w 215"/>
                  <a:gd name="T33" fmla="*/ 111 h 227"/>
                  <a:gd name="T34" fmla="*/ 5 w 215"/>
                  <a:gd name="T35" fmla="*/ 90 h 227"/>
                  <a:gd name="T36" fmla="*/ 16 w 215"/>
                  <a:gd name="T37" fmla="*/ 90 h 227"/>
                  <a:gd name="T38" fmla="*/ 0 w 215"/>
                  <a:gd name="T39" fmla="*/ 73 h 227"/>
                  <a:gd name="T40" fmla="*/ 16 w 215"/>
                  <a:gd name="T41" fmla="*/ 73 h 227"/>
                  <a:gd name="T42" fmla="*/ 21 w 215"/>
                  <a:gd name="T43" fmla="*/ 57 h 227"/>
                  <a:gd name="T44" fmla="*/ 42 w 215"/>
                  <a:gd name="T45" fmla="*/ 50 h 227"/>
                  <a:gd name="T46" fmla="*/ 59 w 215"/>
                  <a:gd name="T47" fmla="*/ 5 h 227"/>
                  <a:gd name="T48" fmla="*/ 75 w 215"/>
                  <a:gd name="T49" fmla="*/ 5 h 227"/>
                  <a:gd name="T50" fmla="*/ 85 w 215"/>
                  <a:gd name="T51" fmla="*/ 17 h 227"/>
                  <a:gd name="T52" fmla="*/ 97 w 215"/>
                  <a:gd name="T53" fmla="*/ 5 h 227"/>
                  <a:gd name="T54" fmla="*/ 97 w 215"/>
                  <a:gd name="T55" fmla="*/ 0 h 227"/>
                  <a:gd name="T56" fmla="*/ 144 w 215"/>
                  <a:gd name="T57" fmla="*/ 0 h 227"/>
                  <a:gd name="T58" fmla="*/ 182 w 215"/>
                  <a:gd name="T59" fmla="*/ 57 h 227"/>
                  <a:gd name="T60" fmla="*/ 177 w 215"/>
                  <a:gd name="T61" fmla="*/ 73 h 227"/>
                  <a:gd name="T62" fmla="*/ 193 w 215"/>
                  <a:gd name="T63" fmla="*/ 73 h 227"/>
                  <a:gd name="T64" fmla="*/ 193 w 215"/>
                  <a:gd name="T65" fmla="*/ 90 h 227"/>
                  <a:gd name="T66" fmla="*/ 198 w 215"/>
                  <a:gd name="T67" fmla="*/ 95 h 227"/>
                  <a:gd name="T68" fmla="*/ 182 w 215"/>
                  <a:gd name="T69" fmla="*/ 128 h 227"/>
                  <a:gd name="T70" fmla="*/ 215 w 215"/>
                  <a:gd name="T71" fmla="*/ 111 h 227"/>
                  <a:gd name="T72" fmla="*/ 203 w 215"/>
                  <a:gd name="T73" fmla="*/ 132 h 227"/>
                  <a:gd name="T74" fmla="*/ 193 w 215"/>
                  <a:gd name="T75" fmla="*/ 144 h 227"/>
                  <a:gd name="T76" fmla="*/ 193 w 215"/>
                  <a:gd name="T77" fmla="*/ 168 h 227"/>
                  <a:gd name="T78" fmla="*/ 165 w 215"/>
                  <a:gd name="T79" fmla="*/ 184 h 227"/>
                  <a:gd name="T80" fmla="*/ 165 w 215"/>
                  <a:gd name="T81" fmla="*/ 184 h 227"/>
                  <a:gd name="T82" fmla="*/ 165 w 215"/>
                  <a:gd name="T83" fmla="*/ 184 h 227"/>
                  <a:gd name="T84" fmla="*/ 30 w 215"/>
                  <a:gd name="T85" fmla="*/ 173 h 227"/>
                  <a:gd name="T86" fmla="*/ 52 w 215"/>
                  <a:gd name="T87" fmla="*/ 173 h 227"/>
                  <a:gd name="T88" fmla="*/ 52 w 215"/>
                  <a:gd name="T89" fmla="*/ 184 h 227"/>
                  <a:gd name="T90" fmla="*/ 52 w 215"/>
                  <a:gd name="T91" fmla="*/ 189 h 227"/>
                  <a:gd name="T92" fmla="*/ 21 w 215"/>
                  <a:gd name="T93" fmla="*/ 184 h 227"/>
                  <a:gd name="T94" fmla="*/ 30 w 215"/>
                  <a:gd name="T95" fmla="*/ 173 h 227"/>
                  <a:gd name="T96" fmla="*/ 30 w 215"/>
                  <a:gd name="T97" fmla="*/ 173 h 227"/>
                  <a:gd name="T98" fmla="*/ 30 w 215"/>
                  <a:gd name="T99" fmla="*/ 17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5" h="227">
                    <a:moveTo>
                      <a:pt x="165" y="184"/>
                    </a:moveTo>
                    <a:lnTo>
                      <a:pt x="139" y="206"/>
                    </a:lnTo>
                    <a:lnTo>
                      <a:pt x="127" y="227"/>
                    </a:lnTo>
                    <a:lnTo>
                      <a:pt x="97" y="217"/>
                    </a:lnTo>
                    <a:lnTo>
                      <a:pt x="52" y="189"/>
                    </a:lnTo>
                    <a:lnTo>
                      <a:pt x="59" y="184"/>
                    </a:lnTo>
                    <a:lnTo>
                      <a:pt x="75" y="173"/>
                    </a:lnTo>
                    <a:lnTo>
                      <a:pt x="59" y="184"/>
                    </a:lnTo>
                    <a:lnTo>
                      <a:pt x="21" y="161"/>
                    </a:lnTo>
                    <a:lnTo>
                      <a:pt x="30" y="151"/>
                    </a:lnTo>
                    <a:lnTo>
                      <a:pt x="21" y="128"/>
                    </a:lnTo>
                    <a:lnTo>
                      <a:pt x="16" y="132"/>
                    </a:lnTo>
                    <a:lnTo>
                      <a:pt x="0" y="111"/>
                    </a:lnTo>
                    <a:lnTo>
                      <a:pt x="16" y="116"/>
                    </a:lnTo>
                    <a:lnTo>
                      <a:pt x="16" y="116"/>
                    </a:lnTo>
                    <a:lnTo>
                      <a:pt x="30" y="111"/>
                    </a:lnTo>
                    <a:lnTo>
                      <a:pt x="5" y="111"/>
                    </a:lnTo>
                    <a:lnTo>
                      <a:pt x="5" y="90"/>
                    </a:lnTo>
                    <a:lnTo>
                      <a:pt x="16" y="90"/>
                    </a:lnTo>
                    <a:lnTo>
                      <a:pt x="0" y="73"/>
                    </a:lnTo>
                    <a:lnTo>
                      <a:pt x="16" y="73"/>
                    </a:lnTo>
                    <a:lnTo>
                      <a:pt x="21" y="57"/>
                    </a:lnTo>
                    <a:lnTo>
                      <a:pt x="42" y="50"/>
                    </a:lnTo>
                    <a:lnTo>
                      <a:pt x="59" y="5"/>
                    </a:lnTo>
                    <a:lnTo>
                      <a:pt x="75" y="5"/>
                    </a:lnTo>
                    <a:lnTo>
                      <a:pt x="85" y="17"/>
                    </a:lnTo>
                    <a:lnTo>
                      <a:pt x="97" y="5"/>
                    </a:lnTo>
                    <a:lnTo>
                      <a:pt x="97" y="0"/>
                    </a:lnTo>
                    <a:lnTo>
                      <a:pt x="144" y="0"/>
                    </a:lnTo>
                    <a:lnTo>
                      <a:pt x="182" y="57"/>
                    </a:lnTo>
                    <a:lnTo>
                      <a:pt x="177" y="73"/>
                    </a:lnTo>
                    <a:lnTo>
                      <a:pt x="193" y="73"/>
                    </a:lnTo>
                    <a:lnTo>
                      <a:pt x="193" y="90"/>
                    </a:lnTo>
                    <a:lnTo>
                      <a:pt x="198" y="95"/>
                    </a:lnTo>
                    <a:lnTo>
                      <a:pt x="182" y="128"/>
                    </a:lnTo>
                    <a:lnTo>
                      <a:pt x="215" y="111"/>
                    </a:lnTo>
                    <a:lnTo>
                      <a:pt x="203" y="132"/>
                    </a:lnTo>
                    <a:lnTo>
                      <a:pt x="193" y="144"/>
                    </a:lnTo>
                    <a:lnTo>
                      <a:pt x="193" y="168"/>
                    </a:lnTo>
                    <a:lnTo>
                      <a:pt x="165" y="184"/>
                    </a:lnTo>
                    <a:lnTo>
                      <a:pt x="165" y="184"/>
                    </a:lnTo>
                    <a:lnTo>
                      <a:pt x="165" y="184"/>
                    </a:lnTo>
                    <a:close/>
                    <a:moveTo>
                      <a:pt x="30" y="173"/>
                    </a:moveTo>
                    <a:lnTo>
                      <a:pt x="52" y="173"/>
                    </a:lnTo>
                    <a:lnTo>
                      <a:pt x="52" y="184"/>
                    </a:lnTo>
                    <a:lnTo>
                      <a:pt x="52" y="189"/>
                    </a:lnTo>
                    <a:lnTo>
                      <a:pt x="21" y="184"/>
                    </a:lnTo>
                    <a:lnTo>
                      <a:pt x="30" y="173"/>
                    </a:lnTo>
                    <a:lnTo>
                      <a:pt x="30" y="173"/>
                    </a:lnTo>
                    <a:lnTo>
                      <a:pt x="30" y="17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63" name="Freeform 556">
                <a:extLst>
                  <a:ext uri="{FF2B5EF4-FFF2-40B4-BE49-F238E27FC236}">
                    <a16:creationId xmlns:a16="http://schemas.microsoft.com/office/drawing/2014/main" id="{706F0BE6-4281-4A3B-8C5A-DD9ED8EFC06B}"/>
                  </a:ext>
                </a:extLst>
              </p:cNvPr>
              <p:cNvSpPr>
                <a:spLocks/>
              </p:cNvSpPr>
              <p:nvPr/>
            </p:nvSpPr>
            <p:spPr bwMode="gray">
              <a:xfrm>
                <a:off x="7910610" y="3706868"/>
                <a:ext cx="298461" cy="408422"/>
              </a:xfrm>
              <a:custGeom>
                <a:avLst/>
                <a:gdLst>
                  <a:gd name="T0" fmla="*/ 130 w 725"/>
                  <a:gd name="T1" fmla="*/ 555 h 992"/>
                  <a:gd name="T2" fmla="*/ 184 w 725"/>
                  <a:gd name="T3" fmla="*/ 515 h 992"/>
                  <a:gd name="T4" fmla="*/ 276 w 725"/>
                  <a:gd name="T5" fmla="*/ 515 h 992"/>
                  <a:gd name="T6" fmla="*/ 416 w 725"/>
                  <a:gd name="T7" fmla="*/ 295 h 992"/>
                  <a:gd name="T8" fmla="*/ 184 w 725"/>
                  <a:gd name="T9" fmla="*/ 193 h 992"/>
                  <a:gd name="T10" fmla="*/ 151 w 725"/>
                  <a:gd name="T11" fmla="*/ 151 h 992"/>
                  <a:gd name="T12" fmla="*/ 130 w 725"/>
                  <a:gd name="T13" fmla="*/ 127 h 992"/>
                  <a:gd name="T14" fmla="*/ 130 w 725"/>
                  <a:gd name="T15" fmla="*/ 73 h 992"/>
                  <a:gd name="T16" fmla="*/ 168 w 725"/>
                  <a:gd name="T17" fmla="*/ 49 h 992"/>
                  <a:gd name="T18" fmla="*/ 234 w 725"/>
                  <a:gd name="T19" fmla="*/ 111 h 992"/>
                  <a:gd name="T20" fmla="*/ 331 w 725"/>
                  <a:gd name="T21" fmla="*/ 85 h 992"/>
                  <a:gd name="T22" fmla="*/ 449 w 725"/>
                  <a:gd name="T23" fmla="*/ 66 h 992"/>
                  <a:gd name="T24" fmla="*/ 503 w 725"/>
                  <a:gd name="T25" fmla="*/ 66 h 992"/>
                  <a:gd name="T26" fmla="*/ 557 w 725"/>
                  <a:gd name="T27" fmla="*/ 56 h 992"/>
                  <a:gd name="T28" fmla="*/ 600 w 725"/>
                  <a:gd name="T29" fmla="*/ 40 h 992"/>
                  <a:gd name="T30" fmla="*/ 654 w 725"/>
                  <a:gd name="T31" fmla="*/ 28 h 992"/>
                  <a:gd name="T32" fmla="*/ 687 w 725"/>
                  <a:gd name="T33" fmla="*/ 0 h 992"/>
                  <a:gd name="T34" fmla="*/ 704 w 725"/>
                  <a:gd name="T35" fmla="*/ 49 h 992"/>
                  <a:gd name="T36" fmla="*/ 709 w 725"/>
                  <a:gd name="T37" fmla="*/ 66 h 992"/>
                  <a:gd name="T38" fmla="*/ 704 w 725"/>
                  <a:gd name="T39" fmla="*/ 111 h 992"/>
                  <a:gd name="T40" fmla="*/ 709 w 725"/>
                  <a:gd name="T41" fmla="*/ 106 h 992"/>
                  <a:gd name="T42" fmla="*/ 725 w 725"/>
                  <a:gd name="T43" fmla="*/ 122 h 992"/>
                  <a:gd name="T44" fmla="*/ 692 w 725"/>
                  <a:gd name="T45" fmla="*/ 122 h 992"/>
                  <a:gd name="T46" fmla="*/ 654 w 725"/>
                  <a:gd name="T47" fmla="*/ 233 h 992"/>
                  <a:gd name="T48" fmla="*/ 616 w 725"/>
                  <a:gd name="T49" fmla="*/ 295 h 992"/>
                  <a:gd name="T50" fmla="*/ 569 w 725"/>
                  <a:gd name="T51" fmla="*/ 382 h 992"/>
                  <a:gd name="T52" fmla="*/ 487 w 725"/>
                  <a:gd name="T53" fmla="*/ 548 h 992"/>
                  <a:gd name="T54" fmla="*/ 243 w 725"/>
                  <a:gd name="T55" fmla="*/ 753 h 992"/>
                  <a:gd name="T56" fmla="*/ 71 w 725"/>
                  <a:gd name="T57" fmla="*/ 937 h 992"/>
                  <a:gd name="T58" fmla="*/ 0 w 725"/>
                  <a:gd name="T59" fmla="*/ 937 h 992"/>
                  <a:gd name="T60" fmla="*/ 21 w 725"/>
                  <a:gd name="T61" fmla="*/ 642 h 992"/>
                  <a:gd name="T62" fmla="*/ 71 w 725"/>
                  <a:gd name="T63" fmla="*/ 571 h 992"/>
                  <a:gd name="T64" fmla="*/ 71 w 725"/>
                  <a:gd name="T65" fmla="*/ 571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5" h="992">
                    <a:moveTo>
                      <a:pt x="71" y="571"/>
                    </a:moveTo>
                    <a:lnTo>
                      <a:pt x="130" y="555"/>
                    </a:lnTo>
                    <a:lnTo>
                      <a:pt x="146" y="531"/>
                    </a:lnTo>
                    <a:lnTo>
                      <a:pt x="184" y="515"/>
                    </a:lnTo>
                    <a:lnTo>
                      <a:pt x="205" y="510"/>
                    </a:lnTo>
                    <a:lnTo>
                      <a:pt x="276" y="515"/>
                    </a:lnTo>
                    <a:lnTo>
                      <a:pt x="487" y="295"/>
                    </a:lnTo>
                    <a:lnTo>
                      <a:pt x="416" y="295"/>
                    </a:lnTo>
                    <a:lnTo>
                      <a:pt x="205" y="222"/>
                    </a:lnTo>
                    <a:lnTo>
                      <a:pt x="184" y="193"/>
                    </a:lnTo>
                    <a:lnTo>
                      <a:pt x="168" y="193"/>
                    </a:lnTo>
                    <a:lnTo>
                      <a:pt x="151" y="151"/>
                    </a:lnTo>
                    <a:lnTo>
                      <a:pt x="146" y="151"/>
                    </a:lnTo>
                    <a:lnTo>
                      <a:pt x="130" y="127"/>
                    </a:lnTo>
                    <a:lnTo>
                      <a:pt x="113" y="106"/>
                    </a:lnTo>
                    <a:lnTo>
                      <a:pt x="130" y="73"/>
                    </a:lnTo>
                    <a:lnTo>
                      <a:pt x="151" y="40"/>
                    </a:lnTo>
                    <a:lnTo>
                      <a:pt x="168" y="49"/>
                    </a:lnTo>
                    <a:lnTo>
                      <a:pt x="189" y="89"/>
                    </a:lnTo>
                    <a:lnTo>
                      <a:pt x="234" y="111"/>
                    </a:lnTo>
                    <a:lnTo>
                      <a:pt x="272" y="122"/>
                    </a:lnTo>
                    <a:lnTo>
                      <a:pt x="331" y="85"/>
                    </a:lnTo>
                    <a:lnTo>
                      <a:pt x="378" y="94"/>
                    </a:lnTo>
                    <a:lnTo>
                      <a:pt x="449" y="66"/>
                    </a:lnTo>
                    <a:lnTo>
                      <a:pt x="470" y="66"/>
                    </a:lnTo>
                    <a:lnTo>
                      <a:pt x="503" y="66"/>
                    </a:lnTo>
                    <a:lnTo>
                      <a:pt x="524" y="49"/>
                    </a:lnTo>
                    <a:lnTo>
                      <a:pt x="557" y="56"/>
                    </a:lnTo>
                    <a:lnTo>
                      <a:pt x="583" y="49"/>
                    </a:lnTo>
                    <a:lnTo>
                      <a:pt x="600" y="40"/>
                    </a:lnTo>
                    <a:lnTo>
                      <a:pt x="633" y="40"/>
                    </a:lnTo>
                    <a:lnTo>
                      <a:pt x="654" y="28"/>
                    </a:lnTo>
                    <a:lnTo>
                      <a:pt x="671" y="11"/>
                    </a:lnTo>
                    <a:lnTo>
                      <a:pt x="687" y="0"/>
                    </a:lnTo>
                    <a:lnTo>
                      <a:pt x="720" y="11"/>
                    </a:lnTo>
                    <a:lnTo>
                      <a:pt x="704" y="49"/>
                    </a:lnTo>
                    <a:lnTo>
                      <a:pt x="704" y="56"/>
                    </a:lnTo>
                    <a:lnTo>
                      <a:pt x="709" y="66"/>
                    </a:lnTo>
                    <a:lnTo>
                      <a:pt x="709" y="106"/>
                    </a:lnTo>
                    <a:lnTo>
                      <a:pt x="704" y="111"/>
                    </a:lnTo>
                    <a:lnTo>
                      <a:pt x="709" y="111"/>
                    </a:lnTo>
                    <a:lnTo>
                      <a:pt x="709" y="106"/>
                    </a:lnTo>
                    <a:lnTo>
                      <a:pt x="725" y="111"/>
                    </a:lnTo>
                    <a:lnTo>
                      <a:pt x="725" y="122"/>
                    </a:lnTo>
                    <a:lnTo>
                      <a:pt x="720" y="111"/>
                    </a:lnTo>
                    <a:lnTo>
                      <a:pt x="692" y="122"/>
                    </a:lnTo>
                    <a:lnTo>
                      <a:pt x="687" y="193"/>
                    </a:lnTo>
                    <a:lnTo>
                      <a:pt x="654" y="233"/>
                    </a:lnTo>
                    <a:lnTo>
                      <a:pt x="638" y="278"/>
                    </a:lnTo>
                    <a:lnTo>
                      <a:pt x="616" y="295"/>
                    </a:lnTo>
                    <a:lnTo>
                      <a:pt x="612" y="328"/>
                    </a:lnTo>
                    <a:lnTo>
                      <a:pt x="569" y="382"/>
                    </a:lnTo>
                    <a:lnTo>
                      <a:pt x="562" y="427"/>
                    </a:lnTo>
                    <a:lnTo>
                      <a:pt x="487" y="548"/>
                    </a:lnTo>
                    <a:lnTo>
                      <a:pt x="347" y="699"/>
                    </a:lnTo>
                    <a:lnTo>
                      <a:pt x="243" y="753"/>
                    </a:lnTo>
                    <a:lnTo>
                      <a:pt x="168" y="826"/>
                    </a:lnTo>
                    <a:lnTo>
                      <a:pt x="71" y="937"/>
                    </a:lnTo>
                    <a:lnTo>
                      <a:pt x="38" y="992"/>
                    </a:lnTo>
                    <a:lnTo>
                      <a:pt x="0" y="937"/>
                    </a:lnTo>
                    <a:lnTo>
                      <a:pt x="0" y="666"/>
                    </a:lnTo>
                    <a:lnTo>
                      <a:pt x="21" y="642"/>
                    </a:lnTo>
                    <a:lnTo>
                      <a:pt x="59" y="583"/>
                    </a:lnTo>
                    <a:lnTo>
                      <a:pt x="71" y="571"/>
                    </a:lnTo>
                    <a:lnTo>
                      <a:pt x="71" y="571"/>
                    </a:lnTo>
                    <a:lnTo>
                      <a:pt x="71" y="57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0" name="Freeform 563">
                <a:extLst>
                  <a:ext uri="{FF2B5EF4-FFF2-40B4-BE49-F238E27FC236}">
                    <a16:creationId xmlns:a16="http://schemas.microsoft.com/office/drawing/2014/main" id="{8C03220E-ECB9-4B26-90D6-C51B1D63E523}"/>
                  </a:ext>
                </a:extLst>
              </p:cNvPr>
              <p:cNvSpPr>
                <a:spLocks/>
              </p:cNvSpPr>
              <p:nvPr/>
            </p:nvSpPr>
            <p:spPr bwMode="gray">
              <a:xfrm>
                <a:off x="7754999" y="2905258"/>
                <a:ext cx="194308" cy="167569"/>
              </a:xfrm>
              <a:custGeom>
                <a:avLst/>
                <a:gdLst>
                  <a:gd name="T0" fmla="*/ 0 w 472"/>
                  <a:gd name="T1" fmla="*/ 333 h 407"/>
                  <a:gd name="T2" fmla="*/ 0 w 472"/>
                  <a:gd name="T3" fmla="*/ 333 h 407"/>
                  <a:gd name="T4" fmla="*/ 28 w 472"/>
                  <a:gd name="T5" fmla="*/ 300 h 407"/>
                  <a:gd name="T6" fmla="*/ 21 w 472"/>
                  <a:gd name="T7" fmla="*/ 300 h 407"/>
                  <a:gd name="T8" fmla="*/ 28 w 472"/>
                  <a:gd name="T9" fmla="*/ 284 h 407"/>
                  <a:gd name="T10" fmla="*/ 54 w 472"/>
                  <a:gd name="T11" fmla="*/ 284 h 407"/>
                  <a:gd name="T12" fmla="*/ 43 w 472"/>
                  <a:gd name="T13" fmla="*/ 279 h 407"/>
                  <a:gd name="T14" fmla="*/ 71 w 472"/>
                  <a:gd name="T15" fmla="*/ 251 h 407"/>
                  <a:gd name="T16" fmla="*/ 59 w 472"/>
                  <a:gd name="T17" fmla="*/ 239 h 407"/>
                  <a:gd name="T18" fmla="*/ 43 w 472"/>
                  <a:gd name="T19" fmla="*/ 229 h 407"/>
                  <a:gd name="T20" fmla="*/ 54 w 472"/>
                  <a:gd name="T21" fmla="*/ 222 h 407"/>
                  <a:gd name="T22" fmla="*/ 21 w 472"/>
                  <a:gd name="T23" fmla="*/ 222 h 407"/>
                  <a:gd name="T24" fmla="*/ 17 w 472"/>
                  <a:gd name="T25" fmla="*/ 194 h 407"/>
                  <a:gd name="T26" fmla="*/ 21 w 472"/>
                  <a:gd name="T27" fmla="*/ 173 h 407"/>
                  <a:gd name="T28" fmla="*/ 21 w 472"/>
                  <a:gd name="T29" fmla="*/ 156 h 407"/>
                  <a:gd name="T30" fmla="*/ 5 w 472"/>
                  <a:gd name="T31" fmla="*/ 140 h 407"/>
                  <a:gd name="T32" fmla="*/ 21 w 472"/>
                  <a:gd name="T33" fmla="*/ 111 h 407"/>
                  <a:gd name="T34" fmla="*/ 38 w 472"/>
                  <a:gd name="T35" fmla="*/ 128 h 407"/>
                  <a:gd name="T36" fmla="*/ 38 w 472"/>
                  <a:gd name="T37" fmla="*/ 111 h 407"/>
                  <a:gd name="T38" fmla="*/ 54 w 472"/>
                  <a:gd name="T39" fmla="*/ 111 h 407"/>
                  <a:gd name="T40" fmla="*/ 54 w 472"/>
                  <a:gd name="T41" fmla="*/ 83 h 407"/>
                  <a:gd name="T42" fmla="*/ 76 w 472"/>
                  <a:gd name="T43" fmla="*/ 83 h 407"/>
                  <a:gd name="T44" fmla="*/ 59 w 472"/>
                  <a:gd name="T45" fmla="*/ 71 h 407"/>
                  <a:gd name="T46" fmla="*/ 71 w 472"/>
                  <a:gd name="T47" fmla="*/ 38 h 407"/>
                  <a:gd name="T48" fmla="*/ 109 w 472"/>
                  <a:gd name="T49" fmla="*/ 55 h 407"/>
                  <a:gd name="T50" fmla="*/ 125 w 472"/>
                  <a:gd name="T51" fmla="*/ 55 h 407"/>
                  <a:gd name="T52" fmla="*/ 184 w 472"/>
                  <a:gd name="T53" fmla="*/ 26 h 407"/>
                  <a:gd name="T54" fmla="*/ 201 w 472"/>
                  <a:gd name="T55" fmla="*/ 38 h 407"/>
                  <a:gd name="T56" fmla="*/ 217 w 472"/>
                  <a:gd name="T57" fmla="*/ 43 h 407"/>
                  <a:gd name="T58" fmla="*/ 255 w 472"/>
                  <a:gd name="T59" fmla="*/ 55 h 407"/>
                  <a:gd name="T60" fmla="*/ 293 w 472"/>
                  <a:gd name="T61" fmla="*/ 43 h 407"/>
                  <a:gd name="T62" fmla="*/ 364 w 472"/>
                  <a:gd name="T63" fmla="*/ 17 h 407"/>
                  <a:gd name="T64" fmla="*/ 418 w 472"/>
                  <a:gd name="T65" fmla="*/ 17 h 407"/>
                  <a:gd name="T66" fmla="*/ 451 w 472"/>
                  <a:gd name="T67" fmla="*/ 5 h 407"/>
                  <a:gd name="T68" fmla="*/ 456 w 472"/>
                  <a:gd name="T69" fmla="*/ 0 h 407"/>
                  <a:gd name="T70" fmla="*/ 472 w 472"/>
                  <a:gd name="T71" fmla="*/ 5 h 407"/>
                  <a:gd name="T72" fmla="*/ 472 w 472"/>
                  <a:gd name="T73" fmla="*/ 17 h 407"/>
                  <a:gd name="T74" fmla="*/ 435 w 472"/>
                  <a:gd name="T75" fmla="*/ 55 h 407"/>
                  <a:gd name="T76" fmla="*/ 402 w 472"/>
                  <a:gd name="T77" fmla="*/ 62 h 407"/>
                  <a:gd name="T78" fmla="*/ 397 w 472"/>
                  <a:gd name="T79" fmla="*/ 78 h 407"/>
                  <a:gd name="T80" fmla="*/ 397 w 472"/>
                  <a:gd name="T81" fmla="*/ 99 h 407"/>
                  <a:gd name="T82" fmla="*/ 402 w 472"/>
                  <a:gd name="T83" fmla="*/ 116 h 407"/>
                  <a:gd name="T84" fmla="*/ 402 w 472"/>
                  <a:gd name="T85" fmla="*/ 140 h 407"/>
                  <a:gd name="T86" fmla="*/ 397 w 472"/>
                  <a:gd name="T87" fmla="*/ 173 h 407"/>
                  <a:gd name="T88" fmla="*/ 397 w 472"/>
                  <a:gd name="T89" fmla="*/ 206 h 407"/>
                  <a:gd name="T90" fmla="*/ 380 w 472"/>
                  <a:gd name="T91" fmla="*/ 239 h 407"/>
                  <a:gd name="T92" fmla="*/ 222 w 472"/>
                  <a:gd name="T93" fmla="*/ 324 h 407"/>
                  <a:gd name="T94" fmla="*/ 83 w 472"/>
                  <a:gd name="T95" fmla="*/ 407 h 407"/>
                  <a:gd name="T96" fmla="*/ 54 w 472"/>
                  <a:gd name="T97" fmla="*/ 407 h 407"/>
                  <a:gd name="T98" fmla="*/ 28 w 472"/>
                  <a:gd name="T99" fmla="*/ 390 h 407"/>
                  <a:gd name="T100" fmla="*/ 21 w 472"/>
                  <a:gd name="T101" fmla="*/ 373 h 407"/>
                  <a:gd name="T102" fmla="*/ 0 w 472"/>
                  <a:gd name="T103" fmla="*/ 378 h 407"/>
                  <a:gd name="T104" fmla="*/ 0 w 472"/>
                  <a:gd name="T105" fmla="*/ 333 h 407"/>
                  <a:gd name="T106" fmla="*/ 0 w 472"/>
                  <a:gd name="T107" fmla="*/ 333 h 407"/>
                  <a:gd name="T108" fmla="*/ 0 w 472"/>
                  <a:gd name="T109" fmla="*/ 333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2" h="407">
                    <a:moveTo>
                      <a:pt x="0" y="333"/>
                    </a:moveTo>
                    <a:lnTo>
                      <a:pt x="0" y="333"/>
                    </a:lnTo>
                    <a:lnTo>
                      <a:pt x="28" y="300"/>
                    </a:lnTo>
                    <a:lnTo>
                      <a:pt x="21" y="300"/>
                    </a:lnTo>
                    <a:lnTo>
                      <a:pt x="28" y="284"/>
                    </a:lnTo>
                    <a:lnTo>
                      <a:pt x="54" y="284"/>
                    </a:lnTo>
                    <a:lnTo>
                      <a:pt x="43" y="279"/>
                    </a:lnTo>
                    <a:lnTo>
                      <a:pt x="71" y="251"/>
                    </a:lnTo>
                    <a:lnTo>
                      <a:pt x="59" y="239"/>
                    </a:lnTo>
                    <a:lnTo>
                      <a:pt x="43" y="229"/>
                    </a:lnTo>
                    <a:lnTo>
                      <a:pt x="54" y="222"/>
                    </a:lnTo>
                    <a:lnTo>
                      <a:pt x="21" y="222"/>
                    </a:lnTo>
                    <a:lnTo>
                      <a:pt x="17" y="194"/>
                    </a:lnTo>
                    <a:lnTo>
                      <a:pt x="21" y="173"/>
                    </a:lnTo>
                    <a:lnTo>
                      <a:pt x="21" y="156"/>
                    </a:lnTo>
                    <a:lnTo>
                      <a:pt x="5" y="140"/>
                    </a:lnTo>
                    <a:lnTo>
                      <a:pt x="21" y="111"/>
                    </a:lnTo>
                    <a:lnTo>
                      <a:pt x="38" y="128"/>
                    </a:lnTo>
                    <a:lnTo>
                      <a:pt x="38" y="111"/>
                    </a:lnTo>
                    <a:lnTo>
                      <a:pt x="54" y="111"/>
                    </a:lnTo>
                    <a:lnTo>
                      <a:pt x="54" y="83"/>
                    </a:lnTo>
                    <a:lnTo>
                      <a:pt x="76" y="83"/>
                    </a:lnTo>
                    <a:lnTo>
                      <a:pt x="59" y="71"/>
                    </a:lnTo>
                    <a:lnTo>
                      <a:pt x="71" y="38"/>
                    </a:lnTo>
                    <a:lnTo>
                      <a:pt x="109" y="55"/>
                    </a:lnTo>
                    <a:lnTo>
                      <a:pt x="125" y="55"/>
                    </a:lnTo>
                    <a:lnTo>
                      <a:pt x="184" y="26"/>
                    </a:lnTo>
                    <a:lnTo>
                      <a:pt x="201" y="38"/>
                    </a:lnTo>
                    <a:lnTo>
                      <a:pt x="217" y="43"/>
                    </a:lnTo>
                    <a:lnTo>
                      <a:pt x="255" y="55"/>
                    </a:lnTo>
                    <a:lnTo>
                      <a:pt x="293" y="43"/>
                    </a:lnTo>
                    <a:lnTo>
                      <a:pt x="364" y="17"/>
                    </a:lnTo>
                    <a:lnTo>
                      <a:pt x="418" y="17"/>
                    </a:lnTo>
                    <a:lnTo>
                      <a:pt x="451" y="5"/>
                    </a:lnTo>
                    <a:lnTo>
                      <a:pt x="456" y="0"/>
                    </a:lnTo>
                    <a:lnTo>
                      <a:pt x="472" y="5"/>
                    </a:lnTo>
                    <a:lnTo>
                      <a:pt x="472" y="17"/>
                    </a:lnTo>
                    <a:lnTo>
                      <a:pt x="435" y="55"/>
                    </a:lnTo>
                    <a:lnTo>
                      <a:pt x="402" y="62"/>
                    </a:lnTo>
                    <a:lnTo>
                      <a:pt x="397" y="78"/>
                    </a:lnTo>
                    <a:lnTo>
                      <a:pt x="397" y="99"/>
                    </a:lnTo>
                    <a:lnTo>
                      <a:pt x="402" y="116"/>
                    </a:lnTo>
                    <a:lnTo>
                      <a:pt x="402" y="140"/>
                    </a:lnTo>
                    <a:lnTo>
                      <a:pt x="397" y="173"/>
                    </a:lnTo>
                    <a:lnTo>
                      <a:pt x="397" y="206"/>
                    </a:lnTo>
                    <a:lnTo>
                      <a:pt x="380" y="239"/>
                    </a:lnTo>
                    <a:lnTo>
                      <a:pt x="222" y="324"/>
                    </a:lnTo>
                    <a:lnTo>
                      <a:pt x="83" y="407"/>
                    </a:lnTo>
                    <a:lnTo>
                      <a:pt x="54" y="407"/>
                    </a:lnTo>
                    <a:lnTo>
                      <a:pt x="28" y="390"/>
                    </a:lnTo>
                    <a:lnTo>
                      <a:pt x="21" y="373"/>
                    </a:lnTo>
                    <a:lnTo>
                      <a:pt x="0" y="378"/>
                    </a:lnTo>
                    <a:lnTo>
                      <a:pt x="0" y="333"/>
                    </a:lnTo>
                    <a:lnTo>
                      <a:pt x="0" y="333"/>
                    </a:lnTo>
                    <a:lnTo>
                      <a:pt x="0" y="33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2" name="Freeform 565">
                <a:extLst>
                  <a:ext uri="{FF2B5EF4-FFF2-40B4-BE49-F238E27FC236}">
                    <a16:creationId xmlns:a16="http://schemas.microsoft.com/office/drawing/2014/main" id="{6F79368B-84A1-4FE1-9E10-D2C3AA21451B}"/>
                  </a:ext>
                </a:extLst>
              </p:cNvPr>
              <p:cNvSpPr>
                <a:spLocks noEditPoints="1"/>
              </p:cNvSpPr>
              <p:nvPr/>
            </p:nvSpPr>
            <p:spPr bwMode="gray">
              <a:xfrm>
                <a:off x="8216070" y="3272096"/>
                <a:ext cx="134205" cy="107870"/>
              </a:xfrm>
              <a:custGeom>
                <a:avLst/>
                <a:gdLst>
                  <a:gd name="T0" fmla="*/ 326 w 326"/>
                  <a:gd name="T1" fmla="*/ 97 h 262"/>
                  <a:gd name="T2" fmla="*/ 312 w 326"/>
                  <a:gd name="T3" fmla="*/ 106 h 262"/>
                  <a:gd name="T4" fmla="*/ 304 w 326"/>
                  <a:gd name="T5" fmla="*/ 97 h 262"/>
                  <a:gd name="T6" fmla="*/ 312 w 326"/>
                  <a:gd name="T7" fmla="*/ 97 h 262"/>
                  <a:gd name="T8" fmla="*/ 304 w 326"/>
                  <a:gd name="T9" fmla="*/ 90 h 262"/>
                  <a:gd name="T10" fmla="*/ 288 w 326"/>
                  <a:gd name="T11" fmla="*/ 97 h 262"/>
                  <a:gd name="T12" fmla="*/ 288 w 326"/>
                  <a:gd name="T13" fmla="*/ 146 h 262"/>
                  <a:gd name="T14" fmla="*/ 304 w 326"/>
                  <a:gd name="T15" fmla="*/ 146 h 262"/>
                  <a:gd name="T16" fmla="*/ 304 w 326"/>
                  <a:gd name="T17" fmla="*/ 151 h 262"/>
                  <a:gd name="T18" fmla="*/ 274 w 326"/>
                  <a:gd name="T19" fmla="*/ 163 h 262"/>
                  <a:gd name="T20" fmla="*/ 274 w 326"/>
                  <a:gd name="T21" fmla="*/ 179 h 262"/>
                  <a:gd name="T22" fmla="*/ 252 w 326"/>
                  <a:gd name="T23" fmla="*/ 234 h 262"/>
                  <a:gd name="T24" fmla="*/ 252 w 326"/>
                  <a:gd name="T25" fmla="*/ 262 h 262"/>
                  <a:gd name="T26" fmla="*/ 245 w 326"/>
                  <a:gd name="T27" fmla="*/ 262 h 262"/>
                  <a:gd name="T28" fmla="*/ 71 w 326"/>
                  <a:gd name="T29" fmla="*/ 241 h 262"/>
                  <a:gd name="T30" fmla="*/ 0 w 326"/>
                  <a:gd name="T31" fmla="*/ 151 h 262"/>
                  <a:gd name="T32" fmla="*/ 0 w 326"/>
                  <a:gd name="T33" fmla="*/ 146 h 262"/>
                  <a:gd name="T34" fmla="*/ 7 w 326"/>
                  <a:gd name="T35" fmla="*/ 146 h 262"/>
                  <a:gd name="T36" fmla="*/ 16 w 326"/>
                  <a:gd name="T37" fmla="*/ 163 h 262"/>
                  <a:gd name="T38" fmla="*/ 33 w 326"/>
                  <a:gd name="T39" fmla="*/ 167 h 262"/>
                  <a:gd name="T40" fmla="*/ 54 w 326"/>
                  <a:gd name="T41" fmla="*/ 163 h 262"/>
                  <a:gd name="T42" fmla="*/ 71 w 326"/>
                  <a:gd name="T43" fmla="*/ 146 h 262"/>
                  <a:gd name="T44" fmla="*/ 139 w 326"/>
                  <a:gd name="T45" fmla="*/ 163 h 262"/>
                  <a:gd name="T46" fmla="*/ 177 w 326"/>
                  <a:gd name="T47" fmla="*/ 151 h 262"/>
                  <a:gd name="T48" fmla="*/ 198 w 326"/>
                  <a:gd name="T49" fmla="*/ 146 h 262"/>
                  <a:gd name="T50" fmla="*/ 198 w 326"/>
                  <a:gd name="T51" fmla="*/ 130 h 262"/>
                  <a:gd name="T52" fmla="*/ 203 w 326"/>
                  <a:gd name="T53" fmla="*/ 130 h 262"/>
                  <a:gd name="T54" fmla="*/ 215 w 326"/>
                  <a:gd name="T55" fmla="*/ 106 h 262"/>
                  <a:gd name="T56" fmla="*/ 245 w 326"/>
                  <a:gd name="T57" fmla="*/ 78 h 262"/>
                  <a:gd name="T58" fmla="*/ 274 w 326"/>
                  <a:gd name="T59" fmla="*/ 40 h 262"/>
                  <a:gd name="T60" fmla="*/ 283 w 326"/>
                  <a:gd name="T61" fmla="*/ 40 h 262"/>
                  <a:gd name="T62" fmla="*/ 300 w 326"/>
                  <a:gd name="T63" fmla="*/ 35 h 262"/>
                  <a:gd name="T64" fmla="*/ 312 w 326"/>
                  <a:gd name="T65" fmla="*/ 0 h 262"/>
                  <a:gd name="T66" fmla="*/ 321 w 326"/>
                  <a:gd name="T67" fmla="*/ 12 h 262"/>
                  <a:gd name="T68" fmla="*/ 312 w 326"/>
                  <a:gd name="T69" fmla="*/ 35 h 262"/>
                  <a:gd name="T70" fmla="*/ 326 w 326"/>
                  <a:gd name="T71" fmla="*/ 35 h 262"/>
                  <a:gd name="T72" fmla="*/ 326 w 326"/>
                  <a:gd name="T73" fmla="*/ 40 h 262"/>
                  <a:gd name="T74" fmla="*/ 326 w 326"/>
                  <a:gd name="T75" fmla="*/ 90 h 262"/>
                  <a:gd name="T76" fmla="*/ 326 w 326"/>
                  <a:gd name="T77" fmla="*/ 97 h 262"/>
                  <a:gd name="T78" fmla="*/ 326 w 326"/>
                  <a:gd name="T79" fmla="*/ 97 h 262"/>
                  <a:gd name="T80" fmla="*/ 326 w 326"/>
                  <a:gd name="T81" fmla="*/ 97 h 262"/>
                  <a:gd name="T82" fmla="*/ 198 w 326"/>
                  <a:gd name="T83" fmla="*/ 130 h 262"/>
                  <a:gd name="T84" fmla="*/ 193 w 326"/>
                  <a:gd name="T85" fmla="*/ 130 h 262"/>
                  <a:gd name="T86" fmla="*/ 193 w 326"/>
                  <a:gd name="T87" fmla="*/ 123 h 262"/>
                  <a:gd name="T88" fmla="*/ 198 w 326"/>
                  <a:gd name="T89" fmla="*/ 130 h 262"/>
                  <a:gd name="T90" fmla="*/ 198 w 326"/>
                  <a:gd name="T91" fmla="*/ 130 h 262"/>
                  <a:gd name="T92" fmla="*/ 198 w 326"/>
                  <a:gd name="T93" fmla="*/ 130 h 262"/>
                  <a:gd name="T94" fmla="*/ 71 w 326"/>
                  <a:gd name="T95" fmla="*/ 146 h 262"/>
                  <a:gd name="T96" fmla="*/ 71 w 326"/>
                  <a:gd name="T97" fmla="*/ 134 h 262"/>
                  <a:gd name="T98" fmla="*/ 75 w 326"/>
                  <a:gd name="T99" fmla="*/ 134 h 262"/>
                  <a:gd name="T100" fmla="*/ 71 w 326"/>
                  <a:gd name="T101" fmla="*/ 146 h 262"/>
                  <a:gd name="T102" fmla="*/ 71 w 326"/>
                  <a:gd name="T103" fmla="*/ 146 h 262"/>
                  <a:gd name="T104" fmla="*/ 71 w 326"/>
                  <a:gd name="T105" fmla="*/ 146 h 262"/>
                  <a:gd name="T106" fmla="*/ 151 w 326"/>
                  <a:gd name="T107" fmla="*/ 151 h 262"/>
                  <a:gd name="T108" fmla="*/ 144 w 326"/>
                  <a:gd name="T109" fmla="*/ 151 h 262"/>
                  <a:gd name="T110" fmla="*/ 160 w 326"/>
                  <a:gd name="T111" fmla="*/ 146 h 262"/>
                  <a:gd name="T112" fmla="*/ 165 w 326"/>
                  <a:gd name="T113" fmla="*/ 146 h 262"/>
                  <a:gd name="T114" fmla="*/ 151 w 326"/>
                  <a:gd name="T115" fmla="*/ 151 h 262"/>
                  <a:gd name="T116" fmla="*/ 151 w 326"/>
                  <a:gd name="T117" fmla="*/ 151 h 262"/>
                  <a:gd name="T118" fmla="*/ 151 w 326"/>
                  <a:gd name="T119" fmla="*/ 15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6" h="262">
                    <a:moveTo>
                      <a:pt x="326" y="97"/>
                    </a:moveTo>
                    <a:lnTo>
                      <a:pt x="312" y="106"/>
                    </a:lnTo>
                    <a:lnTo>
                      <a:pt x="304" y="97"/>
                    </a:lnTo>
                    <a:lnTo>
                      <a:pt x="312" y="97"/>
                    </a:lnTo>
                    <a:lnTo>
                      <a:pt x="304" y="90"/>
                    </a:lnTo>
                    <a:lnTo>
                      <a:pt x="288" y="97"/>
                    </a:lnTo>
                    <a:lnTo>
                      <a:pt x="288" y="146"/>
                    </a:lnTo>
                    <a:lnTo>
                      <a:pt x="304" y="146"/>
                    </a:lnTo>
                    <a:lnTo>
                      <a:pt x="304" y="151"/>
                    </a:lnTo>
                    <a:lnTo>
                      <a:pt x="274" y="163"/>
                    </a:lnTo>
                    <a:lnTo>
                      <a:pt x="274" y="179"/>
                    </a:lnTo>
                    <a:lnTo>
                      <a:pt x="252" y="234"/>
                    </a:lnTo>
                    <a:lnTo>
                      <a:pt x="252" y="262"/>
                    </a:lnTo>
                    <a:lnTo>
                      <a:pt x="245" y="262"/>
                    </a:lnTo>
                    <a:lnTo>
                      <a:pt x="71" y="241"/>
                    </a:lnTo>
                    <a:lnTo>
                      <a:pt x="0" y="151"/>
                    </a:lnTo>
                    <a:lnTo>
                      <a:pt x="0" y="146"/>
                    </a:lnTo>
                    <a:lnTo>
                      <a:pt x="7" y="146"/>
                    </a:lnTo>
                    <a:lnTo>
                      <a:pt x="16" y="163"/>
                    </a:lnTo>
                    <a:lnTo>
                      <a:pt x="33" y="167"/>
                    </a:lnTo>
                    <a:lnTo>
                      <a:pt x="54" y="163"/>
                    </a:lnTo>
                    <a:lnTo>
                      <a:pt x="71" y="146"/>
                    </a:lnTo>
                    <a:lnTo>
                      <a:pt x="139" y="163"/>
                    </a:lnTo>
                    <a:lnTo>
                      <a:pt x="177" y="151"/>
                    </a:lnTo>
                    <a:lnTo>
                      <a:pt x="198" y="146"/>
                    </a:lnTo>
                    <a:lnTo>
                      <a:pt x="198" y="130"/>
                    </a:lnTo>
                    <a:lnTo>
                      <a:pt x="203" y="130"/>
                    </a:lnTo>
                    <a:lnTo>
                      <a:pt x="215" y="106"/>
                    </a:lnTo>
                    <a:lnTo>
                      <a:pt x="245" y="78"/>
                    </a:lnTo>
                    <a:lnTo>
                      <a:pt x="274" y="40"/>
                    </a:lnTo>
                    <a:lnTo>
                      <a:pt x="283" y="40"/>
                    </a:lnTo>
                    <a:lnTo>
                      <a:pt x="300" y="35"/>
                    </a:lnTo>
                    <a:lnTo>
                      <a:pt x="312" y="0"/>
                    </a:lnTo>
                    <a:lnTo>
                      <a:pt x="321" y="12"/>
                    </a:lnTo>
                    <a:lnTo>
                      <a:pt x="312" y="35"/>
                    </a:lnTo>
                    <a:lnTo>
                      <a:pt x="326" y="35"/>
                    </a:lnTo>
                    <a:lnTo>
                      <a:pt x="326" y="40"/>
                    </a:lnTo>
                    <a:lnTo>
                      <a:pt x="326" y="90"/>
                    </a:lnTo>
                    <a:lnTo>
                      <a:pt x="326" y="97"/>
                    </a:lnTo>
                    <a:lnTo>
                      <a:pt x="326" y="97"/>
                    </a:lnTo>
                    <a:lnTo>
                      <a:pt x="326" y="97"/>
                    </a:lnTo>
                    <a:close/>
                    <a:moveTo>
                      <a:pt x="198" y="130"/>
                    </a:moveTo>
                    <a:lnTo>
                      <a:pt x="193" y="130"/>
                    </a:lnTo>
                    <a:lnTo>
                      <a:pt x="193" y="123"/>
                    </a:lnTo>
                    <a:lnTo>
                      <a:pt x="198" y="130"/>
                    </a:lnTo>
                    <a:lnTo>
                      <a:pt x="198" y="130"/>
                    </a:lnTo>
                    <a:lnTo>
                      <a:pt x="198" y="130"/>
                    </a:lnTo>
                    <a:close/>
                    <a:moveTo>
                      <a:pt x="71" y="146"/>
                    </a:moveTo>
                    <a:lnTo>
                      <a:pt x="71" y="134"/>
                    </a:lnTo>
                    <a:lnTo>
                      <a:pt x="75" y="134"/>
                    </a:lnTo>
                    <a:lnTo>
                      <a:pt x="71" y="146"/>
                    </a:lnTo>
                    <a:lnTo>
                      <a:pt x="71" y="146"/>
                    </a:lnTo>
                    <a:lnTo>
                      <a:pt x="71" y="146"/>
                    </a:lnTo>
                    <a:close/>
                    <a:moveTo>
                      <a:pt x="151" y="151"/>
                    </a:moveTo>
                    <a:lnTo>
                      <a:pt x="144" y="151"/>
                    </a:lnTo>
                    <a:lnTo>
                      <a:pt x="160" y="146"/>
                    </a:lnTo>
                    <a:lnTo>
                      <a:pt x="165" y="146"/>
                    </a:lnTo>
                    <a:lnTo>
                      <a:pt x="151" y="151"/>
                    </a:lnTo>
                    <a:lnTo>
                      <a:pt x="151" y="151"/>
                    </a:lnTo>
                    <a:lnTo>
                      <a:pt x="151" y="15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6" name="Freeform 571">
                <a:extLst>
                  <a:ext uri="{FF2B5EF4-FFF2-40B4-BE49-F238E27FC236}">
                    <a16:creationId xmlns:a16="http://schemas.microsoft.com/office/drawing/2014/main" id="{3263DB55-CDE8-43D1-B69A-D5EE7E402597}"/>
                  </a:ext>
                </a:extLst>
              </p:cNvPr>
              <p:cNvSpPr>
                <a:spLocks/>
              </p:cNvSpPr>
              <p:nvPr/>
            </p:nvSpPr>
            <p:spPr bwMode="gray">
              <a:xfrm>
                <a:off x="6721296" y="3734043"/>
                <a:ext cx="57222" cy="147806"/>
              </a:xfrm>
              <a:custGeom>
                <a:avLst/>
                <a:gdLst>
                  <a:gd name="T0" fmla="*/ 128 w 139"/>
                  <a:gd name="T1" fmla="*/ 260 h 359"/>
                  <a:gd name="T2" fmla="*/ 128 w 139"/>
                  <a:gd name="T3" fmla="*/ 297 h 359"/>
                  <a:gd name="T4" fmla="*/ 123 w 139"/>
                  <a:gd name="T5" fmla="*/ 297 h 359"/>
                  <a:gd name="T6" fmla="*/ 123 w 139"/>
                  <a:gd name="T7" fmla="*/ 321 h 359"/>
                  <a:gd name="T8" fmla="*/ 139 w 139"/>
                  <a:gd name="T9" fmla="*/ 349 h 359"/>
                  <a:gd name="T10" fmla="*/ 128 w 139"/>
                  <a:gd name="T11" fmla="*/ 354 h 359"/>
                  <a:gd name="T12" fmla="*/ 95 w 139"/>
                  <a:gd name="T13" fmla="*/ 359 h 359"/>
                  <a:gd name="T14" fmla="*/ 83 w 139"/>
                  <a:gd name="T15" fmla="*/ 349 h 359"/>
                  <a:gd name="T16" fmla="*/ 66 w 139"/>
                  <a:gd name="T17" fmla="*/ 338 h 359"/>
                  <a:gd name="T18" fmla="*/ 50 w 139"/>
                  <a:gd name="T19" fmla="*/ 297 h 359"/>
                  <a:gd name="T20" fmla="*/ 57 w 139"/>
                  <a:gd name="T21" fmla="*/ 297 h 359"/>
                  <a:gd name="T22" fmla="*/ 57 w 139"/>
                  <a:gd name="T23" fmla="*/ 276 h 359"/>
                  <a:gd name="T24" fmla="*/ 50 w 139"/>
                  <a:gd name="T25" fmla="*/ 264 h 359"/>
                  <a:gd name="T26" fmla="*/ 50 w 139"/>
                  <a:gd name="T27" fmla="*/ 260 h 359"/>
                  <a:gd name="T28" fmla="*/ 50 w 139"/>
                  <a:gd name="T29" fmla="*/ 243 h 359"/>
                  <a:gd name="T30" fmla="*/ 57 w 139"/>
                  <a:gd name="T31" fmla="*/ 210 h 359"/>
                  <a:gd name="T32" fmla="*/ 66 w 139"/>
                  <a:gd name="T33" fmla="*/ 203 h 359"/>
                  <a:gd name="T34" fmla="*/ 33 w 139"/>
                  <a:gd name="T35" fmla="*/ 170 h 359"/>
                  <a:gd name="T36" fmla="*/ 50 w 139"/>
                  <a:gd name="T37" fmla="*/ 165 h 359"/>
                  <a:gd name="T38" fmla="*/ 40 w 139"/>
                  <a:gd name="T39" fmla="*/ 149 h 359"/>
                  <a:gd name="T40" fmla="*/ 50 w 139"/>
                  <a:gd name="T41" fmla="*/ 127 h 359"/>
                  <a:gd name="T42" fmla="*/ 40 w 139"/>
                  <a:gd name="T43" fmla="*/ 116 h 359"/>
                  <a:gd name="T44" fmla="*/ 28 w 139"/>
                  <a:gd name="T45" fmla="*/ 116 h 359"/>
                  <a:gd name="T46" fmla="*/ 40 w 139"/>
                  <a:gd name="T47" fmla="*/ 75 h 359"/>
                  <a:gd name="T48" fmla="*/ 33 w 139"/>
                  <a:gd name="T49" fmla="*/ 59 h 359"/>
                  <a:gd name="T50" fmla="*/ 33 w 139"/>
                  <a:gd name="T51" fmla="*/ 54 h 359"/>
                  <a:gd name="T52" fmla="*/ 0 w 139"/>
                  <a:gd name="T53" fmla="*/ 26 h 359"/>
                  <a:gd name="T54" fmla="*/ 12 w 139"/>
                  <a:gd name="T55" fmla="*/ 5 h 359"/>
                  <a:gd name="T56" fmla="*/ 0 w 139"/>
                  <a:gd name="T57" fmla="*/ 0 h 359"/>
                  <a:gd name="T58" fmla="*/ 50 w 139"/>
                  <a:gd name="T59" fmla="*/ 5 h 359"/>
                  <a:gd name="T60" fmla="*/ 50 w 139"/>
                  <a:gd name="T61" fmla="*/ 16 h 359"/>
                  <a:gd name="T62" fmla="*/ 73 w 139"/>
                  <a:gd name="T63" fmla="*/ 5 h 359"/>
                  <a:gd name="T64" fmla="*/ 66 w 139"/>
                  <a:gd name="T65" fmla="*/ 54 h 359"/>
                  <a:gd name="T66" fmla="*/ 106 w 139"/>
                  <a:gd name="T67" fmla="*/ 75 h 359"/>
                  <a:gd name="T68" fmla="*/ 106 w 139"/>
                  <a:gd name="T69" fmla="*/ 116 h 359"/>
                  <a:gd name="T70" fmla="*/ 128 w 139"/>
                  <a:gd name="T71" fmla="*/ 149 h 359"/>
                  <a:gd name="T72" fmla="*/ 128 w 139"/>
                  <a:gd name="T73" fmla="*/ 260 h 359"/>
                  <a:gd name="T74" fmla="*/ 128 w 139"/>
                  <a:gd name="T75" fmla="*/ 260 h 359"/>
                  <a:gd name="T76" fmla="*/ 128 w 139"/>
                  <a:gd name="T77" fmla="*/ 26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9" h="359">
                    <a:moveTo>
                      <a:pt x="128" y="260"/>
                    </a:moveTo>
                    <a:lnTo>
                      <a:pt x="128" y="297"/>
                    </a:lnTo>
                    <a:lnTo>
                      <a:pt x="123" y="297"/>
                    </a:lnTo>
                    <a:lnTo>
                      <a:pt x="123" y="321"/>
                    </a:lnTo>
                    <a:lnTo>
                      <a:pt x="139" y="349"/>
                    </a:lnTo>
                    <a:lnTo>
                      <a:pt x="128" y="354"/>
                    </a:lnTo>
                    <a:lnTo>
                      <a:pt x="95" y="359"/>
                    </a:lnTo>
                    <a:lnTo>
                      <a:pt x="83" y="349"/>
                    </a:lnTo>
                    <a:lnTo>
                      <a:pt x="66" y="338"/>
                    </a:lnTo>
                    <a:lnTo>
                      <a:pt x="50" y="297"/>
                    </a:lnTo>
                    <a:lnTo>
                      <a:pt x="57" y="297"/>
                    </a:lnTo>
                    <a:lnTo>
                      <a:pt x="57" y="276"/>
                    </a:lnTo>
                    <a:lnTo>
                      <a:pt x="50" y="264"/>
                    </a:lnTo>
                    <a:lnTo>
                      <a:pt x="50" y="260"/>
                    </a:lnTo>
                    <a:lnTo>
                      <a:pt x="50" y="243"/>
                    </a:lnTo>
                    <a:lnTo>
                      <a:pt x="57" y="210"/>
                    </a:lnTo>
                    <a:lnTo>
                      <a:pt x="66" y="203"/>
                    </a:lnTo>
                    <a:lnTo>
                      <a:pt x="33" y="170"/>
                    </a:lnTo>
                    <a:lnTo>
                      <a:pt x="50" y="165"/>
                    </a:lnTo>
                    <a:lnTo>
                      <a:pt x="40" y="149"/>
                    </a:lnTo>
                    <a:lnTo>
                      <a:pt x="50" y="127"/>
                    </a:lnTo>
                    <a:lnTo>
                      <a:pt x="40" y="116"/>
                    </a:lnTo>
                    <a:lnTo>
                      <a:pt x="28" y="116"/>
                    </a:lnTo>
                    <a:lnTo>
                      <a:pt x="40" y="75"/>
                    </a:lnTo>
                    <a:lnTo>
                      <a:pt x="33" y="59"/>
                    </a:lnTo>
                    <a:lnTo>
                      <a:pt x="33" y="54"/>
                    </a:lnTo>
                    <a:lnTo>
                      <a:pt x="0" y="26"/>
                    </a:lnTo>
                    <a:lnTo>
                      <a:pt x="12" y="5"/>
                    </a:lnTo>
                    <a:lnTo>
                      <a:pt x="0" y="0"/>
                    </a:lnTo>
                    <a:lnTo>
                      <a:pt x="50" y="5"/>
                    </a:lnTo>
                    <a:lnTo>
                      <a:pt x="50" y="16"/>
                    </a:lnTo>
                    <a:lnTo>
                      <a:pt x="73" y="5"/>
                    </a:lnTo>
                    <a:lnTo>
                      <a:pt x="66" y="54"/>
                    </a:lnTo>
                    <a:lnTo>
                      <a:pt x="106" y="75"/>
                    </a:lnTo>
                    <a:lnTo>
                      <a:pt x="106" y="116"/>
                    </a:lnTo>
                    <a:lnTo>
                      <a:pt x="128" y="149"/>
                    </a:lnTo>
                    <a:lnTo>
                      <a:pt x="128" y="260"/>
                    </a:lnTo>
                    <a:lnTo>
                      <a:pt x="128" y="260"/>
                    </a:lnTo>
                    <a:lnTo>
                      <a:pt x="128" y="26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7" name="Freeform 572">
                <a:extLst>
                  <a:ext uri="{FF2B5EF4-FFF2-40B4-BE49-F238E27FC236}">
                    <a16:creationId xmlns:a16="http://schemas.microsoft.com/office/drawing/2014/main" id="{0EA864B8-45BE-4058-A932-6A48AF95A4F4}"/>
                  </a:ext>
                </a:extLst>
              </p:cNvPr>
              <p:cNvSpPr>
                <a:spLocks noEditPoints="1"/>
              </p:cNvSpPr>
              <p:nvPr/>
            </p:nvSpPr>
            <p:spPr bwMode="gray">
              <a:xfrm>
                <a:off x="6912722" y="4014010"/>
                <a:ext cx="29228" cy="49818"/>
              </a:xfrm>
              <a:custGeom>
                <a:avLst/>
                <a:gdLst>
                  <a:gd name="T0" fmla="*/ 62 w 71"/>
                  <a:gd name="T1" fmla="*/ 12 h 121"/>
                  <a:gd name="T2" fmla="*/ 62 w 71"/>
                  <a:gd name="T3" fmla="*/ 7 h 121"/>
                  <a:gd name="T4" fmla="*/ 62 w 71"/>
                  <a:gd name="T5" fmla="*/ 0 h 121"/>
                  <a:gd name="T6" fmla="*/ 71 w 71"/>
                  <a:gd name="T7" fmla="*/ 7 h 121"/>
                  <a:gd name="T8" fmla="*/ 62 w 71"/>
                  <a:gd name="T9" fmla="*/ 12 h 121"/>
                  <a:gd name="T10" fmla="*/ 62 w 71"/>
                  <a:gd name="T11" fmla="*/ 12 h 121"/>
                  <a:gd name="T12" fmla="*/ 62 w 71"/>
                  <a:gd name="T13" fmla="*/ 12 h 121"/>
                  <a:gd name="T14" fmla="*/ 0 w 71"/>
                  <a:gd name="T15" fmla="*/ 121 h 121"/>
                  <a:gd name="T16" fmla="*/ 0 w 71"/>
                  <a:gd name="T17" fmla="*/ 104 h 121"/>
                  <a:gd name="T18" fmla="*/ 17 w 71"/>
                  <a:gd name="T19" fmla="*/ 99 h 121"/>
                  <a:gd name="T20" fmla="*/ 17 w 71"/>
                  <a:gd name="T21" fmla="*/ 116 h 121"/>
                  <a:gd name="T22" fmla="*/ 0 w 71"/>
                  <a:gd name="T23" fmla="*/ 121 h 121"/>
                  <a:gd name="T24" fmla="*/ 0 w 71"/>
                  <a:gd name="T25" fmla="*/ 121 h 121"/>
                  <a:gd name="T26" fmla="*/ 0 w 71"/>
                  <a:gd name="T2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121">
                    <a:moveTo>
                      <a:pt x="62" y="12"/>
                    </a:moveTo>
                    <a:lnTo>
                      <a:pt x="62" y="7"/>
                    </a:lnTo>
                    <a:lnTo>
                      <a:pt x="62" y="0"/>
                    </a:lnTo>
                    <a:lnTo>
                      <a:pt x="71" y="7"/>
                    </a:lnTo>
                    <a:lnTo>
                      <a:pt x="62" y="12"/>
                    </a:lnTo>
                    <a:lnTo>
                      <a:pt x="62" y="12"/>
                    </a:lnTo>
                    <a:lnTo>
                      <a:pt x="62" y="12"/>
                    </a:lnTo>
                    <a:close/>
                    <a:moveTo>
                      <a:pt x="0" y="121"/>
                    </a:moveTo>
                    <a:lnTo>
                      <a:pt x="0" y="104"/>
                    </a:lnTo>
                    <a:lnTo>
                      <a:pt x="17" y="99"/>
                    </a:lnTo>
                    <a:lnTo>
                      <a:pt x="17" y="116"/>
                    </a:lnTo>
                    <a:lnTo>
                      <a:pt x="0" y="121"/>
                    </a:lnTo>
                    <a:lnTo>
                      <a:pt x="0" y="121"/>
                    </a:lnTo>
                    <a:lnTo>
                      <a:pt x="0" y="1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78" name="Freeform 573">
                <a:extLst>
                  <a:ext uri="{FF2B5EF4-FFF2-40B4-BE49-F238E27FC236}">
                    <a16:creationId xmlns:a16="http://schemas.microsoft.com/office/drawing/2014/main" id="{00E1FE95-F7B0-4176-B87C-BB3AD016977F}"/>
                  </a:ext>
                </a:extLst>
              </p:cNvPr>
              <p:cNvSpPr>
                <a:spLocks noEditPoints="1"/>
              </p:cNvSpPr>
              <p:nvPr/>
            </p:nvSpPr>
            <p:spPr bwMode="gray">
              <a:xfrm>
                <a:off x="6941951" y="2905258"/>
                <a:ext cx="116914" cy="236325"/>
              </a:xfrm>
              <a:custGeom>
                <a:avLst/>
                <a:gdLst>
                  <a:gd name="T0" fmla="*/ 24 w 284"/>
                  <a:gd name="T1" fmla="*/ 251 h 574"/>
                  <a:gd name="T2" fmla="*/ 55 w 284"/>
                  <a:gd name="T3" fmla="*/ 222 h 574"/>
                  <a:gd name="T4" fmla="*/ 59 w 284"/>
                  <a:gd name="T5" fmla="*/ 156 h 574"/>
                  <a:gd name="T6" fmla="*/ 55 w 284"/>
                  <a:gd name="T7" fmla="*/ 116 h 574"/>
                  <a:gd name="T8" fmla="*/ 45 w 284"/>
                  <a:gd name="T9" fmla="*/ 62 h 574"/>
                  <a:gd name="T10" fmla="*/ 76 w 284"/>
                  <a:gd name="T11" fmla="*/ 26 h 574"/>
                  <a:gd name="T12" fmla="*/ 168 w 284"/>
                  <a:gd name="T13" fmla="*/ 0 h 574"/>
                  <a:gd name="T14" fmla="*/ 161 w 284"/>
                  <a:gd name="T15" fmla="*/ 17 h 574"/>
                  <a:gd name="T16" fmla="*/ 168 w 284"/>
                  <a:gd name="T17" fmla="*/ 5 h 574"/>
                  <a:gd name="T18" fmla="*/ 194 w 284"/>
                  <a:gd name="T19" fmla="*/ 5 h 574"/>
                  <a:gd name="T20" fmla="*/ 194 w 284"/>
                  <a:gd name="T21" fmla="*/ 17 h 574"/>
                  <a:gd name="T22" fmla="*/ 199 w 284"/>
                  <a:gd name="T23" fmla="*/ 38 h 574"/>
                  <a:gd name="T24" fmla="*/ 199 w 284"/>
                  <a:gd name="T25" fmla="*/ 43 h 574"/>
                  <a:gd name="T26" fmla="*/ 253 w 284"/>
                  <a:gd name="T27" fmla="*/ 26 h 574"/>
                  <a:gd name="T28" fmla="*/ 215 w 284"/>
                  <a:gd name="T29" fmla="*/ 78 h 574"/>
                  <a:gd name="T30" fmla="*/ 220 w 284"/>
                  <a:gd name="T31" fmla="*/ 128 h 574"/>
                  <a:gd name="T32" fmla="*/ 248 w 284"/>
                  <a:gd name="T33" fmla="*/ 156 h 574"/>
                  <a:gd name="T34" fmla="*/ 232 w 284"/>
                  <a:gd name="T35" fmla="*/ 210 h 574"/>
                  <a:gd name="T36" fmla="*/ 177 w 284"/>
                  <a:gd name="T37" fmla="*/ 251 h 574"/>
                  <a:gd name="T38" fmla="*/ 199 w 284"/>
                  <a:gd name="T39" fmla="*/ 296 h 574"/>
                  <a:gd name="T40" fmla="*/ 220 w 284"/>
                  <a:gd name="T41" fmla="*/ 296 h 574"/>
                  <a:gd name="T42" fmla="*/ 232 w 284"/>
                  <a:gd name="T43" fmla="*/ 317 h 574"/>
                  <a:gd name="T44" fmla="*/ 236 w 284"/>
                  <a:gd name="T45" fmla="*/ 300 h 574"/>
                  <a:gd name="T46" fmla="*/ 258 w 284"/>
                  <a:gd name="T47" fmla="*/ 333 h 574"/>
                  <a:gd name="T48" fmla="*/ 274 w 284"/>
                  <a:gd name="T49" fmla="*/ 378 h 574"/>
                  <a:gd name="T50" fmla="*/ 236 w 284"/>
                  <a:gd name="T51" fmla="*/ 418 h 574"/>
                  <a:gd name="T52" fmla="*/ 199 w 284"/>
                  <a:gd name="T53" fmla="*/ 463 h 574"/>
                  <a:gd name="T54" fmla="*/ 199 w 284"/>
                  <a:gd name="T55" fmla="*/ 518 h 574"/>
                  <a:gd name="T56" fmla="*/ 168 w 284"/>
                  <a:gd name="T57" fmla="*/ 562 h 574"/>
                  <a:gd name="T58" fmla="*/ 109 w 284"/>
                  <a:gd name="T59" fmla="*/ 430 h 574"/>
                  <a:gd name="T60" fmla="*/ 59 w 284"/>
                  <a:gd name="T61" fmla="*/ 362 h 574"/>
                  <a:gd name="T62" fmla="*/ 17 w 284"/>
                  <a:gd name="T63" fmla="*/ 333 h 574"/>
                  <a:gd name="T64" fmla="*/ 0 w 284"/>
                  <a:gd name="T65" fmla="*/ 262 h 574"/>
                  <a:gd name="T66" fmla="*/ 0 w 284"/>
                  <a:gd name="T67" fmla="*/ 262 h 574"/>
                  <a:gd name="T68" fmla="*/ 258 w 284"/>
                  <a:gd name="T69" fmla="*/ 206 h 574"/>
                  <a:gd name="T70" fmla="*/ 253 w 284"/>
                  <a:gd name="T71" fmla="*/ 210 h 574"/>
                  <a:gd name="T72" fmla="*/ 253 w 284"/>
                  <a:gd name="T73" fmla="*/ 210 h 574"/>
                  <a:gd name="T74" fmla="*/ 232 w 284"/>
                  <a:gd name="T75" fmla="*/ 296 h 574"/>
                  <a:gd name="T76" fmla="*/ 232 w 284"/>
                  <a:gd name="T77" fmla="*/ 279 h 574"/>
                  <a:gd name="T78" fmla="*/ 236 w 284"/>
                  <a:gd name="T79" fmla="*/ 300 h 574"/>
                  <a:gd name="T80" fmla="*/ 236 w 284"/>
                  <a:gd name="T81" fmla="*/ 300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4" h="574">
                    <a:moveTo>
                      <a:pt x="0" y="262"/>
                    </a:moveTo>
                    <a:lnTo>
                      <a:pt x="24" y="251"/>
                    </a:lnTo>
                    <a:lnTo>
                      <a:pt x="24" y="239"/>
                    </a:lnTo>
                    <a:lnTo>
                      <a:pt x="55" y="222"/>
                    </a:lnTo>
                    <a:lnTo>
                      <a:pt x="59" y="173"/>
                    </a:lnTo>
                    <a:lnTo>
                      <a:pt x="59" y="156"/>
                    </a:lnTo>
                    <a:lnTo>
                      <a:pt x="59" y="133"/>
                    </a:lnTo>
                    <a:lnTo>
                      <a:pt x="55" y="116"/>
                    </a:lnTo>
                    <a:lnTo>
                      <a:pt x="59" y="71"/>
                    </a:lnTo>
                    <a:lnTo>
                      <a:pt x="45" y="62"/>
                    </a:lnTo>
                    <a:lnTo>
                      <a:pt x="88" y="38"/>
                    </a:lnTo>
                    <a:lnTo>
                      <a:pt x="76" y="26"/>
                    </a:lnTo>
                    <a:lnTo>
                      <a:pt x="151" y="0"/>
                    </a:lnTo>
                    <a:lnTo>
                      <a:pt x="168" y="0"/>
                    </a:lnTo>
                    <a:lnTo>
                      <a:pt x="161" y="5"/>
                    </a:lnTo>
                    <a:lnTo>
                      <a:pt x="161" y="17"/>
                    </a:lnTo>
                    <a:lnTo>
                      <a:pt x="168" y="5"/>
                    </a:lnTo>
                    <a:lnTo>
                      <a:pt x="168" y="5"/>
                    </a:lnTo>
                    <a:lnTo>
                      <a:pt x="177" y="0"/>
                    </a:lnTo>
                    <a:lnTo>
                      <a:pt x="194" y="5"/>
                    </a:lnTo>
                    <a:lnTo>
                      <a:pt x="182" y="17"/>
                    </a:lnTo>
                    <a:lnTo>
                      <a:pt x="194" y="17"/>
                    </a:lnTo>
                    <a:lnTo>
                      <a:pt x="194" y="21"/>
                    </a:lnTo>
                    <a:lnTo>
                      <a:pt x="199" y="38"/>
                    </a:lnTo>
                    <a:lnTo>
                      <a:pt x="194" y="38"/>
                    </a:lnTo>
                    <a:lnTo>
                      <a:pt x="199" y="43"/>
                    </a:lnTo>
                    <a:lnTo>
                      <a:pt x="248" y="17"/>
                    </a:lnTo>
                    <a:lnTo>
                      <a:pt x="253" y="26"/>
                    </a:lnTo>
                    <a:lnTo>
                      <a:pt x="232" y="71"/>
                    </a:lnTo>
                    <a:lnTo>
                      <a:pt x="215" y="78"/>
                    </a:lnTo>
                    <a:lnTo>
                      <a:pt x="203" y="95"/>
                    </a:lnTo>
                    <a:lnTo>
                      <a:pt x="220" y="128"/>
                    </a:lnTo>
                    <a:lnTo>
                      <a:pt x="248" y="133"/>
                    </a:lnTo>
                    <a:lnTo>
                      <a:pt x="248" y="156"/>
                    </a:lnTo>
                    <a:lnTo>
                      <a:pt x="253" y="173"/>
                    </a:lnTo>
                    <a:lnTo>
                      <a:pt x="232" y="210"/>
                    </a:lnTo>
                    <a:lnTo>
                      <a:pt x="182" y="246"/>
                    </a:lnTo>
                    <a:lnTo>
                      <a:pt x="177" y="251"/>
                    </a:lnTo>
                    <a:lnTo>
                      <a:pt x="182" y="279"/>
                    </a:lnTo>
                    <a:lnTo>
                      <a:pt x="199" y="296"/>
                    </a:lnTo>
                    <a:lnTo>
                      <a:pt x="203" y="300"/>
                    </a:lnTo>
                    <a:lnTo>
                      <a:pt x="220" y="296"/>
                    </a:lnTo>
                    <a:lnTo>
                      <a:pt x="220" y="307"/>
                    </a:lnTo>
                    <a:lnTo>
                      <a:pt x="232" y="317"/>
                    </a:lnTo>
                    <a:lnTo>
                      <a:pt x="236" y="307"/>
                    </a:lnTo>
                    <a:lnTo>
                      <a:pt x="236" y="300"/>
                    </a:lnTo>
                    <a:lnTo>
                      <a:pt x="248" y="300"/>
                    </a:lnTo>
                    <a:lnTo>
                      <a:pt x="258" y="333"/>
                    </a:lnTo>
                    <a:lnTo>
                      <a:pt x="284" y="340"/>
                    </a:lnTo>
                    <a:lnTo>
                      <a:pt x="274" y="378"/>
                    </a:lnTo>
                    <a:lnTo>
                      <a:pt x="284" y="395"/>
                    </a:lnTo>
                    <a:lnTo>
                      <a:pt x="236" y="418"/>
                    </a:lnTo>
                    <a:lnTo>
                      <a:pt x="203" y="451"/>
                    </a:lnTo>
                    <a:lnTo>
                      <a:pt x="199" y="463"/>
                    </a:lnTo>
                    <a:lnTo>
                      <a:pt x="182" y="473"/>
                    </a:lnTo>
                    <a:lnTo>
                      <a:pt x="199" y="518"/>
                    </a:lnTo>
                    <a:lnTo>
                      <a:pt x="194" y="529"/>
                    </a:lnTo>
                    <a:lnTo>
                      <a:pt x="168" y="562"/>
                    </a:lnTo>
                    <a:lnTo>
                      <a:pt x="147" y="574"/>
                    </a:lnTo>
                    <a:lnTo>
                      <a:pt x="109" y="430"/>
                    </a:lnTo>
                    <a:lnTo>
                      <a:pt x="59" y="390"/>
                    </a:lnTo>
                    <a:lnTo>
                      <a:pt x="59" y="362"/>
                    </a:lnTo>
                    <a:lnTo>
                      <a:pt x="45" y="340"/>
                    </a:lnTo>
                    <a:lnTo>
                      <a:pt x="17" y="333"/>
                    </a:lnTo>
                    <a:lnTo>
                      <a:pt x="0" y="279"/>
                    </a:lnTo>
                    <a:lnTo>
                      <a:pt x="0" y="262"/>
                    </a:lnTo>
                    <a:lnTo>
                      <a:pt x="0" y="262"/>
                    </a:lnTo>
                    <a:lnTo>
                      <a:pt x="0" y="262"/>
                    </a:lnTo>
                    <a:close/>
                    <a:moveTo>
                      <a:pt x="253" y="210"/>
                    </a:moveTo>
                    <a:lnTo>
                      <a:pt x="258" y="206"/>
                    </a:lnTo>
                    <a:lnTo>
                      <a:pt x="270" y="206"/>
                    </a:lnTo>
                    <a:lnTo>
                      <a:pt x="253" y="210"/>
                    </a:lnTo>
                    <a:lnTo>
                      <a:pt x="253" y="210"/>
                    </a:lnTo>
                    <a:lnTo>
                      <a:pt x="253" y="210"/>
                    </a:lnTo>
                    <a:close/>
                    <a:moveTo>
                      <a:pt x="236" y="300"/>
                    </a:moveTo>
                    <a:lnTo>
                      <a:pt x="232" y="296"/>
                    </a:lnTo>
                    <a:lnTo>
                      <a:pt x="232" y="296"/>
                    </a:lnTo>
                    <a:lnTo>
                      <a:pt x="232" y="279"/>
                    </a:lnTo>
                    <a:lnTo>
                      <a:pt x="248" y="284"/>
                    </a:lnTo>
                    <a:lnTo>
                      <a:pt x="236" y="300"/>
                    </a:lnTo>
                    <a:lnTo>
                      <a:pt x="236" y="300"/>
                    </a:lnTo>
                    <a:lnTo>
                      <a:pt x="236" y="30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2" name="Freeform 578">
                <a:extLst>
                  <a:ext uri="{FF2B5EF4-FFF2-40B4-BE49-F238E27FC236}">
                    <a16:creationId xmlns:a16="http://schemas.microsoft.com/office/drawing/2014/main" id="{6D31D743-E7F2-4DB3-996E-582DCDF2AEDC}"/>
                  </a:ext>
                </a:extLst>
              </p:cNvPr>
              <p:cNvSpPr>
                <a:spLocks noEditPoints="1"/>
              </p:cNvSpPr>
              <p:nvPr/>
            </p:nvSpPr>
            <p:spPr bwMode="gray">
              <a:xfrm>
                <a:off x="7573041" y="4095528"/>
                <a:ext cx="323162" cy="320316"/>
              </a:xfrm>
              <a:custGeom>
                <a:avLst/>
                <a:gdLst>
                  <a:gd name="T0" fmla="*/ 612 w 785"/>
                  <a:gd name="T1" fmla="*/ 737 h 778"/>
                  <a:gd name="T2" fmla="*/ 596 w 785"/>
                  <a:gd name="T3" fmla="*/ 766 h 778"/>
                  <a:gd name="T4" fmla="*/ 525 w 785"/>
                  <a:gd name="T5" fmla="*/ 766 h 778"/>
                  <a:gd name="T6" fmla="*/ 482 w 785"/>
                  <a:gd name="T7" fmla="*/ 778 h 778"/>
                  <a:gd name="T8" fmla="*/ 461 w 785"/>
                  <a:gd name="T9" fmla="*/ 754 h 778"/>
                  <a:gd name="T10" fmla="*/ 395 w 785"/>
                  <a:gd name="T11" fmla="*/ 766 h 778"/>
                  <a:gd name="T12" fmla="*/ 374 w 785"/>
                  <a:gd name="T13" fmla="*/ 712 h 778"/>
                  <a:gd name="T14" fmla="*/ 352 w 785"/>
                  <a:gd name="T15" fmla="*/ 626 h 778"/>
                  <a:gd name="T16" fmla="*/ 319 w 785"/>
                  <a:gd name="T17" fmla="*/ 626 h 778"/>
                  <a:gd name="T18" fmla="*/ 288 w 785"/>
                  <a:gd name="T19" fmla="*/ 622 h 778"/>
                  <a:gd name="T20" fmla="*/ 248 w 785"/>
                  <a:gd name="T21" fmla="*/ 605 h 778"/>
                  <a:gd name="T22" fmla="*/ 218 w 785"/>
                  <a:gd name="T23" fmla="*/ 589 h 778"/>
                  <a:gd name="T24" fmla="*/ 189 w 785"/>
                  <a:gd name="T25" fmla="*/ 572 h 778"/>
                  <a:gd name="T26" fmla="*/ 147 w 785"/>
                  <a:gd name="T27" fmla="*/ 551 h 778"/>
                  <a:gd name="T28" fmla="*/ 104 w 785"/>
                  <a:gd name="T29" fmla="*/ 515 h 778"/>
                  <a:gd name="T30" fmla="*/ 50 w 785"/>
                  <a:gd name="T31" fmla="*/ 423 h 778"/>
                  <a:gd name="T32" fmla="*/ 17 w 785"/>
                  <a:gd name="T33" fmla="*/ 383 h 778"/>
                  <a:gd name="T34" fmla="*/ 17 w 785"/>
                  <a:gd name="T35" fmla="*/ 345 h 778"/>
                  <a:gd name="T36" fmla="*/ 0 w 785"/>
                  <a:gd name="T37" fmla="*/ 251 h 778"/>
                  <a:gd name="T38" fmla="*/ 50 w 785"/>
                  <a:gd name="T39" fmla="*/ 234 h 778"/>
                  <a:gd name="T40" fmla="*/ 71 w 785"/>
                  <a:gd name="T41" fmla="*/ 201 h 778"/>
                  <a:gd name="T42" fmla="*/ 104 w 785"/>
                  <a:gd name="T43" fmla="*/ 161 h 778"/>
                  <a:gd name="T44" fmla="*/ 88 w 785"/>
                  <a:gd name="T45" fmla="*/ 140 h 778"/>
                  <a:gd name="T46" fmla="*/ 81 w 785"/>
                  <a:gd name="T47" fmla="*/ 140 h 778"/>
                  <a:gd name="T48" fmla="*/ 104 w 785"/>
                  <a:gd name="T49" fmla="*/ 100 h 778"/>
                  <a:gd name="T50" fmla="*/ 104 w 785"/>
                  <a:gd name="T51" fmla="*/ 67 h 778"/>
                  <a:gd name="T52" fmla="*/ 92 w 785"/>
                  <a:gd name="T53" fmla="*/ 34 h 778"/>
                  <a:gd name="T54" fmla="*/ 81 w 785"/>
                  <a:gd name="T55" fmla="*/ 0 h 778"/>
                  <a:gd name="T56" fmla="*/ 248 w 785"/>
                  <a:gd name="T57" fmla="*/ 0 h 778"/>
                  <a:gd name="T58" fmla="*/ 579 w 785"/>
                  <a:gd name="T59" fmla="*/ 145 h 778"/>
                  <a:gd name="T60" fmla="*/ 579 w 785"/>
                  <a:gd name="T61" fmla="*/ 178 h 778"/>
                  <a:gd name="T62" fmla="*/ 700 w 785"/>
                  <a:gd name="T63" fmla="*/ 277 h 778"/>
                  <a:gd name="T64" fmla="*/ 688 w 785"/>
                  <a:gd name="T65" fmla="*/ 277 h 778"/>
                  <a:gd name="T66" fmla="*/ 678 w 785"/>
                  <a:gd name="T67" fmla="*/ 388 h 778"/>
                  <a:gd name="T68" fmla="*/ 721 w 785"/>
                  <a:gd name="T69" fmla="*/ 433 h 778"/>
                  <a:gd name="T70" fmla="*/ 700 w 785"/>
                  <a:gd name="T71" fmla="*/ 489 h 778"/>
                  <a:gd name="T72" fmla="*/ 716 w 785"/>
                  <a:gd name="T73" fmla="*/ 499 h 778"/>
                  <a:gd name="T74" fmla="*/ 704 w 785"/>
                  <a:gd name="T75" fmla="*/ 556 h 778"/>
                  <a:gd name="T76" fmla="*/ 704 w 785"/>
                  <a:gd name="T77" fmla="*/ 572 h 778"/>
                  <a:gd name="T78" fmla="*/ 737 w 785"/>
                  <a:gd name="T79" fmla="*/ 655 h 778"/>
                  <a:gd name="T80" fmla="*/ 754 w 785"/>
                  <a:gd name="T81" fmla="*/ 662 h 778"/>
                  <a:gd name="T82" fmla="*/ 770 w 785"/>
                  <a:gd name="T83" fmla="*/ 667 h 778"/>
                  <a:gd name="T84" fmla="*/ 700 w 785"/>
                  <a:gd name="T85" fmla="*/ 737 h 778"/>
                  <a:gd name="T86" fmla="*/ 645 w 785"/>
                  <a:gd name="T87" fmla="*/ 754 h 778"/>
                  <a:gd name="T88" fmla="*/ 645 w 785"/>
                  <a:gd name="T89" fmla="*/ 754 h 778"/>
                  <a:gd name="T90" fmla="*/ 733 w 785"/>
                  <a:gd name="T91" fmla="*/ 277 h 778"/>
                  <a:gd name="T92" fmla="*/ 737 w 785"/>
                  <a:gd name="T93" fmla="*/ 305 h 778"/>
                  <a:gd name="T94" fmla="*/ 721 w 785"/>
                  <a:gd name="T95" fmla="*/ 322 h 778"/>
                  <a:gd name="T96" fmla="*/ 733 w 785"/>
                  <a:gd name="T97" fmla="*/ 305 h 778"/>
                  <a:gd name="T98" fmla="*/ 704 w 785"/>
                  <a:gd name="T99" fmla="*/ 362 h 778"/>
                  <a:gd name="T100" fmla="*/ 716 w 785"/>
                  <a:gd name="T101" fmla="*/ 367 h 778"/>
                  <a:gd name="T102" fmla="*/ 721 w 785"/>
                  <a:gd name="T103" fmla="*/ 388 h 778"/>
                  <a:gd name="T104" fmla="*/ 688 w 785"/>
                  <a:gd name="T105" fmla="*/ 378 h 778"/>
                  <a:gd name="T106" fmla="*/ 700 w 785"/>
                  <a:gd name="T107" fmla="*/ 345 h 778"/>
                  <a:gd name="T108" fmla="*/ 704 w 785"/>
                  <a:gd name="T109" fmla="*/ 362 h 778"/>
                  <a:gd name="T110" fmla="*/ 721 w 785"/>
                  <a:gd name="T111" fmla="*/ 499 h 778"/>
                  <a:gd name="T112" fmla="*/ 742 w 785"/>
                  <a:gd name="T113" fmla="*/ 478 h 778"/>
                  <a:gd name="T114" fmla="*/ 721 w 785"/>
                  <a:gd name="T115" fmla="*/ 499 h 778"/>
                  <a:gd name="T116" fmla="*/ 721 w 785"/>
                  <a:gd name="T117" fmla="*/ 499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5" h="778">
                    <a:moveTo>
                      <a:pt x="645" y="754"/>
                    </a:moveTo>
                    <a:lnTo>
                      <a:pt x="612" y="737"/>
                    </a:lnTo>
                    <a:lnTo>
                      <a:pt x="607" y="749"/>
                    </a:lnTo>
                    <a:lnTo>
                      <a:pt x="596" y="766"/>
                    </a:lnTo>
                    <a:lnTo>
                      <a:pt x="574" y="778"/>
                    </a:lnTo>
                    <a:lnTo>
                      <a:pt x="525" y="766"/>
                    </a:lnTo>
                    <a:lnTo>
                      <a:pt x="503" y="778"/>
                    </a:lnTo>
                    <a:lnTo>
                      <a:pt x="482" y="778"/>
                    </a:lnTo>
                    <a:lnTo>
                      <a:pt x="482" y="766"/>
                    </a:lnTo>
                    <a:lnTo>
                      <a:pt x="461" y="754"/>
                    </a:lnTo>
                    <a:lnTo>
                      <a:pt x="433" y="771"/>
                    </a:lnTo>
                    <a:lnTo>
                      <a:pt x="395" y="766"/>
                    </a:lnTo>
                    <a:lnTo>
                      <a:pt x="374" y="733"/>
                    </a:lnTo>
                    <a:lnTo>
                      <a:pt x="374" y="712"/>
                    </a:lnTo>
                    <a:lnTo>
                      <a:pt x="364" y="655"/>
                    </a:lnTo>
                    <a:lnTo>
                      <a:pt x="352" y="626"/>
                    </a:lnTo>
                    <a:lnTo>
                      <a:pt x="326" y="610"/>
                    </a:lnTo>
                    <a:lnTo>
                      <a:pt x="319" y="626"/>
                    </a:lnTo>
                    <a:lnTo>
                      <a:pt x="310" y="622"/>
                    </a:lnTo>
                    <a:lnTo>
                      <a:pt x="288" y="622"/>
                    </a:lnTo>
                    <a:lnTo>
                      <a:pt x="281" y="610"/>
                    </a:lnTo>
                    <a:lnTo>
                      <a:pt x="248" y="605"/>
                    </a:lnTo>
                    <a:lnTo>
                      <a:pt x="227" y="600"/>
                    </a:lnTo>
                    <a:lnTo>
                      <a:pt x="218" y="589"/>
                    </a:lnTo>
                    <a:lnTo>
                      <a:pt x="189" y="584"/>
                    </a:lnTo>
                    <a:lnTo>
                      <a:pt x="189" y="572"/>
                    </a:lnTo>
                    <a:lnTo>
                      <a:pt x="163" y="572"/>
                    </a:lnTo>
                    <a:lnTo>
                      <a:pt x="147" y="551"/>
                    </a:lnTo>
                    <a:lnTo>
                      <a:pt x="118" y="551"/>
                    </a:lnTo>
                    <a:lnTo>
                      <a:pt x="104" y="515"/>
                    </a:lnTo>
                    <a:lnTo>
                      <a:pt x="71" y="445"/>
                    </a:lnTo>
                    <a:lnTo>
                      <a:pt x="50" y="423"/>
                    </a:lnTo>
                    <a:lnTo>
                      <a:pt x="26" y="404"/>
                    </a:lnTo>
                    <a:lnTo>
                      <a:pt x="17" y="383"/>
                    </a:lnTo>
                    <a:lnTo>
                      <a:pt x="12" y="362"/>
                    </a:lnTo>
                    <a:lnTo>
                      <a:pt x="17" y="345"/>
                    </a:lnTo>
                    <a:lnTo>
                      <a:pt x="0" y="289"/>
                    </a:lnTo>
                    <a:lnTo>
                      <a:pt x="0" y="251"/>
                    </a:lnTo>
                    <a:lnTo>
                      <a:pt x="33" y="251"/>
                    </a:lnTo>
                    <a:lnTo>
                      <a:pt x="50" y="234"/>
                    </a:lnTo>
                    <a:lnTo>
                      <a:pt x="71" y="201"/>
                    </a:lnTo>
                    <a:lnTo>
                      <a:pt x="71" y="201"/>
                    </a:lnTo>
                    <a:lnTo>
                      <a:pt x="81" y="185"/>
                    </a:lnTo>
                    <a:lnTo>
                      <a:pt x="104" y="161"/>
                    </a:lnTo>
                    <a:lnTo>
                      <a:pt x="104" y="145"/>
                    </a:lnTo>
                    <a:lnTo>
                      <a:pt x="88" y="140"/>
                    </a:lnTo>
                    <a:lnTo>
                      <a:pt x="81" y="140"/>
                    </a:lnTo>
                    <a:lnTo>
                      <a:pt x="81" y="140"/>
                    </a:lnTo>
                    <a:lnTo>
                      <a:pt x="88" y="100"/>
                    </a:lnTo>
                    <a:lnTo>
                      <a:pt x="104" y="100"/>
                    </a:lnTo>
                    <a:lnTo>
                      <a:pt x="109" y="74"/>
                    </a:lnTo>
                    <a:lnTo>
                      <a:pt x="104" y="67"/>
                    </a:lnTo>
                    <a:lnTo>
                      <a:pt x="104" y="50"/>
                    </a:lnTo>
                    <a:lnTo>
                      <a:pt x="92" y="34"/>
                    </a:lnTo>
                    <a:lnTo>
                      <a:pt x="88" y="29"/>
                    </a:lnTo>
                    <a:lnTo>
                      <a:pt x="81" y="0"/>
                    </a:lnTo>
                    <a:lnTo>
                      <a:pt x="104" y="0"/>
                    </a:lnTo>
                    <a:lnTo>
                      <a:pt x="248" y="0"/>
                    </a:lnTo>
                    <a:lnTo>
                      <a:pt x="319" y="0"/>
                    </a:lnTo>
                    <a:lnTo>
                      <a:pt x="579" y="145"/>
                    </a:lnTo>
                    <a:lnTo>
                      <a:pt x="591" y="166"/>
                    </a:lnTo>
                    <a:lnTo>
                      <a:pt x="579" y="178"/>
                    </a:lnTo>
                    <a:lnTo>
                      <a:pt x="688" y="267"/>
                    </a:lnTo>
                    <a:lnTo>
                      <a:pt x="700" y="277"/>
                    </a:lnTo>
                    <a:lnTo>
                      <a:pt x="688" y="289"/>
                    </a:lnTo>
                    <a:lnTo>
                      <a:pt x="688" y="277"/>
                    </a:lnTo>
                    <a:lnTo>
                      <a:pt x="666" y="367"/>
                    </a:lnTo>
                    <a:lnTo>
                      <a:pt x="678" y="388"/>
                    </a:lnTo>
                    <a:lnTo>
                      <a:pt x="683" y="400"/>
                    </a:lnTo>
                    <a:lnTo>
                      <a:pt x="721" y="433"/>
                    </a:lnTo>
                    <a:lnTo>
                      <a:pt x="700" y="478"/>
                    </a:lnTo>
                    <a:lnTo>
                      <a:pt x="700" y="489"/>
                    </a:lnTo>
                    <a:lnTo>
                      <a:pt x="716" y="494"/>
                    </a:lnTo>
                    <a:lnTo>
                      <a:pt x="716" y="499"/>
                    </a:lnTo>
                    <a:lnTo>
                      <a:pt x="700" y="527"/>
                    </a:lnTo>
                    <a:lnTo>
                      <a:pt x="704" y="556"/>
                    </a:lnTo>
                    <a:lnTo>
                      <a:pt x="716" y="572"/>
                    </a:lnTo>
                    <a:lnTo>
                      <a:pt x="704" y="572"/>
                    </a:lnTo>
                    <a:lnTo>
                      <a:pt x="721" y="589"/>
                    </a:lnTo>
                    <a:lnTo>
                      <a:pt x="737" y="655"/>
                    </a:lnTo>
                    <a:lnTo>
                      <a:pt x="754" y="667"/>
                    </a:lnTo>
                    <a:lnTo>
                      <a:pt x="754" y="662"/>
                    </a:lnTo>
                    <a:lnTo>
                      <a:pt x="770" y="678"/>
                    </a:lnTo>
                    <a:lnTo>
                      <a:pt x="770" y="667"/>
                    </a:lnTo>
                    <a:lnTo>
                      <a:pt x="785" y="683"/>
                    </a:lnTo>
                    <a:lnTo>
                      <a:pt x="700" y="737"/>
                    </a:lnTo>
                    <a:lnTo>
                      <a:pt x="678" y="737"/>
                    </a:lnTo>
                    <a:lnTo>
                      <a:pt x="645" y="754"/>
                    </a:lnTo>
                    <a:lnTo>
                      <a:pt x="645" y="754"/>
                    </a:lnTo>
                    <a:lnTo>
                      <a:pt x="645" y="754"/>
                    </a:lnTo>
                    <a:close/>
                    <a:moveTo>
                      <a:pt x="733" y="305"/>
                    </a:moveTo>
                    <a:lnTo>
                      <a:pt x="733" y="277"/>
                    </a:lnTo>
                    <a:lnTo>
                      <a:pt x="737" y="277"/>
                    </a:lnTo>
                    <a:lnTo>
                      <a:pt x="737" y="305"/>
                    </a:lnTo>
                    <a:lnTo>
                      <a:pt x="733" y="322"/>
                    </a:lnTo>
                    <a:lnTo>
                      <a:pt x="721" y="322"/>
                    </a:lnTo>
                    <a:lnTo>
                      <a:pt x="733" y="305"/>
                    </a:lnTo>
                    <a:lnTo>
                      <a:pt x="733" y="305"/>
                    </a:lnTo>
                    <a:lnTo>
                      <a:pt x="733" y="305"/>
                    </a:lnTo>
                    <a:close/>
                    <a:moveTo>
                      <a:pt x="704" y="362"/>
                    </a:moveTo>
                    <a:lnTo>
                      <a:pt x="716" y="378"/>
                    </a:lnTo>
                    <a:lnTo>
                      <a:pt x="716" y="367"/>
                    </a:lnTo>
                    <a:lnTo>
                      <a:pt x="716" y="378"/>
                    </a:lnTo>
                    <a:lnTo>
                      <a:pt x="721" y="388"/>
                    </a:lnTo>
                    <a:lnTo>
                      <a:pt x="716" y="400"/>
                    </a:lnTo>
                    <a:lnTo>
                      <a:pt x="688" y="378"/>
                    </a:lnTo>
                    <a:lnTo>
                      <a:pt x="688" y="362"/>
                    </a:lnTo>
                    <a:lnTo>
                      <a:pt x="700" y="345"/>
                    </a:lnTo>
                    <a:lnTo>
                      <a:pt x="704" y="362"/>
                    </a:lnTo>
                    <a:lnTo>
                      <a:pt x="704" y="362"/>
                    </a:lnTo>
                    <a:lnTo>
                      <a:pt x="704" y="362"/>
                    </a:lnTo>
                    <a:close/>
                    <a:moveTo>
                      <a:pt x="721" y="499"/>
                    </a:moveTo>
                    <a:lnTo>
                      <a:pt x="721" y="499"/>
                    </a:lnTo>
                    <a:lnTo>
                      <a:pt x="742" y="478"/>
                    </a:lnTo>
                    <a:lnTo>
                      <a:pt x="737" y="499"/>
                    </a:lnTo>
                    <a:lnTo>
                      <a:pt x="721" y="499"/>
                    </a:lnTo>
                    <a:lnTo>
                      <a:pt x="721" y="499"/>
                    </a:lnTo>
                    <a:lnTo>
                      <a:pt x="721" y="49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3" name="Freeform 579">
                <a:extLst>
                  <a:ext uri="{FF2B5EF4-FFF2-40B4-BE49-F238E27FC236}">
                    <a16:creationId xmlns:a16="http://schemas.microsoft.com/office/drawing/2014/main" id="{C8B66149-83FB-42F9-9217-EAE5A3A64C12}"/>
                  </a:ext>
                </a:extLst>
              </p:cNvPr>
              <p:cNvSpPr>
                <a:spLocks/>
              </p:cNvSpPr>
              <p:nvPr/>
            </p:nvSpPr>
            <p:spPr bwMode="gray">
              <a:xfrm>
                <a:off x="7580039" y="3940312"/>
                <a:ext cx="155611" cy="167980"/>
              </a:xfrm>
              <a:custGeom>
                <a:avLst/>
                <a:gdLst>
                  <a:gd name="T0" fmla="*/ 231 w 378"/>
                  <a:gd name="T1" fmla="*/ 375 h 408"/>
                  <a:gd name="T2" fmla="*/ 87 w 378"/>
                  <a:gd name="T3" fmla="*/ 375 h 408"/>
                  <a:gd name="T4" fmla="*/ 66 w 378"/>
                  <a:gd name="T5" fmla="*/ 375 h 408"/>
                  <a:gd name="T6" fmla="*/ 54 w 378"/>
                  <a:gd name="T7" fmla="*/ 375 h 408"/>
                  <a:gd name="T8" fmla="*/ 33 w 378"/>
                  <a:gd name="T9" fmla="*/ 408 h 408"/>
                  <a:gd name="T10" fmla="*/ 16 w 378"/>
                  <a:gd name="T11" fmla="*/ 401 h 408"/>
                  <a:gd name="T12" fmla="*/ 0 w 378"/>
                  <a:gd name="T13" fmla="*/ 401 h 408"/>
                  <a:gd name="T14" fmla="*/ 0 w 378"/>
                  <a:gd name="T15" fmla="*/ 368 h 408"/>
                  <a:gd name="T16" fmla="*/ 12 w 378"/>
                  <a:gd name="T17" fmla="*/ 297 h 408"/>
                  <a:gd name="T18" fmla="*/ 21 w 378"/>
                  <a:gd name="T19" fmla="*/ 264 h 408"/>
                  <a:gd name="T20" fmla="*/ 21 w 378"/>
                  <a:gd name="T21" fmla="*/ 243 h 408"/>
                  <a:gd name="T22" fmla="*/ 38 w 378"/>
                  <a:gd name="T23" fmla="*/ 236 h 408"/>
                  <a:gd name="T24" fmla="*/ 49 w 378"/>
                  <a:gd name="T25" fmla="*/ 219 h 408"/>
                  <a:gd name="T26" fmla="*/ 66 w 378"/>
                  <a:gd name="T27" fmla="*/ 219 h 408"/>
                  <a:gd name="T28" fmla="*/ 125 w 378"/>
                  <a:gd name="T29" fmla="*/ 148 h 408"/>
                  <a:gd name="T30" fmla="*/ 104 w 378"/>
                  <a:gd name="T31" fmla="*/ 132 h 408"/>
                  <a:gd name="T32" fmla="*/ 92 w 378"/>
                  <a:gd name="T33" fmla="*/ 132 h 408"/>
                  <a:gd name="T34" fmla="*/ 75 w 378"/>
                  <a:gd name="T35" fmla="*/ 127 h 408"/>
                  <a:gd name="T36" fmla="*/ 92 w 378"/>
                  <a:gd name="T37" fmla="*/ 99 h 408"/>
                  <a:gd name="T38" fmla="*/ 87 w 378"/>
                  <a:gd name="T39" fmla="*/ 82 h 408"/>
                  <a:gd name="T40" fmla="*/ 92 w 378"/>
                  <a:gd name="T41" fmla="*/ 61 h 408"/>
                  <a:gd name="T42" fmla="*/ 92 w 378"/>
                  <a:gd name="T43" fmla="*/ 54 h 408"/>
                  <a:gd name="T44" fmla="*/ 92 w 378"/>
                  <a:gd name="T45" fmla="*/ 54 h 408"/>
                  <a:gd name="T46" fmla="*/ 104 w 378"/>
                  <a:gd name="T47" fmla="*/ 37 h 408"/>
                  <a:gd name="T48" fmla="*/ 108 w 378"/>
                  <a:gd name="T49" fmla="*/ 28 h 408"/>
                  <a:gd name="T50" fmla="*/ 142 w 378"/>
                  <a:gd name="T51" fmla="*/ 37 h 408"/>
                  <a:gd name="T52" fmla="*/ 156 w 378"/>
                  <a:gd name="T53" fmla="*/ 28 h 408"/>
                  <a:gd name="T54" fmla="*/ 163 w 378"/>
                  <a:gd name="T55" fmla="*/ 44 h 408"/>
                  <a:gd name="T56" fmla="*/ 184 w 378"/>
                  <a:gd name="T57" fmla="*/ 54 h 408"/>
                  <a:gd name="T58" fmla="*/ 184 w 378"/>
                  <a:gd name="T59" fmla="*/ 44 h 408"/>
                  <a:gd name="T60" fmla="*/ 201 w 378"/>
                  <a:gd name="T61" fmla="*/ 37 h 408"/>
                  <a:gd name="T62" fmla="*/ 217 w 378"/>
                  <a:gd name="T63" fmla="*/ 28 h 408"/>
                  <a:gd name="T64" fmla="*/ 238 w 378"/>
                  <a:gd name="T65" fmla="*/ 21 h 408"/>
                  <a:gd name="T66" fmla="*/ 255 w 378"/>
                  <a:gd name="T67" fmla="*/ 28 h 408"/>
                  <a:gd name="T68" fmla="*/ 281 w 378"/>
                  <a:gd name="T69" fmla="*/ 28 h 408"/>
                  <a:gd name="T70" fmla="*/ 307 w 378"/>
                  <a:gd name="T71" fmla="*/ 0 h 408"/>
                  <a:gd name="T72" fmla="*/ 323 w 378"/>
                  <a:gd name="T73" fmla="*/ 28 h 408"/>
                  <a:gd name="T74" fmla="*/ 340 w 378"/>
                  <a:gd name="T75" fmla="*/ 37 h 408"/>
                  <a:gd name="T76" fmla="*/ 340 w 378"/>
                  <a:gd name="T77" fmla="*/ 61 h 408"/>
                  <a:gd name="T78" fmla="*/ 345 w 378"/>
                  <a:gd name="T79" fmla="*/ 94 h 408"/>
                  <a:gd name="T80" fmla="*/ 361 w 378"/>
                  <a:gd name="T81" fmla="*/ 99 h 408"/>
                  <a:gd name="T82" fmla="*/ 373 w 378"/>
                  <a:gd name="T83" fmla="*/ 127 h 408"/>
                  <a:gd name="T84" fmla="*/ 378 w 378"/>
                  <a:gd name="T85" fmla="*/ 165 h 408"/>
                  <a:gd name="T86" fmla="*/ 378 w 378"/>
                  <a:gd name="T87" fmla="*/ 181 h 408"/>
                  <a:gd name="T88" fmla="*/ 361 w 378"/>
                  <a:gd name="T89" fmla="*/ 203 h 408"/>
                  <a:gd name="T90" fmla="*/ 373 w 378"/>
                  <a:gd name="T91" fmla="*/ 210 h 408"/>
                  <a:gd name="T92" fmla="*/ 345 w 378"/>
                  <a:gd name="T93" fmla="*/ 219 h 408"/>
                  <a:gd name="T94" fmla="*/ 340 w 378"/>
                  <a:gd name="T95" fmla="*/ 243 h 408"/>
                  <a:gd name="T96" fmla="*/ 323 w 378"/>
                  <a:gd name="T97" fmla="*/ 259 h 408"/>
                  <a:gd name="T98" fmla="*/ 302 w 378"/>
                  <a:gd name="T99" fmla="*/ 297 h 408"/>
                  <a:gd name="T100" fmla="*/ 307 w 378"/>
                  <a:gd name="T101" fmla="*/ 314 h 408"/>
                  <a:gd name="T102" fmla="*/ 302 w 378"/>
                  <a:gd name="T103" fmla="*/ 375 h 408"/>
                  <a:gd name="T104" fmla="*/ 231 w 378"/>
                  <a:gd name="T105" fmla="*/ 375 h 408"/>
                  <a:gd name="T106" fmla="*/ 231 w 378"/>
                  <a:gd name="T107" fmla="*/ 375 h 408"/>
                  <a:gd name="T108" fmla="*/ 231 w 378"/>
                  <a:gd name="T109" fmla="*/ 375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8" h="408">
                    <a:moveTo>
                      <a:pt x="231" y="375"/>
                    </a:moveTo>
                    <a:lnTo>
                      <a:pt x="87" y="375"/>
                    </a:lnTo>
                    <a:lnTo>
                      <a:pt x="66" y="375"/>
                    </a:lnTo>
                    <a:lnTo>
                      <a:pt x="54" y="375"/>
                    </a:lnTo>
                    <a:lnTo>
                      <a:pt x="33" y="408"/>
                    </a:lnTo>
                    <a:lnTo>
                      <a:pt x="16" y="401"/>
                    </a:lnTo>
                    <a:lnTo>
                      <a:pt x="0" y="401"/>
                    </a:lnTo>
                    <a:lnTo>
                      <a:pt x="0" y="368"/>
                    </a:lnTo>
                    <a:lnTo>
                      <a:pt x="12" y="297"/>
                    </a:lnTo>
                    <a:lnTo>
                      <a:pt x="21" y="264"/>
                    </a:lnTo>
                    <a:lnTo>
                      <a:pt x="21" y="243"/>
                    </a:lnTo>
                    <a:lnTo>
                      <a:pt x="38" y="236"/>
                    </a:lnTo>
                    <a:lnTo>
                      <a:pt x="49" y="219"/>
                    </a:lnTo>
                    <a:lnTo>
                      <a:pt x="66" y="219"/>
                    </a:lnTo>
                    <a:lnTo>
                      <a:pt x="125" y="148"/>
                    </a:lnTo>
                    <a:lnTo>
                      <a:pt x="104" y="132"/>
                    </a:lnTo>
                    <a:lnTo>
                      <a:pt x="92" y="132"/>
                    </a:lnTo>
                    <a:lnTo>
                      <a:pt x="75" y="127"/>
                    </a:lnTo>
                    <a:lnTo>
                      <a:pt x="92" y="99"/>
                    </a:lnTo>
                    <a:lnTo>
                      <a:pt x="87" y="82"/>
                    </a:lnTo>
                    <a:lnTo>
                      <a:pt x="92" y="61"/>
                    </a:lnTo>
                    <a:lnTo>
                      <a:pt x="92" y="54"/>
                    </a:lnTo>
                    <a:lnTo>
                      <a:pt x="92" y="54"/>
                    </a:lnTo>
                    <a:lnTo>
                      <a:pt x="104" y="37"/>
                    </a:lnTo>
                    <a:lnTo>
                      <a:pt x="108" y="28"/>
                    </a:lnTo>
                    <a:lnTo>
                      <a:pt x="142" y="37"/>
                    </a:lnTo>
                    <a:lnTo>
                      <a:pt x="156" y="28"/>
                    </a:lnTo>
                    <a:lnTo>
                      <a:pt x="163" y="44"/>
                    </a:lnTo>
                    <a:lnTo>
                      <a:pt x="184" y="54"/>
                    </a:lnTo>
                    <a:lnTo>
                      <a:pt x="184" y="44"/>
                    </a:lnTo>
                    <a:lnTo>
                      <a:pt x="201" y="37"/>
                    </a:lnTo>
                    <a:lnTo>
                      <a:pt x="217" y="28"/>
                    </a:lnTo>
                    <a:lnTo>
                      <a:pt x="238" y="21"/>
                    </a:lnTo>
                    <a:lnTo>
                      <a:pt x="255" y="28"/>
                    </a:lnTo>
                    <a:lnTo>
                      <a:pt x="281" y="28"/>
                    </a:lnTo>
                    <a:lnTo>
                      <a:pt x="307" y="0"/>
                    </a:lnTo>
                    <a:lnTo>
                      <a:pt x="323" y="28"/>
                    </a:lnTo>
                    <a:lnTo>
                      <a:pt x="340" y="37"/>
                    </a:lnTo>
                    <a:lnTo>
                      <a:pt x="340" y="61"/>
                    </a:lnTo>
                    <a:lnTo>
                      <a:pt x="345" y="94"/>
                    </a:lnTo>
                    <a:lnTo>
                      <a:pt x="361" y="99"/>
                    </a:lnTo>
                    <a:lnTo>
                      <a:pt x="373" y="127"/>
                    </a:lnTo>
                    <a:lnTo>
                      <a:pt x="378" y="165"/>
                    </a:lnTo>
                    <a:lnTo>
                      <a:pt x="378" y="181"/>
                    </a:lnTo>
                    <a:lnTo>
                      <a:pt x="361" y="203"/>
                    </a:lnTo>
                    <a:lnTo>
                      <a:pt x="373" y="210"/>
                    </a:lnTo>
                    <a:lnTo>
                      <a:pt x="345" y="219"/>
                    </a:lnTo>
                    <a:lnTo>
                      <a:pt x="340" y="243"/>
                    </a:lnTo>
                    <a:lnTo>
                      <a:pt x="323" y="259"/>
                    </a:lnTo>
                    <a:lnTo>
                      <a:pt x="302" y="297"/>
                    </a:lnTo>
                    <a:lnTo>
                      <a:pt x="307" y="314"/>
                    </a:lnTo>
                    <a:lnTo>
                      <a:pt x="302" y="375"/>
                    </a:lnTo>
                    <a:lnTo>
                      <a:pt x="231" y="375"/>
                    </a:lnTo>
                    <a:lnTo>
                      <a:pt x="231" y="375"/>
                    </a:lnTo>
                    <a:lnTo>
                      <a:pt x="231" y="375"/>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87" name="Freeform 583">
                <a:extLst>
                  <a:ext uri="{FF2B5EF4-FFF2-40B4-BE49-F238E27FC236}">
                    <a16:creationId xmlns:a16="http://schemas.microsoft.com/office/drawing/2014/main" id="{62FD6721-3BC2-4296-97A9-D4442073F232}"/>
                  </a:ext>
                </a:extLst>
              </p:cNvPr>
              <p:cNvSpPr>
                <a:spLocks/>
              </p:cNvSpPr>
              <p:nvPr/>
            </p:nvSpPr>
            <p:spPr bwMode="gray">
              <a:xfrm>
                <a:off x="6566508" y="3615469"/>
                <a:ext cx="229712" cy="170862"/>
              </a:xfrm>
              <a:custGeom>
                <a:avLst/>
                <a:gdLst>
                  <a:gd name="T0" fmla="*/ 428 w 558"/>
                  <a:gd name="T1" fmla="*/ 304 h 415"/>
                  <a:gd name="T2" fmla="*/ 378 w 558"/>
                  <a:gd name="T3" fmla="*/ 288 h 415"/>
                  <a:gd name="T4" fmla="*/ 341 w 558"/>
                  <a:gd name="T5" fmla="*/ 304 h 415"/>
                  <a:gd name="T6" fmla="*/ 319 w 558"/>
                  <a:gd name="T7" fmla="*/ 293 h 415"/>
                  <a:gd name="T8" fmla="*/ 178 w 558"/>
                  <a:gd name="T9" fmla="*/ 316 h 415"/>
                  <a:gd name="T10" fmla="*/ 194 w 558"/>
                  <a:gd name="T11" fmla="*/ 399 h 415"/>
                  <a:gd name="T12" fmla="*/ 194 w 558"/>
                  <a:gd name="T13" fmla="*/ 415 h 415"/>
                  <a:gd name="T14" fmla="*/ 135 w 558"/>
                  <a:gd name="T15" fmla="*/ 370 h 415"/>
                  <a:gd name="T16" fmla="*/ 85 w 558"/>
                  <a:gd name="T17" fmla="*/ 399 h 415"/>
                  <a:gd name="T18" fmla="*/ 38 w 558"/>
                  <a:gd name="T19" fmla="*/ 370 h 415"/>
                  <a:gd name="T20" fmla="*/ 10 w 558"/>
                  <a:gd name="T21" fmla="*/ 349 h 415"/>
                  <a:gd name="T22" fmla="*/ 10 w 558"/>
                  <a:gd name="T23" fmla="*/ 309 h 415"/>
                  <a:gd name="T24" fmla="*/ 15 w 558"/>
                  <a:gd name="T25" fmla="*/ 288 h 415"/>
                  <a:gd name="T26" fmla="*/ 15 w 558"/>
                  <a:gd name="T27" fmla="*/ 233 h 415"/>
                  <a:gd name="T28" fmla="*/ 64 w 558"/>
                  <a:gd name="T29" fmla="*/ 217 h 415"/>
                  <a:gd name="T30" fmla="*/ 81 w 558"/>
                  <a:gd name="T31" fmla="*/ 181 h 415"/>
                  <a:gd name="T32" fmla="*/ 85 w 558"/>
                  <a:gd name="T33" fmla="*/ 165 h 415"/>
                  <a:gd name="T34" fmla="*/ 85 w 558"/>
                  <a:gd name="T35" fmla="*/ 144 h 415"/>
                  <a:gd name="T36" fmla="*/ 145 w 558"/>
                  <a:gd name="T37" fmla="*/ 139 h 415"/>
                  <a:gd name="T38" fmla="*/ 161 w 558"/>
                  <a:gd name="T39" fmla="*/ 127 h 415"/>
                  <a:gd name="T40" fmla="*/ 189 w 558"/>
                  <a:gd name="T41" fmla="*/ 106 h 415"/>
                  <a:gd name="T42" fmla="*/ 215 w 558"/>
                  <a:gd name="T43" fmla="*/ 54 h 415"/>
                  <a:gd name="T44" fmla="*/ 248 w 558"/>
                  <a:gd name="T45" fmla="*/ 66 h 415"/>
                  <a:gd name="T46" fmla="*/ 270 w 558"/>
                  <a:gd name="T47" fmla="*/ 37 h 415"/>
                  <a:gd name="T48" fmla="*/ 308 w 558"/>
                  <a:gd name="T49" fmla="*/ 16 h 415"/>
                  <a:gd name="T50" fmla="*/ 357 w 558"/>
                  <a:gd name="T51" fmla="*/ 0 h 415"/>
                  <a:gd name="T52" fmla="*/ 374 w 558"/>
                  <a:gd name="T53" fmla="*/ 0 h 415"/>
                  <a:gd name="T54" fmla="*/ 395 w 558"/>
                  <a:gd name="T55" fmla="*/ 37 h 415"/>
                  <a:gd name="T56" fmla="*/ 411 w 558"/>
                  <a:gd name="T57" fmla="*/ 66 h 415"/>
                  <a:gd name="T58" fmla="*/ 459 w 558"/>
                  <a:gd name="T59" fmla="*/ 111 h 415"/>
                  <a:gd name="T60" fmla="*/ 482 w 558"/>
                  <a:gd name="T61" fmla="*/ 127 h 415"/>
                  <a:gd name="T62" fmla="*/ 459 w 558"/>
                  <a:gd name="T63" fmla="*/ 144 h 415"/>
                  <a:gd name="T64" fmla="*/ 534 w 558"/>
                  <a:gd name="T65" fmla="*/ 177 h 415"/>
                  <a:gd name="T66" fmla="*/ 534 w 558"/>
                  <a:gd name="T67" fmla="*/ 198 h 415"/>
                  <a:gd name="T68" fmla="*/ 551 w 558"/>
                  <a:gd name="T69" fmla="*/ 250 h 415"/>
                  <a:gd name="T70" fmla="*/ 504 w 558"/>
                  <a:gd name="T71" fmla="*/ 271 h 415"/>
                  <a:gd name="T72" fmla="*/ 482 w 558"/>
                  <a:gd name="T73" fmla="*/ 271 h 415"/>
                  <a:gd name="T74" fmla="*/ 449 w 558"/>
                  <a:gd name="T75" fmla="*/ 293 h 415"/>
                  <a:gd name="T76" fmla="*/ 449 w 558"/>
                  <a:gd name="T77" fmla="*/ 293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8" h="415">
                    <a:moveTo>
                      <a:pt x="449" y="293"/>
                    </a:moveTo>
                    <a:lnTo>
                      <a:pt x="428" y="304"/>
                    </a:lnTo>
                    <a:lnTo>
                      <a:pt x="428" y="293"/>
                    </a:lnTo>
                    <a:lnTo>
                      <a:pt x="378" y="288"/>
                    </a:lnTo>
                    <a:lnTo>
                      <a:pt x="362" y="288"/>
                    </a:lnTo>
                    <a:lnTo>
                      <a:pt x="341" y="304"/>
                    </a:lnTo>
                    <a:lnTo>
                      <a:pt x="341" y="293"/>
                    </a:lnTo>
                    <a:lnTo>
                      <a:pt x="319" y="293"/>
                    </a:lnTo>
                    <a:lnTo>
                      <a:pt x="189" y="293"/>
                    </a:lnTo>
                    <a:lnTo>
                      <a:pt x="178" y="316"/>
                    </a:lnTo>
                    <a:lnTo>
                      <a:pt x="194" y="349"/>
                    </a:lnTo>
                    <a:lnTo>
                      <a:pt x="194" y="399"/>
                    </a:lnTo>
                    <a:lnTo>
                      <a:pt x="199" y="404"/>
                    </a:lnTo>
                    <a:lnTo>
                      <a:pt x="194" y="415"/>
                    </a:lnTo>
                    <a:lnTo>
                      <a:pt x="161" y="370"/>
                    </a:lnTo>
                    <a:lnTo>
                      <a:pt x="135" y="370"/>
                    </a:lnTo>
                    <a:lnTo>
                      <a:pt x="90" y="382"/>
                    </a:lnTo>
                    <a:lnTo>
                      <a:pt x="85" y="399"/>
                    </a:lnTo>
                    <a:lnTo>
                      <a:pt x="52" y="387"/>
                    </a:lnTo>
                    <a:lnTo>
                      <a:pt x="38" y="370"/>
                    </a:lnTo>
                    <a:lnTo>
                      <a:pt x="26" y="349"/>
                    </a:lnTo>
                    <a:lnTo>
                      <a:pt x="10" y="349"/>
                    </a:lnTo>
                    <a:lnTo>
                      <a:pt x="0" y="333"/>
                    </a:lnTo>
                    <a:lnTo>
                      <a:pt x="10" y="309"/>
                    </a:lnTo>
                    <a:lnTo>
                      <a:pt x="0" y="293"/>
                    </a:lnTo>
                    <a:lnTo>
                      <a:pt x="15" y="288"/>
                    </a:lnTo>
                    <a:lnTo>
                      <a:pt x="26" y="259"/>
                    </a:lnTo>
                    <a:lnTo>
                      <a:pt x="15" y="233"/>
                    </a:lnTo>
                    <a:lnTo>
                      <a:pt x="26" y="222"/>
                    </a:lnTo>
                    <a:lnTo>
                      <a:pt x="64" y="217"/>
                    </a:lnTo>
                    <a:lnTo>
                      <a:pt x="81" y="198"/>
                    </a:lnTo>
                    <a:lnTo>
                      <a:pt x="81" y="181"/>
                    </a:lnTo>
                    <a:lnTo>
                      <a:pt x="69" y="165"/>
                    </a:lnTo>
                    <a:lnTo>
                      <a:pt x="85" y="165"/>
                    </a:lnTo>
                    <a:lnTo>
                      <a:pt x="90" y="160"/>
                    </a:lnTo>
                    <a:lnTo>
                      <a:pt x="85" y="144"/>
                    </a:lnTo>
                    <a:lnTo>
                      <a:pt x="107" y="111"/>
                    </a:lnTo>
                    <a:lnTo>
                      <a:pt x="145" y="139"/>
                    </a:lnTo>
                    <a:lnTo>
                      <a:pt x="145" y="127"/>
                    </a:lnTo>
                    <a:lnTo>
                      <a:pt x="161" y="127"/>
                    </a:lnTo>
                    <a:lnTo>
                      <a:pt x="156" y="94"/>
                    </a:lnTo>
                    <a:lnTo>
                      <a:pt x="189" y="106"/>
                    </a:lnTo>
                    <a:lnTo>
                      <a:pt x="189" y="70"/>
                    </a:lnTo>
                    <a:lnTo>
                      <a:pt x="215" y="54"/>
                    </a:lnTo>
                    <a:lnTo>
                      <a:pt x="244" y="66"/>
                    </a:lnTo>
                    <a:lnTo>
                      <a:pt x="248" y="66"/>
                    </a:lnTo>
                    <a:lnTo>
                      <a:pt x="248" y="37"/>
                    </a:lnTo>
                    <a:lnTo>
                      <a:pt x="270" y="37"/>
                    </a:lnTo>
                    <a:lnTo>
                      <a:pt x="298" y="28"/>
                    </a:lnTo>
                    <a:lnTo>
                      <a:pt x="308" y="16"/>
                    </a:lnTo>
                    <a:lnTo>
                      <a:pt x="336" y="0"/>
                    </a:lnTo>
                    <a:lnTo>
                      <a:pt x="357" y="0"/>
                    </a:lnTo>
                    <a:lnTo>
                      <a:pt x="362" y="0"/>
                    </a:lnTo>
                    <a:lnTo>
                      <a:pt x="374" y="0"/>
                    </a:lnTo>
                    <a:lnTo>
                      <a:pt x="404" y="11"/>
                    </a:lnTo>
                    <a:lnTo>
                      <a:pt x="395" y="37"/>
                    </a:lnTo>
                    <a:lnTo>
                      <a:pt x="416" y="54"/>
                    </a:lnTo>
                    <a:lnTo>
                      <a:pt x="411" y="66"/>
                    </a:lnTo>
                    <a:lnTo>
                      <a:pt x="428" y="94"/>
                    </a:lnTo>
                    <a:lnTo>
                      <a:pt x="459" y="111"/>
                    </a:lnTo>
                    <a:lnTo>
                      <a:pt x="459" y="111"/>
                    </a:lnTo>
                    <a:lnTo>
                      <a:pt x="482" y="127"/>
                    </a:lnTo>
                    <a:lnTo>
                      <a:pt x="459" y="122"/>
                    </a:lnTo>
                    <a:lnTo>
                      <a:pt x="459" y="144"/>
                    </a:lnTo>
                    <a:lnTo>
                      <a:pt x="497" y="177"/>
                    </a:lnTo>
                    <a:lnTo>
                      <a:pt x="534" y="177"/>
                    </a:lnTo>
                    <a:lnTo>
                      <a:pt x="541" y="193"/>
                    </a:lnTo>
                    <a:lnTo>
                      <a:pt x="534" y="198"/>
                    </a:lnTo>
                    <a:lnTo>
                      <a:pt x="558" y="233"/>
                    </a:lnTo>
                    <a:lnTo>
                      <a:pt x="551" y="250"/>
                    </a:lnTo>
                    <a:lnTo>
                      <a:pt x="525" y="259"/>
                    </a:lnTo>
                    <a:lnTo>
                      <a:pt x="504" y="271"/>
                    </a:lnTo>
                    <a:lnTo>
                      <a:pt x="487" y="259"/>
                    </a:lnTo>
                    <a:lnTo>
                      <a:pt x="482" y="271"/>
                    </a:lnTo>
                    <a:lnTo>
                      <a:pt x="471" y="276"/>
                    </a:lnTo>
                    <a:lnTo>
                      <a:pt x="449" y="293"/>
                    </a:lnTo>
                    <a:lnTo>
                      <a:pt x="449" y="293"/>
                    </a:lnTo>
                    <a:lnTo>
                      <a:pt x="449" y="29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4" name="Freeform 590">
                <a:extLst>
                  <a:ext uri="{FF2B5EF4-FFF2-40B4-BE49-F238E27FC236}">
                    <a16:creationId xmlns:a16="http://schemas.microsoft.com/office/drawing/2014/main" id="{DB911501-A26D-41EC-A9BC-61CCBDA512B2}"/>
                  </a:ext>
                </a:extLst>
              </p:cNvPr>
              <p:cNvSpPr>
                <a:spLocks/>
              </p:cNvSpPr>
              <p:nvPr/>
            </p:nvSpPr>
            <p:spPr bwMode="gray">
              <a:xfrm>
                <a:off x="7066686" y="4573120"/>
                <a:ext cx="387792" cy="374661"/>
              </a:xfrm>
              <a:custGeom>
                <a:avLst/>
                <a:gdLst>
                  <a:gd name="T0" fmla="*/ 21 w 942"/>
                  <a:gd name="T1" fmla="*/ 17 h 910"/>
                  <a:gd name="T2" fmla="*/ 96 w 942"/>
                  <a:gd name="T3" fmla="*/ 0 h 910"/>
                  <a:gd name="T4" fmla="*/ 151 w 942"/>
                  <a:gd name="T5" fmla="*/ 38 h 910"/>
                  <a:gd name="T6" fmla="*/ 474 w 942"/>
                  <a:gd name="T7" fmla="*/ 55 h 910"/>
                  <a:gd name="T8" fmla="*/ 597 w 942"/>
                  <a:gd name="T9" fmla="*/ 71 h 910"/>
                  <a:gd name="T10" fmla="*/ 635 w 942"/>
                  <a:gd name="T11" fmla="*/ 76 h 910"/>
                  <a:gd name="T12" fmla="*/ 668 w 942"/>
                  <a:gd name="T13" fmla="*/ 76 h 910"/>
                  <a:gd name="T14" fmla="*/ 867 w 942"/>
                  <a:gd name="T15" fmla="*/ 38 h 910"/>
                  <a:gd name="T16" fmla="*/ 921 w 942"/>
                  <a:gd name="T17" fmla="*/ 50 h 910"/>
                  <a:gd name="T18" fmla="*/ 916 w 942"/>
                  <a:gd name="T19" fmla="*/ 59 h 910"/>
                  <a:gd name="T20" fmla="*/ 878 w 942"/>
                  <a:gd name="T21" fmla="*/ 76 h 910"/>
                  <a:gd name="T22" fmla="*/ 807 w 942"/>
                  <a:gd name="T23" fmla="*/ 76 h 910"/>
                  <a:gd name="T24" fmla="*/ 647 w 942"/>
                  <a:gd name="T25" fmla="*/ 383 h 910"/>
                  <a:gd name="T26" fmla="*/ 576 w 942"/>
                  <a:gd name="T27" fmla="*/ 586 h 910"/>
                  <a:gd name="T28" fmla="*/ 543 w 942"/>
                  <a:gd name="T29" fmla="*/ 881 h 910"/>
                  <a:gd name="T30" fmla="*/ 522 w 942"/>
                  <a:gd name="T31" fmla="*/ 898 h 910"/>
                  <a:gd name="T32" fmla="*/ 512 w 942"/>
                  <a:gd name="T33" fmla="*/ 910 h 910"/>
                  <a:gd name="T34" fmla="*/ 441 w 942"/>
                  <a:gd name="T35" fmla="*/ 910 h 910"/>
                  <a:gd name="T36" fmla="*/ 404 w 942"/>
                  <a:gd name="T37" fmla="*/ 903 h 910"/>
                  <a:gd name="T38" fmla="*/ 387 w 942"/>
                  <a:gd name="T39" fmla="*/ 898 h 910"/>
                  <a:gd name="T40" fmla="*/ 382 w 942"/>
                  <a:gd name="T41" fmla="*/ 853 h 910"/>
                  <a:gd name="T42" fmla="*/ 349 w 942"/>
                  <a:gd name="T43" fmla="*/ 848 h 910"/>
                  <a:gd name="T44" fmla="*/ 328 w 942"/>
                  <a:gd name="T45" fmla="*/ 886 h 910"/>
                  <a:gd name="T46" fmla="*/ 274 w 942"/>
                  <a:gd name="T47" fmla="*/ 841 h 910"/>
                  <a:gd name="T48" fmla="*/ 236 w 942"/>
                  <a:gd name="T49" fmla="*/ 759 h 910"/>
                  <a:gd name="T50" fmla="*/ 236 w 942"/>
                  <a:gd name="T51" fmla="*/ 730 h 910"/>
                  <a:gd name="T52" fmla="*/ 219 w 942"/>
                  <a:gd name="T53" fmla="*/ 714 h 910"/>
                  <a:gd name="T54" fmla="*/ 215 w 942"/>
                  <a:gd name="T55" fmla="*/ 664 h 910"/>
                  <a:gd name="T56" fmla="*/ 181 w 942"/>
                  <a:gd name="T57" fmla="*/ 537 h 910"/>
                  <a:gd name="T58" fmla="*/ 203 w 942"/>
                  <a:gd name="T59" fmla="*/ 466 h 910"/>
                  <a:gd name="T60" fmla="*/ 189 w 942"/>
                  <a:gd name="T61" fmla="*/ 425 h 910"/>
                  <a:gd name="T62" fmla="*/ 151 w 942"/>
                  <a:gd name="T63" fmla="*/ 366 h 910"/>
                  <a:gd name="T64" fmla="*/ 113 w 942"/>
                  <a:gd name="T65" fmla="*/ 293 h 910"/>
                  <a:gd name="T66" fmla="*/ 42 w 942"/>
                  <a:gd name="T67" fmla="*/ 149 h 910"/>
                  <a:gd name="T68" fmla="*/ 0 w 942"/>
                  <a:gd name="T69" fmla="*/ 88 h 910"/>
                  <a:gd name="T70" fmla="*/ 0 w 942"/>
                  <a:gd name="T71" fmla="*/ 22 h 910"/>
                  <a:gd name="T72" fmla="*/ 0 w 942"/>
                  <a:gd name="T73" fmla="*/ 22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2" h="910">
                    <a:moveTo>
                      <a:pt x="0" y="22"/>
                    </a:moveTo>
                    <a:lnTo>
                      <a:pt x="21" y="17"/>
                    </a:lnTo>
                    <a:lnTo>
                      <a:pt x="52" y="22"/>
                    </a:lnTo>
                    <a:lnTo>
                      <a:pt x="96" y="0"/>
                    </a:lnTo>
                    <a:lnTo>
                      <a:pt x="118" y="5"/>
                    </a:lnTo>
                    <a:lnTo>
                      <a:pt x="151" y="38"/>
                    </a:lnTo>
                    <a:lnTo>
                      <a:pt x="467" y="33"/>
                    </a:lnTo>
                    <a:lnTo>
                      <a:pt x="474" y="55"/>
                    </a:lnTo>
                    <a:lnTo>
                      <a:pt x="496" y="59"/>
                    </a:lnTo>
                    <a:lnTo>
                      <a:pt x="597" y="71"/>
                    </a:lnTo>
                    <a:lnTo>
                      <a:pt x="614" y="76"/>
                    </a:lnTo>
                    <a:lnTo>
                      <a:pt x="635" y="76"/>
                    </a:lnTo>
                    <a:lnTo>
                      <a:pt x="652" y="71"/>
                    </a:lnTo>
                    <a:lnTo>
                      <a:pt x="668" y="76"/>
                    </a:lnTo>
                    <a:lnTo>
                      <a:pt x="812" y="55"/>
                    </a:lnTo>
                    <a:lnTo>
                      <a:pt x="867" y="38"/>
                    </a:lnTo>
                    <a:lnTo>
                      <a:pt x="900" y="38"/>
                    </a:lnTo>
                    <a:lnTo>
                      <a:pt x="921" y="50"/>
                    </a:lnTo>
                    <a:lnTo>
                      <a:pt x="942" y="59"/>
                    </a:lnTo>
                    <a:lnTo>
                      <a:pt x="916" y="59"/>
                    </a:lnTo>
                    <a:lnTo>
                      <a:pt x="888" y="88"/>
                    </a:lnTo>
                    <a:lnTo>
                      <a:pt x="878" y="76"/>
                    </a:lnTo>
                    <a:lnTo>
                      <a:pt x="829" y="116"/>
                    </a:lnTo>
                    <a:lnTo>
                      <a:pt x="807" y="76"/>
                    </a:lnTo>
                    <a:lnTo>
                      <a:pt x="647" y="104"/>
                    </a:lnTo>
                    <a:lnTo>
                      <a:pt x="647" y="383"/>
                    </a:lnTo>
                    <a:lnTo>
                      <a:pt x="576" y="383"/>
                    </a:lnTo>
                    <a:lnTo>
                      <a:pt x="576" y="586"/>
                    </a:lnTo>
                    <a:lnTo>
                      <a:pt x="576" y="870"/>
                    </a:lnTo>
                    <a:lnTo>
                      <a:pt x="543" y="881"/>
                    </a:lnTo>
                    <a:lnTo>
                      <a:pt x="538" y="898"/>
                    </a:lnTo>
                    <a:lnTo>
                      <a:pt x="522" y="898"/>
                    </a:lnTo>
                    <a:lnTo>
                      <a:pt x="522" y="910"/>
                    </a:lnTo>
                    <a:lnTo>
                      <a:pt x="512" y="910"/>
                    </a:lnTo>
                    <a:lnTo>
                      <a:pt x="484" y="903"/>
                    </a:lnTo>
                    <a:lnTo>
                      <a:pt x="441" y="910"/>
                    </a:lnTo>
                    <a:lnTo>
                      <a:pt x="430" y="903"/>
                    </a:lnTo>
                    <a:lnTo>
                      <a:pt x="404" y="903"/>
                    </a:lnTo>
                    <a:lnTo>
                      <a:pt x="404" y="898"/>
                    </a:lnTo>
                    <a:lnTo>
                      <a:pt x="387" y="898"/>
                    </a:lnTo>
                    <a:lnTo>
                      <a:pt x="387" y="853"/>
                    </a:lnTo>
                    <a:lnTo>
                      <a:pt x="382" y="853"/>
                    </a:lnTo>
                    <a:lnTo>
                      <a:pt x="366" y="841"/>
                    </a:lnTo>
                    <a:lnTo>
                      <a:pt x="349" y="848"/>
                    </a:lnTo>
                    <a:lnTo>
                      <a:pt x="344" y="881"/>
                    </a:lnTo>
                    <a:lnTo>
                      <a:pt x="328" y="886"/>
                    </a:lnTo>
                    <a:lnTo>
                      <a:pt x="323" y="881"/>
                    </a:lnTo>
                    <a:lnTo>
                      <a:pt x="274" y="841"/>
                    </a:lnTo>
                    <a:lnTo>
                      <a:pt x="241" y="787"/>
                    </a:lnTo>
                    <a:lnTo>
                      <a:pt x="236" y="759"/>
                    </a:lnTo>
                    <a:lnTo>
                      <a:pt x="226" y="737"/>
                    </a:lnTo>
                    <a:lnTo>
                      <a:pt x="236" y="730"/>
                    </a:lnTo>
                    <a:lnTo>
                      <a:pt x="226" y="714"/>
                    </a:lnTo>
                    <a:lnTo>
                      <a:pt x="219" y="714"/>
                    </a:lnTo>
                    <a:lnTo>
                      <a:pt x="219" y="688"/>
                    </a:lnTo>
                    <a:lnTo>
                      <a:pt x="215" y="664"/>
                    </a:lnTo>
                    <a:lnTo>
                      <a:pt x="215" y="610"/>
                    </a:lnTo>
                    <a:lnTo>
                      <a:pt x="181" y="537"/>
                    </a:lnTo>
                    <a:lnTo>
                      <a:pt x="181" y="466"/>
                    </a:lnTo>
                    <a:lnTo>
                      <a:pt x="203" y="466"/>
                    </a:lnTo>
                    <a:lnTo>
                      <a:pt x="198" y="425"/>
                    </a:lnTo>
                    <a:lnTo>
                      <a:pt x="189" y="425"/>
                    </a:lnTo>
                    <a:lnTo>
                      <a:pt x="181" y="404"/>
                    </a:lnTo>
                    <a:lnTo>
                      <a:pt x="151" y="366"/>
                    </a:lnTo>
                    <a:lnTo>
                      <a:pt x="144" y="343"/>
                    </a:lnTo>
                    <a:lnTo>
                      <a:pt x="113" y="293"/>
                    </a:lnTo>
                    <a:lnTo>
                      <a:pt x="96" y="244"/>
                    </a:lnTo>
                    <a:lnTo>
                      <a:pt x="42" y="149"/>
                    </a:lnTo>
                    <a:lnTo>
                      <a:pt x="9" y="109"/>
                    </a:lnTo>
                    <a:lnTo>
                      <a:pt x="0" y="88"/>
                    </a:lnTo>
                    <a:lnTo>
                      <a:pt x="0" y="50"/>
                    </a:lnTo>
                    <a:lnTo>
                      <a:pt x="0" y="22"/>
                    </a:lnTo>
                    <a:lnTo>
                      <a:pt x="0" y="22"/>
                    </a:lnTo>
                    <a:lnTo>
                      <a:pt x="0" y="2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5" name="Freeform 591">
                <a:extLst>
                  <a:ext uri="{FF2B5EF4-FFF2-40B4-BE49-F238E27FC236}">
                    <a16:creationId xmlns:a16="http://schemas.microsoft.com/office/drawing/2014/main" id="{3FF02459-9C2A-4525-9D6E-85CE25130DDC}"/>
                  </a:ext>
                </a:extLst>
              </p:cNvPr>
              <p:cNvSpPr>
                <a:spLocks/>
              </p:cNvSpPr>
              <p:nvPr/>
            </p:nvSpPr>
            <p:spPr bwMode="gray">
              <a:xfrm>
                <a:off x="7733593" y="3065827"/>
                <a:ext cx="17702" cy="38702"/>
              </a:xfrm>
              <a:custGeom>
                <a:avLst/>
                <a:gdLst>
                  <a:gd name="T0" fmla="*/ 43 w 43"/>
                  <a:gd name="T1" fmla="*/ 21 h 94"/>
                  <a:gd name="T2" fmla="*/ 43 w 43"/>
                  <a:gd name="T3" fmla="*/ 83 h 94"/>
                  <a:gd name="T4" fmla="*/ 17 w 43"/>
                  <a:gd name="T5" fmla="*/ 94 h 94"/>
                  <a:gd name="T6" fmla="*/ 0 w 43"/>
                  <a:gd name="T7" fmla="*/ 94 h 94"/>
                  <a:gd name="T8" fmla="*/ 7 w 43"/>
                  <a:gd name="T9" fmla="*/ 71 h 94"/>
                  <a:gd name="T10" fmla="*/ 21 w 43"/>
                  <a:gd name="T11" fmla="*/ 61 h 94"/>
                  <a:gd name="T12" fmla="*/ 7 w 43"/>
                  <a:gd name="T13" fmla="*/ 54 h 94"/>
                  <a:gd name="T14" fmla="*/ 17 w 43"/>
                  <a:gd name="T15" fmla="*/ 5 h 94"/>
                  <a:gd name="T16" fmla="*/ 21 w 43"/>
                  <a:gd name="T17" fmla="*/ 0 h 94"/>
                  <a:gd name="T18" fmla="*/ 43 w 43"/>
                  <a:gd name="T19" fmla="*/ 17 h 94"/>
                  <a:gd name="T20" fmla="*/ 43 w 43"/>
                  <a:gd name="T21" fmla="*/ 21 h 94"/>
                  <a:gd name="T22" fmla="*/ 43 w 43"/>
                  <a:gd name="T23" fmla="*/ 21 h 94"/>
                  <a:gd name="T24" fmla="*/ 43 w 43"/>
                  <a:gd name="T25" fmla="*/ 2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94">
                    <a:moveTo>
                      <a:pt x="43" y="21"/>
                    </a:moveTo>
                    <a:lnTo>
                      <a:pt x="43" y="83"/>
                    </a:lnTo>
                    <a:lnTo>
                      <a:pt x="17" y="94"/>
                    </a:lnTo>
                    <a:lnTo>
                      <a:pt x="0" y="94"/>
                    </a:lnTo>
                    <a:lnTo>
                      <a:pt x="7" y="71"/>
                    </a:lnTo>
                    <a:lnTo>
                      <a:pt x="21" y="61"/>
                    </a:lnTo>
                    <a:lnTo>
                      <a:pt x="7" y="54"/>
                    </a:lnTo>
                    <a:lnTo>
                      <a:pt x="17" y="5"/>
                    </a:lnTo>
                    <a:lnTo>
                      <a:pt x="21" y="0"/>
                    </a:lnTo>
                    <a:lnTo>
                      <a:pt x="43" y="17"/>
                    </a:lnTo>
                    <a:lnTo>
                      <a:pt x="43" y="21"/>
                    </a:lnTo>
                    <a:lnTo>
                      <a:pt x="43" y="21"/>
                    </a:lnTo>
                    <a:lnTo>
                      <a:pt x="43" y="21"/>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6" name="Freeform 592">
                <a:extLst>
                  <a:ext uri="{FF2B5EF4-FFF2-40B4-BE49-F238E27FC236}">
                    <a16:creationId xmlns:a16="http://schemas.microsoft.com/office/drawing/2014/main" id="{32809C39-9EA8-4156-AB78-37A5C83203E8}"/>
                  </a:ext>
                </a:extLst>
              </p:cNvPr>
              <p:cNvSpPr>
                <a:spLocks/>
              </p:cNvSpPr>
              <p:nvPr/>
            </p:nvSpPr>
            <p:spPr bwMode="gray">
              <a:xfrm>
                <a:off x="6232232" y="3224338"/>
                <a:ext cx="244120" cy="215739"/>
              </a:xfrm>
              <a:custGeom>
                <a:avLst/>
                <a:gdLst>
                  <a:gd name="T0" fmla="*/ 196 w 593"/>
                  <a:gd name="T1" fmla="*/ 487 h 524"/>
                  <a:gd name="T2" fmla="*/ 12 w 593"/>
                  <a:gd name="T3" fmla="*/ 487 h 524"/>
                  <a:gd name="T4" fmla="*/ 0 w 593"/>
                  <a:gd name="T5" fmla="*/ 524 h 524"/>
                  <a:gd name="T6" fmla="*/ 0 w 593"/>
                  <a:gd name="T7" fmla="*/ 508 h 524"/>
                  <a:gd name="T8" fmla="*/ 12 w 593"/>
                  <a:gd name="T9" fmla="*/ 435 h 524"/>
                  <a:gd name="T10" fmla="*/ 28 w 593"/>
                  <a:gd name="T11" fmla="*/ 413 h 524"/>
                  <a:gd name="T12" fmla="*/ 38 w 593"/>
                  <a:gd name="T13" fmla="*/ 409 h 524"/>
                  <a:gd name="T14" fmla="*/ 71 w 593"/>
                  <a:gd name="T15" fmla="*/ 335 h 524"/>
                  <a:gd name="T16" fmla="*/ 92 w 593"/>
                  <a:gd name="T17" fmla="*/ 295 h 524"/>
                  <a:gd name="T18" fmla="*/ 92 w 593"/>
                  <a:gd name="T19" fmla="*/ 286 h 524"/>
                  <a:gd name="T20" fmla="*/ 71 w 593"/>
                  <a:gd name="T21" fmla="*/ 302 h 524"/>
                  <a:gd name="T22" fmla="*/ 158 w 593"/>
                  <a:gd name="T23" fmla="*/ 229 h 524"/>
                  <a:gd name="T24" fmla="*/ 163 w 593"/>
                  <a:gd name="T25" fmla="*/ 168 h 524"/>
                  <a:gd name="T26" fmla="*/ 179 w 593"/>
                  <a:gd name="T27" fmla="*/ 135 h 524"/>
                  <a:gd name="T28" fmla="*/ 179 w 593"/>
                  <a:gd name="T29" fmla="*/ 113 h 524"/>
                  <a:gd name="T30" fmla="*/ 250 w 593"/>
                  <a:gd name="T31" fmla="*/ 73 h 524"/>
                  <a:gd name="T32" fmla="*/ 272 w 593"/>
                  <a:gd name="T33" fmla="*/ 0 h 524"/>
                  <a:gd name="T34" fmla="*/ 593 w 593"/>
                  <a:gd name="T35" fmla="*/ 0 h 524"/>
                  <a:gd name="T36" fmla="*/ 593 w 593"/>
                  <a:gd name="T37" fmla="*/ 24 h 524"/>
                  <a:gd name="T38" fmla="*/ 593 w 593"/>
                  <a:gd name="T39" fmla="*/ 130 h 524"/>
                  <a:gd name="T40" fmla="*/ 359 w 593"/>
                  <a:gd name="T41" fmla="*/ 130 h 524"/>
                  <a:gd name="T42" fmla="*/ 359 w 593"/>
                  <a:gd name="T43" fmla="*/ 324 h 524"/>
                  <a:gd name="T44" fmla="*/ 321 w 593"/>
                  <a:gd name="T45" fmla="*/ 335 h 524"/>
                  <a:gd name="T46" fmla="*/ 283 w 593"/>
                  <a:gd name="T47" fmla="*/ 364 h 524"/>
                  <a:gd name="T48" fmla="*/ 288 w 593"/>
                  <a:gd name="T49" fmla="*/ 487 h 524"/>
                  <a:gd name="T50" fmla="*/ 196 w 593"/>
                  <a:gd name="T51" fmla="*/ 487 h 524"/>
                  <a:gd name="T52" fmla="*/ 196 w 593"/>
                  <a:gd name="T53" fmla="*/ 487 h 524"/>
                  <a:gd name="T54" fmla="*/ 196 w 593"/>
                  <a:gd name="T55" fmla="*/ 48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93" h="524">
                    <a:moveTo>
                      <a:pt x="196" y="487"/>
                    </a:moveTo>
                    <a:lnTo>
                      <a:pt x="12" y="487"/>
                    </a:lnTo>
                    <a:lnTo>
                      <a:pt x="0" y="524"/>
                    </a:lnTo>
                    <a:lnTo>
                      <a:pt x="0" y="508"/>
                    </a:lnTo>
                    <a:lnTo>
                      <a:pt x="12" y="435"/>
                    </a:lnTo>
                    <a:lnTo>
                      <a:pt x="28" y="413"/>
                    </a:lnTo>
                    <a:lnTo>
                      <a:pt x="38" y="409"/>
                    </a:lnTo>
                    <a:lnTo>
                      <a:pt x="71" y="335"/>
                    </a:lnTo>
                    <a:lnTo>
                      <a:pt x="92" y="295"/>
                    </a:lnTo>
                    <a:lnTo>
                      <a:pt x="92" y="286"/>
                    </a:lnTo>
                    <a:lnTo>
                      <a:pt x="71" y="302"/>
                    </a:lnTo>
                    <a:lnTo>
                      <a:pt x="158" y="229"/>
                    </a:lnTo>
                    <a:lnTo>
                      <a:pt x="163" y="168"/>
                    </a:lnTo>
                    <a:lnTo>
                      <a:pt x="179" y="135"/>
                    </a:lnTo>
                    <a:lnTo>
                      <a:pt x="179" y="113"/>
                    </a:lnTo>
                    <a:lnTo>
                      <a:pt x="250" y="73"/>
                    </a:lnTo>
                    <a:lnTo>
                      <a:pt x="272" y="0"/>
                    </a:lnTo>
                    <a:lnTo>
                      <a:pt x="593" y="0"/>
                    </a:lnTo>
                    <a:lnTo>
                      <a:pt x="593" y="24"/>
                    </a:lnTo>
                    <a:lnTo>
                      <a:pt x="593" y="130"/>
                    </a:lnTo>
                    <a:lnTo>
                      <a:pt x="359" y="130"/>
                    </a:lnTo>
                    <a:lnTo>
                      <a:pt x="359" y="324"/>
                    </a:lnTo>
                    <a:lnTo>
                      <a:pt x="321" y="335"/>
                    </a:lnTo>
                    <a:lnTo>
                      <a:pt x="283" y="364"/>
                    </a:lnTo>
                    <a:lnTo>
                      <a:pt x="288" y="487"/>
                    </a:lnTo>
                    <a:lnTo>
                      <a:pt x="196" y="487"/>
                    </a:lnTo>
                    <a:lnTo>
                      <a:pt x="196" y="487"/>
                    </a:lnTo>
                    <a:lnTo>
                      <a:pt x="196" y="487"/>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7" name="Freeform 594">
                <a:extLst>
                  <a:ext uri="{FF2B5EF4-FFF2-40B4-BE49-F238E27FC236}">
                    <a16:creationId xmlns:a16="http://schemas.microsoft.com/office/drawing/2014/main" id="{F0DC17D7-DDD7-4EED-9ADD-FEC096E34ABB}"/>
                  </a:ext>
                </a:extLst>
              </p:cNvPr>
              <p:cNvSpPr>
                <a:spLocks/>
              </p:cNvSpPr>
              <p:nvPr/>
            </p:nvSpPr>
            <p:spPr bwMode="gray">
              <a:xfrm>
                <a:off x="7615855" y="4846500"/>
                <a:ext cx="37050" cy="49818"/>
              </a:xfrm>
              <a:custGeom>
                <a:avLst/>
                <a:gdLst>
                  <a:gd name="T0" fmla="*/ 5 w 90"/>
                  <a:gd name="T1" fmla="*/ 76 h 121"/>
                  <a:gd name="T2" fmla="*/ 0 w 90"/>
                  <a:gd name="T3" fmla="*/ 76 h 121"/>
                  <a:gd name="T4" fmla="*/ 0 w 90"/>
                  <a:gd name="T5" fmla="*/ 50 h 121"/>
                  <a:gd name="T6" fmla="*/ 21 w 90"/>
                  <a:gd name="T7" fmla="*/ 17 h 121"/>
                  <a:gd name="T8" fmla="*/ 36 w 90"/>
                  <a:gd name="T9" fmla="*/ 0 h 121"/>
                  <a:gd name="T10" fmla="*/ 43 w 90"/>
                  <a:gd name="T11" fmla="*/ 0 h 121"/>
                  <a:gd name="T12" fmla="*/ 73 w 90"/>
                  <a:gd name="T13" fmla="*/ 17 h 121"/>
                  <a:gd name="T14" fmla="*/ 85 w 90"/>
                  <a:gd name="T15" fmla="*/ 17 h 121"/>
                  <a:gd name="T16" fmla="*/ 90 w 90"/>
                  <a:gd name="T17" fmla="*/ 33 h 121"/>
                  <a:gd name="T18" fmla="*/ 90 w 90"/>
                  <a:gd name="T19" fmla="*/ 87 h 121"/>
                  <a:gd name="T20" fmla="*/ 85 w 90"/>
                  <a:gd name="T21" fmla="*/ 76 h 121"/>
                  <a:gd name="T22" fmla="*/ 85 w 90"/>
                  <a:gd name="T23" fmla="*/ 121 h 121"/>
                  <a:gd name="T24" fmla="*/ 52 w 90"/>
                  <a:gd name="T25" fmla="*/ 121 h 121"/>
                  <a:gd name="T26" fmla="*/ 21 w 90"/>
                  <a:gd name="T27" fmla="*/ 109 h 121"/>
                  <a:gd name="T28" fmla="*/ 5 w 90"/>
                  <a:gd name="T29" fmla="*/ 76 h 121"/>
                  <a:gd name="T30" fmla="*/ 5 w 90"/>
                  <a:gd name="T31" fmla="*/ 76 h 121"/>
                  <a:gd name="T32" fmla="*/ 5 w 90"/>
                  <a:gd name="T33" fmla="*/ 7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21">
                    <a:moveTo>
                      <a:pt x="5" y="76"/>
                    </a:moveTo>
                    <a:lnTo>
                      <a:pt x="0" y="76"/>
                    </a:lnTo>
                    <a:lnTo>
                      <a:pt x="0" y="50"/>
                    </a:lnTo>
                    <a:lnTo>
                      <a:pt x="21" y="17"/>
                    </a:lnTo>
                    <a:lnTo>
                      <a:pt x="36" y="0"/>
                    </a:lnTo>
                    <a:lnTo>
                      <a:pt x="43" y="0"/>
                    </a:lnTo>
                    <a:lnTo>
                      <a:pt x="73" y="17"/>
                    </a:lnTo>
                    <a:lnTo>
                      <a:pt x="85" y="17"/>
                    </a:lnTo>
                    <a:lnTo>
                      <a:pt x="90" y="33"/>
                    </a:lnTo>
                    <a:lnTo>
                      <a:pt x="90" y="87"/>
                    </a:lnTo>
                    <a:lnTo>
                      <a:pt x="85" y="76"/>
                    </a:lnTo>
                    <a:lnTo>
                      <a:pt x="85" y="121"/>
                    </a:lnTo>
                    <a:lnTo>
                      <a:pt x="52" y="121"/>
                    </a:lnTo>
                    <a:lnTo>
                      <a:pt x="21" y="109"/>
                    </a:lnTo>
                    <a:lnTo>
                      <a:pt x="5" y="76"/>
                    </a:lnTo>
                    <a:lnTo>
                      <a:pt x="5" y="76"/>
                    </a:lnTo>
                    <a:lnTo>
                      <a:pt x="5" y="76"/>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8" name="Freeform 595">
                <a:extLst>
                  <a:ext uri="{FF2B5EF4-FFF2-40B4-BE49-F238E27FC236}">
                    <a16:creationId xmlns:a16="http://schemas.microsoft.com/office/drawing/2014/main" id="{7DB58A04-90E0-4690-8DF7-37CE8DEBB7DE}"/>
                  </a:ext>
                </a:extLst>
              </p:cNvPr>
              <p:cNvSpPr>
                <a:spLocks noEditPoints="1"/>
              </p:cNvSpPr>
              <p:nvPr/>
            </p:nvSpPr>
            <p:spPr bwMode="gray">
              <a:xfrm>
                <a:off x="7958365" y="3494836"/>
                <a:ext cx="339216" cy="210798"/>
              </a:xfrm>
              <a:custGeom>
                <a:avLst/>
                <a:gdLst>
                  <a:gd name="T0" fmla="*/ 21 w 824"/>
                  <a:gd name="T1" fmla="*/ 184 h 512"/>
                  <a:gd name="T2" fmla="*/ 38 w 824"/>
                  <a:gd name="T3" fmla="*/ 179 h 512"/>
                  <a:gd name="T4" fmla="*/ 38 w 824"/>
                  <a:gd name="T5" fmla="*/ 123 h 512"/>
                  <a:gd name="T6" fmla="*/ 63 w 824"/>
                  <a:gd name="T7" fmla="*/ 111 h 512"/>
                  <a:gd name="T8" fmla="*/ 123 w 824"/>
                  <a:gd name="T9" fmla="*/ 123 h 512"/>
                  <a:gd name="T10" fmla="*/ 252 w 824"/>
                  <a:gd name="T11" fmla="*/ 250 h 512"/>
                  <a:gd name="T12" fmla="*/ 656 w 824"/>
                  <a:gd name="T13" fmla="*/ 0 h 512"/>
                  <a:gd name="T14" fmla="*/ 694 w 824"/>
                  <a:gd name="T15" fmla="*/ 196 h 512"/>
                  <a:gd name="T16" fmla="*/ 661 w 824"/>
                  <a:gd name="T17" fmla="*/ 222 h 512"/>
                  <a:gd name="T18" fmla="*/ 602 w 824"/>
                  <a:gd name="T19" fmla="*/ 278 h 512"/>
                  <a:gd name="T20" fmla="*/ 522 w 824"/>
                  <a:gd name="T21" fmla="*/ 311 h 512"/>
                  <a:gd name="T22" fmla="*/ 446 w 824"/>
                  <a:gd name="T23" fmla="*/ 333 h 512"/>
                  <a:gd name="T24" fmla="*/ 425 w 824"/>
                  <a:gd name="T25" fmla="*/ 366 h 512"/>
                  <a:gd name="T26" fmla="*/ 371 w 824"/>
                  <a:gd name="T27" fmla="*/ 366 h 512"/>
                  <a:gd name="T28" fmla="*/ 281 w 824"/>
                  <a:gd name="T29" fmla="*/ 418 h 512"/>
                  <a:gd name="T30" fmla="*/ 193 w 824"/>
                  <a:gd name="T31" fmla="*/ 439 h 512"/>
                  <a:gd name="T32" fmla="*/ 172 w 824"/>
                  <a:gd name="T33" fmla="*/ 460 h 512"/>
                  <a:gd name="T34" fmla="*/ 160 w 824"/>
                  <a:gd name="T35" fmla="*/ 456 h 512"/>
                  <a:gd name="T36" fmla="*/ 156 w 824"/>
                  <a:gd name="T37" fmla="*/ 460 h 512"/>
                  <a:gd name="T38" fmla="*/ 118 w 824"/>
                  <a:gd name="T39" fmla="*/ 472 h 512"/>
                  <a:gd name="T40" fmla="*/ 63 w 824"/>
                  <a:gd name="T41" fmla="*/ 460 h 512"/>
                  <a:gd name="T42" fmla="*/ 54 w 824"/>
                  <a:gd name="T43" fmla="*/ 456 h 512"/>
                  <a:gd name="T44" fmla="*/ 38 w 824"/>
                  <a:gd name="T45" fmla="*/ 389 h 512"/>
                  <a:gd name="T46" fmla="*/ 16 w 824"/>
                  <a:gd name="T47" fmla="*/ 307 h 512"/>
                  <a:gd name="T48" fmla="*/ 0 w 824"/>
                  <a:gd name="T49" fmla="*/ 278 h 512"/>
                  <a:gd name="T50" fmla="*/ 12 w 824"/>
                  <a:gd name="T51" fmla="*/ 278 h 512"/>
                  <a:gd name="T52" fmla="*/ 12 w 824"/>
                  <a:gd name="T53" fmla="*/ 234 h 512"/>
                  <a:gd name="T54" fmla="*/ 12 w 824"/>
                  <a:gd name="T55" fmla="*/ 196 h 512"/>
                  <a:gd name="T56" fmla="*/ 12 w 824"/>
                  <a:gd name="T57" fmla="*/ 378 h 512"/>
                  <a:gd name="T58" fmla="*/ 12 w 824"/>
                  <a:gd name="T59" fmla="*/ 366 h 512"/>
                  <a:gd name="T60" fmla="*/ 12 w 824"/>
                  <a:gd name="T61" fmla="*/ 378 h 512"/>
                  <a:gd name="T62" fmla="*/ 808 w 824"/>
                  <a:gd name="T63" fmla="*/ 472 h 512"/>
                  <a:gd name="T64" fmla="*/ 803 w 824"/>
                  <a:gd name="T65" fmla="*/ 493 h 512"/>
                  <a:gd name="T66" fmla="*/ 749 w 824"/>
                  <a:gd name="T67" fmla="*/ 477 h 512"/>
                  <a:gd name="T68" fmla="*/ 775 w 824"/>
                  <a:gd name="T69" fmla="*/ 472 h 512"/>
                  <a:gd name="T70" fmla="*/ 808 w 824"/>
                  <a:gd name="T71" fmla="*/ 472 h 512"/>
                  <a:gd name="T72" fmla="*/ 808 w 824"/>
                  <a:gd name="T73" fmla="*/ 472 h 512"/>
                  <a:gd name="T74" fmla="*/ 656 w 824"/>
                  <a:gd name="T75" fmla="*/ 500 h 512"/>
                  <a:gd name="T76" fmla="*/ 678 w 824"/>
                  <a:gd name="T77" fmla="*/ 512 h 512"/>
                  <a:gd name="T78" fmla="*/ 678 w 824"/>
                  <a:gd name="T79" fmla="*/ 5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24" h="512">
                    <a:moveTo>
                      <a:pt x="12" y="196"/>
                    </a:moveTo>
                    <a:lnTo>
                      <a:pt x="21" y="184"/>
                    </a:lnTo>
                    <a:lnTo>
                      <a:pt x="33" y="179"/>
                    </a:lnTo>
                    <a:lnTo>
                      <a:pt x="38" y="179"/>
                    </a:lnTo>
                    <a:lnTo>
                      <a:pt x="33" y="156"/>
                    </a:lnTo>
                    <a:lnTo>
                      <a:pt x="38" y="123"/>
                    </a:lnTo>
                    <a:lnTo>
                      <a:pt x="49" y="111"/>
                    </a:lnTo>
                    <a:lnTo>
                      <a:pt x="63" y="111"/>
                    </a:lnTo>
                    <a:lnTo>
                      <a:pt x="87" y="127"/>
                    </a:lnTo>
                    <a:lnTo>
                      <a:pt x="123" y="123"/>
                    </a:lnTo>
                    <a:lnTo>
                      <a:pt x="252" y="179"/>
                    </a:lnTo>
                    <a:lnTo>
                      <a:pt x="252" y="250"/>
                    </a:lnTo>
                    <a:lnTo>
                      <a:pt x="425" y="56"/>
                    </a:lnTo>
                    <a:lnTo>
                      <a:pt x="656" y="0"/>
                    </a:lnTo>
                    <a:lnTo>
                      <a:pt x="732" y="179"/>
                    </a:lnTo>
                    <a:lnTo>
                      <a:pt x="694" y="196"/>
                    </a:lnTo>
                    <a:lnTo>
                      <a:pt x="668" y="200"/>
                    </a:lnTo>
                    <a:lnTo>
                      <a:pt x="661" y="222"/>
                    </a:lnTo>
                    <a:lnTo>
                      <a:pt x="661" y="255"/>
                    </a:lnTo>
                    <a:lnTo>
                      <a:pt x="602" y="278"/>
                    </a:lnTo>
                    <a:lnTo>
                      <a:pt x="550" y="295"/>
                    </a:lnTo>
                    <a:lnTo>
                      <a:pt x="522" y="311"/>
                    </a:lnTo>
                    <a:lnTo>
                      <a:pt x="505" y="311"/>
                    </a:lnTo>
                    <a:lnTo>
                      <a:pt x="446" y="333"/>
                    </a:lnTo>
                    <a:lnTo>
                      <a:pt x="441" y="349"/>
                    </a:lnTo>
                    <a:lnTo>
                      <a:pt x="425" y="366"/>
                    </a:lnTo>
                    <a:lnTo>
                      <a:pt x="392" y="378"/>
                    </a:lnTo>
                    <a:lnTo>
                      <a:pt x="371" y="366"/>
                    </a:lnTo>
                    <a:lnTo>
                      <a:pt x="333" y="401"/>
                    </a:lnTo>
                    <a:lnTo>
                      <a:pt x="281" y="418"/>
                    </a:lnTo>
                    <a:lnTo>
                      <a:pt x="210" y="423"/>
                    </a:lnTo>
                    <a:lnTo>
                      <a:pt x="193" y="439"/>
                    </a:lnTo>
                    <a:lnTo>
                      <a:pt x="172" y="444"/>
                    </a:lnTo>
                    <a:lnTo>
                      <a:pt x="172" y="460"/>
                    </a:lnTo>
                    <a:lnTo>
                      <a:pt x="160" y="460"/>
                    </a:lnTo>
                    <a:lnTo>
                      <a:pt x="160" y="456"/>
                    </a:lnTo>
                    <a:lnTo>
                      <a:pt x="156" y="460"/>
                    </a:lnTo>
                    <a:lnTo>
                      <a:pt x="156" y="460"/>
                    </a:lnTo>
                    <a:lnTo>
                      <a:pt x="130" y="456"/>
                    </a:lnTo>
                    <a:lnTo>
                      <a:pt x="118" y="472"/>
                    </a:lnTo>
                    <a:lnTo>
                      <a:pt x="92" y="477"/>
                    </a:lnTo>
                    <a:lnTo>
                      <a:pt x="63" y="460"/>
                    </a:lnTo>
                    <a:lnTo>
                      <a:pt x="54" y="472"/>
                    </a:lnTo>
                    <a:lnTo>
                      <a:pt x="54" y="456"/>
                    </a:lnTo>
                    <a:lnTo>
                      <a:pt x="38" y="434"/>
                    </a:lnTo>
                    <a:lnTo>
                      <a:pt x="38" y="389"/>
                    </a:lnTo>
                    <a:lnTo>
                      <a:pt x="33" y="378"/>
                    </a:lnTo>
                    <a:lnTo>
                      <a:pt x="16" y="307"/>
                    </a:lnTo>
                    <a:lnTo>
                      <a:pt x="16" y="290"/>
                    </a:lnTo>
                    <a:lnTo>
                      <a:pt x="0" y="278"/>
                    </a:lnTo>
                    <a:lnTo>
                      <a:pt x="0" y="271"/>
                    </a:lnTo>
                    <a:lnTo>
                      <a:pt x="12" y="278"/>
                    </a:lnTo>
                    <a:lnTo>
                      <a:pt x="0" y="250"/>
                    </a:lnTo>
                    <a:lnTo>
                      <a:pt x="12" y="234"/>
                    </a:lnTo>
                    <a:lnTo>
                      <a:pt x="12" y="196"/>
                    </a:lnTo>
                    <a:lnTo>
                      <a:pt x="12" y="196"/>
                    </a:lnTo>
                    <a:lnTo>
                      <a:pt x="12" y="196"/>
                    </a:lnTo>
                    <a:close/>
                    <a:moveTo>
                      <a:pt x="12" y="378"/>
                    </a:moveTo>
                    <a:lnTo>
                      <a:pt x="0" y="366"/>
                    </a:lnTo>
                    <a:lnTo>
                      <a:pt x="12" y="366"/>
                    </a:lnTo>
                    <a:lnTo>
                      <a:pt x="12" y="378"/>
                    </a:lnTo>
                    <a:lnTo>
                      <a:pt x="12" y="378"/>
                    </a:lnTo>
                    <a:lnTo>
                      <a:pt x="12" y="378"/>
                    </a:lnTo>
                    <a:close/>
                    <a:moveTo>
                      <a:pt x="808" y="472"/>
                    </a:moveTo>
                    <a:lnTo>
                      <a:pt x="824" y="477"/>
                    </a:lnTo>
                    <a:lnTo>
                      <a:pt x="803" y="493"/>
                    </a:lnTo>
                    <a:lnTo>
                      <a:pt x="770" y="493"/>
                    </a:lnTo>
                    <a:lnTo>
                      <a:pt x="749" y="477"/>
                    </a:lnTo>
                    <a:lnTo>
                      <a:pt x="753" y="460"/>
                    </a:lnTo>
                    <a:lnTo>
                      <a:pt x="775" y="472"/>
                    </a:lnTo>
                    <a:lnTo>
                      <a:pt x="803" y="472"/>
                    </a:lnTo>
                    <a:lnTo>
                      <a:pt x="808" y="472"/>
                    </a:lnTo>
                    <a:lnTo>
                      <a:pt x="808" y="472"/>
                    </a:lnTo>
                    <a:lnTo>
                      <a:pt x="808" y="472"/>
                    </a:lnTo>
                    <a:close/>
                    <a:moveTo>
                      <a:pt x="678" y="512"/>
                    </a:moveTo>
                    <a:lnTo>
                      <a:pt x="656" y="500"/>
                    </a:lnTo>
                    <a:lnTo>
                      <a:pt x="678" y="500"/>
                    </a:lnTo>
                    <a:lnTo>
                      <a:pt x="678" y="512"/>
                    </a:lnTo>
                    <a:lnTo>
                      <a:pt x="678" y="512"/>
                    </a:lnTo>
                    <a:lnTo>
                      <a:pt x="678" y="51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99" name="Freeform 596">
                <a:extLst>
                  <a:ext uri="{FF2B5EF4-FFF2-40B4-BE49-F238E27FC236}">
                    <a16:creationId xmlns:a16="http://schemas.microsoft.com/office/drawing/2014/main" id="{A67F97D6-894F-42A9-80B7-2C9612DD1BAF}"/>
                  </a:ext>
                </a:extLst>
              </p:cNvPr>
              <p:cNvSpPr>
                <a:spLocks/>
              </p:cNvSpPr>
              <p:nvPr/>
            </p:nvSpPr>
            <p:spPr bwMode="gray">
              <a:xfrm>
                <a:off x="7363090" y="4307563"/>
                <a:ext cx="335511" cy="300553"/>
              </a:xfrm>
              <a:custGeom>
                <a:avLst/>
                <a:gdLst>
                  <a:gd name="T0" fmla="*/ 593 w 815"/>
                  <a:gd name="T1" fmla="*/ 548 h 730"/>
                  <a:gd name="T2" fmla="*/ 487 w 815"/>
                  <a:gd name="T3" fmla="*/ 570 h 730"/>
                  <a:gd name="T4" fmla="*/ 404 w 815"/>
                  <a:gd name="T5" fmla="*/ 641 h 730"/>
                  <a:gd name="T6" fmla="*/ 350 w 815"/>
                  <a:gd name="T7" fmla="*/ 719 h 730"/>
                  <a:gd name="T8" fmla="*/ 291 w 815"/>
                  <a:gd name="T9" fmla="*/ 714 h 730"/>
                  <a:gd name="T10" fmla="*/ 260 w 815"/>
                  <a:gd name="T11" fmla="*/ 702 h 730"/>
                  <a:gd name="T12" fmla="*/ 227 w 815"/>
                  <a:gd name="T13" fmla="*/ 702 h 730"/>
                  <a:gd name="T14" fmla="*/ 184 w 815"/>
                  <a:gd name="T15" fmla="*/ 681 h 730"/>
                  <a:gd name="T16" fmla="*/ 97 w 815"/>
                  <a:gd name="T17" fmla="*/ 697 h 730"/>
                  <a:gd name="T18" fmla="*/ 5 w 815"/>
                  <a:gd name="T19" fmla="*/ 608 h 730"/>
                  <a:gd name="T20" fmla="*/ 0 w 815"/>
                  <a:gd name="T21" fmla="*/ 348 h 730"/>
                  <a:gd name="T22" fmla="*/ 130 w 815"/>
                  <a:gd name="T23" fmla="*/ 331 h 730"/>
                  <a:gd name="T24" fmla="*/ 135 w 815"/>
                  <a:gd name="T25" fmla="*/ 293 h 730"/>
                  <a:gd name="T26" fmla="*/ 147 w 815"/>
                  <a:gd name="T27" fmla="*/ 239 h 730"/>
                  <a:gd name="T28" fmla="*/ 168 w 815"/>
                  <a:gd name="T29" fmla="*/ 215 h 730"/>
                  <a:gd name="T30" fmla="*/ 168 w 815"/>
                  <a:gd name="T31" fmla="*/ 239 h 730"/>
                  <a:gd name="T32" fmla="*/ 227 w 815"/>
                  <a:gd name="T33" fmla="*/ 222 h 730"/>
                  <a:gd name="T34" fmla="*/ 236 w 815"/>
                  <a:gd name="T35" fmla="*/ 256 h 730"/>
                  <a:gd name="T36" fmla="*/ 335 w 815"/>
                  <a:gd name="T37" fmla="*/ 277 h 730"/>
                  <a:gd name="T38" fmla="*/ 350 w 815"/>
                  <a:gd name="T39" fmla="*/ 256 h 730"/>
                  <a:gd name="T40" fmla="*/ 366 w 815"/>
                  <a:gd name="T41" fmla="*/ 260 h 730"/>
                  <a:gd name="T42" fmla="*/ 387 w 815"/>
                  <a:gd name="T43" fmla="*/ 305 h 730"/>
                  <a:gd name="T44" fmla="*/ 454 w 815"/>
                  <a:gd name="T45" fmla="*/ 315 h 730"/>
                  <a:gd name="T46" fmla="*/ 470 w 815"/>
                  <a:gd name="T47" fmla="*/ 348 h 730"/>
                  <a:gd name="T48" fmla="*/ 496 w 815"/>
                  <a:gd name="T49" fmla="*/ 381 h 730"/>
                  <a:gd name="T50" fmla="*/ 539 w 815"/>
                  <a:gd name="T51" fmla="*/ 371 h 730"/>
                  <a:gd name="T52" fmla="*/ 546 w 815"/>
                  <a:gd name="T53" fmla="*/ 388 h 730"/>
                  <a:gd name="T54" fmla="*/ 524 w 815"/>
                  <a:gd name="T55" fmla="*/ 293 h 730"/>
                  <a:gd name="T56" fmla="*/ 508 w 815"/>
                  <a:gd name="T57" fmla="*/ 310 h 730"/>
                  <a:gd name="T58" fmla="*/ 475 w 815"/>
                  <a:gd name="T59" fmla="*/ 289 h 730"/>
                  <a:gd name="T60" fmla="*/ 442 w 815"/>
                  <a:gd name="T61" fmla="*/ 248 h 730"/>
                  <a:gd name="T62" fmla="*/ 470 w 815"/>
                  <a:gd name="T63" fmla="*/ 182 h 730"/>
                  <a:gd name="T64" fmla="*/ 470 w 815"/>
                  <a:gd name="T65" fmla="*/ 121 h 730"/>
                  <a:gd name="T66" fmla="*/ 442 w 815"/>
                  <a:gd name="T67" fmla="*/ 83 h 730"/>
                  <a:gd name="T68" fmla="*/ 487 w 815"/>
                  <a:gd name="T69" fmla="*/ 38 h 730"/>
                  <a:gd name="T70" fmla="*/ 614 w 815"/>
                  <a:gd name="T71" fmla="*/ 0 h 730"/>
                  <a:gd name="T72" fmla="*/ 659 w 815"/>
                  <a:gd name="T73" fmla="*/ 34 h 730"/>
                  <a:gd name="T74" fmla="*/ 702 w 815"/>
                  <a:gd name="T75" fmla="*/ 55 h 730"/>
                  <a:gd name="T76" fmla="*/ 728 w 815"/>
                  <a:gd name="T77" fmla="*/ 71 h 730"/>
                  <a:gd name="T78" fmla="*/ 761 w 815"/>
                  <a:gd name="T79" fmla="*/ 88 h 730"/>
                  <a:gd name="T80" fmla="*/ 782 w 815"/>
                  <a:gd name="T81" fmla="*/ 104 h 730"/>
                  <a:gd name="T82" fmla="*/ 794 w 815"/>
                  <a:gd name="T83" fmla="*/ 140 h 730"/>
                  <a:gd name="T84" fmla="*/ 810 w 815"/>
                  <a:gd name="T85" fmla="*/ 161 h 730"/>
                  <a:gd name="T86" fmla="*/ 810 w 815"/>
                  <a:gd name="T87" fmla="*/ 194 h 730"/>
                  <a:gd name="T88" fmla="*/ 798 w 815"/>
                  <a:gd name="T89" fmla="*/ 215 h 730"/>
                  <a:gd name="T90" fmla="*/ 794 w 815"/>
                  <a:gd name="T91" fmla="*/ 260 h 730"/>
                  <a:gd name="T92" fmla="*/ 794 w 815"/>
                  <a:gd name="T93" fmla="*/ 305 h 730"/>
                  <a:gd name="T94" fmla="*/ 794 w 815"/>
                  <a:gd name="T95" fmla="*/ 315 h 730"/>
                  <a:gd name="T96" fmla="*/ 765 w 815"/>
                  <a:gd name="T97" fmla="*/ 331 h 730"/>
                  <a:gd name="T98" fmla="*/ 761 w 815"/>
                  <a:gd name="T99" fmla="*/ 381 h 730"/>
                  <a:gd name="T100" fmla="*/ 765 w 815"/>
                  <a:gd name="T101" fmla="*/ 421 h 730"/>
                  <a:gd name="T102" fmla="*/ 777 w 815"/>
                  <a:gd name="T103" fmla="*/ 421 h 730"/>
                  <a:gd name="T104" fmla="*/ 576 w 815"/>
                  <a:gd name="T105" fmla="*/ 499 h 730"/>
                  <a:gd name="T106" fmla="*/ 576 w 815"/>
                  <a:gd name="T107" fmla="*/ 499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5" h="730">
                    <a:moveTo>
                      <a:pt x="576" y="499"/>
                    </a:moveTo>
                    <a:lnTo>
                      <a:pt x="593" y="548"/>
                    </a:lnTo>
                    <a:lnTo>
                      <a:pt x="529" y="548"/>
                    </a:lnTo>
                    <a:lnTo>
                      <a:pt x="487" y="570"/>
                    </a:lnTo>
                    <a:lnTo>
                      <a:pt x="470" y="608"/>
                    </a:lnTo>
                    <a:lnTo>
                      <a:pt x="404" y="641"/>
                    </a:lnTo>
                    <a:lnTo>
                      <a:pt x="387" y="674"/>
                    </a:lnTo>
                    <a:lnTo>
                      <a:pt x="350" y="719"/>
                    </a:lnTo>
                    <a:lnTo>
                      <a:pt x="328" y="730"/>
                    </a:lnTo>
                    <a:lnTo>
                      <a:pt x="291" y="714"/>
                    </a:lnTo>
                    <a:lnTo>
                      <a:pt x="274" y="719"/>
                    </a:lnTo>
                    <a:lnTo>
                      <a:pt x="260" y="702"/>
                    </a:lnTo>
                    <a:lnTo>
                      <a:pt x="243" y="714"/>
                    </a:lnTo>
                    <a:lnTo>
                      <a:pt x="227" y="702"/>
                    </a:lnTo>
                    <a:lnTo>
                      <a:pt x="206" y="690"/>
                    </a:lnTo>
                    <a:lnTo>
                      <a:pt x="184" y="681"/>
                    </a:lnTo>
                    <a:lnTo>
                      <a:pt x="151" y="681"/>
                    </a:lnTo>
                    <a:lnTo>
                      <a:pt x="97" y="697"/>
                    </a:lnTo>
                    <a:lnTo>
                      <a:pt x="80" y="681"/>
                    </a:lnTo>
                    <a:lnTo>
                      <a:pt x="5" y="608"/>
                    </a:lnTo>
                    <a:lnTo>
                      <a:pt x="0" y="586"/>
                    </a:lnTo>
                    <a:lnTo>
                      <a:pt x="0" y="348"/>
                    </a:lnTo>
                    <a:lnTo>
                      <a:pt x="135" y="359"/>
                    </a:lnTo>
                    <a:lnTo>
                      <a:pt x="130" y="331"/>
                    </a:lnTo>
                    <a:lnTo>
                      <a:pt x="147" y="310"/>
                    </a:lnTo>
                    <a:lnTo>
                      <a:pt x="135" y="293"/>
                    </a:lnTo>
                    <a:lnTo>
                      <a:pt x="135" y="256"/>
                    </a:lnTo>
                    <a:lnTo>
                      <a:pt x="147" y="239"/>
                    </a:lnTo>
                    <a:lnTo>
                      <a:pt x="135" y="199"/>
                    </a:lnTo>
                    <a:lnTo>
                      <a:pt x="168" y="215"/>
                    </a:lnTo>
                    <a:lnTo>
                      <a:pt x="161" y="232"/>
                    </a:lnTo>
                    <a:lnTo>
                      <a:pt x="168" y="239"/>
                    </a:lnTo>
                    <a:lnTo>
                      <a:pt x="189" y="232"/>
                    </a:lnTo>
                    <a:lnTo>
                      <a:pt x="227" y="222"/>
                    </a:lnTo>
                    <a:lnTo>
                      <a:pt x="227" y="232"/>
                    </a:lnTo>
                    <a:lnTo>
                      <a:pt x="236" y="256"/>
                    </a:lnTo>
                    <a:lnTo>
                      <a:pt x="274" y="272"/>
                    </a:lnTo>
                    <a:lnTo>
                      <a:pt x="335" y="277"/>
                    </a:lnTo>
                    <a:lnTo>
                      <a:pt x="345" y="272"/>
                    </a:lnTo>
                    <a:lnTo>
                      <a:pt x="350" y="256"/>
                    </a:lnTo>
                    <a:lnTo>
                      <a:pt x="361" y="248"/>
                    </a:lnTo>
                    <a:lnTo>
                      <a:pt x="366" y="260"/>
                    </a:lnTo>
                    <a:lnTo>
                      <a:pt x="383" y="277"/>
                    </a:lnTo>
                    <a:lnTo>
                      <a:pt x="387" y="305"/>
                    </a:lnTo>
                    <a:lnTo>
                      <a:pt x="404" y="305"/>
                    </a:lnTo>
                    <a:lnTo>
                      <a:pt x="454" y="315"/>
                    </a:lnTo>
                    <a:lnTo>
                      <a:pt x="458" y="343"/>
                    </a:lnTo>
                    <a:lnTo>
                      <a:pt x="470" y="348"/>
                    </a:lnTo>
                    <a:lnTo>
                      <a:pt x="491" y="381"/>
                    </a:lnTo>
                    <a:lnTo>
                      <a:pt x="496" y="381"/>
                    </a:lnTo>
                    <a:lnTo>
                      <a:pt x="529" y="371"/>
                    </a:lnTo>
                    <a:lnTo>
                      <a:pt x="539" y="371"/>
                    </a:lnTo>
                    <a:lnTo>
                      <a:pt x="529" y="381"/>
                    </a:lnTo>
                    <a:lnTo>
                      <a:pt x="546" y="388"/>
                    </a:lnTo>
                    <a:lnTo>
                      <a:pt x="546" y="293"/>
                    </a:lnTo>
                    <a:lnTo>
                      <a:pt x="524" y="293"/>
                    </a:lnTo>
                    <a:lnTo>
                      <a:pt x="524" y="310"/>
                    </a:lnTo>
                    <a:lnTo>
                      <a:pt x="508" y="310"/>
                    </a:lnTo>
                    <a:lnTo>
                      <a:pt x="491" y="310"/>
                    </a:lnTo>
                    <a:lnTo>
                      <a:pt x="475" y="289"/>
                    </a:lnTo>
                    <a:lnTo>
                      <a:pt x="454" y="272"/>
                    </a:lnTo>
                    <a:lnTo>
                      <a:pt x="442" y="248"/>
                    </a:lnTo>
                    <a:lnTo>
                      <a:pt x="458" y="199"/>
                    </a:lnTo>
                    <a:lnTo>
                      <a:pt x="470" y="182"/>
                    </a:lnTo>
                    <a:lnTo>
                      <a:pt x="458" y="149"/>
                    </a:lnTo>
                    <a:lnTo>
                      <a:pt x="470" y="121"/>
                    </a:lnTo>
                    <a:lnTo>
                      <a:pt x="454" y="88"/>
                    </a:lnTo>
                    <a:lnTo>
                      <a:pt x="442" y="83"/>
                    </a:lnTo>
                    <a:lnTo>
                      <a:pt x="475" y="50"/>
                    </a:lnTo>
                    <a:lnTo>
                      <a:pt x="487" y="38"/>
                    </a:lnTo>
                    <a:lnTo>
                      <a:pt x="487" y="29"/>
                    </a:lnTo>
                    <a:lnTo>
                      <a:pt x="614" y="0"/>
                    </a:lnTo>
                    <a:lnTo>
                      <a:pt x="631" y="34"/>
                    </a:lnTo>
                    <a:lnTo>
                      <a:pt x="659" y="34"/>
                    </a:lnTo>
                    <a:lnTo>
                      <a:pt x="676" y="55"/>
                    </a:lnTo>
                    <a:lnTo>
                      <a:pt x="702" y="55"/>
                    </a:lnTo>
                    <a:lnTo>
                      <a:pt x="702" y="67"/>
                    </a:lnTo>
                    <a:lnTo>
                      <a:pt x="728" y="71"/>
                    </a:lnTo>
                    <a:lnTo>
                      <a:pt x="739" y="83"/>
                    </a:lnTo>
                    <a:lnTo>
                      <a:pt x="761" y="88"/>
                    </a:lnTo>
                    <a:lnTo>
                      <a:pt x="765" y="104"/>
                    </a:lnTo>
                    <a:lnTo>
                      <a:pt x="782" y="104"/>
                    </a:lnTo>
                    <a:lnTo>
                      <a:pt x="794" y="128"/>
                    </a:lnTo>
                    <a:lnTo>
                      <a:pt x="794" y="140"/>
                    </a:lnTo>
                    <a:lnTo>
                      <a:pt x="810" y="149"/>
                    </a:lnTo>
                    <a:lnTo>
                      <a:pt x="810" y="161"/>
                    </a:lnTo>
                    <a:lnTo>
                      <a:pt x="815" y="178"/>
                    </a:lnTo>
                    <a:lnTo>
                      <a:pt x="810" y="194"/>
                    </a:lnTo>
                    <a:lnTo>
                      <a:pt x="782" y="199"/>
                    </a:lnTo>
                    <a:lnTo>
                      <a:pt x="798" y="215"/>
                    </a:lnTo>
                    <a:lnTo>
                      <a:pt x="782" y="239"/>
                    </a:lnTo>
                    <a:lnTo>
                      <a:pt x="794" y="260"/>
                    </a:lnTo>
                    <a:lnTo>
                      <a:pt x="782" y="293"/>
                    </a:lnTo>
                    <a:lnTo>
                      <a:pt x="794" y="305"/>
                    </a:lnTo>
                    <a:lnTo>
                      <a:pt x="810" y="310"/>
                    </a:lnTo>
                    <a:lnTo>
                      <a:pt x="794" y="315"/>
                    </a:lnTo>
                    <a:lnTo>
                      <a:pt x="765" y="326"/>
                    </a:lnTo>
                    <a:lnTo>
                      <a:pt x="765" y="331"/>
                    </a:lnTo>
                    <a:lnTo>
                      <a:pt x="765" y="348"/>
                    </a:lnTo>
                    <a:lnTo>
                      <a:pt x="761" y="381"/>
                    </a:lnTo>
                    <a:lnTo>
                      <a:pt x="744" y="397"/>
                    </a:lnTo>
                    <a:lnTo>
                      <a:pt x="765" y="421"/>
                    </a:lnTo>
                    <a:lnTo>
                      <a:pt x="777" y="426"/>
                    </a:lnTo>
                    <a:lnTo>
                      <a:pt x="777" y="421"/>
                    </a:lnTo>
                    <a:lnTo>
                      <a:pt x="782" y="426"/>
                    </a:lnTo>
                    <a:lnTo>
                      <a:pt x="576" y="499"/>
                    </a:lnTo>
                    <a:lnTo>
                      <a:pt x="576" y="499"/>
                    </a:lnTo>
                    <a:lnTo>
                      <a:pt x="576" y="49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00" name="Freeform 597">
                <a:extLst>
                  <a:ext uri="{FF2B5EF4-FFF2-40B4-BE49-F238E27FC236}">
                    <a16:creationId xmlns:a16="http://schemas.microsoft.com/office/drawing/2014/main" id="{F58B3CA0-5666-42EC-BA69-C39AD588E11C}"/>
                  </a:ext>
                </a:extLst>
              </p:cNvPr>
              <p:cNvSpPr>
                <a:spLocks/>
              </p:cNvSpPr>
              <p:nvPr/>
            </p:nvSpPr>
            <p:spPr bwMode="gray">
              <a:xfrm>
                <a:off x="7454480" y="4534418"/>
                <a:ext cx="228477" cy="206271"/>
              </a:xfrm>
              <a:custGeom>
                <a:avLst/>
                <a:gdLst>
                  <a:gd name="T0" fmla="*/ 506 w 555"/>
                  <a:gd name="T1" fmla="*/ 418 h 501"/>
                  <a:gd name="T2" fmla="*/ 397 w 555"/>
                  <a:gd name="T3" fmla="*/ 496 h 501"/>
                  <a:gd name="T4" fmla="*/ 317 w 555"/>
                  <a:gd name="T5" fmla="*/ 479 h 501"/>
                  <a:gd name="T6" fmla="*/ 284 w 555"/>
                  <a:gd name="T7" fmla="*/ 472 h 501"/>
                  <a:gd name="T8" fmla="*/ 267 w 555"/>
                  <a:gd name="T9" fmla="*/ 456 h 501"/>
                  <a:gd name="T10" fmla="*/ 196 w 555"/>
                  <a:gd name="T11" fmla="*/ 439 h 501"/>
                  <a:gd name="T12" fmla="*/ 175 w 555"/>
                  <a:gd name="T13" fmla="*/ 364 h 501"/>
                  <a:gd name="T14" fmla="*/ 137 w 555"/>
                  <a:gd name="T15" fmla="*/ 331 h 501"/>
                  <a:gd name="T16" fmla="*/ 66 w 555"/>
                  <a:gd name="T17" fmla="*/ 281 h 501"/>
                  <a:gd name="T18" fmla="*/ 50 w 555"/>
                  <a:gd name="T19" fmla="*/ 241 h 501"/>
                  <a:gd name="T20" fmla="*/ 0 w 555"/>
                  <a:gd name="T21" fmla="*/ 153 h 501"/>
                  <a:gd name="T22" fmla="*/ 33 w 555"/>
                  <a:gd name="T23" fmla="*/ 153 h 501"/>
                  <a:gd name="T24" fmla="*/ 66 w 555"/>
                  <a:gd name="T25" fmla="*/ 165 h 501"/>
                  <a:gd name="T26" fmla="*/ 125 w 555"/>
                  <a:gd name="T27" fmla="*/ 170 h 501"/>
                  <a:gd name="T28" fmla="*/ 180 w 555"/>
                  <a:gd name="T29" fmla="*/ 92 h 501"/>
                  <a:gd name="T30" fmla="*/ 262 w 555"/>
                  <a:gd name="T31" fmla="*/ 21 h 501"/>
                  <a:gd name="T32" fmla="*/ 371 w 555"/>
                  <a:gd name="T33" fmla="*/ 0 h 501"/>
                  <a:gd name="T34" fmla="*/ 423 w 555"/>
                  <a:gd name="T35" fmla="*/ 21 h 501"/>
                  <a:gd name="T36" fmla="*/ 451 w 555"/>
                  <a:gd name="T37" fmla="*/ 38 h 501"/>
                  <a:gd name="T38" fmla="*/ 501 w 555"/>
                  <a:gd name="T39" fmla="*/ 59 h 501"/>
                  <a:gd name="T40" fmla="*/ 532 w 555"/>
                  <a:gd name="T41" fmla="*/ 75 h 501"/>
                  <a:gd name="T42" fmla="*/ 539 w 555"/>
                  <a:gd name="T43" fmla="*/ 92 h 501"/>
                  <a:gd name="T44" fmla="*/ 543 w 555"/>
                  <a:gd name="T45" fmla="*/ 132 h 501"/>
                  <a:gd name="T46" fmla="*/ 539 w 555"/>
                  <a:gd name="T47" fmla="*/ 170 h 501"/>
                  <a:gd name="T48" fmla="*/ 555 w 555"/>
                  <a:gd name="T49" fmla="*/ 198 h 501"/>
                  <a:gd name="T50" fmla="*/ 539 w 555"/>
                  <a:gd name="T51" fmla="*/ 224 h 501"/>
                  <a:gd name="T52" fmla="*/ 522 w 555"/>
                  <a:gd name="T53" fmla="*/ 241 h 501"/>
                  <a:gd name="T54" fmla="*/ 532 w 555"/>
                  <a:gd name="T55" fmla="*/ 281 h 501"/>
                  <a:gd name="T56" fmla="*/ 539 w 555"/>
                  <a:gd name="T57" fmla="*/ 347 h 501"/>
                  <a:gd name="T58" fmla="*/ 506 w 555"/>
                  <a:gd name="T59" fmla="*/ 368 h 501"/>
                  <a:gd name="T60" fmla="*/ 501 w 555"/>
                  <a:gd name="T61" fmla="*/ 406 h 501"/>
                  <a:gd name="T62" fmla="*/ 506 w 555"/>
                  <a:gd name="T63" fmla="*/ 423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5" h="501">
                    <a:moveTo>
                      <a:pt x="506" y="423"/>
                    </a:moveTo>
                    <a:lnTo>
                      <a:pt x="506" y="418"/>
                    </a:lnTo>
                    <a:lnTo>
                      <a:pt x="430" y="501"/>
                    </a:lnTo>
                    <a:lnTo>
                      <a:pt x="397" y="496"/>
                    </a:lnTo>
                    <a:lnTo>
                      <a:pt x="359" y="496"/>
                    </a:lnTo>
                    <a:lnTo>
                      <a:pt x="317" y="479"/>
                    </a:lnTo>
                    <a:lnTo>
                      <a:pt x="288" y="489"/>
                    </a:lnTo>
                    <a:lnTo>
                      <a:pt x="284" y="472"/>
                    </a:lnTo>
                    <a:lnTo>
                      <a:pt x="267" y="472"/>
                    </a:lnTo>
                    <a:lnTo>
                      <a:pt x="267" y="456"/>
                    </a:lnTo>
                    <a:lnTo>
                      <a:pt x="234" y="439"/>
                    </a:lnTo>
                    <a:lnTo>
                      <a:pt x="196" y="439"/>
                    </a:lnTo>
                    <a:lnTo>
                      <a:pt x="175" y="401"/>
                    </a:lnTo>
                    <a:lnTo>
                      <a:pt x="175" y="364"/>
                    </a:lnTo>
                    <a:lnTo>
                      <a:pt x="142" y="364"/>
                    </a:lnTo>
                    <a:lnTo>
                      <a:pt x="137" y="331"/>
                    </a:lnTo>
                    <a:lnTo>
                      <a:pt x="104" y="314"/>
                    </a:lnTo>
                    <a:lnTo>
                      <a:pt x="66" y="281"/>
                    </a:lnTo>
                    <a:lnTo>
                      <a:pt x="50" y="253"/>
                    </a:lnTo>
                    <a:lnTo>
                      <a:pt x="50" y="241"/>
                    </a:lnTo>
                    <a:lnTo>
                      <a:pt x="0" y="182"/>
                    </a:lnTo>
                    <a:lnTo>
                      <a:pt x="0" y="153"/>
                    </a:lnTo>
                    <a:lnTo>
                      <a:pt x="17" y="165"/>
                    </a:lnTo>
                    <a:lnTo>
                      <a:pt x="33" y="153"/>
                    </a:lnTo>
                    <a:lnTo>
                      <a:pt x="50" y="170"/>
                    </a:lnTo>
                    <a:lnTo>
                      <a:pt x="66" y="165"/>
                    </a:lnTo>
                    <a:lnTo>
                      <a:pt x="104" y="182"/>
                    </a:lnTo>
                    <a:lnTo>
                      <a:pt x="125" y="170"/>
                    </a:lnTo>
                    <a:lnTo>
                      <a:pt x="163" y="125"/>
                    </a:lnTo>
                    <a:lnTo>
                      <a:pt x="180" y="92"/>
                    </a:lnTo>
                    <a:lnTo>
                      <a:pt x="246" y="59"/>
                    </a:lnTo>
                    <a:lnTo>
                      <a:pt x="262" y="21"/>
                    </a:lnTo>
                    <a:lnTo>
                      <a:pt x="305" y="0"/>
                    </a:lnTo>
                    <a:lnTo>
                      <a:pt x="371" y="0"/>
                    </a:lnTo>
                    <a:lnTo>
                      <a:pt x="371" y="21"/>
                    </a:lnTo>
                    <a:lnTo>
                      <a:pt x="423" y="21"/>
                    </a:lnTo>
                    <a:lnTo>
                      <a:pt x="435" y="38"/>
                    </a:lnTo>
                    <a:lnTo>
                      <a:pt x="451" y="38"/>
                    </a:lnTo>
                    <a:lnTo>
                      <a:pt x="468" y="54"/>
                    </a:lnTo>
                    <a:lnTo>
                      <a:pt x="501" y="59"/>
                    </a:lnTo>
                    <a:lnTo>
                      <a:pt x="522" y="71"/>
                    </a:lnTo>
                    <a:lnTo>
                      <a:pt x="532" y="75"/>
                    </a:lnTo>
                    <a:lnTo>
                      <a:pt x="543" y="75"/>
                    </a:lnTo>
                    <a:lnTo>
                      <a:pt x="539" y="92"/>
                    </a:lnTo>
                    <a:lnTo>
                      <a:pt x="543" y="125"/>
                    </a:lnTo>
                    <a:lnTo>
                      <a:pt x="543" y="132"/>
                    </a:lnTo>
                    <a:lnTo>
                      <a:pt x="543" y="142"/>
                    </a:lnTo>
                    <a:lnTo>
                      <a:pt x="539" y="170"/>
                    </a:lnTo>
                    <a:lnTo>
                      <a:pt x="543" y="186"/>
                    </a:lnTo>
                    <a:lnTo>
                      <a:pt x="555" y="198"/>
                    </a:lnTo>
                    <a:lnTo>
                      <a:pt x="539" y="208"/>
                    </a:lnTo>
                    <a:lnTo>
                      <a:pt x="539" y="224"/>
                    </a:lnTo>
                    <a:lnTo>
                      <a:pt x="522" y="236"/>
                    </a:lnTo>
                    <a:lnTo>
                      <a:pt x="522" y="241"/>
                    </a:lnTo>
                    <a:lnTo>
                      <a:pt x="539" y="253"/>
                    </a:lnTo>
                    <a:lnTo>
                      <a:pt x="532" y="281"/>
                    </a:lnTo>
                    <a:lnTo>
                      <a:pt x="555" y="307"/>
                    </a:lnTo>
                    <a:lnTo>
                      <a:pt x="539" y="347"/>
                    </a:lnTo>
                    <a:lnTo>
                      <a:pt x="522" y="364"/>
                    </a:lnTo>
                    <a:lnTo>
                      <a:pt x="506" y="368"/>
                    </a:lnTo>
                    <a:lnTo>
                      <a:pt x="517" y="385"/>
                    </a:lnTo>
                    <a:lnTo>
                      <a:pt x="501" y="406"/>
                    </a:lnTo>
                    <a:lnTo>
                      <a:pt x="506" y="423"/>
                    </a:lnTo>
                    <a:lnTo>
                      <a:pt x="506" y="423"/>
                    </a:lnTo>
                    <a:lnTo>
                      <a:pt x="506" y="42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01" name="Freeform 598">
                <a:extLst>
                  <a:ext uri="{FF2B5EF4-FFF2-40B4-BE49-F238E27FC236}">
                    <a16:creationId xmlns:a16="http://schemas.microsoft.com/office/drawing/2014/main" id="{6CE8A16D-774E-4921-9D15-88CFDDBA9951}"/>
                  </a:ext>
                </a:extLst>
              </p:cNvPr>
              <p:cNvSpPr>
                <a:spLocks/>
              </p:cNvSpPr>
              <p:nvPr/>
            </p:nvSpPr>
            <p:spPr bwMode="gray">
              <a:xfrm>
                <a:off x="7356503" y="3394376"/>
                <a:ext cx="483300" cy="411717"/>
              </a:xfrm>
              <a:custGeom>
                <a:avLst/>
                <a:gdLst>
                  <a:gd name="T0" fmla="*/ 67 w 497"/>
                  <a:gd name="T1" fmla="*/ 423 h 423"/>
                  <a:gd name="T2" fmla="*/ 119 w 497"/>
                  <a:gd name="T3" fmla="*/ 370 h 423"/>
                  <a:gd name="T4" fmla="*/ 186 w 497"/>
                  <a:gd name="T5" fmla="*/ 384 h 423"/>
                  <a:gd name="T6" fmla="*/ 210 w 497"/>
                  <a:gd name="T7" fmla="*/ 395 h 423"/>
                  <a:gd name="T8" fmla="*/ 238 w 497"/>
                  <a:gd name="T9" fmla="*/ 384 h 423"/>
                  <a:gd name="T10" fmla="*/ 257 w 497"/>
                  <a:gd name="T11" fmla="*/ 363 h 423"/>
                  <a:gd name="T12" fmla="*/ 289 w 497"/>
                  <a:gd name="T13" fmla="*/ 384 h 423"/>
                  <a:gd name="T14" fmla="*/ 325 w 497"/>
                  <a:gd name="T15" fmla="*/ 314 h 423"/>
                  <a:gd name="T16" fmla="*/ 337 w 497"/>
                  <a:gd name="T17" fmla="*/ 311 h 423"/>
                  <a:gd name="T18" fmla="*/ 352 w 497"/>
                  <a:gd name="T19" fmla="*/ 297 h 423"/>
                  <a:gd name="T20" fmla="*/ 372 w 497"/>
                  <a:gd name="T21" fmla="*/ 363 h 423"/>
                  <a:gd name="T22" fmla="*/ 375 w 497"/>
                  <a:gd name="T23" fmla="*/ 363 h 423"/>
                  <a:gd name="T24" fmla="*/ 388 w 497"/>
                  <a:gd name="T25" fmla="*/ 362 h 423"/>
                  <a:gd name="T26" fmla="*/ 390 w 497"/>
                  <a:gd name="T27" fmla="*/ 345 h 423"/>
                  <a:gd name="T28" fmla="*/ 395 w 497"/>
                  <a:gd name="T29" fmla="*/ 329 h 423"/>
                  <a:gd name="T30" fmla="*/ 413 w 497"/>
                  <a:gd name="T31" fmla="*/ 303 h 423"/>
                  <a:gd name="T32" fmla="*/ 427 w 497"/>
                  <a:gd name="T33" fmla="*/ 289 h 423"/>
                  <a:gd name="T34" fmla="*/ 433 w 497"/>
                  <a:gd name="T35" fmla="*/ 263 h 423"/>
                  <a:gd name="T36" fmla="*/ 433 w 497"/>
                  <a:gd name="T37" fmla="*/ 225 h 423"/>
                  <a:gd name="T38" fmla="*/ 445 w 497"/>
                  <a:gd name="T39" fmla="*/ 181 h 423"/>
                  <a:gd name="T40" fmla="*/ 449 w 497"/>
                  <a:gd name="T41" fmla="*/ 164 h 423"/>
                  <a:gd name="T42" fmla="*/ 465 w 497"/>
                  <a:gd name="T43" fmla="*/ 157 h 423"/>
                  <a:gd name="T44" fmla="*/ 488 w 497"/>
                  <a:gd name="T45" fmla="*/ 150 h 423"/>
                  <a:gd name="T46" fmla="*/ 495 w 497"/>
                  <a:gd name="T47" fmla="*/ 131 h 423"/>
                  <a:gd name="T48" fmla="*/ 472 w 497"/>
                  <a:gd name="T49" fmla="*/ 115 h 423"/>
                  <a:gd name="T50" fmla="*/ 463 w 497"/>
                  <a:gd name="T51" fmla="*/ 108 h 423"/>
                  <a:gd name="T52" fmla="*/ 456 w 497"/>
                  <a:gd name="T53" fmla="*/ 63 h 423"/>
                  <a:gd name="T54" fmla="*/ 452 w 497"/>
                  <a:gd name="T55" fmla="*/ 33 h 423"/>
                  <a:gd name="T56" fmla="*/ 458 w 497"/>
                  <a:gd name="T57" fmla="*/ 40 h 423"/>
                  <a:gd name="T58" fmla="*/ 449 w 497"/>
                  <a:gd name="T59" fmla="*/ 21 h 423"/>
                  <a:gd name="T60" fmla="*/ 285 w 497"/>
                  <a:gd name="T61" fmla="*/ 7 h 423"/>
                  <a:gd name="T62" fmla="*/ 285 w 497"/>
                  <a:gd name="T63" fmla="*/ 0 h 423"/>
                  <a:gd name="T64" fmla="*/ 93 w 497"/>
                  <a:gd name="T65" fmla="*/ 7 h 423"/>
                  <a:gd name="T66" fmla="*/ 63 w 497"/>
                  <a:gd name="T67" fmla="*/ 70 h 423"/>
                  <a:gd name="T68" fmla="*/ 63 w 497"/>
                  <a:gd name="T69" fmla="*/ 209 h 423"/>
                  <a:gd name="T70" fmla="*/ 34 w 497"/>
                  <a:gd name="T71" fmla="*/ 211 h 423"/>
                  <a:gd name="T72" fmla="*/ 34 w 497"/>
                  <a:gd name="T73" fmla="*/ 225 h 423"/>
                  <a:gd name="T74" fmla="*/ 25 w 497"/>
                  <a:gd name="T75" fmla="*/ 239 h 423"/>
                  <a:gd name="T76" fmla="*/ 22 w 497"/>
                  <a:gd name="T77" fmla="*/ 256 h 423"/>
                  <a:gd name="T78" fmla="*/ 9 w 497"/>
                  <a:gd name="T79" fmla="*/ 268 h 423"/>
                  <a:gd name="T80" fmla="*/ 6 w 497"/>
                  <a:gd name="T81" fmla="*/ 289 h 423"/>
                  <a:gd name="T82" fmla="*/ 6 w 497"/>
                  <a:gd name="T83" fmla="*/ 303 h 423"/>
                  <a:gd name="T84" fmla="*/ 11 w 497"/>
                  <a:gd name="T85" fmla="*/ 298 h 423"/>
                  <a:gd name="T86" fmla="*/ 18 w 497"/>
                  <a:gd name="T87" fmla="*/ 310 h 423"/>
                  <a:gd name="T88" fmla="*/ 22 w 497"/>
                  <a:gd name="T89" fmla="*/ 336 h 423"/>
                  <a:gd name="T90" fmla="*/ 32 w 497"/>
                  <a:gd name="T91" fmla="*/ 338 h 423"/>
                  <a:gd name="T92" fmla="*/ 32 w 497"/>
                  <a:gd name="T93" fmla="*/ 357 h 423"/>
                  <a:gd name="T94" fmla="*/ 54 w 497"/>
                  <a:gd name="T95" fmla="*/ 390 h 423"/>
                  <a:gd name="T96" fmla="*/ 52 w 497"/>
                  <a:gd name="T97" fmla="*/ 409 h 423"/>
                  <a:gd name="T98" fmla="*/ 52 w 497"/>
                  <a:gd name="T99" fmla="*/ 416 h 423"/>
                  <a:gd name="T100" fmla="*/ 67 w 497"/>
                  <a:gd name="T101" fmla="*/ 4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7" h="423">
                    <a:moveTo>
                      <a:pt x="67" y="423"/>
                    </a:moveTo>
                    <a:cubicBezTo>
                      <a:pt x="67" y="423"/>
                      <a:pt x="67" y="423"/>
                      <a:pt x="67" y="423"/>
                    </a:cubicBezTo>
                    <a:cubicBezTo>
                      <a:pt x="67" y="423"/>
                      <a:pt x="67" y="423"/>
                      <a:pt x="95" y="367"/>
                    </a:cubicBezTo>
                    <a:cubicBezTo>
                      <a:pt x="95" y="367"/>
                      <a:pt x="95" y="367"/>
                      <a:pt x="119" y="370"/>
                    </a:cubicBezTo>
                    <a:cubicBezTo>
                      <a:pt x="119" y="370"/>
                      <a:pt x="119" y="370"/>
                      <a:pt x="135" y="391"/>
                    </a:cubicBezTo>
                    <a:cubicBezTo>
                      <a:pt x="135" y="391"/>
                      <a:pt x="135" y="391"/>
                      <a:pt x="186" y="384"/>
                    </a:cubicBezTo>
                    <a:cubicBezTo>
                      <a:pt x="186" y="384"/>
                      <a:pt x="186" y="384"/>
                      <a:pt x="186" y="395"/>
                    </a:cubicBezTo>
                    <a:cubicBezTo>
                      <a:pt x="186" y="395"/>
                      <a:pt x="186" y="395"/>
                      <a:pt x="210" y="395"/>
                    </a:cubicBezTo>
                    <a:cubicBezTo>
                      <a:pt x="210" y="395"/>
                      <a:pt x="210" y="395"/>
                      <a:pt x="222" y="384"/>
                    </a:cubicBezTo>
                    <a:cubicBezTo>
                      <a:pt x="222" y="384"/>
                      <a:pt x="222" y="384"/>
                      <a:pt x="238" y="384"/>
                    </a:cubicBezTo>
                    <a:cubicBezTo>
                      <a:pt x="238" y="384"/>
                      <a:pt x="238" y="384"/>
                      <a:pt x="238" y="370"/>
                    </a:cubicBezTo>
                    <a:cubicBezTo>
                      <a:pt x="238" y="370"/>
                      <a:pt x="238" y="370"/>
                      <a:pt x="257" y="363"/>
                    </a:cubicBezTo>
                    <a:cubicBezTo>
                      <a:pt x="257" y="363"/>
                      <a:pt x="257" y="363"/>
                      <a:pt x="281" y="384"/>
                    </a:cubicBezTo>
                    <a:cubicBezTo>
                      <a:pt x="281" y="384"/>
                      <a:pt x="281" y="384"/>
                      <a:pt x="289" y="384"/>
                    </a:cubicBezTo>
                    <a:cubicBezTo>
                      <a:pt x="289" y="384"/>
                      <a:pt x="289" y="384"/>
                      <a:pt x="325" y="342"/>
                    </a:cubicBezTo>
                    <a:cubicBezTo>
                      <a:pt x="325" y="342"/>
                      <a:pt x="325" y="342"/>
                      <a:pt x="325" y="314"/>
                    </a:cubicBezTo>
                    <a:cubicBezTo>
                      <a:pt x="325" y="314"/>
                      <a:pt x="325" y="314"/>
                      <a:pt x="321" y="314"/>
                    </a:cubicBezTo>
                    <a:cubicBezTo>
                      <a:pt x="321" y="314"/>
                      <a:pt x="321" y="314"/>
                      <a:pt x="337" y="311"/>
                    </a:cubicBezTo>
                    <a:cubicBezTo>
                      <a:pt x="337" y="311"/>
                      <a:pt x="337" y="311"/>
                      <a:pt x="337" y="297"/>
                    </a:cubicBezTo>
                    <a:cubicBezTo>
                      <a:pt x="337" y="297"/>
                      <a:pt x="337" y="297"/>
                      <a:pt x="352" y="297"/>
                    </a:cubicBezTo>
                    <a:cubicBezTo>
                      <a:pt x="352" y="297"/>
                      <a:pt x="352" y="297"/>
                      <a:pt x="352" y="360"/>
                    </a:cubicBezTo>
                    <a:cubicBezTo>
                      <a:pt x="372" y="363"/>
                      <a:pt x="372" y="363"/>
                      <a:pt x="372" y="363"/>
                    </a:cubicBezTo>
                    <a:cubicBezTo>
                      <a:pt x="372" y="363"/>
                      <a:pt x="372" y="363"/>
                      <a:pt x="372" y="364"/>
                    </a:cubicBezTo>
                    <a:cubicBezTo>
                      <a:pt x="375" y="363"/>
                      <a:pt x="375" y="363"/>
                      <a:pt x="375" y="363"/>
                    </a:cubicBezTo>
                    <a:cubicBezTo>
                      <a:pt x="381" y="357"/>
                      <a:pt x="381" y="357"/>
                      <a:pt x="381" y="357"/>
                    </a:cubicBezTo>
                    <a:cubicBezTo>
                      <a:pt x="388" y="362"/>
                      <a:pt x="388" y="362"/>
                      <a:pt x="388" y="362"/>
                    </a:cubicBezTo>
                    <a:cubicBezTo>
                      <a:pt x="390" y="357"/>
                      <a:pt x="390" y="357"/>
                      <a:pt x="390" y="357"/>
                    </a:cubicBezTo>
                    <a:cubicBezTo>
                      <a:pt x="390" y="345"/>
                      <a:pt x="390" y="345"/>
                      <a:pt x="390" y="345"/>
                    </a:cubicBezTo>
                    <a:cubicBezTo>
                      <a:pt x="395" y="336"/>
                      <a:pt x="395" y="336"/>
                      <a:pt x="395" y="336"/>
                    </a:cubicBezTo>
                    <a:cubicBezTo>
                      <a:pt x="395" y="329"/>
                      <a:pt x="395" y="329"/>
                      <a:pt x="395" y="329"/>
                    </a:cubicBezTo>
                    <a:cubicBezTo>
                      <a:pt x="399" y="326"/>
                      <a:pt x="399" y="326"/>
                      <a:pt x="399" y="326"/>
                    </a:cubicBezTo>
                    <a:cubicBezTo>
                      <a:pt x="413" y="303"/>
                      <a:pt x="413" y="303"/>
                      <a:pt x="413" y="303"/>
                    </a:cubicBezTo>
                    <a:cubicBezTo>
                      <a:pt x="427" y="298"/>
                      <a:pt x="427" y="298"/>
                      <a:pt x="427" y="298"/>
                    </a:cubicBezTo>
                    <a:cubicBezTo>
                      <a:pt x="427" y="289"/>
                      <a:pt x="427" y="289"/>
                      <a:pt x="427" y="289"/>
                    </a:cubicBezTo>
                    <a:cubicBezTo>
                      <a:pt x="436" y="265"/>
                      <a:pt x="436" y="265"/>
                      <a:pt x="436" y="265"/>
                    </a:cubicBezTo>
                    <a:cubicBezTo>
                      <a:pt x="433" y="263"/>
                      <a:pt x="433" y="263"/>
                      <a:pt x="433" y="263"/>
                    </a:cubicBezTo>
                    <a:cubicBezTo>
                      <a:pt x="436" y="251"/>
                      <a:pt x="436" y="251"/>
                      <a:pt x="436" y="251"/>
                    </a:cubicBezTo>
                    <a:cubicBezTo>
                      <a:pt x="433" y="225"/>
                      <a:pt x="433" y="225"/>
                      <a:pt x="433" y="225"/>
                    </a:cubicBezTo>
                    <a:cubicBezTo>
                      <a:pt x="449" y="188"/>
                      <a:pt x="449" y="188"/>
                      <a:pt x="449" y="188"/>
                    </a:cubicBezTo>
                    <a:cubicBezTo>
                      <a:pt x="445" y="181"/>
                      <a:pt x="445" y="181"/>
                      <a:pt x="445" y="181"/>
                    </a:cubicBezTo>
                    <a:cubicBezTo>
                      <a:pt x="449" y="174"/>
                      <a:pt x="449" y="174"/>
                      <a:pt x="449" y="174"/>
                    </a:cubicBezTo>
                    <a:cubicBezTo>
                      <a:pt x="449" y="164"/>
                      <a:pt x="449" y="164"/>
                      <a:pt x="449" y="164"/>
                    </a:cubicBezTo>
                    <a:cubicBezTo>
                      <a:pt x="463" y="164"/>
                      <a:pt x="463" y="164"/>
                      <a:pt x="463" y="164"/>
                    </a:cubicBezTo>
                    <a:cubicBezTo>
                      <a:pt x="465" y="157"/>
                      <a:pt x="465" y="157"/>
                      <a:pt x="465" y="157"/>
                    </a:cubicBezTo>
                    <a:cubicBezTo>
                      <a:pt x="481" y="148"/>
                      <a:pt x="481" y="148"/>
                      <a:pt x="481" y="148"/>
                    </a:cubicBezTo>
                    <a:cubicBezTo>
                      <a:pt x="488" y="150"/>
                      <a:pt x="488" y="150"/>
                      <a:pt x="488" y="150"/>
                    </a:cubicBezTo>
                    <a:cubicBezTo>
                      <a:pt x="497" y="134"/>
                      <a:pt x="497" y="134"/>
                      <a:pt x="497" y="134"/>
                    </a:cubicBezTo>
                    <a:cubicBezTo>
                      <a:pt x="495" y="131"/>
                      <a:pt x="495" y="131"/>
                      <a:pt x="495" y="131"/>
                    </a:cubicBezTo>
                    <a:cubicBezTo>
                      <a:pt x="481" y="124"/>
                      <a:pt x="481" y="124"/>
                      <a:pt x="481" y="124"/>
                    </a:cubicBezTo>
                    <a:cubicBezTo>
                      <a:pt x="472" y="115"/>
                      <a:pt x="472" y="115"/>
                      <a:pt x="472" y="115"/>
                    </a:cubicBezTo>
                    <a:cubicBezTo>
                      <a:pt x="465" y="110"/>
                      <a:pt x="465" y="110"/>
                      <a:pt x="465" y="110"/>
                    </a:cubicBezTo>
                    <a:cubicBezTo>
                      <a:pt x="463" y="108"/>
                      <a:pt x="463" y="108"/>
                      <a:pt x="463" y="108"/>
                    </a:cubicBezTo>
                    <a:cubicBezTo>
                      <a:pt x="458" y="84"/>
                      <a:pt x="458" y="84"/>
                      <a:pt x="458" y="84"/>
                    </a:cubicBezTo>
                    <a:cubicBezTo>
                      <a:pt x="456" y="63"/>
                      <a:pt x="456" y="63"/>
                      <a:pt x="456" y="63"/>
                    </a:cubicBezTo>
                    <a:cubicBezTo>
                      <a:pt x="456" y="54"/>
                      <a:pt x="456" y="54"/>
                      <a:pt x="456" y="54"/>
                    </a:cubicBezTo>
                    <a:cubicBezTo>
                      <a:pt x="452" y="33"/>
                      <a:pt x="452" y="33"/>
                      <a:pt x="452" y="33"/>
                    </a:cubicBezTo>
                    <a:cubicBezTo>
                      <a:pt x="456" y="37"/>
                      <a:pt x="456" y="37"/>
                      <a:pt x="456" y="37"/>
                    </a:cubicBezTo>
                    <a:cubicBezTo>
                      <a:pt x="458" y="40"/>
                      <a:pt x="458" y="40"/>
                      <a:pt x="458" y="40"/>
                    </a:cubicBezTo>
                    <a:cubicBezTo>
                      <a:pt x="458" y="37"/>
                      <a:pt x="458" y="37"/>
                      <a:pt x="458" y="37"/>
                    </a:cubicBezTo>
                    <a:cubicBezTo>
                      <a:pt x="449" y="21"/>
                      <a:pt x="449" y="21"/>
                      <a:pt x="449" y="21"/>
                    </a:cubicBezTo>
                    <a:cubicBezTo>
                      <a:pt x="445" y="7"/>
                      <a:pt x="445" y="7"/>
                      <a:pt x="445" y="7"/>
                    </a:cubicBezTo>
                    <a:cubicBezTo>
                      <a:pt x="285" y="7"/>
                      <a:pt x="285" y="7"/>
                      <a:pt x="285" y="7"/>
                    </a:cubicBezTo>
                    <a:cubicBezTo>
                      <a:pt x="290" y="4"/>
                      <a:pt x="290" y="4"/>
                      <a:pt x="290" y="4"/>
                    </a:cubicBezTo>
                    <a:cubicBezTo>
                      <a:pt x="285" y="0"/>
                      <a:pt x="285" y="0"/>
                      <a:pt x="285" y="0"/>
                    </a:cubicBezTo>
                    <a:cubicBezTo>
                      <a:pt x="280" y="7"/>
                      <a:pt x="280" y="7"/>
                      <a:pt x="280" y="7"/>
                    </a:cubicBezTo>
                    <a:cubicBezTo>
                      <a:pt x="93" y="7"/>
                      <a:pt x="93" y="7"/>
                      <a:pt x="93" y="7"/>
                    </a:cubicBezTo>
                    <a:cubicBezTo>
                      <a:pt x="93" y="70"/>
                      <a:pt x="93" y="70"/>
                      <a:pt x="93" y="70"/>
                    </a:cubicBezTo>
                    <a:cubicBezTo>
                      <a:pt x="63" y="70"/>
                      <a:pt x="63" y="70"/>
                      <a:pt x="63" y="70"/>
                    </a:cubicBezTo>
                    <a:cubicBezTo>
                      <a:pt x="63" y="87"/>
                      <a:pt x="63" y="87"/>
                      <a:pt x="63" y="87"/>
                    </a:cubicBezTo>
                    <a:cubicBezTo>
                      <a:pt x="63" y="209"/>
                      <a:pt x="63" y="209"/>
                      <a:pt x="63" y="209"/>
                    </a:cubicBezTo>
                    <a:cubicBezTo>
                      <a:pt x="38" y="209"/>
                      <a:pt x="38" y="209"/>
                      <a:pt x="38" y="209"/>
                    </a:cubicBezTo>
                    <a:cubicBezTo>
                      <a:pt x="34" y="211"/>
                      <a:pt x="34" y="211"/>
                      <a:pt x="34" y="211"/>
                    </a:cubicBezTo>
                    <a:cubicBezTo>
                      <a:pt x="34" y="218"/>
                      <a:pt x="34" y="218"/>
                      <a:pt x="34" y="218"/>
                    </a:cubicBezTo>
                    <a:cubicBezTo>
                      <a:pt x="34" y="225"/>
                      <a:pt x="34" y="225"/>
                      <a:pt x="34" y="225"/>
                    </a:cubicBezTo>
                    <a:cubicBezTo>
                      <a:pt x="25" y="235"/>
                      <a:pt x="25" y="235"/>
                      <a:pt x="25" y="235"/>
                    </a:cubicBezTo>
                    <a:cubicBezTo>
                      <a:pt x="25" y="239"/>
                      <a:pt x="25" y="239"/>
                      <a:pt x="25" y="239"/>
                    </a:cubicBezTo>
                    <a:cubicBezTo>
                      <a:pt x="18" y="242"/>
                      <a:pt x="18" y="242"/>
                      <a:pt x="18" y="242"/>
                    </a:cubicBezTo>
                    <a:cubicBezTo>
                      <a:pt x="22" y="256"/>
                      <a:pt x="22" y="256"/>
                      <a:pt x="22" y="256"/>
                    </a:cubicBezTo>
                    <a:cubicBezTo>
                      <a:pt x="11" y="263"/>
                      <a:pt x="11" y="263"/>
                      <a:pt x="11" y="263"/>
                    </a:cubicBezTo>
                    <a:cubicBezTo>
                      <a:pt x="9" y="268"/>
                      <a:pt x="9" y="268"/>
                      <a:pt x="9" y="268"/>
                    </a:cubicBezTo>
                    <a:cubicBezTo>
                      <a:pt x="16" y="279"/>
                      <a:pt x="16" y="279"/>
                      <a:pt x="16" y="279"/>
                    </a:cubicBezTo>
                    <a:cubicBezTo>
                      <a:pt x="6" y="289"/>
                      <a:pt x="6" y="289"/>
                      <a:pt x="6" y="289"/>
                    </a:cubicBezTo>
                    <a:cubicBezTo>
                      <a:pt x="0" y="298"/>
                      <a:pt x="0" y="298"/>
                      <a:pt x="0" y="298"/>
                    </a:cubicBezTo>
                    <a:cubicBezTo>
                      <a:pt x="6" y="303"/>
                      <a:pt x="6" y="303"/>
                      <a:pt x="6" y="303"/>
                    </a:cubicBezTo>
                    <a:cubicBezTo>
                      <a:pt x="9" y="303"/>
                      <a:pt x="9" y="303"/>
                      <a:pt x="9" y="303"/>
                    </a:cubicBezTo>
                    <a:cubicBezTo>
                      <a:pt x="11" y="298"/>
                      <a:pt x="11" y="298"/>
                      <a:pt x="11" y="298"/>
                    </a:cubicBezTo>
                    <a:cubicBezTo>
                      <a:pt x="18" y="303"/>
                      <a:pt x="18" y="303"/>
                      <a:pt x="18" y="303"/>
                    </a:cubicBezTo>
                    <a:cubicBezTo>
                      <a:pt x="18" y="310"/>
                      <a:pt x="18" y="310"/>
                      <a:pt x="18" y="310"/>
                    </a:cubicBezTo>
                    <a:cubicBezTo>
                      <a:pt x="25" y="322"/>
                      <a:pt x="25" y="322"/>
                      <a:pt x="25" y="322"/>
                    </a:cubicBezTo>
                    <a:cubicBezTo>
                      <a:pt x="22" y="336"/>
                      <a:pt x="22" y="336"/>
                      <a:pt x="22" y="336"/>
                    </a:cubicBezTo>
                    <a:cubicBezTo>
                      <a:pt x="29" y="338"/>
                      <a:pt x="29" y="338"/>
                      <a:pt x="29" y="338"/>
                    </a:cubicBezTo>
                    <a:cubicBezTo>
                      <a:pt x="32" y="338"/>
                      <a:pt x="32" y="338"/>
                      <a:pt x="32" y="338"/>
                    </a:cubicBezTo>
                    <a:cubicBezTo>
                      <a:pt x="34" y="345"/>
                      <a:pt x="34" y="345"/>
                      <a:pt x="34" y="345"/>
                    </a:cubicBezTo>
                    <a:cubicBezTo>
                      <a:pt x="32" y="357"/>
                      <a:pt x="32" y="357"/>
                      <a:pt x="32" y="357"/>
                    </a:cubicBezTo>
                    <a:cubicBezTo>
                      <a:pt x="45" y="369"/>
                      <a:pt x="45" y="369"/>
                      <a:pt x="45" y="369"/>
                    </a:cubicBezTo>
                    <a:cubicBezTo>
                      <a:pt x="54" y="390"/>
                      <a:pt x="54" y="390"/>
                      <a:pt x="54" y="390"/>
                    </a:cubicBezTo>
                    <a:cubicBezTo>
                      <a:pt x="54" y="406"/>
                      <a:pt x="54" y="406"/>
                      <a:pt x="54" y="406"/>
                    </a:cubicBezTo>
                    <a:cubicBezTo>
                      <a:pt x="52" y="409"/>
                      <a:pt x="52" y="409"/>
                      <a:pt x="52" y="409"/>
                    </a:cubicBezTo>
                    <a:cubicBezTo>
                      <a:pt x="47" y="413"/>
                      <a:pt x="47" y="413"/>
                      <a:pt x="47" y="413"/>
                    </a:cubicBezTo>
                    <a:cubicBezTo>
                      <a:pt x="52" y="416"/>
                      <a:pt x="52" y="416"/>
                      <a:pt x="52" y="416"/>
                    </a:cubicBezTo>
                    <a:cubicBezTo>
                      <a:pt x="52" y="423"/>
                      <a:pt x="52" y="423"/>
                      <a:pt x="52" y="423"/>
                    </a:cubicBezTo>
                    <a:lnTo>
                      <a:pt x="67" y="423"/>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02" name="Freeform 599">
                <a:extLst>
                  <a:ext uri="{FF2B5EF4-FFF2-40B4-BE49-F238E27FC236}">
                    <a16:creationId xmlns:a16="http://schemas.microsoft.com/office/drawing/2014/main" id="{6F4475E7-A57D-49A2-B8D4-A58E9F825234}"/>
                  </a:ext>
                </a:extLst>
              </p:cNvPr>
              <p:cNvSpPr>
                <a:spLocks/>
              </p:cNvSpPr>
              <p:nvPr/>
            </p:nvSpPr>
            <p:spPr bwMode="gray">
              <a:xfrm>
                <a:off x="7421547" y="3683402"/>
                <a:ext cx="343333" cy="279967"/>
              </a:xfrm>
              <a:custGeom>
                <a:avLst/>
                <a:gdLst>
                  <a:gd name="T0" fmla="*/ 339 w 353"/>
                  <a:gd name="T1" fmla="*/ 227 h 288"/>
                  <a:gd name="T2" fmla="*/ 332 w 353"/>
                  <a:gd name="T3" fmla="*/ 227 h 288"/>
                  <a:gd name="T4" fmla="*/ 323 w 353"/>
                  <a:gd name="T5" fmla="*/ 210 h 288"/>
                  <a:gd name="T6" fmla="*/ 309 w 353"/>
                  <a:gd name="T7" fmla="*/ 187 h 288"/>
                  <a:gd name="T8" fmla="*/ 300 w 353"/>
                  <a:gd name="T9" fmla="*/ 180 h 288"/>
                  <a:gd name="T10" fmla="*/ 277 w 353"/>
                  <a:gd name="T11" fmla="*/ 156 h 288"/>
                  <a:gd name="T12" fmla="*/ 264 w 353"/>
                  <a:gd name="T13" fmla="*/ 149 h 288"/>
                  <a:gd name="T14" fmla="*/ 270 w 353"/>
                  <a:gd name="T15" fmla="*/ 135 h 288"/>
                  <a:gd name="T16" fmla="*/ 286 w 353"/>
                  <a:gd name="T17" fmla="*/ 135 h 288"/>
                  <a:gd name="T18" fmla="*/ 298 w 353"/>
                  <a:gd name="T19" fmla="*/ 102 h 288"/>
                  <a:gd name="T20" fmla="*/ 305 w 353"/>
                  <a:gd name="T21" fmla="*/ 69 h 288"/>
                  <a:gd name="T22" fmla="*/ 305 w 353"/>
                  <a:gd name="T23" fmla="*/ 67 h 288"/>
                  <a:gd name="T24" fmla="*/ 285 w 353"/>
                  <a:gd name="T25" fmla="*/ 63 h 288"/>
                  <a:gd name="T26" fmla="*/ 270 w 353"/>
                  <a:gd name="T27" fmla="*/ 0 h 288"/>
                  <a:gd name="T28" fmla="*/ 254 w 353"/>
                  <a:gd name="T29" fmla="*/ 17 h 288"/>
                  <a:gd name="T30" fmla="*/ 258 w 353"/>
                  <a:gd name="T31" fmla="*/ 45 h 288"/>
                  <a:gd name="T32" fmla="*/ 214 w 353"/>
                  <a:gd name="T33" fmla="*/ 87 h 288"/>
                  <a:gd name="T34" fmla="*/ 171 w 353"/>
                  <a:gd name="T35" fmla="*/ 73 h 288"/>
                  <a:gd name="T36" fmla="*/ 155 w 353"/>
                  <a:gd name="T37" fmla="*/ 87 h 288"/>
                  <a:gd name="T38" fmla="*/ 119 w 353"/>
                  <a:gd name="T39" fmla="*/ 98 h 288"/>
                  <a:gd name="T40" fmla="*/ 68 w 353"/>
                  <a:gd name="T41" fmla="*/ 94 h 288"/>
                  <a:gd name="T42" fmla="*/ 28 w 353"/>
                  <a:gd name="T43" fmla="*/ 70 h 288"/>
                  <a:gd name="T44" fmla="*/ 0 w 353"/>
                  <a:gd name="T45" fmla="*/ 126 h 288"/>
                  <a:gd name="T46" fmla="*/ 8 w 353"/>
                  <a:gd name="T47" fmla="*/ 130 h 288"/>
                  <a:gd name="T48" fmla="*/ 3 w 353"/>
                  <a:gd name="T49" fmla="*/ 140 h 288"/>
                  <a:gd name="T50" fmla="*/ 31 w 353"/>
                  <a:gd name="T51" fmla="*/ 154 h 288"/>
                  <a:gd name="T52" fmla="*/ 35 w 353"/>
                  <a:gd name="T53" fmla="*/ 159 h 288"/>
                  <a:gd name="T54" fmla="*/ 56 w 353"/>
                  <a:gd name="T55" fmla="*/ 180 h 288"/>
                  <a:gd name="T56" fmla="*/ 70 w 353"/>
                  <a:gd name="T57" fmla="*/ 189 h 288"/>
                  <a:gd name="T58" fmla="*/ 72 w 353"/>
                  <a:gd name="T59" fmla="*/ 203 h 288"/>
                  <a:gd name="T60" fmla="*/ 81 w 353"/>
                  <a:gd name="T61" fmla="*/ 210 h 288"/>
                  <a:gd name="T62" fmla="*/ 95 w 353"/>
                  <a:gd name="T63" fmla="*/ 224 h 288"/>
                  <a:gd name="T64" fmla="*/ 102 w 353"/>
                  <a:gd name="T65" fmla="*/ 241 h 288"/>
                  <a:gd name="T66" fmla="*/ 111 w 353"/>
                  <a:gd name="T67" fmla="*/ 253 h 288"/>
                  <a:gd name="T68" fmla="*/ 140 w 353"/>
                  <a:gd name="T69" fmla="*/ 253 h 288"/>
                  <a:gd name="T70" fmla="*/ 161 w 353"/>
                  <a:gd name="T71" fmla="*/ 250 h 288"/>
                  <a:gd name="T72" fmla="*/ 170 w 353"/>
                  <a:gd name="T73" fmla="*/ 253 h 288"/>
                  <a:gd name="T74" fmla="*/ 179 w 353"/>
                  <a:gd name="T75" fmla="*/ 267 h 288"/>
                  <a:gd name="T76" fmla="*/ 193 w 353"/>
                  <a:gd name="T77" fmla="*/ 274 h 288"/>
                  <a:gd name="T78" fmla="*/ 200 w 353"/>
                  <a:gd name="T79" fmla="*/ 281 h 288"/>
                  <a:gd name="T80" fmla="*/ 207 w 353"/>
                  <a:gd name="T81" fmla="*/ 281 h 288"/>
                  <a:gd name="T82" fmla="*/ 223 w 353"/>
                  <a:gd name="T83" fmla="*/ 281 h 288"/>
                  <a:gd name="T84" fmla="*/ 232 w 353"/>
                  <a:gd name="T85" fmla="*/ 283 h 288"/>
                  <a:gd name="T86" fmla="*/ 241 w 353"/>
                  <a:gd name="T87" fmla="*/ 283 h 288"/>
                  <a:gd name="T88" fmla="*/ 254 w 353"/>
                  <a:gd name="T89" fmla="*/ 276 h 288"/>
                  <a:gd name="T90" fmla="*/ 270 w 353"/>
                  <a:gd name="T91" fmla="*/ 276 h 288"/>
                  <a:gd name="T92" fmla="*/ 293 w 353"/>
                  <a:gd name="T93" fmla="*/ 264 h 288"/>
                  <a:gd name="T94" fmla="*/ 353 w 353"/>
                  <a:gd name="T95" fmla="*/ 253 h 288"/>
                  <a:gd name="T96" fmla="*/ 350 w 353"/>
                  <a:gd name="T97" fmla="*/ 22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3" h="288">
                    <a:moveTo>
                      <a:pt x="350" y="229"/>
                    </a:moveTo>
                    <a:cubicBezTo>
                      <a:pt x="339" y="227"/>
                      <a:pt x="339" y="227"/>
                      <a:pt x="339" y="227"/>
                    </a:cubicBezTo>
                    <a:cubicBezTo>
                      <a:pt x="332" y="229"/>
                      <a:pt x="332" y="229"/>
                      <a:pt x="332" y="229"/>
                    </a:cubicBezTo>
                    <a:cubicBezTo>
                      <a:pt x="332" y="227"/>
                      <a:pt x="332" y="227"/>
                      <a:pt x="332" y="227"/>
                    </a:cubicBezTo>
                    <a:cubicBezTo>
                      <a:pt x="328" y="220"/>
                      <a:pt x="328" y="220"/>
                      <a:pt x="328" y="220"/>
                    </a:cubicBezTo>
                    <a:cubicBezTo>
                      <a:pt x="323" y="210"/>
                      <a:pt x="323" y="210"/>
                      <a:pt x="323" y="210"/>
                    </a:cubicBezTo>
                    <a:cubicBezTo>
                      <a:pt x="316" y="189"/>
                      <a:pt x="316" y="189"/>
                      <a:pt x="316" y="189"/>
                    </a:cubicBezTo>
                    <a:cubicBezTo>
                      <a:pt x="309" y="187"/>
                      <a:pt x="309" y="187"/>
                      <a:pt x="309" y="187"/>
                    </a:cubicBezTo>
                    <a:cubicBezTo>
                      <a:pt x="307" y="182"/>
                      <a:pt x="307" y="182"/>
                      <a:pt x="307" y="182"/>
                    </a:cubicBezTo>
                    <a:cubicBezTo>
                      <a:pt x="300" y="180"/>
                      <a:pt x="300" y="180"/>
                      <a:pt x="300" y="180"/>
                    </a:cubicBezTo>
                    <a:cubicBezTo>
                      <a:pt x="291" y="163"/>
                      <a:pt x="291" y="163"/>
                      <a:pt x="291" y="163"/>
                    </a:cubicBezTo>
                    <a:cubicBezTo>
                      <a:pt x="277" y="156"/>
                      <a:pt x="277" y="156"/>
                      <a:pt x="277" y="156"/>
                    </a:cubicBezTo>
                    <a:cubicBezTo>
                      <a:pt x="264" y="156"/>
                      <a:pt x="264" y="156"/>
                      <a:pt x="264" y="156"/>
                    </a:cubicBezTo>
                    <a:cubicBezTo>
                      <a:pt x="264" y="149"/>
                      <a:pt x="264" y="149"/>
                      <a:pt x="264" y="149"/>
                    </a:cubicBezTo>
                    <a:cubicBezTo>
                      <a:pt x="270" y="142"/>
                      <a:pt x="270" y="142"/>
                      <a:pt x="270" y="142"/>
                    </a:cubicBezTo>
                    <a:cubicBezTo>
                      <a:pt x="270" y="135"/>
                      <a:pt x="270" y="135"/>
                      <a:pt x="270" y="135"/>
                    </a:cubicBezTo>
                    <a:cubicBezTo>
                      <a:pt x="284" y="133"/>
                      <a:pt x="284" y="133"/>
                      <a:pt x="284" y="133"/>
                    </a:cubicBezTo>
                    <a:cubicBezTo>
                      <a:pt x="286" y="135"/>
                      <a:pt x="286" y="135"/>
                      <a:pt x="286" y="135"/>
                    </a:cubicBezTo>
                    <a:cubicBezTo>
                      <a:pt x="298" y="130"/>
                      <a:pt x="298" y="130"/>
                      <a:pt x="298" y="130"/>
                    </a:cubicBezTo>
                    <a:cubicBezTo>
                      <a:pt x="298" y="102"/>
                      <a:pt x="298" y="102"/>
                      <a:pt x="298" y="102"/>
                    </a:cubicBezTo>
                    <a:cubicBezTo>
                      <a:pt x="305" y="79"/>
                      <a:pt x="305" y="79"/>
                      <a:pt x="305" y="79"/>
                    </a:cubicBezTo>
                    <a:cubicBezTo>
                      <a:pt x="305" y="69"/>
                      <a:pt x="305" y="69"/>
                      <a:pt x="305" y="69"/>
                    </a:cubicBezTo>
                    <a:cubicBezTo>
                      <a:pt x="308" y="66"/>
                      <a:pt x="308" y="66"/>
                      <a:pt x="308" y="66"/>
                    </a:cubicBezTo>
                    <a:cubicBezTo>
                      <a:pt x="305" y="67"/>
                      <a:pt x="305" y="67"/>
                      <a:pt x="305" y="67"/>
                    </a:cubicBezTo>
                    <a:cubicBezTo>
                      <a:pt x="305" y="66"/>
                      <a:pt x="305" y="66"/>
                      <a:pt x="305" y="66"/>
                    </a:cubicBezTo>
                    <a:cubicBezTo>
                      <a:pt x="285" y="63"/>
                      <a:pt x="285" y="63"/>
                      <a:pt x="285" y="63"/>
                    </a:cubicBezTo>
                    <a:cubicBezTo>
                      <a:pt x="285" y="0"/>
                      <a:pt x="285" y="0"/>
                      <a:pt x="285" y="0"/>
                    </a:cubicBezTo>
                    <a:cubicBezTo>
                      <a:pt x="270" y="0"/>
                      <a:pt x="270" y="0"/>
                      <a:pt x="270" y="0"/>
                    </a:cubicBezTo>
                    <a:cubicBezTo>
                      <a:pt x="270" y="14"/>
                      <a:pt x="270" y="14"/>
                      <a:pt x="270" y="14"/>
                    </a:cubicBezTo>
                    <a:cubicBezTo>
                      <a:pt x="254" y="17"/>
                      <a:pt x="254" y="17"/>
                      <a:pt x="254" y="17"/>
                    </a:cubicBezTo>
                    <a:cubicBezTo>
                      <a:pt x="258" y="17"/>
                      <a:pt x="258" y="17"/>
                      <a:pt x="258" y="17"/>
                    </a:cubicBezTo>
                    <a:cubicBezTo>
                      <a:pt x="258" y="45"/>
                      <a:pt x="258" y="45"/>
                      <a:pt x="258" y="45"/>
                    </a:cubicBezTo>
                    <a:cubicBezTo>
                      <a:pt x="222" y="87"/>
                      <a:pt x="222" y="87"/>
                      <a:pt x="222" y="87"/>
                    </a:cubicBezTo>
                    <a:cubicBezTo>
                      <a:pt x="214" y="87"/>
                      <a:pt x="214" y="87"/>
                      <a:pt x="214" y="87"/>
                    </a:cubicBezTo>
                    <a:cubicBezTo>
                      <a:pt x="190" y="66"/>
                      <a:pt x="190" y="66"/>
                      <a:pt x="190" y="66"/>
                    </a:cubicBezTo>
                    <a:cubicBezTo>
                      <a:pt x="171" y="73"/>
                      <a:pt x="171" y="73"/>
                      <a:pt x="171" y="73"/>
                    </a:cubicBezTo>
                    <a:cubicBezTo>
                      <a:pt x="171" y="87"/>
                      <a:pt x="171" y="87"/>
                      <a:pt x="171" y="87"/>
                    </a:cubicBezTo>
                    <a:cubicBezTo>
                      <a:pt x="155" y="87"/>
                      <a:pt x="155" y="87"/>
                      <a:pt x="155" y="87"/>
                    </a:cubicBezTo>
                    <a:cubicBezTo>
                      <a:pt x="143" y="98"/>
                      <a:pt x="143" y="98"/>
                      <a:pt x="143" y="98"/>
                    </a:cubicBezTo>
                    <a:cubicBezTo>
                      <a:pt x="119" y="98"/>
                      <a:pt x="119" y="98"/>
                      <a:pt x="119" y="98"/>
                    </a:cubicBezTo>
                    <a:cubicBezTo>
                      <a:pt x="119" y="87"/>
                      <a:pt x="119" y="87"/>
                      <a:pt x="119" y="87"/>
                    </a:cubicBezTo>
                    <a:cubicBezTo>
                      <a:pt x="68" y="94"/>
                      <a:pt x="68" y="94"/>
                      <a:pt x="68" y="94"/>
                    </a:cubicBezTo>
                    <a:cubicBezTo>
                      <a:pt x="52" y="73"/>
                      <a:pt x="52" y="73"/>
                      <a:pt x="52" y="73"/>
                    </a:cubicBezTo>
                    <a:cubicBezTo>
                      <a:pt x="28" y="70"/>
                      <a:pt x="28" y="70"/>
                      <a:pt x="28" y="70"/>
                    </a:cubicBezTo>
                    <a:cubicBezTo>
                      <a:pt x="0" y="126"/>
                      <a:pt x="0" y="126"/>
                      <a:pt x="0" y="126"/>
                    </a:cubicBezTo>
                    <a:cubicBezTo>
                      <a:pt x="0" y="126"/>
                      <a:pt x="0" y="126"/>
                      <a:pt x="0" y="126"/>
                    </a:cubicBezTo>
                    <a:cubicBezTo>
                      <a:pt x="3" y="126"/>
                      <a:pt x="3" y="126"/>
                      <a:pt x="3" y="126"/>
                    </a:cubicBezTo>
                    <a:cubicBezTo>
                      <a:pt x="8" y="130"/>
                      <a:pt x="8" y="130"/>
                      <a:pt x="8" y="130"/>
                    </a:cubicBezTo>
                    <a:cubicBezTo>
                      <a:pt x="3" y="133"/>
                      <a:pt x="3" y="133"/>
                      <a:pt x="3" y="133"/>
                    </a:cubicBezTo>
                    <a:cubicBezTo>
                      <a:pt x="3" y="140"/>
                      <a:pt x="3" y="140"/>
                      <a:pt x="3" y="140"/>
                    </a:cubicBezTo>
                    <a:cubicBezTo>
                      <a:pt x="19" y="142"/>
                      <a:pt x="19" y="142"/>
                      <a:pt x="19" y="142"/>
                    </a:cubicBezTo>
                    <a:cubicBezTo>
                      <a:pt x="31" y="154"/>
                      <a:pt x="31" y="154"/>
                      <a:pt x="31" y="154"/>
                    </a:cubicBezTo>
                    <a:cubicBezTo>
                      <a:pt x="35" y="154"/>
                      <a:pt x="35" y="154"/>
                      <a:pt x="35" y="154"/>
                    </a:cubicBezTo>
                    <a:cubicBezTo>
                      <a:pt x="35" y="159"/>
                      <a:pt x="35" y="159"/>
                      <a:pt x="35" y="159"/>
                    </a:cubicBezTo>
                    <a:cubicBezTo>
                      <a:pt x="33" y="163"/>
                      <a:pt x="33" y="163"/>
                      <a:pt x="33" y="163"/>
                    </a:cubicBezTo>
                    <a:cubicBezTo>
                      <a:pt x="56" y="180"/>
                      <a:pt x="56" y="180"/>
                      <a:pt x="56" y="180"/>
                    </a:cubicBezTo>
                    <a:cubicBezTo>
                      <a:pt x="58" y="182"/>
                      <a:pt x="58" y="182"/>
                      <a:pt x="58" y="182"/>
                    </a:cubicBezTo>
                    <a:cubicBezTo>
                      <a:pt x="70" y="189"/>
                      <a:pt x="70" y="189"/>
                      <a:pt x="70" y="189"/>
                    </a:cubicBezTo>
                    <a:cubicBezTo>
                      <a:pt x="65" y="196"/>
                      <a:pt x="65" y="196"/>
                      <a:pt x="65" y="196"/>
                    </a:cubicBezTo>
                    <a:cubicBezTo>
                      <a:pt x="72" y="203"/>
                      <a:pt x="72" y="203"/>
                      <a:pt x="72" y="203"/>
                    </a:cubicBezTo>
                    <a:cubicBezTo>
                      <a:pt x="70" y="206"/>
                      <a:pt x="70" y="206"/>
                      <a:pt x="70" y="206"/>
                    </a:cubicBezTo>
                    <a:cubicBezTo>
                      <a:pt x="81" y="210"/>
                      <a:pt x="81" y="210"/>
                      <a:pt x="81" y="210"/>
                    </a:cubicBezTo>
                    <a:cubicBezTo>
                      <a:pt x="92" y="217"/>
                      <a:pt x="92" y="217"/>
                      <a:pt x="92" y="217"/>
                    </a:cubicBezTo>
                    <a:cubicBezTo>
                      <a:pt x="95" y="224"/>
                      <a:pt x="95" y="224"/>
                      <a:pt x="95" y="224"/>
                    </a:cubicBezTo>
                    <a:cubicBezTo>
                      <a:pt x="95" y="229"/>
                      <a:pt x="95" y="229"/>
                      <a:pt x="95" y="229"/>
                    </a:cubicBezTo>
                    <a:cubicBezTo>
                      <a:pt x="102" y="241"/>
                      <a:pt x="102" y="241"/>
                      <a:pt x="102" y="241"/>
                    </a:cubicBezTo>
                    <a:cubicBezTo>
                      <a:pt x="108" y="248"/>
                      <a:pt x="108" y="248"/>
                      <a:pt x="108" y="248"/>
                    </a:cubicBezTo>
                    <a:cubicBezTo>
                      <a:pt x="111" y="253"/>
                      <a:pt x="111" y="253"/>
                      <a:pt x="111" y="253"/>
                    </a:cubicBezTo>
                    <a:cubicBezTo>
                      <a:pt x="127" y="264"/>
                      <a:pt x="127" y="264"/>
                      <a:pt x="127" y="264"/>
                    </a:cubicBezTo>
                    <a:cubicBezTo>
                      <a:pt x="140" y="253"/>
                      <a:pt x="140" y="253"/>
                      <a:pt x="140" y="253"/>
                    </a:cubicBezTo>
                    <a:cubicBezTo>
                      <a:pt x="154" y="260"/>
                      <a:pt x="154" y="260"/>
                      <a:pt x="154" y="260"/>
                    </a:cubicBezTo>
                    <a:cubicBezTo>
                      <a:pt x="161" y="250"/>
                      <a:pt x="161" y="250"/>
                      <a:pt x="161" y="250"/>
                    </a:cubicBezTo>
                    <a:cubicBezTo>
                      <a:pt x="163" y="250"/>
                      <a:pt x="163" y="250"/>
                      <a:pt x="163" y="250"/>
                    </a:cubicBezTo>
                    <a:cubicBezTo>
                      <a:pt x="170" y="253"/>
                      <a:pt x="170" y="253"/>
                      <a:pt x="170" y="253"/>
                    </a:cubicBezTo>
                    <a:cubicBezTo>
                      <a:pt x="170" y="260"/>
                      <a:pt x="170" y="260"/>
                      <a:pt x="170" y="260"/>
                    </a:cubicBezTo>
                    <a:cubicBezTo>
                      <a:pt x="179" y="267"/>
                      <a:pt x="179" y="267"/>
                      <a:pt x="179" y="267"/>
                    </a:cubicBezTo>
                    <a:cubicBezTo>
                      <a:pt x="184" y="274"/>
                      <a:pt x="184" y="274"/>
                      <a:pt x="184" y="274"/>
                    </a:cubicBezTo>
                    <a:cubicBezTo>
                      <a:pt x="193" y="274"/>
                      <a:pt x="193" y="274"/>
                      <a:pt x="193" y="274"/>
                    </a:cubicBezTo>
                    <a:cubicBezTo>
                      <a:pt x="193" y="283"/>
                      <a:pt x="193" y="283"/>
                      <a:pt x="193" y="283"/>
                    </a:cubicBezTo>
                    <a:cubicBezTo>
                      <a:pt x="200" y="281"/>
                      <a:pt x="200" y="281"/>
                      <a:pt x="200" y="281"/>
                    </a:cubicBezTo>
                    <a:cubicBezTo>
                      <a:pt x="202" y="288"/>
                      <a:pt x="202" y="288"/>
                      <a:pt x="202" y="288"/>
                    </a:cubicBezTo>
                    <a:cubicBezTo>
                      <a:pt x="207" y="281"/>
                      <a:pt x="207" y="281"/>
                      <a:pt x="207" y="281"/>
                    </a:cubicBezTo>
                    <a:cubicBezTo>
                      <a:pt x="209" y="276"/>
                      <a:pt x="209" y="276"/>
                      <a:pt x="209" y="276"/>
                    </a:cubicBezTo>
                    <a:cubicBezTo>
                      <a:pt x="223" y="281"/>
                      <a:pt x="223" y="281"/>
                      <a:pt x="223" y="281"/>
                    </a:cubicBezTo>
                    <a:cubicBezTo>
                      <a:pt x="229" y="276"/>
                      <a:pt x="229" y="276"/>
                      <a:pt x="229" y="276"/>
                    </a:cubicBezTo>
                    <a:cubicBezTo>
                      <a:pt x="232" y="283"/>
                      <a:pt x="232" y="283"/>
                      <a:pt x="232" y="283"/>
                    </a:cubicBezTo>
                    <a:cubicBezTo>
                      <a:pt x="241" y="288"/>
                      <a:pt x="241" y="288"/>
                      <a:pt x="241" y="288"/>
                    </a:cubicBezTo>
                    <a:cubicBezTo>
                      <a:pt x="241" y="283"/>
                      <a:pt x="241" y="283"/>
                      <a:pt x="241" y="283"/>
                    </a:cubicBezTo>
                    <a:cubicBezTo>
                      <a:pt x="248" y="281"/>
                      <a:pt x="248" y="281"/>
                      <a:pt x="248" y="281"/>
                    </a:cubicBezTo>
                    <a:cubicBezTo>
                      <a:pt x="254" y="276"/>
                      <a:pt x="254" y="276"/>
                      <a:pt x="254" y="276"/>
                    </a:cubicBezTo>
                    <a:cubicBezTo>
                      <a:pt x="264" y="274"/>
                      <a:pt x="264" y="274"/>
                      <a:pt x="264" y="274"/>
                    </a:cubicBezTo>
                    <a:cubicBezTo>
                      <a:pt x="270" y="276"/>
                      <a:pt x="270" y="276"/>
                      <a:pt x="270" y="276"/>
                    </a:cubicBezTo>
                    <a:cubicBezTo>
                      <a:pt x="282" y="276"/>
                      <a:pt x="282" y="276"/>
                      <a:pt x="282" y="276"/>
                    </a:cubicBezTo>
                    <a:cubicBezTo>
                      <a:pt x="293" y="264"/>
                      <a:pt x="293" y="264"/>
                      <a:pt x="293" y="264"/>
                    </a:cubicBezTo>
                    <a:cubicBezTo>
                      <a:pt x="307" y="253"/>
                      <a:pt x="307" y="253"/>
                      <a:pt x="307" y="253"/>
                    </a:cubicBezTo>
                    <a:cubicBezTo>
                      <a:pt x="353" y="253"/>
                      <a:pt x="353" y="253"/>
                      <a:pt x="353" y="253"/>
                    </a:cubicBezTo>
                    <a:cubicBezTo>
                      <a:pt x="346" y="248"/>
                      <a:pt x="346" y="248"/>
                      <a:pt x="346" y="248"/>
                    </a:cubicBezTo>
                    <a:lnTo>
                      <a:pt x="350" y="229"/>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4" name="Titel 3">
            <a:extLst>
              <a:ext uri="{FF2B5EF4-FFF2-40B4-BE49-F238E27FC236}">
                <a16:creationId xmlns:a16="http://schemas.microsoft.com/office/drawing/2014/main" id="{60EC8D8A-C876-4EC5-A94B-31EA320D0A60}"/>
              </a:ext>
            </a:extLst>
          </p:cNvPr>
          <p:cNvSpPr>
            <a:spLocks noGrp="1"/>
          </p:cNvSpPr>
          <p:nvPr>
            <p:ph type="title"/>
          </p:nvPr>
        </p:nvSpPr>
        <p:spPr bwMode="gray"/>
        <p:txBody>
          <a:bodyPr/>
          <a:lstStyle/>
          <a:p>
            <a:br>
              <a:rPr lang="en-US" dirty="0"/>
            </a:br>
            <a:r>
              <a:rPr lang="en-US" dirty="0"/>
              <a:t>World Map:</a:t>
            </a:r>
            <a:br>
              <a:rPr lang="en-US" dirty="0"/>
            </a:br>
            <a:r>
              <a:rPr lang="en-US" dirty="0"/>
              <a:t>Three Regions</a:t>
            </a:r>
          </a:p>
        </p:txBody>
      </p:sp>
      <p:sp>
        <p:nvSpPr>
          <p:cNvPr id="8304" name="Textplatzhalter 3">
            <a:extLst>
              <a:ext uri="{FF2B5EF4-FFF2-40B4-BE49-F238E27FC236}">
                <a16:creationId xmlns:a16="http://schemas.microsoft.com/office/drawing/2014/main" id="{DC6242AB-48D6-47E5-A04E-8A7BE78E6ED9}"/>
              </a:ext>
            </a:extLst>
          </p:cNvPr>
          <p:cNvSpPr txBox="1">
            <a:spLocks/>
          </p:cNvSpPr>
          <p:nvPr/>
        </p:nvSpPr>
        <p:spPr bwMode="gray">
          <a:xfrm>
            <a:off x="623888" y="2708920"/>
            <a:ext cx="2447925" cy="1368152"/>
          </a:xfrm>
          <a:prstGeom prst="rect">
            <a:avLst/>
          </a:prstGeom>
        </p:spPr>
        <p:txBody>
          <a:bodyPr wrap="non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lvl="1" algn="l"/>
            <a:r>
              <a:rPr lang="en-US" sz="3000" dirty="0">
                <a:solidFill>
                  <a:schemeClr val="accent5"/>
                </a:solidFill>
              </a:rPr>
              <a:t>World</a:t>
            </a:r>
          </a:p>
          <a:p>
            <a:pPr lvl="1" algn="l">
              <a:spcAft>
                <a:spcPts val="600"/>
              </a:spcAft>
            </a:pPr>
            <a:r>
              <a:rPr lang="en-US" sz="1800" dirty="0">
                <a:solidFill>
                  <a:srgbClr val="1E1E1E"/>
                </a:solidFill>
                <a:latin typeface="DraegerSanBol" pitchFamily="2" charset="0"/>
              </a:rPr>
              <a:t>Lorem ipsum dolor</a:t>
            </a:r>
            <a:br>
              <a:rPr lang="en-US" sz="1800" dirty="0">
                <a:solidFill>
                  <a:srgbClr val="1E1E1E"/>
                </a:solidFill>
                <a:latin typeface="DraegerSanLig"/>
              </a:rPr>
            </a:br>
            <a:r>
              <a:rPr lang="en-US" sz="1800" dirty="0">
                <a:solidFill>
                  <a:srgbClr val="1E1E1E"/>
                </a:solidFill>
                <a:latin typeface="DraegerSanLig"/>
              </a:rPr>
              <a:t>sit amet, consectetuer</a:t>
            </a:r>
            <a:br>
              <a:rPr lang="en-US" sz="1800" dirty="0">
                <a:solidFill>
                  <a:srgbClr val="1E1E1E"/>
                </a:solidFill>
                <a:latin typeface="DraegerSanLig"/>
              </a:rPr>
            </a:br>
            <a:r>
              <a:rPr lang="en-US" sz="1800" dirty="0">
                <a:solidFill>
                  <a:srgbClr val="1E1E1E"/>
                </a:solidFill>
                <a:latin typeface="DraegerSanLig"/>
              </a:rPr>
              <a:t>adipiscing elit</a:t>
            </a:r>
          </a:p>
        </p:txBody>
      </p:sp>
      <p:sp>
        <p:nvSpPr>
          <p:cNvPr id="8" name="Fußzeilenplatzhalter 7">
            <a:extLst>
              <a:ext uri="{FF2B5EF4-FFF2-40B4-BE49-F238E27FC236}">
                <a16:creationId xmlns:a16="http://schemas.microsoft.com/office/drawing/2014/main" id="{1E2059BB-3FD5-46A1-A4C8-610FFD3A3043}"/>
              </a:ext>
            </a:extLst>
          </p:cNvPr>
          <p:cNvSpPr>
            <a:spLocks noGrp="1"/>
          </p:cNvSpPr>
          <p:nvPr>
            <p:ph type="ftr" sz="quarter" idx="16"/>
          </p:nvPr>
        </p:nvSpPr>
        <p:spPr bwMode="gray"/>
        <p:txBody>
          <a:bodyPr/>
          <a:lstStyle/>
          <a:p>
            <a:r>
              <a:rPr lang="en-US" dirty="0"/>
              <a:t>Footnote: Please insert appropriate company</a:t>
            </a:r>
            <a:endParaRPr lang="de-DE" dirty="0"/>
          </a:p>
        </p:txBody>
      </p:sp>
      <p:sp>
        <p:nvSpPr>
          <p:cNvPr id="237" name="Textplatzhalter 3">
            <a:extLst>
              <a:ext uri="{FF2B5EF4-FFF2-40B4-BE49-F238E27FC236}">
                <a16:creationId xmlns:a16="http://schemas.microsoft.com/office/drawing/2014/main" id="{24F2648D-12B2-4C46-988E-E1A4CBB1A2B0}"/>
              </a:ext>
            </a:extLst>
          </p:cNvPr>
          <p:cNvSpPr txBox="1">
            <a:spLocks/>
          </p:cNvSpPr>
          <p:nvPr/>
        </p:nvSpPr>
        <p:spPr bwMode="gray">
          <a:xfrm>
            <a:off x="2063553" y="4797152"/>
            <a:ext cx="2375174" cy="1368152"/>
          </a:xfrm>
          <a:prstGeom prst="rect">
            <a:avLst/>
          </a:prstGeom>
        </p:spPr>
        <p:txBody>
          <a:bodyPr wrap="non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lvl="1" algn="l"/>
            <a:r>
              <a:rPr lang="en-US" sz="3000" dirty="0">
                <a:solidFill>
                  <a:schemeClr val="accent5"/>
                </a:solidFill>
              </a:rPr>
              <a:t>Americas</a:t>
            </a:r>
          </a:p>
          <a:p>
            <a:pPr lvl="1" algn="l">
              <a:spcAft>
                <a:spcPts val="600"/>
              </a:spcAft>
            </a:pPr>
            <a:r>
              <a:rPr lang="en-US" sz="1800" dirty="0">
                <a:solidFill>
                  <a:srgbClr val="1E1E1E"/>
                </a:solidFill>
                <a:latin typeface="DraegerSanBol" pitchFamily="2" charset="0"/>
              </a:rPr>
              <a:t>Lorem ipsum dolor</a:t>
            </a:r>
            <a:br>
              <a:rPr lang="en-US" sz="1800" dirty="0">
                <a:solidFill>
                  <a:srgbClr val="1E1E1E"/>
                </a:solidFill>
                <a:latin typeface="DraegerSanLig"/>
              </a:rPr>
            </a:br>
            <a:r>
              <a:rPr lang="en-US" sz="1800" dirty="0">
                <a:solidFill>
                  <a:srgbClr val="1E1E1E"/>
                </a:solidFill>
                <a:latin typeface="DraegerSanLig"/>
              </a:rPr>
              <a:t>sit amet, consectetuer</a:t>
            </a:r>
            <a:br>
              <a:rPr lang="en-US" sz="1800" dirty="0">
                <a:solidFill>
                  <a:srgbClr val="1E1E1E"/>
                </a:solidFill>
                <a:latin typeface="DraegerSanLig"/>
              </a:rPr>
            </a:br>
            <a:r>
              <a:rPr lang="en-US" sz="1800" dirty="0">
                <a:solidFill>
                  <a:srgbClr val="1E1E1E"/>
                </a:solidFill>
                <a:latin typeface="DraegerSanLig"/>
              </a:rPr>
              <a:t>adipiscing elit</a:t>
            </a:r>
          </a:p>
        </p:txBody>
      </p:sp>
      <p:cxnSp>
        <p:nvCxnSpPr>
          <p:cNvPr id="238" name="Gerader Verbinder 237">
            <a:extLst>
              <a:ext uri="{FF2B5EF4-FFF2-40B4-BE49-F238E27FC236}">
                <a16:creationId xmlns:a16="http://schemas.microsoft.com/office/drawing/2014/main" id="{B24001F6-D4A7-4590-8C4C-71799B63D1A4}"/>
              </a:ext>
            </a:extLst>
          </p:cNvPr>
          <p:cNvCxnSpPr>
            <a:cxnSpLocks/>
          </p:cNvCxnSpPr>
          <p:nvPr/>
        </p:nvCxnSpPr>
        <p:spPr bwMode="gray">
          <a:xfrm>
            <a:off x="3719824" y="5085184"/>
            <a:ext cx="576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39" name="Textplatzhalter 3">
            <a:extLst>
              <a:ext uri="{FF2B5EF4-FFF2-40B4-BE49-F238E27FC236}">
                <a16:creationId xmlns:a16="http://schemas.microsoft.com/office/drawing/2014/main" id="{CE2EB820-4E42-4E72-857D-5323FDB38B68}"/>
              </a:ext>
            </a:extLst>
          </p:cNvPr>
          <p:cNvSpPr txBox="1">
            <a:spLocks/>
          </p:cNvSpPr>
          <p:nvPr/>
        </p:nvSpPr>
        <p:spPr bwMode="gray">
          <a:xfrm>
            <a:off x="9624740" y="188640"/>
            <a:ext cx="2375174" cy="1368152"/>
          </a:xfrm>
          <a:prstGeom prst="rect">
            <a:avLst/>
          </a:prstGeom>
        </p:spPr>
        <p:txBody>
          <a:bodyPr wrap="non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lvl="1" algn="l"/>
            <a:r>
              <a:rPr lang="en-US" sz="3000" dirty="0">
                <a:solidFill>
                  <a:schemeClr val="accent5"/>
                </a:solidFill>
              </a:rPr>
              <a:t>Europe</a:t>
            </a:r>
          </a:p>
          <a:p>
            <a:pPr lvl="1" algn="l">
              <a:spcAft>
                <a:spcPts val="600"/>
              </a:spcAft>
            </a:pPr>
            <a:r>
              <a:rPr lang="en-US" sz="1800" dirty="0">
                <a:solidFill>
                  <a:srgbClr val="1E1E1E"/>
                </a:solidFill>
                <a:latin typeface="DraegerSanBol" pitchFamily="2" charset="0"/>
              </a:rPr>
              <a:t>Lorem ipsum dolor</a:t>
            </a:r>
            <a:br>
              <a:rPr lang="en-US" sz="1800" dirty="0">
                <a:solidFill>
                  <a:srgbClr val="1E1E1E"/>
                </a:solidFill>
                <a:latin typeface="DraegerSanLig"/>
              </a:rPr>
            </a:br>
            <a:r>
              <a:rPr lang="en-US" sz="1800" dirty="0">
                <a:solidFill>
                  <a:srgbClr val="1E1E1E"/>
                </a:solidFill>
                <a:latin typeface="DraegerSanLig"/>
              </a:rPr>
              <a:t>sit amet, consectetuer</a:t>
            </a:r>
            <a:br>
              <a:rPr lang="en-US" sz="1800" dirty="0">
                <a:solidFill>
                  <a:srgbClr val="1E1E1E"/>
                </a:solidFill>
                <a:latin typeface="DraegerSanLig"/>
              </a:rPr>
            </a:br>
            <a:r>
              <a:rPr lang="en-US" sz="1800" dirty="0">
                <a:solidFill>
                  <a:srgbClr val="1E1E1E"/>
                </a:solidFill>
                <a:latin typeface="DraegerSanLig"/>
              </a:rPr>
              <a:t>adipiscing elit</a:t>
            </a:r>
          </a:p>
        </p:txBody>
      </p:sp>
      <p:cxnSp>
        <p:nvCxnSpPr>
          <p:cNvPr id="240" name="Gerader Verbinder 239">
            <a:extLst>
              <a:ext uri="{FF2B5EF4-FFF2-40B4-BE49-F238E27FC236}">
                <a16:creationId xmlns:a16="http://schemas.microsoft.com/office/drawing/2014/main" id="{670D05B9-25EA-422B-B9C3-E9AAEF68E071}"/>
              </a:ext>
            </a:extLst>
          </p:cNvPr>
          <p:cNvCxnSpPr>
            <a:cxnSpLocks/>
          </p:cNvCxnSpPr>
          <p:nvPr/>
        </p:nvCxnSpPr>
        <p:spPr bwMode="gray">
          <a:xfrm>
            <a:off x="7608168" y="476672"/>
            <a:ext cx="1908088"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1" name="Gerader Verbinder 240">
            <a:extLst>
              <a:ext uri="{FF2B5EF4-FFF2-40B4-BE49-F238E27FC236}">
                <a16:creationId xmlns:a16="http://schemas.microsoft.com/office/drawing/2014/main" id="{BB3AC61E-182D-4584-9043-2547E06528FD}"/>
              </a:ext>
            </a:extLst>
          </p:cNvPr>
          <p:cNvCxnSpPr>
            <a:cxnSpLocks/>
          </p:cNvCxnSpPr>
          <p:nvPr/>
        </p:nvCxnSpPr>
        <p:spPr bwMode="gray">
          <a:xfrm flipV="1">
            <a:off x="7608168" y="476672"/>
            <a:ext cx="0" cy="1368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46" name="Textplatzhalter 3">
            <a:extLst>
              <a:ext uri="{FF2B5EF4-FFF2-40B4-BE49-F238E27FC236}">
                <a16:creationId xmlns:a16="http://schemas.microsoft.com/office/drawing/2014/main" id="{8B9C98F6-221C-4A50-B939-D45ED7B89904}"/>
              </a:ext>
            </a:extLst>
          </p:cNvPr>
          <p:cNvSpPr txBox="1">
            <a:spLocks/>
          </p:cNvSpPr>
          <p:nvPr/>
        </p:nvSpPr>
        <p:spPr bwMode="gray">
          <a:xfrm>
            <a:off x="8040564" y="5157192"/>
            <a:ext cx="2375174" cy="1368152"/>
          </a:xfrm>
          <a:prstGeom prst="rect">
            <a:avLst/>
          </a:prstGeom>
        </p:spPr>
        <p:txBody>
          <a:bodyPr wrap="non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lvl="1" algn="l"/>
            <a:r>
              <a:rPr lang="en-US" sz="3000" dirty="0">
                <a:solidFill>
                  <a:schemeClr val="accent5"/>
                </a:solidFill>
              </a:rPr>
              <a:t>AAA</a:t>
            </a:r>
          </a:p>
          <a:p>
            <a:pPr lvl="1" algn="l"/>
            <a:r>
              <a:rPr lang="en-US" sz="1800" dirty="0">
                <a:solidFill>
                  <a:srgbClr val="1E1E1E"/>
                </a:solidFill>
                <a:latin typeface="DraegerSanBol" pitchFamily="2" charset="0"/>
              </a:rPr>
              <a:t>Lorem ipsum dolor</a:t>
            </a:r>
            <a:br>
              <a:rPr lang="en-US" sz="1800" dirty="0">
                <a:solidFill>
                  <a:srgbClr val="1E1E1E"/>
                </a:solidFill>
                <a:latin typeface="DraegerSanLig"/>
              </a:rPr>
            </a:br>
            <a:r>
              <a:rPr lang="en-US" sz="1800" dirty="0">
                <a:solidFill>
                  <a:srgbClr val="1E1E1E"/>
                </a:solidFill>
                <a:latin typeface="DraegerSanLig"/>
              </a:rPr>
              <a:t>sit amet, consectetuer</a:t>
            </a:r>
            <a:br>
              <a:rPr lang="en-US" sz="1800" dirty="0">
                <a:solidFill>
                  <a:srgbClr val="1E1E1E"/>
                </a:solidFill>
                <a:latin typeface="DraegerSanLig"/>
              </a:rPr>
            </a:br>
            <a:r>
              <a:rPr lang="en-US" sz="1800" dirty="0">
                <a:solidFill>
                  <a:srgbClr val="1E1E1E"/>
                </a:solidFill>
                <a:latin typeface="DraegerSanLig"/>
              </a:rPr>
              <a:t>adipiscing elit</a:t>
            </a:r>
          </a:p>
        </p:txBody>
      </p:sp>
      <p:cxnSp>
        <p:nvCxnSpPr>
          <p:cNvPr id="247" name="Gerader Verbinder 246">
            <a:extLst>
              <a:ext uri="{FF2B5EF4-FFF2-40B4-BE49-F238E27FC236}">
                <a16:creationId xmlns:a16="http://schemas.microsoft.com/office/drawing/2014/main" id="{BA3C50F3-D575-4774-B052-A003F215CEED}"/>
              </a:ext>
            </a:extLst>
          </p:cNvPr>
          <p:cNvCxnSpPr>
            <a:cxnSpLocks/>
          </p:cNvCxnSpPr>
          <p:nvPr/>
        </p:nvCxnSpPr>
        <p:spPr bwMode="gray">
          <a:xfrm>
            <a:off x="7320136" y="5445224"/>
            <a:ext cx="612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Foliennummernplatzhalter 10">
            <a:extLst>
              <a:ext uri="{FF2B5EF4-FFF2-40B4-BE49-F238E27FC236}">
                <a16:creationId xmlns:a16="http://schemas.microsoft.com/office/drawing/2014/main" id="{35170A14-A868-45A7-9376-616584FC5298}"/>
              </a:ext>
            </a:extLst>
          </p:cNvPr>
          <p:cNvSpPr>
            <a:spLocks noGrp="1"/>
          </p:cNvSpPr>
          <p:nvPr>
            <p:ph type="sldNum" sz="quarter" idx="12"/>
          </p:nvPr>
        </p:nvSpPr>
        <p:spPr/>
        <p:txBody>
          <a:bodyPr/>
          <a:lstStyle/>
          <a:p>
            <a:fld id="{CE82B8A1-0CCE-4815-9668-383D7DE7D8B4}" type="slidenum">
              <a:rPr lang="en-US" noProof="0" smtClean="0"/>
              <a:pPr/>
              <a:t>77</a:t>
            </a:fld>
            <a:endParaRPr lang="en-US" noProof="0" dirty="0"/>
          </a:p>
        </p:txBody>
      </p:sp>
    </p:spTree>
    <p:extLst>
      <p:ext uri="{BB962C8B-B14F-4D97-AF65-F5344CB8AC3E}">
        <p14:creationId xmlns:p14="http://schemas.microsoft.com/office/powerpoint/2010/main" val="424446742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AutoShape 3">
            <a:extLst>
              <a:ext uri="{FF2B5EF4-FFF2-40B4-BE49-F238E27FC236}">
                <a16:creationId xmlns:a16="http://schemas.microsoft.com/office/drawing/2014/main" id="{972E362A-CBC1-4ADC-850A-024B4C01053E}"/>
              </a:ext>
            </a:extLst>
          </p:cNvPr>
          <p:cNvSpPr>
            <a:spLocks noChangeAspect="1" noChangeArrowheads="1" noTextEdit="1"/>
          </p:cNvSpPr>
          <p:nvPr/>
        </p:nvSpPr>
        <p:spPr bwMode="gray">
          <a:xfrm flipH="1">
            <a:off x="3942191" y="-741033"/>
            <a:ext cx="7881674" cy="7872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 name="Freihandform: Form 165">
            <a:extLst>
              <a:ext uri="{FF2B5EF4-FFF2-40B4-BE49-F238E27FC236}">
                <a16:creationId xmlns:a16="http://schemas.microsoft.com/office/drawing/2014/main" id="{C8F6A813-85F9-4A75-95ED-2F5F73CADC8B}"/>
              </a:ext>
            </a:extLst>
          </p:cNvPr>
          <p:cNvSpPr>
            <a:spLocks noChangeArrowheads="1"/>
          </p:cNvSpPr>
          <p:nvPr/>
        </p:nvSpPr>
        <p:spPr bwMode="gray">
          <a:xfrm flipH="1">
            <a:off x="3935758" y="188914"/>
            <a:ext cx="7894538" cy="6676565"/>
          </a:xfrm>
          <a:custGeom>
            <a:avLst/>
            <a:gdLst>
              <a:gd name="connsiteX0" fmla="*/ 6497883 w 7894538"/>
              <a:gd name="connsiteY0" fmla="*/ 0 h 6676565"/>
              <a:gd name="connsiteX1" fmla="*/ 1396655 w 7894538"/>
              <a:gd name="connsiteY1" fmla="*/ 0 h 6676565"/>
              <a:gd name="connsiteX2" fmla="*/ 1156128 w 7894538"/>
              <a:gd name="connsiteY2" fmla="*/ 218338 h 6676565"/>
              <a:gd name="connsiteX3" fmla="*/ 0 w 7894538"/>
              <a:gd name="connsiteY3" fmla="*/ 3006066 h 6676565"/>
              <a:gd name="connsiteX4" fmla="*/ 2410814 w 7894538"/>
              <a:gd name="connsiteY4" fmla="*/ 6638693 h 6676565"/>
              <a:gd name="connsiteX5" fmla="*/ 2506985 w 7894538"/>
              <a:gd name="connsiteY5" fmla="*/ 6676565 h 6676565"/>
              <a:gd name="connsiteX6" fmla="*/ 5387553 w 7894538"/>
              <a:gd name="connsiteY6" fmla="*/ 6676565 h 6676565"/>
              <a:gd name="connsiteX7" fmla="*/ 5483724 w 7894538"/>
              <a:gd name="connsiteY7" fmla="*/ 6638693 h 6676565"/>
              <a:gd name="connsiteX8" fmla="*/ 7894538 w 7894538"/>
              <a:gd name="connsiteY8" fmla="*/ 3006066 h 6676565"/>
              <a:gd name="connsiteX9" fmla="*/ 6738410 w 7894538"/>
              <a:gd name="connsiteY9" fmla="*/ 218338 h 6676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94538" h="6676565">
                <a:moveTo>
                  <a:pt x="6497883" y="0"/>
                </a:moveTo>
                <a:lnTo>
                  <a:pt x="1396655" y="0"/>
                </a:lnTo>
                <a:lnTo>
                  <a:pt x="1156128" y="218338"/>
                </a:lnTo>
                <a:cubicBezTo>
                  <a:pt x="441813" y="931780"/>
                  <a:pt x="0" y="1917391"/>
                  <a:pt x="0" y="3006066"/>
                </a:cubicBezTo>
                <a:cubicBezTo>
                  <a:pt x="0" y="4639079"/>
                  <a:pt x="994080" y="6040197"/>
                  <a:pt x="2410814" y="6638693"/>
                </a:cubicBezTo>
                <a:lnTo>
                  <a:pt x="2506985" y="6676565"/>
                </a:lnTo>
                <a:lnTo>
                  <a:pt x="5387553" y="6676565"/>
                </a:lnTo>
                <a:lnTo>
                  <a:pt x="5483724" y="6638693"/>
                </a:lnTo>
                <a:cubicBezTo>
                  <a:pt x="6900458" y="6040197"/>
                  <a:pt x="7894538" y="4639079"/>
                  <a:pt x="7894538" y="3006066"/>
                </a:cubicBezTo>
                <a:cubicBezTo>
                  <a:pt x="7894538" y="1917391"/>
                  <a:pt x="7452725" y="931780"/>
                  <a:pt x="6738410" y="218338"/>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157" name="Gruppieren 156">
            <a:extLst>
              <a:ext uri="{FF2B5EF4-FFF2-40B4-BE49-F238E27FC236}">
                <a16:creationId xmlns:a16="http://schemas.microsoft.com/office/drawing/2014/main" id="{06793F55-6E4A-4AA0-8B86-AC89E56F8839}"/>
              </a:ext>
            </a:extLst>
          </p:cNvPr>
          <p:cNvGrpSpPr/>
          <p:nvPr/>
        </p:nvGrpSpPr>
        <p:grpSpPr bwMode="gray">
          <a:xfrm>
            <a:off x="4305556" y="3927007"/>
            <a:ext cx="841478" cy="1494995"/>
            <a:chOff x="5437489" y="5272318"/>
            <a:chExt cx="935769" cy="1662516"/>
          </a:xfrm>
        </p:grpSpPr>
        <p:sp>
          <p:nvSpPr>
            <p:cNvPr id="152" name="Freeform 180">
              <a:extLst>
                <a:ext uri="{FF2B5EF4-FFF2-40B4-BE49-F238E27FC236}">
                  <a16:creationId xmlns:a16="http://schemas.microsoft.com/office/drawing/2014/main" id="{36BABF69-2E28-495B-8DCF-F0234695A11D}"/>
                </a:ext>
              </a:extLst>
            </p:cNvPr>
            <p:cNvSpPr>
              <a:spLocks/>
            </p:cNvSpPr>
            <p:nvPr/>
          </p:nvSpPr>
          <p:spPr bwMode="gray">
            <a:xfrm flipH="1">
              <a:off x="5437489" y="5272318"/>
              <a:ext cx="935769" cy="1662516"/>
            </a:xfrm>
            <a:custGeom>
              <a:avLst/>
              <a:gdLst>
                <a:gd name="T0" fmla="*/ 123 w 123"/>
                <a:gd name="T1" fmla="*/ 174 h 219"/>
                <a:gd name="T2" fmla="*/ 78 w 123"/>
                <a:gd name="T3" fmla="*/ 219 h 219"/>
                <a:gd name="T4" fmla="*/ 45 w 123"/>
                <a:gd name="T5" fmla="*/ 219 h 219"/>
                <a:gd name="T6" fmla="*/ 0 w 123"/>
                <a:gd name="T7" fmla="*/ 174 h 219"/>
                <a:gd name="T8" fmla="*/ 0 w 123"/>
                <a:gd name="T9" fmla="*/ 45 h 219"/>
                <a:gd name="T10" fmla="*/ 45 w 123"/>
                <a:gd name="T11" fmla="*/ 0 h 219"/>
                <a:gd name="T12" fmla="*/ 78 w 123"/>
                <a:gd name="T13" fmla="*/ 0 h 219"/>
                <a:gd name="T14" fmla="*/ 123 w 123"/>
                <a:gd name="T15" fmla="*/ 45 h 219"/>
                <a:gd name="T16" fmla="*/ 123 w 123"/>
                <a:gd name="T17" fmla="*/ 17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219">
                  <a:moveTo>
                    <a:pt x="123" y="174"/>
                  </a:moveTo>
                  <a:cubicBezTo>
                    <a:pt x="123" y="198"/>
                    <a:pt x="102" y="219"/>
                    <a:pt x="78" y="219"/>
                  </a:cubicBezTo>
                  <a:cubicBezTo>
                    <a:pt x="45" y="219"/>
                    <a:pt x="45" y="219"/>
                    <a:pt x="45" y="219"/>
                  </a:cubicBezTo>
                  <a:cubicBezTo>
                    <a:pt x="20" y="219"/>
                    <a:pt x="0" y="198"/>
                    <a:pt x="0" y="174"/>
                  </a:cubicBezTo>
                  <a:cubicBezTo>
                    <a:pt x="0" y="45"/>
                    <a:pt x="0" y="45"/>
                    <a:pt x="0" y="45"/>
                  </a:cubicBezTo>
                  <a:cubicBezTo>
                    <a:pt x="0" y="20"/>
                    <a:pt x="20" y="0"/>
                    <a:pt x="45" y="0"/>
                  </a:cubicBezTo>
                  <a:cubicBezTo>
                    <a:pt x="78" y="0"/>
                    <a:pt x="78" y="0"/>
                    <a:pt x="78" y="0"/>
                  </a:cubicBezTo>
                  <a:cubicBezTo>
                    <a:pt x="102" y="0"/>
                    <a:pt x="123" y="20"/>
                    <a:pt x="123" y="45"/>
                  </a:cubicBezTo>
                  <a:lnTo>
                    <a:pt x="123" y="17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Freeform 181">
              <a:extLst>
                <a:ext uri="{FF2B5EF4-FFF2-40B4-BE49-F238E27FC236}">
                  <a16:creationId xmlns:a16="http://schemas.microsoft.com/office/drawing/2014/main" id="{8751F810-B547-4F00-84D6-1B98847F9046}"/>
                </a:ext>
              </a:extLst>
            </p:cNvPr>
            <p:cNvSpPr>
              <a:spLocks/>
            </p:cNvSpPr>
            <p:nvPr/>
          </p:nvSpPr>
          <p:spPr bwMode="gray">
            <a:xfrm flipH="1">
              <a:off x="5437491" y="5326986"/>
              <a:ext cx="926121" cy="1607848"/>
            </a:xfrm>
            <a:custGeom>
              <a:avLst/>
              <a:gdLst>
                <a:gd name="T0" fmla="*/ 101 w 122"/>
                <a:gd name="T1" fmla="*/ 0 h 212"/>
                <a:gd name="T2" fmla="*/ 102 w 122"/>
                <a:gd name="T3" fmla="*/ 8 h 212"/>
                <a:gd name="T4" fmla="*/ 102 w 122"/>
                <a:gd name="T5" fmla="*/ 106 h 212"/>
                <a:gd name="T6" fmla="*/ 79 w 122"/>
                <a:gd name="T7" fmla="*/ 159 h 212"/>
                <a:gd name="T8" fmla="*/ 26 w 122"/>
                <a:gd name="T9" fmla="*/ 182 h 212"/>
                <a:gd name="T10" fmla="*/ 24 w 122"/>
                <a:gd name="T11" fmla="*/ 182 h 212"/>
                <a:gd name="T12" fmla="*/ 0 w 122"/>
                <a:gd name="T13" fmla="*/ 174 h 212"/>
                <a:gd name="T14" fmla="*/ 44 w 122"/>
                <a:gd name="T15" fmla="*/ 212 h 212"/>
                <a:gd name="T16" fmla="*/ 77 w 122"/>
                <a:gd name="T17" fmla="*/ 212 h 212"/>
                <a:gd name="T18" fmla="*/ 122 w 122"/>
                <a:gd name="T19" fmla="*/ 167 h 212"/>
                <a:gd name="T20" fmla="*/ 122 w 122"/>
                <a:gd name="T21" fmla="*/ 38 h 212"/>
                <a:gd name="T22" fmla="*/ 101 w 122"/>
                <a:gd name="T23"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 h="212">
                  <a:moveTo>
                    <a:pt x="101" y="0"/>
                  </a:moveTo>
                  <a:cubicBezTo>
                    <a:pt x="101" y="3"/>
                    <a:pt x="102" y="5"/>
                    <a:pt x="102" y="8"/>
                  </a:cubicBezTo>
                  <a:cubicBezTo>
                    <a:pt x="102" y="106"/>
                    <a:pt x="102" y="106"/>
                    <a:pt x="102" y="106"/>
                  </a:cubicBezTo>
                  <a:cubicBezTo>
                    <a:pt x="102" y="125"/>
                    <a:pt x="94" y="144"/>
                    <a:pt x="79" y="159"/>
                  </a:cubicBezTo>
                  <a:cubicBezTo>
                    <a:pt x="64" y="174"/>
                    <a:pt x="45" y="182"/>
                    <a:pt x="26" y="182"/>
                  </a:cubicBezTo>
                  <a:cubicBezTo>
                    <a:pt x="24" y="182"/>
                    <a:pt x="24" y="182"/>
                    <a:pt x="24" y="182"/>
                  </a:cubicBezTo>
                  <a:cubicBezTo>
                    <a:pt x="15" y="182"/>
                    <a:pt x="7" y="179"/>
                    <a:pt x="0" y="174"/>
                  </a:cubicBezTo>
                  <a:cubicBezTo>
                    <a:pt x="3" y="195"/>
                    <a:pt x="22" y="212"/>
                    <a:pt x="44" y="212"/>
                  </a:cubicBezTo>
                  <a:cubicBezTo>
                    <a:pt x="77" y="212"/>
                    <a:pt x="77" y="212"/>
                    <a:pt x="77" y="212"/>
                  </a:cubicBezTo>
                  <a:cubicBezTo>
                    <a:pt x="101" y="212"/>
                    <a:pt x="122" y="191"/>
                    <a:pt x="122" y="167"/>
                  </a:cubicBezTo>
                  <a:cubicBezTo>
                    <a:pt x="122" y="38"/>
                    <a:pt x="122" y="38"/>
                    <a:pt x="122" y="38"/>
                  </a:cubicBezTo>
                  <a:cubicBezTo>
                    <a:pt x="122" y="22"/>
                    <a:pt x="113" y="8"/>
                    <a:pt x="101" y="0"/>
                  </a:cubicBezTo>
                  <a:close/>
                </a:path>
              </a:pathLst>
            </a:custGeom>
            <a:solidFill>
              <a:srgbClr val="E6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 name="Oval 182">
              <a:extLst>
                <a:ext uri="{FF2B5EF4-FFF2-40B4-BE49-F238E27FC236}">
                  <a16:creationId xmlns:a16="http://schemas.microsoft.com/office/drawing/2014/main" id="{8669F233-ED99-4FF0-B4EF-E5A9D1D18475}"/>
                </a:ext>
              </a:extLst>
            </p:cNvPr>
            <p:cNvSpPr>
              <a:spLocks noChangeArrowheads="1"/>
            </p:cNvSpPr>
            <p:nvPr/>
          </p:nvSpPr>
          <p:spPr bwMode="gray">
            <a:xfrm flipH="1">
              <a:off x="5833021" y="5552085"/>
              <a:ext cx="151139" cy="154353"/>
            </a:xfrm>
            <a:prstGeom prst="ellipse">
              <a:avLst/>
            </a:prstGeom>
            <a:solidFill>
              <a:schemeClr val="bg2">
                <a:lumMod val="2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58" name="Gruppieren 157">
            <a:extLst>
              <a:ext uri="{FF2B5EF4-FFF2-40B4-BE49-F238E27FC236}">
                <a16:creationId xmlns:a16="http://schemas.microsoft.com/office/drawing/2014/main" id="{3D003C71-C561-4A1B-8454-05B8B7509395}"/>
              </a:ext>
            </a:extLst>
          </p:cNvPr>
          <p:cNvGrpSpPr/>
          <p:nvPr/>
        </p:nvGrpSpPr>
        <p:grpSpPr bwMode="gray">
          <a:xfrm>
            <a:off x="4061548" y="2202974"/>
            <a:ext cx="1530396" cy="1494995"/>
            <a:chOff x="4495291" y="2725487"/>
            <a:chExt cx="1807222" cy="1765418"/>
          </a:xfrm>
        </p:grpSpPr>
        <p:sp>
          <p:nvSpPr>
            <p:cNvPr id="144" name="Oval 172">
              <a:extLst>
                <a:ext uri="{FF2B5EF4-FFF2-40B4-BE49-F238E27FC236}">
                  <a16:creationId xmlns:a16="http://schemas.microsoft.com/office/drawing/2014/main" id="{58865BE3-657E-46FE-BD03-0BE325A6B81C}"/>
                </a:ext>
              </a:extLst>
            </p:cNvPr>
            <p:cNvSpPr>
              <a:spLocks noChangeArrowheads="1"/>
            </p:cNvSpPr>
            <p:nvPr/>
          </p:nvSpPr>
          <p:spPr bwMode="gray">
            <a:xfrm flipH="1">
              <a:off x="4527448" y="2725487"/>
              <a:ext cx="1775065" cy="1765418"/>
            </a:xfrm>
            <a:prstGeom prst="ellipse">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175">
              <a:extLst>
                <a:ext uri="{FF2B5EF4-FFF2-40B4-BE49-F238E27FC236}">
                  <a16:creationId xmlns:a16="http://schemas.microsoft.com/office/drawing/2014/main" id="{1272B0BE-6743-4A60-BC49-64D84D9E607B}"/>
                </a:ext>
              </a:extLst>
            </p:cNvPr>
            <p:cNvSpPr>
              <a:spLocks/>
            </p:cNvSpPr>
            <p:nvPr/>
          </p:nvSpPr>
          <p:spPr bwMode="gray">
            <a:xfrm flipH="1">
              <a:off x="4495291" y="3664471"/>
              <a:ext cx="405178" cy="266904"/>
            </a:xfrm>
            <a:custGeom>
              <a:avLst/>
              <a:gdLst>
                <a:gd name="T0" fmla="*/ 52 w 53"/>
                <a:gd name="T1" fmla="*/ 25 h 35"/>
                <a:gd name="T2" fmla="*/ 46 w 53"/>
                <a:gd name="T3" fmla="*/ 33 h 35"/>
                <a:gd name="T4" fmla="*/ 37 w 53"/>
                <a:gd name="T5" fmla="*/ 34 h 35"/>
                <a:gd name="T6" fmla="*/ 0 w 53"/>
                <a:gd name="T7" fmla="*/ 24 h 35"/>
                <a:gd name="T8" fmla="*/ 7 w 53"/>
                <a:gd name="T9" fmla="*/ 0 h 35"/>
                <a:gd name="T10" fmla="*/ 43 w 53"/>
                <a:gd name="T11" fmla="*/ 10 h 35"/>
                <a:gd name="T12" fmla="*/ 51 w 53"/>
                <a:gd name="T13" fmla="*/ 16 h 35"/>
                <a:gd name="T14" fmla="*/ 52 w 53"/>
                <a:gd name="T15" fmla="*/ 2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35">
                  <a:moveTo>
                    <a:pt x="52" y="25"/>
                  </a:moveTo>
                  <a:cubicBezTo>
                    <a:pt x="51" y="28"/>
                    <a:pt x="49" y="31"/>
                    <a:pt x="46" y="33"/>
                  </a:cubicBezTo>
                  <a:cubicBezTo>
                    <a:pt x="43" y="35"/>
                    <a:pt x="40" y="35"/>
                    <a:pt x="37" y="34"/>
                  </a:cubicBezTo>
                  <a:cubicBezTo>
                    <a:pt x="0" y="24"/>
                    <a:pt x="0" y="24"/>
                    <a:pt x="0" y="24"/>
                  </a:cubicBezTo>
                  <a:cubicBezTo>
                    <a:pt x="7" y="0"/>
                    <a:pt x="7" y="0"/>
                    <a:pt x="7" y="0"/>
                  </a:cubicBezTo>
                  <a:cubicBezTo>
                    <a:pt x="43" y="10"/>
                    <a:pt x="43" y="10"/>
                    <a:pt x="43" y="10"/>
                  </a:cubicBezTo>
                  <a:cubicBezTo>
                    <a:pt x="47" y="11"/>
                    <a:pt x="49" y="13"/>
                    <a:pt x="51" y="16"/>
                  </a:cubicBezTo>
                  <a:cubicBezTo>
                    <a:pt x="53" y="19"/>
                    <a:pt x="53" y="22"/>
                    <a:pt x="52"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176">
              <a:extLst>
                <a:ext uri="{FF2B5EF4-FFF2-40B4-BE49-F238E27FC236}">
                  <a16:creationId xmlns:a16="http://schemas.microsoft.com/office/drawing/2014/main" id="{CD147195-F67D-49D3-BF9A-7D051D03102F}"/>
                </a:ext>
              </a:extLst>
            </p:cNvPr>
            <p:cNvSpPr>
              <a:spLocks/>
            </p:cNvSpPr>
            <p:nvPr/>
          </p:nvSpPr>
          <p:spPr bwMode="gray">
            <a:xfrm flipH="1">
              <a:off x="4739684" y="3664471"/>
              <a:ext cx="160785" cy="212236"/>
            </a:xfrm>
            <a:custGeom>
              <a:avLst/>
              <a:gdLst>
                <a:gd name="T0" fmla="*/ 7 w 21"/>
                <a:gd name="T1" fmla="*/ 0 h 28"/>
                <a:gd name="T2" fmla="*/ 0 w 21"/>
                <a:gd name="T3" fmla="*/ 24 h 28"/>
                <a:gd name="T4" fmla="*/ 14 w 21"/>
                <a:gd name="T5" fmla="*/ 28 h 28"/>
                <a:gd name="T6" fmla="*/ 21 w 21"/>
                <a:gd name="T7" fmla="*/ 4 h 28"/>
                <a:gd name="T8" fmla="*/ 7 w 21"/>
                <a:gd name="T9" fmla="*/ 0 h 28"/>
              </a:gdLst>
              <a:ahLst/>
              <a:cxnLst>
                <a:cxn ang="0">
                  <a:pos x="T0" y="T1"/>
                </a:cxn>
                <a:cxn ang="0">
                  <a:pos x="T2" y="T3"/>
                </a:cxn>
                <a:cxn ang="0">
                  <a:pos x="T4" y="T5"/>
                </a:cxn>
                <a:cxn ang="0">
                  <a:pos x="T6" y="T7"/>
                </a:cxn>
                <a:cxn ang="0">
                  <a:pos x="T8" y="T9"/>
                </a:cxn>
              </a:cxnLst>
              <a:rect l="0" t="0" r="r" b="b"/>
              <a:pathLst>
                <a:path w="21" h="28">
                  <a:moveTo>
                    <a:pt x="7" y="0"/>
                  </a:moveTo>
                  <a:cubicBezTo>
                    <a:pt x="0" y="24"/>
                    <a:pt x="0" y="24"/>
                    <a:pt x="0" y="24"/>
                  </a:cubicBezTo>
                  <a:cubicBezTo>
                    <a:pt x="14" y="28"/>
                    <a:pt x="14" y="28"/>
                    <a:pt x="14" y="28"/>
                  </a:cubicBezTo>
                  <a:cubicBezTo>
                    <a:pt x="17" y="20"/>
                    <a:pt x="19" y="12"/>
                    <a:pt x="21" y="4"/>
                  </a:cubicBezTo>
                  <a:lnTo>
                    <a:pt x="7"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9" name="Oval 177">
              <a:extLst>
                <a:ext uri="{FF2B5EF4-FFF2-40B4-BE49-F238E27FC236}">
                  <a16:creationId xmlns:a16="http://schemas.microsoft.com/office/drawing/2014/main" id="{DCB06473-1378-4E0B-8473-4BB2A40B16BD}"/>
                </a:ext>
              </a:extLst>
            </p:cNvPr>
            <p:cNvSpPr>
              <a:spLocks noChangeArrowheads="1"/>
            </p:cNvSpPr>
            <p:nvPr/>
          </p:nvSpPr>
          <p:spPr bwMode="gray">
            <a:xfrm flipH="1">
              <a:off x="4816861" y="3011685"/>
              <a:ext cx="1199456" cy="11930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Oval 178">
              <a:extLst>
                <a:ext uri="{FF2B5EF4-FFF2-40B4-BE49-F238E27FC236}">
                  <a16:creationId xmlns:a16="http://schemas.microsoft.com/office/drawing/2014/main" id="{BA614FB3-5D2F-40DE-8E13-2733403C3A32}"/>
                </a:ext>
              </a:extLst>
            </p:cNvPr>
            <p:cNvSpPr>
              <a:spLocks noChangeArrowheads="1"/>
            </p:cNvSpPr>
            <p:nvPr/>
          </p:nvSpPr>
          <p:spPr bwMode="gray">
            <a:xfrm flipH="1">
              <a:off x="4913332" y="3104940"/>
              <a:ext cx="1003297" cy="1006514"/>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1" name="Freeform 179">
              <a:extLst>
                <a:ext uri="{FF2B5EF4-FFF2-40B4-BE49-F238E27FC236}">
                  <a16:creationId xmlns:a16="http://schemas.microsoft.com/office/drawing/2014/main" id="{DAFCB115-C2D2-4B26-9E79-CB29CB5D857F}"/>
                </a:ext>
              </a:extLst>
            </p:cNvPr>
            <p:cNvSpPr>
              <a:spLocks/>
            </p:cNvSpPr>
            <p:nvPr/>
          </p:nvSpPr>
          <p:spPr bwMode="gray">
            <a:xfrm flipH="1">
              <a:off x="4996940" y="3104940"/>
              <a:ext cx="919689" cy="922906"/>
            </a:xfrm>
            <a:custGeom>
              <a:avLst/>
              <a:gdLst>
                <a:gd name="T0" fmla="*/ 19 w 121"/>
                <a:gd name="T1" fmla="*/ 85 h 122"/>
                <a:gd name="T2" fmla="*/ 85 w 121"/>
                <a:gd name="T3" fmla="*/ 19 h 122"/>
                <a:gd name="T4" fmla="*/ 121 w 121"/>
                <a:gd name="T5" fmla="*/ 30 h 122"/>
                <a:gd name="T6" fmla="*/ 66 w 121"/>
                <a:gd name="T7" fmla="*/ 0 h 122"/>
                <a:gd name="T8" fmla="*/ 0 w 121"/>
                <a:gd name="T9" fmla="*/ 66 h 122"/>
                <a:gd name="T10" fmla="*/ 30 w 121"/>
                <a:gd name="T11" fmla="*/ 122 h 122"/>
                <a:gd name="T12" fmla="*/ 19 w 121"/>
                <a:gd name="T13" fmla="*/ 85 h 122"/>
              </a:gdLst>
              <a:ahLst/>
              <a:cxnLst>
                <a:cxn ang="0">
                  <a:pos x="T0" y="T1"/>
                </a:cxn>
                <a:cxn ang="0">
                  <a:pos x="T2" y="T3"/>
                </a:cxn>
                <a:cxn ang="0">
                  <a:pos x="T4" y="T5"/>
                </a:cxn>
                <a:cxn ang="0">
                  <a:pos x="T6" y="T7"/>
                </a:cxn>
                <a:cxn ang="0">
                  <a:pos x="T8" y="T9"/>
                </a:cxn>
                <a:cxn ang="0">
                  <a:pos x="T10" y="T11"/>
                </a:cxn>
                <a:cxn ang="0">
                  <a:pos x="T12" y="T13"/>
                </a:cxn>
              </a:cxnLst>
              <a:rect l="0" t="0" r="r" b="b"/>
              <a:pathLst>
                <a:path w="121" h="122">
                  <a:moveTo>
                    <a:pt x="19" y="85"/>
                  </a:moveTo>
                  <a:cubicBezTo>
                    <a:pt x="19" y="49"/>
                    <a:pt x="48" y="19"/>
                    <a:pt x="85" y="19"/>
                  </a:cubicBezTo>
                  <a:cubicBezTo>
                    <a:pt x="98" y="19"/>
                    <a:pt x="111" y="23"/>
                    <a:pt x="121" y="30"/>
                  </a:cubicBezTo>
                  <a:cubicBezTo>
                    <a:pt x="109" y="12"/>
                    <a:pt x="89" y="0"/>
                    <a:pt x="66" y="0"/>
                  </a:cubicBezTo>
                  <a:cubicBezTo>
                    <a:pt x="29" y="0"/>
                    <a:pt x="0" y="30"/>
                    <a:pt x="0" y="66"/>
                  </a:cubicBezTo>
                  <a:cubicBezTo>
                    <a:pt x="0" y="90"/>
                    <a:pt x="12" y="110"/>
                    <a:pt x="30" y="122"/>
                  </a:cubicBezTo>
                  <a:cubicBezTo>
                    <a:pt x="23" y="111"/>
                    <a:pt x="19" y="99"/>
                    <a:pt x="19" y="8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60" name="Freihandform: Form 159">
            <a:extLst>
              <a:ext uri="{FF2B5EF4-FFF2-40B4-BE49-F238E27FC236}">
                <a16:creationId xmlns:a16="http://schemas.microsoft.com/office/drawing/2014/main" id="{18074BBC-4B89-4228-97D2-9283FF67A54A}"/>
              </a:ext>
            </a:extLst>
          </p:cNvPr>
          <p:cNvSpPr>
            <a:spLocks/>
          </p:cNvSpPr>
          <p:nvPr/>
        </p:nvSpPr>
        <p:spPr bwMode="gray">
          <a:xfrm flipH="1">
            <a:off x="5495865" y="4329592"/>
            <a:ext cx="5859590" cy="2535886"/>
          </a:xfrm>
          <a:custGeom>
            <a:avLst/>
            <a:gdLst>
              <a:gd name="connsiteX0" fmla="*/ 5859590 w 5859590"/>
              <a:gd name="connsiteY0" fmla="*/ 0 h 2535886"/>
              <a:gd name="connsiteX1" fmla="*/ 0 w 5859590"/>
              <a:gd name="connsiteY1" fmla="*/ 0 h 2535886"/>
              <a:gd name="connsiteX2" fmla="*/ 0 w 5859590"/>
              <a:gd name="connsiteY2" fmla="*/ 2499695 h 2535886"/>
              <a:gd name="connsiteX3" fmla="*/ 0 w 5859590"/>
              <a:gd name="connsiteY3" fmla="*/ 2535886 h 2535886"/>
              <a:gd name="connsiteX4" fmla="*/ 5859590 w 5859590"/>
              <a:gd name="connsiteY4" fmla="*/ 2535886 h 2535886"/>
              <a:gd name="connsiteX5" fmla="*/ 5859590 w 5859590"/>
              <a:gd name="connsiteY5" fmla="*/ 2353045 h 2535886"/>
              <a:gd name="connsiteX6" fmla="*/ 5859590 w 5859590"/>
              <a:gd name="connsiteY6" fmla="*/ 0 h 2535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9590" h="2535886">
                <a:moveTo>
                  <a:pt x="5859590" y="0"/>
                </a:moveTo>
                <a:lnTo>
                  <a:pt x="0" y="0"/>
                </a:lnTo>
                <a:cubicBezTo>
                  <a:pt x="0" y="1284339"/>
                  <a:pt x="0" y="2046915"/>
                  <a:pt x="0" y="2499695"/>
                </a:cubicBezTo>
                <a:lnTo>
                  <a:pt x="0" y="2535886"/>
                </a:lnTo>
                <a:lnTo>
                  <a:pt x="5859590" y="2535886"/>
                </a:lnTo>
                <a:lnTo>
                  <a:pt x="5859590" y="2353045"/>
                </a:lnTo>
                <a:cubicBezTo>
                  <a:pt x="5859590" y="0"/>
                  <a:pt x="5859590" y="0"/>
                  <a:pt x="5859590" y="0"/>
                </a:cubicBezTo>
                <a:close/>
              </a:path>
            </a:pathLst>
          </a:custGeom>
          <a:solidFill>
            <a:schemeClr val="bg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62" name="Freihandform: Form 161">
            <a:extLst>
              <a:ext uri="{FF2B5EF4-FFF2-40B4-BE49-F238E27FC236}">
                <a16:creationId xmlns:a16="http://schemas.microsoft.com/office/drawing/2014/main" id="{AAE968FA-289D-422C-9DD8-B0E35E24F627}"/>
              </a:ext>
            </a:extLst>
          </p:cNvPr>
          <p:cNvSpPr>
            <a:spLocks/>
          </p:cNvSpPr>
          <p:nvPr/>
        </p:nvSpPr>
        <p:spPr bwMode="gray">
          <a:xfrm flipH="1">
            <a:off x="7698600" y="6669510"/>
            <a:ext cx="1454120" cy="195969"/>
          </a:xfrm>
          <a:custGeom>
            <a:avLst/>
            <a:gdLst>
              <a:gd name="connsiteX0" fmla="*/ 1426334 w 1454120"/>
              <a:gd name="connsiteY0" fmla="*/ 0 h 195969"/>
              <a:gd name="connsiteX1" fmla="*/ 18524 w 1454120"/>
              <a:gd name="connsiteY1" fmla="*/ 0 h 195969"/>
              <a:gd name="connsiteX2" fmla="*/ 0 w 1454120"/>
              <a:gd name="connsiteY2" fmla="*/ 18484 h 195969"/>
              <a:gd name="connsiteX3" fmla="*/ 0 w 1454120"/>
              <a:gd name="connsiteY3" fmla="*/ 168162 h 195969"/>
              <a:gd name="connsiteX4" fmla="*/ 0 w 1454120"/>
              <a:gd name="connsiteY4" fmla="*/ 195969 h 195969"/>
              <a:gd name="connsiteX5" fmla="*/ 1454120 w 1454120"/>
              <a:gd name="connsiteY5" fmla="*/ 195969 h 195969"/>
              <a:gd name="connsiteX6" fmla="*/ 1454120 w 1454120"/>
              <a:gd name="connsiteY6" fmla="*/ 18484 h 195969"/>
              <a:gd name="connsiteX7" fmla="*/ 1426334 w 1454120"/>
              <a:gd name="connsiteY7" fmla="*/ 0 h 19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4120" h="195969">
                <a:moveTo>
                  <a:pt x="1426334" y="0"/>
                </a:moveTo>
                <a:cubicBezTo>
                  <a:pt x="1426334" y="0"/>
                  <a:pt x="1426334" y="0"/>
                  <a:pt x="18524" y="0"/>
                </a:cubicBezTo>
                <a:cubicBezTo>
                  <a:pt x="9262" y="0"/>
                  <a:pt x="0" y="9242"/>
                  <a:pt x="0" y="18484"/>
                </a:cubicBezTo>
                <a:cubicBezTo>
                  <a:pt x="0" y="18484"/>
                  <a:pt x="0" y="18484"/>
                  <a:pt x="0" y="168162"/>
                </a:cubicBezTo>
                <a:lnTo>
                  <a:pt x="0" y="195969"/>
                </a:lnTo>
                <a:lnTo>
                  <a:pt x="1454120" y="195969"/>
                </a:lnTo>
                <a:lnTo>
                  <a:pt x="1454120" y="18484"/>
                </a:lnTo>
                <a:cubicBezTo>
                  <a:pt x="1454120" y="9242"/>
                  <a:pt x="1444858" y="0"/>
                  <a:pt x="142633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73" name="Freeform 52">
            <a:extLst>
              <a:ext uri="{FF2B5EF4-FFF2-40B4-BE49-F238E27FC236}">
                <a16:creationId xmlns:a16="http://schemas.microsoft.com/office/drawing/2014/main" id="{FC5E972A-88F6-463F-9087-B88FF2FCB9CC}"/>
              </a:ext>
            </a:extLst>
          </p:cNvPr>
          <p:cNvSpPr>
            <a:spLocks/>
          </p:cNvSpPr>
          <p:nvPr/>
        </p:nvSpPr>
        <p:spPr bwMode="gray">
          <a:xfrm flipH="1">
            <a:off x="10716585" y="4674505"/>
            <a:ext cx="297879" cy="293960"/>
          </a:xfrm>
          <a:custGeom>
            <a:avLst/>
            <a:gdLst>
              <a:gd name="T0" fmla="*/ 32 w 32"/>
              <a:gd name="T1" fmla="*/ 30 h 32"/>
              <a:gd name="T2" fmla="*/ 31 w 32"/>
              <a:gd name="T3" fmla="*/ 32 h 32"/>
              <a:gd name="T4" fmla="*/ 2 w 32"/>
              <a:gd name="T5" fmla="*/ 32 h 32"/>
              <a:gd name="T6" fmla="*/ 0 w 32"/>
              <a:gd name="T7" fmla="*/ 30 h 32"/>
              <a:gd name="T8" fmla="*/ 0 w 32"/>
              <a:gd name="T9" fmla="*/ 2 h 32"/>
              <a:gd name="T10" fmla="*/ 2 w 32"/>
              <a:gd name="T11" fmla="*/ 0 h 32"/>
              <a:gd name="T12" fmla="*/ 31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2" y="32"/>
                  <a:pt x="31" y="32"/>
                </a:cubicBezTo>
                <a:cubicBezTo>
                  <a:pt x="2" y="32"/>
                  <a:pt x="2" y="32"/>
                  <a:pt x="2" y="32"/>
                </a:cubicBezTo>
                <a:cubicBezTo>
                  <a:pt x="1" y="32"/>
                  <a:pt x="0" y="31"/>
                  <a:pt x="0" y="30"/>
                </a:cubicBezTo>
                <a:cubicBezTo>
                  <a:pt x="0" y="2"/>
                  <a:pt x="0" y="2"/>
                  <a:pt x="0" y="2"/>
                </a:cubicBezTo>
                <a:cubicBezTo>
                  <a:pt x="0" y="1"/>
                  <a:pt x="1" y="0"/>
                  <a:pt x="2" y="0"/>
                </a:cubicBezTo>
                <a:cubicBezTo>
                  <a:pt x="31" y="0"/>
                  <a:pt x="31" y="0"/>
                  <a:pt x="31" y="0"/>
                </a:cubicBezTo>
                <a:cubicBezTo>
                  <a:pt x="32"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53">
            <a:extLst>
              <a:ext uri="{FF2B5EF4-FFF2-40B4-BE49-F238E27FC236}">
                <a16:creationId xmlns:a16="http://schemas.microsoft.com/office/drawing/2014/main" id="{8EBB1853-9875-4A08-B142-A7B76D7BCE29}"/>
              </a:ext>
            </a:extLst>
          </p:cNvPr>
          <p:cNvSpPr>
            <a:spLocks/>
          </p:cNvSpPr>
          <p:nvPr/>
        </p:nvSpPr>
        <p:spPr bwMode="gray">
          <a:xfrm flipH="1">
            <a:off x="10171779" y="5035095"/>
            <a:ext cx="293960"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54">
            <a:extLst>
              <a:ext uri="{FF2B5EF4-FFF2-40B4-BE49-F238E27FC236}">
                <a16:creationId xmlns:a16="http://schemas.microsoft.com/office/drawing/2014/main" id="{3F6BF6DC-4526-413B-A92C-D517E6839688}"/>
              </a:ext>
            </a:extLst>
          </p:cNvPr>
          <p:cNvSpPr>
            <a:spLocks/>
          </p:cNvSpPr>
          <p:nvPr/>
        </p:nvSpPr>
        <p:spPr bwMode="gray">
          <a:xfrm flipH="1">
            <a:off x="10089469" y="5395684"/>
            <a:ext cx="293960"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55">
            <a:extLst>
              <a:ext uri="{FF2B5EF4-FFF2-40B4-BE49-F238E27FC236}">
                <a16:creationId xmlns:a16="http://schemas.microsoft.com/office/drawing/2014/main" id="{F9ABEFCC-E144-4FAB-8068-E246452D8147}"/>
              </a:ext>
            </a:extLst>
          </p:cNvPr>
          <p:cNvSpPr>
            <a:spLocks/>
          </p:cNvSpPr>
          <p:nvPr/>
        </p:nvSpPr>
        <p:spPr bwMode="gray">
          <a:xfrm flipH="1">
            <a:off x="10261928" y="5756274"/>
            <a:ext cx="297879"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56">
            <a:extLst>
              <a:ext uri="{FF2B5EF4-FFF2-40B4-BE49-F238E27FC236}">
                <a16:creationId xmlns:a16="http://schemas.microsoft.com/office/drawing/2014/main" id="{BB04CC21-17A6-485B-9FF5-7A5826719598}"/>
              </a:ext>
            </a:extLst>
          </p:cNvPr>
          <p:cNvSpPr>
            <a:spLocks/>
          </p:cNvSpPr>
          <p:nvPr/>
        </p:nvSpPr>
        <p:spPr bwMode="gray">
          <a:xfrm flipH="1">
            <a:off x="10716585" y="6116864"/>
            <a:ext cx="297879" cy="329234"/>
          </a:xfrm>
          <a:custGeom>
            <a:avLst/>
            <a:gdLst>
              <a:gd name="T0" fmla="*/ 32 w 32"/>
              <a:gd name="T1" fmla="*/ 35 h 36"/>
              <a:gd name="T2" fmla="*/ 31 w 32"/>
              <a:gd name="T3" fmla="*/ 36 h 36"/>
              <a:gd name="T4" fmla="*/ 2 w 32"/>
              <a:gd name="T5" fmla="*/ 36 h 36"/>
              <a:gd name="T6" fmla="*/ 0 w 32"/>
              <a:gd name="T7" fmla="*/ 35 h 36"/>
              <a:gd name="T8" fmla="*/ 0 w 32"/>
              <a:gd name="T9" fmla="*/ 1 h 36"/>
              <a:gd name="T10" fmla="*/ 2 w 32"/>
              <a:gd name="T11" fmla="*/ 0 h 36"/>
              <a:gd name="T12" fmla="*/ 31 w 32"/>
              <a:gd name="T13" fmla="*/ 0 h 36"/>
              <a:gd name="T14" fmla="*/ 32 w 32"/>
              <a:gd name="T15" fmla="*/ 1 h 36"/>
              <a:gd name="T16" fmla="*/ 32 w 3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32" y="35"/>
                </a:moveTo>
                <a:cubicBezTo>
                  <a:pt x="32" y="36"/>
                  <a:pt x="32" y="36"/>
                  <a:pt x="31" y="36"/>
                </a:cubicBezTo>
                <a:cubicBezTo>
                  <a:pt x="2" y="36"/>
                  <a:pt x="2" y="36"/>
                  <a:pt x="2" y="36"/>
                </a:cubicBezTo>
                <a:cubicBezTo>
                  <a:pt x="1" y="36"/>
                  <a:pt x="0" y="36"/>
                  <a:pt x="0" y="35"/>
                </a:cubicBezTo>
                <a:cubicBezTo>
                  <a:pt x="0" y="1"/>
                  <a:pt x="0" y="1"/>
                  <a:pt x="0" y="1"/>
                </a:cubicBezTo>
                <a:cubicBezTo>
                  <a:pt x="0" y="0"/>
                  <a:pt x="1" y="0"/>
                  <a:pt x="2" y="0"/>
                </a:cubicBezTo>
                <a:cubicBezTo>
                  <a:pt x="31" y="0"/>
                  <a:pt x="31" y="0"/>
                  <a:pt x="31" y="0"/>
                </a:cubicBezTo>
                <a:cubicBezTo>
                  <a:pt x="32" y="0"/>
                  <a:pt x="32" y="0"/>
                  <a:pt x="32" y="1"/>
                </a:cubicBezTo>
                <a:lnTo>
                  <a:pt x="3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57">
            <a:extLst>
              <a:ext uri="{FF2B5EF4-FFF2-40B4-BE49-F238E27FC236}">
                <a16:creationId xmlns:a16="http://schemas.microsoft.com/office/drawing/2014/main" id="{4E74610B-9F4A-4C18-8168-998D1EB8E46A}"/>
              </a:ext>
            </a:extLst>
          </p:cNvPr>
          <p:cNvSpPr>
            <a:spLocks/>
          </p:cNvSpPr>
          <p:nvPr/>
        </p:nvSpPr>
        <p:spPr bwMode="gray">
          <a:xfrm flipH="1">
            <a:off x="10355994" y="6116864"/>
            <a:ext cx="297879" cy="329234"/>
          </a:xfrm>
          <a:custGeom>
            <a:avLst/>
            <a:gdLst>
              <a:gd name="T0" fmla="*/ 32 w 32"/>
              <a:gd name="T1" fmla="*/ 35 h 36"/>
              <a:gd name="T2" fmla="*/ 30 w 32"/>
              <a:gd name="T3" fmla="*/ 36 h 36"/>
              <a:gd name="T4" fmla="*/ 2 w 32"/>
              <a:gd name="T5" fmla="*/ 36 h 36"/>
              <a:gd name="T6" fmla="*/ 0 w 32"/>
              <a:gd name="T7" fmla="*/ 35 h 36"/>
              <a:gd name="T8" fmla="*/ 0 w 32"/>
              <a:gd name="T9" fmla="*/ 1 h 36"/>
              <a:gd name="T10" fmla="*/ 2 w 32"/>
              <a:gd name="T11" fmla="*/ 0 h 36"/>
              <a:gd name="T12" fmla="*/ 30 w 32"/>
              <a:gd name="T13" fmla="*/ 0 h 36"/>
              <a:gd name="T14" fmla="*/ 32 w 32"/>
              <a:gd name="T15" fmla="*/ 1 h 36"/>
              <a:gd name="T16" fmla="*/ 32 w 3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32" y="35"/>
                </a:moveTo>
                <a:cubicBezTo>
                  <a:pt x="32" y="36"/>
                  <a:pt x="31" y="36"/>
                  <a:pt x="30" y="36"/>
                </a:cubicBezTo>
                <a:cubicBezTo>
                  <a:pt x="2" y="36"/>
                  <a:pt x="2" y="36"/>
                  <a:pt x="2" y="36"/>
                </a:cubicBezTo>
                <a:cubicBezTo>
                  <a:pt x="1" y="36"/>
                  <a:pt x="0" y="36"/>
                  <a:pt x="0" y="35"/>
                </a:cubicBezTo>
                <a:cubicBezTo>
                  <a:pt x="0" y="1"/>
                  <a:pt x="0" y="1"/>
                  <a:pt x="0" y="1"/>
                </a:cubicBezTo>
                <a:cubicBezTo>
                  <a:pt x="0" y="0"/>
                  <a:pt x="1" y="0"/>
                  <a:pt x="2" y="0"/>
                </a:cubicBezTo>
                <a:cubicBezTo>
                  <a:pt x="30" y="0"/>
                  <a:pt x="30" y="0"/>
                  <a:pt x="30" y="0"/>
                </a:cubicBezTo>
                <a:cubicBezTo>
                  <a:pt x="31" y="0"/>
                  <a:pt x="32" y="0"/>
                  <a:pt x="32" y="1"/>
                </a:cubicBezTo>
                <a:lnTo>
                  <a:pt x="3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58">
            <a:extLst>
              <a:ext uri="{FF2B5EF4-FFF2-40B4-BE49-F238E27FC236}">
                <a16:creationId xmlns:a16="http://schemas.microsoft.com/office/drawing/2014/main" id="{FD39180D-C084-443A-B9C3-374F8C51B20E}"/>
              </a:ext>
            </a:extLst>
          </p:cNvPr>
          <p:cNvSpPr>
            <a:spLocks/>
          </p:cNvSpPr>
          <p:nvPr/>
        </p:nvSpPr>
        <p:spPr bwMode="gray">
          <a:xfrm flipH="1">
            <a:off x="9995404" y="6116864"/>
            <a:ext cx="297879" cy="329234"/>
          </a:xfrm>
          <a:custGeom>
            <a:avLst/>
            <a:gdLst>
              <a:gd name="T0" fmla="*/ 32 w 32"/>
              <a:gd name="T1" fmla="*/ 35 h 36"/>
              <a:gd name="T2" fmla="*/ 30 w 32"/>
              <a:gd name="T3" fmla="*/ 36 h 36"/>
              <a:gd name="T4" fmla="*/ 2 w 32"/>
              <a:gd name="T5" fmla="*/ 36 h 36"/>
              <a:gd name="T6" fmla="*/ 0 w 32"/>
              <a:gd name="T7" fmla="*/ 35 h 36"/>
              <a:gd name="T8" fmla="*/ 0 w 32"/>
              <a:gd name="T9" fmla="*/ 1 h 36"/>
              <a:gd name="T10" fmla="*/ 2 w 32"/>
              <a:gd name="T11" fmla="*/ 0 h 36"/>
              <a:gd name="T12" fmla="*/ 30 w 32"/>
              <a:gd name="T13" fmla="*/ 0 h 36"/>
              <a:gd name="T14" fmla="*/ 32 w 32"/>
              <a:gd name="T15" fmla="*/ 1 h 36"/>
              <a:gd name="T16" fmla="*/ 32 w 3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32" y="35"/>
                </a:moveTo>
                <a:cubicBezTo>
                  <a:pt x="32" y="36"/>
                  <a:pt x="31" y="36"/>
                  <a:pt x="30" y="36"/>
                </a:cubicBezTo>
                <a:cubicBezTo>
                  <a:pt x="2" y="36"/>
                  <a:pt x="2" y="36"/>
                  <a:pt x="2" y="36"/>
                </a:cubicBezTo>
                <a:cubicBezTo>
                  <a:pt x="1" y="36"/>
                  <a:pt x="0" y="36"/>
                  <a:pt x="0" y="35"/>
                </a:cubicBezTo>
                <a:cubicBezTo>
                  <a:pt x="0" y="1"/>
                  <a:pt x="0" y="1"/>
                  <a:pt x="0" y="1"/>
                </a:cubicBezTo>
                <a:cubicBezTo>
                  <a:pt x="0" y="0"/>
                  <a:pt x="1" y="0"/>
                  <a:pt x="2" y="0"/>
                </a:cubicBezTo>
                <a:cubicBezTo>
                  <a:pt x="30" y="0"/>
                  <a:pt x="30" y="0"/>
                  <a:pt x="30" y="0"/>
                </a:cubicBezTo>
                <a:cubicBezTo>
                  <a:pt x="31" y="0"/>
                  <a:pt x="32" y="0"/>
                  <a:pt x="32" y="1"/>
                </a:cubicBezTo>
                <a:lnTo>
                  <a:pt x="3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59">
            <a:extLst>
              <a:ext uri="{FF2B5EF4-FFF2-40B4-BE49-F238E27FC236}">
                <a16:creationId xmlns:a16="http://schemas.microsoft.com/office/drawing/2014/main" id="{AAFB54F2-ED76-4858-B41C-453EA899DCEB}"/>
              </a:ext>
            </a:extLst>
          </p:cNvPr>
          <p:cNvSpPr>
            <a:spLocks/>
          </p:cNvSpPr>
          <p:nvPr/>
        </p:nvSpPr>
        <p:spPr bwMode="gray">
          <a:xfrm flipH="1">
            <a:off x="6930389" y="6116864"/>
            <a:ext cx="297879" cy="329234"/>
          </a:xfrm>
          <a:custGeom>
            <a:avLst/>
            <a:gdLst>
              <a:gd name="T0" fmla="*/ 32 w 32"/>
              <a:gd name="T1" fmla="*/ 35 h 36"/>
              <a:gd name="T2" fmla="*/ 30 w 32"/>
              <a:gd name="T3" fmla="*/ 36 h 36"/>
              <a:gd name="T4" fmla="*/ 2 w 32"/>
              <a:gd name="T5" fmla="*/ 36 h 36"/>
              <a:gd name="T6" fmla="*/ 0 w 32"/>
              <a:gd name="T7" fmla="*/ 35 h 36"/>
              <a:gd name="T8" fmla="*/ 0 w 32"/>
              <a:gd name="T9" fmla="*/ 1 h 36"/>
              <a:gd name="T10" fmla="*/ 2 w 32"/>
              <a:gd name="T11" fmla="*/ 0 h 36"/>
              <a:gd name="T12" fmla="*/ 30 w 32"/>
              <a:gd name="T13" fmla="*/ 0 h 36"/>
              <a:gd name="T14" fmla="*/ 32 w 32"/>
              <a:gd name="T15" fmla="*/ 1 h 36"/>
              <a:gd name="T16" fmla="*/ 32 w 3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6">
                <a:moveTo>
                  <a:pt x="32" y="35"/>
                </a:moveTo>
                <a:cubicBezTo>
                  <a:pt x="32" y="36"/>
                  <a:pt x="31" y="36"/>
                  <a:pt x="30" y="36"/>
                </a:cubicBezTo>
                <a:cubicBezTo>
                  <a:pt x="2" y="36"/>
                  <a:pt x="2" y="36"/>
                  <a:pt x="2" y="36"/>
                </a:cubicBezTo>
                <a:cubicBezTo>
                  <a:pt x="1" y="36"/>
                  <a:pt x="0" y="36"/>
                  <a:pt x="0" y="35"/>
                </a:cubicBezTo>
                <a:cubicBezTo>
                  <a:pt x="0" y="1"/>
                  <a:pt x="0" y="1"/>
                  <a:pt x="0" y="1"/>
                </a:cubicBezTo>
                <a:cubicBezTo>
                  <a:pt x="0" y="0"/>
                  <a:pt x="1" y="0"/>
                  <a:pt x="2" y="0"/>
                </a:cubicBezTo>
                <a:cubicBezTo>
                  <a:pt x="30" y="0"/>
                  <a:pt x="30" y="0"/>
                  <a:pt x="30" y="0"/>
                </a:cubicBezTo>
                <a:cubicBezTo>
                  <a:pt x="31" y="0"/>
                  <a:pt x="32" y="0"/>
                  <a:pt x="32" y="1"/>
                </a:cubicBezTo>
                <a:lnTo>
                  <a:pt x="3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60">
            <a:extLst>
              <a:ext uri="{FF2B5EF4-FFF2-40B4-BE49-F238E27FC236}">
                <a16:creationId xmlns:a16="http://schemas.microsoft.com/office/drawing/2014/main" id="{7588F96F-EB3A-4743-A0DD-5F85AFD5021A}"/>
              </a:ext>
            </a:extLst>
          </p:cNvPr>
          <p:cNvSpPr>
            <a:spLocks/>
          </p:cNvSpPr>
          <p:nvPr/>
        </p:nvSpPr>
        <p:spPr bwMode="gray">
          <a:xfrm flipH="1">
            <a:off x="6569799" y="6281481"/>
            <a:ext cx="297879" cy="164617"/>
          </a:xfrm>
          <a:custGeom>
            <a:avLst/>
            <a:gdLst>
              <a:gd name="T0" fmla="*/ 32 w 32"/>
              <a:gd name="T1" fmla="*/ 17 h 18"/>
              <a:gd name="T2" fmla="*/ 30 w 32"/>
              <a:gd name="T3" fmla="*/ 18 h 18"/>
              <a:gd name="T4" fmla="*/ 2 w 32"/>
              <a:gd name="T5" fmla="*/ 18 h 18"/>
              <a:gd name="T6" fmla="*/ 0 w 32"/>
              <a:gd name="T7" fmla="*/ 17 h 18"/>
              <a:gd name="T8" fmla="*/ 0 w 32"/>
              <a:gd name="T9" fmla="*/ 2 h 18"/>
              <a:gd name="T10" fmla="*/ 2 w 32"/>
              <a:gd name="T11" fmla="*/ 0 h 18"/>
              <a:gd name="T12" fmla="*/ 30 w 32"/>
              <a:gd name="T13" fmla="*/ 0 h 18"/>
              <a:gd name="T14" fmla="*/ 32 w 32"/>
              <a:gd name="T15" fmla="*/ 2 h 18"/>
              <a:gd name="T16" fmla="*/ 32 w 32"/>
              <a:gd name="T17"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8">
                <a:moveTo>
                  <a:pt x="32" y="17"/>
                </a:moveTo>
                <a:cubicBezTo>
                  <a:pt x="32" y="18"/>
                  <a:pt x="31" y="18"/>
                  <a:pt x="30" y="18"/>
                </a:cubicBezTo>
                <a:cubicBezTo>
                  <a:pt x="2" y="18"/>
                  <a:pt x="2" y="18"/>
                  <a:pt x="2" y="18"/>
                </a:cubicBezTo>
                <a:cubicBezTo>
                  <a:pt x="1" y="18"/>
                  <a:pt x="0" y="18"/>
                  <a:pt x="0" y="17"/>
                </a:cubicBezTo>
                <a:cubicBezTo>
                  <a:pt x="0" y="2"/>
                  <a:pt x="0" y="2"/>
                  <a:pt x="0" y="2"/>
                </a:cubicBezTo>
                <a:cubicBezTo>
                  <a:pt x="0" y="1"/>
                  <a:pt x="1" y="0"/>
                  <a:pt x="2" y="0"/>
                </a:cubicBezTo>
                <a:cubicBezTo>
                  <a:pt x="30" y="0"/>
                  <a:pt x="30" y="0"/>
                  <a:pt x="30" y="0"/>
                </a:cubicBezTo>
                <a:cubicBezTo>
                  <a:pt x="31" y="0"/>
                  <a:pt x="32" y="1"/>
                  <a:pt x="32" y="2"/>
                </a:cubicBezTo>
                <a:lnTo>
                  <a:pt x="32"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61">
            <a:extLst>
              <a:ext uri="{FF2B5EF4-FFF2-40B4-BE49-F238E27FC236}">
                <a16:creationId xmlns:a16="http://schemas.microsoft.com/office/drawing/2014/main" id="{D67562E2-B352-40F8-AB7E-33E983787F7F}"/>
              </a:ext>
            </a:extLst>
          </p:cNvPr>
          <p:cNvSpPr>
            <a:spLocks/>
          </p:cNvSpPr>
          <p:nvPr/>
        </p:nvSpPr>
        <p:spPr bwMode="gray">
          <a:xfrm flipH="1">
            <a:off x="5848619" y="6281481"/>
            <a:ext cx="297879" cy="164617"/>
          </a:xfrm>
          <a:custGeom>
            <a:avLst/>
            <a:gdLst>
              <a:gd name="T0" fmla="*/ 32 w 32"/>
              <a:gd name="T1" fmla="*/ 17 h 18"/>
              <a:gd name="T2" fmla="*/ 30 w 32"/>
              <a:gd name="T3" fmla="*/ 18 h 18"/>
              <a:gd name="T4" fmla="*/ 2 w 32"/>
              <a:gd name="T5" fmla="*/ 18 h 18"/>
              <a:gd name="T6" fmla="*/ 0 w 32"/>
              <a:gd name="T7" fmla="*/ 17 h 18"/>
              <a:gd name="T8" fmla="*/ 0 w 32"/>
              <a:gd name="T9" fmla="*/ 2 h 18"/>
              <a:gd name="T10" fmla="*/ 2 w 32"/>
              <a:gd name="T11" fmla="*/ 0 h 18"/>
              <a:gd name="T12" fmla="*/ 30 w 32"/>
              <a:gd name="T13" fmla="*/ 0 h 18"/>
              <a:gd name="T14" fmla="*/ 32 w 32"/>
              <a:gd name="T15" fmla="*/ 2 h 18"/>
              <a:gd name="T16" fmla="*/ 32 w 32"/>
              <a:gd name="T17"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8">
                <a:moveTo>
                  <a:pt x="32" y="17"/>
                </a:moveTo>
                <a:cubicBezTo>
                  <a:pt x="32" y="18"/>
                  <a:pt x="31" y="18"/>
                  <a:pt x="30" y="18"/>
                </a:cubicBezTo>
                <a:cubicBezTo>
                  <a:pt x="2" y="18"/>
                  <a:pt x="2" y="18"/>
                  <a:pt x="2" y="18"/>
                </a:cubicBezTo>
                <a:cubicBezTo>
                  <a:pt x="1" y="18"/>
                  <a:pt x="0" y="18"/>
                  <a:pt x="0" y="17"/>
                </a:cubicBezTo>
                <a:cubicBezTo>
                  <a:pt x="0" y="2"/>
                  <a:pt x="0" y="2"/>
                  <a:pt x="0" y="2"/>
                </a:cubicBezTo>
                <a:cubicBezTo>
                  <a:pt x="0" y="1"/>
                  <a:pt x="1" y="0"/>
                  <a:pt x="2" y="0"/>
                </a:cubicBezTo>
                <a:cubicBezTo>
                  <a:pt x="30" y="0"/>
                  <a:pt x="30" y="0"/>
                  <a:pt x="30" y="0"/>
                </a:cubicBezTo>
                <a:cubicBezTo>
                  <a:pt x="31" y="0"/>
                  <a:pt x="32" y="1"/>
                  <a:pt x="32" y="2"/>
                </a:cubicBezTo>
                <a:lnTo>
                  <a:pt x="32"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62">
            <a:extLst>
              <a:ext uri="{FF2B5EF4-FFF2-40B4-BE49-F238E27FC236}">
                <a16:creationId xmlns:a16="http://schemas.microsoft.com/office/drawing/2014/main" id="{EF704705-2AA8-4657-919F-D23324BAB45E}"/>
              </a:ext>
            </a:extLst>
          </p:cNvPr>
          <p:cNvSpPr>
            <a:spLocks/>
          </p:cNvSpPr>
          <p:nvPr/>
        </p:nvSpPr>
        <p:spPr bwMode="gray">
          <a:xfrm flipH="1">
            <a:off x="9540745" y="6116864"/>
            <a:ext cx="388027" cy="329234"/>
          </a:xfrm>
          <a:custGeom>
            <a:avLst/>
            <a:gdLst>
              <a:gd name="T0" fmla="*/ 42 w 42"/>
              <a:gd name="T1" fmla="*/ 35 h 36"/>
              <a:gd name="T2" fmla="*/ 40 w 42"/>
              <a:gd name="T3" fmla="*/ 36 h 36"/>
              <a:gd name="T4" fmla="*/ 2 w 42"/>
              <a:gd name="T5" fmla="*/ 36 h 36"/>
              <a:gd name="T6" fmla="*/ 0 w 42"/>
              <a:gd name="T7" fmla="*/ 35 h 36"/>
              <a:gd name="T8" fmla="*/ 0 w 42"/>
              <a:gd name="T9" fmla="*/ 1 h 36"/>
              <a:gd name="T10" fmla="*/ 2 w 42"/>
              <a:gd name="T11" fmla="*/ 0 h 36"/>
              <a:gd name="T12" fmla="*/ 40 w 42"/>
              <a:gd name="T13" fmla="*/ 0 h 36"/>
              <a:gd name="T14" fmla="*/ 42 w 42"/>
              <a:gd name="T15" fmla="*/ 1 h 36"/>
              <a:gd name="T16" fmla="*/ 42 w 4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6">
                <a:moveTo>
                  <a:pt x="42" y="35"/>
                </a:moveTo>
                <a:cubicBezTo>
                  <a:pt x="42" y="36"/>
                  <a:pt x="41" y="36"/>
                  <a:pt x="40" y="36"/>
                </a:cubicBezTo>
                <a:cubicBezTo>
                  <a:pt x="2" y="36"/>
                  <a:pt x="2" y="36"/>
                  <a:pt x="2" y="36"/>
                </a:cubicBezTo>
                <a:cubicBezTo>
                  <a:pt x="1" y="36"/>
                  <a:pt x="0" y="36"/>
                  <a:pt x="0" y="35"/>
                </a:cubicBezTo>
                <a:cubicBezTo>
                  <a:pt x="0" y="1"/>
                  <a:pt x="0" y="1"/>
                  <a:pt x="0" y="1"/>
                </a:cubicBezTo>
                <a:cubicBezTo>
                  <a:pt x="0" y="0"/>
                  <a:pt x="1" y="0"/>
                  <a:pt x="2" y="0"/>
                </a:cubicBezTo>
                <a:cubicBezTo>
                  <a:pt x="40" y="0"/>
                  <a:pt x="40" y="0"/>
                  <a:pt x="40" y="0"/>
                </a:cubicBezTo>
                <a:cubicBezTo>
                  <a:pt x="41" y="0"/>
                  <a:pt x="42" y="0"/>
                  <a:pt x="42" y="1"/>
                </a:cubicBezTo>
                <a:lnTo>
                  <a:pt x="4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63">
            <a:extLst>
              <a:ext uri="{FF2B5EF4-FFF2-40B4-BE49-F238E27FC236}">
                <a16:creationId xmlns:a16="http://schemas.microsoft.com/office/drawing/2014/main" id="{E39FCF64-43C0-4E44-A347-E5BFDC8B12BB}"/>
              </a:ext>
            </a:extLst>
          </p:cNvPr>
          <p:cNvSpPr>
            <a:spLocks/>
          </p:cNvSpPr>
          <p:nvPr/>
        </p:nvSpPr>
        <p:spPr bwMode="gray">
          <a:xfrm flipH="1">
            <a:off x="7294897" y="6116864"/>
            <a:ext cx="388027" cy="329234"/>
          </a:xfrm>
          <a:custGeom>
            <a:avLst/>
            <a:gdLst>
              <a:gd name="T0" fmla="*/ 42 w 42"/>
              <a:gd name="T1" fmla="*/ 35 h 36"/>
              <a:gd name="T2" fmla="*/ 41 w 42"/>
              <a:gd name="T3" fmla="*/ 36 h 36"/>
              <a:gd name="T4" fmla="*/ 2 w 42"/>
              <a:gd name="T5" fmla="*/ 36 h 36"/>
              <a:gd name="T6" fmla="*/ 0 w 42"/>
              <a:gd name="T7" fmla="*/ 35 h 36"/>
              <a:gd name="T8" fmla="*/ 0 w 42"/>
              <a:gd name="T9" fmla="*/ 1 h 36"/>
              <a:gd name="T10" fmla="*/ 2 w 42"/>
              <a:gd name="T11" fmla="*/ 0 h 36"/>
              <a:gd name="T12" fmla="*/ 41 w 42"/>
              <a:gd name="T13" fmla="*/ 0 h 36"/>
              <a:gd name="T14" fmla="*/ 42 w 42"/>
              <a:gd name="T15" fmla="*/ 1 h 36"/>
              <a:gd name="T16" fmla="*/ 42 w 42"/>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6">
                <a:moveTo>
                  <a:pt x="42" y="35"/>
                </a:moveTo>
                <a:cubicBezTo>
                  <a:pt x="42" y="36"/>
                  <a:pt x="42" y="36"/>
                  <a:pt x="41" y="36"/>
                </a:cubicBezTo>
                <a:cubicBezTo>
                  <a:pt x="2" y="36"/>
                  <a:pt x="2" y="36"/>
                  <a:pt x="2" y="36"/>
                </a:cubicBezTo>
                <a:cubicBezTo>
                  <a:pt x="1" y="36"/>
                  <a:pt x="0" y="36"/>
                  <a:pt x="0" y="35"/>
                </a:cubicBezTo>
                <a:cubicBezTo>
                  <a:pt x="0" y="1"/>
                  <a:pt x="0" y="1"/>
                  <a:pt x="0" y="1"/>
                </a:cubicBezTo>
                <a:cubicBezTo>
                  <a:pt x="0" y="0"/>
                  <a:pt x="1" y="0"/>
                  <a:pt x="2" y="0"/>
                </a:cubicBezTo>
                <a:cubicBezTo>
                  <a:pt x="41" y="0"/>
                  <a:pt x="41" y="0"/>
                  <a:pt x="41" y="0"/>
                </a:cubicBezTo>
                <a:cubicBezTo>
                  <a:pt x="42" y="0"/>
                  <a:pt x="42" y="0"/>
                  <a:pt x="42" y="1"/>
                </a:cubicBezTo>
                <a:lnTo>
                  <a:pt x="4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64">
            <a:extLst>
              <a:ext uri="{FF2B5EF4-FFF2-40B4-BE49-F238E27FC236}">
                <a16:creationId xmlns:a16="http://schemas.microsoft.com/office/drawing/2014/main" id="{4906A5EA-DEA6-4FCA-AAAE-BE45337B11E4}"/>
              </a:ext>
            </a:extLst>
          </p:cNvPr>
          <p:cNvSpPr>
            <a:spLocks/>
          </p:cNvSpPr>
          <p:nvPr/>
        </p:nvSpPr>
        <p:spPr bwMode="gray">
          <a:xfrm flipH="1">
            <a:off x="7745636" y="6116864"/>
            <a:ext cx="1732400" cy="329234"/>
          </a:xfrm>
          <a:custGeom>
            <a:avLst/>
            <a:gdLst>
              <a:gd name="T0" fmla="*/ 187 w 187"/>
              <a:gd name="T1" fmla="*/ 35 h 36"/>
              <a:gd name="T2" fmla="*/ 185 w 187"/>
              <a:gd name="T3" fmla="*/ 36 h 36"/>
              <a:gd name="T4" fmla="*/ 2 w 187"/>
              <a:gd name="T5" fmla="*/ 36 h 36"/>
              <a:gd name="T6" fmla="*/ 0 w 187"/>
              <a:gd name="T7" fmla="*/ 35 h 36"/>
              <a:gd name="T8" fmla="*/ 0 w 187"/>
              <a:gd name="T9" fmla="*/ 1 h 36"/>
              <a:gd name="T10" fmla="*/ 2 w 187"/>
              <a:gd name="T11" fmla="*/ 0 h 36"/>
              <a:gd name="T12" fmla="*/ 185 w 187"/>
              <a:gd name="T13" fmla="*/ 0 h 36"/>
              <a:gd name="T14" fmla="*/ 187 w 187"/>
              <a:gd name="T15" fmla="*/ 1 h 36"/>
              <a:gd name="T16" fmla="*/ 187 w 187"/>
              <a:gd name="T17"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36">
                <a:moveTo>
                  <a:pt x="187" y="35"/>
                </a:moveTo>
                <a:cubicBezTo>
                  <a:pt x="187" y="36"/>
                  <a:pt x="187" y="36"/>
                  <a:pt x="185" y="36"/>
                </a:cubicBezTo>
                <a:cubicBezTo>
                  <a:pt x="2" y="36"/>
                  <a:pt x="2" y="36"/>
                  <a:pt x="2" y="36"/>
                </a:cubicBezTo>
                <a:cubicBezTo>
                  <a:pt x="1" y="36"/>
                  <a:pt x="0" y="36"/>
                  <a:pt x="0" y="35"/>
                </a:cubicBezTo>
                <a:cubicBezTo>
                  <a:pt x="0" y="1"/>
                  <a:pt x="0" y="1"/>
                  <a:pt x="0" y="1"/>
                </a:cubicBezTo>
                <a:cubicBezTo>
                  <a:pt x="0" y="0"/>
                  <a:pt x="1" y="0"/>
                  <a:pt x="2" y="0"/>
                </a:cubicBezTo>
                <a:cubicBezTo>
                  <a:pt x="185" y="0"/>
                  <a:pt x="185" y="0"/>
                  <a:pt x="185" y="0"/>
                </a:cubicBezTo>
                <a:cubicBezTo>
                  <a:pt x="187" y="0"/>
                  <a:pt x="187" y="0"/>
                  <a:pt x="187" y="1"/>
                </a:cubicBezTo>
                <a:lnTo>
                  <a:pt x="187"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65">
            <a:extLst>
              <a:ext uri="{FF2B5EF4-FFF2-40B4-BE49-F238E27FC236}">
                <a16:creationId xmlns:a16="http://schemas.microsoft.com/office/drawing/2014/main" id="{709ED1D1-40F3-40B6-AE47-79E1833AD1B2}"/>
              </a:ext>
            </a:extLst>
          </p:cNvPr>
          <p:cNvSpPr>
            <a:spLocks/>
          </p:cNvSpPr>
          <p:nvPr/>
        </p:nvSpPr>
        <p:spPr bwMode="gray">
          <a:xfrm flipH="1">
            <a:off x="9901338" y="5756274"/>
            <a:ext cx="297879"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66">
            <a:extLst>
              <a:ext uri="{FF2B5EF4-FFF2-40B4-BE49-F238E27FC236}">
                <a16:creationId xmlns:a16="http://schemas.microsoft.com/office/drawing/2014/main" id="{612846F5-673C-4810-8575-8E5430B768CA}"/>
              </a:ext>
            </a:extLst>
          </p:cNvPr>
          <p:cNvSpPr>
            <a:spLocks/>
          </p:cNvSpPr>
          <p:nvPr/>
        </p:nvSpPr>
        <p:spPr bwMode="gray">
          <a:xfrm flipH="1">
            <a:off x="9540747" y="5756274"/>
            <a:ext cx="297879"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67">
            <a:extLst>
              <a:ext uri="{FF2B5EF4-FFF2-40B4-BE49-F238E27FC236}">
                <a16:creationId xmlns:a16="http://schemas.microsoft.com/office/drawing/2014/main" id="{44565993-BC41-40FF-8632-B1A28F09B8D5}"/>
              </a:ext>
            </a:extLst>
          </p:cNvPr>
          <p:cNvSpPr>
            <a:spLocks/>
          </p:cNvSpPr>
          <p:nvPr/>
        </p:nvSpPr>
        <p:spPr bwMode="gray">
          <a:xfrm flipH="1">
            <a:off x="9180157" y="5756274"/>
            <a:ext cx="297879"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68">
            <a:extLst>
              <a:ext uri="{FF2B5EF4-FFF2-40B4-BE49-F238E27FC236}">
                <a16:creationId xmlns:a16="http://schemas.microsoft.com/office/drawing/2014/main" id="{3F01DFD0-938B-46FC-833A-867081BF9909}"/>
              </a:ext>
            </a:extLst>
          </p:cNvPr>
          <p:cNvSpPr>
            <a:spLocks/>
          </p:cNvSpPr>
          <p:nvPr/>
        </p:nvSpPr>
        <p:spPr bwMode="gray">
          <a:xfrm flipH="1">
            <a:off x="8819567" y="5756274"/>
            <a:ext cx="297879"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69">
            <a:extLst>
              <a:ext uri="{FF2B5EF4-FFF2-40B4-BE49-F238E27FC236}">
                <a16:creationId xmlns:a16="http://schemas.microsoft.com/office/drawing/2014/main" id="{6D0CB5DE-AEFD-4636-A0DA-AACCA59E181B}"/>
              </a:ext>
            </a:extLst>
          </p:cNvPr>
          <p:cNvSpPr>
            <a:spLocks/>
          </p:cNvSpPr>
          <p:nvPr/>
        </p:nvSpPr>
        <p:spPr bwMode="gray">
          <a:xfrm flipH="1">
            <a:off x="8458977" y="5756274"/>
            <a:ext cx="297879" cy="293960"/>
          </a:xfrm>
          <a:custGeom>
            <a:avLst/>
            <a:gdLst>
              <a:gd name="T0" fmla="*/ 32 w 32"/>
              <a:gd name="T1" fmla="*/ 30 h 32"/>
              <a:gd name="T2" fmla="*/ 30 w 32"/>
              <a:gd name="T3" fmla="*/ 32 h 32"/>
              <a:gd name="T4" fmla="*/ 1 w 32"/>
              <a:gd name="T5" fmla="*/ 32 h 32"/>
              <a:gd name="T6" fmla="*/ 0 w 32"/>
              <a:gd name="T7" fmla="*/ 30 h 32"/>
              <a:gd name="T8" fmla="*/ 0 w 32"/>
              <a:gd name="T9" fmla="*/ 2 h 32"/>
              <a:gd name="T10" fmla="*/ 1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1" y="32"/>
                  <a:pt x="1" y="32"/>
                  <a:pt x="1" y="32"/>
                </a:cubicBezTo>
                <a:cubicBezTo>
                  <a:pt x="0" y="32"/>
                  <a:pt x="0" y="31"/>
                  <a:pt x="0" y="30"/>
                </a:cubicBezTo>
                <a:cubicBezTo>
                  <a:pt x="0" y="2"/>
                  <a:pt x="0" y="2"/>
                  <a:pt x="0" y="2"/>
                </a:cubicBezTo>
                <a:cubicBezTo>
                  <a:pt x="0" y="1"/>
                  <a:pt x="0" y="0"/>
                  <a:pt x="1"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70">
            <a:extLst>
              <a:ext uri="{FF2B5EF4-FFF2-40B4-BE49-F238E27FC236}">
                <a16:creationId xmlns:a16="http://schemas.microsoft.com/office/drawing/2014/main" id="{C8EAA93F-7284-4389-A736-98073A48E49C}"/>
              </a:ext>
            </a:extLst>
          </p:cNvPr>
          <p:cNvSpPr>
            <a:spLocks/>
          </p:cNvSpPr>
          <p:nvPr/>
        </p:nvSpPr>
        <p:spPr bwMode="gray">
          <a:xfrm flipH="1">
            <a:off x="8106226" y="5756274"/>
            <a:ext cx="290040" cy="293960"/>
          </a:xfrm>
          <a:custGeom>
            <a:avLst/>
            <a:gdLst>
              <a:gd name="T0" fmla="*/ 31 w 31"/>
              <a:gd name="T1" fmla="*/ 30 h 32"/>
              <a:gd name="T2" fmla="*/ 30 w 31"/>
              <a:gd name="T3" fmla="*/ 32 h 32"/>
              <a:gd name="T4" fmla="*/ 1 w 31"/>
              <a:gd name="T5" fmla="*/ 32 h 32"/>
              <a:gd name="T6" fmla="*/ 0 w 31"/>
              <a:gd name="T7" fmla="*/ 30 h 32"/>
              <a:gd name="T8" fmla="*/ 0 w 31"/>
              <a:gd name="T9" fmla="*/ 2 h 32"/>
              <a:gd name="T10" fmla="*/ 1 w 31"/>
              <a:gd name="T11" fmla="*/ 0 h 32"/>
              <a:gd name="T12" fmla="*/ 30 w 31"/>
              <a:gd name="T13" fmla="*/ 0 h 32"/>
              <a:gd name="T14" fmla="*/ 31 w 31"/>
              <a:gd name="T15" fmla="*/ 2 h 32"/>
              <a:gd name="T16" fmla="*/ 31 w 31"/>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31" y="30"/>
                </a:moveTo>
                <a:cubicBezTo>
                  <a:pt x="31" y="31"/>
                  <a:pt x="31" y="32"/>
                  <a:pt x="30" y="32"/>
                </a:cubicBezTo>
                <a:cubicBezTo>
                  <a:pt x="1" y="32"/>
                  <a:pt x="1" y="32"/>
                  <a:pt x="1" y="32"/>
                </a:cubicBezTo>
                <a:cubicBezTo>
                  <a:pt x="0" y="32"/>
                  <a:pt x="0" y="31"/>
                  <a:pt x="0" y="30"/>
                </a:cubicBezTo>
                <a:cubicBezTo>
                  <a:pt x="0" y="2"/>
                  <a:pt x="0" y="2"/>
                  <a:pt x="0" y="2"/>
                </a:cubicBezTo>
                <a:cubicBezTo>
                  <a:pt x="0" y="1"/>
                  <a:pt x="0" y="0"/>
                  <a:pt x="1" y="0"/>
                </a:cubicBezTo>
                <a:cubicBezTo>
                  <a:pt x="30" y="0"/>
                  <a:pt x="30" y="0"/>
                  <a:pt x="30" y="0"/>
                </a:cubicBezTo>
                <a:cubicBezTo>
                  <a:pt x="31" y="0"/>
                  <a:pt x="31" y="1"/>
                  <a:pt x="31" y="2"/>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71">
            <a:extLst>
              <a:ext uri="{FF2B5EF4-FFF2-40B4-BE49-F238E27FC236}">
                <a16:creationId xmlns:a16="http://schemas.microsoft.com/office/drawing/2014/main" id="{2F6155B2-10D7-4A42-B29A-7619457B1EB3}"/>
              </a:ext>
            </a:extLst>
          </p:cNvPr>
          <p:cNvSpPr>
            <a:spLocks/>
          </p:cNvSpPr>
          <p:nvPr/>
        </p:nvSpPr>
        <p:spPr bwMode="gray">
          <a:xfrm flipH="1">
            <a:off x="7745636" y="5756274"/>
            <a:ext cx="297879"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2"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2"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72">
            <a:extLst>
              <a:ext uri="{FF2B5EF4-FFF2-40B4-BE49-F238E27FC236}">
                <a16:creationId xmlns:a16="http://schemas.microsoft.com/office/drawing/2014/main" id="{87A769F9-2F30-4115-9C15-64036D7A331D}"/>
              </a:ext>
            </a:extLst>
          </p:cNvPr>
          <p:cNvSpPr>
            <a:spLocks/>
          </p:cNvSpPr>
          <p:nvPr/>
        </p:nvSpPr>
        <p:spPr bwMode="gray">
          <a:xfrm flipH="1">
            <a:off x="7385046" y="5756274"/>
            <a:ext cx="297879"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73">
            <a:extLst>
              <a:ext uri="{FF2B5EF4-FFF2-40B4-BE49-F238E27FC236}">
                <a16:creationId xmlns:a16="http://schemas.microsoft.com/office/drawing/2014/main" id="{372328BB-50A5-43E2-A6A1-8163EEBC36D2}"/>
              </a:ext>
            </a:extLst>
          </p:cNvPr>
          <p:cNvSpPr>
            <a:spLocks/>
          </p:cNvSpPr>
          <p:nvPr/>
        </p:nvSpPr>
        <p:spPr bwMode="gray">
          <a:xfrm flipH="1">
            <a:off x="7024456" y="5756274"/>
            <a:ext cx="297879"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74">
            <a:extLst>
              <a:ext uri="{FF2B5EF4-FFF2-40B4-BE49-F238E27FC236}">
                <a16:creationId xmlns:a16="http://schemas.microsoft.com/office/drawing/2014/main" id="{E22BAAEA-C43A-4D48-A945-7D4905DBBBE8}"/>
              </a:ext>
            </a:extLst>
          </p:cNvPr>
          <p:cNvSpPr>
            <a:spLocks/>
          </p:cNvSpPr>
          <p:nvPr/>
        </p:nvSpPr>
        <p:spPr bwMode="gray">
          <a:xfrm flipH="1">
            <a:off x="6663866" y="5756274"/>
            <a:ext cx="297879"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75">
            <a:extLst>
              <a:ext uri="{FF2B5EF4-FFF2-40B4-BE49-F238E27FC236}">
                <a16:creationId xmlns:a16="http://schemas.microsoft.com/office/drawing/2014/main" id="{AA95D624-2281-4E25-A945-38000DEDF169}"/>
              </a:ext>
            </a:extLst>
          </p:cNvPr>
          <p:cNvSpPr>
            <a:spLocks/>
          </p:cNvSpPr>
          <p:nvPr/>
        </p:nvSpPr>
        <p:spPr bwMode="gray">
          <a:xfrm flipH="1">
            <a:off x="5848616" y="5756274"/>
            <a:ext cx="748617" cy="293960"/>
          </a:xfrm>
          <a:custGeom>
            <a:avLst/>
            <a:gdLst>
              <a:gd name="T0" fmla="*/ 81 w 81"/>
              <a:gd name="T1" fmla="*/ 30 h 32"/>
              <a:gd name="T2" fmla="*/ 79 w 81"/>
              <a:gd name="T3" fmla="*/ 32 h 32"/>
              <a:gd name="T4" fmla="*/ 2 w 81"/>
              <a:gd name="T5" fmla="*/ 32 h 32"/>
              <a:gd name="T6" fmla="*/ 0 w 81"/>
              <a:gd name="T7" fmla="*/ 30 h 32"/>
              <a:gd name="T8" fmla="*/ 0 w 81"/>
              <a:gd name="T9" fmla="*/ 2 h 32"/>
              <a:gd name="T10" fmla="*/ 2 w 81"/>
              <a:gd name="T11" fmla="*/ 0 h 32"/>
              <a:gd name="T12" fmla="*/ 79 w 81"/>
              <a:gd name="T13" fmla="*/ 0 h 32"/>
              <a:gd name="T14" fmla="*/ 81 w 81"/>
              <a:gd name="T15" fmla="*/ 2 h 32"/>
              <a:gd name="T16" fmla="*/ 81 w 81"/>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32">
                <a:moveTo>
                  <a:pt x="81" y="30"/>
                </a:moveTo>
                <a:cubicBezTo>
                  <a:pt x="81" y="31"/>
                  <a:pt x="80" y="32"/>
                  <a:pt x="79" y="32"/>
                </a:cubicBezTo>
                <a:cubicBezTo>
                  <a:pt x="2" y="32"/>
                  <a:pt x="2" y="32"/>
                  <a:pt x="2" y="32"/>
                </a:cubicBezTo>
                <a:cubicBezTo>
                  <a:pt x="1" y="32"/>
                  <a:pt x="0" y="31"/>
                  <a:pt x="0" y="30"/>
                </a:cubicBezTo>
                <a:cubicBezTo>
                  <a:pt x="0" y="2"/>
                  <a:pt x="0" y="2"/>
                  <a:pt x="0" y="2"/>
                </a:cubicBezTo>
                <a:cubicBezTo>
                  <a:pt x="0" y="1"/>
                  <a:pt x="1" y="0"/>
                  <a:pt x="2" y="0"/>
                </a:cubicBezTo>
                <a:cubicBezTo>
                  <a:pt x="79" y="0"/>
                  <a:pt x="79" y="0"/>
                  <a:pt x="79" y="0"/>
                </a:cubicBezTo>
                <a:cubicBezTo>
                  <a:pt x="80" y="0"/>
                  <a:pt x="81" y="1"/>
                  <a:pt x="81" y="2"/>
                </a:cubicBezTo>
                <a:lnTo>
                  <a:pt x="8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76">
            <a:extLst>
              <a:ext uri="{FF2B5EF4-FFF2-40B4-BE49-F238E27FC236}">
                <a16:creationId xmlns:a16="http://schemas.microsoft.com/office/drawing/2014/main" id="{31F47AF3-63FC-4E34-8D38-932423CB9CEA}"/>
              </a:ext>
            </a:extLst>
          </p:cNvPr>
          <p:cNvSpPr>
            <a:spLocks/>
          </p:cNvSpPr>
          <p:nvPr/>
        </p:nvSpPr>
        <p:spPr bwMode="gray">
          <a:xfrm flipH="1">
            <a:off x="9728879" y="5395684"/>
            <a:ext cx="293960"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77">
            <a:extLst>
              <a:ext uri="{FF2B5EF4-FFF2-40B4-BE49-F238E27FC236}">
                <a16:creationId xmlns:a16="http://schemas.microsoft.com/office/drawing/2014/main" id="{51F82080-D2B5-4427-84D1-3A894D015613}"/>
              </a:ext>
            </a:extLst>
          </p:cNvPr>
          <p:cNvSpPr>
            <a:spLocks/>
          </p:cNvSpPr>
          <p:nvPr/>
        </p:nvSpPr>
        <p:spPr bwMode="gray">
          <a:xfrm flipH="1">
            <a:off x="9364371" y="5395684"/>
            <a:ext cx="297879"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78">
            <a:extLst>
              <a:ext uri="{FF2B5EF4-FFF2-40B4-BE49-F238E27FC236}">
                <a16:creationId xmlns:a16="http://schemas.microsoft.com/office/drawing/2014/main" id="{1BC62DD5-F60A-4A1F-B5EC-87389C0EA233}"/>
              </a:ext>
            </a:extLst>
          </p:cNvPr>
          <p:cNvSpPr>
            <a:spLocks/>
          </p:cNvSpPr>
          <p:nvPr/>
        </p:nvSpPr>
        <p:spPr bwMode="gray">
          <a:xfrm flipH="1">
            <a:off x="9003781" y="5395684"/>
            <a:ext cx="297879"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79">
            <a:extLst>
              <a:ext uri="{FF2B5EF4-FFF2-40B4-BE49-F238E27FC236}">
                <a16:creationId xmlns:a16="http://schemas.microsoft.com/office/drawing/2014/main" id="{0BA34B27-9DDE-4048-8406-7970AB92D530}"/>
              </a:ext>
            </a:extLst>
          </p:cNvPr>
          <p:cNvSpPr>
            <a:spLocks/>
          </p:cNvSpPr>
          <p:nvPr/>
        </p:nvSpPr>
        <p:spPr bwMode="gray">
          <a:xfrm flipH="1">
            <a:off x="8643191" y="5395684"/>
            <a:ext cx="297879"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80">
            <a:extLst>
              <a:ext uri="{FF2B5EF4-FFF2-40B4-BE49-F238E27FC236}">
                <a16:creationId xmlns:a16="http://schemas.microsoft.com/office/drawing/2014/main" id="{8D894850-AC52-4249-864A-B3A29C1819ED}"/>
              </a:ext>
            </a:extLst>
          </p:cNvPr>
          <p:cNvSpPr>
            <a:spLocks/>
          </p:cNvSpPr>
          <p:nvPr/>
        </p:nvSpPr>
        <p:spPr bwMode="gray">
          <a:xfrm flipH="1">
            <a:off x="8282601" y="5395684"/>
            <a:ext cx="297879"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81">
            <a:extLst>
              <a:ext uri="{FF2B5EF4-FFF2-40B4-BE49-F238E27FC236}">
                <a16:creationId xmlns:a16="http://schemas.microsoft.com/office/drawing/2014/main" id="{0258F58D-7335-4F40-9845-9F3458BCC35A}"/>
              </a:ext>
            </a:extLst>
          </p:cNvPr>
          <p:cNvSpPr>
            <a:spLocks/>
          </p:cNvSpPr>
          <p:nvPr/>
        </p:nvSpPr>
        <p:spPr bwMode="gray">
          <a:xfrm flipH="1">
            <a:off x="7929849" y="5395684"/>
            <a:ext cx="290040" cy="293960"/>
          </a:xfrm>
          <a:custGeom>
            <a:avLst/>
            <a:gdLst>
              <a:gd name="T0" fmla="*/ 31 w 31"/>
              <a:gd name="T1" fmla="*/ 30 h 32"/>
              <a:gd name="T2" fmla="*/ 30 w 31"/>
              <a:gd name="T3" fmla="*/ 32 h 32"/>
              <a:gd name="T4" fmla="*/ 1 w 31"/>
              <a:gd name="T5" fmla="*/ 32 h 32"/>
              <a:gd name="T6" fmla="*/ 0 w 31"/>
              <a:gd name="T7" fmla="*/ 30 h 32"/>
              <a:gd name="T8" fmla="*/ 0 w 31"/>
              <a:gd name="T9" fmla="*/ 2 h 32"/>
              <a:gd name="T10" fmla="*/ 1 w 31"/>
              <a:gd name="T11" fmla="*/ 0 h 32"/>
              <a:gd name="T12" fmla="*/ 30 w 31"/>
              <a:gd name="T13" fmla="*/ 0 h 32"/>
              <a:gd name="T14" fmla="*/ 31 w 31"/>
              <a:gd name="T15" fmla="*/ 2 h 32"/>
              <a:gd name="T16" fmla="*/ 31 w 31"/>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31" y="30"/>
                </a:moveTo>
                <a:cubicBezTo>
                  <a:pt x="31" y="31"/>
                  <a:pt x="31" y="32"/>
                  <a:pt x="30" y="32"/>
                </a:cubicBezTo>
                <a:cubicBezTo>
                  <a:pt x="1" y="32"/>
                  <a:pt x="1" y="32"/>
                  <a:pt x="1" y="32"/>
                </a:cubicBezTo>
                <a:cubicBezTo>
                  <a:pt x="0" y="32"/>
                  <a:pt x="0" y="31"/>
                  <a:pt x="0" y="30"/>
                </a:cubicBezTo>
                <a:cubicBezTo>
                  <a:pt x="0" y="2"/>
                  <a:pt x="0" y="2"/>
                  <a:pt x="0" y="2"/>
                </a:cubicBezTo>
                <a:cubicBezTo>
                  <a:pt x="0" y="1"/>
                  <a:pt x="0" y="0"/>
                  <a:pt x="1" y="0"/>
                </a:cubicBezTo>
                <a:cubicBezTo>
                  <a:pt x="30" y="0"/>
                  <a:pt x="30" y="0"/>
                  <a:pt x="30" y="0"/>
                </a:cubicBezTo>
                <a:cubicBezTo>
                  <a:pt x="31" y="0"/>
                  <a:pt x="31" y="1"/>
                  <a:pt x="31" y="2"/>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82">
            <a:extLst>
              <a:ext uri="{FF2B5EF4-FFF2-40B4-BE49-F238E27FC236}">
                <a16:creationId xmlns:a16="http://schemas.microsoft.com/office/drawing/2014/main" id="{14E4DDD8-1E3D-4F30-B2A7-5A22AFD691C9}"/>
              </a:ext>
            </a:extLst>
          </p:cNvPr>
          <p:cNvSpPr>
            <a:spLocks/>
          </p:cNvSpPr>
          <p:nvPr/>
        </p:nvSpPr>
        <p:spPr bwMode="gray">
          <a:xfrm flipH="1">
            <a:off x="7569260" y="5395684"/>
            <a:ext cx="297879" cy="293960"/>
          </a:xfrm>
          <a:custGeom>
            <a:avLst/>
            <a:gdLst>
              <a:gd name="T0" fmla="*/ 32 w 32"/>
              <a:gd name="T1" fmla="*/ 30 h 32"/>
              <a:gd name="T2" fmla="*/ 31 w 32"/>
              <a:gd name="T3" fmla="*/ 32 h 32"/>
              <a:gd name="T4" fmla="*/ 2 w 32"/>
              <a:gd name="T5" fmla="*/ 32 h 32"/>
              <a:gd name="T6" fmla="*/ 0 w 32"/>
              <a:gd name="T7" fmla="*/ 30 h 32"/>
              <a:gd name="T8" fmla="*/ 0 w 32"/>
              <a:gd name="T9" fmla="*/ 2 h 32"/>
              <a:gd name="T10" fmla="*/ 2 w 32"/>
              <a:gd name="T11" fmla="*/ 0 h 32"/>
              <a:gd name="T12" fmla="*/ 31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2" y="32"/>
                  <a:pt x="31" y="32"/>
                </a:cubicBezTo>
                <a:cubicBezTo>
                  <a:pt x="2" y="32"/>
                  <a:pt x="2" y="32"/>
                  <a:pt x="2" y="32"/>
                </a:cubicBezTo>
                <a:cubicBezTo>
                  <a:pt x="1" y="32"/>
                  <a:pt x="0" y="31"/>
                  <a:pt x="0" y="30"/>
                </a:cubicBezTo>
                <a:cubicBezTo>
                  <a:pt x="0" y="2"/>
                  <a:pt x="0" y="2"/>
                  <a:pt x="0" y="2"/>
                </a:cubicBezTo>
                <a:cubicBezTo>
                  <a:pt x="0" y="1"/>
                  <a:pt x="1" y="0"/>
                  <a:pt x="2" y="0"/>
                </a:cubicBezTo>
                <a:cubicBezTo>
                  <a:pt x="31" y="0"/>
                  <a:pt x="31" y="0"/>
                  <a:pt x="31" y="0"/>
                </a:cubicBezTo>
                <a:cubicBezTo>
                  <a:pt x="32"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83">
            <a:extLst>
              <a:ext uri="{FF2B5EF4-FFF2-40B4-BE49-F238E27FC236}">
                <a16:creationId xmlns:a16="http://schemas.microsoft.com/office/drawing/2014/main" id="{646C45F2-748F-40C6-8BD1-B56120AEBD46}"/>
              </a:ext>
            </a:extLst>
          </p:cNvPr>
          <p:cNvSpPr>
            <a:spLocks/>
          </p:cNvSpPr>
          <p:nvPr/>
        </p:nvSpPr>
        <p:spPr bwMode="gray">
          <a:xfrm flipH="1">
            <a:off x="7208670" y="5395684"/>
            <a:ext cx="297879"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84">
            <a:extLst>
              <a:ext uri="{FF2B5EF4-FFF2-40B4-BE49-F238E27FC236}">
                <a16:creationId xmlns:a16="http://schemas.microsoft.com/office/drawing/2014/main" id="{0D2D5265-879B-4BD4-AE48-28153830884D}"/>
              </a:ext>
            </a:extLst>
          </p:cNvPr>
          <p:cNvSpPr>
            <a:spLocks/>
          </p:cNvSpPr>
          <p:nvPr/>
        </p:nvSpPr>
        <p:spPr bwMode="gray">
          <a:xfrm flipH="1">
            <a:off x="6848080" y="5395684"/>
            <a:ext cx="297879"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85">
            <a:extLst>
              <a:ext uri="{FF2B5EF4-FFF2-40B4-BE49-F238E27FC236}">
                <a16:creationId xmlns:a16="http://schemas.microsoft.com/office/drawing/2014/main" id="{3B0BA51F-F351-4809-9221-CC082E59CDCC}"/>
              </a:ext>
            </a:extLst>
          </p:cNvPr>
          <p:cNvSpPr>
            <a:spLocks/>
          </p:cNvSpPr>
          <p:nvPr/>
        </p:nvSpPr>
        <p:spPr bwMode="gray">
          <a:xfrm flipH="1">
            <a:off x="6487490" y="5395684"/>
            <a:ext cx="297879"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86">
            <a:extLst>
              <a:ext uri="{FF2B5EF4-FFF2-40B4-BE49-F238E27FC236}">
                <a16:creationId xmlns:a16="http://schemas.microsoft.com/office/drawing/2014/main" id="{AD2C82D4-D8F2-4FD0-A215-53F0634E9B37}"/>
              </a:ext>
            </a:extLst>
          </p:cNvPr>
          <p:cNvSpPr>
            <a:spLocks/>
          </p:cNvSpPr>
          <p:nvPr/>
        </p:nvSpPr>
        <p:spPr bwMode="gray">
          <a:xfrm flipH="1">
            <a:off x="6126899" y="5395684"/>
            <a:ext cx="297879"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87">
            <a:extLst>
              <a:ext uri="{FF2B5EF4-FFF2-40B4-BE49-F238E27FC236}">
                <a16:creationId xmlns:a16="http://schemas.microsoft.com/office/drawing/2014/main" id="{EB52977B-C529-4992-B7E7-C7C09A45001E}"/>
              </a:ext>
            </a:extLst>
          </p:cNvPr>
          <p:cNvSpPr>
            <a:spLocks/>
          </p:cNvSpPr>
          <p:nvPr/>
        </p:nvSpPr>
        <p:spPr bwMode="gray">
          <a:xfrm flipH="1">
            <a:off x="9811190" y="5035095"/>
            <a:ext cx="293960"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88">
            <a:extLst>
              <a:ext uri="{FF2B5EF4-FFF2-40B4-BE49-F238E27FC236}">
                <a16:creationId xmlns:a16="http://schemas.microsoft.com/office/drawing/2014/main" id="{D00DCF6D-8FFF-43A8-A3D3-A3335E6C28AC}"/>
              </a:ext>
            </a:extLst>
          </p:cNvPr>
          <p:cNvSpPr>
            <a:spLocks/>
          </p:cNvSpPr>
          <p:nvPr/>
        </p:nvSpPr>
        <p:spPr bwMode="gray">
          <a:xfrm flipH="1">
            <a:off x="9450598" y="5035095"/>
            <a:ext cx="293960"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89">
            <a:extLst>
              <a:ext uri="{FF2B5EF4-FFF2-40B4-BE49-F238E27FC236}">
                <a16:creationId xmlns:a16="http://schemas.microsoft.com/office/drawing/2014/main" id="{252DE44C-A899-4B02-9740-080F6D204D34}"/>
              </a:ext>
            </a:extLst>
          </p:cNvPr>
          <p:cNvSpPr>
            <a:spLocks/>
          </p:cNvSpPr>
          <p:nvPr/>
        </p:nvSpPr>
        <p:spPr bwMode="gray">
          <a:xfrm flipH="1">
            <a:off x="9090008" y="5035095"/>
            <a:ext cx="293960"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90">
            <a:extLst>
              <a:ext uri="{FF2B5EF4-FFF2-40B4-BE49-F238E27FC236}">
                <a16:creationId xmlns:a16="http://schemas.microsoft.com/office/drawing/2014/main" id="{6465CD8F-8DF8-435A-B061-B47340C5369B}"/>
              </a:ext>
            </a:extLst>
          </p:cNvPr>
          <p:cNvSpPr>
            <a:spLocks/>
          </p:cNvSpPr>
          <p:nvPr/>
        </p:nvSpPr>
        <p:spPr bwMode="gray">
          <a:xfrm flipH="1">
            <a:off x="8737258" y="5035095"/>
            <a:ext cx="286122" cy="293960"/>
          </a:xfrm>
          <a:custGeom>
            <a:avLst/>
            <a:gdLst>
              <a:gd name="T0" fmla="*/ 31 w 31"/>
              <a:gd name="T1" fmla="*/ 30 h 32"/>
              <a:gd name="T2" fmla="*/ 30 w 31"/>
              <a:gd name="T3" fmla="*/ 32 h 32"/>
              <a:gd name="T4" fmla="*/ 1 w 31"/>
              <a:gd name="T5" fmla="*/ 32 h 32"/>
              <a:gd name="T6" fmla="*/ 0 w 31"/>
              <a:gd name="T7" fmla="*/ 30 h 32"/>
              <a:gd name="T8" fmla="*/ 0 w 31"/>
              <a:gd name="T9" fmla="*/ 2 h 32"/>
              <a:gd name="T10" fmla="*/ 1 w 31"/>
              <a:gd name="T11" fmla="*/ 0 h 32"/>
              <a:gd name="T12" fmla="*/ 30 w 31"/>
              <a:gd name="T13" fmla="*/ 0 h 32"/>
              <a:gd name="T14" fmla="*/ 31 w 31"/>
              <a:gd name="T15" fmla="*/ 2 h 32"/>
              <a:gd name="T16" fmla="*/ 31 w 31"/>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31" y="30"/>
                </a:moveTo>
                <a:cubicBezTo>
                  <a:pt x="31" y="31"/>
                  <a:pt x="31" y="32"/>
                  <a:pt x="30" y="32"/>
                </a:cubicBezTo>
                <a:cubicBezTo>
                  <a:pt x="1" y="32"/>
                  <a:pt x="1" y="32"/>
                  <a:pt x="1" y="32"/>
                </a:cubicBezTo>
                <a:cubicBezTo>
                  <a:pt x="0" y="32"/>
                  <a:pt x="0" y="31"/>
                  <a:pt x="0" y="30"/>
                </a:cubicBezTo>
                <a:cubicBezTo>
                  <a:pt x="0" y="2"/>
                  <a:pt x="0" y="2"/>
                  <a:pt x="0" y="2"/>
                </a:cubicBezTo>
                <a:cubicBezTo>
                  <a:pt x="0" y="1"/>
                  <a:pt x="0" y="0"/>
                  <a:pt x="1" y="0"/>
                </a:cubicBezTo>
                <a:cubicBezTo>
                  <a:pt x="30" y="0"/>
                  <a:pt x="30" y="0"/>
                  <a:pt x="30" y="0"/>
                </a:cubicBezTo>
                <a:cubicBezTo>
                  <a:pt x="31" y="0"/>
                  <a:pt x="31" y="1"/>
                  <a:pt x="31" y="2"/>
                </a:cubicBezTo>
                <a:lnTo>
                  <a:pt x="3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91">
            <a:extLst>
              <a:ext uri="{FF2B5EF4-FFF2-40B4-BE49-F238E27FC236}">
                <a16:creationId xmlns:a16="http://schemas.microsoft.com/office/drawing/2014/main" id="{F951B41C-3473-4A69-B85A-307DFD59388A}"/>
              </a:ext>
            </a:extLst>
          </p:cNvPr>
          <p:cNvSpPr>
            <a:spLocks/>
          </p:cNvSpPr>
          <p:nvPr/>
        </p:nvSpPr>
        <p:spPr bwMode="gray">
          <a:xfrm flipH="1">
            <a:off x="8376667" y="5035095"/>
            <a:ext cx="293960" cy="293960"/>
          </a:xfrm>
          <a:custGeom>
            <a:avLst/>
            <a:gdLst>
              <a:gd name="T0" fmla="*/ 32 w 32"/>
              <a:gd name="T1" fmla="*/ 30 h 32"/>
              <a:gd name="T2" fmla="*/ 31 w 32"/>
              <a:gd name="T3" fmla="*/ 32 h 32"/>
              <a:gd name="T4" fmla="*/ 2 w 32"/>
              <a:gd name="T5" fmla="*/ 32 h 32"/>
              <a:gd name="T6" fmla="*/ 0 w 32"/>
              <a:gd name="T7" fmla="*/ 30 h 32"/>
              <a:gd name="T8" fmla="*/ 0 w 32"/>
              <a:gd name="T9" fmla="*/ 2 h 32"/>
              <a:gd name="T10" fmla="*/ 2 w 32"/>
              <a:gd name="T11" fmla="*/ 0 h 32"/>
              <a:gd name="T12" fmla="*/ 31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2" y="32"/>
                  <a:pt x="31" y="32"/>
                </a:cubicBezTo>
                <a:cubicBezTo>
                  <a:pt x="2" y="32"/>
                  <a:pt x="2" y="32"/>
                  <a:pt x="2" y="32"/>
                </a:cubicBezTo>
                <a:cubicBezTo>
                  <a:pt x="1" y="32"/>
                  <a:pt x="0" y="31"/>
                  <a:pt x="0" y="30"/>
                </a:cubicBezTo>
                <a:cubicBezTo>
                  <a:pt x="0" y="2"/>
                  <a:pt x="0" y="2"/>
                  <a:pt x="0" y="2"/>
                </a:cubicBezTo>
                <a:cubicBezTo>
                  <a:pt x="0" y="1"/>
                  <a:pt x="1" y="0"/>
                  <a:pt x="2" y="0"/>
                </a:cubicBezTo>
                <a:cubicBezTo>
                  <a:pt x="31" y="0"/>
                  <a:pt x="31" y="0"/>
                  <a:pt x="31" y="0"/>
                </a:cubicBezTo>
                <a:cubicBezTo>
                  <a:pt x="32"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92">
            <a:extLst>
              <a:ext uri="{FF2B5EF4-FFF2-40B4-BE49-F238E27FC236}">
                <a16:creationId xmlns:a16="http://schemas.microsoft.com/office/drawing/2014/main" id="{CE15B674-BA12-41DE-805F-650E4BFBA221}"/>
              </a:ext>
            </a:extLst>
          </p:cNvPr>
          <p:cNvSpPr>
            <a:spLocks/>
          </p:cNvSpPr>
          <p:nvPr/>
        </p:nvSpPr>
        <p:spPr bwMode="gray">
          <a:xfrm flipH="1">
            <a:off x="8016077" y="5035095"/>
            <a:ext cx="293960"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93">
            <a:extLst>
              <a:ext uri="{FF2B5EF4-FFF2-40B4-BE49-F238E27FC236}">
                <a16:creationId xmlns:a16="http://schemas.microsoft.com/office/drawing/2014/main" id="{D2ECC946-55CF-4269-A3CF-1200402418F5}"/>
              </a:ext>
            </a:extLst>
          </p:cNvPr>
          <p:cNvSpPr>
            <a:spLocks/>
          </p:cNvSpPr>
          <p:nvPr/>
        </p:nvSpPr>
        <p:spPr bwMode="gray">
          <a:xfrm flipH="1">
            <a:off x="7655487" y="5035095"/>
            <a:ext cx="293960"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94">
            <a:extLst>
              <a:ext uri="{FF2B5EF4-FFF2-40B4-BE49-F238E27FC236}">
                <a16:creationId xmlns:a16="http://schemas.microsoft.com/office/drawing/2014/main" id="{5B0901D3-174E-4588-A96F-7E78EBB5838A}"/>
              </a:ext>
            </a:extLst>
          </p:cNvPr>
          <p:cNvSpPr>
            <a:spLocks/>
          </p:cNvSpPr>
          <p:nvPr/>
        </p:nvSpPr>
        <p:spPr bwMode="gray">
          <a:xfrm flipH="1">
            <a:off x="7294897" y="5035095"/>
            <a:ext cx="293960"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95">
            <a:extLst>
              <a:ext uri="{FF2B5EF4-FFF2-40B4-BE49-F238E27FC236}">
                <a16:creationId xmlns:a16="http://schemas.microsoft.com/office/drawing/2014/main" id="{A9F9B8AC-E1AC-46F3-BC2D-F7C1A4459E46}"/>
              </a:ext>
            </a:extLst>
          </p:cNvPr>
          <p:cNvSpPr>
            <a:spLocks/>
          </p:cNvSpPr>
          <p:nvPr/>
        </p:nvSpPr>
        <p:spPr bwMode="gray">
          <a:xfrm flipH="1">
            <a:off x="6930389" y="5035095"/>
            <a:ext cx="297879"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96">
            <a:extLst>
              <a:ext uri="{FF2B5EF4-FFF2-40B4-BE49-F238E27FC236}">
                <a16:creationId xmlns:a16="http://schemas.microsoft.com/office/drawing/2014/main" id="{BF76CBEB-2124-4753-BFD1-F7CB71069A2C}"/>
              </a:ext>
            </a:extLst>
          </p:cNvPr>
          <p:cNvSpPr>
            <a:spLocks/>
          </p:cNvSpPr>
          <p:nvPr/>
        </p:nvSpPr>
        <p:spPr bwMode="gray">
          <a:xfrm flipH="1">
            <a:off x="6569799" y="5035095"/>
            <a:ext cx="297879"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97">
            <a:extLst>
              <a:ext uri="{FF2B5EF4-FFF2-40B4-BE49-F238E27FC236}">
                <a16:creationId xmlns:a16="http://schemas.microsoft.com/office/drawing/2014/main" id="{DCF9F4E3-71D3-49FE-87CA-3FA76827E113}"/>
              </a:ext>
            </a:extLst>
          </p:cNvPr>
          <p:cNvSpPr>
            <a:spLocks/>
          </p:cNvSpPr>
          <p:nvPr/>
        </p:nvSpPr>
        <p:spPr bwMode="gray">
          <a:xfrm flipH="1">
            <a:off x="6209209" y="5035095"/>
            <a:ext cx="297879"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98">
            <a:extLst>
              <a:ext uri="{FF2B5EF4-FFF2-40B4-BE49-F238E27FC236}">
                <a16:creationId xmlns:a16="http://schemas.microsoft.com/office/drawing/2014/main" id="{6F125C6D-C169-4122-9A5B-6E9CB06EF18B}"/>
              </a:ext>
            </a:extLst>
          </p:cNvPr>
          <p:cNvSpPr>
            <a:spLocks/>
          </p:cNvSpPr>
          <p:nvPr/>
        </p:nvSpPr>
        <p:spPr bwMode="gray">
          <a:xfrm flipH="1">
            <a:off x="10532369" y="5035095"/>
            <a:ext cx="482095" cy="293960"/>
          </a:xfrm>
          <a:custGeom>
            <a:avLst/>
            <a:gdLst>
              <a:gd name="T0" fmla="*/ 52 w 52"/>
              <a:gd name="T1" fmla="*/ 30 h 32"/>
              <a:gd name="T2" fmla="*/ 50 w 52"/>
              <a:gd name="T3" fmla="*/ 32 h 32"/>
              <a:gd name="T4" fmla="*/ 2 w 52"/>
              <a:gd name="T5" fmla="*/ 32 h 32"/>
              <a:gd name="T6" fmla="*/ 0 w 52"/>
              <a:gd name="T7" fmla="*/ 30 h 32"/>
              <a:gd name="T8" fmla="*/ 0 w 52"/>
              <a:gd name="T9" fmla="*/ 2 h 32"/>
              <a:gd name="T10" fmla="*/ 2 w 52"/>
              <a:gd name="T11" fmla="*/ 0 h 32"/>
              <a:gd name="T12" fmla="*/ 50 w 52"/>
              <a:gd name="T13" fmla="*/ 0 h 32"/>
              <a:gd name="T14" fmla="*/ 52 w 52"/>
              <a:gd name="T15" fmla="*/ 2 h 32"/>
              <a:gd name="T16" fmla="*/ 52 w 5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32">
                <a:moveTo>
                  <a:pt x="52" y="30"/>
                </a:moveTo>
                <a:cubicBezTo>
                  <a:pt x="52" y="31"/>
                  <a:pt x="51" y="32"/>
                  <a:pt x="50" y="32"/>
                </a:cubicBezTo>
                <a:cubicBezTo>
                  <a:pt x="2" y="32"/>
                  <a:pt x="2" y="32"/>
                  <a:pt x="2" y="32"/>
                </a:cubicBezTo>
                <a:cubicBezTo>
                  <a:pt x="1" y="32"/>
                  <a:pt x="0" y="31"/>
                  <a:pt x="0" y="30"/>
                </a:cubicBezTo>
                <a:cubicBezTo>
                  <a:pt x="0" y="2"/>
                  <a:pt x="0" y="2"/>
                  <a:pt x="0" y="2"/>
                </a:cubicBezTo>
                <a:cubicBezTo>
                  <a:pt x="0" y="1"/>
                  <a:pt x="1" y="0"/>
                  <a:pt x="2" y="0"/>
                </a:cubicBezTo>
                <a:cubicBezTo>
                  <a:pt x="50" y="0"/>
                  <a:pt x="50" y="0"/>
                  <a:pt x="50" y="0"/>
                </a:cubicBezTo>
                <a:cubicBezTo>
                  <a:pt x="51" y="0"/>
                  <a:pt x="52" y="1"/>
                  <a:pt x="52" y="2"/>
                </a:cubicBezTo>
                <a:lnTo>
                  <a:pt x="5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99">
            <a:extLst>
              <a:ext uri="{FF2B5EF4-FFF2-40B4-BE49-F238E27FC236}">
                <a16:creationId xmlns:a16="http://schemas.microsoft.com/office/drawing/2014/main" id="{F3035C32-2C41-48A3-AA55-7CCC65A1124E}"/>
              </a:ext>
            </a:extLst>
          </p:cNvPr>
          <p:cNvSpPr>
            <a:spLocks/>
          </p:cNvSpPr>
          <p:nvPr/>
        </p:nvSpPr>
        <p:spPr bwMode="gray">
          <a:xfrm flipH="1">
            <a:off x="5848616" y="4674505"/>
            <a:ext cx="482095" cy="293960"/>
          </a:xfrm>
          <a:custGeom>
            <a:avLst/>
            <a:gdLst>
              <a:gd name="T0" fmla="*/ 52 w 52"/>
              <a:gd name="T1" fmla="*/ 30 h 32"/>
              <a:gd name="T2" fmla="*/ 50 w 52"/>
              <a:gd name="T3" fmla="*/ 32 h 32"/>
              <a:gd name="T4" fmla="*/ 2 w 52"/>
              <a:gd name="T5" fmla="*/ 32 h 32"/>
              <a:gd name="T6" fmla="*/ 0 w 52"/>
              <a:gd name="T7" fmla="*/ 30 h 32"/>
              <a:gd name="T8" fmla="*/ 0 w 52"/>
              <a:gd name="T9" fmla="*/ 2 h 32"/>
              <a:gd name="T10" fmla="*/ 2 w 52"/>
              <a:gd name="T11" fmla="*/ 0 h 32"/>
              <a:gd name="T12" fmla="*/ 50 w 52"/>
              <a:gd name="T13" fmla="*/ 0 h 32"/>
              <a:gd name="T14" fmla="*/ 52 w 52"/>
              <a:gd name="T15" fmla="*/ 2 h 32"/>
              <a:gd name="T16" fmla="*/ 52 w 5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32">
                <a:moveTo>
                  <a:pt x="52" y="30"/>
                </a:moveTo>
                <a:cubicBezTo>
                  <a:pt x="52" y="31"/>
                  <a:pt x="51" y="32"/>
                  <a:pt x="50" y="32"/>
                </a:cubicBezTo>
                <a:cubicBezTo>
                  <a:pt x="2" y="32"/>
                  <a:pt x="2" y="32"/>
                  <a:pt x="2" y="32"/>
                </a:cubicBezTo>
                <a:cubicBezTo>
                  <a:pt x="1" y="32"/>
                  <a:pt x="0" y="31"/>
                  <a:pt x="0" y="30"/>
                </a:cubicBezTo>
                <a:cubicBezTo>
                  <a:pt x="0" y="2"/>
                  <a:pt x="0" y="2"/>
                  <a:pt x="0" y="2"/>
                </a:cubicBezTo>
                <a:cubicBezTo>
                  <a:pt x="0" y="1"/>
                  <a:pt x="1" y="0"/>
                  <a:pt x="2" y="0"/>
                </a:cubicBezTo>
                <a:cubicBezTo>
                  <a:pt x="50" y="0"/>
                  <a:pt x="50" y="0"/>
                  <a:pt x="50" y="0"/>
                </a:cubicBezTo>
                <a:cubicBezTo>
                  <a:pt x="51" y="0"/>
                  <a:pt x="52" y="1"/>
                  <a:pt x="52" y="2"/>
                </a:cubicBezTo>
                <a:lnTo>
                  <a:pt x="5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100">
            <a:extLst>
              <a:ext uri="{FF2B5EF4-FFF2-40B4-BE49-F238E27FC236}">
                <a16:creationId xmlns:a16="http://schemas.microsoft.com/office/drawing/2014/main" id="{B8E2428B-BEC8-475C-BFED-E5A8261D0741}"/>
              </a:ext>
            </a:extLst>
          </p:cNvPr>
          <p:cNvSpPr>
            <a:spLocks/>
          </p:cNvSpPr>
          <p:nvPr/>
        </p:nvSpPr>
        <p:spPr bwMode="gray">
          <a:xfrm flipH="1">
            <a:off x="10450062" y="5395684"/>
            <a:ext cx="564401" cy="293960"/>
          </a:xfrm>
          <a:custGeom>
            <a:avLst/>
            <a:gdLst>
              <a:gd name="T0" fmla="*/ 61 w 61"/>
              <a:gd name="T1" fmla="*/ 30 h 32"/>
              <a:gd name="T2" fmla="*/ 59 w 61"/>
              <a:gd name="T3" fmla="*/ 32 h 32"/>
              <a:gd name="T4" fmla="*/ 2 w 61"/>
              <a:gd name="T5" fmla="*/ 32 h 32"/>
              <a:gd name="T6" fmla="*/ 0 w 61"/>
              <a:gd name="T7" fmla="*/ 30 h 32"/>
              <a:gd name="T8" fmla="*/ 0 w 61"/>
              <a:gd name="T9" fmla="*/ 2 h 32"/>
              <a:gd name="T10" fmla="*/ 2 w 61"/>
              <a:gd name="T11" fmla="*/ 0 h 32"/>
              <a:gd name="T12" fmla="*/ 59 w 61"/>
              <a:gd name="T13" fmla="*/ 0 h 32"/>
              <a:gd name="T14" fmla="*/ 61 w 61"/>
              <a:gd name="T15" fmla="*/ 2 h 32"/>
              <a:gd name="T16" fmla="*/ 61 w 61"/>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32">
                <a:moveTo>
                  <a:pt x="61" y="30"/>
                </a:moveTo>
                <a:cubicBezTo>
                  <a:pt x="61" y="31"/>
                  <a:pt x="60" y="32"/>
                  <a:pt x="59" y="32"/>
                </a:cubicBezTo>
                <a:cubicBezTo>
                  <a:pt x="2" y="32"/>
                  <a:pt x="2" y="32"/>
                  <a:pt x="2" y="32"/>
                </a:cubicBezTo>
                <a:cubicBezTo>
                  <a:pt x="1" y="32"/>
                  <a:pt x="0" y="31"/>
                  <a:pt x="0" y="30"/>
                </a:cubicBezTo>
                <a:cubicBezTo>
                  <a:pt x="0" y="2"/>
                  <a:pt x="0" y="2"/>
                  <a:pt x="0" y="2"/>
                </a:cubicBezTo>
                <a:cubicBezTo>
                  <a:pt x="0" y="1"/>
                  <a:pt x="1" y="0"/>
                  <a:pt x="2" y="0"/>
                </a:cubicBezTo>
                <a:cubicBezTo>
                  <a:pt x="59" y="0"/>
                  <a:pt x="59" y="0"/>
                  <a:pt x="59" y="0"/>
                </a:cubicBezTo>
                <a:cubicBezTo>
                  <a:pt x="60" y="0"/>
                  <a:pt x="61" y="1"/>
                  <a:pt x="61" y="2"/>
                </a:cubicBezTo>
                <a:lnTo>
                  <a:pt x="6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101">
            <a:extLst>
              <a:ext uri="{FF2B5EF4-FFF2-40B4-BE49-F238E27FC236}">
                <a16:creationId xmlns:a16="http://schemas.microsoft.com/office/drawing/2014/main" id="{11E8DA22-7099-429F-A91F-7C096DAFFDF3}"/>
              </a:ext>
            </a:extLst>
          </p:cNvPr>
          <p:cNvSpPr>
            <a:spLocks/>
          </p:cNvSpPr>
          <p:nvPr/>
        </p:nvSpPr>
        <p:spPr bwMode="gray">
          <a:xfrm flipH="1">
            <a:off x="10626435" y="5756274"/>
            <a:ext cx="388027" cy="293960"/>
          </a:xfrm>
          <a:custGeom>
            <a:avLst/>
            <a:gdLst>
              <a:gd name="T0" fmla="*/ 42 w 42"/>
              <a:gd name="T1" fmla="*/ 30 h 32"/>
              <a:gd name="T2" fmla="*/ 40 w 42"/>
              <a:gd name="T3" fmla="*/ 32 h 32"/>
              <a:gd name="T4" fmla="*/ 2 w 42"/>
              <a:gd name="T5" fmla="*/ 32 h 32"/>
              <a:gd name="T6" fmla="*/ 0 w 42"/>
              <a:gd name="T7" fmla="*/ 30 h 32"/>
              <a:gd name="T8" fmla="*/ 0 w 42"/>
              <a:gd name="T9" fmla="*/ 2 h 32"/>
              <a:gd name="T10" fmla="*/ 2 w 42"/>
              <a:gd name="T11" fmla="*/ 0 h 32"/>
              <a:gd name="T12" fmla="*/ 40 w 42"/>
              <a:gd name="T13" fmla="*/ 0 h 32"/>
              <a:gd name="T14" fmla="*/ 42 w 42"/>
              <a:gd name="T15" fmla="*/ 2 h 32"/>
              <a:gd name="T16" fmla="*/ 42 w 4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2">
                <a:moveTo>
                  <a:pt x="42" y="30"/>
                </a:moveTo>
                <a:cubicBezTo>
                  <a:pt x="42" y="31"/>
                  <a:pt x="41" y="32"/>
                  <a:pt x="40" y="32"/>
                </a:cubicBezTo>
                <a:cubicBezTo>
                  <a:pt x="2" y="32"/>
                  <a:pt x="2" y="32"/>
                  <a:pt x="2" y="32"/>
                </a:cubicBezTo>
                <a:cubicBezTo>
                  <a:pt x="1" y="32"/>
                  <a:pt x="0" y="31"/>
                  <a:pt x="0" y="30"/>
                </a:cubicBezTo>
                <a:cubicBezTo>
                  <a:pt x="0" y="2"/>
                  <a:pt x="0" y="2"/>
                  <a:pt x="0" y="2"/>
                </a:cubicBezTo>
                <a:cubicBezTo>
                  <a:pt x="0" y="1"/>
                  <a:pt x="1" y="0"/>
                  <a:pt x="2" y="0"/>
                </a:cubicBezTo>
                <a:cubicBezTo>
                  <a:pt x="40" y="0"/>
                  <a:pt x="40" y="0"/>
                  <a:pt x="40" y="0"/>
                </a:cubicBezTo>
                <a:cubicBezTo>
                  <a:pt x="41" y="0"/>
                  <a:pt x="42" y="1"/>
                  <a:pt x="42" y="2"/>
                </a:cubicBezTo>
                <a:lnTo>
                  <a:pt x="4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102">
            <a:extLst>
              <a:ext uri="{FF2B5EF4-FFF2-40B4-BE49-F238E27FC236}">
                <a16:creationId xmlns:a16="http://schemas.microsoft.com/office/drawing/2014/main" id="{39DAC914-FD0C-4966-8B17-F99F51E130F3}"/>
              </a:ext>
            </a:extLst>
          </p:cNvPr>
          <p:cNvSpPr>
            <a:spLocks/>
          </p:cNvSpPr>
          <p:nvPr/>
        </p:nvSpPr>
        <p:spPr bwMode="gray">
          <a:xfrm flipH="1">
            <a:off x="10355994" y="4674505"/>
            <a:ext cx="297879"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103">
            <a:extLst>
              <a:ext uri="{FF2B5EF4-FFF2-40B4-BE49-F238E27FC236}">
                <a16:creationId xmlns:a16="http://schemas.microsoft.com/office/drawing/2014/main" id="{725C97FD-2F4B-4766-BD7B-07A95F450714}"/>
              </a:ext>
            </a:extLst>
          </p:cNvPr>
          <p:cNvSpPr>
            <a:spLocks/>
          </p:cNvSpPr>
          <p:nvPr/>
        </p:nvSpPr>
        <p:spPr bwMode="gray">
          <a:xfrm flipH="1">
            <a:off x="9995404" y="4674505"/>
            <a:ext cx="297879"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104">
            <a:extLst>
              <a:ext uri="{FF2B5EF4-FFF2-40B4-BE49-F238E27FC236}">
                <a16:creationId xmlns:a16="http://schemas.microsoft.com/office/drawing/2014/main" id="{A24952CD-F27A-4339-B155-768BF255A408}"/>
              </a:ext>
            </a:extLst>
          </p:cNvPr>
          <p:cNvSpPr>
            <a:spLocks/>
          </p:cNvSpPr>
          <p:nvPr/>
        </p:nvSpPr>
        <p:spPr bwMode="gray">
          <a:xfrm flipH="1">
            <a:off x="9634812" y="4674505"/>
            <a:ext cx="293960"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105">
            <a:extLst>
              <a:ext uri="{FF2B5EF4-FFF2-40B4-BE49-F238E27FC236}">
                <a16:creationId xmlns:a16="http://schemas.microsoft.com/office/drawing/2014/main" id="{5CA340E4-3AB0-494F-902A-985510BB8526}"/>
              </a:ext>
            </a:extLst>
          </p:cNvPr>
          <p:cNvSpPr>
            <a:spLocks/>
          </p:cNvSpPr>
          <p:nvPr/>
        </p:nvSpPr>
        <p:spPr bwMode="gray">
          <a:xfrm flipH="1">
            <a:off x="9274222" y="4674505"/>
            <a:ext cx="293960"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106">
            <a:extLst>
              <a:ext uri="{FF2B5EF4-FFF2-40B4-BE49-F238E27FC236}">
                <a16:creationId xmlns:a16="http://schemas.microsoft.com/office/drawing/2014/main" id="{980BE4E5-9365-4717-AE55-667AF69D224C}"/>
              </a:ext>
            </a:extLst>
          </p:cNvPr>
          <p:cNvSpPr>
            <a:spLocks/>
          </p:cNvSpPr>
          <p:nvPr/>
        </p:nvSpPr>
        <p:spPr bwMode="gray">
          <a:xfrm flipH="1">
            <a:off x="8913632" y="4674505"/>
            <a:ext cx="293960"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107">
            <a:extLst>
              <a:ext uri="{FF2B5EF4-FFF2-40B4-BE49-F238E27FC236}">
                <a16:creationId xmlns:a16="http://schemas.microsoft.com/office/drawing/2014/main" id="{B3C0B946-65CE-4C0E-A390-923FA335C039}"/>
              </a:ext>
            </a:extLst>
          </p:cNvPr>
          <p:cNvSpPr>
            <a:spLocks/>
          </p:cNvSpPr>
          <p:nvPr/>
        </p:nvSpPr>
        <p:spPr bwMode="gray">
          <a:xfrm flipH="1">
            <a:off x="8553042" y="4674505"/>
            <a:ext cx="293960"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108">
            <a:extLst>
              <a:ext uri="{FF2B5EF4-FFF2-40B4-BE49-F238E27FC236}">
                <a16:creationId xmlns:a16="http://schemas.microsoft.com/office/drawing/2014/main" id="{D3889025-54B8-4D16-978D-DA68A2E4F1E3}"/>
              </a:ext>
            </a:extLst>
          </p:cNvPr>
          <p:cNvSpPr>
            <a:spLocks/>
          </p:cNvSpPr>
          <p:nvPr/>
        </p:nvSpPr>
        <p:spPr bwMode="gray">
          <a:xfrm flipH="1">
            <a:off x="8192452" y="4674505"/>
            <a:ext cx="293960"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109">
            <a:extLst>
              <a:ext uri="{FF2B5EF4-FFF2-40B4-BE49-F238E27FC236}">
                <a16:creationId xmlns:a16="http://schemas.microsoft.com/office/drawing/2014/main" id="{0679A443-1EAC-4CB6-B55A-6C7B36C9F247}"/>
              </a:ext>
            </a:extLst>
          </p:cNvPr>
          <p:cNvSpPr>
            <a:spLocks/>
          </p:cNvSpPr>
          <p:nvPr/>
        </p:nvSpPr>
        <p:spPr bwMode="gray">
          <a:xfrm flipH="1">
            <a:off x="7831862" y="4674505"/>
            <a:ext cx="293960" cy="293960"/>
          </a:xfrm>
          <a:custGeom>
            <a:avLst/>
            <a:gdLst>
              <a:gd name="T0" fmla="*/ 32 w 32"/>
              <a:gd name="T1" fmla="*/ 30 h 32"/>
              <a:gd name="T2" fmla="*/ 30 w 32"/>
              <a:gd name="T3" fmla="*/ 32 h 32"/>
              <a:gd name="T4" fmla="*/ 1 w 32"/>
              <a:gd name="T5" fmla="*/ 32 h 32"/>
              <a:gd name="T6" fmla="*/ 0 w 32"/>
              <a:gd name="T7" fmla="*/ 30 h 32"/>
              <a:gd name="T8" fmla="*/ 0 w 32"/>
              <a:gd name="T9" fmla="*/ 2 h 32"/>
              <a:gd name="T10" fmla="*/ 1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1" y="32"/>
                  <a:pt x="1" y="32"/>
                  <a:pt x="1" y="32"/>
                </a:cubicBezTo>
                <a:cubicBezTo>
                  <a:pt x="0" y="32"/>
                  <a:pt x="0" y="31"/>
                  <a:pt x="0" y="30"/>
                </a:cubicBezTo>
                <a:cubicBezTo>
                  <a:pt x="0" y="2"/>
                  <a:pt x="0" y="2"/>
                  <a:pt x="0" y="2"/>
                </a:cubicBezTo>
                <a:cubicBezTo>
                  <a:pt x="0" y="1"/>
                  <a:pt x="0" y="0"/>
                  <a:pt x="1"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110">
            <a:extLst>
              <a:ext uri="{FF2B5EF4-FFF2-40B4-BE49-F238E27FC236}">
                <a16:creationId xmlns:a16="http://schemas.microsoft.com/office/drawing/2014/main" id="{C915BDB7-037D-4420-9B70-E45D08855737}"/>
              </a:ext>
            </a:extLst>
          </p:cNvPr>
          <p:cNvSpPr>
            <a:spLocks/>
          </p:cNvSpPr>
          <p:nvPr/>
        </p:nvSpPr>
        <p:spPr bwMode="gray">
          <a:xfrm flipH="1">
            <a:off x="7479111" y="4674505"/>
            <a:ext cx="293960" cy="293960"/>
          </a:xfrm>
          <a:custGeom>
            <a:avLst/>
            <a:gdLst>
              <a:gd name="T0" fmla="*/ 32 w 32"/>
              <a:gd name="T1" fmla="*/ 30 h 32"/>
              <a:gd name="T2" fmla="*/ 31 w 32"/>
              <a:gd name="T3" fmla="*/ 32 h 32"/>
              <a:gd name="T4" fmla="*/ 2 w 32"/>
              <a:gd name="T5" fmla="*/ 32 h 32"/>
              <a:gd name="T6" fmla="*/ 0 w 32"/>
              <a:gd name="T7" fmla="*/ 30 h 32"/>
              <a:gd name="T8" fmla="*/ 0 w 32"/>
              <a:gd name="T9" fmla="*/ 2 h 32"/>
              <a:gd name="T10" fmla="*/ 2 w 32"/>
              <a:gd name="T11" fmla="*/ 0 h 32"/>
              <a:gd name="T12" fmla="*/ 31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2" y="32"/>
                  <a:pt x="31" y="32"/>
                </a:cubicBezTo>
                <a:cubicBezTo>
                  <a:pt x="2" y="32"/>
                  <a:pt x="2" y="32"/>
                  <a:pt x="2" y="32"/>
                </a:cubicBezTo>
                <a:cubicBezTo>
                  <a:pt x="1" y="32"/>
                  <a:pt x="0" y="31"/>
                  <a:pt x="0" y="30"/>
                </a:cubicBezTo>
                <a:cubicBezTo>
                  <a:pt x="0" y="2"/>
                  <a:pt x="0" y="2"/>
                  <a:pt x="0" y="2"/>
                </a:cubicBezTo>
                <a:cubicBezTo>
                  <a:pt x="0" y="1"/>
                  <a:pt x="1" y="0"/>
                  <a:pt x="2" y="0"/>
                </a:cubicBezTo>
                <a:cubicBezTo>
                  <a:pt x="31" y="0"/>
                  <a:pt x="31" y="0"/>
                  <a:pt x="31" y="0"/>
                </a:cubicBezTo>
                <a:cubicBezTo>
                  <a:pt x="32"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111">
            <a:extLst>
              <a:ext uri="{FF2B5EF4-FFF2-40B4-BE49-F238E27FC236}">
                <a16:creationId xmlns:a16="http://schemas.microsoft.com/office/drawing/2014/main" id="{AB032C5B-51D0-4496-A6CA-23331BACEEFA}"/>
              </a:ext>
            </a:extLst>
          </p:cNvPr>
          <p:cNvSpPr>
            <a:spLocks/>
          </p:cNvSpPr>
          <p:nvPr/>
        </p:nvSpPr>
        <p:spPr bwMode="gray">
          <a:xfrm flipH="1">
            <a:off x="7118521" y="4674505"/>
            <a:ext cx="293960"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112">
            <a:extLst>
              <a:ext uri="{FF2B5EF4-FFF2-40B4-BE49-F238E27FC236}">
                <a16:creationId xmlns:a16="http://schemas.microsoft.com/office/drawing/2014/main" id="{8D463AAD-1119-4D06-9652-9B67A64787ED}"/>
              </a:ext>
            </a:extLst>
          </p:cNvPr>
          <p:cNvSpPr>
            <a:spLocks/>
          </p:cNvSpPr>
          <p:nvPr/>
        </p:nvSpPr>
        <p:spPr bwMode="gray">
          <a:xfrm flipH="1">
            <a:off x="6757931" y="4674505"/>
            <a:ext cx="293960"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113">
            <a:extLst>
              <a:ext uri="{FF2B5EF4-FFF2-40B4-BE49-F238E27FC236}">
                <a16:creationId xmlns:a16="http://schemas.microsoft.com/office/drawing/2014/main" id="{5824B9CD-D61A-4A7D-BEB0-DDDD9DD46BAA}"/>
              </a:ext>
            </a:extLst>
          </p:cNvPr>
          <p:cNvSpPr>
            <a:spLocks/>
          </p:cNvSpPr>
          <p:nvPr/>
        </p:nvSpPr>
        <p:spPr bwMode="gray">
          <a:xfrm flipH="1">
            <a:off x="6397340" y="4674505"/>
            <a:ext cx="293960" cy="293960"/>
          </a:xfrm>
          <a:custGeom>
            <a:avLst/>
            <a:gdLst>
              <a:gd name="T0" fmla="*/ 32 w 32"/>
              <a:gd name="T1" fmla="*/ 30 h 32"/>
              <a:gd name="T2" fmla="*/ 30 w 32"/>
              <a:gd name="T3" fmla="*/ 32 h 32"/>
              <a:gd name="T4" fmla="*/ 2 w 32"/>
              <a:gd name="T5" fmla="*/ 32 h 32"/>
              <a:gd name="T6" fmla="*/ 0 w 32"/>
              <a:gd name="T7" fmla="*/ 30 h 32"/>
              <a:gd name="T8" fmla="*/ 0 w 32"/>
              <a:gd name="T9" fmla="*/ 2 h 32"/>
              <a:gd name="T10" fmla="*/ 2 w 32"/>
              <a:gd name="T11" fmla="*/ 0 h 32"/>
              <a:gd name="T12" fmla="*/ 30 w 32"/>
              <a:gd name="T13" fmla="*/ 0 h 32"/>
              <a:gd name="T14" fmla="*/ 32 w 32"/>
              <a:gd name="T15" fmla="*/ 2 h 32"/>
              <a:gd name="T16" fmla="*/ 32 w 32"/>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32" y="30"/>
                </a:moveTo>
                <a:cubicBezTo>
                  <a:pt x="32" y="31"/>
                  <a:pt x="31" y="32"/>
                  <a:pt x="30" y="32"/>
                </a:cubicBezTo>
                <a:cubicBezTo>
                  <a:pt x="2" y="32"/>
                  <a:pt x="2" y="32"/>
                  <a:pt x="2" y="32"/>
                </a:cubicBezTo>
                <a:cubicBezTo>
                  <a:pt x="1" y="32"/>
                  <a:pt x="0" y="31"/>
                  <a:pt x="0" y="30"/>
                </a:cubicBezTo>
                <a:cubicBezTo>
                  <a:pt x="0" y="2"/>
                  <a:pt x="0" y="2"/>
                  <a:pt x="0" y="2"/>
                </a:cubicBezTo>
                <a:cubicBezTo>
                  <a:pt x="0" y="1"/>
                  <a:pt x="1" y="0"/>
                  <a:pt x="2" y="0"/>
                </a:cubicBezTo>
                <a:cubicBezTo>
                  <a:pt x="30" y="0"/>
                  <a:pt x="30" y="0"/>
                  <a:pt x="30" y="0"/>
                </a:cubicBezTo>
                <a:cubicBezTo>
                  <a:pt x="31" y="0"/>
                  <a:pt x="32" y="1"/>
                  <a:pt x="32" y="2"/>
                </a:cubicBezTo>
                <a:lnTo>
                  <a:pt x="3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114">
            <a:extLst>
              <a:ext uri="{FF2B5EF4-FFF2-40B4-BE49-F238E27FC236}">
                <a16:creationId xmlns:a16="http://schemas.microsoft.com/office/drawing/2014/main" id="{60035036-3D67-453F-8872-191601DCA5B9}"/>
              </a:ext>
            </a:extLst>
          </p:cNvPr>
          <p:cNvSpPr>
            <a:spLocks/>
          </p:cNvSpPr>
          <p:nvPr/>
        </p:nvSpPr>
        <p:spPr bwMode="gray">
          <a:xfrm flipH="1">
            <a:off x="6209209" y="6289320"/>
            <a:ext cx="297879" cy="156778"/>
          </a:xfrm>
          <a:custGeom>
            <a:avLst/>
            <a:gdLst>
              <a:gd name="T0" fmla="*/ 0 w 32"/>
              <a:gd name="T1" fmla="*/ 0 h 17"/>
              <a:gd name="T2" fmla="*/ 0 w 32"/>
              <a:gd name="T3" fmla="*/ 16 h 17"/>
              <a:gd name="T4" fmla="*/ 1 w 32"/>
              <a:gd name="T5" fmla="*/ 17 h 17"/>
              <a:gd name="T6" fmla="*/ 2 w 32"/>
              <a:gd name="T7" fmla="*/ 17 h 17"/>
              <a:gd name="T8" fmla="*/ 30 w 32"/>
              <a:gd name="T9" fmla="*/ 17 h 17"/>
              <a:gd name="T10" fmla="*/ 31 w 32"/>
              <a:gd name="T11" fmla="*/ 17 h 17"/>
              <a:gd name="T12" fmla="*/ 32 w 32"/>
              <a:gd name="T13" fmla="*/ 16 h 17"/>
              <a:gd name="T14" fmla="*/ 32 w 32"/>
              <a:gd name="T15" fmla="*/ 0 h 17"/>
              <a:gd name="T16" fmla="*/ 0 w 32"/>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7">
                <a:moveTo>
                  <a:pt x="0" y="0"/>
                </a:moveTo>
                <a:cubicBezTo>
                  <a:pt x="0" y="16"/>
                  <a:pt x="0" y="16"/>
                  <a:pt x="0" y="16"/>
                </a:cubicBezTo>
                <a:cubicBezTo>
                  <a:pt x="0" y="16"/>
                  <a:pt x="0" y="17"/>
                  <a:pt x="1" y="17"/>
                </a:cubicBezTo>
                <a:cubicBezTo>
                  <a:pt x="1" y="17"/>
                  <a:pt x="1" y="17"/>
                  <a:pt x="2" y="17"/>
                </a:cubicBezTo>
                <a:cubicBezTo>
                  <a:pt x="30" y="17"/>
                  <a:pt x="30" y="17"/>
                  <a:pt x="30" y="17"/>
                </a:cubicBezTo>
                <a:cubicBezTo>
                  <a:pt x="31" y="17"/>
                  <a:pt x="31" y="17"/>
                  <a:pt x="31" y="17"/>
                </a:cubicBezTo>
                <a:cubicBezTo>
                  <a:pt x="32" y="17"/>
                  <a:pt x="32" y="16"/>
                  <a:pt x="32" y="16"/>
                </a:cubicBezTo>
                <a:cubicBezTo>
                  <a:pt x="32" y="0"/>
                  <a:pt x="32" y="0"/>
                  <a:pt x="32"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115">
            <a:extLst>
              <a:ext uri="{FF2B5EF4-FFF2-40B4-BE49-F238E27FC236}">
                <a16:creationId xmlns:a16="http://schemas.microsoft.com/office/drawing/2014/main" id="{27C4D5D0-CEA1-499E-BEA0-722E470E5E31}"/>
              </a:ext>
            </a:extLst>
          </p:cNvPr>
          <p:cNvSpPr>
            <a:spLocks/>
          </p:cNvSpPr>
          <p:nvPr/>
        </p:nvSpPr>
        <p:spPr bwMode="gray">
          <a:xfrm flipH="1">
            <a:off x="6209209" y="6116864"/>
            <a:ext cx="297879" cy="156778"/>
          </a:xfrm>
          <a:custGeom>
            <a:avLst/>
            <a:gdLst>
              <a:gd name="T0" fmla="*/ 32 w 32"/>
              <a:gd name="T1" fmla="*/ 17 h 17"/>
              <a:gd name="T2" fmla="*/ 32 w 32"/>
              <a:gd name="T3" fmla="*/ 1 h 17"/>
              <a:gd name="T4" fmla="*/ 31 w 32"/>
              <a:gd name="T5" fmla="*/ 0 h 17"/>
              <a:gd name="T6" fmla="*/ 30 w 32"/>
              <a:gd name="T7" fmla="*/ 0 h 17"/>
              <a:gd name="T8" fmla="*/ 2 w 32"/>
              <a:gd name="T9" fmla="*/ 0 h 17"/>
              <a:gd name="T10" fmla="*/ 1 w 32"/>
              <a:gd name="T11" fmla="*/ 0 h 17"/>
              <a:gd name="T12" fmla="*/ 0 w 32"/>
              <a:gd name="T13" fmla="*/ 1 h 17"/>
              <a:gd name="T14" fmla="*/ 0 w 32"/>
              <a:gd name="T15" fmla="*/ 17 h 17"/>
              <a:gd name="T16" fmla="*/ 32 w 32"/>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7">
                <a:moveTo>
                  <a:pt x="32" y="17"/>
                </a:moveTo>
                <a:cubicBezTo>
                  <a:pt x="32" y="1"/>
                  <a:pt x="32" y="1"/>
                  <a:pt x="32" y="1"/>
                </a:cubicBezTo>
                <a:cubicBezTo>
                  <a:pt x="32" y="1"/>
                  <a:pt x="32" y="0"/>
                  <a:pt x="31" y="0"/>
                </a:cubicBezTo>
                <a:cubicBezTo>
                  <a:pt x="31" y="0"/>
                  <a:pt x="31" y="0"/>
                  <a:pt x="30" y="0"/>
                </a:cubicBezTo>
                <a:cubicBezTo>
                  <a:pt x="2" y="0"/>
                  <a:pt x="2" y="0"/>
                  <a:pt x="2" y="0"/>
                </a:cubicBezTo>
                <a:cubicBezTo>
                  <a:pt x="1" y="0"/>
                  <a:pt x="1" y="0"/>
                  <a:pt x="1" y="0"/>
                </a:cubicBezTo>
                <a:cubicBezTo>
                  <a:pt x="0" y="0"/>
                  <a:pt x="0" y="1"/>
                  <a:pt x="0" y="1"/>
                </a:cubicBezTo>
                <a:cubicBezTo>
                  <a:pt x="0" y="17"/>
                  <a:pt x="0" y="17"/>
                  <a:pt x="0" y="17"/>
                </a:cubicBezTo>
                <a:lnTo>
                  <a:pt x="32"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116">
            <a:extLst>
              <a:ext uri="{FF2B5EF4-FFF2-40B4-BE49-F238E27FC236}">
                <a16:creationId xmlns:a16="http://schemas.microsoft.com/office/drawing/2014/main" id="{0014A4FD-7FF1-4A8C-ADCA-9F2EDF3D574B}"/>
              </a:ext>
            </a:extLst>
          </p:cNvPr>
          <p:cNvSpPr>
            <a:spLocks/>
          </p:cNvSpPr>
          <p:nvPr/>
        </p:nvSpPr>
        <p:spPr bwMode="gray">
          <a:xfrm flipH="1">
            <a:off x="5848619" y="5035095"/>
            <a:ext cx="297879" cy="654550"/>
          </a:xfrm>
          <a:custGeom>
            <a:avLst/>
            <a:gdLst>
              <a:gd name="T0" fmla="*/ 2 w 32"/>
              <a:gd name="T1" fmla="*/ 0 h 71"/>
              <a:gd name="T2" fmla="*/ 1 w 32"/>
              <a:gd name="T3" fmla="*/ 0 h 71"/>
              <a:gd name="T4" fmla="*/ 0 w 32"/>
              <a:gd name="T5" fmla="*/ 2 h 71"/>
              <a:gd name="T6" fmla="*/ 0 w 32"/>
              <a:gd name="T7" fmla="*/ 30 h 71"/>
              <a:gd name="T8" fmla="*/ 1 w 32"/>
              <a:gd name="T9" fmla="*/ 31 h 71"/>
              <a:gd name="T10" fmla="*/ 2 w 32"/>
              <a:gd name="T11" fmla="*/ 32 h 71"/>
              <a:gd name="T12" fmla="*/ 9 w 32"/>
              <a:gd name="T13" fmla="*/ 32 h 71"/>
              <a:gd name="T14" fmla="*/ 9 w 32"/>
              <a:gd name="T15" fmla="*/ 69 h 71"/>
              <a:gd name="T16" fmla="*/ 10 w 32"/>
              <a:gd name="T17" fmla="*/ 70 h 71"/>
              <a:gd name="T18" fmla="*/ 11 w 32"/>
              <a:gd name="T19" fmla="*/ 71 h 71"/>
              <a:gd name="T20" fmla="*/ 30 w 32"/>
              <a:gd name="T21" fmla="*/ 71 h 71"/>
              <a:gd name="T22" fmla="*/ 31 w 32"/>
              <a:gd name="T23" fmla="*/ 70 h 71"/>
              <a:gd name="T24" fmla="*/ 32 w 32"/>
              <a:gd name="T25" fmla="*/ 69 h 71"/>
              <a:gd name="T26" fmla="*/ 32 w 32"/>
              <a:gd name="T27" fmla="*/ 2 h 71"/>
              <a:gd name="T28" fmla="*/ 31 w 32"/>
              <a:gd name="T29" fmla="*/ 0 h 71"/>
              <a:gd name="T30" fmla="*/ 30 w 32"/>
              <a:gd name="T31" fmla="*/ 0 h 71"/>
              <a:gd name="T32" fmla="*/ 2 w 32"/>
              <a:gd name="T3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1">
                <a:moveTo>
                  <a:pt x="2" y="0"/>
                </a:moveTo>
                <a:cubicBezTo>
                  <a:pt x="1" y="0"/>
                  <a:pt x="1" y="0"/>
                  <a:pt x="1" y="0"/>
                </a:cubicBezTo>
                <a:cubicBezTo>
                  <a:pt x="0" y="1"/>
                  <a:pt x="0" y="1"/>
                  <a:pt x="0" y="2"/>
                </a:cubicBezTo>
                <a:cubicBezTo>
                  <a:pt x="0" y="30"/>
                  <a:pt x="0" y="30"/>
                  <a:pt x="0" y="30"/>
                </a:cubicBezTo>
                <a:cubicBezTo>
                  <a:pt x="0" y="30"/>
                  <a:pt x="0" y="31"/>
                  <a:pt x="1" y="31"/>
                </a:cubicBezTo>
                <a:cubicBezTo>
                  <a:pt x="1" y="32"/>
                  <a:pt x="1" y="32"/>
                  <a:pt x="2" y="32"/>
                </a:cubicBezTo>
                <a:cubicBezTo>
                  <a:pt x="9" y="32"/>
                  <a:pt x="9" y="32"/>
                  <a:pt x="9" y="32"/>
                </a:cubicBezTo>
                <a:cubicBezTo>
                  <a:pt x="9" y="69"/>
                  <a:pt x="9" y="69"/>
                  <a:pt x="9" y="69"/>
                </a:cubicBezTo>
                <a:cubicBezTo>
                  <a:pt x="9" y="69"/>
                  <a:pt x="9" y="70"/>
                  <a:pt x="10" y="70"/>
                </a:cubicBezTo>
                <a:cubicBezTo>
                  <a:pt x="10" y="71"/>
                  <a:pt x="11" y="71"/>
                  <a:pt x="11" y="71"/>
                </a:cubicBezTo>
                <a:cubicBezTo>
                  <a:pt x="30" y="71"/>
                  <a:pt x="30" y="71"/>
                  <a:pt x="30" y="71"/>
                </a:cubicBezTo>
                <a:cubicBezTo>
                  <a:pt x="31" y="71"/>
                  <a:pt x="31" y="71"/>
                  <a:pt x="31" y="70"/>
                </a:cubicBezTo>
                <a:cubicBezTo>
                  <a:pt x="32" y="70"/>
                  <a:pt x="32" y="69"/>
                  <a:pt x="32" y="69"/>
                </a:cubicBezTo>
                <a:cubicBezTo>
                  <a:pt x="32" y="2"/>
                  <a:pt x="32" y="2"/>
                  <a:pt x="32" y="2"/>
                </a:cubicBezTo>
                <a:cubicBezTo>
                  <a:pt x="32" y="1"/>
                  <a:pt x="32" y="1"/>
                  <a:pt x="31" y="0"/>
                </a:cubicBezTo>
                <a:cubicBezTo>
                  <a:pt x="31" y="0"/>
                  <a:pt x="31" y="0"/>
                  <a:pt x="30"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117">
            <a:extLst>
              <a:ext uri="{FF2B5EF4-FFF2-40B4-BE49-F238E27FC236}">
                <a16:creationId xmlns:a16="http://schemas.microsoft.com/office/drawing/2014/main" id="{304EAC54-4926-4367-B91B-D6D570FF3CDE}"/>
              </a:ext>
            </a:extLst>
          </p:cNvPr>
          <p:cNvSpPr>
            <a:spLocks/>
          </p:cNvSpPr>
          <p:nvPr/>
        </p:nvSpPr>
        <p:spPr bwMode="gray">
          <a:xfrm flipH="1">
            <a:off x="5495865" y="749856"/>
            <a:ext cx="5859590" cy="3579738"/>
          </a:xfrm>
          <a:custGeom>
            <a:avLst/>
            <a:gdLst>
              <a:gd name="T0" fmla="*/ 29 w 633"/>
              <a:gd name="T1" fmla="*/ 0 h 371"/>
              <a:gd name="T2" fmla="*/ 8 w 633"/>
              <a:gd name="T3" fmla="*/ 9 h 371"/>
              <a:gd name="T4" fmla="*/ 0 w 633"/>
              <a:gd name="T5" fmla="*/ 30 h 371"/>
              <a:gd name="T6" fmla="*/ 0 w 633"/>
              <a:gd name="T7" fmla="*/ 371 h 371"/>
              <a:gd name="T8" fmla="*/ 633 w 633"/>
              <a:gd name="T9" fmla="*/ 371 h 371"/>
              <a:gd name="T10" fmla="*/ 633 w 633"/>
              <a:gd name="T11" fmla="*/ 30 h 371"/>
              <a:gd name="T12" fmla="*/ 624 w 633"/>
              <a:gd name="T13" fmla="*/ 9 h 371"/>
              <a:gd name="T14" fmla="*/ 603 w 633"/>
              <a:gd name="T15" fmla="*/ 0 h 371"/>
              <a:gd name="T16" fmla="*/ 29 w 633"/>
              <a:gd name="T17"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3" h="371">
                <a:moveTo>
                  <a:pt x="29" y="0"/>
                </a:moveTo>
                <a:cubicBezTo>
                  <a:pt x="22" y="0"/>
                  <a:pt x="14" y="3"/>
                  <a:pt x="8" y="9"/>
                </a:cubicBezTo>
                <a:cubicBezTo>
                  <a:pt x="3" y="14"/>
                  <a:pt x="0" y="22"/>
                  <a:pt x="0" y="30"/>
                </a:cubicBezTo>
                <a:cubicBezTo>
                  <a:pt x="0" y="371"/>
                  <a:pt x="0" y="371"/>
                  <a:pt x="0" y="371"/>
                </a:cubicBezTo>
                <a:cubicBezTo>
                  <a:pt x="633" y="371"/>
                  <a:pt x="633" y="371"/>
                  <a:pt x="633" y="371"/>
                </a:cubicBezTo>
                <a:cubicBezTo>
                  <a:pt x="633" y="30"/>
                  <a:pt x="633" y="30"/>
                  <a:pt x="633" y="30"/>
                </a:cubicBezTo>
                <a:cubicBezTo>
                  <a:pt x="633" y="22"/>
                  <a:pt x="630" y="14"/>
                  <a:pt x="624" y="9"/>
                </a:cubicBezTo>
                <a:cubicBezTo>
                  <a:pt x="618" y="3"/>
                  <a:pt x="611" y="0"/>
                  <a:pt x="603" y="0"/>
                </a:cubicBezTo>
                <a:lnTo>
                  <a:pt x="29"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9" name="Oval 118">
            <a:extLst>
              <a:ext uri="{FF2B5EF4-FFF2-40B4-BE49-F238E27FC236}">
                <a16:creationId xmlns:a16="http://schemas.microsoft.com/office/drawing/2014/main" id="{E014D295-06DB-486F-92D9-DB3F6C0CE792}"/>
              </a:ext>
            </a:extLst>
          </p:cNvPr>
          <p:cNvSpPr>
            <a:spLocks noChangeArrowheads="1"/>
          </p:cNvSpPr>
          <p:nvPr/>
        </p:nvSpPr>
        <p:spPr bwMode="gray">
          <a:xfrm flipH="1">
            <a:off x="8364910" y="837622"/>
            <a:ext cx="133262" cy="129343"/>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0" name="Rectangle 120">
            <a:extLst>
              <a:ext uri="{FF2B5EF4-FFF2-40B4-BE49-F238E27FC236}">
                <a16:creationId xmlns:a16="http://schemas.microsoft.com/office/drawing/2014/main" id="{243ED27C-BACE-4387-87D3-493C2E82CA5D}"/>
              </a:ext>
            </a:extLst>
          </p:cNvPr>
          <p:cNvSpPr>
            <a:spLocks noChangeArrowheads="1"/>
          </p:cNvSpPr>
          <p:nvPr/>
        </p:nvSpPr>
        <p:spPr bwMode="gray">
          <a:xfrm flipH="1">
            <a:off x="5656564" y="4212008"/>
            <a:ext cx="388027" cy="23908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1" name="Rectangle 121">
            <a:extLst>
              <a:ext uri="{FF2B5EF4-FFF2-40B4-BE49-F238E27FC236}">
                <a16:creationId xmlns:a16="http://schemas.microsoft.com/office/drawing/2014/main" id="{B117D5A7-77EB-4234-BB04-87318528458A}"/>
              </a:ext>
            </a:extLst>
          </p:cNvPr>
          <p:cNvSpPr>
            <a:spLocks noChangeArrowheads="1"/>
          </p:cNvSpPr>
          <p:nvPr/>
        </p:nvSpPr>
        <p:spPr bwMode="gray">
          <a:xfrm flipH="1">
            <a:off x="5656564" y="4329592"/>
            <a:ext cx="388027" cy="12150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2" name="Rectangle 122">
            <a:extLst>
              <a:ext uri="{FF2B5EF4-FFF2-40B4-BE49-F238E27FC236}">
                <a16:creationId xmlns:a16="http://schemas.microsoft.com/office/drawing/2014/main" id="{60C3E26E-23CB-4C62-AFDF-2BF2C95DF37F}"/>
              </a:ext>
            </a:extLst>
          </p:cNvPr>
          <p:cNvSpPr>
            <a:spLocks noChangeArrowheads="1"/>
          </p:cNvSpPr>
          <p:nvPr/>
        </p:nvSpPr>
        <p:spPr bwMode="gray">
          <a:xfrm flipH="1">
            <a:off x="10818489" y="4212008"/>
            <a:ext cx="380189" cy="23908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3" name="Rectangle 123">
            <a:extLst>
              <a:ext uri="{FF2B5EF4-FFF2-40B4-BE49-F238E27FC236}">
                <a16:creationId xmlns:a16="http://schemas.microsoft.com/office/drawing/2014/main" id="{C455645F-B0EA-4AF0-834C-DA6480B262C6}"/>
              </a:ext>
            </a:extLst>
          </p:cNvPr>
          <p:cNvSpPr>
            <a:spLocks noChangeArrowheads="1"/>
          </p:cNvSpPr>
          <p:nvPr/>
        </p:nvSpPr>
        <p:spPr bwMode="gray">
          <a:xfrm flipH="1">
            <a:off x="10818489" y="4329592"/>
            <a:ext cx="380189" cy="12150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5" name="Rechteck 154">
            <a:extLst>
              <a:ext uri="{FF2B5EF4-FFF2-40B4-BE49-F238E27FC236}">
                <a16:creationId xmlns:a16="http://schemas.microsoft.com/office/drawing/2014/main" id="{D1EAB539-080F-4B35-A4FC-8CF763BAE24F}"/>
              </a:ext>
            </a:extLst>
          </p:cNvPr>
          <p:cNvSpPr/>
          <p:nvPr/>
        </p:nvSpPr>
        <p:spPr bwMode="gray">
          <a:xfrm>
            <a:off x="5774716" y="1059611"/>
            <a:ext cx="5312429" cy="298824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Please place a screenshot here</a:t>
            </a:r>
          </a:p>
        </p:txBody>
      </p:sp>
      <p:sp>
        <p:nvSpPr>
          <p:cNvPr id="3" name="Titel 2">
            <a:extLst>
              <a:ext uri="{FF2B5EF4-FFF2-40B4-BE49-F238E27FC236}">
                <a16:creationId xmlns:a16="http://schemas.microsoft.com/office/drawing/2014/main" id="{0AFF27C4-5BA1-493E-B931-A41C918CA666}"/>
              </a:ext>
            </a:extLst>
          </p:cNvPr>
          <p:cNvSpPr>
            <a:spLocks noGrp="1"/>
          </p:cNvSpPr>
          <p:nvPr>
            <p:ph type="title"/>
          </p:nvPr>
        </p:nvSpPr>
        <p:spPr bwMode="gray"/>
        <p:txBody>
          <a:bodyPr/>
          <a:lstStyle/>
          <a:p>
            <a:r>
              <a:rPr lang="en-US" dirty="0"/>
              <a:t>Screenshot</a:t>
            </a:r>
            <a:br>
              <a:rPr lang="en-US" dirty="0"/>
            </a:br>
            <a:r>
              <a:rPr lang="en-US" dirty="0"/>
              <a:t>on a monitor</a:t>
            </a:r>
          </a:p>
        </p:txBody>
      </p:sp>
      <p:sp>
        <p:nvSpPr>
          <p:cNvPr id="4" name="Textplatzhalter 3">
            <a:extLst>
              <a:ext uri="{FF2B5EF4-FFF2-40B4-BE49-F238E27FC236}">
                <a16:creationId xmlns:a16="http://schemas.microsoft.com/office/drawing/2014/main" id="{75E88952-312E-44FD-A5F0-C3E0998997D5}"/>
              </a:ext>
            </a:extLst>
          </p:cNvPr>
          <p:cNvSpPr>
            <a:spLocks noGrp="1"/>
          </p:cNvSpPr>
          <p:nvPr>
            <p:ph type="body" sz="quarter" idx="15"/>
          </p:nvPr>
        </p:nvSpPr>
        <p:spPr bwMode="gray"/>
        <p:txBody>
          <a:bodyPr/>
          <a:lstStyle/>
          <a:p>
            <a:r>
              <a:rPr lang="en-US" dirty="0"/>
              <a:t>Lorem ipsum dolor sit amet, consectetuer adipiscing elit.</a:t>
            </a:r>
          </a:p>
          <a:p>
            <a:pPr lvl="1"/>
            <a:r>
              <a:rPr lang="en-US" dirty="0"/>
              <a:t>Maecenas porttitor congue massa. Fusce posuere, magna sed pulvinar ultricies, purus lectus malesuada libero, sit amet commodo magna eros quis urna.</a:t>
            </a:r>
          </a:p>
          <a:p>
            <a:pPr lvl="2"/>
            <a:r>
              <a:rPr lang="en-US" dirty="0"/>
              <a:t>Nunc viverra imperdiet enim. Fusce est. Vivamus a tellus.</a:t>
            </a:r>
          </a:p>
          <a:p>
            <a:pPr lvl="2"/>
            <a:r>
              <a:rPr lang="en-US" dirty="0"/>
              <a:t>Pellentesque habitant morbi tristique senectus et netus et</a:t>
            </a:r>
          </a:p>
        </p:txBody>
      </p:sp>
      <p:sp>
        <p:nvSpPr>
          <p:cNvPr id="5" name="Fußzeilenplatzhalter 4">
            <a:extLst>
              <a:ext uri="{FF2B5EF4-FFF2-40B4-BE49-F238E27FC236}">
                <a16:creationId xmlns:a16="http://schemas.microsoft.com/office/drawing/2014/main" id="{0BE58873-3A2C-41EB-8E0D-C5B65826D267}"/>
              </a:ext>
            </a:extLst>
          </p:cNvPr>
          <p:cNvSpPr>
            <a:spLocks noGrp="1"/>
          </p:cNvSpPr>
          <p:nvPr>
            <p:ph type="ftr" sz="quarter" idx="16"/>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A34133F5-4C6E-44C4-B999-E1AAC165DF4C}"/>
              </a:ext>
            </a:extLst>
          </p:cNvPr>
          <p:cNvSpPr>
            <a:spLocks noGrp="1"/>
          </p:cNvSpPr>
          <p:nvPr>
            <p:ph type="sldNum" sz="quarter" idx="12"/>
          </p:nvPr>
        </p:nvSpPr>
        <p:spPr/>
        <p:txBody>
          <a:bodyPr/>
          <a:lstStyle/>
          <a:p>
            <a:fld id="{CE82B8A1-0CCE-4815-9668-383D7DE7D8B4}" type="slidenum">
              <a:rPr lang="en-US" noProof="0" smtClean="0"/>
              <a:pPr/>
              <a:t>78</a:t>
            </a:fld>
            <a:endParaRPr lang="en-US" noProof="0" dirty="0"/>
          </a:p>
        </p:txBody>
      </p:sp>
    </p:spTree>
    <p:extLst>
      <p:ext uri="{BB962C8B-B14F-4D97-AF65-F5344CB8AC3E}">
        <p14:creationId xmlns:p14="http://schemas.microsoft.com/office/powerpoint/2010/main" val="14424115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 name="Freihandform: Form 165">
            <a:extLst>
              <a:ext uri="{FF2B5EF4-FFF2-40B4-BE49-F238E27FC236}">
                <a16:creationId xmlns:a16="http://schemas.microsoft.com/office/drawing/2014/main" id="{C8F6A813-85F9-4A75-95ED-2F5F73CADC8B}"/>
              </a:ext>
            </a:extLst>
          </p:cNvPr>
          <p:cNvSpPr>
            <a:spLocks noChangeArrowheads="1"/>
          </p:cNvSpPr>
          <p:nvPr/>
        </p:nvSpPr>
        <p:spPr bwMode="gray">
          <a:xfrm flipH="1">
            <a:off x="3935758" y="188914"/>
            <a:ext cx="7894538" cy="6676565"/>
          </a:xfrm>
          <a:custGeom>
            <a:avLst/>
            <a:gdLst>
              <a:gd name="connsiteX0" fmla="*/ 6497883 w 7894538"/>
              <a:gd name="connsiteY0" fmla="*/ 0 h 6676565"/>
              <a:gd name="connsiteX1" fmla="*/ 1396655 w 7894538"/>
              <a:gd name="connsiteY1" fmla="*/ 0 h 6676565"/>
              <a:gd name="connsiteX2" fmla="*/ 1156128 w 7894538"/>
              <a:gd name="connsiteY2" fmla="*/ 218338 h 6676565"/>
              <a:gd name="connsiteX3" fmla="*/ 0 w 7894538"/>
              <a:gd name="connsiteY3" fmla="*/ 3006066 h 6676565"/>
              <a:gd name="connsiteX4" fmla="*/ 2410814 w 7894538"/>
              <a:gd name="connsiteY4" fmla="*/ 6638693 h 6676565"/>
              <a:gd name="connsiteX5" fmla="*/ 2506985 w 7894538"/>
              <a:gd name="connsiteY5" fmla="*/ 6676565 h 6676565"/>
              <a:gd name="connsiteX6" fmla="*/ 5387553 w 7894538"/>
              <a:gd name="connsiteY6" fmla="*/ 6676565 h 6676565"/>
              <a:gd name="connsiteX7" fmla="*/ 5483724 w 7894538"/>
              <a:gd name="connsiteY7" fmla="*/ 6638693 h 6676565"/>
              <a:gd name="connsiteX8" fmla="*/ 7894538 w 7894538"/>
              <a:gd name="connsiteY8" fmla="*/ 3006066 h 6676565"/>
              <a:gd name="connsiteX9" fmla="*/ 6738410 w 7894538"/>
              <a:gd name="connsiteY9" fmla="*/ 218338 h 6676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94538" h="6676565">
                <a:moveTo>
                  <a:pt x="6497883" y="0"/>
                </a:moveTo>
                <a:lnTo>
                  <a:pt x="1396655" y="0"/>
                </a:lnTo>
                <a:lnTo>
                  <a:pt x="1156128" y="218338"/>
                </a:lnTo>
                <a:cubicBezTo>
                  <a:pt x="441813" y="931780"/>
                  <a:pt x="0" y="1917391"/>
                  <a:pt x="0" y="3006066"/>
                </a:cubicBezTo>
                <a:cubicBezTo>
                  <a:pt x="0" y="4639079"/>
                  <a:pt x="994080" y="6040197"/>
                  <a:pt x="2410814" y="6638693"/>
                </a:cubicBezTo>
                <a:lnTo>
                  <a:pt x="2506985" y="6676565"/>
                </a:lnTo>
                <a:lnTo>
                  <a:pt x="5387553" y="6676565"/>
                </a:lnTo>
                <a:lnTo>
                  <a:pt x="5483724" y="6638693"/>
                </a:lnTo>
                <a:cubicBezTo>
                  <a:pt x="6900458" y="6040197"/>
                  <a:pt x="7894538" y="4639079"/>
                  <a:pt x="7894538" y="3006066"/>
                </a:cubicBezTo>
                <a:cubicBezTo>
                  <a:pt x="7894538" y="1917391"/>
                  <a:pt x="7452725" y="931780"/>
                  <a:pt x="6738410" y="218338"/>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9" name="Group 4">
            <a:extLst>
              <a:ext uri="{FF2B5EF4-FFF2-40B4-BE49-F238E27FC236}">
                <a16:creationId xmlns:a16="http://schemas.microsoft.com/office/drawing/2014/main" id="{EAE9F518-6B64-4679-B020-17B00E29B6A5}"/>
              </a:ext>
            </a:extLst>
          </p:cNvPr>
          <p:cNvGrpSpPr>
            <a:grpSpLocks noChangeAspect="1"/>
          </p:cNvGrpSpPr>
          <p:nvPr/>
        </p:nvGrpSpPr>
        <p:grpSpPr bwMode="gray">
          <a:xfrm>
            <a:off x="4197350" y="1339850"/>
            <a:ext cx="4427538" cy="2263775"/>
            <a:chOff x="2644" y="844"/>
            <a:chExt cx="2789" cy="1426"/>
          </a:xfrm>
        </p:grpSpPr>
        <p:sp>
          <p:nvSpPr>
            <p:cNvPr id="11" name="Rectangle 5">
              <a:extLst>
                <a:ext uri="{FF2B5EF4-FFF2-40B4-BE49-F238E27FC236}">
                  <a16:creationId xmlns:a16="http://schemas.microsoft.com/office/drawing/2014/main" id="{B48C4586-4D39-4DFE-818C-B6AAA91BCBD0}"/>
                </a:ext>
              </a:extLst>
            </p:cNvPr>
            <p:cNvSpPr>
              <a:spLocks noChangeArrowheads="1"/>
            </p:cNvSpPr>
            <p:nvPr/>
          </p:nvSpPr>
          <p:spPr bwMode="gray">
            <a:xfrm>
              <a:off x="2644" y="2120"/>
              <a:ext cx="2789" cy="15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Rectangle 6">
              <a:extLst>
                <a:ext uri="{FF2B5EF4-FFF2-40B4-BE49-F238E27FC236}">
                  <a16:creationId xmlns:a16="http://schemas.microsoft.com/office/drawing/2014/main" id="{DEDD23FF-8011-4BC7-9AD0-66A05AE2EF70}"/>
                </a:ext>
              </a:extLst>
            </p:cNvPr>
            <p:cNvSpPr>
              <a:spLocks noChangeArrowheads="1"/>
            </p:cNvSpPr>
            <p:nvPr/>
          </p:nvSpPr>
          <p:spPr bwMode="gray">
            <a:xfrm>
              <a:off x="3460" y="1007"/>
              <a:ext cx="161" cy="111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Rectangle 7">
              <a:extLst>
                <a:ext uri="{FF2B5EF4-FFF2-40B4-BE49-F238E27FC236}">
                  <a16:creationId xmlns:a16="http://schemas.microsoft.com/office/drawing/2014/main" id="{5D1F2E94-200E-4431-8DB4-B420E03DD219}"/>
                </a:ext>
              </a:extLst>
            </p:cNvPr>
            <p:cNvSpPr>
              <a:spLocks noChangeArrowheads="1"/>
            </p:cNvSpPr>
            <p:nvPr/>
          </p:nvSpPr>
          <p:spPr bwMode="gray">
            <a:xfrm>
              <a:off x="3460" y="1195"/>
              <a:ext cx="161" cy="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Rectangle 8">
              <a:extLst>
                <a:ext uri="{FF2B5EF4-FFF2-40B4-BE49-F238E27FC236}">
                  <a16:creationId xmlns:a16="http://schemas.microsoft.com/office/drawing/2014/main" id="{96178286-C7E7-4FFE-A3C1-2849CCCCA3A0}"/>
                </a:ext>
              </a:extLst>
            </p:cNvPr>
            <p:cNvSpPr>
              <a:spLocks noChangeArrowheads="1"/>
            </p:cNvSpPr>
            <p:nvPr/>
          </p:nvSpPr>
          <p:spPr bwMode="gray">
            <a:xfrm>
              <a:off x="3460" y="1132"/>
              <a:ext cx="161" cy="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Rectangle 9">
              <a:extLst>
                <a:ext uri="{FF2B5EF4-FFF2-40B4-BE49-F238E27FC236}">
                  <a16:creationId xmlns:a16="http://schemas.microsoft.com/office/drawing/2014/main" id="{402BCC10-F3EB-408D-B4E6-B504B86580FA}"/>
                </a:ext>
              </a:extLst>
            </p:cNvPr>
            <p:cNvSpPr>
              <a:spLocks noChangeArrowheads="1"/>
            </p:cNvSpPr>
            <p:nvPr/>
          </p:nvSpPr>
          <p:spPr bwMode="gray">
            <a:xfrm>
              <a:off x="3460" y="1832"/>
              <a:ext cx="161" cy="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Rectangle 10">
              <a:extLst>
                <a:ext uri="{FF2B5EF4-FFF2-40B4-BE49-F238E27FC236}">
                  <a16:creationId xmlns:a16="http://schemas.microsoft.com/office/drawing/2014/main" id="{F648FD86-8209-4128-B8AE-5B1346067794}"/>
                </a:ext>
              </a:extLst>
            </p:cNvPr>
            <p:cNvSpPr>
              <a:spLocks noChangeArrowheads="1"/>
            </p:cNvSpPr>
            <p:nvPr/>
          </p:nvSpPr>
          <p:spPr bwMode="gray">
            <a:xfrm>
              <a:off x="3460" y="1958"/>
              <a:ext cx="161" cy="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Rectangle 11">
              <a:extLst>
                <a:ext uri="{FF2B5EF4-FFF2-40B4-BE49-F238E27FC236}">
                  <a16:creationId xmlns:a16="http://schemas.microsoft.com/office/drawing/2014/main" id="{7AD33E36-DE0A-4307-BAC0-49FA174FA69B}"/>
                </a:ext>
              </a:extLst>
            </p:cNvPr>
            <p:cNvSpPr>
              <a:spLocks noChangeArrowheads="1"/>
            </p:cNvSpPr>
            <p:nvPr/>
          </p:nvSpPr>
          <p:spPr bwMode="gray">
            <a:xfrm>
              <a:off x="3746" y="1163"/>
              <a:ext cx="224" cy="9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2">
              <a:extLst>
                <a:ext uri="{FF2B5EF4-FFF2-40B4-BE49-F238E27FC236}">
                  <a16:creationId xmlns:a16="http://schemas.microsoft.com/office/drawing/2014/main" id="{69AEAF9E-6C8C-41AE-823C-446BC1AC7B8E}"/>
                </a:ext>
              </a:extLst>
            </p:cNvPr>
            <p:cNvSpPr>
              <a:spLocks noChangeArrowheads="1"/>
            </p:cNvSpPr>
            <p:nvPr/>
          </p:nvSpPr>
          <p:spPr bwMode="gray">
            <a:xfrm>
              <a:off x="3746" y="1276"/>
              <a:ext cx="224" cy="732"/>
            </a:xfrm>
            <a:prstGeom prst="rect">
              <a:avLst/>
            </a:prstGeom>
            <a:solidFill>
              <a:srgbClr val="353F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Rectangle 13">
              <a:extLst>
                <a:ext uri="{FF2B5EF4-FFF2-40B4-BE49-F238E27FC236}">
                  <a16:creationId xmlns:a16="http://schemas.microsoft.com/office/drawing/2014/main" id="{415E201C-E8C0-44D3-AE85-4145A0A84E2A}"/>
                </a:ext>
              </a:extLst>
            </p:cNvPr>
            <p:cNvSpPr>
              <a:spLocks noChangeArrowheads="1"/>
            </p:cNvSpPr>
            <p:nvPr/>
          </p:nvSpPr>
          <p:spPr bwMode="gray">
            <a:xfrm>
              <a:off x="3814" y="1388"/>
              <a:ext cx="32" cy="50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Rectangle 14">
              <a:extLst>
                <a:ext uri="{FF2B5EF4-FFF2-40B4-BE49-F238E27FC236}">
                  <a16:creationId xmlns:a16="http://schemas.microsoft.com/office/drawing/2014/main" id="{E328FCB8-0717-4A76-9536-3173A3222B3B}"/>
                </a:ext>
              </a:extLst>
            </p:cNvPr>
            <p:cNvSpPr>
              <a:spLocks noChangeArrowheads="1"/>
            </p:cNvSpPr>
            <p:nvPr/>
          </p:nvSpPr>
          <p:spPr bwMode="gray">
            <a:xfrm>
              <a:off x="3870" y="1388"/>
              <a:ext cx="32" cy="25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Rectangle 15">
              <a:extLst>
                <a:ext uri="{FF2B5EF4-FFF2-40B4-BE49-F238E27FC236}">
                  <a16:creationId xmlns:a16="http://schemas.microsoft.com/office/drawing/2014/main" id="{571BEE1A-3AA5-4635-8806-6EE0D1015F30}"/>
                </a:ext>
              </a:extLst>
            </p:cNvPr>
            <p:cNvSpPr>
              <a:spLocks noChangeArrowheads="1"/>
            </p:cNvSpPr>
            <p:nvPr/>
          </p:nvSpPr>
          <p:spPr bwMode="gray">
            <a:xfrm>
              <a:off x="3621" y="844"/>
              <a:ext cx="125" cy="1276"/>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Rectangle 16">
              <a:extLst>
                <a:ext uri="{FF2B5EF4-FFF2-40B4-BE49-F238E27FC236}">
                  <a16:creationId xmlns:a16="http://schemas.microsoft.com/office/drawing/2014/main" id="{EAC3598E-0BFB-46F3-8164-000D834B2145}"/>
                </a:ext>
              </a:extLst>
            </p:cNvPr>
            <p:cNvSpPr>
              <a:spLocks noChangeArrowheads="1"/>
            </p:cNvSpPr>
            <p:nvPr/>
          </p:nvSpPr>
          <p:spPr bwMode="gray">
            <a:xfrm>
              <a:off x="3621" y="944"/>
              <a:ext cx="125" cy="1076"/>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17">
              <a:extLst>
                <a:ext uri="{FF2B5EF4-FFF2-40B4-BE49-F238E27FC236}">
                  <a16:creationId xmlns:a16="http://schemas.microsoft.com/office/drawing/2014/main" id="{B0B610BC-A0E9-4151-AFE1-CADBB829A3AA}"/>
                </a:ext>
              </a:extLst>
            </p:cNvPr>
            <p:cNvSpPr>
              <a:spLocks noChangeArrowheads="1"/>
            </p:cNvSpPr>
            <p:nvPr/>
          </p:nvSpPr>
          <p:spPr bwMode="gray">
            <a:xfrm>
              <a:off x="3242" y="1195"/>
              <a:ext cx="218" cy="925"/>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Rectangle 18">
              <a:extLst>
                <a:ext uri="{FF2B5EF4-FFF2-40B4-BE49-F238E27FC236}">
                  <a16:creationId xmlns:a16="http://schemas.microsoft.com/office/drawing/2014/main" id="{BFC038D9-007B-407C-B5B6-A4663FABBAB7}"/>
                </a:ext>
              </a:extLst>
            </p:cNvPr>
            <p:cNvSpPr>
              <a:spLocks noChangeArrowheads="1"/>
            </p:cNvSpPr>
            <p:nvPr/>
          </p:nvSpPr>
          <p:spPr bwMode="gray">
            <a:xfrm>
              <a:off x="3323" y="1295"/>
              <a:ext cx="56" cy="7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19">
              <a:extLst>
                <a:ext uri="{FF2B5EF4-FFF2-40B4-BE49-F238E27FC236}">
                  <a16:creationId xmlns:a16="http://schemas.microsoft.com/office/drawing/2014/main" id="{8ED5512D-984B-4E86-9449-FB8633C87189}"/>
                </a:ext>
              </a:extLst>
            </p:cNvPr>
            <p:cNvSpPr>
              <a:spLocks noChangeArrowheads="1"/>
            </p:cNvSpPr>
            <p:nvPr/>
          </p:nvSpPr>
          <p:spPr bwMode="gray">
            <a:xfrm>
              <a:off x="3970" y="1069"/>
              <a:ext cx="218" cy="105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Rectangle 20">
              <a:extLst>
                <a:ext uri="{FF2B5EF4-FFF2-40B4-BE49-F238E27FC236}">
                  <a16:creationId xmlns:a16="http://schemas.microsoft.com/office/drawing/2014/main" id="{8A63993D-BCC8-4956-B75D-A8E9C1386A38}"/>
                </a:ext>
              </a:extLst>
            </p:cNvPr>
            <p:cNvSpPr>
              <a:spLocks noChangeArrowheads="1"/>
            </p:cNvSpPr>
            <p:nvPr/>
          </p:nvSpPr>
          <p:spPr bwMode="gray">
            <a:xfrm>
              <a:off x="3970" y="1069"/>
              <a:ext cx="218" cy="126"/>
            </a:xfrm>
            <a:prstGeom prst="rect">
              <a:avLst/>
            </a:prstGeom>
            <a:solidFill>
              <a:srgbClr val="353F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Rectangle 21">
              <a:extLst>
                <a:ext uri="{FF2B5EF4-FFF2-40B4-BE49-F238E27FC236}">
                  <a16:creationId xmlns:a16="http://schemas.microsoft.com/office/drawing/2014/main" id="{6AB11636-E45D-4739-BC35-A237443DBEF4}"/>
                </a:ext>
              </a:extLst>
            </p:cNvPr>
            <p:cNvSpPr>
              <a:spLocks noChangeArrowheads="1"/>
            </p:cNvSpPr>
            <p:nvPr/>
          </p:nvSpPr>
          <p:spPr bwMode="gray">
            <a:xfrm>
              <a:off x="4057" y="1326"/>
              <a:ext cx="44" cy="632"/>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22">
              <a:extLst>
                <a:ext uri="{FF2B5EF4-FFF2-40B4-BE49-F238E27FC236}">
                  <a16:creationId xmlns:a16="http://schemas.microsoft.com/office/drawing/2014/main" id="{2F4E6F4C-C529-4973-85B4-23574FCAD7A9}"/>
                </a:ext>
              </a:extLst>
            </p:cNvPr>
            <p:cNvSpPr>
              <a:spLocks noChangeArrowheads="1"/>
            </p:cNvSpPr>
            <p:nvPr/>
          </p:nvSpPr>
          <p:spPr bwMode="gray">
            <a:xfrm>
              <a:off x="4188" y="1132"/>
              <a:ext cx="131" cy="988"/>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23">
              <a:extLst>
                <a:ext uri="{FF2B5EF4-FFF2-40B4-BE49-F238E27FC236}">
                  <a16:creationId xmlns:a16="http://schemas.microsoft.com/office/drawing/2014/main" id="{3DAA65EC-7CC7-4C82-9107-A4F762793AF9}"/>
                </a:ext>
              </a:extLst>
            </p:cNvPr>
            <p:cNvSpPr>
              <a:spLocks noChangeArrowheads="1"/>
            </p:cNvSpPr>
            <p:nvPr/>
          </p:nvSpPr>
          <p:spPr bwMode="gray">
            <a:xfrm>
              <a:off x="4238" y="1307"/>
              <a:ext cx="25" cy="638"/>
            </a:xfrm>
            <a:prstGeom prst="rect">
              <a:avLst/>
            </a:prstGeom>
            <a:solidFill>
              <a:srgbClr val="CCCB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Rectangle 24">
              <a:extLst>
                <a:ext uri="{FF2B5EF4-FFF2-40B4-BE49-F238E27FC236}">
                  <a16:creationId xmlns:a16="http://schemas.microsoft.com/office/drawing/2014/main" id="{5B71FBA0-0E3A-403E-BA65-BEFA4ADCDC40}"/>
                </a:ext>
              </a:extLst>
            </p:cNvPr>
            <p:cNvSpPr>
              <a:spLocks noChangeArrowheads="1"/>
            </p:cNvSpPr>
            <p:nvPr/>
          </p:nvSpPr>
          <p:spPr bwMode="gray">
            <a:xfrm>
              <a:off x="3018" y="1007"/>
              <a:ext cx="224" cy="111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Rectangle 25">
              <a:extLst>
                <a:ext uri="{FF2B5EF4-FFF2-40B4-BE49-F238E27FC236}">
                  <a16:creationId xmlns:a16="http://schemas.microsoft.com/office/drawing/2014/main" id="{C5633B3E-1E99-4276-9656-CB8384C49898}"/>
                </a:ext>
              </a:extLst>
            </p:cNvPr>
            <p:cNvSpPr>
              <a:spLocks noChangeArrowheads="1"/>
            </p:cNvSpPr>
            <p:nvPr/>
          </p:nvSpPr>
          <p:spPr bwMode="gray">
            <a:xfrm>
              <a:off x="3018" y="1132"/>
              <a:ext cx="224" cy="156"/>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 name="Rectangle 26">
              <a:extLst>
                <a:ext uri="{FF2B5EF4-FFF2-40B4-BE49-F238E27FC236}">
                  <a16:creationId xmlns:a16="http://schemas.microsoft.com/office/drawing/2014/main" id="{819C1C96-254E-43F1-B389-4D8FEF45F4E7}"/>
                </a:ext>
              </a:extLst>
            </p:cNvPr>
            <p:cNvSpPr>
              <a:spLocks noChangeArrowheads="1"/>
            </p:cNvSpPr>
            <p:nvPr/>
          </p:nvSpPr>
          <p:spPr bwMode="gray">
            <a:xfrm>
              <a:off x="3018" y="1832"/>
              <a:ext cx="224" cy="157"/>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 name="Freeform 27">
              <a:extLst>
                <a:ext uri="{FF2B5EF4-FFF2-40B4-BE49-F238E27FC236}">
                  <a16:creationId xmlns:a16="http://schemas.microsoft.com/office/drawing/2014/main" id="{1B2F9C18-3873-4510-88E3-96D60CF8427E}"/>
                </a:ext>
              </a:extLst>
            </p:cNvPr>
            <p:cNvSpPr>
              <a:spLocks/>
            </p:cNvSpPr>
            <p:nvPr/>
          </p:nvSpPr>
          <p:spPr bwMode="gray">
            <a:xfrm>
              <a:off x="4275" y="957"/>
              <a:ext cx="616" cy="1163"/>
            </a:xfrm>
            <a:custGeom>
              <a:avLst/>
              <a:gdLst>
                <a:gd name="T0" fmla="*/ 0 w 616"/>
                <a:gd name="T1" fmla="*/ 69 h 1163"/>
                <a:gd name="T2" fmla="*/ 174 w 616"/>
                <a:gd name="T3" fmla="*/ 0 h 1163"/>
                <a:gd name="T4" fmla="*/ 616 w 616"/>
                <a:gd name="T5" fmla="*/ 1088 h 1163"/>
                <a:gd name="T6" fmla="*/ 442 w 616"/>
                <a:gd name="T7" fmla="*/ 1163 h 1163"/>
                <a:gd name="T8" fmla="*/ 0 w 616"/>
                <a:gd name="T9" fmla="*/ 69 h 1163"/>
              </a:gdLst>
              <a:ahLst/>
              <a:cxnLst>
                <a:cxn ang="0">
                  <a:pos x="T0" y="T1"/>
                </a:cxn>
                <a:cxn ang="0">
                  <a:pos x="T2" y="T3"/>
                </a:cxn>
                <a:cxn ang="0">
                  <a:pos x="T4" y="T5"/>
                </a:cxn>
                <a:cxn ang="0">
                  <a:pos x="T6" y="T7"/>
                </a:cxn>
                <a:cxn ang="0">
                  <a:pos x="T8" y="T9"/>
                </a:cxn>
              </a:cxnLst>
              <a:rect l="0" t="0" r="r" b="b"/>
              <a:pathLst>
                <a:path w="616" h="1163">
                  <a:moveTo>
                    <a:pt x="0" y="69"/>
                  </a:moveTo>
                  <a:lnTo>
                    <a:pt x="174" y="0"/>
                  </a:lnTo>
                  <a:lnTo>
                    <a:pt x="616" y="1088"/>
                  </a:lnTo>
                  <a:lnTo>
                    <a:pt x="442" y="1163"/>
                  </a:lnTo>
                  <a:lnTo>
                    <a:pt x="0" y="6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 name="Freeform 28">
              <a:extLst>
                <a:ext uri="{FF2B5EF4-FFF2-40B4-BE49-F238E27FC236}">
                  <a16:creationId xmlns:a16="http://schemas.microsoft.com/office/drawing/2014/main" id="{0132BA14-6A50-461E-9D0D-3FC82702DF67}"/>
                </a:ext>
              </a:extLst>
            </p:cNvPr>
            <p:cNvSpPr>
              <a:spLocks/>
            </p:cNvSpPr>
            <p:nvPr/>
          </p:nvSpPr>
          <p:spPr bwMode="gray">
            <a:xfrm>
              <a:off x="4344" y="1132"/>
              <a:ext cx="498" cy="869"/>
            </a:xfrm>
            <a:custGeom>
              <a:avLst/>
              <a:gdLst>
                <a:gd name="T0" fmla="*/ 498 w 498"/>
                <a:gd name="T1" fmla="*/ 794 h 869"/>
                <a:gd name="T2" fmla="*/ 323 w 498"/>
                <a:gd name="T3" fmla="*/ 869 h 869"/>
                <a:gd name="T4" fmla="*/ 0 w 498"/>
                <a:gd name="T5" fmla="*/ 75 h 869"/>
                <a:gd name="T6" fmla="*/ 180 w 498"/>
                <a:gd name="T7" fmla="*/ 0 h 869"/>
                <a:gd name="T8" fmla="*/ 498 w 498"/>
                <a:gd name="T9" fmla="*/ 794 h 869"/>
              </a:gdLst>
              <a:ahLst/>
              <a:cxnLst>
                <a:cxn ang="0">
                  <a:pos x="T0" y="T1"/>
                </a:cxn>
                <a:cxn ang="0">
                  <a:pos x="T2" y="T3"/>
                </a:cxn>
                <a:cxn ang="0">
                  <a:pos x="T4" y="T5"/>
                </a:cxn>
                <a:cxn ang="0">
                  <a:pos x="T6" y="T7"/>
                </a:cxn>
                <a:cxn ang="0">
                  <a:pos x="T8" y="T9"/>
                </a:cxn>
              </a:cxnLst>
              <a:rect l="0" t="0" r="r" b="b"/>
              <a:pathLst>
                <a:path w="498" h="869">
                  <a:moveTo>
                    <a:pt x="498" y="794"/>
                  </a:moveTo>
                  <a:lnTo>
                    <a:pt x="323" y="869"/>
                  </a:lnTo>
                  <a:lnTo>
                    <a:pt x="0" y="75"/>
                  </a:lnTo>
                  <a:lnTo>
                    <a:pt x="180" y="0"/>
                  </a:lnTo>
                  <a:lnTo>
                    <a:pt x="498" y="79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69" name="AutoShape 3">
            <a:extLst>
              <a:ext uri="{FF2B5EF4-FFF2-40B4-BE49-F238E27FC236}">
                <a16:creationId xmlns:a16="http://schemas.microsoft.com/office/drawing/2014/main" id="{972E362A-CBC1-4ADC-850A-024B4C01053E}"/>
              </a:ext>
            </a:extLst>
          </p:cNvPr>
          <p:cNvSpPr>
            <a:spLocks noChangeAspect="1" noChangeArrowheads="1" noTextEdit="1"/>
          </p:cNvSpPr>
          <p:nvPr/>
        </p:nvSpPr>
        <p:spPr bwMode="gray">
          <a:xfrm flipH="1">
            <a:off x="3942191" y="-741033"/>
            <a:ext cx="7881674" cy="7872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56" name="Gruppieren 155">
            <a:extLst>
              <a:ext uri="{FF2B5EF4-FFF2-40B4-BE49-F238E27FC236}">
                <a16:creationId xmlns:a16="http://schemas.microsoft.com/office/drawing/2014/main" id="{5F13D3DB-EB28-4CCA-A034-5743246BF017}"/>
              </a:ext>
            </a:extLst>
          </p:cNvPr>
          <p:cNvGrpSpPr/>
          <p:nvPr/>
        </p:nvGrpSpPr>
        <p:grpSpPr bwMode="gray">
          <a:xfrm>
            <a:off x="6456040" y="883261"/>
            <a:ext cx="4939894" cy="5982218"/>
            <a:chOff x="8435975" y="2609850"/>
            <a:chExt cx="3521075" cy="4264026"/>
          </a:xfrm>
        </p:grpSpPr>
        <p:sp>
          <p:nvSpPr>
            <p:cNvPr id="161" name="Freeform 28">
              <a:extLst>
                <a:ext uri="{FF2B5EF4-FFF2-40B4-BE49-F238E27FC236}">
                  <a16:creationId xmlns:a16="http://schemas.microsoft.com/office/drawing/2014/main" id="{6C347448-70FE-439C-AF03-706565F15B00}"/>
                </a:ext>
              </a:extLst>
            </p:cNvPr>
            <p:cNvSpPr>
              <a:spLocks/>
            </p:cNvSpPr>
            <p:nvPr/>
          </p:nvSpPr>
          <p:spPr bwMode="gray">
            <a:xfrm>
              <a:off x="8621712" y="4930775"/>
              <a:ext cx="2430463" cy="1662113"/>
            </a:xfrm>
            <a:custGeom>
              <a:avLst/>
              <a:gdLst>
                <a:gd name="T0" fmla="*/ 34 w 1131"/>
                <a:gd name="T1" fmla="*/ 56 h 774"/>
                <a:gd name="T2" fmla="*/ 34 w 1131"/>
                <a:gd name="T3" fmla="*/ 56 h 774"/>
                <a:gd name="T4" fmla="*/ 61 w 1131"/>
                <a:gd name="T5" fmla="*/ 209 h 774"/>
                <a:gd name="T6" fmla="*/ 845 w 1131"/>
                <a:gd name="T7" fmla="*/ 774 h 774"/>
                <a:gd name="T8" fmla="*/ 1128 w 1131"/>
                <a:gd name="T9" fmla="*/ 774 h 774"/>
                <a:gd name="T10" fmla="*/ 1082 w 1131"/>
                <a:gd name="T11" fmla="*/ 674 h 774"/>
                <a:gd name="T12" fmla="*/ 182 w 1131"/>
                <a:gd name="T13" fmla="*/ 35 h 774"/>
                <a:gd name="T14" fmla="*/ 34 w 1131"/>
                <a:gd name="T15" fmla="*/ 56 h 7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1" h="774">
                  <a:moveTo>
                    <a:pt x="34" y="56"/>
                  </a:moveTo>
                  <a:cubicBezTo>
                    <a:pt x="34" y="56"/>
                    <a:pt x="34" y="56"/>
                    <a:pt x="34" y="56"/>
                  </a:cubicBezTo>
                  <a:cubicBezTo>
                    <a:pt x="0" y="106"/>
                    <a:pt x="12" y="174"/>
                    <a:pt x="61" y="209"/>
                  </a:cubicBezTo>
                  <a:cubicBezTo>
                    <a:pt x="845" y="774"/>
                    <a:pt x="845" y="774"/>
                    <a:pt x="845" y="774"/>
                  </a:cubicBezTo>
                  <a:cubicBezTo>
                    <a:pt x="1128" y="774"/>
                    <a:pt x="1128" y="774"/>
                    <a:pt x="1128" y="774"/>
                  </a:cubicBezTo>
                  <a:cubicBezTo>
                    <a:pt x="1131" y="736"/>
                    <a:pt x="1115" y="698"/>
                    <a:pt x="1082" y="674"/>
                  </a:cubicBezTo>
                  <a:cubicBezTo>
                    <a:pt x="182" y="35"/>
                    <a:pt x="182" y="35"/>
                    <a:pt x="182" y="35"/>
                  </a:cubicBezTo>
                  <a:cubicBezTo>
                    <a:pt x="133" y="0"/>
                    <a:pt x="69" y="7"/>
                    <a:pt x="34" y="56"/>
                  </a:cubicBezTo>
                  <a:close/>
                </a:path>
              </a:pathLst>
            </a:custGeom>
            <a:solidFill>
              <a:srgbClr val="FFDBB7"/>
            </a:solid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0" fontAlgn="auto" latinLnBrk="0" hangingPunct="0">
                <a:lnSpc>
                  <a:spcPct val="100000"/>
                </a:lnSpc>
                <a:spcBef>
                  <a:spcPct val="0"/>
                </a:spcBef>
                <a:spcAft>
                  <a:spcPts val="0"/>
                </a:spcAft>
                <a:buClrTx/>
                <a:buSzTx/>
                <a:buFontTx/>
                <a:buNone/>
                <a:tabLst/>
                <a:defRPr/>
              </a:pPr>
              <a:endParaRPr kumimoji="0" lang="en-US" sz="2000" b="0" i="0" u="none" strike="noStrike" kern="0" cap="none" spc="0" normalizeH="0" baseline="0" dirty="0">
                <a:ln>
                  <a:noFill/>
                </a:ln>
                <a:solidFill>
                  <a:srgbClr val="000000"/>
                </a:solidFill>
                <a:effectLst/>
                <a:uLnTx/>
                <a:uFillTx/>
                <a:latin typeface="DraegerSanBol" pitchFamily="2" charset="0"/>
                <a:ea typeface="MS PGothic" panose="020B0600070205080204" pitchFamily="34" charset="-128"/>
              </a:endParaRPr>
            </a:p>
          </p:txBody>
        </p:sp>
        <p:sp>
          <p:nvSpPr>
            <p:cNvPr id="163" name="Freeform 29">
              <a:extLst>
                <a:ext uri="{FF2B5EF4-FFF2-40B4-BE49-F238E27FC236}">
                  <a16:creationId xmlns:a16="http://schemas.microsoft.com/office/drawing/2014/main" id="{488BF922-E355-458A-B3AA-39E8C6490C59}"/>
                </a:ext>
              </a:extLst>
            </p:cNvPr>
            <p:cNvSpPr>
              <a:spLocks/>
            </p:cNvSpPr>
            <p:nvPr/>
          </p:nvSpPr>
          <p:spPr bwMode="gray">
            <a:xfrm>
              <a:off x="9404350" y="5092700"/>
              <a:ext cx="2552700" cy="1781175"/>
            </a:xfrm>
            <a:custGeom>
              <a:avLst/>
              <a:gdLst>
                <a:gd name="T0" fmla="*/ 591 w 1608"/>
                <a:gd name="T1" fmla="*/ 1122 h 1122"/>
                <a:gd name="T2" fmla="*/ 0 w 1608"/>
                <a:gd name="T3" fmla="*/ 520 h 1122"/>
                <a:gd name="T4" fmla="*/ 1055 w 1608"/>
                <a:gd name="T5" fmla="*/ 0 h 1122"/>
                <a:gd name="T6" fmla="*/ 1608 w 1608"/>
                <a:gd name="T7" fmla="*/ 1122 h 1122"/>
                <a:gd name="T8" fmla="*/ 591 w 1608"/>
                <a:gd name="T9" fmla="*/ 1122 h 1122"/>
              </a:gdLst>
              <a:ahLst/>
              <a:cxnLst>
                <a:cxn ang="0">
                  <a:pos x="T0" y="T1"/>
                </a:cxn>
                <a:cxn ang="0">
                  <a:pos x="T2" y="T3"/>
                </a:cxn>
                <a:cxn ang="0">
                  <a:pos x="T4" y="T5"/>
                </a:cxn>
                <a:cxn ang="0">
                  <a:pos x="T6" y="T7"/>
                </a:cxn>
                <a:cxn ang="0">
                  <a:pos x="T8" y="T9"/>
                </a:cxn>
              </a:cxnLst>
              <a:rect l="0" t="0" r="r" b="b"/>
              <a:pathLst>
                <a:path w="1608" h="1122">
                  <a:moveTo>
                    <a:pt x="591" y="1122"/>
                  </a:moveTo>
                  <a:lnTo>
                    <a:pt x="0" y="520"/>
                  </a:lnTo>
                  <a:lnTo>
                    <a:pt x="1055" y="0"/>
                  </a:lnTo>
                  <a:lnTo>
                    <a:pt x="1608" y="1122"/>
                  </a:lnTo>
                  <a:lnTo>
                    <a:pt x="591" y="1122"/>
                  </a:lnTo>
                  <a:close/>
                </a:path>
              </a:pathLst>
            </a:custGeom>
            <a:solidFill>
              <a:srgbClr val="FFDBB7"/>
            </a:solid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0" fontAlgn="auto" latinLnBrk="0" hangingPunct="0">
                <a:lnSpc>
                  <a:spcPct val="100000"/>
                </a:lnSpc>
                <a:spcBef>
                  <a:spcPct val="0"/>
                </a:spcBef>
                <a:spcAft>
                  <a:spcPts val="0"/>
                </a:spcAft>
                <a:buClrTx/>
                <a:buSzTx/>
                <a:buFontTx/>
                <a:buNone/>
                <a:tabLst/>
                <a:defRPr/>
              </a:pPr>
              <a:endParaRPr kumimoji="0" lang="en-US" sz="2000" b="0" i="0" u="none" strike="noStrike" kern="0" cap="none" spc="0" normalizeH="0" baseline="0" dirty="0">
                <a:ln>
                  <a:noFill/>
                </a:ln>
                <a:solidFill>
                  <a:srgbClr val="000000"/>
                </a:solidFill>
                <a:effectLst/>
                <a:uLnTx/>
                <a:uFillTx/>
                <a:latin typeface="DraegerSanBol" pitchFamily="2" charset="0"/>
                <a:ea typeface="MS PGothic" panose="020B0600070205080204" pitchFamily="34" charset="-128"/>
              </a:endParaRPr>
            </a:p>
          </p:txBody>
        </p:sp>
        <p:sp>
          <p:nvSpPr>
            <p:cNvPr id="164" name="Freeform 30">
              <a:extLst>
                <a:ext uri="{FF2B5EF4-FFF2-40B4-BE49-F238E27FC236}">
                  <a16:creationId xmlns:a16="http://schemas.microsoft.com/office/drawing/2014/main" id="{76B21F7F-9201-4DF8-81C9-E3A42FAD0749}"/>
                </a:ext>
              </a:extLst>
            </p:cNvPr>
            <p:cNvSpPr>
              <a:spLocks/>
            </p:cNvSpPr>
            <p:nvPr/>
          </p:nvSpPr>
          <p:spPr bwMode="gray">
            <a:xfrm>
              <a:off x="8766175" y="5691188"/>
              <a:ext cx="1862138" cy="1182688"/>
            </a:xfrm>
            <a:custGeom>
              <a:avLst/>
              <a:gdLst>
                <a:gd name="T0" fmla="*/ 35 w 867"/>
                <a:gd name="T1" fmla="*/ 62 h 551"/>
                <a:gd name="T2" fmla="*/ 35 w 867"/>
                <a:gd name="T3" fmla="*/ 62 h 551"/>
                <a:gd name="T4" fmla="*/ 83 w 867"/>
                <a:gd name="T5" fmla="*/ 188 h 551"/>
                <a:gd name="T6" fmla="*/ 635 w 867"/>
                <a:gd name="T7" fmla="*/ 551 h 551"/>
                <a:gd name="T8" fmla="*/ 867 w 867"/>
                <a:gd name="T9" fmla="*/ 551 h 551"/>
                <a:gd name="T10" fmla="*/ 188 w 867"/>
                <a:gd name="T11" fmla="*/ 35 h 551"/>
                <a:gd name="T12" fmla="*/ 35 w 867"/>
                <a:gd name="T13" fmla="*/ 62 h 551"/>
              </a:gdLst>
              <a:ahLst/>
              <a:cxnLst>
                <a:cxn ang="0">
                  <a:pos x="T0" y="T1"/>
                </a:cxn>
                <a:cxn ang="0">
                  <a:pos x="T2" y="T3"/>
                </a:cxn>
                <a:cxn ang="0">
                  <a:pos x="T4" y="T5"/>
                </a:cxn>
                <a:cxn ang="0">
                  <a:pos x="T6" y="T7"/>
                </a:cxn>
                <a:cxn ang="0">
                  <a:pos x="T8" y="T9"/>
                </a:cxn>
                <a:cxn ang="0">
                  <a:pos x="T10" y="T11"/>
                </a:cxn>
                <a:cxn ang="0">
                  <a:pos x="T12" y="T13"/>
                </a:cxn>
              </a:cxnLst>
              <a:rect l="0" t="0" r="r" b="b"/>
              <a:pathLst>
                <a:path w="867" h="551">
                  <a:moveTo>
                    <a:pt x="35" y="62"/>
                  </a:moveTo>
                  <a:cubicBezTo>
                    <a:pt x="35" y="62"/>
                    <a:pt x="35" y="62"/>
                    <a:pt x="35" y="62"/>
                  </a:cubicBezTo>
                  <a:cubicBezTo>
                    <a:pt x="0" y="111"/>
                    <a:pt x="35" y="152"/>
                    <a:pt x="83" y="188"/>
                  </a:cubicBezTo>
                  <a:cubicBezTo>
                    <a:pt x="635" y="551"/>
                    <a:pt x="635" y="551"/>
                    <a:pt x="635" y="551"/>
                  </a:cubicBezTo>
                  <a:cubicBezTo>
                    <a:pt x="867" y="551"/>
                    <a:pt x="867" y="551"/>
                    <a:pt x="867" y="551"/>
                  </a:cubicBezTo>
                  <a:cubicBezTo>
                    <a:pt x="188" y="35"/>
                    <a:pt x="188" y="35"/>
                    <a:pt x="188" y="35"/>
                  </a:cubicBezTo>
                  <a:cubicBezTo>
                    <a:pt x="139" y="0"/>
                    <a:pt x="70" y="12"/>
                    <a:pt x="35" y="62"/>
                  </a:cubicBezTo>
                  <a:close/>
                </a:path>
              </a:pathLst>
            </a:custGeom>
            <a:solidFill>
              <a:srgbClr val="FFDBB7"/>
            </a:solid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0" fontAlgn="auto" latinLnBrk="0" hangingPunct="0">
                <a:lnSpc>
                  <a:spcPct val="100000"/>
                </a:lnSpc>
                <a:spcBef>
                  <a:spcPct val="0"/>
                </a:spcBef>
                <a:spcAft>
                  <a:spcPts val="0"/>
                </a:spcAft>
                <a:buClrTx/>
                <a:buSzTx/>
                <a:buFontTx/>
                <a:buNone/>
                <a:tabLst/>
                <a:defRPr/>
              </a:pPr>
              <a:endParaRPr kumimoji="0" lang="en-US" sz="2000" b="0" i="0" u="none" strike="noStrike" kern="0" cap="none" spc="0" normalizeH="0" baseline="0" dirty="0">
                <a:ln>
                  <a:noFill/>
                </a:ln>
                <a:solidFill>
                  <a:srgbClr val="000000"/>
                </a:solidFill>
                <a:effectLst/>
                <a:uLnTx/>
                <a:uFillTx/>
                <a:latin typeface="DraegerSanBol" pitchFamily="2" charset="0"/>
                <a:ea typeface="MS PGothic" panose="020B0600070205080204" pitchFamily="34" charset="-128"/>
              </a:endParaRPr>
            </a:p>
          </p:txBody>
        </p:sp>
        <p:sp>
          <p:nvSpPr>
            <p:cNvPr id="165" name="Freeform 33">
              <a:extLst>
                <a:ext uri="{FF2B5EF4-FFF2-40B4-BE49-F238E27FC236}">
                  <a16:creationId xmlns:a16="http://schemas.microsoft.com/office/drawing/2014/main" id="{100CA802-B58B-4EB4-A416-384565829EF8}"/>
                </a:ext>
              </a:extLst>
            </p:cNvPr>
            <p:cNvSpPr>
              <a:spLocks/>
            </p:cNvSpPr>
            <p:nvPr/>
          </p:nvSpPr>
          <p:spPr bwMode="gray">
            <a:xfrm>
              <a:off x="10837862" y="4814888"/>
              <a:ext cx="981075" cy="1827213"/>
            </a:xfrm>
            <a:custGeom>
              <a:avLst/>
              <a:gdLst>
                <a:gd name="T0" fmla="*/ 362 w 457"/>
                <a:gd name="T1" fmla="*/ 817 h 851"/>
                <a:gd name="T2" fmla="*/ 292 w 457"/>
                <a:gd name="T3" fmla="*/ 851 h 851"/>
                <a:gd name="T4" fmla="*/ 258 w 457"/>
                <a:gd name="T5" fmla="*/ 706 h 851"/>
                <a:gd name="T6" fmla="*/ 58 w 457"/>
                <a:gd name="T7" fmla="*/ 150 h 851"/>
                <a:gd name="T8" fmla="*/ 358 w 457"/>
                <a:gd name="T9" fmla="*/ 141 h 851"/>
                <a:gd name="T10" fmla="*/ 429 w 457"/>
                <a:gd name="T11" fmla="*/ 574 h 851"/>
                <a:gd name="T12" fmla="*/ 362 w 457"/>
                <a:gd name="T13" fmla="*/ 817 h 851"/>
              </a:gdLst>
              <a:ahLst/>
              <a:cxnLst>
                <a:cxn ang="0">
                  <a:pos x="T0" y="T1"/>
                </a:cxn>
                <a:cxn ang="0">
                  <a:pos x="T2" y="T3"/>
                </a:cxn>
                <a:cxn ang="0">
                  <a:pos x="T4" y="T5"/>
                </a:cxn>
                <a:cxn ang="0">
                  <a:pos x="T6" y="T7"/>
                </a:cxn>
                <a:cxn ang="0">
                  <a:pos x="T8" y="T9"/>
                </a:cxn>
                <a:cxn ang="0">
                  <a:pos x="T10" y="T11"/>
                </a:cxn>
                <a:cxn ang="0">
                  <a:pos x="T12" y="T13"/>
                </a:cxn>
              </a:cxnLst>
              <a:rect l="0" t="0" r="r" b="b"/>
              <a:pathLst>
                <a:path w="457" h="851">
                  <a:moveTo>
                    <a:pt x="362" y="817"/>
                  </a:moveTo>
                  <a:cubicBezTo>
                    <a:pt x="292" y="851"/>
                    <a:pt x="292" y="851"/>
                    <a:pt x="292" y="851"/>
                  </a:cubicBezTo>
                  <a:cubicBezTo>
                    <a:pt x="258" y="706"/>
                    <a:pt x="258" y="706"/>
                    <a:pt x="258" y="706"/>
                  </a:cubicBezTo>
                  <a:cubicBezTo>
                    <a:pt x="58" y="150"/>
                    <a:pt x="58" y="150"/>
                    <a:pt x="58" y="150"/>
                  </a:cubicBezTo>
                  <a:cubicBezTo>
                    <a:pt x="0" y="0"/>
                    <a:pt x="267" y="186"/>
                    <a:pt x="358" y="141"/>
                  </a:cubicBezTo>
                  <a:cubicBezTo>
                    <a:pt x="429" y="574"/>
                    <a:pt x="429" y="574"/>
                    <a:pt x="429" y="574"/>
                  </a:cubicBezTo>
                  <a:cubicBezTo>
                    <a:pt x="457" y="646"/>
                    <a:pt x="427" y="785"/>
                    <a:pt x="362" y="817"/>
                  </a:cubicBezTo>
                  <a:close/>
                </a:path>
              </a:pathLst>
            </a:custGeom>
            <a:solidFill>
              <a:srgbClr val="FFDBB7"/>
            </a:solid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0" fontAlgn="auto" latinLnBrk="0" hangingPunct="0">
                <a:lnSpc>
                  <a:spcPct val="100000"/>
                </a:lnSpc>
                <a:spcBef>
                  <a:spcPct val="0"/>
                </a:spcBef>
                <a:spcAft>
                  <a:spcPts val="0"/>
                </a:spcAft>
                <a:buClrTx/>
                <a:buSzTx/>
                <a:buFontTx/>
                <a:buNone/>
                <a:tabLst/>
                <a:defRPr/>
              </a:pPr>
              <a:endParaRPr kumimoji="0" lang="en-US" sz="2000" b="0" i="0" u="none" strike="noStrike" kern="0" cap="none" spc="0" normalizeH="0" baseline="0" dirty="0">
                <a:ln>
                  <a:noFill/>
                </a:ln>
                <a:solidFill>
                  <a:srgbClr val="000000"/>
                </a:solidFill>
                <a:effectLst/>
                <a:uLnTx/>
                <a:uFillTx/>
                <a:latin typeface="DraegerSanBol" pitchFamily="2" charset="0"/>
                <a:ea typeface="MS PGothic" panose="020B0600070205080204" pitchFamily="34" charset="-128"/>
              </a:endParaRPr>
            </a:p>
          </p:txBody>
        </p:sp>
        <p:sp>
          <p:nvSpPr>
            <p:cNvPr id="167" name="Freeform 34">
              <a:extLst>
                <a:ext uri="{FF2B5EF4-FFF2-40B4-BE49-F238E27FC236}">
                  <a16:creationId xmlns:a16="http://schemas.microsoft.com/office/drawing/2014/main" id="{EFE88614-1CDB-443D-89C7-ADAB4C686B75}"/>
                </a:ext>
              </a:extLst>
            </p:cNvPr>
            <p:cNvSpPr>
              <a:spLocks/>
            </p:cNvSpPr>
            <p:nvPr/>
          </p:nvSpPr>
          <p:spPr bwMode="gray">
            <a:xfrm>
              <a:off x="10606635" y="5060477"/>
              <a:ext cx="696358" cy="1181372"/>
            </a:xfrm>
            <a:custGeom>
              <a:avLst/>
              <a:gdLst>
                <a:gd name="T0" fmla="*/ 14 w 210"/>
                <a:gd name="T1" fmla="*/ 540 h 540"/>
                <a:gd name="T2" fmla="*/ 51 w 210"/>
                <a:gd name="T3" fmla="*/ 275 h 540"/>
                <a:gd name="T4" fmla="*/ 51 w 210"/>
                <a:gd name="T5" fmla="*/ 10 h 540"/>
                <a:gd name="T6" fmla="*/ 168 w 210"/>
                <a:gd name="T7" fmla="*/ 2 h 540"/>
                <a:gd name="T8" fmla="*/ 210 w 210"/>
                <a:gd name="T9" fmla="*/ 223 h 540"/>
                <a:gd name="T10" fmla="*/ 14 w 210"/>
                <a:gd name="T11" fmla="*/ 540 h 540"/>
                <a:gd name="connsiteX0" fmla="*/ 138 w 9471"/>
                <a:gd name="connsiteY0" fmla="*/ 9965 h 9965"/>
                <a:gd name="connsiteX1" fmla="*/ 1900 w 9471"/>
                <a:gd name="connsiteY1" fmla="*/ 5058 h 9965"/>
                <a:gd name="connsiteX2" fmla="*/ 959 w 9471"/>
                <a:gd name="connsiteY2" fmla="*/ 340 h 9965"/>
                <a:gd name="connsiteX3" fmla="*/ 7471 w 9471"/>
                <a:gd name="connsiteY3" fmla="*/ 2 h 9965"/>
                <a:gd name="connsiteX4" fmla="*/ 9471 w 9471"/>
                <a:gd name="connsiteY4" fmla="*/ 4095 h 9965"/>
                <a:gd name="connsiteX5" fmla="*/ 138 w 9471"/>
                <a:gd name="connsiteY5" fmla="*/ 9965 h 9965"/>
                <a:gd name="connsiteX0" fmla="*/ 728 w 10582"/>
                <a:gd name="connsiteY0" fmla="*/ 10509 h 10509"/>
                <a:gd name="connsiteX1" fmla="*/ 1595 w 10582"/>
                <a:gd name="connsiteY1" fmla="*/ 850 h 10509"/>
                <a:gd name="connsiteX2" fmla="*/ 8470 w 10582"/>
                <a:gd name="connsiteY2" fmla="*/ 511 h 10509"/>
                <a:gd name="connsiteX3" fmla="*/ 10582 w 10582"/>
                <a:gd name="connsiteY3" fmla="*/ 4618 h 10509"/>
                <a:gd name="connsiteX4" fmla="*/ 728 w 10582"/>
                <a:gd name="connsiteY4" fmla="*/ 10509 h 10509"/>
                <a:gd name="connsiteX0" fmla="*/ 728 w 10582"/>
                <a:gd name="connsiteY0" fmla="*/ 10003 h 10003"/>
                <a:gd name="connsiteX1" fmla="*/ 1595 w 10582"/>
                <a:gd name="connsiteY1" fmla="*/ 344 h 10003"/>
                <a:gd name="connsiteX2" fmla="*/ 8470 w 10582"/>
                <a:gd name="connsiteY2" fmla="*/ 5 h 10003"/>
                <a:gd name="connsiteX3" fmla="*/ 10582 w 10582"/>
                <a:gd name="connsiteY3" fmla="*/ 4112 h 10003"/>
                <a:gd name="connsiteX4" fmla="*/ 728 w 10582"/>
                <a:gd name="connsiteY4" fmla="*/ 10003 h 10003"/>
                <a:gd name="connsiteX0" fmla="*/ 728 w 10582"/>
                <a:gd name="connsiteY0" fmla="*/ 10602 h 10602"/>
                <a:gd name="connsiteX1" fmla="*/ 1595 w 10582"/>
                <a:gd name="connsiteY1" fmla="*/ 943 h 10602"/>
                <a:gd name="connsiteX2" fmla="*/ 8311 w 10582"/>
                <a:gd name="connsiteY2" fmla="*/ 1 h 10602"/>
                <a:gd name="connsiteX3" fmla="*/ 10582 w 10582"/>
                <a:gd name="connsiteY3" fmla="*/ 4711 h 10602"/>
                <a:gd name="connsiteX4" fmla="*/ 728 w 10582"/>
                <a:gd name="connsiteY4" fmla="*/ 10602 h 10602"/>
                <a:gd name="connsiteX0" fmla="*/ 728 w 10582"/>
                <a:gd name="connsiteY0" fmla="*/ 10602 h 10602"/>
                <a:gd name="connsiteX1" fmla="*/ 1595 w 10582"/>
                <a:gd name="connsiteY1" fmla="*/ 943 h 10602"/>
                <a:gd name="connsiteX2" fmla="*/ 8311 w 10582"/>
                <a:gd name="connsiteY2" fmla="*/ 1 h 10602"/>
                <a:gd name="connsiteX3" fmla="*/ 10582 w 10582"/>
                <a:gd name="connsiteY3" fmla="*/ 4711 h 10602"/>
                <a:gd name="connsiteX4" fmla="*/ 728 w 10582"/>
                <a:gd name="connsiteY4" fmla="*/ 10602 h 10602"/>
                <a:gd name="connsiteX0" fmla="*/ 287 w 13851"/>
                <a:gd name="connsiteY0" fmla="*/ 9838 h 9838"/>
                <a:gd name="connsiteX1" fmla="*/ 4864 w 13851"/>
                <a:gd name="connsiteY1" fmla="*/ 943 h 9838"/>
                <a:gd name="connsiteX2" fmla="*/ 11580 w 13851"/>
                <a:gd name="connsiteY2" fmla="*/ 1 h 9838"/>
                <a:gd name="connsiteX3" fmla="*/ 13851 w 13851"/>
                <a:gd name="connsiteY3" fmla="*/ 4711 h 9838"/>
                <a:gd name="connsiteX4" fmla="*/ 287 w 13851"/>
                <a:gd name="connsiteY4" fmla="*/ 9838 h 9838"/>
                <a:gd name="connsiteX0" fmla="*/ 207 w 10000"/>
                <a:gd name="connsiteY0" fmla="*/ 10000 h 10000"/>
                <a:gd name="connsiteX1" fmla="*/ 3512 w 10000"/>
                <a:gd name="connsiteY1" fmla="*/ 959 h 10000"/>
                <a:gd name="connsiteX2" fmla="*/ 8360 w 10000"/>
                <a:gd name="connsiteY2" fmla="*/ 1 h 10000"/>
                <a:gd name="connsiteX3" fmla="*/ 10000 w 10000"/>
                <a:gd name="connsiteY3" fmla="*/ 4789 h 10000"/>
                <a:gd name="connsiteX4" fmla="*/ 207 w 10000"/>
                <a:gd name="connsiteY4" fmla="*/ 10000 h 10000"/>
                <a:gd name="connsiteX0" fmla="*/ 1157 w 6971"/>
                <a:gd name="connsiteY0" fmla="*/ 8486 h 8486"/>
                <a:gd name="connsiteX1" fmla="*/ 483 w 6971"/>
                <a:gd name="connsiteY1" fmla="*/ 959 h 8486"/>
                <a:gd name="connsiteX2" fmla="*/ 5331 w 6971"/>
                <a:gd name="connsiteY2" fmla="*/ 1 h 8486"/>
                <a:gd name="connsiteX3" fmla="*/ 6971 w 6971"/>
                <a:gd name="connsiteY3" fmla="*/ 4789 h 8486"/>
                <a:gd name="connsiteX4" fmla="*/ 1157 w 6971"/>
                <a:gd name="connsiteY4" fmla="*/ 8486 h 8486"/>
                <a:gd name="connsiteX0" fmla="*/ 11942 w 13456"/>
                <a:gd name="connsiteY0" fmla="*/ 9625 h 9625"/>
                <a:gd name="connsiteX1" fmla="*/ 107 w 13456"/>
                <a:gd name="connsiteY1" fmla="*/ 1131 h 9625"/>
                <a:gd name="connsiteX2" fmla="*/ 7061 w 13456"/>
                <a:gd name="connsiteY2" fmla="*/ 2 h 9625"/>
                <a:gd name="connsiteX3" fmla="*/ 9414 w 13456"/>
                <a:gd name="connsiteY3" fmla="*/ 5644 h 9625"/>
                <a:gd name="connsiteX4" fmla="*/ 11942 w 13456"/>
                <a:gd name="connsiteY4" fmla="*/ 9625 h 9625"/>
                <a:gd name="connsiteX0" fmla="*/ 154 w 12552"/>
                <a:gd name="connsiteY0" fmla="*/ 12731 h 12731"/>
                <a:gd name="connsiteX1" fmla="*/ 5636 w 12552"/>
                <a:gd name="connsiteY1" fmla="*/ 1175 h 12731"/>
                <a:gd name="connsiteX2" fmla="*/ 10803 w 12552"/>
                <a:gd name="connsiteY2" fmla="*/ 2 h 12731"/>
                <a:gd name="connsiteX3" fmla="*/ 12552 w 12552"/>
                <a:gd name="connsiteY3" fmla="*/ 5864 h 12731"/>
                <a:gd name="connsiteX4" fmla="*/ 154 w 12552"/>
                <a:gd name="connsiteY4" fmla="*/ 12731 h 12731"/>
                <a:gd name="connsiteX0" fmla="*/ 154 w 12552"/>
                <a:gd name="connsiteY0" fmla="*/ 12731 h 12731"/>
                <a:gd name="connsiteX1" fmla="*/ 5636 w 12552"/>
                <a:gd name="connsiteY1" fmla="*/ 1175 h 12731"/>
                <a:gd name="connsiteX2" fmla="*/ 10803 w 12552"/>
                <a:gd name="connsiteY2" fmla="*/ 2 h 12731"/>
                <a:gd name="connsiteX3" fmla="*/ 12552 w 12552"/>
                <a:gd name="connsiteY3" fmla="*/ 5864 h 12731"/>
                <a:gd name="connsiteX4" fmla="*/ 154 w 12552"/>
                <a:gd name="connsiteY4" fmla="*/ 12731 h 12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2" h="12731">
                  <a:moveTo>
                    <a:pt x="154" y="12731"/>
                  </a:moveTo>
                  <a:cubicBezTo>
                    <a:pt x="-999" y="11950"/>
                    <a:pt x="4642" y="3248"/>
                    <a:pt x="5636" y="1175"/>
                  </a:cubicBezTo>
                  <a:cubicBezTo>
                    <a:pt x="7667" y="638"/>
                    <a:pt x="9953" y="-45"/>
                    <a:pt x="10803" y="2"/>
                  </a:cubicBezTo>
                  <a:cubicBezTo>
                    <a:pt x="10302" y="303"/>
                    <a:pt x="11585" y="4291"/>
                    <a:pt x="12552" y="5864"/>
                  </a:cubicBezTo>
                  <a:cubicBezTo>
                    <a:pt x="9031" y="6488"/>
                    <a:pt x="3975" y="12443"/>
                    <a:pt x="154" y="12731"/>
                  </a:cubicBezTo>
                  <a:close/>
                </a:path>
              </a:pathLst>
            </a:custGeom>
            <a:solidFill>
              <a:srgbClr val="FFCC99"/>
            </a:solid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0" fontAlgn="auto" latinLnBrk="0" hangingPunct="0">
                <a:lnSpc>
                  <a:spcPct val="100000"/>
                </a:lnSpc>
                <a:spcBef>
                  <a:spcPct val="0"/>
                </a:spcBef>
                <a:spcAft>
                  <a:spcPts val="0"/>
                </a:spcAft>
                <a:buClrTx/>
                <a:buSzTx/>
                <a:buFontTx/>
                <a:buNone/>
                <a:tabLst/>
                <a:defRPr/>
              </a:pPr>
              <a:endParaRPr kumimoji="0" lang="en-US" sz="2000" b="0" i="0" u="none" strike="noStrike" kern="0" cap="none" spc="0" normalizeH="0" baseline="0" dirty="0">
                <a:ln>
                  <a:noFill/>
                </a:ln>
                <a:solidFill>
                  <a:srgbClr val="000000"/>
                </a:solidFill>
                <a:effectLst/>
                <a:uLnTx/>
                <a:uFillTx/>
                <a:latin typeface="DraegerSanBol" pitchFamily="2" charset="0"/>
                <a:ea typeface="MS PGothic" panose="020B0600070205080204" pitchFamily="34" charset="-128"/>
              </a:endParaRPr>
            </a:p>
          </p:txBody>
        </p:sp>
        <p:sp>
          <p:nvSpPr>
            <p:cNvPr id="168" name="Freeform 43">
              <a:extLst>
                <a:ext uri="{FF2B5EF4-FFF2-40B4-BE49-F238E27FC236}">
                  <a16:creationId xmlns:a16="http://schemas.microsoft.com/office/drawing/2014/main" id="{4BBFAE94-1DB3-4349-9DB1-81BE466AEDAC}"/>
                </a:ext>
              </a:extLst>
            </p:cNvPr>
            <p:cNvSpPr>
              <a:spLocks/>
            </p:cNvSpPr>
            <p:nvPr/>
          </p:nvSpPr>
          <p:spPr bwMode="gray">
            <a:xfrm>
              <a:off x="10847387" y="5010150"/>
              <a:ext cx="568325" cy="1320800"/>
            </a:xfrm>
            <a:custGeom>
              <a:avLst/>
              <a:gdLst>
                <a:gd name="T0" fmla="*/ 16 w 264"/>
                <a:gd name="T1" fmla="*/ 594 h 615"/>
                <a:gd name="T2" fmla="*/ 162 w 264"/>
                <a:gd name="T3" fmla="*/ 234 h 615"/>
                <a:gd name="T4" fmla="*/ 122 w 264"/>
                <a:gd name="T5" fmla="*/ 82 h 615"/>
                <a:gd name="T6" fmla="*/ 52 w 264"/>
                <a:gd name="T7" fmla="*/ 64 h 615"/>
                <a:gd name="T8" fmla="*/ 185 w 264"/>
                <a:gd name="T9" fmla="*/ 27 h 615"/>
                <a:gd name="T10" fmla="*/ 264 w 264"/>
                <a:gd name="T11" fmla="*/ 292 h 615"/>
                <a:gd name="T12" fmla="*/ 16 w 264"/>
                <a:gd name="T13" fmla="*/ 594 h 615"/>
              </a:gdLst>
              <a:ahLst/>
              <a:cxnLst>
                <a:cxn ang="0">
                  <a:pos x="T0" y="T1"/>
                </a:cxn>
                <a:cxn ang="0">
                  <a:pos x="T2" y="T3"/>
                </a:cxn>
                <a:cxn ang="0">
                  <a:pos x="T4" y="T5"/>
                </a:cxn>
                <a:cxn ang="0">
                  <a:pos x="T6" y="T7"/>
                </a:cxn>
                <a:cxn ang="0">
                  <a:pos x="T8" y="T9"/>
                </a:cxn>
                <a:cxn ang="0">
                  <a:pos x="T10" y="T11"/>
                </a:cxn>
                <a:cxn ang="0">
                  <a:pos x="T12" y="T13"/>
                </a:cxn>
              </a:cxnLst>
              <a:rect l="0" t="0" r="r" b="b"/>
              <a:pathLst>
                <a:path w="264" h="615">
                  <a:moveTo>
                    <a:pt x="16" y="594"/>
                  </a:moveTo>
                  <a:cubicBezTo>
                    <a:pt x="0" y="524"/>
                    <a:pt x="36" y="254"/>
                    <a:pt x="162" y="234"/>
                  </a:cubicBezTo>
                  <a:cubicBezTo>
                    <a:pt x="125" y="178"/>
                    <a:pt x="108" y="96"/>
                    <a:pt x="122" y="82"/>
                  </a:cubicBezTo>
                  <a:cubicBezTo>
                    <a:pt x="99" y="81"/>
                    <a:pt x="81" y="74"/>
                    <a:pt x="52" y="64"/>
                  </a:cubicBezTo>
                  <a:cubicBezTo>
                    <a:pt x="98" y="0"/>
                    <a:pt x="163" y="26"/>
                    <a:pt x="185" y="27"/>
                  </a:cubicBezTo>
                  <a:cubicBezTo>
                    <a:pt x="172" y="41"/>
                    <a:pt x="241" y="224"/>
                    <a:pt x="264" y="292"/>
                  </a:cubicBezTo>
                  <a:cubicBezTo>
                    <a:pt x="205" y="346"/>
                    <a:pt x="130" y="615"/>
                    <a:pt x="16" y="594"/>
                  </a:cubicBezTo>
                  <a:close/>
                </a:path>
              </a:pathLst>
            </a:custGeom>
            <a:solidFill>
              <a:srgbClr val="FFCC99"/>
            </a:solid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0" fontAlgn="auto" latinLnBrk="0" hangingPunct="0">
                <a:lnSpc>
                  <a:spcPct val="100000"/>
                </a:lnSpc>
                <a:spcBef>
                  <a:spcPct val="0"/>
                </a:spcBef>
                <a:spcAft>
                  <a:spcPts val="0"/>
                </a:spcAft>
                <a:buClrTx/>
                <a:buSzTx/>
                <a:buFontTx/>
                <a:buNone/>
                <a:tabLst/>
                <a:defRPr/>
              </a:pPr>
              <a:endParaRPr kumimoji="0" lang="en-US" sz="2000" b="0" i="0" u="none" strike="noStrike" kern="0" cap="none" spc="0" normalizeH="0" baseline="0" dirty="0">
                <a:ln>
                  <a:noFill/>
                </a:ln>
                <a:solidFill>
                  <a:srgbClr val="000000"/>
                </a:solidFill>
                <a:effectLst/>
                <a:uLnTx/>
                <a:uFillTx/>
                <a:latin typeface="DraegerSanBol" pitchFamily="2" charset="0"/>
                <a:ea typeface="MS PGothic" panose="020B0600070205080204" pitchFamily="34" charset="-128"/>
              </a:endParaRPr>
            </a:p>
          </p:txBody>
        </p:sp>
        <p:sp>
          <p:nvSpPr>
            <p:cNvPr id="169" name="Freeform 44">
              <a:extLst>
                <a:ext uri="{FF2B5EF4-FFF2-40B4-BE49-F238E27FC236}">
                  <a16:creationId xmlns:a16="http://schemas.microsoft.com/office/drawing/2014/main" id="{61C24D42-8122-451B-A259-EE821CF0D768}"/>
                </a:ext>
              </a:extLst>
            </p:cNvPr>
            <p:cNvSpPr>
              <a:spLocks/>
            </p:cNvSpPr>
            <p:nvPr/>
          </p:nvSpPr>
          <p:spPr bwMode="gray">
            <a:xfrm>
              <a:off x="10882312" y="5010150"/>
              <a:ext cx="547688" cy="1320800"/>
            </a:xfrm>
            <a:custGeom>
              <a:avLst/>
              <a:gdLst>
                <a:gd name="T0" fmla="*/ 0 w 255"/>
                <a:gd name="T1" fmla="*/ 594 h 615"/>
                <a:gd name="T2" fmla="*/ 146 w 255"/>
                <a:gd name="T3" fmla="*/ 234 h 615"/>
                <a:gd name="T4" fmla="*/ 107 w 255"/>
                <a:gd name="T5" fmla="*/ 82 h 615"/>
                <a:gd name="T6" fmla="*/ 37 w 255"/>
                <a:gd name="T7" fmla="*/ 64 h 615"/>
                <a:gd name="T8" fmla="*/ 169 w 255"/>
                <a:gd name="T9" fmla="*/ 27 h 615"/>
                <a:gd name="T10" fmla="*/ 255 w 255"/>
                <a:gd name="T11" fmla="*/ 292 h 615"/>
                <a:gd name="T12" fmla="*/ 0 w 255"/>
                <a:gd name="T13" fmla="*/ 594 h 615"/>
              </a:gdLst>
              <a:ahLst/>
              <a:cxnLst>
                <a:cxn ang="0">
                  <a:pos x="T0" y="T1"/>
                </a:cxn>
                <a:cxn ang="0">
                  <a:pos x="T2" y="T3"/>
                </a:cxn>
                <a:cxn ang="0">
                  <a:pos x="T4" y="T5"/>
                </a:cxn>
                <a:cxn ang="0">
                  <a:pos x="T6" y="T7"/>
                </a:cxn>
                <a:cxn ang="0">
                  <a:pos x="T8" y="T9"/>
                </a:cxn>
                <a:cxn ang="0">
                  <a:pos x="T10" y="T11"/>
                </a:cxn>
                <a:cxn ang="0">
                  <a:pos x="T12" y="T13"/>
                </a:cxn>
              </a:cxnLst>
              <a:rect l="0" t="0" r="r" b="b"/>
              <a:pathLst>
                <a:path w="255" h="615">
                  <a:moveTo>
                    <a:pt x="0" y="594"/>
                  </a:moveTo>
                  <a:cubicBezTo>
                    <a:pt x="2" y="522"/>
                    <a:pt x="37" y="262"/>
                    <a:pt x="146" y="234"/>
                  </a:cubicBezTo>
                  <a:cubicBezTo>
                    <a:pt x="107" y="178"/>
                    <a:pt x="94" y="96"/>
                    <a:pt x="107" y="82"/>
                  </a:cubicBezTo>
                  <a:cubicBezTo>
                    <a:pt x="84" y="81"/>
                    <a:pt x="66" y="74"/>
                    <a:pt x="37" y="64"/>
                  </a:cubicBezTo>
                  <a:cubicBezTo>
                    <a:pt x="81" y="0"/>
                    <a:pt x="147" y="26"/>
                    <a:pt x="169" y="27"/>
                  </a:cubicBezTo>
                  <a:cubicBezTo>
                    <a:pt x="156" y="41"/>
                    <a:pt x="230" y="224"/>
                    <a:pt x="255" y="292"/>
                  </a:cubicBezTo>
                  <a:cubicBezTo>
                    <a:pt x="197" y="346"/>
                    <a:pt x="115" y="615"/>
                    <a:pt x="0" y="594"/>
                  </a:cubicBezTo>
                  <a:close/>
                </a:path>
              </a:pathLst>
            </a:custGeom>
            <a:solidFill>
              <a:srgbClr val="FFDBB7"/>
            </a:solid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0" fontAlgn="auto" latinLnBrk="0" hangingPunct="0">
                <a:lnSpc>
                  <a:spcPct val="100000"/>
                </a:lnSpc>
                <a:spcBef>
                  <a:spcPct val="0"/>
                </a:spcBef>
                <a:spcAft>
                  <a:spcPts val="0"/>
                </a:spcAft>
                <a:buClrTx/>
                <a:buSzTx/>
                <a:buFontTx/>
                <a:buNone/>
                <a:tabLst/>
                <a:defRPr/>
              </a:pPr>
              <a:endParaRPr kumimoji="0" lang="en-US" sz="2000" b="0" i="0" u="none" strike="noStrike" kern="0" cap="none" spc="0" normalizeH="0" baseline="0" dirty="0">
                <a:ln>
                  <a:noFill/>
                </a:ln>
                <a:solidFill>
                  <a:srgbClr val="000000"/>
                </a:solidFill>
                <a:effectLst/>
                <a:uLnTx/>
                <a:uFillTx/>
                <a:latin typeface="DraegerSanBol" pitchFamily="2" charset="0"/>
                <a:ea typeface="MS PGothic" panose="020B0600070205080204" pitchFamily="34" charset="-128"/>
              </a:endParaRPr>
            </a:p>
          </p:txBody>
        </p:sp>
        <p:grpSp>
          <p:nvGrpSpPr>
            <p:cNvPr id="171" name="Gruppieren 170">
              <a:extLst>
                <a:ext uri="{FF2B5EF4-FFF2-40B4-BE49-F238E27FC236}">
                  <a16:creationId xmlns:a16="http://schemas.microsoft.com/office/drawing/2014/main" id="{9DC24B25-FDAA-499F-BE0B-CFFA337661F2}"/>
                </a:ext>
              </a:extLst>
            </p:cNvPr>
            <p:cNvGrpSpPr/>
            <p:nvPr/>
          </p:nvGrpSpPr>
          <p:grpSpPr bwMode="gray">
            <a:xfrm>
              <a:off x="8435975" y="2609850"/>
              <a:ext cx="2489200" cy="3651250"/>
              <a:chOff x="8435975" y="2609850"/>
              <a:chExt cx="2489200" cy="3651250"/>
            </a:xfrm>
          </p:grpSpPr>
          <p:sp>
            <p:nvSpPr>
              <p:cNvPr id="173" name="Freeform 31">
                <a:extLst>
                  <a:ext uri="{FF2B5EF4-FFF2-40B4-BE49-F238E27FC236}">
                    <a16:creationId xmlns:a16="http://schemas.microsoft.com/office/drawing/2014/main" id="{613874D5-4813-4F54-8335-BF5C7291C080}"/>
                  </a:ext>
                </a:extLst>
              </p:cNvPr>
              <p:cNvSpPr>
                <a:spLocks/>
              </p:cNvSpPr>
              <p:nvPr/>
            </p:nvSpPr>
            <p:spPr bwMode="gray">
              <a:xfrm>
                <a:off x="8435975" y="4027488"/>
                <a:ext cx="2166938" cy="1957388"/>
              </a:xfrm>
              <a:custGeom>
                <a:avLst/>
                <a:gdLst>
                  <a:gd name="T0" fmla="*/ 38 w 1009"/>
                  <a:gd name="T1" fmla="*/ 50 h 911"/>
                  <a:gd name="T2" fmla="*/ 38 w 1009"/>
                  <a:gd name="T3" fmla="*/ 50 h 911"/>
                  <a:gd name="T4" fmla="*/ 50 w 1009"/>
                  <a:gd name="T5" fmla="*/ 199 h 911"/>
                  <a:gd name="T6" fmla="*/ 822 w 1009"/>
                  <a:gd name="T7" fmla="*/ 872 h 911"/>
                  <a:gd name="T8" fmla="*/ 971 w 1009"/>
                  <a:gd name="T9" fmla="*/ 860 h 911"/>
                  <a:gd name="T10" fmla="*/ 959 w 1009"/>
                  <a:gd name="T11" fmla="*/ 711 h 911"/>
                  <a:gd name="T12" fmla="*/ 187 w 1009"/>
                  <a:gd name="T13" fmla="*/ 38 h 911"/>
                  <a:gd name="T14" fmla="*/ 38 w 1009"/>
                  <a:gd name="T15" fmla="*/ 50 h 9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9" h="911">
                    <a:moveTo>
                      <a:pt x="38" y="50"/>
                    </a:moveTo>
                    <a:cubicBezTo>
                      <a:pt x="38" y="50"/>
                      <a:pt x="38" y="50"/>
                      <a:pt x="38" y="50"/>
                    </a:cubicBezTo>
                    <a:cubicBezTo>
                      <a:pt x="0" y="94"/>
                      <a:pt x="6" y="161"/>
                      <a:pt x="50" y="199"/>
                    </a:cubicBezTo>
                    <a:cubicBezTo>
                      <a:pt x="822" y="872"/>
                      <a:pt x="822" y="872"/>
                      <a:pt x="822" y="872"/>
                    </a:cubicBezTo>
                    <a:cubicBezTo>
                      <a:pt x="866" y="911"/>
                      <a:pt x="933" y="905"/>
                      <a:pt x="971" y="860"/>
                    </a:cubicBezTo>
                    <a:cubicBezTo>
                      <a:pt x="1009" y="816"/>
                      <a:pt x="1003" y="749"/>
                      <a:pt x="959" y="711"/>
                    </a:cubicBezTo>
                    <a:cubicBezTo>
                      <a:pt x="187" y="38"/>
                      <a:pt x="187" y="38"/>
                      <a:pt x="187" y="38"/>
                    </a:cubicBezTo>
                    <a:cubicBezTo>
                      <a:pt x="143" y="0"/>
                      <a:pt x="75" y="5"/>
                      <a:pt x="38" y="50"/>
                    </a:cubicBezTo>
                    <a:close/>
                  </a:path>
                </a:pathLst>
              </a:custGeom>
              <a:solidFill>
                <a:srgbClr val="FFDBB7"/>
              </a:solid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0" fontAlgn="auto" latinLnBrk="0" hangingPunct="0">
                  <a:lnSpc>
                    <a:spcPct val="100000"/>
                  </a:lnSpc>
                  <a:spcBef>
                    <a:spcPct val="0"/>
                  </a:spcBef>
                  <a:spcAft>
                    <a:spcPts val="0"/>
                  </a:spcAft>
                  <a:buClrTx/>
                  <a:buSzTx/>
                  <a:buFontTx/>
                  <a:buNone/>
                  <a:tabLst/>
                  <a:defRPr/>
                </a:pPr>
                <a:endParaRPr kumimoji="0" lang="en-US" sz="2000" b="0" i="0" u="none" strike="noStrike" kern="0" cap="none" spc="0" normalizeH="0" baseline="0" dirty="0">
                  <a:ln>
                    <a:noFill/>
                  </a:ln>
                  <a:solidFill>
                    <a:srgbClr val="000000"/>
                  </a:solidFill>
                  <a:effectLst/>
                  <a:uLnTx/>
                  <a:uFillTx/>
                  <a:latin typeface="DraegerSanBol" pitchFamily="2" charset="0"/>
                  <a:ea typeface="MS PGothic" panose="020B0600070205080204" pitchFamily="34" charset="-128"/>
                </a:endParaRPr>
              </a:p>
            </p:txBody>
          </p:sp>
          <p:sp>
            <p:nvSpPr>
              <p:cNvPr id="174" name="Freeform 36">
                <a:extLst>
                  <a:ext uri="{FF2B5EF4-FFF2-40B4-BE49-F238E27FC236}">
                    <a16:creationId xmlns:a16="http://schemas.microsoft.com/office/drawing/2014/main" id="{2367A3C3-37AA-4AC8-A7A6-C9E83A6EC50B}"/>
                  </a:ext>
                </a:extLst>
              </p:cNvPr>
              <p:cNvSpPr>
                <a:spLocks/>
              </p:cNvSpPr>
              <p:nvPr/>
            </p:nvSpPr>
            <p:spPr bwMode="gray">
              <a:xfrm>
                <a:off x="9102725" y="2609850"/>
                <a:ext cx="1822450" cy="3641725"/>
              </a:xfrm>
              <a:custGeom>
                <a:avLst/>
                <a:gdLst>
                  <a:gd name="T0" fmla="*/ 674 w 848"/>
                  <a:gd name="T1" fmla="*/ 0 h 1695"/>
                  <a:gd name="T2" fmla="*/ 173 w 848"/>
                  <a:gd name="T3" fmla="*/ 0 h 1695"/>
                  <a:gd name="T4" fmla="*/ 0 w 848"/>
                  <a:gd name="T5" fmla="*/ 173 h 1695"/>
                  <a:gd name="T6" fmla="*/ 1 w 848"/>
                  <a:gd name="T7" fmla="*/ 1522 h 1695"/>
                  <a:gd name="T8" fmla="*/ 174 w 848"/>
                  <a:gd name="T9" fmla="*/ 1694 h 1695"/>
                  <a:gd name="T10" fmla="*/ 675 w 848"/>
                  <a:gd name="T11" fmla="*/ 1694 h 1695"/>
                  <a:gd name="T12" fmla="*/ 848 w 848"/>
                  <a:gd name="T13" fmla="*/ 1521 h 1695"/>
                  <a:gd name="T14" fmla="*/ 847 w 848"/>
                  <a:gd name="T15" fmla="*/ 173 h 1695"/>
                  <a:gd name="T16" fmla="*/ 674 w 848"/>
                  <a:gd name="T17" fmla="*/ 0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8" h="1695">
                    <a:moveTo>
                      <a:pt x="674" y="0"/>
                    </a:moveTo>
                    <a:cubicBezTo>
                      <a:pt x="173" y="0"/>
                      <a:pt x="173" y="0"/>
                      <a:pt x="173" y="0"/>
                    </a:cubicBezTo>
                    <a:cubicBezTo>
                      <a:pt x="78" y="0"/>
                      <a:pt x="0" y="78"/>
                      <a:pt x="0" y="173"/>
                    </a:cubicBezTo>
                    <a:cubicBezTo>
                      <a:pt x="1" y="1522"/>
                      <a:pt x="1" y="1522"/>
                      <a:pt x="1" y="1522"/>
                    </a:cubicBezTo>
                    <a:cubicBezTo>
                      <a:pt x="1" y="1617"/>
                      <a:pt x="79" y="1695"/>
                      <a:pt x="174" y="1694"/>
                    </a:cubicBezTo>
                    <a:cubicBezTo>
                      <a:pt x="675" y="1694"/>
                      <a:pt x="675" y="1694"/>
                      <a:pt x="675" y="1694"/>
                    </a:cubicBezTo>
                    <a:cubicBezTo>
                      <a:pt x="771" y="1694"/>
                      <a:pt x="848" y="1616"/>
                      <a:pt x="848" y="1521"/>
                    </a:cubicBezTo>
                    <a:cubicBezTo>
                      <a:pt x="847" y="173"/>
                      <a:pt x="847" y="173"/>
                      <a:pt x="847" y="173"/>
                    </a:cubicBezTo>
                    <a:cubicBezTo>
                      <a:pt x="847" y="78"/>
                      <a:pt x="769" y="0"/>
                      <a:pt x="674" y="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0" fontAlgn="auto" latinLnBrk="0" hangingPunct="0">
                  <a:lnSpc>
                    <a:spcPct val="100000"/>
                  </a:lnSpc>
                  <a:spcBef>
                    <a:spcPct val="0"/>
                  </a:spcBef>
                  <a:spcAft>
                    <a:spcPts val="0"/>
                  </a:spcAft>
                  <a:buClrTx/>
                  <a:buSzTx/>
                  <a:buFontTx/>
                  <a:buNone/>
                  <a:tabLst/>
                  <a:defRPr/>
                </a:pPr>
                <a:endParaRPr kumimoji="0" lang="en-US" sz="2000" b="0" i="0" u="none" strike="noStrike" kern="0" cap="none" spc="0" normalizeH="0" baseline="0" dirty="0">
                  <a:ln>
                    <a:noFill/>
                  </a:ln>
                  <a:solidFill>
                    <a:srgbClr val="000000"/>
                  </a:solidFill>
                  <a:effectLst/>
                  <a:uLnTx/>
                  <a:uFillTx/>
                  <a:latin typeface="DraegerSanBol" pitchFamily="2" charset="0"/>
                  <a:ea typeface="MS PGothic" panose="020B0600070205080204" pitchFamily="34" charset="-128"/>
                </a:endParaRPr>
              </a:p>
            </p:txBody>
          </p:sp>
          <p:sp>
            <p:nvSpPr>
              <p:cNvPr id="175" name="Freeform 37">
                <a:extLst>
                  <a:ext uri="{FF2B5EF4-FFF2-40B4-BE49-F238E27FC236}">
                    <a16:creationId xmlns:a16="http://schemas.microsoft.com/office/drawing/2014/main" id="{B4062863-B8AD-4EA7-A77B-C963BB805A74}"/>
                  </a:ext>
                </a:extLst>
              </p:cNvPr>
              <p:cNvSpPr>
                <a:spLocks/>
              </p:cNvSpPr>
              <p:nvPr/>
            </p:nvSpPr>
            <p:spPr bwMode="gray">
              <a:xfrm>
                <a:off x="9102725" y="2609850"/>
                <a:ext cx="1511300" cy="3630613"/>
              </a:xfrm>
              <a:custGeom>
                <a:avLst/>
                <a:gdLst>
                  <a:gd name="T0" fmla="*/ 674 w 703"/>
                  <a:gd name="T1" fmla="*/ 0 h 1690"/>
                  <a:gd name="T2" fmla="*/ 173 w 703"/>
                  <a:gd name="T3" fmla="*/ 0 h 1690"/>
                  <a:gd name="T4" fmla="*/ 0 w 703"/>
                  <a:gd name="T5" fmla="*/ 173 h 1690"/>
                  <a:gd name="T6" fmla="*/ 1 w 703"/>
                  <a:gd name="T7" fmla="*/ 1522 h 1690"/>
                  <a:gd name="T8" fmla="*/ 135 w 703"/>
                  <a:gd name="T9" fmla="*/ 1690 h 1690"/>
                  <a:gd name="T10" fmla="*/ 703 w 703"/>
                  <a:gd name="T11" fmla="*/ 3 h 1690"/>
                  <a:gd name="T12" fmla="*/ 674 w 703"/>
                  <a:gd name="T13" fmla="*/ 0 h 1690"/>
                </a:gdLst>
                <a:ahLst/>
                <a:cxnLst>
                  <a:cxn ang="0">
                    <a:pos x="T0" y="T1"/>
                  </a:cxn>
                  <a:cxn ang="0">
                    <a:pos x="T2" y="T3"/>
                  </a:cxn>
                  <a:cxn ang="0">
                    <a:pos x="T4" y="T5"/>
                  </a:cxn>
                  <a:cxn ang="0">
                    <a:pos x="T6" y="T7"/>
                  </a:cxn>
                  <a:cxn ang="0">
                    <a:pos x="T8" y="T9"/>
                  </a:cxn>
                  <a:cxn ang="0">
                    <a:pos x="T10" y="T11"/>
                  </a:cxn>
                  <a:cxn ang="0">
                    <a:pos x="T12" y="T13"/>
                  </a:cxn>
                </a:cxnLst>
                <a:rect l="0" t="0" r="r" b="b"/>
                <a:pathLst>
                  <a:path w="703" h="1690">
                    <a:moveTo>
                      <a:pt x="674" y="0"/>
                    </a:moveTo>
                    <a:cubicBezTo>
                      <a:pt x="173" y="0"/>
                      <a:pt x="173" y="0"/>
                      <a:pt x="173" y="0"/>
                    </a:cubicBezTo>
                    <a:cubicBezTo>
                      <a:pt x="78" y="0"/>
                      <a:pt x="0" y="78"/>
                      <a:pt x="0" y="173"/>
                    </a:cubicBezTo>
                    <a:cubicBezTo>
                      <a:pt x="1" y="1522"/>
                      <a:pt x="1" y="1522"/>
                      <a:pt x="1" y="1522"/>
                    </a:cubicBezTo>
                    <a:cubicBezTo>
                      <a:pt x="1" y="1603"/>
                      <a:pt x="58" y="1672"/>
                      <a:pt x="135" y="1690"/>
                    </a:cubicBezTo>
                    <a:cubicBezTo>
                      <a:pt x="703" y="3"/>
                      <a:pt x="703" y="3"/>
                      <a:pt x="703" y="3"/>
                    </a:cubicBezTo>
                    <a:cubicBezTo>
                      <a:pt x="694" y="1"/>
                      <a:pt x="684" y="0"/>
                      <a:pt x="674"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76" name="Freeform 38">
                <a:extLst>
                  <a:ext uri="{FF2B5EF4-FFF2-40B4-BE49-F238E27FC236}">
                    <a16:creationId xmlns:a16="http://schemas.microsoft.com/office/drawing/2014/main" id="{CE8144F3-4291-4400-9961-B8FD6E15A004}"/>
                  </a:ext>
                </a:extLst>
              </p:cNvPr>
              <p:cNvSpPr>
                <a:spLocks/>
              </p:cNvSpPr>
              <p:nvPr/>
            </p:nvSpPr>
            <p:spPr bwMode="gray">
              <a:xfrm>
                <a:off x="9867900" y="5853113"/>
                <a:ext cx="296863" cy="295275"/>
              </a:xfrm>
              <a:custGeom>
                <a:avLst/>
                <a:gdLst>
                  <a:gd name="T0" fmla="*/ 69 w 138"/>
                  <a:gd name="T1" fmla="*/ 0 h 137"/>
                  <a:gd name="T2" fmla="*/ 0 w 138"/>
                  <a:gd name="T3" fmla="*/ 69 h 137"/>
                  <a:gd name="T4" fmla="*/ 69 w 138"/>
                  <a:gd name="T5" fmla="*/ 137 h 137"/>
                  <a:gd name="T6" fmla="*/ 137 w 138"/>
                  <a:gd name="T7" fmla="*/ 69 h 137"/>
                  <a:gd name="T8" fmla="*/ 69 w 138"/>
                  <a:gd name="T9" fmla="*/ 0 h 137"/>
                </a:gdLst>
                <a:ahLst/>
                <a:cxnLst>
                  <a:cxn ang="0">
                    <a:pos x="T0" y="T1"/>
                  </a:cxn>
                  <a:cxn ang="0">
                    <a:pos x="T2" y="T3"/>
                  </a:cxn>
                  <a:cxn ang="0">
                    <a:pos x="T4" y="T5"/>
                  </a:cxn>
                  <a:cxn ang="0">
                    <a:pos x="T6" y="T7"/>
                  </a:cxn>
                  <a:cxn ang="0">
                    <a:pos x="T8" y="T9"/>
                  </a:cxn>
                </a:cxnLst>
                <a:rect l="0" t="0" r="r" b="b"/>
                <a:pathLst>
                  <a:path w="138" h="137">
                    <a:moveTo>
                      <a:pt x="69" y="0"/>
                    </a:moveTo>
                    <a:cubicBezTo>
                      <a:pt x="31" y="0"/>
                      <a:pt x="0" y="31"/>
                      <a:pt x="0" y="69"/>
                    </a:cubicBezTo>
                    <a:cubicBezTo>
                      <a:pt x="0" y="107"/>
                      <a:pt x="31" y="137"/>
                      <a:pt x="69" y="137"/>
                    </a:cubicBezTo>
                    <a:cubicBezTo>
                      <a:pt x="107" y="137"/>
                      <a:pt x="138" y="107"/>
                      <a:pt x="137" y="69"/>
                    </a:cubicBezTo>
                    <a:cubicBezTo>
                      <a:pt x="137" y="31"/>
                      <a:pt x="107" y="0"/>
                      <a:pt x="69"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0" fontAlgn="auto" latinLnBrk="0" hangingPunct="0">
                  <a:lnSpc>
                    <a:spcPct val="100000"/>
                  </a:lnSpc>
                  <a:spcBef>
                    <a:spcPct val="0"/>
                  </a:spcBef>
                  <a:spcAft>
                    <a:spcPts val="0"/>
                  </a:spcAft>
                  <a:buClrTx/>
                  <a:buSzTx/>
                  <a:buFontTx/>
                  <a:buNone/>
                  <a:tabLst/>
                  <a:defRPr/>
                </a:pPr>
                <a:endParaRPr kumimoji="0" lang="en-US" sz="2000" b="0" i="0" u="none" strike="noStrike" kern="0" cap="none" spc="0" normalizeH="0" baseline="0" dirty="0">
                  <a:ln>
                    <a:noFill/>
                  </a:ln>
                  <a:solidFill>
                    <a:srgbClr val="000000"/>
                  </a:solidFill>
                  <a:effectLst/>
                  <a:uLnTx/>
                  <a:uFillTx/>
                  <a:latin typeface="DraegerSanBol" pitchFamily="2" charset="0"/>
                  <a:ea typeface="MS PGothic" panose="020B0600070205080204" pitchFamily="34" charset="-128"/>
                </a:endParaRPr>
              </a:p>
            </p:txBody>
          </p:sp>
          <p:sp>
            <p:nvSpPr>
              <p:cNvPr id="178" name="Freeform 40">
                <a:extLst>
                  <a:ext uri="{FF2B5EF4-FFF2-40B4-BE49-F238E27FC236}">
                    <a16:creationId xmlns:a16="http://schemas.microsoft.com/office/drawing/2014/main" id="{C779BC40-A3FC-42D4-914D-A8EC1072A12C}"/>
                  </a:ext>
                </a:extLst>
              </p:cNvPr>
              <p:cNvSpPr>
                <a:spLocks/>
              </p:cNvSpPr>
              <p:nvPr/>
            </p:nvSpPr>
            <p:spPr bwMode="gray">
              <a:xfrm>
                <a:off x="9558337" y="2990850"/>
                <a:ext cx="1233488" cy="2752725"/>
              </a:xfrm>
              <a:custGeom>
                <a:avLst/>
                <a:gdLst>
                  <a:gd name="T0" fmla="*/ 776 w 777"/>
                  <a:gd name="T1" fmla="*/ 0 h 1734"/>
                  <a:gd name="T2" fmla="*/ 586 w 777"/>
                  <a:gd name="T3" fmla="*/ 0 h 1734"/>
                  <a:gd name="T4" fmla="*/ 0 w 777"/>
                  <a:gd name="T5" fmla="*/ 1734 h 1734"/>
                  <a:gd name="T6" fmla="*/ 777 w 777"/>
                  <a:gd name="T7" fmla="*/ 1734 h 1734"/>
                  <a:gd name="T8" fmla="*/ 776 w 777"/>
                  <a:gd name="T9" fmla="*/ 0 h 1734"/>
                </a:gdLst>
                <a:ahLst/>
                <a:cxnLst>
                  <a:cxn ang="0">
                    <a:pos x="T0" y="T1"/>
                  </a:cxn>
                  <a:cxn ang="0">
                    <a:pos x="T2" y="T3"/>
                  </a:cxn>
                  <a:cxn ang="0">
                    <a:pos x="T4" y="T5"/>
                  </a:cxn>
                  <a:cxn ang="0">
                    <a:pos x="T6" y="T7"/>
                  </a:cxn>
                  <a:cxn ang="0">
                    <a:pos x="T8" y="T9"/>
                  </a:cxn>
                </a:cxnLst>
                <a:rect l="0" t="0" r="r" b="b"/>
                <a:pathLst>
                  <a:path w="777" h="1734">
                    <a:moveTo>
                      <a:pt x="776" y="0"/>
                    </a:moveTo>
                    <a:lnTo>
                      <a:pt x="586" y="0"/>
                    </a:lnTo>
                    <a:lnTo>
                      <a:pt x="0" y="1734"/>
                    </a:lnTo>
                    <a:lnTo>
                      <a:pt x="777" y="1734"/>
                    </a:lnTo>
                    <a:lnTo>
                      <a:pt x="776" y="0"/>
                    </a:lnTo>
                    <a:close/>
                  </a:path>
                </a:pathLst>
              </a:custGeom>
              <a:solidFill>
                <a:srgbClr val="E2E2E2"/>
              </a:solid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0" fontAlgn="auto" latinLnBrk="0" hangingPunct="0">
                  <a:lnSpc>
                    <a:spcPct val="100000"/>
                  </a:lnSpc>
                  <a:spcBef>
                    <a:spcPct val="0"/>
                  </a:spcBef>
                  <a:spcAft>
                    <a:spcPts val="0"/>
                  </a:spcAft>
                  <a:buClrTx/>
                  <a:buSzTx/>
                  <a:buFontTx/>
                  <a:buNone/>
                  <a:tabLst/>
                  <a:defRPr/>
                </a:pPr>
                <a:endParaRPr kumimoji="0" lang="en-US" sz="2000" b="0" i="0" u="none" strike="noStrike" kern="0" cap="none" spc="0" normalizeH="0" baseline="0" dirty="0">
                  <a:ln>
                    <a:noFill/>
                  </a:ln>
                  <a:solidFill>
                    <a:srgbClr val="000000"/>
                  </a:solidFill>
                  <a:effectLst/>
                  <a:uLnTx/>
                  <a:uFillTx/>
                  <a:latin typeface="DraegerSanBol" pitchFamily="2" charset="0"/>
                  <a:ea typeface="MS PGothic" panose="020B0600070205080204" pitchFamily="34" charset="-128"/>
                </a:endParaRPr>
              </a:p>
            </p:txBody>
          </p:sp>
          <p:sp>
            <p:nvSpPr>
              <p:cNvPr id="179" name="Freeform 48">
                <a:extLst>
                  <a:ext uri="{FF2B5EF4-FFF2-40B4-BE49-F238E27FC236}">
                    <a16:creationId xmlns:a16="http://schemas.microsoft.com/office/drawing/2014/main" id="{3F3090BC-D63B-4285-AA83-A4C10A69A329}"/>
                  </a:ext>
                </a:extLst>
              </p:cNvPr>
              <p:cNvSpPr>
                <a:spLocks/>
              </p:cNvSpPr>
              <p:nvPr/>
            </p:nvSpPr>
            <p:spPr bwMode="gray">
              <a:xfrm>
                <a:off x="8755062" y="5607050"/>
                <a:ext cx="742950" cy="654050"/>
              </a:xfrm>
              <a:custGeom>
                <a:avLst/>
                <a:gdLst>
                  <a:gd name="T0" fmla="*/ 29 w 346"/>
                  <a:gd name="T1" fmla="*/ 51 h 305"/>
                  <a:gd name="T2" fmla="*/ 29 w 346"/>
                  <a:gd name="T3" fmla="*/ 51 h 305"/>
                  <a:gd name="T4" fmla="*/ 51 w 346"/>
                  <a:gd name="T5" fmla="*/ 178 h 305"/>
                  <a:gd name="T6" fmla="*/ 190 w 346"/>
                  <a:gd name="T7" fmla="*/ 276 h 305"/>
                  <a:gd name="T8" fmla="*/ 317 w 346"/>
                  <a:gd name="T9" fmla="*/ 254 h 305"/>
                  <a:gd name="T10" fmla="*/ 295 w 346"/>
                  <a:gd name="T11" fmla="*/ 127 h 305"/>
                  <a:gd name="T12" fmla="*/ 156 w 346"/>
                  <a:gd name="T13" fmla="*/ 29 h 305"/>
                  <a:gd name="T14" fmla="*/ 29 w 346"/>
                  <a:gd name="T15" fmla="*/ 51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6" h="305">
                    <a:moveTo>
                      <a:pt x="29" y="51"/>
                    </a:moveTo>
                    <a:cubicBezTo>
                      <a:pt x="29" y="51"/>
                      <a:pt x="29" y="51"/>
                      <a:pt x="29" y="51"/>
                    </a:cubicBezTo>
                    <a:cubicBezTo>
                      <a:pt x="0" y="92"/>
                      <a:pt x="10" y="149"/>
                      <a:pt x="51" y="178"/>
                    </a:cubicBezTo>
                    <a:cubicBezTo>
                      <a:pt x="190" y="276"/>
                      <a:pt x="190" y="276"/>
                      <a:pt x="190" y="276"/>
                    </a:cubicBezTo>
                    <a:cubicBezTo>
                      <a:pt x="231" y="305"/>
                      <a:pt x="288" y="295"/>
                      <a:pt x="317" y="254"/>
                    </a:cubicBezTo>
                    <a:cubicBezTo>
                      <a:pt x="346" y="213"/>
                      <a:pt x="336" y="156"/>
                      <a:pt x="295" y="127"/>
                    </a:cubicBezTo>
                    <a:cubicBezTo>
                      <a:pt x="156" y="29"/>
                      <a:pt x="156" y="29"/>
                      <a:pt x="156" y="29"/>
                    </a:cubicBezTo>
                    <a:cubicBezTo>
                      <a:pt x="115" y="0"/>
                      <a:pt x="58" y="10"/>
                      <a:pt x="29" y="51"/>
                    </a:cubicBezTo>
                    <a:close/>
                  </a:path>
                </a:pathLst>
              </a:custGeom>
              <a:solidFill>
                <a:srgbClr val="FFDBB7"/>
              </a:solidFill>
              <a:ln w="6350">
                <a:gradFill>
                  <a:gsLst>
                    <a:gs pos="0">
                      <a:srgbClr val="FFCC99"/>
                    </a:gs>
                    <a:gs pos="100000">
                      <a:srgbClr val="FFDBB7"/>
                    </a:gs>
                  </a:gsLst>
                  <a:lin ang="12000000" scaled="0"/>
                </a:grad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0" fontAlgn="auto" latinLnBrk="0" hangingPunct="0">
                  <a:lnSpc>
                    <a:spcPct val="100000"/>
                  </a:lnSpc>
                  <a:spcBef>
                    <a:spcPct val="0"/>
                  </a:spcBef>
                  <a:spcAft>
                    <a:spcPts val="0"/>
                  </a:spcAft>
                  <a:buClrTx/>
                  <a:buSzTx/>
                  <a:buFontTx/>
                  <a:buNone/>
                  <a:tabLst/>
                  <a:defRPr/>
                </a:pPr>
                <a:endParaRPr kumimoji="0" lang="en-US" sz="2000" b="0" i="0" u="none" strike="noStrike" kern="0" cap="none" spc="0" normalizeH="0" baseline="0" dirty="0">
                  <a:ln>
                    <a:noFill/>
                  </a:ln>
                  <a:solidFill>
                    <a:srgbClr val="000000"/>
                  </a:solidFill>
                  <a:effectLst/>
                  <a:uLnTx/>
                  <a:uFillTx/>
                  <a:latin typeface="DraegerSanBol" pitchFamily="2" charset="0"/>
                  <a:ea typeface="MS PGothic" panose="020B0600070205080204" pitchFamily="34" charset="-128"/>
                </a:endParaRPr>
              </a:p>
            </p:txBody>
          </p:sp>
          <p:sp>
            <p:nvSpPr>
              <p:cNvPr id="180" name="Freeform 50">
                <a:extLst>
                  <a:ext uri="{FF2B5EF4-FFF2-40B4-BE49-F238E27FC236}">
                    <a16:creationId xmlns:a16="http://schemas.microsoft.com/office/drawing/2014/main" id="{3334E693-0478-4591-AB57-DEE46643DB54}"/>
                  </a:ext>
                </a:extLst>
              </p:cNvPr>
              <p:cNvSpPr>
                <a:spLocks/>
              </p:cNvSpPr>
              <p:nvPr/>
            </p:nvSpPr>
            <p:spPr bwMode="gray">
              <a:xfrm>
                <a:off x="8467725" y="4822825"/>
                <a:ext cx="811213" cy="723900"/>
              </a:xfrm>
              <a:custGeom>
                <a:avLst/>
                <a:gdLst>
                  <a:gd name="T0" fmla="*/ 34 w 378"/>
                  <a:gd name="T1" fmla="*/ 60 h 337"/>
                  <a:gd name="T2" fmla="*/ 34 w 378"/>
                  <a:gd name="T3" fmla="*/ 60 h 337"/>
                  <a:gd name="T4" fmla="*/ 60 w 378"/>
                  <a:gd name="T5" fmla="*/ 207 h 337"/>
                  <a:gd name="T6" fmla="*/ 197 w 378"/>
                  <a:gd name="T7" fmla="*/ 304 h 337"/>
                  <a:gd name="T8" fmla="*/ 344 w 378"/>
                  <a:gd name="T9" fmla="*/ 278 h 337"/>
                  <a:gd name="T10" fmla="*/ 319 w 378"/>
                  <a:gd name="T11" fmla="*/ 131 h 337"/>
                  <a:gd name="T12" fmla="*/ 181 w 378"/>
                  <a:gd name="T13" fmla="*/ 34 h 337"/>
                  <a:gd name="T14" fmla="*/ 34 w 378"/>
                  <a:gd name="T15" fmla="*/ 60 h 3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8" h="337">
                    <a:moveTo>
                      <a:pt x="34" y="60"/>
                    </a:moveTo>
                    <a:cubicBezTo>
                      <a:pt x="34" y="60"/>
                      <a:pt x="34" y="60"/>
                      <a:pt x="34" y="60"/>
                    </a:cubicBezTo>
                    <a:cubicBezTo>
                      <a:pt x="0" y="107"/>
                      <a:pt x="12" y="174"/>
                      <a:pt x="60" y="207"/>
                    </a:cubicBezTo>
                    <a:cubicBezTo>
                      <a:pt x="197" y="304"/>
                      <a:pt x="197" y="304"/>
                      <a:pt x="197" y="304"/>
                    </a:cubicBezTo>
                    <a:cubicBezTo>
                      <a:pt x="245" y="337"/>
                      <a:pt x="311" y="326"/>
                      <a:pt x="344" y="278"/>
                    </a:cubicBezTo>
                    <a:cubicBezTo>
                      <a:pt x="378" y="231"/>
                      <a:pt x="366" y="164"/>
                      <a:pt x="319" y="131"/>
                    </a:cubicBezTo>
                    <a:cubicBezTo>
                      <a:pt x="181" y="34"/>
                      <a:pt x="181" y="34"/>
                      <a:pt x="181" y="34"/>
                    </a:cubicBezTo>
                    <a:cubicBezTo>
                      <a:pt x="134" y="0"/>
                      <a:pt x="67" y="12"/>
                      <a:pt x="34" y="60"/>
                    </a:cubicBezTo>
                    <a:close/>
                  </a:path>
                </a:pathLst>
              </a:custGeom>
              <a:solidFill>
                <a:srgbClr val="FFDBB7"/>
              </a:solidFill>
              <a:ln w="6350">
                <a:gradFill>
                  <a:gsLst>
                    <a:gs pos="0">
                      <a:srgbClr val="FFCC99"/>
                    </a:gs>
                    <a:gs pos="100000">
                      <a:srgbClr val="FFDBB7"/>
                    </a:gs>
                  </a:gsLst>
                  <a:lin ang="12000000" scaled="0"/>
                </a:grad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0" fontAlgn="auto" latinLnBrk="0" hangingPunct="0">
                  <a:lnSpc>
                    <a:spcPct val="100000"/>
                  </a:lnSpc>
                  <a:spcBef>
                    <a:spcPct val="0"/>
                  </a:spcBef>
                  <a:spcAft>
                    <a:spcPts val="0"/>
                  </a:spcAft>
                  <a:buClrTx/>
                  <a:buSzTx/>
                  <a:buFontTx/>
                  <a:buNone/>
                  <a:tabLst/>
                  <a:defRPr/>
                </a:pPr>
                <a:endParaRPr kumimoji="0" lang="en-US" sz="2000" b="0" i="0" u="none" strike="noStrike" kern="0" cap="none" spc="0" normalizeH="0" baseline="0" dirty="0">
                  <a:ln>
                    <a:noFill/>
                  </a:ln>
                  <a:solidFill>
                    <a:srgbClr val="000000"/>
                  </a:solidFill>
                  <a:effectLst/>
                  <a:uLnTx/>
                  <a:uFillTx/>
                  <a:latin typeface="DraegerSanBol" pitchFamily="2" charset="0"/>
                  <a:ea typeface="MS PGothic" panose="020B0600070205080204" pitchFamily="34" charset="-128"/>
                </a:endParaRPr>
              </a:p>
            </p:txBody>
          </p:sp>
          <p:sp>
            <p:nvSpPr>
              <p:cNvPr id="181" name="Freeform 52">
                <a:extLst>
                  <a:ext uri="{FF2B5EF4-FFF2-40B4-BE49-F238E27FC236}">
                    <a16:creationId xmlns:a16="http://schemas.microsoft.com/office/drawing/2014/main" id="{08864B72-7BF5-4EB7-B72E-4C864528E188}"/>
                  </a:ext>
                </a:extLst>
              </p:cNvPr>
              <p:cNvSpPr>
                <a:spLocks/>
              </p:cNvSpPr>
              <p:nvPr/>
            </p:nvSpPr>
            <p:spPr bwMode="gray">
              <a:xfrm>
                <a:off x="9680575" y="2754313"/>
                <a:ext cx="665163" cy="60325"/>
              </a:xfrm>
              <a:custGeom>
                <a:avLst/>
                <a:gdLst>
                  <a:gd name="T0" fmla="*/ 14 w 309"/>
                  <a:gd name="T1" fmla="*/ 28 h 28"/>
                  <a:gd name="T2" fmla="*/ 295 w 309"/>
                  <a:gd name="T3" fmla="*/ 28 h 28"/>
                  <a:gd name="T4" fmla="*/ 309 w 309"/>
                  <a:gd name="T5" fmla="*/ 15 h 28"/>
                  <a:gd name="T6" fmla="*/ 309 w 309"/>
                  <a:gd name="T7" fmla="*/ 15 h 28"/>
                  <a:gd name="T8" fmla="*/ 295 w 309"/>
                  <a:gd name="T9" fmla="*/ 1 h 28"/>
                  <a:gd name="T10" fmla="*/ 14 w 309"/>
                  <a:gd name="T11" fmla="*/ 0 h 28"/>
                  <a:gd name="T12" fmla="*/ 0 w 309"/>
                  <a:gd name="T13" fmla="*/ 14 h 28"/>
                  <a:gd name="T14" fmla="*/ 14 w 309"/>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28">
                    <a:moveTo>
                      <a:pt x="14" y="28"/>
                    </a:moveTo>
                    <a:cubicBezTo>
                      <a:pt x="295" y="28"/>
                      <a:pt x="295" y="28"/>
                      <a:pt x="295" y="28"/>
                    </a:cubicBezTo>
                    <a:cubicBezTo>
                      <a:pt x="302" y="28"/>
                      <a:pt x="309" y="22"/>
                      <a:pt x="309" y="15"/>
                    </a:cubicBezTo>
                    <a:cubicBezTo>
                      <a:pt x="309" y="15"/>
                      <a:pt x="309" y="15"/>
                      <a:pt x="309" y="15"/>
                    </a:cubicBezTo>
                    <a:cubicBezTo>
                      <a:pt x="309" y="7"/>
                      <a:pt x="302" y="1"/>
                      <a:pt x="295" y="1"/>
                    </a:cubicBezTo>
                    <a:cubicBezTo>
                      <a:pt x="14" y="0"/>
                      <a:pt x="14" y="0"/>
                      <a:pt x="14" y="0"/>
                    </a:cubicBezTo>
                    <a:cubicBezTo>
                      <a:pt x="7" y="0"/>
                      <a:pt x="0" y="7"/>
                      <a:pt x="0" y="14"/>
                    </a:cubicBezTo>
                    <a:cubicBezTo>
                      <a:pt x="0" y="22"/>
                      <a:pt x="7" y="28"/>
                      <a:pt x="14" y="28"/>
                    </a:cubicBezTo>
                    <a:close/>
                  </a:path>
                </a:pathLst>
              </a:custGeom>
              <a:solidFill>
                <a:srgbClr val="7979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0" fontAlgn="auto" latinLnBrk="0" hangingPunct="0">
                  <a:lnSpc>
                    <a:spcPct val="100000"/>
                  </a:lnSpc>
                  <a:spcBef>
                    <a:spcPct val="0"/>
                  </a:spcBef>
                  <a:spcAft>
                    <a:spcPts val="0"/>
                  </a:spcAft>
                  <a:buClrTx/>
                  <a:buSzTx/>
                  <a:buFontTx/>
                  <a:buNone/>
                  <a:tabLst/>
                  <a:defRPr/>
                </a:pPr>
                <a:endParaRPr kumimoji="0" lang="en-US" sz="2000" b="0" i="0" u="none" strike="noStrike" kern="0" cap="none" spc="0" normalizeH="0" baseline="0" dirty="0">
                  <a:ln>
                    <a:noFill/>
                  </a:ln>
                  <a:solidFill>
                    <a:srgbClr val="000000"/>
                  </a:solidFill>
                  <a:effectLst/>
                  <a:uLnTx/>
                  <a:uFillTx/>
                  <a:latin typeface="DraegerSanBol" pitchFamily="2" charset="0"/>
                  <a:ea typeface="MS PGothic" panose="020B0600070205080204" pitchFamily="34" charset="-128"/>
                </a:endParaRPr>
              </a:p>
            </p:txBody>
          </p:sp>
        </p:grpSp>
      </p:grpSp>
      <p:sp>
        <p:nvSpPr>
          <p:cNvPr id="5" name="Rechteck 4">
            <a:extLst>
              <a:ext uri="{FF2B5EF4-FFF2-40B4-BE49-F238E27FC236}">
                <a16:creationId xmlns:a16="http://schemas.microsoft.com/office/drawing/2014/main" id="{2520DEDC-FE14-454A-AEE0-5FE024F477C2}"/>
              </a:ext>
            </a:extLst>
          </p:cNvPr>
          <p:cNvSpPr/>
          <p:nvPr/>
        </p:nvSpPr>
        <p:spPr bwMode="gray">
          <a:xfrm>
            <a:off x="7608168" y="1412776"/>
            <a:ext cx="2144777" cy="3891446"/>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Insert smartphone screenshot and place thumb in the foreground</a:t>
            </a:r>
          </a:p>
        </p:txBody>
      </p:sp>
      <p:sp>
        <p:nvSpPr>
          <p:cNvPr id="183" name="Freeform 41">
            <a:extLst>
              <a:ext uri="{FF2B5EF4-FFF2-40B4-BE49-F238E27FC236}">
                <a16:creationId xmlns:a16="http://schemas.microsoft.com/office/drawing/2014/main" id="{F4DD651B-824A-46BE-8DEA-3A5B8E015E5C}"/>
              </a:ext>
            </a:extLst>
          </p:cNvPr>
          <p:cNvSpPr>
            <a:spLocks/>
          </p:cNvSpPr>
          <p:nvPr/>
        </p:nvSpPr>
        <p:spPr bwMode="gray">
          <a:xfrm>
            <a:off x="9324653" y="3524702"/>
            <a:ext cx="1630299" cy="1273949"/>
          </a:xfrm>
          <a:custGeom>
            <a:avLst/>
            <a:gdLst>
              <a:gd name="T0" fmla="*/ 519 w 541"/>
              <a:gd name="T1" fmla="*/ 349 h 423"/>
              <a:gd name="T2" fmla="*/ 494 w 541"/>
              <a:gd name="T3" fmla="*/ 423 h 423"/>
              <a:gd name="T4" fmla="*/ 406 w 541"/>
              <a:gd name="T5" fmla="*/ 384 h 423"/>
              <a:gd name="T6" fmla="*/ 137 w 541"/>
              <a:gd name="T7" fmla="*/ 268 h 423"/>
              <a:gd name="T8" fmla="*/ 29 w 541"/>
              <a:gd name="T9" fmla="*/ 18 h 423"/>
              <a:gd name="T10" fmla="*/ 56 w 541"/>
              <a:gd name="T11" fmla="*/ 6 h 423"/>
              <a:gd name="T12" fmla="*/ 432 w 541"/>
              <a:gd name="T13" fmla="*/ 169 h 423"/>
              <a:gd name="T14" fmla="*/ 519 w 541"/>
              <a:gd name="T15" fmla="*/ 349 h 4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1" h="423">
                <a:moveTo>
                  <a:pt x="519" y="349"/>
                </a:moveTo>
                <a:cubicBezTo>
                  <a:pt x="494" y="423"/>
                  <a:pt x="494" y="423"/>
                  <a:pt x="494" y="423"/>
                </a:cubicBezTo>
                <a:cubicBezTo>
                  <a:pt x="406" y="384"/>
                  <a:pt x="406" y="384"/>
                  <a:pt x="406" y="384"/>
                </a:cubicBezTo>
                <a:cubicBezTo>
                  <a:pt x="137" y="268"/>
                  <a:pt x="137" y="268"/>
                  <a:pt x="137" y="268"/>
                </a:cubicBezTo>
                <a:cubicBezTo>
                  <a:pt x="0" y="208"/>
                  <a:pt x="0" y="108"/>
                  <a:pt x="29" y="18"/>
                </a:cubicBezTo>
                <a:cubicBezTo>
                  <a:pt x="33" y="5"/>
                  <a:pt x="44" y="0"/>
                  <a:pt x="56" y="6"/>
                </a:cubicBezTo>
                <a:cubicBezTo>
                  <a:pt x="432" y="169"/>
                  <a:pt x="432" y="169"/>
                  <a:pt x="432" y="169"/>
                </a:cubicBezTo>
                <a:cubicBezTo>
                  <a:pt x="502" y="199"/>
                  <a:pt x="541" y="281"/>
                  <a:pt x="519" y="349"/>
                </a:cubicBezTo>
                <a:close/>
              </a:path>
            </a:pathLst>
          </a:custGeom>
          <a:solidFill>
            <a:srgbClr val="FFDBB7"/>
          </a:solid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0" fontAlgn="auto" latinLnBrk="0" hangingPunct="0">
              <a:lnSpc>
                <a:spcPct val="100000"/>
              </a:lnSpc>
              <a:spcBef>
                <a:spcPct val="0"/>
              </a:spcBef>
              <a:spcAft>
                <a:spcPts val="0"/>
              </a:spcAft>
              <a:buClrTx/>
              <a:buSzTx/>
              <a:buFontTx/>
              <a:buNone/>
              <a:tabLst/>
              <a:defRPr/>
            </a:pPr>
            <a:endParaRPr kumimoji="0" lang="en-US" sz="2000" b="0" i="0" u="none" strike="noStrike" kern="0" cap="none" spc="0" normalizeH="0" baseline="0" dirty="0">
              <a:ln>
                <a:noFill/>
              </a:ln>
              <a:solidFill>
                <a:srgbClr val="000000"/>
              </a:solidFill>
              <a:effectLst/>
              <a:uLnTx/>
              <a:uFillTx/>
              <a:latin typeface="DraegerSanBol" pitchFamily="2" charset="0"/>
              <a:ea typeface="MS PGothic" panose="020B0600070205080204" pitchFamily="34" charset="-128"/>
            </a:endParaRPr>
          </a:p>
        </p:txBody>
      </p:sp>
      <p:grpSp>
        <p:nvGrpSpPr>
          <p:cNvPr id="6" name="Gruppieren 5">
            <a:extLst>
              <a:ext uri="{FF2B5EF4-FFF2-40B4-BE49-F238E27FC236}">
                <a16:creationId xmlns:a16="http://schemas.microsoft.com/office/drawing/2014/main" id="{1B02A3A3-2EC0-4368-9A99-3E92E71373AF}"/>
              </a:ext>
            </a:extLst>
          </p:cNvPr>
          <p:cNvGrpSpPr/>
          <p:nvPr/>
        </p:nvGrpSpPr>
        <p:grpSpPr bwMode="gray">
          <a:xfrm>
            <a:off x="10217133" y="599742"/>
            <a:ext cx="1475637" cy="1482052"/>
            <a:chOff x="-3629113" y="-2142260"/>
            <a:chExt cx="454767" cy="456744"/>
          </a:xfrm>
        </p:grpSpPr>
        <p:sp>
          <p:nvSpPr>
            <p:cNvPr id="226" name="Oval 241">
              <a:extLst>
                <a:ext uri="{FF2B5EF4-FFF2-40B4-BE49-F238E27FC236}">
                  <a16:creationId xmlns:a16="http://schemas.microsoft.com/office/drawing/2014/main" id="{1FE9CF33-7CA1-4CE8-9171-CE82F859B503}"/>
                </a:ext>
              </a:extLst>
            </p:cNvPr>
            <p:cNvSpPr>
              <a:spLocks noChangeArrowheads="1"/>
            </p:cNvSpPr>
            <p:nvPr/>
          </p:nvSpPr>
          <p:spPr bwMode="gray">
            <a:xfrm>
              <a:off x="-3629113" y="-2142260"/>
              <a:ext cx="454767" cy="456744"/>
            </a:xfrm>
            <a:prstGeom prst="ellipse">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7" name="Oval 242">
              <a:extLst>
                <a:ext uri="{FF2B5EF4-FFF2-40B4-BE49-F238E27FC236}">
                  <a16:creationId xmlns:a16="http://schemas.microsoft.com/office/drawing/2014/main" id="{25496B07-F1EC-4945-A442-87F749E2E536}"/>
                </a:ext>
              </a:extLst>
            </p:cNvPr>
            <p:cNvSpPr>
              <a:spLocks noChangeArrowheads="1"/>
            </p:cNvSpPr>
            <p:nvPr/>
          </p:nvSpPr>
          <p:spPr bwMode="gray">
            <a:xfrm>
              <a:off x="-3589568" y="-2099749"/>
              <a:ext cx="375677" cy="372711"/>
            </a:xfrm>
            <a:prstGeom prst="ellipse">
              <a:avLst/>
            </a:prstGeom>
            <a:solidFill>
              <a:srgbClr val="D9D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8" name="Oval 243">
              <a:extLst>
                <a:ext uri="{FF2B5EF4-FFF2-40B4-BE49-F238E27FC236}">
                  <a16:creationId xmlns:a16="http://schemas.microsoft.com/office/drawing/2014/main" id="{6382287B-3D79-4A45-9695-067FAC0CE590}"/>
                </a:ext>
              </a:extLst>
            </p:cNvPr>
            <p:cNvSpPr>
              <a:spLocks noChangeArrowheads="1"/>
            </p:cNvSpPr>
            <p:nvPr/>
          </p:nvSpPr>
          <p:spPr bwMode="gray">
            <a:xfrm>
              <a:off x="-3579682" y="-2092829"/>
              <a:ext cx="356893" cy="35887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9" name="Oval 244">
              <a:extLst>
                <a:ext uri="{FF2B5EF4-FFF2-40B4-BE49-F238E27FC236}">
                  <a16:creationId xmlns:a16="http://schemas.microsoft.com/office/drawing/2014/main" id="{FA3B69BD-723C-4307-95EE-A194ACEF19AB}"/>
                </a:ext>
              </a:extLst>
            </p:cNvPr>
            <p:cNvSpPr>
              <a:spLocks noChangeArrowheads="1"/>
            </p:cNvSpPr>
            <p:nvPr/>
          </p:nvSpPr>
          <p:spPr bwMode="gray">
            <a:xfrm>
              <a:off x="-3404695" y="-2081954"/>
              <a:ext cx="8898" cy="9886"/>
            </a:xfrm>
            <a:prstGeom prst="ellipse">
              <a:avLst/>
            </a:prstGeom>
            <a:solidFill>
              <a:srgbClr val="35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0" name="Freeform 245">
              <a:extLst>
                <a:ext uri="{FF2B5EF4-FFF2-40B4-BE49-F238E27FC236}">
                  <a16:creationId xmlns:a16="http://schemas.microsoft.com/office/drawing/2014/main" id="{AC197D7B-1DD2-4C59-BFAD-FBC88E11D632}"/>
                </a:ext>
              </a:extLst>
            </p:cNvPr>
            <p:cNvSpPr>
              <a:spLocks/>
            </p:cNvSpPr>
            <p:nvPr/>
          </p:nvSpPr>
          <p:spPr bwMode="gray">
            <a:xfrm>
              <a:off x="-3488729" y="-2060204"/>
              <a:ext cx="11863" cy="8897"/>
            </a:xfrm>
            <a:custGeom>
              <a:avLst/>
              <a:gdLst>
                <a:gd name="T0" fmla="*/ 4 w 5"/>
                <a:gd name="T1" fmla="*/ 1 h 4"/>
                <a:gd name="T2" fmla="*/ 3 w 5"/>
                <a:gd name="T3" fmla="*/ 4 h 4"/>
                <a:gd name="T4" fmla="*/ 1 w 5"/>
                <a:gd name="T5" fmla="*/ 3 h 4"/>
                <a:gd name="T6" fmla="*/ 1 w 5"/>
                <a:gd name="T7" fmla="*/ 0 h 4"/>
                <a:gd name="T8" fmla="*/ 4 w 5"/>
                <a:gd name="T9" fmla="*/ 1 h 4"/>
              </a:gdLst>
              <a:ahLst/>
              <a:cxnLst>
                <a:cxn ang="0">
                  <a:pos x="T0" y="T1"/>
                </a:cxn>
                <a:cxn ang="0">
                  <a:pos x="T2" y="T3"/>
                </a:cxn>
                <a:cxn ang="0">
                  <a:pos x="T4" y="T5"/>
                </a:cxn>
                <a:cxn ang="0">
                  <a:pos x="T6" y="T7"/>
                </a:cxn>
                <a:cxn ang="0">
                  <a:pos x="T8" y="T9"/>
                </a:cxn>
              </a:cxnLst>
              <a:rect l="0" t="0" r="r" b="b"/>
              <a:pathLst>
                <a:path w="5" h="4">
                  <a:moveTo>
                    <a:pt x="4" y="1"/>
                  </a:moveTo>
                  <a:cubicBezTo>
                    <a:pt x="5" y="2"/>
                    <a:pt x="4" y="3"/>
                    <a:pt x="3" y="4"/>
                  </a:cubicBezTo>
                  <a:cubicBezTo>
                    <a:pt x="2" y="4"/>
                    <a:pt x="1" y="4"/>
                    <a:pt x="1" y="3"/>
                  </a:cubicBezTo>
                  <a:cubicBezTo>
                    <a:pt x="0" y="2"/>
                    <a:pt x="1" y="1"/>
                    <a:pt x="1" y="0"/>
                  </a:cubicBezTo>
                  <a:cubicBezTo>
                    <a:pt x="2" y="0"/>
                    <a:pt x="4" y="0"/>
                    <a:pt x="4" y="1"/>
                  </a:cubicBezTo>
                  <a:close/>
                </a:path>
              </a:pathLst>
            </a:custGeom>
            <a:solidFill>
              <a:srgbClr val="35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1" name="Freeform 246">
              <a:extLst>
                <a:ext uri="{FF2B5EF4-FFF2-40B4-BE49-F238E27FC236}">
                  <a16:creationId xmlns:a16="http://schemas.microsoft.com/office/drawing/2014/main" id="{2A86D853-09DE-4DE7-8A0C-5D526620C024}"/>
                </a:ext>
              </a:extLst>
            </p:cNvPr>
            <p:cNvSpPr>
              <a:spLocks/>
            </p:cNvSpPr>
            <p:nvPr/>
          </p:nvSpPr>
          <p:spPr bwMode="gray">
            <a:xfrm>
              <a:off x="-3550023" y="-1999899"/>
              <a:ext cx="11863" cy="8897"/>
            </a:xfrm>
            <a:custGeom>
              <a:avLst/>
              <a:gdLst>
                <a:gd name="T0" fmla="*/ 4 w 5"/>
                <a:gd name="T1" fmla="*/ 0 h 4"/>
                <a:gd name="T2" fmla="*/ 4 w 5"/>
                <a:gd name="T3" fmla="*/ 3 h 4"/>
                <a:gd name="T4" fmla="*/ 2 w 5"/>
                <a:gd name="T5" fmla="*/ 4 h 4"/>
                <a:gd name="T6" fmla="*/ 1 w 5"/>
                <a:gd name="T7" fmla="*/ 1 h 4"/>
                <a:gd name="T8" fmla="*/ 4 w 5"/>
                <a:gd name="T9" fmla="*/ 0 h 4"/>
              </a:gdLst>
              <a:ahLst/>
              <a:cxnLst>
                <a:cxn ang="0">
                  <a:pos x="T0" y="T1"/>
                </a:cxn>
                <a:cxn ang="0">
                  <a:pos x="T2" y="T3"/>
                </a:cxn>
                <a:cxn ang="0">
                  <a:pos x="T4" y="T5"/>
                </a:cxn>
                <a:cxn ang="0">
                  <a:pos x="T6" y="T7"/>
                </a:cxn>
                <a:cxn ang="0">
                  <a:pos x="T8" y="T9"/>
                </a:cxn>
              </a:cxnLst>
              <a:rect l="0" t="0" r="r" b="b"/>
              <a:pathLst>
                <a:path w="5" h="4">
                  <a:moveTo>
                    <a:pt x="4" y="0"/>
                  </a:moveTo>
                  <a:cubicBezTo>
                    <a:pt x="5" y="1"/>
                    <a:pt x="5" y="2"/>
                    <a:pt x="4" y="3"/>
                  </a:cubicBezTo>
                  <a:cubicBezTo>
                    <a:pt x="4" y="4"/>
                    <a:pt x="3" y="4"/>
                    <a:pt x="2" y="4"/>
                  </a:cubicBezTo>
                  <a:cubicBezTo>
                    <a:pt x="1" y="3"/>
                    <a:pt x="0" y="2"/>
                    <a:pt x="1" y="1"/>
                  </a:cubicBezTo>
                  <a:cubicBezTo>
                    <a:pt x="2" y="0"/>
                    <a:pt x="3" y="0"/>
                    <a:pt x="4" y="0"/>
                  </a:cubicBezTo>
                  <a:close/>
                </a:path>
              </a:pathLst>
            </a:custGeom>
            <a:solidFill>
              <a:srgbClr val="35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2" name="Oval 247">
              <a:extLst>
                <a:ext uri="{FF2B5EF4-FFF2-40B4-BE49-F238E27FC236}">
                  <a16:creationId xmlns:a16="http://schemas.microsoft.com/office/drawing/2014/main" id="{3806BCB9-35E0-4AB2-915A-73D851CF3492}"/>
                </a:ext>
              </a:extLst>
            </p:cNvPr>
            <p:cNvSpPr>
              <a:spLocks noChangeArrowheads="1"/>
            </p:cNvSpPr>
            <p:nvPr/>
          </p:nvSpPr>
          <p:spPr bwMode="gray">
            <a:xfrm>
              <a:off x="-3570784" y="-1917843"/>
              <a:ext cx="9886" cy="8897"/>
            </a:xfrm>
            <a:prstGeom prst="ellipse">
              <a:avLst/>
            </a:prstGeom>
            <a:solidFill>
              <a:srgbClr val="35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3" name="Freeform 248">
              <a:extLst>
                <a:ext uri="{FF2B5EF4-FFF2-40B4-BE49-F238E27FC236}">
                  <a16:creationId xmlns:a16="http://schemas.microsoft.com/office/drawing/2014/main" id="{9F2D7950-0244-45D3-BBD8-FC1FEA6D2C19}"/>
                </a:ext>
              </a:extLst>
            </p:cNvPr>
            <p:cNvSpPr>
              <a:spLocks/>
            </p:cNvSpPr>
            <p:nvPr/>
          </p:nvSpPr>
          <p:spPr bwMode="gray">
            <a:xfrm>
              <a:off x="-3550023" y="-1836775"/>
              <a:ext cx="11863" cy="8897"/>
            </a:xfrm>
            <a:custGeom>
              <a:avLst/>
              <a:gdLst>
                <a:gd name="T0" fmla="*/ 2 w 5"/>
                <a:gd name="T1" fmla="*/ 0 h 4"/>
                <a:gd name="T2" fmla="*/ 4 w 5"/>
                <a:gd name="T3" fmla="*/ 1 h 4"/>
                <a:gd name="T4" fmla="*/ 4 w 5"/>
                <a:gd name="T5" fmla="*/ 4 h 4"/>
                <a:gd name="T6" fmla="*/ 1 w 5"/>
                <a:gd name="T7" fmla="*/ 3 h 4"/>
                <a:gd name="T8" fmla="*/ 2 w 5"/>
                <a:gd name="T9" fmla="*/ 0 h 4"/>
              </a:gdLst>
              <a:ahLst/>
              <a:cxnLst>
                <a:cxn ang="0">
                  <a:pos x="T0" y="T1"/>
                </a:cxn>
                <a:cxn ang="0">
                  <a:pos x="T2" y="T3"/>
                </a:cxn>
                <a:cxn ang="0">
                  <a:pos x="T4" y="T5"/>
                </a:cxn>
                <a:cxn ang="0">
                  <a:pos x="T6" y="T7"/>
                </a:cxn>
                <a:cxn ang="0">
                  <a:pos x="T8" y="T9"/>
                </a:cxn>
              </a:cxnLst>
              <a:rect l="0" t="0" r="r" b="b"/>
              <a:pathLst>
                <a:path w="5" h="4">
                  <a:moveTo>
                    <a:pt x="2" y="0"/>
                  </a:moveTo>
                  <a:cubicBezTo>
                    <a:pt x="3" y="0"/>
                    <a:pt x="4" y="0"/>
                    <a:pt x="4" y="1"/>
                  </a:cubicBezTo>
                  <a:cubicBezTo>
                    <a:pt x="5" y="2"/>
                    <a:pt x="5" y="3"/>
                    <a:pt x="4" y="4"/>
                  </a:cubicBezTo>
                  <a:cubicBezTo>
                    <a:pt x="3" y="4"/>
                    <a:pt x="2" y="4"/>
                    <a:pt x="1" y="3"/>
                  </a:cubicBezTo>
                  <a:cubicBezTo>
                    <a:pt x="0" y="2"/>
                    <a:pt x="1" y="1"/>
                    <a:pt x="2" y="0"/>
                  </a:cubicBezTo>
                  <a:close/>
                </a:path>
              </a:pathLst>
            </a:custGeom>
            <a:solidFill>
              <a:srgbClr val="35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 name="Freeform 249">
              <a:extLst>
                <a:ext uri="{FF2B5EF4-FFF2-40B4-BE49-F238E27FC236}">
                  <a16:creationId xmlns:a16="http://schemas.microsoft.com/office/drawing/2014/main" id="{B915E2FB-7870-4A88-BEE6-7EA25BA6B634}"/>
                </a:ext>
              </a:extLst>
            </p:cNvPr>
            <p:cNvSpPr>
              <a:spLocks/>
            </p:cNvSpPr>
            <p:nvPr/>
          </p:nvSpPr>
          <p:spPr bwMode="gray">
            <a:xfrm>
              <a:off x="-3488729" y="-1778447"/>
              <a:ext cx="11863" cy="11863"/>
            </a:xfrm>
            <a:custGeom>
              <a:avLst/>
              <a:gdLst>
                <a:gd name="T0" fmla="*/ 1 w 5"/>
                <a:gd name="T1" fmla="*/ 2 h 5"/>
                <a:gd name="T2" fmla="*/ 3 w 5"/>
                <a:gd name="T3" fmla="*/ 1 h 5"/>
                <a:gd name="T4" fmla="*/ 4 w 5"/>
                <a:gd name="T5" fmla="*/ 4 h 5"/>
                <a:gd name="T6" fmla="*/ 1 w 5"/>
                <a:gd name="T7" fmla="*/ 4 h 5"/>
                <a:gd name="T8" fmla="*/ 1 w 5"/>
                <a:gd name="T9" fmla="*/ 2 h 5"/>
              </a:gdLst>
              <a:ahLst/>
              <a:cxnLst>
                <a:cxn ang="0">
                  <a:pos x="T0" y="T1"/>
                </a:cxn>
                <a:cxn ang="0">
                  <a:pos x="T2" y="T3"/>
                </a:cxn>
                <a:cxn ang="0">
                  <a:pos x="T4" y="T5"/>
                </a:cxn>
                <a:cxn ang="0">
                  <a:pos x="T6" y="T7"/>
                </a:cxn>
                <a:cxn ang="0">
                  <a:pos x="T8" y="T9"/>
                </a:cxn>
              </a:cxnLst>
              <a:rect l="0" t="0" r="r" b="b"/>
              <a:pathLst>
                <a:path w="5" h="5">
                  <a:moveTo>
                    <a:pt x="1" y="2"/>
                  </a:moveTo>
                  <a:cubicBezTo>
                    <a:pt x="1" y="1"/>
                    <a:pt x="2" y="0"/>
                    <a:pt x="3" y="1"/>
                  </a:cubicBezTo>
                  <a:cubicBezTo>
                    <a:pt x="4" y="2"/>
                    <a:pt x="5" y="3"/>
                    <a:pt x="4" y="4"/>
                  </a:cubicBezTo>
                  <a:cubicBezTo>
                    <a:pt x="4" y="5"/>
                    <a:pt x="2" y="5"/>
                    <a:pt x="1" y="4"/>
                  </a:cubicBezTo>
                  <a:cubicBezTo>
                    <a:pt x="1" y="4"/>
                    <a:pt x="0" y="3"/>
                    <a:pt x="1" y="2"/>
                  </a:cubicBezTo>
                  <a:close/>
                </a:path>
              </a:pathLst>
            </a:custGeom>
            <a:solidFill>
              <a:srgbClr val="35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5" name="Oval 250">
              <a:extLst>
                <a:ext uri="{FF2B5EF4-FFF2-40B4-BE49-F238E27FC236}">
                  <a16:creationId xmlns:a16="http://schemas.microsoft.com/office/drawing/2014/main" id="{F726BACA-66A0-4A91-A617-941FF3571C3B}"/>
                </a:ext>
              </a:extLst>
            </p:cNvPr>
            <p:cNvSpPr>
              <a:spLocks noChangeArrowheads="1"/>
            </p:cNvSpPr>
            <p:nvPr/>
          </p:nvSpPr>
          <p:spPr bwMode="gray">
            <a:xfrm>
              <a:off x="-3404695" y="-1754720"/>
              <a:ext cx="8898" cy="8897"/>
            </a:xfrm>
            <a:prstGeom prst="ellipse">
              <a:avLst/>
            </a:prstGeom>
            <a:solidFill>
              <a:srgbClr val="35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 name="Freeform 251">
              <a:extLst>
                <a:ext uri="{FF2B5EF4-FFF2-40B4-BE49-F238E27FC236}">
                  <a16:creationId xmlns:a16="http://schemas.microsoft.com/office/drawing/2014/main" id="{32DD78DD-BAC5-4393-A541-0FBF0D0B5DDC}"/>
                </a:ext>
              </a:extLst>
            </p:cNvPr>
            <p:cNvSpPr>
              <a:spLocks/>
            </p:cNvSpPr>
            <p:nvPr/>
          </p:nvSpPr>
          <p:spPr bwMode="gray">
            <a:xfrm>
              <a:off x="-3325605" y="-1778447"/>
              <a:ext cx="11863" cy="11863"/>
            </a:xfrm>
            <a:custGeom>
              <a:avLst/>
              <a:gdLst>
                <a:gd name="T0" fmla="*/ 1 w 5"/>
                <a:gd name="T1" fmla="*/ 4 h 5"/>
                <a:gd name="T2" fmla="*/ 2 w 5"/>
                <a:gd name="T3" fmla="*/ 1 h 5"/>
                <a:gd name="T4" fmla="*/ 4 w 5"/>
                <a:gd name="T5" fmla="*/ 2 h 5"/>
                <a:gd name="T6" fmla="*/ 4 w 5"/>
                <a:gd name="T7" fmla="*/ 4 h 5"/>
                <a:gd name="T8" fmla="*/ 1 w 5"/>
                <a:gd name="T9" fmla="*/ 4 h 5"/>
              </a:gdLst>
              <a:ahLst/>
              <a:cxnLst>
                <a:cxn ang="0">
                  <a:pos x="T0" y="T1"/>
                </a:cxn>
                <a:cxn ang="0">
                  <a:pos x="T2" y="T3"/>
                </a:cxn>
                <a:cxn ang="0">
                  <a:pos x="T4" y="T5"/>
                </a:cxn>
                <a:cxn ang="0">
                  <a:pos x="T6" y="T7"/>
                </a:cxn>
                <a:cxn ang="0">
                  <a:pos x="T8" y="T9"/>
                </a:cxn>
              </a:cxnLst>
              <a:rect l="0" t="0" r="r" b="b"/>
              <a:pathLst>
                <a:path w="5" h="5">
                  <a:moveTo>
                    <a:pt x="1" y="4"/>
                  </a:moveTo>
                  <a:cubicBezTo>
                    <a:pt x="0" y="3"/>
                    <a:pt x="1" y="2"/>
                    <a:pt x="2" y="1"/>
                  </a:cubicBezTo>
                  <a:cubicBezTo>
                    <a:pt x="3" y="0"/>
                    <a:pt x="4" y="1"/>
                    <a:pt x="4" y="2"/>
                  </a:cubicBezTo>
                  <a:cubicBezTo>
                    <a:pt x="5" y="3"/>
                    <a:pt x="5" y="4"/>
                    <a:pt x="4" y="4"/>
                  </a:cubicBezTo>
                  <a:cubicBezTo>
                    <a:pt x="3" y="5"/>
                    <a:pt x="1" y="5"/>
                    <a:pt x="1" y="4"/>
                  </a:cubicBezTo>
                  <a:close/>
                </a:path>
              </a:pathLst>
            </a:custGeom>
            <a:solidFill>
              <a:srgbClr val="35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7" name="Freeform 252">
              <a:extLst>
                <a:ext uri="{FF2B5EF4-FFF2-40B4-BE49-F238E27FC236}">
                  <a16:creationId xmlns:a16="http://schemas.microsoft.com/office/drawing/2014/main" id="{36F356DC-A669-40CD-A97E-533D37CC9187}"/>
                </a:ext>
              </a:extLst>
            </p:cNvPr>
            <p:cNvSpPr>
              <a:spLocks/>
            </p:cNvSpPr>
            <p:nvPr/>
          </p:nvSpPr>
          <p:spPr bwMode="gray">
            <a:xfrm>
              <a:off x="-3265300" y="-1836775"/>
              <a:ext cx="11863" cy="8897"/>
            </a:xfrm>
            <a:custGeom>
              <a:avLst/>
              <a:gdLst>
                <a:gd name="T0" fmla="*/ 1 w 5"/>
                <a:gd name="T1" fmla="*/ 4 h 4"/>
                <a:gd name="T2" fmla="*/ 1 w 5"/>
                <a:gd name="T3" fmla="*/ 1 h 4"/>
                <a:gd name="T4" fmla="*/ 3 w 5"/>
                <a:gd name="T5" fmla="*/ 0 h 4"/>
                <a:gd name="T6" fmla="*/ 4 w 5"/>
                <a:gd name="T7" fmla="*/ 3 h 4"/>
                <a:gd name="T8" fmla="*/ 1 w 5"/>
                <a:gd name="T9" fmla="*/ 4 h 4"/>
              </a:gdLst>
              <a:ahLst/>
              <a:cxnLst>
                <a:cxn ang="0">
                  <a:pos x="T0" y="T1"/>
                </a:cxn>
                <a:cxn ang="0">
                  <a:pos x="T2" y="T3"/>
                </a:cxn>
                <a:cxn ang="0">
                  <a:pos x="T4" y="T5"/>
                </a:cxn>
                <a:cxn ang="0">
                  <a:pos x="T6" y="T7"/>
                </a:cxn>
                <a:cxn ang="0">
                  <a:pos x="T8" y="T9"/>
                </a:cxn>
              </a:cxnLst>
              <a:rect l="0" t="0" r="r" b="b"/>
              <a:pathLst>
                <a:path w="5" h="4">
                  <a:moveTo>
                    <a:pt x="1" y="4"/>
                  </a:moveTo>
                  <a:cubicBezTo>
                    <a:pt x="0" y="3"/>
                    <a:pt x="0" y="2"/>
                    <a:pt x="1" y="1"/>
                  </a:cubicBezTo>
                  <a:cubicBezTo>
                    <a:pt x="1" y="0"/>
                    <a:pt x="2" y="0"/>
                    <a:pt x="3" y="0"/>
                  </a:cubicBezTo>
                  <a:cubicBezTo>
                    <a:pt x="4" y="1"/>
                    <a:pt x="5" y="2"/>
                    <a:pt x="4" y="3"/>
                  </a:cubicBezTo>
                  <a:cubicBezTo>
                    <a:pt x="4" y="4"/>
                    <a:pt x="2" y="4"/>
                    <a:pt x="1" y="4"/>
                  </a:cubicBezTo>
                  <a:close/>
                </a:path>
              </a:pathLst>
            </a:custGeom>
            <a:solidFill>
              <a:srgbClr val="35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Oval 253">
              <a:extLst>
                <a:ext uri="{FF2B5EF4-FFF2-40B4-BE49-F238E27FC236}">
                  <a16:creationId xmlns:a16="http://schemas.microsoft.com/office/drawing/2014/main" id="{F8EED818-8000-48ED-B4BA-6B733004D2CB}"/>
                </a:ext>
              </a:extLst>
            </p:cNvPr>
            <p:cNvSpPr>
              <a:spLocks noChangeArrowheads="1"/>
            </p:cNvSpPr>
            <p:nvPr/>
          </p:nvSpPr>
          <p:spPr bwMode="gray">
            <a:xfrm>
              <a:off x="-3241573" y="-1917843"/>
              <a:ext cx="8898" cy="8897"/>
            </a:xfrm>
            <a:prstGeom prst="ellipse">
              <a:avLst/>
            </a:prstGeom>
            <a:solidFill>
              <a:srgbClr val="35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 name="Freeform 254">
              <a:extLst>
                <a:ext uri="{FF2B5EF4-FFF2-40B4-BE49-F238E27FC236}">
                  <a16:creationId xmlns:a16="http://schemas.microsoft.com/office/drawing/2014/main" id="{E372C8F8-D207-4CB3-BED5-C6C8C361395B}"/>
                </a:ext>
              </a:extLst>
            </p:cNvPr>
            <p:cNvSpPr>
              <a:spLocks/>
            </p:cNvSpPr>
            <p:nvPr/>
          </p:nvSpPr>
          <p:spPr bwMode="gray">
            <a:xfrm>
              <a:off x="-3265300" y="-1999899"/>
              <a:ext cx="11863" cy="8897"/>
            </a:xfrm>
            <a:custGeom>
              <a:avLst/>
              <a:gdLst>
                <a:gd name="T0" fmla="*/ 3 w 5"/>
                <a:gd name="T1" fmla="*/ 4 h 4"/>
                <a:gd name="T2" fmla="*/ 1 w 5"/>
                <a:gd name="T3" fmla="*/ 3 h 4"/>
                <a:gd name="T4" fmla="*/ 1 w 5"/>
                <a:gd name="T5" fmla="*/ 0 h 4"/>
                <a:gd name="T6" fmla="*/ 4 w 5"/>
                <a:gd name="T7" fmla="*/ 1 h 4"/>
                <a:gd name="T8" fmla="*/ 3 w 5"/>
                <a:gd name="T9" fmla="*/ 4 h 4"/>
              </a:gdLst>
              <a:ahLst/>
              <a:cxnLst>
                <a:cxn ang="0">
                  <a:pos x="T0" y="T1"/>
                </a:cxn>
                <a:cxn ang="0">
                  <a:pos x="T2" y="T3"/>
                </a:cxn>
                <a:cxn ang="0">
                  <a:pos x="T4" y="T5"/>
                </a:cxn>
                <a:cxn ang="0">
                  <a:pos x="T6" y="T7"/>
                </a:cxn>
                <a:cxn ang="0">
                  <a:pos x="T8" y="T9"/>
                </a:cxn>
              </a:cxnLst>
              <a:rect l="0" t="0" r="r" b="b"/>
              <a:pathLst>
                <a:path w="5" h="4">
                  <a:moveTo>
                    <a:pt x="3" y="4"/>
                  </a:moveTo>
                  <a:cubicBezTo>
                    <a:pt x="2" y="4"/>
                    <a:pt x="1" y="4"/>
                    <a:pt x="1" y="3"/>
                  </a:cubicBezTo>
                  <a:cubicBezTo>
                    <a:pt x="0" y="2"/>
                    <a:pt x="0" y="1"/>
                    <a:pt x="1" y="0"/>
                  </a:cubicBezTo>
                  <a:cubicBezTo>
                    <a:pt x="2" y="0"/>
                    <a:pt x="4" y="0"/>
                    <a:pt x="4" y="1"/>
                  </a:cubicBezTo>
                  <a:cubicBezTo>
                    <a:pt x="5" y="2"/>
                    <a:pt x="4" y="3"/>
                    <a:pt x="3" y="4"/>
                  </a:cubicBezTo>
                  <a:close/>
                </a:path>
              </a:pathLst>
            </a:custGeom>
            <a:solidFill>
              <a:srgbClr val="35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 name="Freeform 255">
              <a:extLst>
                <a:ext uri="{FF2B5EF4-FFF2-40B4-BE49-F238E27FC236}">
                  <a16:creationId xmlns:a16="http://schemas.microsoft.com/office/drawing/2014/main" id="{2409B01E-0789-4AD8-8B06-7851AD8058D1}"/>
                </a:ext>
              </a:extLst>
            </p:cNvPr>
            <p:cNvSpPr>
              <a:spLocks/>
            </p:cNvSpPr>
            <p:nvPr/>
          </p:nvSpPr>
          <p:spPr bwMode="gray">
            <a:xfrm>
              <a:off x="-3325605" y="-2060204"/>
              <a:ext cx="11863" cy="8897"/>
            </a:xfrm>
            <a:custGeom>
              <a:avLst/>
              <a:gdLst>
                <a:gd name="T0" fmla="*/ 4 w 5"/>
                <a:gd name="T1" fmla="*/ 3 h 4"/>
                <a:gd name="T2" fmla="*/ 2 w 5"/>
                <a:gd name="T3" fmla="*/ 4 h 4"/>
                <a:gd name="T4" fmla="*/ 1 w 5"/>
                <a:gd name="T5" fmla="*/ 1 h 4"/>
                <a:gd name="T6" fmla="*/ 4 w 5"/>
                <a:gd name="T7" fmla="*/ 0 h 4"/>
                <a:gd name="T8" fmla="*/ 4 w 5"/>
                <a:gd name="T9" fmla="*/ 3 h 4"/>
              </a:gdLst>
              <a:ahLst/>
              <a:cxnLst>
                <a:cxn ang="0">
                  <a:pos x="T0" y="T1"/>
                </a:cxn>
                <a:cxn ang="0">
                  <a:pos x="T2" y="T3"/>
                </a:cxn>
                <a:cxn ang="0">
                  <a:pos x="T4" y="T5"/>
                </a:cxn>
                <a:cxn ang="0">
                  <a:pos x="T6" y="T7"/>
                </a:cxn>
                <a:cxn ang="0">
                  <a:pos x="T8" y="T9"/>
                </a:cxn>
              </a:cxnLst>
              <a:rect l="0" t="0" r="r" b="b"/>
              <a:pathLst>
                <a:path w="5" h="4">
                  <a:moveTo>
                    <a:pt x="4" y="3"/>
                  </a:moveTo>
                  <a:cubicBezTo>
                    <a:pt x="4" y="4"/>
                    <a:pt x="3" y="4"/>
                    <a:pt x="2" y="4"/>
                  </a:cubicBezTo>
                  <a:cubicBezTo>
                    <a:pt x="1" y="3"/>
                    <a:pt x="0" y="2"/>
                    <a:pt x="1" y="1"/>
                  </a:cubicBezTo>
                  <a:cubicBezTo>
                    <a:pt x="1" y="0"/>
                    <a:pt x="3" y="0"/>
                    <a:pt x="4" y="0"/>
                  </a:cubicBezTo>
                  <a:cubicBezTo>
                    <a:pt x="5" y="1"/>
                    <a:pt x="5" y="2"/>
                    <a:pt x="4" y="3"/>
                  </a:cubicBezTo>
                  <a:close/>
                </a:path>
              </a:pathLst>
            </a:custGeom>
            <a:solidFill>
              <a:srgbClr val="35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1" name="Rectangle 256">
              <a:extLst>
                <a:ext uri="{FF2B5EF4-FFF2-40B4-BE49-F238E27FC236}">
                  <a16:creationId xmlns:a16="http://schemas.microsoft.com/office/drawing/2014/main" id="{68CB678D-6007-4423-B7ED-C23BBD851EEC}"/>
                </a:ext>
              </a:extLst>
            </p:cNvPr>
            <p:cNvSpPr>
              <a:spLocks noChangeArrowheads="1"/>
            </p:cNvSpPr>
            <p:nvPr/>
          </p:nvSpPr>
          <p:spPr bwMode="gray">
            <a:xfrm>
              <a:off x="-3407661" y="-1913888"/>
              <a:ext cx="11863" cy="90953"/>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2" name="Rectangle 257">
              <a:extLst>
                <a:ext uri="{FF2B5EF4-FFF2-40B4-BE49-F238E27FC236}">
                  <a16:creationId xmlns:a16="http://schemas.microsoft.com/office/drawing/2014/main" id="{EB9735EF-E672-4B4F-9DAA-F871FC1C7286}"/>
                </a:ext>
              </a:extLst>
            </p:cNvPr>
            <p:cNvSpPr>
              <a:spLocks noChangeArrowheads="1"/>
            </p:cNvSpPr>
            <p:nvPr/>
          </p:nvSpPr>
          <p:spPr bwMode="gray">
            <a:xfrm>
              <a:off x="-3390855" y="-1917843"/>
              <a:ext cx="111715" cy="88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3" name="Oval 258">
              <a:extLst>
                <a:ext uri="{FF2B5EF4-FFF2-40B4-BE49-F238E27FC236}">
                  <a16:creationId xmlns:a16="http://schemas.microsoft.com/office/drawing/2014/main" id="{788DC87F-0C17-422C-934C-9671CD297E7C}"/>
                </a:ext>
              </a:extLst>
            </p:cNvPr>
            <p:cNvSpPr>
              <a:spLocks noChangeArrowheads="1"/>
            </p:cNvSpPr>
            <p:nvPr/>
          </p:nvSpPr>
          <p:spPr bwMode="gray">
            <a:xfrm>
              <a:off x="-3421502" y="-1934649"/>
              <a:ext cx="42511" cy="41522"/>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4" name="Freeform 259">
              <a:extLst>
                <a:ext uri="{FF2B5EF4-FFF2-40B4-BE49-F238E27FC236}">
                  <a16:creationId xmlns:a16="http://schemas.microsoft.com/office/drawing/2014/main" id="{48FB44DA-BE45-4F7E-9DE7-C55F5CECDB25}"/>
                </a:ext>
              </a:extLst>
            </p:cNvPr>
            <p:cNvSpPr>
              <a:spLocks/>
            </p:cNvSpPr>
            <p:nvPr/>
          </p:nvSpPr>
          <p:spPr bwMode="gray">
            <a:xfrm>
              <a:off x="-3488729" y="-2001876"/>
              <a:ext cx="109737" cy="108749"/>
            </a:xfrm>
            <a:custGeom>
              <a:avLst/>
              <a:gdLst>
                <a:gd name="T0" fmla="*/ 111 w 111"/>
                <a:gd name="T1" fmla="*/ 108 h 110"/>
                <a:gd name="T2" fmla="*/ 106 w 111"/>
                <a:gd name="T3" fmla="*/ 110 h 110"/>
                <a:gd name="T4" fmla="*/ 0 w 111"/>
                <a:gd name="T5" fmla="*/ 4 h 110"/>
                <a:gd name="T6" fmla="*/ 2 w 111"/>
                <a:gd name="T7" fmla="*/ 0 h 110"/>
                <a:gd name="T8" fmla="*/ 111 w 111"/>
                <a:gd name="T9" fmla="*/ 108 h 110"/>
              </a:gdLst>
              <a:ahLst/>
              <a:cxnLst>
                <a:cxn ang="0">
                  <a:pos x="T0" y="T1"/>
                </a:cxn>
                <a:cxn ang="0">
                  <a:pos x="T2" y="T3"/>
                </a:cxn>
                <a:cxn ang="0">
                  <a:pos x="T4" y="T5"/>
                </a:cxn>
                <a:cxn ang="0">
                  <a:pos x="T6" y="T7"/>
                </a:cxn>
                <a:cxn ang="0">
                  <a:pos x="T8" y="T9"/>
                </a:cxn>
              </a:cxnLst>
              <a:rect l="0" t="0" r="r" b="b"/>
              <a:pathLst>
                <a:path w="111" h="110">
                  <a:moveTo>
                    <a:pt x="111" y="108"/>
                  </a:moveTo>
                  <a:lnTo>
                    <a:pt x="106" y="110"/>
                  </a:lnTo>
                  <a:lnTo>
                    <a:pt x="0" y="4"/>
                  </a:lnTo>
                  <a:lnTo>
                    <a:pt x="2" y="0"/>
                  </a:lnTo>
                  <a:lnTo>
                    <a:pt x="111" y="10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5" name="Oval 260">
              <a:extLst>
                <a:ext uri="{FF2B5EF4-FFF2-40B4-BE49-F238E27FC236}">
                  <a16:creationId xmlns:a16="http://schemas.microsoft.com/office/drawing/2014/main" id="{B34B7EE4-CF2D-44C8-AEBB-91E9F40FEBEB}"/>
                </a:ext>
              </a:extLst>
            </p:cNvPr>
            <p:cNvSpPr>
              <a:spLocks noChangeArrowheads="1"/>
            </p:cNvSpPr>
            <p:nvPr/>
          </p:nvSpPr>
          <p:spPr bwMode="gray">
            <a:xfrm>
              <a:off x="-3414581" y="-1927729"/>
              <a:ext cx="28670" cy="27681"/>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6" name="Oval 261">
              <a:extLst>
                <a:ext uri="{FF2B5EF4-FFF2-40B4-BE49-F238E27FC236}">
                  <a16:creationId xmlns:a16="http://schemas.microsoft.com/office/drawing/2014/main" id="{FCA67EFA-88AE-472D-8710-84F976E09448}"/>
                </a:ext>
              </a:extLst>
            </p:cNvPr>
            <p:cNvSpPr>
              <a:spLocks noChangeArrowheads="1"/>
            </p:cNvSpPr>
            <p:nvPr/>
          </p:nvSpPr>
          <p:spPr bwMode="gray">
            <a:xfrm>
              <a:off x="-3407661" y="-1920809"/>
              <a:ext cx="14830" cy="13841"/>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Titel 2">
            <a:extLst>
              <a:ext uri="{FF2B5EF4-FFF2-40B4-BE49-F238E27FC236}">
                <a16:creationId xmlns:a16="http://schemas.microsoft.com/office/drawing/2014/main" id="{0AFF27C4-5BA1-493E-B931-A41C918CA666}"/>
              </a:ext>
            </a:extLst>
          </p:cNvPr>
          <p:cNvSpPr>
            <a:spLocks noGrp="1"/>
          </p:cNvSpPr>
          <p:nvPr>
            <p:ph type="title"/>
          </p:nvPr>
        </p:nvSpPr>
        <p:spPr bwMode="gray"/>
        <p:txBody>
          <a:bodyPr/>
          <a:lstStyle/>
          <a:p>
            <a:r>
              <a:rPr lang="en-US" dirty="0"/>
              <a:t>Screenshot</a:t>
            </a:r>
            <a:br>
              <a:rPr lang="en-US" dirty="0"/>
            </a:br>
            <a:r>
              <a:rPr lang="en-US" dirty="0"/>
              <a:t>on a smartphone</a:t>
            </a:r>
          </a:p>
        </p:txBody>
      </p:sp>
      <p:sp>
        <p:nvSpPr>
          <p:cNvPr id="4" name="Textplatzhalter 3">
            <a:extLst>
              <a:ext uri="{FF2B5EF4-FFF2-40B4-BE49-F238E27FC236}">
                <a16:creationId xmlns:a16="http://schemas.microsoft.com/office/drawing/2014/main" id="{75E88952-312E-44FD-A5F0-C3E0998997D5}"/>
              </a:ext>
            </a:extLst>
          </p:cNvPr>
          <p:cNvSpPr>
            <a:spLocks noGrp="1"/>
          </p:cNvSpPr>
          <p:nvPr>
            <p:ph type="body" sz="quarter" idx="15"/>
          </p:nvPr>
        </p:nvSpPr>
        <p:spPr bwMode="gray"/>
        <p:txBody>
          <a:bodyPr/>
          <a:lstStyle/>
          <a:p>
            <a:r>
              <a:rPr lang="en-US" dirty="0"/>
              <a:t>Lorem ipsum dolor sit amet, consectetuer adipiscing elit.</a:t>
            </a:r>
          </a:p>
          <a:p>
            <a:pPr lvl="1"/>
            <a:r>
              <a:rPr lang="en-US" dirty="0"/>
              <a:t>Maecenas porttitor congue massa. Fusce posuere, magna sed pulvinar ultricies, purus lectus malesuada libero, sit amet commodo magna eros quis urna.</a:t>
            </a:r>
          </a:p>
          <a:p>
            <a:pPr lvl="2"/>
            <a:r>
              <a:rPr lang="en-US" dirty="0"/>
              <a:t>Nunc viverra imperdiet enim. Fusce est. Vivamus a tellus.</a:t>
            </a:r>
          </a:p>
          <a:p>
            <a:pPr lvl="2"/>
            <a:r>
              <a:rPr lang="en-US" dirty="0"/>
              <a:t>Pellentesque habitant morbi tristique senectus et netus et</a:t>
            </a:r>
          </a:p>
        </p:txBody>
      </p:sp>
      <p:sp>
        <p:nvSpPr>
          <p:cNvPr id="7" name="Fußzeilenplatzhalter 6">
            <a:extLst>
              <a:ext uri="{FF2B5EF4-FFF2-40B4-BE49-F238E27FC236}">
                <a16:creationId xmlns:a16="http://schemas.microsoft.com/office/drawing/2014/main" id="{DC2FC0A4-0968-436B-BC46-7F9DA142BC3F}"/>
              </a:ext>
            </a:extLst>
          </p:cNvPr>
          <p:cNvSpPr>
            <a:spLocks noGrp="1"/>
          </p:cNvSpPr>
          <p:nvPr>
            <p:ph type="ftr" sz="quarter" idx="16"/>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4BFE3971-0103-43C3-8B2D-2FCEB5E4E5C9}"/>
              </a:ext>
            </a:extLst>
          </p:cNvPr>
          <p:cNvSpPr>
            <a:spLocks noGrp="1"/>
          </p:cNvSpPr>
          <p:nvPr>
            <p:ph type="sldNum" sz="quarter" idx="12"/>
          </p:nvPr>
        </p:nvSpPr>
        <p:spPr/>
        <p:txBody>
          <a:bodyPr/>
          <a:lstStyle/>
          <a:p>
            <a:fld id="{CE82B8A1-0CCE-4815-9668-383D7DE7D8B4}" type="slidenum">
              <a:rPr lang="en-US" noProof="0" smtClean="0"/>
              <a:pPr/>
              <a:t>79</a:t>
            </a:fld>
            <a:endParaRPr lang="en-US" noProof="0" dirty="0"/>
          </a:p>
        </p:txBody>
      </p:sp>
    </p:spTree>
    <p:extLst>
      <p:ext uri="{BB962C8B-B14F-4D97-AF65-F5344CB8AC3E}">
        <p14:creationId xmlns:p14="http://schemas.microsoft.com/office/powerpoint/2010/main" val="10772245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Bildplatzhalter 18">
            <a:extLst>
              <a:ext uri="{FF2B5EF4-FFF2-40B4-BE49-F238E27FC236}">
                <a16:creationId xmlns:a16="http://schemas.microsoft.com/office/drawing/2014/main" id="{D75C048E-753C-4AFF-A1DC-AA125115E0C4}"/>
              </a:ext>
            </a:extLst>
          </p:cNvPr>
          <p:cNvPicPr>
            <a:picLocks noGrp="1" noChangeAspect="1"/>
          </p:cNvPicPr>
          <p:nvPr>
            <p:ph type="pic" sz="quarter" idx="18"/>
          </p:nvPr>
        </p:nvPicPr>
        <p:blipFill>
          <a:blip r:embed="rId2" cstate="print">
            <a:extLst>
              <a:ext uri="{28A0092B-C50C-407E-A947-70E740481C1C}">
                <a14:useLocalDpi xmlns:a14="http://schemas.microsoft.com/office/drawing/2010/main" val="0"/>
              </a:ext>
            </a:extLst>
          </a:blip>
          <a:srcRect t="630" b="630"/>
          <a:stretch>
            <a:fillRect/>
          </a:stretch>
        </p:blipFill>
        <p:spPr bwMode="gray"/>
      </p:pic>
      <p:sp>
        <p:nvSpPr>
          <p:cNvPr id="5" name="Titel 4">
            <a:extLst>
              <a:ext uri="{FF2B5EF4-FFF2-40B4-BE49-F238E27FC236}">
                <a16:creationId xmlns:a16="http://schemas.microsoft.com/office/drawing/2014/main" id="{9C55DFEB-AC6D-4C43-BA2C-8C831A674AFE}"/>
              </a:ext>
            </a:extLst>
          </p:cNvPr>
          <p:cNvSpPr>
            <a:spLocks noGrp="1"/>
          </p:cNvSpPr>
          <p:nvPr>
            <p:ph type="title"/>
          </p:nvPr>
        </p:nvSpPr>
        <p:spPr bwMode="gray"/>
        <p:txBody>
          <a:bodyPr/>
          <a:lstStyle/>
          <a:p>
            <a:r>
              <a:rPr lang="en-US" dirty="0"/>
              <a:t>Lorem ipsum dolor sit amet</a:t>
            </a:r>
          </a:p>
        </p:txBody>
      </p:sp>
      <p:pic>
        <p:nvPicPr>
          <p:cNvPr id="21" name="Bildplatzhalter 5">
            <a:extLst>
              <a:ext uri="{FF2B5EF4-FFF2-40B4-BE49-F238E27FC236}">
                <a16:creationId xmlns:a16="http://schemas.microsoft.com/office/drawing/2014/main" id="{2D63416C-9499-4DCF-8F80-7E59AC4136AB}"/>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t="5015" b="5015"/>
          <a:stretch>
            <a:fillRect/>
          </a:stretch>
        </p:blipFill>
        <p:spPr bwMode="gray"/>
      </p:pic>
      <p:sp>
        <p:nvSpPr>
          <p:cNvPr id="7" name="Textplatzhalter 6">
            <a:extLst>
              <a:ext uri="{FF2B5EF4-FFF2-40B4-BE49-F238E27FC236}">
                <a16:creationId xmlns:a16="http://schemas.microsoft.com/office/drawing/2014/main" id="{4D5498C1-FBB4-4C39-A38A-0B851330AF9D}"/>
              </a:ext>
            </a:extLst>
          </p:cNvPr>
          <p:cNvSpPr>
            <a:spLocks noGrp="1"/>
          </p:cNvSpPr>
          <p:nvPr>
            <p:ph type="body" sz="quarter" idx="14"/>
          </p:nvPr>
        </p:nvSpPr>
        <p:spPr bwMode="gray">
          <a:xfrm>
            <a:off x="623888" y="2636912"/>
            <a:ext cx="2519362" cy="288925"/>
          </a:xfrm>
        </p:spPr>
        <p:txBody>
          <a:bodyPr/>
          <a:lstStyle/>
          <a:p>
            <a:r>
              <a:rPr lang="en-US" dirty="0"/>
              <a:t>Item 01</a:t>
            </a:r>
          </a:p>
        </p:txBody>
      </p:sp>
      <p:sp>
        <p:nvSpPr>
          <p:cNvPr id="8" name="Textplatzhalter 7">
            <a:extLst>
              <a:ext uri="{FF2B5EF4-FFF2-40B4-BE49-F238E27FC236}">
                <a16:creationId xmlns:a16="http://schemas.microsoft.com/office/drawing/2014/main" id="{F12E7CDF-6457-4A6F-90D3-5CE206C7C036}"/>
              </a:ext>
            </a:extLst>
          </p:cNvPr>
          <p:cNvSpPr>
            <a:spLocks noGrp="1"/>
          </p:cNvSpPr>
          <p:nvPr>
            <p:ph type="body" sz="quarter" idx="15"/>
          </p:nvPr>
        </p:nvSpPr>
        <p:spPr bwMode="gray"/>
        <p:txBody>
          <a:bodyPr/>
          <a:lstStyle/>
          <a:p>
            <a:r>
              <a:rPr lang="en-US" dirty="0"/>
              <a:t>Item 02</a:t>
            </a:r>
          </a:p>
        </p:txBody>
      </p:sp>
      <p:sp>
        <p:nvSpPr>
          <p:cNvPr id="9" name="Textplatzhalter 8">
            <a:extLst>
              <a:ext uri="{FF2B5EF4-FFF2-40B4-BE49-F238E27FC236}">
                <a16:creationId xmlns:a16="http://schemas.microsoft.com/office/drawing/2014/main" id="{B76C6922-C161-4874-853D-E0E40C7030BE}"/>
              </a:ext>
            </a:extLst>
          </p:cNvPr>
          <p:cNvSpPr>
            <a:spLocks noGrp="1"/>
          </p:cNvSpPr>
          <p:nvPr>
            <p:ph type="body" sz="quarter" idx="16"/>
          </p:nvPr>
        </p:nvSpPr>
        <p:spPr bwMode="gray"/>
        <p:txBody>
          <a:bodyPr/>
          <a:lstStyle/>
          <a:p>
            <a:r>
              <a:rPr lang="en-US" dirty="0"/>
              <a:t>Item 03</a:t>
            </a:r>
          </a:p>
        </p:txBody>
      </p:sp>
      <p:sp>
        <p:nvSpPr>
          <p:cNvPr id="10" name="Textplatzhalter 9">
            <a:extLst>
              <a:ext uri="{FF2B5EF4-FFF2-40B4-BE49-F238E27FC236}">
                <a16:creationId xmlns:a16="http://schemas.microsoft.com/office/drawing/2014/main" id="{6CE53713-912E-4D72-9F51-F5603853187C}"/>
              </a:ext>
            </a:extLst>
          </p:cNvPr>
          <p:cNvSpPr>
            <a:spLocks noGrp="1"/>
          </p:cNvSpPr>
          <p:nvPr>
            <p:ph type="body" sz="quarter" idx="17"/>
          </p:nvPr>
        </p:nvSpPr>
        <p:spPr bwMode="gray"/>
        <p:txBody>
          <a:bodyPr/>
          <a:lstStyle/>
          <a:p>
            <a:r>
              <a:rPr lang="en-US" dirty="0"/>
              <a:t>Item 04</a:t>
            </a:r>
          </a:p>
        </p:txBody>
      </p:sp>
      <p:pic>
        <p:nvPicPr>
          <p:cNvPr id="20" name="Bildplatzhalter 19">
            <a:extLst>
              <a:ext uri="{FF2B5EF4-FFF2-40B4-BE49-F238E27FC236}">
                <a16:creationId xmlns:a16="http://schemas.microsoft.com/office/drawing/2014/main" id="{BCCC9CB3-0D55-4160-9944-A8F111777AE2}"/>
              </a:ext>
            </a:extLst>
          </p:cNvPr>
          <p:cNvPicPr>
            <a:picLocks noGrp="1" noChangeAspect="1"/>
          </p:cNvPicPr>
          <p:nvPr>
            <p:ph type="pic" sz="quarter" idx="19"/>
          </p:nvPr>
        </p:nvPicPr>
        <p:blipFill rotWithShape="1">
          <a:blip r:embed="rId4" cstate="print">
            <a:extLst>
              <a:ext uri="{28A0092B-C50C-407E-A947-70E740481C1C}">
                <a14:useLocalDpi xmlns:a14="http://schemas.microsoft.com/office/drawing/2010/main" val="0"/>
              </a:ext>
            </a:extLst>
          </a:blip>
          <a:srcRect t="78" b="78"/>
          <a:stretch/>
        </p:blipFill>
        <p:spPr bwMode="gray"/>
      </p:pic>
      <p:sp>
        <p:nvSpPr>
          <p:cNvPr id="13" name="Textplatzhalter 12">
            <a:extLst>
              <a:ext uri="{FF2B5EF4-FFF2-40B4-BE49-F238E27FC236}">
                <a16:creationId xmlns:a16="http://schemas.microsoft.com/office/drawing/2014/main" id="{FB89A6BA-E970-4732-A744-F5E1E5CB38AF}"/>
              </a:ext>
            </a:extLst>
          </p:cNvPr>
          <p:cNvSpPr>
            <a:spLocks noGrp="1"/>
          </p:cNvSpPr>
          <p:nvPr>
            <p:ph type="body" sz="quarter" idx="20"/>
          </p:nvPr>
        </p:nvSpPr>
        <p:spPr bwMode="gray">
          <a:xfrm>
            <a:off x="623888" y="2997120"/>
            <a:ext cx="2519362" cy="1152000"/>
          </a:xfrm>
        </p:spPr>
        <p:txBody>
          <a:bodyPr/>
          <a:lstStyle/>
          <a:p>
            <a:r>
              <a:rPr lang="en-US" dirty="0"/>
              <a:t>The first point on the agenda is here</a:t>
            </a:r>
          </a:p>
        </p:txBody>
      </p:sp>
      <p:sp>
        <p:nvSpPr>
          <p:cNvPr id="14" name="Textplatzhalter 13">
            <a:extLst>
              <a:ext uri="{FF2B5EF4-FFF2-40B4-BE49-F238E27FC236}">
                <a16:creationId xmlns:a16="http://schemas.microsoft.com/office/drawing/2014/main" id="{E67B2809-D513-44A5-8819-6E6C8C0DEEA9}"/>
              </a:ext>
            </a:extLst>
          </p:cNvPr>
          <p:cNvSpPr>
            <a:spLocks noGrp="1"/>
          </p:cNvSpPr>
          <p:nvPr>
            <p:ph type="body" sz="quarter" idx="21"/>
          </p:nvPr>
        </p:nvSpPr>
        <p:spPr bwMode="gray"/>
        <p:txBody>
          <a:bodyPr/>
          <a:lstStyle/>
          <a:p>
            <a:r>
              <a:rPr lang="en-US" dirty="0"/>
              <a:t>This is followed by the second item on the agenda</a:t>
            </a:r>
          </a:p>
        </p:txBody>
      </p:sp>
      <p:sp>
        <p:nvSpPr>
          <p:cNvPr id="15" name="Textplatzhalter 14">
            <a:extLst>
              <a:ext uri="{FF2B5EF4-FFF2-40B4-BE49-F238E27FC236}">
                <a16:creationId xmlns:a16="http://schemas.microsoft.com/office/drawing/2014/main" id="{6A480B8B-46DB-4EAC-93B7-C8DCECB7666F}"/>
              </a:ext>
            </a:extLst>
          </p:cNvPr>
          <p:cNvSpPr>
            <a:spLocks noGrp="1"/>
          </p:cNvSpPr>
          <p:nvPr>
            <p:ph type="body" sz="quarter" idx="22"/>
          </p:nvPr>
        </p:nvSpPr>
        <p:spPr bwMode="gray"/>
        <p:txBody>
          <a:bodyPr/>
          <a:lstStyle/>
          <a:p>
            <a:r>
              <a:rPr lang="en-US" dirty="0"/>
              <a:t>The third item comes after that</a:t>
            </a:r>
          </a:p>
        </p:txBody>
      </p:sp>
      <p:sp>
        <p:nvSpPr>
          <p:cNvPr id="16" name="Textplatzhalter 15">
            <a:extLst>
              <a:ext uri="{FF2B5EF4-FFF2-40B4-BE49-F238E27FC236}">
                <a16:creationId xmlns:a16="http://schemas.microsoft.com/office/drawing/2014/main" id="{B0401FC3-3A30-4CFD-BA89-399BF46C94D2}"/>
              </a:ext>
            </a:extLst>
          </p:cNvPr>
          <p:cNvSpPr>
            <a:spLocks noGrp="1"/>
          </p:cNvSpPr>
          <p:nvPr>
            <p:ph type="body" sz="quarter" idx="23"/>
          </p:nvPr>
        </p:nvSpPr>
        <p:spPr bwMode="gray"/>
        <p:txBody>
          <a:bodyPr/>
          <a:lstStyle/>
          <a:p>
            <a:r>
              <a:rPr lang="en-US" dirty="0"/>
              <a:t>And if you can't be succinct, you can make use of the fourth item</a:t>
            </a:r>
          </a:p>
        </p:txBody>
      </p:sp>
      <p:sp>
        <p:nvSpPr>
          <p:cNvPr id="28" name="Fußzeilenplatzhalter 27">
            <a:extLst>
              <a:ext uri="{FF2B5EF4-FFF2-40B4-BE49-F238E27FC236}">
                <a16:creationId xmlns:a16="http://schemas.microsoft.com/office/drawing/2014/main" id="{83FA0856-BE3A-4DC5-8BE7-2DB55B7D7291}"/>
              </a:ext>
            </a:extLst>
          </p:cNvPr>
          <p:cNvSpPr>
            <a:spLocks noGrp="1"/>
          </p:cNvSpPr>
          <p:nvPr>
            <p:ph type="ftr" sz="quarter" idx="24"/>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55CA8435-368B-4AFC-80FB-A9799160928A}"/>
              </a:ext>
            </a:extLst>
          </p:cNvPr>
          <p:cNvSpPr>
            <a:spLocks noGrp="1"/>
          </p:cNvSpPr>
          <p:nvPr>
            <p:ph type="sldNum" sz="quarter" idx="10"/>
          </p:nvPr>
        </p:nvSpPr>
        <p:spPr/>
        <p:txBody>
          <a:bodyPr/>
          <a:lstStyle/>
          <a:p>
            <a:fld id="{CE82B8A1-0CCE-4815-9668-383D7DE7D8B4}" type="slidenum">
              <a:rPr lang="en-US" noProof="0" smtClean="0"/>
              <a:pPr/>
              <a:t>8</a:t>
            </a:fld>
            <a:endParaRPr lang="en-US" noProof="0" dirty="0"/>
          </a:p>
        </p:txBody>
      </p:sp>
    </p:spTree>
    <p:extLst>
      <p:ext uri="{BB962C8B-B14F-4D97-AF65-F5344CB8AC3E}">
        <p14:creationId xmlns:p14="http://schemas.microsoft.com/office/powerpoint/2010/main" val="17844067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uppieren 11">
            <a:extLst>
              <a:ext uri="{FF2B5EF4-FFF2-40B4-BE49-F238E27FC236}">
                <a16:creationId xmlns:a16="http://schemas.microsoft.com/office/drawing/2014/main" id="{929710B9-9573-4ED1-895E-13DBDBAA8618}"/>
              </a:ext>
            </a:extLst>
          </p:cNvPr>
          <p:cNvGrpSpPr/>
          <p:nvPr/>
        </p:nvGrpSpPr>
        <p:grpSpPr bwMode="gray">
          <a:xfrm>
            <a:off x="8724298" y="-259604"/>
            <a:ext cx="2952521" cy="2639408"/>
            <a:chOff x="5706737" y="143220"/>
            <a:chExt cx="2952521" cy="2639408"/>
          </a:xfrm>
        </p:grpSpPr>
        <p:sp>
          <p:nvSpPr>
            <p:cNvPr id="11" name="Freihandform: Form 10">
              <a:extLst>
                <a:ext uri="{FF2B5EF4-FFF2-40B4-BE49-F238E27FC236}">
                  <a16:creationId xmlns:a16="http://schemas.microsoft.com/office/drawing/2014/main" id="{4DCB7CB1-D4BB-4D12-B24B-A00E6F798382}"/>
                </a:ext>
              </a:extLst>
            </p:cNvPr>
            <p:cNvSpPr/>
            <p:nvPr/>
          </p:nvSpPr>
          <p:spPr bwMode="gray">
            <a:xfrm>
              <a:off x="5706737" y="143220"/>
              <a:ext cx="2952521" cy="2635072"/>
            </a:xfrm>
            <a:custGeom>
              <a:avLst/>
              <a:gdLst>
                <a:gd name="connsiteX0" fmla="*/ 2148290 w 2952521"/>
                <a:gd name="connsiteY0" fmla="*/ 0 h 2635072"/>
                <a:gd name="connsiteX1" fmla="*/ 2952521 w 2952521"/>
                <a:gd name="connsiteY1" fmla="*/ 2137273 h 2635072"/>
                <a:gd name="connsiteX2" fmla="*/ 848299 w 2952521"/>
                <a:gd name="connsiteY2" fmla="*/ 2633032 h 2635072"/>
                <a:gd name="connsiteX3" fmla="*/ 0 w 2952521"/>
                <a:gd name="connsiteY3" fmla="*/ 793215 h 2635072"/>
              </a:gdLst>
              <a:ahLst/>
              <a:cxnLst>
                <a:cxn ang="0">
                  <a:pos x="connsiteX0" y="connsiteY0"/>
                </a:cxn>
                <a:cxn ang="0">
                  <a:pos x="connsiteX1" y="connsiteY1"/>
                </a:cxn>
                <a:cxn ang="0">
                  <a:pos x="connsiteX2" y="connsiteY2"/>
                </a:cxn>
                <a:cxn ang="0">
                  <a:pos x="connsiteX3" y="connsiteY3"/>
                </a:cxn>
              </a:cxnLst>
              <a:rect l="l" t="t" r="r" b="b"/>
              <a:pathLst>
                <a:path w="2952521" h="2635072">
                  <a:moveTo>
                    <a:pt x="2148290" y="0"/>
                  </a:moveTo>
                  <a:lnTo>
                    <a:pt x="2952521" y="2137273"/>
                  </a:lnTo>
                  <a:cubicBezTo>
                    <a:pt x="2447964" y="2321576"/>
                    <a:pt x="1829106" y="2664629"/>
                    <a:pt x="848299" y="2633032"/>
                  </a:cubicBezTo>
                  <a:cubicBezTo>
                    <a:pt x="565533" y="2019760"/>
                    <a:pt x="257366" y="1469987"/>
                    <a:pt x="0" y="793215"/>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ihandform: Form 6">
              <a:extLst>
                <a:ext uri="{FF2B5EF4-FFF2-40B4-BE49-F238E27FC236}">
                  <a16:creationId xmlns:a16="http://schemas.microsoft.com/office/drawing/2014/main" id="{145CB3C1-2305-428F-976F-ECF29AC1DB8C}"/>
                </a:ext>
              </a:extLst>
            </p:cNvPr>
            <p:cNvSpPr/>
            <p:nvPr/>
          </p:nvSpPr>
          <p:spPr bwMode="gray">
            <a:xfrm>
              <a:off x="6129336" y="1893093"/>
              <a:ext cx="2081213" cy="889535"/>
            </a:xfrm>
            <a:custGeom>
              <a:avLst/>
              <a:gdLst>
                <a:gd name="connsiteX0" fmla="*/ 0 w 2101850"/>
                <a:gd name="connsiteY0" fmla="*/ 0 h 879475"/>
                <a:gd name="connsiteX1" fmla="*/ 2101850 w 2101850"/>
                <a:gd name="connsiteY1" fmla="*/ 549275 h 879475"/>
                <a:gd name="connsiteX2" fmla="*/ 428625 w 2101850"/>
                <a:gd name="connsiteY2" fmla="*/ 879475 h 879475"/>
                <a:gd name="connsiteX3" fmla="*/ 0 w 2101850"/>
                <a:gd name="connsiteY3" fmla="*/ 0 h 879475"/>
                <a:gd name="connsiteX0" fmla="*/ 0 w 2101850"/>
                <a:gd name="connsiteY0" fmla="*/ 0 h 882909"/>
                <a:gd name="connsiteX1" fmla="*/ 2101850 w 2101850"/>
                <a:gd name="connsiteY1" fmla="*/ 549275 h 882909"/>
                <a:gd name="connsiteX2" fmla="*/ 428625 w 2101850"/>
                <a:gd name="connsiteY2" fmla="*/ 879475 h 882909"/>
                <a:gd name="connsiteX3" fmla="*/ 0 w 2101850"/>
                <a:gd name="connsiteY3" fmla="*/ 0 h 882909"/>
                <a:gd name="connsiteX0" fmla="*/ 0 w 2101850"/>
                <a:gd name="connsiteY0" fmla="*/ 0 h 883793"/>
                <a:gd name="connsiteX1" fmla="*/ 2101850 w 2101850"/>
                <a:gd name="connsiteY1" fmla="*/ 549275 h 883793"/>
                <a:gd name="connsiteX2" fmla="*/ 428625 w 2101850"/>
                <a:gd name="connsiteY2" fmla="*/ 879475 h 883793"/>
                <a:gd name="connsiteX3" fmla="*/ 0 w 2101850"/>
                <a:gd name="connsiteY3" fmla="*/ 0 h 883793"/>
                <a:gd name="connsiteX0" fmla="*/ 0 w 2101850"/>
                <a:gd name="connsiteY0" fmla="*/ 0 h 883793"/>
                <a:gd name="connsiteX1" fmla="*/ 2101850 w 2101850"/>
                <a:gd name="connsiteY1" fmla="*/ 549275 h 883793"/>
                <a:gd name="connsiteX2" fmla="*/ 428625 w 2101850"/>
                <a:gd name="connsiteY2" fmla="*/ 879475 h 883793"/>
                <a:gd name="connsiteX3" fmla="*/ 0 w 2101850"/>
                <a:gd name="connsiteY3" fmla="*/ 0 h 883793"/>
                <a:gd name="connsiteX0" fmla="*/ 0 w 2101850"/>
                <a:gd name="connsiteY0" fmla="*/ 0 h 883793"/>
                <a:gd name="connsiteX1" fmla="*/ 2101850 w 2101850"/>
                <a:gd name="connsiteY1" fmla="*/ 549275 h 883793"/>
                <a:gd name="connsiteX2" fmla="*/ 428625 w 2101850"/>
                <a:gd name="connsiteY2" fmla="*/ 879475 h 883793"/>
                <a:gd name="connsiteX3" fmla="*/ 0 w 2101850"/>
                <a:gd name="connsiteY3" fmla="*/ 0 h 883793"/>
                <a:gd name="connsiteX0" fmla="*/ 0 w 2101850"/>
                <a:gd name="connsiteY0" fmla="*/ 0 h 886968"/>
                <a:gd name="connsiteX1" fmla="*/ 2101850 w 2101850"/>
                <a:gd name="connsiteY1" fmla="*/ 552450 h 886968"/>
                <a:gd name="connsiteX2" fmla="*/ 428625 w 2101850"/>
                <a:gd name="connsiteY2" fmla="*/ 882650 h 886968"/>
                <a:gd name="connsiteX3" fmla="*/ 0 w 2101850"/>
                <a:gd name="connsiteY3" fmla="*/ 0 h 886968"/>
                <a:gd name="connsiteX0" fmla="*/ 0 w 2085975"/>
                <a:gd name="connsiteY0" fmla="*/ 0 h 887154"/>
                <a:gd name="connsiteX1" fmla="*/ 2085975 w 2085975"/>
                <a:gd name="connsiteY1" fmla="*/ 561975 h 887154"/>
                <a:gd name="connsiteX2" fmla="*/ 428625 w 2085975"/>
                <a:gd name="connsiteY2" fmla="*/ 882650 h 887154"/>
                <a:gd name="connsiteX3" fmla="*/ 0 w 2085975"/>
                <a:gd name="connsiteY3" fmla="*/ 0 h 887154"/>
                <a:gd name="connsiteX0" fmla="*/ 0 w 2081213"/>
                <a:gd name="connsiteY0" fmla="*/ 0 h 889535"/>
                <a:gd name="connsiteX1" fmla="*/ 2081213 w 2081213"/>
                <a:gd name="connsiteY1" fmla="*/ 564356 h 889535"/>
                <a:gd name="connsiteX2" fmla="*/ 423863 w 2081213"/>
                <a:gd name="connsiteY2" fmla="*/ 885031 h 889535"/>
                <a:gd name="connsiteX3" fmla="*/ 0 w 2081213"/>
                <a:gd name="connsiteY3" fmla="*/ 0 h 889535"/>
              </a:gdLst>
              <a:ahLst/>
              <a:cxnLst>
                <a:cxn ang="0">
                  <a:pos x="connsiteX0" y="connsiteY0"/>
                </a:cxn>
                <a:cxn ang="0">
                  <a:pos x="connsiteX1" y="connsiteY1"/>
                </a:cxn>
                <a:cxn ang="0">
                  <a:pos x="connsiteX2" y="connsiteY2"/>
                </a:cxn>
                <a:cxn ang="0">
                  <a:pos x="connsiteX3" y="connsiteY3"/>
                </a:cxn>
              </a:cxnLst>
              <a:rect l="l" t="t" r="r" b="b"/>
              <a:pathLst>
                <a:path w="2081213" h="889535">
                  <a:moveTo>
                    <a:pt x="0" y="0"/>
                  </a:moveTo>
                  <a:cubicBezTo>
                    <a:pt x="452967" y="497417"/>
                    <a:pt x="990071" y="794014"/>
                    <a:pt x="2081213" y="564356"/>
                  </a:cubicBezTo>
                  <a:cubicBezTo>
                    <a:pt x="1609196" y="734748"/>
                    <a:pt x="1137180" y="921014"/>
                    <a:pt x="423863" y="885031"/>
                  </a:cubicBezTo>
                  <a:lnTo>
                    <a:pt x="0" y="0"/>
                  </a:lnTo>
                  <a:close/>
                </a:path>
              </a:pathLst>
            </a:cu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reihandform: Form 9">
              <a:extLst>
                <a:ext uri="{FF2B5EF4-FFF2-40B4-BE49-F238E27FC236}">
                  <a16:creationId xmlns:a16="http://schemas.microsoft.com/office/drawing/2014/main" id="{3295C8E3-9FC8-48E4-99AA-784B7AABC745}"/>
                </a:ext>
              </a:extLst>
            </p:cNvPr>
            <p:cNvSpPr/>
            <p:nvPr/>
          </p:nvSpPr>
          <p:spPr bwMode="gray">
            <a:xfrm>
              <a:off x="5708650" y="143668"/>
              <a:ext cx="2279650" cy="1129507"/>
            </a:xfrm>
            <a:custGeom>
              <a:avLst/>
              <a:gdLst>
                <a:gd name="connsiteX0" fmla="*/ 2139950 w 2279650"/>
                <a:gd name="connsiteY0" fmla="*/ 0 h 1111250"/>
                <a:gd name="connsiteX1" fmla="*/ 2279650 w 2279650"/>
                <a:gd name="connsiteY1" fmla="*/ 349250 h 1111250"/>
                <a:gd name="connsiteX2" fmla="*/ 123825 w 2279650"/>
                <a:gd name="connsiteY2" fmla="*/ 1111250 h 1111250"/>
                <a:gd name="connsiteX3" fmla="*/ 0 w 2279650"/>
                <a:gd name="connsiteY3" fmla="*/ 790575 h 1111250"/>
                <a:gd name="connsiteX4" fmla="*/ 2139950 w 2279650"/>
                <a:gd name="connsiteY4" fmla="*/ 0 h 1111250"/>
                <a:gd name="connsiteX0" fmla="*/ 2146300 w 2279650"/>
                <a:gd name="connsiteY0" fmla="*/ 0 h 1111250"/>
                <a:gd name="connsiteX1" fmla="*/ 2279650 w 2279650"/>
                <a:gd name="connsiteY1" fmla="*/ 349250 h 1111250"/>
                <a:gd name="connsiteX2" fmla="*/ 123825 w 2279650"/>
                <a:gd name="connsiteY2" fmla="*/ 1111250 h 1111250"/>
                <a:gd name="connsiteX3" fmla="*/ 0 w 2279650"/>
                <a:gd name="connsiteY3" fmla="*/ 790575 h 1111250"/>
                <a:gd name="connsiteX4" fmla="*/ 2146300 w 2279650"/>
                <a:gd name="connsiteY4" fmla="*/ 0 h 1111250"/>
                <a:gd name="connsiteX0" fmla="*/ 2146300 w 2279650"/>
                <a:gd name="connsiteY0" fmla="*/ 0 h 1111250"/>
                <a:gd name="connsiteX1" fmla="*/ 2279650 w 2279650"/>
                <a:gd name="connsiteY1" fmla="*/ 349250 h 1111250"/>
                <a:gd name="connsiteX2" fmla="*/ 180975 w 2279650"/>
                <a:gd name="connsiteY2" fmla="*/ 1111250 h 1111250"/>
                <a:gd name="connsiteX3" fmla="*/ 0 w 2279650"/>
                <a:gd name="connsiteY3" fmla="*/ 790575 h 1111250"/>
                <a:gd name="connsiteX4" fmla="*/ 2146300 w 2279650"/>
                <a:gd name="connsiteY4" fmla="*/ 0 h 1111250"/>
                <a:gd name="connsiteX0" fmla="*/ 2146300 w 2279650"/>
                <a:gd name="connsiteY0" fmla="*/ 0 h 1127125"/>
                <a:gd name="connsiteX1" fmla="*/ 2279650 w 2279650"/>
                <a:gd name="connsiteY1" fmla="*/ 349250 h 1127125"/>
                <a:gd name="connsiteX2" fmla="*/ 136525 w 2279650"/>
                <a:gd name="connsiteY2" fmla="*/ 1127125 h 1127125"/>
                <a:gd name="connsiteX3" fmla="*/ 0 w 2279650"/>
                <a:gd name="connsiteY3" fmla="*/ 790575 h 1127125"/>
                <a:gd name="connsiteX4" fmla="*/ 2146300 w 2279650"/>
                <a:gd name="connsiteY4" fmla="*/ 0 h 1127125"/>
                <a:gd name="connsiteX0" fmla="*/ 2146300 w 2279650"/>
                <a:gd name="connsiteY0" fmla="*/ 0 h 1127125"/>
                <a:gd name="connsiteX1" fmla="*/ 2279650 w 2279650"/>
                <a:gd name="connsiteY1" fmla="*/ 349250 h 1127125"/>
                <a:gd name="connsiteX2" fmla="*/ 136525 w 2279650"/>
                <a:gd name="connsiteY2" fmla="*/ 1127125 h 1127125"/>
                <a:gd name="connsiteX3" fmla="*/ 0 w 2279650"/>
                <a:gd name="connsiteY3" fmla="*/ 790575 h 1127125"/>
                <a:gd name="connsiteX4" fmla="*/ 2146300 w 2279650"/>
                <a:gd name="connsiteY4" fmla="*/ 0 h 1127125"/>
                <a:gd name="connsiteX0" fmla="*/ 2146300 w 2279650"/>
                <a:gd name="connsiteY0" fmla="*/ 0 h 1127125"/>
                <a:gd name="connsiteX1" fmla="*/ 2279650 w 2279650"/>
                <a:gd name="connsiteY1" fmla="*/ 349250 h 1127125"/>
                <a:gd name="connsiteX2" fmla="*/ 136525 w 2279650"/>
                <a:gd name="connsiteY2" fmla="*/ 1127125 h 1127125"/>
                <a:gd name="connsiteX3" fmla="*/ 0 w 2279650"/>
                <a:gd name="connsiteY3" fmla="*/ 790575 h 1127125"/>
                <a:gd name="connsiteX4" fmla="*/ 2146300 w 2279650"/>
                <a:gd name="connsiteY4" fmla="*/ 0 h 1127125"/>
                <a:gd name="connsiteX0" fmla="*/ 2146300 w 2279650"/>
                <a:gd name="connsiteY0" fmla="*/ 0 h 1127125"/>
                <a:gd name="connsiteX1" fmla="*/ 2279650 w 2279650"/>
                <a:gd name="connsiteY1" fmla="*/ 349250 h 1127125"/>
                <a:gd name="connsiteX2" fmla="*/ 136525 w 2279650"/>
                <a:gd name="connsiteY2" fmla="*/ 1127125 h 1127125"/>
                <a:gd name="connsiteX3" fmla="*/ 0 w 2279650"/>
                <a:gd name="connsiteY3" fmla="*/ 790575 h 1127125"/>
                <a:gd name="connsiteX4" fmla="*/ 2146300 w 2279650"/>
                <a:gd name="connsiteY4" fmla="*/ 0 h 1127125"/>
                <a:gd name="connsiteX0" fmla="*/ 2143919 w 2279650"/>
                <a:gd name="connsiteY0" fmla="*/ 0 h 1129507"/>
                <a:gd name="connsiteX1" fmla="*/ 2279650 w 2279650"/>
                <a:gd name="connsiteY1" fmla="*/ 351632 h 1129507"/>
                <a:gd name="connsiteX2" fmla="*/ 136525 w 2279650"/>
                <a:gd name="connsiteY2" fmla="*/ 1129507 h 1129507"/>
                <a:gd name="connsiteX3" fmla="*/ 0 w 2279650"/>
                <a:gd name="connsiteY3" fmla="*/ 792957 h 1129507"/>
                <a:gd name="connsiteX4" fmla="*/ 2143919 w 2279650"/>
                <a:gd name="connsiteY4" fmla="*/ 0 h 1129507"/>
                <a:gd name="connsiteX0" fmla="*/ 2143919 w 2279650"/>
                <a:gd name="connsiteY0" fmla="*/ 0 h 1129507"/>
                <a:gd name="connsiteX1" fmla="*/ 2279650 w 2279650"/>
                <a:gd name="connsiteY1" fmla="*/ 351632 h 1129507"/>
                <a:gd name="connsiteX2" fmla="*/ 134144 w 2279650"/>
                <a:gd name="connsiteY2" fmla="*/ 1129507 h 1129507"/>
                <a:gd name="connsiteX3" fmla="*/ 0 w 2279650"/>
                <a:gd name="connsiteY3" fmla="*/ 792957 h 1129507"/>
                <a:gd name="connsiteX4" fmla="*/ 2143919 w 2279650"/>
                <a:gd name="connsiteY4" fmla="*/ 0 h 1129507"/>
                <a:gd name="connsiteX0" fmla="*/ 2143919 w 2279650"/>
                <a:gd name="connsiteY0" fmla="*/ 0 h 1129507"/>
                <a:gd name="connsiteX1" fmla="*/ 2279650 w 2279650"/>
                <a:gd name="connsiteY1" fmla="*/ 351632 h 1129507"/>
                <a:gd name="connsiteX2" fmla="*/ 134144 w 2279650"/>
                <a:gd name="connsiteY2" fmla="*/ 1129507 h 1129507"/>
                <a:gd name="connsiteX3" fmla="*/ 0 w 2279650"/>
                <a:gd name="connsiteY3" fmla="*/ 792957 h 1129507"/>
                <a:gd name="connsiteX4" fmla="*/ 2143919 w 2279650"/>
                <a:gd name="connsiteY4" fmla="*/ 0 h 1129507"/>
                <a:gd name="connsiteX0" fmla="*/ 2143919 w 2279650"/>
                <a:gd name="connsiteY0" fmla="*/ 0 h 1129507"/>
                <a:gd name="connsiteX1" fmla="*/ 2279650 w 2279650"/>
                <a:gd name="connsiteY1" fmla="*/ 351632 h 1129507"/>
                <a:gd name="connsiteX2" fmla="*/ 134144 w 2279650"/>
                <a:gd name="connsiteY2" fmla="*/ 1129507 h 1129507"/>
                <a:gd name="connsiteX3" fmla="*/ 0 w 2279650"/>
                <a:gd name="connsiteY3" fmla="*/ 792957 h 1129507"/>
                <a:gd name="connsiteX4" fmla="*/ 2143919 w 2279650"/>
                <a:gd name="connsiteY4" fmla="*/ 0 h 1129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9650" h="1129507">
                  <a:moveTo>
                    <a:pt x="2143919" y="0"/>
                  </a:moveTo>
                  <a:lnTo>
                    <a:pt x="2279650" y="351632"/>
                  </a:lnTo>
                  <a:cubicBezTo>
                    <a:pt x="1941455" y="348279"/>
                    <a:pt x="567550" y="683425"/>
                    <a:pt x="134144" y="1129507"/>
                  </a:cubicBezTo>
                  <a:lnTo>
                    <a:pt x="0" y="792957"/>
                  </a:lnTo>
                  <a:lnTo>
                    <a:pt x="2143919" y="0"/>
                  </a:lnTo>
                  <a:close/>
                </a:path>
              </a:pathLst>
            </a:custGeom>
            <a:solidFill>
              <a:schemeClr val="accent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hteck 12">
              <a:extLst>
                <a:ext uri="{FF2B5EF4-FFF2-40B4-BE49-F238E27FC236}">
                  <a16:creationId xmlns:a16="http://schemas.microsoft.com/office/drawing/2014/main" id="{96A759D9-B728-455C-9B8A-796551FC9A93}"/>
                </a:ext>
              </a:extLst>
            </p:cNvPr>
            <p:cNvSpPr/>
            <p:nvPr/>
          </p:nvSpPr>
          <p:spPr bwMode="gray">
            <a:xfrm>
              <a:off x="5951538" y="548680"/>
              <a:ext cx="2448718" cy="201672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Lorem ipsum dolor</a:t>
              </a:r>
              <a:br>
                <a:rPr lang="en-US" sz="1600" dirty="0">
                  <a:latin typeface="+mj-lt"/>
                </a:rPr>
              </a:br>
              <a:r>
                <a:rPr lang="en-US" sz="1600" dirty="0">
                  <a:latin typeface="+mj-lt"/>
                </a:rPr>
                <a:t>sit amet, </a:t>
              </a:r>
              <a:r>
                <a:rPr lang="en-US" sz="1600" dirty="0"/>
                <a:t>consectetuer adipiscing elit.</a:t>
              </a:r>
              <a:br>
                <a:rPr lang="en-US" sz="1600" dirty="0"/>
              </a:br>
              <a:r>
                <a:rPr lang="en-US" sz="1600" dirty="0"/>
                <a:t>Maecenas porttitor</a:t>
              </a:r>
              <a:br>
                <a:rPr lang="en-US" sz="1600" dirty="0"/>
              </a:br>
              <a:r>
                <a:rPr lang="en-US" sz="1600" dirty="0"/>
                <a:t>congue massa.</a:t>
              </a:r>
            </a:p>
          </p:txBody>
        </p:sp>
      </p:grpSp>
      <p:grpSp>
        <p:nvGrpSpPr>
          <p:cNvPr id="24" name="Gruppieren 23">
            <a:extLst>
              <a:ext uri="{FF2B5EF4-FFF2-40B4-BE49-F238E27FC236}">
                <a16:creationId xmlns:a16="http://schemas.microsoft.com/office/drawing/2014/main" id="{6700585D-27FF-4C87-9514-69840BB731E5}"/>
              </a:ext>
            </a:extLst>
          </p:cNvPr>
          <p:cNvGrpSpPr/>
          <p:nvPr/>
        </p:nvGrpSpPr>
        <p:grpSpPr bwMode="gray">
          <a:xfrm>
            <a:off x="6588991" y="543379"/>
            <a:ext cx="2315321" cy="2439203"/>
            <a:chOff x="5023692" y="3686175"/>
            <a:chExt cx="2315321" cy="2439203"/>
          </a:xfrm>
        </p:grpSpPr>
        <p:sp>
          <p:nvSpPr>
            <p:cNvPr id="6" name="Freihandform: Form 5">
              <a:extLst>
                <a:ext uri="{FF2B5EF4-FFF2-40B4-BE49-F238E27FC236}">
                  <a16:creationId xmlns:a16="http://schemas.microsoft.com/office/drawing/2014/main" id="{7A2A2048-23C3-458C-8327-B09A61A23656}"/>
                </a:ext>
              </a:extLst>
            </p:cNvPr>
            <p:cNvSpPr/>
            <p:nvPr/>
          </p:nvSpPr>
          <p:spPr bwMode="gray">
            <a:xfrm>
              <a:off x="5023692" y="3690651"/>
              <a:ext cx="2313542" cy="2434727"/>
            </a:xfrm>
            <a:custGeom>
              <a:avLst/>
              <a:gdLst>
                <a:gd name="connsiteX0" fmla="*/ 0 w 2313542"/>
                <a:gd name="connsiteY0" fmla="*/ 0 h 2434727"/>
                <a:gd name="connsiteX1" fmla="*/ 2313542 w 2313542"/>
                <a:gd name="connsiteY1" fmla="*/ 154236 h 2434727"/>
                <a:gd name="connsiteX2" fmla="*/ 2181339 w 2313542"/>
                <a:gd name="connsiteY2" fmla="*/ 2434727 h 2434727"/>
                <a:gd name="connsiteX3" fmla="*/ 66101 w 2313542"/>
                <a:gd name="connsiteY3" fmla="*/ 2071171 h 2434727"/>
                <a:gd name="connsiteX4" fmla="*/ 0 w 2313542"/>
                <a:gd name="connsiteY4" fmla="*/ 0 h 2434727"/>
                <a:gd name="connsiteX0" fmla="*/ 0 w 2313542"/>
                <a:gd name="connsiteY0" fmla="*/ 0 h 2434727"/>
                <a:gd name="connsiteX1" fmla="*/ 2313542 w 2313542"/>
                <a:gd name="connsiteY1" fmla="*/ 154236 h 2434727"/>
                <a:gd name="connsiteX2" fmla="*/ 2181339 w 2313542"/>
                <a:gd name="connsiteY2" fmla="*/ 2434727 h 2434727"/>
                <a:gd name="connsiteX3" fmla="*/ 66101 w 2313542"/>
                <a:gd name="connsiteY3" fmla="*/ 2071171 h 2434727"/>
                <a:gd name="connsiteX4" fmla="*/ 0 w 2313542"/>
                <a:gd name="connsiteY4" fmla="*/ 0 h 2434727"/>
                <a:gd name="connsiteX0" fmla="*/ 0 w 2313542"/>
                <a:gd name="connsiteY0" fmla="*/ 0 h 2434727"/>
                <a:gd name="connsiteX1" fmla="*/ 2313542 w 2313542"/>
                <a:gd name="connsiteY1" fmla="*/ 154236 h 2434727"/>
                <a:gd name="connsiteX2" fmla="*/ 2181339 w 2313542"/>
                <a:gd name="connsiteY2" fmla="*/ 2434727 h 2434727"/>
                <a:gd name="connsiteX3" fmla="*/ 66101 w 2313542"/>
                <a:gd name="connsiteY3" fmla="*/ 2071171 h 2434727"/>
                <a:gd name="connsiteX4" fmla="*/ 0 w 2313542"/>
                <a:gd name="connsiteY4" fmla="*/ 0 h 2434727"/>
                <a:gd name="connsiteX0" fmla="*/ 0 w 2313542"/>
                <a:gd name="connsiteY0" fmla="*/ 0 h 2434727"/>
                <a:gd name="connsiteX1" fmla="*/ 2313542 w 2313542"/>
                <a:gd name="connsiteY1" fmla="*/ 154236 h 2434727"/>
                <a:gd name="connsiteX2" fmla="*/ 2181339 w 2313542"/>
                <a:gd name="connsiteY2" fmla="*/ 2434727 h 2434727"/>
                <a:gd name="connsiteX3" fmla="*/ 66101 w 2313542"/>
                <a:gd name="connsiteY3" fmla="*/ 2071171 h 2434727"/>
                <a:gd name="connsiteX4" fmla="*/ 0 w 2313542"/>
                <a:gd name="connsiteY4" fmla="*/ 0 h 2434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3542" h="2434727">
                  <a:moveTo>
                    <a:pt x="0" y="0"/>
                  </a:moveTo>
                  <a:lnTo>
                    <a:pt x="2313542" y="154236"/>
                  </a:lnTo>
                  <a:lnTo>
                    <a:pt x="2181339" y="2434727"/>
                  </a:lnTo>
                  <a:cubicBezTo>
                    <a:pt x="1529600" y="2397362"/>
                    <a:pt x="839760" y="2382856"/>
                    <a:pt x="66101" y="2071171"/>
                  </a:cubicBezTo>
                  <a:cubicBezTo>
                    <a:pt x="-24513" y="1396021"/>
                    <a:pt x="22034" y="690390"/>
                    <a:pt x="0" y="0"/>
                  </a:cubicBezTo>
                  <a:close/>
                </a:path>
              </a:pathLst>
            </a:cu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ihandform: Form 13">
              <a:extLst>
                <a:ext uri="{FF2B5EF4-FFF2-40B4-BE49-F238E27FC236}">
                  <a16:creationId xmlns:a16="http://schemas.microsoft.com/office/drawing/2014/main" id="{1CED5A90-51CC-486A-A2D5-AA605108582C}"/>
                </a:ext>
              </a:extLst>
            </p:cNvPr>
            <p:cNvSpPr/>
            <p:nvPr/>
          </p:nvSpPr>
          <p:spPr bwMode="gray">
            <a:xfrm>
              <a:off x="5030788" y="4775200"/>
              <a:ext cx="1184275" cy="1273175"/>
            </a:xfrm>
            <a:custGeom>
              <a:avLst/>
              <a:gdLst>
                <a:gd name="connsiteX0" fmla="*/ 0 w 1190625"/>
                <a:gd name="connsiteY0" fmla="*/ 0 h 1266825"/>
                <a:gd name="connsiteX1" fmla="*/ 1190625 w 1190625"/>
                <a:gd name="connsiteY1" fmla="*/ 1266825 h 1266825"/>
                <a:gd name="connsiteX2" fmla="*/ 71437 w 1190625"/>
                <a:gd name="connsiteY2" fmla="*/ 981075 h 1266825"/>
                <a:gd name="connsiteX3" fmla="*/ 0 w 1190625"/>
                <a:gd name="connsiteY3" fmla="*/ 0 h 1266825"/>
                <a:gd name="connsiteX0" fmla="*/ 0 w 1190625"/>
                <a:gd name="connsiteY0" fmla="*/ 0 h 1266825"/>
                <a:gd name="connsiteX1" fmla="*/ 1190625 w 1190625"/>
                <a:gd name="connsiteY1" fmla="*/ 1266825 h 1266825"/>
                <a:gd name="connsiteX2" fmla="*/ 71437 w 1190625"/>
                <a:gd name="connsiteY2" fmla="*/ 981075 h 1266825"/>
                <a:gd name="connsiteX3" fmla="*/ 0 w 1190625"/>
                <a:gd name="connsiteY3" fmla="*/ 0 h 1266825"/>
                <a:gd name="connsiteX0" fmla="*/ 0 w 1190625"/>
                <a:gd name="connsiteY0" fmla="*/ 0 h 1266825"/>
                <a:gd name="connsiteX1" fmla="*/ 1190625 w 1190625"/>
                <a:gd name="connsiteY1" fmla="*/ 1266825 h 1266825"/>
                <a:gd name="connsiteX2" fmla="*/ 71437 w 1190625"/>
                <a:gd name="connsiteY2" fmla="*/ 981075 h 1266825"/>
                <a:gd name="connsiteX3" fmla="*/ 0 w 1190625"/>
                <a:gd name="connsiteY3" fmla="*/ 0 h 1266825"/>
                <a:gd name="connsiteX0" fmla="*/ 0 w 1190625"/>
                <a:gd name="connsiteY0" fmla="*/ 0 h 1266825"/>
                <a:gd name="connsiteX1" fmla="*/ 1190625 w 1190625"/>
                <a:gd name="connsiteY1" fmla="*/ 1266825 h 1266825"/>
                <a:gd name="connsiteX2" fmla="*/ 71437 w 1190625"/>
                <a:gd name="connsiteY2" fmla="*/ 981075 h 1266825"/>
                <a:gd name="connsiteX3" fmla="*/ 0 w 1190625"/>
                <a:gd name="connsiteY3" fmla="*/ 0 h 1266825"/>
                <a:gd name="connsiteX0" fmla="*/ 0 w 1184275"/>
                <a:gd name="connsiteY0" fmla="*/ 0 h 1273175"/>
                <a:gd name="connsiteX1" fmla="*/ 1184275 w 1184275"/>
                <a:gd name="connsiteY1" fmla="*/ 1273175 h 1273175"/>
                <a:gd name="connsiteX2" fmla="*/ 65087 w 1184275"/>
                <a:gd name="connsiteY2" fmla="*/ 987425 h 1273175"/>
                <a:gd name="connsiteX3" fmla="*/ 0 w 1184275"/>
                <a:gd name="connsiteY3" fmla="*/ 0 h 1273175"/>
                <a:gd name="connsiteX0" fmla="*/ 0 w 1184275"/>
                <a:gd name="connsiteY0" fmla="*/ 0 h 1273175"/>
                <a:gd name="connsiteX1" fmla="*/ 1184275 w 1184275"/>
                <a:gd name="connsiteY1" fmla="*/ 1273175 h 1273175"/>
                <a:gd name="connsiteX2" fmla="*/ 65087 w 1184275"/>
                <a:gd name="connsiteY2" fmla="*/ 987425 h 1273175"/>
                <a:gd name="connsiteX3" fmla="*/ 0 w 1184275"/>
                <a:gd name="connsiteY3" fmla="*/ 0 h 1273175"/>
                <a:gd name="connsiteX0" fmla="*/ 0 w 1184275"/>
                <a:gd name="connsiteY0" fmla="*/ 0 h 1273175"/>
                <a:gd name="connsiteX1" fmla="*/ 1184275 w 1184275"/>
                <a:gd name="connsiteY1" fmla="*/ 1273175 h 1273175"/>
                <a:gd name="connsiteX2" fmla="*/ 58737 w 1184275"/>
                <a:gd name="connsiteY2" fmla="*/ 990600 h 1273175"/>
                <a:gd name="connsiteX3" fmla="*/ 0 w 1184275"/>
                <a:gd name="connsiteY3" fmla="*/ 0 h 1273175"/>
                <a:gd name="connsiteX0" fmla="*/ 0 w 1184275"/>
                <a:gd name="connsiteY0" fmla="*/ 0 h 1273175"/>
                <a:gd name="connsiteX1" fmla="*/ 1184275 w 1184275"/>
                <a:gd name="connsiteY1" fmla="*/ 1273175 h 1273175"/>
                <a:gd name="connsiteX2" fmla="*/ 58737 w 1184275"/>
                <a:gd name="connsiteY2" fmla="*/ 990600 h 1273175"/>
                <a:gd name="connsiteX3" fmla="*/ 0 w 1184275"/>
                <a:gd name="connsiteY3" fmla="*/ 0 h 1273175"/>
                <a:gd name="connsiteX0" fmla="*/ 0 w 1184275"/>
                <a:gd name="connsiteY0" fmla="*/ 0 h 1273175"/>
                <a:gd name="connsiteX1" fmla="*/ 1184275 w 1184275"/>
                <a:gd name="connsiteY1" fmla="*/ 1273175 h 1273175"/>
                <a:gd name="connsiteX2" fmla="*/ 58737 w 1184275"/>
                <a:gd name="connsiteY2" fmla="*/ 990600 h 1273175"/>
                <a:gd name="connsiteX3" fmla="*/ 0 w 1184275"/>
                <a:gd name="connsiteY3" fmla="*/ 0 h 1273175"/>
              </a:gdLst>
              <a:ahLst/>
              <a:cxnLst>
                <a:cxn ang="0">
                  <a:pos x="connsiteX0" y="connsiteY0"/>
                </a:cxn>
                <a:cxn ang="0">
                  <a:pos x="connsiteX1" y="connsiteY1"/>
                </a:cxn>
                <a:cxn ang="0">
                  <a:pos x="connsiteX2" y="connsiteY2"/>
                </a:cxn>
                <a:cxn ang="0">
                  <a:pos x="connsiteX3" y="connsiteY3"/>
                </a:cxn>
              </a:cxnLst>
              <a:rect l="l" t="t" r="r" b="b"/>
              <a:pathLst>
                <a:path w="1184275" h="1273175">
                  <a:moveTo>
                    <a:pt x="0" y="0"/>
                  </a:moveTo>
                  <a:cubicBezTo>
                    <a:pt x="156633" y="910167"/>
                    <a:pt x="440267" y="1086908"/>
                    <a:pt x="1184275" y="1273175"/>
                  </a:cubicBezTo>
                  <a:cubicBezTo>
                    <a:pt x="711199" y="1211262"/>
                    <a:pt x="465137" y="1138238"/>
                    <a:pt x="58737" y="990600"/>
                  </a:cubicBezTo>
                  <a:cubicBezTo>
                    <a:pt x="6350" y="644525"/>
                    <a:pt x="1587" y="333375"/>
                    <a:pt x="0" y="0"/>
                  </a:cubicBezTo>
                  <a:close/>
                </a:path>
              </a:pathLst>
            </a:cu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ihandform: Form 21">
              <a:extLst>
                <a:ext uri="{FF2B5EF4-FFF2-40B4-BE49-F238E27FC236}">
                  <a16:creationId xmlns:a16="http://schemas.microsoft.com/office/drawing/2014/main" id="{52593EED-F956-4569-B869-8047041384D0}"/>
                </a:ext>
              </a:extLst>
            </p:cNvPr>
            <p:cNvSpPr/>
            <p:nvPr/>
          </p:nvSpPr>
          <p:spPr bwMode="gray">
            <a:xfrm>
              <a:off x="5024438" y="3686175"/>
              <a:ext cx="2314575" cy="481013"/>
            </a:xfrm>
            <a:custGeom>
              <a:avLst/>
              <a:gdLst>
                <a:gd name="connsiteX0" fmla="*/ 0 w 2314575"/>
                <a:gd name="connsiteY0" fmla="*/ 0 h 481013"/>
                <a:gd name="connsiteX1" fmla="*/ 0 w 2314575"/>
                <a:gd name="connsiteY1" fmla="*/ 323850 h 481013"/>
                <a:gd name="connsiteX2" fmla="*/ 2300287 w 2314575"/>
                <a:gd name="connsiteY2" fmla="*/ 481013 h 481013"/>
                <a:gd name="connsiteX3" fmla="*/ 2314575 w 2314575"/>
                <a:gd name="connsiteY3" fmla="*/ 152400 h 481013"/>
                <a:gd name="connsiteX4" fmla="*/ 0 w 2314575"/>
                <a:gd name="connsiteY4" fmla="*/ 0 h 481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4575" h="481013">
                  <a:moveTo>
                    <a:pt x="0" y="0"/>
                  </a:moveTo>
                  <a:lnTo>
                    <a:pt x="0" y="323850"/>
                  </a:lnTo>
                  <a:lnTo>
                    <a:pt x="2300287" y="481013"/>
                  </a:lnTo>
                  <a:lnTo>
                    <a:pt x="2314575" y="152400"/>
                  </a:lnTo>
                  <a:lnTo>
                    <a:pt x="0" y="0"/>
                  </a:lnTo>
                  <a:close/>
                </a:path>
              </a:pathLst>
            </a:cu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hteck 22">
              <a:extLst>
                <a:ext uri="{FF2B5EF4-FFF2-40B4-BE49-F238E27FC236}">
                  <a16:creationId xmlns:a16="http://schemas.microsoft.com/office/drawing/2014/main" id="{6F4D34E5-5365-4320-8ABA-1FECB77749D7}"/>
                </a:ext>
              </a:extLst>
            </p:cNvPr>
            <p:cNvSpPr/>
            <p:nvPr/>
          </p:nvSpPr>
          <p:spPr bwMode="gray">
            <a:xfrm>
              <a:off x="5023692" y="3861048"/>
              <a:ext cx="2313542" cy="201672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mj-lt"/>
                </a:rPr>
                <a:t>Lorem ipsum dolor</a:t>
              </a:r>
              <a:br>
                <a:rPr lang="en-US" sz="1600" dirty="0">
                  <a:solidFill>
                    <a:schemeClr val="tx1"/>
                  </a:solidFill>
                  <a:latin typeface="+mj-lt"/>
                </a:rPr>
              </a:br>
              <a:r>
                <a:rPr lang="en-US" sz="1600" dirty="0">
                  <a:solidFill>
                    <a:schemeClr val="tx1"/>
                  </a:solidFill>
                  <a:latin typeface="+mj-lt"/>
                </a:rPr>
                <a:t>sit amet, </a:t>
              </a:r>
              <a:r>
                <a:rPr lang="en-US" sz="1600" dirty="0">
                  <a:solidFill>
                    <a:schemeClr val="tx1"/>
                  </a:solidFill>
                </a:rPr>
                <a:t>consectetuer adipiscing elit.</a:t>
              </a:r>
              <a:br>
                <a:rPr lang="en-US" sz="1600" dirty="0">
                  <a:solidFill>
                    <a:schemeClr val="tx1"/>
                  </a:solidFill>
                </a:rPr>
              </a:br>
              <a:r>
                <a:rPr lang="en-US" sz="1600" dirty="0">
                  <a:solidFill>
                    <a:schemeClr val="tx1"/>
                  </a:solidFill>
                </a:rPr>
                <a:t>Maecenas porttitor</a:t>
              </a:r>
              <a:br>
                <a:rPr lang="en-US" sz="1600" dirty="0">
                  <a:solidFill>
                    <a:schemeClr val="tx1"/>
                  </a:solidFill>
                </a:rPr>
              </a:br>
              <a:r>
                <a:rPr lang="en-US" sz="1600" dirty="0">
                  <a:solidFill>
                    <a:schemeClr val="tx1"/>
                  </a:solidFill>
                </a:rPr>
                <a:t>congue massa.</a:t>
              </a:r>
            </a:p>
          </p:txBody>
        </p:sp>
      </p:grpSp>
      <p:grpSp>
        <p:nvGrpSpPr>
          <p:cNvPr id="26" name="Gruppieren 25">
            <a:extLst>
              <a:ext uri="{FF2B5EF4-FFF2-40B4-BE49-F238E27FC236}">
                <a16:creationId xmlns:a16="http://schemas.microsoft.com/office/drawing/2014/main" id="{064305AE-985E-4E52-B1EC-02446949C753}"/>
              </a:ext>
            </a:extLst>
          </p:cNvPr>
          <p:cNvGrpSpPr/>
          <p:nvPr/>
        </p:nvGrpSpPr>
        <p:grpSpPr bwMode="gray">
          <a:xfrm>
            <a:off x="4605175" y="3451578"/>
            <a:ext cx="2952521" cy="2639408"/>
            <a:chOff x="5706737" y="143220"/>
            <a:chExt cx="2952521" cy="2639408"/>
          </a:xfrm>
        </p:grpSpPr>
        <p:sp>
          <p:nvSpPr>
            <p:cNvPr id="28" name="Freihandform: Form 27">
              <a:extLst>
                <a:ext uri="{FF2B5EF4-FFF2-40B4-BE49-F238E27FC236}">
                  <a16:creationId xmlns:a16="http://schemas.microsoft.com/office/drawing/2014/main" id="{7A174B1A-6259-405D-A53F-739FEA094C62}"/>
                </a:ext>
              </a:extLst>
            </p:cNvPr>
            <p:cNvSpPr/>
            <p:nvPr/>
          </p:nvSpPr>
          <p:spPr bwMode="gray">
            <a:xfrm>
              <a:off x="5706737" y="143220"/>
              <a:ext cx="2952521" cy="2635072"/>
            </a:xfrm>
            <a:custGeom>
              <a:avLst/>
              <a:gdLst>
                <a:gd name="connsiteX0" fmla="*/ 2148290 w 2952521"/>
                <a:gd name="connsiteY0" fmla="*/ 0 h 2635072"/>
                <a:gd name="connsiteX1" fmla="*/ 2952521 w 2952521"/>
                <a:gd name="connsiteY1" fmla="*/ 2137273 h 2635072"/>
                <a:gd name="connsiteX2" fmla="*/ 848299 w 2952521"/>
                <a:gd name="connsiteY2" fmla="*/ 2633032 h 2635072"/>
                <a:gd name="connsiteX3" fmla="*/ 0 w 2952521"/>
                <a:gd name="connsiteY3" fmla="*/ 793215 h 2635072"/>
              </a:gdLst>
              <a:ahLst/>
              <a:cxnLst>
                <a:cxn ang="0">
                  <a:pos x="connsiteX0" y="connsiteY0"/>
                </a:cxn>
                <a:cxn ang="0">
                  <a:pos x="connsiteX1" y="connsiteY1"/>
                </a:cxn>
                <a:cxn ang="0">
                  <a:pos x="connsiteX2" y="connsiteY2"/>
                </a:cxn>
                <a:cxn ang="0">
                  <a:pos x="connsiteX3" y="connsiteY3"/>
                </a:cxn>
              </a:cxnLst>
              <a:rect l="l" t="t" r="r" b="b"/>
              <a:pathLst>
                <a:path w="2952521" h="2635072">
                  <a:moveTo>
                    <a:pt x="2148290" y="0"/>
                  </a:moveTo>
                  <a:lnTo>
                    <a:pt x="2952521" y="2137273"/>
                  </a:lnTo>
                  <a:cubicBezTo>
                    <a:pt x="2447964" y="2321576"/>
                    <a:pt x="1829106" y="2664629"/>
                    <a:pt x="848299" y="2633032"/>
                  </a:cubicBezTo>
                  <a:cubicBezTo>
                    <a:pt x="565533" y="2019760"/>
                    <a:pt x="257366" y="1469987"/>
                    <a:pt x="0" y="793215"/>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Freihandform: Form 28">
              <a:extLst>
                <a:ext uri="{FF2B5EF4-FFF2-40B4-BE49-F238E27FC236}">
                  <a16:creationId xmlns:a16="http://schemas.microsoft.com/office/drawing/2014/main" id="{F9CC1859-0061-477F-AC40-95E3E54F0BD4}"/>
                </a:ext>
              </a:extLst>
            </p:cNvPr>
            <p:cNvSpPr/>
            <p:nvPr/>
          </p:nvSpPr>
          <p:spPr bwMode="gray">
            <a:xfrm>
              <a:off x="6129336" y="1893093"/>
              <a:ext cx="2081213" cy="889535"/>
            </a:xfrm>
            <a:custGeom>
              <a:avLst/>
              <a:gdLst>
                <a:gd name="connsiteX0" fmla="*/ 0 w 2101850"/>
                <a:gd name="connsiteY0" fmla="*/ 0 h 879475"/>
                <a:gd name="connsiteX1" fmla="*/ 2101850 w 2101850"/>
                <a:gd name="connsiteY1" fmla="*/ 549275 h 879475"/>
                <a:gd name="connsiteX2" fmla="*/ 428625 w 2101850"/>
                <a:gd name="connsiteY2" fmla="*/ 879475 h 879475"/>
                <a:gd name="connsiteX3" fmla="*/ 0 w 2101850"/>
                <a:gd name="connsiteY3" fmla="*/ 0 h 879475"/>
                <a:gd name="connsiteX0" fmla="*/ 0 w 2101850"/>
                <a:gd name="connsiteY0" fmla="*/ 0 h 882909"/>
                <a:gd name="connsiteX1" fmla="*/ 2101850 w 2101850"/>
                <a:gd name="connsiteY1" fmla="*/ 549275 h 882909"/>
                <a:gd name="connsiteX2" fmla="*/ 428625 w 2101850"/>
                <a:gd name="connsiteY2" fmla="*/ 879475 h 882909"/>
                <a:gd name="connsiteX3" fmla="*/ 0 w 2101850"/>
                <a:gd name="connsiteY3" fmla="*/ 0 h 882909"/>
                <a:gd name="connsiteX0" fmla="*/ 0 w 2101850"/>
                <a:gd name="connsiteY0" fmla="*/ 0 h 883793"/>
                <a:gd name="connsiteX1" fmla="*/ 2101850 w 2101850"/>
                <a:gd name="connsiteY1" fmla="*/ 549275 h 883793"/>
                <a:gd name="connsiteX2" fmla="*/ 428625 w 2101850"/>
                <a:gd name="connsiteY2" fmla="*/ 879475 h 883793"/>
                <a:gd name="connsiteX3" fmla="*/ 0 w 2101850"/>
                <a:gd name="connsiteY3" fmla="*/ 0 h 883793"/>
                <a:gd name="connsiteX0" fmla="*/ 0 w 2101850"/>
                <a:gd name="connsiteY0" fmla="*/ 0 h 883793"/>
                <a:gd name="connsiteX1" fmla="*/ 2101850 w 2101850"/>
                <a:gd name="connsiteY1" fmla="*/ 549275 h 883793"/>
                <a:gd name="connsiteX2" fmla="*/ 428625 w 2101850"/>
                <a:gd name="connsiteY2" fmla="*/ 879475 h 883793"/>
                <a:gd name="connsiteX3" fmla="*/ 0 w 2101850"/>
                <a:gd name="connsiteY3" fmla="*/ 0 h 883793"/>
                <a:gd name="connsiteX0" fmla="*/ 0 w 2101850"/>
                <a:gd name="connsiteY0" fmla="*/ 0 h 883793"/>
                <a:gd name="connsiteX1" fmla="*/ 2101850 w 2101850"/>
                <a:gd name="connsiteY1" fmla="*/ 549275 h 883793"/>
                <a:gd name="connsiteX2" fmla="*/ 428625 w 2101850"/>
                <a:gd name="connsiteY2" fmla="*/ 879475 h 883793"/>
                <a:gd name="connsiteX3" fmla="*/ 0 w 2101850"/>
                <a:gd name="connsiteY3" fmla="*/ 0 h 883793"/>
                <a:gd name="connsiteX0" fmla="*/ 0 w 2101850"/>
                <a:gd name="connsiteY0" fmla="*/ 0 h 886968"/>
                <a:gd name="connsiteX1" fmla="*/ 2101850 w 2101850"/>
                <a:gd name="connsiteY1" fmla="*/ 552450 h 886968"/>
                <a:gd name="connsiteX2" fmla="*/ 428625 w 2101850"/>
                <a:gd name="connsiteY2" fmla="*/ 882650 h 886968"/>
                <a:gd name="connsiteX3" fmla="*/ 0 w 2101850"/>
                <a:gd name="connsiteY3" fmla="*/ 0 h 886968"/>
                <a:gd name="connsiteX0" fmla="*/ 0 w 2085975"/>
                <a:gd name="connsiteY0" fmla="*/ 0 h 887154"/>
                <a:gd name="connsiteX1" fmla="*/ 2085975 w 2085975"/>
                <a:gd name="connsiteY1" fmla="*/ 561975 h 887154"/>
                <a:gd name="connsiteX2" fmla="*/ 428625 w 2085975"/>
                <a:gd name="connsiteY2" fmla="*/ 882650 h 887154"/>
                <a:gd name="connsiteX3" fmla="*/ 0 w 2085975"/>
                <a:gd name="connsiteY3" fmla="*/ 0 h 887154"/>
                <a:gd name="connsiteX0" fmla="*/ 0 w 2081213"/>
                <a:gd name="connsiteY0" fmla="*/ 0 h 889535"/>
                <a:gd name="connsiteX1" fmla="*/ 2081213 w 2081213"/>
                <a:gd name="connsiteY1" fmla="*/ 564356 h 889535"/>
                <a:gd name="connsiteX2" fmla="*/ 423863 w 2081213"/>
                <a:gd name="connsiteY2" fmla="*/ 885031 h 889535"/>
                <a:gd name="connsiteX3" fmla="*/ 0 w 2081213"/>
                <a:gd name="connsiteY3" fmla="*/ 0 h 889535"/>
              </a:gdLst>
              <a:ahLst/>
              <a:cxnLst>
                <a:cxn ang="0">
                  <a:pos x="connsiteX0" y="connsiteY0"/>
                </a:cxn>
                <a:cxn ang="0">
                  <a:pos x="connsiteX1" y="connsiteY1"/>
                </a:cxn>
                <a:cxn ang="0">
                  <a:pos x="connsiteX2" y="connsiteY2"/>
                </a:cxn>
                <a:cxn ang="0">
                  <a:pos x="connsiteX3" y="connsiteY3"/>
                </a:cxn>
              </a:cxnLst>
              <a:rect l="l" t="t" r="r" b="b"/>
              <a:pathLst>
                <a:path w="2081213" h="889535">
                  <a:moveTo>
                    <a:pt x="0" y="0"/>
                  </a:moveTo>
                  <a:cubicBezTo>
                    <a:pt x="452967" y="497417"/>
                    <a:pt x="990071" y="794014"/>
                    <a:pt x="2081213" y="564356"/>
                  </a:cubicBezTo>
                  <a:cubicBezTo>
                    <a:pt x="1609196" y="734748"/>
                    <a:pt x="1137180" y="921014"/>
                    <a:pt x="423863" y="885031"/>
                  </a:cubicBezTo>
                  <a:lnTo>
                    <a:pt x="0" y="0"/>
                  </a:lnTo>
                  <a:close/>
                </a:path>
              </a:pathLst>
            </a:custGeom>
            <a:solidFill>
              <a:schemeClr val="accent5">
                <a:lumMod val="75000"/>
                <a:alpha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Freihandform: Form 29">
              <a:extLst>
                <a:ext uri="{FF2B5EF4-FFF2-40B4-BE49-F238E27FC236}">
                  <a16:creationId xmlns:a16="http://schemas.microsoft.com/office/drawing/2014/main" id="{C3723768-DE1D-42C6-9168-904241115EBE}"/>
                </a:ext>
              </a:extLst>
            </p:cNvPr>
            <p:cNvSpPr/>
            <p:nvPr/>
          </p:nvSpPr>
          <p:spPr bwMode="gray">
            <a:xfrm>
              <a:off x="5708650" y="143668"/>
              <a:ext cx="2279650" cy="1129507"/>
            </a:xfrm>
            <a:custGeom>
              <a:avLst/>
              <a:gdLst>
                <a:gd name="connsiteX0" fmla="*/ 2139950 w 2279650"/>
                <a:gd name="connsiteY0" fmla="*/ 0 h 1111250"/>
                <a:gd name="connsiteX1" fmla="*/ 2279650 w 2279650"/>
                <a:gd name="connsiteY1" fmla="*/ 349250 h 1111250"/>
                <a:gd name="connsiteX2" fmla="*/ 123825 w 2279650"/>
                <a:gd name="connsiteY2" fmla="*/ 1111250 h 1111250"/>
                <a:gd name="connsiteX3" fmla="*/ 0 w 2279650"/>
                <a:gd name="connsiteY3" fmla="*/ 790575 h 1111250"/>
                <a:gd name="connsiteX4" fmla="*/ 2139950 w 2279650"/>
                <a:gd name="connsiteY4" fmla="*/ 0 h 1111250"/>
                <a:gd name="connsiteX0" fmla="*/ 2146300 w 2279650"/>
                <a:gd name="connsiteY0" fmla="*/ 0 h 1111250"/>
                <a:gd name="connsiteX1" fmla="*/ 2279650 w 2279650"/>
                <a:gd name="connsiteY1" fmla="*/ 349250 h 1111250"/>
                <a:gd name="connsiteX2" fmla="*/ 123825 w 2279650"/>
                <a:gd name="connsiteY2" fmla="*/ 1111250 h 1111250"/>
                <a:gd name="connsiteX3" fmla="*/ 0 w 2279650"/>
                <a:gd name="connsiteY3" fmla="*/ 790575 h 1111250"/>
                <a:gd name="connsiteX4" fmla="*/ 2146300 w 2279650"/>
                <a:gd name="connsiteY4" fmla="*/ 0 h 1111250"/>
                <a:gd name="connsiteX0" fmla="*/ 2146300 w 2279650"/>
                <a:gd name="connsiteY0" fmla="*/ 0 h 1111250"/>
                <a:gd name="connsiteX1" fmla="*/ 2279650 w 2279650"/>
                <a:gd name="connsiteY1" fmla="*/ 349250 h 1111250"/>
                <a:gd name="connsiteX2" fmla="*/ 180975 w 2279650"/>
                <a:gd name="connsiteY2" fmla="*/ 1111250 h 1111250"/>
                <a:gd name="connsiteX3" fmla="*/ 0 w 2279650"/>
                <a:gd name="connsiteY3" fmla="*/ 790575 h 1111250"/>
                <a:gd name="connsiteX4" fmla="*/ 2146300 w 2279650"/>
                <a:gd name="connsiteY4" fmla="*/ 0 h 1111250"/>
                <a:gd name="connsiteX0" fmla="*/ 2146300 w 2279650"/>
                <a:gd name="connsiteY0" fmla="*/ 0 h 1127125"/>
                <a:gd name="connsiteX1" fmla="*/ 2279650 w 2279650"/>
                <a:gd name="connsiteY1" fmla="*/ 349250 h 1127125"/>
                <a:gd name="connsiteX2" fmla="*/ 136525 w 2279650"/>
                <a:gd name="connsiteY2" fmla="*/ 1127125 h 1127125"/>
                <a:gd name="connsiteX3" fmla="*/ 0 w 2279650"/>
                <a:gd name="connsiteY3" fmla="*/ 790575 h 1127125"/>
                <a:gd name="connsiteX4" fmla="*/ 2146300 w 2279650"/>
                <a:gd name="connsiteY4" fmla="*/ 0 h 1127125"/>
                <a:gd name="connsiteX0" fmla="*/ 2146300 w 2279650"/>
                <a:gd name="connsiteY0" fmla="*/ 0 h 1127125"/>
                <a:gd name="connsiteX1" fmla="*/ 2279650 w 2279650"/>
                <a:gd name="connsiteY1" fmla="*/ 349250 h 1127125"/>
                <a:gd name="connsiteX2" fmla="*/ 136525 w 2279650"/>
                <a:gd name="connsiteY2" fmla="*/ 1127125 h 1127125"/>
                <a:gd name="connsiteX3" fmla="*/ 0 w 2279650"/>
                <a:gd name="connsiteY3" fmla="*/ 790575 h 1127125"/>
                <a:gd name="connsiteX4" fmla="*/ 2146300 w 2279650"/>
                <a:gd name="connsiteY4" fmla="*/ 0 h 1127125"/>
                <a:gd name="connsiteX0" fmla="*/ 2146300 w 2279650"/>
                <a:gd name="connsiteY0" fmla="*/ 0 h 1127125"/>
                <a:gd name="connsiteX1" fmla="*/ 2279650 w 2279650"/>
                <a:gd name="connsiteY1" fmla="*/ 349250 h 1127125"/>
                <a:gd name="connsiteX2" fmla="*/ 136525 w 2279650"/>
                <a:gd name="connsiteY2" fmla="*/ 1127125 h 1127125"/>
                <a:gd name="connsiteX3" fmla="*/ 0 w 2279650"/>
                <a:gd name="connsiteY3" fmla="*/ 790575 h 1127125"/>
                <a:gd name="connsiteX4" fmla="*/ 2146300 w 2279650"/>
                <a:gd name="connsiteY4" fmla="*/ 0 h 1127125"/>
                <a:gd name="connsiteX0" fmla="*/ 2146300 w 2279650"/>
                <a:gd name="connsiteY0" fmla="*/ 0 h 1127125"/>
                <a:gd name="connsiteX1" fmla="*/ 2279650 w 2279650"/>
                <a:gd name="connsiteY1" fmla="*/ 349250 h 1127125"/>
                <a:gd name="connsiteX2" fmla="*/ 136525 w 2279650"/>
                <a:gd name="connsiteY2" fmla="*/ 1127125 h 1127125"/>
                <a:gd name="connsiteX3" fmla="*/ 0 w 2279650"/>
                <a:gd name="connsiteY3" fmla="*/ 790575 h 1127125"/>
                <a:gd name="connsiteX4" fmla="*/ 2146300 w 2279650"/>
                <a:gd name="connsiteY4" fmla="*/ 0 h 1127125"/>
                <a:gd name="connsiteX0" fmla="*/ 2143919 w 2279650"/>
                <a:gd name="connsiteY0" fmla="*/ 0 h 1129507"/>
                <a:gd name="connsiteX1" fmla="*/ 2279650 w 2279650"/>
                <a:gd name="connsiteY1" fmla="*/ 351632 h 1129507"/>
                <a:gd name="connsiteX2" fmla="*/ 136525 w 2279650"/>
                <a:gd name="connsiteY2" fmla="*/ 1129507 h 1129507"/>
                <a:gd name="connsiteX3" fmla="*/ 0 w 2279650"/>
                <a:gd name="connsiteY3" fmla="*/ 792957 h 1129507"/>
                <a:gd name="connsiteX4" fmla="*/ 2143919 w 2279650"/>
                <a:gd name="connsiteY4" fmla="*/ 0 h 1129507"/>
                <a:gd name="connsiteX0" fmla="*/ 2143919 w 2279650"/>
                <a:gd name="connsiteY0" fmla="*/ 0 h 1129507"/>
                <a:gd name="connsiteX1" fmla="*/ 2279650 w 2279650"/>
                <a:gd name="connsiteY1" fmla="*/ 351632 h 1129507"/>
                <a:gd name="connsiteX2" fmla="*/ 134144 w 2279650"/>
                <a:gd name="connsiteY2" fmla="*/ 1129507 h 1129507"/>
                <a:gd name="connsiteX3" fmla="*/ 0 w 2279650"/>
                <a:gd name="connsiteY3" fmla="*/ 792957 h 1129507"/>
                <a:gd name="connsiteX4" fmla="*/ 2143919 w 2279650"/>
                <a:gd name="connsiteY4" fmla="*/ 0 h 1129507"/>
                <a:gd name="connsiteX0" fmla="*/ 2143919 w 2279650"/>
                <a:gd name="connsiteY0" fmla="*/ 0 h 1129507"/>
                <a:gd name="connsiteX1" fmla="*/ 2279650 w 2279650"/>
                <a:gd name="connsiteY1" fmla="*/ 351632 h 1129507"/>
                <a:gd name="connsiteX2" fmla="*/ 134144 w 2279650"/>
                <a:gd name="connsiteY2" fmla="*/ 1129507 h 1129507"/>
                <a:gd name="connsiteX3" fmla="*/ 0 w 2279650"/>
                <a:gd name="connsiteY3" fmla="*/ 792957 h 1129507"/>
                <a:gd name="connsiteX4" fmla="*/ 2143919 w 2279650"/>
                <a:gd name="connsiteY4" fmla="*/ 0 h 1129507"/>
                <a:gd name="connsiteX0" fmla="*/ 2143919 w 2279650"/>
                <a:gd name="connsiteY0" fmla="*/ 0 h 1129507"/>
                <a:gd name="connsiteX1" fmla="*/ 2279650 w 2279650"/>
                <a:gd name="connsiteY1" fmla="*/ 351632 h 1129507"/>
                <a:gd name="connsiteX2" fmla="*/ 134144 w 2279650"/>
                <a:gd name="connsiteY2" fmla="*/ 1129507 h 1129507"/>
                <a:gd name="connsiteX3" fmla="*/ 0 w 2279650"/>
                <a:gd name="connsiteY3" fmla="*/ 792957 h 1129507"/>
                <a:gd name="connsiteX4" fmla="*/ 2143919 w 2279650"/>
                <a:gd name="connsiteY4" fmla="*/ 0 h 1129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9650" h="1129507">
                  <a:moveTo>
                    <a:pt x="2143919" y="0"/>
                  </a:moveTo>
                  <a:lnTo>
                    <a:pt x="2279650" y="351632"/>
                  </a:lnTo>
                  <a:cubicBezTo>
                    <a:pt x="1941455" y="348279"/>
                    <a:pt x="567550" y="683425"/>
                    <a:pt x="134144" y="1129507"/>
                  </a:cubicBezTo>
                  <a:lnTo>
                    <a:pt x="0" y="792957"/>
                  </a:lnTo>
                  <a:lnTo>
                    <a:pt x="2143919" y="0"/>
                  </a:lnTo>
                  <a:close/>
                </a:path>
              </a:pathLst>
            </a:custGeom>
            <a:solidFill>
              <a:schemeClr val="accent5">
                <a:lumMod val="60000"/>
                <a:lumOff val="40000"/>
                <a:alpha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hteck 30">
              <a:extLst>
                <a:ext uri="{FF2B5EF4-FFF2-40B4-BE49-F238E27FC236}">
                  <a16:creationId xmlns:a16="http://schemas.microsoft.com/office/drawing/2014/main" id="{E1FBBAE3-2959-408B-AEF9-7687AD80DF26}"/>
                </a:ext>
              </a:extLst>
            </p:cNvPr>
            <p:cNvSpPr/>
            <p:nvPr/>
          </p:nvSpPr>
          <p:spPr bwMode="gray">
            <a:xfrm>
              <a:off x="5951538" y="548680"/>
              <a:ext cx="2448718" cy="201672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Lorem ipsum dolor</a:t>
              </a:r>
              <a:br>
                <a:rPr lang="en-US" sz="1600" dirty="0">
                  <a:latin typeface="+mj-lt"/>
                </a:rPr>
              </a:br>
              <a:r>
                <a:rPr lang="en-US" sz="1600" dirty="0">
                  <a:latin typeface="+mj-lt"/>
                </a:rPr>
                <a:t>sit amet, </a:t>
              </a:r>
              <a:r>
                <a:rPr lang="en-US" sz="1600" dirty="0"/>
                <a:t>consectetuer adipiscing elit.</a:t>
              </a:r>
              <a:br>
                <a:rPr lang="en-US" sz="1600" dirty="0"/>
              </a:br>
              <a:r>
                <a:rPr lang="en-US" sz="1600" dirty="0"/>
                <a:t>Maecenas porttitor</a:t>
              </a:r>
              <a:br>
                <a:rPr lang="en-US" sz="1600" dirty="0"/>
              </a:br>
              <a:r>
                <a:rPr lang="en-US" sz="1600" dirty="0"/>
                <a:t>congue massa.</a:t>
              </a:r>
            </a:p>
          </p:txBody>
        </p:sp>
      </p:grpSp>
      <p:grpSp>
        <p:nvGrpSpPr>
          <p:cNvPr id="32" name="Gruppieren 31">
            <a:extLst>
              <a:ext uri="{FF2B5EF4-FFF2-40B4-BE49-F238E27FC236}">
                <a16:creationId xmlns:a16="http://schemas.microsoft.com/office/drawing/2014/main" id="{004E2746-5A70-4A2C-83E2-31CF417D428E}"/>
              </a:ext>
            </a:extLst>
          </p:cNvPr>
          <p:cNvGrpSpPr/>
          <p:nvPr/>
        </p:nvGrpSpPr>
        <p:grpSpPr bwMode="gray">
          <a:xfrm rot="685170">
            <a:off x="8444528" y="3678112"/>
            <a:ext cx="2315321" cy="2439203"/>
            <a:chOff x="5023692" y="3686175"/>
            <a:chExt cx="2315321" cy="2439203"/>
          </a:xfrm>
        </p:grpSpPr>
        <p:sp>
          <p:nvSpPr>
            <p:cNvPr id="34" name="Freihandform: Form 33">
              <a:extLst>
                <a:ext uri="{FF2B5EF4-FFF2-40B4-BE49-F238E27FC236}">
                  <a16:creationId xmlns:a16="http://schemas.microsoft.com/office/drawing/2014/main" id="{4605C144-41DF-4473-8058-7F993E8316D0}"/>
                </a:ext>
              </a:extLst>
            </p:cNvPr>
            <p:cNvSpPr/>
            <p:nvPr/>
          </p:nvSpPr>
          <p:spPr bwMode="gray">
            <a:xfrm>
              <a:off x="5023692" y="3690651"/>
              <a:ext cx="2313542" cy="2434727"/>
            </a:xfrm>
            <a:custGeom>
              <a:avLst/>
              <a:gdLst>
                <a:gd name="connsiteX0" fmla="*/ 0 w 2313542"/>
                <a:gd name="connsiteY0" fmla="*/ 0 h 2434727"/>
                <a:gd name="connsiteX1" fmla="*/ 2313542 w 2313542"/>
                <a:gd name="connsiteY1" fmla="*/ 154236 h 2434727"/>
                <a:gd name="connsiteX2" fmla="*/ 2181339 w 2313542"/>
                <a:gd name="connsiteY2" fmla="*/ 2434727 h 2434727"/>
                <a:gd name="connsiteX3" fmla="*/ 66101 w 2313542"/>
                <a:gd name="connsiteY3" fmla="*/ 2071171 h 2434727"/>
                <a:gd name="connsiteX4" fmla="*/ 0 w 2313542"/>
                <a:gd name="connsiteY4" fmla="*/ 0 h 2434727"/>
                <a:gd name="connsiteX0" fmla="*/ 0 w 2313542"/>
                <a:gd name="connsiteY0" fmla="*/ 0 h 2434727"/>
                <a:gd name="connsiteX1" fmla="*/ 2313542 w 2313542"/>
                <a:gd name="connsiteY1" fmla="*/ 154236 h 2434727"/>
                <a:gd name="connsiteX2" fmla="*/ 2181339 w 2313542"/>
                <a:gd name="connsiteY2" fmla="*/ 2434727 h 2434727"/>
                <a:gd name="connsiteX3" fmla="*/ 66101 w 2313542"/>
                <a:gd name="connsiteY3" fmla="*/ 2071171 h 2434727"/>
                <a:gd name="connsiteX4" fmla="*/ 0 w 2313542"/>
                <a:gd name="connsiteY4" fmla="*/ 0 h 2434727"/>
                <a:gd name="connsiteX0" fmla="*/ 0 w 2313542"/>
                <a:gd name="connsiteY0" fmla="*/ 0 h 2434727"/>
                <a:gd name="connsiteX1" fmla="*/ 2313542 w 2313542"/>
                <a:gd name="connsiteY1" fmla="*/ 154236 h 2434727"/>
                <a:gd name="connsiteX2" fmla="*/ 2181339 w 2313542"/>
                <a:gd name="connsiteY2" fmla="*/ 2434727 h 2434727"/>
                <a:gd name="connsiteX3" fmla="*/ 66101 w 2313542"/>
                <a:gd name="connsiteY3" fmla="*/ 2071171 h 2434727"/>
                <a:gd name="connsiteX4" fmla="*/ 0 w 2313542"/>
                <a:gd name="connsiteY4" fmla="*/ 0 h 2434727"/>
                <a:gd name="connsiteX0" fmla="*/ 0 w 2313542"/>
                <a:gd name="connsiteY0" fmla="*/ 0 h 2434727"/>
                <a:gd name="connsiteX1" fmla="*/ 2313542 w 2313542"/>
                <a:gd name="connsiteY1" fmla="*/ 154236 h 2434727"/>
                <a:gd name="connsiteX2" fmla="*/ 2181339 w 2313542"/>
                <a:gd name="connsiteY2" fmla="*/ 2434727 h 2434727"/>
                <a:gd name="connsiteX3" fmla="*/ 66101 w 2313542"/>
                <a:gd name="connsiteY3" fmla="*/ 2071171 h 2434727"/>
                <a:gd name="connsiteX4" fmla="*/ 0 w 2313542"/>
                <a:gd name="connsiteY4" fmla="*/ 0 h 2434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3542" h="2434727">
                  <a:moveTo>
                    <a:pt x="0" y="0"/>
                  </a:moveTo>
                  <a:lnTo>
                    <a:pt x="2313542" y="154236"/>
                  </a:lnTo>
                  <a:lnTo>
                    <a:pt x="2181339" y="2434727"/>
                  </a:lnTo>
                  <a:cubicBezTo>
                    <a:pt x="1529600" y="2397362"/>
                    <a:pt x="839760" y="2382856"/>
                    <a:pt x="66101" y="2071171"/>
                  </a:cubicBezTo>
                  <a:cubicBezTo>
                    <a:pt x="-24513" y="1396021"/>
                    <a:pt x="22034" y="690390"/>
                    <a:pt x="0" y="0"/>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Freihandform: Form 34">
              <a:extLst>
                <a:ext uri="{FF2B5EF4-FFF2-40B4-BE49-F238E27FC236}">
                  <a16:creationId xmlns:a16="http://schemas.microsoft.com/office/drawing/2014/main" id="{4AF15C6E-164C-4973-8D46-5455E869CAB5}"/>
                </a:ext>
              </a:extLst>
            </p:cNvPr>
            <p:cNvSpPr/>
            <p:nvPr/>
          </p:nvSpPr>
          <p:spPr bwMode="gray">
            <a:xfrm>
              <a:off x="5030788" y="4775200"/>
              <a:ext cx="1184275" cy="1273175"/>
            </a:xfrm>
            <a:custGeom>
              <a:avLst/>
              <a:gdLst>
                <a:gd name="connsiteX0" fmla="*/ 0 w 1190625"/>
                <a:gd name="connsiteY0" fmla="*/ 0 h 1266825"/>
                <a:gd name="connsiteX1" fmla="*/ 1190625 w 1190625"/>
                <a:gd name="connsiteY1" fmla="*/ 1266825 h 1266825"/>
                <a:gd name="connsiteX2" fmla="*/ 71437 w 1190625"/>
                <a:gd name="connsiteY2" fmla="*/ 981075 h 1266825"/>
                <a:gd name="connsiteX3" fmla="*/ 0 w 1190625"/>
                <a:gd name="connsiteY3" fmla="*/ 0 h 1266825"/>
                <a:gd name="connsiteX0" fmla="*/ 0 w 1190625"/>
                <a:gd name="connsiteY0" fmla="*/ 0 h 1266825"/>
                <a:gd name="connsiteX1" fmla="*/ 1190625 w 1190625"/>
                <a:gd name="connsiteY1" fmla="*/ 1266825 h 1266825"/>
                <a:gd name="connsiteX2" fmla="*/ 71437 w 1190625"/>
                <a:gd name="connsiteY2" fmla="*/ 981075 h 1266825"/>
                <a:gd name="connsiteX3" fmla="*/ 0 w 1190625"/>
                <a:gd name="connsiteY3" fmla="*/ 0 h 1266825"/>
                <a:gd name="connsiteX0" fmla="*/ 0 w 1190625"/>
                <a:gd name="connsiteY0" fmla="*/ 0 h 1266825"/>
                <a:gd name="connsiteX1" fmla="*/ 1190625 w 1190625"/>
                <a:gd name="connsiteY1" fmla="*/ 1266825 h 1266825"/>
                <a:gd name="connsiteX2" fmla="*/ 71437 w 1190625"/>
                <a:gd name="connsiteY2" fmla="*/ 981075 h 1266825"/>
                <a:gd name="connsiteX3" fmla="*/ 0 w 1190625"/>
                <a:gd name="connsiteY3" fmla="*/ 0 h 1266825"/>
                <a:gd name="connsiteX0" fmla="*/ 0 w 1190625"/>
                <a:gd name="connsiteY0" fmla="*/ 0 h 1266825"/>
                <a:gd name="connsiteX1" fmla="*/ 1190625 w 1190625"/>
                <a:gd name="connsiteY1" fmla="*/ 1266825 h 1266825"/>
                <a:gd name="connsiteX2" fmla="*/ 71437 w 1190625"/>
                <a:gd name="connsiteY2" fmla="*/ 981075 h 1266825"/>
                <a:gd name="connsiteX3" fmla="*/ 0 w 1190625"/>
                <a:gd name="connsiteY3" fmla="*/ 0 h 1266825"/>
                <a:gd name="connsiteX0" fmla="*/ 0 w 1184275"/>
                <a:gd name="connsiteY0" fmla="*/ 0 h 1273175"/>
                <a:gd name="connsiteX1" fmla="*/ 1184275 w 1184275"/>
                <a:gd name="connsiteY1" fmla="*/ 1273175 h 1273175"/>
                <a:gd name="connsiteX2" fmla="*/ 65087 w 1184275"/>
                <a:gd name="connsiteY2" fmla="*/ 987425 h 1273175"/>
                <a:gd name="connsiteX3" fmla="*/ 0 w 1184275"/>
                <a:gd name="connsiteY3" fmla="*/ 0 h 1273175"/>
                <a:gd name="connsiteX0" fmla="*/ 0 w 1184275"/>
                <a:gd name="connsiteY0" fmla="*/ 0 h 1273175"/>
                <a:gd name="connsiteX1" fmla="*/ 1184275 w 1184275"/>
                <a:gd name="connsiteY1" fmla="*/ 1273175 h 1273175"/>
                <a:gd name="connsiteX2" fmla="*/ 65087 w 1184275"/>
                <a:gd name="connsiteY2" fmla="*/ 987425 h 1273175"/>
                <a:gd name="connsiteX3" fmla="*/ 0 w 1184275"/>
                <a:gd name="connsiteY3" fmla="*/ 0 h 1273175"/>
                <a:gd name="connsiteX0" fmla="*/ 0 w 1184275"/>
                <a:gd name="connsiteY0" fmla="*/ 0 h 1273175"/>
                <a:gd name="connsiteX1" fmla="*/ 1184275 w 1184275"/>
                <a:gd name="connsiteY1" fmla="*/ 1273175 h 1273175"/>
                <a:gd name="connsiteX2" fmla="*/ 58737 w 1184275"/>
                <a:gd name="connsiteY2" fmla="*/ 990600 h 1273175"/>
                <a:gd name="connsiteX3" fmla="*/ 0 w 1184275"/>
                <a:gd name="connsiteY3" fmla="*/ 0 h 1273175"/>
                <a:gd name="connsiteX0" fmla="*/ 0 w 1184275"/>
                <a:gd name="connsiteY0" fmla="*/ 0 h 1273175"/>
                <a:gd name="connsiteX1" fmla="*/ 1184275 w 1184275"/>
                <a:gd name="connsiteY1" fmla="*/ 1273175 h 1273175"/>
                <a:gd name="connsiteX2" fmla="*/ 58737 w 1184275"/>
                <a:gd name="connsiteY2" fmla="*/ 990600 h 1273175"/>
                <a:gd name="connsiteX3" fmla="*/ 0 w 1184275"/>
                <a:gd name="connsiteY3" fmla="*/ 0 h 1273175"/>
                <a:gd name="connsiteX0" fmla="*/ 0 w 1184275"/>
                <a:gd name="connsiteY0" fmla="*/ 0 h 1273175"/>
                <a:gd name="connsiteX1" fmla="*/ 1184275 w 1184275"/>
                <a:gd name="connsiteY1" fmla="*/ 1273175 h 1273175"/>
                <a:gd name="connsiteX2" fmla="*/ 58737 w 1184275"/>
                <a:gd name="connsiteY2" fmla="*/ 990600 h 1273175"/>
                <a:gd name="connsiteX3" fmla="*/ 0 w 1184275"/>
                <a:gd name="connsiteY3" fmla="*/ 0 h 1273175"/>
              </a:gdLst>
              <a:ahLst/>
              <a:cxnLst>
                <a:cxn ang="0">
                  <a:pos x="connsiteX0" y="connsiteY0"/>
                </a:cxn>
                <a:cxn ang="0">
                  <a:pos x="connsiteX1" y="connsiteY1"/>
                </a:cxn>
                <a:cxn ang="0">
                  <a:pos x="connsiteX2" y="connsiteY2"/>
                </a:cxn>
                <a:cxn ang="0">
                  <a:pos x="connsiteX3" y="connsiteY3"/>
                </a:cxn>
              </a:cxnLst>
              <a:rect l="l" t="t" r="r" b="b"/>
              <a:pathLst>
                <a:path w="1184275" h="1273175">
                  <a:moveTo>
                    <a:pt x="0" y="0"/>
                  </a:moveTo>
                  <a:cubicBezTo>
                    <a:pt x="156633" y="910167"/>
                    <a:pt x="440267" y="1086908"/>
                    <a:pt x="1184275" y="1273175"/>
                  </a:cubicBezTo>
                  <a:cubicBezTo>
                    <a:pt x="711199" y="1211262"/>
                    <a:pt x="465137" y="1138238"/>
                    <a:pt x="58737" y="990600"/>
                  </a:cubicBezTo>
                  <a:cubicBezTo>
                    <a:pt x="6350" y="644525"/>
                    <a:pt x="1587" y="333375"/>
                    <a:pt x="0" y="0"/>
                  </a:cubicBezTo>
                  <a:close/>
                </a:path>
              </a:pathLst>
            </a:custGeom>
            <a:solidFill>
              <a:schemeClr val="accent2">
                <a:alpha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reihandform: Form 35">
              <a:extLst>
                <a:ext uri="{FF2B5EF4-FFF2-40B4-BE49-F238E27FC236}">
                  <a16:creationId xmlns:a16="http://schemas.microsoft.com/office/drawing/2014/main" id="{60C88696-B4B3-4943-9CD5-2086D957FC94}"/>
                </a:ext>
              </a:extLst>
            </p:cNvPr>
            <p:cNvSpPr/>
            <p:nvPr/>
          </p:nvSpPr>
          <p:spPr bwMode="gray">
            <a:xfrm>
              <a:off x="5024438" y="3686175"/>
              <a:ext cx="2314575" cy="481013"/>
            </a:xfrm>
            <a:custGeom>
              <a:avLst/>
              <a:gdLst>
                <a:gd name="connsiteX0" fmla="*/ 0 w 2314575"/>
                <a:gd name="connsiteY0" fmla="*/ 0 h 481013"/>
                <a:gd name="connsiteX1" fmla="*/ 0 w 2314575"/>
                <a:gd name="connsiteY1" fmla="*/ 323850 h 481013"/>
                <a:gd name="connsiteX2" fmla="*/ 2300287 w 2314575"/>
                <a:gd name="connsiteY2" fmla="*/ 481013 h 481013"/>
                <a:gd name="connsiteX3" fmla="*/ 2314575 w 2314575"/>
                <a:gd name="connsiteY3" fmla="*/ 152400 h 481013"/>
                <a:gd name="connsiteX4" fmla="*/ 0 w 2314575"/>
                <a:gd name="connsiteY4" fmla="*/ 0 h 481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4575" h="481013">
                  <a:moveTo>
                    <a:pt x="0" y="0"/>
                  </a:moveTo>
                  <a:lnTo>
                    <a:pt x="0" y="323850"/>
                  </a:lnTo>
                  <a:lnTo>
                    <a:pt x="2300287" y="481013"/>
                  </a:lnTo>
                  <a:lnTo>
                    <a:pt x="2314575" y="152400"/>
                  </a:lnTo>
                  <a:lnTo>
                    <a:pt x="0" y="0"/>
                  </a:lnTo>
                  <a:close/>
                </a:path>
              </a:pathLst>
            </a:custGeom>
            <a:solidFill>
              <a:schemeClr val="accent2">
                <a:alpha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hteck 36">
              <a:extLst>
                <a:ext uri="{FF2B5EF4-FFF2-40B4-BE49-F238E27FC236}">
                  <a16:creationId xmlns:a16="http://schemas.microsoft.com/office/drawing/2014/main" id="{674E982A-EE3F-4D19-B86B-B9A62BE3F284}"/>
                </a:ext>
              </a:extLst>
            </p:cNvPr>
            <p:cNvSpPr/>
            <p:nvPr/>
          </p:nvSpPr>
          <p:spPr bwMode="gray">
            <a:xfrm>
              <a:off x="5023692" y="3861048"/>
              <a:ext cx="2313542" cy="201672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mj-lt"/>
                </a:rPr>
                <a:t>Lorem ipsum dolor</a:t>
              </a:r>
              <a:br>
                <a:rPr lang="en-US" sz="1600" dirty="0">
                  <a:solidFill>
                    <a:schemeClr val="bg1"/>
                  </a:solidFill>
                  <a:latin typeface="+mj-lt"/>
                </a:rPr>
              </a:br>
              <a:r>
                <a:rPr lang="en-US" sz="1600" dirty="0">
                  <a:solidFill>
                    <a:schemeClr val="bg1"/>
                  </a:solidFill>
                  <a:latin typeface="+mj-lt"/>
                </a:rPr>
                <a:t>sit amet, </a:t>
              </a:r>
              <a:r>
                <a:rPr lang="en-US" sz="1600" dirty="0">
                  <a:solidFill>
                    <a:schemeClr val="bg1"/>
                  </a:solidFill>
                </a:rPr>
                <a:t>consectetuer adipiscing elit.</a:t>
              </a:r>
              <a:br>
                <a:rPr lang="en-US" sz="1600" dirty="0">
                  <a:solidFill>
                    <a:schemeClr val="bg1"/>
                  </a:solidFill>
                </a:rPr>
              </a:br>
              <a:r>
                <a:rPr lang="en-US" sz="1600" dirty="0">
                  <a:solidFill>
                    <a:schemeClr val="bg1"/>
                  </a:solidFill>
                </a:rPr>
                <a:t>Maecenas porttitor</a:t>
              </a:r>
              <a:br>
                <a:rPr lang="en-US" sz="1600" dirty="0">
                  <a:solidFill>
                    <a:schemeClr val="bg1"/>
                  </a:solidFill>
                </a:rPr>
              </a:br>
              <a:r>
                <a:rPr lang="en-US" sz="1600" dirty="0">
                  <a:solidFill>
                    <a:schemeClr val="bg1"/>
                  </a:solidFill>
                </a:rPr>
                <a:t>congue massa.</a:t>
              </a:r>
            </a:p>
          </p:txBody>
        </p:sp>
      </p:grpSp>
      <p:sp>
        <p:nvSpPr>
          <p:cNvPr id="25" name="Freihandform: Form 24">
            <a:extLst>
              <a:ext uri="{FF2B5EF4-FFF2-40B4-BE49-F238E27FC236}">
                <a16:creationId xmlns:a16="http://schemas.microsoft.com/office/drawing/2014/main" id="{08FB3C76-DE53-4808-BE68-C926476B5D79}"/>
              </a:ext>
            </a:extLst>
          </p:cNvPr>
          <p:cNvSpPr/>
          <p:nvPr/>
        </p:nvSpPr>
        <p:spPr bwMode="gray">
          <a:xfrm>
            <a:off x="5545931" y="3473196"/>
            <a:ext cx="811214" cy="497694"/>
          </a:xfrm>
          <a:custGeom>
            <a:avLst/>
            <a:gdLst>
              <a:gd name="connsiteX0" fmla="*/ 101600 w 990600"/>
              <a:gd name="connsiteY0" fmla="*/ 304800 h 628650"/>
              <a:gd name="connsiteX1" fmla="*/ 838200 w 990600"/>
              <a:gd name="connsiteY1" fmla="*/ 0 h 628650"/>
              <a:gd name="connsiteX2" fmla="*/ 869950 w 990600"/>
              <a:gd name="connsiteY2" fmla="*/ 0 h 628650"/>
              <a:gd name="connsiteX3" fmla="*/ 869950 w 990600"/>
              <a:gd name="connsiteY3" fmla="*/ 31750 h 628650"/>
              <a:gd name="connsiteX4" fmla="*/ 908050 w 990600"/>
              <a:gd name="connsiteY4" fmla="*/ 57150 h 628650"/>
              <a:gd name="connsiteX5" fmla="*/ 908050 w 990600"/>
              <a:gd name="connsiteY5" fmla="*/ 57150 h 628650"/>
              <a:gd name="connsiteX6" fmla="*/ 927100 w 990600"/>
              <a:gd name="connsiteY6" fmla="*/ 146050 h 628650"/>
              <a:gd name="connsiteX7" fmla="*/ 977900 w 990600"/>
              <a:gd name="connsiteY7" fmla="*/ 184150 h 628650"/>
              <a:gd name="connsiteX8" fmla="*/ 927100 w 990600"/>
              <a:gd name="connsiteY8" fmla="*/ 203200 h 628650"/>
              <a:gd name="connsiteX9" fmla="*/ 990600 w 990600"/>
              <a:gd name="connsiteY9" fmla="*/ 298450 h 628650"/>
              <a:gd name="connsiteX10" fmla="*/ 82550 w 990600"/>
              <a:gd name="connsiteY10" fmla="*/ 628650 h 628650"/>
              <a:gd name="connsiteX11" fmla="*/ 82550 w 990600"/>
              <a:gd name="connsiteY11" fmla="*/ 584200 h 628650"/>
              <a:gd name="connsiteX12" fmla="*/ 0 w 990600"/>
              <a:gd name="connsiteY12" fmla="*/ 539750 h 628650"/>
              <a:gd name="connsiteX13" fmla="*/ 69850 w 990600"/>
              <a:gd name="connsiteY13" fmla="*/ 488950 h 628650"/>
              <a:gd name="connsiteX14" fmla="*/ 44450 w 990600"/>
              <a:gd name="connsiteY14" fmla="*/ 463550 h 628650"/>
              <a:gd name="connsiteX15" fmla="*/ 82550 w 990600"/>
              <a:gd name="connsiteY15" fmla="*/ 438150 h 628650"/>
              <a:gd name="connsiteX16" fmla="*/ 101600 w 990600"/>
              <a:gd name="connsiteY16" fmla="*/ 361950 h 628650"/>
              <a:gd name="connsiteX17" fmla="*/ 101600 w 990600"/>
              <a:gd name="connsiteY17" fmla="*/ 304800 h 628650"/>
              <a:gd name="connsiteX0" fmla="*/ 126206 w 1015206"/>
              <a:gd name="connsiteY0" fmla="*/ 304800 h 628650"/>
              <a:gd name="connsiteX1" fmla="*/ 862806 w 1015206"/>
              <a:gd name="connsiteY1" fmla="*/ 0 h 628650"/>
              <a:gd name="connsiteX2" fmla="*/ 894556 w 1015206"/>
              <a:gd name="connsiteY2" fmla="*/ 0 h 628650"/>
              <a:gd name="connsiteX3" fmla="*/ 894556 w 1015206"/>
              <a:gd name="connsiteY3" fmla="*/ 31750 h 628650"/>
              <a:gd name="connsiteX4" fmla="*/ 932656 w 1015206"/>
              <a:gd name="connsiteY4" fmla="*/ 57150 h 628650"/>
              <a:gd name="connsiteX5" fmla="*/ 932656 w 1015206"/>
              <a:gd name="connsiteY5" fmla="*/ 57150 h 628650"/>
              <a:gd name="connsiteX6" fmla="*/ 951706 w 1015206"/>
              <a:gd name="connsiteY6" fmla="*/ 146050 h 628650"/>
              <a:gd name="connsiteX7" fmla="*/ 1002506 w 1015206"/>
              <a:gd name="connsiteY7" fmla="*/ 184150 h 628650"/>
              <a:gd name="connsiteX8" fmla="*/ 951706 w 1015206"/>
              <a:gd name="connsiteY8" fmla="*/ 203200 h 628650"/>
              <a:gd name="connsiteX9" fmla="*/ 1015206 w 1015206"/>
              <a:gd name="connsiteY9" fmla="*/ 298450 h 628650"/>
              <a:gd name="connsiteX10" fmla="*/ 107156 w 1015206"/>
              <a:gd name="connsiteY10" fmla="*/ 628650 h 628650"/>
              <a:gd name="connsiteX11" fmla="*/ 107156 w 1015206"/>
              <a:gd name="connsiteY11" fmla="*/ 584200 h 628650"/>
              <a:gd name="connsiteX12" fmla="*/ 24606 w 1015206"/>
              <a:gd name="connsiteY12" fmla="*/ 539750 h 628650"/>
              <a:gd name="connsiteX13" fmla="*/ 94456 w 1015206"/>
              <a:gd name="connsiteY13" fmla="*/ 488950 h 628650"/>
              <a:gd name="connsiteX14" fmla="*/ 69056 w 1015206"/>
              <a:gd name="connsiteY14" fmla="*/ 463550 h 628650"/>
              <a:gd name="connsiteX15" fmla="*/ 107156 w 1015206"/>
              <a:gd name="connsiteY15" fmla="*/ 438150 h 628650"/>
              <a:gd name="connsiteX16" fmla="*/ 0 w 1015206"/>
              <a:gd name="connsiteY16" fmla="*/ 352425 h 628650"/>
              <a:gd name="connsiteX17" fmla="*/ 126206 w 1015206"/>
              <a:gd name="connsiteY17" fmla="*/ 304800 h 628650"/>
              <a:gd name="connsiteX0" fmla="*/ 135665 w 1024665"/>
              <a:gd name="connsiteY0" fmla="*/ 304800 h 628650"/>
              <a:gd name="connsiteX1" fmla="*/ 872265 w 1024665"/>
              <a:gd name="connsiteY1" fmla="*/ 0 h 628650"/>
              <a:gd name="connsiteX2" fmla="*/ 904015 w 1024665"/>
              <a:gd name="connsiteY2" fmla="*/ 0 h 628650"/>
              <a:gd name="connsiteX3" fmla="*/ 904015 w 1024665"/>
              <a:gd name="connsiteY3" fmla="*/ 31750 h 628650"/>
              <a:gd name="connsiteX4" fmla="*/ 942115 w 1024665"/>
              <a:gd name="connsiteY4" fmla="*/ 57150 h 628650"/>
              <a:gd name="connsiteX5" fmla="*/ 942115 w 1024665"/>
              <a:gd name="connsiteY5" fmla="*/ 57150 h 628650"/>
              <a:gd name="connsiteX6" fmla="*/ 961165 w 1024665"/>
              <a:gd name="connsiteY6" fmla="*/ 146050 h 628650"/>
              <a:gd name="connsiteX7" fmla="*/ 1011965 w 1024665"/>
              <a:gd name="connsiteY7" fmla="*/ 184150 h 628650"/>
              <a:gd name="connsiteX8" fmla="*/ 961165 w 1024665"/>
              <a:gd name="connsiteY8" fmla="*/ 203200 h 628650"/>
              <a:gd name="connsiteX9" fmla="*/ 1024665 w 1024665"/>
              <a:gd name="connsiteY9" fmla="*/ 298450 h 628650"/>
              <a:gd name="connsiteX10" fmla="*/ 116615 w 1024665"/>
              <a:gd name="connsiteY10" fmla="*/ 628650 h 628650"/>
              <a:gd name="connsiteX11" fmla="*/ 116615 w 1024665"/>
              <a:gd name="connsiteY11" fmla="*/ 584200 h 628650"/>
              <a:gd name="connsiteX12" fmla="*/ 34065 w 1024665"/>
              <a:gd name="connsiteY12" fmla="*/ 539750 h 628650"/>
              <a:gd name="connsiteX13" fmla="*/ 103915 w 1024665"/>
              <a:gd name="connsiteY13" fmla="*/ 488950 h 628650"/>
              <a:gd name="connsiteX14" fmla="*/ 78515 w 1024665"/>
              <a:gd name="connsiteY14" fmla="*/ 463550 h 628650"/>
              <a:gd name="connsiteX15" fmla="*/ 116615 w 1024665"/>
              <a:gd name="connsiteY15" fmla="*/ 438150 h 628650"/>
              <a:gd name="connsiteX16" fmla="*/ 0 w 1024665"/>
              <a:gd name="connsiteY16" fmla="*/ 380214 h 628650"/>
              <a:gd name="connsiteX17" fmla="*/ 9459 w 1024665"/>
              <a:gd name="connsiteY17" fmla="*/ 352425 h 628650"/>
              <a:gd name="connsiteX18" fmla="*/ 135665 w 1024665"/>
              <a:gd name="connsiteY18" fmla="*/ 304800 h 628650"/>
              <a:gd name="connsiteX0" fmla="*/ 135665 w 1024665"/>
              <a:gd name="connsiteY0" fmla="*/ 304800 h 628650"/>
              <a:gd name="connsiteX1" fmla="*/ 872265 w 1024665"/>
              <a:gd name="connsiteY1" fmla="*/ 0 h 628650"/>
              <a:gd name="connsiteX2" fmla="*/ 904015 w 1024665"/>
              <a:gd name="connsiteY2" fmla="*/ 0 h 628650"/>
              <a:gd name="connsiteX3" fmla="*/ 904015 w 1024665"/>
              <a:gd name="connsiteY3" fmla="*/ 31750 h 628650"/>
              <a:gd name="connsiteX4" fmla="*/ 942115 w 1024665"/>
              <a:gd name="connsiteY4" fmla="*/ 57150 h 628650"/>
              <a:gd name="connsiteX5" fmla="*/ 942115 w 1024665"/>
              <a:gd name="connsiteY5" fmla="*/ 57150 h 628650"/>
              <a:gd name="connsiteX6" fmla="*/ 961165 w 1024665"/>
              <a:gd name="connsiteY6" fmla="*/ 146050 h 628650"/>
              <a:gd name="connsiteX7" fmla="*/ 1011965 w 1024665"/>
              <a:gd name="connsiteY7" fmla="*/ 184150 h 628650"/>
              <a:gd name="connsiteX8" fmla="*/ 961165 w 1024665"/>
              <a:gd name="connsiteY8" fmla="*/ 203200 h 628650"/>
              <a:gd name="connsiteX9" fmla="*/ 1024665 w 1024665"/>
              <a:gd name="connsiteY9" fmla="*/ 298450 h 628650"/>
              <a:gd name="connsiteX10" fmla="*/ 116615 w 1024665"/>
              <a:gd name="connsiteY10" fmla="*/ 628650 h 628650"/>
              <a:gd name="connsiteX11" fmla="*/ 116615 w 1024665"/>
              <a:gd name="connsiteY11" fmla="*/ 584200 h 628650"/>
              <a:gd name="connsiteX12" fmla="*/ 34065 w 1024665"/>
              <a:gd name="connsiteY12" fmla="*/ 539750 h 628650"/>
              <a:gd name="connsiteX13" fmla="*/ 103915 w 1024665"/>
              <a:gd name="connsiteY13" fmla="*/ 488950 h 628650"/>
              <a:gd name="connsiteX14" fmla="*/ 78515 w 1024665"/>
              <a:gd name="connsiteY14" fmla="*/ 463550 h 628650"/>
              <a:gd name="connsiteX15" fmla="*/ 116615 w 1024665"/>
              <a:gd name="connsiteY15" fmla="*/ 438150 h 628650"/>
              <a:gd name="connsiteX16" fmla="*/ 66676 w 1024665"/>
              <a:gd name="connsiteY16" fmla="*/ 377832 h 628650"/>
              <a:gd name="connsiteX17" fmla="*/ 0 w 1024665"/>
              <a:gd name="connsiteY17" fmla="*/ 380214 h 628650"/>
              <a:gd name="connsiteX18" fmla="*/ 9459 w 1024665"/>
              <a:gd name="connsiteY18" fmla="*/ 352425 h 628650"/>
              <a:gd name="connsiteX19" fmla="*/ 135665 w 1024665"/>
              <a:gd name="connsiteY19" fmla="*/ 304800 h 628650"/>
              <a:gd name="connsiteX0" fmla="*/ 135665 w 1024665"/>
              <a:gd name="connsiteY0" fmla="*/ 304800 h 628650"/>
              <a:gd name="connsiteX1" fmla="*/ 872265 w 1024665"/>
              <a:gd name="connsiteY1" fmla="*/ 0 h 628650"/>
              <a:gd name="connsiteX2" fmla="*/ 904015 w 1024665"/>
              <a:gd name="connsiteY2" fmla="*/ 0 h 628650"/>
              <a:gd name="connsiteX3" fmla="*/ 904015 w 1024665"/>
              <a:gd name="connsiteY3" fmla="*/ 31750 h 628650"/>
              <a:gd name="connsiteX4" fmla="*/ 942115 w 1024665"/>
              <a:gd name="connsiteY4" fmla="*/ 57150 h 628650"/>
              <a:gd name="connsiteX5" fmla="*/ 942115 w 1024665"/>
              <a:gd name="connsiteY5" fmla="*/ 57150 h 628650"/>
              <a:gd name="connsiteX6" fmla="*/ 961165 w 1024665"/>
              <a:gd name="connsiteY6" fmla="*/ 146050 h 628650"/>
              <a:gd name="connsiteX7" fmla="*/ 1011965 w 1024665"/>
              <a:gd name="connsiteY7" fmla="*/ 184150 h 628650"/>
              <a:gd name="connsiteX8" fmla="*/ 961165 w 1024665"/>
              <a:gd name="connsiteY8" fmla="*/ 203200 h 628650"/>
              <a:gd name="connsiteX9" fmla="*/ 1024665 w 1024665"/>
              <a:gd name="connsiteY9" fmla="*/ 298450 h 628650"/>
              <a:gd name="connsiteX10" fmla="*/ 116615 w 1024665"/>
              <a:gd name="connsiteY10" fmla="*/ 628650 h 628650"/>
              <a:gd name="connsiteX11" fmla="*/ 116615 w 1024665"/>
              <a:gd name="connsiteY11" fmla="*/ 584200 h 628650"/>
              <a:gd name="connsiteX12" fmla="*/ 34065 w 1024665"/>
              <a:gd name="connsiteY12" fmla="*/ 539750 h 628650"/>
              <a:gd name="connsiteX13" fmla="*/ 103915 w 1024665"/>
              <a:gd name="connsiteY13" fmla="*/ 488950 h 628650"/>
              <a:gd name="connsiteX14" fmla="*/ 78515 w 1024665"/>
              <a:gd name="connsiteY14" fmla="*/ 463550 h 628650"/>
              <a:gd name="connsiteX15" fmla="*/ 116615 w 1024665"/>
              <a:gd name="connsiteY15" fmla="*/ 438150 h 628650"/>
              <a:gd name="connsiteX16" fmla="*/ 64295 w 1024665"/>
              <a:gd name="connsiteY16" fmla="*/ 406407 h 628650"/>
              <a:gd name="connsiteX17" fmla="*/ 66676 w 1024665"/>
              <a:gd name="connsiteY17" fmla="*/ 377832 h 628650"/>
              <a:gd name="connsiteX18" fmla="*/ 0 w 1024665"/>
              <a:gd name="connsiteY18" fmla="*/ 380214 h 628650"/>
              <a:gd name="connsiteX19" fmla="*/ 9459 w 1024665"/>
              <a:gd name="connsiteY19" fmla="*/ 352425 h 628650"/>
              <a:gd name="connsiteX20" fmla="*/ 135665 w 1024665"/>
              <a:gd name="connsiteY20" fmla="*/ 304800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24665" h="628650">
                <a:moveTo>
                  <a:pt x="135665" y="304800"/>
                </a:moveTo>
                <a:lnTo>
                  <a:pt x="872265" y="0"/>
                </a:lnTo>
                <a:lnTo>
                  <a:pt x="904015" y="0"/>
                </a:lnTo>
                <a:lnTo>
                  <a:pt x="904015" y="31750"/>
                </a:lnTo>
                <a:lnTo>
                  <a:pt x="942115" y="57150"/>
                </a:lnTo>
                <a:lnTo>
                  <a:pt x="942115" y="57150"/>
                </a:lnTo>
                <a:lnTo>
                  <a:pt x="961165" y="146050"/>
                </a:lnTo>
                <a:lnTo>
                  <a:pt x="1011965" y="184150"/>
                </a:lnTo>
                <a:lnTo>
                  <a:pt x="961165" y="203200"/>
                </a:lnTo>
                <a:lnTo>
                  <a:pt x="1024665" y="298450"/>
                </a:lnTo>
                <a:lnTo>
                  <a:pt x="116615" y="628650"/>
                </a:lnTo>
                <a:lnTo>
                  <a:pt x="116615" y="584200"/>
                </a:lnTo>
                <a:lnTo>
                  <a:pt x="34065" y="539750"/>
                </a:lnTo>
                <a:lnTo>
                  <a:pt x="103915" y="488950"/>
                </a:lnTo>
                <a:lnTo>
                  <a:pt x="78515" y="463550"/>
                </a:lnTo>
                <a:lnTo>
                  <a:pt x="116615" y="438150"/>
                </a:lnTo>
                <a:cubicBezTo>
                  <a:pt x="120198" y="429420"/>
                  <a:pt x="72618" y="416460"/>
                  <a:pt x="64295" y="406407"/>
                </a:cubicBezTo>
                <a:cubicBezTo>
                  <a:pt x="55972" y="396354"/>
                  <a:pt x="83345" y="382991"/>
                  <a:pt x="66676" y="377832"/>
                </a:cubicBezTo>
                <a:cubicBezTo>
                  <a:pt x="50007" y="372673"/>
                  <a:pt x="9139" y="390005"/>
                  <a:pt x="0" y="380214"/>
                </a:cubicBezTo>
                <a:lnTo>
                  <a:pt x="9459" y="352425"/>
                </a:lnTo>
                <a:lnTo>
                  <a:pt x="135665" y="304800"/>
                </a:lnTo>
                <a:close/>
              </a:path>
            </a:pathLst>
          </a:custGeom>
          <a:solidFill>
            <a:schemeClr val="bg1">
              <a:alpha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reihandform: Form 38">
            <a:extLst>
              <a:ext uri="{FF2B5EF4-FFF2-40B4-BE49-F238E27FC236}">
                <a16:creationId xmlns:a16="http://schemas.microsoft.com/office/drawing/2014/main" id="{CB3F27E2-7B39-4F81-B545-6920947935BC}"/>
              </a:ext>
            </a:extLst>
          </p:cNvPr>
          <p:cNvSpPr/>
          <p:nvPr/>
        </p:nvSpPr>
        <p:spPr bwMode="gray">
          <a:xfrm rot="2385714">
            <a:off x="7230440" y="269012"/>
            <a:ext cx="901702" cy="553210"/>
          </a:xfrm>
          <a:custGeom>
            <a:avLst/>
            <a:gdLst>
              <a:gd name="connsiteX0" fmla="*/ 101600 w 990600"/>
              <a:gd name="connsiteY0" fmla="*/ 304800 h 628650"/>
              <a:gd name="connsiteX1" fmla="*/ 838200 w 990600"/>
              <a:gd name="connsiteY1" fmla="*/ 0 h 628650"/>
              <a:gd name="connsiteX2" fmla="*/ 869950 w 990600"/>
              <a:gd name="connsiteY2" fmla="*/ 0 h 628650"/>
              <a:gd name="connsiteX3" fmla="*/ 869950 w 990600"/>
              <a:gd name="connsiteY3" fmla="*/ 31750 h 628650"/>
              <a:gd name="connsiteX4" fmla="*/ 908050 w 990600"/>
              <a:gd name="connsiteY4" fmla="*/ 57150 h 628650"/>
              <a:gd name="connsiteX5" fmla="*/ 908050 w 990600"/>
              <a:gd name="connsiteY5" fmla="*/ 57150 h 628650"/>
              <a:gd name="connsiteX6" fmla="*/ 927100 w 990600"/>
              <a:gd name="connsiteY6" fmla="*/ 146050 h 628650"/>
              <a:gd name="connsiteX7" fmla="*/ 977900 w 990600"/>
              <a:gd name="connsiteY7" fmla="*/ 184150 h 628650"/>
              <a:gd name="connsiteX8" fmla="*/ 927100 w 990600"/>
              <a:gd name="connsiteY8" fmla="*/ 203200 h 628650"/>
              <a:gd name="connsiteX9" fmla="*/ 990600 w 990600"/>
              <a:gd name="connsiteY9" fmla="*/ 298450 h 628650"/>
              <a:gd name="connsiteX10" fmla="*/ 82550 w 990600"/>
              <a:gd name="connsiteY10" fmla="*/ 628650 h 628650"/>
              <a:gd name="connsiteX11" fmla="*/ 82550 w 990600"/>
              <a:gd name="connsiteY11" fmla="*/ 584200 h 628650"/>
              <a:gd name="connsiteX12" fmla="*/ 0 w 990600"/>
              <a:gd name="connsiteY12" fmla="*/ 539750 h 628650"/>
              <a:gd name="connsiteX13" fmla="*/ 69850 w 990600"/>
              <a:gd name="connsiteY13" fmla="*/ 488950 h 628650"/>
              <a:gd name="connsiteX14" fmla="*/ 44450 w 990600"/>
              <a:gd name="connsiteY14" fmla="*/ 463550 h 628650"/>
              <a:gd name="connsiteX15" fmla="*/ 82550 w 990600"/>
              <a:gd name="connsiteY15" fmla="*/ 438150 h 628650"/>
              <a:gd name="connsiteX16" fmla="*/ 101600 w 990600"/>
              <a:gd name="connsiteY16" fmla="*/ 361950 h 628650"/>
              <a:gd name="connsiteX17" fmla="*/ 101600 w 990600"/>
              <a:gd name="connsiteY17" fmla="*/ 304800 h 628650"/>
              <a:gd name="connsiteX0" fmla="*/ 126206 w 1015206"/>
              <a:gd name="connsiteY0" fmla="*/ 304800 h 628650"/>
              <a:gd name="connsiteX1" fmla="*/ 862806 w 1015206"/>
              <a:gd name="connsiteY1" fmla="*/ 0 h 628650"/>
              <a:gd name="connsiteX2" fmla="*/ 894556 w 1015206"/>
              <a:gd name="connsiteY2" fmla="*/ 0 h 628650"/>
              <a:gd name="connsiteX3" fmla="*/ 894556 w 1015206"/>
              <a:gd name="connsiteY3" fmla="*/ 31750 h 628650"/>
              <a:gd name="connsiteX4" fmla="*/ 932656 w 1015206"/>
              <a:gd name="connsiteY4" fmla="*/ 57150 h 628650"/>
              <a:gd name="connsiteX5" fmla="*/ 932656 w 1015206"/>
              <a:gd name="connsiteY5" fmla="*/ 57150 h 628650"/>
              <a:gd name="connsiteX6" fmla="*/ 951706 w 1015206"/>
              <a:gd name="connsiteY6" fmla="*/ 146050 h 628650"/>
              <a:gd name="connsiteX7" fmla="*/ 1002506 w 1015206"/>
              <a:gd name="connsiteY7" fmla="*/ 184150 h 628650"/>
              <a:gd name="connsiteX8" fmla="*/ 951706 w 1015206"/>
              <a:gd name="connsiteY8" fmla="*/ 203200 h 628650"/>
              <a:gd name="connsiteX9" fmla="*/ 1015206 w 1015206"/>
              <a:gd name="connsiteY9" fmla="*/ 298450 h 628650"/>
              <a:gd name="connsiteX10" fmla="*/ 107156 w 1015206"/>
              <a:gd name="connsiteY10" fmla="*/ 628650 h 628650"/>
              <a:gd name="connsiteX11" fmla="*/ 107156 w 1015206"/>
              <a:gd name="connsiteY11" fmla="*/ 584200 h 628650"/>
              <a:gd name="connsiteX12" fmla="*/ 24606 w 1015206"/>
              <a:gd name="connsiteY12" fmla="*/ 539750 h 628650"/>
              <a:gd name="connsiteX13" fmla="*/ 94456 w 1015206"/>
              <a:gd name="connsiteY13" fmla="*/ 488950 h 628650"/>
              <a:gd name="connsiteX14" fmla="*/ 69056 w 1015206"/>
              <a:gd name="connsiteY14" fmla="*/ 463550 h 628650"/>
              <a:gd name="connsiteX15" fmla="*/ 107156 w 1015206"/>
              <a:gd name="connsiteY15" fmla="*/ 438150 h 628650"/>
              <a:gd name="connsiteX16" fmla="*/ 0 w 1015206"/>
              <a:gd name="connsiteY16" fmla="*/ 352425 h 628650"/>
              <a:gd name="connsiteX17" fmla="*/ 126206 w 1015206"/>
              <a:gd name="connsiteY17" fmla="*/ 304800 h 628650"/>
              <a:gd name="connsiteX0" fmla="*/ 135665 w 1024665"/>
              <a:gd name="connsiteY0" fmla="*/ 304800 h 628650"/>
              <a:gd name="connsiteX1" fmla="*/ 872265 w 1024665"/>
              <a:gd name="connsiteY1" fmla="*/ 0 h 628650"/>
              <a:gd name="connsiteX2" fmla="*/ 904015 w 1024665"/>
              <a:gd name="connsiteY2" fmla="*/ 0 h 628650"/>
              <a:gd name="connsiteX3" fmla="*/ 904015 w 1024665"/>
              <a:gd name="connsiteY3" fmla="*/ 31750 h 628650"/>
              <a:gd name="connsiteX4" fmla="*/ 942115 w 1024665"/>
              <a:gd name="connsiteY4" fmla="*/ 57150 h 628650"/>
              <a:gd name="connsiteX5" fmla="*/ 942115 w 1024665"/>
              <a:gd name="connsiteY5" fmla="*/ 57150 h 628650"/>
              <a:gd name="connsiteX6" fmla="*/ 961165 w 1024665"/>
              <a:gd name="connsiteY6" fmla="*/ 146050 h 628650"/>
              <a:gd name="connsiteX7" fmla="*/ 1011965 w 1024665"/>
              <a:gd name="connsiteY7" fmla="*/ 184150 h 628650"/>
              <a:gd name="connsiteX8" fmla="*/ 961165 w 1024665"/>
              <a:gd name="connsiteY8" fmla="*/ 203200 h 628650"/>
              <a:gd name="connsiteX9" fmla="*/ 1024665 w 1024665"/>
              <a:gd name="connsiteY9" fmla="*/ 298450 h 628650"/>
              <a:gd name="connsiteX10" fmla="*/ 116615 w 1024665"/>
              <a:gd name="connsiteY10" fmla="*/ 628650 h 628650"/>
              <a:gd name="connsiteX11" fmla="*/ 116615 w 1024665"/>
              <a:gd name="connsiteY11" fmla="*/ 584200 h 628650"/>
              <a:gd name="connsiteX12" fmla="*/ 34065 w 1024665"/>
              <a:gd name="connsiteY12" fmla="*/ 539750 h 628650"/>
              <a:gd name="connsiteX13" fmla="*/ 103915 w 1024665"/>
              <a:gd name="connsiteY13" fmla="*/ 488950 h 628650"/>
              <a:gd name="connsiteX14" fmla="*/ 78515 w 1024665"/>
              <a:gd name="connsiteY14" fmla="*/ 463550 h 628650"/>
              <a:gd name="connsiteX15" fmla="*/ 116615 w 1024665"/>
              <a:gd name="connsiteY15" fmla="*/ 438150 h 628650"/>
              <a:gd name="connsiteX16" fmla="*/ 0 w 1024665"/>
              <a:gd name="connsiteY16" fmla="*/ 380214 h 628650"/>
              <a:gd name="connsiteX17" fmla="*/ 9459 w 1024665"/>
              <a:gd name="connsiteY17" fmla="*/ 352425 h 628650"/>
              <a:gd name="connsiteX18" fmla="*/ 135665 w 1024665"/>
              <a:gd name="connsiteY18" fmla="*/ 304800 h 628650"/>
              <a:gd name="connsiteX0" fmla="*/ 135665 w 1024665"/>
              <a:gd name="connsiteY0" fmla="*/ 304800 h 628650"/>
              <a:gd name="connsiteX1" fmla="*/ 872265 w 1024665"/>
              <a:gd name="connsiteY1" fmla="*/ 0 h 628650"/>
              <a:gd name="connsiteX2" fmla="*/ 904015 w 1024665"/>
              <a:gd name="connsiteY2" fmla="*/ 0 h 628650"/>
              <a:gd name="connsiteX3" fmla="*/ 904015 w 1024665"/>
              <a:gd name="connsiteY3" fmla="*/ 31750 h 628650"/>
              <a:gd name="connsiteX4" fmla="*/ 942115 w 1024665"/>
              <a:gd name="connsiteY4" fmla="*/ 57150 h 628650"/>
              <a:gd name="connsiteX5" fmla="*/ 942115 w 1024665"/>
              <a:gd name="connsiteY5" fmla="*/ 57150 h 628650"/>
              <a:gd name="connsiteX6" fmla="*/ 961165 w 1024665"/>
              <a:gd name="connsiteY6" fmla="*/ 146050 h 628650"/>
              <a:gd name="connsiteX7" fmla="*/ 1011965 w 1024665"/>
              <a:gd name="connsiteY7" fmla="*/ 184150 h 628650"/>
              <a:gd name="connsiteX8" fmla="*/ 961165 w 1024665"/>
              <a:gd name="connsiteY8" fmla="*/ 203200 h 628650"/>
              <a:gd name="connsiteX9" fmla="*/ 1024665 w 1024665"/>
              <a:gd name="connsiteY9" fmla="*/ 298450 h 628650"/>
              <a:gd name="connsiteX10" fmla="*/ 116615 w 1024665"/>
              <a:gd name="connsiteY10" fmla="*/ 628650 h 628650"/>
              <a:gd name="connsiteX11" fmla="*/ 116615 w 1024665"/>
              <a:gd name="connsiteY11" fmla="*/ 584200 h 628650"/>
              <a:gd name="connsiteX12" fmla="*/ 34065 w 1024665"/>
              <a:gd name="connsiteY12" fmla="*/ 539750 h 628650"/>
              <a:gd name="connsiteX13" fmla="*/ 103915 w 1024665"/>
              <a:gd name="connsiteY13" fmla="*/ 488950 h 628650"/>
              <a:gd name="connsiteX14" fmla="*/ 78515 w 1024665"/>
              <a:gd name="connsiteY14" fmla="*/ 463550 h 628650"/>
              <a:gd name="connsiteX15" fmla="*/ 116615 w 1024665"/>
              <a:gd name="connsiteY15" fmla="*/ 438150 h 628650"/>
              <a:gd name="connsiteX16" fmla="*/ 66676 w 1024665"/>
              <a:gd name="connsiteY16" fmla="*/ 377832 h 628650"/>
              <a:gd name="connsiteX17" fmla="*/ 0 w 1024665"/>
              <a:gd name="connsiteY17" fmla="*/ 380214 h 628650"/>
              <a:gd name="connsiteX18" fmla="*/ 9459 w 1024665"/>
              <a:gd name="connsiteY18" fmla="*/ 352425 h 628650"/>
              <a:gd name="connsiteX19" fmla="*/ 135665 w 1024665"/>
              <a:gd name="connsiteY19" fmla="*/ 304800 h 628650"/>
              <a:gd name="connsiteX0" fmla="*/ 135665 w 1024665"/>
              <a:gd name="connsiteY0" fmla="*/ 304800 h 628650"/>
              <a:gd name="connsiteX1" fmla="*/ 872265 w 1024665"/>
              <a:gd name="connsiteY1" fmla="*/ 0 h 628650"/>
              <a:gd name="connsiteX2" fmla="*/ 904015 w 1024665"/>
              <a:gd name="connsiteY2" fmla="*/ 0 h 628650"/>
              <a:gd name="connsiteX3" fmla="*/ 904015 w 1024665"/>
              <a:gd name="connsiteY3" fmla="*/ 31750 h 628650"/>
              <a:gd name="connsiteX4" fmla="*/ 942115 w 1024665"/>
              <a:gd name="connsiteY4" fmla="*/ 57150 h 628650"/>
              <a:gd name="connsiteX5" fmla="*/ 942115 w 1024665"/>
              <a:gd name="connsiteY5" fmla="*/ 57150 h 628650"/>
              <a:gd name="connsiteX6" fmla="*/ 961165 w 1024665"/>
              <a:gd name="connsiteY6" fmla="*/ 146050 h 628650"/>
              <a:gd name="connsiteX7" fmla="*/ 1011965 w 1024665"/>
              <a:gd name="connsiteY7" fmla="*/ 184150 h 628650"/>
              <a:gd name="connsiteX8" fmla="*/ 961165 w 1024665"/>
              <a:gd name="connsiteY8" fmla="*/ 203200 h 628650"/>
              <a:gd name="connsiteX9" fmla="*/ 1024665 w 1024665"/>
              <a:gd name="connsiteY9" fmla="*/ 298450 h 628650"/>
              <a:gd name="connsiteX10" fmla="*/ 116615 w 1024665"/>
              <a:gd name="connsiteY10" fmla="*/ 628650 h 628650"/>
              <a:gd name="connsiteX11" fmla="*/ 116615 w 1024665"/>
              <a:gd name="connsiteY11" fmla="*/ 584200 h 628650"/>
              <a:gd name="connsiteX12" fmla="*/ 34065 w 1024665"/>
              <a:gd name="connsiteY12" fmla="*/ 539750 h 628650"/>
              <a:gd name="connsiteX13" fmla="*/ 103915 w 1024665"/>
              <a:gd name="connsiteY13" fmla="*/ 488950 h 628650"/>
              <a:gd name="connsiteX14" fmla="*/ 78515 w 1024665"/>
              <a:gd name="connsiteY14" fmla="*/ 463550 h 628650"/>
              <a:gd name="connsiteX15" fmla="*/ 116615 w 1024665"/>
              <a:gd name="connsiteY15" fmla="*/ 438150 h 628650"/>
              <a:gd name="connsiteX16" fmla="*/ 64295 w 1024665"/>
              <a:gd name="connsiteY16" fmla="*/ 406407 h 628650"/>
              <a:gd name="connsiteX17" fmla="*/ 66676 w 1024665"/>
              <a:gd name="connsiteY17" fmla="*/ 377832 h 628650"/>
              <a:gd name="connsiteX18" fmla="*/ 0 w 1024665"/>
              <a:gd name="connsiteY18" fmla="*/ 380214 h 628650"/>
              <a:gd name="connsiteX19" fmla="*/ 9459 w 1024665"/>
              <a:gd name="connsiteY19" fmla="*/ 352425 h 628650"/>
              <a:gd name="connsiteX20" fmla="*/ 135665 w 1024665"/>
              <a:gd name="connsiteY20" fmla="*/ 304800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24665" h="628650">
                <a:moveTo>
                  <a:pt x="135665" y="304800"/>
                </a:moveTo>
                <a:lnTo>
                  <a:pt x="872265" y="0"/>
                </a:lnTo>
                <a:lnTo>
                  <a:pt x="904015" y="0"/>
                </a:lnTo>
                <a:lnTo>
                  <a:pt x="904015" y="31750"/>
                </a:lnTo>
                <a:lnTo>
                  <a:pt x="942115" y="57150"/>
                </a:lnTo>
                <a:lnTo>
                  <a:pt x="942115" y="57150"/>
                </a:lnTo>
                <a:lnTo>
                  <a:pt x="961165" y="146050"/>
                </a:lnTo>
                <a:lnTo>
                  <a:pt x="1011965" y="184150"/>
                </a:lnTo>
                <a:lnTo>
                  <a:pt x="961165" y="203200"/>
                </a:lnTo>
                <a:lnTo>
                  <a:pt x="1024665" y="298450"/>
                </a:lnTo>
                <a:lnTo>
                  <a:pt x="116615" y="628650"/>
                </a:lnTo>
                <a:lnTo>
                  <a:pt x="116615" y="584200"/>
                </a:lnTo>
                <a:lnTo>
                  <a:pt x="34065" y="539750"/>
                </a:lnTo>
                <a:lnTo>
                  <a:pt x="103915" y="488950"/>
                </a:lnTo>
                <a:lnTo>
                  <a:pt x="78515" y="463550"/>
                </a:lnTo>
                <a:lnTo>
                  <a:pt x="116615" y="438150"/>
                </a:lnTo>
                <a:cubicBezTo>
                  <a:pt x="120198" y="429420"/>
                  <a:pt x="72618" y="416460"/>
                  <a:pt x="64295" y="406407"/>
                </a:cubicBezTo>
                <a:cubicBezTo>
                  <a:pt x="55972" y="396354"/>
                  <a:pt x="83345" y="382991"/>
                  <a:pt x="66676" y="377832"/>
                </a:cubicBezTo>
                <a:cubicBezTo>
                  <a:pt x="50007" y="372673"/>
                  <a:pt x="9139" y="390005"/>
                  <a:pt x="0" y="380214"/>
                </a:cubicBezTo>
                <a:lnTo>
                  <a:pt x="9459" y="352425"/>
                </a:lnTo>
                <a:lnTo>
                  <a:pt x="135665" y="304800"/>
                </a:lnTo>
                <a:close/>
              </a:path>
            </a:pathLst>
          </a:custGeom>
          <a:solidFill>
            <a:schemeClr val="bg1">
              <a:alpha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5" name="Gruppieren 44">
            <a:extLst>
              <a:ext uri="{FF2B5EF4-FFF2-40B4-BE49-F238E27FC236}">
                <a16:creationId xmlns:a16="http://schemas.microsoft.com/office/drawing/2014/main" id="{5C25990F-161E-4E21-9C11-13E18BB1159C}"/>
              </a:ext>
            </a:extLst>
          </p:cNvPr>
          <p:cNvGrpSpPr/>
          <p:nvPr/>
        </p:nvGrpSpPr>
        <p:grpSpPr bwMode="gray">
          <a:xfrm>
            <a:off x="10219310" y="3713242"/>
            <a:ext cx="291434" cy="557361"/>
            <a:chOff x="10219310" y="3713242"/>
            <a:chExt cx="291434" cy="557361"/>
          </a:xfrm>
        </p:grpSpPr>
        <p:sp>
          <p:nvSpPr>
            <p:cNvPr id="41" name="Freihandform: Form 40">
              <a:extLst>
                <a:ext uri="{FF2B5EF4-FFF2-40B4-BE49-F238E27FC236}">
                  <a16:creationId xmlns:a16="http://schemas.microsoft.com/office/drawing/2014/main" id="{D8885CA1-9EF3-490F-867C-C273FDBF1308}"/>
                </a:ext>
              </a:extLst>
            </p:cNvPr>
            <p:cNvSpPr/>
            <p:nvPr/>
          </p:nvSpPr>
          <p:spPr bwMode="gray">
            <a:xfrm>
              <a:off x="10294143" y="3713242"/>
              <a:ext cx="128587" cy="208676"/>
            </a:xfrm>
            <a:custGeom>
              <a:avLst/>
              <a:gdLst>
                <a:gd name="connsiteX0" fmla="*/ 78581 w 190500"/>
                <a:gd name="connsiteY0" fmla="*/ 211931 h 211931"/>
                <a:gd name="connsiteX1" fmla="*/ 0 w 190500"/>
                <a:gd name="connsiteY1" fmla="*/ 190500 h 211931"/>
                <a:gd name="connsiteX2" fmla="*/ 52388 w 190500"/>
                <a:gd name="connsiteY2" fmla="*/ 28575 h 211931"/>
                <a:gd name="connsiteX3" fmla="*/ 190500 w 190500"/>
                <a:gd name="connsiteY3" fmla="*/ 0 h 211931"/>
                <a:gd name="connsiteX4" fmla="*/ 78581 w 190500"/>
                <a:gd name="connsiteY4" fmla="*/ 211931 h 211931"/>
                <a:gd name="connsiteX0" fmla="*/ 80962 w 190500"/>
                <a:gd name="connsiteY0" fmla="*/ 226219 h 226219"/>
                <a:gd name="connsiteX1" fmla="*/ 0 w 190500"/>
                <a:gd name="connsiteY1" fmla="*/ 190500 h 226219"/>
                <a:gd name="connsiteX2" fmla="*/ 52388 w 190500"/>
                <a:gd name="connsiteY2" fmla="*/ 28575 h 226219"/>
                <a:gd name="connsiteX3" fmla="*/ 190500 w 190500"/>
                <a:gd name="connsiteY3" fmla="*/ 0 h 226219"/>
                <a:gd name="connsiteX4" fmla="*/ 80962 w 190500"/>
                <a:gd name="connsiteY4" fmla="*/ 226219 h 226219"/>
                <a:gd name="connsiteX0" fmla="*/ 64293 w 173831"/>
                <a:gd name="connsiteY0" fmla="*/ 226219 h 226219"/>
                <a:gd name="connsiteX1" fmla="*/ 0 w 173831"/>
                <a:gd name="connsiteY1" fmla="*/ 202406 h 226219"/>
                <a:gd name="connsiteX2" fmla="*/ 35719 w 173831"/>
                <a:gd name="connsiteY2" fmla="*/ 28575 h 226219"/>
                <a:gd name="connsiteX3" fmla="*/ 173831 w 173831"/>
                <a:gd name="connsiteY3" fmla="*/ 0 h 226219"/>
                <a:gd name="connsiteX4" fmla="*/ 64293 w 173831"/>
                <a:gd name="connsiteY4" fmla="*/ 226219 h 226219"/>
                <a:gd name="connsiteX0" fmla="*/ 64293 w 173831"/>
                <a:gd name="connsiteY0" fmla="*/ 226219 h 226219"/>
                <a:gd name="connsiteX1" fmla="*/ 0 w 173831"/>
                <a:gd name="connsiteY1" fmla="*/ 202406 h 226219"/>
                <a:gd name="connsiteX2" fmla="*/ 57150 w 173831"/>
                <a:gd name="connsiteY2" fmla="*/ 50006 h 226219"/>
                <a:gd name="connsiteX3" fmla="*/ 173831 w 173831"/>
                <a:gd name="connsiteY3" fmla="*/ 0 h 226219"/>
                <a:gd name="connsiteX4" fmla="*/ 64293 w 173831"/>
                <a:gd name="connsiteY4" fmla="*/ 226219 h 226219"/>
                <a:gd name="connsiteX0" fmla="*/ 64293 w 126206"/>
                <a:gd name="connsiteY0" fmla="*/ 207169 h 207169"/>
                <a:gd name="connsiteX1" fmla="*/ 0 w 126206"/>
                <a:gd name="connsiteY1" fmla="*/ 183356 h 207169"/>
                <a:gd name="connsiteX2" fmla="*/ 57150 w 126206"/>
                <a:gd name="connsiteY2" fmla="*/ 30956 h 207169"/>
                <a:gd name="connsiteX3" fmla="*/ 126206 w 126206"/>
                <a:gd name="connsiteY3" fmla="*/ 0 h 207169"/>
                <a:gd name="connsiteX4" fmla="*/ 64293 w 126206"/>
                <a:gd name="connsiteY4" fmla="*/ 207169 h 207169"/>
                <a:gd name="connsiteX0" fmla="*/ 64293 w 126206"/>
                <a:gd name="connsiteY0" fmla="*/ 209495 h 209495"/>
                <a:gd name="connsiteX1" fmla="*/ 0 w 126206"/>
                <a:gd name="connsiteY1" fmla="*/ 185682 h 209495"/>
                <a:gd name="connsiteX2" fmla="*/ 57150 w 126206"/>
                <a:gd name="connsiteY2" fmla="*/ 33282 h 209495"/>
                <a:gd name="connsiteX3" fmla="*/ 126206 w 126206"/>
                <a:gd name="connsiteY3" fmla="*/ 2326 h 209495"/>
                <a:gd name="connsiteX4" fmla="*/ 64293 w 126206"/>
                <a:gd name="connsiteY4" fmla="*/ 209495 h 209495"/>
                <a:gd name="connsiteX0" fmla="*/ 64293 w 150018"/>
                <a:gd name="connsiteY0" fmla="*/ 223174 h 223174"/>
                <a:gd name="connsiteX1" fmla="*/ 0 w 150018"/>
                <a:gd name="connsiteY1" fmla="*/ 199361 h 223174"/>
                <a:gd name="connsiteX2" fmla="*/ 57150 w 150018"/>
                <a:gd name="connsiteY2" fmla="*/ 46961 h 223174"/>
                <a:gd name="connsiteX3" fmla="*/ 150018 w 150018"/>
                <a:gd name="connsiteY3" fmla="*/ 1717 h 223174"/>
                <a:gd name="connsiteX4" fmla="*/ 64293 w 150018"/>
                <a:gd name="connsiteY4" fmla="*/ 223174 h 223174"/>
                <a:gd name="connsiteX0" fmla="*/ 64293 w 147637"/>
                <a:gd name="connsiteY0" fmla="*/ 214014 h 214014"/>
                <a:gd name="connsiteX1" fmla="*/ 0 w 147637"/>
                <a:gd name="connsiteY1" fmla="*/ 190201 h 214014"/>
                <a:gd name="connsiteX2" fmla="*/ 57150 w 147637"/>
                <a:gd name="connsiteY2" fmla="*/ 37801 h 214014"/>
                <a:gd name="connsiteX3" fmla="*/ 147637 w 147637"/>
                <a:gd name="connsiteY3" fmla="*/ 2082 h 214014"/>
                <a:gd name="connsiteX4" fmla="*/ 64293 w 147637"/>
                <a:gd name="connsiteY4" fmla="*/ 214014 h 214014"/>
                <a:gd name="connsiteX0" fmla="*/ 64293 w 147637"/>
                <a:gd name="connsiteY0" fmla="*/ 214744 h 214744"/>
                <a:gd name="connsiteX1" fmla="*/ 0 w 147637"/>
                <a:gd name="connsiteY1" fmla="*/ 190931 h 214744"/>
                <a:gd name="connsiteX2" fmla="*/ 57150 w 147637"/>
                <a:gd name="connsiteY2" fmla="*/ 38531 h 214744"/>
                <a:gd name="connsiteX3" fmla="*/ 147637 w 147637"/>
                <a:gd name="connsiteY3" fmla="*/ 2812 h 214744"/>
                <a:gd name="connsiteX4" fmla="*/ 64293 w 147637"/>
                <a:gd name="connsiteY4" fmla="*/ 214744 h 214744"/>
                <a:gd name="connsiteX0" fmla="*/ 64293 w 147637"/>
                <a:gd name="connsiteY0" fmla="*/ 211932 h 211932"/>
                <a:gd name="connsiteX1" fmla="*/ 0 w 147637"/>
                <a:gd name="connsiteY1" fmla="*/ 188119 h 211932"/>
                <a:gd name="connsiteX2" fmla="*/ 147637 w 147637"/>
                <a:gd name="connsiteY2" fmla="*/ 0 h 211932"/>
                <a:gd name="connsiteX3" fmla="*/ 64293 w 147637"/>
                <a:gd name="connsiteY3" fmla="*/ 211932 h 211932"/>
                <a:gd name="connsiteX0" fmla="*/ 64293 w 147637"/>
                <a:gd name="connsiteY0" fmla="*/ 211932 h 211932"/>
                <a:gd name="connsiteX1" fmla="*/ 0 w 147637"/>
                <a:gd name="connsiteY1" fmla="*/ 188119 h 211932"/>
                <a:gd name="connsiteX2" fmla="*/ 147637 w 147637"/>
                <a:gd name="connsiteY2" fmla="*/ 0 h 211932"/>
                <a:gd name="connsiteX3" fmla="*/ 64293 w 147637"/>
                <a:gd name="connsiteY3" fmla="*/ 211932 h 211932"/>
                <a:gd name="connsiteX0" fmla="*/ 64293 w 147637"/>
                <a:gd name="connsiteY0" fmla="*/ 213467 h 213467"/>
                <a:gd name="connsiteX1" fmla="*/ 0 w 147637"/>
                <a:gd name="connsiteY1" fmla="*/ 189654 h 213467"/>
                <a:gd name="connsiteX2" fmla="*/ 147637 w 147637"/>
                <a:gd name="connsiteY2" fmla="*/ 1535 h 213467"/>
                <a:gd name="connsiteX3" fmla="*/ 64293 w 147637"/>
                <a:gd name="connsiteY3" fmla="*/ 213467 h 213467"/>
                <a:gd name="connsiteX0" fmla="*/ 45243 w 128587"/>
                <a:gd name="connsiteY0" fmla="*/ 213439 h 213439"/>
                <a:gd name="connsiteX1" fmla="*/ 0 w 128587"/>
                <a:gd name="connsiteY1" fmla="*/ 192007 h 213439"/>
                <a:gd name="connsiteX2" fmla="*/ 128587 w 128587"/>
                <a:gd name="connsiteY2" fmla="*/ 1507 h 213439"/>
                <a:gd name="connsiteX3" fmla="*/ 45243 w 128587"/>
                <a:gd name="connsiteY3" fmla="*/ 213439 h 213439"/>
                <a:gd name="connsiteX0" fmla="*/ 47625 w 128587"/>
                <a:gd name="connsiteY0" fmla="*/ 208676 h 208676"/>
                <a:gd name="connsiteX1" fmla="*/ 0 w 128587"/>
                <a:gd name="connsiteY1" fmla="*/ 192007 h 208676"/>
                <a:gd name="connsiteX2" fmla="*/ 128587 w 128587"/>
                <a:gd name="connsiteY2" fmla="*/ 1507 h 208676"/>
                <a:gd name="connsiteX3" fmla="*/ 47625 w 128587"/>
                <a:gd name="connsiteY3" fmla="*/ 208676 h 208676"/>
              </a:gdLst>
              <a:ahLst/>
              <a:cxnLst>
                <a:cxn ang="0">
                  <a:pos x="connsiteX0" y="connsiteY0"/>
                </a:cxn>
                <a:cxn ang="0">
                  <a:pos x="connsiteX1" y="connsiteY1"/>
                </a:cxn>
                <a:cxn ang="0">
                  <a:pos x="connsiteX2" y="connsiteY2"/>
                </a:cxn>
                <a:cxn ang="0">
                  <a:pos x="connsiteX3" y="connsiteY3"/>
                </a:cxn>
              </a:cxnLst>
              <a:rect l="l" t="t" r="r" b="b"/>
              <a:pathLst>
                <a:path w="128587" h="208676">
                  <a:moveTo>
                    <a:pt x="47625" y="208676"/>
                  </a:moveTo>
                  <a:lnTo>
                    <a:pt x="0" y="192007"/>
                  </a:lnTo>
                  <a:cubicBezTo>
                    <a:pt x="23019" y="98345"/>
                    <a:pt x="84138" y="-14368"/>
                    <a:pt x="128587" y="1507"/>
                  </a:cubicBezTo>
                  <a:lnTo>
                    <a:pt x="47625" y="208676"/>
                  </a:lnTo>
                  <a:close/>
                </a:path>
              </a:pathLst>
            </a:custGeom>
            <a:solidFill>
              <a:schemeClr val="tx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ihandform: Form 41">
              <a:extLst>
                <a:ext uri="{FF2B5EF4-FFF2-40B4-BE49-F238E27FC236}">
                  <a16:creationId xmlns:a16="http://schemas.microsoft.com/office/drawing/2014/main" id="{DC2B8A72-2A15-4FC6-A118-7FB62CED512D}"/>
                </a:ext>
              </a:extLst>
            </p:cNvPr>
            <p:cNvSpPr/>
            <p:nvPr/>
          </p:nvSpPr>
          <p:spPr bwMode="gray">
            <a:xfrm>
              <a:off x="10420350" y="3721486"/>
              <a:ext cx="88106" cy="236152"/>
            </a:xfrm>
            <a:custGeom>
              <a:avLst/>
              <a:gdLst>
                <a:gd name="connsiteX0" fmla="*/ 28575 w 88106"/>
                <a:gd name="connsiteY0" fmla="*/ 0 h 235744"/>
                <a:gd name="connsiteX1" fmla="*/ 0 w 88106"/>
                <a:gd name="connsiteY1" fmla="*/ 221456 h 235744"/>
                <a:gd name="connsiteX2" fmla="*/ 45244 w 88106"/>
                <a:gd name="connsiteY2" fmla="*/ 235744 h 235744"/>
                <a:gd name="connsiteX3" fmla="*/ 88106 w 88106"/>
                <a:gd name="connsiteY3" fmla="*/ 50006 h 235744"/>
                <a:gd name="connsiteX4" fmla="*/ 28575 w 88106"/>
                <a:gd name="connsiteY4" fmla="*/ 0 h 235744"/>
                <a:gd name="connsiteX0" fmla="*/ 28575 w 88106"/>
                <a:gd name="connsiteY0" fmla="*/ 408 h 236152"/>
                <a:gd name="connsiteX1" fmla="*/ 0 w 88106"/>
                <a:gd name="connsiteY1" fmla="*/ 221864 h 236152"/>
                <a:gd name="connsiteX2" fmla="*/ 45244 w 88106"/>
                <a:gd name="connsiteY2" fmla="*/ 236152 h 236152"/>
                <a:gd name="connsiteX3" fmla="*/ 88106 w 88106"/>
                <a:gd name="connsiteY3" fmla="*/ 50414 h 236152"/>
                <a:gd name="connsiteX4" fmla="*/ 28575 w 88106"/>
                <a:gd name="connsiteY4" fmla="*/ 408 h 236152"/>
                <a:gd name="connsiteX0" fmla="*/ 28575 w 88106"/>
                <a:gd name="connsiteY0" fmla="*/ 408 h 236152"/>
                <a:gd name="connsiteX1" fmla="*/ 0 w 88106"/>
                <a:gd name="connsiteY1" fmla="*/ 221864 h 236152"/>
                <a:gd name="connsiteX2" fmla="*/ 45244 w 88106"/>
                <a:gd name="connsiteY2" fmla="*/ 236152 h 236152"/>
                <a:gd name="connsiteX3" fmla="*/ 88106 w 88106"/>
                <a:gd name="connsiteY3" fmla="*/ 50414 h 236152"/>
                <a:gd name="connsiteX4" fmla="*/ 28575 w 88106"/>
                <a:gd name="connsiteY4" fmla="*/ 408 h 236152"/>
                <a:gd name="connsiteX0" fmla="*/ 28575 w 88106"/>
                <a:gd name="connsiteY0" fmla="*/ 408 h 236152"/>
                <a:gd name="connsiteX1" fmla="*/ 0 w 88106"/>
                <a:gd name="connsiteY1" fmla="*/ 221864 h 236152"/>
                <a:gd name="connsiteX2" fmla="*/ 45244 w 88106"/>
                <a:gd name="connsiteY2" fmla="*/ 236152 h 236152"/>
                <a:gd name="connsiteX3" fmla="*/ 88106 w 88106"/>
                <a:gd name="connsiteY3" fmla="*/ 50414 h 236152"/>
                <a:gd name="connsiteX4" fmla="*/ 28575 w 88106"/>
                <a:gd name="connsiteY4" fmla="*/ 408 h 236152"/>
                <a:gd name="connsiteX0" fmla="*/ 28575 w 88106"/>
                <a:gd name="connsiteY0" fmla="*/ 408 h 236152"/>
                <a:gd name="connsiteX1" fmla="*/ 0 w 88106"/>
                <a:gd name="connsiteY1" fmla="*/ 221864 h 236152"/>
                <a:gd name="connsiteX2" fmla="*/ 45244 w 88106"/>
                <a:gd name="connsiteY2" fmla="*/ 236152 h 236152"/>
                <a:gd name="connsiteX3" fmla="*/ 88106 w 88106"/>
                <a:gd name="connsiteY3" fmla="*/ 50414 h 236152"/>
                <a:gd name="connsiteX4" fmla="*/ 28575 w 88106"/>
                <a:gd name="connsiteY4" fmla="*/ 408 h 236152"/>
                <a:gd name="connsiteX0" fmla="*/ 28575 w 88106"/>
                <a:gd name="connsiteY0" fmla="*/ 408 h 236152"/>
                <a:gd name="connsiteX1" fmla="*/ 0 w 88106"/>
                <a:gd name="connsiteY1" fmla="*/ 221864 h 236152"/>
                <a:gd name="connsiteX2" fmla="*/ 45244 w 88106"/>
                <a:gd name="connsiteY2" fmla="*/ 236152 h 236152"/>
                <a:gd name="connsiteX3" fmla="*/ 88106 w 88106"/>
                <a:gd name="connsiteY3" fmla="*/ 50414 h 236152"/>
                <a:gd name="connsiteX4" fmla="*/ 28575 w 88106"/>
                <a:gd name="connsiteY4" fmla="*/ 408 h 236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06" h="236152">
                  <a:moveTo>
                    <a:pt x="28575" y="408"/>
                  </a:moveTo>
                  <a:cubicBezTo>
                    <a:pt x="57150" y="48033"/>
                    <a:pt x="38100" y="124233"/>
                    <a:pt x="0" y="221864"/>
                  </a:cubicBezTo>
                  <a:lnTo>
                    <a:pt x="45244" y="236152"/>
                  </a:lnTo>
                  <a:cubicBezTo>
                    <a:pt x="59531" y="174239"/>
                    <a:pt x="83344" y="121852"/>
                    <a:pt x="88106" y="50414"/>
                  </a:cubicBezTo>
                  <a:cubicBezTo>
                    <a:pt x="84931" y="33745"/>
                    <a:pt x="62706" y="-4355"/>
                    <a:pt x="28575" y="408"/>
                  </a:cubicBezTo>
                  <a:close/>
                </a:path>
              </a:pathLst>
            </a:custGeom>
            <a:solidFill>
              <a:schemeClr val="tx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Freihandform: Form 42">
              <a:extLst>
                <a:ext uri="{FF2B5EF4-FFF2-40B4-BE49-F238E27FC236}">
                  <a16:creationId xmlns:a16="http://schemas.microsoft.com/office/drawing/2014/main" id="{D5B87453-EDB1-4C76-AB38-14EEABEB323E}"/>
                </a:ext>
              </a:extLst>
            </p:cNvPr>
            <p:cNvSpPr/>
            <p:nvPr/>
          </p:nvSpPr>
          <p:spPr bwMode="gray">
            <a:xfrm>
              <a:off x="10301288" y="3945731"/>
              <a:ext cx="159543" cy="289309"/>
            </a:xfrm>
            <a:custGeom>
              <a:avLst/>
              <a:gdLst>
                <a:gd name="connsiteX0" fmla="*/ 119062 w 119062"/>
                <a:gd name="connsiteY0" fmla="*/ 0 h 285750"/>
                <a:gd name="connsiteX1" fmla="*/ 42862 w 119062"/>
                <a:gd name="connsiteY1" fmla="*/ 238125 h 285750"/>
                <a:gd name="connsiteX2" fmla="*/ 0 w 119062"/>
                <a:gd name="connsiteY2" fmla="*/ 276225 h 285750"/>
                <a:gd name="connsiteX3" fmla="*/ 66675 w 119062"/>
                <a:gd name="connsiteY3" fmla="*/ 285750 h 285750"/>
                <a:gd name="connsiteX4" fmla="*/ 119062 w 119062"/>
                <a:gd name="connsiteY4" fmla="*/ 0 h 285750"/>
                <a:gd name="connsiteX0" fmla="*/ 119062 w 159543"/>
                <a:gd name="connsiteY0" fmla="*/ 0 h 285750"/>
                <a:gd name="connsiteX1" fmla="*/ 42862 w 159543"/>
                <a:gd name="connsiteY1" fmla="*/ 238125 h 285750"/>
                <a:gd name="connsiteX2" fmla="*/ 0 w 159543"/>
                <a:gd name="connsiteY2" fmla="*/ 276225 h 285750"/>
                <a:gd name="connsiteX3" fmla="*/ 66675 w 159543"/>
                <a:gd name="connsiteY3" fmla="*/ 285750 h 285750"/>
                <a:gd name="connsiteX4" fmla="*/ 159543 w 159543"/>
                <a:gd name="connsiteY4" fmla="*/ 11907 h 285750"/>
                <a:gd name="connsiteX5" fmla="*/ 119062 w 159543"/>
                <a:gd name="connsiteY5" fmla="*/ 0 h 285750"/>
                <a:gd name="connsiteX0" fmla="*/ 119062 w 159543"/>
                <a:gd name="connsiteY0" fmla="*/ 0 h 289309"/>
                <a:gd name="connsiteX1" fmla="*/ 42862 w 159543"/>
                <a:gd name="connsiteY1" fmla="*/ 238125 h 289309"/>
                <a:gd name="connsiteX2" fmla="*/ 0 w 159543"/>
                <a:gd name="connsiteY2" fmla="*/ 276225 h 289309"/>
                <a:gd name="connsiteX3" fmla="*/ 66675 w 159543"/>
                <a:gd name="connsiteY3" fmla="*/ 285750 h 289309"/>
                <a:gd name="connsiteX4" fmla="*/ 159543 w 159543"/>
                <a:gd name="connsiteY4" fmla="*/ 11907 h 289309"/>
                <a:gd name="connsiteX5" fmla="*/ 119062 w 159543"/>
                <a:gd name="connsiteY5" fmla="*/ 0 h 289309"/>
                <a:gd name="connsiteX0" fmla="*/ 119062 w 159543"/>
                <a:gd name="connsiteY0" fmla="*/ 0 h 289309"/>
                <a:gd name="connsiteX1" fmla="*/ 0 w 159543"/>
                <a:gd name="connsiteY1" fmla="*/ 276225 h 289309"/>
                <a:gd name="connsiteX2" fmla="*/ 66675 w 159543"/>
                <a:gd name="connsiteY2" fmla="*/ 285750 h 289309"/>
                <a:gd name="connsiteX3" fmla="*/ 159543 w 159543"/>
                <a:gd name="connsiteY3" fmla="*/ 11907 h 289309"/>
                <a:gd name="connsiteX4" fmla="*/ 119062 w 159543"/>
                <a:gd name="connsiteY4" fmla="*/ 0 h 289309"/>
                <a:gd name="connsiteX0" fmla="*/ 119062 w 159543"/>
                <a:gd name="connsiteY0" fmla="*/ 0 h 289309"/>
                <a:gd name="connsiteX1" fmla="*/ 0 w 159543"/>
                <a:gd name="connsiteY1" fmla="*/ 276225 h 289309"/>
                <a:gd name="connsiteX2" fmla="*/ 66675 w 159543"/>
                <a:gd name="connsiteY2" fmla="*/ 285750 h 289309"/>
                <a:gd name="connsiteX3" fmla="*/ 159543 w 159543"/>
                <a:gd name="connsiteY3" fmla="*/ 11907 h 289309"/>
                <a:gd name="connsiteX4" fmla="*/ 119062 w 159543"/>
                <a:gd name="connsiteY4" fmla="*/ 0 h 289309"/>
                <a:gd name="connsiteX0" fmla="*/ 119062 w 159543"/>
                <a:gd name="connsiteY0" fmla="*/ 0 h 289309"/>
                <a:gd name="connsiteX1" fmla="*/ 0 w 159543"/>
                <a:gd name="connsiteY1" fmla="*/ 276225 h 289309"/>
                <a:gd name="connsiteX2" fmla="*/ 66675 w 159543"/>
                <a:gd name="connsiteY2" fmla="*/ 285750 h 289309"/>
                <a:gd name="connsiteX3" fmla="*/ 159543 w 159543"/>
                <a:gd name="connsiteY3" fmla="*/ 11907 h 289309"/>
                <a:gd name="connsiteX4" fmla="*/ 119062 w 159543"/>
                <a:gd name="connsiteY4" fmla="*/ 0 h 289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543" h="289309">
                  <a:moveTo>
                    <a:pt x="119062" y="0"/>
                  </a:moveTo>
                  <a:cubicBezTo>
                    <a:pt x="93663" y="94456"/>
                    <a:pt x="68262" y="260350"/>
                    <a:pt x="0" y="276225"/>
                  </a:cubicBezTo>
                  <a:cubicBezTo>
                    <a:pt x="22225" y="300831"/>
                    <a:pt x="44450" y="282575"/>
                    <a:pt x="66675" y="285750"/>
                  </a:cubicBezTo>
                  <a:cubicBezTo>
                    <a:pt x="77787" y="225425"/>
                    <a:pt x="148431" y="72232"/>
                    <a:pt x="159543" y="11907"/>
                  </a:cubicBezTo>
                  <a:lnTo>
                    <a:pt x="119062" y="0"/>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Form 43">
              <a:extLst>
                <a:ext uri="{FF2B5EF4-FFF2-40B4-BE49-F238E27FC236}">
                  <a16:creationId xmlns:a16="http://schemas.microsoft.com/office/drawing/2014/main" id="{9BD1AA7D-8494-4F75-8243-8C4A9AD4F801}"/>
                </a:ext>
              </a:extLst>
            </p:cNvPr>
            <p:cNvSpPr/>
            <p:nvPr/>
          </p:nvSpPr>
          <p:spPr bwMode="gray">
            <a:xfrm>
              <a:off x="10219310" y="4012406"/>
              <a:ext cx="103410" cy="258197"/>
            </a:xfrm>
            <a:custGeom>
              <a:avLst/>
              <a:gdLst>
                <a:gd name="connsiteX0" fmla="*/ 80963 w 111919"/>
                <a:gd name="connsiteY0" fmla="*/ 0 h 259556"/>
                <a:gd name="connsiteX1" fmla="*/ 35719 w 111919"/>
                <a:gd name="connsiteY1" fmla="*/ 35719 h 259556"/>
                <a:gd name="connsiteX2" fmla="*/ 0 w 111919"/>
                <a:gd name="connsiteY2" fmla="*/ 202406 h 259556"/>
                <a:gd name="connsiteX3" fmla="*/ 111919 w 111919"/>
                <a:gd name="connsiteY3" fmla="*/ 259556 h 259556"/>
                <a:gd name="connsiteX4" fmla="*/ 64294 w 111919"/>
                <a:gd name="connsiteY4" fmla="*/ 180975 h 259556"/>
                <a:gd name="connsiteX5" fmla="*/ 80963 w 111919"/>
                <a:gd name="connsiteY5" fmla="*/ 0 h 259556"/>
                <a:gd name="connsiteX0" fmla="*/ 80963 w 111919"/>
                <a:gd name="connsiteY0" fmla="*/ 0 h 259556"/>
                <a:gd name="connsiteX1" fmla="*/ 35719 w 111919"/>
                <a:gd name="connsiteY1" fmla="*/ 35719 h 259556"/>
                <a:gd name="connsiteX2" fmla="*/ 0 w 111919"/>
                <a:gd name="connsiteY2" fmla="*/ 202406 h 259556"/>
                <a:gd name="connsiteX3" fmla="*/ 111919 w 111919"/>
                <a:gd name="connsiteY3" fmla="*/ 259556 h 259556"/>
                <a:gd name="connsiteX4" fmla="*/ 64294 w 111919"/>
                <a:gd name="connsiteY4" fmla="*/ 180975 h 259556"/>
                <a:gd name="connsiteX5" fmla="*/ 80963 w 111919"/>
                <a:gd name="connsiteY5" fmla="*/ 0 h 259556"/>
                <a:gd name="connsiteX0" fmla="*/ 80963 w 111919"/>
                <a:gd name="connsiteY0" fmla="*/ 0 h 270053"/>
                <a:gd name="connsiteX1" fmla="*/ 35719 w 111919"/>
                <a:gd name="connsiteY1" fmla="*/ 35719 h 270053"/>
                <a:gd name="connsiteX2" fmla="*/ 0 w 111919"/>
                <a:gd name="connsiteY2" fmla="*/ 202406 h 270053"/>
                <a:gd name="connsiteX3" fmla="*/ 111919 w 111919"/>
                <a:gd name="connsiteY3" fmla="*/ 259556 h 270053"/>
                <a:gd name="connsiteX4" fmla="*/ 64294 w 111919"/>
                <a:gd name="connsiteY4" fmla="*/ 180975 h 270053"/>
                <a:gd name="connsiteX5" fmla="*/ 80963 w 111919"/>
                <a:gd name="connsiteY5" fmla="*/ 0 h 270053"/>
                <a:gd name="connsiteX0" fmla="*/ 71438 w 102394"/>
                <a:gd name="connsiteY0" fmla="*/ 0 h 260818"/>
                <a:gd name="connsiteX1" fmla="*/ 26194 w 102394"/>
                <a:gd name="connsiteY1" fmla="*/ 35719 h 260818"/>
                <a:gd name="connsiteX2" fmla="*/ 0 w 102394"/>
                <a:gd name="connsiteY2" fmla="*/ 150019 h 260818"/>
                <a:gd name="connsiteX3" fmla="*/ 102394 w 102394"/>
                <a:gd name="connsiteY3" fmla="*/ 259556 h 260818"/>
                <a:gd name="connsiteX4" fmla="*/ 54769 w 102394"/>
                <a:gd name="connsiteY4" fmla="*/ 180975 h 260818"/>
                <a:gd name="connsiteX5" fmla="*/ 71438 w 102394"/>
                <a:gd name="connsiteY5" fmla="*/ 0 h 260818"/>
                <a:gd name="connsiteX0" fmla="*/ 78582 w 102394"/>
                <a:gd name="connsiteY0" fmla="*/ 0 h 258437"/>
                <a:gd name="connsiteX1" fmla="*/ 26194 w 102394"/>
                <a:gd name="connsiteY1" fmla="*/ 33338 h 258437"/>
                <a:gd name="connsiteX2" fmla="*/ 0 w 102394"/>
                <a:gd name="connsiteY2" fmla="*/ 147638 h 258437"/>
                <a:gd name="connsiteX3" fmla="*/ 102394 w 102394"/>
                <a:gd name="connsiteY3" fmla="*/ 257175 h 258437"/>
                <a:gd name="connsiteX4" fmla="*/ 54769 w 102394"/>
                <a:gd name="connsiteY4" fmla="*/ 178594 h 258437"/>
                <a:gd name="connsiteX5" fmla="*/ 78582 w 102394"/>
                <a:gd name="connsiteY5" fmla="*/ 0 h 258437"/>
                <a:gd name="connsiteX0" fmla="*/ 78582 w 102394"/>
                <a:gd name="connsiteY0" fmla="*/ 0 h 257821"/>
                <a:gd name="connsiteX1" fmla="*/ 26194 w 102394"/>
                <a:gd name="connsiteY1" fmla="*/ 33338 h 257821"/>
                <a:gd name="connsiteX2" fmla="*/ 0 w 102394"/>
                <a:gd name="connsiteY2" fmla="*/ 116681 h 257821"/>
                <a:gd name="connsiteX3" fmla="*/ 102394 w 102394"/>
                <a:gd name="connsiteY3" fmla="*/ 257175 h 257821"/>
                <a:gd name="connsiteX4" fmla="*/ 54769 w 102394"/>
                <a:gd name="connsiteY4" fmla="*/ 178594 h 257821"/>
                <a:gd name="connsiteX5" fmla="*/ 78582 w 102394"/>
                <a:gd name="connsiteY5" fmla="*/ 0 h 257821"/>
                <a:gd name="connsiteX0" fmla="*/ 79598 w 103410"/>
                <a:gd name="connsiteY0" fmla="*/ 0 h 258197"/>
                <a:gd name="connsiteX1" fmla="*/ 27210 w 103410"/>
                <a:gd name="connsiteY1" fmla="*/ 33338 h 258197"/>
                <a:gd name="connsiteX2" fmla="*/ 1016 w 103410"/>
                <a:gd name="connsiteY2" fmla="*/ 116681 h 258197"/>
                <a:gd name="connsiteX3" fmla="*/ 103410 w 103410"/>
                <a:gd name="connsiteY3" fmla="*/ 257175 h 258197"/>
                <a:gd name="connsiteX4" fmla="*/ 55785 w 103410"/>
                <a:gd name="connsiteY4" fmla="*/ 178594 h 258197"/>
                <a:gd name="connsiteX5" fmla="*/ 79598 w 103410"/>
                <a:gd name="connsiteY5" fmla="*/ 0 h 258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410" h="258197">
                  <a:moveTo>
                    <a:pt x="79598" y="0"/>
                  </a:moveTo>
                  <a:lnTo>
                    <a:pt x="27210" y="33338"/>
                  </a:lnTo>
                  <a:lnTo>
                    <a:pt x="1016" y="116681"/>
                  </a:lnTo>
                  <a:cubicBezTo>
                    <a:pt x="-9304" y="235743"/>
                    <a:pt x="61341" y="264319"/>
                    <a:pt x="103410" y="257175"/>
                  </a:cubicBezTo>
                  <a:lnTo>
                    <a:pt x="55785" y="178594"/>
                  </a:lnTo>
                  <a:lnTo>
                    <a:pt x="79598" y="0"/>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Freihandform: Form 37">
              <a:extLst>
                <a:ext uri="{FF2B5EF4-FFF2-40B4-BE49-F238E27FC236}">
                  <a16:creationId xmlns:a16="http://schemas.microsoft.com/office/drawing/2014/main" id="{AA9172B5-4856-4B0C-808F-8EFC64BE692C}"/>
                </a:ext>
              </a:extLst>
            </p:cNvPr>
            <p:cNvSpPr/>
            <p:nvPr/>
          </p:nvSpPr>
          <p:spPr bwMode="gray">
            <a:xfrm>
              <a:off x="10272464" y="3714011"/>
              <a:ext cx="238280" cy="535852"/>
            </a:xfrm>
            <a:custGeom>
              <a:avLst/>
              <a:gdLst>
                <a:gd name="connsiteX0" fmla="*/ 66675 w 390525"/>
                <a:gd name="connsiteY0" fmla="*/ 328613 h 652463"/>
                <a:gd name="connsiteX1" fmla="*/ 0 w 390525"/>
                <a:gd name="connsiteY1" fmla="*/ 561975 h 652463"/>
                <a:gd name="connsiteX2" fmla="*/ 209550 w 390525"/>
                <a:gd name="connsiteY2" fmla="*/ 652463 h 652463"/>
                <a:gd name="connsiteX3" fmla="*/ 390525 w 390525"/>
                <a:gd name="connsiteY3" fmla="*/ 61913 h 652463"/>
                <a:gd name="connsiteX4" fmla="*/ 166687 w 390525"/>
                <a:gd name="connsiteY4" fmla="*/ 0 h 652463"/>
                <a:gd name="connsiteX5" fmla="*/ 109537 w 390525"/>
                <a:gd name="connsiteY5" fmla="*/ 228600 h 652463"/>
                <a:gd name="connsiteX0" fmla="*/ 66675 w 390525"/>
                <a:gd name="connsiteY0" fmla="*/ 417189 h 741039"/>
                <a:gd name="connsiteX1" fmla="*/ 0 w 390525"/>
                <a:gd name="connsiteY1" fmla="*/ 650551 h 741039"/>
                <a:gd name="connsiteX2" fmla="*/ 209550 w 390525"/>
                <a:gd name="connsiteY2" fmla="*/ 741039 h 741039"/>
                <a:gd name="connsiteX3" fmla="*/ 390525 w 390525"/>
                <a:gd name="connsiteY3" fmla="*/ 150489 h 741039"/>
                <a:gd name="connsiteX4" fmla="*/ 166687 w 390525"/>
                <a:gd name="connsiteY4" fmla="*/ 88576 h 741039"/>
                <a:gd name="connsiteX5" fmla="*/ 109537 w 390525"/>
                <a:gd name="connsiteY5" fmla="*/ 317176 h 741039"/>
                <a:gd name="connsiteX0" fmla="*/ 66675 w 396702"/>
                <a:gd name="connsiteY0" fmla="*/ 464044 h 787894"/>
                <a:gd name="connsiteX1" fmla="*/ 0 w 396702"/>
                <a:gd name="connsiteY1" fmla="*/ 697406 h 787894"/>
                <a:gd name="connsiteX2" fmla="*/ 209550 w 396702"/>
                <a:gd name="connsiteY2" fmla="*/ 787894 h 787894"/>
                <a:gd name="connsiteX3" fmla="*/ 390525 w 396702"/>
                <a:gd name="connsiteY3" fmla="*/ 197344 h 787894"/>
                <a:gd name="connsiteX4" fmla="*/ 166687 w 396702"/>
                <a:gd name="connsiteY4" fmla="*/ 135431 h 787894"/>
                <a:gd name="connsiteX5" fmla="*/ 109537 w 396702"/>
                <a:gd name="connsiteY5" fmla="*/ 364031 h 787894"/>
                <a:gd name="connsiteX0" fmla="*/ 66675 w 396702"/>
                <a:gd name="connsiteY0" fmla="*/ 464044 h 891169"/>
                <a:gd name="connsiteX1" fmla="*/ 0 w 396702"/>
                <a:gd name="connsiteY1" fmla="*/ 697406 h 891169"/>
                <a:gd name="connsiteX2" fmla="*/ 209550 w 396702"/>
                <a:gd name="connsiteY2" fmla="*/ 787894 h 891169"/>
                <a:gd name="connsiteX3" fmla="*/ 390525 w 396702"/>
                <a:gd name="connsiteY3" fmla="*/ 197344 h 891169"/>
                <a:gd name="connsiteX4" fmla="*/ 166687 w 396702"/>
                <a:gd name="connsiteY4" fmla="*/ 135431 h 891169"/>
                <a:gd name="connsiteX5" fmla="*/ 109537 w 396702"/>
                <a:gd name="connsiteY5" fmla="*/ 364031 h 891169"/>
                <a:gd name="connsiteX0" fmla="*/ 85380 w 415407"/>
                <a:gd name="connsiteY0" fmla="*/ 464044 h 934180"/>
                <a:gd name="connsiteX1" fmla="*/ 18705 w 415407"/>
                <a:gd name="connsiteY1" fmla="*/ 697406 h 934180"/>
                <a:gd name="connsiteX2" fmla="*/ 228255 w 415407"/>
                <a:gd name="connsiteY2" fmla="*/ 787894 h 934180"/>
                <a:gd name="connsiteX3" fmla="*/ 409230 w 415407"/>
                <a:gd name="connsiteY3" fmla="*/ 197344 h 934180"/>
                <a:gd name="connsiteX4" fmla="*/ 185392 w 415407"/>
                <a:gd name="connsiteY4" fmla="*/ 135431 h 934180"/>
                <a:gd name="connsiteX5" fmla="*/ 128242 w 415407"/>
                <a:gd name="connsiteY5" fmla="*/ 364031 h 934180"/>
                <a:gd name="connsiteX0" fmla="*/ 75855 w 415407"/>
                <a:gd name="connsiteY0" fmla="*/ 521194 h 934180"/>
                <a:gd name="connsiteX1" fmla="*/ 18705 w 415407"/>
                <a:gd name="connsiteY1" fmla="*/ 697406 h 934180"/>
                <a:gd name="connsiteX2" fmla="*/ 228255 w 415407"/>
                <a:gd name="connsiteY2" fmla="*/ 787894 h 934180"/>
                <a:gd name="connsiteX3" fmla="*/ 409230 w 415407"/>
                <a:gd name="connsiteY3" fmla="*/ 197344 h 934180"/>
                <a:gd name="connsiteX4" fmla="*/ 185392 w 415407"/>
                <a:gd name="connsiteY4" fmla="*/ 135431 h 934180"/>
                <a:gd name="connsiteX5" fmla="*/ 128242 w 415407"/>
                <a:gd name="connsiteY5" fmla="*/ 364031 h 93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407" h="934180">
                  <a:moveTo>
                    <a:pt x="75855" y="521194"/>
                  </a:moveTo>
                  <a:lnTo>
                    <a:pt x="18705" y="697406"/>
                  </a:lnTo>
                  <a:cubicBezTo>
                    <a:pt x="-63845" y="918069"/>
                    <a:pt x="148880" y="1053006"/>
                    <a:pt x="228255" y="787894"/>
                  </a:cubicBezTo>
                  <a:lnTo>
                    <a:pt x="409230" y="197344"/>
                  </a:lnTo>
                  <a:cubicBezTo>
                    <a:pt x="453680" y="-13794"/>
                    <a:pt x="245718" y="-86818"/>
                    <a:pt x="185392" y="135431"/>
                  </a:cubicBezTo>
                  <a:lnTo>
                    <a:pt x="128242" y="364031"/>
                  </a:lnTo>
                </a:path>
              </a:pathLst>
            </a:cu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6" name="Rechteck 45">
            <a:extLst>
              <a:ext uri="{FF2B5EF4-FFF2-40B4-BE49-F238E27FC236}">
                <a16:creationId xmlns:a16="http://schemas.microsoft.com/office/drawing/2014/main" id="{D04B323F-AE80-44B5-88E2-2E751ED80973}"/>
              </a:ext>
            </a:extLst>
          </p:cNvPr>
          <p:cNvSpPr/>
          <p:nvPr/>
        </p:nvSpPr>
        <p:spPr bwMode="gray">
          <a:xfrm>
            <a:off x="5375920" y="0"/>
            <a:ext cx="6816080" cy="198044"/>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Rechteck 46">
            <a:extLst>
              <a:ext uri="{FF2B5EF4-FFF2-40B4-BE49-F238E27FC236}">
                <a16:creationId xmlns:a16="http://schemas.microsoft.com/office/drawing/2014/main" id="{31C689F8-AD15-4C0B-A7F2-87272426BF8D}"/>
              </a:ext>
            </a:extLst>
          </p:cNvPr>
          <p:cNvSpPr/>
          <p:nvPr/>
        </p:nvSpPr>
        <p:spPr bwMode="gray">
          <a:xfrm>
            <a:off x="11999913" y="0"/>
            <a:ext cx="192087"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a:extLst>
              <a:ext uri="{FF2B5EF4-FFF2-40B4-BE49-F238E27FC236}">
                <a16:creationId xmlns:a16="http://schemas.microsoft.com/office/drawing/2014/main" id="{A3F6FF0A-0C47-46CD-AECF-2DBCB0EC2CF9}"/>
              </a:ext>
            </a:extLst>
          </p:cNvPr>
          <p:cNvSpPr>
            <a:spLocks noGrp="1"/>
          </p:cNvSpPr>
          <p:nvPr>
            <p:ph type="title"/>
          </p:nvPr>
        </p:nvSpPr>
        <p:spPr bwMode="gray"/>
        <p:txBody>
          <a:bodyPr/>
          <a:lstStyle/>
          <a:p>
            <a:r>
              <a:rPr lang="en-US" dirty="0"/>
              <a:t>Note tags</a:t>
            </a:r>
            <a:br>
              <a:rPr lang="en-US" dirty="0"/>
            </a:br>
            <a:r>
              <a:rPr lang="en-US" dirty="0"/>
              <a:t>for highlighting</a:t>
            </a:r>
          </a:p>
        </p:txBody>
      </p:sp>
      <p:sp>
        <p:nvSpPr>
          <p:cNvPr id="4" name="Textplatzhalter 3">
            <a:extLst>
              <a:ext uri="{FF2B5EF4-FFF2-40B4-BE49-F238E27FC236}">
                <a16:creationId xmlns:a16="http://schemas.microsoft.com/office/drawing/2014/main" id="{AFBBBD54-083E-4238-8E37-ACFA888F11E2}"/>
              </a:ext>
            </a:extLst>
          </p:cNvPr>
          <p:cNvSpPr>
            <a:spLocks noGrp="1"/>
          </p:cNvSpPr>
          <p:nvPr>
            <p:ph type="body" sz="quarter" idx="15"/>
          </p:nvPr>
        </p:nvSpPr>
        <p:spPr bwMode="gray"/>
        <p:txBody>
          <a:bodyPr/>
          <a:lstStyle/>
          <a:p>
            <a:r>
              <a:rPr lang="en-US" dirty="0"/>
              <a:t>Lorem ipsum dolor sit amet, consectetuer adipiscing elit.</a:t>
            </a:r>
          </a:p>
          <a:p>
            <a:pPr lvl="1"/>
            <a:r>
              <a:rPr lang="en-US" dirty="0"/>
              <a:t>Maecenas porttitor congue massa. Fusce posuere, magna sed pulvinar ultricies, purus lectus malesuada libero, sit amet commodo magna eros quis urna.</a:t>
            </a:r>
          </a:p>
          <a:p>
            <a:pPr lvl="2"/>
            <a:r>
              <a:rPr lang="en-US" dirty="0"/>
              <a:t>Nunc viverra imperdiet enim. Fusce est. Vivamus a tellus</a:t>
            </a:r>
          </a:p>
          <a:p>
            <a:pPr lvl="2"/>
            <a:r>
              <a:rPr lang="en-US" dirty="0"/>
              <a:t>Pellentesque habitant morbi tristique senectus et netus et</a:t>
            </a:r>
          </a:p>
        </p:txBody>
      </p:sp>
      <p:sp>
        <p:nvSpPr>
          <p:cNvPr id="5" name="Fußzeilenplatzhalter 4">
            <a:extLst>
              <a:ext uri="{FF2B5EF4-FFF2-40B4-BE49-F238E27FC236}">
                <a16:creationId xmlns:a16="http://schemas.microsoft.com/office/drawing/2014/main" id="{3927F327-67FB-4ADA-91C8-83988C39F892}"/>
              </a:ext>
            </a:extLst>
          </p:cNvPr>
          <p:cNvSpPr>
            <a:spLocks noGrp="1"/>
          </p:cNvSpPr>
          <p:nvPr>
            <p:ph type="ftr" sz="quarter" idx="16"/>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FB9D3E31-8180-46F5-9AE6-C171FF16BE6B}"/>
              </a:ext>
            </a:extLst>
          </p:cNvPr>
          <p:cNvSpPr>
            <a:spLocks noGrp="1"/>
          </p:cNvSpPr>
          <p:nvPr>
            <p:ph type="sldNum" sz="quarter" idx="12"/>
          </p:nvPr>
        </p:nvSpPr>
        <p:spPr/>
        <p:txBody>
          <a:bodyPr/>
          <a:lstStyle/>
          <a:p>
            <a:fld id="{CE82B8A1-0CCE-4815-9668-383D7DE7D8B4}" type="slidenum">
              <a:rPr lang="en-US" noProof="0" smtClean="0"/>
              <a:pPr/>
              <a:t>80</a:t>
            </a:fld>
            <a:endParaRPr lang="en-US" noProof="0" dirty="0"/>
          </a:p>
        </p:txBody>
      </p:sp>
    </p:spTree>
    <p:extLst>
      <p:ext uri="{BB962C8B-B14F-4D97-AF65-F5344CB8AC3E}">
        <p14:creationId xmlns:p14="http://schemas.microsoft.com/office/powerpoint/2010/main" val="165486339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prechblase: oval 2">
            <a:extLst>
              <a:ext uri="{FF2B5EF4-FFF2-40B4-BE49-F238E27FC236}">
                <a16:creationId xmlns:a16="http://schemas.microsoft.com/office/drawing/2014/main" id="{889E182D-4E6A-40AD-8CF5-1A9C43B5F5CA}"/>
              </a:ext>
            </a:extLst>
          </p:cNvPr>
          <p:cNvSpPr/>
          <p:nvPr/>
        </p:nvSpPr>
        <p:spPr bwMode="gray">
          <a:xfrm>
            <a:off x="6096000" y="620688"/>
            <a:ext cx="2664000" cy="2664296"/>
          </a:xfrm>
          <a:prstGeom prst="wedgeEllipseCallout">
            <a:avLst>
              <a:gd name="adj1" fmla="val 53308"/>
              <a:gd name="adj2" fmla="val 35044"/>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22" name="Freihandform: Form 21">
            <a:extLst>
              <a:ext uri="{FF2B5EF4-FFF2-40B4-BE49-F238E27FC236}">
                <a16:creationId xmlns:a16="http://schemas.microsoft.com/office/drawing/2014/main" id="{F2120556-157E-44A0-9297-ECEBCDD48A36}"/>
              </a:ext>
            </a:extLst>
          </p:cNvPr>
          <p:cNvSpPr/>
          <p:nvPr/>
        </p:nvSpPr>
        <p:spPr bwMode="gray">
          <a:xfrm>
            <a:off x="1343471" y="188914"/>
            <a:ext cx="7456224" cy="6480175"/>
          </a:xfrm>
          <a:custGeom>
            <a:avLst/>
            <a:gdLst>
              <a:gd name="connsiteX0" fmla="*/ 2439937 w 7456224"/>
              <a:gd name="connsiteY0" fmla="*/ 0 h 6480175"/>
              <a:gd name="connsiteX1" fmla="*/ 4394835 w 7456224"/>
              <a:gd name="connsiteY1" fmla="*/ 0 h 6480175"/>
              <a:gd name="connsiteX2" fmla="*/ 4631334 w 7456224"/>
              <a:gd name="connsiteY2" fmla="*/ 77505 h 6480175"/>
              <a:gd name="connsiteX3" fmla="*/ 6772603 w 7456224"/>
              <a:gd name="connsiteY3" fmla="*/ 2597124 h 6480175"/>
              <a:gd name="connsiteX4" fmla="*/ 7456224 w 7456224"/>
              <a:gd name="connsiteY4" fmla="*/ 3244255 h 6480175"/>
              <a:gd name="connsiteX5" fmla="*/ 6783022 w 7456224"/>
              <a:gd name="connsiteY5" fmla="*/ 3902216 h 6480175"/>
              <a:gd name="connsiteX6" fmla="*/ 4682251 w 7456224"/>
              <a:gd name="connsiteY6" fmla="*/ 6455700 h 6480175"/>
              <a:gd name="connsiteX7" fmla="*/ 4611409 w 7456224"/>
              <a:gd name="connsiteY7" fmla="*/ 6480175 h 6480175"/>
              <a:gd name="connsiteX8" fmla="*/ 2227015 w 7456224"/>
              <a:gd name="connsiteY8" fmla="*/ 6480175 h 6480175"/>
              <a:gd name="connsiteX9" fmla="*/ 2181322 w 7456224"/>
              <a:gd name="connsiteY9" fmla="*/ 6464848 h 6480175"/>
              <a:gd name="connsiteX10" fmla="*/ 110 w 7456224"/>
              <a:gd name="connsiteY10" fmla="*/ 3303773 h 6480175"/>
              <a:gd name="connsiteX11" fmla="*/ 2429994 w 7456224"/>
              <a:gd name="connsiteY11" fmla="*/ 2494 h 648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56224" h="6480175">
                <a:moveTo>
                  <a:pt x="2439937" y="0"/>
                </a:moveTo>
                <a:lnTo>
                  <a:pt x="4394835" y="0"/>
                </a:lnTo>
                <a:lnTo>
                  <a:pt x="4631334" y="77505"/>
                </a:lnTo>
                <a:cubicBezTo>
                  <a:pt x="5698336" y="482110"/>
                  <a:pt x="6531975" y="1410014"/>
                  <a:pt x="6772603" y="2597124"/>
                </a:cubicBezTo>
                <a:lnTo>
                  <a:pt x="7456224" y="3244255"/>
                </a:lnTo>
                <a:lnTo>
                  <a:pt x="6783022" y="3902216"/>
                </a:lnTo>
                <a:cubicBezTo>
                  <a:pt x="6561379" y="5093020"/>
                  <a:pt x="5742659" y="6034115"/>
                  <a:pt x="4682251" y="6455700"/>
                </a:cubicBezTo>
                <a:lnTo>
                  <a:pt x="4611409" y="6480175"/>
                </a:lnTo>
                <a:lnTo>
                  <a:pt x="2227015" y="6480175"/>
                </a:lnTo>
                <a:lnTo>
                  <a:pt x="2181322" y="6464848"/>
                </a:lnTo>
                <a:cubicBezTo>
                  <a:pt x="905146" y="5969341"/>
                  <a:pt x="11540" y="4735246"/>
                  <a:pt x="110" y="3303773"/>
                </a:cubicBezTo>
                <a:cubicBezTo>
                  <a:pt x="-12199" y="1762182"/>
                  <a:pt x="1002140" y="433144"/>
                  <a:pt x="2429994" y="2494"/>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1008000" tIns="0" rIns="1512000" bIns="0" rtlCol="0" anchor="ctr">
            <a:noAutofit/>
          </a:bodyPr>
          <a:lstStyle/>
          <a:p>
            <a:pPr algn="ctr"/>
            <a:r>
              <a:rPr lang="en-US" sz="4000" dirty="0">
                <a:solidFill>
                  <a:schemeClr val="bg1"/>
                </a:solidFill>
              </a:rPr>
              <a:t>Lorem ipsum dolor sit amet, consectetuer adipiscing elit. Maecenas porttitor congue massa. Fusce posuere, magna sed pulvinar ultricies.</a:t>
            </a:r>
            <a:endParaRPr lang="en-US" sz="3600" dirty="0">
              <a:solidFill>
                <a:schemeClr val="bg1"/>
              </a:solidFill>
            </a:endParaRPr>
          </a:p>
        </p:txBody>
      </p:sp>
      <p:sp>
        <p:nvSpPr>
          <p:cNvPr id="46" name="Textplatzhalter 3">
            <a:extLst>
              <a:ext uri="{FF2B5EF4-FFF2-40B4-BE49-F238E27FC236}">
                <a16:creationId xmlns:a16="http://schemas.microsoft.com/office/drawing/2014/main" id="{D25F43D2-52F0-4F2E-8FAA-59C492201705}"/>
              </a:ext>
            </a:extLst>
          </p:cNvPr>
          <p:cNvSpPr txBox="1">
            <a:spLocks/>
          </p:cNvSpPr>
          <p:nvPr/>
        </p:nvSpPr>
        <p:spPr bwMode="gray">
          <a:xfrm>
            <a:off x="9048328" y="3284984"/>
            <a:ext cx="2519387" cy="2160000"/>
          </a:xfrm>
          <a:prstGeom prst="rect">
            <a:avLst/>
          </a:prstGeom>
        </p:spPr>
        <p:txBody>
          <a:bodyPr wrap="non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200" dirty="0">
                <a:solidFill>
                  <a:schemeClr val="tx1"/>
                </a:solidFill>
                <a:latin typeface="+mn-lt"/>
              </a:rPr>
              <a:t>Quotation from</a:t>
            </a:r>
          </a:p>
          <a:p>
            <a:pPr algn="l"/>
            <a:r>
              <a:rPr lang="en-US" sz="1800" dirty="0"/>
              <a:t>First-name Surname</a:t>
            </a:r>
          </a:p>
          <a:p>
            <a:pPr algn="l"/>
            <a:r>
              <a:rPr lang="en-US" sz="1800" dirty="0">
                <a:solidFill>
                  <a:schemeClr val="tx1"/>
                </a:solidFill>
                <a:latin typeface="+mn-lt"/>
              </a:rPr>
              <a:t>Profession</a:t>
            </a:r>
          </a:p>
        </p:txBody>
      </p:sp>
      <p:sp>
        <p:nvSpPr>
          <p:cNvPr id="9" name="Textplatzhalter 3">
            <a:extLst>
              <a:ext uri="{FF2B5EF4-FFF2-40B4-BE49-F238E27FC236}">
                <a16:creationId xmlns:a16="http://schemas.microsoft.com/office/drawing/2014/main" id="{666B9945-239E-4739-9258-F8097009D97F}"/>
              </a:ext>
            </a:extLst>
          </p:cNvPr>
          <p:cNvSpPr txBox="1">
            <a:spLocks/>
          </p:cNvSpPr>
          <p:nvPr/>
        </p:nvSpPr>
        <p:spPr bwMode="gray">
          <a:xfrm>
            <a:off x="2266876" y="188911"/>
            <a:ext cx="144016" cy="143745"/>
          </a:xfrm>
          <a:prstGeom prst="rect">
            <a:avLst/>
          </a:prstGeom>
        </p:spPr>
        <p:txBody>
          <a:bodyPr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600" dirty="0">
                <a:solidFill>
                  <a:schemeClr val="bg1"/>
                </a:solidFill>
              </a:rPr>
              <a:t>„</a:t>
            </a:r>
          </a:p>
        </p:txBody>
      </p:sp>
      <p:sp>
        <p:nvSpPr>
          <p:cNvPr id="10" name="Textplatzhalter 3">
            <a:extLst>
              <a:ext uri="{FF2B5EF4-FFF2-40B4-BE49-F238E27FC236}">
                <a16:creationId xmlns:a16="http://schemas.microsoft.com/office/drawing/2014/main" id="{3315801E-58AB-4D5F-8263-3D4568AF2F6F}"/>
              </a:ext>
            </a:extLst>
          </p:cNvPr>
          <p:cNvSpPr txBox="1">
            <a:spLocks/>
          </p:cNvSpPr>
          <p:nvPr/>
        </p:nvSpPr>
        <p:spPr bwMode="gray">
          <a:xfrm>
            <a:off x="6312024" y="5085184"/>
            <a:ext cx="144016" cy="143745"/>
          </a:xfrm>
          <a:prstGeom prst="rect">
            <a:avLst/>
          </a:prstGeom>
        </p:spPr>
        <p:txBody>
          <a:bodyPr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600" dirty="0">
                <a:solidFill>
                  <a:schemeClr val="bg1"/>
                </a:solidFill>
              </a:rPr>
              <a:t>„</a:t>
            </a:r>
          </a:p>
        </p:txBody>
      </p:sp>
      <p:sp>
        <p:nvSpPr>
          <p:cNvPr id="4" name="Fußzeilenplatzhalter 3">
            <a:extLst>
              <a:ext uri="{FF2B5EF4-FFF2-40B4-BE49-F238E27FC236}">
                <a16:creationId xmlns:a16="http://schemas.microsoft.com/office/drawing/2014/main" id="{051E4B11-ABE8-4398-9852-DCB0F2F4FE84}"/>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8C409B78-80DC-4331-A679-2CA10371ADF2}"/>
              </a:ext>
            </a:extLst>
          </p:cNvPr>
          <p:cNvSpPr>
            <a:spLocks noGrp="1"/>
          </p:cNvSpPr>
          <p:nvPr>
            <p:ph type="sldNum" sz="quarter" idx="12"/>
          </p:nvPr>
        </p:nvSpPr>
        <p:spPr/>
        <p:txBody>
          <a:bodyPr/>
          <a:lstStyle/>
          <a:p>
            <a:fld id="{CE82B8A1-0CCE-4815-9668-383D7DE7D8B4}" type="slidenum">
              <a:rPr lang="en-US" smtClean="0"/>
              <a:t>81</a:t>
            </a:fld>
            <a:endParaRPr lang="en-US" dirty="0"/>
          </a:p>
        </p:txBody>
      </p:sp>
    </p:spTree>
    <p:extLst>
      <p:ext uri="{BB962C8B-B14F-4D97-AF65-F5344CB8AC3E}">
        <p14:creationId xmlns:p14="http://schemas.microsoft.com/office/powerpoint/2010/main" val="400797371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80AC895C-EF86-44B3-81F6-00AA2B705DAD}"/>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bwMode="gray">
          <a:xfrm>
            <a:off x="3613867" y="549943"/>
            <a:ext cx="2011937" cy="1131714"/>
          </a:xfrm>
          <a:prstGeom prst="rect">
            <a:avLst/>
          </a:prstGeom>
          <a:ln>
            <a:solidFill>
              <a:schemeClr val="bg2"/>
            </a:solidFill>
          </a:ln>
        </p:spPr>
      </p:pic>
      <p:sp>
        <p:nvSpPr>
          <p:cNvPr id="26" name="Textplatzhalter 4">
            <a:extLst>
              <a:ext uri="{FF2B5EF4-FFF2-40B4-BE49-F238E27FC236}">
                <a16:creationId xmlns:a16="http://schemas.microsoft.com/office/drawing/2014/main" id="{CFF36CCE-2087-4E44-9C35-BA05004F1A0D}"/>
              </a:ext>
            </a:extLst>
          </p:cNvPr>
          <p:cNvSpPr txBox="1">
            <a:spLocks/>
          </p:cNvSpPr>
          <p:nvPr/>
        </p:nvSpPr>
        <p:spPr bwMode="gray">
          <a:xfrm>
            <a:off x="3609804" y="170092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Title</a:t>
            </a:r>
          </a:p>
          <a:p>
            <a:pPr lvl="1"/>
            <a:r>
              <a:rPr lang="en-US" sz="1200" dirty="0"/>
              <a:t>Your title slide should whet the appetite. Choose a title which is clear and easy to understand. </a:t>
            </a:r>
          </a:p>
          <a:p>
            <a:pPr lvl="1"/>
            <a:r>
              <a:rPr lang="en-US" sz="1200" dirty="0"/>
              <a:t>Add an optional photo, as well as the name and position of the speaker.</a:t>
            </a:r>
          </a:p>
        </p:txBody>
      </p:sp>
      <p:pic>
        <p:nvPicPr>
          <p:cNvPr id="29" name="Grafik 28">
            <a:extLst>
              <a:ext uri="{FF2B5EF4-FFF2-40B4-BE49-F238E27FC236}">
                <a16:creationId xmlns:a16="http://schemas.microsoft.com/office/drawing/2014/main" id="{23D2F6DF-07CC-4FB1-9254-81880227847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bwMode="gray">
          <a:xfrm>
            <a:off x="6566195" y="549943"/>
            <a:ext cx="2011936" cy="1131714"/>
          </a:xfrm>
          <a:prstGeom prst="rect">
            <a:avLst/>
          </a:prstGeom>
          <a:ln>
            <a:solidFill>
              <a:schemeClr val="bg2"/>
            </a:solidFill>
          </a:ln>
        </p:spPr>
      </p:pic>
      <p:sp>
        <p:nvSpPr>
          <p:cNvPr id="30" name="Textplatzhalter 4">
            <a:extLst>
              <a:ext uri="{FF2B5EF4-FFF2-40B4-BE49-F238E27FC236}">
                <a16:creationId xmlns:a16="http://schemas.microsoft.com/office/drawing/2014/main" id="{5A543153-C8B0-4164-AE49-3D2274F00117}"/>
              </a:ext>
            </a:extLst>
          </p:cNvPr>
          <p:cNvSpPr txBox="1">
            <a:spLocks/>
          </p:cNvSpPr>
          <p:nvPr/>
        </p:nvSpPr>
        <p:spPr bwMode="gray">
          <a:xfrm>
            <a:off x="6562132" y="170092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Introduction to topic, motif (Pos 4)</a:t>
            </a:r>
          </a:p>
          <a:p>
            <a:pPr lvl="1"/>
            <a:r>
              <a:rPr lang="en-US" sz="1200" dirty="0"/>
              <a:t>You can impress your audience with an eye-catching image. Tell the story in your own words.</a:t>
            </a:r>
          </a:p>
        </p:txBody>
      </p:sp>
      <p:pic>
        <p:nvPicPr>
          <p:cNvPr id="32" name="Grafik 31">
            <a:extLst>
              <a:ext uri="{FF2B5EF4-FFF2-40B4-BE49-F238E27FC236}">
                <a16:creationId xmlns:a16="http://schemas.microsoft.com/office/drawing/2014/main" id="{804E9853-F912-4ED9-BA97-F7000D206BE1}"/>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bwMode="gray">
          <a:xfrm>
            <a:off x="9518523" y="549943"/>
            <a:ext cx="2011936" cy="1131714"/>
          </a:xfrm>
          <a:prstGeom prst="rect">
            <a:avLst/>
          </a:prstGeom>
          <a:ln>
            <a:solidFill>
              <a:schemeClr val="bg2"/>
            </a:solidFill>
          </a:ln>
        </p:spPr>
      </p:pic>
      <p:sp>
        <p:nvSpPr>
          <p:cNvPr id="33" name="Textplatzhalter 4">
            <a:extLst>
              <a:ext uri="{FF2B5EF4-FFF2-40B4-BE49-F238E27FC236}">
                <a16:creationId xmlns:a16="http://schemas.microsoft.com/office/drawing/2014/main" id="{0FA93D38-70EC-4982-B8CC-4EF4D0FA4D13}"/>
              </a:ext>
            </a:extLst>
          </p:cNvPr>
          <p:cNvSpPr txBox="1">
            <a:spLocks/>
          </p:cNvSpPr>
          <p:nvPr/>
        </p:nvSpPr>
        <p:spPr bwMode="gray">
          <a:xfrm>
            <a:off x="9514460" y="170092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Introductory theme, quotation</a:t>
            </a:r>
          </a:p>
          <a:p>
            <a:pPr lvl="1"/>
            <a:r>
              <a:rPr lang="en-US" sz="1200" dirty="0"/>
              <a:t>Is there an inspirational quote or maxim that gets to the heart of the matter? You can place it here.</a:t>
            </a:r>
          </a:p>
        </p:txBody>
      </p:sp>
      <p:pic>
        <p:nvPicPr>
          <p:cNvPr id="35" name="Grafik 34">
            <a:extLst>
              <a:ext uri="{FF2B5EF4-FFF2-40B4-BE49-F238E27FC236}">
                <a16:creationId xmlns:a16="http://schemas.microsoft.com/office/drawing/2014/main" id="{C414D557-8660-4A23-A913-7F299CAFDBA8}"/>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bwMode="gray">
          <a:xfrm>
            <a:off x="663570" y="3430143"/>
            <a:ext cx="2011936" cy="1131714"/>
          </a:xfrm>
          <a:prstGeom prst="rect">
            <a:avLst/>
          </a:prstGeom>
          <a:ln>
            <a:solidFill>
              <a:schemeClr val="bg2"/>
            </a:solidFill>
          </a:ln>
        </p:spPr>
      </p:pic>
      <p:sp>
        <p:nvSpPr>
          <p:cNvPr id="36" name="Textplatzhalter 4">
            <a:extLst>
              <a:ext uri="{FF2B5EF4-FFF2-40B4-BE49-F238E27FC236}">
                <a16:creationId xmlns:a16="http://schemas.microsoft.com/office/drawing/2014/main" id="{3A9888BF-0A43-4625-89EA-EDDCA27536F5}"/>
              </a:ext>
            </a:extLst>
          </p:cNvPr>
          <p:cNvSpPr txBox="1">
            <a:spLocks/>
          </p:cNvSpPr>
          <p:nvPr/>
        </p:nvSpPr>
        <p:spPr bwMode="gray">
          <a:xfrm>
            <a:off x="661539" y="458112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Insights/relevance </a:t>
            </a:r>
          </a:p>
          <a:p>
            <a:pPr lvl="1"/>
            <a:r>
              <a:rPr lang="en-US" sz="1200" dirty="0"/>
              <a:t>Why is your topic relevant? Give facts and figures that show your audience what's at stake. </a:t>
            </a:r>
          </a:p>
        </p:txBody>
      </p:sp>
      <p:pic>
        <p:nvPicPr>
          <p:cNvPr id="49" name="Grafik 48">
            <a:extLst>
              <a:ext uri="{FF2B5EF4-FFF2-40B4-BE49-F238E27FC236}">
                <a16:creationId xmlns:a16="http://schemas.microsoft.com/office/drawing/2014/main" id="{42CF93ED-BCC1-47EC-9F25-C311F7070C0D}"/>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bwMode="gray">
          <a:xfrm>
            <a:off x="3613867" y="3430143"/>
            <a:ext cx="2011936" cy="1131714"/>
          </a:xfrm>
          <a:prstGeom prst="rect">
            <a:avLst/>
          </a:prstGeom>
          <a:ln>
            <a:solidFill>
              <a:schemeClr val="bg2"/>
            </a:solidFill>
          </a:ln>
        </p:spPr>
      </p:pic>
      <p:sp>
        <p:nvSpPr>
          <p:cNvPr id="50" name="Textplatzhalter 4">
            <a:extLst>
              <a:ext uri="{FF2B5EF4-FFF2-40B4-BE49-F238E27FC236}">
                <a16:creationId xmlns:a16="http://schemas.microsoft.com/office/drawing/2014/main" id="{D7CB7030-FC60-4B39-892C-226B47E64156}"/>
              </a:ext>
            </a:extLst>
          </p:cNvPr>
          <p:cNvSpPr txBox="1">
            <a:spLocks/>
          </p:cNvSpPr>
          <p:nvPr/>
        </p:nvSpPr>
        <p:spPr bwMode="gray">
          <a:xfrm>
            <a:off x="3609804" y="458112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Agenda (Pos. 2)</a:t>
            </a:r>
          </a:p>
          <a:p>
            <a:pPr lvl="1"/>
            <a:r>
              <a:rPr lang="en-US" sz="1200" dirty="0"/>
              <a:t>The agenda provides your audience with a structure. So make sure your wording is concise, clear and consistent. </a:t>
            </a:r>
          </a:p>
        </p:txBody>
      </p:sp>
      <p:pic>
        <p:nvPicPr>
          <p:cNvPr id="47" name="Grafik 46">
            <a:extLst>
              <a:ext uri="{FF2B5EF4-FFF2-40B4-BE49-F238E27FC236}">
                <a16:creationId xmlns:a16="http://schemas.microsoft.com/office/drawing/2014/main" id="{6D9F9A21-2F75-4A85-9632-EE225F1AAA36}"/>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bwMode="gray">
          <a:xfrm>
            <a:off x="6566195" y="3430143"/>
            <a:ext cx="2011936" cy="1131714"/>
          </a:xfrm>
          <a:prstGeom prst="rect">
            <a:avLst/>
          </a:prstGeom>
          <a:ln>
            <a:solidFill>
              <a:schemeClr val="bg2"/>
            </a:solidFill>
          </a:ln>
        </p:spPr>
      </p:pic>
      <p:sp>
        <p:nvSpPr>
          <p:cNvPr id="48" name="Textplatzhalter 4">
            <a:extLst>
              <a:ext uri="{FF2B5EF4-FFF2-40B4-BE49-F238E27FC236}">
                <a16:creationId xmlns:a16="http://schemas.microsoft.com/office/drawing/2014/main" id="{D936D8DC-34D5-4792-8C72-04776DD97FE4}"/>
              </a:ext>
            </a:extLst>
          </p:cNvPr>
          <p:cNvSpPr txBox="1">
            <a:spLocks/>
          </p:cNvSpPr>
          <p:nvPr/>
        </p:nvSpPr>
        <p:spPr bwMode="gray">
          <a:xfrm>
            <a:off x="6562132" y="458112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Chapter 1 (Pos. 3)</a:t>
            </a:r>
          </a:p>
          <a:p>
            <a:pPr lvl="1"/>
            <a:r>
              <a:rPr lang="en-US" sz="1200" dirty="0"/>
              <a:t>This is the introductory chapter where your listeners discover the topic of the presentation and the central question.</a:t>
            </a:r>
          </a:p>
        </p:txBody>
      </p:sp>
      <p:pic>
        <p:nvPicPr>
          <p:cNvPr id="45" name="Grafik 44">
            <a:extLst>
              <a:ext uri="{FF2B5EF4-FFF2-40B4-BE49-F238E27FC236}">
                <a16:creationId xmlns:a16="http://schemas.microsoft.com/office/drawing/2014/main" id="{EE6EE939-6801-4645-B868-B864FD11F29D}"/>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bwMode="gray">
          <a:xfrm>
            <a:off x="9518524" y="3430143"/>
            <a:ext cx="2011936" cy="1131714"/>
          </a:xfrm>
          <a:prstGeom prst="rect">
            <a:avLst/>
          </a:prstGeom>
          <a:ln>
            <a:solidFill>
              <a:schemeClr val="bg2"/>
            </a:solidFill>
          </a:ln>
        </p:spPr>
      </p:pic>
      <p:sp>
        <p:nvSpPr>
          <p:cNvPr id="46" name="Textplatzhalter 4">
            <a:extLst>
              <a:ext uri="{FF2B5EF4-FFF2-40B4-BE49-F238E27FC236}">
                <a16:creationId xmlns:a16="http://schemas.microsoft.com/office/drawing/2014/main" id="{C6EEEE6D-311D-40EC-9B97-781346D9E8A3}"/>
              </a:ext>
            </a:extLst>
          </p:cNvPr>
          <p:cNvSpPr txBox="1">
            <a:spLocks/>
          </p:cNvSpPr>
          <p:nvPr/>
        </p:nvSpPr>
        <p:spPr bwMode="gray">
          <a:xfrm>
            <a:off x="9514460" y="458112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Questions</a:t>
            </a:r>
          </a:p>
          <a:p>
            <a:pPr lvl="1"/>
            <a:r>
              <a:rPr lang="en-US" sz="1200" dirty="0"/>
              <a:t>You have shown that your topic is relevant. What questions can be raised? </a:t>
            </a:r>
          </a:p>
        </p:txBody>
      </p:sp>
      <p:pic>
        <p:nvPicPr>
          <p:cNvPr id="18" name="Grafik 17">
            <a:extLst>
              <a:ext uri="{FF2B5EF4-FFF2-40B4-BE49-F238E27FC236}">
                <a16:creationId xmlns:a16="http://schemas.microsoft.com/office/drawing/2014/main" id="{60B00F92-3ECF-4F1A-9200-1225B4BCBE49}"/>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bwMode="gray">
          <a:xfrm>
            <a:off x="663570" y="549943"/>
            <a:ext cx="2011937" cy="1131714"/>
          </a:xfrm>
          <a:prstGeom prst="rect">
            <a:avLst/>
          </a:prstGeom>
          <a:ln>
            <a:solidFill>
              <a:schemeClr val="bg2"/>
            </a:solidFill>
          </a:ln>
        </p:spPr>
      </p:pic>
      <p:sp>
        <p:nvSpPr>
          <p:cNvPr id="19" name="Textplatzhalter 4">
            <a:extLst>
              <a:ext uri="{FF2B5EF4-FFF2-40B4-BE49-F238E27FC236}">
                <a16:creationId xmlns:a16="http://schemas.microsoft.com/office/drawing/2014/main" id="{E6396F81-04C9-4362-98BB-DD80CE7DE645}"/>
              </a:ext>
            </a:extLst>
          </p:cNvPr>
          <p:cNvSpPr txBox="1">
            <a:spLocks/>
          </p:cNvSpPr>
          <p:nvPr/>
        </p:nvSpPr>
        <p:spPr bwMode="gray">
          <a:xfrm>
            <a:off x="659507" y="170092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Welcome</a:t>
            </a:r>
          </a:p>
          <a:p>
            <a:pPr lvl="1"/>
            <a:r>
              <a:rPr lang="en-US" sz="1200" dirty="0"/>
              <a:t>Use the Dräger welcome slide to start your meeting. This slide provides you with an introduction without revealing your topic.</a:t>
            </a:r>
          </a:p>
        </p:txBody>
      </p:sp>
      <p:sp>
        <p:nvSpPr>
          <p:cNvPr id="4" name="Fußzeilenplatzhalter 3">
            <a:extLst>
              <a:ext uri="{FF2B5EF4-FFF2-40B4-BE49-F238E27FC236}">
                <a16:creationId xmlns:a16="http://schemas.microsoft.com/office/drawing/2014/main" id="{4FA0971E-02D5-465D-ACE2-AC446DAA21F7}"/>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4E345F84-24ED-4169-B176-25793C35F566}"/>
              </a:ext>
            </a:extLst>
          </p:cNvPr>
          <p:cNvSpPr>
            <a:spLocks noGrp="1"/>
          </p:cNvSpPr>
          <p:nvPr>
            <p:ph type="sldNum" sz="quarter" idx="12"/>
          </p:nvPr>
        </p:nvSpPr>
        <p:spPr/>
        <p:txBody>
          <a:bodyPr/>
          <a:lstStyle/>
          <a:p>
            <a:fld id="{CE82B8A1-0CCE-4815-9668-383D7DE7D8B4}" type="slidenum">
              <a:rPr lang="en-US" smtClean="0"/>
              <a:t>82</a:t>
            </a:fld>
            <a:endParaRPr lang="en-US" dirty="0"/>
          </a:p>
        </p:txBody>
      </p:sp>
    </p:spTree>
    <p:extLst>
      <p:ext uri="{BB962C8B-B14F-4D97-AF65-F5344CB8AC3E}">
        <p14:creationId xmlns:p14="http://schemas.microsoft.com/office/powerpoint/2010/main" val="397928346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Grafik 61">
            <a:extLst>
              <a:ext uri="{FF2B5EF4-FFF2-40B4-BE49-F238E27FC236}">
                <a16:creationId xmlns:a16="http://schemas.microsoft.com/office/drawing/2014/main" id="{29DEAF25-D39D-44A3-8E83-A8A59588B8CE}"/>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bwMode="gray">
          <a:xfrm>
            <a:off x="3613867" y="549823"/>
            <a:ext cx="2011936" cy="1131714"/>
          </a:xfrm>
          <a:prstGeom prst="rect">
            <a:avLst/>
          </a:prstGeom>
          <a:ln>
            <a:solidFill>
              <a:schemeClr val="bg2"/>
            </a:solidFill>
          </a:ln>
        </p:spPr>
      </p:pic>
      <p:sp>
        <p:nvSpPr>
          <p:cNvPr id="63" name="Textplatzhalter 4">
            <a:extLst>
              <a:ext uri="{FF2B5EF4-FFF2-40B4-BE49-F238E27FC236}">
                <a16:creationId xmlns:a16="http://schemas.microsoft.com/office/drawing/2014/main" id="{0A6B254F-C2AD-48CA-A9D3-066FE46F22A5}"/>
              </a:ext>
            </a:extLst>
          </p:cNvPr>
          <p:cNvSpPr txBox="1">
            <a:spLocks/>
          </p:cNvSpPr>
          <p:nvPr/>
        </p:nvSpPr>
        <p:spPr bwMode="gray">
          <a:xfrm>
            <a:off x="3609804" y="170080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Chapter 2</a:t>
            </a:r>
          </a:p>
          <a:p>
            <a:pPr lvl="1"/>
            <a:r>
              <a:rPr lang="en-US" sz="1200" dirty="0"/>
              <a:t>In this chapter you outline the measures. Formulate this slide concisely and do not pre-empt </a:t>
            </a:r>
            <a:br>
              <a:rPr lang="en-US" sz="1200" dirty="0"/>
            </a:br>
            <a:r>
              <a:rPr lang="en-US" sz="1200" dirty="0"/>
              <a:t>any info.</a:t>
            </a:r>
          </a:p>
        </p:txBody>
      </p:sp>
      <p:pic>
        <p:nvPicPr>
          <p:cNvPr id="60" name="Grafik 59">
            <a:extLst>
              <a:ext uri="{FF2B5EF4-FFF2-40B4-BE49-F238E27FC236}">
                <a16:creationId xmlns:a16="http://schemas.microsoft.com/office/drawing/2014/main" id="{B3642E64-7631-496A-A39D-9B40A1152FE8}"/>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bwMode="gray">
          <a:xfrm>
            <a:off x="6566195" y="549823"/>
            <a:ext cx="2011936" cy="1131714"/>
          </a:xfrm>
          <a:prstGeom prst="rect">
            <a:avLst/>
          </a:prstGeom>
          <a:ln>
            <a:solidFill>
              <a:schemeClr val="bg2"/>
            </a:solidFill>
          </a:ln>
        </p:spPr>
      </p:pic>
      <p:sp>
        <p:nvSpPr>
          <p:cNvPr id="61" name="Textplatzhalter 4">
            <a:extLst>
              <a:ext uri="{FF2B5EF4-FFF2-40B4-BE49-F238E27FC236}">
                <a16:creationId xmlns:a16="http://schemas.microsoft.com/office/drawing/2014/main" id="{9BCC387B-CB4C-453A-8A63-9B7B0BAD32F9}"/>
              </a:ext>
            </a:extLst>
          </p:cNvPr>
          <p:cNvSpPr txBox="1">
            <a:spLocks/>
          </p:cNvSpPr>
          <p:nvPr/>
        </p:nvSpPr>
        <p:spPr bwMode="gray">
          <a:xfrm>
            <a:off x="6562132" y="170080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Solution approach</a:t>
            </a:r>
          </a:p>
          <a:p>
            <a:pPr lvl="1"/>
            <a:r>
              <a:rPr lang="en-US" sz="1200" dirty="0"/>
              <a:t>Here you can present a plan or solution approach: from starting point A to solution B.</a:t>
            </a:r>
          </a:p>
        </p:txBody>
      </p:sp>
      <p:pic>
        <p:nvPicPr>
          <p:cNvPr id="58" name="Grafik 57">
            <a:extLst>
              <a:ext uri="{FF2B5EF4-FFF2-40B4-BE49-F238E27FC236}">
                <a16:creationId xmlns:a16="http://schemas.microsoft.com/office/drawing/2014/main" id="{92E1DD1B-99AB-4695-87A0-37D811E4525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bwMode="gray">
          <a:xfrm>
            <a:off x="9518523" y="549823"/>
            <a:ext cx="2011936" cy="1131714"/>
          </a:xfrm>
          <a:prstGeom prst="rect">
            <a:avLst/>
          </a:prstGeom>
          <a:ln>
            <a:solidFill>
              <a:schemeClr val="bg2"/>
            </a:solidFill>
          </a:ln>
        </p:spPr>
      </p:pic>
      <p:sp>
        <p:nvSpPr>
          <p:cNvPr id="59" name="Textplatzhalter 4">
            <a:extLst>
              <a:ext uri="{FF2B5EF4-FFF2-40B4-BE49-F238E27FC236}">
                <a16:creationId xmlns:a16="http://schemas.microsoft.com/office/drawing/2014/main" id="{AFB27D9F-6C8E-4CE2-A8D2-2BF4D19210AB}"/>
              </a:ext>
            </a:extLst>
          </p:cNvPr>
          <p:cNvSpPr txBox="1">
            <a:spLocks/>
          </p:cNvSpPr>
          <p:nvPr/>
        </p:nvSpPr>
        <p:spPr bwMode="gray">
          <a:xfrm>
            <a:off x="9514460" y="170080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Measures</a:t>
            </a:r>
          </a:p>
          <a:p>
            <a:pPr lvl="1"/>
            <a:r>
              <a:rPr lang="en-US" sz="1200" dirty="0"/>
              <a:t>Here you can mention specific measures which are necessary on the journey from A to B. Don't go into details at this point.</a:t>
            </a:r>
          </a:p>
        </p:txBody>
      </p:sp>
      <p:pic>
        <p:nvPicPr>
          <p:cNvPr id="56" name="Grafik 55">
            <a:extLst>
              <a:ext uri="{FF2B5EF4-FFF2-40B4-BE49-F238E27FC236}">
                <a16:creationId xmlns:a16="http://schemas.microsoft.com/office/drawing/2014/main" id="{3DC9EE4E-85F5-4442-9851-34C1E3D30685}"/>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bwMode="gray">
          <a:xfrm>
            <a:off x="659507" y="3430143"/>
            <a:ext cx="2011936" cy="1131714"/>
          </a:xfrm>
          <a:prstGeom prst="rect">
            <a:avLst/>
          </a:prstGeom>
          <a:ln>
            <a:solidFill>
              <a:schemeClr val="bg2"/>
            </a:solidFill>
          </a:ln>
        </p:spPr>
      </p:pic>
      <p:sp>
        <p:nvSpPr>
          <p:cNvPr id="57" name="Textplatzhalter 4">
            <a:extLst>
              <a:ext uri="{FF2B5EF4-FFF2-40B4-BE49-F238E27FC236}">
                <a16:creationId xmlns:a16="http://schemas.microsoft.com/office/drawing/2014/main" id="{483B8454-E8CF-4D28-84F7-BE0E17626C9C}"/>
              </a:ext>
            </a:extLst>
          </p:cNvPr>
          <p:cNvSpPr txBox="1">
            <a:spLocks/>
          </p:cNvSpPr>
          <p:nvPr/>
        </p:nvSpPr>
        <p:spPr bwMode="gray">
          <a:xfrm>
            <a:off x="657476" y="458112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Milestones/timeline</a:t>
            </a:r>
          </a:p>
          <a:p>
            <a:pPr lvl="1"/>
            <a:r>
              <a:rPr lang="en-US" sz="1200" dirty="0"/>
              <a:t>Show your audience how the measures appear on the timeline and where the various milestones are located.</a:t>
            </a:r>
          </a:p>
        </p:txBody>
      </p:sp>
      <p:pic>
        <p:nvPicPr>
          <p:cNvPr id="75" name="Grafik 74">
            <a:extLst>
              <a:ext uri="{FF2B5EF4-FFF2-40B4-BE49-F238E27FC236}">
                <a16:creationId xmlns:a16="http://schemas.microsoft.com/office/drawing/2014/main" id="{A31F8661-CAB8-405D-B6B7-F627668D869D}"/>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bwMode="gray">
          <a:xfrm>
            <a:off x="3613867" y="3430143"/>
            <a:ext cx="2011936" cy="1131714"/>
          </a:xfrm>
          <a:prstGeom prst="rect">
            <a:avLst/>
          </a:prstGeom>
          <a:ln>
            <a:solidFill>
              <a:schemeClr val="bg2"/>
            </a:solidFill>
          </a:ln>
        </p:spPr>
      </p:pic>
      <p:sp>
        <p:nvSpPr>
          <p:cNvPr id="76" name="Textplatzhalter 4">
            <a:extLst>
              <a:ext uri="{FF2B5EF4-FFF2-40B4-BE49-F238E27FC236}">
                <a16:creationId xmlns:a16="http://schemas.microsoft.com/office/drawing/2014/main" id="{A324A5AB-A802-4A8A-BFC7-673F7BDB0D78}"/>
              </a:ext>
            </a:extLst>
          </p:cNvPr>
          <p:cNvSpPr txBox="1">
            <a:spLocks/>
          </p:cNvSpPr>
          <p:nvPr/>
        </p:nvSpPr>
        <p:spPr bwMode="gray">
          <a:xfrm>
            <a:off x="3609804" y="458112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Chapter 3</a:t>
            </a:r>
          </a:p>
          <a:p>
            <a:pPr lvl="1"/>
            <a:r>
              <a:rPr lang="en-US" sz="1200" dirty="0"/>
              <a:t>In this chapter you present and evaluate the results. Formulate this slide concisely and do not pre-empt any info.</a:t>
            </a:r>
          </a:p>
        </p:txBody>
      </p:sp>
      <p:pic>
        <p:nvPicPr>
          <p:cNvPr id="73" name="Grafik 72">
            <a:extLst>
              <a:ext uri="{FF2B5EF4-FFF2-40B4-BE49-F238E27FC236}">
                <a16:creationId xmlns:a16="http://schemas.microsoft.com/office/drawing/2014/main" id="{AE2F9B34-2794-4CBF-9C7F-6A73928718DF}"/>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bwMode="gray">
          <a:xfrm>
            <a:off x="6566195" y="3430143"/>
            <a:ext cx="2011936" cy="1131714"/>
          </a:xfrm>
          <a:prstGeom prst="rect">
            <a:avLst/>
          </a:prstGeom>
          <a:ln>
            <a:solidFill>
              <a:schemeClr val="bg2"/>
            </a:solidFill>
          </a:ln>
        </p:spPr>
      </p:pic>
      <p:sp>
        <p:nvSpPr>
          <p:cNvPr id="74" name="Textplatzhalter 4">
            <a:extLst>
              <a:ext uri="{FF2B5EF4-FFF2-40B4-BE49-F238E27FC236}">
                <a16:creationId xmlns:a16="http://schemas.microsoft.com/office/drawing/2014/main" id="{C32B4EED-F39D-4AC4-92E1-46368B7C8A65}"/>
              </a:ext>
            </a:extLst>
          </p:cNvPr>
          <p:cNvSpPr txBox="1">
            <a:spLocks/>
          </p:cNvSpPr>
          <p:nvPr/>
        </p:nvSpPr>
        <p:spPr bwMode="gray">
          <a:xfrm>
            <a:off x="6562132" y="458112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Set of results</a:t>
            </a:r>
          </a:p>
          <a:p>
            <a:pPr lvl="1"/>
            <a:r>
              <a:rPr lang="en-US" sz="1200" dirty="0"/>
              <a:t>This is where you can examine the results in a number of different ways, highlighting them from a range of perspectives.</a:t>
            </a:r>
          </a:p>
        </p:txBody>
      </p:sp>
      <p:pic>
        <p:nvPicPr>
          <p:cNvPr id="71" name="Grafik 70">
            <a:extLst>
              <a:ext uri="{FF2B5EF4-FFF2-40B4-BE49-F238E27FC236}">
                <a16:creationId xmlns:a16="http://schemas.microsoft.com/office/drawing/2014/main" id="{A323E977-9F4A-45A2-A4D3-F1103BE2757F}"/>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bwMode="gray">
          <a:xfrm>
            <a:off x="9518523" y="3430143"/>
            <a:ext cx="2011936" cy="1131714"/>
          </a:xfrm>
          <a:prstGeom prst="rect">
            <a:avLst/>
          </a:prstGeom>
          <a:ln>
            <a:solidFill>
              <a:schemeClr val="bg2"/>
            </a:solidFill>
          </a:ln>
        </p:spPr>
      </p:pic>
      <p:sp>
        <p:nvSpPr>
          <p:cNvPr id="72" name="Textplatzhalter 4">
            <a:extLst>
              <a:ext uri="{FF2B5EF4-FFF2-40B4-BE49-F238E27FC236}">
                <a16:creationId xmlns:a16="http://schemas.microsoft.com/office/drawing/2014/main" id="{8D60D332-AF93-4E92-A42E-43EEC14E5E79}"/>
              </a:ext>
            </a:extLst>
          </p:cNvPr>
          <p:cNvSpPr txBox="1">
            <a:spLocks/>
          </p:cNvSpPr>
          <p:nvPr/>
        </p:nvSpPr>
        <p:spPr bwMode="gray">
          <a:xfrm>
            <a:off x="9514460" y="458112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In numbers</a:t>
            </a:r>
          </a:p>
          <a:p>
            <a:pPr lvl="1"/>
            <a:r>
              <a:rPr lang="en-US" sz="1200" dirty="0"/>
              <a:t>Make your results measurable. Show your audience figures that indicate change or progress.</a:t>
            </a:r>
          </a:p>
        </p:txBody>
      </p:sp>
      <p:pic>
        <p:nvPicPr>
          <p:cNvPr id="19" name="Grafik 18">
            <a:extLst>
              <a:ext uri="{FF2B5EF4-FFF2-40B4-BE49-F238E27FC236}">
                <a16:creationId xmlns:a16="http://schemas.microsoft.com/office/drawing/2014/main" id="{6FA32AB1-3EEC-49AD-95F0-8F5E8959AAE9}"/>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bwMode="gray">
          <a:xfrm>
            <a:off x="661538" y="549823"/>
            <a:ext cx="2011936" cy="1131714"/>
          </a:xfrm>
          <a:prstGeom prst="rect">
            <a:avLst/>
          </a:prstGeom>
          <a:ln>
            <a:solidFill>
              <a:schemeClr val="bg2"/>
            </a:solidFill>
          </a:ln>
        </p:spPr>
      </p:pic>
      <p:sp>
        <p:nvSpPr>
          <p:cNvPr id="20" name="Textplatzhalter 4">
            <a:extLst>
              <a:ext uri="{FF2B5EF4-FFF2-40B4-BE49-F238E27FC236}">
                <a16:creationId xmlns:a16="http://schemas.microsoft.com/office/drawing/2014/main" id="{8AD7D8E9-5BD3-4997-BE1E-95CC512955B4}"/>
              </a:ext>
            </a:extLst>
          </p:cNvPr>
          <p:cNvSpPr txBox="1">
            <a:spLocks/>
          </p:cNvSpPr>
          <p:nvPr/>
        </p:nvSpPr>
        <p:spPr bwMode="gray">
          <a:xfrm>
            <a:off x="659507" y="170080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Challenge</a:t>
            </a:r>
          </a:p>
          <a:p>
            <a:pPr lvl="1"/>
            <a:r>
              <a:rPr lang="en-US" sz="1200" dirty="0"/>
              <a:t>What challenges and problems are posed by your question? What are the greatest difficulties?</a:t>
            </a:r>
          </a:p>
        </p:txBody>
      </p:sp>
      <p:sp>
        <p:nvSpPr>
          <p:cNvPr id="3" name="Fußzeilenplatzhalter 2">
            <a:extLst>
              <a:ext uri="{FF2B5EF4-FFF2-40B4-BE49-F238E27FC236}">
                <a16:creationId xmlns:a16="http://schemas.microsoft.com/office/drawing/2014/main" id="{E56C0F40-ABD9-408D-A771-5E53CC5730ED}"/>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58E43159-AA88-4E7B-895F-E2EA7CA78945}"/>
              </a:ext>
            </a:extLst>
          </p:cNvPr>
          <p:cNvSpPr>
            <a:spLocks noGrp="1"/>
          </p:cNvSpPr>
          <p:nvPr>
            <p:ph type="sldNum" sz="quarter" idx="12"/>
          </p:nvPr>
        </p:nvSpPr>
        <p:spPr/>
        <p:txBody>
          <a:bodyPr/>
          <a:lstStyle/>
          <a:p>
            <a:fld id="{CE82B8A1-0CCE-4815-9668-383D7DE7D8B4}" type="slidenum">
              <a:rPr lang="en-US" smtClean="0"/>
              <a:t>83</a:t>
            </a:fld>
            <a:endParaRPr lang="en-US" dirty="0"/>
          </a:p>
        </p:txBody>
      </p:sp>
    </p:spTree>
    <p:extLst>
      <p:ext uri="{BB962C8B-B14F-4D97-AF65-F5344CB8AC3E}">
        <p14:creationId xmlns:p14="http://schemas.microsoft.com/office/powerpoint/2010/main" val="204534733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Grafik 61">
            <a:extLst>
              <a:ext uri="{FF2B5EF4-FFF2-40B4-BE49-F238E27FC236}">
                <a16:creationId xmlns:a16="http://schemas.microsoft.com/office/drawing/2014/main" id="{29DEAF25-D39D-44A3-8E83-A8A59588B8CE}"/>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bwMode="gray">
          <a:xfrm>
            <a:off x="3613868" y="549823"/>
            <a:ext cx="2011936" cy="1131714"/>
          </a:xfrm>
          <a:prstGeom prst="rect">
            <a:avLst/>
          </a:prstGeom>
          <a:ln>
            <a:solidFill>
              <a:schemeClr val="bg2"/>
            </a:solidFill>
          </a:ln>
        </p:spPr>
      </p:pic>
      <p:sp>
        <p:nvSpPr>
          <p:cNvPr id="63" name="Textplatzhalter 4">
            <a:extLst>
              <a:ext uri="{FF2B5EF4-FFF2-40B4-BE49-F238E27FC236}">
                <a16:creationId xmlns:a16="http://schemas.microsoft.com/office/drawing/2014/main" id="{0A6B254F-C2AD-48CA-A9D3-066FE46F22A5}"/>
              </a:ext>
            </a:extLst>
          </p:cNvPr>
          <p:cNvSpPr txBox="1">
            <a:spLocks/>
          </p:cNvSpPr>
          <p:nvPr/>
        </p:nvSpPr>
        <p:spPr bwMode="gray">
          <a:xfrm>
            <a:off x="3609804" y="170080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Thanks</a:t>
            </a:r>
          </a:p>
          <a:p>
            <a:pPr lvl="1"/>
            <a:r>
              <a:rPr lang="en-US" sz="1200" dirty="0"/>
              <a:t>Finish and thank your audience.</a:t>
            </a:r>
          </a:p>
        </p:txBody>
      </p:sp>
      <p:pic>
        <p:nvPicPr>
          <p:cNvPr id="60" name="Grafik 59">
            <a:extLst>
              <a:ext uri="{FF2B5EF4-FFF2-40B4-BE49-F238E27FC236}">
                <a16:creationId xmlns:a16="http://schemas.microsoft.com/office/drawing/2014/main" id="{B3642E64-7631-496A-A39D-9B40A1152FE8}"/>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bwMode="gray">
          <a:xfrm>
            <a:off x="6566195" y="549823"/>
            <a:ext cx="2011936" cy="1131714"/>
          </a:xfrm>
          <a:prstGeom prst="rect">
            <a:avLst/>
          </a:prstGeom>
          <a:ln>
            <a:solidFill>
              <a:schemeClr val="bg2"/>
            </a:solidFill>
          </a:ln>
        </p:spPr>
      </p:pic>
      <p:sp>
        <p:nvSpPr>
          <p:cNvPr id="61" name="Textplatzhalter 4">
            <a:extLst>
              <a:ext uri="{FF2B5EF4-FFF2-40B4-BE49-F238E27FC236}">
                <a16:creationId xmlns:a16="http://schemas.microsoft.com/office/drawing/2014/main" id="{9BCC387B-CB4C-453A-8A63-9B7B0BAD32F9}"/>
              </a:ext>
            </a:extLst>
          </p:cNvPr>
          <p:cNvSpPr txBox="1">
            <a:spLocks/>
          </p:cNvSpPr>
          <p:nvPr/>
        </p:nvSpPr>
        <p:spPr bwMode="gray">
          <a:xfrm>
            <a:off x="6562131" y="170080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Back-up</a:t>
            </a:r>
          </a:p>
          <a:p>
            <a:pPr lvl="1"/>
            <a:r>
              <a:rPr lang="en-US" sz="1200" dirty="0"/>
              <a:t>Place additional charts for facts &amp; figures here, which will further strengthen and enhance your idea.</a:t>
            </a:r>
          </a:p>
        </p:txBody>
      </p:sp>
      <p:grpSp>
        <p:nvGrpSpPr>
          <p:cNvPr id="2" name="Gruppieren 1">
            <a:extLst>
              <a:ext uri="{FF2B5EF4-FFF2-40B4-BE49-F238E27FC236}">
                <a16:creationId xmlns:a16="http://schemas.microsoft.com/office/drawing/2014/main" id="{66ECA71A-2FE1-4F88-A4C5-614DF453A39B}"/>
              </a:ext>
            </a:extLst>
          </p:cNvPr>
          <p:cNvGrpSpPr/>
          <p:nvPr/>
        </p:nvGrpSpPr>
        <p:grpSpPr bwMode="gray">
          <a:xfrm>
            <a:off x="661539" y="549823"/>
            <a:ext cx="2016000" cy="2230985"/>
            <a:chOff x="9516492" y="3430143"/>
            <a:chExt cx="2016000" cy="2230985"/>
          </a:xfrm>
        </p:grpSpPr>
        <p:pic>
          <p:nvPicPr>
            <p:cNvPr id="8" name="Grafik 7">
              <a:extLst>
                <a:ext uri="{FF2B5EF4-FFF2-40B4-BE49-F238E27FC236}">
                  <a16:creationId xmlns:a16="http://schemas.microsoft.com/office/drawing/2014/main" id="{B84B9634-5515-440C-8899-86563177604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bwMode="gray">
            <a:xfrm>
              <a:off x="9518523" y="3430143"/>
              <a:ext cx="2011936" cy="1131714"/>
            </a:xfrm>
            <a:prstGeom prst="rect">
              <a:avLst/>
            </a:prstGeom>
            <a:ln>
              <a:solidFill>
                <a:schemeClr val="bg2"/>
              </a:solidFill>
            </a:ln>
          </p:spPr>
        </p:pic>
        <p:sp>
          <p:nvSpPr>
            <p:cNvPr id="9" name="Textplatzhalter 4">
              <a:extLst>
                <a:ext uri="{FF2B5EF4-FFF2-40B4-BE49-F238E27FC236}">
                  <a16:creationId xmlns:a16="http://schemas.microsoft.com/office/drawing/2014/main" id="{B0130394-A206-4D4E-B252-2A9994E4CF7B}"/>
                </a:ext>
              </a:extLst>
            </p:cNvPr>
            <p:cNvSpPr txBox="1">
              <a:spLocks/>
            </p:cNvSpPr>
            <p:nvPr/>
          </p:nvSpPr>
          <p:spPr bwMode="gray">
            <a:xfrm>
              <a:off x="9516492" y="4581128"/>
              <a:ext cx="2016000" cy="1080000"/>
            </a:xfrm>
            <a:prstGeom prst="rect">
              <a:avLst/>
            </a:prstGeom>
            <a:ln>
              <a:noFill/>
            </a:ln>
          </p:spPr>
          <p:txBody>
            <a:bodyPr lIns="0" tIns="36000" rIns="0" bIns="36000"/>
            <a:lst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200" b="1" dirty="0"/>
                <a:t>Conclusion/vote</a:t>
              </a:r>
            </a:p>
            <a:p>
              <a:pPr lvl="1"/>
              <a:r>
                <a:rPr lang="en-US" sz="1200" dirty="0"/>
                <a:t>Give a summary of the situation. What is your current position or where do you plan on going? Quotes from stakeholders can provide emotional testimony.</a:t>
              </a:r>
            </a:p>
          </p:txBody>
        </p:sp>
      </p:grpSp>
      <p:sp>
        <p:nvSpPr>
          <p:cNvPr id="4" name="Fußzeilenplatzhalter 3">
            <a:extLst>
              <a:ext uri="{FF2B5EF4-FFF2-40B4-BE49-F238E27FC236}">
                <a16:creationId xmlns:a16="http://schemas.microsoft.com/office/drawing/2014/main" id="{A3AC8989-9432-44B6-8F1C-6821C98A6C45}"/>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46B1D6DF-5E02-43C1-B7D3-2086A04C1B1C}"/>
              </a:ext>
            </a:extLst>
          </p:cNvPr>
          <p:cNvSpPr>
            <a:spLocks noGrp="1"/>
          </p:cNvSpPr>
          <p:nvPr>
            <p:ph type="sldNum" sz="quarter" idx="12"/>
          </p:nvPr>
        </p:nvSpPr>
        <p:spPr/>
        <p:txBody>
          <a:bodyPr/>
          <a:lstStyle/>
          <a:p>
            <a:fld id="{CE82B8A1-0CCE-4815-9668-383D7DE7D8B4}" type="slidenum">
              <a:rPr lang="en-US" smtClean="0"/>
              <a:t>84</a:t>
            </a:fld>
            <a:endParaRPr lang="en-US" dirty="0"/>
          </a:p>
        </p:txBody>
      </p:sp>
    </p:spTree>
    <p:extLst>
      <p:ext uri="{BB962C8B-B14F-4D97-AF65-F5344CB8AC3E}">
        <p14:creationId xmlns:p14="http://schemas.microsoft.com/office/powerpoint/2010/main" val="288348781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Bildplatzhalter 9">
            <a:extLst>
              <a:ext uri="{FF2B5EF4-FFF2-40B4-BE49-F238E27FC236}">
                <a16:creationId xmlns:a16="http://schemas.microsoft.com/office/drawing/2014/main" id="{F561172E-135A-44A6-9DD4-F3A698D4B619}"/>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l="1147" t="5084" r="4046" b="18647"/>
          <a:stretch/>
        </p:blipFill>
        <p:spPr bwMode="gray">
          <a:xfrm>
            <a:off x="192831" y="188640"/>
            <a:ext cx="11807825" cy="6480448"/>
          </a:xfrm>
        </p:spPr>
      </p:pic>
      <p:sp>
        <p:nvSpPr>
          <p:cNvPr id="2" name="Titel 1">
            <a:extLst>
              <a:ext uri="{FF2B5EF4-FFF2-40B4-BE49-F238E27FC236}">
                <a16:creationId xmlns:a16="http://schemas.microsoft.com/office/drawing/2014/main" id="{ED3B7623-8612-4758-910E-3B37BD3BC7B6}"/>
              </a:ext>
            </a:extLst>
          </p:cNvPr>
          <p:cNvSpPr>
            <a:spLocks noGrp="1"/>
          </p:cNvSpPr>
          <p:nvPr>
            <p:ph type="ctrTitle"/>
          </p:nvPr>
        </p:nvSpPr>
        <p:spPr bwMode="gray"/>
        <p:txBody>
          <a:bodyPr/>
          <a:lstStyle/>
          <a:p>
            <a:r>
              <a:rPr lang="en-US" dirty="0"/>
              <a:t>Lorem ipsum dolor sit amet</a:t>
            </a:r>
          </a:p>
        </p:txBody>
      </p:sp>
      <p:sp>
        <p:nvSpPr>
          <p:cNvPr id="3" name="Untertitel 2">
            <a:extLst>
              <a:ext uri="{FF2B5EF4-FFF2-40B4-BE49-F238E27FC236}">
                <a16:creationId xmlns:a16="http://schemas.microsoft.com/office/drawing/2014/main" id="{C3FCBCAF-68DD-4EB2-98FF-B9FFC6421419}"/>
              </a:ext>
            </a:extLst>
          </p:cNvPr>
          <p:cNvSpPr>
            <a:spLocks noGrp="1"/>
          </p:cNvSpPr>
          <p:nvPr>
            <p:ph type="body" sz="quarter" idx="15"/>
          </p:nvPr>
        </p:nvSpPr>
        <p:spPr bwMode="gray"/>
        <p:txBody>
          <a:bodyPr/>
          <a:lstStyle/>
          <a:p>
            <a:r>
              <a:rPr lang="en-US" dirty="0"/>
              <a:t>August 2019, Lübeck</a:t>
            </a:r>
          </a:p>
        </p:txBody>
      </p:sp>
      <p:sp>
        <p:nvSpPr>
          <p:cNvPr id="7" name="Textplatzhalter 6">
            <a:extLst>
              <a:ext uri="{FF2B5EF4-FFF2-40B4-BE49-F238E27FC236}">
                <a16:creationId xmlns:a16="http://schemas.microsoft.com/office/drawing/2014/main" id="{194CE045-D8DE-484D-9FBD-1962D444F31A}"/>
              </a:ext>
            </a:extLst>
          </p:cNvPr>
          <p:cNvSpPr>
            <a:spLocks noGrp="1"/>
          </p:cNvSpPr>
          <p:nvPr>
            <p:ph type="body" sz="quarter" idx="26"/>
          </p:nvPr>
        </p:nvSpPr>
        <p:spPr bwMode="gray"/>
        <p:txBody>
          <a:bodyPr/>
          <a:lstStyle/>
          <a:p>
            <a:endParaRPr lang="de-DE"/>
          </a:p>
        </p:txBody>
      </p:sp>
      <p:sp>
        <p:nvSpPr>
          <p:cNvPr id="15" name="Fußzeilenplatzhalter 14">
            <a:extLst>
              <a:ext uri="{FF2B5EF4-FFF2-40B4-BE49-F238E27FC236}">
                <a16:creationId xmlns:a16="http://schemas.microsoft.com/office/drawing/2014/main" id="{8FFBAE3C-4E67-4EB9-8A25-ECD9729F0905}"/>
              </a:ext>
            </a:extLst>
          </p:cNvPr>
          <p:cNvSpPr>
            <a:spLocks noGrp="1"/>
          </p:cNvSpPr>
          <p:nvPr>
            <p:ph type="ftr" sz="quarter" idx="27"/>
          </p:nvPr>
        </p:nvSpPr>
        <p:spPr bwMode="gray"/>
        <p:txBody>
          <a:bodyPr/>
          <a:lstStyle/>
          <a:p>
            <a:r>
              <a:rPr lang="en-US">
                <a:solidFill>
                  <a:schemeClr val="bg1"/>
                </a:solidFill>
              </a:rPr>
              <a:t>Footnote: Please insert appropriate company</a:t>
            </a:r>
            <a:endParaRPr lang="de-DE" dirty="0">
              <a:solidFill>
                <a:schemeClr val="bg1"/>
              </a:solidFill>
            </a:endParaRPr>
          </a:p>
        </p:txBody>
      </p:sp>
    </p:spTree>
    <p:extLst>
      <p:ext uri="{BB962C8B-B14F-4D97-AF65-F5344CB8AC3E}">
        <p14:creationId xmlns:p14="http://schemas.microsoft.com/office/powerpoint/2010/main" val="141965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platzhalter 5">
            <a:extLst>
              <a:ext uri="{FF2B5EF4-FFF2-40B4-BE49-F238E27FC236}">
                <a16:creationId xmlns:a16="http://schemas.microsoft.com/office/drawing/2014/main" id="{C25096E6-D6AF-4290-8BD4-251C9E72A255}"/>
              </a:ext>
            </a:extLst>
          </p:cNvPr>
          <p:cNvPicPr>
            <a:picLocks noGrp="1" noChangeAspect="1"/>
          </p:cNvPicPr>
          <p:nvPr>
            <p:ph type="pic" sz="quarter" idx="13"/>
          </p:nvPr>
        </p:nvPicPr>
        <p:blipFill>
          <a:blip r:embed="rId2" cstate="screen">
            <a:extLst>
              <a:ext uri="{28A0092B-C50C-407E-A947-70E740481C1C}">
                <a14:useLocalDpi xmlns:a14="http://schemas.microsoft.com/office/drawing/2010/main"/>
              </a:ext>
            </a:extLst>
          </a:blip>
          <a:srcRect l="2" r="2"/>
          <a:stretch>
            <a:fillRect/>
          </a:stretch>
        </p:blipFill>
        <p:spPr bwMode="gray">
          <a:xfrm>
            <a:off x="192088" y="188913"/>
            <a:ext cx="11807825" cy="6480175"/>
          </a:xfrm>
        </p:spPr>
      </p:pic>
      <p:sp>
        <p:nvSpPr>
          <p:cNvPr id="7" name="Titel 6">
            <a:extLst>
              <a:ext uri="{FF2B5EF4-FFF2-40B4-BE49-F238E27FC236}">
                <a16:creationId xmlns:a16="http://schemas.microsoft.com/office/drawing/2014/main" id="{D7AD066B-E59F-4327-9A45-19D01A44E355}"/>
              </a:ext>
            </a:extLst>
          </p:cNvPr>
          <p:cNvSpPr>
            <a:spLocks noGrp="1"/>
          </p:cNvSpPr>
          <p:nvPr>
            <p:ph type="title"/>
          </p:nvPr>
        </p:nvSpPr>
        <p:spPr bwMode="gray"/>
        <p:txBody>
          <a:bodyPr/>
          <a:lstStyle/>
          <a:p>
            <a:r>
              <a:rPr lang="en-US" dirty="0"/>
              <a:t>Quotation –</a:t>
            </a:r>
            <a:br>
              <a:rPr lang="en-US" dirty="0"/>
            </a:br>
            <a:r>
              <a:rPr lang="en-US" dirty="0"/>
              <a:t>Introductory theme</a:t>
            </a:r>
            <a:br>
              <a:rPr lang="en-US" dirty="0"/>
            </a:br>
            <a:r>
              <a:rPr lang="en-US" dirty="0"/>
              <a:t>with motif</a:t>
            </a:r>
          </a:p>
        </p:txBody>
      </p:sp>
      <p:sp>
        <p:nvSpPr>
          <p:cNvPr id="2" name="Foliennummernplatzhalter 1">
            <a:extLst>
              <a:ext uri="{FF2B5EF4-FFF2-40B4-BE49-F238E27FC236}">
                <a16:creationId xmlns:a16="http://schemas.microsoft.com/office/drawing/2014/main" id="{80F55BA1-03BD-4FA3-8A03-458445E18CCC}"/>
              </a:ext>
            </a:extLst>
          </p:cNvPr>
          <p:cNvSpPr>
            <a:spLocks noGrp="1"/>
          </p:cNvSpPr>
          <p:nvPr>
            <p:ph type="sldNum" sz="quarter" idx="10"/>
          </p:nvPr>
        </p:nvSpPr>
        <p:spPr/>
        <p:txBody>
          <a:bodyPr/>
          <a:lstStyle/>
          <a:p>
            <a:fld id="{CE82B8A1-0CCE-4815-9668-383D7DE7D8B4}" type="slidenum">
              <a:rPr lang="en-US" noProof="0" smtClean="0"/>
              <a:pPr/>
              <a:t>86</a:t>
            </a:fld>
            <a:endParaRPr lang="en-US" noProof="0" dirty="0"/>
          </a:p>
        </p:txBody>
      </p:sp>
    </p:spTree>
    <p:extLst>
      <p:ext uri="{BB962C8B-B14F-4D97-AF65-F5344CB8AC3E}">
        <p14:creationId xmlns:p14="http://schemas.microsoft.com/office/powerpoint/2010/main" val="85643142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prechblase: oval 2">
            <a:extLst>
              <a:ext uri="{FF2B5EF4-FFF2-40B4-BE49-F238E27FC236}">
                <a16:creationId xmlns:a16="http://schemas.microsoft.com/office/drawing/2014/main" id="{889E182D-4E6A-40AD-8CF5-1A9C43B5F5CA}"/>
              </a:ext>
            </a:extLst>
          </p:cNvPr>
          <p:cNvSpPr/>
          <p:nvPr/>
        </p:nvSpPr>
        <p:spPr bwMode="gray">
          <a:xfrm>
            <a:off x="6096000" y="620688"/>
            <a:ext cx="2664000" cy="2664296"/>
          </a:xfrm>
          <a:prstGeom prst="wedgeEllipseCallout">
            <a:avLst>
              <a:gd name="adj1" fmla="val 53308"/>
              <a:gd name="adj2" fmla="val 35044"/>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22" name="Freihandform: Form 21">
            <a:extLst>
              <a:ext uri="{FF2B5EF4-FFF2-40B4-BE49-F238E27FC236}">
                <a16:creationId xmlns:a16="http://schemas.microsoft.com/office/drawing/2014/main" id="{F2120556-157E-44A0-9297-ECEBCDD48A36}"/>
              </a:ext>
            </a:extLst>
          </p:cNvPr>
          <p:cNvSpPr/>
          <p:nvPr/>
        </p:nvSpPr>
        <p:spPr bwMode="gray">
          <a:xfrm>
            <a:off x="1343471" y="188914"/>
            <a:ext cx="7456224" cy="6480175"/>
          </a:xfrm>
          <a:custGeom>
            <a:avLst/>
            <a:gdLst>
              <a:gd name="connsiteX0" fmla="*/ 2439937 w 7456224"/>
              <a:gd name="connsiteY0" fmla="*/ 0 h 6480175"/>
              <a:gd name="connsiteX1" fmla="*/ 4394835 w 7456224"/>
              <a:gd name="connsiteY1" fmla="*/ 0 h 6480175"/>
              <a:gd name="connsiteX2" fmla="*/ 4631334 w 7456224"/>
              <a:gd name="connsiteY2" fmla="*/ 77505 h 6480175"/>
              <a:gd name="connsiteX3" fmla="*/ 6772603 w 7456224"/>
              <a:gd name="connsiteY3" fmla="*/ 2597124 h 6480175"/>
              <a:gd name="connsiteX4" fmla="*/ 7456224 w 7456224"/>
              <a:gd name="connsiteY4" fmla="*/ 3244255 h 6480175"/>
              <a:gd name="connsiteX5" fmla="*/ 6783022 w 7456224"/>
              <a:gd name="connsiteY5" fmla="*/ 3902216 h 6480175"/>
              <a:gd name="connsiteX6" fmla="*/ 4682251 w 7456224"/>
              <a:gd name="connsiteY6" fmla="*/ 6455700 h 6480175"/>
              <a:gd name="connsiteX7" fmla="*/ 4611409 w 7456224"/>
              <a:gd name="connsiteY7" fmla="*/ 6480175 h 6480175"/>
              <a:gd name="connsiteX8" fmla="*/ 2227015 w 7456224"/>
              <a:gd name="connsiteY8" fmla="*/ 6480175 h 6480175"/>
              <a:gd name="connsiteX9" fmla="*/ 2181322 w 7456224"/>
              <a:gd name="connsiteY9" fmla="*/ 6464848 h 6480175"/>
              <a:gd name="connsiteX10" fmla="*/ 110 w 7456224"/>
              <a:gd name="connsiteY10" fmla="*/ 3303773 h 6480175"/>
              <a:gd name="connsiteX11" fmla="*/ 2429994 w 7456224"/>
              <a:gd name="connsiteY11" fmla="*/ 2494 h 648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56224" h="6480175">
                <a:moveTo>
                  <a:pt x="2439937" y="0"/>
                </a:moveTo>
                <a:lnTo>
                  <a:pt x="4394835" y="0"/>
                </a:lnTo>
                <a:lnTo>
                  <a:pt x="4631334" y="77505"/>
                </a:lnTo>
                <a:cubicBezTo>
                  <a:pt x="5698336" y="482110"/>
                  <a:pt x="6531975" y="1410014"/>
                  <a:pt x="6772603" y="2597124"/>
                </a:cubicBezTo>
                <a:lnTo>
                  <a:pt x="7456224" y="3244255"/>
                </a:lnTo>
                <a:lnTo>
                  <a:pt x="6783022" y="3902216"/>
                </a:lnTo>
                <a:cubicBezTo>
                  <a:pt x="6561379" y="5093020"/>
                  <a:pt x="5742659" y="6034115"/>
                  <a:pt x="4682251" y="6455700"/>
                </a:cubicBezTo>
                <a:lnTo>
                  <a:pt x="4611409" y="6480175"/>
                </a:lnTo>
                <a:lnTo>
                  <a:pt x="2227015" y="6480175"/>
                </a:lnTo>
                <a:lnTo>
                  <a:pt x="2181322" y="6464848"/>
                </a:lnTo>
                <a:cubicBezTo>
                  <a:pt x="905146" y="5969341"/>
                  <a:pt x="11540" y="4735246"/>
                  <a:pt x="110" y="3303773"/>
                </a:cubicBezTo>
                <a:cubicBezTo>
                  <a:pt x="-12199" y="1762182"/>
                  <a:pt x="1002140" y="433144"/>
                  <a:pt x="2429994" y="2494"/>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1008000" tIns="0" rIns="1512000" bIns="0" rtlCol="0" anchor="ctr">
            <a:noAutofit/>
          </a:bodyPr>
          <a:lstStyle/>
          <a:p>
            <a:pPr algn="ctr"/>
            <a:r>
              <a:rPr lang="en-US" sz="4000" dirty="0">
                <a:solidFill>
                  <a:schemeClr val="bg1"/>
                </a:solidFill>
              </a:rPr>
              <a:t>Lorem ipsum dolor sit amet, consectetuer adipiscing elit. Maecenas porttitor congue massa. Fusce posuere, magna sed pulvinar ultricies.</a:t>
            </a:r>
            <a:endParaRPr lang="en-US" sz="3600" dirty="0">
              <a:solidFill>
                <a:schemeClr val="bg1"/>
              </a:solidFill>
            </a:endParaRPr>
          </a:p>
        </p:txBody>
      </p:sp>
      <p:sp>
        <p:nvSpPr>
          <p:cNvPr id="46" name="Textplatzhalter 3">
            <a:extLst>
              <a:ext uri="{FF2B5EF4-FFF2-40B4-BE49-F238E27FC236}">
                <a16:creationId xmlns:a16="http://schemas.microsoft.com/office/drawing/2014/main" id="{D25F43D2-52F0-4F2E-8FAA-59C492201705}"/>
              </a:ext>
            </a:extLst>
          </p:cNvPr>
          <p:cNvSpPr txBox="1">
            <a:spLocks/>
          </p:cNvSpPr>
          <p:nvPr/>
        </p:nvSpPr>
        <p:spPr bwMode="gray">
          <a:xfrm>
            <a:off x="9048328" y="3284984"/>
            <a:ext cx="2519387" cy="2160000"/>
          </a:xfrm>
          <a:prstGeom prst="rect">
            <a:avLst/>
          </a:prstGeom>
        </p:spPr>
        <p:txBody>
          <a:bodyPr wrap="none" lIns="0" tIns="0" rIns="0" bIns="0" anchor="t"/>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200" dirty="0">
                <a:solidFill>
                  <a:schemeClr val="tx1"/>
                </a:solidFill>
                <a:latin typeface="+mn-lt"/>
              </a:rPr>
              <a:t>Quotation from</a:t>
            </a:r>
          </a:p>
          <a:p>
            <a:pPr algn="l"/>
            <a:r>
              <a:rPr lang="en-US" sz="1800" dirty="0"/>
              <a:t>First-name Surname</a:t>
            </a:r>
          </a:p>
          <a:p>
            <a:pPr algn="l"/>
            <a:r>
              <a:rPr lang="en-US" sz="1800" dirty="0">
                <a:solidFill>
                  <a:schemeClr val="tx1"/>
                </a:solidFill>
                <a:latin typeface="+mn-lt"/>
              </a:rPr>
              <a:t>Profession</a:t>
            </a:r>
          </a:p>
        </p:txBody>
      </p:sp>
      <p:sp>
        <p:nvSpPr>
          <p:cNvPr id="9" name="Textplatzhalter 3">
            <a:extLst>
              <a:ext uri="{FF2B5EF4-FFF2-40B4-BE49-F238E27FC236}">
                <a16:creationId xmlns:a16="http://schemas.microsoft.com/office/drawing/2014/main" id="{666B9945-239E-4739-9258-F8097009D97F}"/>
              </a:ext>
            </a:extLst>
          </p:cNvPr>
          <p:cNvSpPr txBox="1">
            <a:spLocks/>
          </p:cNvSpPr>
          <p:nvPr/>
        </p:nvSpPr>
        <p:spPr bwMode="gray">
          <a:xfrm>
            <a:off x="2266876" y="188911"/>
            <a:ext cx="144016" cy="143745"/>
          </a:xfrm>
          <a:prstGeom prst="rect">
            <a:avLst/>
          </a:prstGeom>
        </p:spPr>
        <p:txBody>
          <a:bodyPr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600" dirty="0">
                <a:solidFill>
                  <a:schemeClr val="bg1"/>
                </a:solidFill>
              </a:rPr>
              <a:t>„</a:t>
            </a:r>
          </a:p>
        </p:txBody>
      </p:sp>
      <p:sp>
        <p:nvSpPr>
          <p:cNvPr id="10" name="Textplatzhalter 3">
            <a:extLst>
              <a:ext uri="{FF2B5EF4-FFF2-40B4-BE49-F238E27FC236}">
                <a16:creationId xmlns:a16="http://schemas.microsoft.com/office/drawing/2014/main" id="{3315801E-58AB-4D5F-8263-3D4568AF2F6F}"/>
              </a:ext>
            </a:extLst>
          </p:cNvPr>
          <p:cNvSpPr txBox="1">
            <a:spLocks/>
          </p:cNvSpPr>
          <p:nvPr/>
        </p:nvSpPr>
        <p:spPr bwMode="gray">
          <a:xfrm>
            <a:off x="6312024" y="5085184"/>
            <a:ext cx="144016" cy="143745"/>
          </a:xfrm>
          <a:prstGeom prst="rect">
            <a:avLst/>
          </a:prstGeom>
        </p:spPr>
        <p:txBody>
          <a:bodyPr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16600" dirty="0">
                <a:solidFill>
                  <a:schemeClr val="bg1"/>
                </a:solidFill>
              </a:rPr>
              <a:t>„</a:t>
            </a:r>
          </a:p>
        </p:txBody>
      </p:sp>
      <p:sp>
        <p:nvSpPr>
          <p:cNvPr id="4" name="Fußzeilenplatzhalter 3">
            <a:extLst>
              <a:ext uri="{FF2B5EF4-FFF2-40B4-BE49-F238E27FC236}">
                <a16:creationId xmlns:a16="http://schemas.microsoft.com/office/drawing/2014/main" id="{3C31CC10-3090-48A7-A6DF-7040691C8A60}"/>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E07CE743-E628-4F7D-8A14-A42670F20A7C}"/>
              </a:ext>
            </a:extLst>
          </p:cNvPr>
          <p:cNvSpPr>
            <a:spLocks noGrp="1"/>
          </p:cNvSpPr>
          <p:nvPr>
            <p:ph type="sldNum" sz="quarter" idx="12"/>
          </p:nvPr>
        </p:nvSpPr>
        <p:spPr/>
        <p:txBody>
          <a:bodyPr/>
          <a:lstStyle/>
          <a:p>
            <a:fld id="{CE82B8A1-0CCE-4815-9668-383D7DE7D8B4}" type="slidenum">
              <a:rPr lang="en-US" smtClean="0"/>
              <a:t>87</a:t>
            </a:fld>
            <a:endParaRPr lang="en-US" dirty="0"/>
          </a:p>
        </p:txBody>
      </p:sp>
    </p:spTree>
    <p:extLst>
      <p:ext uri="{BB962C8B-B14F-4D97-AF65-F5344CB8AC3E}">
        <p14:creationId xmlns:p14="http://schemas.microsoft.com/office/powerpoint/2010/main" val="375487275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15715F2-075A-432B-8F7F-2C2EC905F9A6}"/>
              </a:ext>
            </a:extLst>
          </p:cNvPr>
          <p:cNvSpPr>
            <a:spLocks noGrp="1"/>
          </p:cNvSpPr>
          <p:nvPr>
            <p:ph type="title"/>
          </p:nvPr>
        </p:nvSpPr>
        <p:spPr bwMode="gray"/>
        <p:txBody>
          <a:bodyPr/>
          <a:lstStyle/>
          <a:p>
            <a:r>
              <a:rPr lang="en-US" dirty="0"/>
              <a:t>Insights/relevance</a:t>
            </a:r>
          </a:p>
        </p:txBody>
      </p:sp>
      <p:graphicFrame>
        <p:nvGraphicFramePr>
          <p:cNvPr id="20" name="Inhaltsplatzhalter 8">
            <a:extLst>
              <a:ext uri="{FF2B5EF4-FFF2-40B4-BE49-F238E27FC236}">
                <a16:creationId xmlns:a16="http://schemas.microsoft.com/office/drawing/2014/main" id="{D4E08E4A-503F-46D7-8B3E-DCDE1702314B}"/>
              </a:ext>
            </a:extLst>
          </p:cNvPr>
          <p:cNvGraphicFramePr>
            <a:graphicFrameLocks/>
          </p:cNvGraphicFramePr>
          <p:nvPr>
            <p:extLst>
              <p:ext uri="{D42A27DB-BD31-4B8C-83A1-F6EECF244321}">
                <p14:modId xmlns:p14="http://schemas.microsoft.com/office/powerpoint/2010/main" val="2821548723"/>
              </p:ext>
            </p:extLst>
          </p:nvPr>
        </p:nvGraphicFramePr>
        <p:xfrm>
          <a:off x="623392" y="1556792"/>
          <a:ext cx="3312000" cy="3276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4" name="Inhaltsplatzhalter 8">
            <a:extLst>
              <a:ext uri="{FF2B5EF4-FFF2-40B4-BE49-F238E27FC236}">
                <a16:creationId xmlns:a16="http://schemas.microsoft.com/office/drawing/2014/main" id="{88300AAF-5688-4BF5-ABB8-B3E9B944D5AF}"/>
              </a:ext>
            </a:extLst>
          </p:cNvPr>
          <p:cNvGraphicFramePr>
            <a:graphicFrameLocks/>
          </p:cNvGraphicFramePr>
          <p:nvPr>
            <p:extLst>
              <p:ext uri="{D42A27DB-BD31-4B8C-83A1-F6EECF244321}">
                <p14:modId xmlns:p14="http://schemas.microsoft.com/office/powerpoint/2010/main" val="487822868"/>
              </p:ext>
            </p:extLst>
          </p:nvPr>
        </p:nvGraphicFramePr>
        <p:xfrm>
          <a:off x="4440000" y="1556792"/>
          <a:ext cx="3312000" cy="327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Inhaltsplatzhalter 8">
            <a:extLst>
              <a:ext uri="{FF2B5EF4-FFF2-40B4-BE49-F238E27FC236}">
                <a16:creationId xmlns:a16="http://schemas.microsoft.com/office/drawing/2014/main" id="{F327EF85-C976-465A-8C1A-2B322FC26326}"/>
              </a:ext>
            </a:extLst>
          </p:cNvPr>
          <p:cNvGraphicFramePr>
            <a:graphicFrameLocks/>
          </p:cNvGraphicFramePr>
          <p:nvPr>
            <p:extLst>
              <p:ext uri="{D42A27DB-BD31-4B8C-83A1-F6EECF244321}">
                <p14:modId xmlns:p14="http://schemas.microsoft.com/office/powerpoint/2010/main" val="4045624290"/>
              </p:ext>
            </p:extLst>
          </p:nvPr>
        </p:nvGraphicFramePr>
        <p:xfrm>
          <a:off x="8256608" y="1556792"/>
          <a:ext cx="3312000" cy="3276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platzhalter 3">
            <a:extLst>
              <a:ext uri="{FF2B5EF4-FFF2-40B4-BE49-F238E27FC236}">
                <a16:creationId xmlns:a16="http://schemas.microsoft.com/office/drawing/2014/main" id="{69820E4E-7868-49D7-910A-5108F602D8DA}"/>
              </a:ext>
            </a:extLst>
          </p:cNvPr>
          <p:cNvSpPr txBox="1">
            <a:spLocks/>
          </p:cNvSpPr>
          <p:nvPr/>
        </p:nvSpPr>
        <p:spPr bwMode="gray">
          <a:xfrm>
            <a:off x="2099392" y="2564482"/>
            <a:ext cx="360000" cy="36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sz="6600" dirty="0">
                <a:solidFill>
                  <a:schemeClr val="accent5"/>
                </a:solidFill>
              </a:rPr>
              <a:t>10</a:t>
            </a:r>
          </a:p>
        </p:txBody>
      </p:sp>
      <p:sp>
        <p:nvSpPr>
          <p:cNvPr id="25" name="Textplatzhalter 3">
            <a:extLst>
              <a:ext uri="{FF2B5EF4-FFF2-40B4-BE49-F238E27FC236}">
                <a16:creationId xmlns:a16="http://schemas.microsoft.com/office/drawing/2014/main" id="{C6670240-1B8C-4896-ACB1-94FEE6C73373}"/>
              </a:ext>
            </a:extLst>
          </p:cNvPr>
          <p:cNvSpPr txBox="1">
            <a:spLocks/>
          </p:cNvSpPr>
          <p:nvPr/>
        </p:nvSpPr>
        <p:spPr bwMode="gray">
          <a:xfrm>
            <a:off x="5916000" y="2564482"/>
            <a:ext cx="360000" cy="36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sz="6600" dirty="0">
                <a:solidFill>
                  <a:schemeClr val="accent5"/>
                </a:solidFill>
              </a:rPr>
              <a:t>20</a:t>
            </a:r>
          </a:p>
        </p:txBody>
      </p:sp>
      <p:sp>
        <p:nvSpPr>
          <p:cNvPr id="28" name="Textplatzhalter 3">
            <a:extLst>
              <a:ext uri="{FF2B5EF4-FFF2-40B4-BE49-F238E27FC236}">
                <a16:creationId xmlns:a16="http://schemas.microsoft.com/office/drawing/2014/main" id="{56F42CD9-DFEB-4BFF-8ECE-7A1A5B43D686}"/>
              </a:ext>
            </a:extLst>
          </p:cNvPr>
          <p:cNvSpPr txBox="1">
            <a:spLocks/>
          </p:cNvSpPr>
          <p:nvPr/>
        </p:nvSpPr>
        <p:spPr bwMode="gray">
          <a:xfrm>
            <a:off x="9732608" y="2564482"/>
            <a:ext cx="360000" cy="36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sz="6600" dirty="0">
                <a:solidFill>
                  <a:schemeClr val="accent5"/>
                </a:solidFill>
              </a:rPr>
              <a:t>30</a:t>
            </a:r>
          </a:p>
        </p:txBody>
      </p:sp>
      <p:sp>
        <p:nvSpPr>
          <p:cNvPr id="14" name="Textplatzhalter 15">
            <a:extLst>
              <a:ext uri="{FF2B5EF4-FFF2-40B4-BE49-F238E27FC236}">
                <a16:creationId xmlns:a16="http://schemas.microsoft.com/office/drawing/2014/main" id="{6536E43F-71D0-4C00-9B07-A70157D3C104}"/>
              </a:ext>
            </a:extLst>
          </p:cNvPr>
          <p:cNvSpPr txBox="1">
            <a:spLocks/>
          </p:cNvSpPr>
          <p:nvPr/>
        </p:nvSpPr>
        <p:spPr bwMode="gray">
          <a:xfrm>
            <a:off x="623392" y="4581128"/>
            <a:ext cx="3312000" cy="1368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Maecenas porttitor congue massa. Fusce posuere, magna sed pulvinar ultricies, purus lectus malesuada libero, sit amet commodo magna eros quis urna</a:t>
            </a:r>
          </a:p>
        </p:txBody>
      </p:sp>
      <p:sp>
        <p:nvSpPr>
          <p:cNvPr id="16" name="Textplatzhalter 15">
            <a:extLst>
              <a:ext uri="{FF2B5EF4-FFF2-40B4-BE49-F238E27FC236}">
                <a16:creationId xmlns:a16="http://schemas.microsoft.com/office/drawing/2014/main" id="{FA1195DB-21B4-4913-B3DF-A8CB248D3524}"/>
              </a:ext>
            </a:extLst>
          </p:cNvPr>
          <p:cNvSpPr txBox="1">
            <a:spLocks/>
          </p:cNvSpPr>
          <p:nvPr/>
        </p:nvSpPr>
        <p:spPr bwMode="gray">
          <a:xfrm>
            <a:off x="4439808" y="4581128"/>
            <a:ext cx="3312000" cy="1368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Maecenas porttitor congue massa. Fusce posuere, magna sed pulvinar ultricies, purus lectus malesuada libero, sit amet commodo magna eros quis urna</a:t>
            </a:r>
          </a:p>
        </p:txBody>
      </p:sp>
      <p:sp>
        <p:nvSpPr>
          <p:cNvPr id="18" name="Textplatzhalter 15">
            <a:extLst>
              <a:ext uri="{FF2B5EF4-FFF2-40B4-BE49-F238E27FC236}">
                <a16:creationId xmlns:a16="http://schemas.microsoft.com/office/drawing/2014/main" id="{ECAEA17B-71AF-4B2A-BA6F-E48E2C572905}"/>
              </a:ext>
            </a:extLst>
          </p:cNvPr>
          <p:cNvSpPr txBox="1">
            <a:spLocks/>
          </p:cNvSpPr>
          <p:nvPr/>
        </p:nvSpPr>
        <p:spPr bwMode="gray">
          <a:xfrm>
            <a:off x="8256608" y="4581128"/>
            <a:ext cx="3312000" cy="1368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Maecenas porttitor congue massa. Fusce posuere, magna sed pulvinar ultricies, purus lectus malesuada libero, sit amet commodo magna eros quis urna</a:t>
            </a:r>
          </a:p>
        </p:txBody>
      </p:sp>
      <p:sp>
        <p:nvSpPr>
          <p:cNvPr id="31" name="Textplatzhalter 3">
            <a:extLst>
              <a:ext uri="{FF2B5EF4-FFF2-40B4-BE49-F238E27FC236}">
                <a16:creationId xmlns:a16="http://schemas.microsoft.com/office/drawing/2014/main" id="{59BCFA0A-8B8E-44B6-BCD9-77BAB8055FB4}"/>
              </a:ext>
            </a:extLst>
          </p:cNvPr>
          <p:cNvSpPr txBox="1">
            <a:spLocks/>
          </p:cNvSpPr>
          <p:nvPr/>
        </p:nvSpPr>
        <p:spPr bwMode="gray">
          <a:xfrm>
            <a:off x="2099392" y="3140546"/>
            <a:ext cx="360000" cy="36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sz="1800" dirty="0">
                <a:solidFill>
                  <a:schemeClr val="accent5"/>
                </a:solidFill>
                <a:latin typeface="+mn-lt"/>
              </a:rPr>
              <a:t>Percent</a:t>
            </a:r>
          </a:p>
        </p:txBody>
      </p:sp>
      <p:sp>
        <p:nvSpPr>
          <p:cNvPr id="32" name="Textplatzhalter 3">
            <a:extLst>
              <a:ext uri="{FF2B5EF4-FFF2-40B4-BE49-F238E27FC236}">
                <a16:creationId xmlns:a16="http://schemas.microsoft.com/office/drawing/2014/main" id="{97A55B16-5BF1-4105-B743-700CC6E56705}"/>
              </a:ext>
            </a:extLst>
          </p:cNvPr>
          <p:cNvSpPr txBox="1">
            <a:spLocks/>
          </p:cNvSpPr>
          <p:nvPr/>
        </p:nvSpPr>
        <p:spPr bwMode="gray">
          <a:xfrm>
            <a:off x="5916000" y="3140546"/>
            <a:ext cx="360000" cy="36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sz="1800" dirty="0">
                <a:solidFill>
                  <a:schemeClr val="accent5"/>
                </a:solidFill>
                <a:latin typeface="+mn-lt"/>
              </a:rPr>
              <a:t>Items</a:t>
            </a:r>
          </a:p>
        </p:txBody>
      </p:sp>
      <p:sp>
        <p:nvSpPr>
          <p:cNvPr id="33" name="Textplatzhalter 3">
            <a:extLst>
              <a:ext uri="{FF2B5EF4-FFF2-40B4-BE49-F238E27FC236}">
                <a16:creationId xmlns:a16="http://schemas.microsoft.com/office/drawing/2014/main" id="{19B5D093-0101-4C37-BC9B-2933D7C74BA0}"/>
              </a:ext>
            </a:extLst>
          </p:cNvPr>
          <p:cNvSpPr txBox="1">
            <a:spLocks/>
          </p:cNvSpPr>
          <p:nvPr/>
        </p:nvSpPr>
        <p:spPr bwMode="gray">
          <a:xfrm>
            <a:off x="9732608" y="3140546"/>
            <a:ext cx="360000" cy="360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sz="1800" dirty="0">
                <a:solidFill>
                  <a:schemeClr val="accent5"/>
                </a:solidFill>
                <a:latin typeface="+mn-lt"/>
              </a:rPr>
              <a:t>Euros</a:t>
            </a:r>
          </a:p>
        </p:txBody>
      </p:sp>
      <p:sp>
        <p:nvSpPr>
          <p:cNvPr id="4" name="Fußzeilenplatzhalter 3">
            <a:extLst>
              <a:ext uri="{FF2B5EF4-FFF2-40B4-BE49-F238E27FC236}">
                <a16:creationId xmlns:a16="http://schemas.microsoft.com/office/drawing/2014/main" id="{BD229CB3-EFE2-428C-A5DF-1DD360911E57}"/>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D1E73CB7-1071-4529-8023-5E4ACFE19DE5}"/>
              </a:ext>
            </a:extLst>
          </p:cNvPr>
          <p:cNvSpPr>
            <a:spLocks noGrp="1"/>
          </p:cNvSpPr>
          <p:nvPr>
            <p:ph type="sldNum" sz="quarter" idx="12"/>
          </p:nvPr>
        </p:nvSpPr>
        <p:spPr/>
        <p:txBody>
          <a:bodyPr/>
          <a:lstStyle/>
          <a:p>
            <a:fld id="{CE82B8A1-0CCE-4815-9668-383D7DE7D8B4}" type="slidenum">
              <a:rPr lang="en-US" noProof="0" smtClean="0"/>
              <a:t>88</a:t>
            </a:fld>
            <a:endParaRPr lang="en-US" noProof="0" dirty="0"/>
          </a:p>
        </p:txBody>
      </p:sp>
    </p:spTree>
    <p:extLst>
      <p:ext uri="{BB962C8B-B14F-4D97-AF65-F5344CB8AC3E}">
        <p14:creationId xmlns:p14="http://schemas.microsoft.com/office/powerpoint/2010/main" val="178139529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C55DFEB-AC6D-4C43-BA2C-8C831A674AFE}"/>
              </a:ext>
            </a:extLst>
          </p:cNvPr>
          <p:cNvSpPr>
            <a:spLocks noGrp="1"/>
          </p:cNvSpPr>
          <p:nvPr>
            <p:ph type="title"/>
          </p:nvPr>
        </p:nvSpPr>
        <p:spPr bwMode="gray"/>
        <p:txBody>
          <a:bodyPr/>
          <a:lstStyle/>
          <a:p>
            <a:r>
              <a:rPr lang="en-US" dirty="0"/>
              <a:t>Lorem ipsum dolor sit amet</a:t>
            </a:r>
          </a:p>
        </p:txBody>
      </p:sp>
      <p:sp>
        <p:nvSpPr>
          <p:cNvPr id="7" name="Textplatzhalter 6">
            <a:extLst>
              <a:ext uri="{FF2B5EF4-FFF2-40B4-BE49-F238E27FC236}">
                <a16:creationId xmlns:a16="http://schemas.microsoft.com/office/drawing/2014/main" id="{4D5498C1-FBB4-4C39-A38A-0B851330AF9D}"/>
              </a:ext>
            </a:extLst>
          </p:cNvPr>
          <p:cNvSpPr>
            <a:spLocks noGrp="1"/>
          </p:cNvSpPr>
          <p:nvPr>
            <p:ph type="body" sz="quarter" idx="14"/>
          </p:nvPr>
        </p:nvSpPr>
        <p:spPr bwMode="gray"/>
        <p:txBody>
          <a:bodyPr/>
          <a:lstStyle/>
          <a:p>
            <a:r>
              <a:rPr lang="en-US" dirty="0"/>
              <a:t>Item 01</a:t>
            </a:r>
          </a:p>
        </p:txBody>
      </p:sp>
      <p:sp>
        <p:nvSpPr>
          <p:cNvPr id="8" name="Textplatzhalter 7">
            <a:extLst>
              <a:ext uri="{FF2B5EF4-FFF2-40B4-BE49-F238E27FC236}">
                <a16:creationId xmlns:a16="http://schemas.microsoft.com/office/drawing/2014/main" id="{F12E7CDF-6457-4A6F-90D3-5CE206C7C036}"/>
              </a:ext>
            </a:extLst>
          </p:cNvPr>
          <p:cNvSpPr>
            <a:spLocks noGrp="1"/>
          </p:cNvSpPr>
          <p:nvPr>
            <p:ph type="body" sz="quarter" idx="15"/>
          </p:nvPr>
        </p:nvSpPr>
        <p:spPr bwMode="gray"/>
        <p:txBody>
          <a:bodyPr/>
          <a:lstStyle/>
          <a:p>
            <a:r>
              <a:rPr lang="en-US" dirty="0"/>
              <a:t>Item 02</a:t>
            </a:r>
          </a:p>
        </p:txBody>
      </p:sp>
      <p:sp>
        <p:nvSpPr>
          <p:cNvPr id="9" name="Textplatzhalter 8">
            <a:extLst>
              <a:ext uri="{FF2B5EF4-FFF2-40B4-BE49-F238E27FC236}">
                <a16:creationId xmlns:a16="http://schemas.microsoft.com/office/drawing/2014/main" id="{B76C6922-C161-4874-853D-E0E40C7030BE}"/>
              </a:ext>
            </a:extLst>
          </p:cNvPr>
          <p:cNvSpPr>
            <a:spLocks noGrp="1"/>
          </p:cNvSpPr>
          <p:nvPr>
            <p:ph type="body" sz="quarter" idx="16"/>
          </p:nvPr>
        </p:nvSpPr>
        <p:spPr bwMode="gray"/>
        <p:txBody>
          <a:bodyPr/>
          <a:lstStyle/>
          <a:p>
            <a:r>
              <a:rPr lang="en-US" dirty="0"/>
              <a:t>Item 03</a:t>
            </a:r>
          </a:p>
        </p:txBody>
      </p:sp>
      <p:sp>
        <p:nvSpPr>
          <p:cNvPr id="10" name="Textplatzhalter 9">
            <a:extLst>
              <a:ext uri="{FF2B5EF4-FFF2-40B4-BE49-F238E27FC236}">
                <a16:creationId xmlns:a16="http://schemas.microsoft.com/office/drawing/2014/main" id="{6CE53713-912E-4D72-9F51-F5603853187C}"/>
              </a:ext>
            </a:extLst>
          </p:cNvPr>
          <p:cNvSpPr>
            <a:spLocks noGrp="1"/>
          </p:cNvSpPr>
          <p:nvPr>
            <p:ph type="body" sz="quarter" idx="17"/>
          </p:nvPr>
        </p:nvSpPr>
        <p:spPr bwMode="gray"/>
        <p:txBody>
          <a:bodyPr/>
          <a:lstStyle/>
          <a:p>
            <a:r>
              <a:rPr lang="en-US" dirty="0"/>
              <a:t>Item 04</a:t>
            </a:r>
          </a:p>
        </p:txBody>
      </p:sp>
      <p:sp>
        <p:nvSpPr>
          <p:cNvPr id="13" name="Textplatzhalter 12">
            <a:extLst>
              <a:ext uri="{FF2B5EF4-FFF2-40B4-BE49-F238E27FC236}">
                <a16:creationId xmlns:a16="http://schemas.microsoft.com/office/drawing/2014/main" id="{FB89A6BA-E970-4732-A744-F5E1E5CB38AF}"/>
              </a:ext>
            </a:extLst>
          </p:cNvPr>
          <p:cNvSpPr>
            <a:spLocks noGrp="1"/>
          </p:cNvSpPr>
          <p:nvPr>
            <p:ph type="body" sz="quarter" idx="20"/>
          </p:nvPr>
        </p:nvSpPr>
        <p:spPr bwMode="gray"/>
        <p:txBody>
          <a:bodyPr/>
          <a:lstStyle/>
          <a:p>
            <a:r>
              <a:rPr lang="en-US" dirty="0"/>
              <a:t>The first point on the agenda is here</a:t>
            </a:r>
          </a:p>
        </p:txBody>
      </p:sp>
      <p:sp>
        <p:nvSpPr>
          <p:cNvPr id="14" name="Textplatzhalter 13">
            <a:extLst>
              <a:ext uri="{FF2B5EF4-FFF2-40B4-BE49-F238E27FC236}">
                <a16:creationId xmlns:a16="http://schemas.microsoft.com/office/drawing/2014/main" id="{E67B2809-D513-44A5-8819-6E6C8C0DEEA9}"/>
              </a:ext>
            </a:extLst>
          </p:cNvPr>
          <p:cNvSpPr>
            <a:spLocks noGrp="1"/>
          </p:cNvSpPr>
          <p:nvPr>
            <p:ph type="body" sz="quarter" idx="21"/>
          </p:nvPr>
        </p:nvSpPr>
        <p:spPr bwMode="gray"/>
        <p:txBody>
          <a:bodyPr/>
          <a:lstStyle/>
          <a:p>
            <a:r>
              <a:rPr lang="en-US" dirty="0"/>
              <a:t>This is followed by the second item on the agenda</a:t>
            </a:r>
          </a:p>
        </p:txBody>
      </p:sp>
      <p:sp>
        <p:nvSpPr>
          <p:cNvPr id="15" name="Textplatzhalter 14">
            <a:extLst>
              <a:ext uri="{FF2B5EF4-FFF2-40B4-BE49-F238E27FC236}">
                <a16:creationId xmlns:a16="http://schemas.microsoft.com/office/drawing/2014/main" id="{6A480B8B-46DB-4EAC-93B7-C8DCECB7666F}"/>
              </a:ext>
            </a:extLst>
          </p:cNvPr>
          <p:cNvSpPr>
            <a:spLocks noGrp="1"/>
          </p:cNvSpPr>
          <p:nvPr>
            <p:ph type="body" sz="quarter" idx="22"/>
          </p:nvPr>
        </p:nvSpPr>
        <p:spPr bwMode="gray"/>
        <p:txBody>
          <a:bodyPr/>
          <a:lstStyle/>
          <a:p>
            <a:r>
              <a:rPr lang="en-US" dirty="0"/>
              <a:t>The third item comes after that</a:t>
            </a:r>
          </a:p>
        </p:txBody>
      </p:sp>
      <p:sp>
        <p:nvSpPr>
          <p:cNvPr id="16" name="Textplatzhalter 15">
            <a:extLst>
              <a:ext uri="{FF2B5EF4-FFF2-40B4-BE49-F238E27FC236}">
                <a16:creationId xmlns:a16="http://schemas.microsoft.com/office/drawing/2014/main" id="{B0401FC3-3A30-4CFD-BA89-399BF46C94D2}"/>
              </a:ext>
            </a:extLst>
          </p:cNvPr>
          <p:cNvSpPr>
            <a:spLocks noGrp="1"/>
          </p:cNvSpPr>
          <p:nvPr>
            <p:ph type="body" sz="quarter" idx="23"/>
          </p:nvPr>
        </p:nvSpPr>
        <p:spPr bwMode="gray"/>
        <p:txBody>
          <a:bodyPr/>
          <a:lstStyle/>
          <a:p>
            <a:r>
              <a:rPr lang="en-US" dirty="0"/>
              <a:t>And if you can't be succinct, you can make use of the fourth item</a:t>
            </a:r>
          </a:p>
        </p:txBody>
      </p:sp>
      <p:pic>
        <p:nvPicPr>
          <p:cNvPr id="19" name="Bildplatzhalter 18">
            <a:extLst>
              <a:ext uri="{FF2B5EF4-FFF2-40B4-BE49-F238E27FC236}">
                <a16:creationId xmlns:a16="http://schemas.microsoft.com/office/drawing/2014/main" id="{D75C048E-753C-4AFF-A1DC-AA125115E0C4}"/>
              </a:ext>
            </a:extLst>
          </p:cNvPr>
          <p:cNvPicPr>
            <a:picLocks noGrp="1" noChangeAspect="1"/>
          </p:cNvPicPr>
          <p:nvPr>
            <p:ph type="pic" sz="quarter" idx="18"/>
          </p:nvPr>
        </p:nvPicPr>
        <p:blipFill>
          <a:blip r:embed="rId2" cstate="print">
            <a:extLst>
              <a:ext uri="{28A0092B-C50C-407E-A947-70E740481C1C}">
                <a14:useLocalDpi xmlns:a14="http://schemas.microsoft.com/office/drawing/2010/main" val="0"/>
              </a:ext>
            </a:extLst>
          </a:blip>
          <a:srcRect t="690" b="690"/>
          <a:stretch>
            <a:fillRect/>
          </a:stretch>
        </p:blipFill>
        <p:spPr bwMode="gray"/>
      </p:pic>
      <p:pic>
        <p:nvPicPr>
          <p:cNvPr id="21" name="Bildplatzhalter 5">
            <a:extLst>
              <a:ext uri="{FF2B5EF4-FFF2-40B4-BE49-F238E27FC236}">
                <a16:creationId xmlns:a16="http://schemas.microsoft.com/office/drawing/2014/main" id="{2D63416C-9499-4DCF-8F80-7E59AC4136AB}"/>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t="5015" b="5015"/>
          <a:stretch>
            <a:fillRect/>
          </a:stretch>
        </p:blipFill>
        <p:spPr bwMode="gray">
          <a:xfrm>
            <a:off x="6167438" y="188913"/>
            <a:ext cx="5832475" cy="2879725"/>
          </a:xfrm>
        </p:spPr>
      </p:pic>
      <p:pic>
        <p:nvPicPr>
          <p:cNvPr id="22" name="Bildplatzhalter 21">
            <a:extLst>
              <a:ext uri="{FF2B5EF4-FFF2-40B4-BE49-F238E27FC236}">
                <a16:creationId xmlns:a16="http://schemas.microsoft.com/office/drawing/2014/main" id="{4BC3BCA6-EBDE-4D35-B13D-79E4CE20AC7A}"/>
              </a:ext>
            </a:extLst>
          </p:cNvPr>
          <p:cNvPicPr>
            <a:picLocks noGrp="1" noChangeAspect="1"/>
          </p:cNvPicPr>
          <p:nvPr>
            <p:ph type="pic" sz="quarter" idx="19"/>
          </p:nvPr>
        </p:nvPicPr>
        <p:blipFill rotWithShape="1">
          <a:blip r:embed="rId4" cstate="print">
            <a:extLst>
              <a:ext uri="{28A0092B-C50C-407E-A947-70E740481C1C}">
                <a14:useLocalDpi xmlns:a14="http://schemas.microsoft.com/office/drawing/2010/main" val="0"/>
              </a:ext>
            </a:extLst>
          </a:blip>
          <a:srcRect t="210" b="210"/>
          <a:stretch/>
        </p:blipFill>
        <p:spPr bwMode="gray">
          <a:xfrm>
            <a:off x="6167438" y="3141663"/>
            <a:ext cx="2592387" cy="1800225"/>
          </a:xfrm>
          <a:prstGeom prst="rect">
            <a:avLst/>
          </a:prstGeom>
        </p:spPr>
      </p:pic>
      <p:sp>
        <p:nvSpPr>
          <p:cNvPr id="2" name="Fußzeilenplatzhalter 1">
            <a:extLst>
              <a:ext uri="{FF2B5EF4-FFF2-40B4-BE49-F238E27FC236}">
                <a16:creationId xmlns:a16="http://schemas.microsoft.com/office/drawing/2014/main" id="{D96A59A6-EAC1-4407-8952-28D3903918F3}"/>
              </a:ext>
            </a:extLst>
          </p:cNvPr>
          <p:cNvSpPr>
            <a:spLocks noGrp="1"/>
          </p:cNvSpPr>
          <p:nvPr>
            <p:ph type="ftr" sz="quarter" idx="24"/>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724786AD-B8F3-4EDD-88A3-6B9970CD4AD8}"/>
              </a:ext>
            </a:extLst>
          </p:cNvPr>
          <p:cNvSpPr>
            <a:spLocks noGrp="1"/>
          </p:cNvSpPr>
          <p:nvPr>
            <p:ph type="sldNum" sz="quarter" idx="10"/>
          </p:nvPr>
        </p:nvSpPr>
        <p:spPr/>
        <p:txBody>
          <a:bodyPr/>
          <a:lstStyle/>
          <a:p>
            <a:fld id="{CE82B8A1-0CCE-4815-9668-383D7DE7D8B4}" type="slidenum">
              <a:rPr lang="en-US" noProof="0" smtClean="0"/>
              <a:pPr/>
              <a:t>89</a:t>
            </a:fld>
            <a:endParaRPr lang="en-US" noProof="0" dirty="0"/>
          </a:p>
        </p:txBody>
      </p:sp>
    </p:spTree>
    <p:extLst>
      <p:ext uri="{BB962C8B-B14F-4D97-AF65-F5344CB8AC3E}">
        <p14:creationId xmlns:p14="http://schemas.microsoft.com/office/powerpoint/2010/main" val="33483881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E1F89DF-BFBC-463D-967D-421D2B1CAC74}"/>
              </a:ext>
            </a:extLst>
          </p:cNvPr>
          <p:cNvSpPr>
            <a:spLocks noGrp="1"/>
          </p:cNvSpPr>
          <p:nvPr>
            <p:ph type="title"/>
          </p:nvPr>
        </p:nvSpPr>
        <p:spPr bwMode="gray"/>
        <p:txBody>
          <a:bodyPr/>
          <a:lstStyle/>
          <a:p>
            <a:r>
              <a:rPr lang="en-US" dirty="0"/>
              <a:t>I'm a chapter divider. </a:t>
            </a:r>
            <a:br>
              <a:rPr lang="en-US" dirty="0"/>
            </a:br>
            <a:r>
              <a:rPr lang="en-US" dirty="0"/>
              <a:t>Lorem ipsum dolor sit amet, consectetuer adipiscing elit. Maecenas porttitor congue massa. </a:t>
            </a:r>
          </a:p>
        </p:txBody>
      </p:sp>
      <p:sp>
        <p:nvSpPr>
          <p:cNvPr id="6" name="Textplatzhalter 5">
            <a:extLst>
              <a:ext uri="{FF2B5EF4-FFF2-40B4-BE49-F238E27FC236}">
                <a16:creationId xmlns:a16="http://schemas.microsoft.com/office/drawing/2014/main" id="{00132A80-8C4B-45AC-81FD-61298D302D8E}"/>
              </a:ext>
            </a:extLst>
          </p:cNvPr>
          <p:cNvSpPr>
            <a:spLocks noGrp="1"/>
          </p:cNvSpPr>
          <p:nvPr>
            <p:ph type="body" sz="quarter" idx="11"/>
          </p:nvPr>
        </p:nvSpPr>
        <p:spPr bwMode="gray"/>
        <p:txBody>
          <a:bodyPr/>
          <a:lstStyle/>
          <a:p>
            <a:r>
              <a:rPr lang="en-US" dirty="0"/>
              <a:t>01</a:t>
            </a:r>
          </a:p>
        </p:txBody>
      </p:sp>
      <p:sp>
        <p:nvSpPr>
          <p:cNvPr id="2" name="Fußzeilenplatzhalter 1">
            <a:extLst>
              <a:ext uri="{FF2B5EF4-FFF2-40B4-BE49-F238E27FC236}">
                <a16:creationId xmlns:a16="http://schemas.microsoft.com/office/drawing/2014/main" id="{E77F0960-81B3-456B-B86A-19E8781048FF}"/>
              </a:ext>
            </a:extLst>
          </p:cNvPr>
          <p:cNvSpPr>
            <a:spLocks noGrp="1"/>
          </p:cNvSpPr>
          <p:nvPr>
            <p:ph type="ftr" sz="quarter" idx="12"/>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E7A9252E-0AFD-4D86-B19B-7B35A28E986A}"/>
              </a:ext>
            </a:extLst>
          </p:cNvPr>
          <p:cNvSpPr>
            <a:spLocks noGrp="1"/>
          </p:cNvSpPr>
          <p:nvPr>
            <p:ph type="sldNum" sz="quarter" idx="10"/>
          </p:nvPr>
        </p:nvSpPr>
        <p:spPr/>
        <p:txBody>
          <a:bodyPr/>
          <a:lstStyle/>
          <a:p>
            <a:fld id="{CE82B8A1-0CCE-4815-9668-383D7DE7D8B4}" type="slidenum">
              <a:rPr lang="en-US" noProof="0" smtClean="0"/>
              <a:pPr/>
              <a:t>9</a:t>
            </a:fld>
            <a:endParaRPr lang="en-US" noProof="0" dirty="0"/>
          </a:p>
        </p:txBody>
      </p:sp>
    </p:spTree>
    <p:extLst>
      <p:ext uri="{BB962C8B-B14F-4D97-AF65-F5344CB8AC3E}">
        <p14:creationId xmlns:p14="http://schemas.microsoft.com/office/powerpoint/2010/main" val="361153085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E1F89DF-BFBC-463D-967D-421D2B1CAC74}"/>
              </a:ext>
            </a:extLst>
          </p:cNvPr>
          <p:cNvSpPr>
            <a:spLocks noGrp="1"/>
          </p:cNvSpPr>
          <p:nvPr>
            <p:ph type="title"/>
          </p:nvPr>
        </p:nvSpPr>
        <p:spPr bwMode="gray"/>
        <p:txBody>
          <a:bodyPr/>
          <a:lstStyle/>
          <a:p>
            <a:r>
              <a:rPr lang="en-US" dirty="0"/>
              <a:t>I'm a chapter divider. </a:t>
            </a:r>
            <a:br>
              <a:rPr lang="en-US" dirty="0"/>
            </a:br>
            <a:r>
              <a:rPr lang="en-US" dirty="0"/>
              <a:t>Lorem ipsum dolor sit amet, consectetuer adipiscing elit. Maecenas porttitor congue massa. </a:t>
            </a:r>
          </a:p>
        </p:txBody>
      </p:sp>
      <p:sp>
        <p:nvSpPr>
          <p:cNvPr id="6" name="Textplatzhalter 5">
            <a:extLst>
              <a:ext uri="{FF2B5EF4-FFF2-40B4-BE49-F238E27FC236}">
                <a16:creationId xmlns:a16="http://schemas.microsoft.com/office/drawing/2014/main" id="{00132A80-8C4B-45AC-81FD-61298D302D8E}"/>
              </a:ext>
            </a:extLst>
          </p:cNvPr>
          <p:cNvSpPr>
            <a:spLocks noGrp="1"/>
          </p:cNvSpPr>
          <p:nvPr>
            <p:ph type="body" sz="quarter" idx="11"/>
          </p:nvPr>
        </p:nvSpPr>
        <p:spPr bwMode="gray"/>
        <p:txBody>
          <a:bodyPr/>
          <a:lstStyle/>
          <a:p>
            <a:r>
              <a:rPr lang="en-US" dirty="0"/>
              <a:t>01</a:t>
            </a:r>
          </a:p>
        </p:txBody>
      </p:sp>
      <p:sp>
        <p:nvSpPr>
          <p:cNvPr id="2" name="Fußzeilenplatzhalter 1">
            <a:extLst>
              <a:ext uri="{FF2B5EF4-FFF2-40B4-BE49-F238E27FC236}">
                <a16:creationId xmlns:a16="http://schemas.microsoft.com/office/drawing/2014/main" id="{80B98BC0-254D-4E61-A66E-16D0FE1E40B1}"/>
              </a:ext>
            </a:extLst>
          </p:cNvPr>
          <p:cNvSpPr>
            <a:spLocks noGrp="1"/>
          </p:cNvSpPr>
          <p:nvPr>
            <p:ph type="ftr" sz="quarter" idx="12"/>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FCBAAB1A-9090-4974-83A4-D044DB208A7A}"/>
              </a:ext>
            </a:extLst>
          </p:cNvPr>
          <p:cNvSpPr>
            <a:spLocks noGrp="1"/>
          </p:cNvSpPr>
          <p:nvPr>
            <p:ph type="sldNum" sz="quarter" idx="10"/>
          </p:nvPr>
        </p:nvSpPr>
        <p:spPr/>
        <p:txBody>
          <a:bodyPr/>
          <a:lstStyle/>
          <a:p>
            <a:fld id="{CE82B8A1-0CCE-4815-9668-383D7DE7D8B4}" type="slidenum">
              <a:rPr lang="en-US" noProof="0" smtClean="0"/>
              <a:pPr/>
              <a:t>90</a:t>
            </a:fld>
            <a:endParaRPr lang="en-US" noProof="0" dirty="0"/>
          </a:p>
        </p:txBody>
      </p:sp>
    </p:spTree>
    <p:extLst>
      <p:ext uri="{BB962C8B-B14F-4D97-AF65-F5344CB8AC3E}">
        <p14:creationId xmlns:p14="http://schemas.microsoft.com/office/powerpoint/2010/main" val="82765052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a:extLst>
              <a:ext uri="{FF2B5EF4-FFF2-40B4-BE49-F238E27FC236}">
                <a16:creationId xmlns:a16="http://schemas.microsoft.com/office/drawing/2014/main" id="{E29C2ECA-B922-4BE4-A3C3-BFD520C35BFD}"/>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8859" b="8859"/>
          <a:stretch>
            <a:fillRect/>
          </a:stretch>
        </p:blipFill>
        <p:spPr bwMode="gray">
          <a:xfrm flipH="1">
            <a:off x="192088" y="188913"/>
            <a:ext cx="11807825" cy="6480175"/>
          </a:xfrm>
        </p:spPr>
      </p:pic>
      <p:sp>
        <p:nvSpPr>
          <p:cNvPr id="3" name="Textplatzhalter 2">
            <a:extLst>
              <a:ext uri="{FF2B5EF4-FFF2-40B4-BE49-F238E27FC236}">
                <a16:creationId xmlns:a16="http://schemas.microsoft.com/office/drawing/2014/main" id="{85EBC2A4-6392-438E-840B-EBE82F82D421}"/>
              </a:ext>
            </a:extLst>
          </p:cNvPr>
          <p:cNvSpPr>
            <a:spLocks noGrp="1"/>
          </p:cNvSpPr>
          <p:nvPr>
            <p:ph type="body" sz="quarter" idx="14"/>
          </p:nvPr>
        </p:nvSpPr>
        <p:spPr bwMode="gray"/>
        <p:txBody>
          <a:bodyPr/>
          <a:lstStyle/>
          <a:p>
            <a:r>
              <a:rPr lang="en-US" dirty="0"/>
              <a:t>Lorem ipsum dolor sit amet, consectetuer adipiscing elit.</a:t>
            </a:r>
          </a:p>
          <a:p>
            <a:pPr lvl="1"/>
            <a:r>
              <a:rPr lang="en-US" dirty="0"/>
              <a:t>Maecenas porttitor congue massa. Fusce posuere, magna sed pulvinar ultricies, purus lectus malesuada libero, sit amet commodo magna eros quis urna.</a:t>
            </a:r>
          </a:p>
          <a:p>
            <a:endParaRPr lang="en-US" dirty="0"/>
          </a:p>
          <a:p>
            <a:pPr lvl="1"/>
            <a:r>
              <a:rPr lang="en-US" dirty="0"/>
              <a:t>Nunc viverra imperdiet enim.</a:t>
            </a:r>
            <a:br>
              <a:rPr lang="en-US" dirty="0"/>
            </a:br>
            <a:r>
              <a:rPr lang="en-US" dirty="0"/>
              <a:t>Fusce est. Vivamus a tellus.</a:t>
            </a:r>
          </a:p>
          <a:p>
            <a:pPr lvl="1"/>
            <a:r>
              <a:rPr lang="en-US" dirty="0"/>
              <a:t>Pellentesque habitant morbi tristique senectus et netus et malesuada fames ac turpis egestas. </a:t>
            </a:r>
          </a:p>
        </p:txBody>
      </p:sp>
      <p:sp>
        <p:nvSpPr>
          <p:cNvPr id="19" name="Titel 18">
            <a:extLst>
              <a:ext uri="{FF2B5EF4-FFF2-40B4-BE49-F238E27FC236}">
                <a16:creationId xmlns:a16="http://schemas.microsoft.com/office/drawing/2014/main" id="{C9CF7A87-6C34-4575-B694-0E1F9F30EC60}"/>
              </a:ext>
            </a:extLst>
          </p:cNvPr>
          <p:cNvSpPr>
            <a:spLocks noGrp="1"/>
          </p:cNvSpPr>
          <p:nvPr>
            <p:ph type="title"/>
          </p:nvPr>
        </p:nvSpPr>
        <p:spPr bwMode="gray"/>
        <p:txBody>
          <a:bodyPr/>
          <a:lstStyle/>
          <a:p>
            <a:r>
              <a:rPr lang="en-US" dirty="0"/>
              <a:t>Question</a:t>
            </a:r>
          </a:p>
        </p:txBody>
      </p:sp>
      <p:sp>
        <p:nvSpPr>
          <p:cNvPr id="2" name="Foliennummernplatzhalter 1">
            <a:extLst>
              <a:ext uri="{FF2B5EF4-FFF2-40B4-BE49-F238E27FC236}">
                <a16:creationId xmlns:a16="http://schemas.microsoft.com/office/drawing/2014/main" id="{D7E65DA2-DCE5-4209-824B-4B8BFEA69F7B}"/>
              </a:ext>
            </a:extLst>
          </p:cNvPr>
          <p:cNvSpPr>
            <a:spLocks noGrp="1"/>
          </p:cNvSpPr>
          <p:nvPr>
            <p:ph type="sldNum" sz="quarter" idx="12"/>
          </p:nvPr>
        </p:nvSpPr>
        <p:spPr/>
        <p:txBody>
          <a:bodyPr/>
          <a:lstStyle/>
          <a:p>
            <a:fld id="{CE82B8A1-0CCE-4815-9668-383D7DE7D8B4}" type="slidenum">
              <a:rPr lang="en-US" noProof="0" smtClean="0"/>
              <a:t>91</a:t>
            </a:fld>
            <a:endParaRPr lang="en-US" noProof="0" dirty="0"/>
          </a:p>
        </p:txBody>
      </p:sp>
    </p:spTree>
    <p:extLst>
      <p:ext uri="{BB962C8B-B14F-4D97-AF65-F5344CB8AC3E}">
        <p14:creationId xmlns:p14="http://schemas.microsoft.com/office/powerpoint/2010/main" val="154557191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a:extLst>
              <a:ext uri="{FF2B5EF4-FFF2-40B4-BE49-F238E27FC236}">
                <a16:creationId xmlns:a16="http://schemas.microsoft.com/office/drawing/2014/main" id="{E29C2ECA-B922-4BE4-A3C3-BFD520C35BFD}"/>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8859" b="8859"/>
          <a:stretch>
            <a:fillRect/>
          </a:stretch>
        </p:blipFill>
        <p:spPr bwMode="gray">
          <a:xfrm flipH="1">
            <a:off x="192088" y="188913"/>
            <a:ext cx="11807825" cy="6480175"/>
          </a:xfrm>
        </p:spPr>
      </p:pic>
      <p:sp>
        <p:nvSpPr>
          <p:cNvPr id="3" name="Textplatzhalter 2">
            <a:extLst>
              <a:ext uri="{FF2B5EF4-FFF2-40B4-BE49-F238E27FC236}">
                <a16:creationId xmlns:a16="http://schemas.microsoft.com/office/drawing/2014/main" id="{85EBC2A4-6392-438E-840B-EBE82F82D421}"/>
              </a:ext>
            </a:extLst>
          </p:cNvPr>
          <p:cNvSpPr>
            <a:spLocks noGrp="1"/>
          </p:cNvSpPr>
          <p:nvPr>
            <p:ph type="body" sz="quarter" idx="14"/>
          </p:nvPr>
        </p:nvSpPr>
        <p:spPr bwMode="gray"/>
        <p:txBody>
          <a:bodyPr/>
          <a:lstStyle/>
          <a:p>
            <a:r>
              <a:rPr lang="en-US" dirty="0"/>
              <a:t>Lorem ipsum dolor sit amet, consectetuer adipiscing elit.</a:t>
            </a:r>
          </a:p>
          <a:p>
            <a:pPr lvl="1"/>
            <a:r>
              <a:rPr lang="en-US" dirty="0"/>
              <a:t>Maecenas porttitor congue massa.</a:t>
            </a:r>
          </a:p>
        </p:txBody>
      </p:sp>
      <p:sp>
        <p:nvSpPr>
          <p:cNvPr id="19" name="Titel 18">
            <a:extLst>
              <a:ext uri="{FF2B5EF4-FFF2-40B4-BE49-F238E27FC236}">
                <a16:creationId xmlns:a16="http://schemas.microsoft.com/office/drawing/2014/main" id="{C9CF7A87-6C34-4575-B694-0E1F9F30EC60}"/>
              </a:ext>
            </a:extLst>
          </p:cNvPr>
          <p:cNvSpPr>
            <a:spLocks noGrp="1"/>
          </p:cNvSpPr>
          <p:nvPr>
            <p:ph type="title"/>
          </p:nvPr>
        </p:nvSpPr>
        <p:spPr bwMode="gray"/>
        <p:txBody>
          <a:bodyPr/>
          <a:lstStyle/>
          <a:p>
            <a:r>
              <a:rPr lang="en-US" dirty="0"/>
              <a:t>Challenge</a:t>
            </a:r>
          </a:p>
        </p:txBody>
      </p:sp>
      <p:graphicFrame>
        <p:nvGraphicFramePr>
          <p:cNvPr id="8" name="Diagramm 7">
            <a:extLst>
              <a:ext uri="{FF2B5EF4-FFF2-40B4-BE49-F238E27FC236}">
                <a16:creationId xmlns:a16="http://schemas.microsoft.com/office/drawing/2014/main" id="{B5D81A8C-E2A1-450E-9DAC-22E2D195032D}"/>
              </a:ext>
            </a:extLst>
          </p:cNvPr>
          <p:cNvGraphicFramePr/>
          <p:nvPr>
            <p:extLst>
              <p:ext uri="{D42A27DB-BD31-4B8C-83A1-F6EECF244321}">
                <p14:modId xmlns:p14="http://schemas.microsoft.com/office/powerpoint/2010/main" val="2087517582"/>
              </p:ext>
            </p:extLst>
          </p:nvPr>
        </p:nvGraphicFramePr>
        <p:xfrm>
          <a:off x="8917012" y="3203955"/>
          <a:ext cx="2939628" cy="2817333"/>
        </p:xfrm>
        <a:graphic>
          <a:graphicData uri="http://schemas.openxmlformats.org/drawingml/2006/chart">
            <c:chart xmlns:c="http://schemas.openxmlformats.org/drawingml/2006/chart" xmlns:r="http://schemas.openxmlformats.org/officeDocument/2006/relationships" r:id="rId3"/>
          </a:graphicData>
        </a:graphic>
      </p:graphicFrame>
      <p:sp>
        <p:nvSpPr>
          <p:cNvPr id="2" name="Foliennummernplatzhalter 1">
            <a:extLst>
              <a:ext uri="{FF2B5EF4-FFF2-40B4-BE49-F238E27FC236}">
                <a16:creationId xmlns:a16="http://schemas.microsoft.com/office/drawing/2014/main" id="{5ECE8269-1F67-4BDF-9B41-F45AB7B1E129}"/>
              </a:ext>
            </a:extLst>
          </p:cNvPr>
          <p:cNvSpPr>
            <a:spLocks noGrp="1"/>
          </p:cNvSpPr>
          <p:nvPr>
            <p:ph type="sldNum" sz="quarter" idx="12"/>
          </p:nvPr>
        </p:nvSpPr>
        <p:spPr/>
        <p:txBody>
          <a:bodyPr/>
          <a:lstStyle/>
          <a:p>
            <a:fld id="{CE82B8A1-0CCE-4815-9668-383D7DE7D8B4}" type="slidenum">
              <a:rPr lang="en-US" noProof="0" smtClean="0"/>
              <a:t>92</a:t>
            </a:fld>
            <a:endParaRPr lang="en-US" noProof="0" dirty="0"/>
          </a:p>
        </p:txBody>
      </p:sp>
    </p:spTree>
    <p:extLst>
      <p:ext uri="{BB962C8B-B14F-4D97-AF65-F5344CB8AC3E}">
        <p14:creationId xmlns:p14="http://schemas.microsoft.com/office/powerpoint/2010/main" val="287050337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E1F89DF-BFBC-463D-967D-421D2B1CAC74}"/>
              </a:ext>
            </a:extLst>
          </p:cNvPr>
          <p:cNvSpPr>
            <a:spLocks noGrp="1"/>
          </p:cNvSpPr>
          <p:nvPr>
            <p:ph type="title"/>
          </p:nvPr>
        </p:nvSpPr>
        <p:spPr bwMode="gray"/>
        <p:txBody>
          <a:bodyPr/>
          <a:lstStyle/>
          <a:p>
            <a:r>
              <a:rPr lang="en-US" dirty="0"/>
              <a:t>I'm a chapter divider. </a:t>
            </a:r>
            <a:br>
              <a:rPr lang="en-US" dirty="0"/>
            </a:br>
            <a:r>
              <a:rPr lang="en-US" dirty="0"/>
              <a:t>Lorem ipsum dolor sit amet, consectetuer adipiscing elit. Maecenas porttitor congue massa. </a:t>
            </a:r>
          </a:p>
        </p:txBody>
      </p:sp>
      <p:sp>
        <p:nvSpPr>
          <p:cNvPr id="6" name="Textplatzhalter 5">
            <a:extLst>
              <a:ext uri="{FF2B5EF4-FFF2-40B4-BE49-F238E27FC236}">
                <a16:creationId xmlns:a16="http://schemas.microsoft.com/office/drawing/2014/main" id="{00132A80-8C4B-45AC-81FD-61298D302D8E}"/>
              </a:ext>
            </a:extLst>
          </p:cNvPr>
          <p:cNvSpPr>
            <a:spLocks noGrp="1"/>
          </p:cNvSpPr>
          <p:nvPr>
            <p:ph type="body" sz="quarter" idx="11"/>
          </p:nvPr>
        </p:nvSpPr>
        <p:spPr bwMode="gray"/>
        <p:txBody>
          <a:bodyPr/>
          <a:lstStyle/>
          <a:p>
            <a:r>
              <a:rPr lang="en-US" dirty="0"/>
              <a:t>02</a:t>
            </a:r>
          </a:p>
        </p:txBody>
      </p:sp>
      <p:sp>
        <p:nvSpPr>
          <p:cNvPr id="2" name="Fußzeilenplatzhalter 1">
            <a:extLst>
              <a:ext uri="{FF2B5EF4-FFF2-40B4-BE49-F238E27FC236}">
                <a16:creationId xmlns:a16="http://schemas.microsoft.com/office/drawing/2014/main" id="{6DD9D0E3-CF57-42AB-9573-2A45678199AD}"/>
              </a:ext>
            </a:extLst>
          </p:cNvPr>
          <p:cNvSpPr>
            <a:spLocks noGrp="1"/>
          </p:cNvSpPr>
          <p:nvPr>
            <p:ph type="ftr" sz="quarter" idx="12"/>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491B2FA1-4823-40A4-AA16-D4E38B4225E2}"/>
              </a:ext>
            </a:extLst>
          </p:cNvPr>
          <p:cNvSpPr>
            <a:spLocks noGrp="1"/>
          </p:cNvSpPr>
          <p:nvPr>
            <p:ph type="sldNum" sz="quarter" idx="10"/>
          </p:nvPr>
        </p:nvSpPr>
        <p:spPr/>
        <p:txBody>
          <a:bodyPr/>
          <a:lstStyle/>
          <a:p>
            <a:fld id="{CE82B8A1-0CCE-4815-9668-383D7DE7D8B4}" type="slidenum">
              <a:rPr lang="en-US" noProof="0" smtClean="0"/>
              <a:pPr/>
              <a:t>93</a:t>
            </a:fld>
            <a:endParaRPr lang="en-US" noProof="0" dirty="0"/>
          </a:p>
        </p:txBody>
      </p:sp>
    </p:spTree>
    <p:extLst>
      <p:ext uri="{BB962C8B-B14F-4D97-AF65-F5344CB8AC3E}">
        <p14:creationId xmlns:p14="http://schemas.microsoft.com/office/powerpoint/2010/main" val="282936655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ihandform: Form 16">
            <a:extLst>
              <a:ext uri="{FF2B5EF4-FFF2-40B4-BE49-F238E27FC236}">
                <a16:creationId xmlns:a16="http://schemas.microsoft.com/office/drawing/2014/main" id="{238CF08C-EE59-4AF3-8416-A9AFC9CD7388}"/>
              </a:ext>
            </a:extLst>
          </p:cNvPr>
          <p:cNvSpPr/>
          <p:nvPr/>
        </p:nvSpPr>
        <p:spPr bwMode="gray">
          <a:xfrm>
            <a:off x="0" y="0"/>
            <a:ext cx="6527800" cy="6858000"/>
          </a:xfrm>
          <a:custGeom>
            <a:avLst/>
            <a:gdLst>
              <a:gd name="connsiteX0" fmla="*/ 0 w 6527800"/>
              <a:gd name="connsiteY0" fmla="*/ 0 h 6858000"/>
              <a:gd name="connsiteX1" fmla="*/ 4693730 w 6527800"/>
              <a:gd name="connsiteY1" fmla="*/ 0 h 6858000"/>
              <a:gd name="connsiteX2" fmla="*/ 6527800 w 6527800"/>
              <a:gd name="connsiteY2" fmla="*/ 3429000 h 6858000"/>
              <a:gd name="connsiteX3" fmla="*/ 4693730 w 6527800"/>
              <a:gd name="connsiteY3" fmla="*/ 6858000 h 6858000"/>
              <a:gd name="connsiteX4" fmla="*/ 0 w 65278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7800" h="6858000">
                <a:moveTo>
                  <a:pt x="0" y="0"/>
                </a:moveTo>
                <a:lnTo>
                  <a:pt x="4693730" y="0"/>
                </a:lnTo>
                <a:lnTo>
                  <a:pt x="6527800" y="3429000"/>
                </a:lnTo>
                <a:lnTo>
                  <a:pt x="4693730" y="6858000"/>
                </a:lnTo>
                <a:lnTo>
                  <a:pt x="0" y="6858000"/>
                </a:lnTo>
                <a:close/>
              </a:path>
            </a:pathLst>
          </a:cu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US" sz="1600" dirty="0">
              <a:solidFill>
                <a:schemeClr val="bg1"/>
              </a:solidFill>
            </a:endParaRPr>
          </a:p>
        </p:txBody>
      </p:sp>
      <p:sp>
        <p:nvSpPr>
          <p:cNvPr id="20" name="Titel 19">
            <a:extLst>
              <a:ext uri="{FF2B5EF4-FFF2-40B4-BE49-F238E27FC236}">
                <a16:creationId xmlns:a16="http://schemas.microsoft.com/office/drawing/2014/main" id="{F94AD5BE-3A17-48B5-BC2E-E3B83B163FAB}"/>
              </a:ext>
            </a:extLst>
          </p:cNvPr>
          <p:cNvSpPr>
            <a:spLocks noGrp="1"/>
          </p:cNvSpPr>
          <p:nvPr>
            <p:ph type="title"/>
          </p:nvPr>
        </p:nvSpPr>
        <p:spPr bwMode="gray"/>
        <p:txBody>
          <a:bodyPr/>
          <a:lstStyle/>
          <a:p>
            <a:r>
              <a:rPr lang="en-US" dirty="0"/>
              <a:t>Solution approach</a:t>
            </a:r>
          </a:p>
        </p:txBody>
      </p:sp>
      <p:sp>
        <p:nvSpPr>
          <p:cNvPr id="4" name="Textplatzhalter 15">
            <a:extLst>
              <a:ext uri="{FF2B5EF4-FFF2-40B4-BE49-F238E27FC236}">
                <a16:creationId xmlns:a16="http://schemas.microsoft.com/office/drawing/2014/main" id="{EB75B16B-6E6C-4238-A9A8-F41D70330828}"/>
              </a:ext>
            </a:extLst>
          </p:cNvPr>
          <p:cNvSpPr txBox="1">
            <a:spLocks/>
          </p:cNvSpPr>
          <p:nvPr/>
        </p:nvSpPr>
        <p:spPr bwMode="gray">
          <a:xfrm>
            <a:off x="623392" y="4221376"/>
            <a:ext cx="4176000" cy="1872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spcAft>
                <a:spcPts val="600"/>
              </a:spcAft>
            </a:pPr>
            <a:r>
              <a:rPr lang="en-US" dirty="0"/>
              <a:t>Maecenas porttitor congue massa. Fusce posuere,</a:t>
            </a:r>
            <a:br>
              <a:rPr lang="en-US" dirty="0"/>
            </a:br>
            <a:r>
              <a:rPr lang="en-US" dirty="0"/>
              <a:t>magna sed pulvinar ultricies, purus lectus malesuada</a:t>
            </a:r>
            <a:br>
              <a:rPr lang="en-US" dirty="0"/>
            </a:br>
            <a:r>
              <a:rPr lang="en-US" dirty="0"/>
              <a:t>libero, sit amet commodo magna eros quis urna.</a:t>
            </a:r>
            <a:br>
              <a:rPr lang="en-US" dirty="0"/>
            </a:br>
            <a:r>
              <a:rPr lang="en-US" dirty="0"/>
              <a:t>Pellentesque habitant morbi tristique senectus et netus et malesuada fames ac turpis egestas.</a:t>
            </a:r>
          </a:p>
          <a:p>
            <a:pPr lvl="1">
              <a:spcAft>
                <a:spcPts val="600"/>
              </a:spcAft>
            </a:pPr>
            <a:r>
              <a:rPr lang="en-US" dirty="0"/>
              <a:t>Proin pharetra nonummy pede. Mauris et orci. Lorem ipsum dolor sit amet, consectetuer adipiscing elit. </a:t>
            </a:r>
          </a:p>
        </p:txBody>
      </p:sp>
      <p:sp>
        <p:nvSpPr>
          <p:cNvPr id="6" name="Textplatzhalter 15">
            <a:extLst>
              <a:ext uri="{FF2B5EF4-FFF2-40B4-BE49-F238E27FC236}">
                <a16:creationId xmlns:a16="http://schemas.microsoft.com/office/drawing/2014/main" id="{B3C999D5-731C-4971-B494-75B816AFCF27}"/>
              </a:ext>
            </a:extLst>
          </p:cNvPr>
          <p:cNvSpPr txBox="1">
            <a:spLocks/>
          </p:cNvSpPr>
          <p:nvPr/>
        </p:nvSpPr>
        <p:spPr bwMode="gray">
          <a:xfrm>
            <a:off x="7378754" y="4221376"/>
            <a:ext cx="4176000" cy="1872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spcAft>
                <a:spcPts val="600"/>
              </a:spcAft>
            </a:pPr>
            <a:r>
              <a:rPr lang="en-US" dirty="0"/>
              <a:t>Maecenas porttitor congue massa. Fusce posuere,</a:t>
            </a:r>
            <a:br>
              <a:rPr lang="en-US" dirty="0"/>
            </a:br>
            <a:r>
              <a:rPr lang="en-US" dirty="0"/>
              <a:t>magna sed pulvinar ultricies, purus lectus malesuada</a:t>
            </a:r>
            <a:br>
              <a:rPr lang="en-US" dirty="0"/>
            </a:br>
            <a:r>
              <a:rPr lang="en-US" dirty="0"/>
              <a:t>libero, sit amet commodo magna eros quis urna.</a:t>
            </a:r>
            <a:br>
              <a:rPr lang="en-US" dirty="0"/>
            </a:br>
            <a:r>
              <a:rPr lang="en-US" dirty="0"/>
              <a:t>Pellentesque habitant morbi tristique senectus et netus et malesuada fames ac turpis egestas.</a:t>
            </a:r>
          </a:p>
          <a:p>
            <a:pPr lvl="1">
              <a:spcAft>
                <a:spcPts val="600"/>
              </a:spcAft>
            </a:pPr>
            <a:r>
              <a:rPr lang="en-US" dirty="0"/>
              <a:t>Proin pharetra nonummy pede. Mauris et orci. Lorem ipsum dolor sit amet, consectetuer adipiscing elit. </a:t>
            </a:r>
          </a:p>
        </p:txBody>
      </p:sp>
      <p:sp>
        <p:nvSpPr>
          <p:cNvPr id="11" name="Textplatzhalter 15">
            <a:extLst>
              <a:ext uri="{FF2B5EF4-FFF2-40B4-BE49-F238E27FC236}">
                <a16:creationId xmlns:a16="http://schemas.microsoft.com/office/drawing/2014/main" id="{1C47DDB1-C80C-4599-AC9B-E5EFBC44F73F}"/>
              </a:ext>
            </a:extLst>
          </p:cNvPr>
          <p:cNvSpPr txBox="1">
            <a:spLocks/>
          </p:cNvSpPr>
          <p:nvPr/>
        </p:nvSpPr>
        <p:spPr bwMode="gray">
          <a:xfrm>
            <a:off x="623392" y="1634836"/>
            <a:ext cx="4176000" cy="1512000"/>
          </a:xfrm>
          <a:prstGeom prst="rect">
            <a:avLst/>
          </a:prstGeom>
        </p:spPr>
        <p:txBody>
          <a:bodyPr lIns="0" tIns="0" rIns="0" bIns="0" anchor="ctr" anchorCtr="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6000" dirty="0">
                <a:solidFill>
                  <a:schemeClr val="accent5"/>
                </a:solidFill>
                <a:latin typeface="+mj-lt"/>
              </a:rPr>
              <a:t>A</a:t>
            </a:r>
          </a:p>
        </p:txBody>
      </p:sp>
      <p:sp>
        <p:nvSpPr>
          <p:cNvPr id="12" name="Textplatzhalter 15">
            <a:extLst>
              <a:ext uri="{FF2B5EF4-FFF2-40B4-BE49-F238E27FC236}">
                <a16:creationId xmlns:a16="http://schemas.microsoft.com/office/drawing/2014/main" id="{AED347FE-F023-4D2A-8C3D-BCCD289F4728}"/>
              </a:ext>
            </a:extLst>
          </p:cNvPr>
          <p:cNvSpPr txBox="1">
            <a:spLocks/>
          </p:cNvSpPr>
          <p:nvPr/>
        </p:nvSpPr>
        <p:spPr bwMode="gray">
          <a:xfrm>
            <a:off x="7248128" y="1634836"/>
            <a:ext cx="4176000" cy="1512000"/>
          </a:xfrm>
          <a:prstGeom prst="rect">
            <a:avLst/>
          </a:prstGeom>
        </p:spPr>
        <p:txBody>
          <a:bodyPr lIns="0" tIns="0" rIns="0" bIns="0" anchor="ctr" anchorCtr="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16000" dirty="0">
                <a:solidFill>
                  <a:schemeClr val="accent5"/>
                </a:solidFill>
                <a:latin typeface="+mj-lt"/>
              </a:rPr>
              <a:t>B</a:t>
            </a:r>
          </a:p>
        </p:txBody>
      </p:sp>
      <p:sp>
        <p:nvSpPr>
          <p:cNvPr id="15" name="Textplatzhalter 15">
            <a:extLst>
              <a:ext uri="{FF2B5EF4-FFF2-40B4-BE49-F238E27FC236}">
                <a16:creationId xmlns:a16="http://schemas.microsoft.com/office/drawing/2014/main" id="{F8BF5A07-EC1C-4C28-8732-2E334431BC28}"/>
              </a:ext>
            </a:extLst>
          </p:cNvPr>
          <p:cNvSpPr txBox="1">
            <a:spLocks/>
          </p:cNvSpPr>
          <p:nvPr/>
        </p:nvSpPr>
        <p:spPr bwMode="gray">
          <a:xfrm>
            <a:off x="623392" y="3248480"/>
            <a:ext cx="4176000" cy="719928"/>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3500" dirty="0">
                <a:solidFill>
                  <a:schemeClr val="accent5"/>
                </a:solidFill>
              </a:rPr>
              <a:t>Starting point</a:t>
            </a:r>
          </a:p>
        </p:txBody>
      </p:sp>
      <p:sp>
        <p:nvSpPr>
          <p:cNvPr id="16" name="Textplatzhalter 15">
            <a:extLst>
              <a:ext uri="{FF2B5EF4-FFF2-40B4-BE49-F238E27FC236}">
                <a16:creationId xmlns:a16="http://schemas.microsoft.com/office/drawing/2014/main" id="{68F913BF-B477-44F4-BBCA-423F1214F130}"/>
              </a:ext>
            </a:extLst>
          </p:cNvPr>
          <p:cNvSpPr txBox="1">
            <a:spLocks/>
          </p:cNvSpPr>
          <p:nvPr/>
        </p:nvSpPr>
        <p:spPr bwMode="gray">
          <a:xfrm>
            <a:off x="7378754" y="3248480"/>
            <a:ext cx="4176000" cy="719928"/>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3500" dirty="0">
                <a:solidFill>
                  <a:schemeClr val="accent5"/>
                </a:solidFill>
              </a:rPr>
              <a:t>Solution</a:t>
            </a:r>
          </a:p>
        </p:txBody>
      </p:sp>
      <p:sp>
        <p:nvSpPr>
          <p:cNvPr id="2" name="Fußzeilenplatzhalter 1">
            <a:extLst>
              <a:ext uri="{FF2B5EF4-FFF2-40B4-BE49-F238E27FC236}">
                <a16:creationId xmlns:a16="http://schemas.microsoft.com/office/drawing/2014/main" id="{896210C4-0BEC-4969-9219-F1AB3F4BBB1A}"/>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04ECD306-7A80-4BFE-B5DE-D92F202923F8}"/>
              </a:ext>
            </a:extLst>
          </p:cNvPr>
          <p:cNvSpPr>
            <a:spLocks noGrp="1"/>
          </p:cNvSpPr>
          <p:nvPr>
            <p:ph type="sldNum" sz="quarter" idx="12"/>
          </p:nvPr>
        </p:nvSpPr>
        <p:spPr/>
        <p:txBody>
          <a:bodyPr/>
          <a:lstStyle/>
          <a:p>
            <a:fld id="{CE82B8A1-0CCE-4815-9668-383D7DE7D8B4}" type="slidenum">
              <a:rPr lang="en-US" noProof="0" smtClean="0"/>
              <a:t>94</a:t>
            </a:fld>
            <a:endParaRPr lang="en-US" noProof="0" dirty="0"/>
          </a:p>
        </p:txBody>
      </p:sp>
    </p:spTree>
    <p:extLst>
      <p:ext uri="{BB962C8B-B14F-4D97-AF65-F5344CB8AC3E}">
        <p14:creationId xmlns:p14="http://schemas.microsoft.com/office/powerpoint/2010/main" val="89639215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2FE180-342C-41E8-8829-676755BAF757}"/>
              </a:ext>
            </a:extLst>
          </p:cNvPr>
          <p:cNvSpPr>
            <a:spLocks noGrp="1"/>
          </p:cNvSpPr>
          <p:nvPr>
            <p:ph type="title"/>
          </p:nvPr>
        </p:nvSpPr>
        <p:spPr bwMode="gray"/>
        <p:txBody>
          <a:bodyPr/>
          <a:lstStyle/>
          <a:p>
            <a:r>
              <a:rPr lang="en-US" dirty="0"/>
              <a:t>Measures</a:t>
            </a:r>
          </a:p>
        </p:txBody>
      </p:sp>
      <p:sp>
        <p:nvSpPr>
          <p:cNvPr id="4" name="Textplatzhalter 15">
            <a:extLst>
              <a:ext uri="{FF2B5EF4-FFF2-40B4-BE49-F238E27FC236}">
                <a16:creationId xmlns:a16="http://schemas.microsoft.com/office/drawing/2014/main" id="{5C212382-7FB0-4654-8B5B-8C3C1D619240}"/>
              </a:ext>
            </a:extLst>
          </p:cNvPr>
          <p:cNvSpPr txBox="1">
            <a:spLocks/>
          </p:cNvSpPr>
          <p:nvPr/>
        </p:nvSpPr>
        <p:spPr bwMode="gray">
          <a:xfrm>
            <a:off x="623887" y="3645023"/>
            <a:ext cx="2447925" cy="2663701"/>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spcAft>
                <a:spcPts val="600"/>
              </a:spcAft>
            </a:pPr>
            <a:r>
              <a:rPr lang="en-US" dirty="0">
                <a:solidFill>
                  <a:schemeClr val="accent5"/>
                </a:solidFill>
                <a:latin typeface="+mj-lt"/>
              </a:rPr>
              <a:t>Maecenas porttitor </a:t>
            </a:r>
            <a:r>
              <a:rPr lang="en-US" dirty="0"/>
              <a:t>congue massa. Fusce posuere, magna sed pulvinar ultricies, purus lectus malesuada libero,</a:t>
            </a:r>
            <a:br>
              <a:rPr lang="en-US" dirty="0"/>
            </a:br>
            <a:r>
              <a:rPr lang="en-US" dirty="0"/>
              <a:t>sit amet commodo magna</a:t>
            </a:r>
            <a:br>
              <a:rPr lang="en-US" dirty="0"/>
            </a:br>
            <a:r>
              <a:rPr lang="en-US" dirty="0"/>
              <a:t>eros quis urna.</a:t>
            </a:r>
          </a:p>
        </p:txBody>
      </p:sp>
      <p:sp>
        <p:nvSpPr>
          <p:cNvPr id="6" name="Textplatzhalter 15">
            <a:extLst>
              <a:ext uri="{FF2B5EF4-FFF2-40B4-BE49-F238E27FC236}">
                <a16:creationId xmlns:a16="http://schemas.microsoft.com/office/drawing/2014/main" id="{35106759-7325-4304-8F57-6D28B17471C3}"/>
              </a:ext>
            </a:extLst>
          </p:cNvPr>
          <p:cNvSpPr txBox="1">
            <a:spLocks/>
          </p:cNvSpPr>
          <p:nvPr/>
        </p:nvSpPr>
        <p:spPr bwMode="gray">
          <a:xfrm>
            <a:off x="623391" y="2421016"/>
            <a:ext cx="2448421" cy="1152000"/>
          </a:xfrm>
          <a:prstGeom prst="rect">
            <a:avLst/>
          </a:prstGeom>
        </p:spPr>
        <p:txBody>
          <a:bodyPr lIns="0" tIns="0" rIns="0" bIns="0" anchor="ctr" anchorCtr="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8800" dirty="0">
                <a:solidFill>
                  <a:schemeClr val="accent5"/>
                </a:solidFill>
                <a:latin typeface="+mj-lt"/>
              </a:rPr>
              <a:t>A</a:t>
            </a:r>
          </a:p>
        </p:txBody>
      </p:sp>
      <p:sp>
        <p:nvSpPr>
          <p:cNvPr id="7" name="Textplatzhalter 15">
            <a:extLst>
              <a:ext uri="{FF2B5EF4-FFF2-40B4-BE49-F238E27FC236}">
                <a16:creationId xmlns:a16="http://schemas.microsoft.com/office/drawing/2014/main" id="{9396B8AF-0CC9-4C37-823E-E82D570E9476}"/>
              </a:ext>
            </a:extLst>
          </p:cNvPr>
          <p:cNvSpPr txBox="1">
            <a:spLocks/>
          </p:cNvSpPr>
          <p:nvPr/>
        </p:nvSpPr>
        <p:spPr bwMode="gray">
          <a:xfrm>
            <a:off x="3504059" y="3645023"/>
            <a:ext cx="2376041" cy="2663701"/>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spcAft>
                <a:spcPts val="600"/>
              </a:spcAft>
            </a:pPr>
            <a:r>
              <a:rPr lang="en-US" dirty="0">
                <a:solidFill>
                  <a:schemeClr val="accent5"/>
                </a:solidFill>
                <a:latin typeface="+mj-lt"/>
              </a:rPr>
              <a:t>Maecenas porttitor </a:t>
            </a:r>
            <a:r>
              <a:rPr lang="en-US" dirty="0"/>
              <a:t>congue massa. Fusce posuere, magna sed pulvinar ultricies, purus lectus malesuada libero,</a:t>
            </a:r>
            <a:br>
              <a:rPr lang="en-US" dirty="0"/>
            </a:br>
            <a:r>
              <a:rPr lang="en-US" dirty="0"/>
              <a:t>sit amet commodo magna eros quis urna.</a:t>
            </a:r>
          </a:p>
        </p:txBody>
      </p:sp>
      <p:sp>
        <p:nvSpPr>
          <p:cNvPr id="8" name="Textplatzhalter 15">
            <a:extLst>
              <a:ext uri="{FF2B5EF4-FFF2-40B4-BE49-F238E27FC236}">
                <a16:creationId xmlns:a16="http://schemas.microsoft.com/office/drawing/2014/main" id="{3FADDF67-2776-4422-BBB4-C9B338FD3DFE}"/>
              </a:ext>
            </a:extLst>
          </p:cNvPr>
          <p:cNvSpPr txBox="1">
            <a:spLocks/>
          </p:cNvSpPr>
          <p:nvPr/>
        </p:nvSpPr>
        <p:spPr bwMode="gray">
          <a:xfrm>
            <a:off x="6312371" y="3645023"/>
            <a:ext cx="2376017" cy="2663701"/>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spcAft>
                <a:spcPts val="600"/>
              </a:spcAft>
            </a:pPr>
            <a:r>
              <a:rPr lang="en-US" dirty="0">
                <a:solidFill>
                  <a:schemeClr val="accent5"/>
                </a:solidFill>
                <a:latin typeface="+mj-lt"/>
              </a:rPr>
              <a:t>Maecenas porttitor </a:t>
            </a:r>
            <a:r>
              <a:rPr lang="en-US" dirty="0"/>
              <a:t>congue massa. Fusce posuere, magna sed pulvinar ultricies, purus lectus malesuada libero,</a:t>
            </a:r>
            <a:br>
              <a:rPr lang="en-US" dirty="0"/>
            </a:br>
            <a:r>
              <a:rPr lang="en-US" dirty="0"/>
              <a:t>sit amet commodo magna eros quis urna.</a:t>
            </a:r>
          </a:p>
        </p:txBody>
      </p:sp>
      <p:sp>
        <p:nvSpPr>
          <p:cNvPr id="9" name="Textplatzhalter 15">
            <a:extLst>
              <a:ext uri="{FF2B5EF4-FFF2-40B4-BE49-F238E27FC236}">
                <a16:creationId xmlns:a16="http://schemas.microsoft.com/office/drawing/2014/main" id="{0AC9C2B1-279E-4766-9E05-2FD63234C602}"/>
              </a:ext>
            </a:extLst>
          </p:cNvPr>
          <p:cNvSpPr txBox="1">
            <a:spLocks/>
          </p:cNvSpPr>
          <p:nvPr/>
        </p:nvSpPr>
        <p:spPr bwMode="gray">
          <a:xfrm>
            <a:off x="9120683" y="3645023"/>
            <a:ext cx="2447925" cy="2663701"/>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spcAft>
                <a:spcPts val="600"/>
              </a:spcAft>
            </a:pPr>
            <a:r>
              <a:rPr lang="en-US" dirty="0">
                <a:solidFill>
                  <a:schemeClr val="accent5"/>
                </a:solidFill>
                <a:latin typeface="+mj-lt"/>
              </a:rPr>
              <a:t>Maecenas porttitor </a:t>
            </a:r>
            <a:r>
              <a:rPr lang="en-US" dirty="0"/>
              <a:t>congue massa. Fusce posuere, magna sed pulvinar ultricies, purus lectus malesuada libero,</a:t>
            </a:r>
            <a:br>
              <a:rPr lang="en-US" dirty="0"/>
            </a:br>
            <a:r>
              <a:rPr lang="en-US" dirty="0"/>
              <a:t>sit amet commodo magna</a:t>
            </a:r>
            <a:br>
              <a:rPr lang="en-US" dirty="0"/>
            </a:br>
            <a:r>
              <a:rPr lang="en-US" dirty="0"/>
              <a:t>eros quis urna.</a:t>
            </a:r>
          </a:p>
        </p:txBody>
      </p:sp>
      <p:sp>
        <p:nvSpPr>
          <p:cNvPr id="10" name="Textplatzhalter 15">
            <a:extLst>
              <a:ext uri="{FF2B5EF4-FFF2-40B4-BE49-F238E27FC236}">
                <a16:creationId xmlns:a16="http://schemas.microsoft.com/office/drawing/2014/main" id="{82A26F18-48C0-4D68-B5CA-9F894B876E9B}"/>
              </a:ext>
            </a:extLst>
          </p:cNvPr>
          <p:cNvSpPr txBox="1">
            <a:spLocks/>
          </p:cNvSpPr>
          <p:nvPr/>
        </p:nvSpPr>
        <p:spPr bwMode="gray">
          <a:xfrm>
            <a:off x="3503612" y="2421016"/>
            <a:ext cx="2376487" cy="1152000"/>
          </a:xfrm>
          <a:prstGeom prst="rect">
            <a:avLst/>
          </a:prstGeom>
        </p:spPr>
        <p:txBody>
          <a:bodyPr lIns="0" tIns="0" rIns="0" bIns="0" anchor="ctr" anchorCtr="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8800" dirty="0">
                <a:solidFill>
                  <a:schemeClr val="accent5"/>
                </a:solidFill>
                <a:latin typeface="+mj-lt"/>
              </a:rPr>
              <a:t>B</a:t>
            </a:r>
          </a:p>
        </p:txBody>
      </p:sp>
      <p:sp>
        <p:nvSpPr>
          <p:cNvPr id="11" name="Textplatzhalter 15">
            <a:extLst>
              <a:ext uri="{FF2B5EF4-FFF2-40B4-BE49-F238E27FC236}">
                <a16:creationId xmlns:a16="http://schemas.microsoft.com/office/drawing/2014/main" id="{51FC1211-109B-4130-A68D-7FF8AC11FF72}"/>
              </a:ext>
            </a:extLst>
          </p:cNvPr>
          <p:cNvSpPr txBox="1">
            <a:spLocks/>
          </p:cNvSpPr>
          <p:nvPr/>
        </p:nvSpPr>
        <p:spPr bwMode="gray">
          <a:xfrm>
            <a:off x="6311900" y="2421016"/>
            <a:ext cx="2376488" cy="1152000"/>
          </a:xfrm>
          <a:prstGeom prst="rect">
            <a:avLst/>
          </a:prstGeom>
        </p:spPr>
        <p:txBody>
          <a:bodyPr lIns="0" tIns="0" rIns="0" bIns="0" anchor="ctr" anchorCtr="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8800" dirty="0">
                <a:solidFill>
                  <a:schemeClr val="accent5"/>
                </a:solidFill>
                <a:latin typeface="+mj-lt"/>
              </a:rPr>
              <a:t>C</a:t>
            </a:r>
          </a:p>
        </p:txBody>
      </p:sp>
      <p:sp>
        <p:nvSpPr>
          <p:cNvPr id="12" name="Textplatzhalter 15">
            <a:extLst>
              <a:ext uri="{FF2B5EF4-FFF2-40B4-BE49-F238E27FC236}">
                <a16:creationId xmlns:a16="http://schemas.microsoft.com/office/drawing/2014/main" id="{6B35DBE8-09BA-442B-AEE2-90BE1272FEFD}"/>
              </a:ext>
            </a:extLst>
          </p:cNvPr>
          <p:cNvSpPr txBox="1">
            <a:spLocks/>
          </p:cNvSpPr>
          <p:nvPr/>
        </p:nvSpPr>
        <p:spPr bwMode="gray">
          <a:xfrm>
            <a:off x="9120188" y="2421016"/>
            <a:ext cx="2447925" cy="1152000"/>
          </a:xfrm>
          <a:prstGeom prst="rect">
            <a:avLst/>
          </a:prstGeom>
        </p:spPr>
        <p:txBody>
          <a:bodyPr lIns="0" tIns="0" rIns="0" bIns="0" anchor="ctr" anchorCtr="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sz="8800" dirty="0">
                <a:solidFill>
                  <a:schemeClr val="accent5"/>
                </a:solidFill>
                <a:latin typeface="+mj-lt"/>
              </a:rPr>
              <a:t>D</a:t>
            </a:r>
          </a:p>
        </p:txBody>
      </p:sp>
      <p:cxnSp>
        <p:nvCxnSpPr>
          <p:cNvPr id="18" name="Gerader Verbinder 17">
            <a:extLst>
              <a:ext uri="{FF2B5EF4-FFF2-40B4-BE49-F238E27FC236}">
                <a16:creationId xmlns:a16="http://schemas.microsoft.com/office/drawing/2014/main" id="{493E566E-C122-4FCC-98A1-F317058C5D2F}"/>
              </a:ext>
            </a:extLst>
          </p:cNvPr>
          <p:cNvCxnSpPr>
            <a:cxnSpLocks/>
          </p:cNvCxnSpPr>
          <p:nvPr/>
        </p:nvCxnSpPr>
        <p:spPr bwMode="gray">
          <a:xfrm>
            <a:off x="1343472" y="3392298"/>
            <a:ext cx="1728341"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BCE33C39-7EB2-4845-BA46-8243819B8AE6}"/>
              </a:ext>
            </a:extLst>
          </p:cNvPr>
          <p:cNvCxnSpPr>
            <a:cxnSpLocks/>
          </p:cNvCxnSpPr>
          <p:nvPr/>
        </p:nvCxnSpPr>
        <p:spPr bwMode="gray">
          <a:xfrm>
            <a:off x="4223976" y="3392298"/>
            <a:ext cx="1656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86B86E41-1D44-4434-BC7F-9F87CD4A9A1F}"/>
              </a:ext>
            </a:extLst>
          </p:cNvPr>
          <p:cNvCxnSpPr>
            <a:cxnSpLocks/>
          </p:cNvCxnSpPr>
          <p:nvPr/>
        </p:nvCxnSpPr>
        <p:spPr bwMode="gray">
          <a:xfrm>
            <a:off x="7032288" y="3392298"/>
            <a:ext cx="1656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FCBED444-3D7C-4D23-AF8E-5C2C05B8C92A}"/>
              </a:ext>
            </a:extLst>
          </p:cNvPr>
          <p:cNvCxnSpPr>
            <a:cxnSpLocks/>
          </p:cNvCxnSpPr>
          <p:nvPr/>
        </p:nvCxnSpPr>
        <p:spPr bwMode="gray">
          <a:xfrm>
            <a:off x="9840608" y="3392298"/>
            <a:ext cx="1728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5" name="Fußzeilenplatzhalter 4">
            <a:extLst>
              <a:ext uri="{FF2B5EF4-FFF2-40B4-BE49-F238E27FC236}">
                <a16:creationId xmlns:a16="http://schemas.microsoft.com/office/drawing/2014/main" id="{F93D6D40-2CB0-4652-A92C-3E88AA11589F}"/>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C050A7DC-2A58-4CDB-B1D5-FACC6AD71BDA}"/>
              </a:ext>
            </a:extLst>
          </p:cNvPr>
          <p:cNvSpPr>
            <a:spLocks noGrp="1"/>
          </p:cNvSpPr>
          <p:nvPr>
            <p:ph type="sldNum" sz="quarter" idx="12"/>
          </p:nvPr>
        </p:nvSpPr>
        <p:spPr/>
        <p:txBody>
          <a:bodyPr/>
          <a:lstStyle/>
          <a:p>
            <a:fld id="{CE82B8A1-0CCE-4815-9668-383D7DE7D8B4}" type="slidenum">
              <a:rPr lang="en-US" noProof="0" smtClean="0"/>
              <a:t>95</a:t>
            </a:fld>
            <a:endParaRPr lang="en-US" noProof="0" dirty="0"/>
          </a:p>
        </p:txBody>
      </p:sp>
    </p:spTree>
    <p:extLst>
      <p:ext uri="{BB962C8B-B14F-4D97-AF65-F5344CB8AC3E}">
        <p14:creationId xmlns:p14="http://schemas.microsoft.com/office/powerpoint/2010/main" val="189529089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94C4AD-0655-4D32-B493-67232A613FF1}"/>
              </a:ext>
            </a:extLst>
          </p:cNvPr>
          <p:cNvSpPr>
            <a:spLocks noGrp="1"/>
          </p:cNvSpPr>
          <p:nvPr>
            <p:ph type="title"/>
          </p:nvPr>
        </p:nvSpPr>
        <p:spPr bwMode="gray"/>
        <p:txBody>
          <a:bodyPr/>
          <a:lstStyle/>
          <a:p>
            <a:r>
              <a:rPr lang="en-US" dirty="0"/>
              <a:t>Milestones/timeplan</a:t>
            </a:r>
          </a:p>
        </p:txBody>
      </p:sp>
      <p:graphicFrame>
        <p:nvGraphicFramePr>
          <p:cNvPr id="6" name="Tabelle 5">
            <a:extLst>
              <a:ext uri="{FF2B5EF4-FFF2-40B4-BE49-F238E27FC236}">
                <a16:creationId xmlns:a16="http://schemas.microsoft.com/office/drawing/2014/main" id="{39D5A09E-F312-403F-B9C9-7F1418D9D8B1}"/>
              </a:ext>
            </a:extLst>
          </p:cNvPr>
          <p:cNvGraphicFramePr>
            <a:graphicFrameLocks noGrp="1"/>
          </p:cNvGraphicFramePr>
          <p:nvPr>
            <p:extLst>
              <p:ext uri="{D42A27DB-BD31-4B8C-83A1-F6EECF244321}">
                <p14:modId xmlns:p14="http://schemas.microsoft.com/office/powerpoint/2010/main" val="2620443382"/>
              </p:ext>
            </p:extLst>
          </p:nvPr>
        </p:nvGraphicFramePr>
        <p:xfrm>
          <a:off x="623392" y="1773238"/>
          <a:ext cx="10944715" cy="4535974"/>
        </p:xfrm>
        <a:graphic>
          <a:graphicData uri="http://schemas.openxmlformats.org/drawingml/2006/table">
            <a:tbl>
              <a:tblPr firstRow="1" bandRow="1">
                <a:tableStyleId>{5C22544A-7EE6-4342-B048-85BDC9FD1C3A}</a:tableStyleId>
              </a:tblPr>
              <a:tblGrid>
                <a:gridCol w="1981483">
                  <a:extLst>
                    <a:ext uri="{9D8B030D-6E8A-4147-A177-3AD203B41FA5}">
                      <a16:colId xmlns:a16="http://schemas.microsoft.com/office/drawing/2014/main" val="20000"/>
                    </a:ext>
                  </a:extLst>
                </a:gridCol>
                <a:gridCol w="560202">
                  <a:extLst>
                    <a:ext uri="{9D8B030D-6E8A-4147-A177-3AD203B41FA5}">
                      <a16:colId xmlns:a16="http://schemas.microsoft.com/office/drawing/2014/main" val="20001"/>
                    </a:ext>
                  </a:extLst>
                </a:gridCol>
                <a:gridCol w="560202">
                  <a:extLst>
                    <a:ext uri="{9D8B030D-6E8A-4147-A177-3AD203B41FA5}">
                      <a16:colId xmlns:a16="http://schemas.microsoft.com/office/drawing/2014/main" val="20002"/>
                    </a:ext>
                  </a:extLst>
                </a:gridCol>
                <a:gridCol w="560202">
                  <a:extLst>
                    <a:ext uri="{9D8B030D-6E8A-4147-A177-3AD203B41FA5}">
                      <a16:colId xmlns:a16="http://schemas.microsoft.com/office/drawing/2014/main" val="20003"/>
                    </a:ext>
                  </a:extLst>
                </a:gridCol>
                <a:gridCol w="560202">
                  <a:extLst>
                    <a:ext uri="{9D8B030D-6E8A-4147-A177-3AD203B41FA5}">
                      <a16:colId xmlns:a16="http://schemas.microsoft.com/office/drawing/2014/main" val="20004"/>
                    </a:ext>
                  </a:extLst>
                </a:gridCol>
                <a:gridCol w="560202">
                  <a:extLst>
                    <a:ext uri="{9D8B030D-6E8A-4147-A177-3AD203B41FA5}">
                      <a16:colId xmlns:a16="http://schemas.microsoft.com/office/drawing/2014/main" val="20005"/>
                    </a:ext>
                  </a:extLst>
                </a:gridCol>
                <a:gridCol w="560202">
                  <a:extLst>
                    <a:ext uri="{9D8B030D-6E8A-4147-A177-3AD203B41FA5}">
                      <a16:colId xmlns:a16="http://schemas.microsoft.com/office/drawing/2014/main" val="20006"/>
                    </a:ext>
                  </a:extLst>
                </a:gridCol>
                <a:gridCol w="560202">
                  <a:extLst>
                    <a:ext uri="{9D8B030D-6E8A-4147-A177-3AD203B41FA5}">
                      <a16:colId xmlns:a16="http://schemas.microsoft.com/office/drawing/2014/main" val="20007"/>
                    </a:ext>
                  </a:extLst>
                </a:gridCol>
                <a:gridCol w="560202">
                  <a:extLst>
                    <a:ext uri="{9D8B030D-6E8A-4147-A177-3AD203B41FA5}">
                      <a16:colId xmlns:a16="http://schemas.microsoft.com/office/drawing/2014/main" val="20008"/>
                    </a:ext>
                  </a:extLst>
                </a:gridCol>
                <a:gridCol w="560202">
                  <a:extLst>
                    <a:ext uri="{9D8B030D-6E8A-4147-A177-3AD203B41FA5}">
                      <a16:colId xmlns:a16="http://schemas.microsoft.com/office/drawing/2014/main" val="20009"/>
                    </a:ext>
                  </a:extLst>
                </a:gridCol>
                <a:gridCol w="560202">
                  <a:extLst>
                    <a:ext uri="{9D8B030D-6E8A-4147-A177-3AD203B41FA5}">
                      <a16:colId xmlns:a16="http://schemas.microsoft.com/office/drawing/2014/main" val="20010"/>
                    </a:ext>
                  </a:extLst>
                </a:gridCol>
                <a:gridCol w="560202">
                  <a:extLst>
                    <a:ext uri="{9D8B030D-6E8A-4147-A177-3AD203B41FA5}">
                      <a16:colId xmlns:a16="http://schemas.microsoft.com/office/drawing/2014/main" val="20011"/>
                    </a:ext>
                  </a:extLst>
                </a:gridCol>
                <a:gridCol w="560202">
                  <a:extLst>
                    <a:ext uri="{9D8B030D-6E8A-4147-A177-3AD203B41FA5}">
                      <a16:colId xmlns:a16="http://schemas.microsoft.com/office/drawing/2014/main" val="20012"/>
                    </a:ext>
                  </a:extLst>
                </a:gridCol>
                <a:gridCol w="560202">
                  <a:extLst>
                    <a:ext uri="{9D8B030D-6E8A-4147-A177-3AD203B41FA5}">
                      <a16:colId xmlns:a16="http://schemas.microsoft.com/office/drawing/2014/main" val="20013"/>
                    </a:ext>
                  </a:extLst>
                </a:gridCol>
                <a:gridCol w="560202">
                  <a:extLst>
                    <a:ext uri="{9D8B030D-6E8A-4147-A177-3AD203B41FA5}">
                      <a16:colId xmlns:a16="http://schemas.microsoft.com/office/drawing/2014/main" val="20014"/>
                    </a:ext>
                  </a:extLst>
                </a:gridCol>
                <a:gridCol w="560202">
                  <a:extLst>
                    <a:ext uri="{9D8B030D-6E8A-4147-A177-3AD203B41FA5}">
                      <a16:colId xmlns:a16="http://schemas.microsoft.com/office/drawing/2014/main" val="20015"/>
                    </a:ext>
                  </a:extLst>
                </a:gridCol>
                <a:gridCol w="560202">
                  <a:extLst>
                    <a:ext uri="{9D8B030D-6E8A-4147-A177-3AD203B41FA5}">
                      <a16:colId xmlns:a16="http://schemas.microsoft.com/office/drawing/2014/main" val="20016"/>
                    </a:ext>
                  </a:extLst>
                </a:gridCol>
              </a:tblGrid>
              <a:tr h="346129">
                <a:tc>
                  <a:txBody>
                    <a:bodyPr/>
                    <a:lstStyle/>
                    <a:p>
                      <a:r>
                        <a:rPr lang="en-US" sz="1600" b="0" noProof="0">
                          <a:solidFill>
                            <a:schemeClr val="tx1"/>
                          </a:solidFill>
                          <a:latin typeface="+mj-lt"/>
                        </a:rPr>
                        <a:t>Activities</a:t>
                      </a:r>
                    </a:p>
                  </a:txBody>
                  <a:tcPr marL="72000" marR="72000" marT="36000" marB="36000" anchor="ctr">
                    <a:lnB w="12700" cap="flat" cmpd="sng" algn="ctr">
                      <a:solidFill>
                        <a:schemeClr val="bg1"/>
                      </a:solidFill>
                      <a:prstDash val="solid"/>
                      <a:round/>
                      <a:headEnd type="none" w="med" len="med"/>
                      <a:tailEnd type="none" w="med" len="med"/>
                    </a:lnB>
                    <a:solidFill>
                      <a:schemeClr val="bg1"/>
                    </a:solidFill>
                  </a:tcPr>
                </a:tc>
                <a:tc gridSpan="12">
                  <a:txBody>
                    <a:bodyPr/>
                    <a:lstStyle/>
                    <a:p>
                      <a:r>
                        <a:rPr lang="en-US" sz="1600" b="0" noProof="0">
                          <a:solidFill>
                            <a:schemeClr val="tx1"/>
                          </a:solidFill>
                          <a:latin typeface="+mj-lt"/>
                        </a:rPr>
                        <a:t>201X</a:t>
                      </a:r>
                    </a:p>
                  </a:txBody>
                  <a:tcPr marL="72000" marR="72000" marT="36000" marB="36000" anchor="ctr">
                    <a:lnB w="12700" cap="flat" cmpd="sng" algn="ctr">
                      <a:solidFill>
                        <a:schemeClr val="bg1"/>
                      </a:solidFill>
                      <a:prstDash val="solid"/>
                      <a:round/>
                      <a:headEnd type="none" w="med" len="med"/>
                      <a:tailEnd type="none" w="med" len="med"/>
                    </a:lnB>
                    <a:noFill/>
                  </a:tcPr>
                </a:tc>
                <a:tc hMerge="1">
                  <a:txBody>
                    <a:bodyPr/>
                    <a:lstStyle/>
                    <a:p>
                      <a:endParaRPr lang="de-DE" sz="1400" b="0" dirty="0">
                        <a:latin typeface="+mj-lt"/>
                      </a:endParaRPr>
                    </a:p>
                  </a:txBody>
                  <a:tcPr/>
                </a:tc>
                <a:tc hMerge="1">
                  <a:txBody>
                    <a:bodyPr/>
                    <a:lstStyle/>
                    <a:p>
                      <a:endParaRPr lang="de-DE" sz="1400" b="0">
                        <a:latin typeface="+mj-lt"/>
                      </a:endParaRPr>
                    </a:p>
                  </a:txBody>
                  <a:tcPr/>
                </a:tc>
                <a:tc hMerge="1">
                  <a:txBody>
                    <a:bodyPr/>
                    <a:lstStyle/>
                    <a:p>
                      <a:endParaRPr lang="de-DE" sz="1400" b="0" dirty="0">
                        <a:latin typeface="+mj-lt"/>
                      </a:endParaRPr>
                    </a:p>
                  </a:txBody>
                  <a:tcPr/>
                </a:tc>
                <a:tc hMerge="1">
                  <a:txBody>
                    <a:bodyPr/>
                    <a:lstStyle/>
                    <a:p>
                      <a:endParaRPr lang="de-DE" sz="1400" b="0" dirty="0">
                        <a:latin typeface="+mj-lt"/>
                      </a:endParaRPr>
                    </a:p>
                  </a:txBody>
                  <a:tcPr/>
                </a:tc>
                <a:tc hMerge="1">
                  <a:txBody>
                    <a:bodyPr/>
                    <a:lstStyle/>
                    <a:p>
                      <a:endParaRPr lang="de-DE" sz="1400" b="0" dirty="0">
                        <a:latin typeface="+mj-lt"/>
                      </a:endParaRPr>
                    </a:p>
                  </a:txBody>
                  <a:tcPr/>
                </a:tc>
                <a:tc hMerge="1">
                  <a:txBody>
                    <a:bodyPr/>
                    <a:lstStyle/>
                    <a:p>
                      <a:endParaRPr lang="de-DE" sz="1400" b="0" dirty="0">
                        <a:latin typeface="+mj-lt"/>
                      </a:endParaRPr>
                    </a:p>
                  </a:txBody>
                  <a:tcPr/>
                </a:tc>
                <a:tc hMerge="1">
                  <a:txBody>
                    <a:bodyPr/>
                    <a:lstStyle/>
                    <a:p>
                      <a:endParaRPr lang="de-DE" sz="1400" b="0" dirty="0">
                        <a:latin typeface="+mj-lt"/>
                      </a:endParaRPr>
                    </a:p>
                  </a:txBody>
                  <a:tcPr/>
                </a:tc>
                <a:tc hMerge="1">
                  <a:txBody>
                    <a:bodyPr/>
                    <a:lstStyle/>
                    <a:p>
                      <a:endParaRPr lang="de-DE" sz="1400" b="0" dirty="0">
                        <a:latin typeface="+mj-lt"/>
                      </a:endParaRPr>
                    </a:p>
                  </a:txBody>
                  <a:tcPr/>
                </a:tc>
                <a:tc hMerge="1">
                  <a:txBody>
                    <a:bodyPr/>
                    <a:lstStyle/>
                    <a:p>
                      <a:endParaRPr lang="de-DE" sz="1400" b="0" dirty="0">
                        <a:latin typeface="+mj-lt"/>
                      </a:endParaRPr>
                    </a:p>
                  </a:txBody>
                  <a:tcPr/>
                </a:tc>
                <a:tc hMerge="1">
                  <a:txBody>
                    <a:bodyPr/>
                    <a:lstStyle/>
                    <a:p>
                      <a:endParaRPr lang="de-DE" sz="1400" b="0" dirty="0">
                        <a:latin typeface="+mj-lt"/>
                      </a:endParaRPr>
                    </a:p>
                  </a:txBody>
                  <a:tcPr/>
                </a:tc>
                <a:tc hMerge="1">
                  <a:txBody>
                    <a:bodyPr/>
                    <a:lstStyle/>
                    <a:p>
                      <a:endParaRPr lang="de-DE" sz="1400" b="0" dirty="0">
                        <a:latin typeface="+mj-lt"/>
                      </a:endParaRPr>
                    </a:p>
                  </a:txBody>
                  <a:tcPr/>
                </a:tc>
                <a:tc gridSpan="4">
                  <a:txBody>
                    <a:bodyPr/>
                    <a:lstStyle/>
                    <a:p>
                      <a:r>
                        <a:rPr lang="en-US" sz="1600" b="0" noProof="0">
                          <a:solidFill>
                            <a:schemeClr val="tx1"/>
                          </a:solidFill>
                          <a:latin typeface="+mj-lt"/>
                        </a:rPr>
                        <a:t>201X</a:t>
                      </a:r>
                    </a:p>
                  </a:txBody>
                  <a:tcPr marL="72000" marR="72000" marT="36000" marB="36000" anchor="ctr">
                    <a:lnB w="12700" cap="flat" cmpd="sng" algn="ctr">
                      <a:solidFill>
                        <a:schemeClr val="bg1"/>
                      </a:solidFill>
                      <a:prstDash val="solid"/>
                      <a:round/>
                      <a:headEnd type="none" w="med" len="med"/>
                      <a:tailEnd type="none" w="med" len="med"/>
                    </a:lnB>
                    <a:noFill/>
                  </a:tcPr>
                </a:tc>
                <a:tc hMerge="1">
                  <a:txBody>
                    <a:bodyPr/>
                    <a:lstStyle/>
                    <a:p>
                      <a:endParaRPr lang="de-DE" sz="1400" b="0" dirty="0">
                        <a:latin typeface="+mj-lt"/>
                      </a:endParaRPr>
                    </a:p>
                  </a:txBody>
                  <a:tcPr/>
                </a:tc>
                <a:tc hMerge="1">
                  <a:txBody>
                    <a:bodyPr/>
                    <a:lstStyle/>
                    <a:p>
                      <a:endParaRPr lang="de-DE" sz="1400" b="0" dirty="0">
                        <a:latin typeface="+mj-lt"/>
                      </a:endParaRPr>
                    </a:p>
                  </a:txBody>
                  <a:tcPr/>
                </a:tc>
                <a:tc hMerge="1">
                  <a:txBody>
                    <a:bodyPr/>
                    <a:lstStyle/>
                    <a:p>
                      <a:endParaRPr lang="de-DE" sz="1400" b="0" dirty="0">
                        <a:latin typeface="+mj-lt"/>
                      </a:endParaRPr>
                    </a:p>
                  </a:txBody>
                  <a:tcPr/>
                </a:tc>
                <a:extLst>
                  <a:ext uri="{0D108BD9-81ED-4DB2-BD59-A6C34878D82A}">
                    <a16:rowId xmlns:a16="http://schemas.microsoft.com/office/drawing/2014/main" val="10000"/>
                  </a:ext>
                </a:extLst>
              </a:tr>
              <a:tr h="279323">
                <a:tc>
                  <a:txBody>
                    <a:bodyPr/>
                    <a:lstStyle/>
                    <a:p>
                      <a:endParaRPr lang="en-US" sz="1200" noProof="0">
                        <a:solidFill>
                          <a:schemeClr val="accent5"/>
                        </a:solidFill>
                      </a:endParaRPr>
                    </a:p>
                  </a:txBody>
                  <a:tcPr marL="72000" marR="72000" marT="36000" marB="36000" anchor="ct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3">
                  <a:txBody>
                    <a:bodyPr/>
                    <a:lstStyle/>
                    <a:p>
                      <a:pPr algn="l"/>
                      <a:r>
                        <a:rPr lang="en-US" sz="1200" noProof="0">
                          <a:solidFill>
                            <a:schemeClr val="accent5"/>
                          </a:solidFill>
                          <a:latin typeface="+mj-lt"/>
                        </a:rPr>
                        <a:t>Q1</a:t>
                      </a:r>
                    </a:p>
                  </a:txBody>
                  <a:tcPr marL="72000" marR="72000" marT="36000" marB="36000" anchor="ct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de-DE" sz="1000" dirty="0">
                        <a:solidFill>
                          <a:schemeClr val="bg1"/>
                        </a:solidFill>
                      </a:endParaRPr>
                    </a:p>
                  </a:txBody>
                  <a:tcPr marL="72000" marR="72000" marT="36000" marB="36000" anchor="ctr">
                    <a:lnT w="12700" cap="flat" cmpd="sng" algn="ctr">
                      <a:solidFill>
                        <a:schemeClr val="bg1"/>
                      </a:solidFill>
                      <a:prstDash val="solid"/>
                      <a:round/>
                      <a:headEnd type="none" w="med" len="med"/>
                      <a:tailEnd type="none" w="med" len="med"/>
                    </a:lnT>
                    <a:lnB w="6350" cap="flat" cmpd="sng" algn="ctr">
                      <a:solidFill>
                        <a:schemeClr val="accent5"/>
                      </a:solidFill>
                      <a:prstDash val="solid"/>
                      <a:round/>
                      <a:headEnd type="none" w="med" len="med"/>
                      <a:tailEnd type="none" w="med" len="med"/>
                    </a:lnB>
                    <a:solidFill>
                      <a:schemeClr val="accent5"/>
                    </a:solidFill>
                  </a:tcPr>
                </a:tc>
                <a:tc hMerge="1">
                  <a:txBody>
                    <a:bodyPr/>
                    <a:lstStyle/>
                    <a:p>
                      <a:pPr algn="ctr"/>
                      <a:endParaRPr lang="de-DE" sz="1000" dirty="0">
                        <a:solidFill>
                          <a:schemeClr val="bg1"/>
                        </a:solidFill>
                      </a:endParaRPr>
                    </a:p>
                  </a:txBody>
                  <a:tcPr marL="72000" marR="72000" marT="36000" marB="36000" anchor="ctr">
                    <a:lnT w="12700" cap="flat" cmpd="sng" algn="ctr">
                      <a:solidFill>
                        <a:schemeClr val="bg1"/>
                      </a:solidFill>
                      <a:prstDash val="solid"/>
                      <a:round/>
                      <a:headEnd type="none" w="med" len="med"/>
                      <a:tailEnd type="none" w="med" len="med"/>
                    </a:lnT>
                    <a:lnB w="6350" cap="flat" cmpd="sng" algn="ctr">
                      <a:solidFill>
                        <a:schemeClr val="accent5"/>
                      </a:solidFill>
                      <a:prstDash val="solid"/>
                      <a:round/>
                      <a:headEnd type="none" w="med" len="med"/>
                      <a:tailEnd type="none" w="med" len="med"/>
                    </a:lnB>
                    <a:solidFill>
                      <a:schemeClr val="accent5"/>
                    </a:solidFill>
                  </a:tcPr>
                </a:tc>
                <a:tc gridSpan="3">
                  <a:txBody>
                    <a:bodyPr/>
                    <a:lstStyle/>
                    <a:p>
                      <a:pPr algn="l"/>
                      <a:r>
                        <a:rPr lang="en-US" sz="1200" noProof="0">
                          <a:solidFill>
                            <a:schemeClr val="accent5"/>
                          </a:solidFill>
                          <a:latin typeface="+mj-lt"/>
                        </a:rPr>
                        <a:t>Q2</a:t>
                      </a:r>
                    </a:p>
                  </a:txBody>
                  <a:tcPr marL="72000" marR="72000" marT="36000" marB="36000" anchor="ct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de-DE" sz="1000" dirty="0">
                        <a:solidFill>
                          <a:schemeClr val="bg1"/>
                        </a:solidFill>
                      </a:endParaRPr>
                    </a:p>
                  </a:txBody>
                  <a:tcPr marL="72000" marR="72000" marT="36000" marB="36000" anchor="ctr">
                    <a:lnT w="12700" cap="flat" cmpd="sng" algn="ctr">
                      <a:solidFill>
                        <a:schemeClr val="bg1"/>
                      </a:solidFill>
                      <a:prstDash val="solid"/>
                      <a:round/>
                      <a:headEnd type="none" w="med" len="med"/>
                      <a:tailEnd type="none" w="med" len="med"/>
                    </a:lnT>
                    <a:lnB w="6350" cap="flat" cmpd="sng" algn="ctr">
                      <a:solidFill>
                        <a:schemeClr val="accent5"/>
                      </a:solidFill>
                      <a:prstDash val="solid"/>
                      <a:round/>
                      <a:headEnd type="none" w="med" len="med"/>
                      <a:tailEnd type="none" w="med" len="med"/>
                    </a:lnB>
                    <a:solidFill>
                      <a:schemeClr val="accent5"/>
                    </a:solidFill>
                  </a:tcPr>
                </a:tc>
                <a:tc hMerge="1">
                  <a:txBody>
                    <a:bodyPr/>
                    <a:lstStyle/>
                    <a:p>
                      <a:pPr algn="ctr"/>
                      <a:endParaRPr lang="de-DE" sz="1000" dirty="0">
                        <a:solidFill>
                          <a:schemeClr val="bg1"/>
                        </a:solidFill>
                      </a:endParaRPr>
                    </a:p>
                  </a:txBody>
                  <a:tcPr marL="72000" marR="72000" marT="36000" marB="36000" anchor="ctr">
                    <a:lnT w="12700" cap="flat" cmpd="sng" algn="ctr">
                      <a:solidFill>
                        <a:schemeClr val="bg1"/>
                      </a:solidFill>
                      <a:prstDash val="solid"/>
                      <a:round/>
                      <a:headEnd type="none" w="med" len="med"/>
                      <a:tailEnd type="none" w="med" len="med"/>
                    </a:lnT>
                    <a:lnB w="6350" cap="flat" cmpd="sng" algn="ctr">
                      <a:solidFill>
                        <a:schemeClr val="accent5"/>
                      </a:solidFill>
                      <a:prstDash val="solid"/>
                      <a:round/>
                      <a:headEnd type="none" w="med" len="med"/>
                      <a:tailEnd type="none" w="med" len="med"/>
                    </a:lnB>
                    <a:solidFill>
                      <a:schemeClr val="accent5"/>
                    </a:solidFill>
                  </a:tcPr>
                </a:tc>
                <a:tc gridSpan="3">
                  <a:txBody>
                    <a:bodyPr/>
                    <a:lstStyle/>
                    <a:p>
                      <a:pPr algn="l"/>
                      <a:r>
                        <a:rPr lang="en-US" sz="1200" noProof="0">
                          <a:solidFill>
                            <a:schemeClr val="accent5"/>
                          </a:solidFill>
                          <a:latin typeface="+mj-lt"/>
                        </a:rPr>
                        <a:t>Q3</a:t>
                      </a:r>
                    </a:p>
                  </a:txBody>
                  <a:tcPr marL="72000" marR="72000" marT="36000" marB="36000" anchor="ct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de-DE" sz="1000" dirty="0">
                        <a:solidFill>
                          <a:schemeClr val="bg1"/>
                        </a:solidFill>
                      </a:endParaRPr>
                    </a:p>
                  </a:txBody>
                  <a:tcPr marL="72000" marR="72000" marT="36000" marB="36000" anchor="ctr">
                    <a:lnT w="12700" cap="flat" cmpd="sng" algn="ctr">
                      <a:solidFill>
                        <a:schemeClr val="bg1"/>
                      </a:solidFill>
                      <a:prstDash val="solid"/>
                      <a:round/>
                      <a:headEnd type="none" w="med" len="med"/>
                      <a:tailEnd type="none" w="med" len="med"/>
                    </a:lnT>
                    <a:lnB w="6350" cap="flat" cmpd="sng" algn="ctr">
                      <a:solidFill>
                        <a:schemeClr val="accent5"/>
                      </a:solidFill>
                      <a:prstDash val="solid"/>
                      <a:round/>
                      <a:headEnd type="none" w="med" len="med"/>
                      <a:tailEnd type="none" w="med" len="med"/>
                    </a:lnB>
                    <a:solidFill>
                      <a:schemeClr val="accent5"/>
                    </a:solidFill>
                  </a:tcPr>
                </a:tc>
                <a:tc hMerge="1">
                  <a:txBody>
                    <a:bodyPr/>
                    <a:lstStyle/>
                    <a:p>
                      <a:pPr algn="ctr"/>
                      <a:endParaRPr lang="de-DE" sz="1000" dirty="0">
                        <a:solidFill>
                          <a:schemeClr val="bg1"/>
                        </a:solidFill>
                      </a:endParaRPr>
                    </a:p>
                  </a:txBody>
                  <a:tcPr marL="72000" marR="72000" marT="36000" marB="36000" anchor="ctr">
                    <a:lnT w="12700" cap="flat" cmpd="sng" algn="ctr">
                      <a:solidFill>
                        <a:schemeClr val="bg1"/>
                      </a:solidFill>
                      <a:prstDash val="solid"/>
                      <a:round/>
                      <a:headEnd type="none" w="med" len="med"/>
                      <a:tailEnd type="none" w="med" len="med"/>
                    </a:lnT>
                    <a:lnB w="6350" cap="flat" cmpd="sng" algn="ctr">
                      <a:solidFill>
                        <a:schemeClr val="accent5"/>
                      </a:solidFill>
                      <a:prstDash val="solid"/>
                      <a:round/>
                      <a:headEnd type="none" w="med" len="med"/>
                      <a:tailEnd type="none" w="med" len="med"/>
                    </a:lnB>
                    <a:solidFill>
                      <a:schemeClr val="accent5"/>
                    </a:solidFill>
                  </a:tcPr>
                </a:tc>
                <a:tc gridSpan="3">
                  <a:txBody>
                    <a:bodyPr/>
                    <a:lstStyle/>
                    <a:p>
                      <a:pPr algn="l"/>
                      <a:r>
                        <a:rPr lang="en-US" sz="1200" noProof="0">
                          <a:solidFill>
                            <a:schemeClr val="accent5"/>
                          </a:solidFill>
                          <a:latin typeface="+mj-lt"/>
                        </a:rPr>
                        <a:t>Q4</a:t>
                      </a:r>
                    </a:p>
                  </a:txBody>
                  <a:tcPr marL="72000" marR="72000" marT="36000" marB="36000" anchor="ct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de-DE" sz="1000" dirty="0">
                        <a:solidFill>
                          <a:schemeClr val="bg1"/>
                        </a:solidFill>
                      </a:endParaRPr>
                    </a:p>
                  </a:txBody>
                  <a:tcPr marL="72000" marR="72000" marT="36000" marB="36000" anchor="ctr">
                    <a:lnT w="12700" cap="flat" cmpd="sng" algn="ctr">
                      <a:solidFill>
                        <a:schemeClr val="bg1"/>
                      </a:solidFill>
                      <a:prstDash val="solid"/>
                      <a:round/>
                      <a:headEnd type="none" w="med" len="med"/>
                      <a:tailEnd type="none" w="med" len="med"/>
                    </a:lnT>
                    <a:lnB w="6350" cap="flat" cmpd="sng" algn="ctr">
                      <a:solidFill>
                        <a:schemeClr val="accent5"/>
                      </a:solidFill>
                      <a:prstDash val="solid"/>
                      <a:round/>
                      <a:headEnd type="none" w="med" len="med"/>
                      <a:tailEnd type="none" w="med" len="med"/>
                    </a:lnB>
                    <a:solidFill>
                      <a:schemeClr val="accent5"/>
                    </a:solidFill>
                  </a:tcPr>
                </a:tc>
                <a:tc hMerge="1">
                  <a:txBody>
                    <a:bodyPr/>
                    <a:lstStyle/>
                    <a:p>
                      <a:pPr algn="ctr"/>
                      <a:endParaRPr lang="de-DE" sz="1000" dirty="0">
                        <a:solidFill>
                          <a:schemeClr val="bg1"/>
                        </a:solidFill>
                      </a:endParaRPr>
                    </a:p>
                  </a:txBody>
                  <a:tcPr marL="72000" marR="72000" marT="36000" marB="36000" anchor="ctr">
                    <a:lnT w="12700" cap="flat" cmpd="sng" algn="ctr">
                      <a:solidFill>
                        <a:schemeClr val="bg1"/>
                      </a:solidFill>
                      <a:prstDash val="solid"/>
                      <a:round/>
                      <a:headEnd type="none" w="med" len="med"/>
                      <a:tailEnd type="none" w="med" len="med"/>
                    </a:lnT>
                    <a:lnB w="6350" cap="flat" cmpd="sng" algn="ctr">
                      <a:solidFill>
                        <a:schemeClr val="accent5"/>
                      </a:solidFill>
                      <a:prstDash val="solid"/>
                      <a:round/>
                      <a:headEnd type="none" w="med" len="med"/>
                      <a:tailEnd type="none" w="med" len="med"/>
                    </a:lnB>
                    <a:solidFill>
                      <a:schemeClr val="accent5"/>
                    </a:solidFill>
                  </a:tcPr>
                </a:tc>
                <a:tc gridSpan="3">
                  <a:txBody>
                    <a:bodyPr/>
                    <a:lstStyle/>
                    <a:p>
                      <a:pPr algn="l"/>
                      <a:r>
                        <a:rPr lang="en-US" sz="1200" noProof="0">
                          <a:solidFill>
                            <a:schemeClr val="accent5"/>
                          </a:solidFill>
                          <a:latin typeface="+mj-lt"/>
                        </a:rPr>
                        <a:t>Q1</a:t>
                      </a:r>
                    </a:p>
                  </a:txBody>
                  <a:tcPr marL="72000" marR="72000" marT="36000" marB="36000" anchor="ct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de-DE" sz="1000" dirty="0">
                        <a:solidFill>
                          <a:schemeClr val="bg1"/>
                        </a:solidFill>
                      </a:endParaRPr>
                    </a:p>
                  </a:txBody>
                  <a:tcPr marL="72000" marR="72000" marT="36000" marB="36000" anchor="ctr">
                    <a:lnT w="12700" cap="flat" cmpd="sng" algn="ctr">
                      <a:solidFill>
                        <a:schemeClr val="bg1"/>
                      </a:solidFill>
                      <a:prstDash val="solid"/>
                      <a:round/>
                      <a:headEnd type="none" w="med" len="med"/>
                      <a:tailEnd type="none" w="med" len="med"/>
                    </a:lnT>
                    <a:lnB w="6350" cap="flat" cmpd="sng" algn="ctr">
                      <a:solidFill>
                        <a:schemeClr val="accent5"/>
                      </a:solidFill>
                      <a:prstDash val="solid"/>
                      <a:round/>
                      <a:headEnd type="none" w="med" len="med"/>
                      <a:tailEnd type="none" w="med" len="med"/>
                    </a:lnB>
                    <a:solidFill>
                      <a:schemeClr val="accent5"/>
                    </a:solidFill>
                  </a:tcPr>
                </a:tc>
                <a:tc hMerge="1">
                  <a:txBody>
                    <a:bodyPr/>
                    <a:lstStyle/>
                    <a:p>
                      <a:pPr algn="ctr"/>
                      <a:endParaRPr lang="de-DE" sz="1000" dirty="0">
                        <a:solidFill>
                          <a:schemeClr val="bg1"/>
                        </a:solidFill>
                      </a:endParaRPr>
                    </a:p>
                  </a:txBody>
                  <a:tcPr marL="72000" marR="72000" marT="36000" marB="36000" anchor="ctr">
                    <a:lnT w="12700" cap="flat" cmpd="sng" algn="ctr">
                      <a:solidFill>
                        <a:schemeClr val="bg1"/>
                      </a:solidFill>
                      <a:prstDash val="solid"/>
                      <a:round/>
                      <a:headEnd type="none" w="med" len="med"/>
                      <a:tailEnd type="none" w="med" len="med"/>
                    </a:lnT>
                    <a:lnB w="6350" cap="flat" cmpd="sng" algn="ctr">
                      <a:solidFill>
                        <a:schemeClr val="accent5"/>
                      </a:solidFill>
                      <a:prstDash val="solid"/>
                      <a:round/>
                      <a:headEnd type="none" w="med" len="med"/>
                      <a:tailEnd type="none" w="med" len="med"/>
                    </a:lnB>
                    <a:solidFill>
                      <a:schemeClr val="accent5"/>
                    </a:solidFill>
                  </a:tcPr>
                </a:tc>
                <a:tc>
                  <a:txBody>
                    <a:bodyPr/>
                    <a:lstStyle/>
                    <a:p>
                      <a:pPr algn="l"/>
                      <a:r>
                        <a:rPr lang="en-US" sz="1200" noProof="0">
                          <a:solidFill>
                            <a:schemeClr val="accent5"/>
                          </a:solidFill>
                          <a:latin typeface="+mj-lt"/>
                        </a:rPr>
                        <a:t>Q2</a:t>
                      </a:r>
                    </a:p>
                  </a:txBody>
                  <a:tcPr marL="72000" marR="72000" marT="36000" marB="36000" anchor="ct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79323">
                <a:tc>
                  <a:txBody>
                    <a:bodyPr/>
                    <a:lstStyle/>
                    <a:p>
                      <a:r>
                        <a:rPr lang="en-US" sz="1200" noProof="0">
                          <a:solidFill>
                            <a:schemeClr val="tx1"/>
                          </a:solidFill>
                          <a:latin typeface="+mj-lt"/>
                        </a:rPr>
                        <a:t>Phase 1</a:t>
                      </a:r>
                    </a:p>
                  </a:txBody>
                  <a:tcPr marL="72000" marR="72000" marT="36000" marB="36000" anchor="ctr">
                    <a:lnL w="635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9323">
                <a:tc>
                  <a:txBody>
                    <a:bodyPr/>
                    <a:lstStyle/>
                    <a:p>
                      <a:r>
                        <a:rPr lang="en-US" sz="1200" noProof="0">
                          <a:solidFill>
                            <a:schemeClr val="tx1"/>
                          </a:solidFill>
                        </a:rPr>
                        <a:t>…</a:t>
                      </a:r>
                    </a:p>
                  </a:txBody>
                  <a:tcPr marL="72000" marR="72000" marT="36000" marB="36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r h="279323">
                <a:tc>
                  <a:txBody>
                    <a:bodyPr/>
                    <a:lstStyle/>
                    <a:p>
                      <a:r>
                        <a:rPr lang="en-US" sz="1200" noProof="0">
                          <a:solidFill>
                            <a:schemeClr val="tx1"/>
                          </a:solidFill>
                        </a:rPr>
                        <a:t>…</a:t>
                      </a:r>
                    </a:p>
                  </a:txBody>
                  <a:tcPr marL="72000" marR="72000" marT="36000" marB="36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279323">
                <a:tc>
                  <a:txBody>
                    <a:bodyPr/>
                    <a:lstStyle/>
                    <a:p>
                      <a:r>
                        <a:rPr lang="en-US" sz="1200" noProof="0">
                          <a:solidFill>
                            <a:schemeClr val="tx1"/>
                          </a:solidFill>
                        </a:rPr>
                        <a:t>…</a:t>
                      </a:r>
                    </a:p>
                  </a:txBody>
                  <a:tcPr marL="72000" marR="72000" marT="36000" marB="36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5"/>
                  </a:ext>
                </a:extLst>
              </a:tr>
              <a:tr h="279323">
                <a:tc>
                  <a:txBody>
                    <a:bodyPr/>
                    <a:lstStyle/>
                    <a:p>
                      <a:endParaRPr lang="en-US" sz="1200" noProof="0">
                        <a:solidFill>
                          <a:schemeClr val="tx1"/>
                        </a:solidFill>
                      </a:endParaRPr>
                    </a:p>
                  </a:txBody>
                  <a:tcPr marL="72000" marR="72000" marT="36000" marB="36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279323">
                <a:tc>
                  <a:txBody>
                    <a:bodyPr/>
                    <a:lstStyle/>
                    <a:p>
                      <a:r>
                        <a:rPr lang="en-US" sz="1200" noProof="0">
                          <a:solidFill>
                            <a:schemeClr val="tx1"/>
                          </a:solidFill>
                          <a:latin typeface="+mj-lt"/>
                        </a:rPr>
                        <a:t>Phase 2</a:t>
                      </a:r>
                    </a:p>
                  </a:txBody>
                  <a:tcPr marL="72000" marR="72000" marT="36000" marB="36000" anchor="ctr">
                    <a:lnL w="635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279323">
                <a:tc>
                  <a:txBody>
                    <a:bodyPr/>
                    <a:lstStyle/>
                    <a:p>
                      <a:r>
                        <a:rPr lang="en-US" sz="1200" noProof="0">
                          <a:solidFill>
                            <a:schemeClr val="tx1"/>
                          </a:solidFill>
                        </a:rPr>
                        <a:t>…</a:t>
                      </a:r>
                    </a:p>
                  </a:txBody>
                  <a:tcPr marL="72000" marR="72000" marT="36000" marB="36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8"/>
                  </a:ext>
                </a:extLst>
              </a:tr>
              <a:tr h="279323">
                <a:tc>
                  <a:txBody>
                    <a:bodyPr/>
                    <a:lstStyle/>
                    <a:p>
                      <a:r>
                        <a:rPr lang="en-US" sz="1200" noProof="0">
                          <a:solidFill>
                            <a:schemeClr val="tx1"/>
                          </a:solidFill>
                        </a:rPr>
                        <a:t>…</a:t>
                      </a:r>
                    </a:p>
                  </a:txBody>
                  <a:tcPr marL="72000" marR="72000" marT="36000" marB="36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r h="279323">
                <a:tc>
                  <a:txBody>
                    <a:bodyPr/>
                    <a:lstStyle/>
                    <a:p>
                      <a:r>
                        <a:rPr lang="en-US" sz="1200" noProof="0">
                          <a:solidFill>
                            <a:schemeClr val="tx1"/>
                          </a:solidFill>
                        </a:rPr>
                        <a:t>…</a:t>
                      </a:r>
                    </a:p>
                  </a:txBody>
                  <a:tcPr marL="72000" marR="72000" marT="36000" marB="36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10"/>
                  </a:ext>
                </a:extLst>
              </a:tr>
              <a:tr h="279323">
                <a:tc>
                  <a:txBody>
                    <a:bodyPr/>
                    <a:lstStyle/>
                    <a:p>
                      <a:endParaRPr lang="en-US" sz="1200" noProof="0">
                        <a:solidFill>
                          <a:schemeClr val="tx1"/>
                        </a:solidFill>
                      </a:endParaRPr>
                    </a:p>
                  </a:txBody>
                  <a:tcPr marL="72000" marR="72000" marT="36000" marB="36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1"/>
                  </a:ext>
                </a:extLst>
              </a:tr>
              <a:tr h="279323">
                <a:tc>
                  <a:txBody>
                    <a:bodyPr/>
                    <a:lstStyle/>
                    <a:p>
                      <a:r>
                        <a:rPr lang="en-US" sz="1200" noProof="0">
                          <a:solidFill>
                            <a:schemeClr val="tx1"/>
                          </a:solidFill>
                          <a:latin typeface="+mj-lt"/>
                        </a:rPr>
                        <a:t>Phase 3</a:t>
                      </a:r>
                    </a:p>
                  </a:txBody>
                  <a:tcPr marL="72000" marR="72000" marT="36000" marB="36000" anchor="ctr">
                    <a:lnL w="635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2"/>
                  </a:ext>
                </a:extLst>
              </a:tr>
              <a:tr h="279323">
                <a:tc>
                  <a:txBody>
                    <a:bodyPr/>
                    <a:lstStyle/>
                    <a:p>
                      <a:r>
                        <a:rPr lang="en-US" sz="1200" noProof="0">
                          <a:solidFill>
                            <a:schemeClr val="tx1"/>
                          </a:solidFill>
                        </a:rPr>
                        <a:t>…</a:t>
                      </a:r>
                    </a:p>
                  </a:txBody>
                  <a:tcPr marL="72000" marR="72000" marT="36000" marB="36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13"/>
                  </a:ext>
                </a:extLst>
              </a:tr>
              <a:tr h="279323">
                <a:tc>
                  <a:txBody>
                    <a:bodyPr/>
                    <a:lstStyle/>
                    <a:p>
                      <a:r>
                        <a:rPr lang="en-US" sz="1200" noProof="0">
                          <a:solidFill>
                            <a:schemeClr val="tx1"/>
                          </a:solidFill>
                        </a:rPr>
                        <a:t>…</a:t>
                      </a:r>
                    </a:p>
                  </a:txBody>
                  <a:tcPr marL="72000" marR="72000" marT="36000" marB="36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4"/>
                  </a:ext>
                </a:extLst>
              </a:tr>
              <a:tr h="279323">
                <a:tc>
                  <a:txBody>
                    <a:bodyPr/>
                    <a:lstStyle/>
                    <a:p>
                      <a:r>
                        <a:rPr lang="en-US" sz="1200" noProof="0">
                          <a:solidFill>
                            <a:schemeClr val="tx1"/>
                          </a:solidFill>
                        </a:rPr>
                        <a:t>…</a:t>
                      </a:r>
                    </a:p>
                  </a:txBody>
                  <a:tcPr marL="72000" marR="72000" marT="36000" marB="36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n-US" sz="1200" noProof="0" dirty="0">
                        <a:solidFill>
                          <a:schemeClr val="tx1"/>
                        </a:solidFill>
                      </a:endParaRPr>
                    </a:p>
                  </a:txBody>
                  <a:tcPr marL="72000" marR="72000" marT="36000" marB="36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15"/>
                  </a:ext>
                </a:extLst>
              </a:tr>
            </a:tbl>
          </a:graphicData>
        </a:graphic>
      </p:graphicFrame>
      <p:sp>
        <p:nvSpPr>
          <p:cNvPr id="7" name="Rectangle 43">
            <a:extLst>
              <a:ext uri="{FF2B5EF4-FFF2-40B4-BE49-F238E27FC236}">
                <a16:creationId xmlns:a16="http://schemas.microsoft.com/office/drawing/2014/main" id="{799BEB9F-9AEC-4F26-BCD6-9B1FCACB22DE}"/>
              </a:ext>
            </a:extLst>
          </p:cNvPr>
          <p:cNvSpPr>
            <a:spLocks noChangeArrowheads="1"/>
          </p:cNvSpPr>
          <p:nvPr/>
        </p:nvSpPr>
        <p:spPr bwMode="gray">
          <a:xfrm>
            <a:off x="3462985" y="2744780"/>
            <a:ext cx="1728240" cy="144000"/>
          </a:xfrm>
          <a:prstGeom prst="rect">
            <a:avLst/>
          </a:prstGeom>
          <a:solidFill>
            <a:schemeClr val="accent5"/>
          </a:solidFill>
          <a:ln w="9525" algn="ctr">
            <a:noFill/>
            <a:miter lim="800000"/>
            <a:headEnd/>
            <a:tailEnd/>
          </a:ln>
          <a:effectLst/>
        </p:spPr>
        <p:txBody>
          <a:bodyPr lIns="90000" tIns="46800" rIns="90000" bIns="46800" anchor="ctr"/>
          <a:lstStyle/>
          <a:p>
            <a:endParaRPr lang="en-US" sz="1000" dirty="0"/>
          </a:p>
        </p:txBody>
      </p:sp>
      <p:sp>
        <p:nvSpPr>
          <p:cNvPr id="8" name="Rectangle 43">
            <a:extLst>
              <a:ext uri="{FF2B5EF4-FFF2-40B4-BE49-F238E27FC236}">
                <a16:creationId xmlns:a16="http://schemas.microsoft.com/office/drawing/2014/main" id="{007209B8-BA3C-442A-AA4F-D43E69420B9A}"/>
              </a:ext>
            </a:extLst>
          </p:cNvPr>
          <p:cNvSpPr>
            <a:spLocks noChangeArrowheads="1"/>
          </p:cNvSpPr>
          <p:nvPr/>
        </p:nvSpPr>
        <p:spPr bwMode="gray">
          <a:xfrm>
            <a:off x="4800312" y="3023869"/>
            <a:ext cx="4104000" cy="144000"/>
          </a:xfrm>
          <a:prstGeom prst="rect">
            <a:avLst/>
          </a:prstGeom>
          <a:solidFill>
            <a:schemeClr val="accent5"/>
          </a:solidFill>
          <a:ln w="9525" algn="ctr">
            <a:noFill/>
            <a:miter lim="800000"/>
            <a:headEnd/>
            <a:tailEnd/>
          </a:ln>
          <a:effectLst/>
        </p:spPr>
        <p:txBody>
          <a:bodyPr lIns="90000" tIns="46800" rIns="90000" bIns="46800" anchor="ctr"/>
          <a:lstStyle/>
          <a:p>
            <a:endParaRPr lang="en-US" sz="1000" dirty="0"/>
          </a:p>
        </p:txBody>
      </p:sp>
      <p:sp>
        <p:nvSpPr>
          <p:cNvPr id="9" name="Rectangle 43">
            <a:extLst>
              <a:ext uri="{FF2B5EF4-FFF2-40B4-BE49-F238E27FC236}">
                <a16:creationId xmlns:a16="http://schemas.microsoft.com/office/drawing/2014/main" id="{E389973A-F82F-4DB7-8BE1-5FE1BF3D6595}"/>
              </a:ext>
            </a:extLst>
          </p:cNvPr>
          <p:cNvSpPr>
            <a:spLocks noChangeArrowheads="1"/>
          </p:cNvSpPr>
          <p:nvPr/>
        </p:nvSpPr>
        <p:spPr bwMode="gray">
          <a:xfrm>
            <a:off x="5448402" y="3302958"/>
            <a:ext cx="2880000" cy="144000"/>
          </a:xfrm>
          <a:prstGeom prst="rect">
            <a:avLst/>
          </a:prstGeom>
          <a:solidFill>
            <a:schemeClr val="accent5"/>
          </a:solidFill>
          <a:ln w="9525" algn="ctr">
            <a:noFill/>
            <a:miter lim="800000"/>
            <a:headEnd/>
            <a:tailEnd/>
          </a:ln>
          <a:effectLst/>
        </p:spPr>
        <p:txBody>
          <a:bodyPr lIns="90000" tIns="46800" rIns="90000" bIns="46800" anchor="ctr"/>
          <a:lstStyle/>
          <a:p>
            <a:endParaRPr lang="en-US" sz="1000" dirty="0"/>
          </a:p>
        </p:txBody>
      </p:sp>
      <p:sp>
        <p:nvSpPr>
          <p:cNvPr id="16" name="AutoShape 79">
            <a:extLst>
              <a:ext uri="{FF2B5EF4-FFF2-40B4-BE49-F238E27FC236}">
                <a16:creationId xmlns:a16="http://schemas.microsoft.com/office/drawing/2014/main" id="{195AA805-C7E5-4841-A615-A8245EFDDF6A}"/>
              </a:ext>
            </a:extLst>
          </p:cNvPr>
          <p:cNvSpPr>
            <a:spLocks noChangeArrowheads="1"/>
          </p:cNvSpPr>
          <p:nvPr/>
        </p:nvSpPr>
        <p:spPr bwMode="gray">
          <a:xfrm>
            <a:off x="2784032" y="2456748"/>
            <a:ext cx="142875" cy="142875"/>
          </a:xfrm>
          <a:prstGeom prst="diamond">
            <a:avLst/>
          </a:prstGeom>
          <a:solidFill>
            <a:schemeClr val="accent5"/>
          </a:solidFill>
          <a:ln w="9525">
            <a:solidFill>
              <a:schemeClr val="bg1"/>
            </a:solidFill>
            <a:miter lim="800000"/>
            <a:headEnd/>
            <a:tailEnd/>
          </a:ln>
          <a:effectLst/>
        </p:spPr>
        <p:txBody>
          <a:bodyPr wrap="none" lIns="342000" anchor="ctr"/>
          <a:lstStyle/>
          <a:p>
            <a:r>
              <a:rPr lang="en-US" altLang="de-DE" sz="1000" dirty="0">
                <a:solidFill>
                  <a:schemeClr val="accent5"/>
                </a:solidFill>
                <a:latin typeface="+mj-lt"/>
              </a:rPr>
              <a:t>Milestone</a:t>
            </a:r>
          </a:p>
        </p:txBody>
      </p:sp>
      <p:sp>
        <p:nvSpPr>
          <p:cNvPr id="20" name="Rectangle 43">
            <a:extLst>
              <a:ext uri="{FF2B5EF4-FFF2-40B4-BE49-F238E27FC236}">
                <a16:creationId xmlns:a16="http://schemas.microsoft.com/office/drawing/2014/main" id="{098FF23F-6166-40B9-AEDA-3CCE31F139BF}"/>
              </a:ext>
            </a:extLst>
          </p:cNvPr>
          <p:cNvSpPr>
            <a:spLocks noChangeArrowheads="1"/>
          </p:cNvSpPr>
          <p:nvPr/>
        </p:nvSpPr>
        <p:spPr bwMode="gray">
          <a:xfrm>
            <a:off x="3720162" y="4140676"/>
            <a:ext cx="1728240" cy="144000"/>
          </a:xfrm>
          <a:prstGeom prst="rect">
            <a:avLst/>
          </a:prstGeom>
          <a:solidFill>
            <a:schemeClr val="accent5"/>
          </a:solidFill>
          <a:ln w="9525" algn="ctr">
            <a:noFill/>
            <a:miter lim="800000"/>
            <a:headEnd/>
            <a:tailEnd/>
          </a:ln>
          <a:effectLst/>
        </p:spPr>
        <p:txBody>
          <a:bodyPr lIns="90000" tIns="46800" rIns="90000" bIns="46800" anchor="ctr"/>
          <a:lstStyle/>
          <a:p>
            <a:endParaRPr lang="en-US" sz="1000" dirty="0"/>
          </a:p>
        </p:txBody>
      </p:sp>
      <p:sp>
        <p:nvSpPr>
          <p:cNvPr id="21" name="Rectangle 43">
            <a:extLst>
              <a:ext uri="{FF2B5EF4-FFF2-40B4-BE49-F238E27FC236}">
                <a16:creationId xmlns:a16="http://schemas.microsoft.com/office/drawing/2014/main" id="{40914BEA-A704-4855-A8D0-7A6D970A9457}"/>
              </a:ext>
            </a:extLst>
          </p:cNvPr>
          <p:cNvSpPr>
            <a:spLocks noChangeArrowheads="1"/>
          </p:cNvSpPr>
          <p:nvPr/>
        </p:nvSpPr>
        <p:spPr bwMode="gray">
          <a:xfrm>
            <a:off x="5057489" y="4424528"/>
            <a:ext cx="4104000" cy="144000"/>
          </a:xfrm>
          <a:prstGeom prst="rect">
            <a:avLst/>
          </a:prstGeom>
          <a:solidFill>
            <a:schemeClr val="accent5"/>
          </a:solidFill>
          <a:ln w="9525" algn="ctr">
            <a:noFill/>
            <a:miter lim="800000"/>
            <a:headEnd/>
            <a:tailEnd/>
          </a:ln>
          <a:effectLst/>
        </p:spPr>
        <p:txBody>
          <a:bodyPr lIns="90000" tIns="46800" rIns="90000" bIns="46800" anchor="ctr"/>
          <a:lstStyle/>
          <a:p>
            <a:endParaRPr lang="en-US" sz="1000" dirty="0"/>
          </a:p>
        </p:txBody>
      </p:sp>
      <p:sp>
        <p:nvSpPr>
          <p:cNvPr id="22" name="Rectangle 43">
            <a:extLst>
              <a:ext uri="{FF2B5EF4-FFF2-40B4-BE49-F238E27FC236}">
                <a16:creationId xmlns:a16="http://schemas.microsoft.com/office/drawing/2014/main" id="{E08DDC69-56D1-4AD3-993C-D18B3739F062}"/>
              </a:ext>
            </a:extLst>
          </p:cNvPr>
          <p:cNvSpPr>
            <a:spLocks noChangeArrowheads="1"/>
          </p:cNvSpPr>
          <p:nvPr/>
        </p:nvSpPr>
        <p:spPr bwMode="gray">
          <a:xfrm>
            <a:off x="5705579" y="4703617"/>
            <a:ext cx="2880000" cy="144000"/>
          </a:xfrm>
          <a:prstGeom prst="rect">
            <a:avLst/>
          </a:prstGeom>
          <a:solidFill>
            <a:schemeClr val="accent5"/>
          </a:solidFill>
          <a:ln w="9525" algn="ctr">
            <a:noFill/>
            <a:miter lim="800000"/>
            <a:headEnd/>
            <a:tailEnd/>
          </a:ln>
          <a:effectLst/>
        </p:spPr>
        <p:txBody>
          <a:bodyPr lIns="90000" tIns="46800" rIns="90000" bIns="46800" anchor="ctr"/>
          <a:lstStyle/>
          <a:p>
            <a:endParaRPr lang="en-US" sz="1000" dirty="0"/>
          </a:p>
        </p:txBody>
      </p:sp>
      <p:sp>
        <p:nvSpPr>
          <p:cNvPr id="23" name="AutoShape 79">
            <a:extLst>
              <a:ext uri="{FF2B5EF4-FFF2-40B4-BE49-F238E27FC236}">
                <a16:creationId xmlns:a16="http://schemas.microsoft.com/office/drawing/2014/main" id="{B60DE5C2-8C5E-451F-81EB-65FB64210B34}"/>
              </a:ext>
            </a:extLst>
          </p:cNvPr>
          <p:cNvSpPr>
            <a:spLocks noChangeArrowheads="1"/>
          </p:cNvSpPr>
          <p:nvPr/>
        </p:nvSpPr>
        <p:spPr bwMode="gray">
          <a:xfrm>
            <a:off x="9540214" y="3843118"/>
            <a:ext cx="142875" cy="142875"/>
          </a:xfrm>
          <a:prstGeom prst="diamond">
            <a:avLst/>
          </a:prstGeom>
          <a:solidFill>
            <a:schemeClr val="accent5"/>
          </a:solidFill>
          <a:ln w="9525">
            <a:solidFill>
              <a:schemeClr val="bg1"/>
            </a:solidFill>
            <a:miter lim="800000"/>
            <a:headEnd/>
            <a:tailEnd/>
          </a:ln>
          <a:effectLst/>
        </p:spPr>
        <p:txBody>
          <a:bodyPr wrap="none" lIns="342000" anchor="ctr"/>
          <a:lstStyle/>
          <a:p>
            <a:r>
              <a:rPr lang="en-US" altLang="de-DE" sz="1000" dirty="0">
                <a:solidFill>
                  <a:schemeClr val="accent5"/>
                </a:solidFill>
                <a:latin typeface="+mj-lt"/>
              </a:rPr>
              <a:t>Milestone</a:t>
            </a:r>
          </a:p>
        </p:txBody>
      </p:sp>
      <p:sp>
        <p:nvSpPr>
          <p:cNvPr id="24" name="Rectangle 43">
            <a:extLst>
              <a:ext uri="{FF2B5EF4-FFF2-40B4-BE49-F238E27FC236}">
                <a16:creationId xmlns:a16="http://schemas.microsoft.com/office/drawing/2014/main" id="{6D90F2DD-796E-4239-865A-3D1E3F7F81CD}"/>
              </a:ext>
            </a:extLst>
          </p:cNvPr>
          <p:cNvSpPr>
            <a:spLocks noChangeArrowheads="1"/>
          </p:cNvSpPr>
          <p:nvPr/>
        </p:nvSpPr>
        <p:spPr bwMode="gray">
          <a:xfrm>
            <a:off x="6127355" y="5536011"/>
            <a:ext cx="1728240" cy="144000"/>
          </a:xfrm>
          <a:prstGeom prst="rect">
            <a:avLst/>
          </a:prstGeom>
          <a:solidFill>
            <a:schemeClr val="accent5"/>
          </a:solidFill>
          <a:ln w="9525" algn="ctr">
            <a:noFill/>
            <a:miter lim="800000"/>
            <a:headEnd/>
            <a:tailEnd/>
          </a:ln>
          <a:effectLst/>
        </p:spPr>
        <p:txBody>
          <a:bodyPr lIns="90000" tIns="46800" rIns="90000" bIns="46800" anchor="ctr"/>
          <a:lstStyle/>
          <a:p>
            <a:endParaRPr lang="en-US" sz="1000" dirty="0"/>
          </a:p>
        </p:txBody>
      </p:sp>
      <p:sp>
        <p:nvSpPr>
          <p:cNvPr id="25" name="Rectangle 43">
            <a:extLst>
              <a:ext uri="{FF2B5EF4-FFF2-40B4-BE49-F238E27FC236}">
                <a16:creationId xmlns:a16="http://schemas.microsoft.com/office/drawing/2014/main" id="{953381B4-5A31-4F45-B203-89D73E1E707E}"/>
              </a:ext>
            </a:extLst>
          </p:cNvPr>
          <p:cNvSpPr>
            <a:spLocks noChangeArrowheads="1"/>
          </p:cNvSpPr>
          <p:nvPr/>
        </p:nvSpPr>
        <p:spPr bwMode="gray">
          <a:xfrm>
            <a:off x="7464682" y="5815100"/>
            <a:ext cx="4104000" cy="144000"/>
          </a:xfrm>
          <a:prstGeom prst="rect">
            <a:avLst/>
          </a:prstGeom>
          <a:solidFill>
            <a:schemeClr val="accent5"/>
          </a:solidFill>
          <a:ln w="9525" algn="ctr">
            <a:noFill/>
            <a:miter lim="800000"/>
            <a:headEnd/>
            <a:tailEnd/>
          </a:ln>
          <a:effectLst/>
        </p:spPr>
        <p:txBody>
          <a:bodyPr lIns="90000" tIns="46800" rIns="90000" bIns="46800" anchor="ctr"/>
          <a:lstStyle/>
          <a:p>
            <a:endParaRPr lang="en-US" sz="1000" dirty="0"/>
          </a:p>
        </p:txBody>
      </p:sp>
      <p:sp>
        <p:nvSpPr>
          <p:cNvPr id="26" name="Rectangle 43">
            <a:extLst>
              <a:ext uri="{FF2B5EF4-FFF2-40B4-BE49-F238E27FC236}">
                <a16:creationId xmlns:a16="http://schemas.microsoft.com/office/drawing/2014/main" id="{2174226A-612D-43DE-B50F-2C28484F60EE}"/>
              </a:ext>
            </a:extLst>
          </p:cNvPr>
          <p:cNvSpPr>
            <a:spLocks noChangeArrowheads="1"/>
          </p:cNvSpPr>
          <p:nvPr/>
        </p:nvSpPr>
        <p:spPr bwMode="gray">
          <a:xfrm>
            <a:off x="8112772" y="6094189"/>
            <a:ext cx="2880000" cy="144000"/>
          </a:xfrm>
          <a:prstGeom prst="rect">
            <a:avLst/>
          </a:prstGeom>
          <a:solidFill>
            <a:schemeClr val="accent5"/>
          </a:solidFill>
          <a:ln w="9525" algn="ctr">
            <a:noFill/>
            <a:miter lim="800000"/>
            <a:headEnd/>
            <a:tailEnd/>
          </a:ln>
          <a:effectLst/>
        </p:spPr>
        <p:txBody>
          <a:bodyPr lIns="90000" tIns="46800" rIns="90000" bIns="46800" anchor="ctr"/>
          <a:lstStyle/>
          <a:p>
            <a:endParaRPr lang="en-US" sz="1000" dirty="0"/>
          </a:p>
        </p:txBody>
      </p:sp>
      <p:sp>
        <p:nvSpPr>
          <p:cNvPr id="27" name="AutoShape 79">
            <a:extLst>
              <a:ext uri="{FF2B5EF4-FFF2-40B4-BE49-F238E27FC236}">
                <a16:creationId xmlns:a16="http://schemas.microsoft.com/office/drawing/2014/main" id="{C7F1EAB0-07B6-4F51-B408-27C304407798}"/>
              </a:ext>
            </a:extLst>
          </p:cNvPr>
          <p:cNvSpPr>
            <a:spLocks noChangeArrowheads="1"/>
          </p:cNvSpPr>
          <p:nvPr/>
        </p:nvSpPr>
        <p:spPr bwMode="gray">
          <a:xfrm>
            <a:off x="5448402" y="5247418"/>
            <a:ext cx="142875" cy="142875"/>
          </a:xfrm>
          <a:prstGeom prst="diamond">
            <a:avLst/>
          </a:prstGeom>
          <a:solidFill>
            <a:schemeClr val="accent5"/>
          </a:solidFill>
          <a:ln w="9525">
            <a:solidFill>
              <a:schemeClr val="bg1"/>
            </a:solidFill>
            <a:miter lim="800000"/>
            <a:headEnd/>
            <a:tailEnd/>
          </a:ln>
          <a:effectLst/>
        </p:spPr>
        <p:txBody>
          <a:bodyPr wrap="none" lIns="342000" anchor="ctr"/>
          <a:lstStyle/>
          <a:p>
            <a:r>
              <a:rPr lang="en-US" altLang="de-DE" sz="1000" dirty="0">
                <a:solidFill>
                  <a:schemeClr val="accent5"/>
                </a:solidFill>
                <a:latin typeface="+mj-lt"/>
              </a:rPr>
              <a:t>Milestone</a:t>
            </a:r>
          </a:p>
        </p:txBody>
      </p:sp>
      <p:sp>
        <p:nvSpPr>
          <p:cNvPr id="4" name="Fußzeilenplatzhalter 3">
            <a:extLst>
              <a:ext uri="{FF2B5EF4-FFF2-40B4-BE49-F238E27FC236}">
                <a16:creationId xmlns:a16="http://schemas.microsoft.com/office/drawing/2014/main" id="{DF98EA5A-6243-4237-A7F8-3BA6C12B82BE}"/>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D9FF149A-2AB8-490D-AB0B-037390F1638D}"/>
              </a:ext>
            </a:extLst>
          </p:cNvPr>
          <p:cNvSpPr>
            <a:spLocks noGrp="1"/>
          </p:cNvSpPr>
          <p:nvPr>
            <p:ph type="sldNum" sz="quarter" idx="12"/>
          </p:nvPr>
        </p:nvSpPr>
        <p:spPr/>
        <p:txBody>
          <a:bodyPr/>
          <a:lstStyle/>
          <a:p>
            <a:fld id="{CE82B8A1-0CCE-4815-9668-383D7DE7D8B4}" type="slidenum">
              <a:rPr lang="en-US" noProof="0" smtClean="0"/>
              <a:t>96</a:t>
            </a:fld>
            <a:endParaRPr lang="en-US" noProof="0" dirty="0"/>
          </a:p>
        </p:txBody>
      </p:sp>
    </p:spTree>
    <p:extLst>
      <p:ext uri="{BB962C8B-B14F-4D97-AF65-F5344CB8AC3E}">
        <p14:creationId xmlns:p14="http://schemas.microsoft.com/office/powerpoint/2010/main" val="257000884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E1F89DF-BFBC-463D-967D-421D2B1CAC74}"/>
              </a:ext>
            </a:extLst>
          </p:cNvPr>
          <p:cNvSpPr>
            <a:spLocks noGrp="1"/>
          </p:cNvSpPr>
          <p:nvPr>
            <p:ph type="title"/>
          </p:nvPr>
        </p:nvSpPr>
        <p:spPr bwMode="gray"/>
        <p:txBody>
          <a:bodyPr/>
          <a:lstStyle/>
          <a:p>
            <a:r>
              <a:rPr lang="en-US" dirty="0"/>
              <a:t>I'm a chapter divider. </a:t>
            </a:r>
            <a:br>
              <a:rPr lang="en-US" dirty="0"/>
            </a:br>
            <a:r>
              <a:rPr lang="en-US" dirty="0"/>
              <a:t>Lorem ipsum dolor sit amet, consectetuer adipiscing elit. Maecenas porttitor congue massa. </a:t>
            </a:r>
          </a:p>
        </p:txBody>
      </p:sp>
      <p:sp>
        <p:nvSpPr>
          <p:cNvPr id="6" name="Textplatzhalter 5">
            <a:extLst>
              <a:ext uri="{FF2B5EF4-FFF2-40B4-BE49-F238E27FC236}">
                <a16:creationId xmlns:a16="http://schemas.microsoft.com/office/drawing/2014/main" id="{00132A80-8C4B-45AC-81FD-61298D302D8E}"/>
              </a:ext>
            </a:extLst>
          </p:cNvPr>
          <p:cNvSpPr>
            <a:spLocks noGrp="1"/>
          </p:cNvSpPr>
          <p:nvPr>
            <p:ph type="body" sz="quarter" idx="11"/>
          </p:nvPr>
        </p:nvSpPr>
        <p:spPr bwMode="gray"/>
        <p:txBody>
          <a:bodyPr/>
          <a:lstStyle/>
          <a:p>
            <a:r>
              <a:rPr lang="en-US" dirty="0"/>
              <a:t>03</a:t>
            </a:r>
          </a:p>
        </p:txBody>
      </p:sp>
      <p:sp>
        <p:nvSpPr>
          <p:cNvPr id="2" name="Fußzeilenplatzhalter 1">
            <a:extLst>
              <a:ext uri="{FF2B5EF4-FFF2-40B4-BE49-F238E27FC236}">
                <a16:creationId xmlns:a16="http://schemas.microsoft.com/office/drawing/2014/main" id="{B2223ED6-2BBD-40C3-9F6A-61B1A2D86C81}"/>
              </a:ext>
            </a:extLst>
          </p:cNvPr>
          <p:cNvSpPr>
            <a:spLocks noGrp="1"/>
          </p:cNvSpPr>
          <p:nvPr>
            <p:ph type="ftr" sz="quarter" idx="12"/>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1A918B33-27B2-4EC5-8DC7-34FC4C06FA6F}"/>
              </a:ext>
            </a:extLst>
          </p:cNvPr>
          <p:cNvSpPr>
            <a:spLocks noGrp="1"/>
          </p:cNvSpPr>
          <p:nvPr>
            <p:ph type="sldNum" sz="quarter" idx="10"/>
          </p:nvPr>
        </p:nvSpPr>
        <p:spPr/>
        <p:txBody>
          <a:bodyPr/>
          <a:lstStyle/>
          <a:p>
            <a:fld id="{CE82B8A1-0CCE-4815-9668-383D7DE7D8B4}" type="slidenum">
              <a:rPr lang="en-US" noProof="0" smtClean="0"/>
              <a:pPr/>
              <a:t>97</a:t>
            </a:fld>
            <a:endParaRPr lang="en-US" noProof="0" dirty="0"/>
          </a:p>
        </p:txBody>
      </p:sp>
    </p:spTree>
    <p:extLst>
      <p:ext uri="{BB962C8B-B14F-4D97-AF65-F5344CB8AC3E}">
        <p14:creationId xmlns:p14="http://schemas.microsoft.com/office/powerpoint/2010/main" val="156653854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3243AB-63E3-4AB9-BF39-8D7CA71B4C46}"/>
              </a:ext>
            </a:extLst>
          </p:cNvPr>
          <p:cNvSpPr>
            <a:spLocks noGrp="1"/>
          </p:cNvSpPr>
          <p:nvPr>
            <p:ph type="title"/>
          </p:nvPr>
        </p:nvSpPr>
        <p:spPr bwMode="gray"/>
        <p:txBody>
          <a:bodyPr/>
          <a:lstStyle/>
          <a:p>
            <a:r>
              <a:rPr lang="en-US" dirty="0"/>
              <a:t>Set of results</a:t>
            </a:r>
          </a:p>
        </p:txBody>
      </p:sp>
      <p:sp>
        <p:nvSpPr>
          <p:cNvPr id="18" name="Textplatzhalter 15">
            <a:extLst>
              <a:ext uri="{FF2B5EF4-FFF2-40B4-BE49-F238E27FC236}">
                <a16:creationId xmlns:a16="http://schemas.microsoft.com/office/drawing/2014/main" id="{5683DB9F-73C6-4D7B-8B25-E77DD7867FF8}"/>
              </a:ext>
            </a:extLst>
          </p:cNvPr>
          <p:cNvSpPr txBox="1">
            <a:spLocks/>
          </p:cNvSpPr>
          <p:nvPr/>
        </p:nvSpPr>
        <p:spPr bwMode="gray">
          <a:xfrm>
            <a:off x="9624608" y="5013328"/>
            <a:ext cx="1944000" cy="1296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solidFill>
                  <a:schemeClr val="accent5"/>
                </a:solidFill>
              </a:rPr>
              <a:t>Maecenas porttitor</a:t>
            </a:r>
            <a:br>
              <a:rPr lang="en-US" sz="1400" dirty="0">
                <a:solidFill>
                  <a:schemeClr val="accent5"/>
                </a:solidFill>
              </a:rPr>
            </a:br>
            <a:r>
              <a:rPr lang="en-US" sz="1400" dirty="0"/>
              <a:t>Congue massa. Fusce posuere, magna sed pulvinar ultricies, purus lectus malesuada libero, sit amet commodo magna eros quis</a:t>
            </a:r>
          </a:p>
        </p:txBody>
      </p:sp>
      <p:sp>
        <p:nvSpPr>
          <p:cNvPr id="21" name="Textplatzhalter 3">
            <a:extLst>
              <a:ext uri="{FF2B5EF4-FFF2-40B4-BE49-F238E27FC236}">
                <a16:creationId xmlns:a16="http://schemas.microsoft.com/office/drawing/2014/main" id="{6AE030AE-D0B6-4D5D-A3BE-A5CB6B4FB57E}"/>
              </a:ext>
            </a:extLst>
          </p:cNvPr>
          <p:cNvSpPr txBox="1">
            <a:spLocks/>
          </p:cNvSpPr>
          <p:nvPr/>
        </p:nvSpPr>
        <p:spPr bwMode="gray">
          <a:xfrm>
            <a:off x="9624608" y="4293248"/>
            <a:ext cx="1944000" cy="648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latin typeface="+mn-lt"/>
              </a:rPr>
              <a:t>E</a:t>
            </a:r>
          </a:p>
        </p:txBody>
      </p:sp>
      <p:sp>
        <p:nvSpPr>
          <p:cNvPr id="22" name="Textplatzhalter 15">
            <a:extLst>
              <a:ext uri="{FF2B5EF4-FFF2-40B4-BE49-F238E27FC236}">
                <a16:creationId xmlns:a16="http://schemas.microsoft.com/office/drawing/2014/main" id="{46C9795E-8E0B-4D4C-B948-292AF20EC920}"/>
              </a:ext>
            </a:extLst>
          </p:cNvPr>
          <p:cNvSpPr txBox="1">
            <a:spLocks/>
          </p:cNvSpPr>
          <p:nvPr/>
        </p:nvSpPr>
        <p:spPr bwMode="gray">
          <a:xfrm>
            <a:off x="7374304" y="5013328"/>
            <a:ext cx="1944000" cy="1296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solidFill>
                  <a:schemeClr val="accent5"/>
                </a:solidFill>
              </a:rPr>
              <a:t>Maecenas porttitor</a:t>
            </a:r>
            <a:br>
              <a:rPr lang="en-US" sz="1400" dirty="0">
                <a:solidFill>
                  <a:schemeClr val="accent5"/>
                </a:solidFill>
              </a:rPr>
            </a:br>
            <a:r>
              <a:rPr lang="en-US" sz="1400" dirty="0"/>
              <a:t>Congue massa. Fusce posuere, magna sed pulvinar ultricies, purus lectus malesuada libero, sit amet commodo magna eros quis</a:t>
            </a:r>
          </a:p>
        </p:txBody>
      </p:sp>
      <p:sp>
        <p:nvSpPr>
          <p:cNvPr id="25" name="Textplatzhalter 3">
            <a:extLst>
              <a:ext uri="{FF2B5EF4-FFF2-40B4-BE49-F238E27FC236}">
                <a16:creationId xmlns:a16="http://schemas.microsoft.com/office/drawing/2014/main" id="{1138F11A-FA4E-4F7D-9624-3F353878C8B5}"/>
              </a:ext>
            </a:extLst>
          </p:cNvPr>
          <p:cNvSpPr txBox="1">
            <a:spLocks/>
          </p:cNvSpPr>
          <p:nvPr/>
        </p:nvSpPr>
        <p:spPr bwMode="gray">
          <a:xfrm>
            <a:off x="7374304" y="4293248"/>
            <a:ext cx="1944000" cy="648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latin typeface="+mn-lt"/>
              </a:rPr>
              <a:t>D</a:t>
            </a:r>
          </a:p>
        </p:txBody>
      </p:sp>
      <p:sp>
        <p:nvSpPr>
          <p:cNvPr id="26" name="Textplatzhalter 15">
            <a:extLst>
              <a:ext uri="{FF2B5EF4-FFF2-40B4-BE49-F238E27FC236}">
                <a16:creationId xmlns:a16="http://schemas.microsoft.com/office/drawing/2014/main" id="{AE991F06-6077-47CE-B288-0E0EF4E28C1E}"/>
              </a:ext>
            </a:extLst>
          </p:cNvPr>
          <p:cNvSpPr txBox="1">
            <a:spLocks/>
          </p:cNvSpPr>
          <p:nvPr/>
        </p:nvSpPr>
        <p:spPr bwMode="gray">
          <a:xfrm>
            <a:off x="623392" y="5013328"/>
            <a:ext cx="1944000" cy="1296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solidFill>
                  <a:schemeClr val="accent5"/>
                </a:solidFill>
              </a:rPr>
              <a:t>Maecenas porttitor</a:t>
            </a:r>
            <a:br>
              <a:rPr lang="en-US" sz="1400" dirty="0">
                <a:solidFill>
                  <a:schemeClr val="accent5"/>
                </a:solidFill>
              </a:rPr>
            </a:br>
            <a:r>
              <a:rPr lang="en-US" sz="1400" dirty="0"/>
              <a:t>Congue massa. Fusce posuere, magna sed pulvinar ultricies, purus lectus malesuada libero, sit amet commodo magna eros quis</a:t>
            </a:r>
          </a:p>
        </p:txBody>
      </p:sp>
      <p:sp>
        <p:nvSpPr>
          <p:cNvPr id="27" name="Textplatzhalter 3">
            <a:extLst>
              <a:ext uri="{FF2B5EF4-FFF2-40B4-BE49-F238E27FC236}">
                <a16:creationId xmlns:a16="http://schemas.microsoft.com/office/drawing/2014/main" id="{3DC49F66-8089-4071-82F1-B2F183AA0618}"/>
              </a:ext>
            </a:extLst>
          </p:cNvPr>
          <p:cNvSpPr txBox="1">
            <a:spLocks/>
          </p:cNvSpPr>
          <p:nvPr/>
        </p:nvSpPr>
        <p:spPr bwMode="gray">
          <a:xfrm>
            <a:off x="623392" y="4293248"/>
            <a:ext cx="1944000" cy="648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latin typeface="+mn-lt"/>
              </a:rPr>
              <a:t>A</a:t>
            </a:r>
          </a:p>
        </p:txBody>
      </p:sp>
      <p:sp>
        <p:nvSpPr>
          <p:cNvPr id="28" name="Textplatzhalter 15">
            <a:extLst>
              <a:ext uri="{FF2B5EF4-FFF2-40B4-BE49-F238E27FC236}">
                <a16:creationId xmlns:a16="http://schemas.microsoft.com/office/drawing/2014/main" id="{F68D662B-6F83-44C8-BB23-17ED14FDE919}"/>
              </a:ext>
            </a:extLst>
          </p:cNvPr>
          <p:cNvSpPr txBox="1">
            <a:spLocks/>
          </p:cNvSpPr>
          <p:nvPr/>
        </p:nvSpPr>
        <p:spPr bwMode="gray">
          <a:xfrm>
            <a:off x="2873696" y="5013328"/>
            <a:ext cx="1944000" cy="1296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solidFill>
                  <a:schemeClr val="accent5"/>
                </a:solidFill>
              </a:rPr>
              <a:t>Maecenas porttitor</a:t>
            </a:r>
            <a:br>
              <a:rPr lang="en-US" sz="1400" dirty="0">
                <a:solidFill>
                  <a:schemeClr val="accent5"/>
                </a:solidFill>
              </a:rPr>
            </a:br>
            <a:r>
              <a:rPr lang="en-US" sz="1400" dirty="0"/>
              <a:t>Congue massa. Fusce posuere, magna sed pulvinar ultricies, purus lectus malesuada libero, sit amet commodo magna eros quis</a:t>
            </a:r>
          </a:p>
        </p:txBody>
      </p:sp>
      <p:sp>
        <p:nvSpPr>
          <p:cNvPr id="29" name="Textplatzhalter 3">
            <a:extLst>
              <a:ext uri="{FF2B5EF4-FFF2-40B4-BE49-F238E27FC236}">
                <a16:creationId xmlns:a16="http://schemas.microsoft.com/office/drawing/2014/main" id="{9281634D-F285-41CF-8D40-154F87F198EB}"/>
              </a:ext>
            </a:extLst>
          </p:cNvPr>
          <p:cNvSpPr txBox="1">
            <a:spLocks/>
          </p:cNvSpPr>
          <p:nvPr/>
        </p:nvSpPr>
        <p:spPr bwMode="gray">
          <a:xfrm>
            <a:off x="2873696" y="4293248"/>
            <a:ext cx="1944000" cy="648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latin typeface="+mn-lt"/>
              </a:rPr>
              <a:t>B</a:t>
            </a:r>
          </a:p>
        </p:txBody>
      </p:sp>
      <p:sp>
        <p:nvSpPr>
          <p:cNvPr id="30" name="Textplatzhalter 15">
            <a:extLst>
              <a:ext uri="{FF2B5EF4-FFF2-40B4-BE49-F238E27FC236}">
                <a16:creationId xmlns:a16="http://schemas.microsoft.com/office/drawing/2014/main" id="{8F725756-AD51-4003-9F52-6A8D88B12324}"/>
              </a:ext>
            </a:extLst>
          </p:cNvPr>
          <p:cNvSpPr txBox="1">
            <a:spLocks/>
          </p:cNvSpPr>
          <p:nvPr/>
        </p:nvSpPr>
        <p:spPr bwMode="gray">
          <a:xfrm>
            <a:off x="5124000" y="5013328"/>
            <a:ext cx="1944000" cy="1296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solidFill>
                  <a:schemeClr val="accent5"/>
                </a:solidFill>
              </a:rPr>
              <a:t>Maecenas porttitor</a:t>
            </a:r>
            <a:br>
              <a:rPr lang="en-US" sz="1400" dirty="0">
                <a:solidFill>
                  <a:schemeClr val="accent5"/>
                </a:solidFill>
              </a:rPr>
            </a:br>
            <a:r>
              <a:rPr lang="en-US" sz="1400" dirty="0"/>
              <a:t>Congue massa. Fusce posuere, magna sed pulvinar ultricies, purus lectus malesuada libero, sit amet commodo magna eros quis</a:t>
            </a:r>
          </a:p>
        </p:txBody>
      </p:sp>
      <p:sp>
        <p:nvSpPr>
          <p:cNvPr id="31" name="Textplatzhalter 3">
            <a:extLst>
              <a:ext uri="{FF2B5EF4-FFF2-40B4-BE49-F238E27FC236}">
                <a16:creationId xmlns:a16="http://schemas.microsoft.com/office/drawing/2014/main" id="{C41C9326-309B-40F0-8209-2C9C672E7AA9}"/>
              </a:ext>
            </a:extLst>
          </p:cNvPr>
          <p:cNvSpPr txBox="1">
            <a:spLocks/>
          </p:cNvSpPr>
          <p:nvPr/>
        </p:nvSpPr>
        <p:spPr bwMode="gray">
          <a:xfrm>
            <a:off x="5124000" y="4293248"/>
            <a:ext cx="1944000" cy="648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4000" dirty="0">
                <a:solidFill>
                  <a:schemeClr val="accent5"/>
                </a:solidFill>
                <a:latin typeface="+mn-lt"/>
              </a:rPr>
              <a:t>C</a:t>
            </a:r>
          </a:p>
        </p:txBody>
      </p:sp>
      <p:sp>
        <p:nvSpPr>
          <p:cNvPr id="32" name="Textplatzhalter 3">
            <a:extLst>
              <a:ext uri="{FF2B5EF4-FFF2-40B4-BE49-F238E27FC236}">
                <a16:creationId xmlns:a16="http://schemas.microsoft.com/office/drawing/2014/main" id="{80A2D413-11E7-4E43-8F4E-037995CF19B8}"/>
              </a:ext>
            </a:extLst>
          </p:cNvPr>
          <p:cNvSpPr txBox="1">
            <a:spLocks/>
          </p:cNvSpPr>
          <p:nvPr/>
        </p:nvSpPr>
        <p:spPr bwMode="gray">
          <a:xfrm>
            <a:off x="5124000" y="1772816"/>
            <a:ext cx="1944000" cy="648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sz="7200" dirty="0">
                <a:solidFill>
                  <a:schemeClr val="accent5"/>
                </a:solidFill>
              </a:rPr>
              <a:t>2019</a:t>
            </a:r>
            <a:endParaRPr lang="en-US" sz="7200" dirty="0">
              <a:solidFill>
                <a:schemeClr val="accent5"/>
              </a:solidFill>
              <a:latin typeface="+mn-lt"/>
            </a:endParaRPr>
          </a:p>
        </p:txBody>
      </p:sp>
      <p:sp>
        <p:nvSpPr>
          <p:cNvPr id="33" name="Freihandform: Form 32">
            <a:extLst>
              <a:ext uri="{FF2B5EF4-FFF2-40B4-BE49-F238E27FC236}">
                <a16:creationId xmlns:a16="http://schemas.microsoft.com/office/drawing/2014/main" id="{07520BE7-E9FD-4CBB-901F-C4231ADCDB4E}"/>
              </a:ext>
            </a:extLst>
          </p:cNvPr>
          <p:cNvSpPr/>
          <p:nvPr/>
        </p:nvSpPr>
        <p:spPr bwMode="gray">
          <a:xfrm>
            <a:off x="1631504" y="3717032"/>
            <a:ext cx="4392481" cy="504056"/>
          </a:xfrm>
          <a:custGeom>
            <a:avLst/>
            <a:gdLst>
              <a:gd name="connsiteX0" fmla="*/ 0 w 4495800"/>
              <a:gd name="connsiteY0" fmla="*/ 825500 h 825500"/>
              <a:gd name="connsiteX1" fmla="*/ 0 w 4495800"/>
              <a:gd name="connsiteY1" fmla="*/ 0 h 825500"/>
              <a:gd name="connsiteX2" fmla="*/ 4495800 w 4495800"/>
              <a:gd name="connsiteY2" fmla="*/ 0 h 825500"/>
            </a:gdLst>
            <a:ahLst/>
            <a:cxnLst>
              <a:cxn ang="0">
                <a:pos x="connsiteX0" y="connsiteY0"/>
              </a:cxn>
              <a:cxn ang="0">
                <a:pos x="connsiteX1" y="connsiteY1"/>
              </a:cxn>
              <a:cxn ang="0">
                <a:pos x="connsiteX2" y="connsiteY2"/>
              </a:cxn>
            </a:cxnLst>
            <a:rect l="l" t="t" r="r" b="b"/>
            <a:pathLst>
              <a:path w="4495800" h="825500">
                <a:moveTo>
                  <a:pt x="0" y="825500"/>
                </a:moveTo>
                <a:lnTo>
                  <a:pt x="0" y="0"/>
                </a:lnTo>
                <a:lnTo>
                  <a:pt x="4495800"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5" name="Gerader Verbinder 34">
            <a:extLst>
              <a:ext uri="{FF2B5EF4-FFF2-40B4-BE49-F238E27FC236}">
                <a16:creationId xmlns:a16="http://schemas.microsoft.com/office/drawing/2014/main" id="{91942ABD-0D47-4A06-B6B8-6CC40E271A39}"/>
              </a:ext>
            </a:extLst>
          </p:cNvPr>
          <p:cNvCxnSpPr>
            <a:cxnSpLocks/>
          </p:cNvCxnSpPr>
          <p:nvPr/>
        </p:nvCxnSpPr>
        <p:spPr bwMode="gray">
          <a:xfrm>
            <a:off x="6096000" y="3356992"/>
            <a:ext cx="0" cy="864096"/>
          </a:xfrm>
          <a:prstGeom prst="lin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37" name="Freihandform: Form 36">
            <a:extLst>
              <a:ext uri="{FF2B5EF4-FFF2-40B4-BE49-F238E27FC236}">
                <a16:creationId xmlns:a16="http://schemas.microsoft.com/office/drawing/2014/main" id="{2151C437-A146-4A4A-893B-DB28267A97EE}"/>
              </a:ext>
            </a:extLst>
          </p:cNvPr>
          <p:cNvSpPr/>
          <p:nvPr/>
        </p:nvSpPr>
        <p:spPr bwMode="gray">
          <a:xfrm flipH="1">
            <a:off x="6168015" y="3717032"/>
            <a:ext cx="4392481" cy="504056"/>
          </a:xfrm>
          <a:custGeom>
            <a:avLst/>
            <a:gdLst>
              <a:gd name="connsiteX0" fmla="*/ 0 w 4495800"/>
              <a:gd name="connsiteY0" fmla="*/ 825500 h 825500"/>
              <a:gd name="connsiteX1" fmla="*/ 0 w 4495800"/>
              <a:gd name="connsiteY1" fmla="*/ 0 h 825500"/>
              <a:gd name="connsiteX2" fmla="*/ 4495800 w 4495800"/>
              <a:gd name="connsiteY2" fmla="*/ 0 h 825500"/>
            </a:gdLst>
            <a:ahLst/>
            <a:cxnLst>
              <a:cxn ang="0">
                <a:pos x="connsiteX0" y="connsiteY0"/>
              </a:cxn>
              <a:cxn ang="0">
                <a:pos x="connsiteX1" y="connsiteY1"/>
              </a:cxn>
              <a:cxn ang="0">
                <a:pos x="connsiteX2" y="connsiteY2"/>
              </a:cxn>
            </a:cxnLst>
            <a:rect l="l" t="t" r="r" b="b"/>
            <a:pathLst>
              <a:path w="4495800" h="825500">
                <a:moveTo>
                  <a:pt x="0" y="825500"/>
                </a:moveTo>
                <a:lnTo>
                  <a:pt x="0" y="0"/>
                </a:lnTo>
                <a:lnTo>
                  <a:pt x="4495800"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9" name="Gerader Verbinder 38">
            <a:extLst>
              <a:ext uri="{FF2B5EF4-FFF2-40B4-BE49-F238E27FC236}">
                <a16:creationId xmlns:a16="http://schemas.microsoft.com/office/drawing/2014/main" id="{5D106DE8-7A49-4EE5-8779-0A3E8EE5493C}"/>
              </a:ext>
            </a:extLst>
          </p:cNvPr>
          <p:cNvCxnSpPr>
            <a:cxnSpLocks/>
          </p:cNvCxnSpPr>
          <p:nvPr/>
        </p:nvCxnSpPr>
        <p:spPr bwMode="gray">
          <a:xfrm>
            <a:off x="3845696" y="3789040"/>
            <a:ext cx="0" cy="432000"/>
          </a:xfrm>
          <a:prstGeom prst="lin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 name="Gerader Verbinder 41">
            <a:extLst>
              <a:ext uri="{FF2B5EF4-FFF2-40B4-BE49-F238E27FC236}">
                <a16:creationId xmlns:a16="http://schemas.microsoft.com/office/drawing/2014/main" id="{2925D95A-6C01-4E52-9746-A5AE1EAF5954}"/>
              </a:ext>
            </a:extLst>
          </p:cNvPr>
          <p:cNvCxnSpPr>
            <a:cxnSpLocks/>
          </p:cNvCxnSpPr>
          <p:nvPr/>
        </p:nvCxnSpPr>
        <p:spPr bwMode="gray">
          <a:xfrm>
            <a:off x="8346304" y="3789040"/>
            <a:ext cx="0" cy="432000"/>
          </a:xfrm>
          <a:prstGeom prst="lin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44" name="Textplatzhalter 3">
            <a:extLst>
              <a:ext uri="{FF2B5EF4-FFF2-40B4-BE49-F238E27FC236}">
                <a16:creationId xmlns:a16="http://schemas.microsoft.com/office/drawing/2014/main" id="{52AE64A5-D1B2-4509-A18D-32307E2C695E}"/>
              </a:ext>
            </a:extLst>
          </p:cNvPr>
          <p:cNvSpPr txBox="1">
            <a:spLocks/>
          </p:cNvSpPr>
          <p:nvPr/>
        </p:nvSpPr>
        <p:spPr bwMode="gray">
          <a:xfrm>
            <a:off x="5124000" y="2492896"/>
            <a:ext cx="1944000" cy="504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r>
              <a:rPr lang="en-US" sz="2000" dirty="0">
                <a:solidFill>
                  <a:srgbClr val="4C73C0"/>
                </a:solidFill>
                <a:latin typeface="DraegerSanLig"/>
              </a:rPr>
              <a:t>Lorem ipsum dolor sit amet</a:t>
            </a:r>
            <a:endParaRPr lang="en-US" dirty="0">
              <a:solidFill>
                <a:schemeClr val="accent5"/>
              </a:solidFill>
              <a:latin typeface="+mn-lt"/>
            </a:endParaRPr>
          </a:p>
        </p:txBody>
      </p:sp>
      <p:sp>
        <p:nvSpPr>
          <p:cNvPr id="4" name="Fußzeilenplatzhalter 3">
            <a:extLst>
              <a:ext uri="{FF2B5EF4-FFF2-40B4-BE49-F238E27FC236}">
                <a16:creationId xmlns:a16="http://schemas.microsoft.com/office/drawing/2014/main" id="{D99D0C29-8D24-4820-878B-0E8815FC62C7}"/>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3" name="Foliennummernplatzhalter 2">
            <a:extLst>
              <a:ext uri="{FF2B5EF4-FFF2-40B4-BE49-F238E27FC236}">
                <a16:creationId xmlns:a16="http://schemas.microsoft.com/office/drawing/2014/main" id="{9E901013-1690-4320-AE33-4FC0D14BE79A}"/>
              </a:ext>
            </a:extLst>
          </p:cNvPr>
          <p:cNvSpPr>
            <a:spLocks noGrp="1"/>
          </p:cNvSpPr>
          <p:nvPr>
            <p:ph type="sldNum" sz="quarter" idx="12"/>
          </p:nvPr>
        </p:nvSpPr>
        <p:spPr/>
        <p:txBody>
          <a:bodyPr/>
          <a:lstStyle/>
          <a:p>
            <a:fld id="{CE82B8A1-0CCE-4815-9668-383D7DE7D8B4}" type="slidenum">
              <a:rPr lang="en-US" noProof="0" smtClean="0"/>
              <a:t>98</a:t>
            </a:fld>
            <a:endParaRPr lang="en-US" noProof="0" dirty="0"/>
          </a:p>
        </p:txBody>
      </p:sp>
    </p:spTree>
    <p:extLst>
      <p:ext uri="{BB962C8B-B14F-4D97-AF65-F5344CB8AC3E}">
        <p14:creationId xmlns:p14="http://schemas.microsoft.com/office/powerpoint/2010/main" val="43741157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15715F2-075A-432B-8F7F-2C2EC905F9A6}"/>
              </a:ext>
            </a:extLst>
          </p:cNvPr>
          <p:cNvSpPr>
            <a:spLocks noGrp="1"/>
          </p:cNvSpPr>
          <p:nvPr>
            <p:ph type="title"/>
          </p:nvPr>
        </p:nvSpPr>
        <p:spPr bwMode="gray"/>
        <p:txBody>
          <a:bodyPr/>
          <a:lstStyle/>
          <a:p>
            <a:r>
              <a:rPr lang="en-US" dirty="0"/>
              <a:t>In numbers</a:t>
            </a:r>
          </a:p>
        </p:txBody>
      </p:sp>
      <p:graphicFrame>
        <p:nvGraphicFramePr>
          <p:cNvPr id="20" name="Inhaltsplatzhalter 8">
            <a:extLst>
              <a:ext uri="{FF2B5EF4-FFF2-40B4-BE49-F238E27FC236}">
                <a16:creationId xmlns:a16="http://schemas.microsoft.com/office/drawing/2014/main" id="{D4E08E4A-503F-46D7-8B3E-DCDE1702314B}"/>
              </a:ext>
            </a:extLst>
          </p:cNvPr>
          <p:cNvGraphicFramePr>
            <a:graphicFrameLocks/>
          </p:cNvGraphicFramePr>
          <p:nvPr>
            <p:extLst>
              <p:ext uri="{D42A27DB-BD31-4B8C-83A1-F6EECF244321}">
                <p14:modId xmlns:p14="http://schemas.microsoft.com/office/powerpoint/2010/main" val="1269238352"/>
              </p:ext>
            </p:extLst>
          </p:nvPr>
        </p:nvGraphicFramePr>
        <p:xfrm>
          <a:off x="282402" y="1628800"/>
          <a:ext cx="2245422" cy="222101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4" name="Inhaltsplatzhalter 8">
            <a:extLst>
              <a:ext uri="{FF2B5EF4-FFF2-40B4-BE49-F238E27FC236}">
                <a16:creationId xmlns:a16="http://schemas.microsoft.com/office/drawing/2014/main" id="{88300AAF-5688-4BF5-ABB8-B3E9B944D5AF}"/>
              </a:ext>
            </a:extLst>
          </p:cNvPr>
          <p:cNvGraphicFramePr>
            <a:graphicFrameLocks/>
          </p:cNvGraphicFramePr>
          <p:nvPr>
            <p:extLst>
              <p:ext uri="{D42A27DB-BD31-4B8C-83A1-F6EECF244321}">
                <p14:modId xmlns:p14="http://schemas.microsoft.com/office/powerpoint/2010/main" val="3415363837"/>
              </p:ext>
            </p:extLst>
          </p:nvPr>
        </p:nvGraphicFramePr>
        <p:xfrm>
          <a:off x="4099010" y="1628800"/>
          <a:ext cx="2245422" cy="222101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Inhaltsplatzhalter 8">
            <a:extLst>
              <a:ext uri="{FF2B5EF4-FFF2-40B4-BE49-F238E27FC236}">
                <a16:creationId xmlns:a16="http://schemas.microsoft.com/office/drawing/2014/main" id="{F327EF85-C976-465A-8C1A-2B322FC26326}"/>
              </a:ext>
            </a:extLst>
          </p:cNvPr>
          <p:cNvGraphicFramePr>
            <a:graphicFrameLocks/>
          </p:cNvGraphicFramePr>
          <p:nvPr>
            <p:extLst>
              <p:ext uri="{D42A27DB-BD31-4B8C-83A1-F6EECF244321}">
                <p14:modId xmlns:p14="http://schemas.microsoft.com/office/powerpoint/2010/main" val="1741007980"/>
              </p:ext>
            </p:extLst>
          </p:nvPr>
        </p:nvGraphicFramePr>
        <p:xfrm>
          <a:off x="7915618" y="1628800"/>
          <a:ext cx="2245422" cy="2221016"/>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platzhalter 15">
            <a:extLst>
              <a:ext uri="{FF2B5EF4-FFF2-40B4-BE49-F238E27FC236}">
                <a16:creationId xmlns:a16="http://schemas.microsoft.com/office/drawing/2014/main" id="{6536E43F-71D0-4C00-9B07-A70157D3C104}"/>
              </a:ext>
            </a:extLst>
          </p:cNvPr>
          <p:cNvSpPr txBox="1">
            <a:spLocks/>
          </p:cNvSpPr>
          <p:nvPr/>
        </p:nvSpPr>
        <p:spPr bwMode="gray">
          <a:xfrm>
            <a:off x="623392" y="4437264"/>
            <a:ext cx="3312000" cy="1368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Maecenas porttitor congue massa. Fusce posuere, magna sed pulvinar ultricies, purus lectus malesuada libero, sit amet commodo magna eros quis urna</a:t>
            </a:r>
          </a:p>
        </p:txBody>
      </p:sp>
      <p:sp>
        <p:nvSpPr>
          <p:cNvPr id="16" name="Textplatzhalter 15">
            <a:extLst>
              <a:ext uri="{FF2B5EF4-FFF2-40B4-BE49-F238E27FC236}">
                <a16:creationId xmlns:a16="http://schemas.microsoft.com/office/drawing/2014/main" id="{FA1195DB-21B4-4913-B3DF-A8CB248D3524}"/>
              </a:ext>
            </a:extLst>
          </p:cNvPr>
          <p:cNvSpPr txBox="1">
            <a:spLocks/>
          </p:cNvSpPr>
          <p:nvPr/>
        </p:nvSpPr>
        <p:spPr bwMode="gray">
          <a:xfrm>
            <a:off x="4439808" y="4437264"/>
            <a:ext cx="3312000" cy="1368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Maecenas porttitor congue massa. Fusce posuere, magna sed pulvinar ultricies, purus lectus malesuada libero, sit amet commodo magna eros quis urna</a:t>
            </a:r>
          </a:p>
        </p:txBody>
      </p:sp>
      <p:sp>
        <p:nvSpPr>
          <p:cNvPr id="18" name="Textplatzhalter 15">
            <a:extLst>
              <a:ext uri="{FF2B5EF4-FFF2-40B4-BE49-F238E27FC236}">
                <a16:creationId xmlns:a16="http://schemas.microsoft.com/office/drawing/2014/main" id="{ECAEA17B-71AF-4B2A-BA6F-E48E2C572905}"/>
              </a:ext>
            </a:extLst>
          </p:cNvPr>
          <p:cNvSpPr txBox="1">
            <a:spLocks/>
          </p:cNvSpPr>
          <p:nvPr/>
        </p:nvSpPr>
        <p:spPr bwMode="gray">
          <a:xfrm>
            <a:off x="8256608" y="4437264"/>
            <a:ext cx="3312000" cy="1368000"/>
          </a:xfrm>
          <a:prstGeom prst="rect">
            <a:avLst/>
          </a:prstGeom>
        </p:spPr>
        <p:txBody>
          <a:bodyPr lIns="0" tIns="0" rIns="0" bIns="0"/>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a:lstStyle>
          <a:p>
            <a:pPr lvl="1"/>
            <a:r>
              <a:rPr lang="en-US" dirty="0"/>
              <a:t>Maecenas porttitor congue massa. Fusce posuere, magna sed pulvinar ultricies, purus lectus malesuada libero, sit amet commodo magna eros quis urna</a:t>
            </a:r>
          </a:p>
        </p:txBody>
      </p:sp>
      <p:sp>
        <p:nvSpPr>
          <p:cNvPr id="13" name="Textplatzhalter 3">
            <a:extLst>
              <a:ext uri="{FF2B5EF4-FFF2-40B4-BE49-F238E27FC236}">
                <a16:creationId xmlns:a16="http://schemas.microsoft.com/office/drawing/2014/main" id="{E87AEEFE-2A57-47A7-A733-AE3E4BF9AFBD}"/>
              </a:ext>
            </a:extLst>
          </p:cNvPr>
          <p:cNvSpPr txBox="1">
            <a:spLocks/>
          </p:cNvSpPr>
          <p:nvPr/>
        </p:nvSpPr>
        <p:spPr bwMode="gray">
          <a:xfrm>
            <a:off x="623392" y="3645024"/>
            <a:ext cx="3312000" cy="648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5400" dirty="0">
                <a:solidFill>
                  <a:schemeClr val="accent5"/>
                </a:solidFill>
              </a:rPr>
              <a:t>70%</a:t>
            </a:r>
          </a:p>
        </p:txBody>
      </p:sp>
      <p:sp>
        <p:nvSpPr>
          <p:cNvPr id="17" name="Textplatzhalter 3">
            <a:extLst>
              <a:ext uri="{FF2B5EF4-FFF2-40B4-BE49-F238E27FC236}">
                <a16:creationId xmlns:a16="http://schemas.microsoft.com/office/drawing/2014/main" id="{66AA880C-E648-4D27-B3BF-B87094D74C9E}"/>
              </a:ext>
            </a:extLst>
          </p:cNvPr>
          <p:cNvSpPr txBox="1">
            <a:spLocks/>
          </p:cNvSpPr>
          <p:nvPr/>
        </p:nvSpPr>
        <p:spPr bwMode="gray">
          <a:xfrm>
            <a:off x="4439808" y="3645024"/>
            <a:ext cx="3312000" cy="648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5400" dirty="0">
                <a:solidFill>
                  <a:schemeClr val="accent5"/>
                </a:solidFill>
              </a:rPr>
              <a:t>30%</a:t>
            </a:r>
          </a:p>
        </p:txBody>
      </p:sp>
      <p:sp>
        <p:nvSpPr>
          <p:cNvPr id="19" name="Textplatzhalter 3">
            <a:extLst>
              <a:ext uri="{FF2B5EF4-FFF2-40B4-BE49-F238E27FC236}">
                <a16:creationId xmlns:a16="http://schemas.microsoft.com/office/drawing/2014/main" id="{6E173E99-1E0D-45E4-B570-51B46D76CB26}"/>
              </a:ext>
            </a:extLst>
          </p:cNvPr>
          <p:cNvSpPr txBox="1">
            <a:spLocks/>
          </p:cNvSpPr>
          <p:nvPr/>
        </p:nvSpPr>
        <p:spPr bwMode="gray">
          <a:xfrm>
            <a:off x="8256608" y="3645024"/>
            <a:ext cx="3312000" cy="648000"/>
          </a:xfrm>
          <a:prstGeom prst="rect">
            <a:avLst/>
          </a:prstGeom>
        </p:spPr>
        <p:txBody>
          <a:bodyPr wrap="none" lIns="0" tIns="0" rIns="0" bIns="0" anchor="ctr"/>
          <a:lstStyle>
            <a:lvl1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1pPr>
            <a:lvl2pPr marL="0" indent="0" algn="ctr" defTabSz="914400" rtl="0" eaLnBrk="1" latinLnBrk="0" hangingPunct="1">
              <a:spcBef>
                <a:spcPts val="0"/>
              </a:spcBef>
              <a:buFont typeface="Arial" panose="020B0604020202020204" pitchFamily="34" charset="0"/>
              <a:buNone/>
              <a:defRPr sz="6000" kern="1200">
                <a:solidFill>
                  <a:schemeClr val="accent1"/>
                </a:solidFill>
                <a:latin typeface="+mj-lt"/>
                <a:ea typeface="+mn-ea"/>
                <a:cs typeface="+mn-cs"/>
              </a:defRPr>
            </a:lvl2pPr>
            <a:lvl3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3pPr>
            <a:lvl4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4pPr>
            <a:lvl5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5pPr>
            <a:lvl6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6pPr>
            <a:lvl7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7pPr>
            <a:lvl8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8pPr>
            <a:lvl9pPr marL="0" indent="0" algn="ctr" defTabSz="914400" rtl="0" eaLnBrk="1" latinLnBrk="0" hangingPunct="1">
              <a:spcBef>
                <a:spcPts val="0"/>
              </a:spcBef>
              <a:buFont typeface="Symbol" panose="05050102010706020507" pitchFamily="18" charset="2"/>
              <a:buNone/>
              <a:defRPr sz="6000" kern="1200">
                <a:solidFill>
                  <a:schemeClr val="accent1"/>
                </a:solidFill>
                <a:latin typeface="+mj-lt"/>
                <a:ea typeface="+mn-ea"/>
                <a:cs typeface="+mn-cs"/>
              </a:defRPr>
            </a:lvl9pPr>
          </a:lstStyle>
          <a:p>
            <a:pPr algn="l"/>
            <a:r>
              <a:rPr lang="en-US" sz="5400" dirty="0">
                <a:solidFill>
                  <a:schemeClr val="accent5"/>
                </a:solidFill>
              </a:rPr>
              <a:t>95%</a:t>
            </a:r>
          </a:p>
        </p:txBody>
      </p:sp>
      <p:sp>
        <p:nvSpPr>
          <p:cNvPr id="4" name="Fußzeilenplatzhalter 3">
            <a:extLst>
              <a:ext uri="{FF2B5EF4-FFF2-40B4-BE49-F238E27FC236}">
                <a16:creationId xmlns:a16="http://schemas.microsoft.com/office/drawing/2014/main" id="{2854B8D9-F2D1-40ED-AC79-F7DD14E2D482}"/>
              </a:ext>
            </a:extLst>
          </p:cNvPr>
          <p:cNvSpPr>
            <a:spLocks noGrp="1"/>
          </p:cNvSpPr>
          <p:nvPr>
            <p:ph type="ftr" sz="quarter" idx="13"/>
          </p:nvPr>
        </p:nvSpPr>
        <p:spPr bwMode="gray"/>
        <p:txBody>
          <a:bodyPr/>
          <a:lstStyle/>
          <a:p>
            <a:r>
              <a:rPr lang="en-US"/>
              <a:t>Footnote: Please insert appropriate company</a:t>
            </a:r>
            <a:endParaRPr lang="de-DE" dirty="0"/>
          </a:p>
        </p:txBody>
      </p:sp>
      <p:sp>
        <p:nvSpPr>
          <p:cNvPr id="2" name="Foliennummernplatzhalter 1">
            <a:extLst>
              <a:ext uri="{FF2B5EF4-FFF2-40B4-BE49-F238E27FC236}">
                <a16:creationId xmlns:a16="http://schemas.microsoft.com/office/drawing/2014/main" id="{47AC87B1-EA6C-4808-B379-FD0F5A60B258}"/>
              </a:ext>
            </a:extLst>
          </p:cNvPr>
          <p:cNvSpPr>
            <a:spLocks noGrp="1"/>
          </p:cNvSpPr>
          <p:nvPr>
            <p:ph type="sldNum" sz="quarter" idx="12"/>
          </p:nvPr>
        </p:nvSpPr>
        <p:spPr/>
        <p:txBody>
          <a:bodyPr/>
          <a:lstStyle/>
          <a:p>
            <a:fld id="{CE82B8A1-0CCE-4815-9668-383D7DE7D8B4}" type="slidenum">
              <a:rPr lang="en-US" noProof="0" smtClean="0"/>
              <a:t>99</a:t>
            </a:fld>
            <a:endParaRPr lang="en-US" noProof="0" dirty="0"/>
          </a:p>
        </p:txBody>
      </p:sp>
    </p:spTree>
    <p:extLst>
      <p:ext uri="{BB962C8B-B14F-4D97-AF65-F5344CB8AC3E}">
        <p14:creationId xmlns:p14="http://schemas.microsoft.com/office/powerpoint/2010/main" val="11513627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_BODYSTYLE" val="1"/>
  <p:tag name="THINKCELLSHAPEDONOTDELETE" val="pmoAfLHtdAUyz1npfI_.0fA"/>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VCT_BODYSTYLE" val="1"/>
  <p:tag name="THINKCELLSHAPEDONOTDELETE" val="pmoAfLHtdAUyz1npfI_.0fA"/>
</p:tagLst>
</file>

<file path=ppt/tags/tag3.xml><?xml version="1.0" encoding="utf-8"?>
<p:tagLst xmlns:a="http://schemas.openxmlformats.org/drawingml/2006/main" xmlns:r="http://schemas.openxmlformats.org/officeDocument/2006/relationships" xmlns:p="http://schemas.openxmlformats.org/presentationml/2006/main">
  <p:tag name="VCT_BODYSTYLE" val="1"/>
  <p:tag name="THINKCELLSHAPEDONOTDELETE" val="pmoAfLHtdAUyz1npfI_.0fA"/>
</p:tagLst>
</file>

<file path=ppt/tags/tag4.xml><?xml version="1.0" encoding="utf-8"?>
<p:tagLst xmlns:a="http://schemas.openxmlformats.org/drawingml/2006/main" xmlns:r="http://schemas.openxmlformats.org/officeDocument/2006/relationships" xmlns:p="http://schemas.openxmlformats.org/presentationml/2006/main">
  <p:tag name="VCT_BODYSTYLE" val="1"/>
  <p:tag name="THINKCELLSHAPEDONOTDELETE" val="pmoAfLHtdAUyz1npfI_.0fA"/>
</p:tagLst>
</file>

<file path=ppt/tags/tag5.xml><?xml version="1.0" encoding="utf-8"?>
<p:tagLst xmlns:a="http://schemas.openxmlformats.org/drawingml/2006/main" xmlns:r="http://schemas.openxmlformats.org/officeDocument/2006/relationships" xmlns:p="http://schemas.openxmlformats.org/presentationml/2006/main">
  <p:tag name="VCT_BODYSTYLE" val="1"/>
  <p:tag name="THINKCELLSHAPEDONOTDELETE" val="pmoAfLHtdAUyz1npfI_.0fA"/>
</p:tagLst>
</file>

<file path=ppt/tags/tag6.xml><?xml version="1.0" encoding="utf-8"?>
<p:tagLst xmlns:a="http://schemas.openxmlformats.org/drawingml/2006/main" xmlns:r="http://schemas.openxmlformats.org/officeDocument/2006/relationships" xmlns:p="http://schemas.openxmlformats.org/presentationml/2006/main">
  <p:tag name="VCT_BODYSTYLE" val="1"/>
  <p:tag name="THINKCELLSHAPEDONOTDELETE" val="pmoAfLHtdAUyz1npfI_.0fA"/>
</p:tagLst>
</file>

<file path=ppt/tags/tag7.xml><?xml version="1.0" encoding="utf-8"?>
<p:tagLst xmlns:a="http://schemas.openxmlformats.org/drawingml/2006/main" xmlns:r="http://schemas.openxmlformats.org/officeDocument/2006/relationships" xmlns:p="http://schemas.openxmlformats.org/presentationml/2006/main">
  <p:tag name="VCT_BODYSTYLE" val="1"/>
  <p:tag name="THINKCELLSHAPEDONOTDELETE" val="pmoAfLHtdAUyz1npfI_.0fA"/>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Drägerwerk AG &amp; Co. KGaA">
  <a:themeElements>
    <a:clrScheme name="Dräger">
      <a:dk1>
        <a:srgbClr val="1E1E1E"/>
      </a:dk1>
      <a:lt1>
        <a:sysClr val="window" lastClr="FFFFFF"/>
      </a:lt1>
      <a:dk2>
        <a:srgbClr val="E8DED1"/>
      </a:dk2>
      <a:lt2>
        <a:srgbClr val="DCDCDC"/>
      </a:lt2>
      <a:accent1>
        <a:srgbClr val="0038A6"/>
      </a:accent1>
      <a:accent2>
        <a:srgbClr val="98AFDB"/>
      </a:accent2>
      <a:accent3>
        <a:srgbClr val="96D5EA"/>
      </a:accent3>
      <a:accent4>
        <a:srgbClr val="B9C54A"/>
      </a:accent4>
      <a:accent5>
        <a:srgbClr val="4C73C0"/>
      </a:accent5>
      <a:accent6>
        <a:srgbClr val="F6A800"/>
      </a:accent6>
      <a:hlink>
        <a:srgbClr val="1E1E1E"/>
      </a:hlink>
      <a:folHlink>
        <a:srgbClr val="1E1E1E"/>
      </a:folHlink>
    </a:clrScheme>
    <a:fontScheme name="Benutzerdefiniert 12">
      <a:majorFont>
        <a:latin typeface="DraegerSanBol"/>
        <a:ea typeface=""/>
        <a:cs typeface=""/>
      </a:majorFont>
      <a:minorFont>
        <a:latin typeface="DraegerSanLig"/>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w="12700">
          <a:solidFill>
            <a:schemeClr val="accent5"/>
          </a:solidFill>
        </a:ln>
      </a:spPr>
      <a:bodyPr lIns="108000" tIns="72000" rIns="108000" bIns="72000"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noAutofit/>
      </a:bodyPr>
      <a:lstStyle>
        <a:defPPr marL="180975" indent="-180975" algn="l">
          <a:buFont typeface="Symbol" panose="05050102010706020507" pitchFamily="18" charset="2"/>
          <a:buChar char="-"/>
          <a:defRPr sz="1600" dirty="0" err="1" smtClean="0"/>
        </a:defPPr>
      </a:lstStyle>
    </a:txDef>
  </a:objectDefaults>
  <a:extraClrSchemeLst/>
  <a:extLst>
    <a:ext uri="{05A4C25C-085E-4340-85A3-A5531E510DB2}">
      <thm15:themeFamily xmlns:thm15="http://schemas.microsoft.com/office/thememl/2012/main" name="Präsentation4" id="{3C7E19B5-47C9-4272-B156-4AA92C29FB80}" vid="{B5D63AC0-DDB8-40EF-B2F6-5972D6C91EDD}"/>
    </a:ext>
  </a:extLst>
</a:theme>
</file>

<file path=ppt/theme/theme2.xml><?xml version="1.0" encoding="utf-8"?>
<a:theme xmlns:a="http://schemas.openxmlformats.org/drawingml/2006/main" name="Office">
  <a:themeElements>
    <a:clrScheme name="Dräger">
      <a:dk1>
        <a:srgbClr val="1E1E1E"/>
      </a:dk1>
      <a:lt1>
        <a:sysClr val="window" lastClr="FFFFFF"/>
      </a:lt1>
      <a:dk2>
        <a:srgbClr val="E8DED1"/>
      </a:dk2>
      <a:lt2>
        <a:srgbClr val="DCDCDC"/>
      </a:lt2>
      <a:accent1>
        <a:srgbClr val="0038A6"/>
      </a:accent1>
      <a:accent2>
        <a:srgbClr val="98AFDB"/>
      </a:accent2>
      <a:accent3>
        <a:srgbClr val="96D5EA"/>
      </a:accent3>
      <a:accent4>
        <a:srgbClr val="B9C54A"/>
      </a:accent4>
      <a:accent5>
        <a:srgbClr val="4C73C0"/>
      </a:accent5>
      <a:accent6>
        <a:srgbClr val="F6A800"/>
      </a:accent6>
      <a:hlink>
        <a:srgbClr val="1E1E1E"/>
      </a:hlink>
      <a:folHlink>
        <a:srgbClr val="1E1E1E"/>
      </a:folHlink>
    </a:clrScheme>
    <a:fontScheme name="Benutzerdefiniert 10">
      <a:majorFont>
        <a:latin typeface="DraegerSanTabBol"/>
        <a:ea typeface=""/>
        <a:cs typeface=""/>
      </a:majorFont>
      <a:minorFont>
        <a:latin typeface="DraegerSanLi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12700">
          <a:solidFill>
            <a:schemeClr val="accent5"/>
          </a:solidFill>
        </a:ln>
      </a:spPr>
      <a:bodyPr lIns="108000" tIns="72000" rIns="108000" bIns="72000"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noAutofit/>
      </a:bodyPr>
      <a:lstStyle>
        <a:defPPr marL="180975" indent="-180975" algn="l">
          <a:buFont typeface="Symbol" panose="05050102010706020507" pitchFamily="18" charset="2"/>
          <a:buChar char="-"/>
          <a:defRPr sz="16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Dräger">
      <a:dk1>
        <a:srgbClr val="1E1E1E"/>
      </a:dk1>
      <a:lt1>
        <a:sysClr val="window" lastClr="FFFFFF"/>
      </a:lt1>
      <a:dk2>
        <a:srgbClr val="E8DED1"/>
      </a:dk2>
      <a:lt2>
        <a:srgbClr val="DCDCDC"/>
      </a:lt2>
      <a:accent1>
        <a:srgbClr val="0038A6"/>
      </a:accent1>
      <a:accent2>
        <a:srgbClr val="98AFDB"/>
      </a:accent2>
      <a:accent3>
        <a:srgbClr val="96D5EA"/>
      </a:accent3>
      <a:accent4>
        <a:srgbClr val="B9C54A"/>
      </a:accent4>
      <a:accent5>
        <a:srgbClr val="4C73C0"/>
      </a:accent5>
      <a:accent6>
        <a:srgbClr val="F6A800"/>
      </a:accent6>
      <a:hlink>
        <a:srgbClr val="1E1E1E"/>
      </a:hlink>
      <a:folHlink>
        <a:srgbClr val="1E1E1E"/>
      </a:folHlink>
    </a:clrScheme>
    <a:fontScheme name="Benutzerdefiniert 10">
      <a:majorFont>
        <a:latin typeface="DraegerSanTabBol"/>
        <a:ea typeface=""/>
        <a:cs typeface=""/>
      </a:majorFont>
      <a:minorFont>
        <a:latin typeface="DraegerSanLi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12700">
          <a:solidFill>
            <a:schemeClr val="accent5"/>
          </a:solidFill>
        </a:ln>
      </a:spPr>
      <a:bodyPr lIns="108000" tIns="72000" rIns="108000" bIns="72000"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noAutofit/>
      </a:bodyPr>
      <a:lstStyle>
        <a:defPPr marL="180975" indent="-180975" algn="l">
          <a:buFont typeface="Symbol" panose="05050102010706020507" pitchFamily="18" charset="2"/>
          <a:buChar char="-"/>
          <a:defRPr sz="16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ED84611006D2142923DF5A8A68DAB90" ma:contentTypeVersion="10" ma:contentTypeDescription="Create a new document." ma:contentTypeScope="" ma:versionID="87ce73b4793bb5a744d95b0d147f920e">
  <xsd:schema xmlns:xsd="http://www.w3.org/2001/XMLSchema" xmlns:xs="http://www.w3.org/2001/XMLSchema" xmlns:p="http://schemas.microsoft.com/office/2006/metadata/properties" xmlns:ns3="ae25de60-3943-4b33-a85e-7a8eb6a034f4" xmlns:ns4="347ac68b-a777-4edb-8956-ce5a2417be90" targetNamespace="http://schemas.microsoft.com/office/2006/metadata/properties" ma:root="true" ma:fieldsID="2ae9d2e728e20a30a623415100be5c29" ns3:_="" ns4:_="">
    <xsd:import namespace="ae25de60-3943-4b33-a85e-7a8eb6a034f4"/>
    <xsd:import namespace="347ac68b-a777-4edb-8956-ce5a2417be90"/>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DateTaken" minOccurs="0"/>
                <xsd:element ref="ns4:SharedWithUsers" minOccurs="0"/>
                <xsd:element ref="ns4:SharedWithDetails" minOccurs="0"/>
                <xsd:element ref="ns4:SharingHintHash"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25de60-3943-4b33-a85e-7a8eb6a034f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47ac68b-a777-4edb-8956-ce5a2417be90"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3D49529-2A7D-462B-96C6-E4FFC5145B5E}">
  <ds:schemaRefs>
    <ds:schemaRef ds:uri="http://schemas.microsoft.com/sharepoint/v3/contenttype/forms"/>
  </ds:schemaRefs>
</ds:datastoreItem>
</file>

<file path=customXml/itemProps2.xml><?xml version="1.0" encoding="utf-8"?>
<ds:datastoreItem xmlns:ds="http://schemas.openxmlformats.org/officeDocument/2006/customXml" ds:itemID="{B1079C7E-4B28-4024-873C-645A381FEAFA}">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ae25de60-3943-4b33-a85e-7a8eb6a034f4"/>
    <ds:schemaRef ds:uri="http://purl.org/dc/terms/"/>
    <ds:schemaRef ds:uri="http://schemas.openxmlformats.org/package/2006/metadata/core-properties"/>
    <ds:schemaRef ds:uri="347ac68b-a777-4edb-8956-ce5a2417be90"/>
    <ds:schemaRef ds:uri="http://www.w3.org/XML/1998/namespace"/>
    <ds:schemaRef ds:uri="http://purl.org/dc/dcmitype/"/>
  </ds:schemaRefs>
</ds:datastoreItem>
</file>

<file path=customXml/itemProps3.xml><?xml version="1.0" encoding="utf-8"?>
<ds:datastoreItem xmlns:ds="http://schemas.openxmlformats.org/officeDocument/2006/customXml" ds:itemID="{2698145E-9C05-421A-970B-F441115F1D7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e25de60-3943-4b33-a85e-7a8eb6a034f4"/>
    <ds:schemaRef ds:uri="347ac68b-a777-4edb-8956-ce5a2417be9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raeger_2_Slide-Library_EN</Template>
  <TotalTime>200</TotalTime>
  <Words>10999</Words>
  <Application>Microsoft Office PowerPoint</Application>
  <PresentationFormat>Panorámica</PresentationFormat>
  <Paragraphs>1742</Paragraphs>
  <Slides>129</Slides>
  <Notes>2</Notes>
  <HiddenSlides>0</HiddenSlides>
  <MMClips>0</MMClips>
  <ScaleCrop>false</ScaleCrop>
  <HeadingPairs>
    <vt:vector size="6" baseType="variant">
      <vt:variant>
        <vt:lpstr>Fuentes usadas</vt:lpstr>
      </vt:variant>
      <vt:variant>
        <vt:i4>8</vt:i4>
      </vt:variant>
      <vt:variant>
        <vt:lpstr>Tema</vt:lpstr>
      </vt:variant>
      <vt:variant>
        <vt:i4>1</vt:i4>
      </vt:variant>
      <vt:variant>
        <vt:lpstr>Títulos de diapositiva</vt:lpstr>
      </vt:variant>
      <vt:variant>
        <vt:i4>129</vt:i4>
      </vt:variant>
    </vt:vector>
  </HeadingPairs>
  <TitlesOfParts>
    <vt:vector size="138" baseType="lpstr">
      <vt:lpstr>Arial</vt:lpstr>
      <vt:lpstr>Calibri</vt:lpstr>
      <vt:lpstr>DraegerSanBol</vt:lpstr>
      <vt:lpstr>DraegerSanLig</vt:lpstr>
      <vt:lpstr>DraegerWalbaum</vt:lpstr>
      <vt:lpstr>Symbol</vt:lpstr>
      <vt:lpstr>Wingdings</vt:lpstr>
      <vt:lpstr>Wingdings 2</vt:lpstr>
      <vt:lpstr>Drägerwerk AG &amp; Co. KGaA</vt:lpstr>
      <vt:lpstr>Embedding the corporate fonts</vt:lpstr>
      <vt:lpstr>Database: Dräger Zonza</vt:lpstr>
      <vt:lpstr>Mark intended use</vt:lpstr>
      <vt:lpstr>Colour Maps</vt:lpstr>
      <vt:lpstr>Presentación de PowerPoint</vt:lpstr>
      <vt:lpstr>Lorem ipsum dolor sit amet</vt:lpstr>
      <vt:lpstr>Title layout for long presentation titles  adipiscing elit Maecenas porttitor congue massa</vt:lpstr>
      <vt:lpstr>Lorem ipsum dolor sit amet</vt:lpstr>
      <vt:lpstr>I'm a chapter divider.  Lorem ipsum dolor sit amet, consectetuer adipiscing elit. Maecenas porttitor congue massa. </vt:lpstr>
      <vt:lpstr>Lorem ipsum dolor sit amet, consectetuer adipiscing elit</vt:lpstr>
      <vt:lpstr>Lorem ipsum dolor sit amet, consectetuer adipiscing elit</vt:lpstr>
      <vt:lpstr>Lorem ipsum dolor sit amet, consectetuer adipiscing elit</vt:lpstr>
      <vt:lpstr>Lorem ipsum dolor sit amet, consectetuer adipiscing elit</vt:lpstr>
      <vt:lpstr>Lorem ipsum dolor sit amet, consectetuer adipiscing elit</vt:lpstr>
      <vt:lpstr>Lorem ipsum dolor sit amet</vt:lpstr>
      <vt:lpstr>Lorem ipsum dolor sit amet</vt:lpstr>
      <vt:lpstr>Lorem ipsum dolor sit amet</vt:lpstr>
      <vt:lpstr>Go to Market</vt:lpstr>
      <vt:lpstr>Lorem ipsum dolor sit amet, consectetuer</vt:lpstr>
      <vt:lpstr>Lorem ipsum dolor sit amet, consectetuer adipiscing elit. Maecenas porttitor congue massa. </vt:lpstr>
      <vt:lpstr>Lorem ipsum dolor sit</vt:lpstr>
      <vt:lpstr>Lorem ipsum dolor sit amet</vt:lpstr>
      <vt:lpstr>Presentación de PowerPoint</vt:lpstr>
      <vt:lpstr>Presentación de PowerPoint</vt:lpstr>
      <vt:lpstr>Presentación de PowerPoint</vt:lpstr>
      <vt:lpstr>Presentación de PowerPoint</vt:lpstr>
      <vt:lpstr>Many thanks</vt:lpstr>
      <vt:lpstr>Presentación de PowerPoint</vt:lpstr>
      <vt:lpstr>Enumeration with numbers</vt:lpstr>
      <vt:lpstr>Enumeration with icons</vt:lpstr>
      <vt:lpstr>Vertical process in four phases</vt:lpstr>
      <vt:lpstr>Enumeration with numbers</vt:lpstr>
      <vt:lpstr>Enumeration with numbers</vt:lpstr>
      <vt:lpstr>Five step process</vt:lpstr>
      <vt:lpstr>Enumeration with headings</vt:lpstr>
      <vt:lpstr>Juxtaposition including conclusion</vt:lpstr>
      <vt:lpstr>Text and traffic lights with highlighting</vt:lpstr>
      <vt:lpstr>Table and traffic lights with highlighting</vt:lpstr>
      <vt:lpstr>Table and traffic lights with highlighting including conclusion</vt:lpstr>
      <vt:lpstr>Driving force</vt:lpstr>
      <vt:lpstr>SWOT Analysis</vt:lpstr>
      <vt:lpstr>Five arguments with highlighting</vt:lpstr>
      <vt:lpstr>Three phases with photos</vt:lpstr>
      <vt:lpstr>Timeline with projects</vt:lpstr>
      <vt:lpstr>Project plan in quarters</vt:lpstr>
      <vt:lpstr>Team overview</vt:lpstr>
      <vt:lpstr>Half pyramid</vt:lpstr>
      <vt:lpstr>Line chart</vt:lpstr>
      <vt:lpstr>Ring diagram with labelling</vt:lpstr>
      <vt:lpstr>Bar chart with connection</vt:lpstr>
      <vt:lpstr>World map with highlighting and diagrams</vt:lpstr>
      <vt:lpstr>World map with highlighting and diagrams</vt:lpstr>
      <vt:lpstr>Presentación de PowerPoint</vt:lpstr>
      <vt:lpstr>Presentación de PowerPoint</vt:lpstr>
      <vt:lpstr>Growth  Lorem ipsum</vt:lpstr>
      <vt:lpstr>Growth  Lorem ipsum</vt:lpstr>
      <vt:lpstr>Presentación de PowerPoint</vt:lpstr>
      <vt:lpstr>Presentación de PowerPoint</vt:lpstr>
      <vt:lpstr>Presentación de PowerPoint</vt:lpstr>
      <vt:lpstr>Presentación de PowerPoint</vt:lpstr>
      <vt:lpstr>Presentación de PowerPoint</vt:lpstr>
      <vt:lpstr>Data visualization lorem ipsum dolor sit amet, consectetuer</vt:lpstr>
      <vt:lpstr>Data visualization lorem ipsum dolor sit amet, consectetuer</vt:lpstr>
      <vt:lpstr>Intersection  of three circles</vt:lpstr>
      <vt:lpstr>Logos plus text</vt:lpstr>
      <vt:lpstr>Map: Germany</vt:lpstr>
      <vt:lpstr>Map: Switzerland</vt:lpstr>
      <vt:lpstr>Map: World Map</vt:lpstr>
      <vt:lpstr> Sales &amp; Service One Dräger</vt:lpstr>
      <vt:lpstr>Europe</vt:lpstr>
      <vt:lpstr>GAS – Germany, Austria &amp; Switzerland</vt:lpstr>
      <vt:lpstr>AAA – Africa, Asia &amp; Australia </vt:lpstr>
      <vt:lpstr>MEA</vt:lpstr>
      <vt:lpstr>North America</vt:lpstr>
      <vt:lpstr>Central and South America (CSA)</vt:lpstr>
      <vt:lpstr>Nunc viverra imperdiet enim Fusce est Vivamus a tellus.</vt:lpstr>
      <vt:lpstr> World Map: Three Regions</vt:lpstr>
      <vt:lpstr>Screenshot on a monitor</vt:lpstr>
      <vt:lpstr>Screenshot on a smartphone</vt:lpstr>
      <vt:lpstr>Note tags for highlighting</vt:lpstr>
      <vt:lpstr>Presentación de PowerPoint</vt:lpstr>
      <vt:lpstr>Presentación de PowerPoint</vt:lpstr>
      <vt:lpstr>Presentación de PowerPoint</vt:lpstr>
      <vt:lpstr>Presentación de PowerPoint</vt:lpstr>
      <vt:lpstr>Lorem ipsum dolor sit amet</vt:lpstr>
      <vt:lpstr>Quotation – Introductory theme with motif</vt:lpstr>
      <vt:lpstr>Presentación de PowerPoint</vt:lpstr>
      <vt:lpstr>Insights/relevance</vt:lpstr>
      <vt:lpstr>Lorem ipsum dolor sit amet</vt:lpstr>
      <vt:lpstr>I'm a chapter divider.  Lorem ipsum dolor sit amet, consectetuer adipiscing elit. Maecenas porttitor congue massa. </vt:lpstr>
      <vt:lpstr>Question</vt:lpstr>
      <vt:lpstr>Challenge</vt:lpstr>
      <vt:lpstr>I'm a chapter divider.  Lorem ipsum dolor sit amet, consectetuer adipiscing elit. Maecenas porttitor congue massa. </vt:lpstr>
      <vt:lpstr>Solution approach</vt:lpstr>
      <vt:lpstr>Measures</vt:lpstr>
      <vt:lpstr>Milestones/timeplan</vt:lpstr>
      <vt:lpstr>I'm a chapter divider.  Lorem ipsum dolor sit amet, consectetuer adipiscing elit. Maecenas porttitor congue massa. </vt:lpstr>
      <vt:lpstr>Set of results</vt:lpstr>
      <vt:lpstr>In numbers</vt:lpstr>
      <vt:lpstr>Presentación de PowerPoint</vt:lpstr>
      <vt:lpstr>Many thanks</vt:lpstr>
      <vt:lpstr>Presentación de PowerPoint</vt:lpstr>
      <vt:lpstr>Presentación de PowerPoint</vt:lpstr>
      <vt:lpstr>Presentación de PowerPoint</vt:lpstr>
      <vt:lpstr>Presentación de PowerPoint</vt:lpstr>
      <vt:lpstr>Lorem ipsum dolor sit amet</vt:lpstr>
      <vt:lpstr>Lorem ipsum dolor sit amet, consectetuer adipiscing elit. Maecenas porttitor congue massa. Fusce posuere, magna sed pulvinar ultricies </vt:lpstr>
      <vt:lpstr>Presentación de PowerPoint</vt:lpstr>
      <vt:lpstr>Presentación de PowerPoint</vt:lpstr>
      <vt:lpstr>Presentación de PowerPoint</vt:lpstr>
      <vt:lpstr>Presentación de PowerPoint</vt:lpstr>
      <vt:lpstr>Business case</vt:lpstr>
      <vt:lpstr>Presentación de PowerPoint</vt:lpstr>
      <vt:lpstr>Many Thanks</vt:lpstr>
      <vt:lpstr>Presentación de PowerPoint</vt:lpstr>
      <vt:lpstr>Presentación de PowerPoint</vt:lpstr>
      <vt:lpstr>Lorem ipsum dolor sit amet</vt:lpstr>
      <vt:lpstr>Lorem ipsum dolor sit amet, consectetuer adipiscing elit. Maecenas porttitor congue massa. Fusce posuere, magna sed pulvinar ultricies </vt:lpstr>
      <vt:lpstr>Presentación de PowerPoint</vt:lpstr>
      <vt:lpstr>Presentación de PowerPoint</vt:lpstr>
      <vt:lpstr>Presentación de PowerPoint</vt:lpstr>
      <vt:lpstr>Presentación de PowerPoint</vt:lpstr>
      <vt:lpstr>Business case</vt:lpstr>
      <vt:lpstr>Presentación de PowerPoint</vt:lpstr>
      <vt:lpstr>Many Thanks</vt:lpstr>
      <vt:lpstr>Presentación de PowerPoint</vt:lpstr>
      <vt:lpstr>Icons</vt:lpstr>
      <vt:lpstr>Icons</vt:lpstr>
      <vt:lpstr>Icons</vt:lpstr>
    </vt:vector>
  </TitlesOfParts>
  <Company>Drägerwer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mbedding the corporate fonts</dc:title>
  <dc:creator>Gutierrez, Lina</dc:creator>
  <dc:description>Optimiert für PowerPoint2016</dc:description>
  <cp:lastModifiedBy>Amaya, David</cp:lastModifiedBy>
  <cp:revision>2</cp:revision>
  <cp:lastPrinted>2019-09-06T11:10:19Z</cp:lastPrinted>
  <dcterms:created xsi:type="dcterms:W3CDTF">2020-01-21T19:31:26Z</dcterms:created>
  <dcterms:modified xsi:type="dcterms:W3CDTF">2021-04-08T18:0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ED84611006D2142923DF5A8A68DAB90</vt:lpwstr>
  </property>
  <property fmtid="{D5CDD505-2E9C-101B-9397-08002B2CF9AE}" pid="3" name="EPLanguage">
    <vt:lpwstr/>
  </property>
  <property fmtid="{D5CDD505-2E9C-101B-9397-08002B2CF9AE}" pid="4" name="EPKeywords">
    <vt:lpwstr/>
  </property>
  <property fmtid="{D5CDD505-2E9C-101B-9397-08002B2CF9AE}" pid="5" name="EPCountry">
    <vt:lpwstr/>
  </property>
</Properties>
</file>